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35.xml" ContentType="application/vnd.openxmlformats-officedocument.presentationml.notesSlide+xml"/>
  <Override PartName="/ppt/charts/chart2.xml" ContentType="application/vnd.openxmlformats-officedocument.drawingml.chart+xml"/>
  <Override PartName="/ppt/notesSlides/notesSlide36.xml" ContentType="application/vnd.openxmlformats-officedocument.presentationml.notesSlide+xml"/>
  <Override PartName="/ppt/charts/chart3.xml" ContentType="application/vnd.openxmlformats-officedocument.drawingml.chart+xml"/>
  <Override PartName="/ppt/drawings/drawing2.xml" ContentType="application/vnd.openxmlformats-officedocument.drawingml.chartshapes+xml"/>
  <Override PartName="/ppt/notesSlides/notesSlide37.xml" ContentType="application/vnd.openxmlformats-officedocument.presentationml.notesSlide+xml"/>
  <Override PartName="/ppt/charts/chart4.xml" ContentType="application/vnd.openxmlformats-officedocument.drawingml.chart+xml"/>
  <Override PartName="/ppt/drawings/drawing3.xml" ContentType="application/vnd.openxmlformats-officedocument.drawingml.chartshapes+xml"/>
  <Override PartName="/ppt/charts/chart5.xml" ContentType="application/vnd.openxmlformats-officedocument.drawingml.chart+xml"/>
  <Override PartName="/ppt/drawings/drawing4.xml" ContentType="application/vnd.openxmlformats-officedocument.drawingml.chartshapes+xml"/>
  <Override PartName="/ppt/notesSlides/notesSlide38.xml" ContentType="application/vnd.openxmlformats-officedocument.presentationml.notesSlide+xml"/>
  <Override PartName="/ppt/charts/chart6.xml" ContentType="application/vnd.openxmlformats-officedocument.drawingml.chart+xml"/>
  <Override PartName="/ppt/drawings/drawing5.xml" ContentType="application/vnd.openxmlformats-officedocument.drawingml.chartshapes+xml"/>
  <Override PartName="/ppt/notesSlides/notesSlide39.xml" ContentType="application/vnd.openxmlformats-officedocument.presentationml.notesSlide+xml"/>
  <Override PartName="/ppt/charts/chart7.xml" ContentType="application/vnd.openxmlformats-officedocument.drawingml.chart+xml"/>
  <Override PartName="/ppt/drawings/drawing6.xml" ContentType="application/vnd.openxmlformats-officedocument.drawingml.chartshapes+xml"/>
  <Override PartName="/ppt/notesSlides/notesSlide40.xml" ContentType="application/vnd.openxmlformats-officedocument.presentationml.notesSlide+xml"/>
  <Override PartName="/ppt/charts/chart8.xml" ContentType="application/vnd.openxmlformats-officedocument.drawingml.chart+xml"/>
  <Override PartName="/ppt/notesSlides/notesSlide41.xml" ContentType="application/vnd.openxmlformats-officedocument.presentationml.notesSlide+xml"/>
  <Override PartName="/ppt/charts/chart9.xml" ContentType="application/vnd.openxmlformats-officedocument.drawingml.chart+xml"/>
  <Override PartName="/ppt/notesSlides/notesSlide42.xml" ContentType="application/vnd.openxmlformats-officedocument.presentationml.notesSlide+xml"/>
  <Override PartName="/ppt/charts/chart10.xml" ContentType="application/vnd.openxmlformats-officedocument.drawingml.chart+xml"/>
  <Override PartName="/ppt/notesSlides/notesSlide43.xml" ContentType="application/vnd.openxmlformats-officedocument.presentationml.notesSlide+xml"/>
  <Override PartName="/ppt/charts/chart11.xml" ContentType="application/vnd.openxmlformats-officedocument.drawingml.chart+xml"/>
  <Override PartName="/ppt/notesSlides/notesSlide44.xml" ContentType="application/vnd.openxmlformats-officedocument.presentationml.notesSlide+xml"/>
  <Override PartName="/ppt/charts/chart12.xml" ContentType="application/vnd.openxmlformats-officedocument.drawingml.chart+xml"/>
  <Override PartName="/ppt/notesSlides/notesSlide45.xml" ContentType="application/vnd.openxmlformats-officedocument.presentationml.notesSlide+xml"/>
  <Override PartName="/ppt/charts/chart13.xml" ContentType="application/vnd.openxmlformats-officedocument.drawingml.chart+xml"/>
  <Override PartName="/ppt/notesSlides/notesSlide46.xml" ContentType="application/vnd.openxmlformats-officedocument.presentationml.notesSlide+xml"/>
  <Override PartName="/ppt/charts/chart14.xml" ContentType="application/vnd.openxmlformats-officedocument.drawingml.chart+xml"/>
  <Override PartName="/ppt/notesSlides/notesSlide47.xml" ContentType="application/vnd.openxmlformats-officedocument.presentationml.notesSlide+xml"/>
  <Override PartName="/ppt/charts/chart15.xml" ContentType="application/vnd.openxmlformats-officedocument.drawingml.chart+xml"/>
  <Override PartName="/ppt/drawings/drawing7.xml" ContentType="application/vnd.openxmlformats-officedocument.drawingml.chartshapes+xml"/>
  <Override PartName="/ppt/notesSlides/notesSlide48.xml" ContentType="application/vnd.openxmlformats-officedocument.presentationml.notesSlide+xml"/>
  <Override PartName="/ppt/charts/chart16.xml" ContentType="application/vnd.openxmlformats-officedocument.drawingml.chart+xml"/>
  <Override PartName="/ppt/drawings/drawing8.xml" ContentType="application/vnd.openxmlformats-officedocument.drawingml.chartshapes+xml"/>
  <Override PartName="/ppt/notesSlides/notesSlide49.xml" ContentType="application/vnd.openxmlformats-officedocument.presentationml.notesSlide+xml"/>
  <Override PartName="/ppt/charts/chart17.xml" ContentType="application/vnd.openxmlformats-officedocument.drawingml.chart+xml"/>
  <Override PartName="/ppt/notesSlides/notesSlide50.xml" ContentType="application/vnd.openxmlformats-officedocument.presentationml.notesSlide+xml"/>
  <Override PartName="/ppt/charts/chart18.xml" ContentType="application/vnd.openxmlformats-officedocument.drawingml.chart+xml"/>
  <Override PartName="/ppt/notesSlides/notesSlide51.xml" ContentType="application/vnd.openxmlformats-officedocument.presentationml.notesSlide+xml"/>
  <Override PartName="/ppt/charts/chart19.xml" ContentType="application/vnd.openxmlformats-officedocument.drawingml.chart+xml"/>
  <Override PartName="/ppt/notesSlides/notesSlide52.xml" ContentType="application/vnd.openxmlformats-officedocument.presentationml.notesSlide+xml"/>
  <Override PartName="/ppt/charts/chart20.xml" ContentType="application/vnd.openxmlformats-officedocument.drawingml.chart+xml"/>
  <Override PartName="/ppt/drawings/drawing9.xml" ContentType="application/vnd.openxmlformats-officedocument.drawingml.chartshapes+xml"/>
  <Override PartName="/ppt/notesSlides/notesSlide53.xml" ContentType="application/vnd.openxmlformats-officedocument.presentationml.notesSlide+xml"/>
  <Override PartName="/ppt/charts/chart2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4.xml" ContentType="application/vnd.openxmlformats-officedocument.presentationml.notesSlide+xml"/>
  <Override PartName="/ppt/charts/chart22.xml" ContentType="application/vnd.openxmlformats-officedocument.drawingml.chart+xml"/>
  <Override PartName="/ppt/drawings/drawing10.xml" ContentType="application/vnd.openxmlformats-officedocument.drawingml.chartshapes+xml"/>
  <Override PartName="/ppt/notesSlides/notesSlide55.xml" ContentType="application/vnd.openxmlformats-officedocument.presentationml.notesSlide+xml"/>
  <Override PartName="/ppt/charts/chart23.xml" ContentType="application/vnd.openxmlformats-officedocument.drawingml.chart+xml"/>
  <Override PartName="/ppt/drawings/drawing11.xml" ContentType="application/vnd.openxmlformats-officedocument.drawingml.chartshapes+xml"/>
  <Override PartName="/ppt/notesSlides/notesSlide56.xml" ContentType="application/vnd.openxmlformats-officedocument.presentationml.notesSlide+xml"/>
  <Override PartName="/ppt/charts/chart24.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7.xml" ContentType="application/vnd.openxmlformats-officedocument.presentationml.notesSlide+xml"/>
  <Override PartName="/ppt/charts/chart25.xml" ContentType="application/vnd.openxmlformats-officedocument.drawingml.chart+xml"/>
  <Override PartName="/ppt/charts/style3.xml" ContentType="application/vnd.ms-office.chartstyle+xml"/>
  <Override PartName="/ppt/charts/colors3.xml" ContentType="application/vnd.ms-office.chartcolorstyle+xml"/>
  <Override PartName="/ppt/tags/tag2.xml" ContentType="application/vnd.openxmlformats-officedocument.presentationml.tags+xml"/>
  <Override PartName="/ppt/tags/tag3.xml" ContentType="application/vnd.openxmlformats-officedocument.presentationml.tags+xml"/>
  <Override PartName="/ppt/notesSlides/notesSlide58.xml" ContentType="application/vnd.openxmlformats-officedocument.presentationml.notesSlide+xml"/>
  <Override PartName="/ppt/charts/chart26.xml" ContentType="application/vnd.openxmlformats-officedocument.drawingml.chart+xml"/>
  <Override PartName="/ppt/drawings/drawing12.xml" ContentType="application/vnd.openxmlformats-officedocument.drawingml.chartshapes+xml"/>
  <Override PartName="/ppt/tags/tag4.xml" ContentType="application/vnd.openxmlformats-officedocument.presentationml.tags+xml"/>
  <Override PartName="/ppt/tags/tag5.xml" ContentType="application/vnd.openxmlformats-officedocument.presentationml.tags+xml"/>
  <Override PartName="/ppt/notesSlides/notesSlide59.xml" ContentType="application/vnd.openxmlformats-officedocument.presentationml.notesSlide+xml"/>
  <Override PartName="/ppt/charts/chart27.xml" ContentType="application/vnd.openxmlformats-officedocument.drawingml.chart+xml"/>
  <Override PartName="/ppt/drawings/drawing13.xml" ContentType="application/vnd.openxmlformats-officedocument.drawingml.chartshapes+xml"/>
  <Override PartName="/ppt/notesSlides/notesSlide60.xml" ContentType="application/vnd.openxmlformats-officedocument.presentationml.notesSlide+xml"/>
  <Override PartName="/ppt/charts/chart28.xml" ContentType="application/vnd.openxmlformats-officedocument.drawingml.chart+xml"/>
  <Override PartName="/ppt/charts/chart29.xml" ContentType="application/vnd.openxmlformats-officedocument.drawingml.chart+xml"/>
  <Override PartName="/ppt/notesSlides/notesSlide61.xml" ContentType="application/vnd.openxmlformats-officedocument.presentationml.notesSlide+xml"/>
  <Override PartName="/ppt/charts/chart30.xml" ContentType="application/vnd.openxmlformats-officedocument.drawingml.chart+xml"/>
  <Override PartName="/ppt/charts/chart31.xml" ContentType="application/vnd.openxmlformats-officedocument.drawingml.chart+xml"/>
  <Override PartName="/ppt/notesSlides/notesSlide62.xml" ContentType="application/vnd.openxmlformats-officedocument.presentationml.notesSlide+xml"/>
  <Override PartName="/ppt/charts/chart32.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63.xml" ContentType="application/vnd.openxmlformats-officedocument.presentationml.notesSlide+xml"/>
  <Override PartName="/ppt/charts/chart33.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64.xml" ContentType="application/vnd.openxmlformats-officedocument.presentationml.notesSlide+xml"/>
  <Override PartName="/ppt/charts/chart34.xml" ContentType="application/vnd.openxmlformats-officedocument.drawingml.chart+xml"/>
  <Override PartName="/ppt/notesSlides/notesSlide65.xml" ContentType="application/vnd.openxmlformats-officedocument.presentationml.notesSlide+xml"/>
  <Override PartName="/ppt/charts/chart35.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14.xml" ContentType="application/vnd.openxmlformats-officedocument.drawingml.chartshapes+xml"/>
  <Override PartName="/ppt/notesSlides/notesSlide66.xml" ContentType="application/vnd.openxmlformats-officedocument.presentationml.notesSlide+xml"/>
  <Override PartName="/ppt/charts/chart36.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67.xml" ContentType="application/vnd.openxmlformats-officedocument.presentationml.notesSlide+xml"/>
  <Override PartName="/ppt/charts/chart37.xml" ContentType="application/vnd.openxmlformats-officedocument.drawingml.chart+xml"/>
  <Override PartName="/ppt/drawings/drawing15.xml" ContentType="application/vnd.openxmlformats-officedocument.drawingml.chartshapes+xml"/>
  <Override PartName="/ppt/notesSlides/notesSlide68.xml" ContentType="application/vnd.openxmlformats-officedocument.presentationml.notesSlide+xml"/>
  <Override PartName="/ppt/charts/chart38.xml" ContentType="application/vnd.openxmlformats-officedocument.drawingml.chart+xml"/>
  <Override PartName="/ppt/drawings/drawing16.xml" ContentType="application/vnd.openxmlformats-officedocument.drawingml.chartshapes+xml"/>
  <Override PartName="/ppt/notesSlides/notesSlide69.xml" ContentType="application/vnd.openxmlformats-officedocument.presentationml.notesSlide+xml"/>
  <Override PartName="/ppt/charts/chart39.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17.xml" ContentType="application/vnd.openxmlformats-officedocument.drawingml.chartshapes+xml"/>
  <Override PartName="/ppt/notesSlides/notesSlide70.xml" ContentType="application/vnd.openxmlformats-officedocument.presentationml.notesSlide+xml"/>
  <Override PartName="/ppt/charts/chart40.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18.xml" ContentType="application/vnd.openxmlformats-officedocument.drawingml.chartshapes+xml"/>
  <Override PartName="/ppt/notesSlides/notesSlide71.xml" ContentType="application/vnd.openxmlformats-officedocument.presentationml.notesSlide+xml"/>
  <Override PartName="/ppt/charts/chart41.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72.xml" ContentType="application/vnd.openxmlformats-officedocument.presentationml.notesSlide+xml"/>
  <Override PartName="/ppt/charts/chart42.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73.xml" ContentType="application/vnd.openxmlformats-officedocument.presentationml.notesSlide+xml"/>
  <Override PartName="/ppt/charts/chart43.xml" ContentType="application/vnd.openxmlformats-officedocument.drawingml.chart+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74.xml" ContentType="application/vnd.openxmlformats-officedocument.presentationml.notesSlide+xml"/>
  <Override PartName="/ppt/charts/chart44.xml" ContentType="application/vnd.openxmlformats-officedocument.drawingml.chart+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75.xml" ContentType="application/vnd.openxmlformats-officedocument.presentationml.notesSlide+xml"/>
  <Override PartName="/ppt/charts/chart45.xml" ContentType="application/vnd.openxmlformats-officedocument.drawingml.chart+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90.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91.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92.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tags/tag54.xml" ContentType="application/vnd.openxmlformats-officedocument.presentationml.tags+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tags/tag58.xml" ContentType="application/vnd.openxmlformats-officedocument.presentationml.tags+xml"/>
  <Override PartName="/ppt/notesSlides/notesSlide116.xml" ContentType="application/vnd.openxmlformats-officedocument.presentationml.notesSlide+xml"/>
  <Override PartName="/ppt/tags/tag59.xml" ContentType="application/vnd.openxmlformats-officedocument.presentationml.tags+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130.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31.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132.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133.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tags/tag122.xml" ContentType="application/vnd.openxmlformats-officedocument.presentationml.tags+xml"/>
  <Override PartName="/ppt/notesSlides/notesSlide149.xml" ContentType="application/vnd.openxmlformats-officedocument.presentationml.notesSlide+xml"/>
  <Override PartName="/ppt/tags/tag123.xml" ContentType="application/vnd.openxmlformats-officedocument.presentationml.tags+xml"/>
  <Override PartName="/ppt/notesSlides/notesSlide150.xml" ContentType="application/vnd.openxmlformats-officedocument.presentationml.notesSlide+xml"/>
  <Override PartName="/ppt/tags/tag124.xml" ContentType="application/vnd.openxmlformats-officedocument.presentationml.tags+xml"/>
  <Override PartName="/ppt/notesSlides/notesSlide151.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tags/tag139.xml" ContentType="application/vnd.openxmlformats-officedocument.presentationml.tags+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notesSlides/notesSlide244.xml" ContentType="application/vnd.openxmlformats-officedocument.presentationml.notesSlide+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notesSlides/notesSlide245.xml" ContentType="application/vnd.openxmlformats-officedocument.presentationml.notesSlide+xml"/>
  <Override PartName="/ppt/tags/tag190.xml" ContentType="application/vnd.openxmlformats-officedocument.presentationml.tags+xml"/>
  <Override PartName="/ppt/notesSlides/notesSlide246.xml" ContentType="application/vnd.openxmlformats-officedocument.presentationml.notesSlide+xml"/>
  <Override PartName="/ppt/tags/tag191.xml" ContentType="application/vnd.openxmlformats-officedocument.presentationml.tags+xml"/>
  <Override PartName="/ppt/notesSlides/notesSlide247.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notesSlides/notesSlide248.xml" ContentType="application/vnd.openxmlformats-officedocument.presentationml.notesSlide+xml"/>
  <Override PartName="/ppt/tags/tag202.xml" ContentType="application/vnd.openxmlformats-officedocument.presentationml.tags+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notesSlides/notesSlide270.xml" ContentType="application/vnd.openxmlformats-officedocument.presentationml.notesSlid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notesSlides/notesSlide308.xml" ContentType="application/vnd.openxmlformats-officedocument.presentationml.notesSlide+xml"/>
  <Override PartName="/ppt/notesSlides/notesSlide309.xml" ContentType="application/vnd.openxmlformats-officedocument.presentationml.notesSlide+xml"/>
  <Override PartName="/ppt/notesSlides/notesSlide310.xml" ContentType="application/vnd.openxmlformats-officedocument.presentationml.notesSlide+xml"/>
  <Override PartName="/ppt/notesSlides/notesSlide311.xml" ContentType="application/vnd.openxmlformats-officedocument.presentationml.notesSlide+xml"/>
  <Override PartName="/ppt/notesSlides/notesSlide312.xml" ContentType="application/vnd.openxmlformats-officedocument.presentationml.notesSlide+xml"/>
  <Override PartName="/ppt/notesSlides/notesSlide313.xml" ContentType="application/vnd.openxmlformats-officedocument.presentationml.notesSlide+xml"/>
  <Override PartName="/ppt/notesSlides/notesSlide314.xml" ContentType="application/vnd.openxmlformats-officedocument.presentationml.notesSlide+xml"/>
  <Override PartName="/ppt/tags/tag219.xml" ContentType="application/vnd.openxmlformats-officedocument.presentationml.tags+xml"/>
  <Override PartName="/ppt/tags/tag220.xml" ContentType="application/vnd.openxmlformats-officedocument.presentationml.tags+xml"/>
  <Override PartName="/ppt/notesSlides/notesSlide315.xml" ContentType="application/vnd.openxmlformats-officedocument.presentationml.notesSlide+xml"/>
  <Override PartName="/ppt/tags/tag221.xml" ContentType="application/vnd.openxmlformats-officedocument.presentationml.tags+xml"/>
  <Override PartName="/ppt/tags/tag222.xml" ContentType="application/vnd.openxmlformats-officedocument.presentationml.tags+xml"/>
  <Override PartName="/ppt/notesSlides/notesSlide316.xml" ContentType="application/vnd.openxmlformats-officedocument.presentationml.notesSlide+xml"/>
  <Override PartName="/ppt/notesSlides/notesSlide317.xml" ContentType="application/vnd.openxmlformats-officedocument.presentationml.notesSlide+xml"/>
  <Override PartName="/ppt/notesSlides/notesSlide318.xml" ContentType="application/vnd.openxmlformats-officedocument.presentationml.notesSlide+xml"/>
  <Override PartName="/ppt/notesSlides/notesSlide319.xml" ContentType="application/vnd.openxmlformats-officedocument.presentationml.notesSlide+xml"/>
  <Override PartName="/ppt/tags/tag223.xml" ContentType="application/vnd.openxmlformats-officedocument.presentationml.tags+xml"/>
  <Override PartName="/ppt/notesSlides/notesSlide320.xml" ContentType="application/vnd.openxmlformats-officedocument.presentationml.notesSlide+xml"/>
  <Override PartName="/ppt/tags/tag224.xml" ContentType="application/vnd.openxmlformats-officedocument.presentationml.tags+xml"/>
  <Override PartName="/ppt/notesSlides/notesSlide321.xml" ContentType="application/vnd.openxmlformats-officedocument.presentationml.notesSlide+xml"/>
  <Override PartName="/ppt/notesSlides/notesSlide322.xml" ContentType="application/vnd.openxmlformats-officedocument.presentationml.notesSlide+xml"/>
  <Override PartName="/ppt/tags/tag225.xml" ContentType="application/vnd.openxmlformats-officedocument.presentationml.tags+xml"/>
  <Override PartName="/ppt/notesSlides/notesSlide323.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notesSlides/notesSlide324.xml" ContentType="application/vnd.openxmlformats-officedocument.presentationml.notesSlide+xml"/>
  <Override PartName="/ppt/notesSlides/notesSlide325.xml" ContentType="application/vnd.openxmlformats-officedocument.presentationml.notesSlide+xml"/>
  <Override PartName="/ppt/notesSlides/notesSlide326.xml" ContentType="application/vnd.openxmlformats-officedocument.presentationml.notesSlide+xml"/>
  <Override PartName="/ppt/notesSlides/notesSlide327.xml" ContentType="application/vnd.openxmlformats-officedocument.presentationml.notesSlide+xml"/>
  <Override PartName="/ppt/notesSlides/notesSlide328.xml" ContentType="application/vnd.openxmlformats-officedocument.presentationml.notesSlide+xml"/>
  <Override PartName="/ppt/notesSlides/notesSlide329.xml" ContentType="application/vnd.openxmlformats-officedocument.presentationml.notesSlide+xml"/>
  <Override PartName="/ppt/notesSlides/notesSlide330.xml" ContentType="application/vnd.openxmlformats-officedocument.presentationml.notesSlide+xml"/>
  <Override PartName="/ppt/notesSlides/notesSlide331.xml" ContentType="application/vnd.openxmlformats-officedocument.presentationml.notesSlide+xml"/>
  <Override PartName="/ppt/notesSlides/notesSlide332.xml" ContentType="application/vnd.openxmlformats-officedocument.presentationml.notesSlide+xml"/>
  <Override PartName="/ppt/notesSlides/notesSlide333.xml" ContentType="application/vnd.openxmlformats-officedocument.presentationml.notesSlide+xml"/>
  <Override PartName="/ppt/notesSlides/notesSlide334.xml" ContentType="application/vnd.openxmlformats-officedocument.presentationml.notesSlide+xml"/>
  <Override PartName="/ppt/notesSlides/notesSlide335.xml" ContentType="application/vnd.openxmlformats-officedocument.presentationml.notesSlide+xml"/>
  <Override PartName="/ppt/notesSlides/notesSlide336.xml" ContentType="application/vnd.openxmlformats-officedocument.presentationml.notesSlide+xml"/>
  <Override PartName="/ppt/notesSlides/notesSlide337.xml" ContentType="application/vnd.openxmlformats-officedocument.presentationml.notesSlide+xml"/>
  <Override PartName="/ppt/notesSlides/notesSlide338.xml" ContentType="application/vnd.openxmlformats-officedocument.presentationml.notesSlide+xml"/>
  <Override PartName="/ppt/notesSlides/notesSlide339.xml" ContentType="application/vnd.openxmlformats-officedocument.presentationml.notesSlide+xml"/>
  <Override PartName="/ppt/notesSlides/notesSlide340.xml" ContentType="application/vnd.openxmlformats-officedocument.presentationml.notesSlide+xml"/>
  <Override PartName="/ppt/notesSlides/notesSlide341.xml" ContentType="application/vnd.openxmlformats-officedocument.presentationml.notesSlide+xml"/>
  <Override PartName="/ppt/notesSlides/notesSlide342.xml" ContentType="application/vnd.openxmlformats-officedocument.presentationml.notesSlide+xml"/>
  <Override PartName="/ppt/notesSlides/notesSlide343.xml" ContentType="application/vnd.openxmlformats-officedocument.presentationml.notesSlide+xml"/>
  <Override PartName="/ppt/notesSlides/notesSlide344.xml" ContentType="application/vnd.openxmlformats-officedocument.presentationml.notesSlide+xml"/>
  <Override PartName="/ppt/notesSlides/notesSlide345.xml" ContentType="application/vnd.openxmlformats-officedocument.presentationml.notesSlide+xml"/>
  <Override PartName="/ppt/notesSlides/notesSlide346.xml" ContentType="application/vnd.openxmlformats-officedocument.presentationml.notesSlide+xml"/>
  <Override PartName="/ppt/notesSlides/notesSlide347.xml" ContentType="application/vnd.openxmlformats-officedocument.presentationml.notesSlide+xml"/>
  <Override PartName="/ppt/notesSlides/notesSlide348.xml" ContentType="application/vnd.openxmlformats-officedocument.presentationml.notesSlide+xml"/>
  <Override PartName="/ppt/notesSlides/notesSlide349.xml" ContentType="application/vnd.openxmlformats-officedocument.presentationml.notesSlide+xml"/>
  <Override PartName="/ppt/notesSlides/notesSlide350.xml" ContentType="application/vnd.openxmlformats-officedocument.presentationml.notesSlide+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notesSlides/notesSlide351.xml" ContentType="application/vnd.openxmlformats-officedocument.presentationml.notesSlide+xml"/>
  <Override PartName="/ppt/notesSlides/notesSlide352.xml" ContentType="application/vnd.openxmlformats-officedocument.presentationml.notesSlide+xml"/>
  <Override PartName="/ppt/notesSlides/notesSlide353.xml" ContentType="application/vnd.openxmlformats-officedocument.presentationml.notesSlide+xml"/>
  <Override PartName="/ppt/notesSlides/notesSlide354.xml" ContentType="application/vnd.openxmlformats-officedocument.presentationml.notesSlide+xml"/>
  <Override PartName="/ppt/notesSlides/notesSlide355.xml" ContentType="application/vnd.openxmlformats-officedocument.presentationml.notesSlide+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notesSlides/notesSlide356.xml" ContentType="application/vnd.openxmlformats-officedocument.presentationml.notesSlide+xml"/>
  <Override PartName="/ppt/notesSlides/notesSlide357.xml" ContentType="application/vnd.openxmlformats-officedocument.presentationml.notesSlide+xml"/>
  <Override PartName="/ppt/notesSlides/notesSlide358.xml" ContentType="application/vnd.openxmlformats-officedocument.presentationml.notesSlide+xml"/>
  <Override PartName="/ppt/notesSlides/notesSlide359.xml" ContentType="application/vnd.openxmlformats-officedocument.presentationml.notesSlide+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notesSlides/notesSlide360.xml" ContentType="application/vnd.openxmlformats-officedocument.presentationml.notesSlide+xml"/>
  <Override PartName="/ppt/notesSlides/notesSlide361.xml" ContentType="application/vnd.openxmlformats-officedocument.presentationml.notesSlide+xml"/>
  <Override PartName="/ppt/notesSlides/notesSlide362.xml" ContentType="application/vnd.openxmlformats-officedocument.presentationml.notesSlide+xml"/>
  <Override PartName="/ppt/notesSlides/notesSlide363.xml" ContentType="application/vnd.openxmlformats-officedocument.presentationml.notesSlide+xml"/>
  <Override PartName="/ppt/notesSlides/notesSlide364.xml" ContentType="application/vnd.openxmlformats-officedocument.presentationml.notesSlide+xml"/>
  <Override PartName="/ppt/notesSlides/notesSlide365.xml" ContentType="application/vnd.openxmlformats-officedocument.presentationml.notesSlide+xml"/>
  <Override PartName="/ppt/notesSlides/notesSlide366.xml" ContentType="application/vnd.openxmlformats-officedocument.presentationml.notesSlide+xml"/>
  <Override PartName="/ppt/notesSlides/notesSlide367.xml" ContentType="application/vnd.openxmlformats-officedocument.presentationml.notesSlide+xml"/>
  <Override PartName="/ppt/notesSlides/notesSlide368.xml" ContentType="application/vnd.openxmlformats-officedocument.presentationml.notesSlide+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notesSlides/notesSlide369.xml" ContentType="application/vnd.openxmlformats-officedocument.presentationml.notesSlide+xml"/>
  <Override PartName="/ppt/notesSlides/notesSlide370.xml" ContentType="application/vnd.openxmlformats-officedocument.presentationml.notesSlide+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notesSlides/notesSlide371.xml" ContentType="application/vnd.openxmlformats-officedocument.presentationml.notesSlide+xml"/>
  <Override PartName="/ppt/notesSlides/notesSlide372.xml" ContentType="application/vnd.openxmlformats-officedocument.presentationml.notesSlide+xml"/>
  <Override PartName="/ppt/notesSlides/notesSlide373.xml" ContentType="application/vnd.openxmlformats-officedocument.presentationml.notesSlide+xml"/>
  <Override PartName="/ppt/notesSlides/notesSlide374.xml" ContentType="application/vnd.openxmlformats-officedocument.presentationml.notesSlide+xml"/>
  <Override PartName="/ppt/notesSlides/notesSlide375.xml" ContentType="application/vnd.openxmlformats-officedocument.presentationml.notesSlide+xml"/>
  <Override PartName="/ppt/notesSlides/notesSlide376.xml" ContentType="application/vnd.openxmlformats-officedocument.presentationml.notesSlide+xml"/>
  <Override PartName="/ppt/notesSlides/notesSlide377.xml" ContentType="application/vnd.openxmlformats-officedocument.presentationml.notesSlide+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notesSlides/notesSlide378.xml" ContentType="application/vnd.openxmlformats-officedocument.presentationml.notesSlide+xml"/>
  <Override PartName="/ppt/notesSlides/notesSlide379.xml" ContentType="application/vnd.openxmlformats-officedocument.presentationml.notesSlide+xml"/>
  <Override PartName="/ppt/notesSlides/notesSlide380.xml" ContentType="application/vnd.openxmlformats-officedocument.presentationml.notesSlide+xml"/>
  <Override PartName="/ppt/notesSlides/notesSlide381.xml" ContentType="application/vnd.openxmlformats-officedocument.presentationml.notesSlide+xml"/>
  <Override PartName="/ppt/notesSlides/notesSlide382.xml" ContentType="application/vnd.openxmlformats-officedocument.presentationml.notesSlide+xml"/>
  <Override PartName="/ppt/notesSlides/notesSlide383.xml" ContentType="application/vnd.openxmlformats-officedocument.presentationml.notesSlide+xml"/>
  <Override PartName="/ppt/notesSlides/notesSlide384.xml" ContentType="application/vnd.openxmlformats-officedocument.presentationml.notesSlide+xml"/>
  <Override PartName="/ppt/notesSlides/notesSlide385.xml" ContentType="application/vnd.openxmlformats-officedocument.presentationml.notesSlide+xml"/>
  <Override PartName="/ppt/notesSlides/notesSlide386.xml" ContentType="application/vnd.openxmlformats-officedocument.presentationml.notesSlide+xml"/>
  <Override PartName="/ppt/notesSlides/notesSlide387.xml" ContentType="application/vnd.openxmlformats-officedocument.presentationml.notesSlide+xml"/>
  <Override PartName="/ppt/notesSlides/notesSlide388.xml" ContentType="application/vnd.openxmlformats-officedocument.presentationml.notesSlide+xml"/>
  <Override PartName="/ppt/notesSlides/notesSlide389.xml" ContentType="application/vnd.openxmlformats-officedocument.presentationml.notesSlide+xml"/>
  <Override PartName="/ppt/notesSlides/notesSlide39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459"/>
  </p:notesMasterIdLst>
  <p:sldIdLst>
    <p:sldId id="344" r:id="rId5"/>
    <p:sldId id="345" r:id="rId6"/>
    <p:sldId id="806" r:id="rId7"/>
    <p:sldId id="2147471318" r:id="rId8"/>
    <p:sldId id="401" r:id="rId9"/>
    <p:sldId id="402" r:id="rId10"/>
    <p:sldId id="296" r:id="rId11"/>
    <p:sldId id="804" r:id="rId12"/>
    <p:sldId id="347" r:id="rId13"/>
    <p:sldId id="348" r:id="rId14"/>
    <p:sldId id="341" r:id="rId15"/>
    <p:sldId id="350" r:id="rId16"/>
    <p:sldId id="276" r:id="rId17"/>
    <p:sldId id="335" r:id="rId18"/>
    <p:sldId id="353" r:id="rId19"/>
    <p:sldId id="354" r:id="rId20"/>
    <p:sldId id="355" r:id="rId21"/>
    <p:sldId id="356" r:id="rId22"/>
    <p:sldId id="357" r:id="rId23"/>
    <p:sldId id="358" r:id="rId24"/>
    <p:sldId id="359" r:id="rId25"/>
    <p:sldId id="360" r:id="rId26"/>
    <p:sldId id="361" r:id="rId27"/>
    <p:sldId id="362" r:id="rId28"/>
    <p:sldId id="363" r:id="rId29"/>
    <p:sldId id="364" r:id="rId30"/>
    <p:sldId id="365" r:id="rId31"/>
    <p:sldId id="366" r:id="rId32"/>
    <p:sldId id="367" r:id="rId33"/>
    <p:sldId id="368" r:id="rId34"/>
    <p:sldId id="369" r:id="rId35"/>
    <p:sldId id="370" r:id="rId36"/>
    <p:sldId id="371" r:id="rId37"/>
    <p:sldId id="372" r:id="rId38"/>
    <p:sldId id="373" r:id="rId39"/>
    <p:sldId id="374" r:id="rId40"/>
    <p:sldId id="805" r:id="rId41"/>
    <p:sldId id="375" r:id="rId42"/>
    <p:sldId id="376" r:id="rId43"/>
    <p:sldId id="377" r:id="rId44"/>
    <p:sldId id="378" r:id="rId45"/>
    <p:sldId id="379" r:id="rId46"/>
    <p:sldId id="380" r:id="rId47"/>
    <p:sldId id="381" r:id="rId48"/>
    <p:sldId id="382" r:id="rId49"/>
    <p:sldId id="383" r:id="rId50"/>
    <p:sldId id="384" r:id="rId51"/>
    <p:sldId id="386" r:id="rId52"/>
    <p:sldId id="387" r:id="rId53"/>
    <p:sldId id="388" r:id="rId54"/>
    <p:sldId id="389" r:id="rId55"/>
    <p:sldId id="390" r:id="rId56"/>
    <p:sldId id="391" r:id="rId57"/>
    <p:sldId id="392" r:id="rId58"/>
    <p:sldId id="393" r:id="rId59"/>
    <p:sldId id="394" r:id="rId60"/>
    <p:sldId id="395" r:id="rId61"/>
    <p:sldId id="396" r:id="rId62"/>
    <p:sldId id="397" r:id="rId63"/>
    <p:sldId id="398" r:id="rId64"/>
    <p:sldId id="399" r:id="rId65"/>
    <p:sldId id="400" r:id="rId66"/>
    <p:sldId id="268" r:id="rId67"/>
    <p:sldId id="403" r:id="rId68"/>
    <p:sldId id="404" r:id="rId69"/>
    <p:sldId id="405" r:id="rId70"/>
    <p:sldId id="406" r:id="rId71"/>
    <p:sldId id="407" r:id="rId72"/>
    <p:sldId id="408" r:id="rId73"/>
    <p:sldId id="409" r:id="rId74"/>
    <p:sldId id="410" r:id="rId75"/>
    <p:sldId id="411" r:id="rId76"/>
    <p:sldId id="412" r:id="rId77"/>
    <p:sldId id="413" r:id="rId78"/>
    <p:sldId id="414" r:id="rId79"/>
    <p:sldId id="415" r:id="rId80"/>
    <p:sldId id="416" r:id="rId81"/>
    <p:sldId id="417" r:id="rId82"/>
    <p:sldId id="418" r:id="rId83"/>
    <p:sldId id="419" r:id="rId84"/>
    <p:sldId id="420" r:id="rId85"/>
    <p:sldId id="421" r:id="rId86"/>
    <p:sldId id="422" r:id="rId87"/>
    <p:sldId id="423" r:id="rId88"/>
    <p:sldId id="424" r:id="rId89"/>
    <p:sldId id="425" r:id="rId90"/>
    <p:sldId id="426" r:id="rId91"/>
    <p:sldId id="427" r:id="rId92"/>
    <p:sldId id="428" r:id="rId93"/>
    <p:sldId id="429" r:id="rId94"/>
    <p:sldId id="430" r:id="rId95"/>
    <p:sldId id="431" r:id="rId96"/>
    <p:sldId id="432" r:id="rId97"/>
    <p:sldId id="433" r:id="rId98"/>
    <p:sldId id="434" r:id="rId99"/>
    <p:sldId id="435" r:id="rId100"/>
    <p:sldId id="436" r:id="rId101"/>
    <p:sldId id="437" r:id="rId102"/>
    <p:sldId id="438" r:id="rId103"/>
    <p:sldId id="439" r:id="rId104"/>
    <p:sldId id="440" r:id="rId105"/>
    <p:sldId id="441" r:id="rId106"/>
    <p:sldId id="442" r:id="rId107"/>
    <p:sldId id="443" r:id="rId108"/>
    <p:sldId id="444" r:id="rId109"/>
    <p:sldId id="445" r:id="rId110"/>
    <p:sldId id="446" r:id="rId111"/>
    <p:sldId id="447" r:id="rId112"/>
    <p:sldId id="448" r:id="rId113"/>
    <p:sldId id="449" r:id="rId114"/>
    <p:sldId id="450" r:id="rId115"/>
    <p:sldId id="451" r:id="rId116"/>
    <p:sldId id="452" r:id="rId117"/>
    <p:sldId id="454" r:id="rId118"/>
    <p:sldId id="453" r:id="rId119"/>
    <p:sldId id="455" r:id="rId120"/>
    <p:sldId id="456" r:id="rId121"/>
    <p:sldId id="457" r:id="rId122"/>
    <p:sldId id="458" r:id="rId123"/>
    <p:sldId id="459" r:id="rId124"/>
    <p:sldId id="460" r:id="rId125"/>
    <p:sldId id="720" r:id="rId126"/>
    <p:sldId id="721" r:id="rId127"/>
    <p:sldId id="722" r:id="rId128"/>
    <p:sldId id="723" r:id="rId129"/>
    <p:sldId id="724" r:id="rId130"/>
    <p:sldId id="725" r:id="rId131"/>
    <p:sldId id="726" r:id="rId132"/>
    <p:sldId id="727" r:id="rId133"/>
    <p:sldId id="728" r:id="rId134"/>
    <p:sldId id="729" r:id="rId135"/>
    <p:sldId id="730" r:id="rId136"/>
    <p:sldId id="731" r:id="rId137"/>
    <p:sldId id="732" r:id="rId138"/>
    <p:sldId id="733" r:id="rId139"/>
    <p:sldId id="734" r:id="rId140"/>
    <p:sldId id="735" r:id="rId141"/>
    <p:sldId id="736" r:id="rId142"/>
    <p:sldId id="737" r:id="rId143"/>
    <p:sldId id="738" r:id="rId144"/>
    <p:sldId id="739" r:id="rId145"/>
    <p:sldId id="740" r:id="rId146"/>
    <p:sldId id="741" r:id="rId147"/>
    <p:sldId id="742" r:id="rId148"/>
    <p:sldId id="743" r:id="rId149"/>
    <p:sldId id="744" r:id="rId150"/>
    <p:sldId id="745" r:id="rId151"/>
    <p:sldId id="746" r:id="rId152"/>
    <p:sldId id="747" r:id="rId153"/>
    <p:sldId id="748" r:id="rId154"/>
    <p:sldId id="749" r:id="rId155"/>
    <p:sldId id="750" r:id="rId156"/>
    <p:sldId id="751" r:id="rId157"/>
    <p:sldId id="752" r:id="rId158"/>
    <p:sldId id="753" r:id="rId159"/>
    <p:sldId id="754" r:id="rId160"/>
    <p:sldId id="755" r:id="rId161"/>
    <p:sldId id="756" r:id="rId162"/>
    <p:sldId id="757" r:id="rId163"/>
    <p:sldId id="758" r:id="rId164"/>
    <p:sldId id="759" r:id="rId165"/>
    <p:sldId id="760" r:id="rId166"/>
    <p:sldId id="761" r:id="rId167"/>
    <p:sldId id="762" r:id="rId168"/>
    <p:sldId id="763" r:id="rId169"/>
    <p:sldId id="764" r:id="rId170"/>
    <p:sldId id="765" r:id="rId171"/>
    <p:sldId id="461" r:id="rId172"/>
    <p:sldId id="462" r:id="rId173"/>
    <p:sldId id="463" r:id="rId174"/>
    <p:sldId id="465" r:id="rId175"/>
    <p:sldId id="466" r:id="rId176"/>
    <p:sldId id="467" r:id="rId177"/>
    <p:sldId id="468" r:id="rId178"/>
    <p:sldId id="469" r:id="rId179"/>
    <p:sldId id="470" r:id="rId180"/>
    <p:sldId id="471" r:id="rId181"/>
    <p:sldId id="464" r:id="rId182"/>
    <p:sldId id="472" r:id="rId183"/>
    <p:sldId id="473" r:id="rId184"/>
    <p:sldId id="474" r:id="rId185"/>
    <p:sldId id="477" r:id="rId186"/>
    <p:sldId id="478" r:id="rId187"/>
    <p:sldId id="479" r:id="rId188"/>
    <p:sldId id="475" r:id="rId189"/>
    <p:sldId id="480" r:id="rId190"/>
    <p:sldId id="767" r:id="rId191"/>
    <p:sldId id="766" r:id="rId192"/>
    <p:sldId id="481" r:id="rId193"/>
    <p:sldId id="482" r:id="rId194"/>
    <p:sldId id="483" r:id="rId195"/>
    <p:sldId id="476" r:id="rId196"/>
    <p:sldId id="484" r:id="rId197"/>
    <p:sldId id="485" r:id="rId198"/>
    <p:sldId id="486" r:id="rId199"/>
    <p:sldId id="487" r:id="rId200"/>
    <p:sldId id="489" r:id="rId201"/>
    <p:sldId id="490" r:id="rId202"/>
    <p:sldId id="491" r:id="rId203"/>
    <p:sldId id="492" r:id="rId204"/>
    <p:sldId id="488" r:id="rId205"/>
    <p:sldId id="493" r:id="rId206"/>
    <p:sldId id="494" r:id="rId207"/>
    <p:sldId id="495" r:id="rId208"/>
    <p:sldId id="496" r:id="rId209"/>
    <p:sldId id="497" r:id="rId210"/>
    <p:sldId id="498" r:id="rId211"/>
    <p:sldId id="499" r:id="rId212"/>
    <p:sldId id="500" r:id="rId213"/>
    <p:sldId id="502" r:id="rId214"/>
    <p:sldId id="503" r:id="rId215"/>
    <p:sldId id="504" r:id="rId216"/>
    <p:sldId id="505" r:id="rId217"/>
    <p:sldId id="506" r:id="rId218"/>
    <p:sldId id="507" r:id="rId219"/>
    <p:sldId id="508" r:id="rId220"/>
    <p:sldId id="509" r:id="rId221"/>
    <p:sldId id="510" r:id="rId222"/>
    <p:sldId id="511" r:id="rId223"/>
    <p:sldId id="512" r:id="rId224"/>
    <p:sldId id="513" r:id="rId225"/>
    <p:sldId id="501" r:id="rId226"/>
    <p:sldId id="514" r:id="rId227"/>
    <p:sldId id="515" r:id="rId228"/>
    <p:sldId id="516" r:id="rId229"/>
    <p:sldId id="518" r:id="rId230"/>
    <p:sldId id="768" r:id="rId231"/>
    <p:sldId id="519" r:id="rId232"/>
    <p:sldId id="520" r:id="rId233"/>
    <p:sldId id="517" r:id="rId234"/>
    <p:sldId id="521" r:id="rId235"/>
    <p:sldId id="522" r:id="rId236"/>
    <p:sldId id="523" r:id="rId237"/>
    <p:sldId id="524" r:id="rId238"/>
    <p:sldId id="525" r:id="rId239"/>
    <p:sldId id="526" r:id="rId240"/>
    <p:sldId id="527" r:id="rId241"/>
    <p:sldId id="528" r:id="rId242"/>
    <p:sldId id="529" r:id="rId243"/>
    <p:sldId id="530" r:id="rId244"/>
    <p:sldId id="531" r:id="rId245"/>
    <p:sldId id="532" r:id="rId246"/>
    <p:sldId id="533" r:id="rId247"/>
    <p:sldId id="534" r:id="rId248"/>
    <p:sldId id="535" r:id="rId249"/>
    <p:sldId id="769" r:id="rId250"/>
    <p:sldId id="536" r:id="rId251"/>
    <p:sldId id="537" r:id="rId252"/>
    <p:sldId id="538" r:id="rId253"/>
    <p:sldId id="539" r:id="rId254"/>
    <p:sldId id="540" r:id="rId255"/>
    <p:sldId id="541" r:id="rId256"/>
    <p:sldId id="542" r:id="rId257"/>
    <p:sldId id="544" r:id="rId258"/>
    <p:sldId id="545" r:id="rId259"/>
    <p:sldId id="546" r:id="rId260"/>
    <p:sldId id="547" r:id="rId261"/>
    <p:sldId id="548" r:id="rId262"/>
    <p:sldId id="549" r:id="rId263"/>
    <p:sldId id="550" r:id="rId264"/>
    <p:sldId id="543" r:id="rId265"/>
    <p:sldId id="551" r:id="rId266"/>
    <p:sldId id="552" r:id="rId267"/>
    <p:sldId id="553" r:id="rId268"/>
    <p:sldId id="554" r:id="rId269"/>
    <p:sldId id="771" r:id="rId270"/>
    <p:sldId id="770" r:id="rId271"/>
    <p:sldId id="772" r:id="rId272"/>
    <p:sldId id="773" r:id="rId273"/>
    <p:sldId id="774" r:id="rId274"/>
    <p:sldId id="775" r:id="rId275"/>
    <p:sldId id="776" r:id="rId276"/>
    <p:sldId id="777" r:id="rId277"/>
    <p:sldId id="778" r:id="rId278"/>
    <p:sldId id="779" r:id="rId279"/>
    <p:sldId id="780" r:id="rId280"/>
    <p:sldId id="781" r:id="rId281"/>
    <p:sldId id="782" r:id="rId282"/>
    <p:sldId id="783" r:id="rId283"/>
    <p:sldId id="784" r:id="rId284"/>
    <p:sldId id="785" r:id="rId285"/>
    <p:sldId id="786" r:id="rId286"/>
    <p:sldId id="787" r:id="rId287"/>
    <p:sldId id="788" r:id="rId288"/>
    <p:sldId id="789" r:id="rId289"/>
    <p:sldId id="790" r:id="rId290"/>
    <p:sldId id="791" r:id="rId291"/>
    <p:sldId id="792" r:id="rId292"/>
    <p:sldId id="555" r:id="rId293"/>
    <p:sldId id="556" r:id="rId294"/>
    <p:sldId id="557" r:id="rId295"/>
    <p:sldId id="558" r:id="rId296"/>
    <p:sldId id="559" r:id="rId297"/>
    <p:sldId id="560" r:id="rId298"/>
    <p:sldId id="793" r:id="rId299"/>
    <p:sldId id="561" r:id="rId300"/>
    <p:sldId id="562" r:id="rId301"/>
    <p:sldId id="563" r:id="rId302"/>
    <p:sldId id="564" r:id="rId303"/>
    <p:sldId id="565" r:id="rId304"/>
    <p:sldId id="566" r:id="rId305"/>
    <p:sldId id="567" r:id="rId306"/>
    <p:sldId id="568" r:id="rId307"/>
    <p:sldId id="569" r:id="rId308"/>
    <p:sldId id="570" r:id="rId309"/>
    <p:sldId id="571" r:id="rId310"/>
    <p:sldId id="572" r:id="rId311"/>
    <p:sldId id="573" r:id="rId312"/>
    <p:sldId id="574" r:id="rId313"/>
    <p:sldId id="575" r:id="rId314"/>
    <p:sldId id="576" r:id="rId315"/>
    <p:sldId id="577" r:id="rId316"/>
    <p:sldId id="794" r:id="rId317"/>
    <p:sldId id="578" r:id="rId318"/>
    <p:sldId id="579" r:id="rId319"/>
    <p:sldId id="580" r:id="rId320"/>
    <p:sldId id="581" r:id="rId321"/>
    <p:sldId id="582" r:id="rId322"/>
    <p:sldId id="584" r:id="rId323"/>
    <p:sldId id="585" r:id="rId324"/>
    <p:sldId id="586" r:id="rId325"/>
    <p:sldId id="587" r:id="rId326"/>
    <p:sldId id="583" r:id="rId327"/>
    <p:sldId id="588" r:id="rId328"/>
    <p:sldId id="589" r:id="rId329"/>
    <p:sldId id="590" r:id="rId330"/>
    <p:sldId id="591" r:id="rId331"/>
    <p:sldId id="592" r:id="rId332"/>
    <p:sldId id="593" r:id="rId333"/>
    <p:sldId id="594" r:id="rId334"/>
    <p:sldId id="595" r:id="rId335"/>
    <p:sldId id="596" r:id="rId336"/>
    <p:sldId id="597" r:id="rId337"/>
    <p:sldId id="598" r:id="rId338"/>
    <p:sldId id="599" r:id="rId339"/>
    <p:sldId id="600" r:id="rId340"/>
    <p:sldId id="601" r:id="rId341"/>
    <p:sldId id="602" r:id="rId342"/>
    <p:sldId id="603" r:id="rId343"/>
    <p:sldId id="795" r:id="rId344"/>
    <p:sldId id="604" r:id="rId345"/>
    <p:sldId id="605" r:id="rId346"/>
    <p:sldId id="606" r:id="rId347"/>
    <p:sldId id="607" r:id="rId348"/>
    <p:sldId id="608" r:id="rId349"/>
    <p:sldId id="609" r:id="rId350"/>
    <p:sldId id="610" r:id="rId351"/>
    <p:sldId id="611" r:id="rId352"/>
    <p:sldId id="612" r:id="rId353"/>
    <p:sldId id="796" r:id="rId354"/>
    <p:sldId id="797" r:id="rId355"/>
    <p:sldId id="613" r:id="rId356"/>
    <p:sldId id="617" r:id="rId357"/>
    <p:sldId id="614" r:id="rId358"/>
    <p:sldId id="618" r:id="rId359"/>
    <p:sldId id="622" r:id="rId360"/>
    <p:sldId id="615" r:id="rId361"/>
    <p:sldId id="619" r:id="rId362"/>
    <p:sldId id="620" r:id="rId363"/>
    <p:sldId id="621" r:id="rId364"/>
    <p:sldId id="616" r:id="rId365"/>
    <p:sldId id="623" r:id="rId366"/>
    <p:sldId id="624" r:id="rId367"/>
    <p:sldId id="625" r:id="rId368"/>
    <p:sldId id="626" r:id="rId369"/>
    <p:sldId id="627" r:id="rId370"/>
    <p:sldId id="628" r:id="rId371"/>
    <p:sldId id="629" r:id="rId372"/>
    <p:sldId id="798" r:id="rId373"/>
    <p:sldId id="630" r:id="rId374"/>
    <p:sldId id="631" r:id="rId375"/>
    <p:sldId id="632" r:id="rId376"/>
    <p:sldId id="633" r:id="rId377"/>
    <p:sldId id="634" r:id="rId378"/>
    <p:sldId id="635" r:id="rId379"/>
    <p:sldId id="636" r:id="rId380"/>
    <p:sldId id="637" r:id="rId381"/>
    <p:sldId id="638" r:id="rId382"/>
    <p:sldId id="639" r:id="rId383"/>
    <p:sldId id="640" r:id="rId384"/>
    <p:sldId id="641" r:id="rId385"/>
    <p:sldId id="642" r:id="rId386"/>
    <p:sldId id="643" r:id="rId387"/>
    <p:sldId id="644" r:id="rId388"/>
    <p:sldId id="645" r:id="rId389"/>
    <p:sldId id="646" r:id="rId390"/>
    <p:sldId id="647" r:id="rId391"/>
    <p:sldId id="648" r:id="rId392"/>
    <p:sldId id="649" r:id="rId393"/>
    <p:sldId id="650" r:id="rId394"/>
    <p:sldId id="651" r:id="rId395"/>
    <p:sldId id="652" r:id="rId396"/>
    <p:sldId id="653" r:id="rId397"/>
    <p:sldId id="799" r:id="rId398"/>
    <p:sldId id="654" r:id="rId399"/>
    <p:sldId id="655" r:id="rId400"/>
    <p:sldId id="800" r:id="rId401"/>
    <p:sldId id="664" r:id="rId402"/>
    <p:sldId id="665" r:id="rId403"/>
    <p:sldId id="666" r:id="rId404"/>
    <p:sldId id="667" r:id="rId405"/>
    <p:sldId id="669" r:id="rId406"/>
    <p:sldId id="670" r:id="rId407"/>
    <p:sldId id="671" r:id="rId408"/>
    <p:sldId id="672" r:id="rId409"/>
    <p:sldId id="673" r:id="rId410"/>
    <p:sldId id="674" r:id="rId411"/>
    <p:sldId id="675" r:id="rId412"/>
    <p:sldId id="668" r:id="rId413"/>
    <p:sldId id="676" r:id="rId414"/>
    <p:sldId id="801" r:id="rId415"/>
    <p:sldId id="680" r:id="rId416"/>
    <p:sldId id="677" r:id="rId417"/>
    <p:sldId id="678" r:id="rId418"/>
    <p:sldId id="679" r:id="rId419"/>
    <p:sldId id="681" r:id="rId420"/>
    <p:sldId id="682" r:id="rId421"/>
    <p:sldId id="683" r:id="rId422"/>
    <p:sldId id="684" r:id="rId423"/>
    <p:sldId id="802" r:id="rId424"/>
    <p:sldId id="685" r:id="rId425"/>
    <p:sldId id="686" r:id="rId426"/>
    <p:sldId id="687" r:id="rId427"/>
    <p:sldId id="688" r:id="rId428"/>
    <p:sldId id="689" r:id="rId429"/>
    <p:sldId id="690" r:id="rId430"/>
    <p:sldId id="691" r:id="rId431"/>
    <p:sldId id="692" r:id="rId432"/>
    <p:sldId id="693" r:id="rId433"/>
    <p:sldId id="694" r:id="rId434"/>
    <p:sldId id="695" r:id="rId435"/>
    <p:sldId id="696" r:id="rId436"/>
    <p:sldId id="698" r:id="rId437"/>
    <p:sldId id="699" r:id="rId438"/>
    <p:sldId id="700" r:id="rId439"/>
    <p:sldId id="701" r:id="rId440"/>
    <p:sldId id="702" r:id="rId441"/>
    <p:sldId id="703" r:id="rId442"/>
    <p:sldId id="704" r:id="rId443"/>
    <p:sldId id="697" r:id="rId444"/>
    <p:sldId id="803" r:id="rId445"/>
    <p:sldId id="705" r:id="rId446"/>
    <p:sldId id="706" r:id="rId447"/>
    <p:sldId id="707" r:id="rId448"/>
    <p:sldId id="708" r:id="rId449"/>
    <p:sldId id="709" r:id="rId450"/>
    <p:sldId id="710" r:id="rId451"/>
    <p:sldId id="712" r:id="rId452"/>
    <p:sldId id="713" r:id="rId453"/>
    <p:sldId id="714" r:id="rId454"/>
    <p:sldId id="711" r:id="rId455"/>
    <p:sldId id="715" r:id="rId456"/>
    <p:sldId id="717" r:id="rId457"/>
    <p:sldId id="719" r:id="rId45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EAFC2341-9A9E-4C28-BFFA-6B825D0AC4BA}">
          <p14:sldIdLst>
            <p14:sldId id="344"/>
            <p14:sldId id="345"/>
            <p14:sldId id="806"/>
            <p14:sldId id="2147471318"/>
            <p14:sldId id="401"/>
            <p14:sldId id="402"/>
          </p14:sldIdLst>
        </p14:section>
        <p14:section name="Slide Kit" id="{C335665F-6942-4633-9A59-9BC53EDA1E36}">
          <p14:sldIdLst>
            <p14:sldId id="296"/>
            <p14:sldId id="804"/>
            <p14:sldId id="347"/>
            <p14:sldId id="348"/>
            <p14:sldId id="341"/>
            <p14:sldId id="350"/>
            <p14:sldId id="276"/>
            <p14:sldId id="335"/>
            <p14:sldId id="353"/>
            <p14:sldId id="354"/>
            <p14:sldId id="355"/>
            <p14:sldId id="356"/>
            <p14:sldId id="357"/>
            <p14:sldId id="358"/>
            <p14:sldId id="359"/>
            <p14:sldId id="360"/>
            <p14:sldId id="361"/>
            <p14:sldId id="362"/>
            <p14:sldId id="363"/>
            <p14:sldId id="364"/>
            <p14:sldId id="365"/>
            <p14:sldId id="366"/>
            <p14:sldId id="367"/>
            <p14:sldId id="368"/>
            <p14:sldId id="369"/>
            <p14:sldId id="370"/>
            <p14:sldId id="371"/>
            <p14:sldId id="372"/>
            <p14:sldId id="373"/>
            <p14:sldId id="374"/>
            <p14:sldId id="805"/>
            <p14:sldId id="375"/>
            <p14:sldId id="376"/>
            <p14:sldId id="377"/>
            <p14:sldId id="378"/>
            <p14:sldId id="379"/>
            <p14:sldId id="380"/>
            <p14:sldId id="381"/>
            <p14:sldId id="382"/>
            <p14:sldId id="383"/>
            <p14:sldId id="384"/>
            <p14:sldId id="386"/>
            <p14:sldId id="387"/>
            <p14:sldId id="388"/>
            <p14:sldId id="389"/>
            <p14:sldId id="390"/>
            <p14:sldId id="391"/>
            <p14:sldId id="392"/>
            <p14:sldId id="393"/>
            <p14:sldId id="394"/>
            <p14:sldId id="395"/>
            <p14:sldId id="396"/>
            <p14:sldId id="397"/>
            <p14:sldId id="398"/>
            <p14:sldId id="399"/>
            <p14:sldId id="400"/>
            <p14:sldId id="268"/>
          </p14:sldIdLst>
        </p14:section>
        <p14:section name="Visual Library Intro" id="{11C5BCDD-05AC-405B-8582-D9D1C38F3D19}">
          <p14:sldIdLst>
            <p14:sldId id="403"/>
            <p14:sldId id="404"/>
          </p14:sldIdLst>
        </p14:section>
        <p14:section name="Charts" id="{1ADCA4D3-42E5-4695-A3EB-D38C7CB856DA}">
          <p14:sldIdLst>
            <p14:sldId id="405"/>
            <p14:sldId id="406"/>
            <p14:sldId id="407"/>
            <p14:sldId id="408"/>
            <p14:sldId id="409"/>
            <p14:sldId id="410"/>
            <p14:sldId id="411"/>
            <p14:sldId id="412"/>
            <p14:sldId id="413"/>
            <p14:sldId id="414"/>
            <p14:sldId id="415"/>
            <p14:sldId id="416"/>
            <p14:sldId id="417"/>
            <p14:sldId id="418"/>
            <p14:sldId id="419"/>
            <p14:sldId id="420"/>
            <p14:sldId id="421"/>
            <p14:sldId id="422"/>
            <p14:sldId id="423"/>
            <p14:sldId id="424"/>
            <p14:sldId id="425"/>
            <p14:sldId id="426"/>
            <p14:sldId id="427"/>
            <p14:sldId id="428"/>
            <p14:sldId id="429"/>
            <p14:sldId id="430"/>
            <p14:sldId id="431"/>
            <p14:sldId id="432"/>
            <p14:sldId id="433"/>
            <p14:sldId id="434"/>
            <p14:sldId id="435"/>
            <p14:sldId id="436"/>
            <p14:sldId id="437"/>
            <p14:sldId id="438"/>
            <p14:sldId id="439"/>
            <p14:sldId id="440"/>
            <p14:sldId id="441"/>
            <p14:sldId id="442"/>
            <p14:sldId id="443"/>
            <p14:sldId id="444"/>
            <p14:sldId id="445"/>
            <p14:sldId id="446"/>
            <p14:sldId id="447"/>
            <p14:sldId id="448"/>
            <p14:sldId id="449"/>
            <p14:sldId id="450"/>
            <p14:sldId id="451"/>
            <p14:sldId id="452"/>
          </p14:sldIdLst>
        </p14:section>
        <p14:section name="Dynamic Concepts" id="{BD6A8613-C70A-4830-8CD5-8992DA66A63E}">
          <p14:sldIdLst>
            <p14:sldId id="454"/>
            <p14:sldId id="453"/>
            <p14:sldId id="455"/>
            <p14:sldId id="456"/>
            <p14:sldId id="457"/>
            <p14:sldId id="458"/>
            <p14:sldId id="459"/>
            <p14:sldId id="460"/>
            <p14:sldId id="720"/>
            <p14:sldId id="721"/>
            <p14:sldId id="722"/>
            <p14:sldId id="723"/>
            <p14:sldId id="724"/>
            <p14:sldId id="725"/>
            <p14:sldId id="726"/>
            <p14:sldId id="727"/>
            <p14:sldId id="728"/>
            <p14:sldId id="729"/>
            <p14:sldId id="730"/>
            <p14:sldId id="731"/>
            <p14:sldId id="732"/>
            <p14:sldId id="733"/>
            <p14:sldId id="734"/>
            <p14:sldId id="735"/>
            <p14:sldId id="736"/>
            <p14:sldId id="737"/>
            <p14:sldId id="738"/>
            <p14:sldId id="739"/>
            <p14:sldId id="740"/>
            <p14:sldId id="741"/>
            <p14:sldId id="742"/>
            <p14:sldId id="743"/>
            <p14:sldId id="744"/>
            <p14:sldId id="745"/>
            <p14:sldId id="746"/>
            <p14:sldId id="747"/>
            <p14:sldId id="748"/>
            <p14:sldId id="749"/>
            <p14:sldId id="750"/>
            <p14:sldId id="751"/>
            <p14:sldId id="752"/>
            <p14:sldId id="753"/>
            <p14:sldId id="754"/>
            <p14:sldId id="755"/>
            <p14:sldId id="756"/>
            <p14:sldId id="757"/>
            <p14:sldId id="758"/>
            <p14:sldId id="759"/>
            <p14:sldId id="760"/>
            <p14:sldId id="761"/>
            <p14:sldId id="762"/>
            <p14:sldId id="763"/>
            <p14:sldId id="764"/>
            <p14:sldId id="765"/>
            <p14:sldId id="461"/>
            <p14:sldId id="462"/>
            <p14:sldId id="463"/>
            <p14:sldId id="465"/>
            <p14:sldId id="466"/>
            <p14:sldId id="467"/>
            <p14:sldId id="468"/>
            <p14:sldId id="469"/>
            <p14:sldId id="470"/>
            <p14:sldId id="471"/>
            <p14:sldId id="464"/>
            <p14:sldId id="472"/>
            <p14:sldId id="473"/>
            <p14:sldId id="474"/>
            <p14:sldId id="477"/>
            <p14:sldId id="478"/>
            <p14:sldId id="479"/>
            <p14:sldId id="475"/>
            <p14:sldId id="480"/>
          </p14:sldIdLst>
        </p14:section>
        <p14:section name="Processes" id="{BFF0953C-B47E-44EB-9494-3063F8C97564}">
          <p14:sldIdLst>
            <p14:sldId id="767"/>
            <p14:sldId id="766"/>
            <p14:sldId id="481"/>
            <p14:sldId id="482"/>
            <p14:sldId id="483"/>
            <p14:sldId id="476"/>
            <p14:sldId id="484"/>
            <p14:sldId id="485"/>
            <p14:sldId id="486"/>
            <p14:sldId id="487"/>
            <p14:sldId id="489"/>
            <p14:sldId id="490"/>
            <p14:sldId id="491"/>
            <p14:sldId id="492"/>
            <p14:sldId id="488"/>
            <p14:sldId id="493"/>
            <p14:sldId id="494"/>
            <p14:sldId id="495"/>
            <p14:sldId id="496"/>
            <p14:sldId id="497"/>
            <p14:sldId id="498"/>
            <p14:sldId id="499"/>
            <p14:sldId id="500"/>
            <p14:sldId id="502"/>
            <p14:sldId id="503"/>
            <p14:sldId id="504"/>
            <p14:sldId id="505"/>
            <p14:sldId id="506"/>
            <p14:sldId id="507"/>
            <p14:sldId id="508"/>
            <p14:sldId id="509"/>
            <p14:sldId id="510"/>
            <p14:sldId id="511"/>
            <p14:sldId id="512"/>
            <p14:sldId id="513"/>
            <p14:sldId id="501"/>
            <p14:sldId id="514"/>
            <p14:sldId id="515"/>
            <p14:sldId id="516"/>
            <p14:sldId id="518"/>
            <p14:sldId id="768"/>
            <p14:sldId id="519"/>
            <p14:sldId id="520"/>
            <p14:sldId id="517"/>
            <p14:sldId id="521"/>
            <p14:sldId id="522"/>
            <p14:sldId id="523"/>
            <p14:sldId id="524"/>
            <p14:sldId id="525"/>
            <p14:sldId id="526"/>
            <p14:sldId id="527"/>
            <p14:sldId id="528"/>
            <p14:sldId id="529"/>
            <p14:sldId id="530"/>
            <p14:sldId id="531"/>
            <p14:sldId id="532"/>
            <p14:sldId id="533"/>
            <p14:sldId id="534"/>
            <p14:sldId id="535"/>
            <p14:sldId id="769"/>
            <p14:sldId id="536"/>
            <p14:sldId id="537"/>
            <p14:sldId id="538"/>
            <p14:sldId id="539"/>
            <p14:sldId id="540"/>
            <p14:sldId id="541"/>
            <p14:sldId id="542"/>
            <p14:sldId id="544"/>
            <p14:sldId id="545"/>
            <p14:sldId id="546"/>
            <p14:sldId id="547"/>
            <p14:sldId id="548"/>
            <p14:sldId id="549"/>
            <p14:sldId id="550"/>
            <p14:sldId id="543"/>
            <p14:sldId id="551"/>
            <p14:sldId id="552"/>
            <p14:sldId id="553"/>
            <p14:sldId id="554"/>
            <p14:sldId id="771"/>
            <p14:sldId id="770"/>
            <p14:sldId id="772"/>
            <p14:sldId id="773"/>
            <p14:sldId id="774"/>
            <p14:sldId id="775"/>
            <p14:sldId id="776"/>
            <p14:sldId id="777"/>
            <p14:sldId id="778"/>
            <p14:sldId id="779"/>
            <p14:sldId id="780"/>
            <p14:sldId id="781"/>
            <p14:sldId id="782"/>
            <p14:sldId id="783"/>
            <p14:sldId id="784"/>
            <p14:sldId id="785"/>
            <p14:sldId id="786"/>
            <p14:sldId id="787"/>
            <p14:sldId id="788"/>
            <p14:sldId id="789"/>
            <p14:sldId id="790"/>
            <p14:sldId id="791"/>
            <p14:sldId id="792"/>
            <p14:sldId id="555"/>
            <p14:sldId id="556"/>
            <p14:sldId id="557"/>
            <p14:sldId id="558"/>
            <p14:sldId id="559"/>
            <p14:sldId id="560"/>
            <p14:sldId id="793"/>
            <p14:sldId id="561"/>
            <p14:sldId id="562"/>
            <p14:sldId id="563"/>
            <p14:sldId id="564"/>
            <p14:sldId id="565"/>
            <p14:sldId id="566"/>
            <p14:sldId id="567"/>
            <p14:sldId id="568"/>
            <p14:sldId id="569"/>
            <p14:sldId id="570"/>
            <p14:sldId id="571"/>
            <p14:sldId id="572"/>
            <p14:sldId id="573"/>
            <p14:sldId id="574"/>
            <p14:sldId id="575"/>
            <p14:sldId id="576"/>
            <p14:sldId id="577"/>
            <p14:sldId id="794"/>
            <p14:sldId id="578"/>
            <p14:sldId id="579"/>
            <p14:sldId id="580"/>
            <p14:sldId id="581"/>
            <p14:sldId id="582"/>
            <p14:sldId id="584"/>
            <p14:sldId id="585"/>
            <p14:sldId id="586"/>
            <p14:sldId id="587"/>
            <p14:sldId id="583"/>
            <p14:sldId id="588"/>
            <p14:sldId id="589"/>
            <p14:sldId id="590"/>
            <p14:sldId id="591"/>
            <p14:sldId id="592"/>
            <p14:sldId id="593"/>
            <p14:sldId id="594"/>
            <p14:sldId id="595"/>
            <p14:sldId id="596"/>
            <p14:sldId id="597"/>
            <p14:sldId id="598"/>
            <p14:sldId id="599"/>
            <p14:sldId id="600"/>
            <p14:sldId id="601"/>
            <p14:sldId id="602"/>
            <p14:sldId id="603"/>
            <p14:sldId id="795"/>
            <p14:sldId id="604"/>
            <p14:sldId id="605"/>
            <p14:sldId id="606"/>
            <p14:sldId id="607"/>
            <p14:sldId id="608"/>
            <p14:sldId id="609"/>
            <p14:sldId id="610"/>
            <p14:sldId id="611"/>
            <p14:sldId id="612"/>
            <p14:sldId id="796"/>
            <p14:sldId id="797"/>
            <p14:sldId id="613"/>
            <p14:sldId id="617"/>
            <p14:sldId id="614"/>
            <p14:sldId id="618"/>
            <p14:sldId id="622"/>
            <p14:sldId id="615"/>
            <p14:sldId id="619"/>
            <p14:sldId id="620"/>
            <p14:sldId id="621"/>
            <p14:sldId id="616"/>
            <p14:sldId id="623"/>
            <p14:sldId id="624"/>
            <p14:sldId id="625"/>
            <p14:sldId id="626"/>
            <p14:sldId id="627"/>
            <p14:sldId id="628"/>
            <p14:sldId id="629"/>
            <p14:sldId id="798"/>
            <p14:sldId id="630"/>
            <p14:sldId id="631"/>
            <p14:sldId id="632"/>
            <p14:sldId id="633"/>
            <p14:sldId id="634"/>
            <p14:sldId id="635"/>
            <p14:sldId id="636"/>
            <p14:sldId id="637"/>
            <p14:sldId id="638"/>
            <p14:sldId id="639"/>
            <p14:sldId id="640"/>
            <p14:sldId id="641"/>
            <p14:sldId id="642"/>
            <p14:sldId id="643"/>
            <p14:sldId id="644"/>
            <p14:sldId id="645"/>
            <p14:sldId id="646"/>
            <p14:sldId id="647"/>
            <p14:sldId id="648"/>
            <p14:sldId id="649"/>
            <p14:sldId id="650"/>
            <p14:sldId id="651"/>
            <p14:sldId id="652"/>
            <p14:sldId id="653"/>
            <p14:sldId id="799"/>
            <p14:sldId id="654"/>
            <p14:sldId id="655"/>
            <p14:sldId id="800"/>
            <p14:sldId id="664"/>
            <p14:sldId id="665"/>
            <p14:sldId id="666"/>
            <p14:sldId id="667"/>
            <p14:sldId id="669"/>
            <p14:sldId id="670"/>
            <p14:sldId id="671"/>
            <p14:sldId id="672"/>
            <p14:sldId id="673"/>
            <p14:sldId id="674"/>
            <p14:sldId id="675"/>
            <p14:sldId id="668"/>
            <p14:sldId id="676"/>
            <p14:sldId id="801"/>
            <p14:sldId id="680"/>
            <p14:sldId id="677"/>
            <p14:sldId id="678"/>
            <p14:sldId id="679"/>
            <p14:sldId id="681"/>
            <p14:sldId id="682"/>
            <p14:sldId id="683"/>
            <p14:sldId id="684"/>
            <p14:sldId id="802"/>
            <p14:sldId id="685"/>
            <p14:sldId id="686"/>
            <p14:sldId id="687"/>
            <p14:sldId id="688"/>
            <p14:sldId id="689"/>
            <p14:sldId id="690"/>
            <p14:sldId id="691"/>
            <p14:sldId id="692"/>
            <p14:sldId id="693"/>
            <p14:sldId id="694"/>
            <p14:sldId id="695"/>
            <p14:sldId id="696"/>
            <p14:sldId id="698"/>
            <p14:sldId id="699"/>
            <p14:sldId id="700"/>
            <p14:sldId id="701"/>
            <p14:sldId id="702"/>
            <p14:sldId id="703"/>
            <p14:sldId id="704"/>
            <p14:sldId id="697"/>
            <p14:sldId id="803"/>
            <p14:sldId id="705"/>
            <p14:sldId id="706"/>
            <p14:sldId id="707"/>
            <p14:sldId id="708"/>
            <p14:sldId id="709"/>
            <p14:sldId id="710"/>
            <p14:sldId id="712"/>
            <p14:sldId id="713"/>
            <p14:sldId id="714"/>
            <p14:sldId id="711"/>
            <p14:sldId id="715"/>
            <p14:sldId id="717"/>
            <p14:sldId id="71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AFFF"/>
    <a:srgbClr val="C766FF"/>
    <a:srgbClr val="BE82FF"/>
    <a:srgbClr val="D5D5D1"/>
    <a:srgbClr val="FFFFFF"/>
    <a:srgbClr val="00EB81"/>
    <a:srgbClr val="E6DCFF"/>
    <a:srgbClr val="0041F0"/>
    <a:srgbClr val="FF50A0"/>
    <a:srgbClr val="FF324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A0BC3CC4-8867-4C89-9D3F-A6A6B9ED4035}">
  <a:tblStyle styleId="{A0BC3CC4-8867-4C89-9D3F-A6A6B9ED4035}" styleName="Acc_Table_1">
    <a:wholeTbl>
      <a:tcTxStyle>
        <a:fontRef idx="minor">
          <a:prstClr val="black"/>
        </a:fontRef>
        <a:schemeClr val="dk1"/>
      </a:tcTxStyle>
      <a:tcStyle>
        <a:tcBdr>
          <a:left>
            <a:ln w="0" cmpd="sng">
              <a:solidFill>
                <a:srgbClr val="FFFFFF"/>
              </a:solidFill>
            </a:ln>
          </a:left>
          <a:right>
            <a:ln w="0" cmpd="sng">
              <a:solidFill>
                <a:srgbClr val="FFFFFF"/>
              </a:solidFill>
            </a:ln>
          </a:right>
          <a:top>
            <a:ln w="0" cmpd="sng">
              <a:solidFill>
                <a:srgbClr val="FFFFFF"/>
              </a:solidFill>
            </a:ln>
          </a:top>
          <a:bottom>
            <a:ln w="12700" cmpd="sng">
              <a:solidFill>
                <a:schemeClr val="dk1"/>
              </a:solidFill>
            </a:ln>
          </a:bottom>
          <a:insideH>
            <a:ln w="6350" cmpd="sng">
              <a:solidFill>
                <a:srgbClr val="D9D9D9"/>
              </a:solidFill>
            </a:ln>
          </a:insideH>
          <a:insideV>
            <a:ln w="6350" cmpd="sng">
              <a:solidFill>
                <a:srgbClr val="D9D9D9"/>
              </a:solidFill>
            </a:ln>
          </a:insideV>
        </a:tcBdr>
        <a:fill>
          <a:noFill/>
        </a:fill>
      </a:tcStyle>
    </a:wholeTbl>
    <a:band1H>
      <a:tcTxStyle>
        <a:fontRef idx="minor">
          <a:prstClr val="black"/>
        </a:fontRef>
        <a:schemeClr val="dk1"/>
      </a:tcTxStyle>
      <a:tcStyle>
        <a:tcBdr/>
        <a:fill>
          <a:solidFill>
            <a:srgbClr val="F2F2F2"/>
          </a:solidFill>
        </a:fill>
      </a:tcStyle>
    </a:band1H>
    <a:band1V>
      <a:tcTxStyle>
        <a:fontRef idx="minor">
          <a:prstClr val="black"/>
        </a:fontRef>
        <a:schemeClr val="dk1"/>
      </a:tcTxStyle>
      <a:tcStyle>
        <a:tcBdr/>
        <a:fill>
          <a:solidFill>
            <a:srgbClr val="F2F2F2"/>
          </a:solidFill>
        </a:fill>
      </a:tcStyle>
    </a:band1V>
    <a:lastCol>
      <a:tcTxStyle b="on">
        <a:fontRef idx="minor">
          <a:prstClr val="black"/>
        </a:fontRef>
        <a:schemeClr val="dk1"/>
      </a:tcTxStyle>
      <a:tcStyle>
        <a:tcBdr/>
      </a:tcStyle>
    </a:lastCol>
    <a:firstCol>
      <a:tcTxStyle b="on">
        <a:fontRef idx="minor">
          <a:prstClr val="black"/>
        </a:fontRef>
        <a:schemeClr val="dk1"/>
      </a:tcTxStyle>
      <a:tcStyle>
        <a:tcBdr/>
      </a:tcStyle>
    </a:firstCol>
    <a:lastRow>
      <a:tcTxStyle b="on">
        <a:fontRef idx="minor">
          <a:prstClr val="black"/>
        </a:fontRef>
        <a:schemeClr val="dk1"/>
      </a:tcTxStyle>
      <a:tcStyle>
        <a:tcBdr/>
      </a:tcStyle>
    </a:lastRow>
    <a:firstRow>
      <a:tcTxStyle b="on">
        <a:fontRef idx="minor">
          <a:prstClr val="black"/>
        </a:fontRef>
        <a:schemeClr val="lt1"/>
      </a:tcTxStyle>
      <a:tcStyle>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65" autoAdjust="0"/>
    <p:restoredTop sz="86430" autoAdjust="0"/>
  </p:normalViewPr>
  <p:slideViewPr>
    <p:cSldViewPr snapToGrid="0" showGuides="1">
      <p:cViewPr varScale="1">
        <p:scale>
          <a:sx n="71" d="100"/>
          <a:sy n="71" d="100"/>
        </p:scale>
        <p:origin x="1090" y="58"/>
      </p:cViewPr>
      <p:guideLst/>
    </p:cSldViewPr>
  </p:slideViewPr>
  <p:outlineViewPr>
    <p:cViewPr>
      <p:scale>
        <a:sx n="33" d="100"/>
        <a:sy n="33" d="100"/>
      </p:scale>
      <p:origin x="0" y="-112723"/>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81" d="100"/>
          <a:sy n="81" d="100"/>
        </p:scale>
        <p:origin x="3516" y="57"/>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99" Type="http://schemas.openxmlformats.org/officeDocument/2006/relationships/slide" Target="slides/slide295.xml"/><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324" Type="http://schemas.openxmlformats.org/officeDocument/2006/relationships/slide" Target="slides/slide320.xml"/><Relationship Id="rId366" Type="http://schemas.openxmlformats.org/officeDocument/2006/relationships/slide" Target="slides/slide362.xml"/><Relationship Id="rId170" Type="http://schemas.openxmlformats.org/officeDocument/2006/relationships/slide" Target="slides/slide166.xml"/><Relationship Id="rId226" Type="http://schemas.openxmlformats.org/officeDocument/2006/relationships/slide" Target="slides/slide222.xml"/><Relationship Id="rId433" Type="http://schemas.openxmlformats.org/officeDocument/2006/relationships/slide" Target="slides/slide429.xml"/><Relationship Id="rId268" Type="http://schemas.openxmlformats.org/officeDocument/2006/relationships/slide" Target="slides/slide264.xml"/><Relationship Id="rId32" Type="http://schemas.openxmlformats.org/officeDocument/2006/relationships/slide" Target="slides/slide28.xml"/><Relationship Id="rId74" Type="http://schemas.openxmlformats.org/officeDocument/2006/relationships/slide" Target="slides/slide70.xml"/><Relationship Id="rId128" Type="http://schemas.openxmlformats.org/officeDocument/2006/relationships/slide" Target="slides/slide124.xml"/><Relationship Id="rId335" Type="http://schemas.openxmlformats.org/officeDocument/2006/relationships/slide" Target="slides/slide331.xml"/><Relationship Id="rId377" Type="http://schemas.openxmlformats.org/officeDocument/2006/relationships/slide" Target="slides/slide373.xml"/><Relationship Id="rId5" Type="http://schemas.openxmlformats.org/officeDocument/2006/relationships/slide" Target="slides/slide1.xml"/><Relationship Id="rId181" Type="http://schemas.openxmlformats.org/officeDocument/2006/relationships/slide" Target="slides/slide177.xml"/><Relationship Id="rId237" Type="http://schemas.openxmlformats.org/officeDocument/2006/relationships/slide" Target="slides/slide233.xml"/><Relationship Id="rId402" Type="http://schemas.openxmlformats.org/officeDocument/2006/relationships/slide" Target="slides/slide398.xml"/><Relationship Id="rId279" Type="http://schemas.openxmlformats.org/officeDocument/2006/relationships/slide" Target="slides/slide275.xml"/><Relationship Id="rId444" Type="http://schemas.openxmlformats.org/officeDocument/2006/relationships/slide" Target="slides/slide440.xml"/><Relationship Id="rId43" Type="http://schemas.openxmlformats.org/officeDocument/2006/relationships/slide" Target="slides/slide39.xml"/><Relationship Id="rId139" Type="http://schemas.openxmlformats.org/officeDocument/2006/relationships/slide" Target="slides/slide135.xml"/><Relationship Id="rId290" Type="http://schemas.openxmlformats.org/officeDocument/2006/relationships/slide" Target="slides/slide286.xml"/><Relationship Id="rId304" Type="http://schemas.openxmlformats.org/officeDocument/2006/relationships/slide" Target="slides/slide300.xml"/><Relationship Id="rId346" Type="http://schemas.openxmlformats.org/officeDocument/2006/relationships/slide" Target="slides/slide342.xml"/><Relationship Id="rId388" Type="http://schemas.openxmlformats.org/officeDocument/2006/relationships/slide" Target="slides/slide384.xml"/><Relationship Id="rId85" Type="http://schemas.openxmlformats.org/officeDocument/2006/relationships/slide" Target="slides/slide81.xml"/><Relationship Id="rId150" Type="http://schemas.openxmlformats.org/officeDocument/2006/relationships/slide" Target="slides/slide146.xml"/><Relationship Id="rId192" Type="http://schemas.openxmlformats.org/officeDocument/2006/relationships/slide" Target="slides/slide188.xml"/><Relationship Id="rId206" Type="http://schemas.openxmlformats.org/officeDocument/2006/relationships/slide" Target="slides/slide202.xml"/><Relationship Id="rId413" Type="http://schemas.openxmlformats.org/officeDocument/2006/relationships/slide" Target="slides/slide409.xml"/><Relationship Id="rId248" Type="http://schemas.openxmlformats.org/officeDocument/2006/relationships/slide" Target="slides/slide244.xml"/><Relationship Id="rId455" Type="http://schemas.openxmlformats.org/officeDocument/2006/relationships/slide" Target="slides/slide451.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357" Type="http://schemas.openxmlformats.org/officeDocument/2006/relationships/slide" Target="slides/slide353.xml"/><Relationship Id="rId54" Type="http://schemas.openxmlformats.org/officeDocument/2006/relationships/slide" Target="slides/slide50.xml"/><Relationship Id="rId96" Type="http://schemas.openxmlformats.org/officeDocument/2006/relationships/slide" Target="slides/slide92.xml"/><Relationship Id="rId161" Type="http://schemas.openxmlformats.org/officeDocument/2006/relationships/slide" Target="slides/slide157.xml"/><Relationship Id="rId217" Type="http://schemas.openxmlformats.org/officeDocument/2006/relationships/slide" Target="slides/slide213.xml"/><Relationship Id="rId399" Type="http://schemas.openxmlformats.org/officeDocument/2006/relationships/slide" Target="slides/slide395.xml"/><Relationship Id="rId259" Type="http://schemas.openxmlformats.org/officeDocument/2006/relationships/slide" Target="slides/slide255.xml"/><Relationship Id="rId424" Type="http://schemas.openxmlformats.org/officeDocument/2006/relationships/slide" Target="slides/slide420.xml"/><Relationship Id="rId23" Type="http://schemas.openxmlformats.org/officeDocument/2006/relationships/slide" Target="slides/slide19.xml"/><Relationship Id="rId119" Type="http://schemas.openxmlformats.org/officeDocument/2006/relationships/slide" Target="slides/slide115.xml"/><Relationship Id="rId270" Type="http://schemas.openxmlformats.org/officeDocument/2006/relationships/slide" Target="slides/slide266.xml"/><Relationship Id="rId326" Type="http://schemas.openxmlformats.org/officeDocument/2006/relationships/slide" Target="slides/slide322.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172" Type="http://schemas.openxmlformats.org/officeDocument/2006/relationships/slide" Target="slides/slide168.xml"/><Relationship Id="rId228" Type="http://schemas.openxmlformats.org/officeDocument/2006/relationships/slide" Target="slides/slide224.xml"/><Relationship Id="rId435" Type="http://schemas.openxmlformats.org/officeDocument/2006/relationships/slide" Target="slides/slide431.xml"/><Relationship Id="rId281" Type="http://schemas.openxmlformats.org/officeDocument/2006/relationships/slide" Target="slides/slide277.xml"/><Relationship Id="rId337" Type="http://schemas.openxmlformats.org/officeDocument/2006/relationships/slide" Target="slides/slide333.xml"/><Relationship Id="rId34" Type="http://schemas.openxmlformats.org/officeDocument/2006/relationships/slide" Target="slides/slide30.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slide" Target="slides/slide375.xml"/><Relationship Id="rId7" Type="http://schemas.openxmlformats.org/officeDocument/2006/relationships/slide" Target="slides/slide3.xml"/><Relationship Id="rId183" Type="http://schemas.openxmlformats.org/officeDocument/2006/relationships/slide" Target="slides/slide179.xml"/><Relationship Id="rId239" Type="http://schemas.openxmlformats.org/officeDocument/2006/relationships/slide" Target="slides/slide235.xml"/><Relationship Id="rId390" Type="http://schemas.openxmlformats.org/officeDocument/2006/relationships/slide" Target="slides/slide386.xml"/><Relationship Id="rId404" Type="http://schemas.openxmlformats.org/officeDocument/2006/relationships/slide" Target="slides/slide400.xml"/><Relationship Id="rId446" Type="http://schemas.openxmlformats.org/officeDocument/2006/relationships/slide" Target="slides/slide442.xml"/><Relationship Id="rId250" Type="http://schemas.openxmlformats.org/officeDocument/2006/relationships/slide" Target="slides/slide246.xml"/><Relationship Id="rId292" Type="http://schemas.openxmlformats.org/officeDocument/2006/relationships/slide" Target="slides/slide288.xml"/><Relationship Id="rId306" Type="http://schemas.openxmlformats.org/officeDocument/2006/relationships/slide" Target="slides/slide302.xml"/><Relationship Id="rId45" Type="http://schemas.openxmlformats.org/officeDocument/2006/relationships/slide" Target="slides/slide41.xml"/><Relationship Id="rId87" Type="http://schemas.openxmlformats.org/officeDocument/2006/relationships/slide" Target="slides/slide83.xml"/><Relationship Id="rId110" Type="http://schemas.openxmlformats.org/officeDocument/2006/relationships/slide" Target="slides/slide106.xml"/><Relationship Id="rId348" Type="http://schemas.openxmlformats.org/officeDocument/2006/relationships/slide" Target="slides/slide344.xml"/><Relationship Id="rId152" Type="http://schemas.openxmlformats.org/officeDocument/2006/relationships/slide" Target="slides/slide148.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457" Type="http://schemas.openxmlformats.org/officeDocument/2006/relationships/slide" Target="slides/slide453.xml"/><Relationship Id="rId261" Type="http://schemas.openxmlformats.org/officeDocument/2006/relationships/slide" Target="slides/slide257.xml"/><Relationship Id="rId14" Type="http://schemas.openxmlformats.org/officeDocument/2006/relationships/slide" Target="slides/slide10.xml"/><Relationship Id="rId56" Type="http://schemas.openxmlformats.org/officeDocument/2006/relationships/slide" Target="slides/slide52.xml"/><Relationship Id="rId317" Type="http://schemas.openxmlformats.org/officeDocument/2006/relationships/slide" Target="slides/slide313.xml"/><Relationship Id="rId359" Type="http://schemas.openxmlformats.org/officeDocument/2006/relationships/slide" Target="slides/slide355.xml"/><Relationship Id="rId98" Type="http://schemas.openxmlformats.org/officeDocument/2006/relationships/slide" Target="slides/slide94.xml"/><Relationship Id="rId121" Type="http://schemas.openxmlformats.org/officeDocument/2006/relationships/slide" Target="slides/slide117.xml"/><Relationship Id="rId163" Type="http://schemas.openxmlformats.org/officeDocument/2006/relationships/slide" Target="slides/slide159.xml"/><Relationship Id="rId219" Type="http://schemas.openxmlformats.org/officeDocument/2006/relationships/slide" Target="slides/slide215.xml"/><Relationship Id="rId370" Type="http://schemas.openxmlformats.org/officeDocument/2006/relationships/slide" Target="slides/slide366.xml"/><Relationship Id="rId426" Type="http://schemas.openxmlformats.org/officeDocument/2006/relationships/slide" Target="slides/slide422.xml"/><Relationship Id="rId230" Type="http://schemas.openxmlformats.org/officeDocument/2006/relationships/slide" Target="slides/slide226.xml"/><Relationship Id="rId25" Type="http://schemas.openxmlformats.org/officeDocument/2006/relationships/slide" Target="slides/slide21.xml"/><Relationship Id="rId67" Type="http://schemas.openxmlformats.org/officeDocument/2006/relationships/slide" Target="slides/slide63.xml"/><Relationship Id="rId272" Type="http://schemas.openxmlformats.org/officeDocument/2006/relationships/slide" Target="slides/slide268.xml"/><Relationship Id="rId328" Type="http://schemas.openxmlformats.org/officeDocument/2006/relationships/slide" Target="slides/slide324.xml"/><Relationship Id="rId132" Type="http://schemas.openxmlformats.org/officeDocument/2006/relationships/slide" Target="slides/slide128.xml"/><Relationship Id="rId174" Type="http://schemas.openxmlformats.org/officeDocument/2006/relationships/slide" Target="slides/slide170.xml"/><Relationship Id="rId381" Type="http://schemas.openxmlformats.org/officeDocument/2006/relationships/slide" Target="slides/slide377.xml"/><Relationship Id="rId241" Type="http://schemas.openxmlformats.org/officeDocument/2006/relationships/slide" Target="slides/slide237.xml"/><Relationship Id="rId437" Type="http://schemas.openxmlformats.org/officeDocument/2006/relationships/slide" Target="slides/slide433.xml"/><Relationship Id="rId36" Type="http://schemas.openxmlformats.org/officeDocument/2006/relationships/slide" Target="slides/slide32.xml"/><Relationship Id="rId283" Type="http://schemas.openxmlformats.org/officeDocument/2006/relationships/slide" Target="slides/slide279.xml"/><Relationship Id="rId339" Type="http://schemas.openxmlformats.org/officeDocument/2006/relationships/slide" Target="slides/slide335.xml"/><Relationship Id="rId78" Type="http://schemas.openxmlformats.org/officeDocument/2006/relationships/slide" Target="slides/slide74.xml"/><Relationship Id="rId101" Type="http://schemas.openxmlformats.org/officeDocument/2006/relationships/slide" Target="slides/slide97.xml"/><Relationship Id="rId143" Type="http://schemas.openxmlformats.org/officeDocument/2006/relationships/slide" Target="slides/slide139.xml"/><Relationship Id="rId185" Type="http://schemas.openxmlformats.org/officeDocument/2006/relationships/slide" Target="slides/slide181.xml"/><Relationship Id="rId350" Type="http://schemas.openxmlformats.org/officeDocument/2006/relationships/slide" Target="slides/slide346.xml"/><Relationship Id="rId406" Type="http://schemas.openxmlformats.org/officeDocument/2006/relationships/slide" Target="slides/slide402.xml"/><Relationship Id="rId9" Type="http://schemas.openxmlformats.org/officeDocument/2006/relationships/slide" Target="slides/slide5.xml"/><Relationship Id="rId210" Type="http://schemas.openxmlformats.org/officeDocument/2006/relationships/slide" Target="slides/slide206.xml"/><Relationship Id="rId392" Type="http://schemas.openxmlformats.org/officeDocument/2006/relationships/slide" Target="slides/slide388.xml"/><Relationship Id="rId448" Type="http://schemas.openxmlformats.org/officeDocument/2006/relationships/slide" Target="slides/slide444.xml"/><Relationship Id="rId252" Type="http://schemas.openxmlformats.org/officeDocument/2006/relationships/slide" Target="slides/slide248.xml"/><Relationship Id="rId294" Type="http://schemas.openxmlformats.org/officeDocument/2006/relationships/slide" Target="slides/slide290.xml"/><Relationship Id="rId308" Type="http://schemas.openxmlformats.org/officeDocument/2006/relationships/slide" Target="slides/slide304.xml"/><Relationship Id="rId47" Type="http://schemas.openxmlformats.org/officeDocument/2006/relationships/slide" Target="slides/slide43.xml"/><Relationship Id="rId89" Type="http://schemas.openxmlformats.org/officeDocument/2006/relationships/slide" Target="slides/slide85.xml"/><Relationship Id="rId112" Type="http://schemas.openxmlformats.org/officeDocument/2006/relationships/slide" Target="slides/slide108.xml"/><Relationship Id="rId154" Type="http://schemas.openxmlformats.org/officeDocument/2006/relationships/slide" Target="slides/slide150.xml"/><Relationship Id="rId361" Type="http://schemas.openxmlformats.org/officeDocument/2006/relationships/slide" Target="slides/slide357.xml"/><Relationship Id="rId196" Type="http://schemas.openxmlformats.org/officeDocument/2006/relationships/slide" Target="slides/slide192.xml"/><Relationship Id="rId417" Type="http://schemas.openxmlformats.org/officeDocument/2006/relationships/slide" Target="slides/slide413.xml"/><Relationship Id="rId459" Type="http://schemas.openxmlformats.org/officeDocument/2006/relationships/notesMaster" Target="notesMasters/notesMaster1.xml"/><Relationship Id="rId16" Type="http://schemas.openxmlformats.org/officeDocument/2006/relationships/slide" Target="slides/slide12.xml"/><Relationship Id="rId221" Type="http://schemas.openxmlformats.org/officeDocument/2006/relationships/slide" Target="slides/slide217.xml"/><Relationship Id="rId263" Type="http://schemas.openxmlformats.org/officeDocument/2006/relationships/slide" Target="slides/slide259.xml"/><Relationship Id="rId319" Type="http://schemas.openxmlformats.org/officeDocument/2006/relationships/slide" Target="slides/slide315.xml"/><Relationship Id="rId58" Type="http://schemas.openxmlformats.org/officeDocument/2006/relationships/slide" Target="slides/slide54.xml"/><Relationship Id="rId123" Type="http://schemas.openxmlformats.org/officeDocument/2006/relationships/slide" Target="slides/slide119.xml"/><Relationship Id="rId330" Type="http://schemas.openxmlformats.org/officeDocument/2006/relationships/slide" Target="slides/slide326.xml"/><Relationship Id="rId165" Type="http://schemas.openxmlformats.org/officeDocument/2006/relationships/slide" Target="slides/slide161.xml"/><Relationship Id="rId372" Type="http://schemas.openxmlformats.org/officeDocument/2006/relationships/slide" Target="slides/slide368.xml"/><Relationship Id="rId428" Type="http://schemas.openxmlformats.org/officeDocument/2006/relationships/slide" Target="slides/slide424.xml"/><Relationship Id="rId232" Type="http://schemas.openxmlformats.org/officeDocument/2006/relationships/slide" Target="slides/slide228.xml"/><Relationship Id="rId274" Type="http://schemas.openxmlformats.org/officeDocument/2006/relationships/slide" Target="slides/slide270.xml"/><Relationship Id="rId27" Type="http://schemas.openxmlformats.org/officeDocument/2006/relationships/slide" Target="slides/slide23.xml"/><Relationship Id="rId69" Type="http://schemas.openxmlformats.org/officeDocument/2006/relationships/slide" Target="slides/slide65.xml"/><Relationship Id="rId134" Type="http://schemas.openxmlformats.org/officeDocument/2006/relationships/slide" Target="slides/slide130.xml"/><Relationship Id="rId80" Type="http://schemas.openxmlformats.org/officeDocument/2006/relationships/slide" Target="slides/slide76.xml"/><Relationship Id="rId176" Type="http://schemas.openxmlformats.org/officeDocument/2006/relationships/slide" Target="slides/slide172.xml"/><Relationship Id="rId341" Type="http://schemas.openxmlformats.org/officeDocument/2006/relationships/slide" Target="slides/slide337.xml"/><Relationship Id="rId383" Type="http://schemas.openxmlformats.org/officeDocument/2006/relationships/slide" Target="slides/slide379.xml"/><Relationship Id="rId439" Type="http://schemas.openxmlformats.org/officeDocument/2006/relationships/slide" Target="slides/slide435.xml"/><Relationship Id="rId201" Type="http://schemas.openxmlformats.org/officeDocument/2006/relationships/slide" Target="slides/slide197.xml"/><Relationship Id="rId243" Type="http://schemas.openxmlformats.org/officeDocument/2006/relationships/slide" Target="slides/slide239.xml"/><Relationship Id="rId285" Type="http://schemas.openxmlformats.org/officeDocument/2006/relationships/slide" Target="slides/slide281.xml"/><Relationship Id="rId450" Type="http://schemas.openxmlformats.org/officeDocument/2006/relationships/slide" Target="slides/slide446.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91" Type="http://schemas.openxmlformats.org/officeDocument/2006/relationships/slide" Target="slides/slide87.xml"/><Relationship Id="rId145" Type="http://schemas.openxmlformats.org/officeDocument/2006/relationships/slide" Target="slides/slide141.xml"/><Relationship Id="rId187" Type="http://schemas.openxmlformats.org/officeDocument/2006/relationships/slide" Target="slides/slide183.xml"/><Relationship Id="rId352" Type="http://schemas.openxmlformats.org/officeDocument/2006/relationships/slide" Target="slides/slide348.xml"/><Relationship Id="rId394" Type="http://schemas.openxmlformats.org/officeDocument/2006/relationships/slide" Target="slides/slide390.xml"/><Relationship Id="rId408" Type="http://schemas.openxmlformats.org/officeDocument/2006/relationships/slide" Target="slides/slide404.xml"/><Relationship Id="rId212" Type="http://schemas.openxmlformats.org/officeDocument/2006/relationships/slide" Target="slides/slide208.xml"/><Relationship Id="rId254" Type="http://schemas.openxmlformats.org/officeDocument/2006/relationships/slide" Target="slides/slide250.xml"/><Relationship Id="rId49" Type="http://schemas.openxmlformats.org/officeDocument/2006/relationships/slide" Target="slides/slide45.xml"/><Relationship Id="rId114" Type="http://schemas.openxmlformats.org/officeDocument/2006/relationships/slide" Target="slides/slide110.xml"/><Relationship Id="rId296" Type="http://schemas.openxmlformats.org/officeDocument/2006/relationships/slide" Target="slides/slide292.xml"/><Relationship Id="rId461" Type="http://schemas.openxmlformats.org/officeDocument/2006/relationships/viewProps" Target="viewProps.xml"/><Relationship Id="rId60" Type="http://schemas.openxmlformats.org/officeDocument/2006/relationships/slide" Target="slides/slide56.xml"/><Relationship Id="rId156" Type="http://schemas.openxmlformats.org/officeDocument/2006/relationships/slide" Target="slides/slide152.xml"/><Relationship Id="rId198" Type="http://schemas.openxmlformats.org/officeDocument/2006/relationships/slide" Target="slides/slide194.xml"/><Relationship Id="rId321" Type="http://schemas.openxmlformats.org/officeDocument/2006/relationships/slide" Target="slides/slide317.xml"/><Relationship Id="rId363" Type="http://schemas.openxmlformats.org/officeDocument/2006/relationships/slide" Target="slides/slide359.xml"/><Relationship Id="rId419" Type="http://schemas.openxmlformats.org/officeDocument/2006/relationships/slide" Target="slides/slide415.xml"/><Relationship Id="rId223" Type="http://schemas.openxmlformats.org/officeDocument/2006/relationships/slide" Target="slides/slide219.xml"/><Relationship Id="rId430" Type="http://schemas.openxmlformats.org/officeDocument/2006/relationships/slide" Target="slides/slide426.xml"/><Relationship Id="rId18" Type="http://schemas.openxmlformats.org/officeDocument/2006/relationships/slide" Target="slides/slide14.xml"/><Relationship Id="rId265" Type="http://schemas.openxmlformats.org/officeDocument/2006/relationships/slide" Target="slides/slide261.xml"/><Relationship Id="rId125" Type="http://schemas.openxmlformats.org/officeDocument/2006/relationships/slide" Target="slides/slide121.xml"/><Relationship Id="rId167" Type="http://schemas.openxmlformats.org/officeDocument/2006/relationships/slide" Target="slides/slide163.xml"/><Relationship Id="rId332" Type="http://schemas.openxmlformats.org/officeDocument/2006/relationships/slide" Target="slides/slide328.xml"/><Relationship Id="rId374" Type="http://schemas.openxmlformats.org/officeDocument/2006/relationships/slide" Target="slides/slide370.xml"/><Relationship Id="rId71" Type="http://schemas.openxmlformats.org/officeDocument/2006/relationships/slide" Target="slides/slide67.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76" Type="http://schemas.openxmlformats.org/officeDocument/2006/relationships/slide" Target="slides/slide272.xml"/><Relationship Id="rId441" Type="http://schemas.openxmlformats.org/officeDocument/2006/relationships/slide" Target="slides/slide437.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301" Type="http://schemas.openxmlformats.org/officeDocument/2006/relationships/slide" Target="slides/slide297.xml"/><Relationship Id="rId322" Type="http://schemas.openxmlformats.org/officeDocument/2006/relationships/slide" Target="slides/slide318.xml"/><Relationship Id="rId343" Type="http://schemas.openxmlformats.org/officeDocument/2006/relationships/slide" Target="slides/slide339.xml"/><Relationship Id="rId364" Type="http://schemas.openxmlformats.org/officeDocument/2006/relationships/slide" Target="slides/slide360.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385" Type="http://schemas.openxmlformats.org/officeDocument/2006/relationships/slide" Target="slides/slide381.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266" Type="http://schemas.openxmlformats.org/officeDocument/2006/relationships/slide" Target="slides/slide262.xml"/><Relationship Id="rId287" Type="http://schemas.openxmlformats.org/officeDocument/2006/relationships/slide" Target="slides/slide283.xml"/><Relationship Id="rId410" Type="http://schemas.openxmlformats.org/officeDocument/2006/relationships/slide" Target="slides/slide406.xml"/><Relationship Id="rId431" Type="http://schemas.openxmlformats.org/officeDocument/2006/relationships/slide" Target="slides/slide427.xml"/><Relationship Id="rId452" Type="http://schemas.openxmlformats.org/officeDocument/2006/relationships/slide" Target="slides/slide448.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312" Type="http://schemas.openxmlformats.org/officeDocument/2006/relationships/slide" Target="slides/slide308.xml"/><Relationship Id="rId333" Type="http://schemas.openxmlformats.org/officeDocument/2006/relationships/slide" Target="slides/slide329.xml"/><Relationship Id="rId354" Type="http://schemas.openxmlformats.org/officeDocument/2006/relationships/slide" Target="slides/slide350.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75" Type="http://schemas.openxmlformats.org/officeDocument/2006/relationships/slide" Target="slides/slide371.xml"/><Relationship Id="rId396" Type="http://schemas.openxmlformats.org/officeDocument/2006/relationships/slide" Target="slides/slide392.xml"/><Relationship Id="rId3" Type="http://schemas.openxmlformats.org/officeDocument/2006/relationships/customXml" Target="../customXml/item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slide" Target="slides/slide252.xml"/><Relationship Id="rId277" Type="http://schemas.openxmlformats.org/officeDocument/2006/relationships/slide" Target="slides/slide273.xml"/><Relationship Id="rId298" Type="http://schemas.openxmlformats.org/officeDocument/2006/relationships/slide" Target="slides/slide294.xml"/><Relationship Id="rId400" Type="http://schemas.openxmlformats.org/officeDocument/2006/relationships/slide" Target="slides/slide396.xml"/><Relationship Id="rId421" Type="http://schemas.openxmlformats.org/officeDocument/2006/relationships/slide" Target="slides/slide417.xml"/><Relationship Id="rId442" Type="http://schemas.openxmlformats.org/officeDocument/2006/relationships/slide" Target="slides/slide438.xml"/><Relationship Id="rId463" Type="http://schemas.openxmlformats.org/officeDocument/2006/relationships/tableStyles" Target="tableStyles.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302" Type="http://schemas.openxmlformats.org/officeDocument/2006/relationships/slide" Target="slides/slide298.xml"/><Relationship Id="rId323" Type="http://schemas.openxmlformats.org/officeDocument/2006/relationships/slide" Target="slides/slide319.xml"/><Relationship Id="rId344" Type="http://schemas.openxmlformats.org/officeDocument/2006/relationships/slide" Target="slides/slide340.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365" Type="http://schemas.openxmlformats.org/officeDocument/2006/relationships/slide" Target="slides/slide361.xml"/><Relationship Id="rId386" Type="http://schemas.openxmlformats.org/officeDocument/2006/relationships/slide" Target="slides/slide382.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267" Type="http://schemas.openxmlformats.org/officeDocument/2006/relationships/slide" Target="slides/slide263.xml"/><Relationship Id="rId288" Type="http://schemas.openxmlformats.org/officeDocument/2006/relationships/slide" Target="slides/slide284.xml"/><Relationship Id="rId411" Type="http://schemas.openxmlformats.org/officeDocument/2006/relationships/slide" Target="slides/slide407.xml"/><Relationship Id="rId432" Type="http://schemas.openxmlformats.org/officeDocument/2006/relationships/slide" Target="slides/slide428.xml"/><Relationship Id="rId453" Type="http://schemas.openxmlformats.org/officeDocument/2006/relationships/slide" Target="slides/slide449.xml"/><Relationship Id="rId106" Type="http://schemas.openxmlformats.org/officeDocument/2006/relationships/slide" Target="slides/slide102.xml"/><Relationship Id="rId127" Type="http://schemas.openxmlformats.org/officeDocument/2006/relationships/slide" Target="slides/slide123.xml"/><Relationship Id="rId313" Type="http://schemas.openxmlformats.org/officeDocument/2006/relationships/slide" Target="slides/slide309.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334" Type="http://schemas.openxmlformats.org/officeDocument/2006/relationships/slide" Target="slides/slide330.xml"/><Relationship Id="rId355" Type="http://schemas.openxmlformats.org/officeDocument/2006/relationships/slide" Target="slides/slide351.xml"/><Relationship Id="rId376" Type="http://schemas.openxmlformats.org/officeDocument/2006/relationships/slide" Target="slides/slide372.xml"/><Relationship Id="rId397" Type="http://schemas.openxmlformats.org/officeDocument/2006/relationships/slide" Target="slides/slide393.xml"/><Relationship Id="rId4" Type="http://schemas.openxmlformats.org/officeDocument/2006/relationships/slideMaster" Target="slideMasters/slideMaster1.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278" Type="http://schemas.openxmlformats.org/officeDocument/2006/relationships/slide" Target="slides/slide274.xml"/><Relationship Id="rId401" Type="http://schemas.openxmlformats.org/officeDocument/2006/relationships/slide" Target="slides/slide397.xml"/><Relationship Id="rId422" Type="http://schemas.openxmlformats.org/officeDocument/2006/relationships/slide" Target="slides/slide418.xml"/><Relationship Id="rId443" Type="http://schemas.openxmlformats.org/officeDocument/2006/relationships/slide" Target="slides/slide439.xml"/><Relationship Id="rId303" Type="http://schemas.openxmlformats.org/officeDocument/2006/relationships/slide" Target="slides/slide299.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345" Type="http://schemas.openxmlformats.org/officeDocument/2006/relationships/slide" Target="slides/slide341.xml"/><Relationship Id="rId387" Type="http://schemas.openxmlformats.org/officeDocument/2006/relationships/slide" Target="slides/slide383.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412" Type="http://schemas.openxmlformats.org/officeDocument/2006/relationships/slide" Target="slides/slide408.xml"/><Relationship Id="rId107" Type="http://schemas.openxmlformats.org/officeDocument/2006/relationships/slide" Target="slides/slide103.xml"/><Relationship Id="rId289" Type="http://schemas.openxmlformats.org/officeDocument/2006/relationships/slide" Target="slides/slide285.xml"/><Relationship Id="rId454" Type="http://schemas.openxmlformats.org/officeDocument/2006/relationships/slide" Target="slides/slide450.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314" Type="http://schemas.openxmlformats.org/officeDocument/2006/relationships/slide" Target="slides/slide310.xml"/><Relationship Id="rId356" Type="http://schemas.openxmlformats.org/officeDocument/2006/relationships/slide" Target="slides/slide352.xml"/><Relationship Id="rId398" Type="http://schemas.openxmlformats.org/officeDocument/2006/relationships/slide" Target="slides/slide394.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423" Type="http://schemas.openxmlformats.org/officeDocument/2006/relationships/slide" Target="slides/slide419.xml"/><Relationship Id="rId258" Type="http://schemas.openxmlformats.org/officeDocument/2006/relationships/slide" Target="slides/slide254.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325" Type="http://schemas.openxmlformats.org/officeDocument/2006/relationships/slide" Target="slides/slide321.xml"/><Relationship Id="rId367" Type="http://schemas.openxmlformats.org/officeDocument/2006/relationships/slide" Target="slides/slide363.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434" Type="http://schemas.openxmlformats.org/officeDocument/2006/relationships/slide" Target="slides/slide430.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336" Type="http://schemas.openxmlformats.org/officeDocument/2006/relationships/slide" Target="slides/slide332.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378" Type="http://schemas.openxmlformats.org/officeDocument/2006/relationships/slide" Target="slides/slide374.xml"/><Relationship Id="rId403" Type="http://schemas.openxmlformats.org/officeDocument/2006/relationships/slide" Target="slides/slide399.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291" Type="http://schemas.openxmlformats.org/officeDocument/2006/relationships/slide" Target="slides/slide287.xml"/><Relationship Id="rId305" Type="http://schemas.openxmlformats.org/officeDocument/2006/relationships/slide" Target="slides/slide301.xml"/><Relationship Id="rId347" Type="http://schemas.openxmlformats.org/officeDocument/2006/relationships/slide" Target="slides/slide343.xml"/><Relationship Id="rId44" Type="http://schemas.openxmlformats.org/officeDocument/2006/relationships/slide" Target="slides/slide40.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193" Type="http://schemas.openxmlformats.org/officeDocument/2006/relationships/slide" Target="slides/slide189.xml"/><Relationship Id="rId207" Type="http://schemas.openxmlformats.org/officeDocument/2006/relationships/slide" Target="slides/slide203.xml"/><Relationship Id="rId249" Type="http://schemas.openxmlformats.org/officeDocument/2006/relationships/slide" Target="slides/slide245.xml"/><Relationship Id="rId414" Type="http://schemas.openxmlformats.org/officeDocument/2006/relationships/slide" Target="slides/slide410.xml"/><Relationship Id="rId456" Type="http://schemas.openxmlformats.org/officeDocument/2006/relationships/slide" Target="slides/slide452.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16" Type="http://schemas.openxmlformats.org/officeDocument/2006/relationships/slide" Target="slides/slide312.xml"/><Relationship Id="rId55" Type="http://schemas.openxmlformats.org/officeDocument/2006/relationships/slide" Target="slides/slide51.xml"/><Relationship Id="rId97" Type="http://schemas.openxmlformats.org/officeDocument/2006/relationships/slide" Target="slides/slide93.xml"/><Relationship Id="rId120" Type="http://schemas.openxmlformats.org/officeDocument/2006/relationships/slide" Target="slides/slide116.xml"/><Relationship Id="rId358" Type="http://schemas.openxmlformats.org/officeDocument/2006/relationships/slide" Target="slides/slide354.xml"/><Relationship Id="rId162" Type="http://schemas.openxmlformats.org/officeDocument/2006/relationships/slide" Target="slides/slide158.xml"/><Relationship Id="rId218" Type="http://schemas.openxmlformats.org/officeDocument/2006/relationships/slide" Target="slides/slide214.xml"/><Relationship Id="rId425" Type="http://schemas.openxmlformats.org/officeDocument/2006/relationships/slide" Target="slides/slide421.xml"/><Relationship Id="rId271" Type="http://schemas.openxmlformats.org/officeDocument/2006/relationships/slide" Target="slides/slide267.xml"/><Relationship Id="rId24" Type="http://schemas.openxmlformats.org/officeDocument/2006/relationships/slide" Target="slides/slide20.xml"/><Relationship Id="rId66" Type="http://schemas.openxmlformats.org/officeDocument/2006/relationships/slide" Target="slides/slide62.xml"/><Relationship Id="rId131" Type="http://schemas.openxmlformats.org/officeDocument/2006/relationships/slide" Target="slides/slide127.xml"/><Relationship Id="rId327" Type="http://schemas.openxmlformats.org/officeDocument/2006/relationships/slide" Target="slides/slide323.xml"/><Relationship Id="rId369" Type="http://schemas.openxmlformats.org/officeDocument/2006/relationships/slide" Target="slides/slide365.xml"/><Relationship Id="rId173" Type="http://schemas.openxmlformats.org/officeDocument/2006/relationships/slide" Target="slides/slide169.xml"/><Relationship Id="rId229" Type="http://schemas.openxmlformats.org/officeDocument/2006/relationships/slide" Target="slides/slide225.xml"/><Relationship Id="rId380" Type="http://schemas.openxmlformats.org/officeDocument/2006/relationships/slide" Target="slides/slide376.xml"/><Relationship Id="rId436" Type="http://schemas.openxmlformats.org/officeDocument/2006/relationships/slide" Target="slides/slide432.xml"/><Relationship Id="rId240" Type="http://schemas.openxmlformats.org/officeDocument/2006/relationships/slide" Target="slides/slide236.xml"/><Relationship Id="rId35" Type="http://schemas.openxmlformats.org/officeDocument/2006/relationships/slide" Target="slides/slide31.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38" Type="http://schemas.openxmlformats.org/officeDocument/2006/relationships/slide" Target="slides/slide334.xml"/><Relationship Id="rId8" Type="http://schemas.openxmlformats.org/officeDocument/2006/relationships/slide" Target="slides/slide4.xml"/><Relationship Id="rId142" Type="http://schemas.openxmlformats.org/officeDocument/2006/relationships/slide" Target="slides/slide13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447" Type="http://schemas.openxmlformats.org/officeDocument/2006/relationships/slide" Target="slides/slide443.xml"/><Relationship Id="rId251" Type="http://schemas.openxmlformats.org/officeDocument/2006/relationships/slide" Target="slides/slide247.xml"/><Relationship Id="rId46" Type="http://schemas.openxmlformats.org/officeDocument/2006/relationships/slide" Target="slides/slide42.xml"/><Relationship Id="rId293" Type="http://schemas.openxmlformats.org/officeDocument/2006/relationships/slide" Target="slides/slide289.xml"/><Relationship Id="rId307" Type="http://schemas.openxmlformats.org/officeDocument/2006/relationships/slide" Target="slides/slide303.xml"/><Relationship Id="rId349" Type="http://schemas.openxmlformats.org/officeDocument/2006/relationships/slide" Target="slides/slide345.xml"/><Relationship Id="rId88" Type="http://schemas.openxmlformats.org/officeDocument/2006/relationships/slide" Target="slides/slide84.xml"/><Relationship Id="rId111" Type="http://schemas.openxmlformats.org/officeDocument/2006/relationships/slide" Target="slides/slide107.xml"/><Relationship Id="rId153" Type="http://schemas.openxmlformats.org/officeDocument/2006/relationships/slide" Target="slides/slide149.xml"/><Relationship Id="rId195" Type="http://schemas.openxmlformats.org/officeDocument/2006/relationships/slide" Target="slides/slide191.xml"/><Relationship Id="rId209" Type="http://schemas.openxmlformats.org/officeDocument/2006/relationships/slide" Target="slides/slide205.xml"/><Relationship Id="rId360" Type="http://schemas.openxmlformats.org/officeDocument/2006/relationships/slide" Target="slides/slide356.xml"/><Relationship Id="rId416" Type="http://schemas.openxmlformats.org/officeDocument/2006/relationships/slide" Target="slides/slide412.xml"/><Relationship Id="rId220" Type="http://schemas.openxmlformats.org/officeDocument/2006/relationships/slide" Target="slides/slide216.xml"/><Relationship Id="rId458" Type="http://schemas.openxmlformats.org/officeDocument/2006/relationships/slide" Target="slides/slide454.xml"/><Relationship Id="rId15" Type="http://schemas.openxmlformats.org/officeDocument/2006/relationships/slide" Target="slides/slide11.xml"/><Relationship Id="rId57" Type="http://schemas.openxmlformats.org/officeDocument/2006/relationships/slide" Target="slides/slide53.xml"/><Relationship Id="rId262" Type="http://schemas.openxmlformats.org/officeDocument/2006/relationships/slide" Target="slides/slide258.xml"/><Relationship Id="rId318" Type="http://schemas.openxmlformats.org/officeDocument/2006/relationships/slide" Target="slides/slide314.xml"/><Relationship Id="rId99" Type="http://schemas.openxmlformats.org/officeDocument/2006/relationships/slide" Target="slides/slide95.xml"/><Relationship Id="rId122" Type="http://schemas.openxmlformats.org/officeDocument/2006/relationships/slide" Target="slides/slide118.xml"/><Relationship Id="rId164" Type="http://schemas.openxmlformats.org/officeDocument/2006/relationships/slide" Target="slides/slide160.xml"/><Relationship Id="rId371" Type="http://schemas.openxmlformats.org/officeDocument/2006/relationships/slide" Target="slides/slide367.xml"/><Relationship Id="rId427" Type="http://schemas.openxmlformats.org/officeDocument/2006/relationships/slide" Target="slides/slide423.xml"/><Relationship Id="rId26" Type="http://schemas.openxmlformats.org/officeDocument/2006/relationships/slide" Target="slides/slide22.xml"/><Relationship Id="rId231" Type="http://schemas.openxmlformats.org/officeDocument/2006/relationships/slide" Target="slides/slide227.xml"/><Relationship Id="rId273" Type="http://schemas.openxmlformats.org/officeDocument/2006/relationships/slide" Target="slides/slide269.xml"/><Relationship Id="rId329" Type="http://schemas.openxmlformats.org/officeDocument/2006/relationships/slide" Target="slides/slide325.xml"/><Relationship Id="rId68" Type="http://schemas.openxmlformats.org/officeDocument/2006/relationships/slide" Target="slides/slide64.xml"/><Relationship Id="rId133" Type="http://schemas.openxmlformats.org/officeDocument/2006/relationships/slide" Target="slides/slide129.xml"/><Relationship Id="rId175" Type="http://schemas.openxmlformats.org/officeDocument/2006/relationships/slide" Target="slides/slide171.xml"/><Relationship Id="rId340" Type="http://schemas.openxmlformats.org/officeDocument/2006/relationships/slide" Target="slides/slide336.xml"/><Relationship Id="rId200" Type="http://schemas.openxmlformats.org/officeDocument/2006/relationships/slide" Target="slides/slide196.xml"/><Relationship Id="rId382" Type="http://schemas.openxmlformats.org/officeDocument/2006/relationships/slide" Target="slides/slide378.xml"/><Relationship Id="rId438" Type="http://schemas.openxmlformats.org/officeDocument/2006/relationships/slide" Target="slides/slide434.xml"/><Relationship Id="rId242" Type="http://schemas.openxmlformats.org/officeDocument/2006/relationships/slide" Target="slides/slide238.xml"/><Relationship Id="rId284" Type="http://schemas.openxmlformats.org/officeDocument/2006/relationships/slide" Target="slides/slide280.xml"/><Relationship Id="rId37" Type="http://schemas.openxmlformats.org/officeDocument/2006/relationships/slide" Target="slides/slide33.xml"/><Relationship Id="rId79" Type="http://schemas.openxmlformats.org/officeDocument/2006/relationships/slide" Target="slides/slide75.xml"/><Relationship Id="rId102" Type="http://schemas.openxmlformats.org/officeDocument/2006/relationships/slide" Target="slides/slide98.xml"/><Relationship Id="rId144" Type="http://schemas.openxmlformats.org/officeDocument/2006/relationships/slide" Target="slides/slide140.xml"/><Relationship Id="rId90" Type="http://schemas.openxmlformats.org/officeDocument/2006/relationships/slide" Target="slides/slide86.xml"/><Relationship Id="rId186" Type="http://schemas.openxmlformats.org/officeDocument/2006/relationships/slide" Target="slides/slide182.xml"/><Relationship Id="rId351" Type="http://schemas.openxmlformats.org/officeDocument/2006/relationships/slide" Target="slides/slide347.xml"/><Relationship Id="rId393" Type="http://schemas.openxmlformats.org/officeDocument/2006/relationships/slide" Target="slides/slide389.xml"/><Relationship Id="rId407" Type="http://schemas.openxmlformats.org/officeDocument/2006/relationships/slide" Target="slides/slide403.xml"/><Relationship Id="rId449" Type="http://schemas.openxmlformats.org/officeDocument/2006/relationships/slide" Target="slides/slide445.xml"/><Relationship Id="rId211" Type="http://schemas.openxmlformats.org/officeDocument/2006/relationships/slide" Target="slides/slide207.xml"/><Relationship Id="rId253" Type="http://schemas.openxmlformats.org/officeDocument/2006/relationships/slide" Target="slides/slide249.xml"/><Relationship Id="rId295" Type="http://schemas.openxmlformats.org/officeDocument/2006/relationships/slide" Target="slides/slide291.xml"/><Relationship Id="rId309" Type="http://schemas.openxmlformats.org/officeDocument/2006/relationships/slide" Target="slides/slide305.xml"/><Relationship Id="rId460" Type="http://schemas.openxmlformats.org/officeDocument/2006/relationships/presProps" Target="presProps.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155" Type="http://schemas.openxmlformats.org/officeDocument/2006/relationships/slide" Target="slides/slide151.xml"/><Relationship Id="rId197" Type="http://schemas.openxmlformats.org/officeDocument/2006/relationships/slide" Target="slides/slide193.xml"/><Relationship Id="rId362" Type="http://schemas.openxmlformats.org/officeDocument/2006/relationships/slide" Target="slides/slide358.xml"/><Relationship Id="rId418" Type="http://schemas.openxmlformats.org/officeDocument/2006/relationships/slide" Target="slides/slide414.xml"/><Relationship Id="rId222" Type="http://schemas.openxmlformats.org/officeDocument/2006/relationships/slide" Target="slides/slide218.xml"/><Relationship Id="rId264" Type="http://schemas.openxmlformats.org/officeDocument/2006/relationships/slide" Target="slides/slide260.xml"/><Relationship Id="rId17" Type="http://schemas.openxmlformats.org/officeDocument/2006/relationships/slide" Target="slides/slide13.xml"/><Relationship Id="rId59" Type="http://schemas.openxmlformats.org/officeDocument/2006/relationships/slide" Target="slides/slide55.xml"/><Relationship Id="rId124" Type="http://schemas.openxmlformats.org/officeDocument/2006/relationships/slide" Target="slides/slide120.xml"/><Relationship Id="rId70" Type="http://schemas.openxmlformats.org/officeDocument/2006/relationships/slide" Target="slides/slide66.xml"/><Relationship Id="rId166" Type="http://schemas.openxmlformats.org/officeDocument/2006/relationships/slide" Target="slides/slide162.xml"/><Relationship Id="rId331" Type="http://schemas.openxmlformats.org/officeDocument/2006/relationships/slide" Target="slides/slide327.xml"/><Relationship Id="rId373" Type="http://schemas.openxmlformats.org/officeDocument/2006/relationships/slide" Target="slides/slide369.xml"/><Relationship Id="rId429" Type="http://schemas.openxmlformats.org/officeDocument/2006/relationships/slide" Target="slides/slide425.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28" Type="http://schemas.openxmlformats.org/officeDocument/2006/relationships/slide" Target="slides/slide24.xml"/><Relationship Id="rId275" Type="http://schemas.openxmlformats.org/officeDocument/2006/relationships/slide" Target="slides/slide271.xml"/><Relationship Id="rId300" Type="http://schemas.openxmlformats.org/officeDocument/2006/relationships/slide" Target="slides/slide296.xml"/><Relationship Id="rId81" Type="http://schemas.openxmlformats.org/officeDocument/2006/relationships/slide" Target="slides/slide77.xml"/><Relationship Id="rId135" Type="http://schemas.openxmlformats.org/officeDocument/2006/relationships/slide" Target="slides/slide131.xml"/><Relationship Id="rId177" Type="http://schemas.openxmlformats.org/officeDocument/2006/relationships/slide" Target="slides/slide173.xml"/><Relationship Id="rId342" Type="http://schemas.openxmlformats.org/officeDocument/2006/relationships/slide" Target="slides/slide338.xml"/><Relationship Id="rId384" Type="http://schemas.openxmlformats.org/officeDocument/2006/relationships/slide" Target="slides/slide380.xml"/><Relationship Id="rId202" Type="http://schemas.openxmlformats.org/officeDocument/2006/relationships/slide" Target="slides/slide198.xml"/><Relationship Id="rId244" Type="http://schemas.openxmlformats.org/officeDocument/2006/relationships/slide" Target="slides/slide240.xml"/><Relationship Id="rId39" Type="http://schemas.openxmlformats.org/officeDocument/2006/relationships/slide" Target="slides/slide35.xml"/><Relationship Id="rId286" Type="http://schemas.openxmlformats.org/officeDocument/2006/relationships/slide" Target="slides/slide282.xml"/><Relationship Id="rId451" Type="http://schemas.openxmlformats.org/officeDocument/2006/relationships/slide" Target="slides/slide447.xml"/><Relationship Id="rId50" Type="http://schemas.openxmlformats.org/officeDocument/2006/relationships/slide" Target="slides/slide46.xml"/><Relationship Id="rId104" Type="http://schemas.openxmlformats.org/officeDocument/2006/relationships/slide" Target="slides/slide100.xml"/><Relationship Id="rId146" Type="http://schemas.openxmlformats.org/officeDocument/2006/relationships/slide" Target="slides/slide142.xml"/><Relationship Id="rId188" Type="http://schemas.openxmlformats.org/officeDocument/2006/relationships/slide" Target="slides/slide184.xml"/><Relationship Id="rId311" Type="http://schemas.openxmlformats.org/officeDocument/2006/relationships/slide" Target="slides/slide307.xml"/><Relationship Id="rId353" Type="http://schemas.openxmlformats.org/officeDocument/2006/relationships/slide" Target="slides/slide349.xml"/><Relationship Id="rId395" Type="http://schemas.openxmlformats.org/officeDocument/2006/relationships/slide" Target="slides/slide391.xml"/><Relationship Id="rId409" Type="http://schemas.openxmlformats.org/officeDocument/2006/relationships/slide" Target="slides/slide405.xml"/><Relationship Id="rId92" Type="http://schemas.openxmlformats.org/officeDocument/2006/relationships/slide" Target="slides/slide88.xml"/><Relationship Id="rId213" Type="http://schemas.openxmlformats.org/officeDocument/2006/relationships/slide" Target="slides/slide209.xml"/><Relationship Id="rId420" Type="http://schemas.openxmlformats.org/officeDocument/2006/relationships/slide" Target="slides/slide416.xml"/><Relationship Id="rId255" Type="http://schemas.openxmlformats.org/officeDocument/2006/relationships/slide" Target="slides/slide251.xml"/><Relationship Id="rId297" Type="http://schemas.openxmlformats.org/officeDocument/2006/relationships/slide" Target="slides/slide293.xml"/><Relationship Id="rId462"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2" Type="http://schemas.openxmlformats.org/officeDocument/2006/relationships/chartUserShapes" Target="../drawings/drawing9.xml"/><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xml"/><Relationship Id="rId1" Type="http://schemas.microsoft.com/office/2011/relationships/chartStyle" Target="style1.xml"/></Relationships>
</file>

<file path=ppt/charts/_rels/chart22.xml.rels><?xml version="1.0" encoding="UTF-8" standalone="yes"?>
<Relationships xmlns="http://schemas.openxmlformats.org/package/2006/relationships"><Relationship Id="rId2" Type="http://schemas.openxmlformats.org/officeDocument/2006/relationships/chartUserShapes" Target="../drawings/drawing10.xml"/><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2" Type="http://schemas.openxmlformats.org/officeDocument/2006/relationships/chartUserShapes" Target="../drawings/drawing11.xml"/><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xml"/><Relationship Id="rId1" Type="http://schemas.microsoft.com/office/2011/relationships/chartStyle" Target="style2.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3.xml"/><Relationship Id="rId1" Type="http://schemas.microsoft.com/office/2011/relationships/chartStyle" Target="style3.xml"/></Relationships>
</file>

<file path=ppt/charts/_rels/chart26.xml.rels><?xml version="1.0" encoding="UTF-8" standalone="yes"?>
<Relationships xmlns="http://schemas.openxmlformats.org/package/2006/relationships"><Relationship Id="rId2" Type="http://schemas.openxmlformats.org/officeDocument/2006/relationships/chartUserShapes" Target="../drawings/drawing12.xml"/><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2" Type="http://schemas.openxmlformats.org/officeDocument/2006/relationships/chartUserShapes" Target="../drawings/drawing13.xml"/><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4.xml"/><Relationship Id="rId1" Type="http://schemas.microsoft.com/office/2011/relationships/chartStyle" Target="style4.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5.xml"/><Relationship Id="rId1" Type="http://schemas.microsoft.com/office/2011/relationships/chartStyle" Target="style5.xml"/></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14.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7.xml"/><Relationship Id="rId1" Type="http://schemas.microsoft.com/office/2011/relationships/chartStyle" Target="style7.xml"/></Relationships>
</file>

<file path=ppt/charts/_rels/chart37.xml.rels><?xml version="1.0" encoding="UTF-8" standalone="yes"?>
<Relationships xmlns="http://schemas.openxmlformats.org/package/2006/relationships"><Relationship Id="rId2" Type="http://schemas.openxmlformats.org/officeDocument/2006/relationships/chartUserShapes" Target="../drawings/drawing15.xml"/><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chartUserShapes" Target="../drawings/drawing16.xml"/><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17.xm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18.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10.xml"/><Relationship Id="rId1" Type="http://schemas.microsoft.com/office/2011/relationships/chartStyle" Target="style10.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11.xml"/><Relationship Id="rId1" Type="http://schemas.microsoft.com/office/2011/relationships/chartStyle" Target="style11.xml"/></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9168984723"/>
          <c:y val="3.9329059974344521E-2"/>
          <c:w val="0.80554889534690488"/>
          <c:h val="0.94117647058823561"/>
        </c:manualLayout>
      </c:layout>
      <c:barChart>
        <c:barDir val="bar"/>
        <c:grouping val="clustered"/>
        <c:varyColors val="0"/>
        <c:ser>
          <c:idx val="0"/>
          <c:order val="0"/>
          <c:tx>
            <c:strRef>
              <c:f>Sheet1!$A$2</c:f>
              <c:strCache>
                <c:ptCount val="1"/>
                <c:pt idx="0">
                  <c:v>Label A</c:v>
                </c:pt>
              </c:strCache>
            </c:strRef>
          </c:tx>
          <c:spPr>
            <a:solidFill>
              <a:schemeClr val="accent3"/>
            </a:solidFill>
            <a:ln w="25470">
              <a:noFill/>
            </a:ln>
          </c:spPr>
          <c:invertIfNegative val="0"/>
          <c:dPt>
            <c:idx val="0"/>
            <c:invertIfNegative val="0"/>
            <c:bubble3D val="0"/>
            <c:spPr>
              <a:solidFill>
                <a:srgbClr val="460073"/>
              </a:solidFill>
              <a:ln w="25470">
                <a:noFill/>
              </a:ln>
            </c:spPr>
            <c:extLst>
              <c:ext xmlns:c16="http://schemas.microsoft.com/office/drawing/2014/chart" uri="{C3380CC4-5D6E-409C-BE32-E72D297353CC}">
                <c16:uniqueId val="{00000001-9F6D-49E5-8C98-606B4FE46235}"/>
              </c:ext>
            </c:extLst>
          </c:dPt>
          <c:dLbls>
            <c:dLbl>
              <c:idx val="0"/>
              <c:spPr>
                <a:noFill/>
                <a:ln w="25470">
                  <a:noFill/>
                </a:ln>
              </c:spPr>
              <c:txPr>
                <a:bodyPr/>
                <a:lstStyle/>
                <a:p>
                  <a:pPr>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1-9F6D-49E5-8C98-606B4FE46235}"/>
                </c:ext>
              </c:extLst>
            </c:dLbl>
            <c:spPr>
              <a:noFill/>
              <a:ln w="25470">
                <a:noFill/>
              </a:ln>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B$1</c:f>
              <c:numCache>
                <c:formatCode>General</c:formatCode>
                <c:ptCount val="1"/>
              </c:numCache>
            </c:numRef>
          </c:cat>
          <c:val>
            <c:numRef>
              <c:f>Sheet1!$B$2:$B$2</c:f>
              <c:numCache>
                <c:formatCode>General</c:formatCode>
                <c:ptCount val="1"/>
                <c:pt idx="0">
                  <c:v>5</c:v>
                </c:pt>
              </c:numCache>
            </c:numRef>
          </c:val>
          <c:extLst>
            <c:ext xmlns:c16="http://schemas.microsoft.com/office/drawing/2014/chart" uri="{C3380CC4-5D6E-409C-BE32-E72D297353CC}">
              <c16:uniqueId val="{00000002-9F6D-49E5-8C98-606B4FE46235}"/>
            </c:ext>
          </c:extLst>
        </c:ser>
        <c:ser>
          <c:idx val="1"/>
          <c:order val="1"/>
          <c:tx>
            <c:strRef>
              <c:f>Sheet1!$A$3</c:f>
              <c:strCache>
                <c:ptCount val="1"/>
                <c:pt idx="0">
                  <c:v>Label B</c:v>
                </c:pt>
              </c:strCache>
            </c:strRef>
          </c:tx>
          <c:spPr>
            <a:solidFill>
              <a:srgbClr val="460073"/>
            </a:solidFill>
            <a:ln w="25470">
              <a:noFill/>
            </a:ln>
          </c:spPr>
          <c:invertIfNegative val="0"/>
          <c:dLbls>
            <c:spPr>
              <a:noFill/>
              <a:ln w="25470">
                <a:noFill/>
              </a:ln>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B$1</c:f>
              <c:numCache>
                <c:formatCode>General</c:formatCode>
                <c:ptCount val="1"/>
              </c:numCache>
            </c:numRef>
          </c:cat>
          <c:val>
            <c:numRef>
              <c:f>Sheet1!$B$3:$B$3</c:f>
              <c:numCache>
                <c:formatCode>General</c:formatCode>
                <c:ptCount val="1"/>
                <c:pt idx="0">
                  <c:v>4</c:v>
                </c:pt>
              </c:numCache>
            </c:numRef>
          </c:val>
          <c:extLst>
            <c:ext xmlns:c16="http://schemas.microsoft.com/office/drawing/2014/chart" uri="{C3380CC4-5D6E-409C-BE32-E72D297353CC}">
              <c16:uniqueId val="{00000003-9F6D-49E5-8C98-606B4FE46235}"/>
            </c:ext>
          </c:extLst>
        </c:ser>
        <c:ser>
          <c:idx val="2"/>
          <c:order val="2"/>
          <c:tx>
            <c:strRef>
              <c:f>Sheet1!$A$4</c:f>
              <c:strCache>
                <c:ptCount val="1"/>
                <c:pt idx="0">
                  <c:v>Label C</c:v>
                </c:pt>
              </c:strCache>
            </c:strRef>
          </c:tx>
          <c:spPr>
            <a:solidFill>
              <a:schemeClr val="accent1"/>
            </a:solidFill>
            <a:ln w="25470">
              <a:noFill/>
            </a:ln>
          </c:spPr>
          <c:invertIfNegative val="0"/>
          <c:dLbls>
            <c:spPr>
              <a:noFill/>
              <a:ln w="25470">
                <a:noFill/>
              </a:ln>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B$1</c:f>
              <c:numCache>
                <c:formatCode>General</c:formatCode>
                <c:ptCount val="1"/>
              </c:numCache>
            </c:numRef>
          </c:cat>
          <c:val>
            <c:numRef>
              <c:f>Sheet1!$B$4:$B$4</c:f>
              <c:numCache>
                <c:formatCode>General</c:formatCode>
                <c:ptCount val="1"/>
                <c:pt idx="0">
                  <c:v>-1</c:v>
                </c:pt>
              </c:numCache>
            </c:numRef>
          </c:val>
          <c:extLst>
            <c:ext xmlns:c16="http://schemas.microsoft.com/office/drawing/2014/chart" uri="{C3380CC4-5D6E-409C-BE32-E72D297353CC}">
              <c16:uniqueId val="{00000004-9F6D-49E5-8C98-606B4FE46235}"/>
            </c:ext>
          </c:extLst>
        </c:ser>
        <c:ser>
          <c:idx val="3"/>
          <c:order val="3"/>
          <c:tx>
            <c:strRef>
              <c:f>Sheet1!$A$5</c:f>
              <c:strCache>
                <c:ptCount val="1"/>
                <c:pt idx="0">
                  <c:v>Label D</c:v>
                </c:pt>
              </c:strCache>
            </c:strRef>
          </c:tx>
          <c:spPr>
            <a:solidFill>
              <a:schemeClr val="accent1"/>
            </a:solidFill>
            <a:ln w="25470">
              <a:noFill/>
            </a:ln>
          </c:spPr>
          <c:invertIfNegative val="0"/>
          <c:dLbls>
            <c:spPr>
              <a:noFill/>
              <a:ln w="25470">
                <a:noFill/>
              </a:ln>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B$1</c:f>
              <c:numCache>
                <c:formatCode>General</c:formatCode>
                <c:ptCount val="1"/>
              </c:numCache>
            </c:numRef>
          </c:cat>
          <c:val>
            <c:numRef>
              <c:f>Sheet1!$B$5:$B$5</c:f>
              <c:numCache>
                <c:formatCode>General</c:formatCode>
                <c:ptCount val="1"/>
                <c:pt idx="0">
                  <c:v>-3</c:v>
                </c:pt>
              </c:numCache>
            </c:numRef>
          </c:val>
          <c:extLst>
            <c:ext xmlns:c16="http://schemas.microsoft.com/office/drawing/2014/chart" uri="{C3380CC4-5D6E-409C-BE32-E72D297353CC}">
              <c16:uniqueId val="{00000005-9F6D-49E5-8C98-606B4FE46235}"/>
            </c:ext>
          </c:extLst>
        </c:ser>
        <c:dLbls>
          <c:showLegendKey val="0"/>
          <c:showVal val="1"/>
          <c:showCatName val="0"/>
          <c:showSerName val="0"/>
          <c:showPercent val="0"/>
          <c:showBubbleSize val="0"/>
        </c:dLbls>
        <c:gapWidth val="106"/>
        <c:overlap val="-100"/>
        <c:axId val="542582776"/>
        <c:axId val="542583168"/>
      </c:barChart>
      <c:catAx>
        <c:axId val="542582776"/>
        <c:scaling>
          <c:orientation val="minMax"/>
        </c:scaling>
        <c:delete val="0"/>
        <c:axPos val="l"/>
        <c:numFmt formatCode="General" sourceLinked="1"/>
        <c:majorTickMark val="none"/>
        <c:minorTickMark val="none"/>
        <c:tickLblPos val="none"/>
        <c:spPr>
          <a:ln w="12735">
            <a:solidFill>
              <a:schemeClr val="tx2">
                <a:lumMod val="60000"/>
                <a:lumOff val="40000"/>
              </a:schemeClr>
            </a:solidFill>
            <a:prstDash val="solid"/>
          </a:ln>
        </c:spPr>
        <c:crossAx val="542583168"/>
        <c:crosses val="autoZero"/>
        <c:auto val="1"/>
        <c:lblAlgn val="ctr"/>
        <c:lblOffset val="100"/>
        <c:tickMarkSkip val="1"/>
        <c:noMultiLvlLbl val="0"/>
      </c:catAx>
      <c:valAx>
        <c:axId val="542583168"/>
        <c:scaling>
          <c:orientation val="minMax"/>
        </c:scaling>
        <c:delete val="1"/>
        <c:axPos val="b"/>
        <c:numFmt formatCode="General" sourceLinked="1"/>
        <c:majorTickMark val="out"/>
        <c:minorTickMark val="none"/>
        <c:tickLblPos val="none"/>
        <c:crossAx val="542582776"/>
        <c:crosses val="autoZero"/>
        <c:crossBetween val="between"/>
      </c:valAx>
      <c:spPr>
        <a:noFill/>
        <a:ln w="25470">
          <a:noFill/>
        </a:ln>
      </c:spPr>
    </c:plotArea>
    <c:plotVisOnly val="1"/>
    <c:dispBlanksAs val="gap"/>
    <c:showDLblsOverMax val="0"/>
  </c:chart>
  <c:spPr>
    <a:noFill/>
    <a:ln>
      <a:noFill/>
    </a:ln>
  </c:spPr>
  <c:txPr>
    <a:bodyPr/>
    <a:lstStyle/>
    <a:p>
      <a:pPr>
        <a:defRPr sz="1800" b="1" i="0" u="none" strike="noStrike" baseline="0">
          <a:solidFill>
            <a:schemeClr val="tx1"/>
          </a:solidFill>
          <a:latin typeface="Arial" panose="020B0503030202060203" pitchFamily="34" charset="0"/>
          <a:ea typeface="Arial"/>
          <a:cs typeface="Arial"/>
        </a:defRPr>
      </a:pPr>
      <a:endParaRPr lang="de-DE"/>
    </a:p>
  </c:txPr>
  <c:externalData r:id="rId1">
    <c:autoUpdate val="0"/>
  </c:externalData>
  <c:userShapes r:id="rId2"/>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684298098801938"/>
        </c:manualLayout>
      </c:layout>
      <c:barChart>
        <c:barDir val="col"/>
        <c:grouping val="stacked"/>
        <c:varyColors val="0"/>
        <c:ser>
          <c:idx val="0"/>
          <c:order val="0"/>
          <c:tx>
            <c:strRef>
              <c:f>Sheet1!$A$2</c:f>
              <c:strCache>
                <c:ptCount val="1"/>
                <c:pt idx="0">
                  <c:v>East</c:v>
                </c:pt>
              </c:strCache>
            </c:strRef>
          </c:tx>
          <c:spPr>
            <a:noFill/>
            <a:ln w="25304">
              <a:noFill/>
            </a:ln>
          </c:spPr>
          <c:invertIfNegative val="0"/>
          <c:cat>
            <c:strRef>
              <c:f>Sheet1!$B$1:$H$1</c:f>
              <c:strCache>
                <c:ptCount val="7"/>
                <c:pt idx="0">
                  <c:v>Label A</c:v>
                </c:pt>
                <c:pt idx="1">
                  <c:v>Label B</c:v>
                </c:pt>
                <c:pt idx="2">
                  <c:v>Label C</c:v>
                </c:pt>
                <c:pt idx="3">
                  <c:v>Label D</c:v>
                </c:pt>
                <c:pt idx="4">
                  <c:v>Label E</c:v>
                </c:pt>
                <c:pt idx="5">
                  <c:v>Label F</c:v>
                </c:pt>
                <c:pt idx="6">
                  <c:v>Total</c:v>
                </c:pt>
              </c:strCache>
            </c:strRef>
          </c:cat>
          <c:val>
            <c:numRef>
              <c:f>Sheet1!$B$2:$H$2</c:f>
              <c:numCache>
                <c:formatCode>General</c:formatCode>
                <c:ptCount val="7"/>
                <c:pt idx="1">
                  <c:v>5</c:v>
                </c:pt>
                <c:pt idx="2">
                  <c:v>9</c:v>
                </c:pt>
                <c:pt idx="3">
                  <c:v>12</c:v>
                </c:pt>
                <c:pt idx="4">
                  <c:v>14</c:v>
                </c:pt>
                <c:pt idx="5">
                  <c:v>15.5</c:v>
                </c:pt>
              </c:numCache>
            </c:numRef>
          </c:val>
          <c:extLst>
            <c:ext xmlns:c16="http://schemas.microsoft.com/office/drawing/2014/chart" uri="{C3380CC4-5D6E-409C-BE32-E72D297353CC}">
              <c16:uniqueId val="{00000000-E6C4-4FE6-91DF-20EEE241E9E4}"/>
            </c:ext>
          </c:extLst>
        </c:ser>
        <c:ser>
          <c:idx val="1"/>
          <c:order val="1"/>
          <c:tx>
            <c:strRef>
              <c:f>Sheet1!$A$3</c:f>
              <c:strCache>
                <c:ptCount val="1"/>
              </c:strCache>
            </c:strRef>
          </c:tx>
          <c:spPr>
            <a:solidFill>
              <a:schemeClr val="accent1"/>
            </a:solidFill>
            <a:ln w="25304">
              <a:noFill/>
            </a:ln>
          </c:spPr>
          <c:invertIfNegative val="0"/>
          <c:dLbls>
            <c:spPr>
              <a:noFill/>
              <a:ln w="25304">
                <a:noFill/>
              </a:ln>
            </c:spPr>
            <c:txPr>
              <a:bodyPr/>
              <a:lstStyle/>
              <a:p>
                <a:pPr>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Label A</c:v>
                </c:pt>
                <c:pt idx="1">
                  <c:v>Label B</c:v>
                </c:pt>
                <c:pt idx="2">
                  <c:v>Label C</c:v>
                </c:pt>
                <c:pt idx="3">
                  <c:v>Label D</c:v>
                </c:pt>
                <c:pt idx="4">
                  <c:v>Label E</c:v>
                </c:pt>
                <c:pt idx="5">
                  <c:v>Label F</c:v>
                </c:pt>
                <c:pt idx="6">
                  <c:v>Total</c:v>
                </c:pt>
              </c:strCache>
            </c:strRef>
          </c:cat>
          <c:val>
            <c:numRef>
              <c:f>Sheet1!$B$3:$H$3</c:f>
              <c:numCache>
                <c:formatCode>General</c:formatCode>
                <c:ptCount val="7"/>
                <c:pt idx="0">
                  <c:v>5</c:v>
                </c:pt>
                <c:pt idx="6">
                  <c:v>5</c:v>
                </c:pt>
              </c:numCache>
            </c:numRef>
          </c:val>
          <c:extLst>
            <c:ext xmlns:c16="http://schemas.microsoft.com/office/drawing/2014/chart" uri="{C3380CC4-5D6E-409C-BE32-E72D297353CC}">
              <c16:uniqueId val="{00000001-E6C4-4FE6-91DF-20EEE241E9E4}"/>
            </c:ext>
          </c:extLst>
        </c:ser>
        <c:ser>
          <c:idx val="2"/>
          <c:order val="2"/>
          <c:tx>
            <c:strRef>
              <c:f>Sheet1!$A$4</c:f>
              <c:strCache>
                <c:ptCount val="1"/>
              </c:strCache>
            </c:strRef>
          </c:tx>
          <c:spPr>
            <a:solidFill>
              <a:schemeClr val="accent2"/>
            </a:solidFill>
            <a:ln w="25304">
              <a:noFill/>
            </a:ln>
          </c:spPr>
          <c:invertIfNegative val="0"/>
          <c:dLbls>
            <c:spPr>
              <a:noFill/>
              <a:ln w="25304">
                <a:noFill/>
              </a:ln>
            </c:spPr>
            <c:txPr>
              <a:bodyPr/>
              <a:lstStyle/>
              <a:p>
                <a:pPr>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Label A</c:v>
                </c:pt>
                <c:pt idx="1">
                  <c:v>Label B</c:v>
                </c:pt>
                <c:pt idx="2">
                  <c:v>Label C</c:v>
                </c:pt>
                <c:pt idx="3">
                  <c:v>Label D</c:v>
                </c:pt>
                <c:pt idx="4">
                  <c:v>Label E</c:v>
                </c:pt>
                <c:pt idx="5">
                  <c:v>Label F</c:v>
                </c:pt>
                <c:pt idx="6">
                  <c:v>Total</c:v>
                </c:pt>
              </c:strCache>
            </c:strRef>
          </c:cat>
          <c:val>
            <c:numRef>
              <c:f>Sheet1!$B$4:$H$4</c:f>
              <c:numCache>
                <c:formatCode>General</c:formatCode>
                <c:ptCount val="7"/>
                <c:pt idx="1">
                  <c:v>4</c:v>
                </c:pt>
                <c:pt idx="6">
                  <c:v>4</c:v>
                </c:pt>
              </c:numCache>
            </c:numRef>
          </c:val>
          <c:extLst>
            <c:ext xmlns:c16="http://schemas.microsoft.com/office/drawing/2014/chart" uri="{C3380CC4-5D6E-409C-BE32-E72D297353CC}">
              <c16:uniqueId val="{00000002-E6C4-4FE6-91DF-20EEE241E9E4}"/>
            </c:ext>
          </c:extLst>
        </c:ser>
        <c:ser>
          <c:idx val="3"/>
          <c:order val="3"/>
          <c:tx>
            <c:strRef>
              <c:f>Sheet1!$A$5</c:f>
              <c:strCache>
                <c:ptCount val="1"/>
              </c:strCache>
            </c:strRef>
          </c:tx>
          <c:spPr>
            <a:solidFill>
              <a:schemeClr val="accent3"/>
            </a:solidFill>
            <a:ln w="25304">
              <a:noFill/>
            </a:ln>
          </c:spPr>
          <c:invertIfNegative val="0"/>
          <c:dLbls>
            <c:spPr>
              <a:noFill/>
              <a:ln w="25304">
                <a:noFill/>
              </a:ln>
            </c:spPr>
            <c:txPr>
              <a:bodyPr/>
              <a:lstStyle/>
              <a:p>
                <a:pPr>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Label A</c:v>
                </c:pt>
                <c:pt idx="1">
                  <c:v>Label B</c:v>
                </c:pt>
                <c:pt idx="2">
                  <c:v>Label C</c:v>
                </c:pt>
                <c:pt idx="3">
                  <c:v>Label D</c:v>
                </c:pt>
                <c:pt idx="4">
                  <c:v>Label E</c:v>
                </c:pt>
                <c:pt idx="5">
                  <c:v>Label F</c:v>
                </c:pt>
                <c:pt idx="6">
                  <c:v>Total</c:v>
                </c:pt>
              </c:strCache>
            </c:strRef>
          </c:cat>
          <c:val>
            <c:numRef>
              <c:f>Sheet1!$B$5:$H$5</c:f>
              <c:numCache>
                <c:formatCode>General</c:formatCode>
                <c:ptCount val="7"/>
                <c:pt idx="2">
                  <c:v>3</c:v>
                </c:pt>
                <c:pt idx="6">
                  <c:v>3</c:v>
                </c:pt>
              </c:numCache>
            </c:numRef>
          </c:val>
          <c:extLst>
            <c:ext xmlns:c16="http://schemas.microsoft.com/office/drawing/2014/chart" uri="{C3380CC4-5D6E-409C-BE32-E72D297353CC}">
              <c16:uniqueId val="{00000003-E6C4-4FE6-91DF-20EEE241E9E4}"/>
            </c:ext>
          </c:extLst>
        </c:ser>
        <c:ser>
          <c:idx val="4"/>
          <c:order val="4"/>
          <c:tx>
            <c:strRef>
              <c:f>Sheet1!$A$6</c:f>
              <c:strCache>
                <c:ptCount val="1"/>
              </c:strCache>
            </c:strRef>
          </c:tx>
          <c:spPr>
            <a:solidFill>
              <a:schemeClr val="accent4"/>
            </a:solidFill>
            <a:ln w="25304">
              <a:noFill/>
            </a:ln>
          </c:spPr>
          <c:invertIfNegative val="0"/>
          <c:dLbls>
            <c:dLbl>
              <c:idx val="4"/>
              <c:delete val="1"/>
              <c:extLst>
                <c:ext xmlns:c15="http://schemas.microsoft.com/office/drawing/2012/chart" uri="{CE6537A1-D6FC-4f65-9D91-7224C49458BB}"/>
                <c:ext xmlns:c16="http://schemas.microsoft.com/office/drawing/2014/chart" uri="{C3380CC4-5D6E-409C-BE32-E72D297353CC}">
                  <c16:uniqueId val="{00000004-E6C4-4FE6-91DF-20EEE241E9E4}"/>
                </c:ext>
              </c:extLst>
            </c:dLbl>
            <c:spPr>
              <a:noFill/>
              <a:ln w="25304">
                <a:noFill/>
              </a:ln>
            </c:spPr>
            <c:txPr>
              <a:bodyPr/>
              <a:lstStyle/>
              <a:p>
                <a:pPr>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Label A</c:v>
                </c:pt>
                <c:pt idx="1">
                  <c:v>Label B</c:v>
                </c:pt>
                <c:pt idx="2">
                  <c:v>Label C</c:v>
                </c:pt>
                <c:pt idx="3">
                  <c:v>Label D</c:v>
                </c:pt>
                <c:pt idx="4">
                  <c:v>Label E</c:v>
                </c:pt>
                <c:pt idx="5">
                  <c:v>Label F</c:v>
                </c:pt>
                <c:pt idx="6">
                  <c:v>Total</c:v>
                </c:pt>
              </c:strCache>
            </c:strRef>
          </c:cat>
          <c:val>
            <c:numRef>
              <c:f>Sheet1!$B$6:$H$6</c:f>
              <c:numCache>
                <c:formatCode>General</c:formatCode>
                <c:ptCount val="7"/>
                <c:pt idx="3">
                  <c:v>2</c:v>
                </c:pt>
                <c:pt idx="6">
                  <c:v>2</c:v>
                </c:pt>
              </c:numCache>
            </c:numRef>
          </c:val>
          <c:extLst>
            <c:ext xmlns:c16="http://schemas.microsoft.com/office/drawing/2014/chart" uri="{C3380CC4-5D6E-409C-BE32-E72D297353CC}">
              <c16:uniqueId val="{00000005-E6C4-4FE6-91DF-20EEE241E9E4}"/>
            </c:ext>
          </c:extLst>
        </c:ser>
        <c:ser>
          <c:idx val="5"/>
          <c:order val="5"/>
          <c:tx>
            <c:strRef>
              <c:f>Sheet1!$A$7</c:f>
              <c:strCache>
                <c:ptCount val="1"/>
              </c:strCache>
            </c:strRef>
          </c:tx>
          <c:spPr>
            <a:solidFill>
              <a:schemeClr val="accent5"/>
            </a:solidFill>
            <a:ln w="25304">
              <a:noFill/>
            </a:ln>
          </c:spPr>
          <c:invertIfNegative val="0"/>
          <c:dLbls>
            <c:spPr>
              <a:noFill/>
              <a:ln w="25304">
                <a:noFill/>
              </a:ln>
            </c:spPr>
            <c:txPr>
              <a:bodyPr/>
              <a:lstStyle/>
              <a:p>
                <a:pPr>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Label A</c:v>
                </c:pt>
                <c:pt idx="1">
                  <c:v>Label B</c:v>
                </c:pt>
                <c:pt idx="2">
                  <c:v>Label C</c:v>
                </c:pt>
                <c:pt idx="3">
                  <c:v>Label D</c:v>
                </c:pt>
                <c:pt idx="4">
                  <c:v>Label E</c:v>
                </c:pt>
                <c:pt idx="5">
                  <c:v>Label F</c:v>
                </c:pt>
                <c:pt idx="6">
                  <c:v>Total</c:v>
                </c:pt>
              </c:strCache>
            </c:strRef>
          </c:cat>
          <c:val>
            <c:numRef>
              <c:f>Sheet1!$B$7:$H$7</c:f>
              <c:numCache>
                <c:formatCode>General</c:formatCode>
                <c:ptCount val="7"/>
                <c:pt idx="4">
                  <c:v>1.5</c:v>
                </c:pt>
                <c:pt idx="6">
                  <c:v>1.5</c:v>
                </c:pt>
              </c:numCache>
            </c:numRef>
          </c:val>
          <c:extLst>
            <c:ext xmlns:c16="http://schemas.microsoft.com/office/drawing/2014/chart" uri="{C3380CC4-5D6E-409C-BE32-E72D297353CC}">
              <c16:uniqueId val="{00000006-E6C4-4FE6-91DF-20EEE241E9E4}"/>
            </c:ext>
          </c:extLst>
        </c:ser>
        <c:ser>
          <c:idx val="6"/>
          <c:order val="6"/>
          <c:tx>
            <c:strRef>
              <c:f>Sheet1!$A$8</c:f>
              <c:strCache>
                <c:ptCount val="1"/>
              </c:strCache>
            </c:strRef>
          </c:tx>
          <c:spPr>
            <a:solidFill>
              <a:schemeClr val="accent6"/>
            </a:solidFill>
            <a:ln w="25304">
              <a:noFill/>
            </a:ln>
          </c:spPr>
          <c:invertIfNegative val="0"/>
          <c:dLbls>
            <c:spPr>
              <a:noFill/>
              <a:ln w="25304">
                <a:noFill/>
              </a:ln>
            </c:spPr>
            <c:txPr>
              <a:bodyPr/>
              <a:lstStyle/>
              <a:p>
                <a:pPr>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Label A</c:v>
                </c:pt>
                <c:pt idx="1">
                  <c:v>Label B</c:v>
                </c:pt>
                <c:pt idx="2">
                  <c:v>Label C</c:v>
                </c:pt>
                <c:pt idx="3">
                  <c:v>Label D</c:v>
                </c:pt>
                <c:pt idx="4">
                  <c:v>Label E</c:v>
                </c:pt>
                <c:pt idx="5">
                  <c:v>Label F</c:v>
                </c:pt>
                <c:pt idx="6">
                  <c:v>Total</c:v>
                </c:pt>
              </c:strCache>
            </c:strRef>
          </c:cat>
          <c:val>
            <c:numRef>
              <c:f>Sheet1!$B$8:$H$8</c:f>
              <c:numCache>
                <c:formatCode>General</c:formatCode>
                <c:ptCount val="7"/>
                <c:pt idx="5">
                  <c:v>1.5</c:v>
                </c:pt>
                <c:pt idx="6">
                  <c:v>1.5</c:v>
                </c:pt>
              </c:numCache>
            </c:numRef>
          </c:val>
          <c:extLst>
            <c:ext xmlns:c16="http://schemas.microsoft.com/office/drawing/2014/chart" uri="{C3380CC4-5D6E-409C-BE32-E72D297353CC}">
              <c16:uniqueId val="{00000007-E6C4-4FE6-91DF-20EEE241E9E4}"/>
            </c:ext>
          </c:extLst>
        </c:ser>
        <c:dLbls>
          <c:showLegendKey val="0"/>
          <c:showVal val="0"/>
          <c:showCatName val="0"/>
          <c:showSerName val="0"/>
          <c:showPercent val="0"/>
          <c:showBubbleSize val="0"/>
        </c:dLbls>
        <c:gapWidth val="30"/>
        <c:overlap val="100"/>
        <c:axId val="524922168"/>
        <c:axId val="524922560"/>
      </c:barChart>
      <c:catAx>
        <c:axId val="524922168"/>
        <c:scaling>
          <c:orientation val="minMax"/>
        </c:scaling>
        <c:delete val="0"/>
        <c:axPos val="b"/>
        <c:numFmt formatCode="General" sourceLinked="1"/>
        <c:majorTickMark val="none"/>
        <c:minorTickMark val="none"/>
        <c:tickLblPos val="nextTo"/>
        <c:spPr>
          <a:ln w="12652">
            <a:solidFill>
              <a:schemeClr val="tx2">
                <a:lumMod val="60000"/>
                <a:lumOff val="40000"/>
              </a:schemeClr>
            </a:solidFill>
            <a:prstDash val="solid"/>
          </a:ln>
        </c:spPr>
        <c:txPr>
          <a:bodyPr rot="0" vert="horz"/>
          <a:lstStyle/>
          <a:p>
            <a:pPr>
              <a:defRPr sz="1400" b="0">
                <a:solidFill>
                  <a:schemeClr val="tx2"/>
                </a:solidFill>
              </a:defRPr>
            </a:pPr>
            <a:endParaRPr lang="de-DE"/>
          </a:p>
        </c:txPr>
        <c:crossAx val="524922560"/>
        <c:crosses val="autoZero"/>
        <c:auto val="1"/>
        <c:lblAlgn val="ctr"/>
        <c:lblOffset val="100"/>
        <c:tickLblSkip val="1"/>
        <c:tickMarkSkip val="1"/>
        <c:noMultiLvlLbl val="0"/>
      </c:catAx>
      <c:valAx>
        <c:axId val="524922560"/>
        <c:scaling>
          <c:orientation val="minMax"/>
        </c:scaling>
        <c:delete val="1"/>
        <c:axPos val="l"/>
        <c:numFmt formatCode="General" sourceLinked="1"/>
        <c:majorTickMark val="out"/>
        <c:minorTickMark val="none"/>
        <c:tickLblPos val="none"/>
        <c:crossAx val="524922168"/>
        <c:crosses val="autoZero"/>
        <c:crossBetween val="between"/>
      </c:valAx>
      <c:spPr>
        <a:noFill/>
        <a:ln w="25304">
          <a:noFill/>
        </a:ln>
      </c:spPr>
    </c:plotArea>
    <c:plotVisOnly val="1"/>
    <c:dispBlanksAs val="gap"/>
    <c:showDLblsOverMax val="0"/>
  </c:chart>
  <c:spPr>
    <a:noFill/>
    <a:ln>
      <a:noFill/>
    </a:ln>
  </c:spPr>
  <c:txPr>
    <a:bodyPr/>
    <a:lstStyle/>
    <a:p>
      <a:pPr>
        <a:defRPr sz="1800" b="1" i="0" u="none" strike="noStrike" baseline="0">
          <a:solidFill>
            <a:schemeClr val="tx1"/>
          </a:solidFill>
          <a:latin typeface="+mn-lt"/>
          <a:ea typeface="Arial"/>
          <a:cs typeface="Arial"/>
        </a:defRPr>
      </a:pPr>
      <a:endParaRPr lang="de-DE"/>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964912280701754E-2"/>
          <c:y val="2.7100271002710102E-2"/>
          <c:w val="0.97807017543859953"/>
          <c:h val="0.82655826558265411"/>
        </c:manualLayout>
      </c:layout>
      <c:barChart>
        <c:barDir val="col"/>
        <c:grouping val="stacked"/>
        <c:varyColors val="0"/>
        <c:ser>
          <c:idx val="0"/>
          <c:order val="0"/>
          <c:tx>
            <c:strRef>
              <c:f>Sheet1!$A$2</c:f>
              <c:strCache>
                <c:ptCount val="1"/>
                <c:pt idx="0">
                  <c:v>East</c:v>
                </c:pt>
              </c:strCache>
            </c:strRef>
          </c:tx>
          <c:spPr>
            <a:noFill/>
            <a:ln w="25311">
              <a:noFill/>
            </a:ln>
          </c:spPr>
          <c:invertIfNegative val="0"/>
          <c:cat>
            <c:strRef>
              <c:f>Sheet1!$B$1:$F$1</c:f>
              <c:strCache>
                <c:ptCount val="5"/>
                <c:pt idx="0">
                  <c:v>Total</c:v>
                </c:pt>
                <c:pt idx="1">
                  <c:v>Label A</c:v>
                </c:pt>
                <c:pt idx="2">
                  <c:v>Label B</c:v>
                </c:pt>
                <c:pt idx="3">
                  <c:v>Label C</c:v>
                </c:pt>
                <c:pt idx="4">
                  <c:v>Label D</c:v>
                </c:pt>
              </c:strCache>
            </c:strRef>
          </c:cat>
          <c:val>
            <c:numRef>
              <c:f>Sheet1!$B$2:$F$2</c:f>
              <c:numCache>
                <c:formatCode>General</c:formatCode>
                <c:ptCount val="5"/>
                <c:pt idx="1">
                  <c:v>10</c:v>
                </c:pt>
                <c:pt idx="2">
                  <c:v>8</c:v>
                </c:pt>
                <c:pt idx="3">
                  <c:v>5</c:v>
                </c:pt>
              </c:numCache>
            </c:numRef>
          </c:val>
          <c:extLst>
            <c:ext xmlns:c16="http://schemas.microsoft.com/office/drawing/2014/chart" uri="{C3380CC4-5D6E-409C-BE32-E72D297353CC}">
              <c16:uniqueId val="{00000000-5D89-48FE-B620-C078B9AA9858}"/>
            </c:ext>
          </c:extLst>
        </c:ser>
        <c:ser>
          <c:idx val="2"/>
          <c:order val="1"/>
          <c:tx>
            <c:strRef>
              <c:f>Sheet1!$A$4</c:f>
              <c:strCache>
                <c:ptCount val="1"/>
              </c:strCache>
            </c:strRef>
          </c:tx>
          <c:spPr>
            <a:solidFill>
              <a:schemeClr val="accent1"/>
            </a:solidFill>
            <a:ln w="25311">
              <a:noFill/>
            </a:ln>
          </c:spPr>
          <c:invertIfNegative val="0"/>
          <c:dPt>
            <c:idx val="0"/>
            <c:invertIfNegative val="0"/>
            <c:bubble3D val="0"/>
            <c:spPr>
              <a:solidFill>
                <a:schemeClr val="accent5"/>
              </a:solidFill>
              <a:ln w="25311">
                <a:noFill/>
              </a:ln>
            </c:spPr>
            <c:extLst>
              <c:ext xmlns:c16="http://schemas.microsoft.com/office/drawing/2014/chart" uri="{C3380CC4-5D6E-409C-BE32-E72D297353CC}">
                <c16:uniqueId val="{00000002-5D89-48FE-B620-C078B9AA9858}"/>
              </c:ext>
            </c:extLst>
          </c:dPt>
          <c:dLbls>
            <c:spPr>
              <a:noFill/>
              <a:ln w="25311">
                <a:noFill/>
              </a:ln>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Total</c:v>
                </c:pt>
                <c:pt idx="1">
                  <c:v>Label A</c:v>
                </c:pt>
                <c:pt idx="2">
                  <c:v>Label B</c:v>
                </c:pt>
                <c:pt idx="3">
                  <c:v>Label C</c:v>
                </c:pt>
                <c:pt idx="4">
                  <c:v>Label D</c:v>
                </c:pt>
              </c:strCache>
            </c:strRef>
          </c:cat>
          <c:val>
            <c:numRef>
              <c:f>Sheet1!$B$4:$F$4</c:f>
              <c:numCache>
                <c:formatCode>General</c:formatCode>
                <c:ptCount val="5"/>
                <c:pt idx="0">
                  <c:v>11</c:v>
                </c:pt>
                <c:pt idx="1">
                  <c:v>1</c:v>
                </c:pt>
                <c:pt idx="2">
                  <c:v>2</c:v>
                </c:pt>
                <c:pt idx="3">
                  <c:v>3</c:v>
                </c:pt>
                <c:pt idx="4">
                  <c:v>5</c:v>
                </c:pt>
              </c:numCache>
            </c:numRef>
          </c:val>
          <c:extLst>
            <c:ext xmlns:c16="http://schemas.microsoft.com/office/drawing/2014/chart" uri="{C3380CC4-5D6E-409C-BE32-E72D297353CC}">
              <c16:uniqueId val="{00000003-5D89-48FE-B620-C078B9AA9858}"/>
            </c:ext>
          </c:extLst>
        </c:ser>
        <c:dLbls>
          <c:showLegendKey val="0"/>
          <c:showVal val="0"/>
          <c:showCatName val="0"/>
          <c:showSerName val="0"/>
          <c:showPercent val="0"/>
          <c:showBubbleSize val="0"/>
        </c:dLbls>
        <c:gapWidth val="50"/>
        <c:overlap val="100"/>
        <c:axId val="524923344"/>
        <c:axId val="524923736"/>
      </c:barChart>
      <c:catAx>
        <c:axId val="524923344"/>
        <c:scaling>
          <c:orientation val="minMax"/>
        </c:scaling>
        <c:delete val="0"/>
        <c:axPos val="b"/>
        <c:numFmt formatCode="General" sourceLinked="1"/>
        <c:majorTickMark val="none"/>
        <c:minorTickMark val="none"/>
        <c:tickLblPos val="nextTo"/>
        <c:spPr>
          <a:ln w="12656">
            <a:solidFill>
              <a:schemeClr val="tx2">
                <a:lumMod val="60000"/>
                <a:lumOff val="40000"/>
              </a:schemeClr>
            </a:solidFill>
            <a:prstDash val="solid"/>
          </a:ln>
        </c:spPr>
        <c:txPr>
          <a:bodyPr rot="0" vert="horz"/>
          <a:lstStyle/>
          <a:p>
            <a:pPr>
              <a:defRPr sz="1400" b="0">
                <a:solidFill>
                  <a:schemeClr val="tx2"/>
                </a:solidFill>
              </a:defRPr>
            </a:pPr>
            <a:endParaRPr lang="de-DE"/>
          </a:p>
        </c:txPr>
        <c:crossAx val="524923736"/>
        <c:crosses val="autoZero"/>
        <c:auto val="1"/>
        <c:lblAlgn val="ctr"/>
        <c:lblOffset val="100"/>
        <c:tickLblSkip val="1"/>
        <c:tickMarkSkip val="1"/>
        <c:noMultiLvlLbl val="0"/>
      </c:catAx>
      <c:valAx>
        <c:axId val="524923736"/>
        <c:scaling>
          <c:orientation val="minMax"/>
        </c:scaling>
        <c:delete val="1"/>
        <c:axPos val="l"/>
        <c:numFmt formatCode="General" sourceLinked="1"/>
        <c:majorTickMark val="out"/>
        <c:minorTickMark val="none"/>
        <c:tickLblPos val="none"/>
        <c:crossAx val="524923344"/>
        <c:crosses val="autoZero"/>
        <c:crossBetween val="between"/>
      </c:valAx>
      <c:spPr>
        <a:noFill/>
        <a:ln w="25311">
          <a:noFill/>
        </a:ln>
      </c:spPr>
    </c:plotArea>
    <c:plotVisOnly val="1"/>
    <c:dispBlanksAs val="gap"/>
    <c:showDLblsOverMax val="0"/>
  </c:chart>
  <c:spPr>
    <a:noFill/>
    <a:ln>
      <a:noFill/>
    </a:ln>
  </c:spPr>
  <c:txPr>
    <a:bodyPr/>
    <a:lstStyle/>
    <a:p>
      <a:pPr>
        <a:defRPr sz="1800" b="1" i="0" u="none" strike="noStrike" baseline="0">
          <a:solidFill>
            <a:schemeClr val="tx1"/>
          </a:solidFill>
          <a:latin typeface="+mn-lt"/>
          <a:ea typeface="Arial"/>
          <a:cs typeface="Arial"/>
        </a:defRPr>
      </a:pPr>
      <a:endParaRPr lang="de-DE"/>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27298601574644"/>
        </c:manualLayout>
      </c:layout>
      <c:barChart>
        <c:barDir val="col"/>
        <c:grouping val="stacked"/>
        <c:varyColors val="0"/>
        <c:ser>
          <c:idx val="0"/>
          <c:order val="0"/>
          <c:tx>
            <c:strRef>
              <c:f>Sheet1!$A$2</c:f>
              <c:strCache>
                <c:ptCount val="1"/>
                <c:pt idx="0">
                  <c:v>East</c:v>
                </c:pt>
              </c:strCache>
            </c:strRef>
          </c:tx>
          <c:spPr>
            <a:noFill/>
            <a:ln w="25300">
              <a:noFill/>
            </a:ln>
          </c:spPr>
          <c:invertIfNegative val="0"/>
          <c:cat>
            <c:strRef>
              <c:f>Sheet1!$B$1:$H$1</c:f>
              <c:strCache>
                <c:ptCount val="7"/>
                <c:pt idx="0">
                  <c:v>Total</c:v>
                </c:pt>
                <c:pt idx="1">
                  <c:v>Label A</c:v>
                </c:pt>
                <c:pt idx="2">
                  <c:v>Label B</c:v>
                </c:pt>
                <c:pt idx="3">
                  <c:v>Label C</c:v>
                </c:pt>
                <c:pt idx="4">
                  <c:v>Label D</c:v>
                </c:pt>
                <c:pt idx="5">
                  <c:v>Label E</c:v>
                </c:pt>
                <c:pt idx="6">
                  <c:v>Label F</c:v>
                </c:pt>
              </c:strCache>
            </c:strRef>
          </c:cat>
          <c:val>
            <c:numRef>
              <c:f>Sheet1!$B$2:$H$2</c:f>
              <c:numCache>
                <c:formatCode>General</c:formatCode>
                <c:ptCount val="7"/>
                <c:pt idx="1">
                  <c:v>15.5</c:v>
                </c:pt>
                <c:pt idx="2">
                  <c:v>14</c:v>
                </c:pt>
                <c:pt idx="3">
                  <c:v>12</c:v>
                </c:pt>
                <c:pt idx="4">
                  <c:v>9</c:v>
                </c:pt>
                <c:pt idx="5">
                  <c:v>5</c:v>
                </c:pt>
              </c:numCache>
            </c:numRef>
          </c:val>
          <c:extLst>
            <c:ext xmlns:c16="http://schemas.microsoft.com/office/drawing/2014/chart" uri="{C3380CC4-5D6E-409C-BE32-E72D297353CC}">
              <c16:uniqueId val="{00000000-A042-4F83-8237-45511098E66D}"/>
            </c:ext>
          </c:extLst>
        </c:ser>
        <c:ser>
          <c:idx val="1"/>
          <c:order val="1"/>
          <c:tx>
            <c:strRef>
              <c:f>Sheet1!$A$3</c:f>
              <c:strCache>
                <c:ptCount val="1"/>
              </c:strCache>
            </c:strRef>
          </c:tx>
          <c:spPr>
            <a:solidFill>
              <a:schemeClr val="accent1"/>
            </a:solidFill>
            <a:ln w="12650">
              <a:solidFill>
                <a:srgbClr val="FFFFFF"/>
              </a:solidFill>
              <a:prstDash val="solid"/>
            </a:ln>
          </c:spPr>
          <c:invertIfNegative val="0"/>
          <c:dLbls>
            <c:spPr>
              <a:noFill/>
              <a:ln w="25300">
                <a:noFill/>
              </a:ln>
            </c:spPr>
            <c:txPr>
              <a:bodyPr/>
              <a:lstStyle/>
              <a:p>
                <a:pPr>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Label A</c:v>
                </c:pt>
                <c:pt idx="2">
                  <c:v>Label B</c:v>
                </c:pt>
                <c:pt idx="3">
                  <c:v>Label C</c:v>
                </c:pt>
                <c:pt idx="4">
                  <c:v>Label D</c:v>
                </c:pt>
                <c:pt idx="5">
                  <c:v>Label E</c:v>
                </c:pt>
                <c:pt idx="6">
                  <c:v>Label F</c:v>
                </c:pt>
              </c:strCache>
            </c:strRef>
          </c:cat>
          <c:val>
            <c:numRef>
              <c:f>Sheet1!$B$3:$H$3</c:f>
              <c:numCache>
                <c:formatCode>General</c:formatCode>
                <c:ptCount val="7"/>
                <c:pt idx="0">
                  <c:v>5</c:v>
                </c:pt>
                <c:pt idx="6">
                  <c:v>5</c:v>
                </c:pt>
              </c:numCache>
            </c:numRef>
          </c:val>
          <c:extLst>
            <c:ext xmlns:c16="http://schemas.microsoft.com/office/drawing/2014/chart" uri="{C3380CC4-5D6E-409C-BE32-E72D297353CC}">
              <c16:uniqueId val="{00000001-A042-4F83-8237-45511098E66D}"/>
            </c:ext>
          </c:extLst>
        </c:ser>
        <c:ser>
          <c:idx val="2"/>
          <c:order val="2"/>
          <c:tx>
            <c:strRef>
              <c:f>Sheet1!$A$4</c:f>
              <c:strCache>
                <c:ptCount val="1"/>
              </c:strCache>
            </c:strRef>
          </c:tx>
          <c:spPr>
            <a:solidFill>
              <a:schemeClr val="accent2"/>
            </a:solidFill>
            <a:ln w="12650">
              <a:solidFill>
                <a:srgbClr val="FFFFFF"/>
              </a:solidFill>
              <a:prstDash val="solid"/>
            </a:ln>
          </c:spPr>
          <c:invertIfNegative val="0"/>
          <c:dLbls>
            <c:spPr>
              <a:noFill/>
              <a:ln w="25300">
                <a:noFill/>
              </a:ln>
            </c:spPr>
            <c:txPr>
              <a:bodyPr/>
              <a:lstStyle/>
              <a:p>
                <a:pPr>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Label A</c:v>
                </c:pt>
                <c:pt idx="2">
                  <c:v>Label B</c:v>
                </c:pt>
                <c:pt idx="3">
                  <c:v>Label C</c:v>
                </c:pt>
                <c:pt idx="4">
                  <c:v>Label D</c:v>
                </c:pt>
                <c:pt idx="5">
                  <c:v>Label E</c:v>
                </c:pt>
                <c:pt idx="6">
                  <c:v>Label F</c:v>
                </c:pt>
              </c:strCache>
            </c:strRef>
          </c:cat>
          <c:val>
            <c:numRef>
              <c:f>Sheet1!$B$4:$H$4</c:f>
              <c:numCache>
                <c:formatCode>General</c:formatCode>
                <c:ptCount val="7"/>
                <c:pt idx="0">
                  <c:v>4</c:v>
                </c:pt>
                <c:pt idx="5">
                  <c:v>4</c:v>
                </c:pt>
              </c:numCache>
            </c:numRef>
          </c:val>
          <c:extLst>
            <c:ext xmlns:c16="http://schemas.microsoft.com/office/drawing/2014/chart" uri="{C3380CC4-5D6E-409C-BE32-E72D297353CC}">
              <c16:uniqueId val="{00000002-A042-4F83-8237-45511098E66D}"/>
            </c:ext>
          </c:extLst>
        </c:ser>
        <c:ser>
          <c:idx val="3"/>
          <c:order val="3"/>
          <c:tx>
            <c:strRef>
              <c:f>Sheet1!$A$5</c:f>
              <c:strCache>
                <c:ptCount val="1"/>
              </c:strCache>
            </c:strRef>
          </c:tx>
          <c:spPr>
            <a:solidFill>
              <a:schemeClr val="accent3"/>
            </a:solidFill>
            <a:ln w="12650">
              <a:solidFill>
                <a:srgbClr val="FFFFFF"/>
              </a:solidFill>
              <a:prstDash val="solid"/>
            </a:ln>
          </c:spPr>
          <c:invertIfNegative val="0"/>
          <c:dLbls>
            <c:spPr>
              <a:noFill/>
              <a:ln w="25300">
                <a:noFill/>
              </a:ln>
            </c:spPr>
            <c:txPr>
              <a:bodyPr/>
              <a:lstStyle/>
              <a:p>
                <a:pPr>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Label A</c:v>
                </c:pt>
                <c:pt idx="2">
                  <c:v>Label B</c:v>
                </c:pt>
                <c:pt idx="3">
                  <c:v>Label C</c:v>
                </c:pt>
                <c:pt idx="4">
                  <c:v>Label D</c:v>
                </c:pt>
                <c:pt idx="5">
                  <c:v>Label E</c:v>
                </c:pt>
                <c:pt idx="6">
                  <c:v>Label F</c:v>
                </c:pt>
              </c:strCache>
            </c:strRef>
          </c:cat>
          <c:val>
            <c:numRef>
              <c:f>Sheet1!$B$5:$H$5</c:f>
              <c:numCache>
                <c:formatCode>General</c:formatCode>
                <c:ptCount val="7"/>
                <c:pt idx="0">
                  <c:v>3</c:v>
                </c:pt>
                <c:pt idx="4">
                  <c:v>3</c:v>
                </c:pt>
              </c:numCache>
            </c:numRef>
          </c:val>
          <c:extLst>
            <c:ext xmlns:c16="http://schemas.microsoft.com/office/drawing/2014/chart" uri="{C3380CC4-5D6E-409C-BE32-E72D297353CC}">
              <c16:uniqueId val="{00000003-A042-4F83-8237-45511098E66D}"/>
            </c:ext>
          </c:extLst>
        </c:ser>
        <c:ser>
          <c:idx val="4"/>
          <c:order val="4"/>
          <c:tx>
            <c:strRef>
              <c:f>Sheet1!$A$6</c:f>
              <c:strCache>
                <c:ptCount val="1"/>
              </c:strCache>
            </c:strRef>
          </c:tx>
          <c:spPr>
            <a:solidFill>
              <a:schemeClr val="accent4"/>
            </a:solidFill>
            <a:ln w="12650">
              <a:solidFill>
                <a:srgbClr val="FFFFFF"/>
              </a:solidFill>
              <a:prstDash val="solid"/>
            </a:ln>
          </c:spPr>
          <c:invertIfNegative val="0"/>
          <c:dLbls>
            <c:spPr>
              <a:noFill/>
              <a:ln w="25300">
                <a:noFill/>
              </a:ln>
            </c:spPr>
            <c:txPr>
              <a:bodyPr/>
              <a:lstStyle/>
              <a:p>
                <a:pPr>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Label A</c:v>
                </c:pt>
                <c:pt idx="2">
                  <c:v>Label B</c:v>
                </c:pt>
                <c:pt idx="3">
                  <c:v>Label C</c:v>
                </c:pt>
                <c:pt idx="4">
                  <c:v>Label D</c:v>
                </c:pt>
                <c:pt idx="5">
                  <c:v>Label E</c:v>
                </c:pt>
                <c:pt idx="6">
                  <c:v>Label F</c:v>
                </c:pt>
              </c:strCache>
            </c:strRef>
          </c:cat>
          <c:val>
            <c:numRef>
              <c:f>Sheet1!$B$6:$H$6</c:f>
              <c:numCache>
                <c:formatCode>General</c:formatCode>
                <c:ptCount val="7"/>
                <c:pt idx="0">
                  <c:v>2</c:v>
                </c:pt>
                <c:pt idx="3">
                  <c:v>2</c:v>
                </c:pt>
              </c:numCache>
            </c:numRef>
          </c:val>
          <c:extLst>
            <c:ext xmlns:c16="http://schemas.microsoft.com/office/drawing/2014/chart" uri="{C3380CC4-5D6E-409C-BE32-E72D297353CC}">
              <c16:uniqueId val="{00000004-A042-4F83-8237-45511098E66D}"/>
            </c:ext>
          </c:extLst>
        </c:ser>
        <c:ser>
          <c:idx val="5"/>
          <c:order val="5"/>
          <c:tx>
            <c:strRef>
              <c:f>Sheet1!$A$7</c:f>
              <c:strCache>
                <c:ptCount val="1"/>
              </c:strCache>
            </c:strRef>
          </c:tx>
          <c:spPr>
            <a:solidFill>
              <a:schemeClr val="accent5"/>
            </a:solidFill>
            <a:ln w="12650">
              <a:solidFill>
                <a:srgbClr val="FFFFFF"/>
              </a:solidFill>
              <a:prstDash val="solid"/>
            </a:ln>
          </c:spPr>
          <c:invertIfNegative val="0"/>
          <c:dLbls>
            <c:spPr>
              <a:noFill/>
              <a:ln w="25300">
                <a:noFill/>
              </a:ln>
            </c:spPr>
            <c:txPr>
              <a:bodyPr/>
              <a:lstStyle/>
              <a:p>
                <a:pPr>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Label A</c:v>
                </c:pt>
                <c:pt idx="2">
                  <c:v>Label B</c:v>
                </c:pt>
                <c:pt idx="3">
                  <c:v>Label C</c:v>
                </c:pt>
                <c:pt idx="4">
                  <c:v>Label D</c:v>
                </c:pt>
                <c:pt idx="5">
                  <c:v>Label E</c:v>
                </c:pt>
                <c:pt idx="6">
                  <c:v>Label F</c:v>
                </c:pt>
              </c:strCache>
            </c:strRef>
          </c:cat>
          <c:val>
            <c:numRef>
              <c:f>Sheet1!$B$7:$H$7</c:f>
              <c:numCache>
                <c:formatCode>General</c:formatCode>
                <c:ptCount val="7"/>
                <c:pt idx="0">
                  <c:v>1.5</c:v>
                </c:pt>
                <c:pt idx="2">
                  <c:v>1.5</c:v>
                </c:pt>
              </c:numCache>
            </c:numRef>
          </c:val>
          <c:extLst>
            <c:ext xmlns:c16="http://schemas.microsoft.com/office/drawing/2014/chart" uri="{C3380CC4-5D6E-409C-BE32-E72D297353CC}">
              <c16:uniqueId val="{00000005-A042-4F83-8237-45511098E66D}"/>
            </c:ext>
          </c:extLst>
        </c:ser>
        <c:ser>
          <c:idx val="6"/>
          <c:order val="6"/>
          <c:tx>
            <c:strRef>
              <c:f>Sheet1!$A$8</c:f>
              <c:strCache>
                <c:ptCount val="1"/>
              </c:strCache>
            </c:strRef>
          </c:tx>
          <c:spPr>
            <a:solidFill>
              <a:schemeClr val="accent6"/>
            </a:solidFill>
            <a:ln w="12650">
              <a:solidFill>
                <a:schemeClr val="bg1"/>
              </a:solidFill>
              <a:prstDash val="solid"/>
            </a:ln>
          </c:spPr>
          <c:invertIfNegative val="0"/>
          <c:dLbls>
            <c:spPr>
              <a:noFill/>
              <a:ln w="25300">
                <a:noFill/>
              </a:ln>
            </c:spPr>
            <c:txPr>
              <a:bodyPr/>
              <a:lstStyle/>
              <a:p>
                <a:pPr>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Label A</c:v>
                </c:pt>
                <c:pt idx="2">
                  <c:v>Label B</c:v>
                </c:pt>
                <c:pt idx="3">
                  <c:v>Label C</c:v>
                </c:pt>
                <c:pt idx="4">
                  <c:v>Label D</c:v>
                </c:pt>
                <c:pt idx="5">
                  <c:v>Label E</c:v>
                </c:pt>
                <c:pt idx="6">
                  <c:v>Label F</c:v>
                </c:pt>
              </c:strCache>
            </c:strRef>
          </c:cat>
          <c:val>
            <c:numRef>
              <c:f>Sheet1!$B$8:$H$8</c:f>
              <c:numCache>
                <c:formatCode>General</c:formatCode>
                <c:ptCount val="7"/>
                <c:pt idx="0">
                  <c:v>1.5</c:v>
                </c:pt>
                <c:pt idx="1">
                  <c:v>1.5</c:v>
                </c:pt>
              </c:numCache>
            </c:numRef>
          </c:val>
          <c:extLst>
            <c:ext xmlns:c16="http://schemas.microsoft.com/office/drawing/2014/chart" uri="{C3380CC4-5D6E-409C-BE32-E72D297353CC}">
              <c16:uniqueId val="{00000006-A042-4F83-8237-45511098E66D}"/>
            </c:ext>
          </c:extLst>
        </c:ser>
        <c:dLbls>
          <c:showLegendKey val="0"/>
          <c:showVal val="0"/>
          <c:showCatName val="0"/>
          <c:showSerName val="0"/>
          <c:showPercent val="0"/>
          <c:showBubbleSize val="0"/>
        </c:dLbls>
        <c:gapWidth val="40"/>
        <c:overlap val="100"/>
        <c:axId val="628211744"/>
        <c:axId val="628212136"/>
      </c:barChart>
      <c:catAx>
        <c:axId val="628211744"/>
        <c:scaling>
          <c:orientation val="minMax"/>
        </c:scaling>
        <c:delete val="0"/>
        <c:axPos val="b"/>
        <c:numFmt formatCode="General" sourceLinked="1"/>
        <c:majorTickMark val="none"/>
        <c:minorTickMark val="none"/>
        <c:tickLblPos val="nextTo"/>
        <c:spPr>
          <a:ln w="12650">
            <a:solidFill>
              <a:schemeClr val="tx2">
                <a:lumMod val="60000"/>
                <a:lumOff val="40000"/>
              </a:schemeClr>
            </a:solidFill>
            <a:prstDash val="solid"/>
          </a:ln>
        </c:spPr>
        <c:txPr>
          <a:bodyPr rot="0" vert="horz"/>
          <a:lstStyle/>
          <a:p>
            <a:pPr>
              <a:defRPr sz="1400" b="0">
                <a:solidFill>
                  <a:schemeClr val="tx2"/>
                </a:solidFill>
              </a:defRPr>
            </a:pPr>
            <a:endParaRPr lang="de-DE"/>
          </a:p>
        </c:txPr>
        <c:crossAx val="628212136"/>
        <c:crosses val="autoZero"/>
        <c:auto val="1"/>
        <c:lblAlgn val="ctr"/>
        <c:lblOffset val="100"/>
        <c:tickLblSkip val="1"/>
        <c:tickMarkSkip val="1"/>
        <c:noMultiLvlLbl val="0"/>
      </c:catAx>
      <c:valAx>
        <c:axId val="628212136"/>
        <c:scaling>
          <c:orientation val="minMax"/>
        </c:scaling>
        <c:delete val="1"/>
        <c:axPos val="l"/>
        <c:numFmt formatCode="General" sourceLinked="1"/>
        <c:majorTickMark val="out"/>
        <c:minorTickMark val="none"/>
        <c:tickLblPos val="none"/>
        <c:crossAx val="628211744"/>
        <c:crosses val="autoZero"/>
        <c:crossBetween val="between"/>
      </c:valAx>
      <c:spPr>
        <a:noFill/>
        <a:ln w="25300">
          <a:noFill/>
        </a:ln>
      </c:spPr>
    </c:plotArea>
    <c:plotVisOnly val="1"/>
    <c:dispBlanksAs val="gap"/>
    <c:showDLblsOverMax val="0"/>
  </c:chart>
  <c:spPr>
    <a:noFill/>
    <a:ln>
      <a:noFill/>
    </a:ln>
  </c:spPr>
  <c:txPr>
    <a:bodyPr/>
    <a:lstStyle/>
    <a:p>
      <a:pPr>
        <a:defRPr sz="1800" b="1" i="0" u="none" strike="noStrike" baseline="0">
          <a:solidFill>
            <a:schemeClr val="tx1"/>
          </a:solidFill>
          <a:latin typeface="+mn-lt"/>
          <a:ea typeface="Arial"/>
          <a:cs typeface="Arial"/>
        </a:defRPr>
      </a:pPr>
      <a:endParaRPr lang="de-DE"/>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3938903918250417E-3"/>
          <c:w val="1"/>
          <c:h val="0.86648555361003132"/>
        </c:manualLayout>
      </c:layout>
      <c:barChart>
        <c:barDir val="col"/>
        <c:grouping val="stacked"/>
        <c:varyColors val="0"/>
        <c:ser>
          <c:idx val="0"/>
          <c:order val="0"/>
          <c:tx>
            <c:strRef>
              <c:f>Sheet1!$A$2</c:f>
              <c:strCache>
                <c:ptCount val="1"/>
                <c:pt idx="0">
                  <c:v>East</c:v>
                </c:pt>
              </c:strCache>
            </c:strRef>
          </c:tx>
          <c:spPr>
            <a:noFill/>
            <a:ln w="25300">
              <a:noFill/>
            </a:ln>
          </c:spPr>
          <c:invertIfNegative val="0"/>
          <c:cat>
            <c:strRef>
              <c:f>Sheet1!$B$1:$F$1</c:f>
              <c:strCache>
                <c:ptCount val="5"/>
                <c:pt idx="0">
                  <c:v>Total 1</c:v>
                </c:pt>
                <c:pt idx="1">
                  <c:v>Label A</c:v>
                </c:pt>
                <c:pt idx="2">
                  <c:v>Label B</c:v>
                </c:pt>
                <c:pt idx="3">
                  <c:v>Label C</c:v>
                </c:pt>
                <c:pt idx="4">
                  <c:v>Total 2</c:v>
                </c:pt>
              </c:strCache>
            </c:strRef>
          </c:cat>
          <c:val>
            <c:numRef>
              <c:f>Sheet1!$B$2:$F$2</c:f>
              <c:numCache>
                <c:formatCode>General</c:formatCode>
                <c:ptCount val="5"/>
                <c:pt idx="1">
                  <c:v>5</c:v>
                </c:pt>
                <c:pt idx="3">
                  <c:v>5</c:v>
                </c:pt>
              </c:numCache>
            </c:numRef>
          </c:val>
          <c:extLst>
            <c:ext xmlns:c16="http://schemas.microsoft.com/office/drawing/2014/chart" uri="{C3380CC4-5D6E-409C-BE32-E72D297353CC}">
              <c16:uniqueId val="{00000000-D1D1-4819-B92D-303256196928}"/>
            </c:ext>
          </c:extLst>
        </c:ser>
        <c:ser>
          <c:idx val="2"/>
          <c:order val="1"/>
          <c:tx>
            <c:strRef>
              <c:f>Sheet1!$A$4</c:f>
              <c:strCache>
                <c:ptCount val="1"/>
              </c:strCache>
            </c:strRef>
          </c:tx>
          <c:spPr>
            <a:solidFill>
              <a:schemeClr val="accent1"/>
            </a:solidFill>
            <a:ln w="25300">
              <a:noFill/>
            </a:ln>
          </c:spPr>
          <c:invertIfNegative val="0"/>
          <c:dPt>
            <c:idx val="0"/>
            <c:invertIfNegative val="0"/>
            <c:bubble3D val="0"/>
            <c:spPr>
              <a:solidFill>
                <a:schemeClr val="accent5"/>
              </a:solidFill>
              <a:ln w="25300">
                <a:noFill/>
              </a:ln>
            </c:spPr>
            <c:extLst>
              <c:ext xmlns:c16="http://schemas.microsoft.com/office/drawing/2014/chart" uri="{C3380CC4-5D6E-409C-BE32-E72D297353CC}">
                <c16:uniqueId val="{00000002-D1D1-4819-B92D-303256196928}"/>
              </c:ext>
            </c:extLst>
          </c:dPt>
          <c:dPt>
            <c:idx val="4"/>
            <c:invertIfNegative val="0"/>
            <c:bubble3D val="0"/>
            <c:spPr>
              <a:solidFill>
                <a:schemeClr val="accent5"/>
              </a:solidFill>
              <a:ln w="25300">
                <a:noFill/>
              </a:ln>
            </c:spPr>
            <c:extLst>
              <c:ext xmlns:c16="http://schemas.microsoft.com/office/drawing/2014/chart" uri="{C3380CC4-5D6E-409C-BE32-E72D297353CC}">
                <c16:uniqueId val="{00000004-D1D1-4819-B92D-303256196928}"/>
              </c:ext>
            </c:extLst>
          </c:dPt>
          <c:dLbls>
            <c:spPr>
              <a:noFill/>
              <a:ln w="25300">
                <a:noFill/>
              </a:ln>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Total 1</c:v>
                </c:pt>
                <c:pt idx="1">
                  <c:v>Label A</c:v>
                </c:pt>
                <c:pt idx="2">
                  <c:v>Label B</c:v>
                </c:pt>
                <c:pt idx="3">
                  <c:v>Label C</c:v>
                </c:pt>
                <c:pt idx="4">
                  <c:v>Total 2</c:v>
                </c:pt>
              </c:strCache>
            </c:strRef>
          </c:cat>
          <c:val>
            <c:numRef>
              <c:f>Sheet1!$B$4:$F$4</c:f>
              <c:numCache>
                <c:formatCode>General</c:formatCode>
                <c:ptCount val="5"/>
                <c:pt idx="0">
                  <c:v>11</c:v>
                </c:pt>
                <c:pt idx="1">
                  <c:v>6</c:v>
                </c:pt>
                <c:pt idx="2">
                  <c:v>5</c:v>
                </c:pt>
                <c:pt idx="3">
                  <c:v>3</c:v>
                </c:pt>
                <c:pt idx="4">
                  <c:v>8</c:v>
                </c:pt>
              </c:numCache>
            </c:numRef>
          </c:val>
          <c:extLst>
            <c:ext xmlns:c16="http://schemas.microsoft.com/office/drawing/2014/chart" uri="{C3380CC4-5D6E-409C-BE32-E72D297353CC}">
              <c16:uniqueId val="{00000005-D1D1-4819-B92D-303256196928}"/>
            </c:ext>
          </c:extLst>
        </c:ser>
        <c:dLbls>
          <c:showLegendKey val="0"/>
          <c:showVal val="0"/>
          <c:showCatName val="0"/>
          <c:showSerName val="0"/>
          <c:showPercent val="0"/>
          <c:showBubbleSize val="0"/>
        </c:dLbls>
        <c:gapWidth val="90"/>
        <c:overlap val="100"/>
        <c:axId val="628212920"/>
        <c:axId val="628213312"/>
      </c:barChart>
      <c:catAx>
        <c:axId val="628212920"/>
        <c:scaling>
          <c:orientation val="minMax"/>
        </c:scaling>
        <c:delete val="0"/>
        <c:axPos val="b"/>
        <c:numFmt formatCode="General" sourceLinked="1"/>
        <c:majorTickMark val="none"/>
        <c:minorTickMark val="none"/>
        <c:tickLblPos val="nextTo"/>
        <c:spPr>
          <a:ln w="12650">
            <a:solidFill>
              <a:schemeClr val="tx2">
                <a:lumMod val="60000"/>
                <a:lumOff val="40000"/>
              </a:schemeClr>
            </a:solidFill>
            <a:prstDash val="solid"/>
          </a:ln>
        </c:spPr>
        <c:txPr>
          <a:bodyPr rot="0" vert="horz"/>
          <a:lstStyle/>
          <a:p>
            <a:pPr>
              <a:defRPr sz="1400" b="0">
                <a:solidFill>
                  <a:schemeClr val="tx2"/>
                </a:solidFill>
              </a:defRPr>
            </a:pPr>
            <a:endParaRPr lang="de-DE"/>
          </a:p>
        </c:txPr>
        <c:crossAx val="628213312"/>
        <c:crosses val="autoZero"/>
        <c:auto val="1"/>
        <c:lblAlgn val="ctr"/>
        <c:lblOffset val="100"/>
        <c:tickLblSkip val="1"/>
        <c:tickMarkSkip val="1"/>
        <c:noMultiLvlLbl val="0"/>
      </c:catAx>
      <c:valAx>
        <c:axId val="628213312"/>
        <c:scaling>
          <c:orientation val="minMax"/>
        </c:scaling>
        <c:delete val="1"/>
        <c:axPos val="l"/>
        <c:numFmt formatCode="General" sourceLinked="1"/>
        <c:majorTickMark val="out"/>
        <c:minorTickMark val="none"/>
        <c:tickLblPos val="none"/>
        <c:crossAx val="628212920"/>
        <c:crosses val="autoZero"/>
        <c:crossBetween val="between"/>
      </c:valAx>
      <c:spPr>
        <a:noFill/>
        <a:ln w="25300">
          <a:noFill/>
        </a:ln>
      </c:spPr>
    </c:plotArea>
    <c:plotVisOnly val="1"/>
    <c:dispBlanksAs val="gap"/>
    <c:showDLblsOverMax val="0"/>
  </c:chart>
  <c:spPr>
    <a:noFill/>
    <a:ln>
      <a:noFill/>
    </a:ln>
  </c:spPr>
  <c:txPr>
    <a:bodyPr/>
    <a:lstStyle/>
    <a:p>
      <a:pPr>
        <a:defRPr sz="1800" b="1" i="0" u="none" strike="noStrike" baseline="0">
          <a:solidFill>
            <a:schemeClr val="tx1"/>
          </a:solidFill>
          <a:latin typeface="+mn-lt"/>
          <a:ea typeface="Arial"/>
          <a:cs typeface="Arial"/>
        </a:defRPr>
      </a:pPr>
      <a:endParaRPr lang="de-DE"/>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086474501108681E-2"/>
          <c:y val="2.2727272727272853E-2"/>
          <c:w val="0.97782705099778433"/>
          <c:h val="0.85454545454545672"/>
        </c:manualLayout>
      </c:layout>
      <c:barChart>
        <c:barDir val="col"/>
        <c:grouping val="stacked"/>
        <c:varyColors val="0"/>
        <c:ser>
          <c:idx val="0"/>
          <c:order val="0"/>
          <c:tx>
            <c:strRef>
              <c:f>Sheet1!$A$2</c:f>
              <c:strCache>
                <c:ptCount val="1"/>
                <c:pt idx="0">
                  <c:v>East</c:v>
                </c:pt>
              </c:strCache>
            </c:strRef>
          </c:tx>
          <c:spPr>
            <a:noFill/>
            <a:ln w="25312">
              <a:noFill/>
            </a:ln>
          </c:spPr>
          <c:invertIfNegative val="0"/>
          <c:cat>
            <c:strRef>
              <c:f>Sheet1!$B$1:$I$1</c:f>
              <c:strCache>
                <c:ptCount val="8"/>
                <c:pt idx="0">
                  <c:v>Total 1</c:v>
                </c:pt>
                <c:pt idx="1">
                  <c:v>Label A</c:v>
                </c:pt>
                <c:pt idx="2">
                  <c:v>Label B</c:v>
                </c:pt>
                <c:pt idx="3">
                  <c:v>Label C</c:v>
                </c:pt>
                <c:pt idx="4">
                  <c:v>Label D</c:v>
                </c:pt>
                <c:pt idx="5">
                  <c:v>Label E</c:v>
                </c:pt>
                <c:pt idx="6">
                  <c:v>Label F</c:v>
                </c:pt>
                <c:pt idx="7">
                  <c:v>Total 2</c:v>
                </c:pt>
              </c:strCache>
            </c:strRef>
          </c:cat>
          <c:val>
            <c:numRef>
              <c:f>Sheet1!$B$2:$I$2</c:f>
              <c:numCache>
                <c:formatCode>General</c:formatCode>
                <c:ptCount val="8"/>
                <c:pt idx="1">
                  <c:v>15</c:v>
                </c:pt>
                <c:pt idx="2">
                  <c:v>14</c:v>
                </c:pt>
                <c:pt idx="3">
                  <c:v>12</c:v>
                </c:pt>
                <c:pt idx="4">
                  <c:v>9</c:v>
                </c:pt>
                <c:pt idx="6">
                  <c:v>9</c:v>
                </c:pt>
              </c:numCache>
            </c:numRef>
          </c:val>
          <c:extLst>
            <c:ext xmlns:c16="http://schemas.microsoft.com/office/drawing/2014/chart" uri="{C3380CC4-5D6E-409C-BE32-E72D297353CC}">
              <c16:uniqueId val="{00000000-8E4D-4626-83FA-DE1478DC0548}"/>
            </c:ext>
          </c:extLst>
        </c:ser>
        <c:ser>
          <c:idx val="1"/>
          <c:order val="1"/>
          <c:tx>
            <c:strRef>
              <c:f>Sheet1!$A$3</c:f>
              <c:strCache>
                <c:ptCount val="1"/>
              </c:strCache>
            </c:strRef>
          </c:tx>
          <c:spPr>
            <a:solidFill>
              <a:schemeClr val="accent1"/>
            </a:solidFill>
            <a:ln w="25312">
              <a:noFill/>
            </a:ln>
          </c:spPr>
          <c:invertIfNegative val="0"/>
          <c:dLbls>
            <c:spPr>
              <a:noFill/>
              <a:ln w="25312">
                <a:noFill/>
              </a:ln>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 1</c:v>
                </c:pt>
                <c:pt idx="1">
                  <c:v>Label A</c:v>
                </c:pt>
                <c:pt idx="2">
                  <c:v>Label B</c:v>
                </c:pt>
                <c:pt idx="3">
                  <c:v>Label C</c:v>
                </c:pt>
                <c:pt idx="4">
                  <c:v>Label D</c:v>
                </c:pt>
                <c:pt idx="5">
                  <c:v>Label E</c:v>
                </c:pt>
                <c:pt idx="6">
                  <c:v>Label F</c:v>
                </c:pt>
                <c:pt idx="7">
                  <c:v>Total 2</c:v>
                </c:pt>
              </c:strCache>
            </c:strRef>
          </c:cat>
          <c:val>
            <c:numRef>
              <c:f>Sheet1!$B$3:$I$3</c:f>
              <c:numCache>
                <c:formatCode>General</c:formatCode>
                <c:ptCount val="8"/>
                <c:pt idx="0">
                  <c:v>5</c:v>
                </c:pt>
              </c:numCache>
            </c:numRef>
          </c:val>
          <c:extLst>
            <c:ext xmlns:c16="http://schemas.microsoft.com/office/drawing/2014/chart" uri="{C3380CC4-5D6E-409C-BE32-E72D297353CC}">
              <c16:uniqueId val="{00000001-8E4D-4626-83FA-DE1478DC0548}"/>
            </c:ext>
          </c:extLst>
        </c:ser>
        <c:ser>
          <c:idx val="2"/>
          <c:order val="2"/>
          <c:tx>
            <c:strRef>
              <c:f>Sheet1!$A$4</c:f>
              <c:strCache>
                <c:ptCount val="1"/>
              </c:strCache>
            </c:strRef>
          </c:tx>
          <c:spPr>
            <a:solidFill>
              <a:schemeClr val="accent2"/>
            </a:solidFill>
            <a:ln w="25312">
              <a:noFill/>
            </a:ln>
          </c:spPr>
          <c:invertIfNegative val="0"/>
          <c:dLbls>
            <c:spPr>
              <a:noFill/>
              <a:ln w="25312">
                <a:noFill/>
              </a:ln>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 1</c:v>
                </c:pt>
                <c:pt idx="1">
                  <c:v>Label A</c:v>
                </c:pt>
                <c:pt idx="2">
                  <c:v>Label B</c:v>
                </c:pt>
                <c:pt idx="3">
                  <c:v>Label C</c:v>
                </c:pt>
                <c:pt idx="4">
                  <c:v>Label D</c:v>
                </c:pt>
                <c:pt idx="5">
                  <c:v>Label E</c:v>
                </c:pt>
                <c:pt idx="6">
                  <c:v>Label F</c:v>
                </c:pt>
                <c:pt idx="7">
                  <c:v>Total 2</c:v>
                </c:pt>
              </c:strCache>
            </c:strRef>
          </c:cat>
          <c:val>
            <c:numRef>
              <c:f>Sheet1!$B$4:$I$4</c:f>
              <c:numCache>
                <c:formatCode>General</c:formatCode>
                <c:ptCount val="8"/>
                <c:pt idx="0">
                  <c:v>4</c:v>
                </c:pt>
                <c:pt idx="5">
                  <c:v>9</c:v>
                </c:pt>
              </c:numCache>
            </c:numRef>
          </c:val>
          <c:extLst>
            <c:ext xmlns:c16="http://schemas.microsoft.com/office/drawing/2014/chart" uri="{C3380CC4-5D6E-409C-BE32-E72D297353CC}">
              <c16:uniqueId val="{00000002-8E4D-4626-83FA-DE1478DC0548}"/>
            </c:ext>
          </c:extLst>
        </c:ser>
        <c:ser>
          <c:idx val="3"/>
          <c:order val="3"/>
          <c:tx>
            <c:strRef>
              <c:f>Sheet1!$A$5</c:f>
              <c:strCache>
                <c:ptCount val="1"/>
              </c:strCache>
            </c:strRef>
          </c:tx>
          <c:spPr>
            <a:solidFill>
              <a:schemeClr val="accent3"/>
            </a:solidFill>
            <a:ln w="25312">
              <a:noFill/>
            </a:ln>
          </c:spPr>
          <c:invertIfNegative val="0"/>
          <c:dPt>
            <c:idx val="7"/>
            <c:invertIfNegative val="0"/>
            <c:bubble3D val="0"/>
            <c:extLst>
              <c:ext xmlns:c16="http://schemas.microsoft.com/office/drawing/2014/chart" uri="{C3380CC4-5D6E-409C-BE32-E72D297353CC}">
                <c16:uniqueId val="{00000003-8E4D-4626-83FA-DE1478DC0548}"/>
              </c:ext>
            </c:extLst>
          </c:dPt>
          <c:dLbls>
            <c:spPr>
              <a:noFill/>
              <a:ln w="25312">
                <a:noFill/>
              </a:ln>
            </c:spPr>
            <c:txPr>
              <a:bodyPr wrap="square" lIns="38100" tIns="19050" rIns="38100" bIns="19050" anchor="ctr">
                <a:spAutoFit/>
              </a:bodyPr>
              <a:lstStyle/>
              <a:p>
                <a:pPr>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 1</c:v>
                </c:pt>
                <c:pt idx="1">
                  <c:v>Label A</c:v>
                </c:pt>
                <c:pt idx="2">
                  <c:v>Label B</c:v>
                </c:pt>
                <c:pt idx="3">
                  <c:v>Label C</c:v>
                </c:pt>
                <c:pt idx="4">
                  <c:v>Label D</c:v>
                </c:pt>
                <c:pt idx="5">
                  <c:v>Label E</c:v>
                </c:pt>
                <c:pt idx="6">
                  <c:v>Label F</c:v>
                </c:pt>
                <c:pt idx="7">
                  <c:v>Total 2</c:v>
                </c:pt>
              </c:strCache>
            </c:strRef>
          </c:cat>
          <c:val>
            <c:numRef>
              <c:f>Sheet1!$B$5:$I$5</c:f>
              <c:numCache>
                <c:formatCode>General</c:formatCode>
                <c:ptCount val="8"/>
                <c:pt idx="0">
                  <c:v>3</c:v>
                </c:pt>
                <c:pt idx="2">
                  <c:v>1</c:v>
                </c:pt>
                <c:pt idx="4">
                  <c:v>3</c:v>
                </c:pt>
                <c:pt idx="6">
                  <c:v>4</c:v>
                </c:pt>
                <c:pt idx="7">
                  <c:v>13</c:v>
                </c:pt>
              </c:numCache>
            </c:numRef>
          </c:val>
          <c:extLst>
            <c:ext xmlns:c16="http://schemas.microsoft.com/office/drawing/2014/chart" uri="{C3380CC4-5D6E-409C-BE32-E72D297353CC}">
              <c16:uniqueId val="{00000004-8E4D-4626-83FA-DE1478DC0548}"/>
            </c:ext>
          </c:extLst>
        </c:ser>
        <c:ser>
          <c:idx val="4"/>
          <c:order val="4"/>
          <c:tx>
            <c:strRef>
              <c:f>Sheet1!$A$6</c:f>
              <c:strCache>
                <c:ptCount val="1"/>
              </c:strCache>
            </c:strRef>
          </c:tx>
          <c:spPr>
            <a:solidFill>
              <a:schemeClr val="accent4"/>
            </a:solidFill>
            <a:ln w="25312">
              <a:noFill/>
            </a:ln>
          </c:spPr>
          <c:invertIfNegative val="0"/>
          <c:dLbls>
            <c:spPr>
              <a:noFill/>
              <a:ln w="25312">
                <a:noFill/>
              </a:ln>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 1</c:v>
                </c:pt>
                <c:pt idx="1">
                  <c:v>Label A</c:v>
                </c:pt>
                <c:pt idx="2">
                  <c:v>Label B</c:v>
                </c:pt>
                <c:pt idx="3">
                  <c:v>Label C</c:v>
                </c:pt>
                <c:pt idx="4">
                  <c:v>Label D</c:v>
                </c:pt>
                <c:pt idx="5">
                  <c:v>Label E</c:v>
                </c:pt>
                <c:pt idx="6">
                  <c:v>Label F</c:v>
                </c:pt>
                <c:pt idx="7">
                  <c:v>Total 2</c:v>
                </c:pt>
              </c:strCache>
            </c:strRef>
          </c:cat>
          <c:val>
            <c:numRef>
              <c:f>Sheet1!$B$6:$I$6</c:f>
              <c:numCache>
                <c:formatCode>General</c:formatCode>
                <c:ptCount val="8"/>
                <c:pt idx="0">
                  <c:v>2</c:v>
                </c:pt>
                <c:pt idx="3">
                  <c:v>2</c:v>
                </c:pt>
              </c:numCache>
            </c:numRef>
          </c:val>
          <c:extLst>
            <c:ext xmlns:c16="http://schemas.microsoft.com/office/drawing/2014/chart" uri="{C3380CC4-5D6E-409C-BE32-E72D297353CC}">
              <c16:uniqueId val="{00000005-8E4D-4626-83FA-DE1478DC0548}"/>
            </c:ext>
          </c:extLst>
        </c:ser>
        <c:ser>
          <c:idx val="5"/>
          <c:order val="5"/>
          <c:tx>
            <c:strRef>
              <c:f>Sheet1!$A$7</c:f>
              <c:strCache>
                <c:ptCount val="1"/>
              </c:strCache>
            </c:strRef>
          </c:tx>
          <c:spPr>
            <a:solidFill>
              <a:schemeClr val="accent5"/>
            </a:solidFill>
            <a:ln w="25312">
              <a:noFill/>
            </a:ln>
          </c:spPr>
          <c:invertIfNegative val="0"/>
          <c:dLbls>
            <c:spPr>
              <a:noFill/>
              <a:ln w="25312">
                <a:noFill/>
              </a:ln>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 1</c:v>
                </c:pt>
                <c:pt idx="1">
                  <c:v>Label A</c:v>
                </c:pt>
                <c:pt idx="2">
                  <c:v>Label B</c:v>
                </c:pt>
                <c:pt idx="3">
                  <c:v>Label C</c:v>
                </c:pt>
                <c:pt idx="4">
                  <c:v>Label D</c:v>
                </c:pt>
                <c:pt idx="5">
                  <c:v>Label E</c:v>
                </c:pt>
                <c:pt idx="6">
                  <c:v>Label F</c:v>
                </c:pt>
                <c:pt idx="7">
                  <c:v>Total 2</c:v>
                </c:pt>
              </c:strCache>
            </c:strRef>
          </c:cat>
          <c:val>
            <c:numRef>
              <c:f>Sheet1!$B$7:$I$7</c:f>
              <c:numCache>
                <c:formatCode>General</c:formatCode>
                <c:ptCount val="8"/>
                <c:pt idx="0">
                  <c:v>1</c:v>
                </c:pt>
              </c:numCache>
            </c:numRef>
          </c:val>
          <c:extLst>
            <c:ext xmlns:c16="http://schemas.microsoft.com/office/drawing/2014/chart" uri="{C3380CC4-5D6E-409C-BE32-E72D297353CC}">
              <c16:uniqueId val="{00000006-8E4D-4626-83FA-DE1478DC0548}"/>
            </c:ext>
          </c:extLst>
        </c:ser>
        <c:ser>
          <c:idx val="6"/>
          <c:order val="6"/>
          <c:tx>
            <c:strRef>
              <c:f>Sheet1!$A$8</c:f>
              <c:strCache>
                <c:ptCount val="1"/>
              </c:strCache>
            </c:strRef>
          </c:tx>
          <c:spPr>
            <a:solidFill>
              <a:schemeClr val="accent6"/>
            </a:solidFill>
            <a:ln w="25312">
              <a:noFill/>
            </a:ln>
          </c:spPr>
          <c:invertIfNegative val="0"/>
          <c:dLbls>
            <c:dLbl>
              <c:idx val="1"/>
              <c:tx>
                <c:rich>
                  <a:bodyPr/>
                  <a:lstStyle/>
                  <a:p>
                    <a:r>
                      <a:rPr lang="en-US" sz="1800" b="1" baseline="0" dirty="0"/>
                      <a:t>1</a:t>
                    </a:r>
                    <a:endParaRPr lang="en-US" sz="1800" baseline="0" dirty="0"/>
                  </a:p>
                </c:rich>
              </c:tx>
              <c:dLblPos val="ctr"/>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E4D-4626-83FA-DE1478DC0548}"/>
                </c:ext>
              </c:extLst>
            </c:dLbl>
            <c:spPr>
              <a:noFill/>
              <a:ln w="25312">
                <a:noFill/>
              </a:ln>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 1</c:v>
                </c:pt>
                <c:pt idx="1">
                  <c:v>Label A</c:v>
                </c:pt>
                <c:pt idx="2">
                  <c:v>Label B</c:v>
                </c:pt>
                <c:pt idx="3">
                  <c:v>Label C</c:v>
                </c:pt>
                <c:pt idx="4">
                  <c:v>Label D</c:v>
                </c:pt>
                <c:pt idx="5">
                  <c:v>Label E</c:v>
                </c:pt>
                <c:pt idx="6">
                  <c:v>Label F</c:v>
                </c:pt>
                <c:pt idx="7">
                  <c:v>Total 2</c:v>
                </c:pt>
              </c:strCache>
            </c:strRef>
          </c:cat>
          <c:val>
            <c:numRef>
              <c:f>Sheet1!$B$8:$I$8</c:f>
              <c:numCache>
                <c:formatCode>General</c:formatCode>
                <c:ptCount val="8"/>
                <c:pt idx="0">
                  <c:v>1</c:v>
                </c:pt>
                <c:pt idx="1">
                  <c:v>1</c:v>
                </c:pt>
              </c:numCache>
            </c:numRef>
          </c:val>
          <c:extLst>
            <c:ext xmlns:c16="http://schemas.microsoft.com/office/drawing/2014/chart" uri="{C3380CC4-5D6E-409C-BE32-E72D297353CC}">
              <c16:uniqueId val="{00000008-8E4D-4626-83FA-DE1478DC0548}"/>
            </c:ext>
          </c:extLst>
        </c:ser>
        <c:dLbls>
          <c:showLegendKey val="0"/>
          <c:showVal val="0"/>
          <c:showCatName val="0"/>
          <c:showSerName val="0"/>
          <c:showPercent val="0"/>
          <c:showBubbleSize val="0"/>
        </c:dLbls>
        <c:gapWidth val="50"/>
        <c:overlap val="100"/>
        <c:axId val="548707760"/>
        <c:axId val="548708152"/>
      </c:barChart>
      <c:catAx>
        <c:axId val="548707760"/>
        <c:scaling>
          <c:orientation val="minMax"/>
        </c:scaling>
        <c:delete val="0"/>
        <c:axPos val="b"/>
        <c:numFmt formatCode="General" sourceLinked="1"/>
        <c:majorTickMark val="none"/>
        <c:minorTickMark val="none"/>
        <c:tickLblPos val="nextTo"/>
        <c:spPr>
          <a:ln w="12656">
            <a:solidFill>
              <a:schemeClr val="tx2">
                <a:lumMod val="60000"/>
                <a:lumOff val="40000"/>
              </a:schemeClr>
            </a:solidFill>
            <a:prstDash val="solid"/>
          </a:ln>
        </c:spPr>
        <c:txPr>
          <a:bodyPr rot="0" vert="horz"/>
          <a:lstStyle/>
          <a:p>
            <a:pPr>
              <a:defRPr sz="1400" b="0">
                <a:solidFill>
                  <a:schemeClr val="tx2"/>
                </a:solidFill>
              </a:defRPr>
            </a:pPr>
            <a:endParaRPr lang="de-DE"/>
          </a:p>
        </c:txPr>
        <c:crossAx val="548708152"/>
        <c:crosses val="autoZero"/>
        <c:auto val="1"/>
        <c:lblAlgn val="ctr"/>
        <c:lblOffset val="100"/>
        <c:tickLblSkip val="1"/>
        <c:tickMarkSkip val="1"/>
        <c:noMultiLvlLbl val="0"/>
      </c:catAx>
      <c:valAx>
        <c:axId val="548708152"/>
        <c:scaling>
          <c:orientation val="minMax"/>
        </c:scaling>
        <c:delete val="1"/>
        <c:axPos val="l"/>
        <c:numFmt formatCode="General" sourceLinked="1"/>
        <c:majorTickMark val="out"/>
        <c:minorTickMark val="none"/>
        <c:tickLblPos val="none"/>
        <c:crossAx val="548707760"/>
        <c:crosses val="autoZero"/>
        <c:crossBetween val="between"/>
      </c:valAx>
      <c:spPr>
        <a:noFill/>
        <a:ln w="25312">
          <a:noFill/>
        </a:ln>
      </c:spPr>
    </c:plotArea>
    <c:plotVisOnly val="1"/>
    <c:dispBlanksAs val="gap"/>
    <c:showDLblsOverMax val="0"/>
  </c:chart>
  <c:spPr>
    <a:noFill/>
    <a:ln>
      <a:noFill/>
    </a:ln>
  </c:spPr>
  <c:txPr>
    <a:bodyPr/>
    <a:lstStyle/>
    <a:p>
      <a:pPr>
        <a:defRPr sz="1800" b="1" i="0" u="none" strike="noStrike" baseline="0">
          <a:solidFill>
            <a:schemeClr val="bg1"/>
          </a:solidFill>
          <a:latin typeface="+mn-lt"/>
          <a:ea typeface="Arial"/>
          <a:cs typeface="Arial"/>
        </a:defRPr>
      </a:pPr>
      <a:endParaRPr lang="de-DE"/>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1765512307684796"/>
        </c:manualLayout>
      </c:layout>
      <c:barChart>
        <c:barDir val="col"/>
        <c:grouping val="clustered"/>
        <c:varyColors val="0"/>
        <c:ser>
          <c:idx val="0"/>
          <c:order val="0"/>
          <c:tx>
            <c:strRef>
              <c:f>Sheet1!$A$2</c:f>
              <c:strCache>
                <c:ptCount val="1"/>
                <c:pt idx="0">
                  <c:v>Label A</c:v>
                </c:pt>
              </c:strCache>
            </c:strRef>
          </c:tx>
          <c:spPr>
            <a:solidFill>
              <a:schemeClr val="accent1"/>
            </a:solidFill>
            <a:ln w="25309">
              <a:noFill/>
            </a:ln>
          </c:spPr>
          <c:invertIfNegative val="0"/>
          <c:dLbls>
            <c:spPr>
              <a:noFill/>
              <a:ln>
                <a:noFill/>
              </a:ln>
              <a:effectLst/>
            </c:spPr>
            <c:txPr>
              <a:bodyPr wrap="square" lIns="38100" tIns="19050" rIns="38100" bIns="19050" anchor="ctr">
                <a:spAutoFit/>
              </a:bodyPr>
              <a:lstStyle/>
              <a:p>
                <a:pPr>
                  <a:defRPr>
                    <a:solidFill>
                      <a:schemeClr val="accent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B$1</c:f>
              <c:numCache>
                <c:formatCode>General</c:formatCode>
                <c:ptCount val="1"/>
              </c:numCache>
            </c:numRef>
          </c:cat>
          <c:val>
            <c:numRef>
              <c:f>Sheet1!$B$2:$B$2</c:f>
              <c:numCache>
                <c:formatCode>General</c:formatCode>
                <c:ptCount val="1"/>
                <c:pt idx="0">
                  <c:v>5</c:v>
                </c:pt>
              </c:numCache>
            </c:numRef>
          </c:val>
          <c:extLst>
            <c:ext xmlns:c16="http://schemas.microsoft.com/office/drawing/2014/chart" uri="{C3380CC4-5D6E-409C-BE32-E72D297353CC}">
              <c16:uniqueId val="{00000000-B3B1-4684-B65F-8AB2A4D931DC}"/>
            </c:ext>
          </c:extLst>
        </c:ser>
        <c:ser>
          <c:idx val="1"/>
          <c:order val="1"/>
          <c:tx>
            <c:strRef>
              <c:f>Sheet1!$A$3</c:f>
              <c:strCache>
                <c:ptCount val="1"/>
                <c:pt idx="0">
                  <c:v>Label B</c:v>
                </c:pt>
              </c:strCache>
            </c:strRef>
          </c:tx>
          <c:spPr>
            <a:solidFill>
              <a:schemeClr val="accent1"/>
            </a:solidFill>
            <a:ln w="25309">
              <a:noFill/>
            </a:ln>
          </c:spPr>
          <c:invertIfNegative val="0"/>
          <c:dLbls>
            <c:spPr>
              <a:noFill/>
              <a:ln>
                <a:noFill/>
              </a:ln>
              <a:effectLst/>
            </c:spPr>
            <c:txPr>
              <a:bodyPr wrap="square" lIns="38100" tIns="19050" rIns="38100" bIns="19050" anchor="ctr">
                <a:spAutoFit/>
              </a:bodyPr>
              <a:lstStyle/>
              <a:p>
                <a:pPr>
                  <a:defRPr>
                    <a:solidFill>
                      <a:schemeClr val="accent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B$1</c:f>
              <c:numCache>
                <c:formatCode>General</c:formatCode>
                <c:ptCount val="1"/>
              </c:numCache>
            </c:numRef>
          </c:cat>
          <c:val>
            <c:numRef>
              <c:f>Sheet1!$B$3:$B$3</c:f>
              <c:numCache>
                <c:formatCode>General</c:formatCode>
                <c:ptCount val="1"/>
                <c:pt idx="0">
                  <c:v>4</c:v>
                </c:pt>
              </c:numCache>
            </c:numRef>
          </c:val>
          <c:extLst>
            <c:ext xmlns:c16="http://schemas.microsoft.com/office/drawing/2014/chart" uri="{C3380CC4-5D6E-409C-BE32-E72D297353CC}">
              <c16:uniqueId val="{00000001-B3B1-4684-B65F-8AB2A4D931DC}"/>
            </c:ext>
          </c:extLst>
        </c:ser>
        <c:ser>
          <c:idx val="2"/>
          <c:order val="2"/>
          <c:tx>
            <c:strRef>
              <c:f>Sheet1!$A$4</c:f>
              <c:strCache>
                <c:ptCount val="1"/>
                <c:pt idx="0">
                  <c:v>Label C</c:v>
                </c:pt>
              </c:strCache>
            </c:strRef>
          </c:tx>
          <c:spPr>
            <a:pattFill prst="dkUpDiag">
              <a:fgClr>
                <a:schemeClr val="accent3"/>
              </a:fgClr>
              <a:bgClr>
                <a:schemeClr val="bg1"/>
              </a:bgClr>
            </a:pattFill>
            <a:ln w="25309">
              <a:noFill/>
            </a:ln>
          </c:spPr>
          <c:invertIfNegative val="0"/>
          <c:dLbls>
            <c:spPr>
              <a:noFill/>
              <a:ln>
                <a:noFill/>
              </a:ln>
              <a:effectLst/>
            </c:spPr>
            <c:txPr>
              <a:bodyPr wrap="square" lIns="38100" tIns="19050" rIns="38100" bIns="19050" anchor="ctr">
                <a:spAutoFit/>
              </a:bodyPr>
              <a:lstStyle/>
              <a:p>
                <a:pPr>
                  <a:defRPr>
                    <a:solidFill>
                      <a:schemeClr val="accent3"/>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B$1</c:f>
              <c:numCache>
                <c:formatCode>General</c:formatCode>
                <c:ptCount val="1"/>
              </c:numCache>
            </c:numRef>
          </c:cat>
          <c:val>
            <c:numRef>
              <c:f>Sheet1!$B$4:$B$4</c:f>
              <c:numCache>
                <c:formatCode>General</c:formatCode>
                <c:ptCount val="1"/>
                <c:pt idx="0">
                  <c:v>-1</c:v>
                </c:pt>
              </c:numCache>
            </c:numRef>
          </c:val>
          <c:extLst>
            <c:ext xmlns:c16="http://schemas.microsoft.com/office/drawing/2014/chart" uri="{C3380CC4-5D6E-409C-BE32-E72D297353CC}">
              <c16:uniqueId val="{00000002-B3B1-4684-B65F-8AB2A4D931DC}"/>
            </c:ext>
          </c:extLst>
        </c:ser>
        <c:ser>
          <c:idx val="3"/>
          <c:order val="3"/>
          <c:tx>
            <c:strRef>
              <c:f>Sheet1!$A$5</c:f>
              <c:strCache>
                <c:ptCount val="1"/>
                <c:pt idx="0">
                  <c:v>Label D</c:v>
                </c:pt>
              </c:strCache>
            </c:strRef>
          </c:tx>
          <c:spPr>
            <a:pattFill prst="dkUpDiag">
              <a:fgClr>
                <a:schemeClr val="accent3"/>
              </a:fgClr>
              <a:bgClr>
                <a:schemeClr val="bg1"/>
              </a:bgClr>
            </a:pattFill>
            <a:ln w="25309">
              <a:noFill/>
            </a:ln>
          </c:spPr>
          <c:invertIfNegative val="0"/>
          <c:dLbls>
            <c:spPr>
              <a:noFill/>
              <a:ln>
                <a:noFill/>
              </a:ln>
              <a:effectLst/>
            </c:spPr>
            <c:txPr>
              <a:bodyPr wrap="square" lIns="38100" tIns="19050" rIns="38100" bIns="19050" anchor="ctr">
                <a:spAutoFit/>
              </a:bodyPr>
              <a:lstStyle/>
              <a:p>
                <a:pPr>
                  <a:defRPr>
                    <a:solidFill>
                      <a:schemeClr val="accent3"/>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B$1</c:f>
              <c:numCache>
                <c:formatCode>General</c:formatCode>
                <c:ptCount val="1"/>
              </c:numCache>
            </c:numRef>
          </c:cat>
          <c:val>
            <c:numRef>
              <c:f>Sheet1!$B$5:$B$5</c:f>
              <c:numCache>
                <c:formatCode>General</c:formatCode>
                <c:ptCount val="1"/>
                <c:pt idx="0">
                  <c:v>-3</c:v>
                </c:pt>
              </c:numCache>
            </c:numRef>
          </c:val>
          <c:extLst>
            <c:ext xmlns:c16="http://schemas.microsoft.com/office/drawing/2014/chart" uri="{C3380CC4-5D6E-409C-BE32-E72D297353CC}">
              <c16:uniqueId val="{00000003-B3B1-4684-B65F-8AB2A4D931DC}"/>
            </c:ext>
          </c:extLst>
        </c:ser>
        <c:dLbls>
          <c:dLblPos val="outEnd"/>
          <c:showLegendKey val="0"/>
          <c:showVal val="1"/>
          <c:showCatName val="0"/>
          <c:showSerName val="0"/>
          <c:showPercent val="0"/>
          <c:showBubbleSize val="0"/>
        </c:dLbls>
        <c:gapWidth val="279"/>
        <c:overlap val="-100"/>
        <c:axId val="548708936"/>
        <c:axId val="592971552"/>
      </c:barChart>
      <c:catAx>
        <c:axId val="548708936"/>
        <c:scaling>
          <c:orientation val="minMax"/>
        </c:scaling>
        <c:delete val="0"/>
        <c:axPos val="b"/>
        <c:numFmt formatCode="General" sourceLinked="1"/>
        <c:majorTickMark val="none"/>
        <c:minorTickMark val="none"/>
        <c:tickLblPos val="nextTo"/>
        <c:spPr>
          <a:ln w="12655">
            <a:solidFill>
              <a:schemeClr val="tx2">
                <a:lumMod val="60000"/>
                <a:lumOff val="40000"/>
              </a:schemeClr>
            </a:solidFill>
            <a:prstDash val="solid"/>
          </a:ln>
        </c:spPr>
        <c:txPr>
          <a:bodyPr rot="0" vert="horz"/>
          <a:lstStyle/>
          <a:p>
            <a:pPr>
              <a:defRPr/>
            </a:pPr>
            <a:endParaRPr lang="de-DE"/>
          </a:p>
        </c:txPr>
        <c:crossAx val="592971552"/>
        <c:crosses val="autoZero"/>
        <c:auto val="1"/>
        <c:lblAlgn val="ctr"/>
        <c:lblOffset val="100"/>
        <c:tickLblSkip val="1"/>
        <c:tickMarkSkip val="1"/>
        <c:noMultiLvlLbl val="0"/>
      </c:catAx>
      <c:valAx>
        <c:axId val="592971552"/>
        <c:scaling>
          <c:orientation val="minMax"/>
        </c:scaling>
        <c:delete val="1"/>
        <c:axPos val="l"/>
        <c:numFmt formatCode="General" sourceLinked="1"/>
        <c:majorTickMark val="out"/>
        <c:minorTickMark val="none"/>
        <c:tickLblPos val="nextTo"/>
        <c:crossAx val="548708936"/>
        <c:crosses val="autoZero"/>
        <c:crossBetween val="between"/>
      </c:valAx>
      <c:spPr>
        <a:noFill/>
        <a:ln w="25309">
          <a:noFill/>
        </a:ln>
      </c:spPr>
    </c:plotArea>
    <c:plotVisOnly val="1"/>
    <c:dispBlanksAs val="gap"/>
    <c:showDLblsOverMax val="0"/>
  </c:chart>
  <c:spPr>
    <a:noFill/>
    <a:ln>
      <a:noFill/>
    </a:ln>
  </c:spPr>
  <c:txPr>
    <a:bodyPr/>
    <a:lstStyle/>
    <a:p>
      <a:pPr>
        <a:defRPr sz="1800" b="1" i="0" u="none" strike="noStrike" baseline="0">
          <a:solidFill>
            <a:schemeClr val="tx1"/>
          </a:solidFill>
          <a:latin typeface="+mn-lt"/>
          <a:ea typeface="Arial"/>
          <a:cs typeface="Arial"/>
        </a:defRPr>
      </a:pPr>
      <a:endParaRPr lang="de-DE"/>
    </a:p>
  </c:txPr>
  <c:externalData r:id="rId1">
    <c:autoUpdate val="0"/>
  </c:externalData>
  <c:userShapes r:id="rId2"/>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122510698932023E-2"/>
          <c:y val="2.3127544282538232E-2"/>
          <c:w val="0.96773171521198642"/>
          <c:h val="0.85795541740497083"/>
        </c:manualLayout>
      </c:layout>
      <c:barChart>
        <c:barDir val="col"/>
        <c:grouping val="stacked"/>
        <c:varyColors val="0"/>
        <c:ser>
          <c:idx val="0"/>
          <c:order val="0"/>
          <c:tx>
            <c:strRef>
              <c:f>Sheet1!$A$2</c:f>
              <c:strCache>
                <c:ptCount val="1"/>
                <c:pt idx="0">
                  <c:v>Space</c:v>
                </c:pt>
              </c:strCache>
            </c:strRef>
          </c:tx>
          <c:spPr>
            <a:noFill/>
            <a:ln w="25316">
              <a:noFill/>
            </a:ln>
          </c:spPr>
          <c:invertIfNegative val="0"/>
          <c:cat>
            <c:strRef>
              <c:f>Sheet1!$B$1:$E$1</c:f>
              <c:strCache>
                <c:ptCount val="4"/>
                <c:pt idx="0">
                  <c:v>Label A</c:v>
                </c:pt>
                <c:pt idx="1">
                  <c:v>Label B</c:v>
                </c:pt>
                <c:pt idx="2">
                  <c:v>Label C</c:v>
                </c:pt>
                <c:pt idx="3">
                  <c:v>Label D</c:v>
                </c:pt>
              </c:strCache>
            </c:strRef>
          </c:cat>
          <c:val>
            <c:numRef>
              <c:f>Sheet1!$B$2:$E$2</c:f>
              <c:numCache>
                <c:formatCode>General</c:formatCode>
                <c:ptCount val="4"/>
                <c:pt idx="0">
                  <c:v>10</c:v>
                </c:pt>
                <c:pt idx="1">
                  <c:v>25</c:v>
                </c:pt>
                <c:pt idx="2">
                  <c:v>40</c:v>
                </c:pt>
                <c:pt idx="3">
                  <c:v>22</c:v>
                </c:pt>
              </c:numCache>
            </c:numRef>
          </c:val>
          <c:extLst>
            <c:ext xmlns:c16="http://schemas.microsoft.com/office/drawing/2014/chart" uri="{C3380CC4-5D6E-409C-BE32-E72D297353CC}">
              <c16:uniqueId val="{00000000-76D4-45DC-AA49-730E72F56C44}"/>
            </c:ext>
          </c:extLst>
        </c:ser>
        <c:ser>
          <c:idx val="1"/>
          <c:order val="1"/>
          <c:tx>
            <c:strRef>
              <c:f>Sheet1!$A$3</c:f>
              <c:strCache>
                <c:ptCount val="1"/>
                <c:pt idx="0">
                  <c:v>Group 2</c:v>
                </c:pt>
              </c:strCache>
            </c:strRef>
          </c:tx>
          <c:spPr>
            <a:solidFill>
              <a:schemeClr val="accent1"/>
            </a:solidFill>
            <a:ln w="25316">
              <a:noFill/>
            </a:ln>
          </c:spPr>
          <c:invertIfNegative val="0"/>
          <c:dPt>
            <c:idx val="1"/>
            <c:invertIfNegative val="0"/>
            <c:bubble3D val="0"/>
            <c:spPr>
              <a:solidFill>
                <a:schemeClr val="accent2"/>
              </a:solidFill>
              <a:ln w="25316">
                <a:noFill/>
              </a:ln>
            </c:spPr>
            <c:extLst>
              <c:ext xmlns:c16="http://schemas.microsoft.com/office/drawing/2014/chart" uri="{C3380CC4-5D6E-409C-BE32-E72D297353CC}">
                <c16:uniqueId val="{00000002-76D4-45DC-AA49-730E72F56C44}"/>
              </c:ext>
            </c:extLst>
          </c:dPt>
          <c:dPt>
            <c:idx val="2"/>
            <c:invertIfNegative val="0"/>
            <c:bubble3D val="0"/>
            <c:spPr>
              <a:solidFill>
                <a:schemeClr val="accent3"/>
              </a:solidFill>
              <a:ln w="25316">
                <a:noFill/>
              </a:ln>
            </c:spPr>
            <c:extLst>
              <c:ext xmlns:c16="http://schemas.microsoft.com/office/drawing/2014/chart" uri="{C3380CC4-5D6E-409C-BE32-E72D297353CC}">
                <c16:uniqueId val="{00000004-76D4-45DC-AA49-730E72F56C44}"/>
              </c:ext>
            </c:extLst>
          </c:dPt>
          <c:dPt>
            <c:idx val="3"/>
            <c:invertIfNegative val="0"/>
            <c:bubble3D val="0"/>
            <c:spPr>
              <a:solidFill>
                <a:schemeClr val="accent5"/>
              </a:solidFill>
              <a:ln w="25316">
                <a:noFill/>
              </a:ln>
            </c:spPr>
            <c:extLst>
              <c:ext xmlns:c16="http://schemas.microsoft.com/office/drawing/2014/chart" uri="{C3380CC4-5D6E-409C-BE32-E72D297353CC}">
                <c16:uniqueId val="{00000006-76D4-45DC-AA49-730E72F56C44}"/>
              </c:ext>
            </c:extLst>
          </c:dPt>
          <c:dLbls>
            <c:numFmt formatCode="0" sourceLinked="0"/>
            <c:spPr>
              <a:noFill/>
              <a:ln w="25316">
                <a:noFill/>
              </a:ln>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3:$E$3</c:f>
              <c:numCache>
                <c:formatCode>General</c:formatCode>
                <c:ptCount val="4"/>
                <c:pt idx="0">
                  <c:v>31</c:v>
                </c:pt>
                <c:pt idx="1">
                  <c:v>32</c:v>
                </c:pt>
                <c:pt idx="2">
                  <c:v>34</c:v>
                </c:pt>
                <c:pt idx="3">
                  <c:v>32</c:v>
                </c:pt>
              </c:numCache>
            </c:numRef>
          </c:val>
          <c:extLst>
            <c:ext xmlns:c16="http://schemas.microsoft.com/office/drawing/2014/chart" uri="{C3380CC4-5D6E-409C-BE32-E72D297353CC}">
              <c16:uniqueId val="{00000007-76D4-45DC-AA49-730E72F56C44}"/>
            </c:ext>
          </c:extLst>
        </c:ser>
        <c:dLbls>
          <c:showLegendKey val="0"/>
          <c:showVal val="0"/>
          <c:showCatName val="0"/>
          <c:showSerName val="0"/>
          <c:showPercent val="0"/>
          <c:showBubbleSize val="0"/>
        </c:dLbls>
        <c:gapWidth val="130"/>
        <c:overlap val="100"/>
        <c:axId val="592971944"/>
        <c:axId val="592972336"/>
      </c:barChart>
      <c:catAx>
        <c:axId val="592971944"/>
        <c:scaling>
          <c:orientation val="minMax"/>
        </c:scaling>
        <c:delete val="0"/>
        <c:axPos val="b"/>
        <c:numFmt formatCode="General" sourceLinked="1"/>
        <c:majorTickMark val="none"/>
        <c:minorTickMark val="none"/>
        <c:tickLblPos val="nextTo"/>
        <c:spPr>
          <a:ln w="12700">
            <a:solidFill>
              <a:schemeClr val="tx2">
                <a:lumMod val="60000"/>
                <a:lumOff val="40000"/>
              </a:schemeClr>
            </a:solidFill>
          </a:ln>
        </c:spPr>
        <c:txPr>
          <a:bodyPr rot="0" vert="horz"/>
          <a:lstStyle/>
          <a:p>
            <a:pPr>
              <a:defRPr sz="1400" b="0">
                <a:solidFill>
                  <a:schemeClr val="tx2"/>
                </a:solidFill>
              </a:defRPr>
            </a:pPr>
            <a:endParaRPr lang="de-DE"/>
          </a:p>
        </c:txPr>
        <c:crossAx val="592972336"/>
        <c:crosses val="autoZero"/>
        <c:auto val="1"/>
        <c:lblAlgn val="ctr"/>
        <c:lblOffset val="100"/>
        <c:tickLblSkip val="1"/>
        <c:tickMarkSkip val="1"/>
        <c:noMultiLvlLbl val="0"/>
      </c:catAx>
      <c:valAx>
        <c:axId val="592972336"/>
        <c:scaling>
          <c:orientation val="minMax"/>
        </c:scaling>
        <c:delete val="0"/>
        <c:axPos val="l"/>
        <c:majorGridlines>
          <c:spPr>
            <a:ln>
              <a:solidFill>
                <a:schemeClr val="tx2">
                  <a:lumMod val="20000"/>
                  <a:lumOff val="80000"/>
                </a:schemeClr>
              </a:solidFill>
            </a:ln>
          </c:spPr>
        </c:majorGridlines>
        <c:numFmt formatCode="General" sourceLinked="1"/>
        <c:majorTickMark val="out"/>
        <c:minorTickMark val="none"/>
        <c:tickLblPos val="nextTo"/>
        <c:spPr>
          <a:ln w="3164">
            <a:noFill/>
            <a:prstDash val="solid"/>
          </a:ln>
        </c:spPr>
        <c:txPr>
          <a:bodyPr rot="0" vert="horz"/>
          <a:lstStyle/>
          <a:p>
            <a:pPr>
              <a:defRPr sz="1400" b="0" i="0">
                <a:solidFill>
                  <a:schemeClr val="tx2"/>
                </a:solidFill>
              </a:defRPr>
            </a:pPr>
            <a:endParaRPr lang="de-DE"/>
          </a:p>
        </c:txPr>
        <c:crossAx val="592971944"/>
        <c:crosses val="autoZero"/>
        <c:crossBetween val="between"/>
      </c:valAx>
      <c:spPr>
        <a:noFill/>
        <a:ln w="25316">
          <a:noFill/>
        </a:ln>
      </c:spPr>
    </c:plotArea>
    <c:plotVisOnly val="1"/>
    <c:dispBlanksAs val="gap"/>
    <c:showDLblsOverMax val="0"/>
  </c:chart>
  <c:spPr>
    <a:noFill/>
    <a:ln>
      <a:noFill/>
    </a:ln>
  </c:spPr>
  <c:txPr>
    <a:bodyPr/>
    <a:lstStyle/>
    <a:p>
      <a:pPr>
        <a:defRPr sz="1800" b="1" i="0" u="none" strike="noStrike" baseline="0">
          <a:solidFill>
            <a:schemeClr val="bg1"/>
          </a:solidFill>
          <a:latin typeface="+mn-lt"/>
          <a:ea typeface="Arial"/>
          <a:cs typeface="Arial"/>
        </a:defRPr>
      </a:pPr>
      <a:endParaRPr lang="de-DE"/>
    </a:p>
  </c:txPr>
  <c:externalData r:id="rId1">
    <c:autoUpdate val="0"/>
  </c:externalData>
  <c:userShapes r:id="rId2"/>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3389267858227232E-3"/>
          <c:w val="1"/>
          <c:h val="0.80180835161580066"/>
        </c:manualLayout>
      </c:layout>
      <c:barChart>
        <c:barDir val="col"/>
        <c:grouping val="clustered"/>
        <c:varyColors val="0"/>
        <c:ser>
          <c:idx val="0"/>
          <c:order val="0"/>
          <c:tx>
            <c:strRef>
              <c:f>Sheet1!$A$2</c:f>
              <c:strCache>
                <c:ptCount val="1"/>
                <c:pt idx="0">
                  <c:v>Group 1</c:v>
                </c:pt>
              </c:strCache>
            </c:strRef>
          </c:tx>
          <c:spPr>
            <a:solidFill>
              <a:schemeClr val="accent1"/>
            </a:solidFill>
            <a:ln w="25314">
              <a:noFill/>
            </a:ln>
          </c:spPr>
          <c:invertIfNegative val="0"/>
          <c:dLbls>
            <c:spPr>
              <a:noFill/>
              <a:ln w="25314">
                <a:noFill/>
              </a:ln>
            </c:spPr>
            <c:txPr>
              <a:bodyPr/>
              <a:lstStyle/>
              <a:p>
                <a:pPr>
                  <a:defRPr>
                    <a:solidFill>
                      <a:schemeClr val="accent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2:$E$2</c:f>
              <c:numCache>
                <c:formatCode>General</c:formatCode>
                <c:ptCount val="4"/>
                <c:pt idx="0">
                  <c:v>20</c:v>
                </c:pt>
                <c:pt idx="1">
                  <c:v>27</c:v>
                </c:pt>
                <c:pt idx="2">
                  <c:v>90</c:v>
                </c:pt>
                <c:pt idx="3">
                  <c:v>20</c:v>
                </c:pt>
              </c:numCache>
            </c:numRef>
          </c:val>
          <c:extLst>
            <c:ext xmlns:c16="http://schemas.microsoft.com/office/drawing/2014/chart" uri="{C3380CC4-5D6E-409C-BE32-E72D297353CC}">
              <c16:uniqueId val="{00000000-ABFB-49D5-8090-DA8F5292799D}"/>
            </c:ext>
          </c:extLst>
        </c:ser>
        <c:ser>
          <c:idx val="1"/>
          <c:order val="1"/>
          <c:tx>
            <c:strRef>
              <c:f>Sheet1!$A$3</c:f>
              <c:strCache>
                <c:ptCount val="1"/>
                <c:pt idx="0">
                  <c:v>Group 2</c:v>
                </c:pt>
              </c:strCache>
            </c:strRef>
          </c:tx>
          <c:spPr>
            <a:solidFill>
              <a:srgbClr val="DCAFFF"/>
            </a:solidFill>
            <a:ln w="25314">
              <a:noFill/>
            </a:ln>
          </c:spPr>
          <c:invertIfNegative val="0"/>
          <c:dLbls>
            <c:spPr>
              <a:noFill/>
              <a:ln w="25314">
                <a:noFill/>
              </a:ln>
            </c:spPr>
            <c:txPr>
              <a:bodyPr/>
              <a:lstStyle/>
              <a:p>
                <a:pPr>
                  <a:defRPr>
                    <a:solidFill>
                      <a:schemeClr val="accent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3:$E$3</c:f>
              <c:numCache>
                <c:formatCode>General</c:formatCode>
                <c:ptCount val="4"/>
                <c:pt idx="0">
                  <c:v>31</c:v>
                </c:pt>
                <c:pt idx="1">
                  <c:v>39</c:v>
                </c:pt>
                <c:pt idx="2">
                  <c:v>35</c:v>
                </c:pt>
                <c:pt idx="3">
                  <c:v>32</c:v>
                </c:pt>
              </c:numCache>
            </c:numRef>
          </c:val>
          <c:extLst>
            <c:ext xmlns:c16="http://schemas.microsoft.com/office/drawing/2014/chart" uri="{C3380CC4-5D6E-409C-BE32-E72D297353CC}">
              <c16:uniqueId val="{00000001-ABFB-49D5-8090-DA8F5292799D}"/>
            </c:ext>
          </c:extLst>
        </c:ser>
        <c:dLbls>
          <c:showLegendKey val="0"/>
          <c:showVal val="1"/>
          <c:showCatName val="0"/>
          <c:showSerName val="0"/>
          <c:showPercent val="0"/>
          <c:showBubbleSize val="0"/>
        </c:dLbls>
        <c:gapWidth val="300"/>
        <c:axId val="592973120"/>
        <c:axId val="592973512"/>
      </c:barChart>
      <c:catAx>
        <c:axId val="592973120"/>
        <c:scaling>
          <c:orientation val="minMax"/>
        </c:scaling>
        <c:delete val="0"/>
        <c:axPos val="b"/>
        <c:numFmt formatCode="General" sourceLinked="1"/>
        <c:majorTickMark val="none"/>
        <c:minorTickMark val="none"/>
        <c:tickLblPos val="nextTo"/>
        <c:spPr>
          <a:ln w="12657">
            <a:solidFill>
              <a:schemeClr val="tx2">
                <a:lumMod val="60000"/>
                <a:lumOff val="40000"/>
              </a:schemeClr>
            </a:solidFill>
            <a:prstDash val="solid"/>
          </a:ln>
        </c:spPr>
        <c:txPr>
          <a:bodyPr rot="0" vert="horz"/>
          <a:lstStyle/>
          <a:p>
            <a:pPr>
              <a:defRPr sz="1400" b="0">
                <a:solidFill>
                  <a:schemeClr val="tx2"/>
                </a:solidFill>
              </a:defRPr>
            </a:pPr>
            <a:endParaRPr lang="de-DE"/>
          </a:p>
        </c:txPr>
        <c:crossAx val="592973512"/>
        <c:crosses val="autoZero"/>
        <c:auto val="1"/>
        <c:lblAlgn val="ctr"/>
        <c:lblOffset val="100"/>
        <c:tickLblSkip val="1"/>
        <c:tickMarkSkip val="1"/>
        <c:noMultiLvlLbl val="0"/>
      </c:catAx>
      <c:valAx>
        <c:axId val="592973512"/>
        <c:scaling>
          <c:orientation val="minMax"/>
        </c:scaling>
        <c:delete val="1"/>
        <c:axPos val="l"/>
        <c:numFmt formatCode="General" sourceLinked="1"/>
        <c:majorTickMark val="out"/>
        <c:minorTickMark val="none"/>
        <c:tickLblPos val="none"/>
        <c:crossAx val="592973120"/>
        <c:crosses val="autoZero"/>
        <c:crossBetween val="between"/>
      </c:valAx>
      <c:spPr>
        <a:noFill/>
        <a:ln w="25314">
          <a:noFill/>
        </a:ln>
      </c:spPr>
    </c:plotArea>
    <c:legend>
      <c:legendPos val="b"/>
      <c:layout>
        <c:manualLayout>
          <c:xMode val="edge"/>
          <c:yMode val="edge"/>
          <c:x val="0.39340659340659434"/>
          <c:y val="0.93087557603686799"/>
          <c:w val="0.21208791208791244"/>
          <c:h val="6.4516129032258132E-2"/>
        </c:manualLayout>
      </c:layout>
      <c:overlay val="0"/>
      <c:spPr>
        <a:solidFill>
          <a:schemeClr val="bg1"/>
        </a:solidFill>
        <a:ln w="25314">
          <a:noFill/>
        </a:ln>
      </c:spPr>
      <c:txPr>
        <a:bodyPr/>
        <a:lstStyle/>
        <a:p>
          <a:pPr>
            <a:defRPr sz="1400" b="0">
              <a:solidFill>
                <a:schemeClr val="tx2"/>
              </a:solidFill>
            </a:defRPr>
          </a:pPr>
          <a:endParaRPr lang="de-DE"/>
        </a:p>
      </c:txPr>
    </c:legend>
    <c:plotVisOnly val="1"/>
    <c:dispBlanksAs val="gap"/>
    <c:showDLblsOverMax val="0"/>
  </c:chart>
  <c:spPr>
    <a:noFill/>
    <a:ln>
      <a:noFill/>
    </a:ln>
  </c:spPr>
  <c:txPr>
    <a:bodyPr/>
    <a:lstStyle/>
    <a:p>
      <a:pPr>
        <a:defRPr sz="1800" b="1" i="0" u="none" strike="noStrike" baseline="0">
          <a:solidFill>
            <a:schemeClr val="tx1"/>
          </a:solidFill>
          <a:latin typeface="+mn-lt"/>
          <a:ea typeface="Arial"/>
          <a:cs typeface="Arial"/>
        </a:defRPr>
      </a:pPr>
      <a:endParaRPr lang="de-DE"/>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3389759225669478E-3"/>
          <c:w val="1"/>
          <c:h val="0.80180835161580066"/>
        </c:manualLayout>
      </c:layout>
      <c:barChart>
        <c:barDir val="col"/>
        <c:grouping val="clustered"/>
        <c:varyColors val="0"/>
        <c:ser>
          <c:idx val="0"/>
          <c:order val="0"/>
          <c:tx>
            <c:strRef>
              <c:f>Sheet1!$A$2</c:f>
              <c:strCache>
                <c:ptCount val="1"/>
                <c:pt idx="0">
                  <c:v>Group 1</c:v>
                </c:pt>
              </c:strCache>
            </c:strRef>
          </c:tx>
          <c:spPr>
            <a:pattFill prst="dkUpDiag">
              <a:fgClr>
                <a:schemeClr val="accent1"/>
              </a:fgClr>
              <a:bgClr>
                <a:schemeClr val="bg1"/>
              </a:bgClr>
            </a:pattFill>
            <a:ln w="25314">
              <a:noFill/>
            </a:ln>
          </c:spPr>
          <c:invertIfNegative val="0"/>
          <c:dLbls>
            <c:spPr>
              <a:noFill/>
              <a:ln w="25314">
                <a:noFill/>
              </a:ln>
            </c:spPr>
            <c:txPr>
              <a:bodyPr/>
              <a:lstStyle/>
              <a:p>
                <a:pPr>
                  <a:defRPr>
                    <a:solidFill>
                      <a:schemeClr val="accent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2:$E$2</c:f>
              <c:numCache>
                <c:formatCode>General</c:formatCode>
                <c:ptCount val="4"/>
                <c:pt idx="0">
                  <c:v>20</c:v>
                </c:pt>
                <c:pt idx="1">
                  <c:v>27</c:v>
                </c:pt>
                <c:pt idx="2">
                  <c:v>90</c:v>
                </c:pt>
                <c:pt idx="3">
                  <c:v>20</c:v>
                </c:pt>
              </c:numCache>
            </c:numRef>
          </c:val>
          <c:extLst>
            <c:ext xmlns:c16="http://schemas.microsoft.com/office/drawing/2014/chart" uri="{C3380CC4-5D6E-409C-BE32-E72D297353CC}">
              <c16:uniqueId val="{00000000-0866-4AB5-9FC1-8844F94D22C9}"/>
            </c:ext>
          </c:extLst>
        </c:ser>
        <c:ser>
          <c:idx val="1"/>
          <c:order val="1"/>
          <c:tx>
            <c:strRef>
              <c:f>Sheet1!$A$3</c:f>
              <c:strCache>
                <c:ptCount val="1"/>
                <c:pt idx="0">
                  <c:v>Group 2</c:v>
                </c:pt>
              </c:strCache>
            </c:strRef>
          </c:tx>
          <c:spPr>
            <a:solidFill>
              <a:schemeClr val="accent1"/>
            </a:solidFill>
            <a:ln w="25314">
              <a:noFill/>
            </a:ln>
          </c:spPr>
          <c:invertIfNegative val="0"/>
          <c:dLbls>
            <c:spPr>
              <a:noFill/>
              <a:ln w="25314">
                <a:noFill/>
              </a:ln>
            </c:spPr>
            <c:txPr>
              <a:bodyPr/>
              <a:lstStyle/>
              <a:p>
                <a:pPr>
                  <a:defRPr>
                    <a:solidFill>
                      <a:schemeClr val="accent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3:$E$3</c:f>
              <c:numCache>
                <c:formatCode>General</c:formatCode>
                <c:ptCount val="4"/>
                <c:pt idx="0">
                  <c:v>31</c:v>
                </c:pt>
                <c:pt idx="1">
                  <c:v>39</c:v>
                </c:pt>
                <c:pt idx="2">
                  <c:v>35</c:v>
                </c:pt>
                <c:pt idx="3">
                  <c:v>32</c:v>
                </c:pt>
              </c:numCache>
            </c:numRef>
          </c:val>
          <c:extLst>
            <c:ext xmlns:c16="http://schemas.microsoft.com/office/drawing/2014/chart" uri="{C3380CC4-5D6E-409C-BE32-E72D297353CC}">
              <c16:uniqueId val="{00000001-0866-4AB5-9FC1-8844F94D22C9}"/>
            </c:ext>
          </c:extLst>
        </c:ser>
        <c:dLbls>
          <c:showLegendKey val="0"/>
          <c:showVal val="1"/>
          <c:showCatName val="0"/>
          <c:showSerName val="0"/>
          <c:showPercent val="0"/>
          <c:showBubbleSize val="0"/>
        </c:dLbls>
        <c:gapWidth val="300"/>
        <c:axId val="592973120"/>
        <c:axId val="592973512"/>
      </c:barChart>
      <c:catAx>
        <c:axId val="592973120"/>
        <c:scaling>
          <c:orientation val="minMax"/>
        </c:scaling>
        <c:delete val="0"/>
        <c:axPos val="b"/>
        <c:numFmt formatCode="General" sourceLinked="1"/>
        <c:majorTickMark val="none"/>
        <c:minorTickMark val="none"/>
        <c:tickLblPos val="nextTo"/>
        <c:spPr>
          <a:ln w="12657">
            <a:solidFill>
              <a:schemeClr val="tx2">
                <a:lumMod val="60000"/>
                <a:lumOff val="40000"/>
              </a:schemeClr>
            </a:solidFill>
            <a:prstDash val="solid"/>
          </a:ln>
        </c:spPr>
        <c:txPr>
          <a:bodyPr rot="0" vert="horz"/>
          <a:lstStyle/>
          <a:p>
            <a:pPr>
              <a:defRPr sz="1400" b="0">
                <a:solidFill>
                  <a:schemeClr val="tx2"/>
                </a:solidFill>
              </a:defRPr>
            </a:pPr>
            <a:endParaRPr lang="de-DE"/>
          </a:p>
        </c:txPr>
        <c:crossAx val="592973512"/>
        <c:crosses val="autoZero"/>
        <c:auto val="1"/>
        <c:lblAlgn val="ctr"/>
        <c:lblOffset val="100"/>
        <c:tickLblSkip val="1"/>
        <c:tickMarkSkip val="1"/>
        <c:noMultiLvlLbl val="0"/>
      </c:catAx>
      <c:valAx>
        <c:axId val="592973512"/>
        <c:scaling>
          <c:orientation val="minMax"/>
        </c:scaling>
        <c:delete val="1"/>
        <c:axPos val="l"/>
        <c:numFmt formatCode="General" sourceLinked="1"/>
        <c:majorTickMark val="out"/>
        <c:minorTickMark val="none"/>
        <c:tickLblPos val="none"/>
        <c:crossAx val="592973120"/>
        <c:crosses val="autoZero"/>
        <c:crossBetween val="between"/>
      </c:valAx>
      <c:spPr>
        <a:noFill/>
        <a:ln w="25314">
          <a:noFill/>
        </a:ln>
      </c:spPr>
    </c:plotArea>
    <c:legend>
      <c:legendPos val="b"/>
      <c:layout>
        <c:manualLayout>
          <c:xMode val="edge"/>
          <c:yMode val="edge"/>
          <c:x val="0.39340659340659434"/>
          <c:y val="0.93087557603686799"/>
          <c:w val="0.21208791208791244"/>
          <c:h val="6.4516129032258132E-2"/>
        </c:manualLayout>
      </c:layout>
      <c:overlay val="0"/>
      <c:spPr>
        <a:solidFill>
          <a:schemeClr val="bg1"/>
        </a:solidFill>
        <a:ln w="25314">
          <a:noFill/>
        </a:ln>
      </c:spPr>
      <c:txPr>
        <a:bodyPr/>
        <a:lstStyle/>
        <a:p>
          <a:pPr>
            <a:defRPr sz="1400" b="0">
              <a:solidFill>
                <a:schemeClr val="tx2"/>
              </a:solidFill>
            </a:defRPr>
          </a:pPr>
          <a:endParaRPr lang="de-DE"/>
        </a:p>
      </c:txPr>
    </c:legend>
    <c:plotVisOnly val="1"/>
    <c:dispBlanksAs val="gap"/>
    <c:showDLblsOverMax val="0"/>
  </c:chart>
  <c:spPr>
    <a:noFill/>
    <a:ln>
      <a:noFill/>
    </a:ln>
  </c:spPr>
  <c:txPr>
    <a:bodyPr/>
    <a:lstStyle/>
    <a:p>
      <a:pPr>
        <a:defRPr sz="1800" b="1" i="0" u="none" strike="noStrike" baseline="0">
          <a:solidFill>
            <a:schemeClr val="tx1"/>
          </a:solidFill>
          <a:latin typeface="+mn-lt"/>
          <a:ea typeface="Arial"/>
          <a:cs typeface="Arial"/>
        </a:defRPr>
      </a:pPr>
      <a:endParaRPr lang="de-DE"/>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922631835636326"/>
          <c:y val="2.4752475247524754E-2"/>
          <c:w val="0.89077368164363668"/>
          <c:h val="0.84158415841584155"/>
        </c:manualLayout>
      </c:layout>
      <c:barChart>
        <c:barDir val="col"/>
        <c:grouping val="stacked"/>
        <c:varyColors val="0"/>
        <c:ser>
          <c:idx val="3"/>
          <c:order val="0"/>
          <c:tx>
            <c:strRef>
              <c:f>Sheet1!$A$2</c:f>
              <c:strCache>
                <c:ptCount val="1"/>
                <c:pt idx="0">
                  <c:v>Group 1</c:v>
                </c:pt>
              </c:strCache>
            </c:strRef>
          </c:tx>
          <c:spPr>
            <a:solidFill>
              <a:schemeClr val="accent1"/>
            </a:solidFill>
            <a:ln w="25298">
              <a:noFill/>
            </a:ln>
          </c:spPr>
          <c:invertIfNegative val="0"/>
          <c:dLbls>
            <c:spPr>
              <a:noFill/>
              <a:ln w="25298">
                <a:noFill/>
              </a:ln>
            </c:spPr>
            <c:txPr>
              <a:bodyPr/>
              <a:lstStyle/>
              <a:p>
                <a:pPr>
                  <a:defRPr b="1">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2:$E$2</c:f>
              <c:numCache>
                <c:formatCode>General</c:formatCode>
                <c:ptCount val="4"/>
                <c:pt idx="0">
                  <c:v>20</c:v>
                </c:pt>
                <c:pt idx="1">
                  <c:v>27</c:v>
                </c:pt>
                <c:pt idx="2">
                  <c:v>90</c:v>
                </c:pt>
                <c:pt idx="3">
                  <c:v>20</c:v>
                </c:pt>
              </c:numCache>
            </c:numRef>
          </c:val>
          <c:extLst>
            <c:ext xmlns:c16="http://schemas.microsoft.com/office/drawing/2014/chart" uri="{C3380CC4-5D6E-409C-BE32-E72D297353CC}">
              <c16:uniqueId val="{00000000-6E52-4EDA-B5A6-4FC5CA96DD09}"/>
            </c:ext>
          </c:extLst>
        </c:ser>
        <c:ser>
          <c:idx val="0"/>
          <c:order val="1"/>
          <c:tx>
            <c:strRef>
              <c:f>Sheet1!$A$3</c:f>
              <c:strCache>
                <c:ptCount val="1"/>
                <c:pt idx="0">
                  <c:v>Group 2</c:v>
                </c:pt>
              </c:strCache>
            </c:strRef>
          </c:tx>
          <c:spPr>
            <a:solidFill>
              <a:schemeClr val="accent5"/>
            </a:solidFill>
            <a:ln w="25298">
              <a:noFill/>
            </a:ln>
          </c:spPr>
          <c:invertIfNegative val="0"/>
          <c:dLbls>
            <c:spPr>
              <a:noFill/>
              <a:ln w="25298">
                <a:noFill/>
              </a:ln>
            </c:spPr>
            <c:txPr>
              <a:bodyPr/>
              <a:lstStyle/>
              <a:p>
                <a:pPr>
                  <a:defRPr b="1">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3:$E$3</c:f>
              <c:numCache>
                <c:formatCode>General</c:formatCode>
                <c:ptCount val="4"/>
                <c:pt idx="0">
                  <c:v>31</c:v>
                </c:pt>
                <c:pt idx="1">
                  <c:v>39</c:v>
                </c:pt>
                <c:pt idx="2">
                  <c:v>35</c:v>
                </c:pt>
                <c:pt idx="3">
                  <c:v>20</c:v>
                </c:pt>
              </c:numCache>
            </c:numRef>
          </c:val>
          <c:extLst>
            <c:ext xmlns:c16="http://schemas.microsoft.com/office/drawing/2014/chart" uri="{C3380CC4-5D6E-409C-BE32-E72D297353CC}">
              <c16:uniqueId val="{00000001-6E52-4EDA-B5A6-4FC5CA96DD09}"/>
            </c:ext>
          </c:extLst>
        </c:ser>
        <c:ser>
          <c:idx val="1"/>
          <c:order val="2"/>
          <c:tx>
            <c:strRef>
              <c:f>Sheet1!$A$4</c:f>
              <c:strCache>
                <c:ptCount val="1"/>
              </c:strCache>
            </c:strRef>
          </c:tx>
          <c:spPr>
            <a:noFill/>
            <a:ln w="25298">
              <a:noFill/>
            </a:ln>
          </c:spPr>
          <c:invertIfNegative val="0"/>
          <c:dLbls>
            <c:dLbl>
              <c:idx val="0"/>
              <c:layout>
                <c:manualLayout>
                  <c:x val="-3.1662092881448012E-5"/>
                  <c:y val="3.584235557082995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E52-4EDA-B5A6-4FC5CA96DD09}"/>
                </c:ext>
              </c:extLst>
            </c:dLbl>
            <c:dLbl>
              <c:idx val="1"/>
              <c:layout>
                <c:manualLayout>
                  <c:x val="5.79521196754939E-4"/>
                  <c:y val="7.606504292336566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E52-4EDA-B5A6-4FC5CA96DD09}"/>
                </c:ext>
              </c:extLst>
            </c:dLbl>
            <c:dLbl>
              <c:idx val="2"/>
              <c:layout>
                <c:manualLayout>
                  <c:x val="-2.3199514560227831E-3"/>
                  <c:y val="0.2009411332287852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E52-4EDA-B5A6-4FC5CA96DD09}"/>
                </c:ext>
              </c:extLst>
            </c:dLbl>
            <c:dLbl>
              <c:idx val="3"/>
              <c:layout>
                <c:manualLayout>
                  <c:x val="6.6919906344078094E-3"/>
                  <c:y val="5.849068938619090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E52-4EDA-B5A6-4FC5CA96DD09}"/>
                </c:ext>
              </c:extLst>
            </c:dLbl>
            <c:spPr>
              <a:noFill/>
              <a:ln w="25298">
                <a:noFill/>
              </a:ln>
            </c:spPr>
            <c:txPr>
              <a:bodyPr/>
              <a:lstStyle/>
              <a:p>
                <a:pPr>
                  <a:defRPr b="1">
                    <a:solidFill>
                      <a:schemeClr val="accent3"/>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4:$E$4</c:f>
              <c:numCache>
                <c:formatCode>General</c:formatCode>
                <c:ptCount val="4"/>
                <c:pt idx="0">
                  <c:v>51</c:v>
                </c:pt>
                <c:pt idx="1">
                  <c:v>66</c:v>
                </c:pt>
                <c:pt idx="2">
                  <c:v>125</c:v>
                </c:pt>
                <c:pt idx="3">
                  <c:v>52</c:v>
                </c:pt>
              </c:numCache>
            </c:numRef>
          </c:val>
          <c:extLst>
            <c:ext xmlns:c16="http://schemas.microsoft.com/office/drawing/2014/chart" uri="{C3380CC4-5D6E-409C-BE32-E72D297353CC}">
              <c16:uniqueId val="{00000006-6E52-4EDA-B5A6-4FC5CA96DD09}"/>
            </c:ext>
          </c:extLst>
        </c:ser>
        <c:dLbls>
          <c:showLegendKey val="0"/>
          <c:showVal val="1"/>
          <c:showCatName val="0"/>
          <c:showSerName val="0"/>
          <c:showPercent val="0"/>
          <c:showBubbleSize val="0"/>
        </c:dLbls>
        <c:gapWidth val="250"/>
        <c:overlap val="100"/>
        <c:axId val="593002272"/>
        <c:axId val="593002664"/>
      </c:barChart>
      <c:catAx>
        <c:axId val="593002272"/>
        <c:scaling>
          <c:orientation val="minMax"/>
        </c:scaling>
        <c:delete val="0"/>
        <c:axPos val="b"/>
        <c:numFmt formatCode="General" sourceLinked="1"/>
        <c:majorTickMark val="none"/>
        <c:minorTickMark val="none"/>
        <c:tickLblPos val="nextTo"/>
        <c:spPr>
          <a:ln w="12649">
            <a:solidFill>
              <a:schemeClr val="tx2">
                <a:lumMod val="60000"/>
                <a:lumOff val="40000"/>
              </a:schemeClr>
            </a:solidFill>
            <a:prstDash val="solid"/>
          </a:ln>
        </c:spPr>
        <c:txPr>
          <a:bodyPr rot="0" vert="horz"/>
          <a:lstStyle/>
          <a:p>
            <a:pPr>
              <a:defRPr sz="1400">
                <a:solidFill>
                  <a:schemeClr val="tx2"/>
                </a:solidFill>
              </a:defRPr>
            </a:pPr>
            <a:endParaRPr lang="de-DE"/>
          </a:p>
        </c:txPr>
        <c:crossAx val="593002664"/>
        <c:crosses val="autoZero"/>
        <c:auto val="1"/>
        <c:lblAlgn val="ctr"/>
        <c:lblOffset val="100"/>
        <c:tickLblSkip val="1"/>
        <c:tickMarkSkip val="1"/>
        <c:noMultiLvlLbl val="0"/>
      </c:catAx>
      <c:valAx>
        <c:axId val="593002664"/>
        <c:scaling>
          <c:orientation val="minMax"/>
          <c:max val="200"/>
        </c:scaling>
        <c:delete val="1"/>
        <c:axPos val="l"/>
        <c:numFmt formatCode="General" sourceLinked="1"/>
        <c:majorTickMark val="out"/>
        <c:minorTickMark val="none"/>
        <c:tickLblPos val="none"/>
        <c:crossAx val="593002272"/>
        <c:crosses val="autoZero"/>
        <c:crossBetween val="between"/>
      </c:valAx>
      <c:spPr>
        <a:noFill/>
        <a:ln w="25298">
          <a:noFill/>
        </a:ln>
      </c:spPr>
    </c:plotArea>
    <c:plotVisOnly val="1"/>
    <c:dispBlanksAs val="gap"/>
    <c:showDLblsOverMax val="0"/>
  </c:chart>
  <c:spPr>
    <a:noFill/>
    <a:ln>
      <a:noFill/>
    </a:ln>
  </c:spPr>
  <c:txPr>
    <a:bodyPr/>
    <a:lstStyle/>
    <a:p>
      <a:pPr>
        <a:defRPr sz="1800" b="0" i="0" u="none" strike="noStrike" baseline="0">
          <a:solidFill>
            <a:schemeClr val="tx1"/>
          </a:solidFill>
          <a:latin typeface="+mn-lt"/>
          <a:ea typeface="Arial"/>
          <a:cs typeface="Arial"/>
        </a:defRPr>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492891905993615E-2"/>
          <c:y val="2.7989821882951682E-2"/>
          <c:w val="0.91277010557414751"/>
          <c:h val="0.83715012722646309"/>
        </c:manualLayout>
      </c:layout>
      <c:barChart>
        <c:barDir val="bar"/>
        <c:grouping val="stacked"/>
        <c:varyColors val="0"/>
        <c:ser>
          <c:idx val="0"/>
          <c:order val="0"/>
          <c:tx>
            <c:strRef>
              <c:f>Sheet1!$A$2</c:f>
              <c:strCache>
                <c:ptCount val="1"/>
              </c:strCache>
            </c:strRef>
          </c:tx>
          <c:spPr>
            <a:pattFill prst="dkUpDiag">
              <a:fgClr>
                <a:schemeClr val="accent1"/>
              </a:fgClr>
              <a:bgClr>
                <a:schemeClr val="bg1"/>
              </a:bgClr>
            </a:pattFill>
            <a:ln w="12690">
              <a:noFill/>
              <a:prstDash val="solid"/>
            </a:ln>
          </c:spPr>
          <c:invertIfNegative val="0"/>
          <c:cat>
            <c:strRef>
              <c:f>Sheet1!$B$1:$E$1</c:f>
              <c:strCache>
                <c:ptCount val="4"/>
                <c:pt idx="0">
                  <c:v>Label A</c:v>
                </c:pt>
                <c:pt idx="1">
                  <c:v>Label B</c:v>
                </c:pt>
                <c:pt idx="2">
                  <c:v>Label C</c:v>
                </c:pt>
                <c:pt idx="3">
                  <c:v>Label D</c:v>
                </c:pt>
              </c:strCache>
            </c:strRef>
          </c:cat>
          <c:val>
            <c:numRef>
              <c:f>Sheet1!$B$2:$E$2</c:f>
              <c:numCache>
                <c:formatCode>General</c:formatCode>
                <c:ptCount val="4"/>
                <c:pt idx="0">
                  <c:v>11</c:v>
                </c:pt>
                <c:pt idx="1">
                  <c:v>25</c:v>
                </c:pt>
                <c:pt idx="2">
                  <c:v>40</c:v>
                </c:pt>
                <c:pt idx="3">
                  <c:v>22</c:v>
                </c:pt>
              </c:numCache>
            </c:numRef>
          </c:val>
          <c:extLst>
            <c:ext xmlns:c16="http://schemas.microsoft.com/office/drawing/2014/chart" uri="{C3380CC4-5D6E-409C-BE32-E72D297353CC}">
              <c16:uniqueId val="{00000000-DBF1-4243-AAB2-54DCA8883349}"/>
            </c:ext>
          </c:extLst>
        </c:ser>
        <c:ser>
          <c:idx val="2"/>
          <c:order val="1"/>
          <c:tx>
            <c:strRef>
              <c:f>Sheet1!$A$4</c:f>
              <c:strCache>
                <c:ptCount val="1"/>
                <c:pt idx="0">
                  <c:v>North</c:v>
                </c:pt>
              </c:strCache>
            </c:strRef>
          </c:tx>
          <c:spPr>
            <a:solidFill>
              <a:srgbClr val="A100FF"/>
            </a:solidFill>
            <a:ln w="25380">
              <a:noFill/>
            </a:ln>
          </c:spPr>
          <c:invertIfNegative val="0"/>
          <c:dPt>
            <c:idx val="0"/>
            <c:invertIfNegative val="0"/>
            <c:bubble3D val="0"/>
            <c:extLst>
              <c:ext xmlns:c16="http://schemas.microsoft.com/office/drawing/2014/chart" uri="{C3380CC4-5D6E-409C-BE32-E72D297353CC}">
                <c16:uniqueId val="{00000001-DBF1-4243-AAB2-54DCA8883349}"/>
              </c:ext>
            </c:extLst>
          </c:dPt>
          <c:dPt>
            <c:idx val="1"/>
            <c:invertIfNegative val="0"/>
            <c:bubble3D val="0"/>
            <c:extLst>
              <c:ext xmlns:c16="http://schemas.microsoft.com/office/drawing/2014/chart" uri="{C3380CC4-5D6E-409C-BE32-E72D297353CC}">
                <c16:uniqueId val="{00000002-DBF1-4243-AAB2-54DCA8883349}"/>
              </c:ext>
            </c:extLst>
          </c:dPt>
          <c:dPt>
            <c:idx val="2"/>
            <c:invertIfNegative val="0"/>
            <c:bubble3D val="0"/>
            <c:extLst>
              <c:ext xmlns:c16="http://schemas.microsoft.com/office/drawing/2014/chart" uri="{C3380CC4-5D6E-409C-BE32-E72D297353CC}">
                <c16:uniqueId val="{00000003-DBF1-4243-AAB2-54DCA8883349}"/>
              </c:ext>
            </c:extLst>
          </c:dPt>
          <c:dPt>
            <c:idx val="3"/>
            <c:invertIfNegative val="0"/>
            <c:bubble3D val="0"/>
            <c:extLst>
              <c:ext xmlns:c16="http://schemas.microsoft.com/office/drawing/2014/chart" uri="{C3380CC4-5D6E-409C-BE32-E72D297353CC}">
                <c16:uniqueId val="{00000004-DBF1-4243-AAB2-54DCA8883349}"/>
              </c:ext>
            </c:extLst>
          </c:dPt>
          <c:dLbls>
            <c:spPr>
              <a:noFill/>
              <a:ln w="25380">
                <a:noFill/>
              </a:ln>
            </c:spPr>
            <c:txPr>
              <a:bodyPr/>
              <a:lstStyle/>
              <a:p>
                <a:pPr>
                  <a:defRPr sz="1800" b="1">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4:$E$4</c:f>
              <c:numCache>
                <c:formatCode>General</c:formatCode>
                <c:ptCount val="4"/>
                <c:pt idx="0">
                  <c:v>31</c:v>
                </c:pt>
                <c:pt idx="1">
                  <c:v>32</c:v>
                </c:pt>
                <c:pt idx="2">
                  <c:v>34</c:v>
                </c:pt>
                <c:pt idx="3">
                  <c:v>32</c:v>
                </c:pt>
              </c:numCache>
            </c:numRef>
          </c:val>
          <c:extLst>
            <c:ext xmlns:c16="http://schemas.microsoft.com/office/drawing/2014/chart" uri="{C3380CC4-5D6E-409C-BE32-E72D297353CC}">
              <c16:uniqueId val="{00000005-DBF1-4243-AAB2-54DCA8883349}"/>
            </c:ext>
          </c:extLst>
        </c:ser>
        <c:dLbls>
          <c:showLegendKey val="0"/>
          <c:showVal val="0"/>
          <c:showCatName val="0"/>
          <c:showSerName val="0"/>
          <c:showPercent val="0"/>
          <c:showBubbleSize val="0"/>
        </c:dLbls>
        <c:gapWidth val="110"/>
        <c:overlap val="100"/>
        <c:axId val="542584344"/>
        <c:axId val="309145144"/>
      </c:barChart>
      <c:catAx>
        <c:axId val="542584344"/>
        <c:scaling>
          <c:orientation val="minMax"/>
        </c:scaling>
        <c:delete val="0"/>
        <c:axPos val="l"/>
        <c:numFmt formatCode="General" sourceLinked="1"/>
        <c:majorTickMark val="none"/>
        <c:minorTickMark val="none"/>
        <c:tickLblPos val="nextTo"/>
        <c:spPr>
          <a:ln w="9517">
            <a:noFill/>
          </a:ln>
        </c:spPr>
        <c:txPr>
          <a:bodyPr rot="0" vert="horz"/>
          <a:lstStyle/>
          <a:p>
            <a:pPr>
              <a:defRPr sz="1400">
                <a:solidFill>
                  <a:schemeClr val="tx2"/>
                </a:solidFill>
                <a:latin typeface="Arial" panose="020B0503030202060203" pitchFamily="34" charset="0"/>
              </a:defRPr>
            </a:pPr>
            <a:endParaRPr lang="de-DE"/>
          </a:p>
        </c:txPr>
        <c:crossAx val="309145144"/>
        <c:crossesAt val="0"/>
        <c:auto val="1"/>
        <c:lblAlgn val="ctr"/>
        <c:lblOffset val="100"/>
        <c:tickLblSkip val="1"/>
        <c:tickMarkSkip val="1"/>
        <c:noMultiLvlLbl val="0"/>
      </c:catAx>
      <c:valAx>
        <c:axId val="309145144"/>
        <c:scaling>
          <c:orientation val="minMax"/>
          <c:max val="80"/>
          <c:min val="0"/>
        </c:scaling>
        <c:delete val="0"/>
        <c:axPos val="b"/>
        <c:numFmt formatCode="General" sourceLinked="1"/>
        <c:majorTickMark val="out"/>
        <c:minorTickMark val="none"/>
        <c:tickLblPos val="nextTo"/>
        <c:spPr>
          <a:ln w="12690">
            <a:solidFill>
              <a:schemeClr val="tx2">
                <a:lumMod val="60000"/>
                <a:lumOff val="40000"/>
              </a:schemeClr>
            </a:solidFill>
            <a:prstDash val="solid"/>
          </a:ln>
        </c:spPr>
        <c:txPr>
          <a:bodyPr rot="0" vert="horz"/>
          <a:lstStyle/>
          <a:p>
            <a:pPr>
              <a:defRPr sz="1200">
                <a:solidFill>
                  <a:schemeClr val="tx2"/>
                </a:solidFill>
              </a:defRPr>
            </a:pPr>
            <a:endParaRPr lang="de-DE"/>
          </a:p>
        </c:txPr>
        <c:crossAx val="542584344"/>
        <c:crosses val="autoZero"/>
        <c:crossBetween val="between"/>
        <c:majorUnit val="10"/>
        <c:minorUnit val="5"/>
      </c:valAx>
      <c:spPr>
        <a:noFill/>
        <a:ln w="25380">
          <a:noFill/>
        </a:ln>
      </c:spPr>
    </c:plotArea>
    <c:plotVisOnly val="1"/>
    <c:dispBlanksAs val="gap"/>
    <c:showDLblsOverMax val="0"/>
  </c:chart>
  <c:spPr>
    <a:noFill/>
    <a:ln>
      <a:noFill/>
    </a:ln>
  </c:spPr>
  <c:txPr>
    <a:bodyPr/>
    <a:lstStyle/>
    <a:p>
      <a:pPr>
        <a:defRPr sz="1649" b="0" i="0" u="none" strike="noStrike" baseline="0">
          <a:solidFill>
            <a:schemeClr val="bg2"/>
          </a:solidFill>
          <a:latin typeface="+mn-lt"/>
          <a:ea typeface="Arial"/>
          <a:cs typeface="Arial"/>
        </a:defRPr>
      </a:pPr>
      <a:endParaRPr lang="de-DE"/>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970808209458804E-2"/>
          <c:y val="2.4070021881838068E-2"/>
          <c:w val="0.90199655877956009"/>
          <c:h val="0.85557986870897162"/>
        </c:manualLayout>
      </c:layout>
      <c:barChart>
        <c:barDir val="col"/>
        <c:grouping val="percentStacked"/>
        <c:varyColors val="0"/>
        <c:ser>
          <c:idx val="3"/>
          <c:order val="0"/>
          <c:tx>
            <c:strRef>
              <c:f>Sheet1!$A$2</c:f>
              <c:strCache>
                <c:ptCount val="1"/>
                <c:pt idx="0">
                  <c:v>Group 1</c:v>
                </c:pt>
              </c:strCache>
            </c:strRef>
          </c:tx>
          <c:spPr>
            <a:solidFill>
              <a:schemeClr val="accent1"/>
            </a:solidFill>
            <a:ln w="25346">
              <a:noFill/>
            </a:ln>
          </c:spPr>
          <c:invertIfNegative val="0"/>
          <c:dLbls>
            <c:spPr>
              <a:noFill/>
              <a:ln w="25346">
                <a:noFill/>
              </a:ln>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2:$E$2</c:f>
              <c:numCache>
                <c:formatCode>0%</c:formatCode>
                <c:ptCount val="4"/>
                <c:pt idx="0">
                  <c:v>0.27</c:v>
                </c:pt>
                <c:pt idx="1">
                  <c:v>0.33000000000000107</c:v>
                </c:pt>
                <c:pt idx="2">
                  <c:v>0.6400000000000019</c:v>
                </c:pt>
                <c:pt idx="3">
                  <c:v>0.31000000000000083</c:v>
                </c:pt>
              </c:numCache>
            </c:numRef>
          </c:val>
          <c:extLst>
            <c:ext xmlns:c16="http://schemas.microsoft.com/office/drawing/2014/chart" uri="{C3380CC4-5D6E-409C-BE32-E72D297353CC}">
              <c16:uniqueId val="{00000000-BCA8-489A-A28D-A3AFA912543D}"/>
            </c:ext>
          </c:extLst>
        </c:ser>
        <c:ser>
          <c:idx val="0"/>
          <c:order val="1"/>
          <c:tx>
            <c:strRef>
              <c:f>Sheet1!$A$3</c:f>
              <c:strCache>
                <c:ptCount val="1"/>
                <c:pt idx="0">
                  <c:v>Group 2</c:v>
                </c:pt>
              </c:strCache>
            </c:strRef>
          </c:tx>
          <c:spPr>
            <a:solidFill>
              <a:schemeClr val="accent3"/>
            </a:solidFill>
            <a:ln w="25346">
              <a:noFill/>
            </a:ln>
          </c:spPr>
          <c:invertIfNegative val="0"/>
          <c:dLbls>
            <c:spPr>
              <a:noFill/>
              <a:ln w="25346">
                <a:noFill/>
              </a:ln>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3:$E$3</c:f>
              <c:numCache>
                <c:formatCode>0%</c:formatCode>
                <c:ptCount val="4"/>
                <c:pt idx="0">
                  <c:v>0.41000000000000031</c:v>
                </c:pt>
                <c:pt idx="1">
                  <c:v>0.47000000000000008</c:v>
                </c:pt>
                <c:pt idx="2">
                  <c:v>0.25</c:v>
                </c:pt>
                <c:pt idx="3">
                  <c:v>0.48000000000000032</c:v>
                </c:pt>
              </c:numCache>
            </c:numRef>
          </c:val>
          <c:extLst>
            <c:ext xmlns:c16="http://schemas.microsoft.com/office/drawing/2014/chart" uri="{C3380CC4-5D6E-409C-BE32-E72D297353CC}">
              <c16:uniqueId val="{00000001-BCA8-489A-A28D-A3AFA912543D}"/>
            </c:ext>
          </c:extLst>
        </c:ser>
        <c:ser>
          <c:idx val="2"/>
          <c:order val="2"/>
          <c:tx>
            <c:strRef>
              <c:f>Sheet1!$A$4</c:f>
              <c:strCache>
                <c:ptCount val="1"/>
                <c:pt idx="0">
                  <c:v>Group 3</c:v>
                </c:pt>
              </c:strCache>
            </c:strRef>
          </c:tx>
          <c:spPr>
            <a:solidFill>
              <a:schemeClr val="accent6"/>
            </a:solidFill>
            <a:ln w="25346">
              <a:noFill/>
            </a:ln>
          </c:spPr>
          <c:invertIfNegative val="0"/>
          <c:dLbls>
            <c:spPr>
              <a:noFill/>
              <a:ln w="25346">
                <a:noFill/>
              </a:ln>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4:$E$4</c:f>
              <c:numCache>
                <c:formatCode>0%</c:formatCode>
                <c:ptCount val="4"/>
                <c:pt idx="0">
                  <c:v>0.32000000000000095</c:v>
                </c:pt>
                <c:pt idx="1">
                  <c:v>0.2</c:v>
                </c:pt>
                <c:pt idx="2">
                  <c:v>0.11</c:v>
                </c:pt>
                <c:pt idx="3">
                  <c:v>0.21000000000000021</c:v>
                </c:pt>
              </c:numCache>
            </c:numRef>
          </c:val>
          <c:extLst>
            <c:ext xmlns:c16="http://schemas.microsoft.com/office/drawing/2014/chart" uri="{C3380CC4-5D6E-409C-BE32-E72D297353CC}">
              <c16:uniqueId val="{00000002-BCA8-489A-A28D-A3AFA912543D}"/>
            </c:ext>
          </c:extLst>
        </c:ser>
        <c:dLbls>
          <c:showLegendKey val="0"/>
          <c:showVal val="1"/>
          <c:showCatName val="0"/>
          <c:showSerName val="0"/>
          <c:showPercent val="0"/>
          <c:showBubbleSize val="0"/>
        </c:dLbls>
        <c:gapWidth val="250"/>
        <c:overlap val="100"/>
        <c:serLines>
          <c:spPr>
            <a:ln w="15875" cap="rnd">
              <a:solidFill>
                <a:schemeClr val="tx2">
                  <a:lumMod val="60000"/>
                  <a:lumOff val="40000"/>
                </a:schemeClr>
              </a:solidFill>
              <a:prstDash val="sysDot"/>
            </a:ln>
          </c:spPr>
        </c:serLines>
        <c:axId val="593003448"/>
        <c:axId val="593003840"/>
      </c:barChart>
      <c:catAx>
        <c:axId val="593003448"/>
        <c:scaling>
          <c:orientation val="minMax"/>
        </c:scaling>
        <c:delete val="0"/>
        <c:axPos val="b"/>
        <c:numFmt formatCode="General" sourceLinked="1"/>
        <c:majorTickMark val="none"/>
        <c:minorTickMark val="none"/>
        <c:tickLblPos val="nextTo"/>
        <c:spPr>
          <a:ln w="12673">
            <a:solidFill>
              <a:schemeClr val="tx2">
                <a:lumMod val="60000"/>
                <a:lumOff val="40000"/>
              </a:schemeClr>
            </a:solidFill>
            <a:prstDash val="solid"/>
          </a:ln>
        </c:spPr>
        <c:txPr>
          <a:bodyPr rot="0" vert="horz"/>
          <a:lstStyle/>
          <a:p>
            <a:pPr>
              <a:defRPr/>
            </a:pPr>
            <a:endParaRPr lang="de-DE"/>
          </a:p>
        </c:txPr>
        <c:crossAx val="593003840"/>
        <c:crosses val="autoZero"/>
        <c:auto val="1"/>
        <c:lblAlgn val="ctr"/>
        <c:lblOffset val="100"/>
        <c:tickLblSkip val="1"/>
        <c:tickMarkSkip val="1"/>
        <c:noMultiLvlLbl val="0"/>
      </c:catAx>
      <c:valAx>
        <c:axId val="593003840"/>
        <c:scaling>
          <c:orientation val="minMax"/>
          <c:max val="1"/>
          <c:min val="0"/>
        </c:scaling>
        <c:delete val="1"/>
        <c:axPos val="l"/>
        <c:numFmt formatCode="0%" sourceLinked="1"/>
        <c:majorTickMark val="out"/>
        <c:minorTickMark val="none"/>
        <c:tickLblPos val="none"/>
        <c:crossAx val="593003448"/>
        <c:crosses val="autoZero"/>
        <c:crossBetween val="between"/>
        <c:majorUnit val="0.2"/>
        <c:minorUnit val="2.0000000000000052E-3"/>
      </c:valAx>
      <c:spPr>
        <a:noFill/>
        <a:ln w="25346">
          <a:noFill/>
        </a:ln>
      </c:spPr>
    </c:plotArea>
    <c:plotVisOnly val="1"/>
    <c:dispBlanksAs val="gap"/>
    <c:showDLblsOverMax val="0"/>
  </c:chart>
  <c:spPr>
    <a:noFill/>
    <a:ln>
      <a:noFill/>
    </a:ln>
  </c:spPr>
  <c:txPr>
    <a:bodyPr/>
    <a:lstStyle/>
    <a:p>
      <a:pPr>
        <a:defRPr sz="1800" b="1" i="0" u="none" strike="noStrike" baseline="0">
          <a:solidFill>
            <a:schemeClr val="bg1"/>
          </a:solidFill>
          <a:latin typeface="+mn-lt"/>
          <a:ea typeface="Arial"/>
          <a:cs typeface="Arial"/>
        </a:defRPr>
      </a:pPr>
      <a:endParaRPr lang="de-DE"/>
    </a:p>
  </c:txPr>
  <c:externalData r:id="rId1">
    <c:autoUpdate val="0"/>
  </c:externalData>
  <c:userShapes r:id="rId2"/>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872779529634389E-4"/>
          <c:y val="2.9673590504451126E-2"/>
          <c:w val="0.99970245753569509"/>
          <c:h val="0.81008902077151335"/>
        </c:manualLayout>
      </c:layout>
      <c:barChart>
        <c:barDir val="col"/>
        <c:grouping val="stacked"/>
        <c:varyColors val="0"/>
        <c:ser>
          <c:idx val="0"/>
          <c:order val="0"/>
          <c:tx>
            <c:strRef>
              <c:f>Sheet1!$A$2</c:f>
              <c:strCache>
                <c:ptCount val="1"/>
                <c:pt idx="0">
                  <c:v>East</c:v>
                </c:pt>
              </c:strCache>
            </c:strRef>
          </c:tx>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1-C7B7-4BFA-B631-9832E1390E9D}"/>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3-C7B7-4BFA-B631-9832E1390E9D}"/>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5-C7B7-4BFA-B631-9832E1390E9D}"/>
              </c:ext>
            </c:extLst>
          </c:dPt>
          <c:dLbls>
            <c:dLbl>
              <c:idx val="0"/>
              <c:layout>
                <c:manualLayout>
                  <c:x val="-1.108999294165616E-4"/>
                  <c:y val="-0.13155353378824897"/>
                </c:manualLayout>
              </c:layout>
              <c:spPr>
                <a:noFill/>
                <a:ln w="25401">
                  <a:noFill/>
                </a:ln>
                <a:effectLst/>
              </c:spPr>
              <c:txPr>
                <a:bodyPr rot="0" spcFirstLastPara="1" vertOverflow="ellipsis" vert="horz" wrap="square" anchor="ctr" anchorCtr="1"/>
                <a:lstStyle/>
                <a:p>
                  <a:pPr>
                    <a:defRPr sz="1800" b="1" i="0" u="none" strike="noStrike" kern="1200" baseline="0">
                      <a:solidFill>
                        <a:schemeClr val="accent1"/>
                      </a:solidFill>
                      <a:latin typeface="+mn-lt"/>
                      <a:ea typeface="Arial"/>
                      <a:cs typeface="Aria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7B7-4BFA-B631-9832E1390E9D}"/>
                </c:ext>
              </c:extLst>
            </c:dLbl>
            <c:dLbl>
              <c:idx val="1"/>
              <c:layout>
                <c:manualLayout>
                  <c:x val="7.8743461983239345E-3"/>
                  <c:y val="-0.15661288377485721"/>
                </c:manualLayout>
              </c:layout>
              <c:spPr>
                <a:noFill/>
                <a:ln w="25401">
                  <a:noFill/>
                </a:ln>
                <a:effectLst/>
              </c:spPr>
              <c:txPr>
                <a:bodyPr rot="0" spcFirstLastPara="1" vertOverflow="ellipsis" vert="horz" wrap="square" anchor="ctr" anchorCtr="1"/>
                <a:lstStyle/>
                <a:p>
                  <a:pPr>
                    <a:defRPr sz="1800" b="1" i="0" u="none" strike="noStrike" kern="1200" baseline="0">
                      <a:solidFill>
                        <a:schemeClr val="accent2"/>
                      </a:solidFill>
                      <a:latin typeface="+mn-lt"/>
                      <a:ea typeface="Arial"/>
                      <a:cs typeface="Aria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7B7-4BFA-B631-9832E1390E9D}"/>
                </c:ext>
              </c:extLst>
            </c:dLbl>
            <c:dLbl>
              <c:idx val="2"/>
              <c:layout>
                <c:manualLayout>
                  <c:x val="4.8030812695532546E-3"/>
                  <c:y val="-0.41775534225967331"/>
                </c:manualLayout>
              </c:layout>
              <c:spPr>
                <a:noFill/>
                <a:ln w="25401">
                  <a:noFill/>
                </a:ln>
                <a:effectLst/>
              </c:spPr>
              <c:txPr>
                <a:bodyPr rot="0" spcFirstLastPara="1" vertOverflow="ellipsis" vert="horz" wrap="square" anchor="ctr" anchorCtr="1"/>
                <a:lstStyle/>
                <a:p>
                  <a:pPr>
                    <a:defRPr sz="1800" b="1" i="0" u="none" strike="noStrike" kern="1200" baseline="0">
                      <a:solidFill>
                        <a:schemeClr val="accent3"/>
                      </a:solidFill>
                      <a:latin typeface="+mn-lt"/>
                      <a:ea typeface="Arial"/>
                      <a:cs typeface="Aria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7B7-4BFA-B631-9832E1390E9D}"/>
                </c:ext>
              </c:extLst>
            </c:dLbl>
            <c:dLbl>
              <c:idx val="3"/>
              <c:layout>
                <c:manualLayout>
                  <c:x val="5.0331511228134248E-4"/>
                  <c:y val="-0.13155353378824897"/>
                </c:manualLayout>
              </c:layout>
              <c:spPr>
                <a:noFill/>
                <a:ln w="25401">
                  <a:noFill/>
                </a:ln>
                <a:effectLst/>
              </c:spPr>
              <c:txPr>
                <a:bodyPr rot="0" spcFirstLastPara="1" vertOverflow="ellipsis" vert="horz" wrap="square" anchor="ctr" anchorCtr="1"/>
                <a:lstStyle/>
                <a:p>
                  <a:pPr>
                    <a:defRPr sz="1800" b="1" i="0" u="none" strike="noStrike" kern="1200" baseline="0">
                      <a:solidFill>
                        <a:schemeClr val="accent5"/>
                      </a:solidFill>
                      <a:latin typeface="+mn-lt"/>
                      <a:ea typeface="Arial"/>
                      <a:cs typeface="Aria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7B7-4BFA-B631-9832E1390E9D}"/>
                </c:ext>
              </c:extLst>
            </c:dLbl>
            <c:spPr>
              <a:noFill/>
              <a:ln w="25401">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000000"/>
                    </a:solidFill>
                    <a:latin typeface="+mn-lt"/>
                    <a:ea typeface="Arial"/>
                    <a:cs typeface="Aria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2:$E$2</c:f>
              <c:numCache>
                <c:formatCode>General</c:formatCode>
                <c:ptCount val="4"/>
                <c:pt idx="0">
                  <c:v>20</c:v>
                </c:pt>
                <c:pt idx="1">
                  <c:v>27</c:v>
                </c:pt>
                <c:pt idx="2">
                  <c:v>90</c:v>
                </c:pt>
                <c:pt idx="3">
                  <c:v>20</c:v>
                </c:pt>
              </c:numCache>
            </c:numRef>
          </c:val>
          <c:extLst>
            <c:ext xmlns:c16="http://schemas.microsoft.com/office/drawing/2014/chart" uri="{C3380CC4-5D6E-409C-BE32-E72D297353CC}">
              <c16:uniqueId val="{00000007-C7B7-4BFA-B631-9832E1390E9D}"/>
            </c:ext>
          </c:extLst>
        </c:ser>
        <c:dLbls>
          <c:showLegendKey val="0"/>
          <c:showVal val="1"/>
          <c:showCatName val="0"/>
          <c:showSerName val="0"/>
          <c:showPercent val="0"/>
          <c:showBubbleSize val="0"/>
        </c:dLbls>
        <c:gapWidth val="0"/>
        <c:overlap val="12"/>
        <c:axId val="548771368"/>
        <c:axId val="548771760"/>
      </c:barChart>
      <c:catAx>
        <c:axId val="548771368"/>
        <c:scaling>
          <c:orientation val="minMax"/>
        </c:scaling>
        <c:delete val="0"/>
        <c:axPos val="b"/>
        <c:numFmt formatCode="General" sourceLinked="1"/>
        <c:majorTickMark val="none"/>
        <c:minorTickMark val="none"/>
        <c:tickLblPos val="nextTo"/>
        <c:spPr>
          <a:noFill/>
          <a:ln w="12700" cap="flat" cmpd="sng" algn="ctr">
            <a:solidFill>
              <a:schemeClr val="tx2">
                <a:lumMod val="60000"/>
                <a:lumOff val="40000"/>
              </a:schemeClr>
            </a:solidFill>
            <a:prstDash val="solid"/>
            <a:round/>
          </a:ln>
          <a:effectLst/>
        </c:spPr>
        <c:txPr>
          <a:bodyPr rot="0" spcFirstLastPara="1" vertOverflow="ellipsis" wrap="square" anchor="ctr" anchorCtr="1"/>
          <a:lstStyle/>
          <a:p>
            <a:pPr>
              <a:defRPr sz="1400" b="0" i="0" u="none" strike="noStrike" kern="1200" baseline="0">
                <a:solidFill>
                  <a:schemeClr val="tx2"/>
                </a:solidFill>
                <a:latin typeface="+mn-lt"/>
                <a:ea typeface="Arial"/>
                <a:cs typeface="Arial"/>
              </a:defRPr>
            </a:pPr>
            <a:endParaRPr lang="de-DE"/>
          </a:p>
        </c:txPr>
        <c:crossAx val="548771760"/>
        <c:crosses val="autoZero"/>
        <c:auto val="1"/>
        <c:lblAlgn val="ctr"/>
        <c:lblOffset val="100"/>
        <c:tickLblSkip val="1"/>
        <c:tickMarkSkip val="1"/>
        <c:noMultiLvlLbl val="0"/>
      </c:catAx>
      <c:valAx>
        <c:axId val="548771760"/>
        <c:scaling>
          <c:orientation val="minMax"/>
        </c:scaling>
        <c:delete val="1"/>
        <c:axPos val="l"/>
        <c:numFmt formatCode="General" sourceLinked="1"/>
        <c:majorTickMark val="out"/>
        <c:minorTickMark val="none"/>
        <c:tickLblPos val="none"/>
        <c:crossAx val="548771368"/>
        <c:crosses val="autoZero"/>
        <c:crossBetween val="between"/>
      </c:valAx>
      <c:spPr>
        <a:noFill/>
        <a:ln w="25401">
          <a:noFill/>
        </a:ln>
        <a:effectLst/>
      </c:spPr>
    </c:plotArea>
    <c:plotVisOnly val="1"/>
    <c:dispBlanksAs val="gap"/>
    <c:showDLblsOverMax val="0"/>
  </c:chart>
  <c:spPr>
    <a:noFill/>
    <a:ln w="6350" cap="flat" cmpd="sng" algn="ctr">
      <a:noFill/>
      <a:prstDash val="solid"/>
      <a:miter lim="800000"/>
    </a:ln>
    <a:effectLst/>
  </c:spPr>
  <c:txPr>
    <a:bodyPr/>
    <a:lstStyle/>
    <a:p>
      <a:pPr>
        <a:defRPr sz="1800" b="1" i="0" u="none" strike="noStrike" baseline="0">
          <a:solidFill>
            <a:srgbClr val="000000"/>
          </a:solidFill>
          <a:latin typeface="+mn-lt"/>
          <a:ea typeface="Arial"/>
          <a:cs typeface="Arial"/>
        </a:defRPr>
      </a:pPr>
      <a:endParaRPr lang="de-DE"/>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499821107229534"/>
          <c:y val="7.3106124281253154E-2"/>
          <c:w val="0.86291468259701798"/>
          <c:h val="0.78096080224274278"/>
        </c:manualLayout>
      </c:layout>
      <c:barChart>
        <c:barDir val="col"/>
        <c:grouping val="clustered"/>
        <c:varyColors val="0"/>
        <c:ser>
          <c:idx val="0"/>
          <c:order val="0"/>
          <c:tx>
            <c:strRef>
              <c:f>Sheet1!$A$2</c:f>
              <c:strCache>
                <c:ptCount val="1"/>
                <c:pt idx="0">
                  <c:v>Group 1</c:v>
                </c:pt>
              </c:strCache>
            </c:strRef>
          </c:tx>
          <c:spPr>
            <a:solidFill>
              <a:schemeClr val="accent5"/>
            </a:solidFill>
            <a:ln w="25291">
              <a:noFill/>
            </a:ln>
          </c:spPr>
          <c:invertIfNegative val="0"/>
          <c:dPt>
            <c:idx val="0"/>
            <c:invertIfNegative val="0"/>
            <c:bubble3D val="0"/>
            <c:extLst>
              <c:ext xmlns:c16="http://schemas.microsoft.com/office/drawing/2014/chart" uri="{C3380CC4-5D6E-409C-BE32-E72D297353CC}">
                <c16:uniqueId val="{00000001-5C1F-47B6-B2F7-E25B25F668BB}"/>
              </c:ext>
            </c:extLst>
          </c:dPt>
          <c:dPt>
            <c:idx val="2"/>
            <c:invertIfNegative val="0"/>
            <c:bubble3D val="0"/>
            <c:extLst>
              <c:ext xmlns:c16="http://schemas.microsoft.com/office/drawing/2014/chart" uri="{C3380CC4-5D6E-409C-BE32-E72D297353CC}">
                <c16:uniqueId val="{00000003-5C1F-47B6-B2F7-E25B25F668BB}"/>
              </c:ext>
            </c:extLst>
          </c:dPt>
          <c:dPt>
            <c:idx val="3"/>
            <c:invertIfNegative val="0"/>
            <c:bubble3D val="0"/>
            <c:extLst>
              <c:ext xmlns:c16="http://schemas.microsoft.com/office/drawing/2014/chart" uri="{C3380CC4-5D6E-409C-BE32-E72D297353CC}">
                <c16:uniqueId val="{00000005-5C1F-47B6-B2F7-E25B25F668BB}"/>
              </c:ext>
            </c:extLst>
          </c:dPt>
          <c:dPt>
            <c:idx val="4"/>
            <c:invertIfNegative val="0"/>
            <c:bubble3D val="0"/>
            <c:extLst>
              <c:ext xmlns:c16="http://schemas.microsoft.com/office/drawing/2014/chart" uri="{C3380CC4-5D6E-409C-BE32-E72D297353CC}">
                <c16:uniqueId val="{00000007-5C1F-47B6-B2F7-E25B25F668BB}"/>
              </c:ext>
            </c:extLst>
          </c:dPt>
          <c:dPt>
            <c:idx val="5"/>
            <c:invertIfNegative val="0"/>
            <c:bubble3D val="0"/>
            <c:extLst>
              <c:ext xmlns:c16="http://schemas.microsoft.com/office/drawing/2014/chart" uri="{C3380CC4-5D6E-409C-BE32-E72D297353CC}">
                <c16:uniqueId val="{00000009-5C1F-47B6-B2F7-E25B25F668BB}"/>
              </c:ext>
            </c:extLst>
          </c:dPt>
          <c:dLbls>
            <c:numFmt formatCode="0" sourceLinked="0"/>
            <c:spPr>
              <a:noFill/>
              <a:ln w="25291">
                <a:noFill/>
              </a:ln>
            </c:spPr>
            <c:txPr>
              <a:bodyPr/>
              <a:lstStyle/>
              <a:p>
                <a:pPr>
                  <a:defRPr>
                    <a:solidFill>
                      <a:schemeClr val="accent2"/>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Label A</c:v>
                </c:pt>
                <c:pt idx="1">
                  <c:v>Label B</c:v>
                </c:pt>
                <c:pt idx="2">
                  <c:v>Label C</c:v>
                </c:pt>
                <c:pt idx="3">
                  <c:v>Label D</c:v>
                </c:pt>
                <c:pt idx="4">
                  <c:v>Label E</c:v>
                </c:pt>
                <c:pt idx="5">
                  <c:v>Label F</c:v>
                </c:pt>
              </c:strCache>
            </c:strRef>
          </c:cat>
          <c:val>
            <c:numRef>
              <c:f>Sheet1!$B$2:$G$2</c:f>
              <c:numCache>
                <c:formatCode>General</c:formatCode>
                <c:ptCount val="6"/>
                <c:pt idx="0">
                  <c:v>20.399999999999999</c:v>
                </c:pt>
                <c:pt idx="1">
                  <c:v>27.4</c:v>
                </c:pt>
                <c:pt idx="2">
                  <c:v>90</c:v>
                </c:pt>
                <c:pt idx="3">
                  <c:v>20.399999999999999</c:v>
                </c:pt>
                <c:pt idx="4">
                  <c:v>40</c:v>
                </c:pt>
                <c:pt idx="5">
                  <c:v>55</c:v>
                </c:pt>
              </c:numCache>
            </c:numRef>
          </c:val>
          <c:extLst>
            <c:ext xmlns:c16="http://schemas.microsoft.com/office/drawing/2014/chart" uri="{C3380CC4-5D6E-409C-BE32-E72D297353CC}">
              <c16:uniqueId val="{0000000A-5C1F-47B6-B2F7-E25B25F668BB}"/>
            </c:ext>
          </c:extLst>
        </c:ser>
        <c:dLbls>
          <c:showLegendKey val="0"/>
          <c:showVal val="0"/>
          <c:showCatName val="0"/>
          <c:showSerName val="0"/>
          <c:showPercent val="0"/>
          <c:showBubbleSize val="0"/>
        </c:dLbls>
        <c:gapWidth val="275"/>
        <c:overlap val="100"/>
        <c:axId val="308165800"/>
        <c:axId val="308166192"/>
      </c:barChart>
      <c:lineChart>
        <c:grouping val="standard"/>
        <c:varyColors val="0"/>
        <c:ser>
          <c:idx val="1"/>
          <c:order val="1"/>
          <c:tx>
            <c:strRef>
              <c:f>Sheet1!$A$3</c:f>
              <c:strCache>
                <c:ptCount val="1"/>
                <c:pt idx="0">
                  <c:v>Group 2</c:v>
                </c:pt>
              </c:strCache>
            </c:strRef>
          </c:tx>
          <c:spPr>
            <a:ln w="19050">
              <a:solidFill>
                <a:schemeClr val="accent3"/>
              </a:solidFill>
              <a:prstDash val="solid"/>
            </a:ln>
          </c:spPr>
          <c:marker>
            <c:symbol val="circle"/>
            <c:size val="11"/>
            <c:spPr>
              <a:solidFill>
                <a:schemeClr val="accent3"/>
              </a:solidFill>
              <a:ln w="22225">
                <a:solidFill>
                  <a:schemeClr val="accent3"/>
                </a:solidFill>
              </a:ln>
            </c:spPr>
          </c:marker>
          <c:cat>
            <c:strRef>
              <c:f>Sheet1!$B$1:$G$1</c:f>
              <c:strCache>
                <c:ptCount val="6"/>
                <c:pt idx="0">
                  <c:v>Label A</c:v>
                </c:pt>
                <c:pt idx="1">
                  <c:v>Label B</c:v>
                </c:pt>
                <c:pt idx="2">
                  <c:v>Label C</c:v>
                </c:pt>
                <c:pt idx="3">
                  <c:v>Label D</c:v>
                </c:pt>
                <c:pt idx="4">
                  <c:v>Label E</c:v>
                </c:pt>
                <c:pt idx="5">
                  <c:v>Label F</c:v>
                </c:pt>
              </c:strCache>
            </c:strRef>
          </c:cat>
          <c:val>
            <c:numRef>
              <c:f>Sheet1!$B$3:$G$3</c:f>
              <c:numCache>
                <c:formatCode>General</c:formatCode>
                <c:ptCount val="6"/>
                <c:pt idx="0">
                  <c:v>5</c:v>
                </c:pt>
                <c:pt idx="1">
                  <c:v>3</c:v>
                </c:pt>
                <c:pt idx="2">
                  <c:v>6</c:v>
                </c:pt>
                <c:pt idx="3">
                  <c:v>9</c:v>
                </c:pt>
                <c:pt idx="4">
                  <c:v>10</c:v>
                </c:pt>
                <c:pt idx="5">
                  <c:v>3</c:v>
                </c:pt>
              </c:numCache>
            </c:numRef>
          </c:val>
          <c:smooth val="0"/>
          <c:extLst>
            <c:ext xmlns:c16="http://schemas.microsoft.com/office/drawing/2014/chart" uri="{C3380CC4-5D6E-409C-BE32-E72D297353CC}">
              <c16:uniqueId val="{0000000B-5C1F-47B6-B2F7-E25B25F668BB}"/>
            </c:ext>
          </c:extLst>
        </c:ser>
        <c:dLbls>
          <c:showLegendKey val="0"/>
          <c:showVal val="0"/>
          <c:showCatName val="0"/>
          <c:showSerName val="0"/>
          <c:showPercent val="0"/>
          <c:showBubbleSize val="0"/>
        </c:dLbls>
        <c:marker val="1"/>
        <c:smooth val="0"/>
        <c:axId val="548772544"/>
        <c:axId val="308165408"/>
      </c:lineChart>
      <c:catAx>
        <c:axId val="548772544"/>
        <c:scaling>
          <c:orientation val="minMax"/>
        </c:scaling>
        <c:delete val="0"/>
        <c:axPos val="b"/>
        <c:numFmt formatCode="General" sourceLinked="1"/>
        <c:majorTickMark val="none"/>
        <c:minorTickMark val="none"/>
        <c:tickLblPos val="nextTo"/>
        <c:spPr>
          <a:ln w="12645">
            <a:solidFill>
              <a:schemeClr val="tx2">
                <a:lumMod val="60000"/>
                <a:lumOff val="40000"/>
              </a:schemeClr>
            </a:solidFill>
            <a:prstDash val="solid"/>
          </a:ln>
        </c:spPr>
        <c:txPr>
          <a:bodyPr rot="0" vert="horz"/>
          <a:lstStyle/>
          <a:p>
            <a:pPr>
              <a:defRPr sz="1400" b="0">
                <a:solidFill>
                  <a:schemeClr val="tx2"/>
                </a:solidFill>
              </a:defRPr>
            </a:pPr>
            <a:endParaRPr lang="de-DE"/>
          </a:p>
        </c:txPr>
        <c:crossAx val="308165408"/>
        <c:crosses val="autoZero"/>
        <c:auto val="1"/>
        <c:lblAlgn val="ctr"/>
        <c:lblOffset val="100"/>
        <c:tickLblSkip val="1"/>
        <c:tickMarkSkip val="1"/>
        <c:noMultiLvlLbl val="0"/>
      </c:catAx>
      <c:valAx>
        <c:axId val="308165408"/>
        <c:scaling>
          <c:orientation val="minMax"/>
        </c:scaling>
        <c:delete val="0"/>
        <c:axPos val="r"/>
        <c:majorGridlines>
          <c:spPr>
            <a:ln>
              <a:solidFill>
                <a:schemeClr val="tx2">
                  <a:lumMod val="20000"/>
                  <a:lumOff val="80000"/>
                </a:schemeClr>
              </a:solidFill>
            </a:ln>
          </c:spPr>
        </c:majorGridlines>
        <c:numFmt formatCode="General" sourceLinked="1"/>
        <c:majorTickMark val="out"/>
        <c:minorTickMark val="none"/>
        <c:tickLblPos val="nextTo"/>
        <c:spPr>
          <a:ln w="12645">
            <a:noFill/>
            <a:prstDash val="solid"/>
          </a:ln>
        </c:spPr>
        <c:txPr>
          <a:bodyPr rot="0" vert="horz"/>
          <a:lstStyle/>
          <a:p>
            <a:pPr>
              <a:defRPr sz="1400" b="0">
                <a:solidFill>
                  <a:schemeClr val="tx2"/>
                </a:solidFill>
              </a:defRPr>
            </a:pPr>
            <a:endParaRPr lang="de-DE"/>
          </a:p>
        </c:txPr>
        <c:crossAx val="548772544"/>
        <c:crosses val="max"/>
        <c:crossBetween val="between"/>
      </c:valAx>
      <c:catAx>
        <c:axId val="308165800"/>
        <c:scaling>
          <c:orientation val="minMax"/>
        </c:scaling>
        <c:delete val="1"/>
        <c:axPos val="b"/>
        <c:numFmt formatCode="General" sourceLinked="1"/>
        <c:majorTickMark val="out"/>
        <c:minorTickMark val="none"/>
        <c:tickLblPos val="none"/>
        <c:crossAx val="308166192"/>
        <c:crosses val="autoZero"/>
        <c:auto val="1"/>
        <c:lblAlgn val="ctr"/>
        <c:lblOffset val="100"/>
        <c:noMultiLvlLbl val="0"/>
      </c:catAx>
      <c:valAx>
        <c:axId val="308166192"/>
        <c:scaling>
          <c:orientation val="minMax"/>
        </c:scaling>
        <c:delete val="0"/>
        <c:axPos val="r"/>
        <c:numFmt formatCode="General" sourceLinked="1"/>
        <c:majorTickMark val="none"/>
        <c:minorTickMark val="none"/>
        <c:tickLblPos val="none"/>
        <c:spPr>
          <a:ln w="9484">
            <a:noFill/>
          </a:ln>
        </c:spPr>
        <c:crossAx val="308165800"/>
        <c:crosses val="max"/>
        <c:crossBetween val="between"/>
      </c:valAx>
      <c:spPr>
        <a:noFill/>
        <a:ln w="25291">
          <a:noFill/>
        </a:ln>
      </c:spPr>
    </c:plotArea>
    <c:plotVisOnly val="1"/>
    <c:dispBlanksAs val="gap"/>
    <c:showDLblsOverMax val="0"/>
  </c:chart>
  <c:spPr>
    <a:noFill/>
    <a:ln>
      <a:noFill/>
    </a:ln>
  </c:spPr>
  <c:txPr>
    <a:bodyPr/>
    <a:lstStyle/>
    <a:p>
      <a:pPr>
        <a:defRPr sz="1800" b="1" i="0" u="none" strike="noStrike" baseline="0">
          <a:solidFill>
            <a:schemeClr val="tx1"/>
          </a:solidFill>
          <a:latin typeface="+mn-lt"/>
          <a:ea typeface="Arial"/>
          <a:cs typeface="Arial"/>
        </a:defRPr>
      </a:pPr>
      <a:endParaRPr lang="de-DE"/>
    </a:p>
  </c:txPr>
  <c:externalData r:id="rId1">
    <c:autoUpdate val="0"/>
  </c:externalData>
  <c:userShapes r:id="rId2"/>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8801604745673"/>
          <c:y val="6.1176513211922127E-2"/>
          <c:w val="0.85889190966036955"/>
          <c:h val="0.81647058823529417"/>
        </c:manualLayout>
      </c:layout>
      <c:barChart>
        <c:barDir val="col"/>
        <c:grouping val="clustered"/>
        <c:varyColors val="0"/>
        <c:ser>
          <c:idx val="0"/>
          <c:order val="1"/>
          <c:tx>
            <c:strRef>
              <c:f>Sheet1!$A$3</c:f>
              <c:strCache>
                <c:ptCount val="1"/>
                <c:pt idx="0">
                  <c:v>Group 1</c:v>
                </c:pt>
              </c:strCache>
            </c:strRef>
          </c:tx>
          <c:spPr>
            <a:solidFill>
              <a:schemeClr val="accent1"/>
            </a:solidFill>
            <a:ln w="25381">
              <a:noFill/>
            </a:ln>
          </c:spPr>
          <c:invertIfNegative val="0"/>
          <c:dLbls>
            <c:numFmt formatCode="0" sourceLinked="0"/>
            <c:spPr>
              <a:noFill/>
              <a:ln w="25381">
                <a:noFill/>
              </a:ln>
            </c:spPr>
            <c:txPr>
              <a:bodyPr/>
              <a:lstStyle/>
              <a:p>
                <a:pPr>
                  <a:defRPr sz="1800">
                    <a:solidFill>
                      <a:schemeClr val="accent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Label A</c:v>
                </c:pt>
                <c:pt idx="1">
                  <c:v>Label B</c:v>
                </c:pt>
                <c:pt idx="2">
                  <c:v>Label C</c:v>
                </c:pt>
                <c:pt idx="3">
                  <c:v>Label D</c:v>
                </c:pt>
                <c:pt idx="4">
                  <c:v>Label E</c:v>
                </c:pt>
                <c:pt idx="5">
                  <c:v>Label F</c:v>
                </c:pt>
              </c:strCache>
            </c:strRef>
          </c:cat>
          <c:val>
            <c:numRef>
              <c:f>Sheet1!$B$3:$G$3</c:f>
              <c:numCache>
                <c:formatCode>General</c:formatCode>
                <c:ptCount val="6"/>
                <c:pt idx="0">
                  <c:v>20.399999999999999</c:v>
                </c:pt>
                <c:pt idx="1">
                  <c:v>50</c:v>
                </c:pt>
                <c:pt idx="2">
                  <c:v>90</c:v>
                </c:pt>
                <c:pt idx="3">
                  <c:v>20.399999999999999</c:v>
                </c:pt>
                <c:pt idx="4">
                  <c:v>40</c:v>
                </c:pt>
                <c:pt idx="5">
                  <c:v>55</c:v>
                </c:pt>
              </c:numCache>
            </c:numRef>
          </c:val>
          <c:extLst>
            <c:ext xmlns:c16="http://schemas.microsoft.com/office/drawing/2014/chart" uri="{C3380CC4-5D6E-409C-BE32-E72D297353CC}">
              <c16:uniqueId val="{00000000-3D72-40DE-9927-6BAB7CFDDC4A}"/>
            </c:ext>
          </c:extLst>
        </c:ser>
        <c:ser>
          <c:idx val="2"/>
          <c:order val="2"/>
          <c:tx>
            <c:strRef>
              <c:f>Sheet1!$A$4</c:f>
              <c:strCache>
                <c:ptCount val="1"/>
                <c:pt idx="0">
                  <c:v>Group 2</c:v>
                </c:pt>
              </c:strCache>
            </c:strRef>
          </c:tx>
          <c:spPr>
            <a:solidFill>
              <a:schemeClr val="accent2"/>
            </a:solidFill>
            <a:ln w="25381">
              <a:noFill/>
            </a:ln>
          </c:spPr>
          <c:invertIfNegative val="0"/>
          <c:dLbls>
            <c:spPr>
              <a:noFill/>
              <a:ln w="25381">
                <a:noFill/>
              </a:ln>
            </c:spPr>
            <c:txPr>
              <a:bodyPr/>
              <a:lstStyle/>
              <a:p>
                <a:pPr>
                  <a:defRPr sz="1800">
                    <a:solidFill>
                      <a:schemeClr val="accent2"/>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Label A</c:v>
                </c:pt>
                <c:pt idx="1">
                  <c:v>Label B</c:v>
                </c:pt>
                <c:pt idx="2">
                  <c:v>Label C</c:v>
                </c:pt>
                <c:pt idx="3">
                  <c:v>Label D</c:v>
                </c:pt>
                <c:pt idx="4">
                  <c:v>Label E</c:v>
                </c:pt>
                <c:pt idx="5">
                  <c:v>Label F</c:v>
                </c:pt>
              </c:strCache>
            </c:strRef>
          </c:cat>
          <c:val>
            <c:numRef>
              <c:f>Sheet1!$B$4:$G$4</c:f>
              <c:numCache>
                <c:formatCode>General</c:formatCode>
                <c:ptCount val="6"/>
                <c:pt idx="0">
                  <c:v>-10</c:v>
                </c:pt>
                <c:pt idx="1">
                  <c:v>-15</c:v>
                </c:pt>
                <c:pt idx="2">
                  <c:v>-40</c:v>
                </c:pt>
                <c:pt idx="3">
                  <c:v>-10</c:v>
                </c:pt>
                <c:pt idx="4">
                  <c:v>-45</c:v>
                </c:pt>
                <c:pt idx="5">
                  <c:v>-50</c:v>
                </c:pt>
              </c:numCache>
            </c:numRef>
          </c:val>
          <c:extLst>
            <c:ext xmlns:c16="http://schemas.microsoft.com/office/drawing/2014/chart" uri="{C3380CC4-5D6E-409C-BE32-E72D297353CC}">
              <c16:uniqueId val="{00000001-3D72-40DE-9927-6BAB7CFDDC4A}"/>
            </c:ext>
          </c:extLst>
        </c:ser>
        <c:dLbls>
          <c:showLegendKey val="0"/>
          <c:showVal val="0"/>
          <c:showCatName val="0"/>
          <c:showSerName val="0"/>
          <c:showPercent val="0"/>
          <c:showBubbleSize val="0"/>
        </c:dLbls>
        <c:gapWidth val="100"/>
        <c:axId val="593346984"/>
        <c:axId val="593347376"/>
      </c:barChart>
      <c:lineChart>
        <c:grouping val="standard"/>
        <c:varyColors val="0"/>
        <c:ser>
          <c:idx val="4"/>
          <c:order val="0"/>
          <c:tx>
            <c:strRef>
              <c:f>Sheet1!$A$2</c:f>
              <c:strCache>
                <c:ptCount val="1"/>
                <c:pt idx="0">
                  <c:v>Line 1</c:v>
                </c:pt>
              </c:strCache>
            </c:strRef>
          </c:tx>
          <c:spPr>
            <a:ln w="19050">
              <a:solidFill>
                <a:schemeClr val="accent3"/>
              </a:solidFill>
              <a:prstDash val="solid"/>
            </a:ln>
          </c:spPr>
          <c:marker>
            <c:symbol val="circle"/>
            <c:size val="11"/>
            <c:spPr>
              <a:solidFill>
                <a:schemeClr val="accent3"/>
              </a:solidFill>
              <a:ln w="22225">
                <a:solidFill>
                  <a:schemeClr val="accent3"/>
                </a:solidFill>
                <a:prstDash val="solid"/>
              </a:ln>
            </c:spPr>
          </c:marker>
          <c:cat>
            <c:strRef>
              <c:f>Sheet1!$B$1:$G$1</c:f>
              <c:strCache>
                <c:ptCount val="6"/>
                <c:pt idx="0">
                  <c:v>Label A</c:v>
                </c:pt>
                <c:pt idx="1">
                  <c:v>Label B</c:v>
                </c:pt>
                <c:pt idx="2">
                  <c:v>Label C</c:v>
                </c:pt>
                <c:pt idx="3">
                  <c:v>Label D</c:v>
                </c:pt>
                <c:pt idx="4">
                  <c:v>Label E</c:v>
                </c:pt>
                <c:pt idx="5">
                  <c:v>Label F</c:v>
                </c:pt>
              </c:strCache>
            </c:strRef>
          </c:cat>
          <c:val>
            <c:numRef>
              <c:f>Sheet1!$B$2:$G$2</c:f>
              <c:numCache>
                <c:formatCode>General</c:formatCode>
                <c:ptCount val="6"/>
                <c:pt idx="0">
                  <c:v>6</c:v>
                </c:pt>
                <c:pt idx="1">
                  <c:v>8</c:v>
                </c:pt>
                <c:pt idx="2">
                  <c:v>-10</c:v>
                </c:pt>
                <c:pt idx="3">
                  <c:v>4</c:v>
                </c:pt>
                <c:pt idx="4">
                  <c:v>-8</c:v>
                </c:pt>
                <c:pt idx="5">
                  <c:v>12</c:v>
                </c:pt>
              </c:numCache>
            </c:numRef>
          </c:val>
          <c:smooth val="0"/>
          <c:extLst>
            <c:ext xmlns:c16="http://schemas.microsoft.com/office/drawing/2014/chart" uri="{C3380CC4-5D6E-409C-BE32-E72D297353CC}">
              <c16:uniqueId val="{00000002-3D72-40DE-9927-6BAB7CFDDC4A}"/>
            </c:ext>
          </c:extLst>
        </c:ser>
        <c:dLbls>
          <c:showLegendKey val="0"/>
          <c:showVal val="0"/>
          <c:showCatName val="0"/>
          <c:showSerName val="0"/>
          <c:showPercent val="0"/>
          <c:showBubbleSize val="0"/>
        </c:dLbls>
        <c:marker val="1"/>
        <c:smooth val="0"/>
        <c:axId val="308166976"/>
        <c:axId val="593346592"/>
      </c:lineChart>
      <c:catAx>
        <c:axId val="308166976"/>
        <c:scaling>
          <c:orientation val="minMax"/>
        </c:scaling>
        <c:delete val="0"/>
        <c:axPos val="b"/>
        <c:numFmt formatCode="General" sourceLinked="1"/>
        <c:majorTickMark val="none"/>
        <c:minorTickMark val="none"/>
        <c:tickLblPos val="low"/>
        <c:spPr>
          <a:ln w="12690">
            <a:solidFill>
              <a:schemeClr val="tx2">
                <a:lumMod val="60000"/>
                <a:lumOff val="40000"/>
              </a:schemeClr>
            </a:solidFill>
            <a:prstDash val="solid"/>
          </a:ln>
        </c:spPr>
        <c:txPr>
          <a:bodyPr rot="0" vert="horz"/>
          <a:lstStyle/>
          <a:p>
            <a:pPr>
              <a:defRPr sz="1400" b="0">
                <a:solidFill>
                  <a:schemeClr val="tx2"/>
                </a:solidFill>
              </a:defRPr>
            </a:pPr>
            <a:endParaRPr lang="de-DE"/>
          </a:p>
        </c:txPr>
        <c:crossAx val="593346592"/>
        <c:crosses val="autoZero"/>
        <c:auto val="1"/>
        <c:lblAlgn val="ctr"/>
        <c:lblOffset val="100"/>
        <c:tickLblSkip val="1"/>
        <c:tickMarkSkip val="1"/>
        <c:noMultiLvlLbl val="0"/>
      </c:catAx>
      <c:valAx>
        <c:axId val="593346592"/>
        <c:scaling>
          <c:orientation val="minMax"/>
          <c:max val="20"/>
          <c:min val="-15"/>
        </c:scaling>
        <c:delete val="0"/>
        <c:axPos val="r"/>
        <c:majorGridlines>
          <c:spPr>
            <a:ln>
              <a:solidFill>
                <a:schemeClr val="tx2">
                  <a:lumMod val="20000"/>
                  <a:lumOff val="80000"/>
                </a:schemeClr>
              </a:solidFill>
            </a:ln>
          </c:spPr>
        </c:majorGridlines>
        <c:numFmt formatCode="General" sourceLinked="1"/>
        <c:majorTickMark val="out"/>
        <c:minorTickMark val="none"/>
        <c:tickLblPos val="nextTo"/>
        <c:spPr>
          <a:ln w="3173">
            <a:noFill/>
            <a:prstDash val="solid"/>
          </a:ln>
        </c:spPr>
        <c:txPr>
          <a:bodyPr rot="0" vert="horz"/>
          <a:lstStyle/>
          <a:p>
            <a:pPr>
              <a:defRPr sz="1400" b="0">
                <a:solidFill>
                  <a:schemeClr val="tx2"/>
                </a:solidFill>
              </a:defRPr>
            </a:pPr>
            <a:endParaRPr lang="de-DE"/>
          </a:p>
        </c:txPr>
        <c:crossAx val="308166976"/>
        <c:crosses val="max"/>
        <c:crossBetween val="between"/>
      </c:valAx>
      <c:catAx>
        <c:axId val="593346984"/>
        <c:scaling>
          <c:orientation val="minMax"/>
        </c:scaling>
        <c:delete val="1"/>
        <c:axPos val="b"/>
        <c:numFmt formatCode="General" sourceLinked="1"/>
        <c:majorTickMark val="out"/>
        <c:minorTickMark val="none"/>
        <c:tickLblPos val="none"/>
        <c:crossAx val="593347376"/>
        <c:crosses val="autoZero"/>
        <c:auto val="1"/>
        <c:lblAlgn val="ctr"/>
        <c:lblOffset val="100"/>
        <c:noMultiLvlLbl val="0"/>
      </c:catAx>
      <c:valAx>
        <c:axId val="593347376"/>
        <c:scaling>
          <c:orientation val="minMax"/>
          <c:max val="100"/>
          <c:min val="-75"/>
        </c:scaling>
        <c:delete val="0"/>
        <c:axPos val="l"/>
        <c:numFmt formatCode="General" sourceLinked="1"/>
        <c:majorTickMark val="none"/>
        <c:minorTickMark val="none"/>
        <c:tickLblPos val="none"/>
        <c:spPr>
          <a:ln w="9518">
            <a:noFill/>
          </a:ln>
        </c:spPr>
        <c:crossAx val="593346984"/>
        <c:crosses val="autoZero"/>
        <c:crossBetween val="between"/>
      </c:valAx>
      <c:spPr>
        <a:noFill/>
        <a:ln w="25381">
          <a:noFill/>
        </a:ln>
      </c:spPr>
    </c:plotArea>
    <c:plotVisOnly val="1"/>
    <c:dispBlanksAs val="gap"/>
    <c:showDLblsOverMax val="0"/>
  </c:chart>
  <c:spPr>
    <a:noFill/>
    <a:ln>
      <a:noFill/>
    </a:ln>
  </c:spPr>
  <c:txPr>
    <a:bodyPr/>
    <a:lstStyle/>
    <a:p>
      <a:pPr>
        <a:defRPr sz="2000" b="1" i="0" u="none" strike="noStrike" baseline="0">
          <a:solidFill>
            <a:schemeClr val="tx1"/>
          </a:solidFill>
          <a:latin typeface="+mn-lt"/>
          <a:ea typeface="Arial"/>
          <a:cs typeface="Arial"/>
        </a:defRPr>
      </a:pPr>
      <a:endParaRPr lang="de-DE"/>
    </a:p>
  </c:txPr>
  <c:externalData r:id="rId1">
    <c:autoUpdate val="0"/>
  </c:externalData>
  <c:userShapes r:id="rId2"/>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954-46F9-B277-F556706C3F0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954-46F9-B277-F556706C3F0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954-46F9-B277-F556706C3F06}"/>
              </c:ext>
            </c:extLst>
          </c:dPt>
          <c:cat>
            <c:strRef>
              <c:f>Sheet1!$A$2:$A$4</c:f>
              <c:strCache>
                <c:ptCount val="3"/>
                <c:pt idx="0">
                  <c:v>1st Qtr</c:v>
                </c:pt>
                <c:pt idx="1">
                  <c:v>2nd Qtr</c:v>
                </c:pt>
                <c:pt idx="2">
                  <c:v>3rd Qtr</c:v>
                </c:pt>
              </c:strCache>
            </c:strRef>
          </c:cat>
          <c:val>
            <c:numRef>
              <c:f>Sheet1!$B$2:$B$4</c:f>
              <c:numCache>
                <c:formatCode>General</c:formatCode>
                <c:ptCount val="3"/>
                <c:pt idx="0">
                  <c:v>33.33</c:v>
                </c:pt>
                <c:pt idx="1">
                  <c:v>33.33</c:v>
                </c:pt>
                <c:pt idx="2">
                  <c:v>33.33</c:v>
                </c:pt>
              </c:numCache>
            </c:numRef>
          </c:val>
          <c:extLst>
            <c:ext xmlns:c16="http://schemas.microsoft.com/office/drawing/2014/chart" uri="{C3380CC4-5D6E-409C-BE32-E72D297353CC}">
              <c16:uniqueId val="{00000006-2954-46F9-B277-F556706C3F06}"/>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954-46F9-B277-F556706C3F0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954-46F9-B277-F556706C3F0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954-46F9-B277-F556706C3F06}"/>
              </c:ext>
            </c:extLst>
          </c:dPt>
          <c:cat>
            <c:strRef>
              <c:f>Sheet1!$A$2:$A$4</c:f>
              <c:strCache>
                <c:ptCount val="3"/>
                <c:pt idx="0">
                  <c:v>1st Qtr</c:v>
                </c:pt>
                <c:pt idx="1">
                  <c:v>2nd Qtr</c:v>
                </c:pt>
                <c:pt idx="2">
                  <c:v>3rd Qtr</c:v>
                </c:pt>
              </c:strCache>
            </c:strRef>
          </c:cat>
          <c:val>
            <c:numRef>
              <c:f>Sheet1!$B$2:$B$4</c:f>
              <c:numCache>
                <c:formatCode>General</c:formatCode>
                <c:ptCount val="3"/>
                <c:pt idx="0">
                  <c:v>33.33</c:v>
                </c:pt>
                <c:pt idx="1">
                  <c:v>33.33</c:v>
                </c:pt>
                <c:pt idx="2">
                  <c:v>33.33</c:v>
                </c:pt>
              </c:numCache>
            </c:numRef>
          </c:val>
          <c:extLst>
            <c:ext xmlns:c16="http://schemas.microsoft.com/office/drawing/2014/chart" uri="{C3380CC4-5D6E-409C-BE32-E72D297353CC}">
              <c16:uniqueId val="{00000006-2954-46F9-B277-F556706C3F06}"/>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637709862998416"/>
          <c:y val="0"/>
          <c:w val="0.31917836232975139"/>
          <c:h val="0.85558686661759242"/>
        </c:manualLayout>
      </c:layout>
      <c:pieChart>
        <c:varyColors val="1"/>
        <c:ser>
          <c:idx val="0"/>
          <c:order val="0"/>
          <c:tx>
            <c:strRef>
              <c:f>Sheet1!$A$2</c:f>
              <c:strCache>
                <c:ptCount val="1"/>
                <c:pt idx="0">
                  <c:v>Group 1</c:v>
                </c:pt>
              </c:strCache>
            </c:strRef>
          </c:tx>
          <c:dPt>
            <c:idx val="0"/>
            <c:bubble3D val="0"/>
            <c:spPr>
              <a:solidFill>
                <a:schemeClr val="accent1"/>
              </a:solidFill>
              <a:ln>
                <a:noFill/>
              </a:ln>
              <a:effectLst/>
            </c:spPr>
            <c:extLst>
              <c:ext xmlns:c16="http://schemas.microsoft.com/office/drawing/2014/chart" uri="{C3380CC4-5D6E-409C-BE32-E72D297353CC}">
                <c16:uniqueId val="{00000001-DDC3-4B11-83A9-D916B530AD0F}"/>
              </c:ext>
            </c:extLst>
          </c:dPt>
          <c:dPt>
            <c:idx val="1"/>
            <c:bubble3D val="0"/>
            <c:spPr>
              <a:solidFill>
                <a:schemeClr val="accent2"/>
              </a:solidFill>
              <a:ln>
                <a:noFill/>
              </a:ln>
              <a:effectLst/>
            </c:spPr>
            <c:extLst>
              <c:ext xmlns:c16="http://schemas.microsoft.com/office/drawing/2014/chart" uri="{C3380CC4-5D6E-409C-BE32-E72D297353CC}">
                <c16:uniqueId val="{00000003-DDC3-4B11-83A9-D916B530AD0F}"/>
              </c:ext>
            </c:extLst>
          </c:dPt>
          <c:dPt>
            <c:idx val="2"/>
            <c:bubble3D val="0"/>
            <c:spPr>
              <a:solidFill>
                <a:schemeClr val="accent3"/>
              </a:solidFill>
              <a:ln>
                <a:noFill/>
              </a:ln>
              <a:effectLst/>
            </c:spPr>
            <c:extLst>
              <c:ext xmlns:c16="http://schemas.microsoft.com/office/drawing/2014/chart" uri="{C3380CC4-5D6E-409C-BE32-E72D297353CC}">
                <c16:uniqueId val="{00000005-DDC3-4B11-83A9-D916B530AD0F}"/>
              </c:ext>
            </c:extLst>
          </c:dPt>
          <c:dPt>
            <c:idx val="3"/>
            <c:bubble3D val="0"/>
            <c:spPr>
              <a:solidFill>
                <a:schemeClr val="accent5"/>
              </a:solidFill>
              <a:ln>
                <a:noFill/>
              </a:ln>
              <a:effectLst/>
            </c:spPr>
            <c:extLst>
              <c:ext xmlns:c16="http://schemas.microsoft.com/office/drawing/2014/chart" uri="{C3380CC4-5D6E-409C-BE32-E72D297353CC}">
                <c16:uniqueId val="{00000007-DDC3-4B11-83A9-D916B530AD0F}"/>
              </c:ext>
            </c:extLst>
          </c:dPt>
          <c:dLbls>
            <c:dLbl>
              <c:idx val="0"/>
              <c:layout>
                <c:manualLayout>
                  <c:x val="-0.1172312096938553"/>
                  <c:y val="-8.858929524960143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DDC3-4B11-83A9-D916B530AD0F}"/>
                </c:ext>
              </c:extLst>
            </c:dLbl>
            <c:dLbl>
              <c:idx val="3"/>
              <c:layout>
                <c:manualLayout>
                  <c:x val="4.3681405602763693E-2"/>
                  <c:y val="6.7413357502974003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DDC3-4B11-83A9-D916B530AD0F}"/>
                </c:ext>
              </c:extLst>
            </c:dLbl>
            <c:numFmt formatCode="0%" sourceLinked="0"/>
            <c:spPr>
              <a:noFill/>
              <a:ln>
                <a:noFill/>
              </a:ln>
              <a:effectLst/>
            </c:spPr>
            <c:txPr>
              <a:bodyPr rot="0" spcFirstLastPara="1" vertOverflow="ellipsis" vert="horz" wrap="square" anchor="ctr" anchorCtr="1"/>
              <a:lstStyle/>
              <a:p>
                <a:pPr>
                  <a:lnSpc>
                    <a:spcPct val="90000"/>
                  </a:lnSpc>
                  <a:defRPr sz="1800" b="1" i="0" u="none" strike="noStrike" kern="1200" baseline="0">
                    <a:solidFill>
                      <a:schemeClr val="bg1"/>
                    </a:solidFill>
                    <a:latin typeface="+mn-lt"/>
                    <a:ea typeface="+mn-ea"/>
                    <a:cs typeface="+mn-cs"/>
                  </a:defRPr>
                </a:pPr>
                <a:endParaRPr lang="de-DE"/>
              </a:p>
            </c:txPr>
            <c:dLblPos val="inEnd"/>
            <c:showLegendKey val="0"/>
            <c:showVal val="0"/>
            <c:showCatName val="1"/>
            <c:showSerName val="0"/>
            <c:showPercent val="1"/>
            <c:showBubbleSize val="0"/>
            <c:showLeaderLines val="0"/>
            <c:extLst>
              <c:ext xmlns:c15="http://schemas.microsoft.com/office/drawing/2012/chart" uri="{CE6537A1-D6FC-4f65-9D91-7224C49458BB}"/>
            </c:extLst>
          </c:dLbls>
          <c:cat>
            <c:strRef>
              <c:f>Sheet1!$B$1:$E$1</c:f>
              <c:strCache>
                <c:ptCount val="4"/>
                <c:pt idx="0">
                  <c:v>Label A</c:v>
                </c:pt>
                <c:pt idx="1">
                  <c:v>Label B</c:v>
                </c:pt>
                <c:pt idx="2">
                  <c:v>Label C</c:v>
                </c:pt>
                <c:pt idx="3">
                  <c:v>Other</c:v>
                </c:pt>
              </c:strCache>
            </c:strRef>
          </c:cat>
          <c:val>
            <c:numRef>
              <c:f>Sheet1!$B$2:$E$2</c:f>
              <c:numCache>
                <c:formatCode>s\t\a\nd\a\rd</c:formatCode>
                <c:ptCount val="4"/>
                <c:pt idx="0">
                  <c:v>90</c:v>
                </c:pt>
                <c:pt idx="1">
                  <c:v>27.4</c:v>
                </c:pt>
                <c:pt idx="2">
                  <c:v>20.399999999999999</c:v>
                </c:pt>
                <c:pt idx="3">
                  <c:v>15</c:v>
                </c:pt>
              </c:numCache>
            </c:numRef>
          </c:val>
          <c:extLst>
            <c:ext xmlns:c16="http://schemas.microsoft.com/office/drawing/2014/chart" uri="{C3380CC4-5D6E-409C-BE32-E72D297353CC}">
              <c16:uniqueId val="{00000008-DDC3-4B11-83A9-D916B530AD0F}"/>
            </c:ext>
          </c:extLst>
        </c:ser>
        <c:ser>
          <c:idx val="1"/>
          <c:order val="1"/>
          <c:tx>
            <c:strRef>
              <c:f>Sheet1!$A$6</c:f>
              <c:strCache>
                <c:ptCount val="1"/>
                <c:pt idx="0">
                  <c:v>3</c:v>
                </c:pt>
              </c:strCache>
            </c:strRef>
          </c:tx>
          <c:dPt>
            <c:idx val="0"/>
            <c:bubble3D val="0"/>
            <c:spPr>
              <a:solidFill>
                <a:schemeClr val="accent1"/>
              </a:solidFill>
              <a:ln>
                <a:noFill/>
              </a:ln>
              <a:effectLst/>
            </c:spPr>
            <c:extLst>
              <c:ext xmlns:c16="http://schemas.microsoft.com/office/drawing/2014/chart" uri="{C3380CC4-5D6E-409C-BE32-E72D297353CC}">
                <c16:uniqueId val="{00000009-A4A6-224D-9E7E-E57CFA93DA2C}"/>
              </c:ext>
            </c:extLst>
          </c:dPt>
          <c:dPt>
            <c:idx val="1"/>
            <c:bubble3D val="0"/>
            <c:spPr>
              <a:solidFill>
                <a:schemeClr val="accent2"/>
              </a:solidFill>
              <a:ln>
                <a:noFill/>
              </a:ln>
              <a:effectLst/>
            </c:spPr>
            <c:extLst>
              <c:ext xmlns:c16="http://schemas.microsoft.com/office/drawing/2014/chart" uri="{C3380CC4-5D6E-409C-BE32-E72D297353CC}">
                <c16:uniqueId val="{0000000B-A4A6-224D-9E7E-E57CFA93DA2C}"/>
              </c:ext>
            </c:extLst>
          </c:dPt>
          <c:dPt>
            <c:idx val="2"/>
            <c:bubble3D val="0"/>
            <c:spPr>
              <a:solidFill>
                <a:schemeClr val="accent3"/>
              </a:solidFill>
              <a:ln>
                <a:noFill/>
              </a:ln>
              <a:effectLst/>
            </c:spPr>
            <c:extLst>
              <c:ext xmlns:c16="http://schemas.microsoft.com/office/drawing/2014/chart" uri="{C3380CC4-5D6E-409C-BE32-E72D297353CC}">
                <c16:uniqueId val="{0000000D-A4A6-224D-9E7E-E57CFA93DA2C}"/>
              </c:ext>
            </c:extLst>
          </c:dPt>
          <c:dPt>
            <c:idx val="3"/>
            <c:bubble3D val="0"/>
            <c:spPr>
              <a:solidFill>
                <a:schemeClr val="accent4"/>
              </a:solidFill>
              <a:ln>
                <a:noFill/>
              </a:ln>
              <a:effectLst/>
            </c:spPr>
            <c:extLst>
              <c:ext xmlns:c16="http://schemas.microsoft.com/office/drawing/2014/chart" uri="{C3380CC4-5D6E-409C-BE32-E72D297353CC}">
                <c16:uniqueId val="{0000000F-A4A6-224D-9E7E-E57CFA93DA2C}"/>
              </c:ext>
            </c:extLst>
          </c:dPt>
          <c:cat>
            <c:strRef>
              <c:f>Sheet1!$B$1:$E$1</c:f>
              <c:strCache>
                <c:ptCount val="4"/>
                <c:pt idx="0">
                  <c:v>Label A</c:v>
                </c:pt>
                <c:pt idx="1">
                  <c:v>Label B</c:v>
                </c:pt>
                <c:pt idx="2">
                  <c:v>Label C</c:v>
                </c:pt>
                <c:pt idx="3">
                  <c:v>Other</c:v>
                </c:pt>
              </c:strCache>
            </c:strRef>
          </c:cat>
          <c:val>
            <c:numRef>
              <c:f>Sheet1!$B$6:$E$6</c:f>
              <c:numCache>
                <c:formatCode>General</c:formatCode>
                <c:ptCount val="4"/>
                <c:pt idx="0" formatCode="s\t\a\nd\a\rd">
                  <c:v>0</c:v>
                </c:pt>
              </c:numCache>
            </c:numRef>
          </c:val>
          <c:extLst>
            <c:ext xmlns:c16="http://schemas.microsoft.com/office/drawing/2014/chart" uri="{C3380CC4-5D6E-409C-BE32-E72D297353CC}">
              <c16:uniqueId val="{00000009-DDC3-4B11-83A9-D916B530AD0F}"/>
            </c:ext>
          </c:extLst>
        </c:ser>
        <c:dLbls>
          <c:showLegendKey val="0"/>
          <c:showVal val="0"/>
          <c:showCatName val="0"/>
          <c:showSerName val="0"/>
          <c:showPercent val="0"/>
          <c:showBubbleSize val="0"/>
          <c:showLeaderLines val="0"/>
        </c:dLbls>
        <c:firstSliceAng val="36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400">
          <a:solidFill>
            <a:schemeClr val="bg1"/>
          </a:solidFill>
        </a:defRPr>
      </a:pPr>
      <a:endParaRPr lang="de-DE"/>
    </a:p>
  </c:txPr>
  <c:externalData r:id="rId1">
    <c:autoUpdate val="0"/>
  </c:externalData>
  <c:userShapes r:id="rId2"/>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380086738189214"/>
          <c:y val="1.0424285360885091E-3"/>
          <c:w val="0.41991772711959263"/>
          <c:h val="0.99895757146391151"/>
        </c:manualLayout>
      </c:layout>
      <c:doughnutChart>
        <c:varyColors val="1"/>
        <c:ser>
          <c:idx val="0"/>
          <c:order val="0"/>
          <c:tx>
            <c:strRef>
              <c:f>Sheet1!$A$2</c:f>
              <c:strCache>
                <c:ptCount val="1"/>
                <c:pt idx="0">
                  <c:v>Group 1</c:v>
                </c:pt>
              </c:strCache>
            </c:strRef>
          </c:tx>
          <c:dPt>
            <c:idx val="0"/>
            <c:bubble3D val="0"/>
            <c:spPr>
              <a:solidFill>
                <a:schemeClr val="accent1"/>
              </a:solidFill>
              <a:ln>
                <a:noFill/>
              </a:ln>
              <a:effectLst/>
            </c:spPr>
            <c:extLst>
              <c:ext xmlns:c16="http://schemas.microsoft.com/office/drawing/2014/chart" uri="{C3380CC4-5D6E-409C-BE32-E72D297353CC}">
                <c16:uniqueId val="{00000001-6CB4-469E-A48C-E8EDAC39A96D}"/>
              </c:ext>
            </c:extLst>
          </c:dPt>
          <c:dPt>
            <c:idx val="1"/>
            <c:bubble3D val="0"/>
            <c:spPr>
              <a:solidFill>
                <a:schemeClr val="accent2"/>
              </a:solidFill>
              <a:ln>
                <a:noFill/>
              </a:ln>
              <a:effectLst/>
            </c:spPr>
            <c:extLst>
              <c:ext xmlns:c16="http://schemas.microsoft.com/office/drawing/2014/chart" uri="{C3380CC4-5D6E-409C-BE32-E72D297353CC}">
                <c16:uniqueId val="{00000003-6CB4-469E-A48C-E8EDAC39A96D}"/>
              </c:ext>
            </c:extLst>
          </c:dPt>
          <c:dPt>
            <c:idx val="2"/>
            <c:bubble3D val="0"/>
            <c:spPr>
              <a:solidFill>
                <a:schemeClr val="accent3"/>
              </a:solidFill>
              <a:ln>
                <a:noFill/>
              </a:ln>
              <a:effectLst/>
            </c:spPr>
            <c:extLst>
              <c:ext xmlns:c16="http://schemas.microsoft.com/office/drawing/2014/chart" uri="{C3380CC4-5D6E-409C-BE32-E72D297353CC}">
                <c16:uniqueId val="{00000005-6CB4-469E-A48C-E8EDAC39A96D}"/>
              </c:ext>
            </c:extLst>
          </c:dPt>
          <c:dPt>
            <c:idx val="3"/>
            <c:bubble3D val="0"/>
            <c:spPr>
              <a:solidFill>
                <a:schemeClr val="accent5"/>
              </a:solidFill>
              <a:ln>
                <a:noFill/>
              </a:ln>
              <a:effectLst/>
            </c:spPr>
            <c:extLst>
              <c:ext xmlns:c16="http://schemas.microsoft.com/office/drawing/2014/chart" uri="{C3380CC4-5D6E-409C-BE32-E72D297353CC}">
                <c16:uniqueId val="{00000007-6CB4-469E-A48C-E8EDAC39A96D}"/>
              </c:ext>
            </c:extLst>
          </c:dPt>
          <c:dLbls>
            <c:dLbl>
              <c:idx val="0"/>
              <c:layout>
                <c:manualLayout>
                  <c:x val="5.2346624026732083E-3"/>
                  <c:y val="-0.11089897887883546"/>
                </c:manualLayout>
              </c:layout>
              <c:showLegendKey val="0"/>
              <c:showVal val="0"/>
              <c:showCatName val="0"/>
              <c:showSerName val="0"/>
              <c:showPercent val="1"/>
              <c:showBubbleSize val="0"/>
              <c:extLst>
                <c:ext xmlns:c15="http://schemas.microsoft.com/office/drawing/2012/chart" uri="{CE6537A1-D6FC-4f65-9D91-7224C49458BB}">
                  <c15:layout>
                    <c:manualLayout>
                      <c:w val="4.6365977057347595E-2"/>
                      <c:h val="5.9396313184054979E-2"/>
                    </c:manualLayout>
                  </c15:layout>
                </c:ext>
                <c:ext xmlns:c16="http://schemas.microsoft.com/office/drawing/2014/chart" uri="{C3380CC4-5D6E-409C-BE32-E72D297353CC}">
                  <c16:uniqueId val="{00000001-6CB4-469E-A48C-E8EDAC39A96D}"/>
                </c:ext>
              </c:extLst>
            </c:dLbl>
            <c:dLbl>
              <c:idx val="1"/>
              <c:layout>
                <c:manualLayout>
                  <c:x val="-4.0453724658958936E-17"/>
                  <c:y val="2.6246713735772337E-3"/>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6CB4-469E-A48C-E8EDAC39A96D}"/>
                </c:ext>
              </c:extLst>
            </c:dLbl>
            <c:dLbl>
              <c:idx val="2"/>
              <c:layout>
                <c:manualLayout>
                  <c:x val="0"/>
                  <c:y val="0"/>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6CB4-469E-A48C-E8EDAC39A96D}"/>
                </c:ext>
              </c:extLst>
            </c:dLbl>
            <c:dLbl>
              <c:idx val="3"/>
              <c:layout>
                <c:manualLayout>
                  <c:x val="1.7561520922404227E-3"/>
                  <c:y val="1.7965565551580889E-3"/>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6CB4-469E-A48C-E8EDAC39A96D}"/>
                </c:ext>
              </c:extLst>
            </c:dLbl>
            <c:spPr>
              <a:noFill/>
              <a:ln>
                <a:noFill/>
              </a:ln>
              <a:effectLst/>
            </c:spPr>
            <c:txPr>
              <a:bodyPr rot="0" spcFirstLastPara="1" vertOverflow="ellipsis" vert="horz" wrap="square" anchor="ctr" anchorCtr="1"/>
              <a:lstStyle/>
              <a:p>
                <a:pPr>
                  <a:lnSpc>
                    <a:spcPct val="90000"/>
                  </a:lnSpc>
                  <a:defRPr sz="1600" b="1" i="0" u="none" strike="noStrike" kern="1200" baseline="0">
                    <a:solidFill>
                      <a:schemeClr val="bg1"/>
                    </a:solidFill>
                    <a:latin typeface="+mn-lt"/>
                    <a:ea typeface="+mn-ea"/>
                    <a:cs typeface="+mn-cs"/>
                  </a:defRPr>
                </a:pPr>
                <a:endParaRPr lang="de-DE"/>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B$1:$E$1</c:f>
              <c:strCache>
                <c:ptCount val="4"/>
                <c:pt idx="0">
                  <c:v>Label A</c:v>
                </c:pt>
                <c:pt idx="1">
                  <c:v>Label B</c:v>
                </c:pt>
                <c:pt idx="2">
                  <c:v>Label C</c:v>
                </c:pt>
                <c:pt idx="3">
                  <c:v>Other</c:v>
                </c:pt>
              </c:strCache>
            </c:strRef>
          </c:cat>
          <c:val>
            <c:numRef>
              <c:f>Sheet1!$B$2:$E$2</c:f>
              <c:numCache>
                <c:formatCode>s\t\a\nd\a\rd</c:formatCode>
                <c:ptCount val="4"/>
                <c:pt idx="0">
                  <c:v>90</c:v>
                </c:pt>
                <c:pt idx="1">
                  <c:v>27.4</c:v>
                </c:pt>
                <c:pt idx="2">
                  <c:v>20.399999999999999</c:v>
                </c:pt>
                <c:pt idx="3">
                  <c:v>15</c:v>
                </c:pt>
              </c:numCache>
            </c:numRef>
          </c:val>
          <c:extLst>
            <c:ext xmlns:c16="http://schemas.microsoft.com/office/drawing/2014/chart" uri="{C3380CC4-5D6E-409C-BE32-E72D297353CC}">
              <c16:uniqueId val="{00000008-6CB4-469E-A48C-E8EDAC39A96D}"/>
            </c:ext>
          </c:extLst>
        </c:ser>
        <c:ser>
          <c:idx val="1"/>
          <c:order val="1"/>
          <c:tx>
            <c:strRef>
              <c:f>Sheet1!$A$6</c:f>
              <c:strCache>
                <c:ptCount val="1"/>
                <c:pt idx="0">
                  <c:v>3</c:v>
                </c:pt>
              </c:strCache>
            </c:strRef>
          </c:tx>
          <c:dPt>
            <c:idx val="0"/>
            <c:bubble3D val="0"/>
            <c:spPr>
              <a:solidFill>
                <a:schemeClr val="accent1"/>
              </a:solidFill>
              <a:ln>
                <a:noFill/>
              </a:ln>
              <a:effectLst/>
            </c:spPr>
            <c:extLst>
              <c:ext xmlns:c16="http://schemas.microsoft.com/office/drawing/2014/chart" uri="{C3380CC4-5D6E-409C-BE32-E72D297353CC}">
                <c16:uniqueId val="{00000009-6F85-BF46-9D93-BF65609A0165}"/>
              </c:ext>
            </c:extLst>
          </c:dPt>
          <c:dPt>
            <c:idx val="1"/>
            <c:bubble3D val="0"/>
            <c:spPr>
              <a:solidFill>
                <a:schemeClr val="accent2"/>
              </a:solidFill>
              <a:ln>
                <a:noFill/>
              </a:ln>
              <a:effectLst/>
            </c:spPr>
            <c:extLst>
              <c:ext xmlns:c16="http://schemas.microsoft.com/office/drawing/2014/chart" uri="{C3380CC4-5D6E-409C-BE32-E72D297353CC}">
                <c16:uniqueId val="{0000000B-6F85-BF46-9D93-BF65609A0165}"/>
              </c:ext>
            </c:extLst>
          </c:dPt>
          <c:dPt>
            <c:idx val="2"/>
            <c:bubble3D val="0"/>
            <c:spPr>
              <a:solidFill>
                <a:schemeClr val="accent3"/>
              </a:solidFill>
              <a:ln>
                <a:noFill/>
              </a:ln>
              <a:effectLst/>
            </c:spPr>
            <c:extLst>
              <c:ext xmlns:c16="http://schemas.microsoft.com/office/drawing/2014/chart" uri="{C3380CC4-5D6E-409C-BE32-E72D297353CC}">
                <c16:uniqueId val="{0000000D-6F85-BF46-9D93-BF65609A0165}"/>
              </c:ext>
            </c:extLst>
          </c:dPt>
          <c:dPt>
            <c:idx val="3"/>
            <c:bubble3D val="0"/>
            <c:spPr>
              <a:solidFill>
                <a:schemeClr val="accent4"/>
              </a:solidFill>
              <a:ln>
                <a:noFill/>
              </a:ln>
              <a:effectLst/>
            </c:spPr>
            <c:extLst>
              <c:ext xmlns:c16="http://schemas.microsoft.com/office/drawing/2014/chart" uri="{C3380CC4-5D6E-409C-BE32-E72D297353CC}">
                <c16:uniqueId val="{0000000F-6F85-BF46-9D93-BF65609A0165}"/>
              </c:ext>
            </c:extLst>
          </c:dPt>
          <c:cat>
            <c:strRef>
              <c:f>Sheet1!$B$1:$E$1</c:f>
              <c:strCache>
                <c:ptCount val="4"/>
                <c:pt idx="0">
                  <c:v>Label A</c:v>
                </c:pt>
                <c:pt idx="1">
                  <c:v>Label B</c:v>
                </c:pt>
                <c:pt idx="2">
                  <c:v>Label C</c:v>
                </c:pt>
                <c:pt idx="3">
                  <c:v>Other</c:v>
                </c:pt>
              </c:strCache>
            </c:strRef>
          </c:cat>
          <c:val>
            <c:numRef>
              <c:f>Sheet1!$B$6:$E$6</c:f>
              <c:numCache>
                <c:formatCode>General</c:formatCode>
                <c:ptCount val="4"/>
                <c:pt idx="0" formatCode="s\t\a\nd\a\rd">
                  <c:v>0</c:v>
                </c:pt>
              </c:numCache>
            </c:numRef>
          </c:val>
          <c:extLst>
            <c:ext xmlns:c16="http://schemas.microsoft.com/office/drawing/2014/chart" uri="{C3380CC4-5D6E-409C-BE32-E72D297353CC}">
              <c16:uniqueId val="{00000009-6CB4-469E-A48C-E8EDAC39A96D}"/>
            </c:ext>
          </c:extLst>
        </c:ser>
        <c:dLbls>
          <c:showLegendKey val="0"/>
          <c:showVal val="0"/>
          <c:showCatName val="0"/>
          <c:showSerName val="0"/>
          <c:showPercent val="0"/>
          <c:showBubbleSize val="0"/>
          <c:showLeaderLines val="0"/>
        </c:dLbls>
        <c:firstSliceAng val="360"/>
        <c:holeSize val="50"/>
      </c:doughnut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400">
          <a:solidFill>
            <a:schemeClr val="bg1"/>
          </a:solidFill>
        </a:defRPr>
      </a:pPr>
      <a:endParaRPr lang="de-DE"/>
    </a:p>
  </c:txPr>
  <c:externalData r:id="rId1">
    <c:autoUpdate val="0"/>
  </c:externalData>
  <c:userShapes r:id="rId2"/>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977847089082897E-4"/>
          <c:y val="4.5845272206303717E-2"/>
          <c:w val="0.99915022152910915"/>
          <c:h val="0.92889083850591103"/>
        </c:manualLayout>
      </c:layout>
      <c:pieChart>
        <c:varyColors val="1"/>
        <c:ser>
          <c:idx val="0"/>
          <c:order val="0"/>
          <c:tx>
            <c:strRef>
              <c:f>Sheet1!$A$2</c:f>
              <c:strCache>
                <c:ptCount val="1"/>
                <c:pt idx="0">
                  <c:v>Group 1</c:v>
                </c:pt>
              </c:strCache>
            </c:strRef>
          </c:tx>
          <c:dPt>
            <c:idx val="0"/>
            <c:bubble3D val="0"/>
            <c:spPr>
              <a:solidFill>
                <a:schemeClr val="accent1"/>
              </a:solidFill>
              <a:ln>
                <a:noFill/>
              </a:ln>
              <a:effectLst/>
            </c:spPr>
            <c:extLst>
              <c:ext xmlns:c16="http://schemas.microsoft.com/office/drawing/2014/chart" uri="{C3380CC4-5D6E-409C-BE32-E72D297353CC}">
                <c16:uniqueId val="{00000001-5195-A04B-9C45-292227F9AC4B}"/>
              </c:ext>
            </c:extLst>
          </c:dPt>
          <c:dPt>
            <c:idx val="1"/>
            <c:bubble3D val="0"/>
            <c:spPr>
              <a:solidFill>
                <a:schemeClr val="accent2"/>
              </a:solidFill>
              <a:ln>
                <a:noFill/>
              </a:ln>
              <a:effectLst/>
            </c:spPr>
            <c:extLst>
              <c:ext xmlns:c16="http://schemas.microsoft.com/office/drawing/2014/chart" uri="{C3380CC4-5D6E-409C-BE32-E72D297353CC}">
                <c16:uniqueId val="{00000001-BDAF-4FD7-AE55-DA4B8B64050E}"/>
              </c:ext>
            </c:extLst>
          </c:dPt>
          <c:dPt>
            <c:idx val="2"/>
            <c:bubble3D val="0"/>
            <c:spPr>
              <a:solidFill>
                <a:schemeClr val="accent3"/>
              </a:solidFill>
              <a:ln>
                <a:noFill/>
              </a:ln>
              <a:effectLst/>
            </c:spPr>
            <c:extLst>
              <c:ext xmlns:c16="http://schemas.microsoft.com/office/drawing/2014/chart" uri="{C3380CC4-5D6E-409C-BE32-E72D297353CC}">
                <c16:uniqueId val="{00000003-BDAF-4FD7-AE55-DA4B8B64050E}"/>
              </c:ext>
            </c:extLst>
          </c:dPt>
          <c:cat>
            <c:strRef>
              <c:f>Sheet1!$B$1:$D$1</c:f>
              <c:strCache>
                <c:ptCount val="3"/>
                <c:pt idx="0">
                  <c:v>Label A</c:v>
                </c:pt>
                <c:pt idx="1">
                  <c:v>Label B</c:v>
                </c:pt>
                <c:pt idx="2">
                  <c:v>Label C</c:v>
                </c:pt>
              </c:strCache>
            </c:strRef>
          </c:cat>
          <c:val>
            <c:numRef>
              <c:f>Sheet1!$B$2:$D$2</c:f>
              <c:numCache>
                <c:formatCode>s\t\a\nd\a\rd</c:formatCode>
                <c:ptCount val="3"/>
                <c:pt idx="0">
                  <c:v>30</c:v>
                </c:pt>
                <c:pt idx="1">
                  <c:v>20</c:v>
                </c:pt>
                <c:pt idx="2">
                  <c:v>10</c:v>
                </c:pt>
              </c:numCache>
            </c:numRef>
          </c:val>
          <c:extLst>
            <c:ext xmlns:c16="http://schemas.microsoft.com/office/drawing/2014/chart" uri="{C3380CC4-5D6E-409C-BE32-E72D297353CC}">
              <c16:uniqueId val="{00000004-BDAF-4FD7-AE55-DA4B8B64050E}"/>
            </c:ext>
          </c:extLst>
        </c:ser>
        <c:ser>
          <c:idx val="1"/>
          <c:order val="1"/>
          <c:tx>
            <c:strRef>
              <c:f>Sheet1!$A$3</c:f>
              <c:strCache>
                <c:ptCount val="1"/>
              </c:strCache>
            </c:strRef>
          </c:tx>
          <c:dPt>
            <c:idx val="0"/>
            <c:bubble3D val="0"/>
            <c:spPr>
              <a:solidFill>
                <a:schemeClr val="accent1"/>
              </a:solidFill>
              <a:ln>
                <a:noFill/>
              </a:ln>
              <a:effectLst/>
            </c:spPr>
            <c:extLst>
              <c:ext xmlns:c16="http://schemas.microsoft.com/office/drawing/2014/chart" uri="{C3380CC4-5D6E-409C-BE32-E72D297353CC}">
                <c16:uniqueId val="{00000007-5195-A04B-9C45-292227F9AC4B}"/>
              </c:ext>
            </c:extLst>
          </c:dPt>
          <c:dPt>
            <c:idx val="1"/>
            <c:bubble3D val="0"/>
            <c:spPr>
              <a:solidFill>
                <a:schemeClr val="accent2"/>
              </a:solidFill>
              <a:ln>
                <a:noFill/>
              </a:ln>
              <a:effectLst/>
            </c:spPr>
            <c:extLst>
              <c:ext xmlns:c16="http://schemas.microsoft.com/office/drawing/2014/chart" uri="{C3380CC4-5D6E-409C-BE32-E72D297353CC}">
                <c16:uniqueId val="{00000009-5195-A04B-9C45-292227F9AC4B}"/>
              </c:ext>
            </c:extLst>
          </c:dPt>
          <c:dPt>
            <c:idx val="2"/>
            <c:bubble3D val="0"/>
            <c:spPr>
              <a:solidFill>
                <a:schemeClr val="accent3"/>
              </a:solidFill>
              <a:ln>
                <a:noFill/>
              </a:ln>
              <a:effectLst/>
            </c:spPr>
            <c:extLst>
              <c:ext xmlns:c16="http://schemas.microsoft.com/office/drawing/2014/chart" uri="{C3380CC4-5D6E-409C-BE32-E72D297353CC}">
                <c16:uniqueId val="{0000000B-5195-A04B-9C45-292227F9AC4B}"/>
              </c:ext>
            </c:extLst>
          </c:dPt>
          <c:cat>
            <c:strRef>
              <c:f>Sheet1!$B$1:$D$1</c:f>
              <c:strCache>
                <c:ptCount val="3"/>
                <c:pt idx="0">
                  <c:v>Label A</c:v>
                </c:pt>
                <c:pt idx="1">
                  <c:v>Label B</c:v>
                </c:pt>
                <c:pt idx="2">
                  <c:v>Label C</c:v>
                </c:pt>
              </c:strCache>
            </c:strRef>
          </c:cat>
          <c:val>
            <c:numRef>
              <c:f>Sheet1!$B$3:$D$3</c:f>
              <c:numCache>
                <c:formatCode>General</c:formatCode>
                <c:ptCount val="3"/>
              </c:numCache>
            </c:numRef>
          </c:val>
          <c:extLst>
            <c:ext xmlns:c16="http://schemas.microsoft.com/office/drawing/2014/chart" uri="{C3380CC4-5D6E-409C-BE32-E72D297353CC}">
              <c16:uniqueId val="{00000005-BDAF-4FD7-AE55-DA4B8B64050E}"/>
            </c:ext>
          </c:extLst>
        </c:ser>
        <c:dLbls>
          <c:showLegendKey val="0"/>
          <c:showVal val="0"/>
          <c:showCatName val="0"/>
          <c:showSerName val="0"/>
          <c:showPercent val="0"/>
          <c:showBubbleSize val="0"/>
          <c:showLeaderLines val="0"/>
        </c:dLbls>
        <c:firstSliceAng val="18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800"/>
      </a:pPr>
      <a:endParaRPr lang="de-DE"/>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977847089082897E-4"/>
          <c:y val="4.5845272206303717E-2"/>
          <c:w val="0.99915022152910915"/>
          <c:h val="0.92889083850591103"/>
        </c:manualLayout>
      </c:layout>
      <c:pieChart>
        <c:varyColors val="1"/>
        <c:ser>
          <c:idx val="0"/>
          <c:order val="0"/>
          <c:tx>
            <c:strRef>
              <c:f>Sheet1!$A$2</c:f>
              <c:strCache>
                <c:ptCount val="1"/>
                <c:pt idx="0">
                  <c:v>Group 1</c:v>
                </c:pt>
              </c:strCache>
            </c:strRef>
          </c:tx>
          <c:dPt>
            <c:idx val="0"/>
            <c:bubble3D val="0"/>
            <c:spPr>
              <a:solidFill>
                <a:schemeClr val="accent1"/>
              </a:solidFill>
              <a:ln>
                <a:noFill/>
              </a:ln>
              <a:effectLst/>
            </c:spPr>
            <c:extLst>
              <c:ext xmlns:c16="http://schemas.microsoft.com/office/drawing/2014/chart" uri="{C3380CC4-5D6E-409C-BE32-E72D297353CC}">
                <c16:uniqueId val="{00000001-00EB-1444-A79A-438D5D100C4E}"/>
              </c:ext>
            </c:extLst>
          </c:dPt>
          <c:dPt>
            <c:idx val="1"/>
            <c:bubble3D val="0"/>
            <c:spPr>
              <a:solidFill>
                <a:schemeClr val="accent2"/>
              </a:solidFill>
              <a:ln>
                <a:noFill/>
              </a:ln>
              <a:effectLst/>
            </c:spPr>
            <c:extLst>
              <c:ext xmlns:c16="http://schemas.microsoft.com/office/drawing/2014/chart" uri="{C3380CC4-5D6E-409C-BE32-E72D297353CC}">
                <c16:uniqueId val="{00000001-3365-483C-8914-40F1CE8972AE}"/>
              </c:ext>
            </c:extLst>
          </c:dPt>
          <c:dPt>
            <c:idx val="2"/>
            <c:bubble3D val="0"/>
            <c:spPr>
              <a:solidFill>
                <a:schemeClr val="accent3"/>
              </a:solidFill>
              <a:ln>
                <a:noFill/>
              </a:ln>
              <a:effectLst/>
            </c:spPr>
            <c:extLst>
              <c:ext xmlns:c16="http://schemas.microsoft.com/office/drawing/2014/chart" uri="{C3380CC4-5D6E-409C-BE32-E72D297353CC}">
                <c16:uniqueId val="{00000003-3365-483C-8914-40F1CE8972AE}"/>
              </c:ext>
            </c:extLst>
          </c:dPt>
          <c:cat>
            <c:strRef>
              <c:f>Sheet1!$B$1:$D$1</c:f>
              <c:strCache>
                <c:ptCount val="3"/>
                <c:pt idx="0">
                  <c:v>Label A</c:v>
                </c:pt>
                <c:pt idx="1">
                  <c:v>Label B</c:v>
                </c:pt>
                <c:pt idx="2">
                  <c:v>Label C</c:v>
                </c:pt>
              </c:strCache>
            </c:strRef>
          </c:cat>
          <c:val>
            <c:numRef>
              <c:f>Sheet1!$B$2:$D$2</c:f>
              <c:numCache>
                <c:formatCode>General</c:formatCode>
                <c:ptCount val="3"/>
                <c:pt idx="0">
                  <c:v>40</c:v>
                </c:pt>
                <c:pt idx="1">
                  <c:v>35</c:v>
                </c:pt>
                <c:pt idx="2">
                  <c:v>20</c:v>
                </c:pt>
              </c:numCache>
            </c:numRef>
          </c:val>
          <c:extLst>
            <c:ext xmlns:c16="http://schemas.microsoft.com/office/drawing/2014/chart" uri="{C3380CC4-5D6E-409C-BE32-E72D297353CC}">
              <c16:uniqueId val="{00000004-3365-483C-8914-40F1CE8972AE}"/>
            </c:ext>
          </c:extLst>
        </c:ser>
        <c:ser>
          <c:idx val="1"/>
          <c:order val="1"/>
          <c:tx>
            <c:strRef>
              <c:f>Sheet1!$A$3</c:f>
              <c:strCache>
                <c:ptCount val="1"/>
              </c:strCache>
            </c:strRef>
          </c:tx>
          <c:dPt>
            <c:idx val="0"/>
            <c:bubble3D val="0"/>
            <c:spPr>
              <a:solidFill>
                <a:schemeClr val="accent1"/>
              </a:solidFill>
              <a:ln>
                <a:noFill/>
              </a:ln>
              <a:effectLst/>
            </c:spPr>
            <c:extLst>
              <c:ext xmlns:c16="http://schemas.microsoft.com/office/drawing/2014/chart" uri="{C3380CC4-5D6E-409C-BE32-E72D297353CC}">
                <c16:uniqueId val="{00000007-00EB-1444-A79A-438D5D100C4E}"/>
              </c:ext>
            </c:extLst>
          </c:dPt>
          <c:dPt>
            <c:idx val="1"/>
            <c:bubble3D val="0"/>
            <c:spPr>
              <a:solidFill>
                <a:schemeClr val="accent2"/>
              </a:solidFill>
              <a:ln>
                <a:noFill/>
              </a:ln>
              <a:effectLst/>
            </c:spPr>
            <c:extLst>
              <c:ext xmlns:c16="http://schemas.microsoft.com/office/drawing/2014/chart" uri="{C3380CC4-5D6E-409C-BE32-E72D297353CC}">
                <c16:uniqueId val="{00000009-00EB-1444-A79A-438D5D100C4E}"/>
              </c:ext>
            </c:extLst>
          </c:dPt>
          <c:dPt>
            <c:idx val="2"/>
            <c:bubble3D val="0"/>
            <c:spPr>
              <a:solidFill>
                <a:schemeClr val="accent3"/>
              </a:solidFill>
              <a:ln>
                <a:noFill/>
              </a:ln>
              <a:effectLst/>
            </c:spPr>
            <c:extLst>
              <c:ext xmlns:c16="http://schemas.microsoft.com/office/drawing/2014/chart" uri="{C3380CC4-5D6E-409C-BE32-E72D297353CC}">
                <c16:uniqueId val="{0000000B-00EB-1444-A79A-438D5D100C4E}"/>
              </c:ext>
            </c:extLst>
          </c:dPt>
          <c:cat>
            <c:strRef>
              <c:f>Sheet1!$B$1:$D$1</c:f>
              <c:strCache>
                <c:ptCount val="3"/>
                <c:pt idx="0">
                  <c:v>Label A</c:v>
                </c:pt>
                <c:pt idx="1">
                  <c:v>Label B</c:v>
                </c:pt>
                <c:pt idx="2">
                  <c:v>Label C</c:v>
                </c:pt>
              </c:strCache>
            </c:strRef>
          </c:cat>
          <c:val>
            <c:numRef>
              <c:f>Sheet1!$B$3:$D$3</c:f>
              <c:numCache>
                <c:formatCode>General</c:formatCode>
                <c:ptCount val="3"/>
              </c:numCache>
            </c:numRef>
          </c:val>
          <c:extLst>
            <c:ext xmlns:c16="http://schemas.microsoft.com/office/drawing/2014/chart" uri="{C3380CC4-5D6E-409C-BE32-E72D297353CC}">
              <c16:uniqueId val="{00000005-3365-483C-8914-40F1CE8972AE}"/>
            </c:ext>
          </c:extLst>
        </c:ser>
        <c:dLbls>
          <c:showLegendKey val="0"/>
          <c:showVal val="0"/>
          <c:showCatName val="0"/>
          <c:showSerName val="0"/>
          <c:showPercent val="0"/>
          <c:showBubbleSize val="0"/>
          <c:showLeaderLines val="0"/>
        </c:dLbls>
        <c:firstSliceAng val="208"/>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800"/>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09838107098406"/>
          <c:y val="3.133159268929514E-2"/>
          <c:w val="0.87671232876712257"/>
          <c:h val="0.94255874673629247"/>
        </c:manualLayout>
      </c:layout>
      <c:barChart>
        <c:barDir val="bar"/>
        <c:grouping val="stacked"/>
        <c:varyColors val="0"/>
        <c:ser>
          <c:idx val="0"/>
          <c:order val="0"/>
          <c:tx>
            <c:strRef>
              <c:f>Sheet1!$A$2</c:f>
              <c:strCache>
                <c:ptCount val="1"/>
              </c:strCache>
            </c:strRef>
          </c:tx>
          <c:spPr>
            <a:solidFill>
              <a:schemeClr val="accent3"/>
            </a:solidFill>
            <a:ln w="3187">
              <a:noFill/>
              <a:prstDash val="solid"/>
            </a:ln>
          </c:spPr>
          <c:invertIfNegative val="0"/>
          <c:dLbls>
            <c:spPr>
              <a:noFill/>
              <a:ln w="25499">
                <a:noFill/>
              </a:ln>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E$1</c:f>
              <c:numCache>
                <c:formatCode>General</c:formatCode>
                <c:ptCount val="4"/>
              </c:numCache>
            </c:numRef>
          </c:cat>
          <c:val>
            <c:numRef>
              <c:f>Sheet1!$B$2:$E$2</c:f>
              <c:numCache>
                <c:formatCode>General</c:formatCode>
                <c:ptCount val="4"/>
                <c:pt idx="0">
                  <c:v>1</c:v>
                </c:pt>
                <c:pt idx="1">
                  <c:v>3</c:v>
                </c:pt>
                <c:pt idx="2">
                  <c:v>2</c:v>
                </c:pt>
                <c:pt idx="3">
                  <c:v>4</c:v>
                </c:pt>
              </c:numCache>
            </c:numRef>
          </c:val>
          <c:extLst>
            <c:ext xmlns:c16="http://schemas.microsoft.com/office/drawing/2014/chart" uri="{C3380CC4-5D6E-409C-BE32-E72D297353CC}">
              <c16:uniqueId val="{00000000-2713-4177-8C7B-A76AD16643B4}"/>
            </c:ext>
          </c:extLst>
        </c:ser>
        <c:ser>
          <c:idx val="1"/>
          <c:order val="1"/>
          <c:tx>
            <c:strRef>
              <c:f>Sheet1!$A$3</c:f>
              <c:strCache>
                <c:ptCount val="1"/>
              </c:strCache>
            </c:strRef>
          </c:tx>
          <c:spPr>
            <a:solidFill>
              <a:schemeClr val="accent1"/>
            </a:solidFill>
            <a:ln w="25499">
              <a:noFill/>
            </a:ln>
          </c:spPr>
          <c:invertIfNegative val="0"/>
          <c:dLbls>
            <c:spPr>
              <a:noFill/>
              <a:ln w="25499">
                <a:noFill/>
              </a:ln>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E$1</c:f>
              <c:numCache>
                <c:formatCode>General</c:formatCode>
                <c:ptCount val="4"/>
              </c:numCache>
            </c:numRef>
          </c:cat>
          <c:val>
            <c:numRef>
              <c:f>Sheet1!$B$3:$E$3</c:f>
              <c:numCache>
                <c:formatCode>General</c:formatCode>
                <c:ptCount val="4"/>
                <c:pt idx="0">
                  <c:v>-2</c:v>
                </c:pt>
                <c:pt idx="1">
                  <c:v>-1</c:v>
                </c:pt>
                <c:pt idx="2">
                  <c:v>-3</c:v>
                </c:pt>
                <c:pt idx="3">
                  <c:v>-2</c:v>
                </c:pt>
              </c:numCache>
            </c:numRef>
          </c:val>
          <c:extLst>
            <c:ext xmlns:c16="http://schemas.microsoft.com/office/drawing/2014/chart" uri="{C3380CC4-5D6E-409C-BE32-E72D297353CC}">
              <c16:uniqueId val="{00000001-2713-4177-8C7B-A76AD16643B4}"/>
            </c:ext>
          </c:extLst>
        </c:ser>
        <c:dLbls>
          <c:showLegendKey val="0"/>
          <c:showVal val="0"/>
          <c:showCatName val="0"/>
          <c:showSerName val="0"/>
          <c:showPercent val="0"/>
          <c:showBubbleSize val="0"/>
        </c:dLbls>
        <c:gapWidth val="106"/>
        <c:overlap val="100"/>
        <c:axId val="309145928"/>
        <c:axId val="309146320"/>
      </c:barChart>
      <c:catAx>
        <c:axId val="309145928"/>
        <c:scaling>
          <c:orientation val="minMax"/>
        </c:scaling>
        <c:delete val="0"/>
        <c:axPos val="l"/>
        <c:numFmt formatCode="General" sourceLinked="1"/>
        <c:majorTickMark val="none"/>
        <c:minorTickMark val="none"/>
        <c:tickLblPos val="nextTo"/>
        <c:spPr>
          <a:ln w="12749">
            <a:solidFill>
              <a:schemeClr val="tx2">
                <a:lumMod val="60000"/>
                <a:lumOff val="40000"/>
              </a:schemeClr>
            </a:solidFill>
            <a:prstDash val="solid"/>
          </a:ln>
        </c:spPr>
        <c:txPr>
          <a:bodyPr rot="0" vert="horz"/>
          <a:lstStyle/>
          <a:p>
            <a:pPr>
              <a:defRPr/>
            </a:pPr>
            <a:endParaRPr lang="de-DE"/>
          </a:p>
        </c:txPr>
        <c:crossAx val="309146320"/>
        <c:crosses val="autoZero"/>
        <c:auto val="1"/>
        <c:lblAlgn val="ctr"/>
        <c:lblOffset val="100"/>
        <c:tickLblSkip val="1"/>
        <c:tickMarkSkip val="1"/>
        <c:noMultiLvlLbl val="0"/>
      </c:catAx>
      <c:valAx>
        <c:axId val="309146320"/>
        <c:scaling>
          <c:orientation val="minMax"/>
        </c:scaling>
        <c:delete val="1"/>
        <c:axPos val="b"/>
        <c:numFmt formatCode="General" sourceLinked="1"/>
        <c:majorTickMark val="out"/>
        <c:minorTickMark val="none"/>
        <c:tickLblPos val="none"/>
        <c:crossAx val="309145928"/>
        <c:crosses val="autoZero"/>
        <c:crossBetween val="between"/>
      </c:valAx>
      <c:spPr>
        <a:noFill/>
        <a:ln w="25499">
          <a:noFill/>
        </a:ln>
      </c:spPr>
    </c:plotArea>
    <c:plotVisOnly val="1"/>
    <c:dispBlanksAs val="gap"/>
    <c:showDLblsOverMax val="0"/>
  </c:chart>
  <c:spPr>
    <a:noFill/>
    <a:ln>
      <a:noFill/>
    </a:ln>
  </c:spPr>
  <c:txPr>
    <a:bodyPr/>
    <a:lstStyle/>
    <a:p>
      <a:pPr>
        <a:defRPr sz="1800" b="1" i="0" u="none" strike="noStrike" baseline="0">
          <a:solidFill>
            <a:schemeClr val="bg1"/>
          </a:solidFill>
          <a:latin typeface="+mn-lt"/>
          <a:ea typeface="Arial"/>
          <a:cs typeface="Arial"/>
        </a:defRPr>
      </a:pPr>
      <a:endParaRPr lang="de-DE"/>
    </a:p>
  </c:txPr>
  <c:externalData r:id="rId1">
    <c:autoUpdate val="0"/>
  </c:externalData>
  <c:userShapes r:id="rId2"/>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977847089082897E-4"/>
          <c:y val="4.5845272206303717E-2"/>
          <c:w val="0.99915022152910915"/>
          <c:h val="0.92889083850591103"/>
        </c:manualLayout>
      </c:layout>
      <c:doughnutChart>
        <c:varyColors val="1"/>
        <c:ser>
          <c:idx val="0"/>
          <c:order val="0"/>
          <c:tx>
            <c:strRef>
              <c:f>Sheet1!$A$2</c:f>
              <c:strCache>
                <c:ptCount val="1"/>
                <c:pt idx="0">
                  <c:v>Group 1</c:v>
                </c:pt>
              </c:strCache>
            </c:strRef>
          </c:tx>
          <c:dPt>
            <c:idx val="0"/>
            <c:bubble3D val="0"/>
            <c:spPr>
              <a:solidFill>
                <a:schemeClr val="accent1"/>
              </a:solidFill>
              <a:ln>
                <a:noFill/>
              </a:ln>
              <a:effectLst/>
            </c:spPr>
            <c:extLst>
              <c:ext xmlns:c16="http://schemas.microsoft.com/office/drawing/2014/chart" uri="{C3380CC4-5D6E-409C-BE32-E72D297353CC}">
                <c16:uniqueId val="{00000001-49F8-E644-8EDE-8F60098D2ED2}"/>
              </c:ext>
            </c:extLst>
          </c:dPt>
          <c:dPt>
            <c:idx val="1"/>
            <c:bubble3D val="0"/>
            <c:spPr>
              <a:solidFill>
                <a:schemeClr val="accent2"/>
              </a:solidFill>
              <a:ln>
                <a:noFill/>
              </a:ln>
              <a:effectLst/>
            </c:spPr>
            <c:extLst>
              <c:ext xmlns:c16="http://schemas.microsoft.com/office/drawing/2014/chart" uri="{C3380CC4-5D6E-409C-BE32-E72D297353CC}">
                <c16:uniqueId val="{00000001-1D32-41B1-AA21-CBE18364AA44}"/>
              </c:ext>
            </c:extLst>
          </c:dPt>
          <c:dPt>
            <c:idx val="2"/>
            <c:bubble3D val="0"/>
            <c:spPr>
              <a:solidFill>
                <a:schemeClr val="accent3"/>
              </a:solidFill>
              <a:ln>
                <a:noFill/>
              </a:ln>
              <a:effectLst/>
            </c:spPr>
            <c:extLst>
              <c:ext xmlns:c16="http://schemas.microsoft.com/office/drawing/2014/chart" uri="{C3380CC4-5D6E-409C-BE32-E72D297353CC}">
                <c16:uniqueId val="{00000003-1D32-41B1-AA21-CBE18364AA44}"/>
              </c:ext>
            </c:extLst>
          </c:dPt>
          <c:cat>
            <c:strRef>
              <c:f>Sheet1!$B$1:$D$1</c:f>
              <c:strCache>
                <c:ptCount val="3"/>
                <c:pt idx="0">
                  <c:v>Label A</c:v>
                </c:pt>
                <c:pt idx="1">
                  <c:v>Label B</c:v>
                </c:pt>
                <c:pt idx="2">
                  <c:v>Label C</c:v>
                </c:pt>
              </c:strCache>
            </c:strRef>
          </c:cat>
          <c:val>
            <c:numRef>
              <c:f>Sheet1!$B$2:$D$2</c:f>
              <c:numCache>
                <c:formatCode>s\t\a\nd\a\rd</c:formatCode>
                <c:ptCount val="3"/>
                <c:pt idx="0">
                  <c:v>30</c:v>
                </c:pt>
                <c:pt idx="1">
                  <c:v>20</c:v>
                </c:pt>
                <c:pt idx="2">
                  <c:v>10</c:v>
                </c:pt>
              </c:numCache>
            </c:numRef>
          </c:val>
          <c:extLst>
            <c:ext xmlns:c16="http://schemas.microsoft.com/office/drawing/2014/chart" uri="{C3380CC4-5D6E-409C-BE32-E72D297353CC}">
              <c16:uniqueId val="{00000004-1D32-41B1-AA21-CBE18364AA44}"/>
            </c:ext>
          </c:extLst>
        </c:ser>
        <c:ser>
          <c:idx val="1"/>
          <c:order val="1"/>
          <c:tx>
            <c:strRef>
              <c:f>Sheet1!$A$3</c:f>
              <c:strCache>
                <c:ptCount val="1"/>
              </c:strCache>
            </c:strRef>
          </c:tx>
          <c:dPt>
            <c:idx val="0"/>
            <c:bubble3D val="0"/>
            <c:spPr>
              <a:solidFill>
                <a:schemeClr val="accent1"/>
              </a:solidFill>
              <a:ln>
                <a:noFill/>
              </a:ln>
              <a:effectLst/>
            </c:spPr>
            <c:extLst>
              <c:ext xmlns:c16="http://schemas.microsoft.com/office/drawing/2014/chart" uri="{C3380CC4-5D6E-409C-BE32-E72D297353CC}">
                <c16:uniqueId val="{00000007-49F8-E644-8EDE-8F60098D2ED2}"/>
              </c:ext>
            </c:extLst>
          </c:dPt>
          <c:dPt>
            <c:idx val="1"/>
            <c:bubble3D val="0"/>
            <c:spPr>
              <a:solidFill>
                <a:schemeClr val="accent2"/>
              </a:solidFill>
              <a:ln>
                <a:noFill/>
              </a:ln>
              <a:effectLst/>
            </c:spPr>
            <c:extLst>
              <c:ext xmlns:c16="http://schemas.microsoft.com/office/drawing/2014/chart" uri="{C3380CC4-5D6E-409C-BE32-E72D297353CC}">
                <c16:uniqueId val="{00000009-49F8-E644-8EDE-8F60098D2ED2}"/>
              </c:ext>
            </c:extLst>
          </c:dPt>
          <c:dPt>
            <c:idx val="2"/>
            <c:bubble3D val="0"/>
            <c:spPr>
              <a:solidFill>
                <a:schemeClr val="accent3"/>
              </a:solidFill>
              <a:ln>
                <a:noFill/>
              </a:ln>
              <a:effectLst/>
            </c:spPr>
            <c:extLst>
              <c:ext xmlns:c16="http://schemas.microsoft.com/office/drawing/2014/chart" uri="{C3380CC4-5D6E-409C-BE32-E72D297353CC}">
                <c16:uniqueId val="{0000000B-49F8-E644-8EDE-8F60098D2ED2}"/>
              </c:ext>
            </c:extLst>
          </c:dPt>
          <c:cat>
            <c:strRef>
              <c:f>Sheet1!$B$1:$D$1</c:f>
              <c:strCache>
                <c:ptCount val="3"/>
                <c:pt idx="0">
                  <c:v>Label A</c:v>
                </c:pt>
                <c:pt idx="1">
                  <c:v>Label B</c:v>
                </c:pt>
                <c:pt idx="2">
                  <c:v>Label C</c:v>
                </c:pt>
              </c:strCache>
            </c:strRef>
          </c:cat>
          <c:val>
            <c:numRef>
              <c:f>Sheet1!$B$3:$D$3</c:f>
              <c:numCache>
                <c:formatCode>General</c:formatCode>
                <c:ptCount val="3"/>
              </c:numCache>
            </c:numRef>
          </c:val>
          <c:extLst>
            <c:ext xmlns:c16="http://schemas.microsoft.com/office/drawing/2014/chart" uri="{C3380CC4-5D6E-409C-BE32-E72D297353CC}">
              <c16:uniqueId val="{00000005-1D32-41B1-AA21-CBE18364AA44}"/>
            </c:ext>
          </c:extLst>
        </c:ser>
        <c:dLbls>
          <c:showLegendKey val="0"/>
          <c:showVal val="0"/>
          <c:showCatName val="0"/>
          <c:showSerName val="0"/>
          <c:showPercent val="0"/>
          <c:showBubbleSize val="0"/>
          <c:showLeaderLines val="0"/>
        </c:dLbls>
        <c:firstSliceAng val="180"/>
        <c:holeSize val="50"/>
      </c:doughnut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800"/>
      </a:pPr>
      <a:endParaRPr lang="de-DE"/>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977847089082897E-4"/>
          <c:y val="4.5845272206303717E-2"/>
          <c:w val="0.99915022152910915"/>
          <c:h val="0.92889083850591103"/>
        </c:manualLayout>
      </c:layout>
      <c:doughnutChart>
        <c:varyColors val="1"/>
        <c:ser>
          <c:idx val="0"/>
          <c:order val="0"/>
          <c:tx>
            <c:strRef>
              <c:f>Sheet1!$A$2</c:f>
              <c:strCache>
                <c:ptCount val="1"/>
                <c:pt idx="0">
                  <c:v>Group 1</c:v>
                </c:pt>
              </c:strCache>
            </c:strRef>
          </c:tx>
          <c:dPt>
            <c:idx val="0"/>
            <c:bubble3D val="0"/>
            <c:spPr>
              <a:solidFill>
                <a:schemeClr val="accent1"/>
              </a:solidFill>
              <a:ln>
                <a:noFill/>
              </a:ln>
              <a:effectLst/>
            </c:spPr>
            <c:extLst>
              <c:ext xmlns:c16="http://schemas.microsoft.com/office/drawing/2014/chart" uri="{C3380CC4-5D6E-409C-BE32-E72D297353CC}">
                <c16:uniqueId val="{00000001-89D3-CD48-85BF-E9ABE7A549C2}"/>
              </c:ext>
            </c:extLst>
          </c:dPt>
          <c:dPt>
            <c:idx val="1"/>
            <c:bubble3D val="0"/>
            <c:spPr>
              <a:solidFill>
                <a:schemeClr val="accent2"/>
              </a:solidFill>
              <a:ln>
                <a:noFill/>
              </a:ln>
              <a:effectLst/>
            </c:spPr>
            <c:extLst>
              <c:ext xmlns:c16="http://schemas.microsoft.com/office/drawing/2014/chart" uri="{C3380CC4-5D6E-409C-BE32-E72D297353CC}">
                <c16:uniqueId val="{00000001-87E3-4D36-81EA-5C4E175AF2D5}"/>
              </c:ext>
            </c:extLst>
          </c:dPt>
          <c:dPt>
            <c:idx val="2"/>
            <c:bubble3D val="0"/>
            <c:spPr>
              <a:solidFill>
                <a:schemeClr val="accent3"/>
              </a:solidFill>
              <a:ln>
                <a:noFill/>
              </a:ln>
              <a:effectLst/>
            </c:spPr>
            <c:extLst>
              <c:ext xmlns:c16="http://schemas.microsoft.com/office/drawing/2014/chart" uri="{C3380CC4-5D6E-409C-BE32-E72D297353CC}">
                <c16:uniqueId val="{00000003-87E3-4D36-81EA-5C4E175AF2D5}"/>
              </c:ext>
            </c:extLst>
          </c:dPt>
          <c:cat>
            <c:strRef>
              <c:f>Sheet1!$B$1:$D$1</c:f>
              <c:strCache>
                <c:ptCount val="3"/>
                <c:pt idx="0">
                  <c:v>Label A</c:v>
                </c:pt>
                <c:pt idx="1">
                  <c:v>Label B</c:v>
                </c:pt>
                <c:pt idx="2">
                  <c:v>Label C</c:v>
                </c:pt>
              </c:strCache>
            </c:strRef>
          </c:cat>
          <c:val>
            <c:numRef>
              <c:f>Sheet1!$B$2:$D$2</c:f>
              <c:numCache>
                <c:formatCode>General</c:formatCode>
                <c:ptCount val="3"/>
                <c:pt idx="0">
                  <c:v>40</c:v>
                </c:pt>
                <c:pt idx="1">
                  <c:v>35</c:v>
                </c:pt>
                <c:pt idx="2">
                  <c:v>20</c:v>
                </c:pt>
              </c:numCache>
            </c:numRef>
          </c:val>
          <c:extLst>
            <c:ext xmlns:c16="http://schemas.microsoft.com/office/drawing/2014/chart" uri="{C3380CC4-5D6E-409C-BE32-E72D297353CC}">
              <c16:uniqueId val="{00000004-87E3-4D36-81EA-5C4E175AF2D5}"/>
            </c:ext>
          </c:extLst>
        </c:ser>
        <c:ser>
          <c:idx val="1"/>
          <c:order val="1"/>
          <c:tx>
            <c:strRef>
              <c:f>Sheet1!$A$3</c:f>
              <c:strCache>
                <c:ptCount val="1"/>
              </c:strCache>
            </c:strRef>
          </c:tx>
          <c:dPt>
            <c:idx val="0"/>
            <c:bubble3D val="0"/>
            <c:spPr>
              <a:solidFill>
                <a:schemeClr val="accent1"/>
              </a:solidFill>
              <a:ln>
                <a:noFill/>
              </a:ln>
              <a:effectLst/>
            </c:spPr>
            <c:extLst>
              <c:ext xmlns:c16="http://schemas.microsoft.com/office/drawing/2014/chart" uri="{C3380CC4-5D6E-409C-BE32-E72D297353CC}">
                <c16:uniqueId val="{00000007-89D3-CD48-85BF-E9ABE7A549C2}"/>
              </c:ext>
            </c:extLst>
          </c:dPt>
          <c:dPt>
            <c:idx val="1"/>
            <c:bubble3D val="0"/>
            <c:spPr>
              <a:solidFill>
                <a:schemeClr val="accent2"/>
              </a:solidFill>
              <a:ln>
                <a:noFill/>
              </a:ln>
              <a:effectLst/>
            </c:spPr>
            <c:extLst>
              <c:ext xmlns:c16="http://schemas.microsoft.com/office/drawing/2014/chart" uri="{C3380CC4-5D6E-409C-BE32-E72D297353CC}">
                <c16:uniqueId val="{00000009-89D3-CD48-85BF-E9ABE7A549C2}"/>
              </c:ext>
            </c:extLst>
          </c:dPt>
          <c:dPt>
            <c:idx val="2"/>
            <c:bubble3D val="0"/>
            <c:spPr>
              <a:solidFill>
                <a:schemeClr val="accent3"/>
              </a:solidFill>
              <a:ln>
                <a:noFill/>
              </a:ln>
              <a:effectLst/>
            </c:spPr>
            <c:extLst>
              <c:ext xmlns:c16="http://schemas.microsoft.com/office/drawing/2014/chart" uri="{C3380CC4-5D6E-409C-BE32-E72D297353CC}">
                <c16:uniqueId val="{0000000B-89D3-CD48-85BF-E9ABE7A549C2}"/>
              </c:ext>
            </c:extLst>
          </c:dPt>
          <c:cat>
            <c:strRef>
              <c:f>Sheet1!$B$1:$D$1</c:f>
              <c:strCache>
                <c:ptCount val="3"/>
                <c:pt idx="0">
                  <c:v>Label A</c:v>
                </c:pt>
                <c:pt idx="1">
                  <c:v>Label B</c:v>
                </c:pt>
                <c:pt idx="2">
                  <c:v>Label C</c:v>
                </c:pt>
              </c:strCache>
            </c:strRef>
          </c:cat>
          <c:val>
            <c:numRef>
              <c:f>Sheet1!$B$3:$D$3</c:f>
              <c:numCache>
                <c:formatCode>General</c:formatCode>
                <c:ptCount val="3"/>
              </c:numCache>
            </c:numRef>
          </c:val>
          <c:extLst>
            <c:ext xmlns:c16="http://schemas.microsoft.com/office/drawing/2014/chart" uri="{C3380CC4-5D6E-409C-BE32-E72D297353CC}">
              <c16:uniqueId val="{00000005-87E3-4D36-81EA-5C4E175AF2D5}"/>
            </c:ext>
          </c:extLst>
        </c:ser>
        <c:dLbls>
          <c:showLegendKey val="0"/>
          <c:showVal val="0"/>
          <c:showCatName val="0"/>
          <c:showSerName val="0"/>
          <c:showPercent val="0"/>
          <c:showBubbleSize val="0"/>
          <c:showLeaderLines val="0"/>
        </c:dLbls>
        <c:firstSliceAng val="208"/>
        <c:holeSize val="50"/>
      </c:doughnut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800"/>
      </a:pPr>
      <a:endParaRPr lang="de-DE"/>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098884350413111E-3"/>
          <c:y val="7.5879363945252859E-4"/>
          <c:w val="0.97848850513102203"/>
          <c:h val="0.9952479945563617"/>
        </c:manualLayout>
      </c:layout>
      <c:ofPieChart>
        <c:ofPieType val="bar"/>
        <c:varyColors val="1"/>
        <c:ser>
          <c:idx val="0"/>
          <c:order val="0"/>
          <c:tx>
            <c:strRef>
              <c:f>Sheet1!$A$2</c:f>
              <c:strCache>
                <c:ptCount val="1"/>
                <c:pt idx="0">
                  <c:v>Group 1</c:v>
                </c:pt>
              </c:strCache>
            </c:strRef>
          </c:tx>
          <c:dPt>
            <c:idx val="0"/>
            <c:bubble3D val="0"/>
            <c:spPr>
              <a:solidFill>
                <a:schemeClr val="accent2"/>
              </a:solidFill>
              <a:ln>
                <a:noFill/>
              </a:ln>
              <a:effectLst/>
            </c:spPr>
            <c:extLst>
              <c:ext xmlns:c16="http://schemas.microsoft.com/office/drawing/2014/chart" uri="{C3380CC4-5D6E-409C-BE32-E72D297353CC}">
                <c16:uniqueId val="{00000008-DE2F-4AA4-BA88-599556EAC435}"/>
              </c:ext>
            </c:extLst>
          </c:dPt>
          <c:dPt>
            <c:idx val="1"/>
            <c:bubble3D val="0"/>
            <c:spPr>
              <a:solidFill>
                <a:schemeClr val="accent3"/>
              </a:solidFill>
              <a:ln>
                <a:noFill/>
              </a:ln>
              <a:effectLst/>
            </c:spPr>
            <c:extLst>
              <c:ext xmlns:c16="http://schemas.microsoft.com/office/drawing/2014/chart" uri="{C3380CC4-5D6E-409C-BE32-E72D297353CC}">
                <c16:uniqueId val="{00000001-DE2F-4AA4-BA88-599556EAC435}"/>
              </c:ext>
            </c:extLst>
          </c:dPt>
          <c:dPt>
            <c:idx val="2"/>
            <c:bubble3D val="0"/>
            <c:spPr>
              <a:solidFill>
                <a:schemeClr val="accent6"/>
              </a:solidFill>
              <a:ln>
                <a:noFill/>
              </a:ln>
              <a:effectLst/>
            </c:spPr>
            <c:extLst>
              <c:ext xmlns:c16="http://schemas.microsoft.com/office/drawing/2014/chart" uri="{C3380CC4-5D6E-409C-BE32-E72D297353CC}">
                <c16:uniqueId val="{00000003-DE2F-4AA4-BA88-599556EAC435}"/>
              </c:ext>
            </c:extLst>
          </c:dPt>
          <c:dPt>
            <c:idx val="3"/>
            <c:bubble3D val="0"/>
            <c:spPr>
              <a:solidFill>
                <a:schemeClr val="accent1">
                  <a:lumMod val="40000"/>
                  <a:lumOff val="60000"/>
                </a:schemeClr>
              </a:solidFill>
              <a:ln>
                <a:noFill/>
              </a:ln>
              <a:effectLst/>
            </c:spPr>
            <c:extLst>
              <c:ext xmlns:c16="http://schemas.microsoft.com/office/drawing/2014/chart" uri="{C3380CC4-5D6E-409C-BE32-E72D297353CC}">
                <c16:uniqueId val="{00000005-DE2F-4AA4-BA88-599556EAC435}"/>
              </c:ext>
            </c:extLst>
          </c:dPt>
          <c:dPt>
            <c:idx val="4"/>
            <c:bubble3D val="0"/>
            <c:spPr>
              <a:solidFill>
                <a:schemeClr val="accent1"/>
              </a:solidFill>
              <a:ln>
                <a:noFill/>
              </a:ln>
              <a:effectLst/>
            </c:spPr>
            <c:extLst>
              <c:ext xmlns:c16="http://schemas.microsoft.com/office/drawing/2014/chart" uri="{C3380CC4-5D6E-409C-BE32-E72D297353CC}">
                <c16:uniqueId val="{00000007-DE2F-4AA4-BA88-599556EAC435}"/>
              </c:ext>
            </c:extLst>
          </c:dPt>
          <c:dLbls>
            <c:dLbl>
              <c:idx val="4"/>
              <c:tx>
                <c:rich>
                  <a:bodyPr rot="0" spcFirstLastPara="1" vertOverflow="ellipsis" vert="horz" wrap="square" anchor="ctr" anchorCtr="1"/>
                  <a:lstStyle/>
                  <a:p>
                    <a:pPr>
                      <a:defRPr sz="1800" b="1" i="0" u="none" strike="noStrike" kern="1200" baseline="0">
                        <a:solidFill>
                          <a:schemeClr val="bg1"/>
                        </a:solidFill>
                        <a:latin typeface="+mn-lt"/>
                        <a:ea typeface="+mn-ea"/>
                        <a:cs typeface="+mn-cs"/>
                      </a:defRPr>
                    </a:pPr>
                    <a:r>
                      <a:rPr lang="en-US">
                        <a:solidFill>
                          <a:schemeClr val="bg1"/>
                        </a:solidFill>
                      </a:rPr>
                      <a:t>Label C
34%</a:t>
                    </a:r>
                  </a:p>
                </c:rich>
              </c:tx>
              <c:spPr>
                <a:noFill/>
                <a:ln>
                  <a:noFill/>
                </a:ln>
                <a:effectLst/>
              </c:spPr>
              <c:txPr>
                <a:bodyPr rot="0" spcFirstLastPara="1" vertOverflow="ellipsis" vert="horz" wrap="square" anchor="ctr" anchorCtr="1"/>
                <a:lstStyle/>
                <a:p>
                  <a:pPr>
                    <a:defRPr sz="1800" b="1" i="0" u="none" strike="noStrike" kern="1200" baseline="0">
                      <a:solidFill>
                        <a:schemeClr val="bg1"/>
                      </a:solidFill>
                      <a:latin typeface="+mn-lt"/>
                      <a:ea typeface="+mn-ea"/>
                      <a:cs typeface="+mn-cs"/>
                    </a:defRPr>
                  </a:pPr>
                  <a:endParaRPr lang="de-DE"/>
                </a:p>
              </c:txPr>
              <c:dLblPos val="ctr"/>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E2F-4AA4-BA88-599556EAC435}"/>
                </c:ext>
              </c:extLst>
            </c:dLbl>
            <c:numFmt formatCode="0%" sourceLinked="0"/>
            <c:spPr>
              <a:noFill/>
              <a:ln>
                <a:noFill/>
              </a:ln>
              <a:effectLst/>
            </c:spPr>
            <c:txPr>
              <a:bodyPr rot="0" spcFirstLastPara="1" vertOverflow="ellipsis" vert="horz" wrap="square" anchor="ctr" anchorCtr="1"/>
              <a:lstStyle/>
              <a:p>
                <a:pPr>
                  <a:defRPr sz="1800" b="1" i="0" u="none" strike="noStrike" kern="1200" baseline="0">
                    <a:solidFill>
                      <a:schemeClr val="bg1"/>
                    </a:solidFill>
                    <a:latin typeface="+mn-lt"/>
                    <a:ea typeface="+mn-ea"/>
                    <a:cs typeface="+mn-cs"/>
                  </a:defRPr>
                </a:pPr>
                <a:endParaRPr lang="de-DE"/>
              </a:p>
            </c:txPr>
            <c:dLblPos val="ctr"/>
            <c:showLegendKey val="0"/>
            <c:showVal val="0"/>
            <c:showCatName val="1"/>
            <c:showSerName val="0"/>
            <c:showPercent val="1"/>
            <c:showBubbleSize val="0"/>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B$1:$F$1</c:f>
              <c:strCache>
                <c:ptCount val="4"/>
                <c:pt idx="0">
                  <c:v>Label A</c:v>
                </c:pt>
                <c:pt idx="1">
                  <c:v>Label B</c:v>
                </c:pt>
                <c:pt idx="2">
                  <c:v>Label C1</c:v>
                </c:pt>
                <c:pt idx="3">
                  <c:v>Label C2</c:v>
                </c:pt>
              </c:strCache>
            </c:strRef>
          </c:cat>
          <c:val>
            <c:numRef>
              <c:f>Sheet1!$B$2:$F$2</c:f>
              <c:numCache>
                <c:formatCode>s\t\a\nd\a\rd</c:formatCode>
                <c:ptCount val="4"/>
                <c:pt idx="0">
                  <c:v>38</c:v>
                </c:pt>
                <c:pt idx="1">
                  <c:v>28</c:v>
                </c:pt>
                <c:pt idx="2">
                  <c:v>14</c:v>
                </c:pt>
                <c:pt idx="3" formatCode="0">
                  <c:v>20</c:v>
                </c:pt>
              </c:numCache>
            </c:numRef>
          </c:val>
          <c:extLst>
            <c:ext xmlns:c16="http://schemas.microsoft.com/office/drawing/2014/chart" uri="{C3380CC4-5D6E-409C-BE32-E72D297353CC}">
              <c16:uniqueId val="{00000009-DE2F-4AA4-BA88-599556EAC435}"/>
            </c:ext>
          </c:extLst>
        </c:ser>
        <c:dLbls>
          <c:showLegendKey val="0"/>
          <c:showVal val="0"/>
          <c:showCatName val="0"/>
          <c:showSerName val="0"/>
          <c:showPercent val="0"/>
          <c:showBubbleSize val="0"/>
          <c:showLeaderLines val="1"/>
        </c:dLbls>
        <c:gapWidth val="185"/>
        <c:splitType val="pos"/>
        <c:splitPos val="2"/>
        <c:secondPieSize val="100"/>
        <c:serLines>
          <c:spPr>
            <a:ln w="19050" cap="rnd" cmpd="sng" algn="ctr">
              <a:solidFill>
                <a:schemeClr val="tx2">
                  <a:lumMod val="60000"/>
                  <a:lumOff val="40000"/>
                </a:schemeClr>
              </a:solidFill>
              <a:prstDash val="sysDot"/>
              <a:round/>
            </a:ln>
            <a:effectLst/>
          </c:spPr>
        </c:serLines>
      </c:of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800" b="1"/>
      </a:pPr>
      <a:endParaRPr lang="de-DE"/>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064102564102401E-2"/>
          <c:y val="2.2123893805309812E-3"/>
          <c:w val="0.72115384615384859"/>
          <c:h val="0.99557522123893749"/>
        </c:manualLayout>
      </c:layout>
      <c:doughnutChart>
        <c:varyColors val="1"/>
        <c:ser>
          <c:idx val="0"/>
          <c:order val="0"/>
          <c:tx>
            <c:strRef>
              <c:f>Sheet1!$A$2</c:f>
              <c:strCache>
                <c:ptCount val="1"/>
                <c:pt idx="0">
                  <c:v>Graph 1</c:v>
                </c:pt>
              </c:strCache>
            </c:strRef>
          </c:tx>
          <c:spPr>
            <a:ln>
              <a:solidFill>
                <a:schemeClr val="bg1"/>
              </a:solidFill>
            </a:ln>
          </c:spPr>
          <c:dPt>
            <c:idx val="0"/>
            <c:bubble3D val="0"/>
            <c:spPr>
              <a:solidFill>
                <a:schemeClr val="accent1"/>
              </a:solidFill>
              <a:ln>
                <a:solidFill>
                  <a:schemeClr val="bg1"/>
                </a:solidFill>
              </a:ln>
              <a:effectLst/>
            </c:spPr>
            <c:extLst>
              <c:ext xmlns:c16="http://schemas.microsoft.com/office/drawing/2014/chart" uri="{C3380CC4-5D6E-409C-BE32-E72D297353CC}">
                <c16:uniqueId val="{00000002-A8D0-476A-976A-877EF72095F2}"/>
              </c:ext>
            </c:extLst>
          </c:dPt>
          <c:dPt>
            <c:idx val="1"/>
            <c:bubble3D val="0"/>
            <c:spPr>
              <a:solidFill>
                <a:schemeClr val="accent2"/>
              </a:solidFill>
              <a:ln>
                <a:solidFill>
                  <a:schemeClr val="bg1"/>
                </a:solidFill>
              </a:ln>
              <a:effectLst/>
            </c:spPr>
            <c:extLst>
              <c:ext xmlns:c16="http://schemas.microsoft.com/office/drawing/2014/chart" uri="{C3380CC4-5D6E-409C-BE32-E72D297353CC}">
                <c16:uniqueId val="{00000001-A8D0-476A-976A-877EF72095F2}"/>
              </c:ext>
            </c:extLst>
          </c:dPt>
          <c:dPt>
            <c:idx val="2"/>
            <c:bubble3D val="0"/>
            <c:spPr>
              <a:solidFill>
                <a:schemeClr val="accent3"/>
              </a:solidFill>
              <a:ln>
                <a:solidFill>
                  <a:schemeClr val="bg1"/>
                </a:solidFill>
              </a:ln>
              <a:effectLst/>
            </c:spPr>
            <c:extLst>
              <c:ext xmlns:c16="http://schemas.microsoft.com/office/drawing/2014/chart" uri="{C3380CC4-5D6E-409C-BE32-E72D297353CC}">
                <c16:uniqueId val="{00000003-A8D0-476A-976A-877EF72095F2}"/>
              </c:ext>
            </c:extLst>
          </c:dPt>
          <c:dPt>
            <c:idx val="3"/>
            <c:bubble3D val="0"/>
            <c:spPr>
              <a:solidFill>
                <a:schemeClr val="accent5"/>
              </a:solidFill>
              <a:ln>
                <a:solidFill>
                  <a:schemeClr val="bg1"/>
                </a:solidFill>
              </a:ln>
              <a:effectLst/>
            </c:spPr>
            <c:extLst>
              <c:ext xmlns:c16="http://schemas.microsoft.com/office/drawing/2014/chart" uri="{C3380CC4-5D6E-409C-BE32-E72D297353CC}">
                <c16:uniqueId val="{00000004-A8D0-476A-976A-877EF72095F2}"/>
              </c:ext>
            </c:extLst>
          </c:dPt>
          <c:dLbls>
            <c:dLbl>
              <c:idx val="0"/>
              <c:layout>
                <c:manualLayout>
                  <c:x val="8.9166498776496756E-3"/>
                  <c:y val="-2.57931018386376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8D0-476A-976A-877EF72095F2}"/>
                </c:ext>
              </c:extLst>
            </c:dLbl>
            <c:dLbl>
              <c:idx val="1"/>
              <c:tx>
                <c:rich>
                  <a:bodyPr/>
                  <a:lstStyle/>
                  <a:p>
                    <a:r>
                      <a:rPr lang="en-US" sz="1200" b="1">
                        <a:solidFill>
                          <a:schemeClr val="bg1"/>
                        </a:solidFill>
                      </a:rPr>
                      <a:t>27,4</a:t>
                    </a:r>
                    <a:endParaRPr lang="en-US"/>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8D0-476A-976A-877EF72095F2}"/>
                </c:ext>
              </c:extLst>
            </c:dLbl>
            <c:dLbl>
              <c:idx val="2"/>
              <c:layout>
                <c:manualLayout>
                  <c:x val="2.248370993252411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8D0-476A-976A-877EF72095F2}"/>
                </c:ext>
              </c:extLst>
            </c:dLbl>
            <c:dLbl>
              <c:idx val="3"/>
              <c:tx>
                <c:rich>
                  <a:bodyPr/>
                  <a:lstStyle/>
                  <a:p>
                    <a:r>
                      <a:rPr lang="en-US" sz="1200" b="1">
                        <a:solidFill>
                          <a:schemeClr val="bg1"/>
                        </a:solidFill>
                      </a:rPr>
                      <a:t>20,4</a:t>
                    </a:r>
                    <a:endParaRPr lang="en-US">
                      <a:solidFill>
                        <a:schemeClr val="tx1"/>
                      </a:solidFill>
                    </a:endParaRP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8D0-476A-976A-877EF72095F2}"/>
                </c:ext>
              </c:extLst>
            </c:dLbl>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B$1:$E$1</c:f>
              <c:strCache>
                <c:ptCount val="4"/>
                <c:pt idx="0">
                  <c:v>Label A</c:v>
                </c:pt>
                <c:pt idx="1">
                  <c:v>Label B</c:v>
                </c:pt>
                <c:pt idx="2">
                  <c:v>Label C</c:v>
                </c:pt>
                <c:pt idx="3">
                  <c:v>Label D</c:v>
                </c:pt>
              </c:strCache>
            </c:strRef>
          </c:cat>
          <c:val>
            <c:numRef>
              <c:f>Sheet1!$B$2:$E$2</c:f>
              <c:numCache>
                <c:formatCode>General</c:formatCode>
                <c:ptCount val="4"/>
                <c:pt idx="0">
                  <c:v>20.399999999999999</c:v>
                </c:pt>
                <c:pt idx="1">
                  <c:v>27.4</c:v>
                </c:pt>
                <c:pt idx="2">
                  <c:v>90</c:v>
                </c:pt>
                <c:pt idx="3">
                  <c:v>20.399999999999999</c:v>
                </c:pt>
              </c:numCache>
            </c:numRef>
          </c:val>
          <c:extLst>
            <c:ext xmlns:c16="http://schemas.microsoft.com/office/drawing/2014/chart" uri="{C3380CC4-5D6E-409C-BE32-E72D297353CC}">
              <c16:uniqueId val="{00000005-A8D0-476A-976A-877EF72095F2}"/>
            </c:ext>
          </c:extLst>
        </c:ser>
        <c:ser>
          <c:idx val="1"/>
          <c:order val="1"/>
          <c:tx>
            <c:strRef>
              <c:f>Sheet1!$A$3</c:f>
              <c:strCache>
                <c:ptCount val="1"/>
                <c:pt idx="0">
                  <c:v>Graph 2</c:v>
                </c:pt>
              </c:strCache>
            </c:strRef>
          </c:tx>
          <c:spPr>
            <a:ln>
              <a:solidFill>
                <a:schemeClr val="bg1"/>
              </a:solidFill>
            </a:ln>
          </c:spPr>
          <c:dPt>
            <c:idx val="0"/>
            <c:bubble3D val="0"/>
            <c:spPr>
              <a:solidFill>
                <a:schemeClr val="accent1"/>
              </a:solidFill>
              <a:ln>
                <a:solidFill>
                  <a:schemeClr val="bg1"/>
                </a:solidFill>
              </a:ln>
              <a:effectLst/>
            </c:spPr>
            <c:extLst>
              <c:ext xmlns:c16="http://schemas.microsoft.com/office/drawing/2014/chart" uri="{C3380CC4-5D6E-409C-BE32-E72D297353CC}">
                <c16:uniqueId val="{00000008-A8D0-476A-976A-877EF72095F2}"/>
              </c:ext>
            </c:extLst>
          </c:dPt>
          <c:dPt>
            <c:idx val="1"/>
            <c:bubble3D val="0"/>
            <c:spPr>
              <a:solidFill>
                <a:schemeClr val="accent2"/>
              </a:solidFill>
              <a:ln>
                <a:solidFill>
                  <a:schemeClr val="bg1"/>
                </a:solidFill>
              </a:ln>
              <a:effectLst/>
            </c:spPr>
            <c:extLst>
              <c:ext xmlns:c16="http://schemas.microsoft.com/office/drawing/2014/chart" uri="{C3380CC4-5D6E-409C-BE32-E72D297353CC}">
                <c16:uniqueId val="{00000007-A8D0-476A-976A-877EF72095F2}"/>
              </c:ext>
            </c:extLst>
          </c:dPt>
          <c:dPt>
            <c:idx val="2"/>
            <c:bubble3D val="0"/>
            <c:spPr>
              <a:solidFill>
                <a:schemeClr val="accent3"/>
              </a:solidFill>
              <a:ln>
                <a:solidFill>
                  <a:schemeClr val="bg1"/>
                </a:solidFill>
              </a:ln>
              <a:effectLst/>
            </c:spPr>
            <c:extLst>
              <c:ext xmlns:c16="http://schemas.microsoft.com/office/drawing/2014/chart" uri="{C3380CC4-5D6E-409C-BE32-E72D297353CC}">
                <c16:uniqueId val="{0000000D-8DE6-A043-B053-B51F1C0AA2BD}"/>
              </c:ext>
            </c:extLst>
          </c:dPt>
          <c:dPt>
            <c:idx val="3"/>
            <c:bubble3D val="0"/>
            <c:spPr>
              <a:solidFill>
                <a:schemeClr val="accent5"/>
              </a:solidFill>
              <a:ln>
                <a:solidFill>
                  <a:schemeClr val="bg1"/>
                </a:solidFill>
              </a:ln>
              <a:effectLst/>
            </c:spPr>
            <c:extLst>
              <c:ext xmlns:c16="http://schemas.microsoft.com/office/drawing/2014/chart" uri="{C3380CC4-5D6E-409C-BE32-E72D297353CC}">
                <c16:uniqueId val="{00000009-A8D0-476A-976A-877EF72095F2}"/>
              </c:ext>
            </c:extLst>
          </c:dPt>
          <c:dLbls>
            <c:dLbl>
              <c:idx val="0"/>
              <c:layout>
                <c:manualLayout>
                  <c:x val="1.1241854966262047E-2"/>
                  <c:y val="1.23506195002667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8D0-476A-976A-877EF72095F2}"/>
                </c:ext>
              </c:extLst>
            </c:dLbl>
            <c:dLbl>
              <c:idx val="1"/>
              <c:tx>
                <c:rich>
                  <a:bodyPr/>
                  <a:lstStyle/>
                  <a:p>
                    <a:r>
                      <a:rPr lang="en-US" sz="1200" b="1">
                        <a:solidFill>
                          <a:schemeClr val="bg1"/>
                        </a:solidFill>
                      </a:rPr>
                      <a:t>38,6</a:t>
                    </a:r>
                    <a:endParaRPr lang="en-US"/>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8D0-476A-976A-877EF72095F2}"/>
                </c:ext>
              </c:extLst>
            </c:dLbl>
            <c:dLbl>
              <c:idx val="3"/>
              <c:tx>
                <c:rich>
                  <a:bodyPr/>
                  <a:lstStyle/>
                  <a:p>
                    <a:r>
                      <a:rPr lang="en-US" sz="1200" b="1">
                        <a:solidFill>
                          <a:schemeClr val="bg1"/>
                        </a:solidFill>
                      </a:rPr>
                      <a:t>31,6</a:t>
                    </a:r>
                    <a:endParaRPr lang="en-US">
                      <a:solidFill>
                        <a:schemeClr val="tx1"/>
                      </a:solidFill>
                    </a:endParaRP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8D0-476A-976A-877EF72095F2}"/>
                </c:ext>
              </c:extLst>
            </c:dLbl>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B$1:$E$1</c:f>
              <c:strCache>
                <c:ptCount val="4"/>
                <c:pt idx="0">
                  <c:v>Label A</c:v>
                </c:pt>
                <c:pt idx="1">
                  <c:v>Label B</c:v>
                </c:pt>
                <c:pt idx="2">
                  <c:v>Label C</c:v>
                </c:pt>
                <c:pt idx="3">
                  <c:v>Label D</c:v>
                </c:pt>
              </c:strCache>
            </c:strRef>
          </c:cat>
          <c:val>
            <c:numRef>
              <c:f>Sheet1!$B$3:$E$3</c:f>
              <c:numCache>
                <c:formatCode>General</c:formatCode>
                <c:ptCount val="4"/>
                <c:pt idx="0">
                  <c:v>30.6</c:v>
                </c:pt>
                <c:pt idx="1">
                  <c:v>38.6</c:v>
                </c:pt>
                <c:pt idx="2">
                  <c:v>34.6</c:v>
                </c:pt>
                <c:pt idx="3">
                  <c:v>31.6</c:v>
                </c:pt>
              </c:numCache>
            </c:numRef>
          </c:val>
          <c:extLst>
            <c:ext xmlns:c16="http://schemas.microsoft.com/office/drawing/2014/chart" uri="{C3380CC4-5D6E-409C-BE32-E72D297353CC}">
              <c16:uniqueId val="{0000000A-A8D0-476A-976A-877EF72095F2}"/>
            </c:ext>
          </c:extLst>
        </c:ser>
        <c:ser>
          <c:idx val="2"/>
          <c:order val="2"/>
          <c:tx>
            <c:strRef>
              <c:f>Sheet1!$A$4</c:f>
              <c:strCache>
                <c:ptCount val="1"/>
                <c:pt idx="0">
                  <c:v>Graph 3</c:v>
                </c:pt>
              </c:strCache>
            </c:strRef>
          </c:tx>
          <c:spPr>
            <a:ln w="19050">
              <a:solidFill>
                <a:schemeClr val="bg1"/>
              </a:solidFill>
            </a:ln>
          </c:spPr>
          <c:dPt>
            <c:idx val="0"/>
            <c:bubble3D val="0"/>
            <c:spPr>
              <a:solidFill>
                <a:schemeClr val="accent1"/>
              </a:solidFill>
              <a:ln w="19050">
                <a:solidFill>
                  <a:schemeClr val="bg1"/>
                </a:solidFill>
              </a:ln>
              <a:effectLst/>
            </c:spPr>
            <c:extLst>
              <c:ext xmlns:c16="http://schemas.microsoft.com/office/drawing/2014/chart" uri="{C3380CC4-5D6E-409C-BE32-E72D297353CC}">
                <c16:uniqueId val="{0000000D-A8D0-476A-976A-877EF72095F2}"/>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C-A8D0-476A-976A-877EF72095F2}"/>
              </c:ext>
            </c:extLst>
          </c:dPt>
          <c:dPt>
            <c:idx val="2"/>
            <c:bubble3D val="0"/>
            <c:spPr>
              <a:solidFill>
                <a:schemeClr val="accent3"/>
              </a:solidFill>
              <a:ln w="19050">
                <a:solidFill>
                  <a:schemeClr val="bg1"/>
                </a:solidFill>
              </a:ln>
              <a:effectLst/>
            </c:spPr>
            <c:extLst>
              <c:ext xmlns:c16="http://schemas.microsoft.com/office/drawing/2014/chart" uri="{C3380CC4-5D6E-409C-BE32-E72D297353CC}">
                <c16:uniqueId val="{0000000E-A8D0-476A-976A-877EF72095F2}"/>
              </c:ext>
            </c:extLst>
          </c:dPt>
          <c:dPt>
            <c:idx val="3"/>
            <c:bubble3D val="0"/>
            <c:spPr>
              <a:solidFill>
                <a:schemeClr val="accent5"/>
              </a:solidFill>
              <a:ln w="19050">
                <a:solidFill>
                  <a:schemeClr val="bg1"/>
                </a:solidFill>
              </a:ln>
              <a:effectLst/>
            </c:spPr>
            <c:extLst>
              <c:ext xmlns:c16="http://schemas.microsoft.com/office/drawing/2014/chart" uri="{C3380CC4-5D6E-409C-BE32-E72D297353CC}">
                <c16:uniqueId val="{0000000F-A8D0-476A-976A-877EF72095F2}"/>
              </c:ext>
            </c:extLst>
          </c:dPt>
          <c:dLbls>
            <c:dLbl>
              <c:idx val="0"/>
              <c:layout>
                <c:manualLayout>
                  <c:x val="-2.4732080925776494E-2"/>
                  <c:y val="-3.70518585008001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8D0-476A-976A-877EF72095F2}"/>
                </c:ext>
              </c:extLst>
            </c:dLbl>
            <c:dLbl>
              <c:idx val="1"/>
              <c:tx>
                <c:rich>
                  <a:bodyPr/>
                  <a:lstStyle/>
                  <a:p>
                    <a:r>
                      <a:rPr lang="en-US" sz="1200" b="1">
                        <a:solidFill>
                          <a:schemeClr val="bg1"/>
                        </a:solidFill>
                      </a:rPr>
                      <a:t>46,9</a:t>
                    </a:r>
                    <a:endParaRPr lang="en-US"/>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8D0-476A-976A-877EF72095F2}"/>
                </c:ext>
              </c:extLst>
            </c:dLbl>
            <c:dLbl>
              <c:idx val="2"/>
              <c:layout>
                <c:manualLayout>
                  <c:x val="2.248370993252410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A8D0-476A-976A-877EF72095F2}"/>
                </c:ext>
              </c:extLst>
            </c:dLbl>
            <c:dLbl>
              <c:idx val="3"/>
              <c:tx>
                <c:rich>
                  <a:bodyPr/>
                  <a:lstStyle/>
                  <a:p>
                    <a:r>
                      <a:rPr lang="en-US" sz="1200" b="1">
                        <a:solidFill>
                          <a:schemeClr val="bg1"/>
                        </a:solidFill>
                      </a:rPr>
                      <a:t>43,9</a:t>
                    </a:r>
                    <a:endParaRPr lang="en-US">
                      <a:solidFill>
                        <a:schemeClr val="tx1"/>
                      </a:solidFill>
                    </a:endParaRP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8D0-476A-976A-877EF72095F2}"/>
                </c:ext>
              </c:extLst>
            </c:dLbl>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B$1:$E$1</c:f>
              <c:strCache>
                <c:ptCount val="4"/>
                <c:pt idx="0">
                  <c:v>Label A</c:v>
                </c:pt>
                <c:pt idx="1">
                  <c:v>Label B</c:v>
                </c:pt>
                <c:pt idx="2">
                  <c:v>Label C</c:v>
                </c:pt>
                <c:pt idx="3">
                  <c:v>Label D</c:v>
                </c:pt>
              </c:strCache>
            </c:strRef>
          </c:cat>
          <c:val>
            <c:numRef>
              <c:f>Sheet1!$B$4:$E$4</c:f>
              <c:numCache>
                <c:formatCode>General</c:formatCode>
                <c:ptCount val="4"/>
                <c:pt idx="0">
                  <c:v>45.9</c:v>
                </c:pt>
                <c:pt idx="1">
                  <c:v>46.9</c:v>
                </c:pt>
                <c:pt idx="2">
                  <c:v>45</c:v>
                </c:pt>
                <c:pt idx="3">
                  <c:v>43.9</c:v>
                </c:pt>
              </c:numCache>
            </c:numRef>
          </c:val>
          <c:extLst>
            <c:ext xmlns:c16="http://schemas.microsoft.com/office/drawing/2014/chart" uri="{C3380CC4-5D6E-409C-BE32-E72D297353CC}">
              <c16:uniqueId val="{00000010-A8D0-476A-976A-877EF72095F2}"/>
            </c:ext>
          </c:extLst>
        </c:ser>
        <c:dLbls>
          <c:showLegendKey val="0"/>
          <c:showVal val="1"/>
          <c:showCatName val="0"/>
          <c:showSerName val="0"/>
          <c:showPercent val="0"/>
          <c:showBubbleSize val="0"/>
          <c:showLeaderLines val="0"/>
        </c:dLbls>
        <c:firstSliceAng val="0"/>
        <c:holeSize val="10"/>
      </c:doughnutChart>
      <c:spPr>
        <a:noFill/>
        <a:ln>
          <a:solidFill>
            <a:schemeClr val="bg1"/>
          </a:solidFill>
        </a:ln>
        <a:effectLst/>
      </c:spPr>
    </c:plotArea>
    <c:legend>
      <c:legendPos val="r"/>
      <c:layout>
        <c:manualLayout>
          <c:xMode val="edge"/>
          <c:yMode val="edge"/>
          <c:x val="0.75963922674449813"/>
          <c:y val="0.72036374033162875"/>
          <c:w val="0.17252671224073363"/>
          <c:h val="0.27635483621571183"/>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de-DE"/>
        </a:p>
      </c:txPr>
    </c:legend>
    <c:plotVisOnly val="1"/>
    <c:dispBlanksAs val="zero"/>
    <c:showDLblsOverMax val="0"/>
  </c:chart>
  <c:spPr>
    <a:noFill/>
    <a:ln w="6350" cap="flat" cmpd="sng" algn="ctr">
      <a:noFill/>
      <a:prstDash val="solid"/>
      <a:miter lim="800000"/>
    </a:ln>
    <a:effectLst/>
  </c:spPr>
  <c:txPr>
    <a:bodyPr/>
    <a:lstStyle/>
    <a:p>
      <a:pPr>
        <a:defRPr sz="1800"/>
      </a:pPr>
      <a:endParaRPr lang="de-DE"/>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A$2</c:f>
              <c:strCache>
                <c:ptCount val="1"/>
                <c:pt idx="0">
                  <c:v>Graph 1</c:v>
                </c:pt>
              </c:strCache>
            </c:strRef>
          </c:tx>
          <c:spPr>
            <a:ln>
              <a:solidFill>
                <a:schemeClr val="bg1"/>
              </a:solidFill>
            </a:ln>
          </c:spPr>
          <c:dPt>
            <c:idx val="0"/>
            <c:bubble3D val="0"/>
            <c:spPr>
              <a:solidFill>
                <a:schemeClr val="accent1"/>
              </a:solidFill>
              <a:ln>
                <a:solidFill>
                  <a:schemeClr val="bg1"/>
                </a:solidFill>
              </a:ln>
              <a:effectLst/>
            </c:spPr>
            <c:extLst>
              <c:ext xmlns:c16="http://schemas.microsoft.com/office/drawing/2014/chart" uri="{C3380CC4-5D6E-409C-BE32-E72D297353CC}">
                <c16:uniqueId val="{00000001-E031-A847-9CD4-D87432C1764A}"/>
              </c:ext>
            </c:extLst>
          </c:dPt>
          <c:dPt>
            <c:idx val="1"/>
            <c:bubble3D val="0"/>
            <c:spPr>
              <a:solidFill>
                <a:schemeClr val="accent2"/>
              </a:solidFill>
              <a:ln>
                <a:solidFill>
                  <a:schemeClr val="bg1"/>
                </a:solidFill>
              </a:ln>
              <a:effectLst/>
            </c:spPr>
            <c:extLst>
              <c:ext xmlns:c16="http://schemas.microsoft.com/office/drawing/2014/chart" uri="{C3380CC4-5D6E-409C-BE32-E72D297353CC}">
                <c16:uniqueId val="{00000001-86CD-47DA-9F55-CCBA921D8C91}"/>
              </c:ext>
            </c:extLst>
          </c:dPt>
          <c:dPt>
            <c:idx val="2"/>
            <c:bubble3D val="0"/>
            <c:spPr>
              <a:solidFill>
                <a:schemeClr val="accent3"/>
              </a:solidFill>
              <a:ln>
                <a:solidFill>
                  <a:schemeClr val="bg1"/>
                </a:solidFill>
              </a:ln>
              <a:effectLst/>
            </c:spPr>
            <c:extLst>
              <c:ext xmlns:c16="http://schemas.microsoft.com/office/drawing/2014/chart" uri="{C3380CC4-5D6E-409C-BE32-E72D297353CC}">
                <c16:uniqueId val="{00000005-E031-A847-9CD4-D87432C1764A}"/>
              </c:ext>
            </c:extLst>
          </c:dPt>
          <c:dPt>
            <c:idx val="3"/>
            <c:bubble3D val="0"/>
            <c:spPr>
              <a:solidFill>
                <a:schemeClr val="accent5"/>
              </a:solidFill>
              <a:ln>
                <a:solidFill>
                  <a:schemeClr val="bg1"/>
                </a:solidFill>
              </a:ln>
              <a:effectLst/>
            </c:spPr>
            <c:extLst>
              <c:ext xmlns:c16="http://schemas.microsoft.com/office/drawing/2014/chart" uri="{C3380CC4-5D6E-409C-BE32-E72D297353CC}">
                <c16:uniqueId val="{00000007-E031-A847-9CD4-D87432C1764A}"/>
              </c:ext>
            </c:extLst>
          </c:dPt>
          <c:cat>
            <c:strRef>
              <c:f>Sheet1!$B$1:$E$1</c:f>
              <c:strCache>
                <c:ptCount val="4"/>
                <c:pt idx="0">
                  <c:v>Label A</c:v>
                </c:pt>
                <c:pt idx="1">
                  <c:v>Label B</c:v>
                </c:pt>
                <c:pt idx="2">
                  <c:v>Label C</c:v>
                </c:pt>
                <c:pt idx="3">
                  <c:v>Label D</c:v>
                </c:pt>
              </c:strCache>
            </c:strRef>
          </c:cat>
          <c:val>
            <c:numRef>
              <c:f>Sheet1!$B$2:$E$2</c:f>
              <c:numCache>
                <c:formatCode>s\t\a\nd\a\rd</c:formatCode>
                <c:ptCount val="4"/>
                <c:pt idx="0">
                  <c:v>20.399999999999999</c:v>
                </c:pt>
                <c:pt idx="1">
                  <c:v>27.4</c:v>
                </c:pt>
                <c:pt idx="2">
                  <c:v>90</c:v>
                </c:pt>
                <c:pt idx="3">
                  <c:v>20.399999999999999</c:v>
                </c:pt>
              </c:numCache>
            </c:numRef>
          </c:val>
          <c:extLst>
            <c:ext xmlns:c16="http://schemas.microsoft.com/office/drawing/2014/chart" uri="{C3380CC4-5D6E-409C-BE32-E72D297353CC}">
              <c16:uniqueId val="{00000002-86CD-47DA-9F55-CCBA921D8C91}"/>
            </c:ext>
          </c:extLst>
        </c:ser>
        <c:ser>
          <c:idx val="1"/>
          <c:order val="1"/>
          <c:tx>
            <c:strRef>
              <c:f>Sheet1!$A$3</c:f>
              <c:strCache>
                <c:ptCount val="1"/>
                <c:pt idx="0">
                  <c:v>Graph 2</c:v>
                </c:pt>
              </c:strCache>
            </c:strRef>
          </c:tx>
          <c:spPr>
            <a:ln>
              <a:solidFill>
                <a:schemeClr val="bg1"/>
              </a:solidFill>
            </a:ln>
          </c:spPr>
          <c:dPt>
            <c:idx val="0"/>
            <c:bubble3D val="0"/>
            <c:spPr>
              <a:solidFill>
                <a:schemeClr val="accent1"/>
              </a:solidFill>
              <a:ln>
                <a:solidFill>
                  <a:schemeClr val="bg1"/>
                </a:solidFill>
              </a:ln>
              <a:effectLst/>
            </c:spPr>
            <c:extLst>
              <c:ext xmlns:c16="http://schemas.microsoft.com/office/drawing/2014/chart" uri="{C3380CC4-5D6E-409C-BE32-E72D297353CC}">
                <c16:uniqueId val="{00000009-E031-A847-9CD4-D87432C1764A}"/>
              </c:ext>
            </c:extLst>
          </c:dPt>
          <c:dPt>
            <c:idx val="1"/>
            <c:bubble3D val="0"/>
            <c:spPr>
              <a:solidFill>
                <a:schemeClr val="accent2"/>
              </a:solidFill>
              <a:ln>
                <a:solidFill>
                  <a:schemeClr val="bg1"/>
                </a:solidFill>
              </a:ln>
              <a:effectLst/>
            </c:spPr>
            <c:extLst>
              <c:ext xmlns:c16="http://schemas.microsoft.com/office/drawing/2014/chart" uri="{C3380CC4-5D6E-409C-BE32-E72D297353CC}">
                <c16:uniqueId val="{00000004-86CD-47DA-9F55-CCBA921D8C91}"/>
              </c:ext>
            </c:extLst>
          </c:dPt>
          <c:dPt>
            <c:idx val="2"/>
            <c:bubble3D val="0"/>
            <c:spPr>
              <a:solidFill>
                <a:schemeClr val="accent3"/>
              </a:solidFill>
              <a:ln>
                <a:solidFill>
                  <a:schemeClr val="bg1"/>
                </a:solidFill>
              </a:ln>
              <a:effectLst/>
            </c:spPr>
            <c:extLst>
              <c:ext xmlns:c16="http://schemas.microsoft.com/office/drawing/2014/chart" uri="{C3380CC4-5D6E-409C-BE32-E72D297353CC}">
                <c16:uniqueId val="{0000000D-E031-A847-9CD4-D87432C1764A}"/>
              </c:ext>
            </c:extLst>
          </c:dPt>
          <c:dPt>
            <c:idx val="3"/>
            <c:bubble3D val="0"/>
            <c:spPr>
              <a:solidFill>
                <a:schemeClr val="accent5"/>
              </a:solidFill>
              <a:ln>
                <a:solidFill>
                  <a:schemeClr val="bg1"/>
                </a:solidFill>
              </a:ln>
              <a:effectLst/>
            </c:spPr>
            <c:extLst>
              <c:ext xmlns:c16="http://schemas.microsoft.com/office/drawing/2014/chart" uri="{C3380CC4-5D6E-409C-BE32-E72D297353CC}">
                <c16:uniqueId val="{0000000F-E031-A847-9CD4-D87432C1764A}"/>
              </c:ext>
            </c:extLst>
          </c:dPt>
          <c:cat>
            <c:strRef>
              <c:f>Sheet1!$B$1:$E$1</c:f>
              <c:strCache>
                <c:ptCount val="4"/>
                <c:pt idx="0">
                  <c:v>Label A</c:v>
                </c:pt>
                <c:pt idx="1">
                  <c:v>Label B</c:v>
                </c:pt>
                <c:pt idx="2">
                  <c:v>Label C</c:v>
                </c:pt>
                <c:pt idx="3">
                  <c:v>Label D</c:v>
                </c:pt>
              </c:strCache>
            </c:strRef>
          </c:cat>
          <c:val>
            <c:numRef>
              <c:f>Sheet1!$B$3:$E$3</c:f>
              <c:numCache>
                <c:formatCode>s\t\a\nd\a\rd</c:formatCode>
                <c:ptCount val="4"/>
                <c:pt idx="0">
                  <c:v>30.6</c:v>
                </c:pt>
                <c:pt idx="1">
                  <c:v>38.6</c:v>
                </c:pt>
                <c:pt idx="2">
                  <c:v>34.6</c:v>
                </c:pt>
                <c:pt idx="3">
                  <c:v>31.6</c:v>
                </c:pt>
              </c:numCache>
            </c:numRef>
          </c:val>
          <c:extLst>
            <c:ext xmlns:c16="http://schemas.microsoft.com/office/drawing/2014/chart" uri="{C3380CC4-5D6E-409C-BE32-E72D297353CC}">
              <c16:uniqueId val="{00000005-86CD-47DA-9F55-CCBA921D8C91}"/>
            </c:ext>
          </c:extLst>
        </c:ser>
        <c:ser>
          <c:idx val="2"/>
          <c:order val="2"/>
          <c:tx>
            <c:strRef>
              <c:f>Sheet1!$A$4</c:f>
              <c:strCache>
                <c:ptCount val="1"/>
                <c:pt idx="0">
                  <c:v>Graph 3</c:v>
                </c:pt>
              </c:strCache>
            </c:strRef>
          </c:tx>
          <c:spPr>
            <a:ln>
              <a:solidFill>
                <a:schemeClr val="bg1"/>
              </a:solidFill>
            </a:ln>
          </c:spPr>
          <c:dPt>
            <c:idx val="0"/>
            <c:bubble3D val="0"/>
            <c:spPr>
              <a:solidFill>
                <a:schemeClr val="accent1"/>
              </a:solidFill>
              <a:ln>
                <a:solidFill>
                  <a:schemeClr val="bg1"/>
                </a:solidFill>
              </a:ln>
              <a:effectLst/>
            </c:spPr>
            <c:extLst>
              <c:ext xmlns:c16="http://schemas.microsoft.com/office/drawing/2014/chart" uri="{C3380CC4-5D6E-409C-BE32-E72D297353CC}">
                <c16:uniqueId val="{00000011-E031-A847-9CD4-D87432C1764A}"/>
              </c:ext>
            </c:extLst>
          </c:dPt>
          <c:dPt>
            <c:idx val="1"/>
            <c:bubble3D val="0"/>
            <c:spPr>
              <a:solidFill>
                <a:schemeClr val="accent2"/>
              </a:solidFill>
              <a:ln>
                <a:solidFill>
                  <a:schemeClr val="bg1"/>
                </a:solidFill>
              </a:ln>
              <a:effectLst/>
            </c:spPr>
            <c:extLst>
              <c:ext xmlns:c16="http://schemas.microsoft.com/office/drawing/2014/chart" uri="{C3380CC4-5D6E-409C-BE32-E72D297353CC}">
                <c16:uniqueId val="{00000007-86CD-47DA-9F55-CCBA921D8C91}"/>
              </c:ext>
            </c:extLst>
          </c:dPt>
          <c:dPt>
            <c:idx val="2"/>
            <c:bubble3D val="0"/>
            <c:spPr>
              <a:solidFill>
                <a:schemeClr val="accent3"/>
              </a:solidFill>
              <a:ln>
                <a:solidFill>
                  <a:schemeClr val="bg1"/>
                </a:solidFill>
              </a:ln>
              <a:effectLst/>
            </c:spPr>
            <c:extLst>
              <c:ext xmlns:c16="http://schemas.microsoft.com/office/drawing/2014/chart" uri="{C3380CC4-5D6E-409C-BE32-E72D297353CC}">
                <c16:uniqueId val="{00000015-E031-A847-9CD4-D87432C1764A}"/>
              </c:ext>
            </c:extLst>
          </c:dPt>
          <c:dPt>
            <c:idx val="3"/>
            <c:bubble3D val="0"/>
            <c:spPr>
              <a:solidFill>
                <a:schemeClr val="accent5"/>
              </a:solidFill>
              <a:ln>
                <a:solidFill>
                  <a:schemeClr val="bg1"/>
                </a:solidFill>
              </a:ln>
              <a:effectLst/>
            </c:spPr>
            <c:extLst>
              <c:ext xmlns:c16="http://schemas.microsoft.com/office/drawing/2014/chart" uri="{C3380CC4-5D6E-409C-BE32-E72D297353CC}">
                <c16:uniqueId val="{00000017-E031-A847-9CD4-D87432C1764A}"/>
              </c:ext>
            </c:extLst>
          </c:dPt>
          <c:cat>
            <c:strRef>
              <c:f>Sheet1!$B$1:$E$1</c:f>
              <c:strCache>
                <c:ptCount val="4"/>
                <c:pt idx="0">
                  <c:v>Label A</c:v>
                </c:pt>
                <c:pt idx="1">
                  <c:v>Label B</c:v>
                </c:pt>
                <c:pt idx="2">
                  <c:v>Label C</c:v>
                </c:pt>
                <c:pt idx="3">
                  <c:v>Label D</c:v>
                </c:pt>
              </c:strCache>
            </c:strRef>
          </c:cat>
          <c:val>
            <c:numRef>
              <c:f>Sheet1!$B$4:$E$4</c:f>
              <c:numCache>
                <c:formatCode>s\t\a\nd\a\rd</c:formatCode>
                <c:ptCount val="4"/>
                <c:pt idx="0">
                  <c:v>45.9</c:v>
                </c:pt>
                <c:pt idx="1">
                  <c:v>46.9</c:v>
                </c:pt>
                <c:pt idx="2">
                  <c:v>45</c:v>
                </c:pt>
                <c:pt idx="3">
                  <c:v>43.9</c:v>
                </c:pt>
              </c:numCache>
            </c:numRef>
          </c:val>
          <c:extLst>
            <c:ext xmlns:c16="http://schemas.microsoft.com/office/drawing/2014/chart" uri="{C3380CC4-5D6E-409C-BE32-E72D297353CC}">
              <c16:uniqueId val="{00000008-86CD-47DA-9F55-CCBA921D8C91}"/>
            </c:ext>
          </c:extLst>
        </c:ser>
        <c:dLbls>
          <c:showLegendKey val="0"/>
          <c:showVal val="0"/>
          <c:showCatName val="0"/>
          <c:showSerName val="0"/>
          <c:showPercent val="0"/>
          <c:showBubbleSize val="0"/>
          <c:showLeaderLines val="0"/>
        </c:dLbls>
        <c:firstSliceAng val="0"/>
        <c:holeSize val="10"/>
      </c:doughnutChart>
      <c:spPr>
        <a:noFill/>
        <a:ln>
          <a:solidFill>
            <a:schemeClr val="bg1"/>
          </a:solidFill>
        </a:ln>
        <a:effectLst/>
      </c:spPr>
    </c:plotArea>
    <c:legend>
      <c:legendPos val="r"/>
      <c:layout>
        <c:manualLayout>
          <c:xMode val="edge"/>
          <c:yMode val="edge"/>
          <c:x val="0.76021022493465951"/>
          <c:y val="0.72378355325943977"/>
          <c:w val="0.14382681874577563"/>
          <c:h val="0.24601532976876619"/>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de-DE"/>
        </a:p>
      </c:txPr>
    </c:legend>
    <c:plotVisOnly val="1"/>
    <c:dispBlanksAs val="zero"/>
    <c:showDLblsOverMax val="0"/>
  </c:chart>
  <c:spPr>
    <a:noFill/>
    <a:ln w="6350" cap="flat" cmpd="sng" algn="ctr">
      <a:noFill/>
      <a:prstDash val="solid"/>
      <a:miter lim="800000"/>
    </a:ln>
    <a:effectLst/>
  </c:spPr>
  <c:txPr>
    <a:bodyPr/>
    <a:lstStyle/>
    <a:p>
      <a:pPr>
        <a:defRPr sz="1800"/>
      </a:pPr>
      <a:endParaRPr lang="de-DE"/>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5657172016414"/>
          <c:y val="0"/>
          <c:w val="0.61228615774963302"/>
          <c:h val="1"/>
        </c:manualLayout>
      </c:layout>
      <c:doughnutChart>
        <c:varyColors val="1"/>
        <c:ser>
          <c:idx val="0"/>
          <c:order val="0"/>
          <c:tx>
            <c:strRef>
              <c:f>Sheet1!$B$1</c:f>
              <c:strCache>
                <c:ptCount val="1"/>
                <c:pt idx="0">
                  <c:v>Name 1</c:v>
                </c:pt>
              </c:strCache>
            </c:strRef>
          </c:tx>
          <c:spPr>
            <a:ln w="25400">
              <a:solidFill>
                <a:schemeClr val="bg1"/>
              </a:solidFill>
            </a:ln>
          </c:spPr>
          <c:dPt>
            <c:idx val="0"/>
            <c:bubble3D val="0"/>
            <c:spPr>
              <a:solidFill>
                <a:schemeClr val="accent6"/>
              </a:solidFill>
              <a:ln w="25400">
                <a:solidFill>
                  <a:schemeClr val="bg1"/>
                </a:solidFill>
              </a:ln>
              <a:effectLst/>
            </c:spPr>
            <c:extLst>
              <c:ext xmlns:c16="http://schemas.microsoft.com/office/drawing/2014/chart" uri="{C3380CC4-5D6E-409C-BE32-E72D297353CC}">
                <c16:uniqueId val="{00000001-41DC-43DC-8AB8-D2D92F8BC00C}"/>
              </c:ext>
            </c:extLst>
          </c:dPt>
          <c:dPt>
            <c:idx val="1"/>
            <c:bubble3D val="0"/>
            <c:spPr>
              <a:solidFill>
                <a:schemeClr val="bg1"/>
              </a:solidFill>
              <a:ln w="25400">
                <a:solidFill>
                  <a:schemeClr val="bg1"/>
                </a:solidFill>
              </a:ln>
              <a:effectLst/>
            </c:spPr>
            <c:extLst>
              <c:ext xmlns:c16="http://schemas.microsoft.com/office/drawing/2014/chart" uri="{C3380CC4-5D6E-409C-BE32-E72D297353CC}">
                <c16:uniqueId val="{00000003-41DC-43DC-8AB8-D2D92F8BC00C}"/>
              </c:ext>
            </c:extLst>
          </c:dPt>
          <c:cat>
            <c:strRef>
              <c:f>Sheet1!$A$2:$A$3</c:f>
              <c:strCache>
                <c:ptCount val="2"/>
                <c:pt idx="0">
                  <c:v>Active</c:v>
                </c:pt>
                <c:pt idx="1">
                  <c:v>other</c:v>
                </c:pt>
              </c:strCache>
            </c:strRef>
          </c:cat>
          <c:val>
            <c:numRef>
              <c:f>Sheet1!$B$2:$B$3</c:f>
              <c:numCache>
                <c:formatCode>0%</c:formatCode>
                <c:ptCount val="2"/>
                <c:pt idx="0">
                  <c:v>0.52</c:v>
                </c:pt>
                <c:pt idx="1">
                  <c:v>0.48</c:v>
                </c:pt>
              </c:numCache>
            </c:numRef>
          </c:val>
          <c:extLst>
            <c:ext xmlns:c16="http://schemas.microsoft.com/office/drawing/2014/chart" uri="{C3380CC4-5D6E-409C-BE32-E72D297353CC}">
              <c16:uniqueId val="{00000004-41DC-43DC-8AB8-D2D92F8BC00C}"/>
            </c:ext>
          </c:extLst>
        </c:ser>
        <c:ser>
          <c:idx val="1"/>
          <c:order val="1"/>
          <c:tx>
            <c:strRef>
              <c:f>Sheet1!$C$1</c:f>
              <c:strCache>
                <c:ptCount val="1"/>
                <c:pt idx="0">
                  <c:v>Name 2</c:v>
                </c:pt>
              </c:strCache>
            </c:strRef>
          </c:tx>
          <c:spPr>
            <a:ln w="25400">
              <a:solidFill>
                <a:schemeClr val="bg1"/>
              </a:solidFill>
            </a:ln>
          </c:spPr>
          <c:dPt>
            <c:idx val="0"/>
            <c:bubble3D val="0"/>
            <c:spPr>
              <a:solidFill>
                <a:schemeClr val="accent5"/>
              </a:solidFill>
              <a:ln w="25400">
                <a:solidFill>
                  <a:schemeClr val="bg1"/>
                </a:solidFill>
              </a:ln>
              <a:effectLst/>
            </c:spPr>
            <c:extLst>
              <c:ext xmlns:c16="http://schemas.microsoft.com/office/drawing/2014/chart" uri="{C3380CC4-5D6E-409C-BE32-E72D297353CC}">
                <c16:uniqueId val="{00000006-41DC-43DC-8AB8-D2D92F8BC00C}"/>
              </c:ext>
            </c:extLst>
          </c:dPt>
          <c:dPt>
            <c:idx val="1"/>
            <c:bubble3D val="0"/>
            <c:spPr>
              <a:solidFill>
                <a:schemeClr val="bg1"/>
              </a:solidFill>
              <a:ln w="25400">
                <a:solidFill>
                  <a:schemeClr val="bg1"/>
                </a:solidFill>
              </a:ln>
              <a:effectLst/>
            </c:spPr>
            <c:extLst>
              <c:ext xmlns:c16="http://schemas.microsoft.com/office/drawing/2014/chart" uri="{C3380CC4-5D6E-409C-BE32-E72D297353CC}">
                <c16:uniqueId val="{00000008-41DC-43DC-8AB8-D2D92F8BC00C}"/>
              </c:ext>
            </c:extLst>
          </c:dPt>
          <c:cat>
            <c:strRef>
              <c:f>Sheet1!$A$2:$A$3</c:f>
              <c:strCache>
                <c:ptCount val="2"/>
                <c:pt idx="0">
                  <c:v>Active</c:v>
                </c:pt>
                <c:pt idx="1">
                  <c:v>other</c:v>
                </c:pt>
              </c:strCache>
            </c:strRef>
          </c:cat>
          <c:val>
            <c:numRef>
              <c:f>Sheet1!$C$2:$C$3</c:f>
              <c:numCache>
                <c:formatCode>0%</c:formatCode>
                <c:ptCount val="2"/>
                <c:pt idx="0">
                  <c:v>0.53</c:v>
                </c:pt>
                <c:pt idx="1">
                  <c:v>0.47</c:v>
                </c:pt>
              </c:numCache>
            </c:numRef>
          </c:val>
          <c:extLst>
            <c:ext xmlns:c16="http://schemas.microsoft.com/office/drawing/2014/chart" uri="{C3380CC4-5D6E-409C-BE32-E72D297353CC}">
              <c16:uniqueId val="{00000009-41DC-43DC-8AB8-D2D92F8BC00C}"/>
            </c:ext>
          </c:extLst>
        </c:ser>
        <c:ser>
          <c:idx val="2"/>
          <c:order val="2"/>
          <c:tx>
            <c:strRef>
              <c:f>Sheet1!$D$1</c:f>
              <c:strCache>
                <c:ptCount val="1"/>
                <c:pt idx="0">
                  <c:v>Name 3</c:v>
                </c:pt>
              </c:strCache>
            </c:strRef>
          </c:tx>
          <c:spPr>
            <a:ln w="25400">
              <a:solidFill>
                <a:schemeClr val="bg1"/>
              </a:solidFill>
            </a:ln>
          </c:spPr>
          <c:dPt>
            <c:idx val="0"/>
            <c:bubble3D val="0"/>
            <c:spPr>
              <a:solidFill>
                <a:schemeClr val="accent4"/>
              </a:solidFill>
              <a:ln w="25400">
                <a:solidFill>
                  <a:schemeClr val="bg1"/>
                </a:solidFill>
              </a:ln>
              <a:effectLst/>
            </c:spPr>
            <c:extLst>
              <c:ext xmlns:c16="http://schemas.microsoft.com/office/drawing/2014/chart" uri="{C3380CC4-5D6E-409C-BE32-E72D297353CC}">
                <c16:uniqueId val="{0000000B-41DC-43DC-8AB8-D2D92F8BC00C}"/>
              </c:ext>
            </c:extLst>
          </c:dPt>
          <c:dPt>
            <c:idx val="1"/>
            <c:bubble3D val="0"/>
            <c:spPr>
              <a:solidFill>
                <a:schemeClr val="bg1"/>
              </a:solidFill>
              <a:ln w="25400">
                <a:solidFill>
                  <a:schemeClr val="bg1"/>
                </a:solidFill>
              </a:ln>
              <a:effectLst/>
            </c:spPr>
            <c:extLst>
              <c:ext xmlns:c16="http://schemas.microsoft.com/office/drawing/2014/chart" uri="{C3380CC4-5D6E-409C-BE32-E72D297353CC}">
                <c16:uniqueId val="{0000000D-41DC-43DC-8AB8-D2D92F8BC00C}"/>
              </c:ext>
            </c:extLst>
          </c:dPt>
          <c:cat>
            <c:strRef>
              <c:f>Sheet1!$A$2:$A$3</c:f>
              <c:strCache>
                <c:ptCount val="2"/>
                <c:pt idx="0">
                  <c:v>Active</c:v>
                </c:pt>
                <c:pt idx="1">
                  <c:v>other</c:v>
                </c:pt>
              </c:strCache>
            </c:strRef>
          </c:cat>
          <c:val>
            <c:numRef>
              <c:f>Sheet1!$D$2:$D$3</c:f>
              <c:numCache>
                <c:formatCode>0%</c:formatCode>
                <c:ptCount val="2"/>
                <c:pt idx="0">
                  <c:v>0.72</c:v>
                </c:pt>
                <c:pt idx="1">
                  <c:v>0.28000000000000003</c:v>
                </c:pt>
              </c:numCache>
            </c:numRef>
          </c:val>
          <c:extLst>
            <c:ext xmlns:c16="http://schemas.microsoft.com/office/drawing/2014/chart" uri="{C3380CC4-5D6E-409C-BE32-E72D297353CC}">
              <c16:uniqueId val="{0000000E-41DC-43DC-8AB8-D2D92F8BC00C}"/>
            </c:ext>
          </c:extLst>
        </c:ser>
        <c:ser>
          <c:idx val="3"/>
          <c:order val="3"/>
          <c:tx>
            <c:strRef>
              <c:f>Sheet1!$E$1</c:f>
              <c:strCache>
                <c:ptCount val="1"/>
                <c:pt idx="0">
                  <c:v>Name 4</c:v>
                </c:pt>
              </c:strCache>
            </c:strRef>
          </c:tx>
          <c:spPr>
            <a:ln w="25400">
              <a:solidFill>
                <a:schemeClr val="bg1"/>
              </a:solidFill>
            </a:ln>
          </c:spPr>
          <c:dPt>
            <c:idx val="0"/>
            <c:bubble3D val="0"/>
            <c:spPr>
              <a:solidFill>
                <a:schemeClr val="accent3"/>
              </a:solidFill>
              <a:ln w="25400">
                <a:solidFill>
                  <a:schemeClr val="bg1"/>
                </a:solidFill>
              </a:ln>
              <a:effectLst/>
            </c:spPr>
            <c:extLst>
              <c:ext xmlns:c16="http://schemas.microsoft.com/office/drawing/2014/chart" uri="{C3380CC4-5D6E-409C-BE32-E72D297353CC}">
                <c16:uniqueId val="{00000010-41DC-43DC-8AB8-D2D92F8BC00C}"/>
              </c:ext>
            </c:extLst>
          </c:dPt>
          <c:dPt>
            <c:idx val="1"/>
            <c:bubble3D val="0"/>
            <c:spPr>
              <a:solidFill>
                <a:schemeClr val="bg1"/>
              </a:solidFill>
              <a:ln w="25400">
                <a:solidFill>
                  <a:schemeClr val="bg1"/>
                </a:solidFill>
              </a:ln>
              <a:effectLst/>
            </c:spPr>
            <c:extLst>
              <c:ext xmlns:c16="http://schemas.microsoft.com/office/drawing/2014/chart" uri="{C3380CC4-5D6E-409C-BE32-E72D297353CC}">
                <c16:uniqueId val="{00000012-41DC-43DC-8AB8-D2D92F8BC00C}"/>
              </c:ext>
            </c:extLst>
          </c:dPt>
          <c:cat>
            <c:strRef>
              <c:f>Sheet1!$A$2:$A$3</c:f>
              <c:strCache>
                <c:ptCount val="2"/>
                <c:pt idx="0">
                  <c:v>Active</c:v>
                </c:pt>
                <c:pt idx="1">
                  <c:v>other</c:v>
                </c:pt>
              </c:strCache>
            </c:strRef>
          </c:cat>
          <c:val>
            <c:numRef>
              <c:f>Sheet1!$E$2:$E$3</c:f>
              <c:numCache>
                <c:formatCode>0%</c:formatCode>
                <c:ptCount val="2"/>
                <c:pt idx="0">
                  <c:v>0.75</c:v>
                </c:pt>
                <c:pt idx="1">
                  <c:v>0.25</c:v>
                </c:pt>
              </c:numCache>
            </c:numRef>
          </c:val>
          <c:extLst>
            <c:ext xmlns:c16="http://schemas.microsoft.com/office/drawing/2014/chart" uri="{C3380CC4-5D6E-409C-BE32-E72D297353CC}">
              <c16:uniqueId val="{00000013-41DC-43DC-8AB8-D2D92F8BC00C}"/>
            </c:ext>
          </c:extLst>
        </c:ser>
        <c:ser>
          <c:idx val="4"/>
          <c:order val="4"/>
          <c:tx>
            <c:strRef>
              <c:f>Sheet1!$F$1</c:f>
              <c:strCache>
                <c:ptCount val="1"/>
                <c:pt idx="0">
                  <c:v>Name 5</c:v>
                </c:pt>
              </c:strCache>
            </c:strRef>
          </c:tx>
          <c:spPr>
            <a:ln w="25400">
              <a:solidFill>
                <a:schemeClr val="bg1"/>
              </a:solidFill>
            </a:ln>
          </c:spPr>
          <c:dPt>
            <c:idx val="0"/>
            <c:bubble3D val="0"/>
            <c:spPr>
              <a:solidFill>
                <a:schemeClr val="accent1"/>
              </a:solidFill>
              <a:ln w="25400">
                <a:solidFill>
                  <a:schemeClr val="bg1"/>
                </a:solidFill>
              </a:ln>
              <a:effectLst/>
            </c:spPr>
            <c:extLst>
              <c:ext xmlns:c16="http://schemas.microsoft.com/office/drawing/2014/chart" uri="{C3380CC4-5D6E-409C-BE32-E72D297353CC}">
                <c16:uniqueId val="{00000015-41DC-43DC-8AB8-D2D92F8BC00C}"/>
              </c:ext>
            </c:extLst>
          </c:dPt>
          <c:dPt>
            <c:idx val="1"/>
            <c:bubble3D val="0"/>
            <c:spPr>
              <a:solidFill>
                <a:schemeClr val="bg1"/>
              </a:solidFill>
              <a:ln w="25400">
                <a:solidFill>
                  <a:schemeClr val="bg1"/>
                </a:solidFill>
              </a:ln>
              <a:effectLst/>
            </c:spPr>
            <c:extLst>
              <c:ext xmlns:c16="http://schemas.microsoft.com/office/drawing/2014/chart" uri="{C3380CC4-5D6E-409C-BE32-E72D297353CC}">
                <c16:uniqueId val="{00000017-41DC-43DC-8AB8-D2D92F8BC00C}"/>
              </c:ext>
            </c:extLst>
          </c:dPt>
          <c:cat>
            <c:strRef>
              <c:f>Sheet1!$A$2:$A$3</c:f>
              <c:strCache>
                <c:ptCount val="2"/>
                <c:pt idx="0">
                  <c:v>Active</c:v>
                </c:pt>
                <c:pt idx="1">
                  <c:v>other</c:v>
                </c:pt>
              </c:strCache>
            </c:strRef>
          </c:cat>
          <c:val>
            <c:numRef>
              <c:f>Sheet1!$F$2:$F$3</c:f>
              <c:numCache>
                <c:formatCode>0%</c:formatCode>
                <c:ptCount val="2"/>
                <c:pt idx="0">
                  <c:v>0.8</c:v>
                </c:pt>
                <c:pt idx="1">
                  <c:v>0.2</c:v>
                </c:pt>
              </c:numCache>
            </c:numRef>
          </c:val>
          <c:extLst>
            <c:ext xmlns:c16="http://schemas.microsoft.com/office/drawing/2014/chart" uri="{C3380CC4-5D6E-409C-BE32-E72D297353CC}">
              <c16:uniqueId val="{00000018-41DC-43DC-8AB8-D2D92F8BC00C}"/>
            </c:ext>
          </c:extLst>
        </c:ser>
        <c:dLbls>
          <c:showLegendKey val="0"/>
          <c:showVal val="0"/>
          <c:showCatName val="0"/>
          <c:showSerName val="0"/>
          <c:showPercent val="0"/>
          <c:showBubbleSize val="0"/>
          <c:showLeaderLines val="1"/>
        </c:dLbls>
        <c:firstSliceAng val="0"/>
        <c:holeSize val="47"/>
      </c:doughnutChart>
      <c:spPr>
        <a:noFill/>
        <a:ln>
          <a:noFill/>
        </a:ln>
        <a:effectLst/>
      </c:spPr>
    </c:plotArea>
    <c:plotVisOnly val="1"/>
    <c:dispBlanksAs val="gap"/>
    <c:showDLblsOverMax val="0"/>
  </c:chart>
  <c:spPr>
    <a:noFill/>
    <a:ln>
      <a:noFill/>
    </a:ln>
    <a:effectLst/>
  </c:spPr>
  <c:txPr>
    <a:bodyPr/>
    <a:lstStyle/>
    <a:p>
      <a:pPr>
        <a:defRPr b="1"/>
      </a:pPr>
      <a:endParaRPr lang="de-DE"/>
    </a:p>
  </c:txPr>
  <c:externalData r:id="rId3">
    <c:autoUpdate val="0"/>
  </c:externalData>
  <c:userShapes r:id="rId4"/>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3601474837637374"/>
          <c:y val="3.2564394788434019E-3"/>
          <c:w val="0.32536950430381056"/>
          <c:h val="0.84456719639525391"/>
        </c:manualLayout>
      </c:layout>
      <c:doughnutChart>
        <c:varyColors val="1"/>
        <c:ser>
          <c:idx val="0"/>
          <c:order val="0"/>
          <c:tx>
            <c:strRef>
              <c:f>Sheet1!$B$1</c:f>
              <c:strCache>
                <c:ptCount val="1"/>
                <c:pt idx="0">
                  <c:v>Sales</c:v>
                </c:pt>
              </c:strCache>
            </c:strRef>
          </c:tx>
          <c:spPr>
            <a:ln>
              <a:noFill/>
            </a:ln>
          </c:spPr>
          <c:dPt>
            <c:idx val="0"/>
            <c:bubble3D val="0"/>
            <c:spPr>
              <a:solidFill>
                <a:schemeClr val="accent6">
                  <a:alpha val="26000"/>
                </a:schemeClr>
              </a:solidFill>
              <a:ln w="19050">
                <a:noFill/>
              </a:ln>
              <a:effectLst/>
            </c:spPr>
            <c:extLst>
              <c:ext xmlns:c16="http://schemas.microsoft.com/office/drawing/2014/chart" uri="{C3380CC4-5D6E-409C-BE32-E72D297353CC}">
                <c16:uniqueId val="{00000001-EA8B-4FC5-BE4A-BF939259C067}"/>
              </c:ext>
            </c:extLst>
          </c:dPt>
          <c:dPt>
            <c:idx val="1"/>
            <c:bubble3D val="0"/>
            <c:spPr>
              <a:solidFill>
                <a:schemeClr val="accent1">
                  <a:lumMod val="40000"/>
                  <a:lumOff val="60000"/>
                </a:schemeClr>
              </a:solidFill>
              <a:ln w="19050">
                <a:noFill/>
              </a:ln>
              <a:effectLst/>
            </c:spPr>
            <c:extLst>
              <c:ext xmlns:c16="http://schemas.microsoft.com/office/drawing/2014/chart" uri="{C3380CC4-5D6E-409C-BE32-E72D297353CC}">
                <c16:uniqueId val="{00000003-EA8B-4FC5-BE4A-BF939259C067}"/>
              </c:ext>
            </c:extLst>
          </c:dPt>
          <c:dPt>
            <c:idx val="2"/>
            <c:bubble3D val="0"/>
            <c:spPr>
              <a:solidFill>
                <a:schemeClr val="accent1">
                  <a:lumMod val="60000"/>
                  <a:lumOff val="40000"/>
                </a:schemeClr>
              </a:solidFill>
              <a:ln w="19050">
                <a:noFill/>
              </a:ln>
              <a:effectLst/>
            </c:spPr>
            <c:extLst>
              <c:ext xmlns:c16="http://schemas.microsoft.com/office/drawing/2014/chart" uri="{C3380CC4-5D6E-409C-BE32-E72D297353CC}">
                <c16:uniqueId val="{00000005-EA8B-4FC5-BE4A-BF939259C067}"/>
              </c:ext>
            </c:extLst>
          </c:dPt>
          <c:dPt>
            <c:idx val="3"/>
            <c:bubble3D val="0"/>
            <c:spPr>
              <a:solidFill>
                <a:schemeClr val="accent4">
                  <a:lumMod val="60000"/>
                  <a:lumOff val="40000"/>
                </a:schemeClr>
              </a:solidFill>
              <a:ln w="19050">
                <a:noFill/>
              </a:ln>
              <a:effectLst/>
            </c:spPr>
            <c:extLst>
              <c:ext xmlns:c16="http://schemas.microsoft.com/office/drawing/2014/chart" uri="{C3380CC4-5D6E-409C-BE32-E72D297353CC}">
                <c16:uniqueId val="{00000007-EA8B-4FC5-BE4A-BF939259C067}"/>
              </c:ext>
            </c:extLst>
          </c:dPt>
          <c:dPt>
            <c:idx val="4"/>
            <c:bubble3D val="0"/>
            <c:spPr>
              <a:solidFill>
                <a:schemeClr val="accent4">
                  <a:lumMod val="40000"/>
                  <a:lumOff val="60000"/>
                </a:schemeClr>
              </a:solidFill>
              <a:ln w="19050">
                <a:noFill/>
              </a:ln>
              <a:effectLst/>
            </c:spPr>
            <c:extLst>
              <c:ext xmlns:c16="http://schemas.microsoft.com/office/drawing/2014/chart" uri="{C3380CC4-5D6E-409C-BE32-E72D297353CC}">
                <c16:uniqueId val="{00000009-EA8B-4FC5-BE4A-BF939259C067}"/>
              </c:ext>
            </c:extLst>
          </c:dPt>
          <c:dPt>
            <c:idx val="5"/>
            <c:bubble3D val="0"/>
            <c:spPr>
              <a:solidFill>
                <a:schemeClr val="accent3">
                  <a:lumMod val="60000"/>
                  <a:lumOff val="40000"/>
                </a:schemeClr>
              </a:solidFill>
              <a:ln w="19050">
                <a:noFill/>
              </a:ln>
              <a:effectLst/>
            </c:spPr>
            <c:extLst>
              <c:ext xmlns:c16="http://schemas.microsoft.com/office/drawing/2014/chart" uri="{C3380CC4-5D6E-409C-BE32-E72D297353CC}">
                <c16:uniqueId val="{0000000B-EA8B-4FC5-BE4A-BF939259C067}"/>
              </c:ext>
            </c:extLst>
          </c:dPt>
          <c:dPt>
            <c:idx val="6"/>
            <c:bubble3D val="0"/>
            <c:spPr>
              <a:solidFill>
                <a:schemeClr val="accent3">
                  <a:lumMod val="40000"/>
                  <a:lumOff val="60000"/>
                </a:schemeClr>
              </a:solidFill>
              <a:ln w="19050">
                <a:noFill/>
              </a:ln>
              <a:effectLst/>
            </c:spPr>
            <c:extLst>
              <c:ext xmlns:c16="http://schemas.microsoft.com/office/drawing/2014/chart" uri="{C3380CC4-5D6E-409C-BE32-E72D297353CC}">
                <c16:uniqueId val="{0000000D-EA8B-4FC5-BE4A-BF939259C067}"/>
              </c:ext>
            </c:extLst>
          </c:dPt>
          <c:dLbls>
            <c:dLbl>
              <c:idx val="3"/>
              <c:layout>
                <c:manualLayout>
                  <c:x val="-4.1239819921220248E-3"/>
                  <c:y val="-5.353134602054120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A8B-4FC5-BE4A-BF939259C06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3"/>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Item 1</c:v>
                </c:pt>
                <c:pt idx="1">
                  <c:v>Item 2</c:v>
                </c:pt>
                <c:pt idx="2">
                  <c:v>Item 3</c:v>
                </c:pt>
                <c:pt idx="3">
                  <c:v>Item 4</c:v>
                </c:pt>
                <c:pt idx="4">
                  <c:v>Item 5</c:v>
                </c:pt>
                <c:pt idx="5">
                  <c:v>Item 6</c:v>
                </c:pt>
                <c:pt idx="6">
                  <c:v>Item 7</c:v>
                </c:pt>
              </c:strCache>
            </c:strRef>
          </c:cat>
          <c:val>
            <c:numRef>
              <c:f>Sheet1!$B$2:$B$8</c:f>
              <c:numCache>
                <c:formatCode>0%</c:formatCode>
                <c:ptCount val="7"/>
                <c:pt idx="0">
                  <c:v>7.0000000000000007E-2</c:v>
                </c:pt>
                <c:pt idx="1">
                  <c:v>0.12</c:v>
                </c:pt>
                <c:pt idx="2">
                  <c:v>0.18</c:v>
                </c:pt>
                <c:pt idx="3">
                  <c:v>0.32</c:v>
                </c:pt>
                <c:pt idx="4">
                  <c:v>0.03</c:v>
                </c:pt>
                <c:pt idx="5">
                  <c:v>0.21</c:v>
                </c:pt>
                <c:pt idx="6">
                  <c:v>7.0000000000000007E-2</c:v>
                </c:pt>
              </c:numCache>
            </c:numRef>
          </c:val>
          <c:extLst>
            <c:ext xmlns:c16="http://schemas.microsoft.com/office/drawing/2014/chart" uri="{C3380CC4-5D6E-409C-BE32-E72D297353CC}">
              <c16:uniqueId val="{0000000E-EA8B-4FC5-BE4A-BF939259C067}"/>
            </c:ext>
          </c:extLst>
        </c:ser>
        <c:ser>
          <c:idx val="1"/>
          <c:order val="1"/>
          <c:tx>
            <c:strRef>
              <c:f>Sheet1!$C$1</c:f>
              <c:strCache>
                <c:ptCount val="1"/>
                <c:pt idx="0">
                  <c:v>Column1</c:v>
                </c:pt>
              </c:strCache>
            </c:strRef>
          </c:tx>
          <c:spPr>
            <a:ln>
              <a:noFill/>
            </a:ln>
          </c:spPr>
          <c:dPt>
            <c:idx val="0"/>
            <c:bubble3D val="0"/>
            <c:spPr>
              <a:solidFill>
                <a:schemeClr val="accent6"/>
              </a:solidFill>
              <a:ln w="19050">
                <a:noFill/>
              </a:ln>
              <a:effectLst/>
            </c:spPr>
            <c:extLst>
              <c:ext xmlns:c16="http://schemas.microsoft.com/office/drawing/2014/chart" uri="{C3380CC4-5D6E-409C-BE32-E72D297353CC}">
                <c16:uniqueId val="{00000010-EA8B-4FC5-BE4A-BF939259C067}"/>
              </c:ext>
            </c:extLst>
          </c:dPt>
          <c:dPt>
            <c:idx val="1"/>
            <c:bubble3D val="0"/>
            <c:spPr>
              <a:solidFill>
                <a:schemeClr val="accent1"/>
              </a:solidFill>
              <a:ln w="19050">
                <a:noFill/>
              </a:ln>
              <a:effectLst/>
            </c:spPr>
            <c:extLst>
              <c:ext xmlns:c16="http://schemas.microsoft.com/office/drawing/2014/chart" uri="{C3380CC4-5D6E-409C-BE32-E72D297353CC}">
                <c16:uniqueId val="{00000012-EA8B-4FC5-BE4A-BF939259C067}"/>
              </c:ext>
            </c:extLst>
          </c:dPt>
          <c:dPt>
            <c:idx val="2"/>
            <c:bubble3D val="0"/>
            <c:spPr>
              <a:solidFill>
                <a:schemeClr val="accent4"/>
              </a:solidFill>
              <a:ln w="19050">
                <a:noFill/>
              </a:ln>
              <a:effectLst/>
            </c:spPr>
            <c:extLst>
              <c:ext xmlns:c16="http://schemas.microsoft.com/office/drawing/2014/chart" uri="{C3380CC4-5D6E-409C-BE32-E72D297353CC}">
                <c16:uniqueId val="{00000014-EA8B-4FC5-BE4A-BF939259C067}"/>
              </c:ext>
            </c:extLst>
          </c:dPt>
          <c:dPt>
            <c:idx val="3"/>
            <c:bubble3D val="0"/>
            <c:spPr>
              <a:solidFill>
                <a:schemeClr val="accent3"/>
              </a:solidFill>
              <a:ln w="19050">
                <a:noFill/>
              </a:ln>
              <a:effectLst/>
            </c:spPr>
            <c:extLst>
              <c:ext xmlns:c16="http://schemas.microsoft.com/office/drawing/2014/chart" uri="{C3380CC4-5D6E-409C-BE32-E72D297353CC}">
                <c16:uniqueId val="{00000016-EA8B-4FC5-BE4A-BF939259C067}"/>
              </c:ext>
            </c:extLst>
          </c:dPt>
          <c:dPt>
            <c:idx val="4"/>
            <c:bubble3D val="0"/>
            <c:spPr>
              <a:solidFill>
                <a:schemeClr val="accent5"/>
              </a:solidFill>
              <a:ln w="19050">
                <a:noFill/>
              </a:ln>
              <a:effectLst/>
            </c:spPr>
            <c:extLst>
              <c:ext xmlns:c16="http://schemas.microsoft.com/office/drawing/2014/chart" uri="{C3380CC4-5D6E-409C-BE32-E72D297353CC}">
                <c16:uniqueId val="{00000018-EA8B-4FC5-BE4A-BF939259C067}"/>
              </c:ext>
            </c:extLst>
          </c:dPt>
          <c:dPt>
            <c:idx val="5"/>
            <c:bubble3D val="0"/>
            <c:spPr>
              <a:solidFill>
                <a:schemeClr val="accent6"/>
              </a:solidFill>
              <a:ln w="19050">
                <a:noFill/>
              </a:ln>
              <a:effectLst/>
            </c:spPr>
            <c:extLst>
              <c:ext xmlns:c16="http://schemas.microsoft.com/office/drawing/2014/chart" uri="{C3380CC4-5D6E-409C-BE32-E72D297353CC}">
                <c16:uniqueId val="{0000001A-EA8B-4FC5-BE4A-BF939259C067}"/>
              </c:ext>
            </c:extLst>
          </c:dPt>
          <c:dPt>
            <c:idx val="6"/>
            <c:bubble3D val="0"/>
            <c:spPr>
              <a:solidFill>
                <a:schemeClr val="accent1">
                  <a:lumMod val="60000"/>
                </a:schemeClr>
              </a:solidFill>
              <a:ln w="19050">
                <a:noFill/>
              </a:ln>
              <a:effectLst/>
            </c:spPr>
            <c:extLst>
              <c:ext xmlns:c16="http://schemas.microsoft.com/office/drawing/2014/chart" uri="{C3380CC4-5D6E-409C-BE32-E72D297353CC}">
                <c16:uniqueId val="{0000001C-EA8B-4FC5-BE4A-BF939259C067}"/>
              </c:ext>
            </c:extLst>
          </c:dPt>
          <c:dLbls>
            <c:dLbl>
              <c:idx val="1"/>
              <c:layout>
                <c:manualLayout>
                  <c:x val="5.4005043192740972E-3"/>
                  <c:y val="1.12679886654889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EA8B-4FC5-BE4A-BF939259C067}"/>
                </c:ext>
              </c:extLst>
            </c:dLbl>
            <c:dLbl>
              <c:idx val="2"/>
              <c:layout>
                <c:manualLayout>
                  <c:x val="-1.2369339764999659E-2"/>
                  <c:y val="-2.67645455123553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EA8B-4FC5-BE4A-BF939259C067}"/>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8</c:f>
              <c:strCache>
                <c:ptCount val="7"/>
                <c:pt idx="0">
                  <c:v>Item 1</c:v>
                </c:pt>
                <c:pt idx="1">
                  <c:v>Item 2</c:v>
                </c:pt>
                <c:pt idx="2">
                  <c:v>Item 3</c:v>
                </c:pt>
                <c:pt idx="3">
                  <c:v>Item 4</c:v>
                </c:pt>
                <c:pt idx="4">
                  <c:v>Item 5</c:v>
                </c:pt>
                <c:pt idx="5">
                  <c:v>Item 6</c:v>
                </c:pt>
                <c:pt idx="6">
                  <c:v>Item 7</c:v>
                </c:pt>
              </c:strCache>
            </c:strRef>
          </c:cat>
          <c:val>
            <c:numRef>
              <c:f>Sheet1!$C$2:$C$8</c:f>
              <c:numCache>
                <c:formatCode>0%</c:formatCode>
                <c:ptCount val="7"/>
                <c:pt idx="0">
                  <c:v>7.0000000000000007E-2</c:v>
                </c:pt>
                <c:pt idx="1">
                  <c:v>0.3</c:v>
                </c:pt>
                <c:pt idx="2">
                  <c:v>0.35</c:v>
                </c:pt>
                <c:pt idx="3">
                  <c:v>0.28000000000000003</c:v>
                </c:pt>
              </c:numCache>
            </c:numRef>
          </c:val>
          <c:extLst>
            <c:ext xmlns:c16="http://schemas.microsoft.com/office/drawing/2014/chart" uri="{C3380CC4-5D6E-409C-BE32-E72D297353CC}">
              <c16:uniqueId val="{0000001D-EA8B-4FC5-BE4A-BF939259C067}"/>
            </c:ext>
          </c:extLst>
        </c:ser>
        <c:dLbls>
          <c:showLegendKey val="0"/>
          <c:showVal val="0"/>
          <c:showCatName val="0"/>
          <c:showSerName val="0"/>
          <c:showPercent val="0"/>
          <c:showBubbleSize val="0"/>
          <c:showLeaderLines val="1"/>
        </c:dLbls>
        <c:firstSliceAng val="335"/>
        <c:holeSize val="51"/>
      </c:doughnutChart>
      <c:spPr>
        <a:noFill/>
        <a:ln>
          <a:noFill/>
        </a:ln>
        <a:effectLst/>
      </c:spPr>
    </c:plotArea>
    <c:legend>
      <c:legendPos val="r"/>
      <c:layout>
        <c:manualLayout>
          <c:xMode val="edge"/>
          <c:yMode val="edge"/>
          <c:x val="0.73497549553199815"/>
          <c:y val="0.42599193884090508"/>
          <c:w val="6.4281942725551516E-2"/>
          <c:h val="0.4276112513467962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34853576964289E-2"/>
          <c:y val="9.9977946931514627E-2"/>
          <c:w val="0.8385372134839818"/>
          <c:h val="0.82989492539565701"/>
        </c:manualLayout>
      </c:layout>
      <c:lineChart>
        <c:grouping val="standard"/>
        <c:varyColors val="0"/>
        <c:ser>
          <c:idx val="0"/>
          <c:order val="0"/>
          <c:tx>
            <c:strRef>
              <c:f>Sheet1!$A$2</c:f>
              <c:strCache>
                <c:ptCount val="1"/>
                <c:pt idx="0">
                  <c:v>Label A</c:v>
                </c:pt>
              </c:strCache>
            </c:strRef>
          </c:tx>
          <c:spPr>
            <a:ln w="12700">
              <a:solidFill>
                <a:schemeClr val="accent6"/>
              </a:solidFill>
              <a:prstDash val="lgDash"/>
            </a:ln>
          </c:spPr>
          <c:marker>
            <c:symbol val="none"/>
          </c:marker>
          <c:cat>
            <c:numRef>
              <c:f>Sheet1!$B$1:$E$1</c:f>
              <c:numCache>
                <c:formatCode>General</c:formatCode>
                <c:ptCount val="4"/>
                <c:pt idx="0">
                  <c:v>2000</c:v>
                </c:pt>
                <c:pt idx="1">
                  <c:v>2001</c:v>
                </c:pt>
                <c:pt idx="2">
                  <c:v>2002</c:v>
                </c:pt>
                <c:pt idx="3">
                  <c:v>2003</c:v>
                </c:pt>
              </c:numCache>
            </c:numRef>
          </c:cat>
          <c:val>
            <c:numRef>
              <c:f>Sheet1!$B$2:$E$2</c:f>
              <c:numCache>
                <c:formatCode>General</c:formatCode>
                <c:ptCount val="4"/>
                <c:pt idx="0">
                  <c:v>2</c:v>
                </c:pt>
                <c:pt idx="1">
                  <c:v>10</c:v>
                </c:pt>
                <c:pt idx="2">
                  <c:v>15</c:v>
                </c:pt>
                <c:pt idx="3">
                  <c:v>40</c:v>
                </c:pt>
              </c:numCache>
            </c:numRef>
          </c:val>
          <c:smooth val="0"/>
          <c:extLst>
            <c:ext xmlns:c16="http://schemas.microsoft.com/office/drawing/2014/chart" uri="{C3380CC4-5D6E-409C-BE32-E72D297353CC}">
              <c16:uniqueId val="{00000000-25B1-4167-830D-2054A0755FDA}"/>
            </c:ext>
          </c:extLst>
        </c:ser>
        <c:ser>
          <c:idx val="1"/>
          <c:order val="1"/>
          <c:tx>
            <c:strRef>
              <c:f>Sheet1!$A$3</c:f>
              <c:strCache>
                <c:ptCount val="1"/>
                <c:pt idx="0">
                  <c:v>Label B</c:v>
                </c:pt>
              </c:strCache>
            </c:strRef>
          </c:tx>
          <c:spPr>
            <a:ln w="25400">
              <a:solidFill>
                <a:schemeClr val="accent3"/>
              </a:solidFill>
            </a:ln>
          </c:spPr>
          <c:marker>
            <c:symbol val="none"/>
          </c:marker>
          <c:cat>
            <c:numRef>
              <c:f>Sheet1!$B$1:$E$1</c:f>
              <c:numCache>
                <c:formatCode>General</c:formatCode>
                <c:ptCount val="4"/>
                <c:pt idx="0">
                  <c:v>2000</c:v>
                </c:pt>
                <c:pt idx="1">
                  <c:v>2001</c:v>
                </c:pt>
                <c:pt idx="2">
                  <c:v>2002</c:v>
                </c:pt>
                <c:pt idx="3">
                  <c:v>2003</c:v>
                </c:pt>
              </c:numCache>
            </c:numRef>
          </c:cat>
          <c:val>
            <c:numRef>
              <c:f>Sheet1!$B$3:$E$3</c:f>
              <c:numCache>
                <c:formatCode>General</c:formatCode>
                <c:ptCount val="4"/>
                <c:pt idx="0">
                  <c:v>8</c:v>
                </c:pt>
                <c:pt idx="1">
                  <c:v>2</c:v>
                </c:pt>
                <c:pt idx="2">
                  <c:v>25</c:v>
                </c:pt>
                <c:pt idx="3">
                  <c:v>30</c:v>
                </c:pt>
              </c:numCache>
            </c:numRef>
          </c:val>
          <c:smooth val="0"/>
          <c:extLst>
            <c:ext xmlns:c16="http://schemas.microsoft.com/office/drawing/2014/chart" uri="{C3380CC4-5D6E-409C-BE32-E72D297353CC}">
              <c16:uniqueId val="{00000001-25B1-4167-830D-2054A0755FDA}"/>
            </c:ext>
          </c:extLst>
        </c:ser>
        <c:ser>
          <c:idx val="2"/>
          <c:order val="2"/>
          <c:tx>
            <c:strRef>
              <c:f>Sheet1!$A$4</c:f>
              <c:strCache>
                <c:ptCount val="1"/>
                <c:pt idx="0">
                  <c:v>Label C</c:v>
                </c:pt>
              </c:strCache>
            </c:strRef>
          </c:tx>
          <c:spPr>
            <a:ln w="12700">
              <a:solidFill>
                <a:schemeClr val="accent4"/>
              </a:solidFill>
              <a:prstDash val="lgDash"/>
            </a:ln>
          </c:spPr>
          <c:marker>
            <c:symbol val="none"/>
          </c:marker>
          <c:cat>
            <c:numRef>
              <c:f>Sheet1!$B$1:$E$1</c:f>
              <c:numCache>
                <c:formatCode>General</c:formatCode>
                <c:ptCount val="4"/>
                <c:pt idx="0">
                  <c:v>2000</c:v>
                </c:pt>
                <c:pt idx="1">
                  <c:v>2001</c:v>
                </c:pt>
                <c:pt idx="2">
                  <c:v>2002</c:v>
                </c:pt>
                <c:pt idx="3">
                  <c:v>2003</c:v>
                </c:pt>
              </c:numCache>
            </c:numRef>
          </c:cat>
          <c:val>
            <c:numRef>
              <c:f>Sheet1!$B$4:$E$4</c:f>
              <c:numCache>
                <c:formatCode>General</c:formatCode>
                <c:ptCount val="4"/>
                <c:pt idx="0">
                  <c:v>45</c:v>
                </c:pt>
                <c:pt idx="1">
                  <c:v>35</c:v>
                </c:pt>
                <c:pt idx="2">
                  <c:v>45</c:v>
                </c:pt>
                <c:pt idx="3">
                  <c:v>43.9</c:v>
                </c:pt>
              </c:numCache>
            </c:numRef>
          </c:val>
          <c:smooth val="0"/>
          <c:extLst>
            <c:ext xmlns:c16="http://schemas.microsoft.com/office/drawing/2014/chart" uri="{C3380CC4-5D6E-409C-BE32-E72D297353CC}">
              <c16:uniqueId val="{00000002-25B1-4167-830D-2054A0755FDA}"/>
            </c:ext>
          </c:extLst>
        </c:ser>
        <c:ser>
          <c:idx val="3"/>
          <c:order val="3"/>
          <c:tx>
            <c:strRef>
              <c:f>Sheet1!$A$5</c:f>
              <c:strCache>
                <c:ptCount val="1"/>
                <c:pt idx="0">
                  <c:v>Label D</c:v>
                </c:pt>
              </c:strCache>
            </c:strRef>
          </c:tx>
          <c:spPr>
            <a:ln w="25400">
              <a:solidFill>
                <a:schemeClr val="accent1"/>
              </a:solidFill>
              <a:prstDash val="solid"/>
            </a:ln>
          </c:spPr>
          <c:marker>
            <c:symbol val="none"/>
          </c:marker>
          <c:cat>
            <c:numRef>
              <c:f>Sheet1!$B$1:$E$1</c:f>
              <c:numCache>
                <c:formatCode>General</c:formatCode>
                <c:ptCount val="4"/>
                <c:pt idx="0">
                  <c:v>2000</c:v>
                </c:pt>
                <c:pt idx="1">
                  <c:v>2001</c:v>
                </c:pt>
                <c:pt idx="2">
                  <c:v>2002</c:v>
                </c:pt>
                <c:pt idx="3">
                  <c:v>2003</c:v>
                </c:pt>
              </c:numCache>
            </c:numRef>
          </c:cat>
          <c:val>
            <c:numRef>
              <c:f>Sheet1!$B$5:$E$5</c:f>
              <c:numCache>
                <c:formatCode>General</c:formatCode>
                <c:ptCount val="4"/>
                <c:pt idx="0">
                  <c:v>30</c:v>
                </c:pt>
                <c:pt idx="1">
                  <c:v>40</c:v>
                </c:pt>
                <c:pt idx="2">
                  <c:v>25</c:v>
                </c:pt>
                <c:pt idx="3">
                  <c:v>35</c:v>
                </c:pt>
              </c:numCache>
            </c:numRef>
          </c:val>
          <c:smooth val="0"/>
          <c:extLst>
            <c:ext xmlns:c16="http://schemas.microsoft.com/office/drawing/2014/chart" uri="{C3380CC4-5D6E-409C-BE32-E72D297353CC}">
              <c16:uniqueId val="{00000003-25B1-4167-830D-2054A0755FDA}"/>
            </c:ext>
          </c:extLst>
        </c:ser>
        <c:dLbls>
          <c:showLegendKey val="0"/>
          <c:showVal val="0"/>
          <c:showCatName val="0"/>
          <c:showSerName val="0"/>
          <c:showPercent val="0"/>
          <c:showBubbleSize val="0"/>
        </c:dLbls>
        <c:smooth val="0"/>
        <c:axId val="549478920"/>
        <c:axId val="549479312"/>
      </c:lineChart>
      <c:catAx>
        <c:axId val="549478920"/>
        <c:scaling>
          <c:orientation val="minMax"/>
        </c:scaling>
        <c:delete val="0"/>
        <c:axPos val="b"/>
        <c:numFmt formatCode="General" sourceLinked="1"/>
        <c:majorTickMark val="none"/>
        <c:minorTickMark val="none"/>
        <c:tickLblPos val="nextTo"/>
        <c:spPr>
          <a:ln w="12700">
            <a:solidFill>
              <a:schemeClr val="tx2">
                <a:lumMod val="60000"/>
                <a:lumOff val="40000"/>
              </a:schemeClr>
            </a:solidFill>
          </a:ln>
        </c:spPr>
        <c:txPr>
          <a:bodyPr rot="0" vert="horz"/>
          <a:lstStyle/>
          <a:p>
            <a:pPr>
              <a:defRPr/>
            </a:pPr>
            <a:endParaRPr lang="de-DE"/>
          </a:p>
        </c:txPr>
        <c:crossAx val="549479312"/>
        <c:crosses val="autoZero"/>
        <c:auto val="1"/>
        <c:lblAlgn val="ctr"/>
        <c:lblOffset val="100"/>
        <c:tickLblSkip val="1"/>
        <c:tickMarkSkip val="1"/>
        <c:noMultiLvlLbl val="0"/>
      </c:catAx>
      <c:valAx>
        <c:axId val="549479312"/>
        <c:scaling>
          <c:orientation val="minMax"/>
        </c:scaling>
        <c:delete val="0"/>
        <c:axPos val="l"/>
        <c:numFmt formatCode="General" sourceLinked="1"/>
        <c:majorTickMark val="none"/>
        <c:minorTickMark val="none"/>
        <c:tickLblPos val="nextTo"/>
        <c:spPr>
          <a:ln w="12700">
            <a:noFill/>
          </a:ln>
        </c:spPr>
        <c:txPr>
          <a:bodyPr rot="0" vert="horz"/>
          <a:lstStyle/>
          <a:p>
            <a:pPr>
              <a:defRPr/>
            </a:pPr>
            <a:endParaRPr lang="de-DE"/>
          </a:p>
        </c:txPr>
        <c:crossAx val="549478920"/>
        <c:crosses val="autoZero"/>
        <c:crossBetween val="midCat"/>
        <c:majorUnit val="10"/>
      </c:valAx>
      <c:spPr>
        <a:ln>
          <a:noFill/>
        </a:ln>
      </c:spPr>
    </c:plotArea>
    <c:plotVisOnly val="1"/>
    <c:dispBlanksAs val="gap"/>
    <c:showDLblsOverMax val="0"/>
  </c:chart>
  <c:txPr>
    <a:bodyPr/>
    <a:lstStyle/>
    <a:p>
      <a:pPr>
        <a:defRPr sz="1400">
          <a:solidFill>
            <a:schemeClr val="tx2"/>
          </a:solidFill>
          <a:latin typeface="+mn-lt"/>
        </a:defRPr>
      </a:pPr>
      <a:endParaRPr lang="de-DE"/>
    </a:p>
  </c:txPr>
  <c:externalData r:id="rId1">
    <c:autoUpdate val="0"/>
  </c:externalData>
  <c:userShapes r:id="rId2"/>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34853576964289E-2"/>
          <c:y val="9.9977946931514627E-2"/>
          <c:w val="0.8418471019190229"/>
          <c:h val="0.82989492539565701"/>
        </c:manualLayout>
      </c:layout>
      <c:lineChart>
        <c:grouping val="standard"/>
        <c:varyColors val="0"/>
        <c:ser>
          <c:idx val="0"/>
          <c:order val="0"/>
          <c:tx>
            <c:strRef>
              <c:f>Sheet1!$A$2</c:f>
              <c:strCache>
                <c:ptCount val="1"/>
                <c:pt idx="0">
                  <c:v>Label A</c:v>
                </c:pt>
              </c:strCache>
            </c:strRef>
          </c:tx>
          <c:spPr>
            <a:ln w="25400">
              <a:solidFill>
                <a:schemeClr val="accent6"/>
              </a:solidFill>
            </a:ln>
          </c:spPr>
          <c:marker>
            <c:symbol val="none"/>
          </c:marker>
          <c:cat>
            <c:numRef>
              <c:f>Sheet1!$B$1:$E$1</c:f>
              <c:numCache>
                <c:formatCode>General</c:formatCode>
                <c:ptCount val="4"/>
                <c:pt idx="0">
                  <c:v>2000</c:v>
                </c:pt>
                <c:pt idx="1">
                  <c:v>2001</c:v>
                </c:pt>
                <c:pt idx="2">
                  <c:v>2002</c:v>
                </c:pt>
                <c:pt idx="3">
                  <c:v>2003</c:v>
                </c:pt>
              </c:numCache>
            </c:numRef>
          </c:cat>
          <c:val>
            <c:numRef>
              <c:f>Sheet1!$B$2:$E$2</c:f>
              <c:numCache>
                <c:formatCode>General</c:formatCode>
                <c:ptCount val="4"/>
                <c:pt idx="0">
                  <c:v>2</c:v>
                </c:pt>
                <c:pt idx="1">
                  <c:v>10</c:v>
                </c:pt>
                <c:pt idx="2">
                  <c:v>15</c:v>
                </c:pt>
                <c:pt idx="3">
                  <c:v>40</c:v>
                </c:pt>
              </c:numCache>
            </c:numRef>
          </c:val>
          <c:smooth val="1"/>
          <c:extLst>
            <c:ext xmlns:c16="http://schemas.microsoft.com/office/drawing/2014/chart" uri="{C3380CC4-5D6E-409C-BE32-E72D297353CC}">
              <c16:uniqueId val="{00000000-511C-4EF9-BD4D-6E72747B2024}"/>
            </c:ext>
          </c:extLst>
        </c:ser>
        <c:ser>
          <c:idx val="1"/>
          <c:order val="1"/>
          <c:tx>
            <c:strRef>
              <c:f>Sheet1!$A$3</c:f>
              <c:strCache>
                <c:ptCount val="1"/>
                <c:pt idx="0">
                  <c:v>Label B</c:v>
                </c:pt>
              </c:strCache>
            </c:strRef>
          </c:tx>
          <c:spPr>
            <a:ln w="25400">
              <a:solidFill>
                <a:schemeClr val="accent3"/>
              </a:solidFill>
            </a:ln>
          </c:spPr>
          <c:marker>
            <c:symbol val="none"/>
          </c:marker>
          <c:cat>
            <c:numRef>
              <c:f>Sheet1!$B$1:$E$1</c:f>
              <c:numCache>
                <c:formatCode>General</c:formatCode>
                <c:ptCount val="4"/>
                <c:pt idx="0">
                  <c:v>2000</c:v>
                </c:pt>
                <c:pt idx="1">
                  <c:v>2001</c:v>
                </c:pt>
                <c:pt idx="2">
                  <c:v>2002</c:v>
                </c:pt>
                <c:pt idx="3">
                  <c:v>2003</c:v>
                </c:pt>
              </c:numCache>
            </c:numRef>
          </c:cat>
          <c:val>
            <c:numRef>
              <c:f>Sheet1!$B$3:$E$3</c:f>
              <c:numCache>
                <c:formatCode>General</c:formatCode>
                <c:ptCount val="4"/>
                <c:pt idx="0">
                  <c:v>8</c:v>
                </c:pt>
                <c:pt idx="1">
                  <c:v>2</c:v>
                </c:pt>
                <c:pt idx="2">
                  <c:v>25</c:v>
                </c:pt>
                <c:pt idx="3">
                  <c:v>30</c:v>
                </c:pt>
              </c:numCache>
            </c:numRef>
          </c:val>
          <c:smooth val="1"/>
          <c:extLst>
            <c:ext xmlns:c16="http://schemas.microsoft.com/office/drawing/2014/chart" uri="{C3380CC4-5D6E-409C-BE32-E72D297353CC}">
              <c16:uniqueId val="{00000001-511C-4EF9-BD4D-6E72747B2024}"/>
            </c:ext>
          </c:extLst>
        </c:ser>
        <c:ser>
          <c:idx val="2"/>
          <c:order val="2"/>
          <c:tx>
            <c:strRef>
              <c:f>Sheet1!$A$4</c:f>
              <c:strCache>
                <c:ptCount val="1"/>
                <c:pt idx="0">
                  <c:v>Label C</c:v>
                </c:pt>
              </c:strCache>
            </c:strRef>
          </c:tx>
          <c:spPr>
            <a:ln w="25400">
              <a:solidFill>
                <a:schemeClr val="accent4"/>
              </a:solidFill>
            </a:ln>
          </c:spPr>
          <c:marker>
            <c:symbol val="none"/>
          </c:marker>
          <c:cat>
            <c:numRef>
              <c:f>Sheet1!$B$1:$E$1</c:f>
              <c:numCache>
                <c:formatCode>General</c:formatCode>
                <c:ptCount val="4"/>
                <c:pt idx="0">
                  <c:v>2000</c:v>
                </c:pt>
                <c:pt idx="1">
                  <c:v>2001</c:v>
                </c:pt>
                <c:pt idx="2">
                  <c:v>2002</c:v>
                </c:pt>
                <c:pt idx="3">
                  <c:v>2003</c:v>
                </c:pt>
              </c:numCache>
            </c:numRef>
          </c:cat>
          <c:val>
            <c:numRef>
              <c:f>Sheet1!$B$4:$E$4</c:f>
              <c:numCache>
                <c:formatCode>General</c:formatCode>
                <c:ptCount val="4"/>
                <c:pt idx="0">
                  <c:v>45</c:v>
                </c:pt>
                <c:pt idx="1">
                  <c:v>35</c:v>
                </c:pt>
                <c:pt idx="2">
                  <c:v>45</c:v>
                </c:pt>
                <c:pt idx="3">
                  <c:v>43.9</c:v>
                </c:pt>
              </c:numCache>
            </c:numRef>
          </c:val>
          <c:smooth val="1"/>
          <c:extLst>
            <c:ext xmlns:c16="http://schemas.microsoft.com/office/drawing/2014/chart" uri="{C3380CC4-5D6E-409C-BE32-E72D297353CC}">
              <c16:uniqueId val="{00000002-511C-4EF9-BD4D-6E72747B2024}"/>
            </c:ext>
          </c:extLst>
        </c:ser>
        <c:ser>
          <c:idx val="3"/>
          <c:order val="3"/>
          <c:tx>
            <c:strRef>
              <c:f>Sheet1!$A$5</c:f>
              <c:strCache>
                <c:ptCount val="1"/>
                <c:pt idx="0">
                  <c:v>Label D</c:v>
                </c:pt>
              </c:strCache>
            </c:strRef>
          </c:tx>
          <c:spPr>
            <a:ln w="25400">
              <a:solidFill>
                <a:schemeClr val="accent1"/>
              </a:solidFill>
            </a:ln>
          </c:spPr>
          <c:marker>
            <c:symbol val="none"/>
          </c:marker>
          <c:cat>
            <c:numRef>
              <c:f>Sheet1!$B$1:$E$1</c:f>
              <c:numCache>
                <c:formatCode>General</c:formatCode>
                <c:ptCount val="4"/>
                <c:pt idx="0">
                  <c:v>2000</c:v>
                </c:pt>
                <c:pt idx="1">
                  <c:v>2001</c:v>
                </c:pt>
                <c:pt idx="2">
                  <c:v>2002</c:v>
                </c:pt>
                <c:pt idx="3">
                  <c:v>2003</c:v>
                </c:pt>
              </c:numCache>
            </c:numRef>
          </c:cat>
          <c:val>
            <c:numRef>
              <c:f>Sheet1!$B$5:$E$5</c:f>
              <c:numCache>
                <c:formatCode>General</c:formatCode>
                <c:ptCount val="4"/>
                <c:pt idx="0">
                  <c:v>30</c:v>
                </c:pt>
                <c:pt idx="1">
                  <c:v>40</c:v>
                </c:pt>
                <c:pt idx="2">
                  <c:v>25</c:v>
                </c:pt>
                <c:pt idx="3">
                  <c:v>35</c:v>
                </c:pt>
              </c:numCache>
            </c:numRef>
          </c:val>
          <c:smooth val="1"/>
          <c:extLst>
            <c:ext xmlns:c16="http://schemas.microsoft.com/office/drawing/2014/chart" uri="{C3380CC4-5D6E-409C-BE32-E72D297353CC}">
              <c16:uniqueId val="{00000003-511C-4EF9-BD4D-6E72747B2024}"/>
            </c:ext>
          </c:extLst>
        </c:ser>
        <c:dLbls>
          <c:showLegendKey val="0"/>
          <c:showVal val="0"/>
          <c:showCatName val="0"/>
          <c:showSerName val="0"/>
          <c:showPercent val="0"/>
          <c:showBubbleSize val="0"/>
        </c:dLbls>
        <c:smooth val="0"/>
        <c:axId val="549480096"/>
        <c:axId val="549480488"/>
      </c:lineChart>
      <c:catAx>
        <c:axId val="549480096"/>
        <c:scaling>
          <c:orientation val="minMax"/>
        </c:scaling>
        <c:delete val="0"/>
        <c:axPos val="b"/>
        <c:numFmt formatCode="General" sourceLinked="1"/>
        <c:majorTickMark val="none"/>
        <c:minorTickMark val="none"/>
        <c:tickLblPos val="nextTo"/>
        <c:txPr>
          <a:bodyPr rot="0" vert="horz"/>
          <a:lstStyle/>
          <a:p>
            <a:pPr>
              <a:defRPr/>
            </a:pPr>
            <a:endParaRPr lang="de-DE"/>
          </a:p>
        </c:txPr>
        <c:crossAx val="549480488"/>
        <c:crosses val="autoZero"/>
        <c:auto val="1"/>
        <c:lblAlgn val="ctr"/>
        <c:lblOffset val="100"/>
        <c:tickLblSkip val="1"/>
        <c:tickMarkSkip val="1"/>
        <c:noMultiLvlLbl val="0"/>
      </c:catAx>
      <c:valAx>
        <c:axId val="549480488"/>
        <c:scaling>
          <c:orientation val="minMax"/>
        </c:scaling>
        <c:delete val="0"/>
        <c:axPos val="l"/>
        <c:majorGridlines>
          <c:spPr>
            <a:ln>
              <a:noFill/>
            </a:ln>
          </c:spPr>
        </c:majorGridlines>
        <c:numFmt formatCode="General" sourceLinked="1"/>
        <c:majorTickMark val="none"/>
        <c:minorTickMark val="none"/>
        <c:tickLblPos val="nextTo"/>
        <c:spPr>
          <a:ln>
            <a:noFill/>
          </a:ln>
        </c:spPr>
        <c:txPr>
          <a:bodyPr rot="0" vert="horz"/>
          <a:lstStyle/>
          <a:p>
            <a:pPr>
              <a:defRPr/>
            </a:pPr>
            <a:endParaRPr lang="de-DE"/>
          </a:p>
        </c:txPr>
        <c:crossAx val="549480096"/>
        <c:crosses val="autoZero"/>
        <c:crossBetween val="midCat"/>
        <c:majorUnit val="10"/>
      </c:valAx>
    </c:plotArea>
    <c:plotVisOnly val="1"/>
    <c:dispBlanksAs val="gap"/>
    <c:showDLblsOverMax val="0"/>
  </c:chart>
  <c:txPr>
    <a:bodyPr/>
    <a:lstStyle/>
    <a:p>
      <a:pPr>
        <a:defRPr sz="1400">
          <a:solidFill>
            <a:schemeClr val="tx2"/>
          </a:solidFill>
        </a:defRPr>
      </a:pPr>
      <a:endParaRPr lang="de-DE"/>
    </a:p>
  </c:txPr>
  <c:externalData r:id="rId1">
    <c:autoUpdate val="0"/>
  </c:externalData>
  <c:userShapes r:id="rId2"/>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4.0678054669043069E-2"/>
          <c:y val="2.3127544282538232E-2"/>
          <c:w val="0.81965311015063858"/>
          <c:h val="0.90119037666501245"/>
        </c:manualLayout>
      </c:layout>
      <c:areaChart>
        <c:grouping val="stacked"/>
        <c:varyColors val="0"/>
        <c:ser>
          <c:idx val="0"/>
          <c:order val="0"/>
          <c:tx>
            <c:strRef>
              <c:f>Sheet1!$A$2</c:f>
              <c:strCache>
                <c:ptCount val="1"/>
                <c:pt idx="0">
                  <c:v>Label A</c:v>
                </c:pt>
              </c:strCache>
            </c:strRef>
          </c:tx>
          <c:spPr>
            <a:solidFill>
              <a:schemeClr val="accent1">
                <a:shade val="53000"/>
              </a:schemeClr>
            </a:solidFill>
            <a:ln>
              <a:noFill/>
            </a:ln>
            <a:effectLst/>
          </c:spPr>
          <c:dLbls>
            <c:delete val="1"/>
          </c:dLbls>
          <c:cat>
            <c:numRef>
              <c:f>Sheet1!$B$1:$E$1</c:f>
              <c:numCache>
                <c:formatCode>General</c:formatCode>
                <c:ptCount val="4"/>
                <c:pt idx="0">
                  <c:v>2000</c:v>
                </c:pt>
                <c:pt idx="1">
                  <c:v>2001</c:v>
                </c:pt>
                <c:pt idx="2">
                  <c:v>2002</c:v>
                </c:pt>
                <c:pt idx="3">
                  <c:v>2003</c:v>
                </c:pt>
              </c:numCache>
            </c:numRef>
          </c:cat>
          <c:val>
            <c:numRef>
              <c:f>Sheet1!$B$2:$E$2</c:f>
              <c:numCache>
                <c:formatCode>General</c:formatCode>
                <c:ptCount val="4"/>
                <c:pt idx="0">
                  <c:v>12</c:v>
                </c:pt>
                <c:pt idx="1">
                  <c:v>15</c:v>
                </c:pt>
                <c:pt idx="2">
                  <c:v>10</c:v>
                </c:pt>
                <c:pt idx="3">
                  <c:v>14</c:v>
                </c:pt>
              </c:numCache>
            </c:numRef>
          </c:val>
          <c:extLst>
            <c:ext xmlns:c16="http://schemas.microsoft.com/office/drawing/2014/chart" uri="{C3380CC4-5D6E-409C-BE32-E72D297353CC}">
              <c16:uniqueId val="{00000000-A5DF-424B-9213-3312C914D9D5}"/>
            </c:ext>
          </c:extLst>
        </c:ser>
        <c:ser>
          <c:idx val="1"/>
          <c:order val="1"/>
          <c:tx>
            <c:strRef>
              <c:f>Sheet1!$A$3</c:f>
              <c:strCache>
                <c:ptCount val="1"/>
                <c:pt idx="0">
                  <c:v>Label B</c:v>
                </c:pt>
              </c:strCache>
            </c:strRef>
          </c:tx>
          <c:spPr>
            <a:solidFill>
              <a:schemeClr val="accent1">
                <a:shade val="76000"/>
              </a:schemeClr>
            </a:solidFill>
            <a:ln>
              <a:noFill/>
            </a:ln>
            <a:effectLst/>
          </c:spPr>
          <c:dLbls>
            <c:delete val="1"/>
          </c:dLbls>
          <c:cat>
            <c:numRef>
              <c:f>Sheet1!$B$1:$E$1</c:f>
              <c:numCache>
                <c:formatCode>General</c:formatCode>
                <c:ptCount val="4"/>
                <c:pt idx="0">
                  <c:v>2000</c:v>
                </c:pt>
                <c:pt idx="1">
                  <c:v>2001</c:v>
                </c:pt>
                <c:pt idx="2">
                  <c:v>2002</c:v>
                </c:pt>
                <c:pt idx="3">
                  <c:v>2003</c:v>
                </c:pt>
              </c:numCache>
            </c:numRef>
          </c:cat>
          <c:val>
            <c:numRef>
              <c:f>Sheet1!$B$3:$E$3</c:f>
              <c:numCache>
                <c:formatCode>General</c:formatCode>
                <c:ptCount val="4"/>
                <c:pt idx="0">
                  <c:v>15</c:v>
                </c:pt>
                <c:pt idx="1">
                  <c:v>20</c:v>
                </c:pt>
                <c:pt idx="2">
                  <c:v>21</c:v>
                </c:pt>
                <c:pt idx="3">
                  <c:v>22</c:v>
                </c:pt>
              </c:numCache>
            </c:numRef>
          </c:val>
          <c:extLst>
            <c:ext xmlns:c16="http://schemas.microsoft.com/office/drawing/2014/chart" uri="{C3380CC4-5D6E-409C-BE32-E72D297353CC}">
              <c16:uniqueId val="{00000001-A5DF-424B-9213-3312C914D9D5}"/>
            </c:ext>
          </c:extLst>
        </c:ser>
        <c:ser>
          <c:idx val="2"/>
          <c:order val="2"/>
          <c:tx>
            <c:strRef>
              <c:f>Sheet1!$A$4</c:f>
              <c:strCache>
                <c:ptCount val="1"/>
                <c:pt idx="0">
                  <c:v>Label C</c:v>
                </c:pt>
              </c:strCache>
            </c:strRef>
          </c:tx>
          <c:spPr>
            <a:solidFill>
              <a:schemeClr val="accent1"/>
            </a:solidFill>
            <a:ln>
              <a:noFill/>
            </a:ln>
            <a:effectLst/>
          </c:spPr>
          <c:dLbls>
            <c:delete val="1"/>
          </c:dLbls>
          <c:cat>
            <c:numRef>
              <c:f>Sheet1!$B$1:$E$1</c:f>
              <c:numCache>
                <c:formatCode>General</c:formatCode>
                <c:ptCount val="4"/>
                <c:pt idx="0">
                  <c:v>2000</c:v>
                </c:pt>
                <c:pt idx="1">
                  <c:v>2001</c:v>
                </c:pt>
                <c:pt idx="2">
                  <c:v>2002</c:v>
                </c:pt>
                <c:pt idx="3">
                  <c:v>2003</c:v>
                </c:pt>
              </c:numCache>
            </c:numRef>
          </c:cat>
          <c:val>
            <c:numRef>
              <c:f>Sheet1!$B$4:$E$4</c:f>
              <c:numCache>
                <c:formatCode>General</c:formatCode>
                <c:ptCount val="4"/>
                <c:pt idx="0">
                  <c:v>11</c:v>
                </c:pt>
                <c:pt idx="1">
                  <c:v>12</c:v>
                </c:pt>
                <c:pt idx="2">
                  <c:v>12</c:v>
                </c:pt>
                <c:pt idx="3">
                  <c:v>15</c:v>
                </c:pt>
              </c:numCache>
            </c:numRef>
          </c:val>
          <c:extLst>
            <c:ext xmlns:c16="http://schemas.microsoft.com/office/drawing/2014/chart" uri="{C3380CC4-5D6E-409C-BE32-E72D297353CC}">
              <c16:uniqueId val="{00000002-A5DF-424B-9213-3312C914D9D5}"/>
            </c:ext>
          </c:extLst>
        </c:ser>
        <c:ser>
          <c:idx val="3"/>
          <c:order val="3"/>
          <c:tx>
            <c:strRef>
              <c:f>Sheet1!$A$5</c:f>
              <c:strCache>
                <c:ptCount val="1"/>
                <c:pt idx="0">
                  <c:v>Label D</c:v>
                </c:pt>
              </c:strCache>
            </c:strRef>
          </c:tx>
          <c:spPr>
            <a:solidFill>
              <a:schemeClr val="accent1">
                <a:tint val="77000"/>
              </a:schemeClr>
            </a:solidFill>
            <a:ln>
              <a:noFill/>
            </a:ln>
            <a:effectLst/>
          </c:spPr>
          <c:dLbls>
            <c:delete val="1"/>
          </c:dLbls>
          <c:cat>
            <c:numRef>
              <c:f>Sheet1!$B$1:$E$1</c:f>
              <c:numCache>
                <c:formatCode>General</c:formatCode>
                <c:ptCount val="4"/>
                <c:pt idx="0">
                  <c:v>2000</c:v>
                </c:pt>
                <c:pt idx="1">
                  <c:v>2001</c:v>
                </c:pt>
                <c:pt idx="2">
                  <c:v>2002</c:v>
                </c:pt>
                <c:pt idx="3">
                  <c:v>2003</c:v>
                </c:pt>
              </c:numCache>
            </c:numRef>
          </c:cat>
          <c:val>
            <c:numRef>
              <c:f>Sheet1!$B$5:$E$5</c:f>
              <c:numCache>
                <c:formatCode>General</c:formatCode>
                <c:ptCount val="4"/>
                <c:pt idx="0">
                  <c:v>11</c:v>
                </c:pt>
                <c:pt idx="1">
                  <c:v>16</c:v>
                </c:pt>
                <c:pt idx="2">
                  <c:v>10</c:v>
                </c:pt>
                <c:pt idx="3">
                  <c:v>15</c:v>
                </c:pt>
              </c:numCache>
            </c:numRef>
          </c:val>
          <c:extLst>
            <c:ext xmlns:c16="http://schemas.microsoft.com/office/drawing/2014/chart" uri="{C3380CC4-5D6E-409C-BE32-E72D297353CC}">
              <c16:uniqueId val="{00000003-A5DF-424B-9213-3312C914D9D5}"/>
            </c:ext>
          </c:extLst>
        </c:ser>
        <c:ser>
          <c:idx val="4"/>
          <c:order val="4"/>
          <c:tx>
            <c:strRef>
              <c:f>Sheet1!$A$6</c:f>
              <c:strCache>
                <c:ptCount val="1"/>
                <c:pt idx="0">
                  <c:v>Label E</c:v>
                </c:pt>
              </c:strCache>
            </c:strRef>
          </c:tx>
          <c:spPr>
            <a:solidFill>
              <a:schemeClr val="accent1">
                <a:tint val="54000"/>
              </a:schemeClr>
            </a:solidFill>
            <a:ln>
              <a:noFill/>
            </a:ln>
            <a:effectLst/>
          </c:spPr>
          <c:dLbls>
            <c:delete val="1"/>
          </c:dLbls>
          <c:cat>
            <c:numRef>
              <c:f>Sheet1!$B$1:$E$1</c:f>
              <c:numCache>
                <c:formatCode>General</c:formatCode>
                <c:ptCount val="4"/>
                <c:pt idx="0">
                  <c:v>2000</c:v>
                </c:pt>
                <c:pt idx="1">
                  <c:v>2001</c:v>
                </c:pt>
                <c:pt idx="2">
                  <c:v>2002</c:v>
                </c:pt>
                <c:pt idx="3">
                  <c:v>2003</c:v>
                </c:pt>
              </c:numCache>
            </c:numRef>
          </c:cat>
          <c:val>
            <c:numRef>
              <c:f>Sheet1!$B$6:$E$6</c:f>
              <c:numCache>
                <c:formatCode>General</c:formatCode>
                <c:ptCount val="4"/>
                <c:pt idx="0">
                  <c:v>13</c:v>
                </c:pt>
                <c:pt idx="1">
                  <c:v>14</c:v>
                </c:pt>
                <c:pt idx="2">
                  <c:v>14</c:v>
                </c:pt>
                <c:pt idx="3">
                  <c:v>12</c:v>
                </c:pt>
              </c:numCache>
            </c:numRef>
          </c:val>
          <c:extLst>
            <c:ext xmlns:c16="http://schemas.microsoft.com/office/drawing/2014/chart" uri="{C3380CC4-5D6E-409C-BE32-E72D297353CC}">
              <c16:uniqueId val="{00000004-A5DF-424B-9213-3312C914D9D5}"/>
            </c:ext>
          </c:extLst>
        </c:ser>
        <c:dLbls>
          <c:showLegendKey val="0"/>
          <c:showVal val="0"/>
          <c:showCatName val="0"/>
          <c:showSerName val="1"/>
          <c:showPercent val="0"/>
          <c:showBubbleSize val="0"/>
        </c:dLbls>
        <c:axId val="549482056"/>
        <c:axId val="549482448"/>
      </c:areaChart>
      <c:catAx>
        <c:axId val="549482056"/>
        <c:scaling>
          <c:orientation val="minMax"/>
        </c:scaling>
        <c:delete val="0"/>
        <c:axPos val="b"/>
        <c:numFmt formatCode="General" sourceLinked="1"/>
        <c:majorTickMark val="none"/>
        <c:minorTickMark val="none"/>
        <c:tickLblPos val="nextTo"/>
        <c:spPr>
          <a:noFill/>
          <a:ln w="6350" cap="flat" cmpd="sng" algn="ctr">
            <a:solidFill>
              <a:schemeClr val="tx1">
                <a:tint val="75000"/>
              </a:schemeClr>
            </a:solidFill>
            <a:prstDash val="solid"/>
            <a:round/>
          </a:ln>
          <a:effectLst/>
        </c:spPr>
        <c:txPr>
          <a:bodyPr rot="0" spcFirstLastPara="1" vertOverflow="ellipsis" wrap="square" anchor="ctr" anchorCtr="1"/>
          <a:lstStyle/>
          <a:p>
            <a:pPr>
              <a:defRPr sz="1400" b="0" i="0" u="none" strike="noStrike" kern="1200" baseline="0">
                <a:solidFill>
                  <a:schemeClr val="tx2"/>
                </a:solidFill>
                <a:latin typeface="+mn-lt"/>
                <a:ea typeface="+mn-ea"/>
                <a:cs typeface="+mn-cs"/>
              </a:defRPr>
            </a:pPr>
            <a:endParaRPr lang="de-DE"/>
          </a:p>
        </c:txPr>
        <c:crossAx val="549482448"/>
        <c:crosses val="autoZero"/>
        <c:auto val="0"/>
        <c:lblAlgn val="ctr"/>
        <c:lblOffset val="100"/>
        <c:tickLblSkip val="1"/>
        <c:tickMarkSkip val="1"/>
        <c:noMultiLvlLbl val="0"/>
      </c:catAx>
      <c:valAx>
        <c:axId val="549482448"/>
        <c:scaling>
          <c:orientation val="minMax"/>
          <c:max val="100"/>
        </c:scaling>
        <c:delete val="0"/>
        <c:axPos val="l"/>
        <c:numFmt formatCode="0" sourceLinked="0"/>
        <c:majorTickMark val="out"/>
        <c:minorTickMark val="none"/>
        <c:tickLblPos val="nextTo"/>
        <c:spPr>
          <a:noFill/>
          <a:ln w="6350" cap="flat" cmpd="sng" algn="ctr">
            <a:noFill/>
            <a:prstDash val="solid"/>
            <a:round/>
          </a:ln>
          <a:effectLst/>
        </c:spPr>
        <c:txPr>
          <a:bodyPr rot="0" spcFirstLastPara="1" vertOverflow="ellipsis" wrap="square" anchor="ctr" anchorCtr="1"/>
          <a:lstStyle/>
          <a:p>
            <a:pPr>
              <a:defRPr sz="1400" b="0" i="0" u="none" strike="noStrike" kern="1200" baseline="0">
                <a:solidFill>
                  <a:schemeClr val="tx2"/>
                </a:solidFill>
                <a:latin typeface="+mn-lt"/>
                <a:ea typeface="+mn-ea"/>
                <a:cs typeface="+mn-cs"/>
              </a:defRPr>
            </a:pPr>
            <a:endParaRPr lang="de-DE"/>
          </a:p>
        </c:txPr>
        <c:crossAx val="549482056"/>
        <c:crosses val="autoZero"/>
        <c:crossBetween val="midCat"/>
        <c:majorUnit val="25"/>
      </c:valAx>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400">
          <a:solidFill>
            <a:schemeClr val="tx2"/>
          </a:solidFill>
        </a:defRPr>
      </a:pPr>
      <a:endParaRPr lang="de-DE"/>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442495126705652E-2"/>
          <c:y val="3.0726256983240208E-2"/>
          <c:w val="0.79727095516569202"/>
          <c:h val="0.94413407821229045"/>
        </c:manualLayout>
      </c:layout>
      <c:barChart>
        <c:barDir val="bar"/>
        <c:grouping val="clustered"/>
        <c:varyColors val="0"/>
        <c:ser>
          <c:idx val="2"/>
          <c:order val="0"/>
          <c:tx>
            <c:strRef>
              <c:f>Sheet1!$A$2</c:f>
              <c:strCache>
                <c:ptCount val="1"/>
                <c:pt idx="0">
                  <c:v>Group 2</c:v>
                </c:pt>
              </c:strCache>
            </c:strRef>
          </c:tx>
          <c:spPr>
            <a:solidFill>
              <a:schemeClr val="accent1"/>
            </a:solidFill>
            <a:ln w="25399">
              <a:noFill/>
            </a:ln>
          </c:spPr>
          <c:invertIfNegative val="0"/>
          <c:dPt>
            <c:idx val="1"/>
            <c:invertIfNegative val="0"/>
            <c:bubble3D val="0"/>
            <c:spPr>
              <a:solidFill>
                <a:schemeClr val="accent3"/>
              </a:solidFill>
              <a:ln w="25399">
                <a:noFill/>
              </a:ln>
            </c:spPr>
            <c:extLst>
              <c:ext xmlns:c16="http://schemas.microsoft.com/office/drawing/2014/chart" uri="{C3380CC4-5D6E-409C-BE32-E72D297353CC}">
                <c16:uniqueId val="{00000001-33A6-4024-97C8-718625DCC573}"/>
              </c:ext>
            </c:extLst>
          </c:dPt>
          <c:dPt>
            <c:idx val="2"/>
            <c:invertIfNegative val="0"/>
            <c:bubble3D val="0"/>
            <c:spPr>
              <a:solidFill>
                <a:schemeClr val="accent2"/>
              </a:solidFill>
              <a:ln w="25399">
                <a:noFill/>
              </a:ln>
            </c:spPr>
            <c:extLst>
              <c:ext xmlns:c16="http://schemas.microsoft.com/office/drawing/2014/chart" uri="{C3380CC4-5D6E-409C-BE32-E72D297353CC}">
                <c16:uniqueId val="{00000003-33A6-4024-97C8-718625DCC573}"/>
              </c:ext>
            </c:extLst>
          </c:dPt>
          <c:dPt>
            <c:idx val="3"/>
            <c:invertIfNegative val="0"/>
            <c:bubble3D val="0"/>
            <c:spPr>
              <a:solidFill>
                <a:schemeClr val="accent6"/>
              </a:solidFill>
              <a:ln w="25399">
                <a:noFill/>
              </a:ln>
            </c:spPr>
            <c:extLst>
              <c:ext xmlns:c16="http://schemas.microsoft.com/office/drawing/2014/chart" uri="{C3380CC4-5D6E-409C-BE32-E72D297353CC}">
                <c16:uniqueId val="{00000005-33A6-4024-97C8-718625DCC573}"/>
              </c:ext>
            </c:extLst>
          </c:dPt>
          <c:dLbls>
            <c:spPr>
              <a:noFill/>
              <a:ln w="25399">
                <a:noFill/>
              </a:ln>
            </c:spPr>
            <c:txPr>
              <a:bodyPr/>
              <a:lstStyle/>
              <a:p>
                <a:pPr algn="just">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2:$E$2</c:f>
              <c:numCache>
                <c:formatCode>General</c:formatCode>
                <c:ptCount val="4"/>
                <c:pt idx="0">
                  <c:v>32</c:v>
                </c:pt>
                <c:pt idx="1">
                  <c:v>30</c:v>
                </c:pt>
                <c:pt idx="2">
                  <c:v>35</c:v>
                </c:pt>
                <c:pt idx="3">
                  <c:v>27</c:v>
                </c:pt>
              </c:numCache>
            </c:numRef>
          </c:val>
          <c:extLst>
            <c:ext xmlns:c16="http://schemas.microsoft.com/office/drawing/2014/chart" uri="{C3380CC4-5D6E-409C-BE32-E72D297353CC}">
              <c16:uniqueId val="{00000006-33A6-4024-97C8-718625DCC573}"/>
            </c:ext>
          </c:extLst>
        </c:ser>
        <c:dLbls>
          <c:showLegendKey val="0"/>
          <c:showVal val="0"/>
          <c:showCatName val="0"/>
          <c:showSerName val="0"/>
          <c:showPercent val="0"/>
          <c:showBubbleSize val="0"/>
        </c:dLbls>
        <c:gapWidth val="106"/>
        <c:overlap val="100"/>
        <c:axId val="543230208"/>
        <c:axId val="543230600"/>
      </c:barChart>
      <c:catAx>
        <c:axId val="543230208"/>
        <c:scaling>
          <c:orientation val="maxMin"/>
        </c:scaling>
        <c:delete val="0"/>
        <c:axPos val="r"/>
        <c:numFmt formatCode="General" sourceLinked="1"/>
        <c:majorTickMark val="out"/>
        <c:minorTickMark val="none"/>
        <c:tickLblPos val="nextTo"/>
        <c:spPr>
          <a:ln w="12700">
            <a:solidFill>
              <a:schemeClr val="tx2">
                <a:lumMod val="60000"/>
                <a:lumOff val="40000"/>
              </a:schemeClr>
            </a:solidFill>
            <a:prstDash val="solid"/>
          </a:ln>
        </c:spPr>
        <c:txPr>
          <a:bodyPr rot="0" vert="horz"/>
          <a:lstStyle/>
          <a:p>
            <a:pPr>
              <a:defRPr sz="1400" b="0">
                <a:solidFill>
                  <a:schemeClr val="tx2"/>
                </a:solidFill>
              </a:defRPr>
            </a:pPr>
            <a:endParaRPr lang="de-DE"/>
          </a:p>
        </c:txPr>
        <c:crossAx val="543230600"/>
        <c:crosses val="autoZero"/>
        <c:auto val="1"/>
        <c:lblAlgn val="ctr"/>
        <c:lblOffset val="100"/>
        <c:tickLblSkip val="1"/>
        <c:tickMarkSkip val="1"/>
        <c:noMultiLvlLbl val="0"/>
      </c:catAx>
      <c:valAx>
        <c:axId val="543230600"/>
        <c:scaling>
          <c:orientation val="maxMin"/>
        </c:scaling>
        <c:delete val="1"/>
        <c:axPos val="t"/>
        <c:numFmt formatCode="General" sourceLinked="1"/>
        <c:majorTickMark val="out"/>
        <c:minorTickMark val="none"/>
        <c:tickLblPos val="none"/>
        <c:crossAx val="543230208"/>
        <c:crosses val="autoZero"/>
        <c:crossBetween val="between"/>
      </c:valAx>
      <c:spPr>
        <a:noFill/>
        <a:ln w="25399">
          <a:noFill/>
        </a:ln>
      </c:spPr>
    </c:plotArea>
    <c:plotVisOnly val="1"/>
    <c:dispBlanksAs val="zero"/>
    <c:showDLblsOverMax val="0"/>
  </c:chart>
  <c:spPr>
    <a:noFill/>
    <a:ln>
      <a:noFill/>
    </a:ln>
  </c:spPr>
  <c:txPr>
    <a:bodyPr/>
    <a:lstStyle/>
    <a:p>
      <a:pPr>
        <a:defRPr sz="1800" b="1" i="0" u="none" strike="noStrike" baseline="0">
          <a:solidFill>
            <a:schemeClr val="tx1"/>
          </a:solidFill>
          <a:latin typeface="+mn-lt"/>
          <a:ea typeface="Arial"/>
          <a:cs typeface="Arial"/>
        </a:defRPr>
      </a:pPr>
      <a:endParaRPr lang="de-DE"/>
    </a:p>
  </c:txPr>
  <c:externalData r:id="rId1">
    <c:autoUpdate val="0"/>
  </c:externalData>
  <c:userShapes r:id="rId2"/>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6.92105097117722E-2"/>
          <c:y val="3.9364145064013284E-2"/>
          <c:w val="0.77030971937498849"/>
          <c:h val="0.865562678104144"/>
        </c:manualLayout>
      </c:layout>
      <c:areaChart>
        <c:grouping val="percentStacked"/>
        <c:varyColors val="0"/>
        <c:ser>
          <c:idx val="0"/>
          <c:order val="0"/>
          <c:tx>
            <c:strRef>
              <c:f>Sheet1!$A$2</c:f>
              <c:strCache>
                <c:ptCount val="1"/>
                <c:pt idx="0">
                  <c:v>Label A</c:v>
                </c:pt>
              </c:strCache>
            </c:strRef>
          </c:tx>
          <c:spPr>
            <a:solidFill>
              <a:schemeClr val="accent1">
                <a:shade val="53000"/>
              </a:schemeClr>
            </a:solidFill>
            <a:ln>
              <a:noFill/>
            </a:ln>
            <a:effectLst/>
          </c:spPr>
          <c:cat>
            <c:numRef>
              <c:f>Sheet1!$B$1:$E$1</c:f>
              <c:numCache>
                <c:formatCode>General</c:formatCode>
                <c:ptCount val="4"/>
                <c:pt idx="0">
                  <c:v>2000</c:v>
                </c:pt>
                <c:pt idx="1">
                  <c:v>2001</c:v>
                </c:pt>
                <c:pt idx="2">
                  <c:v>2002</c:v>
                </c:pt>
                <c:pt idx="3">
                  <c:v>2003</c:v>
                </c:pt>
              </c:numCache>
            </c:numRef>
          </c:cat>
          <c:val>
            <c:numRef>
              <c:f>Sheet1!$B$2:$E$2</c:f>
              <c:numCache>
                <c:formatCode>General</c:formatCode>
                <c:ptCount val="4"/>
                <c:pt idx="0">
                  <c:v>20</c:v>
                </c:pt>
                <c:pt idx="1">
                  <c:v>18</c:v>
                </c:pt>
                <c:pt idx="2">
                  <c:v>14</c:v>
                </c:pt>
                <c:pt idx="3">
                  <c:v>12</c:v>
                </c:pt>
              </c:numCache>
            </c:numRef>
          </c:val>
          <c:extLst>
            <c:ext xmlns:c16="http://schemas.microsoft.com/office/drawing/2014/chart" uri="{C3380CC4-5D6E-409C-BE32-E72D297353CC}">
              <c16:uniqueId val="{00000000-7884-44EB-941E-11E4260D826E}"/>
            </c:ext>
          </c:extLst>
        </c:ser>
        <c:ser>
          <c:idx val="1"/>
          <c:order val="1"/>
          <c:tx>
            <c:strRef>
              <c:f>Sheet1!$A$3</c:f>
              <c:strCache>
                <c:ptCount val="1"/>
                <c:pt idx="0">
                  <c:v>Label B</c:v>
                </c:pt>
              </c:strCache>
            </c:strRef>
          </c:tx>
          <c:spPr>
            <a:solidFill>
              <a:schemeClr val="accent1">
                <a:shade val="76000"/>
              </a:schemeClr>
            </a:solidFill>
            <a:ln>
              <a:noFill/>
            </a:ln>
            <a:effectLst/>
          </c:spPr>
          <c:cat>
            <c:numRef>
              <c:f>Sheet1!$B$1:$E$1</c:f>
              <c:numCache>
                <c:formatCode>General</c:formatCode>
                <c:ptCount val="4"/>
                <c:pt idx="0">
                  <c:v>2000</c:v>
                </c:pt>
                <c:pt idx="1">
                  <c:v>2001</c:v>
                </c:pt>
                <c:pt idx="2">
                  <c:v>2002</c:v>
                </c:pt>
                <c:pt idx="3">
                  <c:v>2003</c:v>
                </c:pt>
              </c:numCache>
            </c:numRef>
          </c:cat>
          <c:val>
            <c:numRef>
              <c:f>Sheet1!$B$3:$E$3</c:f>
              <c:numCache>
                <c:formatCode>General</c:formatCode>
                <c:ptCount val="4"/>
                <c:pt idx="0">
                  <c:v>15</c:v>
                </c:pt>
                <c:pt idx="1">
                  <c:v>16</c:v>
                </c:pt>
                <c:pt idx="2">
                  <c:v>19</c:v>
                </c:pt>
                <c:pt idx="3">
                  <c:v>18</c:v>
                </c:pt>
              </c:numCache>
            </c:numRef>
          </c:val>
          <c:extLst>
            <c:ext xmlns:c16="http://schemas.microsoft.com/office/drawing/2014/chart" uri="{C3380CC4-5D6E-409C-BE32-E72D297353CC}">
              <c16:uniqueId val="{00000001-7884-44EB-941E-11E4260D826E}"/>
            </c:ext>
          </c:extLst>
        </c:ser>
        <c:ser>
          <c:idx val="2"/>
          <c:order val="2"/>
          <c:tx>
            <c:strRef>
              <c:f>Sheet1!$A$4</c:f>
              <c:strCache>
                <c:ptCount val="1"/>
                <c:pt idx="0">
                  <c:v>Label C</c:v>
                </c:pt>
              </c:strCache>
            </c:strRef>
          </c:tx>
          <c:spPr>
            <a:solidFill>
              <a:schemeClr val="accent1"/>
            </a:solidFill>
            <a:ln>
              <a:noFill/>
            </a:ln>
            <a:effectLst/>
          </c:spPr>
          <c:cat>
            <c:numRef>
              <c:f>Sheet1!$B$1:$E$1</c:f>
              <c:numCache>
                <c:formatCode>General</c:formatCode>
                <c:ptCount val="4"/>
                <c:pt idx="0">
                  <c:v>2000</c:v>
                </c:pt>
                <c:pt idx="1">
                  <c:v>2001</c:v>
                </c:pt>
                <c:pt idx="2">
                  <c:v>2002</c:v>
                </c:pt>
                <c:pt idx="3">
                  <c:v>2003</c:v>
                </c:pt>
              </c:numCache>
            </c:numRef>
          </c:cat>
          <c:val>
            <c:numRef>
              <c:f>Sheet1!$B$4:$E$4</c:f>
              <c:numCache>
                <c:formatCode>General</c:formatCode>
                <c:ptCount val="4"/>
                <c:pt idx="0">
                  <c:v>11</c:v>
                </c:pt>
                <c:pt idx="1">
                  <c:v>12</c:v>
                </c:pt>
                <c:pt idx="2">
                  <c:v>13</c:v>
                </c:pt>
                <c:pt idx="3">
                  <c:v>16</c:v>
                </c:pt>
              </c:numCache>
            </c:numRef>
          </c:val>
          <c:extLst>
            <c:ext xmlns:c16="http://schemas.microsoft.com/office/drawing/2014/chart" uri="{C3380CC4-5D6E-409C-BE32-E72D297353CC}">
              <c16:uniqueId val="{00000002-7884-44EB-941E-11E4260D826E}"/>
            </c:ext>
          </c:extLst>
        </c:ser>
        <c:ser>
          <c:idx val="3"/>
          <c:order val="3"/>
          <c:tx>
            <c:strRef>
              <c:f>Sheet1!$A$5</c:f>
              <c:strCache>
                <c:ptCount val="1"/>
                <c:pt idx="0">
                  <c:v>Label D</c:v>
                </c:pt>
              </c:strCache>
            </c:strRef>
          </c:tx>
          <c:spPr>
            <a:solidFill>
              <a:schemeClr val="accent1">
                <a:tint val="77000"/>
              </a:schemeClr>
            </a:solidFill>
            <a:ln>
              <a:noFill/>
            </a:ln>
            <a:effectLst/>
          </c:spPr>
          <c:cat>
            <c:numRef>
              <c:f>Sheet1!$B$1:$E$1</c:f>
              <c:numCache>
                <c:formatCode>General</c:formatCode>
                <c:ptCount val="4"/>
                <c:pt idx="0">
                  <c:v>2000</c:v>
                </c:pt>
                <c:pt idx="1">
                  <c:v>2001</c:v>
                </c:pt>
                <c:pt idx="2">
                  <c:v>2002</c:v>
                </c:pt>
                <c:pt idx="3">
                  <c:v>2003</c:v>
                </c:pt>
              </c:numCache>
            </c:numRef>
          </c:cat>
          <c:val>
            <c:numRef>
              <c:f>Sheet1!$B$5:$E$5</c:f>
              <c:numCache>
                <c:formatCode>General</c:formatCode>
                <c:ptCount val="4"/>
                <c:pt idx="0">
                  <c:v>4</c:v>
                </c:pt>
                <c:pt idx="1">
                  <c:v>6</c:v>
                </c:pt>
                <c:pt idx="2">
                  <c:v>8</c:v>
                </c:pt>
                <c:pt idx="3">
                  <c:v>12</c:v>
                </c:pt>
              </c:numCache>
            </c:numRef>
          </c:val>
          <c:extLst>
            <c:ext xmlns:c16="http://schemas.microsoft.com/office/drawing/2014/chart" uri="{C3380CC4-5D6E-409C-BE32-E72D297353CC}">
              <c16:uniqueId val="{00000003-7884-44EB-941E-11E4260D826E}"/>
            </c:ext>
          </c:extLst>
        </c:ser>
        <c:ser>
          <c:idx val="4"/>
          <c:order val="4"/>
          <c:tx>
            <c:strRef>
              <c:f>Sheet1!$A$6</c:f>
              <c:strCache>
                <c:ptCount val="1"/>
                <c:pt idx="0">
                  <c:v>Label E</c:v>
                </c:pt>
              </c:strCache>
            </c:strRef>
          </c:tx>
          <c:spPr>
            <a:solidFill>
              <a:schemeClr val="accent1">
                <a:tint val="54000"/>
              </a:schemeClr>
            </a:solidFill>
            <a:ln>
              <a:noFill/>
            </a:ln>
            <a:effectLst/>
          </c:spPr>
          <c:cat>
            <c:numRef>
              <c:f>Sheet1!$B$1:$E$1</c:f>
              <c:numCache>
                <c:formatCode>General</c:formatCode>
                <c:ptCount val="4"/>
                <c:pt idx="0">
                  <c:v>2000</c:v>
                </c:pt>
                <c:pt idx="1">
                  <c:v>2001</c:v>
                </c:pt>
                <c:pt idx="2">
                  <c:v>2002</c:v>
                </c:pt>
                <c:pt idx="3">
                  <c:v>2003</c:v>
                </c:pt>
              </c:numCache>
            </c:numRef>
          </c:cat>
          <c:val>
            <c:numRef>
              <c:f>Sheet1!$B$6:$E$6</c:f>
              <c:numCache>
                <c:formatCode>General</c:formatCode>
                <c:ptCount val="4"/>
                <c:pt idx="0">
                  <c:v>4</c:v>
                </c:pt>
                <c:pt idx="1">
                  <c:v>5</c:v>
                </c:pt>
                <c:pt idx="2">
                  <c:v>8</c:v>
                </c:pt>
                <c:pt idx="3">
                  <c:v>14</c:v>
                </c:pt>
              </c:numCache>
            </c:numRef>
          </c:val>
          <c:extLst>
            <c:ext xmlns:c16="http://schemas.microsoft.com/office/drawing/2014/chart" uri="{C3380CC4-5D6E-409C-BE32-E72D297353CC}">
              <c16:uniqueId val="{00000004-7884-44EB-941E-11E4260D826E}"/>
            </c:ext>
          </c:extLst>
        </c:ser>
        <c:dLbls>
          <c:showLegendKey val="0"/>
          <c:showVal val="0"/>
          <c:showCatName val="0"/>
          <c:showSerName val="0"/>
          <c:showPercent val="0"/>
          <c:showBubbleSize val="0"/>
        </c:dLbls>
        <c:axId val="549483232"/>
        <c:axId val="549483624"/>
      </c:areaChart>
      <c:catAx>
        <c:axId val="549483232"/>
        <c:scaling>
          <c:orientation val="minMax"/>
        </c:scaling>
        <c:delete val="0"/>
        <c:axPos val="b"/>
        <c:numFmt formatCode="General" sourceLinked="1"/>
        <c:majorTickMark val="none"/>
        <c:minorTickMark val="none"/>
        <c:tickLblPos val="nextTo"/>
        <c:spPr>
          <a:noFill/>
          <a:ln w="6350" cap="flat" cmpd="sng" algn="ctr">
            <a:solidFill>
              <a:schemeClr val="tx1">
                <a:tint val="75000"/>
              </a:schemeClr>
            </a:solidFill>
            <a:prstDash val="solid"/>
            <a:round/>
          </a:ln>
          <a:effectLst/>
        </c:spPr>
        <c:txPr>
          <a:bodyPr rot="0" spcFirstLastPara="1" vertOverflow="ellipsis" wrap="square" anchor="ctr" anchorCtr="1"/>
          <a:lstStyle/>
          <a:p>
            <a:pPr>
              <a:defRPr sz="1400" b="0" i="0" u="none" strike="noStrike" kern="1200" baseline="0">
                <a:solidFill>
                  <a:schemeClr val="tx2"/>
                </a:solidFill>
                <a:latin typeface="+mn-lt"/>
                <a:ea typeface="+mn-ea"/>
                <a:cs typeface="+mn-cs"/>
              </a:defRPr>
            </a:pPr>
            <a:endParaRPr lang="de-DE"/>
          </a:p>
        </c:txPr>
        <c:crossAx val="549483624"/>
        <c:crosses val="autoZero"/>
        <c:auto val="0"/>
        <c:lblAlgn val="ctr"/>
        <c:lblOffset val="100"/>
        <c:tickLblSkip val="1"/>
        <c:tickMarkSkip val="1"/>
        <c:noMultiLvlLbl val="0"/>
      </c:catAx>
      <c:valAx>
        <c:axId val="549483624"/>
        <c:scaling>
          <c:orientation val="minMax"/>
          <c:max val="1"/>
        </c:scaling>
        <c:delete val="0"/>
        <c:axPos val="l"/>
        <c:majorGridlines>
          <c:spPr>
            <a:ln w="6350" cap="flat" cmpd="sng" algn="ctr">
              <a:noFill/>
              <a:prstDash val="solid"/>
              <a:round/>
            </a:ln>
            <a:effectLst/>
          </c:spPr>
        </c:majorGridlines>
        <c:numFmt formatCode="0%" sourceLinked="1"/>
        <c:majorTickMark val="none"/>
        <c:minorTickMark val="none"/>
        <c:tickLblPos val="nextTo"/>
        <c:spPr>
          <a:noFill/>
          <a:ln w="6350" cap="flat" cmpd="sng" algn="ctr">
            <a:noFill/>
            <a:prstDash val="solid"/>
            <a:round/>
          </a:ln>
          <a:effectLst/>
        </c:spPr>
        <c:txPr>
          <a:bodyPr rot="0" spcFirstLastPara="1" vertOverflow="ellipsis" wrap="square" anchor="ctr" anchorCtr="1"/>
          <a:lstStyle/>
          <a:p>
            <a:pPr>
              <a:defRPr sz="1400" b="0" i="0" u="none" strike="noStrike" kern="1200" baseline="0">
                <a:solidFill>
                  <a:schemeClr val="tx2"/>
                </a:solidFill>
                <a:latin typeface="+mn-lt"/>
                <a:ea typeface="+mn-ea"/>
                <a:cs typeface="+mn-cs"/>
              </a:defRPr>
            </a:pPr>
            <a:endParaRPr lang="de-DE"/>
          </a:p>
        </c:txPr>
        <c:crossAx val="549483232"/>
        <c:crosses val="autoZero"/>
        <c:crossBetween val="midCat"/>
        <c:majorUnit val="0.25"/>
      </c:valAx>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400">
          <a:solidFill>
            <a:schemeClr val="tx2"/>
          </a:solidFill>
        </a:defRPr>
      </a:pPr>
      <a:endParaRPr lang="de-DE"/>
    </a:p>
  </c:txPr>
  <c:externalData r:id="rId3">
    <c:autoUpdate val="0"/>
  </c:externalData>
  <c:userShapes r:id="rId4"/>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676156866819649E-2"/>
          <c:y val="0.11871676757439768"/>
          <c:w val="0.95640946430020357"/>
          <c:h val="0.74026864689404537"/>
        </c:manualLayout>
      </c:layout>
      <c:scatterChart>
        <c:scatterStyle val="lineMarker"/>
        <c:varyColors val="0"/>
        <c:ser>
          <c:idx val="0"/>
          <c:order val="0"/>
          <c:tx>
            <c:strRef>
              <c:f>Sheet1!$A$2</c:f>
              <c:strCache>
                <c:ptCount val="1"/>
                <c:pt idx="0">
                  <c:v>Group 1</c:v>
                </c:pt>
              </c:strCache>
            </c:strRef>
          </c:tx>
          <c:spPr>
            <a:ln w="28575" cap="rnd" cmpd="sng" algn="ctr">
              <a:noFill/>
              <a:prstDash val="solid"/>
              <a:round/>
            </a:ln>
            <a:effectLst/>
          </c:spPr>
          <c:marker>
            <c:symbol val="diamond"/>
            <c:size val="11"/>
            <c:spPr>
              <a:solidFill>
                <a:schemeClr val="accent1"/>
              </a:solidFill>
              <a:ln w="6350" cap="flat" cmpd="sng" algn="ctr">
                <a:solidFill>
                  <a:schemeClr val="accent1"/>
                </a:solidFill>
                <a:prstDash val="solid"/>
                <a:round/>
              </a:ln>
              <a:effectLst/>
            </c:spPr>
          </c:marker>
          <c:trendline>
            <c:spPr>
              <a:ln w="12700" cap="rnd" cmpd="sng" algn="ctr">
                <a:solidFill>
                  <a:schemeClr val="accent1"/>
                </a:solidFill>
                <a:prstDash val="solid"/>
                <a:round/>
              </a:ln>
              <a:effectLst/>
            </c:spPr>
            <c:trendlineType val="linear"/>
            <c:dispRSqr val="0"/>
            <c:dispEq val="0"/>
          </c:trendline>
          <c:xVal>
            <c:strRef>
              <c:f>Sheet1!$B$1:$H$1</c:f>
              <c:strCache>
                <c:ptCount val="7"/>
                <c:pt idx="0">
                  <c:v>Label A</c:v>
                </c:pt>
                <c:pt idx="1">
                  <c:v>Label B</c:v>
                </c:pt>
                <c:pt idx="2">
                  <c:v>Label C</c:v>
                </c:pt>
                <c:pt idx="3">
                  <c:v>Label D</c:v>
                </c:pt>
                <c:pt idx="4">
                  <c:v>Label E</c:v>
                </c:pt>
                <c:pt idx="5">
                  <c:v>Label F</c:v>
                </c:pt>
                <c:pt idx="6">
                  <c:v>Label G</c:v>
                </c:pt>
              </c:strCache>
            </c:strRef>
          </c:xVal>
          <c:yVal>
            <c:numRef>
              <c:f>Sheet1!$B$2:$H$2</c:f>
              <c:numCache>
                <c:formatCode>General</c:formatCode>
                <c:ptCount val="7"/>
                <c:pt idx="0">
                  <c:v>2</c:v>
                </c:pt>
                <c:pt idx="1">
                  <c:v>5</c:v>
                </c:pt>
                <c:pt idx="2">
                  <c:v>3</c:v>
                </c:pt>
                <c:pt idx="3">
                  <c:v>8</c:v>
                </c:pt>
                <c:pt idx="4">
                  <c:v>9</c:v>
                </c:pt>
                <c:pt idx="5">
                  <c:v>12</c:v>
                </c:pt>
                <c:pt idx="6">
                  <c:v>16</c:v>
                </c:pt>
              </c:numCache>
            </c:numRef>
          </c:yVal>
          <c:smooth val="0"/>
          <c:extLst>
            <c:ext xmlns:c16="http://schemas.microsoft.com/office/drawing/2014/chart" uri="{C3380CC4-5D6E-409C-BE32-E72D297353CC}">
              <c16:uniqueId val="{00000001-1D2C-4F90-A9BA-89318E47AC28}"/>
            </c:ext>
          </c:extLst>
        </c:ser>
        <c:ser>
          <c:idx val="1"/>
          <c:order val="1"/>
          <c:tx>
            <c:strRef>
              <c:f>Sheet1!$A$3</c:f>
              <c:strCache>
                <c:ptCount val="1"/>
                <c:pt idx="0">
                  <c:v>Group 2</c:v>
                </c:pt>
              </c:strCache>
            </c:strRef>
          </c:tx>
          <c:spPr>
            <a:ln w="28575" cap="rnd" cmpd="sng" algn="ctr">
              <a:noFill/>
              <a:prstDash val="solid"/>
              <a:round/>
            </a:ln>
            <a:effectLst/>
          </c:spPr>
          <c:marker>
            <c:symbol val="circle"/>
            <c:size val="11"/>
            <c:spPr>
              <a:solidFill>
                <a:schemeClr val="accent2"/>
              </a:solidFill>
              <a:ln w="6350" cap="flat" cmpd="sng" algn="ctr">
                <a:solidFill>
                  <a:schemeClr val="accent2"/>
                </a:solidFill>
                <a:prstDash val="solid"/>
                <a:round/>
              </a:ln>
              <a:effectLst/>
            </c:spPr>
          </c:marker>
          <c:trendline>
            <c:spPr>
              <a:ln w="12700" cap="rnd" cmpd="sng" algn="ctr">
                <a:solidFill>
                  <a:schemeClr val="accent3"/>
                </a:solidFill>
                <a:prstDash val="dash"/>
                <a:round/>
              </a:ln>
              <a:effectLst/>
            </c:spPr>
            <c:trendlineType val="linear"/>
            <c:dispRSqr val="0"/>
            <c:dispEq val="0"/>
          </c:trendline>
          <c:xVal>
            <c:strRef>
              <c:f>Sheet1!$B$1:$H$1</c:f>
              <c:strCache>
                <c:ptCount val="7"/>
                <c:pt idx="0">
                  <c:v>Label A</c:v>
                </c:pt>
                <c:pt idx="1">
                  <c:v>Label B</c:v>
                </c:pt>
                <c:pt idx="2">
                  <c:v>Label C</c:v>
                </c:pt>
                <c:pt idx="3">
                  <c:v>Label D</c:v>
                </c:pt>
                <c:pt idx="4">
                  <c:v>Label E</c:v>
                </c:pt>
                <c:pt idx="5">
                  <c:v>Label F</c:v>
                </c:pt>
                <c:pt idx="6">
                  <c:v>Label G</c:v>
                </c:pt>
              </c:strCache>
            </c:strRef>
          </c:xVal>
          <c:yVal>
            <c:numRef>
              <c:f>Sheet1!$B$3:$H$3</c:f>
              <c:numCache>
                <c:formatCode>General</c:formatCode>
                <c:ptCount val="7"/>
                <c:pt idx="0">
                  <c:v>12</c:v>
                </c:pt>
                <c:pt idx="1">
                  <c:v>10</c:v>
                </c:pt>
                <c:pt idx="2">
                  <c:v>8</c:v>
                </c:pt>
                <c:pt idx="3">
                  <c:v>6</c:v>
                </c:pt>
                <c:pt idx="4">
                  <c:v>3</c:v>
                </c:pt>
                <c:pt idx="5">
                  <c:v>5</c:v>
                </c:pt>
                <c:pt idx="6">
                  <c:v>1</c:v>
                </c:pt>
              </c:numCache>
            </c:numRef>
          </c:yVal>
          <c:smooth val="0"/>
          <c:extLst>
            <c:ext xmlns:c16="http://schemas.microsoft.com/office/drawing/2014/chart" uri="{C3380CC4-5D6E-409C-BE32-E72D297353CC}">
              <c16:uniqueId val="{00000003-1D2C-4F90-A9BA-89318E47AC28}"/>
            </c:ext>
          </c:extLst>
        </c:ser>
        <c:dLbls>
          <c:showLegendKey val="0"/>
          <c:showVal val="0"/>
          <c:showCatName val="0"/>
          <c:showSerName val="0"/>
          <c:showPercent val="0"/>
          <c:showBubbleSize val="0"/>
        </c:dLbls>
        <c:axId val="549484408"/>
        <c:axId val="549484800"/>
      </c:scatterChart>
      <c:valAx>
        <c:axId val="549484408"/>
        <c:scaling>
          <c:orientation val="minMax"/>
        </c:scaling>
        <c:delete val="0"/>
        <c:axPos val="b"/>
        <c:title>
          <c:tx>
            <c:rich>
              <a:bodyPr rot="0" spcFirstLastPara="1" vertOverflow="ellipsis" vert="horz" wrap="square" anchor="ctr" anchorCtr="1"/>
              <a:lstStyle/>
              <a:p>
                <a:pPr algn="r">
                  <a:defRPr sz="1600" b="1" i="0" u="none" strike="noStrike" kern="1200" baseline="0">
                    <a:solidFill>
                      <a:schemeClr val="tx2"/>
                    </a:solidFill>
                    <a:latin typeface="+mn-lt"/>
                    <a:ea typeface="+mn-ea"/>
                    <a:cs typeface="+mn-cs"/>
                  </a:defRPr>
                </a:pPr>
                <a:r>
                  <a:rPr lang="de-DE" sz="1600" dirty="0"/>
                  <a:t>x-axis</a:t>
                </a:r>
              </a:p>
            </c:rich>
          </c:tx>
          <c:layout>
            <c:manualLayout>
              <c:xMode val="edge"/>
              <c:yMode val="edge"/>
              <c:x val="0.94183196851835671"/>
              <c:y val="0.92927322999125295"/>
            </c:manualLayout>
          </c:layout>
          <c:overlay val="0"/>
          <c:spPr>
            <a:noFill/>
            <a:ln>
              <a:noFill/>
            </a:ln>
            <a:effectLst/>
          </c:spPr>
          <c:txPr>
            <a:bodyPr rot="0" spcFirstLastPara="1" vertOverflow="ellipsis" vert="horz" wrap="square" anchor="ctr" anchorCtr="1"/>
            <a:lstStyle/>
            <a:p>
              <a:pPr algn="r">
                <a:defRPr sz="1600" b="1" i="0" u="none" strike="noStrike" kern="1200" baseline="0">
                  <a:solidFill>
                    <a:schemeClr val="tx2"/>
                  </a:solidFill>
                  <a:latin typeface="+mn-lt"/>
                  <a:ea typeface="+mn-ea"/>
                  <a:cs typeface="+mn-cs"/>
                </a:defRPr>
              </a:pPr>
              <a:endParaRPr lang="de-DE"/>
            </a:p>
          </c:txPr>
        </c:title>
        <c:numFmt formatCode="@" sourceLinked="0"/>
        <c:majorTickMark val="none"/>
        <c:minorTickMark val="none"/>
        <c:tickLblPos val="nextTo"/>
        <c:spPr>
          <a:noFill/>
          <a:ln w="12700" cap="flat" cmpd="sng" algn="ctr">
            <a:solidFill>
              <a:schemeClr val="tx2">
                <a:lumMod val="60000"/>
                <a:lumOff val="40000"/>
              </a:schemeClr>
            </a:solidFill>
            <a:prstDash val="solid"/>
            <a:round/>
          </a:ln>
          <a:effectLst/>
        </c:spPr>
        <c:txPr>
          <a:bodyPr rot="0" spcFirstLastPara="1" vertOverflow="ellipsis" wrap="square" anchor="ctr" anchorCtr="1"/>
          <a:lstStyle/>
          <a:p>
            <a:pPr>
              <a:defRPr sz="1400" b="0" i="0" u="none" strike="noStrike" kern="1200" baseline="0">
                <a:solidFill>
                  <a:schemeClr val="tx2"/>
                </a:solidFill>
                <a:latin typeface="+mn-lt"/>
                <a:ea typeface="+mn-ea"/>
                <a:cs typeface="+mn-cs"/>
              </a:defRPr>
            </a:pPr>
            <a:endParaRPr lang="de-DE"/>
          </a:p>
        </c:txPr>
        <c:crossAx val="549484800"/>
        <c:crosses val="autoZero"/>
        <c:crossBetween val="midCat"/>
      </c:valAx>
      <c:valAx>
        <c:axId val="549484800"/>
        <c:scaling>
          <c:orientation val="minMax"/>
        </c:scaling>
        <c:delete val="0"/>
        <c:axPos val="l"/>
        <c:title>
          <c:tx>
            <c:rich>
              <a:bodyPr rot="0" spcFirstLastPara="1" vertOverflow="ellipsis" wrap="square" anchor="ctr" anchorCtr="1"/>
              <a:lstStyle/>
              <a:p>
                <a:pPr algn="l">
                  <a:defRPr sz="1600" b="1" i="0" u="none" strike="noStrike" kern="1200" baseline="0">
                    <a:solidFill>
                      <a:schemeClr val="tx2"/>
                    </a:solidFill>
                    <a:latin typeface="+mn-lt"/>
                    <a:ea typeface="+mn-ea"/>
                    <a:cs typeface="+mn-cs"/>
                  </a:defRPr>
                </a:pPr>
                <a:r>
                  <a:rPr lang="de-DE" sz="1600"/>
                  <a:t>y-axis</a:t>
                </a:r>
              </a:p>
            </c:rich>
          </c:tx>
          <c:layout>
            <c:manualLayout>
              <c:xMode val="edge"/>
              <c:yMode val="edge"/>
              <c:x val="4.3132798110184241E-4"/>
              <c:y val="2.4784668203783394E-3"/>
            </c:manualLayout>
          </c:layout>
          <c:overlay val="0"/>
          <c:spPr>
            <a:noFill/>
            <a:ln>
              <a:noFill/>
            </a:ln>
            <a:effectLst/>
          </c:spPr>
          <c:txPr>
            <a:bodyPr rot="0" spcFirstLastPara="1" vertOverflow="ellipsis" wrap="square" anchor="ctr" anchorCtr="1"/>
            <a:lstStyle/>
            <a:p>
              <a:pPr algn="l">
                <a:defRPr sz="1600" b="1" i="0" u="none" strike="noStrike" kern="1200" baseline="0">
                  <a:solidFill>
                    <a:schemeClr val="tx2"/>
                  </a:solidFill>
                  <a:latin typeface="+mn-lt"/>
                  <a:ea typeface="+mn-ea"/>
                  <a:cs typeface="+mn-cs"/>
                </a:defRPr>
              </a:pPr>
              <a:endParaRPr lang="de-DE"/>
            </a:p>
          </c:txPr>
        </c:title>
        <c:numFmt formatCode="General" sourceLinked="1"/>
        <c:majorTickMark val="none"/>
        <c:minorTickMark val="none"/>
        <c:tickLblPos val="nextTo"/>
        <c:spPr>
          <a:noFill/>
          <a:ln w="6350" cap="flat" cmpd="sng" algn="ctr">
            <a:solidFill>
              <a:schemeClr val="tx2">
                <a:lumMod val="60000"/>
                <a:lumOff val="40000"/>
              </a:schemeClr>
            </a:solidFill>
            <a:prstDash val="solid"/>
            <a:round/>
          </a:ln>
          <a:effectLst/>
        </c:spPr>
        <c:txPr>
          <a:bodyPr rot="0" spcFirstLastPara="1" vertOverflow="ellipsis" wrap="square" anchor="ctr" anchorCtr="1"/>
          <a:lstStyle/>
          <a:p>
            <a:pPr>
              <a:defRPr sz="1400" b="0" i="0" u="none" strike="noStrike" kern="1200" baseline="0">
                <a:solidFill>
                  <a:schemeClr val="tx2"/>
                </a:solidFill>
                <a:latin typeface="+mn-lt"/>
                <a:ea typeface="+mn-ea"/>
                <a:cs typeface="+mn-cs"/>
              </a:defRPr>
            </a:pPr>
            <a:endParaRPr lang="de-DE"/>
          </a:p>
        </c:txPr>
        <c:crossAx val="549484408"/>
        <c:crosses val="autoZero"/>
        <c:crossBetween val="midCat"/>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solidFill>
            <a:schemeClr val="tx2"/>
          </a:solidFill>
        </a:defRPr>
      </a:pPr>
      <a:endParaRPr lang="de-DE"/>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021228807809456"/>
          <c:y val="7.3333322465928955E-2"/>
          <c:w val="0.36286845530373568"/>
          <c:h val="0.89277597831673372"/>
        </c:manualLayout>
      </c:layout>
      <c:radarChart>
        <c:radarStyle val="filled"/>
        <c:varyColors val="0"/>
        <c:ser>
          <c:idx val="0"/>
          <c:order val="0"/>
          <c:tx>
            <c:strRef>
              <c:f>Sheet1!$A$2</c:f>
              <c:strCache>
                <c:ptCount val="1"/>
                <c:pt idx="0">
                  <c:v>Label A</c:v>
                </c:pt>
              </c:strCache>
            </c:strRef>
          </c:tx>
          <c:spPr>
            <a:solidFill>
              <a:schemeClr val="accent1"/>
            </a:solidFill>
            <a:ln>
              <a:noFill/>
            </a:ln>
            <a:effectLst/>
          </c:spPr>
          <c:cat>
            <c:strRef>
              <c:f>Sheet1!$B$1:$F$1</c:f>
              <c:strCache>
                <c:ptCount val="5"/>
                <c:pt idx="0">
                  <c:v>Criterion 1</c:v>
                </c:pt>
                <c:pt idx="1">
                  <c:v>Criterion 2</c:v>
                </c:pt>
                <c:pt idx="2">
                  <c:v>Criterion 3</c:v>
                </c:pt>
                <c:pt idx="3">
                  <c:v>Criterion 4</c:v>
                </c:pt>
                <c:pt idx="4">
                  <c:v>Criterion 5</c:v>
                </c:pt>
              </c:strCache>
            </c:strRef>
          </c:cat>
          <c:val>
            <c:numRef>
              <c:f>Sheet1!$B$2:$F$2</c:f>
              <c:numCache>
                <c:formatCode>s\t\a\nd\a\rd</c:formatCode>
                <c:ptCount val="5"/>
                <c:pt idx="0">
                  <c:v>100</c:v>
                </c:pt>
                <c:pt idx="1">
                  <c:v>80</c:v>
                </c:pt>
                <c:pt idx="2">
                  <c:v>90</c:v>
                </c:pt>
                <c:pt idx="3">
                  <c:v>70</c:v>
                </c:pt>
                <c:pt idx="4">
                  <c:v>50</c:v>
                </c:pt>
              </c:numCache>
            </c:numRef>
          </c:val>
          <c:extLst>
            <c:ext xmlns:c16="http://schemas.microsoft.com/office/drawing/2014/chart" uri="{C3380CC4-5D6E-409C-BE32-E72D297353CC}">
              <c16:uniqueId val="{00000000-5B5D-442A-9502-74B5BDD2D376}"/>
            </c:ext>
          </c:extLst>
        </c:ser>
        <c:ser>
          <c:idx val="1"/>
          <c:order val="1"/>
          <c:tx>
            <c:strRef>
              <c:f>Sheet1!$A$3</c:f>
              <c:strCache>
                <c:ptCount val="1"/>
                <c:pt idx="0">
                  <c:v>Label B</c:v>
                </c:pt>
              </c:strCache>
            </c:strRef>
          </c:tx>
          <c:spPr>
            <a:solidFill>
              <a:schemeClr val="accent2"/>
            </a:solidFill>
            <a:ln>
              <a:noFill/>
            </a:ln>
            <a:effectLst/>
          </c:spPr>
          <c:cat>
            <c:strRef>
              <c:f>Sheet1!$B$1:$F$1</c:f>
              <c:strCache>
                <c:ptCount val="5"/>
                <c:pt idx="0">
                  <c:v>Criterion 1</c:v>
                </c:pt>
                <c:pt idx="1">
                  <c:v>Criterion 2</c:v>
                </c:pt>
                <c:pt idx="2">
                  <c:v>Criterion 3</c:v>
                </c:pt>
                <c:pt idx="3">
                  <c:v>Criterion 4</c:v>
                </c:pt>
                <c:pt idx="4">
                  <c:v>Criterion 5</c:v>
                </c:pt>
              </c:strCache>
            </c:strRef>
          </c:cat>
          <c:val>
            <c:numRef>
              <c:f>Sheet1!$B$3:$F$3</c:f>
              <c:numCache>
                <c:formatCode>s\t\a\nd\a\rd</c:formatCode>
                <c:ptCount val="5"/>
                <c:pt idx="0">
                  <c:v>40</c:v>
                </c:pt>
                <c:pt idx="1">
                  <c:v>60</c:v>
                </c:pt>
                <c:pt idx="2">
                  <c:v>80</c:v>
                </c:pt>
                <c:pt idx="3">
                  <c:v>50</c:v>
                </c:pt>
                <c:pt idx="4">
                  <c:v>60</c:v>
                </c:pt>
              </c:numCache>
            </c:numRef>
          </c:val>
          <c:extLst>
            <c:ext xmlns:c16="http://schemas.microsoft.com/office/drawing/2014/chart" uri="{C3380CC4-5D6E-409C-BE32-E72D297353CC}">
              <c16:uniqueId val="{00000001-5B5D-442A-9502-74B5BDD2D376}"/>
            </c:ext>
          </c:extLst>
        </c:ser>
        <c:ser>
          <c:idx val="2"/>
          <c:order val="2"/>
          <c:tx>
            <c:strRef>
              <c:f>Sheet1!$A$4</c:f>
              <c:strCache>
                <c:ptCount val="1"/>
                <c:pt idx="0">
                  <c:v>Label C</c:v>
                </c:pt>
              </c:strCache>
            </c:strRef>
          </c:tx>
          <c:spPr>
            <a:solidFill>
              <a:schemeClr val="accent3"/>
            </a:solidFill>
            <a:ln>
              <a:noFill/>
            </a:ln>
            <a:effectLst/>
          </c:spPr>
          <c:cat>
            <c:strRef>
              <c:f>Sheet1!$B$1:$F$1</c:f>
              <c:strCache>
                <c:ptCount val="5"/>
                <c:pt idx="0">
                  <c:v>Criterion 1</c:v>
                </c:pt>
                <c:pt idx="1">
                  <c:v>Criterion 2</c:v>
                </c:pt>
                <c:pt idx="2">
                  <c:v>Criterion 3</c:v>
                </c:pt>
                <c:pt idx="3">
                  <c:v>Criterion 4</c:v>
                </c:pt>
                <c:pt idx="4">
                  <c:v>Criterion 5</c:v>
                </c:pt>
              </c:strCache>
            </c:strRef>
          </c:cat>
          <c:val>
            <c:numRef>
              <c:f>Sheet1!$B$4:$F$4</c:f>
              <c:numCache>
                <c:formatCode>s\t\a\nd\a\rd</c:formatCode>
                <c:ptCount val="5"/>
                <c:pt idx="0">
                  <c:v>30</c:v>
                </c:pt>
                <c:pt idx="1">
                  <c:v>40</c:v>
                </c:pt>
                <c:pt idx="2">
                  <c:v>10</c:v>
                </c:pt>
                <c:pt idx="3">
                  <c:v>40</c:v>
                </c:pt>
                <c:pt idx="4">
                  <c:v>30</c:v>
                </c:pt>
              </c:numCache>
            </c:numRef>
          </c:val>
          <c:extLst>
            <c:ext xmlns:c16="http://schemas.microsoft.com/office/drawing/2014/chart" uri="{C3380CC4-5D6E-409C-BE32-E72D297353CC}">
              <c16:uniqueId val="{00000002-5B5D-442A-9502-74B5BDD2D376}"/>
            </c:ext>
          </c:extLst>
        </c:ser>
        <c:dLbls>
          <c:showLegendKey val="0"/>
          <c:showVal val="0"/>
          <c:showCatName val="0"/>
          <c:showSerName val="0"/>
          <c:showPercent val="0"/>
          <c:showBubbleSize val="0"/>
        </c:dLbls>
        <c:axId val="549485584"/>
        <c:axId val="637844352"/>
      </c:radarChart>
      <c:catAx>
        <c:axId val="549485584"/>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0" spcFirstLastPara="1" vertOverflow="ellipsis" wrap="square" anchor="ctr" anchorCtr="1"/>
          <a:lstStyle/>
          <a:p>
            <a:pPr>
              <a:defRPr sz="1400" b="0" i="0" u="none" strike="noStrike" kern="1200" baseline="0">
                <a:solidFill>
                  <a:schemeClr val="tx2"/>
                </a:solidFill>
                <a:latin typeface="+mn-lt"/>
                <a:ea typeface="+mn-ea"/>
                <a:cs typeface="+mn-cs"/>
              </a:defRPr>
            </a:pPr>
            <a:endParaRPr lang="de-DE"/>
          </a:p>
        </c:txPr>
        <c:crossAx val="637844352"/>
        <c:crosses val="autoZero"/>
        <c:auto val="0"/>
        <c:lblAlgn val="ctr"/>
        <c:lblOffset val="100"/>
        <c:noMultiLvlLbl val="0"/>
      </c:catAx>
      <c:valAx>
        <c:axId val="637844352"/>
        <c:scaling>
          <c:orientation val="minMax"/>
        </c:scaling>
        <c:delete val="0"/>
        <c:axPos val="l"/>
        <c:minorGridlines>
          <c:spPr>
            <a:ln w="6350" cap="flat" cmpd="sng" algn="ctr">
              <a:solidFill>
                <a:schemeClr val="tx2">
                  <a:lumMod val="40000"/>
                  <a:lumOff val="60000"/>
                </a:schemeClr>
              </a:solidFill>
              <a:prstDash val="solid"/>
              <a:round/>
            </a:ln>
            <a:effectLst/>
          </c:spPr>
        </c:minorGridlines>
        <c:numFmt formatCode="s\t\a\nd\a\rd" sourceLinked="1"/>
        <c:majorTickMark val="none"/>
        <c:minorTickMark val="cross"/>
        <c:tickLblPos val="none"/>
        <c:spPr>
          <a:noFill/>
          <a:ln w="12700" cap="flat" cmpd="sng" algn="ctr">
            <a:solidFill>
              <a:schemeClr val="tx2">
                <a:lumMod val="40000"/>
                <a:lumOff val="60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de-DE"/>
          </a:p>
        </c:txPr>
        <c:crossAx val="549485584"/>
        <c:crosses val="autoZero"/>
        <c:crossBetween val="between"/>
        <c:minorUnit val="20"/>
      </c:valAx>
      <c:spPr>
        <a:noFill/>
        <a:ln>
          <a:noFill/>
        </a:ln>
        <a:effectLst/>
      </c:spPr>
    </c:plotArea>
    <c:legend>
      <c:legendPos val="r"/>
      <c:layout>
        <c:manualLayout>
          <c:xMode val="edge"/>
          <c:yMode val="edge"/>
          <c:x val="0.76544254077113627"/>
          <c:y val="0.68467907895021807"/>
          <c:w val="8.0177920837545977E-2"/>
          <c:h val="0.21546197219636687"/>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de-DE"/>
        </a:p>
      </c:txPr>
    </c:legend>
    <c:plotVisOnly val="1"/>
    <c:dispBlanksAs val="gap"/>
    <c:showDLblsOverMax val="0"/>
  </c:chart>
  <c:spPr>
    <a:noFill/>
    <a:ln w="6350" cap="flat" cmpd="sng" algn="ctr">
      <a:noFill/>
      <a:prstDash val="solid"/>
      <a:miter lim="800000"/>
    </a:ln>
    <a:effectLst/>
  </c:spPr>
  <c:txPr>
    <a:bodyPr/>
    <a:lstStyle/>
    <a:p>
      <a:pPr>
        <a:defRPr sz="1400">
          <a:solidFill>
            <a:schemeClr val="tx2"/>
          </a:solidFill>
        </a:defRPr>
      </a:pPr>
      <a:endParaRPr lang="de-DE"/>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399153737658676"/>
          <c:y val="7.3170731707317069E-2"/>
          <c:w val="0.58533145275035259"/>
          <c:h val="0.92017738359201751"/>
        </c:manualLayout>
      </c:layout>
      <c:radarChart>
        <c:radarStyle val="marker"/>
        <c:varyColors val="0"/>
        <c:ser>
          <c:idx val="0"/>
          <c:order val="0"/>
          <c:tx>
            <c:strRef>
              <c:f>Sheet1!$A$2</c:f>
              <c:strCache>
                <c:ptCount val="1"/>
                <c:pt idx="0">
                  <c:v>Label A</c:v>
                </c:pt>
              </c:strCache>
            </c:strRef>
          </c:tx>
          <c:cat>
            <c:strRef>
              <c:f>Sheet1!$B$1:$F$1</c:f>
              <c:strCache>
                <c:ptCount val="5"/>
                <c:pt idx="0">
                  <c:v>Criterion 1</c:v>
                </c:pt>
                <c:pt idx="1">
                  <c:v>Criterion 2</c:v>
                </c:pt>
                <c:pt idx="2">
                  <c:v>Criterion 3</c:v>
                </c:pt>
                <c:pt idx="3">
                  <c:v>Criterion 4</c:v>
                </c:pt>
                <c:pt idx="4">
                  <c:v>Criterion 5</c:v>
                </c:pt>
              </c:strCache>
            </c:strRef>
          </c:cat>
          <c:val>
            <c:numRef>
              <c:f>Sheet1!$B$2:$F$2</c:f>
              <c:numCache>
                <c:formatCode>s\t\a\nd\a\rd</c:formatCode>
                <c:ptCount val="5"/>
                <c:pt idx="0">
                  <c:v>50</c:v>
                </c:pt>
                <c:pt idx="1">
                  <c:v>80</c:v>
                </c:pt>
                <c:pt idx="2">
                  <c:v>90</c:v>
                </c:pt>
                <c:pt idx="3">
                  <c:v>70</c:v>
                </c:pt>
                <c:pt idx="4">
                  <c:v>50</c:v>
                </c:pt>
              </c:numCache>
            </c:numRef>
          </c:val>
          <c:extLst>
            <c:ext xmlns:c16="http://schemas.microsoft.com/office/drawing/2014/chart" uri="{C3380CC4-5D6E-409C-BE32-E72D297353CC}">
              <c16:uniqueId val="{00000000-73CC-47B5-BDC2-9C3EDCD43331}"/>
            </c:ext>
          </c:extLst>
        </c:ser>
        <c:ser>
          <c:idx val="3"/>
          <c:order val="1"/>
          <c:tx>
            <c:strRef>
              <c:f>Sheet1!$A$3</c:f>
              <c:strCache>
                <c:ptCount val="1"/>
                <c:pt idx="0">
                  <c:v>Label B</c:v>
                </c:pt>
              </c:strCache>
            </c:strRef>
          </c:tx>
          <c:spPr>
            <a:ln w="12700">
              <a:prstDash val="sysDash"/>
            </a:ln>
          </c:spPr>
          <c:marker>
            <c:spPr>
              <a:ln w="12700">
                <a:prstDash val="sysDash"/>
              </a:ln>
            </c:spPr>
          </c:marker>
          <c:cat>
            <c:strRef>
              <c:f>Sheet1!$B$1:$F$1</c:f>
              <c:strCache>
                <c:ptCount val="5"/>
                <c:pt idx="0">
                  <c:v>Criterion 1</c:v>
                </c:pt>
                <c:pt idx="1">
                  <c:v>Criterion 2</c:v>
                </c:pt>
                <c:pt idx="2">
                  <c:v>Criterion 3</c:v>
                </c:pt>
                <c:pt idx="3">
                  <c:v>Criterion 4</c:v>
                </c:pt>
                <c:pt idx="4">
                  <c:v>Criterion 5</c:v>
                </c:pt>
              </c:strCache>
            </c:strRef>
          </c:cat>
          <c:val>
            <c:numRef>
              <c:f>Sheet1!$B$3:$F$3</c:f>
              <c:numCache>
                <c:formatCode>s\t\a\nd\a\rd</c:formatCode>
                <c:ptCount val="5"/>
                <c:pt idx="0">
                  <c:v>80</c:v>
                </c:pt>
                <c:pt idx="1">
                  <c:v>60</c:v>
                </c:pt>
                <c:pt idx="2">
                  <c:v>50</c:v>
                </c:pt>
                <c:pt idx="3">
                  <c:v>30</c:v>
                </c:pt>
                <c:pt idx="4">
                  <c:v>80</c:v>
                </c:pt>
              </c:numCache>
            </c:numRef>
          </c:val>
          <c:extLst>
            <c:ext xmlns:c16="http://schemas.microsoft.com/office/drawing/2014/chart" uri="{C3380CC4-5D6E-409C-BE32-E72D297353CC}">
              <c16:uniqueId val="{00000001-73CC-47B5-BDC2-9C3EDCD43331}"/>
            </c:ext>
          </c:extLst>
        </c:ser>
        <c:ser>
          <c:idx val="1"/>
          <c:order val="2"/>
          <c:tx>
            <c:strRef>
              <c:f>Sheet1!$A$4</c:f>
              <c:strCache>
                <c:ptCount val="1"/>
                <c:pt idx="0">
                  <c:v>Label C</c:v>
                </c:pt>
              </c:strCache>
            </c:strRef>
          </c:tx>
          <c:spPr>
            <a:ln w="12700">
              <a:solidFill>
                <a:schemeClr val="accent2">
                  <a:lumMod val="50000"/>
                </a:schemeClr>
              </a:solidFill>
              <a:prstDash val="dash"/>
            </a:ln>
          </c:spPr>
          <c:marker>
            <c:spPr>
              <a:solidFill>
                <a:schemeClr val="accent2">
                  <a:lumMod val="50000"/>
                </a:schemeClr>
              </a:solidFill>
              <a:ln w="12700">
                <a:solidFill>
                  <a:schemeClr val="accent2">
                    <a:lumMod val="50000"/>
                  </a:schemeClr>
                </a:solidFill>
                <a:prstDash val="dash"/>
              </a:ln>
            </c:spPr>
          </c:marker>
          <c:cat>
            <c:strRef>
              <c:f>Sheet1!$B$1:$F$1</c:f>
              <c:strCache>
                <c:ptCount val="5"/>
                <c:pt idx="0">
                  <c:v>Criterion 1</c:v>
                </c:pt>
                <c:pt idx="1">
                  <c:v>Criterion 2</c:v>
                </c:pt>
                <c:pt idx="2">
                  <c:v>Criterion 3</c:v>
                </c:pt>
                <c:pt idx="3">
                  <c:v>Criterion 4</c:v>
                </c:pt>
                <c:pt idx="4">
                  <c:v>Criterion 5</c:v>
                </c:pt>
              </c:strCache>
            </c:strRef>
          </c:cat>
          <c:val>
            <c:numRef>
              <c:f>Sheet1!$B$4:$F$4</c:f>
              <c:numCache>
                <c:formatCode>s\t\a\nd\a\rd</c:formatCode>
                <c:ptCount val="5"/>
                <c:pt idx="0">
                  <c:v>40</c:v>
                </c:pt>
                <c:pt idx="1">
                  <c:v>60</c:v>
                </c:pt>
                <c:pt idx="2">
                  <c:v>80</c:v>
                </c:pt>
                <c:pt idx="3">
                  <c:v>50</c:v>
                </c:pt>
                <c:pt idx="4">
                  <c:v>60</c:v>
                </c:pt>
              </c:numCache>
            </c:numRef>
          </c:val>
          <c:extLst>
            <c:ext xmlns:c16="http://schemas.microsoft.com/office/drawing/2014/chart" uri="{C3380CC4-5D6E-409C-BE32-E72D297353CC}">
              <c16:uniqueId val="{00000002-73CC-47B5-BDC2-9C3EDCD43331}"/>
            </c:ext>
          </c:extLst>
        </c:ser>
        <c:ser>
          <c:idx val="2"/>
          <c:order val="3"/>
          <c:tx>
            <c:strRef>
              <c:f>Sheet1!$A$5</c:f>
              <c:strCache>
                <c:ptCount val="1"/>
                <c:pt idx="0">
                  <c:v>Label D</c:v>
                </c:pt>
              </c:strCache>
            </c:strRef>
          </c:tx>
          <c:cat>
            <c:strRef>
              <c:f>Sheet1!$B$1:$F$1</c:f>
              <c:strCache>
                <c:ptCount val="5"/>
                <c:pt idx="0">
                  <c:v>Criterion 1</c:v>
                </c:pt>
                <c:pt idx="1">
                  <c:v>Criterion 2</c:v>
                </c:pt>
                <c:pt idx="2">
                  <c:v>Criterion 3</c:v>
                </c:pt>
                <c:pt idx="3">
                  <c:v>Criterion 4</c:v>
                </c:pt>
                <c:pt idx="4">
                  <c:v>Criterion 5</c:v>
                </c:pt>
              </c:strCache>
            </c:strRef>
          </c:cat>
          <c:val>
            <c:numRef>
              <c:f>Sheet1!$B$5:$F$5</c:f>
              <c:numCache>
                <c:formatCode>s\t\a\nd\a\rd</c:formatCode>
                <c:ptCount val="5"/>
                <c:pt idx="0">
                  <c:v>30</c:v>
                </c:pt>
                <c:pt idx="1">
                  <c:v>40</c:v>
                </c:pt>
                <c:pt idx="2">
                  <c:v>10</c:v>
                </c:pt>
                <c:pt idx="3">
                  <c:v>40</c:v>
                </c:pt>
                <c:pt idx="4">
                  <c:v>30</c:v>
                </c:pt>
              </c:numCache>
            </c:numRef>
          </c:val>
          <c:extLst>
            <c:ext xmlns:c16="http://schemas.microsoft.com/office/drawing/2014/chart" uri="{C3380CC4-5D6E-409C-BE32-E72D297353CC}">
              <c16:uniqueId val="{00000003-73CC-47B5-BDC2-9C3EDCD43331}"/>
            </c:ext>
          </c:extLst>
        </c:ser>
        <c:dLbls>
          <c:showLegendKey val="0"/>
          <c:showVal val="0"/>
          <c:showCatName val="0"/>
          <c:showSerName val="0"/>
          <c:showPercent val="0"/>
          <c:showBubbleSize val="0"/>
        </c:dLbls>
        <c:axId val="637843568"/>
        <c:axId val="637842392"/>
      </c:radarChart>
      <c:catAx>
        <c:axId val="637843568"/>
        <c:scaling>
          <c:orientation val="minMax"/>
        </c:scaling>
        <c:delete val="0"/>
        <c:axPos val="b"/>
        <c:majorGridlines/>
        <c:numFmt formatCode="General" sourceLinked="1"/>
        <c:majorTickMark val="out"/>
        <c:minorTickMark val="none"/>
        <c:tickLblPos val="nextTo"/>
        <c:txPr>
          <a:bodyPr rot="0" vert="horz"/>
          <a:lstStyle/>
          <a:p>
            <a:pPr>
              <a:defRPr/>
            </a:pPr>
            <a:endParaRPr lang="de-DE"/>
          </a:p>
        </c:txPr>
        <c:crossAx val="637842392"/>
        <c:crosses val="autoZero"/>
        <c:auto val="0"/>
        <c:lblAlgn val="ctr"/>
        <c:lblOffset val="100"/>
        <c:noMultiLvlLbl val="0"/>
      </c:catAx>
      <c:valAx>
        <c:axId val="637842392"/>
        <c:scaling>
          <c:orientation val="minMax"/>
        </c:scaling>
        <c:delete val="0"/>
        <c:axPos val="l"/>
        <c:numFmt formatCode="s\t\a\nd\a\rd" sourceLinked="1"/>
        <c:majorTickMark val="none"/>
        <c:minorTickMark val="cross"/>
        <c:tickLblPos val="none"/>
        <c:crossAx val="637843568"/>
        <c:crosses val="autoZero"/>
        <c:crossBetween val="between"/>
        <c:minorUnit val="20"/>
      </c:valAx>
    </c:plotArea>
    <c:legend>
      <c:legendPos val="r"/>
      <c:layout>
        <c:manualLayout>
          <c:xMode val="edge"/>
          <c:yMode val="edge"/>
          <c:x val="0.70545385231174484"/>
          <c:y val="0.64517478774042825"/>
          <c:w val="9.8370579279125417E-2"/>
          <c:h val="0.259688737355872"/>
        </c:manualLayout>
      </c:layout>
      <c:overlay val="0"/>
    </c:legend>
    <c:plotVisOnly val="1"/>
    <c:dispBlanksAs val="gap"/>
    <c:showDLblsOverMax val="0"/>
  </c:chart>
  <c:txPr>
    <a:bodyPr/>
    <a:lstStyle/>
    <a:p>
      <a:pPr>
        <a:defRPr sz="1400">
          <a:solidFill>
            <a:schemeClr val="tx2"/>
          </a:solidFill>
        </a:defRPr>
      </a:pPr>
      <a:endParaRPr lang="de-DE"/>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299638989169717"/>
          <c:y val="3.1180400890868598E-2"/>
          <c:w val="0.68411552346570392"/>
          <c:h val="0.84855233853006651"/>
        </c:manualLayout>
      </c:layout>
      <c:scatterChart>
        <c:scatterStyle val="lineMarker"/>
        <c:varyColors val="0"/>
        <c:ser>
          <c:idx val="0"/>
          <c:order val="0"/>
          <c:tx>
            <c:strRef>
              <c:f>Sheet1!$A$2</c:f>
              <c:strCache>
                <c:ptCount val="1"/>
                <c:pt idx="0">
                  <c:v>Y-Value</c:v>
                </c:pt>
              </c:strCache>
            </c:strRef>
          </c:tx>
          <c:spPr>
            <a:ln w="28575">
              <a:noFill/>
            </a:ln>
          </c:spPr>
          <c:marker>
            <c:symbol val="diamond"/>
            <c:size val="11"/>
            <c:spPr>
              <a:solidFill>
                <a:schemeClr val="accent1"/>
              </a:solidFill>
              <a:ln>
                <a:noFill/>
              </a:ln>
            </c:spPr>
          </c:marker>
          <c:dLbls>
            <c:dLbl>
              <c:idx val="4"/>
              <c:layout>
                <c:manualLayout>
                  <c:x val="-5.2015604681404422E-3"/>
                  <c:y val="-8.9119951009757128E-3"/>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5EE-4E71-9D8A-08A83D096BB8}"/>
                </c:ext>
              </c:extLst>
            </c:dLbl>
            <c:dLbl>
              <c:idx val="5"/>
              <c:layout>
                <c:manualLayout>
                  <c:x val="-5.2015604681404422E-3"/>
                  <c:y val="1.4853325168292861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5EE-4E71-9D8A-08A83D096BB8}"/>
                </c:ext>
              </c:extLst>
            </c:dLbl>
            <c:spPr>
              <a:noFill/>
              <a:ln>
                <a:noFill/>
              </a:ln>
              <a:effectLst/>
            </c:spPr>
            <c:txPr>
              <a:bodyPr/>
              <a:lstStyle/>
              <a:p>
                <a:pPr>
                  <a:defRPr b="0"/>
                </a:pPr>
                <a:endParaRPr lang="de-DE"/>
              </a:p>
            </c:txPr>
            <c:showLegendKey val="0"/>
            <c:showVal val="0"/>
            <c:showCatName val="1"/>
            <c:showSerName val="0"/>
            <c:showPercent val="0"/>
            <c:showBubbleSize val="0"/>
            <c:showLeaderLines val="0"/>
            <c:extLst>
              <c:ext xmlns:c15="http://schemas.microsoft.com/office/drawing/2012/chart" uri="{CE6537A1-D6FC-4f65-9D91-7224C49458BB}">
                <c15:showLeaderLines val="0"/>
              </c:ext>
            </c:extLst>
          </c:dLbls>
          <c:xVal>
            <c:numRef>
              <c:f>Sheet1!$B$1:$J$1</c:f>
              <c:numCache>
                <c:formatCode>0%</c:formatCode>
                <c:ptCount val="9"/>
                <c:pt idx="0">
                  <c:v>0.70000000000000051</c:v>
                </c:pt>
                <c:pt idx="1">
                  <c:v>0.79</c:v>
                </c:pt>
                <c:pt idx="2">
                  <c:v>0.74000000000000055</c:v>
                </c:pt>
                <c:pt idx="3">
                  <c:v>0.54</c:v>
                </c:pt>
                <c:pt idx="4">
                  <c:v>0.5</c:v>
                </c:pt>
                <c:pt idx="5">
                  <c:v>0.44</c:v>
                </c:pt>
                <c:pt idx="6">
                  <c:v>0.68</c:v>
                </c:pt>
                <c:pt idx="7">
                  <c:v>0.3300000000000004</c:v>
                </c:pt>
                <c:pt idx="8">
                  <c:v>0.39000000000000035</c:v>
                </c:pt>
              </c:numCache>
            </c:numRef>
          </c:xVal>
          <c:yVal>
            <c:numRef>
              <c:f>Sheet1!$B$2:$J$2</c:f>
              <c:numCache>
                <c:formatCode>0%</c:formatCode>
                <c:ptCount val="9"/>
                <c:pt idx="0">
                  <c:v>0.45</c:v>
                </c:pt>
                <c:pt idx="1">
                  <c:v>0.3300000000000004</c:v>
                </c:pt>
                <c:pt idx="2">
                  <c:v>0.21000000000000013</c:v>
                </c:pt>
                <c:pt idx="3">
                  <c:v>0.29000000000000026</c:v>
                </c:pt>
                <c:pt idx="4">
                  <c:v>0.41000000000000025</c:v>
                </c:pt>
                <c:pt idx="5">
                  <c:v>0.38000000000000034</c:v>
                </c:pt>
                <c:pt idx="6">
                  <c:v>0.54</c:v>
                </c:pt>
                <c:pt idx="7">
                  <c:v>0.5</c:v>
                </c:pt>
                <c:pt idx="8">
                  <c:v>0.1</c:v>
                </c:pt>
              </c:numCache>
            </c:numRef>
          </c:yVal>
          <c:smooth val="0"/>
          <c:extLst>
            <c:ext xmlns:c16="http://schemas.microsoft.com/office/drawing/2014/chart" uri="{C3380CC4-5D6E-409C-BE32-E72D297353CC}">
              <c16:uniqueId val="{00000002-45EE-4E71-9D8A-08A83D096BB8}"/>
            </c:ext>
          </c:extLst>
        </c:ser>
        <c:dLbls>
          <c:showLegendKey val="0"/>
          <c:showVal val="0"/>
          <c:showCatName val="1"/>
          <c:showSerName val="0"/>
          <c:showPercent val="0"/>
          <c:showBubbleSize val="0"/>
        </c:dLbls>
        <c:axId val="176143920"/>
        <c:axId val="176144312"/>
      </c:scatterChart>
      <c:valAx>
        <c:axId val="176143920"/>
        <c:scaling>
          <c:orientation val="minMax"/>
          <c:max val="1"/>
          <c:min val="0"/>
        </c:scaling>
        <c:delete val="0"/>
        <c:axPos val="b"/>
        <c:numFmt formatCode="0%" sourceLinked="1"/>
        <c:majorTickMark val="none"/>
        <c:minorTickMark val="none"/>
        <c:tickLblPos val="none"/>
        <c:spPr>
          <a:ln>
            <a:noFill/>
          </a:ln>
        </c:spPr>
        <c:crossAx val="176144312"/>
        <c:crosses val="autoZero"/>
        <c:crossBetween val="midCat"/>
        <c:majorUnit val="1"/>
        <c:minorUnit val="1"/>
      </c:valAx>
      <c:valAx>
        <c:axId val="176144312"/>
        <c:scaling>
          <c:orientation val="minMax"/>
          <c:max val="1"/>
          <c:min val="0"/>
        </c:scaling>
        <c:delete val="1"/>
        <c:axPos val="l"/>
        <c:numFmt formatCode="0%" sourceLinked="1"/>
        <c:majorTickMark val="none"/>
        <c:minorTickMark val="none"/>
        <c:tickLblPos val="none"/>
        <c:crossAx val="176143920"/>
        <c:crosses val="autoZero"/>
        <c:crossBetween val="midCat"/>
        <c:majorUnit val="10"/>
        <c:minorUnit val="10"/>
      </c:valAx>
      <c:spPr>
        <a:noFill/>
        <a:ln w="25400">
          <a:noFill/>
        </a:ln>
      </c:spPr>
    </c:plotArea>
    <c:plotVisOnly val="1"/>
    <c:dispBlanksAs val="gap"/>
    <c:showDLblsOverMax val="0"/>
  </c:chart>
  <c:txPr>
    <a:bodyPr/>
    <a:lstStyle/>
    <a:p>
      <a:pPr>
        <a:defRPr sz="1200"/>
      </a:pPr>
      <a:endParaRPr lang="de-DE"/>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134699853587395E-2"/>
          <c:y val="5.8823529411764705E-2"/>
          <c:w val="0.56661786237189105"/>
          <c:h val="0.84967320261438395"/>
        </c:manualLayout>
      </c:layout>
      <c:bubbleChart>
        <c:varyColors val="0"/>
        <c:ser>
          <c:idx val="0"/>
          <c:order val="0"/>
          <c:tx>
            <c:strRef>
              <c:f>Sheet1!$A$2</c:f>
              <c:strCache>
                <c:ptCount val="1"/>
                <c:pt idx="0">
                  <c:v>Y Value</c:v>
                </c:pt>
              </c:strCache>
            </c:strRef>
          </c:tx>
          <c:invertIfNegative val="1"/>
          <c:dPt>
            <c:idx val="0"/>
            <c:invertIfNegative val="1"/>
            <c:bubble3D val="0"/>
            <c:spPr>
              <a:solidFill>
                <a:schemeClr val="accent3">
                  <a:lumMod val="20000"/>
                  <a:lumOff val="80000"/>
                </a:schemeClr>
              </a:solidFill>
            </c:spPr>
            <c:extLst>
              <c:ext xmlns:c16="http://schemas.microsoft.com/office/drawing/2014/chart" uri="{C3380CC4-5D6E-409C-BE32-E72D297353CC}">
                <c16:uniqueId val="{00000001-D270-4E9C-9F09-56B00A8EC7DE}"/>
              </c:ext>
            </c:extLst>
          </c:dPt>
          <c:dPt>
            <c:idx val="1"/>
            <c:invertIfNegative val="1"/>
            <c:bubble3D val="0"/>
            <c:spPr>
              <a:solidFill>
                <a:schemeClr val="accent3">
                  <a:lumMod val="60000"/>
                  <a:lumOff val="40000"/>
                </a:schemeClr>
              </a:solidFill>
            </c:spPr>
            <c:extLst>
              <c:ext xmlns:c16="http://schemas.microsoft.com/office/drawing/2014/chart" uri="{C3380CC4-5D6E-409C-BE32-E72D297353CC}">
                <c16:uniqueId val="{00000003-D270-4E9C-9F09-56B00A8EC7DE}"/>
              </c:ext>
            </c:extLst>
          </c:dPt>
          <c:dPt>
            <c:idx val="2"/>
            <c:invertIfNegative val="1"/>
            <c:bubble3D val="0"/>
            <c:spPr>
              <a:solidFill>
                <a:schemeClr val="accent3">
                  <a:lumMod val="40000"/>
                  <a:lumOff val="60000"/>
                </a:schemeClr>
              </a:solidFill>
            </c:spPr>
            <c:extLst>
              <c:ext xmlns:c16="http://schemas.microsoft.com/office/drawing/2014/chart" uri="{C3380CC4-5D6E-409C-BE32-E72D297353CC}">
                <c16:uniqueId val="{00000005-D270-4E9C-9F09-56B00A8EC7DE}"/>
              </c:ext>
            </c:extLst>
          </c:dPt>
          <c:dPt>
            <c:idx val="3"/>
            <c:invertIfNegative val="1"/>
            <c:bubble3D val="0"/>
            <c:spPr>
              <a:solidFill>
                <a:schemeClr val="accent4"/>
              </a:solidFill>
            </c:spPr>
            <c:extLst>
              <c:ext xmlns:c16="http://schemas.microsoft.com/office/drawing/2014/chart" uri="{C3380CC4-5D6E-409C-BE32-E72D297353CC}">
                <c16:uniqueId val="{00000007-D270-4E9C-9F09-56B00A8EC7DE}"/>
              </c:ext>
            </c:extLst>
          </c:dPt>
          <c:xVal>
            <c:numRef>
              <c:f>Sheet1!$B$1:$J$1</c:f>
              <c:numCache>
                <c:formatCode>s\t\a\nd\a\rd</c:formatCode>
                <c:ptCount val="9"/>
                <c:pt idx="0">
                  <c:v>20</c:v>
                </c:pt>
                <c:pt idx="1">
                  <c:v>30</c:v>
                </c:pt>
                <c:pt idx="2">
                  <c:v>80</c:v>
                </c:pt>
                <c:pt idx="3">
                  <c:v>50</c:v>
                </c:pt>
              </c:numCache>
            </c:numRef>
          </c:xVal>
          <c:yVal>
            <c:numRef>
              <c:f>Sheet1!$B$2:$J$2</c:f>
              <c:numCache>
                <c:formatCode>s\t\a\nd\a\rd</c:formatCode>
                <c:ptCount val="9"/>
                <c:pt idx="0">
                  <c:v>20</c:v>
                </c:pt>
                <c:pt idx="1">
                  <c:v>50</c:v>
                </c:pt>
                <c:pt idx="2">
                  <c:v>40</c:v>
                </c:pt>
                <c:pt idx="3">
                  <c:v>75</c:v>
                </c:pt>
              </c:numCache>
            </c:numRef>
          </c:yVal>
          <c:bubbleSize>
            <c:numRef>
              <c:f>Sheet1!$B$3:$J$3</c:f>
              <c:numCache>
                <c:formatCode>s\t\a\nd\a\rd</c:formatCode>
                <c:ptCount val="9"/>
                <c:pt idx="0">
                  <c:v>1</c:v>
                </c:pt>
                <c:pt idx="1">
                  <c:v>5</c:v>
                </c:pt>
                <c:pt idx="2">
                  <c:v>2</c:v>
                </c:pt>
                <c:pt idx="3">
                  <c:v>4</c:v>
                </c:pt>
              </c:numCache>
            </c:numRef>
          </c:bubbleSize>
          <c:bubble3D val="0"/>
          <c:extLst>
            <c:ext xmlns:c16="http://schemas.microsoft.com/office/drawing/2014/chart" uri="{C3380CC4-5D6E-409C-BE32-E72D297353CC}">
              <c16:uniqueId val="{00000008-D270-4E9C-9F09-56B00A8EC7DE}"/>
            </c:ext>
          </c:extLst>
        </c:ser>
        <c:dLbls>
          <c:showLegendKey val="0"/>
          <c:showVal val="0"/>
          <c:showCatName val="0"/>
          <c:showSerName val="0"/>
          <c:showPercent val="0"/>
          <c:showBubbleSize val="0"/>
        </c:dLbls>
        <c:bubbleScale val="100"/>
        <c:showNegBubbles val="0"/>
        <c:axId val="176145880"/>
        <c:axId val="176146272"/>
      </c:bubbleChart>
      <c:valAx>
        <c:axId val="176145880"/>
        <c:scaling>
          <c:orientation val="minMax"/>
          <c:max val="100"/>
          <c:min val="0"/>
        </c:scaling>
        <c:delete val="1"/>
        <c:axPos val="b"/>
        <c:numFmt formatCode="s\t\a\nd\a\rd" sourceLinked="1"/>
        <c:majorTickMark val="out"/>
        <c:minorTickMark val="none"/>
        <c:tickLblPos val="none"/>
        <c:crossAx val="176146272"/>
        <c:crossesAt val="0"/>
        <c:crossBetween val="midCat"/>
        <c:majorUnit val="20"/>
        <c:minorUnit val="4"/>
      </c:valAx>
      <c:valAx>
        <c:axId val="176146272"/>
        <c:scaling>
          <c:orientation val="minMax"/>
          <c:max val="100"/>
          <c:min val="0"/>
        </c:scaling>
        <c:delete val="1"/>
        <c:axPos val="l"/>
        <c:numFmt formatCode="s\t\a\nd\a\rd" sourceLinked="1"/>
        <c:majorTickMark val="out"/>
        <c:minorTickMark val="none"/>
        <c:tickLblPos val="none"/>
        <c:crossAx val="176145880"/>
        <c:crossesAt val="0"/>
        <c:crossBetween val="midCat"/>
        <c:majorUnit val="10"/>
        <c:minorUnit val="2"/>
      </c:valAx>
    </c:plotArea>
    <c:plotVisOnly val="1"/>
    <c:dispBlanksAs val="gap"/>
    <c:showDLblsOverMax val="0"/>
  </c:chart>
  <c:txPr>
    <a:bodyPr/>
    <a:lstStyle/>
    <a:p>
      <a:pPr>
        <a:defRPr sz="1800"/>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30734966592476"/>
          <c:y val="3.0812324929972011E-2"/>
          <c:w val="0.741648106904233"/>
          <c:h val="0.94397759103641454"/>
        </c:manualLayout>
      </c:layout>
      <c:barChart>
        <c:barDir val="bar"/>
        <c:grouping val="clustered"/>
        <c:varyColors val="0"/>
        <c:ser>
          <c:idx val="2"/>
          <c:order val="0"/>
          <c:tx>
            <c:strRef>
              <c:f>Sheet1!$A$2</c:f>
              <c:strCache>
                <c:ptCount val="1"/>
                <c:pt idx="0">
                  <c:v>Group 2</c:v>
                </c:pt>
              </c:strCache>
            </c:strRef>
          </c:tx>
          <c:spPr>
            <a:solidFill>
              <a:schemeClr val="accent1"/>
            </a:solidFill>
            <a:ln w="25355">
              <a:noFill/>
            </a:ln>
          </c:spPr>
          <c:invertIfNegative val="0"/>
          <c:dPt>
            <c:idx val="1"/>
            <c:invertIfNegative val="0"/>
            <c:bubble3D val="0"/>
            <c:spPr>
              <a:solidFill>
                <a:schemeClr val="accent3"/>
              </a:solidFill>
              <a:ln w="25355">
                <a:noFill/>
              </a:ln>
            </c:spPr>
            <c:extLst>
              <c:ext xmlns:c16="http://schemas.microsoft.com/office/drawing/2014/chart" uri="{C3380CC4-5D6E-409C-BE32-E72D297353CC}">
                <c16:uniqueId val="{00000001-9478-4FAB-8C38-2CE87BEBC936}"/>
              </c:ext>
            </c:extLst>
          </c:dPt>
          <c:dPt>
            <c:idx val="2"/>
            <c:invertIfNegative val="0"/>
            <c:bubble3D val="0"/>
            <c:spPr>
              <a:solidFill>
                <a:schemeClr val="accent2"/>
              </a:solidFill>
              <a:ln w="25355">
                <a:noFill/>
              </a:ln>
            </c:spPr>
            <c:extLst>
              <c:ext xmlns:c16="http://schemas.microsoft.com/office/drawing/2014/chart" uri="{C3380CC4-5D6E-409C-BE32-E72D297353CC}">
                <c16:uniqueId val="{00000003-9478-4FAB-8C38-2CE87BEBC936}"/>
              </c:ext>
            </c:extLst>
          </c:dPt>
          <c:dPt>
            <c:idx val="3"/>
            <c:invertIfNegative val="0"/>
            <c:bubble3D val="0"/>
            <c:spPr>
              <a:solidFill>
                <a:schemeClr val="accent6"/>
              </a:solidFill>
              <a:ln w="25355">
                <a:noFill/>
              </a:ln>
            </c:spPr>
            <c:extLst>
              <c:ext xmlns:c16="http://schemas.microsoft.com/office/drawing/2014/chart" uri="{C3380CC4-5D6E-409C-BE32-E72D297353CC}">
                <c16:uniqueId val="{00000005-9478-4FAB-8C38-2CE87BEBC936}"/>
              </c:ext>
            </c:extLst>
          </c:dPt>
          <c:dLbls>
            <c:spPr>
              <a:noFill/>
              <a:ln w="25355">
                <a:noFill/>
              </a:ln>
            </c:spPr>
            <c:txPr>
              <a:bodyPr/>
              <a:lstStyle/>
              <a:p>
                <a:pPr>
                  <a:defRPr sz="18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E$1</c:f>
              <c:numCache>
                <c:formatCode>General</c:formatCode>
                <c:ptCount val="4"/>
              </c:numCache>
            </c:numRef>
          </c:cat>
          <c:val>
            <c:numRef>
              <c:f>Sheet1!$B$2:$E$2</c:f>
              <c:numCache>
                <c:formatCode>General</c:formatCode>
                <c:ptCount val="4"/>
                <c:pt idx="0">
                  <c:v>32</c:v>
                </c:pt>
                <c:pt idx="1">
                  <c:v>30</c:v>
                </c:pt>
                <c:pt idx="2">
                  <c:v>35</c:v>
                </c:pt>
                <c:pt idx="3">
                  <c:v>27</c:v>
                </c:pt>
              </c:numCache>
            </c:numRef>
          </c:val>
          <c:extLst>
            <c:ext xmlns:c16="http://schemas.microsoft.com/office/drawing/2014/chart" uri="{C3380CC4-5D6E-409C-BE32-E72D297353CC}">
              <c16:uniqueId val="{00000006-9478-4FAB-8C38-2CE87BEBC936}"/>
            </c:ext>
          </c:extLst>
        </c:ser>
        <c:dLbls>
          <c:showLegendKey val="0"/>
          <c:showVal val="0"/>
          <c:showCatName val="0"/>
          <c:showSerName val="0"/>
          <c:showPercent val="0"/>
          <c:showBubbleSize val="0"/>
        </c:dLbls>
        <c:gapWidth val="106"/>
        <c:overlap val="100"/>
        <c:axId val="543231384"/>
        <c:axId val="543231776"/>
      </c:barChart>
      <c:catAx>
        <c:axId val="543231384"/>
        <c:scaling>
          <c:orientation val="maxMin"/>
        </c:scaling>
        <c:delete val="0"/>
        <c:axPos val="l"/>
        <c:numFmt formatCode="General" sourceLinked="1"/>
        <c:majorTickMark val="out"/>
        <c:minorTickMark val="none"/>
        <c:tickLblPos val="nextTo"/>
        <c:spPr>
          <a:ln w="12677">
            <a:solidFill>
              <a:schemeClr val="tx2">
                <a:lumMod val="60000"/>
                <a:lumOff val="40000"/>
              </a:schemeClr>
            </a:solidFill>
            <a:prstDash val="solid"/>
          </a:ln>
        </c:spPr>
        <c:txPr>
          <a:bodyPr rot="0" vert="horz"/>
          <a:lstStyle/>
          <a:p>
            <a:pPr>
              <a:defRPr/>
            </a:pPr>
            <a:endParaRPr lang="de-DE"/>
          </a:p>
        </c:txPr>
        <c:crossAx val="543231776"/>
        <c:crosses val="autoZero"/>
        <c:auto val="1"/>
        <c:lblAlgn val="ctr"/>
        <c:lblOffset val="100"/>
        <c:tickLblSkip val="1"/>
        <c:tickMarkSkip val="1"/>
        <c:noMultiLvlLbl val="0"/>
      </c:catAx>
      <c:valAx>
        <c:axId val="543231776"/>
        <c:scaling>
          <c:orientation val="minMax"/>
        </c:scaling>
        <c:delete val="1"/>
        <c:axPos val="b"/>
        <c:numFmt formatCode="General" sourceLinked="1"/>
        <c:majorTickMark val="out"/>
        <c:minorTickMark val="none"/>
        <c:tickLblPos val="none"/>
        <c:crossAx val="543231384"/>
        <c:crosses val="max"/>
        <c:crossBetween val="between"/>
      </c:valAx>
      <c:spPr>
        <a:noFill/>
        <a:ln w="25355">
          <a:noFill/>
        </a:ln>
      </c:spPr>
    </c:plotArea>
    <c:plotVisOnly val="1"/>
    <c:dispBlanksAs val="zero"/>
    <c:showDLblsOverMax val="0"/>
  </c:chart>
  <c:spPr>
    <a:noFill/>
    <a:ln>
      <a:noFill/>
    </a:ln>
  </c:spPr>
  <c:txPr>
    <a:bodyPr/>
    <a:lstStyle/>
    <a:p>
      <a:pPr>
        <a:defRPr sz="1572" b="1" i="0" u="none" strike="noStrike" baseline="0">
          <a:solidFill>
            <a:schemeClr val="tx1"/>
          </a:solidFill>
          <a:latin typeface="+mn-lt"/>
          <a:ea typeface="Arial"/>
          <a:cs typeface="Arial"/>
        </a:defRPr>
      </a:pPr>
      <a:endParaRPr lang="de-DE"/>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051965943419847E-2"/>
          <c:y val="8.9080424303832131E-2"/>
          <c:w val="0.80812802613717249"/>
          <c:h val="0.88879571383360811"/>
        </c:manualLayout>
      </c:layout>
      <c:barChart>
        <c:barDir val="bar"/>
        <c:grouping val="stacked"/>
        <c:varyColors val="0"/>
        <c:ser>
          <c:idx val="0"/>
          <c:order val="0"/>
          <c:tx>
            <c:strRef>
              <c:f>Sheet1!$A$2</c:f>
              <c:strCache>
                <c:ptCount val="1"/>
                <c:pt idx="0">
                  <c:v>Group 1</c:v>
                </c:pt>
              </c:strCache>
            </c:strRef>
          </c:tx>
          <c:spPr>
            <a:solidFill>
              <a:schemeClr val="accent1"/>
            </a:solidFill>
            <a:ln w="23380">
              <a:noFill/>
            </a:ln>
          </c:spPr>
          <c:invertIfNegative val="0"/>
          <c:dLbls>
            <c:numFmt formatCode="0" sourceLinked="0"/>
            <c:spPr>
              <a:noFill/>
              <a:ln w="23380">
                <a:noFill/>
              </a:ln>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2:$E$2</c:f>
              <c:numCache>
                <c:formatCode>s\t\a\nd\a\rd</c:formatCode>
                <c:ptCount val="4"/>
                <c:pt idx="0">
                  <c:v>20.399999999999999</c:v>
                </c:pt>
                <c:pt idx="1">
                  <c:v>27.4</c:v>
                </c:pt>
                <c:pt idx="2">
                  <c:v>90</c:v>
                </c:pt>
                <c:pt idx="3">
                  <c:v>20.399999999999999</c:v>
                </c:pt>
              </c:numCache>
            </c:numRef>
          </c:val>
          <c:extLst>
            <c:ext xmlns:c16="http://schemas.microsoft.com/office/drawing/2014/chart" uri="{C3380CC4-5D6E-409C-BE32-E72D297353CC}">
              <c16:uniqueId val="{00000000-44D5-4F9E-B58B-CAE03821802B}"/>
            </c:ext>
          </c:extLst>
        </c:ser>
        <c:ser>
          <c:idx val="1"/>
          <c:order val="1"/>
          <c:tx>
            <c:strRef>
              <c:f>Sheet1!$A$3</c:f>
              <c:strCache>
                <c:ptCount val="1"/>
                <c:pt idx="0">
                  <c:v>Group 2</c:v>
                </c:pt>
              </c:strCache>
            </c:strRef>
          </c:tx>
          <c:spPr>
            <a:solidFill>
              <a:schemeClr val="accent3"/>
            </a:solidFill>
            <a:ln w="23380">
              <a:noFill/>
            </a:ln>
          </c:spPr>
          <c:invertIfNegative val="0"/>
          <c:dLbls>
            <c:numFmt formatCode="0" sourceLinked="0"/>
            <c:spPr>
              <a:noFill/>
              <a:ln w="23380">
                <a:noFill/>
              </a:ln>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3:$E$3</c:f>
              <c:numCache>
                <c:formatCode>s\t\a\nd\a\rd</c:formatCode>
                <c:ptCount val="4"/>
                <c:pt idx="0">
                  <c:v>30.6</c:v>
                </c:pt>
                <c:pt idx="1">
                  <c:v>38.6</c:v>
                </c:pt>
                <c:pt idx="2">
                  <c:v>34.6</c:v>
                </c:pt>
                <c:pt idx="3">
                  <c:v>31.6</c:v>
                </c:pt>
              </c:numCache>
            </c:numRef>
          </c:val>
          <c:extLst>
            <c:ext xmlns:c16="http://schemas.microsoft.com/office/drawing/2014/chart" uri="{C3380CC4-5D6E-409C-BE32-E72D297353CC}">
              <c16:uniqueId val="{00000001-44D5-4F9E-B58B-CAE03821802B}"/>
            </c:ext>
          </c:extLst>
        </c:ser>
        <c:ser>
          <c:idx val="2"/>
          <c:order val="2"/>
          <c:tx>
            <c:strRef>
              <c:f>Sheet1!$A$4</c:f>
              <c:strCache>
                <c:ptCount val="1"/>
                <c:pt idx="0">
                  <c:v>Sum</c:v>
                </c:pt>
              </c:strCache>
            </c:strRef>
          </c:tx>
          <c:spPr>
            <a:noFill/>
            <a:ln w="23380">
              <a:noFill/>
            </a:ln>
          </c:spPr>
          <c:invertIfNegative val="0"/>
          <c:dLbls>
            <c:numFmt formatCode="0" sourceLinked="0"/>
            <c:spPr>
              <a:noFill/>
              <a:ln w="23380">
                <a:noFill/>
              </a:ln>
            </c:spPr>
            <c:txPr>
              <a:bodyPr/>
              <a:lstStyle/>
              <a:p>
                <a:pPr>
                  <a:defRPr>
                    <a:solidFill>
                      <a:schemeClr val="accent6"/>
                    </a:solidFill>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4:$E$4</c:f>
              <c:numCache>
                <c:formatCode>s\t\a\nd\a\rd</c:formatCode>
                <c:ptCount val="4"/>
                <c:pt idx="0">
                  <c:v>51</c:v>
                </c:pt>
                <c:pt idx="1">
                  <c:v>66</c:v>
                </c:pt>
                <c:pt idx="2">
                  <c:v>124.6</c:v>
                </c:pt>
                <c:pt idx="3">
                  <c:v>52</c:v>
                </c:pt>
              </c:numCache>
            </c:numRef>
          </c:val>
          <c:extLst>
            <c:ext xmlns:c16="http://schemas.microsoft.com/office/drawing/2014/chart" uri="{C3380CC4-5D6E-409C-BE32-E72D297353CC}">
              <c16:uniqueId val="{00000002-44D5-4F9E-B58B-CAE03821802B}"/>
            </c:ext>
          </c:extLst>
        </c:ser>
        <c:dLbls>
          <c:showLegendKey val="0"/>
          <c:showVal val="0"/>
          <c:showCatName val="0"/>
          <c:showSerName val="0"/>
          <c:showPercent val="0"/>
          <c:showBubbleSize val="0"/>
        </c:dLbls>
        <c:gapWidth val="106"/>
        <c:overlap val="100"/>
        <c:axId val="632863056"/>
        <c:axId val="632863448"/>
      </c:barChart>
      <c:catAx>
        <c:axId val="632863056"/>
        <c:scaling>
          <c:orientation val="minMax"/>
        </c:scaling>
        <c:delete val="0"/>
        <c:axPos val="l"/>
        <c:numFmt formatCode="General" sourceLinked="1"/>
        <c:majorTickMark val="none"/>
        <c:minorTickMark val="none"/>
        <c:tickLblPos val="nextTo"/>
        <c:spPr>
          <a:ln w="12700">
            <a:solidFill>
              <a:schemeClr val="tx2">
                <a:lumMod val="60000"/>
                <a:lumOff val="40000"/>
              </a:schemeClr>
            </a:solidFill>
            <a:prstDash val="solid"/>
          </a:ln>
        </c:spPr>
        <c:txPr>
          <a:bodyPr rot="0" vert="horz"/>
          <a:lstStyle/>
          <a:p>
            <a:pPr>
              <a:defRPr sz="1200" b="0">
                <a:solidFill>
                  <a:schemeClr val="tx2"/>
                </a:solidFill>
              </a:defRPr>
            </a:pPr>
            <a:endParaRPr lang="de-DE"/>
          </a:p>
        </c:txPr>
        <c:crossAx val="632863448"/>
        <c:crosses val="autoZero"/>
        <c:auto val="1"/>
        <c:lblAlgn val="ctr"/>
        <c:lblOffset val="100"/>
        <c:tickLblSkip val="1"/>
        <c:tickMarkSkip val="1"/>
        <c:noMultiLvlLbl val="0"/>
      </c:catAx>
      <c:valAx>
        <c:axId val="632863448"/>
        <c:scaling>
          <c:orientation val="minMax"/>
          <c:max val="135"/>
        </c:scaling>
        <c:delete val="1"/>
        <c:axPos val="b"/>
        <c:numFmt formatCode="s\t\a\nd\a\rd" sourceLinked="1"/>
        <c:majorTickMark val="out"/>
        <c:minorTickMark val="none"/>
        <c:tickLblPos val="none"/>
        <c:crossAx val="632863056"/>
        <c:crosses val="autoZero"/>
        <c:crossBetween val="between"/>
      </c:valAx>
      <c:spPr>
        <a:noFill/>
        <a:ln w="23380">
          <a:noFill/>
        </a:ln>
      </c:spPr>
    </c:plotArea>
    <c:plotVisOnly val="1"/>
    <c:dispBlanksAs val="gap"/>
    <c:showDLblsOverMax val="0"/>
  </c:chart>
  <c:spPr>
    <a:noFill/>
    <a:ln>
      <a:noFill/>
    </a:ln>
  </c:spPr>
  <c:txPr>
    <a:bodyPr/>
    <a:lstStyle/>
    <a:p>
      <a:pPr>
        <a:defRPr sz="1800" b="1" i="0" u="none" strike="noStrike" baseline="0">
          <a:solidFill>
            <a:schemeClr val="tx1"/>
          </a:solidFill>
          <a:latin typeface="+mn-lt"/>
          <a:ea typeface="Arial"/>
          <a:cs typeface="Arial"/>
        </a:defRPr>
      </a:pPr>
      <a:endParaRPr lang="de-DE"/>
    </a:p>
  </c:txPr>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336946990182057E-2"/>
          <c:y val="5.6338028169014086E-2"/>
          <c:w val="0.931663053009818"/>
          <c:h val="0.91314553990610325"/>
        </c:manualLayout>
      </c:layout>
      <c:barChart>
        <c:barDir val="bar"/>
        <c:grouping val="percentStacked"/>
        <c:varyColors val="0"/>
        <c:ser>
          <c:idx val="0"/>
          <c:order val="0"/>
          <c:tx>
            <c:strRef>
              <c:f>Sheet1!$A$2</c:f>
              <c:strCache>
                <c:ptCount val="1"/>
                <c:pt idx="0">
                  <c:v>Group 1</c:v>
                </c:pt>
              </c:strCache>
            </c:strRef>
          </c:tx>
          <c:spPr>
            <a:solidFill>
              <a:schemeClr val="accent1"/>
            </a:solidFill>
            <a:ln w="23428">
              <a:noFill/>
            </a:ln>
          </c:spPr>
          <c:invertIfNegative val="0"/>
          <c:dLbls>
            <c:spPr>
              <a:noFill/>
              <a:ln w="23428">
                <a:noFill/>
              </a:ln>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2:$E$2</c:f>
              <c:numCache>
                <c:formatCode>0%</c:formatCode>
                <c:ptCount val="4"/>
                <c:pt idx="0">
                  <c:v>0.27</c:v>
                </c:pt>
                <c:pt idx="1">
                  <c:v>0.33000000000000007</c:v>
                </c:pt>
                <c:pt idx="2">
                  <c:v>0.64000000000000012</c:v>
                </c:pt>
                <c:pt idx="3">
                  <c:v>0.31000000000000005</c:v>
                </c:pt>
              </c:numCache>
            </c:numRef>
          </c:val>
          <c:extLst>
            <c:ext xmlns:c16="http://schemas.microsoft.com/office/drawing/2014/chart" uri="{C3380CC4-5D6E-409C-BE32-E72D297353CC}">
              <c16:uniqueId val="{00000000-A23C-490E-9D87-67CC3CF03015}"/>
            </c:ext>
          </c:extLst>
        </c:ser>
        <c:ser>
          <c:idx val="1"/>
          <c:order val="1"/>
          <c:tx>
            <c:strRef>
              <c:f>Sheet1!$A$3</c:f>
              <c:strCache>
                <c:ptCount val="1"/>
                <c:pt idx="0">
                  <c:v>Group 2</c:v>
                </c:pt>
              </c:strCache>
            </c:strRef>
          </c:tx>
          <c:spPr>
            <a:solidFill>
              <a:schemeClr val="accent3"/>
            </a:solidFill>
            <a:ln w="23428">
              <a:noFill/>
            </a:ln>
          </c:spPr>
          <c:invertIfNegative val="0"/>
          <c:dLbls>
            <c:spPr>
              <a:noFill/>
              <a:ln w="23428">
                <a:noFill/>
              </a:ln>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3:$E$3</c:f>
              <c:numCache>
                <c:formatCode>0%</c:formatCode>
                <c:ptCount val="4"/>
                <c:pt idx="0">
                  <c:v>0.41000000000000003</c:v>
                </c:pt>
                <c:pt idx="1">
                  <c:v>0.47000000000000003</c:v>
                </c:pt>
                <c:pt idx="2">
                  <c:v>0.25</c:v>
                </c:pt>
                <c:pt idx="3">
                  <c:v>0.48000000000000004</c:v>
                </c:pt>
              </c:numCache>
            </c:numRef>
          </c:val>
          <c:extLst>
            <c:ext xmlns:c16="http://schemas.microsoft.com/office/drawing/2014/chart" uri="{C3380CC4-5D6E-409C-BE32-E72D297353CC}">
              <c16:uniqueId val="{00000001-A23C-490E-9D87-67CC3CF03015}"/>
            </c:ext>
          </c:extLst>
        </c:ser>
        <c:ser>
          <c:idx val="2"/>
          <c:order val="2"/>
          <c:tx>
            <c:strRef>
              <c:f>Sheet1!$A$4</c:f>
              <c:strCache>
                <c:ptCount val="1"/>
                <c:pt idx="0">
                  <c:v>Group 3</c:v>
                </c:pt>
              </c:strCache>
            </c:strRef>
          </c:tx>
          <c:spPr>
            <a:solidFill>
              <a:schemeClr val="accent6"/>
            </a:solidFill>
            <a:ln w="23428">
              <a:noFill/>
            </a:ln>
          </c:spPr>
          <c:invertIfNegative val="0"/>
          <c:dLbls>
            <c:spPr>
              <a:noFill/>
              <a:ln w="23428">
                <a:noFill/>
              </a:ln>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4:$E$4</c:f>
              <c:numCache>
                <c:formatCode>0%</c:formatCode>
                <c:ptCount val="4"/>
                <c:pt idx="0">
                  <c:v>0.32000000000000006</c:v>
                </c:pt>
                <c:pt idx="1">
                  <c:v>0.2</c:v>
                </c:pt>
                <c:pt idx="2">
                  <c:v>0.11</c:v>
                </c:pt>
                <c:pt idx="3">
                  <c:v>0.21000000000000002</c:v>
                </c:pt>
              </c:numCache>
            </c:numRef>
          </c:val>
          <c:extLst>
            <c:ext xmlns:c16="http://schemas.microsoft.com/office/drawing/2014/chart" uri="{C3380CC4-5D6E-409C-BE32-E72D297353CC}">
              <c16:uniqueId val="{00000002-A23C-490E-9D87-67CC3CF03015}"/>
            </c:ext>
          </c:extLst>
        </c:ser>
        <c:dLbls>
          <c:showLegendKey val="0"/>
          <c:showVal val="0"/>
          <c:showCatName val="0"/>
          <c:showSerName val="0"/>
          <c:showPercent val="0"/>
          <c:showBubbleSize val="0"/>
        </c:dLbls>
        <c:gapWidth val="106"/>
        <c:overlap val="100"/>
        <c:serLines>
          <c:spPr>
            <a:ln w="19050" cap="rnd">
              <a:solidFill>
                <a:schemeClr val="tx2">
                  <a:lumMod val="60000"/>
                  <a:lumOff val="40000"/>
                </a:schemeClr>
              </a:solidFill>
              <a:prstDash val="sysDot"/>
            </a:ln>
          </c:spPr>
        </c:serLines>
        <c:axId val="632864232"/>
        <c:axId val="632864624"/>
      </c:barChart>
      <c:catAx>
        <c:axId val="632864232"/>
        <c:scaling>
          <c:orientation val="minMax"/>
        </c:scaling>
        <c:delete val="0"/>
        <c:axPos val="l"/>
        <c:numFmt formatCode="General" sourceLinked="1"/>
        <c:majorTickMark val="none"/>
        <c:minorTickMark val="none"/>
        <c:tickLblPos val="nextTo"/>
        <c:spPr>
          <a:ln w="12700">
            <a:solidFill>
              <a:schemeClr val="tx2">
                <a:lumMod val="60000"/>
                <a:lumOff val="40000"/>
              </a:schemeClr>
            </a:solidFill>
            <a:prstDash val="solid"/>
          </a:ln>
        </c:spPr>
        <c:txPr>
          <a:bodyPr rot="0" vert="horz"/>
          <a:lstStyle/>
          <a:p>
            <a:pPr>
              <a:defRPr sz="1400" b="0">
                <a:solidFill>
                  <a:schemeClr val="tx2"/>
                </a:solidFill>
              </a:defRPr>
            </a:pPr>
            <a:endParaRPr lang="de-DE"/>
          </a:p>
        </c:txPr>
        <c:crossAx val="632864624"/>
        <c:crosses val="autoZero"/>
        <c:auto val="1"/>
        <c:lblAlgn val="ctr"/>
        <c:lblOffset val="100"/>
        <c:tickLblSkip val="1"/>
        <c:tickMarkSkip val="1"/>
        <c:noMultiLvlLbl val="0"/>
      </c:catAx>
      <c:valAx>
        <c:axId val="632864624"/>
        <c:scaling>
          <c:orientation val="minMax"/>
        </c:scaling>
        <c:delete val="1"/>
        <c:axPos val="b"/>
        <c:numFmt formatCode="0%" sourceLinked="1"/>
        <c:majorTickMark val="out"/>
        <c:minorTickMark val="none"/>
        <c:tickLblPos val="none"/>
        <c:crossAx val="632864232"/>
        <c:crosses val="autoZero"/>
        <c:crossBetween val="between"/>
      </c:valAx>
      <c:spPr>
        <a:noFill/>
        <a:ln w="9525" cap="rnd">
          <a:noFill/>
          <a:prstDash val="sysDot"/>
        </a:ln>
      </c:spPr>
    </c:plotArea>
    <c:plotVisOnly val="1"/>
    <c:dispBlanksAs val="gap"/>
    <c:showDLblsOverMax val="0"/>
  </c:chart>
  <c:spPr>
    <a:noFill/>
    <a:ln>
      <a:noFill/>
    </a:ln>
  </c:spPr>
  <c:txPr>
    <a:bodyPr/>
    <a:lstStyle/>
    <a:p>
      <a:pPr>
        <a:defRPr sz="1800" b="1" i="0" u="none" strike="noStrike" baseline="0">
          <a:solidFill>
            <a:schemeClr val="tx1"/>
          </a:solidFill>
          <a:latin typeface="+mn-lt"/>
          <a:ea typeface="Arial"/>
          <a:cs typeface="Arial"/>
        </a:defRPr>
      </a:pPr>
      <a:endParaRPr lang="de-DE"/>
    </a:p>
  </c:txPr>
  <c:externalData r:id="rId1">
    <c:autoUpdate val="0"/>
  </c:externalData>
  <c:userShapes r:id="rId2"/>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372565212186431E-2"/>
          <c:y val="8.6580086580086875E-3"/>
          <c:w val="0.93162743478781351"/>
          <c:h val="0.87012987012987386"/>
        </c:manualLayout>
      </c:layout>
      <c:barChart>
        <c:barDir val="bar"/>
        <c:grouping val="clustered"/>
        <c:varyColors val="0"/>
        <c:ser>
          <c:idx val="0"/>
          <c:order val="0"/>
          <c:tx>
            <c:strRef>
              <c:f>Sheet1!$A$2</c:f>
              <c:strCache>
                <c:ptCount val="1"/>
                <c:pt idx="0">
                  <c:v>Group 1</c:v>
                </c:pt>
              </c:strCache>
            </c:strRef>
          </c:tx>
          <c:spPr>
            <a:solidFill>
              <a:schemeClr val="accent3"/>
            </a:solidFill>
            <a:ln w="2926">
              <a:noFill/>
              <a:prstDash val="solid"/>
            </a:ln>
          </c:spPr>
          <c:invertIfNegative val="0"/>
          <c:dLbls>
            <c:numFmt formatCode="0" sourceLinked="0"/>
            <c:spPr>
              <a:noFill/>
              <a:ln w="23409">
                <a:noFill/>
              </a:ln>
            </c:spPr>
            <c:txPr>
              <a:bodyPr/>
              <a:lstStyle/>
              <a:p>
                <a:pPr>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2:$E$2</c:f>
              <c:numCache>
                <c:formatCode>s\t\a\nd\a\rd</c:formatCode>
                <c:ptCount val="4"/>
                <c:pt idx="0">
                  <c:v>20.399999999999999</c:v>
                </c:pt>
                <c:pt idx="1">
                  <c:v>60</c:v>
                </c:pt>
                <c:pt idx="2">
                  <c:v>90</c:v>
                </c:pt>
                <c:pt idx="3">
                  <c:v>20.399999999999999</c:v>
                </c:pt>
              </c:numCache>
            </c:numRef>
          </c:val>
          <c:extLst>
            <c:ext xmlns:c16="http://schemas.microsoft.com/office/drawing/2014/chart" uri="{C3380CC4-5D6E-409C-BE32-E72D297353CC}">
              <c16:uniqueId val="{00000000-3653-4CFE-93F0-A86B1BF9803B}"/>
            </c:ext>
          </c:extLst>
        </c:ser>
        <c:ser>
          <c:idx val="1"/>
          <c:order val="1"/>
          <c:tx>
            <c:strRef>
              <c:f>Sheet1!$A$3</c:f>
              <c:strCache>
                <c:ptCount val="1"/>
                <c:pt idx="0">
                  <c:v>Group 2</c:v>
                </c:pt>
              </c:strCache>
            </c:strRef>
          </c:tx>
          <c:spPr>
            <a:solidFill>
              <a:schemeClr val="accent1"/>
            </a:solidFill>
            <a:ln w="23409">
              <a:noFill/>
            </a:ln>
          </c:spPr>
          <c:invertIfNegative val="0"/>
          <c:dLbls>
            <c:numFmt formatCode="0" sourceLinked="0"/>
            <c:spPr>
              <a:noFill/>
              <a:ln w="23409">
                <a:noFill/>
              </a:ln>
            </c:spPr>
            <c:txPr>
              <a:bodyPr/>
              <a:lstStyle/>
              <a:p>
                <a:pPr>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3:$E$3</c:f>
              <c:numCache>
                <c:formatCode>s\t\a\nd\a\rd</c:formatCode>
                <c:ptCount val="4"/>
                <c:pt idx="0">
                  <c:v>30.6</c:v>
                </c:pt>
                <c:pt idx="1">
                  <c:v>38.6</c:v>
                </c:pt>
                <c:pt idx="2">
                  <c:v>34.6</c:v>
                </c:pt>
                <c:pt idx="3">
                  <c:v>31.6</c:v>
                </c:pt>
              </c:numCache>
            </c:numRef>
          </c:val>
          <c:extLst>
            <c:ext xmlns:c16="http://schemas.microsoft.com/office/drawing/2014/chart" uri="{C3380CC4-5D6E-409C-BE32-E72D297353CC}">
              <c16:uniqueId val="{00000001-3653-4CFE-93F0-A86B1BF9803B}"/>
            </c:ext>
          </c:extLst>
        </c:ser>
        <c:dLbls>
          <c:showLegendKey val="0"/>
          <c:showVal val="0"/>
          <c:showCatName val="0"/>
          <c:showSerName val="0"/>
          <c:showPercent val="0"/>
          <c:showBubbleSize val="0"/>
        </c:dLbls>
        <c:gapWidth val="106"/>
        <c:axId val="632865408"/>
        <c:axId val="632865800"/>
      </c:barChart>
      <c:catAx>
        <c:axId val="632865408"/>
        <c:scaling>
          <c:orientation val="minMax"/>
        </c:scaling>
        <c:delete val="0"/>
        <c:axPos val="l"/>
        <c:numFmt formatCode="General" sourceLinked="1"/>
        <c:majorTickMark val="none"/>
        <c:minorTickMark val="none"/>
        <c:tickLblPos val="nextTo"/>
        <c:spPr>
          <a:ln w="12700">
            <a:solidFill>
              <a:schemeClr val="tx2">
                <a:lumMod val="60000"/>
                <a:lumOff val="40000"/>
              </a:schemeClr>
            </a:solidFill>
            <a:prstDash val="solid"/>
          </a:ln>
        </c:spPr>
        <c:txPr>
          <a:bodyPr rot="0" vert="horz"/>
          <a:lstStyle/>
          <a:p>
            <a:pPr>
              <a:defRPr sz="1400" b="0">
                <a:solidFill>
                  <a:schemeClr val="tx2"/>
                </a:solidFill>
              </a:defRPr>
            </a:pPr>
            <a:endParaRPr lang="de-DE"/>
          </a:p>
        </c:txPr>
        <c:crossAx val="632865800"/>
        <c:crosses val="autoZero"/>
        <c:auto val="1"/>
        <c:lblAlgn val="ctr"/>
        <c:lblOffset val="100"/>
        <c:tickLblSkip val="1"/>
        <c:tickMarkSkip val="1"/>
        <c:noMultiLvlLbl val="0"/>
      </c:catAx>
      <c:valAx>
        <c:axId val="632865800"/>
        <c:scaling>
          <c:orientation val="minMax"/>
        </c:scaling>
        <c:delete val="1"/>
        <c:axPos val="b"/>
        <c:numFmt formatCode="s\t\a\nd\a\rd" sourceLinked="1"/>
        <c:majorTickMark val="out"/>
        <c:minorTickMark val="none"/>
        <c:tickLblPos val="none"/>
        <c:crossAx val="632865408"/>
        <c:crosses val="autoZero"/>
        <c:crossBetween val="between"/>
      </c:valAx>
      <c:spPr>
        <a:noFill/>
        <a:ln w="23409">
          <a:noFill/>
        </a:ln>
      </c:spPr>
    </c:plotArea>
    <c:legend>
      <c:legendPos val="b"/>
      <c:legendEntry>
        <c:idx val="0"/>
        <c:txPr>
          <a:bodyPr/>
          <a:lstStyle/>
          <a:p>
            <a:pPr>
              <a:defRPr sz="1400" b="0">
                <a:solidFill>
                  <a:schemeClr val="tx2"/>
                </a:solidFill>
              </a:defRPr>
            </a:pPr>
            <a:endParaRPr lang="de-DE"/>
          </a:p>
        </c:txPr>
      </c:legendEntry>
      <c:legendEntry>
        <c:idx val="1"/>
        <c:txPr>
          <a:bodyPr/>
          <a:lstStyle/>
          <a:p>
            <a:pPr>
              <a:defRPr sz="1400" b="0">
                <a:solidFill>
                  <a:schemeClr val="tx2"/>
                </a:solidFill>
              </a:defRPr>
            </a:pPr>
            <a:endParaRPr lang="de-DE"/>
          </a:p>
        </c:txPr>
      </c:legendEntry>
      <c:layout>
        <c:manualLayout>
          <c:xMode val="edge"/>
          <c:yMode val="edge"/>
          <c:x val="0.14485288023711659"/>
          <c:y val="0.89954699224789236"/>
          <c:w val="0.18220918460159977"/>
          <c:h val="6.0606060606060622E-2"/>
        </c:manualLayout>
      </c:layout>
      <c:overlay val="0"/>
      <c:spPr>
        <a:solidFill>
          <a:schemeClr val="bg1"/>
        </a:solidFill>
        <a:ln w="23409">
          <a:noFill/>
        </a:ln>
      </c:spPr>
      <c:txPr>
        <a:bodyPr/>
        <a:lstStyle/>
        <a:p>
          <a:pPr>
            <a:defRPr sz="1400" b="0">
              <a:solidFill>
                <a:schemeClr val="tx2"/>
              </a:solidFill>
            </a:defRPr>
          </a:pPr>
          <a:endParaRPr lang="de-DE"/>
        </a:p>
      </c:txPr>
    </c:legend>
    <c:plotVisOnly val="1"/>
    <c:dispBlanksAs val="gap"/>
    <c:showDLblsOverMax val="0"/>
  </c:chart>
  <c:spPr>
    <a:noFill/>
    <a:ln>
      <a:noFill/>
    </a:ln>
  </c:spPr>
  <c:txPr>
    <a:bodyPr/>
    <a:lstStyle/>
    <a:p>
      <a:pPr>
        <a:defRPr sz="1800" b="1" i="0" u="none" strike="noStrike" baseline="0">
          <a:solidFill>
            <a:schemeClr val="tx1"/>
          </a:solidFill>
          <a:latin typeface="+mn-lt"/>
          <a:ea typeface="Arial"/>
          <a:cs typeface="Arial"/>
        </a:defRPr>
      </a:pPr>
      <a:endParaRPr lang="de-D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940919037199124E-2"/>
          <c:y val="2.5706940874036001E-2"/>
          <c:w val="0.97811816192559997"/>
          <c:h val="0.83547557840616971"/>
        </c:manualLayout>
      </c:layout>
      <c:barChart>
        <c:barDir val="col"/>
        <c:grouping val="stacked"/>
        <c:varyColors val="0"/>
        <c:ser>
          <c:idx val="0"/>
          <c:order val="0"/>
          <c:tx>
            <c:strRef>
              <c:f>Sheet1!$A$2</c:f>
              <c:strCache>
                <c:ptCount val="1"/>
                <c:pt idx="0">
                  <c:v>East</c:v>
                </c:pt>
              </c:strCache>
            </c:strRef>
          </c:tx>
          <c:spPr>
            <a:noFill/>
            <a:ln w="25308">
              <a:noFill/>
            </a:ln>
          </c:spPr>
          <c:invertIfNegative val="0"/>
          <c:cat>
            <c:strRef>
              <c:f>Sheet1!$B$1:$F$1</c:f>
              <c:strCache>
                <c:ptCount val="5"/>
                <c:pt idx="0">
                  <c:v>Label A</c:v>
                </c:pt>
                <c:pt idx="1">
                  <c:v>Label B</c:v>
                </c:pt>
                <c:pt idx="2">
                  <c:v>Label C</c:v>
                </c:pt>
                <c:pt idx="3">
                  <c:v>Label D</c:v>
                </c:pt>
                <c:pt idx="4">
                  <c:v>Total</c:v>
                </c:pt>
              </c:strCache>
            </c:strRef>
          </c:cat>
          <c:val>
            <c:numRef>
              <c:f>Sheet1!$B$2:$F$2</c:f>
              <c:numCache>
                <c:formatCode>General</c:formatCode>
                <c:ptCount val="5"/>
                <c:pt idx="1">
                  <c:v>5</c:v>
                </c:pt>
                <c:pt idx="2">
                  <c:v>8</c:v>
                </c:pt>
                <c:pt idx="3">
                  <c:v>10</c:v>
                </c:pt>
              </c:numCache>
            </c:numRef>
          </c:val>
          <c:extLst>
            <c:ext xmlns:c16="http://schemas.microsoft.com/office/drawing/2014/chart" uri="{C3380CC4-5D6E-409C-BE32-E72D297353CC}">
              <c16:uniqueId val="{00000000-7F6D-44B8-B83E-560C5E6695A9}"/>
            </c:ext>
          </c:extLst>
        </c:ser>
        <c:ser>
          <c:idx val="2"/>
          <c:order val="1"/>
          <c:tx>
            <c:strRef>
              <c:f>Sheet1!$A$4</c:f>
              <c:strCache>
                <c:ptCount val="1"/>
              </c:strCache>
            </c:strRef>
          </c:tx>
          <c:spPr>
            <a:solidFill>
              <a:schemeClr val="accent1"/>
            </a:solidFill>
            <a:ln w="25308">
              <a:noFill/>
            </a:ln>
          </c:spPr>
          <c:invertIfNegative val="0"/>
          <c:dPt>
            <c:idx val="4"/>
            <c:invertIfNegative val="0"/>
            <c:bubble3D val="0"/>
            <c:spPr>
              <a:pattFill prst="dkUpDiag">
                <a:fgClr>
                  <a:schemeClr val="accent3"/>
                </a:fgClr>
                <a:bgClr>
                  <a:schemeClr val="bg1"/>
                </a:bgClr>
              </a:pattFill>
              <a:ln w="25308">
                <a:noFill/>
              </a:ln>
            </c:spPr>
            <c:extLst>
              <c:ext xmlns:c16="http://schemas.microsoft.com/office/drawing/2014/chart" uri="{C3380CC4-5D6E-409C-BE32-E72D297353CC}">
                <c16:uniqueId val="{00000002-7F6D-44B8-B83E-560C5E6695A9}"/>
              </c:ext>
            </c:extLst>
          </c:dPt>
          <c:dLbls>
            <c:dLbl>
              <c:idx val="4"/>
              <c:spPr>
                <a:noFill/>
                <a:ln w="25308">
                  <a:noFill/>
                </a:ln>
              </c:spPr>
              <c:txPr>
                <a:bodyPr/>
                <a:lstStyle/>
                <a:p>
                  <a:pPr>
                    <a:defRPr>
                      <a:solidFill>
                        <a:schemeClr val="accent3">
                          <a:lumMod val="75000"/>
                        </a:schemeClr>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2-7F6D-44B8-B83E-560C5E6695A9}"/>
                </c:ext>
              </c:extLst>
            </c:dLbl>
            <c:spPr>
              <a:noFill/>
              <a:ln w="25308">
                <a:noFill/>
              </a:ln>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Label A</c:v>
                </c:pt>
                <c:pt idx="1">
                  <c:v>Label B</c:v>
                </c:pt>
                <c:pt idx="2">
                  <c:v>Label C</c:v>
                </c:pt>
                <c:pt idx="3">
                  <c:v>Label D</c:v>
                </c:pt>
                <c:pt idx="4">
                  <c:v>Total</c:v>
                </c:pt>
              </c:strCache>
            </c:strRef>
          </c:cat>
          <c:val>
            <c:numRef>
              <c:f>Sheet1!$B$4:$F$4</c:f>
              <c:numCache>
                <c:formatCode>General</c:formatCode>
                <c:ptCount val="5"/>
                <c:pt idx="0">
                  <c:v>5</c:v>
                </c:pt>
                <c:pt idx="1">
                  <c:v>3</c:v>
                </c:pt>
                <c:pt idx="2">
                  <c:v>2</c:v>
                </c:pt>
                <c:pt idx="3">
                  <c:v>1</c:v>
                </c:pt>
                <c:pt idx="4">
                  <c:v>11</c:v>
                </c:pt>
              </c:numCache>
            </c:numRef>
          </c:val>
          <c:extLst>
            <c:ext xmlns:c16="http://schemas.microsoft.com/office/drawing/2014/chart" uri="{C3380CC4-5D6E-409C-BE32-E72D297353CC}">
              <c16:uniqueId val="{00000003-7F6D-44B8-B83E-560C5E6695A9}"/>
            </c:ext>
          </c:extLst>
        </c:ser>
        <c:dLbls>
          <c:showLegendKey val="0"/>
          <c:showVal val="0"/>
          <c:showCatName val="0"/>
          <c:showSerName val="0"/>
          <c:showPercent val="0"/>
          <c:showBubbleSize val="0"/>
        </c:dLbls>
        <c:gapWidth val="50"/>
        <c:overlap val="100"/>
        <c:axId val="524920992"/>
        <c:axId val="524921384"/>
      </c:barChart>
      <c:catAx>
        <c:axId val="524920992"/>
        <c:scaling>
          <c:orientation val="minMax"/>
        </c:scaling>
        <c:delete val="0"/>
        <c:axPos val="b"/>
        <c:numFmt formatCode="General" sourceLinked="1"/>
        <c:majorTickMark val="none"/>
        <c:minorTickMark val="none"/>
        <c:tickLblPos val="nextTo"/>
        <c:spPr>
          <a:ln w="12654">
            <a:solidFill>
              <a:schemeClr val="tx2">
                <a:lumMod val="60000"/>
                <a:lumOff val="40000"/>
              </a:schemeClr>
            </a:solidFill>
            <a:prstDash val="solid"/>
          </a:ln>
        </c:spPr>
        <c:txPr>
          <a:bodyPr rot="0" vert="horz"/>
          <a:lstStyle/>
          <a:p>
            <a:pPr>
              <a:defRPr sz="1400" b="0">
                <a:solidFill>
                  <a:schemeClr val="tx2"/>
                </a:solidFill>
              </a:defRPr>
            </a:pPr>
            <a:endParaRPr lang="de-DE"/>
          </a:p>
        </c:txPr>
        <c:crossAx val="524921384"/>
        <c:crosses val="autoZero"/>
        <c:auto val="1"/>
        <c:lblAlgn val="ctr"/>
        <c:lblOffset val="100"/>
        <c:tickLblSkip val="1"/>
        <c:tickMarkSkip val="1"/>
        <c:noMultiLvlLbl val="0"/>
      </c:catAx>
      <c:valAx>
        <c:axId val="524921384"/>
        <c:scaling>
          <c:orientation val="minMax"/>
        </c:scaling>
        <c:delete val="1"/>
        <c:axPos val="l"/>
        <c:numFmt formatCode="General" sourceLinked="1"/>
        <c:majorTickMark val="out"/>
        <c:minorTickMark val="none"/>
        <c:tickLblPos val="none"/>
        <c:crossAx val="524920992"/>
        <c:crosses val="autoZero"/>
        <c:crossBetween val="between"/>
      </c:valAx>
      <c:spPr>
        <a:noFill/>
        <a:ln w="25308">
          <a:noFill/>
        </a:ln>
      </c:spPr>
    </c:plotArea>
    <c:plotVisOnly val="1"/>
    <c:dispBlanksAs val="gap"/>
    <c:showDLblsOverMax val="0"/>
  </c:chart>
  <c:spPr>
    <a:noFill/>
    <a:ln>
      <a:noFill/>
    </a:ln>
  </c:spPr>
  <c:txPr>
    <a:bodyPr/>
    <a:lstStyle/>
    <a:p>
      <a:pPr>
        <a:defRPr sz="1800" b="1" i="0" u="none" strike="noStrike" baseline="0">
          <a:solidFill>
            <a:schemeClr val="tx1"/>
          </a:solidFill>
          <a:latin typeface="+mn-lt"/>
          <a:ea typeface="Arial"/>
          <a:cs typeface="Arial"/>
        </a:defRPr>
      </a:pPr>
      <a:endParaRPr lang="de-DE"/>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 id="14">
  <a:schemeClr val="accent1"/>
</cs:colorStyle>
</file>

<file path=ppt/charts/colors9.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drawing1.xml><?xml version="1.0" encoding="utf-8"?>
<c:userShapes xmlns:c="http://schemas.openxmlformats.org/drawingml/2006/chart">
  <cdr:relSizeAnchor xmlns:cdr="http://schemas.openxmlformats.org/drawingml/2006/chartDrawing">
    <cdr:from>
      <cdr:x>0.00074</cdr:x>
      <cdr:y>0.82471</cdr:y>
    </cdr:from>
    <cdr:to>
      <cdr:x>0.20992</cdr:x>
      <cdr:y>0.89607</cdr:y>
    </cdr:to>
    <cdr:sp macro="" textlink="">
      <cdr:nvSpPr>
        <cdr:cNvPr id="1025" name="Text Box 1"/>
        <cdr:cNvSpPr txBox="1">
          <a:spLocks xmlns:a="http://schemas.openxmlformats.org/drawingml/2006/main" noChangeArrowheads="1"/>
        </cdr:cNvSpPr>
      </cdr:nvSpPr>
      <cdr:spPr bwMode="auto">
        <a:xfrm xmlns:a="http://schemas.openxmlformats.org/drawingml/2006/main">
          <a:off x="8482" y="3129971"/>
          <a:ext cx="2410533" cy="270843"/>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27432" tIns="27432" rIns="0" bIns="27432" anchor="ctr" upright="1">
          <a:spAutoFit/>
        </a:bodyPr>
        <a:lstStyle xmlns:a="http://schemas.openxmlformats.org/drawingml/2006/main"/>
        <a:p xmlns:a="http://schemas.openxmlformats.org/drawingml/2006/main">
          <a:pPr algn="l" rtl="0">
            <a:defRPr sz="1000"/>
          </a:pPr>
          <a:r>
            <a:rPr lang="de-DE" sz="1400" b="0" i="0" u="none" strike="noStrike" baseline="0" dirty="0">
              <a:solidFill>
                <a:schemeClr val="tx2"/>
              </a:solidFill>
              <a:latin typeface="Arial" panose="020B0503030202060203" pitchFamily="34" charset="0"/>
              <a:cs typeface="Arial"/>
            </a:rPr>
            <a:t>Label A</a:t>
          </a:r>
        </a:p>
      </cdr:txBody>
    </cdr:sp>
  </cdr:relSizeAnchor>
  <cdr:relSizeAnchor xmlns:cdr="http://schemas.openxmlformats.org/drawingml/2006/chartDrawing">
    <cdr:from>
      <cdr:x>0</cdr:x>
      <cdr:y>0.59342</cdr:y>
    </cdr:from>
    <cdr:to>
      <cdr:x>0.20918</cdr:x>
      <cdr:y>0.66479</cdr:y>
    </cdr:to>
    <cdr:sp macro="" textlink="">
      <cdr:nvSpPr>
        <cdr:cNvPr id="1026" name="Text Box 2"/>
        <cdr:cNvSpPr txBox="1">
          <a:spLocks xmlns:a="http://schemas.openxmlformats.org/drawingml/2006/main" noChangeArrowheads="1"/>
        </cdr:cNvSpPr>
      </cdr:nvSpPr>
      <cdr:spPr bwMode="auto">
        <a:xfrm xmlns:a="http://schemas.openxmlformats.org/drawingml/2006/main">
          <a:off x="0" y="2252178"/>
          <a:ext cx="2410533" cy="270843"/>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27432" tIns="27432" rIns="0" bIns="27432" anchor="ctr" upright="1">
          <a:spAutoFit/>
        </a:bodyPr>
        <a:lstStyle xmlns:a="http://schemas.openxmlformats.org/drawingml/2006/main"/>
        <a:p xmlns:a="http://schemas.openxmlformats.org/drawingml/2006/main">
          <a:pPr algn="l" rtl="0">
            <a:defRPr sz="1000"/>
          </a:pPr>
          <a:r>
            <a:rPr lang="de-DE" sz="1400" b="0" i="0" u="none" strike="noStrike" baseline="0" dirty="0">
              <a:solidFill>
                <a:schemeClr val="tx2"/>
              </a:solidFill>
              <a:latin typeface="Arial" panose="020B0503030202060203" pitchFamily="34" charset="0"/>
              <a:cs typeface="Arial"/>
            </a:rPr>
            <a:t>Label B</a:t>
          </a:r>
        </a:p>
      </cdr:txBody>
    </cdr:sp>
  </cdr:relSizeAnchor>
  <cdr:relSizeAnchor xmlns:cdr="http://schemas.openxmlformats.org/drawingml/2006/chartDrawing">
    <cdr:from>
      <cdr:x>8.6778E-8</cdr:x>
      <cdr:y>0.35947</cdr:y>
    </cdr:from>
    <cdr:to>
      <cdr:x>0.2116</cdr:x>
      <cdr:y>0.43084</cdr:y>
    </cdr:to>
    <cdr:sp macro="" textlink="">
      <cdr:nvSpPr>
        <cdr:cNvPr id="1027" name="Text Box 3"/>
        <cdr:cNvSpPr txBox="1">
          <a:spLocks xmlns:a="http://schemas.openxmlformats.org/drawingml/2006/main" noChangeArrowheads="1"/>
        </cdr:cNvSpPr>
      </cdr:nvSpPr>
      <cdr:spPr bwMode="auto">
        <a:xfrm xmlns:a="http://schemas.openxmlformats.org/drawingml/2006/main">
          <a:off x="1" y="1364284"/>
          <a:ext cx="2438400" cy="270843"/>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27432" tIns="27432" rIns="0" bIns="27432" anchor="ctr" upright="1">
          <a:spAutoFit/>
        </a:bodyPr>
        <a:lstStyle xmlns:a="http://schemas.openxmlformats.org/drawingml/2006/main"/>
        <a:p xmlns:a="http://schemas.openxmlformats.org/drawingml/2006/main">
          <a:pPr algn="l" rtl="0">
            <a:defRPr sz="1000"/>
          </a:pPr>
          <a:r>
            <a:rPr lang="de-DE" sz="1400" b="0" i="0" u="none" strike="noStrike" baseline="0" dirty="0">
              <a:solidFill>
                <a:schemeClr val="tx2"/>
              </a:solidFill>
              <a:latin typeface="Arial" panose="020B0503030202060203" pitchFamily="34" charset="0"/>
              <a:cs typeface="Arial"/>
            </a:rPr>
            <a:t>Label C</a:t>
          </a:r>
        </a:p>
      </cdr:txBody>
    </cdr:sp>
  </cdr:relSizeAnchor>
  <cdr:relSizeAnchor xmlns:cdr="http://schemas.openxmlformats.org/drawingml/2006/chartDrawing">
    <cdr:from>
      <cdr:x>8.6778E-8</cdr:x>
      <cdr:y>0.12256</cdr:y>
    </cdr:from>
    <cdr:to>
      <cdr:x>0.2116</cdr:x>
      <cdr:y>0.19392</cdr:y>
    </cdr:to>
    <cdr:sp macro="" textlink="">
      <cdr:nvSpPr>
        <cdr:cNvPr id="1028" name="Text Box 4"/>
        <cdr:cNvSpPr txBox="1">
          <a:spLocks xmlns:a="http://schemas.openxmlformats.org/drawingml/2006/main" noChangeArrowheads="1"/>
        </cdr:cNvSpPr>
      </cdr:nvSpPr>
      <cdr:spPr bwMode="auto">
        <a:xfrm xmlns:a="http://schemas.openxmlformats.org/drawingml/2006/main">
          <a:off x="1" y="465137"/>
          <a:ext cx="2438400" cy="270843"/>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27432" tIns="27432" rIns="0" bIns="27432" anchor="ctr" upright="1">
          <a:spAutoFit/>
        </a:bodyPr>
        <a:lstStyle xmlns:a="http://schemas.openxmlformats.org/drawingml/2006/main"/>
        <a:p xmlns:a="http://schemas.openxmlformats.org/drawingml/2006/main">
          <a:pPr algn="l" rtl="0">
            <a:defRPr sz="1000"/>
          </a:pPr>
          <a:r>
            <a:rPr lang="de-DE" sz="1400" b="0" i="0" u="none" strike="noStrike" baseline="0" dirty="0">
              <a:solidFill>
                <a:schemeClr val="tx2"/>
              </a:solidFill>
              <a:latin typeface="Arial" panose="020B0503030202060203" pitchFamily="34" charset="0"/>
              <a:cs typeface="Arial"/>
            </a:rPr>
            <a:t>Label D</a:t>
          </a:r>
        </a:p>
      </cdr:txBody>
    </cdr:sp>
  </cdr:relSizeAnchor>
</c:userShapes>
</file>

<file path=ppt/drawings/drawing10.xml><?xml version="1.0" encoding="utf-8"?>
<c:userShapes xmlns:c="http://schemas.openxmlformats.org/drawingml/2006/chart">
  <cdr:relSizeAnchor xmlns:cdr="http://schemas.openxmlformats.org/drawingml/2006/chartDrawing">
    <cdr:from>
      <cdr:x>0</cdr:x>
      <cdr:y>0.75839</cdr:y>
    </cdr:from>
    <cdr:to>
      <cdr:x>0.09218</cdr:x>
      <cdr:y>0.82064</cdr:y>
    </cdr:to>
    <cdr:sp macro="" textlink="">
      <cdr:nvSpPr>
        <cdr:cNvPr id="1025" name="Text Box 1"/>
        <cdr:cNvSpPr txBox="1">
          <a:spLocks xmlns:a="http://schemas.openxmlformats.org/drawingml/2006/main" noChangeArrowheads="1"/>
        </cdr:cNvSpPr>
      </cdr:nvSpPr>
      <cdr:spPr bwMode="auto">
        <a:xfrm xmlns:a="http://schemas.openxmlformats.org/drawingml/2006/main">
          <a:off x="0" y="3256668"/>
          <a:ext cx="1062288" cy="267312"/>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Overflow="clip" wrap="square" lIns="36576" tIns="27432" rIns="0" bIns="0" anchor="t" upright="1"/>
        <a:lstStyle xmlns:a="http://schemas.openxmlformats.org/drawingml/2006/main"/>
        <a:p xmlns:a="http://schemas.openxmlformats.org/drawingml/2006/main">
          <a:pPr algn="l" rtl="0">
            <a:defRPr sz="1000"/>
          </a:pPr>
          <a:r>
            <a:rPr lang="de-DE" sz="1400" b="1" i="0" strike="noStrike" cap="all" baseline="0" dirty="0">
              <a:solidFill>
                <a:schemeClr val="accent2"/>
              </a:solidFill>
              <a:latin typeface="+mj-lt"/>
              <a:cs typeface="Arial"/>
            </a:rPr>
            <a:t>Group 1</a:t>
          </a:r>
        </a:p>
      </cdr:txBody>
    </cdr:sp>
  </cdr:relSizeAnchor>
</c:userShapes>
</file>

<file path=ppt/drawings/drawing11.xml><?xml version="1.0" encoding="utf-8"?>
<c:userShapes xmlns:c="http://schemas.openxmlformats.org/drawingml/2006/chart">
  <cdr:relSizeAnchor xmlns:cdr="http://schemas.openxmlformats.org/drawingml/2006/chartDrawing">
    <cdr:from>
      <cdr:x>0</cdr:x>
      <cdr:y>0.45325</cdr:y>
    </cdr:from>
    <cdr:to>
      <cdr:x>0.07354</cdr:x>
      <cdr:y>0.62222</cdr:y>
    </cdr:to>
    <cdr:grpSp>
      <cdr:nvGrpSpPr>
        <cdr:cNvPr id="2" name="Group 1">
          <a:extLst xmlns:a="http://schemas.openxmlformats.org/drawingml/2006/main">
            <a:ext uri="{FF2B5EF4-FFF2-40B4-BE49-F238E27FC236}">
              <a16:creationId xmlns:a16="http://schemas.microsoft.com/office/drawing/2014/main" id="{1E9F6FDC-3104-4813-BFC0-BE29A5FB00FB}"/>
            </a:ext>
          </a:extLst>
        </cdr:cNvPr>
        <cdr:cNvGrpSpPr/>
      </cdr:nvGrpSpPr>
      <cdr:grpSpPr>
        <a:xfrm xmlns:a="http://schemas.openxmlformats.org/drawingml/2006/main">
          <a:off x="0" y="1765851"/>
          <a:ext cx="840796" cy="658303"/>
          <a:chOff x="0" y="1765851"/>
          <a:chExt cx="840808" cy="658319"/>
        </a:xfrm>
      </cdr:grpSpPr>
      <cdr:sp macro="" textlink="">
        <cdr:nvSpPr>
          <cdr:cNvPr id="1025" name="Text Box 1"/>
          <cdr:cNvSpPr txBox="1">
            <a:spLocks xmlns:a="http://schemas.openxmlformats.org/drawingml/2006/main" noChangeArrowheads="1"/>
          </cdr:cNvSpPr>
        </cdr:nvSpPr>
        <cdr:spPr bwMode="auto">
          <a:xfrm xmlns:a="http://schemas.openxmlformats.org/drawingml/2006/main">
            <a:off x="0" y="1765851"/>
            <a:ext cx="819583" cy="24776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none" lIns="27432" tIns="32004" rIns="0" bIns="0" anchor="t" upright="1">
            <a:spAutoFit/>
          </a:bodyPr>
          <a:lstStyle xmlns:a="http://schemas.openxmlformats.org/drawingml/2006/main"/>
          <a:p xmlns:a="http://schemas.openxmlformats.org/drawingml/2006/main">
            <a:pPr algn="l" rtl="0">
              <a:defRPr sz="1000"/>
            </a:pPr>
            <a:r>
              <a:rPr lang="de-DE" sz="1400" b="1" i="0" strike="noStrike" cap="all" baseline="0" dirty="0">
                <a:solidFill>
                  <a:schemeClr val="accent1"/>
                </a:solidFill>
                <a:latin typeface="+mj-lt"/>
                <a:cs typeface="Arial"/>
              </a:rPr>
              <a:t>Group 1</a:t>
            </a:r>
          </a:p>
        </cdr:txBody>
      </cdr:sp>
      <cdr:sp macro="" textlink="">
        <cdr:nvSpPr>
          <cdr:cNvPr id="1026" name="Text Box 2"/>
          <cdr:cNvSpPr txBox="1">
            <a:spLocks xmlns:a="http://schemas.openxmlformats.org/drawingml/2006/main" noChangeArrowheads="1"/>
          </cdr:cNvSpPr>
        </cdr:nvSpPr>
        <cdr:spPr bwMode="auto">
          <a:xfrm xmlns:a="http://schemas.openxmlformats.org/drawingml/2006/main">
            <a:off x="0" y="2185643"/>
            <a:ext cx="840808" cy="238527"/>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none" lIns="18288" tIns="22860" rIns="0" bIns="0" anchor="t" upright="1">
            <a:spAutoFit/>
          </a:bodyPr>
          <a:lstStyle xmlns:a="http://schemas.openxmlformats.org/drawingml/2006/main"/>
          <a:p xmlns:a="http://schemas.openxmlformats.org/drawingml/2006/main">
            <a:pPr algn="l" rtl="0">
              <a:defRPr sz="1000"/>
            </a:pPr>
            <a:r>
              <a:rPr lang="de-DE" sz="1400" b="1" i="0" strike="noStrike" cap="all" baseline="0" dirty="0">
                <a:solidFill>
                  <a:schemeClr val="accent2"/>
                </a:solidFill>
                <a:latin typeface="+mj-lt"/>
                <a:cs typeface="Arial"/>
              </a:rPr>
              <a:t>Group 2</a:t>
            </a:r>
          </a:p>
        </cdr:txBody>
      </cdr:sp>
    </cdr:grpSp>
  </cdr:relSizeAnchor>
</c:userShapes>
</file>

<file path=ppt/drawings/drawing12.xml><?xml version="1.0" encoding="utf-8"?>
<c:userShapes xmlns:c="http://schemas.openxmlformats.org/drawingml/2006/chart">
  <cdr:relSizeAnchor xmlns:cdr="http://schemas.openxmlformats.org/drawingml/2006/chartDrawing">
    <cdr:from>
      <cdr:x>0.7042</cdr:x>
      <cdr:y>0.35294</cdr:y>
    </cdr:from>
    <cdr:to>
      <cdr:x>0.85571</cdr:x>
      <cdr:y>0.5</cdr:y>
    </cdr:to>
    <cdr:sp macro="" textlink="">
      <cdr:nvSpPr>
        <cdr:cNvPr id="2" name="Inhaltsplatzhalter 9"/>
        <cdr:cNvSpPr>
          <a:spLocks xmlns:a="http://schemas.openxmlformats.org/drawingml/2006/main" noGrp="1"/>
        </cdr:cNvSpPr>
      </cdr:nvSpPr>
      <cdr:spPr bwMode="auto">
        <a:xfrm xmlns:a="http://schemas.openxmlformats.org/drawingml/2006/main">
          <a:off x="8049023" y="1557612"/>
          <a:ext cx="1731759" cy="649013"/>
        </a:xfrm>
        <a:prstGeom xmlns:a="http://schemas.openxmlformats.org/drawingml/2006/main" prst="rect">
          <a:avLst/>
        </a:prstGeom>
        <a:noFill xmlns:a="http://schemas.openxmlformats.org/drawingml/2006/main"/>
        <a:ln xmlns:a="http://schemas.openxmlformats.org/drawingml/2006/main" w="12700">
          <a:noFill/>
          <a:miter lim="800000"/>
          <a:headEnd/>
          <a:tailEnd/>
        </a:ln>
      </cdr:spPr>
      <cdr:txBody>
        <a:bodyPr xmlns:a="http://schemas.openxmlformats.org/drawingml/2006/main" vert="horz" wrap="square" lIns="0" tIns="108000" rIns="0" bIns="108000" numCol="1" anchor="t" anchorCtr="0" compatLnSpc="1">
          <a:prstTxWarp prst="textNoShape">
            <a:avLst/>
          </a:prstTxWarp>
          <a:spAutoFit/>
        </a:bodyPr>
        <a:lstStyle xmlns:a="http://schemas.openxmlformats.org/drawingml/2006/main">
          <a:lvl1pPr marL="0" indent="0" algn="l" rtl="0" eaLnBrk="0" fontAlgn="base" hangingPunct="0">
            <a:spcBef>
              <a:spcPts val="300"/>
            </a:spcBef>
            <a:spcAft>
              <a:spcPts val="300"/>
            </a:spcAft>
            <a:buFont typeface="Arial" charset="0"/>
            <a:buNone/>
            <a:defRPr lang="de-DE" sz="2000" b="1" kern="1200" dirty="0" smtClean="0">
              <a:solidFill>
                <a:schemeClr val="accent2"/>
              </a:solidFill>
              <a:latin typeface="+mn-lt"/>
              <a:ea typeface="+mn-ea"/>
              <a:cs typeface="+mn-cs"/>
            </a:defRPr>
          </a:lvl1pPr>
          <a:lvl2pPr marL="363538" indent="-188913" algn="l" rtl="0" eaLnBrk="0" fontAlgn="base" hangingPunct="0">
            <a:spcBef>
              <a:spcPts val="300"/>
            </a:spcBef>
            <a:spcAft>
              <a:spcPts val="300"/>
            </a:spcAft>
            <a:buFont typeface="Arial" charset="0"/>
            <a:buChar char="–"/>
            <a:defRPr lang="de-DE" sz="2000" kern="1200" dirty="0" smtClean="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lang="de-DE" sz="1800" kern="1200" dirty="0" smtClean="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lang="de-DE" sz="1600" kern="1200" dirty="0" smtClean="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lang="en-AU" sz="14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algn="ctr"/>
          <a:r>
            <a:rPr lang="en-US" sz="2800" b="0" cap="all" baseline="0" dirty="0">
              <a:solidFill>
                <a:schemeClr val="tx1"/>
              </a:solidFill>
              <a:latin typeface="+mj-lt"/>
            </a:rPr>
            <a:t>$150M</a:t>
          </a:r>
          <a:endParaRPr lang="de-DE" sz="3200" b="0" cap="all" baseline="0" dirty="0">
            <a:solidFill>
              <a:schemeClr val="tx1"/>
            </a:solidFill>
            <a:latin typeface="+mj-lt"/>
          </a:endParaRPr>
        </a:p>
      </cdr:txBody>
    </cdr:sp>
  </cdr:relSizeAnchor>
</c:userShapes>
</file>

<file path=ppt/drawings/drawing13.xml><?xml version="1.0" encoding="utf-8"?>
<c:userShapes xmlns:c="http://schemas.openxmlformats.org/drawingml/2006/chart">
  <cdr:relSizeAnchor xmlns:cdr="http://schemas.openxmlformats.org/drawingml/2006/chartDrawing">
    <cdr:from>
      <cdr:x>0.38629</cdr:x>
      <cdr:y>0.45043</cdr:y>
    </cdr:from>
    <cdr:to>
      <cdr:x>0.59966</cdr:x>
      <cdr:y>0.5712</cdr:y>
    </cdr:to>
    <cdr:sp macro="" textlink="">
      <cdr:nvSpPr>
        <cdr:cNvPr id="2" name="Inhaltsplatzhalter 9"/>
        <cdr:cNvSpPr>
          <a:spLocks xmlns:a="http://schemas.openxmlformats.org/drawingml/2006/main" noGrp="1"/>
        </cdr:cNvSpPr>
      </cdr:nvSpPr>
      <cdr:spPr bwMode="auto">
        <a:xfrm xmlns:a="http://schemas.openxmlformats.org/drawingml/2006/main">
          <a:off x="4446570" y="2179496"/>
          <a:ext cx="2456093" cy="584363"/>
        </a:xfrm>
        <a:prstGeom xmlns:a="http://schemas.openxmlformats.org/drawingml/2006/main" prst="rect">
          <a:avLst/>
        </a:prstGeom>
        <a:noFill xmlns:a="http://schemas.openxmlformats.org/drawingml/2006/main"/>
        <a:ln xmlns:a="http://schemas.openxmlformats.org/drawingml/2006/main" w="12700">
          <a:noFill/>
          <a:miter lim="800000"/>
          <a:headEnd/>
          <a:tailEnd/>
        </a:ln>
      </cdr:spPr>
      <cdr:txBody>
        <a:bodyPr xmlns:a="http://schemas.openxmlformats.org/drawingml/2006/main" vert="horz" wrap="square" lIns="0" tIns="108000" rIns="0" bIns="108000" numCol="1" anchor="t" anchorCtr="0" compatLnSpc="1">
          <a:prstTxWarp prst="textNoShape">
            <a:avLst/>
          </a:prstTxWarp>
          <a:spAutoFit/>
        </a:bodyPr>
        <a:lstStyle xmlns:a="http://schemas.openxmlformats.org/drawingml/2006/main">
          <a:lvl1pPr marL="0" indent="0" algn="l" rtl="0" eaLnBrk="0" fontAlgn="base" hangingPunct="0">
            <a:spcBef>
              <a:spcPts val="300"/>
            </a:spcBef>
            <a:spcAft>
              <a:spcPts val="300"/>
            </a:spcAft>
            <a:buFont typeface="Arial" charset="0"/>
            <a:buNone/>
            <a:defRPr lang="de-DE" sz="2000" b="1" kern="1200" dirty="0" smtClean="0">
              <a:solidFill>
                <a:schemeClr val="accent2"/>
              </a:solidFill>
              <a:latin typeface="+mn-lt"/>
              <a:ea typeface="+mn-ea"/>
              <a:cs typeface="+mn-cs"/>
            </a:defRPr>
          </a:lvl1pPr>
          <a:lvl2pPr marL="363538" indent="-188913" algn="l" rtl="0" eaLnBrk="0" fontAlgn="base" hangingPunct="0">
            <a:spcBef>
              <a:spcPts val="300"/>
            </a:spcBef>
            <a:spcAft>
              <a:spcPts val="300"/>
            </a:spcAft>
            <a:buFont typeface="Arial" charset="0"/>
            <a:buChar char="–"/>
            <a:defRPr lang="de-DE" sz="2000" kern="1200" dirty="0" smtClean="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lang="de-DE" sz="1800" kern="1200" dirty="0" smtClean="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lang="de-DE" sz="1600" kern="1200" dirty="0" smtClean="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lang="en-AU" sz="14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algn="ctr">
            <a:lnSpc>
              <a:spcPct val="85000"/>
            </a:lnSpc>
          </a:pPr>
          <a:r>
            <a:rPr lang="en-US" sz="2800" b="0" dirty="0">
              <a:solidFill>
                <a:schemeClr val="tx1"/>
              </a:solidFill>
              <a:latin typeface="+mj-lt"/>
            </a:rPr>
            <a:t>$150M</a:t>
          </a:r>
          <a:endParaRPr lang="de-DE" sz="3200" b="0" dirty="0">
            <a:solidFill>
              <a:schemeClr val="tx1"/>
            </a:solidFill>
            <a:latin typeface="+mj-lt"/>
          </a:endParaRPr>
        </a:p>
      </cdr:txBody>
    </cdr:sp>
  </cdr:relSizeAnchor>
  <cdr:relSizeAnchor xmlns:cdr="http://schemas.openxmlformats.org/drawingml/2006/chartDrawing">
    <cdr:from>
      <cdr:x>0.67448</cdr:x>
      <cdr:y>0.45213</cdr:y>
    </cdr:from>
    <cdr:to>
      <cdr:x>0.80462</cdr:x>
      <cdr:y>0.52002</cdr:y>
    </cdr:to>
    <cdr:sp macro="" textlink="">
      <cdr:nvSpPr>
        <cdr:cNvPr id="3" name="Text Box 1"/>
        <cdr:cNvSpPr txBox="1">
          <a:spLocks xmlns:a="http://schemas.openxmlformats.org/drawingml/2006/main" noChangeArrowheads="1"/>
        </cdr:cNvSpPr>
      </cdr:nvSpPr>
      <cdr:spPr bwMode="auto">
        <a:xfrm xmlns:a="http://schemas.openxmlformats.org/drawingml/2006/main">
          <a:off x="7763903" y="2187722"/>
          <a:ext cx="1498059" cy="328499"/>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rtl="0">
            <a:defRPr sz="1000"/>
          </a:pPr>
          <a:r>
            <a:rPr lang="de-DE" sz="1400" b="0" i="0" strike="noStrike" dirty="0">
              <a:solidFill>
                <a:schemeClr val="tx2"/>
              </a:solidFill>
              <a:latin typeface="+mn-lt"/>
              <a:cs typeface="Arial"/>
            </a:rPr>
            <a:t>Label A</a:t>
          </a:r>
        </a:p>
      </cdr:txBody>
    </cdr:sp>
  </cdr:relSizeAnchor>
  <cdr:relSizeAnchor xmlns:cdr="http://schemas.openxmlformats.org/drawingml/2006/chartDrawing">
    <cdr:from>
      <cdr:x>0.19303</cdr:x>
      <cdr:y>0.61918</cdr:y>
    </cdr:from>
    <cdr:to>
      <cdr:x>0.32511</cdr:x>
      <cdr:y>0.68688</cdr:y>
    </cdr:to>
    <cdr:sp macro="" textlink="">
      <cdr:nvSpPr>
        <cdr:cNvPr id="4" name="Text Box 2"/>
        <cdr:cNvSpPr txBox="1">
          <a:spLocks xmlns:a="http://schemas.openxmlformats.org/drawingml/2006/main" noChangeArrowheads="1"/>
        </cdr:cNvSpPr>
      </cdr:nvSpPr>
      <cdr:spPr bwMode="auto">
        <a:xfrm xmlns:a="http://schemas.openxmlformats.org/drawingml/2006/main">
          <a:off x="2221977" y="2996017"/>
          <a:ext cx="1520369" cy="3276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400" b="0" i="0" strike="noStrike" dirty="0">
              <a:solidFill>
                <a:schemeClr val="tx2"/>
              </a:solidFill>
              <a:latin typeface="+mn-lt"/>
              <a:cs typeface="Arial"/>
            </a:rPr>
            <a:t>Label B</a:t>
          </a:r>
        </a:p>
      </cdr:txBody>
    </cdr:sp>
  </cdr:relSizeAnchor>
  <cdr:relSizeAnchor xmlns:cdr="http://schemas.openxmlformats.org/drawingml/2006/chartDrawing">
    <cdr:from>
      <cdr:x>0.19303</cdr:x>
      <cdr:y>0.31341</cdr:y>
    </cdr:from>
    <cdr:to>
      <cdr:x>0.32427</cdr:x>
      <cdr:y>0.38112</cdr:y>
    </cdr:to>
    <cdr:sp macro="" textlink="">
      <cdr:nvSpPr>
        <cdr:cNvPr id="5" name="Text Box 3"/>
        <cdr:cNvSpPr txBox="1">
          <a:spLocks xmlns:a="http://schemas.openxmlformats.org/drawingml/2006/main" noChangeArrowheads="1"/>
        </cdr:cNvSpPr>
      </cdr:nvSpPr>
      <cdr:spPr bwMode="auto">
        <a:xfrm xmlns:a="http://schemas.openxmlformats.org/drawingml/2006/main">
          <a:off x="2221977" y="1516512"/>
          <a:ext cx="1510642" cy="3276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400" b="0" i="0" strike="noStrike" dirty="0">
              <a:solidFill>
                <a:schemeClr val="tx2"/>
              </a:solidFill>
              <a:latin typeface="+mn-lt"/>
              <a:cs typeface="Arial"/>
            </a:rPr>
            <a:t>Label C</a:t>
          </a:r>
        </a:p>
      </cdr:txBody>
    </cdr:sp>
  </cdr:relSizeAnchor>
  <cdr:relSizeAnchor xmlns:cdr="http://schemas.openxmlformats.org/drawingml/2006/chartDrawing">
    <cdr:from>
      <cdr:x>0.19303</cdr:x>
      <cdr:y>0.09648</cdr:y>
    </cdr:from>
    <cdr:to>
      <cdr:x>0.2936</cdr:x>
      <cdr:y>0.16418</cdr:y>
    </cdr:to>
    <cdr:sp macro="" textlink="">
      <cdr:nvSpPr>
        <cdr:cNvPr id="6" name="Text Box 4"/>
        <cdr:cNvSpPr txBox="1">
          <a:spLocks xmlns:a="http://schemas.openxmlformats.org/drawingml/2006/main" noChangeArrowheads="1"/>
        </cdr:cNvSpPr>
      </cdr:nvSpPr>
      <cdr:spPr bwMode="auto">
        <a:xfrm xmlns:a="http://schemas.openxmlformats.org/drawingml/2006/main">
          <a:off x="2221977" y="466845"/>
          <a:ext cx="1157657" cy="32758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400" b="0" i="0" strike="noStrike" dirty="0">
              <a:solidFill>
                <a:schemeClr val="tx2"/>
              </a:solidFill>
              <a:latin typeface="+mn-lt"/>
              <a:cs typeface="Arial"/>
            </a:rPr>
            <a:t>Label D</a:t>
          </a:r>
        </a:p>
      </cdr:txBody>
    </cdr:sp>
  </cdr:relSizeAnchor>
</c:userShapes>
</file>

<file path=ppt/drawings/drawing14.xml><?xml version="1.0" encoding="utf-8"?>
<c:userShapes xmlns:c="http://schemas.openxmlformats.org/drawingml/2006/chart">
  <cdr:relSizeAnchor xmlns:cdr="http://schemas.openxmlformats.org/drawingml/2006/chartDrawing">
    <cdr:from>
      <cdr:x>0.27861</cdr:x>
      <cdr:y>0</cdr:y>
    </cdr:from>
    <cdr:to>
      <cdr:x>0.49753</cdr:x>
      <cdr:y>0.04192</cdr:y>
    </cdr:to>
    <cdr:sp macro="" textlink="">
      <cdr:nvSpPr>
        <cdr:cNvPr id="2" name="Text Box 1"/>
        <cdr:cNvSpPr txBox="1">
          <a:spLocks xmlns:a="http://schemas.openxmlformats.org/drawingml/2006/main" noChangeArrowheads="1"/>
        </cdr:cNvSpPr>
      </cdr:nvSpPr>
      <cdr:spPr bwMode="auto">
        <a:xfrm xmlns:a="http://schemas.openxmlformats.org/drawingml/2006/main">
          <a:off x="3207055" y="0"/>
          <a:ext cx="2520000" cy="180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rtl="0">
            <a:defRPr sz="1000"/>
          </a:pPr>
          <a:r>
            <a:rPr lang="de-DE" sz="1200" b="1" i="0" strike="noStrike" baseline="0" dirty="0">
              <a:solidFill>
                <a:schemeClr val="accent1"/>
              </a:solidFill>
              <a:latin typeface="+mj-lt"/>
              <a:cs typeface="Arial"/>
            </a:rPr>
            <a:t>Label A</a:t>
          </a:r>
        </a:p>
      </cdr:txBody>
    </cdr:sp>
  </cdr:relSizeAnchor>
  <cdr:relSizeAnchor xmlns:cdr="http://schemas.openxmlformats.org/drawingml/2006/chartDrawing">
    <cdr:from>
      <cdr:x>0.27861</cdr:x>
      <cdr:y>0.05682</cdr:y>
    </cdr:from>
    <cdr:to>
      <cdr:x>0.49753</cdr:x>
      <cdr:y>0.09873</cdr:y>
    </cdr:to>
    <cdr:sp macro="" textlink="">
      <cdr:nvSpPr>
        <cdr:cNvPr id="3" name="Text Box 2"/>
        <cdr:cNvSpPr txBox="1">
          <a:spLocks xmlns:a="http://schemas.openxmlformats.org/drawingml/2006/main" noChangeArrowheads="1"/>
        </cdr:cNvSpPr>
      </cdr:nvSpPr>
      <cdr:spPr bwMode="auto">
        <a:xfrm xmlns:a="http://schemas.openxmlformats.org/drawingml/2006/main">
          <a:off x="3207055" y="243982"/>
          <a:ext cx="2520000" cy="180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rtl="0">
            <a:defRPr sz="1000"/>
          </a:pPr>
          <a:r>
            <a:rPr lang="de-DE" sz="1200" b="1" i="0" strike="noStrike" baseline="0" dirty="0">
              <a:solidFill>
                <a:schemeClr val="accent3"/>
              </a:solidFill>
              <a:latin typeface="+mj-lt"/>
              <a:cs typeface="Arial"/>
            </a:rPr>
            <a:t>Label B</a:t>
          </a:r>
        </a:p>
      </cdr:txBody>
    </cdr:sp>
  </cdr:relSizeAnchor>
  <cdr:relSizeAnchor xmlns:cdr="http://schemas.openxmlformats.org/drawingml/2006/chartDrawing">
    <cdr:from>
      <cdr:x>0.27861</cdr:x>
      <cdr:y>0.1127</cdr:y>
    </cdr:from>
    <cdr:to>
      <cdr:x>0.49753</cdr:x>
      <cdr:y>0.15462</cdr:y>
    </cdr:to>
    <cdr:sp macro="" textlink="">
      <cdr:nvSpPr>
        <cdr:cNvPr id="4" name="Text Box 3"/>
        <cdr:cNvSpPr txBox="1">
          <a:spLocks xmlns:a="http://schemas.openxmlformats.org/drawingml/2006/main" noChangeArrowheads="1"/>
        </cdr:cNvSpPr>
      </cdr:nvSpPr>
      <cdr:spPr bwMode="auto">
        <a:xfrm xmlns:a="http://schemas.openxmlformats.org/drawingml/2006/main">
          <a:off x="3207055" y="483947"/>
          <a:ext cx="2520000" cy="180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rtl="0">
            <a:defRPr sz="1000"/>
          </a:pPr>
          <a:r>
            <a:rPr lang="de-DE" sz="1200" b="1" i="0" strike="noStrike" baseline="0" dirty="0">
              <a:solidFill>
                <a:schemeClr val="accent4"/>
              </a:solidFill>
              <a:latin typeface="+mj-lt"/>
              <a:cs typeface="Arial"/>
            </a:rPr>
            <a:t>Label C</a:t>
          </a:r>
        </a:p>
      </cdr:txBody>
    </cdr:sp>
  </cdr:relSizeAnchor>
  <cdr:relSizeAnchor xmlns:cdr="http://schemas.openxmlformats.org/drawingml/2006/chartDrawing">
    <cdr:from>
      <cdr:x>0.27861</cdr:x>
      <cdr:y>0.1622</cdr:y>
    </cdr:from>
    <cdr:to>
      <cdr:x>0.49753</cdr:x>
      <cdr:y>0.20412</cdr:y>
    </cdr:to>
    <cdr:sp macro="" textlink="">
      <cdr:nvSpPr>
        <cdr:cNvPr id="5" name="Text Box 4"/>
        <cdr:cNvSpPr txBox="1">
          <a:spLocks xmlns:a="http://schemas.openxmlformats.org/drawingml/2006/main" noChangeArrowheads="1"/>
        </cdr:cNvSpPr>
      </cdr:nvSpPr>
      <cdr:spPr bwMode="auto">
        <a:xfrm xmlns:a="http://schemas.openxmlformats.org/drawingml/2006/main">
          <a:off x="3207055" y="696530"/>
          <a:ext cx="2520000" cy="180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rtl="0">
            <a:defRPr sz="1000"/>
          </a:pPr>
          <a:r>
            <a:rPr lang="de-DE" sz="1200" b="1" i="0" strike="noStrike" baseline="0" dirty="0">
              <a:solidFill>
                <a:schemeClr val="accent5"/>
              </a:solidFill>
              <a:latin typeface="+mj-lt"/>
              <a:cs typeface="Arial"/>
            </a:rPr>
            <a:t>Label D</a:t>
          </a:r>
        </a:p>
      </cdr:txBody>
    </cdr:sp>
  </cdr:relSizeAnchor>
  <cdr:relSizeAnchor xmlns:cdr="http://schemas.openxmlformats.org/drawingml/2006/chartDrawing">
    <cdr:from>
      <cdr:x>0.27861</cdr:x>
      <cdr:y>0.21775</cdr:y>
    </cdr:from>
    <cdr:to>
      <cdr:x>0.49753</cdr:x>
      <cdr:y>0.25967</cdr:y>
    </cdr:to>
    <cdr:sp macro="" textlink="">
      <cdr:nvSpPr>
        <cdr:cNvPr id="6" name="Text Box 4"/>
        <cdr:cNvSpPr txBox="1">
          <a:spLocks xmlns:a="http://schemas.openxmlformats.org/drawingml/2006/main" noChangeArrowheads="1"/>
        </cdr:cNvSpPr>
      </cdr:nvSpPr>
      <cdr:spPr bwMode="auto">
        <a:xfrm xmlns:a="http://schemas.openxmlformats.org/drawingml/2006/main">
          <a:off x="3207055" y="935069"/>
          <a:ext cx="2520000" cy="180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rtl="0">
            <a:defRPr sz="1000"/>
          </a:pPr>
          <a:r>
            <a:rPr lang="de-DE" sz="1200" b="1" i="0" strike="noStrike" baseline="0" dirty="0">
              <a:solidFill>
                <a:schemeClr val="accent6"/>
              </a:solidFill>
              <a:latin typeface="+mj-lt"/>
              <a:cs typeface="Arial"/>
            </a:rPr>
            <a:t>Label </a:t>
          </a:r>
          <a:r>
            <a:rPr lang="de-DE" sz="1200" b="1" i="0" strike="noStrike" cap="all" baseline="0" dirty="0">
              <a:solidFill>
                <a:schemeClr val="accent6"/>
              </a:solidFill>
              <a:latin typeface="+mj-lt"/>
              <a:cs typeface="Arial"/>
            </a:rPr>
            <a:t>e</a:t>
          </a:r>
        </a:p>
      </cdr:txBody>
    </cdr:sp>
  </cdr:relSizeAnchor>
</c:userShapes>
</file>

<file path=ppt/drawings/drawing15.xml><?xml version="1.0" encoding="utf-8"?>
<c:userShapes xmlns:c="http://schemas.openxmlformats.org/drawingml/2006/chart">
  <cdr:relSizeAnchor xmlns:cdr="http://schemas.openxmlformats.org/drawingml/2006/chartDrawing">
    <cdr:from>
      <cdr:x>0.87803</cdr:x>
      <cdr:y>0.23474</cdr:y>
    </cdr:from>
    <cdr:to>
      <cdr:x>1</cdr:x>
      <cdr:y>0.28504</cdr:y>
    </cdr:to>
    <cdr:sp macro="" textlink="">
      <cdr:nvSpPr>
        <cdr:cNvPr id="2" name="Text Box 1"/>
        <cdr:cNvSpPr txBox="1">
          <a:spLocks xmlns:a="http://schemas.openxmlformats.org/drawingml/2006/main" noChangeArrowheads="1"/>
        </cdr:cNvSpPr>
      </cdr:nvSpPr>
      <cdr:spPr bwMode="auto">
        <a:xfrm xmlns:a="http://schemas.openxmlformats.org/drawingml/2006/main">
          <a:off x="10114172" y="1008027"/>
          <a:ext cx="1404000"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1" i="0" strike="noStrike" baseline="0" dirty="0">
              <a:solidFill>
                <a:schemeClr val="accent6"/>
              </a:solidFill>
              <a:latin typeface="+mj-lt"/>
              <a:cs typeface="Arial"/>
            </a:rPr>
            <a:t>Group </a:t>
          </a:r>
          <a:r>
            <a:rPr lang="de-DE" sz="1200" b="1" i="0" strike="noStrike" cap="all" baseline="0" dirty="0">
              <a:solidFill>
                <a:schemeClr val="accent6"/>
              </a:solidFill>
              <a:latin typeface="+mj-lt"/>
              <a:cs typeface="Arial"/>
            </a:rPr>
            <a:t>A</a:t>
          </a:r>
        </a:p>
      </cdr:txBody>
    </cdr:sp>
  </cdr:relSizeAnchor>
  <cdr:relSizeAnchor xmlns:cdr="http://schemas.openxmlformats.org/drawingml/2006/chartDrawing">
    <cdr:from>
      <cdr:x>0.87803</cdr:x>
      <cdr:y>0.39673</cdr:y>
    </cdr:from>
    <cdr:to>
      <cdr:x>1</cdr:x>
      <cdr:y>0.44703</cdr:y>
    </cdr:to>
    <cdr:sp macro="" textlink="">
      <cdr:nvSpPr>
        <cdr:cNvPr id="3" name="Text Box 2"/>
        <cdr:cNvSpPr txBox="1">
          <a:spLocks xmlns:a="http://schemas.openxmlformats.org/drawingml/2006/main" noChangeArrowheads="1"/>
        </cdr:cNvSpPr>
      </cdr:nvSpPr>
      <cdr:spPr bwMode="auto">
        <a:xfrm xmlns:a="http://schemas.openxmlformats.org/drawingml/2006/main">
          <a:off x="10114172" y="1703624"/>
          <a:ext cx="1404000"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1" i="0" strike="noStrike" baseline="0" dirty="0">
              <a:solidFill>
                <a:schemeClr val="accent3"/>
              </a:solidFill>
              <a:latin typeface="+mj-lt"/>
              <a:cs typeface="Arial"/>
            </a:rPr>
            <a:t>Group </a:t>
          </a:r>
          <a:r>
            <a:rPr lang="de-DE" sz="1200" b="1" i="0" strike="noStrike" cap="all" baseline="0" dirty="0">
              <a:solidFill>
                <a:schemeClr val="accent3"/>
              </a:solidFill>
              <a:latin typeface="+mj-lt"/>
              <a:cs typeface="Arial"/>
            </a:rPr>
            <a:t>B</a:t>
          </a:r>
        </a:p>
      </cdr:txBody>
    </cdr:sp>
  </cdr:relSizeAnchor>
  <cdr:relSizeAnchor xmlns:cdr="http://schemas.openxmlformats.org/drawingml/2006/chartDrawing">
    <cdr:from>
      <cdr:x>0.87803</cdr:x>
      <cdr:y>0.15375</cdr:y>
    </cdr:from>
    <cdr:to>
      <cdr:x>1</cdr:x>
      <cdr:y>0.20405</cdr:y>
    </cdr:to>
    <cdr:sp macro="" textlink="">
      <cdr:nvSpPr>
        <cdr:cNvPr id="4" name="Text Box 3"/>
        <cdr:cNvSpPr txBox="1">
          <a:spLocks xmlns:a="http://schemas.openxmlformats.org/drawingml/2006/main" noChangeArrowheads="1"/>
        </cdr:cNvSpPr>
      </cdr:nvSpPr>
      <cdr:spPr bwMode="auto">
        <a:xfrm xmlns:a="http://schemas.openxmlformats.org/drawingml/2006/main">
          <a:off x="10114172" y="660228"/>
          <a:ext cx="1404000"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1" i="0" strike="noStrike" baseline="0" dirty="0">
              <a:solidFill>
                <a:schemeClr val="accent4"/>
              </a:solidFill>
              <a:latin typeface="+mj-lt"/>
              <a:cs typeface="Arial"/>
            </a:rPr>
            <a:t>Group </a:t>
          </a:r>
          <a:r>
            <a:rPr lang="de-DE" sz="1200" b="1" i="0" strike="noStrike" cap="all" baseline="0" dirty="0">
              <a:solidFill>
                <a:schemeClr val="accent4"/>
              </a:solidFill>
              <a:latin typeface="+mj-lt"/>
              <a:cs typeface="Arial"/>
            </a:rPr>
            <a:t>C</a:t>
          </a:r>
        </a:p>
      </cdr:txBody>
    </cdr:sp>
  </cdr:relSizeAnchor>
  <cdr:relSizeAnchor xmlns:cdr="http://schemas.openxmlformats.org/drawingml/2006/chartDrawing">
    <cdr:from>
      <cdr:x>0.87803</cdr:x>
      <cdr:y>0.31574</cdr:y>
    </cdr:from>
    <cdr:to>
      <cdr:x>1</cdr:x>
      <cdr:y>0.36604</cdr:y>
    </cdr:to>
    <cdr:sp macro="" textlink="">
      <cdr:nvSpPr>
        <cdr:cNvPr id="5" name="Text Box 4"/>
        <cdr:cNvSpPr txBox="1">
          <a:spLocks xmlns:a="http://schemas.openxmlformats.org/drawingml/2006/main" noChangeArrowheads="1"/>
        </cdr:cNvSpPr>
      </cdr:nvSpPr>
      <cdr:spPr bwMode="auto">
        <a:xfrm xmlns:a="http://schemas.openxmlformats.org/drawingml/2006/main">
          <a:off x="10114172" y="1355826"/>
          <a:ext cx="1404000"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1" i="0" strike="noStrike" baseline="0" dirty="0">
              <a:solidFill>
                <a:schemeClr val="accent1"/>
              </a:solidFill>
              <a:latin typeface="+mj-lt"/>
              <a:cs typeface="Arial"/>
            </a:rPr>
            <a:t>Group </a:t>
          </a:r>
          <a:r>
            <a:rPr lang="de-DE" sz="1200" b="1" i="0" strike="noStrike" cap="all" baseline="0" dirty="0">
              <a:solidFill>
                <a:schemeClr val="accent1"/>
              </a:solidFill>
              <a:latin typeface="+mj-lt"/>
              <a:cs typeface="Arial"/>
            </a:rPr>
            <a:t>D</a:t>
          </a:r>
        </a:p>
      </cdr:txBody>
    </cdr:sp>
  </cdr:relSizeAnchor>
</c:userShapes>
</file>

<file path=ppt/drawings/drawing16.xml><?xml version="1.0" encoding="utf-8"?>
<c:userShapes xmlns:c="http://schemas.openxmlformats.org/drawingml/2006/chart">
  <cdr:relSizeAnchor xmlns:cdr="http://schemas.openxmlformats.org/drawingml/2006/chartDrawing">
    <cdr:from>
      <cdr:x>0.87803</cdr:x>
      <cdr:y>0.2383</cdr:y>
    </cdr:from>
    <cdr:to>
      <cdr:x>1</cdr:x>
      <cdr:y>0.2886</cdr:y>
    </cdr:to>
    <cdr:sp macro="" textlink="">
      <cdr:nvSpPr>
        <cdr:cNvPr id="2" name="Text Box 1"/>
        <cdr:cNvSpPr txBox="1">
          <a:spLocks xmlns:a="http://schemas.openxmlformats.org/drawingml/2006/main" noChangeArrowheads="1"/>
        </cdr:cNvSpPr>
      </cdr:nvSpPr>
      <cdr:spPr bwMode="auto">
        <a:xfrm xmlns:a="http://schemas.openxmlformats.org/drawingml/2006/main">
          <a:off x="10042853" y="890223"/>
          <a:ext cx="1395085" cy="187904"/>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1" i="0" strike="noStrike" baseline="0" dirty="0">
              <a:solidFill>
                <a:schemeClr val="accent6"/>
              </a:solidFill>
              <a:latin typeface="+mj-lt"/>
              <a:cs typeface="Arial"/>
            </a:rPr>
            <a:t>Group </a:t>
          </a:r>
          <a:r>
            <a:rPr lang="de-DE" sz="1200" b="1" i="0" strike="noStrike" cap="all" baseline="0" dirty="0">
              <a:solidFill>
                <a:schemeClr val="accent6"/>
              </a:solidFill>
              <a:latin typeface="+mj-lt"/>
              <a:cs typeface="Arial"/>
            </a:rPr>
            <a:t>A</a:t>
          </a:r>
        </a:p>
      </cdr:txBody>
    </cdr:sp>
  </cdr:relSizeAnchor>
  <cdr:relSizeAnchor xmlns:cdr="http://schemas.openxmlformats.org/drawingml/2006/chartDrawing">
    <cdr:from>
      <cdr:x>0.87803</cdr:x>
      <cdr:y>0.38327</cdr:y>
    </cdr:from>
    <cdr:to>
      <cdr:x>1</cdr:x>
      <cdr:y>0.43357</cdr:y>
    </cdr:to>
    <cdr:sp macro="" textlink="">
      <cdr:nvSpPr>
        <cdr:cNvPr id="3" name="Text Box 2"/>
        <cdr:cNvSpPr txBox="1">
          <a:spLocks xmlns:a="http://schemas.openxmlformats.org/drawingml/2006/main" noChangeArrowheads="1"/>
        </cdr:cNvSpPr>
      </cdr:nvSpPr>
      <cdr:spPr bwMode="auto">
        <a:xfrm xmlns:a="http://schemas.openxmlformats.org/drawingml/2006/main">
          <a:off x="10042853" y="1431770"/>
          <a:ext cx="1395085" cy="187903"/>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1" i="0" strike="noStrike" baseline="0" dirty="0">
              <a:solidFill>
                <a:schemeClr val="accent3"/>
              </a:solidFill>
              <a:latin typeface="+mj-lt"/>
              <a:cs typeface="Arial"/>
            </a:rPr>
            <a:t>Group </a:t>
          </a:r>
          <a:r>
            <a:rPr lang="de-DE" sz="1200" b="1" i="0" strike="noStrike" cap="all" baseline="0" dirty="0">
              <a:solidFill>
                <a:schemeClr val="accent3"/>
              </a:solidFill>
              <a:latin typeface="+mj-lt"/>
              <a:cs typeface="Arial"/>
            </a:rPr>
            <a:t>B</a:t>
          </a:r>
        </a:p>
      </cdr:txBody>
    </cdr:sp>
  </cdr:relSizeAnchor>
  <cdr:relSizeAnchor xmlns:cdr="http://schemas.openxmlformats.org/drawingml/2006/chartDrawing">
    <cdr:from>
      <cdr:x>0.87803</cdr:x>
      <cdr:y>0.16582</cdr:y>
    </cdr:from>
    <cdr:to>
      <cdr:x>1</cdr:x>
      <cdr:y>0.21612</cdr:y>
    </cdr:to>
    <cdr:sp macro="" textlink="">
      <cdr:nvSpPr>
        <cdr:cNvPr id="4" name="Text Box 3"/>
        <cdr:cNvSpPr txBox="1">
          <a:spLocks xmlns:a="http://schemas.openxmlformats.org/drawingml/2006/main" noChangeArrowheads="1"/>
        </cdr:cNvSpPr>
      </cdr:nvSpPr>
      <cdr:spPr bwMode="auto">
        <a:xfrm xmlns:a="http://schemas.openxmlformats.org/drawingml/2006/main">
          <a:off x="10042853" y="619449"/>
          <a:ext cx="1395085" cy="187904"/>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1" i="0" strike="noStrike" baseline="0" dirty="0">
              <a:solidFill>
                <a:schemeClr val="accent4"/>
              </a:solidFill>
              <a:latin typeface="+mj-lt"/>
              <a:cs typeface="Arial"/>
            </a:rPr>
            <a:t>Group </a:t>
          </a:r>
          <a:r>
            <a:rPr lang="de-DE" sz="1200" b="1" i="0" strike="noStrike" cap="all" baseline="0" dirty="0">
              <a:solidFill>
                <a:schemeClr val="accent4"/>
              </a:solidFill>
              <a:latin typeface="+mj-lt"/>
              <a:cs typeface="Arial"/>
            </a:rPr>
            <a:t>C</a:t>
          </a:r>
        </a:p>
      </cdr:txBody>
    </cdr:sp>
  </cdr:relSizeAnchor>
  <cdr:relSizeAnchor xmlns:cdr="http://schemas.openxmlformats.org/drawingml/2006/chartDrawing">
    <cdr:from>
      <cdr:x>0.87803</cdr:x>
      <cdr:y>0.31079</cdr:y>
    </cdr:from>
    <cdr:to>
      <cdr:x>1</cdr:x>
      <cdr:y>0.36109</cdr:y>
    </cdr:to>
    <cdr:sp macro="" textlink="">
      <cdr:nvSpPr>
        <cdr:cNvPr id="5" name="Text Box 4"/>
        <cdr:cNvSpPr txBox="1">
          <a:spLocks xmlns:a="http://schemas.openxmlformats.org/drawingml/2006/main" noChangeArrowheads="1"/>
        </cdr:cNvSpPr>
      </cdr:nvSpPr>
      <cdr:spPr bwMode="auto">
        <a:xfrm xmlns:a="http://schemas.openxmlformats.org/drawingml/2006/main">
          <a:off x="10042853" y="1160997"/>
          <a:ext cx="1395085" cy="187903"/>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1" i="0" strike="noStrike" baseline="0" dirty="0">
              <a:solidFill>
                <a:schemeClr val="accent1"/>
              </a:solidFill>
              <a:latin typeface="+mj-lt"/>
              <a:cs typeface="Arial"/>
            </a:rPr>
            <a:t>Group </a:t>
          </a:r>
          <a:r>
            <a:rPr lang="de-DE" sz="1200" b="1" i="0" strike="noStrike" cap="all" baseline="0" dirty="0">
              <a:solidFill>
                <a:schemeClr val="accent1"/>
              </a:solidFill>
              <a:latin typeface="+mj-lt"/>
              <a:cs typeface="Arial"/>
            </a:rPr>
            <a:t>D</a:t>
          </a:r>
        </a:p>
      </cdr:txBody>
    </cdr:sp>
  </cdr:relSizeAnchor>
</c:userShapes>
</file>

<file path=ppt/drawings/drawing17.xml><?xml version="1.0" encoding="utf-8"?>
<c:userShapes xmlns:c="http://schemas.openxmlformats.org/drawingml/2006/chart">
  <cdr:relSizeAnchor xmlns:cdr="http://schemas.openxmlformats.org/drawingml/2006/chartDrawing">
    <cdr:from>
      <cdr:x>0.5085</cdr:x>
      <cdr:y>0.47275</cdr:y>
    </cdr:from>
    <cdr:to>
      <cdr:x>0.516</cdr:x>
      <cdr:y>0.52</cdr:y>
    </cdr:to>
    <cdr:sp macro="" textlink="">
      <cdr:nvSpPr>
        <cdr:cNvPr id="1025" name="Text 1"/>
        <cdr:cNvSpPr txBox="1">
          <a:spLocks xmlns:a="http://schemas.openxmlformats.org/drawingml/2006/main" noChangeArrowheads="1"/>
        </cdr:cNvSpPr>
      </cdr:nvSpPr>
      <cdr:spPr bwMode="auto">
        <a:xfrm xmlns:a="http://schemas.openxmlformats.org/drawingml/2006/main">
          <a:off x="3908674" y="1810183"/>
          <a:ext cx="57650" cy="180923"/>
        </a:xfrm>
        <a:prstGeom xmlns:a="http://schemas.openxmlformats.org/drawingml/2006/main" prst="rect">
          <a:avLst/>
        </a:prstGeom>
        <a:noFill xmlns:a="http://schemas.openxmlformats.org/drawingml/2006/main"/>
        <a:ln xmlns:a="http://schemas.openxmlformats.org/drawingml/2006/main" w="9525">
          <a:noFill/>
          <a:miter lim="800000"/>
          <a:headEnd/>
          <a:tailEnd/>
        </a:ln>
      </cdr:spPr>
    </cdr:sp>
  </cdr:relSizeAnchor>
  <cdr:relSizeAnchor xmlns:cdr="http://schemas.openxmlformats.org/drawingml/2006/chartDrawing">
    <cdr:from>
      <cdr:x>0.87803</cdr:x>
      <cdr:y>0.36612</cdr:y>
    </cdr:from>
    <cdr:to>
      <cdr:x>1</cdr:x>
      <cdr:y>0.41642</cdr:y>
    </cdr:to>
    <cdr:sp macro="" textlink="">
      <cdr:nvSpPr>
        <cdr:cNvPr id="3" name="Text Box 1"/>
        <cdr:cNvSpPr txBox="1">
          <a:spLocks xmlns:a="http://schemas.openxmlformats.org/drawingml/2006/main" noChangeArrowheads="1"/>
        </cdr:cNvSpPr>
      </cdr:nvSpPr>
      <cdr:spPr bwMode="auto">
        <a:xfrm xmlns:a="http://schemas.openxmlformats.org/drawingml/2006/main">
          <a:off x="10115325" y="1572206"/>
          <a:ext cx="1405162"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US" sz="1400" dirty="0">
              <a:solidFill>
                <a:schemeClr val="tx2"/>
              </a:solidFill>
            </a:rPr>
            <a:t>Label D</a:t>
          </a:r>
        </a:p>
      </cdr:txBody>
    </cdr:sp>
  </cdr:relSizeAnchor>
  <cdr:relSizeAnchor xmlns:cdr="http://schemas.openxmlformats.org/drawingml/2006/chartDrawing">
    <cdr:from>
      <cdr:x>0.87803</cdr:x>
      <cdr:y>0.66339</cdr:y>
    </cdr:from>
    <cdr:to>
      <cdr:x>1</cdr:x>
      <cdr:y>0.71369</cdr:y>
    </cdr:to>
    <cdr:sp macro="" textlink="">
      <cdr:nvSpPr>
        <cdr:cNvPr id="4" name="Text Box 2"/>
        <cdr:cNvSpPr txBox="1">
          <a:spLocks xmlns:a="http://schemas.openxmlformats.org/drawingml/2006/main" noChangeArrowheads="1"/>
        </cdr:cNvSpPr>
      </cdr:nvSpPr>
      <cdr:spPr bwMode="auto">
        <a:xfrm xmlns:a="http://schemas.openxmlformats.org/drawingml/2006/main">
          <a:off x="10115325" y="2848716"/>
          <a:ext cx="1405162"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US" sz="1400" dirty="0">
              <a:solidFill>
                <a:schemeClr val="tx2"/>
              </a:solidFill>
            </a:rPr>
            <a:t>Label B</a:t>
          </a:r>
        </a:p>
      </cdr:txBody>
    </cdr:sp>
  </cdr:relSizeAnchor>
  <cdr:relSizeAnchor xmlns:cdr="http://schemas.openxmlformats.org/drawingml/2006/chartDrawing">
    <cdr:from>
      <cdr:x>0.87803</cdr:x>
      <cdr:y>0.23503</cdr:y>
    </cdr:from>
    <cdr:to>
      <cdr:x>1</cdr:x>
      <cdr:y>0.28533</cdr:y>
    </cdr:to>
    <cdr:sp macro="" textlink="">
      <cdr:nvSpPr>
        <cdr:cNvPr id="5" name="Text Box 3"/>
        <cdr:cNvSpPr txBox="1">
          <a:spLocks xmlns:a="http://schemas.openxmlformats.org/drawingml/2006/main" noChangeArrowheads="1"/>
        </cdr:cNvSpPr>
      </cdr:nvSpPr>
      <cdr:spPr bwMode="auto">
        <a:xfrm xmlns:a="http://schemas.openxmlformats.org/drawingml/2006/main">
          <a:off x="10115325" y="1009254"/>
          <a:ext cx="1405162"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US" sz="1400" dirty="0">
              <a:solidFill>
                <a:schemeClr val="tx2"/>
              </a:solidFill>
            </a:rPr>
            <a:t>Label E</a:t>
          </a:r>
        </a:p>
      </cdr:txBody>
    </cdr:sp>
  </cdr:relSizeAnchor>
  <cdr:relSizeAnchor xmlns:cdr="http://schemas.openxmlformats.org/drawingml/2006/chartDrawing">
    <cdr:from>
      <cdr:x>0.87803</cdr:x>
      <cdr:y>0.5</cdr:y>
    </cdr:from>
    <cdr:to>
      <cdr:x>1</cdr:x>
      <cdr:y>0.5503</cdr:y>
    </cdr:to>
    <cdr:sp macro="" textlink="">
      <cdr:nvSpPr>
        <cdr:cNvPr id="6" name="Text Box 4"/>
        <cdr:cNvSpPr txBox="1">
          <a:spLocks xmlns:a="http://schemas.openxmlformats.org/drawingml/2006/main" noChangeArrowheads="1"/>
        </cdr:cNvSpPr>
      </cdr:nvSpPr>
      <cdr:spPr bwMode="auto">
        <a:xfrm xmlns:a="http://schemas.openxmlformats.org/drawingml/2006/main">
          <a:off x="10115325" y="2147093"/>
          <a:ext cx="1405162"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US" sz="1400" dirty="0">
              <a:solidFill>
                <a:schemeClr val="tx2"/>
              </a:solidFill>
            </a:rPr>
            <a:t>Label C</a:t>
          </a:r>
        </a:p>
      </cdr:txBody>
    </cdr:sp>
  </cdr:relSizeAnchor>
  <cdr:relSizeAnchor xmlns:cdr="http://schemas.openxmlformats.org/drawingml/2006/chartDrawing">
    <cdr:from>
      <cdr:x>0.87803</cdr:x>
      <cdr:y>0.83625</cdr:y>
    </cdr:from>
    <cdr:to>
      <cdr:x>1</cdr:x>
      <cdr:y>0.88655</cdr:y>
    </cdr:to>
    <cdr:sp macro="" textlink="">
      <cdr:nvSpPr>
        <cdr:cNvPr id="7" name="Text Box 2"/>
        <cdr:cNvSpPr txBox="1">
          <a:spLocks xmlns:a="http://schemas.openxmlformats.org/drawingml/2006/main" noChangeArrowheads="1"/>
        </cdr:cNvSpPr>
      </cdr:nvSpPr>
      <cdr:spPr bwMode="auto">
        <a:xfrm xmlns:a="http://schemas.openxmlformats.org/drawingml/2006/main">
          <a:off x="10115325" y="3590993"/>
          <a:ext cx="1405162"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US" sz="1400" dirty="0">
              <a:solidFill>
                <a:schemeClr val="tx2"/>
              </a:solidFill>
            </a:rPr>
            <a:t>Label A</a:t>
          </a:r>
        </a:p>
      </cdr:txBody>
    </cdr:sp>
  </cdr:relSizeAnchor>
</c:userShapes>
</file>

<file path=ppt/drawings/drawing18.xml><?xml version="1.0" encoding="utf-8"?>
<c:userShapes xmlns:c="http://schemas.openxmlformats.org/drawingml/2006/chart">
  <cdr:relSizeAnchor xmlns:cdr="http://schemas.openxmlformats.org/drawingml/2006/chartDrawing">
    <cdr:from>
      <cdr:x>0.52225</cdr:x>
      <cdr:y>0.488</cdr:y>
    </cdr:from>
    <cdr:to>
      <cdr:x>0.5265</cdr:x>
      <cdr:y>0.53425</cdr:y>
    </cdr:to>
    <cdr:sp macro="" textlink="">
      <cdr:nvSpPr>
        <cdr:cNvPr id="1025" name="Text 1"/>
        <cdr:cNvSpPr txBox="1">
          <a:spLocks xmlns:a="http://schemas.openxmlformats.org/drawingml/2006/main" noChangeArrowheads="1"/>
        </cdr:cNvSpPr>
      </cdr:nvSpPr>
      <cdr:spPr bwMode="auto">
        <a:xfrm xmlns:a="http://schemas.openxmlformats.org/drawingml/2006/main">
          <a:off x="4651093" y="1905762"/>
          <a:ext cx="37850" cy="180618"/>
        </a:xfrm>
        <a:prstGeom xmlns:a="http://schemas.openxmlformats.org/drawingml/2006/main" prst="rect">
          <a:avLst/>
        </a:prstGeom>
        <a:noFill xmlns:a="http://schemas.openxmlformats.org/drawingml/2006/main"/>
        <a:ln xmlns:a="http://schemas.openxmlformats.org/drawingml/2006/main" w="9525">
          <a:noFill/>
          <a:miter lim="800000"/>
          <a:headEnd/>
          <a:tailEnd/>
        </a:ln>
      </cdr:spPr>
    </cdr:sp>
  </cdr:relSizeAnchor>
  <cdr:relSizeAnchor xmlns:cdr="http://schemas.openxmlformats.org/drawingml/2006/chartDrawing">
    <cdr:from>
      <cdr:x>0.85721</cdr:x>
      <cdr:y>0.26125</cdr:y>
    </cdr:from>
    <cdr:to>
      <cdr:x>0.98694</cdr:x>
      <cdr:y>0.31155</cdr:y>
    </cdr:to>
    <cdr:sp macro="" textlink="">
      <cdr:nvSpPr>
        <cdr:cNvPr id="3" name="Text Box 1">
          <a:extLst xmlns:a="http://schemas.openxmlformats.org/drawingml/2006/main">
            <a:ext uri="{FF2B5EF4-FFF2-40B4-BE49-F238E27FC236}">
              <a16:creationId xmlns:a16="http://schemas.microsoft.com/office/drawing/2014/main" id="{392AC87A-6FE3-4122-ABCE-FB47320111C1}"/>
            </a:ext>
          </a:extLst>
        </cdr:cNvPr>
        <cdr:cNvSpPr txBox="1">
          <a:spLocks xmlns:a="http://schemas.openxmlformats.org/drawingml/2006/main" noChangeArrowheads="1"/>
        </cdr:cNvSpPr>
      </cdr:nvSpPr>
      <cdr:spPr bwMode="auto">
        <a:xfrm xmlns:a="http://schemas.openxmlformats.org/drawingml/2006/main">
          <a:off x="8749352" y="1121865"/>
          <a:ext cx="1324086" cy="215998"/>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l"/>
          <a:r>
            <a:rPr lang="en-US" sz="1400" dirty="0">
              <a:solidFill>
                <a:schemeClr val="tx2"/>
              </a:solidFill>
            </a:rPr>
            <a:t>Label D</a:t>
          </a:r>
        </a:p>
      </cdr:txBody>
    </cdr:sp>
  </cdr:relSizeAnchor>
  <cdr:relSizeAnchor xmlns:cdr="http://schemas.openxmlformats.org/drawingml/2006/chartDrawing">
    <cdr:from>
      <cdr:x>0.85721</cdr:x>
      <cdr:y>0.63617</cdr:y>
    </cdr:from>
    <cdr:to>
      <cdr:x>0.98694</cdr:x>
      <cdr:y>0.68648</cdr:y>
    </cdr:to>
    <cdr:sp macro="" textlink="">
      <cdr:nvSpPr>
        <cdr:cNvPr id="4" name="Text Box 2">
          <a:extLst xmlns:a="http://schemas.openxmlformats.org/drawingml/2006/main">
            <a:ext uri="{FF2B5EF4-FFF2-40B4-BE49-F238E27FC236}">
              <a16:creationId xmlns:a16="http://schemas.microsoft.com/office/drawing/2014/main" id="{12ECA8A5-97E2-4D49-AA90-228AB9DE035A}"/>
            </a:ext>
          </a:extLst>
        </cdr:cNvPr>
        <cdr:cNvSpPr txBox="1">
          <a:spLocks xmlns:a="http://schemas.openxmlformats.org/drawingml/2006/main" noChangeArrowheads="1"/>
        </cdr:cNvSpPr>
      </cdr:nvSpPr>
      <cdr:spPr bwMode="auto">
        <a:xfrm xmlns:a="http://schemas.openxmlformats.org/drawingml/2006/main">
          <a:off x="8749352" y="2731842"/>
          <a:ext cx="1324086" cy="21604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l"/>
          <a:r>
            <a:rPr lang="en-US" sz="1400" dirty="0">
              <a:solidFill>
                <a:schemeClr val="tx2"/>
              </a:solidFill>
            </a:rPr>
            <a:t>Label B</a:t>
          </a:r>
        </a:p>
      </cdr:txBody>
    </cdr:sp>
  </cdr:relSizeAnchor>
  <cdr:relSizeAnchor xmlns:cdr="http://schemas.openxmlformats.org/drawingml/2006/chartDrawing">
    <cdr:from>
      <cdr:x>0.85721</cdr:x>
      <cdr:y>0.11534</cdr:y>
    </cdr:from>
    <cdr:to>
      <cdr:x>0.98694</cdr:x>
      <cdr:y>0.16564</cdr:y>
    </cdr:to>
    <cdr:sp macro="" textlink="">
      <cdr:nvSpPr>
        <cdr:cNvPr id="5" name="Text Box 3">
          <a:extLst xmlns:a="http://schemas.openxmlformats.org/drawingml/2006/main">
            <a:ext uri="{FF2B5EF4-FFF2-40B4-BE49-F238E27FC236}">
              <a16:creationId xmlns:a16="http://schemas.microsoft.com/office/drawing/2014/main" id="{FC613C2C-5707-45F4-B89F-58968C615826}"/>
            </a:ext>
          </a:extLst>
        </cdr:cNvPr>
        <cdr:cNvSpPr txBox="1">
          <a:spLocks xmlns:a="http://schemas.openxmlformats.org/drawingml/2006/main" noChangeArrowheads="1"/>
        </cdr:cNvSpPr>
      </cdr:nvSpPr>
      <cdr:spPr bwMode="auto">
        <a:xfrm xmlns:a="http://schemas.openxmlformats.org/drawingml/2006/main">
          <a:off x="8749352" y="495300"/>
          <a:ext cx="1324086" cy="215998"/>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l"/>
          <a:r>
            <a:rPr lang="en-US" sz="1400" dirty="0">
              <a:solidFill>
                <a:schemeClr val="tx2"/>
              </a:solidFill>
            </a:rPr>
            <a:t>Label E</a:t>
          </a:r>
        </a:p>
      </cdr:txBody>
    </cdr:sp>
  </cdr:relSizeAnchor>
  <cdr:relSizeAnchor xmlns:cdr="http://schemas.openxmlformats.org/drawingml/2006/chartDrawing">
    <cdr:from>
      <cdr:x>0.85721</cdr:x>
      <cdr:y>0.42519</cdr:y>
    </cdr:from>
    <cdr:to>
      <cdr:x>0.98694</cdr:x>
      <cdr:y>0.47549</cdr:y>
    </cdr:to>
    <cdr:sp macro="" textlink="">
      <cdr:nvSpPr>
        <cdr:cNvPr id="6" name="Text Box 4">
          <a:extLst xmlns:a="http://schemas.openxmlformats.org/drawingml/2006/main">
            <a:ext uri="{FF2B5EF4-FFF2-40B4-BE49-F238E27FC236}">
              <a16:creationId xmlns:a16="http://schemas.microsoft.com/office/drawing/2014/main" id="{2B678EE8-C271-4541-80F0-5B8E551472E8}"/>
            </a:ext>
          </a:extLst>
        </cdr:cNvPr>
        <cdr:cNvSpPr txBox="1">
          <a:spLocks xmlns:a="http://schemas.openxmlformats.org/drawingml/2006/main" noChangeArrowheads="1"/>
        </cdr:cNvSpPr>
      </cdr:nvSpPr>
      <cdr:spPr bwMode="auto">
        <a:xfrm xmlns:a="http://schemas.openxmlformats.org/drawingml/2006/main">
          <a:off x="8749352" y="1825854"/>
          <a:ext cx="1324086" cy="215998"/>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l"/>
          <a:r>
            <a:rPr lang="en-US" sz="1400" dirty="0">
              <a:solidFill>
                <a:schemeClr val="tx2"/>
              </a:solidFill>
            </a:rPr>
            <a:t>Label C</a:t>
          </a:r>
        </a:p>
      </cdr:txBody>
    </cdr:sp>
  </cdr:relSizeAnchor>
  <cdr:relSizeAnchor xmlns:cdr="http://schemas.openxmlformats.org/drawingml/2006/chartDrawing">
    <cdr:from>
      <cdr:x>0.85721</cdr:x>
      <cdr:y>0.80347</cdr:y>
    </cdr:from>
    <cdr:to>
      <cdr:x>0.98694</cdr:x>
      <cdr:y>0.85377</cdr:y>
    </cdr:to>
    <cdr:sp macro="" textlink="">
      <cdr:nvSpPr>
        <cdr:cNvPr id="7" name="Text Box 2">
          <a:extLst xmlns:a="http://schemas.openxmlformats.org/drawingml/2006/main">
            <a:ext uri="{FF2B5EF4-FFF2-40B4-BE49-F238E27FC236}">
              <a16:creationId xmlns:a16="http://schemas.microsoft.com/office/drawing/2014/main" id="{C1C74A96-3811-4E89-BDBA-72E5EF110E77}"/>
            </a:ext>
          </a:extLst>
        </cdr:cNvPr>
        <cdr:cNvSpPr txBox="1">
          <a:spLocks xmlns:a="http://schemas.openxmlformats.org/drawingml/2006/main" noChangeArrowheads="1"/>
        </cdr:cNvSpPr>
      </cdr:nvSpPr>
      <cdr:spPr bwMode="auto">
        <a:xfrm xmlns:a="http://schemas.openxmlformats.org/drawingml/2006/main">
          <a:off x="8749352" y="3450268"/>
          <a:ext cx="1324086" cy="215998"/>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l"/>
          <a:r>
            <a:rPr lang="en-US" sz="1400" dirty="0">
              <a:solidFill>
                <a:schemeClr val="tx2"/>
              </a:solidFill>
            </a:rPr>
            <a:t>Label A</a:t>
          </a:r>
        </a:p>
      </cdr:txBody>
    </cdr:sp>
  </cdr:relSizeAnchor>
</c:userShapes>
</file>

<file path=ppt/drawings/drawing2.xml><?xml version="1.0" encoding="utf-8"?>
<c:userShapes xmlns:c="http://schemas.openxmlformats.org/drawingml/2006/chart">
  <cdr:relSizeAnchor xmlns:cdr="http://schemas.openxmlformats.org/drawingml/2006/chartDrawing">
    <cdr:from>
      <cdr:x>0.00197</cdr:x>
      <cdr:y>0.82555</cdr:y>
    </cdr:from>
    <cdr:to>
      <cdr:x>0.18567</cdr:x>
      <cdr:y>0.89085</cdr:y>
    </cdr:to>
    <cdr:sp macro="" textlink="">
      <cdr:nvSpPr>
        <cdr:cNvPr id="1025" name="Text Box 1"/>
        <cdr:cNvSpPr txBox="1">
          <a:spLocks xmlns:a="http://schemas.openxmlformats.org/drawingml/2006/main" noChangeArrowheads="1"/>
        </cdr:cNvSpPr>
      </cdr:nvSpPr>
      <cdr:spPr bwMode="auto">
        <a:xfrm xmlns:a="http://schemas.openxmlformats.org/drawingml/2006/main">
          <a:off x="22677" y="3132472"/>
          <a:ext cx="2116899" cy="24776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27432" tIns="32004" rIns="0" bIns="0" anchor="t" upright="1">
          <a:spAutoFit/>
        </a:bodyPr>
        <a:lstStyle xmlns:a="http://schemas.openxmlformats.org/drawingml/2006/main"/>
        <a:p xmlns:a="http://schemas.openxmlformats.org/drawingml/2006/main">
          <a:pPr algn="l" rtl="0">
            <a:defRPr sz="1000"/>
          </a:pPr>
          <a:r>
            <a:rPr lang="de-DE" sz="1400" b="0" i="0" u="none" strike="noStrike" baseline="0" dirty="0">
              <a:solidFill>
                <a:schemeClr val="tx2"/>
              </a:solidFill>
              <a:latin typeface="+mn-lt"/>
              <a:cs typeface="Arial"/>
            </a:rPr>
            <a:t>Label A</a:t>
          </a:r>
        </a:p>
      </cdr:txBody>
    </cdr:sp>
  </cdr:relSizeAnchor>
  <cdr:relSizeAnchor xmlns:cdr="http://schemas.openxmlformats.org/drawingml/2006/chartDrawing">
    <cdr:from>
      <cdr:x>0.00197</cdr:x>
      <cdr:y>0.58929</cdr:y>
    </cdr:from>
    <cdr:to>
      <cdr:x>0.18567</cdr:x>
      <cdr:y>0.65459</cdr:y>
    </cdr:to>
    <cdr:sp macro="" textlink="">
      <cdr:nvSpPr>
        <cdr:cNvPr id="1026" name="Text Box 2"/>
        <cdr:cNvSpPr txBox="1">
          <a:spLocks xmlns:a="http://schemas.openxmlformats.org/drawingml/2006/main" noChangeArrowheads="1"/>
        </cdr:cNvSpPr>
      </cdr:nvSpPr>
      <cdr:spPr bwMode="auto">
        <a:xfrm xmlns:a="http://schemas.openxmlformats.org/drawingml/2006/main">
          <a:off x="22677" y="2236006"/>
          <a:ext cx="2116899" cy="24776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27432" tIns="32004" rIns="0" bIns="0" anchor="t" upright="1">
          <a:spAutoFit/>
        </a:bodyPr>
        <a:lstStyle xmlns:a="http://schemas.openxmlformats.org/drawingml/2006/main"/>
        <a:p xmlns:a="http://schemas.openxmlformats.org/drawingml/2006/main">
          <a:pPr algn="l" rtl="0">
            <a:defRPr sz="1000"/>
          </a:pPr>
          <a:r>
            <a:rPr lang="de-DE" sz="1400" b="0" i="0" u="none" strike="noStrike" baseline="0" dirty="0">
              <a:solidFill>
                <a:schemeClr val="tx2"/>
              </a:solidFill>
              <a:latin typeface="+mn-lt"/>
              <a:cs typeface="Arial"/>
            </a:rPr>
            <a:t>Label B</a:t>
          </a:r>
        </a:p>
      </cdr:txBody>
    </cdr:sp>
  </cdr:relSizeAnchor>
  <cdr:relSizeAnchor xmlns:cdr="http://schemas.openxmlformats.org/drawingml/2006/chartDrawing">
    <cdr:from>
      <cdr:x>0.00197</cdr:x>
      <cdr:y>0.35273</cdr:y>
    </cdr:from>
    <cdr:to>
      <cdr:x>0.18846</cdr:x>
      <cdr:y>0.41803</cdr:y>
    </cdr:to>
    <cdr:sp macro="" textlink="">
      <cdr:nvSpPr>
        <cdr:cNvPr id="1027" name="Text Box 3"/>
        <cdr:cNvSpPr txBox="1">
          <a:spLocks xmlns:a="http://schemas.openxmlformats.org/drawingml/2006/main" noChangeArrowheads="1"/>
        </cdr:cNvSpPr>
      </cdr:nvSpPr>
      <cdr:spPr bwMode="auto">
        <a:xfrm xmlns:a="http://schemas.openxmlformats.org/drawingml/2006/main">
          <a:off x="22677" y="1338397"/>
          <a:ext cx="2149023" cy="24776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27432" tIns="32004" rIns="0" bIns="0" anchor="t" upright="1">
          <a:spAutoFit/>
        </a:bodyPr>
        <a:lstStyle xmlns:a="http://schemas.openxmlformats.org/drawingml/2006/main"/>
        <a:p xmlns:a="http://schemas.openxmlformats.org/drawingml/2006/main">
          <a:pPr algn="l" rtl="0">
            <a:defRPr sz="1000"/>
          </a:pPr>
          <a:r>
            <a:rPr lang="de-DE" sz="1400" b="0" i="0" u="none" strike="noStrike" baseline="0" dirty="0">
              <a:solidFill>
                <a:schemeClr val="tx2"/>
              </a:solidFill>
              <a:latin typeface="+mn-lt"/>
              <a:cs typeface="Arial"/>
            </a:rPr>
            <a:t>Label C</a:t>
          </a:r>
        </a:p>
      </cdr:txBody>
    </cdr:sp>
  </cdr:relSizeAnchor>
  <cdr:relSizeAnchor xmlns:cdr="http://schemas.openxmlformats.org/drawingml/2006/chartDrawing">
    <cdr:from>
      <cdr:x>0.00197</cdr:x>
      <cdr:y>0.11798</cdr:y>
    </cdr:from>
    <cdr:to>
      <cdr:x>0.18846</cdr:x>
      <cdr:y>0.18328</cdr:y>
    </cdr:to>
    <cdr:sp macro="" textlink="">
      <cdr:nvSpPr>
        <cdr:cNvPr id="1028" name="Text Box 4"/>
        <cdr:cNvSpPr txBox="1">
          <a:spLocks xmlns:a="http://schemas.openxmlformats.org/drawingml/2006/main" noChangeArrowheads="1"/>
        </cdr:cNvSpPr>
      </cdr:nvSpPr>
      <cdr:spPr bwMode="auto">
        <a:xfrm xmlns:a="http://schemas.openxmlformats.org/drawingml/2006/main">
          <a:off x="22677" y="447661"/>
          <a:ext cx="2149023" cy="24776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27432" tIns="32004" rIns="0" bIns="0" anchor="t" upright="1">
          <a:spAutoFit/>
        </a:bodyPr>
        <a:lstStyle xmlns:a="http://schemas.openxmlformats.org/drawingml/2006/main"/>
        <a:p xmlns:a="http://schemas.openxmlformats.org/drawingml/2006/main">
          <a:pPr algn="l" rtl="0">
            <a:defRPr sz="1000"/>
          </a:pPr>
          <a:r>
            <a:rPr lang="de-DE" sz="1400" b="0" i="0" u="none" strike="noStrike" baseline="0" dirty="0">
              <a:solidFill>
                <a:schemeClr val="tx2"/>
              </a:solidFill>
              <a:latin typeface="+mn-lt"/>
              <a:cs typeface="Arial"/>
            </a:rPr>
            <a:t>Label D</a:t>
          </a:r>
        </a:p>
      </cdr:txBody>
    </cdr:sp>
  </cdr:relSizeAnchor>
</c:userShapes>
</file>

<file path=ppt/drawings/drawing3.xml><?xml version="1.0" encoding="utf-8"?>
<c:userShapes xmlns:c="http://schemas.openxmlformats.org/drawingml/2006/chart">
  <cdr:relSizeAnchor xmlns:cdr="http://schemas.openxmlformats.org/drawingml/2006/chartDrawing">
    <cdr:from>
      <cdr:x>0.0555</cdr:x>
      <cdr:y>0</cdr:y>
    </cdr:from>
    <cdr:to>
      <cdr:x>0.073</cdr:x>
      <cdr:y>0.06975</cdr:y>
    </cdr:to>
    <cdr:sp macro="" textlink="">
      <cdr:nvSpPr>
        <cdr:cNvPr id="1025" name="Text Box 1"/>
        <cdr:cNvSpPr txBox="1">
          <a:spLocks xmlns:a="http://schemas.openxmlformats.org/drawingml/2006/main" noChangeArrowheads="1"/>
        </cdr:cNvSpPr>
      </cdr:nvSpPr>
      <cdr:spPr bwMode="auto">
        <a:xfrm xmlns:a="http://schemas.openxmlformats.org/drawingml/2006/main">
          <a:off x="271191" y="-80986"/>
          <a:ext cx="85511" cy="237844"/>
        </a:xfrm>
        <a:prstGeom xmlns:a="http://schemas.openxmlformats.org/drawingml/2006/main" prst="rect">
          <a:avLst/>
        </a:prstGeom>
        <a:noFill xmlns:a="http://schemas.openxmlformats.org/drawingml/2006/main"/>
        <a:ln xmlns:a="http://schemas.openxmlformats.org/drawingml/2006/main" w="9525">
          <a:noFill/>
          <a:miter lim="800000"/>
          <a:headEnd/>
          <a:tailEnd/>
        </a:ln>
      </cdr:spPr>
    </cdr:sp>
  </cdr:relSizeAnchor>
</c:userShapes>
</file>

<file path=ppt/drawings/drawing4.xml><?xml version="1.0" encoding="utf-8"?>
<c:userShapes xmlns:c="http://schemas.openxmlformats.org/drawingml/2006/chart">
  <cdr:relSizeAnchor xmlns:cdr="http://schemas.openxmlformats.org/drawingml/2006/chartDrawing">
    <cdr:from>
      <cdr:x>0.27225</cdr:x>
      <cdr:y>0</cdr:y>
    </cdr:from>
    <cdr:to>
      <cdr:x>0.29225</cdr:x>
      <cdr:y>0.0645</cdr:y>
    </cdr:to>
    <cdr:sp macro="" textlink="">
      <cdr:nvSpPr>
        <cdr:cNvPr id="1025" name="Text Box 1"/>
        <cdr:cNvSpPr txBox="1">
          <a:spLocks xmlns:a="http://schemas.openxmlformats.org/drawingml/2006/main" noChangeArrowheads="1"/>
        </cdr:cNvSpPr>
      </cdr:nvSpPr>
      <cdr:spPr bwMode="auto">
        <a:xfrm xmlns:a="http://schemas.openxmlformats.org/drawingml/2006/main">
          <a:off x="1164338" y="-94362"/>
          <a:ext cx="85535" cy="219328"/>
        </a:xfrm>
        <a:prstGeom xmlns:a="http://schemas.openxmlformats.org/drawingml/2006/main" prst="rect">
          <a:avLst/>
        </a:prstGeom>
        <a:noFill xmlns:a="http://schemas.openxmlformats.org/drawingml/2006/main"/>
        <a:ln xmlns:a="http://schemas.openxmlformats.org/drawingml/2006/main" w="9525">
          <a:noFill/>
          <a:miter lim="800000"/>
          <a:headEnd/>
          <a:tailEnd/>
        </a:ln>
      </cdr:spPr>
    </cdr:sp>
  </cdr:relSizeAnchor>
</c:userShapes>
</file>

<file path=ppt/drawings/drawing5.xml><?xml version="1.0" encoding="utf-8"?>
<c:userShapes xmlns:c="http://schemas.openxmlformats.org/drawingml/2006/chart">
  <cdr:relSizeAnchor xmlns:cdr="http://schemas.openxmlformats.org/drawingml/2006/chartDrawing">
    <cdr:from>
      <cdr:x>0.1895</cdr:x>
      <cdr:y>0</cdr:y>
    </cdr:from>
    <cdr:to>
      <cdr:x>0.19775</cdr:x>
      <cdr:y>0.07075</cdr:y>
    </cdr:to>
    <cdr:sp macro="" textlink="">
      <cdr:nvSpPr>
        <cdr:cNvPr id="1025" name="Text Box 1"/>
        <cdr:cNvSpPr txBox="1">
          <a:spLocks xmlns:a="http://schemas.openxmlformats.org/drawingml/2006/main" noChangeArrowheads="1"/>
        </cdr:cNvSpPr>
      </cdr:nvSpPr>
      <cdr:spPr bwMode="auto">
        <a:xfrm xmlns:a="http://schemas.openxmlformats.org/drawingml/2006/main">
          <a:off x="1328471" y="-519865"/>
          <a:ext cx="57836" cy="304600"/>
        </a:xfrm>
        <a:prstGeom xmlns:a="http://schemas.openxmlformats.org/drawingml/2006/main" prst="rect">
          <a:avLst/>
        </a:prstGeom>
        <a:noFill xmlns:a="http://schemas.openxmlformats.org/drawingml/2006/main"/>
        <a:ln xmlns:a="http://schemas.openxmlformats.org/drawingml/2006/main" w="9525">
          <a:noFill/>
          <a:miter lim="800000"/>
          <a:headEnd/>
          <a:tailEnd/>
        </a:ln>
      </cdr:spPr>
    </cdr:sp>
  </cdr:relSizeAnchor>
  <cdr:relSizeAnchor xmlns:cdr="http://schemas.openxmlformats.org/drawingml/2006/chartDrawing">
    <cdr:from>
      <cdr:x>0.05944</cdr:x>
      <cdr:y>0.05539</cdr:y>
    </cdr:from>
    <cdr:to>
      <cdr:x>0.1786</cdr:x>
      <cdr:y>0.11309</cdr:y>
    </cdr:to>
    <cdr:sp macro="" textlink="">
      <cdr:nvSpPr>
        <cdr:cNvPr id="1026" name="Text Box 2"/>
        <cdr:cNvSpPr txBox="1">
          <a:spLocks xmlns:a="http://schemas.openxmlformats.org/drawingml/2006/main" noChangeArrowheads="1"/>
        </cdr:cNvSpPr>
      </cdr:nvSpPr>
      <cdr:spPr bwMode="auto">
        <a:xfrm xmlns:a="http://schemas.openxmlformats.org/drawingml/2006/main">
          <a:off x="684213" y="237867"/>
          <a:ext cx="1371600" cy="24776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27432" tIns="32004" rIns="0" bIns="0" anchor="t" upright="1">
          <a:spAutoFit/>
        </a:bodyPr>
        <a:lstStyle xmlns:a="http://schemas.openxmlformats.org/drawingml/2006/main"/>
        <a:p xmlns:a="http://schemas.openxmlformats.org/drawingml/2006/main">
          <a:pPr algn="ctr" rtl="0">
            <a:defRPr sz="1000"/>
          </a:pPr>
          <a:r>
            <a:rPr lang="de-DE" sz="1400" b="1" i="0" u="none" strike="noStrike" cap="all" baseline="0" dirty="0">
              <a:solidFill>
                <a:schemeClr val="accent1"/>
              </a:solidFill>
              <a:latin typeface="+mj-lt"/>
              <a:cs typeface="Arial"/>
            </a:rPr>
            <a:t>Group 1</a:t>
          </a:r>
        </a:p>
      </cdr:txBody>
    </cdr:sp>
  </cdr:relSizeAnchor>
  <cdr:relSizeAnchor xmlns:cdr="http://schemas.openxmlformats.org/drawingml/2006/chartDrawing">
    <cdr:from>
      <cdr:x>0.18604</cdr:x>
      <cdr:y>0.05539</cdr:y>
    </cdr:from>
    <cdr:to>
      <cdr:x>0.35898</cdr:x>
      <cdr:y>0.11309</cdr:y>
    </cdr:to>
    <cdr:sp macro="" textlink="">
      <cdr:nvSpPr>
        <cdr:cNvPr id="1027" name="Text Box 3"/>
        <cdr:cNvSpPr txBox="1">
          <a:spLocks xmlns:a="http://schemas.openxmlformats.org/drawingml/2006/main" noChangeArrowheads="1"/>
        </cdr:cNvSpPr>
      </cdr:nvSpPr>
      <cdr:spPr bwMode="auto">
        <a:xfrm xmlns:a="http://schemas.openxmlformats.org/drawingml/2006/main">
          <a:off x="2141537" y="237867"/>
          <a:ext cx="1990725" cy="24776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27432" tIns="32004" rIns="0" bIns="0" anchor="t" upright="1">
          <a:spAutoFit/>
        </a:bodyPr>
        <a:lstStyle xmlns:a="http://schemas.openxmlformats.org/drawingml/2006/main"/>
        <a:p xmlns:a="http://schemas.openxmlformats.org/drawingml/2006/main">
          <a:pPr algn="ctr" rtl="0">
            <a:defRPr sz="1000"/>
          </a:pPr>
          <a:r>
            <a:rPr lang="de-DE" sz="1400" b="1" i="0" u="none" strike="noStrike" cap="all" baseline="0" dirty="0">
              <a:solidFill>
                <a:schemeClr val="accent3"/>
              </a:solidFill>
              <a:latin typeface="+mj-lt"/>
              <a:cs typeface="Arial"/>
            </a:rPr>
            <a:t>Group 2</a:t>
          </a:r>
        </a:p>
      </cdr:txBody>
    </cdr:sp>
  </cdr:relSizeAnchor>
</c:userShapes>
</file>

<file path=ppt/drawings/drawing6.xml><?xml version="1.0" encoding="utf-8"?>
<c:userShapes xmlns:c="http://schemas.openxmlformats.org/drawingml/2006/chart">
  <cdr:relSizeAnchor xmlns:cdr="http://schemas.openxmlformats.org/drawingml/2006/chartDrawing">
    <cdr:from>
      <cdr:x>0.06771</cdr:x>
      <cdr:y>0.017</cdr:y>
    </cdr:from>
    <cdr:to>
      <cdr:x>0.35733</cdr:x>
      <cdr:y>0.07255</cdr:y>
    </cdr:to>
    <cdr:sp macro="" textlink="">
      <cdr:nvSpPr>
        <cdr:cNvPr id="1028" name="Text Box 4"/>
        <cdr:cNvSpPr txBox="1">
          <a:spLocks xmlns:a="http://schemas.openxmlformats.org/drawingml/2006/main" noChangeArrowheads="1"/>
        </cdr:cNvSpPr>
      </cdr:nvSpPr>
      <cdr:spPr bwMode="auto">
        <a:xfrm xmlns:a="http://schemas.openxmlformats.org/drawingml/2006/main">
          <a:off x="779462" y="73001"/>
          <a:ext cx="3333750" cy="238527"/>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18288" tIns="22860" rIns="0" bIns="0" anchor="t" upright="1">
          <a:spAutoFit/>
        </a:bodyPr>
        <a:lstStyle xmlns:a="http://schemas.openxmlformats.org/drawingml/2006/main"/>
        <a:p xmlns:a="http://schemas.openxmlformats.org/drawingml/2006/main">
          <a:pPr algn="ctr" rtl="0">
            <a:defRPr sz="1000"/>
          </a:pPr>
          <a:r>
            <a:rPr lang="de-DE" sz="1400" b="1" i="0" u="none" strike="noStrike" cap="all" baseline="0" dirty="0">
              <a:solidFill>
                <a:schemeClr val="accent1"/>
              </a:solidFill>
              <a:latin typeface="+mj-lt"/>
            </a:rPr>
            <a:t>Group 1</a:t>
          </a:r>
        </a:p>
      </cdr:txBody>
    </cdr:sp>
  </cdr:relSizeAnchor>
  <cdr:relSizeAnchor xmlns:cdr="http://schemas.openxmlformats.org/drawingml/2006/chartDrawing">
    <cdr:from>
      <cdr:x>0.35733</cdr:x>
      <cdr:y>0.017</cdr:y>
    </cdr:from>
    <cdr:to>
      <cdr:x>0.80168</cdr:x>
      <cdr:y>0.07255</cdr:y>
    </cdr:to>
    <cdr:sp macro="" textlink="">
      <cdr:nvSpPr>
        <cdr:cNvPr id="1029" name="Text Box 5"/>
        <cdr:cNvSpPr txBox="1">
          <a:spLocks xmlns:a="http://schemas.openxmlformats.org/drawingml/2006/main" noChangeArrowheads="1"/>
        </cdr:cNvSpPr>
      </cdr:nvSpPr>
      <cdr:spPr bwMode="auto">
        <a:xfrm xmlns:a="http://schemas.openxmlformats.org/drawingml/2006/main">
          <a:off x="4113211" y="73001"/>
          <a:ext cx="5114925" cy="238527"/>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18288" tIns="22860" rIns="0" bIns="0" anchor="t" upright="1">
          <a:spAutoFit/>
        </a:bodyPr>
        <a:lstStyle xmlns:a="http://schemas.openxmlformats.org/drawingml/2006/main"/>
        <a:p xmlns:a="http://schemas.openxmlformats.org/drawingml/2006/main">
          <a:pPr algn="ctr" rtl="0">
            <a:defRPr sz="1000"/>
          </a:pPr>
          <a:r>
            <a:rPr lang="de-DE" sz="1400" b="1" i="0" u="none" strike="noStrike" cap="all" baseline="0" dirty="0">
              <a:solidFill>
                <a:schemeClr val="accent3"/>
              </a:solidFill>
              <a:latin typeface="+mj-lt"/>
            </a:rPr>
            <a:t>Group 2</a:t>
          </a:r>
        </a:p>
      </cdr:txBody>
    </cdr:sp>
  </cdr:relSizeAnchor>
  <cdr:relSizeAnchor xmlns:cdr="http://schemas.openxmlformats.org/drawingml/2006/chartDrawing">
    <cdr:from>
      <cdr:x>0.80416</cdr:x>
      <cdr:y>0.017</cdr:y>
    </cdr:from>
    <cdr:to>
      <cdr:x>1</cdr:x>
      <cdr:y>0.07255</cdr:y>
    </cdr:to>
    <cdr:sp macro="" textlink="">
      <cdr:nvSpPr>
        <cdr:cNvPr id="1030" name="Text Box 6"/>
        <cdr:cNvSpPr txBox="1">
          <a:spLocks xmlns:a="http://schemas.openxmlformats.org/drawingml/2006/main" noChangeArrowheads="1"/>
        </cdr:cNvSpPr>
      </cdr:nvSpPr>
      <cdr:spPr bwMode="auto">
        <a:xfrm xmlns:a="http://schemas.openxmlformats.org/drawingml/2006/main">
          <a:off x="9256712" y="73001"/>
          <a:ext cx="2254250" cy="238527"/>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18288" tIns="22860" rIns="0" bIns="0" anchor="t" upright="1">
          <a:spAutoFit/>
        </a:bodyPr>
        <a:lstStyle xmlns:a="http://schemas.openxmlformats.org/drawingml/2006/main"/>
        <a:p xmlns:a="http://schemas.openxmlformats.org/drawingml/2006/main">
          <a:pPr algn="ctr" rtl="0">
            <a:defRPr sz="1000"/>
          </a:pPr>
          <a:r>
            <a:rPr lang="de-DE" sz="1400" b="1" i="0" u="none" strike="noStrike" cap="all" baseline="0" dirty="0">
              <a:solidFill>
                <a:schemeClr val="accent6"/>
              </a:solidFill>
              <a:latin typeface="+mj-lt"/>
            </a:rPr>
            <a:t>Group 3</a:t>
          </a:r>
        </a:p>
      </cdr:txBody>
    </cdr:sp>
  </cdr:relSizeAnchor>
</c:userShapes>
</file>

<file path=ppt/drawings/drawing7.xml><?xml version="1.0" encoding="utf-8"?>
<c:userShapes xmlns:c="http://schemas.openxmlformats.org/drawingml/2006/chart">
  <cdr:relSizeAnchor xmlns:cdr="http://schemas.openxmlformats.org/drawingml/2006/chartDrawing">
    <cdr:from>
      <cdr:x>0.14247</cdr:x>
      <cdr:y>0.827</cdr:y>
    </cdr:from>
    <cdr:to>
      <cdr:x>0.24388</cdr:x>
      <cdr:y>0.95075</cdr:y>
    </cdr:to>
    <cdr:sp macro="" textlink="">
      <cdr:nvSpPr>
        <cdr:cNvPr id="1025" name="Text Box 1"/>
        <cdr:cNvSpPr txBox="1">
          <a:spLocks xmlns:a="http://schemas.openxmlformats.org/drawingml/2006/main" noChangeArrowheads="1"/>
        </cdr:cNvSpPr>
      </cdr:nvSpPr>
      <cdr:spPr bwMode="auto">
        <a:xfrm xmlns:a="http://schemas.openxmlformats.org/drawingml/2006/main">
          <a:off x="1639955" y="3551293"/>
          <a:ext cx="1167319" cy="531405"/>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Overflow="clip" wrap="square" lIns="45720" tIns="36576" rIns="45720" bIns="0" anchor="t" upright="1"/>
        <a:lstStyle xmlns:a="http://schemas.openxmlformats.org/drawingml/2006/main"/>
        <a:p xmlns:a="http://schemas.openxmlformats.org/drawingml/2006/main">
          <a:pPr algn="ctr" rtl="0">
            <a:defRPr sz="1000"/>
          </a:pPr>
          <a:r>
            <a:rPr lang="de-DE" sz="1400" b="0" i="0" strike="noStrike" dirty="0">
              <a:solidFill>
                <a:schemeClr val="tx2"/>
              </a:solidFill>
              <a:latin typeface="+mn-lt"/>
              <a:cs typeface="Arial"/>
            </a:rPr>
            <a:t>Label A</a:t>
          </a:r>
        </a:p>
      </cdr:txBody>
    </cdr:sp>
  </cdr:relSizeAnchor>
  <cdr:relSizeAnchor xmlns:cdr="http://schemas.openxmlformats.org/drawingml/2006/chartDrawing">
    <cdr:from>
      <cdr:x>0.34782</cdr:x>
      <cdr:y>0.827</cdr:y>
    </cdr:from>
    <cdr:to>
      <cdr:x>0.45008</cdr:x>
      <cdr:y>0.95075</cdr:y>
    </cdr:to>
    <cdr:sp macro="" textlink="">
      <cdr:nvSpPr>
        <cdr:cNvPr id="1026" name="Text Box 2"/>
        <cdr:cNvSpPr txBox="1">
          <a:spLocks xmlns:a="http://schemas.openxmlformats.org/drawingml/2006/main" noChangeArrowheads="1"/>
        </cdr:cNvSpPr>
      </cdr:nvSpPr>
      <cdr:spPr bwMode="auto">
        <a:xfrm xmlns:a="http://schemas.openxmlformats.org/drawingml/2006/main">
          <a:off x="4003776" y="3551293"/>
          <a:ext cx="1177047" cy="531405"/>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Overflow="clip" wrap="square" lIns="45720" tIns="36576" rIns="45720" bIns="0" anchor="t" upright="1"/>
        <a:lstStyle xmlns:a="http://schemas.openxmlformats.org/drawingml/2006/main"/>
        <a:p xmlns:a="http://schemas.openxmlformats.org/drawingml/2006/main">
          <a:pPr algn="ctr" rtl="0">
            <a:defRPr sz="1000"/>
          </a:pPr>
          <a:r>
            <a:rPr lang="de-DE" sz="1400" b="0" i="0" strike="noStrike" dirty="0">
              <a:solidFill>
                <a:schemeClr val="tx2"/>
              </a:solidFill>
              <a:latin typeface="+mn-lt"/>
              <a:cs typeface="Arial"/>
            </a:rPr>
            <a:t>Label B</a:t>
          </a:r>
        </a:p>
      </cdr:txBody>
    </cdr:sp>
  </cdr:relSizeAnchor>
  <cdr:relSizeAnchor xmlns:cdr="http://schemas.openxmlformats.org/drawingml/2006/chartDrawing">
    <cdr:from>
      <cdr:x>0.55149</cdr:x>
      <cdr:y>0.827</cdr:y>
    </cdr:from>
    <cdr:to>
      <cdr:x>0.65205</cdr:x>
      <cdr:y>0.95075</cdr:y>
    </cdr:to>
    <cdr:sp macro="" textlink="">
      <cdr:nvSpPr>
        <cdr:cNvPr id="1027" name="Text Box 3"/>
        <cdr:cNvSpPr txBox="1">
          <a:spLocks xmlns:a="http://schemas.openxmlformats.org/drawingml/2006/main" noChangeArrowheads="1"/>
        </cdr:cNvSpPr>
      </cdr:nvSpPr>
      <cdr:spPr bwMode="auto">
        <a:xfrm xmlns:a="http://schemas.openxmlformats.org/drawingml/2006/main">
          <a:off x="6348142" y="3551293"/>
          <a:ext cx="1157591" cy="531405"/>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Overflow="clip" wrap="square" lIns="45720" tIns="36576" rIns="45720" bIns="0" anchor="t" upright="1"/>
        <a:lstStyle xmlns:a="http://schemas.openxmlformats.org/drawingml/2006/main"/>
        <a:p xmlns:a="http://schemas.openxmlformats.org/drawingml/2006/main">
          <a:pPr algn="ctr" rtl="0">
            <a:defRPr sz="1000"/>
          </a:pPr>
          <a:r>
            <a:rPr lang="de-DE" sz="1400" b="0" i="0" strike="noStrike" dirty="0">
              <a:solidFill>
                <a:schemeClr val="tx2"/>
              </a:solidFill>
              <a:latin typeface="+mn-lt"/>
              <a:cs typeface="Arial"/>
            </a:rPr>
            <a:t>Label C</a:t>
          </a:r>
        </a:p>
      </cdr:txBody>
    </cdr:sp>
  </cdr:relSizeAnchor>
  <cdr:relSizeAnchor xmlns:cdr="http://schemas.openxmlformats.org/drawingml/2006/chartDrawing">
    <cdr:from>
      <cdr:x>0.75515</cdr:x>
      <cdr:y>0.827</cdr:y>
    </cdr:from>
    <cdr:to>
      <cdr:x>0.85571</cdr:x>
      <cdr:y>0.95075</cdr:y>
    </cdr:to>
    <cdr:sp macro="" textlink="">
      <cdr:nvSpPr>
        <cdr:cNvPr id="1028" name="Text Box 4"/>
        <cdr:cNvSpPr txBox="1">
          <a:spLocks xmlns:a="http://schemas.openxmlformats.org/drawingml/2006/main" noChangeArrowheads="1"/>
        </cdr:cNvSpPr>
      </cdr:nvSpPr>
      <cdr:spPr bwMode="auto">
        <a:xfrm xmlns:a="http://schemas.openxmlformats.org/drawingml/2006/main">
          <a:off x="8692508" y="3551293"/>
          <a:ext cx="1157591" cy="531405"/>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Overflow="clip" wrap="square" lIns="45720" tIns="36576" rIns="45720" bIns="0" anchor="t" upright="1"/>
        <a:lstStyle xmlns:a="http://schemas.openxmlformats.org/drawingml/2006/main"/>
        <a:p xmlns:a="http://schemas.openxmlformats.org/drawingml/2006/main">
          <a:pPr algn="ctr" rtl="0">
            <a:defRPr sz="1000"/>
          </a:pPr>
          <a:r>
            <a:rPr lang="de-DE" sz="1400" b="0" i="0" strike="noStrike" dirty="0">
              <a:solidFill>
                <a:schemeClr val="tx2"/>
              </a:solidFill>
              <a:latin typeface="+mn-lt"/>
              <a:cs typeface="Arial"/>
            </a:rPr>
            <a:t>Label D</a:t>
          </a:r>
        </a:p>
      </cdr:txBody>
    </cdr:sp>
  </cdr:relSizeAnchor>
</c:userShapes>
</file>

<file path=ppt/drawings/drawing8.xml><?xml version="1.0" encoding="utf-8"?>
<c:userShapes xmlns:c="http://schemas.openxmlformats.org/drawingml/2006/chart">
  <cdr:relSizeAnchor xmlns:cdr="http://schemas.openxmlformats.org/drawingml/2006/chartDrawing">
    <cdr:from>
      <cdr:x>0.148</cdr:x>
      <cdr:y>0</cdr:y>
    </cdr:from>
    <cdr:to>
      <cdr:x>0.1545</cdr:x>
      <cdr:y>0.077</cdr:y>
    </cdr:to>
    <cdr:sp macro="" textlink="">
      <cdr:nvSpPr>
        <cdr:cNvPr id="1025" name="Text Box 1"/>
        <cdr:cNvSpPr txBox="1">
          <a:spLocks xmlns:a="http://schemas.openxmlformats.org/drawingml/2006/main" noChangeArrowheads="1"/>
        </cdr:cNvSpPr>
      </cdr:nvSpPr>
      <cdr:spPr bwMode="auto">
        <a:xfrm xmlns:a="http://schemas.openxmlformats.org/drawingml/2006/main">
          <a:off x="1311021" y="-602718"/>
          <a:ext cx="57579" cy="286036"/>
        </a:xfrm>
        <a:prstGeom xmlns:a="http://schemas.openxmlformats.org/drawingml/2006/main" prst="rect">
          <a:avLst/>
        </a:prstGeom>
        <a:noFill xmlns:a="http://schemas.openxmlformats.org/drawingml/2006/main"/>
        <a:ln xmlns:a="http://schemas.openxmlformats.org/drawingml/2006/main" w="9525">
          <a:noFill/>
          <a:miter lim="800000"/>
          <a:headEnd/>
          <a:tailEnd/>
        </a:ln>
      </cdr:spPr>
    </cdr:sp>
  </cdr:relSizeAnchor>
</c:userShapes>
</file>

<file path=ppt/drawings/drawing9.xml><?xml version="1.0" encoding="utf-8"?>
<c:userShapes xmlns:c="http://schemas.openxmlformats.org/drawingml/2006/chart">
  <cdr:relSizeAnchor xmlns:cdr="http://schemas.openxmlformats.org/drawingml/2006/chartDrawing">
    <cdr:from>
      <cdr:x>0</cdr:x>
      <cdr:y>0.446</cdr:y>
    </cdr:from>
    <cdr:to>
      <cdr:x>0.06108</cdr:x>
      <cdr:y>0.49438</cdr:y>
    </cdr:to>
    <cdr:sp macro="" textlink="">
      <cdr:nvSpPr>
        <cdr:cNvPr id="1027" name="Text Box 3"/>
        <cdr:cNvSpPr txBox="1">
          <a:spLocks xmlns:a="http://schemas.openxmlformats.org/drawingml/2006/main" noChangeArrowheads="1"/>
        </cdr:cNvSpPr>
      </cdr:nvSpPr>
      <cdr:spPr bwMode="auto">
        <a:xfrm xmlns:a="http://schemas.openxmlformats.org/drawingml/2006/main">
          <a:off x="0" y="1915207"/>
          <a:ext cx="703719" cy="207749"/>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none" lIns="0" tIns="22860" rIns="0" bIns="0" anchor="t" upright="1">
          <a:spAutoFit/>
        </a:bodyPr>
        <a:lstStyle xmlns:a="http://schemas.openxmlformats.org/drawingml/2006/main"/>
        <a:p xmlns:a="http://schemas.openxmlformats.org/drawingml/2006/main">
          <a:pPr algn="l" rtl="0">
            <a:defRPr sz="1000"/>
          </a:pPr>
          <a:r>
            <a:rPr lang="de-DE" sz="1200" b="1" i="0" strike="noStrike" cap="all" baseline="0" dirty="0">
              <a:solidFill>
                <a:schemeClr val="accent3"/>
              </a:solidFill>
              <a:latin typeface="+mj-lt"/>
              <a:cs typeface="Arial"/>
            </a:rPr>
            <a:t>Group 2</a:t>
          </a:r>
        </a:p>
      </cdr:txBody>
    </cdr:sp>
  </cdr:relSizeAnchor>
  <cdr:relSizeAnchor xmlns:cdr="http://schemas.openxmlformats.org/drawingml/2006/chartDrawing">
    <cdr:from>
      <cdr:x>0</cdr:x>
      <cdr:y>0.73</cdr:y>
    </cdr:from>
    <cdr:to>
      <cdr:x>0.05885</cdr:x>
      <cdr:y>0.77838</cdr:y>
    </cdr:to>
    <cdr:sp macro="" textlink="">
      <cdr:nvSpPr>
        <cdr:cNvPr id="1028" name="Text Box 4"/>
        <cdr:cNvSpPr txBox="1">
          <a:spLocks xmlns:a="http://schemas.openxmlformats.org/drawingml/2006/main" noChangeArrowheads="1"/>
        </cdr:cNvSpPr>
      </cdr:nvSpPr>
      <cdr:spPr bwMode="auto">
        <a:xfrm xmlns:a="http://schemas.openxmlformats.org/drawingml/2006/main">
          <a:off x="0" y="3134757"/>
          <a:ext cx="678071" cy="207749"/>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none" lIns="0" tIns="22860" rIns="0" bIns="0" anchor="t" upright="1">
          <a:spAutoFit/>
        </a:bodyPr>
        <a:lstStyle xmlns:a="http://schemas.openxmlformats.org/drawingml/2006/main"/>
        <a:p xmlns:a="http://schemas.openxmlformats.org/drawingml/2006/main">
          <a:pPr algn="l" rtl="0">
            <a:defRPr sz="1000"/>
          </a:pPr>
          <a:r>
            <a:rPr lang="de-DE" sz="1200" b="1" i="0" strike="noStrike" cap="all" baseline="0" dirty="0">
              <a:solidFill>
                <a:schemeClr val="accent1"/>
              </a:solidFill>
              <a:latin typeface="+mj-lt"/>
            </a:rPr>
            <a:t>Group 1</a:t>
          </a:r>
        </a:p>
      </cdr:txBody>
    </cdr:sp>
  </cdr:relSizeAnchor>
  <cdr:relSizeAnchor xmlns:cdr="http://schemas.openxmlformats.org/drawingml/2006/chartDrawing">
    <cdr:from>
      <cdr:x>0</cdr:x>
      <cdr:y>0.132</cdr:y>
    </cdr:from>
    <cdr:to>
      <cdr:x>0.06149</cdr:x>
      <cdr:y>0.18145</cdr:y>
    </cdr:to>
    <cdr:sp macro="" textlink="">
      <cdr:nvSpPr>
        <cdr:cNvPr id="1029" name="Text Box 5"/>
        <cdr:cNvSpPr txBox="1">
          <a:spLocks xmlns:a="http://schemas.openxmlformats.org/drawingml/2006/main" noChangeArrowheads="1"/>
        </cdr:cNvSpPr>
      </cdr:nvSpPr>
      <cdr:spPr bwMode="auto">
        <a:xfrm xmlns:a="http://schemas.openxmlformats.org/drawingml/2006/main">
          <a:off x="0" y="566833"/>
          <a:ext cx="708527" cy="212366"/>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none" lIns="0" tIns="27432" rIns="0" bIns="0" anchor="t" upright="1">
          <a:spAutoFit/>
        </a:bodyPr>
        <a:lstStyle xmlns:a="http://schemas.openxmlformats.org/drawingml/2006/main"/>
        <a:p xmlns:a="http://schemas.openxmlformats.org/drawingml/2006/main">
          <a:pPr algn="l" rtl="0">
            <a:defRPr sz="1000"/>
          </a:pPr>
          <a:r>
            <a:rPr lang="de-DE" sz="1200" b="1" i="0" strike="noStrike" cap="all" baseline="0" dirty="0">
              <a:solidFill>
                <a:schemeClr val="accent5"/>
              </a:solidFill>
              <a:latin typeface="+mj-lt"/>
              <a:cs typeface="Arial"/>
            </a:rPr>
            <a:t>Group 3</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828800" cy="212377"/>
          </a:xfrm>
          <a:prstGeom prst="rect">
            <a:avLst/>
          </a:prstGeom>
        </p:spPr>
        <p:txBody>
          <a:bodyPr vert="horz" lIns="91440" tIns="45720" rIns="91440" bIns="45720" rtlCol="0"/>
          <a:lstStyle>
            <a:lvl1pPr algn="l">
              <a:defRPr sz="800">
                <a:solidFill>
                  <a:schemeClr val="tx2"/>
                </a:solidFill>
                <a:latin typeface="+mn-lt"/>
              </a:defRPr>
            </a:lvl1pPr>
          </a:lstStyle>
          <a:p>
            <a:endParaRPr lang="en-US" dirty="0">
              <a:solidFill>
                <a:schemeClr val="tx2"/>
              </a:solidFill>
            </a:endParaRPr>
          </a:p>
        </p:txBody>
      </p:sp>
      <p:sp>
        <p:nvSpPr>
          <p:cNvPr id="3" name="Date Placeholder 2"/>
          <p:cNvSpPr>
            <a:spLocks noGrp="1"/>
          </p:cNvSpPr>
          <p:nvPr>
            <p:ph type="dt" idx="1"/>
          </p:nvPr>
        </p:nvSpPr>
        <p:spPr>
          <a:xfrm>
            <a:off x="5027613" y="0"/>
            <a:ext cx="1828800" cy="212377"/>
          </a:xfrm>
          <a:prstGeom prst="rect">
            <a:avLst/>
          </a:prstGeom>
        </p:spPr>
        <p:txBody>
          <a:bodyPr vert="horz" lIns="91440" tIns="45720" rIns="91440" bIns="45720" rtlCol="0"/>
          <a:lstStyle>
            <a:lvl1pPr algn="r">
              <a:defRPr sz="800">
                <a:solidFill>
                  <a:schemeClr val="tx2"/>
                </a:solidFill>
                <a:latin typeface="+mn-lt"/>
              </a:defRPr>
            </a:lvl1pPr>
          </a:lstStyle>
          <a:p>
            <a:fld id="{1DE7078C-3525-4C9B-BF62-C9FD13B9A875}" type="datetimeFigureOut">
              <a:rPr lang="en-US" smtClean="0"/>
              <a:pPr/>
              <a:t>9/19/2025</a:t>
            </a:fld>
            <a:endParaRPr lang="en-US" dirty="0"/>
          </a:p>
        </p:txBody>
      </p:sp>
      <p:sp>
        <p:nvSpPr>
          <p:cNvPr id="4" name="Slide Image Placeholder 3"/>
          <p:cNvSpPr>
            <a:spLocks noGrp="1" noRot="1" noChangeAspect="1"/>
          </p:cNvSpPr>
          <p:nvPr>
            <p:ph type="sldImg" idx="2"/>
          </p:nvPr>
        </p:nvSpPr>
        <p:spPr>
          <a:xfrm>
            <a:off x="50205" y="274505"/>
            <a:ext cx="4734172" cy="2662972"/>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50206" y="2999605"/>
            <a:ext cx="6751750" cy="586989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 y="8923817"/>
            <a:ext cx="6217919" cy="212377"/>
          </a:xfrm>
          <a:prstGeom prst="rect">
            <a:avLst/>
          </a:prstGeom>
        </p:spPr>
        <p:txBody>
          <a:bodyPr vert="horz" lIns="91440" tIns="45720" rIns="91440" bIns="45720" rtlCol="0" anchor="b"/>
          <a:lstStyle>
            <a:lvl1pPr algn="l">
              <a:defRPr sz="800">
                <a:solidFill>
                  <a:schemeClr val="tx2"/>
                </a:solidFill>
                <a:latin typeface="+mn-lt"/>
              </a:defRPr>
            </a:lvl1pPr>
          </a:lstStyle>
          <a:p>
            <a:endParaRPr lang="en-US" dirty="0">
              <a:solidFill>
                <a:schemeClr val="tx2"/>
              </a:solidFill>
            </a:endParaRPr>
          </a:p>
        </p:txBody>
      </p:sp>
      <p:sp>
        <p:nvSpPr>
          <p:cNvPr id="7" name="Slide Number Placeholder 6"/>
          <p:cNvSpPr>
            <a:spLocks noGrp="1"/>
          </p:cNvSpPr>
          <p:nvPr>
            <p:ph type="sldNum" sz="quarter" idx="5"/>
          </p:nvPr>
        </p:nvSpPr>
        <p:spPr>
          <a:xfrm>
            <a:off x="6399213" y="8917749"/>
            <a:ext cx="457200" cy="218445"/>
          </a:xfrm>
          <a:prstGeom prst="rect">
            <a:avLst/>
          </a:prstGeom>
        </p:spPr>
        <p:txBody>
          <a:bodyPr vert="horz" lIns="91440" tIns="45720" rIns="91440" bIns="45720" rtlCol="0" anchor="b"/>
          <a:lstStyle>
            <a:lvl1pPr algn="r">
              <a:defRPr sz="800">
                <a:solidFill>
                  <a:schemeClr val="tx2"/>
                </a:solidFill>
                <a:latin typeface="+mn-lt"/>
              </a:defRPr>
            </a:lvl1pPr>
          </a:lstStyle>
          <a:p>
            <a:fld id="{436E8A87-18DA-4CCE-A8C2-BDBC489258C6}" type="slidenum">
              <a:rPr lang="en-US" smtClean="0"/>
              <a:pPr/>
              <a:t>‹#›</a:t>
            </a:fld>
            <a:endParaRPr lang="en-US" dirty="0"/>
          </a:p>
        </p:txBody>
      </p:sp>
    </p:spTree>
    <p:extLst>
      <p:ext uri="{BB962C8B-B14F-4D97-AF65-F5344CB8AC3E}">
        <p14:creationId xmlns:p14="http://schemas.microsoft.com/office/powerpoint/2010/main" val="667384980"/>
      </p:ext>
    </p:extLst>
  </p:cSld>
  <p:clrMap bg1="lt1" tx1="dk1" bg2="lt2" tx2="dk2" accent1="accent1" accent2="accent2" accent3="accent3" accent4="accent4" accent5="accent5" accent6="accent6" hlink="hlink" folHlink="folHlink"/>
  <p:notesStyle>
    <a:lvl1pPr marL="112713" indent="-112713" algn="l" defTabSz="914400" rtl="0" eaLnBrk="1" latinLnBrk="0" hangingPunct="1">
      <a:buFont typeface="Arial" panose="020B0604020202020204" pitchFamily="34" charset="0"/>
      <a:buChar char="•"/>
      <a:defRPr sz="1100" kern="1200">
        <a:solidFill>
          <a:schemeClr val="tx1"/>
        </a:solidFill>
        <a:latin typeface="+mn-lt"/>
        <a:ea typeface="+mn-ea"/>
        <a:cs typeface="+mn-cs"/>
      </a:defRPr>
    </a:lvl1pPr>
    <a:lvl2pPr marL="230188" indent="-112713" algn="l">
      <a:buFont typeface="Arial" panose="020B0604020202020204" pitchFamily="34" charset="0"/>
      <a:buChar char="•"/>
      <a:defRPr sz="1000">
        <a:latin typeface="+mn-lt"/>
      </a:defRPr>
    </a:lvl2pPr>
    <a:lvl3pPr marL="342900" indent="-112713" algn="l">
      <a:buFont typeface="Arial" panose="020B0604020202020204" pitchFamily="34" charset="0"/>
      <a:buChar char="•"/>
      <a:defRPr sz="900">
        <a:latin typeface="+mn-lt"/>
      </a:defRPr>
    </a:lvl3pPr>
    <a:lvl4pPr marL="460375" indent="-112713" algn="l">
      <a:buFont typeface="Arial" panose="020B0604020202020204" pitchFamily="34" charset="0"/>
      <a:buChar char="•"/>
      <a:defRPr sz="800">
        <a:latin typeface="+mn-lt"/>
      </a:defRPr>
    </a:lvl4pPr>
    <a:lvl5pPr marL="571500" indent="-112713" algn="l">
      <a:buFont typeface="Arial" panose="020B0604020202020204" pitchFamily="34" charset="0"/>
      <a:buChar char="•"/>
      <a:defRPr sz="800">
        <a:latin typeface="+mn-lt"/>
      </a:defRPr>
    </a:lvl5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301.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304.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305.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306.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309.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310.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311.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312.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31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316.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317.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318.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319.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321.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322.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323.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324.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32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326.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327.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328.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329.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330.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331.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332.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333.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334.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3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2" Type="http://schemas.openxmlformats.org/officeDocument/2006/relationships/slide" Target="../slides/slide336.xml"/><Relationship Id="rId1" Type="http://schemas.openxmlformats.org/officeDocument/2006/relationships/notesMaster" Target="../notesMasters/notesMaster1.xm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337.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338.xml"/><Relationship Id="rId1" Type="http://schemas.openxmlformats.org/officeDocument/2006/relationships/notesMaster" Target="../notesMasters/notesMaster1.xml"/></Relationships>
</file>

<file path=ppt/notesSlides/_rels/notesSlide283.xml.rels><?xml version="1.0" encoding="UTF-8" standalone="yes"?>
<Relationships xmlns="http://schemas.openxmlformats.org/package/2006/relationships"><Relationship Id="rId2" Type="http://schemas.openxmlformats.org/officeDocument/2006/relationships/slide" Target="../slides/slide339.xml"/><Relationship Id="rId1" Type="http://schemas.openxmlformats.org/officeDocument/2006/relationships/notesMaster" Target="../notesMasters/notesMaster1.xml"/></Relationships>
</file>

<file path=ppt/notesSlides/_rels/notesSlide284.xml.rels><?xml version="1.0" encoding="UTF-8" standalone="yes"?>
<Relationships xmlns="http://schemas.openxmlformats.org/package/2006/relationships"><Relationship Id="rId2" Type="http://schemas.openxmlformats.org/officeDocument/2006/relationships/slide" Target="../slides/slide341.xml"/><Relationship Id="rId1" Type="http://schemas.openxmlformats.org/officeDocument/2006/relationships/notesMaster" Target="../notesMasters/notesMaster1.xml"/></Relationships>
</file>

<file path=ppt/notesSlides/_rels/notesSlide285.xml.rels><?xml version="1.0" encoding="UTF-8" standalone="yes"?>
<Relationships xmlns="http://schemas.openxmlformats.org/package/2006/relationships"><Relationship Id="rId2" Type="http://schemas.openxmlformats.org/officeDocument/2006/relationships/slide" Target="../slides/slide342.xml"/><Relationship Id="rId1" Type="http://schemas.openxmlformats.org/officeDocument/2006/relationships/notesMaster" Target="../notesMasters/notesMaster1.xml"/></Relationships>
</file>

<file path=ppt/notesSlides/_rels/notesSlide286.xml.rels><?xml version="1.0" encoding="UTF-8" standalone="yes"?>
<Relationships xmlns="http://schemas.openxmlformats.org/package/2006/relationships"><Relationship Id="rId2" Type="http://schemas.openxmlformats.org/officeDocument/2006/relationships/slide" Target="../slides/slide343.xml"/><Relationship Id="rId1" Type="http://schemas.openxmlformats.org/officeDocument/2006/relationships/notesMaster" Target="../notesMasters/notesMaster1.xml"/></Relationships>
</file>

<file path=ppt/notesSlides/_rels/notesSlide287.xml.rels><?xml version="1.0" encoding="UTF-8" standalone="yes"?>
<Relationships xmlns="http://schemas.openxmlformats.org/package/2006/relationships"><Relationship Id="rId2" Type="http://schemas.openxmlformats.org/officeDocument/2006/relationships/slide" Target="../slides/slide344.xml"/><Relationship Id="rId1" Type="http://schemas.openxmlformats.org/officeDocument/2006/relationships/notesMaster" Target="../notesMasters/notesMaster1.xml"/></Relationships>
</file>

<file path=ppt/notesSlides/_rels/notesSlide288.xml.rels><?xml version="1.0" encoding="UTF-8" standalone="yes"?>
<Relationships xmlns="http://schemas.openxmlformats.org/package/2006/relationships"><Relationship Id="rId2" Type="http://schemas.openxmlformats.org/officeDocument/2006/relationships/slide" Target="../slides/slide345.xml"/><Relationship Id="rId1" Type="http://schemas.openxmlformats.org/officeDocument/2006/relationships/notesMaster" Target="../notesMasters/notesMaster1.xml"/></Relationships>
</file>

<file path=ppt/notesSlides/_rels/notesSlide289.xml.rels><?xml version="1.0" encoding="UTF-8" standalone="yes"?>
<Relationships xmlns="http://schemas.openxmlformats.org/package/2006/relationships"><Relationship Id="rId2" Type="http://schemas.openxmlformats.org/officeDocument/2006/relationships/slide" Target="../slides/slide3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90.xml.rels><?xml version="1.0" encoding="UTF-8" standalone="yes"?>
<Relationships xmlns="http://schemas.openxmlformats.org/package/2006/relationships"><Relationship Id="rId2" Type="http://schemas.openxmlformats.org/officeDocument/2006/relationships/slide" Target="../slides/slide347.xml"/><Relationship Id="rId1" Type="http://schemas.openxmlformats.org/officeDocument/2006/relationships/notesMaster" Target="../notesMasters/notesMaster1.xml"/></Relationships>
</file>

<file path=ppt/notesSlides/_rels/notesSlide291.xml.rels><?xml version="1.0" encoding="UTF-8" standalone="yes"?>
<Relationships xmlns="http://schemas.openxmlformats.org/package/2006/relationships"><Relationship Id="rId2" Type="http://schemas.openxmlformats.org/officeDocument/2006/relationships/slide" Target="../slides/slide348.xml"/><Relationship Id="rId1" Type="http://schemas.openxmlformats.org/officeDocument/2006/relationships/notesMaster" Target="../notesMasters/notesMaster1.xml"/></Relationships>
</file>

<file path=ppt/notesSlides/_rels/notesSlide292.xml.rels><?xml version="1.0" encoding="UTF-8" standalone="yes"?>
<Relationships xmlns="http://schemas.openxmlformats.org/package/2006/relationships"><Relationship Id="rId2" Type="http://schemas.openxmlformats.org/officeDocument/2006/relationships/slide" Target="../slides/slide349.xml"/><Relationship Id="rId1" Type="http://schemas.openxmlformats.org/officeDocument/2006/relationships/notesMaster" Target="../notesMasters/notesMaster1.xml"/></Relationships>
</file>

<file path=ppt/notesSlides/_rels/notesSlide293.xml.rels><?xml version="1.0" encoding="UTF-8" standalone="yes"?>
<Relationships xmlns="http://schemas.openxmlformats.org/package/2006/relationships"><Relationship Id="rId2" Type="http://schemas.openxmlformats.org/officeDocument/2006/relationships/slide" Target="../slides/slide352.xml"/><Relationship Id="rId1" Type="http://schemas.openxmlformats.org/officeDocument/2006/relationships/notesMaster" Target="../notesMasters/notesMaster1.xml"/></Relationships>
</file>

<file path=ppt/notesSlides/_rels/notesSlide294.xml.rels><?xml version="1.0" encoding="UTF-8" standalone="yes"?>
<Relationships xmlns="http://schemas.openxmlformats.org/package/2006/relationships"><Relationship Id="rId2" Type="http://schemas.openxmlformats.org/officeDocument/2006/relationships/slide" Target="../slides/slide353.xml"/><Relationship Id="rId1" Type="http://schemas.openxmlformats.org/officeDocument/2006/relationships/notesMaster" Target="../notesMasters/notesMaster1.xml"/></Relationships>
</file>

<file path=ppt/notesSlides/_rels/notesSlide295.xml.rels><?xml version="1.0" encoding="UTF-8" standalone="yes"?>
<Relationships xmlns="http://schemas.openxmlformats.org/package/2006/relationships"><Relationship Id="rId2" Type="http://schemas.openxmlformats.org/officeDocument/2006/relationships/slide" Target="../slides/slide354.xml"/><Relationship Id="rId1" Type="http://schemas.openxmlformats.org/officeDocument/2006/relationships/notesMaster" Target="../notesMasters/notesMaster1.xml"/></Relationships>
</file>

<file path=ppt/notesSlides/_rels/notesSlide296.xml.rels><?xml version="1.0" encoding="UTF-8" standalone="yes"?>
<Relationships xmlns="http://schemas.openxmlformats.org/package/2006/relationships"><Relationship Id="rId2" Type="http://schemas.openxmlformats.org/officeDocument/2006/relationships/slide" Target="../slides/slide355.xml"/><Relationship Id="rId1" Type="http://schemas.openxmlformats.org/officeDocument/2006/relationships/notesMaster" Target="../notesMasters/notesMaster1.xml"/></Relationships>
</file>

<file path=ppt/notesSlides/_rels/notesSlide297.xml.rels><?xml version="1.0" encoding="UTF-8" standalone="yes"?>
<Relationships xmlns="http://schemas.openxmlformats.org/package/2006/relationships"><Relationship Id="rId2" Type="http://schemas.openxmlformats.org/officeDocument/2006/relationships/slide" Target="../slides/slide356.xml"/><Relationship Id="rId1" Type="http://schemas.openxmlformats.org/officeDocument/2006/relationships/notesMaster" Target="../notesMasters/notesMaster1.xml"/></Relationships>
</file>

<file path=ppt/notesSlides/_rels/notesSlide298.xml.rels><?xml version="1.0" encoding="UTF-8" standalone="yes"?>
<Relationships xmlns="http://schemas.openxmlformats.org/package/2006/relationships"><Relationship Id="rId2" Type="http://schemas.openxmlformats.org/officeDocument/2006/relationships/slide" Target="../slides/slide357.xml"/><Relationship Id="rId1" Type="http://schemas.openxmlformats.org/officeDocument/2006/relationships/notesMaster" Target="../notesMasters/notesMaster1.xml"/></Relationships>
</file>

<file path=ppt/notesSlides/_rels/notesSlide299.xml.rels><?xml version="1.0" encoding="UTF-8" standalone="yes"?>
<Relationships xmlns="http://schemas.openxmlformats.org/package/2006/relationships"><Relationship Id="rId2" Type="http://schemas.openxmlformats.org/officeDocument/2006/relationships/slide" Target="../slides/slide3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00.xml.rels><?xml version="1.0" encoding="UTF-8" standalone="yes"?>
<Relationships xmlns="http://schemas.openxmlformats.org/package/2006/relationships"><Relationship Id="rId2" Type="http://schemas.openxmlformats.org/officeDocument/2006/relationships/slide" Target="../slides/slide359.xml"/><Relationship Id="rId1" Type="http://schemas.openxmlformats.org/officeDocument/2006/relationships/notesMaster" Target="../notesMasters/notesMaster1.xml"/></Relationships>
</file>

<file path=ppt/notesSlides/_rels/notesSlide301.xml.rels><?xml version="1.0" encoding="UTF-8" standalone="yes"?>
<Relationships xmlns="http://schemas.openxmlformats.org/package/2006/relationships"><Relationship Id="rId2" Type="http://schemas.openxmlformats.org/officeDocument/2006/relationships/slide" Target="../slides/slide360.xml"/><Relationship Id="rId1" Type="http://schemas.openxmlformats.org/officeDocument/2006/relationships/notesMaster" Target="../notesMasters/notesMaster1.xml"/></Relationships>
</file>

<file path=ppt/notesSlides/_rels/notesSlide302.xml.rels><?xml version="1.0" encoding="UTF-8" standalone="yes"?>
<Relationships xmlns="http://schemas.openxmlformats.org/package/2006/relationships"><Relationship Id="rId2" Type="http://schemas.openxmlformats.org/officeDocument/2006/relationships/slide" Target="../slides/slide361.xml"/><Relationship Id="rId1" Type="http://schemas.openxmlformats.org/officeDocument/2006/relationships/notesMaster" Target="../notesMasters/notesMaster1.xml"/></Relationships>
</file>

<file path=ppt/notesSlides/_rels/notesSlide303.xml.rels><?xml version="1.0" encoding="UTF-8" standalone="yes"?>
<Relationships xmlns="http://schemas.openxmlformats.org/package/2006/relationships"><Relationship Id="rId2" Type="http://schemas.openxmlformats.org/officeDocument/2006/relationships/slide" Target="../slides/slide362.xml"/><Relationship Id="rId1" Type="http://schemas.openxmlformats.org/officeDocument/2006/relationships/notesMaster" Target="../notesMasters/notesMaster1.xml"/></Relationships>
</file>

<file path=ppt/notesSlides/_rels/notesSlide304.xml.rels><?xml version="1.0" encoding="UTF-8" standalone="yes"?>
<Relationships xmlns="http://schemas.openxmlformats.org/package/2006/relationships"><Relationship Id="rId2" Type="http://schemas.openxmlformats.org/officeDocument/2006/relationships/slide" Target="../slides/slide363.xml"/><Relationship Id="rId1" Type="http://schemas.openxmlformats.org/officeDocument/2006/relationships/notesMaster" Target="../notesMasters/notesMaster1.xml"/></Relationships>
</file>

<file path=ppt/notesSlides/_rels/notesSlide305.xml.rels><?xml version="1.0" encoding="UTF-8" standalone="yes"?>
<Relationships xmlns="http://schemas.openxmlformats.org/package/2006/relationships"><Relationship Id="rId2" Type="http://schemas.openxmlformats.org/officeDocument/2006/relationships/slide" Target="../slides/slide364.xml"/><Relationship Id="rId1" Type="http://schemas.openxmlformats.org/officeDocument/2006/relationships/notesMaster" Target="../notesMasters/notesMaster1.xml"/></Relationships>
</file>

<file path=ppt/notesSlides/_rels/notesSlide306.xml.rels><?xml version="1.0" encoding="UTF-8" standalone="yes"?>
<Relationships xmlns="http://schemas.openxmlformats.org/package/2006/relationships"><Relationship Id="rId2" Type="http://schemas.openxmlformats.org/officeDocument/2006/relationships/slide" Target="../slides/slide365.xml"/><Relationship Id="rId1" Type="http://schemas.openxmlformats.org/officeDocument/2006/relationships/notesMaster" Target="../notesMasters/notesMaster1.xml"/></Relationships>
</file>

<file path=ppt/notesSlides/_rels/notesSlide307.xml.rels><?xml version="1.0" encoding="UTF-8" standalone="yes"?>
<Relationships xmlns="http://schemas.openxmlformats.org/package/2006/relationships"><Relationship Id="rId2" Type="http://schemas.openxmlformats.org/officeDocument/2006/relationships/slide" Target="../slides/slide366.xml"/><Relationship Id="rId1" Type="http://schemas.openxmlformats.org/officeDocument/2006/relationships/notesMaster" Target="../notesMasters/notesMaster1.xml"/></Relationships>
</file>

<file path=ppt/notesSlides/_rels/notesSlide308.xml.rels><?xml version="1.0" encoding="UTF-8" standalone="yes"?>
<Relationships xmlns="http://schemas.openxmlformats.org/package/2006/relationships"><Relationship Id="rId2" Type="http://schemas.openxmlformats.org/officeDocument/2006/relationships/slide" Target="../slides/slide367.xml"/><Relationship Id="rId1" Type="http://schemas.openxmlformats.org/officeDocument/2006/relationships/notesMaster" Target="../notesMasters/notesMaster1.xml"/></Relationships>
</file>

<file path=ppt/notesSlides/_rels/notesSlide309.xml.rels><?xml version="1.0" encoding="UTF-8" standalone="yes"?>
<Relationships xmlns="http://schemas.openxmlformats.org/package/2006/relationships"><Relationship Id="rId2" Type="http://schemas.openxmlformats.org/officeDocument/2006/relationships/slide" Target="../slides/slide36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10.xml.rels><?xml version="1.0" encoding="UTF-8" standalone="yes"?>
<Relationships xmlns="http://schemas.openxmlformats.org/package/2006/relationships"><Relationship Id="rId2" Type="http://schemas.openxmlformats.org/officeDocument/2006/relationships/slide" Target="../slides/slide370.xml"/><Relationship Id="rId1" Type="http://schemas.openxmlformats.org/officeDocument/2006/relationships/notesMaster" Target="../notesMasters/notesMaster1.xml"/></Relationships>
</file>

<file path=ppt/notesSlides/_rels/notesSlide311.xml.rels><?xml version="1.0" encoding="UTF-8" standalone="yes"?>
<Relationships xmlns="http://schemas.openxmlformats.org/package/2006/relationships"><Relationship Id="rId2" Type="http://schemas.openxmlformats.org/officeDocument/2006/relationships/slide" Target="../slides/slide371.xml"/><Relationship Id="rId1" Type="http://schemas.openxmlformats.org/officeDocument/2006/relationships/notesMaster" Target="../notesMasters/notesMaster1.xml"/></Relationships>
</file>

<file path=ppt/notesSlides/_rels/notesSlide312.xml.rels><?xml version="1.0" encoding="UTF-8" standalone="yes"?>
<Relationships xmlns="http://schemas.openxmlformats.org/package/2006/relationships"><Relationship Id="rId2" Type="http://schemas.openxmlformats.org/officeDocument/2006/relationships/slide" Target="../slides/slide372.xml"/><Relationship Id="rId1" Type="http://schemas.openxmlformats.org/officeDocument/2006/relationships/notesMaster" Target="../notesMasters/notesMaster1.xml"/></Relationships>
</file>

<file path=ppt/notesSlides/_rels/notesSlide313.xml.rels><?xml version="1.0" encoding="UTF-8" standalone="yes"?>
<Relationships xmlns="http://schemas.openxmlformats.org/package/2006/relationships"><Relationship Id="rId2" Type="http://schemas.openxmlformats.org/officeDocument/2006/relationships/slide" Target="../slides/slide373.xml"/><Relationship Id="rId1" Type="http://schemas.openxmlformats.org/officeDocument/2006/relationships/notesMaster" Target="../notesMasters/notesMaster1.xml"/></Relationships>
</file>

<file path=ppt/notesSlides/_rels/notesSlide314.xml.rels><?xml version="1.0" encoding="UTF-8" standalone="yes"?>
<Relationships xmlns="http://schemas.openxmlformats.org/package/2006/relationships"><Relationship Id="rId2" Type="http://schemas.openxmlformats.org/officeDocument/2006/relationships/slide" Target="../slides/slide374.xml"/><Relationship Id="rId1" Type="http://schemas.openxmlformats.org/officeDocument/2006/relationships/notesMaster" Target="../notesMasters/notesMaster1.xml"/></Relationships>
</file>

<file path=ppt/notesSlides/_rels/notesSlide315.xml.rels><?xml version="1.0" encoding="UTF-8" standalone="yes"?>
<Relationships xmlns="http://schemas.openxmlformats.org/package/2006/relationships"><Relationship Id="rId2" Type="http://schemas.openxmlformats.org/officeDocument/2006/relationships/slide" Target="../slides/slide375.xml"/><Relationship Id="rId1" Type="http://schemas.openxmlformats.org/officeDocument/2006/relationships/notesMaster" Target="../notesMasters/notesMaster1.xml"/></Relationships>
</file>

<file path=ppt/notesSlides/_rels/notesSlide316.xml.rels><?xml version="1.0" encoding="UTF-8" standalone="yes"?>
<Relationships xmlns="http://schemas.openxmlformats.org/package/2006/relationships"><Relationship Id="rId2" Type="http://schemas.openxmlformats.org/officeDocument/2006/relationships/slide" Target="../slides/slide376.xml"/><Relationship Id="rId1" Type="http://schemas.openxmlformats.org/officeDocument/2006/relationships/notesMaster" Target="../notesMasters/notesMaster1.xml"/></Relationships>
</file>

<file path=ppt/notesSlides/_rels/notesSlide317.xml.rels><?xml version="1.0" encoding="UTF-8" standalone="yes"?>
<Relationships xmlns="http://schemas.openxmlformats.org/package/2006/relationships"><Relationship Id="rId2" Type="http://schemas.openxmlformats.org/officeDocument/2006/relationships/slide" Target="../slides/slide377.xml"/><Relationship Id="rId1" Type="http://schemas.openxmlformats.org/officeDocument/2006/relationships/notesMaster" Target="../notesMasters/notesMaster1.xml"/></Relationships>
</file>

<file path=ppt/notesSlides/_rels/notesSlide318.xml.rels><?xml version="1.0" encoding="UTF-8" standalone="yes"?>
<Relationships xmlns="http://schemas.openxmlformats.org/package/2006/relationships"><Relationship Id="rId2" Type="http://schemas.openxmlformats.org/officeDocument/2006/relationships/slide" Target="../slides/slide378.xml"/><Relationship Id="rId1" Type="http://schemas.openxmlformats.org/officeDocument/2006/relationships/notesMaster" Target="../notesMasters/notesMaster1.xml"/></Relationships>
</file>

<file path=ppt/notesSlides/_rels/notesSlide319.xml.rels><?xml version="1.0" encoding="UTF-8" standalone="yes"?>
<Relationships xmlns="http://schemas.openxmlformats.org/package/2006/relationships"><Relationship Id="rId2" Type="http://schemas.openxmlformats.org/officeDocument/2006/relationships/slide" Target="../slides/slide37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20.xml.rels><?xml version="1.0" encoding="UTF-8" standalone="yes"?>
<Relationships xmlns="http://schemas.openxmlformats.org/package/2006/relationships"><Relationship Id="rId2" Type="http://schemas.openxmlformats.org/officeDocument/2006/relationships/slide" Target="../slides/slide380.xml"/><Relationship Id="rId1" Type="http://schemas.openxmlformats.org/officeDocument/2006/relationships/notesMaster" Target="../notesMasters/notesMaster1.xml"/></Relationships>
</file>

<file path=ppt/notesSlides/_rels/notesSlide321.xml.rels><?xml version="1.0" encoding="UTF-8" standalone="yes"?>
<Relationships xmlns="http://schemas.openxmlformats.org/package/2006/relationships"><Relationship Id="rId2" Type="http://schemas.openxmlformats.org/officeDocument/2006/relationships/slide" Target="../slides/slide381.xml"/><Relationship Id="rId1" Type="http://schemas.openxmlformats.org/officeDocument/2006/relationships/notesMaster" Target="../notesMasters/notesMaster1.xml"/></Relationships>
</file>

<file path=ppt/notesSlides/_rels/notesSlide322.xml.rels><?xml version="1.0" encoding="UTF-8" standalone="yes"?>
<Relationships xmlns="http://schemas.openxmlformats.org/package/2006/relationships"><Relationship Id="rId2" Type="http://schemas.openxmlformats.org/officeDocument/2006/relationships/slide" Target="../slides/slide382.xml"/><Relationship Id="rId1" Type="http://schemas.openxmlformats.org/officeDocument/2006/relationships/notesMaster" Target="../notesMasters/notesMaster1.xml"/></Relationships>
</file>

<file path=ppt/notesSlides/_rels/notesSlide323.xml.rels><?xml version="1.0" encoding="UTF-8" standalone="yes"?>
<Relationships xmlns="http://schemas.openxmlformats.org/package/2006/relationships"><Relationship Id="rId2" Type="http://schemas.openxmlformats.org/officeDocument/2006/relationships/slide" Target="../slides/slide383.xml"/><Relationship Id="rId1" Type="http://schemas.openxmlformats.org/officeDocument/2006/relationships/notesMaster" Target="../notesMasters/notesMaster1.xml"/></Relationships>
</file>

<file path=ppt/notesSlides/_rels/notesSlide324.xml.rels><?xml version="1.0" encoding="UTF-8" standalone="yes"?>
<Relationships xmlns="http://schemas.openxmlformats.org/package/2006/relationships"><Relationship Id="rId2" Type="http://schemas.openxmlformats.org/officeDocument/2006/relationships/slide" Target="../slides/slide384.xml"/><Relationship Id="rId1" Type="http://schemas.openxmlformats.org/officeDocument/2006/relationships/notesMaster" Target="../notesMasters/notesMaster1.xml"/></Relationships>
</file>

<file path=ppt/notesSlides/_rels/notesSlide325.xml.rels><?xml version="1.0" encoding="UTF-8" standalone="yes"?>
<Relationships xmlns="http://schemas.openxmlformats.org/package/2006/relationships"><Relationship Id="rId2" Type="http://schemas.openxmlformats.org/officeDocument/2006/relationships/slide" Target="../slides/slide385.xml"/><Relationship Id="rId1" Type="http://schemas.openxmlformats.org/officeDocument/2006/relationships/notesMaster" Target="../notesMasters/notesMaster1.xml"/></Relationships>
</file>

<file path=ppt/notesSlides/_rels/notesSlide326.xml.rels><?xml version="1.0" encoding="UTF-8" standalone="yes"?>
<Relationships xmlns="http://schemas.openxmlformats.org/package/2006/relationships"><Relationship Id="rId2" Type="http://schemas.openxmlformats.org/officeDocument/2006/relationships/slide" Target="../slides/slide386.xml"/><Relationship Id="rId1" Type="http://schemas.openxmlformats.org/officeDocument/2006/relationships/notesMaster" Target="../notesMasters/notesMaster1.xml"/></Relationships>
</file>

<file path=ppt/notesSlides/_rels/notesSlide327.xml.rels><?xml version="1.0" encoding="UTF-8" standalone="yes"?>
<Relationships xmlns="http://schemas.openxmlformats.org/package/2006/relationships"><Relationship Id="rId2" Type="http://schemas.openxmlformats.org/officeDocument/2006/relationships/slide" Target="../slides/slide387.xml"/><Relationship Id="rId1" Type="http://schemas.openxmlformats.org/officeDocument/2006/relationships/notesMaster" Target="../notesMasters/notesMaster1.xml"/></Relationships>
</file>

<file path=ppt/notesSlides/_rels/notesSlide328.xml.rels><?xml version="1.0" encoding="UTF-8" standalone="yes"?>
<Relationships xmlns="http://schemas.openxmlformats.org/package/2006/relationships"><Relationship Id="rId2" Type="http://schemas.openxmlformats.org/officeDocument/2006/relationships/slide" Target="../slides/slide388.xml"/><Relationship Id="rId1" Type="http://schemas.openxmlformats.org/officeDocument/2006/relationships/notesMaster" Target="../notesMasters/notesMaster1.xml"/></Relationships>
</file>

<file path=ppt/notesSlides/_rels/notesSlide329.xml.rels><?xml version="1.0" encoding="UTF-8" standalone="yes"?>
<Relationships xmlns="http://schemas.openxmlformats.org/package/2006/relationships"><Relationship Id="rId2" Type="http://schemas.openxmlformats.org/officeDocument/2006/relationships/slide" Target="../slides/slide38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30.xml.rels><?xml version="1.0" encoding="UTF-8" standalone="yes"?>
<Relationships xmlns="http://schemas.openxmlformats.org/package/2006/relationships"><Relationship Id="rId2" Type="http://schemas.openxmlformats.org/officeDocument/2006/relationships/slide" Target="../slides/slide390.xml"/><Relationship Id="rId1" Type="http://schemas.openxmlformats.org/officeDocument/2006/relationships/notesMaster" Target="../notesMasters/notesMaster1.xml"/></Relationships>
</file>

<file path=ppt/notesSlides/_rels/notesSlide331.xml.rels><?xml version="1.0" encoding="UTF-8" standalone="yes"?>
<Relationships xmlns="http://schemas.openxmlformats.org/package/2006/relationships"><Relationship Id="rId2" Type="http://schemas.openxmlformats.org/officeDocument/2006/relationships/slide" Target="../slides/slide391.xml"/><Relationship Id="rId1" Type="http://schemas.openxmlformats.org/officeDocument/2006/relationships/notesMaster" Target="../notesMasters/notesMaster1.xml"/></Relationships>
</file>

<file path=ppt/notesSlides/_rels/notesSlide332.xml.rels><?xml version="1.0" encoding="UTF-8" standalone="yes"?>
<Relationships xmlns="http://schemas.openxmlformats.org/package/2006/relationships"><Relationship Id="rId2" Type="http://schemas.openxmlformats.org/officeDocument/2006/relationships/slide" Target="../slides/slide392.xml"/><Relationship Id="rId1" Type="http://schemas.openxmlformats.org/officeDocument/2006/relationships/notesMaster" Target="../notesMasters/notesMaster1.xml"/></Relationships>
</file>

<file path=ppt/notesSlides/_rels/notesSlide333.xml.rels><?xml version="1.0" encoding="UTF-8" standalone="yes"?>
<Relationships xmlns="http://schemas.openxmlformats.org/package/2006/relationships"><Relationship Id="rId2" Type="http://schemas.openxmlformats.org/officeDocument/2006/relationships/slide" Target="../slides/slide393.xml"/><Relationship Id="rId1" Type="http://schemas.openxmlformats.org/officeDocument/2006/relationships/notesMaster" Target="../notesMasters/notesMaster1.xml"/></Relationships>
</file>

<file path=ppt/notesSlides/_rels/notesSlide334.xml.rels><?xml version="1.0" encoding="UTF-8" standalone="yes"?>
<Relationships xmlns="http://schemas.openxmlformats.org/package/2006/relationships"><Relationship Id="rId2" Type="http://schemas.openxmlformats.org/officeDocument/2006/relationships/slide" Target="../slides/slide394.xml"/><Relationship Id="rId1" Type="http://schemas.openxmlformats.org/officeDocument/2006/relationships/notesMaster" Target="../notesMasters/notesMaster1.xml"/></Relationships>
</file>

<file path=ppt/notesSlides/_rels/notesSlide335.xml.rels><?xml version="1.0" encoding="UTF-8" standalone="yes"?>
<Relationships xmlns="http://schemas.openxmlformats.org/package/2006/relationships"><Relationship Id="rId2" Type="http://schemas.openxmlformats.org/officeDocument/2006/relationships/slide" Target="../slides/slide395.xml"/><Relationship Id="rId1" Type="http://schemas.openxmlformats.org/officeDocument/2006/relationships/notesMaster" Target="../notesMasters/notesMaster1.xml"/></Relationships>
</file>

<file path=ppt/notesSlides/_rels/notesSlide336.xml.rels><?xml version="1.0" encoding="UTF-8" standalone="yes"?>
<Relationships xmlns="http://schemas.openxmlformats.org/package/2006/relationships"><Relationship Id="rId2" Type="http://schemas.openxmlformats.org/officeDocument/2006/relationships/slide" Target="../slides/slide396.xml"/><Relationship Id="rId1" Type="http://schemas.openxmlformats.org/officeDocument/2006/relationships/notesMaster" Target="../notesMasters/notesMaster1.xml"/></Relationships>
</file>

<file path=ppt/notesSlides/_rels/notesSlide337.xml.rels><?xml version="1.0" encoding="UTF-8" standalone="yes"?>
<Relationships xmlns="http://schemas.openxmlformats.org/package/2006/relationships"><Relationship Id="rId2" Type="http://schemas.openxmlformats.org/officeDocument/2006/relationships/slide" Target="../slides/slide398.xml"/><Relationship Id="rId1" Type="http://schemas.openxmlformats.org/officeDocument/2006/relationships/notesMaster" Target="../notesMasters/notesMaster1.xml"/></Relationships>
</file>

<file path=ppt/notesSlides/_rels/notesSlide338.xml.rels><?xml version="1.0" encoding="UTF-8" standalone="yes"?>
<Relationships xmlns="http://schemas.openxmlformats.org/package/2006/relationships"><Relationship Id="rId2" Type="http://schemas.openxmlformats.org/officeDocument/2006/relationships/slide" Target="../slides/slide399.xml"/><Relationship Id="rId1" Type="http://schemas.openxmlformats.org/officeDocument/2006/relationships/notesMaster" Target="../notesMasters/notesMaster1.xml"/></Relationships>
</file>

<file path=ppt/notesSlides/_rels/notesSlide339.xml.rels><?xml version="1.0" encoding="UTF-8" standalone="yes"?>
<Relationships xmlns="http://schemas.openxmlformats.org/package/2006/relationships"><Relationship Id="rId2" Type="http://schemas.openxmlformats.org/officeDocument/2006/relationships/slide" Target="../slides/slide40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40.xml.rels><?xml version="1.0" encoding="UTF-8" standalone="yes"?>
<Relationships xmlns="http://schemas.openxmlformats.org/package/2006/relationships"><Relationship Id="rId2" Type="http://schemas.openxmlformats.org/officeDocument/2006/relationships/slide" Target="../slides/slide401.xml"/><Relationship Id="rId1" Type="http://schemas.openxmlformats.org/officeDocument/2006/relationships/notesMaster" Target="../notesMasters/notesMaster1.xml"/></Relationships>
</file>

<file path=ppt/notesSlides/_rels/notesSlide341.xml.rels><?xml version="1.0" encoding="UTF-8" standalone="yes"?>
<Relationships xmlns="http://schemas.openxmlformats.org/package/2006/relationships"><Relationship Id="rId2" Type="http://schemas.openxmlformats.org/officeDocument/2006/relationships/slide" Target="../slides/slide402.xml"/><Relationship Id="rId1" Type="http://schemas.openxmlformats.org/officeDocument/2006/relationships/notesMaster" Target="../notesMasters/notesMaster1.xml"/></Relationships>
</file>

<file path=ppt/notesSlides/_rels/notesSlide342.xml.rels><?xml version="1.0" encoding="UTF-8" standalone="yes"?>
<Relationships xmlns="http://schemas.openxmlformats.org/package/2006/relationships"><Relationship Id="rId2" Type="http://schemas.openxmlformats.org/officeDocument/2006/relationships/slide" Target="../slides/slide403.xml"/><Relationship Id="rId1" Type="http://schemas.openxmlformats.org/officeDocument/2006/relationships/notesMaster" Target="../notesMasters/notesMaster1.xml"/></Relationships>
</file>

<file path=ppt/notesSlides/_rels/notesSlide343.xml.rels><?xml version="1.0" encoding="UTF-8" standalone="yes"?>
<Relationships xmlns="http://schemas.openxmlformats.org/package/2006/relationships"><Relationship Id="rId2" Type="http://schemas.openxmlformats.org/officeDocument/2006/relationships/slide" Target="../slides/slide404.xml"/><Relationship Id="rId1" Type="http://schemas.openxmlformats.org/officeDocument/2006/relationships/notesMaster" Target="../notesMasters/notesMaster1.xml"/></Relationships>
</file>

<file path=ppt/notesSlides/_rels/notesSlide344.xml.rels><?xml version="1.0" encoding="UTF-8" standalone="yes"?>
<Relationships xmlns="http://schemas.openxmlformats.org/package/2006/relationships"><Relationship Id="rId2" Type="http://schemas.openxmlformats.org/officeDocument/2006/relationships/slide" Target="../slides/slide405.xml"/><Relationship Id="rId1" Type="http://schemas.openxmlformats.org/officeDocument/2006/relationships/notesMaster" Target="../notesMasters/notesMaster1.xml"/></Relationships>
</file>

<file path=ppt/notesSlides/_rels/notesSlide345.xml.rels><?xml version="1.0" encoding="UTF-8" standalone="yes"?>
<Relationships xmlns="http://schemas.openxmlformats.org/package/2006/relationships"><Relationship Id="rId2" Type="http://schemas.openxmlformats.org/officeDocument/2006/relationships/slide" Target="../slides/slide406.xml"/><Relationship Id="rId1" Type="http://schemas.openxmlformats.org/officeDocument/2006/relationships/notesMaster" Target="../notesMasters/notesMaster1.xml"/></Relationships>
</file>

<file path=ppt/notesSlides/_rels/notesSlide346.xml.rels><?xml version="1.0" encoding="UTF-8" standalone="yes"?>
<Relationships xmlns="http://schemas.openxmlformats.org/package/2006/relationships"><Relationship Id="rId2" Type="http://schemas.openxmlformats.org/officeDocument/2006/relationships/slide" Target="../slides/slide407.xml"/><Relationship Id="rId1" Type="http://schemas.openxmlformats.org/officeDocument/2006/relationships/notesMaster" Target="../notesMasters/notesMaster1.xml"/></Relationships>
</file>

<file path=ppt/notesSlides/_rels/notesSlide347.xml.rels><?xml version="1.0" encoding="UTF-8" standalone="yes"?>
<Relationships xmlns="http://schemas.openxmlformats.org/package/2006/relationships"><Relationship Id="rId2" Type="http://schemas.openxmlformats.org/officeDocument/2006/relationships/slide" Target="../slides/slide408.xml"/><Relationship Id="rId1" Type="http://schemas.openxmlformats.org/officeDocument/2006/relationships/notesMaster" Target="../notesMasters/notesMaster1.xml"/></Relationships>
</file>

<file path=ppt/notesSlides/_rels/notesSlide348.xml.rels><?xml version="1.0" encoding="UTF-8" standalone="yes"?>
<Relationships xmlns="http://schemas.openxmlformats.org/package/2006/relationships"><Relationship Id="rId2" Type="http://schemas.openxmlformats.org/officeDocument/2006/relationships/slide" Target="../slides/slide409.xml"/><Relationship Id="rId1" Type="http://schemas.openxmlformats.org/officeDocument/2006/relationships/notesMaster" Target="../notesMasters/notesMaster1.xml"/></Relationships>
</file>

<file path=ppt/notesSlides/_rels/notesSlide349.xml.rels><?xml version="1.0" encoding="UTF-8" standalone="yes"?>
<Relationships xmlns="http://schemas.openxmlformats.org/package/2006/relationships"><Relationship Id="rId2" Type="http://schemas.openxmlformats.org/officeDocument/2006/relationships/slide" Target="../slides/slide41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50.xml.rels><?xml version="1.0" encoding="UTF-8" standalone="yes"?>
<Relationships xmlns="http://schemas.openxmlformats.org/package/2006/relationships"><Relationship Id="rId2" Type="http://schemas.openxmlformats.org/officeDocument/2006/relationships/slide" Target="../slides/slide412.xml"/><Relationship Id="rId1" Type="http://schemas.openxmlformats.org/officeDocument/2006/relationships/notesMaster" Target="../notesMasters/notesMaster1.xml"/></Relationships>
</file>

<file path=ppt/notesSlides/_rels/notesSlide351.xml.rels><?xml version="1.0" encoding="UTF-8" standalone="yes"?>
<Relationships xmlns="http://schemas.openxmlformats.org/package/2006/relationships"><Relationship Id="rId2" Type="http://schemas.openxmlformats.org/officeDocument/2006/relationships/slide" Target="../slides/slide413.xml"/><Relationship Id="rId1" Type="http://schemas.openxmlformats.org/officeDocument/2006/relationships/notesMaster" Target="../notesMasters/notesMaster1.xml"/></Relationships>
</file>

<file path=ppt/notesSlides/_rels/notesSlide352.xml.rels><?xml version="1.0" encoding="UTF-8" standalone="yes"?>
<Relationships xmlns="http://schemas.openxmlformats.org/package/2006/relationships"><Relationship Id="rId2" Type="http://schemas.openxmlformats.org/officeDocument/2006/relationships/slide" Target="../slides/slide414.xml"/><Relationship Id="rId1" Type="http://schemas.openxmlformats.org/officeDocument/2006/relationships/notesMaster" Target="../notesMasters/notesMaster1.xml"/></Relationships>
</file>

<file path=ppt/notesSlides/_rels/notesSlide353.xml.rels><?xml version="1.0" encoding="UTF-8" standalone="yes"?>
<Relationships xmlns="http://schemas.openxmlformats.org/package/2006/relationships"><Relationship Id="rId2" Type="http://schemas.openxmlformats.org/officeDocument/2006/relationships/slide" Target="../slides/slide415.xml"/><Relationship Id="rId1" Type="http://schemas.openxmlformats.org/officeDocument/2006/relationships/notesMaster" Target="../notesMasters/notesMaster1.xml"/></Relationships>
</file>

<file path=ppt/notesSlides/_rels/notesSlide354.xml.rels><?xml version="1.0" encoding="UTF-8" standalone="yes"?>
<Relationships xmlns="http://schemas.openxmlformats.org/package/2006/relationships"><Relationship Id="rId2" Type="http://schemas.openxmlformats.org/officeDocument/2006/relationships/slide" Target="../slides/slide416.xml"/><Relationship Id="rId1" Type="http://schemas.openxmlformats.org/officeDocument/2006/relationships/notesMaster" Target="../notesMasters/notesMaster1.xml"/></Relationships>
</file>

<file path=ppt/notesSlides/_rels/notesSlide355.xml.rels><?xml version="1.0" encoding="UTF-8" standalone="yes"?>
<Relationships xmlns="http://schemas.openxmlformats.org/package/2006/relationships"><Relationship Id="rId2" Type="http://schemas.openxmlformats.org/officeDocument/2006/relationships/slide" Target="../slides/slide417.xml"/><Relationship Id="rId1" Type="http://schemas.openxmlformats.org/officeDocument/2006/relationships/notesMaster" Target="../notesMasters/notesMaster1.xml"/></Relationships>
</file>

<file path=ppt/notesSlides/_rels/notesSlide356.xml.rels><?xml version="1.0" encoding="UTF-8" standalone="yes"?>
<Relationships xmlns="http://schemas.openxmlformats.org/package/2006/relationships"><Relationship Id="rId2" Type="http://schemas.openxmlformats.org/officeDocument/2006/relationships/slide" Target="../slides/slide418.xml"/><Relationship Id="rId1" Type="http://schemas.openxmlformats.org/officeDocument/2006/relationships/notesMaster" Target="../notesMasters/notesMaster1.xml"/></Relationships>
</file>

<file path=ppt/notesSlides/_rels/notesSlide357.xml.rels><?xml version="1.0" encoding="UTF-8" standalone="yes"?>
<Relationships xmlns="http://schemas.openxmlformats.org/package/2006/relationships"><Relationship Id="rId2" Type="http://schemas.openxmlformats.org/officeDocument/2006/relationships/slide" Target="../slides/slide419.xml"/><Relationship Id="rId1" Type="http://schemas.openxmlformats.org/officeDocument/2006/relationships/notesMaster" Target="../notesMasters/notesMaster1.xml"/></Relationships>
</file>

<file path=ppt/notesSlides/_rels/notesSlide358.xml.rels><?xml version="1.0" encoding="UTF-8" standalone="yes"?>
<Relationships xmlns="http://schemas.openxmlformats.org/package/2006/relationships"><Relationship Id="rId2" Type="http://schemas.openxmlformats.org/officeDocument/2006/relationships/slide" Target="../slides/slide421.xml"/><Relationship Id="rId1" Type="http://schemas.openxmlformats.org/officeDocument/2006/relationships/notesMaster" Target="../notesMasters/notesMaster1.xml"/></Relationships>
</file>

<file path=ppt/notesSlides/_rels/notesSlide359.xml.rels><?xml version="1.0" encoding="UTF-8" standalone="yes"?>
<Relationships xmlns="http://schemas.openxmlformats.org/package/2006/relationships"><Relationship Id="rId2" Type="http://schemas.openxmlformats.org/officeDocument/2006/relationships/slide" Target="../slides/slide42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60.xml.rels><?xml version="1.0" encoding="UTF-8" standalone="yes"?>
<Relationships xmlns="http://schemas.openxmlformats.org/package/2006/relationships"><Relationship Id="rId2" Type="http://schemas.openxmlformats.org/officeDocument/2006/relationships/slide" Target="../slides/slide423.xml"/><Relationship Id="rId1" Type="http://schemas.openxmlformats.org/officeDocument/2006/relationships/notesMaster" Target="../notesMasters/notesMaster1.xml"/></Relationships>
</file>

<file path=ppt/notesSlides/_rels/notesSlide361.xml.rels><?xml version="1.0" encoding="UTF-8" standalone="yes"?>
<Relationships xmlns="http://schemas.openxmlformats.org/package/2006/relationships"><Relationship Id="rId2" Type="http://schemas.openxmlformats.org/officeDocument/2006/relationships/slide" Target="../slides/slide424.xml"/><Relationship Id="rId1" Type="http://schemas.openxmlformats.org/officeDocument/2006/relationships/notesMaster" Target="../notesMasters/notesMaster1.xml"/></Relationships>
</file>

<file path=ppt/notesSlides/_rels/notesSlide362.xml.rels><?xml version="1.0" encoding="UTF-8" standalone="yes"?>
<Relationships xmlns="http://schemas.openxmlformats.org/package/2006/relationships"><Relationship Id="rId2" Type="http://schemas.openxmlformats.org/officeDocument/2006/relationships/slide" Target="../slides/slide425.xml"/><Relationship Id="rId1" Type="http://schemas.openxmlformats.org/officeDocument/2006/relationships/notesMaster" Target="../notesMasters/notesMaster1.xml"/></Relationships>
</file>

<file path=ppt/notesSlides/_rels/notesSlide363.xml.rels><?xml version="1.0" encoding="UTF-8" standalone="yes"?>
<Relationships xmlns="http://schemas.openxmlformats.org/package/2006/relationships"><Relationship Id="rId2" Type="http://schemas.openxmlformats.org/officeDocument/2006/relationships/slide" Target="../slides/slide426.xml"/><Relationship Id="rId1" Type="http://schemas.openxmlformats.org/officeDocument/2006/relationships/notesMaster" Target="../notesMasters/notesMaster1.xml"/></Relationships>
</file>

<file path=ppt/notesSlides/_rels/notesSlide364.xml.rels><?xml version="1.0" encoding="UTF-8" standalone="yes"?>
<Relationships xmlns="http://schemas.openxmlformats.org/package/2006/relationships"><Relationship Id="rId2" Type="http://schemas.openxmlformats.org/officeDocument/2006/relationships/slide" Target="../slides/slide427.xml"/><Relationship Id="rId1" Type="http://schemas.openxmlformats.org/officeDocument/2006/relationships/notesMaster" Target="../notesMasters/notesMaster1.xml"/></Relationships>
</file>

<file path=ppt/notesSlides/_rels/notesSlide365.xml.rels><?xml version="1.0" encoding="UTF-8" standalone="yes"?>
<Relationships xmlns="http://schemas.openxmlformats.org/package/2006/relationships"><Relationship Id="rId2" Type="http://schemas.openxmlformats.org/officeDocument/2006/relationships/slide" Target="../slides/slide428.xml"/><Relationship Id="rId1" Type="http://schemas.openxmlformats.org/officeDocument/2006/relationships/notesMaster" Target="../notesMasters/notesMaster1.xml"/></Relationships>
</file>

<file path=ppt/notesSlides/_rels/notesSlide366.xml.rels><?xml version="1.0" encoding="UTF-8" standalone="yes"?>
<Relationships xmlns="http://schemas.openxmlformats.org/package/2006/relationships"><Relationship Id="rId2" Type="http://schemas.openxmlformats.org/officeDocument/2006/relationships/slide" Target="../slides/slide429.xml"/><Relationship Id="rId1" Type="http://schemas.openxmlformats.org/officeDocument/2006/relationships/notesMaster" Target="../notesMasters/notesMaster1.xml"/></Relationships>
</file>

<file path=ppt/notesSlides/_rels/notesSlide367.xml.rels><?xml version="1.0" encoding="UTF-8" standalone="yes"?>
<Relationships xmlns="http://schemas.openxmlformats.org/package/2006/relationships"><Relationship Id="rId2" Type="http://schemas.openxmlformats.org/officeDocument/2006/relationships/slide" Target="../slides/slide430.xml"/><Relationship Id="rId1" Type="http://schemas.openxmlformats.org/officeDocument/2006/relationships/notesMaster" Target="../notesMasters/notesMaster1.xml"/></Relationships>
</file>

<file path=ppt/notesSlides/_rels/notesSlide368.xml.rels><?xml version="1.0" encoding="UTF-8" standalone="yes"?>
<Relationships xmlns="http://schemas.openxmlformats.org/package/2006/relationships"><Relationship Id="rId2" Type="http://schemas.openxmlformats.org/officeDocument/2006/relationships/slide" Target="../slides/slide431.xml"/><Relationship Id="rId1" Type="http://schemas.openxmlformats.org/officeDocument/2006/relationships/notesMaster" Target="../notesMasters/notesMaster1.xml"/></Relationships>
</file>

<file path=ppt/notesSlides/_rels/notesSlide369.xml.rels><?xml version="1.0" encoding="UTF-8" standalone="yes"?>
<Relationships xmlns="http://schemas.openxmlformats.org/package/2006/relationships"><Relationship Id="rId2" Type="http://schemas.openxmlformats.org/officeDocument/2006/relationships/slide" Target="../slides/slide43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70.xml.rels><?xml version="1.0" encoding="UTF-8" standalone="yes"?>
<Relationships xmlns="http://schemas.openxmlformats.org/package/2006/relationships"><Relationship Id="rId2" Type="http://schemas.openxmlformats.org/officeDocument/2006/relationships/slide" Target="../slides/slide433.xml"/><Relationship Id="rId1" Type="http://schemas.openxmlformats.org/officeDocument/2006/relationships/notesMaster" Target="../notesMasters/notesMaster1.xml"/></Relationships>
</file>

<file path=ppt/notesSlides/_rels/notesSlide371.xml.rels><?xml version="1.0" encoding="UTF-8" standalone="yes"?>
<Relationships xmlns="http://schemas.openxmlformats.org/package/2006/relationships"><Relationship Id="rId2" Type="http://schemas.openxmlformats.org/officeDocument/2006/relationships/slide" Target="../slides/slide434.xml"/><Relationship Id="rId1" Type="http://schemas.openxmlformats.org/officeDocument/2006/relationships/notesMaster" Target="../notesMasters/notesMaster1.xml"/></Relationships>
</file>

<file path=ppt/notesSlides/_rels/notesSlide372.xml.rels><?xml version="1.0" encoding="UTF-8" standalone="yes"?>
<Relationships xmlns="http://schemas.openxmlformats.org/package/2006/relationships"><Relationship Id="rId2" Type="http://schemas.openxmlformats.org/officeDocument/2006/relationships/slide" Target="../slides/slide435.xml"/><Relationship Id="rId1" Type="http://schemas.openxmlformats.org/officeDocument/2006/relationships/notesMaster" Target="../notesMasters/notesMaster1.xml"/></Relationships>
</file>

<file path=ppt/notesSlides/_rels/notesSlide373.xml.rels><?xml version="1.0" encoding="UTF-8" standalone="yes"?>
<Relationships xmlns="http://schemas.openxmlformats.org/package/2006/relationships"><Relationship Id="rId2" Type="http://schemas.openxmlformats.org/officeDocument/2006/relationships/slide" Target="../slides/slide436.xml"/><Relationship Id="rId1" Type="http://schemas.openxmlformats.org/officeDocument/2006/relationships/notesMaster" Target="../notesMasters/notesMaster1.xml"/></Relationships>
</file>

<file path=ppt/notesSlides/_rels/notesSlide374.xml.rels><?xml version="1.0" encoding="UTF-8" standalone="yes"?>
<Relationships xmlns="http://schemas.openxmlformats.org/package/2006/relationships"><Relationship Id="rId2" Type="http://schemas.openxmlformats.org/officeDocument/2006/relationships/slide" Target="../slides/slide437.xml"/><Relationship Id="rId1" Type="http://schemas.openxmlformats.org/officeDocument/2006/relationships/notesMaster" Target="../notesMasters/notesMaster1.xml"/></Relationships>
</file>

<file path=ppt/notesSlides/_rels/notesSlide375.xml.rels><?xml version="1.0" encoding="UTF-8" standalone="yes"?>
<Relationships xmlns="http://schemas.openxmlformats.org/package/2006/relationships"><Relationship Id="rId2" Type="http://schemas.openxmlformats.org/officeDocument/2006/relationships/slide" Target="../slides/slide438.xml"/><Relationship Id="rId1" Type="http://schemas.openxmlformats.org/officeDocument/2006/relationships/notesMaster" Target="../notesMasters/notesMaster1.xml"/></Relationships>
</file>

<file path=ppt/notesSlides/_rels/notesSlide376.xml.rels><?xml version="1.0" encoding="UTF-8" standalone="yes"?>
<Relationships xmlns="http://schemas.openxmlformats.org/package/2006/relationships"><Relationship Id="rId2" Type="http://schemas.openxmlformats.org/officeDocument/2006/relationships/slide" Target="../slides/slide439.xml"/><Relationship Id="rId1" Type="http://schemas.openxmlformats.org/officeDocument/2006/relationships/notesMaster" Target="../notesMasters/notesMaster1.xml"/></Relationships>
</file>

<file path=ppt/notesSlides/_rels/notesSlide377.xml.rels><?xml version="1.0" encoding="UTF-8" standalone="yes"?>
<Relationships xmlns="http://schemas.openxmlformats.org/package/2006/relationships"><Relationship Id="rId2" Type="http://schemas.openxmlformats.org/officeDocument/2006/relationships/slide" Target="../slides/slide440.xml"/><Relationship Id="rId1" Type="http://schemas.openxmlformats.org/officeDocument/2006/relationships/notesMaster" Target="../notesMasters/notesMaster1.xml"/></Relationships>
</file>

<file path=ppt/notesSlides/_rels/notesSlide378.xml.rels><?xml version="1.0" encoding="UTF-8" standalone="yes"?>
<Relationships xmlns="http://schemas.openxmlformats.org/package/2006/relationships"><Relationship Id="rId2" Type="http://schemas.openxmlformats.org/officeDocument/2006/relationships/slide" Target="../slides/slide442.xml"/><Relationship Id="rId1" Type="http://schemas.openxmlformats.org/officeDocument/2006/relationships/notesMaster" Target="../notesMasters/notesMaster1.xml"/></Relationships>
</file>

<file path=ppt/notesSlides/_rels/notesSlide379.xml.rels><?xml version="1.0" encoding="UTF-8" standalone="yes"?>
<Relationships xmlns="http://schemas.openxmlformats.org/package/2006/relationships"><Relationship Id="rId2" Type="http://schemas.openxmlformats.org/officeDocument/2006/relationships/slide" Target="../slides/slide4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80.xml.rels><?xml version="1.0" encoding="UTF-8" standalone="yes"?>
<Relationships xmlns="http://schemas.openxmlformats.org/package/2006/relationships"><Relationship Id="rId2" Type="http://schemas.openxmlformats.org/officeDocument/2006/relationships/slide" Target="../slides/slide444.xml"/><Relationship Id="rId1" Type="http://schemas.openxmlformats.org/officeDocument/2006/relationships/notesMaster" Target="../notesMasters/notesMaster1.xml"/></Relationships>
</file>

<file path=ppt/notesSlides/_rels/notesSlide381.xml.rels><?xml version="1.0" encoding="UTF-8" standalone="yes"?>
<Relationships xmlns="http://schemas.openxmlformats.org/package/2006/relationships"><Relationship Id="rId2" Type="http://schemas.openxmlformats.org/officeDocument/2006/relationships/slide" Target="../slides/slide445.xml"/><Relationship Id="rId1" Type="http://schemas.openxmlformats.org/officeDocument/2006/relationships/notesMaster" Target="../notesMasters/notesMaster1.xml"/></Relationships>
</file>

<file path=ppt/notesSlides/_rels/notesSlide382.xml.rels><?xml version="1.0" encoding="UTF-8" standalone="yes"?>
<Relationships xmlns="http://schemas.openxmlformats.org/package/2006/relationships"><Relationship Id="rId2" Type="http://schemas.openxmlformats.org/officeDocument/2006/relationships/slide" Target="../slides/slide446.xml"/><Relationship Id="rId1" Type="http://schemas.openxmlformats.org/officeDocument/2006/relationships/notesMaster" Target="../notesMasters/notesMaster1.xml"/></Relationships>
</file>

<file path=ppt/notesSlides/_rels/notesSlide383.xml.rels><?xml version="1.0" encoding="UTF-8" standalone="yes"?>
<Relationships xmlns="http://schemas.openxmlformats.org/package/2006/relationships"><Relationship Id="rId2" Type="http://schemas.openxmlformats.org/officeDocument/2006/relationships/slide" Target="../slides/slide447.xml"/><Relationship Id="rId1" Type="http://schemas.openxmlformats.org/officeDocument/2006/relationships/notesMaster" Target="../notesMasters/notesMaster1.xml"/></Relationships>
</file>

<file path=ppt/notesSlides/_rels/notesSlide384.xml.rels><?xml version="1.0" encoding="UTF-8" standalone="yes"?>
<Relationships xmlns="http://schemas.openxmlformats.org/package/2006/relationships"><Relationship Id="rId2" Type="http://schemas.openxmlformats.org/officeDocument/2006/relationships/slide" Target="../slides/slide448.xml"/><Relationship Id="rId1" Type="http://schemas.openxmlformats.org/officeDocument/2006/relationships/notesMaster" Target="../notesMasters/notesMaster1.xml"/></Relationships>
</file>

<file path=ppt/notesSlides/_rels/notesSlide385.xml.rels><?xml version="1.0" encoding="UTF-8" standalone="yes"?>
<Relationships xmlns="http://schemas.openxmlformats.org/package/2006/relationships"><Relationship Id="rId2" Type="http://schemas.openxmlformats.org/officeDocument/2006/relationships/slide" Target="../slides/slide449.xml"/><Relationship Id="rId1" Type="http://schemas.openxmlformats.org/officeDocument/2006/relationships/notesMaster" Target="../notesMasters/notesMaster1.xml"/></Relationships>
</file>

<file path=ppt/notesSlides/_rels/notesSlide386.xml.rels><?xml version="1.0" encoding="UTF-8" standalone="yes"?>
<Relationships xmlns="http://schemas.openxmlformats.org/package/2006/relationships"><Relationship Id="rId2" Type="http://schemas.openxmlformats.org/officeDocument/2006/relationships/slide" Target="../slides/slide450.xml"/><Relationship Id="rId1" Type="http://schemas.openxmlformats.org/officeDocument/2006/relationships/notesMaster" Target="../notesMasters/notesMaster1.xml"/></Relationships>
</file>

<file path=ppt/notesSlides/_rels/notesSlide387.xml.rels><?xml version="1.0" encoding="UTF-8" standalone="yes"?>
<Relationships xmlns="http://schemas.openxmlformats.org/package/2006/relationships"><Relationship Id="rId2" Type="http://schemas.openxmlformats.org/officeDocument/2006/relationships/slide" Target="../slides/slide451.xml"/><Relationship Id="rId1" Type="http://schemas.openxmlformats.org/officeDocument/2006/relationships/notesMaster" Target="../notesMasters/notesMaster1.xml"/></Relationships>
</file>

<file path=ppt/notesSlides/_rels/notesSlide388.xml.rels><?xml version="1.0" encoding="UTF-8" standalone="yes"?>
<Relationships xmlns="http://schemas.openxmlformats.org/package/2006/relationships"><Relationship Id="rId2" Type="http://schemas.openxmlformats.org/officeDocument/2006/relationships/slide" Target="../slides/slide452.xml"/><Relationship Id="rId1" Type="http://schemas.openxmlformats.org/officeDocument/2006/relationships/notesMaster" Target="../notesMasters/notesMaster1.xml"/></Relationships>
</file>

<file path=ppt/notesSlides/_rels/notesSlide389.xml.rels><?xml version="1.0" encoding="UTF-8" standalone="yes"?>
<Relationships xmlns="http://schemas.openxmlformats.org/package/2006/relationships"><Relationship Id="rId2" Type="http://schemas.openxmlformats.org/officeDocument/2006/relationships/slide" Target="../slides/slide45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90.xml.rels><?xml version="1.0" encoding="UTF-8" standalone="yes"?>
<Relationships xmlns="http://schemas.openxmlformats.org/package/2006/relationships"><Relationship Id="rId2" Type="http://schemas.openxmlformats.org/officeDocument/2006/relationships/slide" Target="../slides/slide4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a:t>
            </a:fld>
            <a:endParaRPr lang="en-US" dirty="0"/>
          </a:p>
        </p:txBody>
      </p:sp>
    </p:spTree>
    <p:extLst>
      <p:ext uri="{BB962C8B-B14F-4D97-AF65-F5344CB8AC3E}">
        <p14:creationId xmlns:p14="http://schemas.microsoft.com/office/powerpoint/2010/main" val="5259597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29</a:t>
            </a:fld>
            <a:endParaRPr lang="en-US" dirty="0"/>
          </a:p>
        </p:txBody>
      </p:sp>
    </p:spTree>
    <p:extLst>
      <p:ext uri="{BB962C8B-B14F-4D97-AF65-F5344CB8AC3E}">
        <p14:creationId xmlns:p14="http://schemas.microsoft.com/office/powerpoint/2010/main" val="10514248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82573147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104056670"/>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58693532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062652442"/>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61464508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61898594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96361666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094205868"/>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7708150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5621331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32</a:t>
            </a:fld>
            <a:endParaRPr lang="en-US" dirty="0"/>
          </a:p>
        </p:txBody>
      </p:sp>
    </p:spTree>
    <p:extLst>
      <p:ext uri="{BB962C8B-B14F-4D97-AF65-F5344CB8AC3E}">
        <p14:creationId xmlns:p14="http://schemas.microsoft.com/office/powerpoint/2010/main" val="345760675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28356728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558687370"/>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07742703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29121001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47732877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42669922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19064089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97909544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100928554"/>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1354338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33</a:t>
            </a:fld>
            <a:endParaRPr lang="en-US" dirty="0"/>
          </a:p>
        </p:txBody>
      </p:sp>
    </p:spTree>
    <p:extLst>
      <p:ext uri="{BB962C8B-B14F-4D97-AF65-F5344CB8AC3E}">
        <p14:creationId xmlns:p14="http://schemas.microsoft.com/office/powerpoint/2010/main" val="78271606"/>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390688881"/>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06236640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74375722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626400638"/>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944453325"/>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397872080"/>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811390865"/>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2046186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053141219"/>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2720544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35</a:t>
            </a:fld>
            <a:endParaRPr lang="en-US" dirty="0"/>
          </a:p>
        </p:txBody>
      </p:sp>
    </p:spTree>
    <p:extLst>
      <p:ext uri="{BB962C8B-B14F-4D97-AF65-F5344CB8AC3E}">
        <p14:creationId xmlns:p14="http://schemas.microsoft.com/office/powerpoint/2010/main" val="2421872676"/>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827414090"/>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869597053"/>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549652063"/>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163824755"/>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06846698"/>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642114313"/>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40805291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307955175"/>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694205851"/>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4578863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36</a:t>
            </a:fld>
            <a:endParaRPr lang="en-US" dirty="0"/>
          </a:p>
        </p:txBody>
      </p:sp>
    </p:spTree>
    <p:extLst>
      <p:ext uri="{BB962C8B-B14F-4D97-AF65-F5344CB8AC3E}">
        <p14:creationId xmlns:p14="http://schemas.microsoft.com/office/powerpoint/2010/main" val="1541796019"/>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937523359"/>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191422829"/>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155066645"/>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26459639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72657160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623528434"/>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241032214"/>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382137547"/>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94413407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2040949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40</a:t>
            </a:fld>
            <a:endParaRPr lang="en-US" dirty="0"/>
          </a:p>
        </p:txBody>
      </p:sp>
    </p:spTree>
    <p:extLst>
      <p:ext uri="{BB962C8B-B14F-4D97-AF65-F5344CB8AC3E}">
        <p14:creationId xmlns:p14="http://schemas.microsoft.com/office/powerpoint/2010/main" val="3371404087"/>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740925795"/>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394820917"/>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060989009"/>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440255574"/>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267478267"/>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832402915"/>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772326926"/>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929924346"/>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913070896"/>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9308847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41</a:t>
            </a:fld>
            <a:endParaRPr lang="en-US" dirty="0"/>
          </a:p>
        </p:txBody>
      </p:sp>
    </p:spTree>
    <p:extLst>
      <p:ext uri="{BB962C8B-B14F-4D97-AF65-F5344CB8AC3E}">
        <p14:creationId xmlns:p14="http://schemas.microsoft.com/office/powerpoint/2010/main" val="104816007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157296413"/>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813183362"/>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00982730"/>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831085713"/>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824168293"/>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755908204"/>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826468727"/>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701217827"/>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064226525"/>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0772699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42</a:t>
            </a:fld>
            <a:endParaRPr lang="en-US" dirty="0"/>
          </a:p>
        </p:txBody>
      </p:sp>
    </p:spTree>
    <p:extLst>
      <p:ext uri="{BB962C8B-B14F-4D97-AF65-F5344CB8AC3E}">
        <p14:creationId xmlns:p14="http://schemas.microsoft.com/office/powerpoint/2010/main" val="3851437042"/>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774872015"/>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911983067"/>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098999009"/>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78447727"/>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418820030"/>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183914831"/>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01795300"/>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813125667"/>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83196646"/>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0113900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43</a:t>
            </a:fld>
            <a:endParaRPr lang="en-US" dirty="0"/>
          </a:p>
        </p:txBody>
      </p:sp>
    </p:spTree>
    <p:extLst>
      <p:ext uri="{BB962C8B-B14F-4D97-AF65-F5344CB8AC3E}">
        <p14:creationId xmlns:p14="http://schemas.microsoft.com/office/powerpoint/2010/main" val="1727682391"/>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593428054"/>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316814741"/>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85106170"/>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273535083"/>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781462512"/>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tabLst/>
              <a:defRPr/>
            </a:pPr>
            <a:r>
              <a:rPr lang="en-US" dirty="0"/>
              <a:t>Ensure the titles</a:t>
            </a:r>
            <a:r>
              <a:rPr lang="en-US" baseline="0" dirty="0"/>
              <a:t> are not duplicated. Please check the set of best practice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791199147"/>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tabLst/>
              <a:defRPr/>
            </a:pPr>
            <a:r>
              <a:rPr lang="en-US" dirty="0"/>
              <a:t>Ensure the titles</a:t>
            </a:r>
            <a:r>
              <a:rPr lang="en-US" baseline="0" dirty="0"/>
              <a:t> are not duplicated. Please check the set of best practice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68611741"/>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276278736"/>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tabLst/>
              <a:defRPr/>
            </a:pPr>
            <a:r>
              <a:rPr lang="en-US" dirty="0"/>
              <a:t>Ensure the titles</a:t>
            </a:r>
            <a:r>
              <a:rPr lang="en-US" baseline="0" dirty="0"/>
              <a:t> are not duplicated. Please check the set of best practice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70646827"/>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8937931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44</a:t>
            </a:fld>
            <a:endParaRPr lang="en-US" dirty="0"/>
          </a:p>
        </p:txBody>
      </p:sp>
    </p:spTree>
    <p:extLst>
      <p:ext uri="{BB962C8B-B14F-4D97-AF65-F5344CB8AC3E}">
        <p14:creationId xmlns:p14="http://schemas.microsoft.com/office/powerpoint/2010/main" val="2467006051"/>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pPr marL="112713" marR="0" lvl="0" indent="-112713" algn="l" defTabSz="914400" rtl="0" eaLnBrk="1" fontAlgn="auto" latinLnBrk="0" hangingPunct="1">
              <a:lnSpc>
                <a:spcPct val="100000"/>
              </a:lnSpc>
              <a:spcBef>
                <a:spcPts val="0"/>
              </a:spcBef>
              <a:spcAft>
                <a:spcPts val="0"/>
              </a:spcAft>
              <a:buClrTx/>
              <a:buSzTx/>
              <a:tabLst/>
              <a:defRP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640686166"/>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981024568"/>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178503922"/>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668198353"/>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165826740"/>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746723564"/>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176267631"/>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622334586"/>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686554827"/>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4313715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12</a:t>
            </a:fld>
            <a:endParaRPr lang="en-US" dirty="0"/>
          </a:p>
        </p:txBody>
      </p:sp>
    </p:spTree>
    <p:extLst>
      <p:ext uri="{BB962C8B-B14F-4D97-AF65-F5344CB8AC3E}">
        <p14:creationId xmlns:p14="http://schemas.microsoft.com/office/powerpoint/2010/main" val="12311891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45</a:t>
            </a:fld>
            <a:endParaRPr lang="en-US" dirty="0"/>
          </a:p>
        </p:txBody>
      </p:sp>
    </p:spTree>
    <p:extLst>
      <p:ext uri="{BB962C8B-B14F-4D97-AF65-F5344CB8AC3E}">
        <p14:creationId xmlns:p14="http://schemas.microsoft.com/office/powerpoint/2010/main" val="2996431335"/>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991993548"/>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873888634"/>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541483260"/>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870823521"/>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730392476"/>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805795696"/>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013742116"/>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44555119"/>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058686811"/>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9561637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46</a:t>
            </a:fld>
            <a:endParaRPr lang="en-US" dirty="0"/>
          </a:p>
        </p:txBody>
      </p:sp>
    </p:spTree>
    <p:extLst>
      <p:ext uri="{BB962C8B-B14F-4D97-AF65-F5344CB8AC3E}">
        <p14:creationId xmlns:p14="http://schemas.microsoft.com/office/powerpoint/2010/main" val="1404488817"/>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384320977"/>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563466066"/>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902157339"/>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219644389"/>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86676736"/>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613360655"/>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948569571"/>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099829457"/>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136363304"/>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7948691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47</a:t>
            </a:fld>
            <a:endParaRPr lang="en-US" dirty="0"/>
          </a:p>
        </p:txBody>
      </p:sp>
    </p:spTree>
    <p:extLst>
      <p:ext uri="{BB962C8B-B14F-4D97-AF65-F5344CB8AC3E}">
        <p14:creationId xmlns:p14="http://schemas.microsoft.com/office/powerpoint/2010/main" val="3490874144"/>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351589975"/>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060533122"/>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649923408"/>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09711119"/>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835535764"/>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421294070"/>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417318312"/>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028840205"/>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446191825"/>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0753041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48</a:t>
            </a:fld>
            <a:endParaRPr lang="en-US" dirty="0"/>
          </a:p>
        </p:txBody>
      </p:sp>
    </p:spTree>
    <p:extLst>
      <p:ext uri="{BB962C8B-B14F-4D97-AF65-F5344CB8AC3E}">
        <p14:creationId xmlns:p14="http://schemas.microsoft.com/office/powerpoint/2010/main" val="2065592968"/>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002758860"/>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322580180"/>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500919627"/>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376585629"/>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709544851"/>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3357114"/>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375379982"/>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918004923"/>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914675028"/>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678872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49</a:t>
            </a:fld>
            <a:endParaRPr lang="en-US" dirty="0"/>
          </a:p>
        </p:txBody>
      </p:sp>
    </p:spTree>
    <p:extLst>
      <p:ext uri="{BB962C8B-B14F-4D97-AF65-F5344CB8AC3E}">
        <p14:creationId xmlns:p14="http://schemas.microsoft.com/office/powerpoint/2010/main" val="4126329784"/>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234205835"/>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584938830"/>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710656958"/>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22624748"/>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924462926"/>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457726373"/>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129127024"/>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852233516"/>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968738973"/>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9105273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50</a:t>
            </a:fld>
            <a:endParaRPr lang="en-US" dirty="0"/>
          </a:p>
        </p:txBody>
      </p:sp>
    </p:spTree>
    <p:extLst>
      <p:ext uri="{BB962C8B-B14F-4D97-AF65-F5344CB8AC3E}">
        <p14:creationId xmlns:p14="http://schemas.microsoft.com/office/powerpoint/2010/main" val="682745816"/>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65641309"/>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388178989"/>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512483564"/>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198117471"/>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001950136"/>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008089598"/>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058567491"/>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932569290"/>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837116208"/>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9626231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51</a:t>
            </a:fld>
            <a:endParaRPr lang="en-US" dirty="0"/>
          </a:p>
        </p:txBody>
      </p:sp>
    </p:spTree>
    <p:extLst>
      <p:ext uri="{BB962C8B-B14F-4D97-AF65-F5344CB8AC3E}">
        <p14:creationId xmlns:p14="http://schemas.microsoft.com/office/powerpoint/2010/main" val="444883580"/>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002302942"/>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008884409"/>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188527693"/>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464834105"/>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128115069"/>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683666683"/>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495059152"/>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856416879"/>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697226737"/>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2582117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52</a:t>
            </a:fld>
            <a:endParaRPr lang="en-US" dirty="0"/>
          </a:p>
        </p:txBody>
      </p:sp>
    </p:spTree>
    <p:extLst>
      <p:ext uri="{BB962C8B-B14F-4D97-AF65-F5344CB8AC3E}">
        <p14:creationId xmlns:p14="http://schemas.microsoft.com/office/powerpoint/2010/main" val="3442445805"/>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108210667"/>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604465948"/>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681537206"/>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61093588"/>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543335455"/>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572346161"/>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171126208"/>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348278677"/>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780889232"/>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2397720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53</a:t>
            </a:fld>
            <a:endParaRPr lang="en-US" dirty="0"/>
          </a:p>
        </p:txBody>
      </p:sp>
    </p:spTree>
    <p:extLst>
      <p:ext uri="{BB962C8B-B14F-4D97-AF65-F5344CB8AC3E}">
        <p14:creationId xmlns:p14="http://schemas.microsoft.com/office/powerpoint/2010/main" val="3348277032"/>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703925936"/>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899458538"/>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011614540"/>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764432202"/>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158542795"/>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479346516"/>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046463758"/>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388567631"/>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272873406"/>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1693441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57</a:t>
            </a:fld>
            <a:endParaRPr lang="en-US" dirty="0"/>
          </a:p>
        </p:txBody>
      </p:sp>
    </p:spTree>
    <p:extLst>
      <p:ext uri="{BB962C8B-B14F-4D97-AF65-F5344CB8AC3E}">
        <p14:creationId xmlns:p14="http://schemas.microsoft.com/office/powerpoint/2010/main" val="3496440243"/>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209271441"/>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685797684"/>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63871560"/>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743739125"/>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225593742"/>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613581373"/>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351914159"/>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14094507"/>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926807876"/>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7673238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r>
              <a:rPr lang="en-US" dirty="0"/>
              <a:t>Including</a:t>
            </a:r>
            <a:r>
              <a:rPr lang="en-US" baseline="0" dirty="0"/>
              <a:t> Accenture word</a:t>
            </a:r>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17</a:t>
            </a:fld>
            <a:endParaRPr lang="en-US" dirty="0"/>
          </a:p>
        </p:txBody>
      </p:sp>
    </p:spTree>
    <p:extLst>
      <p:ext uri="{BB962C8B-B14F-4D97-AF65-F5344CB8AC3E}">
        <p14:creationId xmlns:p14="http://schemas.microsoft.com/office/powerpoint/2010/main" val="33109236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59</a:t>
            </a:fld>
            <a:endParaRPr lang="en-US" dirty="0"/>
          </a:p>
        </p:txBody>
      </p:sp>
    </p:spTree>
    <p:extLst>
      <p:ext uri="{BB962C8B-B14F-4D97-AF65-F5344CB8AC3E}">
        <p14:creationId xmlns:p14="http://schemas.microsoft.com/office/powerpoint/2010/main" val="2875189294"/>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233962799"/>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330095826"/>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456186823"/>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426851784"/>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605124930"/>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001070768"/>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412421539"/>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613352093"/>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827728977"/>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696809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61</a:t>
            </a:fld>
            <a:endParaRPr lang="en-US" dirty="0"/>
          </a:p>
        </p:txBody>
      </p:sp>
    </p:spTree>
    <p:extLst>
      <p:ext uri="{BB962C8B-B14F-4D97-AF65-F5344CB8AC3E}">
        <p14:creationId xmlns:p14="http://schemas.microsoft.com/office/powerpoint/2010/main" val="2333980028"/>
      </p:ext>
    </p:extLst>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322089323"/>
      </p:ext>
    </p:extLst>
  </p:cSld>
  <p:clrMapOvr>
    <a:masterClrMapping/>
  </p:clrMapOvr>
</p:notes>
</file>

<file path=ppt/notesSlides/notesSlide3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458444455"/>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647427112"/>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821439539"/>
      </p:ext>
    </p:extLst>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500464820"/>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027121706"/>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097000887"/>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561784763"/>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838136674"/>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0005036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62</a:t>
            </a:fld>
            <a:endParaRPr lang="en-US" dirty="0"/>
          </a:p>
        </p:txBody>
      </p:sp>
    </p:spTree>
    <p:extLst>
      <p:ext uri="{BB962C8B-B14F-4D97-AF65-F5344CB8AC3E}">
        <p14:creationId xmlns:p14="http://schemas.microsoft.com/office/powerpoint/2010/main" val="2377375295"/>
      </p:ext>
    </p:extLst>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70946904"/>
      </p:ext>
    </p:extLst>
  </p:cSld>
  <p:clrMapOvr>
    <a:masterClrMapping/>
  </p:clrMapOvr>
</p:notes>
</file>

<file path=ppt/notesSlides/notesSlide3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291542037"/>
      </p:ext>
    </p:extLst>
  </p:cSld>
  <p:clrMapOvr>
    <a:masterClrMapping/>
  </p:clrMapOvr>
</p:notes>
</file>

<file path=ppt/notesSlides/notesSlide3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601857195"/>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190861268"/>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687365455"/>
      </p:ext>
    </p:extLst>
  </p:cSld>
  <p:clrMapOvr>
    <a:masterClrMapping/>
  </p:clrMapOvr>
</p:notes>
</file>

<file path=ppt/notesSlides/notesSlide3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828672327"/>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634763751"/>
      </p:ext>
    </p:extLst>
  </p:cSld>
  <p:clrMapOvr>
    <a:masterClrMapping/>
  </p:clrMapOvr>
</p:notes>
</file>

<file path=ppt/notesSlides/notesSlide3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347877018"/>
      </p:ext>
    </p:extLst>
  </p:cSld>
  <p:clrMapOvr>
    <a:masterClrMapping/>
  </p:clrMapOvr>
</p:notes>
</file>

<file path=ppt/notesSlides/notesSlide3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101595872"/>
      </p:ext>
    </p:extLst>
  </p:cSld>
  <p:clrMapOvr>
    <a:masterClrMapping/>
  </p:clrMapOvr>
</p:notes>
</file>

<file path=ppt/notesSlides/notesSlide3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0835569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65</a:t>
            </a:fld>
            <a:endParaRPr lang="en-US" dirty="0"/>
          </a:p>
        </p:txBody>
      </p:sp>
    </p:spTree>
    <p:extLst>
      <p:ext uri="{BB962C8B-B14F-4D97-AF65-F5344CB8AC3E}">
        <p14:creationId xmlns:p14="http://schemas.microsoft.com/office/powerpoint/2010/main" val="1277459916"/>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673521943"/>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131241391"/>
      </p:ext>
    </p:extLst>
  </p:cSld>
  <p:clrMapOvr>
    <a:masterClrMapping/>
  </p:clrMapOvr>
</p:notes>
</file>

<file path=ppt/notesSlides/notesSlide3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612067047"/>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2453531"/>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67299553"/>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5392972"/>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026021274"/>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020719096"/>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553742244"/>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0201518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610035689"/>
      </p:ext>
    </p:extLst>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783328261"/>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112478269"/>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005968597"/>
      </p:ext>
    </p:extLst>
  </p:cSld>
  <p:clrMapOvr>
    <a:masterClrMapping/>
  </p:clrMapOvr>
</p:notes>
</file>

<file path=ppt/notesSlides/notesSlide3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451627397"/>
      </p:ext>
    </p:extLst>
  </p:cSld>
  <p:clrMapOvr>
    <a:masterClrMapping/>
  </p:clrMapOvr>
</p:notes>
</file>

<file path=ppt/notesSlides/notesSlide3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12156233"/>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902835886"/>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651125579"/>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99317479"/>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673143355"/>
      </p:ext>
    </p:extLst>
  </p:cSld>
  <p:clrMapOvr>
    <a:masterClrMapping/>
  </p:clrMapOvr>
</p:notes>
</file>

<file path=ppt/notesSlides/notesSlide3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1631226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776075906"/>
      </p:ext>
    </p:extLst>
  </p:cSld>
  <p:clrMapOvr>
    <a:masterClrMapping/>
  </p:clrMapOvr>
</p:notes>
</file>

<file path=ppt/notesSlides/notesSlide3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289027538"/>
      </p:ext>
    </p:extLst>
  </p:cSld>
  <p:clrMapOvr>
    <a:masterClrMapping/>
  </p:clrMapOvr>
</p:notes>
</file>

<file path=ppt/notesSlides/notesSlide3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800193721"/>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042480832"/>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579297977"/>
      </p:ext>
    </p:extLst>
  </p:cSld>
  <p:clrMapOvr>
    <a:masterClrMapping/>
  </p:clrMapOvr>
</p:notes>
</file>

<file path=ppt/notesSlides/notesSlide3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917091568"/>
      </p:ext>
    </p:extLst>
  </p:cSld>
  <p:clrMapOvr>
    <a:masterClrMapping/>
  </p:clrMapOvr>
</p:notes>
</file>

<file path=ppt/notesSlides/notesSlide3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670185102"/>
      </p:ext>
    </p:extLst>
  </p:cSld>
  <p:clrMapOvr>
    <a:masterClrMapping/>
  </p:clrMapOvr>
</p:notes>
</file>

<file path=ppt/notesSlides/notesSlide3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96533467"/>
      </p:ext>
    </p:extLst>
  </p:cSld>
  <p:clrMapOvr>
    <a:masterClrMapping/>
  </p:clrMapOvr>
</p:notes>
</file>

<file path=ppt/notesSlides/notesSlide3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60528017"/>
      </p:ext>
    </p:extLst>
  </p:cSld>
  <p:clrMapOvr>
    <a:masterClrMapping/>
  </p:clrMapOvr>
</p:notes>
</file>

<file path=ppt/notesSlides/notesSlide3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33819223"/>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01937227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27322122"/>
      </p:ext>
    </p:extLst>
  </p:cSld>
  <p:clrMapOvr>
    <a:masterClrMapping/>
  </p:clrMapOvr>
</p:notes>
</file>

<file path=ppt/notesSlides/notesSlide3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278707104"/>
      </p:ext>
    </p:extLst>
  </p:cSld>
  <p:clrMapOvr>
    <a:masterClrMapping/>
  </p:clrMapOvr>
</p:notes>
</file>

<file path=ppt/notesSlides/notesSlide3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003005354"/>
      </p:ext>
    </p:extLst>
  </p:cSld>
  <p:clrMapOvr>
    <a:masterClrMapping/>
  </p:clrMapOvr>
</p:notes>
</file>

<file path=ppt/notesSlides/notesSlide3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652272789"/>
      </p:ext>
    </p:extLst>
  </p:cSld>
  <p:clrMapOvr>
    <a:masterClrMapping/>
  </p:clrMapOvr>
</p:notes>
</file>

<file path=ppt/notesSlides/notesSlide3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402978246"/>
      </p:ext>
    </p:extLst>
  </p:cSld>
  <p:clrMapOvr>
    <a:masterClrMapping/>
  </p:clrMapOvr>
</p:notes>
</file>

<file path=ppt/notesSlides/notesSlide3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902882198"/>
      </p:ext>
    </p:extLst>
  </p:cSld>
  <p:clrMapOvr>
    <a:masterClrMapping/>
  </p:clrMapOvr>
</p:notes>
</file>

<file path=ppt/notesSlides/notesSlide3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959203087"/>
      </p:ext>
    </p:extLst>
  </p:cSld>
  <p:clrMapOvr>
    <a:masterClrMapping/>
  </p:clrMapOvr>
</p:notes>
</file>

<file path=ppt/notesSlides/notesSlide3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277373352"/>
      </p:ext>
    </p:extLst>
  </p:cSld>
  <p:clrMapOvr>
    <a:masterClrMapping/>
  </p:clrMapOvr>
</p:notes>
</file>

<file path=ppt/notesSlides/notesSlide3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944382890"/>
      </p:ext>
    </p:extLst>
  </p:cSld>
  <p:clrMapOvr>
    <a:masterClrMapping/>
  </p:clrMapOvr>
</p:notes>
</file>

<file path=ppt/notesSlides/notesSlide3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705524522"/>
      </p:ext>
    </p:extLst>
  </p:cSld>
  <p:clrMapOvr>
    <a:masterClrMapping/>
  </p:clrMapOvr>
</p:notes>
</file>

<file path=ppt/notesSlides/notesSlide3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01866413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706769006"/>
      </p:ext>
    </p:extLst>
  </p:cSld>
  <p:clrMapOvr>
    <a:masterClrMapping/>
  </p:clrMapOvr>
</p:notes>
</file>

<file path=ppt/notesSlides/notesSlide3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132805689"/>
      </p:ext>
    </p:extLst>
  </p:cSld>
  <p:clrMapOvr>
    <a:masterClrMapping/>
  </p:clrMapOvr>
</p:notes>
</file>

<file path=ppt/notesSlides/notesSlide3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062909832"/>
      </p:ext>
    </p:extLst>
  </p:cSld>
  <p:clrMapOvr>
    <a:masterClrMapping/>
  </p:clrMapOvr>
</p:notes>
</file>

<file path=ppt/notesSlides/notesSlide3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611670156"/>
      </p:ext>
    </p:extLst>
  </p:cSld>
  <p:clrMapOvr>
    <a:masterClrMapping/>
  </p:clrMapOvr>
</p:notes>
</file>

<file path=ppt/notesSlides/notesSlide3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977091239"/>
      </p:ext>
    </p:extLst>
  </p:cSld>
  <p:clrMapOvr>
    <a:masterClrMapping/>
  </p:clrMapOvr>
</p:notes>
</file>

<file path=ppt/notesSlides/notesSlide3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262689249"/>
      </p:ext>
    </p:extLst>
  </p:cSld>
  <p:clrMapOvr>
    <a:masterClrMapping/>
  </p:clrMapOvr>
</p:notes>
</file>

<file path=ppt/notesSlides/notesSlide3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712976094"/>
      </p:ext>
    </p:extLst>
  </p:cSld>
  <p:clrMapOvr>
    <a:masterClrMapping/>
  </p:clrMapOvr>
</p:notes>
</file>

<file path=ppt/notesSlides/notesSlide3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085196391"/>
      </p:ext>
    </p:extLst>
  </p:cSld>
  <p:clrMapOvr>
    <a:masterClrMapping/>
  </p:clrMapOvr>
</p:notes>
</file>

<file path=ppt/notesSlides/notesSlide3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955801814"/>
      </p:ext>
    </p:extLst>
  </p:cSld>
  <p:clrMapOvr>
    <a:masterClrMapping/>
  </p:clrMapOvr>
</p:notes>
</file>

<file path=ppt/notesSlides/notesSlide3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754533976"/>
      </p:ext>
    </p:extLst>
  </p:cSld>
  <p:clrMapOvr>
    <a:masterClrMapping/>
  </p:clrMapOvr>
</p:notes>
</file>

<file path=ppt/notesSlides/notesSlide3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84692592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026811921"/>
      </p:ext>
    </p:extLst>
  </p:cSld>
  <p:clrMapOvr>
    <a:masterClrMapping/>
  </p:clrMapOvr>
</p:notes>
</file>

<file path=ppt/notesSlides/notesSlide3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580477901"/>
      </p:ext>
    </p:extLst>
  </p:cSld>
  <p:clrMapOvr>
    <a:masterClrMapping/>
  </p:clrMapOvr>
</p:notes>
</file>

<file path=ppt/notesSlides/notesSlide3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707588362"/>
      </p:ext>
    </p:extLst>
  </p:cSld>
  <p:clrMapOvr>
    <a:masterClrMapping/>
  </p:clrMapOvr>
</p:notes>
</file>

<file path=ppt/notesSlides/notesSlide3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140688635"/>
      </p:ext>
    </p:extLst>
  </p:cSld>
  <p:clrMapOvr>
    <a:masterClrMapping/>
  </p:clrMapOvr>
</p:notes>
</file>

<file path=ppt/notesSlides/notesSlide3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111504147"/>
      </p:ext>
    </p:extLst>
  </p:cSld>
  <p:clrMapOvr>
    <a:masterClrMapping/>
  </p:clrMapOvr>
</p:notes>
</file>

<file path=ppt/notesSlides/notesSlide3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700528774"/>
      </p:ext>
    </p:extLst>
  </p:cSld>
  <p:clrMapOvr>
    <a:masterClrMapping/>
  </p:clrMapOvr>
</p:notes>
</file>

<file path=ppt/notesSlides/notesSlide3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788424748"/>
      </p:ext>
    </p:extLst>
  </p:cSld>
  <p:clrMapOvr>
    <a:masterClrMapping/>
  </p:clrMapOvr>
</p:notes>
</file>

<file path=ppt/notesSlides/notesSlide3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460665473"/>
      </p:ext>
    </p:extLst>
  </p:cSld>
  <p:clrMapOvr>
    <a:masterClrMapping/>
  </p:clrMapOvr>
</p:notes>
</file>

<file path=ppt/notesSlides/notesSlide3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468278683"/>
      </p:ext>
    </p:extLst>
  </p:cSld>
  <p:clrMapOvr>
    <a:masterClrMapping/>
  </p:clrMapOvr>
</p:notes>
</file>

<file path=ppt/notesSlides/notesSlide3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961990561"/>
      </p:ext>
    </p:extLst>
  </p:cSld>
  <p:clrMapOvr>
    <a:masterClrMapping/>
  </p:clrMapOvr>
</p:notes>
</file>

<file path=ppt/notesSlides/notesSlide3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09122455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203188172"/>
      </p:ext>
    </p:extLst>
  </p:cSld>
  <p:clrMapOvr>
    <a:masterClrMapping/>
  </p:clrMapOvr>
</p:notes>
</file>

<file path=ppt/notesSlides/notesSlide3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2703624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22</a:t>
            </a:fld>
            <a:endParaRPr lang="en-US" dirty="0"/>
          </a:p>
        </p:txBody>
      </p:sp>
    </p:spTree>
    <p:extLst>
      <p:ext uri="{BB962C8B-B14F-4D97-AF65-F5344CB8AC3E}">
        <p14:creationId xmlns:p14="http://schemas.microsoft.com/office/powerpoint/2010/main" val="50514958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28199490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7728465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98800741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8788166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88967377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98871962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64598723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03976746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60626254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8667436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r>
              <a:rPr lang="en-US" dirty="0"/>
              <a:t>Ensure the titles</a:t>
            </a:r>
            <a:r>
              <a:rPr lang="en-US" baseline="0" dirty="0"/>
              <a:t> are not duplicated. Please check the set of best practices.</a:t>
            </a:r>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24</a:t>
            </a:fld>
            <a:endParaRPr lang="en-US" dirty="0"/>
          </a:p>
        </p:txBody>
      </p:sp>
    </p:spTree>
    <p:extLst>
      <p:ext uri="{BB962C8B-B14F-4D97-AF65-F5344CB8AC3E}">
        <p14:creationId xmlns:p14="http://schemas.microsoft.com/office/powerpoint/2010/main" val="255955794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45108353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73765037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95732916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84894399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22878758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14258890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45405029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0521476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81842585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7992433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25</a:t>
            </a:fld>
            <a:endParaRPr lang="en-US" dirty="0"/>
          </a:p>
        </p:txBody>
      </p:sp>
    </p:spTree>
    <p:extLst>
      <p:ext uri="{BB962C8B-B14F-4D97-AF65-F5344CB8AC3E}">
        <p14:creationId xmlns:p14="http://schemas.microsoft.com/office/powerpoint/2010/main" val="210004902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42892830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13654203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24113476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29351893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56877075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32509089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81615274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44699401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36819645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5773748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26</a:t>
            </a:fld>
            <a:endParaRPr lang="en-US" dirty="0"/>
          </a:p>
        </p:txBody>
      </p:sp>
    </p:spTree>
    <p:extLst>
      <p:ext uri="{BB962C8B-B14F-4D97-AF65-F5344CB8AC3E}">
        <p14:creationId xmlns:p14="http://schemas.microsoft.com/office/powerpoint/2010/main" val="22716739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49405367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90614224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tabLst/>
              <a:defRPr/>
            </a:pPr>
            <a:r>
              <a:rPr lang="en-US" dirty="0"/>
              <a:t>Ensure the titles</a:t>
            </a:r>
            <a:r>
              <a:rPr lang="en-US" baseline="0" dirty="0"/>
              <a:t> are not duplicated. Please check the set of best practice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69078110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35967816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79233331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32578040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15941925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79482194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04549078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1546332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r>
              <a:rPr lang="en-US" dirty="0"/>
              <a:t> </a:t>
            </a:r>
          </a:p>
        </p:txBody>
      </p:sp>
      <p:sp>
        <p:nvSpPr>
          <p:cNvPr id="4" name="Slide Number Placeholder 3"/>
          <p:cNvSpPr>
            <a:spLocks noGrp="1"/>
          </p:cNvSpPr>
          <p:nvPr>
            <p:ph type="sldNum" sz="quarter" idx="5"/>
          </p:nvPr>
        </p:nvSpPr>
        <p:spPr/>
        <p:txBody>
          <a:bodyPr/>
          <a:lstStyle/>
          <a:p>
            <a:fld id="{436E8A87-18DA-4CCE-A8C2-BDBC489258C6}" type="slidenum">
              <a:rPr lang="en-US" smtClean="0"/>
              <a:pPr/>
              <a:t>27</a:t>
            </a:fld>
            <a:endParaRPr lang="en-US" dirty="0"/>
          </a:p>
        </p:txBody>
      </p:sp>
    </p:spTree>
    <p:extLst>
      <p:ext uri="{BB962C8B-B14F-4D97-AF65-F5344CB8AC3E}">
        <p14:creationId xmlns:p14="http://schemas.microsoft.com/office/powerpoint/2010/main" val="418027003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89223467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18119508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5013700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29028110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56961732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92488376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87100654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94086395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17969753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5676853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e titles</a:t>
            </a:r>
            <a:r>
              <a:rPr lang="en-US" baseline="0" dirty="0"/>
              <a:t> are not duplicated. Please check the set of best practices.</a:t>
            </a:r>
            <a:endParaRPr lang="en-US" dirty="0"/>
          </a:p>
          <a:p>
            <a:endParaRPr lang="en-US"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28</a:t>
            </a:fld>
            <a:endParaRPr lang="en-US" dirty="0"/>
          </a:p>
        </p:txBody>
      </p:sp>
    </p:spTree>
    <p:extLst>
      <p:ext uri="{BB962C8B-B14F-4D97-AF65-F5344CB8AC3E}">
        <p14:creationId xmlns:p14="http://schemas.microsoft.com/office/powerpoint/2010/main" val="266843779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22857085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90622071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30803856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84867376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19993420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62126791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252868007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140307987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30881700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4469053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alutation-GTS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dirty="0"/>
              <a:t>Insert Salutation</a:t>
            </a:r>
            <a:endParaRPr lang="en-US" dirty="0"/>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dirty="0"/>
              <a:t>Format Background… &gt; Picture or texture fill &gt; Set to one of the dark or mid gradient options</a:t>
            </a:r>
            <a:endParaRPr lang="en-US" noProof="0" dirty="0"/>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714558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C35EA4"/>
          </p15:clr>
        </p15:guide>
        <p15:guide id="2" pos="3840" userDrawn="1">
          <p15:clr>
            <a:srgbClr val="C35EA4"/>
          </p15:clr>
        </p15:guide>
        <p15:guide id="3" orient="horz" pos="3608"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Black6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12688DA9-25EC-4AC3-AD0E-0CC139E11679}"/>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3" name="TextBox 2">
            <a:extLst>
              <a:ext uri="{FF2B5EF4-FFF2-40B4-BE49-F238E27FC236}">
                <a16:creationId xmlns:a16="http://schemas.microsoft.com/office/drawing/2014/main" id="{E9464481-354D-44BF-B8B2-E0AFA2830FD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grpSp>
        <p:nvGrpSpPr>
          <p:cNvPr id="9" name="Logo_WH" descr="Accenture logo in white">
            <a:extLst>
              <a:ext uri="{FF2B5EF4-FFF2-40B4-BE49-F238E27FC236}">
                <a16:creationId xmlns:a16="http://schemas.microsoft.com/office/drawing/2014/main" id="{BA79480B-BE6F-49EC-829D-D8AF858ABFD8}"/>
              </a:ext>
            </a:extLst>
          </p:cNvPr>
          <p:cNvGrpSpPr>
            <a:grpSpLocks noChangeAspect="1"/>
          </p:cNvGrpSpPr>
          <p:nvPr userDrawn="1"/>
        </p:nvGrpSpPr>
        <p:grpSpPr bwMode="black">
          <a:xfrm>
            <a:off x="381001" y="5815652"/>
            <a:ext cx="1883664" cy="496247"/>
            <a:chOff x="1561" y="187"/>
            <a:chExt cx="4536" cy="1195"/>
          </a:xfrm>
        </p:grpSpPr>
        <p:sp>
          <p:nvSpPr>
            <p:cNvPr id="10" name="Freeform 5">
              <a:extLst>
                <a:ext uri="{FF2B5EF4-FFF2-40B4-BE49-F238E27FC236}">
                  <a16:creationId xmlns:a16="http://schemas.microsoft.com/office/drawing/2014/main" id="{80D6DAB6-FE72-4647-9B94-83468BA6B4AE}"/>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6961114-35B1-4F8E-96CC-0CA3D18133FD}"/>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605010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Black7 Acquisition+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sp>
        <p:nvSpPr>
          <p:cNvPr id="13" name="Picture Placeholder 11" descr="Image placeholder for client logo">
            <a:extLst>
              <a:ext uri="{FF2B5EF4-FFF2-40B4-BE49-F238E27FC236}">
                <a16:creationId xmlns:a16="http://schemas.microsoft.com/office/drawing/2014/main" id="{9B6BF12D-A981-4F4E-B8F1-FF12DC840F22}"/>
              </a:ext>
            </a:extLst>
          </p:cNvPr>
          <p:cNvSpPr>
            <a:spLocks noGrp="1"/>
          </p:cNvSpPr>
          <p:nvPr>
            <p:ph type="pic" sz="quarter" idx="13" hasCustomPrompt="1"/>
          </p:nvPr>
        </p:nvSpPr>
        <p:spPr>
          <a:xfrm>
            <a:off x="381001" y="5326815"/>
            <a:ext cx="1884233" cy="985085"/>
          </a:xfrm>
        </p:spPr>
        <p:txBody>
          <a:bodyPr anchor="ctr"/>
          <a:lstStyle>
            <a:lvl1pPr algn="ctr">
              <a:buFont typeface="Arial" panose="020B0604020202020204" pitchFamily="34" charset="0"/>
              <a:buNone/>
              <a:defRPr sz="1400"/>
            </a:lvl1pPr>
          </a:lstStyle>
          <a:p>
            <a:r>
              <a:rPr lang="en-GB" dirty="0"/>
              <a:t>Add client logo</a:t>
            </a:r>
            <a:endParaRPr lang="en-US" dirty="0"/>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userDrawn="1"/>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4430059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White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6" name="TextBox 5">
            <a:extLst>
              <a:ext uri="{FF2B5EF4-FFF2-40B4-BE49-F238E27FC236}">
                <a16:creationId xmlns:a16="http://schemas.microsoft.com/office/drawing/2014/main" id="{AB818ECE-32D7-4F71-A6CA-1144DA38ED6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userDrawn="1"/>
        </p:nvGrpSpPr>
        <p:grpSpPr bwMode="auto">
          <a:xfrm>
            <a:off x="9147183" y="5815542"/>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CAEDE4E-DAF3-4FBC-BAEB-E0C26C20EB9D}"/>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553992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hite2 Image">
    <p:bg>
      <p:bgPr>
        <a:solidFill>
          <a:schemeClr val="tx1"/>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solidFill>
                  <a:schemeClr val="bg1"/>
                </a:solidFill>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bg1"/>
                </a:solidFill>
              </a:defRPr>
            </a:lvl1pPr>
          </a:lstStyle>
          <a:p>
            <a:r>
              <a:rPr lang="en-US" dirty="0"/>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bg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endParaRPr lang="en-US" dirty="0">
              <a:solidFill>
                <a:schemeClr val="bg1"/>
              </a:solidFill>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pic>
        <p:nvPicPr>
          <p:cNvPr id="10" name="Graphic 9" descr="Accenture Greater Than symbol in purple">
            <a:extLst>
              <a:ext uri="{FF2B5EF4-FFF2-40B4-BE49-F238E27FC236}">
                <a16:creationId xmlns:a16="http://schemas.microsoft.com/office/drawing/2014/main" id="{299A6723-3F53-4981-840E-D1D62874F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5607811"/>
            <a:ext cx="641502" cy="704088"/>
          </a:xfrm>
          <a:prstGeom prst="rect">
            <a:avLst/>
          </a:prstGeom>
        </p:spPr>
      </p:pic>
    </p:spTree>
    <p:extLst>
      <p:ext uri="{BB962C8B-B14F-4D97-AF65-F5344CB8AC3E}">
        <p14:creationId xmlns:p14="http://schemas.microsoft.com/office/powerpoint/2010/main" val="401956214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White3 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19749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519641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White4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771526"/>
            <a:ext cx="1884233" cy="985085"/>
          </a:xfrm>
        </p:spPr>
        <p:txBody>
          <a:bodyPr anchor="ctr"/>
          <a:lstStyle>
            <a:lvl1pPr algn="ctr">
              <a:buNone/>
              <a:defRPr sz="1400"/>
            </a:lvl1pPr>
          </a:lstStyle>
          <a:p>
            <a:r>
              <a:rPr lang="en-GB" dirty="0"/>
              <a:t>Add client logo</a:t>
            </a:r>
            <a:endParaRPr lang="en-US" dirty="0"/>
          </a:p>
        </p:txBody>
      </p:sp>
      <p:grpSp>
        <p:nvGrpSpPr>
          <p:cNvPr id="9" name="Logo_BL" descr="Accenture logo in black and purple">
            <a:extLst>
              <a:ext uri="{FF2B5EF4-FFF2-40B4-BE49-F238E27FC236}">
                <a16:creationId xmlns:a16="http://schemas.microsoft.com/office/drawing/2014/main" id="{1C5BF709-3623-4620-9FF0-B8F8076A8BE3}"/>
              </a:ext>
            </a:extLst>
          </p:cNvPr>
          <p:cNvGrpSpPr>
            <a:grpSpLocks noChangeAspect="1"/>
          </p:cNvGrpSpPr>
          <p:nvPr userDrawn="1"/>
        </p:nvGrpSpPr>
        <p:grpSpPr bwMode="auto">
          <a:xfrm>
            <a:off x="9147183" y="5815542"/>
            <a:ext cx="1883664" cy="496357"/>
            <a:chOff x="2387" y="1701"/>
            <a:chExt cx="4535" cy="1195"/>
          </a:xfrm>
        </p:grpSpPr>
        <p:sp>
          <p:nvSpPr>
            <p:cNvPr id="14" name="Freeform 5">
              <a:extLst>
                <a:ext uri="{FF2B5EF4-FFF2-40B4-BE49-F238E27FC236}">
                  <a16:creationId xmlns:a16="http://schemas.microsoft.com/office/drawing/2014/main" id="{C7B64CB8-485B-4A84-AF6D-C9EF29551409}"/>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74AE1E9A-205A-4C25-A6CD-8452DDD29904}"/>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988493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White5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733891"/>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4734391"/>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4979668"/>
            <a:ext cx="4114799" cy="548640"/>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5326815"/>
            <a:ext cx="1884233" cy="985085"/>
          </a:xfrm>
        </p:spPr>
        <p:txBody>
          <a:bodyPr anchor="ctr"/>
          <a:lstStyle>
            <a:lvl1pPr algn="ctr">
              <a:buNone/>
              <a:defRPr sz="1400"/>
            </a:lvl1pPr>
          </a:lstStyle>
          <a:p>
            <a:r>
              <a:rPr lang="en-GB" dirty="0"/>
              <a:t>Add client logo</a:t>
            </a:r>
            <a:endParaRPr lang="en-US" dirty="0"/>
          </a:p>
        </p:txBody>
      </p:sp>
      <p:grpSp>
        <p:nvGrpSpPr>
          <p:cNvPr id="9" name="Logo_BL" descr="Accenture logo in black and purple">
            <a:extLst>
              <a:ext uri="{FF2B5EF4-FFF2-40B4-BE49-F238E27FC236}">
                <a16:creationId xmlns:a16="http://schemas.microsoft.com/office/drawing/2014/main" id="{8D3E8DD1-C700-46AC-AA94-9072B0F31752}"/>
              </a:ext>
            </a:extLst>
          </p:cNvPr>
          <p:cNvGrpSpPr>
            <a:grpSpLocks noChangeAspect="1"/>
          </p:cNvGrpSpPr>
          <p:nvPr userDrawn="1"/>
        </p:nvGrpSpPr>
        <p:grpSpPr bwMode="auto">
          <a:xfrm>
            <a:off x="1149093" y="5815543"/>
            <a:ext cx="1883664" cy="496357"/>
            <a:chOff x="2387" y="1701"/>
            <a:chExt cx="4535" cy="1195"/>
          </a:xfrm>
        </p:grpSpPr>
        <p:sp>
          <p:nvSpPr>
            <p:cNvPr id="14" name="Freeform 5">
              <a:extLst>
                <a:ext uri="{FF2B5EF4-FFF2-40B4-BE49-F238E27FC236}">
                  <a16:creationId xmlns:a16="http://schemas.microsoft.com/office/drawing/2014/main" id="{799A1684-BC33-4579-B840-616EB6D11E8E}"/>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A5AD5E73-6E1C-44F8-9F73-9F3D4F6DF76F}"/>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2237294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White6 Acquisition+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11" name="Picture Placeholder 11" descr="Image placeholder for client logo">
            <a:extLst>
              <a:ext uri="{FF2B5EF4-FFF2-40B4-BE49-F238E27FC236}">
                <a16:creationId xmlns:a16="http://schemas.microsoft.com/office/drawing/2014/main" id="{FFB79963-9269-41F8-B968-34FCB68C87FA}"/>
              </a:ext>
            </a:extLst>
          </p:cNvPr>
          <p:cNvSpPr>
            <a:spLocks noGrp="1"/>
          </p:cNvSpPr>
          <p:nvPr>
            <p:ph type="pic" sz="quarter" idx="13" hasCustomPrompt="1"/>
          </p:nvPr>
        </p:nvSpPr>
        <p:spPr>
          <a:xfrm>
            <a:off x="9926766" y="5326815"/>
            <a:ext cx="1884233" cy="985085"/>
          </a:xfrm>
        </p:spPr>
        <p:txBody>
          <a:bodyPr anchor="ctr"/>
          <a:lstStyle>
            <a:lvl1pPr algn="ctr">
              <a:buNone/>
              <a:defRPr sz="1400"/>
            </a:lvl1pPr>
          </a:lstStyle>
          <a:p>
            <a:r>
              <a:rPr lang="en-GB" dirty="0"/>
              <a:t>Add client logo</a:t>
            </a:r>
            <a:endParaRPr lang="en-US" dirty="0"/>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259063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White7 Acquisition+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sp>
        <p:nvSpPr>
          <p:cNvPr id="13" name="Picture Placeholder 11" descr="Image placeholder for client logo">
            <a:extLst>
              <a:ext uri="{FF2B5EF4-FFF2-40B4-BE49-F238E27FC236}">
                <a16:creationId xmlns:a16="http://schemas.microsoft.com/office/drawing/2014/main" id="{05B9195C-3F7A-4A18-80FA-FB81E2ECDE09}"/>
              </a:ext>
            </a:extLst>
          </p:cNvPr>
          <p:cNvSpPr>
            <a:spLocks noGrp="1"/>
          </p:cNvSpPr>
          <p:nvPr>
            <p:ph type="pic" sz="quarter" idx="13" hasCustomPrompt="1"/>
          </p:nvPr>
        </p:nvSpPr>
        <p:spPr>
          <a:xfrm>
            <a:off x="381001" y="5326815"/>
            <a:ext cx="1884233" cy="985085"/>
          </a:xfrm>
        </p:spPr>
        <p:txBody>
          <a:bodyPr anchor="ctr"/>
          <a:lstStyle>
            <a:lvl1pPr algn="ctr">
              <a:buNone/>
              <a:defRPr sz="1400"/>
            </a:lvl1pPr>
          </a:lstStyle>
          <a:p>
            <a:r>
              <a:rPr lang="en-GB" dirty="0"/>
              <a:t>Add client logo</a:t>
            </a:r>
            <a:endParaRPr lang="en-US" dirty="0"/>
          </a:p>
        </p:txBody>
      </p:sp>
    </p:spTree>
    <p:extLst>
      <p:ext uri="{BB962C8B-B14F-4D97-AF65-F5344CB8AC3E}">
        <p14:creationId xmlns:p14="http://schemas.microsoft.com/office/powerpoint/2010/main" val="39083554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dirty="0"/>
              <a:t>Place subtitle here in GT Sectra Fine </a:t>
            </a:r>
            <a:r>
              <a:rPr lang="en-GB" dirty="0" err="1"/>
              <a:t>Rg</a:t>
            </a:r>
            <a:r>
              <a:rPr lang="en-GB" dirty="0"/>
              <a:t> 24pt</a:t>
            </a:r>
            <a:endParaRPr lang="en-US" dirty="0"/>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dirty="0"/>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Footer Placeholder 4">
            <a:extLst>
              <a:ext uri="{FF2B5EF4-FFF2-40B4-BE49-F238E27FC236}">
                <a16:creationId xmlns:a16="http://schemas.microsoft.com/office/drawing/2014/main" id="{7FB0387B-1E9C-4EB7-9BA3-83AB796E35C7}"/>
              </a:ext>
            </a:extLst>
          </p:cNvPr>
          <p:cNvSpPr>
            <a:spLocks noGrp="1"/>
          </p:cNvSpPr>
          <p:nvPr>
            <p:ph type="ftr" sz="quarter" idx="18"/>
          </p:nvPr>
        </p:nvSpPr>
        <p:spPr/>
        <p:txBody>
          <a:bodyPr/>
          <a:lstStyle/>
          <a:p>
            <a:pPr algn="r" defTabSz="228600">
              <a:spcAft>
                <a:spcPts val="1200"/>
              </a:spcAft>
              <a:defRPr/>
            </a:pPr>
            <a:r>
              <a:rPr lang="en-GB"/>
              <a:t>Copyright © 2021 Accenture. All rights reserved.</a:t>
            </a:r>
            <a:endParaRPr lang="en-GB" dirty="0"/>
          </a:p>
        </p:txBody>
      </p:sp>
      <p:sp>
        <p:nvSpPr>
          <p:cNvPr id="7" name="Slide Number Placeholder 6">
            <a:extLst>
              <a:ext uri="{FF2B5EF4-FFF2-40B4-BE49-F238E27FC236}">
                <a16:creationId xmlns:a16="http://schemas.microsoft.com/office/drawing/2014/main" id="{A0BB825C-3912-400B-A9ED-F17A355964BB}"/>
              </a:ext>
            </a:extLst>
          </p:cNvPr>
          <p:cNvSpPr>
            <a:spLocks noGrp="1"/>
          </p:cNvSpPr>
          <p:nvPr>
            <p:ph type="sldNum" sz="quarter" idx="19"/>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4821521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alutation-Logo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dirty="0"/>
              <a:t>Insert Salutation</a:t>
            </a:r>
            <a:endParaRPr lang="en-US" dirty="0"/>
          </a:p>
        </p:txBody>
      </p:sp>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dirty="0"/>
              <a:t>Format Background… &gt; Picture or texture fill &gt; Set to one of the dark or mid gradient options</a:t>
            </a:r>
            <a:endParaRPr lang="en-US" noProof="0" dirty="0"/>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userDrawn="1"/>
        </p:nvGrpSpPr>
        <p:grpSpPr bwMode="black">
          <a:xfrm>
            <a:off x="5154167" y="5374201"/>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8B5D8E88-5919-40A0-A4A4-2E6587AD687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7005577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userDrawn="1">
          <p15:clr>
            <a:srgbClr val="C35EA4"/>
          </p15:clr>
        </p15:guide>
        <p15:guide id="2" pos="3840" userDrawn="1">
          <p15:clr>
            <a:srgbClr val="C35EA4"/>
          </p15:clr>
        </p15:guide>
        <p15:guide id="3" orient="horz" pos="2160"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dirty="0"/>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70180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dirty="0"/>
              <a:t>Place subtitle here in GT Sectra Fine </a:t>
            </a:r>
            <a:r>
              <a:rPr lang="en-GB" dirty="0" err="1"/>
              <a:t>Rg</a:t>
            </a:r>
            <a:r>
              <a:rPr lang="en-GB" dirty="0"/>
              <a:t> 24pt</a:t>
            </a:r>
            <a:endParaRPr lang="en-US" dirty="0"/>
          </a:p>
        </p:txBody>
      </p:sp>
      <p:sp>
        <p:nvSpPr>
          <p:cNvPr id="13" name="Footer Placeholder 3">
            <a:extLst>
              <a:ext uri="{FF2B5EF4-FFF2-40B4-BE49-F238E27FC236}">
                <a16:creationId xmlns:a16="http://schemas.microsoft.com/office/drawing/2014/main" id="{EC3F0890-0DED-4AD1-9A02-BD56F8554BD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EF969A96-ECEE-46C8-AC65-A99027BA9203}"/>
              </a:ext>
            </a:extLst>
          </p:cNvPr>
          <p:cNvSpPr>
            <a:spLocks noGrp="1"/>
          </p:cNvSpPr>
          <p:nvPr>
            <p:ph type="sldNum" sz="quarter" idx="18"/>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0860008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ltGray">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bwMode="white">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422072"/>
          </a:xfrm>
        </p:spPr>
        <p:txBody>
          <a:bodyPr anchor="t"/>
          <a:lstStyle>
            <a:lvl1pPr>
              <a:defRPr sz="5400">
                <a:solidFill>
                  <a:schemeClr val="tx1"/>
                </a:solidFill>
              </a:defRPr>
            </a:lvl1pPr>
          </a:lstStyle>
          <a:p>
            <a:r>
              <a:rPr lang="en-US" dirty="0"/>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7"/>
            <a:ext cx="2993573" cy="242207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dirty="0"/>
              <a:t>Place subtitle here in GT Sectra Fine </a:t>
            </a:r>
            <a:r>
              <a:rPr lang="en-GB" dirty="0" err="1"/>
              <a:t>Rg</a:t>
            </a:r>
            <a:r>
              <a:rPr lang="en-GB" dirty="0"/>
              <a:t> 24pt</a:t>
            </a:r>
            <a:endParaRPr lang="en-US" dirty="0"/>
          </a:p>
        </p:txBody>
      </p:sp>
      <p:sp>
        <p:nvSpPr>
          <p:cNvPr id="15" name="Footer Placeholder 3">
            <a:extLst>
              <a:ext uri="{FF2B5EF4-FFF2-40B4-BE49-F238E27FC236}">
                <a16:creationId xmlns:a16="http://schemas.microsoft.com/office/drawing/2014/main" id="{C230B8D6-1525-4D29-A117-F22A9C16F08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404ADF7-CE17-4A46-8A63-A366F9BB14A4}"/>
              </a:ext>
            </a:extLst>
          </p:cNvPr>
          <p:cNvSpPr>
            <a:spLocks noGrp="1"/>
          </p:cNvSpPr>
          <p:nvPr>
            <p:ph type="sldNum" sz="quarter" idx="17"/>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70613145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699330"/>
          </a:xfrm>
        </p:spPr>
        <p:txBody>
          <a:bodyPr/>
          <a:lstStyle>
            <a:lvl1pPr marL="0" indent="0">
              <a:lnSpc>
                <a:spcPct val="90000"/>
              </a:lnSpc>
              <a:buNone/>
              <a:defRPr sz="2400">
                <a:solidFill>
                  <a:schemeClr val="accent1"/>
                </a:solidFill>
                <a:latin typeface="GT Sectra Fine Rg"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GB" dirty="0"/>
              <a:t>Place subtitle here in GT Sectra Fine </a:t>
            </a:r>
            <a:r>
              <a:rPr lang="en-GB" dirty="0" err="1"/>
              <a:t>Rg</a:t>
            </a:r>
            <a:r>
              <a:rPr lang="en-GB" dirty="0"/>
              <a:t> 24pt</a:t>
            </a:r>
            <a:endParaRPr lang="en-US" dirty="0"/>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lvl1pPr>
              <a:defRPr/>
            </a:lvl1pPr>
          </a:lstStyle>
          <a:p>
            <a:r>
              <a:rPr lang="en-GB" dirty="0"/>
              <a:t>Agenda title</a:t>
            </a:r>
            <a:endParaRPr lang="en-US" dirty="0"/>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5" name="Footer Placeholder 4">
            <a:extLst>
              <a:ext uri="{FF2B5EF4-FFF2-40B4-BE49-F238E27FC236}">
                <a16:creationId xmlns:a16="http://schemas.microsoft.com/office/drawing/2014/main" id="{7BC1BE3C-F523-44EE-B6D4-7175CE08E157}"/>
              </a:ext>
            </a:extLst>
          </p:cNvPr>
          <p:cNvSpPr>
            <a:spLocks noGrp="1"/>
          </p:cNvSpPr>
          <p:nvPr>
            <p:ph type="ftr" sz="quarter" idx="56"/>
          </p:nvPr>
        </p:nvSpPr>
        <p:spPr/>
        <p:txBody>
          <a:bodyPr/>
          <a:lstStyle/>
          <a:p>
            <a:pPr algn="r" defTabSz="228600">
              <a:spcAft>
                <a:spcPts val="1200"/>
              </a:spcAft>
              <a:defRPr/>
            </a:pPr>
            <a:r>
              <a:rPr lang="en-GB"/>
              <a:t>Copyright © 2021 Accenture. All rights reserved.</a:t>
            </a:r>
            <a:endParaRPr lang="en-GB" dirty="0"/>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23687631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dirty="0"/>
              <a:t>Place headline here (36pt, min 30pt)</a:t>
            </a:r>
            <a:endParaRPr lang="en-US" dirty="0"/>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Arial" panose="020B0604020202020204" pitchFamily="34" charset="0"/>
              <a:buChar char="•"/>
              <a:defRPr/>
            </a:lvl1pPr>
            <a:lvl2pPr marL="457200">
              <a:defRPr/>
            </a:lvl2pPr>
            <a:lvl3pPr marL="685800">
              <a:defRPr/>
            </a:lvl3pPr>
            <a:lvl4pPr marL="914400">
              <a:defRPr/>
            </a:lvl4pPr>
            <a:lvl5pPr marL="1143000">
              <a:defRPr/>
            </a:lvl5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77508547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dirty="0"/>
              <a:t>Place headline here (36pt, min 30pt)</a:t>
            </a:r>
            <a:endParaRPr lang="en-US" dirty="0"/>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4900924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dirty="0"/>
              <a:t>Place headline here (36pt, min 30pt)</a:t>
            </a:r>
            <a:endParaRPr lang="en-US" dirty="0"/>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037445675"/>
      </p:ext>
    </p:extLst>
  </p:cSld>
  <p:clrMapOvr>
    <a:masterClrMapping/>
  </p:clrMapOvr>
  <p:extLst>
    <p:ext uri="{DCECCB84-F9BA-43D5-87BE-67443E8EF086}">
      <p15:sldGuideLst xmlns:p15="http://schemas.microsoft.com/office/powerpoint/2012/main">
        <p15:guide id="1" orient="horz" pos="931"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dirty="0"/>
              <a:t>Place sub-headline </a:t>
            </a:r>
            <a:r>
              <a:rPr lang="en-GB" dirty="0"/>
              <a:t>here in GT Sectra Fine </a:t>
            </a:r>
            <a:r>
              <a:rPr lang="en-GB" dirty="0" err="1"/>
              <a:t>Rg</a:t>
            </a:r>
            <a:r>
              <a:rPr lang="en-GB" dirty="0"/>
              <a:t> 24pt</a:t>
            </a:r>
            <a:r>
              <a:rPr lang="en-US" dirty="0"/>
              <a:t>, indent for other levels</a:t>
            </a:r>
          </a:p>
          <a:p>
            <a:pPr lvl="1"/>
            <a:r>
              <a:rPr lang="en-US" dirty="0"/>
              <a:t>Second level 18pt</a:t>
            </a:r>
          </a:p>
          <a:p>
            <a:pPr lvl="2"/>
            <a:r>
              <a:rPr lang="en-US" dirty="0"/>
              <a:t>Third level bullet 18pt</a:t>
            </a:r>
          </a:p>
          <a:p>
            <a:pPr lvl="3"/>
            <a:r>
              <a:rPr lang="en-US" dirty="0"/>
              <a:t>Fourth level bullet 16pt</a:t>
            </a:r>
          </a:p>
          <a:p>
            <a:pPr lvl="4"/>
            <a:r>
              <a:rPr lang="en-US" dirty="0"/>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dirty="0"/>
              <a:t>Place text here 20pt</a:t>
            </a:r>
          </a:p>
          <a:p>
            <a:pPr lvl="1"/>
            <a:r>
              <a:rPr lang="en-US" dirty="0"/>
              <a:t>Second level 20pt</a:t>
            </a:r>
          </a:p>
          <a:p>
            <a:pPr lvl="2"/>
            <a:r>
              <a:rPr lang="en-US" dirty="0"/>
              <a:t>Third level 20pt</a:t>
            </a:r>
          </a:p>
          <a:p>
            <a:pPr lvl="3"/>
            <a:r>
              <a:rPr lang="en-US" dirty="0"/>
              <a:t>Fourth level 18pt</a:t>
            </a:r>
          </a:p>
          <a:p>
            <a:pPr lvl="4"/>
            <a:r>
              <a:rPr lang="en-US" dirty="0"/>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dirty="0"/>
              <a:t>Place headline here (36pt, min 30pt)</a:t>
            </a:r>
            <a:endParaRPr lang="en-US" dirty="0"/>
          </a:p>
        </p:txBody>
      </p:sp>
      <p:sp>
        <p:nvSpPr>
          <p:cNvPr id="9" name="Footer Placeholder 3">
            <a:extLst>
              <a:ext uri="{FF2B5EF4-FFF2-40B4-BE49-F238E27FC236}">
                <a16:creationId xmlns:a16="http://schemas.microsoft.com/office/drawing/2014/main" id="{0A51E00B-3AD2-4131-A1AF-2681835517E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47685601"/>
      </p:ext>
    </p:extLst>
  </p:cSld>
  <p:clrMapOvr>
    <a:masterClrMapping/>
  </p:clrMapOvr>
  <p:extLst>
    <p:ext uri="{DCECCB84-F9BA-43D5-87BE-67443E8EF086}">
      <p15:sldGuideLst xmlns:p15="http://schemas.microsoft.com/office/powerpoint/2012/main">
        <p15:guide id="1" orient="horz" pos="3720" userDrawn="1">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GB" dirty="0"/>
              <a:t>Place headline here (36pt, min 30pt)</a:t>
            </a:r>
            <a:endParaRPr lang="en-US" dirty="0"/>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29BB8772-B000-40EC-8AE7-3AA41499E64B}"/>
              </a:ext>
            </a:extLst>
          </p:cNvPr>
          <p:cNvSpPr>
            <a:spLocks noGrp="1"/>
          </p:cNvSpPr>
          <p:nvPr>
            <p:ph type="sldNum" sz="quarter" idx="2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077420989"/>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dirty="0"/>
              <a:t>Place headline here (36pt, min 30pt)</a:t>
            </a:r>
            <a:endParaRPr lang="en-US" dirty="0"/>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421974827"/>
      </p:ext>
    </p:extLst>
  </p:cSld>
  <p:clrMapOvr>
    <a:masterClrMapping/>
  </p:clrMapOvr>
  <p:extLst>
    <p:ext uri="{DCECCB84-F9BA-43D5-87BE-67443E8EF086}">
      <p15:sldGuideLst xmlns:p15="http://schemas.microsoft.com/office/powerpoint/2012/main">
        <p15:guide id="1" orient="horz" pos="932" userDrawn="1">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dirty="0"/>
              <a:t>Place headline here (36pt, min 30pt)</a:t>
            </a:r>
            <a:endParaRPr lang="en-US" dirty="0"/>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059450818"/>
      </p:ext>
    </p:extLst>
  </p:cSld>
  <p:clrMapOvr>
    <a:masterClrMapping/>
  </p:clrMapOvr>
  <p:extLst>
    <p:ext uri="{DCECCB84-F9BA-43D5-87BE-67443E8EF086}">
      <p15:sldGuideLst xmlns:p15="http://schemas.microsoft.com/office/powerpoint/2012/main">
        <p15:guide id="1" orient="horz" pos="3708" userDrawn="1">
          <p15:clr>
            <a:srgbClr val="C35EA4"/>
          </p15:clr>
        </p15:guide>
        <p15:guide id="2" orient="horz" pos="932" userDrawn="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dirty="0"/>
              <a:t>Insert Salutation 72pt</a:t>
            </a:r>
            <a:endParaRPr lang="en-US" dirty="0"/>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187088238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GB" dirty="0"/>
              <a:t>Place headline here (36pt, min 30pt)</a:t>
            </a:r>
            <a:endParaRPr lang="en-US" dirty="0"/>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dirty="0"/>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dirty="0"/>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15" name="Footer Placeholder 3">
            <a:extLst>
              <a:ext uri="{FF2B5EF4-FFF2-40B4-BE49-F238E27FC236}">
                <a16:creationId xmlns:a16="http://schemas.microsoft.com/office/drawing/2014/main" id="{FE860E3B-7BAE-4917-8F29-26AFBD0E72B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268099797"/>
      </p:ext>
    </p:extLst>
  </p:cSld>
  <p:clrMapOvr>
    <a:masterClrMapping/>
  </p:clrMapOvr>
  <p:extLst>
    <p:ext uri="{DCECCB84-F9BA-43D5-87BE-67443E8EF086}">
      <p15:sldGuideLst xmlns:p15="http://schemas.microsoft.com/office/powerpoint/2012/main">
        <p15:guide id="1" orient="horz" pos="3703" userDrawn="1">
          <p15:clr>
            <a:srgbClr val="C35EA4"/>
          </p15:clr>
        </p15:guide>
        <p15:guide id="2" orient="horz" pos="932" userDrawn="1">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23" name="Footer Placeholder 3">
            <a:extLst>
              <a:ext uri="{FF2B5EF4-FFF2-40B4-BE49-F238E27FC236}">
                <a16:creationId xmlns:a16="http://schemas.microsoft.com/office/drawing/2014/main" id="{83000718-AD47-4F1E-8F71-56356C94065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GB" dirty="0"/>
              <a:t>Place headline here (36pt, min 30pt)</a:t>
            </a:r>
            <a:endParaRPr lang="en-US" dirty="0"/>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560975919"/>
      </p:ext>
    </p:extLst>
  </p:cSld>
  <p:clrMapOvr>
    <a:masterClrMapping/>
  </p:clrMapOvr>
  <p:extLst>
    <p:ext uri="{DCECCB84-F9BA-43D5-87BE-67443E8EF086}">
      <p15:sldGuideLst xmlns:p15="http://schemas.microsoft.com/office/powerpoint/2012/main">
        <p15:guide id="1" orient="horz" pos="3698" userDrawn="1">
          <p15:clr>
            <a:srgbClr val="C35EA4"/>
          </p15:clr>
        </p15:guide>
        <p15:guide id="2" orient="horz" pos="932"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dirty="0"/>
              <a:t>Place headline here (36pt, min 30pt)</a:t>
            </a:r>
            <a:endParaRPr lang="en-US" dirty="0"/>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655126605"/>
      </p:ext>
    </p:extLst>
  </p:cSld>
  <p:clrMapOvr>
    <a:masterClrMapping/>
  </p:clrMapOvr>
  <p:extLst>
    <p:ext uri="{DCECCB84-F9BA-43D5-87BE-67443E8EF086}">
      <p15:sldGuideLst xmlns:p15="http://schemas.microsoft.com/office/powerpoint/2012/main">
        <p15:guide id="1" orient="horz" pos="3703" userDrawn="1">
          <p15:clr>
            <a:srgbClr val="C35EA4"/>
          </p15:clr>
        </p15:guide>
        <p15:guide id="2" orient="horz" pos="932" userDrawn="1">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Arial" panose="020B0604020202020204" pitchFamily="34" charset="0"/>
              <a:buNone/>
              <a:defRPr lang="en-US" sz="1800" b="0" dirty="0"/>
            </a:lvl1pPr>
          </a:lstStyle>
          <a:p>
            <a:pPr lvl="0"/>
            <a:r>
              <a:rPr lang="en-GB" dirty="0"/>
              <a:t>Add profile photo</a:t>
            </a:r>
            <a:endParaRPr lang="en-US" dirty="0"/>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dirty="0"/>
              <a:t>Add profile photo</a:t>
            </a:r>
            <a:endParaRPr lang="en-US" dirty="0"/>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dirty="0"/>
              <a:t>Add profile photo</a:t>
            </a:r>
            <a:endParaRPr lang="en-US" dirty="0"/>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dirty="0"/>
              <a:t>Add profile photo</a:t>
            </a:r>
            <a:endParaRPr lang="en-US" dirty="0"/>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Arial" panose="020B0604020202020204" pitchFamily="34" charset="0"/>
              <a:buNone/>
              <a:defRPr sz="2100"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13" name="Footer Placeholder 3">
            <a:extLst>
              <a:ext uri="{FF2B5EF4-FFF2-40B4-BE49-F238E27FC236}">
                <a16:creationId xmlns:a16="http://schemas.microsoft.com/office/drawing/2014/main" id="{9310CF55-0D9B-41F8-8D1E-8BA74BC232B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311186519"/>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GB" dirty="0"/>
              <a:t>Add profile photo</a:t>
            </a:r>
            <a:endParaRPr lang="en-US" dirty="0"/>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37" name="Footer Placeholder 3">
            <a:extLst>
              <a:ext uri="{FF2B5EF4-FFF2-40B4-BE49-F238E27FC236}">
                <a16:creationId xmlns:a16="http://schemas.microsoft.com/office/drawing/2014/main" id="{BD665DCA-734C-4077-92CB-D7A9FCD67D9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p:txBody>
          <a:bodyPr/>
          <a:lstStyle/>
          <a:p>
            <a:fld id="{1F90F471-3972-4120-B8B3-0237DE626C35}" type="slidenum">
              <a:rPr lang="en-US" smtClean="0"/>
              <a:pPr/>
              <a:t>‹#›</a:t>
            </a:fld>
            <a:endParaRPr lang="en-US" dirty="0"/>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GB" dirty="0"/>
              <a:t> </a:t>
            </a:r>
            <a:endParaRPr lang="en-US" dirty="0"/>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GB" dirty="0"/>
              <a:t> </a:t>
            </a:r>
            <a:endParaRPr lang="en-US" dirty="0"/>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GB" dirty="0"/>
              <a:t> </a:t>
            </a:r>
            <a:endParaRPr lang="en-US" dirty="0"/>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GB" dirty="0"/>
              <a:t> </a:t>
            </a:r>
            <a:endParaRPr lang="en-US" dirty="0"/>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GB" dirty="0"/>
              <a:t> </a:t>
            </a:r>
            <a:endParaRPr lang="en-US" dirty="0"/>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GB" dirty="0"/>
              <a:t> </a:t>
            </a:r>
            <a:endParaRPr lang="en-US" dirty="0"/>
          </a:p>
        </p:txBody>
      </p:sp>
    </p:spTree>
    <p:extLst>
      <p:ext uri="{BB962C8B-B14F-4D97-AF65-F5344CB8AC3E}">
        <p14:creationId xmlns:p14="http://schemas.microsoft.com/office/powerpoint/2010/main" val="3799034554"/>
      </p:ext>
    </p:extLst>
  </p:cSld>
  <p:clrMapOvr>
    <a:masterClrMapping/>
  </p:clrMapOvr>
  <p:extLst>
    <p:ext uri="{DCECCB84-F9BA-43D5-87BE-67443E8EF086}">
      <p15:sldGuideLst xmlns:p15="http://schemas.microsoft.com/office/powerpoint/2012/main">
        <p15:guide id="1" orient="horz" pos="3703" userDrawn="1">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GB" dirty="0"/>
              <a:t>Add profile photo</a:t>
            </a:r>
            <a:endParaRPr lang="en-US" dirty="0"/>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29" name="Footer Placeholder 3">
            <a:extLst>
              <a:ext uri="{FF2B5EF4-FFF2-40B4-BE49-F238E27FC236}">
                <a16:creationId xmlns:a16="http://schemas.microsoft.com/office/drawing/2014/main" id="{F748F9AD-5F56-42EC-9922-780EBA4436E9}"/>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p:txBody>
          <a:bodyPr/>
          <a:lstStyle/>
          <a:p>
            <a:fld id="{1F90F471-3972-4120-B8B3-0237DE626C35}" type="slidenum">
              <a:rPr lang="en-US" smtClean="0"/>
              <a:pPr/>
              <a:t>‹#›</a:t>
            </a:fld>
            <a:endParaRPr lang="en-US" dirty="0"/>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GB" dirty="0"/>
              <a:t> </a:t>
            </a:r>
            <a:endParaRPr lang="en-US" dirty="0"/>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GB" dirty="0"/>
              <a:t> </a:t>
            </a:r>
            <a:endParaRPr lang="en-US" dirty="0"/>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GB" dirty="0"/>
              <a:t> </a:t>
            </a:r>
            <a:endParaRPr lang="en-US" dirty="0"/>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GB" dirty="0"/>
              <a:t> </a:t>
            </a:r>
            <a:endParaRPr lang="en-US" dirty="0"/>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GB" dirty="0"/>
              <a:t> </a:t>
            </a:r>
            <a:endParaRPr lang="en-US" dirty="0"/>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GB" dirty="0"/>
              <a:t> </a:t>
            </a:r>
            <a:endParaRPr lang="en-US" dirty="0"/>
          </a:p>
        </p:txBody>
      </p:sp>
    </p:spTree>
    <p:extLst>
      <p:ext uri="{BB962C8B-B14F-4D97-AF65-F5344CB8AC3E}">
        <p14:creationId xmlns:p14="http://schemas.microsoft.com/office/powerpoint/2010/main" val="282602897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userDrawn="1">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GB" dirty="0"/>
              <a:t>Place text here, use indent to access other levels 20pt</a:t>
            </a:r>
          </a:p>
          <a:p>
            <a:pPr lvl="1"/>
            <a:r>
              <a:rPr lang="en-GB" dirty="0"/>
              <a:t>Second level 20pt</a:t>
            </a:r>
          </a:p>
          <a:p>
            <a:pPr lvl="2"/>
            <a:r>
              <a:rPr lang="en-GB" dirty="0"/>
              <a:t>Third level 20pt</a:t>
            </a:r>
          </a:p>
          <a:p>
            <a:pPr lvl="3"/>
            <a:r>
              <a:rPr lang="en-GB" dirty="0"/>
              <a:t>Fourth level 18pt</a:t>
            </a:r>
          </a:p>
          <a:p>
            <a:pPr lvl="4"/>
            <a:r>
              <a:rPr lang="en-GB" dirty="0"/>
              <a:t>Fifth level 18pt</a:t>
            </a:r>
            <a:endParaRPr lang="en-US" dirty="0"/>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50" name="Footer Placeholder 3">
            <a:extLst>
              <a:ext uri="{FF2B5EF4-FFF2-40B4-BE49-F238E27FC236}">
                <a16:creationId xmlns:a16="http://schemas.microsoft.com/office/drawing/2014/main" id="{A671D4FB-2F86-4AF3-89D0-D61D543789F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p:txBody>
          <a:bodyPr/>
          <a:lstStyle/>
          <a:p>
            <a:fld id="{1F90F471-3972-4120-B8B3-0237DE626C35}" type="slidenum">
              <a:rPr lang="en-US" smtClean="0"/>
              <a:pPr/>
              <a:t>‹#›</a:t>
            </a:fld>
            <a:endParaRPr lang="en-US" dirty="0"/>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GB" dirty="0"/>
              <a:t> </a:t>
            </a:r>
            <a:endParaRPr lang="en-US" dirty="0"/>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GB" dirty="0"/>
              <a:t> </a:t>
            </a:r>
            <a:endParaRPr lang="en-US" dirty="0"/>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GB" dirty="0"/>
              <a:t> </a:t>
            </a:r>
            <a:endParaRPr lang="en-US" dirty="0"/>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GB" dirty="0"/>
              <a:t> </a:t>
            </a:r>
            <a:endParaRPr lang="en-US" dirty="0"/>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GB" dirty="0"/>
              <a:t> </a:t>
            </a:r>
            <a:endParaRPr lang="en-US" dirty="0"/>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GB" dirty="0"/>
              <a:t> </a:t>
            </a:r>
            <a:endParaRPr lang="en-US" dirty="0"/>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GB" dirty="0"/>
              <a:t> </a:t>
            </a:r>
            <a:endParaRPr lang="en-US" dirty="0"/>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GB" dirty="0"/>
              <a:t> </a:t>
            </a:r>
            <a:endParaRPr lang="en-US" dirty="0"/>
          </a:p>
        </p:txBody>
      </p:sp>
    </p:spTree>
    <p:extLst>
      <p:ext uri="{BB962C8B-B14F-4D97-AF65-F5344CB8AC3E}">
        <p14:creationId xmlns:p14="http://schemas.microsoft.com/office/powerpoint/2010/main" val="70619214"/>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Drag picture to placeholder or click icon to add, then ‘Send to Back’</a:t>
            </a:r>
            <a:endParaRPr lang="en-US" dirty="0"/>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dirty="0"/>
              <a:t>Place headline here (36pt, min 30pt)</a:t>
            </a:r>
            <a:endParaRPr lang="en-US" dirty="0"/>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11" name="Footer Placeholder 3">
            <a:extLst>
              <a:ext uri="{FF2B5EF4-FFF2-40B4-BE49-F238E27FC236}">
                <a16:creationId xmlns:a16="http://schemas.microsoft.com/office/drawing/2014/main" id="{AF384B1D-1AA1-4DD2-A317-08008594FF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dirty="0"/>
              <a:t>Place sub-headline </a:t>
            </a:r>
            <a:r>
              <a:rPr lang="en-GB" dirty="0"/>
              <a:t>here in GT Sectra Fine </a:t>
            </a:r>
            <a:r>
              <a:rPr lang="en-GB" dirty="0" err="1"/>
              <a:t>Rg</a:t>
            </a:r>
            <a:r>
              <a:rPr lang="en-GB" dirty="0"/>
              <a:t> 24pt</a:t>
            </a:r>
            <a:r>
              <a:rPr lang="en-US" dirty="0"/>
              <a:t>, indent for other levels</a:t>
            </a:r>
          </a:p>
          <a:p>
            <a:pPr lvl="1"/>
            <a:r>
              <a:rPr lang="en-US" dirty="0"/>
              <a:t>Second level 18pt</a:t>
            </a:r>
          </a:p>
          <a:p>
            <a:pPr lvl="2"/>
            <a:r>
              <a:rPr lang="en-US" dirty="0"/>
              <a:t>Third level bullet 18pt</a:t>
            </a:r>
          </a:p>
          <a:p>
            <a:pPr lvl="3"/>
            <a:r>
              <a:rPr lang="en-US" dirty="0"/>
              <a:t>Fourth level bullet 16pt</a:t>
            </a:r>
          </a:p>
          <a:p>
            <a:pPr lvl="4"/>
            <a:r>
              <a:rPr lang="en-US" dirty="0"/>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580181711"/>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GB" dirty="0"/>
              <a:t>Drag picture to placeholder or click icon to add</a:t>
            </a:r>
            <a:endParaRPr lang="en-US" dirty="0"/>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dirty="0"/>
              <a:t>Place headline here (36pt, min 30pt)</a:t>
            </a:r>
            <a:endParaRPr lang="en-US" dirty="0"/>
          </a:p>
        </p:txBody>
      </p:sp>
      <p:sp>
        <p:nvSpPr>
          <p:cNvPr id="15" name="Footer Placeholder 3">
            <a:extLst>
              <a:ext uri="{FF2B5EF4-FFF2-40B4-BE49-F238E27FC236}">
                <a16:creationId xmlns:a16="http://schemas.microsoft.com/office/drawing/2014/main" id="{E567C369-8A33-4851-8646-E53D6E8D8CC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6"/>
            <a:ext cx="5330952" cy="3047313"/>
          </a:xfrm>
        </p:spPr>
        <p:txBody>
          <a:bodyPr/>
          <a:lstStyle>
            <a:lvl1pPr marL="0" indent="0">
              <a:lnSpc>
                <a:spcPct val="90000"/>
              </a:lnSpc>
              <a:buNone/>
              <a:defRPr sz="2400">
                <a:solidFill>
                  <a:schemeClr val="tx1"/>
                </a:solidFill>
                <a:latin typeface="GT Sectra Fine Rg" panose="00000500000000000000" pitchFamily="50" charset="0"/>
              </a:defRPr>
            </a:lvl1pPr>
            <a:lvl2pPr marL="228600" indent="-228600">
              <a:buFont typeface="Arial" panose="020B0604020202020204" pitchFamily="34" charset="0"/>
              <a:buChar char="•"/>
              <a:defRPr sz="1800">
                <a:solidFill>
                  <a:schemeClr val="tx1"/>
                </a:solidFill>
              </a:defRPr>
            </a:lvl2pPr>
            <a:lvl3pPr marL="457200">
              <a:buFont typeface="Arial" panose="020B0503030202060203" pitchFamily="34" charset="0"/>
              <a:buChar char="–"/>
              <a:defRPr sz="1800">
                <a:solidFill>
                  <a:schemeClr val="tx1"/>
                </a:solidFill>
              </a:defRPr>
            </a:lvl3pPr>
            <a:lvl4pPr marL="685800">
              <a:buFont typeface="Arial" panose="020B0604020202020204" pitchFamily="34" charset="0"/>
              <a:buChar char="•"/>
              <a:defRPr sz="1600">
                <a:solidFill>
                  <a:schemeClr val="tx1"/>
                </a:solidFill>
              </a:defRPr>
            </a:lvl4pPr>
            <a:lvl5pPr marL="914400">
              <a:buFont typeface="Arial" panose="020B0503030202060203" pitchFamily="34" charset="0"/>
              <a:buChar char="–"/>
              <a:defRPr sz="1600">
                <a:solidFill>
                  <a:schemeClr val="tx1"/>
                </a:solidFill>
              </a:defRPr>
            </a:lvl5pPr>
          </a:lstStyle>
          <a:p>
            <a:pPr lvl="0"/>
            <a:r>
              <a:rPr lang="en-US" dirty="0"/>
              <a:t>Place sub-headline </a:t>
            </a:r>
            <a:r>
              <a:rPr lang="en-GB" dirty="0"/>
              <a:t>here in GT Sectra Fine </a:t>
            </a:r>
            <a:r>
              <a:rPr lang="en-GB" dirty="0" err="1"/>
              <a:t>Rg</a:t>
            </a:r>
            <a:r>
              <a:rPr lang="en-GB" dirty="0"/>
              <a:t> 24pt</a:t>
            </a:r>
            <a:r>
              <a:rPr lang="en-US" dirty="0"/>
              <a:t>, indent for other levels</a:t>
            </a:r>
          </a:p>
          <a:p>
            <a:pPr lvl="1"/>
            <a:r>
              <a:rPr lang="en-US" dirty="0"/>
              <a:t>Second level 18pt</a:t>
            </a:r>
          </a:p>
          <a:p>
            <a:pPr lvl="2"/>
            <a:r>
              <a:rPr lang="en-US" dirty="0"/>
              <a:t>Third level bullet 18pt</a:t>
            </a:r>
          </a:p>
          <a:p>
            <a:pPr lvl="3"/>
            <a:r>
              <a:rPr lang="en-US" dirty="0"/>
              <a:t>Fourth level bullet 16pt</a:t>
            </a:r>
          </a:p>
          <a:p>
            <a:pPr lvl="4"/>
            <a:r>
              <a:rPr lang="en-US" dirty="0"/>
              <a:t>Fifth level bullet 16pt</a:t>
            </a:r>
          </a:p>
        </p:txBody>
      </p:sp>
      <p:sp>
        <p:nvSpPr>
          <p:cNvPr id="12" name="GTS_WH" descr="Accenture Greater Than symbol in white">
            <a:extLst>
              <a:ext uri="{FF2B5EF4-FFF2-40B4-BE49-F238E27FC236}">
                <a16:creationId xmlns:a16="http://schemas.microsoft.com/office/drawing/2014/main" id="{9742AFA2-2F86-4FC9-AB33-FE5A8DC3B4C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94918022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dirty="0"/>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5331159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alutation-GTS left-image bkgnd">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dirty="0"/>
              <a:t>Insert Salutation 72pt</a:t>
            </a:r>
            <a:endParaRPr lang="en-US" dirty="0"/>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6" name="GTS_WH" descr="Accenture Greater Than symbol in white">
            <a:extLst>
              <a:ext uri="{FF2B5EF4-FFF2-40B4-BE49-F238E27FC236}">
                <a16:creationId xmlns:a16="http://schemas.microsoft.com/office/drawing/2014/main" id="{5820492B-C4D2-42F2-B2B8-CB1CE70F894B}"/>
              </a:ext>
            </a:extLst>
          </p:cNvPr>
          <p:cNvSpPr>
            <a:spLocks noChangeAspect="1"/>
          </p:cNvSpPr>
          <p:nvPr userDrawn="1"/>
        </p:nvSpPr>
        <p:spPr bwMode="black">
          <a:xfrm>
            <a:off x="380999" y="5607812"/>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7158613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dirty="0"/>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FD217B10-543D-46E3-A5E7-CA1C578F6F62}"/>
              </a:ext>
            </a:extLst>
          </p:cNvPr>
          <p:cNvSpPr>
            <a:spLocks noGrp="1"/>
          </p:cNvSpPr>
          <p:nvPr>
            <p:ph type="sldNum" sz="quarter" idx="14"/>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154445263"/>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4</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4</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4</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4</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p:txBody>
          <a:bodyPr/>
          <a:lstStyle>
            <a:lvl1pPr>
              <a:defRPr>
                <a:solidFill>
                  <a:schemeClr val="bg1"/>
                </a:solidFill>
              </a:defRPr>
            </a:lvl1p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162012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atistics 2">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B918B6-32FF-4857-A645-C1032AFAEF62}"/>
              </a:ext>
            </a:extLst>
          </p:cNvPr>
          <p:cNvSpPr>
            <a:spLocks noGrp="1"/>
          </p:cNvSpPr>
          <p:nvPr>
            <p:ph type="title"/>
          </p:nvPr>
        </p:nvSpPr>
        <p:spPr>
          <a:xfrm>
            <a:off x="381000" y="380999"/>
            <a:ext cx="5333969" cy="2393952"/>
          </a:xfrm>
        </p:spPr>
        <p:txBody>
          <a:bodyPr anchor="ctr"/>
          <a:lstStyle>
            <a:lvl1pPr>
              <a:defRPr/>
            </a:lvl1pPr>
          </a:lstStyle>
          <a:p>
            <a:r>
              <a:rPr lang="en-US"/>
              <a:t>Click to edit Master title style</a:t>
            </a:r>
            <a:endParaRPr lang="en-US" dirty="0"/>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dirty="0"/>
              <a:t>Drag picture to placeholder </a:t>
            </a:r>
          </a:p>
          <a:p>
            <a:r>
              <a:rPr lang="en-GB" dirty="0"/>
              <a:t>or click icon to add</a:t>
            </a:r>
            <a:endParaRPr lang="en-US" dirty="0"/>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0</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0</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0</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GB" dirty="0"/>
              <a:t>Drag picture to placeholder </a:t>
            </a:r>
          </a:p>
          <a:p>
            <a:pPr marL="228600" lvl="0" indent="-228600" algn="ctr"/>
            <a:r>
              <a:rPr lang="en-GB" dirty="0"/>
              <a:t>or click icon to add</a:t>
            </a:r>
            <a:endParaRPr lang="en-US" dirty="0"/>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20</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p:txBody>
          <a:bodyPr/>
          <a:lstStyle>
            <a:lvl1pPr>
              <a:defRPr>
                <a:solidFill>
                  <a:schemeClr val="bg1"/>
                </a:solidFill>
              </a:defRPr>
            </a:lvl1pPr>
          </a:lstStyle>
          <a:p>
            <a:fld id="{1F90F471-3972-4120-B8B3-0237DE626C35}" type="slidenum">
              <a:rPr lang="en-US" smtClean="0"/>
              <a:pPr/>
              <a:t>‹#›</a:t>
            </a:fld>
            <a:endParaRPr lang="en-US" dirty="0">
              <a:solidFill>
                <a:schemeClr val="bg1"/>
              </a:solidFill>
            </a:endParaRPr>
          </a:p>
        </p:txBody>
      </p:sp>
    </p:spTree>
    <p:extLst>
      <p:ext uri="{BB962C8B-B14F-4D97-AF65-F5344CB8AC3E}">
        <p14:creationId xmlns:p14="http://schemas.microsoft.com/office/powerpoint/2010/main" val="413620612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dirty="0"/>
              <a:t>Place key message here 54pt</a:t>
            </a:r>
          </a:p>
        </p:txBody>
      </p:sp>
      <p:sp>
        <p:nvSpPr>
          <p:cNvPr id="10" name="Footer Placeholder 3">
            <a:extLst>
              <a:ext uri="{FF2B5EF4-FFF2-40B4-BE49-F238E27FC236}">
                <a16:creationId xmlns:a16="http://schemas.microsoft.com/office/drawing/2014/main" id="{9310B6FD-F7E2-4120-A2CE-22852AAA9F5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1" name="GTS_WH" descr="Accenture Greater Than symbol in white">
            <a:extLst>
              <a:ext uri="{FF2B5EF4-FFF2-40B4-BE49-F238E27FC236}">
                <a16:creationId xmlns:a16="http://schemas.microsoft.com/office/drawing/2014/main" id="{2FF57A0A-C5DD-42B6-8DD3-E5EA041C72D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422336508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dirty="0"/>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dirty="0">
              <a:ln>
                <a:noFill/>
              </a:ln>
              <a:solidFill>
                <a:schemeClr val="bg2"/>
              </a:solidFill>
              <a:effectLst/>
              <a:uLnTx/>
              <a:uFillTx/>
            </a:endParaRPr>
          </a:p>
        </p:txBody>
      </p:sp>
      <p:sp>
        <p:nvSpPr>
          <p:cNvPr id="10" name="Footer Placeholder 3">
            <a:extLst>
              <a:ext uri="{FF2B5EF4-FFF2-40B4-BE49-F238E27FC236}">
                <a16:creationId xmlns:a16="http://schemas.microsoft.com/office/drawing/2014/main" id="{8D9D8DCD-E7C3-4F1A-8A48-31319650AC3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5361378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dirty="0"/>
              <a:t>Place headline here 54pt</a:t>
            </a:r>
          </a:p>
        </p:txBody>
      </p:sp>
      <p:sp>
        <p:nvSpPr>
          <p:cNvPr id="12" name="Footer Placeholder 3">
            <a:extLst>
              <a:ext uri="{FF2B5EF4-FFF2-40B4-BE49-F238E27FC236}">
                <a16:creationId xmlns:a16="http://schemas.microsoft.com/office/drawing/2014/main" id="{2A2CFACC-0767-48E1-9FD9-763E5025E7A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0172348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dirty="0"/>
              <a:t>Place headline here (36pt, min 30pt)</a:t>
            </a:r>
            <a:endParaRPr lang="en-US" dirty="0"/>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043245015"/>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dirty="0"/>
              <a:t>Place headline here (36pt, min 30pt)</a:t>
            </a:r>
            <a:endParaRPr lang="en-US" dirty="0"/>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429691506"/>
      </p:ext>
    </p:extLst>
  </p:cSld>
  <p:clrMapOvr>
    <a:masterClrMapping/>
  </p:clrMapOvr>
  <p:extLst>
    <p:ext uri="{DCECCB84-F9BA-43D5-87BE-67443E8EF086}">
      <p15:sldGuideLst xmlns:p15="http://schemas.microsoft.com/office/powerpoint/2012/main">
        <p15:guide id="1" orient="horz" pos="932" userDrawn="1">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285542610"/>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2800"/>
            </a:lvl1pPr>
          </a:lstStyle>
          <a:p>
            <a:r>
              <a:rPr lang="en-GB"/>
              <a:t>Place headline here (36pt, min 30pt)</a:t>
            </a:r>
            <a:endParaRPr lang="en-US"/>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494437939"/>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GT Sectra Fine Rg" panose="00000500000000000000" pitchFamily="50" charset="0"/>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spTree>
    <p:extLst>
      <p:ext uri="{BB962C8B-B14F-4D97-AF65-F5344CB8AC3E}">
        <p14:creationId xmlns:p14="http://schemas.microsoft.com/office/powerpoint/2010/main" val="260609151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Black2">
    <p:bg>
      <p:bgPr>
        <a:solidFill>
          <a:schemeClr val="accent3"/>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764EB37-3299-4AEF-9398-9D9C84AB73F2}"/>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dirty="0"/>
              <a:t>Place presentation title here 48pt</a:t>
            </a:r>
          </a:p>
        </p:txBody>
      </p:sp>
      <p:sp>
        <p:nvSpPr>
          <p:cNvPr id="15" name="Date Placeholder 10">
            <a:extLst>
              <a:ext uri="{FF2B5EF4-FFF2-40B4-BE49-F238E27FC236}">
                <a16:creationId xmlns:a16="http://schemas.microsoft.com/office/drawing/2014/main" id="{C1D8BA10-E028-4E4B-A19C-12B864B01021}"/>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17" name="Text Placeholder 16">
            <a:extLst>
              <a:ext uri="{FF2B5EF4-FFF2-40B4-BE49-F238E27FC236}">
                <a16:creationId xmlns:a16="http://schemas.microsoft.com/office/drawing/2014/main" id="{A09D55F2-CAE5-4C0F-8D54-A28CECDB9398}"/>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9" name="Text Placeholder 15">
            <a:extLst>
              <a:ext uri="{FF2B5EF4-FFF2-40B4-BE49-F238E27FC236}">
                <a16:creationId xmlns:a16="http://schemas.microsoft.com/office/drawing/2014/main" id="{3AA97401-81EE-4280-A94C-955E96B00594}"/>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dirty="0"/>
              <a:t>Place subtitle here in GT Sectra Fine </a:t>
            </a:r>
            <a:r>
              <a:rPr lang="en-GB" dirty="0" err="1"/>
              <a:t>Rg</a:t>
            </a:r>
            <a:r>
              <a:rPr lang="en-GB" dirty="0"/>
              <a:t> 24pt</a:t>
            </a:r>
            <a:endParaRPr lang="en-US" dirty="0"/>
          </a:p>
        </p:txBody>
      </p:sp>
      <p:sp>
        <p:nvSpPr>
          <p:cNvPr id="4" name="TextBox 3">
            <a:extLst>
              <a:ext uri="{FF2B5EF4-FFF2-40B4-BE49-F238E27FC236}">
                <a16:creationId xmlns:a16="http://schemas.microsoft.com/office/drawing/2014/main" id="{8DDC0C86-80A9-481C-A2D5-6F509B89192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sp>
        <p:nvSpPr>
          <p:cNvPr id="8" name="GTS_WH" descr="Accenture Greater Than symbol in white">
            <a:extLst>
              <a:ext uri="{FF2B5EF4-FFF2-40B4-BE49-F238E27FC236}">
                <a16:creationId xmlns:a16="http://schemas.microsoft.com/office/drawing/2014/main" id="{C703F910-26EC-4B07-B522-B28DEB82C3EA}"/>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5734830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05" userDrawn="1">
          <p15:clr>
            <a:srgbClr val="C35EA4"/>
          </p15:clr>
        </p15:guide>
        <p15:guide id="2" pos="3840" userDrawn="1">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Black3">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dirty="0"/>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dirty="0"/>
              <a:t>Place subtitle here in GT Sectra Fine </a:t>
            </a:r>
            <a:r>
              <a:rPr lang="en-GB" dirty="0" err="1"/>
              <a:t>Rg</a:t>
            </a:r>
            <a:r>
              <a:rPr lang="en-GB" dirty="0"/>
              <a:t> 24pt</a:t>
            </a:r>
            <a:endParaRPr lang="en-US" dirty="0"/>
          </a:p>
        </p:txBody>
      </p:sp>
      <p:sp>
        <p:nvSpPr>
          <p:cNvPr id="2" name="TextBox 1">
            <a:extLst>
              <a:ext uri="{FF2B5EF4-FFF2-40B4-BE49-F238E27FC236}">
                <a16:creationId xmlns:a16="http://schemas.microsoft.com/office/drawing/2014/main" id="{E0481612-058D-4A52-B93E-53E75F305C8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C6212C50-BB96-4C0C-BC89-2B3C8082149D}"/>
              </a:ext>
            </a:extLst>
          </p:cNvPr>
          <p:cNvGrpSpPr>
            <a:grpSpLocks noChangeAspect="1"/>
          </p:cNvGrpSpPr>
          <p:nvPr userDrawn="1"/>
        </p:nvGrpSpPr>
        <p:grpSpPr bwMode="black">
          <a:xfrm>
            <a:off x="5154167" y="5374201"/>
            <a:ext cx="1883664" cy="496247"/>
            <a:chOff x="1561" y="187"/>
            <a:chExt cx="4536" cy="1195"/>
          </a:xfrm>
        </p:grpSpPr>
        <p:sp>
          <p:nvSpPr>
            <p:cNvPr id="10" name="Freeform 5">
              <a:extLst>
                <a:ext uri="{FF2B5EF4-FFF2-40B4-BE49-F238E27FC236}">
                  <a16:creationId xmlns:a16="http://schemas.microsoft.com/office/drawing/2014/main" id="{5A65B91D-87CB-4DC8-B4B1-CE82A8E5C6F8}"/>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E102C68A-98DA-4EBB-AAFF-D0C6E56ADE1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430539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6" userDrawn="1">
          <p15:clr>
            <a:srgbClr val="C35EA4"/>
          </p15:clr>
        </p15:guide>
        <p15:guide id="2" pos="3840" userDrawn="1">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Black4">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4" name="TextBox 3">
            <a:extLst>
              <a:ext uri="{FF2B5EF4-FFF2-40B4-BE49-F238E27FC236}">
                <a16:creationId xmlns:a16="http://schemas.microsoft.com/office/drawing/2014/main" id="{EEDFBD97-7A23-4453-9DFC-F825350AF9B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userDrawn="1"/>
        </p:nvGrpSpPr>
        <p:grpSpPr bwMode="black">
          <a:xfrm>
            <a:off x="9153213" y="5815652"/>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5FBA828-A6EE-4CDC-A2F1-52C5DC0E3C3F}"/>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785629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Black5 Image">
    <p:bg>
      <p:bgPr>
        <a:solidFill>
          <a:schemeClr val="accent3"/>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sp>
        <p:nvSpPr>
          <p:cNvPr id="9" name="GTS_WH" descr="Accenture Greater Than symbol in white">
            <a:extLst>
              <a:ext uri="{FF2B5EF4-FFF2-40B4-BE49-F238E27FC236}">
                <a16:creationId xmlns:a16="http://schemas.microsoft.com/office/drawing/2014/main" id="{08C622A3-6AC3-418E-A8AE-75B117754CFC}"/>
              </a:ext>
            </a:extLst>
          </p:cNvPr>
          <p:cNvSpPr>
            <a:spLocks noChangeAspect="1"/>
          </p:cNvSpPr>
          <p:nvPr userDrawn="1"/>
        </p:nvSpPr>
        <p:spPr bwMode="white">
          <a:xfrm>
            <a:off x="381001" y="560781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726582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dirty="0"/>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dirty="0"/>
              <a:t>First level (bullet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dirty="0"/>
          </a:p>
        </p:txBody>
      </p:sp>
      <p:sp>
        <p:nvSpPr>
          <p:cNvPr id="10" name="Footer Placeholder 3">
            <a:extLst>
              <a:ext uri="{FF2B5EF4-FFF2-40B4-BE49-F238E27FC236}">
                <a16:creationId xmlns:a16="http://schemas.microsoft.com/office/drawing/2014/main" id="{9624E0B2-760E-457A-8367-213CE89D65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195103446"/>
      </p:ext>
    </p:extLst>
  </p:cSld>
  <p:clrMap bg1="lt1" tx1="dk1" bg2="lt2" tx2="dk2" accent1="accent1" accent2="accent2" accent3="accent3" accent4="accent4" accent5="accent5" accent6="accent6" hlink="hlink" folHlink="folHlink"/>
  <p:sldLayoutIdLst>
    <p:sldLayoutId id="2147483666" r:id="rId1"/>
    <p:sldLayoutId id="2147483729" r:id="rId2"/>
    <p:sldLayoutId id="2147483682" r:id="rId3"/>
    <p:sldLayoutId id="2147483734" r:id="rId4"/>
    <p:sldLayoutId id="2147483728" r:id="rId5"/>
    <p:sldLayoutId id="2147483733" r:id="rId6"/>
    <p:sldLayoutId id="2147483730" r:id="rId7"/>
    <p:sldLayoutId id="2147483681" r:id="rId8"/>
    <p:sldLayoutId id="2147483732" r:id="rId9"/>
    <p:sldLayoutId id="2147483731" r:id="rId10"/>
    <p:sldLayoutId id="2147483750" r:id="rId11"/>
    <p:sldLayoutId id="2147483649" r:id="rId12"/>
    <p:sldLayoutId id="2147483759" r:id="rId13"/>
    <p:sldLayoutId id="2147483760" r:id="rId14"/>
    <p:sldLayoutId id="2147483746" r:id="rId15"/>
    <p:sldLayoutId id="2147483751" r:id="rId16"/>
    <p:sldLayoutId id="2147483752" r:id="rId17"/>
    <p:sldLayoutId id="2147483748" r:id="rId18"/>
    <p:sldLayoutId id="2147483651" r:id="rId19"/>
    <p:sldLayoutId id="2147483721" r:id="rId20"/>
    <p:sldLayoutId id="2147483739" r:id="rId21"/>
    <p:sldLayoutId id="2147483737" r:id="rId22"/>
    <p:sldLayoutId id="2147483742" r:id="rId23"/>
    <p:sldLayoutId id="2147483724" r:id="rId24"/>
    <p:sldLayoutId id="2147483723" r:id="rId25"/>
    <p:sldLayoutId id="2147483725" r:id="rId26"/>
    <p:sldLayoutId id="2147483755" r:id="rId27"/>
    <p:sldLayoutId id="2147483757" r:id="rId28"/>
    <p:sldLayoutId id="2147483673" r:id="rId29"/>
    <p:sldLayoutId id="2147483653" r:id="rId30"/>
    <p:sldLayoutId id="2147483722" r:id="rId31"/>
    <p:sldLayoutId id="2147483693" r:id="rId32"/>
    <p:sldLayoutId id="2147483701" r:id="rId33"/>
    <p:sldLayoutId id="2147483668" r:id="rId34"/>
    <p:sldLayoutId id="2147483707" r:id="rId35"/>
    <p:sldLayoutId id="2147483714" r:id="rId36"/>
    <p:sldLayoutId id="2147483657" r:id="rId37"/>
    <p:sldLayoutId id="2147483679" r:id="rId38"/>
    <p:sldLayoutId id="2147483661" r:id="rId39"/>
    <p:sldLayoutId id="2147483754" r:id="rId40"/>
    <p:sldLayoutId id="2147483678" r:id="rId41"/>
    <p:sldLayoutId id="2147483663" r:id="rId42"/>
    <p:sldLayoutId id="2147483667" r:id="rId43"/>
    <p:sldLayoutId id="2147483726" r:id="rId44"/>
    <p:sldLayoutId id="2147483688" r:id="rId45"/>
    <p:sldLayoutId id="2147483655" r:id="rId46"/>
    <p:sldLayoutId id="2147483745" r:id="rId47"/>
    <p:sldLayoutId id="2147483741" r:id="rId48"/>
    <p:sldLayoutId id="2147483761" r:id="rId49"/>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userDrawn="1">
          <p15:clr>
            <a:srgbClr val="C35EA4"/>
          </p15:clr>
        </p15:guide>
        <p15:guide id="2" orient="horz" pos="3976" userDrawn="1">
          <p15:clr>
            <a:srgbClr val="C35EA4"/>
          </p15:clr>
        </p15:guide>
        <p15:guide id="3" pos="240" userDrawn="1">
          <p15:clr>
            <a:srgbClr val="C35EA4"/>
          </p15:clr>
        </p15:guide>
        <p15:guide id="4" pos="7440" userDrawn="1">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00.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64.xml"/><Relationship Id="rId1" Type="http://schemas.openxmlformats.org/officeDocument/2006/relationships/slideLayout" Target="../slideLayouts/slideLayout46.xml"/></Relationships>
</file>

<file path=ppt/slides/_rels/slide101.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65.xml"/><Relationship Id="rId1" Type="http://schemas.openxmlformats.org/officeDocument/2006/relationships/slideLayout" Target="../slideLayouts/slideLayout46.xml"/></Relationships>
</file>

<file path=ppt/slides/_rels/slide102.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notesSlide" Target="../notesSlides/notesSlide66.xml"/><Relationship Id="rId1" Type="http://schemas.openxmlformats.org/officeDocument/2006/relationships/slideLayout" Target="../slideLayouts/slideLayout46.xml"/></Relationships>
</file>

<file path=ppt/slides/_rels/slide103.xml.rels><?xml version="1.0" encoding="UTF-8" standalone="yes"?>
<Relationships xmlns="http://schemas.openxmlformats.org/package/2006/relationships"><Relationship Id="rId3" Type="http://schemas.openxmlformats.org/officeDocument/2006/relationships/slide" Target="slide65.xml"/><Relationship Id="rId2" Type="http://schemas.openxmlformats.org/officeDocument/2006/relationships/slide" Target="slide66.xml"/><Relationship Id="rId1" Type="http://schemas.openxmlformats.org/officeDocument/2006/relationships/slideLayout" Target="../slideLayouts/slideLayout21.xml"/></Relationships>
</file>

<file path=ppt/slides/_rels/slide104.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67.xml"/><Relationship Id="rId1" Type="http://schemas.openxmlformats.org/officeDocument/2006/relationships/slideLayout" Target="../slideLayouts/slideLayout46.xml"/></Relationships>
</file>

<file path=ppt/slides/_rels/slide105.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notesSlide" Target="../notesSlides/notesSlide68.xml"/><Relationship Id="rId1" Type="http://schemas.openxmlformats.org/officeDocument/2006/relationships/slideLayout" Target="../slideLayouts/slideLayout46.xml"/></Relationships>
</file>

<file path=ppt/slides/_rels/slide106.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notesSlide" Target="../notesSlides/notesSlide69.xml"/><Relationship Id="rId1" Type="http://schemas.openxmlformats.org/officeDocument/2006/relationships/slideLayout" Target="../slideLayouts/slideLayout46.xml"/></Relationships>
</file>

<file path=ppt/slides/_rels/slide107.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notesSlide" Target="../notesSlides/notesSlide70.xml"/><Relationship Id="rId1" Type="http://schemas.openxmlformats.org/officeDocument/2006/relationships/slideLayout" Target="../slideLayouts/slideLayout46.xml"/></Relationships>
</file>

<file path=ppt/slides/_rels/slide108.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71.xml"/><Relationship Id="rId1" Type="http://schemas.openxmlformats.org/officeDocument/2006/relationships/slideLayout" Target="../slideLayouts/slideLayout46.xml"/></Relationships>
</file>

<file path=ppt/slides/_rels/slide109.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notesSlide" Target="../notesSlides/notesSlide72.xml"/><Relationship Id="rId1" Type="http://schemas.openxmlformats.org/officeDocument/2006/relationships/slideLayout" Target="../slideLayouts/slideLayout46.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6.xml"/></Relationships>
</file>

<file path=ppt/slides/_rels/slide110.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73.xml"/><Relationship Id="rId1" Type="http://schemas.openxmlformats.org/officeDocument/2006/relationships/slideLayout" Target="../slideLayouts/slideLayout46.xml"/></Relationships>
</file>

<file path=ppt/slides/_rels/slide11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slideLayout" Target="../slideLayouts/slideLayout46.xml"/><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chart" Target="../charts/chart44.xml"/><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notesSlide" Target="../notesSlides/notesSlide74.xml"/></Relationships>
</file>

<file path=ppt/slides/_rels/slide112.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slideLayout" Target="../slideLayouts/slideLayout46.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tags" Target="../tags/tag29.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chart" Target="../charts/chart45.xml"/><Relationship Id="rId10" Type="http://schemas.openxmlformats.org/officeDocument/2006/relationships/tags" Target="../tags/tag27.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notesSlide" Target="../notesSlides/notesSlide75.xml"/></Relationships>
</file>

<file path=ppt/slides/_rels/slide113.xml.rels><?xml version="1.0" encoding="UTF-8" standalone="yes"?>
<Relationships xmlns="http://schemas.openxmlformats.org/package/2006/relationships"><Relationship Id="rId3" Type="http://schemas.openxmlformats.org/officeDocument/2006/relationships/slide" Target="slide65.xml"/><Relationship Id="rId2" Type="http://schemas.openxmlformats.org/officeDocument/2006/relationships/notesSlide" Target="../notesSlides/notesSlide76.xml"/><Relationship Id="rId1" Type="http://schemas.openxmlformats.org/officeDocument/2006/relationships/slideLayout" Target="../slideLayouts/slideLayout46.xml"/></Relationships>
</file>

<file path=ppt/slides/_rels/slide114.xml.rels><?xml version="1.0" encoding="UTF-8" standalone="yes"?>
<Relationships xmlns="http://schemas.openxmlformats.org/package/2006/relationships"><Relationship Id="rId8" Type="http://schemas.openxmlformats.org/officeDocument/2006/relationships/slide" Target="slide65.xml"/><Relationship Id="rId3" Type="http://schemas.openxmlformats.org/officeDocument/2006/relationships/slide" Target="slide125.xml"/><Relationship Id="rId7" Type="http://schemas.openxmlformats.org/officeDocument/2006/relationships/slide" Target="slide162.xml"/><Relationship Id="rId2" Type="http://schemas.openxmlformats.org/officeDocument/2006/relationships/slide" Target="slide115.xml"/><Relationship Id="rId1" Type="http://schemas.openxmlformats.org/officeDocument/2006/relationships/slideLayout" Target="../slideLayouts/slideLayout19.xml"/><Relationship Id="rId6" Type="http://schemas.openxmlformats.org/officeDocument/2006/relationships/slide" Target="slide151.xml"/><Relationship Id="rId5" Type="http://schemas.openxmlformats.org/officeDocument/2006/relationships/slide" Target="slide148.xml"/><Relationship Id="rId4" Type="http://schemas.openxmlformats.org/officeDocument/2006/relationships/slide" Target="slide135.xml"/></Relationships>
</file>

<file path=ppt/slides/_rels/slide115.xml.rels><?xml version="1.0" encoding="UTF-8" standalone="yes"?>
<Relationships xmlns="http://schemas.openxmlformats.org/package/2006/relationships"><Relationship Id="rId3" Type="http://schemas.openxmlformats.org/officeDocument/2006/relationships/slide" Target="slide65.xml"/><Relationship Id="rId2" Type="http://schemas.openxmlformats.org/officeDocument/2006/relationships/slide" Target="slide114.xml"/><Relationship Id="rId1" Type="http://schemas.openxmlformats.org/officeDocument/2006/relationships/slideLayout" Target="../slideLayouts/slideLayout21.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46.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46.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46.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46.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46.xml"/><Relationship Id="rId5" Type="http://schemas.openxmlformats.org/officeDocument/2006/relationships/hyperlink" Target="https://ts.accenture.com/sites/BrandSpace/brand_assets#branded-tools-powerpoint" TargetMode="External"/><Relationship Id="rId4" Type="http://schemas.openxmlformats.org/officeDocument/2006/relationships/hyperlink" Target="https://brandspace.accenture.com/" TargetMode="Externa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46.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46.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46.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46.xml"/></Relationships>
</file>

<file path=ppt/slides/_rels/slide12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notesSlide" Target="../notesSlides/notesSlide85.xml"/></Relationships>
</file>

<file path=ppt/slides/_rels/slide125.xml.rels><?xml version="1.0" encoding="UTF-8" standalone="yes"?>
<Relationships xmlns="http://schemas.openxmlformats.org/package/2006/relationships"><Relationship Id="rId3" Type="http://schemas.openxmlformats.org/officeDocument/2006/relationships/slide" Target="slide114.xml"/><Relationship Id="rId2" Type="http://schemas.openxmlformats.org/officeDocument/2006/relationships/slide" Target="slide65.xml"/><Relationship Id="rId1" Type="http://schemas.openxmlformats.org/officeDocument/2006/relationships/slideLayout" Target="../slideLayouts/slideLayout21.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46.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46.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46.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3" Type="http://schemas.openxmlformats.org/officeDocument/2006/relationships/hyperlink" Target="mailto:brandsupport@accenture.com" TargetMode="External"/><Relationship Id="rId2" Type="http://schemas.openxmlformats.org/officeDocument/2006/relationships/hyperlink" Target="https://brandspace.accenture.com/" TargetMode="External"/><Relationship Id="rId1" Type="http://schemas.openxmlformats.org/officeDocument/2006/relationships/slideLayout" Target="../slideLayouts/slideLayout46.xml"/></Relationships>
</file>

<file path=ppt/slides/_rels/slide130.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33.xml"/><Relationship Id="rId1" Type="http://schemas.openxmlformats.org/officeDocument/2006/relationships/tags" Target="../tags/tag32.xml"/><Relationship Id="rId4" Type="http://schemas.openxmlformats.org/officeDocument/2006/relationships/notesSlide" Target="../notesSlides/notesSlide90.xml"/></Relationships>
</file>

<file path=ppt/slides/_rels/slide131.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35.xml"/><Relationship Id="rId1" Type="http://schemas.openxmlformats.org/officeDocument/2006/relationships/tags" Target="../tags/tag34.xml"/><Relationship Id="rId4" Type="http://schemas.openxmlformats.org/officeDocument/2006/relationships/notesSlide" Target="../notesSlides/notesSlide91.xml"/></Relationships>
</file>

<file path=ppt/slides/_rels/slide132.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37.xml"/><Relationship Id="rId1" Type="http://schemas.openxmlformats.org/officeDocument/2006/relationships/tags" Target="../tags/tag36.xml"/><Relationship Id="rId4" Type="http://schemas.openxmlformats.org/officeDocument/2006/relationships/notesSlide" Target="../notesSlides/notesSlide92.xml"/></Relationships>
</file>

<file path=ppt/slides/_rels/slide133.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39.xml"/><Relationship Id="rId1" Type="http://schemas.openxmlformats.org/officeDocument/2006/relationships/tags" Target="../tags/tag38.xml"/><Relationship Id="rId4" Type="http://schemas.openxmlformats.org/officeDocument/2006/relationships/notesSlide" Target="../notesSlides/notesSlide93.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46.xml"/></Relationships>
</file>

<file path=ppt/slides/_rels/slide135.xml.rels><?xml version="1.0" encoding="UTF-8" standalone="yes"?>
<Relationships xmlns="http://schemas.openxmlformats.org/package/2006/relationships"><Relationship Id="rId3" Type="http://schemas.openxmlformats.org/officeDocument/2006/relationships/slide" Target="slide114.xml"/><Relationship Id="rId2" Type="http://schemas.openxmlformats.org/officeDocument/2006/relationships/slide" Target="slide65.xml"/><Relationship Id="rId1" Type="http://schemas.openxmlformats.org/officeDocument/2006/relationships/slideLayout" Target="../slideLayouts/slideLayout21.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46.xml"/></Relationships>
</file>

<file path=ppt/slides/_rels/slide137.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41.xml"/><Relationship Id="rId1" Type="http://schemas.openxmlformats.org/officeDocument/2006/relationships/tags" Target="../tags/tag40.xml"/><Relationship Id="rId4" Type="http://schemas.openxmlformats.org/officeDocument/2006/relationships/notesSlide" Target="../notesSlides/notesSlide96.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46.xml"/></Relationships>
</file>

<file path=ppt/slides/_rels/slide139.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notesSlide" Target="../notesSlides/notesSlide98.xml"/><Relationship Id="rId5" Type="http://schemas.openxmlformats.org/officeDocument/2006/relationships/slideLayout" Target="../slideLayouts/slideLayout46.xml"/><Relationship Id="rId4" Type="http://schemas.openxmlformats.org/officeDocument/2006/relationships/tags" Target="../tags/tag45.xml"/></Relationships>
</file>

<file path=ppt/slides/_rels/slide14.xml.rels><?xml version="1.0" encoding="UTF-8" standalone="yes"?>
<Relationships xmlns="http://schemas.openxmlformats.org/package/2006/relationships"><Relationship Id="rId13" Type="http://schemas.openxmlformats.org/officeDocument/2006/relationships/image" Target="../media/image37.jpg"/><Relationship Id="rId18" Type="http://schemas.openxmlformats.org/officeDocument/2006/relationships/image" Target="../media/image42.jpg"/><Relationship Id="rId26" Type="http://schemas.openxmlformats.org/officeDocument/2006/relationships/image" Target="../media/image50.jpg"/><Relationship Id="rId3" Type="http://schemas.openxmlformats.org/officeDocument/2006/relationships/image" Target="../media/image27.jpg"/><Relationship Id="rId21" Type="http://schemas.openxmlformats.org/officeDocument/2006/relationships/image" Target="../media/image45.jpg"/><Relationship Id="rId34" Type="http://schemas.openxmlformats.org/officeDocument/2006/relationships/image" Target="../media/image58.png"/><Relationship Id="rId7" Type="http://schemas.openxmlformats.org/officeDocument/2006/relationships/image" Target="../media/image31.jpg"/><Relationship Id="rId12" Type="http://schemas.openxmlformats.org/officeDocument/2006/relationships/image" Target="../media/image36.jpg"/><Relationship Id="rId17" Type="http://schemas.openxmlformats.org/officeDocument/2006/relationships/image" Target="../media/image41.jpg"/><Relationship Id="rId25" Type="http://schemas.openxmlformats.org/officeDocument/2006/relationships/image" Target="../media/image49.jpg"/><Relationship Id="rId33" Type="http://schemas.openxmlformats.org/officeDocument/2006/relationships/image" Target="../media/image57.jpg"/><Relationship Id="rId2" Type="http://schemas.openxmlformats.org/officeDocument/2006/relationships/image" Target="../media/image26.jpg"/><Relationship Id="rId16" Type="http://schemas.openxmlformats.org/officeDocument/2006/relationships/image" Target="../media/image40.jpg"/><Relationship Id="rId20" Type="http://schemas.openxmlformats.org/officeDocument/2006/relationships/image" Target="../media/image44.jpg"/><Relationship Id="rId29" Type="http://schemas.openxmlformats.org/officeDocument/2006/relationships/image" Target="../media/image53.jpg"/><Relationship Id="rId1" Type="http://schemas.openxmlformats.org/officeDocument/2006/relationships/slideLayout" Target="../slideLayouts/slideLayout47.xml"/><Relationship Id="rId6" Type="http://schemas.openxmlformats.org/officeDocument/2006/relationships/image" Target="../media/image30.jpg"/><Relationship Id="rId11" Type="http://schemas.openxmlformats.org/officeDocument/2006/relationships/image" Target="../media/image35.jpg"/><Relationship Id="rId24" Type="http://schemas.openxmlformats.org/officeDocument/2006/relationships/image" Target="../media/image48.jpg"/><Relationship Id="rId32" Type="http://schemas.openxmlformats.org/officeDocument/2006/relationships/image" Target="../media/image56.jpg"/><Relationship Id="rId5" Type="http://schemas.openxmlformats.org/officeDocument/2006/relationships/image" Target="../media/image29.jpg"/><Relationship Id="rId15" Type="http://schemas.openxmlformats.org/officeDocument/2006/relationships/image" Target="../media/image39.jpg"/><Relationship Id="rId23" Type="http://schemas.openxmlformats.org/officeDocument/2006/relationships/image" Target="../media/image47.jpg"/><Relationship Id="rId28" Type="http://schemas.openxmlformats.org/officeDocument/2006/relationships/image" Target="../media/image52.jpg"/><Relationship Id="rId36" Type="http://schemas.openxmlformats.org/officeDocument/2006/relationships/image" Target="../media/image60.jpg"/><Relationship Id="rId10" Type="http://schemas.openxmlformats.org/officeDocument/2006/relationships/image" Target="../media/image34.jpg"/><Relationship Id="rId19" Type="http://schemas.openxmlformats.org/officeDocument/2006/relationships/image" Target="../media/image43.jpg"/><Relationship Id="rId31" Type="http://schemas.openxmlformats.org/officeDocument/2006/relationships/image" Target="../media/image55.jpg"/><Relationship Id="rId4" Type="http://schemas.openxmlformats.org/officeDocument/2006/relationships/image" Target="../media/image28.jpg"/><Relationship Id="rId9" Type="http://schemas.openxmlformats.org/officeDocument/2006/relationships/image" Target="../media/image33.jpg"/><Relationship Id="rId14" Type="http://schemas.openxmlformats.org/officeDocument/2006/relationships/image" Target="../media/image38.jpg"/><Relationship Id="rId22" Type="http://schemas.openxmlformats.org/officeDocument/2006/relationships/image" Target="../media/image46.jpg"/><Relationship Id="rId27" Type="http://schemas.openxmlformats.org/officeDocument/2006/relationships/image" Target="../media/image51.jpg"/><Relationship Id="rId30" Type="http://schemas.openxmlformats.org/officeDocument/2006/relationships/image" Target="../media/image54.jpg"/><Relationship Id="rId35" Type="http://schemas.openxmlformats.org/officeDocument/2006/relationships/image" Target="../media/image59.jpg"/><Relationship Id="rId8" Type="http://schemas.openxmlformats.org/officeDocument/2006/relationships/image" Target="../media/image32.jpg"/></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46.xml"/></Relationships>
</file>

<file path=ppt/slides/_rels/slide141.xml.rels><?xml version="1.0" encoding="UTF-8" standalone="yes"?>
<Relationships xmlns="http://schemas.openxmlformats.org/package/2006/relationships"><Relationship Id="rId8" Type="http://schemas.openxmlformats.org/officeDocument/2006/relationships/tags" Target="../tags/tag53.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10" Type="http://schemas.openxmlformats.org/officeDocument/2006/relationships/notesSlide" Target="../notesSlides/notesSlide100.xml"/><Relationship Id="rId4" Type="http://schemas.openxmlformats.org/officeDocument/2006/relationships/tags" Target="../tags/tag49.xml"/><Relationship Id="rId9" Type="http://schemas.openxmlformats.org/officeDocument/2006/relationships/slideLayout" Target="../slideLayouts/slideLayout46.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46.xml"/></Relationships>
</file>

<file path=ppt/slides/_rels/slide143.xml.rels><?xml version="1.0" encoding="UTF-8" standalone="yes"?>
<Relationships xmlns="http://schemas.openxmlformats.org/package/2006/relationships"><Relationship Id="rId3" Type="http://schemas.openxmlformats.org/officeDocument/2006/relationships/slide" Target="slide114.xml"/><Relationship Id="rId2" Type="http://schemas.openxmlformats.org/officeDocument/2006/relationships/slide" Target="slide65.xml"/><Relationship Id="rId1" Type="http://schemas.openxmlformats.org/officeDocument/2006/relationships/slideLayout" Target="../slideLayouts/slideLayout21.xml"/></Relationships>
</file>

<file path=ppt/slides/_rels/slide144.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46.xml"/><Relationship Id="rId1" Type="http://schemas.openxmlformats.org/officeDocument/2006/relationships/tags" Target="../tags/tag54.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46.xml"/></Relationships>
</file>

<file path=ppt/slides/_rels/slide146.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notesSlide" Target="../notesSlides/notesSlide104.xml"/><Relationship Id="rId4" Type="http://schemas.openxmlformats.org/officeDocument/2006/relationships/slideLayout" Target="../slideLayouts/slideLayout46.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46.xml"/></Relationships>
</file>

<file path=ppt/slides/_rels/slide148.xml.rels><?xml version="1.0" encoding="UTF-8" standalone="yes"?>
<Relationships xmlns="http://schemas.openxmlformats.org/package/2006/relationships"><Relationship Id="rId3" Type="http://schemas.openxmlformats.org/officeDocument/2006/relationships/slide" Target="slide114.xml"/><Relationship Id="rId2" Type="http://schemas.openxmlformats.org/officeDocument/2006/relationships/slide" Target="slide65.xml"/><Relationship Id="rId1" Type="http://schemas.openxmlformats.org/officeDocument/2006/relationships/slideLayout" Target="../slideLayouts/slideLayout21.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4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46.xml"/></Relationships>
</file>

<file path=ppt/slides/_rels/slide151.xml.rels><?xml version="1.0" encoding="UTF-8" standalone="yes"?>
<Relationships xmlns="http://schemas.openxmlformats.org/package/2006/relationships"><Relationship Id="rId3" Type="http://schemas.openxmlformats.org/officeDocument/2006/relationships/slide" Target="slide114.xml"/><Relationship Id="rId2" Type="http://schemas.openxmlformats.org/officeDocument/2006/relationships/slide" Target="slide65.xml"/><Relationship Id="rId1" Type="http://schemas.openxmlformats.org/officeDocument/2006/relationships/slideLayout" Target="../slideLayouts/slideLayout21.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46.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46.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46.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46.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46.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46.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46.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4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0.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46.xml"/><Relationship Id="rId1" Type="http://schemas.openxmlformats.org/officeDocument/2006/relationships/tags" Target="../tags/tag58.xml"/></Relationships>
</file>

<file path=ppt/slides/_rels/slide161.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46.xml"/><Relationship Id="rId1" Type="http://schemas.openxmlformats.org/officeDocument/2006/relationships/tags" Target="../tags/tag59.xml"/></Relationships>
</file>

<file path=ppt/slides/_rels/slide162.xml.rels><?xml version="1.0" encoding="UTF-8" standalone="yes"?>
<Relationships xmlns="http://schemas.openxmlformats.org/package/2006/relationships"><Relationship Id="rId3" Type="http://schemas.openxmlformats.org/officeDocument/2006/relationships/slide" Target="slide114.xml"/><Relationship Id="rId2" Type="http://schemas.openxmlformats.org/officeDocument/2006/relationships/slide" Target="slide65.xml"/><Relationship Id="rId1" Type="http://schemas.openxmlformats.org/officeDocument/2006/relationships/slideLayout" Target="../slideLayouts/slideLayout21.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46.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46.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46.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46.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46.xml"/></Relationships>
</file>

<file path=ppt/slides/_rels/slide168.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notesSlide" Target="../notesSlides/notesSlide123.xml"/><Relationship Id="rId4" Type="http://schemas.openxmlformats.org/officeDocument/2006/relationships/slideLayout" Target="../slideLayouts/slideLayout46.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4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46.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46.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46.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46.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46.xml"/></Relationships>
</file>

<file path=ppt/slides/_rels/slide175.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tags" Target="../tags/tag75.xml"/><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tags" Target="../tags/tag74.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5" Type="http://schemas.openxmlformats.org/officeDocument/2006/relationships/tags" Target="../tags/tag67.xml"/><Relationship Id="rId15" Type="http://schemas.openxmlformats.org/officeDocument/2006/relationships/notesSlide" Target="../notesSlides/notesSlide130.xml"/><Relationship Id="rId10" Type="http://schemas.openxmlformats.org/officeDocument/2006/relationships/tags" Target="../tags/tag72.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slideLayout" Target="../slideLayouts/slideLayout46.xml"/></Relationships>
</file>

<file path=ppt/slides/_rels/slide176.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tags" Target="../tags/tag87.xml"/><Relationship Id="rId2" Type="http://schemas.openxmlformats.org/officeDocument/2006/relationships/tags" Target="../tags/tag77.xml"/><Relationship Id="rId16" Type="http://schemas.openxmlformats.org/officeDocument/2006/relationships/notesSlide" Target="../notesSlides/notesSlide131.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tags" Target="../tags/tag86.xml"/><Relationship Id="rId5" Type="http://schemas.openxmlformats.org/officeDocument/2006/relationships/tags" Target="../tags/tag80.xml"/><Relationship Id="rId15" Type="http://schemas.openxmlformats.org/officeDocument/2006/relationships/slideLayout" Target="../slideLayouts/slideLayout46.xml"/><Relationship Id="rId10" Type="http://schemas.openxmlformats.org/officeDocument/2006/relationships/tags" Target="../tags/tag85.xm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tags" Target="../tags/tag89.xml"/></Relationships>
</file>

<file path=ppt/slides/_rels/slide177.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tags" Target="../tags/tag102.xml"/><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tags" Target="../tags/tag101.xml"/><Relationship Id="rId2" Type="http://schemas.openxmlformats.org/officeDocument/2006/relationships/tags" Target="../tags/tag91.xml"/><Relationship Id="rId16" Type="http://schemas.openxmlformats.org/officeDocument/2006/relationships/notesSlide" Target="../notesSlides/notesSlide132.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tags" Target="../tags/tag100.xml"/><Relationship Id="rId5" Type="http://schemas.openxmlformats.org/officeDocument/2006/relationships/tags" Target="../tags/tag94.xml"/><Relationship Id="rId15" Type="http://schemas.openxmlformats.org/officeDocument/2006/relationships/slideLayout" Target="../slideLayouts/slideLayout46.xml"/><Relationship Id="rId10" Type="http://schemas.openxmlformats.org/officeDocument/2006/relationships/tags" Target="../tags/tag99.xml"/><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s>
</file>

<file path=ppt/slides/_rels/slide178.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notesSlide" Target="../notesSlides/notesSlide133.xml"/><Relationship Id="rId5" Type="http://schemas.openxmlformats.org/officeDocument/2006/relationships/slideLayout" Target="../slideLayouts/slideLayout46.xml"/><Relationship Id="rId4" Type="http://schemas.openxmlformats.org/officeDocument/2006/relationships/tags" Target="../tags/tag107.xml"/></Relationships>
</file>

<file path=ppt/slides/_rels/slide179.xml.rels><?xml version="1.0" encoding="UTF-8" standalone="yes"?>
<Relationships xmlns="http://schemas.openxmlformats.org/package/2006/relationships"><Relationship Id="rId8" Type="http://schemas.openxmlformats.org/officeDocument/2006/relationships/notesSlide" Target="../notesSlides/notesSlide134.xml"/><Relationship Id="rId3" Type="http://schemas.openxmlformats.org/officeDocument/2006/relationships/tags" Target="../tags/tag110.xml"/><Relationship Id="rId7" Type="http://schemas.openxmlformats.org/officeDocument/2006/relationships/slideLayout" Target="../slideLayouts/slideLayout46.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5" Type="http://schemas.openxmlformats.org/officeDocument/2006/relationships/tags" Target="../tags/tag112.xml"/><Relationship Id="rId4" Type="http://schemas.openxmlformats.org/officeDocument/2006/relationships/tags" Target="../tags/tag1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46.xml"/></Relationships>
</file>

<file path=ppt/slides/_rels/slide181.xml.rels><?xml version="1.0" encoding="UTF-8" standalone="yes"?>
<Relationships xmlns="http://schemas.openxmlformats.org/package/2006/relationships"><Relationship Id="rId8" Type="http://schemas.openxmlformats.org/officeDocument/2006/relationships/tags" Target="../tags/tag121.xml"/><Relationship Id="rId3" Type="http://schemas.openxmlformats.org/officeDocument/2006/relationships/tags" Target="../tags/tag116.xml"/><Relationship Id="rId7" Type="http://schemas.openxmlformats.org/officeDocument/2006/relationships/tags" Target="../tags/tag120.xm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tags" Target="../tags/tag119.xml"/><Relationship Id="rId5" Type="http://schemas.openxmlformats.org/officeDocument/2006/relationships/tags" Target="../tags/tag118.xml"/><Relationship Id="rId4" Type="http://schemas.openxmlformats.org/officeDocument/2006/relationships/tags" Target="../tags/tag117.xml"/><Relationship Id="rId9" Type="http://schemas.openxmlformats.org/officeDocument/2006/relationships/slideLayout" Target="../slideLayouts/slideLayout46.xm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46.xm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46.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46.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46.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46.xml"/></Relationships>
</file>

<file path=ppt/slides/_rels/slide187.xml.rels><?xml version="1.0" encoding="UTF-8" standalone="yes"?>
<Relationships xmlns="http://schemas.openxmlformats.org/package/2006/relationships"><Relationship Id="rId3" Type="http://schemas.openxmlformats.org/officeDocument/2006/relationships/slide" Target="slide188.xml"/><Relationship Id="rId2" Type="http://schemas.openxmlformats.org/officeDocument/2006/relationships/slide" Target="slide65.xml"/><Relationship Id="rId1" Type="http://schemas.openxmlformats.org/officeDocument/2006/relationships/slideLayout" Target="../slideLayouts/slideLayout19.xml"/><Relationship Id="rId5" Type="http://schemas.openxmlformats.org/officeDocument/2006/relationships/slide" Target="slide246.xml"/><Relationship Id="rId4" Type="http://schemas.openxmlformats.org/officeDocument/2006/relationships/slide" Target="slide227.xml"/></Relationships>
</file>

<file path=ppt/slides/_rels/slide188.xml.rels><?xml version="1.0" encoding="UTF-8" standalone="yes"?>
<Relationships xmlns="http://schemas.openxmlformats.org/package/2006/relationships"><Relationship Id="rId3" Type="http://schemas.openxmlformats.org/officeDocument/2006/relationships/slide" Target="slide187.xml"/><Relationship Id="rId2" Type="http://schemas.openxmlformats.org/officeDocument/2006/relationships/slide" Target="slide65.xml"/><Relationship Id="rId1" Type="http://schemas.openxmlformats.org/officeDocument/2006/relationships/slideLayout" Target="../slideLayouts/slideLayout21.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46.xml"/></Relationships>
</file>

<file path=ppt/slides/_rels/slide19.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Layout" Target="../slideLayouts/slideLayout4.xml"/></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46.xml"/></Relationships>
</file>

<file path=ppt/slides/_rels/slide191.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46.xml"/></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46.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46.xml"/></Relationships>
</file>

<file path=ppt/slides/_rels/slide194.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46.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46.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46.xml"/></Relationships>
</file>

<file path=ppt/slides/_rels/slide197.xml.rels><?xml version="1.0" encoding="UTF-8" standalone="yes"?>
<Relationships xmlns="http://schemas.openxmlformats.org/package/2006/relationships"><Relationship Id="rId3" Type="http://schemas.openxmlformats.org/officeDocument/2006/relationships/notesSlide" Target="../notesSlides/notesSlide149.xml"/><Relationship Id="rId2" Type="http://schemas.openxmlformats.org/officeDocument/2006/relationships/slideLayout" Target="../slideLayouts/slideLayout46.xml"/><Relationship Id="rId1" Type="http://schemas.openxmlformats.org/officeDocument/2006/relationships/tags" Target="../tags/tag122.xml"/></Relationships>
</file>

<file path=ppt/slides/_rels/slide198.xml.rels><?xml version="1.0" encoding="UTF-8" standalone="yes"?>
<Relationships xmlns="http://schemas.openxmlformats.org/package/2006/relationships"><Relationship Id="rId3" Type="http://schemas.openxmlformats.org/officeDocument/2006/relationships/notesSlide" Target="../notesSlides/notesSlide150.xml"/><Relationship Id="rId2" Type="http://schemas.openxmlformats.org/officeDocument/2006/relationships/slideLayout" Target="../slideLayouts/slideLayout46.xml"/><Relationship Id="rId1" Type="http://schemas.openxmlformats.org/officeDocument/2006/relationships/tags" Target="../tags/tag123.xml"/></Relationships>
</file>

<file path=ppt/slides/_rels/slide199.xml.rels><?xml version="1.0" encoding="UTF-8" standalone="yes"?>
<Relationships xmlns="http://schemas.openxmlformats.org/package/2006/relationships"><Relationship Id="rId3" Type="http://schemas.openxmlformats.org/officeDocument/2006/relationships/notesSlide" Target="../notesSlides/notesSlide151.xml"/><Relationship Id="rId2" Type="http://schemas.openxmlformats.org/officeDocument/2006/relationships/slideLayout" Target="../slideLayouts/slideLayout46.xml"/><Relationship Id="rId1" Type="http://schemas.openxmlformats.org/officeDocument/2006/relationships/tags" Target="../tags/tag124.xml"/></Relationships>
</file>

<file path=ppt/slides/_rels/slide2.xml.rels><?xml version="1.0" encoding="UTF-8" standalone="yes"?>
<Relationships xmlns="http://schemas.openxmlformats.org/package/2006/relationships"><Relationship Id="rId3" Type="http://schemas.openxmlformats.org/officeDocument/2006/relationships/slide" Target="slide64.xml"/><Relationship Id="rId2" Type="http://schemas.openxmlformats.org/officeDocument/2006/relationships/slide" Target="slide7.xml"/><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0.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notesSlide" Target="../notesSlides/notesSlide152.xml"/><Relationship Id="rId5" Type="http://schemas.openxmlformats.org/officeDocument/2006/relationships/slideLayout" Target="../slideLayouts/slideLayout46.xml"/><Relationship Id="rId4" Type="http://schemas.openxmlformats.org/officeDocument/2006/relationships/tags" Target="../tags/tag128.xml"/></Relationships>
</file>

<file path=ppt/slides/_rels/slide201.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46.xml"/></Relationships>
</file>

<file path=ppt/slides/_rels/slide202.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46.xml"/></Relationships>
</file>

<file path=ppt/slides/_rels/slide203.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46.xml"/></Relationships>
</file>

<file path=ppt/slides/_rels/slide204.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tags" Target="../tags/tag131.xml"/><Relationship Id="rId7" Type="http://schemas.openxmlformats.org/officeDocument/2006/relationships/tags" Target="../tags/tag135.xml"/><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tags" Target="../tags/tag134.xml"/><Relationship Id="rId5" Type="http://schemas.openxmlformats.org/officeDocument/2006/relationships/tags" Target="../tags/tag133.xml"/><Relationship Id="rId4" Type="http://schemas.openxmlformats.org/officeDocument/2006/relationships/tags" Target="../tags/tag132.xml"/><Relationship Id="rId9" Type="http://schemas.openxmlformats.org/officeDocument/2006/relationships/notesSlide" Target="../notesSlides/notesSlide156.xml"/></Relationships>
</file>

<file path=ppt/slides/_rels/slide205.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46.xml"/></Relationships>
</file>

<file path=ppt/slides/_rels/slide206.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46.xml"/></Relationships>
</file>

<file path=ppt/slides/_rels/slide207.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46.xml"/></Relationships>
</file>

<file path=ppt/slides/_rels/slide208.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46.xml"/></Relationships>
</file>

<file path=ppt/slides/_rels/slide209.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4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0.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46.xml"/></Relationships>
</file>

<file path=ppt/slides/_rels/slide211.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46.xml"/></Relationships>
</file>

<file path=ppt/slides/_rels/slide212.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46.xml"/></Relationships>
</file>

<file path=ppt/slides/_rels/slide213.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46.xml"/></Relationships>
</file>

<file path=ppt/slides/_rels/slide214.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notesSlide" Target="../notesSlides/notesSlide166.xml"/><Relationship Id="rId4" Type="http://schemas.openxmlformats.org/officeDocument/2006/relationships/slideLayout" Target="../slideLayouts/slideLayout46.xml"/></Relationships>
</file>

<file path=ppt/slides/_rels/slide215.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46.xml"/></Relationships>
</file>

<file path=ppt/slides/_rels/slide216.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46.xml"/></Relationships>
</file>

<file path=ppt/slides/_rels/slide217.xml.rels><?xml version="1.0" encoding="UTF-8" standalone="yes"?>
<Relationships xmlns="http://schemas.openxmlformats.org/package/2006/relationships"><Relationship Id="rId2" Type="http://schemas.openxmlformats.org/officeDocument/2006/relationships/notesSlide" Target="../notesSlides/notesSlide169.xml"/><Relationship Id="rId1" Type="http://schemas.openxmlformats.org/officeDocument/2006/relationships/slideLayout" Target="../slideLayouts/slideLayout46.xml"/></Relationships>
</file>

<file path=ppt/slides/_rels/slide218.xml.rels><?xml version="1.0" encoding="UTF-8" standalone="yes"?>
<Relationships xmlns="http://schemas.openxmlformats.org/package/2006/relationships"><Relationship Id="rId2" Type="http://schemas.openxmlformats.org/officeDocument/2006/relationships/notesSlide" Target="../notesSlides/notesSlide170.xml"/><Relationship Id="rId1" Type="http://schemas.openxmlformats.org/officeDocument/2006/relationships/slideLayout" Target="../slideLayouts/slideLayout46.xml"/></Relationships>
</file>

<file path=ppt/slides/_rels/slide219.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4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220.xml.rels><?xml version="1.0" encoding="UTF-8" standalone="yes"?>
<Relationships xmlns="http://schemas.openxmlformats.org/package/2006/relationships"><Relationship Id="rId2" Type="http://schemas.openxmlformats.org/officeDocument/2006/relationships/notesSlide" Target="../notesSlides/notesSlide172.xml"/><Relationship Id="rId1" Type="http://schemas.openxmlformats.org/officeDocument/2006/relationships/slideLayout" Target="../slideLayouts/slideLayout46.xml"/></Relationships>
</file>

<file path=ppt/slides/_rels/slide221.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46.xml"/></Relationships>
</file>

<file path=ppt/slides/_rels/slide222.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46.xml"/></Relationships>
</file>

<file path=ppt/slides/_rels/slide223.xml.rels><?xml version="1.0" encoding="UTF-8" standalone="yes"?>
<Relationships xmlns="http://schemas.openxmlformats.org/package/2006/relationships"><Relationship Id="rId2" Type="http://schemas.openxmlformats.org/officeDocument/2006/relationships/notesSlide" Target="../notesSlides/notesSlide175.xml"/><Relationship Id="rId1" Type="http://schemas.openxmlformats.org/officeDocument/2006/relationships/slideLayout" Target="../slideLayouts/slideLayout46.xml"/></Relationships>
</file>

<file path=ppt/slides/_rels/slide224.xml.rels><?xml version="1.0" encoding="UTF-8" standalone="yes"?>
<Relationships xmlns="http://schemas.openxmlformats.org/package/2006/relationships"><Relationship Id="rId2" Type="http://schemas.openxmlformats.org/officeDocument/2006/relationships/notesSlide" Target="../notesSlides/notesSlide176.xml"/><Relationship Id="rId1" Type="http://schemas.openxmlformats.org/officeDocument/2006/relationships/slideLayout" Target="../slideLayouts/slideLayout46.xml"/></Relationships>
</file>

<file path=ppt/slides/_rels/slide225.xml.rels><?xml version="1.0" encoding="UTF-8" standalone="yes"?>
<Relationships xmlns="http://schemas.openxmlformats.org/package/2006/relationships"><Relationship Id="rId2" Type="http://schemas.openxmlformats.org/officeDocument/2006/relationships/notesSlide" Target="../notesSlides/notesSlide177.xml"/><Relationship Id="rId1" Type="http://schemas.openxmlformats.org/officeDocument/2006/relationships/slideLayout" Target="../slideLayouts/slideLayout46.xml"/></Relationships>
</file>

<file path=ppt/slides/_rels/slide226.xml.rels><?xml version="1.0" encoding="UTF-8" standalone="yes"?>
<Relationships xmlns="http://schemas.openxmlformats.org/package/2006/relationships"><Relationship Id="rId2" Type="http://schemas.openxmlformats.org/officeDocument/2006/relationships/notesSlide" Target="../notesSlides/notesSlide178.xml"/><Relationship Id="rId1" Type="http://schemas.openxmlformats.org/officeDocument/2006/relationships/slideLayout" Target="../slideLayouts/slideLayout46.xml"/></Relationships>
</file>

<file path=ppt/slides/_rels/slide227.xml.rels><?xml version="1.0" encoding="UTF-8" standalone="yes"?>
<Relationships xmlns="http://schemas.openxmlformats.org/package/2006/relationships"><Relationship Id="rId3" Type="http://schemas.openxmlformats.org/officeDocument/2006/relationships/slide" Target="slide187.xml"/><Relationship Id="rId2" Type="http://schemas.openxmlformats.org/officeDocument/2006/relationships/slide" Target="slide65.xml"/><Relationship Id="rId1" Type="http://schemas.openxmlformats.org/officeDocument/2006/relationships/slideLayout" Target="../slideLayouts/slideLayout21.xml"/></Relationships>
</file>

<file path=ppt/slides/_rels/slide228.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46.xml"/></Relationships>
</file>

<file path=ppt/slides/_rels/slide229.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4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0.xml.rels><?xml version="1.0" encoding="UTF-8" standalone="yes"?>
<Relationships xmlns="http://schemas.openxmlformats.org/package/2006/relationships"><Relationship Id="rId3" Type="http://schemas.openxmlformats.org/officeDocument/2006/relationships/notesSlide" Target="../notesSlides/notesSlide181.xml"/><Relationship Id="rId2" Type="http://schemas.openxmlformats.org/officeDocument/2006/relationships/slideLayout" Target="../slideLayouts/slideLayout46.xml"/><Relationship Id="rId1" Type="http://schemas.openxmlformats.org/officeDocument/2006/relationships/tags" Target="../tags/tag139.xml"/></Relationships>
</file>

<file path=ppt/slides/_rels/slide231.xml.rels><?xml version="1.0" encoding="UTF-8" standalone="yes"?>
<Relationships xmlns="http://schemas.openxmlformats.org/package/2006/relationships"><Relationship Id="rId2" Type="http://schemas.openxmlformats.org/officeDocument/2006/relationships/notesSlide" Target="../notesSlides/notesSlide182.xml"/><Relationship Id="rId1" Type="http://schemas.openxmlformats.org/officeDocument/2006/relationships/slideLayout" Target="../slideLayouts/slideLayout46.xml"/></Relationships>
</file>

<file path=ppt/slides/_rels/slide232.xml.rels><?xml version="1.0" encoding="UTF-8" standalone="yes"?>
<Relationships xmlns="http://schemas.openxmlformats.org/package/2006/relationships"><Relationship Id="rId2" Type="http://schemas.openxmlformats.org/officeDocument/2006/relationships/notesSlide" Target="../notesSlides/notesSlide183.xml"/><Relationship Id="rId1" Type="http://schemas.openxmlformats.org/officeDocument/2006/relationships/slideLayout" Target="../slideLayouts/slideLayout46.xml"/></Relationships>
</file>

<file path=ppt/slides/_rels/slide233.xml.rels><?xml version="1.0" encoding="UTF-8" standalone="yes"?>
<Relationships xmlns="http://schemas.openxmlformats.org/package/2006/relationships"><Relationship Id="rId2" Type="http://schemas.openxmlformats.org/officeDocument/2006/relationships/notesSlide" Target="../notesSlides/notesSlide184.xml"/><Relationship Id="rId1" Type="http://schemas.openxmlformats.org/officeDocument/2006/relationships/slideLayout" Target="../slideLayouts/slideLayout46.xml"/></Relationships>
</file>

<file path=ppt/slides/_rels/slide234.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46.xml"/></Relationships>
</file>

<file path=ppt/slides/_rels/slide235.xml.rels><?xml version="1.0" encoding="UTF-8" standalone="yes"?>
<Relationships xmlns="http://schemas.openxmlformats.org/package/2006/relationships"><Relationship Id="rId2" Type="http://schemas.openxmlformats.org/officeDocument/2006/relationships/notesSlide" Target="../notesSlides/notesSlide186.xml"/><Relationship Id="rId1" Type="http://schemas.openxmlformats.org/officeDocument/2006/relationships/slideLayout" Target="../slideLayouts/slideLayout46.xml"/></Relationships>
</file>

<file path=ppt/slides/_rels/slide236.xml.rels><?xml version="1.0" encoding="UTF-8" standalone="yes"?>
<Relationships xmlns="http://schemas.openxmlformats.org/package/2006/relationships"><Relationship Id="rId2" Type="http://schemas.openxmlformats.org/officeDocument/2006/relationships/notesSlide" Target="../notesSlides/notesSlide187.xml"/><Relationship Id="rId1" Type="http://schemas.openxmlformats.org/officeDocument/2006/relationships/slideLayout" Target="../slideLayouts/slideLayout46.xml"/></Relationships>
</file>

<file path=ppt/slides/_rels/slide237.xml.rels><?xml version="1.0" encoding="UTF-8" standalone="yes"?>
<Relationships xmlns="http://schemas.openxmlformats.org/package/2006/relationships"><Relationship Id="rId2" Type="http://schemas.openxmlformats.org/officeDocument/2006/relationships/notesSlide" Target="../notesSlides/notesSlide188.xml"/><Relationship Id="rId1" Type="http://schemas.openxmlformats.org/officeDocument/2006/relationships/slideLayout" Target="../slideLayouts/slideLayout46.xml"/></Relationships>
</file>

<file path=ppt/slides/_rels/slide238.xml.rels><?xml version="1.0" encoding="UTF-8" standalone="yes"?>
<Relationships xmlns="http://schemas.openxmlformats.org/package/2006/relationships"><Relationship Id="rId2" Type="http://schemas.openxmlformats.org/officeDocument/2006/relationships/notesSlide" Target="../notesSlides/notesSlide189.xml"/><Relationship Id="rId1" Type="http://schemas.openxmlformats.org/officeDocument/2006/relationships/slideLayout" Target="../slideLayouts/slideLayout46.xml"/></Relationships>
</file>

<file path=ppt/slides/_rels/slide239.xml.rels><?xml version="1.0" encoding="UTF-8" standalone="yes"?>
<Relationships xmlns="http://schemas.openxmlformats.org/package/2006/relationships"><Relationship Id="rId2" Type="http://schemas.openxmlformats.org/officeDocument/2006/relationships/notesSlide" Target="../notesSlides/notesSlide190.xml"/><Relationship Id="rId1" Type="http://schemas.openxmlformats.org/officeDocument/2006/relationships/slideLayout" Target="../slideLayouts/slideLayout46.xml"/></Relationships>
</file>

<file path=ppt/slides/_rels/slide24.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240.xml.rels><?xml version="1.0" encoding="UTF-8" standalone="yes"?>
<Relationships xmlns="http://schemas.openxmlformats.org/package/2006/relationships"><Relationship Id="rId2" Type="http://schemas.openxmlformats.org/officeDocument/2006/relationships/notesSlide" Target="../notesSlides/notesSlide191.xml"/><Relationship Id="rId1" Type="http://schemas.openxmlformats.org/officeDocument/2006/relationships/slideLayout" Target="../slideLayouts/slideLayout46.xml"/></Relationships>
</file>

<file path=ppt/slides/_rels/slide241.xml.rels><?xml version="1.0" encoding="UTF-8" standalone="yes"?>
<Relationships xmlns="http://schemas.openxmlformats.org/package/2006/relationships"><Relationship Id="rId2" Type="http://schemas.openxmlformats.org/officeDocument/2006/relationships/notesSlide" Target="../notesSlides/notesSlide192.xml"/><Relationship Id="rId1" Type="http://schemas.openxmlformats.org/officeDocument/2006/relationships/slideLayout" Target="../slideLayouts/slideLayout46.xml"/></Relationships>
</file>

<file path=ppt/slides/_rels/slide242.xml.rels><?xml version="1.0" encoding="UTF-8" standalone="yes"?>
<Relationships xmlns="http://schemas.openxmlformats.org/package/2006/relationships"><Relationship Id="rId2" Type="http://schemas.openxmlformats.org/officeDocument/2006/relationships/notesSlide" Target="../notesSlides/notesSlide193.xml"/><Relationship Id="rId1" Type="http://schemas.openxmlformats.org/officeDocument/2006/relationships/slideLayout" Target="../slideLayouts/slideLayout46.xml"/></Relationships>
</file>

<file path=ppt/slides/_rels/slide243.xml.rels><?xml version="1.0" encoding="UTF-8" standalone="yes"?>
<Relationships xmlns="http://schemas.openxmlformats.org/package/2006/relationships"><Relationship Id="rId2" Type="http://schemas.openxmlformats.org/officeDocument/2006/relationships/notesSlide" Target="../notesSlides/notesSlide194.xml"/><Relationship Id="rId1" Type="http://schemas.openxmlformats.org/officeDocument/2006/relationships/slideLayout" Target="../slideLayouts/slideLayout46.xml"/></Relationships>
</file>

<file path=ppt/slides/_rels/slide244.xml.rels><?xml version="1.0" encoding="UTF-8" standalone="yes"?>
<Relationships xmlns="http://schemas.openxmlformats.org/package/2006/relationships"><Relationship Id="rId2" Type="http://schemas.openxmlformats.org/officeDocument/2006/relationships/notesSlide" Target="../notesSlides/notesSlide195.xml"/><Relationship Id="rId1" Type="http://schemas.openxmlformats.org/officeDocument/2006/relationships/slideLayout" Target="../slideLayouts/slideLayout46.xml"/></Relationships>
</file>

<file path=ppt/slides/_rels/slide245.xml.rels><?xml version="1.0" encoding="UTF-8" standalone="yes"?>
<Relationships xmlns="http://schemas.openxmlformats.org/package/2006/relationships"><Relationship Id="rId2" Type="http://schemas.openxmlformats.org/officeDocument/2006/relationships/notesSlide" Target="../notesSlides/notesSlide196.xml"/><Relationship Id="rId1" Type="http://schemas.openxmlformats.org/officeDocument/2006/relationships/slideLayout" Target="../slideLayouts/slideLayout46.xml"/></Relationships>
</file>

<file path=ppt/slides/_rels/slide246.xml.rels><?xml version="1.0" encoding="UTF-8" standalone="yes"?>
<Relationships xmlns="http://schemas.openxmlformats.org/package/2006/relationships"><Relationship Id="rId3" Type="http://schemas.openxmlformats.org/officeDocument/2006/relationships/slide" Target="slide187.xml"/><Relationship Id="rId2" Type="http://schemas.openxmlformats.org/officeDocument/2006/relationships/slide" Target="slide65.xml"/><Relationship Id="rId1" Type="http://schemas.openxmlformats.org/officeDocument/2006/relationships/slideLayout" Target="../slideLayouts/slideLayout21.xml"/></Relationships>
</file>

<file path=ppt/slides/_rels/slide247.xml.rels><?xml version="1.0" encoding="UTF-8" standalone="yes"?>
<Relationships xmlns="http://schemas.openxmlformats.org/package/2006/relationships"><Relationship Id="rId2" Type="http://schemas.openxmlformats.org/officeDocument/2006/relationships/notesSlide" Target="../notesSlides/notesSlide197.xml"/><Relationship Id="rId1" Type="http://schemas.openxmlformats.org/officeDocument/2006/relationships/slideLayout" Target="../slideLayouts/slideLayout46.xml"/></Relationships>
</file>

<file path=ppt/slides/_rels/slide248.xml.rels><?xml version="1.0" encoding="UTF-8" standalone="yes"?>
<Relationships xmlns="http://schemas.openxmlformats.org/package/2006/relationships"><Relationship Id="rId2" Type="http://schemas.openxmlformats.org/officeDocument/2006/relationships/notesSlide" Target="../notesSlides/notesSlide198.xml"/><Relationship Id="rId1" Type="http://schemas.openxmlformats.org/officeDocument/2006/relationships/slideLayout" Target="../slideLayouts/slideLayout46.xml"/></Relationships>
</file>

<file path=ppt/slides/_rels/slide249.xml.rels><?xml version="1.0" encoding="UTF-8" standalone="yes"?>
<Relationships xmlns="http://schemas.openxmlformats.org/package/2006/relationships"><Relationship Id="rId2" Type="http://schemas.openxmlformats.org/officeDocument/2006/relationships/notesSlide" Target="../notesSlides/notesSlide199.xml"/><Relationship Id="rId1" Type="http://schemas.openxmlformats.org/officeDocument/2006/relationships/slideLayout" Target="../slideLayouts/slideLayout46.xml"/></Relationships>
</file>

<file path=ppt/slides/_rels/slide25.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250.xml.rels><?xml version="1.0" encoding="UTF-8" standalone="yes"?>
<Relationships xmlns="http://schemas.openxmlformats.org/package/2006/relationships"><Relationship Id="rId2" Type="http://schemas.openxmlformats.org/officeDocument/2006/relationships/notesSlide" Target="../notesSlides/notesSlide200.xml"/><Relationship Id="rId1" Type="http://schemas.openxmlformats.org/officeDocument/2006/relationships/slideLayout" Target="../slideLayouts/slideLayout46.xml"/></Relationships>
</file>

<file path=ppt/slides/_rels/slide251.xml.rels><?xml version="1.0" encoding="UTF-8" standalone="yes"?>
<Relationships xmlns="http://schemas.openxmlformats.org/package/2006/relationships"><Relationship Id="rId2" Type="http://schemas.openxmlformats.org/officeDocument/2006/relationships/notesSlide" Target="../notesSlides/notesSlide201.xml"/><Relationship Id="rId1" Type="http://schemas.openxmlformats.org/officeDocument/2006/relationships/slideLayout" Target="../slideLayouts/slideLayout46.xml"/></Relationships>
</file>

<file path=ppt/slides/_rels/slide252.xml.rels><?xml version="1.0" encoding="UTF-8" standalone="yes"?>
<Relationships xmlns="http://schemas.openxmlformats.org/package/2006/relationships"><Relationship Id="rId2" Type="http://schemas.openxmlformats.org/officeDocument/2006/relationships/notesSlide" Target="../notesSlides/notesSlide202.xml"/><Relationship Id="rId1" Type="http://schemas.openxmlformats.org/officeDocument/2006/relationships/slideLayout" Target="../slideLayouts/slideLayout46.xml"/></Relationships>
</file>

<file path=ppt/slides/_rels/slide253.xml.rels><?xml version="1.0" encoding="UTF-8" standalone="yes"?>
<Relationships xmlns="http://schemas.openxmlformats.org/package/2006/relationships"><Relationship Id="rId2" Type="http://schemas.openxmlformats.org/officeDocument/2006/relationships/notesSlide" Target="../notesSlides/notesSlide203.xml"/><Relationship Id="rId1" Type="http://schemas.openxmlformats.org/officeDocument/2006/relationships/slideLayout" Target="../slideLayouts/slideLayout46.xml"/></Relationships>
</file>

<file path=ppt/slides/_rels/slide254.xml.rels><?xml version="1.0" encoding="UTF-8" standalone="yes"?>
<Relationships xmlns="http://schemas.openxmlformats.org/package/2006/relationships"><Relationship Id="rId2" Type="http://schemas.openxmlformats.org/officeDocument/2006/relationships/notesSlide" Target="../notesSlides/notesSlide204.xml"/><Relationship Id="rId1" Type="http://schemas.openxmlformats.org/officeDocument/2006/relationships/slideLayout" Target="../slideLayouts/slideLayout46.xml"/></Relationships>
</file>

<file path=ppt/slides/_rels/slide255.xml.rels><?xml version="1.0" encoding="UTF-8" standalone="yes"?>
<Relationships xmlns="http://schemas.openxmlformats.org/package/2006/relationships"><Relationship Id="rId2" Type="http://schemas.openxmlformats.org/officeDocument/2006/relationships/notesSlide" Target="../notesSlides/notesSlide205.xml"/><Relationship Id="rId1" Type="http://schemas.openxmlformats.org/officeDocument/2006/relationships/slideLayout" Target="../slideLayouts/slideLayout46.xml"/></Relationships>
</file>

<file path=ppt/slides/_rels/slide256.xml.rels><?xml version="1.0" encoding="UTF-8" standalone="yes"?>
<Relationships xmlns="http://schemas.openxmlformats.org/package/2006/relationships"><Relationship Id="rId2" Type="http://schemas.openxmlformats.org/officeDocument/2006/relationships/notesSlide" Target="../notesSlides/notesSlide206.xml"/><Relationship Id="rId1" Type="http://schemas.openxmlformats.org/officeDocument/2006/relationships/slideLayout" Target="../slideLayouts/slideLayout46.xml"/></Relationships>
</file>

<file path=ppt/slides/_rels/slide257.xml.rels><?xml version="1.0" encoding="UTF-8" standalone="yes"?>
<Relationships xmlns="http://schemas.openxmlformats.org/package/2006/relationships"><Relationship Id="rId2" Type="http://schemas.openxmlformats.org/officeDocument/2006/relationships/notesSlide" Target="../notesSlides/notesSlide207.xml"/><Relationship Id="rId1" Type="http://schemas.openxmlformats.org/officeDocument/2006/relationships/slideLayout" Target="../slideLayouts/slideLayout46.xml"/></Relationships>
</file>

<file path=ppt/slides/_rels/slide258.xml.rels><?xml version="1.0" encoding="UTF-8" standalone="yes"?>
<Relationships xmlns="http://schemas.openxmlformats.org/package/2006/relationships"><Relationship Id="rId2" Type="http://schemas.openxmlformats.org/officeDocument/2006/relationships/notesSlide" Target="../notesSlides/notesSlide208.xml"/><Relationship Id="rId1" Type="http://schemas.openxmlformats.org/officeDocument/2006/relationships/slideLayout" Target="../slideLayouts/slideLayout46.xml"/></Relationships>
</file>

<file path=ppt/slides/_rels/slide259.xml.rels><?xml version="1.0" encoding="UTF-8" standalone="yes"?>
<Relationships xmlns="http://schemas.openxmlformats.org/package/2006/relationships"><Relationship Id="rId8" Type="http://schemas.openxmlformats.org/officeDocument/2006/relationships/notesSlide" Target="../notesSlides/notesSlide209.xml"/><Relationship Id="rId3" Type="http://schemas.openxmlformats.org/officeDocument/2006/relationships/tags" Target="../tags/tag142.xml"/><Relationship Id="rId7" Type="http://schemas.openxmlformats.org/officeDocument/2006/relationships/slideLayout" Target="../slideLayouts/slideLayout46.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5" Type="http://schemas.openxmlformats.org/officeDocument/2006/relationships/tags" Target="../tags/tag144.xml"/><Relationship Id="rId4" Type="http://schemas.openxmlformats.org/officeDocument/2006/relationships/tags" Target="../tags/tag143.xml"/></Relationships>
</file>

<file path=ppt/slides/_rels/slide26.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260.xml.rels><?xml version="1.0" encoding="UTF-8" standalone="yes"?>
<Relationships xmlns="http://schemas.openxmlformats.org/package/2006/relationships"><Relationship Id="rId2" Type="http://schemas.openxmlformats.org/officeDocument/2006/relationships/notesSlide" Target="../notesSlides/notesSlide210.xml"/><Relationship Id="rId1" Type="http://schemas.openxmlformats.org/officeDocument/2006/relationships/slideLayout" Target="../slideLayouts/slideLayout46.xml"/></Relationships>
</file>

<file path=ppt/slides/_rels/slide261.xml.rels><?xml version="1.0" encoding="UTF-8" standalone="yes"?>
<Relationships xmlns="http://schemas.openxmlformats.org/package/2006/relationships"><Relationship Id="rId2" Type="http://schemas.openxmlformats.org/officeDocument/2006/relationships/notesSlide" Target="../notesSlides/notesSlide211.xml"/><Relationship Id="rId1" Type="http://schemas.openxmlformats.org/officeDocument/2006/relationships/slideLayout" Target="../slideLayouts/slideLayout46.xml"/></Relationships>
</file>

<file path=ppt/slides/_rels/slide262.xml.rels><?xml version="1.0" encoding="UTF-8" standalone="yes"?>
<Relationships xmlns="http://schemas.openxmlformats.org/package/2006/relationships"><Relationship Id="rId2" Type="http://schemas.openxmlformats.org/officeDocument/2006/relationships/notesSlide" Target="../notesSlides/notesSlide212.xml"/><Relationship Id="rId1" Type="http://schemas.openxmlformats.org/officeDocument/2006/relationships/slideLayout" Target="../slideLayouts/slideLayout46.xml"/></Relationships>
</file>

<file path=ppt/slides/_rels/slide263.xml.rels><?xml version="1.0" encoding="UTF-8" standalone="yes"?>
<Relationships xmlns="http://schemas.openxmlformats.org/package/2006/relationships"><Relationship Id="rId2" Type="http://schemas.openxmlformats.org/officeDocument/2006/relationships/notesSlide" Target="../notesSlides/notesSlide213.xml"/><Relationship Id="rId1" Type="http://schemas.openxmlformats.org/officeDocument/2006/relationships/slideLayout" Target="../slideLayouts/slideLayout46.xml"/></Relationships>
</file>

<file path=ppt/slides/_rels/slide264.xml.rels><?xml version="1.0" encoding="UTF-8" standalone="yes"?>
<Relationships xmlns="http://schemas.openxmlformats.org/package/2006/relationships"><Relationship Id="rId2" Type="http://schemas.openxmlformats.org/officeDocument/2006/relationships/notesSlide" Target="../notesSlides/notesSlide214.xml"/><Relationship Id="rId1" Type="http://schemas.openxmlformats.org/officeDocument/2006/relationships/slideLayout" Target="../slideLayouts/slideLayout46.xml"/></Relationships>
</file>

<file path=ppt/slides/_rels/slide265.xml.rels><?xml version="1.0" encoding="UTF-8" standalone="yes"?>
<Relationships xmlns="http://schemas.openxmlformats.org/package/2006/relationships"><Relationship Id="rId3" Type="http://schemas.openxmlformats.org/officeDocument/2006/relationships/tags" Target="../tags/tag148.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notesSlide" Target="../notesSlides/notesSlide215.xml"/><Relationship Id="rId5" Type="http://schemas.openxmlformats.org/officeDocument/2006/relationships/slideLayout" Target="../slideLayouts/slideLayout46.xml"/><Relationship Id="rId4" Type="http://schemas.openxmlformats.org/officeDocument/2006/relationships/tags" Target="../tags/tag149.xml"/></Relationships>
</file>

<file path=ppt/slides/_rels/slide266.xml.rels><?xml version="1.0" encoding="UTF-8" standalone="yes"?>
<Relationships xmlns="http://schemas.openxmlformats.org/package/2006/relationships"><Relationship Id="rId3" Type="http://schemas.openxmlformats.org/officeDocument/2006/relationships/slide" Target="slide288.xml"/><Relationship Id="rId7" Type="http://schemas.openxmlformats.org/officeDocument/2006/relationships/slide" Target="slide65.xml"/><Relationship Id="rId2" Type="http://schemas.openxmlformats.org/officeDocument/2006/relationships/slide" Target="slide267.xml"/><Relationship Id="rId1" Type="http://schemas.openxmlformats.org/officeDocument/2006/relationships/slideLayout" Target="../slideLayouts/slideLayout19.xml"/><Relationship Id="rId6" Type="http://schemas.openxmlformats.org/officeDocument/2006/relationships/slide" Target="slide340.xml"/><Relationship Id="rId5" Type="http://schemas.openxmlformats.org/officeDocument/2006/relationships/slide" Target="slide313.xml"/><Relationship Id="rId4" Type="http://schemas.openxmlformats.org/officeDocument/2006/relationships/slide" Target="slide295.xml"/></Relationships>
</file>

<file path=ppt/slides/_rels/slide267.xml.rels><?xml version="1.0" encoding="UTF-8" standalone="yes"?>
<Relationships xmlns="http://schemas.openxmlformats.org/package/2006/relationships"><Relationship Id="rId3" Type="http://schemas.openxmlformats.org/officeDocument/2006/relationships/slide" Target="slide65.xml"/><Relationship Id="rId2" Type="http://schemas.openxmlformats.org/officeDocument/2006/relationships/slide" Target="slide266.xml"/><Relationship Id="rId1" Type="http://schemas.openxmlformats.org/officeDocument/2006/relationships/slideLayout" Target="../slideLayouts/slideLayout21.xml"/></Relationships>
</file>

<file path=ppt/slides/_rels/slide268.xml.rels><?xml version="1.0" encoding="UTF-8" standalone="yes"?>
<Relationships xmlns="http://schemas.openxmlformats.org/package/2006/relationships"><Relationship Id="rId2" Type="http://schemas.openxmlformats.org/officeDocument/2006/relationships/notesSlide" Target="../notesSlides/notesSlide216.xml"/><Relationship Id="rId1" Type="http://schemas.openxmlformats.org/officeDocument/2006/relationships/slideLayout" Target="../slideLayouts/slideLayout46.xml"/></Relationships>
</file>

<file path=ppt/slides/_rels/slide269.xml.rels><?xml version="1.0" encoding="UTF-8" standalone="yes"?>
<Relationships xmlns="http://schemas.openxmlformats.org/package/2006/relationships"><Relationship Id="rId2" Type="http://schemas.openxmlformats.org/officeDocument/2006/relationships/notesSlide" Target="../notesSlides/notesSlide217.xml"/><Relationship Id="rId1" Type="http://schemas.openxmlformats.org/officeDocument/2006/relationships/slideLayout" Target="../slideLayouts/slideLayout4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270.xml.rels><?xml version="1.0" encoding="UTF-8" standalone="yes"?>
<Relationships xmlns="http://schemas.openxmlformats.org/package/2006/relationships"><Relationship Id="rId2" Type="http://schemas.openxmlformats.org/officeDocument/2006/relationships/notesSlide" Target="../notesSlides/notesSlide218.xml"/><Relationship Id="rId1" Type="http://schemas.openxmlformats.org/officeDocument/2006/relationships/slideLayout" Target="../slideLayouts/slideLayout46.xml"/></Relationships>
</file>

<file path=ppt/slides/_rels/slide271.xml.rels><?xml version="1.0" encoding="UTF-8" standalone="yes"?>
<Relationships xmlns="http://schemas.openxmlformats.org/package/2006/relationships"><Relationship Id="rId2" Type="http://schemas.openxmlformats.org/officeDocument/2006/relationships/notesSlide" Target="../notesSlides/notesSlide219.xml"/><Relationship Id="rId1" Type="http://schemas.openxmlformats.org/officeDocument/2006/relationships/slideLayout" Target="../slideLayouts/slideLayout46.xml"/></Relationships>
</file>

<file path=ppt/slides/_rels/slide272.xml.rels><?xml version="1.0" encoding="UTF-8" standalone="yes"?>
<Relationships xmlns="http://schemas.openxmlformats.org/package/2006/relationships"><Relationship Id="rId2" Type="http://schemas.openxmlformats.org/officeDocument/2006/relationships/notesSlide" Target="../notesSlides/notesSlide220.xml"/><Relationship Id="rId1" Type="http://schemas.openxmlformats.org/officeDocument/2006/relationships/slideLayout" Target="../slideLayouts/slideLayout46.xml"/></Relationships>
</file>

<file path=ppt/slides/_rels/slide273.xml.rels><?xml version="1.0" encoding="UTF-8" standalone="yes"?>
<Relationships xmlns="http://schemas.openxmlformats.org/package/2006/relationships"><Relationship Id="rId2" Type="http://schemas.openxmlformats.org/officeDocument/2006/relationships/notesSlide" Target="../notesSlides/notesSlide221.xml"/><Relationship Id="rId1" Type="http://schemas.openxmlformats.org/officeDocument/2006/relationships/slideLayout" Target="../slideLayouts/slideLayout46.xml"/></Relationships>
</file>

<file path=ppt/slides/_rels/slide274.xml.rels><?xml version="1.0" encoding="UTF-8" standalone="yes"?>
<Relationships xmlns="http://schemas.openxmlformats.org/package/2006/relationships"><Relationship Id="rId2" Type="http://schemas.openxmlformats.org/officeDocument/2006/relationships/notesSlide" Target="../notesSlides/notesSlide222.xml"/><Relationship Id="rId1" Type="http://schemas.openxmlformats.org/officeDocument/2006/relationships/slideLayout" Target="../slideLayouts/slideLayout46.xml"/></Relationships>
</file>

<file path=ppt/slides/_rels/slide275.xml.rels><?xml version="1.0" encoding="UTF-8" standalone="yes"?>
<Relationships xmlns="http://schemas.openxmlformats.org/package/2006/relationships"><Relationship Id="rId2" Type="http://schemas.openxmlformats.org/officeDocument/2006/relationships/notesSlide" Target="../notesSlides/notesSlide223.xml"/><Relationship Id="rId1" Type="http://schemas.openxmlformats.org/officeDocument/2006/relationships/slideLayout" Target="../slideLayouts/slideLayout46.xml"/></Relationships>
</file>

<file path=ppt/slides/_rels/slide276.xml.rels><?xml version="1.0" encoding="UTF-8" standalone="yes"?>
<Relationships xmlns="http://schemas.openxmlformats.org/package/2006/relationships"><Relationship Id="rId2" Type="http://schemas.openxmlformats.org/officeDocument/2006/relationships/notesSlide" Target="../notesSlides/notesSlide224.xml"/><Relationship Id="rId1" Type="http://schemas.openxmlformats.org/officeDocument/2006/relationships/slideLayout" Target="../slideLayouts/slideLayout46.xml"/></Relationships>
</file>

<file path=ppt/slides/_rels/slide277.xml.rels><?xml version="1.0" encoding="UTF-8" standalone="yes"?>
<Relationships xmlns="http://schemas.openxmlformats.org/package/2006/relationships"><Relationship Id="rId2" Type="http://schemas.openxmlformats.org/officeDocument/2006/relationships/notesSlide" Target="../notesSlides/notesSlide225.xml"/><Relationship Id="rId1" Type="http://schemas.openxmlformats.org/officeDocument/2006/relationships/slideLayout" Target="../slideLayouts/slideLayout46.xml"/></Relationships>
</file>

<file path=ppt/slides/_rels/slide278.xml.rels><?xml version="1.0" encoding="UTF-8" standalone="yes"?>
<Relationships xmlns="http://schemas.openxmlformats.org/package/2006/relationships"><Relationship Id="rId2" Type="http://schemas.openxmlformats.org/officeDocument/2006/relationships/notesSlide" Target="../notesSlides/notesSlide226.xml"/><Relationship Id="rId1" Type="http://schemas.openxmlformats.org/officeDocument/2006/relationships/slideLayout" Target="../slideLayouts/slideLayout46.xml"/></Relationships>
</file>

<file path=ppt/slides/_rels/slide279.xml.rels><?xml version="1.0" encoding="UTF-8" standalone="yes"?>
<Relationships xmlns="http://schemas.openxmlformats.org/package/2006/relationships"><Relationship Id="rId8" Type="http://schemas.openxmlformats.org/officeDocument/2006/relationships/tags" Target="../tags/tag157.xml"/><Relationship Id="rId3" Type="http://schemas.openxmlformats.org/officeDocument/2006/relationships/tags" Target="../tags/tag152.xml"/><Relationship Id="rId7" Type="http://schemas.openxmlformats.org/officeDocument/2006/relationships/tags" Target="../tags/tag156.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tags" Target="../tags/tag155.xml"/><Relationship Id="rId5" Type="http://schemas.openxmlformats.org/officeDocument/2006/relationships/tags" Target="../tags/tag154.xml"/><Relationship Id="rId10" Type="http://schemas.openxmlformats.org/officeDocument/2006/relationships/notesSlide" Target="../notesSlides/notesSlide227.xml"/><Relationship Id="rId4" Type="http://schemas.openxmlformats.org/officeDocument/2006/relationships/tags" Target="../tags/tag153.xml"/><Relationship Id="rId9" Type="http://schemas.openxmlformats.org/officeDocument/2006/relationships/slideLayout" Target="../slideLayouts/slideLayout46.xml"/></Relationships>
</file>

<file path=ppt/slides/_rels/slide28.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9.xml"/><Relationship Id="rId1" Type="http://schemas.openxmlformats.org/officeDocument/2006/relationships/slideLayout" Target="../slideLayouts/slideLayout13.xml"/><Relationship Id="rId5" Type="http://schemas.openxmlformats.org/officeDocument/2006/relationships/image" Target="../media/image5.svg"/><Relationship Id="rId4" Type="http://schemas.openxmlformats.org/officeDocument/2006/relationships/image" Target="../media/image4.png"/></Relationships>
</file>

<file path=ppt/slides/_rels/slide280.xml.rels><?xml version="1.0" encoding="UTF-8" standalone="yes"?>
<Relationships xmlns="http://schemas.openxmlformats.org/package/2006/relationships"><Relationship Id="rId2" Type="http://schemas.openxmlformats.org/officeDocument/2006/relationships/notesSlide" Target="../notesSlides/notesSlide228.xml"/><Relationship Id="rId1" Type="http://schemas.openxmlformats.org/officeDocument/2006/relationships/slideLayout" Target="../slideLayouts/slideLayout46.xml"/></Relationships>
</file>

<file path=ppt/slides/_rels/slide281.xml.rels><?xml version="1.0" encoding="UTF-8" standalone="yes"?>
<Relationships xmlns="http://schemas.openxmlformats.org/package/2006/relationships"><Relationship Id="rId2" Type="http://schemas.openxmlformats.org/officeDocument/2006/relationships/notesSlide" Target="../notesSlides/notesSlide229.xml"/><Relationship Id="rId1" Type="http://schemas.openxmlformats.org/officeDocument/2006/relationships/slideLayout" Target="../slideLayouts/slideLayout46.xml"/></Relationships>
</file>

<file path=ppt/slides/_rels/slide282.xml.rels><?xml version="1.0" encoding="UTF-8" standalone="yes"?>
<Relationships xmlns="http://schemas.openxmlformats.org/package/2006/relationships"><Relationship Id="rId2" Type="http://schemas.openxmlformats.org/officeDocument/2006/relationships/notesSlide" Target="../notesSlides/notesSlide230.xml"/><Relationship Id="rId1" Type="http://schemas.openxmlformats.org/officeDocument/2006/relationships/slideLayout" Target="../slideLayouts/slideLayout46.xml"/></Relationships>
</file>

<file path=ppt/slides/_rels/slide283.xml.rels><?xml version="1.0" encoding="UTF-8" standalone="yes"?>
<Relationships xmlns="http://schemas.openxmlformats.org/package/2006/relationships"><Relationship Id="rId2" Type="http://schemas.openxmlformats.org/officeDocument/2006/relationships/notesSlide" Target="../notesSlides/notesSlide231.xml"/><Relationship Id="rId1" Type="http://schemas.openxmlformats.org/officeDocument/2006/relationships/slideLayout" Target="../slideLayouts/slideLayout46.xml"/></Relationships>
</file>

<file path=ppt/slides/_rels/slide284.xml.rels><?xml version="1.0" encoding="UTF-8" standalone="yes"?>
<Relationships xmlns="http://schemas.openxmlformats.org/package/2006/relationships"><Relationship Id="rId2" Type="http://schemas.openxmlformats.org/officeDocument/2006/relationships/notesSlide" Target="../notesSlides/notesSlide232.xml"/><Relationship Id="rId1" Type="http://schemas.openxmlformats.org/officeDocument/2006/relationships/slideLayout" Target="../slideLayouts/slideLayout46.xml"/></Relationships>
</file>

<file path=ppt/slides/_rels/slide285.xml.rels><?xml version="1.0" encoding="UTF-8" standalone="yes"?>
<Relationships xmlns="http://schemas.openxmlformats.org/package/2006/relationships"><Relationship Id="rId8" Type="http://schemas.openxmlformats.org/officeDocument/2006/relationships/tags" Target="../tags/tag165.xml"/><Relationship Id="rId13" Type="http://schemas.openxmlformats.org/officeDocument/2006/relationships/tags" Target="../tags/tag170.xml"/><Relationship Id="rId3" Type="http://schemas.openxmlformats.org/officeDocument/2006/relationships/tags" Target="../tags/tag160.xml"/><Relationship Id="rId7" Type="http://schemas.openxmlformats.org/officeDocument/2006/relationships/tags" Target="../tags/tag164.xml"/><Relationship Id="rId12" Type="http://schemas.openxmlformats.org/officeDocument/2006/relationships/tags" Target="../tags/tag169.xml"/><Relationship Id="rId17" Type="http://schemas.openxmlformats.org/officeDocument/2006/relationships/notesSlide" Target="../notesSlides/notesSlide233.xml"/><Relationship Id="rId2" Type="http://schemas.openxmlformats.org/officeDocument/2006/relationships/tags" Target="../tags/tag159.xml"/><Relationship Id="rId16" Type="http://schemas.openxmlformats.org/officeDocument/2006/relationships/slideLayout" Target="../slideLayouts/slideLayout46.xml"/><Relationship Id="rId1" Type="http://schemas.openxmlformats.org/officeDocument/2006/relationships/tags" Target="../tags/tag158.xml"/><Relationship Id="rId6" Type="http://schemas.openxmlformats.org/officeDocument/2006/relationships/tags" Target="../tags/tag163.xml"/><Relationship Id="rId11" Type="http://schemas.openxmlformats.org/officeDocument/2006/relationships/tags" Target="../tags/tag168.xml"/><Relationship Id="rId5" Type="http://schemas.openxmlformats.org/officeDocument/2006/relationships/tags" Target="../tags/tag162.xml"/><Relationship Id="rId15" Type="http://schemas.openxmlformats.org/officeDocument/2006/relationships/tags" Target="../tags/tag172.xml"/><Relationship Id="rId10" Type="http://schemas.openxmlformats.org/officeDocument/2006/relationships/tags" Target="../tags/tag167.xml"/><Relationship Id="rId4" Type="http://schemas.openxmlformats.org/officeDocument/2006/relationships/tags" Target="../tags/tag161.xml"/><Relationship Id="rId9" Type="http://schemas.openxmlformats.org/officeDocument/2006/relationships/tags" Target="../tags/tag166.xml"/><Relationship Id="rId14" Type="http://schemas.openxmlformats.org/officeDocument/2006/relationships/tags" Target="../tags/tag171.xml"/></Relationships>
</file>

<file path=ppt/slides/_rels/slide286.xml.rels><?xml version="1.0" encoding="UTF-8" standalone="yes"?>
<Relationships xmlns="http://schemas.openxmlformats.org/package/2006/relationships"><Relationship Id="rId2" Type="http://schemas.openxmlformats.org/officeDocument/2006/relationships/notesSlide" Target="../notesSlides/notesSlide234.xml"/><Relationship Id="rId1" Type="http://schemas.openxmlformats.org/officeDocument/2006/relationships/slideLayout" Target="../slideLayouts/slideLayout46.xml"/></Relationships>
</file>

<file path=ppt/slides/_rels/slide287.xml.rels><?xml version="1.0" encoding="UTF-8" standalone="yes"?>
<Relationships xmlns="http://schemas.openxmlformats.org/package/2006/relationships"><Relationship Id="rId2" Type="http://schemas.openxmlformats.org/officeDocument/2006/relationships/notesSlide" Target="../notesSlides/notesSlide235.xml"/><Relationship Id="rId1" Type="http://schemas.openxmlformats.org/officeDocument/2006/relationships/slideLayout" Target="../slideLayouts/slideLayout46.xml"/></Relationships>
</file>

<file path=ppt/slides/_rels/slide288.xml.rels><?xml version="1.0" encoding="UTF-8" standalone="yes"?>
<Relationships xmlns="http://schemas.openxmlformats.org/package/2006/relationships"><Relationship Id="rId3" Type="http://schemas.openxmlformats.org/officeDocument/2006/relationships/slide" Target="slide65.xml"/><Relationship Id="rId2" Type="http://schemas.openxmlformats.org/officeDocument/2006/relationships/slide" Target="slide266.xml"/><Relationship Id="rId1" Type="http://schemas.openxmlformats.org/officeDocument/2006/relationships/slideLayout" Target="../slideLayouts/slideLayout21.xml"/></Relationships>
</file>

<file path=ppt/slides/_rels/slide289.xml.rels><?xml version="1.0" encoding="UTF-8" standalone="yes"?>
<Relationships xmlns="http://schemas.openxmlformats.org/package/2006/relationships"><Relationship Id="rId2" Type="http://schemas.openxmlformats.org/officeDocument/2006/relationships/notesSlide" Target="../notesSlides/notesSlide236.xml"/><Relationship Id="rId1" Type="http://schemas.openxmlformats.org/officeDocument/2006/relationships/slideLayout" Target="../slideLayouts/slideLayout46.xml"/></Relationships>
</file>

<file path=ppt/slides/_rels/slide29.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290.xml.rels><?xml version="1.0" encoding="UTF-8" standalone="yes"?>
<Relationships xmlns="http://schemas.openxmlformats.org/package/2006/relationships"><Relationship Id="rId2" Type="http://schemas.openxmlformats.org/officeDocument/2006/relationships/notesSlide" Target="../notesSlides/notesSlide237.xml"/><Relationship Id="rId1" Type="http://schemas.openxmlformats.org/officeDocument/2006/relationships/slideLayout" Target="../slideLayouts/slideLayout46.xml"/></Relationships>
</file>

<file path=ppt/slides/_rels/slide291.xml.rels><?xml version="1.0" encoding="UTF-8" standalone="yes"?>
<Relationships xmlns="http://schemas.openxmlformats.org/package/2006/relationships"><Relationship Id="rId2" Type="http://schemas.openxmlformats.org/officeDocument/2006/relationships/notesSlide" Target="../notesSlides/notesSlide238.xml"/><Relationship Id="rId1" Type="http://schemas.openxmlformats.org/officeDocument/2006/relationships/slideLayout" Target="../slideLayouts/slideLayout46.xml"/></Relationships>
</file>

<file path=ppt/slides/_rels/slide292.xml.rels><?xml version="1.0" encoding="UTF-8" standalone="yes"?>
<Relationships xmlns="http://schemas.openxmlformats.org/package/2006/relationships"><Relationship Id="rId2" Type="http://schemas.openxmlformats.org/officeDocument/2006/relationships/notesSlide" Target="../notesSlides/notesSlide239.xml"/><Relationship Id="rId1" Type="http://schemas.openxmlformats.org/officeDocument/2006/relationships/slideLayout" Target="../slideLayouts/slideLayout46.xml"/></Relationships>
</file>

<file path=ppt/slides/_rels/slide293.xml.rels><?xml version="1.0" encoding="UTF-8" standalone="yes"?>
<Relationships xmlns="http://schemas.openxmlformats.org/package/2006/relationships"><Relationship Id="rId2" Type="http://schemas.openxmlformats.org/officeDocument/2006/relationships/notesSlide" Target="../notesSlides/notesSlide240.xml"/><Relationship Id="rId1" Type="http://schemas.openxmlformats.org/officeDocument/2006/relationships/slideLayout" Target="../slideLayouts/slideLayout46.xml"/></Relationships>
</file>

<file path=ppt/slides/_rels/slide294.xml.rels><?xml version="1.0" encoding="UTF-8" standalone="yes"?>
<Relationships xmlns="http://schemas.openxmlformats.org/package/2006/relationships"><Relationship Id="rId2" Type="http://schemas.openxmlformats.org/officeDocument/2006/relationships/notesSlide" Target="../notesSlides/notesSlide241.xml"/><Relationship Id="rId1" Type="http://schemas.openxmlformats.org/officeDocument/2006/relationships/slideLayout" Target="../slideLayouts/slideLayout46.xml"/></Relationships>
</file>

<file path=ppt/slides/_rels/slide295.xml.rels><?xml version="1.0" encoding="UTF-8" standalone="yes"?>
<Relationships xmlns="http://schemas.openxmlformats.org/package/2006/relationships"><Relationship Id="rId3" Type="http://schemas.openxmlformats.org/officeDocument/2006/relationships/slide" Target="slide266.xml"/><Relationship Id="rId2" Type="http://schemas.openxmlformats.org/officeDocument/2006/relationships/slide" Target="slide65.xml"/><Relationship Id="rId1" Type="http://schemas.openxmlformats.org/officeDocument/2006/relationships/slideLayout" Target="../slideLayouts/slideLayout21.xml"/></Relationships>
</file>

<file path=ppt/slides/_rels/slide296.xml.rels><?xml version="1.0" encoding="UTF-8" standalone="yes"?>
<Relationships xmlns="http://schemas.openxmlformats.org/package/2006/relationships"><Relationship Id="rId2" Type="http://schemas.openxmlformats.org/officeDocument/2006/relationships/notesSlide" Target="../notesSlides/notesSlide242.xml"/><Relationship Id="rId1" Type="http://schemas.openxmlformats.org/officeDocument/2006/relationships/slideLayout" Target="../slideLayouts/slideLayout46.xml"/></Relationships>
</file>

<file path=ppt/slides/_rels/slide297.xml.rels><?xml version="1.0" encoding="UTF-8" standalone="yes"?>
<Relationships xmlns="http://schemas.openxmlformats.org/package/2006/relationships"><Relationship Id="rId2" Type="http://schemas.openxmlformats.org/officeDocument/2006/relationships/notesSlide" Target="../notesSlides/notesSlide243.xml"/><Relationship Id="rId1" Type="http://schemas.openxmlformats.org/officeDocument/2006/relationships/slideLayout" Target="../slideLayouts/slideLayout46.xml"/></Relationships>
</file>

<file path=ppt/slides/_rels/slide298.xml.rels><?xml version="1.0" encoding="UTF-8" standalone="yes"?>
<Relationships xmlns="http://schemas.openxmlformats.org/package/2006/relationships"><Relationship Id="rId8" Type="http://schemas.openxmlformats.org/officeDocument/2006/relationships/tags" Target="../tags/tag180.xml"/><Relationship Id="rId3" Type="http://schemas.openxmlformats.org/officeDocument/2006/relationships/tags" Target="../tags/tag175.xml"/><Relationship Id="rId7" Type="http://schemas.openxmlformats.org/officeDocument/2006/relationships/tags" Target="../tags/tag179.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tags" Target="../tags/tag178.xml"/><Relationship Id="rId11" Type="http://schemas.openxmlformats.org/officeDocument/2006/relationships/notesSlide" Target="../notesSlides/notesSlide244.xml"/><Relationship Id="rId5" Type="http://schemas.openxmlformats.org/officeDocument/2006/relationships/tags" Target="../tags/tag177.xml"/><Relationship Id="rId10" Type="http://schemas.openxmlformats.org/officeDocument/2006/relationships/slideLayout" Target="../slideLayouts/slideLayout46.xml"/><Relationship Id="rId4" Type="http://schemas.openxmlformats.org/officeDocument/2006/relationships/tags" Target="../tags/tag176.xml"/><Relationship Id="rId9" Type="http://schemas.openxmlformats.org/officeDocument/2006/relationships/tags" Target="../tags/tag181.xml"/></Relationships>
</file>

<file path=ppt/slides/_rels/slide299.xml.rels><?xml version="1.0" encoding="UTF-8" standalone="yes"?>
<Relationships xmlns="http://schemas.openxmlformats.org/package/2006/relationships"><Relationship Id="rId8" Type="http://schemas.openxmlformats.org/officeDocument/2006/relationships/tags" Target="../tags/tag189.xml"/><Relationship Id="rId3" Type="http://schemas.openxmlformats.org/officeDocument/2006/relationships/tags" Target="../tags/tag184.xml"/><Relationship Id="rId7" Type="http://schemas.openxmlformats.org/officeDocument/2006/relationships/tags" Target="../tags/tag188.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tags" Target="../tags/tag187.xml"/><Relationship Id="rId5" Type="http://schemas.openxmlformats.org/officeDocument/2006/relationships/tags" Target="../tags/tag186.xml"/><Relationship Id="rId10" Type="http://schemas.openxmlformats.org/officeDocument/2006/relationships/notesSlide" Target="../notesSlides/notesSlide245.xml"/><Relationship Id="rId4" Type="http://schemas.openxmlformats.org/officeDocument/2006/relationships/tags" Target="../tags/tag185.xml"/><Relationship Id="rId9"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00.xml.rels><?xml version="1.0" encoding="UTF-8" standalone="yes"?>
<Relationships xmlns="http://schemas.openxmlformats.org/package/2006/relationships"><Relationship Id="rId3" Type="http://schemas.openxmlformats.org/officeDocument/2006/relationships/notesSlide" Target="../notesSlides/notesSlide246.xml"/><Relationship Id="rId2" Type="http://schemas.openxmlformats.org/officeDocument/2006/relationships/slideLayout" Target="../slideLayouts/slideLayout46.xml"/><Relationship Id="rId1" Type="http://schemas.openxmlformats.org/officeDocument/2006/relationships/tags" Target="../tags/tag190.xml"/></Relationships>
</file>

<file path=ppt/slides/_rels/slide301.xml.rels><?xml version="1.0" encoding="UTF-8" standalone="yes"?>
<Relationships xmlns="http://schemas.openxmlformats.org/package/2006/relationships"><Relationship Id="rId3" Type="http://schemas.openxmlformats.org/officeDocument/2006/relationships/notesSlide" Target="../notesSlides/notesSlide247.xml"/><Relationship Id="rId2" Type="http://schemas.openxmlformats.org/officeDocument/2006/relationships/slideLayout" Target="../slideLayouts/slideLayout46.xml"/><Relationship Id="rId1" Type="http://schemas.openxmlformats.org/officeDocument/2006/relationships/tags" Target="../tags/tag191.xml"/></Relationships>
</file>

<file path=ppt/slides/_rels/slide302.xml.rels><?xml version="1.0" encoding="UTF-8" standalone="yes"?>
<Relationships xmlns="http://schemas.openxmlformats.org/package/2006/relationships"><Relationship Id="rId8" Type="http://schemas.openxmlformats.org/officeDocument/2006/relationships/tags" Target="../tags/tag199.xml"/><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notesSlide" Target="../notesSlides/notesSlide248.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slideLayout" Target="../slideLayouts/slideLayout46.xml"/><Relationship Id="rId5" Type="http://schemas.openxmlformats.org/officeDocument/2006/relationships/tags" Target="../tags/tag196.xml"/><Relationship Id="rId10" Type="http://schemas.openxmlformats.org/officeDocument/2006/relationships/tags" Target="../tags/tag201.xml"/><Relationship Id="rId4" Type="http://schemas.openxmlformats.org/officeDocument/2006/relationships/tags" Target="../tags/tag195.xml"/><Relationship Id="rId9" Type="http://schemas.openxmlformats.org/officeDocument/2006/relationships/tags" Target="../tags/tag200.xml"/></Relationships>
</file>

<file path=ppt/slides/_rels/slide303.xml.rels><?xml version="1.0" encoding="UTF-8" standalone="yes"?>
<Relationships xmlns="http://schemas.openxmlformats.org/package/2006/relationships"><Relationship Id="rId3" Type="http://schemas.openxmlformats.org/officeDocument/2006/relationships/notesSlide" Target="../notesSlides/notesSlide249.xml"/><Relationship Id="rId2" Type="http://schemas.openxmlformats.org/officeDocument/2006/relationships/slideLayout" Target="../slideLayouts/slideLayout46.xml"/><Relationship Id="rId1" Type="http://schemas.openxmlformats.org/officeDocument/2006/relationships/tags" Target="../tags/tag202.xml"/></Relationships>
</file>

<file path=ppt/slides/_rels/slide304.xml.rels><?xml version="1.0" encoding="UTF-8" standalone="yes"?>
<Relationships xmlns="http://schemas.openxmlformats.org/package/2006/relationships"><Relationship Id="rId2" Type="http://schemas.openxmlformats.org/officeDocument/2006/relationships/notesSlide" Target="../notesSlides/notesSlide250.xml"/><Relationship Id="rId1" Type="http://schemas.openxmlformats.org/officeDocument/2006/relationships/slideLayout" Target="../slideLayouts/slideLayout46.xml"/></Relationships>
</file>

<file path=ppt/slides/_rels/slide305.xml.rels><?xml version="1.0" encoding="UTF-8" standalone="yes"?>
<Relationships xmlns="http://schemas.openxmlformats.org/package/2006/relationships"><Relationship Id="rId2" Type="http://schemas.openxmlformats.org/officeDocument/2006/relationships/notesSlide" Target="../notesSlides/notesSlide251.xml"/><Relationship Id="rId1" Type="http://schemas.openxmlformats.org/officeDocument/2006/relationships/slideLayout" Target="../slideLayouts/slideLayout46.xml"/></Relationships>
</file>

<file path=ppt/slides/_rels/slide306.xml.rels><?xml version="1.0" encoding="UTF-8" standalone="yes"?>
<Relationships xmlns="http://schemas.openxmlformats.org/package/2006/relationships"><Relationship Id="rId2" Type="http://schemas.openxmlformats.org/officeDocument/2006/relationships/notesSlide" Target="../notesSlides/notesSlide252.xml"/><Relationship Id="rId1" Type="http://schemas.openxmlformats.org/officeDocument/2006/relationships/slideLayout" Target="../slideLayouts/slideLayout46.xml"/></Relationships>
</file>

<file path=ppt/slides/_rels/slide307.xml.rels><?xml version="1.0" encoding="UTF-8" standalone="yes"?>
<Relationships xmlns="http://schemas.openxmlformats.org/package/2006/relationships"><Relationship Id="rId2" Type="http://schemas.openxmlformats.org/officeDocument/2006/relationships/notesSlide" Target="../notesSlides/notesSlide253.xml"/><Relationship Id="rId1" Type="http://schemas.openxmlformats.org/officeDocument/2006/relationships/slideLayout" Target="../slideLayouts/slideLayout46.xml"/></Relationships>
</file>

<file path=ppt/slides/_rels/slide308.xml.rels><?xml version="1.0" encoding="UTF-8" standalone="yes"?>
<Relationships xmlns="http://schemas.openxmlformats.org/package/2006/relationships"><Relationship Id="rId2" Type="http://schemas.openxmlformats.org/officeDocument/2006/relationships/notesSlide" Target="../notesSlides/notesSlide254.xml"/><Relationship Id="rId1" Type="http://schemas.openxmlformats.org/officeDocument/2006/relationships/slideLayout" Target="../slideLayouts/slideLayout46.xml"/></Relationships>
</file>

<file path=ppt/slides/_rels/slide309.xml.rels><?xml version="1.0" encoding="UTF-8" standalone="yes"?>
<Relationships xmlns="http://schemas.openxmlformats.org/package/2006/relationships"><Relationship Id="rId2" Type="http://schemas.openxmlformats.org/officeDocument/2006/relationships/notesSlide" Target="../notesSlides/notesSlide255.xml"/><Relationship Id="rId1" Type="http://schemas.openxmlformats.org/officeDocument/2006/relationships/slideLayout" Target="../slideLayouts/slideLayout4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10.xml.rels><?xml version="1.0" encoding="UTF-8" standalone="yes"?>
<Relationships xmlns="http://schemas.openxmlformats.org/package/2006/relationships"><Relationship Id="rId2" Type="http://schemas.openxmlformats.org/officeDocument/2006/relationships/notesSlide" Target="../notesSlides/notesSlide256.xml"/><Relationship Id="rId1" Type="http://schemas.openxmlformats.org/officeDocument/2006/relationships/slideLayout" Target="../slideLayouts/slideLayout46.xml"/></Relationships>
</file>

<file path=ppt/slides/_rels/slide311.xml.rels><?xml version="1.0" encoding="UTF-8" standalone="yes"?>
<Relationships xmlns="http://schemas.openxmlformats.org/package/2006/relationships"><Relationship Id="rId2" Type="http://schemas.openxmlformats.org/officeDocument/2006/relationships/notesSlide" Target="../notesSlides/notesSlide257.xml"/><Relationship Id="rId1" Type="http://schemas.openxmlformats.org/officeDocument/2006/relationships/slideLayout" Target="../slideLayouts/slideLayout46.xml"/></Relationships>
</file>

<file path=ppt/slides/_rels/slide312.xml.rels><?xml version="1.0" encoding="UTF-8" standalone="yes"?>
<Relationships xmlns="http://schemas.openxmlformats.org/package/2006/relationships"><Relationship Id="rId2" Type="http://schemas.openxmlformats.org/officeDocument/2006/relationships/notesSlide" Target="../notesSlides/notesSlide258.xml"/><Relationship Id="rId1" Type="http://schemas.openxmlformats.org/officeDocument/2006/relationships/slideLayout" Target="../slideLayouts/slideLayout46.xml"/></Relationships>
</file>

<file path=ppt/slides/_rels/slide313.xml.rels><?xml version="1.0" encoding="UTF-8" standalone="yes"?>
<Relationships xmlns="http://schemas.openxmlformats.org/package/2006/relationships"><Relationship Id="rId3" Type="http://schemas.openxmlformats.org/officeDocument/2006/relationships/slide" Target="slide266.xml"/><Relationship Id="rId2" Type="http://schemas.openxmlformats.org/officeDocument/2006/relationships/slide" Target="slide65.xml"/><Relationship Id="rId1" Type="http://schemas.openxmlformats.org/officeDocument/2006/relationships/slideLayout" Target="../slideLayouts/slideLayout21.xml"/></Relationships>
</file>

<file path=ppt/slides/_rels/slide314.xml.rels><?xml version="1.0" encoding="UTF-8" standalone="yes"?>
<Relationships xmlns="http://schemas.openxmlformats.org/package/2006/relationships"><Relationship Id="rId2" Type="http://schemas.openxmlformats.org/officeDocument/2006/relationships/notesSlide" Target="../notesSlides/notesSlide259.xml"/><Relationship Id="rId1" Type="http://schemas.openxmlformats.org/officeDocument/2006/relationships/slideLayout" Target="../slideLayouts/slideLayout46.xml"/></Relationships>
</file>

<file path=ppt/slides/_rels/slide315.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16.xml.rels><?xml version="1.0" encoding="UTF-8" standalone="yes"?>
<Relationships xmlns="http://schemas.openxmlformats.org/package/2006/relationships"><Relationship Id="rId2" Type="http://schemas.openxmlformats.org/officeDocument/2006/relationships/notesSlide" Target="../notesSlides/notesSlide260.xml"/><Relationship Id="rId1" Type="http://schemas.openxmlformats.org/officeDocument/2006/relationships/slideLayout" Target="../slideLayouts/slideLayout46.xml"/></Relationships>
</file>

<file path=ppt/slides/_rels/slide317.xml.rels><?xml version="1.0" encoding="UTF-8" standalone="yes"?>
<Relationships xmlns="http://schemas.openxmlformats.org/package/2006/relationships"><Relationship Id="rId2" Type="http://schemas.openxmlformats.org/officeDocument/2006/relationships/notesSlide" Target="../notesSlides/notesSlide261.xml"/><Relationship Id="rId1" Type="http://schemas.openxmlformats.org/officeDocument/2006/relationships/slideLayout" Target="../slideLayouts/slideLayout46.xml"/></Relationships>
</file>

<file path=ppt/slides/_rels/slide318.xml.rels><?xml version="1.0" encoding="UTF-8" standalone="yes"?>
<Relationships xmlns="http://schemas.openxmlformats.org/package/2006/relationships"><Relationship Id="rId2" Type="http://schemas.openxmlformats.org/officeDocument/2006/relationships/notesSlide" Target="../notesSlides/notesSlide262.xml"/><Relationship Id="rId1" Type="http://schemas.openxmlformats.org/officeDocument/2006/relationships/slideLayout" Target="../slideLayouts/slideLayout46.xml"/></Relationships>
</file>

<file path=ppt/slides/_rels/slide319.xml.rels><?xml version="1.0" encoding="UTF-8" standalone="yes"?>
<Relationships xmlns="http://schemas.openxmlformats.org/package/2006/relationships"><Relationship Id="rId2" Type="http://schemas.openxmlformats.org/officeDocument/2006/relationships/notesSlide" Target="../notesSlides/notesSlide263.xml"/><Relationship Id="rId1" Type="http://schemas.openxmlformats.org/officeDocument/2006/relationships/slideLayout" Target="../slideLayouts/slideLayout46.xml"/></Relationships>
</file>

<file path=ppt/slides/_rels/slide32.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320.xml.rels><?xml version="1.0" encoding="UTF-8" standalone="yes"?>
<Relationships xmlns="http://schemas.openxmlformats.org/package/2006/relationships"><Relationship Id="rId2" Type="http://schemas.openxmlformats.org/officeDocument/2006/relationships/notesSlide" Target="../notesSlides/notesSlide264.xml"/><Relationship Id="rId1" Type="http://schemas.openxmlformats.org/officeDocument/2006/relationships/slideLayout" Target="../slideLayouts/slideLayout46.xml"/></Relationships>
</file>

<file path=ppt/slides/_rels/slide321.xml.rels><?xml version="1.0" encoding="UTF-8" standalone="yes"?>
<Relationships xmlns="http://schemas.openxmlformats.org/package/2006/relationships"><Relationship Id="rId2" Type="http://schemas.openxmlformats.org/officeDocument/2006/relationships/notesSlide" Target="../notesSlides/notesSlide265.xml"/><Relationship Id="rId1" Type="http://schemas.openxmlformats.org/officeDocument/2006/relationships/slideLayout" Target="../slideLayouts/slideLayout46.xml"/></Relationships>
</file>

<file path=ppt/slides/_rels/slide322.xml.rels><?xml version="1.0" encoding="UTF-8" standalone="yes"?>
<Relationships xmlns="http://schemas.openxmlformats.org/package/2006/relationships"><Relationship Id="rId2" Type="http://schemas.openxmlformats.org/officeDocument/2006/relationships/notesSlide" Target="../notesSlides/notesSlide266.xml"/><Relationship Id="rId1" Type="http://schemas.openxmlformats.org/officeDocument/2006/relationships/slideLayout" Target="../slideLayouts/slideLayout46.xml"/></Relationships>
</file>

<file path=ppt/slides/_rels/slide323.xml.rels><?xml version="1.0" encoding="UTF-8" standalone="yes"?>
<Relationships xmlns="http://schemas.openxmlformats.org/package/2006/relationships"><Relationship Id="rId2" Type="http://schemas.openxmlformats.org/officeDocument/2006/relationships/notesSlide" Target="../notesSlides/notesSlide267.xml"/><Relationship Id="rId1" Type="http://schemas.openxmlformats.org/officeDocument/2006/relationships/slideLayout" Target="../slideLayouts/slideLayout46.xml"/></Relationships>
</file>

<file path=ppt/slides/_rels/slide324.xml.rels><?xml version="1.0" encoding="UTF-8" standalone="yes"?>
<Relationships xmlns="http://schemas.openxmlformats.org/package/2006/relationships"><Relationship Id="rId2" Type="http://schemas.openxmlformats.org/officeDocument/2006/relationships/notesSlide" Target="../notesSlides/notesSlide268.xml"/><Relationship Id="rId1" Type="http://schemas.openxmlformats.org/officeDocument/2006/relationships/slideLayout" Target="../slideLayouts/slideLayout46.xml"/></Relationships>
</file>

<file path=ppt/slides/_rels/slide325.xml.rels><?xml version="1.0" encoding="UTF-8" standalone="yes"?>
<Relationships xmlns="http://schemas.openxmlformats.org/package/2006/relationships"><Relationship Id="rId2" Type="http://schemas.openxmlformats.org/officeDocument/2006/relationships/notesSlide" Target="../notesSlides/notesSlide269.xml"/><Relationship Id="rId1" Type="http://schemas.openxmlformats.org/officeDocument/2006/relationships/slideLayout" Target="../slideLayouts/slideLayout46.xml"/></Relationships>
</file>

<file path=ppt/slides/_rels/slide326.xml.rels><?xml version="1.0" encoding="UTF-8" standalone="yes"?>
<Relationships xmlns="http://schemas.openxmlformats.org/package/2006/relationships"><Relationship Id="rId8" Type="http://schemas.openxmlformats.org/officeDocument/2006/relationships/tags" Target="../tags/tag210.xml"/><Relationship Id="rId3" Type="http://schemas.openxmlformats.org/officeDocument/2006/relationships/tags" Target="../tags/tag205.xml"/><Relationship Id="rId7" Type="http://schemas.openxmlformats.org/officeDocument/2006/relationships/tags" Target="../tags/tag209.xml"/><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tags" Target="../tags/tag208.xml"/><Relationship Id="rId5" Type="http://schemas.openxmlformats.org/officeDocument/2006/relationships/tags" Target="../tags/tag207.xml"/><Relationship Id="rId10" Type="http://schemas.openxmlformats.org/officeDocument/2006/relationships/notesSlide" Target="../notesSlides/notesSlide270.xml"/><Relationship Id="rId4" Type="http://schemas.openxmlformats.org/officeDocument/2006/relationships/tags" Target="../tags/tag206.xml"/><Relationship Id="rId9" Type="http://schemas.openxmlformats.org/officeDocument/2006/relationships/slideLayout" Target="../slideLayouts/slideLayout46.xml"/></Relationships>
</file>

<file path=ppt/slides/_rels/slide327.xml.rels><?xml version="1.0" encoding="UTF-8" standalone="yes"?>
<Relationships xmlns="http://schemas.openxmlformats.org/package/2006/relationships"><Relationship Id="rId3" Type="http://schemas.openxmlformats.org/officeDocument/2006/relationships/tags" Target="../tags/tag213.xml"/><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notesSlide" Target="../notesSlides/notesSlide271.xml"/><Relationship Id="rId5" Type="http://schemas.openxmlformats.org/officeDocument/2006/relationships/slideLayout" Target="../slideLayouts/slideLayout46.xml"/><Relationship Id="rId4" Type="http://schemas.openxmlformats.org/officeDocument/2006/relationships/tags" Target="../tags/tag214.xml"/></Relationships>
</file>

<file path=ppt/slides/_rels/slide328.xml.rels><?xml version="1.0" encoding="UTF-8" standalone="yes"?>
<Relationships xmlns="http://schemas.openxmlformats.org/package/2006/relationships"><Relationship Id="rId2" Type="http://schemas.openxmlformats.org/officeDocument/2006/relationships/notesSlide" Target="../notesSlides/notesSlide272.xml"/><Relationship Id="rId1" Type="http://schemas.openxmlformats.org/officeDocument/2006/relationships/slideLayout" Target="../slideLayouts/slideLayout46.xml"/></Relationships>
</file>

<file path=ppt/slides/_rels/slide32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73.xml"/><Relationship Id="rId1" Type="http://schemas.openxmlformats.org/officeDocument/2006/relationships/slideLayout" Target="../slideLayouts/slideLayout46.xml"/></Relationships>
</file>

<file path=ppt/slides/_rels/slide33.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12.xml"/><Relationship Id="rId1" Type="http://schemas.openxmlformats.org/officeDocument/2006/relationships/slideLayout" Target="../slideLayouts/slideLayout18.xml"/><Relationship Id="rId5" Type="http://schemas.openxmlformats.org/officeDocument/2006/relationships/image" Target="../media/image5.svg"/><Relationship Id="rId4" Type="http://schemas.openxmlformats.org/officeDocument/2006/relationships/image" Target="../media/image4.png"/></Relationships>
</file>

<file path=ppt/slides/_rels/slide330.xml.rels><?xml version="1.0" encoding="UTF-8" standalone="yes"?>
<Relationships xmlns="http://schemas.openxmlformats.org/package/2006/relationships"><Relationship Id="rId2" Type="http://schemas.openxmlformats.org/officeDocument/2006/relationships/notesSlide" Target="../notesSlides/notesSlide274.xml"/><Relationship Id="rId1" Type="http://schemas.openxmlformats.org/officeDocument/2006/relationships/slideLayout" Target="../slideLayouts/slideLayout46.xml"/></Relationships>
</file>

<file path=ppt/slides/_rels/slide331.xml.rels><?xml version="1.0" encoding="UTF-8" standalone="yes"?>
<Relationships xmlns="http://schemas.openxmlformats.org/package/2006/relationships"><Relationship Id="rId3" Type="http://schemas.openxmlformats.org/officeDocument/2006/relationships/tags" Target="../tags/tag217.xml"/><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notesSlide" Target="../notesSlides/notesSlide275.xml"/><Relationship Id="rId5" Type="http://schemas.openxmlformats.org/officeDocument/2006/relationships/slideLayout" Target="../slideLayouts/slideLayout46.xml"/><Relationship Id="rId4" Type="http://schemas.openxmlformats.org/officeDocument/2006/relationships/tags" Target="../tags/tag218.xml"/></Relationships>
</file>

<file path=ppt/slides/_rels/slide332.xml.rels><?xml version="1.0" encoding="UTF-8" standalone="yes"?>
<Relationships xmlns="http://schemas.openxmlformats.org/package/2006/relationships"><Relationship Id="rId2" Type="http://schemas.openxmlformats.org/officeDocument/2006/relationships/notesSlide" Target="../notesSlides/notesSlide276.xml"/><Relationship Id="rId1" Type="http://schemas.openxmlformats.org/officeDocument/2006/relationships/slideLayout" Target="../slideLayouts/slideLayout46.xml"/></Relationships>
</file>

<file path=ppt/slides/_rels/slide333.xml.rels><?xml version="1.0" encoding="UTF-8" standalone="yes"?>
<Relationships xmlns="http://schemas.openxmlformats.org/package/2006/relationships"><Relationship Id="rId2" Type="http://schemas.openxmlformats.org/officeDocument/2006/relationships/notesSlide" Target="../notesSlides/notesSlide277.xml"/><Relationship Id="rId1" Type="http://schemas.openxmlformats.org/officeDocument/2006/relationships/slideLayout" Target="../slideLayouts/slideLayout46.xml"/></Relationships>
</file>

<file path=ppt/slides/_rels/slide334.xml.rels><?xml version="1.0" encoding="UTF-8" standalone="yes"?>
<Relationships xmlns="http://schemas.openxmlformats.org/package/2006/relationships"><Relationship Id="rId2" Type="http://schemas.openxmlformats.org/officeDocument/2006/relationships/notesSlide" Target="../notesSlides/notesSlide278.xml"/><Relationship Id="rId1" Type="http://schemas.openxmlformats.org/officeDocument/2006/relationships/slideLayout" Target="../slideLayouts/slideLayout46.xml"/></Relationships>
</file>

<file path=ppt/slides/_rels/slide335.xml.rels><?xml version="1.0" encoding="UTF-8" standalone="yes"?>
<Relationships xmlns="http://schemas.openxmlformats.org/package/2006/relationships"><Relationship Id="rId2" Type="http://schemas.openxmlformats.org/officeDocument/2006/relationships/notesSlide" Target="../notesSlides/notesSlide279.xml"/><Relationship Id="rId1" Type="http://schemas.openxmlformats.org/officeDocument/2006/relationships/slideLayout" Target="../slideLayouts/slideLayout46.xml"/></Relationships>
</file>

<file path=ppt/slides/_rels/slide336.xml.rels><?xml version="1.0" encoding="UTF-8" standalone="yes"?>
<Relationships xmlns="http://schemas.openxmlformats.org/package/2006/relationships"><Relationship Id="rId2" Type="http://schemas.openxmlformats.org/officeDocument/2006/relationships/notesSlide" Target="../notesSlides/notesSlide280.xml"/><Relationship Id="rId1" Type="http://schemas.openxmlformats.org/officeDocument/2006/relationships/slideLayout" Target="../slideLayouts/slideLayout46.xml"/></Relationships>
</file>

<file path=ppt/slides/_rels/slide337.xml.rels><?xml version="1.0" encoding="UTF-8" standalone="yes"?>
<Relationships xmlns="http://schemas.openxmlformats.org/package/2006/relationships"><Relationship Id="rId2" Type="http://schemas.openxmlformats.org/officeDocument/2006/relationships/notesSlide" Target="../notesSlides/notesSlide281.xml"/><Relationship Id="rId1" Type="http://schemas.openxmlformats.org/officeDocument/2006/relationships/slideLayout" Target="../slideLayouts/slideLayout46.xml"/></Relationships>
</file>

<file path=ppt/slides/_rels/slide338.xml.rels><?xml version="1.0" encoding="UTF-8" standalone="yes"?>
<Relationships xmlns="http://schemas.openxmlformats.org/package/2006/relationships"><Relationship Id="rId2" Type="http://schemas.openxmlformats.org/officeDocument/2006/relationships/notesSlide" Target="../notesSlides/notesSlide282.xml"/><Relationship Id="rId1" Type="http://schemas.openxmlformats.org/officeDocument/2006/relationships/slideLayout" Target="../slideLayouts/slideLayout46.xml"/></Relationships>
</file>

<file path=ppt/slides/_rels/slide339.xml.rels><?xml version="1.0" encoding="UTF-8" standalone="yes"?>
<Relationships xmlns="http://schemas.openxmlformats.org/package/2006/relationships"><Relationship Id="rId2" Type="http://schemas.openxmlformats.org/officeDocument/2006/relationships/notesSlide" Target="../notesSlides/notesSlide283.xml"/><Relationship Id="rId1" Type="http://schemas.openxmlformats.org/officeDocument/2006/relationships/slideLayout" Target="../slideLayouts/slideLayout46.xml"/></Relationships>
</file>

<file path=ppt/slides/_rels/slide34.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Layout" Target="../slideLayouts/slideLayout19.xml"/></Relationships>
</file>

<file path=ppt/slides/_rels/slide340.xml.rels><?xml version="1.0" encoding="UTF-8" standalone="yes"?>
<Relationships xmlns="http://schemas.openxmlformats.org/package/2006/relationships"><Relationship Id="rId3" Type="http://schemas.openxmlformats.org/officeDocument/2006/relationships/slide" Target="slide266.xml"/><Relationship Id="rId2" Type="http://schemas.openxmlformats.org/officeDocument/2006/relationships/slide" Target="slide65.xml"/><Relationship Id="rId1" Type="http://schemas.openxmlformats.org/officeDocument/2006/relationships/slideLayout" Target="../slideLayouts/slideLayout21.xml"/></Relationships>
</file>

<file path=ppt/slides/_rels/slide341.xml.rels><?xml version="1.0" encoding="UTF-8" standalone="yes"?>
<Relationships xmlns="http://schemas.openxmlformats.org/package/2006/relationships"><Relationship Id="rId2" Type="http://schemas.openxmlformats.org/officeDocument/2006/relationships/notesSlide" Target="../notesSlides/notesSlide284.xml"/><Relationship Id="rId1" Type="http://schemas.openxmlformats.org/officeDocument/2006/relationships/slideLayout" Target="../slideLayouts/slideLayout46.xml"/></Relationships>
</file>

<file path=ppt/slides/_rels/slide342.xml.rels><?xml version="1.0" encoding="UTF-8" standalone="yes"?>
<Relationships xmlns="http://schemas.openxmlformats.org/package/2006/relationships"><Relationship Id="rId2" Type="http://schemas.openxmlformats.org/officeDocument/2006/relationships/notesSlide" Target="../notesSlides/notesSlide285.xml"/><Relationship Id="rId1" Type="http://schemas.openxmlformats.org/officeDocument/2006/relationships/slideLayout" Target="../slideLayouts/slideLayout46.xml"/></Relationships>
</file>

<file path=ppt/slides/_rels/slide343.xml.rels><?xml version="1.0" encoding="UTF-8" standalone="yes"?>
<Relationships xmlns="http://schemas.openxmlformats.org/package/2006/relationships"><Relationship Id="rId2" Type="http://schemas.openxmlformats.org/officeDocument/2006/relationships/notesSlide" Target="../notesSlides/notesSlide286.xml"/><Relationship Id="rId1" Type="http://schemas.openxmlformats.org/officeDocument/2006/relationships/slideLayout" Target="../slideLayouts/slideLayout46.xml"/></Relationships>
</file>

<file path=ppt/slides/_rels/slide344.xml.rels><?xml version="1.0" encoding="UTF-8" standalone="yes"?>
<Relationships xmlns="http://schemas.openxmlformats.org/package/2006/relationships"><Relationship Id="rId2" Type="http://schemas.openxmlformats.org/officeDocument/2006/relationships/notesSlide" Target="../notesSlides/notesSlide287.xml"/><Relationship Id="rId1" Type="http://schemas.openxmlformats.org/officeDocument/2006/relationships/slideLayout" Target="../slideLayouts/slideLayout46.xml"/></Relationships>
</file>

<file path=ppt/slides/_rels/slide345.xml.rels><?xml version="1.0" encoding="UTF-8" standalone="yes"?>
<Relationships xmlns="http://schemas.openxmlformats.org/package/2006/relationships"><Relationship Id="rId2" Type="http://schemas.openxmlformats.org/officeDocument/2006/relationships/notesSlide" Target="../notesSlides/notesSlide288.xml"/><Relationship Id="rId1" Type="http://schemas.openxmlformats.org/officeDocument/2006/relationships/slideLayout" Target="../slideLayouts/slideLayout46.xml"/></Relationships>
</file>

<file path=ppt/slides/_rels/slide346.xml.rels><?xml version="1.0" encoding="UTF-8" standalone="yes"?>
<Relationships xmlns="http://schemas.openxmlformats.org/package/2006/relationships"><Relationship Id="rId2" Type="http://schemas.openxmlformats.org/officeDocument/2006/relationships/notesSlide" Target="../notesSlides/notesSlide289.xml"/><Relationship Id="rId1" Type="http://schemas.openxmlformats.org/officeDocument/2006/relationships/slideLayout" Target="../slideLayouts/slideLayout46.xml"/></Relationships>
</file>

<file path=ppt/slides/_rels/slide347.xml.rels><?xml version="1.0" encoding="UTF-8" standalone="yes"?>
<Relationships xmlns="http://schemas.openxmlformats.org/package/2006/relationships"><Relationship Id="rId2" Type="http://schemas.openxmlformats.org/officeDocument/2006/relationships/notesSlide" Target="../notesSlides/notesSlide290.xml"/><Relationship Id="rId1" Type="http://schemas.openxmlformats.org/officeDocument/2006/relationships/slideLayout" Target="../slideLayouts/slideLayout46.xml"/></Relationships>
</file>

<file path=ppt/slides/_rels/slide348.xml.rels><?xml version="1.0" encoding="UTF-8" standalone="yes"?>
<Relationships xmlns="http://schemas.openxmlformats.org/package/2006/relationships"><Relationship Id="rId2" Type="http://schemas.openxmlformats.org/officeDocument/2006/relationships/notesSlide" Target="../notesSlides/notesSlide291.xml"/><Relationship Id="rId1" Type="http://schemas.openxmlformats.org/officeDocument/2006/relationships/slideLayout" Target="../slideLayouts/slideLayout46.xml"/></Relationships>
</file>

<file path=ppt/slides/_rels/slide349.xml.rels><?xml version="1.0" encoding="UTF-8" standalone="yes"?>
<Relationships xmlns="http://schemas.openxmlformats.org/package/2006/relationships"><Relationship Id="rId2" Type="http://schemas.openxmlformats.org/officeDocument/2006/relationships/notesSlide" Target="../notesSlides/notesSlide292.xml"/><Relationship Id="rId1" Type="http://schemas.openxmlformats.org/officeDocument/2006/relationships/slideLayout" Target="../slideLayouts/slideLayout46.xml"/></Relationships>
</file>

<file path=ppt/slides/_rels/slide35.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350.xml.rels><?xml version="1.0" encoding="UTF-8" standalone="yes"?>
<Relationships xmlns="http://schemas.openxmlformats.org/package/2006/relationships"><Relationship Id="rId8" Type="http://schemas.openxmlformats.org/officeDocument/2006/relationships/slide" Target="slide441.xml"/><Relationship Id="rId3" Type="http://schemas.openxmlformats.org/officeDocument/2006/relationships/slide" Target="slide351.xml"/><Relationship Id="rId7" Type="http://schemas.openxmlformats.org/officeDocument/2006/relationships/slide" Target="slide420.xml"/><Relationship Id="rId2" Type="http://schemas.openxmlformats.org/officeDocument/2006/relationships/slide" Target="slide65.xml"/><Relationship Id="rId1" Type="http://schemas.openxmlformats.org/officeDocument/2006/relationships/slideLayout" Target="../slideLayouts/slideLayout19.xml"/><Relationship Id="rId6" Type="http://schemas.openxmlformats.org/officeDocument/2006/relationships/slide" Target="slide411.xml"/><Relationship Id="rId5" Type="http://schemas.openxmlformats.org/officeDocument/2006/relationships/slide" Target="slide397.xml"/><Relationship Id="rId4" Type="http://schemas.openxmlformats.org/officeDocument/2006/relationships/slide" Target="slide369.xml"/></Relationships>
</file>

<file path=ppt/slides/_rels/slide351.xml.rels><?xml version="1.0" encoding="UTF-8" standalone="yes"?>
<Relationships xmlns="http://schemas.openxmlformats.org/package/2006/relationships"><Relationship Id="rId3" Type="http://schemas.openxmlformats.org/officeDocument/2006/relationships/slide" Target="slide350.xml"/><Relationship Id="rId2" Type="http://schemas.openxmlformats.org/officeDocument/2006/relationships/slide" Target="slide65.xml"/><Relationship Id="rId1" Type="http://schemas.openxmlformats.org/officeDocument/2006/relationships/slideLayout" Target="../slideLayouts/slideLayout21.xml"/></Relationships>
</file>

<file path=ppt/slides/_rels/slide35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93.xml"/><Relationship Id="rId1" Type="http://schemas.openxmlformats.org/officeDocument/2006/relationships/slideLayout" Target="../slideLayouts/slideLayout46.xml"/><Relationship Id="rId4" Type="http://schemas.openxmlformats.org/officeDocument/2006/relationships/image" Target="../media/image74.svg"/></Relationships>
</file>

<file path=ppt/slides/_rels/slide35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94.xml"/><Relationship Id="rId1" Type="http://schemas.openxmlformats.org/officeDocument/2006/relationships/slideLayout" Target="../slideLayouts/slideLayout46.xml"/><Relationship Id="rId4" Type="http://schemas.openxmlformats.org/officeDocument/2006/relationships/image" Target="../media/image76.svg"/></Relationships>
</file>

<file path=ppt/slides/_rels/slide354.xml.rels><?xml version="1.0" encoding="UTF-8" standalone="yes"?>
<Relationships xmlns="http://schemas.openxmlformats.org/package/2006/relationships"><Relationship Id="rId2" Type="http://schemas.openxmlformats.org/officeDocument/2006/relationships/notesSlide" Target="../notesSlides/notesSlide295.xml"/><Relationship Id="rId1" Type="http://schemas.openxmlformats.org/officeDocument/2006/relationships/slideLayout" Target="../slideLayouts/slideLayout46.xml"/></Relationships>
</file>

<file path=ppt/slides/_rels/slide355.xml.rels><?xml version="1.0" encoding="UTF-8" standalone="yes"?>
<Relationships xmlns="http://schemas.openxmlformats.org/package/2006/relationships"><Relationship Id="rId2" Type="http://schemas.openxmlformats.org/officeDocument/2006/relationships/notesSlide" Target="../notesSlides/notesSlide296.xml"/><Relationship Id="rId1" Type="http://schemas.openxmlformats.org/officeDocument/2006/relationships/slideLayout" Target="../slideLayouts/slideLayout46.xml"/></Relationships>
</file>

<file path=ppt/slides/_rels/slide356.xml.rels><?xml version="1.0" encoding="UTF-8" standalone="yes"?>
<Relationships xmlns="http://schemas.openxmlformats.org/package/2006/relationships"><Relationship Id="rId2" Type="http://schemas.openxmlformats.org/officeDocument/2006/relationships/notesSlide" Target="../notesSlides/notesSlide297.xml"/><Relationship Id="rId1" Type="http://schemas.openxmlformats.org/officeDocument/2006/relationships/slideLayout" Target="../slideLayouts/slideLayout46.xml"/></Relationships>
</file>

<file path=ppt/slides/_rels/slide357.xml.rels><?xml version="1.0" encoding="UTF-8" standalone="yes"?>
<Relationships xmlns="http://schemas.openxmlformats.org/package/2006/relationships"><Relationship Id="rId2" Type="http://schemas.openxmlformats.org/officeDocument/2006/relationships/notesSlide" Target="../notesSlides/notesSlide298.xml"/><Relationship Id="rId1" Type="http://schemas.openxmlformats.org/officeDocument/2006/relationships/slideLayout" Target="../slideLayouts/slideLayout46.xml"/></Relationships>
</file>

<file path=ppt/slides/_rels/slide358.xml.rels><?xml version="1.0" encoding="UTF-8" standalone="yes"?>
<Relationships xmlns="http://schemas.openxmlformats.org/package/2006/relationships"><Relationship Id="rId2" Type="http://schemas.openxmlformats.org/officeDocument/2006/relationships/notesSlide" Target="../notesSlides/notesSlide299.xml"/><Relationship Id="rId1" Type="http://schemas.openxmlformats.org/officeDocument/2006/relationships/slideLayout" Target="../slideLayouts/slideLayout46.xml"/></Relationships>
</file>

<file path=ppt/slides/_rels/slide359.xml.rels><?xml version="1.0" encoding="UTF-8" standalone="yes"?>
<Relationships xmlns="http://schemas.openxmlformats.org/package/2006/relationships"><Relationship Id="rId2" Type="http://schemas.openxmlformats.org/officeDocument/2006/relationships/notesSlide" Target="../notesSlides/notesSlide300.xml"/><Relationship Id="rId1" Type="http://schemas.openxmlformats.org/officeDocument/2006/relationships/slideLayout" Target="../slideLayouts/slideLayout4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360.xml.rels><?xml version="1.0" encoding="UTF-8" standalone="yes"?>
<Relationships xmlns="http://schemas.openxmlformats.org/package/2006/relationships"><Relationship Id="rId2" Type="http://schemas.openxmlformats.org/officeDocument/2006/relationships/notesSlide" Target="../notesSlides/notesSlide301.xml"/><Relationship Id="rId1" Type="http://schemas.openxmlformats.org/officeDocument/2006/relationships/slideLayout" Target="../slideLayouts/slideLayout46.xml"/></Relationships>
</file>

<file path=ppt/slides/_rels/slide36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02.xml"/><Relationship Id="rId1" Type="http://schemas.openxmlformats.org/officeDocument/2006/relationships/slideLayout" Target="../slideLayouts/slideLayout46.xml"/><Relationship Id="rId4" Type="http://schemas.openxmlformats.org/officeDocument/2006/relationships/image" Target="../media/image78.svg"/></Relationships>
</file>

<file path=ppt/slides/_rels/slide362.xml.rels><?xml version="1.0" encoding="UTF-8" standalone="yes"?>
<Relationships xmlns="http://schemas.openxmlformats.org/package/2006/relationships"><Relationship Id="rId2" Type="http://schemas.openxmlformats.org/officeDocument/2006/relationships/notesSlide" Target="../notesSlides/notesSlide303.xml"/><Relationship Id="rId1" Type="http://schemas.openxmlformats.org/officeDocument/2006/relationships/slideLayout" Target="../slideLayouts/slideLayout46.xml"/></Relationships>
</file>

<file path=ppt/slides/_rels/slide363.xml.rels><?xml version="1.0" encoding="UTF-8" standalone="yes"?>
<Relationships xmlns="http://schemas.openxmlformats.org/package/2006/relationships"><Relationship Id="rId2" Type="http://schemas.openxmlformats.org/officeDocument/2006/relationships/notesSlide" Target="../notesSlides/notesSlide304.xml"/><Relationship Id="rId1" Type="http://schemas.openxmlformats.org/officeDocument/2006/relationships/slideLayout" Target="../slideLayouts/slideLayout46.xml"/></Relationships>
</file>

<file path=ppt/slides/_rels/slide364.xml.rels><?xml version="1.0" encoding="UTF-8" standalone="yes"?>
<Relationships xmlns="http://schemas.openxmlformats.org/package/2006/relationships"><Relationship Id="rId2" Type="http://schemas.openxmlformats.org/officeDocument/2006/relationships/notesSlide" Target="../notesSlides/notesSlide305.xml"/><Relationship Id="rId1" Type="http://schemas.openxmlformats.org/officeDocument/2006/relationships/slideLayout" Target="../slideLayouts/slideLayout46.xml"/></Relationships>
</file>

<file path=ppt/slides/_rels/slide36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06.xml"/><Relationship Id="rId1" Type="http://schemas.openxmlformats.org/officeDocument/2006/relationships/slideLayout" Target="../slideLayouts/slideLayout46.xml"/><Relationship Id="rId4" Type="http://schemas.openxmlformats.org/officeDocument/2006/relationships/image" Target="../media/image80.svg"/></Relationships>
</file>

<file path=ppt/slides/_rels/slide366.xml.rels><?xml version="1.0" encoding="UTF-8" standalone="yes"?>
<Relationships xmlns="http://schemas.openxmlformats.org/package/2006/relationships"><Relationship Id="rId2" Type="http://schemas.openxmlformats.org/officeDocument/2006/relationships/notesSlide" Target="../notesSlides/notesSlide307.xml"/><Relationship Id="rId1" Type="http://schemas.openxmlformats.org/officeDocument/2006/relationships/slideLayout" Target="../slideLayouts/slideLayout46.xml"/></Relationships>
</file>

<file path=ppt/slides/_rels/slide367.xml.rels><?xml version="1.0" encoding="UTF-8" standalone="yes"?>
<Relationships xmlns="http://schemas.openxmlformats.org/package/2006/relationships"><Relationship Id="rId2" Type="http://schemas.openxmlformats.org/officeDocument/2006/relationships/notesSlide" Target="../notesSlides/notesSlide308.xml"/><Relationship Id="rId1" Type="http://schemas.openxmlformats.org/officeDocument/2006/relationships/slideLayout" Target="../slideLayouts/slideLayout46.xml"/></Relationships>
</file>

<file path=ppt/slides/_rels/slide36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09.xml"/><Relationship Id="rId1" Type="http://schemas.openxmlformats.org/officeDocument/2006/relationships/slideLayout" Target="../slideLayouts/slideLayout46.xml"/><Relationship Id="rId4" Type="http://schemas.openxmlformats.org/officeDocument/2006/relationships/image" Target="../media/image82.svg"/></Relationships>
</file>

<file path=ppt/slides/_rels/slide369.xml.rels><?xml version="1.0" encoding="UTF-8" standalone="yes"?>
<Relationships xmlns="http://schemas.openxmlformats.org/package/2006/relationships"><Relationship Id="rId3" Type="http://schemas.openxmlformats.org/officeDocument/2006/relationships/slide" Target="slide350.xml"/><Relationship Id="rId2" Type="http://schemas.openxmlformats.org/officeDocument/2006/relationships/slide" Target="slide65.xml"/><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70.xml.rels><?xml version="1.0" encoding="UTF-8" standalone="yes"?>
<Relationships xmlns="http://schemas.openxmlformats.org/package/2006/relationships"><Relationship Id="rId2" Type="http://schemas.openxmlformats.org/officeDocument/2006/relationships/notesSlide" Target="../notesSlides/notesSlide310.xml"/><Relationship Id="rId1" Type="http://schemas.openxmlformats.org/officeDocument/2006/relationships/slideLayout" Target="../slideLayouts/slideLayout46.xml"/></Relationships>
</file>

<file path=ppt/slides/_rels/slide371.xml.rels><?xml version="1.0" encoding="UTF-8" standalone="yes"?>
<Relationships xmlns="http://schemas.openxmlformats.org/package/2006/relationships"><Relationship Id="rId2" Type="http://schemas.openxmlformats.org/officeDocument/2006/relationships/notesSlide" Target="../notesSlides/notesSlide311.xml"/><Relationship Id="rId1" Type="http://schemas.openxmlformats.org/officeDocument/2006/relationships/slideLayout" Target="../slideLayouts/slideLayout46.xml"/></Relationships>
</file>

<file path=ppt/slides/_rels/slide372.xml.rels><?xml version="1.0" encoding="UTF-8" standalone="yes"?>
<Relationships xmlns="http://schemas.openxmlformats.org/package/2006/relationships"><Relationship Id="rId2" Type="http://schemas.openxmlformats.org/officeDocument/2006/relationships/notesSlide" Target="../notesSlides/notesSlide312.xml"/><Relationship Id="rId1" Type="http://schemas.openxmlformats.org/officeDocument/2006/relationships/slideLayout" Target="../slideLayouts/slideLayout46.xml"/></Relationships>
</file>

<file path=ppt/slides/_rels/slide373.xml.rels><?xml version="1.0" encoding="UTF-8" standalone="yes"?>
<Relationships xmlns="http://schemas.openxmlformats.org/package/2006/relationships"><Relationship Id="rId2" Type="http://schemas.openxmlformats.org/officeDocument/2006/relationships/notesSlide" Target="../notesSlides/notesSlide313.xml"/><Relationship Id="rId1" Type="http://schemas.openxmlformats.org/officeDocument/2006/relationships/slideLayout" Target="../slideLayouts/slideLayout46.xml"/></Relationships>
</file>

<file path=ppt/slides/_rels/slide374.xml.rels><?xml version="1.0" encoding="UTF-8" standalone="yes"?>
<Relationships xmlns="http://schemas.openxmlformats.org/package/2006/relationships"><Relationship Id="rId2" Type="http://schemas.openxmlformats.org/officeDocument/2006/relationships/notesSlide" Target="../notesSlides/notesSlide314.xml"/><Relationship Id="rId1" Type="http://schemas.openxmlformats.org/officeDocument/2006/relationships/slideLayout" Target="../slideLayouts/slideLayout46.xml"/></Relationships>
</file>

<file path=ppt/slides/_rels/slide375.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220.xml"/><Relationship Id="rId1" Type="http://schemas.openxmlformats.org/officeDocument/2006/relationships/tags" Target="../tags/tag219.xml"/><Relationship Id="rId4" Type="http://schemas.openxmlformats.org/officeDocument/2006/relationships/notesSlide" Target="../notesSlides/notesSlide315.xml"/></Relationships>
</file>

<file path=ppt/slides/_rels/slide376.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222.xml"/><Relationship Id="rId1" Type="http://schemas.openxmlformats.org/officeDocument/2006/relationships/tags" Target="../tags/tag221.xml"/><Relationship Id="rId4" Type="http://schemas.openxmlformats.org/officeDocument/2006/relationships/notesSlide" Target="../notesSlides/notesSlide316.xml"/></Relationships>
</file>

<file path=ppt/slides/_rels/slide377.xml.rels><?xml version="1.0" encoding="UTF-8" standalone="yes"?>
<Relationships xmlns="http://schemas.openxmlformats.org/package/2006/relationships"><Relationship Id="rId2" Type="http://schemas.openxmlformats.org/officeDocument/2006/relationships/notesSlide" Target="../notesSlides/notesSlide317.xml"/><Relationship Id="rId1" Type="http://schemas.openxmlformats.org/officeDocument/2006/relationships/slideLayout" Target="../slideLayouts/slideLayout46.xml"/></Relationships>
</file>

<file path=ppt/slides/_rels/slide378.xml.rels><?xml version="1.0" encoding="UTF-8" standalone="yes"?>
<Relationships xmlns="http://schemas.openxmlformats.org/package/2006/relationships"><Relationship Id="rId2" Type="http://schemas.openxmlformats.org/officeDocument/2006/relationships/notesSlide" Target="../notesSlides/notesSlide318.xml"/><Relationship Id="rId1" Type="http://schemas.openxmlformats.org/officeDocument/2006/relationships/slideLayout" Target="../slideLayouts/slideLayout46.xml"/></Relationships>
</file>

<file path=ppt/slides/_rels/slide379.xml.rels><?xml version="1.0" encoding="UTF-8" standalone="yes"?>
<Relationships xmlns="http://schemas.openxmlformats.org/package/2006/relationships"><Relationship Id="rId2" Type="http://schemas.openxmlformats.org/officeDocument/2006/relationships/notesSlide" Target="../notesSlides/notesSlide319.xml"/><Relationship Id="rId1" Type="http://schemas.openxmlformats.org/officeDocument/2006/relationships/slideLayout" Target="../slideLayouts/slideLayout4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80.xml.rels><?xml version="1.0" encoding="UTF-8" standalone="yes"?>
<Relationships xmlns="http://schemas.openxmlformats.org/package/2006/relationships"><Relationship Id="rId3" Type="http://schemas.openxmlformats.org/officeDocument/2006/relationships/notesSlide" Target="../notesSlides/notesSlide320.xml"/><Relationship Id="rId2" Type="http://schemas.openxmlformats.org/officeDocument/2006/relationships/slideLayout" Target="../slideLayouts/slideLayout46.xml"/><Relationship Id="rId1" Type="http://schemas.openxmlformats.org/officeDocument/2006/relationships/tags" Target="../tags/tag223.xml"/></Relationships>
</file>

<file path=ppt/slides/_rels/slide381.xml.rels><?xml version="1.0" encoding="UTF-8" standalone="yes"?>
<Relationships xmlns="http://schemas.openxmlformats.org/package/2006/relationships"><Relationship Id="rId3" Type="http://schemas.openxmlformats.org/officeDocument/2006/relationships/notesSlide" Target="../notesSlides/notesSlide321.xml"/><Relationship Id="rId2" Type="http://schemas.openxmlformats.org/officeDocument/2006/relationships/slideLayout" Target="../slideLayouts/slideLayout46.xml"/><Relationship Id="rId1" Type="http://schemas.openxmlformats.org/officeDocument/2006/relationships/tags" Target="../tags/tag224.xml"/></Relationships>
</file>

<file path=ppt/slides/_rels/slide382.xml.rels><?xml version="1.0" encoding="UTF-8" standalone="yes"?>
<Relationships xmlns="http://schemas.openxmlformats.org/package/2006/relationships"><Relationship Id="rId2" Type="http://schemas.openxmlformats.org/officeDocument/2006/relationships/notesSlide" Target="../notesSlides/notesSlide322.xml"/><Relationship Id="rId1" Type="http://schemas.openxmlformats.org/officeDocument/2006/relationships/slideLayout" Target="../slideLayouts/slideLayout46.xml"/></Relationships>
</file>

<file path=ppt/slides/_rels/slide383.xml.rels><?xml version="1.0" encoding="UTF-8" standalone="yes"?>
<Relationships xmlns="http://schemas.openxmlformats.org/package/2006/relationships"><Relationship Id="rId3" Type="http://schemas.openxmlformats.org/officeDocument/2006/relationships/notesSlide" Target="../notesSlides/notesSlide323.xml"/><Relationship Id="rId2" Type="http://schemas.openxmlformats.org/officeDocument/2006/relationships/slideLayout" Target="../slideLayouts/slideLayout46.xml"/><Relationship Id="rId1" Type="http://schemas.openxmlformats.org/officeDocument/2006/relationships/tags" Target="../tags/tag225.xml"/></Relationships>
</file>

<file path=ppt/slides/_rels/slide38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image" Target="../media/image84.png"/><Relationship Id="rId5" Type="http://schemas.openxmlformats.org/officeDocument/2006/relationships/image" Target="../media/image83.gif"/><Relationship Id="rId4" Type="http://schemas.openxmlformats.org/officeDocument/2006/relationships/notesSlide" Target="../notesSlides/notesSlide324.xml"/></Relationships>
</file>

<file path=ppt/slides/_rels/slide385.xml.rels><?xml version="1.0" encoding="UTF-8" standalone="yes"?>
<Relationships xmlns="http://schemas.openxmlformats.org/package/2006/relationships"><Relationship Id="rId2" Type="http://schemas.openxmlformats.org/officeDocument/2006/relationships/notesSlide" Target="../notesSlides/notesSlide325.xml"/><Relationship Id="rId1" Type="http://schemas.openxmlformats.org/officeDocument/2006/relationships/slideLayout" Target="../slideLayouts/slideLayout46.xml"/></Relationships>
</file>

<file path=ppt/slides/_rels/slide386.xml.rels><?xml version="1.0" encoding="UTF-8" standalone="yes"?>
<Relationships xmlns="http://schemas.openxmlformats.org/package/2006/relationships"><Relationship Id="rId2" Type="http://schemas.openxmlformats.org/officeDocument/2006/relationships/notesSlide" Target="../notesSlides/notesSlide326.xml"/><Relationship Id="rId1" Type="http://schemas.openxmlformats.org/officeDocument/2006/relationships/slideLayout" Target="../slideLayouts/slideLayout46.xml"/></Relationships>
</file>

<file path=ppt/slides/_rels/slide387.xml.rels><?xml version="1.0" encoding="UTF-8" standalone="yes"?>
<Relationships xmlns="http://schemas.openxmlformats.org/package/2006/relationships"><Relationship Id="rId2" Type="http://schemas.openxmlformats.org/officeDocument/2006/relationships/notesSlide" Target="../notesSlides/notesSlide327.xml"/><Relationship Id="rId1" Type="http://schemas.openxmlformats.org/officeDocument/2006/relationships/slideLayout" Target="../slideLayouts/slideLayout46.xml"/></Relationships>
</file>

<file path=ppt/slides/_rels/slide388.xml.rels><?xml version="1.0" encoding="UTF-8" standalone="yes"?>
<Relationships xmlns="http://schemas.openxmlformats.org/package/2006/relationships"><Relationship Id="rId2" Type="http://schemas.openxmlformats.org/officeDocument/2006/relationships/notesSlide" Target="../notesSlides/notesSlide328.xml"/><Relationship Id="rId1" Type="http://schemas.openxmlformats.org/officeDocument/2006/relationships/slideLayout" Target="../slideLayouts/slideLayout46.xml"/></Relationships>
</file>

<file path=ppt/slides/_rels/slide38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29.xml"/><Relationship Id="rId1" Type="http://schemas.openxmlformats.org/officeDocument/2006/relationships/slideLayout" Target="../slideLayouts/slideLayout46.xml"/><Relationship Id="rId5" Type="http://schemas.openxmlformats.org/officeDocument/2006/relationships/image" Target="../media/image86.png"/><Relationship Id="rId4" Type="http://schemas.openxmlformats.org/officeDocument/2006/relationships/hyperlink" Target="https://kx.accenture.com/Repositories/ContributionForm.aspx?path=C21/27/3&amp;mode=Read" TargetMode="Externa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9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30.xml"/><Relationship Id="rId1" Type="http://schemas.openxmlformats.org/officeDocument/2006/relationships/slideLayout" Target="../slideLayouts/slideLayout46.xml"/></Relationships>
</file>

<file path=ppt/slides/_rels/slide391.xml.rels><?xml version="1.0" encoding="UTF-8" standalone="yes"?>
<Relationships xmlns="http://schemas.openxmlformats.org/package/2006/relationships"><Relationship Id="rId2" Type="http://schemas.openxmlformats.org/officeDocument/2006/relationships/notesSlide" Target="../notesSlides/notesSlide331.xml"/><Relationship Id="rId1" Type="http://schemas.openxmlformats.org/officeDocument/2006/relationships/slideLayout" Target="../slideLayouts/slideLayout46.xml"/></Relationships>
</file>

<file path=ppt/slides/_rels/slide392.xml.rels><?xml version="1.0" encoding="UTF-8" standalone="yes"?>
<Relationships xmlns="http://schemas.openxmlformats.org/package/2006/relationships"><Relationship Id="rId2" Type="http://schemas.openxmlformats.org/officeDocument/2006/relationships/notesSlide" Target="../notesSlides/notesSlide332.xml"/><Relationship Id="rId1" Type="http://schemas.openxmlformats.org/officeDocument/2006/relationships/slideLayout" Target="../slideLayouts/slideLayout46.xml"/></Relationships>
</file>

<file path=ppt/slides/_rels/slide393.xml.rels><?xml version="1.0" encoding="UTF-8" standalone="yes"?>
<Relationships xmlns="http://schemas.openxmlformats.org/package/2006/relationships"><Relationship Id="rId2" Type="http://schemas.openxmlformats.org/officeDocument/2006/relationships/notesSlide" Target="../notesSlides/notesSlide333.xml"/><Relationship Id="rId1" Type="http://schemas.openxmlformats.org/officeDocument/2006/relationships/slideLayout" Target="../slideLayouts/slideLayout46.xml"/></Relationships>
</file>

<file path=ppt/slides/_rels/slide394.xml.rels><?xml version="1.0" encoding="UTF-8" standalone="yes"?>
<Relationships xmlns="http://schemas.openxmlformats.org/package/2006/relationships"><Relationship Id="rId2" Type="http://schemas.openxmlformats.org/officeDocument/2006/relationships/notesSlide" Target="../notesSlides/notesSlide334.xml"/><Relationship Id="rId1" Type="http://schemas.openxmlformats.org/officeDocument/2006/relationships/slideLayout" Target="../slideLayouts/slideLayout46.xml"/></Relationships>
</file>

<file path=ppt/slides/_rels/slide395.xml.rels><?xml version="1.0" encoding="UTF-8" standalone="yes"?>
<Relationships xmlns="http://schemas.openxmlformats.org/package/2006/relationships"><Relationship Id="rId2" Type="http://schemas.openxmlformats.org/officeDocument/2006/relationships/notesSlide" Target="../notesSlides/notesSlide335.xml"/><Relationship Id="rId1" Type="http://schemas.openxmlformats.org/officeDocument/2006/relationships/slideLayout" Target="../slideLayouts/slideLayout46.xml"/></Relationships>
</file>

<file path=ppt/slides/_rels/slide396.xml.rels><?xml version="1.0" encoding="UTF-8" standalone="yes"?>
<Relationships xmlns="http://schemas.openxmlformats.org/package/2006/relationships"><Relationship Id="rId2" Type="http://schemas.openxmlformats.org/officeDocument/2006/relationships/notesSlide" Target="../notesSlides/notesSlide336.xml"/><Relationship Id="rId1" Type="http://schemas.openxmlformats.org/officeDocument/2006/relationships/slideLayout" Target="../slideLayouts/slideLayout46.xml"/></Relationships>
</file>

<file path=ppt/slides/_rels/slide397.xml.rels><?xml version="1.0" encoding="UTF-8" standalone="yes"?>
<Relationships xmlns="http://schemas.openxmlformats.org/package/2006/relationships"><Relationship Id="rId3" Type="http://schemas.openxmlformats.org/officeDocument/2006/relationships/slide" Target="slide350.xml"/><Relationship Id="rId2" Type="http://schemas.openxmlformats.org/officeDocument/2006/relationships/slide" Target="slide65.xml"/><Relationship Id="rId1" Type="http://schemas.openxmlformats.org/officeDocument/2006/relationships/slideLayout" Target="../slideLayouts/slideLayout21.xml"/></Relationships>
</file>

<file path=ppt/slides/_rels/slide398.xml.rels><?xml version="1.0" encoding="UTF-8" standalone="yes"?>
<Relationships xmlns="http://schemas.openxmlformats.org/package/2006/relationships"><Relationship Id="rId2" Type="http://schemas.openxmlformats.org/officeDocument/2006/relationships/notesSlide" Target="../notesSlides/notesSlide337.xml"/><Relationship Id="rId1" Type="http://schemas.openxmlformats.org/officeDocument/2006/relationships/slideLayout" Target="../slideLayouts/slideLayout46.xml"/></Relationships>
</file>

<file path=ppt/slides/_rels/slide399.xml.rels><?xml version="1.0" encoding="UTF-8" standalone="yes"?>
<Relationships xmlns="http://schemas.openxmlformats.org/package/2006/relationships"><Relationship Id="rId2" Type="http://schemas.openxmlformats.org/officeDocument/2006/relationships/notesSlide" Target="../notesSlides/notesSlide338.xml"/><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oleObject" Target="../embeddings/oleObject1.bin"/><Relationship Id="rId7" Type="http://schemas.openxmlformats.org/officeDocument/2006/relationships/image" Target="../media/image16.png"/><Relationship Id="rId2" Type="http://schemas.openxmlformats.org/officeDocument/2006/relationships/slideLayout" Target="../slideLayouts/slideLayout49.xml"/><Relationship Id="rId1" Type="http://schemas.openxmlformats.org/officeDocument/2006/relationships/tags" Target="../tags/tag1.xml"/><Relationship Id="rId6" Type="http://schemas.openxmlformats.org/officeDocument/2006/relationships/image" Target="../media/image15.svg"/><Relationship Id="rId5" Type="http://schemas.openxmlformats.org/officeDocument/2006/relationships/image" Target="../media/image14.png"/><Relationship Id="rId10" Type="http://schemas.openxmlformats.org/officeDocument/2006/relationships/image" Target="../media/image19.svg"/><Relationship Id="rId4" Type="http://schemas.openxmlformats.org/officeDocument/2006/relationships/image" Target="../media/image13.emf"/><Relationship Id="rId9" Type="http://schemas.openxmlformats.org/officeDocument/2006/relationships/image" Target="../media/image18.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400.xml.rels><?xml version="1.0" encoding="UTF-8" standalone="yes"?>
<Relationships xmlns="http://schemas.openxmlformats.org/package/2006/relationships"><Relationship Id="rId2" Type="http://schemas.openxmlformats.org/officeDocument/2006/relationships/notesSlide" Target="../notesSlides/notesSlide339.xml"/><Relationship Id="rId1" Type="http://schemas.openxmlformats.org/officeDocument/2006/relationships/slideLayout" Target="../slideLayouts/slideLayout46.xml"/></Relationships>
</file>

<file path=ppt/slides/_rels/slide401.xml.rels><?xml version="1.0" encoding="UTF-8" standalone="yes"?>
<Relationships xmlns="http://schemas.openxmlformats.org/package/2006/relationships"><Relationship Id="rId2" Type="http://schemas.openxmlformats.org/officeDocument/2006/relationships/notesSlide" Target="../notesSlides/notesSlide340.xml"/><Relationship Id="rId1" Type="http://schemas.openxmlformats.org/officeDocument/2006/relationships/slideLayout" Target="../slideLayouts/slideLayout46.xml"/></Relationships>
</file>

<file path=ppt/slides/_rels/slide402.xml.rels><?xml version="1.0" encoding="UTF-8" standalone="yes"?>
<Relationships xmlns="http://schemas.openxmlformats.org/package/2006/relationships"><Relationship Id="rId2" Type="http://schemas.openxmlformats.org/officeDocument/2006/relationships/notesSlide" Target="../notesSlides/notesSlide341.xml"/><Relationship Id="rId1" Type="http://schemas.openxmlformats.org/officeDocument/2006/relationships/slideLayout" Target="../slideLayouts/slideLayout46.xml"/></Relationships>
</file>

<file path=ppt/slides/_rels/slide403.xml.rels><?xml version="1.0" encoding="UTF-8" standalone="yes"?>
<Relationships xmlns="http://schemas.openxmlformats.org/package/2006/relationships"><Relationship Id="rId2" Type="http://schemas.openxmlformats.org/officeDocument/2006/relationships/notesSlide" Target="../notesSlides/notesSlide342.xml"/><Relationship Id="rId1" Type="http://schemas.openxmlformats.org/officeDocument/2006/relationships/slideLayout" Target="../slideLayouts/slideLayout46.xml"/></Relationships>
</file>

<file path=ppt/slides/_rels/slide404.xml.rels><?xml version="1.0" encoding="UTF-8" standalone="yes"?>
<Relationships xmlns="http://schemas.openxmlformats.org/package/2006/relationships"><Relationship Id="rId2" Type="http://schemas.openxmlformats.org/officeDocument/2006/relationships/notesSlide" Target="../notesSlides/notesSlide343.xml"/><Relationship Id="rId1" Type="http://schemas.openxmlformats.org/officeDocument/2006/relationships/slideLayout" Target="../slideLayouts/slideLayout46.xml"/></Relationships>
</file>

<file path=ppt/slides/_rels/slide405.xml.rels><?xml version="1.0" encoding="UTF-8" standalone="yes"?>
<Relationships xmlns="http://schemas.openxmlformats.org/package/2006/relationships"><Relationship Id="rId2" Type="http://schemas.openxmlformats.org/officeDocument/2006/relationships/notesSlide" Target="../notesSlides/notesSlide344.xml"/><Relationship Id="rId1" Type="http://schemas.openxmlformats.org/officeDocument/2006/relationships/slideLayout" Target="../slideLayouts/slideLayout46.xml"/></Relationships>
</file>

<file path=ppt/slides/_rels/slide406.xml.rels><?xml version="1.0" encoding="UTF-8" standalone="yes"?>
<Relationships xmlns="http://schemas.openxmlformats.org/package/2006/relationships"><Relationship Id="rId2" Type="http://schemas.openxmlformats.org/officeDocument/2006/relationships/notesSlide" Target="../notesSlides/notesSlide345.xml"/><Relationship Id="rId1" Type="http://schemas.openxmlformats.org/officeDocument/2006/relationships/slideLayout" Target="../slideLayouts/slideLayout46.xml"/></Relationships>
</file>

<file path=ppt/slides/_rels/slide407.xml.rels><?xml version="1.0" encoding="UTF-8" standalone="yes"?>
<Relationships xmlns="http://schemas.openxmlformats.org/package/2006/relationships"><Relationship Id="rId2" Type="http://schemas.openxmlformats.org/officeDocument/2006/relationships/notesSlide" Target="../notesSlides/notesSlide346.xml"/><Relationship Id="rId1" Type="http://schemas.openxmlformats.org/officeDocument/2006/relationships/slideLayout" Target="../slideLayouts/slideLayout46.xml"/></Relationships>
</file>

<file path=ppt/slides/_rels/slide408.xml.rels><?xml version="1.0" encoding="UTF-8" standalone="yes"?>
<Relationships xmlns="http://schemas.openxmlformats.org/package/2006/relationships"><Relationship Id="rId2" Type="http://schemas.openxmlformats.org/officeDocument/2006/relationships/notesSlide" Target="../notesSlides/notesSlide347.xml"/><Relationship Id="rId1" Type="http://schemas.openxmlformats.org/officeDocument/2006/relationships/slideLayout" Target="../slideLayouts/slideLayout46.xml"/></Relationships>
</file>

<file path=ppt/slides/_rels/slide409.xml.rels><?xml version="1.0" encoding="UTF-8" standalone="yes"?>
<Relationships xmlns="http://schemas.openxmlformats.org/package/2006/relationships"><Relationship Id="rId2" Type="http://schemas.openxmlformats.org/officeDocument/2006/relationships/notesSlide" Target="../notesSlides/notesSlide348.xml"/><Relationship Id="rId1" Type="http://schemas.openxmlformats.org/officeDocument/2006/relationships/slideLayout" Target="../slideLayouts/slideLayout4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6.xml"/></Relationships>
</file>

<file path=ppt/slides/_rels/slide410.xml.rels><?xml version="1.0" encoding="UTF-8" standalone="yes"?>
<Relationships xmlns="http://schemas.openxmlformats.org/package/2006/relationships"><Relationship Id="rId2" Type="http://schemas.openxmlformats.org/officeDocument/2006/relationships/notesSlide" Target="../notesSlides/notesSlide349.xml"/><Relationship Id="rId1" Type="http://schemas.openxmlformats.org/officeDocument/2006/relationships/slideLayout" Target="../slideLayouts/slideLayout46.xml"/></Relationships>
</file>

<file path=ppt/slides/_rels/slide411.xml.rels><?xml version="1.0" encoding="UTF-8" standalone="yes"?>
<Relationships xmlns="http://schemas.openxmlformats.org/package/2006/relationships"><Relationship Id="rId3" Type="http://schemas.openxmlformats.org/officeDocument/2006/relationships/slide" Target="slide350.xml"/><Relationship Id="rId2" Type="http://schemas.openxmlformats.org/officeDocument/2006/relationships/slide" Target="slide65.xml"/><Relationship Id="rId1" Type="http://schemas.openxmlformats.org/officeDocument/2006/relationships/slideLayout" Target="../slideLayouts/slideLayout21.xml"/></Relationships>
</file>

<file path=ppt/slides/_rels/slide412.xml.rels><?xml version="1.0" encoding="UTF-8" standalone="yes"?>
<Relationships xmlns="http://schemas.openxmlformats.org/package/2006/relationships"><Relationship Id="rId2" Type="http://schemas.openxmlformats.org/officeDocument/2006/relationships/notesSlide" Target="../notesSlides/notesSlide350.xml"/><Relationship Id="rId1" Type="http://schemas.openxmlformats.org/officeDocument/2006/relationships/slideLayout" Target="../slideLayouts/slideLayout46.xml"/></Relationships>
</file>

<file path=ppt/slides/_rels/slide413.xml.rels><?xml version="1.0" encoding="UTF-8" standalone="yes"?>
<Relationships xmlns="http://schemas.openxmlformats.org/package/2006/relationships"><Relationship Id="rId8" Type="http://schemas.openxmlformats.org/officeDocument/2006/relationships/tags" Target="../tags/tag235.xml"/><Relationship Id="rId13" Type="http://schemas.openxmlformats.org/officeDocument/2006/relationships/tags" Target="../tags/tag240.xml"/><Relationship Id="rId18" Type="http://schemas.openxmlformats.org/officeDocument/2006/relationships/tags" Target="../tags/tag245.xml"/><Relationship Id="rId3" Type="http://schemas.openxmlformats.org/officeDocument/2006/relationships/tags" Target="../tags/tag230.xml"/><Relationship Id="rId21" Type="http://schemas.openxmlformats.org/officeDocument/2006/relationships/slideLayout" Target="../slideLayouts/slideLayout46.xml"/><Relationship Id="rId7" Type="http://schemas.openxmlformats.org/officeDocument/2006/relationships/tags" Target="../tags/tag234.xml"/><Relationship Id="rId12" Type="http://schemas.openxmlformats.org/officeDocument/2006/relationships/tags" Target="../tags/tag239.xml"/><Relationship Id="rId17" Type="http://schemas.openxmlformats.org/officeDocument/2006/relationships/tags" Target="../tags/tag244.xml"/><Relationship Id="rId2" Type="http://schemas.openxmlformats.org/officeDocument/2006/relationships/tags" Target="../tags/tag229.xml"/><Relationship Id="rId16" Type="http://schemas.openxmlformats.org/officeDocument/2006/relationships/tags" Target="../tags/tag243.xml"/><Relationship Id="rId20" Type="http://schemas.openxmlformats.org/officeDocument/2006/relationships/tags" Target="../tags/tag247.xml"/><Relationship Id="rId1" Type="http://schemas.openxmlformats.org/officeDocument/2006/relationships/tags" Target="../tags/tag228.xml"/><Relationship Id="rId6" Type="http://schemas.openxmlformats.org/officeDocument/2006/relationships/tags" Target="../tags/tag233.xml"/><Relationship Id="rId11" Type="http://schemas.openxmlformats.org/officeDocument/2006/relationships/tags" Target="../tags/tag238.xml"/><Relationship Id="rId5" Type="http://schemas.openxmlformats.org/officeDocument/2006/relationships/tags" Target="../tags/tag232.xml"/><Relationship Id="rId15" Type="http://schemas.openxmlformats.org/officeDocument/2006/relationships/tags" Target="../tags/tag242.xml"/><Relationship Id="rId10" Type="http://schemas.openxmlformats.org/officeDocument/2006/relationships/tags" Target="../tags/tag237.xml"/><Relationship Id="rId19" Type="http://schemas.openxmlformats.org/officeDocument/2006/relationships/tags" Target="../tags/tag246.xml"/><Relationship Id="rId4" Type="http://schemas.openxmlformats.org/officeDocument/2006/relationships/tags" Target="../tags/tag231.xml"/><Relationship Id="rId9" Type="http://schemas.openxmlformats.org/officeDocument/2006/relationships/tags" Target="../tags/tag236.xml"/><Relationship Id="rId14" Type="http://schemas.openxmlformats.org/officeDocument/2006/relationships/tags" Target="../tags/tag241.xml"/><Relationship Id="rId22" Type="http://schemas.openxmlformats.org/officeDocument/2006/relationships/notesSlide" Target="../notesSlides/notesSlide351.xml"/></Relationships>
</file>

<file path=ppt/slides/_rels/slide414.xml.rels><?xml version="1.0" encoding="UTF-8" standalone="yes"?>
<Relationships xmlns="http://schemas.openxmlformats.org/package/2006/relationships"><Relationship Id="rId2" Type="http://schemas.openxmlformats.org/officeDocument/2006/relationships/notesSlide" Target="../notesSlides/notesSlide352.xml"/><Relationship Id="rId1" Type="http://schemas.openxmlformats.org/officeDocument/2006/relationships/slideLayout" Target="../slideLayouts/slideLayout46.xml"/></Relationships>
</file>

<file path=ppt/slides/_rels/slide415.xml.rels><?xml version="1.0" encoding="UTF-8" standalone="yes"?>
<Relationships xmlns="http://schemas.openxmlformats.org/package/2006/relationships"><Relationship Id="rId2" Type="http://schemas.openxmlformats.org/officeDocument/2006/relationships/notesSlide" Target="../notesSlides/notesSlide353.xml"/><Relationship Id="rId1" Type="http://schemas.openxmlformats.org/officeDocument/2006/relationships/slideLayout" Target="../slideLayouts/slideLayout46.xml"/></Relationships>
</file>

<file path=ppt/slides/_rels/slide416.xml.rels><?xml version="1.0" encoding="UTF-8" standalone="yes"?>
<Relationships xmlns="http://schemas.openxmlformats.org/package/2006/relationships"><Relationship Id="rId2" Type="http://schemas.openxmlformats.org/officeDocument/2006/relationships/notesSlide" Target="../notesSlides/notesSlide354.xml"/><Relationship Id="rId1" Type="http://schemas.openxmlformats.org/officeDocument/2006/relationships/slideLayout" Target="../slideLayouts/slideLayout46.xml"/></Relationships>
</file>

<file path=ppt/slides/_rels/slide417.xml.rels><?xml version="1.0" encoding="UTF-8" standalone="yes"?>
<Relationships xmlns="http://schemas.openxmlformats.org/package/2006/relationships"><Relationship Id="rId2" Type="http://schemas.openxmlformats.org/officeDocument/2006/relationships/notesSlide" Target="../notesSlides/notesSlide355.xml"/><Relationship Id="rId1" Type="http://schemas.openxmlformats.org/officeDocument/2006/relationships/slideLayout" Target="../slideLayouts/slideLayout46.xml"/></Relationships>
</file>

<file path=ppt/slides/_rels/slide418.xml.rels><?xml version="1.0" encoding="UTF-8" standalone="yes"?>
<Relationships xmlns="http://schemas.openxmlformats.org/package/2006/relationships"><Relationship Id="rId3" Type="http://schemas.openxmlformats.org/officeDocument/2006/relationships/tags" Target="../tags/tag250.xml"/><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notesSlide" Target="../notesSlides/notesSlide356.xml"/><Relationship Id="rId5" Type="http://schemas.openxmlformats.org/officeDocument/2006/relationships/slideLayout" Target="../slideLayouts/slideLayout46.xml"/><Relationship Id="rId4" Type="http://schemas.openxmlformats.org/officeDocument/2006/relationships/tags" Target="../tags/tag251.xml"/></Relationships>
</file>

<file path=ppt/slides/_rels/slide419.xml.rels><?xml version="1.0" encoding="UTF-8" standalone="yes"?>
<Relationships xmlns="http://schemas.openxmlformats.org/package/2006/relationships"><Relationship Id="rId2" Type="http://schemas.openxmlformats.org/officeDocument/2006/relationships/notesSlide" Target="../notesSlides/notesSlide357.xml"/><Relationship Id="rId1" Type="http://schemas.openxmlformats.org/officeDocument/2006/relationships/slideLayout" Target="../slideLayouts/slideLayout4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7.xml"/></Relationships>
</file>

<file path=ppt/slides/_rels/slide420.xml.rels><?xml version="1.0" encoding="UTF-8" standalone="yes"?>
<Relationships xmlns="http://schemas.openxmlformats.org/package/2006/relationships"><Relationship Id="rId3" Type="http://schemas.openxmlformats.org/officeDocument/2006/relationships/slide" Target="slide350.xml"/><Relationship Id="rId2" Type="http://schemas.openxmlformats.org/officeDocument/2006/relationships/slide" Target="slide65.xml"/><Relationship Id="rId1" Type="http://schemas.openxmlformats.org/officeDocument/2006/relationships/slideLayout" Target="../slideLayouts/slideLayout21.xml"/></Relationships>
</file>

<file path=ppt/slides/_rels/slide421.xml.rels><?xml version="1.0" encoding="UTF-8" standalone="yes"?>
<Relationships xmlns="http://schemas.openxmlformats.org/package/2006/relationships"><Relationship Id="rId2" Type="http://schemas.openxmlformats.org/officeDocument/2006/relationships/notesSlide" Target="../notesSlides/notesSlide358.xml"/><Relationship Id="rId1" Type="http://schemas.openxmlformats.org/officeDocument/2006/relationships/slideLayout" Target="../slideLayouts/slideLayout46.xml"/></Relationships>
</file>

<file path=ppt/slides/_rels/slide422.xml.rels><?xml version="1.0" encoding="UTF-8" standalone="yes"?>
<Relationships xmlns="http://schemas.openxmlformats.org/package/2006/relationships"><Relationship Id="rId2" Type="http://schemas.openxmlformats.org/officeDocument/2006/relationships/notesSlide" Target="../notesSlides/notesSlide359.xml"/><Relationship Id="rId1" Type="http://schemas.openxmlformats.org/officeDocument/2006/relationships/slideLayout" Target="../slideLayouts/slideLayout46.xml"/></Relationships>
</file>

<file path=ppt/slides/_rels/slide423.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slideLayout" Target="../slideLayouts/slideLayout46.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2" Type="http://schemas.openxmlformats.org/officeDocument/2006/relationships/tags" Target="../tags/tag253.xml"/><Relationship Id="rId1" Type="http://schemas.openxmlformats.org/officeDocument/2006/relationships/tags" Target="../tags/tag252.x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notesSlide" Target="../notesSlides/notesSlide360.xml"/></Relationships>
</file>

<file path=ppt/slides/_rels/slide424.xml.rels><?xml version="1.0" encoding="UTF-8" standalone="yes"?>
<Relationships xmlns="http://schemas.openxmlformats.org/package/2006/relationships"><Relationship Id="rId2" Type="http://schemas.openxmlformats.org/officeDocument/2006/relationships/notesSlide" Target="../notesSlides/notesSlide361.xml"/><Relationship Id="rId1" Type="http://schemas.openxmlformats.org/officeDocument/2006/relationships/slideLayout" Target="../slideLayouts/slideLayout46.xml"/></Relationships>
</file>

<file path=ppt/slides/_rels/slide425.xml.rels><?xml version="1.0" encoding="UTF-8" standalone="yes"?>
<Relationships xmlns="http://schemas.openxmlformats.org/package/2006/relationships"><Relationship Id="rId2" Type="http://schemas.openxmlformats.org/officeDocument/2006/relationships/notesSlide" Target="../notesSlides/notesSlide362.xml"/><Relationship Id="rId1" Type="http://schemas.openxmlformats.org/officeDocument/2006/relationships/slideLayout" Target="../slideLayouts/slideLayout46.xml"/></Relationships>
</file>

<file path=ppt/slides/_rels/slide426.xml.rels><?xml version="1.0" encoding="UTF-8" standalone="yes"?>
<Relationships xmlns="http://schemas.openxmlformats.org/package/2006/relationships"><Relationship Id="rId2" Type="http://schemas.openxmlformats.org/officeDocument/2006/relationships/notesSlide" Target="../notesSlides/notesSlide363.xml"/><Relationship Id="rId1" Type="http://schemas.openxmlformats.org/officeDocument/2006/relationships/slideLayout" Target="../slideLayouts/slideLayout46.xml"/></Relationships>
</file>

<file path=ppt/slides/_rels/slide427.xml.rels><?xml version="1.0" encoding="UTF-8" standalone="yes"?>
<Relationships xmlns="http://schemas.openxmlformats.org/package/2006/relationships"><Relationship Id="rId2" Type="http://schemas.openxmlformats.org/officeDocument/2006/relationships/notesSlide" Target="../notesSlides/notesSlide364.xml"/><Relationship Id="rId1" Type="http://schemas.openxmlformats.org/officeDocument/2006/relationships/slideLayout" Target="../slideLayouts/slideLayout46.xml"/></Relationships>
</file>

<file path=ppt/slides/_rels/slide428.xml.rels><?xml version="1.0" encoding="UTF-8" standalone="yes"?>
<Relationships xmlns="http://schemas.openxmlformats.org/package/2006/relationships"><Relationship Id="rId2" Type="http://schemas.openxmlformats.org/officeDocument/2006/relationships/notesSlide" Target="../notesSlides/notesSlide365.xml"/><Relationship Id="rId1" Type="http://schemas.openxmlformats.org/officeDocument/2006/relationships/slideLayout" Target="../slideLayouts/slideLayout46.xml"/></Relationships>
</file>

<file path=ppt/slides/_rels/slide429.xml.rels><?xml version="1.0" encoding="UTF-8" standalone="yes"?>
<Relationships xmlns="http://schemas.openxmlformats.org/package/2006/relationships"><Relationship Id="rId2" Type="http://schemas.openxmlformats.org/officeDocument/2006/relationships/notesSlide" Target="../notesSlides/notesSlide366.xml"/><Relationship Id="rId1" Type="http://schemas.openxmlformats.org/officeDocument/2006/relationships/slideLayout" Target="../slideLayouts/slideLayout4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8.xml"/></Relationships>
</file>

<file path=ppt/slides/_rels/slide430.xml.rels><?xml version="1.0" encoding="UTF-8" standalone="yes"?>
<Relationships xmlns="http://schemas.openxmlformats.org/package/2006/relationships"><Relationship Id="rId2" Type="http://schemas.openxmlformats.org/officeDocument/2006/relationships/notesSlide" Target="../notesSlides/notesSlide367.xml"/><Relationship Id="rId1" Type="http://schemas.openxmlformats.org/officeDocument/2006/relationships/slideLayout" Target="../slideLayouts/slideLayout46.xml"/></Relationships>
</file>

<file path=ppt/slides/_rels/slide431.xml.rels><?xml version="1.0" encoding="UTF-8" standalone="yes"?>
<Relationships xmlns="http://schemas.openxmlformats.org/package/2006/relationships"><Relationship Id="rId2" Type="http://schemas.openxmlformats.org/officeDocument/2006/relationships/notesSlide" Target="../notesSlides/notesSlide368.xml"/><Relationship Id="rId1" Type="http://schemas.openxmlformats.org/officeDocument/2006/relationships/slideLayout" Target="../slideLayouts/slideLayout46.xml"/></Relationships>
</file>

<file path=ppt/slides/_rels/slide432.xml.rels><?xml version="1.0" encoding="UTF-8" standalone="yes"?>
<Relationships xmlns="http://schemas.openxmlformats.org/package/2006/relationships"><Relationship Id="rId8" Type="http://schemas.openxmlformats.org/officeDocument/2006/relationships/tags" Target="../tags/tag271.xml"/><Relationship Id="rId3" Type="http://schemas.openxmlformats.org/officeDocument/2006/relationships/tags" Target="../tags/tag266.xml"/><Relationship Id="rId7" Type="http://schemas.openxmlformats.org/officeDocument/2006/relationships/tags" Target="../tags/tag270.xml"/><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tags" Target="../tags/tag269.xml"/><Relationship Id="rId11" Type="http://schemas.openxmlformats.org/officeDocument/2006/relationships/notesSlide" Target="../notesSlides/notesSlide369.xml"/><Relationship Id="rId5" Type="http://schemas.openxmlformats.org/officeDocument/2006/relationships/tags" Target="../tags/tag268.xml"/><Relationship Id="rId10" Type="http://schemas.openxmlformats.org/officeDocument/2006/relationships/slideLayout" Target="../slideLayouts/slideLayout46.xml"/><Relationship Id="rId4" Type="http://schemas.openxmlformats.org/officeDocument/2006/relationships/tags" Target="../tags/tag267.xml"/><Relationship Id="rId9" Type="http://schemas.openxmlformats.org/officeDocument/2006/relationships/tags" Target="../tags/tag272.xml"/></Relationships>
</file>

<file path=ppt/slides/_rels/slide433.xml.rels><?xml version="1.0" encoding="UTF-8" standalone="yes"?>
<Relationships xmlns="http://schemas.openxmlformats.org/package/2006/relationships"><Relationship Id="rId2" Type="http://schemas.openxmlformats.org/officeDocument/2006/relationships/notesSlide" Target="../notesSlides/notesSlide370.xml"/><Relationship Id="rId1" Type="http://schemas.openxmlformats.org/officeDocument/2006/relationships/slideLayout" Target="../slideLayouts/slideLayout46.xml"/></Relationships>
</file>

<file path=ppt/slides/_rels/slide434.xml.rels><?xml version="1.0" encoding="UTF-8" standalone="yes"?>
<Relationships xmlns="http://schemas.openxmlformats.org/package/2006/relationships"><Relationship Id="rId8" Type="http://schemas.openxmlformats.org/officeDocument/2006/relationships/tags" Target="../tags/tag280.xml"/><Relationship Id="rId13" Type="http://schemas.openxmlformats.org/officeDocument/2006/relationships/notesSlide" Target="../notesSlides/notesSlide371.xml"/><Relationship Id="rId3" Type="http://schemas.openxmlformats.org/officeDocument/2006/relationships/tags" Target="../tags/tag275.xml"/><Relationship Id="rId7" Type="http://schemas.openxmlformats.org/officeDocument/2006/relationships/tags" Target="../tags/tag279.xml"/><Relationship Id="rId12" Type="http://schemas.openxmlformats.org/officeDocument/2006/relationships/slideLayout" Target="../slideLayouts/slideLayout46.xml"/><Relationship Id="rId2" Type="http://schemas.openxmlformats.org/officeDocument/2006/relationships/tags" Target="../tags/tag274.xml"/><Relationship Id="rId1" Type="http://schemas.openxmlformats.org/officeDocument/2006/relationships/tags" Target="../tags/tag273.xml"/><Relationship Id="rId6" Type="http://schemas.openxmlformats.org/officeDocument/2006/relationships/tags" Target="../tags/tag278.xml"/><Relationship Id="rId11" Type="http://schemas.openxmlformats.org/officeDocument/2006/relationships/tags" Target="../tags/tag283.xml"/><Relationship Id="rId5" Type="http://schemas.openxmlformats.org/officeDocument/2006/relationships/tags" Target="../tags/tag277.xml"/><Relationship Id="rId10" Type="http://schemas.openxmlformats.org/officeDocument/2006/relationships/tags" Target="../tags/tag282.xml"/><Relationship Id="rId4" Type="http://schemas.openxmlformats.org/officeDocument/2006/relationships/tags" Target="../tags/tag276.xml"/><Relationship Id="rId9" Type="http://schemas.openxmlformats.org/officeDocument/2006/relationships/tags" Target="../tags/tag281.xml"/></Relationships>
</file>

<file path=ppt/slides/_rels/slide435.xml.rels><?xml version="1.0" encoding="UTF-8" standalone="yes"?>
<Relationships xmlns="http://schemas.openxmlformats.org/package/2006/relationships"><Relationship Id="rId2" Type="http://schemas.openxmlformats.org/officeDocument/2006/relationships/notesSlide" Target="../notesSlides/notesSlide372.xml"/><Relationship Id="rId1" Type="http://schemas.openxmlformats.org/officeDocument/2006/relationships/slideLayout" Target="../slideLayouts/slideLayout46.xml"/></Relationships>
</file>

<file path=ppt/slides/_rels/slide436.xml.rels><?xml version="1.0" encoding="UTF-8" standalone="yes"?>
<Relationships xmlns="http://schemas.openxmlformats.org/package/2006/relationships"><Relationship Id="rId2" Type="http://schemas.openxmlformats.org/officeDocument/2006/relationships/notesSlide" Target="../notesSlides/notesSlide373.xml"/><Relationship Id="rId1" Type="http://schemas.openxmlformats.org/officeDocument/2006/relationships/slideLayout" Target="../slideLayouts/slideLayout46.xml"/></Relationships>
</file>

<file path=ppt/slides/_rels/slide437.xml.rels><?xml version="1.0" encoding="UTF-8" standalone="yes"?>
<Relationships xmlns="http://schemas.openxmlformats.org/package/2006/relationships"><Relationship Id="rId2" Type="http://schemas.openxmlformats.org/officeDocument/2006/relationships/notesSlide" Target="../notesSlides/notesSlide374.xml"/><Relationship Id="rId1" Type="http://schemas.openxmlformats.org/officeDocument/2006/relationships/slideLayout" Target="../slideLayouts/slideLayout46.xml"/></Relationships>
</file>

<file path=ppt/slides/_rels/slide438.xml.rels><?xml version="1.0" encoding="UTF-8" standalone="yes"?>
<Relationships xmlns="http://schemas.openxmlformats.org/package/2006/relationships"><Relationship Id="rId2" Type="http://schemas.openxmlformats.org/officeDocument/2006/relationships/notesSlide" Target="../notesSlides/notesSlide375.xml"/><Relationship Id="rId1" Type="http://schemas.openxmlformats.org/officeDocument/2006/relationships/slideLayout" Target="../slideLayouts/slideLayout46.xml"/></Relationships>
</file>

<file path=ppt/slides/_rels/slide439.xml.rels><?xml version="1.0" encoding="UTF-8" standalone="yes"?>
<Relationships xmlns="http://schemas.openxmlformats.org/package/2006/relationships"><Relationship Id="rId2" Type="http://schemas.openxmlformats.org/officeDocument/2006/relationships/notesSlide" Target="../notesSlides/notesSlide376.xml"/><Relationship Id="rId1" Type="http://schemas.openxmlformats.org/officeDocument/2006/relationships/slideLayout" Target="../slideLayouts/slideLayout4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9.xml"/></Relationships>
</file>

<file path=ppt/slides/_rels/slide440.xml.rels><?xml version="1.0" encoding="UTF-8" standalone="yes"?>
<Relationships xmlns="http://schemas.openxmlformats.org/package/2006/relationships"><Relationship Id="rId2" Type="http://schemas.openxmlformats.org/officeDocument/2006/relationships/notesSlide" Target="../notesSlides/notesSlide377.xml"/><Relationship Id="rId1" Type="http://schemas.openxmlformats.org/officeDocument/2006/relationships/slideLayout" Target="../slideLayouts/slideLayout46.xml"/></Relationships>
</file>

<file path=ppt/slides/_rels/slide441.xml.rels><?xml version="1.0" encoding="UTF-8" standalone="yes"?>
<Relationships xmlns="http://schemas.openxmlformats.org/package/2006/relationships"><Relationship Id="rId3" Type="http://schemas.openxmlformats.org/officeDocument/2006/relationships/slide" Target="slide350.xml"/><Relationship Id="rId2" Type="http://schemas.openxmlformats.org/officeDocument/2006/relationships/slide" Target="slide65.xml"/><Relationship Id="rId1" Type="http://schemas.openxmlformats.org/officeDocument/2006/relationships/slideLayout" Target="../slideLayouts/slideLayout21.xml"/></Relationships>
</file>

<file path=ppt/slides/_rels/slide442.xml.rels><?xml version="1.0" encoding="UTF-8" standalone="yes"?>
<Relationships xmlns="http://schemas.openxmlformats.org/package/2006/relationships"><Relationship Id="rId3" Type="http://schemas.openxmlformats.org/officeDocument/2006/relationships/tags" Target="../tags/tag286.xml"/><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notesSlide" Target="../notesSlides/notesSlide378.xml"/><Relationship Id="rId5" Type="http://schemas.openxmlformats.org/officeDocument/2006/relationships/slideLayout" Target="../slideLayouts/slideLayout46.xml"/><Relationship Id="rId4" Type="http://schemas.openxmlformats.org/officeDocument/2006/relationships/tags" Target="../tags/tag287.xml"/></Relationships>
</file>

<file path=ppt/slides/_rels/slide443.xml.rels><?xml version="1.0" encoding="UTF-8" standalone="yes"?>
<Relationships xmlns="http://schemas.openxmlformats.org/package/2006/relationships"><Relationship Id="rId2" Type="http://schemas.openxmlformats.org/officeDocument/2006/relationships/notesSlide" Target="../notesSlides/notesSlide379.xml"/><Relationship Id="rId1" Type="http://schemas.openxmlformats.org/officeDocument/2006/relationships/slideLayout" Target="../slideLayouts/slideLayout46.xml"/></Relationships>
</file>

<file path=ppt/slides/_rels/slide444.xml.rels><?xml version="1.0" encoding="UTF-8" standalone="yes"?>
<Relationships xmlns="http://schemas.openxmlformats.org/package/2006/relationships"><Relationship Id="rId2" Type="http://schemas.openxmlformats.org/officeDocument/2006/relationships/notesSlide" Target="../notesSlides/notesSlide380.xml"/><Relationship Id="rId1" Type="http://schemas.openxmlformats.org/officeDocument/2006/relationships/slideLayout" Target="../slideLayouts/slideLayout46.xml"/></Relationships>
</file>

<file path=ppt/slides/_rels/slide445.xml.rels><?xml version="1.0" encoding="UTF-8" standalone="yes"?>
<Relationships xmlns="http://schemas.openxmlformats.org/package/2006/relationships"><Relationship Id="rId2" Type="http://schemas.openxmlformats.org/officeDocument/2006/relationships/notesSlide" Target="../notesSlides/notesSlide381.xml"/><Relationship Id="rId1" Type="http://schemas.openxmlformats.org/officeDocument/2006/relationships/slideLayout" Target="../slideLayouts/slideLayout46.xml"/></Relationships>
</file>

<file path=ppt/slides/_rels/slide446.xml.rels><?xml version="1.0" encoding="UTF-8" standalone="yes"?>
<Relationships xmlns="http://schemas.openxmlformats.org/package/2006/relationships"><Relationship Id="rId2" Type="http://schemas.openxmlformats.org/officeDocument/2006/relationships/notesSlide" Target="../notesSlides/notesSlide382.xml"/><Relationship Id="rId1" Type="http://schemas.openxmlformats.org/officeDocument/2006/relationships/slideLayout" Target="../slideLayouts/slideLayout46.xml"/></Relationships>
</file>

<file path=ppt/slides/_rels/slide447.xml.rels><?xml version="1.0" encoding="UTF-8" standalone="yes"?>
<Relationships xmlns="http://schemas.openxmlformats.org/package/2006/relationships"><Relationship Id="rId2" Type="http://schemas.openxmlformats.org/officeDocument/2006/relationships/notesSlide" Target="../notesSlides/notesSlide383.xml"/><Relationship Id="rId1" Type="http://schemas.openxmlformats.org/officeDocument/2006/relationships/slideLayout" Target="../slideLayouts/slideLayout46.xml"/></Relationships>
</file>

<file path=ppt/slides/_rels/slide448.xml.rels><?xml version="1.0" encoding="UTF-8" standalone="yes"?>
<Relationships xmlns="http://schemas.openxmlformats.org/package/2006/relationships"><Relationship Id="rId2" Type="http://schemas.openxmlformats.org/officeDocument/2006/relationships/notesSlide" Target="../notesSlides/notesSlide384.xml"/><Relationship Id="rId1" Type="http://schemas.openxmlformats.org/officeDocument/2006/relationships/slideLayout" Target="../slideLayouts/slideLayout46.xml"/></Relationships>
</file>

<file path=ppt/slides/_rels/slide449.xml.rels><?xml version="1.0" encoding="UTF-8" standalone="yes"?>
<Relationships xmlns="http://schemas.openxmlformats.org/package/2006/relationships"><Relationship Id="rId2" Type="http://schemas.openxmlformats.org/officeDocument/2006/relationships/notesSlide" Target="../notesSlides/notesSlide385.xml"/><Relationship Id="rId1" Type="http://schemas.openxmlformats.org/officeDocument/2006/relationships/slideLayout" Target="../slideLayouts/slideLayout4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0.xml"/></Relationships>
</file>

<file path=ppt/slides/_rels/slide450.xml.rels><?xml version="1.0" encoding="UTF-8" standalone="yes"?>
<Relationships xmlns="http://schemas.openxmlformats.org/package/2006/relationships"><Relationship Id="rId2" Type="http://schemas.openxmlformats.org/officeDocument/2006/relationships/notesSlide" Target="../notesSlides/notesSlide386.xml"/><Relationship Id="rId1" Type="http://schemas.openxmlformats.org/officeDocument/2006/relationships/slideLayout" Target="../slideLayouts/slideLayout46.xml"/></Relationships>
</file>

<file path=ppt/slides/_rels/slide451.xml.rels><?xml version="1.0" encoding="UTF-8" standalone="yes"?>
<Relationships xmlns="http://schemas.openxmlformats.org/package/2006/relationships"><Relationship Id="rId2" Type="http://schemas.openxmlformats.org/officeDocument/2006/relationships/notesSlide" Target="../notesSlides/notesSlide387.xml"/><Relationship Id="rId1" Type="http://schemas.openxmlformats.org/officeDocument/2006/relationships/slideLayout" Target="../slideLayouts/slideLayout46.xml"/></Relationships>
</file>

<file path=ppt/slides/_rels/slide452.xml.rels><?xml version="1.0" encoding="UTF-8" standalone="yes"?>
<Relationships xmlns="http://schemas.openxmlformats.org/package/2006/relationships"><Relationship Id="rId2" Type="http://schemas.openxmlformats.org/officeDocument/2006/relationships/notesSlide" Target="../notesSlides/notesSlide388.xml"/><Relationship Id="rId1" Type="http://schemas.openxmlformats.org/officeDocument/2006/relationships/slideLayout" Target="../slideLayouts/slideLayout46.xml"/></Relationships>
</file>

<file path=ppt/slides/_rels/slide453.xml.rels><?xml version="1.0" encoding="UTF-8" standalone="yes"?>
<Relationships xmlns="http://schemas.openxmlformats.org/package/2006/relationships"><Relationship Id="rId2" Type="http://schemas.openxmlformats.org/officeDocument/2006/relationships/notesSlide" Target="../notesSlides/notesSlide389.xml"/><Relationship Id="rId1" Type="http://schemas.openxmlformats.org/officeDocument/2006/relationships/slideLayout" Target="../slideLayouts/slideLayout23.xml"/></Relationships>
</file>

<file path=ppt/slides/_rels/slide454.xml.rels><?xml version="1.0" encoding="UTF-8" standalone="yes"?>
<Relationships xmlns="http://schemas.openxmlformats.org/package/2006/relationships"><Relationship Id="rId2" Type="http://schemas.openxmlformats.org/officeDocument/2006/relationships/notesSlide" Target="../notesSlides/notesSlide390.xml"/><Relationship Id="rId1" Type="http://schemas.openxmlformats.org/officeDocument/2006/relationships/slideLayout" Target="../slideLayouts/slideLayout2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8.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5.xml.rels><?xml version="1.0" encoding="UTF-8" standalone="yes"?>
<Relationships xmlns="http://schemas.openxmlformats.org/package/2006/relationships"><Relationship Id="rId13" Type="http://schemas.openxmlformats.org/officeDocument/2006/relationships/slide" Target="slide351.xml"/><Relationship Id="rId18" Type="http://schemas.openxmlformats.org/officeDocument/2006/relationships/slide" Target="slide441.xml"/><Relationship Id="rId26" Type="http://schemas.openxmlformats.org/officeDocument/2006/relationships/slide" Target="slide162.xml"/><Relationship Id="rId21" Type="http://schemas.openxmlformats.org/officeDocument/2006/relationships/slide" Target="slide125.xml"/><Relationship Id="rId34" Type="http://schemas.openxmlformats.org/officeDocument/2006/relationships/hyperlink" Target="https://kx.accenture.com/repositories/contributionform.aspx?path=C30/28/79&amp;mode=read" TargetMode="External"/><Relationship Id="rId7" Type="http://schemas.openxmlformats.org/officeDocument/2006/relationships/slide" Target="slide103.xml"/><Relationship Id="rId12" Type="http://schemas.openxmlformats.org/officeDocument/2006/relationships/slide" Target="slide350.xml"/><Relationship Id="rId17" Type="http://schemas.openxmlformats.org/officeDocument/2006/relationships/slide" Target="slide420.xml"/><Relationship Id="rId25" Type="http://schemas.openxmlformats.org/officeDocument/2006/relationships/slide" Target="slide151.xml"/><Relationship Id="rId33" Type="http://schemas.openxmlformats.org/officeDocument/2006/relationships/image" Target="../media/image70.png"/><Relationship Id="rId2" Type="http://schemas.openxmlformats.org/officeDocument/2006/relationships/notesSlide" Target="../notesSlides/notesSlide33.xml"/><Relationship Id="rId16" Type="http://schemas.openxmlformats.org/officeDocument/2006/relationships/slide" Target="slide411.xml"/><Relationship Id="rId20" Type="http://schemas.openxmlformats.org/officeDocument/2006/relationships/slide" Target="slide115.xml"/><Relationship Id="rId29" Type="http://schemas.openxmlformats.org/officeDocument/2006/relationships/slide" Target="slide288.xml"/><Relationship Id="rId1" Type="http://schemas.openxmlformats.org/officeDocument/2006/relationships/slideLayout" Target="../slideLayouts/slideLayout46.xml"/><Relationship Id="rId6" Type="http://schemas.openxmlformats.org/officeDocument/2006/relationships/slide" Target="slide91.xml"/><Relationship Id="rId11" Type="http://schemas.openxmlformats.org/officeDocument/2006/relationships/slide" Target="slide246.xml"/><Relationship Id="rId24" Type="http://schemas.openxmlformats.org/officeDocument/2006/relationships/slide" Target="slide148.xml"/><Relationship Id="rId32" Type="http://schemas.openxmlformats.org/officeDocument/2006/relationships/slide" Target="slide340.xml"/><Relationship Id="rId37" Type="http://schemas.openxmlformats.org/officeDocument/2006/relationships/slide" Target="slide113.xml"/><Relationship Id="rId5" Type="http://schemas.openxmlformats.org/officeDocument/2006/relationships/slide" Target="slide75.xml"/><Relationship Id="rId15" Type="http://schemas.openxmlformats.org/officeDocument/2006/relationships/slide" Target="slide397.xml"/><Relationship Id="rId23" Type="http://schemas.openxmlformats.org/officeDocument/2006/relationships/slide" Target="slide143.xml"/><Relationship Id="rId28" Type="http://schemas.openxmlformats.org/officeDocument/2006/relationships/slide" Target="slide267.xml"/><Relationship Id="rId36" Type="http://schemas.openxmlformats.org/officeDocument/2006/relationships/hyperlink" Target="https://brandspace.accenture.com/" TargetMode="External"/><Relationship Id="rId10" Type="http://schemas.openxmlformats.org/officeDocument/2006/relationships/slide" Target="slide227.xml"/><Relationship Id="rId19" Type="http://schemas.openxmlformats.org/officeDocument/2006/relationships/slide" Target="slide114.xml"/><Relationship Id="rId31" Type="http://schemas.openxmlformats.org/officeDocument/2006/relationships/slide" Target="slide313.xml"/><Relationship Id="rId4" Type="http://schemas.openxmlformats.org/officeDocument/2006/relationships/slide" Target="slide67.xml"/><Relationship Id="rId9" Type="http://schemas.openxmlformats.org/officeDocument/2006/relationships/slide" Target="slide188.xml"/><Relationship Id="rId14" Type="http://schemas.openxmlformats.org/officeDocument/2006/relationships/slide" Target="slide369.xml"/><Relationship Id="rId22" Type="http://schemas.openxmlformats.org/officeDocument/2006/relationships/slide" Target="slide135.xml"/><Relationship Id="rId27" Type="http://schemas.openxmlformats.org/officeDocument/2006/relationships/slide" Target="slide266.xml"/><Relationship Id="rId30" Type="http://schemas.openxmlformats.org/officeDocument/2006/relationships/slide" Target="slide295.xml"/><Relationship Id="rId35" Type="http://schemas.openxmlformats.org/officeDocument/2006/relationships/image" Target="../media/image71.png"/><Relationship Id="rId8" Type="http://schemas.openxmlformats.org/officeDocument/2006/relationships/slide" Target="slide187.xml"/><Relationship Id="rId3" Type="http://schemas.openxmlformats.org/officeDocument/2006/relationships/slide" Target="slide66.xml"/></Relationships>
</file>

<file path=ppt/slides/_rels/slide66.xml.rels><?xml version="1.0" encoding="UTF-8" standalone="yes"?>
<Relationships xmlns="http://schemas.openxmlformats.org/package/2006/relationships"><Relationship Id="rId3" Type="http://schemas.openxmlformats.org/officeDocument/2006/relationships/slide" Target="slide75.xml"/><Relationship Id="rId2" Type="http://schemas.openxmlformats.org/officeDocument/2006/relationships/slide" Target="slide67.xml"/><Relationship Id="rId1" Type="http://schemas.openxmlformats.org/officeDocument/2006/relationships/slideLayout" Target="../slideLayouts/slideLayout19.xml"/><Relationship Id="rId6" Type="http://schemas.openxmlformats.org/officeDocument/2006/relationships/slide" Target="slide65.xml"/><Relationship Id="rId5" Type="http://schemas.openxmlformats.org/officeDocument/2006/relationships/slide" Target="slide103.xml"/><Relationship Id="rId4" Type="http://schemas.openxmlformats.org/officeDocument/2006/relationships/slide" Target="slide91.xml"/></Relationships>
</file>

<file path=ppt/slides/_rels/slide67.xml.rels><?xml version="1.0" encoding="UTF-8" standalone="yes"?>
<Relationships xmlns="http://schemas.openxmlformats.org/package/2006/relationships"><Relationship Id="rId3" Type="http://schemas.openxmlformats.org/officeDocument/2006/relationships/slide" Target="slide65.xml"/><Relationship Id="rId2" Type="http://schemas.openxmlformats.org/officeDocument/2006/relationships/slide" Target="slide66.xml"/><Relationship Id="rId1" Type="http://schemas.openxmlformats.org/officeDocument/2006/relationships/slideLayout" Target="../slideLayouts/slideLayout21.xml"/></Relationships>
</file>

<file path=ppt/slides/_rels/slide6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4.xml"/><Relationship Id="rId1" Type="http://schemas.openxmlformats.org/officeDocument/2006/relationships/slideLayout" Target="../slideLayouts/slideLayout46.xml"/></Relationships>
</file>

<file path=ppt/slides/_rels/slide6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5.xml"/><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6.xml"/><Relationship Id="rId1" Type="http://schemas.openxmlformats.org/officeDocument/2006/relationships/slideLayout" Target="../slideLayouts/slideLayout46.xml"/></Relationships>
</file>

<file path=ppt/slides/_rels/slide7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7.xml"/><Relationship Id="rId1" Type="http://schemas.openxmlformats.org/officeDocument/2006/relationships/slideLayout" Target="../slideLayouts/slideLayout46.xml"/><Relationship Id="rId4" Type="http://schemas.openxmlformats.org/officeDocument/2006/relationships/chart" Target="../charts/chart5.xml"/></Relationships>
</file>

<file path=ppt/slides/_rels/slide7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8.xml"/><Relationship Id="rId1" Type="http://schemas.openxmlformats.org/officeDocument/2006/relationships/slideLayout" Target="../slideLayouts/slideLayout46.xml"/></Relationships>
</file>

<file path=ppt/slides/_rels/slide7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39.xml"/><Relationship Id="rId1" Type="http://schemas.openxmlformats.org/officeDocument/2006/relationships/slideLayout" Target="../slideLayouts/slideLayout46.xml"/></Relationships>
</file>

<file path=ppt/slides/_rels/slide7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40.xml"/><Relationship Id="rId1" Type="http://schemas.openxmlformats.org/officeDocument/2006/relationships/slideLayout" Target="../slideLayouts/slideLayout46.xml"/></Relationships>
</file>

<file path=ppt/slides/_rels/slide75.xml.rels><?xml version="1.0" encoding="UTF-8" standalone="yes"?>
<Relationships xmlns="http://schemas.openxmlformats.org/package/2006/relationships"><Relationship Id="rId3" Type="http://schemas.openxmlformats.org/officeDocument/2006/relationships/slide" Target="slide66.xml"/><Relationship Id="rId2" Type="http://schemas.openxmlformats.org/officeDocument/2006/relationships/slide" Target="slide65.xml"/><Relationship Id="rId1" Type="http://schemas.openxmlformats.org/officeDocument/2006/relationships/slideLayout" Target="../slideLayouts/slideLayout21.xml"/></Relationships>
</file>

<file path=ppt/slides/_rels/slide76.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41.xml"/><Relationship Id="rId1" Type="http://schemas.openxmlformats.org/officeDocument/2006/relationships/slideLayout" Target="../slideLayouts/slideLayout46.xml"/></Relationships>
</file>

<file path=ppt/slides/_rels/slide7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42.xml"/><Relationship Id="rId1" Type="http://schemas.openxmlformats.org/officeDocument/2006/relationships/slideLayout" Target="../slideLayouts/slideLayout46.xml"/></Relationships>
</file>

<file path=ppt/slides/_rels/slide78.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43.xml"/><Relationship Id="rId1" Type="http://schemas.openxmlformats.org/officeDocument/2006/relationships/slideLayout" Target="../slideLayouts/slideLayout46.xml"/></Relationships>
</file>

<file path=ppt/slides/_rels/slide79.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44.xml"/><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3" Type="http://schemas.openxmlformats.org/officeDocument/2006/relationships/hyperlink" Target="https://brandspace.accenture.com/" TargetMode="External"/><Relationship Id="rId2" Type="http://schemas.openxmlformats.org/officeDocument/2006/relationships/notesSlide" Target="../notesSlides/notesSlide1.xml"/><Relationship Id="rId1" Type="http://schemas.openxmlformats.org/officeDocument/2006/relationships/slideLayout" Target="../slideLayouts/slideLayout46.xml"/><Relationship Id="rId5" Type="http://schemas.openxmlformats.org/officeDocument/2006/relationships/hyperlink" Target="https://kxdocuments.accenture.com/contribution/204f6372-653e-48fa-a0a0-11ac5b1fb4e9" TargetMode="External"/><Relationship Id="rId4" Type="http://schemas.openxmlformats.org/officeDocument/2006/relationships/hyperlink" Target="mailto:brandsupport@accenture.com" TargetMode="External"/></Relationships>
</file>

<file path=ppt/slides/_rels/slide80.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45.xml"/><Relationship Id="rId1" Type="http://schemas.openxmlformats.org/officeDocument/2006/relationships/slideLayout" Target="../slideLayouts/slideLayout46.xml"/></Relationships>
</file>

<file path=ppt/slides/_rels/slide81.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46.xml"/><Relationship Id="rId1" Type="http://schemas.openxmlformats.org/officeDocument/2006/relationships/slideLayout" Target="../slideLayouts/slideLayout46.xml"/></Relationships>
</file>

<file path=ppt/slides/_rels/slide82.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47.xml"/><Relationship Id="rId1" Type="http://schemas.openxmlformats.org/officeDocument/2006/relationships/slideLayout" Target="../slideLayouts/slideLayout46.xml"/></Relationships>
</file>

<file path=ppt/slides/_rels/slide83.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48.xml"/><Relationship Id="rId1" Type="http://schemas.openxmlformats.org/officeDocument/2006/relationships/slideLayout" Target="../slideLayouts/slideLayout46.xml"/></Relationships>
</file>

<file path=ppt/slides/_rels/slide84.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49.xml"/><Relationship Id="rId1" Type="http://schemas.openxmlformats.org/officeDocument/2006/relationships/slideLayout" Target="../slideLayouts/slideLayout46.xml"/></Relationships>
</file>

<file path=ppt/slides/_rels/slide85.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50.xml"/><Relationship Id="rId1" Type="http://schemas.openxmlformats.org/officeDocument/2006/relationships/slideLayout" Target="../slideLayouts/slideLayout46.xml"/></Relationships>
</file>

<file path=ppt/slides/_rels/slide86.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51.xml"/><Relationship Id="rId1" Type="http://schemas.openxmlformats.org/officeDocument/2006/relationships/slideLayout" Target="../slideLayouts/slideLayout46.xml"/></Relationships>
</file>

<file path=ppt/slides/_rels/slide87.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52.xml"/><Relationship Id="rId1" Type="http://schemas.openxmlformats.org/officeDocument/2006/relationships/slideLayout" Target="../slideLayouts/slideLayout46.xml"/></Relationships>
</file>

<file path=ppt/slides/_rels/slide88.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53.xml"/><Relationship Id="rId1" Type="http://schemas.openxmlformats.org/officeDocument/2006/relationships/slideLayout" Target="../slideLayouts/slideLayout46.xml"/></Relationships>
</file>

<file path=ppt/slides/_rels/slide89.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54.xml"/><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90.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55.xml"/><Relationship Id="rId1" Type="http://schemas.openxmlformats.org/officeDocument/2006/relationships/slideLayout" Target="../slideLayouts/slideLayout46.xml"/></Relationships>
</file>

<file path=ppt/slides/_rels/slide91.xml.rels><?xml version="1.0" encoding="UTF-8" standalone="yes"?>
<Relationships xmlns="http://schemas.openxmlformats.org/package/2006/relationships"><Relationship Id="rId3" Type="http://schemas.openxmlformats.org/officeDocument/2006/relationships/slide" Target="slide65.xml"/><Relationship Id="rId2" Type="http://schemas.openxmlformats.org/officeDocument/2006/relationships/slide" Target="slide66.xml"/><Relationship Id="rId1" Type="http://schemas.openxmlformats.org/officeDocument/2006/relationships/slideLayout" Target="../slideLayouts/slideLayout21.xml"/></Relationships>
</file>

<file path=ppt/slides/_rels/slide92.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56.xml"/><Relationship Id="rId1" Type="http://schemas.openxmlformats.org/officeDocument/2006/relationships/slideLayout" Target="../slideLayouts/slideLayout23.xml"/></Relationships>
</file>

<file path=ppt/slides/_rels/slide93.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57.xml"/><Relationship Id="rId1" Type="http://schemas.openxmlformats.org/officeDocument/2006/relationships/slideLayout" Target="../slideLayouts/slideLayout23.xml"/></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chart" Target="../charts/chart26.xml"/><Relationship Id="rId4" Type="http://schemas.openxmlformats.org/officeDocument/2006/relationships/notesSlide" Target="../notesSlides/notesSlide58.xml"/></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chart" Target="../charts/chart27.xml"/><Relationship Id="rId4" Type="http://schemas.openxmlformats.org/officeDocument/2006/relationships/notesSlide" Target="../notesSlides/notesSlide59.xml"/></Relationships>
</file>

<file path=ppt/slides/_rels/slide96.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60.xml"/><Relationship Id="rId1" Type="http://schemas.openxmlformats.org/officeDocument/2006/relationships/slideLayout" Target="../slideLayouts/slideLayout46.xml"/><Relationship Id="rId4" Type="http://schemas.openxmlformats.org/officeDocument/2006/relationships/chart" Target="../charts/chart29.xml"/></Relationships>
</file>

<file path=ppt/slides/_rels/slide97.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61.xml"/><Relationship Id="rId1" Type="http://schemas.openxmlformats.org/officeDocument/2006/relationships/slideLayout" Target="../slideLayouts/slideLayout46.xml"/><Relationship Id="rId4" Type="http://schemas.openxmlformats.org/officeDocument/2006/relationships/chart" Target="../charts/chart31.xml"/></Relationships>
</file>

<file path=ppt/slides/_rels/slide98.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62.xml"/><Relationship Id="rId1" Type="http://schemas.openxmlformats.org/officeDocument/2006/relationships/slideLayout" Target="../slideLayouts/slideLayout46.xml"/></Relationships>
</file>

<file path=ppt/slides/_rels/slide99.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63.xml"/><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733F56-64BF-416E-8A1A-C1E33294868B}"/>
              </a:ext>
            </a:extLst>
          </p:cNvPr>
          <p:cNvSpPr>
            <a:spLocks noGrp="1"/>
          </p:cNvSpPr>
          <p:nvPr>
            <p:ph type="title"/>
          </p:nvPr>
        </p:nvSpPr>
        <p:spPr/>
        <p:txBody>
          <a:bodyPr/>
          <a:lstStyle/>
          <a:p>
            <a:r>
              <a:rPr lang="en-US" dirty="0"/>
              <a:t>Accenture </a:t>
            </a:r>
            <a:br>
              <a:rPr lang="en-US" dirty="0"/>
            </a:br>
            <a:r>
              <a:rPr lang="en-US" dirty="0"/>
              <a:t>PPT Starter Pack</a:t>
            </a:r>
          </a:p>
        </p:txBody>
      </p:sp>
    </p:spTree>
    <p:extLst>
      <p:ext uri="{BB962C8B-B14F-4D97-AF65-F5344CB8AC3E}">
        <p14:creationId xmlns:p14="http://schemas.microsoft.com/office/powerpoint/2010/main" val="28792560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F963C-B1CC-4EC9-A444-97D7D5A1ACB8}"/>
              </a:ext>
            </a:extLst>
          </p:cNvPr>
          <p:cNvSpPr>
            <a:spLocks noGrp="1"/>
          </p:cNvSpPr>
          <p:nvPr>
            <p:ph type="title"/>
          </p:nvPr>
        </p:nvSpPr>
        <p:spPr/>
        <p:txBody>
          <a:bodyPr/>
          <a:lstStyle/>
          <a:p>
            <a:r>
              <a:rPr lang="en-GB" dirty="0"/>
              <a:t>How to structure a great story</a:t>
            </a:r>
            <a:endParaRPr lang="en-US" dirty="0"/>
          </a:p>
        </p:txBody>
      </p:sp>
      <p:graphicFrame>
        <p:nvGraphicFramePr>
          <p:cNvPr id="16" name="Table 5">
            <a:extLst>
              <a:ext uri="{FF2B5EF4-FFF2-40B4-BE49-F238E27FC236}">
                <a16:creationId xmlns:a16="http://schemas.microsoft.com/office/drawing/2014/main" id="{4EA6F492-EE01-426A-84E1-68247038C4A5}"/>
              </a:ext>
            </a:extLst>
          </p:cNvPr>
          <p:cNvGraphicFramePr>
            <a:graphicFrameLocks noGrp="1"/>
          </p:cNvGraphicFramePr>
          <p:nvPr>
            <p:ph sz="quarter" idx="10"/>
            <p:extLst>
              <p:ext uri="{D42A27DB-BD31-4B8C-83A1-F6EECF244321}">
                <p14:modId xmlns:p14="http://schemas.microsoft.com/office/powerpoint/2010/main" val="961718447"/>
              </p:ext>
            </p:extLst>
          </p:nvPr>
        </p:nvGraphicFramePr>
        <p:xfrm>
          <a:off x="381000" y="1188720"/>
          <a:ext cx="11430000" cy="5120640"/>
        </p:xfrm>
        <a:graphic>
          <a:graphicData uri="http://schemas.openxmlformats.org/drawingml/2006/table">
            <a:tbl>
              <a:tblPr firstRow="1" bandRow="1">
                <a:tableStyleId>{5C22544A-7EE6-4342-B048-85BDC9FD1C3A}</a:tableStyleId>
              </a:tblPr>
              <a:tblGrid>
                <a:gridCol w="2857500">
                  <a:extLst>
                    <a:ext uri="{9D8B030D-6E8A-4147-A177-3AD203B41FA5}">
                      <a16:colId xmlns:a16="http://schemas.microsoft.com/office/drawing/2014/main" val="2621126524"/>
                    </a:ext>
                  </a:extLst>
                </a:gridCol>
                <a:gridCol w="2857500">
                  <a:extLst>
                    <a:ext uri="{9D8B030D-6E8A-4147-A177-3AD203B41FA5}">
                      <a16:colId xmlns:a16="http://schemas.microsoft.com/office/drawing/2014/main" val="1457146041"/>
                    </a:ext>
                  </a:extLst>
                </a:gridCol>
                <a:gridCol w="2857500">
                  <a:extLst>
                    <a:ext uri="{9D8B030D-6E8A-4147-A177-3AD203B41FA5}">
                      <a16:colId xmlns:a16="http://schemas.microsoft.com/office/drawing/2014/main" val="3203017935"/>
                    </a:ext>
                  </a:extLst>
                </a:gridCol>
                <a:gridCol w="2857500">
                  <a:extLst>
                    <a:ext uri="{9D8B030D-6E8A-4147-A177-3AD203B41FA5}">
                      <a16:colId xmlns:a16="http://schemas.microsoft.com/office/drawing/2014/main" val="56535499"/>
                    </a:ext>
                  </a:extLst>
                </a:gridCol>
              </a:tblGrid>
              <a:tr h="2560320">
                <a:tc>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400" b="1" i="0" kern="1200" noProof="0" dirty="0">
                          <a:solidFill>
                            <a:schemeClr val="accent1"/>
                          </a:solidFill>
                          <a:effectLst/>
                          <a:latin typeface="+mn-lt"/>
                          <a:ea typeface="+mn-ea"/>
                          <a:cs typeface="+mn-cs"/>
                        </a:rPr>
                        <a:t>1.</a:t>
                      </a:r>
                    </a:p>
                    <a:p>
                      <a:pPr marL="0" lvl="0" indent="0" algn="l" defTabSz="914400" rtl="0" eaLnBrk="1" latinLnBrk="0" hangingPunct="1">
                        <a:lnSpc>
                          <a:spcPct val="80000"/>
                        </a:lnSpc>
                        <a:spcAft>
                          <a:spcPts val="600"/>
                        </a:spcAft>
                        <a:buFont typeface="+mj-lt"/>
                        <a:buNone/>
                      </a:pPr>
                      <a:r>
                        <a:rPr lang="en-US" sz="2400" b="1" i="0" kern="1200" dirty="0">
                          <a:solidFill>
                            <a:schemeClr val="tx1"/>
                          </a:solidFill>
                          <a:effectLst/>
                          <a:latin typeface="+mj-lt"/>
                          <a:ea typeface="+mn-ea"/>
                          <a:cs typeface="+mn-cs"/>
                        </a:rPr>
                        <a:t>The</a:t>
                      </a:r>
                      <a:br>
                        <a:rPr lang="en-US" sz="2400" b="1" i="0" kern="1200" dirty="0">
                          <a:solidFill>
                            <a:schemeClr val="tx1"/>
                          </a:solidFill>
                          <a:effectLst/>
                          <a:latin typeface="+mj-lt"/>
                          <a:ea typeface="+mn-ea"/>
                          <a:cs typeface="+mn-cs"/>
                        </a:rPr>
                      </a:br>
                      <a:r>
                        <a:rPr lang="en-US" sz="2400" b="1" i="0" kern="1200" dirty="0">
                          <a:solidFill>
                            <a:schemeClr val="tx1"/>
                          </a:solidFill>
                          <a:effectLst/>
                          <a:latin typeface="+mj-lt"/>
                          <a:ea typeface="+mn-ea"/>
                          <a:cs typeface="+mn-cs"/>
                        </a:rPr>
                        <a:t>hook</a:t>
                      </a:r>
                    </a:p>
                    <a:p>
                      <a:pPr marL="0" lvl="0" indent="0" algn="l" defTabSz="914400" rtl="0" eaLnBrk="1" latinLnBrk="0" hangingPunct="1">
                        <a:spcAft>
                          <a:spcPts val="1200"/>
                        </a:spcAft>
                        <a:buFont typeface="+mj-lt"/>
                        <a:buNone/>
                      </a:pPr>
                      <a:r>
                        <a:rPr lang="en-US" sz="1300" b="0" i="0" kern="1200" noProof="0" dirty="0">
                          <a:solidFill>
                            <a:schemeClr val="tx1"/>
                          </a:solidFill>
                          <a:effectLst/>
                          <a:latin typeface="+mn-lt"/>
                          <a:ea typeface="+mn-ea"/>
                          <a:cs typeface="+mn-cs"/>
                        </a:rPr>
                        <a:t>Tell a personal story, make a startling assertion, or introduce a “what if” scenario that sparks imagination.</a:t>
                      </a:r>
                    </a:p>
                  </a:txBody>
                  <a:tcPr marR="45720" marT="9144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lvl="0" indent="0" algn="l" defTabSz="914400" rtl="0" eaLnBrk="1" latinLnBrk="0" hangingPunct="1">
                        <a:lnSpc>
                          <a:spcPct val="100000"/>
                        </a:lnSpc>
                        <a:spcAft>
                          <a:spcPts val="600"/>
                        </a:spcAft>
                        <a:buFont typeface="+mj-lt"/>
                        <a:buNone/>
                      </a:pPr>
                      <a:r>
                        <a:rPr lang="en-US" sz="1400" b="1" i="0" kern="1200" noProof="0" dirty="0">
                          <a:solidFill>
                            <a:schemeClr val="accent1"/>
                          </a:solidFill>
                          <a:effectLst/>
                          <a:latin typeface="+mn-lt"/>
                          <a:ea typeface="+mn-ea"/>
                          <a:cs typeface="+mn-cs"/>
                        </a:rPr>
                        <a:t>2.</a:t>
                      </a:r>
                      <a:endParaRPr lang="en-US" sz="1800" b="1" i="0" kern="1200" noProof="0" dirty="0">
                        <a:solidFill>
                          <a:schemeClr val="accent1"/>
                        </a:solidFill>
                        <a:effectLst/>
                        <a:latin typeface="+mn-lt"/>
                        <a:ea typeface="+mn-ea"/>
                        <a:cs typeface="+mn-cs"/>
                      </a:endParaRPr>
                    </a:p>
                    <a:p>
                      <a:pPr marL="0" lvl="0" indent="0" algn="l" defTabSz="914400" rtl="0" eaLnBrk="1" latinLnBrk="0" hangingPunct="1">
                        <a:lnSpc>
                          <a:spcPct val="80000"/>
                        </a:lnSpc>
                        <a:spcAft>
                          <a:spcPts val="600"/>
                        </a:spcAft>
                        <a:buFont typeface="+mj-lt"/>
                        <a:buNone/>
                      </a:pPr>
                      <a:r>
                        <a:rPr lang="en-US" sz="2400" b="1" i="0" kern="1200" noProof="0" dirty="0">
                          <a:solidFill>
                            <a:schemeClr val="tx1"/>
                          </a:solidFill>
                          <a:effectLst/>
                          <a:latin typeface="+mj-lt"/>
                          <a:ea typeface="+mn-ea"/>
                          <a:cs typeface="+mn-cs"/>
                        </a:rPr>
                        <a:t>Characters and context</a:t>
                      </a:r>
                    </a:p>
                    <a:p>
                      <a:pPr marL="0" lvl="0" indent="0" algn="l" defTabSz="914400" rtl="0" eaLnBrk="1" latinLnBrk="0" hangingPunct="1">
                        <a:spcAft>
                          <a:spcPts val="1200"/>
                        </a:spcAft>
                        <a:buFont typeface="+mj-lt"/>
                        <a:buNone/>
                      </a:pPr>
                      <a:r>
                        <a:rPr lang="en-US" sz="1300" b="0" i="0" kern="1200" dirty="0">
                          <a:solidFill>
                            <a:schemeClr val="tx1"/>
                          </a:solidFill>
                          <a:effectLst/>
                          <a:latin typeface="+mn-lt"/>
                          <a:ea typeface="+mn-ea"/>
                          <a:cs typeface="+mn-cs"/>
                        </a:rPr>
                        <a:t>Set the stage by introducing the people, places, things, and events that have led to this moment. Your audience is always the hero.</a:t>
                      </a:r>
                    </a:p>
                  </a:txBody>
                  <a:tcPr marR="45720" marT="9144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400" b="1" i="0" kern="1200" noProof="0" dirty="0">
                          <a:solidFill>
                            <a:schemeClr val="accent1"/>
                          </a:solidFill>
                          <a:effectLst/>
                          <a:latin typeface="+mn-lt"/>
                          <a:ea typeface="+mn-ea"/>
                          <a:cs typeface="+mn-cs"/>
                        </a:rPr>
                        <a:t>3. </a:t>
                      </a:r>
                    </a:p>
                    <a:p>
                      <a:pPr marL="0" lvl="0" indent="0" algn="l" defTabSz="914400" rtl="0" eaLnBrk="1" latinLnBrk="0" hangingPunct="1">
                        <a:lnSpc>
                          <a:spcPct val="80000"/>
                        </a:lnSpc>
                        <a:spcAft>
                          <a:spcPts val="600"/>
                        </a:spcAft>
                        <a:buFont typeface="+mj-lt"/>
                        <a:buNone/>
                      </a:pPr>
                      <a:r>
                        <a:rPr lang="en-US" sz="2400" b="1" i="0" kern="1200" dirty="0">
                          <a:solidFill>
                            <a:schemeClr val="tx1"/>
                          </a:solidFill>
                          <a:effectLst/>
                          <a:latin typeface="+mj-lt"/>
                          <a:ea typeface="+mn-ea"/>
                          <a:cs typeface="+mn-cs"/>
                        </a:rPr>
                        <a:t>A mission and destination</a:t>
                      </a:r>
                    </a:p>
                    <a:p>
                      <a:pPr marL="0" lvl="0" indent="0" algn="l" defTabSz="914400" rtl="0" eaLnBrk="1" latinLnBrk="0" hangingPunct="1">
                        <a:spcAft>
                          <a:spcPts val="1200"/>
                        </a:spcAft>
                        <a:buFont typeface="+mj-lt"/>
                        <a:buNone/>
                      </a:pPr>
                      <a:r>
                        <a:rPr lang="en-US" sz="1300" b="0" i="0" kern="1200" dirty="0">
                          <a:solidFill>
                            <a:schemeClr val="tx1"/>
                          </a:solidFill>
                          <a:effectLst/>
                          <a:latin typeface="+mn-lt"/>
                          <a:ea typeface="+mn-ea"/>
                          <a:cs typeface="+mn-cs"/>
                        </a:rPr>
                        <a:t>Paint a picture of what your audience wants to achieve and what they’re setting out to do.</a:t>
                      </a:r>
                    </a:p>
                  </a:txBody>
                  <a:tcPr marR="45720" marT="9144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lvl="0" indent="0" algn="l" defTabSz="914400" rtl="0" eaLnBrk="1" latinLnBrk="0" hangingPunct="1">
                        <a:lnSpc>
                          <a:spcPct val="100000"/>
                        </a:lnSpc>
                        <a:spcAft>
                          <a:spcPts val="600"/>
                        </a:spcAft>
                        <a:buFont typeface="+mj-lt"/>
                        <a:buNone/>
                      </a:pPr>
                      <a:r>
                        <a:rPr lang="en-US" sz="1400" b="1" i="0" kern="1200" noProof="0" dirty="0">
                          <a:solidFill>
                            <a:schemeClr val="accent1"/>
                          </a:solidFill>
                          <a:effectLst/>
                          <a:latin typeface="+mn-lt"/>
                          <a:ea typeface="+mn-ea"/>
                          <a:cs typeface="+mn-cs"/>
                        </a:rPr>
                        <a:t>4.</a:t>
                      </a:r>
                    </a:p>
                    <a:p>
                      <a:pPr marL="0" lvl="0" indent="0" algn="l" defTabSz="914400" rtl="0" eaLnBrk="1" latinLnBrk="0" hangingPunct="1">
                        <a:lnSpc>
                          <a:spcPct val="80000"/>
                        </a:lnSpc>
                        <a:spcAft>
                          <a:spcPts val="600"/>
                        </a:spcAft>
                        <a:buFont typeface="+mj-lt"/>
                        <a:buNone/>
                      </a:pPr>
                      <a:r>
                        <a:rPr lang="en-US" sz="2400" b="1" i="0" kern="1200" dirty="0">
                          <a:solidFill>
                            <a:schemeClr val="tx1"/>
                          </a:solidFill>
                          <a:effectLst/>
                          <a:latin typeface="+mj-lt"/>
                          <a:ea typeface="+mn-ea"/>
                          <a:cs typeface="+mn-cs"/>
                        </a:rPr>
                        <a:t>A “monster” or big </a:t>
                      </a:r>
                      <a:r>
                        <a:rPr lang="en-US" sz="2400" b="1" dirty="0">
                          <a:solidFill>
                            <a:schemeClr val="tx1"/>
                          </a:solidFill>
                          <a:latin typeface="+mj-lt"/>
                        </a:rPr>
                        <a:t>c</a:t>
                      </a:r>
                      <a:r>
                        <a:rPr lang="en-US" sz="2400" b="1" i="0" kern="1200" dirty="0">
                          <a:solidFill>
                            <a:schemeClr val="tx1"/>
                          </a:solidFill>
                          <a:effectLst/>
                          <a:latin typeface="+mj-lt"/>
                          <a:ea typeface="+mn-ea"/>
                          <a:cs typeface="+mn-cs"/>
                        </a:rPr>
                        <a:t>hallenge</a:t>
                      </a:r>
                    </a:p>
                    <a:p>
                      <a:pPr marL="0" lvl="0" indent="0" algn="l" defTabSz="914400" rtl="0" eaLnBrk="1" latinLnBrk="0" hangingPunct="1">
                        <a:spcAft>
                          <a:spcPts val="1200"/>
                        </a:spcAft>
                        <a:buFont typeface="+mj-lt"/>
                        <a:buNone/>
                      </a:pPr>
                      <a:r>
                        <a:rPr lang="en-US" sz="1300" b="0" i="0" kern="1200" dirty="0">
                          <a:solidFill>
                            <a:schemeClr val="tx1"/>
                          </a:solidFill>
                          <a:effectLst/>
                          <a:latin typeface="+mn-lt"/>
                          <a:ea typeface="+mn-ea"/>
                          <a:cs typeface="+mn-cs"/>
                        </a:rPr>
                        <a:t>Describe what’s in their way – what makes this journey difficult and what they will need to overcome to be successful.</a:t>
                      </a:r>
                    </a:p>
                  </a:txBody>
                  <a:tcPr marR="45720" marT="9144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559299103"/>
                  </a:ext>
                </a:extLst>
              </a:tr>
              <a:tr h="2560320">
                <a:tc>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400" b="1" i="0" kern="1200" noProof="0" dirty="0">
                          <a:solidFill>
                            <a:schemeClr val="accent1"/>
                          </a:solidFill>
                          <a:effectLst/>
                          <a:latin typeface="+mn-lt"/>
                          <a:ea typeface="+mn-ea"/>
                          <a:cs typeface="+mn-cs"/>
                        </a:rPr>
                        <a:t>5.</a:t>
                      </a:r>
                    </a:p>
                    <a:p>
                      <a:pPr marL="0" lvl="0" indent="0" algn="l" defTabSz="914400" rtl="0" eaLnBrk="1" latinLnBrk="0" hangingPunct="1">
                        <a:lnSpc>
                          <a:spcPct val="80000"/>
                        </a:lnSpc>
                        <a:spcAft>
                          <a:spcPts val="600"/>
                        </a:spcAft>
                        <a:buFont typeface="+mj-lt"/>
                        <a:buNone/>
                      </a:pPr>
                      <a:r>
                        <a:rPr lang="en-US" sz="2400" b="1" i="0" kern="1200" dirty="0">
                          <a:solidFill>
                            <a:schemeClr val="tx1"/>
                          </a:solidFill>
                          <a:effectLst/>
                          <a:latin typeface="+mj-lt"/>
                          <a:ea typeface="+mn-ea"/>
                          <a:cs typeface="+mn-cs"/>
                        </a:rPr>
                        <a:t>New “</a:t>
                      </a:r>
                      <a:r>
                        <a:rPr lang="en-US" sz="2400" b="1" dirty="0">
                          <a:solidFill>
                            <a:schemeClr val="tx1"/>
                          </a:solidFill>
                          <a:latin typeface="+mj-lt"/>
                        </a:rPr>
                        <a:t>s</a:t>
                      </a:r>
                      <a:r>
                        <a:rPr lang="en-US" sz="2400" b="1" i="0" kern="1200" dirty="0">
                          <a:solidFill>
                            <a:schemeClr val="tx1"/>
                          </a:solidFill>
                          <a:effectLst/>
                          <a:latin typeface="+mj-lt"/>
                          <a:ea typeface="+mn-ea"/>
                          <a:cs typeface="+mn-cs"/>
                        </a:rPr>
                        <a:t>uper </a:t>
                      </a:r>
                      <a:r>
                        <a:rPr lang="en-US" sz="2400" b="1" dirty="0">
                          <a:solidFill>
                            <a:schemeClr val="tx1"/>
                          </a:solidFill>
                          <a:latin typeface="+mj-lt"/>
                        </a:rPr>
                        <a:t>p</a:t>
                      </a:r>
                      <a:r>
                        <a:rPr lang="en-US" sz="2400" b="1" i="0" kern="1200" dirty="0">
                          <a:solidFill>
                            <a:schemeClr val="tx1"/>
                          </a:solidFill>
                          <a:effectLst/>
                          <a:latin typeface="+mj-lt"/>
                          <a:ea typeface="+mn-ea"/>
                          <a:cs typeface="+mn-cs"/>
                        </a:rPr>
                        <a:t>owers</a:t>
                      </a:r>
                      <a:r>
                        <a:rPr lang="en-US" sz="2400" b="1" dirty="0">
                          <a:solidFill>
                            <a:schemeClr val="tx1"/>
                          </a:solidFill>
                          <a:latin typeface="+mj-lt"/>
                        </a:rPr>
                        <a:t>”</a:t>
                      </a:r>
                      <a:endParaRPr lang="en-US" sz="2400" b="1" i="0" kern="1200" dirty="0">
                        <a:solidFill>
                          <a:schemeClr val="tx1"/>
                        </a:solidFill>
                        <a:effectLst/>
                        <a:latin typeface="+mj-lt"/>
                        <a:ea typeface="+mn-ea"/>
                        <a:cs typeface="+mn-cs"/>
                      </a:endParaRPr>
                    </a:p>
                    <a:p>
                      <a:pPr marL="0" lvl="0" indent="0" algn="l" defTabSz="914400" rtl="0" eaLnBrk="1" latinLnBrk="0" hangingPunct="1">
                        <a:spcAft>
                          <a:spcPts val="1200"/>
                        </a:spcAft>
                        <a:buFont typeface="+mj-lt"/>
                        <a:buNone/>
                      </a:pPr>
                      <a:r>
                        <a:rPr lang="en-US" sz="1300" b="0" i="0" kern="1200" dirty="0">
                          <a:solidFill>
                            <a:schemeClr val="tx1"/>
                          </a:solidFill>
                          <a:effectLst/>
                          <a:latin typeface="+mn-lt"/>
                          <a:ea typeface="+mn-ea"/>
                          <a:cs typeface="+mn-cs"/>
                        </a:rPr>
                        <a:t>Share the 3-4 capabilities or solutions that will help your audience defeat the monster and reach their destination.</a:t>
                      </a:r>
                    </a:p>
                  </a:txBody>
                  <a:tcPr marR="45720" marT="9144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lvl="0" indent="0" algn="l" defTabSz="914400" rtl="0" eaLnBrk="1" latinLnBrk="0" hangingPunct="1">
                        <a:lnSpc>
                          <a:spcPct val="100000"/>
                        </a:lnSpc>
                        <a:spcAft>
                          <a:spcPts val="600"/>
                        </a:spcAft>
                        <a:buFont typeface="+mj-lt"/>
                        <a:buNone/>
                      </a:pPr>
                      <a:r>
                        <a:rPr lang="en-US" sz="1400" b="1" i="0" kern="1200" noProof="0" dirty="0">
                          <a:solidFill>
                            <a:schemeClr val="accent1"/>
                          </a:solidFill>
                          <a:effectLst/>
                          <a:latin typeface="+mn-lt"/>
                          <a:ea typeface="+mn-ea"/>
                          <a:cs typeface="+mn-cs"/>
                        </a:rPr>
                        <a:t>6.</a:t>
                      </a:r>
                      <a:endParaRPr lang="en-US" sz="1800" b="1" i="0" kern="1200" noProof="0" dirty="0">
                        <a:solidFill>
                          <a:schemeClr val="accent1"/>
                        </a:solidFill>
                        <a:effectLst/>
                        <a:latin typeface="+mn-lt"/>
                        <a:ea typeface="+mn-ea"/>
                        <a:cs typeface="+mn-cs"/>
                      </a:endParaRPr>
                    </a:p>
                    <a:p>
                      <a:pPr marL="0" lvl="0" indent="0" algn="l" defTabSz="914400" rtl="0" eaLnBrk="1" latinLnBrk="0" hangingPunct="1">
                        <a:lnSpc>
                          <a:spcPct val="80000"/>
                        </a:lnSpc>
                        <a:spcAft>
                          <a:spcPts val="600"/>
                        </a:spcAft>
                        <a:buFont typeface="+mj-lt"/>
                        <a:buNone/>
                      </a:pPr>
                      <a:r>
                        <a:rPr lang="en-US" sz="2400" b="1" i="0" kern="1200" dirty="0">
                          <a:solidFill>
                            <a:schemeClr val="tx1"/>
                          </a:solidFill>
                          <a:effectLst/>
                          <a:latin typeface="+mj-lt"/>
                          <a:ea typeface="+mn-ea"/>
                          <a:cs typeface="+mn-cs"/>
                        </a:rPr>
                        <a:t>A climax or outcome</a:t>
                      </a:r>
                    </a:p>
                    <a:p>
                      <a:pPr marL="0" lvl="0" indent="0" algn="l" defTabSz="914400" rtl="0" eaLnBrk="1" latinLnBrk="0" hangingPunct="1">
                        <a:spcAft>
                          <a:spcPts val="1200"/>
                        </a:spcAft>
                        <a:buFont typeface="+mj-lt"/>
                        <a:buNone/>
                      </a:pPr>
                      <a:r>
                        <a:rPr lang="en-US" sz="1300" b="0" i="0" kern="1200" dirty="0">
                          <a:solidFill>
                            <a:schemeClr val="tx1"/>
                          </a:solidFill>
                          <a:effectLst/>
                          <a:latin typeface="+mn-lt"/>
                          <a:ea typeface="+mn-ea"/>
                          <a:cs typeface="+mn-cs"/>
                        </a:rPr>
                        <a:t>Reveal the ultimate outcome when the monster is defeated and the destination is reached.</a:t>
                      </a:r>
                    </a:p>
                  </a:txBody>
                  <a:tcPr marR="45720" marT="9144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400" b="1" i="0" kern="1200" noProof="0" dirty="0">
                          <a:solidFill>
                            <a:schemeClr val="accent1"/>
                          </a:solidFill>
                          <a:effectLst/>
                          <a:latin typeface="+mn-lt"/>
                          <a:ea typeface="+mn-ea"/>
                          <a:cs typeface="+mn-cs"/>
                        </a:rPr>
                        <a:t>7.</a:t>
                      </a:r>
                    </a:p>
                    <a:p>
                      <a:pPr marL="0" lvl="0" indent="0" algn="l" defTabSz="914400" rtl="0" eaLnBrk="1" latinLnBrk="0" hangingPunct="1">
                        <a:lnSpc>
                          <a:spcPct val="80000"/>
                        </a:lnSpc>
                        <a:spcAft>
                          <a:spcPts val="600"/>
                        </a:spcAft>
                        <a:buFont typeface="+mj-lt"/>
                        <a:buNone/>
                      </a:pPr>
                      <a:r>
                        <a:rPr lang="en-US" sz="2400" b="1" i="0" kern="1200" dirty="0">
                          <a:solidFill>
                            <a:schemeClr val="tx1"/>
                          </a:solidFill>
                          <a:effectLst/>
                          <a:latin typeface="+mj-lt"/>
                          <a:ea typeface="+mn-ea"/>
                          <a:cs typeface="+mn-cs"/>
                        </a:rPr>
                        <a:t>A new </a:t>
                      </a:r>
                      <a:r>
                        <a:rPr lang="en-US" sz="2400" b="1" dirty="0">
                          <a:solidFill>
                            <a:schemeClr val="tx1"/>
                          </a:solidFill>
                          <a:latin typeface="+mj-lt"/>
                        </a:rPr>
                        <a:t>l</a:t>
                      </a:r>
                      <a:r>
                        <a:rPr lang="en-US" sz="2400" b="1" i="0" kern="1200" dirty="0">
                          <a:solidFill>
                            <a:schemeClr val="tx1"/>
                          </a:solidFill>
                          <a:effectLst/>
                          <a:latin typeface="+mj-lt"/>
                          <a:ea typeface="+mn-ea"/>
                          <a:cs typeface="+mn-cs"/>
                        </a:rPr>
                        <a:t>ife with new </a:t>
                      </a:r>
                      <a:r>
                        <a:rPr lang="en-US" sz="2400" b="1" dirty="0">
                          <a:solidFill>
                            <a:schemeClr val="tx1"/>
                          </a:solidFill>
                          <a:latin typeface="+mj-lt"/>
                        </a:rPr>
                        <a:t>a</a:t>
                      </a:r>
                      <a:r>
                        <a:rPr lang="en-US" sz="2400" b="1" i="0" kern="1200" dirty="0">
                          <a:solidFill>
                            <a:schemeClr val="tx1"/>
                          </a:solidFill>
                          <a:effectLst/>
                          <a:latin typeface="+mj-lt"/>
                          <a:ea typeface="+mn-ea"/>
                          <a:cs typeface="+mn-cs"/>
                        </a:rPr>
                        <a:t>ction</a:t>
                      </a:r>
                    </a:p>
                    <a:p>
                      <a:pPr marL="0" lvl="0" indent="0" algn="l" defTabSz="914400" rtl="0" eaLnBrk="1" latinLnBrk="0" hangingPunct="1">
                        <a:spcAft>
                          <a:spcPts val="1200"/>
                        </a:spcAft>
                        <a:buFont typeface="+mj-lt"/>
                        <a:buNone/>
                      </a:pPr>
                      <a:r>
                        <a:rPr lang="en-US" sz="1300" b="0" i="0" kern="1200" dirty="0">
                          <a:solidFill>
                            <a:schemeClr val="tx1"/>
                          </a:solidFill>
                          <a:effectLst/>
                          <a:latin typeface="+mn-lt"/>
                          <a:ea typeface="+mn-ea"/>
                          <a:cs typeface="+mn-cs"/>
                        </a:rPr>
                        <a:t>Tell your audience about the first step on their journey – the action you want them to take.</a:t>
                      </a:r>
                    </a:p>
                  </a:txBody>
                  <a:tcPr marR="45720" marT="9144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lvl="0" indent="0" algn="l" defTabSz="914400" rtl="0" eaLnBrk="1" latinLnBrk="0" hangingPunct="1">
                        <a:lnSpc>
                          <a:spcPct val="100000"/>
                        </a:lnSpc>
                        <a:spcAft>
                          <a:spcPts val="600"/>
                        </a:spcAft>
                        <a:buFont typeface="+mj-lt"/>
                        <a:buNone/>
                      </a:pPr>
                      <a:endParaRPr lang="en-US" sz="1300" b="0" i="0" kern="1200" dirty="0">
                        <a:solidFill>
                          <a:schemeClr val="tx1"/>
                        </a:solidFill>
                        <a:effectLst/>
                        <a:latin typeface="+mn-lt"/>
                        <a:ea typeface="+mn-ea"/>
                        <a:cs typeface="+mn-cs"/>
                      </a:endParaRPr>
                    </a:p>
                  </a:txBody>
                  <a:tcPr marR="45720" marT="9144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pattFill prst="dkUpDiag">
                      <a:fgClr>
                        <a:schemeClr val="bg2"/>
                      </a:fgClr>
                      <a:bgClr>
                        <a:schemeClr val="bg1"/>
                      </a:bgClr>
                    </a:pattFill>
                  </a:tcPr>
                </a:tc>
                <a:extLst>
                  <a:ext uri="{0D108BD9-81ED-4DB2-BD59-A6C34878D82A}">
                    <a16:rowId xmlns:a16="http://schemas.microsoft.com/office/drawing/2014/main" val="627938066"/>
                  </a:ext>
                </a:extLst>
              </a:tr>
            </a:tbl>
          </a:graphicData>
        </a:graphic>
      </p:graphicFrame>
      <p:sp>
        <p:nvSpPr>
          <p:cNvPr id="3" name="Footer Placeholder 2">
            <a:extLst>
              <a:ext uri="{FF2B5EF4-FFF2-40B4-BE49-F238E27FC236}">
                <a16:creationId xmlns:a16="http://schemas.microsoft.com/office/drawing/2014/main" id="{B48F4F59-A163-46CB-837A-777C3A10BA5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4" name="Slide Number Placeholder 3">
            <a:extLst>
              <a:ext uri="{FF2B5EF4-FFF2-40B4-BE49-F238E27FC236}">
                <a16:creationId xmlns:a16="http://schemas.microsoft.com/office/drawing/2014/main" id="{A88B62EB-C114-4741-8750-0BAFD58C2F6B}"/>
              </a:ext>
            </a:extLst>
          </p:cNvPr>
          <p:cNvSpPr>
            <a:spLocks noGrp="1"/>
          </p:cNvSpPr>
          <p:nvPr>
            <p:ph type="sldNum" sz="quarter" idx="11"/>
          </p:nvPr>
        </p:nvSpPr>
        <p:spPr/>
        <p:txBody>
          <a:bodyPr/>
          <a:lstStyle/>
          <a:p>
            <a:fld id="{1F90F471-3972-4120-B8B3-0237DE626C35}" type="slidenum">
              <a:rPr lang="en-US" smtClean="0"/>
              <a:pPr/>
              <a:t>10</a:t>
            </a:fld>
            <a:endParaRPr lang="en-US" dirty="0"/>
          </a:p>
        </p:txBody>
      </p:sp>
    </p:spTree>
    <p:extLst>
      <p:ext uri="{BB962C8B-B14F-4D97-AF65-F5344CB8AC3E}">
        <p14:creationId xmlns:p14="http://schemas.microsoft.com/office/powerpoint/2010/main" val="365959194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A1BFB-AA33-4436-B9C3-A546758AFDE4}"/>
              </a:ext>
            </a:extLst>
          </p:cNvPr>
          <p:cNvSpPr>
            <a:spLocks noGrp="1"/>
          </p:cNvSpPr>
          <p:nvPr>
            <p:ph type="title"/>
          </p:nvPr>
        </p:nvSpPr>
        <p:spPr/>
        <p:txBody>
          <a:bodyPr/>
          <a:lstStyle/>
          <a:p>
            <a:r>
              <a:rPr lang="en-US" dirty="0"/>
              <a:t>Combined Pie Charts (Non-labeled)</a:t>
            </a:r>
          </a:p>
        </p:txBody>
      </p:sp>
      <p:graphicFrame>
        <p:nvGraphicFramePr>
          <p:cNvPr id="27" name="Object 2" descr="Insert short description here">
            <a:extLst>
              <a:ext uri="{FF2B5EF4-FFF2-40B4-BE49-F238E27FC236}">
                <a16:creationId xmlns:a16="http://schemas.microsoft.com/office/drawing/2014/main" id="{12CE1B7F-0BAC-41EF-80EF-908C6368BC53}"/>
              </a:ext>
            </a:extLst>
          </p:cNvPr>
          <p:cNvGraphicFramePr>
            <a:graphicFrameLocks/>
          </p:cNvGraphicFramePr>
          <p:nvPr>
            <p:extLst>
              <p:ext uri="{D42A27DB-BD31-4B8C-83A1-F6EECF244321}">
                <p14:modId xmlns:p14="http://schemas.microsoft.com/office/powerpoint/2010/main" val="3870992515"/>
              </p:ext>
            </p:extLst>
          </p:nvPr>
        </p:nvGraphicFramePr>
        <p:xfrm>
          <a:off x="1507272" y="1033324"/>
          <a:ext cx="6444716" cy="4319178"/>
        </p:xfrm>
        <a:graphic>
          <a:graphicData uri="http://schemas.openxmlformats.org/drawingml/2006/chart">
            <c:chart xmlns:c="http://schemas.openxmlformats.org/drawingml/2006/chart" xmlns:r="http://schemas.openxmlformats.org/officeDocument/2006/relationships" r:id="rId3"/>
          </a:graphicData>
        </a:graphic>
      </p:graphicFrame>
      <p:cxnSp>
        <p:nvCxnSpPr>
          <p:cNvPr id="31" name="Straight Connector 30" descr="Connecto Graph 1">
            <a:extLst>
              <a:ext uri="{FF2B5EF4-FFF2-40B4-BE49-F238E27FC236}">
                <a16:creationId xmlns:a16="http://schemas.microsoft.com/office/drawing/2014/main" id="{28DCF63A-EA06-4EC6-BD99-9BB9614DC63E}"/>
              </a:ext>
            </a:extLst>
          </p:cNvPr>
          <p:cNvCxnSpPr/>
          <p:nvPr/>
        </p:nvCxnSpPr>
        <p:spPr bwMode="auto">
          <a:xfrm>
            <a:off x="4531608" y="1478646"/>
            <a:ext cx="4235003" cy="1"/>
          </a:xfrm>
          <a:prstGeom prst="line">
            <a:avLst/>
          </a:prstGeom>
          <a:noFill/>
          <a:ln w="6350" cap="flat" cmpd="sng" algn="ctr">
            <a:solidFill>
              <a:srgbClr val="96968C"/>
            </a:solidFill>
            <a:prstDash val="dash"/>
          </a:ln>
          <a:effectLst/>
        </p:spPr>
      </p:cxnSp>
      <p:sp>
        <p:nvSpPr>
          <p:cNvPr id="28" name="Text Box 5">
            <a:extLst>
              <a:ext uri="{FF2B5EF4-FFF2-40B4-BE49-F238E27FC236}">
                <a16:creationId xmlns:a16="http://schemas.microsoft.com/office/drawing/2014/main" id="{157AA336-093E-4B4A-9956-3CBE245C42C0}"/>
              </a:ext>
            </a:extLst>
          </p:cNvPr>
          <p:cNvSpPr txBox="1">
            <a:spLocks noChangeArrowheads="1"/>
          </p:cNvSpPr>
          <p:nvPr/>
        </p:nvSpPr>
        <p:spPr bwMode="auto">
          <a:xfrm flipH="1">
            <a:off x="8946702" y="1386313"/>
            <a:ext cx="815461" cy="215444"/>
          </a:xfrm>
          <a:prstGeom prst="rect">
            <a:avLst/>
          </a:prstGeom>
          <a:noFill/>
          <a:ln w="6350">
            <a:noFill/>
            <a:miter lim="800000"/>
            <a:headEnd/>
            <a:tailEnd/>
          </a:ln>
          <a:effectLst/>
        </p:spPr>
        <p:txBody>
          <a:bodyPr wrap="none" lIns="72000" tIns="0" rIns="72000" bIns="0">
            <a:spAutoFit/>
          </a:bodyPr>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1200" spc="0" normalizeH="0" baseline="0" noProof="0" dirty="0">
                <a:ln>
                  <a:noFill/>
                </a:ln>
                <a:solidFill>
                  <a:srgbClr val="000000"/>
                </a:solidFill>
                <a:effectLst/>
                <a:uLnTx/>
                <a:uFillTx/>
                <a:latin typeface="Arial Black"/>
                <a:ea typeface="+mn-ea"/>
                <a:cs typeface="+mn-cs"/>
              </a:rPr>
              <a:t>Graph 1</a:t>
            </a:r>
          </a:p>
        </p:txBody>
      </p:sp>
      <p:cxnSp>
        <p:nvCxnSpPr>
          <p:cNvPr id="32" name="Straight Connector 31" descr="Connecto Graph 2">
            <a:extLst>
              <a:ext uri="{FF2B5EF4-FFF2-40B4-BE49-F238E27FC236}">
                <a16:creationId xmlns:a16="http://schemas.microsoft.com/office/drawing/2014/main" id="{60A1B11A-26C9-439B-B42B-174BD9F9D132}"/>
              </a:ext>
            </a:extLst>
          </p:cNvPr>
          <p:cNvCxnSpPr/>
          <p:nvPr/>
        </p:nvCxnSpPr>
        <p:spPr bwMode="auto">
          <a:xfrm>
            <a:off x="4531608" y="2121164"/>
            <a:ext cx="4235003" cy="1"/>
          </a:xfrm>
          <a:prstGeom prst="line">
            <a:avLst/>
          </a:prstGeom>
          <a:noFill/>
          <a:ln w="6350" cap="flat" cmpd="sng" algn="ctr">
            <a:solidFill>
              <a:srgbClr val="96968C"/>
            </a:solidFill>
            <a:prstDash val="dash"/>
          </a:ln>
          <a:effectLst/>
        </p:spPr>
      </p:cxnSp>
      <p:sp>
        <p:nvSpPr>
          <p:cNvPr id="29" name="Text Box 6">
            <a:extLst>
              <a:ext uri="{FF2B5EF4-FFF2-40B4-BE49-F238E27FC236}">
                <a16:creationId xmlns:a16="http://schemas.microsoft.com/office/drawing/2014/main" id="{AD936A07-0959-4E87-9A1C-F7658F0C122B}"/>
              </a:ext>
            </a:extLst>
          </p:cNvPr>
          <p:cNvSpPr txBox="1">
            <a:spLocks noChangeArrowheads="1"/>
          </p:cNvSpPr>
          <p:nvPr/>
        </p:nvSpPr>
        <p:spPr bwMode="auto">
          <a:xfrm flipH="1">
            <a:off x="8946702" y="2028831"/>
            <a:ext cx="845919" cy="215444"/>
          </a:xfrm>
          <a:prstGeom prst="rect">
            <a:avLst/>
          </a:prstGeom>
          <a:noFill/>
          <a:ln w="6350">
            <a:noFill/>
            <a:miter lim="800000"/>
            <a:headEnd/>
            <a:tailEnd/>
          </a:ln>
          <a:effectLst/>
        </p:spPr>
        <p:txBody>
          <a:bodyPr wrap="none" lIns="72000" tIns="0" rIns="72000" bIns="0">
            <a:spAutoFit/>
          </a:bodyPr>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1200" spc="0" normalizeH="0" baseline="0" noProof="0" dirty="0">
                <a:ln>
                  <a:noFill/>
                </a:ln>
                <a:solidFill>
                  <a:srgbClr val="000000"/>
                </a:solidFill>
                <a:effectLst/>
                <a:uLnTx/>
                <a:uFillTx/>
                <a:latin typeface="Arial Black"/>
                <a:ea typeface="+mn-ea"/>
                <a:cs typeface="+mn-cs"/>
              </a:rPr>
              <a:t>Graph 2</a:t>
            </a:r>
          </a:p>
        </p:txBody>
      </p:sp>
      <p:cxnSp>
        <p:nvCxnSpPr>
          <p:cNvPr id="33" name="Straight Connector 32" descr="Connecto Graph 3">
            <a:extLst>
              <a:ext uri="{FF2B5EF4-FFF2-40B4-BE49-F238E27FC236}">
                <a16:creationId xmlns:a16="http://schemas.microsoft.com/office/drawing/2014/main" id="{B50D0B00-9E0A-43BA-B47A-C364DA40EF76}"/>
              </a:ext>
            </a:extLst>
          </p:cNvPr>
          <p:cNvCxnSpPr/>
          <p:nvPr/>
        </p:nvCxnSpPr>
        <p:spPr bwMode="auto">
          <a:xfrm>
            <a:off x="4531608" y="2763683"/>
            <a:ext cx="4235003" cy="0"/>
          </a:xfrm>
          <a:prstGeom prst="line">
            <a:avLst/>
          </a:prstGeom>
          <a:noFill/>
          <a:ln w="6350" cap="flat" cmpd="sng" algn="ctr">
            <a:solidFill>
              <a:srgbClr val="96968C"/>
            </a:solidFill>
            <a:prstDash val="dash"/>
          </a:ln>
          <a:effectLst/>
        </p:spPr>
      </p:cxnSp>
      <p:sp>
        <p:nvSpPr>
          <p:cNvPr id="30" name="Text Box 7">
            <a:extLst>
              <a:ext uri="{FF2B5EF4-FFF2-40B4-BE49-F238E27FC236}">
                <a16:creationId xmlns:a16="http://schemas.microsoft.com/office/drawing/2014/main" id="{7A6710CC-3F28-47BD-B5D3-50977911E071}"/>
              </a:ext>
            </a:extLst>
          </p:cNvPr>
          <p:cNvSpPr txBox="1">
            <a:spLocks noChangeArrowheads="1"/>
          </p:cNvSpPr>
          <p:nvPr/>
        </p:nvSpPr>
        <p:spPr bwMode="auto">
          <a:xfrm flipH="1">
            <a:off x="8946701" y="2683559"/>
            <a:ext cx="852331" cy="215444"/>
          </a:xfrm>
          <a:prstGeom prst="rect">
            <a:avLst/>
          </a:prstGeom>
          <a:noFill/>
          <a:ln w="6350">
            <a:noFill/>
            <a:miter lim="800000"/>
            <a:headEnd/>
            <a:tailEnd/>
          </a:ln>
          <a:effectLst/>
        </p:spPr>
        <p:txBody>
          <a:bodyPr wrap="none" lIns="72000" tIns="0" rIns="72000" bIns="0">
            <a:spAutoFit/>
          </a:bodyPr>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1200" spc="0" normalizeH="0" baseline="0" noProof="0" dirty="0">
                <a:ln>
                  <a:noFill/>
                </a:ln>
                <a:solidFill>
                  <a:srgbClr val="000000"/>
                </a:solidFill>
                <a:effectLst/>
                <a:uLnTx/>
                <a:uFillTx/>
                <a:latin typeface="Arial Black"/>
                <a:ea typeface="+mn-ea"/>
                <a:cs typeface="+mn-cs"/>
              </a:rPr>
              <a:t>Graph 3</a:t>
            </a:r>
          </a:p>
        </p:txBody>
      </p:sp>
      <p:sp>
        <p:nvSpPr>
          <p:cNvPr id="19" name="Rectangle 3">
            <a:extLst>
              <a:ext uri="{FF2B5EF4-FFF2-40B4-BE49-F238E27FC236}">
                <a16:creationId xmlns:a16="http://schemas.microsoft.com/office/drawing/2014/main" id="{9399ACF4-74CA-43D0-94FB-C959F8EAE656}"/>
              </a:ext>
            </a:extLst>
          </p:cNvPr>
          <p:cNvSpPr>
            <a:spLocks noChangeArrowheads="1"/>
          </p:cNvSpPr>
          <p:nvPr/>
        </p:nvSpPr>
        <p:spPr bwMode="auto">
          <a:xfrm>
            <a:off x="381001" y="5580831"/>
            <a:ext cx="4915944" cy="731070"/>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	Insert columns/rows as required (each slice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	Edit and add (if necessary) graph names manually</a:t>
            </a:r>
          </a:p>
        </p:txBody>
      </p:sp>
      <p:sp>
        <p:nvSpPr>
          <p:cNvPr id="4" name="Footer Placeholder 3">
            <a:extLst>
              <a:ext uri="{FF2B5EF4-FFF2-40B4-BE49-F238E27FC236}">
                <a16:creationId xmlns:a16="http://schemas.microsoft.com/office/drawing/2014/main" id="{DBBDFC36-EECD-4CF7-A6BD-BB14C689870D}"/>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021AF3EE-E43E-4AF2-8A40-23A28177D691}"/>
              </a:ext>
            </a:extLst>
          </p:cNvPr>
          <p:cNvSpPr>
            <a:spLocks noGrp="1"/>
          </p:cNvSpPr>
          <p:nvPr>
            <p:ph type="sldNum" sz="quarter" idx="10"/>
          </p:nvPr>
        </p:nvSpPr>
        <p:spPr/>
        <p:txBody>
          <a:bodyPr/>
          <a:lstStyle/>
          <a:p>
            <a:fld id="{1F90F471-3972-4120-B8B3-0237DE626C35}" type="slidenum">
              <a:rPr lang="en-US" smtClean="0"/>
              <a:pPr/>
              <a:t>100</a:t>
            </a:fld>
            <a:endParaRPr lang="en-US" dirty="0"/>
          </a:p>
        </p:txBody>
      </p:sp>
    </p:spTree>
    <p:extLst>
      <p:ext uri="{BB962C8B-B14F-4D97-AF65-F5344CB8AC3E}">
        <p14:creationId xmlns:p14="http://schemas.microsoft.com/office/powerpoint/2010/main" val="33052573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A1BFB-AA33-4436-B9C3-A546758AFDE4}"/>
              </a:ext>
            </a:extLst>
          </p:cNvPr>
          <p:cNvSpPr>
            <a:spLocks noGrp="1"/>
          </p:cNvSpPr>
          <p:nvPr>
            <p:ph type="title"/>
          </p:nvPr>
        </p:nvSpPr>
        <p:spPr>
          <a:xfrm>
            <a:off x="381000" y="381000"/>
            <a:ext cx="10721340" cy="800100"/>
          </a:xfrm>
        </p:spPr>
        <p:txBody>
          <a:bodyPr/>
          <a:lstStyle/>
          <a:p>
            <a:r>
              <a:rPr lang="en-AU" dirty="0"/>
              <a:t>Multilayer Chart</a:t>
            </a:r>
            <a:endParaRPr lang="en-US" dirty="0"/>
          </a:p>
        </p:txBody>
      </p:sp>
      <p:graphicFrame>
        <p:nvGraphicFramePr>
          <p:cNvPr id="14" name="Chart Placeholder 10" descr="Insert short description here">
            <a:extLst>
              <a:ext uri="{FF2B5EF4-FFF2-40B4-BE49-F238E27FC236}">
                <a16:creationId xmlns:a16="http://schemas.microsoft.com/office/drawing/2014/main" id="{8CD5D171-E510-441C-A044-9156F85771C4}"/>
              </a:ext>
            </a:extLst>
          </p:cNvPr>
          <p:cNvGraphicFramePr>
            <a:graphicFrameLocks/>
          </p:cNvGraphicFramePr>
          <p:nvPr>
            <p:extLst>
              <p:ext uri="{D42A27DB-BD31-4B8C-83A1-F6EECF244321}">
                <p14:modId xmlns:p14="http://schemas.microsoft.com/office/powerpoint/2010/main" val="1607214206"/>
              </p:ext>
            </p:extLst>
          </p:nvPr>
        </p:nvGraphicFramePr>
        <p:xfrm>
          <a:off x="344488" y="1574142"/>
          <a:ext cx="11510962" cy="4294187"/>
        </p:xfrm>
        <a:graphic>
          <a:graphicData uri="http://schemas.openxmlformats.org/drawingml/2006/chart">
            <c:chart xmlns:c="http://schemas.openxmlformats.org/drawingml/2006/chart" xmlns:r="http://schemas.openxmlformats.org/officeDocument/2006/relationships" r:id="rId3"/>
          </a:graphicData>
        </a:graphic>
      </p:graphicFrame>
      <p:sp>
        <p:nvSpPr>
          <p:cNvPr id="4" name="Footer Placeholder 3">
            <a:extLst>
              <a:ext uri="{FF2B5EF4-FFF2-40B4-BE49-F238E27FC236}">
                <a16:creationId xmlns:a16="http://schemas.microsoft.com/office/drawing/2014/main" id="{5279AC00-41A5-42E3-9AFC-1B8E93066EB4}"/>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45B98B77-AA2F-4685-86B7-1ADA8AC27E3A}"/>
              </a:ext>
            </a:extLst>
          </p:cNvPr>
          <p:cNvSpPr>
            <a:spLocks noGrp="1"/>
          </p:cNvSpPr>
          <p:nvPr>
            <p:ph type="sldNum" sz="quarter" idx="10"/>
          </p:nvPr>
        </p:nvSpPr>
        <p:spPr/>
        <p:txBody>
          <a:bodyPr/>
          <a:lstStyle/>
          <a:p>
            <a:fld id="{1F90F471-3972-4120-B8B3-0237DE626C35}" type="slidenum">
              <a:rPr lang="en-US" smtClean="0"/>
              <a:pPr/>
              <a:t>101</a:t>
            </a:fld>
            <a:endParaRPr lang="en-US" dirty="0"/>
          </a:p>
        </p:txBody>
      </p:sp>
    </p:spTree>
    <p:extLst>
      <p:ext uri="{BB962C8B-B14F-4D97-AF65-F5344CB8AC3E}">
        <p14:creationId xmlns:p14="http://schemas.microsoft.com/office/powerpoint/2010/main" val="185113981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A1BFB-AA33-4436-B9C3-A546758AFDE4}"/>
              </a:ext>
            </a:extLst>
          </p:cNvPr>
          <p:cNvSpPr>
            <a:spLocks noGrp="1"/>
          </p:cNvSpPr>
          <p:nvPr>
            <p:ph type="title"/>
          </p:nvPr>
        </p:nvSpPr>
        <p:spPr/>
        <p:txBody>
          <a:bodyPr/>
          <a:lstStyle/>
          <a:p>
            <a:r>
              <a:rPr lang="en-AU" dirty="0"/>
              <a:t>Multilayer Doughnut Chart</a:t>
            </a:r>
            <a:endParaRPr lang="en-US" dirty="0"/>
          </a:p>
        </p:txBody>
      </p:sp>
      <p:graphicFrame>
        <p:nvGraphicFramePr>
          <p:cNvPr id="13" name="Chart Placeholder 13" descr="Insert short description here">
            <a:extLst>
              <a:ext uri="{FF2B5EF4-FFF2-40B4-BE49-F238E27FC236}">
                <a16:creationId xmlns:a16="http://schemas.microsoft.com/office/drawing/2014/main" id="{FD37ACF4-3E50-453F-927C-DFA36D009B9B}"/>
              </a:ext>
            </a:extLst>
          </p:cNvPr>
          <p:cNvGraphicFramePr>
            <a:graphicFrameLocks/>
          </p:cNvGraphicFramePr>
          <p:nvPr>
            <p:extLst>
              <p:ext uri="{D42A27DB-BD31-4B8C-83A1-F6EECF244321}">
                <p14:modId xmlns:p14="http://schemas.microsoft.com/office/powerpoint/2010/main" val="3624661031"/>
              </p:ext>
            </p:extLst>
          </p:nvPr>
        </p:nvGraphicFramePr>
        <p:xfrm>
          <a:off x="344488" y="1623303"/>
          <a:ext cx="11510962" cy="4434598"/>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id="{D11438D1-375F-4A06-A351-C233236B80ED}"/>
              </a:ext>
            </a:extLst>
          </p:cNvPr>
          <p:cNvSpPr txBox="1"/>
          <p:nvPr/>
        </p:nvSpPr>
        <p:spPr>
          <a:xfrm>
            <a:off x="7897457" y="2395736"/>
            <a:ext cx="1371600" cy="140411"/>
          </a:xfrm>
          <a:prstGeom prst="rect">
            <a:avLst/>
          </a:prstGeom>
        </p:spPr>
        <p:txBody>
          <a:bodyPr vert="horz" wrap="square" lIns="0" tIns="0" rIns="0" bIns="0" rtlCol="0" anchor="ctr" anchorCtr="0">
            <a:noAutofit/>
          </a:bodyPr>
          <a:lstStyle/>
          <a:p>
            <a:r>
              <a:rPr lang="en-US" sz="1400" b="1" dirty="0">
                <a:solidFill>
                  <a:schemeClr val="accent1"/>
                </a:solidFill>
                <a:latin typeface="+mj-lt"/>
              </a:rPr>
              <a:t>Name 1</a:t>
            </a:r>
          </a:p>
        </p:txBody>
      </p:sp>
      <p:sp>
        <p:nvSpPr>
          <p:cNvPr id="16" name="TextBox 15">
            <a:extLst>
              <a:ext uri="{FF2B5EF4-FFF2-40B4-BE49-F238E27FC236}">
                <a16:creationId xmlns:a16="http://schemas.microsoft.com/office/drawing/2014/main" id="{D912CDEA-A023-4FB1-A61A-9B22A43C56E3}"/>
              </a:ext>
            </a:extLst>
          </p:cNvPr>
          <p:cNvSpPr txBox="1"/>
          <p:nvPr/>
        </p:nvSpPr>
        <p:spPr>
          <a:xfrm>
            <a:off x="6018770" y="5508927"/>
            <a:ext cx="2141334" cy="140411"/>
          </a:xfrm>
          <a:prstGeom prst="rect">
            <a:avLst/>
          </a:prstGeom>
        </p:spPr>
        <p:txBody>
          <a:bodyPr vert="horz" wrap="square" lIns="0" tIns="0" rIns="0" bIns="0" rtlCol="0" anchor="ctr" anchorCtr="0">
            <a:noAutofit/>
          </a:bodyPr>
          <a:lstStyle/>
          <a:p>
            <a:r>
              <a:rPr lang="en-US" sz="1400" b="1" dirty="0">
                <a:solidFill>
                  <a:schemeClr val="accent4"/>
                </a:solidFill>
                <a:latin typeface="+mj-lt"/>
              </a:rPr>
              <a:t>Name 2</a:t>
            </a:r>
          </a:p>
        </p:txBody>
      </p:sp>
      <p:sp>
        <p:nvSpPr>
          <p:cNvPr id="19" name="TextBox 18">
            <a:extLst>
              <a:ext uri="{FF2B5EF4-FFF2-40B4-BE49-F238E27FC236}">
                <a16:creationId xmlns:a16="http://schemas.microsoft.com/office/drawing/2014/main" id="{F59671AA-4480-4928-ADE7-9D6A025B80A6}"/>
              </a:ext>
            </a:extLst>
          </p:cNvPr>
          <p:cNvSpPr txBox="1"/>
          <p:nvPr/>
        </p:nvSpPr>
        <p:spPr>
          <a:xfrm>
            <a:off x="2684835" y="3041985"/>
            <a:ext cx="1371600" cy="140411"/>
          </a:xfrm>
          <a:prstGeom prst="rect">
            <a:avLst/>
          </a:prstGeom>
        </p:spPr>
        <p:txBody>
          <a:bodyPr vert="horz" wrap="square" lIns="0" tIns="0" rIns="0" bIns="0" rtlCol="0" anchor="ctr" anchorCtr="0">
            <a:noAutofit/>
          </a:bodyPr>
          <a:lstStyle/>
          <a:p>
            <a:pPr algn="r"/>
            <a:r>
              <a:rPr lang="en-US" sz="1400" b="1" dirty="0">
                <a:solidFill>
                  <a:schemeClr val="accent3"/>
                </a:solidFill>
                <a:latin typeface="+mj-lt"/>
              </a:rPr>
              <a:t>Name 3</a:t>
            </a:r>
          </a:p>
        </p:txBody>
      </p:sp>
      <p:sp>
        <p:nvSpPr>
          <p:cNvPr id="18" name="TextBox 17">
            <a:extLst>
              <a:ext uri="{FF2B5EF4-FFF2-40B4-BE49-F238E27FC236}">
                <a16:creationId xmlns:a16="http://schemas.microsoft.com/office/drawing/2014/main" id="{16AEBBE9-4A8B-48F9-8FA4-D64361C0AFA4}"/>
              </a:ext>
            </a:extLst>
          </p:cNvPr>
          <p:cNvSpPr txBox="1"/>
          <p:nvPr/>
        </p:nvSpPr>
        <p:spPr>
          <a:xfrm>
            <a:off x="4293275" y="1389838"/>
            <a:ext cx="1371600" cy="140411"/>
          </a:xfrm>
          <a:prstGeom prst="rect">
            <a:avLst/>
          </a:prstGeom>
        </p:spPr>
        <p:txBody>
          <a:bodyPr vert="horz" wrap="square" lIns="0" tIns="0" rIns="0" bIns="0" rtlCol="0" anchor="ctr" anchorCtr="0">
            <a:noAutofit/>
          </a:bodyPr>
          <a:lstStyle/>
          <a:p>
            <a:pPr algn="r"/>
            <a:r>
              <a:rPr lang="en-US" sz="1400" b="1" dirty="0">
                <a:solidFill>
                  <a:schemeClr val="accent6"/>
                </a:solidFill>
                <a:latin typeface="+mj-lt"/>
              </a:rPr>
              <a:t>Name 4</a:t>
            </a:r>
          </a:p>
        </p:txBody>
      </p:sp>
      <p:sp>
        <p:nvSpPr>
          <p:cNvPr id="4" name="Footer Placeholder 3">
            <a:extLst>
              <a:ext uri="{FF2B5EF4-FFF2-40B4-BE49-F238E27FC236}">
                <a16:creationId xmlns:a16="http://schemas.microsoft.com/office/drawing/2014/main" id="{2A76FD4F-22BD-4A7F-8520-F57BEA748DED}"/>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B16E957D-3157-49FC-AD61-1AAD89165965}"/>
              </a:ext>
            </a:extLst>
          </p:cNvPr>
          <p:cNvSpPr>
            <a:spLocks noGrp="1"/>
          </p:cNvSpPr>
          <p:nvPr>
            <p:ph type="sldNum" sz="quarter" idx="10"/>
          </p:nvPr>
        </p:nvSpPr>
        <p:spPr/>
        <p:txBody>
          <a:bodyPr/>
          <a:lstStyle/>
          <a:p>
            <a:fld id="{1F90F471-3972-4120-B8B3-0237DE626C35}" type="slidenum">
              <a:rPr lang="en-US" smtClean="0"/>
              <a:pPr/>
              <a:t>102</a:t>
            </a:fld>
            <a:endParaRPr lang="en-US" dirty="0"/>
          </a:p>
        </p:txBody>
      </p:sp>
    </p:spTree>
    <p:extLst>
      <p:ext uri="{BB962C8B-B14F-4D97-AF65-F5344CB8AC3E}">
        <p14:creationId xmlns:p14="http://schemas.microsoft.com/office/powerpoint/2010/main" val="359839931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7C4124B-B9D5-4FB9-AA46-3262DD2B40DB}"/>
              </a:ext>
            </a:extLst>
          </p:cNvPr>
          <p:cNvSpPr>
            <a:spLocks noGrp="1"/>
          </p:cNvSpPr>
          <p:nvPr>
            <p:ph type="title"/>
          </p:nvPr>
        </p:nvSpPr>
        <p:spPr/>
        <p:txBody>
          <a:bodyPr/>
          <a:lstStyle/>
          <a:p>
            <a:r>
              <a:rPr lang="en-US" dirty="0"/>
              <a:t>Line and Other Charts</a:t>
            </a:r>
          </a:p>
        </p:txBody>
      </p:sp>
      <p:sp>
        <p:nvSpPr>
          <p:cNvPr id="9" name="Text Placeholder 8">
            <a:extLst>
              <a:ext uri="{FF2B5EF4-FFF2-40B4-BE49-F238E27FC236}">
                <a16:creationId xmlns:a16="http://schemas.microsoft.com/office/drawing/2014/main" id="{1265ADBE-657A-4DC7-A6A6-2F0E697C4723}"/>
              </a:ext>
            </a:extLst>
          </p:cNvPr>
          <p:cNvSpPr>
            <a:spLocks noGrp="1"/>
          </p:cNvSpPr>
          <p:nvPr>
            <p:ph type="body" sz="quarter" idx="15"/>
          </p:nvPr>
        </p:nvSpPr>
        <p:spPr/>
        <p:txBody>
          <a:bodyPr/>
          <a:lstStyle/>
          <a:p>
            <a:r>
              <a:rPr lang="en-US" dirty="0"/>
              <a:t>Part of </a:t>
            </a:r>
            <a:r>
              <a:rPr lang="en-US" dirty="0">
                <a:hlinkClick r:id="rId2" action="ppaction://hlinksldjump">
                  <a:extLst>
                    <a:ext uri="{A12FA001-AC4F-418D-AE19-62706E023703}">
                      <ahyp:hlinkClr xmlns:ahyp="http://schemas.microsoft.com/office/drawing/2018/hyperlinkcolor" val="tx"/>
                    </a:ext>
                  </a:extLst>
                </a:hlinkClick>
              </a:rPr>
              <a:t>Charts</a:t>
            </a:r>
            <a:endParaRPr lang="en-US" dirty="0"/>
          </a:p>
        </p:txBody>
      </p:sp>
      <p:sp>
        <p:nvSpPr>
          <p:cNvPr id="10" name="Freeform: Shape 9" descr="Add text and order accordingly">
            <a:hlinkClick r:id="rId3" action="ppaction://hlinksldjump" tooltip="Return to Index"/>
            <a:extLst>
              <a:ext uri="{FF2B5EF4-FFF2-40B4-BE49-F238E27FC236}">
                <a16:creationId xmlns:a16="http://schemas.microsoft.com/office/drawing/2014/main" id="{0DE3F75C-CF1B-47BB-A358-FF97AF03C85D}"/>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9DC78945-A645-4563-BCA9-927812C9C4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BEE2891-AE3F-4D8A-B562-5662B242B3DF}"/>
              </a:ext>
            </a:extLst>
          </p:cNvPr>
          <p:cNvSpPr>
            <a:spLocks noGrp="1"/>
          </p:cNvSpPr>
          <p:nvPr>
            <p:ph type="sldNum" sz="quarter" idx="17"/>
          </p:nvPr>
        </p:nvSpPr>
        <p:spPr/>
        <p:txBody>
          <a:bodyPr/>
          <a:lstStyle/>
          <a:p>
            <a:fld id="{1F90F471-3972-4120-B8B3-0237DE626C35}" type="slidenum">
              <a:rPr lang="en-US" smtClean="0"/>
              <a:pPr/>
              <a:t>103</a:t>
            </a:fld>
            <a:endParaRPr lang="en-US" dirty="0"/>
          </a:p>
        </p:txBody>
      </p:sp>
    </p:spTree>
    <p:extLst>
      <p:ext uri="{BB962C8B-B14F-4D97-AF65-F5344CB8AC3E}">
        <p14:creationId xmlns:p14="http://schemas.microsoft.com/office/powerpoint/2010/main" val="169501919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A1BFB-AA33-4436-B9C3-A546758AFDE4}"/>
              </a:ext>
            </a:extLst>
          </p:cNvPr>
          <p:cNvSpPr>
            <a:spLocks noGrp="1"/>
          </p:cNvSpPr>
          <p:nvPr>
            <p:ph type="title"/>
          </p:nvPr>
        </p:nvSpPr>
        <p:spPr/>
        <p:txBody>
          <a:bodyPr/>
          <a:lstStyle/>
          <a:p>
            <a:r>
              <a:rPr lang="en-US" dirty="0"/>
              <a:t>Line Chart</a:t>
            </a:r>
          </a:p>
        </p:txBody>
      </p:sp>
      <p:graphicFrame>
        <p:nvGraphicFramePr>
          <p:cNvPr id="7" name="Object 2" descr="Insert short description here">
            <a:extLst>
              <a:ext uri="{FF2B5EF4-FFF2-40B4-BE49-F238E27FC236}">
                <a16:creationId xmlns:a16="http://schemas.microsoft.com/office/drawing/2014/main" id="{17A49E1F-C042-4A1B-AA6D-B396812F1E17}"/>
              </a:ext>
            </a:extLst>
          </p:cNvPr>
          <p:cNvGraphicFramePr>
            <a:graphicFrameLocks/>
          </p:cNvGraphicFramePr>
          <p:nvPr>
            <p:extLst>
              <p:ext uri="{D42A27DB-BD31-4B8C-83A1-F6EECF244321}">
                <p14:modId xmlns:p14="http://schemas.microsoft.com/office/powerpoint/2010/main" val="841164971"/>
              </p:ext>
            </p:extLst>
          </p:nvPr>
        </p:nvGraphicFramePr>
        <p:xfrm>
          <a:off x="381000" y="876300"/>
          <a:ext cx="11437938" cy="4062272"/>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3">
            <a:extLst>
              <a:ext uri="{FF2B5EF4-FFF2-40B4-BE49-F238E27FC236}">
                <a16:creationId xmlns:a16="http://schemas.microsoft.com/office/drawing/2014/main" id="{81B63E79-9B9B-4DC4-8F6F-E65C15A7195D}"/>
              </a:ext>
            </a:extLst>
          </p:cNvPr>
          <p:cNvSpPr>
            <a:spLocks noChangeArrowheads="1"/>
          </p:cNvSpPr>
          <p:nvPr/>
        </p:nvSpPr>
        <p:spPr bwMode="auto">
          <a:xfrm>
            <a:off x="381000" y="5170487"/>
            <a:ext cx="4780560" cy="1090143"/>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	Insert columns/rows as required (each line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	Double-click on a line to change the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3	Edit the y-axis label manually</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4	Edit the labels manually</a:t>
            </a:r>
          </a:p>
        </p:txBody>
      </p:sp>
      <p:sp>
        <p:nvSpPr>
          <p:cNvPr id="5" name="Footer Placeholder 4">
            <a:extLst>
              <a:ext uri="{FF2B5EF4-FFF2-40B4-BE49-F238E27FC236}">
                <a16:creationId xmlns:a16="http://schemas.microsoft.com/office/drawing/2014/main" id="{3A36B4EC-BCA5-48DD-9BD2-40129A63060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D731FD70-A455-4417-B4F0-FFB7A749F0AE}"/>
              </a:ext>
            </a:extLst>
          </p:cNvPr>
          <p:cNvSpPr>
            <a:spLocks noGrp="1"/>
          </p:cNvSpPr>
          <p:nvPr>
            <p:ph type="sldNum" sz="quarter" idx="10"/>
          </p:nvPr>
        </p:nvSpPr>
        <p:spPr/>
        <p:txBody>
          <a:bodyPr/>
          <a:lstStyle/>
          <a:p>
            <a:fld id="{1F90F471-3972-4120-B8B3-0237DE626C35}" type="slidenum">
              <a:rPr lang="en-US" smtClean="0"/>
              <a:pPr/>
              <a:t>104</a:t>
            </a:fld>
            <a:endParaRPr lang="en-US" dirty="0"/>
          </a:p>
        </p:txBody>
      </p:sp>
    </p:spTree>
    <p:extLst>
      <p:ext uri="{BB962C8B-B14F-4D97-AF65-F5344CB8AC3E}">
        <p14:creationId xmlns:p14="http://schemas.microsoft.com/office/powerpoint/2010/main" val="403016631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A1BFB-AA33-4436-B9C3-A546758AFDE4}"/>
              </a:ext>
            </a:extLst>
          </p:cNvPr>
          <p:cNvSpPr>
            <a:spLocks noGrp="1"/>
          </p:cNvSpPr>
          <p:nvPr>
            <p:ph type="title"/>
          </p:nvPr>
        </p:nvSpPr>
        <p:spPr>
          <a:xfrm>
            <a:off x="381000" y="381000"/>
            <a:ext cx="10789920" cy="800100"/>
          </a:xfrm>
        </p:spPr>
        <p:txBody>
          <a:bodyPr/>
          <a:lstStyle/>
          <a:p>
            <a:r>
              <a:rPr lang="en-US" dirty="0"/>
              <a:t>Smooth Line Chart</a:t>
            </a:r>
          </a:p>
        </p:txBody>
      </p:sp>
      <p:graphicFrame>
        <p:nvGraphicFramePr>
          <p:cNvPr id="7" name="Object 2" descr="Insert short description here">
            <a:extLst>
              <a:ext uri="{FF2B5EF4-FFF2-40B4-BE49-F238E27FC236}">
                <a16:creationId xmlns:a16="http://schemas.microsoft.com/office/drawing/2014/main" id="{BB6D0526-547E-4062-A07E-7F07B255DDE2}"/>
              </a:ext>
            </a:extLst>
          </p:cNvPr>
          <p:cNvGraphicFramePr>
            <a:graphicFrameLocks/>
          </p:cNvGraphicFramePr>
          <p:nvPr>
            <p:extLst>
              <p:ext uri="{D42A27DB-BD31-4B8C-83A1-F6EECF244321}">
                <p14:modId xmlns:p14="http://schemas.microsoft.com/office/powerpoint/2010/main" val="750886857"/>
              </p:ext>
            </p:extLst>
          </p:nvPr>
        </p:nvGraphicFramePr>
        <p:xfrm>
          <a:off x="381000" y="1037063"/>
          <a:ext cx="11437938" cy="3735659"/>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3">
            <a:extLst>
              <a:ext uri="{FF2B5EF4-FFF2-40B4-BE49-F238E27FC236}">
                <a16:creationId xmlns:a16="http://schemas.microsoft.com/office/drawing/2014/main" id="{81B63E79-9B9B-4DC4-8F6F-E65C15A7195D}"/>
              </a:ext>
            </a:extLst>
          </p:cNvPr>
          <p:cNvSpPr>
            <a:spLocks noChangeArrowheads="1"/>
          </p:cNvSpPr>
          <p:nvPr/>
        </p:nvSpPr>
        <p:spPr bwMode="auto">
          <a:xfrm>
            <a:off x="381000" y="5170487"/>
            <a:ext cx="4780560" cy="1090143"/>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	Insert columns/rows as required (each line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	Double-click on a line to change the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3	Edit the y-axis label manually</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4	Edit the labels manually</a:t>
            </a:r>
          </a:p>
        </p:txBody>
      </p:sp>
      <p:sp>
        <p:nvSpPr>
          <p:cNvPr id="5" name="Footer Placeholder 4">
            <a:extLst>
              <a:ext uri="{FF2B5EF4-FFF2-40B4-BE49-F238E27FC236}">
                <a16:creationId xmlns:a16="http://schemas.microsoft.com/office/drawing/2014/main" id="{28BBEDC4-0225-4BFF-880C-2F48DF17180D}"/>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F79B49E5-C643-4EDD-8440-23603FEA35B4}"/>
              </a:ext>
            </a:extLst>
          </p:cNvPr>
          <p:cNvSpPr>
            <a:spLocks noGrp="1"/>
          </p:cNvSpPr>
          <p:nvPr>
            <p:ph type="sldNum" sz="quarter" idx="10"/>
          </p:nvPr>
        </p:nvSpPr>
        <p:spPr/>
        <p:txBody>
          <a:bodyPr/>
          <a:lstStyle/>
          <a:p>
            <a:fld id="{1F90F471-3972-4120-B8B3-0237DE626C35}" type="slidenum">
              <a:rPr lang="en-US" smtClean="0"/>
              <a:pPr/>
              <a:t>105</a:t>
            </a:fld>
            <a:endParaRPr lang="en-US" dirty="0"/>
          </a:p>
        </p:txBody>
      </p:sp>
    </p:spTree>
    <p:extLst>
      <p:ext uri="{BB962C8B-B14F-4D97-AF65-F5344CB8AC3E}">
        <p14:creationId xmlns:p14="http://schemas.microsoft.com/office/powerpoint/2010/main" val="93664502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556EE-6908-41C2-85C3-0AD308BB87FD}"/>
              </a:ext>
            </a:extLst>
          </p:cNvPr>
          <p:cNvSpPr>
            <a:spLocks noGrp="1"/>
          </p:cNvSpPr>
          <p:nvPr>
            <p:ph type="title"/>
          </p:nvPr>
        </p:nvSpPr>
        <p:spPr>
          <a:xfrm>
            <a:off x="381000" y="381000"/>
            <a:ext cx="10949940" cy="800100"/>
          </a:xfrm>
        </p:spPr>
        <p:txBody>
          <a:bodyPr/>
          <a:lstStyle/>
          <a:p>
            <a:r>
              <a:rPr lang="en-US" dirty="0"/>
              <a:t>Area Chart</a:t>
            </a:r>
          </a:p>
        </p:txBody>
      </p:sp>
      <p:graphicFrame>
        <p:nvGraphicFramePr>
          <p:cNvPr id="8" name="Object 2" descr="Insert short description here">
            <a:hlinkClick r:id="" action="ppaction://ole?verb=0"/>
            <a:extLst>
              <a:ext uri="{FF2B5EF4-FFF2-40B4-BE49-F238E27FC236}">
                <a16:creationId xmlns:a16="http://schemas.microsoft.com/office/drawing/2014/main" id="{4B310ED1-19C7-429E-84B2-2350A9D6EDC1}"/>
              </a:ext>
            </a:extLst>
          </p:cNvPr>
          <p:cNvGraphicFramePr>
            <a:graphicFrameLocks/>
          </p:cNvGraphicFramePr>
          <p:nvPr>
            <p:extLst>
              <p:ext uri="{D42A27DB-BD31-4B8C-83A1-F6EECF244321}">
                <p14:modId xmlns:p14="http://schemas.microsoft.com/office/powerpoint/2010/main" val="2561794607"/>
              </p:ext>
            </p:extLst>
          </p:nvPr>
        </p:nvGraphicFramePr>
        <p:xfrm>
          <a:off x="379414" y="1038224"/>
          <a:ext cx="11431586" cy="3754577"/>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3">
            <a:extLst>
              <a:ext uri="{FF2B5EF4-FFF2-40B4-BE49-F238E27FC236}">
                <a16:creationId xmlns:a16="http://schemas.microsoft.com/office/drawing/2014/main" id="{DA9C9CF2-90B4-449A-9F7E-F8217BCE2AA8}"/>
              </a:ext>
            </a:extLst>
          </p:cNvPr>
          <p:cNvSpPr>
            <a:spLocks noChangeArrowheads="1"/>
          </p:cNvSpPr>
          <p:nvPr/>
        </p:nvSpPr>
        <p:spPr bwMode="auto">
          <a:xfrm>
            <a:off x="381000" y="5170487"/>
            <a:ext cx="4780560" cy="1090143"/>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	Insert columns/rows as required (each line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	Double-click on a line to change the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3	Edit the y-axis label manually</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4	Edit the labels manually</a:t>
            </a:r>
          </a:p>
        </p:txBody>
      </p:sp>
      <p:sp>
        <p:nvSpPr>
          <p:cNvPr id="4" name="Footer Placeholder 3">
            <a:extLst>
              <a:ext uri="{FF2B5EF4-FFF2-40B4-BE49-F238E27FC236}">
                <a16:creationId xmlns:a16="http://schemas.microsoft.com/office/drawing/2014/main" id="{73C0D1B1-74CF-4C7D-97A0-9AA1D518F79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87B024B4-B1B0-4B55-B209-C147A7F11E5F}"/>
              </a:ext>
            </a:extLst>
          </p:cNvPr>
          <p:cNvSpPr>
            <a:spLocks noGrp="1"/>
          </p:cNvSpPr>
          <p:nvPr>
            <p:ph type="sldNum" sz="quarter" idx="10"/>
          </p:nvPr>
        </p:nvSpPr>
        <p:spPr/>
        <p:txBody>
          <a:bodyPr/>
          <a:lstStyle/>
          <a:p>
            <a:fld id="{1F90F471-3972-4120-B8B3-0237DE626C35}" type="slidenum">
              <a:rPr lang="en-US" smtClean="0"/>
              <a:pPr/>
              <a:t>106</a:t>
            </a:fld>
            <a:endParaRPr lang="en-US" dirty="0"/>
          </a:p>
        </p:txBody>
      </p:sp>
    </p:spTree>
    <p:extLst>
      <p:ext uri="{BB962C8B-B14F-4D97-AF65-F5344CB8AC3E}">
        <p14:creationId xmlns:p14="http://schemas.microsoft.com/office/powerpoint/2010/main" val="193886266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556EE-6908-41C2-85C3-0AD308BB87FD}"/>
              </a:ext>
            </a:extLst>
          </p:cNvPr>
          <p:cNvSpPr>
            <a:spLocks noGrp="1"/>
          </p:cNvSpPr>
          <p:nvPr>
            <p:ph type="title"/>
          </p:nvPr>
        </p:nvSpPr>
        <p:spPr/>
        <p:txBody>
          <a:bodyPr/>
          <a:lstStyle/>
          <a:p>
            <a:r>
              <a:rPr lang="en-US" dirty="0"/>
              <a:t>Area Chart 100%</a:t>
            </a:r>
          </a:p>
        </p:txBody>
      </p:sp>
      <p:sp>
        <p:nvSpPr>
          <p:cNvPr id="6" name="Rectangle 3">
            <a:extLst>
              <a:ext uri="{FF2B5EF4-FFF2-40B4-BE49-F238E27FC236}">
                <a16:creationId xmlns:a16="http://schemas.microsoft.com/office/drawing/2014/main" id="{DA9C9CF2-90B4-449A-9F7E-F8217BCE2AA8}"/>
              </a:ext>
            </a:extLst>
          </p:cNvPr>
          <p:cNvSpPr>
            <a:spLocks noChangeArrowheads="1"/>
          </p:cNvSpPr>
          <p:nvPr/>
        </p:nvSpPr>
        <p:spPr bwMode="auto">
          <a:xfrm>
            <a:off x="381000" y="5170487"/>
            <a:ext cx="4780560" cy="1090143"/>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	Insert columns/rows as required (each line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	Double-click on a line to change the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3	Edit the y-axis label manually</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4	Edit the labels manually</a:t>
            </a:r>
          </a:p>
        </p:txBody>
      </p:sp>
      <p:graphicFrame>
        <p:nvGraphicFramePr>
          <p:cNvPr id="20" name="Object 2" descr="Add text and order accordingly">
            <a:hlinkClick r:id="" action="ppaction://ole?verb=0"/>
            <a:extLst>
              <a:ext uri="{FF2B5EF4-FFF2-40B4-BE49-F238E27FC236}">
                <a16:creationId xmlns:a16="http://schemas.microsoft.com/office/drawing/2014/main" id="{CABA59C5-EEF9-4E02-92BC-AC9156DECE00}"/>
              </a:ext>
            </a:extLst>
          </p:cNvPr>
          <p:cNvGraphicFramePr>
            <a:graphicFrameLocks/>
          </p:cNvGraphicFramePr>
          <p:nvPr>
            <p:extLst>
              <p:ext uri="{D42A27DB-BD31-4B8C-83A1-F6EECF244321}">
                <p14:modId xmlns:p14="http://schemas.microsoft.com/office/powerpoint/2010/main" val="3480428468"/>
              </p:ext>
            </p:extLst>
          </p:nvPr>
        </p:nvGraphicFramePr>
        <p:xfrm>
          <a:off x="381000" y="1057275"/>
          <a:ext cx="11429366" cy="3922712"/>
        </p:xfrm>
        <a:graphic>
          <a:graphicData uri="http://schemas.openxmlformats.org/drawingml/2006/chart">
            <c:chart xmlns:c="http://schemas.openxmlformats.org/drawingml/2006/chart" xmlns:r="http://schemas.openxmlformats.org/officeDocument/2006/relationships" r:id="rId3"/>
          </a:graphicData>
        </a:graphic>
      </p:graphicFrame>
      <p:sp>
        <p:nvSpPr>
          <p:cNvPr id="3" name="Footer Placeholder 2">
            <a:extLst>
              <a:ext uri="{FF2B5EF4-FFF2-40B4-BE49-F238E27FC236}">
                <a16:creationId xmlns:a16="http://schemas.microsoft.com/office/drawing/2014/main" id="{30228218-B020-4D9B-8580-9C7520F7473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7" name="Slide Number Placeholder 6">
            <a:extLst>
              <a:ext uri="{FF2B5EF4-FFF2-40B4-BE49-F238E27FC236}">
                <a16:creationId xmlns:a16="http://schemas.microsoft.com/office/drawing/2014/main" id="{9D473E56-018B-4E0E-9A6C-944AD7E6FE29}"/>
              </a:ext>
            </a:extLst>
          </p:cNvPr>
          <p:cNvSpPr>
            <a:spLocks noGrp="1"/>
          </p:cNvSpPr>
          <p:nvPr>
            <p:ph type="sldNum" sz="quarter" idx="10"/>
          </p:nvPr>
        </p:nvSpPr>
        <p:spPr/>
        <p:txBody>
          <a:bodyPr/>
          <a:lstStyle/>
          <a:p>
            <a:fld id="{1F90F471-3972-4120-B8B3-0237DE626C35}" type="slidenum">
              <a:rPr lang="en-US" smtClean="0"/>
              <a:pPr/>
              <a:t>107</a:t>
            </a:fld>
            <a:endParaRPr lang="en-US" dirty="0"/>
          </a:p>
        </p:txBody>
      </p:sp>
    </p:spTree>
    <p:extLst>
      <p:ext uri="{BB962C8B-B14F-4D97-AF65-F5344CB8AC3E}">
        <p14:creationId xmlns:p14="http://schemas.microsoft.com/office/powerpoint/2010/main" val="395302417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556EE-6908-41C2-85C3-0AD308BB87FD}"/>
              </a:ext>
            </a:extLst>
          </p:cNvPr>
          <p:cNvSpPr>
            <a:spLocks noGrp="1"/>
          </p:cNvSpPr>
          <p:nvPr>
            <p:ph type="title"/>
          </p:nvPr>
        </p:nvSpPr>
        <p:spPr/>
        <p:txBody>
          <a:bodyPr/>
          <a:lstStyle/>
          <a:p>
            <a:r>
              <a:rPr lang="en-US" dirty="0"/>
              <a:t>Grouped Correlation Chart</a:t>
            </a:r>
          </a:p>
        </p:txBody>
      </p:sp>
      <p:sp>
        <p:nvSpPr>
          <p:cNvPr id="6" name="Rectangle 3">
            <a:extLst>
              <a:ext uri="{FF2B5EF4-FFF2-40B4-BE49-F238E27FC236}">
                <a16:creationId xmlns:a16="http://schemas.microsoft.com/office/drawing/2014/main" id="{DA9C9CF2-90B4-449A-9F7E-F8217BCE2AA8}"/>
              </a:ext>
            </a:extLst>
          </p:cNvPr>
          <p:cNvSpPr>
            <a:spLocks noChangeArrowheads="1"/>
          </p:cNvSpPr>
          <p:nvPr/>
        </p:nvSpPr>
        <p:spPr bwMode="auto">
          <a:xfrm>
            <a:off x="381000" y="5170487"/>
            <a:ext cx="4780560" cy="1090143"/>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	Insert columns/rows as required (each area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	Double-click on a line/dot to change the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3	Edit the axes labels manually</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4	Select "Trend lines" in Data Point Options to add or remove the trend line</a:t>
            </a:r>
          </a:p>
        </p:txBody>
      </p:sp>
      <p:graphicFrame>
        <p:nvGraphicFramePr>
          <p:cNvPr id="7" name="Object 2" descr="Add text and order accordingly">
            <a:extLst>
              <a:ext uri="{FF2B5EF4-FFF2-40B4-BE49-F238E27FC236}">
                <a16:creationId xmlns:a16="http://schemas.microsoft.com/office/drawing/2014/main" id="{2DF81472-DC8C-43F0-8BB1-7AFC00932A7F}"/>
              </a:ext>
            </a:extLst>
          </p:cNvPr>
          <p:cNvGraphicFramePr>
            <a:graphicFrameLocks/>
          </p:cNvGraphicFramePr>
          <p:nvPr>
            <p:extLst>
              <p:ext uri="{D42A27DB-BD31-4B8C-83A1-F6EECF244321}">
                <p14:modId xmlns:p14="http://schemas.microsoft.com/office/powerpoint/2010/main" val="726300164"/>
              </p:ext>
            </p:extLst>
          </p:nvPr>
        </p:nvGraphicFramePr>
        <p:xfrm>
          <a:off x="381317" y="1052513"/>
          <a:ext cx="11429366" cy="4117974"/>
        </p:xfrm>
        <a:graphic>
          <a:graphicData uri="http://schemas.openxmlformats.org/drawingml/2006/chart">
            <c:chart xmlns:c="http://schemas.openxmlformats.org/drawingml/2006/chart" xmlns:r="http://schemas.openxmlformats.org/officeDocument/2006/relationships" r:id="rId3"/>
          </a:graphicData>
        </a:graphic>
      </p:graphicFrame>
      <p:sp>
        <p:nvSpPr>
          <p:cNvPr id="5" name="Footer Placeholder 4">
            <a:extLst>
              <a:ext uri="{FF2B5EF4-FFF2-40B4-BE49-F238E27FC236}">
                <a16:creationId xmlns:a16="http://schemas.microsoft.com/office/drawing/2014/main" id="{5F13E754-3B0E-4D70-A93C-1956134ED3DE}"/>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8" name="Slide Number Placeholder 7">
            <a:extLst>
              <a:ext uri="{FF2B5EF4-FFF2-40B4-BE49-F238E27FC236}">
                <a16:creationId xmlns:a16="http://schemas.microsoft.com/office/drawing/2014/main" id="{E7947E3E-EF37-46A6-8C72-C581F9E9F93E}"/>
              </a:ext>
            </a:extLst>
          </p:cNvPr>
          <p:cNvSpPr>
            <a:spLocks noGrp="1"/>
          </p:cNvSpPr>
          <p:nvPr>
            <p:ph type="sldNum" sz="quarter" idx="10"/>
          </p:nvPr>
        </p:nvSpPr>
        <p:spPr/>
        <p:txBody>
          <a:bodyPr/>
          <a:lstStyle/>
          <a:p>
            <a:fld id="{1F90F471-3972-4120-B8B3-0237DE626C35}" type="slidenum">
              <a:rPr lang="en-US" smtClean="0"/>
              <a:pPr/>
              <a:t>108</a:t>
            </a:fld>
            <a:endParaRPr lang="en-US" dirty="0"/>
          </a:p>
        </p:txBody>
      </p:sp>
    </p:spTree>
    <p:extLst>
      <p:ext uri="{BB962C8B-B14F-4D97-AF65-F5344CB8AC3E}">
        <p14:creationId xmlns:p14="http://schemas.microsoft.com/office/powerpoint/2010/main" val="27800011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556EE-6908-41C2-85C3-0AD308BB87FD}"/>
              </a:ext>
            </a:extLst>
          </p:cNvPr>
          <p:cNvSpPr>
            <a:spLocks noGrp="1"/>
          </p:cNvSpPr>
          <p:nvPr>
            <p:ph type="title"/>
          </p:nvPr>
        </p:nvSpPr>
        <p:spPr/>
        <p:txBody>
          <a:bodyPr/>
          <a:lstStyle/>
          <a:p>
            <a:r>
              <a:rPr lang="en-US" dirty="0"/>
              <a:t>Radar Chart 1</a:t>
            </a:r>
          </a:p>
        </p:txBody>
      </p:sp>
      <p:sp>
        <p:nvSpPr>
          <p:cNvPr id="6" name="Rectangle 3">
            <a:extLst>
              <a:ext uri="{FF2B5EF4-FFF2-40B4-BE49-F238E27FC236}">
                <a16:creationId xmlns:a16="http://schemas.microsoft.com/office/drawing/2014/main" id="{DA9C9CF2-90B4-449A-9F7E-F8217BCE2AA8}"/>
              </a:ext>
            </a:extLst>
          </p:cNvPr>
          <p:cNvSpPr>
            <a:spLocks noChangeArrowheads="1"/>
          </p:cNvSpPr>
          <p:nvPr/>
        </p:nvSpPr>
        <p:spPr bwMode="auto">
          <a:xfrm>
            <a:off x="381000" y="5555218"/>
            <a:ext cx="4780560" cy="731070"/>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	Insert columns/rows as required (each area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	Double-click on an area to change the color</a:t>
            </a:r>
          </a:p>
        </p:txBody>
      </p:sp>
      <p:graphicFrame>
        <p:nvGraphicFramePr>
          <p:cNvPr id="7" name="Object 2" descr="Add text and order accordingly">
            <a:extLst>
              <a:ext uri="{FF2B5EF4-FFF2-40B4-BE49-F238E27FC236}">
                <a16:creationId xmlns:a16="http://schemas.microsoft.com/office/drawing/2014/main" id="{31FA6C6E-9242-4A2A-B854-A18B81D2C8EC}"/>
              </a:ext>
            </a:extLst>
          </p:cNvPr>
          <p:cNvGraphicFramePr>
            <a:graphicFrameLocks/>
          </p:cNvGraphicFramePr>
          <p:nvPr>
            <p:extLst>
              <p:ext uri="{D42A27DB-BD31-4B8C-83A1-F6EECF244321}">
                <p14:modId xmlns:p14="http://schemas.microsoft.com/office/powerpoint/2010/main" val="2578936237"/>
              </p:ext>
            </p:extLst>
          </p:nvPr>
        </p:nvGraphicFramePr>
        <p:xfrm>
          <a:off x="381000" y="1019077"/>
          <a:ext cx="11437938" cy="4536141"/>
        </p:xfrm>
        <a:graphic>
          <a:graphicData uri="http://schemas.openxmlformats.org/drawingml/2006/chart">
            <c:chart xmlns:c="http://schemas.openxmlformats.org/drawingml/2006/chart" xmlns:r="http://schemas.openxmlformats.org/officeDocument/2006/relationships" r:id="rId3"/>
          </a:graphicData>
        </a:graphic>
      </p:graphicFrame>
      <p:sp>
        <p:nvSpPr>
          <p:cNvPr id="5" name="Footer Placeholder 4">
            <a:extLst>
              <a:ext uri="{FF2B5EF4-FFF2-40B4-BE49-F238E27FC236}">
                <a16:creationId xmlns:a16="http://schemas.microsoft.com/office/drawing/2014/main" id="{D3915A5B-D858-4EFA-8BCC-246D2C8A719B}"/>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8" name="Slide Number Placeholder 7">
            <a:extLst>
              <a:ext uri="{FF2B5EF4-FFF2-40B4-BE49-F238E27FC236}">
                <a16:creationId xmlns:a16="http://schemas.microsoft.com/office/drawing/2014/main" id="{218810B8-D500-4D23-881C-88F5E09D9E9C}"/>
              </a:ext>
            </a:extLst>
          </p:cNvPr>
          <p:cNvSpPr>
            <a:spLocks noGrp="1"/>
          </p:cNvSpPr>
          <p:nvPr>
            <p:ph type="sldNum" sz="quarter" idx="10"/>
          </p:nvPr>
        </p:nvSpPr>
        <p:spPr/>
        <p:txBody>
          <a:bodyPr/>
          <a:lstStyle/>
          <a:p>
            <a:fld id="{1F90F471-3972-4120-B8B3-0237DE626C35}" type="slidenum">
              <a:rPr lang="en-US" smtClean="0"/>
              <a:pPr/>
              <a:t>109</a:t>
            </a:fld>
            <a:endParaRPr lang="en-US" dirty="0"/>
          </a:p>
        </p:txBody>
      </p:sp>
    </p:spTree>
    <p:extLst>
      <p:ext uri="{BB962C8B-B14F-4D97-AF65-F5344CB8AC3E}">
        <p14:creationId xmlns:p14="http://schemas.microsoft.com/office/powerpoint/2010/main" val="8579930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BE84C-E5B6-452D-A67C-6435F4B76A12}"/>
              </a:ext>
            </a:extLst>
          </p:cNvPr>
          <p:cNvSpPr>
            <a:spLocks noGrp="1"/>
          </p:cNvSpPr>
          <p:nvPr>
            <p:ph type="title"/>
          </p:nvPr>
        </p:nvSpPr>
        <p:spPr>
          <a:xfrm>
            <a:off x="381000" y="381000"/>
            <a:ext cx="11430000" cy="800100"/>
          </a:xfrm>
        </p:spPr>
        <p:txBody>
          <a:bodyPr/>
          <a:lstStyle/>
          <a:p>
            <a:r>
              <a:rPr lang="en-US" dirty="0"/>
              <a:t>Colors and gradients</a:t>
            </a:r>
          </a:p>
        </p:txBody>
      </p:sp>
      <p:sp>
        <p:nvSpPr>
          <p:cNvPr id="4" name="TextBox 3">
            <a:extLst>
              <a:ext uri="{FF2B5EF4-FFF2-40B4-BE49-F238E27FC236}">
                <a16:creationId xmlns:a16="http://schemas.microsoft.com/office/drawing/2014/main" id="{A4464D8A-5BE2-42D6-A3F4-5DD1A688356F}"/>
              </a:ext>
            </a:extLst>
          </p:cNvPr>
          <p:cNvSpPr txBox="1"/>
          <p:nvPr/>
        </p:nvSpPr>
        <p:spPr>
          <a:xfrm>
            <a:off x="387310" y="876108"/>
            <a:ext cx="5715000" cy="2459436"/>
          </a:xfrm>
          <a:prstGeom prst="rect">
            <a:avLst/>
          </a:prstGeom>
          <a:noFill/>
        </p:spPr>
        <p:txBody>
          <a:bodyPr wrap="square" lIns="0" tIns="0" rIns="0" bIns="0" rtlCol="0">
            <a:noAutofit/>
          </a:bodyPr>
          <a:lstStyle/>
          <a:p>
            <a:pPr defTabSz="228600">
              <a:spcAft>
                <a:spcPts val="1200"/>
              </a:spcAft>
            </a:pPr>
            <a:r>
              <a:rPr lang="en-US" noProof="0" dirty="0"/>
              <a:t>This template’s color theme and custom colors palette include </a:t>
            </a:r>
            <a:r>
              <a:rPr lang="en-US" dirty="0"/>
              <a:t>our neutrals, core purples, accent purples </a:t>
            </a:r>
            <a:r>
              <a:rPr lang="en-US" noProof="0" dirty="0"/>
              <a:t>and secondary colors. Accent purples and secondary colors should be used with care, according to the proportions shown to the right. </a:t>
            </a:r>
          </a:p>
          <a:p>
            <a:pPr defTabSz="228600">
              <a:spcAft>
                <a:spcPts val="1200"/>
              </a:spcAft>
            </a:pPr>
            <a:r>
              <a:rPr lang="en-US" dirty="0"/>
              <a:t>For printing, choose </a:t>
            </a:r>
            <a:br>
              <a:rPr lang="en-US" dirty="0"/>
            </a:br>
            <a:r>
              <a:rPr lang="en-US" dirty="0"/>
              <a:t>slide layouts with </a:t>
            </a:r>
            <a:br>
              <a:rPr lang="en-US" dirty="0"/>
            </a:br>
            <a:r>
              <a:rPr lang="en-US" dirty="0"/>
              <a:t>white backgrounds. </a:t>
            </a:r>
          </a:p>
        </p:txBody>
      </p:sp>
      <p:grpSp>
        <p:nvGrpSpPr>
          <p:cNvPr id="12" name="Group 11" descr="Use of theme and custom colors">
            <a:extLst>
              <a:ext uri="{FF2B5EF4-FFF2-40B4-BE49-F238E27FC236}">
                <a16:creationId xmlns:a16="http://schemas.microsoft.com/office/drawing/2014/main" id="{FD5517DC-8018-48FD-A93E-A9653D28D69C}"/>
              </a:ext>
            </a:extLst>
          </p:cNvPr>
          <p:cNvGrpSpPr/>
          <p:nvPr/>
        </p:nvGrpSpPr>
        <p:grpSpPr>
          <a:xfrm>
            <a:off x="2809647" y="2807352"/>
            <a:ext cx="3825203" cy="3449828"/>
            <a:chOff x="3020733" y="2920333"/>
            <a:chExt cx="3825203" cy="3449828"/>
          </a:xfrm>
        </p:grpSpPr>
        <p:pic>
          <p:nvPicPr>
            <p:cNvPr id="7" name="Picture 6" descr="A picture containing graphical user interface, application for theme colors.">
              <a:extLst>
                <a:ext uri="{FF2B5EF4-FFF2-40B4-BE49-F238E27FC236}">
                  <a16:creationId xmlns:a16="http://schemas.microsoft.com/office/drawing/2014/main" id="{68C8217C-D108-42BD-9BD5-8A09F744C047}"/>
                </a:ext>
              </a:extLst>
            </p:cNvPr>
            <p:cNvPicPr>
              <a:picLocks noChangeAspect="1"/>
            </p:cNvPicPr>
            <p:nvPr/>
          </p:nvPicPr>
          <p:blipFill rotWithShape="1">
            <a:blip r:embed="rId2"/>
            <a:srcRect l="1188" t="1141" r="2303" b="2191"/>
            <a:stretch/>
          </p:blipFill>
          <p:spPr>
            <a:xfrm>
              <a:off x="3020733" y="3522619"/>
              <a:ext cx="2325944" cy="2847542"/>
            </a:xfrm>
            <a:prstGeom prst="rect">
              <a:avLst/>
            </a:prstGeom>
          </p:spPr>
        </p:pic>
        <p:cxnSp>
          <p:nvCxnSpPr>
            <p:cNvPr id="18" name="Connector: Elbow 17" descr="Neutrals">
              <a:extLst>
                <a:ext uri="{FF2B5EF4-FFF2-40B4-BE49-F238E27FC236}">
                  <a16:creationId xmlns:a16="http://schemas.microsoft.com/office/drawing/2014/main" id="{82D9FD4F-EE28-4CC6-ADFE-56559EF428EE}"/>
                </a:ext>
              </a:extLst>
            </p:cNvPr>
            <p:cNvCxnSpPr>
              <a:cxnSpLocks/>
              <a:endCxn id="16" idx="0"/>
            </p:cNvCxnSpPr>
            <p:nvPr/>
          </p:nvCxnSpPr>
          <p:spPr>
            <a:xfrm rot="10800000" flipV="1">
              <a:off x="3488292" y="2989056"/>
              <a:ext cx="2467999" cy="940372"/>
            </a:xfrm>
            <a:prstGeom prst="bentConnector2">
              <a:avLst/>
            </a:prstGeom>
            <a:ln w="12700">
              <a:solidFill>
                <a:srgbClr val="FF50A0"/>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descr="Remarks: Theme Colors">
              <a:extLst>
                <a:ext uri="{FF2B5EF4-FFF2-40B4-BE49-F238E27FC236}">
                  <a16:creationId xmlns:a16="http://schemas.microsoft.com/office/drawing/2014/main" id="{DED9100C-C7BA-4FE7-A952-3D438744AD4F}"/>
                </a:ext>
              </a:extLst>
            </p:cNvPr>
            <p:cNvSpPr/>
            <p:nvPr/>
          </p:nvSpPr>
          <p:spPr>
            <a:xfrm>
              <a:off x="3020733" y="3929428"/>
              <a:ext cx="935115" cy="238080"/>
            </a:xfrm>
            <a:prstGeom prst="rect">
              <a:avLst/>
            </a:prstGeom>
            <a:noFill/>
            <a:ln>
              <a:solidFill>
                <a:srgbClr val="FF50A0"/>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5" name="TextBox 4">
              <a:extLst>
                <a:ext uri="{FF2B5EF4-FFF2-40B4-BE49-F238E27FC236}">
                  <a16:creationId xmlns:a16="http://schemas.microsoft.com/office/drawing/2014/main" id="{AE1231CD-985C-544A-A6D3-B9A3FF5FF9F3}"/>
                </a:ext>
              </a:extLst>
            </p:cNvPr>
            <p:cNvSpPr txBox="1"/>
            <p:nvPr/>
          </p:nvSpPr>
          <p:spPr>
            <a:xfrm>
              <a:off x="6013297" y="2920333"/>
              <a:ext cx="546410" cy="178420"/>
            </a:xfrm>
            <a:prstGeom prst="rect">
              <a:avLst/>
            </a:prstGeom>
            <a:noFill/>
          </p:spPr>
          <p:txBody>
            <a:bodyPr wrap="square" lIns="0" tIns="0" rIns="0" bIns="0" rtlCol="0">
              <a:noAutofit/>
            </a:bodyPr>
            <a:lstStyle/>
            <a:p>
              <a:pPr algn="l" defTabSz="228600">
                <a:spcAft>
                  <a:spcPts val="1200"/>
                </a:spcAft>
              </a:pPr>
              <a:r>
                <a:rPr lang="en-US" sz="900" b="1" noProof="0" dirty="0">
                  <a:solidFill>
                    <a:schemeClr val="tx2"/>
                  </a:solidFill>
                  <a:latin typeface="+mj-lt"/>
                </a:rPr>
                <a:t>Neutrals</a:t>
              </a:r>
            </a:p>
          </p:txBody>
        </p:sp>
        <p:sp>
          <p:nvSpPr>
            <p:cNvPr id="26" name="Rectangle 25" descr="Remarks">
              <a:extLst>
                <a:ext uri="{FF2B5EF4-FFF2-40B4-BE49-F238E27FC236}">
                  <a16:creationId xmlns:a16="http://schemas.microsoft.com/office/drawing/2014/main" id="{42F92758-5DDC-4514-8226-4E14D6DDDFEA}"/>
                </a:ext>
              </a:extLst>
            </p:cNvPr>
            <p:cNvSpPr/>
            <p:nvPr/>
          </p:nvSpPr>
          <p:spPr>
            <a:xfrm>
              <a:off x="3959441" y="3929428"/>
              <a:ext cx="680622" cy="238080"/>
            </a:xfrm>
            <a:prstGeom prst="rect">
              <a:avLst/>
            </a:prstGeom>
            <a:noFill/>
            <a:ln>
              <a:solidFill>
                <a:srgbClr val="FF50A0"/>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71" name="Rectangle 70" descr="Remarks: Hidden Text">
              <a:extLst>
                <a:ext uri="{FF2B5EF4-FFF2-40B4-BE49-F238E27FC236}">
                  <a16:creationId xmlns:a16="http://schemas.microsoft.com/office/drawing/2014/main" id="{CF005D7A-F3C0-4433-A1AA-6C9120F23DFB}"/>
                </a:ext>
                <a:ext uri="{C183D7F6-B498-43B3-948B-1728B52AA6E4}">
                  <adec:decorative xmlns:adec="http://schemas.microsoft.com/office/drawing/2017/decorative" val="0"/>
                </a:ext>
              </a:extLst>
            </p:cNvPr>
            <p:cNvSpPr/>
            <p:nvPr/>
          </p:nvSpPr>
          <p:spPr>
            <a:xfrm>
              <a:off x="4640062" y="3929428"/>
              <a:ext cx="680622" cy="238080"/>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cxnSp>
          <p:nvCxnSpPr>
            <p:cNvPr id="21" name="Connector: Elbow 20" descr="Core Purples">
              <a:extLst>
                <a:ext uri="{FF2B5EF4-FFF2-40B4-BE49-F238E27FC236}">
                  <a16:creationId xmlns:a16="http://schemas.microsoft.com/office/drawing/2014/main" id="{5E28C2A7-B30C-4992-8A9D-DEFE430061DA}"/>
                </a:ext>
              </a:extLst>
            </p:cNvPr>
            <p:cNvCxnSpPr>
              <a:cxnSpLocks/>
              <a:endCxn id="26" idx="3"/>
            </p:cNvCxnSpPr>
            <p:nvPr/>
          </p:nvCxnSpPr>
          <p:spPr>
            <a:xfrm rot="10800000">
              <a:off x="4640064" y="4048469"/>
              <a:ext cx="1319821" cy="826849"/>
            </a:xfrm>
            <a:prstGeom prst="bentConnector3">
              <a:avLst>
                <a:gd name="adj1" fmla="val 24991"/>
              </a:avLst>
            </a:prstGeom>
            <a:ln w="12700">
              <a:solidFill>
                <a:srgbClr val="FF50A0"/>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56A0931C-A991-1F4D-B4A8-1CB27F785A0C}"/>
                </a:ext>
              </a:extLst>
            </p:cNvPr>
            <p:cNvSpPr txBox="1"/>
            <p:nvPr/>
          </p:nvSpPr>
          <p:spPr>
            <a:xfrm>
              <a:off x="6013297" y="4837987"/>
              <a:ext cx="546410" cy="279405"/>
            </a:xfrm>
            <a:prstGeom prst="rect">
              <a:avLst/>
            </a:prstGeom>
            <a:noFill/>
          </p:spPr>
          <p:txBody>
            <a:bodyPr wrap="square" lIns="0" tIns="0" rIns="0" bIns="0" rtlCol="0">
              <a:noAutofit/>
            </a:bodyPr>
            <a:lstStyle/>
            <a:p>
              <a:pPr algn="l" defTabSz="228600">
                <a:lnSpc>
                  <a:spcPts val="800"/>
                </a:lnSpc>
                <a:spcAft>
                  <a:spcPts val="600"/>
                </a:spcAft>
              </a:pPr>
              <a:r>
                <a:rPr lang="en-US" sz="900" b="1" noProof="0" dirty="0">
                  <a:solidFill>
                    <a:schemeClr val="tx2"/>
                  </a:solidFill>
                  <a:latin typeface="+mj-lt"/>
                </a:rPr>
                <a:t>Core purples</a:t>
              </a:r>
            </a:p>
          </p:txBody>
        </p:sp>
        <p:sp>
          <p:nvSpPr>
            <p:cNvPr id="48" name="Rectangle 47" descr="Remarks">
              <a:extLst>
                <a:ext uri="{FF2B5EF4-FFF2-40B4-BE49-F238E27FC236}">
                  <a16:creationId xmlns:a16="http://schemas.microsoft.com/office/drawing/2014/main" id="{FBA4DA99-4600-4C21-8438-BE8F3C96AF14}"/>
                </a:ext>
              </a:extLst>
            </p:cNvPr>
            <p:cNvSpPr/>
            <p:nvPr/>
          </p:nvSpPr>
          <p:spPr>
            <a:xfrm>
              <a:off x="3024325" y="5756980"/>
              <a:ext cx="1186087" cy="238080"/>
            </a:xfrm>
            <a:prstGeom prst="rect">
              <a:avLst/>
            </a:prstGeom>
            <a:noFill/>
            <a:ln>
              <a:solidFill>
                <a:srgbClr val="FF50A0"/>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cxnSp>
          <p:nvCxnSpPr>
            <p:cNvPr id="63" name="Straight Arrow Connector 62" descr="Accent Purples">
              <a:extLst>
                <a:ext uri="{FF2B5EF4-FFF2-40B4-BE49-F238E27FC236}">
                  <a16:creationId xmlns:a16="http://schemas.microsoft.com/office/drawing/2014/main" id="{E20594D2-4448-43BF-82F9-E10E9174363D}"/>
                </a:ext>
              </a:extLst>
            </p:cNvPr>
            <p:cNvCxnSpPr/>
            <p:nvPr/>
          </p:nvCxnSpPr>
          <p:spPr>
            <a:xfrm flipH="1">
              <a:off x="4210412" y="5878925"/>
              <a:ext cx="1749470" cy="0"/>
            </a:xfrm>
            <a:prstGeom prst="straightConnector1">
              <a:avLst/>
            </a:prstGeom>
            <a:ln w="12700">
              <a:solidFill>
                <a:srgbClr val="FF50A0"/>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B218533-77E6-E848-B4D0-8F230886F735}"/>
                </a:ext>
              </a:extLst>
            </p:cNvPr>
            <p:cNvSpPr txBox="1"/>
            <p:nvPr/>
          </p:nvSpPr>
          <p:spPr>
            <a:xfrm>
              <a:off x="6013297" y="5792858"/>
              <a:ext cx="546410" cy="279405"/>
            </a:xfrm>
            <a:prstGeom prst="rect">
              <a:avLst/>
            </a:prstGeom>
            <a:noFill/>
          </p:spPr>
          <p:txBody>
            <a:bodyPr wrap="square" lIns="0" tIns="0" rIns="0" bIns="0" rtlCol="0">
              <a:noAutofit/>
            </a:bodyPr>
            <a:lstStyle/>
            <a:p>
              <a:pPr algn="l" defTabSz="228600">
                <a:lnSpc>
                  <a:spcPts val="800"/>
                </a:lnSpc>
                <a:spcAft>
                  <a:spcPts val="600"/>
                </a:spcAft>
              </a:pPr>
              <a:r>
                <a:rPr lang="en-US" sz="900" b="1" noProof="0" dirty="0">
                  <a:solidFill>
                    <a:schemeClr val="tx2"/>
                  </a:solidFill>
                  <a:latin typeface="+mj-lt"/>
                </a:rPr>
                <a:t>Accent purples</a:t>
              </a:r>
            </a:p>
          </p:txBody>
        </p:sp>
        <p:sp>
          <p:nvSpPr>
            <p:cNvPr id="51" name="Rectangle 50" descr="Remarks">
              <a:extLst>
                <a:ext uri="{FF2B5EF4-FFF2-40B4-BE49-F238E27FC236}">
                  <a16:creationId xmlns:a16="http://schemas.microsoft.com/office/drawing/2014/main" id="{09CBE28C-7860-4A2C-A774-FA6DB20AE5B4}"/>
                </a:ext>
              </a:extLst>
            </p:cNvPr>
            <p:cNvSpPr/>
            <p:nvPr/>
          </p:nvSpPr>
          <p:spPr>
            <a:xfrm>
              <a:off x="3022967" y="5998161"/>
              <a:ext cx="1872376" cy="238080"/>
            </a:xfrm>
            <a:prstGeom prst="rect">
              <a:avLst/>
            </a:prstGeom>
            <a:noFill/>
            <a:ln>
              <a:solidFill>
                <a:srgbClr val="FF50A0"/>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cxnSp>
          <p:nvCxnSpPr>
            <p:cNvPr id="64" name="Straight Arrow Connector 63" descr="Secondaries">
              <a:extLst>
                <a:ext uri="{FF2B5EF4-FFF2-40B4-BE49-F238E27FC236}">
                  <a16:creationId xmlns:a16="http://schemas.microsoft.com/office/drawing/2014/main" id="{CC376420-C176-44C3-B147-C8A37022BF3C}"/>
                </a:ext>
              </a:extLst>
            </p:cNvPr>
            <p:cNvCxnSpPr>
              <a:cxnSpLocks/>
            </p:cNvCxnSpPr>
            <p:nvPr/>
          </p:nvCxnSpPr>
          <p:spPr>
            <a:xfrm flipH="1">
              <a:off x="4895343" y="6115805"/>
              <a:ext cx="1064539" cy="0"/>
            </a:xfrm>
            <a:prstGeom prst="straightConnector1">
              <a:avLst/>
            </a:prstGeom>
            <a:ln w="12700">
              <a:solidFill>
                <a:srgbClr val="FF50A0"/>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FA9B383C-70BA-3241-8B7E-126D9A2FD455}"/>
                </a:ext>
              </a:extLst>
            </p:cNvPr>
            <p:cNvSpPr txBox="1"/>
            <p:nvPr/>
          </p:nvSpPr>
          <p:spPr>
            <a:xfrm>
              <a:off x="6013297" y="6039662"/>
              <a:ext cx="832639" cy="206375"/>
            </a:xfrm>
            <a:prstGeom prst="rect">
              <a:avLst/>
            </a:prstGeom>
            <a:noFill/>
          </p:spPr>
          <p:txBody>
            <a:bodyPr wrap="square" lIns="0" tIns="0" rIns="0" bIns="0" rtlCol="0">
              <a:noAutofit/>
            </a:bodyPr>
            <a:lstStyle/>
            <a:p>
              <a:pPr algn="l" defTabSz="228600">
                <a:spcAft>
                  <a:spcPts val="1200"/>
                </a:spcAft>
              </a:pPr>
              <a:r>
                <a:rPr lang="en-US" sz="900" b="1" noProof="0" dirty="0">
                  <a:solidFill>
                    <a:schemeClr val="tx2"/>
                  </a:solidFill>
                  <a:latin typeface="+mj-lt"/>
                </a:rPr>
                <a:t>Secondaries</a:t>
              </a:r>
            </a:p>
          </p:txBody>
        </p:sp>
      </p:grpSp>
      <p:sp>
        <p:nvSpPr>
          <p:cNvPr id="27" name="TextBox 26">
            <a:extLst>
              <a:ext uri="{FF2B5EF4-FFF2-40B4-BE49-F238E27FC236}">
                <a16:creationId xmlns:a16="http://schemas.microsoft.com/office/drawing/2014/main" id="{386DD672-F6BD-40FE-86B4-EC107A1836C1}"/>
              </a:ext>
            </a:extLst>
          </p:cNvPr>
          <p:cNvSpPr txBox="1"/>
          <p:nvPr/>
        </p:nvSpPr>
        <p:spPr>
          <a:xfrm>
            <a:off x="6808912" y="1371601"/>
            <a:ext cx="4738852" cy="319313"/>
          </a:xfrm>
          <a:prstGeom prst="rect">
            <a:avLst/>
          </a:prstGeom>
          <a:noFill/>
        </p:spPr>
        <p:txBody>
          <a:bodyPr wrap="square" lIns="0" tIns="0" rIns="0" bIns="0" rtlCol="0">
            <a:noAutofit/>
          </a:bodyPr>
          <a:lstStyle/>
          <a:p>
            <a:pPr defTabSz="228600">
              <a:spcAft>
                <a:spcPts val="1200"/>
              </a:spcAft>
            </a:pPr>
            <a:r>
              <a:rPr lang="en-US" sz="1400" b="1" noProof="0" dirty="0"/>
              <a:t>Color relationship for everyday use </a:t>
            </a:r>
          </a:p>
        </p:txBody>
      </p:sp>
      <p:pic>
        <p:nvPicPr>
          <p:cNvPr id="47" name="Picture 46" descr="Image including a relationship between neutrals (55%), core purples (35%), and custom colors (10%)">
            <a:extLst>
              <a:ext uri="{FF2B5EF4-FFF2-40B4-BE49-F238E27FC236}">
                <a16:creationId xmlns:a16="http://schemas.microsoft.com/office/drawing/2014/main" id="{4E98EE0D-014F-4BC3-AF08-16AFBD534A3F}"/>
              </a:ext>
            </a:extLst>
          </p:cNvPr>
          <p:cNvPicPr>
            <a:picLocks noChangeAspect="1"/>
          </p:cNvPicPr>
          <p:nvPr/>
        </p:nvPicPr>
        <p:blipFill rotWithShape="1">
          <a:blip r:embed="rId3"/>
          <a:srcRect l="14233" t="9502" r="1955"/>
          <a:stretch/>
        </p:blipFill>
        <p:spPr>
          <a:xfrm>
            <a:off x="6848135" y="1690914"/>
            <a:ext cx="5048930" cy="4708302"/>
          </a:xfrm>
          <a:prstGeom prst="rect">
            <a:avLst/>
          </a:prstGeom>
        </p:spPr>
      </p:pic>
      <p:sp>
        <p:nvSpPr>
          <p:cNvPr id="42" name="Footer Placeholder 41">
            <a:extLst>
              <a:ext uri="{FF2B5EF4-FFF2-40B4-BE49-F238E27FC236}">
                <a16:creationId xmlns:a16="http://schemas.microsoft.com/office/drawing/2014/main" id="{479B93DE-49C9-49F1-BF22-5CC6907991B9}"/>
              </a:ext>
            </a:extLst>
          </p:cNvPr>
          <p:cNvSpPr>
            <a:spLocks noGrp="1"/>
          </p:cNvSpPr>
          <p:nvPr>
            <p:ph type="ftr" sz="quarter" idx="3"/>
          </p:nvPr>
        </p:nvSpPr>
        <p:spPr>
          <a:xfrm>
            <a:off x="7315200" y="6488234"/>
            <a:ext cx="4114800" cy="198318"/>
          </a:xfrm>
        </p:spPr>
        <p:txBody>
          <a:bodyPr/>
          <a:lstStyle/>
          <a:p>
            <a:r>
              <a:rPr lang="en-GB" dirty="0"/>
              <a:t>Copyright © 2021 Accenture. All rights reserved.</a:t>
            </a:r>
          </a:p>
        </p:txBody>
      </p:sp>
      <p:sp>
        <p:nvSpPr>
          <p:cNvPr id="3" name="Slide Number Placeholder 2">
            <a:extLst>
              <a:ext uri="{FF2B5EF4-FFF2-40B4-BE49-F238E27FC236}">
                <a16:creationId xmlns:a16="http://schemas.microsoft.com/office/drawing/2014/main" id="{B2828F5B-F103-494D-95C3-B485A4338507}"/>
              </a:ext>
            </a:extLst>
          </p:cNvPr>
          <p:cNvSpPr>
            <a:spLocks noGrp="1"/>
          </p:cNvSpPr>
          <p:nvPr>
            <p:ph type="sldNum" sz="quarter" idx="10"/>
          </p:nvPr>
        </p:nvSpPr>
        <p:spPr>
          <a:xfrm>
            <a:off x="11484746" y="6490025"/>
            <a:ext cx="326254" cy="201168"/>
          </a:xfrm>
        </p:spPr>
        <p:txBody>
          <a:bodyPr/>
          <a:lstStyle/>
          <a:p>
            <a:fld id="{1F90F471-3972-4120-B8B3-0237DE626C35}" type="slidenum">
              <a:rPr lang="en-US" smtClean="0"/>
              <a:pPr/>
              <a:t>11</a:t>
            </a:fld>
            <a:endParaRPr lang="en-US" dirty="0"/>
          </a:p>
        </p:txBody>
      </p:sp>
    </p:spTree>
    <p:extLst>
      <p:ext uri="{BB962C8B-B14F-4D97-AF65-F5344CB8AC3E}">
        <p14:creationId xmlns:p14="http://schemas.microsoft.com/office/powerpoint/2010/main" val="101958307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556EE-6908-41C2-85C3-0AD308BB87FD}"/>
              </a:ext>
            </a:extLst>
          </p:cNvPr>
          <p:cNvSpPr>
            <a:spLocks noGrp="1"/>
          </p:cNvSpPr>
          <p:nvPr>
            <p:ph type="title"/>
          </p:nvPr>
        </p:nvSpPr>
        <p:spPr/>
        <p:txBody>
          <a:bodyPr/>
          <a:lstStyle/>
          <a:p>
            <a:r>
              <a:rPr lang="en-US" dirty="0"/>
              <a:t>Radar Chart 2</a:t>
            </a:r>
          </a:p>
        </p:txBody>
      </p:sp>
      <p:sp>
        <p:nvSpPr>
          <p:cNvPr id="6" name="Rectangle 3">
            <a:extLst>
              <a:ext uri="{FF2B5EF4-FFF2-40B4-BE49-F238E27FC236}">
                <a16:creationId xmlns:a16="http://schemas.microsoft.com/office/drawing/2014/main" id="{DA9C9CF2-90B4-449A-9F7E-F8217BCE2AA8}"/>
              </a:ext>
            </a:extLst>
          </p:cNvPr>
          <p:cNvSpPr>
            <a:spLocks noChangeArrowheads="1"/>
          </p:cNvSpPr>
          <p:nvPr/>
        </p:nvSpPr>
        <p:spPr bwMode="auto">
          <a:xfrm>
            <a:off x="381000" y="5555218"/>
            <a:ext cx="4780560" cy="731070"/>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	Insert columns/rows as required (each area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	Double-click on an area to change the color</a:t>
            </a:r>
          </a:p>
        </p:txBody>
      </p:sp>
      <p:graphicFrame>
        <p:nvGraphicFramePr>
          <p:cNvPr id="7" name="Object 2" descr="Add text and order accordingly">
            <a:extLst>
              <a:ext uri="{FF2B5EF4-FFF2-40B4-BE49-F238E27FC236}">
                <a16:creationId xmlns:a16="http://schemas.microsoft.com/office/drawing/2014/main" id="{F4368141-62AD-4FC2-A107-548468CB75D6}"/>
              </a:ext>
            </a:extLst>
          </p:cNvPr>
          <p:cNvGraphicFramePr>
            <a:graphicFrameLocks/>
          </p:cNvGraphicFramePr>
          <p:nvPr>
            <p:extLst>
              <p:ext uri="{D42A27DB-BD31-4B8C-83A1-F6EECF244321}">
                <p14:modId xmlns:p14="http://schemas.microsoft.com/office/powerpoint/2010/main" val="1121050416"/>
              </p:ext>
            </p:extLst>
          </p:nvPr>
        </p:nvGraphicFramePr>
        <p:xfrm>
          <a:off x="447676" y="1038225"/>
          <a:ext cx="11295062" cy="4516993"/>
        </p:xfrm>
        <a:graphic>
          <a:graphicData uri="http://schemas.openxmlformats.org/drawingml/2006/chart">
            <c:chart xmlns:c="http://schemas.openxmlformats.org/drawingml/2006/chart" xmlns:r="http://schemas.openxmlformats.org/officeDocument/2006/relationships" r:id="rId3"/>
          </a:graphicData>
        </a:graphic>
      </p:graphicFrame>
      <p:sp>
        <p:nvSpPr>
          <p:cNvPr id="5" name="Footer Placeholder 4">
            <a:extLst>
              <a:ext uri="{FF2B5EF4-FFF2-40B4-BE49-F238E27FC236}">
                <a16:creationId xmlns:a16="http://schemas.microsoft.com/office/drawing/2014/main" id="{908A51DC-A2F5-430A-A80B-9E1D0BC5F205}"/>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8" name="Slide Number Placeholder 7">
            <a:extLst>
              <a:ext uri="{FF2B5EF4-FFF2-40B4-BE49-F238E27FC236}">
                <a16:creationId xmlns:a16="http://schemas.microsoft.com/office/drawing/2014/main" id="{314D6CA8-6EC8-474E-88F4-BAE68B52E167}"/>
              </a:ext>
            </a:extLst>
          </p:cNvPr>
          <p:cNvSpPr>
            <a:spLocks noGrp="1"/>
          </p:cNvSpPr>
          <p:nvPr>
            <p:ph type="sldNum" sz="quarter" idx="10"/>
          </p:nvPr>
        </p:nvSpPr>
        <p:spPr/>
        <p:txBody>
          <a:bodyPr/>
          <a:lstStyle/>
          <a:p>
            <a:fld id="{1F90F471-3972-4120-B8B3-0237DE626C35}" type="slidenum">
              <a:rPr lang="en-US" smtClean="0"/>
              <a:pPr/>
              <a:t>110</a:t>
            </a:fld>
            <a:endParaRPr lang="en-US" dirty="0"/>
          </a:p>
        </p:txBody>
      </p:sp>
    </p:spTree>
    <p:extLst>
      <p:ext uri="{BB962C8B-B14F-4D97-AF65-F5344CB8AC3E}">
        <p14:creationId xmlns:p14="http://schemas.microsoft.com/office/powerpoint/2010/main" val="74951791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556EE-6908-41C2-85C3-0AD308BB87FD}"/>
              </a:ext>
            </a:extLst>
          </p:cNvPr>
          <p:cNvSpPr>
            <a:spLocks noGrp="1"/>
          </p:cNvSpPr>
          <p:nvPr>
            <p:ph type="title"/>
          </p:nvPr>
        </p:nvSpPr>
        <p:spPr/>
        <p:txBody>
          <a:bodyPr/>
          <a:lstStyle/>
          <a:p>
            <a:r>
              <a:rPr lang="en-US" dirty="0"/>
              <a:t>Portfolio in Two Dimensions</a:t>
            </a:r>
          </a:p>
        </p:txBody>
      </p:sp>
      <p:grpSp>
        <p:nvGrpSpPr>
          <p:cNvPr id="23" name="Group 55" descr="Two Dimensions Quadrant">
            <a:extLst>
              <a:ext uri="{FF2B5EF4-FFF2-40B4-BE49-F238E27FC236}">
                <a16:creationId xmlns:a16="http://schemas.microsoft.com/office/drawing/2014/main" id="{B3CD2453-56DC-49B6-945A-8020777FA94C}"/>
              </a:ext>
              <a:ext uri="{C183D7F6-B498-43B3-948B-1728B52AA6E4}">
                <adec:decorative xmlns:adec="http://schemas.microsoft.com/office/drawing/2017/decorative" val="0"/>
              </a:ext>
            </a:extLst>
          </p:cNvPr>
          <p:cNvGrpSpPr>
            <a:grpSpLocks/>
          </p:cNvGrpSpPr>
          <p:nvPr>
            <p:custDataLst>
              <p:tags r:id="rId1"/>
            </p:custDataLst>
          </p:nvPr>
        </p:nvGrpSpPr>
        <p:grpSpPr bwMode="auto">
          <a:xfrm>
            <a:off x="4295131" y="1291194"/>
            <a:ext cx="3598862" cy="3598862"/>
            <a:chOff x="730" y="1414"/>
            <a:chExt cx="2266" cy="2266"/>
          </a:xfrm>
        </p:grpSpPr>
        <p:sp>
          <p:nvSpPr>
            <p:cNvPr id="40" name="Rectangle 56">
              <a:extLst>
                <a:ext uri="{FF2B5EF4-FFF2-40B4-BE49-F238E27FC236}">
                  <a16:creationId xmlns:a16="http://schemas.microsoft.com/office/drawing/2014/main" id="{D8DF591B-1C50-44AC-BDB4-5CE5156E4488}"/>
                </a:ext>
              </a:extLst>
            </p:cNvPr>
            <p:cNvSpPr>
              <a:spLocks noChangeArrowheads="1"/>
            </p:cNvSpPr>
            <p:nvPr/>
          </p:nvSpPr>
          <p:spPr bwMode="auto">
            <a:xfrm>
              <a:off x="1863" y="2547"/>
              <a:ext cx="1133" cy="1133"/>
            </a:xfrm>
            <a:prstGeom prst="rect">
              <a:avLst/>
            </a:prstGeom>
            <a:noFill/>
            <a:ln w="12700">
              <a:solidFill>
                <a:schemeClr val="tx2">
                  <a:lumMod val="60000"/>
                  <a:lumOff val="40000"/>
                </a:schemeClr>
              </a:solidFill>
              <a:prstDash val="solid"/>
              <a:miter lim="800000"/>
              <a:headEnd/>
              <a:tailEnd/>
            </a:ln>
            <a:effectLst/>
          </p:spPr>
          <p:txBody>
            <a:bodyPr wrap="none" lIns="45720" rIns="45720"/>
            <a:lstStyle/>
            <a:p>
              <a:endParaRPr lang="de-DE"/>
            </a:p>
          </p:txBody>
        </p:sp>
        <p:sp>
          <p:nvSpPr>
            <p:cNvPr id="41" name="Rectangle 57">
              <a:extLst>
                <a:ext uri="{FF2B5EF4-FFF2-40B4-BE49-F238E27FC236}">
                  <a16:creationId xmlns:a16="http://schemas.microsoft.com/office/drawing/2014/main" id="{8E70F21F-45CE-46E8-9A5E-7E9ACFA64F8B}"/>
                </a:ext>
              </a:extLst>
            </p:cNvPr>
            <p:cNvSpPr>
              <a:spLocks noChangeArrowheads="1"/>
            </p:cNvSpPr>
            <p:nvPr/>
          </p:nvSpPr>
          <p:spPr bwMode="auto">
            <a:xfrm>
              <a:off x="730" y="2547"/>
              <a:ext cx="1133" cy="1133"/>
            </a:xfrm>
            <a:prstGeom prst="rect">
              <a:avLst/>
            </a:prstGeom>
            <a:noFill/>
            <a:ln w="12700">
              <a:solidFill>
                <a:schemeClr val="tx2">
                  <a:lumMod val="60000"/>
                  <a:lumOff val="40000"/>
                </a:schemeClr>
              </a:solidFill>
              <a:prstDash val="solid"/>
              <a:miter lim="800000"/>
              <a:headEnd/>
              <a:tailEnd/>
            </a:ln>
            <a:effectLst/>
          </p:spPr>
          <p:txBody>
            <a:bodyPr wrap="none" lIns="45720" rIns="45720"/>
            <a:lstStyle/>
            <a:p>
              <a:endParaRPr lang="de-DE"/>
            </a:p>
          </p:txBody>
        </p:sp>
        <p:sp>
          <p:nvSpPr>
            <p:cNvPr id="42" name="Rectangle 58">
              <a:extLst>
                <a:ext uri="{FF2B5EF4-FFF2-40B4-BE49-F238E27FC236}">
                  <a16:creationId xmlns:a16="http://schemas.microsoft.com/office/drawing/2014/main" id="{9D569F04-4762-4AC5-B39A-6594B38ED132}"/>
                </a:ext>
              </a:extLst>
            </p:cNvPr>
            <p:cNvSpPr>
              <a:spLocks noChangeArrowheads="1"/>
            </p:cNvSpPr>
            <p:nvPr/>
          </p:nvSpPr>
          <p:spPr bwMode="auto">
            <a:xfrm>
              <a:off x="730" y="1414"/>
              <a:ext cx="1133" cy="1133"/>
            </a:xfrm>
            <a:prstGeom prst="rect">
              <a:avLst/>
            </a:prstGeom>
            <a:noFill/>
            <a:ln w="12700">
              <a:solidFill>
                <a:schemeClr val="tx2">
                  <a:lumMod val="60000"/>
                  <a:lumOff val="40000"/>
                </a:schemeClr>
              </a:solidFill>
              <a:prstDash val="solid"/>
              <a:miter lim="800000"/>
              <a:headEnd/>
              <a:tailEnd/>
            </a:ln>
            <a:effectLst/>
          </p:spPr>
          <p:txBody>
            <a:bodyPr wrap="none" lIns="45720" rIns="45720"/>
            <a:lstStyle/>
            <a:p>
              <a:endParaRPr lang="de-DE"/>
            </a:p>
          </p:txBody>
        </p:sp>
        <p:sp>
          <p:nvSpPr>
            <p:cNvPr id="43" name="Rectangle 59">
              <a:extLst>
                <a:ext uri="{FF2B5EF4-FFF2-40B4-BE49-F238E27FC236}">
                  <a16:creationId xmlns:a16="http://schemas.microsoft.com/office/drawing/2014/main" id="{ECC3BD63-D470-4D1D-9263-28267D6C2606}"/>
                </a:ext>
              </a:extLst>
            </p:cNvPr>
            <p:cNvSpPr>
              <a:spLocks noChangeArrowheads="1"/>
            </p:cNvSpPr>
            <p:nvPr/>
          </p:nvSpPr>
          <p:spPr bwMode="auto">
            <a:xfrm>
              <a:off x="1863" y="1414"/>
              <a:ext cx="1133" cy="1133"/>
            </a:xfrm>
            <a:prstGeom prst="rect">
              <a:avLst/>
            </a:prstGeom>
            <a:noFill/>
            <a:ln w="12700">
              <a:solidFill>
                <a:schemeClr val="tx2">
                  <a:lumMod val="60000"/>
                  <a:lumOff val="40000"/>
                </a:schemeClr>
              </a:solidFill>
              <a:prstDash val="solid"/>
              <a:miter lim="800000"/>
              <a:headEnd/>
              <a:tailEnd/>
            </a:ln>
            <a:effectLst/>
          </p:spPr>
          <p:txBody>
            <a:bodyPr wrap="none" lIns="45720" rIns="45720"/>
            <a:lstStyle/>
            <a:p>
              <a:endParaRPr lang="de-DE"/>
            </a:p>
          </p:txBody>
        </p:sp>
      </p:grpSp>
      <p:sp>
        <p:nvSpPr>
          <p:cNvPr id="44" name="Freeform 60">
            <a:extLst>
              <a:ext uri="{FF2B5EF4-FFF2-40B4-BE49-F238E27FC236}">
                <a16:creationId xmlns:a16="http://schemas.microsoft.com/office/drawing/2014/main" id="{DC19A5C4-E312-4C11-BC18-D08E71F300C2}"/>
              </a:ext>
              <a:ext uri="{C183D7F6-B498-43B3-948B-1728B52AA6E4}">
                <adec:decorative xmlns:adec="http://schemas.microsoft.com/office/drawing/2017/decorative" val="1"/>
              </a:ext>
            </a:extLst>
          </p:cNvPr>
          <p:cNvSpPr>
            <a:spLocks/>
          </p:cNvSpPr>
          <p:nvPr>
            <p:custDataLst>
              <p:tags r:id="rId2"/>
            </p:custDataLst>
          </p:nvPr>
        </p:nvSpPr>
        <p:spPr bwMode="auto">
          <a:xfrm>
            <a:off x="4295131" y="1005160"/>
            <a:ext cx="3885892" cy="3884898"/>
          </a:xfrm>
          <a:custGeom>
            <a:avLst/>
            <a:gdLst/>
            <a:ahLst/>
            <a:cxnLst>
              <a:cxn ang="0">
                <a:pos x="0" y="0"/>
              </a:cxn>
              <a:cxn ang="0">
                <a:pos x="0" y="2268"/>
              </a:cxn>
              <a:cxn ang="0">
                <a:pos x="2268" y="2268"/>
              </a:cxn>
            </a:cxnLst>
            <a:rect l="0" t="0" r="r" b="b"/>
            <a:pathLst>
              <a:path w="2268" h="2268">
                <a:moveTo>
                  <a:pt x="0" y="0"/>
                </a:moveTo>
                <a:lnTo>
                  <a:pt x="0" y="2268"/>
                </a:lnTo>
                <a:lnTo>
                  <a:pt x="2268" y="2268"/>
                </a:lnTo>
              </a:path>
            </a:pathLst>
          </a:custGeom>
          <a:noFill/>
          <a:ln w="12700" cap="flat" cmpd="sng">
            <a:solidFill>
              <a:schemeClr val="tx1"/>
            </a:solidFill>
            <a:prstDash val="solid"/>
            <a:round/>
            <a:headEnd type="triangle" w="med" len="med"/>
            <a:tailEnd type="triangle" w="med" len="med"/>
          </a:ln>
          <a:effectLst/>
        </p:spPr>
        <p:txBody>
          <a:bodyPr wrap="none" lIns="45720" rIns="45720"/>
          <a:lstStyle/>
          <a:p>
            <a:endParaRPr lang="de-DE"/>
          </a:p>
        </p:txBody>
      </p:sp>
      <p:sp>
        <p:nvSpPr>
          <p:cNvPr id="52" name="Text Box 68">
            <a:extLst>
              <a:ext uri="{FF2B5EF4-FFF2-40B4-BE49-F238E27FC236}">
                <a16:creationId xmlns:a16="http://schemas.microsoft.com/office/drawing/2014/main" id="{3B749BB7-947E-40C0-9BA3-134AEFF90CBD}"/>
              </a:ext>
            </a:extLst>
          </p:cNvPr>
          <p:cNvSpPr txBox="1">
            <a:spLocks noChangeArrowheads="1"/>
          </p:cNvSpPr>
          <p:nvPr>
            <p:custDataLst>
              <p:tags r:id="rId3"/>
            </p:custDataLst>
          </p:nvPr>
        </p:nvSpPr>
        <p:spPr bwMode="auto">
          <a:xfrm rot="16200000">
            <a:off x="2263081" y="3009381"/>
            <a:ext cx="3578218" cy="183127"/>
          </a:xfrm>
          <a:prstGeom prst="rect">
            <a:avLst/>
          </a:prstGeom>
          <a:noFill/>
          <a:ln w="3175">
            <a:noFill/>
            <a:miter lim="800000"/>
            <a:headEnd/>
            <a:tailEnd/>
          </a:ln>
          <a:effectLst/>
        </p:spPr>
        <p:txBody>
          <a:bodyPr wrap="square" lIns="0" tIns="0" rIns="0" bIns="0" anchor="b" anchorCtr="0">
            <a:spAutoFit/>
          </a:bodyPr>
          <a:lstStyle/>
          <a:p>
            <a:pPr algn="ctr" eaLnBrk="0" hangingPunct="0">
              <a:lnSpc>
                <a:spcPct val="85000"/>
              </a:lnSpc>
              <a:spcBef>
                <a:spcPct val="0"/>
              </a:spcBef>
            </a:pPr>
            <a:r>
              <a:rPr lang="en-US" sz="1400" b="1" cap="all" dirty="0">
                <a:solidFill>
                  <a:schemeClr val="accent1"/>
                </a:solidFill>
                <a:latin typeface="+mj-lt"/>
              </a:rPr>
              <a:t>Y-Axis</a:t>
            </a:r>
          </a:p>
        </p:txBody>
      </p:sp>
      <p:sp>
        <p:nvSpPr>
          <p:cNvPr id="49" name="Text Box 65">
            <a:extLst>
              <a:ext uri="{FF2B5EF4-FFF2-40B4-BE49-F238E27FC236}">
                <a16:creationId xmlns:a16="http://schemas.microsoft.com/office/drawing/2014/main" id="{EF0A6536-5338-4424-9D3B-302457DE4A08}"/>
              </a:ext>
            </a:extLst>
          </p:cNvPr>
          <p:cNvSpPr txBox="1">
            <a:spLocks noChangeArrowheads="1"/>
          </p:cNvSpPr>
          <p:nvPr>
            <p:custDataLst>
              <p:tags r:id="rId4"/>
            </p:custDataLst>
          </p:nvPr>
        </p:nvSpPr>
        <p:spPr bwMode="auto">
          <a:xfrm>
            <a:off x="3894652" y="4933138"/>
            <a:ext cx="296038" cy="215444"/>
          </a:xfrm>
          <a:prstGeom prst="rect">
            <a:avLst/>
          </a:prstGeom>
          <a:noFill/>
          <a:ln w="3175">
            <a:noFill/>
            <a:miter lim="800000"/>
            <a:headEnd/>
            <a:tailEnd/>
          </a:ln>
          <a:effectLst/>
        </p:spPr>
        <p:txBody>
          <a:bodyPr wrap="square" lIns="0" tIns="0" rIns="0" bIns="0" anchor="t" anchorCtr="0">
            <a:spAutoFit/>
          </a:bodyPr>
          <a:lstStyle/>
          <a:p>
            <a:pPr algn="r" eaLnBrk="0" hangingPunct="0">
              <a:spcBef>
                <a:spcPct val="0"/>
              </a:spcBef>
            </a:pPr>
            <a:r>
              <a:rPr lang="en-US" sz="1400" dirty="0">
                <a:solidFill>
                  <a:schemeClr val="tx2"/>
                </a:solidFill>
              </a:rPr>
              <a:t>0%</a:t>
            </a:r>
          </a:p>
        </p:txBody>
      </p:sp>
      <p:sp>
        <p:nvSpPr>
          <p:cNvPr id="45" name="Text Box 61">
            <a:extLst>
              <a:ext uri="{FF2B5EF4-FFF2-40B4-BE49-F238E27FC236}">
                <a16:creationId xmlns:a16="http://schemas.microsoft.com/office/drawing/2014/main" id="{B6324501-65BC-4134-BBC9-AF04ECC36B85}"/>
              </a:ext>
            </a:extLst>
          </p:cNvPr>
          <p:cNvSpPr txBox="1">
            <a:spLocks noChangeArrowheads="1"/>
          </p:cNvSpPr>
          <p:nvPr>
            <p:custDataLst>
              <p:tags r:id="rId5"/>
            </p:custDataLst>
          </p:nvPr>
        </p:nvSpPr>
        <p:spPr bwMode="auto">
          <a:xfrm>
            <a:off x="7992419" y="2112422"/>
            <a:ext cx="731873" cy="156966"/>
          </a:xfrm>
          <a:prstGeom prst="rect">
            <a:avLst/>
          </a:prstGeom>
          <a:noFill/>
          <a:ln w="3175">
            <a:noFill/>
            <a:miter lim="800000"/>
            <a:headEnd/>
            <a:tailEnd/>
          </a:ln>
          <a:effectLst/>
        </p:spPr>
        <p:txBody>
          <a:bodyPr wrap="square" lIns="0" tIns="0" rIns="0" bIns="0" anchor="ctr">
            <a:spAutoFit/>
          </a:bodyPr>
          <a:lstStyle/>
          <a:p>
            <a:pPr algn="l" eaLnBrk="0" hangingPunct="0">
              <a:lnSpc>
                <a:spcPct val="85000"/>
              </a:lnSpc>
              <a:spcBef>
                <a:spcPct val="0"/>
              </a:spcBef>
            </a:pPr>
            <a:r>
              <a:rPr lang="en-US" sz="1200" cap="all" dirty="0">
                <a:solidFill>
                  <a:schemeClr val="tx2"/>
                </a:solidFill>
                <a:latin typeface="+mj-lt"/>
              </a:rPr>
              <a:t>High</a:t>
            </a:r>
          </a:p>
        </p:txBody>
      </p:sp>
      <p:sp>
        <p:nvSpPr>
          <p:cNvPr id="46" name="Text Box 62">
            <a:extLst>
              <a:ext uri="{FF2B5EF4-FFF2-40B4-BE49-F238E27FC236}">
                <a16:creationId xmlns:a16="http://schemas.microsoft.com/office/drawing/2014/main" id="{67DA1EB2-5FC0-4F15-B9A2-9CC0FC3F1BF4}"/>
              </a:ext>
            </a:extLst>
          </p:cNvPr>
          <p:cNvSpPr txBox="1">
            <a:spLocks noChangeArrowheads="1"/>
          </p:cNvSpPr>
          <p:nvPr>
            <p:custDataLst>
              <p:tags r:id="rId6"/>
            </p:custDataLst>
          </p:nvPr>
        </p:nvSpPr>
        <p:spPr bwMode="auto">
          <a:xfrm>
            <a:off x="7992419" y="3922176"/>
            <a:ext cx="731873" cy="156966"/>
          </a:xfrm>
          <a:prstGeom prst="rect">
            <a:avLst/>
          </a:prstGeom>
          <a:noFill/>
          <a:ln w="3175">
            <a:noFill/>
            <a:miter lim="800000"/>
            <a:headEnd/>
            <a:tailEnd/>
          </a:ln>
          <a:effectLst/>
        </p:spPr>
        <p:txBody>
          <a:bodyPr wrap="square" lIns="0" tIns="0" rIns="0" bIns="0" anchor="ctr">
            <a:spAutoFit/>
          </a:bodyPr>
          <a:lstStyle/>
          <a:p>
            <a:pPr algn="l" eaLnBrk="0" hangingPunct="0">
              <a:lnSpc>
                <a:spcPct val="85000"/>
              </a:lnSpc>
              <a:spcBef>
                <a:spcPct val="0"/>
              </a:spcBef>
            </a:pPr>
            <a:r>
              <a:rPr lang="en-US" sz="1200" cap="all" dirty="0">
                <a:solidFill>
                  <a:schemeClr val="tx2"/>
                </a:solidFill>
                <a:latin typeface="+mj-lt"/>
              </a:rPr>
              <a:t>Low</a:t>
            </a:r>
          </a:p>
        </p:txBody>
      </p:sp>
      <p:sp>
        <p:nvSpPr>
          <p:cNvPr id="50" name="Text Box 66">
            <a:extLst>
              <a:ext uri="{FF2B5EF4-FFF2-40B4-BE49-F238E27FC236}">
                <a16:creationId xmlns:a16="http://schemas.microsoft.com/office/drawing/2014/main" id="{341FBB28-5D4C-4AD7-9658-8788FA5A025E}"/>
              </a:ext>
            </a:extLst>
          </p:cNvPr>
          <p:cNvSpPr txBox="1">
            <a:spLocks noChangeArrowheads="1"/>
          </p:cNvSpPr>
          <p:nvPr>
            <p:custDataLst>
              <p:tags r:id="rId7"/>
            </p:custDataLst>
          </p:nvPr>
        </p:nvSpPr>
        <p:spPr bwMode="auto">
          <a:xfrm>
            <a:off x="7992419" y="4943648"/>
            <a:ext cx="458459" cy="215444"/>
          </a:xfrm>
          <a:prstGeom prst="rect">
            <a:avLst/>
          </a:prstGeom>
          <a:noFill/>
          <a:ln w="3175">
            <a:noFill/>
            <a:miter lim="800000"/>
            <a:headEnd/>
            <a:tailEnd/>
          </a:ln>
          <a:effectLst/>
        </p:spPr>
        <p:txBody>
          <a:bodyPr wrap="square" lIns="0" tIns="0" rIns="0" bIns="0" anchor="t" anchorCtr="0">
            <a:spAutoFit/>
          </a:bodyPr>
          <a:lstStyle/>
          <a:p>
            <a:pPr algn="r" eaLnBrk="0" hangingPunct="0">
              <a:spcBef>
                <a:spcPct val="0"/>
              </a:spcBef>
            </a:pPr>
            <a:r>
              <a:rPr lang="en-US" sz="1400" dirty="0">
                <a:solidFill>
                  <a:schemeClr val="tx2"/>
                </a:solidFill>
              </a:rPr>
              <a:t>100%</a:t>
            </a:r>
          </a:p>
        </p:txBody>
      </p:sp>
      <p:sp>
        <p:nvSpPr>
          <p:cNvPr id="53" name="Text Box 69">
            <a:extLst>
              <a:ext uri="{FF2B5EF4-FFF2-40B4-BE49-F238E27FC236}">
                <a16:creationId xmlns:a16="http://schemas.microsoft.com/office/drawing/2014/main" id="{C3D9BD80-E245-4989-AD9A-46DCDCA24FA1}"/>
              </a:ext>
            </a:extLst>
          </p:cNvPr>
          <p:cNvSpPr txBox="1">
            <a:spLocks noChangeArrowheads="1"/>
          </p:cNvSpPr>
          <p:nvPr>
            <p:custDataLst>
              <p:tags r:id="rId8"/>
            </p:custDataLst>
          </p:nvPr>
        </p:nvSpPr>
        <p:spPr bwMode="auto">
          <a:xfrm>
            <a:off x="4273470" y="5058333"/>
            <a:ext cx="3642184" cy="180000"/>
          </a:xfrm>
          <a:prstGeom prst="rect">
            <a:avLst/>
          </a:prstGeom>
          <a:noFill/>
          <a:ln w="3175">
            <a:noFill/>
            <a:miter lim="800000"/>
            <a:headEnd/>
            <a:tailEnd/>
          </a:ln>
          <a:effectLst/>
        </p:spPr>
        <p:txBody>
          <a:bodyPr wrap="square" lIns="0" tIns="0" rIns="0" bIns="0" anchor="t" anchorCtr="0">
            <a:noAutofit/>
          </a:bodyPr>
          <a:lstStyle/>
          <a:p>
            <a:pPr algn="ctr" eaLnBrk="0" hangingPunct="0">
              <a:lnSpc>
                <a:spcPct val="85000"/>
              </a:lnSpc>
              <a:spcBef>
                <a:spcPct val="0"/>
              </a:spcBef>
            </a:pPr>
            <a:r>
              <a:rPr lang="en-US" sz="1400" b="1" cap="all" dirty="0">
                <a:solidFill>
                  <a:schemeClr val="accent1"/>
                </a:solidFill>
                <a:latin typeface="+mj-lt"/>
              </a:rPr>
              <a:t>X-Axis</a:t>
            </a:r>
          </a:p>
        </p:txBody>
      </p:sp>
      <p:sp>
        <p:nvSpPr>
          <p:cNvPr id="51" name="Text Box 67">
            <a:extLst>
              <a:ext uri="{FF2B5EF4-FFF2-40B4-BE49-F238E27FC236}">
                <a16:creationId xmlns:a16="http://schemas.microsoft.com/office/drawing/2014/main" id="{30125A58-5D94-42F0-8E2F-912703E40FA4}"/>
              </a:ext>
            </a:extLst>
          </p:cNvPr>
          <p:cNvSpPr txBox="1">
            <a:spLocks noChangeArrowheads="1"/>
          </p:cNvSpPr>
          <p:nvPr>
            <p:custDataLst>
              <p:tags r:id="rId9"/>
            </p:custDataLst>
          </p:nvPr>
        </p:nvSpPr>
        <p:spPr bwMode="auto">
          <a:xfrm>
            <a:off x="3404600" y="1176816"/>
            <a:ext cx="722349" cy="215444"/>
          </a:xfrm>
          <a:prstGeom prst="rect">
            <a:avLst/>
          </a:prstGeom>
          <a:noFill/>
          <a:ln w="3175">
            <a:noFill/>
            <a:miter lim="800000"/>
            <a:headEnd/>
            <a:tailEnd/>
          </a:ln>
          <a:effectLst/>
        </p:spPr>
        <p:txBody>
          <a:bodyPr wrap="square" lIns="0" tIns="0" rIns="0" bIns="0" anchor="ctr">
            <a:spAutoFit/>
          </a:bodyPr>
          <a:lstStyle/>
          <a:p>
            <a:pPr algn="r" eaLnBrk="0" hangingPunct="0">
              <a:spcBef>
                <a:spcPct val="0"/>
              </a:spcBef>
            </a:pPr>
            <a:r>
              <a:rPr lang="en-US" sz="1400" dirty="0">
                <a:solidFill>
                  <a:schemeClr val="tx2"/>
                </a:solidFill>
              </a:rPr>
              <a:t>100%</a:t>
            </a:r>
          </a:p>
        </p:txBody>
      </p:sp>
      <p:sp>
        <p:nvSpPr>
          <p:cNvPr id="47" name="Text Box 63">
            <a:extLst>
              <a:ext uri="{FF2B5EF4-FFF2-40B4-BE49-F238E27FC236}">
                <a16:creationId xmlns:a16="http://schemas.microsoft.com/office/drawing/2014/main" id="{C68AEE06-E13B-4750-92CE-D1D994404201}"/>
              </a:ext>
            </a:extLst>
          </p:cNvPr>
          <p:cNvSpPr txBox="1">
            <a:spLocks noChangeArrowheads="1"/>
          </p:cNvSpPr>
          <p:nvPr>
            <p:custDataLst>
              <p:tags r:id="rId10"/>
            </p:custDataLst>
          </p:nvPr>
        </p:nvSpPr>
        <p:spPr bwMode="auto">
          <a:xfrm>
            <a:off x="4926563" y="1033403"/>
            <a:ext cx="536567" cy="193318"/>
          </a:xfrm>
          <a:prstGeom prst="rect">
            <a:avLst/>
          </a:prstGeom>
          <a:noFill/>
          <a:ln w="3175">
            <a:noFill/>
            <a:miter lim="800000"/>
            <a:headEnd/>
            <a:tailEnd/>
          </a:ln>
          <a:effectLst/>
        </p:spPr>
        <p:txBody>
          <a:bodyPr wrap="square" lIns="0" tIns="0" rIns="0" bIns="36000" anchor="ctr">
            <a:spAutoFit/>
          </a:bodyPr>
          <a:lstStyle/>
          <a:p>
            <a:pPr algn="ctr" eaLnBrk="0" hangingPunct="0">
              <a:lnSpc>
                <a:spcPct val="85000"/>
              </a:lnSpc>
              <a:spcBef>
                <a:spcPct val="0"/>
              </a:spcBef>
            </a:pPr>
            <a:r>
              <a:rPr lang="en-US" sz="1200" cap="all" dirty="0">
                <a:solidFill>
                  <a:schemeClr val="tx2"/>
                </a:solidFill>
                <a:latin typeface="+mj-lt"/>
              </a:rPr>
              <a:t>Low</a:t>
            </a:r>
          </a:p>
        </p:txBody>
      </p:sp>
      <p:sp>
        <p:nvSpPr>
          <p:cNvPr id="48" name="Text Box 64">
            <a:extLst>
              <a:ext uri="{FF2B5EF4-FFF2-40B4-BE49-F238E27FC236}">
                <a16:creationId xmlns:a16="http://schemas.microsoft.com/office/drawing/2014/main" id="{9E9A6B87-2AAB-4F3C-9C1D-F094D2F7379E}"/>
              </a:ext>
            </a:extLst>
          </p:cNvPr>
          <p:cNvSpPr txBox="1">
            <a:spLocks noChangeArrowheads="1"/>
          </p:cNvSpPr>
          <p:nvPr>
            <p:custDataLst>
              <p:tags r:id="rId11"/>
            </p:custDataLst>
          </p:nvPr>
        </p:nvSpPr>
        <p:spPr bwMode="auto">
          <a:xfrm>
            <a:off x="6675183" y="1033403"/>
            <a:ext cx="638191" cy="193318"/>
          </a:xfrm>
          <a:prstGeom prst="rect">
            <a:avLst/>
          </a:prstGeom>
          <a:noFill/>
          <a:ln w="3175">
            <a:noFill/>
            <a:miter lim="800000"/>
            <a:headEnd/>
            <a:tailEnd/>
          </a:ln>
          <a:effectLst/>
        </p:spPr>
        <p:txBody>
          <a:bodyPr wrap="square" lIns="0" tIns="0" rIns="0" bIns="36000" anchor="ctr">
            <a:spAutoFit/>
          </a:bodyPr>
          <a:lstStyle/>
          <a:p>
            <a:pPr algn="ctr" eaLnBrk="0" hangingPunct="0">
              <a:lnSpc>
                <a:spcPct val="85000"/>
              </a:lnSpc>
              <a:spcBef>
                <a:spcPct val="0"/>
              </a:spcBef>
            </a:pPr>
            <a:r>
              <a:rPr lang="en-US" sz="1200" cap="all" dirty="0">
                <a:solidFill>
                  <a:schemeClr val="tx2"/>
                </a:solidFill>
                <a:latin typeface="+mj-lt"/>
              </a:rPr>
              <a:t>High</a:t>
            </a:r>
          </a:p>
        </p:txBody>
      </p:sp>
      <p:sp>
        <p:nvSpPr>
          <p:cNvPr id="6" name="Rectangle 3">
            <a:extLst>
              <a:ext uri="{FF2B5EF4-FFF2-40B4-BE49-F238E27FC236}">
                <a16:creationId xmlns:a16="http://schemas.microsoft.com/office/drawing/2014/main" id="{DA9C9CF2-90B4-449A-9F7E-F8217BCE2AA8}"/>
              </a:ext>
            </a:extLst>
          </p:cNvPr>
          <p:cNvSpPr>
            <a:spLocks noChangeArrowheads="1"/>
          </p:cNvSpPr>
          <p:nvPr/>
        </p:nvSpPr>
        <p:spPr bwMode="auto">
          <a:xfrm>
            <a:off x="381000" y="5290950"/>
            <a:ext cx="4780560" cy="987551"/>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538163" marR="0" lvl="0" indent="-538163" algn="l" defTabSz="914400" rtl="0" eaLnBrk="1" fontAlgn="auto" latinLnBrk="0" hangingPunct="1">
              <a:lnSpc>
                <a:spcPct val="100000"/>
              </a:lnSpc>
              <a:spcBef>
                <a:spcPct val="0"/>
              </a:spcBef>
              <a:spcAft>
                <a:spcPts val="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19063" marR="0" lvl="0" indent="-119063" algn="l" defTabSz="914400" rtl="0" eaLnBrk="1" fontAlgn="auto" latinLnBrk="0" hangingPunct="1">
              <a:lnSpc>
                <a:spcPct val="100000"/>
              </a:lnSpc>
              <a:spcBef>
                <a:spcPct val="0"/>
              </a:spcBef>
              <a:spcAft>
                <a:spcPts val="0"/>
              </a:spcAft>
              <a:buClr>
                <a:srgbClr val="000000"/>
              </a:buClr>
              <a:buSzPct val="100000"/>
              <a:buFont typeface="+mj-lt"/>
              <a:buAutoNum type="arabicPeriod"/>
              <a:tabLst/>
              <a:defRPr/>
            </a:pPr>
            <a:r>
              <a:rPr kumimoji="0" lang="en-US" sz="1000" b="0" i="0" u="none" strike="noStrike" kern="1200" cap="none" spc="0" normalizeH="0" baseline="0" noProof="0" dirty="0">
                <a:ln>
                  <a:noFill/>
                </a:ln>
                <a:solidFill>
                  <a:srgbClr val="000000"/>
                </a:solidFill>
                <a:effectLst/>
                <a:uLnTx/>
                <a:uFillTx/>
                <a:ea typeface="+mn-ea"/>
                <a:cs typeface="+mn-cs"/>
              </a:rPr>
              <a:t>Insert the values for the coordinates x and y</a:t>
            </a:r>
          </a:p>
          <a:p>
            <a:pPr marL="119063" marR="0" lvl="0" indent="-119063" algn="l" defTabSz="914400" rtl="0" eaLnBrk="1" fontAlgn="auto" latinLnBrk="0" hangingPunct="1">
              <a:lnSpc>
                <a:spcPct val="100000"/>
              </a:lnSpc>
              <a:spcBef>
                <a:spcPct val="0"/>
              </a:spcBef>
              <a:spcAft>
                <a:spcPts val="0"/>
              </a:spcAft>
              <a:buClr>
                <a:srgbClr val="000000"/>
              </a:buClr>
              <a:buSzPct val="100000"/>
              <a:buFont typeface="+mj-lt"/>
              <a:buAutoNum type="arabicPeriod"/>
              <a:tabLst/>
              <a:defRPr/>
            </a:pPr>
            <a:r>
              <a:rPr kumimoji="0" lang="en-US" sz="1000" b="0" i="0" u="none" strike="noStrike" kern="1200" cap="none" spc="0" normalizeH="0" baseline="0" noProof="0" dirty="0">
                <a:ln>
                  <a:noFill/>
                </a:ln>
                <a:solidFill>
                  <a:srgbClr val="000000"/>
                </a:solidFill>
                <a:effectLst/>
                <a:uLnTx/>
                <a:uFillTx/>
                <a:ea typeface="+mn-ea"/>
                <a:cs typeface="+mn-cs"/>
              </a:rPr>
              <a:t>The x- and y-axis are hidden. To get the right scaling, make them visible</a:t>
            </a:r>
          </a:p>
          <a:p>
            <a:pPr marL="119063" marR="0" lvl="0" indent="-119063" algn="l" defTabSz="914400" rtl="0" eaLnBrk="1" fontAlgn="auto" latinLnBrk="0" hangingPunct="1">
              <a:lnSpc>
                <a:spcPct val="100000"/>
              </a:lnSpc>
              <a:spcBef>
                <a:spcPct val="0"/>
              </a:spcBef>
              <a:spcAft>
                <a:spcPts val="0"/>
              </a:spcAft>
              <a:buClr>
                <a:srgbClr val="000000"/>
              </a:buClr>
              <a:buSzPct val="100000"/>
              <a:buFont typeface="+mj-lt"/>
              <a:buAutoNum type="arabicPeriod"/>
              <a:tabLst/>
              <a:defRPr/>
            </a:pPr>
            <a:r>
              <a:rPr kumimoji="0" lang="en-US" sz="1000" b="0" i="0" u="none" strike="noStrike" kern="1200" cap="none" spc="0" normalizeH="0" baseline="0" noProof="0" dirty="0">
                <a:ln>
                  <a:noFill/>
                </a:ln>
                <a:solidFill>
                  <a:srgbClr val="000000"/>
                </a:solidFill>
                <a:effectLst/>
                <a:uLnTx/>
                <a:uFillTx/>
                <a:ea typeface="+mn-ea"/>
                <a:cs typeface="+mn-cs"/>
              </a:rPr>
              <a:t>The axis and legend is drawn in PowerPoint. Resize and rescale them if necessary</a:t>
            </a:r>
          </a:p>
        </p:txBody>
      </p:sp>
      <p:graphicFrame>
        <p:nvGraphicFramePr>
          <p:cNvPr id="54" name="Object 4">
            <a:extLst>
              <a:ext uri="{FF2B5EF4-FFF2-40B4-BE49-F238E27FC236}">
                <a16:creationId xmlns:a16="http://schemas.microsoft.com/office/drawing/2014/main" id="{FB7F491E-D471-47A4-8FC9-08C8E7A2452F}"/>
              </a:ext>
              <a:ext uri="{C183D7F6-B498-43B3-948B-1728B52AA6E4}">
                <adec:decorative xmlns:adec="http://schemas.microsoft.com/office/drawing/2017/decorative" val="1"/>
              </a:ext>
            </a:extLst>
          </p:cNvPr>
          <p:cNvGraphicFramePr>
            <a:graphicFrameLocks noChangeAspect="1"/>
          </p:cNvGraphicFramePr>
          <p:nvPr>
            <p:custDataLst>
              <p:tags r:id="rId12"/>
            </p:custDataLst>
            <p:extLst>
              <p:ext uri="{D42A27DB-BD31-4B8C-83A1-F6EECF244321}">
                <p14:modId xmlns:p14="http://schemas.microsoft.com/office/powerpoint/2010/main" val="3098819532"/>
              </p:ext>
            </p:extLst>
          </p:nvPr>
        </p:nvGraphicFramePr>
        <p:xfrm>
          <a:off x="3404600" y="1143558"/>
          <a:ext cx="4883150" cy="4275137"/>
        </p:xfrm>
        <a:graphic>
          <a:graphicData uri="http://schemas.openxmlformats.org/drawingml/2006/chart">
            <c:chart xmlns:c="http://schemas.openxmlformats.org/drawingml/2006/chart" xmlns:r="http://schemas.openxmlformats.org/officeDocument/2006/relationships" r:id="rId15"/>
          </a:graphicData>
        </a:graphic>
      </p:graphicFrame>
      <p:sp>
        <p:nvSpPr>
          <p:cNvPr id="3" name="Footer Placeholder 2">
            <a:extLst>
              <a:ext uri="{FF2B5EF4-FFF2-40B4-BE49-F238E27FC236}">
                <a16:creationId xmlns:a16="http://schemas.microsoft.com/office/drawing/2014/main" id="{F27FC4C1-6177-44CF-A1C4-576221D3809E}"/>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7" name="Slide Number Placeholder 6">
            <a:extLst>
              <a:ext uri="{FF2B5EF4-FFF2-40B4-BE49-F238E27FC236}">
                <a16:creationId xmlns:a16="http://schemas.microsoft.com/office/drawing/2014/main" id="{2DCF6A2C-5CE9-4F6E-97E8-A7A2EA9C4E8F}"/>
              </a:ext>
            </a:extLst>
          </p:cNvPr>
          <p:cNvSpPr>
            <a:spLocks noGrp="1"/>
          </p:cNvSpPr>
          <p:nvPr>
            <p:ph type="sldNum" sz="quarter" idx="10"/>
          </p:nvPr>
        </p:nvSpPr>
        <p:spPr/>
        <p:txBody>
          <a:bodyPr/>
          <a:lstStyle/>
          <a:p>
            <a:fld id="{1F90F471-3972-4120-B8B3-0237DE626C35}" type="slidenum">
              <a:rPr lang="en-US" smtClean="0"/>
              <a:pPr/>
              <a:t>111</a:t>
            </a:fld>
            <a:endParaRPr lang="en-US" dirty="0"/>
          </a:p>
        </p:txBody>
      </p:sp>
    </p:spTree>
    <p:extLst>
      <p:ext uri="{BB962C8B-B14F-4D97-AF65-F5344CB8AC3E}">
        <p14:creationId xmlns:p14="http://schemas.microsoft.com/office/powerpoint/2010/main" val="416988227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556EE-6908-41C2-85C3-0AD308BB87FD}"/>
              </a:ext>
            </a:extLst>
          </p:cNvPr>
          <p:cNvSpPr>
            <a:spLocks noGrp="1"/>
          </p:cNvSpPr>
          <p:nvPr>
            <p:ph type="title"/>
          </p:nvPr>
        </p:nvSpPr>
        <p:spPr/>
        <p:txBody>
          <a:bodyPr/>
          <a:lstStyle/>
          <a:p>
            <a:r>
              <a:rPr lang="en-US" dirty="0"/>
              <a:t>Portfolio in Three Dimensions</a:t>
            </a:r>
          </a:p>
        </p:txBody>
      </p:sp>
      <p:grpSp>
        <p:nvGrpSpPr>
          <p:cNvPr id="22" name="Group 55" descr="Three Dimensions Quadrant">
            <a:extLst>
              <a:ext uri="{FF2B5EF4-FFF2-40B4-BE49-F238E27FC236}">
                <a16:creationId xmlns:a16="http://schemas.microsoft.com/office/drawing/2014/main" id="{6CDF3A52-BF6D-473D-9375-CD12EAF14529}"/>
              </a:ext>
              <a:ext uri="{C183D7F6-B498-43B3-948B-1728B52AA6E4}">
                <adec:decorative xmlns:adec="http://schemas.microsoft.com/office/drawing/2017/decorative" val="0"/>
              </a:ext>
            </a:extLst>
          </p:cNvPr>
          <p:cNvGrpSpPr>
            <a:grpSpLocks/>
          </p:cNvGrpSpPr>
          <p:nvPr>
            <p:custDataLst>
              <p:tags r:id="rId1"/>
            </p:custDataLst>
          </p:nvPr>
        </p:nvGrpSpPr>
        <p:grpSpPr bwMode="auto">
          <a:xfrm>
            <a:off x="4295131" y="1292832"/>
            <a:ext cx="3598862" cy="3598862"/>
            <a:chOff x="730" y="1414"/>
            <a:chExt cx="2266" cy="2266"/>
          </a:xfrm>
        </p:grpSpPr>
        <p:sp>
          <p:nvSpPr>
            <p:cNvPr id="23" name="Rectangle 56">
              <a:extLst>
                <a:ext uri="{FF2B5EF4-FFF2-40B4-BE49-F238E27FC236}">
                  <a16:creationId xmlns:a16="http://schemas.microsoft.com/office/drawing/2014/main" id="{1C44465B-7AA9-43A0-BC6D-C065122E04E6}"/>
                </a:ext>
              </a:extLst>
            </p:cNvPr>
            <p:cNvSpPr>
              <a:spLocks noChangeArrowheads="1"/>
            </p:cNvSpPr>
            <p:nvPr/>
          </p:nvSpPr>
          <p:spPr bwMode="auto">
            <a:xfrm>
              <a:off x="1863" y="2547"/>
              <a:ext cx="1133" cy="1133"/>
            </a:xfrm>
            <a:prstGeom prst="rect">
              <a:avLst/>
            </a:prstGeom>
            <a:noFill/>
            <a:ln w="12700">
              <a:solidFill>
                <a:schemeClr val="tx2">
                  <a:lumMod val="60000"/>
                  <a:lumOff val="40000"/>
                </a:schemeClr>
              </a:solidFill>
              <a:prstDash val="solid"/>
              <a:miter lim="800000"/>
              <a:headEnd/>
              <a:tailEnd/>
            </a:ln>
            <a:effectLst/>
          </p:spPr>
          <p:txBody>
            <a:bodyPr wrap="none" lIns="45720" rIns="45720"/>
            <a:lstStyle/>
            <a:p>
              <a:endParaRPr lang="de-DE"/>
            </a:p>
          </p:txBody>
        </p:sp>
        <p:sp>
          <p:nvSpPr>
            <p:cNvPr id="24" name="Rectangle 57">
              <a:extLst>
                <a:ext uri="{FF2B5EF4-FFF2-40B4-BE49-F238E27FC236}">
                  <a16:creationId xmlns:a16="http://schemas.microsoft.com/office/drawing/2014/main" id="{CC7CD410-E13D-46D9-A40C-7940330EA0D5}"/>
                </a:ext>
              </a:extLst>
            </p:cNvPr>
            <p:cNvSpPr>
              <a:spLocks noChangeArrowheads="1"/>
            </p:cNvSpPr>
            <p:nvPr/>
          </p:nvSpPr>
          <p:spPr bwMode="auto">
            <a:xfrm>
              <a:off x="730" y="2547"/>
              <a:ext cx="1133" cy="1133"/>
            </a:xfrm>
            <a:prstGeom prst="rect">
              <a:avLst/>
            </a:prstGeom>
            <a:noFill/>
            <a:ln w="12700">
              <a:solidFill>
                <a:schemeClr val="tx2">
                  <a:lumMod val="60000"/>
                  <a:lumOff val="40000"/>
                </a:schemeClr>
              </a:solidFill>
              <a:prstDash val="solid"/>
              <a:miter lim="800000"/>
              <a:headEnd/>
              <a:tailEnd/>
            </a:ln>
            <a:effectLst/>
          </p:spPr>
          <p:txBody>
            <a:bodyPr wrap="none" lIns="45720" rIns="45720"/>
            <a:lstStyle/>
            <a:p>
              <a:endParaRPr lang="de-DE"/>
            </a:p>
          </p:txBody>
        </p:sp>
        <p:sp>
          <p:nvSpPr>
            <p:cNvPr id="25" name="Rectangle 58">
              <a:extLst>
                <a:ext uri="{FF2B5EF4-FFF2-40B4-BE49-F238E27FC236}">
                  <a16:creationId xmlns:a16="http://schemas.microsoft.com/office/drawing/2014/main" id="{286C4C7B-63ED-4149-B235-60CA28EBFAF1}"/>
                </a:ext>
              </a:extLst>
            </p:cNvPr>
            <p:cNvSpPr>
              <a:spLocks noChangeArrowheads="1"/>
            </p:cNvSpPr>
            <p:nvPr/>
          </p:nvSpPr>
          <p:spPr bwMode="auto">
            <a:xfrm>
              <a:off x="730" y="1414"/>
              <a:ext cx="1133" cy="1133"/>
            </a:xfrm>
            <a:prstGeom prst="rect">
              <a:avLst/>
            </a:prstGeom>
            <a:noFill/>
            <a:ln w="12700">
              <a:solidFill>
                <a:schemeClr val="tx2">
                  <a:lumMod val="60000"/>
                  <a:lumOff val="40000"/>
                </a:schemeClr>
              </a:solidFill>
              <a:prstDash val="solid"/>
              <a:miter lim="800000"/>
              <a:headEnd/>
              <a:tailEnd/>
            </a:ln>
            <a:effectLst/>
          </p:spPr>
          <p:txBody>
            <a:bodyPr wrap="none" lIns="45720" rIns="45720"/>
            <a:lstStyle/>
            <a:p>
              <a:endParaRPr lang="de-DE"/>
            </a:p>
          </p:txBody>
        </p:sp>
        <p:sp>
          <p:nvSpPr>
            <p:cNvPr id="26" name="Rectangle 59">
              <a:extLst>
                <a:ext uri="{FF2B5EF4-FFF2-40B4-BE49-F238E27FC236}">
                  <a16:creationId xmlns:a16="http://schemas.microsoft.com/office/drawing/2014/main" id="{8420E496-A962-49D2-BEB0-88C03B24D648}"/>
                </a:ext>
              </a:extLst>
            </p:cNvPr>
            <p:cNvSpPr>
              <a:spLocks noChangeArrowheads="1"/>
            </p:cNvSpPr>
            <p:nvPr/>
          </p:nvSpPr>
          <p:spPr bwMode="auto">
            <a:xfrm>
              <a:off x="1863" y="1414"/>
              <a:ext cx="1133" cy="1133"/>
            </a:xfrm>
            <a:prstGeom prst="rect">
              <a:avLst/>
            </a:prstGeom>
            <a:noFill/>
            <a:ln w="12700">
              <a:solidFill>
                <a:schemeClr val="tx2">
                  <a:lumMod val="60000"/>
                  <a:lumOff val="40000"/>
                </a:schemeClr>
              </a:solidFill>
              <a:prstDash val="solid"/>
              <a:miter lim="800000"/>
              <a:headEnd/>
              <a:tailEnd/>
            </a:ln>
            <a:effectLst/>
          </p:spPr>
          <p:txBody>
            <a:bodyPr wrap="none" lIns="45720" rIns="45720"/>
            <a:lstStyle/>
            <a:p>
              <a:endParaRPr lang="de-DE"/>
            </a:p>
          </p:txBody>
        </p:sp>
      </p:grpSp>
      <p:sp>
        <p:nvSpPr>
          <p:cNvPr id="27" name="Freeform 60">
            <a:extLst>
              <a:ext uri="{FF2B5EF4-FFF2-40B4-BE49-F238E27FC236}">
                <a16:creationId xmlns:a16="http://schemas.microsoft.com/office/drawing/2014/main" id="{FCFCD241-0687-49EB-8EE3-A40CC5CE7BF2}"/>
              </a:ext>
              <a:ext uri="{C183D7F6-B498-43B3-948B-1728B52AA6E4}">
                <adec:decorative xmlns:adec="http://schemas.microsoft.com/office/drawing/2017/decorative" val="1"/>
              </a:ext>
            </a:extLst>
          </p:cNvPr>
          <p:cNvSpPr>
            <a:spLocks/>
          </p:cNvSpPr>
          <p:nvPr>
            <p:custDataLst>
              <p:tags r:id="rId2"/>
            </p:custDataLst>
          </p:nvPr>
        </p:nvSpPr>
        <p:spPr bwMode="auto">
          <a:xfrm>
            <a:off x="4295131" y="1006798"/>
            <a:ext cx="3885892" cy="3884898"/>
          </a:xfrm>
          <a:custGeom>
            <a:avLst/>
            <a:gdLst/>
            <a:ahLst/>
            <a:cxnLst>
              <a:cxn ang="0">
                <a:pos x="0" y="0"/>
              </a:cxn>
              <a:cxn ang="0">
                <a:pos x="0" y="2268"/>
              </a:cxn>
              <a:cxn ang="0">
                <a:pos x="2268" y="2268"/>
              </a:cxn>
            </a:cxnLst>
            <a:rect l="0" t="0" r="r" b="b"/>
            <a:pathLst>
              <a:path w="2268" h="2268">
                <a:moveTo>
                  <a:pt x="0" y="0"/>
                </a:moveTo>
                <a:lnTo>
                  <a:pt x="0" y="2268"/>
                </a:lnTo>
                <a:lnTo>
                  <a:pt x="2268" y="2268"/>
                </a:lnTo>
              </a:path>
            </a:pathLst>
          </a:custGeom>
          <a:noFill/>
          <a:ln w="12700" cap="flat" cmpd="sng">
            <a:solidFill>
              <a:schemeClr val="tx1"/>
            </a:solidFill>
            <a:prstDash val="solid"/>
            <a:round/>
            <a:headEnd type="triangle" w="med" len="med"/>
            <a:tailEnd type="triangle" w="med" len="med"/>
          </a:ln>
          <a:effectLst/>
        </p:spPr>
        <p:txBody>
          <a:bodyPr wrap="none" lIns="45720" rIns="45720"/>
          <a:lstStyle/>
          <a:p>
            <a:endParaRPr lang="de-DE"/>
          </a:p>
        </p:txBody>
      </p:sp>
      <p:sp>
        <p:nvSpPr>
          <p:cNvPr id="35" name="Text Box 68">
            <a:extLst>
              <a:ext uri="{FF2B5EF4-FFF2-40B4-BE49-F238E27FC236}">
                <a16:creationId xmlns:a16="http://schemas.microsoft.com/office/drawing/2014/main" id="{AFF39B11-F9F1-416B-8438-B193882209AD}"/>
              </a:ext>
            </a:extLst>
          </p:cNvPr>
          <p:cNvSpPr txBox="1">
            <a:spLocks noChangeArrowheads="1"/>
          </p:cNvSpPr>
          <p:nvPr>
            <p:custDataLst>
              <p:tags r:id="rId3"/>
            </p:custDataLst>
          </p:nvPr>
        </p:nvSpPr>
        <p:spPr bwMode="auto">
          <a:xfrm rot="16200000">
            <a:off x="2263081" y="3011019"/>
            <a:ext cx="3578218" cy="183127"/>
          </a:xfrm>
          <a:prstGeom prst="rect">
            <a:avLst/>
          </a:prstGeom>
          <a:noFill/>
          <a:ln w="3175">
            <a:noFill/>
            <a:miter lim="800000"/>
            <a:headEnd/>
            <a:tailEnd/>
          </a:ln>
          <a:effectLst/>
        </p:spPr>
        <p:txBody>
          <a:bodyPr wrap="square" lIns="0" tIns="0" rIns="0" bIns="0" anchor="b" anchorCtr="0">
            <a:spAutoFit/>
          </a:bodyPr>
          <a:lstStyle/>
          <a:p>
            <a:pPr algn="ctr" eaLnBrk="0" hangingPunct="0">
              <a:lnSpc>
                <a:spcPct val="85000"/>
              </a:lnSpc>
              <a:spcBef>
                <a:spcPct val="0"/>
              </a:spcBef>
            </a:pPr>
            <a:r>
              <a:rPr lang="en-US" sz="1400" b="1" cap="all" dirty="0">
                <a:solidFill>
                  <a:schemeClr val="accent1"/>
                </a:solidFill>
                <a:latin typeface="+mj-lt"/>
              </a:rPr>
              <a:t>Y-Axis</a:t>
            </a:r>
          </a:p>
        </p:txBody>
      </p:sp>
      <p:sp>
        <p:nvSpPr>
          <p:cNvPr id="32" name="Text Box 65">
            <a:extLst>
              <a:ext uri="{FF2B5EF4-FFF2-40B4-BE49-F238E27FC236}">
                <a16:creationId xmlns:a16="http://schemas.microsoft.com/office/drawing/2014/main" id="{77D23463-667F-42D6-B0C0-9349265B1200}"/>
              </a:ext>
            </a:extLst>
          </p:cNvPr>
          <p:cNvSpPr txBox="1">
            <a:spLocks noChangeArrowheads="1"/>
          </p:cNvSpPr>
          <p:nvPr>
            <p:custDataLst>
              <p:tags r:id="rId4"/>
            </p:custDataLst>
          </p:nvPr>
        </p:nvSpPr>
        <p:spPr bwMode="auto">
          <a:xfrm>
            <a:off x="3894652" y="4934776"/>
            <a:ext cx="296038" cy="215444"/>
          </a:xfrm>
          <a:prstGeom prst="rect">
            <a:avLst/>
          </a:prstGeom>
          <a:noFill/>
          <a:ln w="3175">
            <a:noFill/>
            <a:miter lim="800000"/>
            <a:headEnd/>
            <a:tailEnd/>
          </a:ln>
          <a:effectLst/>
        </p:spPr>
        <p:txBody>
          <a:bodyPr wrap="square" lIns="0" tIns="0" rIns="0" bIns="0" anchor="t" anchorCtr="0">
            <a:spAutoFit/>
          </a:bodyPr>
          <a:lstStyle/>
          <a:p>
            <a:pPr algn="r" eaLnBrk="0" hangingPunct="0">
              <a:spcBef>
                <a:spcPct val="0"/>
              </a:spcBef>
            </a:pPr>
            <a:r>
              <a:rPr lang="en-US" sz="1400" dirty="0">
                <a:solidFill>
                  <a:schemeClr val="tx2"/>
                </a:solidFill>
              </a:rPr>
              <a:t>0%</a:t>
            </a:r>
          </a:p>
        </p:txBody>
      </p:sp>
      <p:sp>
        <p:nvSpPr>
          <p:cNvPr id="28" name="Text Box 61">
            <a:extLst>
              <a:ext uri="{FF2B5EF4-FFF2-40B4-BE49-F238E27FC236}">
                <a16:creationId xmlns:a16="http://schemas.microsoft.com/office/drawing/2014/main" id="{307C7BD8-93CE-4F86-8446-A0DE055B9A3E}"/>
              </a:ext>
            </a:extLst>
          </p:cNvPr>
          <p:cNvSpPr txBox="1">
            <a:spLocks noChangeArrowheads="1"/>
          </p:cNvSpPr>
          <p:nvPr>
            <p:custDataLst>
              <p:tags r:id="rId5"/>
            </p:custDataLst>
          </p:nvPr>
        </p:nvSpPr>
        <p:spPr bwMode="auto">
          <a:xfrm>
            <a:off x="7992419" y="2114060"/>
            <a:ext cx="731873" cy="156966"/>
          </a:xfrm>
          <a:prstGeom prst="rect">
            <a:avLst/>
          </a:prstGeom>
          <a:noFill/>
          <a:ln w="3175">
            <a:noFill/>
            <a:miter lim="800000"/>
            <a:headEnd/>
            <a:tailEnd/>
          </a:ln>
          <a:effectLst/>
        </p:spPr>
        <p:txBody>
          <a:bodyPr wrap="square" lIns="0" tIns="0" rIns="0" bIns="0" anchor="ctr">
            <a:spAutoFit/>
          </a:bodyPr>
          <a:lstStyle/>
          <a:p>
            <a:pPr algn="l" eaLnBrk="0" hangingPunct="0">
              <a:lnSpc>
                <a:spcPct val="85000"/>
              </a:lnSpc>
              <a:spcBef>
                <a:spcPct val="0"/>
              </a:spcBef>
            </a:pPr>
            <a:r>
              <a:rPr lang="en-US" sz="1200" cap="all" dirty="0">
                <a:solidFill>
                  <a:schemeClr val="tx2"/>
                </a:solidFill>
                <a:latin typeface="+mj-lt"/>
              </a:rPr>
              <a:t>High</a:t>
            </a:r>
          </a:p>
        </p:txBody>
      </p:sp>
      <p:sp>
        <p:nvSpPr>
          <p:cNvPr id="29" name="Text Box 62">
            <a:extLst>
              <a:ext uri="{FF2B5EF4-FFF2-40B4-BE49-F238E27FC236}">
                <a16:creationId xmlns:a16="http://schemas.microsoft.com/office/drawing/2014/main" id="{1B1C797B-C246-4B81-8C11-F8C9D4845668}"/>
              </a:ext>
            </a:extLst>
          </p:cNvPr>
          <p:cNvSpPr txBox="1">
            <a:spLocks noChangeArrowheads="1"/>
          </p:cNvSpPr>
          <p:nvPr>
            <p:custDataLst>
              <p:tags r:id="rId6"/>
            </p:custDataLst>
          </p:nvPr>
        </p:nvSpPr>
        <p:spPr bwMode="auto">
          <a:xfrm>
            <a:off x="7992419" y="3923814"/>
            <a:ext cx="731873" cy="156966"/>
          </a:xfrm>
          <a:prstGeom prst="rect">
            <a:avLst/>
          </a:prstGeom>
          <a:noFill/>
          <a:ln w="3175">
            <a:noFill/>
            <a:miter lim="800000"/>
            <a:headEnd/>
            <a:tailEnd/>
          </a:ln>
          <a:effectLst/>
        </p:spPr>
        <p:txBody>
          <a:bodyPr wrap="square" lIns="0" tIns="0" rIns="0" bIns="0" anchor="ctr">
            <a:spAutoFit/>
          </a:bodyPr>
          <a:lstStyle/>
          <a:p>
            <a:pPr algn="l" eaLnBrk="0" hangingPunct="0">
              <a:lnSpc>
                <a:spcPct val="85000"/>
              </a:lnSpc>
              <a:spcBef>
                <a:spcPct val="0"/>
              </a:spcBef>
            </a:pPr>
            <a:r>
              <a:rPr lang="en-US" sz="1200" cap="all" dirty="0">
                <a:solidFill>
                  <a:schemeClr val="tx2"/>
                </a:solidFill>
                <a:latin typeface="+mj-lt"/>
              </a:rPr>
              <a:t>Low</a:t>
            </a:r>
          </a:p>
        </p:txBody>
      </p:sp>
      <p:sp>
        <p:nvSpPr>
          <p:cNvPr id="34" name="Text Box 67">
            <a:extLst>
              <a:ext uri="{FF2B5EF4-FFF2-40B4-BE49-F238E27FC236}">
                <a16:creationId xmlns:a16="http://schemas.microsoft.com/office/drawing/2014/main" id="{2B182817-7CF0-4D11-8913-813D35F90153}"/>
              </a:ext>
            </a:extLst>
          </p:cNvPr>
          <p:cNvSpPr txBox="1">
            <a:spLocks noChangeArrowheads="1"/>
          </p:cNvSpPr>
          <p:nvPr>
            <p:custDataLst>
              <p:tags r:id="rId7"/>
            </p:custDataLst>
          </p:nvPr>
        </p:nvSpPr>
        <p:spPr bwMode="auto">
          <a:xfrm>
            <a:off x="3404600" y="1178454"/>
            <a:ext cx="722349" cy="215444"/>
          </a:xfrm>
          <a:prstGeom prst="rect">
            <a:avLst/>
          </a:prstGeom>
          <a:noFill/>
          <a:ln w="3175">
            <a:noFill/>
            <a:miter lim="800000"/>
            <a:headEnd/>
            <a:tailEnd/>
          </a:ln>
          <a:effectLst/>
        </p:spPr>
        <p:txBody>
          <a:bodyPr wrap="square" lIns="0" tIns="0" rIns="0" bIns="0" anchor="ctr">
            <a:spAutoFit/>
          </a:bodyPr>
          <a:lstStyle/>
          <a:p>
            <a:pPr algn="r" eaLnBrk="0" hangingPunct="0">
              <a:spcBef>
                <a:spcPct val="0"/>
              </a:spcBef>
            </a:pPr>
            <a:r>
              <a:rPr lang="en-US" sz="1400" dirty="0">
                <a:solidFill>
                  <a:schemeClr val="tx2"/>
                </a:solidFill>
              </a:rPr>
              <a:t>100%</a:t>
            </a:r>
          </a:p>
        </p:txBody>
      </p:sp>
      <p:sp>
        <p:nvSpPr>
          <p:cNvPr id="36" name="Text Box 69">
            <a:extLst>
              <a:ext uri="{FF2B5EF4-FFF2-40B4-BE49-F238E27FC236}">
                <a16:creationId xmlns:a16="http://schemas.microsoft.com/office/drawing/2014/main" id="{737946D6-EB9E-4997-8C23-2EACA226F67D}"/>
              </a:ext>
            </a:extLst>
          </p:cNvPr>
          <p:cNvSpPr txBox="1">
            <a:spLocks noChangeArrowheads="1"/>
          </p:cNvSpPr>
          <p:nvPr>
            <p:custDataLst>
              <p:tags r:id="rId8"/>
            </p:custDataLst>
          </p:nvPr>
        </p:nvSpPr>
        <p:spPr bwMode="auto">
          <a:xfrm>
            <a:off x="4273470" y="5059971"/>
            <a:ext cx="3642184" cy="180000"/>
          </a:xfrm>
          <a:prstGeom prst="rect">
            <a:avLst/>
          </a:prstGeom>
          <a:noFill/>
          <a:ln w="3175">
            <a:noFill/>
            <a:miter lim="800000"/>
            <a:headEnd/>
            <a:tailEnd/>
          </a:ln>
          <a:effectLst/>
        </p:spPr>
        <p:txBody>
          <a:bodyPr wrap="square" lIns="0" tIns="0" rIns="0" bIns="0" anchor="t" anchorCtr="0">
            <a:noAutofit/>
          </a:bodyPr>
          <a:lstStyle/>
          <a:p>
            <a:pPr algn="ctr" eaLnBrk="0" hangingPunct="0">
              <a:lnSpc>
                <a:spcPct val="85000"/>
              </a:lnSpc>
              <a:spcBef>
                <a:spcPct val="0"/>
              </a:spcBef>
            </a:pPr>
            <a:r>
              <a:rPr lang="en-US" sz="1400" b="1" cap="all" dirty="0">
                <a:solidFill>
                  <a:schemeClr val="accent1"/>
                </a:solidFill>
                <a:latin typeface="+mj-lt"/>
              </a:rPr>
              <a:t>X-Axis</a:t>
            </a:r>
          </a:p>
        </p:txBody>
      </p:sp>
      <p:sp>
        <p:nvSpPr>
          <p:cNvPr id="31" name="Text Box 64">
            <a:extLst>
              <a:ext uri="{FF2B5EF4-FFF2-40B4-BE49-F238E27FC236}">
                <a16:creationId xmlns:a16="http://schemas.microsoft.com/office/drawing/2014/main" id="{A8E44371-E270-4714-8D95-B146635221A0}"/>
              </a:ext>
            </a:extLst>
          </p:cNvPr>
          <p:cNvSpPr txBox="1">
            <a:spLocks noChangeArrowheads="1"/>
          </p:cNvSpPr>
          <p:nvPr>
            <p:custDataLst>
              <p:tags r:id="rId9"/>
            </p:custDataLst>
          </p:nvPr>
        </p:nvSpPr>
        <p:spPr bwMode="auto">
          <a:xfrm>
            <a:off x="6675183" y="1035041"/>
            <a:ext cx="638191" cy="193318"/>
          </a:xfrm>
          <a:prstGeom prst="rect">
            <a:avLst/>
          </a:prstGeom>
          <a:noFill/>
          <a:ln w="3175">
            <a:noFill/>
            <a:miter lim="800000"/>
            <a:headEnd/>
            <a:tailEnd/>
          </a:ln>
          <a:effectLst/>
        </p:spPr>
        <p:txBody>
          <a:bodyPr wrap="square" lIns="0" tIns="0" rIns="0" bIns="36000" anchor="ctr">
            <a:spAutoFit/>
          </a:bodyPr>
          <a:lstStyle/>
          <a:p>
            <a:pPr algn="ctr" eaLnBrk="0" hangingPunct="0">
              <a:lnSpc>
                <a:spcPct val="85000"/>
              </a:lnSpc>
              <a:spcBef>
                <a:spcPct val="0"/>
              </a:spcBef>
            </a:pPr>
            <a:r>
              <a:rPr lang="en-US" sz="1200" cap="all" dirty="0">
                <a:solidFill>
                  <a:schemeClr val="tx2"/>
                </a:solidFill>
                <a:latin typeface="+mj-lt"/>
              </a:rPr>
              <a:t>High</a:t>
            </a:r>
          </a:p>
        </p:txBody>
      </p:sp>
      <p:sp>
        <p:nvSpPr>
          <p:cNvPr id="30" name="Text Box 63">
            <a:extLst>
              <a:ext uri="{FF2B5EF4-FFF2-40B4-BE49-F238E27FC236}">
                <a16:creationId xmlns:a16="http://schemas.microsoft.com/office/drawing/2014/main" id="{3C3AEFC0-5E5D-472E-9CE4-966C1D1D9FD2}"/>
              </a:ext>
            </a:extLst>
          </p:cNvPr>
          <p:cNvSpPr txBox="1">
            <a:spLocks noChangeArrowheads="1"/>
          </p:cNvSpPr>
          <p:nvPr>
            <p:custDataLst>
              <p:tags r:id="rId10"/>
            </p:custDataLst>
          </p:nvPr>
        </p:nvSpPr>
        <p:spPr bwMode="auto">
          <a:xfrm>
            <a:off x="4926563" y="1035041"/>
            <a:ext cx="536567" cy="193318"/>
          </a:xfrm>
          <a:prstGeom prst="rect">
            <a:avLst/>
          </a:prstGeom>
          <a:noFill/>
          <a:ln w="3175">
            <a:noFill/>
            <a:miter lim="800000"/>
            <a:headEnd/>
            <a:tailEnd/>
          </a:ln>
          <a:effectLst/>
        </p:spPr>
        <p:txBody>
          <a:bodyPr wrap="square" lIns="0" tIns="0" rIns="0" bIns="36000" anchor="ctr">
            <a:spAutoFit/>
          </a:bodyPr>
          <a:lstStyle/>
          <a:p>
            <a:pPr algn="ctr" eaLnBrk="0" hangingPunct="0">
              <a:lnSpc>
                <a:spcPct val="85000"/>
              </a:lnSpc>
              <a:spcBef>
                <a:spcPct val="0"/>
              </a:spcBef>
            </a:pPr>
            <a:r>
              <a:rPr lang="en-US" sz="1200" cap="all" dirty="0">
                <a:solidFill>
                  <a:schemeClr val="tx2"/>
                </a:solidFill>
                <a:latin typeface="+mj-lt"/>
              </a:rPr>
              <a:t>Low</a:t>
            </a:r>
          </a:p>
        </p:txBody>
      </p:sp>
      <p:sp>
        <p:nvSpPr>
          <p:cNvPr id="33" name="Text Box 66">
            <a:extLst>
              <a:ext uri="{FF2B5EF4-FFF2-40B4-BE49-F238E27FC236}">
                <a16:creationId xmlns:a16="http://schemas.microsoft.com/office/drawing/2014/main" id="{71E462CB-E792-4092-9D3D-BBA5E2A58272}"/>
              </a:ext>
            </a:extLst>
          </p:cNvPr>
          <p:cNvSpPr txBox="1">
            <a:spLocks noChangeArrowheads="1"/>
          </p:cNvSpPr>
          <p:nvPr>
            <p:custDataLst>
              <p:tags r:id="rId11"/>
            </p:custDataLst>
          </p:nvPr>
        </p:nvSpPr>
        <p:spPr bwMode="auto">
          <a:xfrm>
            <a:off x="7992419" y="4945286"/>
            <a:ext cx="458459" cy="215444"/>
          </a:xfrm>
          <a:prstGeom prst="rect">
            <a:avLst/>
          </a:prstGeom>
          <a:noFill/>
          <a:ln w="3175">
            <a:noFill/>
            <a:miter lim="800000"/>
            <a:headEnd/>
            <a:tailEnd/>
          </a:ln>
          <a:effectLst/>
        </p:spPr>
        <p:txBody>
          <a:bodyPr wrap="square" lIns="0" tIns="0" rIns="0" bIns="0" anchor="t" anchorCtr="0">
            <a:spAutoFit/>
          </a:bodyPr>
          <a:lstStyle/>
          <a:p>
            <a:pPr algn="r" eaLnBrk="0" hangingPunct="0">
              <a:spcBef>
                <a:spcPct val="0"/>
              </a:spcBef>
            </a:pPr>
            <a:r>
              <a:rPr lang="en-US" sz="1400" dirty="0">
                <a:solidFill>
                  <a:schemeClr val="tx2"/>
                </a:solidFill>
              </a:rPr>
              <a:t>100%</a:t>
            </a:r>
          </a:p>
        </p:txBody>
      </p:sp>
      <p:graphicFrame>
        <p:nvGraphicFramePr>
          <p:cNvPr id="37" name="Object 3">
            <a:extLst>
              <a:ext uri="{FF2B5EF4-FFF2-40B4-BE49-F238E27FC236}">
                <a16:creationId xmlns:a16="http://schemas.microsoft.com/office/drawing/2014/main" id="{5F6E998D-DE0D-48F4-BD7D-053A8E086388}"/>
              </a:ext>
              <a:ext uri="{C183D7F6-B498-43B3-948B-1728B52AA6E4}">
                <adec:decorative xmlns:adec="http://schemas.microsoft.com/office/drawing/2017/decorative" val="1"/>
              </a:ext>
            </a:extLst>
          </p:cNvPr>
          <p:cNvGraphicFramePr>
            <a:graphicFrameLocks/>
          </p:cNvGraphicFramePr>
          <p:nvPr>
            <p:custDataLst>
              <p:tags r:id="rId12"/>
            </p:custDataLst>
            <p:extLst>
              <p:ext uri="{D42A27DB-BD31-4B8C-83A1-F6EECF244321}">
                <p14:modId xmlns:p14="http://schemas.microsoft.com/office/powerpoint/2010/main" val="4289979157"/>
              </p:ext>
            </p:extLst>
          </p:nvPr>
        </p:nvGraphicFramePr>
        <p:xfrm>
          <a:off x="3740150" y="1131700"/>
          <a:ext cx="6632575" cy="4445000"/>
        </p:xfrm>
        <a:graphic>
          <a:graphicData uri="http://schemas.openxmlformats.org/drawingml/2006/chart">
            <c:chart xmlns:c="http://schemas.openxmlformats.org/drawingml/2006/chart" xmlns:r="http://schemas.openxmlformats.org/officeDocument/2006/relationships" r:id="rId15"/>
          </a:graphicData>
        </a:graphic>
      </p:graphicFrame>
      <p:sp>
        <p:nvSpPr>
          <p:cNvPr id="6" name="Rectangle 3">
            <a:extLst>
              <a:ext uri="{FF2B5EF4-FFF2-40B4-BE49-F238E27FC236}">
                <a16:creationId xmlns:a16="http://schemas.microsoft.com/office/drawing/2014/main" id="{DA9C9CF2-90B4-449A-9F7E-F8217BCE2AA8}"/>
              </a:ext>
            </a:extLst>
          </p:cNvPr>
          <p:cNvSpPr>
            <a:spLocks noChangeArrowheads="1"/>
          </p:cNvSpPr>
          <p:nvPr/>
        </p:nvSpPr>
        <p:spPr bwMode="auto">
          <a:xfrm>
            <a:off x="381000" y="5290950"/>
            <a:ext cx="4780560" cy="987551"/>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538163" marR="0" lvl="0" indent="-538163" algn="l" defTabSz="914400" rtl="0" eaLnBrk="1" fontAlgn="auto" latinLnBrk="0" hangingPunct="1">
              <a:lnSpc>
                <a:spcPct val="100000"/>
              </a:lnSpc>
              <a:spcBef>
                <a:spcPct val="0"/>
              </a:spcBef>
              <a:spcAft>
                <a:spcPts val="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19063" marR="0" lvl="0" indent="-119063" algn="l" defTabSz="914400" rtl="0" eaLnBrk="1" fontAlgn="auto" latinLnBrk="0" hangingPunct="1">
              <a:lnSpc>
                <a:spcPct val="100000"/>
              </a:lnSpc>
              <a:spcBef>
                <a:spcPct val="0"/>
              </a:spcBef>
              <a:spcAft>
                <a:spcPts val="0"/>
              </a:spcAft>
              <a:buClr>
                <a:srgbClr val="000000"/>
              </a:buClr>
              <a:buSzPct val="100000"/>
              <a:buFont typeface="+mj-lt"/>
              <a:buAutoNum type="arabicPeriod"/>
              <a:tabLst/>
              <a:defRPr/>
            </a:pPr>
            <a:r>
              <a:rPr kumimoji="0" lang="en-US" sz="1000" b="0" i="0" u="none" strike="noStrike" kern="1200" cap="none" spc="0" normalizeH="0" baseline="0" noProof="0" dirty="0">
                <a:ln>
                  <a:noFill/>
                </a:ln>
                <a:solidFill>
                  <a:srgbClr val="000000"/>
                </a:solidFill>
                <a:effectLst/>
                <a:uLnTx/>
                <a:uFillTx/>
                <a:ea typeface="+mn-ea"/>
                <a:cs typeface="+mn-cs"/>
              </a:rPr>
              <a:t>Insert the values for the coordinates x and y</a:t>
            </a:r>
          </a:p>
          <a:p>
            <a:pPr marL="119063" marR="0" lvl="0" indent="-119063" algn="l" defTabSz="914400" rtl="0" eaLnBrk="1" fontAlgn="auto" latinLnBrk="0" hangingPunct="1">
              <a:lnSpc>
                <a:spcPct val="100000"/>
              </a:lnSpc>
              <a:spcBef>
                <a:spcPct val="0"/>
              </a:spcBef>
              <a:spcAft>
                <a:spcPts val="0"/>
              </a:spcAft>
              <a:buClr>
                <a:srgbClr val="000000"/>
              </a:buClr>
              <a:buSzPct val="100000"/>
              <a:buFont typeface="+mj-lt"/>
              <a:buAutoNum type="arabicPeriod"/>
              <a:tabLst/>
              <a:defRPr/>
            </a:pPr>
            <a:r>
              <a:rPr kumimoji="0" lang="en-US" sz="1000" b="0" i="0" u="none" strike="noStrike" kern="1200" cap="none" spc="0" normalizeH="0" baseline="0" noProof="0" dirty="0">
                <a:ln>
                  <a:noFill/>
                </a:ln>
                <a:solidFill>
                  <a:srgbClr val="000000"/>
                </a:solidFill>
                <a:effectLst/>
                <a:uLnTx/>
                <a:uFillTx/>
                <a:ea typeface="+mn-ea"/>
                <a:cs typeface="+mn-cs"/>
              </a:rPr>
              <a:t>Insert the size of the bubbles in the row “size“</a:t>
            </a:r>
          </a:p>
          <a:p>
            <a:pPr marL="119063" marR="0" lvl="0" indent="-119063" algn="l" defTabSz="914400" rtl="0" eaLnBrk="1" fontAlgn="auto" latinLnBrk="0" hangingPunct="1">
              <a:lnSpc>
                <a:spcPct val="100000"/>
              </a:lnSpc>
              <a:spcBef>
                <a:spcPct val="0"/>
              </a:spcBef>
              <a:spcAft>
                <a:spcPts val="0"/>
              </a:spcAft>
              <a:buClr>
                <a:srgbClr val="000000"/>
              </a:buClr>
              <a:buSzPct val="100000"/>
              <a:buFont typeface="+mj-lt"/>
              <a:buAutoNum type="arabicPeriod"/>
              <a:tabLst/>
              <a:defRPr/>
            </a:pPr>
            <a:r>
              <a:rPr kumimoji="0" lang="en-US" sz="1000" b="0" i="0" u="none" strike="noStrike" kern="1200" cap="none" spc="0" normalizeH="0" baseline="0" noProof="0" dirty="0">
                <a:ln>
                  <a:noFill/>
                </a:ln>
                <a:solidFill>
                  <a:srgbClr val="000000"/>
                </a:solidFill>
                <a:effectLst/>
                <a:uLnTx/>
                <a:uFillTx/>
                <a:ea typeface="+mn-ea"/>
                <a:cs typeface="+mn-cs"/>
              </a:rPr>
              <a:t>The axis and legend is drawn in PowerPoint. Resize and rescale them if necessary</a:t>
            </a:r>
          </a:p>
        </p:txBody>
      </p:sp>
      <p:sp>
        <p:nvSpPr>
          <p:cNvPr id="5" name="Footer Placeholder 4">
            <a:extLst>
              <a:ext uri="{FF2B5EF4-FFF2-40B4-BE49-F238E27FC236}">
                <a16:creationId xmlns:a16="http://schemas.microsoft.com/office/drawing/2014/main" id="{92B00541-BCAC-4668-974C-1ECCE0E6C0E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7" name="Slide Number Placeholder 6">
            <a:extLst>
              <a:ext uri="{FF2B5EF4-FFF2-40B4-BE49-F238E27FC236}">
                <a16:creationId xmlns:a16="http://schemas.microsoft.com/office/drawing/2014/main" id="{1582B074-36CB-4E2A-8D71-9C653AE5CF8D}"/>
              </a:ext>
            </a:extLst>
          </p:cNvPr>
          <p:cNvSpPr>
            <a:spLocks noGrp="1"/>
          </p:cNvSpPr>
          <p:nvPr>
            <p:ph type="sldNum" sz="quarter" idx="10"/>
          </p:nvPr>
        </p:nvSpPr>
        <p:spPr/>
        <p:txBody>
          <a:bodyPr/>
          <a:lstStyle/>
          <a:p>
            <a:fld id="{1F90F471-3972-4120-B8B3-0237DE626C35}" type="slidenum">
              <a:rPr lang="en-US" smtClean="0"/>
              <a:pPr/>
              <a:t>112</a:t>
            </a:fld>
            <a:endParaRPr lang="en-US" dirty="0"/>
          </a:p>
        </p:txBody>
      </p:sp>
    </p:spTree>
    <p:extLst>
      <p:ext uri="{BB962C8B-B14F-4D97-AF65-F5344CB8AC3E}">
        <p14:creationId xmlns:p14="http://schemas.microsoft.com/office/powerpoint/2010/main" val="182491954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6EC6A1-391E-4CB0-986C-5046E35B312E}"/>
              </a:ext>
            </a:extLst>
          </p:cNvPr>
          <p:cNvSpPr>
            <a:spLocks noGrp="1"/>
          </p:cNvSpPr>
          <p:nvPr>
            <p:ph type="title"/>
          </p:nvPr>
        </p:nvSpPr>
        <p:spPr/>
        <p:txBody>
          <a:bodyPr/>
          <a:lstStyle/>
          <a:p>
            <a:r>
              <a:rPr lang="en-US" dirty="0"/>
              <a:t>Hints for Drawing Charts</a:t>
            </a:r>
          </a:p>
        </p:txBody>
      </p:sp>
      <p:sp>
        <p:nvSpPr>
          <p:cNvPr id="3" name="Content Placeholder 2">
            <a:extLst>
              <a:ext uri="{FF2B5EF4-FFF2-40B4-BE49-F238E27FC236}">
                <a16:creationId xmlns:a16="http://schemas.microsoft.com/office/drawing/2014/main" id="{C4F0353B-AA11-4C4F-B89E-968163A13173}"/>
              </a:ext>
            </a:extLst>
          </p:cNvPr>
          <p:cNvSpPr>
            <a:spLocks noGrp="1"/>
          </p:cNvSpPr>
          <p:nvPr>
            <p:ph sz="quarter" idx="4294967295"/>
          </p:nvPr>
        </p:nvSpPr>
        <p:spPr>
          <a:xfrm>
            <a:off x="384048" y="1371600"/>
            <a:ext cx="5451475" cy="4940300"/>
          </a:xfrm>
        </p:spPr>
        <p:txBody>
          <a:bodyPr/>
          <a:lstStyle/>
          <a:p>
            <a:pPr marL="0" indent="0">
              <a:buNone/>
            </a:pPr>
            <a:r>
              <a:rPr lang="en-GB" sz="1400" b="1" dirty="0">
                <a:solidFill>
                  <a:schemeClr val="accent1"/>
                </a:solidFill>
              </a:rPr>
              <a:t>Editing charts</a:t>
            </a:r>
          </a:p>
          <a:p>
            <a:r>
              <a:rPr lang="en-GB" sz="1400" dirty="0"/>
              <a:t>To edit data only: Select the chart and right click – select ‘Edit data’.</a:t>
            </a:r>
          </a:p>
          <a:p>
            <a:r>
              <a:rPr lang="en-GB" sz="1400" dirty="0"/>
              <a:t>Alternatively select the chart by clicking on it. On the top bar, go the tab named ‘Layout’ (only visible when the chart is selected) and select what you want to edit.</a:t>
            </a:r>
            <a:br>
              <a:rPr lang="en-GB" sz="1400" dirty="0"/>
            </a:br>
            <a:endParaRPr lang="en-GB" sz="1400" dirty="0"/>
          </a:p>
          <a:p>
            <a:pPr marL="0" indent="0">
              <a:buNone/>
            </a:pPr>
            <a:r>
              <a:rPr lang="en-GB" sz="1400" b="1" dirty="0">
                <a:solidFill>
                  <a:schemeClr val="accent1"/>
                </a:solidFill>
              </a:rPr>
              <a:t>Adding graphic elements or text to a chart</a:t>
            </a:r>
          </a:p>
          <a:p>
            <a:pPr marL="228600" lvl="1" indent="0">
              <a:buNone/>
            </a:pPr>
            <a:r>
              <a:rPr lang="en-GB" sz="1400" dirty="0"/>
              <a:t>There are two ways to add graphical elements:</a:t>
            </a:r>
          </a:p>
          <a:p>
            <a:pPr lvl="1"/>
            <a:r>
              <a:rPr lang="en-GB" sz="1400" dirty="0"/>
              <a:t>Double-click on the chart to work in the chart module, click on the draw icon in the top menu bar and start drawing.</a:t>
            </a:r>
          </a:p>
          <a:p>
            <a:pPr lvl="1"/>
            <a:r>
              <a:rPr lang="en-GB" sz="1400" dirty="0"/>
              <a:t>Draw or write the text in PowerPoint an place it over </a:t>
            </a:r>
            <a:br>
              <a:rPr lang="en-GB" sz="1400" dirty="0"/>
            </a:br>
            <a:r>
              <a:rPr lang="en-GB" sz="1400" dirty="0"/>
              <a:t>the chart module.</a:t>
            </a:r>
          </a:p>
          <a:p>
            <a:r>
              <a:rPr lang="en-GB" sz="1400" dirty="0"/>
              <a:t>Be careful if you are using the chart module to draw. Occasionally all graphic elements move a bit if you </a:t>
            </a:r>
            <a:br>
              <a:rPr lang="en-GB" sz="1400" dirty="0"/>
            </a:br>
            <a:r>
              <a:rPr lang="en-GB" sz="1400" dirty="0"/>
              <a:t>leave the module.</a:t>
            </a:r>
          </a:p>
        </p:txBody>
      </p:sp>
      <p:sp>
        <p:nvSpPr>
          <p:cNvPr id="5" name="Content Placeholder 2">
            <a:extLst>
              <a:ext uri="{FF2B5EF4-FFF2-40B4-BE49-F238E27FC236}">
                <a16:creationId xmlns:a16="http://schemas.microsoft.com/office/drawing/2014/main" id="{58FAAD00-B7D4-4519-9C5B-0246311BE8CF}"/>
              </a:ext>
            </a:extLst>
          </p:cNvPr>
          <p:cNvSpPr txBox="1">
            <a:spLocks/>
          </p:cNvSpPr>
          <p:nvPr/>
        </p:nvSpPr>
        <p:spPr>
          <a:xfrm>
            <a:off x="6359371" y="1371601"/>
            <a:ext cx="5451628" cy="4940300"/>
          </a:xfrm>
          <a:prstGeom prst="rect">
            <a:avLst/>
          </a:prstGeom>
        </p:spPr>
        <p:txBody>
          <a:bodyPr vert="horz" lIns="0" tIns="0" rIns="0" bIns="0" rtlCol="0">
            <a:noAutofit/>
          </a:bodyPr>
          <a:lst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marR="0" lvl="0" algn="l" defTabSz="228600" rtl="0" eaLnBrk="1" fontAlgn="auto" latinLnBrk="0" hangingPunct="1">
              <a:lnSpc>
                <a:spcPct val="100000"/>
              </a:lnSpc>
              <a:spcBef>
                <a:spcPts val="0"/>
              </a:spcBef>
              <a:spcAft>
                <a:spcPts val="1200"/>
              </a:spcAft>
              <a:buClrTx/>
              <a:buSzTx/>
              <a:tabLst/>
              <a:defRPr/>
            </a:pPr>
            <a:r>
              <a:rPr kumimoji="0" lang="en-GB" sz="1400" b="1" i="0" u="none" strike="noStrike" kern="1200" cap="none" spc="0" normalizeH="0" baseline="0" noProof="0" dirty="0">
                <a:ln>
                  <a:noFill/>
                </a:ln>
                <a:solidFill>
                  <a:srgbClr val="A100FF"/>
                </a:solidFill>
                <a:effectLst/>
                <a:uLnTx/>
                <a:uFillTx/>
                <a:latin typeface="Arial"/>
                <a:ea typeface="+mn-ea"/>
                <a:cs typeface="+mn-cs"/>
              </a:rPr>
              <a:t>Resizing</a:t>
            </a:r>
          </a:p>
          <a:p>
            <a:pPr marL="228600" marR="0" lvl="1" indent="-22860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Before you resize the chart, make sure that you double-clicked on it and a wider </a:t>
            </a:r>
            <a:r>
              <a:rPr kumimoji="0" lang="en-GB" sz="1400" b="0" i="0" u="none" strike="noStrike" kern="1200" cap="none" spc="0" normalizeH="0" baseline="0" noProof="0" dirty="0" err="1">
                <a:ln>
                  <a:noFill/>
                </a:ln>
                <a:solidFill>
                  <a:srgbClr val="000000"/>
                </a:solidFill>
                <a:effectLst/>
                <a:uLnTx/>
                <a:uFillTx/>
                <a:latin typeface="Arial"/>
                <a:ea typeface="+mn-ea"/>
                <a:cs typeface="+mn-cs"/>
              </a:rPr>
              <a:t>gray</a:t>
            </a:r>
            <a:r>
              <a:rPr kumimoji="0" lang="en-GB" sz="1400" b="0" i="0" u="none" strike="noStrike" kern="1200" cap="none" spc="0" normalizeH="0" baseline="0" noProof="0" dirty="0">
                <a:ln>
                  <a:noFill/>
                </a:ln>
                <a:solidFill>
                  <a:srgbClr val="000000"/>
                </a:solidFill>
                <a:effectLst/>
                <a:uLnTx/>
                <a:uFillTx/>
                <a:latin typeface="Arial"/>
                <a:ea typeface="+mn-ea"/>
                <a:cs typeface="+mn-cs"/>
              </a:rPr>
              <a:t> line surrounds the chart, otherwise all letters and graphic elements will bend if you resize the chart.</a:t>
            </a:r>
          </a:p>
          <a:p>
            <a:pPr marL="228600" marR="0" lvl="1" indent="-22860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Take care that the text is still readable after resizing.</a:t>
            </a:r>
            <a:br>
              <a:rPr kumimoji="0" lang="en-GB" sz="1400" b="0" i="0" u="none" strike="noStrike" kern="1200" cap="none" spc="0" normalizeH="0" baseline="0" noProof="0" dirty="0">
                <a:ln>
                  <a:noFill/>
                </a:ln>
                <a:solidFill>
                  <a:srgbClr val="000000"/>
                </a:solidFill>
                <a:effectLst/>
                <a:uLnTx/>
                <a:uFillTx/>
                <a:latin typeface="Arial"/>
                <a:ea typeface="+mn-ea"/>
                <a:cs typeface="+mn-cs"/>
              </a:rPr>
            </a:b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228600"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A100FF"/>
                </a:solidFill>
                <a:effectLst/>
                <a:uLnTx/>
                <a:uFillTx/>
                <a:latin typeface="Arial"/>
                <a:ea typeface="+mn-ea"/>
                <a:cs typeface="+mn-cs"/>
              </a:rPr>
              <a:t>Discontinuous axis marks</a:t>
            </a:r>
          </a:p>
          <a:p>
            <a:pPr marL="228600" marR="0" lvl="1" indent="-22860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To create a discontinuous axis in a chart, copy one </a:t>
            </a:r>
            <a:br>
              <a:rPr kumimoji="0" lang="en-GB" sz="1400" b="0" i="0" u="none" strike="noStrike" kern="1200" cap="none" spc="0" normalizeH="0" baseline="0" noProof="0" dirty="0">
                <a:ln>
                  <a:noFill/>
                </a:ln>
                <a:solidFill>
                  <a:srgbClr val="000000"/>
                </a:solidFill>
                <a:effectLst/>
                <a:uLnTx/>
                <a:uFillTx/>
                <a:latin typeface="Arial"/>
                <a:ea typeface="+mn-ea"/>
                <a:cs typeface="+mn-cs"/>
              </a:rPr>
            </a:br>
            <a:r>
              <a:rPr kumimoji="0" lang="en-GB" sz="1400" b="0" i="0" u="none" strike="noStrike" kern="1200" cap="none" spc="0" normalizeH="0" baseline="0" noProof="0" dirty="0">
                <a:ln>
                  <a:noFill/>
                </a:ln>
                <a:solidFill>
                  <a:srgbClr val="000000"/>
                </a:solidFill>
                <a:effectLst/>
                <a:uLnTx/>
                <a:uFillTx/>
                <a:latin typeface="Arial"/>
                <a:ea typeface="+mn-ea"/>
                <a:cs typeface="+mn-cs"/>
              </a:rPr>
              <a:t>of the marks on the right and place it over the chart axis </a:t>
            </a:r>
            <a:br>
              <a:rPr kumimoji="0" lang="en-GB" sz="1400" b="0" i="0" u="none" strike="noStrike" kern="1200" cap="none" spc="0" normalizeH="0" baseline="0" noProof="0" dirty="0">
                <a:ln>
                  <a:noFill/>
                </a:ln>
                <a:solidFill>
                  <a:srgbClr val="000000"/>
                </a:solidFill>
                <a:effectLst/>
                <a:uLnTx/>
                <a:uFillTx/>
                <a:latin typeface="Arial"/>
                <a:ea typeface="+mn-ea"/>
                <a:cs typeface="+mn-cs"/>
              </a:rPr>
            </a:br>
            <a:r>
              <a:rPr kumimoji="0" lang="en-GB" sz="1400" b="0" i="0" u="none" strike="noStrike" kern="1200" cap="none" spc="0" normalizeH="0" baseline="0" noProof="0" dirty="0">
                <a:ln>
                  <a:noFill/>
                </a:ln>
                <a:solidFill>
                  <a:srgbClr val="000000"/>
                </a:solidFill>
                <a:effectLst/>
                <a:uLnTx/>
                <a:uFillTx/>
                <a:latin typeface="Arial"/>
                <a:ea typeface="+mn-ea"/>
                <a:cs typeface="+mn-cs"/>
              </a:rPr>
              <a:t>(in PowerPoint, not in the Chart Module).</a:t>
            </a:r>
          </a:p>
          <a:p>
            <a:pPr marL="228600" marR="0" lvl="1" indent="-22860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Both marks consist of several grouped elements therefore take care that those elements are still grouped before you </a:t>
            </a:r>
            <a:br>
              <a:rPr kumimoji="0" lang="en-GB" sz="1400" b="0" i="0" u="none" strike="noStrike" kern="1200" cap="none" spc="0" normalizeH="0" baseline="0" noProof="0" dirty="0">
                <a:ln>
                  <a:noFill/>
                </a:ln>
                <a:solidFill>
                  <a:srgbClr val="000000"/>
                </a:solidFill>
                <a:effectLst/>
                <a:uLnTx/>
                <a:uFillTx/>
                <a:latin typeface="Arial"/>
                <a:ea typeface="+mn-ea"/>
                <a:cs typeface="+mn-cs"/>
              </a:rPr>
            </a:br>
            <a:r>
              <a:rPr kumimoji="0" lang="en-GB" sz="1400" b="0" i="0" u="none" strike="noStrike" kern="1200" cap="none" spc="0" normalizeH="0" baseline="0" noProof="0" dirty="0">
                <a:ln>
                  <a:noFill/>
                </a:ln>
                <a:solidFill>
                  <a:srgbClr val="000000"/>
                </a:solidFill>
                <a:effectLst/>
                <a:uLnTx/>
                <a:uFillTx/>
                <a:latin typeface="Arial"/>
                <a:ea typeface="+mn-ea"/>
                <a:cs typeface="+mn-cs"/>
              </a:rPr>
              <a:t>resize them.</a:t>
            </a:r>
          </a:p>
        </p:txBody>
      </p:sp>
      <p:sp>
        <p:nvSpPr>
          <p:cNvPr id="4" name="Freeform: Shape 3" descr="Add text and order accordingly">
            <a:hlinkClick r:id="rId3" action="ppaction://hlinksldjump"/>
            <a:extLst>
              <a:ext uri="{FF2B5EF4-FFF2-40B4-BE49-F238E27FC236}">
                <a16:creationId xmlns:a16="http://schemas.microsoft.com/office/drawing/2014/main" id="{10464352-89AE-4E76-B5FC-9CDBC557ACCB}"/>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Footer Placeholder 5">
            <a:extLst>
              <a:ext uri="{FF2B5EF4-FFF2-40B4-BE49-F238E27FC236}">
                <a16:creationId xmlns:a16="http://schemas.microsoft.com/office/drawing/2014/main" id="{12929B35-3287-498F-95EA-0FD7942C3D1B}"/>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7" name="Slide Number Placeholder 6">
            <a:extLst>
              <a:ext uri="{FF2B5EF4-FFF2-40B4-BE49-F238E27FC236}">
                <a16:creationId xmlns:a16="http://schemas.microsoft.com/office/drawing/2014/main" id="{E0C9A517-2D75-4668-B799-FB59C3B3DD3C}"/>
              </a:ext>
            </a:extLst>
          </p:cNvPr>
          <p:cNvSpPr>
            <a:spLocks noGrp="1"/>
          </p:cNvSpPr>
          <p:nvPr>
            <p:ph type="sldNum" sz="quarter" idx="10"/>
          </p:nvPr>
        </p:nvSpPr>
        <p:spPr/>
        <p:txBody>
          <a:bodyPr/>
          <a:lstStyle/>
          <a:p>
            <a:fld id="{1F90F471-3972-4120-B8B3-0237DE626C35}" type="slidenum">
              <a:rPr lang="en-US" smtClean="0"/>
              <a:pPr/>
              <a:t>113</a:t>
            </a:fld>
            <a:endParaRPr lang="en-US" dirty="0"/>
          </a:p>
        </p:txBody>
      </p:sp>
    </p:spTree>
    <p:extLst>
      <p:ext uri="{BB962C8B-B14F-4D97-AF65-F5344CB8AC3E}">
        <p14:creationId xmlns:p14="http://schemas.microsoft.com/office/powerpoint/2010/main" val="226175551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4E5B9E6-D552-48C5-824D-E60A4F821B04}"/>
              </a:ext>
            </a:extLst>
          </p:cNvPr>
          <p:cNvSpPr>
            <a:spLocks noGrp="1"/>
          </p:cNvSpPr>
          <p:nvPr>
            <p:ph type="title"/>
          </p:nvPr>
        </p:nvSpPr>
        <p:spPr/>
        <p:txBody>
          <a:bodyPr/>
          <a:lstStyle/>
          <a:p>
            <a:r>
              <a:rPr lang="en-US" dirty="0"/>
              <a:t>Dynamic Concepts</a:t>
            </a:r>
          </a:p>
        </p:txBody>
      </p:sp>
      <p:sp>
        <p:nvSpPr>
          <p:cNvPr id="2" name="Text Placeholder 1">
            <a:extLst>
              <a:ext uri="{FF2B5EF4-FFF2-40B4-BE49-F238E27FC236}">
                <a16:creationId xmlns:a16="http://schemas.microsoft.com/office/drawing/2014/main" id="{14A22E63-A672-45C2-BA93-140939E871CE}"/>
              </a:ext>
            </a:extLst>
          </p:cNvPr>
          <p:cNvSpPr>
            <a:spLocks noGrp="1"/>
          </p:cNvSpPr>
          <p:nvPr>
            <p:ph type="body" sz="quarter" idx="16"/>
          </p:nvPr>
        </p:nvSpPr>
        <p:spPr>
          <a:xfrm>
            <a:off x="1143000" y="4610099"/>
            <a:ext cx="9144000" cy="1474215"/>
          </a:xfrm>
        </p:spPr>
        <p:txBody>
          <a:bodyPr numCol="2"/>
          <a:lstStyle/>
          <a:p>
            <a:r>
              <a:rPr lang="en-US" dirty="0">
                <a:hlinkClick r:id="rId2" action="ppaction://hlinksldjump">
                  <a:extLst>
                    <a:ext uri="{A12FA001-AC4F-418D-AE19-62706E023703}">
                      <ahyp:hlinkClr xmlns:ahyp="http://schemas.microsoft.com/office/drawing/2018/hyperlinkcolor" val="tx"/>
                    </a:ext>
                  </a:extLst>
                </a:hlinkClick>
              </a:rPr>
              <a:t>Balance/Imbalance</a:t>
            </a:r>
            <a:endParaRPr lang="en-US" dirty="0"/>
          </a:p>
          <a:p>
            <a:r>
              <a:rPr lang="en-US" dirty="0">
                <a:hlinkClick r:id="rId3" action="ppaction://hlinksldjump">
                  <a:extLst>
                    <a:ext uri="{A12FA001-AC4F-418D-AE19-62706E023703}">
                      <ahyp:hlinkClr xmlns:ahyp="http://schemas.microsoft.com/office/drawing/2018/hyperlinkcolor" val="tx"/>
                    </a:ext>
                  </a:extLst>
                </a:hlinkClick>
              </a:rPr>
              <a:t>Interaction/Feedback</a:t>
            </a:r>
            <a:endParaRPr lang="en-US" dirty="0"/>
          </a:p>
          <a:p>
            <a:r>
              <a:rPr lang="en-US" dirty="0">
                <a:hlinkClick r:id="rId4" action="ppaction://hlinksldjump">
                  <a:extLst>
                    <a:ext uri="{A12FA001-AC4F-418D-AE19-62706E023703}">
                      <ahyp:hlinkClr xmlns:ahyp="http://schemas.microsoft.com/office/drawing/2018/hyperlinkcolor" val="tx"/>
                    </a:ext>
                  </a:extLst>
                </a:hlinkClick>
              </a:rPr>
              <a:t>Separation/Synthesis Causes</a:t>
            </a:r>
            <a:endParaRPr lang="en-US" dirty="0"/>
          </a:p>
          <a:p>
            <a:r>
              <a:rPr lang="en-US" dirty="0">
                <a:hlinkClick r:id="rId5" action="ppaction://hlinksldjump">
                  <a:extLst>
                    <a:ext uri="{A12FA001-AC4F-418D-AE19-62706E023703}">
                      <ahyp:hlinkClr xmlns:ahyp="http://schemas.microsoft.com/office/drawing/2018/hyperlinkcolor" val="tx"/>
                    </a:ext>
                  </a:extLst>
                </a:hlinkClick>
              </a:rPr>
              <a:t>Conflicts</a:t>
            </a:r>
            <a:endParaRPr lang="en-US" dirty="0"/>
          </a:p>
          <a:p>
            <a:r>
              <a:rPr lang="en-US" dirty="0">
                <a:hlinkClick r:id="rId6" action="ppaction://hlinksldjump">
                  <a:extLst>
                    <a:ext uri="{A12FA001-AC4F-418D-AE19-62706E023703}">
                      <ahyp:hlinkClr xmlns:ahyp="http://schemas.microsoft.com/office/drawing/2018/hyperlinkcolor" val="tx"/>
                    </a:ext>
                  </a:extLst>
                </a:hlinkClick>
              </a:rPr>
              <a:t>Barriers/Resistance</a:t>
            </a:r>
            <a:endParaRPr lang="en-US" dirty="0"/>
          </a:p>
          <a:p>
            <a:r>
              <a:rPr lang="en-US" dirty="0">
                <a:hlinkClick r:id="rId7" action="ppaction://hlinksldjump">
                  <a:extLst>
                    <a:ext uri="{A12FA001-AC4F-418D-AE19-62706E023703}">
                      <ahyp:hlinkClr xmlns:ahyp="http://schemas.microsoft.com/office/drawing/2018/hyperlinkcolor" val="tx"/>
                    </a:ext>
                  </a:extLst>
                </a:hlinkClick>
              </a:rPr>
              <a:t>Forces/Influence</a:t>
            </a:r>
            <a:endParaRPr lang="en-US" dirty="0"/>
          </a:p>
        </p:txBody>
      </p:sp>
      <p:sp>
        <p:nvSpPr>
          <p:cNvPr id="10" name="Freeform: Shape 9" descr="Add text and order accordingly">
            <a:hlinkClick r:id="rId8" action="ppaction://hlinksldjump" tooltip="Return to Index"/>
            <a:extLst>
              <a:ext uri="{FF2B5EF4-FFF2-40B4-BE49-F238E27FC236}">
                <a16:creationId xmlns:a16="http://schemas.microsoft.com/office/drawing/2014/main" id="{7F1FB234-68F0-4CF3-B471-EDBA28C0B908}"/>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66739FAD-9146-4526-8212-A89B05AAB9FD}"/>
              </a:ext>
            </a:extLst>
          </p:cNvPr>
          <p:cNvSpPr>
            <a:spLocks noGrp="1"/>
          </p:cNvSpPr>
          <p:nvPr>
            <p:ph type="ftr" sz="quarter" idx="18"/>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03186AE4-1B64-4DEA-AB86-F8FF234B71C8}"/>
              </a:ext>
            </a:extLst>
          </p:cNvPr>
          <p:cNvSpPr>
            <a:spLocks noGrp="1"/>
          </p:cNvSpPr>
          <p:nvPr>
            <p:ph type="sldNum" sz="quarter" idx="19"/>
          </p:nvPr>
        </p:nvSpPr>
        <p:spPr/>
        <p:txBody>
          <a:bodyPr/>
          <a:lstStyle/>
          <a:p>
            <a:fld id="{1F90F471-3972-4120-B8B3-0237DE626C35}" type="slidenum">
              <a:rPr lang="en-US" smtClean="0"/>
              <a:pPr/>
              <a:t>114</a:t>
            </a:fld>
            <a:endParaRPr lang="en-US" dirty="0"/>
          </a:p>
        </p:txBody>
      </p:sp>
    </p:spTree>
    <p:extLst>
      <p:ext uri="{BB962C8B-B14F-4D97-AF65-F5344CB8AC3E}">
        <p14:creationId xmlns:p14="http://schemas.microsoft.com/office/powerpoint/2010/main" val="338635767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7C4124B-B9D5-4FB9-AA46-3262DD2B40DB}"/>
              </a:ext>
            </a:extLst>
          </p:cNvPr>
          <p:cNvSpPr>
            <a:spLocks noGrp="1"/>
          </p:cNvSpPr>
          <p:nvPr>
            <p:ph type="title"/>
          </p:nvPr>
        </p:nvSpPr>
        <p:spPr/>
        <p:txBody>
          <a:bodyPr/>
          <a:lstStyle/>
          <a:p>
            <a:r>
              <a:rPr lang="en-US" dirty="0"/>
              <a:t>Balance/</a:t>
            </a:r>
            <a:br>
              <a:rPr lang="en-US" dirty="0"/>
            </a:br>
            <a:r>
              <a:rPr lang="en-US" dirty="0"/>
              <a:t>Imbalance</a:t>
            </a:r>
          </a:p>
        </p:txBody>
      </p:sp>
      <p:sp>
        <p:nvSpPr>
          <p:cNvPr id="9" name="Text Placeholder 8">
            <a:extLst>
              <a:ext uri="{FF2B5EF4-FFF2-40B4-BE49-F238E27FC236}">
                <a16:creationId xmlns:a16="http://schemas.microsoft.com/office/drawing/2014/main" id="{1265ADBE-657A-4DC7-A6A6-2F0E697C4723}"/>
              </a:ext>
            </a:extLst>
          </p:cNvPr>
          <p:cNvSpPr>
            <a:spLocks noGrp="1"/>
          </p:cNvSpPr>
          <p:nvPr>
            <p:ph type="body" sz="quarter" idx="15"/>
          </p:nvPr>
        </p:nvSpPr>
        <p:spPr/>
        <p:txBody>
          <a:bodyPr/>
          <a:lstStyle/>
          <a:p>
            <a:r>
              <a:rPr lang="en-US" dirty="0"/>
              <a:t>Part of </a:t>
            </a:r>
            <a:br>
              <a:rPr lang="en-US" dirty="0"/>
            </a:br>
            <a:r>
              <a:rPr lang="en-US" dirty="0">
                <a:hlinkClick r:id="rId2" action="ppaction://hlinksldjump">
                  <a:extLst>
                    <a:ext uri="{A12FA001-AC4F-418D-AE19-62706E023703}">
                      <ahyp:hlinkClr xmlns:ahyp="http://schemas.microsoft.com/office/drawing/2018/hyperlinkcolor" val="tx"/>
                    </a:ext>
                  </a:extLst>
                </a:hlinkClick>
              </a:rPr>
              <a:t>Dynamic Concepts</a:t>
            </a:r>
            <a:endParaRPr lang="en-US" dirty="0"/>
          </a:p>
        </p:txBody>
      </p:sp>
      <p:sp>
        <p:nvSpPr>
          <p:cNvPr id="10" name="Freeform: Shape 9" descr="Add text and order accordingly">
            <a:hlinkClick r:id="rId3" action="ppaction://hlinksldjump" tooltip="Return to Index"/>
            <a:extLst>
              <a:ext uri="{FF2B5EF4-FFF2-40B4-BE49-F238E27FC236}">
                <a16:creationId xmlns:a16="http://schemas.microsoft.com/office/drawing/2014/main" id="{0DE3F75C-CF1B-47BB-A358-FF97AF03C85D}"/>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9DC78945-A645-4563-BCA9-927812C9C4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BEE2891-AE3F-4D8A-B562-5662B242B3DF}"/>
              </a:ext>
            </a:extLst>
          </p:cNvPr>
          <p:cNvSpPr>
            <a:spLocks noGrp="1"/>
          </p:cNvSpPr>
          <p:nvPr>
            <p:ph type="sldNum" sz="quarter" idx="17"/>
          </p:nvPr>
        </p:nvSpPr>
        <p:spPr/>
        <p:txBody>
          <a:bodyPr/>
          <a:lstStyle/>
          <a:p>
            <a:fld id="{1F90F471-3972-4120-B8B3-0237DE626C35}" type="slidenum">
              <a:rPr lang="en-US" smtClean="0"/>
              <a:pPr/>
              <a:t>115</a:t>
            </a:fld>
            <a:endParaRPr lang="en-US" dirty="0"/>
          </a:p>
        </p:txBody>
      </p:sp>
    </p:spTree>
    <p:extLst>
      <p:ext uri="{BB962C8B-B14F-4D97-AF65-F5344CB8AC3E}">
        <p14:creationId xmlns:p14="http://schemas.microsoft.com/office/powerpoint/2010/main" val="304112153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E823F5-B468-4BBD-B36C-F52560EB880B}"/>
              </a:ext>
            </a:extLst>
          </p:cNvPr>
          <p:cNvSpPr>
            <a:spLocks noGrp="1"/>
          </p:cNvSpPr>
          <p:nvPr>
            <p:ph type="title"/>
          </p:nvPr>
        </p:nvSpPr>
        <p:spPr/>
        <p:txBody>
          <a:bodyPr/>
          <a:lstStyle/>
          <a:p>
            <a:r>
              <a:rPr lang="en-US" dirty="0"/>
              <a:t>Balance 1</a:t>
            </a:r>
          </a:p>
        </p:txBody>
      </p:sp>
      <p:sp>
        <p:nvSpPr>
          <p:cNvPr id="4" name="AutoShape 4">
            <a:extLst>
              <a:ext uri="{FF2B5EF4-FFF2-40B4-BE49-F238E27FC236}">
                <a16:creationId xmlns:a16="http://schemas.microsoft.com/office/drawing/2014/main" id="{DA3868B9-3BE5-4BF2-96C7-6D7610DFDE5A}"/>
              </a:ext>
            </a:extLst>
          </p:cNvPr>
          <p:cNvSpPr>
            <a:spLocks noChangeArrowheads="1"/>
          </p:cNvSpPr>
          <p:nvPr/>
        </p:nvSpPr>
        <p:spPr bwMode="auto">
          <a:xfrm rot="5400000">
            <a:off x="1800501" y="1398313"/>
            <a:ext cx="2041170" cy="1997273"/>
          </a:xfrm>
          <a:prstGeom prst="homePlate">
            <a:avLst>
              <a:gd name="adj" fmla="val 37373"/>
            </a:avLst>
          </a:prstGeom>
          <a:solidFill>
            <a:schemeClr val="accent1"/>
          </a:solidFill>
          <a:ln w="6350">
            <a:noFill/>
            <a:miter lim="800000"/>
            <a:headEnd/>
            <a:tailEnd/>
          </a:ln>
          <a:effectLst/>
        </p:spPr>
        <p:txBody>
          <a:bodyPr rot="10800000" vert="eaVert" lIns="72000" tIns="72000" rIns="72000" bIns="72000" anchor="ctr"/>
          <a:lstStyle/>
          <a:p>
            <a:pPr algn="ctr" eaLnBrk="0" hangingPunct="0"/>
            <a:r>
              <a:rPr lang="en-US" b="1">
                <a:solidFill>
                  <a:schemeClr val="bg1"/>
                </a:solidFill>
              </a:rPr>
              <a:t>Text</a:t>
            </a:r>
          </a:p>
        </p:txBody>
      </p:sp>
      <p:sp>
        <p:nvSpPr>
          <p:cNvPr id="5" name="Rectangle 4">
            <a:extLst>
              <a:ext uri="{FF2B5EF4-FFF2-40B4-BE49-F238E27FC236}">
                <a16:creationId xmlns:a16="http://schemas.microsoft.com/office/drawing/2014/main" id="{99F15505-5855-4F8D-8F30-6A68BA2ABB35}"/>
              </a:ext>
            </a:extLst>
          </p:cNvPr>
          <p:cNvSpPr>
            <a:spLocks noChangeArrowheads="1"/>
          </p:cNvSpPr>
          <p:nvPr/>
        </p:nvSpPr>
        <p:spPr bwMode="auto">
          <a:xfrm>
            <a:off x="1822450" y="3415094"/>
            <a:ext cx="8540749" cy="599914"/>
          </a:xfrm>
          <a:prstGeom prst="rect">
            <a:avLst/>
          </a:prstGeom>
          <a:pattFill prst="dkUpDiag">
            <a:fgClr>
              <a:schemeClr val="tx2">
                <a:lumMod val="40000"/>
                <a:lumOff val="60000"/>
              </a:schemeClr>
            </a:fgClr>
            <a:bgClr>
              <a:schemeClr val="bg1"/>
            </a:bgClr>
          </a:pattFill>
          <a:ln w="6350">
            <a:noFill/>
            <a:miter lim="800000"/>
            <a:headEnd/>
            <a:tailEnd/>
          </a:ln>
          <a:effectLst/>
        </p:spPr>
        <p:txBody>
          <a:bodyPr lIns="72000" tIns="72000" rIns="72000" bIns="72000" anchor="ctr"/>
          <a:lstStyle/>
          <a:p>
            <a:pPr algn="ctr" eaLnBrk="0" hangingPunct="0">
              <a:lnSpc>
                <a:spcPct val="85000"/>
              </a:lnSpc>
            </a:pPr>
            <a:r>
              <a:rPr lang="en-US" b="1" cap="all" dirty="0">
                <a:latin typeface="+mj-lt"/>
              </a:rPr>
              <a:t>Text</a:t>
            </a:r>
          </a:p>
        </p:txBody>
      </p:sp>
      <p:sp>
        <p:nvSpPr>
          <p:cNvPr id="6" name="AutoShape 6">
            <a:extLst>
              <a:ext uri="{FF2B5EF4-FFF2-40B4-BE49-F238E27FC236}">
                <a16:creationId xmlns:a16="http://schemas.microsoft.com/office/drawing/2014/main" id="{2D10298C-A456-4C69-8DC0-3234EC57AB84}"/>
              </a:ext>
            </a:extLst>
          </p:cNvPr>
          <p:cNvSpPr>
            <a:spLocks noChangeArrowheads="1"/>
          </p:cNvSpPr>
          <p:nvPr/>
        </p:nvSpPr>
        <p:spPr bwMode="auto">
          <a:xfrm rot="16200000" flipV="1">
            <a:off x="8343978" y="4039396"/>
            <a:ext cx="2041169" cy="1997273"/>
          </a:xfrm>
          <a:prstGeom prst="homePlate">
            <a:avLst>
              <a:gd name="adj" fmla="val 37373"/>
            </a:avLst>
          </a:prstGeom>
          <a:solidFill>
            <a:schemeClr val="accent3"/>
          </a:solidFill>
          <a:ln w="6350">
            <a:noFill/>
            <a:miter lim="800000"/>
            <a:headEnd/>
            <a:tailEnd/>
          </a:ln>
          <a:effectLst/>
        </p:spPr>
        <p:txBody>
          <a:bodyPr rot="10800000" vert="eaVert" lIns="72000" tIns="72000" rIns="72000" bIns="72000" anchor="ctr"/>
          <a:lstStyle/>
          <a:p>
            <a:pPr algn="ctr" eaLnBrk="0" hangingPunct="0"/>
            <a:r>
              <a:rPr lang="en-US" b="1" dirty="0">
                <a:solidFill>
                  <a:schemeClr val="bg1"/>
                </a:solidFill>
              </a:rPr>
              <a:t>Text</a:t>
            </a:r>
          </a:p>
        </p:txBody>
      </p:sp>
      <p:sp>
        <p:nvSpPr>
          <p:cNvPr id="7" name="Footer Placeholder 6">
            <a:extLst>
              <a:ext uri="{FF2B5EF4-FFF2-40B4-BE49-F238E27FC236}">
                <a16:creationId xmlns:a16="http://schemas.microsoft.com/office/drawing/2014/main" id="{B0D4B045-44F4-45A2-997E-B6271DDD04C5}"/>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8" name="Slide Number Placeholder 7">
            <a:extLst>
              <a:ext uri="{FF2B5EF4-FFF2-40B4-BE49-F238E27FC236}">
                <a16:creationId xmlns:a16="http://schemas.microsoft.com/office/drawing/2014/main" id="{02FA23D8-2CBB-4EB4-9542-D1DA1CBE2A86}"/>
              </a:ext>
            </a:extLst>
          </p:cNvPr>
          <p:cNvSpPr>
            <a:spLocks noGrp="1"/>
          </p:cNvSpPr>
          <p:nvPr>
            <p:ph type="sldNum" sz="quarter" idx="10"/>
          </p:nvPr>
        </p:nvSpPr>
        <p:spPr/>
        <p:txBody>
          <a:bodyPr/>
          <a:lstStyle/>
          <a:p>
            <a:fld id="{1F90F471-3972-4120-B8B3-0237DE626C35}" type="slidenum">
              <a:rPr lang="en-US" smtClean="0"/>
              <a:pPr/>
              <a:t>116</a:t>
            </a:fld>
            <a:endParaRPr lang="en-US" dirty="0"/>
          </a:p>
        </p:txBody>
      </p:sp>
    </p:spTree>
    <p:extLst>
      <p:ext uri="{BB962C8B-B14F-4D97-AF65-F5344CB8AC3E}">
        <p14:creationId xmlns:p14="http://schemas.microsoft.com/office/powerpoint/2010/main" val="381123240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E823F5-B468-4BBD-B36C-F52560EB880B}"/>
              </a:ext>
            </a:extLst>
          </p:cNvPr>
          <p:cNvSpPr>
            <a:spLocks noGrp="1"/>
          </p:cNvSpPr>
          <p:nvPr>
            <p:ph type="title"/>
          </p:nvPr>
        </p:nvSpPr>
        <p:spPr/>
        <p:txBody>
          <a:bodyPr/>
          <a:lstStyle/>
          <a:p>
            <a:r>
              <a:rPr lang="en-US" dirty="0"/>
              <a:t>Balance 2</a:t>
            </a:r>
          </a:p>
        </p:txBody>
      </p:sp>
      <p:sp>
        <p:nvSpPr>
          <p:cNvPr id="4" name="Rectangle 3">
            <a:extLst>
              <a:ext uri="{FF2B5EF4-FFF2-40B4-BE49-F238E27FC236}">
                <a16:creationId xmlns:a16="http://schemas.microsoft.com/office/drawing/2014/main" id="{8CBBA113-9C41-471B-9AB4-A12AA2C18446}"/>
              </a:ext>
            </a:extLst>
          </p:cNvPr>
          <p:cNvSpPr>
            <a:spLocks noChangeArrowheads="1"/>
          </p:cNvSpPr>
          <p:nvPr/>
        </p:nvSpPr>
        <p:spPr bwMode="auto">
          <a:xfrm>
            <a:off x="4292723" y="1376363"/>
            <a:ext cx="3603809" cy="570562"/>
          </a:xfrm>
          <a:prstGeom prst="rect">
            <a:avLst/>
          </a:prstGeom>
          <a:solidFill>
            <a:schemeClr val="tx2">
              <a:lumMod val="20000"/>
              <a:lumOff val="80000"/>
            </a:schemeClr>
          </a:solidFill>
          <a:ln w="6350">
            <a:noFill/>
            <a:miter lim="800000"/>
            <a:headEnd/>
            <a:tailEnd/>
          </a:ln>
          <a:effectLst/>
        </p:spPr>
        <p:txBody>
          <a:bodyPr wrap="none" lIns="72000" tIns="72000" rIns="72000" bIns="72000" anchor="ctr"/>
          <a:lstStyle/>
          <a:p>
            <a:pPr algn="ctr" eaLnBrk="0" hangingPunct="0"/>
            <a:r>
              <a:rPr lang="en-US">
                <a:solidFill>
                  <a:schemeClr val="tx1"/>
                </a:solidFill>
              </a:rPr>
              <a:t>Text</a:t>
            </a:r>
          </a:p>
        </p:txBody>
      </p:sp>
      <p:sp>
        <p:nvSpPr>
          <p:cNvPr id="5" name="Rectangle 4">
            <a:extLst>
              <a:ext uri="{FF2B5EF4-FFF2-40B4-BE49-F238E27FC236}">
                <a16:creationId xmlns:a16="http://schemas.microsoft.com/office/drawing/2014/main" id="{0E5336D2-B5B4-431C-8CB7-D0BB9B2E62F5}"/>
              </a:ext>
            </a:extLst>
          </p:cNvPr>
          <p:cNvSpPr>
            <a:spLocks noChangeArrowheads="1"/>
          </p:cNvSpPr>
          <p:nvPr/>
        </p:nvSpPr>
        <p:spPr bwMode="auto">
          <a:xfrm>
            <a:off x="4292723" y="2061526"/>
            <a:ext cx="6232297" cy="570562"/>
          </a:xfrm>
          <a:prstGeom prst="rect">
            <a:avLst/>
          </a:prstGeom>
          <a:solidFill>
            <a:schemeClr val="accent1"/>
          </a:solidFill>
          <a:ln w="6350">
            <a:noFill/>
            <a:miter lim="800000"/>
            <a:headEnd/>
            <a:tailEnd/>
          </a:ln>
          <a:effectLst/>
        </p:spPr>
        <p:txBody>
          <a:bodyPr wrap="none" lIns="72000" tIns="72000" rIns="72000" bIns="72000" anchor="ctr"/>
          <a:lstStyle/>
          <a:p>
            <a:pPr algn="ctr" eaLnBrk="0" hangingPunct="0"/>
            <a:r>
              <a:rPr lang="en-US" b="1">
                <a:solidFill>
                  <a:schemeClr val="bg1"/>
                </a:solidFill>
              </a:rPr>
              <a:t>Text</a:t>
            </a:r>
          </a:p>
        </p:txBody>
      </p:sp>
      <p:sp>
        <p:nvSpPr>
          <p:cNvPr id="6" name="Rectangle 5">
            <a:extLst>
              <a:ext uri="{FF2B5EF4-FFF2-40B4-BE49-F238E27FC236}">
                <a16:creationId xmlns:a16="http://schemas.microsoft.com/office/drawing/2014/main" id="{7EA49FE4-CC02-457A-A950-B7B4B8ACB7BC}"/>
              </a:ext>
            </a:extLst>
          </p:cNvPr>
          <p:cNvSpPr>
            <a:spLocks noChangeArrowheads="1"/>
          </p:cNvSpPr>
          <p:nvPr/>
        </p:nvSpPr>
        <p:spPr bwMode="auto">
          <a:xfrm>
            <a:off x="1664234" y="2746688"/>
            <a:ext cx="6232297" cy="570562"/>
          </a:xfrm>
          <a:prstGeom prst="rect">
            <a:avLst/>
          </a:prstGeom>
          <a:solidFill>
            <a:schemeClr val="accent3"/>
          </a:solidFill>
          <a:ln w="6350">
            <a:noFill/>
            <a:miter lim="800000"/>
            <a:headEnd/>
            <a:tailEnd/>
          </a:ln>
          <a:effectLst/>
        </p:spPr>
        <p:txBody>
          <a:bodyPr wrap="none" lIns="72000" tIns="72000" rIns="72000" bIns="72000" anchor="ctr"/>
          <a:lstStyle/>
          <a:p>
            <a:pPr algn="ctr" eaLnBrk="0" hangingPunct="0"/>
            <a:r>
              <a:rPr lang="en-US" b="1">
                <a:solidFill>
                  <a:schemeClr val="bg1"/>
                </a:solidFill>
              </a:rPr>
              <a:t>Text</a:t>
            </a:r>
          </a:p>
        </p:txBody>
      </p:sp>
      <p:sp>
        <p:nvSpPr>
          <p:cNvPr id="7" name="Rectangle 6">
            <a:extLst>
              <a:ext uri="{FF2B5EF4-FFF2-40B4-BE49-F238E27FC236}">
                <a16:creationId xmlns:a16="http://schemas.microsoft.com/office/drawing/2014/main" id="{1A3BF232-F74B-4469-BFF0-A594D26AB405}"/>
              </a:ext>
            </a:extLst>
          </p:cNvPr>
          <p:cNvSpPr>
            <a:spLocks noChangeArrowheads="1"/>
          </p:cNvSpPr>
          <p:nvPr/>
        </p:nvSpPr>
        <p:spPr bwMode="auto">
          <a:xfrm>
            <a:off x="4292723" y="3431851"/>
            <a:ext cx="3603809" cy="570562"/>
          </a:xfrm>
          <a:prstGeom prst="rect">
            <a:avLst/>
          </a:prstGeom>
          <a:solidFill>
            <a:schemeClr val="tx2">
              <a:lumMod val="20000"/>
              <a:lumOff val="80000"/>
            </a:schemeClr>
          </a:solidFill>
          <a:ln w="6350">
            <a:noFill/>
            <a:miter lim="800000"/>
            <a:headEnd/>
            <a:tailEnd/>
          </a:ln>
          <a:effectLst/>
        </p:spPr>
        <p:txBody>
          <a:bodyPr wrap="none" lIns="72000" tIns="72000" rIns="72000" bIns="72000" anchor="ctr"/>
          <a:lstStyle/>
          <a:p>
            <a:pPr algn="ctr" eaLnBrk="0" hangingPunct="0"/>
            <a:r>
              <a:rPr lang="en-US">
                <a:solidFill>
                  <a:schemeClr val="tx1"/>
                </a:solidFill>
              </a:rPr>
              <a:t>Text</a:t>
            </a:r>
          </a:p>
        </p:txBody>
      </p:sp>
      <p:sp>
        <p:nvSpPr>
          <p:cNvPr id="8" name="Rectangle 7">
            <a:extLst>
              <a:ext uri="{FF2B5EF4-FFF2-40B4-BE49-F238E27FC236}">
                <a16:creationId xmlns:a16="http://schemas.microsoft.com/office/drawing/2014/main" id="{CB94828E-1835-471F-AEB5-C725247DEBC7}"/>
              </a:ext>
            </a:extLst>
          </p:cNvPr>
          <p:cNvSpPr>
            <a:spLocks noChangeArrowheads="1"/>
          </p:cNvSpPr>
          <p:nvPr/>
        </p:nvSpPr>
        <p:spPr bwMode="auto">
          <a:xfrm>
            <a:off x="4292723" y="4117013"/>
            <a:ext cx="3603809" cy="570562"/>
          </a:xfrm>
          <a:prstGeom prst="rect">
            <a:avLst/>
          </a:prstGeom>
          <a:solidFill>
            <a:schemeClr val="tx2">
              <a:lumMod val="20000"/>
              <a:lumOff val="80000"/>
            </a:schemeClr>
          </a:solidFill>
          <a:ln w="6350">
            <a:noFill/>
            <a:miter lim="800000"/>
            <a:headEnd/>
            <a:tailEnd/>
          </a:ln>
          <a:effectLst/>
        </p:spPr>
        <p:txBody>
          <a:bodyPr wrap="none" lIns="72000" tIns="72000" rIns="72000" bIns="72000" anchor="ctr"/>
          <a:lstStyle/>
          <a:p>
            <a:pPr algn="ctr" eaLnBrk="0" hangingPunct="0"/>
            <a:r>
              <a:rPr lang="en-US">
                <a:solidFill>
                  <a:schemeClr val="tx1"/>
                </a:solidFill>
              </a:rPr>
              <a:t>Text</a:t>
            </a:r>
          </a:p>
        </p:txBody>
      </p:sp>
      <p:sp>
        <p:nvSpPr>
          <p:cNvPr id="9" name="Rectangle 8">
            <a:extLst>
              <a:ext uri="{FF2B5EF4-FFF2-40B4-BE49-F238E27FC236}">
                <a16:creationId xmlns:a16="http://schemas.microsoft.com/office/drawing/2014/main" id="{20379733-D1B6-4CBC-BA26-F1A89DE39342}"/>
              </a:ext>
            </a:extLst>
          </p:cNvPr>
          <p:cNvSpPr>
            <a:spLocks noChangeArrowheads="1"/>
          </p:cNvSpPr>
          <p:nvPr/>
        </p:nvSpPr>
        <p:spPr bwMode="auto">
          <a:xfrm>
            <a:off x="4292723" y="4802177"/>
            <a:ext cx="3603809" cy="570562"/>
          </a:xfrm>
          <a:prstGeom prst="rect">
            <a:avLst/>
          </a:prstGeom>
          <a:solidFill>
            <a:schemeClr val="tx2">
              <a:lumMod val="20000"/>
              <a:lumOff val="80000"/>
            </a:schemeClr>
          </a:solidFill>
          <a:ln w="6350">
            <a:noFill/>
            <a:miter lim="800000"/>
            <a:headEnd/>
            <a:tailEnd/>
          </a:ln>
          <a:effectLst/>
        </p:spPr>
        <p:txBody>
          <a:bodyPr wrap="none" lIns="72000" tIns="72000" rIns="72000" bIns="72000" anchor="ctr"/>
          <a:lstStyle/>
          <a:p>
            <a:pPr algn="ctr" eaLnBrk="0" hangingPunct="0"/>
            <a:r>
              <a:rPr lang="en-US">
                <a:solidFill>
                  <a:schemeClr val="tx1"/>
                </a:solidFill>
              </a:rPr>
              <a:t>Text</a:t>
            </a:r>
          </a:p>
        </p:txBody>
      </p:sp>
      <p:sp>
        <p:nvSpPr>
          <p:cNvPr id="10" name="Rectangle 9">
            <a:extLst>
              <a:ext uri="{FF2B5EF4-FFF2-40B4-BE49-F238E27FC236}">
                <a16:creationId xmlns:a16="http://schemas.microsoft.com/office/drawing/2014/main" id="{7B9DBEF9-0BFD-496C-BA0D-DEDC0CD34F59}"/>
              </a:ext>
            </a:extLst>
          </p:cNvPr>
          <p:cNvSpPr>
            <a:spLocks noChangeArrowheads="1"/>
          </p:cNvSpPr>
          <p:nvPr/>
        </p:nvSpPr>
        <p:spPr bwMode="auto">
          <a:xfrm>
            <a:off x="4292723" y="5487338"/>
            <a:ext cx="3603809" cy="570562"/>
          </a:xfrm>
          <a:prstGeom prst="rect">
            <a:avLst/>
          </a:prstGeom>
          <a:solidFill>
            <a:schemeClr val="tx2">
              <a:lumMod val="20000"/>
              <a:lumOff val="80000"/>
            </a:schemeClr>
          </a:solidFill>
          <a:ln w="6350">
            <a:noFill/>
            <a:miter lim="800000"/>
            <a:headEnd/>
            <a:tailEnd/>
          </a:ln>
          <a:effectLst/>
        </p:spPr>
        <p:txBody>
          <a:bodyPr wrap="none" lIns="72000" tIns="72000" rIns="72000" bIns="72000" anchor="ctr"/>
          <a:lstStyle/>
          <a:p>
            <a:pPr algn="ctr" eaLnBrk="0" hangingPunct="0"/>
            <a:r>
              <a:rPr lang="en-US">
                <a:solidFill>
                  <a:schemeClr val="tx1"/>
                </a:solidFill>
              </a:rPr>
              <a:t>Text</a:t>
            </a:r>
          </a:p>
        </p:txBody>
      </p:sp>
      <p:sp>
        <p:nvSpPr>
          <p:cNvPr id="11" name="Footer Placeholder 10">
            <a:extLst>
              <a:ext uri="{FF2B5EF4-FFF2-40B4-BE49-F238E27FC236}">
                <a16:creationId xmlns:a16="http://schemas.microsoft.com/office/drawing/2014/main" id="{2449BD46-6DC8-4B81-B5A3-86DEF708949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2" name="Slide Number Placeholder 11">
            <a:extLst>
              <a:ext uri="{FF2B5EF4-FFF2-40B4-BE49-F238E27FC236}">
                <a16:creationId xmlns:a16="http://schemas.microsoft.com/office/drawing/2014/main" id="{5F739854-289C-4FA6-A539-3D055EA7B40A}"/>
              </a:ext>
            </a:extLst>
          </p:cNvPr>
          <p:cNvSpPr>
            <a:spLocks noGrp="1"/>
          </p:cNvSpPr>
          <p:nvPr>
            <p:ph type="sldNum" sz="quarter" idx="10"/>
          </p:nvPr>
        </p:nvSpPr>
        <p:spPr/>
        <p:txBody>
          <a:bodyPr/>
          <a:lstStyle/>
          <a:p>
            <a:fld id="{1F90F471-3972-4120-B8B3-0237DE626C35}" type="slidenum">
              <a:rPr lang="en-US" smtClean="0"/>
              <a:pPr/>
              <a:t>117</a:t>
            </a:fld>
            <a:endParaRPr lang="en-US" dirty="0"/>
          </a:p>
        </p:txBody>
      </p:sp>
    </p:spTree>
    <p:extLst>
      <p:ext uri="{BB962C8B-B14F-4D97-AF65-F5344CB8AC3E}">
        <p14:creationId xmlns:p14="http://schemas.microsoft.com/office/powerpoint/2010/main" val="377081778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34CEA5-1305-45B0-BE17-EC91B45957CD}"/>
              </a:ext>
            </a:extLst>
          </p:cNvPr>
          <p:cNvSpPr>
            <a:spLocks noGrp="1"/>
          </p:cNvSpPr>
          <p:nvPr>
            <p:ph type="title"/>
          </p:nvPr>
        </p:nvSpPr>
        <p:spPr/>
        <p:txBody>
          <a:bodyPr/>
          <a:lstStyle/>
          <a:p>
            <a:r>
              <a:rPr lang="en-US" dirty="0"/>
              <a:t>Balance 3</a:t>
            </a:r>
          </a:p>
        </p:txBody>
      </p:sp>
      <p:sp>
        <p:nvSpPr>
          <p:cNvPr id="5" name="Rectangle 5">
            <a:extLst>
              <a:ext uri="{FF2B5EF4-FFF2-40B4-BE49-F238E27FC236}">
                <a16:creationId xmlns:a16="http://schemas.microsoft.com/office/drawing/2014/main" id="{F246698D-0089-4E01-A122-93E944431C21}"/>
              </a:ext>
            </a:extLst>
          </p:cNvPr>
          <p:cNvSpPr>
            <a:spLocks noChangeArrowheads="1"/>
          </p:cNvSpPr>
          <p:nvPr/>
        </p:nvSpPr>
        <p:spPr bwMode="auto">
          <a:xfrm>
            <a:off x="703009" y="3144647"/>
            <a:ext cx="2160000" cy="1350000"/>
          </a:xfrm>
          <a:prstGeom prst="rect">
            <a:avLst/>
          </a:prstGeom>
          <a:solidFill>
            <a:schemeClr val="accent1"/>
          </a:solidFill>
          <a:ln w="6350">
            <a:noFill/>
            <a:miter lim="800000"/>
            <a:headEnd/>
            <a:tailEnd/>
          </a:ln>
          <a:effectLst/>
        </p:spPr>
        <p:txBody>
          <a:bodyPr lIns="72000" tIns="72000" rIns="72000" bIns="72000" anchor="ctr"/>
          <a:lstStyle/>
          <a:p>
            <a:pPr algn="ctr" eaLnBrk="0" hangingPunct="0"/>
            <a:r>
              <a:rPr lang="en-US">
                <a:solidFill>
                  <a:schemeClr val="bg1"/>
                </a:solidFill>
              </a:rPr>
              <a:t>Text</a:t>
            </a:r>
          </a:p>
        </p:txBody>
      </p:sp>
      <p:sp>
        <p:nvSpPr>
          <p:cNvPr id="6" name="Rectangle 6">
            <a:extLst>
              <a:ext uri="{FF2B5EF4-FFF2-40B4-BE49-F238E27FC236}">
                <a16:creationId xmlns:a16="http://schemas.microsoft.com/office/drawing/2014/main" id="{49273AE3-69BD-4D5F-9EC8-978AD9652D0D}"/>
              </a:ext>
            </a:extLst>
          </p:cNvPr>
          <p:cNvSpPr>
            <a:spLocks noChangeArrowheads="1"/>
          </p:cNvSpPr>
          <p:nvPr/>
        </p:nvSpPr>
        <p:spPr bwMode="auto">
          <a:xfrm>
            <a:off x="3396568" y="3144647"/>
            <a:ext cx="2160000" cy="1350000"/>
          </a:xfrm>
          <a:prstGeom prst="rect">
            <a:avLst/>
          </a:prstGeom>
          <a:solidFill>
            <a:schemeClr val="accent1"/>
          </a:solidFill>
          <a:ln w="6350">
            <a:noFill/>
            <a:miter lim="800000"/>
            <a:headEnd/>
            <a:tailEnd/>
          </a:ln>
          <a:effectLst/>
        </p:spPr>
        <p:txBody>
          <a:bodyPr lIns="72000" tIns="72000" rIns="72000" bIns="72000" anchor="ctr"/>
          <a:lstStyle/>
          <a:p>
            <a:pPr algn="ctr" eaLnBrk="0" hangingPunct="0"/>
            <a:r>
              <a:rPr lang="en-US">
                <a:solidFill>
                  <a:schemeClr val="bg1"/>
                </a:solidFill>
              </a:rPr>
              <a:t>Text</a:t>
            </a:r>
          </a:p>
        </p:txBody>
      </p:sp>
      <p:sp>
        <p:nvSpPr>
          <p:cNvPr id="7" name="Rectangle 7">
            <a:extLst>
              <a:ext uri="{FF2B5EF4-FFF2-40B4-BE49-F238E27FC236}">
                <a16:creationId xmlns:a16="http://schemas.microsoft.com/office/drawing/2014/main" id="{A5A52C1B-9E0F-4295-89A1-BD7A7E924DE7}"/>
              </a:ext>
              <a:ext uri="{C183D7F6-B498-43B3-948B-1728B52AA6E4}">
                <adec:decorative xmlns:adec="http://schemas.microsoft.com/office/drawing/2017/decorative" val="1"/>
              </a:ext>
            </a:extLst>
          </p:cNvPr>
          <p:cNvSpPr>
            <a:spLocks noChangeAspect="1" noChangeArrowheads="1"/>
          </p:cNvSpPr>
          <p:nvPr/>
        </p:nvSpPr>
        <p:spPr bwMode="auto">
          <a:xfrm>
            <a:off x="339788" y="4494733"/>
            <a:ext cx="5580000" cy="149808"/>
          </a:xfrm>
          <a:prstGeom prst="rect">
            <a:avLst/>
          </a:prstGeom>
          <a:pattFill prst="dkUpDiag">
            <a:fgClr>
              <a:schemeClr val="tx2">
                <a:lumMod val="40000"/>
                <a:lumOff val="60000"/>
              </a:schemeClr>
            </a:fgClr>
            <a:bgClr>
              <a:schemeClr val="bg1"/>
            </a:bgClr>
          </a:pattFill>
          <a:ln w="6350">
            <a:noFill/>
            <a:miter lim="800000"/>
            <a:headEnd/>
            <a:tailEnd/>
          </a:ln>
          <a:effectLst/>
        </p:spPr>
        <p:txBody>
          <a:bodyPr wrap="none" lIns="72000" tIns="72000" rIns="72000" bIns="72000" anchor="ctr"/>
          <a:lstStyle/>
          <a:p>
            <a:pPr algn="ctr" eaLnBrk="0" hangingPunct="0"/>
            <a:endParaRPr lang="de-DE" sz="1400">
              <a:solidFill>
                <a:schemeClr val="tx1"/>
              </a:solidFill>
            </a:endParaRPr>
          </a:p>
        </p:txBody>
      </p:sp>
      <p:sp>
        <p:nvSpPr>
          <p:cNvPr id="4" name="AutoShape 4">
            <a:extLst>
              <a:ext uri="{FF2B5EF4-FFF2-40B4-BE49-F238E27FC236}">
                <a16:creationId xmlns:a16="http://schemas.microsoft.com/office/drawing/2014/main" id="{3D530377-3FD4-4455-86F7-A1F00E53BC14}"/>
              </a:ext>
              <a:ext uri="{C183D7F6-B498-43B3-948B-1728B52AA6E4}">
                <adec:decorative xmlns:adec="http://schemas.microsoft.com/office/drawing/2017/decorative" val="1"/>
              </a:ext>
            </a:extLst>
          </p:cNvPr>
          <p:cNvSpPr>
            <a:spLocks noChangeAspect="1" noChangeArrowheads="1"/>
          </p:cNvSpPr>
          <p:nvPr/>
        </p:nvSpPr>
        <p:spPr bwMode="auto">
          <a:xfrm>
            <a:off x="2550469" y="4644049"/>
            <a:ext cx="1158638" cy="1076966"/>
          </a:xfrm>
          <a:prstGeom prst="triangle">
            <a:avLst>
              <a:gd name="adj" fmla="val 50000"/>
            </a:avLst>
          </a:prstGeom>
          <a:pattFill prst="dkUpDiag">
            <a:fgClr>
              <a:schemeClr val="tx2">
                <a:lumMod val="40000"/>
                <a:lumOff val="60000"/>
              </a:schemeClr>
            </a:fgClr>
            <a:bgClr>
              <a:schemeClr val="bg1"/>
            </a:bgClr>
          </a:pattFill>
          <a:ln w="6350">
            <a:noFill/>
            <a:miter lim="800000"/>
            <a:headEnd/>
            <a:tailEnd/>
          </a:ln>
          <a:effectLst/>
        </p:spPr>
        <p:txBody>
          <a:bodyPr lIns="72000" tIns="72000" rIns="72000" bIns="72000" anchor="ctr"/>
          <a:lstStyle/>
          <a:p>
            <a:pPr algn="ctr" eaLnBrk="0" hangingPunct="0"/>
            <a:r>
              <a:rPr lang="en-US" sz="1400">
                <a:solidFill>
                  <a:schemeClr val="bg1"/>
                </a:solidFill>
              </a:rPr>
              <a:t> </a:t>
            </a:r>
          </a:p>
        </p:txBody>
      </p:sp>
      <p:sp>
        <p:nvSpPr>
          <p:cNvPr id="9" name="Rectangle 10">
            <a:extLst>
              <a:ext uri="{FF2B5EF4-FFF2-40B4-BE49-F238E27FC236}">
                <a16:creationId xmlns:a16="http://schemas.microsoft.com/office/drawing/2014/main" id="{26114665-048F-4AF5-A010-9D2E8CA24A74}"/>
              </a:ext>
            </a:extLst>
          </p:cNvPr>
          <p:cNvSpPr>
            <a:spLocks noChangeArrowheads="1"/>
          </p:cNvSpPr>
          <p:nvPr/>
        </p:nvSpPr>
        <p:spPr bwMode="auto">
          <a:xfrm>
            <a:off x="6640312" y="3144647"/>
            <a:ext cx="2160000" cy="1350000"/>
          </a:xfrm>
          <a:prstGeom prst="rect">
            <a:avLst/>
          </a:prstGeom>
          <a:solidFill>
            <a:schemeClr val="accent3"/>
          </a:solidFill>
          <a:ln w="6350">
            <a:noFill/>
            <a:miter lim="800000"/>
            <a:headEnd/>
            <a:tailEnd/>
          </a:ln>
          <a:effectLst/>
        </p:spPr>
        <p:txBody>
          <a:bodyPr lIns="72000" tIns="72000" rIns="72000" bIns="72000" anchor="ctr"/>
          <a:lstStyle/>
          <a:p>
            <a:pPr algn="ctr" eaLnBrk="0" hangingPunct="0"/>
            <a:r>
              <a:rPr lang="en-US">
                <a:solidFill>
                  <a:schemeClr val="bg1"/>
                </a:solidFill>
              </a:rPr>
              <a:t>Text</a:t>
            </a:r>
          </a:p>
        </p:txBody>
      </p:sp>
      <p:sp>
        <p:nvSpPr>
          <p:cNvPr id="11" name="Rectangle 13">
            <a:extLst>
              <a:ext uri="{FF2B5EF4-FFF2-40B4-BE49-F238E27FC236}">
                <a16:creationId xmlns:a16="http://schemas.microsoft.com/office/drawing/2014/main" id="{ECEF9A62-373E-4F3F-AD0F-ED5EB4E2BD32}"/>
              </a:ext>
            </a:extLst>
          </p:cNvPr>
          <p:cNvSpPr>
            <a:spLocks noChangeArrowheads="1"/>
          </p:cNvSpPr>
          <p:nvPr/>
        </p:nvSpPr>
        <p:spPr bwMode="auto">
          <a:xfrm>
            <a:off x="9335334" y="1739095"/>
            <a:ext cx="2160000" cy="1350000"/>
          </a:xfrm>
          <a:prstGeom prst="rect">
            <a:avLst/>
          </a:prstGeom>
          <a:solidFill>
            <a:schemeClr val="accent3"/>
          </a:solidFill>
          <a:ln w="6350">
            <a:noFill/>
            <a:miter lim="800000"/>
            <a:headEnd/>
            <a:tailEnd/>
          </a:ln>
          <a:effectLst/>
        </p:spPr>
        <p:txBody>
          <a:bodyPr lIns="72000" tIns="72000" rIns="72000" bIns="72000" anchor="ctr"/>
          <a:lstStyle/>
          <a:p>
            <a:pPr algn="ctr" eaLnBrk="0" hangingPunct="0"/>
            <a:r>
              <a:rPr lang="en-US">
                <a:solidFill>
                  <a:schemeClr val="bg1"/>
                </a:solidFill>
              </a:rPr>
              <a:t>Text</a:t>
            </a:r>
          </a:p>
        </p:txBody>
      </p:sp>
      <p:sp>
        <p:nvSpPr>
          <p:cNvPr id="10" name="Rectangle 11">
            <a:extLst>
              <a:ext uri="{FF2B5EF4-FFF2-40B4-BE49-F238E27FC236}">
                <a16:creationId xmlns:a16="http://schemas.microsoft.com/office/drawing/2014/main" id="{FF6E4E0A-77DA-4A7F-98B6-F41F8168AA6C}"/>
              </a:ext>
            </a:extLst>
          </p:cNvPr>
          <p:cNvSpPr>
            <a:spLocks noChangeArrowheads="1"/>
          </p:cNvSpPr>
          <p:nvPr/>
        </p:nvSpPr>
        <p:spPr bwMode="auto">
          <a:xfrm>
            <a:off x="9335334" y="3144647"/>
            <a:ext cx="2160000" cy="1350000"/>
          </a:xfrm>
          <a:prstGeom prst="rect">
            <a:avLst/>
          </a:prstGeom>
          <a:solidFill>
            <a:schemeClr val="accent3"/>
          </a:solidFill>
          <a:ln w="6350">
            <a:noFill/>
            <a:miter lim="800000"/>
            <a:headEnd/>
            <a:tailEnd/>
          </a:ln>
          <a:effectLst/>
        </p:spPr>
        <p:txBody>
          <a:bodyPr lIns="72000" tIns="72000" rIns="72000" bIns="72000" anchor="ctr"/>
          <a:lstStyle/>
          <a:p>
            <a:pPr algn="ctr" eaLnBrk="0" hangingPunct="0"/>
            <a:r>
              <a:rPr lang="en-US">
                <a:solidFill>
                  <a:schemeClr val="bg1"/>
                </a:solidFill>
              </a:rPr>
              <a:t>Text</a:t>
            </a:r>
          </a:p>
        </p:txBody>
      </p:sp>
      <p:sp>
        <p:nvSpPr>
          <p:cNvPr id="8" name="Rectangle 12">
            <a:extLst>
              <a:ext uri="{FF2B5EF4-FFF2-40B4-BE49-F238E27FC236}">
                <a16:creationId xmlns:a16="http://schemas.microsoft.com/office/drawing/2014/main" id="{49882A22-EE78-4CDF-88E2-4A9562BFBDCC}"/>
              </a:ext>
              <a:ext uri="{C183D7F6-B498-43B3-948B-1728B52AA6E4}">
                <adec:decorative xmlns:adec="http://schemas.microsoft.com/office/drawing/2017/decorative" val="1"/>
              </a:ext>
            </a:extLst>
          </p:cNvPr>
          <p:cNvSpPr>
            <a:spLocks noChangeAspect="1" noChangeArrowheads="1"/>
          </p:cNvSpPr>
          <p:nvPr/>
        </p:nvSpPr>
        <p:spPr bwMode="auto">
          <a:xfrm>
            <a:off x="6277823" y="4494734"/>
            <a:ext cx="5580000" cy="149229"/>
          </a:xfrm>
          <a:prstGeom prst="rect">
            <a:avLst/>
          </a:prstGeom>
          <a:pattFill prst="dkUpDiag">
            <a:fgClr>
              <a:schemeClr val="tx2">
                <a:lumMod val="40000"/>
                <a:lumOff val="60000"/>
              </a:schemeClr>
            </a:fgClr>
            <a:bgClr>
              <a:schemeClr val="bg1"/>
            </a:bgClr>
          </a:pattFill>
          <a:ln w="6350">
            <a:noFill/>
            <a:miter lim="800000"/>
            <a:headEnd/>
            <a:tailEnd/>
          </a:ln>
          <a:effectLst/>
        </p:spPr>
        <p:txBody>
          <a:bodyPr wrap="none" lIns="72000" tIns="72000" rIns="72000" bIns="72000" anchor="ctr"/>
          <a:lstStyle/>
          <a:p>
            <a:pPr algn="ctr" eaLnBrk="0" hangingPunct="0"/>
            <a:endParaRPr lang="de-DE" sz="1400">
              <a:solidFill>
                <a:schemeClr val="tx1"/>
              </a:solidFill>
            </a:endParaRPr>
          </a:p>
        </p:txBody>
      </p:sp>
      <p:sp>
        <p:nvSpPr>
          <p:cNvPr id="12" name="AutoShape 4">
            <a:extLst>
              <a:ext uri="{FF2B5EF4-FFF2-40B4-BE49-F238E27FC236}">
                <a16:creationId xmlns:a16="http://schemas.microsoft.com/office/drawing/2014/main" id="{1B357622-D0AB-4AFA-9D57-AEF55020F166}"/>
              </a:ext>
              <a:ext uri="{C183D7F6-B498-43B3-948B-1728B52AA6E4}">
                <adec:decorative xmlns:adec="http://schemas.microsoft.com/office/drawing/2017/decorative" val="1"/>
              </a:ext>
            </a:extLst>
          </p:cNvPr>
          <p:cNvSpPr>
            <a:spLocks noChangeAspect="1" noChangeArrowheads="1"/>
          </p:cNvSpPr>
          <p:nvPr/>
        </p:nvSpPr>
        <p:spPr bwMode="auto">
          <a:xfrm>
            <a:off x="8488504" y="4644049"/>
            <a:ext cx="1158638" cy="1076966"/>
          </a:xfrm>
          <a:prstGeom prst="triangle">
            <a:avLst>
              <a:gd name="adj" fmla="val 50000"/>
            </a:avLst>
          </a:prstGeom>
          <a:pattFill prst="dkUpDiag">
            <a:fgClr>
              <a:schemeClr val="tx2">
                <a:lumMod val="40000"/>
                <a:lumOff val="60000"/>
              </a:schemeClr>
            </a:fgClr>
            <a:bgClr>
              <a:schemeClr val="bg1"/>
            </a:bgClr>
          </a:pattFill>
          <a:ln w="6350">
            <a:noFill/>
            <a:miter lim="800000"/>
            <a:headEnd/>
            <a:tailEnd/>
          </a:ln>
          <a:effectLst/>
        </p:spPr>
        <p:txBody>
          <a:bodyPr lIns="72000" tIns="72000" rIns="72000" bIns="72000" anchor="ctr"/>
          <a:lstStyle/>
          <a:p>
            <a:pPr algn="ctr" eaLnBrk="0" hangingPunct="0"/>
            <a:r>
              <a:rPr lang="en-US" sz="1400">
                <a:solidFill>
                  <a:schemeClr val="bg1"/>
                </a:solidFill>
              </a:rPr>
              <a:t> </a:t>
            </a:r>
          </a:p>
        </p:txBody>
      </p:sp>
      <p:sp>
        <p:nvSpPr>
          <p:cNvPr id="13" name="Footer Placeholder 12">
            <a:extLst>
              <a:ext uri="{FF2B5EF4-FFF2-40B4-BE49-F238E27FC236}">
                <a16:creationId xmlns:a16="http://schemas.microsoft.com/office/drawing/2014/main" id="{E7FB3D3E-5C86-42FE-9851-47C3AF50CDF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4" name="Slide Number Placeholder 13">
            <a:extLst>
              <a:ext uri="{FF2B5EF4-FFF2-40B4-BE49-F238E27FC236}">
                <a16:creationId xmlns:a16="http://schemas.microsoft.com/office/drawing/2014/main" id="{C60416CE-B9E0-4FAA-8ACA-FC10B0D15C7E}"/>
              </a:ext>
            </a:extLst>
          </p:cNvPr>
          <p:cNvSpPr>
            <a:spLocks noGrp="1"/>
          </p:cNvSpPr>
          <p:nvPr>
            <p:ph type="sldNum" sz="quarter" idx="10"/>
          </p:nvPr>
        </p:nvSpPr>
        <p:spPr/>
        <p:txBody>
          <a:bodyPr/>
          <a:lstStyle/>
          <a:p>
            <a:fld id="{1F90F471-3972-4120-B8B3-0237DE626C35}" type="slidenum">
              <a:rPr lang="en-US" smtClean="0"/>
              <a:pPr/>
              <a:t>118</a:t>
            </a:fld>
            <a:endParaRPr lang="en-US" dirty="0"/>
          </a:p>
        </p:txBody>
      </p:sp>
    </p:spTree>
    <p:extLst>
      <p:ext uri="{BB962C8B-B14F-4D97-AF65-F5344CB8AC3E}">
        <p14:creationId xmlns:p14="http://schemas.microsoft.com/office/powerpoint/2010/main" val="59971202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ED504F-06E8-4F3B-91FD-76888EDFFD98}"/>
              </a:ext>
            </a:extLst>
          </p:cNvPr>
          <p:cNvSpPr>
            <a:spLocks noGrp="1"/>
          </p:cNvSpPr>
          <p:nvPr>
            <p:ph type="title"/>
          </p:nvPr>
        </p:nvSpPr>
        <p:spPr/>
        <p:txBody>
          <a:bodyPr/>
          <a:lstStyle/>
          <a:p>
            <a:r>
              <a:rPr lang="en-US" dirty="0"/>
              <a:t>Balance/Imbalance </a:t>
            </a:r>
          </a:p>
        </p:txBody>
      </p:sp>
      <p:sp>
        <p:nvSpPr>
          <p:cNvPr id="25" name="Rectangle 8">
            <a:extLst>
              <a:ext uri="{FF2B5EF4-FFF2-40B4-BE49-F238E27FC236}">
                <a16:creationId xmlns:a16="http://schemas.microsoft.com/office/drawing/2014/main" id="{26C17A97-E0B9-4147-A4AF-919C21C1DB98}"/>
              </a:ext>
            </a:extLst>
          </p:cNvPr>
          <p:cNvSpPr>
            <a:spLocks noChangeAspect="1" noChangeArrowheads="1"/>
          </p:cNvSpPr>
          <p:nvPr/>
        </p:nvSpPr>
        <p:spPr bwMode="auto">
          <a:xfrm rot="1350694">
            <a:off x="2898216" y="2306639"/>
            <a:ext cx="3114435" cy="1365594"/>
          </a:xfrm>
          <a:prstGeom prst="rect">
            <a:avLst/>
          </a:prstGeom>
          <a:solidFill>
            <a:schemeClr val="accent1"/>
          </a:solidFill>
          <a:ln w="6350">
            <a:noFill/>
            <a:miter lim="800000"/>
            <a:headEnd/>
            <a:tailEnd/>
          </a:ln>
          <a:effectLst/>
        </p:spPr>
        <p:txBody>
          <a:bodyPr lIns="72000" tIns="72000" rIns="72000" bIns="72000" anchor="ctr"/>
          <a:lstStyle/>
          <a:p>
            <a:pPr algn="ctr" eaLnBrk="0" hangingPunct="0"/>
            <a:r>
              <a:rPr lang="en-US" dirty="0">
                <a:solidFill>
                  <a:schemeClr val="bg1"/>
                </a:solidFill>
              </a:rPr>
              <a:t>Text</a:t>
            </a:r>
          </a:p>
        </p:txBody>
      </p:sp>
      <p:sp>
        <p:nvSpPr>
          <p:cNvPr id="19" name="AutoShape 5">
            <a:extLst>
              <a:ext uri="{FF2B5EF4-FFF2-40B4-BE49-F238E27FC236}">
                <a16:creationId xmlns:a16="http://schemas.microsoft.com/office/drawing/2014/main" id="{86EC4C0C-1A8B-4EB0-B9B1-F6A8A5B58BCC}"/>
              </a:ext>
              <a:ext uri="{C183D7F6-B498-43B3-948B-1728B52AA6E4}">
                <adec:decorative xmlns:adec="http://schemas.microsoft.com/office/drawing/2017/decorative" val="1"/>
              </a:ext>
            </a:extLst>
          </p:cNvPr>
          <p:cNvSpPr>
            <a:spLocks noChangeAspect="1" noChangeArrowheads="1"/>
          </p:cNvSpPr>
          <p:nvPr/>
        </p:nvSpPr>
        <p:spPr bwMode="auto">
          <a:xfrm>
            <a:off x="5181909" y="4545165"/>
            <a:ext cx="1752298" cy="1116992"/>
          </a:xfrm>
          <a:prstGeom prst="triangle">
            <a:avLst>
              <a:gd name="adj" fmla="val 50000"/>
            </a:avLst>
          </a:prstGeom>
          <a:pattFill prst="dkUpDiag">
            <a:fgClr>
              <a:schemeClr val="tx2">
                <a:lumMod val="40000"/>
                <a:lumOff val="60000"/>
              </a:schemeClr>
            </a:fgClr>
            <a:bgClr>
              <a:schemeClr val="bg1"/>
            </a:bgClr>
          </a:pattFill>
          <a:ln w="6350">
            <a:noFill/>
            <a:miter lim="800000"/>
            <a:headEnd/>
            <a:tailEnd/>
          </a:ln>
          <a:effectLst/>
        </p:spPr>
        <p:txBody>
          <a:bodyPr lIns="72000" tIns="72000" rIns="72000" bIns="72000" anchor="ctr"/>
          <a:lstStyle/>
          <a:p>
            <a:pPr algn="ctr" eaLnBrk="0" hangingPunct="0"/>
            <a:r>
              <a:rPr lang="en-US" sz="1400" dirty="0">
                <a:solidFill>
                  <a:schemeClr val="bg1"/>
                </a:solidFill>
              </a:rPr>
              <a:t> </a:t>
            </a:r>
          </a:p>
        </p:txBody>
      </p:sp>
      <p:grpSp>
        <p:nvGrpSpPr>
          <p:cNvPr id="21" name="Group 20">
            <a:extLst>
              <a:ext uri="{FF2B5EF4-FFF2-40B4-BE49-F238E27FC236}">
                <a16:creationId xmlns:a16="http://schemas.microsoft.com/office/drawing/2014/main" id="{7BC71846-D08E-4D3E-BAF5-09378DBBE0A5}"/>
              </a:ext>
              <a:ext uri="{C183D7F6-B498-43B3-948B-1728B52AA6E4}">
                <adec:decorative xmlns:adec="http://schemas.microsoft.com/office/drawing/2017/decorative" val="1"/>
              </a:ext>
            </a:extLst>
          </p:cNvPr>
          <p:cNvGrpSpPr/>
          <p:nvPr/>
        </p:nvGrpSpPr>
        <p:grpSpPr>
          <a:xfrm>
            <a:off x="1987938" y="3045103"/>
            <a:ext cx="8001939" cy="1515368"/>
            <a:chOff x="2007394" y="2606473"/>
            <a:chExt cx="8001939" cy="1515368"/>
          </a:xfrm>
        </p:grpSpPr>
        <p:sp>
          <p:nvSpPr>
            <p:cNvPr id="22" name="Rectangle 4">
              <a:extLst>
                <a:ext uri="{FF2B5EF4-FFF2-40B4-BE49-F238E27FC236}">
                  <a16:creationId xmlns:a16="http://schemas.microsoft.com/office/drawing/2014/main" id="{8615C1C5-7504-4E15-A890-149879A3B610}"/>
                </a:ext>
              </a:extLst>
            </p:cNvPr>
            <p:cNvSpPr>
              <a:spLocks noChangeAspect="1" noChangeArrowheads="1"/>
            </p:cNvSpPr>
            <p:nvPr/>
          </p:nvSpPr>
          <p:spPr bwMode="auto">
            <a:xfrm>
              <a:off x="2403857" y="2606473"/>
              <a:ext cx="3114435" cy="1361188"/>
            </a:xfrm>
            <a:prstGeom prst="rect">
              <a:avLst/>
            </a:prstGeom>
            <a:noFill/>
            <a:ln w="12700">
              <a:solidFill>
                <a:schemeClr val="tx2">
                  <a:lumMod val="60000"/>
                  <a:lumOff val="40000"/>
                </a:schemeClr>
              </a:solidFill>
              <a:prstDash val="dash"/>
              <a:miter lim="800000"/>
              <a:headEnd/>
              <a:tailEnd/>
            </a:ln>
            <a:effectLst/>
          </p:spPr>
          <p:txBody>
            <a:bodyPr lIns="72000" tIns="72000" rIns="72000" bIns="72000" anchor="ctr"/>
            <a:lstStyle/>
            <a:p>
              <a:pPr algn="ctr" eaLnBrk="0" hangingPunct="0"/>
              <a:endParaRPr lang="de-DE" sz="1400">
                <a:solidFill>
                  <a:schemeClr val="tx1"/>
                </a:solidFill>
              </a:endParaRPr>
            </a:p>
          </p:txBody>
        </p:sp>
        <p:sp>
          <p:nvSpPr>
            <p:cNvPr id="23" name="Rectangle 6">
              <a:extLst>
                <a:ext uri="{FF2B5EF4-FFF2-40B4-BE49-F238E27FC236}">
                  <a16:creationId xmlns:a16="http://schemas.microsoft.com/office/drawing/2014/main" id="{24235578-CA12-4FBF-AE5E-BAB64A39EA3B}"/>
                </a:ext>
              </a:extLst>
            </p:cNvPr>
            <p:cNvSpPr>
              <a:spLocks noChangeAspect="1" noChangeArrowheads="1"/>
            </p:cNvSpPr>
            <p:nvPr/>
          </p:nvSpPr>
          <p:spPr bwMode="auto">
            <a:xfrm>
              <a:off x="6502841" y="2606473"/>
              <a:ext cx="3114435" cy="1361188"/>
            </a:xfrm>
            <a:prstGeom prst="rect">
              <a:avLst/>
            </a:prstGeom>
            <a:noFill/>
            <a:ln w="12700">
              <a:solidFill>
                <a:schemeClr val="tx2">
                  <a:lumMod val="60000"/>
                  <a:lumOff val="40000"/>
                </a:schemeClr>
              </a:solidFill>
              <a:prstDash val="dash"/>
              <a:miter lim="800000"/>
              <a:headEnd/>
              <a:tailEnd/>
            </a:ln>
            <a:effectLst/>
          </p:spPr>
          <p:txBody>
            <a:bodyPr lIns="72000" tIns="72000" rIns="72000" bIns="72000" anchor="ctr"/>
            <a:lstStyle/>
            <a:p>
              <a:pPr algn="ctr" eaLnBrk="0" hangingPunct="0"/>
              <a:endParaRPr lang="de-DE" sz="1400">
                <a:solidFill>
                  <a:schemeClr val="tx1"/>
                </a:solidFill>
              </a:endParaRPr>
            </a:p>
          </p:txBody>
        </p:sp>
        <p:sp>
          <p:nvSpPr>
            <p:cNvPr id="24" name="Rectangle 7">
              <a:extLst>
                <a:ext uri="{FF2B5EF4-FFF2-40B4-BE49-F238E27FC236}">
                  <a16:creationId xmlns:a16="http://schemas.microsoft.com/office/drawing/2014/main" id="{31E8FBB5-2F72-443C-A514-FF4E8ADC9634}"/>
                </a:ext>
              </a:extLst>
            </p:cNvPr>
            <p:cNvSpPr>
              <a:spLocks noChangeAspect="1" noChangeArrowheads="1"/>
            </p:cNvSpPr>
            <p:nvPr/>
          </p:nvSpPr>
          <p:spPr bwMode="auto">
            <a:xfrm>
              <a:off x="2007394" y="3967661"/>
              <a:ext cx="8001939" cy="154180"/>
            </a:xfrm>
            <a:prstGeom prst="rect">
              <a:avLst/>
            </a:prstGeom>
            <a:noFill/>
            <a:ln w="12700">
              <a:solidFill>
                <a:schemeClr val="tx2">
                  <a:lumMod val="60000"/>
                  <a:lumOff val="40000"/>
                </a:schemeClr>
              </a:solidFill>
              <a:prstDash val="dash"/>
              <a:miter lim="800000"/>
              <a:headEnd/>
              <a:tailEnd/>
            </a:ln>
            <a:effectLst/>
          </p:spPr>
          <p:txBody>
            <a:bodyPr wrap="none" lIns="72000" tIns="72000" rIns="72000" bIns="72000" anchor="ctr"/>
            <a:lstStyle/>
            <a:p>
              <a:pPr algn="ctr" eaLnBrk="0" hangingPunct="0"/>
              <a:endParaRPr lang="de-DE" sz="1400">
                <a:solidFill>
                  <a:schemeClr val="tx1"/>
                </a:solidFill>
              </a:endParaRPr>
            </a:p>
          </p:txBody>
        </p:sp>
      </p:grpSp>
      <p:sp>
        <p:nvSpPr>
          <p:cNvPr id="26" name="Rectangle 9">
            <a:extLst>
              <a:ext uri="{FF2B5EF4-FFF2-40B4-BE49-F238E27FC236}">
                <a16:creationId xmlns:a16="http://schemas.microsoft.com/office/drawing/2014/main" id="{ABEE23E7-044B-46BB-B5A4-CBE00A6E9EF7}"/>
              </a:ext>
              <a:ext uri="{C183D7F6-B498-43B3-948B-1728B52AA6E4}">
                <adec:decorative xmlns:adec="http://schemas.microsoft.com/office/drawing/2017/decorative" val="1"/>
              </a:ext>
            </a:extLst>
          </p:cNvPr>
          <p:cNvSpPr>
            <a:spLocks noChangeAspect="1" noChangeArrowheads="1"/>
          </p:cNvSpPr>
          <p:nvPr/>
        </p:nvSpPr>
        <p:spPr bwMode="auto">
          <a:xfrm rot="1350694">
            <a:off x="2009597" y="4379861"/>
            <a:ext cx="8001938" cy="151977"/>
          </a:xfrm>
          <a:prstGeom prst="rect">
            <a:avLst/>
          </a:prstGeom>
          <a:pattFill prst="dkUpDiag">
            <a:fgClr>
              <a:schemeClr val="tx2">
                <a:lumMod val="40000"/>
                <a:lumOff val="60000"/>
              </a:schemeClr>
            </a:fgClr>
            <a:bgClr>
              <a:schemeClr val="bg1"/>
            </a:bgClr>
          </a:pattFill>
          <a:ln w="6350">
            <a:noFill/>
            <a:miter lim="800000"/>
            <a:headEnd/>
            <a:tailEnd/>
          </a:ln>
          <a:effectLst/>
        </p:spPr>
        <p:txBody>
          <a:bodyPr wrap="none" lIns="72000" tIns="72000" rIns="72000" bIns="72000" anchor="ctr"/>
          <a:lstStyle/>
          <a:p>
            <a:pPr algn="ctr" eaLnBrk="0" hangingPunct="0"/>
            <a:endParaRPr lang="de-DE" sz="1400">
              <a:solidFill>
                <a:schemeClr val="bg1"/>
              </a:solidFill>
            </a:endParaRPr>
          </a:p>
        </p:txBody>
      </p:sp>
      <p:sp>
        <p:nvSpPr>
          <p:cNvPr id="27" name="Rectangle 10">
            <a:extLst>
              <a:ext uri="{FF2B5EF4-FFF2-40B4-BE49-F238E27FC236}">
                <a16:creationId xmlns:a16="http://schemas.microsoft.com/office/drawing/2014/main" id="{F0731067-88A4-447B-9554-2055091E7AE8}"/>
              </a:ext>
            </a:extLst>
          </p:cNvPr>
          <p:cNvSpPr>
            <a:spLocks noChangeAspect="1" noChangeArrowheads="1"/>
          </p:cNvSpPr>
          <p:nvPr/>
        </p:nvSpPr>
        <p:spPr bwMode="auto">
          <a:xfrm rot="1350694">
            <a:off x="6615347" y="3862368"/>
            <a:ext cx="3114435" cy="1365594"/>
          </a:xfrm>
          <a:prstGeom prst="rect">
            <a:avLst/>
          </a:prstGeom>
          <a:solidFill>
            <a:schemeClr val="accent3"/>
          </a:solidFill>
          <a:ln w="6350">
            <a:noFill/>
            <a:miter lim="800000"/>
            <a:headEnd/>
            <a:tailEnd/>
          </a:ln>
          <a:effectLst/>
        </p:spPr>
        <p:txBody>
          <a:bodyPr lIns="72000" tIns="72000" rIns="72000" bIns="72000" anchor="ctr"/>
          <a:lstStyle/>
          <a:p>
            <a:pPr algn="ctr" eaLnBrk="0" hangingPunct="0"/>
            <a:r>
              <a:rPr lang="en-US">
                <a:solidFill>
                  <a:schemeClr val="bg1"/>
                </a:solidFill>
              </a:rPr>
              <a:t>Text</a:t>
            </a:r>
          </a:p>
        </p:txBody>
      </p:sp>
      <p:sp>
        <p:nvSpPr>
          <p:cNvPr id="4" name="Footer Placeholder 3">
            <a:extLst>
              <a:ext uri="{FF2B5EF4-FFF2-40B4-BE49-F238E27FC236}">
                <a16:creationId xmlns:a16="http://schemas.microsoft.com/office/drawing/2014/main" id="{A314D450-BE0F-4D15-ABD5-30D77A8A879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A001E178-EEFF-46DB-AA11-F2947483B449}"/>
              </a:ext>
            </a:extLst>
          </p:cNvPr>
          <p:cNvSpPr>
            <a:spLocks noGrp="1"/>
          </p:cNvSpPr>
          <p:nvPr>
            <p:ph type="sldNum" sz="quarter" idx="10"/>
          </p:nvPr>
        </p:nvSpPr>
        <p:spPr/>
        <p:txBody>
          <a:bodyPr/>
          <a:lstStyle/>
          <a:p>
            <a:fld id="{1F90F471-3972-4120-B8B3-0237DE626C35}" type="slidenum">
              <a:rPr lang="en-US" smtClean="0"/>
              <a:pPr/>
              <a:t>119</a:t>
            </a:fld>
            <a:endParaRPr lang="en-US" dirty="0"/>
          </a:p>
        </p:txBody>
      </p:sp>
    </p:spTree>
    <p:extLst>
      <p:ext uri="{BB962C8B-B14F-4D97-AF65-F5344CB8AC3E}">
        <p14:creationId xmlns:p14="http://schemas.microsoft.com/office/powerpoint/2010/main" val="2155858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D930D-4E80-4F97-8B34-E505E5F94C39}"/>
              </a:ext>
            </a:extLst>
          </p:cNvPr>
          <p:cNvSpPr>
            <a:spLocks noGrp="1"/>
          </p:cNvSpPr>
          <p:nvPr>
            <p:ph type="title"/>
          </p:nvPr>
        </p:nvSpPr>
        <p:spPr/>
        <p:txBody>
          <a:bodyPr/>
          <a:lstStyle/>
          <a:p>
            <a:r>
              <a:rPr lang="en-US" dirty="0"/>
              <a:t>Fonts</a:t>
            </a:r>
          </a:p>
        </p:txBody>
      </p:sp>
      <p:pic>
        <p:nvPicPr>
          <p:cNvPr id="5" name="Picture 4" descr="All informative images must include a description for screen readers. All informative images must include a description for screen readers. If descriptive information is available in nearby text, it should not be repeated in the alt text for an image.">
            <a:extLst>
              <a:ext uri="{FF2B5EF4-FFF2-40B4-BE49-F238E27FC236}">
                <a16:creationId xmlns:a16="http://schemas.microsoft.com/office/drawing/2014/main" id="{D7F6C4A5-2846-415F-9AC3-D9A695C4365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2458" y="1090788"/>
            <a:ext cx="5746351" cy="4676424"/>
          </a:xfrm>
          <a:prstGeom prst="rect">
            <a:avLst/>
          </a:prstGeom>
        </p:spPr>
      </p:pic>
      <p:sp>
        <p:nvSpPr>
          <p:cNvPr id="6" name="TextBox 5">
            <a:extLst>
              <a:ext uri="{FF2B5EF4-FFF2-40B4-BE49-F238E27FC236}">
                <a16:creationId xmlns:a16="http://schemas.microsoft.com/office/drawing/2014/main" id="{70AA7CAA-04CC-4847-9ABA-7C5521B7FA9E}"/>
              </a:ext>
            </a:extLst>
          </p:cNvPr>
          <p:cNvSpPr txBox="1"/>
          <p:nvPr/>
        </p:nvSpPr>
        <p:spPr>
          <a:xfrm>
            <a:off x="6286502" y="1371600"/>
            <a:ext cx="5524500" cy="4503737"/>
          </a:xfrm>
          <a:prstGeom prst="rect">
            <a:avLst/>
          </a:prstGeom>
          <a:noFill/>
        </p:spPr>
        <p:txBody>
          <a:bodyPr wrap="square" lIns="0" tIns="0" rIns="0" bIns="0" rtlCol="0">
            <a:noAutofit/>
          </a:bodyPr>
          <a:lstStyle/>
          <a:p>
            <a:pPr algn="l"/>
            <a:r>
              <a:rPr lang="en-US" sz="1800" b="0" i="0" u="none" strike="noStrike" baseline="0" noProof="0" dirty="0">
                <a:latin typeface="Graphik" panose="020B0503030202060203" pitchFamily="34" charset="0"/>
              </a:rPr>
              <a:t>We use </a:t>
            </a:r>
            <a:r>
              <a:rPr lang="en-US" sz="1800" b="1" i="0" u="none" strike="noStrike" baseline="0" noProof="0" dirty="0" err="1">
                <a:latin typeface="Graphik" panose="020B0503030202060203" pitchFamily="34" charset="0"/>
              </a:rPr>
              <a:t>Graphik</a:t>
            </a:r>
            <a:r>
              <a:rPr lang="en-US" sz="1800" b="0" i="0" u="none" strike="noStrike" baseline="0" noProof="0" dirty="0">
                <a:latin typeface="Graphik" panose="020B0503030202060203" pitchFamily="34" charset="0"/>
              </a:rPr>
              <a:t> as our core brand typography. For optimum text accessibility on PowerPoint, we use </a:t>
            </a:r>
            <a:r>
              <a:rPr lang="en-US" sz="1800" b="0" i="0" u="none" strike="noStrike" baseline="0" noProof="0" dirty="0" err="1">
                <a:latin typeface="Graphik" panose="020B0503030202060203" pitchFamily="34" charset="0"/>
              </a:rPr>
              <a:t>Graphik</a:t>
            </a:r>
            <a:r>
              <a:rPr lang="en-US" sz="1800" b="0" i="0" u="none" strike="noStrike" baseline="0" noProof="0" dirty="0">
                <a:latin typeface="Graphik" panose="020B0503030202060203" pitchFamily="34" charset="0"/>
              </a:rPr>
              <a:t> Regular.</a:t>
            </a:r>
          </a:p>
          <a:p>
            <a:pPr algn="l"/>
            <a:endParaRPr lang="en-US" sz="1800" b="0" i="0" u="none" strike="noStrike" baseline="0" noProof="0" dirty="0">
              <a:latin typeface="Graphik" panose="020B0503030202060203" pitchFamily="34" charset="0"/>
            </a:endParaRPr>
          </a:p>
          <a:p>
            <a:pPr algn="l"/>
            <a:r>
              <a:rPr lang="en-US" sz="1800" b="0" i="0" u="none" strike="noStrike" baseline="0" noProof="0" dirty="0">
                <a:latin typeface="Graphik" panose="020B0503030202060203" pitchFamily="34" charset="0"/>
              </a:rPr>
              <a:t>On some slide layouts (Covers and Dividers), we have added </a:t>
            </a:r>
            <a:r>
              <a:rPr lang="en-US" sz="1800" b="1" i="0" u="none" strike="noStrike" baseline="0" noProof="0" dirty="0">
                <a:latin typeface="Graphik" panose="020B0503030202060203" pitchFamily="34" charset="0"/>
              </a:rPr>
              <a:t>GT Sectra Fine </a:t>
            </a:r>
            <a:r>
              <a:rPr lang="en-US" sz="1800" b="0" i="0" u="none" strike="noStrike" baseline="0" noProof="0" dirty="0">
                <a:latin typeface="Graphik" panose="020B0503030202060203" pitchFamily="34" charset="0"/>
              </a:rPr>
              <a:t>to add a bit of humanity and visual interest. </a:t>
            </a:r>
          </a:p>
          <a:p>
            <a:pPr algn="l"/>
            <a:endParaRPr lang="en-US" sz="1800" b="0" i="0" u="none" strike="noStrike" baseline="0" noProof="0" dirty="0">
              <a:latin typeface="Graphik" panose="020B0503030202060203" pitchFamily="34" charset="0"/>
            </a:endParaRPr>
          </a:p>
          <a:p>
            <a:r>
              <a:rPr lang="en-US" sz="1800" b="0" i="0" u="none" strike="noStrike" baseline="0" noProof="0" dirty="0">
                <a:latin typeface="Graphik" panose="020B0503030202060203" pitchFamily="34" charset="0"/>
              </a:rPr>
              <a:t>Download and install </a:t>
            </a:r>
            <a:r>
              <a:rPr lang="en-US" sz="1800" b="0" i="0" u="none" strike="noStrike" baseline="0" noProof="0" dirty="0" err="1">
                <a:latin typeface="Graphik" panose="020B0503030202060203" pitchFamily="34" charset="0"/>
              </a:rPr>
              <a:t>Graphik</a:t>
            </a:r>
            <a:r>
              <a:rPr lang="en-US" sz="1800" b="0" i="0" u="none" strike="noStrike" baseline="0" noProof="0" dirty="0">
                <a:latin typeface="Graphik" panose="020B0503030202060203" pitchFamily="34" charset="0"/>
              </a:rPr>
              <a:t> and GT Sectra Fine fonts </a:t>
            </a:r>
            <a:r>
              <a:rPr lang="en-GB" u="sng" dirty="0">
                <a:solidFill>
                  <a:srgbClr val="A100FF"/>
                </a:solidFill>
                <a:hlinkClick r:id="rId4">
                  <a:extLst>
                    <a:ext uri="{A12FA001-AC4F-418D-AE19-62706E023703}">
                      <ahyp:hlinkClr xmlns:ahyp="http://schemas.microsoft.com/office/drawing/2018/hyperlinkcolor" val="tx"/>
                    </a:ext>
                  </a:extLst>
                </a:hlinkClick>
              </a:rPr>
              <a:t>here</a:t>
            </a:r>
            <a:r>
              <a:rPr lang="en-GB" dirty="0"/>
              <a:t>.</a:t>
            </a:r>
            <a:endParaRPr lang="en-US" sz="1800" b="0" i="0" strike="noStrike" baseline="0" noProof="0" dirty="0">
              <a:latin typeface="Graphik" panose="020B0503030202060203" pitchFamily="34" charset="0"/>
            </a:endParaRPr>
          </a:p>
          <a:p>
            <a:pPr algn="l"/>
            <a:endParaRPr lang="en-US" sz="1800" b="0" i="0" u="none" strike="noStrike" baseline="0" noProof="0" dirty="0">
              <a:latin typeface="Graphik" panose="020B0503030202060203" pitchFamily="34" charset="0"/>
            </a:endParaRPr>
          </a:p>
          <a:p>
            <a:r>
              <a:rPr lang="en-US" sz="1800" b="0" i="0" u="none" strike="noStrike" baseline="0" noProof="0" dirty="0">
                <a:latin typeface="Graphik" panose="020B0503030202060203" pitchFamily="34" charset="0"/>
              </a:rPr>
              <a:t>If these fonts are not available or you can only use system fonts, please use the </a:t>
            </a:r>
            <a:r>
              <a:rPr lang="en-US" sz="1800" b="1" i="0" u="none" strike="noStrike" baseline="0" noProof="0" dirty="0">
                <a:latin typeface="Graphik" panose="020B0503030202060203" pitchFamily="34" charset="0"/>
              </a:rPr>
              <a:t>Arial</a:t>
            </a:r>
            <a:r>
              <a:rPr lang="en-US" sz="1800" b="0" i="0" u="none" strike="noStrike" baseline="0" noProof="0" dirty="0">
                <a:latin typeface="Graphik" panose="020B0503030202060203" pitchFamily="34" charset="0"/>
              </a:rPr>
              <a:t> template available </a:t>
            </a:r>
            <a:r>
              <a:rPr lang="en-GB" u="sng" dirty="0">
                <a:solidFill>
                  <a:srgbClr val="A100FF"/>
                </a:solidFill>
                <a:hlinkClick r:id="rId5">
                  <a:extLst>
                    <a:ext uri="{A12FA001-AC4F-418D-AE19-62706E023703}">
                      <ahyp:hlinkClr xmlns:ahyp="http://schemas.microsoft.com/office/drawing/2018/hyperlinkcolor" val="tx"/>
                    </a:ext>
                  </a:extLst>
                </a:hlinkClick>
              </a:rPr>
              <a:t>here</a:t>
            </a:r>
            <a:r>
              <a:rPr lang="en-GB" dirty="0"/>
              <a:t>.</a:t>
            </a:r>
            <a:endParaRPr lang="en-US" sz="1800" b="0" i="0" strike="noStrike" baseline="0" noProof="0" dirty="0">
              <a:latin typeface="Graphik" panose="020B0503030202060203" pitchFamily="34" charset="0"/>
            </a:endParaRPr>
          </a:p>
        </p:txBody>
      </p:sp>
      <p:sp>
        <p:nvSpPr>
          <p:cNvPr id="3" name="Footer Placeholder 2">
            <a:extLst>
              <a:ext uri="{FF2B5EF4-FFF2-40B4-BE49-F238E27FC236}">
                <a16:creationId xmlns:a16="http://schemas.microsoft.com/office/drawing/2014/main" id="{847205A3-2062-4922-9932-74B0391CD10F}"/>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4" name="Slide Number Placeholder 3">
            <a:extLst>
              <a:ext uri="{FF2B5EF4-FFF2-40B4-BE49-F238E27FC236}">
                <a16:creationId xmlns:a16="http://schemas.microsoft.com/office/drawing/2014/main" id="{102FAE60-6EF7-4DF9-82E9-EBB89C4B120A}"/>
              </a:ext>
            </a:extLst>
          </p:cNvPr>
          <p:cNvSpPr>
            <a:spLocks noGrp="1"/>
          </p:cNvSpPr>
          <p:nvPr>
            <p:ph type="sldNum" sz="quarter" idx="10"/>
          </p:nvPr>
        </p:nvSpPr>
        <p:spPr/>
        <p:txBody>
          <a:bodyPr/>
          <a:lstStyle/>
          <a:p>
            <a:fld id="{1F90F471-3972-4120-B8B3-0237DE626C35}" type="slidenum">
              <a:rPr lang="en-US" smtClean="0"/>
              <a:pPr/>
              <a:t>12</a:t>
            </a:fld>
            <a:endParaRPr lang="en-US" dirty="0"/>
          </a:p>
        </p:txBody>
      </p:sp>
    </p:spTree>
    <p:extLst>
      <p:ext uri="{BB962C8B-B14F-4D97-AF65-F5344CB8AC3E}">
        <p14:creationId xmlns:p14="http://schemas.microsoft.com/office/powerpoint/2010/main" val="33295933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D34DEF-3F2A-4769-9DDD-6BE1A94ACCA9}"/>
              </a:ext>
            </a:extLst>
          </p:cNvPr>
          <p:cNvSpPr>
            <a:spLocks noGrp="1"/>
          </p:cNvSpPr>
          <p:nvPr>
            <p:ph type="title"/>
          </p:nvPr>
        </p:nvSpPr>
        <p:spPr/>
        <p:txBody>
          <a:bodyPr/>
          <a:lstStyle/>
          <a:p>
            <a:r>
              <a:rPr lang="en-US" dirty="0"/>
              <a:t>Imbalance</a:t>
            </a:r>
          </a:p>
        </p:txBody>
      </p:sp>
      <p:sp>
        <p:nvSpPr>
          <p:cNvPr id="5" name="Rectangle 8">
            <a:extLst>
              <a:ext uri="{FF2B5EF4-FFF2-40B4-BE49-F238E27FC236}">
                <a16:creationId xmlns:a16="http://schemas.microsoft.com/office/drawing/2014/main" id="{5A88E8C3-EFD8-42C7-AC7B-2388F8AF73D3}"/>
              </a:ext>
            </a:extLst>
          </p:cNvPr>
          <p:cNvSpPr>
            <a:spLocks noChangeAspect="1" noChangeArrowheads="1"/>
          </p:cNvSpPr>
          <p:nvPr/>
        </p:nvSpPr>
        <p:spPr bwMode="auto">
          <a:xfrm rot="1350694">
            <a:off x="2898216" y="2306639"/>
            <a:ext cx="3114435" cy="1365594"/>
          </a:xfrm>
          <a:prstGeom prst="rect">
            <a:avLst/>
          </a:prstGeom>
          <a:solidFill>
            <a:schemeClr val="accent3">
              <a:lumMod val="20000"/>
              <a:lumOff val="80000"/>
            </a:schemeClr>
          </a:solidFill>
          <a:ln w="6350">
            <a:noFill/>
            <a:miter lim="800000"/>
            <a:headEnd/>
            <a:tailEnd/>
          </a:ln>
          <a:effectLst/>
        </p:spPr>
        <p:txBody>
          <a:bodyPr lIns="252000" tIns="180000" rIns="72000" bIns="108000" anchor="t" anchorCtr="0"/>
          <a:lstStyle/>
          <a:p>
            <a:pPr eaLnBrk="0" hangingPunct="0">
              <a:lnSpc>
                <a:spcPct val="85000"/>
              </a:lnSpc>
              <a:spcBef>
                <a:spcPts val="100"/>
              </a:spcBef>
              <a:spcAft>
                <a:spcPts val="300"/>
              </a:spcAft>
              <a:buClr>
                <a:schemeClr val="folHlink"/>
              </a:buClr>
            </a:pPr>
            <a:r>
              <a:rPr lang="en-US" b="1" cap="all" dirty="0">
                <a:solidFill>
                  <a:schemeClr val="accent3"/>
                </a:solidFill>
                <a:latin typeface="+mj-lt"/>
              </a:rPr>
              <a:t>Text</a:t>
            </a:r>
          </a:p>
          <a:p>
            <a:pPr marL="180000" indent="-180000" eaLnBrk="0" hangingPunct="0">
              <a:spcBef>
                <a:spcPts val="100"/>
              </a:spcBef>
              <a:spcAft>
                <a:spcPts val="100"/>
              </a:spcAft>
              <a:buFontTx/>
              <a:buChar char="•"/>
            </a:pPr>
            <a:r>
              <a:rPr lang="en-US" dirty="0">
                <a:solidFill>
                  <a:schemeClr val="accent3"/>
                </a:solidFill>
              </a:rPr>
              <a:t>Text</a:t>
            </a:r>
          </a:p>
          <a:p>
            <a:pPr marL="180000" indent="-180000" eaLnBrk="0" hangingPunct="0">
              <a:spcBef>
                <a:spcPts val="100"/>
              </a:spcBef>
              <a:spcAft>
                <a:spcPts val="100"/>
              </a:spcAft>
              <a:buFontTx/>
              <a:buChar char="•"/>
            </a:pPr>
            <a:r>
              <a:rPr lang="en-US" dirty="0">
                <a:solidFill>
                  <a:schemeClr val="accent3"/>
                </a:solidFill>
              </a:rPr>
              <a:t>Text</a:t>
            </a:r>
          </a:p>
        </p:txBody>
      </p:sp>
      <p:sp>
        <p:nvSpPr>
          <p:cNvPr id="6" name="Rectangle 9">
            <a:extLst>
              <a:ext uri="{FF2B5EF4-FFF2-40B4-BE49-F238E27FC236}">
                <a16:creationId xmlns:a16="http://schemas.microsoft.com/office/drawing/2014/main" id="{890989BF-39C1-4E99-9DCC-AF7DA0A97000}"/>
              </a:ext>
              <a:ext uri="{C183D7F6-B498-43B3-948B-1728B52AA6E4}">
                <adec:decorative xmlns:adec="http://schemas.microsoft.com/office/drawing/2017/decorative" val="1"/>
              </a:ext>
            </a:extLst>
          </p:cNvPr>
          <p:cNvSpPr>
            <a:spLocks noChangeAspect="1" noChangeArrowheads="1"/>
          </p:cNvSpPr>
          <p:nvPr/>
        </p:nvSpPr>
        <p:spPr bwMode="auto">
          <a:xfrm rot="1350694">
            <a:off x="2009597" y="4379861"/>
            <a:ext cx="8001938" cy="151977"/>
          </a:xfrm>
          <a:prstGeom prst="rect">
            <a:avLst/>
          </a:prstGeom>
          <a:pattFill prst="dkUpDiag">
            <a:fgClr>
              <a:schemeClr val="tx2">
                <a:lumMod val="40000"/>
                <a:lumOff val="60000"/>
              </a:schemeClr>
            </a:fgClr>
            <a:bgClr>
              <a:schemeClr val="bg1"/>
            </a:bgClr>
          </a:pattFill>
          <a:ln w="6350">
            <a:noFill/>
            <a:miter lim="800000"/>
            <a:headEnd/>
            <a:tailEnd/>
          </a:ln>
          <a:effectLst/>
        </p:spPr>
        <p:txBody>
          <a:bodyPr wrap="none" lIns="72000" tIns="72000" rIns="72000" bIns="72000" anchor="ctr"/>
          <a:lstStyle/>
          <a:p>
            <a:pPr algn="ctr" eaLnBrk="0" hangingPunct="0"/>
            <a:endParaRPr lang="de-DE" sz="1400">
              <a:solidFill>
                <a:schemeClr val="bg1"/>
              </a:solidFill>
            </a:endParaRPr>
          </a:p>
        </p:txBody>
      </p:sp>
      <p:sp>
        <p:nvSpPr>
          <p:cNvPr id="4" name="AutoShape 5">
            <a:extLst>
              <a:ext uri="{FF2B5EF4-FFF2-40B4-BE49-F238E27FC236}">
                <a16:creationId xmlns:a16="http://schemas.microsoft.com/office/drawing/2014/main" id="{8F17F3E2-24FF-4858-94FD-44114A767E49}"/>
              </a:ext>
              <a:ext uri="{C183D7F6-B498-43B3-948B-1728B52AA6E4}">
                <adec:decorative xmlns:adec="http://schemas.microsoft.com/office/drawing/2017/decorative" val="1"/>
              </a:ext>
            </a:extLst>
          </p:cNvPr>
          <p:cNvSpPr>
            <a:spLocks noChangeAspect="1" noChangeArrowheads="1"/>
          </p:cNvSpPr>
          <p:nvPr/>
        </p:nvSpPr>
        <p:spPr bwMode="auto">
          <a:xfrm>
            <a:off x="5181909" y="4545165"/>
            <a:ext cx="1752298" cy="1116992"/>
          </a:xfrm>
          <a:prstGeom prst="triangle">
            <a:avLst>
              <a:gd name="adj" fmla="val 50000"/>
            </a:avLst>
          </a:prstGeom>
          <a:pattFill prst="dkUpDiag">
            <a:fgClr>
              <a:schemeClr val="tx2">
                <a:lumMod val="40000"/>
                <a:lumOff val="60000"/>
              </a:schemeClr>
            </a:fgClr>
            <a:bgClr>
              <a:schemeClr val="bg1"/>
            </a:bgClr>
          </a:pattFill>
          <a:ln w="6350">
            <a:noFill/>
            <a:miter lim="800000"/>
            <a:headEnd/>
            <a:tailEnd/>
          </a:ln>
          <a:effectLst/>
        </p:spPr>
        <p:txBody>
          <a:bodyPr lIns="72000" tIns="72000" rIns="72000" bIns="72000" anchor="ctr"/>
          <a:lstStyle/>
          <a:p>
            <a:pPr algn="ctr" eaLnBrk="0" hangingPunct="0"/>
            <a:r>
              <a:rPr lang="en-US" sz="1400" dirty="0">
                <a:solidFill>
                  <a:schemeClr val="bg1"/>
                </a:solidFill>
              </a:rPr>
              <a:t> </a:t>
            </a:r>
          </a:p>
        </p:txBody>
      </p:sp>
      <p:sp>
        <p:nvSpPr>
          <p:cNvPr id="7" name="Rectangle 10">
            <a:extLst>
              <a:ext uri="{FF2B5EF4-FFF2-40B4-BE49-F238E27FC236}">
                <a16:creationId xmlns:a16="http://schemas.microsoft.com/office/drawing/2014/main" id="{A7E88255-24D3-4C13-9DD0-6733ED8D4014}"/>
              </a:ext>
            </a:extLst>
          </p:cNvPr>
          <p:cNvSpPr>
            <a:spLocks noChangeAspect="1" noChangeArrowheads="1"/>
          </p:cNvSpPr>
          <p:nvPr/>
        </p:nvSpPr>
        <p:spPr bwMode="auto">
          <a:xfrm rot="1350694">
            <a:off x="6749312" y="3189234"/>
            <a:ext cx="3114435" cy="2065389"/>
          </a:xfrm>
          <a:prstGeom prst="rect">
            <a:avLst/>
          </a:prstGeom>
          <a:solidFill>
            <a:schemeClr val="accent3"/>
          </a:solidFill>
          <a:ln w="6350">
            <a:noFill/>
            <a:miter lim="800000"/>
            <a:headEnd/>
            <a:tailEnd/>
          </a:ln>
          <a:effectLst/>
        </p:spPr>
        <p:txBody>
          <a:bodyPr lIns="252000" tIns="180000" rIns="72000" bIns="108000" anchor="t" anchorCtr="0"/>
          <a:lstStyle/>
          <a:p>
            <a:pPr eaLnBrk="0" hangingPunct="0">
              <a:spcBef>
                <a:spcPts val="100"/>
              </a:spcBef>
              <a:spcAft>
                <a:spcPts val="100"/>
              </a:spcAft>
              <a:buClr>
                <a:schemeClr val="folHlink"/>
              </a:buClr>
            </a:pPr>
            <a:r>
              <a:rPr lang="en-US" b="1" cap="all" dirty="0">
                <a:solidFill>
                  <a:schemeClr val="bg1"/>
                </a:solidFill>
                <a:latin typeface="+mj-lt"/>
              </a:rPr>
              <a:t>Text</a:t>
            </a:r>
          </a:p>
          <a:p>
            <a:pPr marL="180000" indent="-180000" eaLnBrk="0" hangingPunct="0">
              <a:spcBef>
                <a:spcPts val="100"/>
              </a:spcBef>
              <a:spcAft>
                <a:spcPts val="100"/>
              </a:spcAft>
              <a:buFontTx/>
              <a:buChar char="•"/>
            </a:pPr>
            <a:r>
              <a:rPr lang="en-US" dirty="0">
                <a:solidFill>
                  <a:schemeClr val="bg1"/>
                </a:solidFill>
              </a:rPr>
              <a:t>Text</a:t>
            </a:r>
          </a:p>
          <a:p>
            <a:pPr marL="180000" indent="-180000" eaLnBrk="0" hangingPunct="0">
              <a:spcBef>
                <a:spcPts val="100"/>
              </a:spcBef>
              <a:spcAft>
                <a:spcPts val="100"/>
              </a:spcAft>
              <a:buFontTx/>
              <a:buChar char="•"/>
            </a:pPr>
            <a:r>
              <a:rPr lang="en-US" dirty="0">
                <a:solidFill>
                  <a:schemeClr val="bg1"/>
                </a:solidFill>
              </a:rPr>
              <a:t>Text</a:t>
            </a:r>
          </a:p>
          <a:p>
            <a:pPr marL="180000" indent="-180000" eaLnBrk="0" hangingPunct="0">
              <a:spcBef>
                <a:spcPts val="100"/>
              </a:spcBef>
              <a:spcAft>
                <a:spcPts val="100"/>
              </a:spcAft>
              <a:buFontTx/>
              <a:buChar char="•"/>
            </a:pPr>
            <a:r>
              <a:rPr lang="en-US" dirty="0">
                <a:solidFill>
                  <a:schemeClr val="bg1"/>
                </a:solidFill>
              </a:rPr>
              <a:t>Text</a:t>
            </a:r>
          </a:p>
        </p:txBody>
      </p:sp>
      <p:sp>
        <p:nvSpPr>
          <p:cNvPr id="8" name="Footer Placeholder 7">
            <a:extLst>
              <a:ext uri="{FF2B5EF4-FFF2-40B4-BE49-F238E27FC236}">
                <a16:creationId xmlns:a16="http://schemas.microsoft.com/office/drawing/2014/main" id="{D3609090-5DEF-4561-A4A7-0EE40AB1C2CE}"/>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9" name="Slide Number Placeholder 8">
            <a:extLst>
              <a:ext uri="{FF2B5EF4-FFF2-40B4-BE49-F238E27FC236}">
                <a16:creationId xmlns:a16="http://schemas.microsoft.com/office/drawing/2014/main" id="{1E7354BC-AC93-43E7-9DF3-FC1F9114D2E6}"/>
              </a:ext>
            </a:extLst>
          </p:cNvPr>
          <p:cNvSpPr>
            <a:spLocks noGrp="1"/>
          </p:cNvSpPr>
          <p:nvPr>
            <p:ph type="sldNum" sz="quarter" idx="10"/>
          </p:nvPr>
        </p:nvSpPr>
        <p:spPr/>
        <p:txBody>
          <a:bodyPr/>
          <a:lstStyle/>
          <a:p>
            <a:fld id="{1F90F471-3972-4120-B8B3-0237DE626C35}" type="slidenum">
              <a:rPr lang="en-US" smtClean="0"/>
              <a:pPr/>
              <a:t>120</a:t>
            </a:fld>
            <a:endParaRPr lang="en-US" dirty="0"/>
          </a:p>
        </p:txBody>
      </p:sp>
    </p:spTree>
    <p:extLst>
      <p:ext uri="{BB962C8B-B14F-4D97-AF65-F5344CB8AC3E}">
        <p14:creationId xmlns:p14="http://schemas.microsoft.com/office/powerpoint/2010/main" val="90077389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BD91C4-E3C9-44E8-994D-3C3239BF2A54}"/>
              </a:ext>
            </a:extLst>
          </p:cNvPr>
          <p:cNvSpPr>
            <a:spLocks noGrp="1"/>
          </p:cNvSpPr>
          <p:nvPr>
            <p:ph type="title"/>
          </p:nvPr>
        </p:nvSpPr>
        <p:spPr/>
        <p:txBody>
          <a:bodyPr/>
          <a:lstStyle/>
          <a:p>
            <a:r>
              <a:rPr lang="en-US" dirty="0"/>
              <a:t>Dependence</a:t>
            </a:r>
          </a:p>
        </p:txBody>
      </p:sp>
      <p:cxnSp>
        <p:nvCxnSpPr>
          <p:cNvPr id="24" name="AutoShape 11">
            <a:extLst>
              <a:ext uri="{FF2B5EF4-FFF2-40B4-BE49-F238E27FC236}">
                <a16:creationId xmlns:a16="http://schemas.microsoft.com/office/drawing/2014/main" id="{046627A9-0406-47D4-A8AB-BCA31D091876}"/>
              </a:ext>
              <a:ext uri="{C183D7F6-B498-43B3-948B-1728B52AA6E4}">
                <adec:decorative xmlns:adec="http://schemas.microsoft.com/office/drawing/2017/decorative" val="1"/>
              </a:ext>
            </a:extLst>
          </p:cNvPr>
          <p:cNvCxnSpPr>
            <a:cxnSpLocks noChangeShapeType="1"/>
            <a:stCxn id="17" idx="3"/>
            <a:endCxn id="20" idx="3"/>
          </p:cNvCxnSpPr>
          <p:nvPr/>
        </p:nvCxnSpPr>
        <p:spPr bwMode="auto">
          <a:xfrm rot="5400000" flipV="1">
            <a:off x="5746040" y="257793"/>
            <a:ext cx="729453" cy="4783259"/>
          </a:xfrm>
          <a:prstGeom prst="bentConnector3">
            <a:avLst>
              <a:gd name="adj1" fmla="val -130259"/>
            </a:avLst>
          </a:prstGeom>
          <a:noFill/>
          <a:ln w="19050">
            <a:solidFill>
              <a:schemeClr val="tx2">
                <a:lumMod val="60000"/>
                <a:lumOff val="40000"/>
              </a:schemeClr>
            </a:solidFill>
            <a:miter lim="800000"/>
            <a:headEnd/>
            <a:tailEnd/>
          </a:ln>
          <a:effectLst/>
        </p:spPr>
      </p:cxnSp>
      <p:sp>
        <p:nvSpPr>
          <p:cNvPr id="22" name="Rectangle 8">
            <a:extLst>
              <a:ext uri="{FF2B5EF4-FFF2-40B4-BE49-F238E27FC236}">
                <a16:creationId xmlns:a16="http://schemas.microsoft.com/office/drawing/2014/main" id="{0CA6E3F7-26EB-4FA8-AEE8-EFB68740252F}"/>
              </a:ext>
              <a:ext uri="{C183D7F6-B498-43B3-948B-1728B52AA6E4}">
                <adec:decorative xmlns:adec="http://schemas.microsoft.com/office/drawing/2017/decorative" val="1"/>
              </a:ext>
            </a:extLst>
          </p:cNvPr>
          <p:cNvSpPr>
            <a:spLocks noChangeArrowheads="1"/>
          </p:cNvSpPr>
          <p:nvPr/>
        </p:nvSpPr>
        <p:spPr bwMode="auto">
          <a:xfrm>
            <a:off x="3779921" y="1390877"/>
            <a:ext cx="527343" cy="527344"/>
          </a:xfrm>
          <a:prstGeom prst="rect">
            <a:avLst/>
          </a:prstGeom>
          <a:pattFill prst="dkUpDiag">
            <a:fgClr>
              <a:schemeClr val="tx2">
                <a:lumMod val="20000"/>
                <a:lumOff val="80000"/>
              </a:schemeClr>
            </a:fgClr>
            <a:bgClr>
              <a:schemeClr val="bg1"/>
            </a:bgClr>
          </a:pattFill>
          <a:ln w="6350">
            <a:noFill/>
            <a:miter lim="800000"/>
            <a:headEnd/>
            <a:tailEnd/>
          </a:ln>
        </p:spPr>
        <p:txBody>
          <a:bodyPr lIns="72000" tIns="72000" rIns="72000" bIns="72000" anchor="ctr"/>
          <a:lstStyle/>
          <a:p>
            <a:endParaRPr lang="de-DE" sz="1400"/>
          </a:p>
        </p:txBody>
      </p:sp>
      <p:grpSp>
        <p:nvGrpSpPr>
          <p:cNvPr id="3" name="Group 2" descr="Text Group 1">
            <a:extLst>
              <a:ext uri="{FF2B5EF4-FFF2-40B4-BE49-F238E27FC236}">
                <a16:creationId xmlns:a16="http://schemas.microsoft.com/office/drawing/2014/main" id="{37FBE611-5A58-496D-BC3A-CC61B269EEA6}"/>
              </a:ext>
            </a:extLst>
          </p:cNvPr>
          <p:cNvGrpSpPr/>
          <p:nvPr/>
        </p:nvGrpSpPr>
        <p:grpSpPr>
          <a:xfrm>
            <a:off x="1879243" y="2284695"/>
            <a:ext cx="3644941" cy="3043259"/>
            <a:chOff x="1879243" y="2284695"/>
            <a:chExt cx="3644941" cy="3043259"/>
          </a:xfrm>
        </p:grpSpPr>
        <p:sp>
          <p:nvSpPr>
            <p:cNvPr id="17" name="Freeform 4">
              <a:extLst>
                <a:ext uri="{FF2B5EF4-FFF2-40B4-BE49-F238E27FC236}">
                  <a16:creationId xmlns:a16="http://schemas.microsoft.com/office/drawing/2014/main" id="{9F2FC97E-BF99-4447-874F-49AA27DD9DC6}"/>
                </a:ext>
                <a:ext uri="{C183D7F6-B498-43B3-948B-1728B52AA6E4}">
                  <adec:decorative xmlns:adec="http://schemas.microsoft.com/office/drawing/2017/decorative" val="1"/>
                </a:ext>
              </a:extLst>
            </p:cNvPr>
            <p:cNvSpPr>
              <a:spLocks/>
            </p:cNvSpPr>
            <p:nvPr/>
          </p:nvSpPr>
          <p:spPr bwMode="auto">
            <a:xfrm>
              <a:off x="1879243" y="2284695"/>
              <a:ext cx="3644941" cy="3043259"/>
            </a:xfrm>
            <a:custGeom>
              <a:avLst/>
              <a:gdLst/>
              <a:ahLst/>
              <a:cxnLst>
                <a:cxn ang="0">
                  <a:pos x="1328" y="1332"/>
                </a:cxn>
                <a:cxn ang="0">
                  <a:pos x="0" y="1332"/>
                </a:cxn>
                <a:cxn ang="0">
                  <a:pos x="0" y="258"/>
                </a:cxn>
                <a:cxn ang="0">
                  <a:pos x="670" y="0"/>
                </a:cxn>
                <a:cxn ang="0">
                  <a:pos x="1328" y="246"/>
                </a:cxn>
                <a:cxn ang="0">
                  <a:pos x="1328" y="1332"/>
                </a:cxn>
              </a:cxnLst>
              <a:rect l="0" t="0" r="r" b="b"/>
              <a:pathLst>
                <a:path w="1328" h="1332">
                  <a:moveTo>
                    <a:pt x="1328" y="1332"/>
                  </a:moveTo>
                  <a:lnTo>
                    <a:pt x="0" y="1332"/>
                  </a:lnTo>
                  <a:lnTo>
                    <a:pt x="0" y="258"/>
                  </a:lnTo>
                  <a:lnTo>
                    <a:pt x="670" y="0"/>
                  </a:lnTo>
                  <a:lnTo>
                    <a:pt x="1328" y="246"/>
                  </a:lnTo>
                  <a:lnTo>
                    <a:pt x="1328" y="1332"/>
                  </a:lnTo>
                  <a:close/>
                </a:path>
              </a:pathLst>
            </a:custGeom>
            <a:pattFill prst="dkUpDiag">
              <a:fgClr>
                <a:schemeClr val="accent1">
                  <a:lumMod val="20000"/>
                  <a:lumOff val="80000"/>
                </a:schemeClr>
              </a:fgClr>
              <a:bgClr>
                <a:schemeClr val="bg1"/>
              </a:bgClr>
            </a:pattFill>
            <a:ln w="6350" cmpd="sng">
              <a:noFill/>
              <a:prstDash val="solid"/>
              <a:round/>
              <a:headEnd/>
              <a:tailEnd/>
            </a:ln>
          </p:spPr>
          <p:txBody>
            <a:bodyPr lIns="72000" tIns="72000" rIns="72000" bIns="72000" anchor="ctr"/>
            <a:lstStyle/>
            <a:p>
              <a:endParaRPr lang="de-DE" sz="1400"/>
            </a:p>
          </p:txBody>
        </p:sp>
        <p:sp>
          <p:nvSpPr>
            <p:cNvPr id="19" name="Rectangle 5">
              <a:extLst>
                <a:ext uri="{FF2B5EF4-FFF2-40B4-BE49-F238E27FC236}">
                  <a16:creationId xmlns:a16="http://schemas.microsoft.com/office/drawing/2014/main" id="{A665FE70-5F17-48FC-A315-7EC1B7C304BA}"/>
                </a:ext>
              </a:extLst>
            </p:cNvPr>
            <p:cNvSpPr>
              <a:spLocks noChangeArrowheads="1"/>
            </p:cNvSpPr>
            <p:nvPr/>
          </p:nvSpPr>
          <p:spPr bwMode="auto">
            <a:xfrm>
              <a:off x="2032568" y="2967686"/>
              <a:ext cx="3340616" cy="2241790"/>
            </a:xfrm>
            <a:prstGeom prst="rect">
              <a:avLst/>
            </a:prstGeom>
            <a:solidFill>
              <a:schemeClr val="accent1"/>
            </a:solidFill>
            <a:ln w="6350">
              <a:noFill/>
              <a:miter lim="800000"/>
              <a:headEnd/>
              <a:tailEnd/>
            </a:ln>
          </p:spPr>
          <p:txBody>
            <a:bodyPr lIns="180000" tIns="144000" rIns="72000" bIns="72000"/>
            <a:lstStyle/>
            <a:p>
              <a:pPr algn="l" eaLnBrk="0" hangingPunct="0">
                <a:lnSpc>
                  <a:spcPct val="85000"/>
                </a:lnSpc>
                <a:spcBef>
                  <a:spcPts val="100"/>
                </a:spcBef>
                <a:spcAft>
                  <a:spcPts val="300"/>
                </a:spcAft>
              </a:pPr>
              <a:r>
                <a:rPr lang="en-US" b="1" cap="all" dirty="0">
                  <a:solidFill>
                    <a:schemeClr val="bg1"/>
                  </a:solidFill>
                  <a:latin typeface="+mj-lt"/>
                </a:rPr>
                <a:t>Text</a:t>
              </a:r>
            </a:p>
            <a:p>
              <a:pPr marL="174625" indent="-174625" algn="l" eaLnBrk="0" hangingPunct="0">
                <a:spcBef>
                  <a:spcPts val="100"/>
                </a:spcBef>
                <a:spcAft>
                  <a:spcPts val="100"/>
                </a:spcAft>
                <a:buFontTx/>
                <a:buChar char="•"/>
              </a:pPr>
              <a:r>
                <a:rPr lang="en-US" dirty="0">
                  <a:solidFill>
                    <a:schemeClr val="bg1"/>
                  </a:solidFill>
                </a:rPr>
                <a:t>Text</a:t>
              </a:r>
            </a:p>
            <a:p>
              <a:pPr marL="174625" indent="-174625" algn="l" eaLnBrk="0" hangingPunct="0">
                <a:spcBef>
                  <a:spcPts val="100"/>
                </a:spcBef>
                <a:spcAft>
                  <a:spcPts val="100"/>
                </a:spcAft>
                <a:buFontTx/>
                <a:buChar char="•"/>
              </a:pPr>
              <a:r>
                <a:rPr lang="en-US" dirty="0">
                  <a:solidFill>
                    <a:schemeClr val="bg1"/>
                  </a:solidFill>
                </a:rPr>
                <a:t>Text</a:t>
              </a:r>
            </a:p>
            <a:p>
              <a:pPr marL="174625" indent="-174625" algn="l" eaLnBrk="0" hangingPunct="0">
                <a:spcBef>
                  <a:spcPts val="100"/>
                </a:spcBef>
                <a:spcAft>
                  <a:spcPts val="100"/>
                </a:spcAft>
                <a:buFontTx/>
                <a:buChar char="•"/>
              </a:pPr>
              <a:r>
                <a:rPr lang="en-US" dirty="0">
                  <a:solidFill>
                    <a:schemeClr val="bg1"/>
                  </a:solidFill>
                </a:rPr>
                <a:t>Text</a:t>
              </a:r>
            </a:p>
          </p:txBody>
        </p:sp>
      </p:grpSp>
      <p:sp>
        <p:nvSpPr>
          <p:cNvPr id="23" name="Rectangle 10">
            <a:extLst>
              <a:ext uri="{FF2B5EF4-FFF2-40B4-BE49-F238E27FC236}">
                <a16:creationId xmlns:a16="http://schemas.microsoft.com/office/drawing/2014/main" id="{FECFAC36-2BB9-4C77-BFB0-921FD34EEC8F}"/>
              </a:ext>
              <a:ext uri="{C183D7F6-B498-43B3-948B-1728B52AA6E4}">
                <adec:decorative xmlns:adec="http://schemas.microsoft.com/office/drawing/2017/decorative" val="1"/>
              </a:ext>
            </a:extLst>
          </p:cNvPr>
          <p:cNvSpPr>
            <a:spLocks noChangeArrowheads="1"/>
          </p:cNvSpPr>
          <p:nvPr/>
        </p:nvSpPr>
        <p:spPr bwMode="auto">
          <a:xfrm>
            <a:off x="7911851" y="1390877"/>
            <a:ext cx="527343" cy="527344"/>
          </a:xfrm>
          <a:prstGeom prst="rect">
            <a:avLst/>
          </a:prstGeom>
          <a:pattFill prst="dkUpDiag">
            <a:fgClr>
              <a:schemeClr val="tx2">
                <a:lumMod val="20000"/>
                <a:lumOff val="80000"/>
              </a:schemeClr>
            </a:fgClr>
            <a:bgClr>
              <a:schemeClr val="bg1"/>
            </a:bgClr>
          </a:pattFill>
          <a:ln w="6350">
            <a:noFill/>
            <a:miter lim="800000"/>
            <a:headEnd/>
            <a:tailEnd/>
          </a:ln>
        </p:spPr>
        <p:txBody>
          <a:bodyPr lIns="72000" tIns="72000" rIns="72000" bIns="72000" anchor="ctr"/>
          <a:lstStyle/>
          <a:p>
            <a:endParaRPr lang="de-DE" sz="1400"/>
          </a:p>
        </p:txBody>
      </p:sp>
      <p:grpSp>
        <p:nvGrpSpPr>
          <p:cNvPr id="7" name="Group 6" descr="Test Group 2">
            <a:extLst>
              <a:ext uri="{FF2B5EF4-FFF2-40B4-BE49-F238E27FC236}">
                <a16:creationId xmlns:a16="http://schemas.microsoft.com/office/drawing/2014/main" id="{180E3348-3B90-4345-9249-7002F9828468}"/>
              </a:ext>
            </a:extLst>
          </p:cNvPr>
          <p:cNvGrpSpPr/>
          <p:nvPr/>
        </p:nvGrpSpPr>
        <p:grpSpPr>
          <a:xfrm>
            <a:off x="6660180" y="3014148"/>
            <a:ext cx="3647265" cy="3045582"/>
            <a:chOff x="6660180" y="3014148"/>
            <a:chExt cx="3647265" cy="3045582"/>
          </a:xfrm>
        </p:grpSpPr>
        <p:sp>
          <p:nvSpPr>
            <p:cNvPr id="20" name="Freeform 6">
              <a:extLst>
                <a:ext uri="{FF2B5EF4-FFF2-40B4-BE49-F238E27FC236}">
                  <a16:creationId xmlns:a16="http://schemas.microsoft.com/office/drawing/2014/main" id="{CA7518E9-E60B-46A3-95F8-8FD7B7135641}"/>
                </a:ext>
                <a:ext uri="{C183D7F6-B498-43B3-948B-1728B52AA6E4}">
                  <adec:decorative xmlns:adec="http://schemas.microsoft.com/office/drawing/2017/decorative" val="1"/>
                </a:ext>
              </a:extLst>
            </p:cNvPr>
            <p:cNvSpPr>
              <a:spLocks/>
            </p:cNvSpPr>
            <p:nvPr/>
          </p:nvSpPr>
          <p:spPr bwMode="auto">
            <a:xfrm>
              <a:off x="6660180" y="3014148"/>
              <a:ext cx="3647265" cy="3045582"/>
            </a:xfrm>
            <a:custGeom>
              <a:avLst/>
              <a:gdLst/>
              <a:ahLst/>
              <a:cxnLst>
                <a:cxn ang="0">
                  <a:pos x="1329" y="1333"/>
                </a:cxn>
                <a:cxn ang="0">
                  <a:pos x="0" y="1333"/>
                </a:cxn>
                <a:cxn ang="0">
                  <a:pos x="0" y="258"/>
                </a:cxn>
                <a:cxn ang="0">
                  <a:pos x="671" y="0"/>
                </a:cxn>
                <a:cxn ang="0">
                  <a:pos x="1329" y="252"/>
                </a:cxn>
                <a:cxn ang="0">
                  <a:pos x="1329" y="1333"/>
                </a:cxn>
              </a:cxnLst>
              <a:rect l="0" t="0" r="r" b="b"/>
              <a:pathLst>
                <a:path w="1329" h="1333">
                  <a:moveTo>
                    <a:pt x="1329" y="1333"/>
                  </a:moveTo>
                  <a:lnTo>
                    <a:pt x="0" y="1333"/>
                  </a:lnTo>
                  <a:lnTo>
                    <a:pt x="0" y="258"/>
                  </a:lnTo>
                  <a:lnTo>
                    <a:pt x="671" y="0"/>
                  </a:lnTo>
                  <a:lnTo>
                    <a:pt x="1329" y="252"/>
                  </a:lnTo>
                  <a:lnTo>
                    <a:pt x="1329" y="1333"/>
                  </a:lnTo>
                  <a:close/>
                </a:path>
              </a:pathLst>
            </a:custGeom>
            <a:pattFill prst="dkUpDiag">
              <a:fgClr>
                <a:schemeClr val="accent3">
                  <a:lumMod val="20000"/>
                  <a:lumOff val="80000"/>
                </a:schemeClr>
              </a:fgClr>
              <a:bgClr>
                <a:schemeClr val="bg1"/>
              </a:bgClr>
            </a:pattFill>
            <a:ln w="6350" cmpd="sng">
              <a:noFill/>
              <a:prstDash val="solid"/>
              <a:round/>
              <a:headEnd/>
              <a:tailEnd/>
            </a:ln>
          </p:spPr>
          <p:txBody>
            <a:bodyPr lIns="72000" tIns="72000" rIns="72000" bIns="72000" anchor="ctr"/>
            <a:lstStyle/>
            <a:p>
              <a:endParaRPr lang="de-DE" sz="1400"/>
            </a:p>
          </p:txBody>
        </p:sp>
        <p:sp>
          <p:nvSpPr>
            <p:cNvPr id="21" name="Rectangle 7">
              <a:extLst>
                <a:ext uri="{FF2B5EF4-FFF2-40B4-BE49-F238E27FC236}">
                  <a16:creationId xmlns:a16="http://schemas.microsoft.com/office/drawing/2014/main" id="{DFBD5810-FBDE-430B-A87C-2EE17B3419F6}"/>
                </a:ext>
              </a:extLst>
            </p:cNvPr>
            <p:cNvSpPr>
              <a:spLocks noChangeArrowheads="1"/>
            </p:cNvSpPr>
            <p:nvPr/>
          </p:nvSpPr>
          <p:spPr bwMode="auto">
            <a:xfrm>
              <a:off x="6811181" y="3694816"/>
              <a:ext cx="3342940" cy="2246437"/>
            </a:xfrm>
            <a:prstGeom prst="rect">
              <a:avLst/>
            </a:prstGeom>
            <a:solidFill>
              <a:schemeClr val="accent3"/>
            </a:solidFill>
            <a:ln w="6350">
              <a:noFill/>
              <a:miter lim="800000"/>
              <a:headEnd/>
              <a:tailEnd/>
            </a:ln>
          </p:spPr>
          <p:txBody>
            <a:bodyPr lIns="180000" tIns="144000" rIns="72000" bIns="72000"/>
            <a:lstStyle/>
            <a:p>
              <a:pPr eaLnBrk="0" hangingPunct="0">
                <a:lnSpc>
                  <a:spcPct val="85000"/>
                </a:lnSpc>
                <a:spcBef>
                  <a:spcPts val="100"/>
                </a:spcBef>
                <a:spcAft>
                  <a:spcPts val="300"/>
                </a:spcAft>
              </a:pPr>
              <a:r>
                <a:rPr lang="en-US" b="1" cap="all" dirty="0">
                  <a:solidFill>
                    <a:schemeClr val="bg1"/>
                  </a:solidFill>
                  <a:latin typeface="+mj-lt"/>
                </a:rPr>
                <a:t>Text</a:t>
              </a:r>
            </a:p>
            <a:p>
              <a:pPr marL="180975" indent="-180975" eaLnBrk="0" hangingPunct="0">
                <a:spcBef>
                  <a:spcPts val="100"/>
                </a:spcBef>
                <a:spcAft>
                  <a:spcPts val="100"/>
                </a:spcAft>
                <a:buFont typeface="Arial" panose="020B0604020202020204" pitchFamily="34" charset="0"/>
                <a:buChar char="•"/>
              </a:pPr>
              <a:r>
                <a:rPr lang="en-US" dirty="0">
                  <a:solidFill>
                    <a:schemeClr val="bg1"/>
                  </a:solidFill>
                </a:rPr>
                <a:t>Text</a:t>
              </a:r>
            </a:p>
            <a:p>
              <a:pPr marL="180975" indent="-180975" eaLnBrk="0" hangingPunct="0">
                <a:spcBef>
                  <a:spcPts val="100"/>
                </a:spcBef>
                <a:spcAft>
                  <a:spcPts val="100"/>
                </a:spcAft>
                <a:buFont typeface="Arial" panose="020B0604020202020204" pitchFamily="34" charset="0"/>
                <a:buChar char="•"/>
              </a:pPr>
              <a:r>
                <a:rPr lang="en-US" dirty="0">
                  <a:solidFill>
                    <a:schemeClr val="bg1"/>
                  </a:solidFill>
                </a:rPr>
                <a:t>Text</a:t>
              </a:r>
            </a:p>
            <a:p>
              <a:pPr marL="180975" indent="-180975" eaLnBrk="0" hangingPunct="0">
                <a:spcBef>
                  <a:spcPts val="100"/>
                </a:spcBef>
                <a:spcAft>
                  <a:spcPts val="100"/>
                </a:spcAft>
                <a:buFont typeface="Arial" panose="020B0604020202020204" pitchFamily="34" charset="0"/>
                <a:buChar char="•"/>
              </a:pPr>
              <a:r>
                <a:rPr lang="en-US" dirty="0">
                  <a:solidFill>
                    <a:schemeClr val="bg1"/>
                  </a:solidFill>
                </a:rPr>
                <a:t>Text</a:t>
              </a:r>
            </a:p>
          </p:txBody>
        </p:sp>
      </p:grpSp>
      <p:sp>
        <p:nvSpPr>
          <p:cNvPr id="4" name="Footer Placeholder 3">
            <a:extLst>
              <a:ext uri="{FF2B5EF4-FFF2-40B4-BE49-F238E27FC236}">
                <a16:creationId xmlns:a16="http://schemas.microsoft.com/office/drawing/2014/main" id="{AD972662-DA55-4CF0-A989-169A25A86ED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786E0226-E4B0-4E10-8100-67A421158519}"/>
              </a:ext>
            </a:extLst>
          </p:cNvPr>
          <p:cNvSpPr>
            <a:spLocks noGrp="1"/>
          </p:cNvSpPr>
          <p:nvPr>
            <p:ph type="sldNum" sz="quarter" idx="10"/>
          </p:nvPr>
        </p:nvSpPr>
        <p:spPr/>
        <p:txBody>
          <a:bodyPr/>
          <a:lstStyle/>
          <a:p>
            <a:fld id="{1F90F471-3972-4120-B8B3-0237DE626C35}" type="slidenum">
              <a:rPr lang="en-US" smtClean="0"/>
              <a:pPr/>
              <a:t>121</a:t>
            </a:fld>
            <a:endParaRPr lang="en-US" dirty="0"/>
          </a:p>
        </p:txBody>
      </p:sp>
    </p:spTree>
    <p:extLst>
      <p:ext uri="{BB962C8B-B14F-4D97-AF65-F5344CB8AC3E}">
        <p14:creationId xmlns:p14="http://schemas.microsoft.com/office/powerpoint/2010/main" val="200104980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BD91C4-E3C9-44E8-994D-3C3239BF2A54}"/>
              </a:ext>
            </a:extLst>
          </p:cNvPr>
          <p:cNvSpPr>
            <a:spLocks noGrp="1"/>
          </p:cNvSpPr>
          <p:nvPr>
            <p:ph type="title"/>
          </p:nvPr>
        </p:nvSpPr>
        <p:spPr/>
        <p:txBody>
          <a:bodyPr/>
          <a:lstStyle/>
          <a:p>
            <a:r>
              <a:rPr lang="en-US" dirty="0"/>
              <a:t>Balancing Steps</a:t>
            </a:r>
          </a:p>
        </p:txBody>
      </p:sp>
      <p:sp>
        <p:nvSpPr>
          <p:cNvPr id="6" name="AutoShape 6">
            <a:extLst>
              <a:ext uri="{FF2B5EF4-FFF2-40B4-BE49-F238E27FC236}">
                <a16:creationId xmlns:a16="http://schemas.microsoft.com/office/drawing/2014/main" id="{7164FC55-CB24-4DDD-AB09-BDE566B336C4}"/>
              </a:ext>
            </a:extLst>
          </p:cNvPr>
          <p:cNvSpPr>
            <a:spLocks noChangeArrowheads="1"/>
          </p:cNvSpPr>
          <p:nvPr/>
        </p:nvSpPr>
        <p:spPr bwMode="auto">
          <a:xfrm rot="5773680">
            <a:off x="1621209" y="2004165"/>
            <a:ext cx="3578691" cy="2347152"/>
          </a:xfrm>
          <a:prstGeom prst="homePlate">
            <a:avLst>
              <a:gd name="adj" fmla="val 35186"/>
            </a:avLst>
          </a:prstGeom>
          <a:solidFill>
            <a:schemeClr val="accent3">
              <a:lumMod val="20000"/>
              <a:lumOff val="80000"/>
            </a:schemeClr>
          </a:solidFill>
          <a:ln w="6350">
            <a:noFill/>
            <a:miter lim="800000"/>
            <a:headEnd/>
            <a:tailEnd/>
          </a:ln>
          <a:effectLst/>
        </p:spPr>
        <p:txBody>
          <a:bodyPr rot="10800000" vert="eaVert" wrap="none" lIns="72000" tIns="180000" rIns="72000" bIns="72000" anchor="ctr"/>
          <a:lstStyle/>
          <a:p>
            <a:pPr algn="l" eaLnBrk="0" hangingPunct="0">
              <a:lnSpc>
                <a:spcPct val="85000"/>
              </a:lnSpc>
              <a:spcBef>
                <a:spcPts val="100"/>
              </a:spcBef>
              <a:spcAft>
                <a:spcPts val="300"/>
              </a:spcAft>
              <a:buClr>
                <a:schemeClr val="folHlink"/>
              </a:buClr>
            </a:pPr>
            <a:r>
              <a:rPr lang="en-US" b="1" cap="all" dirty="0">
                <a:solidFill>
                  <a:schemeClr val="accent3"/>
                </a:solidFill>
                <a:latin typeface="+mj-lt"/>
              </a:rPr>
              <a:t>Text</a:t>
            </a:r>
          </a:p>
          <a:p>
            <a:pPr marL="179388" indent="-179388" algn="l" eaLnBrk="0" hangingPunct="0">
              <a:spcBef>
                <a:spcPts val="100"/>
              </a:spcBef>
              <a:spcAft>
                <a:spcPts val="100"/>
              </a:spcAft>
              <a:buFontTx/>
              <a:buChar char="•"/>
            </a:pPr>
            <a:r>
              <a:rPr lang="en-US" dirty="0">
                <a:solidFill>
                  <a:schemeClr val="accent3"/>
                </a:solidFill>
              </a:rPr>
              <a:t>Text</a:t>
            </a:r>
          </a:p>
          <a:p>
            <a:pPr marL="179388" indent="-179388" algn="l" eaLnBrk="0" hangingPunct="0">
              <a:spcBef>
                <a:spcPts val="100"/>
              </a:spcBef>
              <a:spcAft>
                <a:spcPts val="100"/>
              </a:spcAft>
              <a:buFontTx/>
              <a:buChar char="•"/>
            </a:pPr>
            <a:r>
              <a:rPr lang="en-US" dirty="0">
                <a:solidFill>
                  <a:schemeClr val="accent3"/>
                </a:solidFill>
              </a:rPr>
              <a:t>Text</a:t>
            </a:r>
          </a:p>
          <a:p>
            <a:pPr marL="179388" indent="-179388" algn="l" eaLnBrk="0" hangingPunct="0">
              <a:spcBef>
                <a:spcPts val="100"/>
              </a:spcBef>
              <a:spcAft>
                <a:spcPts val="100"/>
              </a:spcAft>
              <a:buFontTx/>
              <a:buChar char="•"/>
            </a:pPr>
            <a:r>
              <a:rPr lang="en-US" dirty="0">
                <a:solidFill>
                  <a:schemeClr val="accent3"/>
                </a:solidFill>
              </a:rPr>
              <a:t>Text</a:t>
            </a:r>
          </a:p>
          <a:p>
            <a:pPr marL="179388" indent="-179388" algn="l" eaLnBrk="0" hangingPunct="0">
              <a:spcBef>
                <a:spcPts val="100"/>
              </a:spcBef>
              <a:spcAft>
                <a:spcPts val="100"/>
              </a:spcAft>
              <a:buFontTx/>
              <a:buChar char="•"/>
            </a:pPr>
            <a:r>
              <a:rPr lang="en-US" dirty="0">
                <a:solidFill>
                  <a:schemeClr val="accent3"/>
                </a:solidFill>
              </a:rPr>
              <a:t>Text</a:t>
            </a:r>
          </a:p>
        </p:txBody>
      </p:sp>
      <p:sp>
        <p:nvSpPr>
          <p:cNvPr id="5" name="AutoShape 5">
            <a:extLst>
              <a:ext uri="{FF2B5EF4-FFF2-40B4-BE49-F238E27FC236}">
                <a16:creationId xmlns:a16="http://schemas.microsoft.com/office/drawing/2014/main" id="{586CE6FB-21E1-4350-99D6-DD77BA3D7CB0}"/>
              </a:ext>
            </a:extLst>
          </p:cNvPr>
          <p:cNvSpPr>
            <a:spLocks noChangeArrowheads="1"/>
          </p:cNvSpPr>
          <p:nvPr/>
        </p:nvSpPr>
        <p:spPr bwMode="auto">
          <a:xfrm rot="16573680">
            <a:off x="7395734" y="2654806"/>
            <a:ext cx="3580943" cy="2342994"/>
          </a:xfrm>
          <a:prstGeom prst="homePlate">
            <a:avLst>
              <a:gd name="adj" fmla="val 35271"/>
            </a:avLst>
          </a:prstGeom>
          <a:solidFill>
            <a:schemeClr val="accent3"/>
          </a:solidFill>
          <a:ln w="6350">
            <a:noFill/>
            <a:miter lim="800000"/>
            <a:headEnd/>
            <a:tailEnd/>
          </a:ln>
          <a:effectLst/>
        </p:spPr>
        <p:txBody>
          <a:bodyPr vert="eaVert" lIns="72000" tIns="180000" rIns="72000" bIns="72000" anchor="ctr"/>
          <a:lstStyle/>
          <a:p>
            <a:pPr algn="l" eaLnBrk="0" hangingPunct="0">
              <a:lnSpc>
                <a:spcPct val="85000"/>
              </a:lnSpc>
              <a:spcBef>
                <a:spcPts val="100"/>
              </a:spcBef>
              <a:spcAft>
                <a:spcPts val="300"/>
              </a:spcAft>
              <a:buClr>
                <a:schemeClr val="folHlink"/>
              </a:buClr>
            </a:pPr>
            <a:r>
              <a:rPr lang="en-US" b="1" cap="all" dirty="0">
                <a:solidFill>
                  <a:schemeClr val="bg1"/>
                </a:solidFill>
                <a:latin typeface="+mj-lt"/>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p:txBody>
      </p:sp>
      <p:sp>
        <p:nvSpPr>
          <p:cNvPr id="7" name="Rectangle 7">
            <a:extLst>
              <a:ext uri="{FF2B5EF4-FFF2-40B4-BE49-F238E27FC236}">
                <a16:creationId xmlns:a16="http://schemas.microsoft.com/office/drawing/2014/main" id="{9D4E6526-F7FE-44E2-ABF6-10E667C085AF}"/>
              </a:ext>
              <a:ext uri="{C183D7F6-B498-43B3-948B-1728B52AA6E4}">
                <adec:decorative xmlns:adec="http://schemas.microsoft.com/office/drawing/2017/decorative" val="1"/>
              </a:ext>
            </a:extLst>
          </p:cNvPr>
          <p:cNvSpPr>
            <a:spLocks noChangeAspect="1" noChangeArrowheads="1"/>
          </p:cNvSpPr>
          <p:nvPr/>
        </p:nvSpPr>
        <p:spPr bwMode="auto">
          <a:xfrm rot="373680">
            <a:off x="1990907" y="5288375"/>
            <a:ext cx="8189044" cy="277016"/>
          </a:xfrm>
          <a:prstGeom prst="rect">
            <a:avLst/>
          </a:prstGeom>
          <a:pattFill prst="dkUpDiag">
            <a:fgClr>
              <a:schemeClr val="tx2">
                <a:lumMod val="40000"/>
                <a:lumOff val="60000"/>
              </a:schemeClr>
            </a:fgClr>
            <a:bgClr>
              <a:schemeClr val="bg1"/>
            </a:bgClr>
          </a:pattFill>
          <a:ln w="6350">
            <a:noFill/>
            <a:miter lim="800000"/>
            <a:headEnd/>
            <a:tailEnd/>
          </a:ln>
          <a:effectLst/>
        </p:spPr>
        <p:txBody>
          <a:bodyPr wrap="none" lIns="45720" rIns="45720" anchor="ctr"/>
          <a:lstStyle/>
          <a:p>
            <a:pPr eaLnBrk="0" hangingPunct="0">
              <a:spcBef>
                <a:spcPct val="0"/>
              </a:spcBef>
            </a:pPr>
            <a:r>
              <a:rPr lang="en-US" sz="1400">
                <a:solidFill>
                  <a:schemeClr val="bg1"/>
                </a:solidFill>
              </a:rPr>
              <a:t> </a:t>
            </a:r>
          </a:p>
        </p:txBody>
      </p:sp>
      <p:sp>
        <p:nvSpPr>
          <p:cNvPr id="8" name="Oval 8">
            <a:extLst>
              <a:ext uri="{FF2B5EF4-FFF2-40B4-BE49-F238E27FC236}">
                <a16:creationId xmlns:a16="http://schemas.microsoft.com/office/drawing/2014/main" id="{1AB374F1-0F1F-44FA-A6B2-FB7F4239E6BE}"/>
              </a:ext>
              <a:ext uri="{C183D7F6-B498-43B3-948B-1728B52AA6E4}">
                <adec:decorative xmlns:adec="http://schemas.microsoft.com/office/drawing/2017/decorative" val="1"/>
              </a:ext>
            </a:extLst>
          </p:cNvPr>
          <p:cNvSpPr>
            <a:spLocks noChangeArrowheads="1"/>
          </p:cNvSpPr>
          <p:nvPr/>
        </p:nvSpPr>
        <p:spPr bwMode="auto">
          <a:xfrm>
            <a:off x="5866098" y="5567643"/>
            <a:ext cx="449056" cy="486468"/>
          </a:xfrm>
          <a:prstGeom prst="ellipse">
            <a:avLst/>
          </a:prstGeom>
          <a:pattFill prst="dkUpDiag">
            <a:fgClr>
              <a:schemeClr val="tx2">
                <a:lumMod val="40000"/>
                <a:lumOff val="60000"/>
              </a:schemeClr>
            </a:fgClr>
            <a:bgClr>
              <a:schemeClr val="bg1"/>
            </a:bgClr>
          </a:pattFill>
          <a:ln w="6350">
            <a:noFill/>
            <a:round/>
            <a:headEnd type="none" w="sm" len="sm"/>
            <a:tailEnd type="none" w="sm" len="sm"/>
          </a:ln>
          <a:effectLst/>
        </p:spPr>
        <p:txBody>
          <a:bodyPr wrap="none" anchor="ctr"/>
          <a:lstStyle/>
          <a:p>
            <a:endParaRPr lang="de-DE" sz="1400"/>
          </a:p>
        </p:txBody>
      </p:sp>
      <p:sp>
        <p:nvSpPr>
          <p:cNvPr id="4" name="Line 4">
            <a:extLst>
              <a:ext uri="{FF2B5EF4-FFF2-40B4-BE49-F238E27FC236}">
                <a16:creationId xmlns:a16="http://schemas.microsoft.com/office/drawing/2014/main" id="{2D696C39-41C4-48A0-BC17-2B63A4DDECBC}"/>
              </a:ext>
              <a:ext uri="{C183D7F6-B498-43B3-948B-1728B52AA6E4}">
                <adec:decorative xmlns:adec="http://schemas.microsoft.com/office/drawing/2017/decorative" val="1"/>
              </a:ext>
            </a:extLst>
          </p:cNvPr>
          <p:cNvSpPr>
            <a:spLocks noChangeShapeType="1"/>
          </p:cNvSpPr>
          <p:nvPr/>
        </p:nvSpPr>
        <p:spPr bwMode="auto">
          <a:xfrm>
            <a:off x="1976354" y="6054111"/>
            <a:ext cx="8178649" cy="2252"/>
          </a:xfrm>
          <a:prstGeom prst="line">
            <a:avLst/>
          </a:prstGeom>
          <a:noFill/>
          <a:ln w="6350">
            <a:solidFill>
              <a:schemeClr val="tx2">
                <a:lumMod val="60000"/>
                <a:lumOff val="40000"/>
              </a:schemeClr>
            </a:solidFill>
            <a:round/>
            <a:headEnd/>
            <a:tailEnd/>
          </a:ln>
        </p:spPr>
        <p:txBody>
          <a:bodyPr/>
          <a:lstStyle/>
          <a:p>
            <a:endParaRPr lang="de-DE" sz="1400"/>
          </a:p>
        </p:txBody>
      </p:sp>
      <p:sp>
        <p:nvSpPr>
          <p:cNvPr id="9" name="Footer Placeholder 8">
            <a:extLst>
              <a:ext uri="{FF2B5EF4-FFF2-40B4-BE49-F238E27FC236}">
                <a16:creationId xmlns:a16="http://schemas.microsoft.com/office/drawing/2014/main" id="{33BCFE72-2B81-41FF-A434-3AA83B9D9A0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0" name="Slide Number Placeholder 9">
            <a:extLst>
              <a:ext uri="{FF2B5EF4-FFF2-40B4-BE49-F238E27FC236}">
                <a16:creationId xmlns:a16="http://schemas.microsoft.com/office/drawing/2014/main" id="{464EBA76-6812-4DAB-8C49-0198C062D39F}"/>
              </a:ext>
            </a:extLst>
          </p:cNvPr>
          <p:cNvSpPr>
            <a:spLocks noGrp="1"/>
          </p:cNvSpPr>
          <p:nvPr>
            <p:ph type="sldNum" sz="quarter" idx="10"/>
          </p:nvPr>
        </p:nvSpPr>
        <p:spPr/>
        <p:txBody>
          <a:bodyPr/>
          <a:lstStyle/>
          <a:p>
            <a:fld id="{1F90F471-3972-4120-B8B3-0237DE626C35}" type="slidenum">
              <a:rPr lang="en-US" smtClean="0"/>
              <a:pPr/>
              <a:t>122</a:t>
            </a:fld>
            <a:endParaRPr lang="en-US" dirty="0"/>
          </a:p>
        </p:txBody>
      </p:sp>
    </p:spTree>
    <p:extLst>
      <p:ext uri="{BB962C8B-B14F-4D97-AF65-F5344CB8AC3E}">
        <p14:creationId xmlns:p14="http://schemas.microsoft.com/office/powerpoint/2010/main" val="169075804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06760-70A1-4980-AA93-96EC7518B293}"/>
              </a:ext>
            </a:extLst>
          </p:cNvPr>
          <p:cNvSpPr>
            <a:spLocks noGrp="1"/>
          </p:cNvSpPr>
          <p:nvPr>
            <p:ph type="title"/>
          </p:nvPr>
        </p:nvSpPr>
        <p:spPr/>
        <p:txBody>
          <a:bodyPr/>
          <a:lstStyle/>
          <a:p>
            <a:r>
              <a:rPr lang="en-US" dirty="0"/>
              <a:t>Rethinking</a:t>
            </a:r>
          </a:p>
        </p:txBody>
      </p:sp>
      <p:sp>
        <p:nvSpPr>
          <p:cNvPr id="11" name="AutoShape 6">
            <a:extLst>
              <a:ext uri="{FF2B5EF4-FFF2-40B4-BE49-F238E27FC236}">
                <a16:creationId xmlns:a16="http://schemas.microsoft.com/office/drawing/2014/main" id="{5B0E0CAD-48DA-4CA0-AE2B-B828AB543065}"/>
              </a:ext>
            </a:extLst>
          </p:cNvPr>
          <p:cNvSpPr>
            <a:spLocks noChangeArrowheads="1"/>
          </p:cNvSpPr>
          <p:nvPr/>
        </p:nvSpPr>
        <p:spPr bwMode="auto">
          <a:xfrm>
            <a:off x="1468438" y="1400427"/>
            <a:ext cx="4464000" cy="4680000"/>
          </a:xfrm>
          <a:prstGeom prst="triangle">
            <a:avLst>
              <a:gd name="adj" fmla="val 50000"/>
            </a:avLst>
          </a:prstGeom>
          <a:solidFill>
            <a:schemeClr val="accent1">
              <a:lumMod val="20000"/>
              <a:lumOff val="80000"/>
            </a:schemeClr>
          </a:solidFill>
          <a:ln w="6350">
            <a:noFill/>
            <a:miter lim="800000"/>
            <a:headEnd/>
            <a:tailEnd/>
          </a:ln>
          <a:effectLst/>
        </p:spPr>
        <p:txBody>
          <a:bodyPr wrap="none" lIns="72000" tIns="72000" rIns="72000" bIns="720000" anchor="b"/>
          <a:lstStyle/>
          <a:p>
            <a:pPr algn="ctr" eaLnBrk="0" hangingPunct="0">
              <a:spcBef>
                <a:spcPct val="0"/>
              </a:spcBef>
            </a:pPr>
            <a:r>
              <a:rPr lang="en-US" b="1" dirty="0">
                <a:solidFill>
                  <a:schemeClr val="accent1"/>
                </a:solidFill>
              </a:rPr>
              <a:t>Text</a:t>
            </a:r>
          </a:p>
          <a:p>
            <a:pPr algn="ctr" eaLnBrk="0" hangingPunct="0">
              <a:spcBef>
                <a:spcPct val="0"/>
              </a:spcBef>
            </a:pPr>
            <a:endParaRPr lang="en-US" b="1" dirty="0">
              <a:solidFill>
                <a:schemeClr val="accent1"/>
              </a:solidFill>
            </a:endParaRPr>
          </a:p>
          <a:p>
            <a:pPr algn="ctr" eaLnBrk="0" hangingPunct="0">
              <a:spcBef>
                <a:spcPct val="0"/>
              </a:spcBef>
            </a:pPr>
            <a:endParaRPr lang="en-US" b="1" dirty="0">
              <a:solidFill>
                <a:schemeClr val="accent1"/>
              </a:solidFill>
            </a:endParaRPr>
          </a:p>
          <a:p>
            <a:pPr algn="ctr" eaLnBrk="0" hangingPunct="0">
              <a:spcBef>
                <a:spcPct val="0"/>
              </a:spcBef>
            </a:pPr>
            <a:endParaRPr lang="en-US" b="1" dirty="0">
              <a:solidFill>
                <a:schemeClr val="accent1"/>
              </a:solidFill>
            </a:endParaRPr>
          </a:p>
          <a:p>
            <a:pPr algn="ctr" eaLnBrk="0" hangingPunct="0">
              <a:spcBef>
                <a:spcPct val="0"/>
              </a:spcBef>
            </a:pPr>
            <a:endParaRPr lang="en-US" b="1" dirty="0">
              <a:solidFill>
                <a:schemeClr val="accent1"/>
              </a:solidFill>
            </a:endParaRPr>
          </a:p>
          <a:p>
            <a:pPr algn="ctr" eaLnBrk="0" hangingPunct="0">
              <a:spcBef>
                <a:spcPct val="0"/>
              </a:spcBef>
            </a:pPr>
            <a:endParaRPr lang="en-US" b="1" dirty="0">
              <a:solidFill>
                <a:schemeClr val="accent1"/>
              </a:solidFill>
            </a:endParaRPr>
          </a:p>
          <a:p>
            <a:pPr algn="ctr" eaLnBrk="0" hangingPunct="0">
              <a:spcBef>
                <a:spcPct val="0"/>
              </a:spcBef>
            </a:pPr>
            <a:endParaRPr lang="en-US" b="1" dirty="0">
              <a:solidFill>
                <a:schemeClr val="accent1"/>
              </a:solidFill>
            </a:endParaRPr>
          </a:p>
          <a:p>
            <a:pPr algn="ctr" eaLnBrk="0" hangingPunct="0">
              <a:spcBef>
                <a:spcPct val="0"/>
              </a:spcBef>
            </a:pPr>
            <a:endParaRPr lang="en-US" b="1" dirty="0">
              <a:solidFill>
                <a:schemeClr val="accent1"/>
              </a:solidFill>
            </a:endParaRPr>
          </a:p>
        </p:txBody>
      </p:sp>
      <p:sp>
        <p:nvSpPr>
          <p:cNvPr id="13" name="AutoShape 4">
            <a:extLst>
              <a:ext uri="{FF2B5EF4-FFF2-40B4-BE49-F238E27FC236}">
                <a16:creationId xmlns:a16="http://schemas.microsoft.com/office/drawing/2014/main" id="{959A624E-4022-4FC1-A7E5-5E80C4DBBA4E}"/>
              </a:ext>
            </a:extLst>
          </p:cNvPr>
          <p:cNvSpPr>
            <a:spLocks noChangeArrowheads="1"/>
          </p:cNvSpPr>
          <p:nvPr/>
        </p:nvSpPr>
        <p:spPr bwMode="auto">
          <a:xfrm flipV="1">
            <a:off x="6272213" y="1407307"/>
            <a:ext cx="4464000" cy="4680000"/>
          </a:xfrm>
          <a:prstGeom prst="triangle">
            <a:avLst>
              <a:gd name="adj" fmla="val 50000"/>
            </a:avLst>
          </a:prstGeom>
          <a:solidFill>
            <a:schemeClr val="accent3"/>
          </a:solidFill>
          <a:ln w="6350">
            <a:noFill/>
            <a:miter lim="800000"/>
            <a:headEnd/>
            <a:tailEnd/>
          </a:ln>
          <a:effectLst/>
        </p:spPr>
        <p:txBody>
          <a:bodyPr rot="10800000" wrap="none" lIns="72000" tIns="792000" rIns="72000" bIns="72000"/>
          <a:lstStyle/>
          <a:p>
            <a:pPr algn="ctr" eaLnBrk="0" hangingPunct="0">
              <a:spcBef>
                <a:spcPct val="0"/>
              </a:spcBef>
            </a:pPr>
            <a:endParaRPr lang="en-US" b="1" dirty="0">
              <a:solidFill>
                <a:schemeClr val="bg1"/>
              </a:solidFill>
            </a:endParaRPr>
          </a:p>
          <a:p>
            <a:pPr algn="ctr" eaLnBrk="0" hangingPunct="0">
              <a:spcBef>
                <a:spcPct val="0"/>
              </a:spcBef>
            </a:pPr>
            <a:endParaRPr lang="en-US" b="1" dirty="0">
              <a:solidFill>
                <a:schemeClr val="bg1"/>
              </a:solidFill>
            </a:endParaRPr>
          </a:p>
          <a:p>
            <a:pPr algn="ctr" eaLnBrk="0" hangingPunct="0">
              <a:spcBef>
                <a:spcPct val="0"/>
              </a:spcBef>
            </a:pPr>
            <a:endParaRPr lang="en-US" b="1" dirty="0">
              <a:solidFill>
                <a:schemeClr val="bg1"/>
              </a:solidFill>
            </a:endParaRPr>
          </a:p>
          <a:p>
            <a:pPr algn="ctr" eaLnBrk="0" hangingPunct="0">
              <a:spcBef>
                <a:spcPct val="0"/>
              </a:spcBef>
            </a:pPr>
            <a:endParaRPr lang="en-US" b="1" dirty="0">
              <a:solidFill>
                <a:schemeClr val="bg1"/>
              </a:solidFill>
            </a:endParaRPr>
          </a:p>
          <a:p>
            <a:pPr algn="ctr" eaLnBrk="0" hangingPunct="0">
              <a:spcBef>
                <a:spcPct val="0"/>
              </a:spcBef>
            </a:pPr>
            <a:endParaRPr lang="en-US" b="1" dirty="0">
              <a:solidFill>
                <a:schemeClr val="bg1"/>
              </a:solidFill>
            </a:endParaRPr>
          </a:p>
          <a:p>
            <a:pPr algn="ctr" eaLnBrk="0" hangingPunct="0">
              <a:spcBef>
                <a:spcPct val="0"/>
              </a:spcBef>
            </a:pPr>
            <a:endParaRPr lang="en-US" b="1" dirty="0">
              <a:solidFill>
                <a:schemeClr val="bg1"/>
              </a:solidFill>
            </a:endParaRPr>
          </a:p>
          <a:p>
            <a:pPr algn="ctr" eaLnBrk="0" hangingPunct="0">
              <a:spcBef>
                <a:spcPct val="0"/>
              </a:spcBef>
            </a:pPr>
            <a:endParaRPr lang="en-US" b="1" dirty="0">
              <a:solidFill>
                <a:schemeClr val="bg1"/>
              </a:solidFill>
            </a:endParaRPr>
          </a:p>
          <a:p>
            <a:pPr algn="ctr" eaLnBrk="0" hangingPunct="0">
              <a:spcBef>
                <a:spcPct val="0"/>
              </a:spcBef>
            </a:pPr>
            <a:r>
              <a:rPr lang="en-US" b="1" dirty="0">
                <a:solidFill>
                  <a:schemeClr val="bg1"/>
                </a:solidFill>
              </a:rPr>
              <a:t>Text</a:t>
            </a:r>
          </a:p>
        </p:txBody>
      </p:sp>
      <p:sp>
        <p:nvSpPr>
          <p:cNvPr id="15" name="AutoShape 5">
            <a:extLst>
              <a:ext uri="{FF2B5EF4-FFF2-40B4-BE49-F238E27FC236}">
                <a16:creationId xmlns:a16="http://schemas.microsoft.com/office/drawing/2014/main" id="{597D49FC-F98F-40D7-A2EF-6059DAA832F4}"/>
              </a:ext>
            </a:extLst>
          </p:cNvPr>
          <p:cNvSpPr>
            <a:spLocks noChangeArrowheads="1"/>
          </p:cNvSpPr>
          <p:nvPr/>
        </p:nvSpPr>
        <p:spPr bwMode="auto">
          <a:xfrm>
            <a:off x="6272213" y="1407307"/>
            <a:ext cx="4464000" cy="2140125"/>
          </a:xfrm>
          <a:custGeom>
            <a:avLst/>
            <a:gdLst>
              <a:gd name="G0" fmla="+- 4940 0 0"/>
              <a:gd name="G1" fmla="+- 21600 0 4940"/>
              <a:gd name="G2" fmla="*/ 4940 1 2"/>
              <a:gd name="G3" fmla="+- 21600 0 G2"/>
              <a:gd name="G4" fmla="+/ 4940 21600 2"/>
              <a:gd name="G5" fmla="+/ G1 0 2"/>
              <a:gd name="G6" fmla="*/ 21600 21600 4940"/>
              <a:gd name="G7" fmla="*/ G6 1 2"/>
              <a:gd name="G8" fmla="+- 21600 0 G7"/>
              <a:gd name="G9" fmla="*/ 21600 1 2"/>
              <a:gd name="G10" fmla="+- 4940 0 G9"/>
              <a:gd name="G11" fmla="?: G10 G8 0"/>
              <a:gd name="G12" fmla="?: G10 G7 21600"/>
              <a:gd name="T0" fmla="*/ 19130 w 21600"/>
              <a:gd name="T1" fmla="*/ 10800 h 21600"/>
              <a:gd name="T2" fmla="*/ 10800 w 21600"/>
              <a:gd name="T3" fmla="*/ 21600 h 21600"/>
              <a:gd name="T4" fmla="*/ 2470 w 21600"/>
              <a:gd name="T5" fmla="*/ 10800 h 21600"/>
              <a:gd name="T6" fmla="*/ 10800 w 21600"/>
              <a:gd name="T7" fmla="*/ 0 h 21600"/>
              <a:gd name="T8" fmla="*/ 4270 w 21600"/>
              <a:gd name="T9" fmla="*/ 4270 h 21600"/>
              <a:gd name="T10" fmla="*/ 17330 w 21600"/>
              <a:gd name="T11" fmla="*/ 17330 h 21600"/>
            </a:gdLst>
            <a:ahLst/>
            <a:cxnLst>
              <a:cxn ang="0">
                <a:pos x="T0" y="T1"/>
              </a:cxn>
              <a:cxn ang="0">
                <a:pos x="T2" y="T3"/>
              </a:cxn>
              <a:cxn ang="0">
                <a:pos x="T4" y="T5"/>
              </a:cxn>
              <a:cxn ang="0">
                <a:pos x="T6" y="T7"/>
              </a:cxn>
            </a:cxnLst>
            <a:rect l="T8" t="T9" r="T10" b="T11"/>
            <a:pathLst>
              <a:path w="21600" h="21600">
                <a:moveTo>
                  <a:pt x="0" y="0"/>
                </a:moveTo>
                <a:lnTo>
                  <a:pt x="4940" y="21600"/>
                </a:lnTo>
                <a:lnTo>
                  <a:pt x="16660" y="21600"/>
                </a:lnTo>
                <a:lnTo>
                  <a:pt x="21600" y="0"/>
                </a:lnTo>
                <a:close/>
              </a:path>
            </a:pathLst>
          </a:custGeom>
          <a:solidFill>
            <a:schemeClr val="accent3">
              <a:lumMod val="20000"/>
              <a:lumOff val="80000"/>
            </a:schemeClr>
          </a:solidFill>
          <a:ln w="6350">
            <a:noFill/>
            <a:miter lim="800000"/>
            <a:headEnd/>
            <a:tailEnd/>
          </a:ln>
          <a:effectLst/>
        </p:spPr>
        <p:txBody>
          <a:bodyPr wrap="none" lIns="72000" tIns="72000" rIns="72000" bIns="72000" anchor="ctr"/>
          <a:lstStyle/>
          <a:p>
            <a:pPr algn="ctr" eaLnBrk="0" hangingPunct="0">
              <a:spcBef>
                <a:spcPct val="0"/>
              </a:spcBef>
            </a:pPr>
            <a:r>
              <a:rPr lang="en-US" b="1">
                <a:solidFill>
                  <a:schemeClr val="accent3"/>
                </a:solidFill>
              </a:rPr>
              <a:t>Text</a:t>
            </a:r>
          </a:p>
        </p:txBody>
      </p:sp>
      <p:sp>
        <p:nvSpPr>
          <p:cNvPr id="17" name="AutoShape 7">
            <a:extLst>
              <a:ext uri="{FF2B5EF4-FFF2-40B4-BE49-F238E27FC236}">
                <a16:creationId xmlns:a16="http://schemas.microsoft.com/office/drawing/2014/main" id="{C430D9E7-E461-4A27-9E97-0E49369D70A5}"/>
              </a:ext>
            </a:extLst>
          </p:cNvPr>
          <p:cNvSpPr>
            <a:spLocks noChangeArrowheads="1"/>
          </p:cNvSpPr>
          <p:nvPr/>
        </p:nvSpPr>
        <p:spPr bwMode="auto">
          <a:xfrm flipV="1">
            <a:off x="1468438" y="3940302"/>
            <a:ext cx="4464000" cy="2140125"/>
          </a:xfrm>
          <a:custGeom>
            <a:avLst/>
            <a:gdLst>
              <a:gd name="G0" fmla="+- 4940 0 0"/>
              <a:gd name="G1" fmla="+- 21600 0 4940"/>
              <a:gd name="G2" fmla="*/ 4940 1 2"/>
              <a:gd name="G3" fmla="+- 21600 0 G2"/>
              <a:gd name="G4" fmla="+/ 4940 21600 2"/>
              <a:gd name="G5" fmla="+/ G1 0 2"/>
              <a:gd name="G6" fmla="*/ 21600 21600 4940"/>
              <a:gd name="G7" fmla="*/ G6 1 2"/>
              <a:gd name="G8" fmla="+- 21600 0 G7"/>
              <a:gd name="G9" fmla="*/ 21600 1 2"/>
              <a:gd name="G10" fmla="+- 4940 0 G9"/>
              <a:gd name="G11" fmla="?: G10 G8 0"/>
              <a:gd name="G12" fmla="?: G10 G7 21600"/>
              <a:gd name="T0" fmla="*/ 19130 w 21600"/>
              <a:gd name="T1" fmla="*/ 10800 h 21600"/>
              <a:gd name="T2" fmla="*/ 10800 w 21600"/>
              <a:gd name="T3" fmla="*/ 21600 h 21600"/>
              <a:gd name="T4" fmla="*/ 2470 w 21600"/>
              <a:gd name="T5" fmla="*/ 10800 h 21600"/>
              <a:gd name="T6" fmla="*/ 10800 w 21600"/>
              <a:gd name="T7" fmla="*/ 0 h 21600"/>
              <a:gd name="T8" fmla="*/ 4270 w 21600"/>
              <a:gd name="T9" fmla="*/ 4270 h 21600"/>
              <a:gd name="T10" fmla="*/ 17330 w 21600"/>
              <a:gd name="T11" fmla="*/ 17330 h 21600"/>
            </a:gdLst>
            <a:ahLst/>
            <a:cxnLst>
              <a:cxn ang="0">
                <a:pos x="T0" y="T1"/>
              </a:cxn>
              <a:cxn ang="0">
                <a:pos x="T2" y="T3"/>
              </a:cxn>
              <a:cxn ang="0">
                <a:pos x="T4" y="T5"/>
              </a:cxn>
              <a:cxn ang="0">
                <a:pos x="T6" y="T7"/>
              </a:cxn>
            </a:cxnLst>
            <a:rect l="T8" t="T9" r="T10" b="T11"/>
            <a:pathLst>
              <a:path w="21600" h="21600">
                <a:moveTo>
                  <a:pt x="0" y="0"/>
                </a:moveTo>
                <a:lnTo>
                  <a:pt x="4940" y="21600"/>
                </a:lnTo>
                <a:lnTo>
                  <a:pt x="16660" y="21600"/>
                </a:lnTo>
                <a:lnTo>
                  <a:pt x="21600" y="0"/>
                </a:lnTo>
                <a:close/>
              </a:path>
            </a:pathLst>
          </a:custGeom>
          <a:solidFill>
            <a:schemeClr val="accent1"/>
          </a:solidFill>
          <a:ln w="6350">
            <a:noFill/>
            <a:miter lim="800000"/>
            <a:headEnd/>
            <a:tailEnd/>
          </a:ln>
          <a:effectLst/>
        </p:spPr>
        <p:txBody>
          <a:bodyPr rot="10800000" wrap="none" lIns="72000" tIns="72000" rIns="72000" bIns="72000" anchor="ctr"/>
          <a:lstStyle/>
          <a:p>
            <a:pPr algn="ctr" eaLnBrk="0" hangingPunct="0">
              <a:spcBef>
                <a:spcPct val="0"/>
              </a:spcBef>
            </a:pPr>
            <a:r>
              <a:rPr lang="en-US" b="1" dirty="0">
                <a:solidFill>
                  <a:schemeClr val="bg1"/>
                </a:solidFill>
              </a:rPr>
              <a:t>Text</a:t>
            </a:r>
          </a:p>
        </p:txBody>
      </p:sp>
      <p:sp>
        <p:nvSpPr>
          <p:cNvPr id="19" name="Arrow: Chevron 18">
            <a:extLst>
              <a:ext uri="{FF2B5EF4-FFF2-40B4-BE49-F238E27FC236}">
                <a16:creationId xmlns:a16="http://schemas.microsoft.com/office/drawing/2014/main" id="{69748354-F623-46D9-935A-5472A83FC440}"/>
              </a:ext>
              <a:ext uri="{C183D7F6-B498-43B3-948B-1728B52AA6E4}">
                <adec:decorative xmlns:adec="http://schemas.microsoft.com/office/drawing/2017/decorative" val="1"/>
              </a:ext>
            </a:extLst>
          </p:cNvPr>
          <p:cNvSpPr/>
          <p:nvPr/>
        </p:nvSpPr>
        <p:spPr>
          <a:xfrm>
            <a:off x="5966685" y="3740427"/>
            <a:ext cx="570072" cy="783447"/>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3" name="Footer Placeholder 2">
            <a:extLst>
              <a:ext uri="{FF2B5EF4-FFF2-40B4-BE49-F238E27FC236}">
                <a16:creationId xmlns:a16="http://schemas.microsoft.com/office/drawing/2014/main" id="{DF55BE14-0569-4C1F-B786-8917DC69649F}"/>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4" name="Slide Number Placeholder 3">
            <a:extLst>
              <a:ext uri="{FF2B5EF4-FFF2-40B4-BE49-F238E27FC236}">
                <a16:creationId xmlns:a16="http://schemas.microsoft.com/office/drawing/2014/main" id="{82F88589-AA1A-4134-B1FE-C9267C8AA3CD}"/>
              </a:ext>
            </a:extLst>
          </p:cNvPr>
          <p:cNvSpPr>
            <a:spLocks noGrp="1"/>
          </p:cNvSpPr>
          <p:nvPr>
            <p:ph type="sldNum" sz="quarter" idx="10"/>
          </p:nvPr>
        </p:nvSpPr>
        <p:spPr/>
        <p:txBody>
          <a:bodyPr/>
          <a:lstStyle/>
          <a:p>
            <a:fld id="{1F90F471-3972-4120-B8B3-0237DE626C35}" type="slidenum">
              <a:rPr lang="en-US" smtClean="0"/>
              <a:pPr/>
              <a:t>123</a:t>
            </a:fld>
            <a:endParaRPr lang="en-US" dirty="0"/>
          </a:p>
        </p:txBody>
      </p:sp>
    </p:spTree>
    <p:extLst>
      <p:ext uri="{BB962C8B-B14F-4D97-AF65-F5344CB8AC3E}">
        <p14:creationId xmlns:p14="http://schemas.microsoft.com/office/powerpoint/2010/main" val="110042322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464D27-8095-4E81-992C-9001F65F5141}"/>
              </a:ext>
            </a:extLst>
          </p:cNvPr>
          <p:cNvSpPr>
            <a:spLocks noGrp="1"/>
          </p:cNvSpPr>
          <p:nvPr>
            <p:ph type="title"/>
          </p:nvPr>
        </p:nvSpPr>
        <p:spPr/>
        <p:txBody>
          <a:bodyPr/>
          <a:lstStyle/>
          <a:p>
            <a:r>
              <a:rPr lang="de-DE" dirty="0"/>
              <a:t>Pro and Con</a:t>
            </a:r>
            <a:endParaRPr lang="en-US" dirty="0"/>
          </a:p>
        </p:txBody>
      </p:sp>
      <p:grpSp>
        <p:nvGrpSpPr>
          <p:cNvPr id="36" name="Group 35" descr="Add text and order accordingly">
            <a:extLst>
              <a:ext uri="{FF2B5EF4-FFF2-40B4-BE49-F238E27FC236}">
                <a16:creationId xmlns:a16="http://schemas.microsoft.com/office/drawing/2014/main" id="{B3F86175-FB3F-4B71-8D2C-785CDAE77A0B}"/>
              </a:ext>
            </a:extLst>
          </p:cNvPr>
          <p:cNvGrpSpPr/>
          <p:nvPr/>
        </p:nvGrpSpPr>
        <p:grpSpPr>
          <a:xfrm>
            <a:off x="380999" y="1288295"/>
            <a:ext cx="11430001" cy="4787749"/>
            <a:chOff x="345017" y="1288295"/>
            <a:chExt cx="11512800" cy="4787749"/>
          </a:xfrm>
        </p:grpSpPr>
        <p:sp>
          <p:nvSpPr>
            <p:cNvPr id="25" name="Rectangle 24">
              <a:extLst>
                <a:ext uri="{FF2B5EF4-FFF2-40B4-BE49-F238E27FC236}">
                  <a16:creationId xmlns:a16="http://schemas.microsoft.com/office/drawing/2014/main" id="{F795CDD8-30DD-4140-936C-C83D07A78824}"/>
                </a:ext>
              </a:extLst>
            </p:cNvPr>
            <p:cNvSpPr/>
            <p:nvPr/>
          </p:nvSpPr>
          <p:spPr>
            <a:xfrm>
              <a:off x="345017" y="2759285"/>
              <a:ext cx="5714579" cy="2918345"/>
            </a:xfrm>
            <a:prstGeom prst="rect">
              <a:avLst/>
            </a:prstGeom>
            <a:solidFill>
              <a:srgbClr val="96968C">
                <a:lumMod val="20000"/>
                <a:lumOff val="8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FE9835DB-E9B8-4019-B581-6A286B601406}"/>
                </a:ext>
              </a:extLst>
            </p:cNvPr>
            <p:cNvSpPr/>
            <p:nvPr/>
          </p:nvSpPr>
          <p:spPr>
            <a:xfrm>
              <a:off x="6140871" y="2759285"/>
              <a:ext cx="5714579" cy="2918345"/>
            </a:xfrm>
            <a:prstGeom prst="rect">
              <a:avLst/>
            </a:prstGeom>
            <a:solidFill>
              <a:srgbClr val="96968C">
                <a:lumMod val="20000"/>
                <a:lumOff val="8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7" name="Text Box 10">
              <a:extLst>
                <a:ext uri="{FF2B5EF4-FFF2-40B4-BE49-F238E27FC236}">
                  <a16:creationId xmlns:a16="http://schemas.microsoft.com/office/drawing/2014/main" id="{80AF0235-256E-4E1B-B5F0-260691588478}"/>
                </a:ext>
              </a:extLst>
            </p:cNvPr>
            <p:cNvSpPr txBox="1">
              <a:spLocks noChangeArrowheads="1"/>
            </p:cNvSpPr>
            <p:nvPr>
              <p:custDataLst>
                <p:tags r:id="rId1"/>
              </p:custDataLst>
            </p:nvPr>
          </p:nvSpPr>
          <p:spPr bwMode="auto">
            <a:xfrm>
              <a:off x="345018" y="5677631"/>
              <a:ext cx="5714578" cy="398413"/>
            </a:xfrm>
            <a:prstGeom prst="rect">
              <a:avLst/>
            </a:prstGeom>
            <a:solidFill>
              <a:schemeClr val="accent3"/>
            </a:solidFill>
            <a:ln w="9525">
              <a:noFill/>
              <a:miter lim="800000"/>
              <a:headEnd/>
              <a:tailEnd/>
            </a:ln>
          </p:spPr>
          <p:txBody>
            <a:bodyPr lIns="180000" tIns="46800" rIns="90000" bIns="46800" anchor="ctr"/>
            <a:lstStyle/>
            <a:p>
              <a:pPr marL="0" marR="0" lvl="0" indent="0" algn="l" defTabSz="762000" rtl="0" eaLnBrk="0" fontAlgn="auto" latinLnBrk="0" hangingPunct="0">
                <a:lnSpc>
                  <a:spcPct val="100000"/>
                </a:lnSpc>
                <a:spcBef>
                  <a:spcPct val="0"/>
                </a:spcBef>
                <a:spcAft>
                  <a:spcPts val="0"/>
                </a:spcAft>
                <a:buClrTx/>
                <a:buSzTx/>
                <a:buFontTx/>
                <a:buNone/>
                <a:tabLst/>
                <a:defRPr/>
              </a:pPr>
              <a:r>
                <a:rPr kumimoji="0" lang="de-DE" sz="1600" b="1" i="0" u="none" strike="noStrike" kern="0" cap="none" spc="0" normalizeH="0" baseline="0" noProof="0" dirty="0">
                  <a:ln>
                    <a:noFill/>
                  </a:ln>
                  <a:solidFill>
                    <a:srgbClr val="FFFFFF"/>
                  </a:solidFill>
                  <a:effectLst/>
                  <a:uLnTx/>
                  <a:uFillTx/>
                  <a:latin typeface="Arial"/>
                  <a:ea typeface="+mn-ea"/>
                  <a:cs typeface="+mn-cs"/>
                </a:rPr>
                <a:t>Pro</a:t>
              </a:r>
            </a:p>
          </p:txBody>
        </p:sp>
        <p:sp>
          <p:nvSpPr>
            <p:cNvPr id="28" name="Text Box 11">
              <a:extLst>
                <a:ext uri="{FF2B5EF4-FFF2-40B4-BE49-F238E27FC236}">
                  <a16:creationId xmlns:a16="http://schemas.microsoft.com/office/drawing/2014/main" id="{57010416-0560-4D3F-AB81-EBB88D571433}"/>
                </a:ext>
              </a:extLst>
            </p:cNvPr>
            <p:cNvSpPr txBox="1">
              <a:spLocks noChangeArrowheads="1"/>
            </p:cNvSpPr>
            <p:nvPr>
              <p:custDataLst>
                <p:tags r:id="rId2"/>
              </p:custDataLst>
            </p:nvPr>
          </p:nvSpPr>
          <p:spPr bwMode="auto">
            <a:xfrm>
              <a:off x="6142457" y="5677631"/>
              <a:ext cx="5714582" cy="396820"/>
            </a:xfrm>
            <a:prstGeom prst="rect">
              <a:avLst/>
            </a:prstGeom>
            <a:solidFill>
              <a:srgbClr val="A100FF"/>
            </a:solidFill>
            <a:ln w="9525">
              <a:noFill/>
              <a:miter lim="800000"/>
              <a:headEnd/>
              <a:tailEnd/>
            </a:ln>
          </p:spPr>
          <p:txBody>
            <a:bodyPr lIns="180000" tIns="46800" rIns="90000" bIns="46800" anchor="ctr"/>
            <a:lstStyle>
              <a:defPPr>
                <a:defRPr lang="en-US"/>
              </a:defPPr>
              <a:lvl1pPr defTabSz="762000" eaLnBrk="0" hangingPunct="0">
                <a:spcBef>
                  <a:spcPct val="0"/>
                </a:spcBef>
                <a:buClrTx/>
                <a:buFontTx/>
                <a:buNone/>
                <a:defRPr sz="1600" b="1">
                  <a:solidFill>
                    <a:schemeClr val="bg1"/>
                  </a:solidFill>
                </a:defRPr>
              </a:lvl1pPr>
            </a:lstStyle>
            <a:p>
              <a:pPr marL="0" marR="0" lvl="0" indent="0" algn="l" defTabSz="762000" rtl="0" eaLnBrk="0" fontAlgn="auto" latinLnBrk="0" hangingPunct="0">
                <a:lnSpc>
                  <a:spcPct val="100000"/>
                </a:lnSpc>
                <a:spcBef>
                  <a:spcPct val="0"/>
                </a:spcBef>
                <a:spcAft>
                  <a:spcPts val="0"/>
                </a:spcAft>
                <a:buClrTx/>
                <a:buSzTx/>
                <a:buFontTx/>
                <a:buNone/>
                <a:tabLst/>
                <a:defRPr/>
              </a:pPr>
              <a:r>
                <a:rPr kumimoji="0" lang="de-DE" sz="1600" b="1" i="0" u="none" strike="noStrike" kern="0" cap="none" spc="0" normalizeH="0" baseline="0" noProof="0" dirty="0">
                  <a:ln>
                    <a:noFill/>
                  </a:ln>
                  <a:solidFill>
                    <a:srgbClr val="FFFFFF"/>
                  </a:solidFill>
                  <a:effectLst/>
                  <a:uLnTx/>
                  <a:uFillTx/>
                  <a:latin typeface="Arial"/>
                  <a:ea typeface="+mn-ea"/>
                  <a:cs typeface="+mn-cs"/>
                </a:rPr>
                <a:t>Con</a:t>
              </a:r>
            </a:p>
          </p:txBody>
        </p:sp>
        <p:sp>
          <p:nvSpPr>
            <p:cNvPr id="29" name="Rectangle 13">
              <a:extLst>
                <a:ext uri="{FF2B5EF4-FFF2-40B4-BE49-F238E27FC236}">
                  <a16:creationId xmlns:a16="http://schemas.microsoft.com/office/drawing/2014/main" id="{0E1B2D11-665D-40B7-9D3C-A6A68985DABD}"/>
                </a:ext>
              </a:extLst>
            </p:cNvPr>
            <p:cNvSpPr>
              <a:spLocks noChangeArrowheads="1"/>
            </p:cNvSpPr>
            <p:nvPr/>
          </p:nvSpPr>
          <p:spPr bwMode="auto">
            <a:xfrm>
              <a:off x="8459747" y="4187208"/>
              <a:ext cx="1080000" cy="372055"/>
            </a:xfrm>
            <a:prstGeom prst="rect">
              <a:avLst/>
            </a:prstGeom>
            <a:solidFill>
              <a:srgbClr val="FFFFFF">
                <a:alpha val="40000"/>
              </a:srgbClr>
            </a:solidFill>
            <a:ln w="9525" algn="ctr">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 name="Freeform 14">
              <a:extLst>
                <a:ext uri="{FF2B5EF4-FFF2-40B4-BE49-F238E27FC236}">
                  <a16:creationId xmlns:a16="http://schemas.microsoft.com/office/drawing/2014/main" id="{E3E4C624-75BE-4141-AA7B-40E832AA5AF9}"/>
                </a:ext>
              </a:extLst>
            </p:cNvPr>
            <p:cNvSpPr>
              <a:spLocks/>
            </p:cNvSpPr>
            <p:nvPr/>
          </p:nvSpPr>
          <p:spPr bwMode="auto">
            <a:xfrm>
              <a:off x="2662307" y="3833235"/>
              <a:ext cx="1080000" cy="1080000"/>
            </a:xfrm>
            <a:custGeom>
              <a:avLst/>
              <a:gdLst>
                <a:gd name="T0" fmla="*/ 409 w 1270"/>
                <a:gd name="T1" fmla="*/ 0 h 1293"/>
                <a:gd name="T2" fmla="*/ 862 w 1270"/>
                <a:gd name="T3" fmla="*/ 0 h 1293"/>
                <a:gd name="T4" fmla="*/ 862 w 1270"/>
                <a:gd name="T5" fmla="*/ 408 h 1293"/>
                <a:gd name="T6" fmla="*/ 1270 w 1270"/>
                <a:gd name="T7" fmla="*/ 408 h 1293"/>
                <a:gd name="T8" fmla="*/ 1270 w 1270"/>
                <a:gd name="T9" fmla="*/ 862 h 1293"/>
                <a:gd name="T10" fmla="*/ 862 w 1270"/>
                <a:gd name="T11" fmla="*/ 862 h 1293"/>
                <a:gd name="T12" fmla="*/ 862 w 1270"/>
                <a:gd name="T13" fmla="*/ 1293 h 1293"/>
                <a:gd name="T14" fmla="*/ 409 w 1270"/>
                <a:gd name="T15" fmla="*/ 1293 h 1293"/>
                <a:gd name="T16" fmla="*/ 409 w 1270"/>
                <a:gd name="T17" fmla="*/ 862 h 1293"/>
                <a:gd name="T18" fmla="*/ 0 w 1270"/>
                <a:gd name="T19" fmla="*/ 862 h 1293"/>
                <a:gd name="T20" fmla="*/ 0 w 1270"/>
                <a:gd name="T21" fmla="*/ 408 h 1293"/>
                <a:gd name="T22" fmla="*/ 409 w 1270"/>
                <a:gd name="T23" fmla="*/ 408 h 1293"/>
                <a:gd name="T24" fmla="*/ 409 w 1270"/>
                <a:gd name="T25" fmla="*/ 0 h 129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70"/>
                <a:gd name="T40" fmla="*/ 0 h 1293"/>
                <a:gd name="T41" fmla="*/ 1270 w 1270"/>
                <a:gd name="T42" fmla="*/ 1293 h 129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70" h="1293">
                  <a:moveTo>
                    <a:pt x="409" y="0"/>
                  </a:moveTo>
                  <a:lnTo>
                    <a:pt x="862" y="0"/>
                  </a:lnTo>
                  <a:lnTo>
                    <a:pt x="862" y="408"/>
                  </a:lnTo>
                  <a:lnTo>
                    <a:pt x="1270" y="408"/>
                  </a:lnTo>
                  <a:lnTo>
                    <a:pt x="1270" y="862"/>
                  </a:lnTo>
                  <a:lnTo>
                    <a:pt x="862" y="862"/>
                  </a:lnTo>
                  <a:lnTo>
                    <a:pt x="862" y="1293"/>
                  </a:lnTo>
                  <a:lnTo>
                    <a:pt x="409" y="1293"/>
                  </a:lnTo>
                  <a:lnTo>
                    <a:pt x="409" y="862"/>
                  </a:lnTo>
                  <a:lnTo>
                    <a:pt x="0" y="862"/>
                  </a:lnTo>
                  <a:lnTo>
                    <a:pt x="0" y="408"/>
                  </a:lnTo>
                  <a:lnTo>
                    <a:pt x="409" y="408"/>
                  </a:lnTo>
                  <a:lnTo>
                    <a:pt x="409" y="0"/>
                  </a:lnTo>
                  <a:close/>
                </a:path>
              </a:pathLst>
            </a:custGeom>
            <a:solidFill>
              <a:srgbClr val="FFFFFF">
                <a:alpha val="40000"/>
              </a:srgbClr>
            </a:solidFill>
            <a:ln w="9525" cap="flat" cmpd="sng">
              <a:noFill/>
              <a:prstDash val="solid"/>
              <a:round/>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 name="Shape 68">
              <a:extLst>
                <a:ext uri="{FF2B5EF4-FFF2-40B4-BE49-F238E27FC236}">
                  <a16:creationId xmlns:a16="http://schemas.microsoft.com/office/drawing/2014/main" id="{7B16A7F1-7D34-4D6F-BD09-2B07ACFB3BF6}"/>
                </a:ext>
              </a:extLst>
            </p:cNvPr>
            <p:cNvSpPr/>
            <p:nvPr/>
          </p:nvSpPr>
          <p:spPr>
            <a:xfrm>
              <a:off x="345017" y="1699285"/>
              <a:ext cx="11512800" cy="0"/>
            </a:xfrm>
            <a:prstGeom prst="line">
              <a:avLst/>
            </a:prstGeom>
            <a:ln w="12700" cmpd="sng">
              <a:solidFill>
                <a:srgbClr val="96968C">
                  <a:lumMod val="60000"/>
                  <a:lumOff val="40000"/>
                </a:srgbClr>
              </a:solidFill>
              <a:prstDash val="solid"/>
              <a:miter lim="400000"/>
              <a:headEnd type="none" len="sm"/>
              <a:tailEnd type="none" len="sm"/>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a:pPr>
              <a:endParaRPr kumimoji="0" lang="en-US" sz="3199" b="0" i="0" u="none" strike="noStrike" kern="0" cap="none" spc="0" normalizeH="0" baseline="0" noProof="0">
                <a:ln>
                  <a:noFill/>
                </a:ln>
                <a:solidFill>
                  <a:srgbClr val="000000"/>
                </a:solidFill>
                <a:effectLst/>
                <a:uLnTx/>
                <a:uFillTx/>
                <a:latin typeface="Arial"/>
                <a:ea typeface="+mn-ea"/>
                <a:cs typeface="+mn-cs"/>
              </a:endParaRPr>
            </a:p>
          </p:txBody>
        </p:sp>
        <p:sp>
          <p:nvSpPr>
            <p:cNvPr id="32" name="TextBox 31">
              <a:extLst>
                <a:ext uri="{FF2B5EF4-FFF2-40B4-BE49-F238E27FC236}">
                  <a16:creationId xmlns:a16="http://schemas.microsoft.com/office/drawing/2014/main" id="{3FD9609A-3A96-4517-B3EC-E410D30CA290}"/>
                </a:ext>
              </a:extLst>
            </p:cNvPr>
            <p:cNvSpPr txBox="1"/>
            <p:nvPr/>
          </p:nvSpPr>
          <p:spPr>
            <a:xfrm>
              <a:off x="345018" y="1288295"/>
              <a:ext cx="11510432" cy="355939"/>
            </a:xfrm>
            <a:prstGeom prst="rect">
              <a:avLst/>
            </a:prstGeom>
          </p:spPr>
          <p:txBody>
            <a:bodyPr vert="horz"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all" spc="0" normalizeH="0" baseline="0" noProof="0" dirty="0">
                  <a:ln>
                    <a:noFill/>
                  </a:ln>
                  <a:solidFill>
                    <a:srgbClr val="000000"/>
                  </a:solidFill>
                  <a:effectLst/>
                  <a:uLnTx/>
                  <a:uFillTx/>
                  <a:latin typeface="Arial Black"/>
                  <a:ea typeface="+mn-ea"/>
                  <a:cs typeface="+mn-cs"/>
                </a:rPr>
                <a:t>Title</a:t>
              </a:r>
            </a:p>
          </p:txBody>
        </p:sp>
        <p:sp>
          <p:nvSpPr>
            <p:cNvPr id="33" name="Rectangle 6">
              <a:extLst>
                <a:ext uri="{FF2B5EF4-FFF2-40B4-BE49-F238E27FC236}">
                  <a16:creationId xmlns:a16="http://schemas.microsoft.com/office/drawing/2014/main" id="{FB27E2ED-60EE-46F3-8017-99389587EF8C}"/>
                </a:ext>
              </a:extLst>
            </p:cNvPr>
            <p:cNvSpPr>
              <a:spLocks noChangeArrowheads="1"/>
            </p:cNvSpPr>
            <p:nvPr/>
          </p:nvSpPr>
          <p:spPr bwMode="auto">
            <a:xfrm>
              <a:off x="345018" y="1912060"/>
              <a:ext cx="11510432" cy="634452"/>
            </a:xfrm>
            <a:prstGeom prst="rect">
              <a:avLst/>
            </a:prstGeom>
            <a:noFill/>
            <a:ln w="9525">
              <a:noFill/>
              <a:miter lim="800000"/>
              <a:headEnd/>
              <a:tailEnd/>
            </a:ln>
          </p:spPr>
          <p:txBody>
            <a:bodyPr lIns="0" tIns="0" rIns="0" bIns="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1800" b="0" i="0" u="none" strike="noStrike" kern="0" cap="none" spc="0" normalizeH="0" baseline="0" noProof="0" dirty="0">
                  <a:ln>
                    <a:noFill/>
                  </a:ln>
                  <a:solidFill>
                    <a:srgbClr val="000000"/>
                  </a:solidFill>
                  <a:effectLst/>
                  <a:uLnTx/>
                  <a:uFillTx/>
                  <a:latin typeface="Arial"/>
                  <a:ea typeface="+mn-ea"/>
                  <a:cs typeface="+mn-cs"/>
                </a:rPr>
                <a:t>Description</a:t>
              </a:r>
            </a:p>
          </p:txBody>
        </p:sp>
        <p:sp>
          <p:nvSpPr>
            <p:cNvPr id="34" name="Rectangle 6">
              <a:extLst>
                <a:ext uri="{FF2B5EF4-FFF2-40B4-BE49-F238E27FC236}">
                  <a16:creationId xmlns:a16="http://schemas.microsoft.com/office/drawing/2014/main" id="{50BF7F1A-F423-4D25-90FC-BD7279471498}"/>
                </a:ext>
              </a:extLst>
            </p:cNvPr>
            <p:cNvSpPr>
              <a:spLocks noChangeArrowheads="1"/>
            </p:cNvSpPr>
            <p:nvPr/>
          </p:nvSpPr>
          <p:spPr bwMode="auto">
            <a:xfrm>
              <a:off x="487381" y="2871686"/>
              <a:ext cx="5463172" cy="2706155"/>
            </a:xfrm>
            <a:prstGeom prst="rect">
              <a:avLst/>
            </a:prstGeom>
            <a:noFill/>
            <a:ln w="9525">
              <a:noFill/>
              <a:miter lim="800000"/>
              <a:headEnd/>
              <a:tailEnd/>
            </a:ln>
          </p:spPr>
          <p:txBody>
            <a:bodyPr lIns="0" tIns="36000" rIns="0" bIns="0">
              <a:noAutofit/>
            </a:bodyPr>
            <a:lstStyle/>
            <a:p>
              <a:pPr marL="0" marR="0" lvl="0" indent="0" algn="l" defTabSz="844550" rtl="0" eaLnBrk="0" fontAlgn="auto" latinLnBrk="0" hangingPunct="0">
                <a:lnSpc>
                  <a:spcPct val="100000"/>
                </a:lnSpc>
                <a:spcBef>
                  <a:spcPct val="20000"/>
                </a:spcBef>
                <a:spcAft>
                  <a:spcPts val="0"/>
                </a:spcAft>
                <a:buClrTx/>
                <a:buSzTx/>
                <a:buFontTx/>
                <a:buNone/>
                <a:tabLst/>
                <a:defRPr/>
              </a:pPr>
              <a:r>
                <a:rPr kumimoji="0" lang="de-DE" sz="1800" b="0" i="0" u="none" strike="noStrike" kern="0" cap="none" spc="0" normalizeH="0" baseline="0" noProof="0" dirty="0">
                  <a:ln>
                    <a:noFill/>
                  </a:ln>
                  <a:solidFill>
                    <a:srgbClr val="000000"/>
                  </a:solidFill>
                  <a:effectLst/>
                  <a:uLnTx/>
                  <a:uFillTx/>
                  <a:latin typeface="Arial"/>
                  <a:ea typeface="+mn-ea"/>
                  <a:cs typeface="+mn-cs"/>
                </a:rPr>
                <a:t>Text</a:t>
              </a:r>
            </a:p>
          </p:txBody>
        </p:sp>
        <p:sp>
          <p:nvSpPr>
            <p:cNvPr id="35" name="Rectangle 7">
              <a:extLst>
                <a:ext uri="{FF2B5EF4-FFF2-40B4-BE49-F238E27FC236}">
                  <a16:creationId xmlns:a16="http://schemas.microsoft.com/office/drawing/2014/main" id="{90CC1759-35BB-4CDE-A05C-1D3D067084E7}"/>
                </a:ext>
              </a:extLst>
            </p:cNvPr>
            <p:cNvSpPr>
              <a:spLocks noChangeArrowheads="1"/>
            </p:cNvSpPr>
            <p:nvPr/>
          </p:nvSpPr>
          <p:spPr bwMode="auto">
            <a:xfrm>
              <a:off x="6283234" y="2871687"/>
              <a:ext cx="5381897" cy="2706154"/>
            </a:xfrm>
            <a:prstGeom prst="rect">
              <a:avLst/>
            </a:prstGeom>
            <a:noFill/>
            <a:ln w="9525">
              <a:noFill/>
              <a:miter lim="800000"/>
              <a:headEnd/>
              <a:tailEnd/>
            </a:ln>
          </p:spPr>
          <p:txBody>
            <a:bodyPr lIns="0" tIns="36000" rIns="0" bIns="0">
              <a:noAutofit/>
            </a:bodyPr>
            <a:lstStyle/>
            <a:p>
              <a:pPr marL="0" marR="0" lvl="0" indent="0" algn="l" defTabSz="844550" rtl="0" eaLnBrk="0" fontAlgn="auto" latinLnBrk="0" hangingPunct="0">
                <a:lnSpc>
                  <a:spcPct val="100000"/>
                </a:lnSpc>
                <a:spcBef>
                  <a:spcPct val="20000"/>
                </a:spcBef>
                <a:spcAft>
                  <a:spcPts val="0"/>
                </a:spcAft>
                <a:buClrTx/>
                <a:buSzTx/>
                <a:buFontTx/>
                <a:buNone/>
                <a:tabLst/>
                <a:defRPr/>
              </a:pPr>
              <a:r>
                <a:rPr kumimoji="0" lang="de-DE" sz="1800" b="0" i="0" u="none" strike="noStrike" kern="0" cap="none" spc="0" normalizeH="0" baseline="0" noProof="0" dirty="0">
                  <a:ln>
                    <a:noFill/>
                  </a:ln>
                  <a:solidFill>
                    <a:srgbClr val="000000"/>
                  </a:solidFill>
                  <a:effectLst/>
                  <a:uLnTx/>
                  <a:uFillTx/>
                  <a:latin typeface="Arial"/>
                  <a:ea typeface="+mn-ea"/>
                  <a:cs typeface="+mn-cs"/>
                </a:rPr>
                <a:t>Text</a:t>
              </a:r>
            </a:p>
          </p:txBody>
        </p:sp>
      </p:grpSp>
      <p:sp>
        <p:nvSpPr>
          <p:cNvPr id="4" name="Footer Placeholder 3">
            <a:extLst>
              <a:ext uri="{FF2B5EF4-FFF2-40B4-BE49-F238E27FC236}">
                <a16:creationId xmlns:a16="http://schemas.microsoft.com/office/drawing/2014/main" id="{18A32B6D-C96F-4BF7-ACB2-09C23CF3183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5B88C6EE-EA9B-4FE0-901D-BD51532603A5}"/>
              </a:ext>
            </a:extLst>
          </p:cNvPr>
          <p:cNvSpPr>
            <a:spLocks noGrp="1"/>
          </p:cNvSpPr>
          <p:nvPr>
            <p:ph type="sldNum" sz="quarter" idx="10"/>
          </p:nvPr>
        </p:nvSpPr>
        <p:spPr/>
        <p:txBody>
          <a:bodyPr/>
          <a:lstStyle/>
          <a:p>
            <a:fld id="{1F90F471-3972-4120-B8B3-0237DE626C35}" type="slidenum">
              <a:rPr lang="en-US" smtClean="0"/>
              <a:pPr/>
              <a:t>124</a:t>
            </a:fld>
            <a:endParaRPr lang="en-US" dirty="0"/>
          </a:p>
        </p:txBody>
      </p:sp>
    </p:spTree>
    <p:extLst>
      <p:ext uri="{BB962C8B-B14F-4D97-AF65-F5344CB8AC3E}">
        <p14:creationId xmlns:p14="http://schemas.microsoft.com/office/powerpoint/2010/main" val="11786627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7C4124B-B9D5-4FB9-AA46-3262DD2B40DB}"/>
              </a:ext>
            </a:extLst>
          </p:cNvPr>
          <p:cNvSpPr>
            <a:spLocks noGrp="1"/>
          </p:cNvSpPr>
          <p:nvPr>
            <p:ph type="title"/>
          </p:nvPr>
        </p:nvSpPr>
        <p:spPr/>
        <p:txBody>
          <a:bodyPr/>
          <a:lstStyle/>
          <a:p>
            <a:r>
              <a:rPr lang="en-US" dirty="0"/>
              <a:t>Interaction/</a:t>
            </a:r>
            <a:br>
              <a:rPr lang="en-US" dirty="0"/>
            </a:br>
            <a:r>
              <a:rPr lang="en-US" dirty="0"/>
              <a:t>Feedback</a:t>
            </a:r>
          </a:p>
        </p:txBody>
      </p:sp>
      <p:sp>
        <p:nvSpPr>
          <p:cNvPr id="10" name="Freeform: Shape 9" descr="Add text and order accordingly">
            <a:hlinkClick r:id="rId2" action="ppaction://hlinksldjump" tooltip="Return to Index"/>
            <a:extLst>
              <a:ext uri="{FF2B5EF4-FFF2-40B4-BE49-F238E27FC236}">
                <a16:creationId xmlns:a16="http://schemas.microsoft.com/office/drawing/2014/main" id="{0DE3F75C-CF1B-47BB-A358-FF97AF03C85D}"/>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 Placeholder 8">
            <a:extLst>
              <a:ext uri="{FF2B5EF4-FFF2-40B4-BE49-F238E27FC236}">
                <a16:creationId xmlns:a16="http://schemas.microsoft.com/office/drawing/2014/main" id="{1265ADBE-657A-4DC7-A6A6-2F0E697C4723}"/>
              </a:ext>
            </a:extLst>
          </p:cNvPr>
          <p:cNvSpPr>
            <a:spLocks noGrp="1"/>
          </p:cNvSpPr>
          <p:nvPr>
            <p:ph type="body" sz="quarter" idx="15"/>
          </p:nvPr>
        </p:nvSpPr>
        <p:spPr/>
        <p:txBody>
          <a:bodyPr/>
          <a:lstStyle/>
          <a:p>
            <a:r>
              <a:rPr lang="en-US" dirty="0"/>
              <a:t>Part of </a:t>
            </a:r>
            <a:br>
              <a:rPr lang="en-US" dirty="0"/>
            </a:br>
            <a:r>
              <a:rPr lang="en-US" dirty="0">
                <a:hlinkClick r:id="rId3" action="ppaction://hlinksldjump">
                  <a:extLst>
                    <a:ext uri="{A12FA001-AC4F-418D-AE19-62706E023703}">
                      <ahyp:hlinkClr xmlns:ahyp="http://schemas.microsoft.com/office/drawing/2018/hyperlinkcolor" val="tx"/>
                    </a:ext>
                  </a:extLst>
                </a:hlinkClick>
              </a:rPr>
              <a:t>Dynamic Concepts</a:t>
            </a:r>
            <a:endParaRPr lang="en-US" dirty="0"/>
          </a:p>
        </p:txBody>
      </p:sp>
      <p:sp>
        <p:nvSpPr>
          <p:cNvPr id="5" name="Footer Placeholder 4">
            <a:extLst>
              <a:ext uri="{FF2B5EF4-FFF2-40B4-BE49-F238E27FC236}">
                <a16:creationId xmlns:a16="http://schemas.microsoft.com/office/drawing/2014/main" id="{9DC78945-A645-4563-BCA9-927812C9C4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BEE2891-AE3F-4D8A-B562-5662B242B3DF}"/>
              </a:ext>
            </a:extLst>
          </p:cNvPr>
          <p:cNvSpPr>
            <a:spLocks noGrp="1"/>
          </p:cNvSpPr>
          <p:nvPr>
            <p:ph type="sldNum" sz="quarter" idx="17"/>
          </p:nvPr>
        </p:nvSpPr>
        <p:spPr/>
        <p:txBody>
          <a:bodyPr/>
          <a:lstStyle/>
          <a:p>
            <a:fld id="{1F90F471-3972-4120-B8B3-0237DE626C35}" type="slidenum">
              <a:rPr lang="en-US" smtClean="0"/>
              <a:pPr/>
              <a:t>125</a:t>
            </a:fld>
            <a:endParaRPr lang="en-US" dirty="0"/>
          </a:p>
        </p:txBody>
      </p:sp>
    </p:spTree>
    <p:extLst>
      <p:ext uri="{BB962C8B-B14F-4D97-AF65-F5344CB8AC3E}">
        <p14:creationId xmlns:p14="http://schemas.microsoft.com/office/powerpoint/2010/main" val="312322418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1EB942-7B08-4ECA-B929-EC0248727074}"/>
              </a:ext>
            </a:extLst>
          </p:cNvPr>
          <p:cNvSpPr>
            <a:spLocks noGrp="1"/>
          </p:cNvSpPr>
          <p:nvPr>
            <p:ph type="title"/>
          </p:nvPr>
        </p:nvSpPr>
        <p:spPr/>
        <p:txBody>
          <a:bodyPr/>
          <a:lstStyle/>
          <a:p>
            <a:r>
              <a:rPr lang="en-US" dirty="0"/>
              <a:t>Interaction</a:t>
            </a:r>
          </a:p>
        </p:txBody>
      </p:sp>
      <p:sp>
        <p:nvSpPr>
          <p:cNvPr id="63" name="TextBox 62">
            <a:extLst>
              <a:ext uri="{FF2B5EF4-FFF2-40B4-BE49-F238E27FC236}">
                <a16:creationId xmlns:a16="http://schemas.microsoft.com/office/drawing/2014/main" id="{47E0C202-1E95-430C-A763-D3F406F8A315}"/>
              </a:ext>
            </a:extLst>
          </p:cNvPr>
          <p:cNvSpPr txBox="1"/>
          <p:nvPr/>
        </p:nvSpPr>
        <p:spPr>
          <a:xfrm>
            <a:off x="7077878" y="3608501"/>
            <a:ext cx="804707" cy="344710"/>
          </a:xfrm>
          <a:prstGeom prst="rect">
            <a:avLst/>
          </a:prstGeom>
        </p:spPr>
        <p:txBody>
          <a:bodyPr vert="horz" wrap="none" lIns="0" tIns="0" rIns="0" bIns="0" rtlCol="0" anchor="ctr">
            <a:spAutoFit/>
          </a:bodyPr>
          <a:lstStyle/>
          <a:p>
            <a:pPr algn="ctr">
              <a:lnSpc>
                <a:spcPct val="80000"/>
              </a:lnSpc>
            </a:pPr>
            <a:r>
              <a:rPr lang="en-AU" sz="2800" dirty="0">
                <a:ln w="6350">
                  <a:noFill/>
                </a:ln>
                <a:latin typeface="+mj-lt"/>
              </a:rPr>
              <a:t>Text</a:t>
            </a:r>
            <a:endParaRPr lang="en-GB" sz="2800" cap="all" dirty="0" err="1">
              <a:ln w="6350">
                <a:noFill/>
              </a:ln>
              <a:latin typeface="+mj-lt"/>
            </a:endParaRPr>
          </a:p>
        </p:txBody>
      </p:sp>
      <p:grpSp>
        <p:nvGrpSpPr>
          <p:cNvPr id="55" name="Group 54" descr="Start">
            <a:extLst>
              <a:ext uri="{FF2B5EF4-FFF2-40B4-BE49-F238E27FC236}">
                <a16:creationId xmlns:a16="http://schemas.microsoft.com/office/drawing/2014/main" id="{DF635177-C711-4780-B853-6009327268DA}"/>
              </a:ext>
            </a:extLst>
          </p:cNvPr>
          <p:cNvGrpSpPr/>
          <p:nvPr/>
        </p:nvGrpSpPr>
        <p:grpSpPr>
          <a:xfrm>
            <a:off x="1278046" y="1662350"/>
            <a:ext cx="6362007" cy="535682"/>
            <a:chOff x="1278046" y="1662350"/>
            <a:chExt cx="6362007" cy="535682"/>
          </a:xfrm>
        </p:grpSpPr>
        <p:cxnSp>
          <p:nvCxnSpPr>
            <p:cNvPr id="56" name="Straight Connector 55">
              <a:extLst>
                <a:ext uri="{FF2B5EF4-FFF2-40B4-BE49-F238E27FC236}">
                  <a16:creationId xmlns:a16="http://schemas.microsoft.com/office/drawing/2014/main" id="{28717FD6-A43A-4830-8321-622B079D2AB5}"/>
                </a:ext>
              </a:extLst>
            </p:cNvPr>
            <p:cNvCxnSpPr/>
            <p:nvPr/>
          </p:nvCxnSpPr>
          <p:spPr>
            <a:xfrm>
              <a:off x="1278046" y="1919352"/>
              <a:ext cx="6362007" cy="0"/>
            </a:xfrm>
            <a:prstGeom prst="line">
              <a:avLst/>
            </a:prstGeom>
            <a:ln w="635000">
              <a:gradFill flip="none" rotWithShape="1">
                <a:gsLst>
                  <a:gs pos="0">
                    <a:schemeClr val="accent1"/>
                  </a:gs>
                  <a:gs pos="69000">
                    <a:schemeClr val="accent5"/>
                  </a:gs>
                </a:gsLst>
                <a:lin ang="0" scaled="1"/>
                <a:tileRect/>
              </a:gradFill>
              <a:prstDash val="solid"/>
              <a:headEnd type="none" w="sm" len="sm"/>
              <a:tailEnd type="non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952B106A-5A0E-42FF-BF8E-6416E8C65E18}"/>
                </a:ext>
              </a:extLst>
            </p:cNvPr>
            <p:cNvCxnSpPr/>
            <p:nvPr/>
          </p:nvCxnSpPr>
          <p:spPr>
            <a:xfrm>
              <a:off x="2024448" y="1918376"/>
              <a:ext cx="1648636" cy="0"/>
            </a:xfrm>
            <a:prstGeom prst="straightConnector1">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7266438F-74CC-48BA-B6A2-1E6DD772F34E}"/>
                </a:ext>
              </a:extLst>
            </p:cNvPr>
            <p:cNvCxnSpPr/>
            <p:nvPr/>
          </p:nvCxnSpPr>
          <p:spPr>
            <a:xfrm>
              <a:off x="4366855" y="1918376"/>
              <a:ext cx="1615291" cy="0"/>
            </a:xfrm>
            <a:prstGeom prst="straightConnector1">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975416C9-92EC-4953-AB31-DB9AC1F3D102}"/>
                </a:ext>
              </a:extLst>
            </p:cNvPr>
            <p:cNvSpPr/>
            <p:nvPr/>
          </p:nvSpPr>
          <p:spPr>
            <a:xfrm>
              <a:off x="3752616" y="1662350"/>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bg1"/>
                  </a:solidFill>
                  <a:latin typeface="+mj-lt"/>
                </a:rPr>
                <a:t>2</a:t>
              </a:r>
              <a:endParaRPr lang="en-GB" sz="2000" dirty="0">
                <a:solidFill>
                  <a:schemeClr val="bg1"/>
                </a:solidFill>
                <a:latin typeface="+mj-lt"/>
              </a:endParaRPr>
            </a:p>
          </p:txBody>
        </p:sp>
        <p:sp>
          <p:nvSpPr>
            <p:cNvPr id="60" name="Oval 59">
              <a:extLst>
                <a:ext uri="{FF2B5EF4-FFF2-40B4-BE49-F238E27FC236}">
                  <a16:creationId xmlns:a16="http://schemas.microsoft.com/office/drawing/2014/main" id="{1AD95A6F-3928-4536-904D-A2508822608A}"/>
                </a:ext>
              </a:extLst>
            </p:cNvPr>
            <p:cNvSpPr/>
            <p:nvPr/>
          </p:nvSpPr>
          <p:spPr>
            <a:xfrm>
              <a:off x="1456822" y="1662351"/>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bg1"/>
                  </a:solidFill>
                  <a:latin typeface="+mj-lt"/>
                </a:rPr>
                <a:t>1</a:t>
              </a:r>
              <a:endParaRPr lang="en-GB" sz="2000" dirty="0">
                <a:solidFill>
                  <a:schemeClr val="bg1"/>
                </a:solidFill>
                <a:latin typeface="+mj-lt"/>
              </a:endParaRPr>
            </a:p>
          </p:txBody>
        </p:sp>
      </p:grpSp>
      <p:sp>
        <p:nvSpPr>
          <p:cNvPr id="61" name="Content Placeholder 1">
            <a:extLst>
              <a:ext uri="{FF2B5EF4-FFF2-40B4-BE49-F238E27FC236}">
                <a16:creationId xmlns:a16="http://schemas.microsoft.com/office/drawing/2014/main" id="{95DFCDC4-2D12-4F87-9038-652911600134}"/>
              </a:ext>
            </a:extLst>
          </p:cNvPr>
          <p:cNvSpPr txBox="1">
            <a:spLocks/>
          </p:cNvSpPr>
          <p:nvPr/>
        </p:nvSpPr>
        <p:spPr>
          <a:xfrm>
            <a:off x="1532326" y="1355150"/>
            <a:ext cx="368691" cy="193899"/>
          </a:xfrm>
          <a:prstGeom prst="rect">
            <a:avLst/>
          </a:prstGeom>
        </p:spPr>
        <p:txBody>
          <a:bodyPr vert="horz" wrap="none" lIns="0" tIns="0" rIns="0" bIns="0" rtlCol="0" anchor="b">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algn="ctr"/>
            <a:r>
              <a:rPr lang="en-US" sz="1400" b="0" dirty="0"/>
              <a:t>Text</a:t>
            </a:r>
            <a:endParaRPr lang="en-US" sz="1400" b="0" cap="all" dirty="0"/>
          </a:p>
        </p:txBody>
      </p:sp>
      <p:sp>
        <p:nvSpPr>
          <p:cNvPr id="53" name="Content Placeholder 1">
            <a:extLst>
              <a:ext uri="{FF2B5EF4-FFF2-40B4-BE49-F238E27FC236}">
                <a16:creationId xmlns:a16="http://schemas.microsoft.com/office/drawing/2014/main" id="{499044D0-86FD-44D4-AAE6-E9848C50C8E1}"/>
              </a:ext>
            </a:extLst>
          </p:cNvPr>
          <p:cNvSpPr txBox="1">
            <a:spLocks/>
          </p:cNvSpPr>
          <p:nvPr/>
        </p:nvSpPr>
        <p:spPr>
          <a:xfrm>
            <a:off x="3837212" y="1355150"/>
            <a:ext cx="368691" cy="193899"/>
          </a:xfrm>
          <a:prstGeom prst="rect">
            <a:avLst/>
          </a:prstGeom>
        </p:spPr>
        <p:txBody>
          <a:bodyPr vert="horz" wrap="none" lIns="0" tIns="0" rIns="0" bIns="0" rtlCol="0" anchor="b">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algn="ctr"/>
            <a:r>
              <a:rPr lang="en-US" sz="1400" b="0" dirty="0"/>
              <a:t>Text</a:t>
            </a:r>
            <a:endParaRPr lang="en-US" sz="1400" b="0" cap="all" dirty="0"/>
          </a:p>
        </p:txBody>
      </p:sp>
      <p:sp>
        <p:nvSpPr>
          <p:cNvPr id="62" name="Content Placeholder 1">
            <a:extLst>
              <a:ext uri="{FF2B5EF4-FFF2-40B4-BE49-F238E27FC236}">
                <a16:creationId xmlns:a16="http://schemas.microsoft.com/office/drawing/2014/main" id="{DAE9EBBD-6EF2-4D4B-B694-E2659B0D3316}"/>
              </a:ext>
            </a:extLst>
          </p:cNvPr>
          <p:cNvSpPr txBox="1">
            <a:spLocks/>
          </p:cNvSpPr>
          <p:nvPr/>
        </p:nvSpPr>
        <p:spPr>
          <a:xfrm>
            <a:off x="7293367" y="1355150"/>
            <a:ext cx="368691" cy="193899"/>
          </a:xfrm>
          <a:prstGeom prst="rect">
            <a:avLst/>
          </a:prstGeom>
        </p:spPr>
        <p:txBody>
          <a:bodyPr vert="horz" wrap="none" lIns="0" tIns="0" rIns="0" bIns="0" rtlCol="0" anchor="b">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algn="ctr"/>
            <a:r>
              <a:rPr lang="en-US" sz="1400" b="0" dirty="0"/>
              <a:t>Text</a:t>
            </a:r>
            <a:endParaRPr lang="en-US" sz="1400" b="0" cap="all" dirty="0"/>
          </a:p>
        </p:txBody>
      </p:sp>
      <p:grpSp>
        <p:nvGrpSpPr>
          <p:cNvPr id="66" name="Group 65" descr="Process">
            <a:extLst>
              <a:ext uri="{FF2B5EF4-FFF2-40B4-BE49-F238E27FC236}">
                <a16:creationId xmlns:a16="http://schemas.microsoft.com/office/drawing/2014/main" id="{F9FA11C7-6369-4A49-A299-F3E2FDF1474E}"/>
              </a:ext>
            </a:extLst>
          </p:cNvPr>
          <p:cNvGrpSpPr/>
          <p:nvPr/>
        </p:nvGrpSpPr>
        <p:grpSpPr>
          <a:xfrm>
            <a:off x="5462725" y="1662350"/>
            <a:ext cx="4021325" cy="4036306"/>
            <a:chOff x="5462725" y="1662350"/>
            <a:chExt cx="4021325" cy="4036306"/>
          </a:xfrm>
        </p:grpSpPr>
        <p:sp>
          <p:nvSpPr>
            <p:cNvPr id="67" name="Oval 66">
              <a:extLst>
                <a:ext uri="{FF2B5EF4-FFF2-40B4-BE49-F238E27FC236}">
                  <a16:creationId xmlns:a16="http://schemas.microsoft.com/office/drawing/2014/main" id="{287BC8DE-2478-4220-AC77-96A8E67FB49C}"/>
                </a:ext>
              </a:extLst>
            </p:cNvPr>
            <p:cNvSpPr/>
            <p:nvPr/>
          </p:nvSpPr>
          <p:spPr>
            <a:xfrm rot="16200000">
              <a:off x="5720701" y="1919352"/>
              <a:ext cx="3511824" cy="3511824"/>
            </a:xfrm>
            <a:prstGeom prst="ellipse">
              <a:avLst/>
            </a:prstGeom>
            <a:noFill/>
            <a:ln w="635000">
              <a:solidFill>
                <a:schemeClr val="accent5"/>
              </a:solidFill>
              <a:headEnd type="arrow" w="sm" len="sm"/>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68" name="Group 67">
              <a:extLst>
                <a:ext uri="{FF2B5EF4-FFF2-40B4-BE49-F238E27FC236}">
                  <a16:creationId xmlns:a16="http://schemas.microsoft.com/office/drawing/2014/main" id="{437AC323-4E5E-4E61-87BC-96E12A2F3224}"/>
                </a:ext>
              </a:extLst>
            </p:cNvPr>
            <p:cNvGrpSpPr/>
            <p:nvPr/>
          </p:nvGrpSpPr>
          <p:grpSpPr>
            <a:xfrm>
              <a:off x="5740430" y="1939079"/>
              <a:ext cx="3472367" cy="3472367"/>
              <a:chOff x="6111329" y="2422187"/>
              <a:chExt cx="2698028" cy="2698028"/>
            </a:xfrm>
          </p:grpSpPr>
          <p:sp>
            <p:nvSpPr>
              <p:cNvPr id="76" name="Arc 75">
                <a:extLst>
                  <a:ext uri="{FF2B5EF4-FFF2-40B4-BE49-F238E27FC236}">
                    <a16:creationId xmlns:a16="http://schemas.microsoft.com/office/drawing/2014/main" id="{F9F674E6-3980-40EA-B415-62E0C005EE78}"/>
                  </a:ext>
                </a:extLst>
              </p:cNvPr>
              <p:cNvSpPr/>
              <p:nvPr/>
            </p:nvSpPr>
            <p:spPr>
              <a:xfrm rot="16200000">
                <a:off x="6111329" y="2422187"/>
                <a:ext cx="2698028" cy="2698028"/>
              </a:xfrm>
              <a:prstGeom prst="arc">
                <a:avLst>
                  <a:gd name="adj1" fmla="val 682328"/>
                  <a:gd name="adj2" fmla="val 4749717"/>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7" name="Arc 76">
                <a:extLst>
                  <a:ext uri="{FF2B5EF4-FFF2-40B4-BE49-F238E27FC236}">
                    <a16:creationId xmlns:a16="http://schemas.microsoft.com/office/drawing/2014/main" id="{FDD130E3-D571-417A-84BB-18FC209B5BD4}"/>
                  </a:ext>
                </a:extLst>
              </p:cNvPr>
              <p:cNvSpPr/>
              <p:nvPr/>
            </p:nvSpPr>
            <p:spPr>
              <a:xfrm>
                <a:off x="6111329" y="2422187"/>
                <a:ext cx="2698028" cy="2698028"/>
              </a:xfrm>
              <a:prstGeom prst="arc">
                <a:avLst>
                  <a:gd name="adj1" fmla="val 682328"/>
                  <a:gd name="adj2" fmla="val 4749717"/>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grpSp>
          <p:nvGrpSpPr>
            <p:cNvPr id="69" name="Group 68">
              <a:extLst>
                <a:ext uri="{FF2B5EF4-FFF2-40B4-BE49-F238E27FC236}">
                  <a16:creationId xmlns:a16="http://schemas.microsoft.com/office/drawing/2014/main" id="{A03250DF-C020-4E42-BC03-F8B9A5451CF9}"/>
                </a:ext>
              </a:extLst>
            </p:cNvPr>
            <p:cNvGrpSpPr/>
            <p:nvPr/>
          </p:nvGrpSpPr>
          <p:grpSpPr>
            <a:xfrm rot="10800000">
              <a:off x="5740430" y="1939079"/>
              <a:ext cx="3472367" cy="3472367"/>
              <a:chOff x="6111329" y="2422187"/>
              <a:chExt cx="2698028" cy="2698028"/>
            </a:xfrm>
          </p:grpSpPr>
          <p:sp>
            <p:nvSpPr>
              <p:cNvPr id="74" name="Arc 73">
                <a:extLst>
                  <a:ext uri="{FF2B5EF4-FFF2-40B4-BE49-F238E27FC236}">
                    <a16:creationId xmlns:a16="http://schemas.microsoft.com/office/drawing/2014/main" id="{308CBFAF-AE6A-4C38-AC05-60DB19F79642}"/>
                  </a:ext>
                </a:extLst>
              </p:cNvPr>
              <p:cNvSpPr/>
              <p:nvPr/>
            </p:nvSpPr>
            <p:spPr>
              <a:xfrm rot="16200000">
                <a:off x="6111329" y="2422187"/>
                <a:ext cx="2698028" cy="2698028"/>
              </a:xfrm>
              <a:prstGeom prst="arc">
                <a:avLst>
                  <a:gd name="adj1" fmla="val 682328"/>
                  <a:gd name="adj2" fmla="val 4749717"/>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5" name="Arc 74">
                <a:extLst>
                  <a:ext uri="{FF2B5EF4-FFF2-40B4-BE49-F238E27FC236}">
                    <a16:creationId xmlns:a16="http://schemas.microsoft.com/office/drawing/2014/main" id="{6EFD8F79-3509-4846-AB06-608717AE767C}"/>
                  </a:ext>
                </a:extLst>
              </p:cNvPr>
              <p:cNvSpPr/>
              <p:nvPr/>
            </p:nvSpPr>
            <p:spPr>
              <a:xfrm>
                <a:off x="6111329" y="2422187"/>
                <a:ext cx="2698028" cy="2698028"/>
              </a:xfrm>
              <a:prstGeom prst="arc">
                <a:avLst>
                  <a:gd name="adj1" fmla="val 682328"/>
                  <a:gd name="adj2" fmla="val 4749717"/>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sp>
          <p:nvSpPr>
            <p:cNvPr id="70" name="Oval 69">
              <a:extLst>
                <a:ext uri="{FF2B5EF4-FFF2-40B4-BE49-F238E27FC236}">
                  <a16:creationId xmlns:a16="http://schemas.microsoft.com/office/drawing/2014/main" id="{A102DDA0-4803-4915-91A8-BFFD29AE5E23}"/>
                </a:ext>
              </a:extLst>
            </p:cNvPr>
            <p:cNvSpPr/>
            <p:nvPr/>
          </p:nvSpPr>
          <p:spPr>
            <a:xfrm>
              <a:off x="7208772" y="1662350"/>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bg1"/>
                  </a:solidFill>
                  <a:latin typeface="+mj-lt"/>
                </a:rPr>
                <a:t>3</a:t>
              </a:r>
              <a:endParaRPr lang="en-GB" sz="2000" dirty="0">
                <a:solidFill>
                  <a:schemeClr val="bg1"/>
                </a:solidFill>
                <a:latin typeface="+mj-lt"/>
              </a:endParaRPr>
            </a:p>
          </p:txBody>
        </p:sp>
        <p:sp>
          <p:nvSpPr>
            <p:cNvPr id="71" name="Oval 70">
              <a:extLst>
                <a:ext uri="{FF2B5EF4-FFF2-40B4-BE49-F238E27FC236}">
                  <a16:creationId xmlns:a16="http://schemas.microsoft.com/office/drawing/2014/main" id="{FCF249E8-140C-43A0-B2CB-FB65CDBD356A}"/>
                </a:ext>
              </a:extLst>
            </p:cNvPr>
            <p:cNvSpPr/>
            <p:nvPr/>
          </p:nvSpPr>
          <p:spPr>
            <a:xfrm>
              <a:off x="5462725" y="3407421"/>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bg1"/>
                  </a:solidFill>
                  <a:latin typeface="+mj-lt"/>
                </a:rPr>
                <a:t>6</a:t>
              </a:r>
              <a:endParaRPr lang="en-GB" sz="2000" dirty="0">
                <a:solidFill>
                  <a:schemeClr val="bg1"/>
                </a:solidFill>
                <a:latin typeface="+mj-lt"/>
              </a:endParaRPr>
            </a:p>
          </p:txBody>
        </p:sp>
        <p:sp>
          <p:nvSpPr>
            <p:cNvPr id="72" name="Oval 71">
              <a:extLst>
                <a:ext uri="{FF2B5EF4-FFF2-40B4-BE49-F238E27FC236}">
                  <a16:creationId xmlns:a16="http://schemas.microsoft.com/office/drawing/2014/main" id="{843DE797-6C51-4E1B-BCD0-E49184D6D2C3}"/>
                </a:ext>
              </a:extLst>
            </p:cNvPr>
            <p:cNvSpPr/>
            <p:nvPr/>
          </p:nvSpPr>
          <p:spPr>
            <a:xfrm>
              <a:off x="8948369" y="3407421"/>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bg1"/>
                  </a:solidFill>
                  <a:latin typeface="+mj-lt"/>
                </a:rPr>
                <a:t>4</a:t>
              </a:r>
              <a:endParaRPr lang="en-GB" sz="2000" dirty="0">
                <a:solidFill>
                  <a:schemeClr val="bg1"/>
                </a:solidFill>
                <a:latin typeface="+mj-lt"/>
              </a:endParaRPr>
            </a:p>
          </p:txBody>
        </p:sp>
        <p:sp>
          <p:nvSpPr>
            <p:cNvPr id="73" name="Oval 72">
              <a:extLst>
                <a:ext uri="{FF2B5EF4-FFF2-40B4-BE49-F238E27FC236}">
                  <a16:creationId xmlns:a16="http://schemas.microsoft.com/office/drawing/2014/main" id="{7ED06273-1DA4-4DD7-BAD5-4FF516B7FC8E}"/>
                </a:ext>
              </a:extLst>
            </p:cNvPr>
            <p:cNvSpPr/>
            <p:nvPr/>
          </p:nvSpPr>
          <p:spPr>
            <a:xfrm>
              <a:off x="7208772" y="5162975"/>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bg1"/>
                  </a:solidFill>
                  <a:latin typeface="+mj-lt"/>
                </a:rPr>
                <a:t>5</a:t>
              </a:r>
              <a:endParaRPr lang="en-GB" sz="2000" dirty="0">
                <a:solidFill>
                  <a:schemeClr val="bg1"/>
                </a:solidFill>
                <a:latin typeface="+mj-lt"/>
              </a:endParaRPr>
            </a:p>
          </p:txBody>
        </p:sp>
      </p:grpSp>
      <p:sp>
        <p:nvSpPr>
          <p:cNvPr id="64" name="Content Placeholder 1">
            <a:extLst>
              <a:ext uri="{FF2B5EF4-FFF2-40B4-BE49-F238E27FC236}">
                <a16:creationId xmlns:a16="http://schemas.microsoft.com/office/drawing/2014/main" id="{CD069CA9-7441-4C57-B5D2-675442608AA4}"/>
              </a:ext>
            </a:extLst>
          </p:cNvPr>
          <p:cNvSpPr txBox="1">
            <a:spLocks/>
          </p:cNvSpPr>
          <p:nvPr/>
        </p:nvSpPr>
        <p:spPr>
          <a:xfrm>
            <a:off x="4829170" y="3578164"/>
            <a:ext cx="368691" cy="193899"/>
          </a:xfrm>
          <a:prstGeom prst="rect">
            <a:avLst/>
          </a:prstGeom>
        </p:spPr>
        <p:txBody>
          <a:bodyPr vert="horz" wrap="none" lIns="0" tIns="0" rIns="0" bIns="0" rtlCol="0">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algn="r"/>
            <a:r>
              <a:rPr lang="en-US" sz="1400" b="0" dirty="0"/>
              <a:t>Text</a:t>
            </a:r>
            <a:endParaRPr lang="en-US" sz="1400" b="0" cap="all" dirty="0"/>
          </a:p>
        </p:txBody>
      </p:sp>
      <p:sp>
        <p:nvSpPr>
          <p:cNvPr id="65" name="Content Placeholder 1">
            <a:extLst>
              <a:ext uri="{FF2B5EF4-FFF2-40B4-BE49-F238E27FC236}">
                <a16:creationId xmlns:a16="http://schemas.microsoft.com/office/drawing/2014/main" id="{5FE2EA67-FA73-4DAA-AE49-892832FC80A8}"/>
              </a:ext>
            </a:extLst>
          </p:cNvPr>
          <p:cNvSpPr txBox="1">
            <a:spLocks/>
          </p:cNvSpPr>
          <p:nvPr/>
        </p:nvSpPr>
        <p:spPr>
          <a:xfrm>
            <a:off x="9744400" y="3578164"/>
            <a:ext cx="368691" cy="193899"/>
          </a:xfrm>
          <a:prstGeom prst="rect">
            <a:avLst/>
          </a:prstGeom>
        </p:spPr>
        <p:txBody>
          <a:bodyPr vert="horz" wrap="none" lIns="0" tIns="0" rIns="0" bIns="0" rtlCol="0">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r>
              <a:rPr lang="en-US" sz="1400" b="0" dirty="0"/>
              <a:t>Text</a:t>
            </a:r>
            <a:endParaRPr lang="en-US" sz="1400" b="0" cap="all" dirty="0"/>
          </a:p>
        </p:txBody>
      </p:sp>
      <p:sp>
        <p:nvSpPr>
          <p:cNvPr id="78" name="Content Placeholder 1">
            <a:extLst>
              <a:ext uri="{FF2B5EF4-FFF2-40B4-BE49-F238E27FC236}">
                <a16:creationId xmlns:a16="http://schemas.microsoft.com/office/drawing/2014/main" id="{A4F869B5-E92F-4700-A444-79ADB813B21D}"/>
              </a:ext>
            </a:extLst>
          </p:cNvPr>
          <p:cNvSpPr txBox="1">
            <a:spLocks/>
          </p:cNvSpPr>
          <p:nvPr/>
        </p:nvSpPr>
        <p:spPr>
          <a:xfrm>
            <a:off x="7293367" y="5864626"/>
            <a:ext cx="368691" cy="193899"/>
          </a:xfrm>
          <a:prstGeom prst="rect">
            <a:avLst/>
          </a:prstGeom>
        </p:spPr>
        <p:txBody>
          <a:bodyPr vert="horz" wrap="none" lIns="0" tIns="0" rIns="0" bIns="0" rtlCol="0">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algn="ctr"/>
            <a:r>
              <a:rPr lang="en-US" sz="1400" b="0" dirty="0"/>
              <a:t>Text</a:t>
            </a:r>
            <a:endParaRPr lang="en-US" sz="1400" b="0" cap="all" dirty="0"/>
          </a:p>
        </p:txBody>
      </p:sp>
      <p:sp>
        <p:nvSpPr>
          <p:cNvPr id="4" name="Footer Placeholder 3">
            <a:extLst>
              <a:ext uri="{FF2B5EF4-FFF2-40B4-BE49-F238E27FC236}">
                <a16:creationId xmlns:a16="http://schemas.microsoft.com/office/drawing/2014/main" id="{A9831C02-EE5A-42A2-8690-C2BBA73E7FC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90112C31-05DE-4341-8BBB-A5493FDAE0B2}"/>
              </a:ext>
            </a:extLst>
          </p:cNvPr>
          <p:cNvSpPr>
            <a:spLocks noGrp="1"/>
          </p:cNvSpPr>
          <p:nvPr>
            <p:ph type="sldNum" sz="quarter" idx="10"/>
          </p:nvPr>
        </p:nvSpPr>
        <p:spPr/>
        <p:txBody>
          <a:bodyPr/>
          <a:lstStyle/>
          <a:p>
            <a:fld id="{1F90F471-3972-4120-B8B3-0237DE626C35}" type="slidenum">
              <a:rPr lang="en-US" smtClean="0"/>
              <a:pPr/>
              <a:t>126</a:t>
            </a:fld>
            <a:endParaRPr lang="en-US" dirty="0"/>
          </a:p>
        </p:txBody>
      </p:sp>
    </p:spTree>
    <p:extLst>
      <p:ext uri="{BB962C8B-B14F-4D97-AF65-F5344CB8AC3E}">
        <p14:creationId xmlns:p14="http://schemas.microsoft.com/office/powerpoint/2010/main" val="1881862691"/>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0B9BFF-6320-4BF2-9858-5765876823DC}"/>
              </a:ext>
            </a:extLst>
          </p:cNvPr>
          <p:cNvSpPr>
            <a:spLocks noGrp="1"/>
          </p:cNvSpPr>
          <p:nvPr>
            <p:ph type="title"/>
          </p:nvPr>
        </p:nvSpPr>
        <p:spPr/>
        <p:txBody>
          <a:bodyPr/>
          <a:lstStyle/>
          <a:p>
            <a:r>
              <a:rPr lang="en-US" dirty="0"/>
              <a:t>Feedback 1</a:t>
            </a:r>
          </a:p>
        </p:txBody>
      </p:sp>
      <p:sp>
        <p:nvSpPr>
          <p:cNvPr id="16" name="Rectangle 3">
            <a:extLst>
              <a:ext uri="{FF2B5EF4-FFF2-40B4-BE49-F238E27FC236}">
                <a16:creationId xmlns:a16="http://schemas.microsoft.com/office/drawing/2014/main" id="{A744216A-D4FE-4087-81A6-66D7DDB2FBA4}"/>
              </a:ext>
            </a:extLst>
          </p:cNvPr>
          <p:cNvSpPr>
            <a:spLocks noChangeArrowheads="1"/>
          </p:cNvSpPr>
          <p:nvPr/>
        </p:nvSpPr>
        <p:spPr bwMode="auto">
          <a:xfrm>
            <a:off x="1468438" y="1232438"/>
            <a:ext cx="2880000" cy="2268000"/>
          </a:xfrm>
          <a:prstGeom prst="rect">
            <a:avLst/>
          </a:prstGeom>
          <a:solidFill>
            <a:schemeClr val="accent1"/>
          </a:solidFill>
          <a:ln w="6350">
            <a:noFill/>
            <a:miter lim="800000"/>
            <a:headEnd/>
            <a:tailEnd/>
          </a:ln>
          <a:effectLst/>
        </p:spPr>
        <p:txBody>
          <a:bodyPr lIns="180000" tIns="180000" rIns="72000" bIns="72000" anchor="t"/>
          <a:lstStyle/>
          <a:p>
            <a:pPr algn="l" eaLnBrk="0" hangingPunct="0">
              <a:lnSpc>
                <a:spcPct val="85000"/>
              </a:lnSpc>
              <a:spcBef>
                <a:spcPts val="100"/>
              </a:spcBef>
              <a:spcAft>
                <a:spcPts val="300"/>
              </a:spcAft>
            </a:pPr>
            <a:r>
              <a:rPr lang="en-US" b="1" cap="all" dirty="0">
                <a:solidFill>
                  <a:schemeClr val="bg1"/>
                </a:solidFill>
                <a:latin typeface="+mj-lt"/>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p:txBody>
      </p:sp>
      <p:cxnSp>
        <p:nvCxnSpPr>
          <p:cNvPr id="13" name="Straight Arrow Connector 12">
            <a:extLst>
              <a:ext uri="{FF2B5EF4-FFF2-40B4-BE49-F238E27FC236}">
                <a16:creationId xmlns:a16="http://schemas.microsoft.com/office/drawing/2014/main" id="{168C900D-1AE5-4247-AFAB-5A6DD6C3CD45}"/>
              </a:ext>
              <a:ext uri="{C183D7F6-B498-43B3-948B-1728B52AA6E4}">
                <adec:decorative xmlns:adec="http://schemas.microsoft.com/office/drawing/2017/decorative" val="1"/>
              </a:ext>
            </a:extLst>
          </p:cNvPr>
          <p:cNvCxnSpPr>
            <a:stCxn id="16" idx="3"/>
            <a:endCxn id="17" idx="1"/>
          </p:cNvCxnSpPr>
          <p:nvPr/>
        </p:nvCxnSpPr>
        <p:spPr>
          <a:xfrm>
            <a:off x="4348438" y="2366438"/>
            <a:ext cx="3488775" cy="0"/>
          </a:xfrm>
          <a:prstGeom prst="straightConnector1">
            <a:avLst/>
          </a:prstGeom>
          <a:ln w="19050">
            <a:solidFill>
              <a:schemeClr val="tx2">
                <a:lumMod val="60000"/>
                <a:lumOff val="40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7" name="Rectangle 4">
            <a:extLst>
              <a:ext uri="{FF2B5EF4-FFF2-40B4-BE49-F238E27FC236}">
                <a16:creationId xmlns:a16="http://schemas.microsoft.com/office/drawing/2014/main" id="{1D1F1F43-FE58-42F3-AD65-ED8A8AC41D2E}"/>
              </a:ext>
            </a:extLst>
          </p:cNvPr>
          <p:cNvSpPr>
            <a:spLocks noChangeArrowheads="1"/>
          </p:cNvSpPr>
          <p:nvPr/>
        </p:nvSpPr>
        <p:spPr bwMode="auto">
          <a:xfrm>
            <a:off x="7837213" y="1232438"/>
            <a:ext cx="2880000" cy="2268000"/>
          </a:xfrm>
          <a:prstGeom prst="rect">
            <a:avLst/>
          </a:prstGeom>
          <a:solidFill>
            <a:schemeClr val="accent3"/>
          </a:solidFill>
          <a:ln w="6350">
            <a:noFill/>
            <a:miter lim="800000"/>
            <a:headEnd/>
            <a:tailEnd/>
          </a:ln>
          <a:effectLst/>
        </p:spPr>
        <p:txBody>
          <a:bodyPr lIns="180000" tIns="180000" rIns="72000" bIns="72000" anchor="t"/>
          <a:lstStyle/>
          <a:p>
            <a:pPr eaLnBrk="0" hangingPunct="0">
              <a:lnSpc>
                <a:spcPct val="85000"/>
              </a:lnSpc>
              <a:spcBef>
                <a:spcPts val="100"/>
              </a:spcBef>
              <a:spcAft>
                <a:spcPts val="300"/>
              </a:spcAft>
              <a:buClr>
                <a:schemeClr val="tx1"/>
              </a:buClr>
            </a:pPr>
            <a:r>
              <a:rPr lang="en-US" b="1" cap="all" dirty="0">
                <a:solidFill>
                  <a:schemeClr val="bg1"/>
                </a:solidFill>
                <a:latin typeface="+mj-lt"/>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p:txBody>
      </p:sp>
      <p:cxnSp>
        <p:nvCxnSpPr>
          <p:cNvPr id="15" name="Connector: Elbow 14">
            <a:extLst>
              <a:ext uri="{FF2B5EF4-FFF2-40B4-BE49-F238E27FC236}">
                <a16:creationId xmlns:a16="http://schemas.microsoft.com/office/drawing/2014/main" id="{8DB0A18C-F609-4F76-91CD-DDA672A413F3}"/>
              </a:ext>
              <a:ext uri="{C183D7F6-B498-43B3-948B-1728B52AA6E4}">
                <adec:decorative xmlns:adec="http://schemas.microsoft.com/office/drawing/2017/decorative" val="1"/>
              </a:ext>
            </a:extLst>
          </p:cNvPr>
          <p:cNvCxnSpPr>
            <a:stCxn id="17" idx="2"/>
            <a:endCxn id="16" idx="2"/>
          </p:cNvCxnSpPr>
          <p:nvPr/>
        </p:nvCxnSpPr>
        <p:spPr>
          <a:xfrm rot="5400000">
            <a:off x="6092826" y="316051"/>
            <a:ext cx="12700" cy="6368775"/>
          </a:xfrm>
          <a:prstGeom prst="bentConnector3">
            <a:avLst>
              <a:gd name="adj1" fmla="val 11159984"/>
            </a:avLst>
          </a:prstGeom>
          <a:ln w="19050">
            <a:solidFill>
              <a:schemeClr val="tx2">
                <a:lumMod val="60000"/>
                <a:lumOff val="40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8" name="Rectangle 7">
            <a:extLst>
              <a:ext uri="{FF2B5EF4-FFF2-40B4-BE49-F238E27FC236}">
                <a16:creationId xmlns:a16="http://schemas.microsoft.com/office/drawing/2014/main" id="{3C2F08FE-7C2A-4A72-9125-4244CA307997}"/>
              </a:ext>
            </a:extLst>
          </p:cNvPr>
          <p:cNvSpPr>
            <a:spLocks noChangeArrowheads="1"/>
          </p:cNvSpPr>
          <p:nvPr/>
        </p:nvSpPr>
        <p:spPr bwMode="auto">
          <a:xfrm>
            <a:off x="4652825" y="3789900"/>
            <a:ext cx="2880000" cy="2268000"/>
          </a:xfrm>
          <a:prstGeom prst="rect">
            <a:avLst/>
          </a:prstGeom>
          <a:solidFill>
            <a:schemeClr val="accent2"/>
          </a:solidFill>
          <a:ln w="6350">
            <a:noFill/>
            <a:miter lim="800000"/>
            <a:headEnd/>
            <a:tailEnd/>
          </a:ln>
          <a:effectLst/>
        </p:spPr>
        <p:txBody>
          <a:bodyPr lIns="180000" tIns="180000" rIns="72000" bIns="72000" anchor="t"/>
          <a:lstStyle/>
          <a:p>
            <a:pPr eaLnBrk="0" hangingPunct="0">
              <a:lnSpc>
                <a:spcPct val="85000"/>
              </a:lnSpc>
              <a:spcBef>
                <a:spcPts val="100"/>
              </a:spcBef>
              <a:spcAft>
                <a:spcPts val="300"/>
              </a:spcAft>
              <a:buClr>
                <a:schemeClr val="tx1"/>
              </a:buClr>
            </a:pPr>
            <a:r>
              <a:rPr lang="en-US" b="1" cap="all" dirty="0">
                <a:solidFill>
                  <a:schemeClr val="bg1"/>
                </a:solidFill>
                <a:latin typeface="+mj-lt"/>
              </a:rPr>
              <a:t>Text</a:t>
            </a:r>
          </a:p>
          <a:p>
            <a:pPr marL="182563" indent="-182563" algn="l" eaLnBrk="0" hangingPunct="0">
              <a:spcBef>
                <a:spcPts val="100"/>
              </a:spcBef>
              <a:spcAft>
                <a:spcPts val="100"/>
              </a:spcAft>
              <a:buFontTx/>
              <a:buChar char="•"/>
            </a:pPr>
            <a:r>
              <a:rPr lang="en-US" dirty="0">
                <a:solidFill>
                  <a:schemeClr val="bg1"/>
                </a:solidFill>
              </a:rPr>
              <a:t>Text</a:t>
            </a:r>
          </a:p>
          <a:p>
            <a:pPr marL="182563" indent="-182563" algn="l" eaLnBrk="0" hangingPunct="0">
              <a:spcBef>
                <a:spcPts val="100"/>
              </a:spcBef>
              <a:spcAft>
                <a:spcPts val="100"/>
              </a:spcAft>
              <a:buFontTx/>
              <a:buChar char="•"/>
            </a:pPr>
            <a:r>
              <a:rPr lang="en-US" dirty="0">
                <a:solidFill>
                  <a:schemeClr val="bg1"/>
                </a:solidFill>
              </a:rPr>
              <a:t>Text</a:t>
            </a:r>
          </a:p>
          <a:p>
            <a:pPr marL="182563" indent="-182563" algn="l" eaLnBrk="0" hangingPunct="0">
              <a:spcBef>
                <a:spcPts val="100"/>
              </a:spcBef>
              <a:spcAft>
                <a:spcPts val="100"/>
              </a:spcAft>
              <a:buFontTx/>
              <a:buChar char="•"/>
            </a:pPr>
            <a:r>
              <a:rPr lang="en-US" dirty="0">
                <a:solidFill>
                  <a:schemeClr val="bg1"/>
                </a:solidFill>
              </a:rPr>
              <a:t>Text</a:t>
            </a:r>
          </a:p>
        </p:txBody>
      </p:sp>
      <p:sp>
        <p:nvSpPr>
          <p:cNvPr id="4" name="Footer Placeholder 3">
            <a:extLst>
              <a:ext uri="{FF2B5EF4-FFF2-40B4-BE49-F238E27FC236}">
                <a16:creationId xmlns:a16="http://schemas.microsoft.com/office/drawing/2014/main" id="{9A6C74EE-CEA2-4FF1-86F4-37344D5C37A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BCA66EB8-2641-414C-85EA-820FFCED8887}"/>
              </a:ext>
            </a:extLst>
          </p:cNvPr>
          <p:cNvSpPr>
            <a:spLocks noGrp="1"/>
          </p:cNvSpPr>
          <p:nvPr>
            <p:ph type="sldNum" sz="quarter" idx="10"/>
          </p:nvPr>
        </p:nvSpPr>
        <p:spPr/>
        <p:txBody>
          <a:bodyPr/>
          <a:lstStyle/>
          <a:p>
            <a:fld id="{1F90F471-3972-4120-B8B3-0237DE626C35}" type="slidenum">
              <a:rPr lang="en-US" smtClean="0"/>
              <a:pPr/>
              <a:t>127</a:t>
            </a:fld>
            <a:endParaRPr lang="en-US" dirty="0"/>
          </a:p>
        </p:txBody>
      </p:sp>
    </p:spTree>
    <p:extLst>
      <p:ext uri="{BB962C8B-B14F-4D97-AF65-F5344CB8AC3E}">
        <p14:creationId xmlns:p14="http://schemas.microsoft.com/office/powerpoint/2010/main" val="3999103265"/>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E5F7F0-EE7E-460C-B6DE-57B51373D265}"/>
              </a:ext>
            </a:extLst>
          </p:cNvPr>
          <p:cNvSpPr>
            <a:spLocks noGrp="1"/>
          </p:cNvSpPr>
          <p:nvPr>
            <p:ph type="title"/>
          </p:nvPr>
        </p:nvSpPr>
        <p:spPr/>
        <p:txBody>
          <a:bodyPr/>
          <a:lstStyle/>
          <a:p>
            <a:r>
              <a:rPr lang="en-US" dirty="0"/>
              <a:t>Feedback 2</a:t>
            </a:r>
          </a:p>
        </p:txBody>
      </p:sp>
      <p:sp>
        <p:nvSpPr>
          <p:cNvPr id="7" name="Rectangle 4">
            <a:extLst>
              <a:ext uri="{FF2B5EF4-FFF2-40B4-BE49-F238E27FC236}">
                <a16:creationId xmlns:a16="http://schemas.microsoft.com/office/drawing/2014/main" id="{4FE2F04D-5B69-4298-8023-726E21DD9E40}"/>
              </a:ext>
            </a:extLst>
          </p:cNvPr>
          <p:cNvSpPr>
            <a:spLocks noChangeArrowheads="1"/>
          </p:cNvSpPr>
          <p:nvPr/>
        </p:nvSpPr>
        <p:spPr bwMode="auto">
          <a:xfrm>
            <a:off x="1822450" y="1376363"/>
            <a:ext cx="4680000" cy="4680000"/>
          </a:xfrm>
          <a:prstGeom prst="rect">
            <a:avLst/>
          </a:prstGeom>
          <a:solidFill>
            <a:schemeClr val="accent2"/>
          </a:solidFill>
          <a:ln w="6350">
            <a:noFill/>
            <a:miter lim="800000"/>
            <a:headEnd/>
            <a:tailEnd/>
          </a:ln>
          <a:effectLst/>
        </p:spPr>
        <p:txBody>
          <a:bodyPr lIns="180000" tIns="180000" rIns="72000" bIns="72000" anchor="t"/>
          <a:lstStyle/>
          <a:p>
            <a:pPr algn="l" eaLnBrk="0" hangingPunct="0">
              <a:lnSpc>
                <a:spcPct val="85000"/>
              </a:lnSpc>
              <a:spcBef>
                <a:spcPts val="100"/>
              </a:spcBef>
              <a:spcAft>
                <a:spcPts val="300"/>
              </a:spcAft>
              <a:buClr>
                <a:schemeClr val="bg1"/>
              </a:buClr>
            </a:pPr>
            <a:r>
              <a:rPr lang="en-US" b="1" cap="all" dirty="0">
                <a:solidFill>
                  <a:schemeClr val="bg1"/>
                </a:solidFill>
                <a:latin typeface="+mj-lt"/>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p:txBody>
      </p:sp>
      <p:sp>
        <p:nvSpPr>
          <p:cNvPr id="5" name="Freeform: Shape 4">
            <a:extLst>
              <a:ext uri="{FF2B5EF4-FFF2-40B4-BE49-F238E27FC236}">
                <a16:creationId xmlns:a16="http://schemas.microsoft.com/office/drawing/2014/main" id="{987F2EB7-FDB3-4155-A36C-80B8B464510C}"/>
              </a:ext>
              <a:ext uri="{C183D7F6-B498-43B3-948B-1728B52AA6E4}">
                <adec:decorative xmlns:adec="http://schemas.microsoft.com/office/drawing/2017/decorative" val="1"/>
              </a:ext>
            </a:extLst>
          </p:cNvPr>
          <p:cNvSpPr/>
          <p:nvPr/>
        </p:nvSpPr>
        <p:spPr>
          <a:xfrm>
            <a:off x="6479828" y="2063931"/>
            <a:ext cx="2429041" cy="3317966"/>
          </a:xfrm>
          <a:custGeom>
            <a:avLst/>
            <a:gdLst>
              <a:gd name="connsiteX0" fmla="*/ 26126 w 2416629"/>
              <a:gd name="connsiteY0" fmla="*/ 0 h 3317966"/>
              <a:gd name="connsiteX1" fmla="*/ 2416629 w 2416629"/>
              <a:gd name="connsiteY1" fmla="*/ 0 h 3317966"/>
              <a:gd name="connsiteX2" fmla="*/ 2416629 w 2416629"/>
              <a:gd name="connsiteY2" fmla="*/ 3317966 h 3317966"/>
              <a:gd name="connsiteX3" fmla="*/ 0 w 2416629"/>
              <a:gd name="connsiteY3" fmla="*/ 3317966 h 3317966"/>
              <a:gd name="connsiteX0" fmla="*/ 0 w 2439347"/>
              <a:gd name="connsiteY0" fmla="*/ 0 h 3317966"/>
              <a:gd name="connsiteX1" fmla="*/ 2439347 w 2439347"/>
              <a:gd name="connsiteY1" fmla="*/ 0 h 3317966"/>
              <a:gd name="connsiteX2" fmla="*/ 2439347 w 2439347"/>
              <a:gd name="connsiteY2" fmla="*/ 3317966 h 3317966"/>
              <a:gd name="connsiteX3" fmla="*/ 22718 w 2439347"/>
              <a:gd name="connsiteY3" fmla="*/ 3317966 h 3317966"/>
              <a:gd name="connsiteX0" fmla="*/ 0 w 2439347"/>
              <a:gd name="connsiteY0" fmla="*/ 0 h 3317966"/>
              <a:gd name="connsiteX1" fmla="*/ 2439347 w 2439347"/>
              <a:gd name="connsiteY1" fmla="*/ 0 h 3317966"/>
              <a:gd name="connsiteX2" fmla="*/ 2439347 w 2439347"/>
              <a:gd name="connsiteY2" fmla="*/ 3317966 h 3317966"/>
              <a:gd name="connsiteX3" fmla="*/ 71563 w 2439347"/>
              <a:gd name="connsiteY3" fmla="*/ 3308239 h 3317966"/>
            </a:gdLst>
            <a:ahLst/>
            <a:cxnLst>
              <a:cxn ang="0">
                <a:pos x="connsiteX0" y="connsiteY0"/>
              </a:cxn>
              <a:cxn ang="0">
                <a:pos x="connsiteX1" y="connsiteY1"/>
              </a:cxn>
              <a:cxn ang="0">
                <a:pos x="connsiteX2" y="connsiteY2"/>
              </a:cxn>
              <a:cxn ang="0">
                <a:pos x="connsiteX3" y="connsiteY3"/>
              </a:cxn>
            </a:cxnLst>
            <a:rect l="l" t="t" r="r" b="b"/>
            <a:pathLst>
              <a:path w="2439347" h="3317966">
                <a:moveTo>
                  <a:pt x="0" y="0"/>
                </a:moveTo>
                <a:lnTo>
                  <a:pt x="2439347" y="0"/>
                </a:lnTo>
                <a:lnTo>
                  <a:pt x="2439347" y="3317966"/>
                </a:lnTo>
                <a:lnTo>
                  <a:pt x="71563" y="3308239"/>
                </a:lnTo>
              </a:path>
            </a:pathLst>
          </a:custGeom>
          <a:ln w="19050">
            <a:solidFill>
              <a:schemeClr val="tx2">
                <a:lumMod val="60000"/>
                <a:lumOff val="40000"/>
              </a:schemeClr>
            </a:solidFill>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Rectangle 7">
            <a:extLst>
              <a:ext uri="{FF2B5EF4-FFF2-40B4-BE49-F238E27FC236}">
                <a16:creationId xmlns:a16="http://schemas.microsoft.com/office/drawing/2014/main" id="{4F2FDA54-FDC3-4AA3-9F6F-6EDC341E313B}"/>
              </a:ext>
            </a:extLst>
          </p:cNvPr>
          <p:cNvSpPr>
            <a:spLocks noChangeArrowheads="1"/>
          </p:cNvSpPr>
          <p:nvPr/>
        </p:nvSpPr>
        <p:spPr bwMode="auto">
          <a:xfrm>
            <a:off x="7615646" y="2625596"/>
            <a:ext cx="2566116" cy="2181536"/>
          </a:xfrm>
          <a:prstGeom prst="rect">
            <a:avLst/>
          </a:prstGeom>
          <a:solidFill>
            <a:schemeClr val="tx2">
              <a:lumMod val="20000"/>
              <a:lumOff val="80000"/>
            </a:schemeClr>
          </a:solidFill>
          <a:ln w="6350">
            <a:noFill/>
            <a:miter lim="800000"/>
            <a:headEnd/>
            <a:tailEnd/>
          </a:ln>
          <a:effectLst/>
        </p:spPr>
        <p:txBody>
          <a:bodyPr lIns="180000" tIns="180000" rIns="72000" bIns="72000" anchor="t"/>
          <a:lstStyle/>
          <a:p>
            <a:pPr eaLnBrk="0" hangingPunct="0">
              <a:lnSpc>
                <a:spcPct val="85000"/>
              </a:lnSpc>
              <a:spcBef>
                <a:spcPts val="100"/>
              </a:spcBef>
              <a:spcAft>
                <a:spcPts val="300"/>
              </a:spcAft>
              <a:buClr>
                <a:schemeClr val="bg1"/>
              </a:buClr>
            </a:pPr>
            <a:r>
              <a:rPr lang="en-US" b="1" cap="all" dirty="0">
                <a:latin typeface="+mj-lt"/>
              </a:rPr>
              <a:t>Text</a:t>
            </a:r>
          </a:p>
          <a:p>
            <a:pPr marL="182563" indent="-182563" algn="l" eaLnBrk="0" hangingPunct="0">
              <a:spcBef>
                <a:spcPts val="100"/>
              </a:spcBef>
              <a:spcAft>
                <a:spcPts val="100"/>
              </a:spcAft>
              <a:buFontTx/>
              <a:buChar char="•"/>
            </a:pPr>
            <a:r>
              <a:rPr lang="en-US" dirty="0"/>
              <a:t>Text</a:t>
            </a:r>
          </a:p>
          <a:p>
            <a:pPr marL="182563" indent="-182563" algn="l" eaLnBrk="0" hangingPunct="0">
              <a:spcBef>
                <a:spcPts val="100"/>
              </a:spcBef>
              <a:spcAft>
                <a:spcPts val="100"/>
              </a:spcAft>
              <a:buFontTx/>
              <a:buChar char="•"/>
            </a:pPr>
            <a:r>
              <a:rPr lang="en-US" dirty="0"/>
              <a:t>Text</a:t>
            </a:r>
          </a:p>
          <a:p>
            <a:pPr marL="182563" indent="-182563" algn="l" eaLnBrk="0" hangingPunct="0">
              <a:spcBef>
                <a:spcPts val="100"/>
              </a:spcBef>
              <a:spcAft>
                <a:spcPts val="100"/>
              </a:spcAft>
              <a:buFontTx/>
              <a:buChar char="•"/>
            </a:pPr>
            <a:r>
              <a:rPr lang="en-US" dirty="0"/>
              <a:t>Text</a:t>
            </a:r>
          </a:p>
        </p:txBody>
      </p:sp>
      <p:sp>
        <p:nvSpPr>
          <p:cNvPr id="8" name="Footer Placeholder 7">
            <a:extLst>
              <a:ext uri="{FF2B5EF4-FFF2-40B4-BE49-F238E27FC236}">
                <a16:creationId xmlns:a16="http://schemas.microsoft.com/office/drawing/2014/main" id="{91D18D6C-4C6B-4CCB-910C-FFDBE1A19CA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9" name="Slide Number Placeholder 8">
            <a:extLst>
              <a:ext uri="{FF2B5EF4-FFF2-40B4-BE49-F238E27FC236}">
                <a16:creationId xmlns:a16="http://schemas.microsoft.com/office/drawing/2014/main" id="{040F2D69-0345-49FC-B0A3-34FA17A5758C}"/>
              </a:ext>
            </a:extLst>
          </p:cNvPr>
          <p:cNvSpPr>
            <a:spLocks noGrp="1"/>
          </p:cNvSpPr>
          <p:nvPr>
            <p:ph type="sldNum" sz="quarter" idx="10"/>
          </p:nvPr>
        </p:nvSpPr>
        <p:spPr/>
        <p:txBody>
          <a:bodyPr/>
          <a:lstStyle/>
          <a:p>
            <a:fld id="{1F90F471-3972-4120-B8B3-0237DE626C35}" type="slidenum">
              <a:rPr lang="en-US" smtClean="0"/>
              <a:pPr/>
              <a:t>128</a:t>
            </a:fld>
            <a:endParaRPr lang="en-US" dirty="0"/>
          </a:p>
        </p:txBody>
      </p:sp>
    </p:spTree>
    <p:extLst>
      <p:ext uri="{BB962C8B-B14F-4D97-AF65-F5344CB8AC3E}">
        <p14:creationId xmlns:p14="http://schemas.microsoft.com/office/powerpoint/2010/main" val="24475212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234F8-78A5-48CC-8C6D-CFD96F6F85F7}"/>
              </a:ext>
            </a:extLst>
          </p:cNvPr>
          <p:cNvSpPr>
            <a:spLocks noGrp="1"/>
          </p:cNvSpPr>
          <p:nvPr>
            <p:ph type="title"/>
          </p:nvPr>
        </p:nvSpPr>
        <p:spPr/>
        <p:txBody>
          <a:bodyPr/>
          <a:lstStyle/>
          <a:p>
            <a:r>
              <a:rPr lang="en-US" dirty="0"/>
              <a:t>Cross-fertilization 1</a:t>
            </a:r>
          </a:p>
        </p:txBody>
      </p:sp>
      <p:sp>
        <p:nvSpPr>
          <p:cNvPr id="12" name="Oval 10">
            <a:extLst>
              <a:ext uri="{FF2B5EF4-FFF2-40B4-BE49-F238E27FC236}">
                <a16:creationId xmlns:a16="http://schemas.microsoft.com/office/drawing/2014/main" id="{5126627D-7178-44DA-B848-55FBBDC4F0CF}"/>
              </a:ext>
            </a:extLst>
          </p:cNvPr>
          <p:cNvSpPr>
            <a:spLocks noChangeArrowheads="1"/>
          </p:cNvSpPr>
          <p:nvPr/>
        </p:nvSpPr>
        <p:spPr bwMode="auto">
          <a:xfrm>
            <a:off x="2294463" y="1533939"/>
            <a:ext cx="4535488" cy="4533900"/>
          </a:xfrm>
          <a:prstGeom prst="ellipse">
            <a:avLst/>
          </a:prstGeom>
          <a:solidFill>
            <a:schemeClr val="accent1">
              <a:lumMod val="20000"/>
              <a:lumOff val="80000"/>
            </a:schemeClr>
          </a:solidFill>
          <a:ln w="6350">
            <a:noFill/>
            <a:round/>
            <a:headEnd/>
            <a:tailEnd/>
          </a:ln>
          <a:effectLst/>
        </p:spPr>
        <p:txBody>
          <a:bodyPr lIns="72000" tIns="72000" rIns="72000" bIns="72000" anchor="ctr"/>
          <a:lstStyle/>
          <a:p>
            <a:pPr marL="179388" indent="-179388" eaLnBrk="0" hangingPunct="0">
              <a:spcBef>
                <a:spcPts val="100"/>
              </a:spcBef>
              <a:spcAft>
                <a:spcPts val="100"/>
              </a:spcAft>
              <a:buFontTx/>
              <a:buChar char="•"/>
            </a:pPr>
            <a:r>
              <a:rPr lang="en-US" dirty="0">
                <a:solidFill>
                  <a:schemeClr val="accent1"/>
                </a:solidFill>
              </a:rPr>
              <a:t>Text</a:t>
            </a:r>
          </a:p>
          <a:p>
            <a:pPr marL="179388" indent="-179388" eaLnBrk="0" hangingPunct="0">
              <a:spcBef>
                <a:spcPts val="100"/>
              </a:spcBef>
              <a:spcAft>
                <a:spcPts val="100"/>
              </a:spcAft>
              <a:buFontTx/>
              <a:buChar char="•"/>
            </a:pPr>
            <a:r>
              <a:rPr lang="en-US" dirty="0">
                <a:solidFill>
                  <a:schemeClr val="accent1"/>
                </a:solidFill>
              </a:rPr>
              <a:t>Text</a:t>
            </a:r>
          </a:p>
          <a:p>
            <a:pPr marL="179388" indent="-179388" eaLnBrk="0" hangingPunct="0">
              <a:spcBef>
                <a:spcPts val="100"/>
              </a:spcBef>
              <a:spcAft>
                <a:spcPts val="100"/>
              </a:spcAft>
              <a:buFontTx/>
              <a:buChar char="•"/>
            </a:pPr>
            <a:r>
              <a:rPr lang="en-US" dirty="0">
                <a:solidFill>
                  <a:schemeClr val="accent1"/>
                </a:solidFill>
              </a:rPr>
              <a:t>Text</a:t>
            </a:r>
          </a:p>
        </p:txBody>
      </p:sp>
      <p:sp>
        <p:nvSpPr>
          <p:cNvPr id="13" name="Oval 11">
            <a:extLst>
              <a:ext uri="{FF2B5EF4-FFF2-40B4-BE49-F238E27FC236}">
                <a16:creationId xmlns:a16="http://schemas.microsoft.com/office/drawing/2014/main" id="{EBDB51FD-A02F-4DB5-96C0-04F546331465}"/>
              </a:ext>
            </a:extLst>
          </p:cNvPr>
          <p:cNvSpPr>
            <a:spLocks noChangeArrowheads="1"/>
          </p:cNvSpPr>
          <p:nvPr/>
        </p:nvSpPr>
        <p:spPr bwMode="auto">
          <a:xfrm>
            <a:off x="5372626" y="1533939"/>
            <a:ext cx="4535487" cy="4533900"/>
          </a:xfrm>
          <a:prstGeom prst="ellipse">
            <a:avLst/>
          </a:prstGeom>
          <a:solidFill>
            <a:schemeClr val="accent2">
              <a:lumMod val="20000"/>
              <a:lumOff val="80000"/>
            </a:schemeClr>
          </a:solidFill>
          <a:ln w="6350">
            <a:noFill/>
            <a:round/>
            <a:headEnd/>
            <a:tailEnd/>
          </a:ln>
          <a:effectLst/>
        </p:spPr>
        <p:txBody>
          <a:bodyPr lIns="1512000" tIns="72000" rIns="72000" bIns="72000" anchor="ctr"/>
          <a:lstStyle/>
          <a:p>
            <a:pPr marL="179388" indent="-179388" algn="l" eaLnBrk="0" hangingPunct="0">
              <a:spcBef>
                <a:spcPts val="100"/>
              </a:spcBef>
              <a:spcAft>
                <a:spcPts val="100"/>
              </a:spcAft>
              <a:buFontTx/>
              <a:buChar char="•"/>
            </a:pPr>
            <a:r>
              <a:rPr lang="en-US" dirty="0">
                <a:solidFill>
                  <a:schemeClr val="accent2"/>
                </a:solidFill>
              </a:rPr>
              <a:t>Text</a:t>
            </a:r>
          </a:p>
          <a:p>
            <a:pPr marL="179388" indent="-179388" algn="l" eaLnBrk="0" hangingPunct="0">
              <a:spcBef>
                <a:spcPts val="100"/>
              </a:spcBef>
              <a:spcAft>
                <a:spcPts val="100"/>
              </a:spcAft>
              <a:buFontTx/>
              <a:buChar char="•"/>
            </a:pPr>
            <a:r>
              <a:rPr lang="en-US" dirty="0">
                <a:solidFill>
                  <a:schemeClr val="accent2"/>
                </a:solidFill>
              </a:rPr>
              <a:t>Text</a:t>
            </a:r>
          </a:p>
          <a:p>
            <a:pPr marL="179388" indent="-179388" algn="l" eaLnBrk="0" hangingPunct="0">
              <a:spcBef>
                <a:spcPts val="100"/>
              </a:spcBef>
              <a:spcAft>
                <a:spcPts val="100"/>
              </a:spcAft>
              <a:buFontTx/>
              <a:buChar char="•"/>
            </a:pPr>
            <a:r>
              <a:rPr lang="en-US" dirty="0">
                <a:solidFill>
                  <a:schemeClr val="accent2"/>
                </a:solidFill>
              </a:rPr>
              <a:t>Text</a:t>
            </a:r>
          </a:p>
        </p:txBody>
      </p:sp>
      <p:grpSp>
        <p:nvGrpSpPr>
          <p:cNvPr id="14" name="Group 13">
            <a:extLst>
              <a:ext uri="{FF2B5EF4-FFF2-40B4-BE49-F238E27FC236}">
                <a16:creationId xmlns:a16="http://schemas.microsoft.com/office/drawing/2014/main" id="{182FF821-CC54-42D7-A550-774D63FE3F54}"/>
              </a:ext>
              <a:ext uri="{C183D7F6-B498-43B3-948B-1728B52AA6E4}">
                <adec:decorative xmlns:adec="http://schemas.microsoft.com/office/drawing/2017/decorative" val="1"/>
              </a:ext>
            </a:extLst>
          </p:cNvPr>
          <p:cNvGrpSpPr/>
          <p:nvPr/>
        </p:nvGrpSpPr>
        <p:grpSpPr>
          <a:xfrm>
            <a:off x="4900439" y="2756263"/>
            <a:ext cx="2401698" cy="2129246"/>
            <a:chOff x="4562207" y="2756263"/>
            <a:chExt cx="3078162" cy="2129246"/>
          </a:xfrm>
        </p:grpSpPr>
        <p:cxnSp>
          <p:nvCxnSpPr>
            <p:cNvPr id="15" name="Straight Arrow Connector 14">
              <a:extLst>
                <a:ext uri="{FF2B5EF4-FFF2-40B4-BE49-F238E27FC236}">
                  <a16:creationId xmlns:a16="http://schemas.microsoft.com/office/drawing/2014/main" id="{3E3ADAFC-C185-48B1-BF45-B881769538DD}"/>
                </a:ext>
              </a:extLst>
            </p:cNvPr>
            <p:cNvCxnSpPr/>
            <p:nvPr/>
          </p:nvCxnSpPr>
          <p:spPr>
            <a:xfrm>
              <a:off x="4562207" y="2756263"/>
              <a:ext cx="3078162" cy="0"/>
            </a:xfrm>
            <a:prstGeom prst="straightConnector1">
              <a:avLst/>
            </a:prstGeom>
            <a:ln w="19050">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8EE2AC5-E91C-4125-B98F-D8B921DDB362}"/>
                </a:ext>
              </a:extLst>
            </p:cNvPr>
            <p:cNvCxnSpPr/>
            <p:nvPr/>
          </p:nvCxnSpPr>
          <p:spPr>
            <a:xfrm>
              <a:off x="4562207" y="4885509"/>
              <a:ext cx="3078162" cy="0"/>
            </a:xfrm>
            <a:prstGeom prst="straightConnector1">
              <a:avLst/>
            </a:prstGeom>
            <a:ln w="19050">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17" name="Freeform 12">
            <a:extLst>
              <a:ext uri="{FF2B5EF4-FFF2-40B4-BE49-F238E27FC236}">
                <a16:creationId xmlns:a16="http://schemas.microsoft.com/office/drawing/2014/main" id="{E083B7F6-8500-45D7-898B-3E873C431D81}"/>
              </a:ext>
              <a:ext uri="{C183D7F6-B498-43B3-948B-1728B52AA6E4}">
                <adec:decorative xmlns:adec="http://schemas.microsoft.com/office/drawing/2017/decorative" val="1"/>
              </a:ext>
            </a:extLst>
          </p:cNvPr>
          <p:cNvSpPr>
            <a:spLocks/>
          </p:cNvSpPr>
          <p:nvPr/>
        </p:nvSpPr>
        <p:spPr bwMode="auto">
          <a:xfrm>
            <a:off x="5372626" y="2140364"/>
            <a:ext cx="1455737" cy="3332163"/>
          </a:xfrm>
          <a:custGeom>
            <a:avLst/>
            <a:gdLst/>
            <a:ahLst/>
            <a:cxnLst>
              <a:cxn ang="0">
                <a:pos x="384" y="1925"/>
              </a:cxn>
              <a:cxn ang="0">
                <a:pos x="293" y="1824"/>
              </a:cxn>
              <a:cxn ang="0">
                <a:pos x="213" y="1712"/>
              </a:cxn>
              <a:cxn ang="0">
                <a:pos x="146" y="1595"/>
              </a:cxn>
              <a:cxn ang="0">
                <a:pos x="90" y="1469"/>
              </a:cxn>
              <a:cxn ang="0">
                <a:pos x="46" y="1338"/>
              </a:cxn>
              <a:cxn ang="0">
                <a:pos x="17" y="1200"/>
              </a:cxn>
              <a:cxn ang="0">
                <a:pos x="4" y="1094"/>
              </a:cxn>
              <a:cxn ang="0">
                <a:pos x="0" y="1023"/>
              </a:cxn>
              <a:cxn ang="0">
                <a:pos x="0" y="950"/>
              </a:cxn>
              <a:cxn ang="0">
                <a:pos x="4" y="878"/>
              </a:cxn>
              <a:cxn ang="0">
                <a:pos x="17" y="772"/>
              </a:cxn>
              <a:cxn ang="0">
                <a:pos x="46" y="634"/>
              </a:cxn>
              <a:cxn ang="0">
                <a:pos x="90" y="503"/>
              </a:cxn>
              <a:cxn ang="0">
                <a:pos x="146" y="377"/>
              </a:cxn>
              <a:cxn ang="0">
                <a:pos x="213" y="260"/>
              </a:cxn>
              <a:cxn ang="0">
                <a:pos x="293" y="148"/>
              </a:cxn>
              <a:cxn ang="0">
                <a:pos x="384" y="47"/>
              </a:cxn>
              <a:cxn ang="0">
                <a:pos x="479" y="47"/>
              </a:cxn>
              <a:cxn ang="0">
                <a:pos x="570" y="148"/>
              </a:cxn>
              <a:cxn ang="0">
                <a:pos x="650" y="260"/>
              </a:cxn>
              <a:cxn ang="0">
                <a:pos x="717" y="377"/>
              </a:cxn>
              <a:cxn ang="0">
                <a:pos x="773" y="503"/>
              </a:cxn>
              <a:cxn ang="0">
                <a:pos x="817" y="634"/>
              </a:cxn>
              <a:cxn ang="0">
                <a:pos x="846" y="772"/>
              </a:cxn>
              <a:cxn ang="0">
                <a:pos x="859" y="878"/>
              </a:cxn>
              <a:cxn ang="0">
                <a:pos x="863" y="950"/>
              </a:cxn>
              <a:cxn ang="0">
                <a:pos x="863" y="1023"/>
              </a:cxn>
              <a:cxn ang="0">
                <a:pos x="859" y="1094"/>
              </a:cxn>
              <a:cxn ang="0">
                <a:pos x="846" y="1200"/>
              </a:cxn>
              <a:cxn ang="0">
                <a:pos x="817" y="1338"/>
              </a:cxn>
              <a:cxn ang="0">
                <a:pos x="773" y="1469"/>
              </a:cxn>
              <a:cxn ang="0">
                <a:pos x="717" y="1595"/>
              </a:cxn>
              <a:cxn ang="0">
                <a:pos x="650" y="1712"/>
              </a:cxn>
              <a:cxn ang="0">
                <a:pos x="570" y="1824"/>
              </a:cxn>
              <a:cxn ang="0">
                <a:pos x="479" y="1925"/>
              </a:cxn>
            </a:cxnLst>
            <a:rect l="0" t="0" r="r" b="b"/>
            <a:pathLst>
              <a:path w="863" h="1972">
                <a:moveTo>
                  <a:pt x="432" y="1972"/>
                </a:moveTo>
                <a:lnTo>
                  <a:pt x="384" y="1925"/>
                </a:lnTo>
                <a:lnTo>
                  <a:pt x="337" y="1876"/>
                </a:lnTo>
                <a:lnTo>
                  <a:pt x="293" y="1824"/>
                </a:lnTo>
                <a:lnTo>
                  <a:pt x="251" y="1770"/>
                </a:lnTo>
                <a:lnTo>
                  <a:pt x="213" y="1712"/>
                </a:lnTo>
                <a:lnTo>
                  <a:pt x="178" y="1655"/>
                </a:lnTo>
                <a:lnTo>
                  <a:pt x="146" y="1595"/>
                </a:lnTo>
                <a:lnTo>
                  <a:pt x="115" y="1534"/>
                </a:lnTo>
                <a:lnTo>
                  <a:pt x="90" y="1469"/>
                </a:lnTo>
                <a:lnTo>
                  <a:pt x="65" y="1405"/>
                </a:lnTo>
                <a:lnTo>
                  <a:pt x="46" y="1338"/>
                </a:lnTo>
                <a:lnTo>
                  <a:pt x="28" y="1269"/>
                </a:lnTo>
                <a:lnTo>
                  <a:pt x="17" y="1200"/>
                </a:lnTo>
                <a:lnTo>
                  <a:pt x="7" y="1131"/>
                </a:lnTo>
                <a:lnTo>
                  <a:pt x="4" y="1094"/>
                </a:lnTo>
                <a:lnTo>
                  <a:pt x="2" y="1060"/>
                </a:lnTo>
                <a:lnTo>
                  <a:pt x="0" y="1023"/>
                </a:lnTo>
                <a:lnTo>
                  <a:pt x="0" y="987"/>
                </a:lnTo>
                <a:lnTo>
                  <a:pt x="0" y="950"/>
                </a:lnTo>
                <a:lnTo>
                  <a:pt x="2" y="914"/>
                </a:lnTo>
                <a:lnTo>
                  <a:pt x="4" y="878"/>
                </a:lnTo>
                <a:lnTo>
                  <a:pt x="7" y="843"/>
                </a:lnTo>
                <a:lnTo>
                  <a:pt x="17" y="772"/>
                </a:lnTo>
                <a:lnTo>
                  <a:pt x="28" y="703"/>
                </a:lnTo>
                <a:lnTo>
                  <a:pt x="46" y="634"/>
                </a:lnTo>
                <a:lnTo>
                  <a:pt x="65" y="569"/>
                </a:lnTo>
                <a:lnTo>
                  <a:pt x="90" y="503"/>
                </a:lnTo>
                <a:lnTo>
                  <a:pt x="115" y="440"/>
                </a:lnTo>
                <a:lnTo>
                  <a:pt x="146" y="377"/>
                </a:lnTo>
                <a:lnTo>
                  <a:pt x="178" y="317"/>
                </a:lnTo>
                <a:lnTo>
                  <a:pt x="213" y="260"/>
                </a:lnTo>
                <a:lnTo>
                  <a:pt x="251" y="204"/>
                </a:lnTo>
                <a:lnTo>
                  <a:pt x="293" y="148"/>
                </a:lnTo>
                <a:lnTo>
                  <a:pt x="337" y="96"/>
                </a:lnTo>
                <a:lnTo>
                  <a:pt x="384" y="47"/>
                </a:lnTo>
                <a:lnTo>
                  <a:pt x="432" y="0"/>
                </a:lnTo>
                <a:lnTo>
                  <a:pt x="479" y="47"/>
                </a:lnTo>
                <a:lnTo>
                  <a:pt x="526" y="96"/>
                </a:lnTo>
                <a:lnTo>
                  <a:pt x="570" y="148"/>
                </a:lnTo>
                <a:lnTo>
                  <a:pt x="612" y="204"/>
                </a:lnTo>
                <a:lnTo>
                  <a:pt x="650" y="260"/>
                </a:lnTo>
                <a:lnTo>
                  <a:pt x="685" y="317"/>
                </a:lnTo>
                <a:lnTo>
                  <a:pt x="717" y="377"/>
                </a:lnTo>
                <a:lnTo>
                  <a:pt x="748" y="440"/>
                </a:lnTo>
                <a:lnTo>
                  <a:pt x="773" y="503"/>
                </a:lnTo>
                <a:lnTo>
                  <a:pt x="798" y="569"/>
                </a:lnTo>
                <a:lnTo>
                  <a:pt x="817" y="634"/>
                </a:lnTo>
                <a:lnTo>
                  <a:pt x="835" y="703"/>
                </a:lnTo>
                <a:lnTo>
                  <a:pt x="846" y="772"/>
                </a:lnTo>
                <a:lnTo>
                  <a:pt x="856" y="843"/>
                </a:lnTo>
                <a:lnTo>
                  <a:pt x="859" y="878"/>
                </a:lnTo>
                <a:lnTo>
                  <a:pt x="861" y="914"/>
                </a:lnTo>
                <a:lnTo>
                  <a:pt x="863" y="950"/>
                </a:lnTo>
                <a:lnTo>
                  <a:pt x="863" y="987"/>
                </a:lnTo>
                <a:lnTo>
                  <a:pt x="863" y="1023"/>
                </a:lnTo>
                <a:lnTo>
                  <a:pt x="861" y="1060"/>
                </a:lnTo>
                <a:lnTo>
                  <a:pt x="859" y="1094"/>
                </a:lnTo>
                <a:lnTo>
                  <a:pt x="856" y="1131"/>
                </a:lnTo>
                <a:lnTo>
                  <a:pt x="846" y="1200"/>
                </a:lnTo>
                <a:lnTo>
                  <a:pt x="835" y="1269"/>
                </a:lnTo>
                <a:lnTo>
                  <a:pt x="817" y="1338"/>
                </a:lnTo>
                <a:lnTo>
                  <a:pt x="798" y="1405"/>
                </a:lnTo>
                <a:lnTo>
                  <a:pt x="773" y="1469"/>
                </a:lnTo>
                <a:lnTo>
                  <a:pt x="748" y="1534"/>
                </a:lnTo>
                <a:lnTo>
                  <a:pt x="717" y="1595"/>
                </a:lnTo>
                <a:lnTo>
                  <a:pt x="685" y="1655"/>
                </a:lnTo>
                <a:lnTo>
                  <a:pt x="650" y="1712"/>
                </a:lnTo>
                <a:lnTo>
                  <a:pt x="612" y="1770"/>
                </a:lnTo>
                <a:lnTo>
                  <a:pt x="570" y="1824"/>
                </a:lnTo>
                <a:lnTo>
                  <a:pt x="526" y="1876"/>
                </a:lnTo>
                <a:lnTo>
                  <a:pt x="479" y="1925"/>
                </a:lnTo>
                <a:lnTo>
                  <a:pt x="432" y="1972"/>
                </a:lnTo>
              </a:path>
            </a:pathLst>
          </a:custGeom>
          <a:solidFill>
            <a:schemeClr val="accent3"/>
          </a:solidFill>
          <a:ln w="6350" cmpd="sng">
            <a:noFill/>
            <a:prstDash val="solid"/>
            <a:round/>
            <a:headEnd/>
            <a:tailEnd/>
          </a:ln>
        </p:spPr>
        <p:txBody>
          <a:bodyPr lIns="45720" rIns="45720" anchor="ctr" anchorCtr="1"/>
          <a:lstStyle/>
          <a:p>
            <a:endParaRPr lang="en-US"/>
          </a:p>
        </p:txBody>
      </p:sp>
      <p:sp>
        <p:nvSpPr>
          <p:cNvPr id="18" name="Rectangle 13">
            <a:extLst>
              <a:ext uri="{FF2B5EF4-FFF2-40B4-BE49-F238E27FC236}">
                <a16:creationId xmlns:a16="http://schemas.microsoft.com/office/drawing/2014/main" id="{C5EC0470-C47F-446E-B0CC-D4EC2BC5988A}"/>
              </a:ext>
            </a:extLst>
          </p:cNvPr>
          <p:cNvSpPr>
            <a:spLocks noChangeArrowheads="1"/>
          </p:cNvSpPr>
          <p:nvPr/>
        </p:nvSpPr>
        <p:spPr bwMode="auto">
          <a:xfrm>
            <a:off x="5589596" y="3365299"/>
            <a:ext cx="1020210" cy="882293"/>
          </a:xfrm>
          <a:prstGeom prst="rect">
            <a:avLst/>
          </a:prstGeom>
          <a:noFill/>
          <a:ln w="6350">
            <a:noFill/>
            <a:miter lim="800000"/>
            <a:headEnd/>
            <a:tailEnd/>
          </a:ln>
          <a:effectLst/>
        </p:spPr>
        <p:txBody>
          <a:bodyPr wrap="square" lIns="0" tIns="0" rIns="0" bIns="0" anchor="ctr" anchorCtr="1">
            <a:spAutoFit/>
          </a:bodyPr>
          <a:lstStyle/>
          <a:p>
            <a:pPr marL="179388" indent="-179388" eaLnBrk="0" hangingPunct="0">
              <a:spcBef>
                <a:spcPts val="100"/>
              </a:spcBef>
              <a:spcAft>
                <a:spcPts val="100"/>
              </a:spcAft>
              <a:buFontTx/>
              <a:buChar char="•"/>
            </a:pPr>
            <a:r>
              <a:rPr lang="en-US" dirty="0">
                <a:solidFill>
                  <a:schemeClr val="bg1"/>
                </a:solidFill>
              </a:rPr>
              <a:t>Text</a:t>
            </a:r>
          </a:p>
          <a:p>
            <a:pPr marL="179388" indent="-179388" eaLnBrk="0" hangingPunct="0">
              <a:spcBef>
                <a:spcPts val="100"/>
              </a:spcBef>
              <a:spcAft>
                <a:spcPts val="100"/>
              </a:spcAft>
              <a:buFontTx/>
              <a:buChar char="•"/>
            </a:pPr>
            <a:r>
              <a:rPr lang="en-US" dirty="0">
                <a:solidFill>
                  <a:schemeClr val="bg1"/>
                </a:solidFill>
              </a:rPr>
              <a:t>Text</a:t>
            </a:r>
          </a:p>
          <a:p>
            <a:pPr marL="179388" indent="-179388" eaLnBrk="0" hangingPunct="0">
              <a:spcBef>
                <a:spcPts val="100"/>
              </a:spcBef>
              <a:spcAft>
                <a:spcPts val="100"/>
              </a:spcAft>
              <a:buFontTx/>
              <a:buChar char="•"/>
            </a:pPr>
            <a:r>
              <a:rPr lang="en-US" dirty="0">
                <a:solidFill>
                  <a:schemeClr val="bg1"/>
                </a:solidFill>
              </a:rPr>
              <a:t>Text</a:t>
            </a:r>
            <a:endParaRPr lang="en-US" b="1" dirty="0">
              <a:solidFill>
                <a:schemeClr val="bg1"/>
              </a:solidFill>
            </a:endParaRPr>
          </a:p>
        </p:txBody>
      </p:sp>
      <p:sp>
        <p:nvSpPr>
          <p:cNvPr id="5" name="Footer Placeholder 4">
            <a:extLst>
              <a:ext uri="{FF2B5EF4-FFF2-40B4-BE49-F238E27FC236}">
                <a16:creationId xmlns:a16="http://schemas.microsoft.com/office/drawing/2014/main" id="{081249BA-EE06-4C26-9568-21E8E601E165}"/>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FD04B080-D769-4C10-8E7F-BCFF4BC82FD0}"/>
              </a:ext>
            </a:extLst>
          </p:cNvPr>
          <p:cNvSpPr>
            <a:spLocks noGrp="1"/>
          </p:cNvSpPr>
          <p:nvPr>
            <p:ph type="sldNum" sz="quarter" idx="10"/>
          </p:nvPr>
        </p:nvSpPr>
        <p:spPr/>
        <p:txBody>
          <a:bodyPr/>
          <a:lstStyle/>
          <a:p>
            <a:fld id="{1F90F471-3972-4120-B8B3-0237DE626C35}" type="slidenum">
              <a:rPr lang="en-US" smtClean="0"/>
              <a:pPr/>
              <a:t>129</a:t>
            </a:fld>
            <a:endParaRPr lang="en-US" dirty="0"/>
          </a:p>
        </p:txBody>
      </p:sp>
    </p:spTree>
    <p:extLst>
      <p:ext uri="{BB962C8B-B14F-4D97-AF65-F5344CB8AC3E}">
        <p14:creationId xmlns:p14="http://schemas.microsoft.com/office/powerpoint/2010/main" val="39982799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0E9C4C-A9BF-440B-A91B-7B9CD5585DAE}"/>
              </a:ext>
            </a:extLst>
          </p:cNvPr>
          <p:cNvSpPr>
            <a:spLocks noGrp="1"/>
          </p:cNvSpPr>
          <p:nvPr>
            <p:ph type="title"/>
          </p:nvPr>
        </p:nvSpPr>
        <p:spPr>
          <a:xfrm>
            <a:off x="340381" y="214439"/>
            <a:ext cx="11430000" cy="800100"/>
          </a:xfrm>
        </p:spPr>
        <p:txBody>
          <a:bodyPr/>
          <a:lstStyle/>
          <a:p>
            <a:r>
              <a:rPr lang="en-US" dirty="0"/>
              <a:t>Iconography: Monoline</a:t>
            </a:r>
          </a:p>
        </p:txBody>
      </p:sp>
      <p:sp>
        <p:nvSpPr>
          <p:cNvPr id="4" name="TextBox 3">
            <a:extLst>
              <a:ext uri="{FF2B5EF4-FFF2-40B4-BE49-F238E27FC236}">
                <a16:creationId xmlns:a16="http://schemas.microsoft.com/office/drawing/2014/main" id="{398133E7-5D42-4BC5-A3A6-3C73FB7E1F07}"/>
              </a:ext>
            </a:extLst>
          </p:cNvPr>
          <p:cNvSpPr txBox="1"/>
          <p:nvPr/>
        </p:nvSpPr>
        <p:spPr>
          <a:xfrm>
            <a:off x="380999" y="761218"/>
            <a:ext cx="11429981" cy="500243"/>
          </a:xfrm>
          <a:prstGeom prst="rect">
            <a:avLst/>
          </a:prstGeom>
          <a:noFill/>
        </p:spPr>
        <p:txBody>
          <a:bodyPr wrap="square" lIns="0" tIns="0" rIns="0" bIns="0" rtlCol="0">
            <a:noAutofit/>
          </a:bodyPr>
          <a:lstStyle/>
          <a:p>
            <a:pPr defTabSz="228600">
              <a:spcAft>
                <a:spcPts val="1200"/>
              </a:spcAft>
            </a:pPr>
            <a:r>
              <a:rPr lang="en-GB" sz="1600" dirty="0"/>
              <a:t>Our expansive asset library including fonts, photography, iconography and custom slides are available </a:t>
            </a:r>
            <a:r>
              <a:rPr lang="en-GB" sz="1600" u="sng" dirty="0">
                <a:solidFill>
                  <a:srgbClr val="A100FF"/>
                </a:solidFill>
              </a:rPr>
              <a:t>on</a:t>
            </a:r>
            <a:r>
              <a:rPr lang="en-GB" sz="1600" u="sng" dirty="0">
                <a:solidFill>
                  <a:srgbClr val="A100FF"/>
                </a:solidFill>
                <a:hlinkClick r:id="rId2"/>
              </a:rPr>
              <a:t> Accenture Brand Space</a:t>
            </a:r>
            <a:r>
              <a:rPr lang="en-GB" sz="1600" dirty="0"/>
              <a:t>. Contact </a:t>
            </a:r>
            <a:r>
              <a:rPr lang="en-GB" sz="1600" u="sng" dirty="0">
                <a:solidFill>
                  <a:srgbClr val="A100FF"/>
                </a:solidFill>
                <a:hlinkClick r:id="rId3"/>
              </a:rPr>
              <a:t>brandsupport</a:t>
            </a:r>
            <a:r>
              <a:rPr lang="en-GB" sz="1600" dirty="0">
                <a:solidFill>
                  <a:srgbClr val="A100FF"/>
                </a:solidFill>
                <a:hlinkClick r:id="rId3"/>
              </a:rPr>
              <a:t>@accenture.com</a:t>
            </a:r>
            <a:r>
              <a:rPr lang="en-GB" sz="1600" dirty="0">
                <a:solidFill>
                  <a:srgbClr val="A100FF"/>
                </a:solidFill>
              </a:rPr>
              <a:t> </a:t>
            </a:r>
            <a:r>
              <a:rPr lang="en-GB" sz="1600" dirty="0"/>
              <a:t>for further information. Icon </a:t>
            </a:r>
            <a:r>
              <a:rPr lang="en-US" sz="1600" dirty="0"/>
              <a:t>color</a:t>
            </a:r>
            <a:r>
              <a:rPr lang="en-GB" sz="1600" dirty="0"/>
              <a:t> can be changed using the Shape Fill menu.</a:t>
            </a:r>
          </a:p>
        </p:txBody>
      </p:sp>
      <p:grpSp>
        <p:nvGrpSpPr>
          <p:cNvPr id="66" name="Group 65" descr="Iconography monline organized from left to right">
            <a:extLst>
              <a:ext uri="{FF2B5EF4-FFF2-40B4-BE49-F238E27FC236}">
                <a16:creationId xmlns:a16="http://schemas.microsoft.com/office/drawing/2014/main" id="{B5EFC583-252E-4A01-8254-81B9EC456722}"/>
              </a:ext>
            </a:extLst>
          </p:cNvPr>
          <p:cNvGrpSpPr/>
          <p:nvPr/>
        </p:nvGrpSpPr>
        <p:grpSpPr>
          <a:xfrm>
            <a:off x="380999" y="1577830"/>
            <a:ext cx="11429980" cy="4734070"/>
            <a:chOff x="380999" y="1577830"/>
            <a:chExt cx="11429980" cy="4734070"/>
          </a:xfrm>
        </p:grpSpPr>
        <p:sp>
          <p:nvSpPr>
            <p:cNvPr id="7" name="Rectangle 6">
              <a:extLst>
                <a:ext uri="{FF2B5EF4-FFF2-40B4-BE49-F238E27FC236}">
                  <a16:creationId xmlns:a16="http://schemas.microsoft.com/office/drawing/2014/main" id="{ED7F3FDC-082B-4703-B8DE-96170011359C}"/>
                </a:ext>
                <a:ext uri="{C183D7F6-B498-43B3-948B-1728B52AA6E4}">
                  <adec:decorative xmlns:adec="http://schemas.microsoft.com/office/drawing/2017/decorative" val="1"/>
                </a:ext>
              </a:extLst>
            </p:cNvPr>
            <p:cNvSpPr/>
            <p:nvPr userDrawn="1"/>
          </p:nvSpPr>
          <p:spPr>
            <a:xfrm>
              <a:off x="380999" y="1577830"/>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5" name="Freeform 127" descr="Handshake">
              <a:extLst>
                <a:ext uri="{FF2B5EF4-FFF2-40B4-BE49-F238E27FC236}">
                  <a16:creationId xmlns:a16="http://schemas.microsoft.com/office/drawing/2014/main" id="{B8A707F8-E1D7-41D2-A7F9-96B4DDAAA7DC}"/>
                </a:ext>
                <a:ext uri="{C183D7F6-B498-43B3-948B-1728B52AA6E4}">
                  <adec:decorative xmlns:adec="http://schemas.microsoft.com/office/drawing/2017/decorative" val="0"/>
                </a:ext>
              </a:extLst>
            </p:cNvPr>
            <p:cNvSpPr>
              <a:spLocks noEditPoints="1"/>
            </p:cNvSpPr>
            <p:nvPr/>
          </p:nvSpPr>
          <p:spPr bwMode="auto">
            <a:xfrm>
              <a:off x="767063" y="1981658"/>
              <a:ext cx="513948" cy="396598"/>
            </a:xfrm>
            <a:custGeom>
              <a:avLst/>
              <a:gdLst>
                <a:gd name="T0" fmla="*/ 199 w 309"/>
                <a:gd name="T1" fmla="*/ 232 h 244"/>
                <a:gd name="T2" fmla="*/ 222 w 309"/>
                <a:gd name="T3" fmla="*/ 225 h 244"/>
                <a:gd name="T4" fmla="*/ 248 w 309"/>
                <a:gd name="T5" fmla="*/ 202 h 244"/>
                <a:gd name="T6" fmla="*/ 273 w 309"/>
                <a:gd name="T7" fmla="*/ 177 h 244"/>
                <a:gd name="T8" fmla="*/ 308 w 309"/>
                <a:gd name="T9" fmla="*/ 128 h 244"/>
                <a:gd name="T10" fmla="*/ 216 w 309"/>
                <a:gd name="T11" fmla="*/ 12 h 244"/>
                <a:gd name="T12" fmla="*/ 115 w 309"/>
                <a:gd name="T13" fmla="*/ 19 h 244"/>
                <a:gd name="T14" fmla="*/ 3 w 309"/>
                <a:gd name="T15" fmla="*/ 136 h 244"/>
                <a:gd name="T16" fmla="*/ 44 w 309"/>
                <a:gd name="T17" fmla="*/ 199 h 244"/>
                <a:gd name="T18" fmla="*/ 60 w 309"/>
                <a:gd name="T19" fmla="*/ 217 h 244"/>
                <a:gd name="T20" fmla="*/ 82 w 309"/>
                <a:gd name="T21" fmla="*/ 228 h 244"/>
                <a:gd name="T22" fmla="*/ 128 w 309"/>
                <a:gd name="T23" fmla="*/ 244 h 244"/>
                <a:gd name="T24" fmla="*/ 147 w 309"/>
                <a:gd name="T25" fmla="*/ 233 h 244"/>
                <a:gd name="T26" fmla="*/ 122 w 309"/>
                <a:gd name="T27" fmla="*/ 30 h 244"/>
                <a:gd name="T28" fmla="*/ 194 w 309"/>
                <a:gd name="T29" fmla="*/ 20 h 244"/>
                <a:gd name="T30" fmla="*/ 263 w 309"/>
                <a:gd name="T31" fmla="*/ 31 h 244"/>
                <a:gd name="T32" fmla="*/ 278 w 309"/>
                <a:gd name="T33" fmla="*/ 143 h 244"/>
                <a:gd name="T34" fmla="*/ 136 w 309"/>
                <a:gd name="T35" fmla="*/ 85 h 244"/>
                <a:gd name="T36" fmla="*/ 122 w 309"/>
                <a:gd name="T37" fmla="*/ 30 h 244"/>
                <a:gd name="T38" fmla="*/ 45 w 309"/>
                <a:gd name="T39" fmla="*/ 186 h 244"/>
                <a:gd name="T40" fmla="*/ 32 w 309"/>
                <a:gd name="T41" fmla="*/ 155 h 244"/>
                <a:gd name="T42" fmla="*/ 73 w 309"/>
                <a:gd name="T43" fmla="*/ 206 h 244"/>
                <a:gd name="T44" fmla="*/ 57 w 309"/>
                <a:gd name="T45" fmla="*/ 195 h 244"/>
                <a:gd name="T46" fmla="*/ 67 w 309"/>
                <a:gd name="T47" fmla="*/ 172 h 244"/>
                <a:gd name="T48" fmla="*/ 85 w 309"/>
                <a:gd name="T49" fmla="*/ 171 h 244"/>
                <a:gd name="T50" fmla="*/ 73 w 309"/>
                <a:gd name="T51" fmla="*/ 206 h 244"/>
                <a:gd name="T52" fmla="*/ 102 w 309"/>
                <a:gd name="T53" fmla="*/ 221 h 244"/>
                <a:gd name="T54" fmla="*/ 97 w 309"/>
                <a:gd name="T55" fmla="*/ 181 h 244"/>
                <a:gd name="T56" fmla="*/ 110 w 309"/>
                <a:gd name="T57" fmla="*/ 197 h 244"/>
                <a:gd name="T58" fmla="*/ 137 w 309"/>
                <a:gd name="T59" fmla="*/ 219 h 244"/>
                <a:gd name="T60" fmla="*/ 132 w 309"/>
                <a:gd name="T61" fmla="*/ 230 h 244"/>
                <a:gd name="T62" fmla="*/ 115 w 309"/>
                <a:gd name="T63" fmla="*/ 225 h 244"/>
                <a:gd name="T64" fmla="*/ 138 w 309"/>
                <a:gd name="T65" fmla="*/ 205 h 244"/>
                <a:gd name="T66" fmla="*/ 123 w 309"/>
                <a:gd name="T67" fmla="*/ 187 h 244"/>
                <a:gd name="T68" fmla="*/ 98 w 309"/>
                <a:gd name="T69" fmla="*/ 168 h 244"/>
                <a:gd name="T70" fmla="*/ 68 w 309"/>
                <a:gd name="T71" fmla="*/ 152 h 244"/>
                <a:gd name="T72" fmla="*/ 15 w 309"/>
                <a:gd name="T73" fmla="*/ 128 h 244"/>
                <a:gd name="T74" fmla="*/ 107 w 309"/>
                <a:gd name="T75" fmla="*/ 32 h 244"/>
                <a:gd name="T76" fmla="*/ 113 w 309"/>
                <a:gd name="T77" fmla="*/ 116 h 244"/>
                <a:gd name="T78" fmla="*/ 231 w 309"/>
                <a:gd name="T79" fmla="*/ 115 h 244"/>
                <a:gd name="T80" fmla="*/ 264 w 309"/>
                <a:gd name="T81" fmla="*/ 167 h 244"/>
                <a:gd name="T82" fmla="*/ 220 w 309"/>
                <a:gd name="T83" fmla="*/ 145 h 244"/>
                <a:gd name="T84" fmla="*/ 199 w 309"/>
                <a:gd name="T85" fmla="*/ 133 h 244"/>
                <a:gd name="T86" fmla="*/ 246 w 309"/>
                <a:gd name="T87" fmla="*/ 183 h 244"/>
                <a:gd name="T88" fmla="*/ 228 w 309"/>
                <a:gd name="T89" fmla="*/ 197 h 244"/>
                <a:gd name="T90" fmla="*/ 188 w 309"/>
                <a:gd name="T91" fmla="*/ 167 h 244"/>
                <a:gd name="T92" fmla="*/ 219 w 309"/>
                <a:gd name="T93" fmla="*/ 206 h 244"/>
                <a:gd name="T94" fmla="*/ 204 w 309"/>
                <a:gd name="T95" fmla="*/ 219 h 244"/>
                <a:gd name="T96" fmla="*/ 162 w 309"/>
                <a:gd name="T97" fmla="*/ 196 h 244"/>
                <a:gd name="T98" fmla="*/ 188 w 309"/>
                <a:gd name="T99" fmla="*/ 224 h 244"/>
                <a:gd name="T100" fmla="*/ 151 w 309"/>
                <a:gd name="T101" fmla="*/ 22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9" h="244">
                  <a:moveTo>
                    <a:pt x="176" y="239"/>
                  </a:moveTo>
                  <a:cubicBezTo>
                    <a:pt x="181" y="239"/>
                    <a:pt x="184" y="238"/>
                    <a:pt x="188" y="238"/>
                  </a:cubicBezTo>
                  <a:cubicBezTo>
                    <a:pt x="192" y="236"/>
                    <a:pt x="196" y="235"/>
                    <a:pt x="199" y="232"/>
                  </a:cubicBezTo>
                  <a:cubicBezTo>
                    <a:pt x="199" y="232"/>
                    <a:pt x="199" y="232"/>
                    <a:pt x="199" y="232"/>
                  </a:cubicBezTo>
                  <a:cubicBezTo>
                    <a:pt x="199" y="232"/>
                    <a:pt x="199" y="232"/>
                    <a:pt x="199" y="232"/>
                  </a:cubicBezTo>
                  <a:cubicBezTo>
                    <a:pt x="200" y="232"/>
                    <a:pt x="201" y="232"/>
                    <a:pt x="201" y="232"/>
                  </a:cubicBezTo>
                  <a:cubicBezTo>
                    <a:pt x="202" y="232"/>
                    <a:pt x="203" y="233"/>
                    <a:pt x="204" y="233"/>
                  </a:cubicBezTo>
                  <a:cubicBezTo>
                    <a:pt x="210" y="233"/>
                    <a:pt x="217" y="230"/>
                    <a:pt x="222" y="225"/>
                  </a:cubicBezTo>
                  <a:cubicBezTo>
                    <a:pt x="227" y="221"/>
                    <a:pt x="230" y="216"/>
                    <a:pt x="232" y="210"/>
                  </a:cubicBezTo>
                  <a:cubicBezTo>
                    <a:pt x="232" y="210"/>
                    <a:pt x="232" y="210"/>
                    <a:pt x="232" y="210"/>
                  </a:cubicBezTo>
                  <a:cubicBezTo>
                    <a:pt x="232" y="210"/>
                    <a:pt x="232" y="210"/>
                    <a:pt x="232" y="210"/>
                  </a:cubicBezTo>
                  <a:cubicBezTo>
                    <a:pt x="238" y="209"/>
                    <a:pt x="243" y="206"/>
                    <a:pt x="248" y="202"/>
                  </a:cubicBezTo>
                  <a:cubicBezTo>
                    <a:pt x="254" y="197"/>
                    <a:pt x="257" y="191"/>
                    <a:pt x="259" y="185"/>
                  </a:cubicBezTo>
                  <a:cubicBezTo>
                    <a:pt x="259" y="185"/>
                    <a:pt x="259" y="185"/>
                    <a:pt x="259" y="185"/>
                  </a:cubicBezTo>
                  <a:cubicBezTo>
                    <a:pt x="259" y="185"/>
                    <a:pt x="259" y="185"/>
                    <a:pt x="259" y="185"/>
                  </a:cubicBezTo>
                  <a:cubicBezTo>
                    <a:pt x="264" y="184"/>
                    <a:pt x="269" y="181"/>
                    <a:pt x="273" y="177"/>
                  </a:cubicBezTo>
                  <a:cubicBezTo>
                    <a:pt x="280" y="171"/>
                    <a:pt x="284" y="164"/>
                    <a:pt x="285" y="155"/>
                  </a:cubicBezTo>
                  <a:cubicBezTo>
                    <a:pt x="285" y="155"/>
                    <a:pt x="285" y="155"/>
                    <a:pt x="285" y="155"/>
                  </a:cubicBezTo>
                  <a:cubicBezTo>
                    <a:pt x="307" y="135"/>
                    <a:pt x="307" y="135"/>
                    <a:pt x="307" y="135"/>
                  </a:cubicBezTo>
                  <a:cubicBezTo>
                    <a:pt x="308" y="134"/>
                    <a:pt x="309" y="131"/>
                    <a:pt x="308" y="128"/>
                  </a:cubicBezTo>
                  <a:cubicBezTo>
                    <a:pt x="274" y="23"/>
                    <a:pt x="274" y="23"/>
                    <a:pt x="274" y="23"/>
                  </a:cubicBezTo>
                  <a:cubicBezTo>
                    <a:pt x="273" y="21"/>
                    <a:pt x="271" y="19"/>
                    <a:pt x="269" y="19"/>
                  </a:cubicBezTo>
                  <a:cubicBezTo>
                    <a:pt x="269" y="19"/>
                    <a:pt x="269" y="19"/>
                    <a:pt x="269" y="19"/>
                  </a:cubicBezTo>
                  <a:cubicBezTo>
                    <a:pt x="264" y="18"/>
                    <a:pt x="226" y="12"/>
                    <a:pt x="216" y="12"/>
                  </a:cubicBezTo>
                  <a:cubicBezTo>
                    <a:pt x="213" y="12"/>
                    <a:pt x="205" y="10"/>
                    <a:pt x="198" y="7"/>
                  </a:cubicBezTo>
                  <a:cubicBezTo>
                    <a:pt x="185" y="4"/>
                    <a:pt x="171" y="0"/>
                    <a:pt x="162" y="1"/>
                  </a:cubicBezTo>
                  <a:cubicBezTo>
                    <a:pt x="148" y="2"/>
                    <a:pt x="123" y="15"/>
                    <a:pt x="115" y="19"/>
                  </a:cubicBezTo>
                  <a:cubicBezTo>
                    <a:pt x="115" y="19"/>
                    <a:pt x="115" y="19"/>
                    <a:pt x="115" y="19"/>
                  </a:cubicBezTo>
                  <a:cubicBezTo>
                    <a:pt x="45" y="19"/>
                    <a:pt x="45" y="19"/>
                    <a:pt x="45" y="19"/>
                  </a:cubicBezTo>
                  <a:cubicBezTo>
                    <a:pt x="42" y="19"/>
                    <a:pt x="40" y="21"/>
                    <a:pt x="39" y="23"/>
                  </a:cubicBezTo>
                  <a:cubicBezTo>
                    <a:pt x="1" y="128"/>
                    <a:pt x="1" y="128"/>
                    <a:pt x="1" y="128"/>
                  </a:cubicBezTo>
                  <a:cubicBezTo>
                    <a:pt x="0" y="131"/>
                    <a:pt x="1" y="134"/>
                    <a:pt x="3" y="136"/>
                  </a:cubicBezTo>
                  <a:cubicBezTo>
                    <a:pt x="21" y="148"/>
                    <a:pt x="21" y="148"/>
                    <a:pt x="21" y="148"/>
                  </a:cubicBezTo>
                  <a:cubicBezTo>
                    <a:pt x="21" y="148"/>
                    <a:pt x="21" y="148"/>
                    <a:pt x="21" y="148"/>
                  </a:cubicBezTo>
                  <a:cubicBezTo>
                    <a:pt x="16" y="156"/>
                    <a:pt x="11" y="168"/>
                    <a:pt x="14" y="175"/>
                  </a:cubicBezTo>
                  <a:cubicBezTo>
                    <a:pt x="17" y="184"/>
                    <a:pt x="33" y="196"/>
                    <a:pt x="44" y="199"/>
                  </a:cubicBezTo>
                  <a:cubicBezTo>
                    <a:pt x="44" y="199"/>
                    <a:pt x="44" y="199"/>
                    <a:pt x="44" y="199"/>
                  </a:cubicBezTo>
                  <a:cubicBezTo>
                    <a:pt x="44" y="199"/>
                    <a:pt x="44" y="199"/>
                    <a:pt x="44" y="199"/>
                  </a:cubicBezTo>
                  <a:cubicBezTo>
                    <a:pt x="44" y="200"/>
                    <a:pt x="44" y="201"/>
                    <a:pt x="44" y="201"/>
                  </a:cubicBezTo>
                  <a:cubicBezTo>
                    <a:pt x="46" y="208"/>
                    <a:pt x="51" y="213"/>
                    <a:pt x="60" y="217"/>
                  </a:cubicBezTo>
                  <a:cubicBezTo>
                    <a:pt x="65" y="219"/>
                    <a:pt x="70" y="220"/>
                    <a:pt x="74" y="220"/>
                  </a:cubicBezTo>
                  <a:cubicBezTo>
                    <a:pt x="74" y="220"/>
                    <a:pt x="74" y="220"/>
                    <a:pt x="74" y="220"/>
                  </a:cubicBezTo>
                  <a:cubicBezTo>
                    <a:pt x="74" y="220"/>
                    <a:pt x="74" y="220"/>
                    <a:pt x="74" y="220"/>
                  </a:cubicBezTo>
                  <a:cubicBezTo>
                    <a:pt x="76" y="223"/>
                    <a:pt x="79" y="225"/>
                    <a:pt x="82" y="228"/>
                  </a:cubicBezTo>
                  <a:cubicBezTo>
                    <a:pt x="89" y="233"/>
                    <a:pt x="99" y="235"/>
                    <a:pt x="106" y="234"/>
                  </a:cubicBezTo>
                  <a:cubicBezTo>
                    <a:pt x="106" y="234"/>
                    <a:pt x="106" y="234"/>
                    <a:pt x="106" y="234"/>
                  </a:cubicBezTo>
                  <a:cubicBezTo>
                    <a:pt x="106" y="234"/>
                    <a:pt x="106" y="234"/>
                    <a:pt x="106" y="234"/>
                  </a:cubicBezTo>
                  <a:cubicBezTo>
                    <a:pt x="111" y="239"/>
                    <a:pt x="119" y="244"/>
                    <a:pt x="128" y="244"/>
                  </a:cubicBezTo>
                  <a:cubicBezTo>
                    <a:pt x="128" y="244"/>
                    <a:pt x="128" y="244"/>
                    <a:pt x="128" y="244"/>
                  </a:cubicBezTo>
                  <a:cubicBezTo>
                    <a:pt x="132" y="244"/>
                    <a:pt x="136" y="243"/>
                    <a:pt x="139" y="241"/>
                  </a:cubicBezTo>
                  <a:cubicBezTo>
                    <a:pt x="142" y="239"/>
                    <a:pt x="145" y="237"/>
                    <a:pt x="147" y="233"/>
                  </a:cubicBezTo>
                  <a:cubicBezTo>
                    <a:pt x="147" y="233"/>
                    <a:pt x="147" y="233"/>
                    <a:pt x="147" y="233"/>
                  </a:cubicBezTo>
                  <a:cubicBezTo>
                    <a:pt x="147" y="233"/>
                    <a:pt x="147" y="233"/>
                    <a:pt x="147" y="233"/>
                  </a:cubicBezTo>
                  <a:cubicBezTo>
                    <a:pt x="156" y="237"/>
                    <a:pt x="167" y="239"/>
                    <a:pt x="176" y="239"/>
                  </a:cubicBezTo>
                  <a:close/>
                  <a:moveTo>
                    <a:pt x="122" y="30"/>
                  </a:moveTo>
                  <a:cubicBezTo>
                    <a:pt x="122" y="30"/>
                    <a:pt x="122" y="30"/>
                    <a:pt x="122" y="30"/>
                  </a:cubicBezTo>
                  <a:cubicBezTo>
                    <a:pt x="132" y="25"/>
                    <a:pt x="153" y="14"/>
                    <a:pt x="163" y="14"/>
                  </a:cubicBezTo>
                  <a:cubicBezTo>
                    <a:pt x="163" y="14"/>
                    <a:pt x="164" y="14"/>
                    <a:pt x="164" y="14"/>
                  </a:cubicBezTo>
                  <a:cubicBezTo>
                    <a:pt x="171" y="14"/>
                    <a:pt x="184" y="17"/>
                    <a:pt x="194" y="20"/>
                  </a:cubicBezTo>
                  <a:cubicBezTo>
                    <a:pt x="194" y="20"/>
                    <a:pt x="194" y="20"/>
                    <a:pt x="194" y="20"/>
                  </a:cubicBezTo>
                  <a:cubicBezTo>
                    <a:pt x="203" y="23"/>
                    <a:pt x="211" y="25"/>
                    <a:pt x="216" y="25"/>
                  </a:cubicBezTo>
                  <a:cubicBezTo>
                    <a:pt x="222" y="25"/>
                    <a:pt x="245" y="29"/>
                    <a:pt x="262" y="31"/>
                  </a:cubicBezTo>
                  <a:cubicBezTo>
                    <a:pt x="263" y="31"/>
                    <a:pt x="263" y="31"/>
                    <a:pt x="263" y="31"/>
                  </a:cubicBezTo>
                  <a:cubicBezTo>
                    <a:pt x="263" y="31"/>
                    <a:pt x="263" y="31"/>
                    <a:pt x="263" y="31"/>
                  </a:cubicBezTo>
                  <a:cubicBezTo>
                    <a:pt x="295" y="129"/>
                    <a:pt x="295" y="129"/>
                    <a:pt x="295" y="129"/>
                  </a:cubicBezTo>
                  <a:cubicBezTo>
                    <a:pt x="294" y="129"/>
                    <a:pt x="294" y="129"/>
                    <a:pt x="294" y="129"/>
                  </a:cubicBezTo>
                  <a:cubicBezTo>
                    <a:pt x="279" y="143"/>
                    <a:pt x="279" y="143"/>
                    <a:pt x="279" y="143"/>
                  </a:cubicBezTo>
                  <a:cubicBezTo>
                    <a:pt x="278" y="143"/>
                    <a:pt x="278" y="143"/>
                    <a:pt x="278" y="143"/>
                  </a:cubicBezTo>
                  <a:cubicBezTo>
                    <a:pt x="241" y="106"/>
                    <a:pt x="241" y="106"/>
                    <a:pt x="241" y="106"/>
                  </a:cubicBezTo>
                  <a:cubicBezTo>
                    <a:pt x="232" y="96"/>
                    <a:pt x="202" y="64"/>
                    <a:pt x="191" y="61"/>
                  </a:cubicBezTo>
                  <a:cubicBezTo>
                    <a:pt x="174" y="56"/>
                    <a:pt x="159" y="59"/>
                    <a:pt x="147" y="69"/>
                  </a:cubicBezTo>
                  <a:cubicBezTo>
                    <a:pt x="142" y="74"/>
                    <a:pt x="139" y="79"/>
                    <a:pt x="136" y="85"/>
                  </a:cubicBezTo>
                  <a:cubicBezTo>
                    <a:pt x="131" y="94"/>
                    <a:pt x="127" y="102"/>
                    <a:pt x="111" y="103"/>
                  </a:cubicBezTo>
                  <a:cubicBezTo>
                    <a:pt x="104" y="104"/>
                    <a:pt x="98" y="103"/>
                    <a:pt x="96" y="100"/>
                  </a:cubicBezTo>
                  <a:cubicBezTo>
                    <a:pt x="94" y="98"/>
                    <a:pt x="94" y="96"/>
                    <a:pt x="95" y="95"/>
                  </a:cubicBezTo>
                  <a:lnTo>
                    <a:pt x="122" y="30"/>
                  </a:lnTo>
                  <a:close/>
                  <a:moveTo>
                    <a:pt x="52" y="170"/>
                  </a:moveTo>
                  <a:cubicBezTo>
                    <a:pt x="50" y="175"/>
                    <a:pt x="47" y="180"/>
                    <a:pt x="46" y="186"/>
                  </a:cubicBezTo>
                  <a:cubicBezTo>
                    <a:pt x="46" y="186"/>
                    <a:pt x="46" y="186"/>
                    <a:pt x="46" y="186"/>
                  </a:cubicBezTo>
                  <a:cubicBezTo>
                    <a:pt x="45" y="186"/>
                    <a:pt x="45" y="186"/>
                    <a:pt x="45" y="186"/>
                  </a:cubicBezTo>
                  <a:cubicBezTo>
                    <a:pt x="39" y="183"/>
                    <a:pt x="28" y="176"/>
                    <a:pt x="26" y="171"/>
                  </a:cubicBezTo>
                  <a:cubicBezTo>
                    <a:pt x="26" y="171"/>
                    <a:pt x="26" y="171"/>
                    <a:pt x="26" y="171"/>
                  </a:cubicBezTo>
                  <a:cubicBezTo>
                    <a:pt x="25" y="169"/>
                    <a:pt x="28" y="161"/>
                    <a:pt x="31" y="156"/>
                  </a:cubicBezTo>
                  <a:cubicBezTo>
                    <a:pt x="32" y="155"/>
                    <a:pt x="32" y="155"/>
                    <a:pt x="32" y="155"/>
                  </a:cubicBezTo>
                  <a:cubicBezTo>
                    <a:pt x="32" y="155"/>
                    <a:pt x="32" y="155"/>
                    <a:pt x="32" y="155"/>
                  </a:cubicBezTo>
                  <a:cubicBezTo>
                    <a:pt x="52" y="170"/>
                    <a:pt x="52" y="170"/>
                    <a:pt x="52" y="170"/>
                  </a:cubicBezTo>
                  <a:close/>
                  <a:moveTo>
                    <a:pt x="73" y="206"/>
                  </a:moveTo>
                  <a:cubicBezTo>
                    <a:pt x="73" y="206"/>
                    <a:pt x="73" y="206"/>
                    <a:pt x="73" y="206"/>
                  </a:cubicBezTo>
                  <a:cubicBezTo>
                    <a:pt x="73" y="206"/>
                    <a:pt x="72" y="206"/>
                    <a:pt x="72" y="206"/>
                  </a:cubicBezTo>
                  <a:cubicBezTo>
                    <a:pt x="71" y="206"/>
                    <a:pt x="68" y="206"/>
                    <a:pt x="65" y="205"/>
                  </a:cubicBezTo>
                  <a:cubicBezTo>
                    <a:pt x="60" y="203"/>
                    <a:pt x="57" y="200"/>
                    <a:pt x="57" y="198"/>
                  </a:cubicBezTo>
                  <a:cubicBezTo>
                    <a:pt x="57" y="197"/>
                    <a:pt x="57" y="196"/>
                    <a:pt x="57" y="195"/>
                  </a:cubicBezTo>
                  <a:cubicBezTo>
                    <a:pt x="57" y="195"/>
                    <a:pt x="57" y="194"/>
                    <a:pt x="57" y="194"/>
                  </a:cubicBezTo>
                  <a:cubicBezTo>
                    <a:pt x="58" y="188"/>
                    <a:pt x="62" y="179"/>
                    <a:pt x="65" y="173"/>
                  </a:cubicBezTo>
                  <a:cubicBezTo>
                    <a:pt x="65" y="173"/>
                    <a:pt x="65" y="173"/>
                    <a:pt x="65" y="173"/>
                  </a:cubicBezTo>
                  <a:cubicBezTo>
                    <a:pt x="66" y="173"/>
                    <a:pt x="67" y="172"/>
                    <a:pt x="67" y="172"/>
                  </a:cubicBezTo>
                  <a:cubicBezTo>
                    <a:pt x="67" y="171"/>
                    <a:pt x="68" y="170"/>
                    <a:pt x="68" y="169"/>
                  </a:cubicBezTo>
                  <a:cubicBezTo>
                    <a:pt x="68" y="169"/>
                    <a:pt x="68" y="169"/>
                    <a:pt x="68" y="169"/>
                  </a:cubicBezTo>
                  <a:cubicBezTo>
                    <a:pt x="70" y="166"/>
                    <a:pt x="71" y="165"/>
                    <a:pt x="72" y="164"/>
                  </a:cubicBezTo>
                  <a:cubicBezTo>
                    <a:pt x="76" y="163"/>
                    <a:pt x="84" y="169"/>
                    <a:pt x="85" y="171"/>
                  </a:cubicBezTo>
                  <a:cubicBezTo>
                    <a:pt x="85" y="172"/>
                    <a:pt x="85" y="172"/>
                    <a:pt x="85" y="172"/>
                  </a:cubicBezTo>
                  <a:cubicBezTo>
                    <a:pt x="86" y="172"/>
                    <a:pt x="86" y="173"/>
                    <a:pt x="85" y="175"/>
                  </a:cubicBezTo>
                  <a:cubicBezTo>
                    <a:pt x="85" y="175"/>
                    <a:pt x="85" y="175"/>
                    <a:pt x="85" y="175"/>
                  </a:cubicBezTo>
                  <a:lnTo>
                    <a:pt x="73" y="206"/>
                  </a:lnTo>
                  <a:close/>
                  <a:moveTo>
                    <a:pt x="110" y="197"/>
                  </a:moveTo>
                  <a:cubicBezTo>
                    <a:pt x="110" y="197"/>
                    <a:pt x="110" y="197"/>
                    <a:pt x="110" y="197"/>
                  </a:cubicBezTo>
                  <a:cubicBezTo>
                    <a:pt x="102" y="221"/>
                    <a:pt x="102" y="221"/>
                    <a:pt x="102" y="221"/>
                  </a:cubicBezTo>
                  <a:cubicBezTo>
                    <a:pt x="102" y="221"/>
                    <a:pt x="102" y="221"/>
                    <a:pt x="102" y="221"/>
                  </a:cubicBezTo>
                  <a:cubicBezTo>
                    <a:pt x="99" y="221"/>
                    <a:pt x="94" y="220"/>
                    <a:pt x="90" y="217"/>
                  </a:cubicBezTo>
                  <a:cubicBezTo>
                    <a:pt x="87" y="215"/>
                    <a:pt x="86" y="214"/>
                    <a:pt x="85" y="212"/>
                  </a:cubicBezTo>
                  <a:cubicBezTo>
                    <a:pt x="85" y="212"/>
                    <a:pt x="85" y="212"/>
                    <a:pt x="85" y="212"/>
                  </a:cubicBezTo>
                  <a:cubicBezTo>
                    <a:pt x="97" y="181"/>
                    <a:pt x="97" y="181"/>
                    <a:pt x="97" y="181"/>
                  </a:cubicBezTo>
                  <a:cubicBezTo>
                    <a:pt x="97" y="181"/>
                    <a:pt x="97" y="181"/>
                    <a:pt x="97" y="181"/>
                  </a:cubicBezTo>
                  <a:cubicBezTo>
                    <a:pt x="103" y="182"/>
                    <a:pt x="109" y="185"/>
                    <a:pt x="110" y="187"/>
                  </a:cubicBezTo>
                  <a:cubicBezTo>
                    <a:pt x="110" y="187"/>
                    <a:pt x="110" y="187"/>
                    <a:pt x="110" y="187"/>
                  </a:cubicBezTo>
                  <a:cubicBezTo>
                    <a:pt x="110" y="188"/>
                    <a:pt x="111" y="191"/>
                    <a:pt x="110" y="197"/>
                  </a:cubicBezTo>
                  <a:close/>
                  <a:moveTo>
                    <a:pt x="138" y="218"/>
                  </a:moveTo>
                  <a:cubicBezTo>
                    <a:pt x="138" y="218"/>
                    <a:pt x="138" y="218"/>
                    <a:pt x="138" y="218"/>
                  </a:cubicBezTo>
                  <a:cubicBezTo>
                    <a:pt x="138" y="218"/>
                    <a:pt x="138" y="218"/>
                    <a:pt x="138" y="218"/>
                  </a:cubicBezTo>
                  <a:cubicBezTo>
                    <a:pt x="138" y="219"/>
                    <a:pt x="137" y="219"/>
                    <a:pt x="137" y="219"/>
                  </a:cubicBezTo>
                  <a:cubicBezTo>
                    <a:pt x="136" y="221"/>
                    <a:pt x="136" y="223"/>
                    <a:pt x="136" y="225"/>
                  </a:cubicBezTo>
                  <a:cubicBezTo>
                    <a:pt x="136" y="225"/>
                    <a:pt x="136" y="225"/>
                    <a:pt x="136" y="225"/>
                  </a:cubicBezTo>
                  <a:cubicBezTo>
                    <a:pt x="136" y="225"/>
                    <a:pt x="136" y="225"/>
                    <a:pt x="136" y="225"/>
                  </a:cubicBezTo>
                  <a:cubicBezTo>
                    <a:pt x="135" y="227"/>
                    <a:pt x="134" y="229"/>
                    <a:pt x="132" y="230"/>
                  </a:cubicBezTo>
                  <a:cubicBezTo>
                    <a:pt x="131" y="231"/>
                    <a:pt x="130" y="231"/>
                    <a:pt x="128" y="231"/>
                  </a:cubicBezTo>
                  <a:cubicBezTo>
                    <a:pt x="124" y="231"/>
                    <a:pt x="118" y="228"/>
                    <a:pt x="115" y="225"/>
                  </a:cubicBezTo>
                  <a:cubicBezTo>
                    <a:pt x="115" y="225"/>
                    <a:pt x="115" y="225"/>
                    <a:pt x="115" y="225"/>
                  </a:cubicBezTo>
                  <a:cubicBezTo>
                    <a:pt x="115" y="225"/>
                    <a:pt x="115" y="225"/>
                    <a:pt x="115" y="225"/>
                  </a:cubicBezTo>
                  <a:cubicBezTo>
                    <a:pt x="122" y="201"/>
                    <a:pt x="122" y="201"/>
                    <a:pt x="122" y="201"/>
                  </a:cubicBezTo>
                  <a:cubicBezTo>
                    <a:pt x="122" y="201"/>
                    <a:pt x="122" y="201"/>
                    <a:pt x="122" y="201"/>
                  </a:cubicBezTo>
                  <a:cubicBezTo>
                    <a:pt x="124" y="200"/>
                    <a:pt x="127" y="199"/>
                    <a:pt x="129" y="200"/>
                  </a:cubicBezTo>
                  <a:cubicBezTo>
                    <a:pt x="132" y="200"/>
                    <a:pt x="137" y="201"/>
                    <a:pt x="138" y="205"/>
                  </a:cubicBezTo>
                  <a:cubicBezTo>
                    <a:pt x="139" y="208"/>
                    <a:pt x="139" y="213"/>
                    <a:pt x="138" y="218"/>
                  </a:cubicBezTo>
                  <a:close/>
                  <a:moveTo>
                    <a:pt x="131" y="187"/>
                  </a:moveTo>
                  <a:cubicBezTo>
                    <a:pt x="129" y="187"/>
                    <a:pt x="126" y="187"/>
                    <a:pt x="124" y="187"/>
                  </a:cubicBezTo>
                  <a:cubicBezTo>
                    <a:pt x="123" y="187"/>
                    <a:pt x="123" y="187"/>
                    <a:pt x="123" y="187"/>
                  </a:cubicBezTo>
                  <a:cubicBezTo>
                    <a:pt x="123" y="187"/>
                    <a:pt x="123" y="187"/>
                    <a:pt x="123" y="187"/>
                  </a:cubicBezTo>
                  <a:cubicBezTo>
                    <a:pt x="123" y="185"/>
                    <a:pt x="123" y="184"/>
                    <a:pt x="123" y="184"/>
                  </a:cubicBezTo>
                  <a:cubicBezTo>
                    <a:pt x="121" y="175"/>
                    <a:pt x="109" y="169"/>
                    <a:pt x="98" y="168"/>
                  </a:cubicBezTo>
                  <a:cubicBezTo>
                    <a:pt x="98" y="168"/>
                    <a:pt x="98" y="168"/>
                    <a:pt x="98" y="168"/>
                  </a:cubicBezTo>
                  <a:cubicBezTo>
                    <a:pt x="98" y="168"/>
                    <a:pt x="98" y="168"/>
                    <a:pt x="98" y="168"/>
                  </a:cubicBezTo>
                  <a:cubicBezTo>
                    <a:pt x="98" y="168"/>
                    <a:pt x="98" y="168"/>
                    <a:pt x="98" y="167"/>
                  </a:cubicBezTo>
                  <a:cubicBezTo>
                    <a:pt x="96" y="162"/>
                    <a:pt x="90" y="156"/>
                    <a:pt x="84" y="154"/>
                  </a:cubicBezTo>
                  <a:cubicBezTo>
                    <a:pt x="78" y="151"/>
                    <a:pt x="73" y="150"/>
                    <a:pt x="68" y="152"/>
                  </a:cubicBezTo>
                  <a:cubicBezTo>
                    <a:pt x="65" y="153"/>
                    <a:pt x="63" y="155"/>
                    <a:pt x="60" y="158"/>
                  </a:cubicBezTo>
                  <a:cubicBezTo>
                    <a:pt x="60" y="159"/>
                    <a:pt x="60" y="159"/>
                    <a:pt x="60" y="159"/>
                  </a:cubicBezTo>
                  <a:cubicBezTo>
                    <a:pt x="59" y="158"/>
                    <a:pt x="59" y="158"/>
                    <a:pt x="59" y="158"/>
                  </a:cubicBezTo>
                  <a:cubicBezTo>
                    <a:pt x="15" y="128"/>
                    <a:pt x="15" y="128"/>
                    <a:pt x="15" y="128"/>
                  </a:cubicBezTo>
                  <a:cubicBezTo>
                    <a:pt x="15" y="128"/>
                    <a:pt x="15" y="128"/>
                    <a:pt x="15" y="128"/>
                  </a:cubicBezTo>
                  <a:cubicBezTo>
                    <a:pt x="50" y="32"/>
                    <a:pt x="50" y="32"/>
                    <a:pt x="50" y="32"/>
                  </a:cubicBezTo>
                  <a:cubicBezTo>
                    <a:pt x="107" y="32"/>
                    <a:pt x="107" y="32"/>
                    <a:pt x="107" y="32"/>
                  </a:cubicBezTo>
                  <a:cubicBezTo>
                    <a:pt x="107" y="32"/>
                    <a:pt x="107" y="32"/>
                    <a:pt x="107" y="32"/>
                  </a:cubicBezTo>
                  <a:cubicBezTo>
                    <a:pt x="82" y="90"/>
                    <a:pt x="82" y="90"/>
                    <a:pt x="82" y="90"/>
                  </a:cubicBezTo>
                  <a:cubicBezTo>
                    <a:pt x="82" y="90"/>
                    <a:pt x="82" y="91"/>
                    <a:pt x="82" y="91"/>
                  </a:cubicBezTo>
                  <a:cubicBezTo>
                    <a:pt x="82" y="92"/>
                    <a:pt x="79" y="101"/>
                    <a:pt x="86" y="108"/>
                  </a:cubicBezTo>
                  <a:cubicBezTo>
                    <a:pt x="91" y="115"/>
                    <a:pt x="100" y="117"/>
                    <a:pt x="113" y="116"/>
                  </a:cubicBezTo>
                  <a:cubicBezTo>
                    <a:pt x="135" y="114"/>
                    <a:pt x="142" y="101"/>
                    <a:pt x="148" y="91"/>
                  </a:cubicBezTo>
                  <a:cubicBezTo>
                    <a:pt x="150" y="86"/>
                    <a:pt x="152" y="82"/>
                    <a:pt x="155" y="79"/>
                  </a:cubicBezTo>
                  <a:cubicBezTo>
                    <a:pt x="164" y="72"/>
                    <a:pt x="174" y="70"/>
                    <a:pt x="187" y="74"/>
                  </a:cubicBezTo>
                  <a:cubicBezTo>
                    <a:pt x="193" y="75"/>
                    <a:pt x="214" y="96"/>
                    <a:pt x="231" y="115"/>
                  </a:cubicBezTo>
                  <a:cubicBezTo>
                    <a:pt x="231" y="115"/>
                    <a:pt x="231" y="115"/>
                    <a:pt x="231" y="115"/>
                  </a:cubicBezTo>
                  <a:cubicBezTo>
                    <a:pt x="272" y="155"/>
                    <a:pt x="272" y="155"/>
                    <a:pt x="272" y="155"/>
                  </a:cubicBezTo>
                  <a:cubicBezTo>
                    <a:pt x="272" y="155"/>
                    <a:pt x="272" y="155"/>
                    <a:pt x="272" y="155"/>
                  </a:cubicBezTo>
                  <a:cubicBezTo>
                    <a:pt x="271" y="159"/>
                    <a:pt x="268" y="164"/>
                    <a:pt x="264" y="167"/>
                  </a:cubicBezTo>
                  <a:cubicBezTo>
                    <a:pt x="261" y="170"/>
                    <a:pt x="257" y="172"/>
                    <a:pt x="254" y="172"/>
                  </a:cubicBezTo>
                  <a:cubicBezTo>
                    <a:pt x="254" y="172"/>
                    <a:pt x="254" y="172"/>
                    <a:pt x="254" y="172"/>
                  </a:cubicBezTo>
                  <a:cubicBezTo>
                    <a:pt x="253" y="172"/>
                    <a:pt x="253" y="172"/>
                    <a:pt x="253" y="172"/>
                  </a:cubicBezTo>
                  <a:cubicBezTo>
                    <a:pt x="220" y="145"/>
                    <a:pt x="220" y="145"/>
                    <a:pt x="220" y="145"/>
                  </a:cubicBezTo>
                  <a:cubicBezTo>
                    <a:pt x="217" y="142"/>
                    <a:pt x="212" y="135"/>
                    <a:pt x="212" y="132"/>
                  </a:cubicBezTo>
                  <a:cubicBezTo>
                    <a:pt x="212" y="128"/>
                    <a:pt x="209" y="126"/>
                    <a:pt x="205" y="126"/>
                  </a:cubicBezTo>
                  <a:cubicBezTo>
                    <a:pt x="205" y="126"/>
                    <a:pt x="205" y="126"/>
                    <a:pt x="205" y="126"/>
                  </a:cubicBezTo>
                  <a:cubicBezTo>
                    <a:pt x="201" y="126"/>
                    <a:pt x="199" y="129"/>
                    <a:pt x="199" y="133"/>
                  </a:cubicBezTo>
                  <a:cubicBezTo>
                    <a:pt x="200" y="142"/>
                    <a:pt x="209" y="152"/>
                    <a:pt x="211" y="154"/>
                  </a:cubicBezTo>
                  <a:cubicBezTo>
                    <a:pt x="211" y="155"/>
                    <a:pt x="211" y="155"/>
                    <a:pt x="212" y="155"/>
                  </a:cubicBezTo>
                  <a:cubicBezTo>
                    <a:pt x="245" y="182"/>
                    <a:pt x="245" y="182"/>
                    <a:pt x="245" y="182"/>
                  </a:cubicBezTo>
                  <a:cubicBezTo>
                    <a:pt x="245" y="182"/>
                    <a:pt x="245" y="183"/>
                    <a:pt x="246" y="183"/>
                  </a:cubicBezTo>
                  <a:cubicBezTo>
                    <a:pt x="246" y="183"/>
                    <a:pt x="246" y="183"/>
                    <a:pt x="246" y="183"/>
                  </a:cubicBezTo>
                  <a:cubicBezTo>
                    <a:pt x="246" y="183"/>
                    <a:pt x="246" y="183"/>
                    <a:pt x="246" y="183"/>
                  </a:cubicBezTo>
                  <a:cubicBezTo>
                    <a:pt x="245" y="186"/>
                    <a:pt x="243" y="189"/>
                    <a:pt x="240" y="192"/>
                  </a:cubicBezTo>
                  <a:cubicBezTo>
                    <a:pt x="236" y="195"/>
                    <a:pt x="232" y="197"/>
                    <a:pt x="228" y="197"/>
                  </a:cubicBezTo>
                  <a:cubicBezTo>
                    <a:pt x="228" y="197"/>
                    <a:pt x="228" y="197"/>
                    <a:pt x="228" y="197"/>
                  </a:cubicBezTo>
                  <a:cubicBezTo>
                    <a:pt x="228" y="197"/>
                    <a:pt x="228" y="197"/>
                    <a:pt x="228" y="197"/>
                  </a:cubicBezTo>
                  <a:cubicBezTo>
                    <a:pt x="193" y="168"/>
                    <a:pt x="193" y="168"/>
                    <a:pt x="193" y="168"/>
                  </a:cubicBezTo>
                  <a:cubicBezTo>
                    <a:pt x="192" y="167"/>
                    <a:pt x="190" y="167"/>
                    <a:pt x="188" y="167"/>
                  </a:cubicBezTo>
                  <a:cubicBezTo>
                    <a:pt x="186" y="167"/>
                    <a:pt x="185" y="168"/>
                    <a:pt x="184" y="169"/>
                  </a:cubicBezTo>
                  <a:cubicBezTo>
                    <a:pt x="183" y="171"/>
                    <a:pt x="182" y="172"/>
                    <a:pt x="182" y="174"/>
                  </a:cubicBezTo>
                  <a:cubicBezTo>
                    <a:pt x="182" y="176"/>
                    <a:pt x="183" y="177"/>
                    <a:pt x="185" y="178"/>
                  </a:cubicBezTo>
                  <a:cubicBezTo>
                    <a:pt x="219" y="206"/>
                    <a:pt x="219" y="206"/>
                    <a:pt x="219" y="206"/>
                  </a:cubicBezTo>
                  <a:cubicBezTo>
                    <a:pt x="219" y="206"/>
                    <a:pt x="219" y="206"/>
                    <a:pt x="219" y="206"/>
                  </a:cubicBezTo>
                  <a:cubicBezTo>
                    <a:pt x="218" y="210"/>
                    <a:pt x="216" y="213"/>
                    <a:pt x="213" y="215"/>
                  </a:cubicBezTo>
                  <a:cubicBezTo>
                    <a:pt x="211" y="218"/>
                    <a:pt x="207" y="219"/>
                    <a:pt x="204" y="219"/>
                  </a:cubicBezTo>
                  <a:cubicBezTo>
                    <a:pt x="204" y="219"/>
                    <a:pt x="204" y="219"/>
                    <a:pt x="204" y="219"/>
                  </a:cubicBezTo>
                  <a:cubicBezTo>
                    <a:pt x="204" y="219"/>
                    <a:pt x="204" y="219"/>
                    <a:pt x="204" y="219"/>
                  </a:cubicBezTo>
                  <a:cubicBezTo>
                    <a:pt x="171" y="194"/>
                    <a:pt x="171" y="194"/>
                    <a:pt x="171" y="194"/>
                  </a:cubicBezTo>
                  <a:cubicBezTo>
                    <a:pt x="170" y="193"/>
                    <a:pt x="168" y="193"/>
                    <a:pt x="166" y="193"/>
                  </a:cubicBezTo>
                  <a:cubicBezTo>
                    <a:pt x="165" y="193"/>
                    <a:pt x="163" y="194"/>
                    <a:pt x="162" y="196"/>
                  </a:cubicBezTo>
                  <a:cubicBezTo>
                    <a:pt x="161" y="197"/>
                    <a:pt x="161" y="199"/>
                    <a:pt x="161" y="201"/>
                  </a:cubicBezTo>
                  <a:cubicBezTo>
                    <a:pt x="161" y="202"/>
                    <a:pt x="162" y="204"/>
                    <a:pt x="163" y="205"/>
                  </a:cubicBezTo>
                  <a:cubicBezTo>
                    <a:pt x="188" y="224"/>
                    <a:pt x="188" y="224"/>
                    <a:pt x="188" y="224"/>
                  </a:cubicBezTo>
                  <a:cubicBezTo>
                    <a:pt x="188" y="224"/>
                    <a:pt x="188" y="224"/>
                    <a:pt x="188" y="224"/>
                  </a:cubicBezTo>
                  <a:cubicBezTo>
                    <a:pt x="187" y="224"/>
                    <a:pt x="186" y="225"/>
                    <a:pt x="185" y="225"/>
                  </a:cubicBezTo>
                  <a:cubicBezTo>
                    <a:pt x="182" y="225"/>
                    <a:pt x="179" y="226"/>
                    <a:pt x="176" y="226"/>
                  </a:cubicBezTo>
                  <a:cubicBezTo>
                    <a:pt x="168" y="226"/>
                    <a:pt x="158" y="223"/>
                    <a:pt x="151" y="220"/>
                  </a:cubicBezTo>
                  <a:cubicBezTo>
                    <a:pt x="151" y="220"/>
                    <a:pt x="151" y="220"/>
                    <a:pt x="151" y="220"/>
                  </a:cubicBezTo>
                  <a:cubicBezTo>
                    <a:pt x="151" y="220"/>
                    <a:pt x="151" y="220"/>
                    <a:pt x="151" y="220"/>
                  </a:cubicBezTo>
                  <a:cubicBezTo>
                    <a:pt x="153" y="212"/>
                    <a:pt x="152" y="205"/>
                    <a:pt x="151" y="201"/>
                  </a:cubicBezTo>
                  <a:cubicBezTo>
                    <a:pt x="149" y="193"/>
                    <a:pt x="141" y="188"/>
                    <a:pt x="131" y="18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8" name="Rectangle 7">
              <a:extLst>
                <a:ext uri="{FF2B5EF4-FFF2-40B4-BE49-F238E27FC236}">
                  <a16:creationId xmlns:a16="http://schemas.microsoft.com/office/drawing/2014/main" id="{F0A4BF9D-17F2-4E57-8DC1-CD210C06D5EF}"/>
                </a:ext>
                <a:ext uri="{C183D7F6-B498-43B3-948B-1728B52AA6E4}">
                  <adec:decorative xmlns:adec="http://schemas.microsoft.com/office/drawing/2017/decorative" val="1"/>
                </a:ext>
              </a:extLst>
            </p:cNvPr>
            <p:cNvSpPr/>
            <p:nvPr userDrawn="1"/>
          </p:nvSpPr>
          <p:spPr>
            <a:xfrm>
              <a:off x="1651616" y="1577830"/>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262" name="Freeform 144" descr="Merge Line">
              <a:extLst>
                <a:ext uri="{FF2B5EF4-FFF2-40B4-BE49-F238E27FC236}">
                  <a16:creationId xmlns:a16="http://schemas.microsoft.com/office/drawing/2014/main" id="{CD230F64-7DB1-4B7E-9E24-E1E573B6960C}"/>
                </a:ext>
                <a:ext uri="{C183D7F6-B498-43B3-948B-1728B52AA6E4}">
                  <adec:decorative xmlns:adec="http://schemas.microsoft.com/office/drawing/2017/decorative" val="0"/>
                </a:ext>
              </a:extLst>
            </p:cNvPr>
            <p:cNvSpPr>
              <a:spLocks/>
            </p:cNvSpPr>
            <p:nvPr/>
          </p:nvSpPr>
          <p:spPr bwMode="auto">
            <a:xfrm rot="10800000">
              <a:off x="2171887" y="1915146"/>
              <a:ext cx="274440" cy="529622"/>
            </a:xfrm>
            <a:custGeom>
              <a:avLst/>
              <a:gdLst>
                <a:gd name="T0" fmla="*/ 116 w 154"/>
                <a:gd name="T1" fmla="*/ 167 h 297"/>
                <a:gd name="T2" fmla="*/ 83 w 154"/>
                <a:gd name="T3" fmla="*/ 119 h 297"/>
                <a:gd name="T4" fmla="*/ 83 w 154"/>
                <a:gd name="T5" fmla="*/ 18 h 297"/>
                <a:gd name="T6" fmla="*/ 83 w 154"/>
                <a:gd name="T7" fmla="*/ 17 h 297"/>
                <a:gd name="T8" fmla="*/ 83 w 154"/>
                <a:gd name="T9" fmla="*/ 17 h 297"/>
                <a:gd name="T10" fmla="*/ 109 w 154"/>
                <a:gd name="T11" fmla="*/ 34 h 297"/>
                <a:gd name="T12" fmla="*/ 118 w 154"/>
                <a:gd name="T13" fmla="*/ 33 h 297"/>
                <a:gd name="T14" fmla="*/ 119 w 154"/>
                <a:gd name="T15" fmla="*/ 30 h 297"/>
                <a:gd name="T16" fmla="*/ 116 w 154"/>
                <a:gd name="T17" fmla="*/ 25 h 297"/>
                <a:gd name="T18" fmla="*/ 80 w 154"/>
                <a:gd name="T19" fmla="*/ 1 h 297"/>
                <a:gd name="T20" fmla="*/ 80 w 154"/>
                <a:gd name="T21" fmla="*/ 1 h 297"/>
                <a:gd name="T22" fmla="*/ 80 w 154"/>
                <a:gd name="T23" fmla="*/ 1 h 297"/>
                <a:gd name="T24" fmla="*/ 80 w 154"/>
                <a:gd name="T25" fmla="*/ 1 h 297"/>
                <a:gd name="T26" fmla="*/ 79 w 154"/>
                <a:gd name="T27" fmla="*/ 0 h 297"/>
                <a:gd name="T28" fmla="*/ 79 w 154"/>
                <a:gd name="T29" fmla="*/ 0 h 297"/>
                <a:gd name="T30" fmla="*/ 77 w 154"/>
                <a:gd name="T31" fmla="*/ 0 h 297"/>
                <a:gd name="T32" fmla="*/ 77 w 154"/>
                <a:gd name="T33" fmla="*/ 0 h 297"/>
                <a:gd name="T34" fmla="*/ 76 w 154"/>
                <a:gd name="T35" fmla="*/ 0 h 297"/>
                <a:gd name="T36" fmla="*/ 75 w 154"/>
                <a:gd name="T37" fmla="*/ 0 h 297"/>
                <a:gd name="T38" fmla="*/ 74 w 154"/>
                <a:gd name="T39" fmla="*/ 1 h 297"/>
                <a:gd name="T40" fmla="*/ 74 w 154"/>
                <a:gd name="T41" fmla="*/ 1 h 297"/>
                <a:gd name="T42" fmla="*/ 74 w 154"/>
                <a:gd name="T43" fmla="*/ 1 h 297"/>
                <a:gd name="T44" fmla="*/ 74 w 154"/>
                <a:gd name="T45" fmla="*/ 1 h 297"/>
                <a:gd name="T46" fmla="*/ 38 w 154"/>
                <a:gd name="T47" fmla="*/ 25 h 297"/>
                <a:gd name="T48" fmla="*/ 37 w 154"/>
                <a:gd name="T49" fmla="*/ 33 h 297"/>
                <a:gd name="T50" fmla="*/ 45 w 154"/>
                <a:gd name="T51" fmla="*/ 34 h 297"/>
                <a:gd name="T52" fmla="*/ 71 w 154"/>
                <a:gd name="T53" fmla="*/ 17 h 297"/>
                <a:gd name="T54" fmla="*/ 71 w 154"/>
                <a:gd name="T55" fmla="*/ 17 h 297"/>
                <a:gd name="T56" fmla="*/ 71 w 154"/>
                <a:gd name="T57" fmla="*/ 18 h 297"/>
                <a:gd name="T58" fmla="*/ 71 w 154"/>
                <a:gd name="T59" fmla="*/ 119 h 297"/>
                <a:gd name="T60" fmla="*/ 38 w 154"/>
                <a:gd name="T61" fmla="*/ 167 h 297"/>
                <a:gd name="T62" fmla="*/ 0 w 154"/>
                <a:gd name="T63" fmla="*/ 226 h 297"/>
                <a:gd name="T64" fmla="*/ 0 w 154"/>
                <a:gd name="T65" fmla="*/ 255 h 297"/>
                <a:gd name="T66" fmla="*/ 0 w 154"/>
                <a:gd name="T67" fmla="*/ 280 h 297"/>
                <a:gd name="T68" fmla="*/ 0 w 154"/>
                <a:gd name="T69" fmla="*/ 291 h 297"/>
                <a:gd name="T70" fmla="*/ 6 w 154"/>
                <a:gd name="T71" fmla="*/ 297 h 297"/>
                <a:gd name="T72" fmla="*/ 12 w 154"/>
                <a:gd name="T73" fmla="*/ 291 h 297"/>
                <a:gd name="T74" fmla="*/ 12 w 154"/>
                <a:gd name="T75" fmla="*/ 280 h 297"/>
                <a:gd name="T76" fmla="*/ 12 w 154"/>
                <a:gd name="T77" fmla="*/ 280 h 297"/>
                <a:gd name="T78" fmla="*/ 12 w 154"/>
                <a:gd name="T79" fmla="*/ 226 h 297"/>
                <a:gd name="T80" fmla="*/ 45 w 154"/>
                <a:gd name="T81" fmla="*/ 177 h 297"/>
                <a:gd name="T82" fmla="*/ 77 w 154"/>
                <a:gd name="T83" fmla="*/ 146 h 297"/>
                <a:gd name="T84" fmla="*/ 109 w 154"/>
                <a:gd name="T85" fmla="*/ 177 h 297"/>
                <a:gd name="T86" fmla="*/ 142 w 154"/>
                <a:gd name="T87" fmla="*/ 226 h 297"/>
                <a:gd name="T88" fmla="*/ 142 w 154"/>
                <a:gd name="T89" fmla="*/ 280 h 297"/>
                <a:gd name="T90" fmla="*/ 142 w 154"/>
                <a:gd name="T91" fmla="*/ 280 h 297"/>
                <a:gd name="T92" fmla="*/ 142 w 154"/>
                <a:gd name="T93" fmla="*/ 291 h 297"/>
                <a:gd name="T94" fmla="*/ 148 w 154"/>
                <a:gd name="T95" fmla="*/ 297 h 297"/>
                <a:gd name="T96" fmla="*/ 154 w 154"/>
                <a:gd name="T97" fmla="*/ 291 h 297"/>
                <a:gd name="T98" fmla="*/ 154 w 154"/>
                <a:gd name="T99" fmla="*/ 280 h 297"/>
                <a:gd name="T100" fmla="*/ 154 w 154"/>
                <a:gd name="T101" fmla="*/ 255 h 297"/>
                <a:gd name="T102" fmla="*/ 154 w 154"/>
                <a:gd name="T103" fmla="*/ 226 h 297"/>
                <a:gd name="T104" fmla="*/ 116 w 154"/>
                <a:gd name="T105" fmla="*/ 16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4" h="297">
                  <a:moveTo>
                    <a:pt x="116" y="167"/>
                  </a:moveTo>
                  <a:cubicBezTo>
                    <a:pt x="98" y="156"/>
                    <a:pt x="83" y="146"/>
                    <a:pt x="83" y="119"/>
                  </a:cubicBezTo>
                  <a:cubicBezTo>
                    <a:pt x="83" y="18"/>
                    <a:pt x="83" y="18"/>
                    <a:pt x="83" y="18"/>
                  </a:cubicBezTo>
                  <a:cubicBezTo>
                    <a:pt x="83" y="18"/>
                    <a:pt x="83" y="17"/>
                    <a:pt x="83" y="17"/>
                  </a:cubicBezTo>
                  <a:cubicBezTo>
                    <a:pt x="83" y="17"/>
                    <a:pt x="83" y="17"/>
                    <a:pt x="83" y="17"/>
                  </a:cubicBezTo>
                  <a:cubicBezTo>
                    <a:pt x="109" y="34"/>
                    <a:pt x="109" y="34"/>
                    <a:pt x="109" y="34"/>
                  </a:cubicBezTo>
                  <a:cubicBezTo>
                    <a:pt x="112" y="36"/>
                    <a:pt x="116" y="36"/>
                    <a:pt x="118" y="33"/>
                  </a:cubicBezTo>
                  <a:cubicBezTo>
                    <a:pt x="118" y="32"/>
                    <a:pt x="119" y="31"/>
                    <a:pt x="119" y="30"/>
                  </a:cubicBezTo>
                  <a:cubicBezTo>
                    <a:pt x="119" y="28"/>
                    <a:pt x="118" y="26"/>
                    <a:pt x="116" y="25"/>
                  </a:cubicBezTo>
                  <a:cubicBezTo>
                    <a:pt x="80" y="1"/>
                    <a:pt x="80" y="1"/>
                    <a:pt x="80" y="1"/>
                  </a:cubicBezTo>
                  <a:cubicBezTo>
                    <a:pt x="80" y="1"/>
                    <a:pt x="80" y="1"/>
                    <a:pt x="80" y="1"/>
                  </a:cubicBezTo>
                  <a:cubicBezTo>
                    <a:pt x="80" y="1"/>
                    <a:pt x="80" y="1"/>
                    <a:pt x="80" y="1"/>
                  </a:cubicBezTo>
                  <a:cubicBezTo>
                    <a:pt x="80" y="1"/>
                    <a:pt x="80" y="1"/>
                    <a:pt x="80" y="1"/>
                  </a:cubicBezTo>
                  <a:cubicBezTo>
                    <a:pt x="80" y="1"/>
                    <a:pt x="79" y="0"/>
                    <a:pt x="79" y="0"/>
                  </a:cubicBezTo>
                  <a:cubicBezTo>
                    <a:pt x="79" y="0"/>
                    <a:pt x="79" y="0"/>
                    <a:pt x="79" y="0"/>
                  </a:cubicBezTo>
                  <a:cubicBezTo>
                    <a:pt x="78" y="0"/>
                    <a:pt x="78" y="0"/>
                    <a:pt x="77" y="0"/>
                  </a:cubicBezTo>
                  <a:cubicBezTo>
                    <a:pt x="77" y="0"/>
                    <a:pt x="77" y="0"/>
                    <a:pt x="77" y="0"/>
                  </a:cubicBezTo>
                  <a:cubicBezTo>
                    <a:pt x="76" y="0"/>
                    <a:pt x="76" y="0"/>
                    <a:pt x="76" y="0"/>
                  </a:cubicBezTo>
                  <a:cubicBezTo>
                    <a:pt x="75" y="0"/>
                    <a:pt x="75" y="0"/>
                    <a:pt x="75" y="0"/>
                  </a:cubicBezTo>
                  <a:cubicBezTo>
                    <a:pt x="75" y="0"/>
                    <a:pt x="74" y="1"/>
                    <a:pt x="74" y="1"/>
                  </a:cubicBezTo>
                  <a:cubicBezTo>
                    <a:pt x="74" y="1"/>
                    <a:pt x="74" y="1"/>
                    <a:pt x="74" y="1"/>
                  </a:cubicBezTo>
                  <a:cubicBezTo>
                    <a:pt x="74" y="1"/>
                    <a:pt x="74" y="1"/>
                    <a:pt x="74" y="1"/>
                  </a:cubicBezTo>
                  <a:cubicBezTo>
                    <a:pt x="74" y="1"/>
                    <a:pt x="74" y="1"/>
                    <a:pt x="74" y="1"/>
                  </a:cubicBezTo>
                  <a:cubicBezTo>
                    <a:pt x="38" y="25"/>
                    <a:pt x="38" y="25"/>
                    <a:pt x="38" y="25"/>
                  </a:cubicBezTo>
                  <a:cubicBezTo>
                    <a:pt x="35" y="26"/>
                    <a:pt x="35" y="30"/>
                    <a:pt x="37" y="33"/>
                  </a:cubicBezTo>
                  <a:cubicBezTo>
                    <a:pt x="38" y="36"/>
                    <a:pt x="42" y="36"/>
                    <a:pt x="45" y="34"/>
                  </a:cubicBezTo>
                  <a:cubicBezTo>
                    <a:pt x="71" y="17"/>
                    <a:pt x="71" y="17"/>
                    <a:pt x="71" y="17"/>
                  </a:cubicBezTo>
                  <a:cubicBezTo>
                    <a:pt x="71" y="17"/>
                    <a:pt x="71" y="17"/>
                    <a:pt x="71" y="17"/>
                  </a:cubicBezTo>
                  <a:cubicBezTo>
                    <a:pt x="71" y="17"/>
                    <a:pt x="71" y="18"/>
                    <a:pt x="71" y="18"/>
                  </a:cubicBezTo>
                  <a:cubicBezTo>
                    <a:pt x="71" y="119"/>
                    <a:pt x="71" y="119"/>
                    <a:pt x="71" y="119"/>
                  </a:cubicBezTo>
                  <a:cubicBezTo>
                    <a:pt x="71" y="146"/>
                    <a:pt x="56" y="156"/>
                    <a:pt x="38" y="167"/>
                  </a:cubicBezTo>
                  <a:cubicBezTo>
                    <a:pt x="20" y="179"/>
                    <a:pt x="0" y="193"/>
                    <a:pt x="0" y="226"/>
                  </a:cubicBezTo>
                  <a:cubicBezTo>
                    <a:pt x="0" y="255"/>
                    <a:pt x="0" y="255"/>
                    <a:pt x="0" y="255"/>
                  </a:cubicBezTo>
                  <a:cubicBezTo>
                    <a:pt x="0" y="280"/>
                    <a:pt x="0" y="280"/>
                    <a:pt x="0" y="280"/>
                  </a:cubicBezTo>
                  <a:cubicBezTo>
                    <a:pt x="0" y="291"/>
                    <a:pt x="0" y="291"/>
                    <a:pt x="0" y="291"/>
                  </a:cubicBezTo>
                  <a:cubicBezTo>
                    <a:pt x="0" y="294"/>
                    <a:pt x="3" y="297"/>
                    <a:pt x="6" y="297"/>
                  </a:cubicBezTo>
                  <a:cubicBezTo>
                    <a:pt x="9" y="297"/>
                    <a:pt x="12" y="294"/>
                    <a:pt x="12" y="291"/>
                  </a:cubicBezTo>
                  <a:cubicBezTo>
                    <a:pt x="12" y="280"/>
                    <a:pt x="12" y="280"/>
                    <a:pt x="12" y="280"/>
                  </a:cubicBezTo>
                  <a:cubicBezTo>
                    <a:pt x="12" y="280"/>
                    <a:pt x="12" y="280"/>
                    <a:pt x="12" y="280"/>
                  </a:cubicBezTo>
                  <a:cubicBezTo>
                    <a:pt x="12" y="226"/>
                    <a:pt x="12" y="226"/>
                    <a:pt x="12" y="226"/>
                  </a:cubicBezTo>
                  <a:cubicBezTo>
                    <a:pt x="12" y="199"/>
                    <a:pt x="27" y="189"/>
                    <a:pt x="45" y="177"/>
                  </a:cubicBezTo>
                  <a:cubicBezTo>
                    <a:pt x="57" y="169"/>
                    <a:pt x="70" y="161"/>
                    <a:pt x="77" y="146"/>
                  </a:cubicBezTo>
                  <a:cubicBezTo>
                    <a:pt x="84" y="161"/>
                    <a:pt x="97" y="169"/>
                    <a:pt x="109" y="177"/>
                  </a:cubicBezTo>
                  <a:cubicBezTo>
                    <a:pt x="127" y="189"/>
                    <a:pt x="142" y="199"/>
                    <a:pt x="142" y="226"/>
                  </a:cubicBezTo>
                  <a:cubicBezTo>
                    <a:pt x="142" y="280"/>
                    <a:pt x="142" y="280"/>
                    <a:pt x="142" y="280"/>
                  </a:cubicBezTo>
                  <a:cubicBezTo>
                    <a:pt x="142" y="280"/>
                    <a:pt x="142" y="280"/>
                    <a:pt x="142" y="280"/>
                  </a:cubicBezTo>
                  <a:cubicBezTo>
                    <a:pt x="142" y="291"/>
                    <a:pt x="142" y="291"/>
                    <a:pt x="142" y="291"/>
                  </a:cubicBezTo>
                  <a:cubicBezTo>
                    <a:pt x="142" y="294"/>
                    <a:pt x="145" y="297"/>
                    <a:pt x="148" y="297"/>
                  </a:cubicBezTo>
                  <a:cubicBezTo>
                    <a:pt x="152" y="297"/>
                    <a:pt x="154" y="294"/>
                    <a:pt x="154" y="291"/>
                  </a:cubicBezTo>
                  <a:cubicBezTo>
                    <a:pt x="154" y="280"/>
                    <a:pt x="154" y="280"/>
                    <a:pt x="154" y="280"/>
                  </a:cubicBezTo>
                  <a:cubicBezTo>
                    <a:pt x="154" y="255"/>
                    <a:pt x="154" y="255"/>
                    <a:pt x="154" y="255"/>
                  </a:cubicBezTo>
                  <a:cubicBezTo>
                    <a:pt x="154" y="226"/>
                    <a:pt x="154" y="226"/>
                    <a:pt x="154" y="226"/>
                  </a:cubicBezTo>
                  <a:cubicBezTo>
                    <a:pt x="154" y="193"/>
                    <a:pt x="134" y="179"/>
                    <a:pt x="116" y="1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9" name="Rectangle 8">
              <a:extLst>
                <a:ext uri="{FF2B5EF4-FFF2-40B4-BE49-F238E27FC236}">
                  <a16:creationId xmlns:a16="http://schemas.microsoft.com/office/drawing/2014/main" id="{A6EC6D0B-4839-470F-A79A-279A47AFBDD1}"/>
                </a:ext>
                <a:ext uri="{C183D7F6-B498-43B3-948B-1728B52AA6E4}">
                  <adec:decorative xmlns:adec="http://schemas.microsoft.com/office/drawing/2017/decorative" val="1"/>
                </a:ext>
              </a:extLst>
            </p:cNvPr>
            <p:cNvSpPr/>
            <p:nvPr userDrawn="1"/>
          </p:nvSpPr>
          <p:spPr>
            <a:xfrm>
              <a:off x="2922235" y="1577830"/>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43" name="Freeform 69" descr="Checkmark">
              <a:extLst>
                <a:ext uri="{FF2B5EF4-FFF2-40B4-BE49-F238E27FC236}">
                  <a16:creationId xmlns:a16="http://schemas.microsoft.com/office/drawing/2014/main" id="{447C8437-B8DA-40EF-A4A1-F88FAF7F78D3}"/>
                </a:ext>
                <a:ext uri="{C183D7F6-B498-43B3-948B-1728B52AA6E4}">
                  <adec:decorative xmlns:adec="http://schemas.microsoft.com/office/drawing/2017/decorative" val="0"/>
                </a:ext>
              </a:extLst>
            </p:cNvPr>
            <p:cNvSpPr>
              <a:spLocks noEditPoints="1"/>
            </p:cNvSpPr>
            <p:nvPr/>
          </p:nvSpPr>
          <p:spPr bwMode="auto">
            <a:xfrm>
              <a:off x="3325653" y="1967482"/>
              <a:ext cx="499664" cy="424950"/>
            </a:xfrm>
            <a:custGeom>
              <a:avLst/>
              <a:gdLst>
                <a:gd name="T0" fmla="*/ 90 w 289"/>
                <a:gd name="T1" fmla="*/ 246 h 246"/>
                <a:gd name="T2" fmla="*/ 86 w 289"/>
                <a:gd name="T3" fmla="*/ 244 h 246"/>
                <a:gd name="T4" fmla="*/ 2 w 289"/>
                <a:gd name="T5" fmla="*/ 160 h 246"/>
                <a:gd name="T6" fmla="*/ 2 w 289"/>
                <a:gd name="T7" fmla="*/ 152 h 246"/>
                <a:gd name="T8" fmla="*/ 44 w 289"/>
                <a:gd name="T9" fmla="*/ 110 h 246"/>
                <a:gd name="T10" fmla="*/ 53 w 289"/>
                <a:gd name="T11" fmla="*/ 110 h 246"/>
                <a:gd name="T12" fmla="*/ 90 w 289"/>
                <a:gd name="T13" fmla="*/ 148 h 246"/>
                <a:gd name="T14" fmla="*/ 236 w 289"/>
                <a:gd name="T15" fmla="*/ 2 h 246"/>
                <a:gd name="T16" fmla="*/ 245 w 289"/>
                <a:gd name="T17" fmla="*/ 2 h 246"/>
                <a:gd name="T18" fmla="*/ 287 w 289"/>
                <a:gd name="T19" fmla="*/ 44 h 246"/>
                <a:gd name="T20" fmla="*/ 287 w 289"/>
                <a:gd name="T21" fmla="*/ 52 h 246"/>
                <a:gd name="T22" fmla="*/ 95 w 289"/>
                <a:gd name="T23" fmla="*/ 244 h 246"/>
                <a:gd name="T24" fmla="*/ 90 w 289"/>
                <a:gd name="T25" fmla="*/ 246 h 246"/>
                <a:gd name="T26" fmla="*/ 15 w 289"/>
                <a:gd name="T27" fmla="*/ 156 h 246"/>
                <a:gd name="T28" fmla="*/ 90 w 289"/>
                <a:gd name="T29" fmla="*/ 232 h 246"/>
                <a:gd name="T30" fmla="*/ 274 w 289"/>
                <a:gd name="T31" fmla="*/ 48 h 246"/>
                <a:gd name="T32" fmla="*/ 240 w 289"/>
                <a:gd name="T33" fmla="*/ 15 h 246"/>
                <a:gd name="T34" fmla="*/ 95 w 289"/>
                <a:gd name="T35" fmla="*/ 160 h 246"/>
                <a:gd name="T36" fmla="*/ 86 w 289"/>
                <a:gd name="T37" fmla="*/ 160 h 246"/>
                <a:gd name="T38" fmla="*/ 48 w 289"/>
                <a:gd name="T39" fmla="*/ 123 h 246"/>
                <a:gd name="T40" fmla="*/ 15 w 289"/>
                <a:gd name="T41" fmla="*/ 1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9" h="246">
                  <a:moveTo>
                    <a:pt x="90" y="246"/>
                  </a:moveTo>
                  <a:cubicBezTo>
                    <a:pt x="89" y="246"/>
                    <a:pt x="87" y="246"/>
                    <a:pt x="86" y="244"/>
                  </a:cubicBezTo>
                  <a:cubicBezTo>
                    <a:pt x="2" y="160"/>
                    <a:pt x="2" y="160"/>
                    <a:pt x="2" y="160"/>
                  </a:cubicBezTo>
                  <a:cubicBezTo>
                    <a:pt x="0" y="158"/>
                    <a:pt x="0" y="154"/>
                    <a:pt x="2" y="152"/>
                  </a:cubicBezTo>
                  <a:cubicBezTo>
                    <a:pt x="44" y="110"/>
                    <a:pt x="44" y="110"/>
                    <a:pt x="44" y="110"/>
                  </a:cubicBezTo>
                  <a:cubicBezTo>
                    <a:pt x="47" y="108"/>
                    <a:pt x="50" y="108"/>
                    <a:pt x="53" y="110"/>
                  </a:cubicBezTo>
                  <a:cubicBezTo>
                    <a:pt x="90" y="148"/>
                    <a:pt x="90" y="148"/>
                    <a:pt x="90" y="148"/>
                  </a:cubicBezTo>
                  <a:cubicBezTo>
                    <a:pt x="236" y="2"/>
                    <a:pt x="236" y="2"/>
                    <a:pt x="236" y="2"/>
                  </a:cubicBezTo>
                  <a:cubicBezTo>
                    <a:pt x="239" y="0"/>
                    <a:pt x="242" y="0"/>
                    <a:pt x="245" y="2"/>
                  </a:cubicBezTo>
                  <a:cubicBezTo>
                    <a:pt x="287" y="44"/>
                    <a:pt x="287" y="44"/>
                    <a:pt x="287" y="44"/>
                  </a:cubicBezTo>
                  <a:cubicBezTo>
                    <a:pt x="289" y="46"/>
                    <a:pt x="289" y="50"/>
                    <a:pt x="287" y="52"/>
                  </a:cubicBezTo>
                  <a:cubicBezTo>
                    <a:pt x="95" y="244"/>
                    <a:pt x="95" y="244"/>
                    <a:pt x="95" y="244"/>
                  </a:cubicBezTo>
                  <a:cubicBezTo>
                    <a:pt x="94" y="246"/>
                    <a:pt x="92" y="246"/>
                    <a:pt x="90" y="246"/>
                  </a:cubicBezTo>
                  <a:close/>
                  <a:moveTo>
                    <a:pt x="15" y="156"/>
                  </a:moveTo>
                  <a:cubicBezTo>
                    <a:pt x="90" y="232"/>
                    <a:pt x="90" y="232"/>
                    <a:pt x="90" y="232"/>
                  </a:cubicBezTo>
                  <a:cubicBezTo>
                    <a:pt x="274" y="48"/>
                    <a:pt x="274" y="48"/>
                    <a:pt x="274" y="48"/>
                  </a:cubicBezTo>
                  <a:cubicBezTo>
                    <a:pt x="240" y="15"/>
                    <a:pt x="240" y="15"/>
                    <a:pt x="240" y="15"/>
                  </a:cubicBezTo>
                  <a:cubicBezTo>
                    <a:pt x="95" y="160"/>
                    <a:pt x="95" y="160"/>
                    <a:pt x="95" y="160"/>
                  </a:cubicBezTo>
                  <a:cubicBezTo>
                    <a:pt x="92" y="163"/>
                    <a:pt x="89" y="163"/>
                    <a:pt x="86" y="160"/>
                  </a:cubicBezTo>
                  <a:cubicBezTo>
                    <a:pt x="48" y="123"/>
                    <a:pt x="48" y="123"/>
                    <a:pt x="48" y="123"/>
                  </a:cubicBezTo>
                  <a:lnTo>
                    <a:pt x="15" y="15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chemeClr val="bg2"/>
                </a:solidFill>
                <a:latin typeface="+mj-lt"/>
              </a:endParaRPr>
            </a:p>
          </p:txBody>
        </p:sp>
        <p:sp>
          <p:nvSpPr>
            <p:cNvPr id="10" name="Rectangle 9">
              <a:extLst>
                <a:ext uri="{FF2B5EF4-FFF2-40B4-BE49-F238E27FC236}">
                  <a16:creationId xmlns:a16="http://schemas.microsoft.com/office/drawing/2014/main" id="{4DB664B5-223E-4960-A680-CB3A5C4ED976}"/>
                </a:ext>
                <a:ext uri="{C183D7F6-B498-43B3-948B-1728B52AA6E4}">
                  <adec:decorative xmlns:adec="http://schemas.microsoft.com/office/drawing/2017/decorative" val="1"/>
                </a:ext>
              </a:extLst>
            </p:cNvPr>
            <p:cNvSpPr/>
            <p:nvPr userDrawn="1"/>
          </p:nvSpPr>
          <p:spPr>
            <a:xfrm>
              <a:off x="4192852" y="1577830"/>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288" name="Freeform: Shape 287" descr="Checkmark in Circle">
              <a:extLst>
                <a:ext uri="{FF2B5EF4-FFF2-40B4-BE49-F238E27FC236}">
                  <a16:creationId xmlns:a16="http://schemas.microsoft.com/office/drawing/2014/main" id="{F581E67E-DDA9-48D4-8F6B-3E17144F67F9}"/>
                </a:ext>
                <a:ext uri="{C183D7F6-B498-43B3-948B-1728B52AA6E4}">
                  <adec:decorative xmlns:adec="http://schemas.microsoft.com/office/drawing/2017/decorative" val="0"/>
                </a:ext>
              </a:extLst>
            </p:cNvPr>
            <p:cNvSpPr>
              <a:spLocks/>
            </p:cNvSpPr>
            <p:nvPr/>
          </p:nvSpPr>
          <p:spPr bwMode="auto">
            <a:xfrm>
              <a:off x="4599644" y="1932035"/>
              <a:ext cx="498092" cy="497754"/>
            </a:xfrm>
            <a:custGeom>
              <a:avLst/>
              <a:gdLst>
                <a:gd name="connsiteX0" fmla="*/ 196715 w 498092"/>
                <a:gd name="connsiteY0" fmla="*/ 104325 h 497754"/>
                <a:gd name="connsiteX1" fmla="*/ 284719 w 498092"/>
                <a:gd name="connsiteY1" fmla="*/ 125032 h 497754"/>
                <a:gd name="connsiteX2" fmla="*/ 289895 w 498092"/>
                <a:gd name="connsiteY2" fmla="*/ 138836 h 497754"/>
                <a:gd name="connsiteX3" fmla="*/ 274365 w 498092"/>
                <a:gd name="connsiteY3" fmla="*/ 144013 h 497754"/>
                <a:gd name="connsiteX4" fmla="*/ 196715 w 498092"/>
                <a:gd name="connsiteY4" fmla="*/ 125032 h 497754"/>
                <a:gd name="connsiteX5" fmla="*/ 20707 w 498092"/>
                <a:gd name="connsiteY5" fmla="*/ 301040 h 497754"/>
                <a:gd name="connsiteX6" fmla="*/ 196715 w 498092"/>
                <a:gd name="connsiteY6" fmla="*/ 477047 h 497754"/>
                <a:gd name="connsiteX7" fmla="*/ 372722 w 498092"/>
                <a:gd name="connsiteY7" fmla="*/ 301040 h 497754"/>
                <a:gd name="connsiteX8" fmla="*/ 369271 w 498092"/>
                <a:gd name="connsiteY8" fmla="*/ 263077 h 497754"/>
                <a:gd name="connsiteX9" fmla="*/ 376174 w 498092"/>
                <a:gd name="connsiteY9" fmla="*/ 249273 h 497754"/>
                <a:gd name="connsiteX10" fmla="*/ 388253 w 498092"/>
                <a:gd name="connsiteY10" fmla="*/ 257900 h 497754"/>
                <a:gd name="connsiteX11" fmla="*/ 393429 w 498092"/>
                <a:gd name="connsiteY11" fmla="*/ 301040 h 497754"/>
                <a:gd name="connsiteX12" fmla="*/ 196715 w 498092"/>
                <a:gd name="connsiteY12" fmla="*/ 497754 h 497754"/>
                <a:gd name="connsiteX13" fmla="*/ 0 w 498092"/>
                <a:gd name="connsiteY13" fmla="*/ 301040 h 497754"/>
                <a:gd name="connsiteX14" fmla="*/ 196715 w 498092"/>
                <a:gd name="connsiteY14" fmla="*/ 104325 h 497754"/>
                <a:gd name="connsiteX15" fmla="*/ 486692 w 498092"/>
                <a:gd name="connsiteY15" fmla="*/ 32 h 497754"/>
                <a:gd name="connsiteX16" fmla="*/ 494477 w 498092"/>
                <a:gd name="connsiteY16" fmla="*/ 3273 h 497754"/>
                <a:gd name="connsiteX17" fmla="*/ 496206 w 498092"/>
                <a:gd name="connsiteY17" fmla="*/ 17099 h 497754"/>
                <a:gd name="connsiteX18" fmla="*/ 195205 w 498092"/>
                <a:gd name="connsiteY18" fmla="*/ 390395 h 497754"/>
                <a:gd name="connsiteX19" fmla="*/ 186555 w 498092"/>
                <a:gd name="connsiteY19" fmla="*/ 393851 h 497754"/>
                <a:gd name="connsiteX20" fmla="*/ 179636 w 498092"/>
                <a:gd name="connsiteY20" fmla="*/ 390395 h 497754"/>
                <a:gd name="connsiteX21" fmla="*/ 75842 w 498092"/>
                <a:gd name="connsiteY21" fmla="*/ 286701 h 497754"/>
                <a:gd name="connsiteX22" fmla="*/ 75842 w 498092"/>
                <a:gd name="connsiteY22" fmla="*/ 272876 h 497754"/>
                <a:gd name="connsiteX23" fmla="*/ 89681 w 498092"/>
                <a:gd name="connsiteY23" fmla="*/ 272876 h 497754"/>
                <a:gd name="connsiteX24" fmla="*/ 186555 w 498092"/>
                <a:gd name="connsiteY24" fmla="*/ 367928 h 497754"/>
                <a:gd name="connsiteX25" fmla="*/ 478907 w 498092"/>
                <a:gd name="connsiteY25" fmla="*/ 3273 h 497754"/>
                <a:gd name="connsiteX26" fmla="*/ 486692 w 498092"/>
                <a:gd name="connsiteY26" fmla="*/ 32 h 497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98092" h="497754">
                  <a:moveTo>
                    <a:pt x="196715" y="104325"/>
                  </a:moveTo>
                  <a:cubicBezTo>
                    <a:pt x="227775" y="104325"/>
                    <a:pt x="257110" y="111227"/>
                    <a:pt x="284719" y="125032"/>
                  </a:cubicBezTo>
                  <a:cubicBezTo>
                    <a:pt x="289895" y="128483"/>
                    <a:pt x="291621" y="133660"/>
                    <a:pt x="289895" y="138836"/>
                  </a:cubicBezTo>
                  <a:cubicBezTo>
                    <a:pt x="286444" y="144013"/>
                    <a:pt x="279542" y="145739"/>
                    <a:pt x="274365" y="144013"/>
                  </a:cubicBezTo>
                  <a:cubicBezTo>
                    <a:pt x="250207" y="131934"/>
                    <a:pt x="224324" y="125032"/>
                    <a:pt x="196715" y="125032"/>
                  </a:cubicBezTo>
                  <a:cubicBezTo>
                    <a:pt x="100083" y="125032"/>
                    <a:pt x="20707" y="204408"/>
                    <a:pt x="20707" y="301040"/>
                  </a:cubicBezTo>
                  <a:cubicBezTo>
                    <a:pt x="20707" y="397671"/>
                    <a:pt x="100083" y="477047"/>
                    <a:pt x="196715" y="477047"/>
                  </a:cubicBezTo>
                  <a:cubicBezTo>
                    <a:pt x="293346" y="477047"/>
                    <a:pt x="372722" y="397671"/>
                    <a:pt x="372722" y="301040"/>
                  </a:cubicBezTo>
                  <a:cubicBezTo>
                    <a:pt x="372722" y="288961"/>
                    <a:pt x="370997" y="275156"/>
                    <a:pt x="369271" y="263077"/>
                  </a:cubicBezTo>
                  <a:cubicBezTo>
                    <a:pt x="367546" y="256175"/>
                    <a:pt x="370997" y="250998"/>
                    <a:pt x="376174" y="249273"/>
                  </a:cubicBezTo>
                  <a:cubicBezTo>
                    <a:pt x="381350" y="249273"/>
                    <a:pt x="388253" y="252724"/>
                    <a:pt x="388253" y="257900"/>
                  </a:cubicBezTo>
                  <a:cubicBezTo>
                    <a:pt x="391704" y="271705"/>
                    <a:pt x="393429" y="287235"/>
                    <a:pt x="393429" y="301040"/>
                  </a:cubicBezTo>
                  <a:cubicBezTo>
                    <a:pt x="393429" y="409750"/>
                    <a:pt x="305425" y="497754"/>
                    <a:pt x="196715" y="497754"/>
                  </a:cubicBezTo>
                  <a:cubicBezTo>
                    <a:pt x="88004" y="497754"/>
                    <a:pt x="0" y="409750"/>
                    <a:pt x="0" y="301040"/>
                  </a:cubicBezTo>
                  <a:cubicBezTo>
                    <a:pt x="0" y="192329"/>
                    <a:pt x="88004" y="104325"/>
                    <a:pt x="196715" y="104325"/>
                  </a:cubicBezTo>
                  <a:close/>
                  <a:moveTo>
                    <a:pt x="486692" y="32"/>
                  </a:moveTo>
                  <a:cubicBezTo>
                    <a:pt x="489287" y="-184"/>
                    <a:pt x="491882" y="680"/>
                    <a:pt x="494477" y="3273"/>
                  </a:cubicBezTo>
                  <a:cubicBezTo>
                    <a:pt x="497936" y="6729"/>
                    <a:pt x="499666" y="11914"/>
                    <a:pt x="496206" y="17099"/>
                  </a:cubicBezTo>
                  <a:cubicBezTo>
                    <a:pt x="195205" y="390395"/>
                    <a:pt x="195205" y="390395"/>
                    <a:pt x="195205" y="390395"/>
                  </a:cubicBezTo>
                  <a:cubicBezTo>
                    <a:pt x="193475" y="392123"/>
                    <a:pt x="190015" y="393851"/>
                    <a:pt x="186555" y="393851"/>
                  </a:cubicBezTo>
                  <a:cubicBezTo>
                    <a:pt x="184825" y="393851"/>
                    <a:pt x="181366" y="393851"/>
                    <a:pt x="179636" y="390395"/>
                  </a:cubicBezTo>
                  <a:cubicBezTo>
                    <a:pt x="75842" y="286701"/>
                    <a:pt x="75842" y="286701"/>
                    <a:pt x="75842" y="286701"/>
                  </a:cubicBezTo>
                  <a:cubicBezTo>
                    <a:pt x="72382" y="283245"/>
                    <a:pt x="72382" y="276332"/>
                    <a:pt x="75842" y="272876"/>
                  </a:cubicBezTo>
                  <a:cubicBezTo>
                    <a:pt x="79302" y="269419"/>
                    <a:pt x="86221" y="269419"/>
                    <a:pt x="89681" y="272876"/>
                  </a:cubicBezTo>
                  <a:cubicBezTo>
                    <a:pt x="186555" y="367928"/>
                    <a:pt x="186555" y="367928"/>
                    <a:pt x="186555" y="367928"/>
                  </a:cubicBezTo>
                  <a:cubicBezTo>
                    <a:pt x="478907" y="3273"/>
                    <a:pt x="478907" y="3273"/>
                    <a:pt x="478907" y="3273"/>
                  </a:cubicBezTo>
                  <a:cubicBezTo>
                    <a:pt x="481502" y="1545"/>
                    <a:pt x="484097" y="248"/>
                    <a:pt x="486692"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AU">
                <a:solidFill>
                  <a:schemeClr val="bg2"/>
                </a:solidFill>
                <a:latin typeface="+mj-lt"/>
              </a:endParaRPr>
            </a:p>
          </p:txBody>
        </p:sp>
        <p:sp>
          <p:nvSpPr>
            <p:cNvPr id="11" name="Rectangle 10">
              <a:extLst>
                <a:ext uri="{FF2B5EF4-FFF2-40B4-BE49-F238E27FC236}">
                  <a16:creationId xmlns:a16="http://schemas.microsoft.com/office/drawing/2014/main" id="{0611E645-2104-44FF-9CB2-6B84F9D576F5}"/>
                </a:ext>
                <a:ext uri="{C183D7F6-B498-43B3-948B-1728B52AA6E4}">
                  <adec:decorative xmlns:adec="http://schemas.microsoft.com/office/drawing/2017/decorative" val="1"/>
                </a:ext>
              </a:extLst>
            </p:cNvPr>
            <p:cNvSpPr/>
            <p:nvPr userDrawn="1"/>
          </p:nvSpPr>
          <p:spPr>
            <a:xfrm>
              <a:off x="5463471" y="1577830"/>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69" name="Group 78" descr="Checklist">
              <a:extLst>
                <a:ext uri="{FF2B5EF4-FFF2-40B4-BE49-F238E27FC236}">
                  <a16:creationId xmlns:a16="http://schemas.microsoft.com/office/drawing/2014/main" id="{48129F59-1EAE-4CC7-84B2-50CF4A49F694}"/>
                </a:ext>
                <a:ext uri="{C183D7F6-B498-43B3-948B-1728B52AA6E4}">
                  <adec:decorative xmlns:adec="http://schemas.microsoft.com/office/drawing/2017/decorative" val="0"/>
                </a:ext>
              </a:extLst>
            </p:cNvPr>
            <p:cNvGrpSpPr>
              <a:grpSpLocks noChangeAspect="1"/>
            </p:cNvGrpSpPr>
            <p:nvPr/>
          </p:nvGrpSpPr>
          <p:grpSpPr bwMode="auto">
            <a:xfrm>
              <a:off x="5953306" y="1958610"/>
              <a:ext cx="332544" cy="442704"/>
              <a:chOff x="5561" y="440"/>
              <a:chExt cx="320" cy="426"/>
            </a:xfrm>
            <a:solidFill>
              <a:schemeClr val="accent1"/>
            </a:solidFill>
          </p:grpSpPr>
          <p:sp>
            <p:nvSpPr>
              <p:cNvPr id="70" name="Freeform 79">
                <a:extLst>
                  <a:ext uri="{FF2B5EF4-FFF2-40B4-BE49-F238E27FC236}">
                    <a16:creationId xmlns:a16="http://schemas.microsoft.com/office/drawing/2014/main" id="{80577F24-5C69-4B4D-927B-11A5AE38790D}"/>
                  </a:ext>
                </a:extLst>
              </p:cNvPr>
              <p:cNvSpPr>
                <a:spLocks noEditPoints="1"/>
              </p:cNvSpPr>
              <p:nvPr/>
            </p:nvSpPr>
            <p:spPr bwMode="auto">
              <a:xfrm>
                <a:off x="5561" y="440"/>
                <a:ext cx="320"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1" name="Freeform 80">
                <a:extLst>
                  <a:ext uri="{FF2B5EF4-FFF2-40B4-BE49-F238E27FC236}">
                    <a16:creationId xmlns:a16="http://schemas.microsoft.com/office/drawing/2014/main" id="{E4AD609C-BD49-49D8-8BF0-2CA065AC47DD}"/>
                  </a:ext>
                </a:extLst>
              </p:cNvPr>
              <p:cNvSpPr>
                <a:spLocks/>
              </p:cNvSpPr>
              <p:nvPr/>
            </p:nvSpPr>
            <p:spPr bwMode="auto">
              <a:xfrm>
                <a:off x="5757" y="440"/>
                <a:ext cx="124" cy="125"/>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2" name="Freeform 81">
                <a:extLst>
                  <a:ext uri="{FF2B5EF4-FFF2-40B4-BE49-F238E27FC236}">
                    <a16:creationId xmlns:a16="http://schemas.microsoft.com/office/drawing/2014/main" id="{5F61C750-DC2E-4E9A-9E33-B68ED44471CD}"/>
                  </a:ext>
                </a:extLst>
              </p:cNvPr>
              <p:cNvSpPr>
                <a:spLocks/>
              </p:cNvSpPr>
              <p:nvPr/>
            </p:nvSpPr>
            <p:spPr bwMode="auto">
              <a:xfrm>
                <a:off x="5721" y="618"/>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3" name="Freeform 82">
                <a:extLst>
                  <a:ext uri="{FF2B5EF4-FFF2-40B4-BE49-F238E27FC236}">
                    <a16:creationId xmlns:a16="http://schemas.microsoft.com/office/drawing/2014/main" id="{931B0415-9D2F-42BB-A1C8-4E19C1C0616D}"/>
                  </a:ext>
                </a:extLst>
              </p:cNvPr>
              <p:cNvSpPr>
                <a:spLocks/>
              </p:cNvSpPr>
              <p:nvPr/>
            </p:nvSpPr>
            <p:spPr bwMode="auto">
              <a:xfrm>
                <a:off x="5721" y="689"/>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4" name="Freeform 83">
                <a:extLst>
                  <a:ext uri="{FF2B5EF4-FFF2-40B4-BE49-F238E27FC236}">
                    <a16:creationId xmlns:a16="http://schemas.microsoft.com/office/drawing/2014/main" id="{86173D43-39B7-4996-90AF-4C34E46877E0}"/>
                  </a:ext>
                </a:extLst>
              </p:cNvPr>
              <p:cNvSpPr>
                <a:spLocks/>
              </p:cNvSpPr>
              <p:nvPr/>
            </p:nvSpPr>
            <p:spPr bwMode="auto">
              <a:xfrm>
                <a:off x="5721" y="760"/>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5" name="Freeform 84">
                <a:extLst>
                  <a:ext uri="{FF2B5EF4-FFF2-40B4-BE49-F238E27FC236}">
                    <a16:creationId xmlns:a16="http://schemas.microsoft.com/office/drawing/2014/main" id="{6DEF8659-436B-4D63-8C04-4FD3F4F7CA1F}"/>
                  </a:ext>
                </a:extLst>
              </p:cNvPr>
              <p:cNvSpPr>
                <a:spLocks/>
              </p:cNvSpPr>
              <p:nvPr/>
            </p:nvSpPr>
            <p:spPr bwMode="auto">
              <a:xfrm>
                <a:off x="5614" y="582"/>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6" name="Freeform 85">
                <a:extLst>
                  <a:ext uri="{FF2B5EF4-FFF2-40B4-BE49-F238E27FC236}">
                    <a16:creationId xmlns:a16="http://schemas.microsoft.com/office/drawing/2014/main" id="{FB3CC45F-92C2-43E0-8FFF-963CFECA38C9}"/>
                  </a:ext>
                </a:extLst>
              </p:cNvPr>
              <p:cNvSpPr>
                <a:spLocks/>
              </p:cNvSpPr>
              <p:nvPr/>
            </p:nvSpPr>
            <p:spPr bwMode="auto">
              <a:xfrm>
                <a:off x="5614" y="653"/>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7" name="Freeform 86">
                <a:extLst>
                  <a:ext uri="{FF2B5EF4-FFF2-40B4-BE49-F238E27FC236}">
                    <a16:creationId xmlns:a16="http://schemas.microsoft.com/office/drawing/2014/main" id="{DED43D06-F4FE-4D8B-AA4D-C7176265646E}"/>
                  </a:ext>
                </a:extLst>
              </p:cNvPr>
              <p:cNvSpPr>
                <a:spLocks/>
              </p:cNvSpPr>
              <p:nvPr/>
            </p:nvSpPr>
            <p:spPr bwMode="auto">
              <a:xfrm>
                <a:off x="5614" y="724"/>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2" name="Rectangle 21">
              <a:extLst>
                <a:ext uri="{FF2B5EF4-FFF2-40B4-BE49-F238E27FC236}">
                  <a16:creationId xmlns:a16="http://schemas.microsoft.com/office/drawing/2014/main" id="{3BBE7913-9232-42A0-A120-E77BF145FF2C}"/>
                </a:ext>
                <a:ext uri="{C183D7F6-B498-43B3-948B-1728B52AA6E4}">
                  <adec:decorative xmlns:adec="http://schemas.microsoft.com/office/drawing/2017/decorative" val="1"/>
                </a:ext>
              </a:extLst>
            </p:cNvPr>
            <p:cNvSpPr/>
            <p:nvPr userDrawn="1"/>
          </p:nvSpPr>
          <p:spPr>
            <a:xfrm>
              <a:off x="6734088" y="1577830"/>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290" name="Group 289" descr="Target">
              <a:extLst>
                <a:ext uri="{FF2B5EF4-FFF2-40B4-BE49-F238E27FC236}">
                  <a16:creationId xmlns:a16="http://schemas.microsoft.com/office/drawing/2014/main" id="{EB7E5166-6D61-41BF-BEA2-D3D4B4FB3848}"/>
                </a:ext>
                <a:ext uri="{C183D7F6-B498-43B3-948B-1728B52AA6E4}">
                  <adec:decorative xmlns:adec="http://schemas.microsoft.com/office/drawing/2017/decorative" val="0"/>
                </a:ext>
              </a:extLst>
            </p:cNvPr>
            <p:cNvGrpSpPr/>
            <p:nvPr/>
          </p:nvGrpSpPr>
          <p:grpSpPr>
            <a:xfrm>
              <a:off x="7132640" y="1933803"/>
              <a:ext cx="491102" cy="492306"/>
              <a:chOff x="7132640" y="1933803"/>
              <a:chExt cx="491102" cy="492306"/>
            </a:xfrm>
          </p:grpSpPr>
          <p:sp>
            <p:nvSpPr>
              <p:cNvPr id="264" name="Freeform 10">
                <a:extLst>
                  <a:ext uri="{FF2B5EF4-FFF2-40B4-BE49-F238E27FC236}">
                    <a16:creationId xmlns:a16="http://schemas.microsoft.com/office/drawing/2014/main" id="{745F8B78-5279-4EA6-B52B-307547A02E92}"/>
                  </a:ext>
                </a:extLst>
              </p:cNvPr>
              <p:cNvSpPr>
                <a:spLocks noEditPoints="1"/>
              </p:cNvSpPr>
              <p:nvPr/>
            </p:nvSpPr>
            <p:spPr bwMode="auto">
              <a:xfrm>
                <a:off x="7173565" y="1974729"/>
                <a:ext cx="409252" cy="410456"/>
              </a:xfrm>
              <a:custGeom>
                <a:avLst/>
                <a:gdLst>
                  <a:gd name="T0" fmla="*/ 115 w 230"/>
                  <a:gd name="T1" fmla="*/ 230 h 230"/>
                  <a:gd name="T2" fmla="*/ 0 w 230"/>
                  <a:gd name="T3" fmla="*/ 115 h 230"/>
                  <a:gd name="T4" fmla="*/ 115 w 230"/>
                  <a:gd name="T5" fmla="*/ 0 h 230"/>
                  <a:gd name="T6" fmla="*/ 230 w 230"/>
                  <a:gd name="T7" fmla="*/ 115 h 230"/>
                  <a:gd name="T8" fmla="*/ 115 w 230"/>
                  <a:gd name="T9" fmla="*/ 230 h 230"/>
                  <a:gd name="T10" fmla="*/ 115 w 230"/>
                  <a:gd name="T11" fmla="*/ 12 h 230"/>
                  <a:gd name="T12" fmla="*/ 12 w 230"/>
                  <a:gd name="T13" fmla="*/ 115 h 230"/>
                  <a:gd name="T14" fmla="*/ 115 w 230"/>
                  <a:gd name="T15" fmla="*/ 218 h 230"/>
                  <a:gd name="T16" fmla="*/ 218 w 230"/>
                  <a:gd name="T17" fmla="*/ 115 h 230"/>
                  <a:gd name="T18" fmla="*/ 115 w 230"/>
                  <a:gd name="T19" fmla="*/ 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0" h="230">
                    <a:moveTo>
                      <a:pt x="115" y="230"/>
                    </a:moveTo>
                    <a:cubicBezTo>
                      <a:pt x="52" y="230"/>
                      <a:pt x="0" y="178"/>
                      <a:pt x="0" y="115"/>
                    </a:cubicBezTo>
                    <a:cubicBezTo>
                      <a:pt x="0" y="51"/>
                      <a:pt x="52" y="0"/>
                      <a:pt x="115" y="0"/>
                    </a:cubicBezTo>
                    <a:cubicBezTo>
                      <a:pt x="179" y="0"/>
                      <a:pt x="230" y="51"/>
                      <a:pt x="230" y="115"/>
                    </a:cubicBezTo>
                    <a:cubicBezTo>
                      <a:pt x="230" y="178"/>
                      <a:pt x="179" y="230"/>
                      <a:pt x="115" y="230"/>
                    </a:cubicBezTo>
                    <a:close/>
                    <a:moveTo>
                      <a:pt x="115" y="12"/>
                    </a:moveTo>
                    <a:cubicBezTo>
                      <a:pt x="59" y="12"/>
                      <a:pt x="12" y="58"/>
                      <a:pt x="12" y="115"/>
                    </a:cubicBezTo>
                    <a:cubicBezTo>
                      <a:pt x="12" y="172"/>
                      <a:pt x="59" y="218"/>
                      <a:pt x="115" y="218"/>
                    </a:cubicBezTo>
                    <a:cubicBezTo>
                      <a:pt x="172" y="218"/>
                      <a:pt x="218" y="172"/>
                      <a:pt x="218" y="115"/>
                    </a:cubicBezTo>
                    <a:cubicBezTo>
                      <a:pt x="218" y="58"/>
                      <a:pt x="172" y="12"/>
                      <a:pt x="115" y="1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65" name="Freeform 11">
                <a:extLst>
                  <a:ext uri="{FF2B5EF4-FFF2-40B4-BE49-F238E27FC236}">
                    <a16:creationId xmlns:a16="http://schemas.microsoft.com/office/drawing/2014/main" id="{D6292400-9349-456C-A6EC-4E4B36565C2C}"/>
                  </a:ext>
                </a:extLst>
              </p:cNvPr>
              <p:cNvSpPr>
                <a:spLocks noEditPoints="1"/>
              </p:cNvSpPr>
              <p:nvPr/>
            </p:nvSpPr>
            <p:spPr bwMode="auto">
              <a:xfrm>
                <a:off x="7277082" y="2077042"/>
                <a:ext cx="204626" cy="204626"/>
              </a:xfrm>
              <a:custGeom>
                <a:avLst/>
                <a:gdLst>
                  <a:gd name="T0" fmla="*/ 57 w 115"/>
                  <a:gd name="T1" fmla="*/ 115 h 115"/>
                  <a:gd name="T2" fmla="*/ 0 w 115"/>
                  <a:gd name="T3" fmla="*/ 58 h 115"/>
                  <a:gd name="T4" fmla="*/ 57 w 115"/>
                  <a:gd name="T5" fmla="*/ 0 h 115"/>
                  <a:gd name="T6" fmla="*/ 115 w 115"/>
                  <a:gd name="T7" fmla="*/ 58 h 115"/>
                  <a:gd name="T8" fmla="*/ 57 w 115"/>
                  <a:gd name="T9" fmla="*/ 115 h 115"/>
                  <a:gd name="T10" fmla="*/ 57 w 115"/>
                  <a:gd name="T11" fmla="*/ 12 h 115"/>
                  <a:gd name="T12" fmla="*/ 12 w 115"/>
                  <a:gd name="T13" fmla="*/ 58 h 115"/>
                  <a:gd name="T14" fmla="*/ 57 w 115"/>
                  <a:gd name="T15" fmla="*/ 103 h 115"/>
                  <a:gd name="T16" fmla="*/ 103 w 115"/>
                  <a:gd name="T17" fmla="*/ 58 h 115"/>
                  <a:gd name="T18" fmla="*/ 57 w 115"/>
                  <a:gd name="T19" fmla="*/ 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15">
                    <a:moveTo>
                      <a:pt x="57" y="115"/>
                    </a:moveTo>
                    <a:cubicBezTo>
                      <a:pt x="26" y="115"/>
                      <a:pt x="0" y="90"/>
                      <a:pt x="0" y="58"/>
                    </a:cubicBezTo>
                    <a:cubicBezTo>
                      <a:pt x="0" y="26"/>
                      <a:pt x="26" y="0"/>
                      <a:pt x="57" y="0"/>
                    </a:cubicBezTo>
                    <a:cubicBezTo>
                      <a:pt x="89" y="0"/>
                      <a:pt x="115" y="26"/>
                      <a:pt x="115" y="58"/>
                    </a:cubicBezTo>
                    <a:cubicBezTo>
                      <a:pt x="115" y="90"/>
                      <a:pt x="89" y="115"/>
                      <a:pt x="57" y="115"/>
                    </a:cubicBezTo>
                    <a:close/>
                    <a:moveTo>
                      <a:pt x="57" y="12"/>
                    </a:moveTo>
                    <a:cubicBezTo>
                      <a:pt x="32" y="12"/>
                      <a:pt x="12" y="33"/>
                      <a:pt x="12" y="58"/>
                    </a:cubicBezTo>
                    <a:cubicBezTo>
                      <a:pt x="12" y="83"/>
                      <a:pt x="32" y="103"/>
                      <a:pt x="57" y="103"/>
                    </a:cubicBezTo>
                    <a:cubicBezTo>
                      <a:pt x="83" y="103"/>
                      <a:pt x="103" y="83"/>
                      <a:pt x="103" y="58"/>
                    </a:cubicBezTo>
                    <a:cubicBezTo>
                      <a:pt x="103" y="33"/>
                      <a:pt x="83" y="12"/>
                      <a:pt x="57" y="1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89" name="Freeform: Shape 288">
                <a:extLst>
                  <a:ext uri="{FF2B5EF4-FFF2-40B4-BE49-F238E27FC236}">
                    <a16:creationId xmlns:a16="http://schemas.microsoft.com/office/drawing/2014/main" id="{952ED070-EF81-4843-B3B3-855EF9818AC0}"/>
                  </a:ext>
                </a:extLst>
              </p:cNvPr>
              <p:cNvSpPr>
                <a:spLocks/>
              </p:cNvSpPr>
              <p:nvPr/>
            </p:nvSpPr>
            <p:spPr bwMode="auto">
              <a:xfrm>
                <a:off x="7132640" y="1933803"/>
                <a:ext cx="491102" cy="492306"/>
              </a:xfrm>
              <a:custGeom>
                <a:avLst/>
                <a:gdLst>
                  <a:gd name="connsiteX0" fmla="*/ 245551 w 491102"/>
                  <a:gd name="connsiteY0" fmla="*/ 0 h 492306"/>
                  <a:gd name="connsiteX1" fmla="*/ 256384 w 491102"/>
                  <a:gd name="connsiteY1" fmla="*/ 10702 h 492306"/>
                  <a:gd name="connsiteX2" fmla="*/ 256384 w 491102"/>
                  <a:gd name="connsiteY2" fmla="*/ 229023 h 492306"/>
                  <a:gd name="connsiteX3" fmla="*/ 256384 w 491102"/>
                  <a:gd name="connsiteY3" fmla="*/ 235922 h 492306"/>
                  <a:gd name="connsiteX4" fmla="*/ 282250 w 491102"/>
                  <a:gd name="connsiteY4" fmla="*/ 235922 h 492306"/>
                  <a:gd name="connsiteX5" fmla="*/ 480426 w 491102"/>
                  <a:gd name="connsiteY5" fmla="*/ 235922 h 492306"/>
                  <a:gd name="connsiteX6" fmla="*/ 491102 w 491102"/>
                  <a:gd name="connsiteY6" fmla="*/ 246154 h 492306"/>
                  <a:gd name="connsiteX7" fmla="*/ 480426 w 491102"/>
                  <a:gd name="connsiteY7" fmla="*/ 256385 h 492306"/>
                  <a:gd name="connsiteX8" fmla="*/ 262639 w 491102"/>
                  <a:gd name="connsiteY8" fmla="*/ 256385 h 492306"/>
                  <a:gd name="connsiteX9" fmla="*/ 256384 w 491102"/>
                  <a:gd name="connsiteY9" fmla="*/ 256385 h 492306"/>
                  <a:gd name="connsiteX10" fmla="*/ 256384 w 491102"/>
                  <a:gd name="connsiteY10" fmla="*/ 282942 h 492306"/>
                  <a:gd name="connsiteX11" fmla="*/ 256384 w 491102"/>
                  <a:gd name="connsiteY11" fmla="*/ 481604 h 492306"/>
                  <a:gd name="connsiteX12" fmla="*/ 245551 w 491102"/>
                  <a:gd name="connsiteY12" fmla="*/ 492306 h 492306"/>
                  <a:gd name="connsiteX13" fmla="*/ 234718 w 491102"/>
                  <a:gd name="connsiteY13" fmla="*/ 481604 h 492306"/>
                  <a:gd name="connsiteX14" fmla="*/ 234718 w 491102"/>
                  <a:gd name="connsiteY14" fmla="*/ 263283 h 492306"/>
                  <a:gd name="connsiteX15" fmla="*/ 234718 w 491102"/>
                  <a:gd name="connsiteY15" fmla="*/ 256385 h 492306"/>
                  <a:gd name="connsiteX16" fmla="*/ 208852 w 491102"/>
                  <a:gd name="connsiteY16" fmla="*/ 256385 h 492306"/>
                  <a:gd name="connsiteX17" fmla="*/ 10676 w 491102"/>
                  <a:gd name="connsiteY17" fmla="*/ 256385 h 492306"/>
                  <a:gd name="connsiteX18" fmla="*/ 0 w 491102"/>
                  <a:gd name="connsiteY18" fmla="*/ 246154 h 492306"/>
                  <a:gd name="connsiteX19" fmla="*/ 10676 w 491102"/>
                  <a:gd name="connsiteY19" fmla="*/ 235922 h 492306"/>
                  <a:gd name="connsiteX20" fmla="*/ 228463 w 491102"/>
                  <a:gd name="connsiteY20" fmla="*/ 235922 h 492306"/>
                  <a:gd name="connsiteX21" fmla="*/ 234718 w 491102"/>
                  <a:gd name="connsiteY21" fmla="*/ 235922 h 492306"/>
                  <a:gd name="connsiteX22" fmla="*/ 234718 w 491102"/>
                  <a:gd name="connsiteY22" fmla="*/ 209364 h 492306"/>
                  <a:gd name="connsiteX23" fmla="*/ 234718 w 491102"/>
                  <a:gd name="connsiteY23" fmla="*/ 10702 h 492306"/>
                  <a:gd name="connsiteX24" fmla="*/ 245551 w 491102"/>
                  <a:gd name="connsiteY24" fmla="*/ 0 h 49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91102" h="492306">
                    <a:moveTo>
                      <a:pt x="245551" y="0"/>
                    </a:moveTo>
                    <a:cubicBezTo>
                      <a:pt x="252773" y="0"/>
                      <a:pt x="256384" y="5351"/>
                      <a:pt x="256384" y="10702"/>
                    </a:cubicBezTo>
                    <a:cubicBezTo>
                      <a:pt x="256384" y="98996"/>
                      <a:pt x="256384" y="170735"/>
                      <a:pt x="256384" y="229023"/>
                    </a:cubicBezTo>
                    <a:lnTo>
                      <a:pt x="256384" y="235922"/>
                    </a:lnTo>
                    <a:lnTo>
                      <a:pt x="282250" y="235922"/>
                    </a:lnTo>
                    <a:cubicBezTo>
                      <a:pt x="480426" y="235922"/>
                      <a:pt x="480426" y="235922"/>
                      <a:pt x="480426" y="235922"/>
                    </a:cubicBezTo>
                    <a:cubicBezTo>
                      <a:pt x="487544" y="235922"/>
                      <a:pt x="491102" y="241038"/>
                      <a:pt x="491102" y="246154"/>
                    </a:cubicBezTo>
                    <a:cubicBezTo>
                      <a:pt x="491102" y="251269"/>
                      <a:pt x="487544" y="256385"/>
                      <a:pt x="480426" y="256385"/>
                    </a:cubicBezTo>
                    <a:cubicBezTo>
                      <a:pt x="392348" y="256385"/>
                      <a:pt x="320785" y="256385"/>
                      <a:pt x="262639" y="256385"/>
                    </a:cubicBezTo>
                    <a:lnTo>
                      <a:pt x="256384" y="256385"/>
                    </a:lnTo>
                    <a:lnTo>
                      <a:pt x="256384" y="282942"/>
                    </a:lnTo>
                    <a:cubicBezTo>
                      <a:pt x="256384" y="481604"/>
                      <a:pt x="256384" y="481604"/>
                      <a:pt x="256384" y="481604"/>
                    </a:cubicBezTo>
                    <a:cubicBezTo>
                      <a:pt x="256384" y="486955"/>
                      <a:pt x="252773" y="492306"/>
                      <a:pt x="245551" y="492306"/>
                    </a:cubicBezTo>
                    <a:cubicBezTo>
                      <a:pt x="240135" y="492306"/>
                      <a:pt x="234718" y="486955"/>
                      <a:pt x="234718" y="481604"/>
                    </a:cubicBezTo>
                    <a:cubicBezTo>
                      <a:pt x="234718" y="393310"/>
                      <a:pt x="234718" y="321571"/>
                      <a:pt x="234718" y="263283"/>
                    </a:cubicBezTo>
                    <a:lnTo>
                      <a:pt x="234718" y="256385"/>
                    </a:lnTo>
                    <a:lnTo>
                      <a:pt x="208852" y="256385"/>
                    </a:lnTo>
                    <a:cubicBezTo>
                      <a:pt x="10676" y="256385"/>
                      <a:pt x="10676" y="256385"/>
                      <a:pt x="10676" y="256385"/>
                    </a:cubicBezTo>
                    <a:cubicBezTo>
                      <a:pt x="5338" y="256385"/>
                      <a:pt x="0" y="251269"/>
                      <a:pt x="0" y="246154"/>
                    </a:cubicBezTo>
                    <a:cubicBezTo>
                      <a:pt x="0" y="241038"/>
                      <a:pt x="5338" y="235922"/>
                      <a:pt x="10676" y="235922"/>
                    </a:cubicBezTo>
                    <a:cubicBezTo>
                      <a:pt x="98754" y="235922"/>
                      <a:pt x="170318" y="235922"/>
                      <a:pt x="228463" y="235922"/>
                    </a:cubicBezTo>
                    <a:lnTo>
                      <a:pt x="234718" y="235922"/>
                    </a:lnTo>
                    <a:lnTo>
                      <a:pt x="234718" y="209364"/>
                    </a:lnTo>
                    <a:cubicBezTo>
                      <a:pt x="234718" y="10702"/>
                      <a:pt x="234718" y="10702"/>
                      <a:pt x="234718" y="10702"/>
                    </a:cubicBezTo>
                    <a:cubicBezTo>
                      <a:pt x="234718" y="5351"/>
                      <a:pt x="240135" y="0"/>
                      <a:pt x="24555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AU"/>
              </a:p>
            </p:txBody>
          </p:sp>
        </p:grpSp>
        <p:sp>
          <p:nvSpPr>
            <p:cNvPr id="25" name="Rectangle 24">
              <a:extLst>
                <a:ext uri="{FF2B5EF4-FFF2-40B4-BE49-F238E27FC236}">
                  <a16:creationId xmlns:a16="http://schemas.microsoft.com/office/drawing/2014/main" id="{EB7CB665-E226-4C1B-89EF-D65C7B7EA177}"/>
                </a:ext>
                <a:ext uri="{C183D7F6-B498-43B3-948B-1728B52AA6E4}">
                  <adec:decorative xmlns:adec="http://schemas.microsoft.com/office/drawing/2017/decorative" val="1"/>
                </a:ext>
              </a:extLst>
            </p:cNvPr>
            <p:cNvSpPr/>
            <p:nvPr userDrawn="1"/>
          </p:nvSpPr>
          <p:spPr>
            <a:xfrm>
              <a:off x="8004706" y="1577830"/>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291" name="Group 290" descr="Globe with Pin Location">
              <a:extLst>
                <a:ext uri="{FF2B5EF4-FFF2-40B4-BE49-F238E27FC236}">
                  <a16:creationId xmlns:a16="http://schemas.microsoft.com/office/drawing/2014/main" id="{C517B6D1-E763-4A10-9D10-8D4588ED5C23}"/>
                </a:ext>
                <a:ext uri="{C183D7F6-B498-43B3-948B-1728B52AA6E4}">
                  <adec:decorative xmlns:adec="http://schemas.microsoft.com/office/drawing/2017/decorative" val="0"/>
                </a:ext>
              </a:extLst>
            </p:cNvPr>
            <p:cNvGrpSpPr/>
            <p:nvPr/>
          </p:nvGrpSpPr>
          <p:grpSpPr>
            <a:xfrm>
              <a:off x="8400111" y="1923077"/>
              <a:ext cx="513762" cy="513760"/>
              <a:chOff x="8400111" y="1923077"/>
              <a:chExt cx="513762" cy="513760"/>
            </a:xfrm>
          </p:grpSpPr>
          <p:sp>
            <p:nvSpPr>
              <p:cNvPr id="283" name="Freeform 57">
                <a:extLst>
                  <a:ext uri="{FF2B5EF4-FFF2-40B4-BE49-F238E27FC236}">
                    <a16:creationId xmlns:a16="http://schemas.microsoft.com/office/drawing/2014/main" id="{831A0BA2-A43B-4D83-9E89-EAA767271162}"/>
                  </a:ext>
                </a:extLst>
              </p:cNvPr>
              <p:cNvSpPr>
                <a:spLocks/>
              </p:cNvSpPr>
              <p:nvPr/>
            </p:nvSpPr>
            <p:spPr bwMode="auto">
              <a:xfrm>
                <a:off x="8400111" y="1923077"/>
                <a:ext cx="513762" cy="513760"/>
              </a:xfrm>
              <a:custGeom>
                <a:avLst/>
                <a:gdLst>
                  <a:gd name="T0" fmla="*/ 144 w 288"/>
                  <a:gd name="T1" fmla="*/ 288 h 288"/>
                  <a:gd name="T2" fmla="*/ 0 w 288"/>
                  <a:gd name="T3" fmla="*/ 144 h 288"/>
                  <a:gd name="T4" fmla="*/ 144 w 288"/>
                  <a:gd name="T5" fmla="*/ 0 h 288"/>
                  <a:gd name="T6" fmla="*/ 288 w 288"/>
                  <a:gd name="T7" fmla="*/ 144 h 288"/>
                  <a:gd name="T8" fmla="*/ 282 w 288"/>
                  <a:gd name="T9" fmla="*/ 150 h 288"/>
                  <a:gd name="T10" fmla="*/ 276 w 288"/>
                  <a:gd name="T11" fmla="*/ 144 h 288"/>
                  <a:gd name="T12" fmla="*/ 144 w 288"/>
                  <a:gd name="T13" fmla="*/ 12 h 288"/>
                  <a:gd name="T14" fmla="*/ 12 w 288"/>
                  <a:gd name="T15" fmla="*/ 144 h 288"/>
                  <a:gd name="T16" fmla="*/ 144 w 288"/>
                  <a:gd name="T17" fmla="*/ 276 h 288"/>
                  <a:gd name="T18" fmla="*/ 190 w 288"/>
                  <a:gd name="T19" fmla="*/ 268 h 288"/>
                  <a:gd name="T20" fmla="*/ 198 w 288"/>
                  <a:gd name="T21" fmla="*/ 272 h 288"/>
                  <a:gd name="T22" fmla="*/ 194 w 288"/>
                  <a:gd name="T23" fmla="*/ 280 h 288"/>
                  <a:gd name="T24" fmla="*/ 144 w 288"/>
                  <a:gd name="T25"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288">
                    <a:moveTo>
                      <a:pt x="144" y="288"/>
                    </a:moveTo>
                    <a:cubicBezTo>
                      <a:pt x="65" y="288"/>
                      <a:pt x="0" y="224"/>
                      <a:pt x="0" y="144"/>
                    </a:cubicBezTo>
                    <a:cubicBezTo>
                      <a:pt x="0" y="65"/>
                      <a:pt x="65" y="0"/>
                      <a:pt x="144" y="0"/>
                    </a:cubicBezTo>
                    <a:cubicBezTo>
                      <a:pt x="224" y="0"/>
                      <a:pt x="288" y="65"/>
                      <a:pt x="288" y="144"/>
                    </a:cubicBezTo>
                    <a:cubicBezTo>
                      <a:pt x="288" y="148"/>
                      <a:pt x="286" y="150"/>
                      <a:pt x="282" y="150"/>
                    </a:cubicBezTo>
                    <a:cubicBezTo>
                      <a:pt x="279" y="150"/>
                      <a:pt x="276" y="148"/>
                      <a:pt x="276" y="144"/>
                    </a:cubicBezTo>
                    <a:cubicBezTo>
                      <a:pt x="276" y="71"/>
                      <a:pt x="217" y="12"/>
                      <a:pt x="144" y="12"/>
                    </a:cubicBezTo>
                    <a:cubicBezTo>
                      <a:pt x="72" y="12"/>
                      <a:pt x="12" y="71"/>
                      <a:pt x="12" y="144"/>
                    </a:cubicBezTo>
                    <a:cubicBezTo>
                      <a:pt x="12" y="217"/>
                      <a:pt x="72" y="276"/>
                      <a:pt x="144" y="276"/>
                    </a:cubicBezTo>
                    <a:cubicBezTo>
                      <a:pt x="160" y="276"/>
                      <a:pt x="175" y="274"/>
                      <a:pt x="190" y="268"/>
                    </a:cubicBezTo>
                    <a:cubicBezTo>
                      <a:pt x="193" y="267"/>
                      <a:pt x="196" y="269"/>
                      <a:pt x="198" y="272"/>
                    </a:cubicBezTo>
                    <a:cubicBezTo>
                      <a:pt x="199" y="275"/>
                      <a:pt x="197" y="278"/>
                      <a:pt x="194" y="280"/>
                    </a:cubicBezTo>
                    <a:cubicBezTo>
                      <a:pt x="178" y="285"/>
                      <a:pt x="161" y="288"/>
                      <a:pt x="144" y="28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dirty="0"/>
              </a:p>
            </p:txBody>
          </p:sp>
          <p:sp>
            <p:nvSpPr>
              <p:cNvPr id="284" name="Freeform 58">
                <a:extLst>
                  <a:ext uri="{FF2B5EF4-FFF2-40B4-BE49-F238E27FC236}">
                    <a16:creationId xmlns:a16="http://schemas.microsoft.com/office/drawing/2014/main" id="{EA814851-82A9-42A9-A7F3-66036C8A6850}"/>
                  </a:ext>
                </a:extLst>
              </p:cNvPr>
              <p:cNvSpPr>
                <a:spLocks noEditPoints="1"/>
              </p:cNvSpPr>
              <p:nvPr/>
            </p:nvSpPr>
            <p:spPr bwMode="auto">
              <a:xfrm>
                <a:off x="8720911" y="2179957"/>
                <a:ext cx="192962" cy="256880"/>
              </a:xfrm>
              <a:custGeom>
                <a:avLst/>
                <a:gdLst>
                  <a:gd name="T0" fmla="*/ 54 w 108"/>
                  <a:gd name="T1" fmla="*/ 144 h 144"/>
                  <a:gd name="T2" fmla="*/ 50 w 108"/>
                  <a:gd name="T3" fmla="*/ 142 h 144"/>
                  <a:gd name="T4" fmla="*/ 0 w 108"/>
                  <a:gd name="T5" fmla="*/ 54 h 144"/>
                  <a:gd name="T6" fmla="*/ 54 w 108"/>
                  <a:gd name="T7" fmla="*/ 0 h 144"/>
                  <a:gd name="T8" fmla="*/ 108 w 108"/>
                  <a:gd name="T9" fmla="*/ 54 h 144"/>
                  <a:gd name="T10" fmla="*/ 59 w 108"/>
                  <a:gd name="T11" fmla="*/ 142 h 144"/>
                  <a:gd name="T12" fmla="*/ 54 w 108"/>
                  <a:gd name="T13" fmla="*/ 144 h 144"/>
                  <a:gd name="T14" fmla="*/ 54 w 108"/>
                  <a:gd name="T15" fmla="*/ 12 h 144"/>
                  <a:gd name="T16" fmla="*/ 12 w 108"/>
                  <a:gd name="T17" fmla="*/ 54 h 144"/>
                  <a:gd name="T18" fmla="*/ 54 w 108"/>
                  <a:gd name="T19" fmla="*/ 129 h 144"/>
                  <a:gd name="T20" fmla="*/ 96 w 108"/>
                  <a:gd name="T21" fmla="*/ 54 h 144"/>
                  <a:gd name="T22" fmla="*/ 54 w 108"/>
                  <a:gd name="T23"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144">
                    <a:moveTo>
                      <a:pt x="54" y="144"/>
                    </a:moveTo>
                    <a:cubicBezTo>
                      <a:pt x="53" y="144"/>
                      <a:pt x="51" y="143"/>
                      <a:pt x="50" y="142"/>
                    </a:cubicBezTo>
                    <a:cubicBezTo>
                      <a:pt x="45" y="136"/>
                      <a:pt x="0" y="82"/>
                      <a:pt x="0" y="54"/>
                    </a:cubicBezTo>
                    <a:cubicBezTo>
                      <a:pt x="0" y="24"/>
                      <a:pt x="25" y="0"/>
                      <a:pt x="54" y="0"/>
                    </a:cubicBezTo>
                    <a:cubicBezTo>
                      <a:pt x="84" y="0"/>
                      <a:pt x="108" y="24"/>
                      <a:pt x="108" y="54"/>
                    </a:cubicBezTo>
                    <a:cubicBezTo>
                      <a:pt x="108" y="82"/>
                      <a:pt x="64" y="136"/>
                      <a:pt x="59" y="142"/>
                    </a:cubicBezTo>
                    <a:cubicBezTo>
                      <a:pt x="58" y="143"/>
                      <a:pt x="56" y="144"/>
                      <a:pt x="54" y="144"/>
                    </a:cubicBezTo>
                    <a:close/>
                    <a:moveTo>
                      <a:pt x="54" y="12"/>
                    </a:moveTo>
                    <a:cubicBezTo>
                      <a:pt x="31" y="12"/>
                      <a:pt x="12" y="31"/>
                      <a:pt x="12" y="54"/>
                    </a:cubicBezTo>
                    <a:cubicBezTo>
                      <a:pt x="12" y="72"/>
                      <a:pt x="40" y="110"/>
                      <a:pt x="54" y="129"/>
                    </a:cubicBezTo>
                    <a:cubicBezTo>
                      <a:pt x="69" y="110"/>
                      <a:pt x="96" y="72"/>
                      <a:pt x="96" y="54"/>
                    </a:cubicBezTo>
                    <a:cubicBezTo>
                      <a:pt x="96" y="31"/>
                      <a:pt x="78" y="12"/>
                      <a:pt x="54" y="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dirty="0"/>
              </a:p>
            </p:txBody>
          </p:sp>
          <p:sp>
            <p:nvSpPr>
              <p:cNvPr id="285" name="Freeform 59">
                <a:extLst>
                  <a:ext uri="{FF2B5EF4-FFF2-40B4-BE49-F238E27FC236}">
                    <a16:creationId xmlns:a16="http://schemas.microsoft.com/office/drawing/2014/main" id="{5D81E6B3-761C-4234-98AE-8BE3B3DEACB2}"/>
                  </a:ext>
                </a:extLst>
              </p:cNvPr>
              <p:cNvSpPr>
                <a:spLocks noEditPoints="1"/>
              </p:cNvSpPr>
              <p:nvPr/>
            </p:nvSpPr>
            <p:spPr bwMode="auto">
              <a:xfrm>
                <a:off x="8775181" y="2233021"/>
                <a:ext cx="85627" cy="85627"/>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8" y="0"/>
                      <a:pt x="48" y="11"/>
                      <a:pt x="48" y="24"/>
                    </a:cubicBezTo>
                    <a:cubicBezTo>
                      <a:pt x="48" y="37"/>
                      <a:pt x="38"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dirty="0"/>
              </a:p>
            </p:txBody>
          </p:sp>
          <p:sp>
            <p:nvSpPr>
              <p:cNvPr id="286" name="Freeform 60">
                <a:extLst>
                  <a:ext uri="{FF2B5EF4-FFF2-40B4-BE49-F238E27FC236}">
                    <a16:creationId xmlns:a16="http://schemas.microsoft.com/office/drawing/2014/main" id="{7A14C5F0-0E52-4936-B70A-D015A4CC6198}"/>
                  </a:ext>
                </a:extLst>
              </p:cNvPr>
              <p:cNvSpPr>
                <a:spLocks/>
              </p:cNvSpPr>
              <p:nvPr/>
            </p:nvSpPr>
            <p:spPr bwMode="auto">
              <a:xfrm>
                <a:off x="8485738" y="1931519"/>
                <a:ext cx="256881" cy="377481"/>
              </a:xfrm>
              <a:custGeom>
                <a:avLst/>
                <a:gdLst>
                  <a:gd name="T0" fmla="*/ 66 w 144"/>
                  <a:gd name="T1" fmla="*/ 211 h 211"/>
                  <a:gd name="T2" fmla="*/ 60 w 144"/>
                  <a:gd name="T3" fmla="*/ 205 h 211"/>
                  <a:gd name="T4" fmla="*/ 60 w 144"/>
                  <a:gd name="T5" fmla="*/ 178 h 211"/>
                  <a:gd name="T6" fmla="*/ 3 w 144"/>
                  <a:gd name="T7" fmla="*/ 132 h 211"/>
                  <a:gd name="T8" fmla="*/ 1 w 144"/>
                  <a:gd name="T9" fmla="*/ 124 h 211"/>
                  <a:gd name="T10" fmla="*/ 28 w 144"/>
                  <a:gd name="T11" fmla="*/ 82 h 211"/>
                  <a:gd name="T12" fmla="*/ 33 w 144"/>
                  <a:gd name="T13" fmla="*/ 79 h 211"/>
                  <a:gd name="T14" fmla="*/ 96 w 144"/>
                  <a:gd name="T15" fmla="*/ 79 h 211"/>
                  <a:gd name="T16" fmla="*/ 96 w 144"/>
                  <a:gd name="T17" fmla="*/ 52 h 211"/>
                  <a:gd name="T18" fmla="*/ 81 w 144"/>
                  <a:gd name="T19" fmla="*/ 42 h 211"/>
                  <a:gd name="T20" fmla="*/ 78 w 144"/>
                  <a:gd name="T21" fmla="*/ 37 h 211"/>
                  <a:gd name="T22" fmla="*/ 81 w 144"/>
                  <a:gd name="T23" fmla="*/ 32 h 211"/>
                  <a:gd name="T24" fmla="*/ 134 w 144"/>
                  <a:gd name="T25" fmla="*/ 2 h 211"/>
                  <a:gd name="T26" fmla="*/ 142 w 144"/>
                  <a:gd name="T27" fmla="*/ 4 h 211"/>
                  <a:gd name="T28" fmla="*/ 140 w 144"/>
                  <a:gd name="T29" fmla="*/ 12 h 211"/>
                  <a:gd name="T30" fmla="*/ 96 w 144"/>
                  <a:gd name="T31" fmla="*/ 38 h 211"/>
                  <a:gd name="T32" fmla="*/ 106 w 144"/>
                  <a:gd name="T33" fmla="*/ 44 h 211"/>
                  <a:gd name="T34" fmla="*/ 108 w 144"/>
                  <a:gd name="T35" fmla="*/ 49 h 211"/>
                  <a:gd name="T36" fmla="*/ 108 w 144"/>
                  <a:gd name="T37" fmla="*/ 85 h 211"/>
                  <a:gd name="T38" fmla="*/ 102 w 144"/>
                  <a:gd name="T39" fmla="*/ 91 h 211"/>
                  <a:gd name="T40" fmla="*/ 37 w 144"/>
                  <a:gd name="T41" fmla="*/ 91 h 211"/>
                  <a:gd name="T42" fmla="*/ 14 w 144"/>
                  <a:gd name="T43" fmla="*/ 126 h 211"/>
                  <a:gd name="T44" fmla="*/ 70 w 144"/>
                  <a:gd name="T45" fmla="*/ 171 h 211"/>
                  <a:gd name="T46" fmla="*/ 72 w 144"/>
                  <a:gd name="T47" fmla="*/ 175 h 211"/>
                  <a:gd name="T48" fmla="*/ 72 w 144"/>
                  <a:gd name="T49" fmla="*/ 205 h 211"/>
                  <a:gd name="T50" fmla="*/ 66 w 144"/>
                  <a:gd name="T51"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211">
                    <a:moveTo>
                      <a:pt x="66" y="211"/>
                    </a:moveTo>
                    <a:cubicBezTo>
                      <a:pt x="63" y="211"/>
                      <a:pt x="60" y="209"/>
                      <a:pt x="60" y="205"/>
                    </a:cubicBezTo>
                    <a:cubicBezTo>
                      <a:pt x="60" y="178"/>
                      <a:pt x="60" y="178"/>
                      <a:pt x="60" y="178"/>
                    </a:cubicBezTo>
                    <a:cubicBezTo>
                      <a:pt x="3" y="132"/>
                      <a:pt x="3" y="132"/>
                      <a:pt x="3" y="132"/>
                    </a:cubicBezTo>
                    <a:cubicBezTo>
                      <a:pt x="0" y="130"/>
                      <a:pt x="0" y="127"/>
                      <a:pt x="1" y="124"/>
                    </a:cubicBezTo>
                    <a:cubicBezTo>
                      <a:pt x="28" y="82"/>
                      <a:pt x="28" y="82"/>
                      <a:pt x="28" y="82"/>
                    </a:cubicBezTo>
                    <a:cubicBezTo>
                      <a:pt x="30" y="80"/>
                      <a:pt x="31" y="79"/>
                      <a:pt x="33" y="79"/>
                    </a:cubicBezTo>
                    <a:cubicBezTo>
                      <a:pt x="96" y="79"/>
                      <a:pt x="96" y="79"/>
                      <a:pt x="96" y="79"/>
                    </a:cubicBezTo>
                    <a:cubicBezTo>
                      <a:pt x="96" y="52"/>
                      <a:pt x="96" y="52"/>
                      <a:pt x="96" y="52"/>
                    </a:cubicBezTo>
                    <a:cubicBezTo>
                      <a:pt x="81" y="42"/>
                      <a:pt x="81" y="42"/>
                      <a:pt x="81" y="42"/>
                    </a:cubicBezTo>
                    <a:cubicBezTo>
                      <a:pt x="79" y="41"/>
                      <a:pt x="78" y="39"/>
                      <a:pt x="78" y="37"/>
                    </a:cubicBezTo>
                    <a:cubicBezTo>
                      <a:pt x="79" y="35"/>
                      <a:pt x="80" y="33"/>
                      <a:pt x="81" y="32"/>
                    </a:cubicBezTo>
                    <a:cubicBezTo>
                      <a:pt x="134" y="2"/>
                      <a:pt x="134" y="2"/>
                      <a:pt x="134" y="2"/>
                    </a:cubicBezTo>
                    <a:cubicBezTo>
                      <a:pt x="137" y="0"/>
                      <a:pt x="140" y="1"/>
                      <a:pt x="142" y="4"/>
                    </a:cubicBezTo>
                    <a:cubicBezTo>
                      <a:pt x="144" y="7"/>
                      <a:pt x="143" y="11"/>
                      <a:pt x="140" y="12"/>
                    </a:cubicBezTo>
                    <a:cubicBezTo>
                      <a:pt x="96" y="38"/>
                      <a:pt x="96" y="38"/>
                      <a:pt x="96" y="38"/>
                    </a:cubicBezTo>
                    <a:cubicBezTo>
                      <a:pt x="106" y="44"/>
                      <a:pt x="106" y="44"/>
                      <a:pt x="106" y="44"/>
                    </a:cubicBezTo>
                    <a:cubicBezTo>
                      <a:pt x="107" y="45"/>
                      <a:pt x="108" y="47"/>
                      <a:pt x="108" y="49"/>
                    </a:cubicBezTo>
                    <a:cubicBezTo>
                      <a:pt x="108" y="85"/>
                      <a:pt x="108" y="85"/>
                      <a:pt x="108" y="85"/>
                    </a:cubicBezTo>
                    <a:cubicBezTo>
                      <a:pt x="108" y="89"/>
                      <a:pt x="106" y="91"/>
                      <a:pt x="102" y="91"/>
                    </a:cubicBezTo>
                    <a:cubicBezTo>
                      <a:pt x="37" y="91"/>
                      <a:pt x="37" y="91"/>
                      <a:pt x="37" y="91"/>
                    </a:cubicBezTo>
                    <a:cubicBezTo>
                      <a:pt x="14" y="126"/>
                      <a:pt x="14" y="126"/>
                      <a:pt x="14" y="126"/>
                    </a:cubicBezTo>
                    <a:cubicBezTo>
                      <a:pt x="70" y="171"/>
                      <a:pt x="70" y="171"/>
                      <a:pt x="70" y="171"/>
                    </a:cubicBezTo>
                    <a:cubicBezTo>
                      <a:pt x="72" y="172"/>
                      <a:pt x="72" y="173"/>
                      <a:pt x="72" y="175"/>
                    </a:cubicBezTo>
                    <a:cubicBezTo>
                      <a:pt x="72" y="205"/>
                      <a:pt x="72" y="205"/>
                      <a:pt x="72" y="205"/>
                    </a:cubicBezTo>
                    <a:cubicBezTo>
                      <a:pt x="72" y="209"/>
                      <a:pt x="70" y="211"/>
                      <a:pt x="66" y="21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dirty="0"/>
              </a:p>
            </p:txBody>
          </p:sp>
          <p:sp>
            <p:nvSpPr>
              <p:cNvPr id="287" name="Freeform 61">
                <a:extLst>
                  <a:ext uri="{FF2B5EF4-FFF2-40B4-BE49-F238E27FC236}">
                    <a16:creationId xmlns:a16="http://schemas.microsoft.com/office/drawing/2014/main" id="{19CC4DD2-5F7C-44B4-97EF-1B0550D8CDE8}"/>
                  </a:ext>
                </a:extLst>
              </p:cNvPr>
              <p:cNvSpPr>
                <a:spLocks/>
              </p:cNvSpPr>
              <p:nvPr/>
            </p:nvSpPr>
            <p:spPr bwMode="auto">
              <a:xfrm>
                <a:off x="8716087" y="2001468"/>
                <a:ext cx="135074" cy="130249"/>
              </a:xfrm>
              <a:custGeom>
                <a:avLst/>
                <a:gdLst>
                  <a:gd name="T0" fmla="*/ 6 w 76"/>
                  <a:gd name="T1" fmla="*/ 73 h 73"/>
                  <a:gd name="T2" fmla="*/ 2 w 76"/>
                  <a:gd name="T3" fmla="*/ 71 h 73"/>
                  <a:gd name="T4" fmla="*/ 2 w 76"/>
                  <a:gd name="T5" fmla="*/ 63 h 73"/>
                  <a:gd name="T6" fmla="*/ 23 w 76"/>
                  <a:gd name="T7" fmla="*/ 42 h 73"/>
                  <a:gd name="T8" fmla="*/ 27 w 76"/>
                  <a:gd name="T9" fmla="*/ 40 h 73"/>
                  <a:gd name="T10" fmla="*/ 45 w 76"/>
                  <a:gd name="T11" fmla="*/ 40 h 73"/>
                  <a:gd name="T12" fmla="*/ 64 w 76"/>
                  <a:gd name="T13" fmla="*/ 4 h 73"/>
                  <a:gd name="T14" fmla="*/ 72 w 76"/>
                  <a:gd name="T15" fmla="*/ 2 h 73"/>
                  <a:gd name="T16" fmla="*/ 75 w 76"/>
                  <a:gd name="T17" fmla="*/ 10 h 73"/>
                  <a:gd name="T18" fmla="*/ 54 w 76"/>
                  <a:gd name="T19" fmla="*/ 49 h 73"/>
                  <a:gd name="T20" fmla="*/ 48 w 76"/>
                  <a:gd name="T21" fmla="*/ 52 h 73"/>
                  <a:gd name="T22" fmla="*/ 30 w 76"/>
                  <a:gd name="T23" fmla="*/ 52 h 73"/>
                  <a:gd name="T24" fmla="*/ 11 w 76"/>
                  <a:gd name="T25" fmla="*/ 71 h 73"/>
                  <a:gd name="T26" fmla="*/ 6 w 76"/>
                  <a:gd name="T2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73">
                    <a:moveTo>
                      <a:pt x="6" y="73"/>
                    </a:moveTo>
                    <a:cubicBezTo>
                      <a:pt x="5" y="73"/>
                      <a:pt x="3" y="73"/>
                      <a:pt x="2" y="71"/>
                    </a:cubicBezTo>
                    <a:cubicBezTo>
                      <a:pt x="0" y="69"/>
                      <a:pt x="0" y="65"/>
                      <a:pt x="2" y="63"/>
                    </a:cubicBezTo>
                    <a:cubicBezTo>
                      <a:pt x="23" y="42"/>
                      <a:pt x="23" y="42"/>
                      <a:pt x="23" y="42"/>
                    </a:cubicBezTo>
                    <a:cubicBezTo>
                      <a:pt x="24" y="41"/>
                      <a:pt x="26" y="40"/>
                      <a:pt x="27" y="40"/>
                    </a:cubicBezTo>
                    <a:cubicBezTo>
                      <a:pt x="45" y="40"/>
                      <a:pt x="45" y="40"/>
                      <a:pt x="45" y="40"/>
                    </a:cubicBezTo>
                    <a:cubicBezTo>
                      <a:pt x="64" y="4"/>
                      <a:pt x="64" y="4"/>
                      <a:pt x="64" y="4"/>
                    </a:cubicBezTo>
                    <a:cubicBezTo>
                      <a:pt x="66" y="2"/>
                      <a:pt x="69" y="0"/>
                      <a:pt x="72" y="2"/>
                    </a:cubicBezTo>
                    <a:cubicBezTo>
                      <a:pt x="75" y="4"/>
                      <a:pt x="76" y="7"/>
                      <a:pt x="75" y="10"/>
                    </a:cubicBezTo>
                    <a:cubicBezTo>
                      <a:pt x="54" y="49"/>
                      <a:pt x="54" y="49"/>
                      <a:pt x="54" y="49"/>
                    </a:cubicBezTo>
                    <a:cubicBezTo>
                      <a:pt x="53" y="51"/>
                      <a:pt x="51" y="52"/>
                      <a:pt x="48" y="52"/>
                    </a:cubicBezTo>
                    <a:cubicBezTo>
                      <a:pt x="30" y="52"/>
                      <a:pt x="30" y="52"/>
                      <a:pt x="30" y="52"/>
                    </a:cubicBezTo>
                    <a:cubicBezTo>
                      <a:pt x="11" y="71"/>
                      <a:pt x="11" y="71"/>
                      <a:pt x="11" y="71"/>
                    </a:cubicBezTo>
                    <a:cubicBezTo>
                      <a:pt x="10" y="73"/>
                      <a:pt x="8" y="73"/>
                      <a:pt x="6"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dirty="0"/>
              </a:p>
            </p:txBody>
          </p:sp>
        </p:grpSp>
        <p:sp>
          <p:nvSpPr>
            <p:cNvPr id="35" name="Rectangle 34">
              <a:extLst>
                <a:ext uri="{FF2B5EF4-FFF2-40B4-BE49-F238E27FC236}">
                  <a16:creationId xmlns:a16="http://schemas.microsoft.com/office/drawing/2014/main" id="{A95CBFBA-090C-4EDF-B7CF-B9A6AA43151B}"/>
                </a:ext>
                <a:ext uri="{C183D7F6-B498-43B3-948B-1728B52AA6E4}">
                  <adec:decorative xmlns:adec="http://schemas.microsoft.com/office/drawing/2017/decorative" val="1"/>
                </a:ext>
              </a:extLst>
            </p:cNvPr>
            <p:cNvSpPr/>
            <p:nvPr userDrawn="1"/>
          </p:nvSpPr>
          <p:spPr>
            <a:xfrm>
              <a:off x="9272534" y="1577830"/>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211" name="Group 265" descr="Globe">
              <a:extLst>
                <a:ext uri="{FF2B5EF4-FFF2-40B4-BE49-F238E27FC236}">
                  <a16:creationId xmlns:a16="http://schemas.microsoft.com/office/drawing/2014/main" id="{6B8F6C2F-862E-48DE-A0FD-31F3C3ED7232}"/>
                </a:ext>
                <a:ext uri="{C183D7F6-B498-43B3-948B-1728B52AA6E4}">
                  <adec:decorative xmlns:adec="http://schemas.microsoft.com/office/drawing/2017/decorative" val="0"/>
                </a:ext>
              </a:extLst>
            </p:cNvPr>
            <p:cNvGrpSpPr>
              <a:grpSpLocks noChangeAspect="1"/>
            </p:cNvGrpSpPr>
            <p:nvPr/>
          </p:nvGrpSpPr>
          <p:grpSpPr bwMode="auto">
            <a:xfrm>
              <a:off x="9686502" y="1940477"/>
              <a:ext cx="477838" cy="478960"/>
              <a:chOff x="4480" y="2998"/>
              <a:chExt cx="426" cy="427"/>
            </a:xfrm>
            <a:solidFill>
              <a:schemeClr val="accent1"/>
            </a:solidFill>
          </p:grpSpPr>
          <p:sp>
            <p:nvSpPr>
              <p:cNvPr id="212" name="Freeform 266">
                <a:extLst>
                  <a:ext uri="{FF2B5EF4-FFF2-40B4-BE49-F238E27FC236}">
                    <a16:creationId xmlns:a16="http://schemas.microsoft.com/office/drawing/2014/main" id="{0276BE96-E0B2-48B1-A9E1-154C5C461A52}"/>
                  </a:ext>
                </a:extLst>
              </p:cNvPr>
              <p:cNvSpPr>
                <a:spLocks noEditPoints="1"/>
              </p:cNvSpPr>
              <p:nvPr/>
            </p:nvSpPr>
            <p:spPr bwMode="auto">
              <a:xfrm>
                <a:off x="4480" y="2998"/>
                <a:ext cx="426" cy="427"/>
              </a:xfrm>
              <a:custGeom>
                <a:avLst/>
                <a:gdLst>
                  <a:gd name="T0" fmla="*/ 144 w 288"/>
                  <a:gd name="T1" fmla="*/ 288 h 288"/>
                  <a:gd name="T2" fmla="*/ 0 w 288"/>
                  <a:gd name="T3" fmla="*/ 141 h 288"/>
                  <a:gd name="T4" fmla="*/ 138 w 288"/>
                  <a:gd name="T5" fmla="*/ 0 h 288"/>
                  <a:gd name="T6" fmla="*/ 144 w 288"/>
                  <a:gd name="T7" fmla="*/ 0 h 288"/>
                  <a:gd name="T8" fmla="*/ 288 w 288"/>
                  <a:gd name="T9" fmla="*/ 143 h 288"/>
                  <a:gd name="T10" fmla="*/ 144 w 288"/>
                  <a:gd name="T11" fmla="*/ 288 h 288"/>
                  <a:gd name="T12" fmla="*/ 144 w 288"/>
                  <a:gd name="T13" fmla="*/ 12 h 288"/>
                  <a:gd name="T14" fmla="*/ 139 w 288"/>
                  <a:gd name="T15" fmla="*/ 12 h 288"/>
                  <a:gd name="T16" fmla="*/ 12 w 288"/>
                  <a:gd name="T17" fmla="*/ 141 h 288"/>
                  <a:gd name="T18" fmla="*/ 144 w 288"/>
                  <a:gd name="T19" fmla="*/ 276 h 288"/>
                  <a:gd name="T20" fmla="*/ 276 w 288"/>
                  <a:gd name="T21" fmla="*/ 143 h 288"/>
                  <a:gd name="T22" fmla="*/ 144 w 288"/>
                  <a:gd name="T23"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288">
                    <a:moveTo>
                      <a:pt x="144" y="288"/>
                    </a:moveTo>
                    <a:cubicBezTo>
                      <a:pt x="65" y="288"/>
                      <a:pt x="0" y="222"/>
                      <a:pt x="0" y="141"/>
                    </a:cubicBezTo>
                    <a:cubicBezTo>
                      <a:pt x="0" y="64"/>
                      <a:pt x="60" y="3"/>
                      <a:pt x="138" y="0"/>
                    </a:cubicBezTo>
                    <a:cubicBezTo>
                      <a:pt x="140" y="0"/>
                      <a:pt x="142" y="0"/>
                      <a:pt x="144" y="0"/>
                    </a:cubicBezTo>
                    <a:cubicBezTo>
                      <a:pt x="224" y="0"/>
                      <a:pt x="288" y="64"/>
                      <a:pt x="288" y="143"/>
                    </a:cubicBezTo>
                    <a:cubicBezTo>
                      <a:pt x="288" y="223"/>
                      <a:pt x="224" y="288"/>
                      <a:pt x="144" y="288"/>
                    </a:cubicBezTo>
                    <a:close/>
                    <a:moveTo>
                      <a:pt x="144" y="12"/>
                    </a:moveTo>
                    <a:cubicBezTo>
                      <a:pt x="143" y="12"/>
                      <a:pt x="141" y="12"/>
                      <a:pt x="139" y="12"/>
                    </a:cubicBezTo>
                    <a:cubicBezTo>
                      <a:pt x="67" y="15"/>
                      <a:pt x="12" y="70"/>
                      <a:pt x="12" y="141"/>
                    </a:cubicBezTo>
                    <a:cubicBezTo>
                      <a:pt x="12" y="215"/>
                      <a:pt x="71" y="276"/>
                      <a:pt x="144" y="276"/>
                    </a:cubicBezTo>
                    <a:cubicBezTo>
                      <a:pt x="217" y="276"/>
                      <a:pt x="276" y="216"/>
                      <a:pt x="276" y="143"/>
                    </a:cubicBezTo>
                    <a:cubicBezTo>
                      <a:pt x="276" y="71"/>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13" name="Freeform 267">
                <a:extLst>
                  <a:ext uri="{FF2B5EF4-FFF2-40B4-BE49-F238E27FC236}">
                    <a16:creationId xmlns:a16="http://schemas.microsoft.com/office/drawing/2014/main" id="{E514A1C0-D43E-476A-9974-C5949488E2BB}"/>
                  </a:ext>
                </a:extLst>
              </p:cNvPr>
              <p:cNvSpPr>
                <a:spLocks/>
              </p:cNvSpPr>
              <p:nvPr/>
            </p:nvSpPr>
            <p:spPr bwMode="auto">
              <a:xfrm>
                <a:off x="4569" y="3001"/>
                <a:ext cx="123" cy="419"/>
              </a:xfrm>
              <a:custGeom>
                <a:avLst/>
                <a:gdLst>
                  <a:gd name="T0" fmla="*/ 74 w 83"/>
                  <a:gd name="T1" fmla="*/ 283 h 283"/>
                  <a:gd name="T2" fmla="*/ 74 w 83"/>
                  <a:gd name="T3" fmla="*/ 0 h 283"/>
                  <a:gd name="T4" fmla="*/ 83 w 83"/>
                  <a:gd name="T5" fmla="*/ 8 h 283"/>
                  <a:gd name="T6" fmla="*/ 83 w 83"/>
                  <a:gd name="T7" fmla="*/ 276 h 283"/>
                  <a:gd name="T8" fmla="*/ 74 w 83"/>
                  <a:gd name="T9" fmla="*/ 283 h 283"/>
                </a:gdLst>
                <a:ahLst/>
                <a:cxnLst>
                  <a:cxn ang="0">
                    <a:pos x="T0" y="T1"/>
                  </a:cxn>
                  <a:cxn ang="0">
                    <a:pos x="T2" y="T3"/>
                  </a:cxn>
                  <a:cxn ang="0">
                    <a:pos x="T4" y="T5"/>
                  </a:cxn>
                  <a:cxn ang="0">
                    <a:pos x="T6" y="T7"/>
                  </a:cxn>
                  <a:cxn ang="0">
                    <a:pos x="T8" y="T9"/>
                  </a:cxn>
                </a:cxnLst>
                <a:rect l="0" t="0" r="r" b="b"/>
                <a:pathLst>
                  <a:path w="83" h="283">
                    <a:moveTo>
                      <a:pt x="74" y="283"/>
                    </a:moveTo>
                    <a:cubicBezTo>
                      <a:pt x="0" y="186"/>
                      <a:pt x="1" y="80"/>
                      <a:pt x="74" y="0"/>
                    </a:cubicBezTo>
                    <a:cubicBezTo>
                      <a:pt x="83" y="8"/>
                      <a:pt x="83" y="8"/>
                      <a:pt x="83" y="8"/>
                    </a:cubicBezTo>
                    <a:cubicBezTo>
                      <a:pt x="13" y="84"/>
                      <a:pt x="13" y="182"/>
                      <a:pt x="83" y="276"/>
                    </a:cubicBezTo>
                    <a:lnTo>
                      <a:pt x="74" y="2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14" name="Freeform 268">
                <a:extLst>
                  <a:ext uri="{FF2B5EF4-FFF2-40B4-BE49-F238E27FC236}">
                    <a16:creationId xmlns:a16="http://schemas.microsoft.com/office/drawing/2014/main" id="{10604423-FF2B-4BD3-9301-2F8BA29C47C1}"/>
                  </a:ext>
                </a:extLst>
              </p:cNvPr>
              <p:cNvSpPr>
                <a:spLocks/>
              </p:cNvSpPr>
              <p:nvPr/>
            </p:nvSpPr>
            <p:spPr bwMode="auto">
              <a:xfrm>
                <a:off x="4696" y="3001"/>
                <a:ext cx="123" cy="419"/>
              </a:xfrm>
              <a:custGeom>
                <a:avLst/>
                <a:gdLst>
                  <a:gd name="T0" fmla="*/ 9 w 83"/>
                  <a:gd name="T1" fmla="*/ 283 h 283"/>
                  <a:gd name="T2" fmla="*/ 0 w 83"/>
                  <a:gd name="T3" fmla="*/ 276 h 283"/>
                  <a:gd name="T4" fmla="*/ 0 w 83"/>
                  <a:gd name="T5" fmla="*/ 8 h 283"/>
                  <a:gd name="T6" fmla="*/ 9 w 83"/>
                  <a:gd name="T7" fmla="*/ 0 h 283"/>
                  <a:gd name="T8" fmla="*/ 9 w 83"/>
                  <a:gd name="T9" fmla="*/ 283 h 283"/>
                </a:gdLst>
                <a:ahLst/>
                <a:cxnLst>
                  <a:cxn ang="0">
                    <a:pos x="T0" y="T1"/>
                  </a:cxn>
                  <a:cxn ang="0">
                    <a:pos x="T2" y="T3"/>
                  </a:cxn>
                  <a:cxn ang="0">
                    <a:pos x="T4" y="T5"/>
                  </a:cxn>
                  <a:cxn ang="0">
                    <a:pos x="T6" y="T7"/>
                  </a:cxn>
                  <a:cxn ang="0">
                    <a:pos x="T8" y="T9"/>
                  </a:cxn>
                </a:cxnLst>
                <a:rect l="0" t="0" r="r" b="b"/>
                <a:pathLst>
                  <a:path w="83" h="283">
                    <a:moveTo>
                      <a:pt x="9" y="283"/>
                    </a:moveTo>
                    <a:cubicBezTo>
                      <a:pt x="0" y="276"/>
                      <a:pt x="0" y="276"/>
                      <a:pt x="0" y="276"/>
                    </a:cubicBezTo>
                    <a:cubicBezTo>
                      <a:pt x="70" y="182"/>
                      <a:pt x="70" y="84"/>
                      <a:pt x="0" y="8"/>
                    </a:cubicBezTo>
                    <a:cubicBezTo>
                      <a:pt x="9" y="0"/>
                      <a:pt x="9" y="0"/>
                      <a:pt x="9" y="0"/>
                    </a:cubicBezTo>
                    <a:cubicBezTo>
                      <a:pt x="82" y="80"/>
                      <a:pt x="83" y="186"/>
                      <a:pt x="9" y="2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15" name="Rectangle 269">
                <a:extLst>
                  <a:ext uri="{FF2B5EF4-FFF2-40B4-BE49-F238E27FC236}">
                    <a16:creationId xmlns:a16="http://schemas.microsoft.com/office/drawing/2014/main" id="{B418A2CA-FBEC-4F7F-A45A-B3A016C2D210}"/>
                  </a:ext>
                </a:extLst>
              </p:cNvPr>
              <p:cNvSpPr>
                <a:spLocks noChangeArrowheads="1"/>
              </p:cNvSpPr>
              <p:nvPr/>
            </p:nvSpPr>
            <p:spPr bwMode="auto">
              <a:xfrm>
                <a:off x="4516" y="3300"/>
                <a:ext cx="35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16" name="Rectangle 270">
                <a:extLst>
                  <a:ext uri="{FF2B5EF4-FFF2-40B4-BE49-F238E27FC236}">
                    <a16:creationId xmlns:a16="http://schemas.microsoft.com/office/drawing/2014/main" id="{71130C89-FB59-4F82-9581-EE9283D3E264}"/>
                  </a:ext>
                </a:extLst>
              </p:cNvPr>
              <p:cNvSpPr>
                <a:spLocks noChangeArrowheads="1"/>
              </p:cNvSpPr>
              <p:nvPr/>
            </p:nvSpPr>
            <p:spPr bwMode="auto">
              <a:xfrm>
                <a:off x="4523" y="3087"/>
                <a:ext cx="33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17" name="Rectangle 271">
                <a:extLst>
                  <a:ext uri="{FF2B5EF4-FFF2-40B4-BE49-F238E27FC236}">
                    <a16:creationId xmlns:a16="http://schemas.microsoft.com/office/drawing/2014/main" id="{44661BBC-B12D-4102-AEEE-B1201C8D663B}"/>
                  </a:ext>
                </a:extLst>
              </p:cNvPr>
              <p:cNvSpPr>
                <a:spLocks noChangeArrowheads="1"/>
              </p:cNvSpPr>
              <p:nvPr/>
            </p:nvSpPr>
            <p:spPr bwMode="auto">
              <a:xfrm>
                <a:off x="4489" y="3194"/>
                <a:ext cx="408"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sp>
          <p:nvSpPr>
            <p:cNvPr id="39" name="Rectangle 38">
              <a:extLst>
                <a:ext uri="{FF2B5EF4-FFF2-40B4-BE49-F238E27FC236}">
                  <a16:creationId xmlns:a16="http://schemas.microsoft.com/office/drawing/2014/main" id="{A3BFC341-C47C-4AAD-8371-6C6E61766376}"/>
                </a:ext>
                <a:ext uri="{C183D7F6-B498-43B3-948B-1728B52AA6E4}">
                  <adec:decorative xmlns:adec="http://schemas.microsoft.com/office/drawing/2017/decorative" val="1"/>
                </a:ext>
              </a:extLst>
            </p:cNvPr>
            <p:cNvSpPr/>
            <p:nvPr userDrawn="1"/>
          </p:nvSpPr>
          <p:spPr>
            <a:xfrm>
              <a:off x="10540361" y="1577830"/>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207" name="Group 140" descr="Pin Location">
              <a:extLst>
                <a:ext uri="{FF2B5EF4-FFF2-40B4-BE49-F238E27FC236}">
                  <a16:creationId xmlns:a16="http://schemas.microsoft.com/office/drawing/2014/main" id="{8966B338-E895-4D4E-9E75-8D3D9EC007E0}"/>
                </a:ext>
                <a:ext uri="{C183D7F6-B498-43B3-948B-1728B52AA6E4}">
                  <adec:decorative xmlns:adec="http://schemas.microsoft.com/office/drawing/2017/decorative" val="0"/>
                </a:ext>
              </a:extLst>
            </p:cNvPr>
            <p:cNvGrpSpPr>
              <a:grpSpLocks noChangeAspect="1"/>
            </p:cNvGrpSpPr>
            <p:nvPr/>
          </p:nvGrpSpPr>
          <p:grpSpPr bwMode="auto">
            <a:xfrm>
              <a:off x="10942164" y="1923077"/>
              <a:ext cx="513762" cy="513760"/>
              <a:chOff x="1560" y="3157"/>
              <a:chExt cx="426" cy="426"/>
            </a:xfrm>
            <a:solidFill>
              <a:schemeClr val="accent1"/>
            </a:solidFill>
          </p:grpSpPr>
          <p:sp>
            <p:nvSpPr>
              <p:cNvPr id="208" name="Freeform 141">
                <a:extLst>
                  <a:ext uri="{FF2B5EF4-FFF2-40B4-BE49-F238E27FC236}">
                    <a16:creationId xmlns:a16="http://schemas.microsoft.com/office/drawing/2014/main" id="{DCCF06FF-5E1B-485B-AA1D-9CEDC3F97FA4}"/>
                  </a:ext>
                </a:extLst>
              </p:cNvPr>
              <p:cNvSpPr>
                <a:spLocks noEditPoints="1"/>
              </p:cNvSpPr>
              <p:nvPr/>
            </p:nvSpPr>
            <p:spPr bwMode="auto">
              <a:xfrm>
                <a:off x="1702" y="3211"/>
                <a:ext cx="142" cy="141"/>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09" name="Freeform 142">
                <a:extLst>
                  <a:ext uri="{FF2B5EF4-FFF2-40B4-BE49-F238E27FC236}">
                    <a16:creationId xmlns:a16="http://schemas.microsoft.com/office/drawing/2014/main" id="{2A3463C8-8233-4CFF-A5A3-12AB3B1F0842}"/>
                  </a:ext>
                </a:extLst>
              </p:cNvPr>
              <p:cNvSpPr>
                <a:spLocks noEditPoints="1"/>
              </p:cNvSpPr>
              <p:nvPr/>
            </p:nvSpPr>
            <p:spPr bwMode="auto">
              <a:xfrm>
                <a:off x="1643" y="3157"/>
                <a:ext cx="262" cy="392"/>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10" name="Freeform 143">
                <a:extLst>
                  <a:ext uri="{FF2B5EF4-FFF2-40B4-BE49-F238E27FC236}">
                    <a16:creationId xmlns:a16="http://schemas.microsoft.com/office/drawing/2014/main" id="{851B3222-A303-42B7-A4F8-6030113A23E3}"/>
                  </a:ext>
                </a:extLst>
              </p:cNvPr>
              <p:cNvSpPr>
                <a:spLocks noEditPoints="1"/>
              </p:cNvSpPr>
              <p:nvPr/>
            </p:nvSpPr>
            <p:spPr bwMode="auto">
              <a:xfrm>
                <a:off x="1560" y="3499"/>
                <a:ext cx="426" cy="84"/>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sp>
          <p:nvSpPr>
            <p:cNvPr id="12" name="Rectangle 11">
              <a:extLst>
                <a:ext uri="{FF2B5EF4-FFF2-40B4-BE49-F238E27FC236}">
                  <a16:creationId xmlns:a16="http://schemas.microsoft.com/office/drawing/2014/main" id="{DD93D266-2145-4957-82BF-5AB2D23F6F96}"/>
                </a:ext>
                <a:ext uri="{C183D7F6-B498-43B3-948B-1728B52AA6E4}">
                  <adec:decorative xmlns:adec="http://schemas.microsoft.com/office/drawing/2017/decorative" val="1"/>
                </a:ext>
              </a:extLst>
            </p:cNvPr>
            <p:cNvSpPr/>
            <p:nvPr userDrawn="1"/>
          </p:nvSpPr>
          <p:spPr>
            <a:xfrm>
              <a:off x="380999" y="2761347"/>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78" name="Group 45" descr="Gears">
              <a:extLst>
                <a:ext uri="{FF2B5EF4-FFF2-40B4-BE49-F238E27FC236}">
                  <a16:creationId xmlns:a16="http://schemas.microsoft.com/office/drawing/2014/main" id="{994F5FD5-A849-4507-BA75-6409F4ABE5C2}"/>
                </a:ext>
                <a:ext uri="{C183D7F6-B498-43B3-948B-1728B52AA6E4}">
                  <adec:decorative xmlns:adec="http://schemas.microsoft.com/office/drawing/2017/decorative" val="0"/>
                </a:ext>
              </a:extLst>
            </p:cNvPr>
            <p:cNvGrpSpPr>
              <a:grpSpLocks noChangeAspect="1"/>
            </p:cNvGrpSpPr>
            <p:nvPr/>
          </p:nvGrpSpPr>
          <p:grpSpPr bwMode="auto">
            <a:xfrm>
              <a:off x="783204" y="3116889"/>
              <a:ext cx="481666" cy="481666"/>
              <a:chOff x="5507" y="439"/>
              <a:chExt cx="426" cy="426"/>
            </a:xfrm>
            <a:solidFill>
              <a:schemeClr val="accent1"/>
            </a:solidFill>
          </p:grpSpPr>
          <p:sp>
            <p:nvSpPr>
              <p:cNvPr id="79" name="Freeform 46">
                <a:extLst>
                  <a:ext uri="{FF2B5EF4-FFF2-40B4-BE49-F238E27FC236}">
                    <a16:creationId xmlns:a16="http://schemas.microsoft.com/office/drawing/2014/main" id="{B7357C91-BCDD-4476-9890-CBBEE2690CEB}"/>
                  </a:ext>
                </a:extLst>
              </p:cNvPr>
              <p:cNvSpPr>
                <a:spLocks noEditPoints="1"/>
              </p:cNvSpPr>
              <p:nvPr/>
            </p:nvSpPr>
            <p:spPr bwMode="auto">
              <a:xfrm>
                <a:off x="5596" y="652"/>
                <a:ext cx="124" cy="124"/>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8"/>
                      <a:pt x="19" y="0"/>
                      <a:pt x="42" y="0"/>
                    </a:cubicBezTo>
                    <a:cubicBezTo>
                      <a:pt x="66" y="0"/>
                      <a:pt x="84" y="18"/>
                      <a:pt x="84" y="42"/>
                    </a:cubicBezTo>
                    <a:cubicBezTo>
                      <a:pt x="84" y="65"/>
                      <a:pt x="66" y="84"/>
                      <a:pt x="42" y="84"/>
                    </a:cubicBezTo>
                    <a:close/>
                    <a:moveTo>
                      <a:pt x="42" y="12"/>
                    </a:moveTo>
                    <a:cubicBezTo>
                      <a:pt x="26" y="12"/>
                      <a:pt x="12" y="25"/>
                      <a:pt x="12" y="42"/>
                    </a:cubicBezTo>
                    <a:cubicBezTo>
                      <a:pt x="12" y="58"/>
                      <a:pt x="26" y="72"/>
                      <a:pt x="42" y="72"/>
                    </a:cubicBezTo>
                    <a:cubicBezTo>
                      <a:pt x="59" y="72"/>
                      <a:pt x="72" y="58"/>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0" name="Freeform 47">
                <a:extLst>
                  <a:ext uri="{FF2B5EF4-FFF2-40B4-BE49-F238E27FC236}">
                    <a16:creationId xmlns:a16="http://schemas.microsoft.com/office/drawing/2014/main" id="{F2A493E8-C574-4994-B268-3003E4D90F0D}"/>
                  </a:ext>
                </a:extLst>
              </p:cNvPr>
              <p:cNvSpPr>
                <a:spLocks noEditPoints="1"/>
              </p:cNvSpPr>
              <p:nvPr/>
            </p:nvSpPr>
            <p:spPr bwMode="auto">
              <a:xfrm>
                <a:off x="5809" y="492"/>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1" name="Freeform 48">
                <a:extLst>
                  <a:ext uri="{FF2B5EF4-FFF2-40B4-BE49-F238E27FC236}">
                    <a16:creationId xmlns:a16="http://schemas.microsoft.com/office/drawing/2014/main" id="{55A2AA64-F168-48D8-8BEB-ADBEF3B965F8}"/>
                  </a:ext>
                </a:extLst>
              </p:cNvPr>
              <p:cNvSpPr>
                <a:spLocks noEditPoints="1"/>
              </p:cNvSpPr>
              <p:nvPr/>
            </p:nvSpPr>
            <p:spPr bwMode="auto">
              <a:xfrm>
                <a:off x="5507" y="563"/>
                <a:ext cx="302" cy="302"/>
              </a:xfrm>
              <a:custGeom>
                <a:avLst/>
                <a:gdLst>
                  <a:gd name="T0" fmla="*/ 79 w 204"/>
                  <a:gd name="T1" fmla="*/ 204 h 204"/>
                  <a:gd name="T2" fmla="*/ 73 w 204"/>
                  <a:gd name="T3" fmla="*/ 180 h 204"/>
                  <a:gd name="T4" fmla="*/ 34 w 204"/>
                  <a:gd name="T5" fmla="*/ 176 h 204"/>
                  <a:gd name="T6" fmla="*/ 2 w 204"/>
                  <a:gd name="T7" fmla="*/ 132 h 204"/>
                  <a:gd name="T8" fmla="*/ 19 w 204"/>
                  <a:gd name="T9" fmla="*/ 115 h 204"/>
                  <a:gd name="T10" fmla="*/ 19 w 204"/>
                  <a:gd name="T11" fmla="*/ 88 h 204"/>
                  <a:gd name="T12" fmla="*/ 2 w 204"/>
                  <a:gd name="T13" fmla="*/ 76 h 204"/>
                  <a:gd name="T14" fmla="*/ 26 w 204"/>
                  <a:gd name="T15" fmla="*/ 30 h 204"/>
                  <a:gd name="T16" fmla="*/ 50 w 204"/>
                  <a:gd name="T17" fmla="*/ 36 h 204"/>
                  <a:gd name="T18" fmla="*/ 73 w 204"/>
                  <a:gd name="T19" fmla="*/ 6 h 204"/>
                  <a:gd name="T20" fmla="*/ 127 w 204"/>
                  <a:gd name="T21" fmla="*/ 0 h 204"/>
                  <a:gd name="T22" fmla="*/ 133 w 204"/>
                  <a:gd name="T23" fmla="*/ 23 h 204"/>
                  <a:gd name="T24" fmla="*/ 170 w 204"/>
                  <a:gd name="T25" fmla="*/ 28 h 204"/>
                  <a:gd name="T26" fmla="*/ 179 w 204"/>
                  <a:gd name="T27" fmla="*/ 30 h 204"/>
                  <a:gd name="T28" fmla="*/ 200 w 204"/>
                  <a:gd name="T29" fmla="*/ 80 h 204"/>
                  <a:gd name="T30" fmla="*/ 186 w 204"/>
                  <a:gd name="T31" fmla="*/ 102 h 204"/>
                  <a:gd name="T32" fmla="*/ 201 w 204"/>
                  <a:gd name="T33" fmla="*/ 124 h 204"/>
                  <a:gd name="T34" fmla="*/ 179 w 204"/>
                  <a:gd name="T35" fmla="*/ 173 h 204"/>
                  <a:gd name="T36" fmla="*/ 171 w 204"/>
                  <a:gd name="T37" fmla="*/ 176 h 204"/>
                  <a:gd name="T38" fmla="*/ 133 w 204"/>
                  <a:gd name="T39" fmla="*/ 180 h 204"/>
                  <a:gd name="T40" fmla="*/ 127 w 204"/>
                  <a:gd name="T41" fmla="*/ 204 h 204"/>
                  <a:gd name="T42" fmla="*/ 121 w 204"/>
                  <a:gd name="T43" fmla="*/ 192 h 204"/>
                  <a:gd name="T44" fmla="*/ 126 w 204"/>
                  <a:gd name="T45" fmla="*/ 170 h 204"/>
                  <a:gd name="T46" fmla="*/ 158 w 204"/>
                  <a:gd name="T47" fmla="*/ 154 h 204"/>
                  <a:gd name="T48" fmla="*/ 189 w 204"/>
                  <a:gd name="T49" fmla="*/ 131 h 204"/>
                  <a:gd name="T50" fmla="*/ 173 w 204"/>
                  <a:gd name="T51" fmla="*/ 117 h 204"/>
                  <a:gd name="T52" fmla="*/ 173 w 204"/>
                  <a:gd name="T53" fmla="*/ 87 h 204"/>
                  <a:gd name="T54" fmla="*/ 189 w 204"/>
                  <a:gd name="T55" fmla="*/ 72 h 204"/>
                  <a:gd name="T56" fmla="*/ 158 w 204"/>
                  <a:gd name="T57" fmla="*/ 49 h 204"/>
                  <a:gd name="T58" fmla="*/ 126 w 204"/>
                  <a:gd name="T59" fmla="*/ 33 h 204"/>
                  <a:gd name="T60" fmla="*/ 121 w 204"/>
                  <a:gd name="T61" fmla="*/ 12 h 204"/>
                  <a:gd name="T62" fmla="*/ 85 w 204"/>
                  <a:gd name="T63" fmla="*/ 27 h 204"/>
                  <a:gd name="T64" fmla="*/ 55 w 204"/>
                  <a:gd name="T65" fmla="*/ 48 h 204"/>
                  <a:gd name="T66" fmla="*/ 34 w 204"/>
                  <a:gd name="T67" fmla="*/ 41 h 204"/>
                  <a:gd name="T68" fmla="*/ 29 w 204"/>
                  <a:gd name="T69" fmla="*/ 80 h 204"/>
                  <a:gd name="T70" fmla="*/ 30 w 204"/>
                  <a:gd name="T71" fmla="*/ 102 h 204"/>
                  <a:gd name="T72" fmla="*/ 29 w 204"/>
                  <a:gd name="T73" fmla="*/ 123 h 204"/>
                  <a:gd name="T74" fmla="*/ 33 w 204"/>
                  <a:gd name="T75" fmla="*/ 162 h 204"/>
                  <a:gd name="T76" fmla="*/ 55 w 204"/>
                  <a:gd name="T77" fmla="*/ 155 h 204"/>
                  <a:gd name="T78" fmla="*/ 85 w 204"/>
                  <a:gd name="T79" fmla="*/ 17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4" h="204">
                    <a:moveTo>
                      <a:pt x="127" y="204"/>
                    </a:moveTo>
                    <a:cubicBezTo>
                      <a:pt x="79" y="204"/>
                      <a:pt x="79" y="204"/>
                      <a:pt x="79" y="204"/>
                    </a:cubicBezTo>
                    <a:cubicBezTo>
                      <a:pt x="76" y="204"/>
                      <a:pt x="73" y="201"/>
                      <a:pt x="73" y="198"/>
                    </a:cubicBezTo>
                    <a:cubicBezTo>
                      <a:pt x="73" y="180"/>
                      <a:pt x="73" y="180"/>
                      <a:pt x="73" y="180"/>
                    </a:cubicBezTo>
                    <a:cubicBezTo>
                      <a:pt x="65" y="177"/>
                      <a:pt x="57" y="173"/>
                      <a:pt x="50" y="167"/>
                    </a:cubicBezTo>
                    <a:cubicBezTo>
                      <a:pt x="34" y="176"/>
                      <a:pt x="34" y="176"/>
                      <a:pt x="34" y="176"/>
                    </a:cubicBezTo>
                    <a:cubicBezTo>
                      <a:pt x="31" y="177"/>
                      <a:pt x="28" y="176"/>
                      <a:pt x="26" y="173"/>
                    </a:cubicBezTo>
                    <a:cubicBezTo>
                      <a:pt x="2" y="132"/>
                      <a:pt x="2" y="132"/>
                      <a:pt x="2" y="132"/>
                    </a:cubicBezTo>
                    <a:cubicBezTo>
                      <a:pt x="0" y="129"/>
                      <a:pt x="1" y="125"/>
                      <a:pt x="4" y="124"/>
                    </a:cubicBezTo>
                    <a:cubicBezTo>
                      <a:pt x="19" y="115"/>
                      <a:pt x="19" y="115"/>
                      <a:pt x="19" y="115"/>
                    </a:cubicBezTo>
                    <a:cubicBezTo>
                      <a:pt x="19" y="111"/>
                      <a:pt x="18" y="106"/>
                      <a:pt x="18" y="102"/>
                    </a:cubicBezTo>
                    <a:cubicBezTo>
                      <a:pt x="18" y="97"/>
                      <a:pt x="19" y="93"/>
                      <a:pt x="19" y="88"/>
                    </a:cubicBezTo>
                    <a:cubicBezTo>
                      <a:pt x="4" y="80"/>
                      <a:pt x="4" y="80"/>
                      <a:pt x="4" y="80"/>
                    </a:cubicBezTo>
                    <a:cubicBezTo>
                      <a:pt x="3" y="79"/>
                      <a:pt x="2" y="78"/>
                      <a:pt x="2" y="76"/>
                    </a:cubicBezTo>
                    <a:cubicBezTo>
                      <a:pt x="1" y="74"/>
                      <a:pt x="1" y="73"/>
                      <a:pt x="2" y="71"/>
                    </a:cubicBezTo>
                    <a:cubicBezTo>
                      <a:pt x="26" y="30"/>
                      <a:pt x="26" y="30"/>
                      <a:pt x="26" y="30"/>
                    </a:cubicBezTo>
                    <a:cubicBezTo>
                      <a:pt x="28" y="27"/>
                      <a:pt x="32" y="26"/>
                      <a:pt x="34" y="28"/>
                    </a:cubicBezTo>
                    <a:cubicBezTo>
                      <a:pt x="50" y="36"/>
                      <a:pt x="50" y="36"/>
                      <a:pt x="50" y="36"/>
                    </a:cubicBezTo>
                    <a:cubicBezTo>
                      <a:pt x="57" y="30"/>
                      <a:pt x="65" y="26"/>
                      <a:pt x="73" y="23"/>
                    </a:cubicBezTo>
                    <a:cubicBezTo>
                      <a:pt x="73" y="6"/>
                      <a:pt x="73" y="6"/>
                      <a:pt x="73" y="6"/>
                    </a:cubicBezTo>
                    <a:cubicBezTo>
                      <a:pt x="73" y="2"/>
                      <a:pt x="76" y="0"/>
                      <a:pt x="79" y="0"/>
                    </a:cubicBezTo>
                    <a:cubicBezTo>
                      <a:pt x="127" y="0"/>
                      <a:pt x="127" y="0"/>
                      <a:pt x="127" y="0"/>
                    </a:cubicBezTo>
                    <a:cubicBezTo>
                      <a:pt x="131" y="0"/>
                      <a:pt x="133" y="2"/>
                      <a:pt x="133" y="6"/>
                    </a:cubicBezTo>
                    <a:cubicBezTo>
                      <a:pt x="133" y="23"/>
                      <a:pt x="133" y="23"/>
                      <a:pt x="133" y="23"/>
                    </a:cubicBezTo>
                    <a:cubicBezTo>
                      <a:pt x="142" y="26"/>
                      <a:pt x="149" y="31"/>
                      <a:pt x="156" y="36"/>
                    </a:cubicBezTo>
                    <a:cubicBezTo>
                      <a:pt x="170" y="28"/>
                      <a:pt x="170" y="28"/>
                      <a:pt x="170" y="28"/>
                    </a:cubicBezTo>
                    <a:cubicBezTo>
                      <a:pt x="172" y="27"/>
                      <a:pt x="173" y="27"/>
                      <a:pt x="175" y="27"/>
                    </a:cubicBezTo>
                    <a:cubicBezTo>
                      <a:pt x="177" y="27"/>
                      <a:pt x="178" y="28"/>
                      <a:pt x="179" y="30"/>
                    </a:cubicBezTo>
                    <a:cubicBezTo>
                      <a:pt x="203" y="71"/>
                      <a:pt x="203" y="71"/>
                      <a:pt x="203" y="71"/>
                    </a:cubicBezTo>
                    <a:cubicBezTo>
                      <a:pt x="204" y="74"/>
                      <a:pt x="203" y="78"/>
                      <a:pt x="200" y="80"/>
                    </a:cubicBezTo>
                    <a:cubicBezTo>
                      <a:pt x="185" y="88"/>
                      <a:pt x="185" y="88"/>
                      <a:pt x="185" y="88"/>
                    </a:cubicBezTo>
                    <a:cubicBezTo>
                      <a:pt x="186" y="93"/>
                      <a:pt x="186" y="97"/>
                      <a:pt x="186" y="102"/>
                    </a:cubicBezTo>
                    <a:cubicBezTo>
                      <a:pt x="186" y="106"/>
                      <a:pt x="186" y="111"/>
                      <a:pt x="185" y="115"/>
                    </a:cubicBezTo>
                    <a:cubicBezTo>
                      <a:pt x="201" y="124"/>
                      <a:pt x="201" y="124"/>
                      <a:pt x="201" y="124"/>
                    </a:cubicBezTo>
                    <a:cubicBezTo>
                      <a:pt x="203" y="125"/>
                      <a:pt x="204" y="129"/>
                      <a:pt x="203" y="132"/>
                    </a:cubicBezTo>
                    <a:cubicBezTo>
                      <a:pt x="179" y="173"/>
                      <a:pt x="179" y="173"/>
                      <a:pt x="179" y="173"/>
                    </a:cubicBezTo>
                    <a:cubicBezTo>
                      <a:pt x="178" y="175"/>
                      <a:pt x="177" y="176"/>
                      <a:pt x="175" y="176"/>
                    </a:cubicBezTo>
                    <a:cubicBezTo>
                      <a:pt x="174" y="177"/>
                      <a:pt x="172" y="176"/>
                      <a:pt x="171" y="176"/>
                    </a:cubicBezTo>
                    <a:cubicBezTo>
                      <a:pt x="156" y="167"/>
                      <a:pt x="156" y="167"/>
                      <a:pt x="156" y="167"/>
                    </a:cubicBezTo>
                    <a:cubicBezTo>
                      <a:pt x="149" y="173"/>
                      <a:pt x="142" y="177"/>
                      <a:pt x="133" y="180"/>
                    </a:cubicBezTo>
                    <a:cubicBezTo>
                      <a:pt x="133" y="198"/>
                      <a:pt x="133" y="198"/>
                      <a:pt x="133" y="198"/>
                    </a:cubicBezTo>
                    <a:cubicBezTo>
                      <a:pt x="133" y="201"/>
                      <a:pt x="131" y="204"/>
                      <a:pt x="127" y="204"/>
                    </a:cubicBezTo>
                    <a:close/>
                    <a:moveTo>
                      <a:pt x="85" y="192"/>
                    </a:moveTo>
                    <a:cubicBezTo>
                      <a:pt x="121" y="192"/>
                      <a:pt x="121" y="192"/>
                      <a:pt x="121" y="192"/>
                    </a:cubicBezTo>
                    <a:cubicBezTo>
                      <a:pt x="121" y="176"/>
                      <a:pt x="121" y="176"/>
                      <a:pt x="121" y="176"/>
                    </a:cubicBezTo>
                    <a:cubicBezTo>
                      <a:pt x="121" y="173"/>
                      <a:pt x="123" y="171"/>
                      <a:pt x="126" y="170"/>
                    </a:cubicBezTo>
                    <a:cubicBezTo>
                      <a:pt x="136" y="167"/>
                      <a:pt x="143" y="162"/>
                      <a:pt x="151" y="155"/>
                    </a:cubicBezTo>
                    <a:cubicBezTo>
                      <a:pt x="153" y="153"/>
                      <a:pt x="156" y="153"/>
                      <a:pt x="158" y="154"/>
                    </a:cubicBezTo>
                    <a:cubicBezTo>
                      <a:pt x="172" y="162"/>
                      <a:pt x="172" y="162"/>
                      <a:pt x="172" y="162"/>
                    </a:cubicBezTo>
                    <a:cubicBezTo>
                      <a:pt x="189" y="131"/>
                      <a:pt x="189" y="131"/>
                      <a:pt x="189" y="131"/>
                    </a:cubicBezTo>
                    <a:cubicBezTo>
                      <a:pt x="176" y="123"/>
                      <a:pt x="176" y="123"/>
                      <a:pt x="176" y="123"/>
                    </a:cubicBezTo>
                    <a:cubicBezTo>
                      <a:pt x="173" y="122"/>
                      <a:pt x="172" y="119"/>
                      <a:pt x="173" y="117"/>
                    </a:cubicBezTo>
                    <a:cubicBezTo>
                      <a:pt x="174" y="112"/>
                      <a:pt x="174" y="107"/>
                      <a:pt x="174" y="102"/>
                    </a:cubicBezTo>
                    <a:cubicBezTo>
                      <a:pt x="174" y="97"/>
                      <a:pt x="174" y="92"/>
                      <a:pt x="173" y="87"/>
                    </a:cubicBezTo>
                    <a:cubicBezTo>
                      <a:pt x="172" y="84"/>
                      <a:pt x="173" y="81"/>
                      <a:pt x="176" y="80"/>
                    </a:cubicBezTo>
                    <a:cubicBezTo>
                      <a:pt x="189" y="72"/>
                      <a:pt x="189" y="72"/>
                      <a:pt x="189" y="72"/>
                    </a:cubicBezTo>
                    <a:cubicBezTo>
                      <a:pt x="171" y="41"/>
                      <a:pt x="171" y="41"/>
                      <a:pt x="171" y="41"/>
                    </a:cubicBezTo>
                    <a:cubicBezTo>
                      <a:pt x="158" y="49"/>
                      <a:pt x="158" y="49"/>
                      <a:pt x="158" y="49"/>
                    </a:cubicBezTo>
                    <a:cubicBezTo>
                      <a:pt x="156" y="50"/>
                      <a:pt x="153" y="50"/>
                      <a:pt x="151" y="48"/>
                    </a:cubicBezTo>
                    <a:cubicBezTo>
                      <a:pt x="143" y="41"/>
                      <a:pt x="136" y="36"/>
                      <a:pt x="126" y="33"/>
                    </a:cubicBezTo>
                    <a:cubicBezTo>
                      <a:pt x="123" y="33"/>
                      <a:pt x="121" y="30"/>
                      <a:pt x="121" y="27"/>
                    </a:cubicBezTo>
                    <a:cubicBezTo>
                      <a:pt x="121" y="12"/>
                      <a:pt x="121" y="12"/>
                      <a:pt x="121" y="12"/>
                    </a:cubicBezTo>
                    <a:cubicBezTo>
                      <a:pt x="85" y="12"/>
                      <a:pt x="85" y="12"/>
                      <a:pt x="85" y="12"/>
                    </a:cubicBezTo>
                    <a:cubicBezTo>
                      <a:pt x="85" y="27"/>
                      <a:pt x="85" y="27"/>
                      <a:pt x="85" y="27"/>
                    </a:cubicBezTo>
                    <a:cubicBezTo>
                      <a:pt x="85" y="30"/>
                      <a:pt x="83" y="32"/>
                      <a:pt x="81" y="33"/>
                    </a:cubicBezTo>
                    <a:cubicBezTo>
                      <a:pt x="71" y="36"/>
                      <a:pt x="63" y="40"/>
                      <a:pt x="55" y="48"/>
                    </a:cubicBezTo>
                    <a:cubicBezTo>
                      <a:pt x="53" y="50"/>
                      <a:pt x="50" y="50"/>
                      <a:pt x="48" y="49"/>
                    </a:cubicBezTo>
                    <a:cubicBezTo>
                      <a:pt x="34" y="41"/>
                      <a:pt x="34" y="41"/>
                      <a:pt x="34" y="41"/>
                    </a:cubicBezTo>
                    <a:cubicBezTo>
                      <a:pt x="16" y="72"/>
                      <a:pt x="16" y="72"/>
                      <a:pt x="16" y="72"/>
                    </a:cubicBezTo>
                    <a:cubicBezTo>
                      <a:pt x="29" y="80"/>
                      <a:pt x="29" y="80"/>
                      <a:pt x="29" y="80"/>
                    </a:cubicBezTo>
                    <a:cubicBezTo>
                      <a:pt x="31" y="81"/>
                      <a:pt x="33" y="84"/>
                      <a:pt x="32" y="87"/>
                    </a:cubicBezTo>
                    <a:cubicBezTo>
                      <a:pt x="31" y="92"/>
                      <a:pt x="30" y="97"/>
                      <a:pt x="30" y="102"/>
                    </a:cubicBezTo>
                    <a:cubicBezTo>
                      <a:pt x="30" y="107"/>
                      <a:pt x="31" y="112"/>
                      <a:pt x="32" y="117"/>
                    </a:cubicBezTo>
                    <a:cubicBezTo>
                      <a:pt x="33" y="119"/>
                      <a:pt x="31" y="122"/>
                      <a:pt x="29" y="123"/>
                    </a:cubicBezTo>
                    <a:cubicBezTo>
                      <a:pt x="15" y="131"/>
                      <a:pt x="15" y="131"/>
                      <a:pt x="15" y="131"/>
                    </a:cubicBezTo>
                    <a:cubicBezTo>
                      <a:pt x="33" y="162"/>
                      <a:pt x="33" y="162"/>
                      <a:pt x="33" y="162"/>
                    </a:cubicBezTo>
                    <a:cubicBezTo>
                      <a:pt x="48" y="154"/>
                      <a:pt x="48" y="154"/>
                      <a:pt x="48" y="154"/>
                    </a:cubicBezTo>
                    <a:cubicBezTo>
                      <a:pt x="50" y="153"/>
                      <a:pt x="53" y="153"/>
                      <a:pt x="55" y="155"/>
                    </a:cubicBezTo>
                    <a:cubicBezTo>
                      <a:pt x="63" y="163"/>
                      <a:pt x="71" y="167"/>
                      <a:pt x="81" y="170"/>
                    </a:cubicBezTo>
                    <a:cubicBezTo>
                      <a:pt x="83" y="171"/>
                      <a:pt x="85" y="173"/>
                      <a:pt x="85" y="176"/>
                    </a:cubicBezTo>
                    <a:lnTo>
                      <a:pt x="85"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2" name="Freeform 49">
                <a:extLst>
                  <a:ext uri="{FF2B5EF4-FFF2-40B4-BE49-F238E27FC236}">
                    <a16:creationId xmlns:a16="http://schemas.microsoft.com/office/drawing/2014/main" id="{909C8E6E-7318-4857-BC03-D95A58F728C5}"/>
                  </a:ext>
                </a:extLst>
              </p:cNvPr>
              <p:cNvSpPr>
                <a:spLocks noEditPoints="1"/>
              </p:cNvSpPr>
              <p:nvPr/>
            </p:nvSpPr>
            <p:spPr bwMode="auto">
              <a:xfrm>
                <a:off x="5757" y="439"/>
                <a:ext cx="176" cy="178"/>
              </a:xfrm>
              <a:custGeom>
                <a:avLst/>
                <a:gdLst>
                  <a:gd name="T0" fmla="*/ 48 w 119"/>
                  <a:gd name="T1" fmla="*/ 120 h 120"/>
                  <a:gd name="T2" fmla="*/ 42 w 119"/>
                  <a:gd name="T3" fmla="*/ 104 h 120"/>
                  <a:gd name="T4" fmla="*/ 21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07 w 119"/>
                  <a:gd name="T31" fmla="*/ 53 h 120"/>
                  <a:gd name="T32" fmla="*/ 107 w 119"/>
                  <a:gd name="T33" fmla="*/ 66 h 120"/>
                  <a:gd name="T34" fmla="*/ 117 w 119"/>
                  <a:gd name="T35" fmla="*/ 79 h 120"/>
                  <a:gd name="T36" fmla="*/ 102 w 119"/>
                  <a:gd name="T37" fmla="*/ 103 h 120"/>
                  <a:gd name="T38" fmla="*/ 89 w 119"/>
                  <a:gd name="T39" fmla="*/ 97 h 120"/>
                  <a:gd name="T40" fmla="*/ 78 w 119"/>
                  <a:gd name="T41" fmla="*/ 114 h 120"/>
                  <a:gd name="T42" fmla="*/ 54 w 119"/>
                  <a:gd name="T43" fmla="*/ 108 h 120"/>
                  <a:gd name="T44" fmla="*/ 66 w 119"/>
                  <a:gd name="T45" fmla="*/ 100 h 120"/>
                  <a:gd name="T46" fmla="*/ 84 w 119"/>
                  <a:gd name="T47" fmla="*/ 86 h 120"/>
                  <a:gd name="T48" fmla="*/ 98 w 119"/>
                  <a:gd name="T49" fmla="*/ 89 h 120"/>
                  <a:gd name="T50" fmla="*/ 97 w 119"/>
                  <a:gd name="T51" fmla="*/ 75 h 120"/>
                  <a:gd name="T52" fmla="*/ 95 w 119"/>
                  <a:gd name="T53" fmla="*/ 60 h 120"/>
                  <a:gd name="T54" fmla="*/ 97 w 119"/>
                  <a:gd name="T55" fmla="*/ 45 h 120"/>
                  <a:gd name="T56" fmla="*/ 98 w 119"/>
                  <a:gd name="T57" fmla="*/ 31 h 120"/>
                  <a:gd name="T58" fmla="*/ 84 w 119"/>
                  <a:gd name="T59" fmla="*/ 34 h 120"/>
                  <a:gd name="T60" fmla="*/ 66 w 119"/>
                  <a:gd name="T61" fmla="*/ 19 h 120"/>
                  <a:gd name="T62" fmla="*/ 54 w 119"/>
                  <a:gd name="T63" fmla="*/ 12 h 120"/>
                  <a:gd name="T64" fmla="*/ 50 w 119"/>
                  <a:gd name="T65" fmla="*/ 25 h 120"/>
                  <a:gd name="T66" fmla="*/ 28 w 119"/>
                  <a:gd name="T67" fmla="*/ 34 h 120"/>
                  <a:gd name="T68" fmla="*/ 15 w 119"/>
                  <a:gd name="T69" fmla="*/ 41 h 120"/>
                  <a:gd name="T70" fmla="*/ 24 w 119"/>
                  <a:gd name="T71" fmla="*/ 51 h 120"/>
                  <a:gd name="T72" fmla="*/ 24 w 119"/>
                  <a:gd name="T73" fmla="*/ 68 h 120"/>
                  <a:gd name="T74" fmla="*/ 15 w 119"/>
                  <a:gd name="T75" fmla="*/ 78 h 120"/>
                  <a:gd name="T76" fmla="*/ 28 w 119"/>
                  <a:gd name="T77" fmla="*/ 85 h 120"/>
                  <a:gd name="T78" fmla="*/ 50 w 119"/>
                  <a:gd name="T79" fmla="*/ 94 h 120"/>
                  <a:gd name="T80" fmla="*/ 54 w 119"/>
                  <a:gd name="T81"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1" y="102"/>
                      <a:pt x="21" y="102"/>
                      <a:pt x="21"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5"/>
                    </a:cubicBezTo>
                    <a:cubicBezTo>
                      <a:pt x="0"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8" y="16"/>
                      <a:pt x="100" y="16"/>
                      <a:pt x="102" y="16"/>
                    </a:cubicBezTo>
                    <a:cubicBezTo>
                      <a:pt x="103" y="17"/>
                      <a:pt x="105" y="18"/>
                      <a:pt x="105" y="19"/>
                    </a:cubicBezTo>
                    <a:cubicBezTo>
                      <a:pt x="117" y="40"/>
                      <a:pt x="117" y="40"/>
                      <a:pt x="117" y="40"/>
                    </a:cubicBezTo>
                    <a:cubicBezTo>
                      <a:pt x="119" y="43"/>
                      <a:pt x="118"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7" y="79"/>
                    </a:cubicBezTo>
                    <a:cubicBezTo>
                      <a:pt x="106" y="100"/>
                      <a:pt x="106" y="100"/>
                      <a:pt x="106" y="100"/>
                    </a:cubicBezTo>
                    <a:cubicBezTo>
                      <a:pt x="105" y="101"/>
                      <a:pt x="103"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0" y="94"/>
                    </a:cubicBezTo>
                    <a:cubicBezTo>
                      <a:pt x="76" y="93"/>
                      <a:pt x="80" y="90"/>
                      <a:pt x="84" y="86"/>
                    </a:cubicBezTo>
                    <a:cubicBezTo>
                      <a:pt x="86" y="84"/>
                      <a:pt x="89" y="84"/>
                      <a:pt x="92" y="85"/>
                    </a:cubicBezTo>
                    <a:cubicBezTo>
                      <a:pt x="98" y="89"/>
                      <a:pt x="98" y="89"/>
                      <a:pt x="98" y="89"/>
                    </a:cubicBezTo>
                    <a:cubicBezTo>
                      <a:pt x="104" y="78"/>
                      <a:pt x="104" y="78"/>
                      <a:pt x="104" y="78"/>
                    </a:cubicBezTo>
                    <a:cubicBezTo>
                      <a:pt x="97" y="75"/>
                      <a:pt x="97" y="75"/>
                      <a:pt x="97" y="75"/>
                    </a:cubicBezTo>
                    <a:cubicBezTo>
                      <a:pt x="95" y="73"/>
                      <a:pt x="94" y="71"/>
                      <a:pt x="94"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1"/>
                      <a:pt x="98" y="31"/>
                      <a:pt x="98" y="31"/>
                    </a:cubicBezTo>
                    <a:cubicBezTo>
                      <a:pt x="92" y="34"/>
                      <a:pt x="92" y="34"/>
                      <a:pt x="92" y="34"/>
                    </a:cubicBezTo>
                    <a:cubicBezTo>
                      <a:pt x="89" y="36"/>
                      <a:pt x="86" y="35"/>
                      <a:pt x="84" y="34"/>
                    </a:cubicBezTo>
                    <a:cubicBezTo>
                      <a:pt x="80"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4"/>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4" y="51"/>
                    </a:cubicBezTo>
                    <a:cubicBezTo>
                      <a:pt x="24" y="54"/>
                      <a:pt x="23" y="57"/>
                      <a:pt x="23" y="60"/>
                    </a:cubicBezTo>
                    <a:cubicBezTo>
                      <a:pt x="23" y="62"/>
                      <a:pt x="24" y="65"/>
                      <a:pt x="24" y="68"/>
                    </a:cubicBezTo>
                    <a:cubicBezTo>
                      <a:pt x="25" y="71"/>
                      <a:pt x="24" y="73"/>
                      <a:pt x="22" y="75"/>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3" name="Rectangle 12">
              <a:extLst>
                <a:ext uri="{FF2B5EF4-FFF2-40B4-BE49-F238E27FC236}">
                  <a16:creationId xmlns:a16="http://schemas.microsoft.com/office/drawing/2014/main" id="{A6E12018-9E91-4D6B-90C8-3C4EB784CFBE}"/>
                </a:ext>
                <a:ext uri="{C183D7F6-B498-43B3-948B-1728B52AA6E4}">
                  <adec:decorative xmlns:adec="http://schemas.microsoft.com/office/drawing/2017/decorative" val="1"/>
                </a:ext>
              </a:extLst>
            </p:cNvPr>
            <p:cNvSpPr/>
            <p:nvPr userDrawn="1"/>
          </p:nvSpPr>
          <p:spPr>
            <a:xfrm>
              <a:off x="1651616" y="2761347"/>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95" name="Group 59" descr="Graph Diagonal Up">
              <a:extLst>
                <a:ext uri="{FF2B5EF4-FFF2-40B4-BE49-F238E27FC236}">
                  <a16:creationId xmlns:a16="http://schemas.microsoft.com/office/drawing/2014/main" id="{0997CFFB-FEA8-4F2B-853D-388357F618A7}"/>
                </a:ext>
                <a:ext uri="{C183D7F6-B498-43B3-948B-1728B52AA6E4}">
                  <adec:decorative xmlns:adec="http://schemas.microsoft.com/office/drawing/2017/decorative" val="0"/>
                </a:ext>
              </a:extLst>
            </p:cNvPr>
            <p:cNvGrpSpPr>
              <a:grpSpLocks noChangeAspect="1"/>
            </p:cNvGrpSpPr>
            <p:nvPr/>
          </p:nvGrpSpPr>
          <p:grpSpPr bwMode="auto">
            <a:xfrm>
              <a:off x="2075617" y="3217044"/>
              <a:ext cx="466978" cy="281356"/>
              <a:chOff x="6554" y="532"/>
              <a:chExt cx="400" cy="241"/>
            </a:xfrm>
            <a:solidFill>
              <a:schemeClr val="accent1"/>
            </a:solidFill>
          </p:grpSpPr>
          <p:sp>
            <p:nvSpPr>
              <p:cNvPr id="96" name="Freeform 60">
                <a:extLst>
                  <a:ext uri="{FF2B5EF4-FFF2-40B4-BE49-F238E27FC236}">
                    <a16:creationId xmlns:a16="http://schemas.microsoft.com/office/drawing/2014/main" id="{EA9500D0-5803-43EE-910B-21F5F89493D6}"/>
                  </a:ext>
                </a:extLst>
              </p:cNvPr>
              <p:cNvSpPr>
                <a:spLocks/>
              </p:cNvSpPr>
              <p:nvPr/>
            </p:nvSpPr>
            <p:spPr bwMode="auto">
              <a:xfrm>
                <a:off x="6554" y="532"/>
                <a:ext cx="400" cy="241"/>
              </a:xfrm>
              <a:custGeom>
                <a:avLst/>
                <a:gdLst>
                  <a:gd name="T0" fmla="*/ 6 w 271"/>
                  <a:gd name="T1" fmla="*/ 163 h 163"/>
                  <a:gd name="T2" fmla="*/ 2 w 271"/>
                  <a:gd name="T3" fmla="*/ 161 h 163"/>
                  <a:gd name="T4" fmla="*/ 2 w 271"/>
                  <a:gd name="T5" fmla="*/ 153 h 163"/>
                  <a:gd name="T6" fmla="*/ 98 w 271"/>
                  <a:gd name="T7" fmla="*/ 45 h 163"/>
                  <a:gd name="T8" fmla="*/ 106 w 271"/>
                  <a:gd name="T9" fmla="*/ 44 h 163"/>
                  <a:gd name="T10" fmla="*/ 174 w 271"/>
                  <a:gd name="T11" fmla="*/ 100 h 163"/>
                  <a:gd name="T12" fmla="*/ 260 w 271"/>
                  <a:gd name="T13" fmla="*/ 3 h 163"/>
                  <a:gd name="T14" fmla="*/ 268 w 271"/>
                  <a:gd name="T15" fmla="*/ 2 h 163"/>
                  <a:gd name="T16" fmla="*/ 269 w 271"/>
                  <a:gd name="T17" fmla="*/ 11 h 163"/>
                  <a:gd name="T18" fmla="*/ 179 w 271"/>
                  <a:gd name="T19" fmla="*/ 113 h 163"/>
                  <a:gd name="T20" fmla="*/ 171 w 271"/>
                  <a:gd name="T21" fmla="*/ 113 h 163"/>
                  <a:gd name="T22" fmla="*/ 103 w 271"/>
                  <a:gd name="T23" fmla="*/ 57 h 163"/>
                  <a:gd name="T24" fmla="*/ 11 w 271"/>
                  <a:gd name="T25" fmla="*/ 161 h 163"/>
                  <a:gd name="T26" fmla="*/ 6 w 271"/>
                  <a:gd name="T2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63">
                    <a:moveTo>
                      <a:pt x="6" y="163"/>
                    </a:moveTo>
                    <a:cubicBezTo>
                      <a:pt x="5" y="163"/>
                      <a:pt x="4" y="162"/>
                      <a:pt x="2" y="161"/>
                    </a:cubicBezTo>
                    <a:cubicBezTo>
                      <a:pt x="0" y="159"/>
                      <a:pt x="0" y="155"/>
                      <a:pt x="2" y="153"/>
                    </a:cubicBezTo>
                    <a:cubicBezTo>
                      <a:pt x="98" y="45"/>
                      <a:pt x="98" y="45"/>
                      <a:pt x="98" y="45"/>
                    </a:cubicBezTo>
                    <a:cubicBezTo>
                      <a:pt x="100" y="42"/>
                      <a:pt x="104" y="42"/>
                      <a:pt x="106" y="44"/>
                    </a:cubicBezTo>
                    <a:cubicBezTo>
                      <a:pt x="174" y="100"/>
                      <a:pt x="174" y="100"/>
                      <a:pt x="174" y="100"/>
                    </a:cubicBezTo>
                    <a:cubicBezTo>
                      <a:pt x="260" y="3"/>
                      <a:pt x="260" y="3"/>
                      <a:pt x="260" y="3"/>
                    </a:cubicBezTo>
                    <a:cubicBezTo>
                      <a:pt x="262" y="0"/>
                      <a:pt x="266" y="0"/>
                      <a:pt x="268" y="2"/>
                    </a:cubicBezTo>
                    <a:cubicBezTo>
                      <a:pt x="271" y="5"/>
                      <a:pt x="271" y="8"/>
                      <a:pt x="269" y="11"/>
                    </a:cubicBezTo>
                    <a:cubicBezTo>
                      <a:pt x="179" y="113"/>
                      <a:pt x="179" y="113"/>
                      <a:pt x="179" y="113"/>
                    </a:cubicBezTo>
                    <a:cubicBezTo>
                      <a:pt x="177" y="115"/>
                      <a:pt x="173" y="116"/>
                      <a:pt x="171" y="113"/>
                    </a:cubicBezTo>
                    <a:cubicBezTo>
                      <a:pt x="103" y="57"/>
                      <a:pt x="103" y="57"/>
                      <a:pt x="103" y="57"/>
                    </a:cubicBezTo>
                    <a:cubicBezTo>
                      <a:pt x="11" y="161"/>
                      <a:pt x="11" y="161"/>
                      <a:pt x="11" y="161"/>
                    </a:cubicBezTo>
                    <a:cubicBezTo>
                      <a:pt x="10" y="162"/>
                      <a:pt x="8" y="163"/>
                      <a:pt x="6"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97" name="Freeform 61">
                <a:extLst>
                  <a:ext uri="{FF2B5EF4-FFF2-40B4-BE49-F238E27FC236}">
                    <a16:creationId xmlns:a16="http://schemas.microsoft.com/office/drawing/2014/main" id="{356CFF49-60EE-4647-B13A-DFA35C3D2755}"/>
                  </a:ext>
                </a:extLst>
              </p:cNvPr>
              <p:cNvSpPr>
                <a:spLocks/>
              </p:cNvSpPr>
              <p:nvPr/>
            </p:nvSpPr>
            <p:spPr bwMode="auto">
              <a:xfrm>
                <a:off x="6812" y="534"/>
                <a:ext cx="141" cy="124"/>
              </a:xfrm>
              <a:custGeom>
                <a:avLst/>
                <a:gdLst>
                  <a:gd name="T0" fmla="*/ 89 w 95"/>
                  <a:gd name="T1" fmla="*/ 84 h 84"/>
                  <a:gd name="T2" fmla="*/ 83 w 95"/>
                  <a:gd name="T3" fmla="*/ 78 h 84"/>
                  <a:gd name="T4" fmla="*/ 83 w 95"/>
                  <a:gd name="T5" fmla="*/ 12 h 84"/>
                  <a:gd name="T6" fmla="*/ 6 w 95"/>
                  <a:gd name="T7" fmla="*/ 12 h 84"/>
                  <a:gd name="T8" fmla="*/ 0 w 95"/>
                  <a:gd name="T9" fmla="*/ 6 h 84"/>
                  <a:gd name="T10" fmla="*/ 6 w 95"/>
                  <a:gd name="T11" fmla="*/ 0 h 84"/>
                  <a:gd name="T12" fmla="*/ 89 w 95"/>
                  <a:gd name="T13" fmla="*/ 0 h 84"/>
                  <a:gd name="T14" fmla="*/ 95 w 95"/>
                  <a:gd name="T15" fmla="*/ 6 h 84"/>
                  <a:gd name="T16" fmla="*/ 95 w 95"/>
                  <a:gd name="T17" fmla="*/ 78 h 84"/>
                  <a:gd name="T18" fmla="*/ 89 w 95"/>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84">
                    <a:moveTo>
                      <a:pt x="89" y="84"/>
                    </a:moveTo>
                    <a:cubicBezTo>
                      <a:pt x="86" y="84"/>
                      <a:pt x="83" y="81"/>
                      <a:pt x="83" y="78"/>
                    </a:cubicBezTo>
                    <a:cubicBezTo>
                      <a:pt x="83" y="12"/>
                      <a:pt x="83" y="12"/>
                      <a:pt x="83" y="12"/>
                    </a:cubicBezTo>
                    <a:cubicBezTo>
                      <a:pt x="6" y="12"/>
                      <a:pt x="6" y="12"/>
                      <a:pt x="6" y="12"/>
                    </a:cubicBezTo>
                    <a:cubicBezTo>
                      <a:pt x="3" y="12"/>
                      <a:pt x="0" y="9"/>
                      <a:pt x="0" y="6"/>
                    </a:cubicBezTo>
                    <a:cubicBezTo>
                      <a:pt x="0" y="3"/>
                      <a:pt x="3" y="0"/>
                      <a:pt x="6" y="0"/>
                    </a:cubicBezTo>
                    <a:cubicBezTo>
                      <a:pt x="89" y="0"/>
                      <a:pt x="89" y="0"/>
                      <a:pt x="89" y="0"/>
                    </a:cubicBezTo>
                    <a:cubicBezTo>
                      <a:pt x="93" y="0"/>
                      <a:pt x="95" y="3"/>
                      <a:pt x="95" y="6"/>
                    </a:cubicBezTo>
                    <a:cubicBezTo>
                      <a:pt x="95" y="78"/>
                      <a:pt x="95" y="78"/>
                      <a:pt x="95" y="78"/>
                    </a:cubicBezTo>
                    <a:cubicBezTo>
                      <a:pt x="95" y="81"/>
                      <a:pt x="93" y="84"/>
                      <a:pt x="8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grpSp>
        <p:sp>
          <p:nvSpPr>
            <p:cNvPr id="14" name="Rectangle 13">
              <a:extLst>
                <a:ext uri="{FF2B5EF4-FFF2-40B4-BE49-F238E27FC236}">
                  <a16:creationId xmlns:a16="http://schemas.microsoft.com/office/drawing/2014/main" id="{0AC866A9-08B3-40B6-BFA7-F1BC86FBEDEA}"/>
                </a:ext>
                <a:ext uri="{C183D7F6-B498-43B3-948B-1728B52AA6E4}">
                  <adec:decorative xmlns:adec="http://schemas.microsoft.com/office/drawing/2017/decorative" val="1"/>
                </a:ext>
              </a:extLst>
            </p:cNvPr>
            <p:cNvSpPr/>
            <p:nvPr userDrawn="1"/>
          </p:nvSpPr>
          <p:spPr>
            <a:xfrm>
              <a:off x="2922235" y="2761347"/>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98" name="Group 60" descr="Chart: Columns and Nodes">
              <a:extLst>
                <a:ext uri="{FF2B5EF4-FFF2-40B4-BE49-F238E27FC236}">
                  <a16:creationId xmlns:a16="http://schemas.microsoft.com/office/drawing/2014/main" id="{523084B1-A668-4720-8AFB-70396E5E2A1E}"/>
                </a:ext>
                <a:ext uri="{C183D7F6-B498-43B3-948B-1728B52AA6E4}">
                  <adec:decorative xmlns:adec="http://schemas.microsoft.com/office/drawing/2017/decorative" val="0"/>
                </a:ext>
              </a:extLst>
            </p:cNvPr>
            <p:cNvGrpSpPr>
              <a:grpSpLocks noChangeAspect="1"/>
            </p:cNvGrpSpPr>
            <p:nvPr/>
          </p:nvGrpSpPr>
          <p:grpSpPr bwMode="auto">
            <a:xfrm>
              <a:off x="3329567" y="3117577"/>
              <a:ext cx="491836" cy="480291"/>
              <a:chOff x="6726" y="600"/>
              <a:chExt cx="426" cy="416"/>
            </a:xfrm>
            <a:solidFill>
              <a:schemeClr val="accent1"/>
            </a:solidFill>
          </p:grpSpPr>
          <p:sp>
            <p:nvSpPr>
              <p:cNvPr id="99" name="Freeform 61">
                <a:extLst>
                  <a:ext uri="{FF2B5EF4-FFF2-40B4-BE49-F238E27FC236}">
                    <a16:creationId xmlns:a16="http://schemas.microsoft.com/office/drawing/2014/main" id="{5535970F-2DCC-4FE6-8716-F29D88FBE16B}"/>
                  </a:ext>
                </a:extLst>
              </p:cNvPr>
              <p:cNvSpPr>
                <a:spLocks/>
              </p:cNvSpPr>
              <p:nvPr/>
            </p:nvSpPr>
            <p:spPr bwMode="auto">
              <a:xfrm>
                <a:off x="6726" y="999"/>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62">
                <a:extLst>
                  <a:ext uri="{FF2B5EF4-FFF2-40B4-BE49-F238E27FC236}">
                    <a16:creationId xmlns:a16="http://schemas.microsoft.com/office/drawing/2014/main" id="{9317485F-00AD-4452-8E8E-664E019841E4}"/>
                  </a:ext>
                </a:extLst>
              </p:cNvPr>
              <p:cNvSpPr>
                <a:spLocks noEditPoints="1"/>
              </p:cNvSpPr>
              <p:nvPr/>
            </p:nvSpPr>
            <p:spPr bwMode="auto">
              <a:xfrm>
                <a:off x="6744" y="912"/>
                <a:ext cx="71" cy="104"/>
              </a:xfrm>
              <a:custGeom>
                <a:avLst/>
                <a:gdLst>
                  <a:gd name="T0" fmla="*/ 42 w 48"/>
                  <a:gd name="T1" fmla="*/ 72 h 72"/>
                  <a:gd name="T2" fmla="*/ 6 w 48"/>
                  <a:gd name="T3" fmla="*/ 72 h 72"/>
                  <a:gd name="T4" fmla="*/ 0 w 48"/>
                  <a:gd name="T5" fmla="*/ 66 h 72"/>
                  <a:gd name="T6" fmla="*/ 0 w 48"/>
                  <a:gd name="T7" fmla="*/ 6 h 72"/>
                  <a:gd name="T8" fmla="*/ 6 w 48"/>
                  <a:gd name="T9" fmla="*/ 0 h 72"/>
                  <a:gd name="T10" fmla="*/ 42 w 48"/>
                  <a:gd name="T11" fmla="*/ 0 h 72"/>
                  <a:gd name="T12" fmla="*/ 48 w 48"/>
                  <a:gd name="T13" fmla="*/ 6 h 72"/>
                  <a:gd name="T14" fmla="*/ 48 w 48"/>
                  <a:gd name="T15" fmla="*/ 66 h 72"/>
                  <a:gd name="T16" fmla="*/ 42 w 48"/>
                  <a:gd name="T17" fmla="*/ 72 h 72"/>
                  <a:gd name="T18" fmla="*/ 12 w 48"/>
                  <a:gd name="T19" fmla="*/ 60 h 72"/>
                  <a:gd name="T20" fmla="*/ 36 w 48"/>
                  <a:gd name="T21" fmla="*/ 60 h 72"/>
                  <a:gd name="T22" fmla="*/ 36 w 48"/>
                  <a:gd name="T23" fmla="*/ 12 h 72"/>
                  <a:gd name="T24" fmla="*/ 12 w 48"/>
                  <a:gd name="T25" fmla="*/ 12 h 72"/>
                  <a:gd name="T26" fmla="*/ 12 w 48"/>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2">
                    <a:moveTo>
                      <a:pt x="42" y="72"/>
                    </a:moveTo>
                    <a:cubicBezTo>
                      <a:pt x="6" y="72"/>
                      <a:pt x="6" y="72"/>
                      <a:pt x="6" y="72"/>
                    </a:cubicBezTo>
                    <a:cubicBezTo>
                      <a:pt x="2" y="72"/>
                      <a:pt x="0" y="70"/>
                      <a:pt x="0" y="66"/>
                    </a:cubicBezTo>
                    <a:cubicBezTo>
                      <a:pt x="0" y="6"/>
                      <a:pt x="0" y="6"/>
                      <a:pt x="0" y="6"/>
                    </a:cubicBezTo>
                    <a:cubicBezTo>
                      <a:pt x="0" y="3"/>
                      <a:pt x="2" y="0"/>
                      <a:pt x="6" y="0"/>
                    </a:cubicBezTo>
                    <a:cubicBezTo>
                      <a:pt x="42" y="0"/>
                      <a:pt x="42" y="0"/>
                      <a:pt x="42" y="0"/>
                    </a:cubicBezTo>
                    <a:cubicBezTo>
                      <a:pt x="45" y="0"/>
                      <a:pt x="48" y="3"/>
                      <a:pt x="48" y="6"/>
                    </a:cubicBezTo>
                    <a:cubicBezTo>
                      <a:pt x="48" y="66"/>
                      <a:pt x="48" y="66"/>
                      <a:pt x="48" y="66"/>
                    </a:cubicBezTo>
                    <a:cubicBezTo>
                      <a:pt x="48" y="70"/>
                      <a:pt x="45" y="72"/>
                      <a:pt x="42" y="72"/>
                    </a:cubicBezTo>
                    <a:close/>
                    <a:moveTo>
                      <a:pt x="12" y="60"/>
                    </a:moveTo>
                    <a:cubicBezTo>
                      <a:pt x="36" y="60"/>
                      <a:pt x="36" y="60"/>
                      <a:pt x="36" y="60"/>
                    </a:cubicBezTo>
                    <a:cubicBezTo>
                      <a:pt x="36" y="12"/>
                      <a:pt x="36" y="12"/>
                      <a:pt x="36"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63">
                <a:extLst>
                  <a:ext uri="{FF2B5EF4-FFF2-40B4-BE49-F238E27FC236}">
                    <a16:creationId xmlns:a16="http://schemas.microsoft.com/office/drawing/2014/main" id="{E5914A84-591B-422D-8B99-BA1B3A062A9F}"/>
                  </a:ext>
                </a:extLst>
              </p:cNvPr>
              <p:cNvSpPr>
                <a:spLocks noEditPoints="1"/>
              </p:cNvSpPr>
              <p:nvPr/>
            </p:nvSpPr>
            <p:spPr bwMode="auto">
              <a:xfrm>
                <a:off x="6850" y="826"/>
                <a:ext cx="71" cy="190"/>
              </a:xfrm>
              <a:custGeom>
                <a:avLst/>
                <a:gdLst>
                  <a:gd name="T0" fmla="*/ 42 w 48"/>
                  <a:gd name="T1" fmla="*/ 132 h 132"/>
                  <a:gd name="T2" fmla="*/ 6 w 48"/>
                  <a:gd name="T3" fmla="*/ 132 h 132"/>
                  <a:gd name="T4" fmla="*/ 0 w 48"/>
                  <a:gd name="T5" fmla="*/ 126 h 132"/>
                  <a:gd name="T6" fmla="*/ 0 w 48"/>
                  <a:gd name="T7" fmla="*/ 6 h 132"/>
                  <a:gd name="T8" fmla="*/ 6 w 48"/>
                  <a:gd name="T9" fmla="*/ 0 h 132"/>
                  <a:gd name="T10" fmla="*/ 42 w 48"/>
                  <a:gd name="T11" fmla="*/ 0 h 132"/>
                  <a:gd name="T12" fmla="*/ 48 w 48"/>
                  <a:gd name="T13" fmla="*/ 6 h 132"/>
                  <a:gd name="T14" fmla="*/ 48 w 48"/>
                  <a:gd name="T15" fmla="*/ 126 h 132"/>
                  <a:gd name="T16" fmla="*/ 42 w 48"/>
                  <a:gd name="T17" fmla="*/ 132 h 132"/>
                  <a:gd name="T18" fmla="*/ 12 w 48"/>
                  <a:gd name="T19" fmla="*/ 120 h 132"/>
                  <a:gd name="T20" fmla="*/ 36 w 48"/>
                  <a:gd name="T21" fmla="*/ 120 h 132"/>
                  <a:gd name="T22" fmla="*/ 36 w 48"/>
                  <a:gd name="T23" fmla="*/ 12 h 132"/>
                  <a:gd name="T24" fmla="*/ 12 w 48"/>
                  <a:gd name="T25" fmla="*/ 12 h 132"/>
                  <a:gd name="T26" fmla="*/ 12 w 48"/>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32">
                    <a:moveTo>
                      <a:pt x="42" y="132"/>
                    </a:moveTo>
                    <a:cubicBezTo>
                      <a:pt x="6" y="132"/>
                      <a:pt x="6" y="132"/>
                      <a:pt x="6" y="132"/>
                    </a:cubicBezTo>
                    <a:cubicBezTo>
                      <a:pt x="2" y="132"/>
                      <a:pt x="0" y="130"/>
                      <a:pt x="0" y="126"/>
                    </a:cubicBezTo>
                    <a:cubicBezTo>
                      <a:pt x="0" y="6"/>
                      <a:pt x="0" y="6"/>
                      <a:pt x="0" y="6"/>
                    </a:cubicBezTo>
                    <a:cubicBezTo>
                      <a:pt x="0" y="3"/>
                      <a:pt x="2" y="0"/>
                      <a:pt x="6" y="0"/>
                    </a:cubicBezTo>
                    <a:cubicBezTo>
                      <a:pt x="42" y="0"/>
                      <a:pt x="42" y="0"/>
                      <a:pt x="42" y="0"/>
                    </a:cubicBezTo>
                    <a:cubicBezTo>
                      <a:pt x="45" y="0"/>
                      <a:pt x="48" y="3"/>
                      <a:pt x="48" y="6"/>
                    </a:cubicBezTo>
                    <a:cubicBezTo>
                      <a:pt x="48" y="126"/>
                      <a:pt x="48" y="126"/>
                      <a:pt x="48" y="126"/>
                    </a:cubicBezTo>
                    <a:cubicBezTo>
                      <a:pt x="48" y="130"/>
                      <a:pt x="45" y="132"/>
                      <a:pt x="42" y="132"/>
                    </a:cubicBezTo>
                    <a:close/>
                    <a:moveTo>
                      <a:pt x="12" y="120"/>
                    </a:moveTo>
                    <a:cubicBezTo>
                      <a:pt x="36" y="120"/>
                      <a:pt x="36" y="120"/>
                      <a:pt x="36" y="120"/>
                    </a:cubicBezTo>
                    <a:cubicBezTo>
                      <a:pt x="36" y="12"/>
                      <a:pt x="36" y="12"/>
                      <a:pt x="36"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64">
                <a:extLst>
                  <a:ext uri="{FF2B5EF4-FFF2-40B4-BE49-F238E27FC236}">
                    <a16:creationId xmlns:a16="http://schemas.microsoft.com/office/drawing/2014/main" id="{C6FCE000-F409-497D-B143-F0633D1F2EAC}"/>
                  </a:ext>
                </a:extLst>
              </p:cNvPr>
              <p:cNvSpPr>
                <a:spLocks noEditPoints="1"/>
              </p:cNvSpPr>
              <p:nvPr/>
            </p:nvSpPr>
            <p:spPr bwMode="auto">
              <a:xfrm>
                <a:off x="6957" y="860"/>
                <a:ext cx="71" cy="156"/>
              </a:xfrm>
              <a:custGeom>
                <a:avLst/>
                <a:gdLst>
                  <a:gd name="T0" fmla="*/ 42 w 48"/>
                  <a:gd name="T1" fmla="*/ 108 h 108"/>
                  <a:gd name="T2" fmla="*/ 6 w 48"/>
                  <a:gd name="T3" fmla="*/ 108 h 108"/>
                  <a:gd name="T4" fmla="*/ 0 w 48"/>
                  <a:gd name="T5" fmla="*/ 102 h 108"/>
                  <a:gd name="T6" fmla="*/ 0 w 48"/>
                  <a:gd name="T7" fmla="*/ 6 h 108"/>
                  <a:gd name="T8" fmla="*/ 6 w 48"/>
                  <a:gd name="T9" fmla="*/ 0 h 108"/>
                  <a:gd name="T10" fmla="*/ 42 w 48"/>
                  <a:gd name="T11" fmla="*/ 0 h 108"/>
                  <a:gd name="T12" fmla="*/ 48 w 48"/>
                  <a:gd name="T13" fmla="*/ 6 h 108"/>
                  <a:gd name="T14" fmla="*/ 48 w 48"/>
                  <a:gd name="T15" fmla="*/ 102 h 108"/>
                  <a:gd name="T16" fmla="*/ 42 w 48"/>
                  <a:gd name="T17" fmla="*/ 108 h 108"/>
                  <a:gd name="T18" fmla="*/ 12 w 48"/>
                  <a:gd name="T19" fmla="*/ 96 h 108"/>
                  <a:gd name="T20" fmla="*/ 36 w 48"/>
                  <a:gd name="T21" fmla="*/ 96 h 108"/>
                  <a:gd name="T22" fmla="*/ 36 w 48"/>
                  <a:gd name="T23" fmla="*/ 12 h 108"/>
                  <a:gd name="T24" fmla="*/ 12 w 48"/>
                  <a:gd name="T25" fmla="*/ 12 h 108"/>
                  <a:gd name="T26" fmla="*/ 12 w 48"/>
                  <a:gd name="T2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08">
                    <a:moveTo>
                      <a:pt x="42" y="108"/>
                    </a:moveTo>
                    <a:cubicBezTo>
                      <a:pt x="6" y="108"/>
                      <a:pt x="6" y="108"/>
                      <a:pt x="6" y="108"/>
                    </a:cubicBezTo>
                    <a:cubicBezTo>
                      <a:pt x="2" y="108"/>
                      <a:pt x="0" y="106"/>
                      <a:pt x="0" y="102"/>
                    </a:cubicBezTo>
                    <a:cubicBezTo>
                      <a:pt x="0" y="6"/>
                      <a:pt x="0" y="6"/>
                      <a:pt x="0" y="6"/>
                    </a:cubicBezTo>
                    <a:cubicBezTo>
                      <a:pt x="0" y="3"/>
                      <a:pt x="2" y="0"/>
                      <a:pt x="6" y="0"/>
                    </a:cubicBezTo>
                    <a:cubicBezTo>
                      <a:pt x="42" y="0"/>
                      <a:pt x="42" y="0"/>
                      <a:pt x="42" y="0"/>
                    </a:cubicBezTo>
                    <a:cubicBezTo>
                      <a:pt x="45" y="0"/>
                      <a:pt x="48" y="3"/>
                      <a:pt x="48" y="6"/>
                    </a:cubicBezTo>
                    <a:cubicBezTo>
                      <a:pt x="48" y="102"/>
                      <a:pt x="48" y="102"/>
                      <a:pt x="48" y="102"/>
                    </a:cubicBezTo>
                    <a:cubicBezTo>
                      <a:pt x="48" y="106"/>
                      <a:pt x="45" y="108"/>
                      <a:pt x="42" y="108"/>
                    </a:cubicBezTo>
                    <a:close/>
                    <a:moveTo>
                      <a:pt x="12" y="96"/>
                    </a:moveTo>
                    <a:cubicBezTo>
                      <a:pt x="36" y="96"/>
                      <a:pt x="36" y="96"/>
                      <a:pt x="36" y="96"/>
                    </a:cubicBezTo>
                    <a:cubicBezTo>
                      <a:pt x="36" y="12"/>
                      <a:pt x="36" y="12"/>
                      <a:pt x="36" y="12"/>
                    </a:cubicBezTo>
                    <a:cubicBezTo>
                      <a:pt x="12" y="12"/>
                      <a:pt x="12" y="12"/>
                      <a:pt x="12" y="12"/>
                    </a:cubicBezTo>
                    <a:lnTo>
                      <a:pt x="1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65">
                <a:extLst>
                  <a:ext uri="{FF2B5EF4-FFF2-40B4-BE49-F238E27FC236}">
                    <a16:creationId xmlns:a16="http://schemas.microsoft.com/office/drawing/2014/main" id="{0E4A4856-872F-4D46-95C3-0BB0E886E0DF}"/>
                  </a:ext>
                </a:extLst>
              </p:cNvPr>
              <p:cNvSpPr>
                <a:spLocks noEditPoints="1"/>
              </p:cNvSpPr>
              <p:nvPr/>
            </p:nvSpPr>
            <p:spPr bwMode="auto">
              <a:xfrm>
                <a:off x="7063" y="739"/>
                <a:ext cx="71" cy="277"/>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2" y="192"/>
                      <a:pt x="0" y="190"/>
                      <a:pt x="0" y="186"/>
                    </a:cubicBezTo>
                    <a:cubicBezTo>
                      <a:pt x="0" y="6"/>
                      <a:pt x="0" y="6"/>
                      <a:pt x="0" y="6"/>
                    </a:cubicBezTo>
                    <a:cubicBezTo>
                      <a:pt x="0" y="3"/>
                      <a:pt x="2" y="0"/>
                      <a:pt x="6" y="0"/>
                    </a:cubicBezTo>
                    <a:cubicBezTo>
                      <a:pt x="42" y="0"/>
                      <a:pt x="42" y="0"/>
                      <a:pt x="42" y="0"/>
                    </a:cubicBezTo>
                    <a:cubicBezTo>
                      <a:pt x="45" y="0"/>
                      <a:pt x="48" y="3"/>
                      <a:pt x="48" y="6"/>
                    </a:cubicBezTo>
                    <a:cubicBezTo>
                      <a:pt x="48" y="186"/>
                      <a:pt x="48" y="186"/>
                      <a:pt x="48" y="186"/>
                    </a:cubicBezTo>
                    <a:cubicBezTo>
                      <a:pt x="48" y="190"/>
                      <a:pt x="45"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66">
                <a:extLst>
                  <a:ext uri="{FF2B5EF4-FFF2-40B4-BE49-F238E27FC236}">
                    <a16:creationId xmlns:a16="http://schemas.microsoft.com/office/drawing/2014/main" id="{064DEF06-9115-43F0-A721-AC2EDDBCF176}"/>
                  </a:ext>
                </a:extLst>
              </p:cNvPr>
              <p:cNvSpPr>
                <a:spLocks noEditPoints="1"/>
              </p:cNvSpPr>
              <p:nvPr/>
            </p:nvSpPr>
            <p:spPr bwMode="auto">
              <a:xfrm>
                <a:off x="6753" y="774"/>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67">
                <a:extLst>
                  <a:ext uri="{FF2B5EF4-FFF2-40B4-BE49-F238E27FC236}">
                    <a16:creationId xmlns:a16="http://schemas.microsoft.com/office/drawing/2014/main" id="{FF211E7D-2032-4E96-9E03-A035F252DFD2}"/>
                  </a:ext>
                </a:extLst>
              </p:cNvPr>
              <p:cNvSpPr>
                <a:spLocks noEditPoints="1"/>
              </p:cNvSpPr>
              <p:nvPr/>
            </p:nvSpPr>
            <p:spPr bwMode="auto">
              <a:xfrm>
                <a:off x="6859" y="687"/>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68">
                <a:extLst>
                  <a:ext uri="{FF2B5EF4-FFF2-40B4-BE49-F238E27FC236}">
                    <a16:creationId xmlns:a16="http://schemas.microsoft.com/office/drawing/2014/main" id="{CF69C0A6-FBB7-481E-893D-EF4597928FA4}"/>
                  </a:ext>
                </a:extLst>
              </p:cNvPr>
              <p:cNvSpPr>
                <a:spLocks noEditPoints="1"/>
              </p:cNvSpPr>
              <p:nvPr/>
            </p:nvSpPr>
            <p:spPr bwMode="auto">
              <a:xfrm>
                <a:off x="6966" y="722"/>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69">
                <a:extLst>
                  <a:ext uri="{FF2B5EF4-FFF2-40B4-BE49-F238E27FC236}">
                    <a16:creationId xmlns:a16="http://schemas.microsoft.com/office/drawing/2014/main" id="{13B2D9C4-6FC7-4BE6-9547-0840C7AF2FA9}"/>
                  </a:ext>
                </a:extLst>
              </p:cNvPr>
              <p:cNvSpPr>
                <a:spLocks noEditPoints="1"/>
              </p:cNvSpPr>
              <p:nvPr/>
            </p:nvSpPr>
            <p:spPr bwMode="auto">
              <a:xfrm>
                <a:off x="7072" y="600"/>
                <a:ext cx="54"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70">
                <a:extLst>
                  <a:ext uri="{FF2B5EF4-FFF2-40B4-BE49-F238E27FC236}">
                    <a16:creationId xmlns:a16="http://schemas.microsoft.com/office/drawing/2014/main" id="{B9751677-D1D6-45BF-B19A-9945F3A8A51A}"/>
                  </a:ext>
                </a:extLst>
              </p:cNvPr>
              <p:cNvSpPr>
                <a:spLocks/>
              </p:cNvSpPr>
              <p:nvPr/>
            </p:nvSpPr>
            <p:spPr bwMode="auto">
              <a:xfrm>
                <a:off x="6782" y="714"/>
                <a:ext cx="99" cy="84"/>
              </a:xfrm>
              <a:custGeom>
                <a:avLst/>
                <a:gdLst>
                  <a:gd name="T0" fmla="*/ 7 w 67"/>
                  <a:gd name="T1" fmla="*/ 58 h 58"/>
                  <a:gd name="T2" fmla="*/ 2 w 67"/>
                  <a:gd name="T3" fmla="*/ 56 h 58"/>
                  <a:gd name="T4" fmla="*/ 3 w 67"/>
                  <a:gd name="T5" fmla="*/ 47 h 58"/>
                  <a:gd name="T6" fmla="*/ 57 w 67"/>
                  <a:gd name="T7" fmla="*/ 3 h 58"/>
                  <a:gd name="T8" fmla="*/ 65 w 67"/>
                  <a:gd name="T9" fmla="*/ 3 h 58"/>
                  <a:gd name="T10" fmla="*/ 64 w 67"/>
                  <a:gd name="T11" fmla="*/ 12 h 58"/>
                  <a:gd name="T12" fmla="*/ 11 w 67"/>
                  <a:gd name="T13" fmla="*/ 56 h 58"/>
                  <a:gd name="T14" fmla="*/ 7 w 67"/>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58">
                    <a:moveTo>
                      <a:pt x="7" y="58"/>
                    </a:moveTo>
                    <a:cubicBezTo>
                      <a:pt x="5" y="58"/>
                      <a:pt x="3" y="57"/>
                      <a:pt x="2" y="56"/>
                    </a:cubicBezTo>
                    <a:cubicBezTo>
                      <a:pt x="0" y="53"/>
                      <a:pt x="0" y="49"/>
                      <a:pt x="3" y="47"/>
                    </a:cubicBezTo>
                    <a:cubicBezTo>
                      <a:pt x="57" y="3"/>
                      <a:pt x="57" y="3"/>
                      <a:pt x="57" y="3"/>
                    </a:cubicBezTo>
                    <a:cubicBezTo>
                      <a:pt x="59" y="0"/>
                      <a:pt x="63" y="1"/>
                      <a:pt x="65" y="3"/>
                    </a:cubicBezTo>
                    <a:cubicBezTo>
                      <a:pt x="67" y="6"/>
                      <a:pt x="67" y="10"/>
                      <a:pt x="64" y="12"/>
                    </a:cubicBezTo>
                    <a:cubicBezTo>
                      <a:pt x="11" y="56"/>
                      <a:pt x="11" y="56"/>
                      <a:pt x="11" y="56"/>
                    </a:cubicBezTo>
                    <a:cubicBezTo>
                      <a:pt x="10" y="57"/>
                      <a:pt x="8" y="58"/>
                      <a:pt x="7"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71">
                <a:extLst>
                  <a:ext uri="{FF2B5EF4-FFF2-40B4-BE49-F238E27FC236}">
                    <a16:creationId xmlns:a16="http://schemas.microsoft.com/office/drawing/2014/main" id="{67191D81-F1D5-4746-B9FF-2ADB66CC757F}"/>
                  </a:ext>
                </a:extLst>
              </p:cNvPr>
              <p:cNvSpPr>
                <a:spLocks/>
              </p:cNvSpPr>
              <p:nvPr/>
            </p:nvSpPr>
            <p:spPr bwMode="auto">
              <a:xfrm>
                <a:off x="6892" y="708"/>
                <a:ext cx="93" cy="44"/>
              </a:xfrm>
              <a:custGeom>
                <a:avLst/>
                <a:gdLst>
                  <a:gd name="T0" fmla="*/ 57 w 63"/>
                  <a:gd name="T1" fmla="*/ 30 h 30"/>
                  <a:gd name="T2" fmla="*/ 55 w 63"/>
                  <a:gd name="T3" fmla="*/ 29 h 30"/>
                  <a:gd name="T4" fmla="*/ 5 w 63"/>
                  <a:gd name="T5" fmla="*/ 13 h 30"/>
                  <a:gd name="T6" fmla="*/ 1 w 63"/>
                  <a:gd name="T7" fmla="*/ 5 h 30"/>
                  <a:gd name="T8" fmla="*/ 9 w 63"/>
                  <a:gd name="T9" fmla="*/ 2 h 30"/>
                  <a:gd name="T10" fmla="*/ 58 w 63"/>
                  <a:gd name="T11" fmla="*/ 18 h 30"/>
                  <a:gd name="T12" fmla="*/ 62 w 63"/>
                  <a:gd name="T13" fmla="*/ 26 h 30"/>
                  <a:gd name="T14" fmla="*/ 57 w 63"/>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0">
                    <a:moveTo>
                      <a:pt x="57" y="30"/>
                    </a:moveTo>
                    <a:cubicBezTo>
                      <a:pt x="56" y="30"/>
                      <a:pt x="55" y="30"/>
                      <a:pt x="55" y="29"/>
                    </a:cubicBezTo>
                    <a:cubicBezTo>
                      <a:pt x="5" y="13"/>
                      <a:pt x="5" y="13"/>
                      <a:pt x="5" y="13"/>
                    </a:cubicBezTo>
                    <a:cubicBezTo>
                      <a:pt x="2" y="12"/>
                      <a:pt x="0" y="8"/>
                      <a:pt x="1" y="5"/>
                    </a:cubicBezTo>
                    <a:cubicBezTo>
                      <a:pt x="2" y="2"/>
                      <a:pt x="6" y="0"/>
                      <a:pt x="9" y="2"/>
                    </a:cubicBezTo>
                    <a:cubicBezTo>
                      <a:pt x="58" y="18"/>
                      <a:pt x="58" y="18"/>
                      <a:pt x="58" y="18"/>
                    </a:cubicBezTo>
                    <a:cubicBezTo>
                      <a:pt x="62" y="19"/>
                      <a:pt x="63" y="23"/>
                      <a:pt x="62" y="26"/>
                    </a:cubicBezTo>
                    <a:cubicBezTo>
                      <a:pt x="61" y="28"/>
                      <a:pt x="59" y="30"/>
                      <a:pt x="5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72">
                <a:extLst>
                  <a:ext uri="{FF2B5EF4-FFF2-40B4-BE49-F238E27FC236}">
                    <a16:creationId xmlns:a16="http://schemas.microsoft.com/office/drawing/2014/main" id="{5668B526-4455-428A-8475-6C0372AEDAF3}"/>
                  </a:ext>
                </a:extLst>
              </p:cNvPr>
              <p:cNvSpPr>
                <a:spLocks/>
              </p:cNvSpPr>
              <p:nvPr/>
            </p:nvSpPr>
            <p:spPr bwMode="auto">
              <a:xfrm>
                <a:off x="6994" y="630"/>
                <a:ext cx="103" cy="113"/>
              </a:xfrm>
              <a:custGeom>
                <a:avLst/>
                <a:gdLst>
                  <a:gd name="T0" fmla="*/ 6 w 70"/>
                  <a:gd name="T1" fmla="*/ 78 h 78"/>
                  <a:gd name="T2" fmla="*/ 3 w 70"/>
                  <a:gd name="T3" fmla="*/ 77 h 78"/>
                  <a:gd name="T4" fmla="*/ 2 w 70"/>
                  <a:gd name="T5" fmla="*/ 68 h 78"/>
                  <a:gd name="T6" fmla="*/ 58 w 70"/>
                  <a:gd name="T7" fmla="*/ 3 h 78"/>
                  <a:gd name="T8" fmla="*/ 67 w 70"/>
                  <a:gd name="T9" fmla="*/ 2 h 78"/>
                  <a:gd name="T10" fmla="*/ 67 w 70"/>
                  <a:gd name="T11" fmla="*/ 10 h 78"/>
                  <a:gd name="T12" fmla="*/ 11 w 70"/>
                  <a:gd name="T13" fmla="*/ 76 h 78"/>
                  <a:gd name="T14" fmla="*/ 6 w 70"/>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78">
                    <a:moveTo>
                      <a:pt x="6" y="78"/>
                    </a:moveTo>
                    <a:cubicBezTo>
                      <a:pt x="5" y="78"/>
                      <a:pt x="4" y="78"/>
                      <a:pt x="3" y="77"/>
                    </a:cubicBezTo>
                    <a:cubicBezTo>
                      <a:pt x="0" y="75"/>
                      <a:pt x="0" y="71"/>
                      <a:pt x="2" y="68"/>
                    </a:cubicBezTo>
                    <a:cubicBezTo>
                      <a:pt x="58" y="3"/>
                      <a:pt x="58" y="3"/>
                      <a:pt x="58" y="3"/>
                    </a:cubicBezTo>
                    <a:cubicBezTo>
                      <a:pt x="60" y="0"/>
                      <a:pt x="64" y="0"/>
                      <a:pt x="67" y="2"/>
                    </a:cubicBezTo>
                    <a:cubicBezTo>
                      <a:pt x="69" y="4"/>
                      <a:pt x="70" y="8"/>
                      <a:pt x="67" y="10"/>
                    </a:cubicBezTo>
                    <a:cubicBezTo>
                      <a:pt x="11" y="76"/>
                      <a:pt x="11" y="76"/>
                      <a:pt x="11" y="76"/>
                    </a:cubicBezTo>
                    <a:cubicBezTo>
                      <a:pt x="10" y="78"/>
                      <a:pt x="8" y="78"/>
                      <a:pt x="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 name="Rectangle 14">
              <a:extLst>
                <a:ext uri="{FF2B5EF4-FFF2-40B4-BE49-F238E27FC236}">
                  <a16:creationId xmlns:a16="http://schemas.microsoft.com/office/drawing/2014/main" id="{3CFD700F-5381-45CD-B6E7-F359134E6F5C}"/>
                </a:ext>
                <a:ext uri="{C183D7F6-B498-43B3-948B-1728B52AA6E4}">
                  <adec:decorative xmlns:adec="http://schemas.microsoft.com/office/drawing/2017/decorative" val="1"/>
                </a:ext>
              </a:extLst>
            </p:cNvPr>
            <p:cNvSpPr/>
            <p:nvPr userDrawn="1"/>
          </p:nvSpPr>
          <p:spPr>
            <a:xfrm>
              <a:off x="4192852" y="2761347"/>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83" name="Group 79" descr="Speed Dashboard">
              <a:extLst>
                <a:ext uri="{FF2B5EF4-FFF2-40B4-BE49-F238E27FC236}">
                  <a16:creationId xmlns:a16="http://schemas.microsoft.com/office/drawing/2014/main" id="{3C388472-7766-48FC-927C-1F8320CB41FB}"/>
                </a:ext>
                <a:ext uri="{C183D7F6-B498-43B3-948B-1728B52AA6E4}">
                  <adec:decorative xmlns:adec="http://schemas.microsoft.com/office/drawing/2017/decorative" val="0"/>
                </a:ext>
              </a:extLst>
            </p:cNvPr>
            <p:cNvGrpSpPr>
              <a:grpSpLocks noChangeAspect="1"/>
            </p:cNvGrpSpPr>
            <p:nvPr/>
          </p:nvGrpSpPr>
          <p:grpSpPr bwMode="auto">
            <a:xfrm>
              <a:off x="4608644" y="3186991"/>
              <a:ext cx="481666" cy="341462"/>
              <a:chOff x="3437" y="1784"/>
              <a:chExt cx="426" cy="302"/>
            </a:xfrm>
            <a:solidFill>
              <a:schemeClr val="accent1"/>
            </a:solidFill>
          </p:grpSpPr>
          <p:sp>
            <p:nvSpPr>
              <p:cNvPr id="84" name="Freeform 80">
                <a:extLst>
                  <a:ext uri="{FF2B5EF4-FFF2-40B4-BE49-F238E27FC236}">
                    <a16:creationId xmlns:a16="http://schemas.microsoft.com/office/drawing/2014/main" id="{A4B6BEC4-5569-43F4-8A8A-A64308A90A32}"/>
                  </a:ext>
                </a:extLst>
              </p:cNvPr>
              <p:cNvSpPr>
                <a:spLocks noEditPoints="1"/>
              </p:cNvSpPr>
              <p:nvPr/>
            </p:nvSpPr>
            <p:spPr bwMode="auto">
              <a:xfrm>
                <a:off x="3614" y="1962"/>
                <a:ext cx="72"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85" name="Freeform 81">
                <a:extLst>
                  <a:ext uri="{FF2B5EF4-FFF2-40B4-BE49-F238E27FC236}">
                    <a16:creationId xmlns:a16="http://schemas.microsoft.com/office/drawing/2014/main" id="{039F562E-39E4-43E3-8398-DF0FB62D127B}"/>
                  </a:ext>
                </a:extLst>
              </p:cNvPr>
              <p:cNvSpPr>
                <a:spLocks/>
              </p:cNvSpPr>
              <p:nvPr/>
            </p:nvSpPr>
            <p:spPr bwMode="auto">
              <a:xfrm>
                <a:off x="3659" y="1880"/>
                <a:ext cx="108" cy="107"/>
              </a:xfrm>
              <a:custGeom>
                <a:avLst/>
                <a:gdLst>
                  <a:gd name="T0" fmla="*/ 7 w 73"/>
                  <a:gd name="T1" fmla="*/ 72 h 72"/>
                  <a:gd name="T2" fmla="*/ 3 w 73"/>
                  <a:gd name="T3" fmla="*/ 70 h 72"/>
                  <a:gd name="T4" fmla="*/ 3 w 73"/>
                  <a:gd name="T5" fmla="*/ 62 h 72"/>
                  <a:gd name="T6" fmla="*/ 62 w 73"/>
                  <a:gd name="T7" fmla="*/ 2 h 72"/>
                  <a:gd name="T8" fmla="*/ 71 w 73"/>
                  <a:gd name="T9" fmla="*/ 2 h 72"/>
                  <a:gd name="T10" fmla="*/ 71 w 73"/>
                  <a:gd name="T11" fmla="*/ 11 h 72"/>
                  <a:gd name="T12" fmla="*/ 11 w 73"/>
                  <a:gd name="T13" fmla="*/ 70 h 72"/>
                  <a:gd name="T14" fmla="*/ 7 w 73"/>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7" y="72"/>
                    </a:moveTo>
                    <a:cubicBezTo>
                      <a:pt x="5" y="72"/>
                      <a:pt x="4" y="72"/>
                      <a:pt x="3" y="70"/>
                    </a:cubicBezTo>
                    <a:cubicBezTo>
                      <a:pt x="0" y="68"/>
                      <a:pt x="0" y="64"/>
                      <a:pt x="3" y="62"/>
                    </a:cubicBezTo>
                    <a:cubicBezTo>
                      <a:pt x="62" y="2"/>
                      <a:pt x="62" y="2"/>
                      <a:pt x="62" y="2"/>
                    </a:cubicBezTo>
                    <a:cubicBezTo>
                      <a:pt x="64" y="0"/>
                      <a:pt x="68" y="0"/>
                      <a:pt x="71" y="2"/>
                    </a:cubicBezTo>
                    <a:cubicBezTo>
                      <a:pt x="73" y="5"/>
                      <a:pt x="73" y="9"/>
                      <a:pt x="71" y="11"/>
                    </a:cubicBezTo>
                    <a:cubicBezTo>
                      <a:pt x="11" y="70"/>
                      <a:pt x="11" y="70"/>
                      <a:pt x="11" y="70"/>
                    </a:cubicBezTo>
                    <a:cubicBezTo>
                      <a:pt x="10" y="72"/>
                      <a:pt x="9" y="72"/>
                      <a:pt x="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86" name="Freeform 82">
                <a:extLst>
                  <a:ext uri="{FF2B5EF4-FFF2-40B4-BE49-F238E27FC236}">
                    <a16:creationId xmlns:a16="http://schemas.microsoft.com/office/drawing/2014/main" id="{444F4DB1-0E5B-4192-8AD9-EF2D669AB82B}"/>
                  </a:ext>
                </a:extLst>
              </p:cNvPr>
              <p:cNvSpPr>
                <a:spLocks/>
              </p:cNvSpPr>
              <p:nvPr/>
            </p:nvSpPr>
            <p:spPr bwMode="auto">
              <a:xfrm>
                <a:off x="3472"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87" name="Freeform 83">
                <a:extLst>
                  <a:ext uri="{FF2B5EF4-FFF2-40B4-BE49-F238E27FC236}">
                    <a16:creationId xmlns:a16="http://schemas.microsoft.com/office/drawing/2014/main" id="{08537CB0-8B09-491A-8258-D40380E5056E}"/>
                  </a:ext>
                </a:extLst>
              </p:cNvPr>
              <p:cNvSpPr>
                <a:spLocks/>
              </p:cNvSpPr>
              <p:nvPr/>
            </p:nvSpPr>
            <p:spPr bwMode="auto">
              <a:xfrm>
                <a:off x="3774"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88" name="Freeform 84">
                <a:extLst>
                  <a:ext uri="{FF2B5EF4-FFF2-40B4-BE49-F238E27FC236}">
                    <a16:creationId xmlns:a16="http://schemas.microsoft.com/office/drawing/2014/main" id="{BE158AFB-0921-4C32-B989-EF170D72A915}"/>
                  </a:ext>
                </a:extLst>
              </p:cNvPr>
              <p:cNvSpPr>
                <a:spLocks/>
              </p:cNvSpPr>
              <p:nvPr/>
            </p:nvSpPr>
            <p:spPr bwMode="auto">
              <a:xfrm>
                <a:off x="3764" y="1922"/>
                <a:ext cx="52" cy="32"/>
              </a:xfrm>
              <a:custGeom>
                <a:avLst/>
                <a:gdLst>
                  <a:gd name="T0" fmla="*/ 6 w 35"/>
                  <a:gd name="T1" fmla="*/ 22 h 22"/>
                  <a:gd name="T2" fmla="*/ 1 w 35"/>
                  <a:gd name="T3" fmla="*/ 19 h 22"/>
                  <a:gd name="T4" fmla="*/ 4 w 35"/>
                  <a:gd name="T5" fmla="*/ 11 h 22"/>
                  <a:gd name="T6" fmla="*/ 26 w 35"/>
                  <a:gd name="T7" fmla="*/ 2 h 22"/>
                  <a:gd name="T8" fmla="*/ 34 w 35"/>
                  <a:gd name="T9" fmla="*/ 5 h 22"/>
                  <a:gd name="T10" fmla="*/ 31 w 35"/>
                  <a:gd name="T11" fmla="*/ 13 h 22"/>
                  <a:gd name="T12" fmla="*/ 9 w 35"/>
                  <a:gd name="T13" fmla="*/ 22 h 22"/>
                  <a:gd name="T14" fmla="*/ 6 w 35"/>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2">
                    <a:moveTo>
                      <a:pt x="6" y="22"/>
                    </a:moveTo>
                    <a:cubicBezTo>
                      <a:pt x="4" y="22"/>
                      <a:pt x="2" y="21"/>
                      <a:pt x="1" y="19"/>
                    </a:cubicBezTo>
                    <a:cubicBezTo>
                      <a:pt x="0" y="16"/>
                      <a:pt x="1" y="12"/>
                      <a:pt x="4" y="11"/>
                    </a:cubicBezTo>
                    <a:cubicBezTo>
                      <a:pt x="26" y="2"/>
                      <a:pt x="26" y="2"/>
                      <a:pt x="26" y="2"/>
                    </a:cubicBezTo>
                    <a:cubicBezTo>
                      <a:pt x="29" y="0"/>
                      <a:pt x="33" y="2"/>
                      <a:pt x="34" y="5"/>
                    </a:cubicBezTo>
                    <a:cubicBezTo>
                      <a:pt x="35" y="8"/>
                      <a:pt x="34" y="11"/>
                      <a:pt x="31" y="13"/>
                    </a:cubicBezTo>
                    <a:cubicBezTo>
                      <a:pt x="9" y="22"/>
                      <a:pt x="9" y="22"/>
                      <a:pt x="9" y="22"/>
                    </a:cubicBezTo>
                    <a:cubicBezTo>
                      <a:pt x="8" y="22"/>
                      <a:pt x="7" y="22"/>
                      <a:pt x="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89" name="Freeform 85">
                <a:extLst>
                  <a:ext uri="{FF2B5EF4-FFF2-40B4-BE49-F238E27FC236}">
                    <a16:creationId xmlns:a16="http://schemas.microsoft.com/office/drawing/2014/main" id="{02728AE0-A8CC-49AC-9911-1A87510EF1AB}"/>
                  </a:ext>
                </a:extLst>
              </p:cNvPr>
              <p:cNvSpPr>
                <a:spLocks/>
              </p:cNvSpPr>
              <p:nvPr/>
            </p:nvSpPr>
            <p:spPr bwMode="auto">
              <a:xfrm>
                <a:off x="3691" y="1832"/>
                <a:ext cx="34" cy="51"/>
              </a:xfrm>
              <a:custGeom>
                <a:avLst/>
                <a:gdLst>
                  <a:gd name="T0" fmla="*/ 7 w 23"/>
                  <a:gd name="T1" fmla="*/ 35 h 35"/>
                  <a:gd name="T2" fmla="*/ 4 w 23"/>
                  <a:gd name="T3" fmla="*/ 34 h 35"/>
                  <a:gd name="T4" fmla="*/ 1 w 23"/>
                  <a:gd name="T5" fmla="*/ 26 h 35"/>
                  <a:gd name="T6" fmla="*/ 10 w 23"/>
                  <a:gd name="T7" fmla="*/ 4 h 35"/>
                  <a:gd name="T8" fmla="*/ 18 w 23"/>
                  <a:gd name="T9" fmla="*/ 1 h 35"/>
                  <a:gd name="T10" fmla="*/ 21 w 23"/>
                  <a:gd name="T11" fmla="*/ 9 h 35"/>
                  <a:gd name="T12" fmla="*/ 12 w 23"/>
                  <a:gd name="T13" fmla="*/ 31 h 35"/>
                  <a:gd name="T14" fmla="*/ 7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7" y="35"/>
                    </a:moveTo>
                    <a:cubicBezTo>
                      <a:pt x="6" y="35"/>
                      <a:pt x="5" y="35"/>
                      <a:pt x="4" y="34"/>
                    </a:cubicBezTo>
                    <a:cubicBezTo>
                      <a:pt x="1" y="33"/>
                      <a:pt x="0" y="29"/>
                      <a:pt x="1" y="26"/>
                    </a:cubicBezTo>
                    <a:cubicBezTo>
                      <a:pt x="10" y="4"/>
                      <a:pt x="10" y="4"/>
                      <a:pt x="10" y="4"/>
                    </a:cubicBezTo>
                    <a:cubicBezTo>
                      <a:pt x="12" y="1"/>
                      <a:pt x="15" y="0"/>
                      <a:pt x="18" y="1"/>
                    </a:cubicBezTo>
                    <a:cubicBezTo>
                      <a:pt x="21" y="2"/>
                      <a:pt x="23" y="6"/>
                      <a:pt x="21" y="9"/>
                    </a:cubicBezTo>
                    <a:cubicBezTo>
                      <a:pt x="12" y="31"/>
                      <a:pt x="12" y="31"/>
                      <a:pt x="12" y="31"/>
                    </a:cubicBezTo>
                    <a:cubicBezTo>
                      <a:pt x="11" y="33"/>
                      <a:pt x="9" y="35"/>
                      <a:pt x="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90" name="Freeform 86">
                <a:extLst>
                  <a:ext uri="{FF2B5EF4-FFF2-40B4-BE49-F238E27FC236}">
                    <a16:creationId xmlns:a16="http://schemas.microsoft.com/office/drawing/2014/main" id="{99C6F84E-E72B-4761-8FA3-54814A6DAEBA}"/>
                  </a:ext>
                </a:extLst>
              </p:cNvPr>
              <p:cNvSpPr>
                <a:spLocks/>
              </p:cNvSpPr>
              <p:nvPr/>
            </p:nvSpPr>
            <p:spPr bwMode="auto">
              <a:xfrm>
                <a:off x="3641" y="1820"/>
                <a:ext cx="18"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10" y="0"/>
                      <a:pt x="12" y="3"/>
                      <a:pt x="12" y="6"/>
                    </a:cubicBezTo>
                    <a:cubicBezTo>
                      <a:pt x="12" y="30"/>
                      <a:pt x="12" y="30"/>
                      <a:pt x="12" y="30"/>
                    </a:cubicBezTo>
                    <a:cubicBezTo>
                      <a:pt x="12" y="33"/>
                      <a:pt x="10"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91" name="Freeform 87">
                <a:extLst>
                  <a:ext uri="{FF2B5EF4-FFF2-40B4-BE49-F238E27FC236}">
                    <a16:creationId xmlns:a16="http://schemas.microsoft.com/office/drawing/2014/main" id="{63371E9B-1CC7-4E53-9C9A-7CBEE97E2823}"/>
                  </a:ext>
                </a:extLst>
              </p:cNvPr>
              <p:cNvSpPr>
                <a:spLocks/>
              </p:cNvSpPr>
              <p:nvPr/>
            </p:nvSpPr>
            <p:spPr bwMode="auto">
              <a:xfrm>
                <a:off x="3576" y="1832"/>
                <a:ext cx="34" cy="51"/>
              </a:xfrm>
              <a:custGeom>
                <a:avLst/>
                <a:gdLst>
                  <a:gd name="T0" fmla="*/ 16 w 23"/>
                  <a:gd name="T1" fmla="*/ 35 h 35"/>
                  <a:gd name="T2" fmla="*/ 10 w 23"/>
                  <a:gd name="T3" fmla="*/ 31 h 35"/>
                  <a:gd name="T4" fmla="*/ 1 w 23"/>
                  <a:gd name="T5" fmla="*/ 9 h 35"/>
                  <a:gd name="T6" fmla="*/ 4 w 23"/>
                  <a:gd name="T7" fmla="*/ 1 h 35"/>
                  <a:gd name="T8" fmla="*/ 12 w 23"/>
                  <a:gd name="T9" fmla="*/ 4 h 35"/>
                  <a:gd name="T10" fmla="*/ 21 w 23"/>
                  <a:gd name="T11" fmla="*/ 26 h 35"/>
                  <a:gd name="T12" fmla="*/ 18 w 23"/>
                  <a:gd name="T13" fmla="*/ 34 h 35"/>
                  <a:gd name="T14" fmla="*/ 16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16" y="35"/>
                    </a:moveTo>
                    <a:cubicBezTo>
                      <a:pt x="13" y="35"/>
                      <a:pt x="11" y="33"/>
                      <a:pt x="10" y="31"/>
                    </a:cubicBezTo>
                    <a:cubicBezTo>
                      <a:pt x="1" y="9"/>
                      <a:pt x="1" y="9"/>
                      <a:pt x="1" y="9"/>
                    </a:cubicBezTo>
                    <a:cubicBezTo>
                      <a:pt x="0" y="6"/>
                      <a:pt x="1" y="2"/>
                      <a:pt x="4" y="1"/>
                    </a:cubicBezTo>
                    <a:cubicBezTo>
                      <a:pt x="7" y="0"/>
                      <a:pt x="11" y="1"/>
                      <a:pt x="12" y="4"/>
                    </a:cubicBezTo>
                    <a:cubicBezTo>
                      <a:pt x="21" y="26"/>
                      <a:pt x="21" y="26"/>
                      <a:pt x="21" y="26"/>
                    </a:cubicBezTo>
                    <a:cubicBezTo>
                      <a:pt x="23" y="29"/>
                      <a:pt x="21" y="33"/>
                      <a:pt x="18" y="34"/>
                    </a:cubicBezTo>
                    <a:cubicBezTo>
                      <a:pt x="17" y="35"/>
                      <a:pt x="17" y="35"/>
                      <a:pt x="1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92" name="Freeform 88">
                <a:extLst>
                  <a:ext uri="{FF2B5EF4-FFF2-40B4-BE49-F238E27FC236}">
                    <a16:creationId xmlns:a16="http://schemas.microsoft.com/office/drawing/2014/main" id="{BC05FA1D-AB27-457F-BDD7-3F138CB0074C}"/>
                  </a:ext>
                </a:extLst>
              </p:cNvPr>
              <p:cNvSpPr>
                <a:spLocks/>
              </p:cNvSpPr>
              <p:nvPr/>
            </p:nvSpPr>
            <p:spPr bwMode="auto">
              <a:xfrm>
                <a:off x="3521" y="1869"/>
                <a:ext cx="45" cy="42"/>
              </a:xfrm>
              <a:custGeom>
                <a:avLst/>
                <a:gdLst>
                  <a:gd name="T0" fmla="*/ 24 w 30"/>
                  <a:gd name="T1" fmla="*/ 29 h 29"/>
                  <a:gd name="T2" fmla="*/ 19 w 30"/>
                  <a:gd name="T3" fmla="*/ 27 h 29"/>
                  <a:gd name="T4" fmla="*/ 2 w 30"/>
                  <a:gd name="T5" fmla="*/ 10 h 29"/>
                  <a:gd name="T6" fmla="*/ 2 w 30"/>
                  <a:gd name="T7" fmla="*/ 2 h 29"/>
                  <a:gd name="T8" fmla="*/ 11 w 30"/>
                  <a:gd name="T9" fmla="*/ 2 h 29"/>
                  <a:gd name="T10" fmla="*/ 28 w 30"/>
                  <a:gd name="T11" fmla="*/ 19 h 29"/>
                  <a:gd name="T12" fmla="*/ 28 w 30"/>
                  <a:gd name="T13" fmla="*/ 27 h 29"/>
                  <a:gd name="T14" fmla="*/ 24 w 30"/>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24" y="29"/>
                    </a:moveTo>
                    <a:cubicBezTo>
                      <a:pt x="22" y="29"/>
                      <a:pt x="21" y="29"/>
                      <a:pt x="19" y="27"/>
                    </a:cubicBezTo>
                    <a:cubicBezTo>
                      <a:pt x="2" y="10"/>
                      <a:pt x="2" y="10"/>
                      <a:pt x="2" y="10"/>
                    </a:cubicBezTo>
                    <a:cubicBezTo>
                      <a:pt x="0" y="8"/>
                      <a:pt x="0" y="4"/>
                      <a:pt x="2" y="2"/>
                    </a:cubicBezTo>
                    <a:cubicBezTo>
                      <a:pt x="5" y="0"/>
                      <a:pt x="9" y="0"/>
                      <a:pt x="11" y="2"/>
                    </a:cubicBezTo>
                    <a:cubicBezTo>
                      <a:pt x="28" y="19"/>
                      <a:pt x="28" y="19"/>
                      <a:pt x="28" y="19"/>
                    </a:cubicBezTo>
                    <a:cubicBezTo>
                      <a:pt x="30" y="21"/>
                      <a:pt x="30" y="25"/>
                      <a:pt x="28" y="27"/>
                    </a:cubicBezTo>
                    <a:cubicBezTo>
                      <a:pt x="27" y="29"/>
                      <a:pt x="25" y="29"/>
                      <a:pt x="2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93" name="Freeform 89">
                <a:extLst>
                  <a:ext uri="{FF2B5EF4-FFF2-40B4-BE49-F238E27FC236}">
                    <a16:creationId xmlns:a16="http://schemas.microsoft.com/office/drawing/2014/main" id="{A7EF6834-36E4-4F45-97CE-1304A6C66DA0}"/>
                  </a:ext>
                </a:extLst>
              </p:cNvPr>
              <p:cNvSpPr>
                <a:spLocks/>
              </p:cNvSpPr>
              <p:nvPr/>
            </p:nvSpPr>
            <p:spPr bwMode="auto">
              <a:xfrm>
                <a:off x="3484" y="1922"/>
                <a:ext cx="54" cy="32"/>
              </a:xfrm>
              <a:custGeom>
                <a:avLst/>
                <a:gdLst>
                  <a:gd name="T0" fmla="*/ 29 w 36"/>
                  <a:gd name="T1" fmla="*/ 22 h 22"/>
                  <a:gd name="T2" fmla="*/ 27 w 36"/>
                  <a:gd name="T3" fmla="*/ 22 h 22"/>
                  <a:gd name="T4" fmla="*/ 5 w 36"/>
                  <a:gd name="T5" fmla="*/ 13 h 22"/>
                  <a:gd name="T6" fmla="*/ 1 w 36"/>
                  <a:gd name="T7" fmla="*/ 5 h 22"/>
                  <a:gd name="T8" fmla="*/ 9 w 36"/>
                  <a:gd name="T9" fmla="*/ 2 h 22"/>
                  <a:gd name="T10" fmla="*/ 31 w 36"/>
                  <a:gd name="T11" fmla="*/ 11 h 22"/>
                  <a:gd name="T12" fmla="*/ 35 w 36"/>
                  <a:gd name="T13" fmla="*/ 19 h 22"/>
                  <a:gd name="T14" fmla="*/ 29 w 3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2">
                    <a:moveTo>
                      <a:pt x="29" y="22"/>
                    </a:moveTo>
                    <a:cubicBezTo>
                      <a:pt x="28" y="22"/>
                      <a:pt x="28" y="22"/>
                      <a:pt x="27" y="22"/>
                    </a:cubicBezTo>
                    <a:cubicBezTo>
                      <a:pt x="5" y="13"/>
                      <a:pt x="5" y="13"/>
                      <a:pt x="5" y="13"/>
                    </a:cubicBezTo>
                    <a:cubicBezTo>
                      <a:pt x="2" y="11"/>
                      <a:pt x="0" y="8"/>
                      <a:pt x="1" y="5"/>
                    </a:cubicBezTo>
                    <a:cubicBezTo>
                      <a:pt x="3" y="2"/>
                      <a:pt x="6" y="0"/>
                      <a:pt x="9" y="2"/>
                    </a:cubicBezTo>
                    <a:cubicBezTo>
                      <a:pt x="31" y="11"/>
                      <a:pt x="31" y="11"/>
                      <a:pt x="31" y="11"/>
                    </a:cubicBezTo>
                    <a:cubicBezTo>
                      <a:pt x="34" y="12"/>
                      <a:pt x="36" y="16"/>
                      <a:pt x="35" y="19"/>
                    </a:cubicBezTo>
                    <a:cubicBezTo>
                      <a:pt x="34" y="21"/>
                      <a:pt x="31" y="22"/>
                      <a:pt x="2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94" name="Freeform 90">
                <a:extLst>
                  <a:ext uri="{FF2B5EF4-FFF2-40B4-BE49-F238E27FC236}">
                    <a16:creationId xmlns:a16="http://schemas.microsoft.com/office/drawing/2014/main" id="{A07352E1-7629-405C-8AFD-A10E99C4E765}"/>
                  </a:ext>
                </a:extLst>
              </p:cNvPr>
              <p:cNvSpPr>
                <a:spLocks noEditPoints="1"/>
              </p:cNvSpPr>
              <p:nvPr/>
            </p:nvSpPr>
            <p:spPr bwMode="auto">
              <a:xfrm>
                <a:off x="3437" y="1784"/>
                <a:ext cx="426" cy="302"/>
              </a:xfrm>
              <a:custGeom>
                <a:avLst/>
                <a:gdLst>
                  <a:gd name="T0" fmla="*/ 282 w 288"/>
                  <a:gd name="T1" fmla="*/ 204 h 204"/>
                  <a:gd name="T2" fmla="*/ 6 w 288"/>
                  <a:gd name="T3" fmla="*/ 204 h 204"/>
                  <a:gd name="T4" fmla="*/ 0 w 288"/>
                  <a:gd name="T5" fmla="*/ 198 h 204"/>
                  <a:gd name="T6" fmla="*/ 0 w 288"/>
                  <a:gd name="T7" fmla="*/ 144 h 204"/>
                  <a:gd name="T8" fmla="*/ 144 w 288"/>
                  <a:gd name="T9" fmla="*/ 0 h 204"/>
                  <a:gd name="T10" fmla="*/ 288 w 288"/>
                  <a:gd name="T11" fmla="*/ 144 h 204"/>
                  <a:gd name="T12" fmla="*/ 288 w 288"/>
                  <a:gd name="T13" fmla="*/ 198 h 204"/>
                  <a:gd name="T14" fmla="*/ 282 w 288"/>
                  <a:gd name="T15" fmla="*/ 204 h 204"/>
                  <a:gd name="T16" fmla="*/ 12 w 288"/>
                  <a:gd name="T17" fmla="*/ 192 h 204"/>
                  <a:gd name="T18" fmla="*/ 276 w 288"/>
                  <a:gd name="T19" fmla="*/ 192 h 204"/>
                  <a:gd name="T20" fmla="*/ 276 w 288"/>
                  <a:gd name="T21" fmla="*/ 144 h 204"/>
                  <a:gd name="T22" fmla="*/ 144 w 288"/>
                  <a:gd name="T23" fmla="*/ 12 h 204"/>
                  <a:gd name="T24" fmla="*/ 12 w 288"/>
                  <a:gd name="T25" fmla="*/ 144 h 204"/>
                  <a:gd name="T26" fmla="*/ 12 w 288"/>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04">
                    <a:moveTo>
                      <a:pt x="282" y="204"/>
                    </a:moveTo>
                    <a:cubicBezTo>
                      <a:pt x="6" y="204"/>
                      <a:pt x="6" y="204"/>
                      <a:pt x="6" y="204"/>
                    </a:cubicBezTo>
                    <a:cubicBezTo>
                      <a:pt x="3" y="204"/>
                      <a:pt x="0" y="201"/>
                      <a:pt x="0" y="198"/>
                    </a:cubicBezTo>
                    <a:cubicBezTo>
                      <a:pt x="0" y="144"/>
                      <a:pt x="0" y="144"/>
                      <a:pt x="0" y="144"/>
                    </a:cubicBezTo>
                    <a:cubicBezTo>
                      <a:pt x="0" y="64"/>
                      <a:pt x="65" y="0"/>
                      <a:pt x="144" y="0"/>
                    </a:cubicBezTo>
                    <a:cubicBezTo>
                      <a:pt x="224" y="0"/>
                      <a:pt x="288" y="64"/>
                      <a:pt x="288" y="144"/>
                    </a:cubicBezTo>
                    <a:cubicBezTo>
                      <a:pt x="288" y="198"/>
                      <a:pt x="288" y="198"/>
                      <a:pt x="288" y="198"/>
                    </a:cubicBezTo>
                    <a:cubicBezTo>
                      <a:pt x="288" y="201"/>
                      <a:pt x="286" y="204"/>
                      <a:pt x="282" y="204"/>
                    </a:cubicBezTo>
                    <a:close/>
                    <a:moveTo>
                      <a:pt x="12" y="192"/>
                    </a:moveTo>
                    <a:cubicBezTo>
                      <a:pt x="276" y="192"/>
                      <a:pt x="276" y="192"/>
                      <a:pt x="276" y="192"/>
                    </a:cubicBezTo>
                    <a:cubicBezTo>
                      <a:pt x="276" y="144"/>
                      <a:pt x="276" y="144"/>
                      <a:pt x="276" y="144"/>
                    </a:cubicBezTo>
                    <a:cubicBezTo>
                      <a:pt x="276" y="71"/>
                      <a:pt x="217" y="12"/>
                      <a:pt x="144" y="12"/>
                    </a:cubicBezTo>
                    <a:cubicBezTo>
                      <a:pt x="71" y="12"/>
                      <a:pt x="12" y="71"/>
                      <a:pt x="12" y="144"/>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sp>
          <p:nvSpPr>
            <p:cNvPr id="16" name="Rectangle 15">
              <a:extLst>
                <a:ext uri="{FF2B5EF4-FFF2-40B4-BE49-F238E27FC236}">
                  <a16:creationId xmlns:a16="http://schemas.microsoft.com/office/drawing/2014/main" id="{50723CCF-4FCE-45A2-839D-1E5A4C70D779}"/>
                </a:ext>
                <a:ext uri="{C183D7F6-B498-43B3-948B-1728B52AA6E4}">
                  <adec:decorative xmlns:adec="http://schemas.microsoft.com/office/drawing/2017/decorative" val="1"/>
                </a:ext>
              </a:extLst>
            </p:cNvPr>
            <p:cNvSpPr/>
            <p:nvPr userDrawn="1"/>
          </p:nvSpPr>
          <p:spPr>
            <a:xfrm>
              <a:off x="5463471" y="2761347"/>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139" name="Group 4" descr="Scale">
              <a:extLst>
                <a:ext uri="{FF2B5EF4-FFF2-40B4-BE49-F238E27FC236}">
                  <a16:creationId xmlns:a16="http://schemas.microsoft.com/office/drawing/2014/main" id="{F143B71D-F6F1-4884-A873-C412FB513AC9}"/>
                </a:ext>
                <a:ext uri="{C183D7F6-B498-43B3-948B-1728B52AA6E4}">
                  <adec:decorative xmlns:adec="http://schemas.microsoft.com/office/drawing/2017/decorative" val="0"/>
                </a:ext>
              </a:extLst>
            </p:cNvPr>
            <p:cNvGrpSpPr>
              <a:grpSpLocks noChangeAspect="1"/>
            </p:cNvGrpSpPr>
            <p:nvPr/>
          </p:nvGrpSpPr>
          <p:grpSpPr bwMode="auto">
            <a:xfrm>
              <a:off x="5871933" y="3163253"/>
              <a:ext cx="495324" cy="388938"/>
              <a:chOff x="526" y="708"/>
              <a:chExt cx="433" cy="340"/>
            </a:xfrm>
            <a:solidFill>
              <a:schemeClr val="accent1"/>
            </a:solidFill>
          </p:grpSpPr>
          <p:sp>
            <p:nvSpPr>
              <p:cNvPr id="140" name="Freeform 5">
                <a:extLst>
                  <a:ext uri="{FF2B5EF4-FFF2-40B4-BE49-F238E27FC236}">
                    <a16:creationId xmlns:a16="http://schemas.microsoft.com/office/drawing/2014/main" id="{F1053F0F-8C08-4323-952A-B5B326670C05}"/>
                  </a:ext>
                </a:extLst>
              </p:cNvPr>
              <p:cNvSpPr>
                <a:spLocks/>
              </p:cNvSpPr>
              <p:nvPr/>
            </p:nvSpPr>
            <p:spPr bwMode="auto">
              <a:xfrm>
                <a:off x="724" y="760"/>
                <a:ext cx="19" cy="288"/>
              </a:xfrm>
              <a:custGeom>
                <a:avLst/>
                <a:gdLst>
                  <a:gd name="T0" fmla="*/ 6 w 12"/>
                  <a:gd name="T1" fmla="*/ 193 h 193"/>
                  <a:gd name="T2" fmla="*/ 0 w 12"/>
                  <a:gd name="T3" fmla="*/ 187 h 193"/>
                  <a:gd name="T4" fmla="*/ 0 w 12"/>
                  <a:gd name="T5" fmla="*/ 6 h 193"/>
                  <a:gd name="T6" fmla="*/ 6 w 12"/>
                  <a:gd name="T7" fmla="*/ 0 h 193"/>
                  <a:gd name="T8" fmla="*/ 12 w 12"/>
                  <a:gd name="T9" fmla="*/ 6 h 193"/>
                  <a:gd name="T10" fmla="*/ 12 w 12"/>
                  <a:gd name="T11" fmla="*/ 187 h 193"/>
                  <a:gd name="T12" fmla="*/ 6 w 12"/>
                  <a:gd name="T13" fmla="*/ 193 h 193"/>
                </a:gdLst>
                <a:ahLst/>
                <a:cxnLst>
                  <a:cxn ang="0">
                    <a:pos x="T0" y="T1"/>
                  </a:cxn>
                  <a:cxn ang="0">
                    <a:pos x="T2" y="T3"/>
                  </a:cxn>
                  <a:cxn ang="0">
                    <a:pos x="T4" y="T5"/>
                  </a:cxn>
                  <a:cxn ang="0">
                    <a:pos x="T6" y="T7"/>
                  </a:cxn>
                  <a:cxn ang="0">
                    <a:pos x="T8" y="T9"/>
                  </a:cxn>
                  <a:cxn ang="0">
                    <a:pos x="T10" y="T11"/>
                  </a:cxn>
                  <a:cxn ang="0">
                    <a:pos x="T12" y="T13"/>
                  </a:cxn>
                </a:cxnLst>
                <a:rect l="0" t="0" r="r" b="b"/>
                <a:pathLst>
                  <a:path w="12" h="193">
                    <a:moveTo>
                      <a:pt x="6" y="193"/>
                    </a:moveTo>
                    <a:cubicBezTo>
                      <a:pt x="3" y="193"/>
                      <a:pt x="0" y="191"/>
                      <a:pt x="0" y="187"/>
                    </a:cubicBezTo>
                    <a:cubicBezTo>
                      <a:pt x="0" y="6"/>
                      <a:pt x="0" y="6"/>
                      <a:pt x="0" y="6"/>
                    </a:cubicBezTo>
                    <a:cubicBezTo>
                      <a:pt x="0" y="3"/>
                      <a:pt x="3" y="0"/>
                      <a:pt x="6" y="0"/>
                    </a:cubicBezTo>
                    <a:cubicBezTo>
                      <a:pt x="9" y="0"/>
                      <a:pt x="12" y="3"/>
                      <a:pt x="12" y="6"/>
                    </a:cubicBezTo>
                    <a:cubicBezTo>
                      <a:pt x="12" y="187"/>
                      <a:pt x="12" y="187"/>
                      <a:pt x="12" y="187"/>
                    </a:cubicBezTo>
                    <a:cubicBezTo>
                      <a:pt x="12" y="191"/>
                      <a:pt x="9" y="193"/>
                      <a:pt x="6"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6">
                <a:extLst>
                  <a:ext uri="{FF2B5EF4-FFF2-40B4-BE49-F238E27FC236}">
                    <a16:creationId xmlns:a16="http://schemas.microsoft.com/office/drawing/2014/main" id="{5FF8CD5D-EF85-4178-AE51-C4A9EF7DC66B}"/>
                  </a:ext>
                </a:extLst>
              </p:cNvPr>
              <p:cNvSpPr>
                <a:spLocks/>
              </p:cNvSpPr>
              <p:nvPr/>
            </p:nvSpPr>
            <p:spPr bwMode="auto">
              <a:xfrm>
                <a:off x="670" y="1030"/>
                <a:ext cx="126" cy="18"/>
              </a:xfrm>
              <a:custGeom>
                <a:avLst/>
                <a:gdLst>
                  <a:gd name="T0" fmla="*/ 76 w 82"/>
                  <a:gd name="T1" fmla="*/ 12 h 12"/>
                  <a:gd name="T2" fmla="*/ 6 w 82"/>
                  <a:gd name="T3" fmla="*/ 12 h 12"/>
                  <a:gd name="T4" fmla="*/ 0 w 82"/>
                  <a:gd name="T5" fmla="*/ 6 h 12"/>
                  <a:gd name="T6" fmla="*/ 6 w 82"/>
                  <a:gd name="T7" fmla="*/ 0 h 12"/>
                  <a:gd name="T8" fmla="*/ 76 w 82"/>
                  <a:gd name="T9" fmla="*/ 0 h 12"/>
                  <a:gd name="T10" fmla="*/ 82 w 82"/>
                  <a:gd name="T11" fmla="*/ 6 h 12"/>
                  <a:gd name="T12" fmla="*/ 76 w 8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2" h="12">
                    <a:moveTo>
                      <a:pt x="76" y="12"/>
                    </a:moveTo>
                    <a:cubicBezTo>
                      <a:pt x="6" y="12"/>
                      <a:pt x="6" y="12"/>
                      <a:pt x="6" y="12"/>
                    </a:cubicBezTo>
                    <a:cubicBezTo>
                      <a:pt x="3" y="12"/>
                      <a:pt x="0" y="10"/>
                      <a:pt x="0" y="6"/>
                    </a:cubicBezTo>
                    <a:cubicBezTo>
                      <a:pt x="0" y="3"/>
                      <a:pt x="3" y="0"/>
                      <a:pt x="6" y="0"/>
                    </a:cubicBezTo>
                    <a:cubicBezTo>
                      <a:pt x="76" y="0"/>
                      <a:pt x="76" y="0"/>
                      <a:pt x="76" y="0"/>
                    </a:cubicBezTo>
                    <a:cubicBezTo>
                      <a:pt x="79" y="0"/>
                      <a:pt x="82" y="3"/>
                      <a:pt x="82" y="6"/>
                    </a:cubicBezTo>
                    <a:cubicBezTo>
                      <a:pt x="82" y="10"/>
                      <a:pt x="79" y="12"/>
                      <a:pt x="7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Freeform 7">
                <a:extLst>
                  <a:ext uri="{FF2B5EF4-FFF2-40B4-BE49-F238E27FC236}">
                    <a16:creationId xmlns:a16="http://schemas.microsoft.com/office/drawing/2014/main" id="{4F307D25-925C-41CE-B278-CCD0C64E578E}"/>
                  </a:ext>
                </a:extLst>
              </p:cNvPr>
              <p:cNvSpPr>
                <a:spLocks/>
              </p:cNvSpPr>
              <p:nvPr/>
            </p:nvSpPr>
            <p:spPr bwMode="auto">
              <a:xfrm>
                <a:off x="526" y="727"/>
                <a:ext cx="146" cy="161"/>
              </a:xfrm>
              <a:custGeom>
                <a:avLst/>
                <a:gdLst>
                  <a:gd name="T0" fmla="*/ 88 w 95"/>
                  <a:gd name="T1" fmla="*/ 107 h 108"/>
                  <a:gd name="T2" fmla="*/ 83 w 95"/>
                  <a:gd name="T3" fmla="*/ 104 h 108"/>
                  <a:gd name="T4" fmla="*/ 47 w 95"/>
                  <a:gd name="T5" fmla="*/ 21 h 108"/>
                  <a:gd name="T6" fmla="*/ 12 w 95"/>
                  <a:gd name="T7" fmla="*/ 104 h 108"/>
                  <a:gd name="T8" fmla="*/ 4 w 95"/>
                  <a:gd name="T9" fmla="*/ 107 h 108"/>
                  <a:gd name="T10" fmla="*/ 1 w 95"/>
                  <a:gd name="T11" fmla="*/ 99 h 108"/>
                  <a:gd name="T12" fmla="*/ 42 w 95"/>
                  <a:gd name="T13" fmla="*/ 3 h 108"/>
                  <a:gd name="T14" fmla="*/ 47 w 95"/>
                  <a:gd name="T15" fmla="*/ 0 h 108"/>
                  <a:gd name="T16" fmla="*/ 47 w 95"/>
                  <a:gd name="T17" fmla="*/ 0 h 108"/>
                  <a:gd name="T18" fmla="*/ 53 w 95"/>
                  <a:gd name="T19" fmla="*/ 3 h 108"/>
                  <a:gd name="T20" fmla="*/ 94 w 95"/>
                  <a:gd name="T21" fmla="*/ 99 h 108"/>
                  <a:gd name="T22" fmla="*/ 90 w 95"/>
                  <a:gd name="T23" fmla="*/ 107 h 108"/>
                  <a:gd name="T24" fmla="*/ 88 w 95"/>
                  <a:gd name="T25" fmla="*/ 10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8">
                    <a:moveTo>
                      <a:pt x="88" y="107"/>
                    </a:moveTo>
                    <a:cubicBezTo>
                      <a:pt x="86" y="107"/>
                      <a:pt x="84" y="106"/>
                      <a:pt x="83" y="104"/>
                    </a:cubicBezTo>
                    <a:cubicBezTo>
                      <a:pt x="47" y="21"/>
                      <a:pt x="47" y="21"/>
                      <a:pt x="47" y="21"/>
                    </a:cubicBezTo>
                    <a:cubicBezTo>
                      <a:pt x="12" y="104"/>
                      <a:pt x="12" y="104"/>
                      <a:pt x="12" y="104"/>
                    </a:cubicBezTo>
                    <a:cubicBezTo>
                      <a:pt x="11" y="107"/>
                      <a:pt x="7" y="108"/>
                      <a:pt x="4" y="107"/>
                    </a:cubicBezTo>
                    <a:cubicBezTo>
                      <a:pt x="1" y="105"/>
                      <a:pt x="0" y="102"/>
                      <a:pt x="1" y="99"/>
                    </a:cubicBezTo>
                    <a:cubicBezTo>
                      <a:pt x="42" y="3"/>
                      <a:pt x="42" y="3"/>
                      <a:pt x="42" y="3"/>
                    </a:cubicBezTo>
                    <a:cubicBezTo>
                      <a:pt x="43" y="1"/>
                      <a:pt x="45" y="0"/>
                      <a:pt x="47" y="0"/>
                    </a:cubicBezTo>
                    <a:cubicBezTo>
                      <a:pt x="47" y="0"/>
                      <a:pt x="47" y="0"/>
                      <a:pt x="47" y="0"/>
                    </a:cubicBezTo>
                    <a:cubicBezTo>
                      <a:pt x="50" y="0"/>
                      <a:pt x="52" y="1"/>
                      <a:pt x="53" y="3"/>
                    </a:cubicBezTo>
                    <a:cubicBezTo>
                      <a:pt x="94" y="99"/>
                      <a:pt x="94" y="99"/>
                      <a:pt x="94" y="99"/>
                    </a:cubicBezTo>
                    <a:cubicBezTo>
                      <a:pt x="95" y="102"/>
                      <a:pt x="94" y="105"/>
                      <a:pt x="90" y="107"/>
                    </a:cubicBezTo>
                    <a:cubicBezTo>
                      <a:pt x="90" y="107"/>
                      <a:pt x="89" y="107"/>
                      <a:pt x="88"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Freeform 8">
                <a:extLst>
                  <a:ext uri="{FF2B5EF4-FFF2-40B4-BE49-F238E27FC236}">
                    <a16:creationId xmlns:a16="http://schemas.microsoft.com/office/drawing/2014/main" id="{435C74B6-EB7B-4D53-9AD1-F3F3A33D0991}"/>
                  </a:ext>
                </a:extLst>
              </p:cNvPr>
              <p:cNvSpPr>
                <a:spLocks noEditPoints="1"/>
              </p:cNvSpPr>
              <p:nvPr/>
            </p:nvSpPr>
            <p:spPr bwMode="auto">
              <a:xfrm>
                <a:off x="697" y="708"/>
                <a:ext cx="73" cy="70"/>
              </a:xfrm>
              <a:custGeom>
                <a:avLst/>
                <a:gdLst>
                  <a:gd name="T0" fmla="*/ 24 w 48"/>
                  <a:gd name="T1" fmla="*/ 47 h 47"/>
                  <a:gd name="T2" fmla="*/ 0 w 48"/>
                  <a:gd name="T3" fmla="*/ 24 h 47"/>
                  <a:gd name="T4" fmla="*/ 24 w 48"/>
                  <a:gd name="T5" fmla="*/ 0 h 47"/>
                  <a:gd name="T6" fmla="*/ 48 w 48"/>
                  <a:gd name="T7" fmla="*/ 24 h 47"/>
                  <a:gd name="T8" fmla="*/ 24 w 48"/>
                  <a:gd name="T9" fmla="*/ 47 h 47"/>
                  <a:gd name="T10" fmla="*/ 24 w 48"/>
                  <a:gd name="T11" fmla="*/ 12 h 47"/>
                  <a:gd name="T12" fmla="*/ 12 w 48"/>
                  <a:gd name="T13" fmla="*/ 24 h 47"/>
                  <a:gd name="T14" fmla="*/ 24 w 48"/>
                  <a:gd name="T15" fmla="*/ 35 h 47"/>
                  <a:gd name="T16" fmla="*/ 36 w 48"/>
                  <a:gd name="T17" fmla="*/ 24 h 47"/>
                  <a:gd name="T18" fmla="*/ 24 w 48"/>
                  <a:gd name="T19"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7">
                    <a:moveTo>
                      <a:pt x="24" y="47"/>
                    </a:moveTo>
                    <a:cubicBezTo>
                      <a:pt x="11" y="47"/>
                      <a:pt x="0" y="37"/>
                      <a:pt x="0" y="24"/>
                    </a:cubicBezTo>
                    <a:cubicBezTo>
                      <a:pt x="0" y="11"/>
                      <a:pt x="11" y="0"/>
                      <a:pt x="24" y="0"/>
                    </a:cubicBezTo>
                    <a:cubicBezTo>
                      <a:pt x="37" y="0"/>
                      <a:pt x="48" y="11"/>
                      <a:pt x="48" y="24"/>
                    </a:cubicBezTo>
                    <a:cubicBezTo>
                      <a:pt x="48" y="37"/>
                      <a:pt x="37" y="47"/>
                      <a:pt x="24" y="47"/>
                    </a:cubicBezTo>
                    <a:close/>
                    <a:moveTo>
                      <a:pt x="24" y="12"/>
                    </a:moveTo>
                    <a:cubicBezTo>
                      <a:pt x="18" y="12"/>
                      <a:pt x="12" y="17"/>
                      <a:pt x="12" y="24"/>
                    </a:cubicBezTo>
                    <a:cubicBezTo>
                      <a:pt x="12" y="30"/>
                      <a:pt x="18" y="35"/>
                      <a:pt x="24" y="35"/>
                    </a:cubicBezTo>
                    <a:cubicBezTo>
                      <a:pt x="30" y="35"/>
                      <a:pt x="36" y="30"/>
                      <a:pt x="36" y="24"/>
                    </a:cubicBezTo>
                    <a:cubicBezTo>
                      <a:pt x="36" y="17"/>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9">
                <a:extLst>
                  <a:ext uri="{FF2B5EF4-FFF2-40B4-BE49-F238E27FC236}">
                    <a16:creationId xmlns:a16="http://schemas.microsoft.com/office/drawing/2014/main" id="{01981A03-2335-48B2-A4B1-69D270479459}"/>
                  </a:ext>
                </a:extLst>
              </p:cNvPr>
              <p:cNvSpPr>
                <a:spLocks noEditPoints="1"/>
              </p:cNvSpPr>
              <p:nvPr/>
            </p:nvSpPr>
            <p:spPr bwMode="auto">
              <a:xfrm>
                <a:off x="528" y="869"/>
                <a:ext cx="142" cy="84"/>
              </a:xfrm>
              <a:custGeom>
                <a:avLst/>
                <a:gdLst>
                  <a:gd name="T0" fmla="*/ 46 w 93"/>
                  <a:gd name="T1" fmla="*/ 56 h 56"/>
                  <a:gd name="T2" fmla="*/ 0 w 93"/>
                  <a:gd name="T3" fmla="*/ 6 h 56"/>
                  <a:gd name="T4" fmla="*/ 6 w 93"/>
                  <a:gd name="T5" fmla="*/ 0 h 56"/>
                  <a:gd name="T6" fmla="*/ 87 w 93"/>
                  <a:gd name="T7" fmla="*/ 0 h 56"/>
                  <a:gd name="T8" fmla="*/ 93 w 93"/>
                  <a:gd name="T9" fmla="*/ 6 h 56"/>
                  <a:gd name="T10" fmla="*/ 46 w 93"/>
                  <a:gd name="T11" fmla="*/ 56 h 56"/>
                  <a:gd name="T12" fmla="*/ 12 w 93"/>
                  <a:gd name="T13" fmla="*/ 12 h 56"/>
                  <a:gd name="T14" fmla="*/ 46 w 93"/>
                  <a:gd name="T15" fmla="*/ 44 h 56"/>
                  <a:gd name="T16" fmla="*/ 81 w 93"/>
                  <a:gd name="T17" fmla="*/ 12 h 56"/>
                  <a:gd name="T18" fmla="*/ 12 w 93"/>
                  <a:gd name="T19"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56">
                    <a:moveTo>
                      <a:pt x="46" y="56"/>
                    </a:moveTo>
                    <a:cubicBezTo>
                      <a:pt x="20" y="56"/>
                      <a:pt x="0" y="35"/>
                      <a:pt x="0" y="6"/>
                    </a:cubicBezTo>
                    <a:cubicBezTo>
                      <a:pt x="0" y="3"/>
                      <a:pt x="2" y="0"/>
                      <a:pt x="6" y="0"/>
                    </a:cubicBezTo>
                    <a:cubicBezTo>
                      <a:pt x="87" y="0"/>
                      <a:pt x="87" y="0"/>
                      <a:pt x="87" y="0"/>
                    </a:cubicBezTo>
                    <a:cubicBezTo>
                      <a:pt x="91" y="0"/>
                      <a:pt x="93" y="3"/>
                      <a:pt x="93" y="6"/>
                    </a:cubicBezTo>
                    <a:cubicBezTo>
                      <a:pt x="93" y="35"/>
                      <a:pt x="73" y="56"/>
                      <a:pt x="46" y="56"/>
                    </a:cubicBezTo>
                    <a:close/>
                    <a:moveTo>
                      <a:pt x="12" y="12"/>
                    </a:moveTo>
                    <a:cubicBezTo>
                      <a:pt x="14" y="31"/>
                      <a:pt x="28" y="44"/>
                      <a:pt x="46" y="44"/>
                    </a:cubicBezTo>
                    <a:cubicBezTo>
                      <a:pt x="64" y="44"/>
                      <a:pt x="78" y="31"/>
                      <a:pt x="81"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10">
                <a:extLst>
                  <a:ext uri="{FF2B5EF4-FFF2-40B4-BE49-F238E27FC236}">
                    <a16:creationId xmlns:a16="http://schemas.microsoft.com/office/drawing/2014/main" id="{00DE3F8E-DAF4-4712-8EB2-44B3A55F382B}"/>
                  </a:ext>
                </a:extLst>
              </p:cNvPr>
              <p:cNvSpPr>
                <a:spLocks/>
              </p:cNvSpPr>
              <p:nvPr/>
            </p:nvSpPr>
            <p:spPr bwMode="auto">
              <a:xfrm>
                <a:off x="813" y="726"/>
                <a:ext cx="146" cy="162"/>
              </a:xfrm>
              <a:custGeom>
                <a:avLst/>
                <a:gdLst>
                  <a:gd name="T0" fmla="*/ 6 w 95"/>
                  <a:gd name="T1" fmla="*/ 108 h 109"/>
                  <a:gd name="T2" fmla="*/ 4 w 95"/>
                  <a:gd name="T3" fmla="*/ 108 h 109"/>
                  <a:gd name="T4" fmla="*/ 1 w 95"/>
                  <a:gd name="T5" fmla="*/ 100 h 109"/>
                  <a:gd name="T6" fmla="*/ 42 w 95"/>
                  <a:gd name="T7" fmla="*/ 4 h 109"/>
                  <a:gd name="T8" fmla="*/ 47 w 95"/>
                  <a:gd name="T9" fmla="*/ 0 h 109"/>
                  <a:gd name="T10" fmla="*/ 47 w 95"/>
                  <a:gd name="T11" fmla="*/ 0 h 109"/>
                  <a:gd name="T12" fmla="*/ 53 w 95"/>
                  <a:gd name="T13" fmla="*/ 4 h 109"/>
                  <a:gd name="T14" fmla="*/ 94 w 95"/>
                  <a:gd name="T15" fmla="*/ 100 h 109"/>
                  <a:gd name="T16" fmla="*/ 90 w 95"/>
                  <a:gd name="T17" fmla="*/ 108 h 109"/>
                  <a:gd name="T18" fmla="*/ 83 w 95"/>
                  <a:gd name="T19" fmla="*/ 105 h 109"/>
                  <a:gd name="T20" fmla="*/ 47 w 95"/>
                  <a:gd name="T21" fmla="*/ 22 h 109"/>
                  <a:gd name="T22" fmla="*/ 12 w 95"/>
                  <a:gd name="T23" fmla="*/ 105 h 109"/>
                  <a:gd name="T24" fmla="*/ 6 w 95"/>
                  <a:gd name="T2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9">
                    <a:moveTo>
                      <a:pt x="6" y="108"/>
                    </a:moveTo>
                    <a:cubicBezTo>
                      <a:pt x="6" y="108"/>
                      <a:pt x="5" y="108"/>
                      <a:pt x="4" y="108"/>
                    </a:cubicBezTo>
                    <a:cubicBezTo>
                      <a:pt x="1" y="106"/>
                      <a:pt x="0" y="103"/>
                      <a:pt x="1" y="100"/>
                    </a:cubicBezTo>
                    <a:cubicBezTo>
                      <a:pt x="42" y="4"/>
                      <a:pt x="42" y="4"/>
                      <a:pt x="42" y="4"/>
                    </a:cubicBezTo>
                    <a:cubicBezTo>
                      <a:pt x="43" y="2"/>
                      <a:pt x="45" y="0"/>
                      <a:pt x="47" y="0"/>
                    </a:cubicBezTo>
                    <a:cubicBezTo>
                      <a:pt x="47" y="0"/>
                      <a:pt x="47" y="0"/>
                      <a:pt x="47" y="0"/>
                    </a:cubicBezTo>
                    <a:cubicBezTo>
                      <a:pt x="50" y="0"/>
                      <a:pt x="52" y="2"/>
                      <a:pt x="53" y="4"/>
                    </a:cubicBezTo>
                    <a:cubicBezTo>
                      <a:pt x="94" y="100"/>
                      <a:pt x="94" y="100"/>
                      <a:pt x="94" y="100"/>
                    </a:cubicBezTo>
                    <a:cubicBezTo>
                      <a:pt x="95" y="103"/>
                      <a:pt x="93" y="106"/>
                      <a:pt x="90" y="108"/>
                    </a:cubicBezTo>
                    <a:cubicBezTo>
                      <a:pt x="87" y="109"/>
                      <a:pt x="84" y="108"/>
                      <a:pt x="83" y="105"/>
                    </a:cubicBezTo>
                    <a:cubicBezTo>
                      <a:pt x="47" y="22"/>
                      <a:pt x="47" y="22"/>
                      <a:pt x="47" y="22"/>
                    </a:cubicBezTo>
                    <a:cubicBezTo>
                      <a:pt x="12" y="105"/>
                      <a:pt x="12" y="105"/>
                      <a:pt x="12" y="105"/>
                    </a:cubicBezTo>
                    <a:cubicBezTo>
                      <a:pt x="11" y="107"/>
                      <a:pt x="9" y="108"/>
                      <a:pt x="6"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11">
                <a:extLst>
                  <a:ext uri="{FF2B5EF4-FFF2-40B4-BE49-F238E27FC236}">
                    <a16:creationId xmlns:a16="http://schemas.microsoft.com/office/drawing/2014/main" id="{DE3D70A7-3AE1-48E2-8306-5D3AF9BD1029}"/>
                  </a:ext>
                </a:extLst>
              </p:cNvPr>
              <p:cNvSpPr>
                <a:spLocks noEditPoints="1"/>
              </p:cNvSpPr>
              <p:nvPr/>
            </p:nvSpPr>
            <p:spPr bwMode="auto">
              <a:xfrm>
                <a:off x="813" y="869"/>
                <a:ext cx="144" cy="84"/>
              </a:xfrm>
              <a:custGeom>
                <a:avLst/>
                <a:gdLst>
                  <a:gd name="T0" fmla="*/ 47 w 94"/>
                  <a:gd name="T1" fmla="*/ 56 h 56"/>
                  <a:gd name="T2" fmla="*/ 0 w 94"/>
                  <a:gd name="T3" fmla="*/ 6 h 56"/>
                  <a:gd name="T4" fmla="*/ 6 w 94"/>
                  <a:gd name="T5" fmla="*/ 0 h 56"/>
                  <a:gd name="T6" fmla="*/ 88 w 94"/>
                  <a:gd name="T7" fmla="*/ 0 h 56"/>
                  <a:gd name="T8" fmla="*/ 92 w 94"/>
                  <a:gd name="T9" fmla="*/ 2 h 56"/>
                  <a:gd name="T10" fmla="*/ 94 w 94"/>
                  <a:gd name="T11" fmla="*/ 6 h 56"/>
                  <a:gd name="T12" fmla="*/ 47 w 94"/>
                  <a:gd name="T13" fmla="*/ 56 h 56"/>
                  <a:gd name="T14" fmla="*/ 13 w 94"/>
                  <a:gd name="T15" fmla="*/ 12 h 56"/>
                  <a:gd name="T16" fmla="*/ 47 w 94"/>
                  <a:gd name="T17" fmla="*/ 44 h 56"/>
                  <a:gd name="T18" fmla="*/ 82 w 94"/>
                  <a:gd name="T19" fmla="*/ 12 h 56"/>
                  <a:gd name="T20" fmla="*/ 13 w 94"/>
                  <a:gd name="T21"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6">
                    <a:moveTo>
                      <a:pt x="47" y="56"/>
                    </a:moveTo>
                    <a:cubicBezTo>
                      <a:pt x="21" y="56"/>
                      <a:pt x="0" y="35"/>
                      <a:pt x="0" y="6"/>
                    </a:cubicBezTo>
                    <a:cubicBezTo>
                      <a:pt x="0" y="3"/>
                      <a:pt x="3" y="0"/>
                      <a:pt x="6" y="0"/>
                    </a:cubicBezTo>
                    <a:cubicBezTo>
                      <a:pt x="88" y="0"/>
                      <a:pt x="88" y="0"/>
                      <a:pt x="88" y="0"/>
                    </a:cubicBezTo>
                    <a:cubicBezTo>
                      <a:pt x="90" y="0"/>
                      <a:pt x="91" y="1"/>
                      <a:pt x="92" y="2"/>
                    </a:cubicBezTo>
                    <a:cubicBezTo>
                      <a:pt x="93" y="3"/>
                      <a:pt x="94" y="5"/>
                      <a:pt x="94" y="6"/>
                    </a:cubicBezTo>
                    <a:cubicBezTo>
                      <a:pt x="94" y="34"/>
                      <a:pt x="74" y="56"/>
                      <a:pt x="47" y="56"/>
                    </a:cubicBezTo>
                    <a:close/>
                    <a:moveTo>
                      <a:pt x="13" y="12"/>
                    </a:moveTo>
                    <a:cubicBezTo>
                      <a:pt x="15" y="31"/>
                      <a:pt x="29" y="44"/>
                      <a:pt x="47" y="44"/>
                    </a:cubicBezTo>
                    <a:cubicBezTo>
                      <a:pt x="65" y="44"/>
                      <a:pt x="79" y="31"/>
                      <a:pt x="82" y="12"/>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12">
                <a:extLst>
                  <a:ext uri="{FF2B5EF4-FFF2-40B4-BE49-F238E27FC236}">
                    <a16:creationId xmlns:a16="http://schemas.microsoft.com/office/drawing/2014/main" id="{A5F15B1A-86EF-4CE6-887B-B155E066C917}"/>
                  </a:ext>
                </a:extLst>
              </p:cNvPr>
              <p:cNvSpPr>
                <a:spLocks/>
              </p:cNvSpPr>
              <p:nvPr/>
            </p:nvSpPr>
            <p:spPr bwMode="auto">
              <a:xfrm>
                <a:off x="563" y="726"/>
                <a:ext cx="153" cy="18"/>
              </a:xfrm>
              <a:custGeom>
                <a:avLst/>
                <a:gdLst>
                  <a:gd name="T0" fmla="*/ 94 w 100"/>
                  <a:gd name="T1" fmla="*/ 12 h 12"/>
                  <a:gd name="T2" fmla="*/ 6 w 100"/>
                  <a:gd name="T3" fmla="*/ 12 h 12"/>
                  <a:gd name="T4" fmla="*/ 0 w 100"/>
                  <a:gd name="T5" fmla="*/ 6 h 12"/>
                  <a:gd name="T6" fmla="*/ 6 w 100"/>
                  <a:gd name="T7" fmla="*/ 0 h 12"/>
                  <a:gd name="T8" fmla="*/ 94 w 100"/>
                  <a:gd name="T9" fmla="*/ 0 h 12"/>
                  <a:gd name="T10" fmla="*/ 100 w 100"/>
                  <a:gd name="T11" fmla="*/ 6 h 12"/>
                  <a:gd name="T12" fmla="*/ 94 w 10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0" h="12">
                    <a:moveTo>
                      <a:pt x="94" y="12"/>
                    </a:moveTo>
                    <a:cubicBezTo>
                      <a:pt x="6" y="12"/>
                      <a:pt x="6" y="12"/>
                      <a:pt x="6" y="12"/>
                    </a:cubicBezTo>
                    <a:cubicBezTo>
                      <a:pt x="2" y="12"/>
                      <a:pt x="0" y="10"/>
                      <a:pt x="0" y="6"/>
                    </a:cubicBezTo>
                    <a:cubicBezTo>
                      <a:pt x="0" y="3"/>
                      <a:pt x="2" y="0"/>
                      <a:pt x="6" y="0"/>
                    </a:cubicBezTo>
                    <a:cubicBezTo>
                      <a:pt x="94" y="0"/>
                      <a:pt x="94" y="0"/>
                      <a:pt x="94" y="0"/>
                    </a:cubicBezTo>
                    <a:cubicBezTo>
                      <a:pt x="98" y="0"/>
                      <a:pt x="100" y="3"/>
                      <a:pt x="100" y="6"/>
                    </a:cubicBezTo>
                    <a:cubicBezTo>
                      <a:pt x="100" y="10"/>
                      <a:pt x="98" y="12"/>
                      <a:pt x="9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13">
                <a:extLst>
                  <a:ext uri="{FF2B5EF4-FFF2-40B4-BE49-F238E27FC236}">
                    <a16:creationId xmlns:a16="http://schemas.microsoft.com/office/drawing/2014/main" id="{3FA5E32E-6683-4BCF-BA91-6220BBA242DD}"/>
                  </a:ext>
                </a:extLst>
              </p:cNvPr>
              <p:cNvSpPr>
                <a:spLocks/>
              </p:cNvSpPr>
              <p:nvPr/>
            </p:nvSpPr>
            <p:spPr bwMode="auto">
              <a:xfrm>
                <a:off x="750" y="726"/>
                <a:ext cx="172" cy="18"/>
              </a:xfrm>
              <a:custGeom>
                <a:avLst/>
                <a:gdLst>
                  <a:gd name="T0" fmla="*/ 106 w 112"/>
                  <a:gd name="T1" fmla="*/ 12 h 12"/>
                  <a:gd name="T2" fmla="*/ 6 w 112"/>
                  <a:gd name="T3" fmla="*/ 12 h 12"/>
                  <a:gd name="T4" fmla="*/ 0 w 112"/>
                  <a:gd name="T5" fmla="*/ 6 h 12"/>
                  <a:gd name="T6" fmla="*/ 6 w 112"/>
                  <a:gd name="T7" fmla="*/ 0 h 12"/>
                  <a:gd name="T8" fmla="*/ 106 w 112"/>
                  <a:gd name="T9" fmla="*/ 0 h 12"/>
                  <a:gd name="T10" fmla="*/ 112 w 112"/>
                  <a:gd name="T11" fmla="*/ 6 h 12"/>
                  <a:gd name="T12" fmla="*/ 106 w 11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2" h="12">
                    <a:moveTo>
                      <a:pt x="106" y="12"/>
                    </a:moveTo>
                    <a:cubicBezTo>
                      <a:pt x="6" y="12"/>
                      <a:pt x="6" y="12"/>
                      <a:pt x="6" y="12"/>
                    </a:cubicBezTo>
                    <a:cubicBezTo>
                      <a:pt x="2" y="12"/>
                      <a:pt x="0" y="9"/>
                      <a:pt x="0" y="6"/>
                    </a:cubicBezTo>
                    <a:cubicBezTo>
                      <a:pt x="0" y="3"/>
                      <a:pt x="2" y="0"/>
                      <a:pt x="6" y="0"/>
                    </a:cubicBezTo>
                    <a:cubicBezTo>
                      <a:pt x="106" y="0"/>
                      <a:pt x="106" y="0"/>
                      <a:pt x="106" y="0"/>
                    </a:cubicBezTo>
                    <a:cubicBezTo>
                      <a:pt x="109" y="0"/>
                      <a:pt x="112" y="3"/>
                      <a:pt x="112" y="6"/>
                    </a:cubicBezTo>
                    <a:cubicBezTo>
                      <a:pt x="112" y="9"/>
                      <a:pt x="109" y="12"/>
                      <a:pt x="10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3" name="Rectangle 22">
              <a:extLst>
                <a:ext uri="{FF2B5EF4-FFF2-40B4-BE49-F238E27FC236}">
                  <a16:creationId xmlns:a16="http://schemas.microsoft.com/office/drawing/2014/main" id="{FC1F3E06-9D89-40C4-B50C-6443AE971913}"/>
                </a:ext>
                <a:ext uri="{C183D7F6-B498-43B3-948B-1728B52AA6E4}">
                  <adec:decorative xmlns:adec="http://schemas.microsoft.com/office/drawing/2017/decorative" val="1"/>
                </a:ext>
              </a:extLst>
            </p:cNvPr>
            <p:cNvSpPr/>
            <p:nvPr userDrawn="1"/>
          </p:nvSpPr>
          <p:spPr>
            <a:xfrm>
              <a:off x="6734088" y="2761347"/>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149" name="Group 127" descr="Dollar Coin with Graph Diagonal Up">
              <a:extLst>
                <a:ext uri="{FF2B5EF4-FFF2-40B4-BE49-F238E27FC236}">
                  <a16:creationId xmlns:a16="http://schemas.microsoft.com/office/drawing/2014/main" id="{5EE9FC7D-4C71-40BF-8944-0CE2724332F4}"/>
                </a:ext>
                <a:ext uri="{C183D7F6-B498-43B3-948B-1728B52AA6E4}">
                  <adec:decorative xmlns:adec="http://schemas.microsoft.com/office/drawing/2017/decorative" val="0"/>
                </a:ext>
              </a:extLst>
            </p:cNvPr>
            <p:cNvGrpSpPr>
              <a:grpSpLocks noChangeAspect="1"/>
            </p:cNvGrpSpPr>
            <p:nvPr/>
          </p:nvGrpSpPr>
          <p:grpSpPr bwMode="auto">
            <a:xfrm>
              <a:off x="7145733" y="3130536"/>
              <a:ext cx="464916" cy="454373"/>
              <a:chOff x="4656" y="1821"/>
              <a:chExt cx="441" cy="431"/>
            </a:xfrm>
            <a:solidFill>
              <a:schemeClr val="accent1"/>
            </a:solidFill>
          </p:grpSpPr>
          <p:sp>
            <p:nvSpPr>
              <p:cNvPr id="150" name="Freeform 128">
                <a:extLst>
                  <a:ext uri="{FF2B5EF4-FFF2-40B4-BE49-F238E27FC236}">
                    <a16:creationId xmlns:a16="http://schemas.microsoft.com/office/drawing/2014/main" id="{556B316C-2241-4374-8508-253CB98408AF}"/>
                  </a:ext>
                </a:extLst>
              </p:cNvPr>
              <p:cNvSpPr>
                <a:spLocks/>
              </p:cNvSpPr>
              <p:nvPr/>
            </p:nvSpPr>
            <p:spPr bwMode="auto">
              <a:xfrm>
                <a:off x="4682" y="2037"/>
                <a:ext cx="415" cy="215"/>
              </a:xfrm>
              <a:custGeom>
                <a:avLst/>
                <a:gdLst>
                  <a:gd name="T0" fmla="*/ 7 w 271"/>
                  <a:gd name="T1" fmla="*/ 144 h 144"/>
                  <a:gd name="T2" fmla="*/ 2 w 271"/>
                  <a:gd name="T3" fmla="*/ 142 h 144"/>
                  <a:gd name="T4" fmla="*/ 3 w 271"/>
                  <a:gd name="T5" fmla="*/ 134 h 144"/>
                  <a:gd name="T6" fmla="*/ 111 w 271"/>
                  <a:gd name="T7" fmla="*/ 38 h 144"/>
                  <a:gd name="T8" fmla="*/ 119 w 271"/>
                  <a:gd name="T9" fmla="*/ 38 h 144"/>
                  <a:gd name="T10" fmla="*/ 175 w 271"/>
                  <a:gd name="T11" fmla="*/ 83 h 144"/>
                  <a:gd name="T12" fmla="*/ 261 w 271"/>
                  <a:gd name="T13" fmla="*/ 2 h 144"/>
                  <a:gd name="T14" fmla="*/ 269 w 271"/>
                  <a:gd name="T15" fmla="*/ 3 h 144"/>
                  <a:gd name="T16" fmla="*/ 269 w 271"/>
                  <a:gd name="T17" fmla="*/ 11 h 144"/>
                  <a:gd name="T18" fmla="*/ 179 w 271"/>
                  <a:gd name="T19" fmla="*/ 95 h 144"/>
                  <a:gd name="T20" fmla="*/ 171 w 271"/>
                  <a:gd name="T21" fmla="*/ 95 h 144"/>
                  <a:gd name="T22" fmla="*/ 115 w 271"/>
                  <a:gd name="T23" fmla="*/ 50 h 144"/>
                  <a:gd name="T24" fmla="*/ 11 w 271"/>
                  <a:gd name="T25" fmla="*/ 143 h 144"/>
                  <a:gd name="T26" fmla="*/ 7 w 271"/>
                  <a:gd name="T2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44">
                    <a:moveTo>
                      <a:pt x="7" y="144"/>
                    </a:moveTo>
                    <a:cubicBezTo>
                      <a:pt x="5" y="144"/>
                      <a:pt x="4" y="144"/>
                      <a:pt x="2" y="142"/>
                    </a:cubicBezTo>
                    <a:cubicBezTo>
                      <a:pt x="0" y="140"/>
                      <a:pt x="0" y="136"/>
                      <a:pt x="3" y="134"/>
                    </a:cubicBezTo>
                    <a:cubicBezTo>
                      <a:pt x="111" y="38"/>
                      <a:pt x="111" y="38"/>
                      <a:pt x="111" y="38"/>
                    </a:cubicBezTo>
                    <a:cubicBezTo>
                      <a:pt x="113" y="36"/>
                      <a:pt x="116" y="36"/>
                      <a:pt x="119" y="38"/>
                    </a:cubicBezTo>
                    <a:cubicBezTo>
                      <a:pt x="175" y="83"/>
                      <a:pt x="175" y="83"/>
                      <a:pt x="175" y="83"/>
                    </a:cubicBezTo>
                    <a:cubicBezTo>
                      <a:pt x="261" y="2"/>
                      <a:pt x="261" y="2"/>
                      <a:pt x="261" y="2"/>
                    </a:cubicBezTo>
                    <a:cubicBezTo>
                      <a:pt x="263" y="0"/>
                      <a:pt x="267" y="0"/>
                      <a:pt x="269" y="3"/>
                    </a:cubicBezTo>
                    <a:cubicBezTo>
                      <a:pt x="271" y="5"/>
                      <a:pt x="271" y="9"/>
                      <a:pt x="269" y="11"/>
                    </a:cubicBezTo>
                    <a:cubicBezTo>
                      <a:pt x="179" y="95"/>
                      <a:pt x="179" y="95"/>
                      <a:pt x="179" y="95"/>
                    </a:cubicBezTo>
                    <a:cubicBezTo>
                      <a:pt x="177" y="97"/>
                      <a:pt x="173" y="97"/>
                      <a:pt x="171" y="95"/>
                    </a:cubicBezTo>
                    <a:cubicBezTo>
                      <a:pt x="115" y="50"/>
                      <a:pt x="115" y="50"/>
                      <a:pt x="115" y="50"/>
                    </a:cubicBezTo>
                    <a:cubicBezTo>
                      <a:pt x="11" y="143"/>
                      <a:pt x="11" y="143"/>
                      <a:pt x="11" y="143"/>
                    </a:cubicBezTo>
                    <a:cubicBezTo>
                      <a:pt x="10" y="144"/>
                      <a:pt x="8" y="144"/>
                      <a:pt x="7"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1" name="Freeform 129">
                <a:extLst>
                  <a:ext uri="{FF2B5EF4-FFF2-40B4-BE49-F238E27FC236}">
                    <a16:creationId xmlns:a16="http://schemas.microsoft.com/office/drawing/2014/main" id="{D3D156C3-D9FD-4F73-BFBA-C38AC43221F0}"/>
                  </a:ext>
                </a:extLst>
              </p:cNvPr>
              <p:cNvSpPr>
                <a:spLocks/>
              </p:cNvSpPr>
              <p:nvPr/>
            </p:nvSpPr>
            <p:spPr bwMode="auto">
              <a:xfrm>
                <a:off x="5007" y="2038"/>
                <a:ext cx="90" cy="90"/>
              </a:xfrm>
              <a:custGeom>
                <a:avLst/>
                <a:gdLst>
                  <a:gd name="T0" fmla="*/ 53 w 59"/>
                  <a:gd name="T1" fmla="*/ 60 h 60"/>
                  <a:gd name="T2" fmla="*/ 47 w 59"/>
                  <a:gd name="T3" fmla="*/ 54 h 60"/>
                  <a:gd name="T4" fmla="*/ 47 w 59"/>
                  <a:gd name="T5" fmla="*/ 12 h 60"/>
                  <a:gd name="T6" fmla="*/ 6 w 59"/>
                  <a:gd name="T7" fmla="*/ 12 h 60"/>
                  <a:gd name="T8" fmla="*/ 0 w 59"/>
                  <a:gd name="T9" fmla="*/ 6 h 60"/>
                  <a:gd name="T10" fmla="*/ 6 w 59"/>
                  <a:gd name="T11" fmla="*/ 0 h 60"/>
                  <a:gd name="T12" fmla="*/ 53 w 59"/>
                  <a:gd name="T13" fmla="*/ 0 h 60"/>
                  <a:gd name="T14" fmla="*/ 59 w 59"/>
                  <a:gd name="T15" fmla="*/ 6 h 60"/>
                  <a:gd name="T16" fmla="*/ 59 w 59"/>
                  <a:gd name="T17" fmla="*/ 54 h 60"/>
                  <a:gd name="T18" fmla="*/ 53 w 59"/>
                  <a:gd name="T1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60">
                    <a:moveTo>
                      <a:pt x="53" y="60"/>
                    </a:moveTo>
                    <a:cubicBezTo>
                      <a:pt x="50" y="60"/>
                      <a:pt x="47" y="57"/>
                      <a:pt x="47" y="54"/>
                    </a:cubicBezTo>
                    <a:cubicBezTo>
                      <a:pt x="47" y="12"/>
                      <a:pt x="47" y="12"/>
                      <a:pt x="47" y="12"/>
                    </a:cubicBezTo>
                    <a:cubicBezTo>
                      <a:pt x="6" y="12"/>
                      <a:pt x="6" y="12"/>
                      <a:pt x="6" y="12"/>
                    </a:cubicBezTo>
                    <a:cubicBezTo>
                      <a:pt x="2" y="12"/>
                      <a:pt x="0" y="9"/>
                      <a:pt x="0" y="6"/>
                    </a:cubicBezTo>
                    <a:cubicBezTo>
                      <a:pt x="0" y="2"/>
                      <a:pt x="2" y="0"/>
                      <a:pt x="6" y="0"/>
                    </a:cubicBezTo>
                    <a:cubicBezTo>
                      <a:pt x="53" y="0"/>
                      <a:pt x="53" y="0"/>
                      <a:pt x="53" y="0"/>
                    </a:cubicBezTo>
                    <a:cubicBezTo>
                      <a:pt x="56" y="0"/>
                      <a:pt x="59" y="2"/>
                      <a:pt x="59" y="6"/>
                    </a:cubicBezTo>
                    <a:cubicBezTo>
                      <a:pt x="59" y="54"/>
                      <a:pt x="59" y="54"/>
                      <a:pt x="59" y="54"/>
                    </a:cubicBezTo>
                    <a:cubicBezTo>
                      <a:pt x="59" y="57"/>
                      <a:pt x="56" y="60"/>
                      <a:pt x="53"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2" name="Freeform 130">
                <a:extLst>
                  <a:ext uri="{FF2B5EF4-FFF2-40B4-BE49-F238E27FC236}">
                    <a16:creationId xmlns:a16="http://schemas.microsoft.com/office/drawing/2014/main" id="{4E414DB7-E0FA-4386-BF6B-8AE5BA614477}"/>
                  </a:ext>
                </a:extLst>
              </p:cNvPr>
              <p:cNvSpPr>
                <a:spLocks/>
              </p:cNvSpPr>
              <p:nvPr/>
            </p:nvSpPr>
            <p:spPr bwMode="auto">
              <a:xfrm>
                <a:off x="4656" y="1821"/>
                <a:ext cx="331" cy="307"/>
              </a:xfrm>
              <a:custGeom>
                <a:avLst/>
                <a:gdLst>
                  <a:gd name="T0" fmla="*/ 60 w 216"/>
                  <a:gd name="T1" fmla="*/ 205 h 205"/>
                  <a:gd name="T2" fmla="*/ 57 w 216"/>
                  <a:gd name="T3" fmla="*/ 204 h 205"/>
                  <a:gd name="T4" fmla="*/ 0 w 216"/>
                  <a:gd name="T5" fmla="*/ 108 h 205"/>
                  <a:gd name="T6" fmla="*/ 108 w 216"/>
                  <a:gd name="T7" fmla="*/ 0 h 205"/>
                  <a:gd name="T8" fmla="*/ 216 w 216"/>
                  <a:gd name="T9" fmla="*/ 108 h 205"/>
                  <a:gd name="T10" fmla="*/ 196 w 216"/>
                  <a:gd name="T11" fmla="*/ 171 h 205"/>
                  <a:gd name="T12" fmla="*/ 188 w 216"/>
                  <a:gd name="T13" fmla="*/ 172 h 205"/>
                  <a:gd name="T14" fmla="*/ 186 w 216"/>
                  <a:gd name="T15" fmla="*/ 164 h 205"/>
                  <a:gd name="T16" fmla="*/ 204 w 216"/>
                  <a:gd name="T17" fmla="*/ 108 h 205"/>
                  <a:gd name="T18" fmla="*/ 108 w 216"/>
                  <a:gd name="T19" fmla="*/ 12 h 205"/>
                  <a:gd name="T20" fmla="*/ 12 w 216"/>
                  <a:gd name="T21" fmla="*/ 108 h 205"/>
                  <a:gd name="T22" fmla="*/ 63 w 216"/>
                  <a:gd name="T23" fmla="*/ 193 h 205"/>
                  <a:gd name="T24" fmla="*/ 65 w 216"/>
                  <a:gd name="T25" fmla="*/ 201 h 205"/>
                  <a:gd name="T26" fmla="*/ 60 w 216"/>
                  <a:gd name="T2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205">
                    <a:moveTo>
                      <a:pt x="60" y="205"/>
                    </a:moveTo>
                    <a:cubicBezTo>
                      <a:pt x="59" y="205"/>
                      <a:pt x="58" y="204"/>
                      <a:pt x="57" y="204"/>
                    </a:cubicBezTo>
                    <a:cubicBezTo>
                      <a:pt x="22" y="185"/>
                      <a:pt x="0" y="148"/>
                      <a:pt x="0" y="108"/>
                    </a:cubicBezTo>
                    <a:cubicBezTo>
                      <a:pt x="0" y="49"/>
                      <a:pt x="48" y="0"/>
                      <a:pt x="108" y="0"/>
                    </a:cubicBezTo>
                    <a:cubicBezTo>
                      <a:pt x="167" y="0"/>
                      <a:pt x="216" y="49"/>
                      <a:pt x="216" y="108"/>
                    </a:cubicBezTo>
                    <a:cubicBezTo>
                      <a:pt x="216" y="131"/>
                      <a:pt x="209" y="153"/>
                      <a:pt x="196" y="171"/>
                    </a:cubicBezTo>
                    <a:cubicBezTo>
                      <a:pt x="194" y="173"/>
                      <a:pt x="190" y="174"/>
                      <a:pt x="188" y="172"/>
                    </a:cubicBezTo>
                    <a:cubicBezTo>
                      <a:pt x="185" y="170"/>
                      <a:pt x="184" y="167"/>
                      <a:pt x="186" y="164"/>
                    </a:cubicBezTo>
                    <a:cubicBezTo>
                      <a:pt x="198" y="148"/>
                      <a:pt x="204" y="128"/>
                      <a:pt x="204" y="108"/>
                    </a:cubicBezTo>
                    <a:cubicBezTo>
                      <a:pt x="204" y="56"/>
                      <a:pt x="161" y="12"/>
                      <a:pt x="108" y="12"/>
                    </a:cubicBezTo>
                    <a:cubicBezTo>
                      <a:pt x="55" y="12"/>
                      <a:pt x="12" y="56"/>
                      <a:pt x="12" y="108"/>
                    </a:cubicBezTo>
                    <a:cubicBezTo>
                      <a:pt x="12" y="144"/>
                      <a:pt x="31" y="177"/>
                      <a:pt x="63" y="193"/>
                    </a:cubicBezTo>
                    <a:cubicBezTo>
                      <a:pt x="66" y="195"/>
                      <a:pt x="67" y="198"/>
                      <a:pt x="65" y="201"/>
                    </a:cubicBezTo>
                    <a:cubicBezTo>
                      <a:pt x="64" y="203"/>
                      <a:pt x="62" y="205"/>
                      <a:pt x="60" y="2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3" name="Freeform 131">
                <a:extLst>
                  <a:ext uri="{FF2B5EF4-FFF2-40B4-BE49-F238E27FC236}">
                    <a16:creationId xmlns:a16="http://schemas.microsoft.com/office/drawing/2014/main" id="{EE88C435-9303-4019-B929-C6AEE70E247F}"/>
                  </a:ext>
                </a:extLst>
              </p:cNvPr>
              <p:cNvSpPr>
                <a:spLocks/>
              </p:cNvSpPr>
              <p:nvPr/>
            </p:nvSpPr>
            <p:spPr bwMode="auto">
              <a:xfrm>
                <a:off x="4812" y="2035"/>
                <a:ext cx="19" cy="39"/>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9" y="0"/>
                      <a:pt x="12" y="3"/>
                      <a:pt x="12" y="6"/>
                    </a:cubicBezTo>
                    <a:cubicBezTo>
                      <a:pt x="12" y="20"/>
                      <a:pt x="12" y="20"/>
                      <a:pt x="12" y="20"/>
                    </a:cubicBezTo>
                    <a:cubicBezTo>
                      <a:pt x="12" y="23"/>
                      <a:pt x="9"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4" name="Freeform 132">
                <a:extLst>
                  <a:ext uri="{FF2B5EF4-FFF2-40B4-BE49-F238E27FC236}">
                    <a16:creationId xmlns:a16="http://schemas.microsoft.com/office/drawing/2014/main" id="{EAD2B53E-D9DF-4B0E-878B-C31B059F8D49}"/>
                  </a:ext>
                </a:extLst>
              </p:cNvPr>
              <p:cNvSpPr>
                <a:spLocks/>
              </p:cNvSpPr>
              <p:nvPr/>
            </p:nvSpPr>
            <p:spPr bwMode="auto">
              <a:xfrm>
                <a:off x="4812" y="1893"/>
                <a:ext cx="19" cy="39"/>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9" y="0"/>
                      <a:pt x="12" y="3"/>
                      <a:pt x="12" y="6"/>
                    </a:cubicBezTo>
                    <a:cubicBezTo>
                      <a:pt x="12" y="20"/>
                      <a:pt x="12" y="20"/>
                      <a:pt x="12" y="20"/>
                    </a:cubicBezTo>
                    <a:cubicBezTo>
                      <a:pt x="12" y="23"/>
                      <a:pt x="9"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Freeform 133">
                <a:extLst>
                  <a:ext uri="{FF2B5EF4-FFF2-40B4-BE49-F238E27FC236}">
                    <a16:creationId xmlns:a16="http://schemas.microsoft.com/office/drawing/2014/main" id="{E61632F3-0946-4226-90C7-B28E4BFCC917}"/>
                  </a:ext>
                </a:extLst>
              </p:cNvPr>
              <p:cNvSpPr>
                <a:spLocks/>
              </p:cNvSpPr>
              <p:nvPr/>
            </p:nvSpPr>
            <p:spPr bwMode="auto">
              <a:xfrm>
                <a:off x="4780" y="1914"/>
                <a:ext cx="81" cy="139"/>
              </a:xfrm>
              <a:custGeom>
                <a:avLst/>
                <a:gdLst>
                  <a:gd name="T0" fmla="*/ 27 w 53"/>
                  <a:gd name="T1" fmla="*/ 93 h 93"/>
                  <a:gd name="T2" fmla="*/ 0 w 53"/>
                  <a:gd name="T3" fmla="*/ 67 h 93"/>
                  <a:gd name="T4" fmla="*/ 6 w 53"/>
                  <a:gd name="T5" fmla="*/ 61 h 93"/>
                  <a:gd name="T6" fmla="*/ 12 w 53"/>
                  <a:gd name="T7" fmla="*/ 67 h 93"/>
                  <a:gd name="T8" fmla="*/ 27 w 53"/>
                  <a:gd name="T9" fmla="*/ 81 h 93"/>
                  <a:gd name="T10" fmla="*/ 41 w 53"/>
                  <a:gd name="T11" fmla="*/ 67 h 93"/>
                  <a:gd name="T12" fmla="*/ 27 w 53"/>
                  <a:gd name="T13" fmla="*/ 52 h 93"/>
                  <a:gd name="T14" fmla="*/ 0 w 53"/>
                  <a:gd name="T15" fmla="*/ 26 h 93"/>
                  <a:gd name="T16" fmla="*/ 27 w 53"/>
                  <a:gd name="T17" fmla="*/ 0 h 93"/>
                  <a:gd name="T18" fmla="*/ 53 w 53"/>
                  <a:gd name="T19" fmla="*/ 26 h 93"/>
                  <a:gd name="T20" fmla="*/ 47 w 53"/>
                  <a:gd name="T21" fmla="*/ 32 h 93"/>
                  <a:gd name="T22" fmla="*/ 41 w 53"/>
                  <a:gd name="T23" fmla="*/ 26 h 93"/>
                  <a:gd name="T24" fmla="*/ 27 w 53"/>
                  <a:gd name="T25" fmla="*/ 12 h 93"/>
                  <a:gd name="T26" fmla="*/ 12 w 53"/>
                  <a:gd name="T27" fmla="*/ 26 h 93"/>
                  <a:gd name="T28" fmla="*/ 27 w 53"/>
                  <a:gd name="T29" fmla="*/ 40 h 93"/>
                  <a:gd name="T30" fmla="*/ 53 w 53"/>
                  <a:gd name="T31" fmla="*/ 67 h 93"/>
                  <a:gd name="T32" fmla="*/ 27 w 53"/>
                  <a:gd name="T3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93">
                    <a:moveTo>
                      <a:pt x="27" y="93"/>
                    </a:moveTo>
                    <a:cubicBezTo>
                      <a:pt x="12" y="93"/>
                      <a:pt x="0" y="81"/>
                      <a:pt x="0" y="67"/>
                    </a:cubicBezTo>
                    <a:cubicBezTo>
                      <a:pt x="0" y="64"/>
                      <a:pt x="3" y="61"/>
                      <a:pt x="6" y="61"/>
                    </a:cubicBezTo>
                    <a:cubicBezTo>
                      <a:pt x="10" y="61"/>
                      <a:pt x="12" y="64"/>
                      <a:pt x="12" y="67"/>
                    </a:cubicBezTo>
                    <a:cubicBezTo>
                      <a:pt x="12" y="75"/>
                      <a:pt x="19" y="81"/>
                      <a:pt x="27" y="81"/>
                    </a:cubicBezTo>
                    <a:cubicBezTo>
                      <a:pt x="35" y="81"/>
                      <a:pt x="41" y="75"/>
                      <a:pt x="41" y="67"/>
                    </a:cubicBezTo>
                    <a:cubicBezTo>
                      <a:pt x="41" y="59"/>
                      <a:pt x="35" y="52"/>
                      <a:pt x="27" y="52"/>
                    </a:cubicBezTo>
                    <a:cubicBezTo>
                      <a:pt x="12" y="52"/>
                      <a:pt x="0" y="41"/>
                      <a:pt x="0" y="26"/>
                    </a:cubicBezTo>
                    <a:cubicBezTo>
                      <a:pt x="0" y="12"/>
                      <a:pt x="12" y="0"/>
                      <a:pt x="27" y="0"/>
                    </a:cubicBezTo>
                    <a:cubicBezTo>
                      <a:pt x="41" y="0"/>
                      <a:pt x="53" y="12"/>
                      <a:pt x="53" y="26"/>
                    </a:cubicBezTo>
                    <a:cubicBezTo>
                      <a:pt x="53" y="29"/>
                      <a:pt x="51" y="32"/>
                      <a:pt x="47" y="32"/>
                    </a:cubicBezTo>
                    <a:cubicBezTo>
                      <a:pt x="44" y="32"/>
                      <a:pt x="41" y="29"/>
                      <a:pt x="41" y="26"/>
                    </a:cubicBezTo>
                    <a:cubicBezTo>
                      <a:pt x="41" y="18"/>
                      <a:pt x="35" y="12"/>
                      <a:pt x="27" y="12"/>
                    </a:cubicBezTo>
                    <a:cubicBezTo>
                      <a:pt x="19" y="12"/>
                      <a:pt x="12" y="18"/>
                      <a:pt x="12" y="26"/>
                    </a:cubicBezTo>
                    <a:cubicBezTo>
                      <a:pt x="12" y="34"/>
                      <a:pt x="19" y="40"/>
                      <a:pt x="27" y="40"/>
                    </a:cubicBezTo>
                    <a:cubicBezTo>
                      <a:pt x="41" y="40"/>
                      <a:pt x="53" y="52"/>
                      <a:pt x="53" y="67"/>
                    </a:cubicBezTo>
                    <a:cubicBezTo>
                      <a:pt x="53" y="81"/>
                      <a:pt x="41" y="93"/>
                      <a:pt x="27"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26" name="Rectangle 25">
              <a:extLst>
                <a:ext uri="{FF2B5EF4-FFF2-40B4-BE49-F238E27FC236}">
                  <a16:creationId xmlns:a16="http://schemas.microsoft.com/office/drawing/2014/main" id="{6EA08E97-42D9-4114-8606-BD69120817EB}"/>
                </a:ext>
                <a:ext uri="{C183D7F6-B498-43B3-948B-1728B52AA6E4}">
                  <adec:decorative xmlns:adec="http://schemas.microsoft.com/office/drawing/2017/decorative" val="1"/>
                </a:ext>
              </a:extLst>
            </p:cNvPr>
            <p:cNvSpPr/>
            <p:nvPr userDrawn="1"/>
          </p:nvSpPr>
          <p:spPr>
            <a:xfrm>
              <a:off x="8004706" y="2761347"/>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156" name="Group 21" descr="Chart Node Questions">
              <a:extLst>
                <a:ext uri="{FF2B5EF4-FFF2-40B4-BE49-F238E27FC236}">
                  <a16:creationId xmlns:a16="http://schemas.microsoft.com/office/drawing/2014/main" id="{4553BC09-0D5D-47BD-A21E-EA37E50F4527}"/>
                </a:ext>
                <a:ext uri="{C183D7F6-B498-43B3-948B-1728B52AA6E4}">
                  <adec:decorative xmlns:adec="http://schemas.microsoft.com/office/drawing/2017/decorative" val="0"/>
                </a:ext>
              </a:extLst>
            </p:cNvPr>
            <p:cNvGrpSpPr>
              <a:grpSpLocks noChangeAspect="1"/>
            </p:cNvGrpSpPr>
            <p:nvPr/>
          </p:nvGrpSpPr>
          <p:grpSpPr bwMode="auto">
            <a:xfrm>
              <a:off x="8420433" y="3170602"/>
              <a:ext cx="473118" cy="374241"/>
              <a:chOff x="526" y="695"/>
              <a:chExt cx="445" cy="352"/>
            </a:xfrm>
            <a:solidFill>
              <a:schemeClr val="accent1"/>
            </a:solidFill>
          </p:grpSpPr>
          <p:sp>
            <p:nvSpPr>
              <p:cNvPr id="157" name="Freeform 241">
                <a:extLst>
                  <a:ext uri="{FF2B5EF4-FFF2-40B4-BE49-F238E27FC236}">
                    <a16:creationId xmlns:a16="http://schemas.microsoft.com/office/drawing/2014/main" id="{B3C62A85-7B22-4487-AE95-D43D78BFA139}"/>
                  </a:ext>
                </a:extLst>
              </p:cNvPr>
              <p:cNvSpPr>
                <a:spLocks/>
              </p:cNvSpPr>
              <p:nvPr/>
            </p:nvSpPr>
            <p:spPr bwMode="auto">
              <a:xfrm>
                <a:off x="526" y="741"/>
                <a:ext cx="382" cy="306"/>
              </a:xfrm>
              <a:custGeom>
                <a:avLst/>
                <a:gdLst>
                  <a:gd name="T0" fmla="*/ 243 w 250"/>
                  <a:gd name="T1" fmla="*/ 191 h 204"/>
                  <a:gd name="T2" fmla="*/ 13 w 250"/>
                  <a:gd name="T3" fmla="*/ 191 h 204"/>
                  <a:gd name="T4" fmla="*/ 13 w 250"/>
                  <a:gd name="T5" fmla="*/ 8 h 204"/>
                  <a:gd name="T6" fmla="*/ 7 w 250"/>
                  <a:gd name="T7" fmla="*/ 0 h 204"/>
                  <a:gd name="T8" fmla="*/ 0 w 250"/>
                  <a:gd name="T9" fmla="*/ 8 h 204"/>
                  <a:gd name="T10" fmla="*/ 0 w 250"/>
                  <a:gd name="T11" fmla="*/ 198 h 204"/>
                  <a:gd name="T12" fmla="*/ 7 w 250"/>
                  <a:gd name="T13" fmla="*/ 204 h 204"/>
                  <a:gd name="T14" fmla="*/ 243 w 250"/>
                  <a:gd name="T15" fmla="*/ 204 h 204"/>
                  <a:gd name="T16" fmla="*/ 250 w 250"/>
                  <a:gd name="T17" fmla="*/ 198 h 204"/>
                  <a:gd name="T18" fmla="*/ 243 w 250"/>
                  <a:gd name="T19" fmla="*/ 19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04">
                    <a:moveTo>
                      <a:pt x="243" y="191"/>
                    </a:moveTo>
                    <a:cubicBezTo>
                      <a:pt x="13" y="191"/>
                      <a:pt x="13" y="191"/>
                      <a:pt x="13" y="191"/>
                    </a:cubicBezTo>
                    <a:cubicBezTo>
                      <a:pt x="13" y="8"/>
                      <a:pt x="13" y="8"/>
                      <a:pt x="13" y="8"/>
                    </a:cubicBezTo>
                    <a:cubicBezTo>
                      <a:pt x="13" y="4"/>
                      <a:pt x="10" y="0"/>
                      <a:pt x="7" y="0"/>
                    </a:cubicBezTo>
                    <a:cubicBezTo>
                      <a:pt x="3" y="0"/>
                      <a:pt x="0" y="4"/>
                      <a:pt x="0" y="8"/>
                    </a:cubicBezTo>
                    <a:cubicBezTo>
                      <a:pt x="0" y="198"/>
                      <a:pt x="0" y="198"/>
                      <a:pt x="0" y="198"/>
                    </a:cubicBezTo>
                    <a:cubicBezTo>
                      <a:pt x="0" y="201"/>
                      <a:pt x="3" y="204"/>
                      <a:pt x="7" y="204"/>
                    </a:cubicBezTo>
                    <a:cubicBezTo>
                      <a:pt x="243" y="204"/>
                      <a:pt x="243" y="204"/>
                      <a:pt x="243" y="204"/>
                    </a:cubicBezTo>
                    <a:cubicBezTo>
                      <a:pt x="247" y="204"/>
                      <a:pt x="250" y="201"/>
                      <a:pt x="250" y="198"/>
                    </a:cubicBezTo>
                    <a:cubicBezTo>
                      <a:pt x="250" y="194"/>
                      <a:pt x="247" y="191"/>
                      <a:pt x="243"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2">
                <a:extLst>
                  <a:ext uri="{FF2B5EF4-FFF2-40B4-BE49-F238E27FC236}">
                    <a16:creationId xmlns:a16="http://schemas.microsoft.com/office/drawing/2014/main" id="{02FF5BC7-173C-4C02-93BB-E1156F33F924}"/>
                  </a:ext>
                </a:extLst>
              </p:cNvPr>
              <p:cNvSpPr>
                <a:spLocks noEditPoints="1"/>
              </p:cNvSpPr>
              <p:nvPr/>
            </p:nvSpPr>
            <p:spPr bwMode="auto">
              <a:xfrm>
                <a:off x="573" y="695"/>
                <a:ext cx="398" cy="284"/>
              </a:xfrm>
              <a:custGeom>
                <a:avLst/>
                <a:gdLst>
                  <a:gd name="T0" fmla="*/ 208 w 260"/>
                  <a:gd name="T1" fmla="*/ 0 h 190"/>
                  <a:gd name="T2" fmla="*/ 157 w 260"/>
                  <a:gd name="T3" fmla="*/ 51 h 190"/>
                  <a:gd name="T4" fmla="*/ 173 w 260"/>
                  <a:gd name="T5" fmla="*/ 89 h 190"/>
                  <a:gd name="T6" fmla="*/ 149 w 260"/>
                  <a:gd name="T7" fmla="*/ 122 h 190"/>
                  <a:gd name="T8" fmla="*/ 139 w 260"/>
                  <a:gd name="T9" fmla="*/ 120 h 190"/>
                  <a:gd name="T10" fmla="*/ 122 w 260"/>
                  <a:gd name="T11" fmla="*/ 126 h 190"/>
                  <a:gd name="T12" fmla="*/ 104 w 260"/>
                  <a:gd name="T13" fmla="*/ 113 h 190"/>
                  <a:gd name="T14" fmla="*/ 106 w 260"/>
                  <a:gd name="T15" fmla="*/ 104 h 190"/>
                  <a:gd name="T16" fmla="*/ 80 w 260"/>
                  <a:gd name="T17" fmla="*/ 78 h 190"/>
                  <a:gd name="T18" fmla="*/ 55 w 260"/>
                  <a:gd name="T19" fmla="*/ 104 h 190"/>
                  <a:gd name="T20" fmla="*/ 59 w 260"/>
                  <a:gd name="T21" fmla="*/ 118 h 190"/>
                  <a:gd name="T22" fmla="*/ 37 w 260"/>
                  <a:gd name="T23" fmla="*/ 141 h 190"/>
                  <a:gd name="T24" fmla="*/ 26 w 260"/>
                  <a:gd name="T25" fmla="*/ 139 h 190"/>
                  <a:gd name="T26" fmla="*/ 0 w 260"/>
                  <a:gd name="T27" fmla="*/ 164 h 190"/>
                  <a:gd name="T28" fmla="*/ 26 w 260"/>
                  <a:gd name="T29" fmla="*/ 190 h 190"/>
                  <a:gd name="T30" fmla="*/ 52 w 260"/>
                  <a:gd name="T31" fmla="*/ 164 h 190"/>
                  <a:gd name="T32" fmla="*/ 47 w 260"/>
                  <a:gd name="T33" fmla="*/ 150 h 190"/>
                  <a:gd name="T34" fmla="*/ 69 w 260"/>
                  <a:gd name="T35" fmla="*/ 127 h 190"/>
                  <a:gd name="T36" fmla="*/ 80 w 260"/>
                  <a:gd name="T37" fmla="*/ 130 h 190"/>
                  <a:gd name="T38" fmla="*/ 97 w 260"/>
                  <a:gd name="T39" fmla="*/ 123 h 190"/>
                  <a:gd name="T40" fmla="*/ 115 w 260"/>
                  <a:gd name="T41" fmla="*/ 137 h 190"/>
                  <a:gd name="T42" fmla="*/ 113 w 260"/>
                  <a:gd name="T43" fmla="*/ 146 h 190"/>
                  <a:gd name="T44" fmla="*/ 139 w 260"/>
                  <a:gd name="T45" fmla="*/ 171 h 190"/>
                  <a:gd name="T46" fmla="*/ 165 w 260"/>
                  <a:gd name="T47" fmla="*/ 146 h 190"/>
                  <a:gd name="T48" fmla="*/ 159 w 260"/>
                  <a:gd name="T49" fmla="*/ 130 h 190"/>
                  <a:gd name="T50" fmla="*/ 183 w 260"/>
                  <a:gd name="T51" fmla="*/ 97 h 190"/>
                  <a:gd name="T52" fmla="*/ 208 w 260"/>
                  <a:gd name="T53" fmla="*/ 103 h 190"/>
                  <a:gd name="T54" fmla="*/ 260 w 260"/>
                  <a:gd name="T55" fmla="*/ 51 h 190"/>
                  <a:gd name="T56" fmla="*/ 208 w 260"/>
                  <a:gd name="T57" fmla="*/ 0 h 190"/>
                  <a:gd name="T58" fmla="*/ 38 w 260"/>
                  <a:gd name="T59" fmla="*/ 164 h 190"/>
                  <a:gd name="T60" fmla="*/ 26 w 260"/>
                  <a:gd name="T61" fmla="*/ 177 h 190"/>
                  <a:gd name="T62" fmla="*/ 13 w 260"/>
                  <a:gd name="T63" fmla="*/ 164 h 190"/>
                  <a:gd name="T64" fmla="*/ 26 w 260"/>
                  <a:gd name="T65" fmla="*/ 152 h 190"/>
                  <a:gd name="T66" fmla="*/ 28 w 260"/>
                  <a:gd name="T67" fmla="*/ 152 h 190"/>
                  <a:gd name="T68" fmla="*/ 37 w 260"/>
                  <a:gd name="T69" fmla="*/ 161 h 190"/>
                  <a:gd name="T70" fmla="*/ 38 w 260"/>
                  <a:gd name="T71" fmla="*/ 164 h 190"/>
                  <a:gd name="T72" fmla="*/ 80 w 260"/>
                  <a:gd name="T73" fmla="*/ 116 h 190"/>
                  <a:gd name="T74" fmla="*/ 78 w 260"/>
                  <a:gd name="T75" fmla="*/ 116 h 190"/>
                  <a:gd name="T76" fmla="*/ 69 w 260"/>
                  <a:gd name="T77" fmla="*/ 107 h 190"/>
                  <a:gd name="T78" fmla="*/ 69 w 260"/>
                  <a:gd name="T79" fmla="*/ 104 h 190"/>
                  <a:gd name="T80" fmla="*/ 80 w 260"/>
                  <a:gd name="T81" fmla="*/ 91 h 190"/>
                  <a:gd name="T82" fmla="*/ 93 w 260"/>
                  <a:gd name="T83" fmla="*/ 104 h 190"/>
                  <a:gd name="T84" fmla="*/ 93 w 260"/>
                  <a:gd name="T85" fmla="*/ 105 h 190"/>
                  <a:gd name="T86" fmla="*/ 85 w 260"/>
                  <a:gd name="T87" fmla="*/ 115 h 190"/>
                  <a:gd name="T88" fmla="*/ 80 w 260"/>
                  <a:gd name="T89" fmla="*/ 116 h 190"/>
                  <a:gd name="T90" fmla="*/ 151 w 260"/>
                  <a:gd name="T91" fmla="*/ 146 h 190"/>
                  <a:gd name="T92" fmla="*/ 139 w 260"/>
                  <a:gd name="T93" fmla="*/ 158 h 190"/>
                  <a:gd name="T94" fmla="*/ 126 w 260"/>
                  <a:gd name="T95" fmla="*/ 146 h 190"/>
                  <a:gd name="T96" fmla="*/ 126 w 260"/>
                  <a:gd name="T97" fmla="*/ 145 h 190"/>
                  <a:gd name="T98" fmla="*/ 134 w 260"/>
                  <a:gd name="T99" fmla="*/ 134 h 190"/>
                  <a:gd name="T100" fmla="*/ 139 w 260"/>
                  <a:gd name="T101" fmla="*/ 133 h 190"/>
                  <a:gd name="T102" fmla="*/ 140 w 260"/>
                  <a:gd name="T103" fmla="*/ 133 h 190"/>
                  <a:gd name="T104" fmla="*/ 151 w 260"/>
                  <a:gd name="T105" fmla="*/ 141 h 190"/>
                  <a:gd name="T106" fmla="*/ 151 w 260"/>
                  <a:gd name="T107" fmla="*/ 146 h 190"/>
                  <a:gd name="T108" fmla="*/ 208 w 260"/>
                  <a:gd name="T109" fmla="*/ 90 h 190"/>
                  <a:gd name="T110" fmla="*/ 191 w 260"/>
                  <a:gd name="T111" fmla="*/ 86 h 190"/>
                  <a:gd name="T112" fmla="*/ 181 w 260"/>
                  <a:gd name="T113" fmla="*/ 78 h 190"/>
                  <a:gd name="T114" fmla="*/ 170 w 260"/>
                  <a:gd name="T115" fmla="*/ 51 h 190"/>
                  <a:gd name="T116" fmla="*/ 208 w 260"/>
                  <a:gd name="T117" fmla="*/ 13 h 190"/>
                  <a:gd name="T118" fmla="*/ 247 w 260"/>
                  <a:gd name="T119" fmla="*/ 51 h 190"/>
                  <a:gd name="T120" fmla="*/ 208 w 260"/>
                  <a:gd name="T121" fmla="*/ 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 h="190">
                    <a:moveTo>
                      <a:pt x="208" y="0"/>
                    </a:moveTo>
                    <a:cubicBezTo>
                      <a:pt x="180" y="0"/>
                      <a:pt x="157" y="23"/>
                      <a:pt x="157" y="51"/>
                    </a:cubicBezTo>
                    <a:cubicBezTo>
                      <a:pt x="157" y="66"/>
                      <a:pt x="163" y="80"/>
                      <a:pt x="173" y="89"/>
                    </a:cubicBezTo>
                    <a:cubicBezTo>
                      <a:pt x="149" y="122"/>
                      <a:pt x="149" y="122"/>
                      <a:pt x="149" y="122"/>
                    </a:cubicBezTo>
                    <a:cubicBezTo>
                      <a:pt x="145" y="121"/>
                      <a:pt x="142" y="120"/>
                      <a:pt x="139" y="120"/>
                    </a:cubicBezTo>
                    <a:cubicBezTo>
                      <a:pt x="133" y="120"/>
                      <a:pt x="126" y="122"/>
                      <a:pt x="122" y="126"/>
                    </a:cubicBezTo>
                    <a:cubicBezTo>
                      <a:pt x="104" y="113"/>
                      <a:pt x="104" y="113"/>
                      <a:pt x="104" y="113"/>
                    </a:cubicBezTo>
                    <a:cubicBezTo>
                      <a:pt x="106" y="110"/>
                      <a:pt x="106" y="107"/>
                      <a:pt x="106" y="104"/>
                    </a:cubicBezTo>
                    <a:cubicBezTo>
                      <a:pt x="106" y="90"/>
                      <a:pt x="94" y="78"/>
                      <a:pt x="80" y="78"/>
                    </a:cubicBezTo>
                    <a:cubicBezTo>
                      <a:pt x="67" y="78"/>
                      <a:pt x="55" y="90"/>
                      <a:pt x="55" y="104"/>
                    </a:cubicBezTo>
                    <a:cubicBezTo>
                      <a:pt x="55" y="109"/>
                      <a:pt x="56" y="114"/>
                      <a:pt x="59" y="118"/>
                    </a:cubicBezTo>
                    <a:cubicBezTo>
                      <a:pt x="37" y="141"/>
                      <a:pt x="37" y="141"/>
                      <a:pt x="37" y="141"/>
                    </a:cubicBezTo>
                    <a:cubicBezTo>
                      <a:pt x="34" y="139"/>
                      <a:pt x="30" y="139"/>
                      <a:pt x="26" y="139"/>
                    </a:cubicBezTo>
                    <a:cubicBezTo>
                      <a:pt x="12" y="139"/>
                      <a:pt x="0" y="150"/>
                      <a:pt x="0" y="164"/>
                    </a:cubicBezTo>
                    <a:cubicBezTo>
                      <a:pt x="0" y="179"/>
                      <a:pt x="12" y="190"/>
                      <a:pt x="26" y="190"/>
                    </a:cubicBezTo>
                    <a:cubicBezTo>
                      <a:pt x="40" y="190"/>
                      <a:pt x="52" y="179"/>
                      <a:pt x="52" y="164"/>
                    </a:cubicBezTo>
                    <a:cubicBezTo>
                      <a:pt x="52" y="159"/>
                      <a:pt x="50" y="155"/>
                      <a:pt x="47" y="150"/>
                    </a:cubicBezTo>
                    <a:cubicBezTo>
                      <a:pt x="69" y="127"/>
                      <a:pt x="69" y="127"/>
                      <a:pt x="69" y="127"/>
                    </a:cubicBezTo>
                    <a:cubicBezTo>
                      <a:pt x="72" y="129"/>
                      <a:pt x="77" y="130"/>
                      <a:pt x="80" y="130"/>
                    </a:cubicBezTo>
                    <a:cubicBezTo>
                      <a:pt x="86" y="130"/>
                      <a:pt x="93" y="127"/>
                      <a:pt x="97" y="123"/>
                    </a:cubicBezTo>
                    <a:cubicBezTo>
                      <a:pt x="115" y="137"/>
                      <a:pt x="115" y="137"/>
                      <a:pt x="115" y="137"/>
                    </a:cubicBezTo>
                    <a:cubicBezTo>
                      <a:pt x="114" y="139"/>
                      <a:pt x="113" y="142"/>
                      <a:pt x="113" y="146"/>
                    </a:cubicBezTo>
                    <a:cubicBezTo>
                      <a:pt x="113" y="159"/>
                      <a:pt x="125" y="171"/>
                      <a:pt x="139" y="171"/>
                    </a:cubicBezTo>
                    <a:cubicBezTo>
                      <a:pt x="153" y="171"/>
                      <a:pt x="165" y="159"/>
                      <a:pt x="165" y="146"/>
                    </a:cubicBezTo>
                    <a:cubicBezTo>
                      <a:pt x="165" y="139"/>
                      <a:pt x="162" y="134"/>
                      <a:pt x="159" y="130"/>
                    </a:cubicBezTo>
                    <a:cubicBezTo>
                      <a:pt x="183" y="97"/>
                      <a:pt x="183" y="97"/>
                      <a:pt x="183" y="97"/>
                    </a:cubicBezTo>
                    <a:cubicBezTo>
                      <a:pt x="191" y="101"/>
                      <a:pt x="199" y="103"/>
                      <a:pt x="208" y="103"/>
                    </a:cubicBezTo>
                    <a:cubicBezTo>
                      <a:pt x="237" y="103"/>
                      <a:pt x="260" y="80"/>
                      <a:pt x="260" y="51"/>
                    </a:cubicBezTo>
                    <a:cubicBezTo>
                      <a:pt x="260" y="23"/>
                      <a:pt x="237" y="0"/>
                      <a:pt x="208" y="0"/>
                    </a:cubicBezTo>
                    <a:close/>
                    <a:moveTo>
                      <a:pt x="38" y="164"/>
                    </a:moveTo>
                    <a:cubicBezTo>
                      <a:pt x="38" y="172"/>
                      <a:pt x="33" y="177"/>
                      <a:pt x="26" y="177"/>
                    </a:cubicBezTo>
                    <a:cubicBezTo>
                      <a:pt x="19" y="177"/>
                      <a:pt x="13" y="172"/>
                      <a:pt x="13" y="164"/>
                    </a:cubicBezTo>
                    <a:cubicBezTo>
                      <a:pt x="13" y="157"/>
                      <a:pt x="19" y="152"/>
                      <a:pt x="26" y="152"/>
                    </a:cubicBezTo>
                    <a:cubicBezTo>
                      <a:pt x="27" y="152"/>
                      <a:pt x="28" y="152"/>
                      <a:pt x="28" y="152"/>
                    </a:cubicBezTo>
                    <a:cubicBezTo>
                      <a:pt x="33" y="153"/>
                      <a:pt x="37" y="156"/>
                      <a:pt x="37" y="161"/>
                    </a:cubicBezTo>
                    <a:cubicBezTo>
                      <a:pt x="38" y="162"/>
                      <a:pt x="38" y="164"/>
                      <a:pt x="38" y="164"/>
                    </a:cubicBezTo>
                    <a:close/>
                    <a:moveTo>
                      <a:pt x="80" y="116"/>
                    </a:moveTo>
                    <a:cubicBezTo>
                      <a:pt x="80" y="116"/>
                      <a:pt x="79" y="116"/>
                      <a:pt x="78" y="116"/>
                    </a:cubicBezTo>
                    <a:cubicBezTo>
                      <a:pt x="74" y="115"/>
                      <a:pt x="69" y="112"/>
                      <a:pt x="69" y="107"/>
                    </a:cubicBezTo>
                    <a:cubicBezTo>
                      <a:pt x="69" y="106"/>
                      <a:pt x="69" y="105"/>
                      <a:pt x="69" y="104"/>
                    </a:cubicBezTo>
                    <a:cubicBezTo>
                      <a:pt x="69" y="97"/>
                      <a:pt x="74" y="91"/>
                      <a:pt x="80" y="91"/>
                    </a:cubicBezTo>
                    <a:cubicBezTo>
                      <a:pt x="87" y="91"/>
                      <a:pt x="93" y="97"/>
                      <a:pt x="93" y="104"/>
                    </a:cubicBezTo>
                    <a:cubicBezTo>
                      <a:pt x="93" y="105"/>
                      <a:pt x="93" y="105"/>
                      <a:pt x="93" y="105"/>
                    </a:cubicBezTo>
                    <a:cubicBezTo>
                      <a:pt x="93" y="109"/>
                      <a:pt x="90" y="114"/>
                      <a:pt x="85" y="115"/>
                    </a:cubicBezTo>
                    <a:cubicBezTo>
                      <a:pt x="84" y="116"/>
                      <a:pt x="82" y="116"/>
                      <a:pt x="80" y="116"/>
                    </a:cubicBezTo>
                    <a:close/>
                    <a:moveTo>
                      <a:pt x="151" y="146"/>
                    </a:moveTo>
                    <a:cubicBezTo>
                      <a:pt x="151" y="152"/>
                      <a:pt x="145" y="158"/>
                      <a:pt x="139" y="158"/>
                    </a:cubicBezTo>
                    <a:cubicBezTo>
                      <a:pt x="132" y="158"/>
                      <a:pt x="126" y="152"/>
                      <a:pt x="126" y="146"/>
                    </a:cubicBezTo>
                    <a:cubicBezTo>
                      <a:pt x="126" y="145"/>
                      <a:pt x="126" y="145"/>
                      <a:pt x="126" y="145"/>
                    </a:cubicBezTo>
                    <a:cubicBezTo>
                      <a:pt x="126" y="139"/>
                      <a:pt x="130" y="136"/>
                      <a:pt x="134" y="134"/>
                    </a:cubicBezTo>
                    <a:cubicBezTo>
                      <a:pt x="135" y="133"/>
                      <a:pt x="137" y="133"/>
                      <a:pt x="139" y="133"/>
                    </a:cubicBezTo>
                    <a:cubicBezTo>
                      <a:pt x="140" y="133"/>
                      <a:pt x="140" y="133"/>
                      <a:pt x="140" y="133"/>
                    </a:cubicBezTo>
                    <a:cubicBezTo>
                      <a:pt x="144" y="133"/>
                      <a:pt x="149" y="137"/>
                      <a:pt x="151" y="141"/>
                    </a:cubicBezTo>
                    <a:cubicBezTo>
                      <a:pt x="151" y="142"/>
                      <a:pt x="151" y="144"/>
                      <a:pt x="151" y="146"/>
                    </a:cubicBezTo>
                    <a:close/>
                    <a:moveTo>
                      <a:pt x="208" y="90"/>
                    </a:moveTo>
                    <a:cubicBezTo>
                      <a:pt x="202" y="90"/>
                      <a:pt x="197" y="89"/>
                      <a:pt x="191" y="86"/>
                    </a:cubicBezTo>
                    <a:cubicBezTo>
                      <a:pt x="188" y="84"/>
                      <a:pt x="184" y="82"/>
                      <a:pt x="181" y="78"/>
                    </a:cubicBezTo>
                    <a:cubicBezTo>
                      <a:pt x="175" y="72"/>
                      <a:pt x="170" y="62"/>
                      <a:pt x="170" y="51"/>
                    </a:cubicBezTo>
                    <a:cubicBezTo>
                      <a:pt x="170" y="30"/>
                      <a:pt x="187" y="13"/>
                      <a:pt x="208" y="13"/>
                    </a:cubicBezTo>
                    <a:cubicBezTo>
                      <a:pt x="230" y="13"/>
                      <a:pt x="247" y="30"/>
                      <a:pt x="247" y="51"/>
                    </a:cubicBezTo>
                    <a:cubicBezTo>
                      <a:pt x="247" y="73"/>
                      <a:pt x="230" y="90"/>
                      <a:pt x="208"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3">
                <a:extLst>
                  <a:ext uri="{FF2B5EF4-FFF2-40B4-BE49-F238E27FC236}">
                    <a16:creationId xmlns:a16="http://schemas.microsoft.com/office/drawing/2014/main" id="{0B4FABFF-E931-45D9-9F09-FFB971D8889B}"/>
                  </a:ext>
                </a:extLst>
              </p:cNvPr>
              <p:cNvSpPr>
                <a:spLocks/>
              </p:cNvSpPr>
              <p:nvPr/>
            </p:nvSpPr>
            <p:spPr bwMode="auto">
              <a:xfrm>
                <a:off x="885" y="800"/>
                <a:ext cx="17" cy="16"/>
              </a:xfrm>
              <a:custGeom>
                <a:avLst/>
                <a:gdLst>
                  <a:gd name="T0" fmla="*/ 0 w 17"/>
                  <a:gd name="T1" fmla="*/ 0 h 16"/>
                  <a:gd name="T2" fmla="*/ 17 w 17"/>
                  <a:gd name="T3" fmla="*/ 0 h 16"/>
                  <a:gd name="T4" fmla="*/ 17 w 17"/>
                  <a:gd name="T5" fmla="*/ 16 h 16"/>
                  <a:gd name="T6" fmla="*/ 0 w 17"/>
                  <a:gd name="T7" fmla="*/ 16 h 16"/>
                  <a:gd name="T8" fmla="*/ 0 w 17"/>
                  <a:gd name="T9" fmla="*/ 0 h 16"/>
                  <a:gd name="T10" fmla="*/ 0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0" y="0"/>
                    </a:moveTo>
                    <a:lnTo>
                      <a:pt x="17" y="0"/>
                    </a:lnTo>
                    <a:lnTo>
                      <a:pt x="17" y="16"/>
                    </a:lnTo>
                    <a:lnTo>
                      <a:pt x="0" y="1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44">
                <a:extLst>
                  <a:ext uri="{FF2B5EF4-FFF2-40B4-BE49-F238E27FC236}">
                    <a16:creationId xmlns:a16="http://schemas.microsoft.com/office/drawing/2014/main" id="{39E573A8-DA9B-4A30-A077-4410C59B3695}"/>
                  </a:ext>
                </a:extLst>
              </p:cNvPr>
              <p:cNvSpPr>
                <a:spLocks/>
              </p:cNvSpPr>
              <p:nvPr/>
            </p:nvSpPr>
            <p:spPr bwMode="auto">
              <a:xfrm>
                <a:off x="861" y="725"/>
                <a:ext cx="65" cy="67"/>
              </a:xfrm>
              <a:custGeom>
                <a:avLst/>
                <a:gdLst>
                  <a:gd name="T0" fmla="*/ 21 w 43"/>
                  <a:gd name="T1" fmla="*/ 0 h 45"/>
                  <a:gd name="T2" fmla="*/ 6 w 43"/>
                  <a:gd name="T3" fmla="*/ 6 h 45"/>
                  <a:gd name="T4" fmla="*/ 0 w 43"/>
                  <a:gd name="T5" fmla="*/ 18 h 45"/>
                  <a:gd name="T6" fmla="*/ 10 w 43"/>
                  <a:gd name="T7" fmla="*/ 19 h 45"/>
                  <a:gd name="T8" fmla="*/ 14 w 43"/>
                  <a:gd name="T9" fmla="*/ 12 h 45"/>
                  <a:gd name="T10" fmla="*/ 21 w 43"/>
                  <a:gd name="T11" fmla="*/ 9 h 45"/>
                  <a:gd name="T12" fmla="*/ 28 w 43"/>
                  <a:gd name="T13" fmla="*/ 11 h 45"/>
                  <a:gd name="T14" fmla="*/ 31 w 43"/>
                  <a:gd name="T15" fmla="*/ 17 h 45"/>
                  <a:gd name="T16" fmla="*/ 29 w 43"/>
                  <a:gd name="T17" fmla="*/ 22 h 45"/>
                  <a:gd name="T18" fmla="*/ 24 w 43"/>
                  <a:gd name="T19" fmla="*/ 27 h 45"/>
                  <a:gd name="T20" fmla="*/ 17 w 43"/>
                  <a:gd name="T21" fmla="*/ 35 h 45"/>
                  <a:gd name="T22" fmla="*/ 15 w 43"/>
                  <a:gd name="T23" fmla="*/ 43 h 45"/>
                  <a:gd name="T24" fmla="*/ 16 w 43"/>
                  <a:gd name="T25" fmla="*/ 45 h 45"/>
                  <a:gd name="T26" fmla="*/ 26 w 43"/>
                  <a:gd name="T27" fmla="*/ 45 h 45"/>
                  <a:gd name="T28" fmla="*/ 27 w 43"/>
                  <a:gd name="T29" fmla="*/ 39 h 45"/>
                  <a:gd name="T30" fmla="*/ 31 w 43"/>
                  <a:gd name="T31" fmla="*/ 34 h 45"/>
                  <a:gd name="T32" fmla="*/ 40 w 43"/>
                  <a:gd name="T33" fmla="*/ 25 h 45"/>
                  <a:gd name="T34" fmla="*/ 43 w 43"/>
                  <a:gd name="T35" fmla="*/ 17 h 45"/>
                  <a:gd name="T36" fmla="*/ 36 w 43"/>
                  <a:gd name="T37" fmla="*/ 6 h 45"/>
                  <a:gd name="T38" fmla="*/ 21 w 43"/>
                  <a:gd name="T3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45">
                    <a:moveTo>
                      <a:pt x="21" y="0"/>
                    </a:moveTo>
                    <a:cubicBezTo>
                      <a:pt x="15" y="0"/>
                      <a:pt x="10" y="2"/>
                      <a:pt x="6" y="6"/>
                    </a:cubicBezTo>
                    <a:cubicBezTo>
                      <a:pt x="2" y="9"/>
                      <a:pt x="0" y="13"/>
                      <a:pt x="0" y="18"/>
                    </a:cubicBezTo>
                    <a:cubicBezTo>
                      <a:pt x="10" y="19"/>
                      <a:pt x="10" y="19"/>
                      <a:pt x="10" y="19"/>
                    </a:cubicBezTo>
                    <a:cubicBezTo>
                      <a:pt x="11" y="16"/>
                      <a:pt x="12" y="13"/>
                      <a:pt x="14" y="12"/>
                    </a:cubicBezTo>
                    <a:cubicBezTo>
                      <a:pt x="16" y="10"/>
                      <a:pt x="19" y="9"/>
                      <a:pt x="21" y="9"/>
                    </a:cubicBezTo>
                    <a:cubicBezTo>
                      <a:pt x="25" y="9"/>
                      <a:pt x="27" y="10"/>
                      <a:pt x="28" y="11"/>
                    </a:cubicBezTo>
                    <a:cubicBezTo>
                      <a:pt x="30" y="13"/>
                      <a:pt x="31" y="15"/>
                      <a:pt x="31" y="17"/>
                    </a:cubicBezTo>
                    <a:cubicBezTo>
                      <a:pt x="31" y="19"/>
                      <a:pt x="31" y="20"/>
                      <a:pt x="29" y="22"/>
                    </a:cubicBezTo>
                    <a:cubicBezTo>
                      <a:pt x="29" y="23"/>
                      <a:pt x="27" y="25"/>
                      <a:pt x="24" y="27"/>
                    </a:cubicBezTo>
                    <a:cubicBezTo>
                      <a:pt x="20" y="30"/>
                      <a:pt x="19" y="32"/>
                      <a:pt x="17" y="35"/>
                    </a:cubicBezTo>
                    <a:cubicBezTo>
                      <a:pt x="16" y="36"/>
                      <a:pt x="15" y="39"/>
                      <a:pt x="15" y="43"/>
                    </a:cubicBezTo>
                    <a:cubicBezTo>
                      <a:pt x="15" y="43"/>
                      <a:pt x="15" y="44"/>
                      <a:pt x="16" y="45"/>
                    </a:cubicBezTo>
                    <a:cubicBezTo>
                      <a:pt x="26" y="45"/>
                      <a:pt x="26" y="45"/>
                      <a:pt x="26" y="45"/>
                    </a:cubicBezTo>
                    <a:cubicBezTo>
                      <a:pt x="26" y="43"/>
                      <a:pt x="26" y="40"/>
                      <a:pt x="27" y="39"/>
                    </a:cubicBezTo>
                    <a:cubicBezTo>
                      <a:pt x="27" y="38"/>
                      <a:pt x="28" y="36"/>
                      <a:pt x="31" y="34"/>
                    </a:cubicBezTo>
                    <a:cubicBezTo>
                      <a:pt x="36" y="30"/>
                      <a:pt x="39" y="27"/>
                      <a:pt x="40" y="25"/>
                    </a:cubicBezTo>
                    <a:cubicBezTo>
                      <a:pt x="42" y="23"/>
                      <a:pt x="43" y="20"/>
                      <a:pt x="43" y="17"/>
                    </a:cubicBezTo>
                    <a:cubicBezTo>
                      <a:pt x="43" y="13"/>
                      <a:pt x="40" y="9"/>
                      <a:pt x="36" y="6"/>
                    </a:cubicBezTo>
                    <a:cubicBezTo>
                      <a:pt x="33" y="2"/>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6" name="Rectangle 35">
              <a:extLst>
                <a:ext uri="{FF2B5EF4-FFF2-40B4-BE49-F238E27FC236}">
                  <a16:creationId xmlns:a16="http://schemas.microsoft.com/office/drawing/2014/main" id="{BC52FF6D-89B6-4FAD-ADDD-085C15D46856}"/>
                </a:ext>
                <a:ext uri="{C183D7F6-B498-43B3-948B-1728B52AA6E4}">
                  <adec:decorative xmlns:adec="http://schemas.microsoft.com/office/drawing/2017/decorative" val="1"/>
                </a:ext>
              </a:extLst>
            </p:cNvPr>
            <p:cNvSpPr/>
            <p:nvPr userDrawn="1"/>
          </p:nvSpPr>
          <p:spPr>
            <a:xfrm>
              <a:off x="9272534" y="2761347"/>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161" name="Group 71" descr="Magnifying Glass and Gear with Box">
              <a:extLst>
                <a:ext uri="{FF2B5EF4-FFF2-40B4-BE49-F238E27FC236}">
                  <a16:creationId xmlns:a16="http://schemas.microsoft.com/office/drawing/2014/main" id="{3463AE51-E07E-4FA1-A7F6-3A2BFF738272}"/>
                </a:ext>
                <a:ext uri="{C183D7F6-B498-43B3-948B-1728B52AA6E4}">
                  <adec:decorative xmlns:adec="http://schemas.microsoft.com/office/drawing/2017/decorative" val="0"/>
                </a:ext>
              </a:extLst>
            </p:cNvPr>
            <p:cNvGrpSpPr>
              <a:grpSpLocks noChangeAspect="1"/>
            </p:cNvGrpSpPr>
            <p:nvPr/>
          </p:nvGrpSpPr>
          <p:grpSpPr bwMode="auto">
            <a:xfrm>
              <a:off x="9667337" y="3111955"/>
              <a:ext cx="516168" cy="491534"/>
              <a:chOff x="6721" y="1874"/>
              <a:chExt cx="440" cy="419"/>
            </a:xfrm>
            <a:solidFill>
              <a:schemeClr val="accent1"/>
            </a:solidFill>
          </p:grpSpPr>
          <p:sp>
            <p:nvSpPr>
              <p:cNvPr id="162" name="Freeform 72">
                <a:extLst>
                  <a:ext uri="{FF2B5EF4-FFF2-40B4-BE49-F238E27FC236}">
                    <a16:creationId xmlns:a16="http://schemas.microsoft.com/office/drawing/2014/main" id="{45B83674-F6A1-4225-A05D-5FAB6C28CD6C}"/>
                  </a:ext>
                </a:extLst>
              </p:cNvPr>
              <p:cNvSpPr>
                <a:spLocks noEditPoints="1"/>
              </p:cNvSpPr>
              <p:nvPr/>
            </p:nvSpPr>
            <p:spPr bwMode="auto">
              <a:xfrm>
                <a:off x="7033" y="1952"/>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Freeform 73">
                <a:extLst>
                  <a:ext uri="{FF2B5EF4-FFF2-40B4-BE49-F238E27FC236}">
                    <a16:creationId xmlns:a16="http://schemas.microsoft.com/office/drawing/2014/main" id="{D8D975FF-B96C-4563-B5B8-0C8E65322274}"/>
                  </a:ext>
                </a:extLst>
              </p:cNvPr>
              <p:cNvSpPr>
                <a:spLocks noEditPoints="1"/>
              </p:cNvSpPr>
              <p:nvPr/>
            </p:nvSpPr>
            <p:spPr bwMode="auto">
              <a:xfrm>
                <a:off x="6979" y="1898"/>
                <a:ext cx="182" cy="180"/>
              </a:xfrm>
              <a:custGeom>
                <a:avLst/>
                <a:gdLst>
                  <a:gd name="T0" fmla="*/ 48 w 119"/>
                  <a:gd name="T1" fmla="*/ 120 h 120"/>
                  <a:gd name="T2" fmla="*/ 42 w 119"/>
                  <a:gd name="T3" fmla="*/ 104 h 120"/>
                  <a:gd name="T4" fmla="*/ 22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15 w 119"/>
                  <a:gd name="T31" fmla="*/ 48 h 120"/>
                  <a:gd name="T32" fmla="*/ 107 w 119"/>
                  <a:gd name="T33" fmla="*/ 60 h 120"/>
                  <a:gd name="T34" fmla="*/ 115 w 119"/>
                  <a:gd name="T35" fmla="*/ 71 h 120"/>
                  <a:gd name="T36" fmla="*/ 106 w 119"/>
                  <a:gd name="T37" fmla="*/ 100 h 120"/>
                  <a:gd name="T38" fmla="*/ 97 w 119"/>
                  <a:gd name="T39" fmla="*/ 102 h 120"/>
                  <a:gd name="T40" fmla="*/ 78 w 119"/>
                  <a:gd name="T41" fmla="*/ 104 h 120"/>
                  <a:gd name="T42" fmla="*/ 72 w 119"/>
                  <a:gd name="T43" fmla="*/ 120 h 120"/>
                  <a:gd name="T44" fmla="*/ 66 w 119"/>
                  <a:gd name="T45" fmla="*/ 108 h 120"/>
                  <a:gd name="T46" fmla="*/ 71 w 119"/>
                  <a:gd name="T47" fmla="*/ 94 h 120"/>
                  <a:gd name="T48" fmla="*/ 92 w 119"/>
                  <a:gd name="T49" fmla="*/ 85 h 120"/>
                  <a:gd name="T50" fmla="*/ 104 w 119"/>
                  <a:gd name="T51" fmla="*/ 78 h 120"/>
                  <a:gd name="T52" fmla="*/ 95 w 119"/>
                  <a:gd name="T53" fmla="*/ 68 h 120"/>
                  <a:gd name="T54" fmla="*/ 94 w 119"/>
                  <a:gd name="T55" fmla="*/ 51 h 120"/>
                  <a:gd name="T56" fmla="*/ 104 w 119"/>
                  <a:gd name="T57" fmla="*/ 41 h 120"/>
                  <a:gd name="T58" fmla="*/ 92 w 119"/>
                  <a:gd name="T59" fmla="*/ 34 h 120"/>
                  <a:gd name="T60" fmla="*/ 70 w 119"/>
                  <a:gd name="T61" fmla="*/ 25 h 120"/>
                  <a:gd name="T62" fmla="*/ 66 w 119"/>
                  <a:gd name="T63" fmla="*/ 12 h 120"/>
                  <a:gd name="T64" fmla="*/ 54 w 119"/>
                  <a:gd name="T65" fmla="*/ 19 h 120"/>
                  <a:gd name="T66" fmla="*/ 35 w 119"/>
                  <a:gd name="T67" fmla="*/ 33 h 120"/>
                  <a:gd name="T68" fmla="*/ 21 w 119"/>
                  <a:gd name="T69" fmla="*/ 30 h 120"/>
                  <a:gd name="T70" fmla="*/ 22 w 119"/>
                  <a:gd name="T71" fmla="*/ 45 h 120"/>
                  <a:gd name="T72" fmla="*/ 23 w 119"/>
                  <a:gd name="T73" fmla="*/ 60 h 120"/>
                  <a:gd name="T74" fmla="*/ 22 w 119"/>
                  <a:gd name="T75" fmla="*/ 74 h 120"/>
                  <a:gd name="T76" fmla="*/ 21 w 119"/>
                  <a:gd name="T77" fmla="*/ 89 h 120"/>
                  <a:gd name="T78" fmla="*/ 35 w 119"/>
                  <a:gd name="T79" fmla="*/ 86 h 120"/>
                  <a:gd name="T80" fmla="*/ 54 w 119"/>
                  <a:gd name="T81" fmla="*/ 10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2" y="102"/>
                      <a:pt x="22" y="102"/>
                      <a:pt x="22"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4"/>
                    </a:cubicBezTo>
                    <a:cubicBezTo>
                      <a:pt x="1"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9" y="16"/>
                      <a:pt x="100" y="16"/>
                      <a:pt x="102" y="16"/>
                    </a:cubicBezTo>
                    <a:cubicBezTo>
                      <a:pt x="103" y="17"/>
                      <a:pt x="105" y="18"/>
                      <a:pt x="105" y="19"/>
                    </a:cubicBezTo>
                    <a:cubicBezTo>
                      <a:pt x="117" y="40"/>
                      <a:pt x="117" y="40"/>
                      <a:pt x="117" y="40"/>
                    </a:cubicBezTo>
                    <a:cubicBezTo>
                      <a:pt x="118" y="41"/>
                      <a:pt x="118" y="43"/>
                      <a:pt x="118" y="44"/>
                    </a:cubicBezTo>
                    <a:cubicBezTo>
                      <a:pt x="118" y="46"/>
                      <a:pt x="117"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8" y="79"/>
                    </a:cubicBezTo>
                    <a:cubicBezTo>
                      <a:pt x="106" y="100"/>
                      <a:pt x="106" y="100"/>
                      <a:pt x="106" y="100"/>
                    </a:cubicBezTo>
                    <a:cubicBezTo>
                      <a:pt x="105" y="101"/>
                      <a:pt x="104"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1" y="94"/>
                    </a:cubicBezTo>
                    <a:cubicBezTo>
                      <a:pt x="76" y="92"/>
                      <a:pt x="81" y="90"/>
                      <a:pt x="85" y="86"/>
                    </a:cubicBezTo>
                    <a:cubicBezTo>
                      <a:pt x="87" y="84"/>
                      <a:pt x="89" y="83"/>
                      <a:pt x="92" y="85"/>
                    </a:cubicBezTo>
                    <a:cubicBezTo>
                      <a:pt x="98" y="89"/>
                      <a:pt x="98" y="89"/>
                      <a:pt x="98" y="89"/>
                    </a:cubicBezTo>
                    <a:cubicBezTo>
                      <a:pt x="104" y="78"/>
                      <a:pt x="104" y="78"/>
                      <a:pt x="104" y="78"/>
                    </a:cubicBezTo>
                    <a:cubicBezTo>
                      <a:pt x="97" y="74"/>
                      <a:pt x="97" y="74"/>
                      <a:pt x="97" y="74"/>
                    </a:cubicBezTo>
                    <a:cubicBezTo>
                      <a:pt x="95" y="73"/>
                      <a:pt x="94" y="70"/>
                      <a:pt x="95"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0"/>
                      <a:pt x="98" y="30"/>
                      <a:pt x="98" y="30"/>
                    </a:cubicBezTo>
                    <a:cubicBezTo>
                      <a:pt x="92" y="34"/>
                      <a:pt x="92" y="34"/>
                      <a:pt x="92" y="34"/>
                    </a:cubicBezTo>
                    <a:cubicBezTo>
                      <a:pt x="89" y="36"/>
                      <a:pt x="87" y="35"/>
                      <a:pt x="85" y="33"/>
                    </a:cubicBezTo>
                    <a:cubicBezTo>
                      <a:pt x="81"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3"/>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5" y="51"/>
                    </a:cubicBezTo>
                    <a:cubicBezTo>
                      <a:pt x="24" y="54"/>
                      <a:pt x="23" y="57"/>
                      <a:pt x="23" y="60"/>
                    </a:cubicBezTo>
                    <a:cubicBezTo>
                      <a:pt x="23" y="62"/>
                      <a:pt x="24" y="65"/>
                      <a:pt x="24" y="68"/>
                    </a:cubicBezTo>
                    <a:cubicBezTo>
                      <a:pt x="25" y="70"/>
                      <a:pt x="24" y="73"/>
                      <a:pt x="22" y="74"/>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Freeform 74">
                <a:extLst>
                  <a:ext uri="{FF2B5EF4-FFF2-40B4-BE49-F238E27FC236}">
                    <a16:creationId xmlns:a16="http://schemas.microsoft.com/office/drawing/2014/main" id="{8B4EED67-F87B-477F-874B-4DAC299E8822}"/>
                  </a:ext>
                </a:extLst>
              </p:cNvPr>
              <p:cNvSpPr>
                <a:spLocks noEditPoints="1"/>
              </p:cNvSpPr>
              <p:nvPr/>
            </p:nvSpPr>
            <p:spPr bwMode="auto">
              <a:xfrm>
                <a:off x="6776" y="2095"/>
                <a:ext cx="330" cy="198"/>
              </a:xfrm>
              <a:custGeom>
                <a:avLst/>
                <a:gdLst>
                  <a:gd name="T0" fmla="*/ 210 w 216"/>
                  <a:gd name="T1" fmla="*/ 132 h 132"/>
                  <a:gd name="T2" fmla="*/ 6 w 216"/>
                  <a:gd name="T3" fmla="*/ 132 h 132"/>
                  <a:gd name="T4" fmla="*/ 0 w 216"/>
                  <a:gd name="T5" fmla="*/ 126 h 132"/>
                  <a:gd name="T6" fmla="*/ 0 w 216"/>
                  <a:gd name="T7" fmla="*/ 6 h 132"/>
                  <a:gd name="T8" fmla="*/ 6 w 216"/>
                  <a:gd name="T9" fmla="*/ 0 h 132"/>
                  <a:gd name="T10" fmla="*/ 210 w 216"/>
                  <a:gd name="T11" fmla="*/ 0 h 132"/>
                  <a:gd name="T12" fmla="*/ 216 w 216"/>
                  <a:gd name="T13" fmla="*/ 6 h 132"/>
                  <a:gd name="T14" fmla="*/ 216 w 216"/>
                  <a:gd name="T15" fmla="*/ 126 h 132"/>
                  <a:gd name="T16" fmla="*/ 210 w 216"/>
                  <a:gd name="T17" fmla="*/ 132 h 132"/>
                  <a:gd name="T18" fmla="*/ 12 w 216"/>
                  <a:gd name="T19" fmla="*/ 120 h 132"/>
                  <a:gd name="T20" fmla="*/ 204 w 216"/>
                  <a:gd name="T21" fmla="*/ 120 h 132"/>
                  <a:gd name="T22" fmla="*/ 204 w 216"/>
                  <a:gd name="T23" fmla="*/ 12 h 132"/>
                  <a:gd name="T24" fmla="*/ 12 w 216"/>
                  <a:gd name="T25" fmla="*/ 12 h 132"/>
                  <a:gd name="T26" fmla="*/ 12 w 216"/>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132">
                    <a:moveTo>
                      <a:pt x="210" y="132"/>
                    </a:moveTo>
                    <a:cubicBezTo>
                      <a:pt x="6" y="132"/>
                      <a:pt x="6" y="132"/>
                      <a:pt x="6" y="132"/>
                    </a:cubicBezTo>
                    <a:cubicBezTo>
                      <a:pt x="3" y="132"/>
                      <a:pt x="0" y="129"/>
                      <a:pt x="0" y="126"/>
                    </a:cubicBezTo>
                    <a:cubicBezTo>
                      <a:pt x="0" y="6"/>
                      <a:pt x="0" y="6"/>
                      <a:pt x="0" y="6"/>
                    </a:cubicBezTo>
                    <a:cubicBezTo>
                      <a:pt x="0" y="2"/>
                      <a:pt x="3" y="0"/>
                      <a:pt x="6" y="0"/>
                    </a:cubicBezTo>
                    <a:cubicBezTo>
                      <a:pt x="210" y="0"/>
                      <a:pt x="210" y="0"/>
                      <a:pt x="210" y="0"/>
                    </a:cubicBezTo>
                    <a:cubicBezTo>
                      <a:pt x="214" y="0"/>
                      <a:pt x="216" y="2"/>
                      <a:pt x="216" y="6"/>
                    </a:cubicBezTo>
                    <a:cubicBezTo>
                      <a:pt x="216" y="126"/>
                      <a:pt x="216" y="126"/>
                      <a:pt x="216" y="126"/>
                    </a:cubicBezTo>
                    <a:cubicBezTo>
                      <a:pt x="216" y="129"/>
                      <a:pt x="214" y="132"/>
                      <a:pt x="210" y="132"/>
                    </a:cubicBezTo>
                    <a:close/>
                    <a:moveTo>
                      <a:pt x="12" y="120"/>
                    </a:moveTo>
                    <a:cubicBezTo>
                      <a:pt x="204" y="120"/>
                      <a:pt x="204" y="120"/>
                      <a:pt x="204" y="120"/>
                    </a:cubicBezTo>
                    <a:cubicBezTo>
                      <a:pt x="204" y="12"/>
                      <a:pt x="204" y="12"/>
                      <a:pt x="204"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Freeform 75">
                <a:extLst>
                  <a:ext uri="{FF2B5EF4-FFF2-40B4-BE49-F238E27FC236}">
                    <a16:creationId xmlns:a16="http://schemas.microsoft.com/office/drawing/2014/main" id="{0AD39CCE-C7AB-4BE8-A52F-F10AD149B898}"/>
                  </a:ext>
                </a:extLst>
              </p:cNvPr>
              <p:cNvSpPr>
                <a:spLocks/>
              </p:cNvSpPr>
              <p:nvPr/>
            </p:nvSpPr>
            <p:spPr bwMode="auto">
              <a:xfrm>
                <a:off x="6776" y="2049"/>
                <a:ext cx="330" cy="64"/>
              </a:xfrm>
              <a:custGeom>
                <a:avLst/>
                <a:gdLst>
                  <a:gd name="T0" fmla="*/ 210 w 216"/>
                  <a:gd name="T1" fmla="*/ 43 h 43"/>
                  <a:gd name="T2" fmla="*/ 6 w 216"/>
                  <a:gd name="T3" fmla="*/ 43 h 43"/>
                  <a:gd name="T4" fmla="*/ 1 w 216"/>
                  <a:gd name="T5" fmla="*/ 40 h 43"/>
                  <a:gd name="T6" fmla="*/ 1 w 216"/>
                  <a:gd name="T7" fmla="*/ 35 h 43"/>
                  <a:gd name="T8" fmla="*/ 11 w 216"/>
                  <a:gd name="T9" fmla="*/ 5 h 43"/>
                  <a:gd name="T10" fmla="*/ 18 w 216"/>
                  <a:gd name="T11" fmla="*/ 1 h 43"/>
                  <a:gd name="T12" fmla="*/ 22 w 216"/>
                  <a:gd name="T13" fmla="*/ 8 h 43"/>
                  <a:gd name="T14" fmla="*/ 15 w 216"/>
                  <a:gd name="T15" fmla="*/ 31 h 43"/>
                  <a:gd name="T16" fmla="*/ 210 w 216"/>
                  <a:gd name="T17" fmla="*/ 31 h 43"/>
                  <a:gd name="T18" fmla="*/ 216 w 216"/>
                  <a:gd name="T19" fmla="*/ 37 h 43"/>
                  <a:gd name="T20" fmla="*/ 210 w 216"/>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 h="43">
                    <a:moveTo>
                      <a:pt x="210" y="43"/>
                    </a:moveTo>
                    <a:cubicBezTo>
                      <a:pt x="6" y="43"/>
                      <a:pt x="6" y="43"/>
                      <a:pt x="6" y="43"/>
                    </a:cubicBezTo>
                    <a:cubicBezTo>
                      <a:pt x="4" y="43"/>
                      <a:pt x="3" y="42"/>
                      <a:pt x="1" y="40"/>
                    </a:cubicBezTo>
                    <a:cubicBezTo>
                      <a:pt x="0" y="38"/>
                      <a:pt x="0" y="36"/>
                      <a:pt x="1" y="35"/>
                    </a:cubicBezTo>
                    <a:cubicBezTo>
                      <a:pt x="11" y="5"/>
                      <a:pt x="11" y="5"/>
                      <a:pt x="11" y="5"/>
                    </a:cubicBezTo>
                    <a:cubicBezTo>
                      <a:pt x="12" y="2"/>
                      <a:pt x="15" y="0"/>
                      <a:pt x="18" y="1"/>
                    </a:cubicBezTo>
                    <a:cubicBezTo>
                      <a:pt x="21" y="2"/>
                      <a:pt x="23" y="5"/>
                      <a:pt x="22" y="8"/>
                    </a:cubicBezTo>
                    <a:cubicBezTo>
                      <a:pt x="15" y="31"/>
                      <a:pt x="15" y="31"/>
                      <a:pt x="15" y="31"/>
                    </a:cubicBezTo>
                    <a:cubicBezTo>
                      <a:pt x="210" y="31"/>
                      <a:pt x="210" y="31"/>
                      <a:pt x="210" y="31"/>
                    </a:cubicBezTo>
                    <a:cubicBezTo>
                      <a:pt x="214" y="31"/>
                      <a:pt x="216" y="33"/>
                      <a:pt x="216" y="37"/>
                    </a:cubicBezTo>
                    <a:cubicBezTo>
                      <a:pt x="216" y="40"/>
                      <a:pt x="214" y="43"/>
                      <a:pt x="210"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Freeform 76">
                <a:extLst>
                  <a:ext uri="{FF2B5EF4-FFF2-40B4-BE49-F238E27FC236}">
                    <a16:creationId xmlns:a16="http://schemas.microsoft.com/office/drawing/2014/main" id="{C7A02383-2BD5-4EB7-BFD1-8D9B6A6A2A42}"/>
                  </a:ext>
                </a:extLst>
              </p:cNvPr>
              <p:cNvSpPr>
                <a:spLocks/>
              </p:cNvSpPr>
              <p:nvPr/>
            </p:nvSpPr>
            <p:spPr bwMode="auto">
              <a:xfrm>
                <a:off x="6897" y="1988"/>
                <a:ext cx="72" cy="18"/>
              </a:xfrm>
              <a:custGeom>
                <a:avLst/>
                <a:gdLst>
                  <a:gd name="T0" fmla="*/ 41 w 47"/>
                  <a:gd name="T1" fmla="*/ 12 h 12"/>
                  <a:gd name="T2" fmla="*/ 6 w 47"/>
                  <a:gd name="T3" fmla="*/ 12 h 12"/>
                  <a:gd name="T4" fmla="*/ 0 w 47"/>
                  <a:gd name="T5" fmla="*/ 6 h 12"/>
                  <a:gd name="T6" fmla="*/ 6 w 47"/>
                  <a:gd name="T7" fmla="*/ 0 h 12"/>
                  <a:gd name="T8" fmla="*/ 41 w 47"/>
                  <a:gd name="T9" fmla="*/ 0 h 12"/>
                  <a:gd name="T10" fmla="*/ 47 w 47"/>
                  <a:gd name="T11" fmla="*/ 6 h 12"/>
                  <a:gd name="T12" fmla="*/ 41 w 4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7" h="12">
                    <a:moveTo>
                      <a:pt x="41" y="12"/>
                    </a:moveTo>
                    <a:cubicBezTo>
                      <a:pt x="6" y="12"/>
                      <a:pt x="6" y="12"/>
                      <a:pt x="6" y="12"/>
                    </a:cubicBezTo>
                    <a:cubicBezTo>
                      <a:pt x="2" y="12"/>
                      <a:pt x="0" y="9"/>
                      <a:pt x="0" y="6"/>
                    </a:cubicBezTo>
                    <a:cubicBezTo>
                      <a:pt x="0" y="2"/>
                      <a:pt x="2" y="0"/>
                      <a:pt x="6" y="0"/>
                    </a:cubicBezTo>
                    <a:cubicBezTo>
                      <a:pt x="41" y="0"/>
                      <a:pt x="41" y="0"/>
                      <a:pt x="41" y="0"/>
                    </a:cubicBezTo>
                    <a:cubicBezTo>
                      <a:pt x="45" y="0"/>
                      <a:pt x="47" y="2"/>
                      <a:pt x="47" y="6"/>
                    </a:cubicBezTo>
                    <a:cubicBezTo>
                      <a:pt x="47" y="9"/>
                      <a:pt x="45" y="12"/>
                      <a:pt x="4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Freeform 77">
                <a:extLst>
                  <a:ext uri="{FF2B5EF4-FFF2-40B4-BE49-F238E27FC236}">
                    <a16:creationId xmlns:a16="http://schemas.microsoft.com/office/drawing/2014/main" id="{4B7436C0-A8D2-49AE-A2D4-C1DF91962946}"/>
                  </a:ext>
                </a:extLst>
              </p:cNvPr>
              <p:cNvSpPr>
                <a:spLocks/>
              </p:cNvSpPr>
              <p:nvPr/>
            </p:nvSpPr>
            <p:spPr bwMode="auto">
              <a:xfrm>
                <a:off x="6846" y="1995"/>
                <a:ext cx="78" cy="77"/>
              </a:xfrm>
              <a:custGeom>
                <a:avLst/>
                <a:gdLst>
                  <a:gd name="T0" fmla="*/ 44 w 51"/>
                  <a:gd name="T1" fmla="*/ 51 h 51"/>
                  <a:gd name="T2" fmla="*/ 40 w 51"/>
                  <a:gd name="T3" fmla="*/ 49 h 51"/>
                  <a:gd name="T4" fmla="*/ 2 w 51"/>
                  <a:gd name="T5" fmla="*/ 11 h 51"/>
                  <a:gd name="T6" fmla="*/ 2 w 51"/>
                  <a:gd name="T7" fmla="*/ 2 h 51"/>
                  <a:gd name="T8" fmla="*/ 11 w 51"/>
                  <a:gd name="T9" fmla="*/ 2 h 51"/>
                  <a:gd name="T10" fmla="*/ 48 w 51"/>
                  <a:gd name="T11" fmla="*/ 40 h 51"/>
                  <a:gd name="T12" fmla="*/ 48 w 51"/>
                  <a:gd name="T13" fmla="*/ 49 h 51"/>
                  <a:gd name="T14" fmla="*/ 44 w 51"/>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1">
                    <a:moveTo>
                      <a:pt x="44" y="51"/>
                    </a:moveTo>
                    <a:cubicBezTo>
                      <a:pt x="43" y="51"/>
                      <a:pt x="41" y="50"/>
                      <a:pt x="40" y="49"/>
                    </a:cubicBezTo>
                    <a:cubicBezTo>
                      <a:pt x="2" y="11"/>
                      <a:pt x="2" y="11"/>
                      <a:pt x="2" y="11"/>
                    </a:cubicBezTo>
                    <a:cubicBezTo>
                      <a:pt x="0" y="9"/>
                      <a:pt x="0" y="5"/>
                      <a:pt x="2" y="2"/>
                    </a:cubicBezTo>
                    <a:cubicBezTo>
                      <a:pt x="4" y="0"/>
                      <a:pt x="8" y="0"/>
                      <a:pt x="11" y="2"/>
                    </a:cubicBezTo>
                    <a:cubicBezTo>
                      <a:pt x="48" y="40"/>
                      <a:pt x="48" y="40"/>
                      <a:pt x="48" y="40"/>
                    </a:cubicBezTo>
                    <a:cubicBezTo>
                      <a:pt x="51" y="43"/>
                      <a:pt x="51" y="47"/>
                      <a:pt x="48" y="49"/>
                    </a:cubicBezTo>
                    <a:cubicBezTo>
                      <a:pt x="47" y="50"/>
                      <a:pt x="46" y="51"/>
                      <a:pt x="44"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Freeform 78">
                <a:extLst>
                  <a:ext uri="{FF2B5EF4-FFF2-40B4-BE49-F238E27FC236}">
                    <a16:creationId xmlns:a16="http://schemas.microsoft.com/office/drawing/2014/main" id="{CBA9E607-7891-44EB-8605-98685E26E15A}"/>
                  </a:ext>
                </a:extLst>
              </p:cNvPr>
              <p:cNvSpPr>
                <a:spLocks noEditPoints="1"/>
              </p:cNvSpPr>
              <p:nvPr/>
            </p:nvSpPr>
            <p:spPr bwMode="auto">
              <a:xfrm>
                <a:off x="6721" y="1874"/>
                <a:ext cx="165" cy="162"/>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5" y="108"/>
                      <a:pt x="0" y="84"/>
                      <a:pt x="0" y="54"/>
                    </a:cubicBezTo>
                    <a:cubicBezTo>
                      <a:pt x="0" y="24"/>
                      <a:pt x="25"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8" y="96"/>
                      <a:pt x="96" y="77"/>
                      <a:pt x="96" y="54"/>
                    </a:cubicBezTo>
                    <a:cubicBezTo>
                      <a:pt x="96" y="31"/>
                      <a:pt x="7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Freeform 79">
                <a:extLst>
                  <a:ext uri="{FF2B5EF4-FFF2-40B4-BE49-F238E27FC236}">
                    <a16:creationId xmlns:a16="http://schemas.microsoft.com/office/drawing/2014/main" id="{1CE03728-E440-4B7C-A784-08F383984B45}"/>
                  </a:ext>
                </a:extLst>
              </p:cNvPr>
              <p:cNvSpPr>
                <a:spLocks noEditPoints="1"/>
              </p:cNvSpPr>
              <p:nvPr/>
            </p:nvSpPr>
            <p:spPr bwMode="auto">
              <a:xfrm>
                <a:off x="6941" y="2203"/>
                <a:ext cx="128" cy="54"/>
              </a:xfrm>
              <a:custGeom>
                <a:avLst/>
                <a:gdLst>
                  <a:gd name="T0" fmla="*/ 78 w 84"/>
                  <a:gd name="T1" fmla="*/ 36 h 36"/>
                  <a:gd name="T2" fmla="*/ 6 w 84"/>
                  <a:gd name="T3" fmla="*/ 36 h 36"/>
                  <a:gd name="T4" fmla="*/ 0 w 84"/>
                  <a:gd name="T5" fmla="*/ 30 h 36"/>
                  <a:gd name="T6" fmla="*/ 0 w 84"/>
                  <a:gd name="T7" fmla="*/ 6 h 36"/>
                  <a:gd name="T8" fmla="*/ 6 w 84"/>
                  <a:gd name="T9" fmla="*/ 0 h 36"/>
                  <a:gd name="T10" fmla="*/ 78 w 84"/>
                  <a:gd name="T11" fmla="*/ 0 h 36"/>
                  <a:gd name="T12" fmla="*/ 84 w 84"/>
                  <a:gd name="T13" fmla="*/ 6 h 36"/>
                  <a:gd name="T14" fmla="*/ 84 w 84"/>
                  <a:gd name="T15" fmla="*/ 30 h 36"/>
                  <a:gd name="T16" fmla="*/ 78 w 84"/>
                  <a:gd name="T17" fmla="*/ 36 h 36"/>
                  <a:gd name="T18" fmla="*/ 12 w 84"/>
                  <a:gd name="T19" fmla="*/ 24 h 36"/>
                  <a:gd name="T20" fmla="*/ 72 w 84"/>
                  <a:gd name="T21" fmla="*/ 24 h 36"/>
                  <a:gd name="T22" fmla="*/ 72 w 84"/>
                  <a:gd name="T23" fmla="*/ 12 h 36"/>
                  <a:gd name="T24" fmla="*/ 12 w 84"/>
                  <a:gd name="T25" fmla="*/ 12 h 36"/>
                  <a:gd name="T26" fmla="*/ 12 w 84"/>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36">
                    <a:moveTo>
                      <a:pt x="78" y="36"/>
                    </a:moveTo>
                    <a:cubicBezTo>
                      <a:pt x="6" y="36"/>
                      <a:pt x="6" y="36"/>
                      <a:pt x="6" y="36"/>
                    </a:cubicBezTo>
                    <a:cubicBezTo>
                      <a:pt x="3" y="36"/>
                      <a:pt x="0" y="33"/>
                      <a:pt x="0" y="30"/>
                    </a:cubicBezTo>
                    <a:cubicBezTo>
                      <a:pt x="0" y="6"/>
                      <a:pt x="0" y="6"/>
                      <a:pt x="0" y="6"/>
                    </a:cubicBezTo>
                    <a:cubicBezTo>
                      <a:pt x="0" y="2"/>
                      <a:pt x="3" y="0"/>
                      <a:pt x="6" y="0"/>
                    </a:cubicBezTo>
                    <a:cubicBezTo>
                      <a:pt x="78" y="0"/>
                      <a:pt x="78" y="0"/>
                      <a:pt x="78" y="0"/>
                    </a:cubicBezTo>
                    <a:cubicBezTo>
                      <a:pt x="82" y="0"/>
                      <a:pt x="84" y="2"/>
                      <a:pt x="84" y="6"/>
                    </a:cubicBezTo>
                    <a:cubicBezTo>
                      <a:pt x="84" y="30"/>
                      <a:pt x="84" y="30"/>
                      <a:pt x="84" y="30"/>
                    </a:cubicBezTo>
                    <a:cubicBezTo>
                      <a:pt x="84" y="33"/>
                      <a:pt x="82" y="36"/>
                      <a:pt x="78" y="36"/>
                    </a:cubicBezTo>
                    <a:close/>
                    <a:moveTo>
                      <a:pt x="12" y="24"/>
                    </a:moveTo>
                    <a:cubicBezTo>
                      <a:pt x="72" y="24"/>
                      <a:pt x="72" y="24"/>
                      <a:pt x="72" y="24"/>
                    </a:cubicBezTo>
                    <a:cubicBezTo>
                      <a:pt x="72" y="12"/>
                      <a:pt x="72" y="12"/>
                      <a:pt x="72"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40" name="Rectangle 39">
              <a:extLst>
                <a:ext uri="{FF2B5EF4-FFF2-40B4-BE49-F238E27FC236}">
                  <a16:creationId xmlns:a16="http://schemas.microsoft.com/office/drawing/2014/main" id="{834B60E2-DE98-40CE-96B3-7A2E492D7FCA}"/>
                </a:ext>
                <a:ext uri="{C183D7F6-B498-43B3-948B-1728B52AA6E4}">
                  <adec:decorative xmlns:adec="http://schemas.microsoft.com/office/drawing/2017/decorative" val="1"/>
                </a:ext>
              </a:extLst>
            </p:cNvPr>
            <p:cNvSpPr/>
            <p:nvPr userDrawn="1"/>
          </p:nvSpPr>
          <p:spPr>
            <a:xfrm>
              <a:off x="10540361" y="2761347"/>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243" name="Group 48" descr="Counter-clockwise Cycle">
              <a:extLst>
                <a:ext uri="{FF2B5EF4-FFF2-40B4-BE49-F238E27FC236}">
                  <a16:creationId xmlns:a16="http://schemas.microsoft.com/office/drawing/2014/main" id="{95A10EAE-35D0-47D4-8D26-02AC5F8A6ABD}"/>
                </a:ext>
                <a:ext uri="{C183D7F6-B498-43B3-948B-1728B52AA6E4}">
                  <adec:decorative xmlns:adec="http://schemas.microsoft.com/office/drawing/2017/decorative" val="0"/>
                </a:ext>
              </a:extLst>
            </p:cNvPr>
            <p:cNvGrpSpPr>
              <a:grpSpLocks noChangeAspect="1"/>
            </p:cNvGrpSpPr>
            <p:nvPr/>
          </p:nvGrpSpPr>
          <p:grpSpPr bwMode="auto">
            <a:xfrm>
              <a:off x="10941132" y="3109340"/>
              <a:ext cx="515826" cy="496764"/>
              <a:chOff x="6532" y="451"/>
              <a:chExt cx="433" cy="417"/>
            </a:xfrm>
            <a:solidFill>
              <a:schemeClr val="accent1"/>
            </a:solidFill>
          </p:grpSpPr>
          <p:sp>
            <p:nvSpPr>
              <p:cNvPr id="244" name="Freeform 49">
                <a:extLst>
                  <a:ext uri="{FF2B5EF4-FFF2-40B4-BE49-F238E27FC236}">
                    <a16:creationId xmlns:a16="http://schemas.microsoft.com/office/drawing/2014/main" id="{11F8BEA3-3D03-423D-B555-73887DE6AFC3}"/>
                  </a:ext>
                </a:extLst>
              </p:cNvPr>
              <p:cNvSpPr>
                <a:spLocks/>
              </p:cNvSpPr>
              <p:nvPr/>
            </p:nvSpPr>
            <p:spPr bwMode="auto">
              <a:xfrm>
                <a:off x="6837" y="621"/>
                <a:ext cx="128" cy="94"/>
              </a:xfrm>
              <a:custGeom>
                <a:avLst/>
                <a:gdLst>
                  <a:gd name="T0" fmla="*/ 7 w 86"/>
                  <a:gd name="T1" fmla="*/ 64 h 64"/>
                  <a:gd name="T2" fmla="*/ 3 w 86"/>
                  <a:gd name="T3" fmla="*/ 63 h 64"/>
                  <a:gd name="T4" fmla="*/ 1 w 86"/>
                  <a:gd name="T5" fmla="*/ 55 h 64"/>
                  <a:gd name="T6" fmla="*/ 34 w 86"/>
                  <a:gd name="T7" fmla="*/ 3 h 64"/>
                  <a:gd name="T8" fmla="*/ 38 w 86"/>
                  <a:gd name="T9" fmla="*/ 0 h 64"/>
                  <a:gd name="T10" fmla="*/ 43 w 86"/>
                  <a:gd name="T11" fmla="*/ 2 h 64"/>
                  <a:gd name="T12" fmla="*/ 84 w 86"/>
                  <a:gd name="T13" fmla="*/ 48 h 64"/>
                  <a:gd name="T14" fmla="*/ 84 w 86"/>
                  <a:gd name="T15" fmla="*/ 56 h 64"/>
                  <a:gd name="T16" fmla="*/ 75 w 86"/>
                  <a:gd name="T17" fmla="*/ 56 h 64"/>
                  <a:gd name="T18" fmla="*/ 40 w 86"/>
                  <a:gd name="T19" fmla="*/ 16 h 64"/>
                  <a:gd name="T20" fmla="*/ 12 w 86"/>
                  <a:gd name="T21" fmla="*/ 61 h 64"/>
                  <a:gd name="T22" fmla="*/ 7 w 86"/>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4">
                    <a:moveTo>
                      <a:pt x="7" y="64"/>
                    </a:moveTo>
                    <a:cubicBezTo>
                      <a:pt x="5" y="64"/>
                      <a:pt x="4" y="64"/>
                      <a:pt x="3" y="63"/>
                    </a:cubicBezTo>
                    <a:cubicBezTo>
                      <a:pt x="1" y="62"/>
                      <a:pt x="0" y="58"/>
                      <a:pt x="1" y="55"/>
                    </a:cubicBezTo>
                    <a:cubicBezTo>
                      <a:pt x="34" y="3"/>
                      <a:pt x="34" y="3"/>
                      <a:pt x="34" y="3"/>
                    </a:cubicBezTo>
                    <a:cubicBezTo>
                      <a:pt x="35" y="1"/>
                      <a:pt x="36" y="0"/>
                      <a:pt x="38" y="0"/>
                    </a:cubicBezTo>
                    <a:cubicBezTo>
                      <a:pt x="40" y="0"/>
                      <a:pt x="42" y="1"/>
                      <a:pt x="43" y="2"/>
                    </a:cubicBezTo>
                    <a:cubicBezTo>
                      <a:pt x="84" y="48"/>
                      <a:pt x="84" y="48"/>
                      <a:pt x="84" y="48"/>
                    </a:cubicBezTo>
                    <a:cubicBezTo>
                      <a:pt x="86" y="50"/>
                      <a:pt x="86" y="54"/>
                      <a:pt x="84" y="56"/>
                    </a:cubicBezTo>
                    <a:cubicBezTo>
                      <a:pt x="81" y="58"/>
                      <a:pt x="78" y="58"/>
                      <a:pt x="75" y="56"/>
                    </a:cubicBezTo>
                    <a:cubicBezTo>
                      <a:pt x="40" y="16"/>
                      <a:pt x="40" y="16"/>
                      <a:pt x="40" y="16"/>
                    </a:cubicBezTo>
                    <a:cubicBezTo>
                      <a:pt x="12" y="61"/>
                      <a:pt x="12" y="61"/>
                      <a:pt x="12" y="61"/>
                    </a:cubicBezTo>
                    <a:cubicBezTo>
                      <a:pt x="11" y="63"/>
                      <a:pt x="9" y="64"/>
                      <a:pt x="7"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45" name="Freeform 50">
                <a:extLst>
                  <a:ext uri="{FF2B5EF4-FFF2-40B4-BE49-F238E27FC236}">
                    <a16:creationId xmlns:a16="http://schemas.microsoft.com/office/drawing/2014/main" id="{CE8CE0C2-48FF-4BB4-9B05-9290A8F38000}"/>
                  </a:ext>
                </a:extLst>
              </p:cNvPr>
              <p:cNvSpPr>
                <a:spLocks/>
              </p:cNvSpPr>
              <p:nvPr/>
            </p:nvSpPr>
            <p:spPr bwMode="auto">
              <a:xfrm>
                <a:off x="6759" y="621"/>
                <a:ext cx="157" cy="233"/>
              </a:xfrm>
              <a:custGeom>
                <a:avLst/>
                <a:gdLst>
                  <a:gd name="T0" fmla="*/ 7 w 106"/>
                  <a:gd name="T1" fmla="*/ 158 h 158"/>
                  <a:gd name="T2" fmla="*/ 1 w 106"/>
                  <a:gd name="T3" fmla="*/ 154 h 158"/>
                  <a:gd name="T4" fmla="*/ 5 w 106"/>
                  <a:gd name="T5" fmla="*/ 147 h 158"/>
                  <a:gd name="T6" fmla="*/ 74 w 106"/>
                  <a:gd name="T7" fmla="*/ 94 h 158"/>
                  <a:gd name="T8" fmla="*/ 86 w 106"/>
                  <a:gd name="T9" fmla="*/ 8 h 158"/>
                  <a:gd name="T10" fmla="*/ 90 w 106"/>
                  <a:gd name="T11" fmla="*/ 1 h 158"/>
                  <a:gd name="T12" fmla="*/ 97 w 106"/>
                  <a:gd name="T13" fmla="*/ 5 h 158"/>
                  <a:gd name="T14" fmla="*/ 84 w 106"/>
                  <a:gd name="T15" fmla="*/ 100 h 158"/>
                  <a:gd name="T16" fmla="*/ 8 w 106"/>
                  <a:gd name="T17" fmla="*/ 158 h 158"/>
                  <a:gd name="T18" fmla="*/ 7 w 106"/>
                  <a:gd name="T1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58">
                    <a:moveTo>
                      <a:pt x="7" y="158"/>
                    </a:moveTo>
                    <a:cubicBezTo>
                      <a:pt x="4" y="158"/>
                      <a:pt x="2" y="157"/>
                      <a:pt x="1" y="154"/>
                    </a:cubicBezTo>
                    <a:cubicBezTo>
                      <a:pt x="0" y="151"/>
                      <a:pt x="2" y="147"/>
                      <a:pt x="5" y="147"/>
                    </a:cubicBezTo>
                    <a:cubicBezTo>
                      <a:pt x="34" y="139"/>
                      <a:pt x="59" y="121"/>
                      <a:pt x="74" y="94"/>
                    </a:cubicBezTo>
                    <a:cubicBezTo>
                      <a:pt x="89" y="68"/>
                      <a:pt x="93" y="38"/>
                      <a:pt x="86" y="8"/>
                    </a:cubicBezTo>
                    <a:cubicBezTo>
                      <a:pt x="85" y="5"/>
                      <a:pt x="87" y="2"/>
                      <a:pt x="90" y="1"/>
                    </a:cubicBezTo>
                    <a:cubicBezTo>
                      <a:pt x="93" y="0"/>
                      <a:pt x="97" y="2"/>
                      <a:pt x="97" y="5"/>
                    </a:cubicBezTo>
                    <a:cubicBezTo>
                      <a:pt x="106" y="38"/>
                      <a:pt x="101" y="71"/>
                      <a:pt x="84" y="100"/>
                    </a:cubicBezTo>
                    <a:cubicBezTo>
                      <a:pt x="67" y="129"/>
                      <a:pt x="40" y="150"/>
                      <a:pt x="8" y="158"/>
                    </a:cubicBezTo>
                    <a:cubicBezTo>
                      <a:pt x="8" y="158"/>
                      <a:pt x="7" y="158"/>
                      <a:pt x="7"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46" name="Freeform 51">
                <a:extLst>
                  <a:ext uri="{FF2B5EF4-FFF2-40B4-BE49-F238E27FC236}">
                    <a16:creationId xmlns:a16="http://schemas.microsoft.com/office/drawing/2014/main" id="{497CBCBA-E920-488C-A069-75BD12852A08}"/>
                  </a:ext>
                </a:extLst>
              </p:cNvPr>
              <p:cNvSpPr>
                <a:spLocks/>
              </p:cNvSpPr>
              <p:nvPr/>
            </p:nvSpPr>
            <p:spPr bwMode="auto">
              <a:xfrm>
                <a:off x="6599" y="451"/>
                <a:ext cx="110" cy="112"/>
              </a:xfrm>
              <a:custGeom>
                <a:avLst/>
                <a:gdLst>
                  <a:gd name="T0" fmla="*/ 68 w 74"/>
                  <a:gd name="T1" fmla="*/ 76 h 76"/>
                  <a:gd name="T2" fmla="*/ 67 w 74"/>
                  <a:gd name="T3" fmla="*/ 76 h 76"/>
                  <a:gd name="T4" fmla="*/ 6 w 74"/>
                  <a:gd name="T5" fmla="*/ 70 h 76"/>
                  <a:gd name="T6" fmla="*/ 1 w 74"/>
                  <a:gd name="T7" fmla="*/ 67 h 76"/>
                  <a:gd name="T8" fmla="*/ 1 w 74"/>
                  <a:gd name="T9" fmla="*/ 61 h 76"/>
                  <a:gd name="T10" fmla="*/ 24 w 74"/>
                  <a:gd name="T11" fmla="*/ 5 h 76"/>
                  <a:gd name="T12" fmla="*/ 32 w 74"/>
                  <a:gd name="T13" fmla="*/ 1 h 76"/>
                  <a:gd name="T14" fmla="*/ 35 w 74"/>
                  <a:gd name="T15" fmla="*/ 9 h 76"/>
                  <a:gd name="T16" fmla="*/ 15 w 74"/>
                  <a:gd name="T17" fmla="*/ 58 h 76"/>
                  <a:gd name="T18" fmla="*/ 68 w 74"/>
                  <a:gd name="T19" fmla="*/ 64 h 76"/>
                  <a:gd name="T20" fmla="*/ 74 w 74"/>
                  <a:gd name="T21" fmla="*/ 70 h 76"/>
                  <a:gd name="T22" fmla="*/ 68 w 74"/>
                  <a:gd name="T2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76">
                    <a:moveTo>
                      <a:pt x="68" y="76"/>
                    </a:moveTo>
                    <a:cubicBezTo>
                      <a:pt x="67" y="76"/>
                      <a:pt x="67" y="76"/>
                      <a:pt x="67" y="76"/>
                    </a:cubicBezTo>
                    <a:cubicBezTo>
                      <a:pt x="6" y="70"/>
                      <a:pt x="6" y="70"/>
                      <a:pt x="6" y="70"/>
                    </a:cubicBezTo>
                    <a:cubicBezTo>
                      <a:pt x="4" y="69"/>
                      <a:pt x="2" y="68"/>
                      <a:pt x="1" y="67"/>
                    </a:cubicBezTo>
                    <a:cubicBezTo>
                      <a:pt x="1" y="65"/>
                      <a:pt x="0" y="63"/>
                      <a:pt x="1" y="61"/>
                    </a:cubicBezTo>
                    <a:cubicBezTo>
                      <a:pt x="24" y="5"/>
                      <a:pt x="24" y="5"/>
                      <a:pt x="24" y="5"/>
                    </a:cubicBezTo>
                    <a:cubicBezTo>
                      <a:pt x="25" y="1"/>
                      <a:pt x="29" y="0"/>
                      <a:pt x="32" y="1"/>
                    </a:cubicBezTo>
                    <a:cubicBezTo>
                      <a:pt x="35" y="2"/>
                      <a:pt x="36" y="6"/>
                      <a:pt x="35" y="9"/>
                    </a:cubicBezTo>
                    <a:cubicBezTo>
                      <a:pt x="15" y="58"/>
                      <a:pt x="15" y="58"/>
                      <a:pt x="15" y="58"/>
                    </a:cubicBezTo>
                    <a:cubicBezTo>
                      <a:pt x="68" y="64"/>
                      <a:pt x="68" y="64"/>
                      <a:pt x="68" y="64"/>
                    </a:cubicBezTo>
                    <a:cubicBezTo>
                      <a:pt x="71" y="64"/>
                      <a:pt x="74" y="67"/>
                      <a:pt x="74" y="70"/>
                    </a:cubicBezTo>
                    <a:cubicBezTo>
                      <a:pt x="73" y="73"/>
                      <a:pt x="71" y="76"/>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47" name="Freeform 52">
                <a:extLst>
                  <a:ext uri="{FF2B5EF4-FFF2-40B4-BE49-F238E27FC236}">
                    <a16:creationId xmlns:a16="http://schemas.microsoft.com/office/drawing/2014/main" id="{4B87FE7B-810D-4E07-A6C4-455E45511895}"/>
                  </a:ext>
                </a:extLst>
              </p:cNvPr>
              <p:cNvSpPr>
                <a:spLocks/>
              </p:cNvSpPr>
              <p:nvPr/>
            </p:nvSpPr>
            <p:spPr bwMode="auto">
              <a:xfrm>
                <a:off x="6599" y="491"/>
                <a:ext cx="269" cy="81"/>
              </a:xfrm>
              <a:custGeom>
                <a:avLst/>
                <a:gdLst>
                  <a:gd name="T0" fmla="*/ 175 w 182"/>
                  <a:gd name="T1" fmla="*/ 55 h 55"/>
                  <a:gd name="T2" fmla="*/ 171 w 182"/>
                  <a:gd name="T3" fmla="*/ 53 h 55"/>
                  <a:gd name="T4" fmla="*/ 94 w 182"/>
                  <a:gd name="T5" fmla="*/ 14 h 55"/>
                  <a:gd name="T6" fmla="*/ 11 w 182"/>
                  <a:gd name="T7" fmla="*/ 41 h 55"/>
                  <a:gd name="T8" fmla="*/ 2 w 182"/>
                  <a:gd name="T9" fmla="*/ 40 h 55"/>
                  <a:gd name="T10" fmla="*/ 3 w 182"/>
                  <a:gd name="T11" fmla="*/ 32 h 55"/>
                  <a:gd name="T12" fmla="*/ 94 w 182"/>
                  <a:gd name="T13" fmla="*/ 2 h 55"/>
                  <a:gd name="T14" fmla="*/ 180 w 182"/>
                  <a:gd name="T15" fmla="*/ 45 h 55"/>
                  <a:gd name="T16" fmla="*/ 179 w 182"/>
                  <a:gd name="T17" fmla="*/ 53 h 55"/>
                  <a:gd name="T18" fmla="*/ 175 w 182"/>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2" h="55">
                    <a:moveTo>
                      <a:pt x="175" y="55"/>
                    </a:moveTo>
                    <a:cubicBezTo>
                      <a:pt x="174" y="55"/>
                      <a:pt x="172" y="54"/>
                      <a:pt x="171" y="53"/>
                    </a:cubicBezTo>
                    <a:cubicBezTo>
                      <a:pt x="151" y="30"/>
                      <a:pt x="124" y="16"/>
                      <a:pt x="94" y="14"/>
                    </a:cubicBezTo>
                    <a:cubicBezTo>
                      <a:pt x="63" y="12"/>
                      <a:pt x="34" y="21"/>
                      <a:pt x="11" y="41"/>
                    </a:cubicBezTo>
                    <a:cubicBezTo>
                      <a:pt x="8" y="43"/>
                      <a:pt x="4" y="43"/>
                      <a:pt x="2" y="40"/>
                    </a:cubicBezTo>
                    <a:cubicBezTo>
                      <a:pt x="0" y="38"/>
                      <a:pt x="0" y="34"/>
                      <a:pt x="3" y="32"/>
                    </a:cubicBezTo>
                    <a:cubicBezTo>
                      <a:pt x="28" y="10"/>
                      <a:pt x="61" y="0"/>
                      <a:pt x="94" y="2"/>
                    </a:cubicBezTo>
                    <a:cubicBezTo>
                      <a:pt x="128" y="4"/>
                      <a:pt x="159" y="20"/>
                      <a:pt x="180" y="45"/>
                    </a:cubicBezTo>
                    <a:cubicBezTo>
                      <a:pt x="182" y="47"/>
                      <a:pt x="182" y="51"/>
                      <a:pt x="179" y="53"/>
                    </a:cubicBezTo>
                    <a:cubicBezTo>
                      <a:pt x="178" y="54"/>
                      <a:pt x="177" y="55"/>
                      <a:pt x="175"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48" name="Freeform 53">
                <a:extLst>
                  <a:ext uri="{FF2B5EF4-FFF2-40B4-BE49-F238E27FC236}">
                    <a16:creationId xmlns:a16="http://schemas.microsoft.com/office/drawing/2014/main" id="{815B8F61-E2FC-417A-AE51-426E244A0DBC}"/>
                  </a:ext>
                </a:extLst>
              </p:cNvPr>
              <p:cNvSpPr>
                <a:spLocks/>
              </p:cNvSpPr>
              <p:nvPr/>
            </p:nvSpPr>
            <p:spPr bwMode="auto">
              <a:xfrm>
                <a:off x="6568" y="754"/>
                <a:ext cx="108" cy="114"/>
              </a:xfrm>
              <a:custGeom>
                <a:avLst/>
                <a:gdLst>
                  <a:gd name="T0" fmla="*/ 7 w 73"/>
                  <a:gd name="T1" fmla="*/ 77 h 77"/>
                  <a:gd name="T2" fmla="*/ 1 w 73"/>
                  <a:gd name="T3" fmla="*/ 72 h 77"/>
                  <a:gd name="T4" fmla="*/ 6 w 73"/>
                  <a:gd name="T5" fmla="*/ 65 h 77"/>
                  <a:gd name="T6" fmla="*/ 58 w 73"/>
                  <a:gd name="T7" fmla="*/ 57 h 77"/>
                  <a:gd name="T8" fmla="*/ 36 w 73"/>
                  <a:gd name="T9" fmla="*/ 9 h 77"/>
                  <a:gd name="T10" fmla="*/ 39 w 73"/>
                  <a:gd name="T11" fmla="*/ 1 h 77"/>
                  <a:gd name="T12" fmla="*/ 47 w 73"/>
                  <a:gd name="T13" fmla="*/ 4 h 77"/>
                  <a:gd name="T14" fmla="*/ 73 w 73"/>
                  <a:gd name="T15" fmla="*/ 60 h 77"/>
                  <a:gd name="T16" fmla="*/ 73 w 73"/>
                  <a:gd name="T17" fmla="*/ 65 h 77"/>
                  <a:gd name="T18" fmla="*/ 68 w 73"/>
                  <a:gd name="T19" fmla="*/ 68 h 77"/>
                  <a:gd name="T20" fmla="*/ 7 w 73"/>
                  <a:gd name="T21" fmla="*/ 77 h 77"/>
                  <a:gd name="T22" fmla="*/ 7 w 73"/>
                  <a:gd name="T2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77">
                    <a:moveTo>
                      <a:pt x="7" y="77"/>
                    </a:moveTo>
                    <a:cubicBezTo>
                      <a:pt x="4" y="77"/>
                      <a:pt x="1" y="75"/>
                      <a:pt x="1" y="72"/>
                    </a:cubicBezTo>
                    <a:cubicBezTo>
                      <a:pt x="0" y="69"/>
                      <a:pt x="2" y="66"/>
                      <a:pt x="6" y="65"/>
                    </a:cubicBezTo>
                    <a:cubicBezTo>
                      <a:pt x="58" y="57"/>
                      <a:pt x="58" y="57"/>
                      <a:pt x="58" y="57"/>
                    </a:cubicBezTo>
                    <a:cubicBezTo>
                      <a:pt x="36" y="9"/>
                      <a:pt x="36" y="9"/>
                      <a:pt x="36" y="9"/>
                    </a:cubicBezTo>
                    <a:cubicBezTo>
                      <a:pt x="35" y="6"/>
                      <a:pt x="36" y="2"/>
                      <a:pt x="39" y="1"/>
                    </a:cubicBezTo>
                    <a:cubicBezTo>
                      <a:pt x="42" y="0"/>
                      <a:pt x="46" y="1"/>
                      <a:pt x="47" y="4"/>
                    </a:cubicBezTo>
                    <a:cubicBezTo>
                      <a:pt x="73" y="60"/>
                      <a:pt x="73" y="60"/>
                      <a:pt x="73" y="60"/>
                    </a:cubicBezTo>
                    <a:cubicBezTo>
                      <a:pt x="73" y="61"/>
                      <a:pt x="73" y="63"/>
                      <a:pt x="73" y="65"/>
                    </a:cubicBezTo>
                    <a:cubicBezTo>
                      <a:pt x="72" y="67"/>
                      <a:pt x="70" y="68"/>
                      <a:pt x="68" y="68"/>
                    </a:cubicBezTo>
                    <a:cubicBezTo>
                      <a:pt x="7" y="77"/>
                      <a:pt x="7" y="77"/>
                      <a:pt x="7" y="77"/>
                    </a:cubicBezTo>
                    <a:cubicBezTo>
                      <a:pt x="7" y="77"/>
                      <a:pt x="7" y="77"/>
                      <a:pt x="7"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49" name="Freeform 54">
                <a:extLst>
                  <a:ext uri="{FF2B5EF4-FFF2-40B4-BE49-F238E27FC236}">
                    <a16:creationId xmlns:a16="http://schemas.microsoft.com/office/drawing/2014/main" id="{A09BE62F-ACE3-492B-8862-75A08F8ABFCC}"/>
                  </a:ext>
                </a:extLst>
              </p:cNvPr>
              <p:cNvSpPr>
                <a:spLocks/>
              </p:cNvSpPr>
              <p:nvPr/>
            </p:nvSpPr>
            <p:spPr bwMode="auto">
              <a:xfrm>
                <a:off x="6532" y="612"/>
                <a:ext cx="144" cy="242"/>
              </a:xfrm>
              <a:custGeom>
                <a:avLst/>
                <a:gdLst>
                  <a:gd name="T0" fmla="*/ 90 w 97"/>
                  <a:gd name="T1" fmla="*/ 164 h 164"/>
                  <a:gd name="T2" fmla="*/ 88 w 97"/>
                  <a:gd name="T3" fmla="*/ 163 h 164"/>
                  <a:gd name="T4" fmla="*/ 17 w 97"/>
                  <a:gd name="T5" fmla="*/ 100 h 164"/>
                  <a:gd name="T6" fmla="*/ 11 w 97"/>
                  <a:gd name="T7" fmla="*/ 4 h 164"/>
                  <a:gd name="T8" fmla="*/ 19 w 97"/>
                  <a:gd name="T9" fmla="*/ 1 h 164"/>
                  <a:gd name="T10" fmla="*/ 22 w 97"/>
                  <a:gd name="T11" fmla="*/ 8 h 164"/>
                  <a:gd name="T12" fmla="*/ 27 w 97"/>
                  <a:gd name="T13" fmla="*/ 94 h 164"/>
                  <a:gd name="T14" fmla="*/ 92 w 97"/>
                  <a:gd name="T15" fmla="*/ 152 h 164"/>
                  <a:gd name="T16" fmla="*/ 96 w 97"/>
                  <a:gd name="T17" fmla="*/ 160 h 164"/>
                  <a:gd name="T18" fmla="*/ 90 w 97"/>
                  <a:gd name="T1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164">
                    <a:moveTo>
                      <a:pt x="90" y="164"/>
                    </a:moveTo>
                    <a:cubicBezTo>
                      <a:pt x="90" y="164"/>
                      <a:pt x="89" y="164"/>
                      <a:pt x="88" y="163"/>
                    </a:cubicBezTo>
                    <a:cubicBezTo>
                      <a:pt x="57" y="152"/>
                      <a:pt x="31" y="130"/>
                      <a:pt x="17" y="100"/>
                    </a:cubicBezTo>
                    <a:cubicBezTo>
                      <a:pt x="2" y="70"/>
                      <a:pt x="0" y="36"/>
                      <a:pt x="11" y="4"/>
                    </a:cubicBezTo>
                    <a:cubicBezTo>
                      <a:pt x="12" y="1"/>
                      <a:pt x="16" y="0"/>
                      <a:pt x="19" y="1"/>
                    </a:cubicBezTo>
                    <a:cubicBezTo>
                      <a:pt x="22" y="2"/>
                      <a:pt x="23" y="5"/>
                      <a:pt x="22" y="8"/>
                    </a:cubicBezTo>
                    <a:cubicBezTo>
                      <a:pt x="12" y="37"/>
                      <a:pt x="14" y="67"/>
                      <a:pt x="27" y="94"/>
                    </a:cubicBezTo>
                    <a:cubicBezTo>
                      <a:pt x="41" y="121"/>
                      <a:pt x="64" y="142"/>
                      <a:pt x="92" y="152"/>
                    </a:cubicBezTo>
                    <a:cubicBezTo>
                      <a:pt x="96" y="153"/>
                      <a:pt x="97" y="157"/>
                      <a:pt x="96" y="160"/>
                    </a:cubicBezTo>
                    <a:cubicBezTo>
                      <a:pt x="95" y="162"/>
                      <a:pt x="93" y="164"/>
                      <a:pt x="90"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7" name="Rectangle 16">
              <a:extLst>
                <a:ext uri="{FF2B5EF4-FFF2-40B4-BE49-F238E27FC236}">
                  <a16:creationId xmlns:a16="http://schemas.microsoft.com/office/drawing/2014/main" id="{83CE759A-321F-4451-BC32-09223931891E}"/>
                </a:ext>
                <a:ext uri="{C183D7F6-B498-43B3-948B-1728B52AA6E4}">
                  <adec:decorative xmlns:adec="http://schemas.microsoft.com/office/drawing/2017/decorative" val="1"/>
                </a:ext>
              </a:extLst>
            </p:cNvPr>
            <p:cNvSpPr/>
            <p:nvPr userDrawn="1"/>
          </p:nvSpPr>
          <p:spPr>
            <a:xfrm>
              <a:off x="380999" y="3944865"/>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130" name="Group 133" descr="Person with Chat Bubble">
              <a:extLst>
                <a:ext uri="{FF2B5EF4-FFF2-40B4-BE49-F238E27FC236}">
                  <a16:creationId xmlns:a16="http://schemas.microsoft.com/office/drawing/2014/main" id="{A8F2B245-F43F-4A16-9CE2-27358D9DCE30}"/>
                </a:ext>
                <a:ext uri="{C183D7F6-B498-43B3-948B-1728B52AA6E4}">
                  <adec:decorative xmlns:adec="http://schemas.microsoft.com/office/drawing/2017/decorative" val="0"/>
                </a:ext>
              </a:extLst>
            </p:cNvPr>
            <p:cNvGrpSpPr>
              <a:grpSpLocks noChangeAspect="1"/>
            </p:cNvGrpSpPr>
            <p:nvPr/>
          </p:nvGrpSpPr>
          <p:grpSpPr bwMode="auto">
            <a:xfrm>
              <a:off x="769996" y="4304038"/>
              <a:ext cx="508082" cy="508082"/>
              <a:chOff x="5508" y="2995"/>
              <a:chExt cx="427" cy="427"/>
            </a:xfrm>
            <a:solidFill>
              <a:schemeClr val="accent1"/>
            </a:solidFill>
          </p:grpSpPr>
          <p:sp>
            <p:nvSpPr>
              <p:cNvPr id="131" name="Freeform 134">
                <a:extLst>
                  <a:ext uri="{FF2B5EF4-FFF2-40B4-BE49-F238E27FC236}">
                    <a16:creationId xmlns:a16="http://schemas.microsoft.com/office/drawing/2014/main" id="{235FA42A-7CCF-4AA2-ABAC-CB6857AABDA2}"/>
                  </a:ext>
                </a:extLst>
              </p:cNvPr>
              <p:cNvSpPr>
                <a:spLocks/>
              </p:cNvSpPr>
              <p:nvPr/>
            </p:nvSpPr>
            <p:spPr bwMode="auto">
              <a:xfrm>
                <a:off x="5650" y="2995"/>
                <a:ext cx="285" cy="249"/>
              </a:xfrm>
              <a:custGeom>
                <a:avLst/>
                <a:gdLst>
                  <a:gd name="T0" fmla="*/ 90 w 192"/>
                  <a:gd name="T1" fmla="*/ 168 h 168"/>
                  <a:gd name="T2" fmla="*/ 87 w 192"/>
                  <a:gd name="T3" fmla="*/ 168 h 168"/>
                  <a:gd name="T4" fmla="*/ 84 w 192"/>
                  <a:gd name="T5" fmla="*/ 162 h 168"/>
                  <a:gd name="T6" fmla="*/ 84 w 192"/>
                  <a:gd name="T7" fmla="*/ 120 h 168"/>
                  <a:gd name="T8" fmla="*/ 72 w 192"/>
                  <a:gd name="T9" fmla="*/ 120 h 168"/>
                  <a:gd name="T10" fmla="*/ 72 w 192"/>
                  <a:gd name="T11" fmla="*/ 108 h 168"/>
                  <a:gd name="T12" fmla="*/ 90 w 192"/>
                  <a:gd name="T13" fmla="*/ 108 h 168"/>
                  <a:gd name="T14" fmla="*/ 96 w 192"/>
                  <a:gd name="T15" fmla="*/ 114 h 168"/>
                  <a:gd name="T16" fmla="*/ 96 w 192"/>
                  <a:gd name="T17" fmla="*/ 148 h 168"/>
                  <a:gd name="T18" fmla="*/ 138 w 192"/>
                  <a:gd name="T19" fmla="*/ 110 h 168"/>
                  <a:gd name="T20" fmla="*/ 142 w 192"/>
                  <a:gd name="T21" fmla="*/ 108 h 168"/>
                  <a:gd name="T22" fmla="*/ 180 w 192"/>
                  <a:gd name="T23" fmla="*/ 108 h 168"/>
                  <a:gd name="T24" fmla="*/ 180 w 192"/>
                  <a:gd name="T25" fmla="*/ 12 h 168"/>
                  <a:gd name="T26" fmla="*/ 12 w 192"/>
                  <a:gd name="T27" fmla="*/ 12 h 168"/>
                  <a:gd name="T28" fmla="*/ 12 w 192"/>
                  <a:gd name="T29" fmla="*/ 54 h 168"/>
                  <a:gd name="T30" fmla="*/ 0 w 192"/>
                  <a:gd name="T31" fmla="*/ 54 h 168"/>
                  <a:gd name="T32" fmla="*/ 0 w 192"/>
                  <a:gd name="T33" fmla="*/ 6 h 168"/>
                  <a:gd name="T34" fmla="*/ 6 w 192"/>
                  <a:gd name="T35" fmla="*/ 0 h 168"/>
                  <a:gd name="T36" fmla="*/ 186 w 192"/>
                  <a:gd name="T37" fmla="*/ 0 h 168"/>
                  <a:gd name="T38" fmla="*/ 192 w 192"/>
                  <a:gd name="T39" fmla="*/ 6 h 168"/>
                  <a:gd name="T40" fmla="*/ 192 w 192"/>
                  <a:gd name="T41" fmla="*/ 114 h 168"/>
                  <a:gd name="T42" fmla="*/ 186 w 192"/>
                  <a:gd name="T43" fmla="*/ 120 h 168"/>
                  <a:gd name="T44" fmla="*/ 144 w 192"/>
                  <a:gd name="T45" fmla="*/ 120 h 168"/>
                  <a:gd name="T46" fmla="*/ 94 w 192"/>
                  <a:gd name="T47" fmla="*/ 166 h 168"/>
                  <a:gd name="T48" fmla="*/ 90 w 192"/>
                  <a:gd name="T4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68">
                    <a:moveTo>
                      <a:pt x="90" y="168"/>
                    </a:moveTo>
                    <a:cubicBezTo>
                      <a:pt x="89" y="168"/>
                      <a:pt x="88" y="168"/>
                      <a:pt x="87" y="168"/>
                    </a:cubicBezTo>
                    <a:cubicBezTo>
                      <a:pt x="85" y="167"/>
                      <a:pt x="84" y="164"/>
                      <a:pt x="84" y="162"/>
                    </a:cubicBezTo>
                    <a:cubicBezTo>
                      <a:pt x="84" y="120"/>
                      <a:pt x="84" y="120"/>
                      <a:pt x="84" y="120"/>
                    </a:cubicBezTo>
                    <a:cubicBezTo>
                      <a:pt x="72" y="120"/>
                      <a:pt x="72" y="120"/>
                      <a:pt x="72" y="120"/>
                    </a:cubicBezTo>
                    <a:cubicBezTo>
                      <a:pt x="72" y="108"/>
                      <a:pt x="72" y="108"/>
                      <a:pt x="72" y="108"/>
                    </a:cubicBezTo>
                    <a:cubicBezTo>
                      <a:pt x="90" y="108"/>
                      <a:pt x="90" y="108"/>
                      <a:pt x="90" y="108"/>
                    </a:cubicBezTo>
                    <a:cubicBezTo>
                      <a:pt x="93" y="108"/>
                      <a:pt x="96" y="111"/>
                      <a:pt x="96" y="114"/>
                    </a:cubicBezTo>
                    <a:cubicBezTo>
                      <a:pt x="96" y="148"/>
                      <a:pt x="96" y="148"/>
                      <a:pt x="96" y="148"/>
                    </a:cubicBezTo>
                    <a:cubicBezTo>
                      <a:pt x="138" y="110"/>
                      <a:pt x="138" y="110"/>
                      <a:pt x="138" y="110"/>
                    </a:cubicBezTo>
                    <a:cubicBezTo>
                      <a:pt x="139" y="109"/>
                      <a:pt x="140" y="108"/>
                      <a:pt x="142" y="108"/>
                    </a:cubicBezTo>
                    <a:cubicBezTo>
                      <a:pt x="180" y="108"/>
                      <a:pt x="180" y="108"/>
                      <a:pt x="180" y="108"/>
                    </a:cubicBezTo>
                    <a:cubicBezTo>
                      <a:pt x="180" y="12"/>
                      <a:pt x="180" y="12"/>
                      <a:pt x="180" y="12"/>
                    </a:cubicBezTo>
                    <a:cubicBezTo>
                      <a:pt x="12" y="12"/>
                      <a:pt x="12" y="12"/>
                      <a:pt x="12" y="12"/>
                    </a:cubicBezTo>
                    <a:cubicBezTo>
                      <a:pt x="12" y="54"/>
                      <a:pt x="12" y="54"/>
                      <a:pt x="12" y="54"/>
                    </a:cubicBezTo>
                    <a:cubicBezTo>
                      <a:pt x="0" y="54"/>
                      <a:pt x="0" y="54"/>
                      <a:pt x="0" y="54"/>
                    </a:cubicBezTo>
                    <a:cubicBezTo>
                      <a:pt x="0" y="6"/>
                      <a:pt x="0" y="6"/>
                      <a:pt x="0" y="6"/>
                    </a:cubicBezTo>
                    <a:cubicBezTo>
                      <a:pt x="0" y="3"/>
                      <a:pt x="3" y="0"/>
                      <a:pt x="6" y="0"/>
                    </a:cubicBezTo>
                    <a:cubicBezTo>
                      <a:pt x="186" y="0"/>
                      <a:pt x="186" y="0"/>
                      <a:pt x="186" y="0"/>
                    </a:cubicBezTo>
                    <a:cubicBezTo>
                      <a:pt x="189" y="0"/>
                      <a:pt x="192" y="3"/>
                      <a:pt x="192" y="6"/>
                    </a:cubicBezTo>
                    <a:cubicBezTo>
                      <a:pt x="192" y="114"/>
                      <a:pt x="192" y="114"/>
                      <a:pt x="192" y="114"/>
                    </a:cubicBezTo>
                    <a:cubicBezTo>
                      <a:pt x="192" y="117"/>
                      <a:pt x="189" y="120"/>
                      <a:pt x="186" y="120"/>
                    </a:cubicBezTo>
                    <a:cubicBezTo>
                      <a:pt x="144" y="120"/>
                      <a:pt x="144" y="120"/>
                      <a:pt x="144" y="120"/>
                    </a:cubicBezTo>
                    <a:cubicBezTo>
                      <a:pt x="94" y="166"/>
                      <a:pt x="94" y="166"/>
                      <a:pt x="94" y="166"/>
                    </a:cubicBezTo>
                    <a:cubicBezTo>
                      <a:pt x="93" y="167"/>
                      <a:pt x="91" y="168"/>
                      <a:pt x="9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32" name="Rectangle 135">
                <a:extLst>
                  <a:ext uri="{FF2B5EF4-FFF2-40B4-BE49-F238E27FC236}">
                    <a16:creationId xmlns:a16="http://schemas.microsoft.com/office/drawing/2014/main" id="{C942925E-0313-41F9-AB0C-B142D35E01EB}"/>
                  </a:ext>
                </a:extLst>
              </p:cNvPr>
              <p:cNvSpPr>
                <a:spLocks noChangeArrowheads="1"/>
              </p:cNvSpPr>
              <p:nvPr/>
            </p:nvSpPr>
            <p:spPr bwMode="auto">
              <a:xfrm>
                <a:off x="5846" y="3084"/>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33" name="Rectangle 136">
                <a:extLst>
                  <a:ext uri="{FF2B5EF4-FFF2-40B4-BE49-F238E27FC236}">
                    <a16:creationId xmlns:a16="http://schemas.microsoft.com/office/drawing/2014/main" id="{CA06B1CA-533D-4E5A-8650-C2980FF8FB20}"/>
                  </a:ext>
                </a:extLst>
              </p:cNvPr>
              <p:cNvSpPr>
                <a:spLocks noChangeArrowheads="1"/>
              </p:cNvSpPr>
              <p:nvPr/>
            </p:nvSpPr>
            <p:spPr bwMode="auto">
              <a:xfrm>
                <a:off x="5793" y="3084"/>
                <a:ext cx="17"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34" name="Rectangle 137">
                <a:extLst>
                  <a:ext uri="{FF2B5EF4-FFF2-40B4-BE49-F238E27FC236}">
                    <a16:creationId xmlns:a16="http://schemas.microsoft.com/office/drawing/2014/main" id="{B4922E64-71E5-47EC-B5B3-1B2001408A62}"/>
                  </a:ext>
                </a:extLst>
              </p:cNvPr>
              <p:cNvSpPr>
                <a:spLocks noChangeArrowheads="1"/>
              </p:cNvSpPr>
              <p:nvPr/>
            </p:nvSpPr>
            <p:spPr bwMode="auto">
              <a:xfrm>
                <a:off x="5739" y="3084"/>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35" name="Freeform 138">
                <a:extLst>
                  <a:ext uri="{FF2B5EF4-FFF2-40B4-BE49-F238E27FC236}">
                    <a16:creationId xmlns:a16="http://schemas.microsoft.com/office/drawing/2014/main" id="{335FEC58-B102-457D-A926-0A6E65A1F4C6}"/>
                  </a:ext>
                </a:extLst>
              </p:cNvPr>
              <p:cNvSpPr>
                <a:spLocks noEditPoints="1"/>
              </p:cNvSpPr>
              <p:nvPr/>
            </p:nvSpPr>
            <p:spPr bwMode="auto">
              <a:xfrm>
                <a:off x="5508" y="3120"/>
                <a:ext cx="285" cy="302"/>
              </a:xfrm>
              <a:custGeom>
                <a:avLst/>
                <a:gdLst>
                  <a:gd name="T0" fmla="*/ 186 w 192"/>
                  <a:gd name="T1" fmla="*/ 204 h 204"/>
                  <a:gd name="T2" fmla="*/ 6 w 192"/>
                  <a:gd name="T3" fmla="*/ 204 h 204"/>
                  <a:gd name="T4" fmla="*/ 0 w 192"/>
                  <a:gd name="T5" fmla="*/ 198 h 204"/>
                  <a:gd name="T6" fmla="*/ 0 w 192"/>
                  <a:gd name="T7" fmla="*/ 168 h 204"/>
                  <a:gd name="T8" fmla="*/ 25 w 192"/>
                  <a:gd name="T9" fmla="*/ 147 h 204"/>
                  <a:gd name="T10" fmla="*/ 66 w 192"/>
                  <a:gd name="T11" fmla="*/ 128 h 204"/>
                  <a:gd name="T12" fmla="*/ 66 w 192"/>
                  <a:gd name="T13" fmla="*/ 111 h 204"/>
                  <a:gd name="T14" fmla="*/ 54 w 192"/>
                  <a:gd name="T15" fmla="*/ 83 h 204"/>
                  <a:gd name="T16" fmla="*/ 45 w 192"/>
                  <a:gd name="T17" fmla="*/ 66 h 204"/>
                  <a:gd name="T18" fmla="*/ 52 w 192"/>
                  <a:gd name="T19" fmla="*/ 50 h 204"/>
                  <a:gd name="T20" fmla="*/ 49 w 192"/>
                  <a:gd name="T21" fmla="*/ 22 h 204"/>
                  <a:gd name="T22" fmla="*/ 61 w 192"/>
                  <a:gd name="T23" fmla="*/ 18 h 204"/>
                  <a:gd name="T24" fmla="*/ 101 w 192"/>
                  <a:gd name="T25" fmla="*/ 0 h 204"/>
                  <a:gd name="T26" fmla="*/ 142 w 192"/>
                  <a:gd name="T27" fmla="*/ 23 h 204"/>
                  <a:gd name="T28" fmla="*/ 139 w 192"/>
                  <a:gd name="T29" fmla="*/ 51 h 204"/>
                  <a:gd name="T30" fmla="*/ 142 w 192"/>
                  <a:gd name="T31" fmla="*/ 54 h 204"/>
                  <a:gd name="T32" fmla="*/ 144 w 192"/>
                  <a:gd name="T33" fmla="*/ 65 h 204"/>
                  <a:gd name="T34" fmla="*/ 137 w 192"/>
                  <a:gd name="T35" fmla="*/ 82 h 204"/>
                  <a:gd name="T36" fmla="*/ 126 w 192"/>
                  <a:gd name="T37" fmla="*/ 111 h 204"/>
                  <a:gd name="T38" fmla="*/ 126 w 192"/>
                  <a:gd name="T39" fmla="*/ 128 h 204"/>
                  <a:gd name="T40" fmla="*/ 167 w 192"/>
                  <a:gd name="T41" fmla="*/ 147 h 204"/>
                  <a:gd name="T42" fmla="*/ 192 w 192"/>
                  <a:gd name="T43" fmla="*/ 168 h 204"/>
                  <a:gd name="T44" fmla="*/ 192 w 192"/>
                  <a:gd name="T45" fmla="*/ 198 h 204"/>
                  <a:gd name="T46" fmla="*/ 186 w 192"/>
                  <a:gd name="T47" fmla="*/ 204 h 204"/>
                  <a:gd name="T48" fmla="*/ 12 w 192"/>
                  <a:gd name="T49" fmla="*/ 192 h 204"/>
                  <a:gd name="T50" fmla="*/ 180 w 192"/>
                  <a:gd name="T51" fmla="*/ 192 h 204"/>
                  <a:gd name="T52" fmla="*/ 180 w 192"/>
                  <a:gd name="T53" fmla="*/ 169 h 204"/>
                  <a:gd name="T54" fmla="*/ 118 w 192"/>
                  <a:gd name="T55" fmla="*/ 138 h 204"/>
                  <a:gd name="T56" fmla="*/ 114 w 192"/>
                  <a:gd name="T57" fmla="*/ 132 h 204"/>
                  <a:gd name="T58" fmla="*/ 114 w 192"/>
                  <a:gd name="T59" fmla="*/ 108 h 204"/>
                  <a:gd name="T60" fmla="*/ 118 w 192"/>
                  <a:gd name="T61" fmla="*/ 102 h 204"/>
                  <a:gd name="T62" fmla="*/ 118 w 192"/>
                  <a:gd name="T63" fmla="*/ 102 h 204"/>
                  <a:gd name="T64" fmla="*/ 125 w 192"/>
                  <a:gd name="T65" fmla="*/ 78 h 204"/>
                  <a:gd name="T66" fmla="*/ 130 w 192"/>
                  <a:gd name="T67" fmla="*/ 72 h 204"/>
                  <a:gd name="T68" fmla="*/ 132 w 192"/>
                  <a:gd name="T69" fmla="*/ 61 h 204"/>
                  <a:gd name="T70" fmla="*/ 131 w 192"/>
                  <a:gd name="T71" fmla="*/ 60 h 204"/>
                  <a:gd name="T72" fmla="*/ 125 w 192"/>
                  <a:gd name="T73" fmla="*/ 54 h 204"/>
                  <a:gd name="T74" fmla="*/ 127 w 192"/>
                  <a:gd name="T75" fmla="*/ 48 h 204"/>
                  <a:gd name="T76" fmla="*/ 130 w 192"/>
                  <a:gd name="T77" fmla="*/ 25 h 204"/>
                  <a:gd name="T78" fmla="*/ 101 w 192"/>
                  <a:gd name="T79" fmla="*/ 12 h 204"/>
                  <a:gd name="T80" fmla="*/ 71 w 192"/>
                  <a:gd name="T81" fmla="*/ 25 h 204"/>
                  <a:gd name="T82" fmla="*/ 64 w 192"/>
                  <a:gd name="T83" fmla="*/ 30 h 204"/>
                  <a:gd name="T84" fmla="*/ 58 w 192"/>
                  <a:gd name="T85" fmla="*/ 30 h 204"/>
                  <a:gd name="T86" fmla="*/ 63 w 192"/>
                  <a:gd name="T87" fmla="*/ 46 h 204"/>
                  <a:gd name="T88" fmla="*/ 66 w 192"/>
                  <a:gd name="T89" fmla="*/ 54 h 204"/>
                  <a:gd name="T90" fmla="*/ 60 w 192"/>
                  <a:gd name="T91" fmla="*/ 60 h 204"/>
                  <a:gd name="T92" fmla="*/ 57 w 192"/>
                  <a:gd name="T93" fmla="*/ 66 h 204"/>
                  <a:gd name="T94" fmla="*/ 60 w 192"/>
                  <a:gd name="T95" fmla="*/ 72 h 204"/>
                  <a:gd name="T96" fmla="*/ 66 w 192"/>
                  <a:gd name="T97" fmla="*/ 78 h 204"/>
                  <a:gd name="T98" fmla="*/ 74 w 192"/>
                  <a:gd name="T99" fmla="*/ 102 h 204"/>
                  <a:gd name="T100" fmla="*/ 78 w 192"/>
                  <a:gd name="T101" fmla="*/ 108 h 204"/>
                  <a:gd name="T102" fmla="*/ 78 w 192"/>
                  <a:gd name="T103" fmla="*/ 132 h 204"/>
                  <a:gd name="T104" fmla="*/ 74 w 192"/>
                  <a:gd name="T105" fmla="*/ 138 h 204"/>
                  <a:gd name="T106" fmla="*/ 12 w 192"/>
                  <a:gd name="T107" fmla="*/ 169 h 204"/>
                  <a:gd name="T108" fmla="*/ 12 w 192"/>
                  <a:gd name="T109"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2" h="204">
                    <a:moveTo>
                      <a:pt x="186" y="204"/>
                    </a:moveTo>
                    <a:cubicBezTo>
                      <a:pt x="6" y="204"/>
                      <a:pt x="6" y="204"/>
                      <a:pt x="6" y="204"/>
                    </a:cubicBezTo>
                    <a:cubicBezTo>
                      <a:pt x="3" y="204"/>
                      <a:pt x="0" y="201"/>
                      <a:pt x="0" y="198"/>
                    </a:cubicBezTo>
                    <a:cubicBezTo>
                      <a:pt x="0" y="168"/>
                      <a:pt x="0" y="168"/>
                      <a:pt x="0" y="168"/>
                    </a:cubicBezTo>
                    <a:cubicBezTo>
                      <a:pt x="0" y="164"/>
                      <a:pt x="2" y="159"/>
                      <a:pt x="25" y="147"/>
                    </a:cubicBezTo>
                    <a:cubicBezTo>
                      <a:pt x="36" y="141"/>
                      <a:pt x="51" y="134"/>
                      <a:pt x="66" y="128"/>
                    </a:cubicBezTo>
                    <a:cubicBezTo>
                      <a:pt x="66" y="111"/>
                      <a:pt x="66" y="111"/>
                      <a:pt x="66" y="111"/>
                    </a:cubicBezTo>
                    <a:cubicBezTo>
                      <a:pt x="61" y="108"/>
                      <a:pt x="55" y="100"/>
                      <a:pt x="54" y="83"/>
                    </a:cubicBezTo>
                    <a:cubicBezTo>
                      <a:pt x="48" y="80"/>
                      <a:pt x="45" y="74"/>
                      <a:pt x="45" y="66"/>
                    </a:cubicBezTo>
                    <a:cubicBezTo>
                      <a:pt x="45" y="59"/>
                      <a:pt x="48" y="53"/>
                      <a:pt x="52" y="50"/>
                    </a:cubicBezTo>
                    <a:cubicBezTo>
                      <a:pt x="48" y="42"/>
                      <a:pt x="43" y="30"/>
                      <a:pt x="49" y="22"/>
                    </a:cubicBezTo>
                    <a:cubicBezTo>
                      <a:pt x="52" y="19"/>
                      <a:pt x="56" y="17"/>
                      <a:pt x="61" y="18"/>
                    </a:cubicBezTo>
                    <a:cubicBezTo>
                      <a:pt x="68" y="5"/>
                      <a:pt x="86" y="0"/>
                      <a:pt x="101" y="0"/>
                    </a:cubicBezTo>
                    <a:cubicBezTo>
                      <a:pt x="117" y="0"/>
                      <a:pt x="138" y="6"/>
                      <a:pt x="142" y="23"/>
                    </a:cubicBezTo>
                    <a:cubicBezTo>
                      <a:pt x="145" y="34"/>
                      <a:pt x="141" y="44"/>
                      <a:pt x="139" y="51"/>
                    </a:cubicBezTo>
                    <a:cubicBezTo>
                      <a:pt x="140" y="52"/>
                      <a:pt x="141" y="53"/>
                      <a:pt x="142" y="54"/>
                    </a:cubicBezTo>
                    <a:cubicBezTo>
                      <a:pt x="143" y="57"/>
                      <a:pt x="144" y="61"/>
                      <a:pt x="144" y="65"/>
                    </a:cubicBezTo>
                    <a:cubicBezTo>
                      <a:pt x="144" y="72"/>
                      <a:pt x="142" y="79"/>
                      <a:pt x="137" y="82"/>
                    </a:cubicBezTo>
                    <a:cubicBezTo>
                      <a:pt x="136" y="100"/>
                      <a:pt x="130" y="108"/>
                      <a:pt x="126" y="111"/>
                    </a:cubicBezTo>
                    <a:cubicBezTo>
                      <a:pt x="126" y="128"/>
                      <a:pt x="126" y="128"/>
                      <a:pt x="126" y="128"/>
                    </a:cubicBezTo>
                    <a:cubicBezTo>
                      <a:pt x="140" y="134"/>
                      <a:pt x="155" y="141"/>
                      <a:pt x="167" y="147"/>
                    </a:cubicBezTo>
                    <a:cubicBezTo>
                      <a:pt x="190" y="159"/>
                      <a:pt x="192" y="164"/>
                      <a:pt x="192" y="168"/>
                    </a:cubicBezTo>
                    <a:cubicBezTo>
                      <a:pt x="192" y="198"/>
                      <a:pt x="192" y="198"/>
                      <a:pt x="192" y="198"/>
                    </a:cubicBezTo>
                    <a:cubicBezTo>
                      <a:pt x="192" y="201"/>
                      <a:pt x="189" y="204"/>
                      <a:pt x="186" y="204"/>
                    </a:cubicBezTo>
                    <a:close/>
                    <a:moveTo>
                      <a:pt x="12" y="192"/>
                    </a:moveTo>
                    <a:cubicBezTo>
                      <a:pt x="180" y="192"/>
                      <a:pt x="180" y="192"/>
                      <a:pt x="180" y="192"/>
                    </a:cubicBezTo>
                    <a:cubicBezTo>
                      <a:pt x="180" y="169"/>
                      <a:pt x="180" y="169"/>
                      <a:pt x="180" y="169"/>
                    </a:cubicBezTo>
                    <a:cubicBezTo>
                      <a:pt x="175" y="164"/>
                      <a:pt x="149" y="150"/>
                      <a:pt x="118" y="138"/>
                    </a:cubicBezTo>
                    <a:cubicBezTo>
                      <a:pt x="115" y="137"/>
                      <a:pt x="114" y="134"/>
                      <a:pt x="114" y="132"/>
                    </a:cubicBezTo>
                    <a:cubicBezTo>
                      <a:pt x="114" y="108"/>
                      <a:pt x="114" y="108"/>
                      <a:pt x="114" y="108"/>
                    </a:cubicBezTo>
                    <a:cubicBezTo>
                      <a:pt x="114" y="106"/>
                      <a:pt x="115" y="103"/>
                      <a:pt x="118" y="102"/>
                    </a:cubicBezTo>
                    <a:cubicBezTo>
                      <a:pt x="118" y="102"/>
                      <a:pt x="118" y="102"/>
                      <a:pt x="118" y="102"/>
                    </a:cubicBezTo>
                    <a:cubicBezTo>
                      <a:pt x="118" y="102"/>
                      <a:pt x="125" y="98"/>
                      <a:pt x="125" y="78"/>
                    </a:cubicBezTo>
                    <a:cubicBezTo>
                      <a:pt x="125" y="75"/>
                      <a:pt x="127" y="72"/>
                      <a:pt x="130" y="72"/>
                    </a:cubicBezTo>
                    <a:cubicBezTo>
                      <a:pt x="132" y="71"/>
                      <a:pt x="133" y="65"/>
                      <a:pt x="132" y="61"/>
                    </a:cubicBezTo>
                    <a:cubicBezTo>
                      <a:pt x="131" y="60"/>
                      <a:pt x="131" y="60"/>
                      <a:pt x="131" y="60"/>
                    </a:cubicBezTo>
                    <a:cubicBezTo>
                      <a:pt x="127" y="60"/>
                      <a:pt x="125" y="57"/>
                      <a:pt x="125" y="54"/>
                    </a:cubicBezTo>
                    <a:cubicBezTo>
                      <a:pt x="125" y="52"/>
                      <a:pt x="125" y="51"/>
                      <a:pt x="127" y="48"/>
                    </a:cubicBezTo>
                    <a:cubicBezTo>
                      <a:pt x="129" y="43"/>
                      <a:pt x="133" y="34"/>
                      <a:pt x="130" y="25"/>
                    </a:cubicBezTo>
                    <a:cubicBezTo>
                      <a:pt x="128" y="17"/>
                      <a:pt x="114" y="12"/>
                      <a:pt x="101" y="12"/>
                    </a:cubicBezTo>
                    <a:cubicBezTo>
                      <a:pt x="87" y="12"/>
                      <a:pt x="73" y="17"/>
                      <a:pt x="71" y="25"/>
                    </a:cubicBezTo>
                    <a:cubicBezTo>
                      <a:pt x="70" y="29"/>
                      <a:pt x="67" y="31"/>
                      <a:pt x="64" y="30"/>
                    </a:cubicBezTo>
                    <a:cubicBezTo>
                      <a:pt x="60" y="29"/>
                      <a:pt x="58" y="30"/>
                      <a:pt x="58" y="30"/>
                    </a:cubicBezTo>
                    <a:cubicBezTo>
                      <a:pt x="58" y="31"/>
                      <a:pt x="58" y="35"/>
                      <a:pt x="63" y="46"/>
                    </a:cubicBezTo>
                    <a:cubicBezTo>
                      <a:pt x="65" y="50"/>
                      <a:pt x="66" y="52"/>
                      <a:pt x="66" y="54"/>
                    </a:cubicBezTo>
                    <a:cubicBezTo>
                      <a:pt x="66" y="57"/>
                      <a:pt x="63" y="60"/>
                      <a:pt x="60" y="60"/>
                    </a:cubicBezTo>
                    <a:cubicBezTo>
                      <a:pt x="58" y="60"/>
                      <a:pt x="57" y="64"/>
                      <a:pt x="57" y="66"/>
                    </a:cubicBezTo>
                    <a:cubicBezTo>
                      <a:pt x="57" y="69"/>
                      <a:pt x="58" y="72"/>
                      <a:pt x="60" y="72"/>
                    </a:cubicBezTo>
                    <a:cubicBezTo>
                      <a:pt x="63" y="72"/>
                      <a:pt x="66" y="75"/>
                      <a:pt x="66" y="78"/>
                    </a:cubicBezTo>
                    <a:cubicBezTo>
                      <a:pt x="66" y="98"/>
                      <a:pt x="74" y="102"/>
                      <a:pt x="74" y="102"/>
                    </a:cubicBezTo>
                    <a:cubicBezTo>
                      <a:pt x="76" y="103"/>
                      <a:pt x="78" y="105"/>
                      <a:pt x="78" y="108"/>
                    </a:cubicBezTo>
                    <a:cubicBezTo>
                      <a:pt x="78" y="132"/>
                      <a:pt x="78" y="132"/>
                      <a:pt x="78" y="132"/>
                    </a:cubicBezTo>
                    <a:cubicBezTo>
                      <a:pt x="78" y="134"/>
                      <a:pt x="76" y="137"/>
                      <a:pt x="74" y="138"/>
                    </a:cubicBezTo>
                    <a:cubicBezTo>
                      <a:pt x="43" y="150"/>
                      <a:pt x="16" y="164"/>
                      <a:pt x="12" y="169"/>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sp>
          <p:nvSpPr>
            <p:cNvPr id="18" name="Rectangle 17">
              <a:extLst>
                <a:ext uri="{FF2B5EF4-FFF2-40B4-BE49-F238E27FC236}">
                  <a16:creationId xmlns:a16="http://schemas.microsoft.com/office/drawing/2014/main" id="{8B4C9EEE-EDFE-4A3A-87B2-92C163B8123A}"/>
                </a:ext>
                <a:ext uri="{C183D7F6-B498-43B3-948B-1728B52AA6E4}">
                  <adec:decorative xmlns:adec="http://schemas.microsoft.com/office/drawing/2017/decorative" val="1"/>
                </a:ext>
              </a:extLst>
            </p:cNvPr>
            <p:cNvSpPr/>
            <p:nvPr userDrawn="1"/>
          </p:nvSpPr>
          <p:spPr>
            <a:xfrm>
              <a:off x="1651616" y="3944865"/>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136" name="Group 128" descr="Chat Bubbles">
              <a:extLst>
                <a:ext uri="{FF2B5EF4-FFF2-40B4-BE49-F238E27FC236}">
                  <a16:creationId xmlns:a16="http://schemas.microsoft.com/office/drawing/2014/main" id="{5FE0A84E-CC43-42EA-BB7C-04C9E210A32D}"/>
                </a:ext>
                <a:ext uri="{C183D7F6-B498-43B3-948B-1728B52AA6E4}">
                  <adec:decorative xmlns:adec="http://schemas.microsoft.com/office/drawing/2017/decorative" val="0"/>
                </a:ext>
              </a:extLst>
            </p:cNvPr>
            <p:cNvGrpSpPr>
              <a:grpSpLocks noChangeAspect="1"/>
            </p:cNvGrpSpPr>
            <p:nvPr/>
          </p:nvGrpSpPr>
          <p:grpSpPr bwMode="auto">
            <a:xfrm>
              <a:off x="2055661" y="4309988"/>
              <a:ext cx="506890" cy="496182"/>
              <a:chOff x="4478" y="2999"/>
              <a:chExt cx="426" cy="417"/>
            </a:xfrm>
            <a:solidFill>
              <a:schemeClr val="accent1"/>
            </a:solidFill>
          </p:grpSpPr>
          <p:sp>
            <p:nvSpPr>
              <p:cNvPr id="137" name="Freeform 129">
                <a:extLst>
                  <a:ext uri="{FF2B5EF4-FFF2-40B4-BE49-F238E27FC236}">
                    <a16:creationId xmlns:a16="http://schemas.microsoft.com/office/drawing/2014/main" id="{82216FC8-C3FF-4F47-84AB-54583C03688D}"/>
                  </a:ext>
                </a:extLst>
              </p:cNvPr>
              <p:cNvSpPr>
                <a:spLocks/>
              </p:cNvSpPr>
              <p:nvPr/>
            </p:nvSpPr>
            <p:spPr bwMode="auto">
              <a:xfrm>
                <a:off x="4478" y="2999"/>
                <a:ext cx="320" cy="293"/>
              </a:xfrm>
              <a:custGeom>
                <a:avLst/>
                <a:gdLst>
                  <a:gd name="T0" fmla="*/ 12 w 216"/>
                  <a:gd name="T1" fmla="*/ 198 h 198"/>
                  <a:gd name="T2" fmla="*/ 7 w 216"/>
                  <a:gd name="T3" fmla="*/ 196 h 198"/>
                  <a:gd name="T4" fmla="*/ 6 w 216"/>
                  <a:gd name="T5" fmla="*/ 189 h 198"/>
                  <a:gd name="T6" fmla="*/ 28 w 216"/>
                  <a:gd name="T7" fmla="*/ 151 h 198"/>
                  <a:gd name="T8" fmla="*/ 0 w 216"/>
                  <a:gd name="T9" fmla="*/ 89 h 198"/>
                  <a:gd name="T10" fmla="*/ 108 w 216"/>
                  <a:gd name="T11" fmla="*/ 0 h 198"/>
                  <a:gd name="T12" fmla="*/ 216 w 216"/>
                  <a:gd name="T13" fmla="*/ 89 h 198"/>
                  <a:gd name="T14" fmla="*/ 204 w 216"/>
                  <a:gd name="T15" fmla="*/ 89 h 198"/>
                  <a:gd name="T16" fmla="*/ 108 w 216"/>
                  <a:gd name="T17" fmla="*/ 12 h 198"/>
                  <a:gd name="T18" fmla="*/ 12 w 216"/>
                  <a:gd name="T19" fmla="*/ 89 h 198"/>
                  <a:gd name="T20" fmla="*/ 39 w 216"/>
                  <a:gd name="T21" fmla="*/ 145 h 198"/>
                  <a:gd name="T22" fmla="*/ 41 w 216"/>
                  <a:gd name="T23" fmla="*/ 153 h 198"/>
                  <a:gd name="T24" fmla="*/ 25 w 216"/>
                  <a:gd name="T25" fmla="*/ 180 h 198"/>
                  <a:gd name="T26" fmla="*/ 69 w 216"/>
                  <a:gd name="T27" fmla="*/ 162 h 198"/>
                  <a:gd name="T28" fmla="*/ 73 w 216"/>
                  <a:gd name="T29" fmla="*/ 162 h 198"/>
                  <a:gd name="T30" fmla="*/ 90 w 216"/>
                  <a:gd name="T31" fmla="*/ 166 h 198"/>
                  <a:gd name="T32" fmla="*/ 88 w 216"/>
                  <a:gd name="T33" fmla="*/ 178 h 198"/>
                  <a:gd name="T34" fmla="*/ 72 w 216"/>
                  <a:gd name="T35" fmla="*/ 174 h 198"/>
                  <a:gd name="T36" fmla="*/ 14 w 216"/>
                  <a:gd name="T37" fmla="*/ 198 h 198"/>
                  <a:gd name="T38" fmla="*/ 12 w 216"/>
                  <a:gd name="T3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6" h="198">
                    <a:moveTo>
                      <a:pt x="12" y="198"/>
                    </a:moveTo>
                    <a:cubicBezTo>
                      <a:pt x="10" y="198"/>
                      <a:pt x="8" y="197"/>
                      <a:pt x="7" y="196"/>
                    </a:cubicBezTo>
                    <a:cubicBezTo>
                      <a:pt x="5" y="194"/>
                      <a:pt x="5" y="191"/>
                      <a:pt x="6" y="189"/>
                    </a:cubicBezTo>
                    <a:cubicBezTo>
                      <a:pt x="28" y="151"/>
                      <a:pt x="28" y="151"/>
                      <a:pt x="28" y="151"/>
                    </a:cubicBezTo>
                    <a:cubicBezTo>
                      <a:pt x="10" y="135"/>
                      <a:pt x="0" y="113"/>
                      <a:pt x="0" y="89"/>
                    </a:cubicBezTo>
                    <a:cubicBezTo>
                      <a:pt x="0" y="40"/>
                      <a:pt x="48" y="0"/>
                      <a:pt x="108" y="0"/>
                    </a:cubicBezTo>
                    <a:cubicBezTo>
                      <a:pt x="167" y="0"/>
                      <a:pt x="216" y="40"/>
                      <a:pt x="216" y="89"/>
                    </a:cubicBezTo>
                    <a:cubicBezTo>
                      <a:pt x="204" y="89"/>
                      <a:pt x="204" y="89"/>
                      <a:pt x="204" y="89"/>
                    </a:cubicBezTo>
                    <a:cubicBezTo>
                      <a:pt x="204" y="47"/>
                      <a:pt x="161" y="12"/>
                      <a:pt x="108" y="12"/>
                    </a:cubicBezTo>
                    <a:cubicBezTo>
                      <a:pt x="55" y="12"/>
                      <a:pt x="12" y="47"/>
                      <a:pt x="12" y="89"/>
                    </a:cubicBezTo>
                    <a:cubicBezTo>
                      <a:pt x="12" y="111"/>
                      <a:pt x="22" y="131"/>
                      <a:pt x="39" y="145"/>
                    </a:cubicBezTo>
                    <a:cubicBezTo>
                      <a:pt x="42" y="147"/>
                      <a:pt x="42" y="150"/>
                      <a:pt x="41" y="153"/>
                    </a:cubicBezTo>
                    <a:cubicBezTo>
                      <a:pt x="25" y="180"/>
                      <a:pt x="25" y="180"/>
                      <a:pt x="25" y="180"/>
                    </a:cubicBezTo>
                    <a:cubicBezTo>
                      <a:pt x="69" y="162"/>
                      <a:pt x="69" y="162"/>
                      <a:pt x="69" y="162"/>
                    </a:cubicBezTo>
                    <a:cubicBezTo>
                      <a:pt x="71" y="162"/>
                      <a:pt x="72" y="162"/>
                      <a:pt x="73" y="162"/>
                    </a:cubicBezTo>
                    <a:cubicBezTo>
                      <a:pt x="79" y="164"/>
                      <a:pt x="84" y="165"/>
                      <a:pt x="90" y="166"/>
                    </a:cubicBezTo>
                    <a:cubicBezTo>
                      <a:pt x="88" y="178"/>
                      <a:pt x="88" y="178"/>
                      <a:pt x="88" y="178"/>
                    </a:cubicBezTo>
                    <a:cubicBezTo>
                      <a:pt x="83" y="177"/>
                      <a:pt x="77" y="176"/>
                      <a:pt x="72" y="174"/>
                    </a:cubicBezTo>
                    <a:cubicBezTo>
                      <a:pt x="14" y="198"/>
                      <a:pt x="14" y="198"/>
                      <a:pt x="14" y="198"/>
                    </a:cubicBezTo>
                    <a:cubicBezTo>
                      <a:pt x="13" y="198"/>
                      <a:pt x="12" y="198"/>
                      <a:pt x="1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38" name="Freeform 130">
                <a:extLst>
                  <a:ext uri="{FF2B5EF4-FFF2-40B4-BE49-F238E27FC236}">
                    <a16:creationId xmlns:a16="http://schemas.microsoft.com/office/drawing/2014/main" id="{2A1611B8-F7DD-45B7-972E-3101D753BBAB}"/>
                  </a:ext>
                </a:extLst>
              </p:cNvPr>
              <p:cNvSpPr>
                <a:spLocks noEditPoints="1"/>
              </p:cNvSpPr>
              <p:nvPr/>
            </p:nvSpPr>
            <p:spPr bwMode="auto">
              <a:xfrm>
                <a:off x="4638" y="3167"/>
                <a:ext cx="266" cy="249"/>
              </a:xfrm>
              <a:custGeom>
                <a:avLst/>
                <a:gdLst>
                  <a:gd name="T0" fmla="*/ 168 w 180"/>
                  <a:gd name="T1" fmla="*/ 168 h 168"/>
                  <a:gd name="T2" fmla="*/ 166 w 180"/>
                  <a:gd name="T3" fmla="*/ 168 h 168"/>
                  <a:gd name="T4" fmla="*/ 120 w 180"/>
                  <a:gd name="T5" fmla="*/ 151 h 168"/>
                  <a:gd name="T6" fmla="*/ 37 w 180"/>
                  <a:gd name="T7" fmla="*/ 143 h 168"/>
                  <a:gd name="T8" fmla="*/ 0 w 180"/>
                  <a:gd name="T9" fmla="*/ 78 h 168"/>
                  <a:gd name="T10" fmla="*/ 90 w 180"/>
                  <a:gd name="T11" fmla="*/ 0 h 168"/>
                  <a:gd name="T12" fmla="*/ 180 w 180"/>
                  <a:gd name="T13" fmla="*/ 78 h 168"/>
                  <a:gd name="T14" fmla="*/ 157 w 180"/>
                  <a:gd name="T15" fmla="*/ 128 h 168"/>
                  <a:gd name="T16" fmla="*/ 173 w 180"/>
                  <a:gd name="T17" fmla="*/ 159 h 168"/>
                  <a:gd name="T18" fmla="*/ 172 w 180"/>
                  <a:gd name="T19" fmla="*/ 166 h 168"/>
                  <a:gd name="T20" fmla="*/ 168 w 180"/>
                  <a:gd name="T21" fmla="*/ 168 h 168"/>
                  <a:gd name="T22" fmla="*/ 120 w 180"/>
                  <a:gd name="T23" fmla="*/ 138 h 168"/>
                  <a:gd name="T24" fmla="*/ 122 w 180"/>
                  <a:gd name="T25" fmla="*/ 138 h 168"/>
                  <a:gd name="T26" fmla="*/ 155 w 180"/>
                  <a:gd name="T27" fmla="*/ 151 h 168"/>
                  <a:gd name="T28" fmla="*/ 144 w 180"/>
                  <a:gd name="T29" fmla="*/ 129 h 168"/>
                  <a:gd name="T30" fmla="*/ 146 w 180"/>
                  <a:gd name="T31" fmla="*/ 121 h 168"/>
                  <a:gd name="T32" fmla="*/ 168 w 180"/>
                  <a:gd name="T33" fmla="*/ 78 h 168"/>
                  <a:gd name="T34" fmla="*/ 90 w 180"/>
                  <a:gd name="T35" fmla="*/ 12 h 168"/>
                  <a:gd name="T36" fmla="*/ 12 w 180"/>
                  <a:gd name="T37" fmla="*/ 78 h 168"/>
                  <a:gd name="T38" fmla="*/ 43 w 180"/>
                  <a:gd name="T39" fmla="*/ 133 h 168"/>
                  <a:gd name="T40" fmla="*/ 117 w 180"/>
                  <a:gd name="T41" fmla="*/ 139 h 168"/>
                  <a:gd name="T42" fmla="*/ 120 w 180"/>
                  <a:gd name="T43" fmla="*/ 13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 h="168">
                    <a:moveTo>
                      <a:pt x="168" y="168"/>
                    </a:moveTo>
                    <a:cubicBezTo>
                      <a:pt x="167" y="168"/>
                      <a:pt x="166" y="168"/>
                      <a:pt x="166" y="168"/>
                    </a:cubicBezTo>
                    <a:cubicBezTo>
                      <a:pt x="120" y="151"/>
                      <a:pt x="120" y="151"/>
                      <a:pt x="120" y="151"/>
                    </a:cubicBezTo>
                    <a:cubicBezTo>
                      <a:pt x="92" y="162"/>
                      <a:pt x="62" y="159"/>
                      <a:pt x="37" y="143"/>
                    </a:cubicBezTo>
                    <a:cubicBezTo>
                      <a:pt x="13" y="128"/>
                      <a:pt x="0" y="104"/>
                      <a:pt x="0" y="78"/>
                    </a:cubicBezTo>
                    <a:cubicBezTo>
                      <a:pt x="0" y="36"/>
                      <a:pt x="41" y="0"/>
                      <a:pt x="90" y="0"/>
                    </a:cubicBezTo>
                    <a:cubicBezTo>
                      <a:pt x="138" y="0"/>
                      <a:pt x="180" y="36"/>
                      <a:pt x="180" y="78"/>
                    </a:cubicBezTo>
                    <a:cubicBezTo>
                      <a:pt x="180" y="97"/>
                      <a:pt x="172" y="114"/>
                      <a:pt x="157" y="128"/>
                    </a:cubicBezTo>
                    <a:cubicBezTo>
                      <a:pt x="173" y="159"/>
                      <a:pt x="173" y="159"/>
                      <a:pt x="173" y="159"/>
                    </a:cubicBezTo>
                    <a:cubicBezTo>
                      <a:pt x="174" y="162"/>
                      <a:pt x="174" y="164"/>
                      <a:pt x="172" y="166"/>
                    </a:cubicBezTo>
                    <a:cubicBezTo>
                      <a:pt x="171" y="167"/>
                      <a:pt x="169" y="168"/>
                      <a:pt x="168" y="168"/>
                    </a:cubicBezTo>
                    <a:close/>
                    <a:moveTo>
                      <a:pt x="120" y="138"/>
                    </a:moveTo>
                    <a:cubicBezTo>
                      <a:pt x="120" y="138"/>
                      <a:pt x="121" y="138"/>
                      <a:pt x="122" y="138"/>
                    </a:cubicBezTo>
                    <a:cubicBezTo>
                      <a:pt x="155" y="151"/>
                      <a:pt x="155" y="151"/>
                      <a:pt x="155" y="151"/>
                    </a:cubicBezTo>
                    <a:cubicBezTo>
                      <a:pt x="144" y="129"/>
                      <a:pt x="144" y="129"/>
                      <a:pt x="144" y="129"/>
                    </a:cubicBezTo>
                    <a:cubicBezTo>
                      <a:pt x="143" y="126"/>
                      <a:pt x="144" y="123"/>
                      <a:pt x="146" y="121"/>
                    </a:cubicBezTo>
                    <a:cubicBezTo>
                      <a:pt x="160" y="110"/>
                      <a:pt x="168" y="95"/>
                      <a:pt x="168" y="78"/>
                    </a:cubicBezTo>
                    <a:cubicBezTo>
                      <a:pt x="168" y="42"/>
                      <a:pt x="132" y="12"/>
                      <a:pt x="90" y="12"/>
                    </a:cubicBezTo>
                    <a:cubicBezTo>
                      <a:pt x="47" y="12"/>
                      <a:pt x="12" y="42"/>
                      <a:pt x="12" y="78"/>
                    </a:cubicBezTo>
                    <a:cubicBezTo>
                      <a:pt x="12" y="99"/>
                      <a:pt x="23" y="120"/>
                      <a:pt x="43" y="133"/>
                    </a:cubicBezTo>
                    <a:cubicBezTo>
                      <a:pt x="65" y="147"/>
                      <a:pt x="93" y="149"/>
                      <a:pt x="117" y="139"/>
                    </a:cubicBezTo>
                    <a:cubicBezTo>
                      <a:pt x="118" y="138"/>
                      <a:pt x="119" y="138"/>
                      <a:pt x="120"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sp>
          <p:nvSpPr>
            <p:cNvPr id="19" name="Rectangle 18">
              <a:extLst>
                <a:ext uri="{FF2B5EF4-FFF2-40B4-BE49-F238E27FC236}">
                  <a16:creationId xmlns:a16="http://schemas.microsoft.com/office/drawing/2014/main" id="{173789F7-4D0C-437F-8A88-666153FCFF46}"/>
                </a:ext>
                <a:ext uri="{C183D7F6-B498-43B3-948B-1728B52AA6E4}">
                  <adec:decorative xmlns:adec="http://schemas.microsoft.com/office/drawing/2017/decorative" val="1"/>
                </a:ext>
              </a:extLst>
            </p:cNvPr>
            <p:cNvSpPr/>
            <p:nvPr userDrawn="1"/>
          </p:nvSpPr>
          <p:spPr>
            <a:xfrm>
              <a:off x="2922235" y="3944865"/>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126" name="Group 98" descr="Question Bubble">
              <a:extLst>
                <a:ext uri="{FF2B5EF4-FFF2-40B4-BE49-F238E27FC236}">
                  <a16:creationId xmlns:a16="http://schemas.microsoft.com/office/drawing/2014/main" id="{90C8AEFB-1E63-4D21-93A0-AAE7AC957E8C}"/>
                </a:ext>
                <a:ext uri="{C183D7F6-B498-43B3-948B-1728B52AA6E4}">
                  <adec:decorative xmlns:adec="http://schemas.microsoft.com/office/drawing/2017/decorative" val="0"/>
                </a:ext>
              </a:extLst>
            </p:cNvPr>
            <p:cNvGrpSpPr>
              <a:grpSpLocks noChangeAspect="1"/>
            </p:cNvGrpSpPr>
            <p:nvPr/>
          </p:nvGrpSpPr>
          <p:grpSpPr bwMode="auto">
            <a:xfrm>
              <a:off x="3323794" y="4324704"/>
              <a:ext cx="503382" cy="466750"/>
              <a:chOff x="348" y="3011"/>
              <a:chExt cx="426" cy="395"/>
            </a:xfrm>
            <a:solidFill>
              <a:schemeClr val="accent1"/>
            </a:solidFill>
          </p:grpSpPr>
          <p:sp>
            <p:nvSpPr>
              <p:cNvPr id="127" name="Freeform 99">
                <a:extLst>
                  <a:ext uri="{FF2B5EF4-FFF2-40B4-BE49-F238E27FC236}">
                    <a16:creationId xmlns:a16="http://schemas.microsoft.com/office/drawing/2014/main" id="{636D399A-E76B-4B6F-8082-78DEFBB6BEFB}"/>
                  </a:ext>
                </a:extLst>
              </p:cNvPr>
              <p:cNvSpPr>
                <a:spLocks noEditPoints="1"/>
              </p:cNvSpPr>
              <p:nvPr/>
            </p:nvSpPr>
            <p:spPr bwMode="auto">
              <a:xfrm>
                <a:off x="348" y="3011"/>
                <a:ext cx="426" cy="395"/>
              </a:xfrm>
              <a:custGeom>
                <a:avLst/>
                <a:gdLst>
                  <a:gd name="T0" fmla="*/ 16 w 288"/>
                  <a:gd name="T1" fmla="*/ 267 h 267"/>
                  <a:gd name="T2" fmla="*/ 12 w 288"/>
                  <a:gd name="T3" fmla="*/ 265 h 267"/>
                  <a:gd name="T4" fmla="*/ 11 w 288"/>
                  <a:gd name="T5" fmla="*/ 258 h 267"/>
                  <a:gd name="T6" fmla="*/ 40 w 288"/>
                  <a:gd name="T7" fmla="*/ 201 h 267"/>
                  <a:gd name="T8" fmla="*/ 0 w 288"/>
                  <a:gd name="T9" fmla="*/ 119 h 267"/>
                  <a:gd name="T10" fmla="*/ 144 w 288"/>
                  <a:gd name="T11" fmla="*/ 0 h 267"/>
                  <a:gd name="T12" fmla="*/ 288 w 288"/>
                  <a:gd name="T13" fmla="*/ 119 h 267"/>
                  <a:gd name="T14" fmla="*/ 144 w 288"/>
                  <a:gd name="T15" fmla="*/ 237 h 267"/>
                  <a:gd name="T16" fmla="*/ 96 w 288"/>
                  <a:gd name="T17" fmla="*/ 231 h 267"/>
                  <a:gd name="T18" fmla="*/ 19 w 288"/>
                  <a:gd name="T19" fmla="*/ 267 h 267"/>
                  <a:gd name="T20" fmla="*/ 16 w 288"/>
                  <a:gd name="T21" fmla="*/ 267 h 267"/>
                  <a:gd name="T22" fmla="*/ 144 w 288"/>
                  <a:gd name="T23" fmla="*/ 12 h 267"/>
                  <a:gd name="T24" fmla="*/ 12 w 288"/>
                  <a:gd name="T25" fmla="*/ 119 h 267"/>
                  <a:gd name="T26" fmla="*/ 51 w 288"/>
                  <a:gd name="T27" fmla="*/ 194 h 267"/>
                  <a:gd name="T28" fmla="*/ 52 w 288"/>
                  <a:gd name="T29" fmla="*/ 202 h 267"/>
                  <a:gd name="T30" fmla="*/ 29 w 288"/>
                  <a:gd name="T31" fmla="*/ 248 h 267"/>
                  <a:gd name="T32" fmla="*/ 93 w 288"/>
                  <a:gd name="T33" fmla="*/ 219 h 267"/>
                  <a:gd name="T34" fmla="*/ 97 w 288"/>
                  <a:gd name="T35" fmla="*/ 218 h 267"/>
                  <a:gd name="T36" fmla="*/ 144 w 288"/>
                  <a:gd name="T37" fmla="*/ 225 h 267"/>
                  <a:gd name="T38" fmla="*/ 276 w 288"/>
                  <a:gd name="T39" fmla="*/ 119 h 267"/>
                  <a:gd name="T40" fmla="*/ 144 w 288"/>
                  <a:gd name="T41" fmla="*/ 1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267">
                    <a:moveTo>
                      <a:pt x="16" y="267"/>
                    </a:moveTo>
                    <a:cubicBezTo>
                      <a:pt x="14" y="267"/>
                      <a:pt x="13" y="267"/>
                      <a:pt x="12" y="265"/>
                    </a:cubicBezTo>
                    <a:cubicBezTo>
                      <a:pt x="10" y="263"/>
                      <a:pt x="9" y="261"/>
                      <a:pt x="11" y="258"/>
                    </a:cubicBezTo>
                    <a:cubicBezTo>
                      <a:pt x="40" y="201"/>
                      <a:pt x="40" y="201"/>
                      <a:pt x="40" y="201"/>
                    </a:cubicBezTo>
                    <a:cubicBezTo>
                      <a:pt x="14" y="179"/>
                      <a:pt x="0" y="150"/>
                      <a:pt x="0" y="119"/>
                    </a:cubicBezTo>
                    <a:cubicBezTo>
                      <a:pt x="0" y="53"/>
                      <a:pt x="64" y="0"/>
                      <a:pt x="144" y="0"/>
                    </a:cubicBezTo>
                    <a:cubicBezTo>
                      <a:pt x="223" y="0"/>
                      <a:pt x="288" y="53"/>
                      <a:pt x="288" y="119"/>
                    </a:cubicBezTo>
                    <a:cubicBezTo>
                      <a:pt x="288" y="184"/>
                      <a:pt x="223" y="237"/>
                      <a:pt x="144" y="237"/>
                    </a:cubicBezTo>
                    <a:cubicBezTo>
                      <a:pt x="127" y="237"/>
                      <a:pt x="111" y="235"/>
                      <a:pt x="96" y="231"/>
                    </a:cubicBezTo>
                    <a:cubicBezTo>
                      <a:pt x="19" y="267"/>
                      <a:pt x="19" y="267"/>
                      <a:pt x="19" y="267"/>
                    </a:cubicBezTo>
                    <a:cubicBezTo>
                      <a:pt x="18" y="267"/>
                      <a:pt x="17" y="267"/>
                      <a:pt x="16" y="267"/>
                    </a:cubicBezTo>
                    <a:close/>
                    <a:moveTo>
                      <a:pt x="144" y="12"/>
                    </a:moveTo>
                    <a:cubicBezTo>
                      <a:pt x="71" y="12"/>
                      <a:pt x="12" y="60"/>
                      <a:pt x="12" y="119"/>
                    </a:cubicBezTo>
                    <a:cubicBezTo>
                      <a:pt x="12" y="147"/>
                      <a:pt x="26" y="174"/>
                      <a:pt x="51" y="194"/>
                    </a:cubicBezTo>
                    <a:cubicBezTo>
                      <a:pt x="53" y="196"/>
                      <a:pt x="54" y="199"/>
                      <a:pt x="52" y="202"/>
                    </a:cubicBezTo>
                    <a:cubicBezTo>
                      <a:pt x="29" y="248"/>
                      <a:pt x="29" y="248"/>
                      <a:pt x="29" y="248"/>
                    </a:cubicBezTo>
                    <a:cubicBezTo>
                      <a:pt x="93" y="219"/>
                      <a:pt x="93" y="219"/>
                      <a:pt x="93" y="219"/>
                    </a:cubicBezTo>
                    <a:cubicBezTo>
                      <a:pt x="94" y="218"/>
                      <a:pt x="96" y="218"/>
                      <a:pt x="97" y="218"/>
                    </a:cubicBezTo>
                    <a:cubicBezTo>
                      <a:pt x="112" y="223"/>
                      <a:pt x="128" y="225"/>
                      <a:pt x="144" y="225"/>
                    </a:cubicBezTo>
                    <a:cubicBezTo>
                      <a:pt x="216" y="225"/>
                      <a:pt x="276" y="178"/>
                      <a:pt x="276" y="119"/>
                    </a:cubicBezTo>
                    <a:cubicBezTo>
                      <a:pt x="276" y="60"/>
                      <a:pt x="216"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28" name="Freeform 100">
                <a:extLst>
                  <a:ext uri="{FF2B5EF4-FFF2-40B4-BE49-F238E27FC236}">
                    <a16:creationId xmlns:a16="http://schemas.microsoft.com/office/drawing/2014/main" id="{6A209008-F2DD-4A46-8664-954EAD02C26A}"/>
                  </a:ext>
                </a:extLst>
              </p:cNvPr>
              <p:cNvSpPr>
                <a:spLocks/>
              </p:cNvSpPr>
              <p:nvPr/>
            </p:nvSpPr>
            <p:spPr bwMode="auto">
              <a:xfrm>
                <a:off x="508" y="3092"/>
                <a:ext cx="124" cy="145"/>
              </a:xfrm>
              <a:custGeom>
                <a:avLst/>
                <a:gdLst>
                  <a:gd name="T0" fmla="*/ 42 w 84"/>
                  <a:gd name="T1" fmla="*/ 98 h 98"/>
                  <a:gd name="T2" fmla="*/ 36 w 84"/>
                  <a:gd name="T3" fmla="*/ 92 h 98"/>
                  <a:gd name="T4" fmla="*/ 36 w 84"/>
                  <a:gd name="T5" fmla="*/ 77 h 98"/>
                  <a:gd name="T6" fmla="*/ 42 w 84"/>
                  <a:gd name="T7" fmla="*/ 71 h 98"/>
                  <a:gd name="T8" fmla="*/ 72 w 84"/>
                  <a:gd name="T9" fmla="*/ 42 h 98"/>
                  <a:gd name="T10" fmla="*/ 42 w 84"/>
                  <a:gd name="T11" fmla="*/ 12 h 98"/>
                  <a:gd name="T12" fmla="*/ 12 w 84"/>
                  <a:gd name="T13" fmla="*/ 43 h 98"/>
                  <a:gd name="T14" fmla="*/ 6 w 84"/>
                  <a:gd name="T15" fmla="*/ 49 h 98"/>
                  <a:gd name="T16" fmla="*/ 0 w 84"/>
                  <a:gd name="T17" fmla="*/ 43 h 98"/>
                  <a:gd name="T18" fmla="*/ 42 w 84"/>
                  <a:gd name="T19" fmla="*/ 0 h 98"/>
                  <a:gd name="T20" fmla="*/ 84 w 84"/>
                  <a:gd name="T21" fmla="*/ 42 h 98"/>
                  <a:gd name="T22" fmla="*/ 48 w 84"/>
                  <a:gd name="T23" fmla="*/ 83 h 98"/>
                  <a:gd name="T24" fmla="*/ 48 w 84"/>
                  <a:gd name="T25" fmla="*/ 92 h 98"/>
                  <a:gd name="T26" fmla="*/ 42 w 84"/>
                  <a:gd name="T2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8">
                    <a:moveTo>
                      <a:pt x="42" y="98"/>
                    </a:moveTo>
                    <a:cubicBezTo>
                      <a:pt x="38" y="98"/>
                      <a:pt x="36" y="95"/>
                      <a:pt x="36" y="92"/>
                    </a:cubicBezTo>
                    <a:cubicBezTo>
                      <a:pt x="36" y="77"/>
                      <a:pt x="36" y="77"/>
                      <a:pt x="36" y="77"/>
                    </a:cubicBezTo>
                    <a:cubicBezTo>
                      <a:pt x="36" y="74"/>
                      <a:pt x="38" y="71"/>
                      <a:pt x="42" y="71"/>
                    </a:cubicBezTo>
                    <a:cubicBezTo>
                      <a:pt x="58" y="71"/>
                      <a:pt x="72" y="58"/>
                      <a:pt x="72" y="42"/>
                    </a:cubicBezTo>
                    <a:cubicBezTo>
                      <a:pt x="72" y="25"/>
                      <a:pt x="58" y="12"/>
                      <a:pt x="42" y="12"/>
                    </a:cubicBezTo>
                    <a:cubicBezTo>
                      <a:pt x="25" y="12"/>
                      <a:pt x="12" y="26"/>
                      <a:pt x="12" y="43"/>
                    </a:cubicBezTo>
                    <a:cubicBezTo>
                      <a:pt x="12" y="46"/>
                      <a:pt x="9" y="49"/>
                      <a:pt x="6" y="49"/>
                    </a:cubicBezTo>
                    <a:cubicBezTo>
                      <a:pt x="2" y="49"/>
                      <a:pt x="0" y="46"/>
                      <a:pt x="0" y="43"/>
                    </a:cubicBezTo>
                    <a:cubicBezTo>
                      <a:pt x="0" y="19"/>
                      <a:pt x="18" y="0"/>
                      <a:pt x="42" y="0"/>
                    </a:cubicBezTo>
                    <a:cubicBezTo>
                      <a:pt x="65" y="0"/>
                      <a:pt x="84" y="19"/>
                      <a:pt x="84" y="42"/>
                    </a:cubicBezTo>
                    <a:cubicBezTo>
                      <a:pt x="84" y="62"/>
                      <a:pt x="68" y="80"/>
                      <a:pt x="48" y="83"/>
                    </a:cubicBezTo>
                    <a:cubicBezTo>
                      <a:pt x="48" y="92"/>
                      <a:pt x="48" y="92"/>
                      <a:pt x="48" y="92"/>
                    </a:cubicBezTo>
                    <a:cubicBezTo>
                      <a:pt x="48" y="95"/>
                      <a:pt x="45" y="98"/>
                      <a:pt x="42"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29" name="Oval 101">
                <a:extLst>
                  <a:ext uri="{FF2B5EF4-FFF2-40B4-BE49-F238E27FC236}">
                    <a16:creationId xmlns:a16="http://schemas.microsoft.com/office/drawing/2014/main" id="{066B1A87-3F99-4483-8842-E29D58770BD8}"/>
                  </a:ext>
                </a:extLst>
              </p:cNvPr>
              <p:cNvSpPr>
                <a:spLocks noChangeArrowheads="1"/>
              </p:cNvSpPr>
              <p:nvPr/>
            </p:nvSpPr>
            <p:spPr bwMode="auto">
              <a:xfrm>
                <a:off x="552" y="3250"/>
                <a:ext cx="36" cy="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sp>
          <p:nvSpPr>
            <p:cNvPr id="20" name="Rectangle 19">
              <a:extLst>
                <a:ext uri="{FF2B5EF4-FFF2-40B4-BE49-F238E27FC236}">
                  <a16:creationId xmlns:a16="http://schemas.microsoft.com/office/drawing/2014/main" id="{EDBAB054-DEEA-4255-A86B-FEE48B5511C2}"/>
                </a:ext>
                <a:ext uri="{C183D7F6-B498-43B3-948B-1728B52AA6E4}">
                  <adec:decorative xmlns:adec="http://schemas.microsoft.com/office/drawing/2017/decorative" val="1"/>
                </a:ext>
              </a:extLst>
            </p:cNvPr>
            <p:cNvSpPr/>
            <p:nvPr userDrawn="1"/>
          </p:nvSpPr>
          <p:spPr>
            <a:xfrm>
              <a:off x="4192852" y="3944865"/>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111" name="Group 147" descr="Questions">
              <a:extLst>
                <a:ext uri="{FF2B5EF4-FFF2-40B4-BE49-F238E27FC236}">
                  <a16:creationId xmlns:a16="http://schemas.microsoft.com/office/drawing/2014/main" id="{E76AE1E7-E091-47EB-B74C-861F45514747}"/>
                </a:ext>
                <a:ext uri="{C183D7F6-B498-43B3-948B-1728B52AA6E4}">
                  <adec:decorative xmlns:adec="http://schemas.microsoft.com/office/drawing/2017/decorative" val="0"/>
                </a:ext>
              </a:extLst>
            </p:cNvPr>
            <p:cNvGrpSpPr>
              <a:grpSpLocks noChangeAspect="1"/>
            </p:cNvGrpSpPr>
            <p:nvPr/>
          </p:nvGrpSpPr>
          <p:grpSpPr bwMode="auto">
            <a:xfrm>
              <a:off x="4602982" y="4317934"/>
              <a:ext cx="492991" cy="480291"/>
              <a:chOff x="4660" y="3155"/>
              <a:chExt cx="427" cy="416"/>
            </a:xfrm>
            <a:solidFill>
              <a:schemeClr val="accent1"/>
            </a:solidFill>
          </p:grpSpPr>
          <p:sp>
            <p:nvSpPr>
              <p:cNvPr id="112" name="Freeform 148">
                <a:extLst>
                  <a:ext uri="{FF2B5EF4-FFF2-40B4-BE49-F238E27FC236}">
                    <a16:creationId xmlns:a16="http://schemas.microsoft.com/office/drawing/2014/main" id="{4C8714C4-EBF2-42E4-ACD1-C66C46400AF1}"/>
                  </a:ext>
                </a:extLst>
              </p:cNvPr>
              <p:cNvSpPr>
                <a:spLocks/>
              </p:cNvSpPr>
              <p:nvPr/>
            </p:nvSpPr>
            <p:spPr bwMode="auto">
              <a:xfrm>
                <a:off x="4952" y="3213"/>
                <a:ext cx="75" cy="72"/>
              </a:xfrm>
              <a:custGeom>
                <a:avLst/>
                <a:gdLst>
                  <a:gd name="T0" fmla="*/ 7 w 51"/>
                  <a:gd name="T1" fmla="*/ 50 h 50"/>
                  <a:gd name="T2" fmla="*/ 3 w 51"/>
                  <a:gd name="T3" fmla="*/ 48 h 50"/>
                  <a:gd name="T4" fmla="*/ 3 w 51"/>
                  <a:gd name="T5" fmla="*/ 40 h 50"/>
                  <a:gd name="T6" fmla="*/ 40 w 51"/>
                  <a:gd name="T7" fmla="*/ 3 h 50"/>
                  <a:gd name="T8" fmla="*/ 49 w 51"/>
                  <a:gd name="T9" fmla="*/ 3 h 50"/>
                  <a:gd name="T10" fmla="*/ 49 w 51"/>
                  <a:gd name="T11" fmla="*/ 11 h 50"/>
                  <a:gd name="T12" fmla="*/ 11 w 51"/>
                  <a:gd name="T13" fmla="*/ 48 h 50"/>
                  <a:gd name="T14" fmla="*/ 7 w 51"/>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0">
                    <a:moveTo>
                      <a:pt x="7" y="50"/>
                    </a:moveTo>
                    <a:cubicBezTo>
                      <a:pt x="6" y="50"/>
                      <a:pt x="4" y="49"/>
                      <a:pt x="3" y="48"/>
                    </a:cubicBezTo>
                    <a:cubicBezTo>
                      <a:pt x="0" y="46"/>
                      <a:pt x="0" y="42"/>
                      <a:pt x="3" y="40"/>
                    </a:cubicBezTo>
                    <a:cubicBezTo>
                      <a:pt x="40" y="3"/>
                      <a:pt x="40" y="3"/>
                      <a:pt x="40" y="3"/>
                    </a:cubicBezTo>
                    <a:cubicBezTo>
                      <a:pt x="42" y="0"/>
                      <a:pt x="46" y="0"/>
                      <a:pt x="49" y="3"/>
                    </a:cubicBezTo>
                    <a:cubicBezTo>
                      <a:pt x="51" y="5"/>
                      <a:pt x="51" y="9"/>
                      <a:pt x="49" y="11"/>
                    </a:cubicBezTo>
                    <a:cubicBezTo>
                      <a:pt x="11" y="48"/>
                      <a:pt x="11" y="48"/>
                      <a:pt x="11" y="48"/>
                    </a:cubicBezTo>
                    <a:cubicBezTo>
                      <a:pt x="10" y="49"/>
                      <a:pt x="9" y="50"/>
                      <a:pt x="7"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3" name="Freeform 149">
                <a:extLst>
                  <a:ext uri="{FF2B5EF4-FFF2-40B4-BE49-F238E27FC236}">
                    <a16:creationId xmlns:a16="http://schemas.microsoft.com/office/drawing/2014/main" id="{BD8B9800-B481-4D6B-80E7-C21F62FE49EE}"/>
                  </a:ext>
                </a:extLst>
              </p:cNvPr>
              <p:cNvSpPr>
                <a:spLocks noEditPoints="1"/>
              </p:cNvSpPr>
              <p:nvPr/>
            </p:nvSpPr>
            <p:spPr bwMode="auto">
              <a:xfrm>
                <a:off x="4998" y="3155"/>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4" name="Freeform 150">
                <a:extLst>
                  <a:ext uri="{FF2B5EF4-FFF2-40B4-BE49-F238E27FC236}">
                    <a16:creationId xmlns:a16="http://schemas.microsoft.com/office/drawing/2014/main" id="{2A70637B-4F3D-4982-81F9-A80F772EDC52}"/>
                  </a:ext>
                </a:extLst>
              </p:cNvPr>
              <p:cNvSpPr>
                <a:spLocks/>
              </p:cNvSpPr>
              <p:nvPr/>
            </p:nvSpPr>
            <p:spPr bwMode="auto">
              <a:xfrm>
                <a:off x="4970" y="3457"/>
                <a:ext cx="57" cy="55"/>
              </a:xfrm>
              <a:custGeom>
                <a:avLst/>
                <a:gdLst>
                  <a:gd name="T0" fmla="*/ 32 w 39"/>
                  <a:gd name="T1" fmla="*/ 38 h 38"/>
                  <a:gd name="T2" fmla="*/ 28 w 39"/>
                  <a:gd name="T3" fmla="*/ 36 h 38"/>
                  <a:gd name="T4" fmla="*/ 2 w 39"/>
                  <a:gd name="T5" fmla="*/ 11 h 38"/>
                  <a:gd name="T6" fmla="*/ 2 w 39"/>
                  <a:gd name="T7" fmla="*/ 2 h 38"/>
                  <a:gd name="T8" fmla="*/ 11 w 39"/>
                  <a:gd name="T9" fmla="*/ 2 h 38"/>
                  <a:gd name="T10" fmla="*/ 36 w 39"/>
                  <a:gd name="T11" fmla="*/ 28 h 38"/>
                  <a:gd name="T12" fmla="*/ 36 w 39"/>
                  <a:gd name="T13" fmla="*/ 36 h 38"/>
                  <a:gd name="T14" fmla="*/ 32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32" y="38"/>
                    </a:moveTo>
                    <a:cubicBezTo>
                      <a:pt x="30" y="38"/>
                      <a:pt x="29" y="37"/>
                      <a:pt x="28" y="36"/>
                    </a:cubicBezTo>
                    <a:cubicBezTo>
                      <a:pt x="2" y="11"/>
                      <a:pt x="2" y="11"/>
                      <a:pt x="2" y="11"/>
                    </a:cubicBezTo>
                    <a:cubicBezTo>
                      <a:pt x="0" y="8"/>
                      <a:pt x="0" y="4"/>
                      <a:pt x="2" y="2"/>
                    </a:cubicBezTo>
                    <a:cubicBezTo>
                      <a:pt x="5" y="0"/>
                      <a:pt x="8" y="0"/>
                      <a:pt x="11" y="2"/>
                    </a:cubicBezTo>
                    <a:cubicBezTo>
                      <a:pt x="36" y="28"/>
                      <a:pt x="36" y="28"/>
                      <a:pt x="36" y="28"/>
                    </a:cubicBezTo>
                    <a:cubicBezTo>
                      <a:pt x="39" y="30"/>
                      <a:pt x="39" y="34"/>
                      <a:pt x="36" y="36"/>
                    </a:cubicBezTo>
                    <a:cubicBezTo>
                      <a:pt x="35" y="37"/>
                      <a:pt x="33" y="38"/>
                      <a:pt x="32"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5" name="Freeform 151">
                <a:extLst>
                  <a:ext uri="{FF2B5EF4-FFF2-40B4-BE49-F238E27FC236}">
                    <a16:creationId xmlns:a16="http://schemas.microsoft.com/office/drawing/2014/main" id="{69461D7D-67C4-4308-83CA-7DF0F95B6DF9}"/>
                  </a:ext>
                </a:extLst>
              </p:cNvPr>
              <p:cNvSpPr>
                <a:spLocks noEditPoints="1"/>
              </p:cNvSpPr>
              <p:nvPr/>
            </p:nvSpPr>
            <p:spPr bwMode="auto">
              <a:xfrm>
                <a:off x="4998" y="3485"/>
                <a:ext cx="89" cy="86"/>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6" name="Freeform 152">
                <a:extLst>
                  <a:ext uri="{FF2B5EF4-FFF2-40B4-BE49-F238E27FC236}">
                    <a16:creationId xmlns:a16="http://schemas.microsoft.com/office/drawing/2014/main" id="{26F8CD2F-3D9B-476F-8334-8ABC0CA4CBE4}"/>
                  </a:ext>
                </a:extLst>
              </p:cNvPr>
              <p:cNvSpPr>
                <a:spLocks/>
              </p:cNvSpPr>
              <p:nvPr/>
            </p:nvSpPr>
            <p:spPr bwMode="auto">
              <a:xfrm>
                <a:off x="4720" y="3213"/>
                <a:ext cx="75" cy="72"/>
              </a:xfrm>
              <a:custGeom>
                <a:avLst/>
                <a:gdLst>
                  <a:gd name="T0" fmla="*/ 44 w 51"/>
                  <a:gd name="T1" fmla="*/ 50 h 50"/>
                  <a:gd name="T2" fmla="*/ 40 w 51"/>
                  <a:gd name="T3" fmla="*/ 48 h 50"/>
                  <a:gd name="T4" fmla="*/ 3 w 51"/>
                  <a:gd name="T5" fmla="*/ 11 h 50"/>
                  <a:gd name="T6" fmla="*/ 2 w 51"/>
                  <a:gd name="T7" fmla="*/ 3 h 50"/>
                  <a:gd name="T8" fmla="*/ 11 w 51"/>
                  <a:gd name="T9" fmla="*/ 3 h 50"/>
                  <a:gd name="T10" fmla="*/ 48 w 51"/>
                  <a:gd name="T11" fmla="*/ 40 h 50"/>
                  <a:gd name="T12" fmla="*/ 48 w 51"/>
                  <a:gd name="T13" fmla="*/ 48 h 50"/>
                  <a:gd name="T14" fmla="*/ 44 w 51"/>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0">
                    <a:moveTo>
                      <a:pt x="44" y="50"/>
                    </a:moveTo>
                    <a:cubicBezTo>
                      <a:pt x="43" y="50"/>
                      <a:pt x="41" y="49"/>
                      <a:pt x="40" y="48"/>
                    </a:cubicBezTo>
                    <a:cubicBezTo>
                      <a:pt x="3" y="11"/>
                      <a:pt x="3" y="11"/>
                      <a:pt x="3" y="11"/>
                    </a:cubicBezTo>
                    <a:cubicBezTo>
                      <a:pt x="0" y="9"/>
                      <a:pt x="0" y="5"/>
                      <a:pt x="2" y="3"/>
                    </a:cubicBezTo>
                    <a:cubicBezTo>
                      <a:pt x="5" y="0"/>
                      <a:pt x="9" y="0"/>
                      <a:pt x="11" y="3"/>
                    </a:cubicBezTo>
                    <a:cubicBezTo>
                      <a:pt x="48" y="40"/>
                      <a:pt x="48" y="40"/>
                      <a:pt x="48" y="40"/>
                    </a:cubicBezTo>
                    <a:cubicBezTo>
                      <a:pt x="51" y="42"/>
                      <a:pt x="51" y="46"/>
                      <a:pt x="48" y="48"/>
                    </a:cubicBezTo>
                    <a:cubicBezTo>
                      <a:pt x="47" y="49"/>
                      <a:pt x="46" y="50"/>
                      <a:pt x="44"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7" name="Freeform 153">
                <a:extLst>
                  <a:ext uri="{FF2B5EF4-FFF2-40B4-BE49-F238E27FC236}">
                    <a16:creationId xmlns:a16="http://schemas.microsoft.com/office/drawing/2014/main" id="{411D489C-F08F-4BD4-A916-0CF42F7C8FE7}"/>
                  </a:ext>
                </a:extLst>
              </p:cNvPr>
              <p:cNvSpPr>
                <a:spLocks noEditPoints="1"/>
              </p:cNvSpPr>
              <p:nvPr/>
            </p:nvSpPr>
            <p:spPr bwMode="auto">
              <a:xfrm>
                <a:off x="4660" y="3155"/>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8" name="Freeform 154">
                <a:extLst>
                  <a:ext uri="{FF2B5EF4-FFF2-40B4-BE49-F238E27FC236}">
                    <a16:creationId xmlns:a16="http://schemas.microsoft.com/office/drawing/2014/main" id="{129DD1D4-06CC-4E19-90DF-33C4F82F0043}"/>
                  </a:ext>
                </a:extLst>
              </p:cNvPr>
              <p:cNvSpPr>
                <a:spLocks/>
              </p:cNvSpPr>
              <p:nvPr/>
            </p:nvSpPr>
            <p:spPr bwMode="auto">
              <a:xfrm>
                <a:off x="4721" y="3457"/>
                <a:ext cx="56" cy="55"/>
              </a:xfrm>
              <a:custGeom>
                <a:avLst/>
                <a:gdLst>
                  <a:gd name="T0" fmla="*/ 6 w 38"/>
                  <a:gd name="T1" fmla="*/ 38 h 38"/>
                  <a:gd name="T2" fmla="*/ 2 w 38"/>
                  <a:gd name="T3" fmla="*/ 36 h 38"/>
                  <a:gd name="T4" fmla="*/ 2 w 38"/>
                  <a:gd name="T5" fmla="*/ 28 h 38"/>
                  <a:gd name="T6" fmla="*/ 27 w 38"/>
                  <a:gd name="T7" fmla="*/ 2 h 38"/>
                  <a:gd name="T8" fmla="*/ 36 w 38"/>
                  <a:gd name="T9" fmla="*/ 2 h 38"/>
                  <a:gd name="T10" fmla="*/ 36 w 38"/>
                  <a:gd name="T11" fmla="*/ 11 h 38"/>
                  <a:gd name="T12" fmla="*/ 10 w 38"/>
                  <a:gd name="T13" fmla="*/ 36 h 38"/>
                  <a:gd name="T14" fmla="*/ 6 w 38"/>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6" y="38"/>
                    </a:moveTo>
                    <a:cubicBezTo>
                      <a:pt x="5" y="38"/>
                      <a:pt x="3" y="37"/>
                      <a:pt x="2" y="36"/>
                    </a:cubicBezTo>
                    <a:cubicBezTo>
                      <a:pt x="0" y="34"/>
                      <a:pt x="0" y="30"/>
                      <a:pt x="2" y="28"/>
                    </a:cubicBezTo>
                    <a:cubicBezTo>
                      <a:pt x="27" y="2"/>
                      <a:pt x="27" y="2"/>
                      <a:pt x="27" y="2"/>
                    </a:cubicBezTo>
                    <a:cubicBezTo>
                      <a:pt x="30" y="0"/>
                      <a:pt x="33" y="0"/>
                      <a:pt x="36" y="2"/>
                    </a:cubicBezTo>
                    <a:cubicBezTo>
                      <a:pt x="38" y="4"/>
                      <a:pt x="38" y="8"/>
                      <a:pt x="36" y="11"/>
                    </a:cubicBezTo>
                    <a:cubicBezTo>
                      <a:pt x="10" y="36"/>
                      <a:pt x="10" y="36"/>
                      <a:pt x="10" y="36"/>
                    </a:cubicBezTo>
                    <a:cubicBezTo>
                      <a:pt x="9" y="37"/>
                      <a:pt x="8" y="38"/>
                      <a:pt x="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9" name="Freeform 155">
                <a:extLst>
                  <a:ext uri="{FF2B5EF4-FFF2-40B4-BE49-F238E27FC236}">
                    <a16:creationId xmlns:a16="http://schemas.microsoft.com/office/drawing/2014/main" id="{B52710CE-BAB2-4D5D-BCFA-F667EB64C86C}"/>
                  </a:ext>
                </a:extLst>
              </p:cNvPr>
              <p:cNvSpPr>
                <a:spLocks noEditPoints="1"/>
              </p:cNvSpPr>
              <p:nvPr/>
            </p:nvSpPr>
            <p:spPr bwMode="auto">
              <a:xfrm>
                <a:off x="4660" y="3485"/>
                <a:ext cx="89" cy="86"/>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0" name="Freeform 156">
                <a:extLst>
                  <a:ext uri="{FF2B5EF4-FFF2-40B4-BE49-F238E27FC236}">
                    <a16:creationId xmlns:a16="http://schemas.microsoft.com/office/drawing/2014/main" id="{256B7C23-6638-4801-AED0-3416F172BD57}"/>
                  </a:ext>
                </a:extLst>
              </p:cNvPr>
              <p:cNvSpPr>
                <a:spLocks/>
              </p:cNvSpPr>
              <p:nvPr/>
            </p:nvSpPr>
            <p:spPr bwMode="auto">
              <a:xfrm>
                <a:off x="4944" y="3346"/>
                <a:ext cx="72"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1" name="Freeform 157">
                <a:extLst>
                  <a:ext uri="{FF2B5EF4-FFF2-40B4-BE49-F238E27FC236}">
                    <a16:creationId xmlns:a16="http://schemas.microsoft.com/office/drawing/2014/main" id="{5F465854-6757-4900-814B-8B93299A7453}"/>
                  </a:ext>
                </a:extLst>
              </p:cNvPr>
              <p:cNvSpPr>
                <a:spLocks noEditPoints="1"/>
              </p:cNvSpPr>
              <p:nvPr/>
            </p:nvSpPr>
            <p:spPr bwMode="auto">
              <a:xfrm>
                <a:off x="4998" y="3311"/>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2" name="Freeform 158">
                <a:extLst>
                  <a:ext uri="{FF2B5EF4-FFF2-40B4-BE49-F238E27FC236}">
                    <a16:creationId xmlns:a16="http://schemas.microsoft.com/office/drawing/2014/main" id="{76B6FE1A-6F25-4519-965F-6DF616B7C947}"/>
                  </a:ext>
                </a:extLst>
              </p:cNvPr>
              <p:cNvSpPr>
                <a:spLocks/>
              </p:cNvSpPr>
              <p:nvPr/>
            </p:nvSpPr>
            <p:spPr bwMode="auto">
              <a:xfrm>
                <a:off x="4731" y="3346"/>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3" name="Freeform 159">
                <a:extLst>
                  <a:ext uri="{FF2B5EF4-FFF2-40B4-BE49-F238E27FC236}">
                    <a16:creationId xmlns:a16="http://schemas.microsoft.com/office/drawing/2014/main" id="{71484D86-2302-44CE-AA17-5A7815212B26}"/>
                  </a:ext>
                </a:extLst>
              </p:cNvPr>
              <p:cNvSpPr>
                <a:spLocks noEditPoints="1"/>
              </p:cNvSpPr>
              <p:nvPr/>
            </p:nvSpPr>
            <p:spPr bwMode="auto">
              <a:xfrm>
                <a:off x="4660" y="3311"/>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4" name="Oval 160">
                <a:extLst>
                  <a:ext uri="{FF2B5EF4-FFF2-40B4-BE49-F238E27FC236}">
                    <a16:creationId xmlns:a16="http://schemas.microsoft.com/office/drawing/2014/main" id="{C6549908-25A1-46AA-868C-6D7FA13010AA}"/>
                  </a:ext>
                </a:extLst>
              </p:cNvPr>
              <p:cNvSpPr>
                <a:spLocks noChangeArrowheads="1"/>
              </p:cNvSpPr>
              <p:nvPr/>
            </p:nvSpPr>
            <p:spPr bwMode="auto">
              <a:xfrm>
                <a:off x="4850" y="3434"/>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5" name="Freeform 161">
                <a:extLst>
                  <a:ext uri="{FF2B5EF4-FFF2-40B4-BE49-F238E27FC236}">
                    <a16:creationId xmlns:a16="http://schemas.microsoft.com/office/drawing/2014/main" id="{3D9A21C2-6131-49BE-97D4-2E51D103A76A}"/>
                  </a:ext>
                </a:extLst>
              </p:cNvPr>
              <p:cNvSpPr>
                <a:spLocks/>
              </p:cNvSpPr>
              <p:nvPr/>
            </p:nvSpPr>
            <p:spPr bwMode="auto">
              <a:xfrm>
                <a:off x="4811" y="3275"/>
                <a:ext cx="107" cy="146"/>
              </a:xfrm>
              <a:custGeom>
                <a:avLst/>
                <a:gdLst>
                  <a:gd name="T0" fmla="*/ 36 w 72"/>
                  <a:gd name="T1" fmla="*/ 101 h 101"/>
                  <a:gd name="T2" fmla="*/ 30 w 72"/>
                  <a:gd name="T3" fmla="*/ 95 h 101"/>
                  <a:gd name="T4" fmla="*/ 30 w 72"/>
                  <a:gd name="T5" fmla="*/ 65 h 101"/>
                  <a:gd name="T6" fmla="*/ 36 w 72"/>
                  <a:gd name="T7" fmla="*/ 59 h 101"/>
                  <a:gd name="T8" fmla="*/ 60 w 72"/>
                  <a:gd name="T9" fmla="*/ 36 h 101"/>
                  <a:gd name="T10" fmla="*/ 36 w 72"/>
                  <a:gd name="T11" fmla="*/ 12 h 101"/>
                  <a:gd name="T12" fmla="*/ 12 w 72"/>
                  <a:gd name="T13" fmla="*/ 36 h 101"/>
                  <a:gd name="T14" fmla="*/ 6 w 72"/>
                  <a:gd name="T15" fmla="*/ 42 h 101"/>
                  <a:gd name="T16" fmla="*/ 0 w 72"/>
                  <a:gd name="T17" fmla="*/ 36 h 101"/>
                  <a:gd name="T18" fmla="*/ 36 w 72"/>
                  <a:gd name="T19" fmla="*/ 0 h 101"/>
                  <a:gd name="T20" fmla="*/ 72 w 72"/>
                  <a:gd name="T21" fmla="*/ 36 h 101"/>
                  <a:gd name="T22" fmla="*/ 42 w 72"/>
                  <a:gd name="T23" fmla="*/ 71 h 101"/>
                  <a:gd name="T24" fmla="*/ 42 w 72"/>
                  <a:gd name="T25" fmla="*/ 95 h 101"/>
                  <a:gd name="T26" fmla="*/ 36 w 72"/>
                  <a:gd name="T2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01">
                    <a:moveTo>
                      <a:pt x="36" y="101"/>
                    </a:moveTo>
                    <a:cubicBezTo>
                      <a:pt x="33" y="101"/>
                      <a:pt x="30" y="99"/>
                      <a:pt x="30" y="95"/>
                    </a:cubicBezTo>
                    <a:cubicBezTo>
                      <a:pt x="30" y="65"/>
                      <a:pt x="30" y="65"/>
                      <a:pt x="30" y="65"/>
                    </a:cubicBezTo>
                    <a:cubicBezTo>
                      <a:pt x="30" y="62"/>
                      <a:pt x="33" y="59"/>
                      <a:pt x="36" y="59"/>
                    </a:cubicBezTo>
                    <a:cubicBezTo>
                      <a:pt x="49" y="59"/>
                      <a:pt x="60" y="49"/>
                      <a:pt x="60" y="36"/>
                    </a:cubicBezTo>
                    <a:cubicBezTo>
                      <a:pt x="60" y="23"/>
                      <a:pt x="49" y="12"/>
                      <a:pt x="36" y="12"/>
                    </a:cubicBezTo>
                    <a:cubicBezTo>
                      <a:pt x="23" y="12"/>
                      <a:pt x="12" y="23"/>
                      <a:pt x="12" y="36"/>
                    </a:cubicBezTo>
                    <a:cubicBezTo>
                      <a:pt x="12" y="39"/>
                      <a:pt x="10" y="42"/>
                      <a:pt x="6" y="42"/>
                    </a:cubicBezTo>
                    <a:cubicBezTo>
                      <a:pt x="3" y="42"/>
                      <a:pt x="0" y="39"/>
                      <a:pt x="0" y="36"/>
                    </a:cubicBezTo>
                    <a:cubicBezTo>
                      <a:pt x="0" y="16"/>
                      <a:pt x="16" y="0"/>
                      <a:pt x="36" y="0"/>
                    </a:cubicBezTo>
                    <a:cubicBezTo>
                      <a:pt x="56" y="0"/>
                      <a:pt x="72" y="16"/>
                      <a:pt x="72" y="36"/>
                    </a:cubicBezTo>
                    <a:cubicBezTo>
                      <a:pt x="72" y="53"/>
                      <a:pt x="59" y="68"/>
                      <a:pt x="42" y="71"/>
                    </a:cubicBezTo>
                    <a:cubicBezTo>
                      <a:pt x="42" y="95"/>
                      <a:pt x="42" y="95"/>
                      <a:pt x="42" y="95"/>
                    </a:cubicBezTo>
                    <a:cubicBezTo>
                      <a:pt x="42" y="99"/>
                      <a:pt x="39" y="101"/>
                      <a:pt x="36"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21" name="Rectangle 20">
              <a:extLst>
                <a:ext uri="{FF2B5EF4-FFF2-40B4-BE49-F238E27FC236}">
                  <a16:creationId xmlns:a16="http://schemas.microsoft.com/office/drawing/2014/main" id="{28BA38C9-E894-4494-B2D9-ECF7B3F027B5}"/>
                </a:ext>
                <a:ext uri="{C183D7F6-B498-43B3-948B-1728B52AA6E4}">
                  <adec:decorative xmlns:adec="http://schemas.microsoft.com/office/drawing/2017/decorative" val="1"/>
                </a:ext>
              </a:extLst>
            </p:cNvPr>
            <p:cNvSpPr/>
            <p:nvPr userDrawn="1"/>
          </p:nvSpPr>
          <p:spPr>
            <a:xfrm>
              <a:off x="5463471" y="3944865"/>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170" name="Group 83" descr="Node Branch">
              <a:extLst>
                <a:ext uri="{FF2B5EF4-FFF2-40B4-BE49-F238E27FC236}">
                  <a16:creationId xmlns:a16="http://schemas.microsoft.com/office/drawing/2014/main" id="{092C1DD4-C3B3-42F4-A52E-E7302408816B}"/>
                </a:ext>
                <a:ext uri="{C183D7F6-B498-43B3-948B-1728B52AA6E4}">
                  <adec:decorative xmlns:adec="http://schemas.microsoft.com/office/drawing/2017/decorative" val="0"/>
                </a:ext>
              </a:extLst>
            </p:cNvPr>
            <p:cNvGrpSpPr>
              <a:grpSpLocks noChangeAspect="1"/>
            </p:cNvGrpSpPr>
            <p:nvPr/>
          </p:nvGrpSpPr>
          <p:grpSpPr bwMode="auto">
            <a:xfrm>
              <a:off x="5862737" y="4307059"/>
              <a:ext cx="513716" cy="502040"/>
              <a:chOff x="2584" y="1926"/>
              <a:chExt cx="440" cy="430"/>
            </a:xfrm>
            <a:solidFill>
              <a:schemeClr val="accent1"/>
            </a:solidFill>
          </p:grpSpPr>
          <p:sp>
            <p:nvSpPr>
              <p:cNvPr id="171" name="Freeform 84">
                <a:extLst>
                  <a:ext uri="{FF2B5EF4-FFF2-40B4-BE49-F238E27FC236}">
                    <a16:creationId xmlns:a16="http://schemas.microsoft.com/office/drawing/2014/main" id="{41DA4A32-91F0-44C0-8E59-D9A553E348EC}"/>
                  </a:ext>
                </a:extLst>
              </p:cNvPr>
              <p:cNvSpPr>
                <a:spLocks noEditPoints="1"/>
              </p:cNvSpPr>
              <p:nvPr/>
            </p:nvSpPr>
            <p:spPr bwMode="auto">
              <a:xfrm>
                <a:off x="2749" y="2033"/>
                <a:ext cx="165" cy="162"/>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4" y="108"/>
                      <a:pt x="0" y="84"/>
                      <a:pt x="0" y="54"/>
                    </a:cubicBezTo>
                    <a:cubicBezTo>
                      <a:pt x="0" y="24"/>
                      <a:pt x="24"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7" y="96"/>
                      <a:pt x="96" y="77"/>
                      <a:pt x="96" y="54"/>
                    </a:cubicBezTo>
                    <a:cubicBezTo>
                      <a:pt x="96" y="31"/>
                      <a:pt x="7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2" name="Freeform 85">
                <a:extLst>
                  <a:ext uri="{FF2B5EF4-FFF2-40B4-BE49-F238E27FC236}">
                    <a16:creationId xmlns:a16="http://schemas.microsoft.com/office/drawing/2014/main" id="{C8240FBA-5E82-41A2-89AF-22B847CC4C28}"/>
                  </a:ext>
                </a:extLst>
              </p:cNvPr>
              <p:cNvSpPr>
                <a:spLocks noEditPoints="1"/>
              </p:cNvSpPr>
              <p:nvPr/>
            </p:nvSpPr>
            <p:spPr bwMode="auto">
              <a:xfrm>
                <a:off x="2584" y="1989"/>
                <a:ext cx="73"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3" name="Freeform 86">
                <a:extLst>
                  <a:ext uri="{FF2B5EF4-FFF2-40B4-BE49-F238E27FC236}">
                    <a16:creationId xmlns:a16="http://schemas.microsoft.com/office/drawing/2014/main" id="{0103ED14-8210-486D-AF9B-AE866DA2B7C0}"/>
                  </a:ext>
                </a:extLst>
              </p:cNvPr>
              <p:cNvSpPr>
                <a:spLocks noEditPoints="1"/>
              </p:cNvSpPr>
              <p:nvPr/>
            </p:nvSpPr>
            <p:spPr bwMode="auto">
              <a:xfrm>
                <a:off x="2951" y="1926"/>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4" name="Freeform 87">
                <a:extLst>
                  <a:ext uri="{FF2B5EF4-FFF2-40B4-BE49-F238E27FC236}">
                    <a16:creationId xmlns:a16="http://schemas.microsoft.com/office/drawing/2014/main" id="{C82D06E7-6E2A-4527-895E-D2268A1701A9}"/>
                  </a:ext>
                </a:extLst>
              </p:cNvPr>
              <p:cNvSpPr>
                <a:spLocks noEditPoints="1"/>
              </p:cNvSpPr>
              <p:nvPr/>
            </p:nvSpPr>
            <p:spPr bwMode="auto">
              <a:xfrm>
                <a:off x="2584" y="2284"/>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5" name="Freeform 88">
                <a:extLst>
                  <a:ext uri="{FF2B5EF4-FFF2-40B4-BE49-F238E27FC236}">
                    <a16:creationId xmlns:a16="http://schemas.microsoft.com/office/drawing/2014/main" id="{B34C5BCC-7751-4078-AA5B-8E32EDEE19EF}"/>
                  </a:ext>
                </a:extLst>
              </p:cNvPr>
              <p:cNvSpPr>
                <a:spLocks noEditPoints="1"/>
              </p:cNvSpPr>
              <p:nvPr/>
            </p:nvSpPr>
            <p:spPr bwMode="auto">
              <a:xfrm>
                <a:off x="2795" y="2284"/>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6" name="Freeform 89">
                <a:extLst>
                  <a:ext uri="{FF2B5EF4-FFF2-40B4-BE49-F238E27FC236}">
                    <a16:creationId xmlns:a16="http://schemas.microsoft.com/office/drawing/2014/main" id="{59526914-99FF-4347-9795-3289DBE24493}"/>
                  </a:ext>
                </a:extLst>
              </p:cNvPr>
              <p:cNvSpPr>
                <a:spLocks/>
              </p:cNvSpPr>
              <p:nvPr/>
            </p:nvSpPr>
            <p:spPr bwMode="auto">
              <a:xfrm>
                <a:off x="2634" y="2159"/>
                <a:ext cx="152" cy="149"/>
              </a:xfrm>
              <a:custGeom>
                <a:avLst/>
                <a:gdLst>
                  <a:gd name="T0" fmla="*/ 12 w 152"/>
                  <a:gd name="T1" fmla="*/ 149 h 149"/>
                  <a:gd name="T2" fmla="*/ 0 w 152"/>
                  <a:gd name="T3" fmla="*/ 136 h 149"/>
                  <a:gd name="T4" fmla="*/ 139 w 152"/>
                  <a:gd name="T5" fmla="*/ 0 h 149"/>
                  <a:gd name="T6" fmla="*/ 152 w 152"/>
                  <a:gd name="T7" fmla="*/ 13 h 149"/>
                  <a:gd name="T8" fmla="*/ 12 w 152"/>
                  <a:gd name="T9" fmla="*/ 149 h 149"/>
                </a:gdLst>
                <a:ahLst/>
                <a:cxnLst>
                  <a:cxn ang="0">
                    <a:pos x="T0" y="T1"/>
                  </a:cxn>
                  <a:cxn ang="0">
                    <a:pos x="T2" y="T3"/>
                  </a:cxn>
                  <a:cxn ang="0">
                    <a:pos x="T4" y="T5"/>
                  </a:cxn>
                  <a:cxn ang="0">
                    <a:pos x="T6" y="T7"/>
                  </a:cxn>
                  <a:cxn ang="0">
                    <a:pos x="T8" y="T9"/>
                  </a:cxn>
                </a:cxnLst>
                <a:rect l="0" t="0" r="r" b="b"/>
                <a:pathLst>
                  <a:path w="152" h="149">
                    <a:moveTo>
                      <a:pt x="12" y="149"/>
                    </a:moveTo>
                    <a:lnTo>
                      <a:pt x="0" y="136"/>
                    </a:lnTo>
                    <a:lnTo>
                      <a:pt x="139" y="0"/>
                    </a:lnTo>
                    <a:lnTo>
                      <a:pt x="152" y="13"/>
                    </a:lnTo>
                    <a:lnTo>
                      <a:pt x="12"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7" name="Freeform 90">
                <a:extLst>
                  <a:ext uri="{FF2B5EF4-FFF2-40B4-BE49-F238E27FC236}">
                    <a16:creationId xmlns:a16="http://schemas.microsoft.com/office/drawing/2014/main" id="{0B219AD8-146C-424E-842C-270FE17ED969}"/>
                  </a:ext>
                </a:extLst>
              </p:cNvPr>
              <p:cNvSpPr>
                <a:spLocks/>
              </p:cNvSpPr>
              <p:nvPr/>
            </p:nvSpPr>
            <p:spPr bwMode="auto">
              <a:xfrm>
                <a:off x="2877" y="1975"/>
                <a:ext cx="98" cy="96"/>
              </a:xfrm>
              <a:custGeom>
                <a:avLst/>
                <a:gdLst>
                  <a:gd name="T0" fmla="*/ 13 w 98"/>
                  <a:gd name="T1" fmla="*/ 96 h 96"/>
                  <a:gd name="T2" fmla="*/ 0 w 98"/>
                  <a:gd name="T3" fmla="*/ 82 h 96"/>
                  <a:gd name="T4" fmla="*/ 84 w 98"/>
                  <a:gd name="T5" fmla="*/ 0 h 96"/>
                  <a:gd name="T6" fmla="*/ 98 w 98"/>
                  <a:gd name="T7" fmla="*/ 12 h 96"/>
                  <a:gd name="T8" fmla="*/ 13 w 98"/>
                  <a:gd name="T9" fmla="*/ 96 h 96"/>
                </a:gdLst>
                <a:ahLst/>
                <a:cxnLst>
                  <a:cxn ang="0">
                    <a:pos x="T0" y="T1"/>
                  </a:cxn>
                  <a:cxn ang="0">
                    <a:pos x="T2" y="T3"/>
                  </a:cxn>
                  <a:cxn ang="0">
                    <a:pos x="T4" y="T5"/>
                  </a:cxn>
                  <a:cxn ang="0">
                    <a:pos x="T6" y="T7"/>
                  </a:cxn>
                  <a:cxn ang="0">
                    <a:pos x="T8" y="T9"/>
                  </a:cxn>
                </a:cxnLst>
                <a:rect l="0" t="0" r="r" b="b"/>
                <a:pathLst>
                  <a:path w="98" h="96">
                    <a:moveTo>
                      <a:pt x="13" y="96"/>
                    </a:moveTo>
                    <a:lnTo>
                      <a:pt x="0" y="82"/>
                    </a:lnTo>
                    <a:lnTo>
                      <a:pt x="84" y="0"/>
                    </a:lnTo>
                    <a:lnTo>
                      <a:pt x="98" y="12"/>
                    </a:lnTo>
                    <a:lnTo>
                      <a:pt x="1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8" name="Freeform 91">
                <a:extLst>
                  <a:ext uri="{FF2B5EF4-FFF2-40B4-BE49-F238E27FC236}">
                    <a16:creationId xmlns:a16="http://schemas.microsoft.com/office/drawing/2014/main" id="{C834A088-EF1F-419B-B454-51CD1E2118D3}"/>
                  </a:ext>
                </a:extLst>
              </p:cNvPr>
              <p:cNvSpPr>
                <a:spLocks/>
              </p:cNvSpPr>
              <p:nvPr/>
            </p:nvSpPr>
            <p:spPr bwMode="auto">
              <a:xfrm>
                <a:off x="2642" y="2029"/>
                <a:ext cx="125" cy="66"/>
              </a:xfrm>
              <a:custGeom>
                <a:avLst/>
                <a:gdLst>
                  <a:gd name="T0" fmla="*/ 119 w 125"/>
                  <a:gd name="T1" fmla="*/ 66 h 66"/>
                  <a:gd name="T2" fmla="*/ 0 w 125"/>
                  <a:gd name="T3" fmla="*/ 16 h 66"/>
                  <a:gd name="T4" fmla="*/ 7 w 125"/>
                  <a:gd name="T5" fmla="*/ 0 h 66"/>
                  <a:gd name="T6" fmla="*/ 125 w 125"/>
                  <a:gd name="T7" fmla="*/ 49 h 66"/>
                  <a:gd name="T8" fmla="*/ 119 w 125"/>
                  <a:gd name="T9" fmla="*/ 66 h 66"/>
                </a:gdLst>
                <a:ahLst/>
                <a:cxnLst>
                  <a:cxn ang="0">
                    <a:pos x="T0" y="T1"/>
                  </a:cxn>
                  <a:cxn ang="0">
                    <a:pos x="T2" y="T3"/>
                  </a:cxn>
                  <a:cxn ang="0">
                    <a:pos x="T4" y="T5"/>
                  </a:cxn>
                  <a:cxn ang="0">
                    <a:pos x="T6" y="T7"/>
                  </a:cxn>
                  <a:cxn ang="0">
                    <a:pos x="T8" y="T9"/>
                  </a:cxn>
                </a:cxnLst>
                <a:rect l="0" t="0" r="r" b="b"/>
                <a:pathLst>
                  <a:path w="125" h="66">
                    <a:moveTo>
                      <a:pt x="119" y="66"/>
                    </a:moveTo>
                    <a:lnTo>
                      <a:pt x="0" y="16"/>
                    </a:lnTo>
                    <a:lnTo>
                      <a:pt x="7" y="0"/>
                    </a:lnTo>
                    <a:lnTo>
                      <a:pt x="125" y="49"/>
                    </a:lnTo>
                    <a:lnTo>
                      <a:pt x="11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9" name="Freeform 92">
                <a:extLst>
                  <a:ext uri="{FF2B5EF4-FFF2-40B4-BE49-F238E27FC236}">
                    <a16:creationId xmlns:a16="http://schemas.microsoft.com/office/drawing/2014/main" id="{5B200750-B411-4802-BDBD-F4F105F54EAE}"/>
                  </a:ext>
                </a:extLst>
              </p:cNvPr>
              <p:cNvSpPr>
                <a:spLocks/>
              </p:cNvSpPr>
              <p:nvPr/>
            </p:nvSpPr>
            <p:spPr bwMode="auto">
              <a:xfrm>
                <a:off x="2891" y="2142"/>
                <a:ext cx="74" cy="44"/>
              </a:xfrm>
              <a:custGeom>
                <a:avLst/>
                <a:gdLst>
                  <a:gd name="T0" fmla="*/ 66 w 74"/>
                  <a:gd name="T1" fmla="*/ 44 h 44"/>
                  <a:gd name="T2" fmla="*/ 0 w 74"/>
                  <a:gd name="T3" fmla="*/ 17 h 44"/>
                  <a:gd name="T4" fmla="*/ 8 w 74"/>
                  <a:gd name="T5" fmla="*/ 0 h 44"/>
                  <a:gd name="T6" fmla="*/ 74 w 74"/>
                  <a:gd name="T7" fmla="*/ 27 h 44"/>
                  <a:gd name="T8" fmla="*/ 66 w 74"/>
                  <a:gd name="T9" fmla="*/ 44 h 44"/>
                </a:gdLst>
                <a:ahLst/>
                <a:cxnLst>
                  <a:cxn ang="0">
                    <a:pos x="T0" y="T1"/>
                  </a:cxn>
                  <a:cxn ang="0">
                    <a:pos x="T2" y="T3"/>
                  </a:cxn>
                  <a:cxn ang="0">
                    <a:pos x="T4" y="T5"/>
                  </a:cxn>
                  <a:cxn ang="0">
                    <a:pos x="T6" y="T7"/>
                  </a:cxn>
                  <a:cxn ang="0">
                    <a:pos x="T8" y="T9"/>
                  </a:cxn>
                </a:cxnLst>
                <a:rect l="0" t="0" r="r" b="b"/>
                <a:pathLst>
                  <a:path w="74" h="44">
                    <a:moveTo>
                      <a:pt x="66" y="44"/>
                    </a:moveTo>
                    <a:lnTo>
                      <a:pt x="0" y="17"/>
                    </a:lnTo>
                    <a:lnTo>
                      <a:pt x="8" y="0"/>
                    </a:lnTo>
                    <a:lnTo>
                      <a:pt x="74" y="27"/>
                    </a:lnTo>
                    <a:lnTo>
                      <a:pt x="66"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0" name="Rectangle 93">
                <a:extLst>
                  <a:ext uri="{FF2B5EF4-FFF2-40B4-BE49-F238E27FC236}">
                    <a16:creationId xmlns:a16="http://schemas.microsoft.com/office/drawing/2014/main" id="{01EA25A3-2800-4CE0-B0A1-3FBC13991696}"/>
                  </a:ext>
                </a:extLst>
              </p:cNvPr>
              <p:cNvSpPr>
                <a:spLocks noChangeArrowheads="1"/>
              </p:cNvSpPr>
              <p:nvPr/>
            </p:nvSpPr>
            <p:spPr bwMode="auto">
              <a:xfrm>
                <a:off x="2822" y="2186"/>
                <a:ext cx="19" cy="10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1" name="Freeform 94">
                <a:extLst>
                  <a:ext uri="{FF2B5EF4-FFF2-40B4-BE49-F238E27FC236}">
                    <a16:creationId xmlns:a16="http://schemas.microsoft.com/office/drawing/2014/main" id="{2C532050-0862-4F94-B3B2-DC1A626350D5}"/>
                  </a:ext>
                </a:extLst>
              </p:cNvPr>
              <p:cNvSpPr>
                <a:spLocks noEditPoints="1"/>
              </p:cNvSpPr>
              <p:nvPr/>
            </p:nvSpPr>
            <p:spPr bwMode="auto">
              <a:xfrm>
                <a:off x="2951" y="2150"/>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24" name="Rectangle 23">
              <a:extLst>
                <a:ext uri="{FF2B5EF4-FFF2-40B4-BE49-F238E27FC236}">
                  <a16:creationId xmlns:a16="http://schemas.microsoft.com/office/drawing/2014/main" id="{061F850B-9C57-4A5C-9A4D-95539F2FB706}"/>
                </a:ext>
                <a:ext uri="{C183D7F6-B498-43B3-948B-1728B52AA6E4}">
                  <adec:decorative xmlns:adec="http://schemas.microsoft.com/office/drawing/2017/decorative" val="1"/>
                </a:ext>
              </a:extLst>
            </p:cNvPr>
            <p:cNvSpPr/>
            <p:nvPr userDrawn="1"/>
          </p:nvSpPr>
          <p:spPr>
            <a:xfrm>
              <a:off x="6734088" y="3944865"/>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182" name="Group 59" descr="Node Org Chart">
              <a:extLst>
                <a:ext uri="{FF2B5EF4-FFF2-40B4-BE49-F238E27FC236}">
                  <a16:creationId xmlns:a16="http://schemas.microsoft.com/office/drawing/2014/main" id="{163B974A-57AC-432E-B791-5E3311C592B3}"/>
                </a:ext>
                <a:ext uri="{C183D7F6-B498-43B3-948B-1728B52AA6E4}">
                  <adec:decorative xmlns:adec="http://schemas.microsoft.com/office/drawing/2017/decorative" val="0"/>
                </a:ext>
              </a:extLst>
            </p:cNvPr>
            <p:cNvGrpSpPr>
              <a:grpSpLocks noChangeAspect="1"/>
            </p:cNvGrpSpPr>
            <p:nvPr/>
          </p:nvGrpSpPr>
          <p:grpSpPr bwMode="auto">
            <a:xfrm>
              <a:off x="7131257" y="4307059"/>
              <a:ext cx="493868" cy="502040"/>
              <a:chOff x="5696" y="644"/>
              <a:chExt cx="423" cy="430"/>
            </a:xfrm>
            <a:solidFill>
              <a:schemeClr val="accent1"/>
            </a:solidFill>
          </p:grpSpPr>
          <p:sp>
            <p:nvSpPr>
              <p:cNvPr id="183" name="Freeform 60">
                <a:extLst>
                  <a:ext uri="{FF2B5EF4-FFF2-40B4-BE49-F238E27FC236}">
                    <a16:creationId xmlns:a16="http://schemas.microsoft.com/office/drawing/2014/main" id="{A5D0876A-F6FA-4E77-8334-E46DADE4B3F3}"/>
                  </a:ext>
                </a:extLst>
              </p:cNvPr>
              <p:cNvSpPr>
                <a:spLocks noEditPoints="1"/>
              </p:cNvSpPr>
              <p:nvPr/>
            </p:nvSpPr>
            <p:spPr bwMode="auto">
              <a:xfrm>
                <a:off x="5852" y="644"/>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61">
                <a:extLst>
                  <a:ext uri="{FF2B5EF4-FFF2-40B4-BE49-F238E27FC236}">
                    <a16:creationId xmlns:a16="http://schemas.microsoft.com/office/drawing/2014/main" id="{92E61175-419C-4839-A7D1-9C626936F15E}"/>
                  </a:ext>
                </a:extLst>
              </p:cNvPr>
              <p:cNvSpPr>
                <a:spLocks noEditPoints="1"/>
              </p:cNvSpPr>
              <p:nvPr/>
            </p:nvSpPr>
            <p:spPr bwMode="auto">
              <a:xfrm>
                <a:off x="5852"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62">
                <a:extLst>
                  <a:ext uri="{FF2B5EF4-FFF2-40B4-BE49-F238E27FC236}">
                    <a16:creationId xmlns:a16="http://schemas.microsoft.com/office/drawing/2014/main" id="{C800577B-BF91-4544-B257-BE8C53BF0021}"/>
                  </a:ext>
                </a:extLst>
              </p:cNvPr>
              <p:cNvSpPr>
                <a:spLocks noEditPoints="1"/>
              </p:cNvSpPr>
              <p:nvPr/>
            </p:nvSpPr>
            <p:spPr bwMode="auto">
              <a:xfrm>
                <a:off x="6008"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63">
                <a:extLst>
                  <a:ext uri="{FF2B5EF4-FFF2-40B4-BE49-F238E27FC236}">
                    <a16:creationId xmlns:a16="http://schemas.microsoft.com/office/drawing/2014/main" id="{129F80BD-9329-453E-A0E7-7387CADFFC10}"/>
                  </a:ext>
                </a:extLst>
              </p:cNvPr>
              <p:cNvSpPr>
                <a:spLocks noEditPoints="1"/>
              </p:cNvSpPr>
              <p:nvPr/>
            </p:nvSpPr>
            <p:spPr bwMode="auto">
              <a:xfrm>
                <a:off x="5696"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64">
                <a:extLst>
                  <a:ext uri="{FF2B5EF4-FFF2-40B4-BE49-F238E27FC236}">
                    <a16:creationId xmlns:a16="http://schemas.microsoft.com/office/drawing/2014/main" id="{426589D2-EBB5-4D1A-9B0F-512DDA5FDC70}"/>
                  </a:ext>
                </a:extLst>
              </p:cNvPr>
              <p:cNvSpPr>
                <a:spLocks noChangeArrowheads="1"/>
              </p:cNvSpPr>
              <p:nvPr/>
            </p:nvSpPr>
            <p:spPr bwMode="auto">
              <a:xfrm>
                <a:off x="5898" y="743"/>
                <a:ext cx="19" cy="2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65">
                <a:extLst>
                  <a:ext uri="{FF2B5EF4-FFF2-40B4-BE49-F238E27FC236}">
                    <a16:creationId xmlns:a16="http://schemas.microsoft.com/office/drawing/2014/main" id="{0D145F18-0D62-4124-9A0D-5EAAFF5A96BB}"/>
                  </a:ext>
                </a:extLst>
              </p:cNvPr>
              <p:cNvSpPr>
                <a:spLocks/>
              </p:cNvSpPr>
              <p:nvPr/>
            </p:nvSpPr>
            <p:spPr bwMode="auto">
              <a:xfrm>
                <a:off x="5742" y="859"/>
                <a:ext cx="331" cy="116"/>
              </a:xfrm>
              <a:custGeom>
                <a:avLst/>
                <a:gdLst>
                  <a:gd name="T0" fmla="*/ 216 w 216"/>
                  <a:gd name="T1" fmla="*/ 78 h 78"/>
                  <a:gd name="T2" fmla="*/ 204 w 216"/>
                  <a:gd name="T3" fmla="*/ 78 h 78"/>
                  <a:gd name="T4" fmla="*/ 138 w 216"/>
                  <a:gd name="T5" fmla="*/ 12 h 78"/>
                  <a:gd name="T6" fmla="*/ 72 w 216"/>
                  <a:gd name="T7" fmla="*/ 12 h 78"/>
                  <a:gd name="T8" fmla="*/ 12 w 216"/>
                  <a:gd name="T9" fmla="*/ 78 h 78"/>
                  <a:gd name="T10" fmla="*/ 0 w 216"/>
                  <a:gd name="T11" fmla="*/ 78 h 78"/>
                  <a:gd name="T12" fmla="*/ 72 w 216"/>
                  <a:gd name="T13" fmla="*/ 0 h 78"/>
                  <a:gd name="T14" fmla="*/ 138 w 216"/>
                  <a:gd name="T15" fmla="*/ 0 h 78"/>
                  <a:gd name="T16" fmla="*/ 216 w 216"/>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78">
                    <a:moveTo>
                      <a:pt x="216" y="78"/>
                    </a:moveTo>
                    <a:cubicBezTo>
                      <a:pt x="204" y="78"/>
                      <a:pt x="204" y="78"/>
                      <a:pt x="204" y="78"/>
                    </a:cubicBezTo>
                    <a:cubicBezTo>
                      <a:pt x="204" y="42"/>
                      <a:pt x="175" y="12"/>
                      <a:pt x="138" y="12"/>
                    </a:cubicBezTo>
                    <a:cubicBezTo>
                      <a:pt x="72" y="12"/>
                      <a:pt x="72" y="12"/>
                      <a:pt x="72" y="12"/>
                    </a:cubicBezTo>
                    <a:cubicBezTo>
                      <a:pt x="37" y="12"/>
                      <a:pt x="12" y="40"/>
                      <a:pt x="12" y="78"/>
                    </a:cubicBezTo>
                    <a:cubicBezTo>
                      <a:pt x="0" y="78"/>
                      <a:pt x="0" y="78"/>
                      <a:pt x="0" y="78"/>
                    </a:cubicBezTo>
                    <a:cubicBezTo>
                      <a:pt x="0" y="33"/>
                      <a:pt x="31" y="0"/>
                      <a:pt x="72" y="0"/>
                    </a:cubicBezTo>
                    <a:cubicBezTo>
                      <a:pt x="138" y="0"/>
                      <a:pt x="138" y="0"/>
                      <a:pt x="138" y="0"/>
                    </a:cubicBezTo>
                    <a:cubicBezTo>
                      <a:pt x="181" y="0"/>
                      <a:pt x="216" y="35"/>
                      <a:pt x="21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 name="Rectangle 26">
              <a:extLst>
                <a:ext uri="{FF2B5EF4-FFF2-40B4-BE49-F238E27FC236}">
                  <a16:creationId xmlns:a16="http://schemas.microsoft.com/office/drawing/2014/main" id="{00C4E98A-9EE1-4F64-AE06-58244DDE04EE}"/>
                </a:ext>
                <a:ext uri="{C183D7F6-B498-43B3-948B-1728B52AA6E4}">
                  <adec:decorative xmlns:adec="http://schemas.microsoft.com/office/drawing/2017/decorative" val="1"/>
                </a:ext>
              </a:extLst>
            </p:cNvPr>
            <p:cNvSpPr/>
            <p:nvPr userDrawn="1"/>
          </p:nvSpPr>
          <p:spPr>
            <a:xfrm>
              <a:off x="8004706" y="3944865"/>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189" name="Group 40" descr="People">
              <a:extLst>
                <a:ext uri="{FF2B5EF4-FFF2-40B4-BE49-F238E27FC236}">
                  <a16:creationId xmlns:a16="http://schemas.microsoft.com/office/drawing/2014/main" id="{9BC8E6FF-A9C2-4B26-970E-B852110D657A}"/>
                </a:ext>
                <a:ext uri="{C183D7F6-B498-43B3-948B-1728B52AA6E4}">
                  <adec:decorative xmlns:adec="http://schemas.microsoft.com/office/drawing/2017/decorative" val="0"/>
                </a:ext>
              </a:extLst>
            </p:cNvPr>
            <p:cNvGrpSpPr>
              <a:grpSpLocks noChangeAspect="1"/>
            </p:cNvGrpSpPr>
            <p:nvPr/>
          </p:nvGrpSpPr>
          <p:grpSpPr bwMode="auto">
            <a:xfrm>
              <a:off x="8413589" y="4350552"/>
              <a:ext cx="486806" cy="415054"/>
              <a:chOff x="4653" y="690"/>
              <a:chExt cx="441" cy="376"/>
            </a:xfrm>
            <a:solidFill>
              <a:schemeClr val="accent1"/>
            </a:solidFill>
          </p:grpSpPr>
          <p:sp>
            <p:nvSpPr>
              <p:cNvPr id="190" name="Freeform 41">
                <a:extLst>
                  <a:ext uri="{FF2B5EF4-FFF2-40B4-BE49-F238E27FC236}">
                    <a16:creationId xmlns:a16="http://schemas.microsoft.com/office/drawing/2014/main" id="{55BB48C8-AE29-4B50-B980-E8ABC252F411}"/>
                  </a:ext>
                </a:extLst>
              </p:cNvPr>
              <p:cNvSpPr>
                <a:spLocks noEditPoints="1"/>
              </p:cNvSpPr>
              <p:nvPr/>
            </p:nvSpPr>
            <p:spPr bwMode="auto">
              <a:xfrm>
                <a:off x="4653" y="815"/>
                <a:ext cx="110" cy="180"/>
              </a:xfrm>
              <a:custGeom>
                <a:avLst/>
                <a:gdLst>
                  <a:gd name="T0" fmla="*/ 54 w 72"/>
                  <a:gd name="T1" fmla="*/ 120 h 120"/>
                  <a:gd name="T2" fmla="*/ 18 w 72"/>
                  <a:gd name="T3" fmla="*/ 120 h 120"/>
                  <a:gd name="T4" fmla="*/ 12 w 72"/>
                  <a:gd name="T5" fmla="*/ 114 h 120"/>
                  <a:gd name="T6" fmla="*/ 12 w 72"/>
                  <a:gd name="T7" fmla="*/ 65 h 120"/>
                  <a:gd name="T8" fmla="*/ 0 w 72"/>
                  <a:gd name="T9" fmla="*/ 42 h 120"/>
                  <a:gd name="T10" fmla="*/ 0 w 72"/>
                  <a:gd name="T11" fmla="*/ 6 h 120"/>
                  <a:gd name="T12" fmla="*/ 6 w 72"/>
                  <a:gd name="T13" fmla="*/ 0 h 120"/>
                  <a:gd name="T14" fmla="*/ 66 w 72"/>
                  <a:gd name="T15" fmla="*/ 0 h 120"/>
                  <a:gd name="T16" fmla="*/ 72 w 72"/>
                  <a:gd name="T17" fmla="*/ 6 h 120"/>
                  <a:gd name="T18" fmla="*/ 72 w 72"/>
                  <a:gd name="T19" fmla="*/ 42 h 120"/>
                  <a:gd name="T20" fmla="*/ 60 w 72"/>
                  <a:gd name="T21" fmla="*/ 65 h 120"/>
                  <a:gd name="T22" fmla="*/ 60 w 72"/>
                  <a:gd name="T23" fmla="*/ 114 h 120"/>
                  <a:gd name="T24" fmla="*/ 54 w 72"/>
                  <a:gd name="T25" fmla="*/ 120 h 120"/>
                  <a:gd name="T26" fmla="*/ 24 w 72"/>
                  <a:gd name="T27" fmla="*/ 108 h 120"/>
                  <a:gd name="T28" fmla="*/ 48 w 72"/>
                  <a:gd name="T29" fmla="*/ 108 h 120"/>
                  <a:gd name="T30" fmla="*/ 48 w 72"/>
                  <a:gd name="T31" fmla="*/ 60 h 120"/>
                  <a:gd name="T32" fmla="*/ 54 w 72"/>
                  <a:gd name="T33" fmla="*/ 54 h 120"/>
                  <a:gd name="T34" fmla="*/ 60 w 72"/>
                  <a:gd name="T35" fmla="*/ 42 h 120"/>
                  <a:gd name="T36" fmla="*/ 60 w 72"/>
                  <a:gd name="T37" fmla="*/ 12 h 120"/>
                  <a:gd name="T38" fmla="*/ 12 w 72"/>
                  <a:gd name="T39" fmla="*/ 12 h 120"/>
                  <a:gd name="T40" fmla="*/ 12 w 72"/>
                  <a:gd name="T41" fmla="*/ 42 h 120"/>
                  <a:gd name="T42" fmla="*/ 18 w 72"/>
                  <a:gd name="T43" fmla="*/ 54 h 120"/>
                  <a:gd name="T44" fmla="*/ 24 w 72"/>
                  <a:gd name="T45" fmla="*/ 60 h 120"/>
                  <a:gd name="T46" fmla="*/ 24 w 72"/>
                  <a:gd name="T4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0">
                    <a:moveTo>
                      <a:pt x="54" y="120"/>
                    </a:moveTo>
                    <a:cubicBezTo>
                      <a:pt x="18" y="120"/>
                      <a:pt x="18" y="120"/>
                      <a:pt x="18" y="120"/>
                    </a:cubicBezTo>
                    <a:cubicBezTo>
                      <a:pt x="15" y="120"/>
                      <a:pt x="12" y="117"/>
                      <a:pt x="12" y="114"/>
                    </a:cubicBezTo>
                    <a:cubicBezTo>
                      <a:pt x="12" y="65"/>
                      <a:pt x="12" y="65"/>
                      <a:pt x="12" y="65"/>
                    </a:cubicBezTo>
                    <a:cubicBezTo>
                      <a:pt x="4" y="62"/>
                      <a:pt x="0" y="55"/>
                      <a:pt x="0" y="42"/>
                    </a:cubicBezTo>
                    <a:cubicBezTo>
                      <a:pt x="0" y="6"/>
                      <a:pt x="0" y="6"/>
                      <a:pt x="0" y="6"/>
                    </a:cubicBezTo>
                    <a:cubicBezTo>
                      <a:pt x="0" y="2"/>
                      <a:pt x="3" y="0"/>
                      <a:pt x="6" y="0"/>
                    </a:cubicBezTo>
                    <a:cubicBezTo>
                      <a:pt x="66" y="0"/>
                      <a:pt x="66" y="0"/>
                      <a:pt x="66" y="0"/>
                    </a:cubicBezTo>
                    <a:cubicBezTo>
                      <a:pt x="69" y="0"/>
                      <a:pt x="72" y="2"/>
                      <a:pt x="72" y="6"/>
                    </a:cubicBezTo>
                    <a:cubicBezTo>
                      <a:pt x="72" y="42"/>
                      <a:pt x="72" y="42"/>
                      <a:pt x="72" y="42"/>
                    </a:cubicBezTo>
                    <a:cubicBezTo>
                      <a:pt x="72" y="55"/>
                      <a:pt x="68" y="62"/>
                      <a:pt x="60" y="65"/>
                    </a:cubicBezTo>
                    <a:cubicBezTo>
                      <a:pt x="60" y="114"/>
                      <a:pt x="60" y="114"/>
                      <a:pt x="60" y="114"/>
                    </a:cubicBezTo>
                    <a:cubicBezTo>
                      <a:pt x="60" y="117"/>
                      <a:pt x="57" y="120"/>
                      <a:pt x="54" y="120"/>
                    </a:cubicBezTo>
                    <a:close/>
                    <a:moveTo>
                      <a:pt x="24" y="108"/>
                    </a:moveTo>
                    <a:cubicBezTo>
                      <a:pt x="48" y="108"/>
                      <a:pt x="48" y="108"/>
                      <a:pt x="48" y="108"/>
                    </a:cubicBezTo>
                    <a:cubicBezTo>
                      <a:pt x="48" y="60"/>
                      <a:pt x="48" y="60"/>
                      <a:pt x="48" y="60"/>
                    </a:cubicBezTo>
                    <a:cubicBezTo>
                      <a:pt x="48" y="56"/>
                      <a:pt x="51" y="54"/>
                      <a:pt x="54" y="54"/>
                    </a:cubicBezTo>
                    <a:cubicBezTo>
                      <a:pt x="57" y="54"/>
                      <a:pt x="60" y="54"/>
                      <a:pt x="60" y="42"/>
                    </a:cubicBezTo>
                    <a:cubicBezTo>
                      <a:pt x="60" y="12"/>
                      <a:pt x="60" y="12"/>
                      <a:pt x="60" y="12"/>
                    </a:cubicBezTo>
                    <a:cubicBezTo>
                      <a:pt x="12" y="12"/>
                      <a:pt x="12" y="12"/>
                      <a:pt x="12" y="12"/>
                    </a:cubicBezTo>
                    <a:cubicBezTo>
                      <a:pt x="12" y="42"/>
                      <a:pt x="12" y="42"/>
                      <a:pt x="12" y="42"/>
                    </a:cubicBezTo>
                    <a:cubicBezTo>
                      <a:pt x="12" y="54"/>
                      <a:pt x="15" y="54"/>
                      <a:pt x="18" y="54"/>
                    </a:cubicBezTo>
                    <a:cubicBezTo>
                      <a:pt x="21" y="54"/>
                      <a:pt x="24" y="56"/>
                      <a:pt x="24" y="60"/>
                    </a:cubicBezTo>
                    <a:lnTo>
                      <a:pt x="2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91" name="Freeform 42">
                <a:extLst>
                  <a:ext uri="{FF2B5EF4-FFF2-40B4-BE49-F238E27FC236}">
                    <a16:creationId xmlns:a16="http://schemas.microsoft.com/office/drawing/2014/main" id="{C2C125A0-8757-4781-92BA-02F3991F253F}"/>
                  </a:ext>
                </a:extLst>
              </p:cNvPr>
              <p:cNvSpPr>
                <a:spLocks noEditPoints="1"/>
              </p:cNvSpPr>
              <p:nvPr/>
            </p:nvSpPr>
            <p:spPr bwMode="auto">
              <a:xfrm>
                <a:off x="4984" y="815"/>
                <a:ext cx="110" cy="180"/>
              </a:xfrm>
              <a:custGeom>
                <a:avLst/>
                <a:gdLst>
                  <a:gd name="T0" fmla="*/ 54 w 72"/>
                  <a:gd name="T1" fmla="*/ 120 h 120"/>
                  <a:gd name="T2" fmla="*/ 18 w 72"/>
                  <a:gd name="T3" fmla="*/ 120 h 120"/>
                  <a:gd name="T4" fmla="*/ 12 w 72"/>
                  <a:gd name="T5" fmla="*/ 114 h 120"/>
                  <a:gd name="T6" fmla="*/ 12 w 72"/>
                  <a:gd name="T7" fmla="*/ 65 h 120"/>
                  <a:gd name="T8" fmla="*/ 0 w 72"/>
                  <a:gd name="T9" fmla="*/ 42 h 120"/>
                  <a:gd name="T10" fmla="*/ 0 w 72"/>
                  <a:gd name="T11" fmla="*/ 6 h 120"/>
                  <a:gd name="T12" fmla="*/ 6 w 72"/>
                  <a:gd name="T13" fmla="*/ 0 h 120"/>
                  <a:gd name="T14" fmla="*/ 66 w 72"/>
                  <a:gd name="T15" fmla="*/ 0 h 120"/>
                  <a:gd name="T16" fmla="*/ 72 w 72"/>
                  <a:gd name="T17" fmla="*/ 6 h 120"/>
                  <a:gd name="T18" fmla="*/ 72 w 72"/>
                  <a:gd name="T19" fmla="*/ 42 h 120"/>
                  <a:gd name="T20" fmla="*/ 60 w 72"/>
                  <a:gd name="T21" fmla="*/ 65 h 120"/>
                  <a:gd name="T22" fmla="*/ 60 w 72"/>
                  <a:gd name="T23" fmla="*/ 114 h 120"/>
                  <a:gd name="T24" fmla="*/ 54 w 72"/>
                  <a:gd name="T25" fmla="*/ 120 h 120"/>
                  <a:gd name="T26" fmla="*/ 24 w 72"/>
                  <a:gd name="T27" fmla="*/ 108 h 120"/>
                  <a:gd name="T28" fmla="*/ 48 w 72"/>
                  <a:gd name="T29" fmla="*/ 108 h 120"/>
                  <a:gd name="T30" fmla="*/ 48 w 72"/>
                  <a:gd name="T31" fmla="*/ 60 h 120"/>
                  <a:gd name="T32" fmla="*/ 54 w 72"/>
                  <a:gd name="T33" fmla="*/ 54 h 120"/>
                  <a:gd name="T34" fmla="*/ 60 w 72"/>
                  <a:gd name="T35" fmla="*/ 42 h 120"/>
                  <a:gd name="T36" fmla="*/ 60 w 72"/>
                  <a:gd name="T37" fmla="*/ 12 h 120"/>
                  <a:gd name="T38" fmla="*/ 12 w 72"/>
                  <a:gd name="T39" fmla="*/ 12 h 120"/>
                  <a:gd name="T40" fmla="*/ 12 w 72"/>
                  <a:gd name="T41" fmla="*/ 42 h 120"/>
                  <a:gd name="T42" fmla="*/ 18 w 72"/>
                  <a:gd name="T43" fmla="*/ 54 h 120"/>
                  <a:gd name="T44" fmla="*/ 24 w 72"/>
                  <a:gd name="T45" fmla="*/ 60 h 120"/>
                  <a:gd name="T46" fmla="*/ 24 w 72"/>
                  <a:gd name="T4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0">
                    <a:moveTo>
                      <a:pt x="54" y="120"/>
                    </a:moveTo>
                    <a:cubicBezTo>
                      <a:pt x="18" y="120"/>
                      <a:pt x="18" y="120"/>
                      <a:pt x="18" y="120"/>
                    </a:cubicBezTo>
                    <a:cubicBezTo>
                      <a:pt x="15" y="120"/>
                      <a:pt x="12" y="117"/>
                      <a:pt x="12" y="114"/>
                    </a:cubicBezTo>
                    <a:cubicBezTo>
                      <a:pt x="12" y="65"/>
                      <a:pt x="12" y="65"/>
                      <a:pt x="12" y="65"/>
                    </a:cubicBezTo>
                    <a:cubicBezTo>
                      <a:pt x="4" y="62"/>
                      <a:pt x="0" y="55"/>
                      <a:pt x="0" y="42"/>
                    </a:cubicBezTo>
                    <a:cubicBezTo>
                      <a:pt x="0" y="6"/>
                      <a:pt x="0" y="6"/>
                      <a:pt x="0" y="6"/>
                    </a:cubicBezTo>
                    <a:cubicBezTo>
                      <a:pt x="0" y="2"/>
                      <a:pt x="3" y="0"/>
                      <a:pt x="6" y="0"/>
                    </a:cubicBezTo>
                    <a:cubicBezTo>
                      <a:pt x="66" y="0"/>
                      <a:pt x="66" y="0"/>
                      <a:pt x="66" y="0"/>
                    </a:cubicBezTo>
                    <a:cubicBezTo>
                      <a:pt x="69" y="0"/>
                      <a:pt x="72" y="2"/>
                      <a:pt x="72" y="6"/>
                    </a:cubicBezTo>
                    <a:cubicBezTo>
                      <a:pt x="72" y="42"/>
                      <a:pt x="72" y="42"/>
                      <a:pt x="72" y="42"/>
                    </a:cubicBezTo>
                    <a:cubicBezTo>
                      <a:pt x="72" y="55"/>
                      <a:pt x="68" y="62"/>
                      <a:pt x="60" y="65"/>
                    </a:cubicBezTo>
                    <a:cubicBezTo>
                      <a:pt x="60" y="114"/>
                      <a:pt x="60" y="114"/>
                      <a:pt x="60" y="114"/>
                    </a:cubicBezTo>
                    <a:cubicBezTo>
                      <a:pt x="60" y="117"/>
                      <a:pt x="57" y="120"/>
                      <a:pt x="54" y="120"/>
                    </a:cubicBezTo>
                    <a:close/>
                    <a:moveTo>
                      <a:pt x="24" y="108"/>
                    </a:moveTo>
                    <a:cubicBezTo>
                      <a:pt x="48" y="108"/>
                      <a:pt x="48" y="108"/>
                      <a:pt x="48" y="108"/>
                    </a:cubicBezTo>
                    <a:cubicBezTo>
                      <a:pt x="48" y="60"/>
                      <a:pt x="48" y="60"/>
                      <a:pt x="48" y="60"/>
                    </a:cubicBezTo>
                    <a:cubicBezTo>
                      <a:pt x="48" y="56"/>
                      <a:pt x="51" y="54"/>
                      <a:pt x="54" y="54"/>
                    </a:cubicBezTo>
                    <a:cubicBezTo>
                      <a:pt x="57" y="54"/>
                      <a:pt x="60" y="54"/>
                      <a:pt x="60" y="42"/>
                    </a:cubicBezTo>
                    <a:cubicBezTo>
                      <a:pt x="60" y="12"/>
                      <a:pt x="60" y="12"/>
                      <a:pt x="60" y="12"/>
                    </a:cubicBezTo>
                    <a:cubicBezTo>
                      <a:pt x="12" y="12"/>
                      <a:pt x="12" y="12"/>
                      <a:pt x="12" y="12"/>
                    </a:cubicBezTo>
                    <a:cubicBezTo>
                      <a:pt x="12" y="42"/>
                      <a:pt x="12" y="42"/>
                      <a:pt x="12" y="42"/>
                    </a:cubicBezTo>
                    <a:cubicBezTo>
                      <a:pt x="12" y="54"/>
                      <a:pt x="15" y="54"/>
                      <a:pt x="18" y="54"/>
                    </a:cubicBezTo>
                    <a:cubicBezTo>
                      <a:pt x="21" y="54"/>
                      <a:pt x="24" y="56"/>
                      <a:pt x="24" y="60"/>
                    </a:cubicBezTo>
                    <a:lnTo>
                      <a:pt x="2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92" name="Freeform 43">
                <a:extLst>
                  <a:ext uri="{FF2B5EF4-FFF2-40B4-BE49-F238E27FC236}">
                    <a16:creationId xmlns:a16="http://schemas.microsoft.com/office/drawing/2014/main" id="{600DE74E-2097-4769-A481-692F587D48B6}"/>
                  </a:ext>
                </a:extLst>
              </p:cNvPr>
              <p:cNvSpPr>
                <a:spLocks noEditPoints="1"/>
              </p:cNvSpPr>
              <p:nvPr/>
            </p:nvSpPr>
            <p:spPr bwMode="auto">
              <a:xfrm>
                <a:off x="4800" y="815"/>
                <a:ext cx="147" cy="251"/>
              </a:xfrm>
              <a:custGeom>
                <a:avLst/>
                <a:gdLst>
                  <a:gd name="T0" fmla="*/ 66 w 96"/>
                  <a:gd name="T1" fmla="*/ 168 h 168"/>
                  <a:gd name="T2" fmla="*/ 30 w 96"/>
                  <a:gd name="T3" fmla="*/ 168 h 168"/>
                  <a:gd name="T4" fmla="*/ 24 w 96"/>
                  <a:gd name="T5" fmla="*/ 162 h 168"/>
                  <a:gd name="T6" fmla="*/ 24 w 96"/>
                  <a:gd name="T7" fmla="*/ 95 h 168"/>
                  <a:gd name="T8" fmla="*/ 0 w 96"/>
                  <a:gd name="T9" fmla="*/ 66 h 168"/>
                  <a:gd name="T10" fmla="*/ 0 w 96"/>
                  <a:gd name="T11" fmla="*/ 6 h 168"/>
                  <a:gd name="T12" fmla="*/ 6 w 96"/>
                  <a:gd name="T13" fmla="*/ 0 h 168"/>
                  <a:gd name="T14" fmla="*/ 90 w 96"/>
                  <a:gd name="T15" fmla="*/ 0 h 168"/>
                  <a:gd name="T16" fmla="*/ 96 w 96"/>
                  <a:gd name="T17" fmla="*/ 6 h 168"/>
                  <a:gd name="T18" fmla="*/ 96 w 96"/>
                  <a:gd name="T19" fmla="*/ 66 h 168"/>
                  <a:gd name="T20" fmla="*/ 72 w 96"/>
                  <a:gd name="T21" fmla="*/ 95 h 168"/>
                  <a:gd name="T22" fmla="*/ 72 w 96"/>
                  <a:gd name="T23" fmla="*/ 162 h 168"/>
                  <a:gd name="T24" fmla="*/ 66 w 96"/>
                  <a:gd name="T25" fmla="*/ 168 h 168"/>
                  <a:gd name="T26" fmla="*/ 36 w 96"/>
                  <a:gd name="T27" fmla="*/ 156 h 168"/>
                  <a:gd name="T28" fmla="*/ 60 w 96"/>
                  <a:gd name="T29" fmla="*/ 156 h 168"/>
                  <a:gd name="T30" fmla="*/ 60 w 96"/>
                  <a:gd name="T31" fmla="*/ 90 h 168"/>
                  <a:gd name="T32" fmla="*/ 66 w 96"/>
                  <a:gd name="T33" fmla="*/ 84 h 168"/>
                  <a:gd name="T34" fmla="*/ 84 w 96"/>
                  <a:gd name="T35" fmla="*/ 66 h 168"/>
                  <a:gd name="T36" fmla="*/ 84 w 96"/>
                  <a:gd name="T37" fmla="*/ 12 h 168"/>
                  <a:gd name="T38" fmla="*/ 12 w 96"/>
                  <a:gd name="T39" fmla="*/ 12 h 168"/>
                  <a:gd name="T40" fmla="*/ 12 w 96"/>
                  <a:gd name="T41" fmla="*/ 66 h 168"/>
                  <a:gd name="T42" fmla="*/ 30 w 96"/>
                  <a:gd name="T43" fmla="*/ 84 h 168"/>
                  <a:gd name="T44" fmla="*/ 36 w 96"/>
                  <a:gd name="T45" fmla="*/ 90 h 168"/>
                  <a:gd name="T46" fmla="*/ 36 w 96"/>
                  <a:gd name="T47"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168">
                    <a:moveTo>
                      <a:pt x="66" y="168"/>
                    </a:moveTo>
                    <a:cubicBezTo>
                      <a:pt x="30" y="168"/>
                      <a:pt x="30" y="168"/>
                      <a:pt x="30" y="168"/>
                    </a:cubicBezTo>
                    <a:cubicBezTo>
                      <a:pt x="27" y="168"/>
                      <a:pt x="24" y="165"/>
                      <a:pt x="24" y="162"/>
                    </a:cubicBezTo>
                    <a:cubicBezTo>
                      <a:pt x="24" y="95"/>
                      <a:pt x="24" y="95"/>
                      <a:pt x="24" y="95"/>
                    </a:cubicBezTo>
                    <a:cubicBezTo>
                      <a:pt x="10" y="92"/>
                      <a:pt x="0" y="80"/>
                      <a:pt x="0" y="66"/>
                    </a:cubicBezTo>
                    <a:cubicBezTo>
                      <a:pt x="0" y="6"/>
                      <a:pt x="0" y="6"/>
                      <a:pt x="0" y="6"/>
                    </a:cubicBezTo>
                    <a:cubicBezTo>
                      <a:pt x="0" y="2"/>
                      <a:pt x="3" y="0"/>
                      <a:pt x="6" y="0"/>
                    </a:cubicBezTo>
                    <a:cubicBezTo>
                      <a:pt x="90" y="0"/>
                      <a:pt x="90" y="0"/>
                      <a:pt x="90" y="0"/>
                    </a:cubicBezTo>
                    <a:cubicBezTo>
                      <a:pt x="93" y="0"/>
                      <a:pt x="96" y="2"/>
                      <a:pt x="96" y="6"/>
                    </a:cubicBezTo>
                    <a:cubicBezTo>
                      <a:pt x="96" y="66"/>
                      <a:pt x="96" y="66"/>
                      <a:pt x="96" y="66"/>
                    </a:cubicBezTo>
                    <a:cubicBezTo>
                      <a:pt x="96" y="80"/>
                      <a:pt x="86" y="92"/>
                      <a:pt x="72" y="95"/>
                    </a:cubicBezTo>
                    <a:cubicBezTo>
                      <a:pt x="72" y="162"/>
                      <a:pt x="72" y="162"/>
                      <a:pt x="72" y="162"/>
                    </a:cubicBezTo>
                    <a:cubicBezTo>
                      <a:pt x="72" y="165"/>
                      <a:pt x="69" y="168"/>
                      <a:pt x="66" y="168"/>
                    </a:cubicBezTo>
                    <a:close/>
                    <a:moveTo>
                      <a:pt x="36" y="156"/>
                    </a:moveTo>
                    <a:cubicBezTo>
                      <a:pt x="60" y="156"/>
                      <a:pt x="60" y="156"/>
                      <a:pt x="60" y="156"/>
                    </a:cubicBezTo>
                    <a:cubicBezTo>
                      <a:pt x="60" y="90"/>
                      <a:pt x="60" y="90"/>
                      <a:pt x="60" y="90"/>
                    </a:cubicBezTo>
                    <a:cubicBezTo>
                      <a:pt x="60" y="86"/>
                      <a:pt x="63" y="84"/>
                      <a:pt x="66" y="84"/>
                    </a:cubicBezTo>
                    <a:cubicBezTo>
                      <a:pt x="76" y="84"/>
                      <a:pt x="84" y="76"/>
                      <a:pt x="84" y="66"/>
                    </a:cubicBezTo>
                    <a:cubicBezTo>
                      <a:pt x="84" y="12"/>
                      <a:pt x="84" y="12"/>
                      <a:pt x="84" y="12"/>
                    </a:cubicBezTo>
                    <a:cubicBezTo>
                      <a:pt x="12" y="12"/>
                      <a:pt x="12" y="12"/>
                      <a:pt x="12" y="12"/>
                    </a:cubicBezTo>
                    <a:cubicBezTo>
                      <a:pt x="12" y="66"/>
                      <a:pt x="12" y="66"/>
                      <a:pt x="12" y="66"/>
                    </a:cubicBezTo>
                    <a:cubicBezTo>
                      <a:pt x="12" y="76"/>
                      <a:pt x="20" y="84"/>
                      <a:pt x="30" y="84"/>
                    </a:cubicBezTo>
                    <a:cubicBezTo>
                      <a:pt x="33" y="84"/>
                      <a:pt x="36" y="86"/>
                      <a:pt x="36" y="90"/>
                    </a:cubicBezTo>
                    <a:lnTo>
                      <a:pt x="36"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93" name="Freeform 44">
                <a:extLst>
                  <a:ext uri="{FF2B5EF4-FFF2-40B4-BE49-F238E27FC236}">
                    <a16:creationId xmlns:a16="http://schemas.microsoft.com/office/drawing/2014/main" id="{FE93CF8D-9ACC-48BE-801C-350682B9934B}"/>
                  </a:ext>
                </a:extLst>
              </p:cNvPr>
              <p:cNvSpPr>
                <a:spLocks noEditPoints="1"/>
              </p:cNvSpPr>
              <p:nvPr/>
            </p:nvSpPr>
            <p:spPr bwMode="auto">
              <a:xfrm>
                <a:off x="4671" y="726"/>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94" name="Freeform 45">
                <a:extLst>
                  <a:ext uri="{FF2B5EF4-FFF2-40B4-BE49-F238E27FC236}">
                    <a16:creationId xmlns:a16="http://schemas.microsoft.com/office/drawing/2014/main" id="{83501F01-A11A-4274-95D1-3B5698411A4C}"/>
                  </a:ext>
                </a:extLst>
              </p:cNvPr>
              <p:cNvSpPr>
                <a:spLocks noEditPoints="1"/>
              </p:cNvSpPr>
              <p:nvPr/>
            </p:nvSpPr>
            <p:spPr bwMode="auto">
              <a:xfrm>
                <a:off x="5002" y="726"/>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95" name="Freeform 46">
                <a:extLst>
                  <a:ext uri="{FF2B5EF4-FFF2-40B4-BE49-F238E27FC236}">
                    <a16:creationId xmlns:a16="http://schemas.microsoft.com/office/drawing/2014/main" id="{8EB003B3-37F1-48EA-8D18-DD1EB276A19A}"/>
                  </a:ext>
                </a:extLst>
              </p:cNvPr>
              <p:cNvSpPr>
                <a:spLocks noEditPoints="1"/>
              </p:cNvSpPr>
              <p:nvPr/>
            </p:nvSpPr>
            <p:spPr bwMode="auto">
              <a:xfrm>
                <a:off x="4818" y="690"/>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5"/>
                      <a:pt x="0" y="36"/>
                    </a:cubicBezTo>
                    <a:cubicBezTo>
                      <a:pt x="0" y="16"/>
                      <a:pt x="16" y="0"/>
                      <a:pt x="36" y="0"/>
                    </a:cubicBezTo>
                    <a:cubicBezTo>
                      <a:pt x="56" y="0"/>
                      <a:pt x="72" y="16"/>
                      <a:pt x="72" y="36"/>
                    </a:cubicBezTo>
                    <a:cubicBezTo>
                      <a:pt x="72" y="55"/>
                      <a:pt x="56" y="72"/>
                      <a:pt x="36" y="72"/>
                    </a:cubicBezTo>
                    <a:close/>
                    <a:moveTo>
                      <a:pt x="36" y="12"/>
                    </a:moveTo>
                    <a:cubicBezTo>
                      <a:pt x="23" y="12"/>
                      <a:pt x="12" y="22"/>
                      <a:pt x="12" y="36"/>
                    </a:cubicBezTo>
                    <a:cubicBezTo>
                      <a:pt x="12" y="49"/>
                      <a:pt x="23" y="60"/>
                      <a:pt x="36" y="60"/>
                    </a:cubicBezTo>
                    <a:cubicBezTo>
                      <a:pt x="49" y="60"/>
                      <a:pt x="60" y="49"/>
                      <a:pt x="60" y="36"/>
                    </a:cubicBezTo>
                    <a:cubicBezTo>
                      <a:pt x="60" y="22"/>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37" name="Rectangle 36">
              <a:extLst>
                <a:ext uri="{FF2B5EF4-FFF2-40B4-BE49-F238E27FC236}">
                  <a16:creationId xmlns:a16="http://schemas.microsoft.com/office/drawing/2014/main" id="{29E8F591-EE16-44F9-9C61-4CF1C2D66CC2}"/>
                </a:ext>
                <a:ext uri="{C183D7F6-B498-43B3-948B-1728B52AA6E4}">
                  <adec:decorative xmlns:adec="http://schemas.microsoft.com/office/drawing/2017/decorative" val="1"/>
                </a:ext>
              </a:extLst>
            </p:cNvPr>
            <p:cNvSpPr/>
            <p:nvPr userDrawn="1"/>
          </p:nvSpPr>
          <p:spPr>
            <a:xfrm>
              <a:off x="9272534" y="3944865"/>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196" name="Group 122" descr="Discussion">
              <a:extLst>
                <a:ext uri="{FF2B5EF4-FFF2-40B4-BE49-F238E27FC236}">
                  <a16:creationId xmlns:a16="http://schemas.microsoft.com/office/drawing/2014/main" id="{8A6B86C3-37E4-40FF-8149-A145F887CD04}"/>
                </a:ext>
                <a:ext uri="{C183D7F6-B498-43B3-948B-1728B52AA6E4}">
                  <adec:decorative xmlns:adec="http://schemas.microsoft.com/office/drawing/2017/decorative" val="0"/>
                </a:ext>
              </a:extLst>
            </p:cNvPr>
            <p:cNvGrpSpPr>
              <a:grpSpLocks noChangeAspect="1"/>
            </p:cNvGrpSpPr>
            <p:nvPr/>
          </p:nvGrpSpPr>
          <p:grpSpPr bwMode="auto">
            <a:xfrm>
              <a:off x="9677138" y="4315989"/>
              <a:ext cx="496566" cy="484180"/>
              <a:chOff x="487" y="3214"/>
              <a:chExt cx="441" cy="430"/>
            </a:xfrm>
            <a:solidFill>
              <a:schemeClr val="accent1"/>
            </a:solidFill>
          </p:grpSpPr>
          <p:sp>
            <p:nvSpPr>
              <p:cNvPr id="197" name="Freeform 123">
                <a:extLst>
                  <a:ext uri="{FF2B5EF4-FFF2-40B4-BE49-F238E27FC236}">
                    <a16:creationId xmlns:a16="http://schemas.microsoft.com/office/drawing/2014/main" id="{2EB73228-5C67-456C-8839-CD4C79742979}"/>
                  </a:ext>
                </a:extLst>
              </p:cNvPr>
              <p:cNvSpPr>
                <a:spLocks noEditPoints="1"/>
              </p:cNvSpPr>
              <p:nvPr/>
            </p:nvSpPr>
            <p:spPr bwMode="auto">
              <a:xfrm>
                <a:off x="579" y="3214"/>
                <a:ext cx="257" cy="233"/>
              </a:xfrm>
              <a:custGeom>
                <a:avLst/>
                <a:gdLst>
                  <a:gd name="T0" fmla="*/ 66 w 168"/>
                  <a:gd name="T1" fmla="*/ 156 h 156"/>
                  <a:gd name="T2" fmla="*/ 62 w 168"/>
                  <a:gd name="T3" fmla="*/ 154 h 156"/>
                  <a:gd name="T4" fmla="*/ 28 w 168"/>
                  <a:gd name="T5" fmla="*/ 120 h 156"/>
                  <a:gd name="T6" fmla="*/ 18 w 168"/>
                  <a:gd name="T7" fmla="*/ 120 h 156"/>
                  <a:gd name="T8" fmla="*/ 0 w 168"/>
                  <a:gd name="T9" fmla="*/ 102 h 156"/>
                  <a:gd name="T10" fmla="*/ 0 w 168"/>
                  <a:gd name="T11" fmla="*/ 18 h 156"/>
                  <a:gd name="T12" fmla="*/ 18 w 168"/>
                  <a:gd name="T13" fmla="*/ 0 h 156"/>
                  <a:gd name="T14" fmla="*/ 150 w 168"/>
                  <a:gd name="T15" fmla="*/ 0 h 156"/>
                  <a:gd name="T16" fmla="*/ 168 w 168"/>
                  <a:gd name="T17" fmla="*/ 18 h 156"/>
                  <a:gd name="T18" fmla="*/ 168 w 168"/>
                  <a:gd name="T19" fmla="*/ 102 h 156"/>
                  <a:gd name="T20" fmla="*/ 150 w 168"/>
                  <a:gd name="T21" fmla="*/ 120 h 156"/>
                  <a:gd name="T22" fmla="*/ 72 w 168"/>
                  <a:gd name="T23" fmla="*/ 120 h 156"/>
                  <a:gd name="T24" fmla="*/ 72 w 168"/>
                  <a:gd name="T25" fmla="*/ 150 h 156"/>
                  <a:gd name="T26" fmla="*/ 69 w 168"/>
                  <a:gd name="T27" fmla="*/ 156 h 156"/>
                  <a:gd name="T28" fmla="*/ 66 w 168"/>
                  <a:gd name="T29" fmla="*/ 156 h 156"/>
                  <a:gd name="T30" fmla="*/ 18 w 168"/>
                  <a:gd name="T31" fmla="*/ 12 h 156"/>
                  <a:gd name="T32" fmla="*/ 12 w 168"/>
                  <a:gd name="T33" fmla="*/ 18 h 156"/>
                  <a:gd name="T34" fmla="*/ 12 w 168"/>
                  <a:gd name="T35" fmla="*/ 102 h 156"/>
                  <a:gd name="T36" fmla="*/ 18 w 168"/>
                  <a:gd name="T37" fmla="*/ 108 h 156"/>
                  <a:gd name="T38" fmla="*/ 30 w 168"/>
                  <a:gd name="T39" fmla="*/ 108 h 156"/>
                  <a:gd name="T40" fmla="*/ 34 w 168"/>
                  <a:gd name="T41" fmla="*/ 110 h 156"/>
                  <a:gd name="T42" fmla="*/ 60 w 168"/>
                  <a:gd name="T43" fmla="*/ 136 h 156"/>
                  <a:gd name="T44" fmla="*/ 60 w 168"/>
                  <a:gd name="T45" fmla="*/ 114 h 156"/>
                  <a:gd name="T46" fmla="*/ 66 w 168"/>
                  <a:gd name="T47" fmla="*/ 108 h 156"/>
                  <a:gd name="T48" fmla="*/ 150 w 168"/>
                  <a:gd name="T49" fmla="*/ 108 h 156"/>
                  <a:gd name="T50" fmla="*/ 156 w 168"/>
                  <a:gd name="T51" fmla="*/ 102 h 156"/>
                  <a:gd name="T52" fmla="*/ 156 w 168"/>
                  <a:gd name="T53" fmla="*/ 18 h 156"/>
                  <a:gd name="T54" fmla="*/ 150 w 168"/>
                  <a:gd name="T55" fmla="*/ 12 h 156"/>
                  <a:gd name="T56" fmla="*/ 18 w 168"/>
                  <a:gd name="T57"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8" h="156">
                    <a:moveTo>
                      <a:pt x="66" y="156"/>
                    </a:moveTo>
                    <a:cubicBezTo>
                      <a:pt x="65" y="156"/>
                      <a:pt x="63" y="156"/>
                      <a:pt x="62" y="154"/>
                    </a:cubicBezTo>
                    <a:cubicBezTo>
                      <a:pt x="28" y="120"/>
                      <a:pt x="28" y="120"/>
                      <a:pt x="28" y="120"/>
                    </a:cubicBezTo>
                    <a:cubicBezTo>
                      <a:pt x="18" y="120"/>
                      <a:pt x="18" y="120"/>
                      <a:pt x="18" y="120"/>
                    </a:cubicBezTo>
                    <a:cubicBezTo>
                      <a:pt x="8" y="120"/>
                      <a:pt x="0" y="112"/>
                      <a:pt x="0" y="102"/>
                    </a:cubicBezTo>
                    <a:cubicBezTo>
                      <a:pt x="0" y="18"/>
                      <a:pt x="0" y="18"/>
                      <a:pt x="0" y="18"/>
                    </a:cubicBezTo>
                    <a:cubicBezTo>
                      <a:pt x="0" y="8"/>
                      <a:pt x="8" y="0"/>
                      <a:pt x="18" y="0"/>
                    </a:cubicBezTo>
                    <a:cubicBezTo>
                      <a:pt x="150" y="0"/>
                      <a:pt x="150" y="0"/>
                      <a:pt x="150" y="0"/>
                    </a:cubicBezTo>
                    <a:cubicBezTo>
                      <a:pt x="160" y="0"/>
                      <a:pt x="168" y="8"/>
                      <a:pt x="168" y="18"/>
                    </a:cubicBezTo>
                    <a:cubicBezTo>
                      <a:pt x="168" y="102"/>
                      <a:pt x="168" y="102"/>
                      <a:pt x="168" y="102"/>
                    </a:cubicBezTo>
                    <a:cubicBezTo>
                      <a:pt x="168" y="112"/>
                      <a:pt x="160" y="120"/>
                      <a:pt x="150" y="120"/>
                    </a:cubicBezTo>
                    <a:cubicBezTo>
                      <a:pt x="72" y="120"/>
                      <a:pt x="72" y="120"/>
                      <a:pt x="72" y="120"/>
                    </a:cubicBezTo>
                    <a:cubicBezTo>
                      <a:pt x="72" y="150"/>
                      <a:pt x="72" y="150"/>
                      <a:pt x="72" y="150"/>
                    </a:cubicBezTo>
                    <a:cubicBezTo>
                      <a:pt x="72" y="153"/>
                      <a:pt x="71" y="155"/>
                      <a:pt x="69" y="156"/>
                    </a:cubicBezTo>
                    <a:cubicBezTo>
                      <a:pt x="68" y="156"/>
                      <a:pt x="67" y="156"/>
                      <a:pt x="66" y="156"/>
                    </a:cubicBezTo>
                    <a:close/>
                    <a:moveTo>
                      <a:pt x="18" y="12"/>
                    </a:moveTo>
                    <a:cubicBezTo>
                      <a:pt x="15" y="12"/>
                      <a:pt x="12" y="15"/>
                      <a:pt x="12" y="18"/>
                    </a:cubicBezTo>
                    <a:cubicBezTo>
                      <a:pt x="12" y="102"/>
                      <a:pt x="12" y="102"/>
                      <a:pt x="12" y="102"/>
                    </a:cubicBezTo>
                    <a:cubicBezTo>
                      <a:pt x="12" y="105"/>
                      <a:pt x="15" y="108"/>
                      <a:pt x="18" y="108"/>
                    </a:cubicBezTo>
                    <a:cubicBezTo>
                      <a:pt x="30" y="108"/>
                      <a:pt x="30" y="108"/>
                      <a:pt x="30" y="108"/>
                    </a:cubicBezTo>
                    <a:cubicBezTo>
                      <a:pt x="32" y="108"/>
                      <a:pt x="33" y="109"/>
                      <a:pt x="34" y="110"/>
                    </a:cubicBezTo>
                    <a:cubicBezTo>
                      <a:pt x="60" y="136"/>
                      <a:pt x="60" y="136"/>
                      <a:pt x="60" y="136"/>
                    </a:cubicBezTo>
                    <a:cubicBezTo>
                      <a:pt x="60" y="114"/>
                      <a:pt x="60" y="114"/>
                      <a:pt x="60" y="114"/>
                    </a:cubicBezTo>
                    <a:cubicBezTo>
                      <a:pt x="60" y="111"/>
                      <a:pt x="63" y="108"/>
                      <a:pt x="66" y="108"/>
                    </a:cubicBezTo>
                    <a:cubicBezTo>
                      <a:pt x="150" y="108"/>
                      <a:pt x="150" y="108"/>
                      <a:pt x="150" y="108"/>
                    </a:cubicBezTo>
                    <a:cubicBezTo>
                      <a:pt x="154" y="108"/>
                      <a:pt x="156" y="105"/>
                      <a:pt x="156" y="102"/>
                    </a:cubicBezTo>
                    <a:cubicBezTo>
                      <a:pt x="156" y="18"/>
                      <a:pt x="156" y="18"/>
                      <a:pt x="156" y="18"/>
                    </a:cubicBezTo>
                    <a:cubicBezTo>
                      <a:pt x="156" y="15"/>
                      <a:pt x="154" y="12"/>
                      <a:pt x="15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98" name="Freeform 124">
                <a:extLst>
                  <a:ext uri="{FF2B5EF4-FFF2-40B4-BE49-F238E27FC236}">
                    <a16:creationId xmlns:a16="http://schemas.microsoft.com/office/drawing/2014/main" id="{7EB31865-1DA7-4E73-A9D6-5AEBFBBCBCE2}"/>
                  </a:ext>
                </a:extLst>
              </p:cNvPr>
              <p:cNvSpPr>
                <a:spLocks noEditPoints="1"/>
              </p:cNvSpPr>
              <p:nvPr/>
            </p:nvSpPr>
            <p:spPr bwMode="auto">
              <a:xfrm>
                <a:off x="790" y="3411"/>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99" name="Freeform 125">
                <a:extLst>
                  <a:ext uri="{FF2B5EF4-FFF2-40B4-BE49-F238E27FC236}">
                    <a16:creationId xmlns:a16="http://schemas.microsoft.com/office/drawing/2014/main" id="{B94A6B8E-7DD3-42E9-A3E6-6A182BF8091E}"/>
                  </a:ext>
                </a:extLst>
              </p:cNvPr>
              <p:cNvSpPr>
                <a:spLocks noEditPoints="1"/>
              </p:cNvSpPr>
              <p:nvPr/>
            </p:nvSpPr>
            <p:spPr bwMode="auto">
              <a:xfrm>
                <a:off x="763" y="3501"/>
                <a:ext cx="165" cy="8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00" name="Freeform 126">
                <a:extLst>
                  <a:ext uri="{FF2B5EF4-FFF2-40B4-BE49-F238E27FC236}">
                    <a16:creationId xmlns:a16="http://schemas.microsoft.com/office/drawing/2014/main" id="{A0E2293A-770F-4E64-B34F-DF398206441C}"/>
                  </a:ext>
                </a:extLst>
              </p:cNvPr>
              <p:cNvSpPr>
                <a:spLocks noEditPoints="1"/>
              </p:cNvSpPr>
              <p:nvPr/>
            </p:nvSpPr>
            <p:spPr bwMode="auto">
              <a:xfrm>
                <a:off x="515" y="3411"/>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01" name="Freeform 127">
                <a:extLst>
                  <a:ext uri="{FF2B5EF4-FFF2-40B4-BE49-F238E27FC236}">
                    <a16:creationId xmlns:a16="http://schemas.microsoft.com/office/drawing/2014/main" id="{B06BE88C-27B4-476B-844E-DA21CFBDB38A}"/>
                  </a:ext>
                </a:extLst>
              </p:cNvPr>
              <p:cNvSpPr>
                <a:spLocks noEditPoints="1"/>
              </p:cNvSpPr>
              <p:nvPr/>
            </p:nvSpPr>
            <p:spPr bwMode="auto">
              <a:xfrm>
                <a:off x="487" y="3501"/>
                <a:ext cx="165" cy="8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02" name="Freeform 128">
                <a:extLst>
                  <a:ext uri="{FF2B5EF4-FFF2-40B4-BE49-F238E27FC236}">
                    <a16:creationId xmlns:a16="http://schemas.microsoft.com/office/drawing/2014/main" id="{5F9A5221-8763-4A40-8781-F5627F9FCFB9}"/>
                  </a:ext>
                </a:extLst>
              </p:cNvPr>
              <p:cNvSpPr>
                <a:spLocks noEditPoints="1"/>
              </p:cNvSpPr>
              <p:nvPr/>
            </p:nvSpPr>
            <p:spPr bwMode="auto">
              <a:xfrm>
                <a:off x="652" y="3465"/>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03" name="Freeform 129">
                <a:extLst>
                  <a:ext uri="{FF2B5EF4-FFF2-40B4-BE49-F238E27FC236}">
                    <a16:creationId xmlns:a16="http://schemas.microsoft.com/office/drawing/2014/main" id="{DB704C73-B463-4495-999A-90283DD821BC}"/>
                  </a:ext>
                </a:extLst>
              </p:cNvPr>
              <p:cNvSpPr>
                <a:spLocks noEditPoints="1"/>
              </p:cNvSpPr>
              <p:nvPr/>
            </p:nvSpPr>
            <p:spPr bwMode="auto">
              <a:xfrm>
                <a:off x="625" y="3554"/>
                <a:ext cx="165" cy="90"/>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04" name="Freeform 130">
                <a:extLst>
                  <a:ext uri="{FF2B5EF4-FFF2-40B4-BE49-F238E27FC236}">
                    <a16:creationId xmlns:a16="http://schemas.microsoft.com/office/drawing/2014/main" id="{0717D5BC-EC30-41C7-82D1-C60383148E4A}"/>
                  </a:ext>
                </a:extLst>
              </p:cNvPr>
              <p:cNvSpPr>
                <a:spLocks/>
              </p:cNvSpPr>
              <p:nvPr/>
            </p:nvSpPr>
            <p:spPr bwMode="auto">
              <a:xfrm>
                <a:off x="634" y="3250"/>
                <a:ext cx="147"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05" name="Freeform 131">
                <a:extLst>
                  <a:ext uri="{FF2B5EF4-FFF2-40B4-BE49-F238E27FC236}">
                    <a16:creationId xmlns:a16="http://schemas.microsoft.com/office/drawing/2014/main" id="{F3814C3B-4CBC-42F1-82FD-9B2562E2CE79}"/>
                  </a:ext>
                </a:extLst>
              </p:cNvPr>
              <p:cNvSpPr>
                <a:spLocks/>
              </p:cNvSpPr>
              <p:nvPr/>
            </p:nvSpPr>
            <p:spPr bwMode="auto">
              <a:xfrm>
                <a:off x="634" y="3286"/>
                <a:ext cx="147"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06" name="Freeform 132">
                <a:extLst>
                  <a:ext uri="{FF2B5EF4-FFF2-40B4-BE49-F238E27FC236}">
                    <a16:creationId xmlns:a16="http://schemas.microsoft.com/office/drawing/2014/main" id="{B5F709DD-4326-42F3-B395-52EBB84C5674}"/>
                  </a:ext>
                </a:extLst>
              </p:cNvPr>
              <p:cNvSpPr>
                <a:spLocks/>
              </p:cNvSpPr>
              <p:nvPr/>
            </p:nvSpPr>
            <p:spPr bwMode="auto">
              <a:xfrm>
                <a:off x="634" y="3322"/>
                <a:ext cx="147" cy="17"/>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41" name="Rectangle 40">
              <a:extLst>
                <a:ext uri="{FF2B5EF4-FFF2-40B4-BE49-F238E27FC236}">
                  <a16:creationId xmlns:a16="http://schemas.microsoft.com/office/drawing/2014/main" id="{03C77BA7-E1D9-4A4E-BB92-6BB23F6F7134}"/>
                </a:ext>
                <a:ext uri="{C183D7F6-B498-43B3-948B-1728B52AA6E4}">
                  <adec:decorative xmlns:adec="http://schemas.microsoft.com/office/drawing/2017/decorative" val="1"/>
                </a:ext>
              </a:extLst>
            </p:cNvPr>
            <p:cNvSpPr/>
            <p:nvPr userDrawn="1"/>
          </p:nvSpPr>
          <p:spPr>
            <a:xfrm>
              <a:off x="10540361" y="3944865"/>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273" name="Group 83" descr="Lightbulb with Person">
              <a:extLst>
                <a:ext uri="{FF2B5EF4-FFF2-40B4-BE49-F238E27FC236}">
                  <a16:creationId xmlns:a16="http://schemas.microsoft.com/office/drawing/2014/main" id="{1F63AE7A-2F8F-4B01-B846-8821310A5E1F}"/>
                </a:ext>
                <a:ext uri="{C183D7F6-B498-43B3-948B-1728B52AA6E4}">
                  <adec:decorative xmlns:adec="http://schemas.microsoft.com/office/drawing/2017/decorative" val="0"/>
                </a:ext>
              </a:extLst>
            </p:cNvPr>
            <p:cNvGrpSpPr>
              <a:grpSpLocks noChangeAspect="1"/>
            </p:cNvGrpSpPr>
            <p:nvPr/>
          </p:nvGrpSpPr>
          <p:grpSpPr bwMode="auto">
            <a:xfrm>
              <a:off x="10959261" y="4300132"/>
              <a:ext cx="479568" cy="490720"/>
              <a:chOff x="1580" y="1910"/>
              <a:chExt cx="387" cy="396"/>
            </a:xfrm>
            <a:solidFill>
              <a:schemeClr val="accent4"/>
            </a:solidFill>
          </p:grpSpPr>
          <p:sp>
            <p:nvSpPr>
              <p:cNvPr id="274" name="Freeform 84">
                <a:extLst>
                  <a:ext uri="{FF2B5EF4-FFF2-40B4-BE49-F238E27FC236}">
                    <a16:creationId xmlns:a16="http://schemas.microsoft.com/office/drawing/2014/main" id="{886A17B4-0B78-4205-93CC-4CB9CAB3E175}"/>
                  </a:ext>
                </a:extLst>
              </p:cNvPr>
              <p:cNvSpPr>
                <a:spLocks noEditPoints="1"/>
              </p:cNvSpPr>
              <p:nvPr/>
            </p:nvSpPr>
            <p:spPr bwMode="auto">
              <a:xfrm>
                <a:off x="1655" y="1982"/>
                <a:ext cx="238" cy="252"/>
              </a:xfrm>
              <a:custGeom>
                <a:avLst/>
                <a:gdLst>
                  <a:gd name="T0" fmla="*/ 0 w 156"/>
                  <a:gd name="T1" fmla="*/ 78 h 169"/>
                  <a:gd name="T2" fmla="*/ 54 w 156"/>
                  <a:gd name="T3" fmla="*/ 163 h 169"/>
                  <a:gd name="T4" fmla="*/ 96 w 156"/>
                  <a:gd name="T5" fmla="*/ 169 h 169"/>
                  <a:gd name="T6" fmla="*/ 102 w 156"/>
                  <a:gd name="T7" fmla="*/ 153 h 169"/>
                  <a:gd name="T8" fmla="*/ 78 w 156"/>
                  <a:gd name="T9" fmla="*/ 0 h 169"/>
                  <a:gd name="T10" fmla="*/ 90 w 156"/>
                  <a:gd name="T11" fmla="*/ 148 h 169"/>
                  <a:gd name="T12" fmla="*/ 66 w 156"/>
                  <a:gd name="T13" fmla="*/ 157 h 169"/>
                  <a:gd name="T14" fmla="*/ 61 w 156"/>
                  <a:gd name="T15" fmla="*/ 142 h 169"/>
                  <a:gd name="T16" fmla="*/ 63 w 156"/>
                  <a:gd name="T17" fmla="*/ 133 h 169"/>
                  <a:gd name="T18" fmla="*/ 67 w 156"/>
                  <a:gd name="T19" fmla="*/ 110 h 169"/>
                  <a:gd name="T20" fmla="*/ 58 w 156"/>
                  <a:gd name="T21" fmla="*/ 89 h 169"/>
                  <a:gd name="T22" fmla="*/ 53 w 156"/>
                  <a:gd name="T23" fmla="*/ 78 h 169"/>
                  <a:gd name="T24" fmla="*/ 56 w 156"/>
                  <a:gd name="T25" fmla="*/ 67 h 169"/>
                  <a:gd name="T26" fmla="*/ 55 w 156"/>
                  <a:gd name="T27" fmla="*/ 57 h 169"/>
                  <a:gd name="T28" fmla="*/ 82 w 156"/>
                  <a:gd name="T29" fmla="*/ 44 h 169"/>
                  <a:gd name="T30" fmla="*/ 99 w 156"/>
                  <a:gd name="T31" fmla="*/ 67 h 169"/>
                  <a:gd name="T32" fmla="*/ 102 w 156"/>
                  <a:gd name="T33" fmla="*/ 78 h 169"/>
                  <a:gd name="T34" fmla="*/ 102 w 156"/>
                  <a:gd name="T35" fmla="*/ 83 h 169"/>
                  <a:gd name="T36" fmla="*/ 92 w 156"/>
                  <a:gd name="T37" fmla="*/ 105 h 169"/>
                  <a:gd name="T38" fmla="*/ 89 w 156"/>
                  <a:gd name="T39" fmla="*/ 127 h 169"/>
                  <a:gd name="T40" fmla="*/ 105 w 156"/>
                  <a:gd name="T41" fmla="*/ 138 h 169"/>
                  <a:gd name="T42" fmla="*/ 118 w 156"/>
                  <a:gd name="T43" fmla="*/ 131 h 169"/>
                  <a:gd name="T44" fmla="*/ 100 w 156"/>
                  <a:gd name="T45" fmla="*/ 114 h 169"/>
                  <a:gd name="T46" fmla="*/ 114 w 156"/>
                  <a:gd name="T47" fmla="*/ 80 h 169"/>
                  <a:gd name="T48" fmla="*/ 111 w 156"/>
                  <a:gd name="T49" fmla="*/ 69 h 169"/>
                  <a:gd name="T50" fmla="*/ 82 w 156"/>
                  <a:gd name="T51" fmla="*/ 33 h 169"/>
                  <a:gd name="T52" fmla="*/ 44 w 156"/>
                  <a:gd name="T53" fmla="*/ 49 h 169"/>
                  <a:gd name="T54" fmla="*/ 43 w 156"/>
                  <a:gd name="T55" fmla="*/ 71 h 169"/>
                  <a:gd name="T56" fmla="*/ 46 w 156"/>
                  <a:gd name="T57" fmla="*/ 93 h 169"/>
                  <a:gd name="T58" fmla="*/ 55 w 156"/>
                  <a:gd name="T59" fmla="*/ 123 h 169"/>
                  <a:gd name="T60" fmla="*/ 12 w 156"/>
                  <a:gd name="T61" fmla="*/ 78 h 169"/>
                  <a:gd name="T62" fmla="*/ 144 w 156"/>
                  <a:gd name="T63" fmla="*/ 7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169">
                    <a:moveTo>
                      <a:pt x="78" y="0"/>
                    </a:moveTo>
                    <a:cubicBezTo>
                      <a:pt x="35" y="0"/>
                      <a:pt x="0" y="35"/>
                      <a:pt x="0" y="78"/>
                    </a:cubicBezTo>
                    <a:cubicBezTo>
                      <a:pt x="0" y="112"/>
                      <a:pt x="22" y="142"/>
                      <a:pt x="54" y="153"/>
                    </a:cubicBezTo>
                    <a:cubicBezTo>
                      <a:pt x="54" y="163"/>
                      <a:pt x="54" y="163"/>
                      <a:pt x="54" y="163"/>
                    </a:cubicBezTo>
                    <a:cubicBezTo>
                      <a:pt x="54" y="166"/>
                      <a:pt x="56" y="169"/>
                      <a:pt x="60" y="169"/>
                    </a:cubicBezTo>
                    <a:cubicBezTo>
                      <a:pt x="96" y="169"/>
                      <a:pt x="96" y="169"/>
                      <a:pt x="96" y="169"/>
                    </a:cubicBezTo>
                    <a:cubicBezTo>
                      <a:pt x="99" y="169"/>
                      <a:pt x="102" y="166"/>
                      <a:pt x="102" y="163"/>
                    </a:cubicBezTo>
                    <a:cubicBezTo>
                      <a:pt x="102" y="153"/>
                      <a:pt x="102" y="153"/>
                      <a:pt x="102" y="153"/>
                    </a:cubicBezTo>
                    <a:cubicBezTo>
                      <a:pt x="134" y="142"/>
                      <a:pt x="156" y="112"/>
                      <a:pt x="156" y="78"/>
                    </a:cubicBezTo>
                    <a:cubicBezTo>
                      <a:pt x="156" y="35"/>
                      <a:pt x="121" y="0"/>
                      <a:pt x="78" y="0"/>
                    </a:cubicBezTo>
                    <a:close/>
                    <a:moveTo>
                      <a:pt x="94" y="142"/>
                    </a:moveTo>
                    <a:cubicBezTo>
                      <a:pt x="92" y="143"/>
                      <a:pt x="90" y="145"/>
                      <a:pt x="90" y="148"/>
                    </a:cubicBezTo>
                    <a:cubicBezTo>
                      <a:pt x="90" y="157"/>
                      <a:pt x="90" y="157"/>
                      <a:pt x="90" y="157"/>
                    </a:cubicBezTo>
                    <a:cubicBezTo>
                      <a:pt x="66" y="157"/>
                      <a:pt x="66" y="157"/>
                      <a:pt x="66" y="157"/>
                    </a:cubicBezTo>
                    <a:cubicBezTo>
                      <a:pt x="66" y="148"/>
                      <a:pt x="66" y="148"/>
                      <a:pt x="66" y="148"/>
                    </a:cubicBezTo>
                    <a:cubicBezTo>
                      <a:pt x="66" y="145"/>
                      <a:pt x="64" y="143"/>
                      <a:pt x="61" y="142"/>
                    </a:cubicBezTo>
                    <a:cubicBezTo>
                      <a:pt x="57" y="141"/>
                      <a:pt x="54" y="140"/>
                      <a:pt x="50" y="138"/>
                    </a:cubicBezTo>
                    <a:cubicBezTo>
                      <a:pt x="54" y="136"/>
                      <a:pt x="59" y="135"/>
                      <a:pt x="63" y="133"/>
                    </a:cubicBezTo>
                    <a:cubicBezTo>
                      <a:pt x="65" y="132"/>
                      <a:pt x="67" y="130"/>
                      <a:pt x="67" y="127"/>
                    </a:cubicBezTo>
                    <a:cubicBezTo>
                      <a:pt x="67" y="110"/>
                      <a:pt x="67" y="110"/>
                      <a:pt x="67" y="110"/>
                    </a:cubicBezTo>
                    <a:cubicBezTo>
                      <a:pt x="67" y="108"/>
                      <a:pt x="65" y="106"/>
                      <a:pt x="63" y="105"/>
                    </a:cubicBezTo>
                    <a:cubicBezTo>
                      <a:pt x="63" y="105"/>
                      <a:pt x="58" y="102"/>
                      <a:pt x="58" y="89"/>
                    </a:cubicBezTo>
                    <a:cubicBezTo>
                      <a:pt x="58" y="86"/>
                      <a:pt x="56" y="84"/>
                      <a:pt x="54" y="84"/>
                    </a:cubicBezTo>
                    <a:cubicBezTo>
                      <a:pt x="53" y="83"/>
                      <a:pt x="52" y="80"/>
                      <a:pt x="53" y="78"/>
                    </a:cubicBezTo>
                    <a:cubicBezTo>
                      <a:pt x="56" y="78"/>
                      <a:pt x="58" y="75"/>
                      <a:pt x="58" y="72"/>
                    </a:cubicBezTo>
                    <a:cubicBezTo>
                      <a:pt x="58" y="71"/>
                      <a:pt x="58" y="69"/>
                      <a:pt x="56" y="67"/>
                    </a:cubicBezTo>
                    <a:cubicBezTo>
                      <a:pt x="54" y="60"/>
                      <a:pt x="53" y="58"/>
                      <a:pt x="53" y="57"/>
                    </a:cubicBezTo>
                    <a:cubicBezTo>
                      <a:pt x="54" y="57"/>
                      <a:pt x="54" y="57"/>
                      <a:pt x="55" y="57"/>
                    </a:cubicBezTo>
                    <a:cubicBezTo>
                      <a:pt x="58" y="58"/>
                      <a:pt x="61" y="56"/>
                      <a:pt x="62" y="53"/>
                    </a:cubicBezTo>
                    <a:cubicBezTo>
                      <a:pt x="63" y="48"/>
                      <a:pt x="72" y="44"/>
                      <a:pt x="82" y="44"/>
                    </a:cubicBezTo>
                    <a:cubicBezTo>
                      <a:pt x="92" y="44"/>
                      <a:pt x="100" y="48"/>
                      <a:pt x="102" y="53"/>
                    </a:cubicBezTo>
                    <a:cubicBezTo>
                      <a:pt x="103" y="58"/>
                      <a:pt x="100" y="64"/>
                      <a:pt x="99" y="67"/>
                    </a:cubicBezTo>
                    <a:cubicBezTo>
                      <a:pt x="98" y="69"/>
                      <a:pt x="97" y="71"/>
                      <a:pt x="97" y="72"/>
                    </a:cubicBezTo>
                    <a:cubicBezTo>
                      <a:pt x="97" y="75"/>
                      <a:pt x="100" y="78"/>
                      <a:pt x="102" y="78"/>
                    </a:cubicBezTo>
                    <a:cubicBezTo>
                      <a:pt x="103" y="78"/>
                      <a:pt x="103" y="79"/>
                      <a:pt x="103" y="79"/>
                    </a:cubicBezTo>
                    <a:cubicBezTo>
                      <a:pt x="103" y="81"/>
                      <a:pt x="102" y="82"/>
                      <a:pt x="102" y="83"/>
                    </a:cubicBezTo>
                    <a:cubicBezTo>
                      <a:pt x="99" y="84"/>
                      <a:pt x="97" y="86"/>
                      <a:pt x="97" y="89"/>
                    </a:cubicBezTo>
                    <a:cubicBezTo>
                      <a:pt x="97" y="101"/>
                      <a:pt x="93" y="104"/>
                      <a:pt x="92" y="105"/>
                    </a:cubicBezTo>
                    <a:cubicBezTo>
                      <a:pt x="90" y="106"/>
                      <a:pt x="89" y="108"/>
                      <a:pt x="89" y="110"/>
                    </a:cubicBezTo>
                    <a:cubicBezTo>
                      <a:pt x="89" y="127"/>
                      <a:pt x="89" y="127"/>
                      <a:pt x="89" y="127"/>
                    </a:cubicBezTo>
                    <a:cubicBezTo>
                      <a:pt x="89" y="130"/>
                      <a:pt x="90" y="132"/>
                      <a:pt x="92" y="133"/>
                    </a:cubicBezTo>
                    <a:cubicBezTo>
                      <a:pt x="97" y="135"/>
                      <a:pt x="101" y="136"/>
                      <a:pt x="105" y="138"/>
                    </a:cubicBezTo>
                    <a:cubicBezTo>
                      <a:pt x="102" y="140"/>
                      <a:pt x="98" y="141"/>
                      <a:pt x="94" y="142"/>
                    </a:cubicBezTo>
                    <a:close/>
                    <a:moveTo>
                      <a:pt x="118" y="131"/>
                    </a:moveTo>
                    <a:cubicBezTo>
                      <a:pt x="112" y="128"/>
                      <a:pt x="106" y="126"/>
                      <a:pt x="100" y="123"/>
                    </a:cubicBezTo>
                    <a:cubicBezTo>
                      <a:pt x="100" y="114"/>
                      <a:pt x="100" y="114"/>
                      <a:pt x="100" y="114"/>
                    </a:cubicBezTo>
                    <a:cubicBezTo>
                      <a:pt x="104" y="111"/>
                      <a:pt x="108" y="105"/>
                      <a:pt x="109" y="93"/>
                    </a:cubicBezTo>
                    <a:cubicBezTo>
                      <a:pt x="112" y="90"/>
                      <a:pt x="114" y="85"/>
                      <a:pt x="114" y="80"/>
                    </a:cubicBezTo>
                    <a:cubicBezTo>
                      <a:pt x="114" y="76"/>
                      <a:pt x="114" y="74"/>
                      <a:pt x="112" y="71"/>
                    </a:cubicBezTo>
                    <a:cubicBezTo>
                      <a:pt x="112" y="71"/>
                      <a:pt x="111" y="70"/>
                      <a:pt x="111" y="69"/>
                    </a:cubicBezTo>
                    <a:cubicBezTo>
                      <a:pt x="113" y="65"/>
                      <a:pt x="115" y="57"/>
                      <a:pt x="113" y="50"/>
                    </a:cubicBezTo>
                    <a:cubicBezTo>
                      <a:pt x="110" y="37"/>
                      <a:pt x="94" y="33"/>
                      <a:pt x="82" y="33"/>
                    </a:cubicBezTo>
                    <a:cubicBezTo>
                      <a:pt x="71" y="33"/>
                      <a:pt x="58" y="36"/>
                      <a:pt x="53" y="45"/>
                    </a:cubicBezTo>
                    <a:cubicBezTo>
                      <a:pt x="49" y="45"/>
                      <a:pt x="46" y="46"/>
                      <a:pt x="44" y="49"/>
                    </a:cubicBezTo>
                    <a:cubicBezTo>
                      <a:pt x="39" y="55"/>
                      <a:pt x="42" y="64"/>
                      <a:pt x="45" y="69"/>
                    </a:cubicBezTo>
                    <a:cubicBezTo>
                      <a:pt x="44" y="70"/>
                      <a:pt x="44" y="71"/>
                      <a:pt x="43" y="71"/>
                    </a:cubicBezTo>
                    <a:cubicBezTo>
                      <a:pt x="42" y="74"/>
                      <a:pt x="41" y="77"/>
                      <a:pt x="41" y="80"/>
                    </a:cubicBezTo>
                    <a:cubicBezTo>
                      <a:pt x="41" y="85"/>
                      <a:pt x="43" y="90"/>
                      <a:pt x="46" y="93"/>
                    </a:cubicBezTo>
                    <a:cubicBezTo>
                      <a:pt x="47" y="105"/>
                      <a:pt x="51" y="111"/>
                      <a:pt x="55" y="114"/>
                    </a:cubicBezTo>
                    <a:cubicBezTo>
                      <a:pt x="55" y="123"/>
                      <a:pt x="55" y="123"/>
                      <a:pt x="55" y="123"/>
                    </a:cubicBezTo>
                    <a:cubicBezTo>
                      <a:pt x="49" y="126"/>
                      <a:pt x="43" y="128"/>
                      <a:pt x="38" y="131"/>
                    </a:cubicBezTo>
                    <a:cubicBezTo>
                      <a:pt x="22" y="119"/>
                      <a:pt x="12" y="100"/>
                      <a:pt x="12" y="78"/>
                    </a:cubicBezTo>
                    <a:cubicBezTo>
                      <a:pt x="12" y="42"/>
                      <a:pt x="41" y="12"/>
                      <a:pt x="78" y="12"/>
                    </a:cubicBezTo>
                    <a:cubicBezTo>
                      <a:pt x="114" y="12"/>
                      <a:pt x="144" y="42"/>
                      <a:pt x="144" y="78"/>
                    </a:cubicBezTo>
                    <a:cubicBezTo>
                      <a:pt x="144" y="100"/>
                      <a:pt x="134" y="119"/>
                      <a:pt x="118" y="13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275" name="Freeform 85">
                <a:extLst>
                  <a:ext uri="{FF2B5EF4-FFF2-40B4-BE49-F238E27FC236}">
                    <a16:creationId xmlns:a16="http://schemas.microsoft.com/office/drawing/2014/main" id="{BE8DFB92-F456-4FA3-9791-271FCD53587A}"/>
                  </a:ext>
                </a:extLst>
              </p:cNvPr>
              <p:cNvSpPr>
                <a:spLocks/>
              </p:cNvSpPr>
              <p:nvPr/>
            </p:nvSpPr>
            <p:spPr bwMode="auto">
              <a:xfrm>
                <a:off x="1756" y="2288"/>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2" y="0"/>
                      <a:pt x="0" y="2"/>
                      <a:pt x="0" y="6"/>
                    </a:cubicBezTo>
                    <a:cubicBezTo>
                      <a:pt x="0" y="9"/>
                      <a:pt x="2" y="12"/>
                      <a:pt x="6" y="12"/>
                    </a:cubicBezTo>
                    <a:cubicBezTo>
                      <a:pt x="18" y="12"/>
                      <a:pt x="18" y="12"/>
                      <a:pt x="18" y="12"/>
                    </a:cubicBezTo>
                    <a:cubicBezTo>
                      <a:pt x="21" y="12"/>
                      <a:pt x="24" y="9"/>
                      <a:pt x="24" y="6"/>
                    </a:cubicBezTo>
                    <a:cubicBezTo>
                      <a:pt x="24" y="2"/>
                      <a:pt x="21" y="0"/>
                      <a:pt x="1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276" name="Freeform 86">
                <a:extLst>
                  <a:ext uri="{FF2B5EF4-FFF2-40B4-BE49-F238E27FC236}">
                    <a16:creationId xmlns:a16="http://schemas.microsoft.com/office/drawing/2014/main" id="{EE5B7183-FD60-4EAF-8EA6-A936999F73E5}"/>
                  </a:ext>
                </a:extLst>
              </p:cNvPr>
              <p:cNvSpPr>
                <a:spLocks/>
              </p:cNvSpPr>
              <p:nvPr/>
            </p:nvSpPr>
            <p:spPr bwMode="auto">
              <a:xfrm>
                <a:off x="1737" y="2252"/>
                <a:ext cx="74" cy="18"/>
              </a:xfrm>
              <a:custGeom>
                <a:avLst/>
                <a:gdLst>
                  <a:gd name="T0" fmla="*/ 42 w 48"/>
                  <a:gd name="T1" fmla="*/ 0 h 12"/>
                  <a:gd name="T2" fmla="*/ 6 w 48"/>
                  <a:gd name="T3" fmla="*/ 0 h 12"/>
                  <a:gd name="T4" fmla="*/ 0 w 48"/>
                  <a:gd name="T5" fmla="*/ 6 h 12"/>
                  <a:gd name="T6" fmla="*/ 6 w 48"/>
                  <a:gd name="T7" fmla="*/ 12 h 12"/>
                  <a:gd name="T8" fmla="*/ 42 w 48"/>
                  <a:gd name="T9" fmla="*/ 12 h 12"/>
                  <a:gd name="T10" fmla="*/ 48 w 48"/>
                  <a:gd name="T11" fmla="*/ 6 h 12"/>
                  <a:gd name="T12" fmla="*/ 42 w 4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0"/>
                    </a:moveTo>
                    <a:cubicBezTo>
                      <a:pt x="6" y="0"/>
                      <a:pt x="6" y="0"/>
                      <a:pt x="6" y="0"/>
                    </a:cubicBezTo>
                    <a:cubicBezTo>
                      <a:pt x="2" y="0"/>
                      <a:pt x="0" y="2"/>
                      <a:pt x="0" y="6"/>
                    </a:cubicBezTo>
                    <a:cubicBezTo>
                      <a:pt x="0" y="9"/>
                      <a:pt x="2" y="12"/>
                      <a:pt x="6" y="12"/>
                    </a:cubicBezTo>
                    <a:cubicBezTo>
                      <a:pt x="42" y="12"/>
                      <a:pt x="42" y="12"/>
                      <a:pt x="42" y="12"/>
                    </a:cubicBezTo>
                    <a:cubicBezTo>
                      <a:pt x="45" y="12"/>
                      <a:pt x="48" y="9"/>
                      <a:pt x="48" y="6"/>
                    </a:cubicBezTo>
                    <a:cubicBezTo>
                      <a:pt x="48" y="2"/>
                      <a:pt x="45" y="0"/>
                      <a:pt x="4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277" name="Freeform 87">
                <a:extLst>
                  <a:ext uri="{FF2B5EF4-FFF2-40B4-BE49-F238E27FC236}">
                    <a16:creationId xmlns:a16="http://schemas.microsoft.com/office/drawing/2014/main" id="{40294650-F986-4496-98D1-6406305F61F3}"/>
                  </a:ext>
                </a:extLst>
              </p:cNvPr>
              <p:cNvSpPr>
                <a:spLocks/>
              </p:cNvSpPr>
              <p:nvPr/>
            </p:nvSpPr>
            <p:spPr bwMode="auto">
              <a:xfrm>
                <a:off x="1765" y="1910"/>
                <a:ext cx="18" cy="54"/>
              </a:xfrm>
              <a:custGeom>
                <a:avLst/>
                <a:gdLst>
                  <a:gd name="T0" fmla="*/ 6 w 12"/>
                  <a:gd name="T1" fmla="*/ 36 h 36"/>
                  <a:gd name="T2" fmla="*/ 12 w 12"/>
                  <a:gd name="T3" fmla="*/ 30 h 36"/>
                  <a:gd name="T4" fmla="*/ 12 w 12"/>
                  <a:gd name="T5" fmla="*/ 6 h 36"/>
                  <a:gd name="T6" fmla="*/ 6 w 12"/>
                  <a:gd name="T7" fmla="*/ 0 h 36"/>
                  <a:gd name="T8" fmla="*/ 0 w 12"/>
                  <a:gd name="T9" fmla="*/ 6 h 36"/>
                  <a:gd name="T10" fmla="*/ 0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9" y="36"/>
                      <a:pt x="12" y="34"/>
                      <a:pt x="12" y="30"/>
                    </a:cubicBezTo>
                    <a:cubicBezTo>
                      <a:pt x="12" y="6"/>
                      <a:pt x="12" y="6"/>
                      <a:pt x="12" y="6"/>
                    </a:cubicBezTo>
                    <a:cubicBezTo>
                      <a:pt x="12" y="3"/>
                      <a:pt x="9" y="0"/>
                      <a:pt x="6" y="0"/>
                    </a:cubicBezTo>
                    <a:cubicBezTo>
                      <a:pt x="2" y="0"/>
                      <a:pt x="0" y="3"/>
                      <a:pt x="0" y="6"/>
                    </a:cubicBezTo>
                    <a:cubicBezTo>
                      <a:pt x="0" y="30"/>
                      <a:pt x="0" y="30"/>
                      <a:pt x="0" y="30"/>
                    </a:cubicBezTo>
                    <a:cubicBezTo>
                      <a:pt x="0" y="34"/>
                      <a:pt x="2" y="36"/>
                      <a:pt x="6" y="3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278" name="Freeform 88">
                <a:extLst>
                  <a:ext uri="{FF2B5EF4-FFF2-40B4-BE49-F238E27FC236}">
                    <a16:creationId xmlns:a16="http://schemas.microsoft.com/office/drawing/2014/main" id="{D9B85E1C-FF9C-45AD-BB68-284D1DC4317E}"/>
                  </a:ext>
                </a:extLst>
              </p:cNvPr>
              <p:cNvSpPr>
                <a:spLocks/>
              </p:cNvSpPr>
              <p:nvPr/>
            </p:nvSpPr>
            <p:spPr bwMode="auto">
              <a:xfrm>
                <a:off x="1912"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2" y="0"/>
                      <a:pt x="0" y="3"/>
                      <a:pt x="0" y="6"/>
                    </a:cubicBezTo>
                    <a:cubicBezTo>
                      <a:pt x="0" y="10"/>
                      <a:pt x="2" y="12"/>
                      <a:pt x="6" y="12"/>
                    </a:cubicBezTo>
                    <a:cubicBezTo>
                      <a:pt x="30" y="12"/>
                      <a:pt x="30" y="12"/>
                      <a:pt x="30" y="12"/>
                    </a:cubicBezTo>
                    <a:cubicBezTo>
                      <a:pt x="33" y="12"/>
                      <a:pt x="36" y="10"/>
                      <a:pt x="36" y="6"/>
                    </a:cubicBezTo>
                    <a:cubicBezTo>
                      <a:pt x="36" y="3"/>
                      <a:pt x="33" y="0"/>
                      <a:pt x="3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279" name="Freeform 89">
                <a:extLst>
                  <a:ext uri="{FF2B5EF4-FFF2-40B4-BE49-F238E27FC236}">
                    <a16:creationId xmlns:a16="http://schemas.microsoft.com/office/drawing/2014/main" id="{7BB8106D-B6DC-49AC-8D79-9DA3FAA9E26F}"/>
                  </a:ext>
                </a:extLst>
              </p:cNvPr>
              <p:cNvSpPr>
                <a:spLocks/>
              </p:cNvSpPr>
              <p:nvPr/>
            </p:nvSpPr>
            <p:spPr bwMode="auto">
              <a:xfrm>
                <a:off x="1580"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3" y="0"/>
                      <a:pt x="0" y="3"/>
                      <a:pt x="0" y="6"/>
                    </a:cubicBezTo>
                    <a:cubicBezTo>
                      <a:pt x="0" y="10"/>
                      <a:pt x="3" y="12"/>
                      <a:pt x="6" y="12"/>
                    </a:cubicBezTo>
                    <a:cubicBezTo>
                      <a:pt x="30" y="12"/>
                      <a:pt x="30" y="12"/>
                      <a:pt x="30" y="12"/>
                    </a:cubicBezTo>
                    <a:cubicBezTo>
                      <a:pt x="34" y="12"/>
                      <a:pt x="36" y="10"/>
                      <a:pt x="36" y="6"/>
                    </a:cubicBezTo>
                    <a:cubicBezTo>
                      <a:pt x="36" y="3"/>
                      <a:pt x="34" y="0"/>
                      <a:pt x="3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280" name="Freeform 90">
                <a:extLst>
                  <a:ext uri="{FF2B5EF4-FFF2-40B4-BE49-F238E27FC236}">
                    <a16:creationId xmlns:a16="http://schemas.microsoft.com/office/drawing/2014/main" id="{74BD9321-5DC0-4382-84C2-2E9D49BAD9F9}"/>
                  </a:ext>
                </a:extLst>
              </p:cNvPr>
              <p:cNvSpPr>
                <a:spLocks/>
              </p:cNvSpPr>
              <p:nvPr/>
            </p:nvSpPr>
            <p:spPr bwMode="auto">
              <a:xfrm>
                <a:off x="1621" y="1949"/>
                <a:ext cx="58" cy="57"/>
              </a:xfrm>
              <a:custGeom>
                <a:avLst/>
                <a:gdLst>
                  <a:gd name="T0" fmla="*/ 27 w 38"/>
                  <a:gd name="T1" fmla="*/ 37 h 38"/>
                  <a:gd name="T2" fmla="*/ 32 w 38"/>
                  <a:gd name="T3" fmla="*/ 38 h 38"/>
                  <a:gd name="T4" fmla="*/ 36 w 38"/>
                  <a:gd name="T5" fmla="*/ 37 h 38"/>
                  <a:gd name="T6" fmla="*/ 36 w 38"/>
                  <a:gd name="T7" fmla="*/ 28 h 38"/>
                  <a:gd name="T8" fmla="*/ 10 w 38"/>
                  <a:gd name="T9" fmla="*/ 3 h 38"/>
                  <a:gd name="T10" fmla="*/ 2 w 38"/>
                  <a:gd name="T11" fmla="*/ 3 h 38"/>
                  <a:gd name="T12" fmla="*/ 2 w 38"/>
                  <a:gd name="T13" fmla="*/ 11 h 38"/>
                  <a:gd name="T14" fmla="*/ 27 w 38"/>
                  <a:gd name="T15" fmla="*/ 37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27" y="37"/>
                    </a:moveTo>
                    <a:cubicBezTo>
                      <a:pt x="29" y="38"/>
                      <a:pt x="30" y="38"/>
                      <a:pt x="32" y="38"/>
                    </a:cubicBezTo>
                    <a:cubicBezTo>
                      <a:pt x="33" y="38"/>
                      <a:pt x="35" y="38"/>
                      <a:pt x="36" y="37"/>
                    </a:cubicBezTo>
                    <a:cubicBezTo>
                      <a:pt x="38" y="34"/>
                      <a:pt x="38" y="31"/>
                      <a:pt x="36" y="28"/>
                    </a:cubicBezTo>
                    <a:cubicBezTo>
                      <a:pt x="10" y="3"/>
                      <a:pt x="10" y="3"/>
                      <a:pt x="10" y="3"/>
                    </a:cubicBezTo>
                    <a:cubicBezTo>
                      <a:pt x="8" y="0"/>
                      <a:pt x="4" y="0"/>
                      <a:pt x="2" y="3"/>
                    </a:cubicBezTo>
                    <a:cubicBezTo>
                      <a:pt x="0" y="5"/>
                      <a:pt x="0" y="9"/>
                      <a:pt x="2" y="11"/>
                    </a:cubicBezTo>
                    <a:lnTo>
                      <a:pt x="27" y="3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281" name="Freeform 91">
                <a:extLst>
                  <a:ext uri="{FF2B5EF4-FFF2-40B4-BE49-F238E27FC236}">
                    <a16:creationId xmlns:a16="http://schemas.microsoft.com/office/drawing/2014/main" id="{E1311FA2-5638-46DC-BA8D-D5A455BF4FC0}"/>
                  </a:ext>
                </a:extLst>
              </p:cNvPr>
              <p:cNvSpPr>
                <a:spLocks/>
              </p:cNvSpPr>
              <p:nvPr/>
            </p:nvSpPr>
            <p:spPr bwMode="auto">
              <a:xfrm>
                <a:off x="1867" y="1949"/>
                <a:ext cx="60" cy="57"/>
              </a:xfrm>
              <a:custGeom>
                <a:avLst/>
                <a:gdLst>
                  <a:gd name="T0" fmla="*/ 7 w 39"/>
                  <a:gd name="T1" fmla="*/ 38 h 38"/>
                  <a:gd name="T2" fmla="*/ 11 w 39"/>
                  <a:gd name="T3" fmla="*/ 37 h 38"/>
                  <a:gd name="T4" fmla="*/ 36 w 39"/>
                  <a:gd name="T5" fmla="*/ 11 h 38"/>
                  <a:gd name="T6" fmla="*/ 36 w 39"/>
                  <a:gd name="T7" fmla="*/ 3 h 38"/>
                  <a:gd name="T8" fmla="*/ 28 w 39"/>
                  <a:gd name="T9" fmla="*/ 3 h 38"/>
                  <a:gd name="T10" fmla="*/ 2 w 39"/>
                  <a:gd name="T11" fmla="*/ 28 h 38"/>
                  <a:gd name="T12" fmla="*/ 2 w 39"/>
                  <a:gd name="T13" fmla="*/ 37 h 38"/>
                  <a:gd name="T14" fmla="*/ 7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7" y="38"/>
                    </a:moveTo>
                    <a:cubicBezTo>
                      <a:pt x="8" y="38"/>
                      <a:pt x="10" y="38"/>
                      <a:pt x="11" y="37"/>
                    </a:cubicBezTo>
                    <a:cubicBezTo>
                      <a:pt x="36" y="11"/>
                      <a:pt x="36" y="11"/>
                      <a:pt x="36" y="11"/>
                    </a:cubicBezTo>
                    <a:cubicBezTo>
                      <a:pt x="39" y="9"/>
                      <a:pt x="39" y="5"/>
                      <a:pt x="36" y="3"/>
                    </a:cubicBezTo>
                    <a:cubicBezTo>
                      <a:pt x="34" y="0"/>
                      <a:pt x="30" y="0"/>
                      <a:pt x="28" y="3"/>
                    </a:cubicBezTo>
                    <a:cubicBezTo>
                      <a:pt x="2" y="28"/>
                      <a:pt x="2" y="28"/>
                      <a:pt x="2" y="28"/>
                    </a:cubicBezTo>
                    <a:cubicBezTo>
                      <a:pt x="0" y="31"/>
                      <a:pt x="0" y="34"/>
                      <a:pt x="2" y="37"/>
                    </a:cubicBezTo>
                    <a:cubicBezTo>
                      <a:pt x="4" y="38"/>
                      <a:pt x="5" y="38"/>
                      <a:pt x="7" y="3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grpSp>
        <p:sp>
          <p:nvSpPr>
            <p:cNvPr id="28" name="Rectangle 27">
              <a:extLst>
                <a:ext uri="{FF2B5EF4-FFF2-40B4-BE49-F238E27FC236}">
                  <a16:creationId xmlns:a16="http://schemas.microsoft.com/office/drawing/2014/main" id="{D92FD294-88FD-4724-8B40-4EBC24A71912}"/>
                </a:ext>
                <a:ext uri="{C183D7F6-B498-43B3-948B-1728B52AA6E4}">
                  <adec:decorative xmlns:adec="http://schemas.microsoft.com/office/drawing/2017/decorative" val="1"/>
                </a:ext>
              </a:extLst>
            </p:cNvPr>
            <p:cNvSpPr/>
            <p:nvPr userDrawn="1"/>
          </p:nvSpPr>
          <p:spPr>
            <a:xfrm>
              <a:off x="380999" y="5128382"/>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250" name="Group 81" descr="Calendar">
              <a:extLst>
                <a:ext uri="{FF2B5EF4-FFF2-40B4-BE49-F238E27FC236}">
                  <a16:creationId xmlns:a16="http://schemas.microsoft.com/office/drawing/2014/main" id="{99D7BE60-4462-4A14-9853-46570FB014B2}"/>
                </a:ext>
                <a:ext uri="{C183D7F6-B498-43B3-948B-1728B52AA6E4}">
                  <adec:decorative xmlns:adec="http://schemas.microsoft.com/office/drawing/2017/decorative" val="0"/>
                </a:ext>
              </a:extLst>
            </p:cNvPr>
            <p:cNvGrpSpPr>
              <a:grpSpLocks noChangeAspect="1"/>
            </p:cNvGrpSpPr>
            <p:nvPr/>
          </p:nvGrpSpPr>
          <p:grpSpPr bwMode="auto">
            <a:xfrm>
              <a:off x="798612" y="5509828"/>
              <a:ext cx="450851" cy="449782"/>
              <a:chOff x="1370" y="1720"/>
              <a:chExt cx="426" cy="425"/>
            </a:xfrm>
            <a:solidFill>
              <a:schemeClr val="accent1"/>
            </a:solidFill>
          </p:grpSpPr>
          <p:sp>
            <p:nvSpPr>
              <p:cNvPr id="251" name="Freeform 82">
                <a:extLst>
                  <a:ext uri="{FF2B5EF4-FFF2-40B4-BE49-F238E27FC236}">
                    <a16:creationId xmlns:a16="http://schemas.microsoft.com/office/drawing/2014/main" id="{4D33D017-4357-4E2E-89B8-6C65E741D141}"/>
                  </a:ext>
                </a:extLst>
              </p:cNvPr>
              <p:cNvSpPr>
                <a:spLocks/>
              </p:cNvSpPr>
              <p:nvPr/>
            </p:nvSpPr>
            <p:spPr bwMode="auto">
              <a:xfrm>
                <a:off x="1370" y="1755"/>
                <a:ext cx="426" cy="390"/>
              </a:xfrm>
              <a:custGeom>
                <a:avLst/>
                <a:gdLst>
                  <a:gd name="T0" fmla="*/ 282 w 288"/>
                  <a:gd name="T1" fmla="*/ 264 h 264"/>
                  <a:gd name="T2" fmla="*/ 6 w 288"/>
                  <a:gd name="T3" fmla="*/ 264 h 264"/>
                  <a:gd name="T4" fmla="*/ 0 w 288"/>
                  <a:gd name="T5" fmla="*/ 258 h 264"/>
                  <a:gd name="T6" fmla="*/ 0 w 288"/>
                  <a:gd name="T7" fmla="*/ 6 h 264"/>
                  <a:gd name="T8" fmla="*/ 6 w 288"/>
                  <a:gd name="T9" fmla="*/ 0 h 264"/>
                  <a:gd name="T10" fmla="*/ 54 w 288"/>
                  <a:gd name="T11" fmla="*/ 0 h 264"/>
                  <a:gd name="T12" fmla="*/ 60 w 288"/>
                  <a:gd name="T13" fmla="*/ 6 h 264"/>
                  <a:gd name="T14" fmla="*/ 54 w 288"/>
                  <a:gd name="T15" fmla="*/ 12 h 264"/>
                  <a:gd name="T16" fmla="*/ 12 w 288"/>
                  <a:gd name="T17" fmla="*/ 12 h 264"/>
                  <a:gd name="T18" fmla="*/ 12 w 288"/>
                  <a:gd name="T19" fmla="*/ 252 h 264"/>
                  <a:gd name="T20" fmla="*/ 276 w 288"/>
                  <a:gd name="T21" fmla="*/ 252 h 264"/>
                  <a:gd name="T22" fmla="*/ 276 w 288"/>
                  <a:gd name="T23" fmla="*/ 12 h 264"/>
                  <a:gd name="T24" fmla="*/ 234 w 288"/>
                  <a:gd name="T25" fmla="*/ 12 h 264"/>
                  <a:gd name="T26" fmla="*/ 228 w 288"/>
                  <a:gd name="T27" fmla="*/ 6 h 264"/>
                  <a:gd name="T28" fmla="*/ 234 w 288"/>
                  <a:gd name="T29" fmla="*/ 0 h 264"/>
                  <a:gd name="T30" fmla="*/ 282 w 288"/>
                  <a:gd name="T31" fmla="*/ 0 h 264"/>
                  <a:gd name="T32" fmla="*/ 288 w 288"/>
                  <a:gd name="T33" fmla="*/ 6 h 264"/>
                  <a:gd name="T34" fmla="*/ 288 w 288"/>
                  <a:gd name="T35" fmla="*/ 258 h 264"/>
                  <a:gd name="T36" fmla="*/ 282 w 288"/>
                  <a:gd name="T37"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64">
                    <a:moveTo>
                      <a:pt x="282" y="264"/>
                    </a:moveTo>
                    <a:cubicBezTo>
                      <a:pt x="6" y="264"/>
                      <a:pt x="6" y="264"/>
                      <a:pt x="6" y="264"/>
                    </a:cubicBezTo>
                    <a:cubicBezTo>
                      <a:pt x="3" y="264"/>
                      <a:pt x="0" y="261"/>
                      <a:pt x="0" y="258"/>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252"/>
                      <a:pt x="12" y="252"/>
                      <a:pt x="12" y="252"/>
                    </a:cubicBezTo>
                    <a:cubicBezTo>
                      <a:pt x="276" y="252"/>
                      <a:pt x="276" y="252"/>
                      <a:pt x="276" y="252"/>
                    </a:cubicBezTo>
                    <a:cubicBezTo>
                      <a:pt x="276" y="12"/>
                      <a:pt x="276" y="12"/>
                      <a:pt x="276" y="12"/>
                    </a:cubicBezTo>
                    <a:cubicBezTo>
                      <a:pt x="234" y="12"/>
                      <a:pt x="234" y="12"/>
                      <a:pt x="234" y="12"/>
                    </a:cubicBezTo>
                    <a:cubicBezTo>
                      <a:pt x="231" y="12"/>
                      <a:pt x="228" y="9"/>
                      <a:pt x="228" y="6"/>
                    </a:cubicBezTo>
                    <a:cubicBezTo>
                      <a:pt x="228" y="2"/>
                      <a:pt x="231" y="0"/>
                      <a:pt x="234" y="0"/>
                    </a:cubicBezTo>
                    <a:cubicBezTo>
                      <a:pt x="282" y="0"/>
                      <a:pt x="282" y="0"/>
                      <a:pt x="282" y="0"/>
                    </a:cubicBezTo>
                    <a:cubicBezTo>
                      <a:pt x="286" y="0"/>
                      <a:pt x="288" y="2"/>
                      <a:pt x="288" y="6"/>
                    </a:cubicBezTo>
                    <a:cubicBezTo>
                      <a:pt x="288" y="258"/>
                      <a:pt x="288" y="258"/>
                      <a:pt x="288" y="258"/>
                    </a:cubicBezTo>
                    <a:cubicBezTo>
                      <a:pt x="288" y="261"/>
                      <a:pt x="286" y="264"/>
                      <a:pt x="282"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52" name="Freeform 83">
                <a:extLst>
                  <a:ext uri="{FF2B5EF4-FFF2-40B4-BE49-F238E27FC236}">
                    <a16:creationId xmlns:a16="http://schemas.microsoft.com/office/drawing/2014/main" id="{63E87233-B187-4982-9769-667225F76291}"/>
                  </a:ext>
                </a:extLst>
              </p:cNvPr>
              <p:cNvSpPr>
                <a:spLocks noEditPoints="1"/>
              </p:cNvSpPr>
              <p:nvPr/>
            </p:nvSpPr>
            <p:spPr bwMode="auto">
              <a:xfrm>
                <a:off x="1441"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53" name="Freeform 84">
                <a:extLst>
                  <a:ext uri="{FF2B5EF4-FFF2-40B4-BE49-F238E27FC236}">
                    <a16:creationId xmlns:a16="http://schemas.microsoft.com/office/drawing/2014/main" id="{42994CEE-BD2C-4808-B50E-2107C7AD7805}"/>
                  </a:ext>
                </a:extLst>
              </p:cNvPr>
              <p:cNvSpPr>
                <a:spLocks noEditPoints="1"/>
              </p:cNvSpPr>
              <p:nvPr/>
            </p:nvSpPr>
            <p:spPr bwMode="auto">
              <a:xfrm>
                <a:off x="1654"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54" name="Freeform 85">
                <a:extLst>
                  <a:ext uri="{FF2B5EF4-FFF2-40B4-BE49-F238E27FC236}">
                    <a16:creationId xmlns:a16="http://schemas.microsoft.com/office/drawing/2014/main" id="{89BE2330-1F09-4F39-A6F2-44033D9013A3}"/>
                  </a:ext>
                </a:extLst>
              </p:cNvPr>
              <p:cNvSpPr>
                <a:spLocks/>
              </p:cNvSpPr>
              <p:nvPr/>
            </p:nvSpPr>
            <p:spPr bwMode="auto">
              <a:xfrm>
                <a:off x="1495" y="1755"/>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55" name="Freeform 86">
                <a:extLst>
                  <a:ext uri="{FF2B5EF4-FFF2-40B4-BE49-F238E27FC236}">
                    <a16:creationId xmlns:a16="http://schemas.microsoft.com/office/drawing/2014/main" id="{3E4348D2-CAE2-4E8D-AA5B-F5113AC4B5DF}"/>
                  </a:ext>
                </a:extLst>
              </p:cNvPr>
              <p:cNvSpPr>
                <a:spLocks/>
              </p:cNvSpPr>
              <p:nvPr/>
            </p:nvSpPr>
            <p:spPr bwMode="auto">
              <a:xfrm>
                <a:off x="1370" y="1844"/>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2"/>
                      <a:pt x="3" y="0"/>
                      <a:pt x="6" y="0"/>
                    </a:cubicBezTo>
                    <a:cubicBezTo>
                      <a:pt x="282" y="0"/>
                      <a:pt x="282" y="0"/>
                      <a:pt x="282" y="0"/>
                    </a:cubicBezTo>
                    <a:cubicBezTo>
                      <a:pt x="286" y="0"/>
                      <a:pt x="288" y="2"/>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56" name="Freeform 87">
                <a:extLst>
                  <a:ext uri="{FF2B5EF4-FFF2-40B4-BE49-F238E27FC236}">
                    <a16:creationId xmlns:a16="http://schemas.microsoft.com/office/drawing/2014/main" id="{9FA809E2-BF6F-4C03-AFD7-0001F0D4E9DA}"/>
                  </a:ext>
                </a:extLst>
              </p:cNvPr>
              <p:cNvSpPr>
                <a:spLocks/>
              </p:cNvSpPr>
              <p:nvPr/>
            </p:nvSpPr>
            <p:spPr bwMode="auto">
              <a:xfrm>
                <a:off x="1477"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57" name="Freeform 88">
                <a:extLst>
                  <a:ext uri="{FF2B5EF4-FFF2-40B4-BE49-F238E27FC236}">
                    <a16:creationId xmlns:a16="http://schemas.microsoft.com/office/drawing/2014/main" id="{8B17CE3F-B7B5-4D3C-BC62-045DEE9FF0F5}"/>
                  </a:ext>
                </a:extLst>
              </p:cNvPr>
              <p:cNvSpPr>
                <a:spLocks/>
              </p:cNvSpPr>
              <p:nvPr/>
            </p:nvSpPr>
            <p:spPr bwMode="auto">
              <a:xfrm>
                <a:off x="1565"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58" name="Freeform 89">
                <a:extLst>
                  <a:ext uri="{FF2B5EF4-FFF2-40B4-BE49-F238E27FC236}">
                    <a16:creationId xmlns:a16="http://schemas.microsoft.com/office/drawing/2014/main" id="{02AD93C5-8354-4DCB-890B-0A42AD87C858}"/>
                  </a:ext>
                </a:extLst>
              </p:cNvPr>
              <p:cNvSpPr>
                <a:spLocks/>
              </p:cNvSpPr>
              <p:nvPr/>
            </p:nvSpPr>
            <p:spPr bwMode="auto">
              <a:xfrm>
                <a:off x="1654"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59" name="Freeform 90">
                <a:extLst>
                  <a:ext uri="{FF2B5EF4-FFF2-40B4-BE49-F238E27FC236}">
                    <a16:creationId xmlns:a16="http://schemas.microsoft.com/office/drawing/2014/main" id="{252416E0-ED15-443B-9798-69583A02D391}"/>
                  </a:ext>
                </a:extLst>
              </p:cNvPr>
              <p:cNvSpPr>
                <a:spLocks/>
              </p:cNvSpPr>
              <p:nvPr/>
            </p:nvSpPr>
            <p:spPr bwMode="auto">
              <a:xfrm>
                <a:off x="1406" y="1915"/>
                <a:ext cx="355" cy="18"/>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60" name="Freeform 91">
                <a:extLst>
                  <a:ext uri="{FF2B5EF4-FFF2-40B4-BE49-F238E27FC236}">
                    <a16:creationId xmlns:a16="http://schemas.microsoft.com/office/drawing/2014/main" id="{8C834DC3-C8DC-40EF-8F68-737874F59B29}"/>
                  </a:ext>
                </a:extLst>
              </p:cNvPr>
              <p:cNvSpPr>
                <a:spLocks/>
              </p:cNvSpPr>
              <p:nvPr/>
            </p:nvSpPr>
            <p:spPr bwMode="auto">
              <a:xfrm>
                <a:off x="1406" y="1986"/>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61" name="Freeform 92">
                <a:extLst>
                  <a:ext uri="{FF2B5EF4-FFF2-40B4-BE49-F238E27FC236}">
                    <a16:creationId xmlns:a16="http://schemas.microsoft.com/office/drawing/2014/main" id="{E2BB42F0-ED5B-460A-9A7B-B625772D273E}"/>
                  </a:ext>
                </a:extLst>
              </p:cNvPr>
              <p:cNvSpPr>
                <a:spLocks/>
              </p:cNvSpPr>
              <p:nvPr/>
            </p:nvSpPr>
            <p:spPr bwMode="auto">
              <a:xfrm>
                <a:off x="1406" y="2057"/>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sp>
          <p:nvSpPr>
            <p:cNvPr id="29" name="Rectangle 28">
              <a:extLst>
                <a:ext uri="{FF2B5EF4-FFF2-40B4-BE49-F238E27FC236}">
                  <a16:creationId xmlns:a16="http://schemas.microsoft.com/office/drawing/2014/main" id="{9153881D-3E28-414F-8E8F-A9089338109A}"/>
                </a:ext>
                <a:ext uri="{C183D7F6-B498-43B3-948B-1728B52AA6E4}">
                  <adec:decorative xmlns:adec="http://schemas.microsoft.com/office/drawing/2017/decorative" val="1"/>
                </a:ext>
              </a:extLst>
            </p:cNvPr>
            <p:cNvSpPr/>
            <p:nvPr userDrawn="1"/>
          </p:nvSpPr>
          <p:spPr>
            <a:xfrm>
              <a:off x="1651616" y="5128381"/>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44" name="Group 98" descr="Eye Scan">
              <a:extLst>
                <a:ext uri="{FF2B5EF4-FFF2-40B4-BE49-F238E27FC236}">
                  <a16:creationId xmlns:a16="http://schemas.microsoft.com/office/drawing/2014/main" id="{875D44DC-A7CF-4E8A-90AC-48444416F0F9}"/>
                </a:ext>
                <a:ext uri="{C183D7F6-B498-43B3-948B-1728B52AA6E4}">
                  <adec:decorative xmlns:adec="http://schemas.microsoft.com/office/drawing/2017/decorative" val="0"/>
                </a:ext>
              </a:extLst>
            </p:cNvPr>
            <p:cNvGrpSpPr>
              <a:grpSpLocks noChangeAspect="1"/>
            </p:cNvGrpSpPr>
            <p:nvPr/>
          </p:nvGrpSpPr>
          <p:grpSpPr bwMode="auto">
            <a:xfrm>
              <a:off x="2084826" y="5548256"/>
              <a:ext cx="448560" cy="372925"/>
              <a:chOff x="1371" y="1755"/>
              <a:chExt cx="427" cy="355"/>
            </a:xfrm>
            <a:solidFill>
              <a:schemeClr val="accent1"/>
            </a:solidFill>
          </p:grpSpPr>
          <p:sp>
            <p:nvSpPr>
              <p:cNvPr id="45" name="Freeform 99">
                <a:extLst>
                  <a:ext uri="{FF2B5EF4-FFF2-40B4-BE49-F238E27FC236}">
                    <a16:creationId xmlns:a16="http://schemas.microsoft.com/office/drawing/2014/main" id="{ECA59A8C-E4A3-4237-A39B-3E467A389CC4}"/>
                  </a:ext>
                </a:extLst>
              </p:cNvPr>
              <p:cNvSpPr>
                <a:spLocks noEditPoints="1"/>
              </p:cNvSpPr>
              <p:nvPr/>
            </p:nvSpPr>
            <p:spPr bwMode="auto">
              <a:xfrm>
                <a:off x="1371" y="1755"/>
                <a:ext cx="427"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5" y="0"/>
                      <a:pt x="288" y="3"/>
                      <a:pt x="288" y="6"/>
                    </a:cubicBezTo>
                    <a:cubicBezTo>
                      <a:pt x="288" y="234"/>
                      <a:pt x="288" y="234"/>
                      <a:pt x="288" y="234"/>
                    </a:cubicBezTo>
                    <a:cubicBezTo>
                      <a:pt x="288" y="237"/>
                      <a:pt x="285"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46" name="Freeform 100">
                <a:extLst>
                  <a:ext uri="{FF2B5EF4-FFF2-40B4-BE49-F238E27FC236}">
                    <a16:creationId xmlns:a16="http://schemas.microsoft.com/office/drawing/2014/main" id="{90495A09-D4D0-459D-8C7C-E3BAF7D830ED}"/>
                  </a:ext>
                </a:extLst>
              </p:cNvPr>
              <p:cNvSpPr>
                <a:spLocks/>
              </p:cNvSpPr>
              <p:nvPr/>
            </p:nvSpPr>
            <p:spPr bwMode="auto">
              <a:xfrm>
                <a:off x="1407" y="1790"/>
                <a:ext cx="71" cy="71"/>
              </a:xfrm>
              <a:custGeom>
                <a:avLst/>
                <a:gdLst>
                  <a:gd name="T0" fmla="*/ 6 w 48"/>
                  <a:gd name="T1" fmla="*/ 48 h 48"/>
                  <a:gd name="T2" fmla="*/ 0 w 48"/>
                  <a:gd name="T3" fmla="*/ 42 h 48"/>
                  <a:gd name="T4" fmla="*/ 0 w 48"/>
                  <a:gd name="T5" fmla="*/ 6 h 48"/>
                  <a:gd name="T6" fmla="*/ 6 w 48"/>
                  <a:gd name="T7" fmla="*/ 0 h 48"/>
                  <a:gd name="T8" fmla="*/ 42 w 48"/>
                  <a:gd name="T9" fmla="*/ 0 h 48"/>
                  <a:gd name="T10" fmla="*/ 48 w 48"/>
                  <a:gd name="T11" fmla="*/ 6 h 48"/>
                  <a:gd name="T12" fmla="*/ 42 w 48"/>
                  <a:gd name="T13" fmla="*/ 12 h 48"/>
                  <a:gd name="T14" fmla="*/ 12 w 48"/>
                  <a:gd name="T15" fmla="*/ 12 h 48"/>
                  <a:gd name="T16" fmla="*/ 12 w 48"/>
                  <a:gd name="T17" fmla="*/ 42 h 48"/>
                  <a:gd name="T18" fmla="*/ 6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6" y="48"/>
                    </a:moveTo>
                    <a:cubicBezTo>
                      <a:pt x="3" y="48"/>
                      <a:pt x="0" y="45"/>
                      <a:pt x="0" y="42"/>
                    </a:cubicBezTo>
                    <a:cubicBezTo>
                      <a:pt x="0" y="6"/>
                      <a:pt x="0" y="6"/>
                      <a:pt x="0" y="6"/>
                    </a:cubicBezTo>
                    <a:cubicBezTo>
                      <a:pt x="0" y="3"/>
                      <a:pt x="3" y="0"/>
                      <a:pt x="6" y="0"/>
                    </a:cubicBezTo>
                    <a:cubicBezTo>
                      <a:pt x="42" y="0"/>
                      <a:pt x="42" y="0"/>
                      <a:pt x="42" y="0"/>
                    </a:cubicBezTo>
                    <a:cubicBezTo>
                      <a:pt x="45" y="0"/>
                      <a:pt x="48" y="3"/>
                      <a:pt x="48" y="6"/>
                    </a:cubicBezTo>
                    <a:cubicBezTo>
                      <a:pt x="48" y="9"/>
                      <a:pt x="45" y="12"/>
                      <a:pt x="42" y="12"/>
                    </a:cubicBezTo>
                    <a:cubicBezTo>
                      <a:pt x="12" y="12"/>
                      <a:pt x="12" y="12"/>
                      <a:pt x="12" y="12"/>
                    </a:cubicBezTo>
                    <a:cubicBezTo>
                      <a:pt x="12" y="42"/>
                      <a:pt x="12" y="42"/>
                      <a:pt x="12" y="42"/>
                    </a:cubicBezTo>
                    <a:cubicBezTo>
                      <a:pt x="12" y="45"/>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47" name="Freeform 101">
                <a:extLst>
                  <a:ext uri="{FF2B5EF4-FFF2-40B4-BE49-F238E27FC236}">
                    <a16:creationId xmlns:a16="http://schemas.microsoft.com/office/drawing/2014/main" id="{C2FFBD35-8D8A-4E68-9DDE-A49A655D0DE4}"/>
                  </a:ext>
                </a:extLst>
              </p:cNvPr>
              <p:cNvSpPr>
                <a:spLocks/>
              </p:cNvSpPr>
              <p:nvPr/>
            </p:nvSpPr>
            <p:spPr bwMode="auto">
              <a:xfrm>
                <a:off x="1691" y="1790"/>
                <a:ext cx="71" cy="71"/>
              </a:xfrm>
              <a:custGeom>
                <a:avLst/>
                <a:gdLst>
                  <a:gd name="T0" fmla="*/ 42 w 48"/>
                  <a:gd name="T1" fmla="*/ 48 h 48"/>
                  <a:gd name="T2" fmla="*/ 36 w 48"/>
                  <a:gd name="T3" fmla="*/ 42 h 48"/>
                  <a:gd name="T4" fmla="*/ 36 w 48"/>
                  <a:gd name="T5" fmla="*/ 12 h 48"/>
                  <a:gd name="T6" fmla="*/ 6 w 48"/>
                  <a:gd name="T7" fmla="*/ 12 h 48"/>
                  <a:gd name="T8" fmla="*/ 0 w 48"/>
                  <a:gd name="T9" fmla="*/ 6 h 48"/>
                  <a:gd name="T10" fmla="*/ 6 w 48"/>
                  <a:gd name="T11" fmla="*/ 0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39" y="48"/>
                      <a:pt x="36" y="45"/>
                      <a:pt x="36" y="42"/>
                    </a:cubicBezTo>
                    <a:cubicBezTo>
                      <a:pt x="36" y="12"/>
                      <a:pt x="36" y="12"/>
                      <a:pt x="36" y="12"/>
                    </a:cubicBezTo>
                    <a:cubicBezTo>
                      <a:pt x="6" y="12"/>
                      <a:pt x="6" y="12"/>
                      <a:pt x="6" y="12"/>
                    </a:cubicBezTo>
                    <a:cubicBezTo>
                      <a:pt x="3" y="12"/>
                      <a:pt x="0" y="9"/>
                      <a:pt x="0" y="6"/>
                    </a:cubicBezTo>
                    <a:cubicBezTo>
                      <a:pt x="0" y="3"/>
                      <a:pt x="3" y="0"/>
                      <a:pt x="6" y="0"/>
                    </a:cubicBezTo>
                    <a:cubicBezTo>
                      <a:pt x="42" y="0"/>
                      <a:pt x="42"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48" name="Freeform 102">
                <a:extLst>
                  <a:ext uri="{FF2B5EF4-FFF2-40B4-BE49-F238E27FC236}">
                    <a16:creationId xmlns:a16="http://schemas.microsoft.com/office/drawing/2014/main" id="{B3FE117A-CE5D-4778-9509-1CA8B11F27F1}"/>
                  </a:ext>
                </a:extLst>
              </p:cNvPr>
              <p:cNvSpPr>
                <a:spLocks/>
              </p:cNvSpPr>
              <p:nvPr/>
            </p:nvSpPr>
            <p:spPr bwMode="auto">
              <a:xfrm>
                <a:off x="1407" y="200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12 w 48"/>
                  <a:gd name="T11" fmla="*/ 6 h 48"/>
                  <a:gd name="T12" fmla="*/ 12 w 48"/>
                  <a:gd name="T13" fmla="*/ 36 h 48"/>
                  <a:gd name="T14" fmla="*/ 42 w 48"/>
                  <a:gd name="T15" fmla="*/ 3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6"/>
                      <a:pt x="0" y="6"/>
                      <a:pt x="0" y="6"/>
                    </a:cubicBezTo>
                    <a:cubicBezTo>
                      <a:pt x="0" y="3"/>
                      <a:pt x="3" y="0"/>
                      <a:pt x="6" y="0"/>
                    </a:cubicBezTo>
                    <a:cubicBezTo>
                      <a:pt x="9" y="0"/>
                      <a:pt x="12" y="3"/>
                      <a:pt x="12" y="6"/>
                    </a:cubicBezTo>
                    <a:cubicBezTo>
                      <a:pt x="12" y="36"/>
                      <a:pt x="12" y="36"/>
                      <a:pt x="12" y="36"/>
                    </a:cubicBezTo>
                    <a:cubicBezTo>
                      <a:pt x="42" y="36"/>
                      <a:pt x="42" y="36"/>
                      <a:pt x="42" y="36"/>
                    </a:cubicBezTo>
                    <a:cubicBezTo>
                      <a:pt x="45" y="36"/>
                      <a:pt x="48" y="39"/>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49" name="Freeform 103">
                <a:extLst>
                  <a:ext uri="{FF2B5EF4-FFF2-40B4-BE49-F238E27FC236}">
                    <a16:creationId xmlns:a16="http://schemas.microsoft.com/office/drawing/2014/main" id="{676515AB-CD9B-483E-A14A-741A28083927}"/>
                  </a:ext>
                </a:extLst>
              </p:cNvPr>
              <p:cNvSpPr>
                <a:spLocks/>
              </p:cNvSpPr>
              <p:nvPr/>
            </p:nvSpPr>
            <p:spPr bwMode="auto">
              <a:xfrm>
                <a:off x="1691" y="2004"/>
                <a:ext cx="71" cy="71"/>
              </a:xfrm>
              <a:custGeom>
                <a:avLst/>
                <a:gdLst>
                  <a:gd name="T0" fmla="*/ 42 w 48"/>
                  <a:gd name="T1" fmla="*/ 48 h 48"/>
                  <a:gd name="T2" fmla="*/ 6 w 48"/>
                  <a:gd name="T3" fmla="*/ 48 h 48"/>
                  <a:gd name="T4" fmla="*/ 0 w 48"/>
                  <a:gd name="T5" fmla="*/ 42 h 48"/>
                  <a:gd name="T6" fmla="*/ 6 w 48"/>
                  <a:gd name="T7" fmla="*/ 36 h 48"/>
                  <a:gd name="T8" fmla="*/ 36 w 48"/>
                  <a:gd name="T9" fmla="*/ 36 h 48"/>
                  <a:gd name="T10" fmla="*/ 36 w 48"/>
                  <a:gd name="T11" fmla="*/ 6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39"/>
                      <a:pt x="3" y="36"/>
                      <a:pt x="6" y="36"/>
                    </a:cubicBezTo>
                    <a:cubicBezTo>
                      <a:pt x="36" y="36"/>
                      <a:pt x="36" y="36"/>
                      <a:pt x="36" y="36"/>
                    </a:cubicBezTo>
                    <a:cubicBezTo>
                      <a:pt x="36" y="6"/>
                      <a:pt x="36" y="6"/>
                      <a:pt x="36" y="6"/>
                    </a:cubicBezTo>
                    <a:cubicBezTo>
                      <a:pt x="36" y="3"/>
                      <a:pt x="39"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50" name="Freeform 104">
                <a:extLst>
                  <a:ext uri="{FF2B5EF4-FFF2-40B4-BE49-F238E27FC236}">
                    <a16:creationId xmlns:a16="http://schemas.microsoft.com/office/drawing/2014/main" id="{DC4ACE6C-0EB5-41AA-A95B-38B1D371FD7A}"/>
                  </a:ext>
                </a:extLst>
              </p:cNvPr>
              <p:cNvSpPr>
                <a:spLocks noEditPoints="1"/>
              </p:cNvSpPr>
              <p:nvPr/>
            </p:nvSpPr>
            <p:spPr bwMode="auto">
              <a:xfrm>
                <a:off x="1441" y="1844"/>
                <a:ext cx="286" cy="177"/>
              </a:xfrm>
              <a:custGeom>
                <a:avLst/>
                <a:gdLst>
                  <a:gd name="T0" fmla="*/ 97 w 193"/>
                  <a:gd name="T1" fmla="*/ 120 h 120"/>
                  <a:gd name="T2" fmla="*/ 2 w 193"/>
                  <a:gd name="T3" fmla="*/ 64 h 120"/>
                  <a:gd name="T4" fmla="*/ 2 w 193"/>
                  <a:gd name="T5" fmla="*/ 56 h 120"/>
                  <a:gd name="T6" fmla="*/ 97 w 193"/>
                  <a:gd name="T7" fmla="*/ 0 h 120"/>
                  <a:gd name="T8" fmla="*/ 191 w 193"/>
                  <a:gd name="T9" fmla="*/ 56 h 120"/>
                  <a:gd name="T10" fmla="*/ 191 w 193"/>
                  <a:gd name="T11" fmla="*/ 64 h 120"/>
                  <a:gd name="T12" fmla="*/ 97 w 193"/>
                  <a:gd name="T13" fmla="*/ 120 h 120"/>
                  <a:gd name="T14" fmla="*/ 15 w 193"/>
                  <a:gd name="T15" fmla="*/ 60 h 120"/>
                  <a:gd name="T16" fmla="*/ 97 w 193"/>
                  <a:gd name="T17" fmla="*/ 108 h 120"/>
                  <a:gd name="T18" fmla="*/ 179 w 193"/>
                  <a:gd name="T19" fmla="*/ 60 h 120"/>
                  <a:gd name="T20" fmla="*/ 97 w 193"/>
                  <a:gd name="T21" fmla="*/ 12 h 120"/>
                  <a:gd name="T22" fmla="*/ 15 w 193"/>
                  <a:gd name="T23"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120">
                    <a:moveTo>
                      <a:pt x="97" y="120"/>
                    </a:moveTo>
                    <a:cubicBezTo>
                      <a:pt x="53" y="120"/>
                      <a:pt x="4" y="66"/>
                      <a:pt x="2" y="64"/>
                    </a:cubicBezTo>
                    <a:cubicBezTo>
                      <a:pt x="0" y="62"/>
                      <a:pt x="0" y="58"/>
                      <a:pt x="2" y="56"/>
                    </a:cubicBezTo>
                    <a:cubicBezTo>
                      <a:pt x="4" y="54"/>
                      <a:pt x="53" y="0"/>
                      <a:pt x="97" y="0"/>
                    </a:cubicBezTo>
                    <a:cubicBezTo>
                      <a:pt x="141" y="0"/>
                      <a:pt x="189" y="54"/>
                      <a:pt x="191" y="56"/>
                    </a:cubicBezTo>
                    <a:cubicBezTo>
                      <a:pt x="193" y="58"/>
                      <a:pt x="193" y="62"/>
                      <a:pt x="191" y="64"/>
                    </a:cubicBezTo>
                    <a:cubicBezTo>
                      <a:pt x="189" y="66"/>
                      <a:pt x="141" y="120"/>
                      <a:pt x="97" y="120"/>
                    </a:cubicBezTo>
                    <a:close/>
                    <a:moveTo>
                      <a:pt x="15" y="60"/>
                    </a:moveTo>
                    <a:cubicBezTo>
                      <a:pt x="27" y="72"/>
                      <a:pt x="64" y="108"/>
                      <a:pt x="97" y="108"/>
                    </a:cubicBezTo>
                    <a:cubicBezTo>
                      <a:pt x="129" y="108"/>
                      <a:pt x="167" y="72"/>
                      <a:pt x="179" y="60"/>
                    </a:cubicBezTo>
                    <a:cubicBezTo>
                      <a:pt x="167" y="48"/>
                      <a:pt x="129" y="12"/>
                      <a:pt x="97" y="12"/>
                    </a:cubicBezTo>
                    <a:cubicBezTo>
                      <a:pt x="64" y="12"/>
                      <a:pt x="27" y="48"/>
                      <a:pt x="1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51" name="Freeform 105">
                <a:extLst>
                  <a:ext uri="{FF2B5EF4-FFF2-40B4-BE49-F238E27FC236}">
                    <a16:creationId xmlns:a16="http://schemas.microsoft.com/office/drawing/2014/main" id="{F354D475-93F4-4680-9808-3077A87720B7}"/>
                  </a:ext>
                </a:extLst>
              </p:cNvPr>
              <p:cNvSpPr>
                <a:spLocks noEditPoints="1"/>
              </p:cNvSpPr>
              <p:nvPr/>
            </p:nvSpPr>
            <p:spPr bwMode="auto">
              <a:xfrm>
                <a:off x="1531" y="1879"/>
                <a:ext cx="107"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52" name="Oval 106">
                <a:extLst>
                  <a:ext uri="{FF2B5EF4-FFF2-40B4-BE49-F238E27FC236}">
                    <a16:creationId xmlns:a16="http://schemas.microsoft.com/office/drawing/2014/main" id="{6FCC208C-EE83-49E2-9187-2BF79A6A9FBC}"/>
                  </a:ext>
                </a:extLst>
              </p:cNvPr>
              <p:cNvSpPr>
                <a:spLocks noChangeArrowheads="1"/>
              </p:cNvSpPr>
              <p:nvPr/>
            </p:nvSpPr>
            <p:spPr bwMode="auto">
              <a:xfrm>
                <a:off x="1567" y="1915"/>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sp>
          <p:nvSpPr>
            <p:cNvPr id="30" name="Rectangle 29">
              <a:extLst>
                <a:ext uri="{FF2B5EF4-FFF2-40B4-BE49-F238E27FC236}">
                  <a16:creationId xmlns:a16="http://schemas.microsoft.com/office/drawing/2014/main" id="{A4D01393-03C7-4679-83E7-951DCF25D7E5}"/>
                </a:ext>
                <a:ext uri="{C183D7F6-B498-43B3-948B-1728B52AA6E4}">
                  <adec:decorative xmlns:adec="http://schemas.microsoft.com/office/drawing/2017/decorative" val="1"/>
                </a:ext>
              </a:extLst>
            </p:cNvPr>
            <p:cNvSpPr/>
            <p:nvPr userDrawn="1"/>
          </p:nvSpPr>
          <p:spPr>
            <a:xfrm>
              <a:off x="2922235" y="5128381"/>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292" name="Group 291" descr="Magnifying Glass with Gear">
              <a:extLst>
                <a:ext uri="{FF2B5EF4-FFF2-40B4-BE49-F238E27FC236}">
                  <a16:creationId xmlns:a16="http://schemas.microsoft.com/office/drawing/2014/main" id="{F48BA31E-7AA3-4584-85BA-97C4F4781E41}"/>
                </a:ext>
                <a:ext uri="{C183D7F6-B498-43B3-948B-1728B52AA6E4}">
                  <adec:decorative xmlns:adec="http://schemas.microsoft.com/office/drawing/2017/decorative" val="0"/>
                </a:ext>
              </a:extLst>
            </p:cNvPr>
            <p:cNvGrpSpPr/>
            <p:nvPr/>
          </p:nvGrpSpPr>
          <p:grpSpPr>
            <a:xfrm>
              <a:off x="3334652" y="5494451"/>
              <a:ext cx="481666" cy="480536"/>
              <a:chOff x="3334652" y="5494451"/>
              <a:chExt cx="481666" cy="480536"/>
            </a:xfrm>
          </p:grpSpPr>
          <p:sp>
            <p:nvSpPr>
              <p:cNvPr id="269" name="Freeform 61">
                <a:extLst>
                  <a:ext uri="{FF2B5EF4-FFF2-40B4-BE49-F238E27FC236}">
                    <a16:creationId xmlns:a16="http://schemas.microsoft.com/office/drawing/2014/main" id="{2E45376B-40F0-4624-A82D-E3B3845505D5}"/>
                  </a:ext>
                </a:extLst>
              </p:cNvPr>
              <p:cNvSpPr>
                <a:spLocks noEditPoints="1"/>
              </p:cNvSpPr>
              <p:nvPr/>
            </p:nvSpPr>
            <p:spPr bwMode="auto">
              <a:xfrm>
                <a:off x="3334652" y="5494451"/>
                <a:ext cx="421740" cy="420610"/>
              </a:xfrm>
              <a:custGeom>
                <a:avLst/>
                <a:gdLst>
                  <a:gd name="T0" fmla="*/ 126 w 252"/>
                  <a:gd name="T1" fmla="*/ 252 h 252"/>
                  <a:gd name="T2" fmla="*/ 0 w 252"/>
                  <a:gd name="T3" fmla="*/ 126 h 252"/>
                  <a:gd name="T4" fmla="*/ 126 w 252"/>
                  <a:gd name="T5" fmla="*/ 0 h 252"/>
                  <a:gd name="T6" fmla="*/ 252 w 252"/>
                  <a:gd name="T7" fmla="*/ 126 h 252"/>
                  <a:gd name="T8" fmla="*/ 126 w 252"/>
                  <a:gd name="T9" fmla="*/ 252 h 252"/>
                  <a:gd name="T10" fmla="*/ 126 w 252"/>
                  <a:gd name="T11" fmla="*/ 12 h 252"/>
                  <a:gd name="T12" fmla="*/ 12 w 252"/>
                  <a:gd name="T13" fmla="*/ 126 h 252"/>
                  <a:gd name="T14" fmla="*/ 126 w 252"/>
                  <a:gd name="T15" fmla="*/ 240 h 252"/>
                  <a:gd name="T16" fmla="*/ 240 w 252"/>
                  <a:gd name="T17" fmla="*/ 126 h 252"/>
                  <a:gd name="T18" fmla="*/ 126 w 252"/>
                  <a:gd name="T19" fmla="*/ 1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2">
                    <a:moveTo>
                      <a:pt x="126" y="252"/>
                    </a:moveTo>
                    <a:cubicBezTo>
                      <a:pt x="56" y="252"/>
                      <a:pt x="0" y="195"/>
                      <a:pt x="0" y="126"/>
                    </a:cubicBezTo>
                    <a:cubicBezTo>
                      <a:pt x="0" y="56"/>
                      <a:pt x="56" y="0"/>
                      <a:pt x="126" y="0"/>
                    </a:cubicBezTo>
                    <a:cubicBezTo>
                      <a:pt x="195" y="0"/>
                      <a:pt x="252" y="56"/>
                      <a:pt x="252" y="126"/>
                    </a:cubicBezTo>
                    <a:cubicBezTo>
                      <a:pt x="252" y="195"/>
                      <a:pt x="195" y="252"/>
                      <a:pt x="126" y="252"/>
                    </a:cubicBezTo>
                    <a:close/>
                    <a:moveTo>
                      <a:pt x="126" y="12"/>
                    </a:moveTo>
                    <a:cubicBezTo>
                      <a:pt x="63" y="12"/>
                      <a:pt x="12" y="63"/>
                      <a:pt x="12" y="126"/>
                    </a:cubicBezTo>
                    <a:cubicBezTo>
                      <a:pt x="12" y="188"/>
                      <a:pt x="63" y="240"/>
                      <a:pt x="126" y="240"/>
                    </a:cubicBezTo>
                    <a:cubicBezTo>
                      <a:pt x="188" y="240"/>
                      <a:pt x="240" y="188"/>
                      <a:pt x="240" y="126"/>
                    </a:cubicBezTo>
                    <a:cubicBezTo>
                      <a:pt x="240" y="63"/>
                      <a:pt x="188" y="12"/>
                      <a:pt x="126" y="1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70" name="Freeform 62">
                <a:extLst>
                  <a:ext uri="{FF2B5EF4-FFF2-40B4-BE49-F238E27FC236}">
                    <a16:creationId xmlns:a16="http://schemas.microsoft.com/office/drawing/2014/main" id="{01FB9C38-00E5-4D07-B2C7-22EA7EEFC22C}"/>
                  </a:ext>
                </a:extLst>
              </p:cNvPr>
              <p:cNvSpPr>
                <a:spLocks/>
              </p:cNvSpPr>
              <p:nvPr/>
            </p:nvSpPr>
            <p:spPr bwMode="auto">
              <a:xfrm>
                <a:off x="3676115" y="5834784"/>
                <a:ext cx="140203" cy="140203"/>
              </a:xfrm>
              <a:custGeom>
                <a:avLst/>
                <a:gdLst>
                  <a:gd name="T0" fmla="*/ 78 w 84"/>
                  <a:gd name="T1" fmla="*/ 84 h 84"/>
                  <a:gd name="T2" fmla="*/ 73 w 84"/>
                  <a:gd name="T3" fmla="*/ 82 h 84"/>
                  <a:gd name="T4" fmla="*/ 2 w 84"/>
                  <a:gd name="T5" fmla="*/ 11 h 84"/>
                  <a:gd name="T6" fmla="*/ 2 w 84"/>
                  <a:gd name="T7" fmla="*/ 2 h 84"/>
                  <a:gd name="T8" fmla="*/ 11 w 84"/>
                  <a:gd name="T9" fmla="*/ 2 h 84"/>
                  <a:gd name="T10" fmla="*/ 82 w 84"/>
                  <a:gd name="T11" fmla="*/ 73 h 84"/>
                  <a:gd name="T12" fmla="*/ 82 w 84"/>
                  <a:gd name="T13" fmla="*/ 82 h 84"/>
                  <a:gd name="T14" fmla="*/ 78 w 84"/>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4">
                    <a:moveTo>
                      <a:pt x="78" y="84"/>
                    </a:moveTo>
                    <a:cubicBezTo>
                      <a:pt x="76" y="84"/>
                      <a:pt x="75" y="83"/>
                      <a:pt x="73" y="82"/>
                    </a:cubicBezTo>
                    <a:cubicBezTo>
                      <a:pt x="2" y="11"/>
                      <a:pt x="2" y="11"/>
                      <a:pt x="2" y="11"/>
                    </a:cubicBezTo>
                    <a:cubicBezTo>
                      <a:pt x="0" y="8"/>
                      <a:pt x="0" y="5"/>
                      <a:pt x="2" y="2"/>
                    </a:cubicBezTo>
                    <a:cubicBezTo>
                      <a:pt x="5" y="0"/>
                      <a:pt x="8" y="0"/>
                      <a:pt x="11" y="2"/>
                    </a:cubicBezTo>
                    <a:cubicBezTo>
                      <a:pt x="82" y="73"/>
                      <a:pt x="82" y="73"/>
                      <a:pt x="82" y="73"/>
                    </a:cubicBezTo>
                    <a:cubicBezTo>
                      <a:pt x="84" y="76"/>
                      <a:pt x="84" y="80"/>
                      <a:pt x="82" y="82"/>
                    </a:cubicBezTo>
                    <a:cubicBezTo>
                      <a:pt x="81" y="83"/>
                      <a:pt x="79" y="84"/>
                      <a:pt x="78" y="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71" name="Freeform 63">
                <a:extLst>
                  <a:ext uri="{FF2B5EF4-FFF2-40B4-BE49-F238E27FC236}">
                    <a16:creationId xmlns:a16="http://schemas.microsoft.com/office/drawing/2014/main" id="{958124DC-23A3-4878-BBF5-D40602F9CB12}"/>
                  </a:ext>
                </a:extLst>
              </p:cNvPr>
              <p:cNvSpPr>
                <a:spLocks noEditPoints="1"/>
              </p:cNvSpPr>
              <p:nvPr/>
            </p:nvSpPr>
            <p:spPr bwMode="auto">
              <a:xfrm>
                <a:off x="3407015" y="5564553"/>
                <a:ext cx="275884" cy="280407"/>
              </a:xfrm>
              <a:custGeom>
                <a:avLst/>
                <a:gdLst>
                  <a:gd name="T0" fmla="*/ 66 w 165"/>
                  <a:gd name="T1" fmla="*/ 168 h 168"/>
                  <a:gd name="T2" fmla="*/ 60 w 165"/>
                  <a:gd name="T3" fmla="*/ 146 h 168"/>
                  <a:gd name="T4" fmla="*/ 27 w 165"/>
                  <a:gd name="T5" fmla="*/ 143 h 168"/>
                  <a:gd name="T6" fmla="*/ 1 w 165"/>
                  <a:gd name="T7" fmla="*/ 110 h 168"/>
                  <a:gd name="T8" fmla="*/ 3 w 165"/>
                  <a:gd name="T9" fmla="*/ 102 h 168"/>
                  <a:gd name="T10" fmla="*/ 17 w 165"/>
                  <a:gd name="T11" fmla="*/ 74 h 168"/>
                  <a:gd name="T12" fmla="*/ 0 w 165"/>
                  <a:gd name="T13" fmla="*/ 62 h 168"/>
                  <a:gd name="T14" fmla="*/ 19 w 165"/>
                  <a:gd name="T15" fmla="*/ 26 h 168"/>
                  <a:gd name="T16" fmla="*/ 42 w 165"/>
                  <a:gd name="T17" fmla="*/ 32 h 168"/>
                  <a:gd name="T18" fmla="*/ 60 w 165"/>
                  <a:gd name="T19" fmla="*/ 6 h 168"/>
                  <a:gd name="T20" fmla="*/ 102 w 165"/>
                  <a:gd name="T21" fmla="*/ 0 h 168"/>
                  <a:gd name="T22" fmla="*/ 108 w 165"/>
                  <a:gd name="T23" fmla="*/ 23 h 168"/>
                  <a:gd name="T24" fmla="*/ 138 w 165"/>
                  <a:gd name="T25" fmla="*/ 24 h 168"/>
                  <a:gd name="T26" fmla="*/ 146 w 165"/>
                  <a:gd name="T27" fmla="*/ 26 h 168"/>
                  <a:gd name="T28" fmla="*/ 165 w 165"/>
                  <a:gd name="T29" fmla="*/ 62 h 168"/>
                  <a:gd name="T30" fmla="*/ 148 w 165"/>
                  <a:gd name="T31" fmla="*/ 74 h 168"/>
                  <a:gd name="T32" fmla="*/ 162 w 165"/>
                  <a:gd name="T33" fmla="*/ 102 h 168"/>
                  <a:gd name="T34" fmla="*/ 164 w 165"/>
                  <a:gd name="T35" fmla="*/ 110 h 168"/>
                  <a:gd name="T36" fmla="*/ 143 w 165"/>
                  <a:gd name="T37" fmla="*/ 144 h 168"/>
                  <a:gd name="T38" fmla="*/ 124 w 165"/>
                  <a:gd name="T39" fmla="*/ 135 h 168"/>
                  <a:gd name="T40" fmla="*/ 108 w 165"/>
                  <a:gd name="T41" fmla="*/ 162 h 168"/>
                  <a:gd name="T42" fmla="*/ 72 w 165"/>
                  <a:gd name="T43" fmla="*/ 156 h 168"/>
                  <a:gd name="T44" fmla="*/ 96 w 165"/>
                  <a:gd name="T45" fmla="*/ 141 h 168"/>
                  <a:gd name="T46" fmla="*/ 120 w 165"/>
                  <a:gd name="T47" fmla="*/ 123 h 168"/>
                  <a:gd name="T48" fmla="*/ 139 w 165"/>
                  <a:gd name="T49" fmla="*/ 130 h 168"/>
                  <a:gd name="T50" fmla="*/ 138 w 165"/>
                  <a:gd name="T51" fmla="*/ 102 h 168"/>
                  <a:gd name="T52" fmla="*/ 135 w 165"/>
                  <a:gd name="T53" fmla="*/ 72 h 168"/>
                  <a:gd name="T54" fmla="*/ 151 w 165"/>
                  <a:gd name="T55" fmla="*/ 58 h 168"/>
                  <a:gd name="T56" fmla="*/ 127 w 165"/>
                  <a:gd name="T57" fmla="*/ 45 h 168"/>
                  <a:gd name="T58" fmla="*/ 100 w 165"/>
                  <a:gd name="T59" fmla="*/ 32 h 168"/>
                  <a:gd name="T60" fmla="*/ 96 w 165"/>
                  <a:gd name="T61" fmla="*/ 12 h 168"/>
                  <a:gd name="T62" fmla="*/ 72 w 165"/>
                  <a:gd name="T63" fmla="*/ 26 h 168"/>
                  <a:gd name="T64" fmla="*/ 47 w 165"/>
                  <a:gd name="T65" fmla="*/ 44 h 168"/>
                  <a:gd name="T66" fmla="*/ 27 w 165"/>
                  <a:gd name="T67" fmla="*/ 37 h 168"/>
                  <a:gd name="T68" fmla="*/ 27 w 165"/>
                  <a:gd name="T69" fmla="*/ 65 h 168"/>
                  <a:gd name="T70" fmla="*/ 30 w 165"/>
                  <a:gd name="T71" fmla="*/ 95 h 168"/>
                  <a:gd name="T72" fmla="*/ 14 w 165"/>
                  <a:gd name="T73" fmla="*/ 109 h 168"/>
                  <a:gd name="T74" fmla="*/ 40 w 165"/>
                  <a:gd name="T75" fmla="*/ 123 h 168"/>
                  <a:gd name="T76" fmla="*/ 67 w 165"/>
                  <a:gd name="T77" fmla="*/ 135 h 168"/>
                  <a:gd name="T78" fmla="*/ 72 w 165"/>
                  <a:gd name="T79"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5" h="168">
                    <a:moveTo>
                      <a:pt x="102" y="168"/>
                    </a:moveTo>
                    <a:cubicBezTo>
                      <a:pt x="66" y="168"/>
                      <a:pt x="66" y="168"/>
                      <a:pt x="66" y="168"/>
                    </a:cubicBezTo>
                    <a:cubicBezTo>
                      <a:pt x="63" y="168"/>
                      <a:pt x="60" y="165"/>
                      <a:pt x="60" y="162"/>
                    </a:cubicBezTo>
                    <a:cubicBezTo>
                      <a:pt x="60" y="146"/>
                      <a:pt x="60" y="146"/>
                      <a:pt x="60" y="146"/>
                    </a:cubicBezTo>
                    <a:cubicBezTo>
                      <a:pt x="52" y="143"/>
                      <a:pt x="47" y="139"/>
                      <a:pt x="42" y="135"/>
                    </a:cubicBezTo>
                    <a:cubicBezTo>
                      <a:pt x="27" y="143"/>
                      <a:pt x="27" y="143"/>
                      <a:pt x="27" y="143"/>
                    </a:cubicBezTo>
                    <a:cubicBezTo>
                      <a:pt x="24" y="145"/>
                      <a:pt x="21" y="144"/>
                      <a:pt x="19" y="141"/>
                    </a:cubicBezTo>
                    <a:cubicBezTo>
                      <a:pt x="1" y="110"/>
                      <a:pt x="1" y="110"/>
                      <a:pt x="1" y="110"/>
                    </a:cubicBezTo>
                    <a:cubicBezTo>
                      <a:pt x="0" y="109"/>
                      <a:pt x="0" y="107"/>
                      <a:pt x="0" y="106"/>
                    </a:cubicBezTo>
                    <a:cubicBezTo>
                      <a:pt x="1" y="104"/>
                      <a:pt x="2" y="103"/>
                      <a:pt x="3" y="102"/>
                    </a:cubicBezTo>
                    <a:cubicBezTo>
                      <a:pt x="17" y="94"/>
                      <a:pt x="17" y="94"/>
                      <a:pt x="17" y="94"/>
                    </a:cubicBezTo>
                    <a:cubicBezTo>
                      <a:pt x="16" y="87"/>
                      <a:pt x="16" y="80"/>
                      <a:pt x="17" y="74"/>
                    </a:cubicBezTo>
                    <a:cubicBezTo>
                      <a:pt x="3" y="65"/>
                      <a:pt x="3" y="65"/>
                      <a:pt x="3" y="65"/>
                    </a:cubicBezTo>
                    <a:cubicBezTo>
                      <a:pt x="2" y="65"/>
                      <a:pt x="1" y="63"/>
                      <a:pt x="0" y="62"/>
                    </a:cubicBezTo>
                    <a:cubicBezTo>
                      <a:pt x="0" y="60"/>
                      <a:pt x="0" y="59"/>
                      <a:pt x="1" y="57"/>
                    </a:cubicBezTo>
                    <a:cubicBezTo>
                      <a:pt x="19" y="26"/>
                      <a:pt x="19" y="26"/>
                      <a:pt x="19" y="26"/>
                    </a:cubicBezTo>
                    <a:cubicBezTo>
                      <a:pt x="21" y="23"/>
                      <a:pt x="25" y="22"/>
                      <a:pt x="27" y="24"/>
                    </a:cubicBezTo>
                    <a:cubicBezTo>
                      <a:pt x="42" y="32"/>
                      <a:pt x="42" y="32"/>
                      <a:pt x="42" y="32"/>
                    </a:cubicBezTo>
                    <a:cubicBezTo>
                      <a:pt x="47" y="28"/>
                      <a:pt x="52" y="24"/>
                      <a:pt x="60" y="22"/>
                    </a:cubicBezTo>
                    <a:cubicBezTo>
                      <a:pt x="60" y="6"/>
                      <a:pt x="60" y="6"/>
                      <a:pt x="60" y="6"/>
                    </a:cubicBezTo>
                    <a:cubicBezTo>
                      <a:pt x="60" y="2"/>
                      <a:pt x="63" y="0"/>
                      <a:pt x="66" y="0"/>
                    </a:cubicBezTo>
                    <a:cubicBezTo>
                      <a:pt x="102" y="0"/>
                      <a:pt x="102" y="0"/>
                      <a:pt x="102" y="0"/>
                    </a:cubicBezTo>
                    <a:cubicBezTo>
                      <a:pt x="105" y="0"/>
                      <a:pt x="108" y="2"/>
                      <a:pt x="108" y="6"/>
                    </a:cubicBezTo>
                    <a:cubicBezTo>
                      <a:pt x="108" y="23"/>
                      <a:pt x="108" y="23"/>
                      <a:pt x="108" y="23"/>
                    </a:cubicBezTo>
                    <a:cubicBezTo>
                      <a:pt x="115" y="26"/>
                      <a:pt x="120" y="29"/>
                      <a:pt x="124" y="32"/>
                    </a:cubicBezTo>
                    <a:cubicBezTo>
                      <a:pt x="138" y="24"/>
                      <a:pt x="138" y="24"/>
                      <a:pt x="138" y="24"/>
                    </a:cubicBezTo>
                    <a:cubicBezTo>
                      <a:pt x="139" y="23"/>
                      <a:pt x="141" y="23"/>
                      <a:pt x="143" y="23"/>
                    </a:cubicBezTo>
                    <a:cubicBezTo>
                      <a:pt x="144" y="24"/>
                      <a:pt x="146" y="25"/>
                      <a:pt x="146" y="26"/>
                    </a:cubicBezTo>
                    <a:cubicBezTo>
                      <a:pt x="164" y="57"/>
                      <a:pt x="164" y="57"/>
                      <a:pt x="164" y="57"/>
                    </a:cubicBezTo>
                    <a:cubicBezTo>
                      <a:pt x="165" y="59"/>
                      <a:pt x="165" y="60"/>
                      <a:pt x="165" y="62"/>
                    </a:cubicBezTo>
                    <a:cubicBezTo>
                      <a:pt x="165" y="63"/>
                      <a:pt x="164" y="65"/>
                      <a:pt x="162" y="65"/>
                    </a:cubicBezTo>
                    <a:cubicBezTo>
                      <a:pt x="148" y="74"/>
                      <a:pt x="148" y="74"/>
                      <a:pt x="148" y="74"/>
                    </a:cubicBezTo>
                    <a:cubicBezTo>
                      <a:pt x="149" y="80"/>
                      <a:pt x="149" y="87"/>
                      <a:pt x="148" y="94"/>
                    </a:cubicBezTo>
                    <a:cubicBezTo>
                      <a:pt x="162" y="102"/>
                      <a:pt x="162" y="102"/>
                      <a:pt x="162" y="102"/>
                    </a:cubicBezTo>
                    <a:cubicBezTo>
                      <a:pt x="164" y="103"/>
                      <a:pt x="165" y="104"/>
                      <a:pt x="165" y="106"/>
                    </a:cubicBezTo>
                    <a:cubicBezTo>
                      <a:pt x="165" y="107"/>
                      <a:pt x="165" y="109"/>
                      <a:pt x="164" y="110"/>
                    </a:cubicBezTo>
                    <a:cubicBezTo>
                      <a:pt x="146" y="141"/>
                      <a:pt x="146" y="141"/>
                      <a:pt x="146" y="141"/>
                    </a:cubicBezTo>
                    <a:cubicBezTo>
                      <a:pt x="146" y="143"/>
                      <a:pt x="144" y="144"/>
                      <a:pt x="143" y="144"/>
                    </a:cubicBezTo>
                    <a:cubicBezTo>
                      <a:pt x="141" y="144"/>
                      <a:pt x="139" y="144"/>
                      <a:pt x="138" y="143"/>
                    </a:cubicBezTo>
                    <a:cubicBezTo>
                      <a:pt x="124" y="135"/>
                      <a:pt x="124" y="135"/>
                      <a:pt x="124" y="135"/>
                    </a:cubicBezTo>
                    <a:cubicBezTo>
                      <a:pt x="120" y="138"/>
                      <a:pt x="115" y="142"/>
                      <a:pt x="108" y="145"/>
                    </a:cubicBezTo>
                    <a:cubicBezTo>
                      <a:pt x="108" y="162"/>
                      <a:pt x="108" y="162"/>
                      <a:pt x="108" y="162"/>
                    </a:cubicBezTo>
                    <a:cubicBezTo>
                      <a:pt x="108" y="165"/>
                      <a:pt x="105" y="168"/>
                      <a:pt x="102" y="168"/>
                    </a:cubicBezTo>
                    <a:close/>
                    <a:moveTo>
                      <a:pt x="72" y="156"/>
                    </a:moveTo>
                    <a:cubicBezTo>
                      <a:pt x="96" y="156"/>
                      <a:pt x="96" y="156"/>
                      <a:pt x="96" y="156"/>
                    </a:cubicBezTo>
                    <a:cubicBezTo>
                      <a:pt x="96" y="141"/>
                      <a:pt x="96" y="141"/>
                      <a:pt x="96" y="141"/>
                    </a:cubicBezTo>
                    <a:cubicBezTo>
                      <a:pt x="96" y="139"/>
                      <a:pt x="97" y="136"/>
                      <a:pt x="100" y="135"/>
                    </a:cubicBezTo>
                    <a:cubicBezTo>
                      <a:pt x="109" y="131"/>
                      <a:pt x="115" y="127"/>
                      <a:pt x="120" y="123"/>
                    </a:cubicBezTo>
                    <a:cubicBezTo>
                      <a:pt x="122" y="122"/>
                      <a:pt x="125" y="121"/>
                      <a:pt x="127" y="123"/>
                    </a:cubicBezTo>
                    <a:cubicBezTo>
                      <a:pt x="139" y="130"/>
                      <a:pt x="139" y="130"/>
                      <a:pt x="139" y="130"/>
                    </a:cubicBezTo>
                    <a:cubicBezTo>
                      <a:pt x="151" y="109"/>
                      <a:pt x="151" y="109"/>
                      <a:pt x="151" y="109"/>
                    </a:cubicBezTo>
                    <a:cubicBezTo>
                      <a:pt x="138" y="102"/>
                      <a:pt x="138" y="102"/>
                      <a:pt x="138" y="102"/>
                    </a:cubicBezTo>
                    <a:cubicBezTo>
                      <a:pt x="136" y="101"/>
                      <a:pt x="135" y="98"/>
                      <a:pt x="135" y="95"/>
                    </a:cubicBezTo>
                    <a:cubicBezTo>
                      <a:pt x="137" y="87"/>
                      <a:pt x="137" y="80"/>
                      <a:pt x="135" y="72"/>
                    </a:cubicBezTo>
                    <a:cubicBezTo>
                      <a:pt x="135" y="69"/>
                      <a:pt x="136" y="67"/>
                      <a:pt x="138" y="65"/>
                    </a:cubicBezTo>
                    <a:cubicBezTo>
                      <a:pt x="151" y="58"/>
                      <a:pt x="151" y="58"/>
                      <a:pt x="151" y="58"/>
                    </a:cubicBezTo>
                    <a:cubicBezTo>
                      <a:pt x="139" y="37"/>
                      <a:pt x="139" y="37"/>
                      <a:pt x="139" y="37"/>
                    </a:cubicBezTo>
                    <a:cubicBezTo>
                      <a:pt x="127" y="45"/>
                      <a:pt x="127" y="45"/>
                      <a:pt x="127" y="45"/>
                    </a:cubicBezTo>
                    <a:cubicBezTo>
                      <a:pt x="125" y="46"/>
                      <a:pt x="122" y="46"/>
                      <a:pt x="120" y="44"/>
                    </a:cubicBezTo>
                    <a:cubicBezTo>
                      <a:pt x="116" y="40"/>
                      <a:pt x="109" y="36"/>
                      <a:pt x="100" y="32"/>
                    </a:cubicBezTo>
                    <a:cubicBezTo>
                      <a:pt x="97" y="31"/>
                      <a:pt x="96" y="29"/>
                      <a:pt x="96" y="26"/>
                    </a:cubicBezTo>
                    <a:cubicBezTo>
                      <a:pt x="96" y="12"/>
                      <a:pt x="96" y="12"/>
                      <a:pt x="96" y="12"/>
                    </a:cubicBezTo>
                    <a:cubicBezTo>
                      <a:pt x="72" y="12"/>
                      <a:pt x="72" y="12"/>
                      <a:pt x="72" y="12"/>
                    </a:cubicBezTo>
                    <a:cubicBezTo>
                      <a:pt x="72" y="26"/>
                      <a:pt x="72" y="26"/>
                      <a:pt x="72" y="26"/>
                    </a:cubicBezTo>
                    <a:cubicBezTo>
                      <a:pt x="72" y="29"/>
                      <a:pt x="70" y="32"/>
                      <a:pt x="67" y="32"/>
                    </a:cubicBezTo>
                    <a:cubicBezTo>
                      <a:pt x="57" y="35"/>
                      <a:pt x="53" y="38"/>
                      <a:pt x="47" y="44"/>
                    </a:cubicBezTo>
                    <a:cubicBezTo>
                      <a:pt x="45" y="45"/>
                      <a:pt x="42" y="46"/>
                      <a:pt x="40" y="45"/>
                    </a:cubicBezTo>
                    <a:cubicBezTo>
                      <a:pt x="27" y="37"/>
                      <a:pt x="27" y="37"/>
                      <a:pt x="27" y="37"/>
                    </a:cubicBezTo>
                    <a:cubicBezTo>
                      <a:pt x="14" y="58"/>
                      <a:pt x="14" y="58"/>
                      <a:pt x="14" y="58"/>
                    </a:cubicBezTo>
                    <a:cubicBezTo>
                      <a:pt x="27" y="65"/>
                      <a:pt x="27" y="65"/>
                      <a:pt x="27" y="65"/>
                    </a:cubicBezTo>
                    <a:cubicBezTo>
                      <a:pt x="29" y="67"/>
                      <a:pt x="31" y="69"/>
                      <a:pt x="30" y="72"/>
                    </a:cubicBezTo>
                    <a:cubicBezTo>
                      <a:pt x="28" y="80"/>
                      <a:pt x="28" y="88"/>
                      <a:pt x="30" y="95"/>
                    </a:cubicBezTo>
                    <a:cubicBezTo>
                      <a:pt x="31" y="98"/>
                      <a:pt x="29" y="101"/>
                      <a:pt x="27" y="102"/>
                    </a:cubicBezTo>
                    <a:cubicBezTo>
                      <a:pt x="14" y="109"/>
                      <a:pt x="14" y="109"/>
                      <a:pt x="14" y="109"/>
                    </a:cubicBezTo>
                    <a:cubicBezTo>
                      <a:pt x="26" y="130"/>
                      <a:pt x="26" y="130"/>
                      <a:pt x="26" y="130"/>
                    </a:cubicBezTo>
                    <a:cubicBezTo>
                      <a:pt x="40" y="123"/>
                      <a:pt x="40" y="123"/>
                      <a:pt x="40" y="123"/>
                    </a:cubicBezTo>
                    <a:cubicBezTo>
                      <a:pt x="42" y="121"/>
                      <a:pt x="45" y="122"/>
                      <a:pt x="47" y="123"/>
                    </a:cubicBezTo>
                    <a:cubicBezTo>
                      <a:pt x="53" y="129"/>
                      <a:pt x="57" y="133"/>
                      <a:pt x="67" y="135"/>
                    </a:cubicBezTo>
                    <a:cubicBezTo>
                      <a:pt x="70" y="136"/>
                      <a:pt x="72" y="138"/>
                      <a:pt x="72" y="141"/>
                    </a:cubicBezTo>
                    <a:lnTo>
                      <a:pt x="72" y="15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72" name="Freeform 64">
                <a:extLst>
                  <a:ext uri="{FF2B5EF4-FFF2-40B4-BE49-F238E27FC236}">
                    <a16:creationId xmlns:a16="http://schemas.microsoft.com/office/drawing/2014/main" id="{C454EA82-34EB-4064-A1AB-4FF32255CF93}"/>
                  </a:ext>
                </a:extLst>
              </p:cNvPr>
              <p:cNvSpPr>
                <a:spLocks noEditPoints="1"/>
              </p:cNvSpPr>
              <p:nvPr/>
            </p:nvSpPr>
            <p:spPr bwMode="auto">
              <a:xfrm>
                <a:off x="3495207" y="5655007"/>
                <a:ext cx="100630" cy="99499"/>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sp>
          <p:nvSpPr>
            <p:cNvPr id="31" name="Rectangle 30">
              <a:extLst>
                <a:ext uri="{FF2B5EF4-FFF2-40B4-BE49-F238E27FC236}">
                  <a16:creationId xmlns:a16="http://schemas.microsoft.com/office/drawing/2014/main" id="{8A645613-53B4-4EF8-9812-5C05CCABD036}"/>
                </a:ext>
                <a:ext uri="{C183D7F6-B498-43B3-948B-1728B52AA6E4}">
                  <adec:decorative xmlns:adec="http://schemas.microsoft.com/office/drawing/2017/decorative" val="1"/>
                </a:ext>
              </a:extLst>
            </p:cNvPr>
            <p:cNvSpPr/>
            <p:nvPr userDrawn="1"/>
          </p:nvSpPr>
          <p:spPr>
            <a:xfrm>
              <a:off x="4192852" y="5128381"/>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218" name="Group 92" descr="Mobile Devices">
              <a:extLst>
                <a:ext uri="{FF2B5EF4-FFF2-40B4-BE49-F238E27FC236}">
                  <a16:creationId xmlns:a16="http://schemas.microsoft.com/office/drawing/2014/main" id="{31551495-91F7-4850-8C44-FF6CC6BB7BBD}"/>
                </a:ext>
                <a:ext uri="{C183D7F6-B498-43B3-948B-1728B52AA6E4}">
                  <adec:decorative xmlns:adec="http://schemas.microsoft.com/office/drawing/2017/decorative" val="0"/>
                </a:ext>
              </a:extLst>
            </p:cNvPr>
            <p:cNvGrpSpPr>
              <a:grpSpLocks noChangeAspect="1"/>
            </p:cNvGrpSpPr>
            <p:nvPr/>
          </p:nvGrpSpPr>
          <p:grpSpPr bwMode="auto">
            <a:xfrm>
              <a:off x="4560155" y="5528336"/>
              <a:ext cx="578644" cy="412766"/>
              <a:chOff x="341" y="1769"/>
              <a:chExt cx="450" cy="321"/>
            </a:xfrm>
            <a:solidFill>
              <a:schemeClr val="accent1"/>
            </a:solidFill>
          </p:grpSpPr>
          <p:sp>
            <p:nvSpPr>
              <p:cNvPr id="219" name="Freeform 93">
                <a:extLst>
                  <a:ext uri="{FF2B5EF4-FFF2-40B4-BE49-F238E27FC236}">
                    <a16:creationId xmlns:a16="http://schemas.microsoft.com/office/drawing/2014/main" id="{D6B7892C-0091-470E-9716-17FD9AD77165}"/>
                  </a:ext>
                </a:extLst>
              </p:cNvPr>
              <p:cNvSpPr>
                <a:spLocks noEditPoints="1"/>
              </p:cNvSpPr>
              <p:nvPr/>
            </p:nvSpPr>
            <p:spPr bwMode="auto">
              <a:xfrm>
                <a:off x="447" y="1923"/>
                <a:ext cx="101" cy="167"/>
              </a:xfrm>
              <a:custGeom>
                <a:avLst/>
                <a:gdLst>
                  <a:gd name="T0" fmla="*/ 68 w 68"/>
                  <a:gd name="T1" fmla="*/ 14 h 113"/>
                  <a:gd name="T2" fmla="*/ 54 w 68"/>
                  <a:gd name="T3" fmla="*/ 0 h 113"/>
                  <a:gd name="T4" fmla="*/ 13 w 68"/>
                  <a:gd name="T5" fmla="*/ 0 h 113"/>
                  <a:gd name="T6" fmla="*/ 0 w 68"/>
                  <a:gd name="T7" fmla="*/ 14 h 113"/>
                  <a:gd name="T8" fmla="*/ 0 w 68"/>
                  <a:gd name="T9" fmla="*/ 100 h 113"/>
                  <a:gd name="T10" fmla="*/ 13 w 68"/>
                  <a:gd name="T11" fmla="*/ 113 h 113"/>
                  <a:gd name="T12" fmla="*/ 54 w 68"/>
                  <a:gd name="T13" fmla="*/ 113 h 113"/>
                  <a:gd name="T14" fmla="*/ 68 w 68"/>
                  <a:gd name="T15" fmla="*/ 100 h 113"/>
                  <a:gd name="T16" fmla="*/ 68 w 68"/>
                  <a:gd name="T17" fmla="*/ 14 h 113"/>
                  <a:gd name="T18" fmla="*/ 58 w 68"/>
                  <a:gd name="T19" fmla="*/ 100 h 113"/>
                  <a:gd name="T20" fmla="*/ 54 w 68"/>
                  <a:gd name="T21" fmla="*/ 104 h 113"/>
                  <a:gd name="T22" fmla="*/ 13 w 68"/>
                  <a:gd name="T23" fmla="*/ 104 h 113"/>
                  <a:gd name="T24" fmla="*/ 9 w 68"/>
                  <a:gd name="T25" fmla="*/ 100 h 113"/>
                  <a:gd name="T26" fmla="*/ 9 w 68"/>
                  <a:gd name="T27" fmla="*/ 90 h 113"/>
                  <a:gd name="T28" fmla="*/ 58 w 68"/>
                  <a:gd name="T29" fmla="*/ 90 h 113"/>
                  <a:gd name="T30" fmla="*/ 58 w 68"/>
                  <a:gd name="T31" fmla="*/ 100 h 113"/>
                  <a:gd name="T32" fmla="*/ 58 w 68"/>
                  <a:gd name="T33" fmla="*/ 81 h 113"/>
                  <a:gd name="T34" fmla="*/ 9 w 68"/>
                  <a:gd name="T35" fmla="*/ 81 h 113"/>
                  <a:gd name="T36" fmla="*/ 9 w 68"/>
                  <a:gd name="T37" fmla="*/ 31 h 113"/>
                  <a:gd name="T38" fmla="*/ 58 w 68"/>
                  <a:gd name="T39" fmla="*/ 31 h 113"/>
                  <a:gd name="T40" fmla="*/ 58 w 68"/>
                  <a:gd name="T41" fmla="*/ 81 h 113"/>
                  <a:gd name="T42" fmla="*/ 58 w 68"/>
                  <a:gd name="T43" fmla="*/ 22 h 113"/>
                  <a:gd name="T44" fmla="*/ 9 w 68"/>
                  <a:gd name="T45" fmla="*/ 22 h 113"/>
                  <a:gd name="T46" fmla="*/ 9 w 68"/>
                  <a:gd name="T47" fmla="*/ 14 h 113"/>
                  <a:gd name="T48" fmla="*/ 13 w 68"/>
                  <a:gd name="T49" fmla="*/ 9 h 113"/>
                  <a:gd name="T50" fmla="*/ 54 w 68"/>
                  <a:gd name="T51" fmla="*/ 9 h 113"/>
                  <a:gd name="T52" fmla="*/ 58 w 68"/>
                  <a:gd name="T53" fmla="*/ 14 h 113"/>
                  <a:gd name="T54" fmla="*/ 58 w 68"/>
                  <a:gd name="T55" fmla="*/ 2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 h="113">
                    <a:moveTo>
                      <a:pt x="68" y="14"/>
                    </a:moveTo>
                    <a:cubicBezTo>
                      <a:pt x="68" y="6"/>
                      <a:pt x="62" y="0"/>
                      <a:pt x="54" y="0"/>
                    </a:cubicBezTo>
                    <a:cubicBezTo>
                      <a:pt x="13" y="0"/>
                      <a:pt x="13" y="0"/>
                      <a:pt x="13" y="0"/>
                    </a:cubicBezTo>
                    <a:cubicBezTo>
                      <a:pt x="6" y="0"/>
                      <a:pt x="0" y="6"/>
                      <a:pt x="0" y="14"/>
                    </a:cubicBezTo>
                    <a:cubicBezTo>
                      <a:pt x="0" y="100"/>
                      <a:pt x="0" y="100"/>
                      <a:pt x="0" y="100"/>
                    </a:cubicBezTo>
                    <a:cubicBezTo>
                      <a:pt x="0" y="107"/>
                      <a:pt x="6" y="113"/>
                      <a:pt x="13" y="113"/>
                    </a:cubicBezTo>
                    <a:cubicBezTo>
                      <a:pt x="54" y="113"/>
                      <a:pt x="54" y="113"/>
                      <a:pt x="54" y="113"/>
                    </a:cubicBezTo>
                    <a:cubicBezTo>
                      <a:pt x="62" y="113"/>
                      <a:pt x="68" y="107"/>
                      <a:pt x="68" y="100"/>
                    </a:cubicBezTo>
                    <a:lnTo>
                      <a:pt x="68" y="14"/>
                    </a:lnTo>
                    <a:close/>
                    <a:moveTo>
                      <a:pt x="58" y="100"/>
                    </a:moveTo>
                    <a:cubicBezTo>
                      <a:pt x="58" y="102"/>
                      <a:pt x="56" y="104"/>
                      <a:pt x="54" y="104"/>
                    </a:cubicBezTo>
                    <a:cubicBezTo>
                      <a:pt x="13" y="104"/>
                      <a:pt x="13" y="104"/>
                      <a:pt x="13" y="104"/>
                    </a:cubicBezTo>
                    <a:cubicBezTo>
                      <a:pt x="11" y="104"/>
                      <a:pt x="9" y="102"/>
                      <a:pt x="9" y="100"/>
                    </a:cubicBezTo>
                    <a:cubicBezTo>
                      <a:pt x="9" y="90"/>
                      <a:pt x="9" y="90"/>
                      <a:pt x="9" y="90"/>
                    </a:cubicBezTo>
                    <a:cubicBezTo>
                      <a:pt x="58" y="90"/>
                      <a:pt x="58" y="90"/>
                      <a:pt x="58" y="90"/>
                    </a:cubicBezTo>
                    <a:lnTo>
                      <a:pt x="58" y="100"/>
                    </a:lnTo>
                    <a:close/>
                    <a:moveTo>
                      <a:pt x="58" y="81"/>
                    </a:moveTo>
                    <a:cubicBezTo>
                      <a:pt x="9" y="81"/>
                      <a:pt x="9" y="81"/>
                      <a:pt x="9" y="81"/>
                    </a:cubicBezTo>
                    <a:cubicBezTo>
                      <a:pt x="9" y="31"/>
                      <a:pt x="9" y="31"/>
                      <a:pt x="9" y="31"/>
                    </a:cubicBezTo>
                    <a:cubicBezTo>
                      <a:pt x="58" y="31"/>
                      <a:pt x="58" y="31"/>
                      <a:pt x="58" y="31"/>
                    </a:cubicBezTo>
                    <a:lnTo>
                      <a:pt x="58" y="81"/>
                    </a:lnTo>
                    <a:close/>
                    <a:moveTo>
                      <a:pt x="58" y="22"/>
                    </a:moveTo>
                    <a:cubicBezTo>
                      <a:pt x="9" y="22"/>
                      <a:pt x="9" y="22"/>
                      <a:pt x="9" y="22"/>
                    </a:cubicBezTo>
                    <a:cubicBezTo>
                      <a:pt x="9" y="14"/>
                      <a:pt x="9" y="14"/>
                      <a:pt x="9" y="14"/>
                    </a:cubicBezTo>
                    <a:cubicBezTo>
                      <a:pt x="9" y="11"/>
                      <a:pt x="11" y="9"/>
                      <a:pt x="13" y="9"/>
                    </a:cubicBezTo>
                    <a:cubicBezTo>
                      <a:pt x="54" y="9"/>
                      <a:pt x="54" y="9"/>
                      <a:pt x="54" y="9"/>
                    </a:cubicBezTo>
                    <a:cubicBezTo>
                      <a:pt x="56" y="9"/>
                      <a:pt x="58" y="11"/>
                      <a:pt x="58" y="14"/>
                    </a:cubicBezTo>
                    <a:lnTo>
                      <a:pt x="58"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20" name="Freeform 94">
                <a:extLst>
                  <a:ext uri="{FF2B5EF4-FFF2-40B4-BE49-F238E27FC236}">
                    <a16:creationId xmlns:a16="http://schemas.microsoft.com/office/drawing/2014/main" id="{CFC1290C-B6B5-4AD5-8B17-68795A6F8B54}"/>
                  </a:ext>
                </a:extLst>
              </p:cNvPr>
              <p:cNvSpPr>
                <a:spLocks/>
              </p:cNvSpPr>
              <p:nvPr/>
            </p:nvSpPr>
            <p:spPr bwMode="auto">
              <a:xfrm>
                <a:off x="417" y="1806"/>
                <a:ext cx="321" cy="194"/>
              </a:xfrm>
              <a:custGeom>
                <a:avLst/>
                <a:gdLst>
                  <a:gd name="T0" fmla="*/ 217 w 217"/>
                  <a:gd name="T1" fmla="*/ 5 h 131"/>
                  <a:gd name="T2" fmla="*/ 212 w 217"/>
                  <a:gd name="T3" fmla="*/ 0 h 131"/>
                  <a:gd name="T4" fmla="*/ 5 w 217"/>
                  <a:gd name="T5" fmla="*/ 0 h 131"/>
                  <a:gd name="T6" fmla="*/ 0 w 217"/>
                  <a:gd name="T7" fmla="*/ 5 h 131"/>
                  <a:gd name="T8" fmla="*/ 0 w 217"/>
                  <a:gd name="T9" fmla="*/ 29 h 131"/>
                  <a:gd name="T10" fmla="*/ 10 w 217"/>
                  <a:gd name="T11" fmla="*/ 29 h 131"/>
                  <a:gd name="T12" fmla="*/ 10 w 217"/>
                  <a:gd name="T13" fmla="*/ 10 h 131"/>
                  <a:gd name="T14" fmla="*/ 207 w 217"/>
                  <a:gd name="T15" fmla="*/ 10 h 131"/>
                  <a:gd name="T16" fmla="*/ 207 w 217"/>
                  <a:gd name="T17" fmla="*/ 121 h 131"/>
                  <a:gd name="T18" fmla="*/ 97 w 217"/>
                  <a:gd name="T19" fmla="*/ 121 h 131"/>
                  <a:gd name="T20" fmla="*/ 97 w 217"/>
                  <a:gd name="T21" fmla="*/ 131 h 131"/>
                  <a:gd name="T22" fmla="*/ 212 w 217"/>
                  <a:gd name="T23" fmla="*/ 131 h 131"/>
                  <a:gd name="T24" fmla="*/ 217 w 217"/>
                  <a:gd name="T25" fmla="*/ 126 h 131"/>
                  <a:gd name="T26" fmla="*/ 217 w 217"/>
                  <a:gd name="T27" fmla="*/ 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7" h="131">
                    <a:moveTo>
                      <a:pt x="217" y="5"/>
                    </a:moveTo>
                    <a:cubicBezTo>
                      <a:pt x="217" y="2"/>
                      <a:pt x="215" y="0"/>
                      <a:pt x="212" y="0"/>
                    </a:cubicBezTo>
                    <a:cubicBezTo>
                      <a:pt x="5" y="0"/>
                      <a:pt x="5" y="0"/>
                      <a:pt x="5" y="0"/>
                    </a:cubicBezTo>
                    <a:cubicBezTo>
                      <a:pt x="2" y="0"/>
                      <a:pt x="0" y="2"/>
                      <a:pt x="0" y="5"/>
                    </a:cubicBezTo>
                    <a:cubicBezTo>
                      <a:pt x="0" y="29"/>
                      <a:pt x="0" y="29"/>
                      <a:pt x="0" y="29"/>
                    </a:cubicBezTo>
                    <a:cubicBezTo>
                      <a:pt x="10" y="29"/>
                      <a:pt x="10" y="29"/>
                      <a:pt x="10" y="29"/>
                    </a:cubicBezTo>
                    <a:cubicBezTo>
                      <a:pt x="10" y="10"/>
                      <a:pt x="10" y="10"/>
                      <a:pt x="10" y="10"/>
                    </a:cubicBezTo>
                    <a:cubicBezTo>
                      <a:pt x="207" y="10"/>
                      <a:pt x="207" y="10"/>
                      <a:pt x="207" y="10"/>
                    </a:cubicBezTo>
                    <a:cubicBezTo>
                      <a:pt x="207" y="121"/>
                      <a:pt x="207" y="121"/>
                      <a:pt x="207" y="121"/>
                    </a:cubicBezTo>
                    <a:cubicBezTo>
                      <a:pt x="97" y="121"/>
                      <a:pt x="97" y="121"/>
                      <a:pt x="97" y="121"/>
                    </a:cubicBezTo>
                    <a:cubicBezTo>
                      <a:pt x="97" y="131"/>
                      <a:pt x="97" y="131"/>
                      <a:pt x="97" y="131"/>
                    </a:cubicBezTo>
                    <a:cubicBezTo>
                      <a:pt x="212" y="131"/>
                      <a:pt x="212" y="131"/>
                      <a:pt x="212" y="131"/>
                    </a:cubicBezTo>
                    <a:cubicBezTo>
                      <a:pt x="215" y="131"/>
                      <a:pt x="217" y="129"/>
                      <a:pt x="217" y="126"/>
                    </a:cubicBezTo>
                    <a:lnTo>
                      <a:pt x="21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21" name="Freeform 95">
                <a:extLst>
                  <a:ext uri="{FF2B5EF4-FFF2-40B4-BE49-F238E27FC236}">
                    <a16:creationId xmlns:a16="http://schemas.microsoft.com/office/drawing/2014/main" id="{E79FFB76-7783-47FB-AA00-041C75EA4DC5}"/>
                  </a:ext>
                </a:extLst>
              </p:cNvPr>
              <p:cNvSpPr>
                <a:spLocks/>
              </p:cNvSpPr>
              <p:nvPr/>
            </p:nvSpPr>
            <p:spPr bwMode="auto">
              <a:xfrm>
                <a:off x="382" y="1769"/>
                <a:ext cx="409" cy="321"/>
              </a:xfrm>
              <a:custGeom>
                <a:avLst/>
                <a:gdLst>
                  <a:gd name="T0" fmla="*/ 272 w 277"/>
                  <a:gd name="T1" fmla="*/ 171 h 217"/>
                  <a:gd name="T2" fmla="*/ 265 w 277"/>
                  <a:gd name="T3" fmla="*/ 171 h 217"/>
                  <a:gd name="T4" fmla="*/ 265 w 277"/>
                  <a:gd name="T5" fmla="*/ 24 h 217"/>
                  <a:gd name="T6" fmla="*/ 242 w 277"/>
                  <a:gd name="T7" fmla="*/ 0 h 217"/>
                  <a:gd name="T8" fmla="*/ 23 w 277"/>
                  <a:gd name="T9" fmla="*/ 0 h 217"/>
                  <a:gd name="T10" fmla="*/ 0 w 277"/>
                  <a:gd name="T11" fmla="*/ 24 h 217"/>
                  <a:gd name="T12" fmla="*/ 0 w 277"/>
                  <a:gd name="T13" fmla="*/ 54 h 217"/>
                  <a:gd name="T14" fmla="*/ 10 w 277"/>
                  <a:gd name="T15" fmla="*/ 54 h 217"/>
                  <a:gd name="T16" fmla="*/ 10 w 277"/>
                  <a:gd name="T17" fmla="*/ 24 h 217"/>
                  <a:gd name="T18" fmla="*/ 23 w 277"/>
                  <a:gd name="T19" fmla="*/ 10 h 217"/>
                  <a:gd name="T20" fmla="*/ 242 w 277"/>
                  <a:gd name="T21" fmla="*/ 10 h 217"/>
                  <a:gd name="T22" fmla="*/ 255 w 277"/>
                  <a:gd name="T23" fmla="*/ 24 h 217"/>
                  <a:gd name="T24" fmla="*/ 255 w 277"/>
                  <a:gd name="T25" fmla="*/ 171 h 217"/>
                  <a:gd name="T26" fmla="*/ 163 w 277"/>
                  <a:gd name="T27" fmla="*/ 171 h 217"/>
                  <a:gd name="T28" fmla="*/ 158 w 277"/>
                  <a:gd name="T29" fmla="*/ 176 h 217"/>
                  <a:gd name="T30" fmla="*/ 158 w 277"/>
                  <a:gd name="T31" fmla="*/ 183 h 217"/>
                  <a:gd name="T32" fmla="*/ 121 w 277"/>
                  <a:gd name="T33" fmla="*/ 183 h 217"/>
                  <a:gd name="T34" fmla="*/ 121 w 277"/>
                  <a:gd name="T35" fmla="*/ 193 h 217"/>
                  <a:gd name="T36" fmla="*/ 163 w 277"/>
                  <a:gd name="T37" fmla="*/ 193 h 217"/>
                  <a:gd name="T38" fmla="*/ 168 w 277"/>
                  <a:gd name="T39" fmla="*/ 188 h 217"/>
                  <a:gd name="T40" fmla="*/ 168 w 277"/>
                  <a:gd name="T41" fmla="*/ 181 h 217"/>
                  <a:gd name="T42" fmla="*/ 267 w 277"/>
                  <a:gd name="T43" fmla="*/ 181 h 217"/>
                  <a:gd name="T44" fmla="*/ 267 w 277"/>
                  <a:gd name="T45" fmla="*/ 200 h 217"/>
                  <a:gd name="T46" fmla="*/ 260 w 277"/>
                  <a:gd name="T47" fmla="*/ 207 h 217"/>
                  <a:gd name="T48" fmla="*/ 121 w 277"/>
                  <a:gd name="T49" fmla="*/ 207 h 217"/>
                  <a:gd name="T50" fmla="*/ 121 w 277"/>
                  <a:gd name="T51" fmla="*/ 208 h 217"/>
                  <a:gd name="T52" fmla="*/ 117 w 277"/>
                  <a:gd name="T53" fmla="*/ 216 h 217"/>
                  <a:gd name="T54" fmla="*/ 116 w 277"/>
                  <a:gd name="T55" fmla="*/ 217 h 217"/>
                  <a:gd name="T56" fmla="*/ 260 w 277"/>
                  <a:gd name="T57" fmla="*/ 217 h 217"/>
                  <a:gd name="T58" fmla="*/ 277 w 277"/>
                  <a:gd name="T59" fmla="*/ 200 h 217"/>
                  <a:gd name="T60" fmla="*/ 277 w 277"/>
                  <a:gd name="T61" fmla="*/ 176 h 217"/>
                  <a:gd name="T62" fmla="*/ 272 w 277"/>
                  <a:gd name="T63" fmla="*/ 17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217">
                    <a:moveTo>
                      <a:pt x="272" y="171"/>
                    </a:moveTo>
                    <a:cubicBezTo>
                      <a:pt x="265" y="171"/>
                      <a:pt x="265" y="171"/>
                      <a:pt x="265" y="171"/>
                    </a:cubicBezTo>
                    <a:cubicBezTo>
                      <a:pt x="265" y="24"/>
                      <a:pt x="265" y="24"/>
                      <a:pt x="265" y="24"/>
                    </a:cubicBezTo>
                    <a:cubicBezTo>
                      <a:pt x="265" y="11"/>
                      <a:pt x="255" y="0"/>
                      <a:pt x="242" y="0"/>
                    </a:cubicBezTo>
                    <a:cubicBezTo>
                      <a:pt x="23" y="0"/>
                      <a:pt x="23" y="0"/>
                      <a:pt x="23" y="0"/>
                    </a:cubicBezTo>
                    <a:cubicBezTo>
                      <a:pt x="10" y="0"/>
                      <a:pt x="0" y="11"/>
                      <a:pt x="0" y="24"/>
                    </a:cubicBezTo>
                    <a:cubicBezTo>
                      <a:pt x="0" y="54"/>
                      <a:pt x="0" y="54"/>
                      <a:pt x="0" y="54"/>
                    </a:cubicBezTo>
                    <a:cubicBezTo>
                      <a:pt x="10" y="54"/>
                      <a:pt x="10" y="54"/>
                      <a:pt x="10" y="54"/>
                    </a:cubicBezTo>
                    <a:cubicBezTo>
                      <a:pt x="10" y="24"/>
                      <a:pt x="10" y="24"/>
                      <a:pt x="10" y="24"/>
                    </a:cubicBezTo>
                    <a:cubicBezTo>
                      <a:pt x="10" y="16"/>
                      <a:pt x="16" y="10"/>
                      <a:pt x="23" y="10"/>
                    </a:cubicBezTo>
                    <a:cubicBezTo>
                      <a:pt x="242" y="10"/>
                      <a:pt x="242" y="10"/>
                      <a:pt x="242" y="10"/>
                    </a:cubicBezTo>
                    <a:cubicBezTo>
                      <a:pt x="249" y="10"/>
                      <a:pt x="255" y="16"/>
                      <a:pt x="255" y="24"/>
                    </a:cubicBezTo>
                    <a:cubicBezTo>
                      <a:pt x="255" y="171"/>
                      <a:pt x="255" y="171"/>
                      <a:pt x="255" y="171"/>
                    </a:cubicBezTo>
                    <a:cubicBezTo>
                      <a:pt x="163" y="171"/>
                      <a:pt x="163" y="171"/>
                      <a:pt x="163" y="171"/>
                    </a:cubicBezTo>
                    <a:cubicBezTo>
                      <a:pt x="160" y="171"/>
                      <a:pt x="158" y="173"/>
                      <a:pt x="158" y="176"/>
                    </a:cubicBezTo>
                    <a:cubicBezTo>
                      <a:pt x="158" y="183"/>
                      <a:pt x="158" y="183"/>
                      <a:pt x="158" y="183"/>
                    </a:cubicBezTo>
                    <a:cubicBezTo>
                      <a:pt x="121" y="183"/>
                      <a:pt x="121" y="183"/>
                      <a:pt x="121" y="183"/>
                    </a:cubicBezTo>
                    <a:cubicBezTo>
                      <a:pt x="121" y="193"/>
                      <a:pt x="121" y="193"/>
                      <a:pt x="121" y="193"/>
                    </a:cubicBezTo>
                    <a:cubicBezTo>
                      <a:pt x="163" y="193"/>
                      <a:pt x="163" y="193"/>
                      <a:pt x="163" y="193"/>
                    </a:cubicBezTo>
                    <a:cubicBezTo>
                      <a:pt x="166" y="193"/>
                      <a:pt x="168" y="191"/>
                      <a:pt x="168" y="188"/>
                    </a:cubicBezTo>
                    <a:cubicBezTo>
                      <a:pt x="168" y="181"/>
                      <a:pt x="168" y="181"/>
                      <a:pt x="168" y="181"/>
                    </a:cubicBezTo>
                    <a:cubicBezTo>
                      <a:pt x="267" y="181"/>
                      <a:pt x="267" y="181"/>
                      <a:pt x="267" y="181"/>
                    </a:cubicBezTo>
                    <a:cubicBezTo>
                      <a:pt x="267" y="200"/>
                      <a:pt x="267" y="200"/>
                      <a:pt x="267" y="200"/>
                    </a:cubicBezTo>
                    <a:cubicBezTo>
                      <a:pt x="267" y="204"/>
                      <a:pt x="264" y="207"/>
                      <a:pt x="260" y="207"/>
                    </a:cubicBezTo>
                    <a:cubicBezTo>
                      <a:pt x="121" y="207"/>
                      <a:pt x="121" y="207"/>
                      <a:pt x="121" y="207"/>
                    </a:cubicBezTo>
                    <a:cubicBezTo>
                      <a:pt x="121" y="208"/>
                      <a:pt x="121" y="208"/>
                      <a:pt x="121" y="208"/>
                    </a:cubicBezTo>
                    <a:cubicBezTo>
                      <a:pt x="120" y="211"/>
                      <a:pt x="119" y="213"/>
                      <a:pt x="117" y="216"/>
                    </a:cubicBezTo>
                    <a:cubicBezTo>
                      <a:pt x="116" y="217"/>
                      <a:pt x="116" y="217"/>
                      <a:pt x="116" y="217"/>
                    </a:cubicBezTo>
                    <a:cubicBezTo>
                      <a:pt x="260" y="217"/>
                      <a:pt x="260" y="217"/>
                      <a:pt x="260" y="217"/>
                    </a:cubicBezTo>
                    <a:cubicBezTo>
                      <a:pt x="270" y="217"/>
                      <a:pt x="277" y="209"/>
                      <a:pt x="277" y="200"/>
                    </a:cubicBezTo>
                    <a:cubicBezTo>
                      <a:pt x="277" y="176"/>
                      <a:pt x="277" y="176"/>
                      <a:pt x="277" y="176"/>
                    </a:cubicBezTo>
                    <a:cubicBezTo>
                      <a:pt x="277" y="173"/>
                      <a:pt x="275" y="171"/>
                      <a:pt x="272"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22" name="Freeform 96">
                <a:extLst>
                  <a:ext uri="{FF2B5EF4-FFF2-40B4-BE49-F238E27FC236}">
                    <a16:creationId xmlns:a16="http://schemas.microsoft.com/office/drawing/2014/main" id="{56A09C92-C3CC-4564-A99F-FAF33EAD5AE2}"/>
                  </a:ext>
                </a:extLst>
              </p:cNvPr>
              <p:cNvSpPr>
                <a:spLocks/>
              </p:cNvSpPr>
              <p:nvPr/>
            </p:nvSpPr>
            <p:spPr bwMode="auto">
              <a:xfrm>
                <a:off x="369" y="1895"/>
                <a:ext cx="115" cy="154"/>
              </a:xfrm>
              <a:custGeom>
                <a:avLst/>
                <a:gdLst>
                  <a:gd name="T0" fmla="*/ 78 w 78"/>
                  <a:gd name="T1" fmla="*/ 9 h 104"/>
                  <a:gd name="T2" fmla="*/ 78 w 78"/>
                  <a:gd name="T3" fmla="*/ 5 h 104"/>
                  <a:gd name="T4" fmla="*/ 73 w 78"/>
                  <a:gd name="T5" fmla="*/ 0 h 104"/>
                  <a:gd name="T6" fmla="*/ 5 w 78"/>
                  <a:gd name="T7" fmla="*/ 0 h 104"/>
                  <a:gd name="T8" fmla="*/ 0 w 78"/>
                  <a:gd name="T9" fmla="*/ 5 h 104"/>
                  <a:gd name="T10" fmla="*/ 0 w 78"/>
                  <a:gd name="T11" fmla="*/ 100 h 104"/>
                  <a:gd name="T12" fmla="*/ 5 w 78"/>
                  <a:gd name="T13" fmla="*/ 104 h 104"/>
                  <a:gd name="T14" fmla="*/ 43 w 78"/>
                  <a:gd name="T15" fmla="*/ 104 h 104"/>
                  <a:gd name="T16" fmla="*/ 43 w 78"/>
                  <a:gd name="T17" fmla="*/ 95 h 104"/>
                  <a:gd name="T18" fmla="*/ 10 w 78"/>
                  <a:gd name="T19" fmla="*/ 95 h 104"/>
                  <a:gd name="T20" fmla="*/ 10 w 78"/>
                  <a:gd name="T21" fmla="*/ 9 h 104"/>
                  <a:gd name="T22" fmla="*/ 78 w 78"/>
                  <a:gd name="T23" fmla="*/ 9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04">
                    <a:moveTo>
                      <a:pt x="78" y="9"/>
                    </a:moveTo>
                    <a:cubicBezTo>
                      <a:pt x="78" y="5"/>
                      <a:pt x="78" y="5"/>
                      <a:pt x="78" y="5"/>
                    </a:cubicBezTo>
                    <a:cubicBezTo>
                      <a:pt x="78" y="2"/>
                      <a:pt x="76" y="0"/>
                      <a:pt x="73" y="0"/>
                    </a:cubicBezTo>
                    <a:cubicBezTo>
                      <a:pt x="5" y="0"/>
                      <a:pt x="5" y="0"/>
                      <a:pt x="5" y="0"/>
                    </a:cubicBezTo>
                    <a:cubicBezTo>
                      <a:pt x="3" y="0"/>
                      <a:pt x="0" y="2"/>
                      <a:pt x="0" y="5"/>
                    </a:cubicBezTo>
                    <a:cubicBezTo>
                      <a:pt x="0" y="100"/>
                      <a:pt x="0" y="100"/>
                      <a:pt x="0" y="100"/>
                    </a:cubicBezTo>
                    <a:cubicBezTo>
                      <a:pt x="0" y="102"/>
                      <a:pt x="3" y="104"/>
                      <a:pt x="5" y="104"/>
                    </a:cubicBezTo>
                    <a:cubicBezTo>
                      <a:pt x="43" y="104"/>
                      <a:pt x="43" y="104"/>
                      <a:pt x="43" y="104"/>
                    </a:cubicBezTo>
                    <a:cubicBezTo>
                      <a:pt x="43" y="95"/>
                      <a:pt x="43" y="95"/>
                      <a:pt x="43" y="95"/>
                    </a:cubicBezTo>
                    <a:cubicBezTo>
                      <a:pt x="10" y="95"/>
                      <a:pt x="10" y="95"/>
                      <a:pt x="10" y="95"/>
                    </a:cubicBezTo>
                    <a:cubicBezTo>
                      <a:pt x="10" y="9"/>
                      <a:pt x="10" y="9"/>
                      <a:pt x="10" y="9"/>
                    </a:cubicBezTo>
                    <a:lnTo>
                      <a:pt x="78"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23" name="Freeform 97">
                <a:extLst>
                  <a:ext uri="{FF2B5EF4-FFF2-40B4-BE49-F238E27FC236}">
                    <a16:creationId xmlns:a16="http://schemas.microsoft.com/office/drawing/2014/main" id="{E47FD78C-CD63-4CEB-9228-FAE26BED1126}"/>
                  </a:ext>
                </a:extLst>
              </p:cNvPr>
              <p:cNvSpPr>
                <a:spLocks/>
              </p:cNvSpPr>
              <p:nvPr/>
            </p:nvSpPr>
            <p:spPr bwMode="auto">
              <a:xfrm>
                <a:off x="341" y="1864"/>
                <a:ext cx="171" cy="226"/>
              </a:xfrm>
              <a:custGeom>
                <a:avLst/>
                <a:gdLst>
                  <a:gd name="T0" fmla="*/ 99 w 116"/>
                  <a:gd name="T1" fmla="*/ 9 h 153"/>
                  <a:gd name="T2" fmla="*/ 106 w 116"/>
                  <a:gd name="T3" fmla="*/ 17 h 153"/>
                  <a:gd name="T4" fmla="*/ 106 w 116"/>
                  <a:gd name="T5" fmla="*/ 31 h 153"/>
                  <a:gd name="T6" fmla="*/ 116 w 116"/>
                  <a:gd name="T7" fmla="*/ 31 h 153"/>
                  <a:gd name="T8" fmla="*/ 116 w 116"/>
                  <a:gd name="T9" fmla="*/ 17 h 153"/>
                  <a:gd name="T10" fmla="*/ 99 w 116"/>
                  <a:gd name="T11" fmla="*/ 0 h 153"/>
                  <a:gd name="T12" fmla="*/ 17 w 116"/>
                  <a:gd name="T13" fmla="*/ 0 h 153"/>
                  <a:gd name="T14" fmla="*/ 0 w 116"/>
                  <a:gd name="T15" fmla="*/ 17 h 153"/>
                  <a:gd name="T16" fmla="*/ 0 w 116"/>
                  <a:gd name="T17" fmla="*/ 136 h 153"/>
                  <a:gd name="T18" fmla="*/ 17 w 116"/>
                  <a:gd name="T19" fmla="*/ 153 h 153"/>
                  <a:gd name="T20" fmla="*/ 68 w 116"/>
                  <a:gd name="T21" fmla="*/ 153 h 153"/>
                  <a:gd name="T22" fmla="*/ 67 w 116"/>
                  <a:gd name="T23" fmla="*/ 152 h 153"/>
                  <a:gd name="T24" fmla="*/ 63 w 116"/>
                  <a:gd name="T25" fmla="*/ 144 h 153"/>
                  <a:gd name="T26" fmla="*/ 63 w 116"/>
                  <a:gd name="T27" fmla="*/ 144 h 153"/>
                  <a:gd name="T28" fmla="*/ 17 w 116"/>
                  <a:gd name="T29" fmla="*/ 144 h 153"/>
                  <a:gd name="T30" fmla="*/ 10 w 116"/>
                  <a:gd name="T31" fmla="*/ 136 h 153"/>
                  <a:gd name="T32" fmla="*/ 10 w 116"/>
                  <a:gd name="T33" fmla="*/ 17 h 153"/>
                  <a:gd name="T34" fmla="*/ 17 w 116"/>
                  <a:gd name="T35" fmla="*/ 9 h 153"/>
                  <a:gd name="T36" fmla="*/ 99 w 116"/>
                  <a:gd name="T37" fmla="*/ 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153">
                    <a:moveTo>
                      <a:pt x="99" y="9"/>
                    </a:moveTo>
                    <a:cubicBezTo>
                      <a:pt x="103" y="9"/>
                      <a:pt x="106" y="13"/>
                      <a:pt x="106" y="17"/>
                    </a:cubicBezTo>
                    <a:cubicBezTo>
                      <a:pt x="106" y="31"/>
                      <a:pt x="106" y="31"/>
                      <a:pt x="106" y="31"/>
                    </a:cubicBezTo>
                    <a:cubicBezTo>
                      <a:pt x="116" y="31"/>
                      <a:pt x="116" y="31"/>
                      <a:pt x="116" y="31"/>
                    </a:cubicBezTo>
                    <a:cubicBezTo>
                      <a:pt x="116" y="17"/>
                      <a:pt x="116" y="17"/>
                      <a:pt x="116" y="17"/>
                    </a:cubicBezTo>
                    <a:cubicBezTo>
                      <a:pt x="116" y="7"/>
                      <a:pt x="108" y="0"/>
                      <a:pt x="99" y="0"/>
                    </a:cubicBezTo>
                    <a:cubicBezTo>
                      <a:pt x="17" y="0"/>
                      <a:pt x="17" y="0"/>
                      <a:pt x="17" y="0"/>
                    </a:cubicBezTo>
                    <a:cubicBezTo>
                      <a:pt x="8" y="0"/>
                      <a:pt x="0" y="7"/>
                      <a:pt x="0" y="17"/>
                    </a:cubicBezTo>
                    <a:cubicBezTo>
                      <a:pt x="0" y="136"/>
                      <a:pt x="0" y="136"/>
                      <a:pt x="0" y="136"/>
                    </a:cubicBezTo>
                    <a:cubicBezTo>
                      <a:pt x="0" y="145"/>
                      <a:pt x="8" y="153"/>
                      <a:pt x="17" y="153"/>
                    </a:cubicBezTo>
                    <a:cubicBezTo>
                      <a:pt x="68" y="153"/>
                      <a:pt x="68" y="153"/>
                      <a:pt x="68" y="153"/>
                    </a:cubicBezTo>
                    <a:cubicBezTo>
                      <a:pt x="67" y="152"/>
                      <a:pt x="67" y="152"/>
                      <a:pt x="67" y="152"/>
                    </a:cubicBezTo>
                    <a:cubicBezTo>
                      <a:pt x="65" y="150"/>
                      <a:pt x="64" y="147"/>
                      <a:pt x="63" y="144"/>
                    </a:cubicBezTo>
                    <a:cubicBezTo>
                      <a:pt x="63" y="144"/>
                      <a:pt x="63" y="144"/>
                      <a:pt x="63" y="144"/>
                    </a:cubicBezTo>
                    <a:cubicBezTo>
                      <a:pt x="17" y="144"/>
                      <a:pt x="17" y="144"/>
                      <a:pt x="17" y="144"/>
                    </a:cubicBezTo>
                    <a:cubicBezTo>
                      <a:pt x="13" y="144"/>
                      <a:pt x="10" y="140"/>
                      <a:pt x="10" y="136"/>
                    </a:cubicBezTo>
                    <a:cubicBezTo>
                      <a:pt x="10" y="17"/>
                      <a:pt x="10" y="17"/>
                      <a:pt x="10" y="17"/>
                    </a:cubicBezTo>
                    <a:cubicBezTo>
                      <a:pt x="10" y="13"/>
                      <a:pt x="13" y="9"/>
                      <a:pt x="17" y="9"/>
                    </a:cubicBezTo>
                    <a:lnTo>
                      <a:pt x="9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24" name="Oval 98">
                <a:extLst>
                  <a:ext uri="{FF2B5EF4-FFF2-40B4-BE49-F238E27FC236}">
                    <a16:creationId xmlns:a16="http://schemas.microsoft.com/office/drawing/2014/main" id="{973FB03F-0678-4C2E-9663-D77855960607}"/>
                  </a:ext>
                </a:extLst>
              </p:cNvPr>
              <p:cNvSpPr>
                <a:spLocks noChangeArrowheads="1"/>
              </p:cNvSpPr>
              <p:nvPr/>
            </p:nvSpPr>
            <p:spPr bwMode="auto">
              <a:xfrm>
                <a:off x="490" y="2059"/>
                <a:ext cx="13"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25" name="Oval 99">
                <a:extLst>
                  <a:ext uri="{FF2B5EF4-FFF2-40B4-BE49-F238E27FC236}">
                    <a16:creationId xmlns:a16="http://schemas.microsoft.com/office/drawing/2014/main" id="{F0CB4A53-1444-44E0-A00F-2647C036DB81}"/>
                  </a:ext>
                </a:extLst>
              </p:cNvPr>
              <p:cNvSpPr>
                <a:spLocks noChangeArrowheads="1"/>
              </p:cNvSpPr>
              <p:nvPr/>
            </p:nvSpPr>
            <p:spPr bwMode="auto">
              <a:xfrm>
                <a:off x="422" y="1882"/>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26" name="Oval 100">
                <a:extLst>
                  <a:ext uri="{FF2B5EF4-FFF2-40B4-BE49-F238E27FC236}">
                    <a16:creationId xmlns:a16="http://schemas.microsoft.com/office/drawing/2014/main" id="{930EED71-ADBB-4BD5-88EC-F7E148BD094E}"/>
                  </a:ext>
                </a:extLst>
              </p:cNvPr>
              <p:cNvSpPr>
                <a:spLocks noChangeArrowheads="1"/>
              </p:cNvSpPr>
              <p:nvPr/>
            </p:nvSpPr>
            <p:spPr bwMode="auto">
              <a:xfrm>
                <a:off x="417" y="2053"/>
                <a:ext cx="18"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227" name="Group 4" descr="App Windows">
              <a:extLst>
                <a:ext uri="{FF2B5EF4-FFF2-40B4-BE49-F238E27FC236}">
                  <a16:creationId xmlns:a16="http://schemas.microsoft.com/office/drawing/2014/main" id="{B0542C43-B2E7-4665-AAF0-5783790D5A86}"/>
                </a:ext>
                <a:ext uri="{C183D7F6-B498-43B3-948B-1728B52AA6E4}">
                  <adec:decorative xmlns:adec="http://schemas.microsoft.com/office/drawing/2017/decorative" val="0"/>
                </a:ext>
              </a:extLst>
            </p:cNvPr>
            <p:cNvGrpSpPr>
              <a:grpSpLocks noChangeAspect="1"/>
            </p:cNvGrpSpPr>
            <p:nvPr/>
          </p:nvGrpSpPr>
          <p:grpSpPr bwMode="auto">
            <a:xfrm>
              <a:off x="5877270" y="5532782"/>
              <a:ext cx="484650" cy="403874"/>
              <a:chOff x="348" y="472"/>
              <a:chExt cx="426" cy="355"/>
            </a:xfrm>
            <a:solidFill>
              <a:schemeClr val="accent1"/>
            </a:solidFill>
          </p:grpSpPr>
          <p:sp>
            <p:nvSpPr>
              <p:cNvPr id="228" name="Freeform 5">
                <a:extLst>
                  <a:ext uri="{FF2B5EF4-FFF2-40B4-BE49-F238E27FC236}">
                    <a16:creationId xmlns:a16="http://schemas.microsoft.com/office/drawing/2014/main" id="{3C0739C8-97F0-4DE4-BBDF-A5F433F4570D}"/>
                  </a:ext>
                </a:extLst>
              </p:cNvPr>
              <p:cNvSpPr>
                <a:spLocks/>
              </p:cNvSpPr>
              <p:nvPr/>
            </p:nvSpPr>
            <p:spPr bwMode="auto">
              <a:xfrm>
                <a:off x="348" y="543"/>
                <a:ext cx="373" cy="18"/>
              </a:xfrm>
              <a:custGeom>
                <a:avLst/>
                <a:gdLst>
                  <a:gd name="T0" fmla="*/ 246 w 252"/>
                  <a:gd name="T1" fmla="*/ 12 h 12"/>
                  <a:gd name="T2" fmla="*/ 6 w 252"/>
                  <a:gd name="T3" fmla="*/ 12 h 12"/>
                  <a:gd name="T4" fmla="*/ 0 w 252"/>
                  <a:gd name="T5" fmla="*/ 6 h 12"/>
                  <a:gd name="T6" fmla="*/ 6 w 252"/>
                  <a:gd name="T7" fmla="*/ 0 h 12"/>
                  <a:gd name="T8" fmla="*/ 246 w 252"/>
                  <a:gd name="T9" fmla="*/ 0 h 12"/>
                  <a:gd name="T10" fmla="*/ 252 w 252"/>
                  <a:gd name="T11" fmla="*/ 6 h 12"/>
                  <a:gd name="T12" fmla="*/ 246 w 25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52" h="12">
                    <a:moveTo>
                      <a:pt x="246" y="12"/>
                    </a:moveTo>
                    <a:cubicBezTo>
                      <a:pt x="6" y="12"/>
                      <a:pt x="6" y="12"/>
                      <a:pt x="6" y="12"/>
                    </a:cubicBezTo>
                    <a:cubicBezTo>
                      <a:pt x="3" y="12"/>
                      <a:pt x="0" y="9"/>
                      <a:pt x="0" y="6"/>
                    </a:cubicBezTo>
                    <a:cubicBezTo>
                      <a:pt x="0" y="3"/>
                      <a:pt x="3" y="0"/>
                      <a:pt x="6" y="0"/>
                    </a:cubicBezTo>
                    <a:cubicBezTo>
                      <a:pt x="246" y="0"/>
                      <a:pt x="246" y="0"/>
                      <a:pt x="246" y="0"/>
                    </a:cubicBezTo>
                    <a:cubicBezTo>
                      <a:pt x="250" y="0"/>
                      <a:pt x="252" y="3"/>
                      <a:pt x="252" y="6"/>
                    </a:cubicBezTo>
                    <a:cubicBezTo>
                      <a:pt x="252" y="9"/>
                      <a:pt x="250" y="12"/>
                      <a:pt x="24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29" name="Oval 6">
                <a:extLst>
                  <a:ext uri="{FF2B5EF4-FFF2-40B4-BE49-F238E27FC236}">
                    <a16:creationId xmlns:a16="http://schemas.microsoft.com/office/drawing/2014/main" id="{EDD38FCC-96A4-42DB-AE1F-4ECB35C4DE54}"/>
                  </a:ext>
                </a:extLst>
              </p:cNvPr>
              <p:cNvSpPr>
                <a:spLocks noChangeArrowheads="1"/>
              </p:cNvSpPr>
              <p:nvPr/>
            </p:nvSpPr>
            <p:spPr bwMode="auto">
              <a:xfrm>
                <a:off x="401" y="50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30" name="Oval 7">
                <a:extLst>
                  <a:ext uri="{FF2B5EF4-FFF2-40B4-BE49-F238E27FC236}">
                    <a16:creationId xmlns:a16="http://schemas.microsoft.com/office/drawing/2014/main" id="{0DAEFF61-6F79-41B8-AC13-CD7936FF1AE7}"/>
                  </a:ext>
                </a:extLst>
              </p:cNvPr>
              <p:cNvSpPr>
                <a:spLocks noChangeArrowheads="1"/>
              </p:cNvSpPr>
              <p:nvPr/>
            </p:nvSpPr>
            <p:spPr bwMode="auto">
              <a:xfrm>
                <a:off x="437" y="507"/>
                <a:ext cx="17"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31" name="Oval 8">
                <a:extLst>
                  <a:ext uri="{FF2B5EF4-FFF2-40B4-BE49-F238E27FC236}">
                    <a16:creationId xmlns:a16="http://schemas.microsoft.com/office/drawing/2014/main" id="{FC1EDE06-DED1-43CD-88C8-5A57F4A9B9E8}"/>
                  </a:ext>
                </a:extLst>
              </p:cNvPr>
              <p:cNvSpPr>
                <a:spLocks noChangeArrowheads="1"/>
              </p:cNvSpPr>
              <p:nvPr/>
            </p:nvSpPr>
            <p:spPr bwMode="auto">
              <a:xfrm>
                <a:off x="472" y="50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32" name="Freeform 9">
                <a:extLst>
                  <a:ext uri="{FF2B5EF4-FFF2-40B4-BE49-F238E27FC236}">
                    <a16:creationId xmlns:a16="http://schemas.microsoft.com/office/drawing/2014/main" id="{0DEFFA77-E730-47A4-BE10-1239873BD164}"/>
                  </a:ext>
                </a:extLst>
              </p:cNvPr>
              <p:cNvSpPr>
                <a:spLocks noEditPoints="1"/>
              </p:cNvSpPr>
              <p:nvPr/>
            </p:nvSpPr>
            <p:spPr bwMode="auto">
              <a:xfrm>
                <a:off x="348" y="472"/>
                <a:ext cx="373" cy="284"/>
              </a:xfrm>
              <a:custGeom>
                <a:avLst/>
                <a:gdLst>
                  <a:gd name="T0" fmla="*/ 222 w 252"/>
                  <a:gd name="T1" fmla="*/ 192 h 192"/>
                  <a:gd name="T2" fmla="*/ 30 w 252"/>
                  <a:gd name="T3" fmla="*/ 192 h 192"/>
                  <a:gd name="T4" fmla="*/ 0 w 252"/>
                  <a:gd name="T5" fmla="*/ 162 h 192"/>
                  <a:gd name="T6" fmla="*/ 0 w 252"/>
                  <a:gd name="T7" fmla="*/ 30 h 192"/>
                  <a:gd name="T8" fmla="*/ 30 w 252"/>
                  <a:gd name="T9" fmla="*/ 0 h 192"/>
                  <a:gd name="T10" fmla="*/ 222 w 252"/>
                  <a:gd name="T11" fmla="*/ 0 h 192"/>
                  <a:gd name="T12" fmla="*/ 252 w 252"/>
                  <a:gd name="T13" fmla="*/ 30 h 192"/>
                  <a:gd name="T14" fmla="*/ 252 w 252"/>
                  <a:gd name="T15" fmla="*/ 162 h 192"/>
                  <a:gd name="T16" fmla="*/ 222 w 252"/>
                  <a:gd name="T17" fmla="*/ 192 h 192"/>
                  <a:gd name="T18" fmla="*/ 30 w 252"/>
                  <a:gd name="T19" fmla="*/ 12 h 192"/>
                  <a:gd name="T20" fmla="*/ 12 w 252"/>
                  <a:gd name="T21" fmla="*/ 30 h 192"/>
                  <a:gd name="T22" fmla="*/ 12 w 252"/>
                  <a:gd name="T23" fmla="*/ 162 h 192"/>
                  <a:gd name="T24" fmla="*/ 30 w 252"/>
                  <a:gd name="T25" fmla="*/ 180 h 192"/>
                  <a:gd name="T26" fmla="*/ 222 w 252"/>
                  <a:gd name="T27" fmla="*/ 180 h 192"/>
                  <a:gd name="T28" fmla="*/ 240 w 252"/>
                  <a:gd name="T29" fmla="*/ 162 h 192"/>
                  <a:gd name="T30" fmla="*/ 240 w 252"/>
                  <a:gd name="T31" fmla="*/ 30 h 192"/>
                  <a:gd name="T32" fmla="*/ 222 w 252"/>
                  <a:gd name="T33" fmla="*/ 12 h 192"/>
                  <a:gd name="T34" fmla="*/ 30 w 252"/>
                  <a:gd name="T35"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192">
                    <a:moveTo>
                      <a:pt x="222" y="192"/>
                    </a:moveTo>
                    <a:cubicBezTo>
                      <a:pt x="30" y="192"/>
                      <a:pt x="30" y="192"/>
                      <a:pt x="30" y="192"/>
                    </a:cubicBezTo>
                    <a:cubicBezTo>
                      <a:pt x="14" y="192"/>
                      <a:pt x="0" y="179"/>
                      <a:pt x="0" y="162"/>
                    </a:cubicBezTo>
                    <a:cubicBezTo>
                      <a:pt x="0" y="30"/>
                      <a:pt x="0" y="30"/>
                      <a:pt x="0" y="30"/>
                    </a:cubicBezTo>
                    <a:cubicBezTo>
                      <a:pt x="0" y="13"/>
                      <a:pt x="14" y="0"/>
                      <a:pt x="30" y="0"/>
                    </a:cubicBezTo>
                    <a:cubicBezTo>
                      <a:pt x="222" y="0"/>
                      <a:pt x="222" y="0"/>
                      <a:pt x="222" y="0"/>
                    </a:cubicBezTo>
                    <a:cubicBezTo>
                      <a:pt x="239" y="0"/>
                      <a:pt x="252" y="13"/>
                      <a:pt x="252" y="30"/>
                    </a:cubicBezTo>
                    <a:cubicBezTo>
                      <a:pt x="252" y="162"/>
                      <a:pt x="252" y="162"/>
                      <a:pt x="252" y="162"/>
                    </a:cubicBezTo>
                    <a:cubicBezTo>
                      <a:pt x="252" y="179"/>
                      <a:pt x="239" y="192"/>
                      <a:pt x="222" y="192"/>
                    </a:cubicBezTo>
                    <a:close/>
                    <a:moveTo>
                      <a:pt x="30" y="12"/>
                    </a:moveTo>
                    <a:cubicBezTo>
                      <a:pt x="20" y="12"/>
                      <a:pt x="12" y="20"/>
                      <a:pt x="12" y="30"/>
                    </a:cubicBezTo>
                    <a:cubicBezTo>
                      <a:pt x="12" y="162"/>
                      <a:pt x="12" y="162"/>
                      <a:pt x="12" y="162"/>
                    </a:cubicBezTo>
                    <a:cubicBezTo>
                      <a:pt x="12" y="172"/>
                      <a:pt x="20" y="180"/>
                      <a:pt x="30" y="180"/>
                    </a:cubicBezTo>
                    <a:cubicBezTo>
                      <a:pt x="222" y="180"/>
                      <a:pt x="222" y="180"/>
                      <a:pt x="222" y="180"/>
                    </a:cubicBezTo>
                    <a:cubicBezTo>
                      <a:pt x="232" y="180"/>
                      <a:pt x="240" y="172"/>
                      <a:pt x="240" y="162"/>
                    </a:cubicBezTo>
                    <a:cubicBezTo>
                      <a:pt x="240" y="30"/>
                      <a:pt x="240" y="30"/>
                      <a:pt x="240" y="30"/>
                    </a:cubicBezTo>
                    <a:cubicBezTo>
                      <a:pt x="240" y="20"/>
                      <a:pt x="232" y="12"/>
                      <a:pt x="222"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33" name="Freeform 10">
                <a:extLst>
                  <a:ext uri="{FF2B5EF4-FFF2-40B4-BE49-F238E27FC236}">
                    <a16:creationId xmlns:a16="http://schemas.microsoft.com/office/drawing/2014/main" id="{1B5CFC5F-35E2-4239-8872-1F72687AC490}"/>
                  </a:ext>
                </a:extLst>
              </p:cNvPr>
              <p:cNvSpPr>
                <a:spLocks/>
              </p:cNvSpPr>
              <p:nvPr/>
            </p:nvSpPr>
            <p:spPr bwMode="auto">
              <a:xfrm>
                <a:off x="703" y="614"/>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34" name="Freeform 11">
                <a:extLst>
                  <a:ext uri="{FF2B5EF4-FFF2-40B4-BE49-F238E27FC236}">
                    <a16:creationId xmlns:a16="http://schemas.microsoft.com/office/drawing/2014/main" id="{6B329435-6013-4C29-9B23-DED2B8BF933F}"/>
                  </a:ext>
                </a:extLst>
              </p:cNvPr>
              <p:cNvSpPr>
                <a:spLocks/>
              </p:cNvSpPr>
              <p:nvPr/>
            </p:nvSpPr>
            <p:spPr bwMode="auto">
              <a:xfrm>
                <a:off x="401" y="543"/>
                <a:ext cx="373" cy="284"/>
              </a:xfrm>
              <a:custGeom>
                <a:avLst/>
                <a:gdLst>
                  <a:gd name="T0" fmla="*/ 222 w 252"/>
                  <a:gd name="T1" fmla="*/ 192 h 192"/>
                  <a:gd name="T2" fmla="*/ 30 w 252"/>
                  <a:gd name="T3" fmla="*/ 192 h 192"/>
                  <a:gd name="T4" fmla="*/ 0 w 252"/>
                  <a:gd name="T5" fmla="*/ 162 h 192"/>
                  <a:gd name="T6" fmla="*/ 0 w 252"/>
                  <a:gd name="T7" fmla="*/ 138 h 192"/>
                  <a:gd name="T8" fmla="*/ 6 w 252"/>
                  <a:gd name="T9" fmla="*/ 132 h 192"/>
                  <a:gd name="T10" fmla="*/ 12 w 252"/>
                  <a:gd name="T11" fmla="*/ 138 h 192"/>
                  <a:gd name="T12" fmla="*/ 12 w 252"/>
                  <a:gd name="T13" fmla="*/ 162 h 192"/>
                  <a:gd name="T14" fmla="*/ 30 w 252"/>
                  <a:gd name="T15" fmla="*/ 180 h 192"/>
                  <a:gd name="T16" fmla="*/ 222 w 252"/>
                  <a:gd name="T17" fmla="*/ 180 h 192"/>
                  <a:gd name="T18" fmla="*/ 240 w 252"/>
                  <a:gd name="T19" fmla="*/ 162 h 192"/>
                  <a:gd name="T20" fmla="*/ 240 w 252"/>
                  <a:gd name="T21" fmla="*/ 30 h 192"/>
                  <a:gd name="T22" fmla="*/ 222 w 252"/>
                  <a:gd name="T23" fmla="*/ 12 h 192"/>
                  <a:gd name="T24" fmla="*/ 210 w 252"/>
                  <a:gd name="T25" fmla="*/ 12 h 192"/>
                  <a:gd name="T26" fmla="*/ 204 w 252"/>
                  <a:gd name="T27" fmla="*/ 6 h 192"/>
                  <a:gd name="T28" fmla="*/ 210 w 252"/>
                  <a:gd name="T29" fmla="*/ 0 h 192"/>
                  <a:gd name="T30" fmla="*/ 222 w 252"/>
                  <a:gd name="T31" fmla="*/ 0 h 192"/>
                  <a:gd name="T32" fmla="*/ 252 w 252"/>
                  <a:gd name="T33" fmla="*/ 30 h 192"/>
                  <a:gd name="T34" fmla="*/ 252 w 252"/>
                  <a:gd name="T35" fmla="*/ 162 h 192"/>
                  <a:gd name="T36" fmla="*/ 222 w 252"/>
                  <a:gd name="T3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192">
                    <a:moveTo>
                      <a:pt x="222" y="192"/>
                    </a:moveTo>
                    <a:cubicBezTo>
                      <a:pt x="30" y="192"/>
                      <a:pt x="30" y="192"/>
                      <a:pt x="30" y="192"/>
                    </a:cubicBezTo>
                    <a:cubicBezTo>
                      <a:pt x="14" y="192"/>
                      <a:pt x="0" y="179"/>
                      <a:pt x="0" y="162"/>
                    </a:cubicBezTo>
                    <a:cubicBezTo>
                      <a:pt x="0" y="138"/>
                      <a:pt x="0" y="138"/>
                      <a:pt x="0" y="138"/>
                    </a:cubicBezTo>
                    <a:cubicBezTo>
                      <a:pt x="0" y="135"/>
                      <a:pt x="3" y="132"/>
                      <a:pt x="6" y="132"/>
                    </a:cubicBezTo>
                    <a:cubicBezTo>
                      <a:pt x="10" y="132"/>
                      <a:pt x="12" y="135"/>
                      <a:pt x="12" y="138"/>
                    </a:cubicBezTo>
                    <a:cubicBezTo>
                      <a:pt x="12" y="162"/>
                      <a:pt x="12" y="162"/>
                      <a:pt x="12" y="162"/>
                    </a:cubicBezTo>
                    <a:cubicBezTo>
                      <a:pt x="12" y="172"/>
                      <a:pt x="20" y="180"/>
                      <a:pt x="30" y="180"/>
                    </a:cubicBezTo>
                    <a:cubicBezTo>
                      <a:pt x="222" y="180"/>
                      <a:pt x="222" y="180"/>
                      <a:pt x="222" y="180"/>
                    </a:cubicBezTo>
                    <a:cubicBezTo>
                      <a:pt x="232" y="180"/>
                      <a:pt x="240" y="172"/>
                      <a:pt x="240" y="162"/>
                    </a:cubicBezTo>
                    <a:cubicBezTo>
                      <a:pt x="240" y="30"/>
                      <a:pt x="240" y="30"/>
                      <a:pt x="240" y="30"/>
                    </a:cubicBezTo>
                    <a:cubicBezTo>
                      <a:pt x="240" y="20"/>
                      <a:pt x="232" y="12"/>
                      <a:pt x="222" y="12"/>
                    </a:cubicBezTo>
                    <a:cubicBezTo>
                      <a:pt x="210" y="12"/>
                      <a:pt x="210" y="12"/>
                      <a:pt x="210" y="12"/>
                    </a:cubicBezTo>
                    <a:cubicBezTo>
                      <a:pt x="207" y="12"/>
                      <a:pt x="204" y="9"/>
                      <a:pt x="204" y="6"/>
                    </a:cubicBezTo>
                    <a:cubicBezTo>
                      <a:pt x="204" y="3"/>
                      <a:pt x="207" y="0"/>
                      <a:pt x="210" y="0"/>
                    </a:cubicBezTo>
                    <a:cubicBezTo>
                      <a:pt x="222" y="0"/>
                      <a:pt x="222" y="0"/>
                      <a:pt x="222" y="0"/>
                    </a:cubicBezTo>
                    <a:cubicBezTo>
                      <a:pt x="239" y="0"/>
                      <a:pt x="252" y="13"/>
                      <a:pt x="252" y="30"/>
                    </a:cubicBezTo>
                    <a:cubicBezTo>
                      <a:pt x="252" y="162"/>
                      <a:pt x="252" y="162"/>
                      <a:pt x="252" y="162"/>
                    </a:cubicBezTo>
                    <a:cubicBezTo>
                      <a:pt x="252" y="179"/>
                      <a:pt x="239" y="192"/>
                      <a:pt x="222"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32" name="Rectangle 31">
              <a:extLst>
                <a:ext uri="{FF2B5EF4-FFF2-40B4-BE49-F238E27FC236}">
                  <a16:creationId xmlns:a16="http://schemas.microsoft.com/office/drawing/2014/main" id="{1C9F1DE6-B1E9-4E34-99FE-96776EBA4BD2}"/>
                </a:ext>
                <a:ext uri="{C183D7F6-B498-43B3-948B-1728B52AA6E4}">
                  <adec:decorative xmlns:adec="http://schemas.microsoft.com/office/drawing/2017/decorative" val="1"/>
                </a:ext>
              </a:extLst>
            </p:cNvPr>
            <p:cNvSpPr/>
            <p:nvPr userDrawn="1"/>
          </p:nvSpPr>
          <p:spPr>
            <a:xfrm>
              <a:off x="5463471" y="5128381"/>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236" name="Group 104" descr="Touch">
              <a:extLst>
                <a:ext uri="{FF2B5EF4-FFF2-40B4-BE49-F238E27FC236}">
                  <a16:creationId xmlns:a16="http://schemas.microsoft.com/office/drawing/2014/main" id="{B7E41DD6-B293-43A8-8C0F-A90400F36F5C}"/>
                </a:ext>
                <a:ext uri="{C183D7F6-B498-43B3-948B-1728B52AA6E4}">
                  <adec:decorative xmlns:adec="http://schemas.microsoft.com/office/drawing/2017/decorative" val="0"/>
                </a:ext>
              </a:extLst>
            </p:cNvPr>
            <p:cNvGrpSpPr>
              <a:grpSpLocks noChangeAspect="1"/>
            </p:cNvGrpSpPr>
            <p:nvPr/>
          </p:nvGrpSpPr>
          <p:grpSpPr bwMode="auto">
            <a:xfrm>
              <a:off x="7207268" y="5477733"/>
              <a:ext cx="341846" cy="513972"/>
              <a:chOff x="1443" y="2997"/>
              <a:chExt cx="284" cy="427"/>
            </a:xfrm>
            <a:solidFill>
              <a:schemeClr val="accent1"/>
            </a:solidFill>
          </p:grpSpPr>
          <p:sp>
            <p:nvSpPr>
              <p:cNvPr id="237" name="Freeform 105">
                <a:extLst>
                  <a:ext uri="{FF2B5EF4-FFF2-40B4-BE49-F238E27FC236}">
                    <a16:creationId xmlns:a16="http://schemas.microsoft.com/office/drawing/2014/main" id="{EA326335-A7D5-4700-81C2-008DBCF5890F}"/>
                  </a:ext>
                </a:extLst>
              </p:cNvPr>
              <p:cNvSpPr>
                <a:spLocks noEditPoints="1"/>
              </p:cNvSpPr>
              <p:nvPr/>
            </p:nvSpPr>
            <p:spPr bwMode="auto">
              <a:xfrm>
                <a:off x="1462" y="3104"/>
                <a:ext cx="261" cy="320"/>
              </a:xfrm>
              <a:custGeom>
                <a:avLst/>
                <a:gdLst>
                  <a:gd name="T0" fmla="*/ 155 w 176"/>
                  <a:gd name="T1" fmla="*/ 216 h 216"/>
                  <a:gd name="T2" fmla="*/ 59 w 176"/>
                  <a:gd name="T3" fmla="*/ 216 h 216"/>
                  <a:gd name="T4" fmla="*/ 54 w 176"/>
                  <a:gd name="T5" fmla="*/ 213 h 216"/>
                  <a:gd name="T6" fmla="*/ 6 w 176"/>
                  <a:gd name="T7" fmla="*/ 141 h 216"/>
                  <a:gd name="T8" fmla="*/ 4 w 176"/>
                  <a:gd name="T9" fmla="*/ 116 h 216"/>
                  <a:gd name="T10" fmla="*/ 17 w 176"/>
                  <a:gd name="T11" fmla="*/ 108 h 216"/>
                  <a:gd name="T12" fmla="*/ 59 w 176"/>
                  <a:gd name="T13" fmla="*/ 137 h 216"/>
                  <a:gd name="T14" fmla="*/ 59 w 176"/>
                  <a:gd name="T15" fmla="*/ 24 h 216"/>
                  <a:gd name="T16" fmla="*/ 83 w 176"/>
                  <a:gd name="T17" fmla="*/ 0 h 216"/>
                  <a:gd name="T18" fmla="*/ 107 w 176"/>
                  <a:gd name="T19" fmla="*/ 24 h 216"/>
                  <a:gd name="T20" fmla="*/ 107 w 176"/>
                  <a:gd name="T21" fmla="*/ 92 h 216"/>
                  <a:gd name="T22" fmla="*/ 156 w 176"/>
                  <a:gd name="T23" fmla="*/ 108 h 216"/>
                  <a:gd name="T24" fmla="*/ 173 w 176"/>
                  <a:gd name="T25" fmla="*/ 145 h 216"/>
                  <a:gd name="T26" fmla="*/ 161 w 176"/>
                  <a:gd name="T27" fmla="*/ 211 h 216"/>
                  <a:gd name="T28" fmla="*/ 155 w 176"/>
                  <a:gd name="T29" fmla="*/ 216 h 216"/>
                  <a:gd name="T30" fmla="*/ 62 w 176"/>
                  <a:gd name="T31" fmla="*/ 204 h 216"/>
                  <a:gd name="T32" fmla="*/ 150 w 176"/>
                  <a:gd name="T33" fmla="*/ 204 h 216"/>
                  <a:gd name="T34" fmla="*/ 161 w 176"/>
                  <a:gd name="T35" fmla="*/ 143 h 216"/>
                  <a:gd name="T36" fmla="*/ 152 w 176"/>
                  <a:gd name="T37" fmla="*/ 120 h 216"/>
                  <a:gd name="T38" fmla="*/ 99 w 176"/>
                  <a:gd name="T39" fmla="*/ 102 h 216"/>
                  <a:gd name="T40" fmla="*/ 95 w 176"/>
                  <a:gd name="T41" fmla="*/ 96 h 216"/>
                  <a:gd name="T42" fmla="*/ 95 w 176"/>
                  <a:gd name="T43" fmla="*/ 24 h 216"/>
                  <a:gd name="T44" fmla="*/ 83 w 176"/>
                  <a:gd name="T45" fmla="*/ 12 h 216"/>
                  <a:gd name="T46" fmla="*/ 71 w 176"/>
                  <a:gd name="T47" fmla="*/ 24 h 216"/>
                  <a:gd name="T48" fmla="*/ 71 w 176"/>
                  <a:gd name="T49" fmla="*/ 156 h 216"/>
                  <a:gd name="T50" fmla="*/ 67 w 176"/>
                  <a:gd name="T51" fmla="*/ 162 h 216"/>
                  <a:gd name="T52" fmla="*/ 60 w 176"/>
                  <a:gd name="T53" fmla="*/ 159 h 216"/>
                  <a:gd name="T54" fmla="*/ 17 w 176"/>
                  <a:gd name="T55" fmla="*/ 120 h 216"/>
                  <a:gd name="T56" fmla="*/ 14 w 176"/>
                  <a:gd name="T57" fmla="*/ 121 h 216"/>
                  <a:gd name="T58" fmla="*/ 16 w 176"/>
                  <a:gd name="T59" fmla="*/ 135 h 216"/>
                  <a:gd name="T60" fmla="*/ 62 w 176"/>
                  <a:gd name="T61" fmla="*/ 20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6" h="216">
                    <a:moveTo>
                      <a:pt x="155" y="216"/>
                    </a:moveTo>
                    <a:cubicBezTo>
                      <a:pt x="59" y="216"/>
                      <a:pt x="59" y="216"/>
                      <a:pt x="59" y="216"/>
                    </a:cubicBezTo>
                    <a:cubicBezTo>
                      <a:pt x="57" y="216"/>
                      <a:pt x="55" y="215"/>
                      <a:pt x="54" y="213"/>
                    </a:cubicBezTo>
                    <a:cubicBezTo>
                      <a:pt x="6" y="141"/>
                      <a:pt x="6" y="141"/>
                      <a:pt x="6" y="141"/>
                    </a:cubicBezTo>
                    <a:cubicBezTo>
                      <a:pt x="2" y="135"/>
                      <a:pt x="0" y="124"/>
                      <a:pt x="4" y="116"/>
                    </a:cubicBezTo>
                    <a:cubicBezTo>
                      <a:pt x="6" y="111"/>
                      <a:pt x="11" y="108"/>
                      <a:pt x="17" y="108"/>
                    </a:cubicBezTo>
                    <a:cubicBezTo>
                      <a:pt x="30" y="108"/>
                      <a:pt x="42" y="113"/>
                      <a:pt x="59" y="137"/>
                    </a:cubicBezTo>
                    <a:cubicBezTo>
                      <a:pt x="59" y="24"/>
                      <a:pt x="59" y="24"/>
                      <a:pt x="59" y="24"/>
                    </a:cubicBezTo>
                    <a:cubicBezTo>
                      <a:pt x="59" y="11"/>
                      <a:pt x="70" y="0"/>
                      <a:pt x="83" y="0"/>
                    </a:cubicBezTo>
                    <a:cubicBezTo>
                      <a:pt x="96" y="0"/>
                      <a:pt x="107" y="11"/>
                      <a:pt x="107" y="24"/>
                    </a:cubicBezTo>
                    <a:cubicBezTo>
                      <a:pt x="107" y="92"/>
                      <a:pt x="107" y="92"/>
                      <a:pt x="107" y="92"/>
                    </a:cubicBezTo>
                    <a:cubicBezTo>
                      <a:pt x="156" y="108"/>
                      <a:pt x="156" y="108"/>
                      <a:pt x="156" y="108"/>
                    </a:cubicBezTo>
                    <a:cubicBezTo>
                      <a:pt x="172" y="113"/>
                      <a:pt x="176" y="131"/>
                      <a:pt x="173" y="145"/>
                    </a:cubicBezTo>
                    <a:cubicBezTo>
                      <a:pt x="161" y="211"/>
                      <a:pt x="161" y="211"/>
                      <a:pt x="161" y="211"/>
                    </a:cubicBezTo>
                    <a:cubicBezTo>
                      <a:pt x="161" y="214"/>
                      <a:pt x="158" y="216"/>
                      <a:pt x="155" y="216"/>
                    </a:cubicBezTo>
                    <a:close/>
                    <a:moveTo>
                      <a:pt x="62" y="204"/>
                    </a:moveTo>
                    <a:cubicBezTo>
                      <a:pt x="150" y="204"/>
                      <a:pt x="150" y="204"/>
                      <a:pt x="150" y="204"/>
                    </a:cubicBezTo>
                    <a:cubicBezTo>
                      <a:pt x="161" y="143"/>
                      <a:pt x="161" y="143"/>
                      <a:pt x="161" y="143"/>
                    </a:cubicBezTo>
                    <a:cubicBezTo>
                      <a:pt x="163" y="134"/>
                      <a:pt x="161" y="123"/>
                      <a:pt x="152" y="120"/>
                    </a:cubicBezTo>
                    <a:cubicBezTo>
                      <a:pt x="99" y="102"/>
                      <a:pt x="99" y="102"/>
                      <a:pt x="99" y="102"/>
                    </a:cubicBezTo>
                    <a:cubicBezTo>
                      <a:pt x="97" y="101"/>
                      <a:pt x="95" y="99"/>
                      <a:pt x="95" y="96"/>
                    </a:cubicBezTo>
                    <a:cubicBezTo>
                      <a:pt x="95" y="24"/>
                      <a:pt x="95" y="24"/>
                      <a:pt x="95" y="24"/>
                    </a:cubicBezTo>
                    <a:cubicBezTo>
                      <a:pt x="95" y="17"/>
                      <a:pt x="90" y="12"/>
                      <a:pt x="83" y="12"/>
                    </a:cubicBezTo>
                    <a:cubicBezTo>
                      <a:pt x="77" y="12"/>
                      <a:pt x="71" y="18"/>
                      <a:pt x="71" y="24"/>
                    </a:cubicBezTo>
                    <a:cubicBezTo>
                      <a:pt x="71" y="156"/>
                      <a:pt x="71" y="156"/>
                      <a:pt x="71" y="156"/>
                    </a:cubicBezTo>
                    <a:cubicBezTo>
                      <a:pt x="71" y="159"/>
                      <a:pt x="69" y="161"/>
                      <a:pt x="67" y="162"/>
                    </a:cubicBezTo>
                    <a:cubicBezTo>
                      <a:pt x="64" y="163"/>
                      <a:pt x="62" y="162"/>
                      <a:pt x="60" y="159"/>
                    </a:cubicBezTo>
                    <a:cubicBezTo>
                      <a:pt x="37" y="123"/>
                      <a:pt x="26" y="120"/>
                      <a:pt x="17" y="120"/>
                    </a:cubicBezTo>
                    <a:cubicBezTo>
                      <a:pt x="15" y="120"/>
                      <a:pt x="15" y="121"/>
                      <a:pt x="14" y="121"/>
                    </a:cubicBezTo>
                    <a:cubicBezTo>
                      <a:pt x="13" y="124"/>
                      <a:pt x="14" y="131"/>
                      <a:pt x="16" y="135"/>
                    </a:cubicBezTo>
                    <a:lnTo>
                      <a:pt x="62"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38" name="Freeform 106">
                <a:extLst>
                  <a:ext uri="{FF2B5EF4-FFF2-40B4-BE49-F238E27FC236}">
                    <a16:creationId xmlns:a16="http://schemas.microsoft.com/office/drawing/2014/main" id="{89EE94AD-3F2B-4855-A458-72678C49A643}"/>
                  </a:ext>
                </a:extLst>
              </p:cNvPr>
              <p:cNvSpPr>
                <a:spLocks/>
              </p:cNvSpPr>
              <p:nvPr/>
            </p:nvSpPr>
            <p:spPr bwMode="auto">
              <a:xfrm>
                <a:off x="1656" y="3122"/>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39" name="Freeform 107">
                <a:extLst>
                  <a:ext uri="{FF2B5EF4-FFF2-40B4-BE49-F238E27FC236}">
                    <a16:creationId xmlns:a16="http://schemas.microsoft.com/office/drawing/2014/main" id="{2113473D-18A8-4CBF-BAC3-3CD51104BFEC}"/>
                  </a:ext>
                </a:extLst>
              </p:cNvPr>
              <p:cNvSpPr>
                <a:spLocks/>
              </p:cNvSpPr>
              <p:nvPr/>
            </p:nvSpPr>
            <p:spPr bwMode="auto">
              <a:xfrm>
                <a:off x="1638" y="3031"/>
                <a:ext cx="55" cy="55"/>
              </a:xfrm>
              <a:custGeom>
                <a:avLst/>
                <a:gdLst>
                  <a:gd name="T0" fmla="*/ 6 w 37"/>
                  <a:gd name="T1" fmla="*/ 37 h 37"/>
                  <a:gd name="T2" fmla="*/ 2 w 37"/>
                  <a:gd name="T3" fmla="*/ 35 h 37"/>
                  <a:gd name="T4" fmla="*/ 2 w 37"/>
                  <a:gd name="T5" fmla="*/ 27 h 37"/>
                  <a:gd name="T6" fmla="*/ 26 w 37"/>
                  <a:gd name="T7" fmla="*/ 3 h 37"/>
                  <a:gd name="T8" fmla="*/ 34 w 37"/>
                  <a:gd name="T9" fmla="*/ 3 h 37"/>
                  <a:gd name="T10" fmla="*/ 34 w 37"/>
                  <a:gd name="T11" fmla="*/ 11 h 37"/>
                  <a:gd name="T12" fmla="*/ 10 w 37"/>
                  <a:gd name="T13" fmla="*/ 35 h 37"/>
                  <a:gd name="T14" fmla="*/ 6 w 37"/>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6" y="37"/>
                    </a:moveTo>
                    <a:cubicBezTo>
                      <a:pt x="5" y="37"/>
                      <a:pt x="3" y="36"/>
                      <a:pt x="2" y="35"/>
                    </a:cubicBezTo>
                    <a:cubicBezTo>
                      <a:pt x="0" y="33"/>
                      <a:pt x="0" y="29"/>
                      <a:pt x="2" y="27"/>
                    </a:cubicBezTo>
                    <a:cubicBezTo>
                      <a:pt x="26" y="3"/>
                      <a:pt x="26" y="3"/>
                      <a:pt x="26" y="3"/>
                    </a:cubicBezTo>
                    <a:cubicBezTo>
                      <a:pt x="28" y="0"/>
                      <a:pt x="32" y="0"/>
                      <a:pt x="34" y="3"/>
                    </a:cubicBezTo>
                    <a:cubicBezTo>
                      <a:pt x="37" y="5"/>
                      <a:pt x="37" y="9"/>
                      <a:pt x="34" y="11"/>
                    </a:cubicBezTo>
                    <a:cubicBezTo>
                      <a:pt x="10" y="35"/>
                      <a:pt x="10" y="35"/>
                      <a:pt x="10" y="35"/>
                    </a:cubicBezTo>
                    <a:cubicBezTo>
                      <a:pt x="9" y="36"/>
                      <a:pt x="8" y="37"/>
                      <a:pt x="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40" name="Freeform 108">
                <a:extLst>
                  <a:ext uri="{FF2B5EF4-FFF2-40B4-BE49-F238E27FC236}">
                    <a16:creationId xmlns:a16="http://schemas.microsoft.com/office/drawing/2014/main" id="{D357930E-5B68-4EEE-B91F-BE6FBA7EA59E}"/>
                  </a:ext>
                </a:extLst>
              </p:cNvPr>
              <p:cNvSpPr>
                <a:spLocks/>
              </p:cNvSpPr>
              <p:nvPr/>
            </p:nvSpPr>
            <p:spPr bwMode="auto">
              <a:xfrm>
                <a:off x="1585" y="2997"/>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10" y="0"/>
                      <a:pt x="12" y="3"/>
                      <a:pt x="12" y="6"/>
                    </a:cubicBezTo>
                    <a:cubicBezTo>
                      <a:pt x="12" y="42"/>
                      <a:pt x="12" y="42"/>
                      <a:pt x="12" y="42"/>
                    </a:cubicBezTo>
                    <a:cubicBezTo>
                      <a:pt x="12" y="45"/>
                      <a:pt x="10"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41" name="Freeform 109">
                <a:extLst>
                  <a:ext uri="{FF2B5EF4-FFF2-40B4-BE49-F238E27FC236}">
                    <a16:creationId xmlns:a16="http://schemas.microsoft.com/office/drawing/2014/main" id="{78183AD7-C795-4428-9C13-1B5799ABA33B}"/>
                  </a:ext>
                </a:extLst>
              </p:cNvPr>
              <p:cNvSpPr>
                <a:spLocks/>
              </p:cNvSpPr>
              <p:nvPr/>
            </p:nvSpPr>
            <p:spPr bwMode="auto">
              <a:xfrm>
                <a:off x="1478" y="3031"/>
                <a:ext cx="55" cy="55"/>
              </a:xfrm>
              <a:custGeom>
                <a:avLst/>
                <a:gdLst>
                  <a:gd name="T0" fmla="*/ 30 w 37"/>
                  <a:gd name="T1" fmla="*/ 37 h 37"/>
                  <a:gd name="T2" fmla="*/ 26 w 37"/>
                  <a:gd name="T3" fmla="*/ 35 h 37"/>
                  <a:gd name="T4" fmla="*/ 2 w 37"/>
                  <a:gd name="T5" fmla="*/ 11 h 37"/>
                  <a:gd name="T6" fmla="*/ 2 w 37"/>
                  <a:gd name="T7" fmla="*/ 3 h 37"/>
                  <a:gd name="T8" fmla="*/ 10 w 37"/>
                  <a:gd name="T9" fmla="*/ 3 h 37"/>
                  <a:gd name="T10" fmla="*/ 34 w 37"/>
                  <a:gd name="T11" fmla="*/ 27 h 37"/>
                  <a:gd name="T12" fmla="*/ 34 w 37"/>
                  <a:gd name="T13" fmla="*/ 35 h 37"/>
                  <a:gd name="T14" fmla="*/ 30 w 37"/>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30" y="37"/>
                    </a:moveTo>
                    <a:cubicBezTo>
                      <a:pt x="29" y="37"/>
                      <a:pt x="27" y="36"/>
                      <a:pt x="26" y="35"/>
                    </a:cubicBezTo>
                    <a:cubicBezTo>
                      <a:pt x="2" y="11"/>
                      <a:pt x="2" y="11"/>
                      <a:pt x="2" y="11"/>
                    </a:cubicBezTo>
                    <a:cubicBezTo>
                      <a:pt x="0" y="9"/>
                      <a:pt x="0" y="5"/>
                      <a:pt x="2" y="3"/>
                    </a:cubicBezTo>
                    <a:cubicBezTo>
                      <a:pt x="4" y="0"/>
                      <a:pt x="8" y="0"/>
                      <a:pt x="10" y="3"/>
                    </a:cubicBezTo>
                    <a:cubicBezTo>
                      <a:pt x="34" y="27"/>
                      <a:pt x="34" y="27"/>
                      <a:pt x="34" y="27"/>
                    </a:cubicBezTo>
                    <a:cubicBezTo>
                      <a:pt x="37" y="29"/>
                      <a:pt x="37" y="33"/>
                      <a:pt x="34" y="35"/>
                    </a:cubicBezTo>
                    <a:cubicBezTo>
                      <a:pt x="33" y="36"/>
                      <a:pt x="32" y="37"/>
                      <a:pt x="3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42" name="Freeform 110">
                <a:extLst>
                  <a:ext uri="{FF2B5EF4-FFF2-40B4-BE49-F238E27FC236}">
                    <a16:creationId xmlns:a16="http://schemas.microsoft.com/office/drawing/2014/main" id="{0485D232-B3BA-4EB0-AD47-E4FE5D40C11F}"/>
                  </a:ext>
                </a:extLst>
              </p:cNvPr>
              <p:cNvSpPr>
                <a:spLocks/>
              </p:cNvSpPr>
              <p:nvPr/>
            </p:nvSpPr>
            <p:spPr bwMode="auto">
              <a:xfrm>
                <a:off x="1443" y="3122"/>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sp>
          <p:nvSpPr>
            <p:cNvPr id="33" name="Rectangle 32">
              <a:extLst>
                <a:ext uri="{FF2B5EF4-FFF2-40B4-BE49-F238E27FC236}">
                  <a16:creationId xmlns:a16="http://schemas.microsoft.com/office/drawing/2014/main" id="{FF43EA61-DE9F-4398-87BF-379817D56CBD}"/>
                </a:ext>
                <a:ext uri="{C183D7F6-B498-43B3-948B-1728B52AA6E4}">
                  <adec:decorative xmlns:adec="http://schemas.microsoft.com/office/drawing/2017/decorative" val="1"/>
                </a:ext>
              </a:extLst>
            </p:cNvPr>
            <p:cNvSpPr/>
            <p:nvPr userDrawn="1"/>
          </p:nvSpPr>
          <p:spPr>
            <a:xfrm>
              <a:off x="6734088" y="5128381"/>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34" name="Rectangle 33">
              <a:extLst>
                <a:ext uri="{FF2B5EF4-FFF2-40B4-BE49-F238E27FC236}">
                  <a16:creationId xmlns:a16="http://schemas.microsoft.com/office/drawing/2014/main" id="{B641C96A-05D3-402D-B6FF-127336901625}"/>
                </a:ext>
                <a:ext uri="{C183D7F6-B498-43B3-948B-1728B52AA6E4}">
                  <adec:decorative xmlns:adec="http://schemas.microsoft.com/office/drawing/2017/decorative" val="1"/>
                </a:ext>
              </a:extLst>
            </p:cNvPr>
            <p:cNvSpPr/>
            <p:nvPr userDrawn="1"/>
          </p:nvSpPr>
          <p:spPr>
            <a:xfrm>
              <a:off x="8004706" y="5128381"/>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235" name="Freeform 132" descr="Online Learning">
              <a:extLst>
                <a:ext uri="{FF2B5EF4-FFF2-40B4-BE49-F238E27FC236}">
                  <a16:creationId xmlns:a16="http://schemas.microsoft.com/office/drawing/2014/main" id="{568B5B95-4D56-4A1C-85F3-0C757FDD7CDC}"/>
                </a:ext>
                <a:ext uri="{C183D7F6-B498-43B3-948B-1728B52AA6E4}">
                  <adec:decorative xmlns:adec="http://schemas.microsoft.com/office/drawing/2017/decorative" val="0"/>
                </a:ext>
              </a:extLst>
            </p:cNvPr>
            <p:cNvSpPr>
              <a:spLocks noEditPoints="1"/>
            </p:cNvSpPr>
            <p:nvPr/>
          </p:nvSpPr>
          <p:spPr bwMode="auto">
            <a:xfrm>
              <a:off x="8409731" y="5515535"/>
              <a:ext cx="494523" cy="438368"/>
            </a:xfrm>
            <a:custGeom>
              <a:avLst/>
              <a:gdLst>
                <a:gd name="T0" fmla="*/ 9 w 133"/>
                <a:gd name="T1" fmla="*/ 0 h 116"/>
                <a:gd name="T2" fmla="*/ 0 w 133"/>
                <a:gd name="T3" fmla="*/ 91 h 116"/>
                <a:gd name="T4" fmla="*/ 56 w 133"/>
                <a:gd name="T5" fmla="*/ 99 h 116"/>
                <a:gd name="T6" fmla="*/ 39 w 133"/>
                <a:gd name="T7" fmla="*/ 110 h 116"/>
                <a:gd name="T8" fmla="*/ 39 w 133"/>
                <a:gd name="T9" fmla="*/ 116 h 116"/>
                <a:gd name="T10" fmla="*/ 97 w 133"/>
                <a:gd name="T11" fmla="*/ 113 h 116"/>
                <a:gd name="T12" fmla="*/ 78 w 133"/>
                <a:gd name="T13" fmla="*/ 110 h 116"/>
                <a:gd name="T14" fmla="*/ 124 w 133"/>
                <a:gd name="T15" fmla="*/ 99 h 116"/>
                <a:gd name="T16" fmla="*/ 133 w 133"/>
                <a:gd name="T17" fmla="*/ 8 h 116"/>
                <a:gd name="T18" fmla="*/ 72 w 133"/>
                <a:gd name="T19" fmla="*/ 110 h 116"/>
                <a:gd name="T20" fmla="*/ 61 w 133"/>
                <a:gd name="T21" fmla="*/ 99 h 116"/>
                <a:gd name="T22" fmla="*/ 72 w 133"/>
                <a:gd name="T23" fmla="*/ 110 h 116"/>
                <a:gd name="T24" fmla="*/ 124 w 133"/>
                <a:gd name="T25" fmla="*/ 94 h 116"/>
                <a:gd name="T26" fmla="*/ 6 w 133"/>
                <a:gd name="T27" fmla="*/ 91 h 116"/>
                <a:gd name="T28" fmla="*/ 9 w 133"/>
                <a:gd name="T29" fmla="*/ 5 h 116"/>
                <a:gd name="T30" fmla="*/ 127 w 133"/>
                <a:gd name="T31" fmla="*/ 8 h 116"/>
                <a:gd name="T32" fmla="*/ 109 w 133"/>
                <a:gd name="T33" fmla="*/ 36 h 116"/>
                <a:gd name="T34" fmla="*/ 68 w 133"/>
                <a:gd name="T35" fmla="*/ 19 h 116"/>
                <a:gd name="T36" fmla="*/ 30 w 133"/>
                <a:gd name="T37" fmla="*/ 36 h 116"/>
                <a:gd name="T38" fmla="*/ 30 w 133"/>
                <a:gd name="T39" fmla="*/ 36 h 116"/>
                <a:gd name="T40" fmla="*/ 28 w 133"/>
                <a:gd name="T41" fmla="*/ 37 h 116"/>
                <a:gd name="T42" fmla="*/ 28 w 133"/>
                <a:gd name="T43" fmla="*/ 57 h 116"/>
                <a:gd name="T44" fmla="*/ 23 w 133"/>
                <a:gd name="T45" fmla="*/ 76 h 116"/>
                <a:gd name="T46" fmla="*/ 36 w 133"/>
                <a:gd name="T47" fmla="*/ 77 h 116"/>
                <a:gd name="T48" fmla="*/ 39 w 133"/>
                <a:gd name="T49" fmla="*/ 73 h 116"/>
                <a:gd name="T50" fmla="*/ 34 w 133"/>
                <a:gd name="T51" fmla="*/ 43 h 116"/>
                <a:gd name="T52" fmla="*/ 45 w 133"/>
                <a:gd name="T53" fmla="*/ 66 h 116"/>
                <a:gd name="T54" fmla="*/ 68 w 133"/>
                <a:gd name="T55" fmla="*/ 79 h 116"/>
                <a:gd name="T56" fmla="*/ 71 w 133"/>
                <a:gd name="T57" fmla="*/ 79 h 116"/>
                <a:gd name="T58" fmla="*/ 94 w 133"/>
                <a:gd name="T59" fmla="*/ 66 h 116"/>
                <a:gd name="T60" fmla="*/ 109 w 133"/>
                <a:gd name="T61" fmla="*/ 41 h 116"/>
                <a:gd name="T62" fmla="*/ 109 w 133"/>
                <a:gd name="T63" fmla="*/ 36 h 116"/>
                <a:gd name="T64" fmla="*/ 31 w 133"/>
                <a:gd name="T65" fmla="*/ 66 h 116"/>
                <a:gd name="T66" fmla="*/ 29 w 133"/>
                <a:gd name="T67" fmla="*/ 71 h 116"/>
                <a:gd name="T68" fmla="*/ 69 w 133"/>
                <a:gd name="T69" fmla="*/ 74 h 116"/>
                <a:gd name="T70" fmla="*/ 50 w 133"/>
                <a:gd name="T71" fmla="*/ 50 h 116"/>
                <a:gd name="T72" fmla="*/ 69 w 133"/>
                <a:gd name="T73" fmla="*/ 58 h 116"/>
                <a:gd name="T74" fmla="*/ 89 w 133"/>
                <a:gd name="T75" fmla="*/ 50 h 116"/>
                <a:gd name="T76" fmla="*/ 69 w 133"/>
                <a:gd name="T77" fmla="*/ 52 h 116"/>
                <a:gd name="T78" fmla="*/ 69 w 133"/>
                <a:gd name="T79" fmla="*/ 25 h 116"/>
                <a:gd name="T80" fmla="*/ 69 w 133"/>
                <a:gd name="T81" fmla="*/ 5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3" h="116">
                  <a:moveTo>
                    <a:pt x="124" y="0"/>
                  </a:moveTo>
                  <a:cubicBezTo>
                    <a:pt x="9" y="0"/>
                    <a:pt x="9" y="0"/>
                    <a:pt x="9" y="0"/>
                  </a:cubicBezTo>
                  <a:cubicBezTo>
                    <a:pt x="4" y="0"/>
                    <a:pt x="0" y="4"/>
                    <a:pt x="0" y="8"/>
                  </a:cubicBezTo>
                  <a:cubicBezTo>
                    <a:pt x="0" y="91"/>
                    <a:pt x="0" y="91"/>
                    <a:pt x="0" y="91"/>
                  </a:cubicBezTo>
                  <a:cubicBezTo>
                    <a:pt x="0" y="95"/>
                    <a:pt x="4" y="99"/>
                    <a:pt x="9" y="99"/>
                  </a:cubicBezTo>
                  <a:cubicBezTo>
                    <a:pt x="56" y="99"/>
                    <a:pt x="56" y="99"/>
                    <a:pt x="56" y="99"/>
                  </a:cubicBezTo>
                  <a:cubicBezTo>
                    <a:pt x="56" y="110"/>
                    <a:pt x="56" y="110"/>
                    <a:pt x="56" y="110"/>
                  </a:cubicBezTo>
                  <a:cubicBezTo>
                    <a:pt x="39" y="110"/>
                    <a:pt x="39" y="110"/>
                    <a:pt x="39" y="110"/>
                  </a:cubicBezTo>
                  <a:cubicBezTo>
                    <a:pt x="37" y="110"/>
                    <a:pt x="36" y="111"/>
                    <a:pt x="36" y="113"/>
                  </a:cubicBezTo>
                  <a:cubicBezTo>
                    <a:pt x="36" y="114"/>
                    <a:pt x="37" y="116"/>
                    <a:pt x="39" y="116"/>
                  </a:cubicBezTo>
                  <a:cubicBezTo>
                    <a:pt x="94" y="116"/>
                    <a:pt x="94" y="116"/>
                    <a:pt x="94" y="116"/>
                  </a:cubicBezTo>
                  <a:cubicBezTo>
                    <a:pt x="96" y="116"/>
                    <a:pt x="97" y="114"/>
                    <a:pt x="97" y="113"/>
                  </a:cubicBezTo>
                  <a:cubicBezTo>
                    <a:pt x="97" y="111"/>
                    <a:pt x="96" y="110"/>
                    <a:pt x="94" y="110"/>
                  </a:cubicBezTo>
                  <a:cubicBezTo>
                    <a:pt x="78" y="110"/>
                    <a:pt x="78" y="110"/>
                    <a:pt x="78" y="110"/>
                  </a:cubicBezTo>
                  <a:cubicBezTo>
                    <a:pt x="78" y="99"/>
                    <a:pt x="78" y="99"/>
                    <a:pt x="78" y="99"/>
                  </a:cubicBezTo>
                  <a:cubicBezTo>
                    <a:pt x="124" y="99"/>
                    <a:pt x="124" y="99"/>
                    <a:pt x="124" y="99"/>
                  </a:cubicBezTo>
                  <a:cubicBezTo>
                    <a:pt x="129" y="99"/>
                    <a:pt x="133" y="95"/>
                    <a:pt x="133" y="91"/>
                  </a:cubicBezTo>
                  <a:cubicBezTo>
                    <a:pt x="133" y="8"/>
                    <a:pt x="133" y="8"/>
                    <a:pt x="133" y="8"/>
                  </a:cubicBezTo>
                  <a:cubicBezTo>
                    <a:pt x="133" y="4"/>
                    <a:pt x="129" y="0"/>
                    <a:pt x="124" y="0"/>
                  </a:cubicBezTo>
                  <a:close/>
                  <a:moveTo>
                    <a:pt x="72" y="110"/>
                  </a:moveTo>
                  <a:cubicBezTo>
                    <a:pt x="61" y="110"/>
                    <a:pt x="61" y="110"/>
                    <a:pt x="61" y="110"/>
                  </a:cubicBezTo>
                  <a:cubicBezTo>
                    <a:pt x="61" y="99"/>
                    <a:pt x="61" y="99"/>
                    <a:pt x="61" y="99"/>
                  </a:cubicBezTo>
                  <a:cubicBezTo>
                    <a:pt x="72" y="99"/>
                    <a:pt x="72" y="99"/>
                    <a:pt x="72" y="99"/>
                  </a:cubicBezTo>
                  <a:lnTo>
                    <a:pt x="72" y="110"/>
                  </a:lnTo>
                  <a:close/>
                  <a:moveTo>
                    <a:pt x="127" y="91"/>
                  </a:moveTo>
                  <a:cubicBezTo>
                    <a:pt x="127" y="92"/>
                    <a:pt x="126" y="94"/>
                    <a:pt x="124" y="94"/>
                  </a:cubicBezTo>
                  <a:cubicBezTo>
                    <a:pt x="9" y="94"/>
                    <a:pt x="9" y="94"/>
                    <a:pt x="9" y="94"/>
                  </a:cubicBezTo>
                  <a:cubicBezTo>
                    <a:pt x="7" y="94"/>
                    <a:pt x="6" y="92"/>
                    <a:pt x="6" y="91"/>
                  </a:cubicBezTo>
                  <a:cubicBezTo>
                    <a:pt x="6" y="8"/>
                    <a:pt x="6" y="8"/>
                    <a:pt x="6" y="8"/>
                  </a:cubicBezTo>
                  <a:cubicBezTo>
                    <a:pt x="6" y="7"/>
                    <a:pt x="7" y="5"/>
                    <a:pt x="9" y="5"/>
                  </a:cubicBezTo>
                  <a:cubicBezTo>
                    <a:pt x="124" y="5"/>
                    <a:pt x="124" y="5"/>
                    <a:pt x="124" y="5"/>
                  </a:cubicBezTo>
                  <a:cubicBezTo>
                    <a:pt x="126" y="5"/>
                    <a:pt x="127" y="7"/>
                    <a:pt x="127" y="8"/>
                  </a:cubicBezTo>
                  <a:lnTo>
                    <a:pt x="127" y="91"/>
                  </a:lnTo>
                  <a:close/>
                  <a:moveTo>
                    <a:pt x="109" y="36"/>
                  </a:moveTo>
                  <a:cubicBezTo>
                    <a:pt x="70" y="19"/>
                    <a:pt x="70" y="19"/>
                    <a:pt x="70" y="19"/>
                  </a:cubicBezTo>
                  <a:cubicBezTo>
                    <a:pt x="70" y="19"/>
                    <a:pt x="69" y="19"/>
                    <a:pt x="68" y="19"/>
                  </a:cubicBezTo>
                  <a:cubicBezTo>
                    <a:pt x="30" y="36"/>
                    <a:pt x="30" y="36"/>
                    <a:pt x="30" y="36"/>
                  </a:cubicBezTo>
                  <a:cubicBezTo>
                    <a:pt x="30" y="36"/>
                    <a:pt x="30" y="36"/>
                    <a:pt x="30" y="36"/>
                  </a:cubicBezTo>
                  <a:cubicBezTo>
                    <a:pt x="30" y="36"/>
                    <a:pt x="30" y="36"/>
                    <a:pt x="30" y="36"/>
                  </a:cubicBezTo>
                  <a:cubicBezTo>
                    <a:pt x="30" y="36"/>
                    <a:pt x="30" y="36"/>
                    <a:pt x="30" y="36"/>
                  </a:cubicBezTo>
                  <a:cubicBezTo>
                    <a:pt x="29" y="36"/>
                    <a:pt x="29" y="36"/>
                    <a:pt x="29" y="37"/>
                  </a:cubicBezTo>
                  <a:cubicBezTo>
                    <a:pt x="29" y="37"/>
                    <a:pt x="28" y="37"/>
                    <a:pt x="28" y="37"/>
                  </a:cubicBezTo>
                  <a:cubicBezTo>
                    <a:pt x="28" y="37"/>
                    <a:pt x="28" y="38"/>
                    <a:pt x="28" y="38"/>
                  </a:cubicBezTo>
                  <a:cubicBezTo>
                    <a:pt x="28" y="57"/>
                    <a:pt x="28" y="57"/>
                    <a:pt x="28" y="57"/>
                  </a:cubicBezTo>
                  <a:cubicBezTo>
                    <a:pt x="23" y="73"/>
                    <a:pt x="23" y="73"/>
                    <a:pt x="23" y="73"/>
                  </a:cubicBezTo>
                  <a:cubicBezTo>
                    <a:pt x="22" y="74"/>
                    <a:pt x="22" y="75"/>
                    <a:pt x="23" y="76"/>
                  </a:cubicBezTo>
                  <a:cubicBezTo>
                    <a:pt x="24" y="77"/>
                    <a:pt x="24" y="77"/>
                    <a:pt x="25" y="77"/>
                  </a:cubicBezTo>
                  <a:cubicBezTo>
                    <a:pt x="36" y="77"/>
                    <a:pt x="36" y="77"/>
                    <a:pt x="36" y="77"/>
                  </a:cubicBezTo>
                  <a:cubicBezTo>
                    <a:pt x="37" y="77"/>
                    <a:pt x="38" y="77"/>
                    <a:pt x="38" y="76"/>
                  </a:cubicBezTo>
                  <a:cubicBezTo>
                    <a:pt x="39" y="75"/>
                    <a:pt x="39" y="74"/>
                    <a:pt x="39" y="73"/>
                  </a:cubicBezTo>
                  <a:cubicBezTo>
                    <a:pt x="34" y="57"/>
                    <a:pt x="34" y="57"/>
                    <a:pt x="34" y="57"/>
                  </a:cubicBezTo>
                  <a:cubicBezTo>
                    <a:pt x="34" y="43"/>
                    <a:pt x="34" y="43"/>
                    <a:pt x="34" y="43"/>
                  </a:cubicBezTo>
                  <a:cubicBezTo>
                    <a:pt x="45" y="47"/>
                    <a:pt x="45" y="47"/>
                    <a:pt x="45" y="47"/>
                  </a:cubicBezTo>
                  <a:cubicBezTo>
                    <a:pt x="45" y="66"/>
                    <a:pt x="45" y="66"/>
                    <a:pt x="45" y="66"/>
                  </a:cubicBezTo>
                  <a:cubicBezTo>
                    <a:pt x="45" y="67"/>
                    <a:pt x="45" y="68"/>
                    <a:pt x="46" y="68"/>
                  </a:cubicBezTo>
                  <a:cubicBezTo>
                    <a:pt x="68" y="79"/>
                    <a:pt x="68" y="79"/>
                    <a:pt x="68" y="79"/>
                  </a:cubicBezTo>
                  <a:cubicBezTo>
                    <a:pt x="68" y="80"/>
                    <a:pt x="69" y="80"/>
                    <a:pt x="69" y="80"/>
                  </a:cubicBezTo>
                  <a:cubicBezTo>
                    <a:pt x="70" y="80"/>
                    <a:pt x="70" y="80"/>
                    <a:pt x="71" y="79"/>
                  </a:cubicBezTo>
                  <a:cubicBezTo>
                    <a:pt x="93" y="68"/>
                    <a:pt x="93" y="68"/>
                    <a:pt x="93" y="68"/>
                  </a:cubicBezTo>
                  <a:cubicBezTo>
                    <a:pt x="94" y="68"/>
                    <a:pt x="94" y="67"/>
                    <a:pt x="94" y="66"/>
                  </a:cubicBezTo>
                  <a:cubicBezTo>
                    <a:pt x="94" y="47"/>
                    <a:pt x="94" y="47"/>
                    <a:pt x="94" y="47"/>
                  </a:cubicBezTo>
                  <a:cubicBezTo>
                    <a:pt x="109" y="41"/>
                    <a:pt x="109" y="41"/>
                    <a:pt x="109" y="41"/>
                  </a:cubicBezTo>
                  <a:cubicBezTo>
                    <a:pt x="110" y="41"/>
                    <a:pt x="111" y="40"/>
                    <a:pt x="111" y="38"/>
                  </a:cubicBezTo>
                  <a:cubicBezTo>
                    <a:pt x="111" y="37"/>
                    <a:pt x="110" y="36"/>
                    <a:pt x="109" y="36"/>
                  </a:cubicBezTo>
                  <a:close/>
                  <a:moveTo>
                    <a:pt x="29" y="71"/>
                  </a:moveTo>
                  <a:cubicBezTo>
                    <a:pt x="31" y="66"/>
                    <a:pt x="31" y="66"/>
                    <a:pt x="31" y="66"/>
                  </a:cubicBezTo>
                  <a:cubicBezTo>
                    <a:pt x="32" y="71"/>
                    <a:pt x="32" y="71"/>
                    <a:pt x="32" y="71"/>
                  </a:cubicBezTo>
                  <a:lnTo>
                    <a:pt x="29" y="71"/>
                  </a:lnTo>
                  <a:close/>
                  <a:moveTo>
                    <a:pt x="89" y="64"/>
                  </a:moveTo>
                  <a:cubicBezTo>
                    <a:pt x="69" y="74"/>
                    <a:pt x="69" y="74"/>
                    <a:pt x="69" y="74"/>
                  </a:cubicBezTo>
                  <a:cubicBezTo>
                    <a:pt x="50" y="64"/>
                    <a:pt x="50" y="64"/>
                    <a:pt x="50" y="64"/>
                  </a:cubicBezTo>
                  <a:cubicBezTo>
                    <a:pt x="50" y="50"/>
                    <a:pt x="50" y="50"/>
                    <a:pt x="50" y="50"/>
                  </a:cubicBezTo>
                  <a:cubicBezTo>
                    <a:pt x="68" y="57"/>
                    <a:pt x="68" y="57"/>
                    <a:pt x="68" y="57"/>
                  </a:cubicBezTo>
                  <a:cubicBezTo>
                    <a:pt x="69" y="58"/>
                    <a:pt x="69" y="58"/>
                    <a:pt x="69" y="58"/>
                  </a:cubicBezTo>
                  <a:cubicBezTo>
                    <a:pt x="70" y="58"/>
                    <a:pt x="70" y="58"/>
                    <a:pt x="70" y="57"/>
                  </a:cubicBezTo>
                  <a:cubicBezTo>
                    <a:pt x="89" y="50"/>
                    <a:pt x="89" y="50"/>
                    <a:pt x="89" y="50"/>
                  </a:cubicBezTo>
                  <a:lnTo>
                    <a:pt x="89" y="64"/>
                  </a:lnTo>
                  <a:close/>
                  <a:moveTo>
                    <a:pt x="69" y="52"/>
                  </a:moveTo>
                  <a:cubicBezTo>
                    <a:pt x="38" y="38"/>
                    <a:pt x="38" y="38"/>
                    <a:pt x="38" y="38"/>
                  </a:cubicBezTo>
                  <a:cubicBezTo>
                    <a:pt x="69" y="25"/>
                    <a:pt x="69" y="25"/>
                    <a:pt x="69" y="25"/>
                  </a:cubicBezTo>
                  <a:cubicBezTo>
                    <a:pt x="101" y="38"/>
                    <a:pt x="101" y="38"/>
                    <a:pt x="101" y="38"/>
                  </a:cubicBezTo>
                  <a:lnTo>
                    <a:pt x="69" y="5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8" name="Rectangle 37">
              <a:extLst>
                <a:ext uri="{FF2B5EF4-FFF2-40B4-BE49-F238E27FC236}">
                  <a16:creationId xmlns:a16="http://schemas.microsoft.com/office/drawing/2014/main" id="{117B02E7-1ADD-485A-AEFB-0D06C1966229}"/>
                </a:ext>
                <a:ext uri="{C183D7F6-B498-43B3-948B-1728B52AA6E4}">
                  <adec:decorative xmlns:adec="http://schemas.microsoft.com/office/drawing/2017/decorative" val="1"/>
                </a:ext>
              </a:extLst>
            </p:cNvPr>
            <p:cNvSpPr/>
            <p:nvPr userDrawn="1"/>
          </p:nvSpPr>
          <p:spPr>
            <a:xfrm>
              <a:off x="9272534" y="5128381"/>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53" name="Group 41" descr="Video Clapperboard">
              <a:extLst>
                <a:ext uri="{FF2B5EF4-FFF2-40B4-BE49-F238E27FC236}">
                  <a16:creationId xmlns:a16="http://schemas.microsoft.com/office/drawing/2014/main" id="{A4D0B800-7A68-4460-AE32-7229F0B9843C}"/>
                </a:ext>
                <a:ext uri="{C183D7F6-B498-43B3-948B-1728B52AA6E4}">
                  <adec:decorative xmlns:adec="http://schemas.microsoft.com/office/drawing/2017/decorative" val="0"/>
                </a:ext>
              </a:extLst>
            </p:cNvPr>
            <p:cNvGrpSpPr>
              <a:grpSpLocks noChangeAspect="1"/>
            </p:cNvGrpSpPr>
            <p:nvPr/>
          </p:nvGrpSpPr>
          <p:grpSpPr bwMode="auto">
            <a:xfrm>
              <a:off x="9695631" y="5524348"/>
              <a:ext cx="459581" cy="420743"/>
              <a:chOff x="3439" y="460"/>
              <a:chExt cx="426" cy="390"/>
            </a:xfrm>
            <a:solidFill>
              <a:schemeClr val="accent1"/>
            </a:solidFill>
          </p:grpSpPr>
          <p:sp>
            <p:nvSpPr>
              <p:cNvPr id="54" name="Freeform 42">
                <a:extLst>
                  <a:ext uri="{FF2B5EF4-FFF2-40B4-BE49-F238E27FC236}">
                    <a16:creationId xmlns:a16="http://schemas.microsoft.com/office/drawing/2014/main" id="{C4277701-4C7D-44A5-8B36-2C8A20A7D377}"/>
                  </a:ext>
                </a:extLst>
              </p:cNvPr>
              <p:cNvSpPr>
                <a:spLocks noEditPoints="1"/>
              </p:cNvSpPr>
              <p:nvPr/>
            </p:nvSpPr>
            <p:spPr bwMode="auto">
              <a:xfrm>
                <a:off x="3439" y="584"/>
                <a:ext cx="426" cy="266"/>
              </a:xfrm>
              <a:custGeom>
                <a:avLst/>
                <a:gdLst>
                  <a:gd name="T0" fmla="*/ 265 w 288"/>
                  <a:gd name="T1" fmla="*/ 180 h 180"/>
                  <a:gd name="T2" fmla="*/ 23 w 288"/>
                  <a:gd name="T3" fmla="*/ 180 h 180"/>
                  <a:gd name="T4" fmla="*/ 0 w 288"/>
                  <a:gd name="T5" fmla="*/ 157 h 180"/>
                  <a:gd name="T6" fmla="*/ 0 w 288"/>
                  <a:gd name="T7" fmla="*/ 6 h 180"/>
                  <a:gd name="T8" fmla="*/ 6 w 288"/>
                  <a:gd name="T9" fmla="*/ 0 h 180"/>
                  <a:gd name="T10" fmla="*/ 282 w 288"/>
                  <a:gd name="T11" fmla="*/ 0 h 180"/>
                  <a:gd name="T12" fmla="*/ 288 w 288"/>
                  <a:gd name="T13" fmla="*/ 6 h 180"/>
                  <a:gd name="T14" fmla="*/ 288 w 288"/>
                  <a:gd name="T15" fmla="*/ 157 h 180"/>
                  <a:gd name="T16" fmla="*/ 265 w 288"/>
                  <a:gd name="T17" fmla="*/ 180 h 180"/>
                  <a:gd name="T18" fmla="*/ 12 w 288"/>
                  <a:gd name="T19" fmla="*/ 12 h 180"/>
                  <a:gd name="T20" fmla="*/ 12 w 288"/>
                  <a:gd name="T21" fmla="*/ 157 h 180"/>
                  <a:gd name="T22" fmla="*/ 23 w 288"/>
                  <a:gd name="T23" fmla="*/ 168 h 180"/>
                  <a:gd name="T24" fmla="*/ 265 w 288"/>
                  <a:gd name="T25" fmla="*/ 168 h 180"/>
                  <a:gd name="T26" fmla="*/ 276 w 288"/>
                  <a:gd name="T27" fmla="*/ 157 h 180"/>
                  <a:gd name="T28" fmla="*/ 276 w 288"/>
                  <a:gd name="T29" fmla="*/ 12 h 180"/>
                  <a:gd name="T30" fmla="*/ 12 w 288"/>
                  <a:gd name="T31"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180">
                    <a:moveTo>
                      <a:pt x="265" y="180"/>
                    </a:moveTo>
                    <a:cubicBezTo>
                      <a:pt x="23" y="180"/>
                      <a:pt x="23" y="180"/>
                      <a:pt x="23" y="180"/>
                    </a:cubicBezTo>
                    <a:cubicBezTo>
                      <a:pt x="10" y="180"/>
                      <a:pt x="0" y="170"/>
                      <a:pt x="0" y="157"/>
                    </a:cubicBezTo>
                    <a:cubicBezTo>
                      <a:pt x="0" y="6"/>
                      <a:pt x="0" y="6"/>
                      <a:pt x="0" y="6"/>
                    </a:cubicBezTo>
                    <a:cubicBezTo>
                      <a:pt x="0" y="3"/>
                      <a:pt x="3" y="0"/>
                      <a:pt x="6" y="0"/>
                    </a:cubicBezTo>
                    <a:cubicBezTo>
                      <a:pt x="282" y="0"/>
                      <a:pt x="282" y="0"/>
                      <a:pt x="282" y="0"/>
                    </a:cubicBezTo>
                    <a:cubicBezTo>
                      <a:pt x="285" y="0"/>
                      <a:pt x="288" y="3"/>
                      <a:pt x="288" y="6"/>
                    </a:cubicBezTo>
                    <a:cubicBezTo>
                      <a:pt x="288" y="157"/>
                      <a:pt x="288" y="157"/>
                      <a:pt x="288" y="157"/>
                    </a:cubicBezTo>
                    <a:cubicBezTo>
                      <a:pt x="288" y="170"/>
                      <a:pt x="277" y="180"/>
                      <a:pt x="265" y="180"/>
                    </a:cubicBezTo>
                    <a:close/>
                    <a:moveTo>
                      <a:pt x="12" y="12"/>
                    </a:moveTo>
                    <a:cubicBezTo>
                      <a:pt x="12" y="157"/>
                      <a:pt x="12" y="157"/>
                      <a:pt x="12" y="157"/>
                    </a:cubicBezTo>
                    <a:cubicBezTo>
                      <a:pt x="12" y="163"/>
                      <a:pt x="17" y="168"/>
                      <a:pt x="23" y="168"/>
                    </a:cubicBezTo>
                    <a:cubicBezTo>
                      <a:pt x="265" y="168"/>
                      <a:pt x="265" y="168"/>
                      <a:pt x="265" y="168"/>
                    </a:cubicBezTo>
                    <a:cubicBezTo>
                      <a:pt x="271" y="168"/>
                      <a:pt x="276" y="163"/>
                      <a:pt x="276" y="157"/>
                    </a:cubicBezTo>
                    <a:cubicBezTo>
                      <a:pt x="276" y="12"/>
                      <a:pt x="276" y="12"/>
                      <a:pt x="276"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55" name="Freeform 43">
                <a:extLst>
                  <a:ext uri="{FF2B5EF4-FFF2-40B4-BE49-F238E27FC236}">
                    <a16:creationId xmlns:a16="http://schemas.microsoft.com/office/drawing/2014/main" id="{5C14D3DA-FBFF-4EE9-B77D-5A5BE2759EB2}"/>
                  </a:ext>
                </a:extLst>
              </p:cNvPr>
              <p:cNvSpPr>
                <a:spLocks noEditPoints="1"/>
              </p:cNvSpPr>
              <p:nvPr/>
            </p:nvSpPr>
            <p:spPr bwMode="auto">
              <a:xfrm>
                <a:off x="3581" y="637"/>
                <a:ext cx="160" cy="160"/>
              </a:xfrm>
              <a:custGeom>
                <a:avLst/>
                <a:gdLst>
                  <a:gd name="T0" fmla="*/ 6 w 108"/>
                  <a:gd name="T1" fmla="*/ 108 h 108"/>
                  <a:gd name="T2" fmla="*/ 3 w 108"/>
                  <a:gd name="T3" fmla="*/ 107 h 108"/>
                  <a:gd name="T4" fmla="*/ 0 w 108"/>
                  <a:gd name="T5" fmla="*/ 102 h 108"/>
                  <a:gd name="T6" fmla="*/ 0 w 108"/>
                  <a:gd name="T7" fmla="*/ 6 h 108"/>
                  <a:gd name="T8" fmla="*/ 3 w 108"/>
                  <a:gd name="T9" fmla="*/ 1 h 108"/>
                  <a:gd name="T10" fmla="*/ 9 w 108"/>
                  <a:gd name="T11" fmla="*/ 1 h 108"/>
                  <a:gd name="T12" fmla="*/ 105 w 108"/>
                  <a:gd name="T13" fmla="*/ 49 h 108"/>
                  <a:gd name="T14" fmla="*/ 108 w 108"/>
                  <a:gd name="T15" fmla="*/ 54 h 108"/>
                  <a:gd name="T16" fmla="*/ 105 w 108"/>
                  <a:gd name="T17" fmla="*/ 60 h 108"/>
                  <a:gd name="T18" fmla="*/ 9 w 108"/>
                  <a:gd name="T19" fmla="*/ 108 h 108"/>
                  <a:gd name="T20" fmla="*/ 6 w 108"/>
                  <a:gd name="T21" fmla="*/ 108 h 108"/>
                  <a:gd name="T22" fmla="*/ 12 w 108"/>
                  <a:gd name="T23" fmla="*/ 16 h 108"/>
                  <a:gd name="T24" fmla="*/ 12 w 108"/>
                  <a:gd name="T25" fmla="*/ 93 h 108"/>
                  <a:gd name="T26" fmla="*/ 88 w 108"/>
                  <a:gd name="T27" fmla="*/ 54 h 108"/>
                  <a:gd name="T28" fmla="*/ 12 w 108"/>
                  <a:gd name="T29"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108">
                    <a:moveTo>
                      <a:pt x="6" y="108"/>
                    </a:moveTo>
                    <a:cubicBezTo>
                      <a:pt x="5" y="108"/>
                      <a:pt x="4" y="108"/>
                      <a:pt x="3" y="107"/>
                    </a:cubicBezTo>
                    <a:cubicBezTo>
                      <a:pt x="1" y="106"/>
                      <a:pt x="0" y="104"/>
                      <a:pt x="0" y="102"/>
                    </a:cubicBezTo>
                    <a:cubicBezTo>
                      <a:pt x="0" y="6"/>
                      <a:pt x="0" y="6"/>
                      <a:pt x="0" y="6"/>
                    </a:cubicBezTo>
                    <a:cubicBezTo>
                      <a:pt x="0" y="4"/>
                      <a:pt x="1" y="2"/>
                      <a:pt x="3" y="1"/>
                    </a:cubicBezTo>
                    <a:cubicBezTo>
                      <a:pt x="4" y="0"/>
                      <a:pt x="7" y="0"/>
                      <a:pt x="9" y="1"/>
                    </a:cubicBezTo>
                    <a:cubicBezTo>
                      <a:pt x="105" y="49"/>
                      <a:pt x="105" y="49"/>
                      <a:pt x="105" y="49"/>
                    </a:cubicBezTo>
                    <a:cubicBezTo>
                      <a:pt x="107" y="50"/>
                      <a:pt x="108" y="52"/>
                      <a:pt x="108" y="54"/>
                    </a:cubicBezTo>
                    <a:cubicBezTo>
                      <a:pt x="108" y="57"/>
                      <a:pt x="107" y="59"/>
                      <a:pt x="105" y="60"/>
                    </a:cubicBezTo>
                    <a:cubicBezTo>
                      <a:pt x="9" y="108"/>
                      <a:pt x="9" y="108"/>
                      <a:pt x="9" y="108"/>
                    </a:cubicBezTo>
                    <a:cubicBezTo>
                      <a:pt x="8" y="108"/>
                      <a:pt x="7" y="108"/>
                      <a:pt x="6" y="108"/>
                    </a:cubicBezTo>
                    <a:close/>
                    <a:moveTo>
                      <a:pt x="12" y="16"/>
                    </a:moveTo>
                    <a:cubicBezTo>
                      <a:pt x="12" y="93"/>
                      <a:pt x="12" y="93"/>
                      <a:pt x="12" y="93"/>
                    </a:cubicBezTo>
                    <a:cubicBezTo>
                      <a:pt x="88" y="54"/>
                      <a:pt x="88" y="54"/>
                      <a:pt x="88" y="54"/>
                    </a:cubicBezTo>
                    <a:lnTo>
                      <a:pt x="1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56" name="Freeform 44">
                <a:extLst>
                  <a:ext uri="{FF2B5EF4-FFF2-40B4-BE49-F238E27FC236}">
                    <a16:creationId xmlns:a16="http://schemas.microsoft.com/office/drawing/2014/main" id="{AF18AA9B-2224-4C91-AC89-BF8A1D23B654}"/>
                  </a:ext>
                </a:extLst>
              </p:cNvPr>
              <p:cNvSpPr>
                <a:spLocks noEditPoints="1"/>
              </p:cNvSpPr>
              <p:nvPr/>
            </p:nvSpPr>
            <p:spPr bwMode="auto">
              <a:xfrm>
                <a:off x="3439" y="460"/>
                <a:ext cx="426" cy="106"/>
              </a:xfrm>
              <a:custGeom>
                <a:avLst/>
                <a:gdLst>
                  <a:gd name="T0" fmla="*/ 282 w 288"/>
                  <a:gd name="T1" fmla="*/ 72 h 72"/>
                  <a:gd name="T2" fmla="*/ 6 w 288"/>
                  <a:gd name="T3" fmla="*/ 72 h 72"/>
                  <a:gd name="T4" fmla="*/ 0 w 288"/>
                  <a:gd name="T5" fmla="*/ 66 h 72"/>
                  <a:gd name="T6" fmla="*/ 0 w 288"/>
                  <a:gd name="T7" fmla="*/ 18 h 72"/>
                  <a:gd name="T8" fmla="*/ 18 w 288"/>
                  <a:gd name="T9" fmla="*/ 0 h 72"/>
                  <a:gd name="T10" fmla="*/ 270 w 288"/>
                  <a:gd name="T11" fmla="*/ 0 h 72"/>
                  <a:gd name="T12" fmla="*/ 288 w 288"/>
                  <a:gd name="T13" fmla="*/ 18 h 72"/>
                  <a:gd name="T14" fmla="*/ 288 w 288"/>
                  <a:gd name="T15" fmla="*/ 66 h 72"/>
                  <a:gd name="T16" fmla="*/ 282 w 288"/>
                  <a:gd name="T17" fmla="*/ 72 h 72"/>
                  <a:gd name="T18" fmla="*/ 12 w 288"/>
                  <a:gd name="T19" fmla="*/ 60 h 72"/>
                  <a:gd name="T20" fmla="*/ 276 w 288"/>
                  <a:gd name="T21" fmla="*/ 60 h 72"/>
                  <a:gd name="T22" fmla="*/ 276 w 288"/>
                  <a:gd name="T23" fmla="*/ 18 h 72"/>
                  <a:gd name="T24" fmla="*/ 270 w 288"/>
                  <a:gd name="T25" fmla="*/ 12 h 72"/>
                  <a:gd name="T26" fmla="*/ 18 w 288"/>
                  <a:gd name="T27" fmla="*/ 12 h 72"/>
                  <a:gd name="T28" fmla="*/ 12 w 288"/>
                  <a:gd name="T29" fmla="*/ 18 h 72"/>
                  <a:gd name="T30" fmla="*/ 12 w 288"/>
                  <a:gd name="T31"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72">
                    <a:moveTo>
                      <a:pt x="282" y="72"/>
                    </a:moveTo>
                    <a:cubicBezTo>
                      <a:pt x="6" y="72"/>
                      <a:pt x="6" y="72"/>
                      <a:pt x="6" y="72"/>
                    </a:cubicBezTo>
                    <a:cubicBezTo>
                      <a:pt x="3" y="72"/>
                      <a:pt x="0" y="70"/>
                      <a:pt x="0" y="66"/>
                    </a:cubicBezTo>
                    <a:cubicBezTo>
                      <a:pt x="0" y="18"/>
                      <a:pt x="0" y="18"/>
                      <a:pt x="0" y="18"/>
                    </a:cubicBezTo>
                    <a:cubicBezTo>
                      <a:pt x="0" y="8"/>
                      <a:pt x="8" y="0"/>
                      <a:pt x="18" y="0"/>
                    </a:cubicBezTo>
                    <a:cubicBezTo>
                      <a:pt x="270" y="0"/>
                      <a:pt x="270" y="0"/>
                      <a:pt x="270" y="0"/>
                    </a:cubicBezTo>
                    <a:cubicBezTo>
                      <a:pt x="280" y="0"/>
                      <a:pt x="288" y="8"/>
                      <a:pt x="288" y="18"/>
                    </a:cubicBezTo>
                    <a:cubicBezTo>
                      <a:pt x="288" y="66"/>
                      <a:pt x="288" y="66"/>
                      <a:pt x="288" y="66"/>
                    </a:cubicBezTo>
                    <a:cubicBezTo>
                      <a:pt x="288" y="70"/>
                      <a:pt x="285" y="72"/>
                      <a:pt x="282" y="72"/>
                    </a:cubicBezTo>
                    <a:close/>
                    <a:moveTo>
                      <a:pt x="12" y="60"/>
                    </a:moveTo>
                    <a:cubicBezTo>
                      <a:pt x="276" y="60"/>
                      <a:pt x="276" y="60"/>
                      <a:pt x="276" y="60"/>
                    </a:cubicBezTo>
                    <a:cubicBezTo>
                      <a:pt x="276" y="18"/>
                      <a:pt x="276" y="18"/>
                      <a:pt x="276" y="18"/>
                    </a:cubicBezTo>
                    <a:cubicBezTo>
                      <a:pt x="276" y="15"/>
                      <a:pt x="273" y="12"/>
                      <a:pt x="270" y="12"/>
                    </a:cubicBezTo>
                    <a:cubicBezTo>
                      <a:pt x="18" y="12"/>
                      <a:pt x="18" y="12"/>
                      <a:pt x="18" y="12"/>
                    </a:cubicBezTo>
                    <a:cubicBezTo>
                      <a:pt x="15" y="12"/>
                      <a:pt x="12" y="15"/>
                      <a:pt x="12" y="18"/>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57" name="Freeform 45">
                <a:extLst>
                  <a:ext uri="{FF2B5EF4-FFF2-40B4-BE49-F238E27FC236}">
                    <a16:creationId xmlns:a16="http://schemas.microsoft.com/office/drawing/2014/main" id="{360606E0-DD40-4214-B61A-4E11A593C617}"/>
                  </a:ext>
                </a:extLst>
              </p:cNvPr>
              <p:cNvSpPr>
                <a:spLocks/>
              </p:cNvSpPr>
              <p:nvPr/>
            </p:nvSpPr>
            <p:spPr bwMode="auto">
              <a:xfrm>
                <a:off x="3442" y="463"/>
                <a:ext cx="92" cy="91"/>
              </a:xfrm>
              <a:custGeom>
                <a:avLst/>
                <a:gdLst>
                  <a:gd name="T0" fmla="*/ 12 w 92"/>
                  <a:gd name="T1" fmla="*/ 91 h 91"/>
                  <a:gd name="T2" fmla="*/ 0 w 92"/>
                  <a:gd name="T3" fmla="*/ 80 h 91"/>
                  <a:gd name="T4" fmla="*/ 80 w 92"/>
                  <a:gd name="T5" fmla="*/ 0 h 91"/>
                  <a:gd name="T6" fmla="*/ 92 w 92"/>
                  <a:gd name="T7" fmla="*/ 11 h 91"/>
                  <a:gd name="T8" fmla="*/ 12 w 92"/>
                  <a:gd name="T9" fmla="*/ 91 h 91"/>
                </a:gdLst>
                <a:ahLst/>
                <a:cxnLst>
                  <a:cxn ang="0">
                    <a:pos x="T0" y="T1"/>
                  </a:cxn>
                  <a:cxn ang="0">
                    <a:pos x="T2" y="T3"/>
                  </a:cxn>
                  <a:cxn ang="0">
                    <a:pos x="T4" y="T5"/>
                  </a:cxn>
                  <a:cxn ang="0">
                    <a:pos x="T6" y="T7"/>
                  </a:cxn>
                  <a:cxn ang="0">
                    <a:pos x="T8" y="T9"/>
                  </a:cxn>
                </a:cxnLst>
                <a:rect l="0" t="0" r="r" b="b"/>
                <a:pathLst>
                  <a:path w="92" h="91">
                    <a:moveTo>
                      <a:pt x="12" y="91"/>
                    </a:moveTo>
                    <a:lnTo>
                      <a:pt x="0" y="80"/>
                    </a:lnTo>
                    <a:lnTo>
                      <a:pt x="80" y="0"/>
                    </a:lnTo>
                    <a:lnTo>
                      <a:pt x="92" y="11"/>
                    </a:lnTo>
                    <a:lnTo>
                      <a:pt x="12"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58" name="Freeform 46">
                <a:extLst>
                  <a:ext uri="{FF2B5EF4-FFF2-40B4-BE49-F238E27FC236}">
                    <a16:creationId xmlns:a16="http://schemas.microsoft.com/office/drawing/2014/main" id="{BB9F63C7-FE08-4C4B-B694-7D0FAE57867D}"/>
                  </a:ext>
                </a:extLst>
              </p:cNvPr>
              <p:cNvSpPr>
                <a:spLocks/>
              </p:cNvSpPr>
              <p:nvPr/>
            </p:nvSpPr>
            <p:spPr bwMode="auto">
              <a:xfrm>
                <a:off x="3495"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59" name="Freeform 47">
                <a:extLst>
                  <a:ext uri="{FF2B5EF4-FFF2-40B4-BE49-F238E27FC236}">
                    <a16:creationId xmlns:a16="http://schemas.microsoft.com/office/drawing/2014/main" id="{08C21C0D-708F-444A-97FE-DF9569DD47BC}"/>
                  </a:ext>
                </a:extLst>
              </p:cNvPr>
              <p:cNvSpPr>
                <a:spLocks/>
              </p:cNvSpPr>
              <p:nvPr/>
            </p:nvSpPr>
            <p:spPr bwMode="auto">
              <a:xfrm>
                <a:off x="3566"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60" name="Freeform 48">
                <a:extLst>
                  <a:ext uri="{FF2B5EF4-FFF2-40B4-BE49-F238E27FC236}">
                    <a16:creationId xmlns:a16="http://schemas.microsoft.com/office/drawing/2014/main" id="{0D0842D0-5DC0-453F-BE60-426547B52D7C}"/>
                  </a:ext>
                </a:extLst>
              </p:cNvPr>
              <p:cNvSpPr>
                <a:spLocks/>
              </p:cNvSpPr>
              <p:nvPr/>
            </p:nvSpPr>
            <p:spPr bwMode="auto">
              <a:xfrm>
                <a:off x="3637"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61" name="Freeform 49">
                <a:extLst>
                  <a:ext uri="{FF2B5EF4-FFF2-40B4-BE49-F238E27FC236}">
                    <a16:creationId xmlns:a16="http://schemas.microsoft.com/office/drawing/2014/main" id="{17D2FB98-3F04-4384-8BD3-655BDE5F5DC6}"/>
                  </a:ext>
                </a:extLst>
              </p:cNvPr>
              <p:cNvSpPr>
                <a:spLocks/>
              </p:cNvSpPr>
              <p:nvPr/>
            </p:nvSpPr>
            <p:spPr bwMode="auto">
              <a:xfrm>
                <a:off x="3708" y="463"/>
                <a:ext cx="100" cy="100"/>
              </a:xfrm>
              <a:custGeom>
                <a:avLst/>
                <a:gdLst>
                  <a:gd name="T0" fmla="*/ 12 w 100"/>
                  <a:gd name="T1" fmla="*/ 100 h 100"/>
                  <a:gd name="T2" fmla="*/ 0 w 100"/>
                  <a:gd name="T3" fmla="*/ 88 h 100"/>
                  <a:gd name="T4" fmla="*/ 89 w 100"/>
                  <a:gd name="T5" fmla="*/ 0 h 100"/>
                  <a:gd name="T6" fmla="*/ 100 w 100"/>
                  <a:gd name="T7" fmla="*/ 11 h 100"/>
                  <a:gd name="T8" fmla="*/ 12 w 100"/>
                  <a:gd name="T9" fmla="*/ 100 h 100"/>
                </a:gdLst>
                <a:ahLst/>
                <a:cxnLst>
                  <a:cxn ang="0">
                    <a:pos x="T0" y="T1"/>
                  </a:cxn>
                  <a:cxn ang="0">
                    <a:pos x="T2" y="T3"/>
                  </a:cxn>
                  <a:cxn ang="0">
                    <a:pos x="T4" y="T5"/>
                  </a:cxn>
                  <a:cxn ang="0">
                    <a:pos x="T6" y="T7"/>
                  </a:cxn>
                  <a:cxn ang="0">
                    <a:pos x="T8" y="T9"/>
                  </a:cxn>
                </a:cxnLst>
                <a:rect l="0" t="0" r="r" b="b"/>
                <a:pathLst>
                  <a:path w="100" h="100">
                    <a:moveTo>
                      <a:pt x="12" y="100"/>
                    </a:moveTo>
                    <a:lnTo>
                      <a:pt x="0" y="88"/>
                    </a:lnTo>
                    <a:lnTo>
                      <a:pt x="89" y="0"/>
                    </a:lnTo>
                    <a:lnTo>
                      <a:pt x="100" y="11"/>
                    </a:lnTo>
                    <a:lnTo>
                      <a:pt x="12"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62" name="Freeform 50">
                <a:extLst>
                  <a:ext uri="{FF2B5EF4-FFF2-40B4-BE49-F238E27FC236}">
                    <a16:creationId xmlns:a16="http://schemas.microsoft.com/office/drawing/2014/main" id="{8CB9D8CE-FA01-42C4-8463-70437A3C2039}"/>
                  </a:ext>
                </a:extLst>
              </p:cNvPr>
              <p:cNvSpPr>
                <a:spLocks/>
              </p:cNvSpPr>
              <p:nvPr/>
            </p:nvSpPr>
            <p:spPr bwMode="auto">
              <a:xfrm>
                <a:off x="3779" y="480"/>
                <a:ext cx="83" cy="83"/>
              </a:xfrm>
              <a:custGeom>
                <a:avLst/>
                <a:gdLst>
                  <a:gd name="T0" fmla="*/ 12 w 83"/>
                  <a:gd name="T1" fmla="*/ 83 h 83"/>
                  <a:gd name="T2" fmla="*/ 0 w 83"/>
                  <a:gd name="T3" fmla="*/ 71 h 83"/>
                  <a:gd name="T4" fmla="*/ 71 w 83"/>
                  <a:gd name="T5" fmla="*/ 0 h 83"/>
                  <a:gd name="T6" fmla="*/ 83 w 83"/>
                  <a:gd name="T7" fmla="*/ 12 h 83"/>
                  <a:gd name="T8" fmla="*/ 12 w 83"/>
                  <a:gd name="T9" fmla="*/ 83 h 83"/>
                </a:gdLst>
                <a:ahLst/>
                <a:cxnLst>
                  <a:cxn ang="0">
                    <a:pos x="T0" y="T1"/>
                  </a:cxn>
                  <a:cxn ang="0">
                    <a:pos x="T2" y="T3"/>
                  </a:cxn>
                  <a:cxn ang="0">
                    <a:pos x="T4" y="T5"/>
                  </a:cxn>
                  <a:cxn ang="0">
                    <a:pos x="T6" y="T7"/>
                  </a:cxn>
                  <a:cxn ang="0">
                    <a:pos x="T8" y="T9"/>
                  </a:cxn>
                </a:cxnLst>
                <a:rect l="0" t="0" r="r" b="b"/>
                <a:pathLst>
                  <a:path w="83" h="83">
                    <a:moveTo>
                      <a:pt x="12" y="83"/>
                    </a:moveTo>
                    <a:lnTo>
                      <a:pt x="0" y="71"/>
                    </a:lnTo>
                    <a:lnTo>
                      <a:pt x="71" y="0"/>
                    </a:lnTo>
                    <a:lnTo>
                      <a:pt x="83" y="12"/>
                    </a:lnTo>
                    <a:lnTo>
                      <a:pt x="1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grpSp>
        <p:sp>
          <p:nvSpPr>
            <p:cNvPr id="42" name="Rectangle 41">
              <a:extLst>
                <a:ext uri="{FF2B5EF4-FFF2-40B4-BE49-F238E27FC236}">
                  <a16:creationId xmlns:a16="http://schemas.microsoft.com/office/drawing/2014/main" id="{799E7E0F-20F6-4363-8454-EC5F199CF57F}"/>
                </a:ext>
                <a:ext uri="{C183D7F6-B498-43B3-948B-1728B52AA6E4}">
                  <adec:decorative xmlns:adec="http://schemas.microsoft.com/office/drawing/2017/decorative" val="1"/>
                </a:ext>
              </a:extLst>
            </p:cNvPr>
            <p:cNvSpPr/>
            <p:nvPr userDrawn="1"/>
          </p:nvSpPr>
          <p:spPr>
            <a:xfrm>
              <a:off x="10540361" y="5128381"/>
              <a:ext cx="1270618" cy="1183518"/>
            </a:xfrm>
            <a:prstGeom prst="rect">
              <a:avLst/>
            </a:prstGeom>
            <a:no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nvGrpSpPr>
            <p:cNvPr id="63" name="Group 10" descr="Video Play">
              <a:extLst>
                <a:ext uri="{FF2B5EF4-FFF2-40B4-BE49-F238E27FC236}">
                  <a16:creationId xmlns:a16="http://schemas.microsoft.com/office/drawing/2014/main" id="{22B8AE31-48E3-4BE1-9F9C-FDA49E78BC51}"/>
                </a:ext>
                <a:ext uri="{C183D7F6-B498-43B3-948B-1728B52AA6E4}">
                  <adec:decorative xmlns:adec="http://schemas.microsoft.com/office/drawing/2017/decorative" val="0"/>
                </a:ext>
              </a:extLst>
            </p:cNvPr>
            <p:cNvGrpSpPr>
              <a:grpSpLocks noChangeAspect="1"/>
            </p:cNvGrpSpPr>
            <p:nvPr/>
          </p:nvGrpSpPr>
          <p:grpSpPr bwMode="auto">
            <a:xfrm>
              <a:off x="10965185" y="5500310"/>
              <a:ext cx="467720" cy="468818"/>
              <a:chOff x="1374" y="442"/>
              <a:chExt cx="425" cy="426"/>
            </a:xfrm>
            <a:solidFill>
              <a:schemeClr val="accent1"/>
            </a:solidFill>
          </p:grpSpPr>
          <p:sp>
            <p:nvSpPr>
              <p:cNvPr id="64" name="Freeform 11">
                <a:extLst>
                  <a:ext uri="{FF2B5EF4-FFF2-40B4-BE49-F238E27FC236}">
                    <a16:creationId xmlns:a16="http://schemas.microsoft.com/office/drawing/2014/main" id="{9CD2690D-BD7B-40D7-B4AC-CBA5B7B56DC2}"/>
                  </a:ext>
                </a:extLst>
              </p:cNvPr>
              <p:cNvSpPr>
                <a:spLocks noEditPoints="1"/>
              </p:cNvSpPr>
              <p:nvPr/>
            </p:nvSpPr>
            <p:spPr bwMode="auto">
              <a:xfrm>
                <a:off x="1374" y="442"/>
                <a:ext cx="425" cy="426"/>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4" y="288"/>
                      <a:pt x="0" y="223"/>
                      <a:pt x="0" y="144"/>
                    </a:cubicBezTo>
                    <a:cubicBezTo>
                      <a:pt x="0" y="64"/>
                      <a:pt x="64" y="0"/>
                      <a:pt x="144" y="0"/>
                    </a:cubicBezTo>
                    <a:cubicBezTo>
                      <a:pt x="223" y="0"/>
                      <a:pt x="288" y="64"/>
                      <a:pt x="288" y="144"/>
                    </a:cubicBezTo>
                    <a:cubicBezTo>
                      <a:pt x="288" y="223"/>
                      <a:pt x="223" y="288"/>
                      <a:pt x="144" y="288"/>
                    </a:cubicBezTo>
                    <a:close/>
                    <a:moveTo>
                      <a:pt x="144" y="12"/>
                    </a:moveTo>
                    <a:cubicBezTo>
                      <a:pt x="71" y="12"/>
                      <a:pt x="12" y="71"/>
                      <a:pt x="12" y="144"/>
                    </a:cubicBezTo>
                    <a:cubicBezTo>
                      <a:pt x="12" y="216"/>
                      <a:pt x="71" y="276"/>
                      <a:pt x="144" y="276"/>
                    </a:cubicBezTo>
                    <a:cubicBezTo>
                      <a:pt x="216" y="276"/>
                      <a:pt x="276" y="216"/>
                      <a:pt x="276" y="144"/>
                    </a:cubicBezTo>
                    <a:cubicBezTo>
                      <a:pt x="276" y="71"/>
                      <a:pt x="216"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5" name="Freeform 12">
                <a:extLst>
                  <a:ext uri="{FF2B5EF4-FFF2-40B4-BE49-F238E27FC236}">
                    <a16:creationId xmlns:a16="http://schemas.microsoft.com/office/drawing/2014/main" id="{B7647B7A-3E93-4CB0-B37F-85E2ED849DA6}"/>
                  </a:ext>
                </a:extLst>
              </p:cNvPr>
              <p:cNvSpPr>
                <a:spLocks noEditPoints="1"/>
              </p:cNvSpPr>
              <p:nvPr/>
            </p:nvSpPr>
            <p:spPr bwMode="auto">
              <a:xfrm>
                <a:off x="1516" y="565"/>
                <a:ext cx="177" cy="179"/>
              </a:xfrm>
              <a:custGeom>
                <a:avLst/>
                <a:gdLst>
                  <a:gd name="T0" fmla="*/ 6 w 120"/>
                  <a:gd name="T1" fmla="*/ 121 h 121"/>
                  <a:gd name="T2" fmla="*/ 2 w 120"/>
                  <a:gd name="T3" fmla="*/ 120 h 121"/>
                  <a:gd name="T4" fmla="*/ 0 w 120"/>
                  <a:gd name="T5" fmla="*/ 115 h 121"/>
                  <a:gd name="T6" fmla="*/ 0 w 120"/>
                  <a:gd name="T7" fmla="*/ 7 h 121"/>
                  <a:gd name="T8" fmla="*/ 2 w 120"/>
                  <a:gd name="T9" fmla="*/ 2 h 121"/>
                  <a:gd name="T10" fmla="*/ 8 w 120"/>
                  <a:gd name="T11" fmla="*/ 1 h 121"/>
                  <a:gd name="T12" fmla="*/ 116 w 120"/>
                  <a:gd name="T13" fmla="*/ 55 h 121"/>
                  <a:gd name="T14" fmla="*/ 120 w 120"/>
                  <a:gd name="T15" fmla="*/ 61 h 121"/>
                  <a:gd name="T16" fmla="*/ 116 w 120"/>
                  <a:gd name="T17" fmla="*/ 66 h 121"/>
                  <a:gd name="T18" fmla="*/ 8 w 120"/>
                  <a:gd name="T19" fmla="*/ 120 h 121"/>
                  <a:gd name="T20" fmla="*/ 6 w 120"/>
                  <a:gd name="T21" fmla="*/ 121 h 121"/>
                  <a:gd name="T22" fmla="*/ 12 w 120"/>
                  <a:gd name="T23" fmla="*/ 16 h 121"/>
                  <a:gd name="T24" fmla="*/ 12 w 120"/>
                  <a:gd name="T25" fmla="*/ 105 h 121"/>
                  <a:gd name="T26" fmla="*/ 100 w 120"/>
                  <a:gd name="T27" fmla="*/ 61 h 121"/>
                  <a:gd name="T28" fmla="*/ 12 w 120"/>
                  <a:gd name="T29" fmla="*/ 1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121">
                    <a:moveTo>
                      <a:pt x="6" y="121"/>
                    </a:moveTo>
                    <a:cubicBezTo>
                      <a:pt x="5" y="121"/>
                      <a:pt x="3" y="120"/>
                      <a:pt x="2" y="120"/>
                    </a:cubicBezTo>
                    <a:cubicBezTo>
                      <a:pt x="1" y="119"/>
                      <a:pt x="0" y="117"/>
                      <a:pt x="0" y="115"/>
                    </a:cubicBezTo>
                    <a:cubicBezTo>
                      <a:pt x="0" y="7"/>
                      <a:pt x="0" y="7"/>
                      <a:pt x="0" y="7"/>
                    </a:cubicBezTo>
                    <a:cubicBezTo>
                      <a:pt x="0" y="5"/>
                      <a:pt x="1" y="3"/>
                      <a:pt x="2" y="2"/>
                    </a:cubicBezTo>
                    <a:cubicBezTo>
                      <a:pt x="4" y="0"/>
                      <a:pt x="6" y="0"/>
                      <a:pt x="8" y="1"/>
                    </a:cubicBezTo>
                    <a:cubicBezTo>
                      <a:pt x="116" y="55"/>
                      <a:pt x="116" y="55"/>
                      <a:pt x="116" y="55"/>
                    </a:cubicBezTo>
                    <a:cubicBezTo>
                      <a:pt x="118" y="56"/>
                      <a:pt x="120" y="58"/>
                      <a:pt x="120" y="61"/>
                    </a:cubicBezTo>
                    <a:cubicBezTo>
                      <a:pt x="120" y="63"/>
                      <a:pt x="118" y="65"/>
                      <a:pt x="116" y="66"/>
                    </a:cubicBezTo>
                    <a:cubicBezTo>
                      <a:pt x="8" y="120"/>
                      <a:pt x="8" y="120"/>
                      <a:pt x="8" y="120"/>
                    </a:cubicBezTo>
                    <a:cubicBezTo>
                      <a:pt x="7" y="120"/>
                      <a:pt x="7" y="121"/>
                      <a:pt x="6" y="121"/>
                    </a:cubicBezTo>
                    <a:close/>
                    <a:moveTo>
                      <a:pt x="12" y="16"/>
                    </a:moveTo>
                    <a:cubicBezTo>
                      <a:pt x="12" y="105"/>
                      <a:pt x="12" y="105"/>
                      <a:pt x="12" y="105"/>
                    </a:cubicBezTo>
                    <a:cubicBezTo>
                      <a:pt x="100" y="61"/>
                      <a:pt x="100" y="61"/>
                      <a:pt x="100" y="61"/>
                    </a:cubicBezTo>
                    <a:lnTo>
                      <a:pt x="1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263" name="Footer Placeholder 262">
            <a:extLst>
              <a:ext uri="{FF2B5EF4-FFF2-40B4-BE49-F238E27FC236}">
                <a16:creationId xmlns:a16="http://schemas.microsoft.com/office/drawing/2014/main" id="{8AACED25-96B8-4C1D-91BC-E1AE5D46C88D}"/>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93D01950-FBC6-4FDB-8A06-8F93840254B0}"/>
              </a:ext>
            </a:extLst>
          </p:cNvPr>
          <p:cNvSpPr>
            <a:spLocks noGrp="1"/>
          </p:cNvSpPr>
          <p:nvPr>
            <p:ph type="sldNum" sz="quarter" idx="10"/>
          </p:nvPr>
        </p:nvSpPr>
        <p:spPr/>
        <p:txBody>
          <a:bodyPr/>
          <a:lstStyle/>
          <a:p>
            <a:fld id="{1F90F471-3972-4120-B8B3-0237DE626C35}" type="slidenum">
              <a:rPr lang="en-US" smtClean="0"/>
              <a:pPr/>
              <a:t>13</a:t>
            </a:fld>
            <a:endParaRPr lang="en-US" dirty="0"/>
          </a:p>
        </p:txBody>
      </p:sp>
    </p:spTree>
    <p:extLst>
      <p:ext uri="{BB962C8B-B14F-4D97-AF65-F5344CB8AC3E}">
        <p14:creationId xmlns:p14="http://schemas.microsoft.com/office/powerpoint/2010/main" val="103584626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C42D42-FF16-4076-9E9A-9DF26F8F39F1}"/>
              </a:ext>
            </a:extLst>
          </p:cNvPr>
          <p:cNvSpPr>
            <a:spLocks noGrp="1"/>
          </p:cNvSpPr>
          <p:nvPr>
            <p:ph type="title"/>
          </p:nvPr>
        </p:nvSpPr>
        <p:spPr/>
        <p:txBody>
          <a:bodyPr/>
          <a:lstStyle/>
          <a:p>
            <a:r>
              <a:rPr lang="en-US" dirty="0"/>
              <a:t>Cross-fertilization 2</a:t>
            </a:r>
          </a:p>
        </p:txBody>
      </p:sp>
      <p:sp>
        <p:nvSpPr>
          <p:cNvPr id="12" name="Freeform 5">
            <a:extLst>
              <a:ext uri="{FF2B5EF4-FFF2-40B4-BE49-F238E27FC236}">
                <a16:creationId xmlns:a16="http://schemas.microsoft.com/office/drawing/2014/main" id="{FEDAD511-F121-46BC-84CE-EE00102743FE}"/>
              </a:ext>
              <a:ext uri="{C183D7F6-B498-43B3-948B-1728B52AA6E4}">
                <adec:decorative xmlns:adec="http://schemas.microsoft.com/office/drawing/2017/decorative" val="1"/>
              </a:ext>
            </a:extLst>
          </p:cNvPr>
          <p:cNvSpPr>
            <a:spLocks/>
          </p:cNvSpPr>
          <p:nvPr/>
        </p:nvSpPr>
        <p:spPr bwMode="auto">
          <a:xfrm>
            <a:off x="2042377" y="1639888"/>
            <a:ext cx="4256088" cy="4416425"/>
          </a:xfrm>
          <a:custGeom>
            <a:avLst/>
            <a:gdLst>
              <a:gd name="T0" fmla="*/ 2681 w 2681"/>
              <a:gd name="T1" fmla="*/ 0 h 2782"/>
              <a:gd name="T2" fmla="*/ 0 w 2681"/>
              <a:gd name="T3" fmla="*/ 0 h 2782"/>
              <a:gd name="T4" fmla="*/ 0 w 2681"/>
              <a:gd name="T5" fmla="*/ 2782 h 2782"/>
              <a:gd name="T6" fmla="*/ 2174 w 2681"/>
              <a:gd name="T7" fmla="*/ 2782 h 2782"/>
              <a:gd name="T8" fmla="*/ 2681 w 2681"/>
              <a:gd name="T9" fmla="*/ 0 h 2782"/>
            </a:gdLst>
            <a:ahLst/>
            <a:cxnLst>
              <a:cxn ang="0">
                <a:pos x="T0" y="T1"/>
              </a:cxn>
              <a:cxn ang="0">
                <a:pos x="T2" y="T3"/>
              </a:cxn>
              <a:cxn ang="0">
                <a:pos x="T4" y="T5"/>
              </a:cxn>
              <a:cxn ang="0">
                <a:pos x="T6" y="T7"/>
              </a:cxn>
              <a:cxn ang="0">
                <a:pos x="T8" y="T9"/>
              </a:cxn>
            </a:cxnLst>
            <a:rect l="0" t="0" r="r" b="b"/>
            <a:pathLst>
              <a:path w="2681" h="2782">
                <a:moveTo>
                  <a:pt x="2681" y="0"/>
                </a:moveTo>
                <a:lnTo>
                  <a:pt x="0" y="0"/>
                </a:lnTo>
                <a:lnTo>
                  <a:pt x="0" y="2782"/>
                </a:lnTo>
                <a:lnTo>
                  <a:pt x="2174" y="2782"/>
                </a:lnTo>
                <a:lnTo>
                  <a:pt x="2681"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6" name="Rectangle 6">
            <a:extLst>
              <a:ext uri="{FF2B5EF4-FFF2-40B4-BE49-F238E27FC236}">
                <a16:creationId xmlns:a16="http://schemas.microsoft.com/office/drawing/2014/main" id="{F4A02C23-FE1C-40CD-AFAF-11EC292AE1C3}"/>
              </a:ext>
            </a:extLst>
          </p:cNvPr>
          <p:cNvSpPr>
            <a:spLocks noChangeArrowheads="1"/>
          </p:cNvSpPr>
          <p:nvPr>
            <p:custDataLst>
              <p:tags r:id="rId1"/>
            </p:custDataLst>
          </p:nvPr>
        </p:nvSpPr>
        <p:spPr bwMode="auto">
          <a:xfrm>
            <a:off x="2042377" y="1639888"/>
            <a:ext cx="3335176" cy="4418011"/>
          </a:xfrm>
          <a:prstGeom prst="rect">
            <a:avLst/>
          </a:prstGeom>
          <a:noFill/>
          <a:ln w="6350">
            <a:noFill/>
            <a:miter lim="800000"/>
            <a:headEnd/>
            <a:tailEnd/>
          </a:ln>
          <a:effectLst/>
        </p:spPr>
        <p:txBody>
          <a:bodyPr lIns="180000" tIns="180000" rIns="72000" bIns="72000"/>
          <a:lstStyle/>
          <a:p>
            <a:pPr algn="l" eaLnBrk="0" hangingPunct="0">
              <a:lnSpc>
                <a:spcPct val="85000"/>
              </a:lnSpc>
              <a:spcBef>
                <a:spcPts val="100"/>
              </a:spcBef>
              <a:spcAft>
                <a:spcPts val="300"/>
              </a:spcAft>
            </a:pPr>
            <a:r>
              <a:rPr lang="en-US" b="1" cap="all" dirty="0">
                <a:solidFill>
                  <a:schemeClr val="bg1"/>
                </a:solidFill>
                <a:latin typeface="+mj-lt"/>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p:txBody>
      </p:sp>
      <p:sp>
        <p:nvSpPr>
          <p:cNvPr id="14" name="Freeform 6">
            <a:extLst>
              <a:ext uri="{FF2B5EF4-FFF2-40B4-BE49-F238E27FC236}">
                <a16:creationId xmlns:a16="http://schemas.microsoft.com/office/drawing/2014/main" id="{6A3E0B10-977E-4F0E-A5CE-5303EAD68BD6}"/>
              </a:ext>
              <a:ext uri="{C183D7F6-B498-43B3-948B-1728B52AA6E4}">
                <adec:decorative xmlns:adec="http://schemas.microsoft.com/office/drawing/2017/decorative" val="1"/>
              </a:ext>
            </a:extLst>
          </p:cNvPr>
          <p:cNvSpPr>
            <a:spLocks/>
          </p:cNvSpPr>
          <p:nvPr/>
        </p:nvSpPr>
        <p:spPr bwMode="auto">
          <a:xfrm>
            <a:off x="5893535" y="1639888"/>
            <a:ext cx="4256088" cy="4416425"/>
          </a:xfrm>
          <a:custGeom>
            <a:avLst/>
            <a:gdLst>
              <a:gd name="T0" fmla="*/ 507 w 2681"/>
              <a:gd name="T1" fmla="*/ 0 h 2782"/>
              <a:gd name="T2" fmla="*/ 0 w 2681"/>
              <a:gd name="T3" fmla="*/ 2782 h 2782"/>
              <a:gd name="T4" fmla="*/ 2681 w 2681"/>
              <a:gd name="T5" fmla="*/ 2782 h 2782"/>
              <a:gd name="T6" fmla="*/ 2681 w 2681"/>
              <a:gd name="T7" fmla="*/ 0 h 2782"/>
              <a:gd name="T8" fmla="*/ 507 w 2681"/>
              <a:gd name="T9" fmla="*/ 0 h 2782"/>
            </a:gdLst>
            <a:ahLst/>
            <a:cxnLst>
              <a:cxn ang="0">
                <a:pos x="T0" y="T1"/>
              </a:cxn>
              <a:cxn ang="0">
                <a:pos x="T2" y="T3"/>
              </a:cxn>
              <a:cxn ang="0">
                <a:pos x="T4" y="T5"/>
              </a:cxn>
              <a:cxn ang="0">
                <a:pos x="T6" y="T7"/>
              </a:cxn>
              <a:cxn ang="0">
                <a:pos x="T8" y="T9"/>
              </a:cxn>
            </a:cxnLst>
            <a:rect l="0" t="0" r="r" b="b"/>
            <a:pathLst>
              <a:path w="2681" h="2782">
                <a:moveTo>
                  <a:pt x="507" y="0"/>
                </a:moveTo>
                <a:lnTo>
                  <a:pt x="0" y="2782"/>
                </a:lnTo>
                <a:lnTo>
                  <a:pt x="2681" y="2782"/>
                </a:lnTo>
                <a:lnTo>
                  <a:pt x="2681" y="0"/>
                </a:lnTo>
                <a:lnTo>
                  <a:pt x="507" y="0"/>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8" name="Rectangle 7">
            <a:extLst>
              <a:ext uri="{FF2B5EF4-FFF2-40B4-BE49-F238E27FC236}">
                <a16:creationId xmlns:a16="http://schemas.microsoft.com/office/drawing/2014/main" id="{FA0725FC-B1F3-4CEC-94B2-7DF409F08280}"/>
              </a:ext>
            </a:extLst>
          </p:cNvPr>
          <p:cNvSpPr>
            <a:spLocks noChangeArrowheads="1"/>
          </p:cNvSpPr>
          <p:nvPr>
            <p:custDataLst>
              <p:tags r:id="rId2"/>
            </p:custDataLst>
          </p:nvPr>
        </p:nvSpPr>
        <p:spPr bwMode="auto">
          <a:xfrm>
            <a:off x="6721748" y="1639888"/>
            <a:ext cx="3427875" cy="4418011"/>
          </a:xfrm>
          <a:prstGeom prst="rect">
            <a:avLst/>
          </a:prstGeom>
          <a:noFill/>
          <a:ln w="6350">
            <a:noFill/>
            <a:miter lim="800000"/>
            <a:headEnd/>
            <a:tailEnd/>
          </a:ln>
          <a:effectLst/>
        </p:spPr>
        <p:txBody>
          <a:bodyPr lIns="180000" tIns="180000" rIns="72000" bIns="72000"/>
          <a:lstStyle/>
          <a:p>
            <a:pPr eaLnBrk="0" hangingPunct="0">
              <a:lnSpc>
                <a:spcPct val="85000"/>
              </a:lnSpc>
              <a:spcBef>
                <a:spcPts val="100"/>
              </a:spcBef>
              <a:spcAft>
                <a:spcPts val="300"/>
              </a:spcAft>
            </a:pPr>
            <a:r>
              <a:rPr lang="en-US" b="1" cap="all" dirty="0">
                <a:latin typeface="+mj-lt"/>
              </a:rPr>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p:txBody>
      </p:sp>
      <p:sp>
        <p:nvSpPr>
          <p:cNvPr id="22" name="Arrow: Right 21">
            <a:extLst>
              <a:ext uri="{FF2B5EF4-FFF2-40B4-BE49-F238E27FC236}">
                <a16:creationId xmlns:a16="http://schemas.microsoft.com/office/drawing/2014/main" id="{BE4D8458-B570-4E39-ADEB-0445D098DB6D}"/>
              </a:ext>
              <a:ext uri="{C183D7F6-B498-43B3-948B-1728B52AA6E4}">
                <adec:decorative xmlns:adec="http://schemas.microsoft.com/office/drawing/2017/decorative" val="1"/>
              </a:ext>
            </a:extLst>
          </p:cNvPr>
          <p:cNvSpPr/>
          <p:nvPr/>
        </p:nvSpPr>
        <p:spPr>
          <a:xfrm flipH="1">
            <a:off x="5508751" y="4009618"/>
            <a:ext cx="1005919" cy="715959"/>
          </a:xfrm>
          <a:prstGeom prst="rightArrow">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 name="Footer Placeholder 4">
            <a:extLst>
              <a:ext uri="{FF2B5EF4-FFF2-40B4-BE49-F238E27FC236}">
                <a16:creationId xmlns:a16="http://schemas.microsoft.com/office/drawing/2014/main" id="{1AF3D21F-DF19-412E-A381-167FA43B782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3477E0F4-5B05-4C09-B41B-CF855312979D}"/>
              </a:ext>
            </a:extLst>
          </p:cNvPr>
          <p:cNvSpPr>
            <a:spLocks noGrp="1"/>
          </p:cNvSpPr>
          <p:nvPr>
            <p:ph type="sldNum" sz="quarter" idx="10"/>
          </p:nvPr>
        </p:nvSpPr>
        <p:spPr/>
        <p:txBody>
          <a:bodyPr/>
          <a:lstStyle/>
          <a:p>
            <a:fld id="{1F90F471-3972-4120-B8B3-0237DE626C35}" type="slidenum">
              <a:rPr lang="en-US" smtClean="0"/>
              <a:pPr/>
              <a:t>130</a:t>
            </a:fld>
            <a:endParaRPr lang="en-US" dirty="0"/>
          </a:p>
        </p:txBody>
      </p:sp>
      <p:sp>
        <p:nvSpPr>
          <p:cNvPr id="20" name="Arrow: Right 19">
            <a:extLst>
              <a:ext uri="{FF2B5EF4-FFF2-40B4-BE49-F238E27FC236}">
                <a16:creationId xmlns:a16="http://schemas.microsoft.com/office/drawing/2014/main" id="{FF87FD0C-A517-4D87-82C8-CEF83D52AB3B}"/>
              </a:ext>
              <a:ext uri="{C183D7F6-B498-43B3-948B-1728B52AA6E4}">
                <adec:decorative xmlns:adec="http://schemas.microsoft.com/office/drawing/2017/decorative" val="1"/>
              </a:ext>
            </a:extLst>
          </p:cNvPr>
          <p:cNvSpPr/>
          <p:nvPr/>
        </p:nvSpPr>
        <p:spPr>
          <a:xfrm>
            <a:off x="5685863" y="2920621"/>
            <a:ext cx="1005919" cy="715959"/>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20006135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B978C-A086-4280-89FD-5A6E07A714C5}"/>
              </a:ext>
            </a:extLst>
          </p:cNvPr>
          <p:cNvSpPr>
            <a:spLocks noGrp="1"/>
          </p:cNvSpPr>
          <p:nvPr>
            <p:ph type="title"/>
          </p:nvPr>
        </p:nvSpPr>
        <p:spPr/>
        <p:txBody>
          <a:bodyPr/>
          <a:lstStyle/>
          <a:p>
            <a:r>
              <a:rPr lang="en-US" dirty="0"/>
              <a:t>Cross-fertilization 3</a:t>
            </a:r>
          </a:p>
        </p:txBody>
      </p:sp>
      <p:sp>
        <p:nvSpPr>
          <p:cNvPr id="5" name="Freeform 5">
            <a:extLst>
              <a:ext uri="{FF2B5EF4-FFF2-40B4-BE49-F238E27FC236}">
                <a16:creationId xmlns:a16="http://schemas.microsoft.com/office/drawing/2014/main" id="{FD42E306-4DB0-4227-B587-15FF4E46D539}"/>
              </a:ext>
              <a:ext uri="{C183D7F6-B498-43B3-948B-1728B52AA6E4}">
                <adec:decorative xmlns:adec="http://schemas.microsoft.com/office/drawing/2017/decorative" val="1"/>
              </a:ext>
            </a:extLst>
          </p:cNvPr>
          <p:cNvSpPr>
            <a:spLocks/>
          </p:cNvSpPr>
          <p:nvPr/>
        </p:nvSpPr>
        <p:spPr bwMode="auto">
          <a:xfrm>
            <a:off x="2042377" y="1639888"/>
            <a:ext cx="4256088" cy="4416425"/>
          </a:xfrm>
          <a:custGeom>
            <a:avLst/>
            <a:gdLst>
              <a:gd name="T0" fmla="*/ 2681 w 2681"/>
              <a:gd name="T1" fmla="*/ 0 h 2782"/>
              <a:gd name="T2" fmla="*/ 0 w 2681"/>
              <a:gd name="T3" fmla="*/ 0 h 2782"/>
              <a:gd name="T4" fmla="*/ 0 w 2681"/>
              <a:gd name="T5" fmla="*/ 2782 h 2782"/>
              <a:gd name="T6" fmla="*/ 2174 w 2681"/>
              <a:gd name="T7" fmla="*/ 2782 h 2782"/>
              <a:gd name="T8" fmla="*/ 2681 w 2681"/>
              <a:gd name="T9" fmla="*/ 0 h 2782"/>
            </a:gdLst>
            <a:ahLst/>
            <a:cxnLst>
              <a:cxn ang="0">
                <a:pos x="T0" y="T1"/>
              </a:cxn>
              <a:cxn ang="0">
                <a:pos x="T2" y="T3"/>
              </a:cxn>
              <a:cxn ang="0">
                <a:pos x="T4" y="T5"/>
              </a:cxn>
              <a:cxn ang="0">
                <a:pos x="T6" y="T7"/>
              </a:cxn>
              <a:cxn ang="0">
                <a:pos x="T8" y="T9"/>
              </a:cxn>
            </a:cxnLst>
            <a:rect l="0" t="0" r="r" b="b"/>
            <a:pathLst>
              <a:path w="2681" h="2782">
                <a:moveTo>
                  <a:pt x="2681" y="0"/>
                </a:moveTo>
                <a:lnTo>
                  <a:pt x="0" y="0"/>
                </a:lnTo>
                <a:lnTo>
                  <a:pt x="0" y="2782"/>
                </a:lnTo>
                <a:lnTo>
                  <a:pt x="2174" y="2782"/>
                </a:lnTo>
                <a:lnTo>
                  <a:pt x="2681"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7" name="Rectangle 6">
            <a:extLst>
              <a:ext uri="{FF2B5EF4-FFF2-40B4-BE49-F238E27FC236}">
                <a16:creationId xmlns:a16="http://schemas.microsoft.com/office/drawing/2014/main" id="{BE41E700-9E71-4C80-95F9-4A823576BB17}"/>
              </a:ext>
            </a:extLst>
          </p:cNvPr>
          <p:cNvSpPr>
            <a:spLocks noChangeArrowheads="1"/>
          </p:cNvSpPr>
          <p:nvPr>
            <p:custDataLst>
              <p:tags r:id="rId1"/>
            </p:custDataLst>
          </p:nvPr>
        </p:nvSpPr>
        <p:spPr bwMode="auto">
          <a:xfrm>
            <a:off x="2042377" y="1639888"/>
            <a:ext cx="3335176" cy="4418011"/>
          </a:xfrm>
          <a:prstGeom prst="rect">
            <a:avLst/>
          </a:prstGeom>
          <a:noFill/>
          <a:ln w="6350">
            <a:noFill/>
            <a:miter lim="800000"/>
            <a:headEnd/>
            <a:tailEnd/>
          </a:ln>
          <a:effectLst/>
        </p:spPr>
        <p:txBody>
          <a:bodyPr lIns="180000" tIns="180000" rIns="72000" bIns="72000"/>
          <a:lstStyle/>
          <a:p>
            <a:pPr algn="l" eaLnBrk="0" hangingPunct="0">
              <a:lnSpc>
                <a:spcPct val="85000"/>
              </a:lnSpc>
              <a:spcBef>
                <a:spcPts val="100"/>
              </a:spcBef>
              <a:spcAft>
                <a:spcPts val="300"/>
              </a:spcAft>
            </a:pPr>
            <a:r>
              <a:rPr lang="en-US" b="1" cap="all" dirty="0">
                <a:solidFill>
                  <a:schemeClr val="bg1"/>
                </a:solidFill>
                <a:latin typeface="+mj-lt"/>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p:txBody>
      </p:sp>
      <p:sp>
        <p:nvSpPr>
          <p:cNvPr id="9" name="Arrow: Right 8">
            <a:extLst>
              <a:ext uri="{FF2B5EF4-FFF2-40B4-BE49-F238E27FC236}">
                <a16:creationId xmlns:a16="http://schemas.microsoft.com/office/drawing/2014/main" id="{39132984-AED0-43D4-B789-15DFEAE5AA68}"/>
              </a:ext>
              <a:ext uri="{C183D7F6-B498-43B3-948B-1728B52AA6E4}">
                <adec:decorative xmlns:adec="http://schemas.microsoft.com/office/drawing/2017/decorative" val="1"/>
              </a:ext>
            </a:extLst>
          </p:cNvPr>
          <p:cNvSpPr/>
          <p:nvPr/>
        </p:nvSpPr>
        <p:spPr>
          <a:xfrm>
            <a:off x="5685863" y="2920621"/>
            <a:ext cx="1005919" cy="715959"/>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6" name="Freeform 6">
            <a:extLst>
              <a:ext uri="{FF2B5EF4-FFF2-40B4-BE49-F238E27FC236}">
                <a16:creationId xmlns:a16="http://schemas.microsoft.com/office/drawing/2014/main" id="{41727CC8-EE3A-4AA7-BA88-02CB783D2723}"/>
              </a:ext>
              <a:ext uri="{C183D7F6-B498-43B3-948B-1728B52AA6E4}">
                <adec:decorative xmlns:adec="http://schemas.microsoft.com/office/drawing/2017/decorative" val="1"/>
              </a:ext>
            </a:extLst>
          </p:cNvPr>
          <p:cNvSpPr>
            <a:spLocks/>
          </p:cNvSpPr>
          <p:nvPr/>
        </p:nvSpPr>
        <p:spPr bwMode="auto">
          <a:xfrm>
            <a:off x="5893535" y="1639888"/>
            <a:ext cx="4256088" cy="4416425"/>
          </a:xfrm>
          <a:custGeom>
            <a:avLst/>
            <a:gdLst>
              <a:gd name="T0" fmla="*/ 507 w 2681"/>
              <a:gd name="T1" fmla="*/ 0 h 2782"/>
              <a:gd name="T2" fmla="*/ 0 w 2681"/>
              <a:gd name="T3" fmla="*/ 2782 h 2782"/>
              <a:gd name="T4" fmla="*/ 2681 w 2681"/>
              <a:gd name="T5" fmla="*/ 2782 h 2782"/>
              <a:gd name="T6" fmla="*/ 2681 w 2681"/>
              <a:gd name="T7" fmla="*/ 0 h 2782"/>
              <a:gd name="T8" fmla="*/ 507 w 2681"/>
              <a:gd name="T9" fmla="*/ 0 h 2782"/>
            </a:gdLst>
            <a:ahLst/>
            <a:cxnLst>
              <a:cxn ang="0">
                <a:pos x="T0" y="T1"/>
              </a:cxn>
              <a:cxn ang="0">
                <a:pos x="T2" y="T3"/>
              </a:cxn>
              <a:cxn ang="0">
                <a:pos x="T4" y="T5"/>
              </a:cxn>
              <a:cxn ang="0">
                <a:pos x="T6" y="T7"/>
              </a:cxn>
              <a:cxn ang="0">
                <a:pos x="T8" y="T9"/>
              </a:cxn>
            </a:cxnLst>
            <a:rect l="0" t="0" r="r" b="b"/>
            <a:pathLst>
              <a:path w="2681" h="2782">
                <a:moveTo>
                  <a:pt x="507" y="0"/>
                </a:moveTo>
                <a:lnTo>
                  <a:pt x="0" y="2782"/>
                </a:lnTo>
                <a:lnTo>
                  <a:pt x="2681" y="2782"/>
                </a:lnTo>
                <a:lnTo>
                  <a:pt x="2681" y="0"/>
                </a:lnTo>
                <a:lnTo>
                  <a:pt x="507" y="0"/>
                </a:lnTo>
                <a:close/>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 name="Rectangle 7">
            <a:extLst>
              <a:ext uri="{FF2B5EF4-FFF2-40B4-BE49-F238E27FC236}">
                <a16:creationId xmlns:a16="http://schemas.microsoft.com/office/drawing/2014/main" id="{E39A8DB3-D140-49FC-A0D7-06F8520E4F43}"/>
              </a:ext>
            </a:extLst>
          </p:cNvPr>
          <p:cNvSpPr>
            <a:spLocks noChangeArrowheads="1"/>
          </p:cNvSpPr>
          <p:nvPr>
            <p:custDataLst>
              <p:tags r:id="rId2"/>
            </p:custDataLst>
          </p:nvPr>
        </p:nvSpPr>
        <p:spPr bwMode="auto">
          <a:xfrm>
            <a:off x="6721748" y="1639888"/>
            <a:ext cx="3427875" cy="4418011"/>
          </a:xfrm>
          <a:prstGeom prst="rect">
            <a:avLst/>
          </a:prstGeom>
          <a:noFill/>
          <a:ln w="6350">
            <a:noFill/>
            <a:miter lim="800000"/>
            <a:headEnd/>
            <a:tailEnd/>
          </a:ln>
          <a:effectLst/>
        </p:spPr>
        <p:txBody>
          <a:bodyPr lIns="180000" tIns="180000" rIns="72000" bIns="72000"/>
          <a:lstStyle/>
          <a:p>
            <a:pPr eaLnBrk="0" hangingPunct="0">
              <a:lnSpc>
                <a:spcPct val="85000"/>
              </a:lnSpc>
              <a:spcBef>
                <a:spcPts val="100"/>
              </a:spcBef>
              <a:spcAft>
                <a:spcPts val="300"/>
              </a:spcAft>
            </a:pPr>
            <a:r>
              <a:rPr lang="en-US" b="1" cap="all" dirty="0">
                <a:latin typeface="+mj-lt"/>
              </a:rPr>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p:txBody>
      </p:sp>
      <p:sp>
        <p:nvSpPr>
          <p:cNvPr id="10" name="Arrow: Right 9">
            <a:extLst>
              <a:ext uri="{FF2B5EF4-FFF2-40B4-BE49-F238E27FC236}">
                <a16:creationId xmlns:a16="http://schemas.microsoft.com/office/drawing/2014/main" id="{3F26F5A0-018E-4102-9CE5-B83A5A2D6F3A}"/>
              </a:ext>
              <a:ext uri="{C183D7F6-B498-43B3-948B-1728B52AA6E4}">
                <adec:decorative xmlns:adec="http://schemas.microsoft.com/office/drawing/2017/decorative" val="1"/>
              </a:ext>
            </a:extLst>
          </p:cNvPr>
          <p:cNvSpPr/>
          <p:nvPr/>
        </p:nvSpPr>
        <p:spPr>
          <a:xfrm flipH="1">
            <a:off x="5508751" y="4009618"/>
            <a:ext cx="1005919" cy="715959"/>
          </a:xfrm>
          <a:prstGeom prst="rightArrow">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 name="Footer Placeholder 10">
            <a:extLst>
              <a:ext uri="{FF2B5EF4-FFF2-40B4-BE49-F238E27FC236}">
                <a16:creationId xmlns:a16="http://schemas.microsoft.com/office/drawing/2014/main" id="{4FC0E630-1F77-4E92-86EE-1DF1DDA447F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2" name="Slide Number Placeholder 11">
            <a:extLst>
              <a:ext uri="{FF2B5EF4-FFF2-40B4-BE49-F238E27FC236}">
                <a16:creationId xmlns:a16="http://schemas.microsoft.com/office/drawing/2014/main" id="{CC3D55F1-BDBB-440B-96C0-E6565C65DC53}"/>
              </a:ext>
            </a:extLst>
          </p:cNvPr>
          <p:cNvSpPr>
            <a:spLocks noGrp="1"/>
          </p:cNvSpPr>
          <p:nvPr>
            <p:ph type="sldNum" sz="quarter" idx="10"/>
          </p:nvPr>
        </p:nvSpPr>
        <p:spPr/>
        <p:txBody>
          <a:bodyPr/>
          <a:lstStyle/>
          <a:p>
            <a:fld id="{1F90F471-3972-4120-B8B3-0237DE626C35}" type="slidenum">
              <a:rPr lang="en-US" smtClean="0"/>
              <a:pPr/>
              <a:t>131</a:t>
            </a:fld>
            <a:endParaRPr lang="en-US" dirty="0"/>
          </a:p>
        </p:txBody>
      </p:sp>
    </p:spTree>
    <p:extLst>
      <p:ext uri="{BB962C8B-B14F-4D97-AF65-F5344CB8AC3E}">
        <p14:creationId xmlns:p14="http://schemas.microsoft.com/office/powerpoint/2010/main" val="3378119124"/>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0A072D-B236-4AA3-800D-5CE49E1D53E5}"/>
              </a:ext>
            </a:extLst>
          </p:cNvPr>
          <p:cNvSpPr>
            <a:spLocks noGrp="1"/>
          </p:cNvSpPr>
          <p:nvPr>
            <p:ph type="title"/>
          </p:nvPr>
        </p:nvSpPr>
        <p:spPr/>
        <p:txBody>
          <a:bodyPr/>
          <a:lstStyle/>
          <a:p>
            <a:r>
              <a:rPr lang="en-US" dirty="0"/>
              <a:t>Cross-fertilization 4</a:t>
            </a:r>
          </a:p>
        </p:txBody>
      </p:sp>
      <p:sp>
        <p:nvSpPr>
          <p:cNvPr id="5" name="Freeform 5">
            <a:extLst>
              <a:ext uri="{FF2B5EF4-FFF2-40B4-BE49-F238E27FC236}">
                <a16:creationId xmlns:a16="http://schemas.microsoft.com/office/drawing/2014/main" id="{4F821499-5C61-4600-93C6-D09A94416EA0}"/>
              </a:ext>
              <a:ext uri="{C183D7F6-B498-43B3-948B-1728B52AA6E4}">
                <adec:decorative xmlns:adec="http://schemas.microsoft.com/office/drawing/2017/decorative" val="1"/>
              </a:ext>
            </a:extLst>
          </p:cNvPr>
          <p:cNvSpPr>
            <a:spLocks/>
          </p:cNvSpPr>
          <p:nvPr/>
        </p:nvSpPr>
        <p:spPr bwMode="auto">
          <a:xfrm>
            <a:off x="1822449" y="1520384"/>
            <a:ext cx="8550275" cy="2233613"/>
          </a:xfrm>
          <a:custGeom>
            <a:avLst/>
            <a:gdLst>
              <a:gd name="T0" fmla="*/ 5556 w 5556"/>
              <a:gd name="T1" fmla="*/ 1407 h 1407"/>
              <a:gd name="T2" fmla="*/ 5556 w 5556"/>
              <a:gd name="T3" fmla="*/ 0 h 1407"/>
              <a:gd name="T4" fmla="*/ 0 w 5556"/>
              <a:gd name="T5" fmla="*/ 0 h 1407"/>
              <a:gd name="T6" fmla="*/ 0 w 5556"/>
              <a:gd name="T7" fmla="*/ 1207 h 1407"/>
              <a:gd name="T8" fmla="*/ 5556 w 5556"/>
              <a:gd name="T9" fmla="*/ 1407 h 1407"/>
            </a:gdLst>
            <a:ahLst/>
            <a:cxnLst>
              <a:cxn ang="0">
                <a:pos x="T0" y="T1"/>
              </a:cxn>
              <a:cxn ang="0">
                <a:pos x="T2" y="T3"/>
              </a:cxn>
              <a:cxn ang="0">
                <a:pos x="T4" y="T5"/>
              </a:cxn>
              <a:cxn ang="0">
                <a:pos x="T6" y="T7"/>
              </a:cxn>
              <a:cxn ang="0">
                <a:pos x="T8" y="T9"/>
              </a:cxn>
            </a:cxnLst>
            <a:rect l="0" t="0" r="r" b="b"/>
            <a:pathLst>
              <a:path w="5556" h="1407">
                <a:moveTo>
                  <a:pt x="5556" y="1407"/>
                </a:moveTo>
                <a:lnTo>
                  <a:pt x="5556" y="0"/>
                </a:lnTo>
                <a:lnTo>
                  <a:pt x="0" y="0"/>
                </a:lnTo>
                <a:lnTo>
                  <a:pt x="0" y="1207"/>
                </a:lnTo>
                <a:lnTo>
                  <a:pt x="5556" y="140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7" name="Rectangle 6">
            <a:extLst>
              <a:ext uri="{FF2B5EF4-FFF2-40B4-BE49-F238E27FC236}">
                <a16:creationId xmlns:a16="http://schemas.microsoft.com/office/drawing/2014/main" id="{B51DEE67-BAFF-4A23-95CC-2C360B85E5D0}"/>
              </a:ext>
            </a:extLst>
          </p:cNvPr>
          <p:cNvSpPr>
            <a:spLocks noChangeArrowheads="1"/>
          </p:cNvSpPr>
          <p:nvPr>
            <p:custDataLst>
              <p:tags r:id="rId1"/>
            </p:custDataLst>
          </p:nvPr>
        </p:nvSpPr>
        <p:spPr bwMode="auto">
          <a:xfrm>
            <a:off x="1822448" y="1520384"/>
            <a:ext cx="8550275" cy="1874457"/>
          </a:xfrm>
          <a:prstGeom prst="rect">
            <a:avLst/>
          </a:prstGeom>
          <a:noFill/>
          <a:ln w="6350">
            <a:noFill/>
            <a:miter lim="800000"/>
            <a:headEnd/>
            <a:tailEnd/>
          </a:ln>
          <a:effectLst/>
        </p:spPr>
        <p:txBody>
          <a:bodyPr lIns="180000" tIns="180000" rIns="144000" bIns="72000"/>
          <a:lstStyle/>
          <a:p>
            <a:pPr algn="l" eaLnBrk="0" hangingPunct="0">
              <a:lnSpc>
                <a:spcPct val="85000"/>
              </a:lnSpc>
              <a:spcBef>
                <a:spcPts val="100"/>
              </a:spcBef>
              <a:spcAft>
                <a:spcPts val="300"/>
              </a:spcAft>
            </a:pPr>
            <a:r>
              <a:rPr lang="en-US" b="1" cap="all" dirty="0">
                <a:solidFill>
                  <a:schemeClr val="bg1"/>
                </a:solidFill>
                <a:latin typeface="+mj-lt"/>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p:txBody>
      </p:sp>
      <p:sp>
        <p:nvSpPr>
          <p:cNvPr id="6" name="Freeform 6">
            <a:extLst>
              <a:ext uri="{FF2B5EF4-FFF2-40B4-BE49-F238E27FC236}">
                <a16:creationId xmlns:a16="http://schemas.microsoft.com/office/drawing/2014/main" id="{A6B7B75F-CF7C-4115-BCAF-9D64C1BD0ABC}"/>
              </a:ext>
              <a:ext uri="{C183D7F6-B498-43B3-948B-1728B52AA6E4}">
                <adec:decorative xmlns:adec="http://schemas.microsoft.com/office/drawing/2017/decorative" val="1"/>
              </a:ext>
            </a:extLst>
          </p:cNvPr>
          <p:cNvSpPr>
            <a:spLocks/>
          </p:cNvSpPr>
          <p:nvPr/>
        </p:nvSpPr>
        <p:spPr bwMode="auto">
          <a:xfrm>
            <a:off x="1822449" y="3827462"/>
            <a:ext cx="8550275" cy="2230438"/>
          </a:xfrm>
          <a:custGeom>
            <a:avLst/>
            <a:gdLst>
              <a:gd name="T0" fmla="*/ 0 w 5556"/>
              <a:gd name="T1" fmla="*/ 0 h 1405"/>
              <a:gd name="T2" fmla="*/ 0 w 5556"/>
              <a:gd name="T3" fmla="*/ 1405 h 1405"/>
              <a:gd name="T4" fmla="*/ 5556 w 5556"/>
              <a:gd name="T5" fmla="*/ 1405 h 1405"/>
              <a:gd name="T6" fmla="*/ 5556 w 5556"/>
              <a:gd name="T7" fmla="*/ 200 h 1405"/>
              <a:gd name="T8" fmla="*/ 0 w 5556"/>
              <a:gd name="T9" fmla="*/ 0 h 1405"/>
            </a:gdLst>
            <a:ahLst/>
            <a:cxnLst>
              <a:cxn ang="0">
                <a:pos x="T0" y="T1"/>
              </a:cxn>
              <a:cxn ang="0">
                <a:pos x="T2" y="T3"/>
              </a:cxn>
              <a:cxn ang="0">
                <a:pos x="T4" y="T5"/>
              </a:cxn>
              <a:cxn ang="0">
                <a:pos x="T6" y="T7"/>
              </a:cxn>
              <a:cxn ang="0">
                <a:pos x="T8" y="T9"/>
              </a:cxn>
            </a:cxnLst>
            <a:rect l="0" t="0" r="r" b="b"/>
            <a:pathLst>
              <a:path w="5556" h="1405">
                <a:moveTo>
                  <a:pt x="0" y="0"/>
                </a:moveTo>
                <a:lnTo>
                  <a:pt x="0" y="1405"/>
                </a:lnTo>
                <a:lnTo>
                  <a:pt x="5556" y="1405"/>
                </a:lnTo>
                <a:lnTo>
                  <a:pt x="5556" y="200"/>
                </a:lnTo>
                <a:lnTo>
                  <a:pt x="0" y="0"/>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Arrow: Right 8">
            <a:extLst>
              <a:ext uri="{FF2B5EF4-FFF2-40B4-BE49-F238E27FC236}">
                <a16:creationId xmlns:a16="http://schemas.microsoft.com/office/drawing/2014/main" id="{28C14490-D579-4D48-9627-57B8E71C93AF}"/>
              </a:ext>
              <a:ext uri="{C183D7F6-B498-43B3-948B-1728B52AA6E4}">
                <adec:decorative xmlns:adec="http://schemas.microsoft.com/office/drawing/2017/decorative" val="1"/>
              </a:ext>
            </a:extLst>
          </p:cNvPr>
          <p:cNvSpPr/>
          <p:nvPr/>
        </p:nvSpPr>
        <p:spPr>
          <a:xfrm rot="16200000" flipH="1">
            <a:off x="5050128" y="3469596"/>
            <a:ext cx="1005919" cy="715959"/>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 name="Rectangle 7">
            <a:extLst>
              <a:ext uri="{FF2B5EF4-FFF2-40B4-BE49-F238E27FC236}">
                <a16:creationId xmlns:a16="http://schemas.microsoft.com/office/drawing/2014/main" id="{811E50D0-F729-4167-9309-0B710E6C4A1B}"/>
              </a:ext>
            </a:extLst>
          </p:cNvPr>
          <p:cNvSpPr>
            <a:spLocks noChangeArrowheads="1"/>
          </p:cNvSpPr>
          <p:nvPr>
            <p:custDataLst>
              <p:tags r:id="rId2"/>
            </p:custDataLst>
          </p:nvPr>
        </p:nvSpPr>
        <p:spPr bwMode="auto">
          <a:xfrm>
            <a:off x="1822449" y="4166166"/>
            <a:ext cx="8550274" cy="1751158"/>
          </a:xfrm>
          <a:prstGeom prst="rect">
            <a:avLst/>
          </a:prstGeom>
          <a:noFill/>
          <a:ln w="6350">
            <a:noFill/>
            <a:miter lim="800000"/>
            <a:headEnd/>
            <a:tailEnd/>
          </a:ln>
          <a:effectLst/>
        </p:spPr>
        <p:txBody>
          <a:bodyPr lIns="180000" tIns="180000" rIns="144000" bIns="72000"/>
          <a:lstStyle/>
          <a:p>
            <a:pPr eaLnBrk="0" hangingPunct="0">
              <a:lnSpc>
                <a:spcPct val="85000"/>
              </a:lnSpc>
              <a:spcBef>
                <a:spcPts val="100"/>
              </a:spcBef>
              <a:spcAft>
                <a:spcPts val="300"/>
              </a:spcAft>
            </a:pPr>
            <a:r>
              <a:rPr lang="en-US" b="1" cap="all" dirty="0">
                <a:latin typeface="+mj-lt"/>
              </a:rPr>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p:txBody>
      </p:sp>
      <p:sp>
        <p:nvSpPr>
          <p:cNvPr id="10" name="Arrow: Right 9">
            <a:extLst>
              <a:ext uri="{FF2B5EF4-FFF2-40B4-BE49-F238E27FC236}">
                <a16:creationId xmlns:a16="http://schemas.microsoft.com/office/drawing/2014/main" id="{93B9517C-4F74-4EBC-9253-ACA582AD17D7}"/>
              </a:ext>
              <a:ext uri="{C183D7F6-B498-43B3-948B-1728B52AA6E4}">
                <adec:decorative xmlns:adec="http://schemas.microsoft.com/office/drawing/2017/decorative" val="1"/>
              </a:ext>
            </a:extLst>
          </p:cNvPr>
          <p:cNvSpPr/>
          <p:nvPr/>
        </p:nvSpPr>
        <p:spPr>
          <a:xfrm rot="16200000">
            <a:off x="6139125" y="3418604"/>
            <a:ext cx="1005919" cy="715959"/>
          </a:xfrm>
          <a:prstGeom prst="rightArrow">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 name="Footer Placeholder 10">
            <a:extLst>
              <a:ext uri="{FF2B5EF4-FFF2-40B4-BE49-F238E27FC236}">
                <a16:creationId xmlns:a16="http://schemas.microsoft.com/office/drawing/2014/main" id="{400D9972-4D6F-4959-9099-80EABFF9CDA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2" name="Slide Number Placeholder 11">
            <a:extLst>
              <a:ext uri="{FF2B5EF4-FFF2-40B4-BE49-F238E27FC236}">
                <a16:creationId xmlns:a16="http://schemas.microsoft.com/office/drawing/2014/main" id="{5FC3BFC0-441D-4207-885F-E3D4808D8715}"/>
              </a:ext>
            </a:extLst>
          </p:cNvPr>
          <p:cNvSpPr>
            <a:spLocks noGrp="1"/>
          </p:cNvSpPr>
          <p:nvPr>
            <p:ph type="sldNum" sz="quarter" idx="10"/>
          </p:nvPr>
        </p:nvSpPr>
        <p:spPr/>
        <p:txBody>
          <a:bodyPr/>
          <a:lstStyle/>
          <a:p>
            <a:fld id="{1F90F471-3972-4120-B8B3-0237DE626C35}" type="slidenum">
              <a:rPr lang="en-US" smtClean="0"/>
              <a:pPr/>
              <a:t>132</a:t>
            </a:fld>
            <a:endParaRPr lang="en-US" dirty="0"/>
          </a:p>
        </p:txBody>
      </p:sp>
    </p:spTree>
    <p:extLst>
      <p:ext uri="{BB962C8B-B14F-4D97-AF65-F5344CB8AC3E}">
        <p14:creationId xmlns:p14="http://schemas.microsoft.com/office/powerpoint/2010/main" val="287697267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DA0BBA-C6D2-4269-BA7F-6075EC0660C1}"/>
              </a:ext>
            </a:extLst>
          </p:cNvPr>
          <p:cNvSpPr>
            <a:spLocks noGrp="1"/>
          </p:cNvSpPr>
          <p:nvPr>
            <p:ph type="title"/>
          </p:nvPr>
        </p:nvSpPr>
        <p:spPr/>
        <p:txBody>
          <a:bodyPr/>
          <a:lstStyle/>
          <a:p>
            <a:r>
              <a:rPr lang="en-US" dirty="0"/>
              <a:t>Cross-fertilization 5</a:t>
            </a:r>
          </a:p>
        </p:txBody>
      </p:sp>
      <p:sp>
        <p:nvSpPr>
          <p:cNvPr id="12" name="Freeform 5">
            <a:extLst>
              <a:ext uri="{FF2B5EF4-FFF2-40B4-BE49-F238E27FC236}">
                <a16:creationId xmlns:a16="http://schemas.microsoft.com/office/drawing/2014/main" id="{7B23A6F4-551F-4F23-837C-070EA7805FF8}"/>
              </a:ext>
              <a:ext uri="{C183D7F6-B498-43B3-948B-1728B52AA6E4}">
                <adec:decorative xmlns:adec="http://schemas.microsoft.com/office/drawing/2017/decorative" val="1"/>
              </a:ext>
            </a:extLst>
          </p:cNvPr>
          <p:cNvSpPr>
            <a:spLocks/>
          </p:cNvSpPr>
          <p:nvPr/>
        </p:nvSpPr>
        <p:spPr bwMode="auto">
          <a:xfrm>
            <a:off x="1822449" y="1520384"/>
            <a:ext cx="8550275" cy="2233613"/>
          </a:xfrm>
          <a:custGeom>
            <a:avLst/>
            <a:gdLst>
              <a:gd name="T0" fmla="*/ 5556 w 5556"/>
              <a:gd name="T1" fmla="*/ 1407 h 1407"/>
              <a:gd name="T2" fmla="*/ 5556 w 5556"/>
              <a:gd name="T3" fmla="*/ 0 h 1407"/>
              <a:gd name="T4" fmla="*/ 0 w 5556"/>
              <a:gd name="T5" fmla="*/ 0 h 1407"/>
              <a:gd name="T6" fmla="*/ 0 w 5556"/>
              <a:gd name="T7" fmla="*/ 1207 h 1407"/>
              <a:gd name="T8" fmla="*/ 5556 w 5556"/>
              <a:gd name="T9" fmla="*/ 1407 h 1407"/>
            </a:gdLst>
            <a:ahLst/>
            <a:cxnLst>
              <a:cxn ang="0">
                <a:pos x="T0" y="T1"/>
              </a:cxn>
              <a:cxn ang="0">
                <a:pos x="T2" y="T3"/>
              </a:cxn>
              <a:cxn ang="0">
                <a:pos x="T4" y="T5"/>
              </a:cxn>
              <a:cxn ang="0">
                <a:pos x="T6" y="T7"/>
              </a:cxn>
              <a:cxn ang="0">
                <a:pos x="T8" y="T9"/>
              </a:cxn>
            </a:cxnLst>
            <a:rect l="0" t="0" r="r" b="b"/>
            <a:pathLst>
              <a:path w="5556" h="1407">
                <a:moveTo>
                  <a:pt x="5556" y="1407"/>
                </a:moveTo>
                <a:lnTo>
                  <a:pt x="5556" y="0"/>
                </a:lnTo>
                <a:lnTo>
                  <a:pt x="0" y="0"/>
                </a:lnTo>
                <a:lnTo>
                  <a:pt x="0" y="1207"/>
                </a:lnTo>
                <a:lnTo>
                  <a:pt x="5556" y="140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6" name="Rectangle 6">
            <a:extLst>
              <a:ext uri="{FF2B5EF4-FFF2-40B4-BE49-F238E27FC236}">
                <a16:creationId xmlns:a16="http://schemas.microsoft.com/office/drawing/2014/main" id="{0366238A-E767-4EDD-B8E1-0B431C0CF87E}"/>
              </a:ext>
            </a:extLst>
          </p:cNvPr>
          <p:cNvSpPr>
            <a:spLocks noChangeArrowheads="1"/>
          </p:cNvSpPr>
          <p:nvPr>
            <p:custDataLst>
              <p:tags r:id="rId1"/>
            </p:custDataLst>
          </p:nvPr>
        </p:nvSpPr>
        <p:spPr bwMode="auto">
          <a:xfrm>
            <a:off x="1822448" y="1520384"/>
            <a:ext cx="8550275" cy="1874457"/>
          </a:xfrm>
          <a:prstGeom prst="rect">
            <a:avLst/>
          </a:prstGeom>
          <a:noFill/>
          <a:ln w="6350">
            <a:noFill/>
            <a:miter lim="800000"/>
            <a:headEnd/>
            <a:tailEnd/>
          </a:ln>
          <a:effectLst/>
        </p:spPr>
        <p:txBody>
          <a:bodyPr lIns="180000" tIns="180000" rIns="144000" bIns="72000"/>
          <a:lstStyle/>
          <a:p>
            <a:pPr algn="l" eaLnBrk="0" hangingPunct="0">
              <a:lnSpc>
                <a:spcPct val="85000"/>
              </a:lnSpc>
              <a:spcBef>
                <a:spcPts val="100"/>
              </a:spcBef>
              <a:spcAft>
                <a:spcPts val="300"/>
              </a:spcAft>
            </a:pPr>
            <a:r>
              <a:rPr lang="en-US" b="1" cap="all" dirty="0">
                <a:solidFill>
                  <a:schemeClr val="bg1"/>
                </a:solidFill>
                <a:latin typeface="+mj-lt"/>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p:txBody>
      </p:sp>
      <p:sp>
        <p:nvSpPr>
          <p:cNvPr id="14" name="Freeform 6">
            <a:extLst>
              <a:ext uri="{FF2B5EF4-FFF2-40B4-BE49-F238E27FC236}">
                <a16:creationId xmlns:a16="http://schemas.microsoft.com/office/drawing/2014/main" id="{D466D0FA-BD4A-478D-BEB0-742BE06A7908}"/>
              </a:ext>
              <a:ext uri="{C183D7F6-B498-43B3-948B-1728B52AA6E4}">
                <adec:decorative xmlns:adec="http://schemas.microsoft.com/office/drawing/2017/decorative" val="1"/>
              </a:ext>
            </a:extLst>
          </p:cNvPr>
          <p:cNvSpPr>
            <a:spLocks/>
          </p:cNvSpPr>
          <p:nvPr/>
        </p:nvSpPr>
        <p:spPr bwMode="auto">
          <a:xfrm>
            <a:off x="1822449" y="3827462"/>
            <a:ext cx="8550275" cy="2230438"/>
          </a:xfrm>
          <a:custGeom>
            <a:avLst/>
            <a:gdLst>
              <a:gd name="T0" fmla="*/ 0 w 5556"/>
              <a:gd name="T1" fmla="*/ 0 h 1405"/>
              <a:gd name="T2" fmla="*/ 0 w 5556"/>
              <a:gd name="T3" fmla="*/ 1405 h 1405"/>
              <a:gd name="T4" fmla="*/ 5556 w 5556"/>
              <a:gd name="T5" fmla="*/ 1405 h 1405"/>
              <a:gd name="T6" fmla="*/ 5556 w 5556"/>
              <a:gd name="T7" fmla="*/ 200 h 1405"/>
              <a:gd name="T8" fmla="*/ 0 w 5556"/>
              <a:gd name="T9" fmla="*/ 0 h 1405"/>
            </a:gdLst>
            <a:ahLst/>
            <a:cxnLst>
              <a:cxn ang="0">
                <a:pos x="T0" y="T1"/>
              </a:cxn>
              <a:cxn ang="0">
                <a:pos x="T2" y="T3"/>
              </a:cxn>
              <a:cxn ang="0">
                <a:pos x="T4" y="T5"/>
              </a:cxn>
              <a:cxn ang="0">
                <a:pos x="T6" y="T7"/>
              </a:cxn>
              <a:cxn ang="0">
                <a:pos x="T8" y="T9"/>
              </a:cxn>
            </a:cxnLst>
            <a:rect l="0" t="0" r="r" b="b"/>
            <a:pathLst>
              <a:path w="5556" h="1405">
                <a:moveTo>
                  <a:pt x="0" y="0"/>
                </a:moveTo>
                <a:lnTo>
                  <a:pt x="0" y="1405"/>
                </a:lnTo>
                <a:lnTo>
                  <a:pt x="5556" y="1405"/>
                </a:lnTo>
                <a:lnTo>
                  <a:pt x="5556" y="200"/>
                </a:lnTo>
                <a:lnTo>
                  <a:pt x="0" y="0"/>
                </a:lnTo>
                <a:close/>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 name="Arrow: Right 19">
            <a:extLst>
              <a:ext uri="{FF2B5EF4-FFF2-40B4-BE49-F238E27FC236}">
                <a16:creationId xmlns:a16="http://schemas.microsoft.com/office/drawing/2014/main" id="{131C3DF5-1CE2-4E86-B05D-7A1562398158}"/>
              </a:ext>
              <a:ext uri="{C183D7F6-B498-43B3-948B-1728B52AA6E4}">
                <adec:decorative xmlns:adec="http://schemas.microsoft.com/office/drawing/2017/decorative" val="1"/>
              </a:ext>
            </a:extLst>
          </p:cNvPr>
          <p:cNvSpPr/>
          <p:nvPr/>
        </p:nvSpPr>
        <p:spPr>
          <a:xfrm rot="16200000" flipH="1">
            <a:off x="5050128" y="3469596"/>
            <a:ext cx="1005919" cy="715959"/>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8" name="Rectangle 7">
            <a:extLst>
              <a:ext uri="{FF2B5EF4-FFF2-40B4-BE49-F238E27FC236}">
                <a16:creationId xmlns:a16="http://schemas.microsoft.com/office/drawing/2014/main" id="{88F5CEFA-C0C4-478A-A9AB-96B24FFE6F76}"/>
              </a:ext>
            </a:extLst>
          </p:cNvPr>
          <p:cNvSpPr>
            <a:spLocks noChangeArrowheads="1"/>
          </p:cNvSpPr>
          <p:nvPr>
            <p:custDataLst>
              <p:tags r:id="rId2"/>
            </p:custDataLst>
          </p:nvPr>
        </p:nvSpPr>
        <p:spPr bwMode="auto">
          <a:xfrm>
            <a:off x="1822449" y="4166166"/>
            <a:ext cx="8550274" cy="1751158"/>
          </a:xfrm>
          <a:prstGeom prst="rect">
            <a:avLst/>
          </a:prstGeom>
          <a:noFill/>
          <a:ln w="6350">
            <a:noFill/>
            <a:miter lim="800000"/>
            <a:headEnd/>
            <a:tailEnd/>
          </a:ln>
          <a:effectLst/>
        </p:spPr>
        <p:txBody>
          <a:bodyPr lIns="180000" tIns="180000" rIns="144000" bIns="72000"/>
          <a:lstStyle/>
          <a:p>
            <a:pPr eaLnBrk="0" hangingPunct="0">
              <a:lnSpc>
                <a:spcPct val="85000"/>
              </a:lnSpc>
              <a:spcBef>
                <a:spcPts val="100"/>
              </a:spcBef>
              <a:spcAft>
                <a:spcPts val="300"/>
              </a:spcAft>
            </a:pPr>
            <a:r>
              <a:rPr lang="en-US" b="1" cap="all" dirty="0">
                <a:latin typeface="+mj-lt"/>
              </a:rPr>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p:txBody>
      </p:sp>
      <p:sp>
        <p:nvSpPr>
          <p:cNvPr id="22" name="Arrow: Right 21">
            <a:extLst>
              <a:ext uri="{FF2B5EF4-FFF2-40B4-BE49-F238E27FC236}">
                <a16:creationId xmlns:a16="http://schemas.microsoft.com/office/drawing/2014/main" id="{44921417-3E02-4FA7-B34B-40B144FA042F}"/>
              </a:ext>
              <a:ext uri="{C183D7F6-B498-43B3-948B-1728B52AA6E4}">
                <adec:decorative xmlns:adec="http://schemas.microsoft.com/office/drawing/2017/decorative" val="1"/>
              </a:ext>
            </a:extLst>
          </p:cNvPr>
          <p:cNvSpPr/>
          <p:nvPr/>
        </p:nvSpPr>
        <p:spPr>
          <a:xfrm rot="16200000">
            <a:off x="6139125" y="3418604"/>
            <a:ext cx="1005919" cy="715959"/>
          </a:xfrm>
          <a:prstGeom prst="rightArrow">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0FDF1FEA-6F3C-4028-A7FB-B6416379CD44}"/>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4" name="Slide Number Placeholder 3">
            <a:extLst>
              <a:ext uri="{FF2B5EF4-FFF2-40B4-BE49-F238E27FC236}">
                <a16:creationId xmlns:a16="http://schemas.microsoft.com/office/drawing/2014/main" id="{56A51F2C-40BC-4410-AB66-52C6E7DC7F00}"/>
              </a:ext>
            </a:extLst>
          </p:cNvPr>
          <p:cNvSpPr>
            <a:spLocks noGrp="1"/>
          </p:cNvSpPr>
          <p:nvPr>
            <p:ph type="sldNum" sz="quarter" idx="10"/>
          </p:nvPr>
        </p:nvSpPr>
        <p:spPr/>
        <p:txBody>
          <a:bodyPr/>
          <a:lstStyle/>
          <a:p>
            <a:fld id="{1F90F471-3972-4120-B8B3-0237DE626C35}" type="slidenum">
              <a:rPr lang="en-US" smtClean="0"/>
              <a:pPr/>
              <a:t>133</a:t>
            </a:fld>
            <a:endParaRPr lang="en-US" dirty="0"/>
          </a:p>
        </p:txBody>
      </p:sp>
    </p:spTree>
    <p:extLst>
      <p:ext uri="{BB962C8B-B14F-4D97-AF65-F5344CB8AC3E}">
        <p14:creationId xmlns:p14="http://schemas.microsoft.com/office/powerpoint/2010/main" val="398790509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Cross-fertilization 6</a:t>
            </a:r>
          </a:p>
        </p:txBody>
      </p:sp>
      <p:sp>
        <p:nvSpPr>
          <p:cNvPr id="4" name="TextBox 3">
            <a:extLst>
              <a:ext uri="{FF2B5EF4-FFF2-40B4-BE49-F238E27FC236}">
                <a16:creationId xmlns:a16="http://schemas.microsoft.com/office/drawing/2014/main" id="{649A01F9-88CF-4DB6-9D07-0BF675A32499}"/>
              </a:ext>
            </a:extLst>
          </p:cNvPr>
          <p:cNvSpPr txBox="1"/>
          <p:nvPr/>
        </p:nvSpPr>
        <p:spPr>
          <a:xfrm>
            <a:off x="1468436" y="1376363"/>
            <a:ext cx="3906525" cy="387350"/>
          </a:xfrm>
          <a:prstGeom prst="rect">
            <a:avLst/>
          </a:prstGeom>
          <a:solidFill>
            <a:schemeClr val="accent1"/>
          </a:solidFill>
          <a:ln w="19050">
            <a:noFill/>
          </a:ln>
        </p:spPr>
        <p:txBody>
          <a:bodyPr vert="horz" wrap="square" lIns="0" tIns="36000" rIns="0" bIns="0" rtlCol="0" anchor="ctr">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AU" sz="1800" b="0" i="0" u="none" strike="noStrike" kern="0" cap="all" spc="0" normalizeH="0" baseline="0" noProof="0" dirty="0">
                <a:ln>
                  <a:noFill/>
                </a:ln>
                <a:solidFill>
                  <a:srgbClr val="FFFFFF"/>
                </a:solidFill>
                <a:effectLst/>
                <a:uLnTx/>
                <a:uFillTx/>
                <a:latin typeface="Arial Black"/>
                <a:ea typeface="+mn-ea"/>
                <a:cs typeface="+mn-cs"/>
              </a:rPr>
              <a:t>Text</a:t>
            </a:r>
          </a:p>
        </p:txBody>
      </p:sp>
      <p:sp>
        <p:nvSpPr>
          <p:cNvPr id="3" name="Rectangle 2">
            <a:extLst>
              <a:ext uri="{FF2B5EF4-FFF2-40B4-BE49-F238E27FC236}">
                <a16:creationId xmlns:a16="http://schemas.microsoft.com/office/drawing/2014/main" id="{18C60943-FF25-42A9-8080-5F10CEC3A451}"/>
              </a:ext>
            </a:extLst>
          </p:cNvPr>
          <p:cNvSpPr/>
          <p:nvPr/>
        </p:nvSpPr>
        <p:spPr>
          <a:xfrm>
            <a:off x="1468437" y="1763714"/>
            <a:ext cx="3906525" cy="4294186"/>
          </a:xfrm>
          <a:prstGeom prst="rect">
            <a:avLst/>
          </a:prstGeom>
          <a:solidFill>
            <a:srgbClr val="96968C">
              <a:lumMod val="20000"/>
              <a:lumOff val="80000"/>
            </a:srgbClr>
          </a:solidFill>
          <a:ln w="9525" cap="flat" cmpd="sng" algn="ctr">
            <a:noFill/>
            <a:prstDash val="solid"/>
          </a:ln>
          <a:effectLst/>
        </p:spPr>
        <p:txBody>
          <a:bodyPr lIns="180000" tIns="180000" rtlCol="0" anchor="t" anchorCtr="0"/>
          <a:lstStyle/>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p:txBody>
      </p:sp>
      <p:sp>
        <p:nvSpPr>
          <p:cNvPr id="7" name="Arrow: Chevron 6">
            <a:extLst>
              <a:ext uri="{FF2B5EF4-FFF2-40B4-BE49-F238E27FC236}">
                <a16:creationId xmlns:a16="http://schemas.microsoft.com/office/drawing/2014/main" id="{FC063827-AEA4-448D-963C-ECEB84C695F6}"/>
              </a:ext>
              <a:ext uri="{C183D7F6-B498-43B3-948B-1728B52AA6E4}">
                <adec:decorative xmlns:adec="http://schemas.microsoft.com/office/drawing/2017/decorative" val="1"/>
              </a:ext>
            </a:extLst>
          </p:cNvPr>
          <p:cNvSpPr/>
          <p:nvPr/>
        </p:nvSpPr>
        <p:spPr>
          <a:xfrm>
            <a:off x="5810964" y="2868068"/>
            <a:ext cx="570072" cy="783447"/>
          </a:xfrm>
          <a:prstGeom prst="chevron">
            <a:avLst/>
          </a:prstGeom>
          <a:pattFill prst="dkUpDiag">
            <a:fgClr>
              <a:srgbClr val="96968C">
                <a:lumMod val="40000"/>
                <a:lumOff val="60000"/>
              </a:srgbClr>
            </a:fgClr>
            <a:bgClr>
              <a:srgbClr val="FFFFFF"/>
            </a:bgClr>
          </a:patt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Arrow: Chevron 7">
            <a:extLst>
              <a:ext uri="{FF2B5EF4-FFF2-40B4-BE49-F238E27FC236}">
                <a16:creationId xmlns:a16="http://schemas.microsoft.com/office/drawing/2014/main" id="{83D42DFA-513F-436E-990E-A032293A9D75}"/>
              </a:ext>
              <a:ext uri="{C183D7F6-B498-43B3-948B-1728B52AA6E4}">
                <adec:decorative xmlns:adec="http://schemas.microsoft.com/office/drawing/2017/decorative" val="1"/>
              </a:ext>
            </a:extLst>
          </p:cNvPr>
          <p:cNvSpPr/>
          <p:nvPr/>
        </p:nvSpPr>
        <p:spPr>
          <a:xfrm flipH="1">
            <a:off x="5810964" y="4244923"/>
            <a:ext cx="570072" cy="783447"/>
          </a:xfrm>
          <a:prstGeom prst="chevron">
            <a:avLst/>
          </a:prstGeom>
          <a:pattFill prst="dkUpDiag">
            <a:fgClr>
              <a:srgbClr val="96968C">
                <a:lumMod val="40000"/>
                <a:lumOff val="60000"/>
              </a:srgbClr>
            </a:fgClr>
            <a:bgClr>
              <a:srgbClr val="FFFFFF"/>
            </a:bgClr>
          </a:patt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655F1995-990F-4449-B0A4-66759CED9872}"/>
              </a:ext>
            </a:extLst>
          </p:cNvPr>
          <p:cNvSpPr txBox="1"/>
          <p:nvPr/>
        </p:nvSpPr>
        <p:spPr>
          <a:xfrm>
            <a:off x="6817038" y="1376363"/>
            <a:ext cx="3906000" cy="387350"/>
          </a:xfrm>
          <a:prstGeom prst="rect">
            <a:avLst/>
          </a:prstGeom>
          <a:solidFill>
            <a:schemeClr val="accent3"/>
          </a:solidFill>
          <a:ln w="19050">
            <a:noFill/>
          </a:ln>
        </p:spPr>
        <p:txBody>
          <a:bodyPr vert="horz" wrap="square" lIns="0" tIns="36000" rIns="0" bIns="0" rtlCol="0" anchor="ctr">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AU" sz="1800" b="0" i="0" u="none" strike="noStrike" kern="0" cap="all" spc="0" normalizeH="0" baseline="0" noProof="0" dirty="0">
                <a:ln>
                  <a:noFill/>
                </a:ln>
                <a:solidFill>
                  <a:srgbClr val="FFFFFF"/>
                </a:solidFill>
                <a:effectLst/>
                <a:uLnTx/>
                <a:uFillTx/>
                <a:latin typeface="Arial Black"/>
                <a:ea typeface="+mn-ea"/>
                <a:cs typeface="+mn-cs"/>
              </a:rPr>
              <a:t>Text</a:t>
            </a:r>
          </a:p>
        </p:txBody>
      </p:sp>
      <p:sp>
        <p:nvSpPr>
          <p:cNvPr id="5" name="Rectangle 4">
            <a:extLst>
              <a:ext uri="{FF2B5EF4-FFF2-40B4-BE49-F238E27FC236}">
                <a16:creationId xmlns:a16="http://schemas.microsoft.com/office/drawing/2014/main" id="{D8A1D92D-883F-4134-9138-E8B9CF0EFBFA}"/>
              </a:ext>
            </a:extLst>
          </p:cNvPr>
          <p:cNvSpPr/>
          <p:nvPr/>
        </p:nvSpPr>
        <p:spPr>
          <a:xfrm>
            <a:off x="6817038" y="1763714"/>
            <a:ext cx="3906000" cy="4294186"/>
          </a:xfrm>
          <a:prstGeom prst="rect">
            <a:avLst/>
          </a:prstGeom>
          <a:solidFill>
            <a:srgbClr val="96968C">
              <a:lumMod val="20000"/>
              <a:lumOff val="80000"/>
            </a:srgbClr>
          </a:solidFill>
          <a:ln w="9525" cap="flat" cmpd="sng" algn="ctr">
            <a:noFill/>
            <a:prstDash val="solid"/>
          </a:ln>
          <a:effectLst/>
        </p:spPr>
        <p:txBody>
          <a:bodyPr lIns="180000" tIns="180000" rtlCol="0" anchor="t" anchorCtr="0"/>
          <a:lstStyle/>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p:txBody>
      </p:sp>
      <p:sp>
        <p:nvSpPr>
          <p:cNvPr id="11" name="Footer Placeholder 10">
            <a:extLst>
              <a:ext uri="{FF2B5EF4-FFF2-40B4-BE49-F238E27FC236}">
                <a16:creationId xmlns:a16="http://schemas.microsoft.com/office/drawing/2014/main" id="{CEA5DB93-8FF1-46B6-9095-BEFE87F23CE5}"/>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2" name="Slide Number Placeholder 11">
            <a:extLst>
              <a:ext uri="{FF2B5EF4-FFF2-40B4-BE49-F238E27FC236}">
                <a16:creationId xmlns:a16="http://schemas.microsoft.com/office/drawing/2014/main" id="{C21E294F-00CB-420D-B32C-13E0342CD130}"/>
              </a:ext>
            </a:extLst>
          </p:cNvPr>
          <p:cNvSpPr>
            <a:spLocks noGrp="1"/>
          </p:cNvSpPr>
          <p:nvPr>
            <p:ph type="sldNum" sz="quarter" idx="10"/>
          </p:nvPr>
        </p:nvSpPr>
        <p:spPr/>
        <p:txBody>
          <a:bodyPr/>
          <a:lstStyle/>
          <a:p>
            <a:fld id="{1F90F471-3972-4120-B8B3-0237DE626C35}" type="slidenum">
              <a:rPr lang="en-US" smtClean="0"/>
              <a:pPr/>
              <a:t>134</a:t>
            </a:fld>
            <a:endParaRPr lang="en-US" dirty="0"/>
          </a:p>
        </p:txBody>
      </p:sp>
    </p:spTree>
    <p:extLst>
      <p:ext uri="{BB962C8B-B14F-4D97-AF65-F5344CB8AC3E}">
        <p14:creationId xmlns:p14="http://schemas.microsoft.com/office/powerpoint/2010/main" val="108892774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7C4124B-B9D5-4FB9-AA46-3262DD2B40DB}"/>
              </a:ext>
            </a:extLst>
          </p:cNvPr>
          <p:cNvSpPr>
            <a:spLocks noGrp="1"/>
          </p:cNvSpPr>
          <p:nvPr>
            <p:ph type="title"/>
          </p:nvPr>
        </p:nvSpPr>
        <p:spPr/>
        <p:txBody>
          <a:bodyPr/>
          <a:lstStyle/>
          <a:p>
            <a:r>
              <a:rPr lang="en-US" dirty="0"/>
              <a:t>Separation/</a:t>
            </a:r>
            <a:br>
              <a:rPr lang="en-US" dirty="0"/>
            </a:br>
            <a:r>
              <a:rPr lang="en-US" dirty="0"/>
              <a:t>Synthesis</a:t>
            </a:r>
          </a:p>
        </p:txBody>
      </p:sp>
      <p:sp>
        <p:nvSpPr>
          <p:cNvPr id="10" name="Freeform: Shape 9" descr="Add text and order accordingly">
            <a:hlinkClick r:id="rId2" action="ppaction://hlinksldjump" tooltip="Return to Index"/>
            <a:extLst>
              <a:ext uri="{FF2B5EF4-FFF2-40B4-BE49-F238E27FC236}">
                <a16:creationId xmlns:a16="http://schemas.microsoft.com/office/drawing/2014/main" id="{0DE3F75C-CF1B-47BB-A358-FF97AF03C85D}"/>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 Placeholder 8">
            <a:extLst>
              <a:ext uri="{FF2B5EF4-FFF2-40B4-BE49-F238E27FC236}">
                <a16:creationId xmlns:a16="http://schemas.microsoft.com/office/drawing/2014/main" id="{1265ADBE-657A-4DC7-A6A6-2F0E697C4723}"/>
              </a:ext>
            </a:extLst>
          </p:cNvPr>
          <p:cNvSpPr>
            <a:spLocks noGrp="1"/>
          </p:cNvSpPr>
          <p:nvPr>
            <p:ph type="body" sz="quarter" idx="15"/>
          </p:nvPr>
        </p:nvSpPr>
        <p:spPr/>
        <p:txBody>
          <a:bodyPr/>
          <a:lstStyle/>
          <a:p>
            <a:r>
              <a:rPr lang="en-US" dirty="0"/>
              <a:t>Part of </a:t>
            </a:r>
            <a:br>
              <a:rPr lang="en-US" dirty="0"/>
            </a:br>
            <a:r>
              <a:rPr lang="en-US" dirty="0">
                <a:hlinkClick r:id="rId3" action="ppaction://hlinksldjump">
                  <a:extLst>
                    <a:ext uri="{A12FA001-AC4F-418D-AE19-62706E023703}">
                      <ahyp:hlinkClr xmlns:ahyp="http://schemas.microsoft.com/office/drawing/2018/hyperlinkcolor" val="tx"/>
                    </a:ext>
                  </a:extLst>
                </a:hlinkClick>
              </a:rPr>
              <a:t>Dynamic Concepts</a:t>
            </a:r>
            <a:endParaRPr lang="en-US" dirty="0"/>
          </a:p>
        </p:txBody>
      </p:sp>
      <p:sp>
        <p:nvSpPr>
          <p:cNvPr id="5" name="Footer Placeholder 4">
            <a:extLst>
              <a:ext uri="{FF2B5EF4-FFF2-40B4-BE49-F238E27FC236}">
                <a16:creationId xmlns:a16="http://schemas.microsoft.com/office/drawing/2014/main" id="{9DC78945-A645-4563-BCA9-927812C9C4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BEE2891-AE3F-4D8A-B562-5662B242B3DF}"/>
              </a:ext>
            </a:extLst>
          </p:cNvPr>
          <p:cNvSpPr>
            <a:spLocks noGrp="1"/>
          </p:cNvSpPr>
          <p:nvPr>
            <p:ph type="sldNum" sz="quarter" idx="17"/>
          </p:nvPr>
        </p:nvSpPr>
        <p:spPr/>
        <p:txBody>
          <a:bodyPr/>
          <a:lstStyle/>
          <a:p>
            <a:fld id="{1F90F471-3972-4120-B8B3-0237DE626C35}" type="slidenum">
              <a:rPr lang="en-US" smtClean="0"/>
              <a:pPr/>
              <a:t>135</a:t>
            </a:fld>
            <a:endParaRPr lang="en-US" dirty="0"/>
          </a:p>
        </p:txBody>
      </p:sp>
    </p:spTree>
    <p:extLst>
      <p:ext uri="{BB962C8B-B14F-4D97-AF65-F5344CB8AC3E}">
        <p14:creationId xmlns:p14="http://schemas.microsoft.com/office/powerpoint/2010/main" val="3419211762"/>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Separation 1</a:t>
            </a:r>
          </a:p>
        </p:txBody>
      </p:sp>
      <p:sp>
        <p:nvSpPr>
          <p:cNvPr id="4" name="AutoShape 6">
            <a:extLst>
              <a:ext uri="{FF2B5EF4-FFF2-40B4-BE49-F238E27FC236}">
                <a16:creationId xmlns:a16="http://schemas.microsoft.com/office/drawing/2014/main" id="{4A18DD16-AF64-474A-B6D6-8F9D9FEFDF09}"/>
              </a:ext>
            </a:extLst>
          </p:cNvPr>
          <p:cNvSpPr>
            <a:spLocks noChangeAspect="1" noChangeArrowheads="1"/>
          </p:cNvSpPr>
          <p:nvPr/>
        </p:nvSpPr>
        <p:spPr bwMode="auto">
          <a:xfrm flipH="1">
            <a:off x="1822450" y="1763712"/>
            <a:ext cx="4207794" cy="2628709"/>
          </a:xfrm>
          <a:prstGeom prst="homePlate">
            <a:avLst>
              <a:gd name="adj" fmla="val 32103"/>
            </a:avLst>
          </a:prstGeom>
          <a:solidFill>
            <a:schemeClr val="accent3"/>
          </a:solidFill>
          <a:ln w="6350">
            <a:noFill/>
            <a:miter lim="800000"/>
            <a:headEnd/>
            <a:tailEnd/>
          </a:ln>
          <a:effectLst/>
        </p:spPr>
        <p:txBody>
          <a:bodyPr lIns="720000" tIns="180000" rIns="72000" bIns="72000" anchor="t"/>
          <a:lstStyle/>
          <a:p>
            <a:pPr marL="0" lvl="1" eaLnBrk="0" hangingPunct="0">
              <a:lnSpc>
                <a:spcPct val="85000"/>
              </a:lnSpc>
              <a:spcBef>
                <a:spcPts val="100"/>
              </a:spcBef>
              <a:spcAft>
                <a:spcPts val="300"/>
              </a:spcAft>
              <a:buClr>
                <a:schemeClr val="folHlink"/>
              </a:buClr>
            </a:pPr>
            <a:r>
              <a:rPr lang="en-US" b="1" cap="all" dirty="0">
                <a:solidFill>
                  <a:schemeClr val="bg1"/>
                </a:solidFill>
                <a:latin typeface="+mj-lt"/>
              </a:rPr>
              <a:t>Text</a:t>
            </a:r>
          </a:p>
          <a:p>
            <a:pPr marL="177800" indent="-177800" algn="l" eaLnBrk="0" hangingPunct="0">
              <a:spcBef>
                <a:spcPts val="100"/>
              </a:spcBef>
              <a:spcAft>
                <a:spcPts val="100"/>
              </a:spcAft>
              <a:buFontTx/>
              <a:buChar char="•"/>
            </a:pPr>
            <a:r>
              <a:rPr lang="en-US" dirty="0">
                <a:solidFill>
                  <a:schemeClr val="bg1"/>
                </a:solidFill>
              </a:rPr>
              <a:t>Text</a:t>
            </a:r>
          </a:p>
          <a:p>
            <a:pPr marL="177800" indent="-177800" algn="l" eaLnBrk="0" hangingPunct="0">
              <a:spcBef>
                <a:spcPts val="100"/>
              </a:spcBef>
              <a:spcAft>
                <a:spcPts val="100"/>
              </a:spcAft>
              <a:buFontTx/>
              <a:buChar char="•"/>
            </a:pPr>
            <a:r>
              <a:rPr lang="en-US" dirty="0">
                <a:solidFill>
                  <a:schemeClr val="bg1"/>
                </a:solidFill>
              </a:rPr>
              <a:t>Text</a:t>
            </a:r>
          </a:p>
          <a:p>
            <a:pPr marL="177800" indent="-177800" algn="l" eaLnBrk="0" hangingPunct="0">
              <a:spcBef>
                <a:spcPts val="100"/>
              </a:spcBef>
              <a:spcAft>
                <a:spcPts val="100"/>
              </a:spcAft>
              <a:buFontTx/>
              <a:buChar char="•"/>
            </a:pPr>
            <a:r>
              <a:rPr lang="en-US" dirty="0">
                <a:solidFill>
                  <a:schemeClr val="bg1"/>
                </a:solidFill>
              </a:rPr>
              <a:t>Text</a:t>
            </a:r>
          </a:p>
        </p:txBody>
      </p:sp>
      <p:sp>
        <p:nvSpPr>
          <p:cNvPr id="5" name="AutoShape 7">
            <a:extLst>
              <a:ext uri="{FF2B5EF4-FFF2-40B4-BE49-F238E27FC236}">
                <a16:creationId xmlns:a16="http://schemas.microsoft.com/office/drawing/2014/main" id="{49F98B2A-F599-4866-840A-B336E468184D}"/>
              </a:ext>
            </a:extLst>
          </p:cNvPr>
          <p:cNvSpPr>
            <a:spLocks noChangeAspect="1" noChangeArrowheads="1"/>
          </p:cNvSpPr>
          <p:nvPr/>
        </p:nvSpPr>
        <p:spPr bwMode="auto">
          <a:xfrm>
            <a:off x="6164930" y="1763712"/>
            <a:ext cx="4207794" cy="2628709"/>
          </a:xfrm>
          <a:prstGeom prst="homePlate">
            <a:avLst>
              <a:gd name="adj" fmla="val 32103"/>
            </a:avLst>
          </a:prstGeom>
          <a:solidFill>
            <a:schemeClr val="accent1"/>
          </a:solidFill>
          <a:ln w="6350">
            <a:noFill/>
            <a:miter lim="800000"/>
            <a:headEnd/>
            <a:tailEnd/>
          </a:ln>
          <a:effectLst/>
        </p:spPr>
        <p:txBody>
          <a:bodyPr lIns="324000" tIns="180000" rIns="72000" bIns="72000" anchor="t"/>
          <a:lstStyle/>
          <a:p>
            <a:pPr marL="0" lvl="1" algn="l" eaLnBrk="0" hangingPunct="0">
              <a:lnSpc>
                <a:spcPct val="85000"/>
              </a:lnSpc>
              <a:spcBef>
                <a:spcPts val="100"/>
              </a:spcBef>
              <a:spcAft>
                <a:spcPts val="300"/>
              </a:spcAft>
              <a:buClr>
                <a:schemeClr val="folHlink"/>
              </a:buClr>
            </a:pPr>
            <a:r>
              <a:rPr lang="en-US" b="1" cap="all" dirty="0">
                <a:solidFill>
                  <a:schemeClr val="bg1"/>
                </a:solidFill>
                <a:latin typeface="+mj-lt"/>
              </a:rPr>
              <a:t>Text</a:t>
            </a:r>
          </a:p>
          <a:p>
            <a:pPr marL="177800" lvl="1" indent="-177800" algn="l" eaLnBrk="0" hangingPunct="0">
              <a:spcBef>
                <a:spcPts val="100"/>
              </a:spcBef>
              <a:spcAft>
                <a:spcPts val="100"/>
              </a:spcAft>
              <a:buFontTx/>
              <a:buChar char="•"/>
            </a:pPr>
            <a:r>
              <a:rPr lang="en-US" dirty="0">
                <a:solidFill>
                  <a:schemeClr val="bg1"/>
                </a:solidFill>
              </a:rPr>
              <a:t>Text</a:t>
            </a:r>
          </a:p>
          <a:p>
            <a:pPr marL="177800" lvl="1" indent="-177800" algn="l" eaLnBrk="0" hangingPunct="0">
              <a:spcBef>
                <a:spcPts val="100"/>
              </a:spcBef>
              <a:spcAft>
                <a:spcPts val="100"/>
              </a:spcAft>
              <a:buFontTx/>
              <a:buChar char="•"/>
            </a:pPr>
            <a:r>
              <a:rPr lang="en-US" dirty="0">
                <a:solidFill>
                  <a:schemeClr val="bg1"/>
                </a:solidFill>
              </a:rPr>
              <a:t>Text</a:t>
            </a:r>
          </a:p>
          <a:p>
            <a:pPr marL="177800" lvl="1" indent="-177800" algn="l" eaLnBrk="0" hangingPunct="0">
              <a:spcBef>
                <a:spcPts val="100"/>
              </a:spcBef>
              <a:spcAft>
                <a:spcPts val="100"/>
              </a:spcAft>
              <a:buFontTx/>
              <a:buChar char="•"/>
            </a:pPr>
            <a:r>
              <a:rPr lang="en-US" dirty="0">
                <a:solidFill>
                  <a:schemeClr val="bg1"/>
                </a:solidFill>
              </a:rPr>
              <a:t>Text</a:t>
            </a:r>
          </a:p>
        </p:txBody>
      </p:sp>
      <p:sp>
        <p:nvSpPr>
          <p:cNvPr id="6" name="Footer Placeholder 5">
            <a:extLst>
              <a:ext uri="{FF2B5EF4-FFF2-40B4-BE49-F238E27FC236}">
                <a16:creationId xmlns:a16="http://schemas.microsoft.com/office/drawing/2014/main" id="{EAB746D7-5131-4088-A7D7-310D4F78E17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7" name="Slide Number Placeholder 6">
            <a:extLst>
              <a:ext uri="{FF2B5EF4-FFF2-40B4-BE49-F238E27FC236}">
                <a16:creationId xmlns:a16="http://schemas.microsoft.com/office/drawing/2014/main" id="{AF1BF308-AA5A-4E3D-AC2F-50C2150149F2}"/>
              </a:ext>
            </a:extLst>
          </p:cNvPr>
          <p:cNvSpPr>
            <a:spLocks noGrp="1"/>
          </p:cNvSpPr>
          <p:nvPr>
            <p:ph type="sldNum" sz="quarter" idx="10"/>
          </p:nvPr>
        </p:nvSpPr>
        <p:spPr/>
        <p:txBody>
          <a:bodyPr/>
          <a:lstStyle/>
          <a:p>
            <a:fld id="{1F90F471-3972-4120-B8B3-0237DE626C35}" type="slidenum">
              <a:rPr lang="en-US" smtClean="0"/>
              <a:pPr/>
              <a:t>136</a:t>
            </a:fld>
            <a:endParaRPr lang="en-US" dirty="0"/>
          </a:p>
        </p:txBody>
      </p:sp>
    </p:spTree>
    <p:extLst>
      <p:ext uri="{BB962C8B-B14F-4D97-AF65-F5344CB8AC3E}">
        <p14:creationId xmlns:p14="http://schemas.microsoft.com/office/powerpoint/2010/main" val="371537471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Separation 2</a:t>
            </a:r>
          </a:p>
        </p:txBody>
      </p:sp>
      <p:sp>
        <p:nvSpPr>
          <p:cNvPr id="8" name="Freeform 5">
            <a:extLst>
              <a:ext uri="{FF2B5EF4-FFF2-40B4-BE49-F238E27FC236}">
                <a16:creationId xmlns:a16="http://schemas.microsoft.com/office/drawing/2014/main" id="{5DA70FE2-2EDC-4F5C-ADF1-0EC6636C5E5A}"/>
              </a:ext>
              <a:ext uri="{C183D7F6-B498-43B3-948B-1728B52AA6E4}">
                <adec:decorative xmlns:adec="http://schemas.microsoft.com/office/drawing/2017/decorative" val="1"/>
              </a:ext>
            </a:extLst>
          </p:cNvPr>
          <p:cNvSpPr>
            <a:spLocks/>
          </p:cNvSpPr>
          <p:nvPr/>
        </p:nvSpPr>
        <p:spPr bwMode="auto">
          <a:xfrm>
            <a:off x="3736975" y="1542141"/>
            <a:ext cx="4714875" cy="2295525"/>
          </a:xfrm>
          <a:custGeom>
            <a:avLst/>
            <a:gdLst>
              <a:gd name="T0" fmla="*/ 2970 w 2970"/>
              <a:gd name="T1" fmla="*/ 1446 h 1446"/>
              <a:gd name="T2" fmla="*/ 2970 w 2970"/>
              <a:gd name="T3" fmla="*/ 0 h 1446"/>
              <a:gd name="T4" fmla="*/ 0 w 2970"/>
              <a:gd name="T5" fmla="*/ 0 h 1446"/>
              <a:gd name="T6" fmla="*/ 0 w 2970"/>
              <a:gd name="T7" fmla="*/ 1246 h 1446"/>
              <a:gd name="T8" fmla="*/ 2970 w 2970"/>
              <a:gd name="T9" fmla="*/ 1446 h 1446"/>
            </a:gdLst>
            <a:ahLst/>
            <a:cxnLst>
              <a:cxn ang="0">
                <a:pos x="T0" y="T1"/>
              </a:cxn>
              <a:cxn ang="0">
                <a:pos x="T2" y="T3"/>
              </a:cxn>
              <a:cxn ang="0">
                <a:pos x="T4" y="T5"/>
              </a:cxn>
              <a:cxn ang="0">
                <a:pos x="T6" y="T7"/>
              </a:cxn>
              <a:cxn ang="0">
                <a:pos x="T8" y="T9"/>
              </a:cxn>
            </a:cxnLst>
            <a:rect l="0" t="0" r="r" b="b"/>
            <a:pathLst>
              <a:path w="2970" h="1446">
                <a:moveTo>
                  <a:pt x="2970" y="1446"/>
                </a:moveTo>
                <a:lnTo>
                  <a:pt x="2970" y="0"/>
                </a:lnTo>
                <a:lnTo>
                  <a:pt x="0" y="0"/>
                </a:lnTo>
                <a:lnTo>
                  <a:pt x="0" y="1246"/>
                </a:lnTo>
                <a:lnTo>
                  <a:pt x="2970" y="144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14" name="Rectangle 6">
            <a:extLst>
              <a:ext uri="{FF2B5EF4-FFF2-40B4-BE49-F238E27FC236}">
                <a16:creationId xmlns:a16="http://schemas.microsoft.com/office/drawing/2014/main" id="{AB07E943-B293-4E27-8CD9-D62FFCFEA495}"/>
              </a:ext>
            </a:extLst>
          </p:cNvPr>
          <p:cNvSpPr>
            <a:spLocks noChangeArrowheads="1"/>
          </p:cNvSpPr>
          <p:nvPr>
            <p:custDataLst>
              <p:tags r:id="rId1"/>
            </p:custDataLst>
          </p:nvPr>
        </p:nvSpPr>
        <p:spPr bwMode="auto">
          <a:xfrm>
            <a:off x="3736975" y="1542141"/>
            <a:ext cx="4714875" cy="1874457"/>
          </a:xfrm>
          <a:prstGeom prst="rect">
            <a:avLst/>
          </a:prstGeom>
          <a:noFill/>
          <a:ln w="6350">
            <a:noFill/>
            <a:miter lim="800000"/>
            <a:headEnd/>
            <a:tailEnd/>
          </a:ln>
          <a:effectLst/>
        </p:spPr>
        <p:txBody>
          <a:bodyPr lIns="180000" tIns="180000" rIns="144000" bIns="72000"/>
          <a:lstStyle/>
          <a:p>
            <a:pPr algn="l" eaLnBrk="0" hangingPunct="0">
              <a:lnSpc>
                <a:spcPct val="85000"/>
              </a:lnSpc>
              <a:spcBef>
                <a:spcPts val="100"/>
              </a:spcBef>
              <a:spcAft>
                <a:spcPts val="300"/>
              </a:spcAft>
            </a:pPr>
            <a:r>
              <a:rPr lang="en-US" b="1" cap="all" dirty="0">
                <a:solidFill>
                  <a:schemeClr val="bg1"/>
                </a:solidFill>
                <a:latin typeface="+mj-lt"/>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p:txBody>
      </p:sp>
      <p:sp>
        <p:nvSpPr>
          <p:cNvPr id="12" name="Freeform 6">
            <a:extLst>
              <a:ext uri="{FF2B5EF4-FFF2-40B4-BE49-F238E27FC236}">
                <a16:creationId xmlns:a16="http://schemas.microsoft.com/office/drawing/2014/main" id="{B6D215E2-0FED-465E-935A-522EF9C28115}"/>
              </a:ext>
              <a:ext uri="{C183D7F6-B498-43B3-948B-1728B52AA6E4}">
                <adec:decorative xmlns:adec="http://schemas.microsoft.com/office/drawing/2017/decorative" val="1"/>
              </a:ext>
            </a:extLst>
          </p:cNvPr>
          <p:cNvSpPr>
            <a:spLocks/>
          </p:cNvSpPr>
          <p:nvPr/>
        </p:nvSpPr>
        <p:spPr bwMode="auto">
          <a:xfrm>
            <a:off x="3736975" y="3771900"/>
            <a:ext cx="4714875" cy="2286000"/>
          </a:xfrm>
          <a:custGeom>
            <a:avLst/>
            <a:gdLst>
              <a:gd name="T0" fmla="*/ 0 w 2970"/>
              <a:gd name="T1" fmla="*/ 0 h 1440"/>
              <a:gd name="T2" fmla="*/ 0 w 2970"/>
              <a:gd name="T3" fmla="*/ 1440 h 1440"/>
              <a:gd name="T4" fmla="*/ 2970 w 2970"/>
              <a:gd name="T5" fmla="*/ 1440 h 1440"/>
              <a:gd name="T6" fmla="*/ 2970 w 2970"/>
              <a:gd name="T7" fmla="*/ 201 h 1440"/>
              <a:gd name="T8" fmla="*/ 0 w 2970"/>
              <a:gd name="T9" fmla="*/ 0 h 1440"/>
            </a:gdLst>
            <a:ahLst/>
            <a:cxnLst>
              <a:cxn ang="0">
                <a:pos x="T0" y="T1"/>
              </a:cxn>
              <a:cxn ang="0">
                <a:pos x="T2" y="T3"/>
              </a:cxn>
              <a:cxn ang="0">
                <a:pos x="T4" y="T5"/>
              </a:cxn>
              <a:cxn ang="0">
                <a:pos x="T6" y="T7"/>
              </a:cxn>
              <a:cxn ang="0">
                <a:pos x="T8" y="T9"/>
              </a:cxn>
            </a:cxnLst>
            <a:rect l="0" t="0" r="r" b="b"/>
            <a:pathLst>
              <a:path w="2970" h="1440">
                <a:moveTo>
                  <a:pt x="0" y="0"/>
                </a:moveTo>
                <a:lnTo>
                  <a:pt x="0" y="1440"/>
                </a:lnTo>
                <a:lnTo>
                  <a:pt x="2970" y="1440"/>
                </a:lnTo>
                <a:lnTo>
                  <a:pt x="2970" y="201"/>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solidFill>
                <a:schemeClr val="accent3"/>
              </a:solidFill>
            </a:endParaRPr>
          </a:p>
        </p:txBody>
      </p:sp>
      <p:sp>
        <p:nvSpPr>
          <p:cNvPr id="16" name="Rectangle 7">
            <a:extLst>
              <a:ext uri="{FF2B5EF4-FFF2-40B4-BE49-F238E27FC236}">
                <a16:creationId xmlns:a16="http://schemas.microsoft.com/office/drawing/2014/main" id="{5E5E664B-9CD3-460B-9606-E66AE505605E}"/>
              </a:ext>
            </a:extLst>
          </p:cNvPr>
          <p:cNvSpPr>
            <a:spLocks noChangeArrowheads="1"/>
          </p:cNvSpPr>
          <p:nvPr>
            <p:custDataLst>
              <p:tags r:id="rId2"/>
            </p:custDataLst>
          </p:nvPr>
        </p:nvSpPr>
        <p:spPr bwMode="auto">
          <a:xfrm>
            <a:off x="3736976" y="4078017"/>
            <a:ext cx="4714874" cy="1979883"/>
          </a:xfrm>
          <a:prstGeom prst="rect">
            <a:avLst/>
          </a:prstGeom>
          <a:noFill/>
          <a:ln w="6350">
            <a:noFill/>
            <a:miter lim="800000"/>
            <a:headEnd/>
            <a:tailEnd/>
          </a:ln>
          <a:effectLst/>
        </p:spPr>
        <p:txBody>
          <a:bodyPr lIns="180000" tIns="180000" rIns="144000" bIns="72000"/>
          <a:lstStyle/>
          <a:p>
            <a:pPr eaLnBrk="0" hangingPunct="0">
              <a:lnSpc>
                <a:spcPct val="85000"/>
              </a:lnSpc>
              <a:spcBef>
                <a:spcPts val="100"/>
              </a:spcBef>
              <a:spcAft>
                <a:spcPts val="300"/>
              </a:spcAft>
            </a:pPr>
            <a:r>
              <a:rPr lang="en-US" b="1" cap="all" dirty="0">
                <a:solidFill>
                  <a:schemeClr val="bg1"/>
                </a:solidFill>
                <a:latin typeface="+mj-lt"/>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p:txBody>
      </p:sp>
      <p:sp>
        <p:nvSpPr>
          <p:cNvPr id="4" name="Footer Placeholder 3">
            <a:extLst>
              <a:ext uri="{FF2B5EF4-FFF2-40B4-BE49-F238E27FC236}">
                <a16:creationId xmlns:a16="http://schemas.microsoft.com/office/drawing/2014/main" id="{592E9360-394F-4621-8E5F-B0EFDC5A2F19}"/>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7C6A5925-5EE5-4C77-8BE9-51EAB640013A}"/>
              </a:ext>
            </a:extLst>
          </p:cNvPr>
          <p:cNvSpPr>
            <a:spLocks noGrp="1"/>
          </p:cNvSpPr>
          <p:nvPr>
            <p:ph type="sldNum" sz="quarter" idx="10"/>
          </p:nvPr>
        </p:nvSpPr>
        <p:spPr/>
        <p:txBody>
          <a:bodyPr/>
          <a:lstStyle/>
          <a:p>
            <a:fld id="{1F90F471-3972-4120-B8B3-0237DE626C35}" type="slidenum">
              <a:rPr lang="en-US" smtClean="0"/>
              <a:pPr/>
              <a:t>137</a:t>
            </a:fld>
            <a:endParaRPr lang="en-US" dirty="0"/>
          </a:p>
        </p:txBody>
      </p:sp>
    </p:spTree>
    <p:extLst>
      <p:ext uri="{BB962C8B-B14F-4D97-AF65-F5344CB8AC3E}">
        <p14:creationId xmlns:p14="http://schemas.microsoft.com/office/powerpoint/2010/main" val="1980915475"/>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Synthesis</a:t>
            </a:r>
          </a:p>
        </p:txBody>
      </p:sp>
      <p:sp>
        <p:nvSpPr>
          <p:cNvPr id="18" name="TextBox 17">
            <a:extLst>
              <a:ext uri="{FF2B5EF4-FFF2-40B4-BE49-F238E27FC236}">
                <a16:creationId xmlns:a16="http://schemas.microsoft.com/office/drawing/2014/main" id="{F19E125F-27B8-435F-A59D-BBC299B84348}"/>
              </a:ext>
            </a:extLst>
          </p:cNvPr>
          <p:cNvSpPr txBox="1"/>
          <p:nvPr/>
        </p:nvSpPr>
        <p:spPr>
          <a:xfrm>
            <a:off x="1468436" y="1619011"/>
            <a:ext cx="9247188" cy="387350"/>
          </a:xfrm>
          <a:prstGeom prst="rect">
            <a:avLst/>
          </a:prstGeom>
          <a:solidFill>
            <a:schemeClr val="accent1"/>
          </a:solidFill>
          <a:ln w="19050">
            <a:noFill/>
          </a:ln>
        </p:spPr>
        <p:txBody>
          <a:bodyPr vert="horz" wrap="square" lIns="0" tIns="36000" rIns="0" bIns="0" rtlCol="0" anchor="ctr">
            <a:noAutofit/>
          </a:bodyPr>
          <a:lstStyle/>
          <a:p>
            <a:pPr algn="ctr">
              <a:lnSpc>
                <a:spcPct val="85000"/>
              </a:lnSpc>
            </a:pPr>
            <a:r>
              <a:rPr lang="en-AU" b="1" cap="all" dirty="0">
                <a:solidFill>
                  <a:schemeClr val="bg1"/>
                </a:solidFill>
                <a:latin typeface="+mj-lt"/>
              </a:rPr>
              <a:t>Text</a:t>
            </a:r>
          </a:p>
        </p:txBody>
      </p:sp>
      <p:sp>
        <p:nvSpPr>
          <p:cNvPr id="17" name="Rectangle 16">
            <a:extLst>
              <a:ext uri="{FF2B5EF4-FFF2-40B4-BE49-F238E27FC236}">
                <a16:creationId xmlns:a16="http://schemas.microsoft.com/office/drawing/2014/main" id="{E1BE35C7-A8B9-4C21-BBD9-1DDE68478EF8}"/>
              </a:ext>
            </a:extLst>
          </p:cNvPr>
          <p:cNvSpPr/>
          <p:nvPr/>
        </p:nvSpPr>
        <p:spPr>
          <a:xfrm>
            <a:off x="1468437" y="2006362"/>
            <a:ext cx="9247188" cy="1503593"/>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tIns="180000" rtlCol="0" anchor="t" anchorCtr="0"/>
          <a:lstStyle/>
          <a:p>
            <a:pPr marL="344488" indent="-165100" eaLnBrk="0" hangingPunct="0">
              <a:spcBef>
                <a:spcPts val="100"/>
              </a:spcBef>
              <a:spcAft>
                <a:spcPts val="100"/>
              </a:spcAft>
              <a:buFontTx/>
              <a:buChar char="•"/>
            </a:pPr>
            <a:r>
              <a:rPr lang="en-US" dirty="0">
                <a:solidFill>
                  <a:schemeClr val="tx1"/>
                </a:solidFill>
              </a:rPr>
              <a:t>Text</a:t>
            </a:r>
          </a:p>
          <a:p>
            <a:pPr marL="344488" indent="-165100" eaLnBrk="0" hangingPunct="0">
              <a:spcBef>
                <a:spcPts val="100"/>
              </a:spcBef>
              <a:spcAft>
                <a:spcPts val="100"/>
              </a:spcAft>
              <a:buFontTx/>
              <a:buChar char="•"/>
            </a:pPr>
            <a:r>
              <a:rPr lang="en-US" dirty="0">
                <a:solidFill>
                  <a:schemeClr val="tx1"/>
                </a:solidFill>
              </a:rPr>
              <a:t>Text</a:t>
            </a:r>
          </a:p>
          <a:p>
            <a:pPr marL="344488" indent="-165100" eaLnBrk="0" hangingPunct="0">
              <a:spcBef>
                <a:spcPts val="100"/>
              </a:spcBef>
              <a:spcAft>
                <a:spcPts val="100"/>
              </a:spcAft>
              <a:buFontTx/>
              <a:buChar char="•"/>
            </a:pPr>
            <a:r>
              <a:rPr lang="en-US" dirty="0">
                <a:solidFill>
                  <a:schemeClr val="tx1"/>
                </a:solidFill>
              </a:rPr>
              <a:t>Text</a:t>
            </a:r>
          </a:p>
        </p:txBody>
      </p:sp>
      <p:cxnSp>
        <p:nvCxnSpPr>
          <p:cNvPr id="14" name="Straight Arrow Connector 13">
            <a:extLst>
              <a:ext uri="{FF2B5EF4-FFF2-40B4-BE49-F238E27FC236}">
                <a16:creationId xmlns:a16="http://schemas.microsoft.com/office/drawing/2014/main" id="{F6B853BE-56E2-4936-9876-226F0BFB0887}"/>
              </a:ext>
              <a:ext uri="{C183D7F6-B498-43B3-948B-1728B52AA6E4}">
                <adec:decorative xmlns:adec="http://schemas.microsoft.com/office/drawing/2017/decorative" val="1"/>
              </a:ext>
            </a:extLst>
          </p:cNvPr>
          <p:cNvCxnSpPr/>
          <p:nvPr/>
        </p:nvCxnSpPr>
        <p:spPr>
          <a:xfrm>
            <a:off x="6096000" y="3658497"/>
            <a:ext cx="0" cy="359917"/>
          </a:xfrm>
          <a:prstGeom prst="straightConnector1">
            <a:avLst/>
          </a:prstGeom>
          <a:ln w="38100">
            <a:solidFill>
              <a:schemeClr val="accent2"/>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CDE856A9-9F76-4BB6-9130-0B0DEF716C50}"/>
              </a:ext>
              <a:ext uri="{C183D7F6-B498-43B3-948B-1728B52AA6E4}">
                <adec:decorative xmlns:adec="http://schemas.microsoft.com/office/drawing/2017/decorative" val="1"/>
              </a:ext>
            </a:extLst>
          </p:cNvPr>
          <p:cNvCxnSpPr/>
          <p:nvPr/>
        </p:nvCxnSpPr>
        <p:spPr>
          <a:xfrm flipV="1">
            <a:off x="4051358" y="3658497"/>
            <a:ext cx="0" cy="359917"/>
          </a:xfrm>
          <a:prstGeom prst="straightConnector1">
            <a:avLst/>
          </a:prstGeom>
          <a:ln w="38100">
            <a:solidFill>
              <a:schemeClr val="accent2"/>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B2C631D9-7F87-4BA3-AA68-949B8197A7C9}"/>
              </a:ext>
              <a:ext uri="{C183D7F6-B498-43B3-948B-1728B52AA6E4}">
                <adec:decorative xmlns:adec="http://schemas.microsoft.com/office/drawing/2017/decorative" val="1"/>
              </a:ext>
            </a:extLst>
          </p:cNvPr>
          <p:cNvCxnSpPr/>
          <p:nvPr/>
        </p:nvCxnSpPr>
        <p:spPr>
          <a:xfrm flipV="1">
            <a:off x="8132705" y="3658497"/>
            <a:ext cx="0" cy="359917"/>
          </a:xfrm>
          <a:prstGeom prst="straightConnector1">
            <a:avLst/>
          </a:prstGeom>
          <a:ln w="38100">
            <a:solidFill>
              <a:schemeClr val="accent2"/>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C12E1295-7C2E-4C0B-AD70-DA765B44411C}"/>
              </a:ext>
            </a:extLst>
          </p:cNvPr>
          <p:cNvSpPr txBox="1"/>
          <p:nvPr/>
        </p:nvSpPr>
        <p:spPr>
          <a:xfrm>
            <a:off x="1468436" y="4166956"/>
            <a:ext cx="4451351" cy="387350"/>
          </a:xfrm>
          <a:prstGeom prst="rect">
            <a:avLst/>
          </a:prstGeom>
          <a:solidFill>
            <a:schemeClr val="accent3"/>
          </a:solidFill>
          <a:ln w="19050">
            <a:noFill/>
          </a:ln>
        </p:spPr>
        <p:txBody>
          <a:bodyPr vert="horz" wrap="square" lIns="0" tIns="36000" rIns="0" bIns="0" rtlCol="0" anchor="ctr">
            <a:noAutofit/>
          </a:bodyPr>
          <a:lstStyle/>
          <a:p>
            <a:pPr algn="ctr">
              <a:lnSpc>
                <a:spcPct val="85000"/>
              </a:lnSpc>
            </a:pPr>
            <a:r>
              <a:rPr lang="en-AU" b="1" cap="all" dirty="0">
                <a:solidFill>
                  <a:schemeClr val="bg1"/>
                </a:solidFill>
                <a:latin typeface="+mj-lt"/>
              </a:rPr>
              <a:t>Text</a:t>
            </a:r>
          </a:p>
        </p:txBody>
      </p:sp>
      <p:sp>
        <p:nvSpPr>
          <p:cNvPr id="19" name="Rectangle 18">
            <a:extLst>
              <a:ext uri="{FF2B5EF4-FFF2-40B4-BE49-F238E27FC236}">
                <a16:creationId xmlns:a16="http://schemas.microsoft.com/office/drawing/2014/main" id="{3CAB6978-98A6-4B29-9BB4-22EB1470BBD8}"/>
              </a:ext>
            </a:extLst>
          </p:cNvPr>
          <p:cNvSpPr/>
          <p:nvPr/>
        </p:nvSpPr>
        <p:spPr>
          <a:xfrm>
            <a:off x="1468437" y="4554307"/>
            <a:ext cx="4451351" cy="1503593"/>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tIns="180000" rtlCol="0" anchor="t" anchorCtr="0"/>
          <a:lstStyle/>
          <a:p>
            <a:pPr marL="344488" indent="-165100" eaLnBrk="0" hangingPunct="0">
              <a:spcBef>
                <a:spcPts val="100"/>
              </a:spcBef>
              <a:spcAft>
                <a:spcPts val="100"/>
              </a:spcAft>
              <a:buFontTx/>
              <a:buChar char="•"/>
            </a:pPr>
            <a:r>
              <a:rPr lang="en-US" dirty="0">
                <a:solidFill>
                  <a:schemeClr val="tx1"/>
                </a:solidFill>
              </a:rPr>
              <a:t>Text</a:t>
            </a:r>
          </a:p>
          <a:p>
            <a:pPr marL="344488" indent="-165100" eaLnBrk="0" hangingPunct="0">
              <a:spcBef>
                <a:spcPts val="100"/>
              </a:spcBef>
              <a:spcAft>
                <a:spcPts val="100"/>
              </a:spcAft>
              <a:buFontTx/>
              <a:buChar char="•"/>
            </a:pPr>
            <a:r>
              <a:rPr lang="en-US" dirty="0">
                <a:solidFill>
                  <a:schemeClr val="tx1"/>
                </a:solidFill>
              </a:rPr>
              <a:t>Text</a:t>
            </a:r>
          </a:p>
          <a:p>
            <a:pPr marL="344488" indent="-165100" eaLnBrk="0" hangingPunct="0">
              <a:spcBef>
                <a:spcPts val="100"/>
              </a:spcBef>
              <a:spcAft>
                <a:spcPts val="100"/>
              </a:spcAft>
              <a:buFontTx/>
              <a:buChar char="•"/>
            </a:pPr>
            <a:r>
              <a:rPr lang="en-US" dirty="0">
                <a:solidFill>
                  <a:schemeClr val="tx1"/>
                </a:solidFill>
              </a:rPr>
              <a:t>Text</a:t>
            </a:r>
          </a:p>
        </p:txBody>
      </p:sp>
      <p:sp>
        <p:nvSpPr>
          <p:cNvPr id="22" name="TextBox 21">
            <a:extLst>
              <a:ext uri="{FF2B5EF4-FFF2-40B4-BE49-F238E27FC236}">
                <a16:creationId xmlns:a16="http://schemas.microsoft.com/office/drawing/2014/main" id="{8A6AB462-4392-49F7-A1D9-5EDB990B0D0F}"/>
              </a:ext>
            </a:extLst>
          </p:cNvPr>
          <p:cNvSpPr txBox="1"/>
          <p:nvPr/>
        </p:nvSpPr>
        <p:spPr>
          <a:xfrm>
            <a:off x="6272213" y="4166956"/>
            <a:ext cx="4451351" cy="387350"/>
          </a:xfrm>
          <a:prstGeom prst="rect">
            <a:avLst/>
          </a:prstGeom>
          <a:solidFill>
            <a:schemeClr val="accent2"/>
          </a:solidFill>
          <a:ln w="19050">
            <a:noFill/>
          </a:ln>
        </p:spPr>
        <p:txBody>
          <a:bodyPr vert="horz" wrap="square" lIns="0" tIns="36000" rIns="0" bIns="0" rtlCol="0" anchor="ctr">
            <a:noAutofit/>
          </a:bodyPr>
          <a:lstStyle/>
          <a:p>
            <a:pPr algn="ctr">
              <a:lnSpc>
                <a:spcPct val="85000"/>
              </a:lnSpc>
            </a:pPr>
            <a:r>
              <a:rPr lang="en-AU" b="1" cap="all" dirty="0">
                <a:solidFill>
                  <a:schemeClr val="bg1"/>
                </a:solidFill>
                <a:latin typeface="+mj-lt"/>
              </a:rPr>
              <a:t>Text</a:t>
            </a:r>
          </a:p>
        </p:txBody>
      </p:sp>
      <p:sp>
        <p:nvSpPr>
          <p:cNvPr id="21" name="Rectangle 20">
            <a:extLst>
              <a:ext uri="{FF2B5EF4-FFF2-40B4-BE49-F238E27FC236}">
                <a16:creationId xmlns:a16="http://schemas.microsoft.com/office/drawing/2014/main" id="{1365A725-9D55-4B51-8C1E-391602BA16C2}"/>
              </a:ext>
            </a:extLst>
          </p:cNvPr>
          <p:cNvSpPr/>
          <p:nvPr/>
        </p:nvSpPr>
        <p:spPr>
          <a:xfrm>
            <a:off x="6272214" y="4554307"/>
            <a:ext cx="4451351" cy="1503593"/>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tIns="180000" rtlCol="0" anchor="t" anchorCtr="0"/>
          <a:lstStyle/>
          <a:p>
            <a:pPr marL="344488" indent="-165100" eaLnBrk="0" hangingPunct="0">
              <a:spcBef>
                <a:spcPts val="100"/>
              </a:spcBef>
              <a:spcAft>
                <a:spcPts val="100"/>
              </a:spcAft>
              <a:buFontTx/>
              <a:buChar char="•"/>
            </a:pPr>
            <a:r>
              <a:rPr lang="en-US" dirty="0">
                <a:solidFill>
                  <a:schemeClr val="tx1"/>
                </a:solidFill>
              </a:rPr>
              <a:t>Text</a:t>
            </a:r>
          </a:p>
          <a:p>
            <a:pPr marL="344488" indent="-165100" eaLnBrk="0" hangingPunct="0">
              <a:spcBef>
                <a:spcPts val="100"/>
              </a:spcBef>
              <a:spcAft>
                <a:spcPts val="100"/>
              </a:spcAft>
              <a:buFontTx/>
              <a:buChar char="•"/>
            </a:pPr>
            <a:r>
              <a:rPr lang="en-US" dirty="0">
                <a:solidFill>
                  <a:schemeClr val="tx1"/>
                </a:solidFill>
              </a:rPr>
              <a:t>Text</a:t>
            </a:r>
          </a:p>
          <a:p>
            <a:pPr marL="344488" indent="-165100" eaLnBrk="0" hangingPunct="0">
              <a:spcBef>
                <a:spcPts val="100"/>
              </a:spcBef>
              <a:spcAft>
                <a:spcPts val="100"/>
              </a:spcAft>
              <a:buFontTx/>
              <a:buChar char="•"/>
            </a:pPr>
            <a:r>
              <a:rPr lang="en-US" dirty="0">
                <a:solidFill>
                  <a:schemeClr val="tx1"/>
                </a:solidFill>
              </a:rPr>
              <a:t>Text</a:t>
            </a:r>
          </a:p>
        </p:txBody>
      </p:sp>
      <p:sp>
        <p:nvSpPr>
          <p:cNvPr id="4" name="Footer Placeholder 3">
            <a:extLst>
              <a:ext uri="{FF2B5EF4-FFF2-40B4-BE49-F238E27FC236}">
                <a16:creationId xmlns:a16="http://schemas.microsoft.com/office/drawing/2014/main" id="{9BB18116-B24F-4827-A051-902A819E4CDF}"/>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A18FB667-C5D3-4893-82ED-B0156B1416AC}"/>
              </a:ext>
            </a:extLst>
          </p:cNvPr>
          <p:cNvSpPr>
            <a:spLocks noGrp="1"/>
          </p:cNvSpPr>
          <p:nvPr>
            <p:ph type="sldNum" sz="quarter" idx="10"/>
          </p:nvPr>
        </p:nvSpPr>
        <p:spPr/>
        <p:txBody>
          <a:bodyPr/>
          <a:lstStyle/>
          <a:p>
            <a:fld id="{1F90F471-3972-4120-B8B3-0237DE626C35}" type="slidenum">
              <a:rPr lang="en-US" smtClean="0"/>
              <a:pPr/>
              <a:t>138</a:t>
            </a:fld>
            <a:endParaRPr lang="en-US" dirty="0"/>
          </a:p>
        </p:txBody>
      </p:sp>
    </p:spTree>
    <p:extLst>
      <p:ext uri="{BB962C8B-B14F-4D97-AF65-F5344CB8AC3E}">
        <p14:creationId xmlns:p14="http://schemas.microsoft.com/office/powerpoint/2010/main" val="964651964"/>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Centralization</a:t>
            </a:r>
          </a:p>
        </p:txBody>
      </p:sp>
      <p:grpSp>
        <p:nvGrpSpPr>
          <p:cNvPr id="3" name="Group 2" descr="Centralization">
            <a:extLst>
              <a:ext uri="{FF2B5EF4-FFF2-40B4-BE49-F238E27FC236}">
                <a16:creationId xmlns:a16="http://schemas.microsoft.com/office/drawing/2014/main" id="{3DA553FA-3173-4B97-A046-98C2B9D51AAB}"/>
              </a:ext>
            </a:extLst>
          </p:cNvPr>
          <p:cNvGrpSpPr/>
          <p:nvPr/>
        </p:nvGrpSpPr>
        <p:grpSpPr>
          <a:xfrm>
            <a:off x="3751093" y="1368480"/>
            <a:ext cx="4681288" cy="4689421"/>
            <a:chOff x="3751093" y="1368480"/>
            <a:chExt cx="4681288" cy="4689421"/>
          </a:xfrm>
        </p:grpSpPr>
        <p:sp>
          <p:nvSpPr>
            <p:cNvPr id="14" name="Isosceles Triangle 13">
              <a:extLst>
                <a:ext uri="{FF2B5EF4-FFF2-40B4-BE49-F238E27FC236}">
                  <a16:creationId xmlns:a16="http://schemas.microsoft.com/office/drawing/2014/main" id="{FFE46D50-77A5-4F31-AEB7-C5313BF9F8E4}"/>
                </a:ext>
                <a:ext uri="{C183D7F6-B498-43B3-948B-1728B52AA6E4}">
                  <adec:decorative xmlns:adec="http://schemas.microsoft.com/office/drawing/2017/decorative" val="1"/>
                </a:ext>
              </a:extLst>
            </p:cNvPr>
            <p:cNvSpPr/>
            <p:nvPr/>
          </p:nvSpPr>
          <p:spPr>
            <a:xfrm rot="5400000">
              <a:off x="2653480" y="2616199"/>
              <a:ext cx="4421757" cy="2226530"/>
            </a:xfrm>
            <a:prstGeom prst="triangle">
              <a:avLst>
                <a:gd name="adj" fmla="val 4966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2" name="Rectangle 6">
              <a:extLst>
                <a:ext uri="{FF2B5EF4-FFF2-40B4-BE49-F238E27FC236}">
                  <a16:creationId xmlns:a16="http://schemas.microsoft.com/office/drawing/2014/main" id="{BB2A3334-E914-4F07-974A-5239C4ECF6BA}"/>
                </a:ext>
              </a:extLst>
            </p:cNvPr>
            <p:cNvSpPr>
              <a:spLocks noChangeArrowheads="1"/>
            </p:cNvSpPr>
            <p:nvPr>
              <p:custDataLst>
                <p:tags r:id="rId1"/>
              </p:custDataLst>
            </p:nvPr>
          </p:nvSpPr>
          <p:spPr bwMode="auto">
            <a:xfrm>
              <a:off x="3751093" y="2792235"/>
              <a:ext cx="2226531" cy="1874457"/>
            </a:xfrm>
            <a:prstGeom prst="rect">
              <a:avLst/>
            </a:prstGeom>
            <a:noFill/>
            <a:ln w="6350">
              <a:noFill/>
              <a:miter lim="800000"/>
              <a:headEnd/>
              <a:tailEnd/>
            </a:ln>
            <a:effectLst/>
          </p:spPr>
          <p:txBody>
            <a:bodyPr lIns="180000" tIns="180000" rIns="144000" bIns="72000"/>
            <a:lstStyle/>
            <a:p>
              <a:pPr algn="l" eaLnBrk="0" hangingPunct="0">
                <a:lnSpc>
                  <a:spcPct val="85000"/>
                </a:lnSpc>
                <a:spcBef>
                  <a:spcPts val="100"/>
                </a:spcBef>
                <a:spcAft>
                  <a:spcPts val="300"/>
                </a:spcAft>
              </a:pPr>
              <a:r>
                <a:rPr lang="en-US" b="1" cap="all" dirty="0">
                  <a:solidFill>
                    <a:schemeClr val="bg1"/>
                  </a:solidFill>
                  <a:latin typeface="+mj-lt"/>
                </a:rPr>
                <a:t>Text</a:t>
              </a:r>
            </a:p>
            <a:p>
              <a:pPr algn="l" eaLnBrk="0" hangingPunct="0">
                <a:spcBef>
                  <a:spcPts val="100"/>
                </a:spcBef>
                <a:spcAft>
                  <a:spcPts val="100"/>
                </a:spcAft>
              </a:pPr>
              <a:r>
                <a:rPr lang="en-US" dirty="0">
                  <a:solidFill>
                    <a:schemeClr val="bg1"/>
                  </a:solidFill>
                </a:rPr>
                <a:t>Text</a:t>
              </a:r>
            </a:p>
          </p:txBody>
        </p:sp>
        <p:sp>
          <p:nvSpPr>
            <p:cNvPr id="18" name="Isosceles Triangle 17">
              <a:extLst>
                <a:ext uri="{FF2B5EF4-FFF2-40B4-BE49-F238E27FC236}">
                  <a16:creationId xmlns:a16="http://schemas.microsoft.com/office/drawing/2014/main" id="{545456DA-CF1E-4F4D-A1DB-0DC096F0FB7B}"/>
                </a:ext>
                <a:ext uri="{C183D7F6-B498-43B3-948B-1728B52AA6E4}">
                  <adec:decorative xmlns:adec="http://schemas.microsoft.com/office/drawing/2017/decorative" val="1"/>
                </a:ext>
              </a:extLst>
            </p:cNvPr>
            <p:cNvSpPr/>
            <p:nvPr/>
          </p:nvSpPr>
          <p:spPr>
            <a:xfrm rot="10800000">
              <a:off x="3864404" y="1368481"/>
              <a:ext cx="4421757" cy="2226530"/>
            </a:xfrm>
            <a:prstGeom prst="triangle">
              <a:avLst>
                <a:gd name="adj" fmla="val 49660"/>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6" name="Rectangle 6">
              <a:extLst>
                <a:ext uri="{FF2B5EF4-FFF2-40B4-BE49-F238E27FC236}">
                  <a16:creationId xmlns:a16="http://schemas.microsoft.com/office/drawing/2014/main" id="{1845F570-C479-40FB-920F-1D9E9B27B4C6}"/>
                </a:ext>
              </a:extLst>
            </p:cNvPr>
            <p:cNvSpPr>
              <a:spLocks noChangeArrowheads="1"/>
            </p:cNvSpPr>
            <p:nvPr>
              <p:custDataLst>
                <p:tags r:id="rId2"/>
              </p:custDataLst>
            </p:nvPr>
          </p:nvSpPr>
          <p:spPr bwMode="auto">
            <a:xfrm>
              <a:off x="4522544" y="1368480"/>
              <a:ext cx="3105478" cy="1874457"/>
            </a:xfrm>
            <a:prstGeom prst="rect">
              <a:avLst/>
            </a:prstGeom>
            <a:noFill/>
            <a:ln w="6350">
              <a:noFill/>
              <a:miter lim="800000"/>
              <a:headEnd/>
              <a:tailEnd/>
            </a:ln>
            <a:effectLst/>
          </p:spPr>
          <p:txBody>
            <a:bodyPr lIns="180000" tIns="180000" rIns="144000" bIns="72000"/>
            <a:lstStyle/>
            <a:p>
              <a:pPr algn="ctr" eaLnBrk="0" hangingPunct="0">
                <a:lnSpc>
                  <a:spcPct val="85000"/>
                </a:lnSpc>
                <a:spcBef>
                  <a:spcPts val="100"/>
                </a:spcBef>
                <a:spcAft>
                  <a:spcPts val="300"/>
                </a:spcAft>
              </a:pPr>
              <a:r>
                <a:rPr lang="en-US" b="1" cap="all" dirty="0">
                  <a:solidFill>
                    <a:schemeClr val="bg1"/>
                  </a:solidFill>
                  <a:latin typeface="+mj-lt"/>
                </a:rPr>
                <a:t>Text</a:t>
              </a:r>
            </a:p>
            <a:p>
              <a:pPr algn="ctr" eaLnBrk="0" hangingPunct="0">
                <a:spcBef>
                  <a:spcPts val="100"/>
                </a:spcBef>
                <a:spcAft>
                  <a:spcPts val="100"/>
                </a:spcAft>
              </a:pPr>
              <a:r>
                <a:rPr lang="en-US" dirty="0">
                  <a:solidFill>
                    <a:schemeClr val="bg1"/>
                  </a:solidFill>
                </a:rPr>
                <a:t>Text</a:t>
              </a:r>
            </a:p>
          </p:txBody>
        </p:sp>
        <p:sp>
          <p:nvSpPr>
            <p:cNvPr id="16" name="Isosceles Triangle 15">
              <a:extLst>
                <a:ext uri="{FF2B5EF4-FFF2-40B4-BE49-F238E27FC236}">
                  <a16:creationId xmlns:a16="http://schemas.microsoft.com/office/drawing/2014/main" id="{38EBA688-F153-48DA-9C4F-233E71F71FC7}"/>
                </a:ext>
                <a:ext uri="{C183D7F6-B498-43B3-948B-1728B52AA6E4}">
                  <adec:decorative xmlns:adec="http://schemas.microsoft.com/office/drawing/2017/decorative" val="1"/>
                </a:ext>
              </a:extLst>
            </p:cNvPr>
            <p:cNvSpPr/>
            <p:nvPr/>
          </p:nvSpPr>
          <p:spPr>
            <a:xfrm rot="16200000" flipH="1">
              <a:off x="5108237" y="2616207"/>
              <a:ext cx="4421757" cy="2226530"/>
            </a:xfrm>
            <a:prstGeom prst="triangle">
              <a:avLst>
                <a:gd name="adj" fmla="val 4966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4" name="Rectangle 6">
              <a:extLst>
                <a:ext uri="{FF2B5EF4-FFF2-40B4-BE49-F238E27FC236}">
                  <a16:creationId xmlns:a16="http://schemas.microsoft.com/office/drawing/2014/main" id="{BA9444B6-90D8-45DB-B9DA-D22A986434E0}"/>
                </a:ext>
              </a:extLst>
            </p:cNvPr>
            <p:cNvSpPr>
              <a:spLocks noChangeArrowheads="1"/>
            </p:cNvSpPr>
            <p:nvPr>
              <p:custDataLst>
                <p:tags r:id="rId3"/>
              </p:custDataLst>
            </p:nvPr>
          </p:nvSpPr>
          <p:spPr bwMode="auto">
            <a:xfrm>
              <a:off x="6205850" y="2792235"/>
              <a:ext cx="2226531" cy="1874457"/>
            </a:xfrm>
            <a:prstGeom prst="rect">
              <a:avLst/>
            </a:prstGeom>
            <a:noFill/>
            <a:ln w="6350">
              <a:noFill/>
              <a:miter lim="800000"/>
              <a:headEnd/>
              <a:tailEnd/>
            </a:ln>
            <a:effectLst/>
          </p:spPr>
          <p:txBody>
            <a:bodyPr lIns="144000" tIns="180000" rIns="180000" bIns="72000"/>
            <a:lstStyle/>
            <a:p>
              <a:pPr algn="r" eaLnBrk="0" hangingPunct="0">
                <a:lnSpc>
                  <a:spcPct val="85000"/>
                </a:lnSpc>
                <a:spcBef>
                  <a:spcPts val="100"/>
                </a:spcBef>
                <a:spcAft>
                  <a:spcPts val="300"/>
                </a:spcAft>
              </a:pPr>
              <a:r>
                <a:rPr lang="en-US" b="1" cap="all" dirty="0">
                  <a:solidFill>
                    <a:schemeClr val="bg1"/>
                  </a:solidFill>
                  <a:latin typeface="+mj-lt"/>
                </a:rPr>
                <a:t>Text</a:t>
              </a:r>
            </a:p>
            <a:p>
              <a:pPr algn="r" eaLnBrk="0" hangingPunct="0">
                <a:spcBef>
                  <a:spcPts val="100"/>
                </a:spcBef>
                <a:spcAft>
                  <a:spcPts val="100"/>
                </a:spcAft>
              </a:pPr>
              <a:r>
                <a:rPr lang="en-US" dirty="0">
                  <a:solidFill>
                    <a:schemeClr val="bg1"/>
                  </a:solidFill>
                </a:rPr>
                <a:t>Text</a:t>
              </a:r>
            </a:p>
          </p:txBody>
        </p:sp>
        <p:sp>
          <p:nvSpPr>
            <p:cNvPr id="20" name="Isosceles Triangle 19">
              <a:extLst>
                <a:ext uri="{FF2B5EF4-FFF2-40B4-BE49-F238E27FC236}">
                  <a16:creationId xmlns:a16="http://schemas.microsoft.com/office/drawing/2014/main" id="{6E28F06F-C320-4142-A946-F96ABB89E014}"/>
                </a:ext>
                <a:ext uri="{C183D7F6-B498-43B3-948B-1728B52AA6E4}">
                  <adec:decorative xmlns:adec="http://schemas.microsoft.com/office/drawing/2017/decorative" val="1"/>
                </a:ext>
              </a:extLst>
            </p:cNvPr>
            <p:cNvSpPr/>
            <p:nvPr/>
          </p:nvSpPr>
          <p:spPr>
            <a:xfrm flipH="1">
              <a:off x="3868315" y="3831371"/>
              <a:ext cx="4421757" cy="2226530"/>
            </a:xfrm>
            <a:prstGeom prst="triangle">
              <a:avLst>
                <a:gd name="adj" fmla="val 49660"/>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8" name="Rectangle 6">
              <a:extLst>
                <a:ext uri="{FF2B5EF4-FFF2-40B4-BE49-F238E27FC236}">
                  <a16:creationId xmlns:a16="http://schemas.microsoft.com/office/drawing/2014/main" id="{6D0C4C31-777A-4721-8EDC-408D962DE7DC}"/>
                </a:ext>
              </a:extLst>
            </p:cNvPr>
            <p:cNvSpPr>
              <a:spLocks noChangeArrowheads="1"/>
            </p:cNvSpPr>
            <p:nvPr>
              <p:custDataLst>
                <p:tags r:id="rId4"/>
              </p:custDataLst>
            </p:nvPr>
          </p:nvSpPr>
          <p:spPr bwMode="auto">
            <a:xfrm>
              <a:off x="4522544" y="4516579"/>
              <a:ext cx="3105478" cy="1541322"/>
            </a:xfrm>
            <a:prstGeom prst="rect">
              <a:avLst/>
            </a:prstGeom>
            <a:noFill/>
            <a:ln w="6350">
              <a:noFill/>
              <a:miter lim="800000"/>
              <a:headEnd/>
              <a:tailEnd/>
            </a:ln>
            <a:effectLst/>
          </p:spPr>
          <p:txBody>
            <a:bodyPr lIns="180000" tIns="180000" rIns="144000" bIns="72000"/>
            <a:lstStyle/>
            <a:p>
              <a:pPr algn="ctr" eaLnBrk="0" hangingPunct="0">
                <a:lnSpc>
                  <a:spcPct val="85000"/>
                </a:lnSpc>
                <a:spcBef>
                  <a:spcPts val="100"/>
                </a:spcBef>
                <a:spcAft>
                  <a:spcPts val="300"/>
                </a:spcAft>
              </a:pPr>
              <a:r>
                <a:rPr lang="en-US" b="1" cap="all" dirty="0">
                  <a:solidFill>
                    <a:schemeClr val="bg1"/>
                  </a:solidFill>
                  <a:latin typeface="+mj-lt"/>
                </a:rPr>
                <a:t>Text</a:t>
              </a:r>
            </a:p>
            <a:p>
              <a:pPr algn="ctr" eaLnBrk="0" hangingPunct="0">
                <a:spcBef>
                  <a:spcPts val="100"/>
                </a:spcBef>
                <a:spcAft>
                  <a:spcPts val="100"/>
                </a:spcAft>
              </a:pPr>
              <a:r>
                <a:rPr lang="en-US" dirty="0">
                  <a:solidFill>
                    <a:schemeClr val="bg1"/>
                  </a:solidFill>
                </a:rPr>
                <a:t>Text</a:t>
              </a:r>
            </a:p>
          </p:txBody>
        </p:sp>
      </p:grpSp>
      <p:sp>
        <p:nvSpPr>
          <p:cNvPr id="4" name="Footer Placeholder 3">
            <a:extLst>
              <a:ext uri="{FF2B5EF4-FFF2-40B4-BE49-F238E27FC236}">
                <a16:creationId xmlns:a16="http://schemas.microsoft.com/office/drawing/2014/main" id="{1823A72A-454A-49FF-AD3E-D246F3398B43}"/>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5BD21DA9-EBEF-440B-BF76-CEEBEFDD3846}"/>
              </a:ext>
            </a:extLst>
          </p:cNvPr>
          <p:cNvSpPr>
            <a:spLocks noGrp="1"/>
          </p:cNvSpPr>
          <p:nvPr>
            <p:ph type="sldNum" sz="quarter" idx="10"/>
          </p:nvPr>
        </p:nvSpPr>
        <p:spPr/>
        <p:txBody>
          <a:bodyPr/>
          <a:lstStyle/>
          <a:p>
            <a:fld id="{1F90F471-3972-4120-B8B3-0237DE626C35}" type="slidenum">
              <a:rPr lang="en-US" smtClean="0"/>
              <a:pPr/>
              <a:t>139</a:t>
            </a:fld>
            <a:endParaRPr lang="en-US" dirty="0"/>
          </a:p>
        </p:txBody>
      </p:sp>
    </p:spTree>
    <p:extLst>
      <p:ext uri="{BB962C8B-B14F-4D97-AF65-F5344CB8AC3E}">
        <p14:creationId xmlns:p14="http://schemas.microsoft.com/office/powerpoint/2010/main" val="26950913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5DC4F61-184E-4F82-BCFE-5284E01CA671}"/>
              </a:ext>
            </a:extLst>
          </p:cNvPr>
          <p:cNvSpPr>
            <a:spLocks noGrp="1"/>
          </p:cNvSpPr>
          <p:nvPr>
            <p:ph type="title"/>
          </p:nvPr>
        </p:nvSpPr>
        <p:spPr>
          <a:xfrm>
            <a:off x="381000" y="381000"/>
            <a:ext cx="11430000" cy="800100"/>
          </a:xfrm>
        </p:spPr>
        <p:txBody>
          <a:bodyPr/>
          <a:lstStyle/>
          <a:p>
            <a:r>
              <a:rPr lang="en-GB" dirty="0"/>
              <a:t>Slide Layouts</a:t>
            </a:r>
            <a:endParaRPr lang="en-US" dirty="0"/>
          </a:p>
        </p:txBody>
      </p:sp>
      <p:sp>
        <p:nvSpPr>
          <p:cNvPr id="12" name="Text Placeholder 11">
            <a:extLst>
              <a:ext uri="{FF2B5EF4-FFF2-40B4-BE49-F238E27FC236}">
                <a16:creationId xmlns:a16="http://schemas.microsoft.com/office/drawing/2014/main" id="{1137222D-EBC6-47FC-93BE-F7C6E292D88E}"/>
              </a:ext>
            </a:extLst>
          </p:cNvPr>
          <p:cNvSpPr>
            <a:spLocks noGrp="1"/>
          </p:cNvSpPr>
          <p:nvPr>
            <p:ph type="body" sz="quarter" idx="11"/>
          </p:nvPr>
        </p:nvSpPr>
        <p:spPr>
          <a:xfrm>
            <a:off x="381000" y="1234440"/>
            <a:ext cx="11430000" cy="384048"/>
          </a:xfrm>
        </p:spPr>
        <p:txBody>
          <a:bodyPr/>
          <a:lstStyle/>
          <a:p>
            <a:r>
              <a:rPr lang="en-GB" dirty="0"/>
              <a:t>The following snapshots show some of the slide layouts included within this template. </a:t>
            </a:r>
            <a:br>
              <a:rPr lang="en-GB" dirty="0"/>
            </a:br>
            <a:r>
              <a:rPr lang="en-GB" dirty="0"/>
              <a:t>Access them through Home (Ribbon) &gt; Slides &gt; Layout or View (Ribbon) &gt; Slide Master.</a:t>
            </a:r>
          </a:p>
        </p:txBody>
      </p:sp>
      <p:grpSp>
        <p:nvGrpSpPr>
          <p:cNvPr id="9" name="Group 8" descr="Slide Layouts ordered from left to right">
            <a:extLst>
              <a:ext uri="{FF2B5EF4-FFF2-40B4-BE49-F238E27FC236}">
                <a16:creationId xmlns:a16="http://schemas.microsoft.com/office/drawing/2014/main" id="{C02412A5-B3F8-46B8-A63A-028A5CABE914}"/>
              </a:ext>
            </a:extLst>
          </p:cNvPr>
          <p:cNvGrpSpPr/>
          <p:nvPr/>
        </p:nvGrpSpPr>
        <p:grpSpPr>
          <a:xfrm>
            <a:off x="380999" y="2124611"/>
            <a:ext cx="11340234" cy="4165540"/>
            <a:chOff x="380999" y="2124611"/>
            <a:chExt cx="11340234" cy="4165540"/>
          </a:xfrm>
        </p:grpSpPr>
        <p:sp>
          <p:nvSpPr>
            <p:cNvPr id="2" name="TextBox 1">
              <a:extLst>
                <a:ext uri="{FF2B5EF4-FFF2-40B4-BE49-F238E27FC236}">
                  <a16:creationId xmlns:a16="http://schemas.microsoft.com/office/drawing/2014/main" id="{E32ED384-FC9E-4CD3-B6A0-81D43F8E9489}"/>
                </a:ext>
              </a:extLst>
            </p:cNvPr>
            <p:cNvSpPr txBox="1"/>
            <p:nvPr/>
          </p:nvSpPr>
          <p:spPr>
            <a:xfrm rot="16200000">
              <a:off x="142495" y="2364473"/>
              <a:ext cx="713231" cy="236223"/>
            </a:xfrm>
            <a:prstGeom prst="rect">
              <a:avLst/>
            </a:prstGeom>
            <a:noFill/>
          </p:spPr>
          <p:txBody>
            <a:bodyPr wrap="square" lIns="0" tIns="0" rIns="0" bIns="0" rtlCol="0" anchor="b">
              <a:noAutofit/>
            </a:bodyPr>
            <a:lstStyle/>
            <a:p>
              <a:pPr algn="ctr" defTabSz="228600">
                <a:lnSpc>
                  <a:spcPct val="90000"/>
                </a:lnSpc>
                <a:spcAft>
                  <a:spcPts val="1200"/>
                </a:spcAft>
              </a:pPr>
              <a:r>
                <a:rPr lang="en-US" sz="1000" b="1" noProof="0" dirty="0">
                  <a:solidFill>
                    <a:schemeClr val="tx1"/>
                  </a:solidFill>
                </a:rPr>
                <a:t>Intro &amp;</a:t>
              </a:r>
              <a:br>
                <a:rPr lang="en-US" sz="1000" b="1" noProof="0" dirty="0">
                  <a:solidFill>
                    <a:schemeClr val="tx1"/>
                  </a:solidFill>
                </a:rPr>
              </a:br>
              <a:r>
                <a:rPr lang="en-US" sz="1000" b="1" noProof="0" dirty="0">
                  <a:solidFill>
                    <a:schemeClr val="tx1"/>
                  </a:solidFill>
                </a:rPr>
                <a:t>Covers</a:t>
              </a:r>
            </a:p>
          </p:txBody>
        </p:sp>
        <p:pic>
          <p:nvPicPr>
            <p:cNvPr id="13" name="Picture 12">
              <a:extLst>
                <a:ext uri="{FF2B5EF4-FFF2-40B4-BE49-F238E27FC236}">
                  <a16:creationId xmlns:a16="http://schemas.microsoft.com/office/drawing/2014/main" id="{40AA8100-F555-4ED7-8DEC-1F474FCDE3E8}"/>
                </a:ext>
              </a:extLst>
            </p:cNvPr>
            <p:cNvPicPr>
              <a:picLocks noChangeAspect="1"/>
            </p:cNvPicPr>
            <p:nvPr/>
          </p:nvPicPr>
          <p:blipFill>
            <a:blip r:embed="rId2"/>
            <a:stretch>
              <a:fillRect/>
            </a:stretch>
          </p:blipFill>
          <p:spPr>
            <a:xfrm>
              <a:off x="708660" y="2124611"/>
              <a:ext cx="1280160" cy="721359"/>
            </a:xfrm>
            <a:prstGeom prst="rect">
              <a:avLst/>
            </a:prstGeom>
            <a:ln w="6350">
              <a:solidFill>
                <a:schemeClr val="tx1"/>
              </a:solidFill>
            </a:ln>
          </p:spPr>
        </p:pic>
        <p:pic>
          <p:nvPicPr>
            <p:cNvPr id="17" name="Picture 16">
              <a:extLst>
                <a:ext uri="{FF2B5EF4-FFF2-40B4-BE49-F238E27FC236}">
                  <a16:creationId xmlns:a16="http://schemas.microsoft.com/office/drawing/2014/main" id="{885BA0C1-B62C-494C-8162-7B55D58AC0B0}"/>
                </a:ext>
              </a:extLst>
            </p:cNvPr>
            <p:cNvPicPr>
              <a:picLocks noChangeAspect="1"/>
            </p:cNvPicPr>
            <p:nvPr/>
          </p:nvPicPr>
          <p:blipFill>
            <a:blip r:embed="rId3"/>
            <a:stretch>
              <a:fillRect/>
            </a:stretch>
          </p:blipFill>
          <p:spPr>
            <a:xfrm>
              <a:off x="2099005" y="2124611"/>
              <a:ext cx="1280160" cy="721359"/>
            </a:xfrm>
            <a:prstGeom prst="rect">
              <a:avLst/>
            </a:prstGeom>
            <a:ln w="6350">
              <a:solidFill>
                <a:schemeClr val="tx1"/>
              </a:solidFill>
            </a:ln>
          </p:spPr>
        </p:pic>
        <p:pic>
          <p:nvPicPr>
            <p:cNvPr id="19" name="Picture 18">
              <a:extLst>
                <a:ext uri="{FF2B5EF4-FFF2-40B4-BE49-F238E27FC236}">
                  <a16:creationId xmlns:a16="http://schemas.microsoft.com/office/drawing/2014/main" id="{AA669C17-4472-4A74-8A5E-C58D96A03757}"/>
                </a:ext>
              </a:extLst>
            </p:cNvPr>
            <p:cNvPicPr>
              <a:picLocks noChangeAspect="1"/>
            </p:cNvPicPr>
            <p:nvPr/>
          </p:nvPicPr>
          <p:blipFill>
            <a:blip r:embed="rId4"/>
            <a:stretch>
              <a:fillRect/>
            </a:stretch>
          </p:blipFill>
          <p:spPr>
            <a:xfrm>
              <a:off x="3489350" y="2124611"/>
              <a:ext cx="1280160" cy="721359"/>
            </a:xfrm>
            <a:prstGeom prst="rect">
              <a:avLst/>
            </a:prstGeom>
            <a:ln w="6350">
              <a:solidFill>
                <a:schemeClr val="tx1"/>
              </a:solidFill>
            </a:ln>
          </p:spPr>
        </p:pic>
        <p:pic>
          <p:nvPicPr>
            <p:cNvPr id="21" name="Picture 20">
              <a:extLst>
                <a:ext uri="{FF2B5EF4-FFF2-40B4-BE49-F238E27FC236}">
                  <a16:creationId xmlns:a16="http://schemas.microsoft.com/office/drawing/2014/main" id="{112C7589-8514-44AC-8C89-42B287835DCA}"/>
                </a:ext>
              </a:extLst>
            </p:cNvPr>
            <p:cNvPicPr>
              <a:picLocks noChangeAspect="1"/>
            </p:cNvPicPr>
            <p:nvPr/>
          </p:nvPicPr>
          <p:blipFill>
            <a:blip r:embed="rId5"/>
            <a:stretch>
              <a:fillRect/>
            </a:stretch>
          </p:blipFill>
          <p:spPr>
            <a:xfrm>
              <a:off x="4879695" y="2124611"/>
              <a:ext cx="1280160" cy="721359"/>
            </a:xfrm>
            <a:prstGeom prst="rect">
              <a:avLst/>
            </a:prstGeom>
            <a:ln w="6350">
              <a:solidFill>
                <a:schemeClr val="tx1"/>
              </a:solidFill>
            </a:ln>
          </p:spPr>
        </p:pic>
        <p:pic>
          <p:nvPicPr>
            <p:cNvPr id="27" name="Picture 26">
              <a:extLst>
                <a:ext uri="{FF2B5EF4-FFF2-40B4-BE49-F238E27FC236}">
                  <a16:creationId xmlns:a16="http://schemas.microsoft.com/office/drawing/2014/main" id="{99945926-17CE-4FA7-AAB9-897E3694F70E}"/>
                </a:ext>
              </a:extLst>
            </p:cNvPr>
            <p:cNvPicPr>
              <a:picLocks noChangeAspect="1"/>
            </p:cNvPicPr>
            <p:nvPr/>
          </p:nvPicPr>
          <p:blipFill>
            <a:blip r:embed="rId6"/>
            <a:stretch>
              <a:fillRect/>
            </a:stretch>
          </p:blipFill>
          <p:spPr>
            <a:xfrm>
              <a:off x="6270040" y="2124611"/>
              <a:ext cx="1280160" cy="721359"/>
            </a:xfrm>
            <a:prstGeom prst="rect">
              <a:avLst/>
            </a:prstGeom>
            <a:ln w="6350">
              <a:solidFill>
                <a:schemeClr val="tx1"/>
              </a:solidFill>
            </a:ln>
          </p:spPr>
        </p:pic>
        <p:pic>
          <p:nvPicPr>
            <p:cNvPr id="32" name="Picture 31">
              <a:extLst>
                <a:ext uri="{FF2B5EF4-FFF2-40B4-BE49-F238E27FC236}">
                  <a16:creationId xmlns:a16="http://schemas.microsoft.com/office/drawing/2014/main" id="{1D6BACAA-1C7A-4738-950C-CB30AC8F8BBE}"/>
                </a:ext>
              </a:extLst>
            </p:cNvPr>
            <p:cNvPicPr>
              <a:picLocks noChangeAspect="1"/>
            </p:cNvPicPr>
            <p:nvPr/>
          </p:nvPicPr>
          <p:blipFill>
            <a:blip r:embed="rId7"/>
            <a:stretch>
              <a:fillRect/>
            </a:stretch>
          </p:blipFill>
          <p:spPr>
            <a:xfrm>
              <a:off x="7660385" y="2124611"/>
              <a:ext cx="1280160" cy="721360"/>
            </a:xfrm>
            <a:prstGeom prst="rect">
              <a:avLst/>
            </a:prstGeom>
            <a:ln w="6350">
              <a:solidFill>
                <a:schemeClr val="tx1"/>
              </a:solidFill>
            </a:ln>
          </p:spPr>
        </p:pic>
        <p:pic>
          <p:nvPicPr>
            <p:cNvPr id="20" name="Picture 19">
              <a:extLst>
                <a:ext uri="{FF2B5EF4-FFF2-40B4-BE49-F238E27FC236}">
                  <a16:creationId xmlns:a16="http://schemas.microsoft.com/office/drawing/2014/main" id="{58BE5633-92A8-4937-A9EA-17654F73D16B}"/>
                </a:ext>
              </a:extLst>
            </p:cNvPr>
            <p:cNvPicPr>
              <a:picLocks noChangeAspect="1"/>
            </p:cNvPicPr>
            <p:nvPr/>
          </p:nvPicPr>
          <p:blipFill>
            <a:blip r:embed="rId8"/>
            <a:stretch>
              <a:fillRect/>
            </a:stretch>
          </p:blipFill>
          <p:spPr>
            <a:xfrm>
              <a:off x="9050730" y="2124611"/>
              <a:ext cx="1280160" cy="721360"/>
            </a:xfrm>
            <a:prstGeom prst="rect">
              <a:avLst/>
            </a:prstGeom>
            <a:ln w="6350">
              <a:solidFill>
                <a:schemeClr val="tx1"/>
              </a:solidFill>
            </a:ln>
          </p:spPr>
        </p:pic>
        <p:pic>
          <p:nvPicPr>
            <p:cNvPr id="40" name="Picture 39">
              <a:extLst>
                <a:ext uri="{FF2B5EF4-FFF2-40B4-BE49-F238E27FC236}">
                  <a16:creationId xmlns:a16="http://schemas.microsoft.com/office/drawing/2014/main" id="{FB036E7E-4EC8-4F0B-B8C1-BB6E4E42A232}"/>
                </a:ext>
              </a:extLst>
            </p:cNvPr>
            <p:cNvPicPr>
              <a:picLocks noChangeAspect="1"/>
            </p:cNvPicPr>
            <p:nvPr/>
          </p:nvPicPr>
          <p:blipFill>
            <a:blip r:embed="rId9"/>
            <a:stretch>
              <a:fillRect/>
            </a:stretch>
          </p:blipFill>
          <p:spPr>
            <a:xfrm>
              <a:off x="10441073" y="2124611"/>
              <a:ext cx="1280160" cy="721360"/>
            </a:xfrm>
            <a:prstGeom prst="rect">
              <a:avLst/>
            </a:prstGeom>
            <a:ln w="6350">
              <a:solidFill>
                <a:schemeClr val="tx1"/>
              </a:solidFill>
            </a:ln>
          </p:spPr>
        </p:pic>
        <p:sp>
          <p:nvSpPr>
            <p:cNvPr id="3" name="TextBox 2">
              <a:extLst>
                <a:ext uri="{FF2B5EF4-FFF2-40B4-BE49-F238E27FC236}">
                  <a16:creationId xmlns:a16="http://schemas.microsoft.com/office/drawing/2014/main" id="{1132834B-EBC9-4E1F-9C86-922D68C96B36}"/>
                </a:ext>
              </a:extLst>
            </p:cNvPr>
            <p:cNvSpPr txBox="1"/>
            <p:nvPr/>
          </p:nvSpPr>
          <p:spPr>
            <a:xfrm rot="16200000">
              <a:off x="141088" y="3231151"/>
              <a:ext cx="716046" cy="236222"/>
            </a:xfrm>
            <a:prstGeom prst="rect">
              <a:avLst/>
            </a:prstGeom>
            <a:noFill/>
          </p:spPr>
          <p:txBody>
            <a:bodyPr wrap="square" lIns="0" tIns="0" rIns="0" bIns="0" rtlCol="0" anchor="b">
              <a:noAutofit/>
            </a:bodyPr>
            <a:lstStyle/>
            <a:p>
              <a:pPr algn="ctr" defTabSz="228600">
                <a:lnSpc>
                  <a:spcPct val="90000"/>
                </a:lnSpc>
                <a:spcAft>
                  <a:spcPts val="1200"/>
                </a:spcAft>
              </a:pPr>
              <a:r>
                <a:rPr lang="en-US" sz="1000" b="1" noProof="0" dirty="0">
                  <a:solidFill>
                    <a:schemeClr val="tx1"/>
                  </a:solidFill>
                </a:rPr>
                <a:t>Section Dividers</a:t>
              </a:r>
            </a:p>
          </p:txBody>
        </p:sp>
        <p:pic>
          <p:nvPicPr>
            <p:cNvPr id="23" name="Picture 22">
              <a:extLst>
                <a:ext uri="{FF2B5EF4-FFF2-40B4-BE49-F238E27FC236}">
                  <a16:creationId xmlns:a16="http://schemas.microsoft.com/office/drawing/2014/main" id="{CE0453D3-21A4-4C67-A943-569B3CA5D6AE}"/>
                </a:ext>
              </a:extLst>
            </p:cNvPr>
            <p:cNvPicPr>
              <a:picLocks noChangeAspect="1"/>
            </p:cNvPicPr>
            <p:nvPr/>
          </p:nvPicPr>
          <p:blipFill>
            <a:blip r:embed="rId10"/>
            <a:stretch>
              <a:fillRect/>
            </a:stretch>
          </p:blipFill>
          <p:spPr>
            <a:xfrm>
              <a:off x="708660" y="2985925"/>
              <a:ext cx="1280160" cy="721360"/>
            </a:xfrm>
            <a:prstGeom prst="rect">
              <a:avLst/>
            </a:prstGeom>
            <a:ln>
              <a:solidFill>
                <a:schemeClr val="tx1"/>
              </a:solidFill>
            </a:ln>
          </p:spPr>
        </p:pic>
        <p:pic>
          <p:nvPicPr>
            <p:cNvPr id="25" name="Picture 24">
              <a:extLst>
                <a:ext uri="{FF2B5EF4-FFF2-40B4-BE49-F238E27FC236}">
                  <a16:creationId xmlns:a16="http://schemas.microsoft.com/office/drawing/2014/main" id="{9325790A-3C8C-4CFA-A298-CF6D86CBB878}"/>
                </a:ext>
              </a:extLst>
            </p:cNvPr>
            <p:cNvPicPr>
              <a:picLocks noChangeAspect="1"/>
            </p:cNvPicPr>
            <p:nvPr/>
          </p:nvPicPr>
          <p:blipFill>
            <a:blip r:embed="rId11"/>
            <a:stretch>
              <a:fillRect/>
            </a:stretch>
          </p:blipFill>
          <p:spPr>
            <a:xfrm>
              <a:off x="2099005" y="2985925"/>
              <a:ext cx="1280160" cy="721360"/>
            </a:xfrm>
            <a:prstGeom prst="rect">
              <a:avLst/>
            </a:prstGeom>
            <a:ln>
              <a:solidFill>
                <a:schemeClr val="tx1"/>
              </a:solidFill>
            </a:ln>
          </p:spPr>
        </p:pic>
        <p:pic>
          <p:nvPicPr>
            <p:cNvPr id="52" name="Picture 51">
              <a:extLst>
                <a:ext uri="{FF2B5EF4-FFF2-40B4-BE49-F238E27FC236}">
                  <a16:creationId xmlns:a16="http://schemas.microsoft.com/office/drawing/2014/main" id="{DDF41C14-F9A2-426B-AFB8-3A4DAEB99BB0}"/>
                </a:ext>
              </a:extLst>
            </p:cNvPr>
            <p:cNvPicPr>
              <a:picLocks noChangeAspect="1"/>
            </p:cNvPicPr>
            <p:nvPr/>
          </p:nvPicPr>
          <p:blipFill>
            <a:blip r:embed="rId12"/>
            <a:stretch>
              <a:fillRect/>
            </a:stretch>
          </p:blipFill>
          <p:spPr>
            <a:xfrm>
              <a:off x="3489350" y="2985925"/>
              <a:ext cx="1280160" cy="721360"/>
            </a:xfrm>
            <a:prstGeom prst="rect">
              <a:avLst/>
            </a:prstGeom>
          </p:spPr>
        </p:pic>
        <p:pic>
          <p:nvPicPr>
            <p:cNvPr id="63" name="Picture 62">
              <a:extLst>
                <a:ext uri="{FF2B5EF4-FFF2-40B4-BE49-F238E27FC236}">
                  <a16:creationId xmlns:a16="http://schemas.microsoft.com/office/drawing/2014/main" id="{BFF4F7B8-CAC0-49E6-82D7-3FB2BE0C1DCF}"/>
                </a:ext>
              </a:extLst>
            </p:cNvPr>
            <p:cNvPicPr>
              <a:picLocks noChangeAspect="1"/>
            </p:cNvPicPr>
            <p:nvPr/>
          </p:nvPicPr>
          <p:blipFill>
            <a:blip r:embed="rId13"/>
            <a:stretch>
              <a:fillRect/>
            </a:stretch>
          </p:blipFill>
          <p:spPr>
            <a:xfrm>
              <a:off x="708660" y="3846173"/>
              <a:ext cx="1280160" cy="721360"/>
            </a:xfrm>
            <a:prstGeom prst="rect">
              <a:avLst/>
            </a:prstGeom>
            <a:ln w="6350">
              <a:solidFill>
                <a:schemeClr val="tx1"/>
              </a:solidFill>
            </a:ln>
          </p:spPr>
        </p:pic>
        <p:pic>
          <p:nvPicPr>
            <p:cNvPr id="61" name="Picture 60">
              <a:extLst>
                <a:ext uri="{FF2B5EF4-FFF2-40B4-BE49-F238E27FC236}">
                  <a16:creationId xmlns:a16="http://schemas.microsoft.com/office/drawing/2014/main" id="{33FE2DF7-3097-4365-AE1E-C9AFF3D742C7}"/>
                </a:ext>
              </a:extLst>
            </p:cNvPr>
            <p:cNvPicPr>
              <a:picLocks noChangeAspect="1"/>
            </p:cNvPicPr>
            <p:nvPr/>
          </p:nvPicPr>
          <p:blipFill>
            <a:blip r:embed="rId14"/>
            <a:stretch>
              <a:fillRect/>
            </a:stretch>
          </p:blipFill>
          <p:spPr>
            <a:xfrm>
              <a:off x="2099005" y="3846173"/>
              <a:ext cx="1280160" cy="721360"/>
            </a:xfrm>
            <a:prstGeom prst="rect">
              <a:avLst/>
            </a:prstGeom>
            <a:ln w="6350">
              <a:solidFill>
                <a:schemeClr val="tx1"/>
              </a:solidFill>
            </a:ln>
          </p:spPr>
        </p:pic>
        <p:pic>
          <p:nvPicPr>
            <p:cNvPr id="51" name="Picture 50">
              <a:extLst>
                <a:ext uri="{FF2B5EF4-FFF2-40B4-BE49-F238E27FC236}">
                  <a16:creationId xmlns:a16="http://schemas.microsoft.com/office/drawing/2014/main" id="{72D6B785-C013-431C-8DF2-538EB003E2B5}"/>
                </a:ext>
              </a:extLst>
            </p:cNvPr>
            <p:cNvPicPr>
              <a:picLocks noChangeAspect="1"/>
            </p:cNvPicPr>
            <p:nvPr/>
          </p:nvPicPr>
          <p:blipFill>
            <a:blip r:embed="rId15"/>
            <a:stretch>
              <a:fillRect/>
            </a:stretch>
          </p:blipFill>
          <p:spPr>
            <a:xfrm>
              <a:off x="3489350" y="3846173"/>
              <a:ext cx="1280160" cy="721360"/>
            </a:xfrm>
            <a:prstGeom prst="rect">
              <a:avLst/>
            </a:prstGeom>
            <a:ln w="6350">
              <a:solidFill>
                <a:schemeClr val="tx1"/>
              </a:solidFill>
            </a:ln>
          </p:spPr>
        </p:pic>
        <p:pic>
          <p:nvPicPr>
            <p:cNvPr id="53" name="Picture 52">
              <a:extLst>
                <a:ext uri="{FF2B5EF4-FFF2-40B4-BE49-F238E27FC236}">
                  <a16:creationId xmlns:a16="http://schemas.microsoft.com/office/drawing/2014/main" id="{47B1C1DD-FB52-4AC3-BA48-94F28F01DDC8}"/>
                </a:ext>
              </a:extLst>
            </p:cNvPr>
            <p:cNvPicPr>
              <a:picLocks noChangeAspect="1"/>
            </p:cNvPicPr>
            <p:nvPr/>
          </p:nvPicPr>
          <p:blipFill>
            <a:blip r:embed="rId16"/>
            <a:stretch>
              <a:fillRect/>
            </a:stretch>
          </p:blipFill>
          <p:spPr>
            <a:xfrm>
              <a:off x="4879695" y="3846173"/>
              <a:ext cx="1280160" cy="721360"/>
            </a:xfrm>
            <a:prstGeom prst="rect">
              <a:avLst/>
            </a:prstGeom>
            <a:ln w="6350">
              <a:solidFill>
                <a:schemeClr val="tx1"/>
              </a:solidFill>
            </a:ln>
          </p:spPr>
        </p:pic>
        <p:pic>
          <p:nvPicPr>
            <p:cNvPr id="55" name="Picture 54">
              <a:extLst>
                <a:ext uri="{FF2B5EF4-FFF2-40B4-BE49-F238E27FC236}">
                  <a16:creationId xmlns:a16="http://schemas.microsoft.com/office/drawing/2014/main" id="{78CAF464-EEF2-48CC-827E-DB7C126755C5}"/>
                </a:ext>
              </a:extLst>
            </p:cNvPr>
            <p:cNvPicPr>
              <a:picLocks noChangeAspect="1"/>
            </p:cNvPicPr>
            <p:nvPr/>
          </p:nvPicPr>
          <p:blipFill>
            <a:blip r:embed="rId17"/>
            <a:stretch>
              <a:fillRect/>
            </a:stretch>
          </p:blipFill>
          <p:spPr>
            <a:xfrm>
              <a:off x="6270040" y="3846173"/>
              <a:ext cx="1280160" cy="721360"/>
            </a:xfrm>
            <a:prstGeom prst="rect">
              <a:avLst/>
            </a:prstGeom>
            <a:ln w="6350">
              <a:solidFill>
                <a:schemeClr val="tx1"/>
              </a:solidFill>
            </a:ln>
          </p:spPr>
        </p:pic>
        <p:pic>
          <p:nvPicPr>
            <p:cNvPr id="56" name="Picture 55">
              <a:extLst>
                <a:ext uri="{FF2B5EF4-FFF2-40B4-BE49-F238E27FC236}">
                  <a16:creationId xmlns:a16="http://schemas.microsoft.com/office/drawing/2014/main" id="{7A34162E-3E97-4F6E-81DA-EB04A85C9F36}"/>
                </a:ext>
              </a:extLst>
            </p:cNvPr>
            <p:cNvPicPr>
              <a:picLocks noChangeAspect="1"/>
            </p:cNvPicPr>
            <p:nvPr/>
          </p:nvPicPr>
          <p:blipFill>
            <a:blip r:embed="rId18"/>
            <a:stretch>
              <a:fillRect/>
            </a:stretch>
          </p:blipFill>
          <p:spPr>
            <a:xfrm>
              <a:off x="7660385" y="3846173"/>
              <a:ext cx="1280160" cy="721360"/>
            </a:xfrm>
            <a:prstGeom prst="rect">
              <a:avLst/>
            </a:prstGeom>
            <a:ln w="6350">
              <a:solidFill>
                <a:schemeClr val="tx1"/>
              </a:solidFill>
            </a:ln>
          </p:spPr>
        </p:pic>
        <p:pic>
          <p:nvPicPr>
            <p:cNvPr id="57" name="Picture 56">
              <a:extLst>
                <a:ext uri="{FF2B5EF4-FFF2-40B4-BE49-F238E27FC236}">
                  <a16:creationId xmlns:a16="http://schemas.microsoft.com/office/drawing/2014/main" id="{882A60BF-A583-4669-8777-EF9CDA0D955D}"/>
                </a:ext>
              </a:extLst>
            </p:cNvPr>
            <p:cNvPicPr>
              <a:picLocks noChangeAspect="1"/>
            </p:cNvPicPr>
            <p:nvPr/>
          </p:nvPicPr>
          <p:blipFill>
            <a:blip r:embed="rId19"/>
            <a:stretch>
              <a:fillRect/>
            </a:stretch>
          </p:blipFill>
          <p:spPr>
            <a:xfrm>
              <a:off x="9050730" y="3846173"/>
              <a:ext cx="1280160" cy="721360"/>
            </a:xfrm>
            <a:prstGeom prst="rect">
              <a:avLst/>
            </a:prstGeom>
            <a:ln w="6350">
              <a:solidFill>
                <a:schemeClr val="tx1"/>
              </a:solidFill>
            </a:ln>
          </p:spPr>
        </p:pic>
        <p:pic>
          <p:nvPicPr>
            <p:cNvPr id="59" name="Picture 58">
              <a:extLst>
                <a:ext uri="{FF2B5EF4-FFF2-40B4-BE49-F238E27FC236}">
                  <a16:creationId xmlns:a16="http://schemas.microsoft.com/office/drawing/2014/main" id="{C8A21916-01CE-4A2E-840E-B9D39041E84F}"/>
                </a:ext>
              </a:extLst>
            </p:cNvPr>
            <p:cNvPicPr>
              <a:picLocks noChangeAspect="1"/>
            </p:cNvPicPr>
            <p:nvPr/>
          </p:nvPicPr>
          <p:blipFill>
            <a:blip r:embed="rId20"/>
            <a:stretch>
              <a:fillRect/>
            </a:stretch>
          </p:blipFill>
          <p:spPr>
            <a:xfrm>
              <a:off x="10441073" y="3846173"/>
              <a:ext cx="1280160" cy="721360"/>
            </a:xfrm>
            <a:prstGeom prst="rect">
              <a:avLst/>
            </a:prstGeom>
            <a:ln w="6350">
              <a:solidFill>
                <a:schemeClr val="tx1"/>
              </a:solidFill>
            </a:ln>
          </p:spPr>
        </p:pic>
        <p:sp>
          <p:nvSpPr>
            <p:cNvPr id="4" name="TextBox 3">
              <a:extLst>
                <a:ext uri="{FF2B5EF4-FFF2-40B4-BE49-F238E27FC236}">
                  <a16:creationId xmlns:a16="http://schemas.microsoft.com/office/drawing/2014/main" id="{66875CFA-1AD5-43C6-B1C4-D225614EC082}"/>
                </a:ext>
              </a:extLst>
            </p:cNvPr>
            <p:cNvSpPr txBox="1"/>
            <p:nvPr/>
          </p:nvSpPr>
          <p:spPr>
            <a:xfrm rot="16200000">
              <a:off x="-642485" y="4969852"/>
              <a:ext cx="2283191" cy="236222"/>
            </a:xfrm>
            <a:prstGeom prst="rect">
              <a:avLst/>
            </a:prstGeom>
            <a:noFill/>
          </p:spPr>
          <p:txBody>
            <a:bodyPr wrap="square" lIns="0" tIns="0" rIns="0" bIns="0" rtlCol="0" anchor="b">
              <a:noAutofit/>
            </a:bodyPr>
            <a:lstStyle/>
            <a:p>
              <a:pPr algn="ctr" defTabSz="228600">
                <a:lnSpc>
                  <a:spcPct val="90000"/>
                </a:lnSpc>
                <a:spcAft>
                  <a:spcPts val="1200"/>
                </a:spcAft>
              </a:pPr>
              <a:r>
                <a:rPr lang="en-US" sz="1000" b="1" noProof="0" dirty="0">
                  <a:solidFill>
                    <a:schemeClr val="tx1"/>
                  </a:solidFill>
                </a:rPr>
                <a:t>Content Layouts</a:t>
              </a:r>
            </a:p>
          </p:txBody>
        </p:sp>
        <p:pic>
          <p:nvPicPr>
            <p:cNvPr id="74" name="Picture 73">
              <a:extLst>
                <a:ext uri="{FF2B5EF4-FFF2-40B4-BE49-F238E27FC236}">
                  <a16:creationId xmlns:a16="http://schemas.microsoft.com/office/drawing/2014/main" id="{DBDDD54D-7BF5-46B9-9CFB-BA41CD5F0C7F}"/>
                </a:ext>
              </a:extLst>
            </p:cNvPr>
            <p:cNvPicPr>
              <a:picLocks noChangeAspect="1"/>
            </p:cNvPicPr>
            <p:nvPr/>
          </p:nvPicPr>
          <p:blipFill>
            <a:blip r:embed="rId21"/>
            <a:stretch>
              <a:fillRect/>
            </a:stretch>
          </p:blipFill>
          <p:spPr>
            <a:xfrm>
              <a:off x="708660" y="4715589"/>
              <a:ext cx="1280160" cy="721360"/>
            </a:xfrm>
            <a:prstGeom prst="rect">
              <a:avLst/>
            </a:prstGeom>
            <a:ln w="6350">
              <a:solidFill>
                <a:schemeClr val="tx1"/>
              </a:solidFill>
            </a:ln>
          </p:spPr>
        </p:pic>
        <p:pic>
          <p:nvPicPr>
            <p:cNvPr id="76" name="Picture 75">
              <a:extLst>
                <a:ext uri="{FF2B5EF4-FFF2-40B4-BE49-F238E27FC236}">
                  <a16:creationId xmlns:a16="http://schemas.microsoft.com/office/drawing/2014/main" id="{3CBC7077-B025-454C-8E99-4F1AFAF1951B}"/>
                </a:ext>
              </a:extLst>
            </p:cNvPr>
            <p:cNvPicPr>
              <a:picLocks noChangeAspect="1"/>
            </p:cNvPicPr>
            <p:nvPr/>
          </p:nvPicPr>
          <p:blipFill>
            <a:blip r:embed="rId22"/>
            <a:stretch>
              <a:fillRect/>
            </a:stretch>
          </p:blipFill>
          <p:spPr>
            <a:xfrm>
              <a:off x="2099005" y="4715589"/>
              <a:ext cx="1280160" cy="721360"/>
            </a:xfrm>
            <a:prstGeom prst="rect">
              <a:avLst/>
            </a:prstGeom>
            <a:ln w="6350">
              <a:solidFill>
                <a:schemeClr val="tx1"/>
              </a:solidFill>
            </a:ln>
          </p:spPr>
        </p:pic>
        <p:pic>
          <p:nvPicPr>
            <p:cNvPr id="78" name="Picture 77">
              <a:extLst>
                <a:ext uri="{FF2B5EF4-FFF2-40B4-BE49-F238E27FC236}">
                  <a16:creationId xmlns:a16="http://schemas.microsoft.com/office/drawing/2014/main" id="{70EFE791-233B-4BF1-81D7-EE7F66FFC3D4}"/>
                </a:ext>
              </a:extLst>
            </p:cNvPr>
            <p:cNvPicPr>
              <a:picLocks noChangeAspect="1"/>
            </p:cNvPicPr>
            <p:nvPr/>
          </p:nvPicPr>
          <p:blipFill>
            <a:blip r:embed="rId23"/>
            <a:stretch>
              <a:fillRect/>
            </a:stretch>
          </p:blipFill>
          <p:spPr>
            <a:xfrm>
              <a:off x="3489350" y="4715589"/>
              <a:ext cx="1280160" cy="721360"/>
            </a:xfrm>
            <a:prstGeom prst="rect">
              <a:avLst/>
            </a:prstGeom>
            <a:ln w="6350">
              <a:solidFill>
                <a:schemeClr val="tx1"/>
              </a:solidFill>
            </a:ln>
          </p:spPr>
        </p:pic>
        <p:pic>
          <p:nvPicPr>
            <p:cNvPr id="65" name="Picture 64">
              <a:extLst>
                <a:ext uri="{FF2B5EF4-FFF2-40B4-BE49-F238E27FC236}">
                  <a16:creationId xmlns:a16="http://schemas.microsoft.com/office/drawing/2014/main" id="{59D22D1D-F211-418A-BE38-7F84B7C4D9B1}"/>
                </a:ext>
              </a:extLst>
            </p:cNvPr>
            <p:cNvPicPr>
              <a:picLocks noChangeAspect="1"/>
            </p:cNvPicPr>
            <p:nvPr/>
          </p:nvPicPr>
          <p:blipFill>
            <a:blip r:embed="rId24"/>
            <a:stretch>
              <a:fillRect/>
            </a:stretch>
          </p:blipFill>
          <p:spPr>
            <a:xfrm>
              <a:off x="4879695" y="4715589"/>
              <a:ext cx="1280160" cy="721360"/>
            </a:xfrm>
            <a:prstGeom prst="rect">
              <a:avLst/>
            </a:prstGeom>
            <a:ln w="6350">
              <a:solidFill>
                <a:schemeClr val="tx1"/>
              </a:solidFill>
            </a:ln>
          </p:spPr>
        </p:pic>
        <p:pic>
          <p:nvPicPr>
            <p:cNvPr id="67" name="Picture 66">
              <a:extLst>
                <a:ext uri="{FF2B5EF4-FFF2-40B4-BE49-F238E27FC236}">
                  <a16:creationId xmlns:a16="http://schemas.microsoft.com/office/drawing/2014/main" id="{C82B0C56-F25B-46D6-BFA3-FE220B5F3CEC}"/>
                </a:ext>
              </a:extLst>
            </p:cNvPr>
            <p:cNvPicPr>
              <a:picLocks noChangeAspect="1"/>
            </p:cNvPicPr>
            <p:nvPr/>
          </p:nvPicPr>
          <p:blipFill>
            <a:blip r:embed="rId25"/>
            <a:stretch>
              <a:fillRect/>
            </a:stretch>
          </p:blipFill>
          <p:spPr>
            <a:xfrm>
              <a:off x="6270040" y="4715589"/>
              <a:ext cx="1280160" cy="721360"/>
            </a:xfrm>
            <a:prstGeom prst="rect">
              <a:avLst/>
            </a:prstGeom>
            <a:ln w="6350">
              <a:solidFill>
                <a:schemeClr val="tx1"/>
              </a:solidFill>
            </a:ln>
          </p:spPr>
        </p:pic>
        <p:pic>
          <p:nvPicPr>
            <p:cNvPr id="69" name="Picture 68">
              <a:extLst>
                <a:ext uri="{FF2B5EF4-FFF2-40B4-BE49-F238E27FC236}">
                  <a16:creationId xmlns:a16="http://schemas.microsoft.com/office/drawing/2014/main" id="{FFB1FF73-51B9-40F8-AF9A-2F63F326E8B5}"/>
                </a:ext>
              </a:extLst>
            </p:cNvPr>
            <p:cNvPicPr>
              <a:picLocks noChangeAspect="1"/>
            </p:cNvPicPr>
            <p:nvPr/>
          </p:nvPicPr>
          <p:blipFill>
            <a:blip r:embed="rId26"/>
            <a:stretch>
              <a:fillRect/>
            </a:stretch>
          </p:blipFill>
          <p:spPr>
            <a:xfrm>
              <a:off x="7660385" y="4715589"/>
              <a:ext cx="1280160" cy="721360"/>
            </a:xfrm>
            <a:prstGeom prst="rect">
              <a:avLst/>
            </a:prstGeom>
            <a:ln w="6350">
              <a:solidFill>
                <a:schemeClr val="tx1"/>
              </a:solidFill>
            </a:ln>
          </p:spPr>
        </p:pic>
        <p:pic>
          <p:nvPicPr>
            <p:cNvPr id="70" name="Picture 69">
              <a:extLst>
                <a:ext uri="{FF2B5EF4-FFF2-40B4-BE49-F238E27FC236}">
                  <a16:creationId xmlns:a16="http://schemas.microsoft.com/office/drawing/2014/main" id="{69D11B80-413E-467D-8F11-849DE617C4DB}"/>
                </a:ext>
              </a:extLst>
            </p:cNvPr>
            <p:cNvPicPr>
              <a:picLocks noChangeAspect="1"/>
            </p:cNvPicPr>
            <p:nvPr/>
          </p:nvPicPr>
          <p:blipFill>
            <a:blip r:embed="rId27"/>
            <a:stretch>
              <a:fillRect/>
            </a:stretch>
          </p:blipFill>
          <p:spPr>
            <a:xfrm>
              <a:off x="9050730" y="4715589"/>
              <a:ext cx="1280160" cy="721360"/>
            </a:xfrm>
            <a:prstGeom prst="rect">
              <a:avLst/>
            </a:prstGeom>
            <a:ln w="6350">
              <a:solidFill>
                <a:schemeClr val="tx1"/>
              </a:solidFill>
            </a:ln>
          </p:spPr>
        </p:pic>
        <p:pic>
          <p:nvPicPr>
            <p:cNvPr id="72" name="Picture 71">
              <a:extLst>
                <a:ext uri="{FF2B5EF4-FFF2-40B4-BE49-F238E27FC236}">
                  <a16:creationId xmlns:a16="http://schemas.microsoft.com/office/drawing/2014/main" id="{B7333E14-CA3B-4EA0-94D6-74A3143BEF95}"/>
                </a:ext>
              </a:extLst>
            </p:cNvPr>
            <p:cNvPicPr>
              <a:picLocks noChangeAspect="1"/>
            </p:cNvPicPr>
            <p:nvPr/>
          </p:nvPicPr>
          <p:blipFill>
            <a:blip r:embed="rId28"/>
            <a:stretch>
              <a:fillRect/>
            </a:stretch>
          </p:blipFill>
          <p:spPr>
            <a:xfrm>
              <a:off x="10441073" y="4715589"/>
              <a:ext cx="1280160" cy="721360"/>
            </a:xfrm>
            <a:prstGeom prst="rect">
              <a:avLst/>
            </a:prstGeom>
            <a:ln w="6350">
              <a:solidFill>
                <a:schemeClr val="tx1"/>
              </a:solidFill>
            </a:ln>
          </p:spPr>
        </p:pic>
        <p:pic>
          <p:nvPicPr>
            <p:cNvPr id="80" name="Picture 79">
              <a:extLst>
                <a:ext uri="{FF2B5EF4-FFF2-40B4-BE49-F238E27FC236}">
                  <a16:creationId xmlns:a16="http://schemas.microsoft.com/office/drawing/2014/main" id="{901239BB-754A-43B5-B4E8-006084906725}"/>
                </a:ext>
              </a:extLst>
            </p:cNvPr>
            <p:cNvPicPr>
              <a:picLocks noChangeAspect="1"/>
            </p:cNvPicPr>
            <p:nvPr/>
          </p:nvPicPr>
          <p:blipFill>
            <a:blip r:embed="rId29"/>
            <a:stretch>
              <a:fillRect/>
            </a:stretch>
          </p:blipFill>
          <p:spPr>
            <a:xfrm>
              <a:off x="708660" y="5568791"/>
              <a:ext cx="1280160" cy="721360"/>
            </a:xfrm>
            <a:prstGeom prst="rect">
              <a:avLst/>
            </a:prstGeom>
            <a:ln w="6350">
              <a:solidFill>
                <a:schemeClr val="tx1"/>
              </a:solidFill>
            </a:ln>
          </p:spPr>
        </p:pic>
        <p:pic>
          <p:nvPicPr>
            <p:cNvPr id="48" name="Picture 47">
              <a:extLst>
                <a:ext uri="{FF2B5EF4-FFF2-40B4-BE49-F238E27FC236}">
                  <a16:creationId xmlns:a16="http://schemas.microsoft.com/office/drawing/2014/main" id="{9BC25625-23A3-49B2-B280-E5C5DD4A7116}"/>
                </a:ext>
              </a:extLst>
            </p:cNvPr>
            <p:cNvPicPr>
              <a:picLocks noChangeAspect="1"/>
            </p:cNvPicPr>
            <p:nvPr/>
          </p:nvPicPr>
          <p:blipFill>
            <a:blip r:embed="rId30"/>
            <a:stretch>
              <a:fillRect/>
            </a:stretch>
          </p:blipFill>
          <p:spPr>
            <a:xfrm>
              <a:off x="2099005" y="5568791"/>
              <a:ext cx="1280160" cy="721360"/>
            </a:xfrm>
            <a:prstGeom prst="rect">
              <a:avLst/>
            </a:prstGeom>
            <a:ln w="6350">
              <a:solidFill>
                <a:schemeClr val="tx1"/>
              </a:solidFill>
            </a:ln>
          </p:spPr>
        </p:pic>
        <p:pic>
          <p:nvPicPr>
            <p:cNvPr id="49" name="Picture 48">
              <a:extLst>
                <a:ext uri="{FF2B5EF4-FFF2-40B4-BE49-F238E27FC236}">
                  <a16:creationId xmlns:a16="http://schemas.microsoft.com/office/drawing/2014/main" id="{F8D98FAB-CD87-41AC-A274-E7B237862688}"/>
                </a:ext>
              </a:extLst>
            </p:cNvPr>
            <p:cNvPicPr>
              <a:picLocks noChangeAspect="1"/>
            </p:cNvPicPr>
            <p:nvPr/>
          </p:nvPicPr>
          <p:blipFill>
            <a:blip r:embed="rId31"/>
            <a:stretch>
              <a:fillRect/>
            </a:stretch>
          </p:blipFill>
          <p:spPr>
            <a:xfrm>
              <a:off x="3489350" y="5568791"/>
              <a:ext cx="1280160" cy="721360"/>
            </a:xfrm>
            <a:prstGeom prst="rect">
              <a:avLst/>
            </a:prstGeom>
            <a:ln w="6350">
              <a:solidFill>
                <a:schemeClr val="tx1"/>
              </a:solidFill>
            </a:ln>
          </p:spPr>
        </p:pic>
        <p:pic>
          <p:nvPicPr>
            <p:cNvPr id="50" name="Picture 49">
              <a:extLst>
                <a:ext uri="{FF2B5EF4-FFF2-40B4-BE49-F238E27FC236}">
                  <a16:creationId xmlns:a16="http://schemas.microsoft.com/office/drawing/2014/main" id="{13F3BC04-7052-40AB-B39E-E31A3DD9978A}"/>
                </a:ext>
              </a:extLst>
            </p:cNvPr>
            <p:cNvPicPr>
              <a:picLocks noChangeAspect="1"/>
            </p:cNvPicPr>
            <p:nvPr/>
          </p:nvPicPr>
          <p:blipFill>
            <a:blip r:embed="rId32"/>
            <a:stretch>
              <a:fillRect/>
            </a:stretch>
          </p:blipFill>
          <p:spPr>
            <a:xfrm>
              <a:off x="4879695" y="5568791"/>
              <a:ext cx="1280160" cy="721360"/>
            </a:xfrm>
            <a:prstGeom prst="rect">
              <a:avLst/>
            </a:prstGeom>
            <a:ln w="6350">
              <a:solidFill>
                <a:schemeClr val="tx1"/>
              </a:solidFill>
            </a:ln>
          </p:spPr>
        </p:pic>
        <p:pic>
          <p:nvPicPr>
            <p:cNvPr id="45" name="Picture 44">
              <a:extLst>
                <a:ext uri="{FF2B5EF4-FFF2-40B4-BE49-F238E27FC236}">
                  <a16:creationId xmlns:a16="http://schemas.microsoft.com/office/drawing/2014/main" id="{307BF853-292A-41E8-A2B5-96D112C913A7}"/>
                </a:ext>
              </a:extLst>
            </p:cNvPr>
            <p:cNvPicPr>
              <a:picLocks noChangeAspect="1"/>
            </p:cNvPicPr>
            <p:nvPr/>
          </p:nvPicPr>
          <p:blipFill>
            <a:blip r:embed="rId33"/>
            <a:stretch>
              <a:fillRect/>
            </a:stretch>
          </p:blipFill>
          <p:spPr>
            <a:xfrm>
              <a:off x="6270040" y="5568791"/>
              <a:ext cx="1280160" cy="721360"/>
            </a:xfrm>
            <a:prstGeom prst="rect">
              <a:avLst/>
            </a:prstGeom>
            <a:ln w="6350">
              <a:solidFill>
                <a:schemeClr val="tx1"/>
              </a:solidFill>
            </a:ln>
          </p:spPr>
        </p:pic>
        <p:pic>
          <p:nvPicPr>
            <p:cNvPr id="46" name="Picture 45">
              <a:extLst>
                <a:ext uri="{FF2B5EF4-FFF2-40B4-BE49-F238E27FC236}">
                  <a16:creationId xmlns:a16="http://schemas.microsoft.com/office/drawing/2014/main" id="{62A57F8F-A3EE-4661-A979-89E4B779833B}"/>
                </a:ext>
              </a:extLst>
            </p:cNvPr>
            <p:cNvPicPr>
              <a:picLocks noChangeAspect="1"/>
            </p:cNvPicPr>
            <p:nvPr/>
          </p:nvPicPr>
          <p:blipFill>
            <a:blip r:embed="rId34"/>
            <a:srcRect/>
            <a:stretch/>
          </p:blipFill>
          <p:spPr>
            <a:xfrm>
              <a:off x="7660385" y="5569426"/>
              <a:ext cx="1280160" cy="720090"/>
            </a:xfrm>
            <a:prstGeom prst="rect">
              <a:avLst/>
            </a:prstGeom>
            <a:ln w="6350">
              <a:solidFill>
                <a:schemeClr val="tx1"/>
              </a:solidFill>
            </a:ln>
          </p:spPr>
        </p:pic>
        <p:pic>
          <p:nvPicPr>
            <p:cNvPr id="47" name="Picture 46">
              <a:extLst>
                <a:ext uri="{FF2B5EF4-FFF2-40B4-BE49-F238E27FC236}">
                  <a16:creationId xmlns:a16="http://schemas.microsoft.com/office/drawing/2014/main" id="{E257E296-2CC9-4A18-B258-674CBC81E469}"/>
                </a:ext>
              </a:extLst>
            </p:cNvPr>
            <p:cNvPicPr>
              <a:picLocks noChangeAspect="1"/>
            </p:cNvPicPr>
            <p:nvPr/>
          </p:nvPicPr>
          <p:blipFill>
            <a:blip r:embed="rId35"/>
            <a:stretch>
              <a:fillRect/>
            </a:stretch>
          </p:blipFill>
          <p:spPr>
            <a:xfrm>
              <a:off x="9050730" y="5568791"/>
              <a:ext cx="1280160" cy="721360"/>
            </a:xfrm>
            <a:prstGeom prst="rect">
              <a:avLst/>
            </a:prstGeom>
            <a:ln w="6350">
              <a:solidFill>
                <a:schemeClr val="tx1"/>
              </a:solidFill>
            </a:ln>
          </p:spPr>
        </p:pic>
        <p:pic>
          <p:nvPicPr>
            <p:cNvPr id="82" name="Picture 81">
              <a:extLst>
                <a:ext uri="{FF2B5EF4-FFF2-40B4-BE49-F238E27FC236}">
                  <a16:creationId xmlns:a16="http://schemas.microsoft.com/office/drawing/2014/main" id="{7FD57735-23CC-47F5-9CC0-E54B04401893}"/>
                </a:ext>
              </a:extLst>
            </p:cNvPr>
            <p:cNvPicPr>
              <a:picLocks noChangeAspect="1"/>
            </p:cNvPicPr>
            <p:nvPr/>
          </p:nvPicPr>
          <p:blipFill>
            <a:blip r:embed="rId36"/>
            <a:stretch>
              <a:fillRect/>
            </a:stretch>
          </p:blipFill>
          <p:spPr>
            <a:xfrm>
              <a:off x="10441073" y="5568791"/>
              <a:ext cx="1280160" cy="721360"/>
            </a:xfrm>
            <a:prstGeom prst="rect">
              <a:avLst/>
            </a:prstGeom>
            <a:ln w="6350">
              <a:solidFill>
                <a:schemeClr val="tx1"/>
              </a:solidFill>
            </a:ln>
          </p:spPr>
        </p:pic>
      </p:grpSp>
      <p:sp>
        <p:nvSpPr>
          <p:cNvPr id="6" name="Footer Placeholder 5">
            <a:extLst>
              <a:ext uri="{FF2B5EF4-FFF2-40B4-BE49-F238E27FC236}">
                <a16:creationId xmlns:a16="http://schemas.microsoft.com/office/drawing/2014/main" id="{B4B93857-0A6D-4809-9992-546157C5FC06}"/>
              </a:ext>
            </a:extLst>
          </p:cNvPr>
          <p:cNvSpPr>
            <a:spLocks noGrp="1"/>
          </p:cNvSpPr>
          <p:nvPr>
            <p:ph type="ftr" sz="quarter" idx="3"/>
          </p:nvPr>
        </p:nvSpPr>
        <p:spPr>
          <a:xfrm>
            <a:off x="7315200" y="6488234"/>
            <a:ext cx="4114800" cy="198318"/>
          </a:xfrm>
        </p:spPr>
        <p:txBody>
          <a:bodyPr/>
          <a:lstStyle/>
          <a:p>
            <a:r>
              <a:rPr lang="en-GB"/>
              <a:t>Copyright © 2021 Accenture. All rights reserved.</a:t>
            </a:r>
            <a:endParaRPr lang="en-GB" dirty="0"/>
          </a:p>
        </p:txBody>
      </p:sp>
      <p:sp>
        <p:nvSpPr>
          <p:cNvPr id="41" name="Slide Number Placeholder 40">
            <a:extLst>
              <a:ext uri="{FF2B5EF4-FFF2-40B4-BE49-F238E27FC236}">
                <a16:creationId xmlns:a16="http://schemas.microsoft.com/office/drawing/2014/main" id="{CA0A391C-128E-47E3-8480-F714309460EE}"/>
              </a:ext>
            </a:extLst>
          </p:cNvPr>
          <p:cNvSpPr>
            <a:spLocks noGrp="1"/>
          </p:cNvSpPr>
          <p:nvPr>
            <p:ph type="sldNum" sz="quarter" idx="12"/>
          </p:nvPr>
        </p:nvSpPr>
        <p:spPr>
          <a:xfrm>
            <a:off x="11484746" y="6490025"/>
            <a:ext cx="326254" cy="201168"/>
          </a:xfrm>
        </p:spPr>
        <p:txBody>
          <a:bodyPr/>
          <a:lstStyle/>
          <a:p>
            <a:fld id="{1F90F471-3972-4120-B8B3-0237DE626C35}" type="slidenum">
              <a:rPr lang="en-US" smtClean="0"/>
              <a:pPr/>
              <a:t>14</a:t>
            </a:fld>
            <a:endParaRPr lang="en-US" dirty="0"/>
          </a:p>
        </p:txBody>
      </p:sp>
    </p:spTree>
    <p:extLst>
      <p:ext uri="{BB962C8B-B14F-4D97-AF65-F5344CB8AC3E}">
        <p14:creationId xmlns:p14="http://schemas.microsoft.com/office/powerpoint/2010/main" val="47988941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Decentralization 1</a:t>
            </a:r>
          </a:p>
        </p:txBody>
      </p:sp>
      <p:grpSp>
        <p:nvGrpSpPr>
          <p:cNvPr id="3" name="Group 2" descr="Descentralization">
            <a:extLst>
              <a:ext uri="{FF2B5EF4-FFF2-40B4-BE49-F238E27FC236}">
                <a16:creationId xmlns:a16="http://schemas.microsoft.com/office/drawing/2014/main" id="{F71F5149-82C2-4F0D-93BD-7E2B982D6D08}"/>
              </a:ext>
            </a:extLst>
          </p:cNvPr>
          <p:cNvGrpSpPr/>
          <p:nvPr/>
        </p:nvGrpSpPr>
        <p:grpSpPr>
          <a:xfrm>
            <a:off x="1466429" y="1162153"/>
            <a:ext cx="9287478" cy="4967940"/>
            <a:chOff x="1466429" y="1162153"/>
            <a:chExt cx="9287478" cy="4967940"/>
          </a:xfrm>
        </p:grpSpPr>
        <p:sp>
          <p:nvSpPr>
            <p:cNvPr id="14" name="Oval 13">
              <a:extLst>
                <a:ext uri="{FF2B5EF4-FFF2-40B4-BE49-F238E27FC236}">
                  <a16:creationId xmlns:a16="http://schemas.microsoft.com/office/drawing/2014/main" id="{A12E6BC7-40D9-4C76-895D-2450ED705821}"/>
                </a:ext>
              </a:extLst>
            </p:cNvPr>
            <p:cNvSpPr>
              <a:spLocks noChangeArrowheads="1"/>
            </p:cNvSpPr>
            <p:nvPr/>
          </p:nvSpPr>
          <p:spPr bwMode="auto">
            <a:xfrm>
              <a:off x="4839836" y="2349382"/>
              <a:ext cx="2570614" cy="2570614"/>
            </a:xfrm>
            <a:prstGeom prst="ellipse">
              <a:avLst/>
            </a:prstGeom>
            <a:solidFill>
              <a:schemeClr val="accent2"/>
            </a:solidFill>
            <a:ln w="6350">
              <a:noFill/>
              <a:round/>
              <a:headEnd/>
              <a:tailEnd/>
            </a:ln>
            <a:effectLst/>
          </p:spPr>
          <p:txBody>
            <a:bodyPr wrap="none" lIns="36000" tIns="36000" rIns="36000" bIns="36000" anchor="ctr" anchorCtr="1"/>
            <a:lstStyle/>
            <a:p>
              <a:pPr algn="ctr" eaLnBrk="0" hangingPunct="0">
                <a:lnSpc>
                  <a:spcPct val="85000"/>
                </a:lnSpc>
                <a:spcBef>
                  <a:spcPts val="100"/>
                </a:spcBef>
                <a:spcAft>
                  <a:spcPts val="300"/>
                </a:spcAft>
              </a:pPr>
              <a:r>
                <a:rPr lang="en-US" b="1" cap="all" dirty="0">
                  <a:solidFill>
                    <a:schemeClr val="bg1"/>
                  </a:solidFill>
                  <a:latin typeface="+mj-lt"/>
                </a:rPr>
                <a:t>Text</a:t>
              </a:r>
            </a:p>
            <a:p>
              <a:pPr algn="ctr" eaLnBrk="0" hangingPunct="0">
                <a:spcBef>
                  <a:spcPts val="100"/>
                </a:spcBef>
                <a:spcAft>
                  <a:spcPts val="100"/>
                </a:spcAft>
              </a:pPr>
              <a:r>
                <a:rPr lang="en-US" dirty="0">
                  <a:solidFill>
                    <a:schemeClr val="bg1"/>
                  </a:solidFill>
                </a:rPr>
                <a:t>Text</a:t>
              </a:r>
            </a:p>
            <a:p>
              <a:pPr algn="ctr" eaLnBrk="0" hangingPunct="0">
                <a:spcBef>
                  <a:spcPts val="100"/>
                </a:spcBef>
                <a:spcAft>
                  <a:spcPts val="100"/>
                </a:spcAft>
              </a:pPr>
              <a:r>
                <a:rPr lang="en-US" dirty="0">
                  <a:solidFill>
                    <a:schemeClr val="bg1"/>
                  </a:solidFill>
                </a:rPr>
                <a:t>Text</a:t>
              </a:r>
            </a:p>
            <a:p>
              <a:pPr algn="ctr" eaLnBrk="0" hangingPunct="0">
                <a:spcBef>
                  <a:spcPts val="100"/>
                </a:spcBef>
                <a:spcAft>
                  <a:spcPts val="100"/>
                </a:spcAft>
              </a:pPr>
              <a:r>
                <a:rPr lang="en-US" dirty="0">
                  <a:solidFill>
                    <a:schemeClr val="bg1"/>
                  </a:solidFill>
                </a:rPr>
                <a:t>Text</a:t>
              </a:r>
            </a:p>
          </p:txBody>
        </p:sp>
        <p:cxnSp>
          <p:nvCxnSpPr>
            <p:cNvPr id="16" name="Straight Arrow Connector 15">
              <a:extLst>
                <a:ext uri="{FF2B5EF4-FFF2-40B4-BE49-F238E27FC236}">
                  <a16:creationId xmlns:a16="http://schemas.microsoft.com/office/drawing/2014/main" id="{D8DC80EC-B38D-4370-95C9-08D0AFCA8408}"/>
                </a:ext>
                <a:ext uri="{C183D7F6-B498-43B3-948B-1728B52AA6E4}">
                  <adec:decorative xmlns:adec="http://schemas.microsoft.com/office/drawing/2017/decorative" val="1"/>
                </a:ext>
              </a:extLst>
            </p:cNvPr>
            <p:cNvCxnSpPr>
              <a:stCxn id="14" idx="0"/>
            </p:cNvCxnSpPr>
            <p:nvPr/>
          </p:nvCxnSpPr>
          <p:spPr bwMode="auto">
            <a:xfrm flipV="1">
              <a:off x="6125143" y="1488912"/>
              <a:ext cx="0" cy="860470"/>
            </a:xfrm>
            <a:prstGeom prst="straightConnector1">
              <a:avLst/>
            </a:prstGeom>
            <a:ln w="19050">
              <a:solidFill>
                <a:schemeClr val="tx2">
                  <a:lumMod val="60000"/>
                  <a:lumOff val="4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9" name="Rectangle 7">
              <a:extLst>
                <a:ext uri="{FF2B5EF4-FFF2-40B4-BE49-F238E27FC236}">
                  <a16:creationId xmlns:a16="http://schemas.microsoft.com/office/drawing/2014/main" id="{A7BA8EFC-B2B0-4A26-BABC-1D3B40CA4A15}"/>
                </a:ext>
              </a:extLst>
            </p:cNvPr>
            <p:cNvSpPr>
              <a:spLocks noChangeArrowheads="1"/>
            </p:cNvSpPr>
            <p:nvPr/>
          </p:nvSpPr>
          <p:spPr bwMode="auto">
            <a:xfrm>
              <a:off x="4839836" y="1162153"/>
              <a:ext cx="2570614" cy="254567"/>
            </a:xfrm>
            <a:prstGeom prst="rect">
              <a:avLst/>
            </a:prstGeom>
            <a:noFill/>
            <a:ln w="6350">
              <a:noFill/>
              <a:miter lim="800000"/>
              <a:headEnd/>
              <a:tailEnd/>
            </a:ln>
            <a:effectLst/>
          </p:spPr>
          <p:txBody>
            <a:bodyPr wrap="none" lIns="45720" rIns="45720"/>
            <a:lstStyle/>
            <a:p>
              <a:pPr algn="ctr" eaLnBrk="0" hangingPunct="0"/>
              <a:r>
                <a:rPr lang="en-US" b="1" cap="all" dirty="0">
                  <a:solidFill>
                    <a:schemeClr val="accent1"/>
                  </a:solidFill>
                  <a:latin typeface="+mj-lt"/>
                </a:rPr>
                <a:t>Text</a:t>
              </a:r>
            </a:p>
          </p:txBody>
        </p:sp>
        <p:cxnSp>
          <p:nvCxnSpPr>
            <p:cNvPr id="15" name="Straight Arrow Connector 14">
              <a:extLst>
                <a:ext uri="{FF2B5EF4-FFF2-40B4-BE49-F238E27FC236}">
                  <a16:creationId xmlns:a16="http://schemas.microsoft.com/office/drawing/2014/main" id="{1FAE4813-38C4-433D-8E96-35DBD3C47E9E}"/>
                </a:ext>
                <a:ext uri="{C183D7F6-B498-43B3-948B-1728B52AA6E4}">
                  <adec:decorative xmlns:adec="http://schemas.microsoft.com/office/drawing/2017/decorative" val="1"/>
                </a:ext>
              </a:extLst>
            </p:cNvPr>
            <p:cNvCxnSpPr>
              <a:stCxn id="14" idx="6"/>
            </p:cNvCxnSpPr>
            <p:nvPr/>
          </p:nvCxnSpPr>
          <p:spPr bwMode="auto">
            <a:xfrm>
              <a:off x="7410450" y="3634689"/>
              <a:ext cx="700867" cy="0"/>
            </a:xfrm>
            <a:prstGeom prst="straightConnector1">
              <a:avLst/>
            </a:prstGeom>
            <a:ln w="19050">
              <a:solidFill>
                <a:schemeClr val="tx2">
                  <a:lumMod val="60000"/>
                  <a:lumOff val="4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Rectangle 9">
              <a:extLst>
                <a:ext uri="{FF2B5EF4-FFF2-40B4-BE49-F238E27FC236}">
                  <a16:creationId xmlns:a16="http://schemas.microsoft.com/office/drawing/2014/main" id="{E53E7E38-7C37-4F67-8EFE-737AC30187BB}"/>
                </a:ext>
              </a:extLst>
            </p:cNvPr>
            <p:cNvSpPr>
              <a:spLocks noChangeArrowheads="1"/>
            </p:cNvSpPr>
            <p:nvPr/>
          </p:nvSpPr>
          <p:spPr bwMode="auto">
            <a:xfrm>
              <a:off x="8183507" y="3475915"/>
              <a:ext cx="2570400" cy="317548"/>
            </a:xfrm>
            <a:prstGeom prst="rect">
              <a:avLst/>
            </a:prstGeom>
            <a:noFill/>
            <a:ln w="6350">
              <a:noFill/>
              <a:miter lim="800000"/>
              <a:headEnd/>
              <a:tailEnd/>
            </a:ln>
            <a:effectLst/>
          </p:spPr>
          <p:txBody>
            <a:bodyPr wrap="none" lIns="45720" rIns="45720" anchor="ctr" anchorCtr="0"/>
            <a:lstStyle/>
            <a:p>
              <a:pPr eaLnBrk="0" hangingPunct="0"/>
              <a:r>
                <a:rPr lang="en-US" b="1" cap="all" dirty="0">
                  <a:solidFill>
                    <a:schemeClr val="accent1"/>
                  </a:solidFill>
                  <a:latin typeface="+mj-lt"/>
                </a:rPr>
                <a:t>Text</a:t>
              </a:r>
            </a:p>
          </p:txBody>
        </p:sp>
        <p:cxnSp>
          <p:nvCxnSpPr>
            <p:cNvPr id="18" name="Straight Arrow Connector 17">
              <a:extLst>
                <a:ext uri="{FF2B5EF4-FFF2-40B4-BE49-F238E27FC236}">
                  <a16:creationId xmlns:a16="http://schemas.microsoft.com/office/drawing/2014/main" id="{B422FAE6-665A-4509-A16C-19F4F7BC1695}"/>
                </a:ext>
                <a:ext uri="{C183D7F6-B498-43B3-948B-1728B52AA6E4}">
                  <adec:decorative xmlns:adec="http://schemas.microsoft.com/office/drawing/2017/decorative" val="1"/>
                </a:ext>
              </a:extLst>
            </p:cNvPr>
            <p:cNvCxnSpPr>
              <a:stCxn id="14" idx="4"/>
            </p:cNvCxnSpPr>
            <p:nvPr/>
          </p:nvCxnSpPr>
          <p:spPr bwMode="auto">
            <a:xfrm>
              <a:off x="6125143" y="4919996"/>
              <a:ext cx="0" cy="870866"/>
            </a:xfrm>
            <a:prstGeom prst="straightConnector1">
              <a:avLst/>
            </a:prstGeom>
            <a:ln w="19050">
              <a:solidFill>
                <a:schemeClr val="tx2">
                  <a:lumMod val="60000"/>
                  <a:lumOff val="4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Rectangle 8">
              <a:extLst>
                <a:ext uri="{FF2B5EF4-FFF2-40B4-BE49-F238E27FC236}">
                  <a16:creationId xmlns:a16="http://schemas.microsoft.com/office/drawing/2014/main" id="{027AA0B2-014F-429D-80A9-E7002F79B955}"/>
                </a:ext>
              </a:extLst>
            </p:cNvPr>
            <p:cNvSpPr>
              <a:spLocks noChangeArrowheads="1"/>
            </p:cNvSpPr>
            <p:nvPr/>
          </p:nvSpPr>
          <p:spPr bwMode="auto">
            <a:xfrm>
              <a:off x="4839836" y="5790862"/>
              <a:ext cx="2570614" cy="339231"/>
            </a:xfrm>
            <a:prstGeom prst="rect">
              <a:avLst/>
            </a:prstGeom>
            <a:noFill/>
            <a:ln w="6350">
              <a:noFill/>
              <a:miter lim="800000"/>
              <a:headEnd/>
              <a:tailEnd/>
            </a:ln>
            <a:effectLst/>
          </p:spPr>
          <p:txBody>
            <a:bodyPr wrap="none" lIns="45720" rIns="45720"/>
            <a:lstStyle/>
            <a:p>
              <a:pPr algn="ctr" eaLnBrk="0" hangingPunct="0"/>
              <a:r>
                <a:rPr lang="en-US" b="1" cap="all" dirty="0">
                  <a:solidFill>
                    <a:schemeClr val="accent1"/>
                  </a:solidFill>
                  <a:latin typeface="+mj-lt"/>
                </a:rPr>
                <a:t>Text</a:t>
              </a:r>
            </a:p>
          </p:txBody>
        </p:sp>
        <p:cxnSp>
          <p:nvCxnSpPr>
            <p:cNvPr id="17" name="Straight Arrow Connector 16">
              <a:extLst>
                <a:ext uri="{FF2B5EF4-FFF2-40B4-BE49-F238E27FC236}">
                  <a16:creationId xmlns:a16="http://schemas.microsoft.com/office/drawing/2014/main" id="{16A57570-7197-4A21-8777-EB545F300C9B}"/>
                </a:ext>
                <a:ext uri="{C183D7F6-B498-43B3-948B-1728B52AA6E4}">
                  <adec:decorative xmlns:adec="http://schemas.microsoft.com/office/drawing/2017/decorative" val="1"/>
                </a:ext>
              </a:extLst>
            </p:cNvPr>
            <p:cNvCxnSpPr>
              <a:stCxn id="14" idx="2"/>
            </p:cNvCxnSpPr>
            <p:nvPr/>
          </p:nvCxnSpPr>
          <p:spPr bwMode="auto">
            <a:xfrm flipH="1">
              <a:off x="4109019" y="3634689"/>
              <a:ext cx="730817" cy="1"/>
            </a:xfrm>
            <a:prstGeom prst="straightConnector1">
              <a:avLst/>
            </a:prstGeom>
            <a:ln w="19050">
              <a:solidFill>
                <a:schemeClr val="tx2">
                  <a:lumMod val="60000"/>
                  <a:lumOff val="4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Rectangle 10">
              <a:extLst>
                <a:ext uri="{FF2B5EF4-FFF2-40B4-BE49-F238E27FC236}">
                  <a16:creationId xmlns:a16="http://schemas.microsoft.com/office/drawing/2014/main" id="{E0E9A336-72F1-48E1-95BE-62FF0F75D07B}"/>
                </a:ext>
              </a:extLst>
            </p:cNvPr>
            <p:cNvSpPr>
              <a:spLocks noChangeArrowheads="1"/>
            </p:cNvSpPr>
            <p:nvPr/>
          </p:nvSpPr>
          <p:spPr bwMode="auto">
            <a:xfrm>
              <a:off x="1466429" y="3507406"/>
              <a:ext cx="2570400" cy="254567"/>
            </a:xfrm>
            <a:prstGeom prst="rect">
              <a:avLst/>
            </a:prstGeom>
            <a:noFill/>
            <a:ln w="6350">
              <a:noFill/>
              <a:miter lim="800000"/>
              <a:headEnd/>
              <a:tailEnd/>
            </a:ln>
            <a:effectLst/>
          </p:spPr>
          <p:txBody>
            <a:bodyPr wrap="none" lIns="45720" rIns="45720" anchor="ctr" anchorCtr="0"/>
            <a:lstStyle/>
            <a:p>
              <a:pPr algn="r" eaLnBrk="0" hangingPunct="0"/>
              <a:r>
                <a:rPr lang="en-US" b="1" cap="all" dirty="0">
                  <a:solidFill>
                    <a:schemeClr val="accent1"/>
                  </a:solidFill>
                  <a:latin typeface="+mj-lt"/>
                </a:rPr>
                <a:t>Text</a:t>
              </a:r>
            </a:p>
          </p:txBody>
        </p:sp>
      </p:grpSp>
      <p:sp>
        <p:nvSpPr>
          <p:cNvPr id="4" name="Footer Placeholder 3">
            <a:extLst>
              <a:ext uri="{FF2B5EF4-FFF2-40B4-BE49-F238E27FC236}">
                <a16:creationId xmlns:a16="http://schemas.microsoft.com/office/drawing/2014/main" id="{1119B1BA-B010-4F95-9CDB-84D08D62A6D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6DBE6525-7AB8-423C-B8F2-35A6C77279E3}"/>
              </a:ext>
            </a:extLst>
          </p:cNvPr>
          <p:cNvSpPr>
            <a:spLocks noGrp="1"/>
          </p:cNvSpPr>
          <p:nvPr>
            <p:ph type="sldNum" sz="quarter" idx="10"/>
          </p:nvPr>
        </p:nvSpPr>
        <p:spPr/>
        <p:txBody>
          <a:bodyPr/>
          <a:lstStyle/>
          <a:p>
            <a:fld id="{1F90F471-3972-4120-B8B3-0237DE626C35}" type="slidenum">
              <a:rPr lang="en-US" smtClean="0"/>
              <a:pPr/>
              <a:t>140</a:t>
            </a:fld>
            <a:endParaRPr lang="en-US" dirty="0"/>
          </a:p>
        </p:txBody>
      </p:sp>
    </p:spTree>
    <p:extLst>
      <p:ext uri="{BB962C8B-B14F-4D97-AF65-F5344CB8AC3E}">
        <p14:creationId xmlns:p14="http://schemas.microsoft.com/office/powerpoint/2010/main" val="120056393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Decentralization 2</a:t>
            </a:r>
          </a:p>
        </p:txBody>
      </p:sp>
      <p:grpSp>
        <p:nvGrpSpPr>
          <p:cNvPr id="3" name="Group 2" descr="Decentralization">
            <a:extLst>
              <a:ext uri="{FF2B5EF4-FFF2-40B4-BE49-F238E27FC236}">
                <a16:creationId xmlns:a16="http://schemas.microsoft.com/office/drawing/2014/main" id="{CB0A2EA3-6620-4FE3-BF7D-6D4E54A9EB3F}"/>
              </a:ext>
            </a:extLst>
          </p:cNvPr>
          <p:cNvGrpSpPr/>
          <p:nvPr/>
        </p:nvGrpSpPr>
        <p:grpSpPr>
          <a:xfrm>
            <a:off x="453436" y="1100322"/>
            <a:ext cx="11271959" cy="5038842"/>
            <a:chOff x="453436" y="1100322"/>
            <a:chExt cx="11271959" cy="5038842"/>
          </a:xfrm>
        </p:grpSpPr>
        <p:sp>
          <p:nvSpPr>
            <p:cNvPr id="4" name="Rectangle 3">
              <a:extLst>
                <a:ext uri="{FF2B5EF4-FFF2-40B4-BE49-F238E27FC236}">
                  <a16:creationId xmlns:a16="http://schemas.microsoft.com/office/drawing/2014/main" id="{FB74D547-7283-46D2-9B93-3183F8E41913}"/>
                </a:ext>
              </a:extLst>
            </p:cNvPr>
            <p:cNvSpPr/>
            <p:nvPr/>
          </p:nvSpPr>
          <p:spPr>
            <a:xfrm>
              <a:off x="4892322" y="2429251"/>
              <a:ext cx="2403086" cy="2403607"/>
            </a:xfrm>
            <a:prstGeom prst="rect">
              <a:avLst/>
            </a:prstGeom>
            <a:noFill/>
            <a:ln w="9525" cap="flat" cmpd="sng" algn="ctr">
              <a:noFill/>
              <a:prstDash val="solid"/>
            </a:ln>
            <a:effectLst/>
          </p:spPr>
          <p:txBody>
            <a:bodyPr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2400" b="1" i="0" u="none" strike="noStrike" kern="0" cap="all" spc="0" normalizeH="0" baseline="0" noProof="0" dirty="0">
                  <a:ln>
                    <a:noFill/>
                  </a:ln>
                  <a:solidFill>
                    <a:schemeClr val="accent2"/>
                  </a:solidFill>
                  <a:effectLst/>
                  <a:uLnTx/>
                  <a:uFillTx/>
                  <a:latin typeface="Arial Black"/>
                  <a:ea typeface="+mn-ea"/>
                  <a:cs typeface="+mn-cs"/>
                </a:rPr>
                <a:t>Text</a:t>
              </a:r>
            </a:p>
          </p:txBody>
        </p:sp>
        <p:grpSp>
          <p:nvGrpSpPr>
            <p:cNvPr id="5" name="Group 4">
              <a:extLst>
                <a:ext uri="{FF2B5EF4-FFF2-40B4-BE49-F238E27FC236}">
                  <a16:creationId xmlns:a16="http://schemas.microsoft.com/office/drawing/2014/main" id="{1B8601A3-7EC1-472E-99B9-25A8779175BE}"/>
                </a:ext>
                <a:ext uri="{C183D7F6-B498-43B3-948B-1728B52AA6E4}">
                  <adec:decorative xmlns:adec="http://schemas.microsoft.com/office/drawing/2017/decorative" val="1"/>
                </a:ext>
              </a:extLst>
            </p:cNvPr>
            <p:cNvGrpSpPr/>
            <p:nvPr/>
          </p:nvGrpSpPr>
          <p:grpSpPr>
            <a:xfrm>
              <a:off x="3682011" y="2429251"/>
              <a:ext cx="4823709" cy="2403607"/>
              <a:chOff x="677918" y="1518586"/>
              <a:chExt cx="8873861" cy="4421759"/>
            </a:xfrm>
            <a:solidFill>
              <a:schemeClr val="accent1"/>
            </a:solidFill>
          </p:grpSpPr>
          <p:sp>
            <p:nvSpPr>
              <p:cNvPr id="6" name="Isosceles Triangle 5">
                <a:extLst>
                  <a:ext uri="{FF2B5EF4-FFF2-40B4-BE49-F238E27FC236}">
                    <a16:creationId xmlns:a16="http://schemas.microsoft.com/office/drawing/2014/main" id="{C722B60A-C1BC-4190-9E04-143B4680CBAE}"/>
                  </a:ext>
                </a:extLst>
              </p:cNvPr>
              <p:cNvSpPr/>
              <p:nvPr/>
            </p:nvSpPr>
            <p:spPr>
              <a:xfrm rot="5400000">
                <a:off x="6227635" y="2616200"/>
                <a:ext cx="4421757" cy="2226530"/>
              </a:xfrm>
              <a:prstGeom prst="triangle">
                <a:avLst>
                  <a:gd name="adj" fmla="val 49660"/>
                </a:avLst>
              </a:prstGeom>
              <a:gr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sp>
            <p:nvSpPr>
              <p:cNvPr id="7" name="Isosceles Triangle 6">
                <a:extLst>
                  <a:ext uri="{FF2B5EF4-FFF2-40B4-BE49-F238E27FC236}">
                    <a16:creationId xmlns:a16="http://schemas.microsoft.com/office/drawing/2014/main" id="{006B7533-0DF0-4735-BEB4-BE5C8CA7935C}"/>
                  </a:ext>
                </a:extLst>
              </p:cNvPr>
              <p:cNvSpPr/>
              <p:nvPr/>
            </p:nvSpPr>
            <p:spPr>
              <a:xfrm rot="16200000" flipH="1">
                <a:off x="-419696" y="2616202"/>
                <a:ext cx="4421757" cy="2226530"/>
              </a:xfrm>
              <a:prstGeom prst="triangle">
                <a:avLst>
                  <a:gd name="adj" fmla="val 49660"/>
                </a:avLst>
              </a:prstGeom>
              <a:gr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grpSp>
        <p:grpSp>
          <p:nvGrpSpPr>
            <p:cNvPr id="8" name="Group 7">
              <a:extLst>
                <a:ext uri="{FF2B5EF4-FFF2-40B4-BE49-F238E27FC236}">
                  <a16:creationId xmlns:a16="http://schemas.microsoft.com/office/drawing/2014/main" id="{61EBBAB5-7738-442F-AEE8-542AD7316F0F}"/>
                </a:ext>
                <a:ext uri="{C183D7F6-B498-43B3-948B-1728B52AA6E4}">
                  <adec:decorative xmlns:adec="http://schemas.microsoft.com/office/drawing/2017/decorative" val="1"/>
                </a:ext>
              </a:extLst>
            </p:cNvPr>
            <p:cNvGrpSpPr/>
            <p:nvPr/>
          </p:nvGrpSpPr>
          <p:grpSpPr>
            <a:xfrm rot="5400000">
              <a:off x="3682011" y="2429251"/>
              <a:ext cx="4823709" cy="2403607"/>
              <a:chOff x="677918" y="1518586"/>
              <a:chExt cx="8873861" cy="4421759"/>
            </a:xfrm>
            <a:solidFill>
              <a:schemeClr val="accent2"/>
            </a:solidFill>
          </p:grpSpPr>
          <p:sp>
            <p:nvSpPr>
              <p:cNvPr id="9" name="Isosceles Triangle 8">
                <a:extLst>
                  <a:ext uri="{FF2B5EF4-FFF2-40B4-BE49-F238E27FC236}">
                    <a16:creationId xmlns:a16="http://schemas.microsoft.com/office/drawing/2014/main" id="{DB9E9E1C-C7E9-4482-9B96-0E0F32DA8F49}"/>
                  </a:ext>
                </a:extLst>
              </p:cNvPr>
              <p:cNvSpPr/>
              <p:nvPr/>
            </p:nvSpPr>
            <p:spPr>
              <a:xfrm rot="5400000">
                <a:off x="6227635" y="2616200"/>
                <a:ext cx="4421757" cy="2226530"/>
              </a:xfrm>
              <a:prstGeom prst="triangle">
                <a:avLst>
                  <a:gd name="adj" fmla="val 49660"/>
                </a:avLst>
              </a:prstGeom>
              <a:gr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Isosceles Triangle 10">
                <a:extLst>
                  <a:ext uri="{FF2B5EF4-FFF2-40B4-BE49-F238E27FC236}">
                    <a16:creationId xmlns:a16="http://schemas.microsoft.com/office/drawing/2014/main" id="{BC3D86AE-9FB6-435B-8563-7808031C685F}"/>
                  </a:ext>
                </a:extLst>
              </p:cNvPr>
              <p:cNvSpPr/>
              <p:nvPr/>
            </p:nvSpPr>
            <p:spPr>
              <a:xfrm rot="16200000" flipH="1">
                <a:off x="-419696" y="2616202"/>
                <a:ext cx="4421757" cy="2226530"/>
              </a:xfrm>
              <a:prstGeom prst="triangle">
                <a:avLst>
                  <a:gd name="adj" fmla="val 49660"/>
                </a:avLst>
              </a:prstGeom>
              <a:gr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grpSp>
        <p:sp>
          <p:nvSpPr>
            <p:cNvPr id="14" name="Rectangle 6">
              <a:extLst>
                <a:ext uri="{FF2B5EF4-FFF2-40B4-BE49-F238E27FC236}">
                  <a16:creationId xmlns:a16="http://schemas.microsoft.com/office/drawing/2014/main" id="{EDC1AC6E-5F82-429F-8B4E-8DCCA40E8279}"/>
                </a:ext>
              </a:extLst>
            </p:cNvPr>
            <p:cNvSpPr>
              <a:spLocks noChangeArrowheads="1"/>
            </p:cNvSpPr>
            <p:nvPr>
              <p:custDataLst>
                <p:tags r:id="rId1"/>
              </p:custDataLst>
            </p:nvPr>
          </p:nvSpPr>
          <p:spPr bwMode="auto">
            <a:xfrm>
              <a:off x="5488839" y="1771785"/>
              <a:ext cx="1210052" cy="657465"/>
            </a:xfrm>
            <a:prstGeom prst="rect">
              <a:avLst/>
            </a:prstGeom>
            <a:noFill/>
            <a:ln w="6350">
              <a:noFill/>
              <a:miter lim="800000"/>
              <a:headEnd/>
              <a:tailEnd/>
            </a:ln>
            <a:effectLst/>
          </p:spPr>
          <p:txBody>
            <a:bodyPr lIns="0" tIns="0" rIns="0" bIns="0" anchor="ctr" anchorCtr="0"/>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1200" cap="all" spc="0" normalizeH="0" baseline="0" noProof="0" dirty="0">
                  <a:ln>
                    <a:noFill/>
                  </a:ln>
                  <a:solidFill>
                    <a:srgbClr val="FFFFFF"/>
                  </a:solidFill>
                  <a:effectLst/>
                  <a:uLnTx/>
                  <a:uFillTx/>
                  <a:latin typeface="Arial Black"/>
                  <a:ea typeface="+mn-ea"/>
                  <a:cs typeface="+mn-cs"/>
                </a:rPr>
                <a:t>Text</a:t>
              </a:r>
            </a:p>
          </p:txBody>
        </p:sp>
        <p:cxnSp>
          <p:nvCxnSpPr>
            <p:cNvPr id="20" name="Straight Arrow Connector 19">
              <a:extLst>
                <a:ext uri="{FF2B5EF4-FFF2-40B4-BE49-F238E27FC236}">
                  <a16:creationId xmlns:a16="http://schemas.microsoft.com/office/drawing/2014/main" id="{B689B1A8-30F5-4EC0-BCA2-DFE1F3A4880D}"/>
                </a:ext>
                <a:ext uri="{C183D7F6-B498-43B3-948B-1728B52AA6E4}">
                  <adec:decorative xmlns:adec="http://schemas.microsoft.com/office/drawing/2017/decorative" val="1"/>
                </a:ext>
              </a:extLst>
            </p:cNvPr>
            <p:cNvCxnSpPr/>
            <p:nvPr/>
          </p:nvCxnSpPr>
          <p:spPr>
            <a:xfrm>
              <a:off x="6257386" y="1206181"/>
              <a:ext cx="832223" cy="0"/>
            </a:xfrm>
            <a:prstGeom prst="straightConnector1">
              <a:avLst/>
            </a:prstGeom>
            <a:noFill/>
            <a:ln w="19050" cap="flat" cmpd="sng" algn="ctr">
              <a:solidFill>
                <a:srgbClr val="96968C">
                  <a:lumMod val="60000"/>
                  <a:lumOff val="40000"/>
                </a:srgbClr>
              </a:solidFill>
              <a:prstDash val="sysDot"/>
              <a:tailEnd type="triangle"/>
            </a:ln>
            <a:effectLst/>
          </p:spPr>
        </p:cxnSp>
        <p:sp>
          <p:nvSpPr>
            <p:cNvPr id="21" name="Rectangle 7">
              <a:extLst>
                <a:ext uri="{FF2B5EF4-FFF2-40B4-BE49-F238E27FC236}">
                  <a16:creationId xmlns:a16="http://schemas.microsoft.com/office/drawing/2014/main" id="{E6547FD6-F74C-487B-B2B1-9BCB1EAB8757}"/>
                </a:ext>
              </a:extLst>
            </p:cNvPr>
            <p:cNvSpPr>
              <a:spLocks noChangeArrowheads="1"/>
            </p:cNvSpPr>
            <p:nvPr>
              <p:custDataLst>
                <p:tags r:id="rId2"/>
              </p:custDataLst>
            </p:nvPr>
          </p:nvSpPr>
          <p:spPr bwMode="auto">
            <a:xfrm>
              <a:off x="7317255" y="1100322"/>
              <a:ext cx="2026901" cy="972516"/>
            </a:xfrm>
            <a:prstGeom prst="rect">
              <a:avLst/>
            </a:prstGeom>
            <a:noFill/>
            <a:ln w="6350">
              <a:noFill/>
              <a:miter lim="800000"/>
              <a:headEnd/>
              <a:tailEnd/>
            </a:ln>
            <a:effectLst/>
          </p:spPr>
          <p:txBody>
            <a:bodyPr lIns="0" tIns="0" rIns="0" bIns="0" anchor="t" anchorCtr="0"/>
            <a:lstStyle/>
            <a:p>
              <a:pPr marL="0" marR="0" lvl="0" indent="0" algn="l" defTabSz="914400" rtl="0" eaLnBrk="0" fontAlgn="auto" latinLnBrk="0" hangingPunct="0">
                <a:lnSpc>
                  <a:spcPct val="90000"/>
                </a:lnSpc>
                <a:spcBef>
                  <a:spcPts val="100"/>
                </a:spcBef>
                <a:spcAft>
                  <a:spcPts val="120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Insert text here</a:t>
              </a:r>
            </a:p>
          </p:txBody>
        </p:sp>
        <p:sp>
          <p:nvSpPr>
            <p:cNvPr id="13" name="Rectangle 6">
              <a:extLst>
                <a:ext uri="{FF2B5EF4-FFF2-40B4-BE49-F238E27FC236}">
                  <a16:creationId xmlns:a16="http://schemas.microsoft.com/office/drawing/2014/main" id="{380B7D1B-AC7A-403A-BB12-DFA1C79A0B94}"/>
                </a:ext>
              </a:extLst>
            </p:cNvPr>
            <p:cNvSpPr>
              <a:spLocks noChangeArrowheads="1"/>
            </p:cNvSpPr>
            <p:nvPr>
              <p:custDataLst>
                <p:tags r:id="rId3"/>
              </p:custDataLst>
            </p:nvPr>
          </p:nvSpPr>
          <p:spPr bwMode="auto">
            <a:xfrm>
              <a:off x="7295668" y="3291537"/>
              <a:ext cx="1210052" cy="657465"/>
            </a:xfrm>
            <a:prstGeom prst="rect">
              <a:avLst/>
            </a:prstGeom>
            <a:noFill/>
            <a:ln w="6350">
              <a:noFill/>
              <a:miter lim="800000"/>
              <a:headEnd/>
              <a:tailEnd/>
            </a:ln>
            <a:effectLst/>
          </p:spPr>
          <p:txBody>
            <a:bodyPr lIns="0" tIns="0" rIns="0" bIns="0" anchor="ctr" anchorCtr="0"/>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1200" cap="all" spc="0" normalizeH="0" baseline="0" noProof="0" dirty="0">
                  <a:ln>
                    <a:noFill/>
                  </a:ln>
                  <a:solidFill>
                    <a:srgbClr val="FFFFFF"/>
                  </a:solidFill>
                  <a:effectLst/>
                  <a:uLnTx/>
                  <a:uFillTx/>
                  <a:latin typeface="Arial Black"/>
                  <a:ea typeface="+mn-ea"/>
                  <a:cs typeface="+mn-cs"/>
                </a:rPr>
                <a:t>Text</a:t>
              </a:r>
            </a:p>
          </p:txBody>
        </p:sp>
        <p:cxnSp>
          <p:nvCxnSpPr>
            <p:cNvPr id="18" name="Straight Arrow Connector 17">
              <a:extLst>
                <a:ext uri="{FF2B5EF4-FFF2-40B4-BE49-F238E27FC236}">
                  <a16:creationId xmlns:a16="http://schemas.microsoft.com/office/drawing/2014/main" id="{EAAD22A6-92D2-447B-AA56-0D21118E565A}"/>
                </a:ext>
                <a:ext uri="{C183D7F6-B498-43B3-948B-1728B52AA6E4}">
                  <adec:decorative xmlns:adec="http://schemas.microsoft.com/office/drawing/2017/decorative" val="1"/>
                </a:ext>
              </a:extLst>
            </p:cNvPr>
            <p:cNvCxnSpPr/>
            <p:nvPr/>
          </p:nvCxnSpPr>
          <p:spPr>
            <a:xfrm>
              <a:off x="8638625" y="3621505"/>
              <a:ext cx="832223" cy="0"/>
            </a:xfrm>
            <a:prstGeom prst="straightConnector1">
              <a:avLst/>
            </a:prstGeom>
            <a:noFill/>
            <a:ln w="19050" cap="flat" cmpd="sng" algn="ctr">
              <a:solidFill>
                <a:srgbClr val="96968C">
                  <a:lumMod val="60000"/>
                  <a:lumOff val="40000"/>
                </a:srgbClr>
              </a:solidFill>
              <a:prstDash val="sysDot"/>
              <a:tailEnd type="triangle"/>
            </a:ln>
            <a:effectLst/>
          </p:spPr>
        </p:cxnSp>
        <p:sp>
          <p:nvSpPr>
            <p:cNvPr id="19" name="Rectangle 7">
              <a:extLst>
                <a:ext uri="{FF2B5EF4-FFF2-40B4-BE49-F238E27FC236}">
                  <a16:creationId xmlns:a16="http://schemas.microsoft.com/office/drawing/2014/main" id="{3A398743-51D8-4D16-8E60-8A3AE97F271F}"/>
                </a:ext>
              </a:extLst>
            </p:cNvPr>
            <p:cNvSpPr>
              <a:spLocks noChangeArrowheads="1"/>
            </p:cNvSpPr>
            <p:nvPr>
              <p:custDataLst>
                <p:tags r:id="rId4"/>
              </p:custDataLst>
            </p:nvPr>
          </p:nvSpPr>
          <p:spPr bwMode="auto">
            <a:xfrm>
              <a:off x="9698494" y="2712144"/>
              <a:ext cx="2026901" cy="1816249"/>
            </a:xfrm>
            <a:prstGeom prst="rect">
              <a:avLst/>
            </a:prstGeom>
            <a:noFill/>
            <a:ln w="6350">
              <a:noFill/>
              <a:miter lim="800000"/>
              <a:headEnd/>
              <a:tailEnd/>
            </a:ln>
            <a:effectLst/>
          </p:spPr>
          <p:txBody>
            <a:bodyPr lIns="0" tIns="0" rIns="0" bIns="0" anchor="ctr" anchorCtr="0"/>
            <a:lstStyle/>
            <a:p>
              <a:pPr marL="0" marR="0" lvl="0" indent="0" algn="l" defTabSz="914400" rtl="0" eaLnBrk="0" fontAlgn="auto" latinLnBrk="0" hangingPunct="0">
                <a:lnSpc>
                  <a:spcPct val="90000"/>
                </a:lnSpc>
                <a:spcBef>
                  <a:spcPts val="100"/>
                </a:spcBef>
                <a:spcAft>
                  <a:spcPts val="120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Insert text here</a:t>
              </a:r>
            </a:p>
          </p:txBody>
        </p:sp>
        <p:sp>
          <p:nvSpPr>
            <p:cNvPr id="15" name="Rectangle 6">
              <a:extLst>
                <a:ext uri="{FF2B5EF4-FFF2-40B4-BE49-F238E27FC236}">
                  <a16:creationId xmlns:a16="http://schemas.microsoft.com/office/drawing/2014/main" id="{E50ACCBD-5417-48CB-BF0F-DCD10A9B0784}"/>
                </a:ext>
              </a:extLst>
            </p:cNvPr>
            <p:cNvSpPr>
              <a:spLocks noChangeArrowheads="1"/>
            </p:cNvSpPr>
            <p:nvPr>
              <p:custDataLst>
                <p:tags r:id="rId5"/>
              </p:custDataLst>
            </p:nvPr>
          </p:nvSpPr>
          <p:spPr bwMode="auto">
            <a:xfrm>
              <a:off x="5488839" y="4832337"/>
              <a:ext cx="1210052" cy="657465"/>
            </a:xfrm>
            <a:prstGeom prst="rect">
              <a:avLst/>
            </a:prstGeom>
            <a:noFill/>
            <a:ln w="6350">
              <a:noFill/>
              <a:miter lim="800000"/>
              <a:headEnd/>
              <a:tailEnd/>
            </a:ln>
            <a:effectLst/>
          </p:spPr>
          <p:txBody>
            <a:bodyPr lIns="0" tIns="0" rIns="0" bIns="0" anchor="ctr" anchorCtr="0"/>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1200" cap="all" spc="0" normalizeH="0" baseline="0" noProof="0" dirty="0">
                  <a:ln>
                    <a:noFill/>
                  </a:ln>
                  <a:solidFill>
                    <a:srgbClr val="FFFFFF"/>
                  </a:solidFill>
                  <a:effectLst/>
                  <a:uLnTx/>
                  <a:uFillTx/>
                  <a:latin typeface="Arial Black"/>
                  <a:ea typeface="+mn-ea"/>
                  <a:cs typeface="+mn-cs"/>
                </a:rPr>
                <a:t>Text</a:t>
              </a:r>
            </a:p>
          </p:txBody>
        </p:sp>
        <p:cxnSp>
          <p:nvCxnSpPr>
            <p:cNvPr id="22" name="Straight Arrow Connector 21">
              <a:extLst>
                <a:ext uri="{FF2B5EF4-FFF2-40B4-BE49-F238E27FC236}">
                  <a16:creationId xmlns:a16="http://schemas.microsoft.com/office/drawing/2014/main" id="{0753D421-E3D1-431E-ADDD-F8C1EE356F41}"/>
                </a:ext>
                <a:ext uri="{C183D7F6-B498-43B3-948B-1728B52AA6E4}">
                  <adec:decorative xmlns:adec="http://schemas.microsoft.com/office/drawing/2017/decorative" val="1"/>
                </a:ext>
              </a:extLst>
            </p:cNvPr>
            <p:cNvCxnSpPr/>
            <p:nvPr/>
          </p:nvCxnSpPr>
          <p:spPr>
            <a:xfrm flipH="1">
              <a:off x="5072727" y="6027439"/>
              <a:ext cx="832223" cy="0"/>
            </a:xfrm>
            <a:prstGeom prst="straightConnector1">
              <a:avLst/>
            </a:prstGeom>
            <a:noFill/>
            <a:ln w="19050" cap="flat" cmpd="sng" algn="ctr">
              <a:solidFill>
                <a:srgbClr val="96968C">
                  <a:lumMod val="60000"/>
                  <a:lumOff val="40000"/>
                </a:srgbClr>
              </a:solidFill>
              <a:prstDash val="sysDot"/>
              <a:tailEnd type="triangle"/>
            </a:ln>
            <a:effectLst/>
          </p:spPr>
        </p:cxnSp>
        <p:sp>
          <p:nvSpPr>
            <p:cNvPr id="23" name="Rectangle 7">
              <a:extLst>
                <a:ext uri="{FF2B5EF4-FFF2-40B4-BE49-F238E27FC236}">
                  <a16:creationId xmlns:a16="http://schemas.microsoft.com/office/drawing/2014/main" id="{35C24641-CBCA-4AC3-A26E-B26C52635D3C}"/>
                </a:ext>
              </a:extLst>
            </p:cNvPr>
            <p:cNvSpPr>
              <a:spLocks noChangeArrowheads="1"/>
            </p:cNvSpPr>
            <p:nvPr>
              <p:custDataLst>
                <p:tags r:id="rId6"/>
              </p:custDataLst>
            </p:nvPr>
          </p:nvSpPr>
          <p:spPr bwMode="auto">
            <a:xfrm>
              <a:off x="2921699" y="5166648"/>
              <a:ext cx="2026901" cy="972516"/>
            </a:xfrm>
            <a:prstGeom prst="rect">
              <a:avLst/>
            </a:prstGeom>
            <a:noFill/>
            <a:ln w="6350">
              <a:noFill/>
              <a:miter lim="800000"/>
              <a:headEnd/>
              <a:tailEnd/>
            </a:ln>
            <a:effectLst/>
          </p:spPr>
          <p:txBody>
            <a:bodyPr lIns="0" tIns="0" rIns="0" bIns="0" anchor="b" anchorCtr="0"/>
            <a:lstStyle/>
            <a:p>
              <a:pPr marL="0" marR="0" lvl="0" indent="0" algn="r" defTabSz="914400" rtl="0" eaLnBrk="0" fontAlgn="auto" latinLnBrk="0" hangingPunct="0">
                <a:lnSpc>
                  <a:spcPct val="90000"/>
                </a:lnSpc>
                <a:spcBef>
                  <a:spcPts val="100"/>
                </a:spcBef>
                <a:spcAft>
                  <a:spcPts val="120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Insert text here</a:t>
              </a:r>
            </a:p>
          </p:txBody>
        </p:sp>
        <p:sp>
          <p:nvSpPr>
            <p:cNvPr id="12" name="Rectangle 6">
              <a:extLst>
                <a:ext uri="{FF2B5EF4-FFF2-40B4-BE49-F238E27FC236}">
                  <a16:creationId xmlns:a16="http://schemas.microsoft.com/office/drawing/2014/main" id="{05B4E2CA-9B57-4577-BA0A-FBBDB35C3BE0}"/>
                </a:ext>
              </a:extLst>
            </p:cNvPr>
            <p:cNvSpPr>
              <a:spLocks noChangeArrowheads="1"/>
            </p:cNvSpPr>
            <p:nvPr>
              <p:custDataLst>
                <p:tags r:id="rId7"/>
              </p:custDataLst>
            </p:nvPr>
          </p:nvSpPr>
          <p:spPr bwMode="auto">
            <a:xfrm>
              <a:off x="3682010" y="3291537"/>
              <a:ext cx="1210052" cy="657465"/>
            </a:xfrm>
            <a:prstGeom prst="rect">
              <a:avLst/>
            </a:prstGeom>
            <a:noFill/>
            <a:ln w="6350">
              <a:noFill/>
              <a:miter lim="800000"/>
              <a:headEnd/>
              <a:tailEnd/>
            </a:ln>
            <a:effectLst/>
          </p:spPr>
          <p:txBody>
            <a:bodyPr lIns="0" tIns="0" rIns="0" bIns="0" anchor="ctr" anchorCtr="0"/>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1200" cap="all" spc="0" normalizeH="0" baseline="0" noProof="0" dirty="0">
                  <a:ln>
                    <a:noFill/>
                  </a:ln>
                  <a:solidFill>
                    <a:srgbClr val="FFFFFF"/>
                  </a:solidFill>
                  <a:effectLst/>
                  <a:uLnTx/>
                  <a:uFillTx/>
                  <a:latin typeface="Arial Black"/>
                  <a:ea typeface="+mn-ea"/>
                  <a:cs typeface="+mn-cs"/>
                </a:rPr>
                <a:t>Text</a:t>
              </a:r>
            </a:p>
          </p:txBody>
        </p:sp>
        <p:cxnSp>
          <p:nvCxnSpPr>
            <p:cNvPr id="17" name="Straight Arrow Connector 16">
              <a:extLst>
                <a:ext uri="{FF2B5EF4-FFF2-40B4-BE49-F238E27FC236}">
                  <a16:creationId xmlns:a16="http://schemas.microsoft.com/office/drawing/2014/main" id="{332D662B-F74A-43B4-B8B6-1B1D4B41160D}"/>
                </a:ext>
                <a:ext uri="{C183D7F6-B498-43B3-948B-1728B52AA6E4}">
                  <adec:decorative xmlns:adec="http://schemas.microsoft.com/office/drawing/2017/decorative" val="1"/>
                </a:ext>
              </a:extLst>
            </p:cNvPr>
            <p:cNvCxnSpPr/>
            <p:nvPr/>
          </p:nvCxnSpPr>
          <p:spPr>
            <a:xfrm flipH="1">
              <a:off x="2719271" y="3621505"/>
              <a:ext cx="832223" cy="0"/>
            </a:xfrm>
            <a:prstGeom prst="straightConnector1">
              <a:avLst/>
            </a:prstGeom>
            <a:noFill/>
            <a:ln w="19050" cap="flat" cmpd="sng" algn="ctr">
              <a:solidFill>
                <a:srgbClr val="96968C">
                  <a:lumMod val="60000"/>
                  <a:lumOff val="40000"/>
                </a:srgbClr>
              </a:solidFill>
              <a:prstDash val="sysDot"/>
              <a:tailEnd type="triangle"/>
            </a:ln>
            <a:effectLst/>
          </p:spPr>
        </p:cxnSp>
        <p:sp>
          <p:nvSpPr>
            <p:cNvPr id="16" name="Rectangle 7">
              <a:extLst>
                <a:ext uri="{FF2B5EF4-FFF2-40B4-BE49-F238E27FC236}">
                  <a16:creationId xmlns:a16="http://schemas.microsoft.com/office/drawing/2014/main" id="{2AC0A91B-7036-4E05-9BEA-F34D2705C46B}"/>
                </a:ext>
              </a:extLst>
            </p:cNvPr>
            <p:cNvSpPr>
              <a:spLocks noChangeArrowheads="1"/>
            </p:cNvSpPr>
            <p:nvPr>
              <p:custDataLst>
                <p:tags r:id="rId8"/>
              </p:custDataLst>
            </p:nvPr>
          </p:nvSpPr>
          <p:spPr bwMode="auto">
            <a:xfrm>
              <a:off x="453436" y="2712144"/>
              <a:ext cx="2026901" cy="1816249"/>
            </a:xfrm>
            <a:prstGeom prst="rect">
              <a:avLst/>
            </a:prstGeom>
            <a:noFill/>
            <a:ln w="6350">
              <a:noFill/>
              <a:miter lim="800000"/>
              <a:headEnd/>
              <a:tailEnd/>
            </a:ln>
            <a:effectLst/>
          </p:spPr>
          <p:txBody>
            <a:bodyPr lIns="0" tIns="0" rIns="0" bIns="0" anchor="ctr" anchorCtr="0"/>
            <a:lstStyle/>
            <a:p>
              <a:pPr marL="0" marR="0" lvl="0" indent="0" algn="r" defTabSz="914400" rtl="0" eaLnBrk="0" fontAlgn="auto" latinLnBrk="0" hangingPunct="0">
                <a:lnSpc>
                  <a:spcPct val="90000"/>
                </a:lnSpc>
                <a:spcBef>
                  <a:spcPts val="100"/>
                </a:spcBef>
                <a:spcAft>
                  <a:spcPts val="120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Insert text here</a:t>
              </a:r>
            </a:p>
          </p:txBody>
        </p:sp>
      </p:grpSp>
      <p:sp>
        <p:nvSpPr>
          <p:cNvPr id="24" name="Footer Placeholder 23">
            <a:extLst>
              <a:ext uri="{FF2B5EF4-FFF2-40B4-BE49-F238E27FC236}">
                <a16:creationId xmlns:a16="http://schemas.microsoft.com/office/drawing/2014/main" id="{F086A100-4321-4C7B-AB95-B299FD65375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5" name="Slide Number Placeholder 24">
            <a:extLst>
              <a:ext uri="{FF2B5EF4-FFF2-40B4-BE49-F238E27FC236}">
                <a16:creationId xmlns:a16="http://schemas.microsoft.com/office/drawing/2014/main" id="{99D9B735-8652-4F5F-B931-69E9AC29E343}"/>
              </a:ext>
            </a:extLst>
          </p:cNvPr>
          <p:cNvSpPr>
            <a:spLocks noGrp="1"/>
          </p:cNvSpPr>
          <p:nvPr>
            <p:ph type="sldNum" sz="quarter" idx="10"/>
          </p:nvPr>
        </p:nvSpPr>
        <p:spPr/>
        <p:txBody>
          <a:bodyPr/>
          <a:lstStyle/>
          <a:p>
            <a:fld id="{1F90F471-3972-4120-B8B3-0237DE626C35}" type="slidenum">
              <a:rPr lang="en-US" smtClean="0"/>
              <a:pPr/>
              <a:t>141</a:t>
            </a:fld>
            <a:endParaRPr lang="en-US" dirty="0"/>
          </a:p>
        </p:txBody>
      </p:sp>
    </p:spTree>
    <p:extLst>
      <p:ext uri="{BB962C8B-B14F-4D97-AF65-F5344CB8AC3E}">
        <p14:creationId xmlns:p14="http://schemas.microsoft.com/office/powerpoint/2010/main" val="1299943651"/>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Centralization/Decentralization</a:t>
            </a:r>
          </a:p>
        </p:txBody>
      </p:sp>
      <p:grpSp>
        <p:nvGrpSpPr>
          <p:cNvPr id="3" name="Group 2" descr="Centralization example">
            <a:extLst>
              <a:ext uri="{FF2B5EF4-FFF2-40B4-BE49-F238E27FC236}">
                <a16:creationId xmlns:a16="http://schemas.microsoft.com/office/drawing/2014/main" id="{1E6199D4-AF2A-46DB-9ACF-1990F7CDBE7D}"/>
              </a:ext>
            </a:extLst>
          </p:cNvPr>
          <p:cNvGrpSpPr/>
          <p:nvPr/>
        </p:nvGrpSpPr>
        <p:grpSpPr>
          <a:xfrm>
            <a:off x="381000" y="1288295"/>
            <a:ext cx="5540197" cy="4048880"/>
            <a:chOff x="381000" y="1288295"/>
            <a:chExt cx="5540197" cy="4048880"/>
          </a:xfrm>
        </p:grpSpPr>
        <p:sp>
          <p:nvSpPr>
            <p:cNvPr id="28" name="TextBox 27">
              <a:extLst>
                <a:ext uri="{FF2B5EF4-FFF2-40B4-BE49-F238E27FC236}">
                  <a16:creationId xmlns:a16="http://schemas.microsoft.com/office/drawing/2014/main" id="{0E362D33-0408-483A-A0CF-CAE15A687B2D}"/>
                </a:ext>
              </a:extLst>
            </p:cNvPr>
            <p:cNvSpPr txBox="1"/>
            <p:nvPr/>
          </p:nvSpPr>
          <p:spPr>
            <a:xfrm>
              <a:off x="396382" y="1288295"/>
              <a:ext cx="5524813" cy="355939"/>
            </a:xfrm>
            <a:prstGeom prst="rect">
              <a:avLst/>
            </a:prstGeom>
          </p:spPr>
          <p:txBody>
            <a:bodyPr vert="horz" wrap="square" lIns="0" tIns="0" rIns="0" bIns="0" rtlCol="0" anchor="b" anchorCtr="0">
              <a:noAutofit/>
            </a:bodyPr>
            <a:lstStyle/>
            <a:p>
              <a:r>
                <a:rPr lang="en-AU" sz="1400" b="1" dirty="0">
                  <a:latin typeface="+mj-lt"/>
                </a:rPr>
                <a:t>Centralization</a:t>
              </a:r>
              <a:endParaRPr lang="en-AU" sz="1400" b="1" cap="all" dirty="0">
                <a:latin typeface="+mj-lt"/>
              </a:endParaRPr>
            </a:p>
          </p:txBody>
        </p:sp>
        <p:cxnSp>
          <p:nvCxnSpPr>
            <p:cNvPr id="29" name="Straight Arrow Connector 28">
              <a:extLst>
                <a:ext uri="{FF2B5EF4-FFF2-40B4-BE49-F238E27FC236}">
                  <a16:creationId xmlns:a16="http://schemas.microsoft.com/office/drawing/2014/main" id="{A61B664C-8624-4EAA-B03E-94564FE0FAFB}"/>
                </a:ext>
                <a:ext uri="{C183D7F6-B498-43B3-948B-1728B52AA6E4}">
                  <adec:decorative xmlns:adec="http://schemas.microsoft.com/office/drawing/2017/decorative" val="1"/>
                </a:ext>
              </a:extLst>
            </p:cNvPr>
            <p:cNvCxnSpPr/>
            <p:nvPr/>
          </p:nvCxnSpPr>
          <p:spPr>
            <a:xfrm>
              <a:off x="381000" y="1758224"/>
              <a:ext cx="5540195" cy="0"/>
            </a:xfrm>
            <a:prstGeom prst="straightConnector1">
              <a:avLst/>
            </a:prstGeom>
            <a:ln w="19050">
              <a:solidFill>
                <a:schemeClr val="tx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0" name="TextBox 29">
              <a:extLst>
                <a:ext uri="{FF2B5EF4-FFF2-40B4-BE49-F238E27FC236}">
                  <a16:creationId xmlns:a16="http://schemas.microsoft.com/office/drawing/2014/main" id="{CAD22914-A55A-4FB7-98D6-FC9D5A17CD3E}"/>
                </a:ext>
              </a:extLst>
            </p:cNvPr>
            <p:cNvSpPr txBox="1"/>
            <p:nvPr/>
          </p:nvSpPr>
          <p:spPr>
            <a:xfrm>
              <a:off x="1802751" y="2259536"/>
              <a:ext cx="2706672" cy="809995"/>
            </a:xfrm>
            <a:prstGeom prst="rect">
              <a:avLst/>
            </a:prstGeom>
            <a:solidFill>
              <a:schemeClr val="accent1"/>
            </a:solidFill>
            <a:ln w="19050">
              <a:noFill/>
            </a:ln>
          </p:spPr>
          <p:txBody>
            <a:bodyPr vert="horz" wrap="square" lIns="0" tIns="36000" rIns="0" bIns="0" rtlCol="0" anchor="ctr">
              <a:noAutofit/>
            </a:bodyPr>
            <a:lstStyle/>
            <a:p>
              <a:pPr algn="ctr">
                <a:lnSpc>
                  <a:spcPct val="85000"/>
                </a:lnSpc>
              </a:pPr>
              <a:r>
                <a:rPr lang="en-AU" sz="1400" b="1" cap="all" dirty="0">
                  <a:solidFill>
                    <a:schemeClr val="bg1"/>
                  </a:solidFill>
                  <a:latin typeface="+mj-lt"/>
                </a:rPr>
                <a:t>Text</a:t>
              </a:r>
            </a:p>
          </p:txBody>
        </p:sp>
        <p:cxnSp>
          <p:nvCxnSpPr>
            <p:cNvPr id="37" name="Connector: Elbow 36">
              <a:extLst>
                <a:ext uri="{FF2B5EF4-FFF2-40B4-BE49-F238E27FC236}">
                  <a16:creationId xmlns:a16="http://schemas.microsoft.com/office/drawing/2014/main" id="{54576FCE-6947-4AB8-A047-1F2C29EEF687}"/>
                </a:ext>
                <a:ext uri="{C183D7F6-B498-43B3-948B-1728B52AA6E4}">
                  <adec:decorative xmlns:adec="http://schemas.microsoft.com/office/drawing/2017/decorative" val="1"/>
                </a:ext>
              </a:extLst>
            </p:cNvPr>
            <p:cNvCxnSpPr>
              <a:stCxn id="30" idx="2"/>
              <a:endCxn id="31" idx="0"/>
            </p:cNvCxnSpPr>
            <p:nvPr/>
          </p:nvCxnSpPr>
          <p:spPr>
            <a:xfrm rot="5400000">
              <a:off x="1775445" y="2326183"/>
              <a:ext cx="637295" cy="2123991"/>
            </a:xfrm>
            <a:prstGeom prst="bentConnector3">
              <a:avLst/>
            </a:prstGeom>
            <a:ln w="1270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 name="Rectangle 16">
              <a:extLst>
                <a:ext uri="{FF2B5EF4-FFF2-40B4-BE49-F238E27FC236}">
                  <a16:creationId xmlns:a16="http://schemas.microsoft.com/office/drawing/2014/main" id="{75AAB7A3-2C39-4226-B22A-763BCE740778}"/>
                </a:ext>
              </a:extLst>
            </p:cNvPr>
            <p:cNvSpPr>
              <a:spLocks noChangeArrowheads="1"/>
            </p:cNvSpPr>
            <p:nvPr/>
          </p:nvSpPr>
          <p:spPr bwMode="auto">
            <a:xfrm>
              <a:off x="390977" y="3706826"/>
              <a:ext cx="1282239" cy="1630349"/>
            </a:xfrm>
            <a:prstGeom prst="rect">
              <a:avLst/>
            </a:prstGeom>
            <a:solidFill>
              <a:schemeClr val="tx2">
                <a:lumMod val="20000"/>
                <a:lumOff val="80000"/>
              </a:schemeClr>
            </a:solidFill>
            <a:ln w="6350">
              <a:noFill/>
              <a:miter lim="800000"/>
              <a:headEnd/>
              <a:tailEnd/>
            </a:ln>
            <a:effectLst/>
          </p:spPr>
          <p:txBody>
            <a:bodyPr lIns="72000" tIns="180000" rIns="72000" bIns="72000"/>
            <a:lstStyle/>
            <a:p>
              <a:pPr marL="92075" indent="-92075" algn="ctr" eaLnBrk="0" hangingPunct="0">
                <a:spcBef>
                  <a:spcPct val="0"/>
                </a:spcBef>
                <a:buClr>
                  <a:schemeClr val="folHlink"/>
                </a:buClr>
              </a:pPr>
              <a:r>
                <a:rPr lang="en-US" sz="1400">
                  <a:solidFill>
                    <a:schemeClr val="tx1"/>
                  </a:solidFill>
                </a:rPr>
                <a:t>Text</a:t>
              </a:r>
            </a:p>
          </p:txBody>
        </p:sp>
        <p:cxnSp>
          <p:nvCxnSpPr>
            <p:cNvPr id="35" name="Connector: Elbow 34">
              <a:extLst>
                <a:ext uri="{FF2B5EF4-FFF2-40B4-BE49-F238E27FC236}">
                  <a16:creationId xmlns:a16="http://schemas.microsoft.com/office/drawing/2014/main" id="{C7CE8B10-9D73-41CE-9590-B2FFC14F37F1}"/>
                </a:ext>
                <a:ext uri="{C183D7F6-B498-43B3-948B-1728B52AA6E4}">
                  <adec:decorative xmlns:adec="http://schemas.microsoft.com/office/drawing/2017/decorative" val="1"/>
                </a:ext>
              </a:extLst>
            </p:cNvPr>
            <p:cNvCxnSpPr>
              <a:stCxn id="30" idx="2"/>
              <a:endCxn id="32" idx="0"/>
            </p:cNvCxnSpPr>
            <p:nvPr/>
          </p:nvCxnSpPr>
          <p:spPr>
            <a:xfrm rot="5400000">
              <a:off x="2484447" y="3035186"/>
              <a:ext cx="637295" cy="705986"/>
            </a:xfrm>
            <a:prstGeom prst="bentConnector3">
              <a:avLst/>
            </a:prstGeom>
            <a:ln w="1270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2" name="Rectangle 23">
              <a:extLst>
                <a:ext uri="{FF2B5EF4-FFF2-40B4-BE49-F238E27FC236}">
                  <a16:creationId xmlns:a16="http://schemas.microsoft.com/office/drawing/2014/main" id="{56ED9D35-00CA-4B70-AAB8-1E82F42F73BE}"/>
                </a:ext>
              </a:extLst>
            </p:cNvPr>
            <p:cNvSpPr>
              <a:spLocks noChangeArrowheads="1"/>
            </p:cNvSpPr>
            <p:nvPr/>
          </p:nvSpPr>
          <p:spPr bwMode="auto">
            <a:xfrm>
              <a:off x="1808982" y="3706826"/>
              <a:ext cx="1282239" cy="1630349"/>
            </a:xfrm>
            <a:prstGeom prst="rect">
              <a:avLst/>
            </a:prstGeom>
            <a:solidFill>
              <a:schemeClr val="tx2">
                <a:lumMod val="20000"/>
                <a:lumOff val="80000"/>
              </a:schemeClr>
            </a:solidFill>
            <a:ln w="6350">
              <a:noFill/>
              <a:miter lim="800000"/>
              <a:headEnd/>
              <a:tailEnd/>
            </a:ln>
            <a:effectLst/>
          </p:spPr>
          <p:txBody>
            <a:bodyPr lIns="72000" tIns="180000" rIns="72000" bIns="72000"/>
            <a:lstStyle/>
            <a:p>
              <a:pPr marL="92075" indent="-92075" algn="ctr" eaLnBrk="0" hangingPunct="0">
                <a:spcBef>
                  <a:spcPct val="0"/>
                </a:spcBef>
                <a:buClr>
                  <a:schemeClr val="folHlink"/>
                </a:buClr>
              </a:pPr>
              <a:r>
                <a:rPr lang="en-US" sz="1400">
                  <a:solidFill>
                    <a:schemeClr val="tx1"/>
                  </a:solidFill>
                </a:rPr>
                <a:t>Text</a:t>
              </a:r>
            </a:p>
          </p:txBody>
        </p:sp>
        <p:cxnSp>
          <p:nvCxnSpPr>
            <p:cNvPr id="36" name="Connector: Elbow 35">
              <a:extLst>
                <a:ext uri="{FF2B5EF4-FFF2-40B4-BE49-F238E27FC236}">
                  <a16:creationId xmlns:a16="http://schemas.microsoft.com/office/drawing/2014/main" id="{98925D3D-185F-485C-918E-AE22E8389C62}"/>
                </a:ext>
                <a:ext uri="{C183D7F6-B498-43B3-948B-1728B52AA6E4}">
                  <adec:decorative xmlns:adec="http://schemas.microsoft.com/office/drawing/2017/decorative" val="1"/>
                </a:ext>
              </a:extLst>
            </p:cNvPr>
            <p:cNvCxnSpPr>
              <a:stCxn id="30" idx="2"/>
              <a:endCxn id="33" idx="0"/>
            </p:cNvCxnSpPr>
            <p:nvPr/>
          </p:nvCxnSpPr>
          <p:spPr>
            <a:xfrm rot="16200000" flipH="1">
              <a:off x="3191941" y="3033677"/>
              <a:ext cx="637295" cy="709003"/>
            </a:xfrm>
            <a:prstGeom prst="bentConnector3">
              <a:avLst/>
            </a:prstGeom>
            <a:ln w="1270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24">
              <a:extLst>
                <a:ext uri="{FF2B5EF4-FFF2-40B4-BE49-F238E27FC236}">
                  <a16:creationId xmlns:a16="http://schemas.microsoft.com/office/drawing/2014/main" id="{FB3167A0-1E57-421A-A53F-8636A7E525CE}"/>
                </a:ext>
              </a:extLst>
            </p:cNvPr>
            <p:cNvSpPr>
              <a:spLocks noChangeArrowheads="1"/>
            </p:cNvSpPr>
            <p:nvPr/>
          </p:nvSpPr>
          <p:spPr bwMode="auto">
            <a:xfrm>
              <a:off x="3223970" y="3706826"/>
              <a:ext cx="1282239" cy="1630349"/>
            </a:xfrm>
            <a:prstGeom prst="rect">
              <a:avLst/>
            </a:prstGeom>
            <a:solidFill>
              <a:schemeClr val="tx2">
                <a:lumMod val="20000"/>
                <a:lumOff val="80000"/>
              </a:schemeClr>
            </a:solidFill>
            <a:ln w="6350">
              <a:noFill/>
              <a:miter lim="800000"/>
              <a:headEnd/>
              <a:tailEnd/>
            </a:ln>
            <a:effectLst/>
          </p:spPr>
          <p:txBody>
            <a:bodyPr lIns="72000" tIns="180000" rIns="72000" bIns="72000"/>
            <a:lstStyle/>
            <a:p>
              <a:pPr marL="92075" indent="-92075" algn="ctr" eaLnBrk="0" hangingPunct="0">
                <a:spcBef>
                  <a:spcPct val="0"/>
                </a:spcBef>
                <a:buClr>
                  <a:schemeClr val="folHlink"/>
                </a:buClr>
              </a:pPr>
              <a:r>
                <a:rPr lang="en-US" sz="1400">
                  <a:solidFill>
                    <a:schemeClr val="tx1"/>
                  </a:solidFill>
                </a:rPr>
                <a:t>Text</a:t>
              </a:r>
            </a:p>
          </p:txBody>
        </p:sp>
        <p:cxnSp>
          <p:nvCxnSpPr>
            <p:cNvPr id="38" name="Connector: Elbow 37">
              <a:extLst>
                <a:ext uri="{FF2B5EF4-FFF2-40B4-BE49-F238E27FC236}">
                  <a16:creationId xmlns:a16="http://schemas.microsoft.com/office/drawing/2014/main" id="{615354D8-B4B5-49C7-905C-509F495968EB}"/>
                </a:ext>
                <a:ext uri="{C183D7F6-B498-43B3-948B-1728B52AA6E4}">
                  <adec:decorative xmlns:adec="http://schemas.microsoft.com/office/drawing/2017/decorative" val="1"/>
                </a:ext>
              </a:extLst>
            </p:cNvPr>
            <p:cNvCxnSpPr>
              <a:stCxn id="30" idx="2"/>
              <a:endCxn id="34" idx="0"/>
            </p:cNvCxnSpPr>
            <p:nvPr/>
          </p:nvCxnSpPr>
          <p:spPr>
            <a:xfrm rot="16200000" flipH="1">
              <a:off x="3899435" y="2326182"/>
              <a:ext cx="637295" cy="2123991"/>
            </a:xfrm>
            <a:prstGeom prst="bentConnector3">
              <a:avLst/>
            </a:prstGeom>
            <a:ln w="1270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4" name="Rectangle 25">
              <a:extLst>
                <a:ext uri="{FF2B5EF4-FFF2-40B4-BE49-F238E27FC236}">
                  <a16:creationId xmlns:a16="http://schemas.microsoft.com/office/drawing/2014/main" id="{29B8A8FD-4377-479C-AE42-67B3B8B7AB23}"/>
                </a:ext>
              </a:extLst>
            </p:cNvPr>
            <p:cNvSpPr>
              <a:spLocks noChangeArrowheads="1"/>
            </p:cNvSpPr>
            <p:nvPr/>
          </p:nvSpPr>
          <p:spPr bwMode="auto">
            <a:xfrm>
              <a:off x="4638958" y="3706826"/>
              <a:ext cx="1282239" cy="1630349"/>
            </a:xfrm>
            <a:prstGeom prst="rect">
              <a:avLst/>
            </a:prstGeom>
            <a:solidFill>
              <a:schemeClr val="tx2">
                <a:lumMod val="20000"/>
                <a:lumOff val="80000"/>
              </a:schemeClr>
            </a:solidFill>
            <a:ln w="6350">
              <a:noFill/>
              <a:miter lim="800000"/>
              <a:headEnd/>
              <a:tailEnd/>
            </a:ln>
            <a:effectLst/>
          </p:spPr>
          <p:txBody>
            <a:bodyPr lIns="72000" tIns="180000" rIns="72000" bIns="72000"/>
            <a:lstStyle/>
            <a:p>
              <a:pPr marL="92075" indent="-92075" algn="ctr" eaLnBrk="0" hangingPunct="0">
                <a:spcBef>
                  <a:spcPct val="0"/>
                </a:spcBef>
                <a:buClr>
                  <a:schemeClr val="folHlink"/>
                </a:buClr>
              </a:pPr>
              <a:r>
                <a:rPr lang="en-US" sz="1400" dirty="0">
                  <a:solidFill>
                    <a:schemeClr val="tx1"/>
                  </a:solidFill>
                </a:rPr>
                <a:t>Text</a:t>
              </a:r>
            </a:p>
          </p:txBody>
        </p:sp>
      </p:grpSp>
      <p:grpSp>
        <p:nvGrpSpPr>
          <p:cNvPr id="6" name="Group 5" descr="Decentralization example">
            <a:extLst>
              <a:ext uri="{FF2B5EF4-FFF2-40B4-BE49-F238E27FC236}">
                <a16:creationId xmlns:a16="http://schemas.microsoft.com/office/drawing/2014/main" id="{C45E8D45-61D9-4A31-9AA7-A8253FFB261C}"/>
              </a:ext>
            </a:extLst>
          </p:cNvPr>
          <p:cNvGrpSpPr/>
          <p:nvPr/>
        </p:nvGrpSpPr>
        <p:grpSpPr>
          <a:xfrm>
            <a:off x="6270805" y="1288295"/>
            <a:ext cx="5540195" cy="4769605"/>
            <a:chOff x="6270805" y="1288295"/>
            <a:chExt cx="5540195" cy="4769605"/>
          </a:xfrm>
        </p:grpSpPr>
        <p:sp>
          <p:nvSpPr>
            <p:cNvPr id="39" name="TextBox 38">
              <a:extLst>
                <a:ext uri="{FF2B5EF4-FFF2-40B4-BE49-F238E27FC236}">
                  <a16:creationId xmlns:a16="http://schemas.microsoft.com/office/drawing/2014/main" id="{28BAD250-8873-4900-AD63-0291FFD8E993}"/>
                </a:ext>
              </a:extLst>
            </p:cNvPr>
            <p:cNvSpPr txBox="1"/>
            <p:nvPr/>
          </p:nvSpPr>
          <p:spPr>
            <a:xfrm>
              <a:off x="6286187" y="1288295"/>
              <a:ext cx="5524813" cy="355939"/>
            </a:xfrm>
            <a:prstGeom prst="rect">
              <a:avLst/>
            </a:prstGeom>
          </p:spPr>
          <p:txBody>
            <a:bodyPr vert="horz" wrap="square" lIns="0" tIns="0" rIns="0" bIns="0" rtlCol="0" anchor="b" anchorCtr="0">
              <a:noAutofit/>
            </a:bodyPr>
            <a:lstStyle/>
            <a:p>
              <a:r>
                <a:rPr lang="en-AU" sz="1400" b="1" dirty="0">
                  <a:latin typeface="+mj-lt"/>
                </a:rPr>
                <a:t>Decentralization</a:t>
              </a:r>
              <a:endParaRPr lang="en-AU" sz="1400" b="1" cap="all" dirty="0">
                <a:latin typeface="+mj-lt"/>
              </a:endParaRPr>
            </a:p>
          </p:txBody>
        </p:sp>
        <p:cxnSp>
          <p:nvCxnSpPr>
            <p:cNvPr id="40" name="Straight Arrow Connector 39">
              <a:extLst>
                <a:ext uri="{FF2B5EF4-FFF2-40B4-BE49-F238E27FC236}">
                  <a16:creationId xmlns:a16="http://schemas.microsoft.com/office/drawing/2014/main" id="{A3DDE8DD-70C7-49D7-B7CC-29CA9499AD61}"/>
                </a:ext>
                <a:ext uri="{C183D7F6-B498-43B3-948B-1728B52AA6E4}">
                  <adec:decorative xmlns:adec="http://schemas.microsoft.com/office/drawing/2017/decorative" val="1"/>
                </a:ext>
              </a:extLst>
            </p:cNvPr>
            <p:cNvCxnSpPr/>
            <p:nvPr/>
          </p:nvCxnSpPr>
          <p:spPr>
            <a:xfrm>
              <a:off x="6270805" y="1758224"/>
              <a:ext cx="5540195" cy="0"/>
            </a:xfrm>
            <a:prstGeom prst="straightConnector1">
              <a:avLst/>
            </a:prstGeom>
            <a:ln w="19050">
              <a:solidFill>
                <a:schemeClr val="tx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1" name="Rectangle 5">
              <a:extLst>
                <a:ext uri="{FF2B5EF4-FFF2-40B4-BE49-F238E27FC236}">
                  <a16:creationId xmlns:a16="http://schemas.microsoft.com/office/drawing/2014/main" id="{F936897E-89BD-4437-AF4F-FF08BAE955C9}"/>
                </a:ext>
              </a:extLst>
            </p:cNvPr>
            <p:cNvSpPr>
              <a:spLocks noChangeArrowheads="1"/>
            </p:cNvSpPr>
            <p:nvPr/>
          </p:nvSpPr>
          <p:spPr bwMode="auto">
            <a:xfrm>
              <a:off x="6867275" y="3405790"/>
              <a:ext cx="1171791" cy="1494219"/>
            </a:xfrm>
            <a:prstGeom prst="rect">
              <a:avLst/>
            </a:prstGeom>
            <a:solidFill>
              <a:schemeClr val="accent6"/>
            </a:solidFill>
            <a:ln w="6350">
              <a:noFill/>
              <a:miter lim="800000"/>
              <a:headEnd/>
              <a:tailEnd/>
            </a:ln>
            <a:effectLst/>
          </p:spPr>
          <p:txBody>
            <a:bodyPr lIns="72000" tIns="180000" rIns="72000" bIns="72000"/>
            <a:lstStyle/>
            <a:p>
              <a:pPr marL="92075" indent="-92075" algn="ctr" eaLnBrk="0" hangingPunct="0">
                <a:spcBef>
                  <a:spcPct val="0"/>
                </a:spcBef>
                <a:buClr>
                  <a:schemeClr val="folHlink"/>
                </a:buClr>
              </a:pPr>
              <a:r>
                <a:rPr lang="en-US" sz="1400"/>
                <a:t>Text</a:t>
              </a:r>
            </a:p>
          </p:txBody>
        </p:sp>
        <p:cxnSp>
          <p:nvCxnSpPr>
            <p:cNvPr id="47" name="AutoShape 11">
              <a:extLst>
                <a:ext uri="{FF2B5EF4-FFF2-40B4-BE49-F238E27FC236}">
                  <a16:creationId xmlns:a16="http://schemas.microsoft.com/office/drawing/2014/main" id="{35985ACF-9965-4FE1-836F-BA9164FB74CF}"/>
                </a:ext>
                <a:ext uri="{C183D7F6-B498-43B3-948B-1728B52AA6E4}">
                  <adec:decorative xmlns:adec="http://schemas.microsoft.com/office/drawing/2017/decorative" val="1"/>
                </a:ext>
              </a:extLst>
            </p:cNvPr>
            <p:cNvCxnSpPr>
              <a:cxnSpLocks noChangeShapeType="1"/>
              <a:stCxn id="41" idx="0"/>
              <a:endCxn id="42" idx="1"/>
            </p:cNvCxnSpPr>
            <p:nvPr/>
          </p:nvCxnSpPr>
          <p:spPr bwMode="auto">
            <a:xfrm flipV="1">
              <a:off x="7453170" y="2995010"/>
              <a:ext cx="998508" cy="410780"/>
            </a:xfrm>
            <a:prstGeom prst="straightConnector1">
              <a:avLst/>
            </a:prstGeom>
            <a:noFill/>
            <a:ln w="19050" cap="rnd">
              <a:solidFill>
                <a:schemeClr val="tx2">
                  <a:lumMod val="60000"/>
                  <a:lumOff val="40000"/>
                </a:schemeClr>
              </a:solidFill>
              <a:prstDash val="sysDot"/>
              <a:round/>
              <a:headEnd/>
              <a:tailEnd/>
            </a:ln>
            <a:effectLst/>
          </p:spPr>
        </p:cxnSp>
        <p:sp>
          <p:nvSpPr>
            <p:cNvPr id="42" name="Rectangle 6">
              <a:extLst>
                <a:ext uri="{FF2B5EF4-FFF2-40B4-BE49-F238E27FC236}">
                  <a16:creationId xmlns:a16="http://schemas.microsoft.com/office/drawing/2014/main" id="{64D8408E-8902-467A-8318-849AB739C2EE}"/>
                </a:ext>
              </a:extLst>
            </p:cNvPr>
            <p:cNvSpPr>
              <a:spLocks noChangeArrowheads="1"/>
            </p:cNvSpPr>
            <p:nvPr/>
          </p:nvSpPr>
          <p:spPr bwMode="auto">
            <a:xfrm>
              <a:off x="8451678" y="2247900"/>
              <a:ext cx="1171791" cy="1494219"/>
            </a:xfrm>
            <a:prstGeom prst="rect">
              <a:avLst/>
            </a:prstGeom>
            <a:solidFill>
              <a:schemeClr val="accent1"/>
            </a:solidFill>
            <a:ln w="6350">
              <a:noFill/>
              <a:miter lim="800000"/>
              <a:headEnd/>
              <a:tailEnd/>
            </a:ln>
            <a:effectLst/>
          </p:spPr>
          <p:txBody>
            <a:bodyPr lIns="72000" tIns="180000" rIns="72000" bIns="72000"/>
            <a:lstStyle/>
            <a:p>
              <a:pPr marL="92075" indent="-92075" algn="ctr" eaLnBrk="0" hangingPunct="0">
                <a:spcBef>
                  <a:spcPct val="0"/>
                </a:spcBef>
                <a:buClr>
                  <a:schemeClr val="folHlink"/>
                </a:buClr>
              </a:pPr>
              <a:r>
                <a:rPr lang="en-US" sz="1400">
                  <a:solidFill>
                    <a:schemeClr val="bg1"/>
                  </a:solidFill>
                </a:rPr>
                <a:t>Text</a:t>
              </a:r>
            </a:p>
          </p:txBody>
        </p:sp>
        <p:cxnSp>
          <p:nvCxnSpPr>
            <p:cNvPr id="48" name="AutoShape 12">
              <a:extLst>
                <a:ext uri="{FF2B5EF4-FFF2-40B4-BE49-F238E27FC236}">
                  <a16:creationId xmlns:a16="http://schemas.microsoft.com/office/drawing/2014/main" id="{776687A2-F96B-40CC-97EE-C8615F1EF489}"/>
                </a:ext>
                <a:ext uri="{C183D7F6-B498-43B3-948B-1728B52AA6E4}">
                  <adec:decorative xmlns:adec="http://schemas.microsoft.com/office/drawing/2017/decorative" val="1"/>
                </a:ext>
              </a:extLst>
            </p:cNvPr>
            <p:cNvCxnSpPr>
              <a:cxnSpLocks noChangeShapeType="1"/>
              <a:stCxn id="42" idx="3"/>
              <a:endCxn id="43" idx="0"/>
            </p:cNvCxnSpPr>
            <p:nvPr/>
          </p:nvCxnSpPr>
          <p:spPr bwMode="auto">
            <a:xfrm>
              <a:off x="9623470" y="2995010"/>
              <a:ext cx="1005164" cy="410780"/>
            </a:xfrm>
            <a:prstGeom prst="straightConnector1">
              <a:avLst/>
            </a:prstGeom>
            <a:noFill/>
            <a:ln w="19050" cap="rnd">
              <a:solidFill>
                <a:schemeClr val="tx2">
                  <a:lumMod val="60000"/>
                  <a:lumOff val="40000"/>
                </a:schemeClr>
              </a:solidFill>
              <a:prstDash val="sysDot"/>
              <a:round/>
              <a:headEnd/>
              <a:tailEnd/>
            </a:ln>
            <a:effectLst/>
          </p:spPr>
        </p:cxnSp>
        <p:sp>
          <p:nvSpPr>
            <p:cNvPr id="43" name="Rectangle 7">
              <a:extLst>
                <a:ext uri="{FF2B5EF4-FFF2-40B4-BE49-F238E27FC236}">
                  <a16:creationId xmlns:a16="http://schemas.microsoft.com/office/drawing/2014/main" id="{DF87DC0A-BD9B-4688-B106-165A28411BB2}"/>
                </a:ext>
              </a:extLst>
            </p:cNvPr>
            <p:cNvSpPr>
              <a:spLocks noChangeArrowheads="1"/>
            </p:cNvSpPr>
            <p:nvPr/>
          </p:nvSpPr>
          <p:spPr bwMode="auto">
            <a:xfrm>
              <a:off x="10042737" y="3405790"/>
              <a:ext cx="1171791" cy="1494219"/>
            </a:xfrm>
            <a:prstGeom prst="rect">
              <a:avLst/>
            </a:prstGeom>
            <a:solidFill>
              <a:schemeClr val="accent3"/>
            </a:solidFill>
            <a:ln w="6350">
              <a:noFill/>
              <a:miter lim="800000"/>
              <a:headEnd/>
              <a:tailEnd/>
            </a:ln>
            <a:effectLst/>
          </p:spPr>
          <p:txBody>
            <a:bodyPr lIns="72000" tIns="180000" rIns="72000" bIns="72000"/>
            <a:lstStyle/>
            <a:p>
              <a:pPr marL="92075" indent="-92075" algn="ctr" eaLnBrk="0" hangingPunct="0">
                <a:spcBef>
                  <a:spcPct val="0"/>
                </a:spcBef>
                <a:buClr>
                  <a:schemeClr val="folHlink"/>
                </a:buClr>
              </a:pPr>
              <a:r>
                <a:rPr lang="en-US" sz="1400">
                  <a:solidFill>
                    <a:schemeClr val="bg1"/>
                  </a:solidFill>
                </a:rPr>
                <a:t>Text</a:t>
              </a:r>
            </a:p>
          </p:txBody>
        </p:sp>
        <p:cxnSp>
          <p:nvCxnSpPr>
            <p:cNvPr id="50" name="AutoShape 14">
              <a:extLst>
                <a:ext uri="{FF2B5EF4-FFF2-40B4-BE49-F238E27FC236}">
                  <a16:creationId xmlns:a16="http://schemas.microsoft.com/office/drawing/2014/main" id="{8C873BE9-5321-4791-83B0-945AB5FC0A6D}"/>
                </a:ext>
                <a:ext uri="{C183D7F6-B498-43B3-948B-1728B52AA6E4}">
                  <adec:decorative xmlns:adec="http://schemas.microsoft.com/office/drawing/2017/decorative" val="1"/>
                </a:ext>
              </a:extLst>
            </p:cNvPr>
            <p:cNvCxnSpPr>
              <a:cxnSpLocks noChangeShapeType="1"/>
              <a:stCxn id="44" idx="3"/>
              <a:endCxn id="43" idx="2"/>
            </p:cNvCxnSpPr>
            <p:nvPr/>
          </p:nvCxnSpPr>
          <p:spPr bwMode="auto">
            <a:xfrm flipV="1">
              <a:off x="9623470" y="4900009"/>
              <a:ext cx="1005164" cy="410781"/>
            </a:xfrm>
            <a:prstGeom prst="straightConnector1">
              <a:avLst/>
            </a:prstGeom>
            <a:noFill/>
            <a:ln w="19050" cap="rnd">
              <a:solidFill>
                <a:schemeClr val="tx2">
                  <a:lumMod val="60000"/>
                  <a:lumOff val="40000"/>
                </a:schemeClr>
              </a:solidFill>
              <a:prstDash val="sysDot"/>
              <a:round/>
              <a:headEnd/>
              <a:tailEnd/>
            </a:ln>
            <a:effectLst/>
          </p:spPr>
        </p:cxnSp>
        <p:sp>
          <p:nvSpPr>
            <p:cNvPr id="44" name="Rectangle 8">
              <a:extLst>
                <a:ext uri="{FF2B5EF4-FFF2-40B4-BE49-F238E27FC236}">
                  <a16:creationId xmlns:a16="http://schemas.microsoft.com/office/drawing/2014/main" id="{EC2ABCB5-90E0-4335-BA69-2DDF7D46556D}"/>
                </a:ext>
              </a:extLst>
            </p:cNvPr>
            <p:cNvSpPr>
              <a:spLocks noChangeArrowheads="1"/>
            </p:cNvSpPr>
            <p:nvPr/>
          </p:nvSpPr>
          <p:spPr bwMode="auto">
            <a:xfrm>
              <a:off x="8451678" y="4563681"/>
              <a:ext cx="1171791" cy="1494219"/>
            </a:xfrm>
            <a:prstGeom prst="rect">
              <a:avLst/>
            </a:prstGeom>
            <a:solidFill>
              <a:schemeClr val="accent4"/>
            </a:solidFill>
            <a:ln w="6350">
              <a:noFill/>
              <a:miter lim="800000"/>
              <a:headEnd/>
              <a:tailEnd/>
            </a:ln>
            <a:effectLst/>
          </p:spPr>
          <p:txBody>
            <a:bodyPr lIns="72000" tIns="180000" rIns="72000" bIns="72000"/>
            <a:lstStyle/>
            <a:p>
              <a:pPr marL="92075" indent="-92075" algn="ctr" eaLnBrk="0" hangingPunct="0">
                <a:spcBef>
                  <a:spcPct val="0"/>
                </a:spcBef>
                <a:buClr>
                  <a:schemeClr val="folHlink"/>
                </a:buClr>
              </a:pPr>
              <a:r>
                <a:rPr lang="en-US" sz="1400"/>
                <a:t>Text</a:t>
              </a:r>
            </a:p>
          </p:txBody>
        </p:sp>
        <p:cxnSp>
          <p:nvCxnSpPr>
            <p:cNvPr id="49" name="AutoShape 13">
              <a:extLst>
                <a:ext uri="{FF2B5EF4-FFF2-40B4-BE49-F238E27FC236}">
                  <a16:creationId xmlns:a16="http://schemas.microsoft.com/office/drawing/2014/main" id="{72867176-85DC-40D8-A2F2-163CF3AA7419}"/>
                </a:ext>
                <a:ext uri="{C183D7F6-B498-43B3-948B-1728B52AA6E4}">
                  <adec:decorative xmlns:adec="http://schemas.microsoft.com/office/drawing/2017/decorative" val="1"/>
                </a:ext>
              </a:extLst>
            </p:cNvPr>
            <p:cNvCxnSpPr>
              <a:cxnSpLocks noChangeShapeType="1"/>
              <a:stCxn id="41" idx="2"/>
              <a:endCxn id="44" idx="1"/>
            </p:cNvCxnSpPr>
            <p:nvPr/>
          </p:nvCxnSpPr>
          <p:spPr bwMode="auto">
            <a:xfrm>
              <a:off x="7453170" y="4900009"/>
              <a:ext cx="998508" cy="410781"/>
            </a:xfrm>
            <a:prstGeom prst="straightConnector1">
              <a:avLst/>
            </a:prstGeom>
            <a:noFill/>
            <a:ln w="19050" cap="rnd">
              <a:solidFill>
                <a:schemeClr val="tx2">
                  <a:lumMod val="60000"/>
                  <a:lumOff val="40000"/>
                </a:schemeClr>
              </a:solidFill>
              <a:prstDash val="sysDot"/>
              <a:round/>
              <a:headEnd/>
              <a:tailEnd/>
            </a:ln>
            <a:effectLst/>
          </p:spPr>
        </p:cxnSp>
        <p:cxnSp>
          <p:nvCxnSpPr>
            <p:cNvPr id="45" name="AutoShape 9">
              <a:extLst>
                <a:ext uri="{FF2B5EF4-FFF2-40B4-BE49-F238E27FC236}">
                  <a16:creationId xmlns:a16="http://schemas.microsoft.com/office/drawing/2014/main" id="{B4AF6389-3EAD-474B-ABD0-F59A3A7AE9D6}"/>
                </a:ext>
                <a:ext uri="{C183D7F6-B498-43B3-948B-1728B52AA6E4}">
                  <adec:decorative xmlns:adec="http://schemas.microsoft.com/office/drawing/2017/decorative" val="1"/>
                </a:ext>
              </a:extLst>
            </p:cNvPr>
            <p:cNvCxnSpPr>
              <a:cxnSpLocks noChangeShapeType="1"/>
              <a:stCxn id="42" idx="2"/>
              <a:endCxn id="44" idx="0"/>
            </p:cNvCxnSpPr>
            <p:nvPr/>
          </p:nvCxnSpPr>
          <p:spPr bwMode="auto">
            <a:xfrm>
              <a:off x="9037575" y="3742119"/>
              <a:ext cx="0" cy="821562"/>
            </a:xfrm>
            <a:prstGeom prst="straightConnector1">
              <a:avLst/>
            </a:prstGeom>
            <a:noFill/>
            <a:ln w="19050" cap="rnd">
              <a:solidFill>
                <a:schemeClr val="tx2">
                  <a:lumMod val="60000"/>
                  <a:lumOff val="40000"/>
                </a:schemeClr>
              </a:solidFill>
              <a:prstDash val="sysDot"/>
              <a:round/>
              <a:headEnd/>
              <a:tailEnd/>
            </a:ln>
            <a:effectLst/>
          </p:spPr>
        </p:cxnSp>
        <p:cxnSp>
          <p:nvCxnSpPr>
            <p:cNvPr id="46" name="AutoShape 10">
              <a:extLst>
                <a:ext uri="{FF2B5EF4-FFF2-40B4-BE49-F238E27FC236}">
                  <a16:creationId xmlns:a16="http://schemas.microsoft.com/office/drawing/2014/main" id="{AC285A26-D624-452C-887D-46E26853B8E0}"/>
                </a:ext>
                <a:ext uri="{C183D7F6-B498-43B3-948B-1728B52AA6E4}">
                  <adec:decorative xmlns:adec="http://schemas.microsoft.com/office/drawing/2017/decorative" val="1"/>
                </a:ext>
              </a:extLst>
            </p:cNvPr>
            <p:cNvCxnSpPr>
              <a:cxnSpLocks noChangeShapeType="1"/>
              <a:stCxn id="41" idx="3"/>
              <a:endCxn id="43" idx="1"/>
            </p:cNvCxnSpPr>
            <p:nvPr/>
          </p:nvCxnSpPr>
          <p:spPr bwMode="auto">
            <a:xfrm>
              <a:off x="8039066" y="4152900"/>
              <a:ext cx="2003672" cy="0"/>
            </a:xfrm>
            <a:prstGeom prst="straightConnector1">
              <a:avLst/>
            </a:prstGeom>
            <a:noFill/>
            <a:ln w="19050" cap="rnd">
              <a:solidFill>
                <a:schemeClr val="tx2">
                  <a:lumMod val="60000"/>
                  <a:lumOff val="40000"/>
                </a:schemeClr>
              </a:solidFill>
              <a:prstDash val="sysDot"/>
              <a:round/>
              <a:headEnd/>
              <a:tailEnd/>
            </a:ln>
            <a:effectLst/>
          </p:spPr>
        </p:cxnSp>
      </p:grpSp>
      <p:sp>
        <p:nvSpPr>
          <p:cNvPr id="4" name="Footer Placeholder 3">
            <a:extLst>
              <a:ext uri="{FF2B5EF4-FFF2-40B4-BE49-F238E27FC236}">
                <a16:creationId xmlns:a16="http://schemas.microsoft.com/office/drawing/2014/main" id="{E0DE777E-5285-446E-B0E7-3D6BBB8BC5D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C98F6DF1-2D80-41E5-BDC7-9F5B48BBFDAA}"/>
              </a:ext>
            </a:extLst>
          </p:cNvPr>
          <p:cNvSpPr>
            <a:spLocks noGrp="1"/>
          </p:cNvSpPr>
          <p:nvPr>
            <p:ph type="sldNum" sz="quarter" idx="10"/>
          </p:nvPr>
        </p:nvSpPr>
        <p:spPr/>
        <p:txBody>
          <a:bodyPr/>
          <a:lstStyle/>
          <a:p>
            <a:fld id="{1F90F471-3972-4120-B8B3-0237DE626C35}" type="slidenum">
              <a:rPr lang="en-US" smtClean="0"/>
              <a:pPr/>
              <a:t>142</a:t>
            </a:fld>
            <a:endParaRPr lang="en-US" dirty="0"/>
          </a:p>
        </p:txBody>
      </p:sp>
    </p:spTree>
    <p:extLst>
      <p:ext uri="{BB962C8B-B14F-4D97-AF65-F5344CB8AC3E}">
        <p14:creationId xmlns:p14="http://schemas.microsoft.com/office/powerpoint/2010/main" val="2449751276"/>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7C4124B-B9D5-4FB9-AA46-3262DD2B40DB}"/>
              </a:ext>
            </a:extLst>
          </p:cNvPr>
          <p:cNvSpPr>
            <a:spLocks noGrp="1"/>
          </p:cNvSpPr>
          <p:nvPr>
            <p:ph type="title"/>
          </p:nvPr>
        </p:nvSpPr>
        <p:spPr/>
        <p:txBody>
          <a:bodyPr/>
          <a:lstStyle/>
          <a:p>
            <a:r>
              <a:rPr lang="en-US" dirty="0"/>
              <a:t>Causes</a:t>
            </a:r>
          </a:p>
        </p:txBody>
      </p:sp>
      <p:sp>
        <p:nvSpPr>
          <p:cNvPr id="10" name="Freeform: Shape 9" descr="Add text and order accordingly">
            <a:hlinkClick r:id="rId2" action="ppaction://hlinksldjump" tooltip="Return to Index"/>
            <a:extLst>
              <a:ext uri="{FF2B5EF4-FFF2-40B4-BE49-F238E27FC236}">
                <a16:creationId xmlns:a16="http://schemas.microsoft.com/office/drawing/2014/main" id="{0DE3F75C-CF1B-47BB-A358-FF97AF03C85D}"/>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 Placeholder 8">
            <a:extLst>
              <a:ext uri="{FF2B5EF4-FFF2-40B4-BE49-F238E27FC236}">
                <a16:creationId xmlns:a16="http://schemas.microsoft.com/office/drawing/2014/main" id="{1265ADBE-657A-4DC7-A6A6-2F0E697C4723}"/>
              </a:ext>
            </a:extLst>
          </p:cNvPr>
          <p:cNvSpPr>
            <a:spLocks noGrp="1"/>
          </p:cNvSpPr>
          <p:nvPr>
            <p:ph type="body" sz="quarter" idx="15"/>
          </p:nvPr>
        </p:nvSpPr>
        <p:spPr/>
        <p:txBody>
          <a:bodyPr/>
          <a:lstStyle/>
          <a:p>
            <a:r>
              <a:rPr lang="en-US" dirty="0"/>
              <a:t>Part of </a:t>
            </a:r>
            <a:br>
              <a:rPr lang="en-US" dirty="0"/>
            </a:br>
            <a:r>
              <a:rPr lang="en-US" dirty="0">
                <a:hlinkClick r:id="rId3" action="ppaction://hlinksldjump">
                  <a:extLst>
                    <a:ext uri="{A12FA001-AC4F-418D-AE19-62706E023703}">
                      <ahyp:hlinkClr xmlns:ahyp="http://schemas.microsoft.com/office/drawing/2018/hyperlinkcolor" val="tx"/>
                    </a:ext>
                  </a:extLst>
                </a:hlinkClick>
              </a:rPr>
              <a:t>Dynamic Concepts</a:t>
            </a:r>
            <a:endParaRPr lang="en-US" dirty="0"/>
          </a:p>
        </p:txBody>
      </p:sp>
      <p:sp>
        <p:nvSpPr>
          <p:cNvPr id="5" name="Footer Placeholder 4">
            <a:extLst>
              <a:ext uri="{FF2B5EF4-FFF2-40B4-BE49-F238E27FC236}">
                <a16:creationId xmlns:a16="http://schemas.microsoft.com/office/drawing/2014/main" id="{9DC78945-A645-4563-BCA9-927812C9C4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BEE2891-AE3F-4D8A-B562-5662B242B3DF}"/>
              </a:ext>
            </a:extLst>
          </p:cNvPr>
          <p:cNvSpPr>
            <a:spLocks noGrp="1"/>
          </p:cNvSpPr>
          <p:nvPr>
            <p:ph type="sldNum" sz="quarter" idx="17"/>
          </p:nvPr>
        </p:nvSpPr>
        <p:spPr/>
        <p:txBody>
          <a:bodyPr/>
          <a:lstStyle/>
          <a:p>
            <a:fld id="{1F90F471-3972-4120-B8B3-0237DE626C35}" type="slidenum">
              <a:rPr lang="en-US" smtClean="0"/>
              <a:pPr/>
              <a:t>143</a:t>
            </a:fld>
            <a:endParaRPr lang="en-US" dirty="0"/>
          </a:p>
        </p:txBody>
      </p:sp>
    </p:spTree>
    <p:extLst>
      <p:ext uri="{BB962C8B-B14F-4D97-AF65-F5344CB8AC3E}">
        <p14:creationId xmlns:p14="http://schemas.microsoft.com/office/powerpoint/2010/main" val="2953990399"/>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Magnified Proportions</a:t>
            </a:r>
          </a:p>
        </p:txBody>
      </p:sp>
      <p:sp>
        <p:nvSpPr>
          <p:cNvPr id="4" name="Arrow: Right 3">
            <a:extLst>
              <a:ext uri="{FF2B5EF4-FFF2-40B4-BE49-F238E27FC236}">
                <a16:creationId xmlns:a16="http://schemas.microsoft.com/office/drawing/2014/main" id="{8B19CEDF-BF51-46B2-99DF-2DB08FE383BB}"/>
              </a:ext>
              <a:ext uri="{C183D7F6-B498-43B3-948B-1728B52AA6E4}">
                <adec:decorative xmlns:adec="http://schemas.microsoft.com/office/drawing/2017/decorative" val="0"/>
              </a:ext>
            </a:extLst>
          </p:cNvPr>
          <p:cNvSpPr/>
          <p:nvPr/>
        </p:nvSpPr>
        <p:spPr>
          <a:xfrm>
            <a:off x="1366843" y="2408541"/>
            <a:ext cx="2790732" cy="2156475"/>
          </a:xfrm>
          <a:prstGeom prst="rightArrow">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lnSpc>
                <a:spcPct val="85000"/>
              </a:lnSpc>
              <a:spcBef>
                <a:spcPts val="100"/>
              </a:spcBef>
              <a:spcAft>
                <a:spcPts val="300"/>
              </a:spcAft>
            </a:pPr>
            <a:r>
              <a:rPr lang="en-AU" b="1" dirty="0">
                <a:solidFill>
                  <a:schemeClr val="accent1"/>
                </a:solidFill>
                <a:latin typeface="+mj-lt"/>
              </a:rPr>
              <a:t>Text</a:t>
            </a:r>
            <a:endParaRPr lang="en-GB" b="1" cap="all" dirty="0">
              <a:solidFill>
                <a:schemeClr val="accent1"/>
              </a:solidFill>
              <a:latin typeface="+mj-lt"/>
            </a:endParaRPr>
          </a:p>
        </p:txBody>
      </p:sp>
      <p:sp>
        <p:nvSpPr>
          <p:cNvPr id="5" name="AutoShape 4">
            <a:extLst>
              <a:ext uri="{FF2B5EF4-FFF2-40B4-BE49-F238E27FC236}">
                <a16:creationId xmlns:a16="http://schemas.microsoft.com/office/drawing/2014/main" id="{CF226542-40B1-4E38-98E1-6D5539AE2B67}"/>
              </a:ext>
              <a:ext uri="{C183D7F6-B498-43B3-948B-1728B52AA6E4}">
                <adec:decorative xmlns:adec="http://schemas.microsoft.com/office/drawing/2017/decorative" val="1"/>
              </a:ext>
            </a:extLst>
          </p:cNvPr>
          <p:cNvSpPr>
            <a:spLocks noChangeArrowheads="1"/>
          </p:cNvSpPr>
          <p:nvPr/>
        </p:nvSpPr>
        <p:spPr bwMode="auto">
          <a:xfrm>
            <a:off x="5505317" y="1238191"/>
            <a:ext cx="4949190" cy="4491366"/>
          </a:xfrm>
          <a:prstGeom prst="rightArrow">
            <a:avLst>
              <a:gd name="adj1" fmla="val 50750"/>
              <a:gd name="adj2" fmla="val 50000"/>
            </a:avLst>
          </a:prstGeom>
          <a:solidFill>
            <a:schemeClr val="accent2"/>
          </a:solidFill>
          <a:ln w="6350">
            <a:noFill/>
            <a:miter lim="800000"/>
            <a:headEnd/>
            <a:tailEnd/>
          </a:ln>
          <a:effectLst/>
        </p:spPr>
        <p:txBody>
          <a:bodyPr wrap="none" lIns="72000" tIns="72000" rIns="72000" bIns="72000" anchor="ctr" anchorCtr="1"/>
          <a:lstStyle/>
          <a:p>
            <a:pPr marL="533400" indent="-177800" algn="l" eaLnBrk="0" hangingPunct="0">
              <a:spcBef>
                <a:spcPts val="100"/>
              </a:spcBef>
              <a:spcAft>
                <a:spcPts val="100"/>
              </a:spcAft>
              <a:buClr>
                <a:schemeClr val="folHlink"/>
              </a:buClr>
            </a:pPr>
            <a:endParaRPr lang="en-US" sz="1400" dirty="0">
              <a:solidFill>
                <a:schemeClr val="bg1"/>
              </a:solidFill>
            </a:endParaRPr>
          </a:p>
        </p:txBody>
      </p:sp>
      <p:sp>
        <p:nvSpPr>
          <p:cNvPr id="6" name="Oval 6">
            <a:extLst>
              <a:ext uri="{FF2B5EF4-FFF2-40B4-BE49-F238E27FC236}">
                <a16:creationId xmlns:a16="http://schemas.microsoft.com/office/drawing/2014/main" id="{2DB6A5B3-90DE-4776-B87B-B82A545B3BA4}"/>
              </a:ext>
            </a:extLst>
          </p:cNvPr>
          <p:cNvSpPr>
            <a:spLocks noChangeArrowheads="1"/>
          </p:cNvSpPr>
          <p:nvPr/>
        </p:nvSpPr>
        <p:spPr bwMode="auto">
          <a:xfrm>
            <a:off x="4374033" y="2341411"/>
            <a:ext cx="2262568" cy="2284929"/>
          </a:xfrm>
          <a:prstGeom prst="ellipse">
            <a:avLst/>
          </a:prstGeom>
          <a:solidFill>
            <a:schemeClr val="accent1"/>
          </a:solidFill>
          <a:ln w="6350">
            <a:noFill/>
            <a:round/>
            <a:headEnd/>
            <a:tailEnd/>
          </a:ln>
          <a:effectLst/>
        </p:spPr>
        <p:txBody>
          <a:bodyPr wrap="none" lIns="72000" tIns="72000" rIns="72000" bIns="72000" anchor="ctr" anchorCtr="1"/>
          <a:lstStyle/>
          <a:p>
            <a:pPr marL="179388" indent="-179388" algn="ctr" eaLnBrk="0" hangingPunct="0">
              <a:lnSpc>
                <a:spcPct val="85000"/>
              </a:lnSpc>
              <a:spcBef>
                <a:spcPts val="100"/>
              </a:spcBef>
              <a:spcAft>
                <a:spcPts val="300"/>
              </a:spcAft>
            </a:pPr>
            <a:r>
              <a:rPr lang="en-US" b="1" dirty="0">
                <a:solidFill>
                  <a:schemeClr val="bg1"/>
                </a:solidFill>
                <a:latin typeface="+mj-lt"/>
              </a:rPr>
              <a:t>Text</a:t>
            </a:r>
            <a:endParaRPr lang="en-US" b="1" cap="all" dirty="0">
              <a:solidFill>
                <a:schemeClr val="bg1"/>
              </a:solidFill>
              <a:latin typeface="+mj-lt"/>
            </a:endParaRPr>
          </a:p>
        </p:txBody>
      </p:sp>
      <p:sp>
        <p:nvSpPr>
          <p:cNvPr id="7" name="Rectangle 7">
            <a:extLst>
              <a:ext uri="{FF2B5EF4-FFF2-40B4-BE49-F238E27FC236}">
                <a16:creationId xmlns:a16="http://schemas.microsoft.com/office/drawing/2014/main" id="{901D4969-3EAF-4DE9-B172-556D595DA559}"/>
              </a:ext>
            </a:extLst>
          </p:cNvPr>
          <p:cNvSpPr>
            <a:spLocks noChangeArrowheads="1"/>
          </p:cNvSpPr>
          <p:nvPr>
            <p:custDataLst>
              <p:tags r:id="rId1"/>
            </p:custDataLst>
          </p:nvPr>
        </p:nvSpPr>
        <p:spPr bwMode="auto">
          <a:xfrm>
            <a:off x="6853059" y="2341411"/>
            <a:ext cx="2773261" cy="2284929"/>
          </a:xfrm>
          <a:prstGeom prst="rect">
            <a:avLst/>
          </a:prstGeom>
          <a:noFill/>
          <a:ln w="6350">
            <a:noFill/>
            <a:miter lim="800000"/>
            <a:headEnd/>
            <a:tailEnd/>
          </a:ln>
          <a:effectLst/>
        </p:spPr>
        <p:txBody>
          <a:bodyPr lIns="180000" tIns="180000" rIns="144000" bIns="180000" anchor="ctr" anchorCtr="0"/>
          <a:lstStyle/>
          <a:p>
            <a:pPr eaLnBrk="0" hangingPunct="0">
              <a:lnSpc>
                <a:spcPct val="85000"/>
              </a:lnSpc>
              <a:spcBef>
                <a:spcPts val="100"/>
              </a:spcBef>
              <a:spcAft>
                <a:spcPts val="300"/>
              </a:spcAft>
            </a:pPr>
            <a:r>
              <a:rPr lang="en-US" b="1" dirty="0">
                <a:solidFill>
                  <a:schemeClr val="bg1"/>
                </a:solidFill>
                <a:latin typeface="+mj-lt"/>
              </a:rPr>
              <a:t>Text</a:t>
            </a:r>
            <a:endParaRPr lang="en-US" b="1" cap="all" dirty="0">
              <a:solidFill>
                <a:schemeClr val="bg1"/>
              </a:solidFill>
              <a:latin typeface="+mj-lt"/>
            </a:endParaRPr>
          </a:p>
          <a:p>
            <a:pPr marL="344488" indent="-165100" algn="l" eaLnBrk="0" hangingPunct="0">
              <a:spcBef>
                <a:spcPts val="100"/>
              </a:spcBef>
              <a:spcAft>
                <a:spcPts val="100"/>
              </a:spcAft>
              <a:buFontTx/>
              <a:buChar char="•"/>
            </a:pPr>
            <a:r>
              <a:rPr lang="en-US" dirty="0">
                <a:solidFill>
                  <a:schemeClr val="bg1"/>
                </a:solidFill>
              </a:rPr>
              <a:t>Text</a:t>
            </a:r>
          </a:p>
          <a:p>
            <a:pPr marL="344488" indent="-165100" algn="l" eaLnBrk="0" hangingPunct="0">
              <a:spcBef>
                <a:spcPts val="100"/>
              </a:spcBef>
              <a:spcAft>
                <a:spcPts val="100"/>
              </a:spcAft>
              <a:buFontTx/>
              <a:buChar char="•"/>
            </a:pPr>
            <a:r>
              <a:rPr lang="en-US" dirty="0">
                <a:solidFill>
                  <a:schemeClr val="bg1"/>
                </a:solidFill>
              </a:rPr>
              <a:t>Text</a:t>
            </a:r>
          </a:p>
          <a:p>
            <a:pPr marL="344488" indent="-165100" algn="l" eaLnBrk="0" hangingPunct="0">
              <a:spcBef>
                <a:spcPts val="100"/>
              </a:spcBef>
              <a:spcAft>
                <a:spcPts val="100"/>
              </a:spcAft>
              <a:buFontTx/>
              <a:buChar char="•"/>
            </a:pPr>
            <a:r>
              <a:rPr lang="en-US" dirty="0">
                <a:solidFill>
                  <a:schemeClr val="bg1"/>
                </a:solidFill>
              </a:rPr>
              <a:t>Text</a:t>
            </a:r>
          </a:p>
        </p:txBody>
      </p:sp>
      <p:sp>
        <p:nvSpPr>
          <p:cNvPr id="9" name="Footer Placeholder 8">
            <a:extLst>
              <a:ext uri="{FF2B5EF4-FFF2-40B4-BE49-F238E27FC236}">
                <a16:creationId xmlns:a16="http://schemas.microsoft.com/office/drawing/2014/main" id="{708643E0-B9E4-49CF-8DDE-12F1516EDE16}"/>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1" name="Slide Number Placeholder 10">
            <a:extLst>
              <a:ext uri="{FF2B5EF4-FFF2-40B4-BE49-F238E27FC236}">
                <a16:creationId xmlns:a16="http://schemas.microsoft.com/office/drawing/2014/main" id="{92B8ABFE-E1D3-40E2-A76C-642EA8EF4CB3}"/>
              </a:ext>
            </a:extLst>
          </p:cNvPr>
          <p:cNvSpPr>
            <a:spLocks noGrp="1"/>
          </p:cNvSpPr>
          <p:nvPr>
            <p:ph type="sldNum" sz="quarter" idx="10"/>
          </p:nvPr>
        </p:nvSpPr>
        <p:spPr/>
        <p:txBody>
          <a:bodyPr/>
          <a:lstStyle/>
          <a:p>
            <a:fld id="{1F90F471-3972-4120-B8B3-0237DE626C35}" type="slidenum">
              <a:rPr lang="en-US" smtClean="0"/>
              <a:pPr/>
              <a:t>144</a:t>
            </a:fld>
            <a:endParaRPr lang="en-US" dirty="0"/>
          </a:p>
        </p:txBody>
      </p:sp>
    </p:spTree>
    <p:extLst>
      <p:ext uri="{BB962C8B-B14F-4D97-AF65-F5344CB8AC3E}">
        <p14:creationId xmlns:p14="http://schemas.microsoft.com/office/powerpoint/2010/main" val="999747266"/>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Causal Chain</a:t>
            </a:r>
          </a:p>
        </p:txBody>
      </p:sp>
      <p:sp>
        <p:nvSpPr>
          <p:cNvPr id="23" name="Text Box 13">
            <a:extLst>
              <a:ext uri="{FF2B5EF4-FFF2-40B4-BE49-F238E27FC236}">
                <a16:creationId xmlns:a16="http://schemas.microsoft.com/office/drawing/2014/main" id="{31EDC6AE-D8C5-43C1-A74A-AB1EE10FADDA}"/>
              </a:ext>
            </a:extLst>
          </p:cNvPr>
          <p:cNvSpPr txBox="1">
            <a:spLocks noChangeArrowheads="1"/>
          </p:cNvSpPr>
          <p:nvPr/>
        </p:nvSpPr>
        <p:spPr bwMode="auto">
          <a:xfrm>
            <a:off x="381000" y="2468900"/>
            <a:ext cx="2723757" cy="336550"/>
          </a:xfrm>
          <a:prstGeom prst="rect">
            <a:avLst/>
          </a:prstGeom>
          <a:noFill/>
          <a:ln w="6350">
            <a:noFill/>
            <a:miter lim="800000"/>
            <a:headEnd/>
            <a:tailEnd/>
          </a:ln>
          <a:effectLst/>
        </p:spPr>
        <p:txBody>
          <a:bodyPr lIns="0" tIns="0" rIns="0" bIns="0" anchor="ctr"/>
          <a:lstStyle/>
          <a:p>
            <a:pPr algn="l" eaLnBrk="0" hangingPunct="0">
              <a:spcBef>
                <a:spcPct val="50000"/>
              </a:spcBef>
            </a:pPr>
            <a:r>
              <a:rPr lang="en-US" b="1" dirty="0">
                <a:solidFill>
                  <a:schemeClr val="accent1"/>
                </a:solidFill>
                <a:latin typeface="+mj-lt"/>
              </a:rPr>
              <a:t>Label </a:t>
            </a:r>
            <a:r>
              <a:rPr lang="en-US" b="1" cap="all" dirty="0">
                <a:solidFill>
                  <a:schemeClr val="accent1"/>
                </a:solidFill>
                <a:latin typeface="+mj-lt"/>
              </a:rPr>
              <a:t>A</a:t>
            </a:r>
          </a:p>
        </p:txBody>
      </p:sp>
      <p:sp>
        <p:nvSpPr>
          <p:cNvPr id="29" name="Oval 28">
            <a:extLst>
              <a:ext uri="{FF2B5EF4-FFF2-40B4-BE49-F238E27FC236}">
                <a16:creationId xmlns:a16="http://schemas.microsoft.com/office/drawing/2014/main" id="{6653C1B0-1213-40D2-B62F-29069D52CDCD}"/>
              </a:ext>
            </a:extLst>
          </p:cNvPr>
          <p:cNvSpPr>
            <a:spLocks noChangeAspect="1" noChangeArrowheads="1"/>
          </p:cNvSpPr>
          <p:nvPr/>
        </p:nvSpPr>
        <p:spPr bwMode="auto">
          <a:xfrm>
            <a:off x="4585894" y="1737175"/>
            <a:ext cx="1800000" cy="1800000"/>
          </a:xfrm>
          <a:prstGeom prst="ellipse">
            <a:avLst/>
          </a:prstGeom>
          <a:solidFill>
            <a:schemeClr val="accent1"/>
          </a:solidFill>
          <a:ln w="6350">
            <a:noFill/>
            <a:round/>
            <a:headEnd/>
            <a:tailEnd/>
          </a:ln>
          <a:effectLst/>
        </p:spPr>
        <p:txBody>
          <a:bodyPr wrap="none" lIns="72000" tIns="72000" rIns="72000" bIns="72000" anchor="ctr"/>
          <a:lstStyle/>
          <a:p>
            <a:pPr algn="ctr" eaLnBrk="0" hangingPunct="0">
              <a:spcBef>
                <a:spcPct val="0"/>
              </a:spcBef>
            </a:pPr>
            <a:r>
              <a:rPr lang="en-US" b="1" dirty="0">
                <a:solidFill>
                  <a:schemeClr val="bg1"/>
                </a:solidFill>
              </a:rPr>
              <a:t>Text</a:t>
            </a:r>
          </a:p>
        </p:txBody>
      </p:sp>
      <p:sp>
        <p:nvSpPr>
          <p:cNvPr id="27" name="Arc 26">
            <a:extLst>
              <a:ext uri="{FF2B5EF4-FFF2-40B4-BE49-F238E27FC236}">
                <a16:creationId xmlns:a16="http://schemas.microsoft.com/office/drawing/2014/main" id="{F1A73F16-A2D7-4639-9999-064A0B9B4650}"/>
              </a:ext>
              <a:ext uri="{C183D7F6-B498-43B3-948B-1728B52AA6E4}">
                <adec:decorative xmlns:adec="http://schemas.microsoft.com/office/drawing/2017/decorative" val="1"/>
              </a:ext>
            </a:extLst>
          </p:cNvPr>
          <p:cNvSpPr/>
          <p:nvPr/>
        </p:nvSpPr>
        <p:spPr>
          <a:xfrm flipH="1">
            <a:off x="4004757" y="2994244"/>
            <a:ext cx="1784221" cy="1784222"/>
          </a:xfrm>
          <a:prstGeom prst="arc">
            <a:avLst>
              <a:gd name="adj1" fmla="val 17459294"/>
              <a:gd name="adj2" fmla="val 19682725"/>
            </a:avLst>
          </a:prstGeom>
          <a:ln w="19050" cap="rnd">
            <a:solidFill>
              <a:schemeClr val="tx2">
                <a:lumMod val="60000"/>
                <a:lumOff val="40000"/>
              </a:schemeClr>
            </a:solidFill>
            <a:prstDash val="sysDot"/>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Oval 30">
            <a:extLst>
              <a:ext uri="{FF2B5EF4-FFF2-40B4-BE49-F238E27FC236}">
                <a16:creationId xmlns:a16="http://schemas.microsoft.com/office/drawing/2014/main" id="{7CD93AEE-6779-4C25-A531-B33BFCEA8EF7}"/>
              </a:ext>
            </a:extLst>
          </p:cNvPr>
          <p:cNvSpPr>
            <a:spLocks noChangeAspect="1" noChangeArrowheads="1"/>
          </p:cNvSpPr>
          <p:nvPr/>
        </p:nvSpPr>
        <p:spPr bwMode="auto">
          <a:xfrm>
            <a:off x="7548168" y="1737175"/>
            <a:ext cx="1800000" cy="1800000"/>
          </a:xfrm>
          <a:prstGeom prst="ellipse">
            <a:avLst/>
          </a:prstGeom>
          <a:solidFill>
            <a:schemeClr val="accent1"/>
          </a:solidFill>
          <a:ln w="6350">
            <a:noFill/>
            <a:round/>
            <a:headEnd/>
            <a:tailEnd/>
          </a:ln>
          <a:effectLst/>
        </p:spPr>
        <p:txBody>
          <a:bodyPr wrap="none" lIns="72000" tIns="72000" rIns="72000" bIns="72000" anchor="ctr"/>
          <a:lstStyle/>
          <a:p>
            <a:pPr algn="ctr" eaLnBrk="0" hangingPunct="0">
              <a:spcBef>
                <a:spcPct val="0"/>
              </a:spcBef>
            </a:pPr>
            <a:r>
              <a:rPr lang="en-US" b="1">
                <a:solidFill>
                  <a:schemeClr val="bg1"/>
                </a:solidFill>
              </a:rPr>
              <a:t>Text</a:t>
            </a:r>
          </a:p>
        </p:txBody>
      </p:sp>
      <p:sp>
        <p:nvSpPr>
          <p:cNvPr id="25" name="Text Box 14">
            <a:extLst>
              <a:ext uri="{FF2B5EF4-FFF2-40B4-BE49-F238E27FC236}">
                <a16:creationId xmlns:a16="http://schemas.microsoft.com/office/drawing/2014/main" id="{EB22EEA0-74D1-4C56-A810-0E03EC14C0DF}"/>
              </a:ext>
            </a:extLst>
          </p:cNvPr>
          <p:cNvSpPr txBox="1">
            <a:spLocks noChangeArrowheads="1"/>
          </p:cNvSpPr>
          <p:nvPr/>
        </p:nvSpPr>
        <p:spPr bwMode="auto">
          <a:xfrm>
            <a:off x="381000" y="4268900"/>
            <a:ext cx="2723757" cy="336550"/>
          </a:xfrm>
          <a:prstGeom prst="rect">
            <a:avLst/>
          </a:prstGeom>
          <a:noFill/>
          <a:ln w="6350">
            <a:noFill/>
            <a:miter lim="800000"/>
            <a:headEnd/>
            <a:tailEnd/>
          </a:ln>
          <a:effectLst/>
        </p:spPr>
        <p:txBody>
          <a:bodyPr lIns="0" tIns="0" rIns="0" bIns="0" anchor="ctr"/>
          <a:lstStyle/>
          <a:p>
            <a:pPr algn="l" eaLnBrk="0" hangingPunct="0">
              <a:spcBef>
                <a:spcPct val="50000"/>
              </a:spcBef>
            </a:pPr>
            <a:r>
              <a:rPr lang="en-US" b="1" dirty="0">
                <a:solidFill>
                  <a:schemeClr val="accent3"/>
                </a:solidFill>
                <a:latin typeface="+mj-lt"/>
              </a:rPr>
              <a:t>Label </a:t>
            </a:r>
            <a:r>
              <a:rPr lang="en-US" b="1" cap="all" dirty="0">
                <a:solidFill>
                  <a:schemeClr val="accent3"/>
                </a:solidFill>
                <a:latin typeface="+mj-lt"/>
              </a:rPr>
              <a:t>B</a:t>
            </a:r>
          </a:p>
        </p:txBody>
      </p:sp>
      <p:sp>
        <p:nvSpPr>
          <p:cNvPr id="17" name="Oval 16">
            <a:extLst>
              <a:ext uri="{FF2B5EF4-FFF2-40B4-BE49-F238E27FC236}">
                <a16:creationId xmlns:a16="http://schemas.microsoft.com/office/drawing/2014/main" id="{18346B80-DF7B-4394-9F5F-A23BC39080CF}"/>
              </a:ext>
            </a:extLst>
          </p:cNvPr>
          <p:cNvSpPr>
            <a:spLocks noChangeAspect="1" noChangeArrowheads="1"/>
          </p:cNvSpPr>
          <p:nvPr/>
        </p:nvSpPr>
        <p:spPr bwMode="auto">
          <a:xfrm>
            <a:off x="3104757" y="3537175"/>
            <a:ext cx="1800000" cy="1800000"/>
          </a:xfrm>
          <a:prstGeom prst="ellipse">
            <a:avLst/>
          </a:prstGeom>
          <a:solidFill>
            <a:schemeClr val="accent3"/>
          </a:solidFill>
          <a:ln w="6350">
            <a:noFill/>
            <a:round/>
            <a:headEnd/>
            <a:tailEnd/>
          </a:ln>
          <a:effectLst/>
        </p:spPr>
        <p:txBody>
          <a:bodyPr wrap="none" lIns="72000" tIns="72000" rIns="72000" bIns="72000" anchor="ctr"/>
          <a:lstStyle/>
          <a:p>
            <a:pPr algn="ctr" eaLnBrk="0" hangingPunct="0">
              <a:spcBef>
                <a:spcPct val="0"/>
              </a:spcBef>
            </a:pPr>
            <a:r>
              <a:rPr lang="en-US" b="1">
                <a:solidFill>
                  <a:schemeClr val="bg1"/>
                </a:solidFill>
              </a:rPr>
              <a:t>Text</a:t>
            </a:r>
          </a:p>
        </p:txBody>
      </p:sp>
      <p:sp>
        <p:nvSpPr>
          <p:cNvPr id="33" name="Arc 32">
            <a:extLst>
              <a:ext uri="{FF2B5EF4-FFF2-40B4-BE49-F238E27FC236}">
                <a16:creationId xmlns:a16="http://schemas.microsoft.com/office/drawing/2014/main" id="{07A9FC13-83B6-4255-8C4C-F3860AD810E6}"/>
              </a:ext>
              <a:ext uri="{C183D7F6-B498-43B3-948B-1728B52AA6E4}">
                <adec:decorative xmlns:adec="http://schemas.microsoft.com/office/drawing/2017/decorative" val="1"/>
              </a:ext>
            </a:extLst>
          </p:cNvPr>
          <p:cNvSpPr/>
          <p:nvPr/>
        </p:nvSpPr>
        <p:spPr>
          <a:xfrm>
            <a:off x="5174592" y="2994244"/>
            <a:ext cx="1784221" cy="1784222"/>
          </a:xfrm>
          <a:prstGeom prst="arc">
            <a:avLst>
              <a:gd name="adj1" fmla="val 17459294"/>
              <a:gd name="adj2" fmla="val 19682725"/>
            </a:avLst>
          </a:prstGeom>
          <a:ln w="19050" cap="rnd">
            <a:solidFill>
              <a:schemeClr val="tx2">
                <a:lumMod val="60000"/>
                <a:lumOff val="40000"/>
              </a:schemeClr>
            </a:solidFill>
            <a:prstDash val="sysDot"/>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Oval 18">
            <a:extLst>
              <a:ext uri="{FF2B5EF4-FFF2-40B4-BE49-F238E27FC236}">
                <a16:creationId xmlns:a16="http://schemas.microsoft.com/office/drawing/2014/main" id="{BE4A8B1D-7F91-451B-B485-D79E635096E4}"/>
              </a:ext>
            </a:extLst>
          </p:cNvPr>
          <p:cNvSpPr>
            <a:spLocks noChangeAspect="1" noChangeArrowheads="1"/>
          </p:cNvSpPr>
          <p:nvPr/>
        </p:nvSpPr>
        <p:spPr bwMode="auto">
          <a:xfrm>
            <a:off x="6067031" y="3537175"/>
            <a:ext cx="1800000" cy="1800000"/>
          </a:xfrm>
          <a:prstGeom prst="ellipse">
            <a:avLst/>
          </a:prstGeom>
          <a:solidFill>
            <a:schemeClr val="accent3"/>
          </a:solidFill>
          <a:ln w="6350">
            <a:noFill/>
            <a:round/>
            <a:headEnd/>
            <a:tailEnd/>
          </a:ln>
          <a:effectLst/>
        </p:spPr>
        <p:txBody>
          <a:bodyPr wrap="none" lIns="72000" tIns="72000" rIns="72000" bIns="72000" anchor="ctr"/>
          <a:lstStyle/>
          <a:p>
            <a:pPr algn="ctr" eaLnBrk="0" hangingPunct="0">
              <a:spcBef>
                <a:spcPct val="0"/>
              </a:spcBef>
            </a:pPr>
            <a:r>
              <a:rPr lang="en-US" b="1">
                <a:solidFill>
                  <a:schemeClr val="bg1"/>
                </a:solidFill>
              </a:rPr>
              <a:t>Text</a:t>
            </a:r>
          </a:p>
        </p:txBody>
      </p:sp>
      <p:sp>
        <p:nvSpPr>
          <p:cNvPr id="35" name="Arc 34">
            <a:extLst>
              <a:ext uri="{FF2B5EF4-FFF2-40B4-BE49-F238E27FC236}">
                <a16:creationId xmlns:a16="http://schemas.microsoft.com/office/drawing/2014/main" id="{C21FD328-9E0F-4D7A-AAAD-F8D5943BE8B8}"/>
              </a:ext>
              <a:ext uri="{C183D7F6-B498-43B3-948B-1728B52AA6E4}">
                <adec:decorative xmlns:adec="http://schemas.microsoft.com/office/drawing/2017/decorative" val="1"/>
              </a:ext>
            </a:extLst>
          </p:cNvPr>
          <p:cNvSpPr/>
          <p:nvPr/>
        </p:nvSpPr>
        <p:spPr>
          <a:xfrm flipH="1">
            <a:off x="6950746" y="2994244"/>
            <a:ext cx="1784221" cy="1784222"/>
          </a:xfrm>
          <a:prstGeom prst="arc">
            <a:avLst>
              <a:gd name="adj1" fmla="val 17459294"/>
              <a:gd name="adj2" fmla="val 19682725"/>
            </a:avLst>
          </a:prstGeom>
          <a:ln w="19050" cap="rnd">
            <a:solidFill>
              <a:schemeClr val="tx2">
                <a:lumMod val="60000"/>
                <a:lumOff val="40000"/>
              </a:schemeClr>
            </a:solidFill>
            <a:prstDash val="sysDot"/>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Oval 20">
            <a:extLst>
              <a:ext uri="{FF2B5EF4-FFF2-40B4-BE49-F238E27FC236}">
                <a16:creationId xmlns:a16="http://schemas.microsoft.com/office/drawing/2014/main" id="{464CAECE-00C6-4581-8B8F-28E3A329AAD7}"/>
              </a:ext>
            </a:extLst>
          </p:cNvPr>
          <p:cNvSpPr>
            <a:spLocks noChangeAspect="1" noChangeArrowheads="1"/>
          </p:cNvSpPr>
          <p:nvPr/>
        </p:nvSpPr>
        <p:spPr bwMode="auto">
          <a:xfrm>
            <a:off x="9029307" y="3537175"/>
            <a:ext cx="1800000" cy="1800000"/>
          </a:xfrm>
          <a:prstGeom prst="ellipse">
            <a:avLst/>
          </a:prstGeom>
          <a:solidFill>
            <a:schemeClr val="accent3"/>
          </a:solidFill>
          <a:ln w="6350">
            <a:noFill/>
            <a:round/>
            <a:headEnd/>
            <a:tailEnd/>
          </a:ln>
          <a:effectLst/>
        </p:spPr>
        <p:txBody>
          <a:bodyPr wrap="none" lIns="72000" tIns="72000" rIns="72000" bIns="72000" anchor="ctr"/>
          <a:lstStyle/>
          <a:p>
            <a:pPr algn="ctr" eaLnBrk="0" hangingPunct="0">
              <a:spcBef>
                <a:spcPct val="0"/>
              </a:spcBef>
            </a:pPr>
            <a:r>
              <a:rPr lang="en-US" b="1">
                <a:solidFill>
                  <a:schemeClr val="bg1"/>
                </a:solidFill>
              </a:rPr>
              <a:t>Text</a:t>
            </a:r>
          </a:p>
        </p:txBody>
      </p:sp>
      <p:sp>
        <p:nvSpPr>
          <p:cNvPr id="37" name="Arc 36">
            <a:extLst>
              <a:ext uri="{FF2B5EF4-FFF2-40B4-BE49-F238E27FC236}">
                <a16:creationId xmlns:a16="http://schemas.microsoft.com/office/drawing/2014/main" id="{19FA1C03-EBCA-4D2D-B3FB-E64E7C4DE86C}"/>
              </a:ext>
              <a:ext uri="{C183D7F6-B498-43B3-948B-1728B52AA6E4}">
                <adec:decorative xmlns:adec="http://schemas.microsoft.com/office/drawing/2017/decorative" val="1"/>
              </a:ext>
            </a:extLst>
          </p:cNvPr>
          <p:cNvSpPr/>
          <p:nvPr/>
        </p:nvSpPr>
        <p:spPr>
          <a:xfrm>
            <a:off x="8120581" y="2994244"/>
            <a:ext cx="1784221" cy="1784222"/>
          </a:xfrm>
          <a:prstGeom prst="arc">
            <a:avLst>
              <a:gd name="adj1" fmla="val 17459294"/>
              <a:gd name="adj2" fmla="val 19682725"/>
            </a:avLst>
          </a:prstGeom>
          <a:ln w="19050" cap="rnd">
            <a:solidFill>
              <a:schemeClr val="tx2">
                <a:lumMod val="60000"/>
                <a:lumOff val="40000"/>
              </a:schemeClr>
            </a:solidFill>
            <a:prstDash val="sysDot"/>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7B5190C9-FFA6-4477-933E-6D842D391788}"/>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385A38AD-1247-432E-B4EB-0252804E4CF3}"/>
              </a:ext>
            </a:extLst>
          </p:cNvPr>
          <p:cNvSpPr>
            <a:spLocks noGrp="1"/>
          </p:cNvSpPr>
          <p:nvPr>
            <p:ph type="sldNum" sz="quarter" idx="10"/>
          </p:nvPr>
        </p:nvSpPr>
        <p:spPr/>
        <p:txBody>
          <a:bodyPr/>
          <a:lstStyle/>
          <a:p>
            <a:fld id="{1F90F471-3972-4120-B8B3-0237DE626C35}" type="slidenum">
              <a:rPr lang="en-US" smtClean="0"/>
              <a:pPr/>
              <a:t>145</a:t>
            </a:fld>
            <a:endParaRPr lang="en-US" dirty="0"/>
          </a:p>
        </p:txBody>
      </p:sp>
    </p:spTree>
    <p:extLst>
      <p:ext uri="{BB962C8B-B14F-4D97-AF65-F5344CB8AC3E}">
        <p14:creationId xmlns:p14="http://schemas.microsoft.com/office/powerpoint/2010/main" val="341066720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de-DE" dirty="0"/>
              <a:t>Cause and Effect</a:t>
            </a:r>
            <a:endParaRPr lang="en-US" dirty="0"/>
          </a:p>
        </p:txBody>
      </p:sp>
      <p:grpSp>
        <p:nvGrpSpPr>
          <p:cNvPr id="19" name="Group 18" descr="Add text and order accordingly">
            <a:extLst>
              <a:ext uri="{FF2B5EF4-FFF2-40B4-BE49-F238E27FC236}">
                <a16:creationId xmlns:a16="http://schemas.microsoft.com/office/drawing/2014/main" id="{BB3BCA9C-72E5-4F25-A6FB-3A792DCF3B64}"/>
              </a:ext>
            </a:extLst>
          </p:cNvPr>
          <p:cNvGrpSpPr/>
          <p:nvPr/>
        </p:nvGrpSpPr>
        <p:grpSpPr>
          <a:xfrm>
            <a:off x="1927957" y="1323139"/>
            <a:ext cx="8346343" cy="4245237"/>
            <a:chOff x="996593" y="1116465"/>
            <a:chExt cx="9588858" cy="4877223"/>
          </a:xfrm>
        </p:grpSpPr>
        <p:sp>
          <p:nvSpPr>
            <p:cNvPr id="20" name="Arc 37">
              <a:extLst>
                <a:ext uri="{FF2B5EF4-FFF2-40B4-BE49-F238E27FC236}">
                  <a16:creationId xmlns:a16="http://schemas.microsoft.com/office/drawing/2014/main" id="{67DF407E-FB5D-4A63-BDBA-948043E9EF58}"/>
                </a:ext>
              </a:extLst>
            </p:cNvPr>
            <p:cNvSpPr>
              <a:spLocks/>
            </p:cNvSpPr>
            <p:nvPr/>
          </p:nvSpPr>
          <p:spPr bwMode="auto">
            <a:xfrm flipH="1" flipV="1">
              <a:off x="1758994" y="3165647"/>
              <a:ext cx="851352" cy="1359980"/>
            </a:xfrm>
            <a:custGeom>
              <a:avLst/>
              <a:gdLst>
                <a:gd name="T0" fmla="*/ 0 w 14781"/>
                <a:gd name="T1" fmla="*/ 0 h 21600"/>
                <a:gd name="T2" fmla="*/ 390 w 14781"/>
                <a:gd name="T3" fmla="*/ 169 h 21600"/>
                <a:gd name="T4" fmla="*/ 0 w 14781"/>
                <a:gd name="T5" fmla="*/ 623 h 21600"/>
                <a:gd name="T6" fmla="*/ 0 60000 65536"/>
                <a:gd name="T7" fmla="*/ 0 60000 65536"/>
                <a:gd name="T8" fmla="*/ 0 60000 65536"/>
                <a:gd name="T9" fmla="*/ 0 w 14781"/>
                <a:gd name="T10" fmla="*/ 0 h 21600"/>
                <a:gd name="T11" fmla="*/ 14781 w 14781"/>
                <a:gd name="T12" fmla="*/ 21600 h 21600"/>
              </a:gdLst>
              <a:ahLst/>
              <a:cxnLst>
                <a:cxn ang="T6">
                  <a:pos x="T0" y="T1"/>
                </a:cxn>
                <a:cxn ang="T7">
                  <a:pos x="T2" y="T3"/>
                </a:cxn>
                <a:cxn ang="T8">
                  <a:pos x="T4" y="T5"/>
                </a:cxn>
              </a:cxnLst>
              <a:rect l="T9" t="T10" r="T11" b="T12"/>
              <a:pathLst>
                <a:path w="14781" h="21600" fill="none" extrusionOk="0">
                  <a:moveTo>
                    <a:pt x="-1" y="0"/>
                  </a:moveTo>
                  <a:cubicBezTo>
                    <a:pt x="5491" y="0"/>
                    <a:pt x="10776" y="2091"/>
                    <a:pt x="14781" y="5849"/>
                  </a:cubicBezTo>
                </a:path>
                <a:path w="14781" h="21600" stroke="0" extrusionOk="0">
                  <a:moveTo>
                    <a:pt x="-1" y="0"/>
                  </a:moveTo>
                  <a:cubicBezTo>
                    <a:pt x="5491" y="0"/>
                    <a:pt x="10776" y="2091"/>
                    <a:pt x="14781" y="5849"/>
                  </a:cubicBezTo>
                  <a:lnTo>
                    <a:pt x="0" y="21600"/>
                  </a:lnTo>
                  <a:close/>
                </a:path>
              </a:pathLst>
            </a:custGeom>
            <a:noFill/>
            <a:ln w="12700">
              <a:solidFill>
                <a:schemeClr val="tx2">
                  <a:lumMod val="60000"/>
                  <a:lumOff val="40000"/>
                </a:schemeClr>
              </a:solidFill>
              <a:round/>
              <a:headEnd type="triangle" w="med" len="med"/>
              <a:tailEnd/>
            </a:ln>
          </p:spPr>
          <p:txBody>
            <a:bodyPr wrap="none" anchor="ctr"/>
            <a:lstStyle/>
            <a:p>
              <a:endParaRPr lang="en-US"/>
            </a:p>
          </p:txBody>
        </p:sp>
        <p:sp>
          <p:nvSpPr>
            <p:cNvPr id="21" name="Arc 39">
              <a:extLst>
                <a:ext uri="{FF2B5EF4-FFF2-40B4-BE49-F238E27FC236}">
                  <a16:creationId xmlns:a16="http://schemas.microsoft.com/office/drawing/2014/main" id="{C96CDC42-1BFE-449B-BD4F-AE3B70548806}"/>
                </a:ext>
              </a:extLst>
            </p:cNvPr>
            <p:cNvSpPr>
              <a:spLocks/>
            </p:cNvSpPr>
            <p:nvPr/>
          </p:nvSpPr>
          <p:spPr bwMode="auto">
            <a:xfrm>
              <a:off x="6101790" y="1116465"/>
              <a:ext cx="853535" cy="1364346"/>
            </a:xfrm>
            <a:custGeom>
              <a:avLst/>
              <a:gdLst>
                <a:gd name="T0" fmla="*/ 0 w 14781"/>
                <a:gd name="T1" fmla="*/ 0 h 21600"/>
                <a:gd name="T2" fmla="*/ 391 w 14781"/>
                <a:gd name="T3" fmla="*/ 169 h 21600"/>
                <a:gd name="T4" fmla="*/ 0 w 14781"/>
                <a:gd name="T5" fmla="*/ 625 h 21600"/>
                <a:gd name="T6" fmla="*/ 0 60000 65536"/>
                <a:gd name="T7" fmla="*/ 0 60000 65536"/>
                <a:gd name="T8" fmla="*/ 0 60000 65536"/>
                <a:gd name="T9" fmla="*/ 0 w 14781"/>
                <a:gd name="T10" fmla="*/ 0 h 21600"/>
                <a:gd name="T11" fmla="*/ 14781 w 14781"/>
                <a:gd name="T12" fmla="*/ 21600 h 21600"/>
              </a:gdLst>
              <a:ahLst/>
              <a:cxnLst>
                <a:cxn ang="T6">
                  <a:pos x="T0" y="T1"/>
                </a:cxn>
                <a:cxn ang="T7">
                  <a:pos x="T2" y="T3"/>
                </a:cxn>
                <a:cxn ang="T8">
                  <a:pos x="T4" y="T5"/>
                </a:cxn>
              </a:cxnLst>
              <a:rect l="T9" t="T10" r="T11" b="T12"/>
              <a:pathLst>
                <a:path w="14781" h="21600" fill="none" extrusionOk="0">
                  <a:moveTo>
                    <a:pt x="-1" y="0"/>
                  </a:moveTo>
                  <a:cubicBezTo>
                    <a:pt x="5491" y="0"/>
                    <a:pt x="10776" y="2091"/>
                    <a:pt x="14781" y="5849"/>
                  </a:cubicBezTo>
                </a:path>
                <a:path w="14781" h="21600" stroke="0" extrusionOk="0">
                  <a:moveTo>
                    <a:pt x="-1" y="0"/>
                  </a:moveTo>
                  <a:cubicBezTo>
                    <a:pt x="5491" y="0"/>
                    <a:pt x="10776" y="2091"/>
                    <a:pt x="14781" y="5849"/>
                  </a:cubicBezTo>
                  <a:lnTo>
                    <a:pt x="0" y="21600"/>
                  </a:lnTo>
                  <a:close/>
                </a:path>
              </a:pathLst>
            </a:custGeom>
            <a:noFill/>
            <a:ln w="12700">
              <a:solidFill>
                <a:schemeClr val="tx2">
                  <a:lumMod val="60000"/>
                  <a:lumOff val="40000"/>
                </a:schemeClr>
              </a:solidFill>
              <a:round/>
              <a:headEnd type="triangle" w="med" len="med"/>
              <a:tailEnd/>
            </a:ln>
          </p:spPr>
          <p:txBody>
            <a:bodyPr wrap="none" anchor="ctr"/>
            <a:lstStyle/>
            <a:p>
              <a:endParaRPr lang="en-US"/>
            </a:p>
          </p:txBody>
        </p:sp>
        <p:sp>
          <p:nvSpPr>
            <p:cNvPr id="22" name="Arc 40">
              <a:extLst>
                <a:ext uri="{FF2B5EF4-FFF2-40B4-BE49-F238E27FC236}">
                  <a16:creationId xmlns:a16="http://schemas.microsoft.com/office/drawing/2014/main" id="{0B464F9F-2C12-4112-9977-6C5DAA44B04A}"/>
                </a:ext>
              </a:extLst>
            </p:cNvPr>
            <p:cNvSpPr>
              <a:spLocks/>
            </p:cNvSpPr>
            <p:nvPr/>
          </p:nvSpPr>
          <p:spPr bwMode="auto">
            <a:xfrm flipH="1" flipV="1">
              <a:off x="6806225" y="3791088"/>
              <a:ext cx="1456030" cy="2202600"/>
            </a:xfrm>
            <a:custGeom>
              <a:avLst/>
              <a:gdLst>
                <a:gd name="T0" fmla="*/ 0 w 16440"/>
                <a:gd name="T1" fmla="*/ 0 h 21600"/>
                <a:gd name="T2" fmla="*/ 667 w 16440"/>
                <a:gd name="T3" fmla="*/ 355 h 21600"/>
                <a:gd name="T4" fmla="*/ 0 w 16440"/>
                <a:gd name="T5" fmla="*/ 1009 h 21600"/>
                <a:gd name="T6" fmla="*/ 0 60000 65536"/>
                <a:gd name="T7" fmla="*/ 0 60000 65536"/>
                <a:gd name="T8" fmla="*/ 0 60000 65536"/>
                <a:gd name="T9" fmla="*/ 0 w 16440"/>
                <a:gd name="T10" fmla="*/ 0 h 21600"/>
                <a:gd name="T11" fmla="*/ 16440 w 16440"/>
                <a:gd name="T12" fmla="*/ 21600 h 21600"/>
              </a:gdLst>
              <a:ahLst/>
              <a:cxnLst>
                <a:cxn ang="T6">
                  <a:pos x="T0" y="T1"/>
                </a:cxn>
                <a:cxn ang="T7">
                  <a:pos x="T2" y="T3"/>
                </a:cxn>
                <a:cxn ang="T8">
                  <a:pos x="T4" y="T5"/>
                </a:cxn>
              </a:cxnLst>
              <a:rect l="T9" t="T10" r="T11" b="T12"/>
              <a:pathLst>
                <a:path w="16440" h="21600" fill="none" extrusionOk="0">
                  <a:moveTo>
                    <a:pt x="-1" y="0"/>
                  </a:moveTo>
                  <a:cubicBezTo>
                    <a:pt x="6327" y="0"/>
                    <a:pt x="12336" y="2774"/>
                    <a:pt x="16440" y="7589"/>
                  </a:cubicBezTo>
                </a:path>
                <a:path w="16440" h="21600" stroke="0" extrusionOk="0">
                  <a:moveTo>
                    <a:pt x="-1" y="0"/>
                  </a:moveTo>
                  <a:cubicBezTo>
                    <a:pt x="6327" y="0"/>
                    <a:pt x="12336" y="2774"/>
                    <a:pt x="16440" y="7589"/>
                  </a:cubicBezTo>
                  <a:lnTo>
                    <a:pt x="0" y="21600"/>
                  </a:lnTo>
                  <a:close/>
                </a:path>
              </a:pathLst>
            </a:custGeom>
            <a:noFill/>
            <a:ln w="12700">
              <a:solidFill>
                <a:schemeClr val="tx2">
                  <a:lumMod val="60000"/>
                  <a:lumOff val="40000"/>
                </a:schemeClr>
              </a:solidFill>
              <a:round/>
              <a:headEnd/>
              <a:tailEnd type="triangle" w="med" len="med"/>
            </a:ln>
          </p:spPr>
          <p:txBody>
            <a:bodyPr wrap="none" anchor="ctr"/>
            <a:lstStyle/>
            <a:p>
              <a:endParaRPr lang="en-US"/>
            </a:p>
          </p:txBody>
        </p:sp>
        <p:sp>
          <p:nvSpPr>
            <p:cNvPr id="23" name="Freeform 5">
              <a:extLst>
                <a:ext uri="{FF2B5EF4-FFF2-40B4-BE49-F238E27FC236}">
                  <a16:creationId xmlns:a16="http://schemas.microsoft.com/office/drawing/2014/main" id="{5AFC0CDA-6DFC-4F53-B8A9-5501046ED503}"/>
                </a:ext>
              </a:extLst>
            </p:cNvPr>
            <p:cNvSpPr>
              <a:spLocks noEditPoints="1"/>
            </p:cNvSpPr>
            <p:nvPr/>
          </p:nvSpPr>
          <p:spPr bwMode="auto">
            <a:xfrm>
              <a:off x="6764338" y="1798638"/>
              <a:ext cx="3821113" cy="3835401"/>
            </a:xfrm>
            <a:custGeom>
              <a:avLst/>
              <a:gdLst>
                <a:gd name="T0" fmla="*/ 335 w 342"/>
                <a:gd name="T1" fmla="*/ 143 h 343"/>
                <a:gd name="T2" fmla="*/ 294 w 342"/>
                <a:gd name="T3" fmla="*/ 143 h 343"/>
                <a:gd name="T4" fmla="*/ 283 w 342"/>
                <a:gd name="T5" fmla="*/ 110 h 343"/>
                <a:gd name="T6" fmla="*/ 312 w 342"/>
                <a:gd name="T7" fmla="*/ 81 h 343"/>
                <a:gd name="T8" fmla="*/ 314 w 342"/>
                <a:gd name="T9" fmla="*/ 76 h 343"/>
                <a:gd name="T10" fmla="*/ 312 w 342"/>
                <a:gd name="T11" fmla="*/ 70 h 343"/>
                <a:gd name="T12" fmla="*/ 272 w 342"/>
                <a:gd name="T13" fmla="*/ 30 h 343"/>
                <a:gd name="T14" fmla="*/ 262 w 342"/>
                <a:gd name="T15" fmla="*/ 30 h 343"/>
                <a:gd name="T16" fmla="*/ 233 w 342"/>
                <a:gd name="T17" fmla="*/ 59 h 343"/>
                <a:gd name="T18" fmla="*/ 200 w 342"/>
                <a:gd name="T19" fmla="*/ 48 h 343"/>
                <a:gd name="T20" fmla="*/ 200 w 342"/>
                <a:gd name="T21" fmla="*/ 7 h 343"/>
                <a:gd name="T22" fmla="*/ 192 w 342"/>
                <a:gd name="T23" fmla="*/ 0 h 343"/>
                <a:gd name="T24" fmla="*/ 150 w 342"/>
                <a:gd name="T25" fmla="*/ 0 h 343"/>
                <a:gd name="T26" fmla="*/ 142 w 342"/>
                <a:gd name="T27" fmla="*/ 7 h 343"/>
                <a:gd name="T28" fmla="*/ 142 w 342"/>
                <a:gd name="T29" fmla="*/ 48 h 343"/>
                <a:gd name="T30" fmla="*/ 109 w 342"/>
                <a:gd name="T31" fmla="*/ 59 h 343"/>
                <a:gd name="T32" fmla="*/ 80 w 342"/>
                <a:gd name="T33" fmla="*/ 30 h 343"/>
                <a:gd name="T34" fmla="*/ 70 w 342"/>
                <a:gd name="T35" fmla="*/ 30 h 343"/>
                <a:gd name="T36" fmla="*/ 30 w 342"/>
                <a:gd name="T37" fmla="*/ 70 h 343"/>
                <a:gd name="T38" fmla="*/ 28 w 342"/>
                <a:gd name="T39" fmla="*/ 76 h 343"/>
                <a:gd name="T40" fmla="*/ 30 w 342"/>
                <a:gd name="T41" fmla="*/ 81 h 343"/>
                <a:gd name="T42" fmla="*/ 59 w 342"/>
                <a:gd name="T43" fmla="*/ 110 h 343"/>
                <a:gd name="T44" fmla="*/ 48 w 342"/>
                <a:gd name="T45" fmla="*/ 143 h 343"/>
                <a:gd name="T46" fmla="*/ 7 w 342"/>
                <a:gd name="T47" fmla="*/ 143 h 343"/>
                <a:gd name="T48" fmla="*/ 0 w 342"/>
                <a:gd name="T49" fmla="*/ 150 h 343"/>
                <a:gd name="T50" fmla="*/ 0 w 342"/>
                <a:gd name="T51" fmla="*/ 193 h 343"/>
                <a:gd name="T52" fmla="*/ 7 w 342"/>
                <a:gd name="T53" fmla="*/ 200 h 343"/>
                <a:gd name="T54" fmla="*/ 48 w 342"/>
                <a:gd name="T55" fmla="*/ 200 h 343"/>
                <a:gd name="T56" fmla="*/ 59 w 342"/>
                <a:gd name="T57" fmla="*/ 233 h 343"/>
                <a:gd name="T58" fmla="*/ 30 w 342"/>
                <a:gd name="T59" fmla="*/ 262 h 343"/>
                <a:gd name="T60" fmla="*/ 28 w 342"/>
                <a:gd name="T61" fmla="*/ 267 h 343"/>
                <a:gd name="T62" fmla="*/ 30 w 342"/>
                <a:gd name="T63" fmla="*/ 272 h 343"/>
                <a:gd name="T64" fmla="*/ 70 w 342"/>
                <a:gd name="T65" fmla="*/ 313 h 343"/>
                <a:gd name="T66" fmla="*/ 80 w 342"/>
                <a:gd name="T67" fmla="*/ 313 h 343"/>
                <a:gd name="T68" fmla="*/ 109 w 342"/>
                <a:gd name="T69" fmla="*/ 284 h 343"/>
                <a:gd name="T70" fmla="*/ 142 w 342"/>
                <a:gd name="T71" fmla="*/ 295 h 343"/>
                <a:gd name="T72" fmla="*/ 142 w 342"/>
                <a:gd name="T73" fmla="*/ 336 h 343"/>
                <a:gd name="T74" fmla="*/ 150 w 342"/>
                <a:gd name="T75" fmla="*/ 343 h 343"/>
                <a:gd name="T76" fmla="*/ 192 w 342"/>
                <a:gd name="T77" fmla="*/ 343 h 343"/>
                <a:gd name="T78" fmla="*/ 200 w 342"/>
                <a:gd name="T79" fmla="*/ 336 h 343"/>
                <a:gd name="T80" fmla="*/ 200 w 342"/>
                <a:gd name="T81" fmla="*/ 295 h 343"/>
                <a:gd name="T82" fmla="*/ 233 w 342"/>
                <a:gd name="T83" fmla="*/ 284 h 343"/>
                <a:gd name="T84" fmla="*/ 262 w 342"/>
                <a:gd name="T85" fmla="*/ 313 h 343"/>
                <a:gd name="T86" fmla="*/ 272 w 342"/>
                <a:gd name="T87" fmla="*/ 313 h 343"/>
                <a:gd name="T88" fmla="*/ 312 w 342"/>
                <a:gd name="T89" fmla="*/ 272 h 343"/>
                <a:gd name="T90" fmla="*/ 312 w 342"/>
                <a:gd name="T91" fmla="*/ 262 h 343"/>
                <a:gd name="T92" fmla="*/ 283 w 342"/>
                <a:gd name="T93" fmla="*/ 233 h 343"/>
                <a:gd name="T94" fmla="*/ 294 w 342"/>
                <a:gd name="T95" fmla="*/ 200 h 343"/>
                <a:gd name="T96" fmla="*/ 335 w 342"/>
                <a:gd name="T97" fmla="*/ 200 h 343"/>
                <a:gd name="T98" fmla="*/ 342 w 342"/>
                <a:gd name="T99" fmla="*/ 193 h 343"/>
                <a:gd name="T100" fmla="*/ 342 w 342"/>
                <a:gd name="T101" fmla="*/ 150 h 343"/>
                <a:gd name="T102" fmla="*/ 335 w 342"/>
                <a:gd name="T103" fmla="*/ 143 h 343"/>
                <a:gd name="T104" fmla="*/ 171 w 342"/>
                <a:gd name="T105" fmla="*/ 243 h 343"/>
                <a:gd name="T106" fmla="*/ 100 w 342"/>
                <a:gd name="T107" fmla="*/ 171 h 343"/>
                <a:gd name="T108" fmla="*/ 171 w 342"/>
                <a:gd name="T109" fmla="*/ 100 h 343"/>
                <a:gd name="T110" fmla="*/ 242 w 342"/>
                <a:gd name="T111" fmla="*/ 171 h 343"/>
                <a:gd name="T112" fmla="*/ 171 w 342"/>
                <a:gd name="T113" fmla="*/ 2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2" h="343">
                  <a:moveTo>
                    <a:pt x="335" y="143"/>
                  </a:moveTo>
                  <a:cubicBezTo>
                    <a:pt x="294" y="143"/>
                    <a:pt x="294" y="143"/>
                    <a:pt x="294" y="143"/>
                  </a:cubicBezTo>
                  <a:cubicBezTo>
                    <a:pt x="291" y="132"/>
                    <a:pt x="288" y="119"/>
                    <a:pt x="283" y="110"/>
                  </a:cubicBezTo>
                  <a:cubicBezTo>
                    <a:pt x="312" y="81"/>
                    <a:pt x="312" y="81"/>
                    <a:pt x="312" y="81"/>
                  </a:cubicBezTo>
                  <a:cubicBezTo>
                    <a:pt x="314" y="79"/>
                    <a:pt x="314" y="77"/>
                    <a:pt x="314" y="76"/>
                  </a:cubicBezTo>
                  <a:cubicBezTo>
                    <a:pt x="314" y="74"/>
                    <a:pt x="314" y="72"/>
                    <a:pt x="312" y="70"/>
                  </a:cubicBezTo>
                  <a:cubicBezTo>
                    <a:pt x="272" y="30"/>
                    <a:pt x="272" y="30"/>
                    <a:pt x="272" y="30"/>
                  </a:cubicBezTo>
                  <a:cubicBezTo>
                    <a:pt x="269" y="27"/>
                    <a:pt x="265" y="27"/>
                    <a:pt x="262" y="30"/>
                  </a:cubicBezTo>
                  <a:cubicBezTo>
                    <a:pt x="233" y="59"/>
                    <a:pt x="233" y="59"/>
                    <a:pt x="233" y="59"/>
                  </a:cubicBezTo>
                  <a:cubicBezTo>
                    <a:pt x="223" y="54"/>
                    <a:pt x="211" y="51"/>
                    <a:pt x="200" y="48"/>
                  </a:cubicBezTo>
                  <a:cubicBezTo>
                    <a:pt x="200" y="7"/>
                    <a:pt x="200" y="7"/>
                    <a:pt x="200" y="7"/>
                  </a:cubicBezTo>
                  <a:cubicBezTo>
                    <a:pt x="200" y="3"/>
                    <a:pt x="196" y="0"/>
                    <a:pt x="192" y="0"/>
                  </a:cubicBezTo>
                  <a:cubicBezTo>
                    <a:pt x="150" y="0"/>
                    <a:pt x="150" y="0"/>
                    <a:pt x="150" y="0"/>
                  </a:cubicBezTo>
                  <a:cubicBezTo>
                    <a:pt x="146" y="0"/>
                    <a:pt x="142" y="3"/>
                    <a:pt x="142" y="7"/>
                  </a:cubicBezTo>
                  <a:cubicBezTo>
                    <a:pt x="142" y="48"/>
                    <a:pt x="142" y="48"/>
                    <a:pt x="142" y="48"/>
                  </a:cubicBezTo>
                  <a:cubicBezTo>
                    <a:pt x="131" y="51"/>
                    <a:pt x="119" y="54"/>
                    <a:pt x="109" y="59"/>
                  </a:cubicBezTo>
                  <a:cubicBezTo>
                    <a:pt x="80" y="30"/>
                    <a:pt x="80" y="30"/>
                    <a:pt x="80" y="30"/>
                  </a:cubicBezTo>
                  <a:cubicBezTo>
                    <a:pt x="77" y="27"/>
                    <a:pt x="73" y="27"/>
                    <a:pt x="70" y="30"/>
                  </a:cubicBezTo>
                  <a:cubicBezTo>
                    <a:pt x="30" y="70"/>
                    <a:pt x="30" y="70"/>
                    <a:pt x="30" y="70"/>
                  </a:cubicBezTo>
                  <a:cubicBezTo>
                    <a:pt x="28" y="72"/>
                    <a:pt x="28" y="74"/>
                    <a:pt x="28" y="76"/>
                  </a:cubicBezTo>
                  <a:cubicBezTo>
                    <a:pt x="28" y="77"/>
                    <a:pt x="28" y="79"/>
                    <a:pt x="30" y="81"/>
                  </a:cubicBezTo>
                  <a:cubicBezTo>
                    <a:pt x="59" y="110"/>
                    <a:pt x="59" y="110"/>
                    <a:pt x="59" y="110"/>
                  </a:cubicBezTo>
                  <a:cubicBezTo>
                    <a:pt x="54" y="119"/>
                    <a:pt x="50" y="132"/>
                    <a:pt x="48" y="143"/>
                  </a:cubicBezTo>
                  <a:cubicBezTo>
                    <a:pt x="7" y="143"/>
                    <a:pt x="7" y="143"/>
                    <a:pt x="7" y="143"/>
                  </a:cubicBezTo>
                  <a:cubicBezTo>
                    <a:pt x="3" y="143"/>
                    <a:pt x="0" y="146"/>
                    <a:pt x="0" y="150"/>
                  </a:cubicBezTo>
                  <a:cubicBezTo>
                    <a:pt x="0" y="193"/>
                    <a:pt x="0" y="193"/>
                    <a:pt x="0" y="193"/>
                  </a:cubicBezTo>
                  <a:cubicBezTo>
                    <a:pt x="0" y="197"/>
                    <a:pt x="3" y="200"/>
                    <a:pt x="7" y="200"/>
                  </a:cubicBezTo>
                  <a:cubicBezTo>
                    <a:pt x="48" y="200"/>
                    <a:pt x="48" y="200"/>
                    <a:pt x="48" y="200"/>
                  </a:cubicBezTo>
                  <a:cubicBezTo>
                    <a:pt x="50" y="211"/>
                    <a:pt x="54" y="224"/>
                    <a:pt x="59" y="233"/>
                  </a:cubicBezTo>
                  <a:cubicBezTo>
                    <a:pt x="30" y="262"/>
                    <a:pt x="30" y="262"/>
                    <a:pt x="30" y="262"/>
                  </a:cubicBezTo>
                  <a:cubicBezTo>
                    <a:pt x="28" y="264"/>
                    <a:pt x="28" y="265"/>
                    <a:pt x="28" y="267"/>
                  </a:cubicBezTo>
                  <a:cubicBezTo>
                    <a:pt x="28" y="269"/>
                    <a:pt x="28" y="271"/>
                    <a:pt x="30" y="272"/>
                  </a:cubicBezTo>
                  <a:cubicBezTo>
                    <a:pt x="70" y="313"/>
                    <a:pt x="70" y="313"/>
                    <a:pt x="70" y="313"/>
                  </a:cubicBezTo>
                  <a:cubicBezTo>
                    <a:pt x="73" y="315"/>
                    <a:pt x="77" y="315"/>
                    <a:pt x="80" y="313"/>
                  </a:cubicBezTo>
                  <a:cubicBezTo>
                    <a:pt x="109" y="284"/>
                    <a:pt x="109" y="284"/>
                    <a:pt x="109" y="284"/>
                  </a:cubicBezTo>
                  <a:cubicBezTo>
                    <a:pt x="119" y="288"/>
                    <a:pt x="131" y="292"/>
                    <a:pt x="142" y="295"/>
                  </a:cubicBezTo>
                  <a:cubicBezTo>
                    <a:pt x="142" y="336"/>
                    <a:pt x="142" y="336"/>
                    <a:pt x="142" y="336"/>
                  </a:cubicBezTo>
                  <a:cubicBezTo>
                    <a:pt x="142" y="339"/>
                    <a:pt x="146" y="343"/>
                    <a:pt x="150" y="343"/>
                  </a:cubicBezTo>
                  <a:cubicBezTo>
                    <a:pt x="192" y="343"/>
                    <a:pt x="192" y="343"/>
                    <a:pt x="192" y="343"/>
                  </a:cubicBezTo>
                  <a:cubicBezTo>
                    <a:pt x="196" y="343"/>
                    <a:pt x="200" y="339"/>
                    <a:pt x="200" y="336"/>
                  </a:cubicBezTo>
                  <a:cubicBezTo>
                    <a:pt x="200" y="295"/>
                    <a:pt x="200" y="295"/>
                    <a:pt x="200" y="295"/>
                  </a:cubicBezTo>
                  <a:cubicBezTo>
                    <a:pt x="211" y="292"/>
                    <a:pt x="223" y="288"/>
                    <a:pt x="233" y="284"/>
                  </a:cubicBezTo>
                  <a:cubicBezTo>
                    <a:pt x="262" y="313"/>
                    <a:pt x="262" y="313"/>
                    <a:pt x="262" y="313"/>
                  </a:cubicBezTo>
                  <a:cubicBezTo>
                    <a:pt x="265" y="315"/>
                    <a:pt x="269" y="315"/>
                    <a:pt x="272" y="313"/>
                  </a:cubicBezTo>
                  <a:cubicBezTo>
                    <a:pt x="312" y="272"/>
                    <a:pt x="312" y="272"/>
                    <a:pt x="312" y="272"/>
                  </a:cubicBezTo>
                  <a:cubicBezTo>
                    <a:pt x="315" y="270"/>
                    <a:pt x="315" y="265"/>
                    <a:pt x="312" y="262"/>
                  </a:cubicBezTo>
                  <a:cubicBezTo>
                    <a:pt x="283" y="233"/>
                    <a:pt x="283" y="233"/>
                    <a:pt x="283" y="233"/>
                  </a:cubicBezTo>
                  <a:cubicBezTo>
                    <a:pt x="288" y="224"/>
                    <a:pt x="291" y="211"/>
                    <a:pt x="294" y="200"/>
                  </a:cubicBezTo>
                  <a:cubicBezTo>
                    <a:pt x="335" y="200"/>
                    <a:pt x="335" y="200"/>
                    <a:pt x="335" y="200"/>
                  </a:cubicBezTo>
                  <a:cubicBezTo>
                    <a:pt x="339" y="200"/>
                    <a:pt x="342" y="197"/>
                    <a:pt x="342" y="193"/>
                  </a:cubicBezTo>
                  <a:cubicBezTo>
                    <a:pt x="342" y="150"/>
                    <a:pt x="342" y="150"/>
                    <a:pt x="342" y="150"/>
                  </a:cubicBezTo>
                  <a:cubicBezTo>
                    <a:pt x="342" y="146"/>
                    <a:pt x="339" y="143"/>
                    <a:pt x="335" y="143"/>
                  </a:cubicBezTo>
                  <a:close/>
                  <a:moveTo>
                    <a:pt x="171" y="243"/>
                  </a:moveTo>
                  <a:cubicBezTo>
                    <a:pt x="132" y="243"/>
                    <a:pt x="100" y="211"/>
                    <a:pt x="100" y="171"/>
                  </a:cubicBezTo>
                  <a:cubicBezTo>
                    <a:pt x="100" y="132"/>
                    <a:pt x="132" y="100"/>
                    <a:pt x="171" y="100"/>
                  </a:cubicBezTo>
                  <a:cubicBezTo>
                    <a:pt x="210" y="100"/>
                    <a:pt x="242" y="132"/>
                    <a:pt x="242" y="171"/>
                  </a:cubicBezTo>
                  <a:cubicBezTo>
                    <a:pt x="242" y="211"/>
                    <a:pt x="210" y="243"/>
                    <a:pt x="171" y="24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24" name="Freeform 9">
              <a:extLst>
                <a:ext uri="{FF2B5EF4-FFF2-40B4-BE49-F238E27FC236}">
                  <a16:creationId xmlns:a16="http://schemas.microsoft.com/office/drawing/2014/main" id="{2398AD2F-E544-4D6B-B8B6-6FBC2A0ECE7F}"/>
                </a:ext>
              </a:extLst>
            </p:cNvPr>
            <p:cNvSpPr>
              <a:spLocks noEditPoints="1"/>
            </p:cNvSpPr>
            <p:nvPr/>
          </p:nvSpPr>
          <p:spPr bwMode="auto">
            <a:xfrm rot="1387047">
              <a:off x="4713288" y="1379538"/>
              <a:ext cx="2452688" cy="2465388"/>
            </a:xfrm>
            <a:custGeom>
              <a:avLst/>
              <a:gdLst>
                <a:gd name="T0" fmla="*/ 335 w 342"/>
                <a:gd name="T1" fmla="*/ 143 h 343"/>
                <a:gd name="T2" fmla="*/ 294 w 342"/>
                <a:gd name="T3" fmla="*/ 143 h 343"/>
                <a:gd name="T4" fmla="*/ 283 w 342"/>
                <a:gd name="T5" fmla="*/ 110 h 343"/>
                <a:gd name="T6" fmla="*/ 312 w 342"/>
                <a:gd name="T7" fmla="*/ 81 h 343"/>
                <a:gd name="T8" fmla="*/ 314 w 342"/>
                <a:gd name="T9" fmla="*/ 76 h 343"/>
                <a:gd name="T10" fmla="*/ 312 w 342"/>
                <a:gd name="T11" fmla="*/ 70 h 343"/>
                <a:gd name="T12" fmla="*/ 272 w 342"/>
                <a:gd name="T13" fmla="*/ 30 h 343"/>
                <a:gd name="T14" fmla="*/ 262 w 342"/>
                <a:gd name="T15" fmla="*/ 30 h 343"/>
                <a:gd name="T16" fmla="*/ 233 w 342"/>
                <a:gd name="T17" fmla="*/ 59 h 343"/>
                <a:gd name="T18" fmla="*/ 200 w 342"/>
                <a:gd name="T19" fmla="*/ 48 h 343"/>
                <a:gd name="T20" fmla="*/ 200 w 342"/>
                <a:gd name="T21" fmla="*/ 7 h 343"/>
                <a:gd name="T22" fmla="*/ 192 w 342"/>
                <a:gd name="T23" fmla="*/ 0 h 343"/>
                <a:gd name="T24" fmla="*/ 150 w 342"/>
                <a:gd name="T25" fmla="*/ 0 h 343"/>
                <a:gd name="T26" fmla="*/ 142 w 342"/>
                <a:gd name="T27" fmla="*/ 7 h 343"/>
                <a:gd name="T28" fmla="*/ 142 w 342"/>
                <a:gd name="T29" fmla="*/ 48 h 343"/>
                <a:gd name="T30" fmla="*/ 109 w 342"/>
                <a:gd name="T31" fmla="*/ 59 h 343"/>
                <a:gd name="T32" fmla="*/ 80 w 342"/>
                <a:gd name="T33" fmla="*/ 30 h 343"/>
                <a:gd name="T34" fmla="*/ 70 w 342"/>
                <a:gd name="T35" fmla="*/ 30 h 343"/>
                <a:gd name="T36" fmla="*/ 30 w 342"/>
                <a:gd name="T37" fmla="*/ 70 h 343"/>
                <a:gd name="T38" fmla="*/ 28 w 342"/>
                <a:gd name="T39" fmla="*/ 76 h 343"/>
                <a:gd name="T40" fmla="*/ 30 w 342"/>
                <a:gd name="T41" fmla="*/ 81 h 343"/>
                <a:gd name="T42" fmla="*/ 59 w 342"/>
                <a:gd name="T43" fmla="*/ 110 h 343"/>
                <a:gd name="T44" fmla="*/ 48 w 342"/>
                <a:gd name="T45" fmla="*/ 143 h 343"/>
                <a:gd name="T46" fmla="*/ 7 w 342"/>
                <a:gd name="T47" fmla="*/ 143 h 343"/>
                <a:gd name="T48" fmla="*/ 0 w 342"/>
                <a:gd name="T49" fmla="*/ 150 h 343"/>
                <a:gd name="T50" fmla="*/ 0 w 342"/>
                <a:gd name="T51" fmla="*/ 193 h 343"/>
                <a:gd name="T52" fmla="*/ 7 w 342"/>
                <a:gd name="T53" fmla="*/ 200 h 343"/>
                <a:gd name="T54" fmla="*/ 48 w 342"/>
                <a:gd name="T55" fmla="*/ 200 h 343"/>
                <a:gd name="T56" fmla="*/ 59 w 342"/>
                <a:gd name="T57" fmla="*/ 233 h 343"/>
                <a:gd name="T58" fmla="*/ 30 w 342"/>
                <a:gd name="T59" fmla="*/ 262 h 343"/>
                <a:gd name="T60" fmla="*/ 28 w 342"/>
                <a:gd name="T61" fmla="*/ 267 h 343"/>
                <a:gd name="T62" fmla="*/ 30 w 342"/>
                <a:gd name="T63" fmla="*/ 272 h 343"/>
                <a:gd name="T64" fmla="*/ 70 w 342"/>
                <a:gd name="T65" fmla="*/ 313 h 343"/>
                <a:gd name="T66" fmla="*/ 80 w 342"/>
                <a:gd name="T67" fmla="*/ 313 h 343"/>
                <a:gd name="T68" fmla="*/ 109 w 342"/>
                <a:gd name="T69" fmla="*/ 284 h 343"/>
                <a:gd name="T70" fmla="*/ 142 w 342"/>
                <a:gd name="T71" fmla="*/ 295 h 343"/>
                <a:gd name="T72" fmla="*/ 142 w 342"/>
                <a:gd name="T73" fmla="*/ 336 h 343"/>
                <a:gd name="T74" fmla="*/ 150 w 342"/>
                <a:gd name="T75" fmla="*/ 343 h 343"/>
                <a:gd name="T76" fmla="*/ 192 w 342"/>
                <a:gd name="T77" fmla="*/ 343 h 343"/>
                <a:gd name="T78" fmla="*/ 200 w 342"/>
                <a:gd name="T79" fmla="*/ 336 h 343"/>
                <a:gd name="T80" fmla="*/ 200 w 342"/>
                <a:gd name="T81" fmla="*/ 295 h 343"/>
                <a:gd name="T82" fmla="*/ 233 w 342"/>
                <a:gd name="T83" fmla="*/ 284 h 343"/>
                <a:gd name="T84" fmla="*/ 262 w 342"/>
                <a:gd name="T85" fmla="*/ 313 h 343"/>
                <a:gd name="T86" fmla="*/ 272 w 342"/>
                <a:gd name="T87" fmla="*/ 313 h 343"/>
                <a:gd name="T88" fmla="*/ 312 w 342"/>
                <a:gd name="T89" fmla="*/ 272 h 343"/>
                <a:gd name="T90" fmla="*/ 312 w 342"/>
                <a:gd name="T91" fmla="*/ 262 h 343"/>
                <a:gd name="T92" fmla="*/ 283 w 342"/>
                <a:gd name="T93" fmla="*/ 233 h 343"/>
                <a:gd name="T94" fmla="*/ 294 w 342"/>
                <a:gd name="T95" fmla="*/ 200 h 343"/>
                <a:gd name="T96" fmla="*/ 335 w 342"/>
                <a:gd name="T97" fmla="*/ 200 h 343"/>
                <a:gd name="T98" fmla="*/ 342 w 342"/>
                <a:gd name="T99" fmla="*/ 193 h 343"/>
                <a:gd name="T100" fmla="*/ 342 w 342"/>
                <a:gd name="T101" fmla="*/ 150 h 343"/>
                <a:gd name="T102" fmla="*/ 335 w 342"/>
                <a:gd name="T103" fmla="*/ 143 h 343"/>
                <a:gd name="T104" fmla="*/ 171 w 342"/>
                <a:gd name="T105" fmla="*/ 243 h 343"/>
                <a:gd name="T106" fmla="*/ 100 w 342"/>
                <a:gd name="T107" fmla="*/ 171 h 343"/>
                <a:gd name="T108" fmla="*/ 171 w 342"/>
                <a:gd name="T109" fmla="*/ 100 h 343"/>
                <a:gd name="T110" fmla="*/ 242 w 342"/>
                <a:gd name="T111" fmla="*/ 171 h 343"/>
                <a:gd name="T112" fmla="*/ 171 w 342"/>
                <a:gd name="T113" fmla="*/ 2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2" h="343">
                  <a:moveTo>
                    <a:pt x="335" y="143"/>
                  </a:moveTo>
                  <a:cubicBezTo>
                    <a:pt x="294" y="143"/>
                    <a:pt x="294" y="143"/>
                    <a:pt x="294" y="143"/>
                  </a:cubicBezTo>
                  <a:cubicBezTo>
                    <a:pt x="291" y="132"/>
                    <a:pt x="288" y="119"/>
                    <a:pt x="283" y="110"/>
                  </a:cubicBezTo>
                  <a:cubicBezTo>
                    <a:pt x="312" y="81"/>
                    <a:pt x="312" y="81"/>
                    <a:pt x="312" y="81"/>
                  </a:cubicBezTo>
                  <a:cubicBezTo>
                    <a:pt x="314" y="79"/>
                    <a:pt x="314" y="77"/>
                    <a:pt x="314" y="76"/>
                  </a:cubicBezTo>
                  <a:cubicBezTo>
                    <a:pt x="314" y="74"/>
                    <a:pt x="314" y="72"/>
                    <a:pt x="312" y="70"/>
                  </a:cubicBezTo>
                  <a:cubicBezTo>
                    <a:pt x="272" y="30"/>
                    <a:pt x="272" y="30"/>
                    <a:pt x="272" y="30"/>
                  </a:cubicBezTo>
                  <a:cubicBezTo>
                    <a:pt x="269" y="27"/>
                    <a:pt x="265" y="27"/>
                    <a:pt x="262" y="30"/>
                  </a:cubicBezTo>
                  <a:cubicBezTo>
                    <a:pt x="233" y="59"/>
                    <a:pt x="233" y="59"/>
                    <a:pt x="233" y="59"/>
                  </a:cubicBezTo>
                  <a:cubicBezTo>
                    <a:pt x="223" y="54"/>
                    <a:pt x="211" y="51"/>
                    <a:pt x="200" y="48"/>
                  </a:cubicBezTo>
                  <a:cubicBezTo>
                    <a:pt x="200" y="7"/>
                    <a:pt x="200" y="7"/>
                    <a:pt x="200" y="7"/>
                  </a:cubicBezTo>
                  <a:cubicBezTo>
                    <a:pt x="200" y="3"/>
                    <a:pt x="196" y="0"/>
                    <a:pt x="192" y="0"/>
                  </a:cubicBezTo>
                  <a:cubicBezTo>
                    <a:pt x="150" y="0"/>
                    <a:pt x="150" y="0"/>
                    <a:pt x="150" y="0"/>
                  </a:cubicBezTo>
                  <a:cubicBezTo>
                    <a:pt x="146" y="0"/>
                    <a:pt x="142" y="3"/>
                    <a:pt x="142" y="7"/>
                  </a:cubicBezTo>
                  <a:cubicBezTo>
                    <a:pt x="142" y="48"/>
                    <a:pt x="142" y="48"/>
                    <a:pt x="142" y="48"/>
                  </a:cubicBezTo>
                  <a:cubicBezTo>
                    <a:pt x="131" y="51"/>
                    <a:pt x="119" y="54"/>
                    <a:pt x="109" y="59"/>
                  </a:cubicBezTo>
                  <a:cubicBezTo>
                    <a:pt x="80" y="30"/>
                    <a:pt x="80" y="30"/>
                    <a:pt x="80" y="30"/>
                  </a:cubicBezTo>
                  <a:cubicBezTo>
                    <a:pt x="77" y="27"/>
                    <a:pt x="73" y="27"/>
                    <a:pt x="70" y="30"/>
                  </a:cubicBezTo>
                  <a:cubicBezTo>
                    <a:pt x="30" y="70"/>
                    <a:pt x="30" y="70"/>
                    <a:pt x="30" y="70"/>
                  </a:cubicBezTo>
                  <a:cubicBezTo>
                    <a:pt x="28" y="72"/>
                    <a:pt x="28" y="74"/>
                    <a:pt x="28" y="76"/>
                  </a:cubicBezTo>
                  <a:cubicBezTo>
                    <a:pt x="28" y="77"/>
                    <a:pt x="28" y="79"/>
                    <a:pt x="30" y="81"/>
                  </a:cubicBezTo>
                  <a:cubicBezTo>
                    <a:pt x="59" y="110"/>
                    <a:pt x="59" y="110"/>
                    <a:pt x="59" y="110"/>
                  </a:cubicBezTo>
                  <a:cubicBezTo>
                    <a:pt x="54" y="119"/>
                    <a:pt x="50" y="132"/>
                    <a:pt x="48" y="143"/>
                  </a:cubicBezTo>
                  <a:cubicBezTo>
                    <a:pt x="7" y="143"/>
                    <a:pt x="7" y="143"/>
                    <a:pt x="7" y="143"/>
                  </a:cubicBezTo>
                  <a:cubicBezTo>
                    <a:pt x="3" y="143"/>
                    <a:pt x="0" y="146"/>
                    <a:pt x="0" y="150"/>
                  </a:cubicBezTo>
                  <a:cubicBezTo>
                    <a:pt x="0" y="193"/>
                    <a:pt x="0" y="193"/>
                    <a:pt x="0" y="193"/>
                  </a:cubicBezTo>
                  <a:cubicBezTo>
                    <a:pt x="0" y="197"/>
                    <a:pt x="3" y="200"/>
                    <a:pt x="7" y="200"/>
                  </a:cubicBezTo>
                  <a:cubicBezTo>
                    <a:pt x="48" y="200"/>
                    <a:pt x="48" y="200"/>
                    <a:pt x="48" y="200"/>
                  </a:cubicBezTo>
                  <a:cubicBezTo>
                    <a:pt x="50" y="211"/>
                    <a:pt x="54" y="224"/>
                    <a:pt x="59" y="233"/>
                  </a:cubicBezTo>
                  <a:cubicBezTo>
                    <a:pt x="30" y="262"/>
                    <a:pt x="30" y="262"/>
                    <a:pt x="30" y="262"/>
                  </a:cubicBezTo>
                  <a:cubicBezTo>
                    <a:pt x="28" y="264"/>
                    <a:pt x="28" y="265"/>
                    <a:pt x="28" y="267"/>
                  </a:cubicBezTo>
                  <a:cubicBezTo>
                    <a:pt x="28" y="269"/>
                    <a:pt x="28" y="271"/>
                    <a:pt x="30" y="272"/>
                  </a:cubicBezTo>
                  <a:cubicBezTo>
                    <a:pt x="70" y="313"/>
                    <a:pt x="70" y="313"/>
                    <a:pt x="70" y="313"/>
                  </a:cubicBezTo>
                  <a:cubicBezTo>
                    <a:pt x="73" y="315"/>
                    <a:pt x="77" y="315"/>
                    <a:pt x="80" y="313"/>
                  </a:cubicBezTo>
                  <a:cubicBezTo>
                    <a:pt x="109" y="284"/>
                    <a:pt x="109" y="284"/>
                    <a:pt x="109" y="284"/>
                  </a:cubicBezTo>
                  <a:cubicBezTo>
                    <a:pt x="119" y="288"/>
                    <a:pt x="131" y="292"/>
                    <a:pt x="142" y="295"/>
                  </a:cubicBezTo>
                  <a:cubicBezTo>
                    <a:pt x="142" y="336"/>
                    <a:pt x="142" y="336"/>
                    <a:pt x="142" y="336"/>
                  </a:cubicBezTo>
                  <a:cubicBezTo>
                    <a:pt x="142" y="339"/>
                    <a:pt x="146" y="343"/>
                    <a:pt x="150" y="343"/>
                  </a:cubicBezTo>
                  <a:cubicBezTo>
                    <a:pt x="192" y="343"/>
                    <a:pt x="192" y="343"/>
                    <a:pt x="192" y="343"/>
                  </a:cubicBezTo>
                  <a:cubicBezTo>
                    <a:pt x="196" y="343"/>
                    <a:pt x="200" y="339"/>
                    <a:pt x="200" y="336"/>
                  </a:cubicBezTo>
                  <a:cubicBezTo>
                    <a:pt x="200" y="295"/>
                    <a:pt x="200" y="295"/>
                    <a:pt x="200" y="295"/>
                  </a:cubicBezTo>
                  <a:cubicBezTo>
                    <a:pt x="211" y="292"/>
                    <a:pt x="223" y="288"/>
                    <a:pt x="233" y="284"/>
                  </a:cubicBezTo>
                  <a:cubicBezTo>
                    <a:pt x="262" y="313"/>
                    <a:pt x="262" y="313"/>
                    <a:pt x="262" y="313"/>
                  </a:cubicBezTo>
                  <a:cubicBezTo>
                    <a:pt x="265" y="315"/>
                    <a:pt x="269" y="315"/>
                    <a:pt x="272" y="313"/>
                  </a:cubicBezTo>
                  <a:cubicBezTo>
                    <a:pt x="312" y="272"/>
                    <a:pt x="312" y="272"/>
                    <a:pt x="312" y="272"/>
                  </a:cubicBezTo>
                  <a:cubicBezTo>
                    <a:pt x="315" y="270"/>
                    <a:pt x="315" y="265"/>
                    <a:pt x="312" y="262"/>
                  </a:cubicBezTo>
                  <a:cubicBezTo>
                    <a:pt x="283" y="233"/>
                    <a:pt x="283" y="233"/>
                    <a:pt x="283" y="233"/>
                  </a:cubicBezTo>
                  <a:cubicBezTo>
                    <a:pt x="288" y="224"/>
                    <a:pt x="291" y="211"/>
                    <a:pt x="294" y="200"/>
                  </a:cubicBezTo>
                  <a:cubicBezTo>
                    <a:pt x="335" y="200"/>
                    <a:pt x="335" y="200"/>
                    <a:pt x="335" y="200"/>
                  </a:cubicBezTo>
                  <a:cubicBezTo>
                    <a:pt x="339" y="200"/>
                    <a:pt x="342" y="197"/>
                    <a:pt x="342" y="193"/>
                  </a:cubicBezTo>
                  <a:cubicBezTo>
                    <a:pt x="342" y="150"/>
                    <a:pt x="342" y="150"/>
                    <a:pt x="342" y="150"/>
                  </a:cubicBezTo>
                  <a:cubicBezTo>
                    <a:pt x="342" y="146"/>
                    <a:pt x="339" y="143"/>
                    <a:pt x="335" y="143"/>
                  </a:cubicBezTo>
                  <a:close/>
                  <a:moveTo>
                    <a:pt x="171" y="243"/>
                  </a:moveTo>
                  <a:cubicBezTo>
                    <a:pt x="132" y="243"/>
                    <a:pt x="100" y="211"/>
                    <a:pt x="100" y="171"/>
                  </a:cubicBezTo>
                  <a:cubicBezTo>
                    <a:pt x="100" y="132"/>
                    <a:pt x="132" y="100"/>
                    <a:pt x="171" y="100"/>
                  </a:cubicBezTo>
                  <a:cubicBezTo>
                    <a:pt x="210" y="100"/>
                    <a:pt x="242" y="132"/>
                    <a:pt x="242" y="171"/>
                  </a:cubicBezTo>
                  <a:cubicBezTo>
                    <a:pt x="242" y="211"/>
                    <a:pt x="210" y="243"/>
                    <a:pt x="171" y="243"/>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5" name="Freeform 13">
              <a:extLst>
                <a:ext uri="{FF2B5EF4-FFF2-40B4-BE49-F238E27FC236}">
                  <a16:creationId xmlns:a16="http://schemas.microsoft.com/office/drawing/2014/main" id="{37CBD49A-7983-4187-9F35-35CAFF813C58}"/>
                </a:ext>
              </a:extLst>
            </p:cNvPr>
            <p:cNvSpPr>
              <a:spLocks noEditPoints="1"/>
            </p:cNvSpPr>
            <p:nvPr/>
          </p:nvSpPr>
          <p:spPr bwMode="auto">
            <a:xfrm rot="813566">
              <a:off x="2916238" y="3019425"/>
              <a:ext cx="2452688" cy="2463799"/>
            </a:xfrm>
            <a:custGeom>
              <a:avLst/>
              <a:gdLst>
                <a:gd name="T0" fmla="*/ 335 w 342"/>
                <a:gd name="T1" fmla="*/ 143 h 343"/>
                <a:gd name="T2" fmla="*/ 294 w 342"/>
                <a:gd name="T3" fmla="*/ 143 h 343"/>
                <a:gd name="T4" fmla="*/ 283 w 342"/>
                <a:gd name="T5" fmla="*/ 110 h 343"/>
                <a:gd name="T6" fmla="*/ 312 w 342"/>
                <a:gd name="T7" fmla="*/ 81 h 343"/>
                <a:gd name="T8" fmla="*/ 314 w 342"/>
                <a:gd name="T9" fmla="*/ 76 h 343"/>
                <a:gd name="T10" fmla="*/ 312 w 342"/>
                <a:gd name="T11" fmla="*/ 70 h 343"/>
                <a:gd name="T12" fmla="*/ 272 w 342"/>
                <a:gd name="T13" fmla="*/ 30 h 343"/>
                <a:gd name="T14" fmla="*/ 262 w 342"/>
                <a:gd name="T15" fmla="*/ 30 h 343"/>
                <a:gd name="T16" fmla="*/ 233 w 342"/>
                <a:gd name="T17" fmla="*/ 59 h 343"/>
                <a:gd name="T18" fmla="*/ 200 w 342"/>
                <a:gd name="T19" fmla="*/ 48 h 343"/>
                <a:gd name="T20" fmla="*/ 200 w 342"/>
                <a:gd name="T21" fmla="*/ 7 h 343"/>
                <a:gd name="T22" fmla="*/ 192 w 342"/>
                <a:gd name="T23" fmla="*/ 0 h 343"/>
                <a:gd name="T24" fmla="*/ 150 w 342"/>
                <a:gd name="T25" fmla="*/ 0 h 343"/>
                <a:gd name="T26" fmla="*/ 142 w 342"/>
                <a:gd name="T27" fmla="*/ 7 h 343"/>
                <a:gd name="T28" fmla="*/ 142 w 342"/>
                <a:gd name="T29" fmla="*/ 48 h 343"/>
                <a:gd name="T30" fmla="*/ 109 w 342"/>
                <a:gd name="T31" fmla="*/ 59 h 343"/>
                <a:gd name="T32" fmla="*/ 80 w 342"/>
                <a:gd name="T33" fmla="*/ 30 h 343"/>
                <a:gd name="T34" fmla="*/ 70 w 342"/>
                <a:gd name="T35" fmla="*/ 30 h 343"/>
                <a:gd name="T36" fmla="*/ 30 w 342"/>
                <a:gd name="T37" fmla="*/ 70 h 343"/>
                <a:gd name="T38" fmla="*/ 28 w 342"/>
                <a:gd name="T39" fmla="*/ 76 h 343"/>
                <a:gd name="T40" fmla="*/ 30 w 342"/>
                <a:gd name="T41" fmla="*/ 81 h 343"/>
                <a:gd name="T42" fmla="*/ 59 w 342"/>
                <a:gd name="T43" fmla="*/ 110 h 343"/>
                <a:gd name="T44" fmla="*/ 48 w 342"/>
                <a:gd name="T45" fmla="*/ 143 h 343"/>
                <a:gd name="T46" fmla="*/ 7 w 342"/>
                <a:gd name="T47" fmla="*/ 143 h 343"/>
                <a:gd name="T48" fmla="*/ 0 w 342"/>
                <a:gd name="T49" fmla="*/ 150 h 343"/>
                <a:gd name="T50" fmla="*/ 0 w 342"/>
                <a:gd name="T51" fmla="*/ 193 h 343"/>
                <a:gd name="T52" fmla="*/ 7 w 342"/>
                <a:gd name="T53" fmla="*/ 200 h 343"/>
                <a:gd name="T54" fmla="*/ 48 w 342"/>
                <a:gd name="T55" fmla="*/ 200 h 343"/>
                <a:gd name="T56" fmla="*/ 59 w 342"/>
                <a:gd name="T57" fmla="*/ 233 h 343"/>
                <a:gd name="T58" fmla="*/ 30 w 342"/>
                <a:gd name="T59" fmla="*/ 262 h 343"/>
                <a:gd name="T60" fmla="*/ 28 w 342"/>
                <a:gd name="T61" fmla="*/ 267 h 343"/>
                <a:gd name="T62" fmla="*/ 30 w 342"/>
                <a:gd name="T63" fmla="*/ 272 h 343"/>
                <a:gd name="T64" fmla="*/ 70 w 342"/>
                <a:gd name="T65" fmla="*/ 313 h 343"/>
                <a:gd name="T66" fmla="*/ 80 w 342"/>
                <a:gd name="T67" fmla="*/ 313 h 343"/>
                <a:gd name="T68" fmla="*/ 109 w 342"/>
                <a:gd name="T69" fmla="*/ 284 h 343"/>
                <a:gd name="T70" fmla="*/ 142 w 342"/>
                <a:gd name="T71" fmla="*/ 295 h 343"/>
                <a:gd name="T72" fmla="*/ 142 w 342"/>
                <a:gd name="T73" fmla="*/ 336 h 343"/>
                <a:gd name="T74" fmla="*/ 150 w 342"/>
                <a:gd name="T75" fmla="*/ 343 h 343"/>
                <a:gd name="T76" fmla="*/ 192 w 342"/>
                <a:gd name="T77" fmla="*/ 343 h 343"/>
                <a:gd name="T78" fmla="*/ 200 w 342"/>
                <a:gd name="T79" fmla="*/ 336 h 343"/>
                <a:gd name="T80" fmla="*/ 200 w 342"/>
                <a:gd name="T81" fmla="*/ 295 h 343"/>
                <a:gd name="T82" fmla="*/ 233 w 342"/>
                <a:gd name="T83" fmla="*/ 284 h 343"/>
                <a:gd name="T84" fmla="*/ 262 w 342"/>
                <a:gd name="T85" fmla="*/ 313 h 343"/>
                <a:gd name="T86" fmla="*/ 272 w 342"/>
                <a:gd name="T87" fmla="*/ 313 h 343"/>
                <a:gd name="T88" fmla="*/ 312 w 342"/>
                <a:gd name="T89" fmla="*/ 272 h 343"/>
                <a:gd name="T90" fmla="*/ 312 w 342"/>
                <a:gd name="T91" fmla="*/ 262 h 343"/>
                <a:gd name="T92" fmla="*/ 283 w 342"/>
                <a:gd name="T93" fmla="*/ 233 h 343"/>
                <a:gd name="T94" fmla="*/ 294 w 342"/>
                <a:gd name="T95" fmla="*/ 200 h 343"/>
                <a:gd name="T96" fmla="*/ 335 w 342"/>
                <a:gd name="T97" fmla="*/ 200 h 343"/>
                <a:gd name="T98" fmla="*/ 342 w 342"/>
                <a:gd name="T99" fmla="*/ 193 h 343"/>
                <a:gd name="T100" fmla="*/ 342 w 342"/>
                <a:gd name="T101" fmla="*/ 150 h 343"/>
                <a:gd name="T102" fmla="*/ 335 w 342"/>
                <a:gd name="T103" fmla="*/ 143 h 343"/>
                <a:gd name="T104" fmla="*/ 171 w 342"/>
                <a:gd name="T105" fmla="*/ 243 h 343"/>
                <a:gd name="T106" fmla="*/ 100 w 342"/>
                <a:gd name="T107" fmla="*/ 171 h 343"/>
                <a:gd name="T108" fmla="*/ 171 w 342"/>
                <a:gd name="T109" fmla="*/ 100 h 343"/>
                <a:gd name="T110" fmla="*/ 242 w 342"/>
                <a:gd name="T111" fmla="*/ 171 h 343"/>
                <a:gd name="T112" fmla="*/ 171 w 342"/>
                <a:gd name="T113" fmla="*/ 2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2" h="343">
                  <a:moveTo>
                    <a:pt x="335" y="143"/>
                  </a:moveTo>
                  <a:cubicBezTo>
                    <a:pt x="294" y="143"/>
                    <a:pt x="294" y="143"/>
                    <a:pt x="294" y="143"/>
                  </a:cubicBezTo>
                  <a:cubicBezTo>
                    <a:pt x="291" y="132"/>
                    <a:pt x="288" y="119"/>
                    <a:pt x="283" y="110"/>
                  </a:cubicBezTo>
                  <a:cubicBezTo>
                    <a:pt x="312" y="81"/>
                    <a:pt x="312" y="81"/>
                    <a:pt x="312" y="81"/>
                  </a:cubicBezTo>
                  <a:cubicBezTo>
                    <a:pt x="314" y="79"/>
                    <a:pt x="314" y="77"/>
                    <a:pt x="314" y="76"/>
                  </a:cubicBezTo>
                  <a:cubicBezTo>
                    <a:pt x="314" y="74"/>
                    <a:pt x="314" y="72"/>
                    <a:pt x="312" y="70"/>
                  </a:cubicBezTo>
                  <a:cubicBezTo>
                    <a:pt x="272" y="30"/>
                    <a:pt x="272" y="30"/>
                    <a:pt x="272" y="30"/>
                  </a:cubicBezTo>
                  <a:cubicBezTo>
                    <a:pt x="269" y="27"/>
                    <a:pt x="265" y="27"/>
                    <a:pt x="262" y="30"/>
                  </a:cubicBezTo>
                  <a:cubicBezTo>
                    <a:pt x="233" y="59"/>
                    <a:pt x="233" y="59"/>
                    <a:pt x="233" y="59"/>
                  </a:cubicBezTo>
                  <a:cubicBezTo>
                    <a:pt x="223" y="54"/>
                    <a:pt x="211" y="51"/>
                    <a:pt x="200" y="48"/>
                  </a:cubicBezTo>
                  <a:cubicBezTo>
                    <a:pt x="200" y="7"/>
                    <a:pt x="200" y="7"/>
                    <a:pt x="200" y="7"/>
                  </a:cubicBezTo>
                  <a:cubicBezTo>
                    <a:pt x="200" y="3"/>
                    <a:pt x="196" y="0"/>
                    <a:pt x="192" y="0"/>
                  </a:cubicBezTo>
                  <a:cubicBezTo>
                    <a:pt x="150" y="0"/>
                    <a:pt x="150" y="0"/>
                    <a:pt x="150" y="0"/>
                  </a:cubicBezTo>
                  <a:cubicBezTo>
                    <a:pt x="146" y="0"/>
                    <a:pt x="142" y="3"/>
                    <a:pt x="142" y="7"/>
                  </a:cubicBezTo>
                  <a:cubicBezTo>
                    <a:pt x="142" y="48"/>
                    <a:pt x="142" y="48"/>
                    <a:pt x="142" y="48"/>
                  </a:cubicBezTo>
                  <a:cubicBezTo>
                    <a:pt x="131" y="51"/>
                    <a:pt x="119" y="54"/>
                    <a:pt x="109" y="59"/>
                  </a:cubicBezTo>
                  <a:cubicBezTo>
                    <a:pt x="80" y="30"/>
                    <a:pt x="80" y="30"/>
                    <a:pt x="80" y="30"/>
                  </a:cubicBezTo>
                  <a:cubicBezTo>
                    <a:pt x="77" y="27"/>
                    <a:pt x="73" y="27"/>
                    <a:pt x="70" y="30"/>
                  </a:cubicBezTo>
                  <a:cubicBezTo>
                    <a:pt x="30" y="70"/>
                    <a:pt x="30" y="70"/>
                    <a:pt x="30" y="70"/>
                  </a:cubicBezTo>
                  <a:cubicBezTo>
                    <a:pt x="28" y="72"/>
                    <a:pt x="28" y="74"/>
                    <a:pt x="28" y="76"/>
                  </a:cubicBezTo>
                  <a:cubicBezTo>
                    <a:pt x="28" y="77"/>
                    <a:pt x="28" y="79"/>
                    <a:pt x="30" y="81"/>
                  </a:cubicBezTo>
                  <a:cubicBezTo>
                    <a:pt x="59" y="110"/>
                    <a:pt x="59" y="110"/>
                    <a:pt x="59" y="110"/>
                  </a:cubicBezTo>
                  <a:cubicBezTo>
                    <a:pt x="54" y="119"/>
                    <a:pt x="50" y="132"/>
                    <a:pt x="48" y="143"/>
                  </a:cubicBezTo>
                  <a:cubicBezTo>
                    <a:pt x="7" y="143"/>
                    <a:pt x="7" y="143"/>
                    <a:pt x="7" y="143"/>
                  </a:cubicBezTo>
                  <a:cubicBezTo>
                    <a:pt x="3" y="143"/>
                    <a:pt x="0" y="146"/>
                    <a:pt x="0" y="150"/>
                  </a:cubicBezTo>
                  <a:cubicBezTo>
                    <a:pt x="0" y="193"/>
                    <a:pt x="0" y="193"/>
                    <a:pt x="0" y="193"/>
                  </a:cubicBezTo>
                  <a:cubicBezTo>
                    <a:pt x="0" y="197"/>
                    <a:pt x="3" y="200"/>
                    <a:pt x="7" y="200"/>
                  </a:cubicBezTo>
                  <a:cubicBezTo>
                    <a:pt x="48" y="200"/>
                    <a:pt x="48" y="200"/>
                    <a:pt x="48" y="200"/>
                  </a:cubicBezTo>
                  <a:cubicBezTo>
                    <a:pt x="50" y="211"/>
                    <a:pt x="54" y="224"/>
                    <a:pt x="59" y="233"/>
                  </a:cubicBezTo>
                  <a:cubicBezTo>
                    <a:pt x="30" y="262"/>
                    <a:pt x="30" y="262"/>
                    <a:pt x="30" y="262"/>
                  </a:cubicBezTo>
                  <a:cubicBezTo>
                    <a:pt x="28" y="264"/>
                    <a:pt x="28" y="265"/>
                    <a:pt x="28" y="267"/>
                  </a:cubicBezTo>
                  <a:cubicBezTo>
                    <a:pt x="28" y="269"/>
                    <a:pt x="28" y="271"/>
                    <a:pt x="30" y="272"/>
                  </a:cubicBezTo>
                  <a:cubicBezTo>
                    <a:pt x="70" y="313"/>
                    <a:pt x="70" y="313"/>
                    <a:pt x="70" y="313"/>
                  </a:cubicBezTo>
                  <a:cubicBezTo>
                    <a:pt x="73" y="315"/>
                    <a:pt x="77" y="315"/>
                    <a:pt x="80" y="313"/>
                  </a:cubicBezTo>
                  <a:cubicBezTo>
                    <a:pt x="109" y="284"/>
                    <a:pt x="109" y="284"/>
                    <a:pt x="109" y="284"/>
                  </a:cubicBezTo>
                  <a:cubicBezTo>
                    <a:pt x="119" y="288"/>
                    <a:pt x="131" y="292"/>
                    <a:pt x="142" y="295"/>
                  </a:cubicBezTo>
                  <a:cubicBezTo>
                    <a:pt x="142" y="336"/>
                    <a:pt x="142" y="336"/>
                    <a:pt x="142" y="336"/>
                  </a:cubicBezTo>
                  <a:cubicBezTo>
                    <a:pt x="142" y="339"/>
                    <a:pt x="146" y="343"/>
                    <a:pt x="150" y="343"/>
                  </a:cubicBezTo>
                  <a:cubicBezTo>
                    <a:pt x="192" y="343"/>
                    <a:pt x="192" y="343"/>
                    <a:pt x="192" y="343"/>
                  </a:cubicBezTo>
                  <a:cubicBezTo>
                    <a:pt x="196" y="343"/>
                    <a:pt x="200" y="339"/>
                    <a:pt x="200" y="336"/>
                  </a:cubicBezTo>
                  <a:cubicBezTo>
                    <a:pt x="200" y="295"/>
                    <a:pt x="200" y="295"/>
                    <a:pt x="200" y="295"/>
                  </a:cubicBezTo>
                  <a:cubicBezTo>
                    <a:pt x="211" y="292"/>
                    <a:pt x="223" y="288"/>
                    <a:pt x="233" y="284"/>
                  </a:cubicBezTo>
                  <a:cubicBezTo>
                    <a:pt x="262" y="313"/>
                    <a:pt x="262" y="313"/>
                    <a:pt x="262" y="313"/>
                  </a:cubicBezTo>
                  <a:cubicBezTo>
                    <a:pt x="265" y="315"/>
                    <a:pt x="269" y="315"/>
                    <a:pt x="272" y="313"/>
                  </a:cubicBezTo>
                  <a:cubicBezTo>
                    <a:pt x="312" y="272"/>
                    <a:pt x="312" y="272"/>
                    <a:pt x="312" y="272"/>
                  </a:cubicBezTo>
                  <a:cubicBezTo>
                    <a:pt x="315" y="270"/>
                    <a:pt x="315" y="265"/>
                    <a:pt x="312" y="262"/>
                  </a:cubicBezTo>
                  <a:cubicBezTo>
                    <a:pt x="283" y="233"/>
                    <a:pt x="283" y="233"/>
                    <a:pt x="283" y="233"/>
                  </a:cubicBezTo>
                  <a:cubicBezTo>
                    <a:pt x="288" y="224"/>
                    <a:pt x="291" y="211"/>
                    <a:pt x="294" y="200"/>
                  </a:cubicBezTo>
                  <a:cubicBezTo>
                    <a:pt x="335" y="200"/>
                    <a:pt x="335" y="200"/>
                    <a:pt x="335" y="200"/>
                  </a:cubicBezTo>
                  <a:cubicBezTo>
                    <a:pt x="339" y="200"/>
                    <a:pt x="342" y="197"/>
                    <a:pt x="342" y="193"/>
                  </a:cubicBezTo>
                  <a:cubicBezTo>
                    <a:pt x="342" y="150"/>
                    <a:pt x="342" y="150"/>
                    <a:pt x="342" y="150"/>
                  </a:cubicBezTo>
                  <a:cubicBezTo>
                    <a:pt x="342" y="146"/>
                    <a:pt x="339" y="143"/>
                    <a:pt x="335" y="143"/>
                  </a:cubicBezTo>
                  <a:close/>
                  <a:moveTo>
                    <a:pt x="171" y="243"/>
                  </a:moveTo>
                  <a:cubicBezTo>
                    <a:pt x="132" y="243"/>
                    <a:pt x="100" y="211"/>
                    <a:pt x="100" y="171"/>
                  </a:cubicBezTo>
                  <a:cubicBezTo>
                    <a:pt x="100" y="132"/>
                    <a:pt x="132" y="100"/>
                    <a:pt x="171" y="100"/>
                  </a:cubicBezTo>
                  <a:cubicBezTo>
                    <a:pt x="210" y="100"/>
                    <a:pt x="242" y="132"/>
                    <a:pt x="242" y="171"/>
                  </a:cubicBezTo>
                  <a:cubicBezTo>
                    <a:pt x="242" y="211"/>
                    <a:pt x="210" y="243"/>
                    <a:pt x="171" y="24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FC36F9B7-A48E-4899-8B71-971F5F9ABB30}"/>
                </a:ext>
              </a:extLst>
            </p:cNvPr>
            <p:cNvSpPr>
              <a:spLocks noEditPoints="1"/>
            </p:cNvSpPr>
            <p:nvPr/>
          </p:nvSpPr>
          <p:spPr bwMode="auto">
            <a:xfrm>
              <a:off x="996593" y="1503977"/>
              <a:ext cx="2454275" cy="2463801"/>
            </a:xfrm>
            <a:custGeom>
              <a:avLst/>
              <a:gdLst>
                <a:gd name="T0" fmla="*/ 335 w 342"/>
                <a:gd name="T1" fmla="*/ 143 h 343"/>
                <a:gd name="T2" fmla="*/ 294 w 342"/>
                <a:gd name="T3" fmla="*/ 143 h 343"/>
                <a:gd name="T4" fmla="*/ 283 w 342"/>
                <a:gd name="T5" fmla="*/ 110 h 343"/>
                <a:gd name="T6" fmla="*/ 312 w 342"/>
                <a:gd name="T7" fmla="*/ 81 h 343"/>
                <a:gd name="T8" fmla="*/ 314 w 342"/>
                <a:gd name="T9" fmla="*/ 76 h 343"/>
                <a:gd name="T10" fmla="*/ 312 w 342"/>
                <a:gd name="T11" fmla="*/ 70 h 343"/>
                <a:gd name="T12" fmla="*/ 272 w 342"/>
                <a:gd name="T13" fmla="*/ 30 h 343"/>
                <a:gd name="T14" fmla="*/ 262 w 342"/>
                <a:gd name="T15" fmla="*/ 30 h 343"/>
                <a:gd name="T16" fmla="*/ 233 w 342"/>
                <a:gd name="T17" fmla="*/ 59 h 343"/>
                <a:gd name="T18" fmla="*/ 200 w 342"/>
                <a:gd name="T19" fmla="*/ 48 h 343"/>
                <a:gd name="T20" fmla="*/ 200 w 342"/>
                <a:gd name="T21" fmla="*/ 7 h 343"/>
                <a:gd name="T22" fmla="*/ 192 w 342"/>
                <a:gd name="T23" fmla="*/ 0 h 343"/>
                <a:gd name="T24" fmla="*/ 150 w 342"/>
                <a:gd name="T25" fmla="*/ 0 h 343"/>
                <a:gd name="T26" fmla="*/ 142 w 342"/>
                <a:gd name="T27" fmla="*/ 7 h 343"/>
                <a:gd name="T28" fmla="*/ 142 w 342"/>
                <a:gd name="T29" fmla="*/ 48 h 343"/>
                <a:gd name="T30" fmla="*/ 109 w 342"/>
                <a:gd name="T31" fmla="*/ 59 h 343"/>
                <a:gd name="T32" fmla="*/ 80 w 342"/>
                <a:gd name="T33" fmla="*/ 30 h 343"/>
                <a:gd name="T34" fmla="*/ 70 w 342"/>
                <a:gd name="T35" fmla="*/ 30 h 343"/>
                <a:gd name="T36" fmla="*/ 30 w 342"/>
                <a:gd name="T37" fmla="*/ 70 h 343"/>
                <a:gd name="T38" fmla="*/ 28 w 342"/>
                <a:gd name="T39" fmla="*/ 76 h 343"/>
                <a:gd name="T40" fmla="*/ 30 w 342"/>
                <a:gd name="T41" fmla="*/ 81 h 343"/>
                <a:gd name="T42" fmla="*/ 59 w 342"/>
                <a:gd name="T43" fmla="*/ 110 h 343"/>
                <a:gd name="T44" fmla="*/ 48 w 342"/>
                <a:gd name="T45" fmla="*/ 143 h 343"/>
                <a:gd name="T46" fmla="*/ 7 w 342"/>
                <a:gd name="T47" fmla="*/ 143 h 343"/>
                <a:gd name="T48" fmla="*/ 0 w 342"/>
                <a:gd name="T49" fmla="*/ 150 h 343"/>
                <a:gd name="T50" fmla="*/ 0 w 342"/>
                <a:gd name="T51" fmla="*/ 193 h 343"/>
                <a:gd name="T52" fmla="*/ 7 w 342"/>
                <a:gd name="T53" fmla="*/ 200 h 343"/>
                <a:gd name="T54" fmla="*/ 48 w 342"/>
                <a:gd name="T55" fmla="*/ 200 h 343"/>
                <a:gd name="T56" fmla="*/ 59 w 342"/>
                <a:gd name="T57" fmla="*/ 233 h 343"/>
                <a:gd name="T58" fmla="*/ 30 w 342"/>
                <a:gd name="T59" fmla="*/ 262 h 343"/>
                <a:gd name="T60" fmla="*/ 28 w 342"/>
                <a:gd name="T61" fmla="*/ 267 h 343"/>
                <a:gd name="T62" fmla="*/ 30 w 342"/>
                <a:gd name="T63" fmla="*/ 272 h 343"/>
                <a:gd name="T64" fmla="*/ 70 w 342"/>
                <a:gd name="T65" fmla="*/ 313 h 343"/>
                <a:gd name="T66" fmla="*/ 80 w 342"/>
                <a:gd name="T67" fmla="*/ 313 h 343"/>
                <a:gd name="T68" fmla="*/ 109 w 342"/>
                <a:gd name="T69" fmla="*/ 284 h 343"/>
                <a:gd name="T70" fmla="*/ 142 w 342"/>
                <a:gd name="T71" fmla="*/ 295 h 343"/>
                <a:gd name="T72" fmla="*/ 142 w 342"/>
                <a:gd name="T73" fmla="*/ 336 h 343"/>
                <a:gd name="T74" fmla="*/ 150 w 342"/>
                <a:gd name="T75" fmla="*/ 343 h 343"/>
                <a:gd name="T76" fmla="*/ 192 w 342"/>
                <a:gd name="T77" fmla="*/ 343 h 343"/>
                <a:gd name="T78" fmla="*/ 200 w 342"/>
                <a:gd name="T79" fmla="*/ 336 h 343"/>
                <a:gd name="T80" fmla="*/ 200 w 342"/>
                <a:gd name="T81" fmla="*/ 295 h 343"/>
                <a:gd name="T82" fmla="*/ 233 w 342"/>
                <a:gd name="T83" fmla="*/ 284 h 343"/>
                <a:gd name="T84" fmla="*/ 262 w 342"/>
                <a:gd name="T85" fmla="*/ 313 h 343"/>
                <a:gd name="T86" fmla="*/ 272 w 342"/>
                <a:gd name="T87" fmla="*/ 313 h 343"/>
                <a:gd name="T88" fmla="*/ 312 w 342"/>
                <a:gd name="T89" fmla="*/ 272 h 343"/>
                <a:gd name="T90" fmla="*/ 312 w 342"/>
                <a:gd name="T91" fmla="*/ 262 h 343"/>
                <a:gd name="T92" fmla="*/ 283 w 342"/>
                <a:gd name="T93" fmla="*/ 233 h 343"/>
                <a:gd name="T94" fmla="*/ 294 w 342"/>
                <a:gd name="T95" fmla="*/ 200 h 343"/>
                <a:gd name="T96" fmla="*/ 335 w 342"/>
                <a:gd name="T97" fmla="*/ 200 h 343"/>
                <a:gd name="T98" fmla="*/ 342 w 342"/>
                <a:gd name="T99" fmla="*/ 193 h 343"/>
                <a:gd name="T100" fmla="*/ 342 w 342"/>
                <a:gd name="T101" fmla="*/ 150 h 343"/>
                <a:gd name="T102" fmla="*/ 335 w 342"/>
                <a:gd name="T103" fmla="*/ 143 h 343"/>
                <a:gd name="T104" fmla="*/ 171 w 342"/>
                <a:gd name="T105" fmla="*/ 243 h 343"/>
                <a:gd name="T106" fmla="*/ 100 w 342"/>
                <a:gd name="T107" fmla="*/ 171 h 343"/>
                <a:gd name="T108" fmla="*/ 171 w 342"/>
                <a:gd name="T109" fmla="*/ 100 h 343"/>
                <a:gd name="T110" fmla="*/ 242 w 342"/>
                <a:gd name="T111" fmla="*/ 171 h 343"/>
                <a:gd name="T112" fmla="*/ 171 w 342"/>
                <a:gd name="T113" fmla="*/ 2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2" h="343">
                  <a:moveTo>
                    <a:pt x="335" y="143"/>
                  </a:moveTo>
                  <a:cubicBezTo>
                    <a:pt x="294" y="143"/>
                    <a:pt x="294" y="143"/>
                    <a:pt x="294" y="143"/>
                  </a:cubicBezTo>
                  <a:cubicBezTo>
                    <a:pt x="291" y="132"/>
                    <a:pt x="288" y="119"/>
                    <a:pt x="283" y="110"/>
                  </a:cubicBezTo>
                  <a:cubicBezTo>
                    <a:pt x="312" y="81"/>
                    <a:pt x="312" y="81"/>
                    <a:pt x="312" y="81"/>
                  </a:cubicBezTo>
                  <a:cubicBezTo>
                    <a:pt x="314" y="79"/>
                    <a:pt x="314" y="77"/>
                    <a:pt x="314" y="76"/>
                  </a:cubicBezTo>
                  <a:cubicBezTo>
                    <a:pt x="314" y="74"/>
                    <a:pt x="314" y="72"/>
                    <a:pt x="312" y="70"/>
                  </a:cubicBezTo>
                  <a:cubicBezTo>
                    <a:pt x="272" y="30"/>
                    <a:pt x="272" y="30"/>
                    <a:pt x="272" y="30"/>
                  </a:cubicBezTo>
                  <a:cubicBezTo>
                    <a:pt x="269" y="27"/>
                    <a:pt x="265" y="27"/>
                    <a:pt x="262" y="30"/>
                  </a:cubicBezTo>
                  <a:cubicBezTo>
                    <a:pt x="233" y="59"/>
                    <a:pt x="233" y="59"/>
                    <a:pt x="233" y="59"/>
                  </a:cubicBezTo>
                  <a:cubicBezTo>
                    <a:pt x="223" y="54"/>
                    <a:pt x="211" y="51"/>
                    <a:pt x="200" y="48"/>
                  </a:cubicBezTo>
                  <a:cubicBezTo>
                    <a:pt x="200" y="7"/>
                    <a:pt x="200" y="7"/>
                    <a:pt x="200" y="7"/>
                  </a:cubicBezTo>
                  <a:cubicBezTo>
                    <a:pt x="200" y="3"/>
                    <a:pt x="196" y="0"/>
                    <a:pt x="192" y="0"/>
                  </a:cubicBezTo>
                  <a:cubicBezTo>
                    <a:pt x="150" y="0"/>
                    <a:pt x="150" y="0"/>
                    <a:pt x="150" y="0"/>
                  </a:cubicBezTo>
                  <a:cubicBezTo>
                    <a:pt x="146" y="0"/>
                    <a:pt x="142" y="3"/>
                    <a:pt x="142" y="7"/>
                  </a:cubicBezTo>
                  <a:cubicBezTo>
                    <a:pt x="142" y="48"/>
                    <a:pt x="142" y="48"/>
                    <a:pt x="142" y="48"/>
                  </a:cubicBezTo>
                  <a:cubicBezTo>
                    <a:pt x="131" y="51"/>
                    <a:pt x="119" y="54"/>
                    <a:pt x="109" y="59"/>
                  </a:cubicBezTo>
                  <a:cubicBezTo>
                    <a:pt x="80" y="30"/>
                    <a:pt x="80" y="30"/>
                    <a:pt x="80" y="30"/>
                  </a:cubicBezTo>
                  <a:cubicBezTo>
                    <a:pt x="77" y="27"/>
                    <a:pt x="73" y="27"/>
                    <a:pt x="70" y="30"/>
                  </a:cubicBezTo>
                  <a:cubicBezTo>
                    <a:pt x="30" y="70"/>
                    <a:pt x="30" y="70"/>
                    <a:pt x="30" y="70"/>
                  </a:cubicBezTo>
                  <a:cubicBezTo>
                    <a:pt x="28" y="72"/>
                    <a:pt x="28" y="74"/>
                    <a:pt x="28" y="76"/>
                  </a:cubicBezTo>
                  <a:cubicBezTo>
                    <a:pt x="28" y="77"/>
                    <a:pt x="28" y="79"/>
                    <a:pt x="30" y="81"/>
                  </a:cubicBezTo>
                  <a:cubicBezTo>
                    <a:pt x="59" y="110"/>
                    <a:pt x="59" y="110"/>
                    <a:pt x="59" y="110"/>
                  </a:cubicBezTo>
                  <a:cubicBezTo>
                    <a:pt x="54" y="119"/>
                    <a:pt x="50" y="132"/>
                    <a:pt x="48" y="143"/>
                  </a:cubicBezTo>
                  <a:cubicBezTo>
                    <a:pt x="7" y="143"/>
                    <a:pt x="7" y="143"/>
                    <a:pt x="7" y="143"/>
                  </a:cubicBezTo>
                  <a:cubicBezTo>
                    <a:pt x="3" y="143"/>
                    <a:pt x="0" y="146"/>
                    <a:pt x="0" y="150"/>
                  </a:cubicBezTo>
                  <a:cubicBezTo>
                    <a:pt x="0" y="193"/>
                    <a:pt x="0" y="193"/>
                    <a:pt x="0" y="193"/>
                  </a:cubicBezTo>
                  <a:cubicBezTo>
                    <a:pt x="0" y="197"/>
                    <a:pt x="3" y="200"/>
                    <a:pt x="7" y="200"/>
                  </a:cubicBezTo>
                  <a:cubicBezTo>
                    <a:pt x="48" y="200"/>
                    <a:pt x="48" y="200"/>
                    <a:pt x="48" y="200"/>
                  </a:cubicBezTo>
                  <a:cubicBezTo>
                    <a:pt x="50" y="211"/>
                    <a:pt x="54" y="224"/>
                    <a:pt x="59" y="233"/>
                  </a:cubicBezTo>
                  <a:cubicBezTo>
                    <a:pt x="30" y="262"/>
                    <a:pt x="30" y="262"/>
                    <a:pt x="30" y="262"/>
                  </a:cubicBezTo>
                  <a:cubicBezTo>
                    <a:pt x="28" y="264"/>
                    <a:pt x="28" y="265"/>
                    <a:pt x="28" y="267"/>
                  </a:cubicBezTo>
                  <a:cubicBezTo>
                    <a:pt x="28" y="269"/>
                    <a:pt x="28" y="271"/>
                    <a:pt x="30" y="272"/>
                  </a:cubicBezTo>
                  <a:cubicBezTo>
                    <a:pt x="70" y="313"/>
                    <a:pt x="70" y="313"/>
                    <a:pt x="70" y="313"/>
                  </a:cubicBezTo>
                  <a:cubicBezTo>
                    <a:pt x="73" y="315"/>
                    <a:pt x="77" y="315"/>
                    <a:pt x="80" y="313"/>
                  </a:cubicBezTo>
                  <a:cubicBezTo>
                    <a:pt x="109" y="284"/>
                    <a:pt x="109" y="284"/>
                    <a:pt x="109" y="284"/>
                  </a:cubicBezTo>
                  <a:cubicBezTo>
                    <a:pt x="119" y="288"/>
                    <a:pt x="131" y="292"/>
                    <a:pt x="142" y="295"/>
                  </a:cubicBezTo>
                  <a:cubicBezTo>
                    <a:pt x="142" y="336"/>
                    <a:pt x="142" y="336"/>
                    <a:pt x="142" y="336"/>
                  </a:cubicBezTo>
                  <a:cubicBezTo>
                    <a:pt x="142" y="339"/>
                    <a:pt x="146" y="343"/>
                    <a:pt x="150" y="343"/>
                  </a:cubicBezTo>
                  <a:cubicBezTo>
                    <a:pt x="192" y="343"/>
                    <a:pt x="192" y="343"/>
                    <a:pt x="192" y="343"/>
                  </a:cubicBezTo>
                  <a:cubicBezTo>
                    <a:pt x="196" y="343"/>
                    <a:pt x="200" y="339"/>
                    <a:pt x="200" y="336"/>
                  </a:cubicBezTo>
                  <a:cubicBezTo>
                    <a:pt x="200" y="295"/>
                    <a:pt x="200" y="295"/>
                    <a:pt x="200" y="295"/>
                  </a:cubicBezTo>
                  <a:cubicBezTo>
                    <a:pt x="211" y="292"/>
                    <a:pt x="223" y="288"/>
                    <a:pt x="233" y="284"/>
                  </a:cubicBezTo>
                  <a:cubicBezTo>
                    <a:pt x="262" y="313"/>
                    <a:pt x="262" y="313"/>
                    <a:pt x="262" y="313"/>
                  </a:cubicBezTo>
                  <a:cubicBezTo>
                    <a:pt x="265" y="315"/>
                    <a:pt x="269" y="315"/>
                    <a:pt x="272" y="313"/>
                  </a:cubicBezTo>
                  <a:cubicBezTo>
                    <a:pt x="312" y="272"/>
                    <a:pt x="312" y="272"/>
                    <a:pt x="312" y="272"/>
                  </a:cubicBezTo>
                  <a:cubicBezTo>
                    <a:pt x="315" y="270"/>
                    <a:pt x="315" y="265"/>
                    <a:pt x="312" y="262"/>
                  </a:cubicBezTo>
                  <a:cubicBezTo>
                    <a:pt x="283" y="233"/>
                    <a:pt x="283" y="233"/>
                    <a:pt x="283" y="233"/>
                  </a:cubicBezTo>
                  <a:cubicBezTo>
                    <a:pt x="288" y="224"/>
                    <a:pt x="291" y="211"/>
                    <a:pt x="294" y="200"/>
                  </a:cubicBezTo>
                  <a:cubicBezTo>
                    <a:pt x="335" y="200"/>
                    <a:pt x="335" y="200"/>
                    <a:pt x="335" y="200"/>
                  </a:cubicBezTo>
                  <a:cubicBezTo>
                    <a:pt x="339" y="200"/>
                    <a:pt x="342" y="197"/>
                    <a:pt x="342" y="193"/>
                  </a:cubicBezTo>
                  <a:cubicBezTo>
                    <a:pt x="342" y="150"/>
                    <a:pt x="342" y="150"/>
                    <a:pt x="342" y="150"/>
                  </a:cubicBezTo>
                  <a:cubicBezTo>
                    <a:pt x="342" y="146"/>
                    <a:pt x="339" y="143"/>
                    <a:pt x="335" y="143"/>
                  </a:cubicBezTo>
                  <a:close/>
                  <a:moveTo>
                    <a:pt x="171" y="243"/>
                  </a:moveTo>
                  <a:cubicBezTo>
                    <a:pt x="132" y="243"/>
                    <a:pt x="100" y="211"/>
                    <a:pt x="100" y="171"/>
                  </a:cubicBezTo>
                  <a:cubicBezTo>
                    <a:pt x="100" y="132"/>
                    <a:pt x="132" y="100"/>
                    <a:pt x="171" y="100"/>
                  </a:cubicBezTo>
                  <a:cubicBezTo>
                    <a:pt x="210" y="100"/>
                    <a:pt x="242" y="132"/>
                    <a:pt x="242" y="171"/>
                  </a:cubicBezTo>
                  <a:cubicBezTo>
                    <a:pt x="242" y="211"/>
                    <a:pt x="210" y="243"/>
                    <a:pt x="171" y="243"/>
                  </a:cubicBezTo>
                  <a:close/>
                </a:path>
              </a:pathLst>
            </a:custGeom>
            <a:solidFill>
              <a:schemeClr val="accent5">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7" name="Arc 37">
              <a:extLst>
                <a:ext uri="{FF2B5EF4-FFF2-40B4-BE49-F238E27FC236}">
                  <a16:creationId xmlns:a16="http://schemas.microsoft.com/office/drawing/2014/main" id="{C6B96A5D-FE7F-41CE-A9DD-496AB3B0D225}"/>
                </a:ext>
              </a:extLst>
            </p:cNvPr>
            <p:cNvSpPr>
              <a:spLocks/>
            </p:cNvSpPr>
            <p:nvPr/>
          </p:nvSpPr>
          <p:spPr bwMode="auto">
            <a:xfrm flipH="1">
              <a:off x="3673678" y="2431108"/>
              <a:ext cx="851352" cy="1359980"/>
            </a:xfrm>
            <a:custGeom>
              <a:avLst/>
              <a:gdLst>
                <a:gd name="T0" fmla="*/ 0 w 14781"/>
                <a:gd name="T1" fmla="*/ 0 h 21600"/>
                <a:gd name="T2" fmla="*/ 390 w 14781"/>
                <a:gd name="T3" fmla="*/ 169 h 21600"/>
                <a:gd name="T4" fmla="*/ 0 w 14781"/>
                <a:gd name="T5" fmla="*/ 623 h 21600"/>
                <a:gd name="T6" fmla="*/ 0 60000 65536"/>
                <a:gd name="T7" fmla="*/ 0 60000 65536"/>
                <a:gd name="T8" fmla="*/ 0 60000 65536"/>
                <a:gd name="T9" fmla="*/ 0 w 14781"/>
                <a:gd name="T10" fmla="*/ 0 h 21600"/>
                <a:gd name="T11" fmla="*/ 14781 w 14781"/>
                <a:gd name="T12" fmla="*/ 21600 h 21600"/>
              </a:gdLst>
              <a:ahLst/>
              <a:cxnLst>
                <a:cxn ang="T6">
                  <a:pos x="T0" y="T1"/>
                </a:cxn>
                <a:cxn ang="T7">
                  <a:pos x="T2" y="T3"/>
                </a:cxn>
                <a:cxn ang="T8">
                  <a:pos x="T4" y="T5"/>
                </a:cxn>
              </a:cxnLst>
              <a:rect l="T9" t="T10" r="T11" b="T12"/>
              <a:pathLst>
                <a:path w="14781" h="21600" fill="none" extrusionOk="0">
                  <a:moveTo>
                    <a:pt x="-1" y="0"/>
                  </a:moveTo>
                  <a:cubicBezTo>
                    <a:pt x="5491" y="0"/>
                    <a:pt x="10776" y="2091"/>
                    <a:pt x="14781" y="5849"/>
                  </a:cubicBezTo>
                </a:path>
                <a:path w="14781" h="21600" stroke="0" extrusionOk="0">
                  <a:moveTo>
                    <a:pt x="-1" y="0"/>
                  </a:moveTo>
                  <a:cubicBezTo>
                    <a:pt x="5491" y="0"/>
                    <a:pt x="10776" y="2091"/>
                    <a:pt x="14781" y="5849"/>
                  </a:cubicBezTo>
                  <a:lnTo>
                    <a:pt x="0" y="21600"/>
                  </a:lnTo>
                  <a:close/>
                </a:path>
              </a:pathLst>
            </a:custGeom>
            <a:noFill/>
            <a:ln w="12700">
              <a:solidFill>
                <a:schemeClr val="tx2">
                  <a:lumMod val="60000"/>
                  <a:lumOff val="40000"/>
                </a:schemeClr>
              </a:solidFill>
              <a:round/>
              <a:headEnd type="triangle" w="med" len="med"/>
              <a:tailEnd/>
            </a:ln>
          </p:spPr>
          <p:txBody>
            <a:bodyPr wrap="none" anchor="ctr"/>
            <a:lstStyle/>
            <a:p>
              <a:endParaRPr lang="en-US"/>
            </a:p>
          </p:txBody>
        </p:sp>
        <p:sp>
          <p:nvSpPr>
            <p:cNvPr id="28" name="Rectangle 27">
              <a:extLst>
                <a:ext uri="{FF2B5EF4-FFF2-40B4-BE49-F238E27FC236}">
                  <a16:creationId xmlns:a16="http://schemas.microsoft.com/office/drawing/2014/main" id="{831BEE85-5672-4F5C-8AF6-043E34DF33CA}"/>
                </a:ext>
              </a:extLst>
            </p:cNvPr>
            <p:cNvSpPr/>
            <p:nvPr/>
          </p:nvSpPr>
          <p:spPr>
            <a:xfrm>
              <a:off x="7316492" y="2919046"/>
              <a:ext cx="2716804" cy="15774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lnSpc>
                  <a:spcPct val="85000"/>
                </a:lnSpc>
                <a:spcBef>
                  <a:spcPts val="100"/>
                </a:spcBef>
                <a:spcAft>
                  <a:spcPts val="300"/>
                </a:spcAft>
              </a:pPr>
              <a:r>
                <a:rPr lang="en-US" b="1" dirty="0">
                  <a:solidFill>
                    <a:schemeClr val="accent3"/>
                  </a:solidFill>
                  <a:latin typeface="+mj-lt"/>
                </a:rPr>
                <a:t>Text</a:t>
              </a:r>
              <a:endParaRPr lang="en-US" b="1" cap="all" dirty="0">
                <a:solidFill>
                  <a:schemeClr val="accent3"/>
                </a:solidFill>
                <a:latin typeface="+mj-lt"/>
              </a:endParaRPr>
            </a:p>
          </p:txBody>
        </p:sp>
        <p:sp>
          <p:nvSpPr>
            <p:cNvPr id="29" name="Rectangle 6">
              <a:extLst>
                <a:ext uri="{FF2B5EF4-FFF2-40B4-BE49-F238E27FC236}">
                  <a16:creationId xmlns:a16="http://schemas.microsoft.com/office/drawing/2014/main" id="{A555A922-D977-49BE-8A22-93FB917F44F4}"/>
                </a:ext>
              </a:extLst>
            </p:cNvPr>
            <p:cNvSpPr>
              <a:spLocks noChangeArrowheads="1"/>
            </p:cNvSpPr>
            <p:nvPr>
              <p:custDataLst>
                <p:tags r:id="rId1"/>
              </p:custDataLst>
            </p:nvPr>
          </p:nvSpPr>
          <p:spPr bwMode="auto">
            <a:xfrm>
              <a:off x="1539719" y="2371146"/>
              <a:ext cx="1368022" cy="743296"/>
            </a:xfrm>
            <a:prstGeom prst="rect">
              <a:avLst/>
            </a:prstGeom>
            <a:noFill/>
            <a:ln w="6350">
              <a:noFill/>
              <a:miter lim="800000"/>
              <a:headEnd/>
              <a:tailEnd/>
            </a:ln>
            <a:effectLst/>
          </p:spPr>
          <p:txBody>
            <a:bodyPr lIns="0" tIns="0" rIns="0" bIns="0" anchor="ctr" anchorCtr="0"/>
            <a:lstStyle/>
            <a:p>
              <a:pPr algn="ctr" eaLnBrk="0" hangingPunct="0">
                <a:lnSpc>
                  <a:spcPct val="85000"/>
                </a:lnSpc>
                <a:spcBef>
                  <a:spcPts val="100"/>
                </a:spcBef>
                <a:spcAft>
                  <a:spcPts val="300"/>
                </a:spcAft>
              </a:pPr>
              <a:r>
                <a:rPr lang="en-US" sz="1400" b="1" dirty="0">
                  <a:solidFill>
                    <a:schemeClr val="accent5"/>
                  </a:solidFill>
                  <a:latin typeface="+mj-lt"/>
                </a:rPr>
                <a:t>Text</a:t>
              </a:r>
              <a:endParaRPr lang="en-US" sz="1400" b="1" cap="all" dirty="0">
                <a:solidFill>
                  <a:schemeClr val="accent5"/>
                </a:solidFill>
                <a:latin typeface="+mj-lt"/>
              </a:endParaRPr>
            </a:p>
          </p:txBody>
        </p:sp>
        <p:sp>
          <p:nvSpPr>
            <p:cNvPr id="30" name="Rectangle 6">
              <a:extLst>
                <a:ext uri="{FF2B5EF4-FFF2-40B4-BE49-F238E27FC236}">
                  <a16:creationId xmlns:a16="http://schemas.microsoft.com/office/drawing/2014/main" id="{96EF1B66-FE61-41BA-BBF8-1A4A46630273}"/>
                </a:ext>
              </a:extLst>
            </p:cNvPr>
            <p:cNvSpPr>
              <a:spLocks noChangeArrowheads="1"/>
            </p:cNvSpPr>
            <p:nvPr>
              <p:custDataLst>
                <p:tags r:id="rId2"/>
              </p:custDataLst>
            </p:nvPr>
          </p:nvSpPr>
          <p:spPr bwMode="auto">
            <a:xfrm>
              <a:off x="3458571" y="3903122"/>
              <a:ext cx="1368022" cy="743296"/>
            </a:xfrm>
            <a:prstGeom prst="rect">
              <a:avLst/>
            </a:prstGeom>
            <a:noFill/>
            <a:ln w="6350">
              <a:noFill/>
              <a:miter lim="800000"/>
              <a:headEnd/>
              <a:tailEnd/>
            </a:ln>
            <a:effectLst/>
          </p:spPr>
          <p:txBody>
            <a:bodyPr lIns="0" tIns="0" rIns="0" bIns="0" anchor="ctr" anchorCtr="0"/>
            <a:lstStyle/>
            <a:p>
              <a:pPr algn="ctr" eaLnBrk="0" hangingPunct="0">
                <a:lnSpc>
                  <a:spcPct val="85000"/>
                </a:lnSpc>
                <a:spcBef>
                  <a:spcPts val="100"/>
                </a:spcBef>
                <a:spcAft>
                  <a:spcPts val="300"/>
                </a:spcAft>
              </a:pPr>
              <a:r>
                <a:rPr lang="en-US" sz="1400" b="1" dirty="0">
                  <a:solidFill>
                    <a:schemeClr val="accent1"/>
                  </a:solidFill>
                  <a:latin typeface="+mj-lt"/>
                </a:rPr>
                <a:t>Text</a:t>
              </a:r>
              <a:endParaRPr lang="en-US" sz="1400" b="1" cap="all" dirty="0">
                <a:solidFill>
                  <a:schemeClr val="accent1"/>
                </a:solidFill>
                <a:latin typeface="+mj-lt"/>
              </a:endParaRPr>
            </a:p>
          </p:txBody>
        </p:sp>
        <p:sp>
          <p:nvSpPr>
            <p:cNvPr id="31" name="Rectangle 6">
              <a:extLst>
                <a:ext uri="{FF2B5EF4-FFF2-40B4-BE49-F238E27FC236}">
                  <a16:creationId xmlns:a16="http://schemas.microsoft.com/office/drawing/2014/main" id="{651403E6-FCC5-42BC-9281-85F4B399C8B8}"/>
                </a:ext>
              </a:extLst>
            </p:cNvPr>
            <p:cNvSpPr>
              <a:spLocks noChangeArrowheads="1"/>
            </p:cNvSpPr>
            <p:nvPr>
              <p:custDataLst>
                <p:tags r:id="rId3"/>
              </p:custDataLst>
            </p:nvPr>
          </p:nvSpPr>
          <p:spPr bwMode="auto">
            <a:xfrm>
              <a:off x="5255621" y="2276356"/>
              <a:ext cx="1368022" cy="743296"/>
            </a:xfrm>
            <a:prstGeom prst="rect">
              <a:avLst/>
            </a:prstGeom>
            <a:noFill/>
            <a:ln w="6350">
              <a:noFill/>
              <a:miter lim="800000"/>
              <a:headEnd/>
              <a:tailEnd/>
            </a:ln>
            <a:effectLst/>
          </p:spPr>
          <p:txBody>
            <a:bodyPr lIns="0" tIns="0" rIns="0" bIns="0" anchor="ctr" anchorCtr="0"/>
            <a:lstStyle/>
            <a:p>
              <a:pPr algn="ctr" eaLnBrk="0" hangingPunct="0">
                <a:lnSpc>
                  <a:spcPct val="85000"/>
                </a:lnSpc>
                <a:spcBef>
                  <a:spcPts val="100"/>
                </a:spcBef>
                <a:spcAft>
                  <a:spcPts val="300"/>
                </a:spcAft>
              </a:pPr>
              <a:r>
                <a:rPr lang="en-US" sz="1400" b="1" dirty="0">
                  <a:solidFill>
                    <a:schemeClr val="accent2"/>
                  </a:solidFill>
                  <a:latin typeface="+mj-lt"/>
                </a:rPr>
                <a:t>Text</a:t>
              </a:r>
              <a:endParaRPr lang="en-US" sz="1400" b="1" cap="all" dirty="0">
                <a:solidFill>
                  <a:schemeClr val="accent2"/>
                </a:solidFill>
                <a:latin typeface="+mj-lt"/>
              </a:endParaRPr>
            </a:p>
          </p:txBody>
        </p:sp>
      </p:grpSp>
      <p:sp>
        <p:nvSpPr>
          <p:cNvPr id="32" name="Rectangle 31">
            <a:extLst>
              <a:ext uri="{FF2B5EF4-FFF2-40B4-BE49-F238E27FC236}">
                <a16:creationId xmlns:a16="http://schemas.microsoft.com/office/drawing/2014/main" id="{19FF188E-7BA2-4B88-851C-5BE674FB321C}"/>
              </a:ext>
            </a:extLst>
          </p:cNvPr>
          <p:cNvSpPr/>
          <p:nvPr/>
        </p:nvSpPr>
        <p:spPr>
          <a:xfrm>
            <a:off x="334964" y="5352847"/>
            <a:ext cx="6036664" cy="1173953"/>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lIns="180000" tIns="108000" rtlCol="0" anchor="t" anchorCtr="0"/>
          <a:lstStyle/>
          <a:p>
            <a:pPr eaLnBrk="0" hangingPunct="0">
              <a:spcBef>
                <a:spcPts val="100"/>
              </a:spcBef>
              <a:spcAft>
                <a:spcPts val="100"/>
              </a:spcAft>
            </a:pPr>
            <a:r>
              <a:rPr lang="en-US" sz="1600" b="1" dirty="0">
                <a:solidFill>
                  <a:schemeClr val="tx1"/>
                </a:solidFill>
              </a:rPr>
              <a:t>Summary</a:t>
            </a:r>
          </a:p>
          <a:p>
            <a:pPr marL="176213" indent="-176213" eaLnBrk="0" hangingPunct="0">
              <a:spcBef>
                <a:spcPts val="100"/>
              </a:spcBef>
              <a:spcAft>
                <a:spcPts val="100"/>
              </a:spcAft>
              <a:buFontTx/>
              <a:buChar char="•"/>
            </a:pPr>
            <a:r>
              <a:rPr lang="en-US" sz="1600" dirty="0">
                <a:solidFill>
                  <a:schemeClr val="tx1"/>
                </a:solidFill>
              </a:rPr>
              <a:t>Text</a:t>
            </a:r>
          </a:p>
        </p:txBody>
      </p:sp>
      <p:sp>
        <p:nvSpPr>
          <p:cNvPr id="4" name="Footer Placeholder 3">
            <a:extLst>
              <a:ext uri="{FF2B5EF4-FFF2-40B4-BE49-F238E27FC236}">
                <a16:creationId xmlns:a16="http://schemas.microsoft.com/office/drawing/2014/main" id="{839A5AC3-FEFE-4B19-98EB-E19E166C2EAD}"/>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D359E296-C641-46BF-B4FB-F9C41BD3D52C}"/>
              </a:ext>
            </a:extLst>
          </p:cNvPr>
          <p:cNvSpPr>
            <a:spLocks noGrp="1"/>
          </p:cNvSpPr>
          <p:nvPr>
            <p:ph type="sldNum" sz="quarter" idx="10"/>
          </p:nvPr>
        </p:nvSpPr>
        <p:spPr/>
        <p:txBody>
          <a:bodyPr/>
          <a:lstStyle/>
          <a:p>
            <a:fld id="{1F90F471-3972-4120-B8B3-0237DE626C35}" type="slidenum">
              <a:rPr lang="en-US" smtClean="0"/>
              <a:pPr/>
              <a:t>146</a:t>
            </a:fld>
            <a:endParaRPr lang="en-US" dirty="0"/>
          </a:p>
        </p:txBody>
      </p:sp>
    </p:spTree>
    <p:extLst>
      <p:ext uri="{BB962C8B-B14F-4D97-AF65-F5344CB8AC3E}">
        <p14:creationId xmlns:p14="http://schemas.microsoft.com/office/powerpoint/2010/main" val="27212492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Subcontracting and collaboration</a:t>
            </a:r>
          </a:p>
        </p:txBody>
      </p:sp>
      <p:grpSp>
        <p:nvGrpSpPr>
          <p:cNvPr id="3" name="Group 2" descr="Collaboration">
            <a:extLst>
              <a:ext uri="{FF2B5EF4-FFF2-40B4-BE49-F238E27FC236}">
                <a16:creationId xmlns:a16="http://schemas.microsoft.com/office/drawing/2014/main" id="{2BBBE7FD-A07F-4AB9-8F4C-AADDA4FCB20F}"/>
              </a:ext>
            </a:extLst>
          </p:cNvPr>
          <p:cNvGrpSpPr/>
          <p:nvPr/>
        </p:nvGrpSpPr>
        <p:grpSpPr>
          <a:xfrm>
            <a:off x="381000" y="1172850"/>
            <a:ext cx="11429366" cy="4953313"/>
            <a:chOff x="381000" y="1172850"/>
            <a:chExt cx="11429366" cy="4953313"/>
          </a:xfrm>
        </p:grpSpPr>
        <p:sp>
          <p:nvSpPr>
            <p:cNvPr id="21" name="Rectangle 20">
              <a:extLst>
                <a:ext uri="{FF2B5EF4-FFF2-40B4-BE49-F238E27FC236}">
                  <a16:creationId xmlns:a16="http://schemas.microsoft.com/office/drawing/2014/main" id="{7CCC6285-AFF8-4295-BE1C-9188DB5ECA52}"/>
                </a:ext>
                <a:ext uri="{C183D7F6-B498-43B3-948B-1728B52AA6E4}">
                  <adec:decorative xmlns:adec="http://schemas.microsoft.com/office/drawing/2017/decorative" val="1"/>
                </a:ext>
              </a:extLst>
            </p:cNvPr>
            <p:cNvSpPr/>
            <p:nvPr/>
          </p:nvSpPr>
          <p:spPr>
            <a:xfrm>
              <a:off x="381000" y="1794027"/>
              <a:ext cx="11429366" cy="433213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7" name="Freeform 211">
              <a:extLst>
                <a:ext uri="{FF2B5EF4-FFF2-40B4-BE49-F238E27FC236}">
                  <a16:creationId xmlns:a16="http://schemas.microsoft.com/office/drawing/2014/main" id="{CAAD629A-84BC-4E40-8393-B862A859005B}"/>
                </a:ext>
                <a:ext uri="{C183D7F6-B498-43B3-948B-1728B52AA6E4}">
                  <adec:decorative xmlns:adec="http://schemas.microsoft.com/office/drawing/2017/decorative" val="1"/>
                </a:ext>
              </a:extLst>
            </p:cNvPr>
            <p:cNvSpPr>
              <a:spLocks noEditPoints="1"/>
            </p:cNvSpPr>
            <p:nvPr/>
          </p:nvSpPr>
          <p:spPr bwMode="auto">
            <a:xfrm>
              <a:off x="4360095" y="1172850"/>
              <a:ext cx="4502208" cy="4576620"/>
            </a:xfrm>
            <a:custGeom>
              <a:avLst/>
              <a:gdLst>
                <a:gd name="T0" fmla="*/ 597 w 608"/>
                <a:gd name="T1" fmla="*/ 273 h 618"/>
                <a:gd name="T2" fmla="*/ 541 w 608"/>
                <a:gd name="T3" fmla="*/ 209 h 618"/>
                <a:gd name="T4" fmla="*/ 576 w 608"/>
                <a:gd name="T5" fmla="*/ 170 h 618"/>
                <a:gd name="T6" fmla="*/ 545 w 608"/>
                <a:gd name="T7" fmla="*/ 129 h 618"/>
                <a:gd name="T8" fmla="*/ 459 w 608"/>
                <a:gd name="T9" fmla="*/ 104 h 618"/>
                <a:gd name="T10" fmla="*/ 464 w 608"/>
                <a:gd name="T11" fmla="*/ 55 h 618"/>
                <a:gd name="T12" fmla="*/ 415 w 608"/>
                <a:gd name="T13" fmla="*/ 39 h 618"/>
                <a:gd name="T14" fmla="*/ 328 w 608"/>
                <a:gd name="T15" fmla="*/ 56 h 618"/>
                <a:gd name="T16" fmla="*/ 315 w 608"/>
                <a:gd name="T17" fmla="*/ 8 h 618"/>
                <a:gd name="T18" fmla="*/ 269 w 608"/>
                <a:gd name="T19" fmla="*/ 6 h 618"/>
                <a:gd name="T20" fmla="*/ 257 w 608"/>
                <a:gd name="T21" fmla="*/ 58 h 618"/>
                <a:gd name="T22" fmla="*/ 165 w 608"/>
                <a:gd name="T23" fmla="*/ 43 h 618"/>
                <a:gd name="T24" fmla="*/ 118 w 608"/>
                <a:gd name="T25" fmla="*/ 64 h 618"/>
                <a:gd name="T26" fmla="*/ 131 w 608"/>
                <a:gd name="T27" fmla="*/ 122 h 618"/>
                <a:gd name="T28" fmla="*/ 55 w 608"/>
                <a:gd name="T29" fmla="*/ 145 h 618"/>
                <a:gd name="T30" fmla="*/ 25 w 608"/>
                <a:gd name="T31" fmla="*/ 186 h 618"/>
                <a:gd name="T32" fmla="*/ 63 w 608"/>
                <a:gd name="T33" fmla="*/ 228 h 618"/>
                <a:gd name="T34" fmla="*/ 8 w 608"/>
                <a:gd name="T35" fmla="*/ 292 h 618"/>
                <a:gd name="T36" fmla="*/ 5 w 608"/>
                <a:gd name="T37" fmla="*/ 343 h 618"/>
                <a:gd name="T38" fmla="*/ 54 w 608"/>
                <a:gd name="T39" fmla="*/ 356 h 618"/>
                <a:gd name="T40" fmla="*/ 48 w 608"/>
                <a:gd name="T41" fmla="*/ 439 h 618"/>
                <a:gd name="T42" fmla="*/ 56 w 608"/>
                <a:gd name="T43" fmla="*/ 489 h 618"/>
                <a:gd name="T44" fmla="*/ 117 w 608"/>
                <a:gd name="T45" fmla="*/ 491 h 618"/>
                <a:gd name="T46" fmla="*/ 146 w 608"/>
                <a:gd name="T47" fmla="*/ 509 h 618"/>
                <a:gd name="T48" fmla="*/ 140 w 608"/>
                <a:gd name="T49" fmla="*/ 563 h 618"/>
                <a:gd name="T50" fmla="*/ 183 w 608"/>
                <a:gd name="T51" fmla="*/ 589 h 618"/>
                <a:gd name="T52" fmla="*/ 220 w 608"/>
                <a:gd name="T53" fmla="*/ 550 h 618"/>
                <a:gd name="T54" fmla="*/ 269 w 608"/>
                <a:gd name="T55" fmla="*/ 563 h 618"/>
                <a:gd name="T56" fmla="*/ 296 w 608"/>
                <a:gd name="T57" fmla="*/ 617 h 618"/>
                <a:gd name="T58" fmla="*/ 345 w 608"/>
                <a:gd name="T59" fmla="*/ 604 h 618"/>
                <a:gd name="T60" fmla="*/ 399 w 608"/>
                <a:gd name="T61" fmla="*/ 547 h 618"/>
                <a:gd name="T62" fmla="*/ 440 w 608"/>
                <a:gd name="T63" fmla="*/ 587 h 618"/>
                <a:gd name="T64" fmla="*/ 482 w 608"/>
                <a:gd name="T65" fmla="*/ 558 h 618"/>
                <a:gd name="T66" fmla="*/ 471 w 608"/>
                <a:gd name="T67" fmla="*/ 504 h 618"/>
                <a:gd name="T68" fmla="*/ 507 w 608"/>
                <a:gd name="T69" fmla="*/ 471 h 618"/>
                <a:gd name="T70" fmla="*/ 568 w 608"/>
                <a:gd name="T71" fmla="*/ 473 h 618"/>
                <a:gd name="T72" fmla="*/ 580 w 608"/>
                <a:gd name="T73" fmla="*/ 424 h 618"/>
                <a:gd name="T74" fmla="*/ 559 w 608"/>
                <a:gd name="T75" fmla="*/ 345 h 618"/>
                <a:gd name="T76" fmla="*/ 608 w 608"/>
                <a:gd name="T77" fmla="*/ 323 h 618"/>
                <a:gd name="T78" fmla="*/ 103 w 608"/>
                <a:gd name="T79" fmla="*/ 326 h 618"/>
                <a:gd name="T80" fmla="*/ 103 w 608"/>
                <a:gd name="T81" fmla="*/ 300 h 618"/>
                <a:gd name="T82" fmla="*/ 103 w 608"/>
                <a:gd name="T83" fmla="*/ 326 h 618"/>
                <a:gd name="T84" fmla="*/ 456 w 608"/>
                <a:gd name="T85" fmla="*/ 161 h 618"/>
                <a:gd name="T86" fmla="*/ 438 w 608"/>
                <a:gd name="T87" fmla="*/ 180 h 618"/>
                <a:gd name="T88" fmla="*/ 304 w 608"/>
                <a:gd name="T89" fmla="*/ 98 h 618"/>
                <a:gd name="T90" fmla="*/ 304 w 608"/>
                <a:gd name="T91" fmla="*/ 125 h 618"/>
                <a:gd name="T92" fmla="*/ 304 w 608"/>
                <a:gd name="T93" fmla="*/ 98 h 618"/>
                <a:gd name="T94" fmla="*/ 171 w 608"/>
                <a:gd name="T95" fmla="*/ 161 h 618"/>
                <a:gd name="T96" fmla="*/ 153 w 608"/>
                <a:gd name="T97" fmla="*/ 180 h 618"/>
                <a:gd name="T98" fmla="*/ 171 w 608"/>
                <a:gd name="T99" fmla="*/ 464 h 618"/>
                <a:gd name="T100" fmla="*/ 153 w 608"/>
                <a:gd name="T101" fmla="*/ 446 h 618"/>
                <a:gd name="T102" fmla="*/ 171 w 608"/>
                <a:gd name="T103" fmla="*/ 464 h 618"/>
                <a:gd name="T104" fmla="*/ 291 w 608"/>
                <a:gd name="T105" fmla="*/ 514 h 618"/>
                <a:gd name="T106" fmla="*/ 318 w 608"/>
                <a:gd name="T107" fmla="*/ 514 h 618"/>
                <a:gd name="T108" fmla="*/ 456 w 608"/>
                <a:gd name="T109" fmla="*/ 464 h 618"/>
                <a:gd name="T110" fmla="*/ 438 w 608"/>
                <a:gd name="T111" fmla="*/ 446 h 618"/>
                <a:gd name="T112" fmla="*/ 456 w 608"/>
                <a:gd name="T113" fmla="*/ 464 h 618"/>
                <a:gd name="T114" fmla="*/ 129 w 608"/>
                <a:gd name="T115" fmla="*/ 309 h 618"/>
                <a:gd name="T116" fmla="*/ 480 w 608"/>
                <a:gd name="T117" fmla="*/ 309 h 618"/>
                <a:gd name="T118" fmla="*/ 506 w 608"/>
                <a:gd name="T119" fmla="*/ 326 h 618"/>
                <a:gd name="T120" fmla="*/ 506 w 608"/>
                <a:gd name="T121" fmla="*/ 300 h 618"/>
                <a:gd name="T122" fmla="*/ 506 w 608"/>
                <a:gd name="T123" fmla="*/ 3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618">
                  <a:moveTo>
                    <a:pt x="606" y="280"/>
                  </a:moveTo>
                  <a:cubicBezTo>
                    <a:pt x="606" y="276"/>
                    <a:pt x="602" y="272"/>
                    <a:pt x="597" y="273"/>
                  </a:cubicBezTo>
                  <a:cubicBezTo>
                    <a:pt x="557" y="264"/>
                    <a:pt x="557" y="264"/>
                    <a:pt x="557" y="264"/>
                  </a:cubicBezTo>
                  <a:cubicBezTo>
                    <a:pt x="554" y="245"/>
                    <a:pt x="548" y="227"/>
                    <a:pt x="541" y="209"/>
                  </a:cubicBezTo>
                  <a:cubicBezTo>
                    <a:pt x="572" y="180"/>
                    <a:pt x="572" y="180"/>
                    <a:pt x="572" y="180"/>
                  </a:cubicBezTo>
                  <a:cubicBezTo>
                    <a:pt x="576" y="178"/>
                    <a:pt x="578" y="174"/>
                    <a:pt x="576" y="170"/>
                  </a:cubicBezTo>
                  <a:cubicBezTo>
                    <a:pt x="556" y="132"/>
                    <a:pt x="556" y="132"/>
                    <a:pt x="556" y="132"/>
                  </a:cubicBezTo>
                  <a:cubicBezTo>
                    <a:pt x="554" y="128"/>
                    <a:pt x="549" y="127"/>
                    <a:pt x="545" y="129"/>
                  </a:cubicBezTo>
                  <a:cubicBezTo>
                    <a:pt x="496" y="139"/>
                    <a:pt x="496" y="139"/>
                    <a:pt x="496" y="139"/>
                  </a:cubicBezTo>
                  <a:cubicBezTo>
                    <a:pt x="485" y="126"/>
                    <a:pt x="472" y="114"/>
                    <a:pt x="459" y="104"/>
                  </a:cubicBezTo>
                  <a:cubicBezTo>
                    <a:pt x="467" y="65"/>
                    <a:pt x="467" y="65"/>
                    <a:pt x="467" y="65"/>
                  </a:cubicBezTo>
                  <a:cubicBezTo>
                    <a:pt x="469" y="61"/>
                    <a:pt x="468" y="57"/>
                    <a:pt x="464" y="55"/>
                  </a:cubicBezTo>
                  <a:cubicBezTo>
                    <a:pt x="426" y="35"/>
                    <a:pt x="426" y="35"/>
                    <a:pt x="426" y="35"/>
                  </a:cubicBezTo>
                  <a:cubicBezTo>
                    <a:pt x="422" y="33"/>
                    <a:pt x="417" y="35"/>
                    <a:pt x="415" y="39"/>
                  </a:cubicBezTo>
                  <a:cubicBezTo>
                    <a:pt x="382" y="67"/>
                    <a:pt x="382" y="67"/>
                    <a:pt x="382" y="67"/>
                  </a:cubicBezTo>
                  <a:cubicBezTo>
                    <a:pt x="366" y="62"/>
                    <a:pt x="343" y="58"/>
                    <a:pt x="328" y="56"/>
                  </a:cubicBezTo>
                  <a:cubicBezTo>
                    <a:pt x="328" y="55"/>
                    <a:pt x="328" y="55"/>
                    <a:pt x="328" y="55"/>
                  </a:cubicBezTo>
                  <a:cubicBezTo>
                    <a:pt x="315" y="8"/>
                    <a:pt x="315" y="8"/>
                    <a:pt x="315" y="8"/>
                  </a:cubicBezTo>
                  <a:cubicBezTo>
                    <a:pt x="314" y="4"/>
                    <a:pt x="314" y="0"/>
                    <a:pt x="310" y="1"/>
                  </a:cubicBezTo>
                  <a:cubicBezTo>
                    <a:pt x="269" y="6"/>
                    <a:pt x="269" y="6"/>
                    <a:pt x="269" y="6"/>
                  </a:cubicBezTo>
                  <a:cubicBezTo>
                    <a:pt x="265" y="6"/>
                    <a:pt x="263" y="10"/>
                    <a:pt x="263" y="15"/>
                  </a:cubicBezTo>
                  <a:cubicBezTo>
                    <a:pt x="257" y="58"/>
                    <a:pt x="257" y="58"/>
                    <a:pt x="257" y="58"/>
                  </a:cubicBezTo>
                  <a:cubicBezTo>
                    <a:pt x="238" y="62"/>
                    <a:pt x="219" y="67"/>
                    <a:pt x="202" y="75"/>
                  </a:cubicBezTo>
                  <a:cubicBezTo>
                    <a:pt x="165" y="43"/>
                    <a:pt x="165" y="43"/>
                    <a:pt x="165" y="43"/>
                  </a:cubicBezTo>
                  <a:cubicBezTo>
                    <a:pt x="162" y="39"/>
                    <a:pt x="157" y="38"/>
                    <a:pt x="154" y="40"/>
                  </a:cubicBezTo>
                  <a:cubicBezTo>
                    <a:pt x="118" y="64"/>
                    <a:pt x="118" y="64"/>
                    <a:pt x="118" y="64"/>
                  </a:cubicBezTo>
                  <a:cubicBezTo>
                    <a:pt x="115" y="66"/>
                    <a:pt x="114" y="71"/>
                    <a:pt x="116" y="75"/>
                  </a:cubicBezTo>
                  <a:cubicBezTo>
                    <a:pt x="131" y="122"/>
                    <a:pt x="131" y="122"/>
                    <a:pt x="131" y="122"/>
                  </a:cubicBezTo>
                  <a:cubicBezTo>
                    <a:pt x="121" y="132"/>
                    <a:pt x="111" y="142"/>
                    <a:pt x="102" y="154"/>
                  </a:cubicBezTo>
                  <a:cubicBezTo>
                    <a:pt x="55" y="145"/>
                    <a:pt x="55" y="145"/>
                    <a:pt x="55" y="145"/>
                  </a:cubicBezTo>
                  <a:cubicBezTo>
                    <a:pt x="51" y="143"/>
                    <a:pt x="46" y="144"/>
                    <a:pt x="44" y="148"/>
                  </a:cubicBezTo>
                  <a:cubicBezTo>
                    <a:pt x="25" y="186"/>
                    <a:pt x="25" y="186"/>
                    <a:pt x="25" y="186"/>
                  </a:cubicBezTo>
                  <a:cubicBezTo>
                    <a:pt x="23" y="190"/>
                    <a:pt x="25" y="195"/>
                    <a:pt x="29" y="197"/>
                  </a:cubicBezTo>
                  <a:cubicBezTo>
                    <a:pt x="63" y="228"/>
                    <a:pt x="63" y="228"/>
                    <a:pt x="63" y="228"/>
                  </a:cubicBezTo>
                  <a:cubicBezTo>
                    <a:pt x="58" y="243"/>
                    <a:pt x="54" y="258"/>
                    <a:pt x="52" y="274"/>
                  </a:cubicBezTo>
                  <a:cubicBezTo>
                    <a:pt x="8" y="292"/>
                    <a:pt x="8" y="292"/>
                    <a:pt x="8" y="292"/>
                  </a:cubicBezTo>
                  <a:cubicBezTo>
                    <a:pt x="4" y="293"/>
                    <a:pt x="0" y="296"/>
                    <a:pt x="1" y="300"/>
                  </a:cubicBezTo>
                  <a:cubicBezTo>
                    <a:pt x="5" y="343"/>
                    <a:pt x="5" y="343"/>
                    <a:pt x="5" y="343"/>
                  </a:cubicBezTo>
                  <a:cubicBezTo>
                    <a:pt x="6" y="347"/>
                    <a:pt x="10" y="350"/>
                    <a:pt x="15" y="350"/>
                  </a:cubicBezTo>
                  <a:cubicBezTo>
                    <a:pt x="54" y="356"/>
                    <a:pt x="54" y="356"/>
                    <a:pt x="54" y="356"/>
                  </a:cubicBezTo>
                  <a:cubicBezTo>
                    <a:pt x="58" y="379"/>
                    <a:pt x="65" y="400"/>
                    <a:pt x="75" y="420"/>
                  </a:cubicBezTo>
                  <a:cubicBezTo>
                    <a:pt x="48" y="439"/>
                    <a:pt x="48" y="439"/>
                    <a:pt x="48" y="439"/>
                  </a:cubicBezTo>
                  <a:cubicBezTo>
                    <a:pt x="44" y="440"/>
                    <a:pt x="41" y="444"/>
                    <a:pt x="42" y="448"/>
                  </a:cubicBezTo>
                  <a:cubicBezTo>
                    <a:pt x="56" y="489"/>
                    <a:pt x="56" y="489"/>
                    <a:pt x="56" y="489"/>
                  </a:cubicBezTo>
                  <a:cubicBezTo>
                    <a:pt x="57" y="493"/>
                    <a:pt x="62" y="495"/>
                    <a:pt x="66" y="494"/>
                  </a:cubicBezTo>
                  <a:cubicBezTo>
                    <a:pt x="117" y="491"/>
                    <a:pt x="117" y="491"/>
                    <a:pt x="117" y="491"/>
                  </a:cubicBezTo>
                  <a:cubicBezTo>
                    <a:pt x="119" y="490"/>
                    <a:pt x="121" y="489"/>
                    <a:pt x="122" y="487"/>
                  </a:cubicBezTo>
                  <a:cubicBezTo>
                    <a:pt x="130" y="495"/>
                    <a:pt x="138" y="502"/>
                    <a:pt x="146" y="509"/>
                  </a:cubicBezTo>
                  <a:cubicBezTo>
                    <a:pt x="145" y="512"/>
                    <a:pt x="145" y="512"/>
                    <a:pt x="145" y="512"/>
                  </a:cubicBezTo>
                  <a:cubicBezTo>
                    <a:pt x="140" y="563"/>
                    <a:pt x="140" y="563"/>
                    <a:pt x="140" y="563"/>
                  </a:cubicBezTo>
                  <a:cubicBezTo>
                    <a:pt x="138" y="567"/>
                    <a:pt x="139" y="571"/>
                    <a:pt x="143" y="573"/>
                  </a:cubicBezTo>
                  <a:cubicBezTo>
                    <a:pt x="183" y="589"/>
                    <a:pt x="183" y="589"/>
                    <a:pt x="183" y="589"/>
                  </a:cubicBezTo>
                  <a:cubicBezTo>
                    <a:pt x="187" y="591"/>
                    <a:pt x="192" y="588"/>
                    <a:pt x="193" y="584"/>
                  </a:cubicBezTo>
                  <a:cubicBezTo>
                    <a:pt x="220" y="550"/>
                    <a:pt x="220" y="550"/>
                    <a:pt x="220" y="550"/>
                  </a:cubicBezTo>
                  <a:cubicBezTo>
                    <a:pt x="235" y="556"/>
                    <a:pt x="252" y="560"/>
                    <a:pt x="269" y="562"/>
                  </a:cubicBezTo>
                  <a:cubicBezTo>
                    <a:pt x="269" y="563"/>
                    <a:pt x="269" y="563"/>
                    <a:pt x="269" y="563"/>
                  </a:cubicBezTo>
                  <a:cubicBezTo>
                    <a:pt x="288" y="610"/>
                    <a:pt x="288" y="610"/>
                    <a:pt x="288" y="610"/>
                  </a:cubicBezTo>
                  <a:cubicBezTo>
                    <a:pt x="288" y="614"/>
                    <a:pt x="292" y="618"/>
                    <a:pt x="296" y="617"/>
                  </a:cubicBezTo>
                  <a:cubicBezTo>
                    <a:pt x="339" y="613"/>
                    <a:pt x="339" y="613"/>
                    <a:pt x="339" y="613"/>
                  </a:cubicBezTo>
                  <a:cubicBezTo>
                    <a:pt x="343" y="612"/>
                    <a:pt x="346" y="608"/>
                    <a:pt x="345" y="604"/>
                  </a:cubicBezTo>
                  <a:cubicBezTo>
                    <a:pt x="353" y="560"/>
                    <a:pt x="353" y="560"/>
                    <a:pt x="353" y="560"/>
                  </a:cubicBezTo>
                  <a:cubicBezTo>
                    <a:pt x="369" y="557"/>
                    <a:pt x="384" y="553"/>
                    <a:pt x="399" y="547"/>
                  </a:cubicBezTo>
                  <a:cubicBezTo>
                    <a:pt x="430" y="582"/>
                    <a:pt x="430" y="582"/>
                    <a:pt x="430" y="582"/>
                  </a:cubicBezTo>
                  <a:cubicBezTo>
                    <a:pt x="432" y="587"/>
                    <a:pt x="436" y="589"/>
                    <a:pt x="440" y="587"/>
                  </a:cubicBezTo>
                  <a:cubicBezTo>
                    <a:pt x="479" y="568"/>
                    <a:pt x="479" y="568"/>
                    <a:pt x="479" y="568"/>
                  </a:cubicBezTo>
                  <a:cubicBezTo>
                    <a:pt x="483" y="567"/>
                    <a:pt x="484" y="562"/>
                    <a:pt x="482" y="558"/>
                  </a:cubicBezTo>
                  <a:cubicBezTo>
                    <a:pt x="474" y="508"/>
                    <a:pt x="474" y="508"/>
                    <a:pt x="474" y="508"/>
                  </a:cubicBezTo>
                  <a:cubicBezTo>
                    <a:pt x="471" y="504"/>
                    <a:pt x="471" y="504"/>
                    <a:pt x="471" y="504"/>
                  </a:cubicBezTo>
                  <a:cubicBezTo>
                    <a:pt x="483" y="493"/>
                    <a:pt x="494" y="482"/>
                    <a:pt x="504" y="470"/>
                  </a:cubicBezTo>
                  <a:cubicBezTo>
                    <a:pt x="507" y="471"/>
                    <a:pt x="507" y="471"/>
                    <a:pt x="507" y="471"/>
                  </a:cubicBezTo>
                  <a:cubicBezTo>
                    <a:pt x="557" y="477"/>
                    <a:pt x="557" y="477"/>
                    <a:pt x="557" y="477"/>
                  </a:cubicBezTo>
                  <a:cubicBezTo>
                    <a:pt x="561" y="479"/>
                    <a:pt x="566" y="477"/>
                    <a:pt x="568" y="473"/>
                  </a:cubicBezTo>
                  <a:cubicBezTo>
                    <a:pt x="584" y="433"/>
                    <a:pt x="584" y="433"/>
                    <a:pt x="584" y="433"/>
                  </a:cubicBezTo>
                  <a:cubicBezTo>
                    <a:pt x="586" y="430"/>
                    <a:pt x="584" y="425"/>
                    <a:pt x="580" y="424"/>
                  </a:cubicBezTo>
                  <a:cubicBezTo>
                    <a:pt x="546" y="397"/>
                    <a:pt x="546" y="397"/>
                    <a:pt x="546" y="397"/>
                  </a:cubicBezTo>
                  <a:cubicBezTo>
                    <a:pt x="552" y="380"/>
                    <a:pt x="556" y="363"/>
                    <a:pt x="559" y="345"/>
                  </a:cubicBezTo>
                  <a:cubicBezTo>
                    <a:pt x="600" y="331"/>
                    <a:pt x="600" y="331"/>
                    <a:pt x="600" y="331"/>
                  </a:cubicBezTo>
                  <a:cubicBezTo>
                    <a:pt x="605" y="330"/>
                    <a:pt x="608" y="327"/>
                    <a:pt x="608" y="323"/>
                  </a:cubicBezTo>
                  <a:lnTo>
                    <a:pt x="606" y="280"/>
                  </a:lnTo>
                  <a:close/>
                  <a:moveTo>
                    <a:pt x="103" y="326"/>
                  </a:moveTo>
                  <a:cubicBezTo>
                    <a:pt x="96" y="326"/>
                    <a:pt x="90" y="320"/>
                    <a:pt x="90" y="313"/>
                  </a:cubicBezTo>
                  <a:cubicBezTo>
                    <a:pt x="90" y="306"/>
                    <a:pt x="96" y="300"/>
                    <a:pt x="103" y="300"/>
                  </a:cubicBezTo>
                  <a:cubicBezTo>
                    <a:pt x="110" y="300"/>
                    <a:pt x="116" y="306"/>
                    <a:pt x="116" y="313"/>
                  </a:cubicBezTo>
                  <a:cubicBezTo>
                    <a:pt x="116" y="320"/>
                    <a:pt x="110" y="326"/>
                    <a:pt x="103" y="326"/>
                  </a:cubicBezTo>
                  <a:close/>
                  <a:moveTo>
                    <a:pt x="438" y="161"/>
                  </a:moveTo>
                  <a:cubicBezTo>
                    <a:pt x="443" y="156"/>
                    <a:pt x="451" y="156"/>
                    <a:pt x="456" y="161"/>
                  </a:cubicBezTo>
                  <a:cubicBezTo>
                    <a:pt x="461" y="166"/>
                    <a:pt x="461" y="175"/>
                    <a:pt x="456" y="180"/>
                  </a:cubicBezTo>
                  <a:cubicBezTo>
                    <a:pt x="451" y="185"/>
                    <a:pt x="443" y="185"/>
                    <a:pt x="438" y="180"/>
                  </a:cubicBezTo>
                  <a:cubicBezTo>
                    <a:pt x="432" y="175"/>
                    <a:pt x="432" y="166"/>
                    <a:pt x="438" y="161"/>
                  </a:cubicBezTo>
                  <a:close/>
                  <a:moveTo>
                    <a:pt x="304" y="98"/>
                  </a:moveTo>
                  <a:cubicBezTo>
                    <a:pt x="312" y="98"/>
                    <a:pt x="318" y="104"/>
                    <a:pt x="318" y="111"/>
                  </a:cubicBezTo>
                  <a:cubicBezTo>
                    <a:pt x="318" y="119"/>
                    <a:pt x="312" y="125"/>
                    <a:pt x="304" y="125"/>
                  </a:cubicBezTo>
                  <a:cubicBezTo>
                    <a:pt x="297" y="125"/>
                    <a:pt x="291" y="119"/>
                    <a:pt x="291" y="111"/>
                  </a:cubicBezTo>
                  <a:cubicBezTo>
                    <a:pt x="291" y="104"/>
                    <a:pt x="297" y="98"/>
                    <a:pt x="304" y="98"/>
                  </a:cubicBezTo>
                  <a:close/>
                  <a:moveTo>
                    <a:pt x="153" y="161"/>
                  </a:moveTo>
                  <a:cubicBezTo>
                    <a:pt x="158" y="156"/>
                    <a:pt x="166" y="156"/>
                    <a:pt x="171" y="161"/>
                  </a:cubicBezTo>
                  <a:cubicBezTo>
                    <a:pt x="176" y="166"/>
                    <a:pt x="176" y="175"/>
                    <a:pt x="171" y="180"/>
                  </a:cubicBezTo>
                  <a:cubicBezTo>
                    <a:pt x="166" y="185"/>
                    <a:pt x="158" y="185"/>
                    <a:pt x="153" y="180"/>
                  </a:cubicBezTo>
                  <a:cubicBezTo>
                    <a:pt x="148" y="175"/>
                    <a:pt x="148" y="166"/>
                    <a:pt x="153" y="161"/>
                  </a:cubicBezTo>
                  <a:close/>
                  <a:moveTo>
                    <a:pt x="171" y="464"/>
                  </a:moveTo>
                  <a:cubicBezTo>
                    <a:pt x="166" y="470"/>
                    <a:pt x="158" y="470"/>
                    <a:pt x="153" y="464"/>
                  </a:cubicBezTo>
                  <a:cubicBezTo>
                    <a:pt x="148" y="459"/>
                    <a:pt x="148" y="451"/>
                    <a:pt x="153" y="446"/>
                  </a:cubicBezTo>
                  <a:cubicBezTo>
                    <a:pt x="158" y="441"/>
                    <a:pt x="166" y="441"/>
                    <a:pt x="171" y="446"/>
                  </a:cubicBezTo>
                  <a:cubicBezTo>
                    <a:pt x="176" y="451"/>
                    <a:pt x="176" y="459"/>
                    <a:pt x="171" y="464"/>
                  </a:cubicBezTo>
                  <a:close/>
                  <a:moveTo>
                    <a:pt x="304" y="527"/>
                  </a:moveTo>
                  <a:cubicBezTo>
                    <a:pt x="297" y="527"/>
                    <a:pt x="291" y="521"/>
                    <a:pt x="291" y="514"/>
                  </a:cubicBezTo>
                  <a:cubicBezTo>
                    <a:pt x="291" y="507"/>
                    <a:pt x="297" y="501"/>
                    <a:pt x="304" y="501"/>
                  </a:cubicBezTo>
                  <a:cubicBezTo>
                    <a:pt x="312" y="501"/>
                    <a:pt x="318" y="507"/>
                    <a:pt x="318" y="514"/>
                  </a:cubicBezTo>
                  <a:cubicBezTo>
                    <a:pt x="318" y="521"/>
                    <a:pt x="312" y="527"/>
                    <a:pt x="304" y="527"/>
                  </a:cubicBezTo>
                  <a:close/>
                  <a:moveTo>
                    <a:pt x="456" y="464"/>
                  </a:moveTo>
                  <a:cubicBezTo>
                    <a:pt x="451" y="470"/>
                    <a:pt x="443" y="470"/>
                    <a:pt x="438" y="464"/>
                  </a:cubicBezTo>
                  <a:cubicBezTo>
                    <a:pt x="432" y="459"/>
                    <a:pt x="432" y="451"/>
                    <a:pt x="438" y="446"/>
                  </a:cubicBezTo>
                  <a:cubicBezTo>
                    <a:pt x="443" y="441"/>
                    <a:pt x="451" y="441"/>
                    <a:pt x="456" y="446"/>
                  </a:cubicBezTo>
                  <a:cubicBezTo>
                    <a:pt x="461" y="451"/>
                    <a:pt x="461" y="459"/>
                    <a:pt x="456" y="464"/>
                  </a:cubicBezTo>
                  <a:close/>
                  <a:moveTo>
                    <a:pt x="304" y="484"/>
                  </a:moveTo>
                  <a:cubicBezTo>
                    <a:pt x="208" y="484"/>
                    <a:pt x="129" y="406"/>
                    <a:pt x="129" y="309"/>
                  </a:cubicBezTo>
                  <a:cubicBezTo>
                    <a:pt x="129" y="212"/>
                    <a:pt x="208" y="134"/>
                    <a:pt x="304" y="134"/>
                  </a:cubicBezTo>
                  <a:cubicBezTo>
                    <a:pt x="401" y="134"/>
                    <a:pt x="480" y="212"/>
                    <a:pt x="480" y="309"/>
                  </a:cubicBezTo>
                  <a:cubicBezTo>
                    <a:pt x="480" y="406"/>
                    <a:pt x="401" y="484"/>
                    <a:pt x="304" y="484"/>
                  </a:cubicBezTo>
                  <a:close/>
                  <a:moveTo>
                    <a:pt x="506" y="326"/>
                  </a:moveTo>
                  <a:cubicBezTo>
                    <a:pt x="499" y="326"/>
                    <a:pt x="493" y="320"/>
                    <a:pt x="493" y="313"/>
                  </a:cubicBezTo>
                  <a:cubicBezTo>
                    <a:pt x="493" y="306"/>
                    <a:pt x="499" y="300"/>
                    <a:pt x="506" y="300"/>
                  </a:cubicBezTo>
                  <a:cubicBezTo>
                    <a:pt x="513" y="300"/>
                    <a:pt x="519" y="306"/>
                    <a:pt x="519" y="313"/>
                  </a:cubicBezTo>
                  <a:cubicBezTo>
                    <a:pt x="519" y="320"/>
                    <a:pt x="513" y="326"/>
                    <a:pt x="506" y="326"/>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211">
              <a:extLst>
                <a:ext uri="{FF2B5EF4-FFF2-40B4-BE49-F238E27FC236}">
                  <a16:creationId xmlns:a16="http://schemas.microsoft.com/office/drawing/2014/main" id="{5B40697A-28E6-44EE-B054-634E2DE53553}"/>
                </a:ext>
                <a:ext uri="{C183D7F6-B498-43B3-948B-1728B52AA6E4}">
                  <adec:decorative xmlns:adec="http://schemas.microsoft.com/office/drawing/2017/decorative" val="1"/>
                </a:ext>
              </a:extLst>
            </p:cNvPr>
            <p:cNvSpPr>
              <a:spLocks noEditPoints="1"/>
            </p:cNvSpPr>
            <p:nvPr/>
          </p:nvSpPr>
          <p:spPr bwMode="auto">
            <a:xfrm>
              <a:off x="3042840" y="1919050"/>
              <a:ext cx="2376602" cy="2415882"/>
            </a:xfrm>
            <a:custGeom>
              <a:avLst/>
              <a:gdLst>
                <a:gd name="T0" fmla="*/ 597 w 608"/>
                <a:gd name="T1" fmla="*/ 273 h 618"/>
                <a:gd name="T2" fmla="*/ 541 w 608"/>
                <a:gd name="T3" fmla="*/ 209 h 618"/>
                <a:gd name="T4" fmla="*/ 576 w 608"/>
                <a:gd name="T5" fmla="*/ 170 h 618"/>
                <a:gd name="T6" fmla="*/ 545 w 608"/>
                <a:gd name="T7" fmla="*/ 129 h 618"/>
                <a:gd name="T8" fmla="*/ 459 w 608"/>
                <a:gd name="T9" fmla="*/ 104 h 618"/>
                <a:gd name="T10" fmla="*/ 464 w 608"/>
                <a:gd name="T11" fmla="*/ 55 h 618"/>
                <a:gd name="T12" fmla="*/ 415 w 608"/>
                <a:gd name="T13" fmla="*/ 39 h 618"/>
                <a:gd name="T14" fmla="*/ 328 w 608"/>
                <a:gd name="T15" fmla="*/ 56 h 618"/>
                <a:gd name="T16" fmla="*/ 315 w 608"/>
                <a:gd name="T17" fmla="*/ 8 h 618"/>
                <a:gd name="T18" fmla="*/ 269 w 608"/>
                <a:gd name="T19" fmla="*/ 6 h 618"/>
                <a:gd name="T20" fmla="*/ 257 w 608"/>
                <a:gd name="T21" fmla="*/ 58 h 618"/>
                <a:gd name="T22" fmla="*/ 165 w 608"/>
                <a:gd name="T23" fmla="*/ 43 h 618"/>
                <a:gd name="T24" fmla="*/ 118 w 608"/>
                <a:gd name="T25" fmla="*/ 64 h 618"/>
                <a:gd name="T26" fmla="*/ 131 w 608"/>
                <a:gd name="T27" fmla="*/ 122 h 618"/>
                <a:gd name="T28" fmla="*/ 55 w 608"/>
                <a:gd name="T29" fmla="*/ 145 h 618"/>
                <a:gd name="T30" fmla="*/ 25 w 608"/>
                <a:gd name="T31" fmla="*/ 186 h 618"/>
                <a:gd name="T32" fmla="*/ 63 w 608"/>
                <a:gd name="T33" fmla="*/ 228 h 618"/>
                <a:gd name="T34" fmla="*/ 8 w 608"/>
                <a:gd name="T35" fmla="*/ 292 h 618"/>
                <a:gd name="T36" fmla="*/ 5 w 608"/>
                <a:gd name="T37" fmla="*/ 343 h 618"/>
                <a:gd name="T38" fmla="*/ 54 w 608"/>
                <a:gd name="T39" fmla="*/ 356 h 618"/>
                <a:gd name="T40" fmla="*/ 48 w 608"/>
                <a:gd name="T41" fmla="*/ 439 h 618"/>
                <a:gd name="T42" fmla="*/ 56 w 608"/>
                <a:gd name="T43" fmla="*/ 489 h 618"/>
                <a:gd name="T44" fmla="*/ 117 w 608"/>
                <a:gd name="T45" fmla="*/ 491 h 618"/>
                <a:gd name="T46" fmla="*/ 146 w 608"/>
                <a:gd name="T47" fmla="*/ 509 h 618"/>
                <a:gd name="T48" fmla="*/ 140 w 608"/>
                <a:gd name="T49" fmla="*/ 563 h 618"/>
                <a:gd name="T50" fmla="*/ 183 w 608"/>
                <a:gd name="T51" fmla="*/ 589 h 618"/>
                <a:gd name="T52" fmla="*/ 220 w 608"/>
                <a:gd name="T53" fmla="*/ 550 h 618"/>
                <a:gd name="T54" fmla="*/ 269 w 608"/>
                <a:gd name="T55" fmla="*/ 563 h 618"/>
                <a:gd name="T56" fmla="*/ 296 w 608"/>
                <a:gd name="T57" fmla="*/ 617 h 618"/>
                <a:gd name="T58" fmla="*/ 345 w 608"/>
                <a:gd name="T59" fmla="*/ 604 h 618"/>
                <a:gd name="T60" fmla="*/ 399 w 608"/>
                <a:gd name="T61" fmla="*/ 547 h 618"/>
                <a:gd name="T62" fmla="*/ 440 w 608"/>
                <a:gd name="T63" fmla="*/ 587 h 618"/>
                <a:gd name="T64" fmla="*/ 482 w 608"/>
                <a:gd name="T65" fmla="*/ 558 h 618"/>
                <a:gd name="T66" fmla="*/ 471 w 608"/>
                <a:gd name="T67" fmla="*/ 504 h 618"/>
                <a:gd name="T68" fmla="*/ 507 w 608"/>
                <a:gd name="T69" fmla="*/ 471 h 618"/>
                <a:gd name="T70" fmla="*/ 568 w 608"/>
                <a:gd name="T71" fmla="*/ 473 h 618"/>
                <a:gd name="T72" fmla="*/ 580 w 608"/>
                <a:gd name="T73" fmla="*/ 424 h 618"/>
                <a:gd name="T74" fmla="*/ 559 w 608"/>
                <a:gd name="T75" fmla="*/ 345 h 618"/>
                <a:gd name="T76" fmla="*/ 608 w 608"/>
                <a:gd name="T77" fmla="*/ 323 h 618"/>
                <a:gd name="T78" fmla="*/ 103 w 608"/>
                <a:gd name="T79" fmla="*/ 326 h 618"/>
                <a:gd name="T80" fmla="*/ 103 w 608"/>
                <a:gd name="T81" fmla="*/ 300 h 618"/>
                <a:gd name="T82" fmla="*/ 103 w 608"/>
                <a:gd name="T83" fmla="*/ 326 h 618"/>
                <a:gd name="T84" fmla="*/ 456 w 608"/>
                <a:gd name="T85" fmla="*/ 161 h 618"/>
                <a:gd name="T86" fmla="*/ 438 w 608"/>
                <a:gd name="T87" fmla="*/ 180 h 618"/>
                <a:gd name="T88" fmla="*/ 304 w 608"/>
                <a:gd name="T89" fmla="*/ 98 h 618"/>
                <a:gd name="T90" fmla="*/ 304 w 608"/>
                <a:gd name="T91" fmla="*/ 125 h 618"/>
                <a:gd name="T92" fmla="*/ 304 w 608"/>
                <a:gd name="T93" fmla="*/ 98 h 618"/>
                <a:gd name="T94" fmla="*/ 171 w 608"/>
                <a:gd name="T95" fmla="*/ 161 h 618"/>
                <a:gd name="T96" fmla="*/ 153 w 608"/>
                <a:gd name="T97" fmla="*/ 180 h 618"/>
                <a:gd name="T98" fmla="*/ 171 w 608"/>
                <a:gd name="T99" fmla="*/ 464 h 618"/>
                <a:gd name="T100" fmla="*/ 153 w 608"/>
                <a:gd name="T101" fmla="*/ 446 h 618"/>
                <a:gd name="T102" fmla="*/ 171 w 608"/>
                <a:gd name="T103" fmla="*/ 464 h 618"/>
                <a:gd name="T104" fmla="*/ 291 w 608"/>
                <a:gd name="T105" fmla="*/ 514 h 618"/>
                <a:gd name="T106" fmla="*/ 318 w 608"/>
                <a:gd name="T107" fmla="*/ 514 h 618"/>
                <a:gd name="T108" fmla="*/ 456 w 608"/>
                <a:gd name="T109" fmla="*/ 464 h 618"/>
                <a:gd name="T110" fmla="*/ 438 w 608"/>
                <a:gd name="T111" fmla="*/ 446 h 618"/>
                <a:gd name="T112" fmla="*/ 456 w 608"/>
                <a:gd name="T113" fmla="*/ 464 h 618"/>
                <a:gd name="T114" fmla="*/ 129 w 608"/>
                <a:gd name="T115" fmla="*/ 309 h 618"/>
                <a:gd name="T116" fmla="*/ 480 w 608"/>
                <a:gd name="T117" fmla="*/ 309 h 618"/>
                <a:gd name="T118" fmla="*/ 506 w 608"/>
                <a:gd name="T119" fmla="*/ 326 h 618"/>
                <a:gd name="T120" fmla="*/ 506 w 608"/>
                <a:gd name="T121" fmla="*/ 300 h 618"/>
                <a:gd name="T122" fmla="*/ 506 w 608"/>
                <a:gd name="T123" fmla="*/ 3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618">
                  <a:moveTo>
                    <a:pt x="606" y="280"/>
                  </a:moveTo>
                  <a:cubicBezTo>
                    <a:pt x="606" y="276"/>
                    <a:pt x="602" y="272"/>
                    <a:pt x="597" y="273"/>
                  </a:cubicBezTo>
                  <a:cubicBezTo>
                    <a:pt x="557" y="264"/>
                    <a:pt x="557" y="264"/>
                    <a:pt x="557" y="264"/>
                  </a:cubicBezTo>
                  <a:cubicBezTo>
                    <a:pt x="554" y="245"/>
                    <a:pt x="548" y="227"/>
                    <a:pt x="541" y="209"/>
                  </a:cubicBezTo>
                  <a:cubicBezTo>
                    <a:pt x="572" y="180"/>
                    <a:pt x="572" y="180"/>
                    <a:pt x="572" y="180"/>
                  </a:cubicBezTo>
                  <a:cubicBezTo>
                    <a:pt x="576" y="178"/>
                    <a:pt x="578" y="174"/>
                    <a:pt x="576" y="170"/>
                  </a:cubicBezTo>
                  <a:cubicBezTo>
                    <a:pt x="556" y="132"/>
                    <a:pt x="556" y="132"/>
                    <a:pt x="556" y="132"/>
                  </a:cubicBezTo>
                  <a:cubicBezTo>
                    <a:pt x="554" y="128"/>
                    <a:pt x="549" y="127"/>
                    <a:pt x="545" y="129"/>
                  </a:cubicBezTo>
                  <a:cubicBezTo>
                    <a:pt x="496" y="139"/>
                    <a:pt x="496" y="139"/>
                    <a:pt x="496" y="139"/>
                  </a:cubicBezTo>
                  <a:cubicBezTo>
                    <a:pt x="485" y="126"/>
                    <a:pt x="472" y="114"/>
                    <a:pt x="459" y="104"/>
                  </a:cubicBezTo>
                  <a:cubicBezTo>
                    <a:pt x="467" y="65"/>
                    <a:pt x="467" y="65"/>
                    <a:pt x="467" y="65"/>
                  </a:cubicBezTo>
                  <a:cubicBezTo>
                    <a:pt x="469" y="61"/>
                    <a:pt x="468" y="57"/>
                    <a:pt x="464" y="55"/>
                  </a:cubicBezTo>
                  <a:cubicBezTo>
                    <a:pt x="426" y="35"/>
                    <a:pt x="426" y="35"/>
                    <a:pt x="426" y="35"/>
                  </a:cubicBezTo>
                  <a:cubicBezTo>
                    <a:pt x="422" y="33"/>
                    <a:pt x="417" y="35"/>
                    <a:pt x="415" y="39"/>
                  </a:cubicBezTo>
                  <a:cubicBezTo>
                    <a:pt x="382" y="67"/>
                    <a:pt x="382" y="67"/>
                    <a:pt x="382" y="67"/>
                  </a:cubicBezTo>
                  <a:cubicBezTo>
                    <a:pt x="366" y="62"/>
                    <a:pt x="343" y="58"/>
                    <a:pt x="328" y="56"/>
                  </a:cubicBezTo>
                  <a:cubicBezTo>
                    <a:pt x="328" y="55"/>
                    <a:pt x="328" y="55"/>
                    <a:pt x="328" y="55"/>
                  </a:cubicBezTo>
                  <a:cubicBezTo>
                    <a:pt x="315" y="8"/>
                    <a:pt x="315" y="8"/>
                    <a:pt x="315" y="8"/>
                  </a:cubicBezTo>
                  <a:cubicBezTo>
                    <a:pt x="314" y="4"/>
                    <a:pt x="314" y="0"/>
                    <a:pt x="310" y="1"/>
                  </a:cubicBezTo>
                  <a:cubicBezTo>
                    <a:pt x="269" y="6"/>
                    <a:pt x="269" y="6"/>
                    <a:pt x="269" y="6"/>
                  </a:cubicBezTo>
                  <a:cubicBezTo>
                    <a:pt x="265" y="6"/>
                    <a:pt x="263" y="10"/>
                    <a:pt x="263" y="15"/>
                  </a:cubicBezTo>
                  <a:cubicBezTo>
                    <a:pt x="257" y="58"/>
                    <a:pt x="257" y="58"/>
                    <a:pt x="257" y="58"/>
                  </a:cubicBezTo>
                  <a:cubicBezTo>
                    <a:pt x="238" y="62"/>
                    <a:pt x="219" y="67"/>
                    <a:pt x="202" y="75"/>
                  </a:cubicBezTo>
                  <a:cubicBezTo>
                    <a:pt x="165" y="43"/>
                    <a:pt x="165" y="43"/>
                    <a:pt x="165" y="43"/>
                  </a:cubicBezTo>
                  <a:cubicBezTo>
                    <a:pt x="162" y="39"/>
                    <a:pt x="157" y="38"/>
                    <a:pt x="154" y="40"/>
                  </a:cubicBezTo>
                  <a:cubicBezTo>
                    <a:pt x="118" y="64"/>
                    <a:pt x="118" y="64"/>
                    <a:pt x="118" y="64"/>
                  </a:cubicBezTo>
                  <a:cubicBezTo>
                    <a:pt x="115" y="66"/>
                    <a:pt x="114" y="71"/>
                    <a:pt x="116" y="75"/>
                  </a:cubicBezTo>
                  <a:cubicBezTo>
                    <a:pt x="131" y="122"/>
                    <a:pt x="131" y="122"/>
                    <a:pt x="131" y="122"/>
                  </a:cubicBezTo>
                  <a:cubicBezTo>
                    <a:pt x="121" y="132"/>
                    <a:pt x="111" y="142"/>
                    <a:pt x="102" y="154"/>
                  </a:cubicBezTo>
                  <a:cubicBezTo>
                    <a:pt x="55" y="145"/>
                    <a:pt x="55" y="145"/>
                    <a:pt x="55" y="145"/>
                  </a:cubicBezTo>
                  <a:cubicBezTo>
                    <a:pt x="51" y="143"/>
                    <a:pt x="46" y="144"/>
                    <a:pt x="44" y="148"/>
                  </a:cubicBezTo>
                  <a:cubicBezTo>
                    <a:pt x="25" y="186"/>
                    <a:pt x="25" y="186"/>
                    <a:pt x="25" y="186"/>
                  </a:cubicBezTo>
                  <a:cubicBezTo>
                    <a:pt x="23" y="190"/>
                    <a:pt x="25" y="195"/>
                    <a:pt x="29" y="197"/>
                  </a:cubicBezTo>
                  <a:cubicBezTo>
                    <a:pt x="63" y="228"/>
                    <a:pt x="63" y="228"/>
                    <a:pt x="63" y="228"/>
                  </a:cubicBezTo>
                  <a:cubicBezTo>
                    <a:pt x="58" y="243"/>
                    <a:pt x="54" y="258"/>
                    <a:pt x="52" y="274"/>
                  </a:cubicBezTo>
                  <a:cubicBezTo>
                    <a:pt x="8" y="292"/>
                    <a:pt x="8" y="292"/>
                    <a:pt x="8" y="292"/>
                  </a:cubicBezTo>
                  <a:cubicBezTo>
                    <a:pt x="4" y="293"/>
                    <a:pt x="0" y="296"/>
                    <a:pt x="1" y="300"/>
                  </a:cubicBezTo>
                  <a:cubicBezTo>
                    <a:pt x="5" y="343"/>
                    <a:pt x="5" y="343"/>
                    <a:pt x="5" y="343"/>
                  </a:cubicBezTo>
                  <a:cubicBezTo>
                    <a:pt x="6" y="347"/>
                    <a:pt x="10" y="350"/>
                    <a:pt x="15" y="350"/>
                  </a:cubicBezTo>
                  <a:cubicBezTo>
                    <a:pt x="54" y="356"/>
                    <a:pt x="54" y="356"/>
                    <a:pt x="54" y="356"/>
                  </a:cubicBezTo>
                  <a:cubicBezTo>
                    <a:pt x="58" y="379"/>
                    <a:pt x="65" y="400"/>
                    <a:pt x="75" y="420"/>
                  </a:cubicBezTo>
                  <a:cubicBezTo>
                    <a:pt x="48" y="439"/>
                    <a:pt x="48" y="439"/>
                    <a:pt x="48" y="439"/>
                  </a:cubicBezTo>
                  <a:cubicBezTo>
                    <a:pt x="44" y="440"/>
                    <a:pt x="41" y="444"/>
                    <a:pt x="42" y="448"/>
                  </a:cubicBezTo>
                  <a:cubicBezTo>
                    <a:pt x="56" y="489"/>
                    <a:pt x="56" y="489"/>
                    <a:pt x="56" y="489"/>
                  </a:cubicBezTo>
                  <a:cubicBezTo>
                    <a:pt x="57" y="493"/>
                    <a:pt x="62" y="495"/>
                    <a:pt x="66" y="494"/>
                  </a:cubicBezTo>
                  <a:cubicBezTo>
                    <a:pt x="117" y="491"/>
                    <a:pt x="117" y="491"/>
                    <a:pt x="117" y="491"/>
                  </a:cubicBezTo>
                  <a:cubicBezTo>
                    <a:pt x="119" y="490"/>
                    <a:pt x="121" y="489"/>
                    <a:pt x="122" y="487"/>
                  </a:cubicBezTo>
                  <a:cubicBezTo>
                    <a:pt x="130" y="495"/>
                    <a:pt x="138" y="502"/>
                    <a:pt x="146" y="509"/>
                  </a:cubicBezTo>
                  <a:cubicBezTo>
                    <a:pt x="145" y="512"/>
                    <a:pt x="145" y="512"/>
                    <a:pt x="145" y="512"/>
                  </a:cubicBezTo>
                  <a:cubicBezTo>
                    <a:pt x="140" y="563"/>
                    <a:pt x="140" y="563"/>
                    <a:pt x="140" y="563"/>
                  </a:cubicBezTo>
                  <a:cubicBezTo>
                    <a:pt x="138" y="567"/>
                    <a:pt x="139" y="571"/>
                    <a:pt x="143" y="573"/>
                  </a:cubicBezTo>
                  <a:cubicBezTo>
                    <a:pt x="183" y="589"/>
                    <a:pt x="183" y="589"/>
                    <a:pt x="183" y="589"/>
                  </a:cubicBezTo>
                  <a:cubicBezTo>
                    <a:pt x="187" y="591"/>
                    <a:pt x="192" y="588"/>
                    <a:pt x="193" y="584"/>
                  </a:cubicBezTo>
                  <a:cubicBezTo>
                    <a:pt x="220" y="550"/>
                    <a:pt x="220" y="550"/>
                    <a:pt x="220" y="550"/>
                  </a:cubicBezTo>
                  <a:cubicBezTo>
                    <a:pt x="235" y="556"/>
                    <a:pt x="252" y="560"/>
                    <a:pt x="269" y="562"/>
                  </a:cubicBezTo>
                  <a:cubicBezTo>
                    <a:pt x="269" y="563"/>
                    <a:pt x="269" y="563"/>
                    <a:pt x="269" y="563"/>
                  </a:cubicBezTo>
                  <a:cubicBezTo>
                    <a:pt x="288" y="610"/>
                    <a:pt x="288" y="610"/>
                    <a:pt x="288" y="610"/>
                  </a:cubicBezTo>
                  <a:cubicBezTo>
                    <a:pt x="288" y="614"/>
                    <a:pt x="292" y="618"/>
                    <a:pt x="296" y="617"/>
                  </a:cubicBezTo>
                  <a:cubicBezTo>
                    <a:pt x="339" y="613"/>
                    <a:pt x="339" y="613"/>
                    <a:pt x="339" y="613"/>
                  </a:cubicBezTo>
                  <a:cubicBezTo>
                    <a:pt x="343" y="612"/>
                    <a:pt x="346" y="608"/>
                    <a:pt x="345" y="604"/>
                  </a:cubicBezTo>
                  <a:cubicBezTo>
                    <a:pt x="353" y="560"/>
                    <a:pt x="353" y="560"/>
                    <a:pt x="353" y="560"/>
                  </a:cubicBezTo>
                  <a:cubicBezTo>
                    <a:pt x="369" y="557"/>
                    <a:pt x="384" y="553"/>
                    <a:pt x="399" y="547"/>
                  </a:cubicBezTo>
                  <a:cubicBezTo>
                    <a:pt x="430" y="582"/>
                    <a:pt x="430" y="582"/>
                    <a:pt x="430" y="582"/>
                  </a:cubicBezTo>
                  <a:cubicBezTo>
                    <a:pt x="432" y="587"/>
                    <a:pt x="436" y="589"/>
                    <a:pt x="440" y="587"/>
                  </a:cubicBezTo>
                  <a:cubicBezTo>
                    <a:pt x="479" y="568"/>
                    <a:pt x="479" y="568"/>
                    <a:pt x="479" y="568"/>
                  </a:cubicBezTo>
                  <a:cubicBezTo>
                    <a:pt x="483" y="567"/>
                    <a:pt x="484" y="562"/>
                    <a:pt x="482" y="558"/>
                  </a:cubicBezTo>
                  <a:cubicBezTo>
                    <a:pt x="474" y="508"/>
                    <a:pt x="474" y="508"/>
                    <a:pt x="474" y="508"/>
                  </a:cubicBezTo>
                  <a:cubicBezTo>
                    <a:pt x="471" y="504"/>
                    <a:pt x="471" y="504"/>
                    <a:pt x="471" y="504"/>
                  </a:cubicBezTo>
                  <a:cubicBezTo>
                    <a:pt x="483" y="493"/>
                    <a:pt x="494" y="482"/>
                    <a:pt x="504" y="470"/>
                  </a:cubicBezTo>
                  <a:cubicBezTo>
                    <a:pt x="507" y="471"/>
                    <a:pt x="507" y="471"/>
                    <a:pt x="507" y="471"/>
                  </a:cubicBezTo>
                  <a:cubicBezTo>
                    <a:pt x="557" y="477"/>
                    <a:pt x="557" y="477"/>
                    <a:pt x="557" y="477"/>
                  </a:cubicBezTo>
                  <a:cubicBezTo>
                    <a:pt x="561" y="479"/>
                    <a:pt x="566" y="477"/>
                    <a:pt x="568" y="473"/>
                  </a:cubicBezTo>
                  <a:cubicBezTo>
                    <a:pt x="584" y="433"/>
                    <a:pt x="584" y="433"/>
                    <a:pt x="584" y="433"/>
                  </a:cubicBezTo>
                  <a:cubicBezTo>
                    <a:pt x="586" y="430"/>
                    <a:pt x="584" y="425"/>
                    <a:pt x="580" y="424"/>
                  </a:cubicBezTo>
                  <a:cubicBezTo>
                    <a:pt x="546" y="397"/>
                    <a:pt x="546" y="397"/>
                    <a:pt x="546" y="397"/>
                  </a:cubicBezTo>
                  <a:cubicBezTo>
                    <a:pt x="552" y="380"/>
                    <a:pt x="556" y="363"/>
                    <a:pt x="559" y="345"/>
                  </a:cubicBezTo>
                  <a:cubicBezTo>
                    <a:pt x="600" y="331"/>
                    <a:pt x="600" y="331"/>
                    <a:pt x="600" y="331"/>
                  </a:cubicBezTo>
                  <a:cubicBezTo>
                    <a:pt x="605" y="330"/>
                    <a:pt x="608" y="327"/>
                    <a:pt x="608" y="323"/>
                  </a:cubicBezTo>
                  <a:lnTo>
                    <a:pt x="606" y="280"/>
                  </a:lnTo>
                  <a:close/>
                  <a:moveTo>
                    <a:pt x="103" y="326"/>
                  </a:moveTo>
                  <a:cubicBezTo>
                    <a:pt x="96" y="326"/>
                    <a:pt x="90" y="320"/>
                    <a:pt x="90" y="313"/>
                  </a:cubicBezTo>
                  <a:cubicBezTo>
                    <a:pt x="90" y="306"/>
                    <a:pt x="96" y="300"/>
                    <a:pt x="103" y="300"/>
                  </a:cubicBezTo>
                  <a:cubicBezTo>
                    <a:pt x="110" y="300"/>
                    <a:pt x="116" y="306"/>
                    <a:pt x="116" y="313"/>
                  </a:cubicBezTo>
                  <a:cubicBezTo>
                    <a:pt x="116" y="320"/>
                    <a:pt x="110" y="326"/>
                    <a:pt x="103" y="326"/>
                  </a:cubicBezTo>
                  <a:close/>
                  <a:moveTo>
                    <a:pt x="438" y="161"/>
                  </a:moveTo>
                  <a:cubicBezTo>
                    <a:pt x="443" y="156"/>
                    <a:pt x="451" y="156"/>
                    <a:pt x="456" y="161"/>
                  </a:cubicBezTo>
                  <a:cubicBezTo>
                    <a:pt x="461" y="166"/>
                    <a:pt x="461" y="175"/>
                    <a:pt x="456" y="180"/>
                  </a:cubicBezTo>
                  <a:cubicBezTo>
                    <a:pt x="451" y="185"/>
                    <a:pt x="443" y="185"/>
                    <a:pt x="438" y="180"/>
                  </a:cubicBezTo>
                  <a:cubicBezTo>
                    <a:pt x="432" y="175"/>
                    <a:pt x="432" y="166"/>
                    <a:pt x="438" y="161"/>
                  </a:cubicBezTo>
                  <a:close/>
                  <a:moveTo>
                    <a:pt x="304" y="98"/>
                  </a:moveTo>
                  <a:cubicBezTo>
                    <a:pt x="312" y="98"/>
                    <a:pt x="318" y="104"/>
                    <a:pt x="318" y="111"/>
                  </a:cubicBezTo>
                  <a:cubicBezTo>
                    <a:pt x="318" y="119"/>
                    <a:pt x="312" y="125"/>
                    <a:pt x="304" y="125"/>
                  </a:cubicBezTo>
                  <a:cubicBezTo>
                    <a:pt x="297" y="125"/>
                    <a:pt x="291" y="119"/>
                    <a:pt x="291" y="111"/>
                  </a:cubicBezTo>
                  <a:cubicBezTo>
                    <a:pt x="291" y="104"/>
                    <a:pt x="297" y="98"/>
                    <a:pt x="304" y="98"/>
                  </a:cubicBezTo>
                  <a:close/>
                  <a:moveTo>
                    <a:pt x="153" y="161"/>
                  </a:moveTo>
                  <a:cubicBezTo>
                    <a:pt x="158" y="156"/>
                    <a:pt x="166" y="156"/>
                    <a:pt x="171" y="161"/>
                  </a:cubicBezTo>
                  <a:cubicBezTo>
                    <a:pt x="176" y="166"/>
                    <a:pt x="176" y="175"/>
                    <a:pt x="171" y="180"/>
                  </a:cubicBezTo>
                  <a:cubicBezTo>
                    <a:pt x="166" y="185"/>
                    <a:pt x="158" y="185"/>
                    <a:pt x="153" y="180"/>
                  </a:cubicBezTo>
                  <a:cubicBezTo>
                    <a:pt x="148" y="175"/>
                    <a:pt x="148" y="166"/>
                    <a:pt x="153" y="161"/>
                  </a:cubicBezTo>
                  <a:close/>
                  <a:moveTo>
                    <a:pt x="171" y="464"/>
                  </a:moveTo>
                  <a:cubicBezTo>
                    <a:pt x="166" y="470"/>
                    <a:pt x="158" y="470"/>
                    <a:pt x="153" y="464"/>
                  </a:cubicBezTo>
                  <a:cubicBezTo>
                    <a:pt x="148" y="459"/>
                    <a:pt x="148" y="451"/>
                    <a:pt x="153" y="446"/>
                  </a:cubicBezTo>
                  <a:cubicBezTo>
                    <a:pt x="158" y="441"/>
                    <a:pt x="166" y="441"/>
                    <a:pt x="171" y="446"/>
                  </a:cubicBezTo>
                  <a:cubicBezTo>
                    <a:pt x="176" y="451"/>
                    <a:pt x="176" y="459"/>
                    <a:pt x="171" y="464"/>
                  </a:cubicBezTo>
                  <a:close/>
                  <a:moveTo>
                    <a:pt x="304" y="527"/>
                  </a:moveTo>
                  <a:cubicBezTo>
                    <a:pt x="297" y="527"/>
                    <a:pt x="291" y="521"/>
                    <a:pt x="291" y="514"/>
                  </a:cubicBezTo>
                  <a:cubicBezTo>
                    <a:pt x="291" y="507"/>
                    <a:pt x="297" y="501"/>
                    <a:pt x="304" y="501"/>
                  </a:cubicBezTo>
                  <a:cubicBezTo>
                    <a:pt x="312" y="501"/>
                    <a:pt x="318" y="507"/>
                    <a:pt x="318" y="514"/>
                  </a:cubicBezTo>
                  <a:cubicBezTo>
                    <a:pt x="318" y="521"/>
                    <a:pt x="312" y="527"/>
                    <a:pt x="304" y="527"/>
                  </a:cubicBezTo>
                  <a:close/>
                  <a:moveTo>
                    <a:pt x="456" y="464"/>
                  </a:moveTo>
                  <a:cubicBezTo>
                    <a:pt x="451" y="470"/>
                    <a:pt x="443" y="470"/>
                    <a:pt x="438" y="464"/>
                  </a:cubicBezTo>
                  <a:cubicBezTo>
                    <a:pt x="432" y="459"/>
                    <a:pt x="432" y="451"/>
                    <a:pt x="438" y="446"/>
                  </a:cubicBezTo>
                  <a:cubicBezTo>
                    <a:pt x="443" y="441"/>
                    <a:pt x="451" y="441"/>
                    <a:pt x="456" y="446"/>
                  </a:cubicBezTo>
                  <a:cubicBezTo>
                    <a:pt x="461" y="451"/>
                    <a:pt x="461" y="459"/>
                    <a:pt x="456" y="464"/>
                  </a:cubicBezTo>
                  <a:close/>
                  <a:moveTo>
                    <a:pt x="304" y="484"/>
                  </a:moveTo>
                  <a:cubicBezTo>
                    <a:pt x="208" y="484"/>
                    <a:pt x="129" y="406"/>
                    <a:pt x="129" y="309"/>
                  </a:cubicBezTo>
                  <a:cubicBezTo>
                    <a:pt x="129" y="212"/>
                    <a:pt x="208" y="134"/>
                    <a:pt x="304" y="134"/>
                  </a:cubicBezTo>
                  <a:cubicBezTo>
                    <a:pt x="401" y="134"/>
                    <a:pt x="480" y="212"/>
                    <a:pt x="480" y="309"/>
                  </a:cubicBezTo>
                  <a:cubicBezTo>
                    <a:pt x="480" y="406"/>
                    <a:pt x="401" y="484"/>
                    <a:pt x="304" y="484"/>
                  </a:cubicBezTo>
                  <a:close/>
                  <a:moveTo>
                    <a:pt x="506" y="326"/>
                  </a:moveTo>
                  <a:cubicBezTo>
                    <a:pt x="499" y="326"/>
                    <a:pt x="493" y="320"/>
                    <a:pt x="493" y="313"/>
                  </a:cubicBezTo>
                  <a:cubicBezTo>
                    <a:pt x="493" y="306"/>
                    <a:pt x="499" y="300"/>
                    <a:pt x="506" y="300"/>
                  </a:cubicBezTo>
                  <a:cubicBezTo>
                    <a:pt x="513" y="300"/>
                    <a:pt x="519" y="306"/>
                    <a:pt x="519" y="313"/>
                  </a:cubicBezTo>
                  <a:cubicBezTo>
                    <a:pt x="519" y="320"/>
                    <a:pt x="513" y="326"/>
                    <a:pt x="506" y="326"/>
                  </a:cubicBez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211">
              <a:extLst>
                <a:ext uri="{FF2B5EF4-FFF2-40B4-BE49-F238E27FC236}">
                  <a16:creationId xmlns:a16="http://schemas.microsoft.com/office/drawing/2014/main" id="{0A739E72-7CC5-4936-AEE7-EF93286830B4}"/>
                </a:ext>
                <a:ext uri="{C183D7F6-B498-43B3-948B-1728B52AA6E4}">
                  <adec:decorative xmlns:adec="http://schemas.microsoft.com/office/drawing/2017/decorative" val="1"/>
                </a:ext>
              </a:extLst>
            </p:cNvPr>
            <p:cNvSpPr>
              <a:spLocks noEditPoints="1"/>
            </p:cNvSpPr>
            <p:nvPr/>
          </p:nvSpPr>
          <p:spPr bwMode="auto">
            <a:xfrm>
              <a:off x="2317935" y="1195180"/>
              <a:ext cx="3776641" cy="3839060"/>
            </a:xfrm>
            <a:custGeom>
              <a:avLst/>
              <a:gdLst>
                <a:gd name="T0" fmla="*/ 597 w 608"/>
                <a:gd name="T1" fmla="*/ 273 h 618"/>
                <a:gd name="T2" fmla="*/ 541 w 608"/>
                <a:gd name="T3" fmla="*/ 209 h 618"/>
                <a:gd name="T4" fmla="*/ 576 w 608"/>
                <a:gd name="T5" fmla="*/ 170 h 618"/>
                <a:gd name="T6" fmla="*/ 545 w 608"/>
                <a:gd name="T7" fmla="*/ 129 h 618"/>
                <a:gd name="T8" fmla="*/ 459 w 608"/>
                <a:gd name="T9" fmla="*/ 104 h 618"/>
                <a:gd name="T10" fmla="*/ 464 w 608"/>
                <a:gd name="T11" fmla="*/ 55 h 618"/>
                <a:gd name="T12" fmla="*/ 415 w 608"/>
                <a:gd name="T13" fmla="*/ 39 h 618"/>
                <a:gd name="T14" fmla="*/ 328 w 608"/>
                <a:gd name="T15" fmla="*/ 56 h 618"/>
                <a:gd name="T16" fmla="*/ 315 w 608"/>
                <a:gd name="T17" fmla="*/ 8 h 618"/>
                <a:gd name="T18" fmla="*/ 269 w 608"/>
                <a:gd name="T19" fmla="*/ 6 h 618"/>
                <a:gd name="T20" fmla="*/ 257 w 608"/>
                <a:gd name="T21" fmla="*/ 58 h 618"/>
                <a:gd name="T22" fmla="*/ 165 w 608"/>
                <a:gd name="T23" fmla="*/ 43 h 618"/>
                <a:gd name="T24" fmla="*/ 118 w 608"/>
                <a:gd name="T25" fmla="*/ 64 h 618"/>
                <a:gd name="T26" fmla="*/ 131 w 608"/>
                <a:gd name="T27" fmla="*/ 122 h 618"/>
                <a:gd name="T28" fmla="*/ 55 w 608"/>
                <a:gd name="T29" fmla="*/ 145 h 618"/>
                <a:gd name="T30" fmla="*/ 25 w 608"/>
                <a:gd name="T31" fmla="*/ 186 h 618"/>
                <a:gd name="T32" fmla="*/ 63 w 608"/>
                <a:gd name="T33" fmla="*/ 228 h 618"/>
                <a:gd name="T34" fmla="*/ 8 w 608"/>
                <a:gd name="T35" fmla="*/ 292 h 618"/>
                <a:gd name="T36" fmla="*/ 5 w 608"/>
                <a:gd name="T37" fmla="*/ 343 h 618"/>
                <a:gd name="T38" fmla="*/ 54 w 608"/>
                <a:gd name="T39" fmla="*/ 356 h 618"/>
                <a:gd name="T40" fmla="*/ 48 w 608"/>
                <a:gd name="T41" fmla="*/ 439 h 618"/>
                <a:gd name="T42" fmla="*/ 56 w 608"/>
                <a:gd name="T43" fmla="*/ 489 h 618"/>
                <a:gd name="T44" fmla="*/ 117 w 608"/>
                <a:gd name="T45" fmla="*/ 491 h 618"/>
                <a:gd name="T46" fmla="*/ 146 w 608"/>
                <a:gd name="T47" fmla="*/ 509 h 618"/>
                <a:gd name="T48" fmla="*/ 140 w 608"/>
                <a:gd name="T49" fmla="*/ 563 h 618"/>
                <a:gd name="T50" fmla="*/ 183 w 608"/>
                <a:gd name="T51" fmla="*/ 589 h 618"/>
                <a:gd name="T52" fmla="*/ 220 w 608"/>
                <a:gd name="T53" fmla="*/ 550 h 618"/>
                <a:gd name="T54" fmla="*/ 269 w 608"/>
                <a:gd name="T55" fmla="*/ 563 h 618"/>
                <a:gd name="T56" fmla="*/ 296 w 608"/>
                <a:gd name="T57" fmla="*/ 617 h 618"/>
                <a:gd name="T58" fmla="*/ 345 w 608"/>
                <a:gd name="T59" fmla="*/ 604 h 618"/>
                <a:gd name="T60" fmla="*/ 399 w 608"/>
                <a:gd name="T61" fmla="*/ 547 h 618"/>
                <a:gd name="T62" fmla="*/ 440 w 608"/>
                <a:gd name="T63" fmla="*/ 587 h 618"/>
                <a:gd name="T64" fmla="*/ 482 w 608"/>
                <a:gd name="T65" fmla="*/ 558 h 618"/>
                <a:gd name="T66" fmla="*/ 471 w 608"/>
                <a:gd name="T67" fmla="*/ 504 h 618"/>
                <a:gd name="T68" fmla="*/ 507 w 608"/>
                <a:gd name="T69" fmla="*/ 471 h 618"/>
                <a:gd name="T70" fmla="*/ 568 w 608"/>
                <a:gd name="T71" fmla="*/ 473 h 618"/>
                <a:gd name="T72" fmla="*/ 580 w 608"/>
                <a:gd name="T73" fmla="*/ 424 h 618"/>
                <a:gd name="T74" fmla="*/ 559 w 608"/>
                <a:gd name="T75" fmla="*/ 345 h 618"/>
                <a:gd name="T76" fmla="*/ 608 w 608"/>
                <a:gd name="T77" fmla="*/ 323 h 618"/>
                <a:gd name="T78" fmla="*/ 103 w 608"/>
                <a:gd name="T79" fmla="*/ 326 h 618"/>
                <a:gd name="T80" fmla="*/ 103 w 608"/>
                <a:gd name="T81" fmla="*/ 300 h 618"/>
                <a:gd name="T82" fmla="*/ 103 w 608"/>
                <a:gd name="T83" fmla="*/ 326 h 618"/>
                <a:gd name="T84" fmla="*/ 456 w 608"/>
                <a:gd name="T85" fmla="*/ 161 h 618"/>
                <a:gd name="T86" fmla="*/ 438 w 608"/>
                <a:gd name="T87" fmla="*/ 180 h 618"/>
                <a:gd name="T88" fmla="*/ 304 w 608"/>
                <a:gd name="T89" fmla="*/ 98 h 618"/>
                <a:gd name="T90" fmla="*/ 304 w 608"/>
                <a:gd name="T91" fmla="*/ 125 h 618"/>
                <a:gd name="T92" fmla="*/ 304 w 608"/>
                <a:gd name="T93" fmla="*/ 98 h 618"/>
                <a:gd name="T94" fmla="*/ 171 w 608"/>
                <a:gd name="T95" fmla="*/ 161 h 618"/>
                <a:gd name="T96" fmla="*/ 153 w 608"/>
                <a:gd name="T97" fmla="*/ 180 h 618"/>
                <a:gd name="T98" fmla="*/ 171 w 608"/>
                <a:gd name="T99" fmla="*/ 464 h 618"/>
                <a:gd name="T100" fmla="*/ 153 w 608"/>
                <a:gd name="T101" fmla="*/ 446 h 618"/>
                <a:gd name="T102" fmla="*/ 171 w 608"/>
                <a:gd name="T103" fmla="*/ 464 h 618"/>
                <a:gd name="T104" fmla="*/ 291 w 608"/>
                <a:gd name="T105" fmla="*/ 514 h 618"/>
                <a:gd name="T106" fmla="*/ 318 w 608"/>
                <a:gd name="T107" fmla="*/ 514 h 618"/>
                <a:gd name="T108" fmla="*/ 456 w 608"/>
                <a:gd name="T109" fmla="*/ 464 h 618"/>
                <a:gd name="T110" fmla="*/ 438 w 608"/>
                <a:gd name="T111" fmla="*/ 446 h 618"/>
                <a:gd name="T112" fmla="*/ 456 w 608"/>
                <a:gd name="T113" fmla="*/ 464 h 618"/>
                <a:gd name="T114" fmla="*/ 129 w 608"/>
                <a:gd name="T115" fmla="*/ 309 h 618"/>
                <a:gd name="T116" fmla="*/ 480 w 608"/>
                <a:gd name="T117" fmla="*/ 309 h 618"/>
                <a:gd name="T118" fmla="*/ 506 w 608"/>
                <a:gd name="T119" fmla="*/ 326 h 618"/>
                <a:gd name="T120" fmla="*/ 506 w 608"/>
                <a:gd name="T121" fmla="*/ 300 h 618"/>
                <a:gd name="T122" fmla="*/ 506 w 608"/>
                <a:gd name="T123" fmla="*/ 3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618">
                  <a:moveTo>
                    <a:pt x="606" y="280"/>
                  </a:moveTo>
                  <a:cubicBezTo>
                    <a:pt x="606" y="276"/>
                    <a:pt x="602" y="272"/>
                    <a:pt x="597" y="273"/>
                  </a:cubicBezTo>
                  <a:cubicBezTo>
                    <a:pt x="557" y="264"/>
                    <a:pt x="557" y="264"/>
                    <a:pt x="557" y="264"/>
                  </a:cubicBezTo>
                  <a:cubicBezTo>
                    <a:pt x="554" y="245"/>
                    <a:pt x="548" y="227"/>
                    <a:pt x="541" y="209"/>
                  </a:cubicBezTo>
                  <a:cubicBezTo>
                    <a:pt x="572" y="180"/>
                    <a:pt x="572" y="180"/>
                    <a:pt x="572" y="180"/>
                  </a:cubicBezTo>
                  <a:cubicBezTo>
                    <a:pt x="576" y="178"/>
                    <a:pt x="578" y="174"/>
                    <a:pt x="576" y="170"/>
                  </a:cubicBezTo>
                  <a:cubicBezTo>
                    <a:pt x="556" y="132"/>
                    <a:pt x="556" y="132"/>
                    <a:pt x="556" y="132"/>
                  </a:cubicBezTo>
                  <a:cubicBezTo>
                    <a:pt x="554" y="128"/>
                    <a:pt x="549" y="127"/>
                    <a:pt x="545" y="129"/>
                  </a:cubicBezTo>
                  <a:cubicBezTo>
                    <a:pt x="496" y="139"/>
                    <a:pt x="496" y="139"/>
                    <a:pt x="496" y="139"/>
                  </a:cubicBezTo>
                  <a:cubicBezTo>
                    <a:pt x="485" y="126"/>
                    <a:pt x="472" y="114"/>
                    <a:pt x="459" y="104"/>
                  </a:cubicBezTo>
                  <a:cubicBezTo>
                    <a:pt x="467" y="65"/>
                    <a:pt x="467" y="65"/>
                    <a:pt x="467" y="65"/>
                  </a:cubicBezTo>
                  <a:cubicBezTo>
                    <a:pt x="469" y="61"/>
                    <a:pt x="468" y="57"/>
                    <a:pt x="464" y="55"/>
                  </a:cubicBezTo>
                  <a:cubicBezTo>
                    <a:pt x="426" y="35"/>
                    <a:pt x="426" y="35"/>
                    <a:pt x="426" y="35"/>
                  </a:cubicBezTo>
                  <a:cubicBezTo>
                    <a:pt x="422" y="33"/>
                    <a:pt x="417" y="35"/>
                    <a:pt x="415" y="39"/>
                  </a:cubicBezTo>
                  <a:cubicBezTo>
                    <a:pt x="382" y="67"/>
                    <a:pt x="382" y="67"/>
                    <a:pt x="382" y="67"/>
                  </a:cubicBezTo>
                  <a:cubicBezTo>
                    <a:pt x="366" y="62"/>
                    <a:pt x="343" y="58"/>
                    <a:pt x="328" y="56"/>
                  </a:cubicBezTo>
                  <a:cubicBezTo>
                    <a:pt x="328" y="55"/>
                    <a:pt x="328" y="55"/>
                    <a:pt x="328" y="55"/>
                  </a:cubicBezTo>
                  <a:cubicBezTo>
                    <a:pt x="315" y="8"/>
                    <a:pt x="315" y="8"/>
                    <a:pt x="315" y="8"/>
                  </a:cubicBezTo>
                  <a:cubicBezTo>
                    <a:pt x="314" y="4"/>
                    <a:pt x="314" y="0"/>
                    <a:pt x="310" y="1"/>
                  </a:cubicBezTo>
                  <a:cubicBezTo>
                    <a:pt x="269" y="6"/>
                    <a:pt x="269" y="6"/>
                    <a:pt x="269" y="6"/>
                  </a:cubicBezTo>
                  <a:cubicBezTo>
                    <a:pt x="265" y="6"/>
                    <a:pt x="263" y="10"/>
                    <a:pt x="263" y="15"/>
                  </a:cubicBezTo>
                  <a:cubicBezTo>
                    <a:pt x="257" y="58"/>
                    <a:pt x="257" y="58"/>
                    <a:pt x="257" y="58"/>
                  </a:cubicBezTo>
                  <a:cubicBezTo>
                    <a:pt x="238" y="62"/>
                    <a:pt x="219" y="67"/>
                    <a:pt x="202" y="75"/>
                  </a:cubicBezTo>
                  <a:cubicBezTo>
                    <a:pt x="165" y="43"/>
                    <a:pt x="165" y="43"/>
                    <a:pt x="165" y="43"/>
                  </a:cubicBezTo>
                  <a:cubicBezTo>
                    <a:pt x="162" y="39"/>
                    <a:pt x="157" y="38"/>
                    <a:pt x="154" y="40"/>
                  </a:cubicBezTo>
                  <a:cubicBezTo>
                    <a:pt x="118" y="64"/>
                    <a:pt x="118" y="64"/>
                    <a:pt x="118" y="64"/>
                  </a:cubicBezTo>
                  <a:cubicBezTo>
                    <a:pt x="115" y="66"/>
                    <a:pt x="114" y="71"/>
                    <a:pt x="116" y="75"/>
                  </a:cubicBezTo>
                  <a:cubicBezTo>
                    <a:pt x="131" y="122"/>
                    <a:pt x="131" y="122"/>
                    <a:pt x="131" y="122"/>
                  </a:cubicBezTo>
                  <a:cubicBezTo>
                    <a:pt x="121" y="132"/>
                    <a:pt x="111" y="142"/>
                    <a:pt x="102" y="154"/>
                  </a:cubicBezTo>
                  <a:cubicBezTo>
                    <a:pt x="55" y="145"/>
                    <a:pt x="55" y="145"/>
                    <a:pt x="55" y="145"/>
                  </a:cubicBezTo>
                  <a:cubicBezTo>
                    <a:pt x="51" y="143"/>
                    <a:pt x="46" y="144"/>
                    <a:pt x="44" y="148"/>
                  </a:cubicBezTo>
                  <a:cubicBezTo>
                    <a:pt x="25" y="186"/>
                    <a:pt x="25" y="186"/>
                    <a:pt x="25" y="186"/>
                  </a:cubicBezTo>
                  <a:cubicBezTo>
                    <a:pt x="23" y="190"/>
                    <a:pt x="25" y="195"/>
                    <a:pt x="29" y="197"/>
                  </a:cubicBezTo>
                  <a:cubicBezTo>
                    <a:pt x="63" y="228"/>
                    <a:pt x="63" y="228"/>
                    <a:pt x="63" y="228"/>
                  </a:cubicBezTo>
                  <a:cubicBezTo>
                    <a:pt x="58" y="243"/>
                    <a:pt x="54" y="258"/>
                    <a:pt x="52" y="274"/>
                  </a:cubicBezTo>
                  <a:cubicBezTo>
                    <a:pt x="8" y="292"/>
                    <a:pt x="8" y="292"/>
                    <a:pt x="8" y="292"/>
                  </a:cubicBezTo>
                  <a:cubicBezTo>
                    <a:pt x="4" y="293"/>
                    <a:pt x="0" y="296"/>
                    <a:pt x="1" y="300"/>
                  </a:cubicBezTo>
                  <a:cubicBezTo>
                    <a:pt x="5" y="343"/>
                    <a:pt x="5" y="343"/>
                    <a:pt x="5" y="343"/>
                  </a:cubicBezTo>
                  <a:cubicBezTo>
                    <a:pt x="6" y="347"/>
                    <a:pt x="10" y="350"/>
                    <a:pt x="15" y="350"/>
                  </a:cubicBezTo>
                  <a:cubicBezTo>
                    <a:pt x="54" y="356"/>
                    <a:pt x="54" y="356"/>
                    <a:pt x="54" y="356"/>
                  </a:cubicBezTo>
                  <a:cubicBezTo>
                    <a:pt x="58" y="379"/>
                    <a:pt x="65" y="400"/>
                    <a:pt x="75" y="420"/>
                  </a:cubicBezTo>
                  <a:cubicBezTo>
                    <a:pt x="48" y="439"/>
                    <a:pt x="48" y="439"/>
                    <a:pt x="48" y="439"/>
                  </a:cubicBezTo>
                  <a:cubicBezTo>
                    <a:pt x="44" y="440"/>
                    <a:pt x="41" y="444"/>
                    <a:pt x="42" y="448"/>
                  </a:cubicBezTo>
                  <a:cubicBezTo>
                    <a:pt x="56" y="489"/>
                    <a:pt x="56" y="489"/>
                    <a:pt x="56" y="489"/>
                  </a:cubicBezTo>
                  <a:cubicBezTo>
                    <a:pt x="57" y="493"/>
                    <a:pt x="62" y="495"/>
                    <a:pt x="66" y="494"/>
                  </a:cubicBezTo>
                  <a:cubicBezTo>
                    <a:pt x="117" y="491"/>
                    <a:pt x="117" y="491"/>
                    <a:pt x="117" y="491"/>
                  </a:cubicBezTo>
                  <a:cubicBezTo>
                    <a:pt x="119" y="490"/>
                    <a:pt x="121" y="489"/>
                    <a:pt x="122" y="487"/>
                  </a:cubicBezTo>
                  <a:cubicBezTo>
                    <a:pt x="130" y="495"/>
                    <a:pt x="138" y="502"/>
                    <a:pt x="146" y="509"/>
                  </a:cubicBezTo>
                  <a:cubicBezTo>
                    <a:pt x="145" y="512"/>
                    <a:pt x="145" y="512"/>
                    <a:pt x="145" y="512"/>
                  </a:cubicBezTo>
                  <a:cubicBezTo>
                    <a:pt x="140" y="563"/>
                    <a:pt x="140" y="563"/>
                    <a:pt x="140" y="563"/>
                  </a:cubicBezTo>
                  <a:cubicBezTo>
                    <a:pt x="138" y="567"/>
                    <a:pt x="139" y="571"/>
                    <a:pt x="143" y="573"/>
                  </a:cubicBezTo>
                  <a:cubicBezTo>
                    <a:pt x="183" y="589"/>
                    <a:pt x="183" y="589"/>
                    <a:pt x="183" y="589"/>
                  </a:cubicBezTo>
                  <a:cubicBezTo>
                    <a:pt x="187" y="591"/>
                    <a:pt x="192" y="588"/>
                    <a:pt x="193" y="584"/>
                  </a:cubicBezTo>
                  <a:cubicBezTo>
                    <a:pt x="220" y="550"/>
                    <a:pt x="220" y="550"/>
                    <a:pt x="220" y="550"/>
                  </a:cubicBezTo>
                  <a:cubicBezTo>
                    <a:pt x="235" y="556"/>
                    <a:pt x="252" y="560"/>
                    <a:pt x="269" y="562"/>
                  </a:cubicBezTo>
                  <a:cubicBezTo>
                    <a:pt x="269" y="563"/>
                    <a:pt x="269" y="563"/>
                    <a:pt x="269" y="563"/>
                  </a:cubicBezTo>
                  <a:cubicBezTo>
                    <a:pt x="288" y="610"/>
                    <a:pt x="288" y="610"/>
                    <a:pt x="288" y="610"/>
                  </a:cubicBezTo>
                  <a:cubicBezTo>
                    <a:pt x="288" y="614"/>
                    <a:pt x="292" y="618"/>
                    <a:pt x="296" y="617"/>
                  </a:cubicBezTo>
                  <a:cubicBezTo>
                    <a:pt x="339" y="613"/>
                    <a:pt x="339" y="613"/>
                    <a:pt x="339" y="613"/>
                  </a:cubicBezTo>
                  <a:cubicBezTo>
                    <a:pt x="343" y="612"/>
                    <a:pt x="346" y="608"/>
                    <a:pt x="345" y="604"/>
                  </a:cubicBezTo>
                  <a:cubicBezTo>
                    <a:pt x="353" y="560"/>
                    <a:pt x="353" y="560"/>
                    <a:pt x="353" y="560"/>
                  </a:cubicBezTo>
                  <a:cubicBezTo>
                    <a:pt x="369" y="557"/>
                    <a:pt x="384" y="553"/>
                    <a:pt x="399" y="547"/>
                  </a:cubicBezTo>
                  <a:cubicBezTo>
                    <a:pt x="430" y="582"/>
                    <a:pt x="430" y="582"/>
                    <a:pt x="430" y="582"/>
                  </a:cubicBezTo>
                  <a:cubicBezTo>
                    <a:pt x="432" y="587"/>
                    <a:pt x="436" y="589"/>
                    <a:pt x="440" y="587"/>
                  </a:cubicBezTo>
                  <a:cubicBezTo>
                    <a:pt x="479" y="568"/>
                    <a:pt x="479" y="568"/>
                    <a:pt x="479" y="568"/>
                  </a:cubicBezTo>
                  <a:cubicBezTo>
                    <a:pt x="483" y="567"/>
                    <a:pt x="484" y="562"/>
                    <a:pt x="482" y="558"/>
                  </a:cubicBezTo>
                  <a:cubicBezTo>
                    <a:pt x="474" y="508"/>
                    <a:pt x="474" y="508"/>
                    <a:pt x="474" y="508"/>
                  </a:cubicBezTo>
                  <a:cubicBezTo>
                    <a:pt x="471" y="504"/>
                    <a:pt x="471" y="504"/>
                    <a:pt x="471" y="504"/>
                  </a:cubicBezTo>
                  <a:cubicBezTo>
                    <a:pt x="483" y="493"/>
                    <a:pt x="494" y="482"/>
                    <a:pt x="504" y="470"/>
                  </a:cubicBezTo>
                  <a:cubicBezTo>
                    <a:pt x="507" y="471"/>
                    <a:pt x="507" y="471"/>
                    <a:pt x="507" y="471"/>
                  </a:cubicBezTo>
                  <a:cubicBezTo>
                    <a:pt x="557" y="477"/>
                    <a:pt x="557" y="477"/>
                    <a:pt x="557" y="477"/>
                  </a:cubicBezTo>
                  <a:cubicBezTo>
                    <a:pt x="561" y="479"/>
                    <a:pt x="566" y="477"/>
                    <a:pt x="568" y="473"/>
                  </a:cubicBezTo>
                  <a:cubicBezTo>
                    <a:pt x="584" y="433"/>
                    <a:pt x="584" y="433"/>
                    <a:pt x="584" y="433"/>
                  </a:cubicBezTo>
                  <a:cubicBezTo>
                    <a:pt x="586" y="430"/>
                    <a:pt x="584" y="425"/>
                    <a:pt x="580" y="424"/>
                  </a:cubicBezTo>
                  <a:cubicBezTo>
                    <a:pt x="546" y="397"/>
                    <a:pt x="546" y="397"/>
                    <a:pt x="546" y="397"/>
                  </a:cubicBezTo>
                  <a:cubicBezTo>
                    <a:pt x="552" y="380"/>
                    <a:pt x="556" y="363"/>
                    <a:pt x="559" y="345"/>
                  </a:cubicBezTo>
                  <a:cubicBezTo>
                    <a:pt x="600" y="331"/>
                    <a:pt x="600" y="331"/>
                    <a:pt x="600" y="331"/>
                  </a:cubicBezTo>
                  <a:cubicBezTo>
                    <a:pt x="605" y="330"/>
                    <a:pt x="608" y="327"/>
                    <a:pt x="608" y="323"/>
                  </a:cubicBezTo>
                  <a:lnTo>
                    <a:pt x="606" y="280"/>
                  </a:lnTo>
                  <a:close/>
                  <a:moveTo>
                    <a:pt x="103" y="326"/>
                  </a:moveTo>
                  <a:cubicBezTo>
                    <a:pt x="96" y="326"/>
                    <a:pt x="90" y="320"/>
                    <a:pt x="90" y="313"/>
                  </a:cubicBezTo>
                  <a:cubicBezTo>
                    <a:pt x="90" y="306"/>
                    <a:pt x="96" y="300"/>
                    <a:pt x="103" y="300"/>
                  </a:cubicBezTo>
                  <a:cubicBezTo>
                    <a:pt x="110" y="300"/>
                    <a:pt x="116" y="306"/>
                    <a:pt x="116" y="313"/>
                  </a:cubicBezTo>
                  <a:cubicBezTo>
                    <a:pt x="116" y="320"/>
                    <a:pt x="110" y="326"/>
                    <a:pt x="103" y="326"/>
                  </a:cubicBezTo>
                  <a:close/>
                  <a:moveTo>
                    <a:pt x="438" y="161"/>
                  </a:moveTo>
                  <a:cubicBezTo>
                    <a:pt x="443" y="156"/>
                    <a:pt x="451" y="156"/>
                    <a:pt x="456" y="161"/>
                  </a:cubicBezTo>
                  <a:cubicBezTo>
                    <a:pt x="461" y="166"/>
                    <a:pt x="461" y="175"/>
                    <a:pt x="456" y="180"/>
                  </a:cubicBezTo>
                  <a:cubicBezTo>
                    <a:pt x="451" y="185"/>
                    <a:pt x="443" y="185"/>
                    <a:pt x="438" y="180"/>
                  </a:cubicBezTo>
                  <a:cubicBezTo>
                    <a:pt x="432" y="175"/>
                    <a:pt x="432" y="166"/>
                    <a:pt x="438" y="161"/>
                  </a:cubicBezTo>
                  <a:close/>
                  <a:moveTo>
                    <a:pt x="304" y="98"/>
                  </a:moveTo>
                  <a:cubicBezTo>
                    <a:pt x="312" y="98"/>
                    <a:pt x="318" y="104"/>
                    <a:pt x="318" y="111"/>
                  </a:cubicBezTo>
                  <a:cubicBezTo>
                    <a:pt x="318" y="119"/>
                    <a:pt x="312" y="125"/>
                    <a:pt x="304" y="125"/>
                  </a:cubicBezTo>
                  <a:cubicBezTo>
                    <a:pt x="297" y="125"/>
                    <a:pt x="291" y="119"/>
                    <a:pt x="291" y="111"/>
                  </a:cubicBezTo>
                  <a:cubicBezTo>
                    <a:pt x="291" y="104"/>
                    <a:pt x="297" y="98"/>
                    <a:pt x="304" y="98"/>
                  </a:cubicBezTo>
                  <a:close/>
                  <a:moveTo>
                    <a:pt x="153" y="161"/>
                  </a:moveTo>
                  <a:cubicBezTo>
                    <a:pt x="158" y="156"/>
                    <a:pt x="166" y="156"/>
                    <a:pt x="171" y="161"/>
                  </a:cubicBezTo>
                  <a:cubicBezTo>
                    <a:pt x="176" y="166"/>
                    <a:pt x="176" y="175"/>
                    <a:pt x="171" y="180"/>
                  </a:cubicBezTo>
                  <a:cubicBezTo>
                    <a:pt x="166" y="185"/>
                    <a:pt x="158" y="185"/>
                    <a:pt x="153" y="180"/>
                  </a:cubicBezTo>
                  <a:cubicBezTo>
                    <a:pt x="148" y="175"/>
                    <a:pt x="148" y="166"/>
                    <a:pt x="153" y="161"/>
                  </a:cubicBezTo>
                  <a:close/>
                  <a:moveTo>
                    <a:pt x="171" y="464"/>
                  </a:moveTo>
                  <a:cubicBezTo>
                    <a:pt x="166" y="470"/>
                    <a:pt x="158" y="470"/>
                    <a:pt x="153" y="464"/>
                  </a:cubicBezTo>
                  <a:cubicBezTo>
                    <a:pt x="148" y="459"/>
                    <a:pt x="148" y="451"/>
                    <a:pt x="153" y="446"/>
                  </a:cubicBezTo>
                  <a:cubicBezTo>
                    <a:pt x="158" y="441"/>
                    <a:pt x="166" y="441"/>
                    <a:pt x="171" y="446"/>
                  </a:cubicBezTo>
                  <a:cubicBezTo>
                    <a:pt x="176" y="451"/>
                    <a:pt x="176" y="459"/>
                    <a:pt x="171" y="464"/>
                  </a:cubicBezTo>
                  <a:close/>
                  <a:moveTo>
                    <a:pt x="304" y="527"/>
                  </a:moveTo>
                  <a:cubicBezTo>
                    <a:pt x="297" y="527"/>
                    <a:pt x="291" y="521"/>
                    <a:pt x="291" y="514"/>
                  </a:cubicBezTo>
                  <a:cubicBezTo>
                    <a:pt x="291" y="507"/>
                    <a:pt x="297" y="501"/>
                    <a:pt x="304" y="501"/>
                  </a:cubicBezTo>
                  <a:cubicBezTo>
                    <a:pt x="312" y="501"/>
                    <a:pt x="318" y="507"/>
                    <a:pt x="318" y="514"/>
                  </a:cubicBezTo>
                  <a:cubicBezTo>
                    <a:pt x="318" y="521"/>
                    <a:pt x="312" y="527"/>
                    <a:pt x="304" y="527"/>
                  </a:cubicBezTo>
                  <a:close/>
                  <a:moveTo>
                    <a:pt x="456" y="464"/>
                  </a:moveTo>
                  <a:cubicBezTo>
                    <a:pt x="451" y="470"/>
                    <a:pt x="443" y="470"/>
                    <a:pt x="438" y="464"/>
                  </a:cubicBezTo>
                  <a:cubicBezTo>
                    <a:pt x="432" y="459"/>
                    <a:pt x="432" y="451"/>
                    <a:pt x="438" y="446"/>
                  </a:cubicBezTo>
                  <a:cubicBezTo>
                    <a:pt x="443" y="441"/>
                    <a:pt x="451" y="441"/>
                    <a:pt x="456" y="446"/>
                  </a:cubicBezTo>
                  <a:cubicBezTo>
                    <a:pt x="461" y="451"/>
                    <a:pt x="461" y="459"/>
                    <a:pt x="456" y="464"/>
                  </a:cubicBezTo>
                  <a:close/>
                  <a:moveTo>
                    <a:pt x="304" y="484"/>
                  </a:moveTo>
                  <a:cubicBezTo>
                    <a:pt x="208" y="484"/>
                    <a:pt x="129" y="406"/>
                    <a:pt x="129" y="309"/>
                  </a:cubicBezTo>
                  <a:cubicBezTo>
                    <a:pt x="129" y="212"/>
                    <a:pt x="208" y="134"/>
                    <a:pt x="304" y="134"/>
                  </a:cubicBezTo>
                  <a:cubicBezTo>
                    <a:pt x="401" y="134"/>
                    <a:pt x="480" y="212"/>
                    <a:pt x="480" y="309"/>
                  </a:cubicBezTo>
                  <a:cubicBezTo>
                    <a:pt x="480" y="406"/>
                    <a:pt x="401" y="484"/>
                    <a:pt x="304" y="484"/>
                  </a:cubicBezTo>
                  <a:close/>
                  <a:moveTo>
                    <a:pt x="506" y="326"/>
                  </a:moveTo>
                  <a:cubicBezTo>
                    <a:pt x="499" y="326"/>
                    <a:pt x="493" y="320"/>
                    <a:pt x="493" y="313"/>
                  </a:cubicBezTo>
                  <a:cubicBezTo>
                    <a:pt x="493" y="306"/>
                    <a:pt x="499" y="300"/>
                    <a:pt x="506" y="300"/>
                  </a:cubicBezTo>
                  <a:cubicBezTo>
                    <a:pt x="513" y="300"/>
                    <a:pt x="519" y="306"/>
                    <a:pt x="519" y="313"/>
                  </a:cubicBezTo>
                  <a:cubicBezTo>
                    <a:pt x="519" y="320"/>
                    <a:pt x="513" y="326"/>
                    <a:pt x="506" y="326"/>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Oval 34">
              <a:extLst>
                <a:ext uri="{FF2B5EF4-FFF2-40B4-BE49-F238E27FC236}">
                  <a16:creationId xmlns:a16="http://schemas.microsoft.com/office/drawing/2014/main" id="{ECCF0666-F852-45C0-9A64-4563864AD62B}"/>
                </a:ext>
              </a:extLst>
            </p:cNvPr>
            <p:cNvSpPr>
              <a:spLocks noChangeArrowheads="1"/>
            </p:cNvSpPr>
            <p:nvPr/>
          </p:nvSpPr>
          <p:spPr bwMode="auto">
            <a:xfrm>
              <a:off x="3597367" y="2484168"/>
              <a:ext cx="1283306" cy="1283306"/>
            </a:xfrm>
            <a:prstGeom prst="ellipse">
              <a:avLst/>
            </a:prstGeom>
            <a:solidFill>
              <a:schemeClr val="bg1"/>
            </a:solidFill>
            <a:ln w="12700">
              <a:noFill/>
              <a:round/>
              <a:headEnd/>
              <a:tailEnd/>
            </a:ln>
          </p:spPr>
          <p:txBody>
            <a:bodyPr wrap="none" anchor="ctr"/>
            <a:lstStyle/>
            <a:p>
              <a:pPr algn="ctr"/>
              <a:r>
                <a:rPr lang="en-US" sz="1200" b="1" dirty="0"/>
                <a:t>client</a:t>
              </a:r>
            </a:p>
          </p:txBody>
        </p:sp>
        <p:sp>
          <p:nvSpPr>
            <p:cNvPr id="29" name="Freeform 211">
              <a:extLst>
                <a:ext uri="{FF2B5EF4-FFF2-40B4-BE49-F238E27FC236}">
                  <a16:creationId xmlns:a16="http://schemas.microsoft.com/office/drawing/2014/main" id="{B8BF4F53-F598-462C-8AEF-DBF6D6407FFE}"/>
                </a:ext>
                <a:ext uri="{C183D7F6-B498-43B3-948B-1728B52AA6E4}">
                  <adec:decorative xmlns:adec="http://schemas.microsoft.com/office/drawing/2017/decorative" val="1"/>
                </a:ext>
              </a:extLst>
            </p:cNvPr>
            <p:cNvSpPr>
              <a:spLocks noEditPoints="1"/>
            </p:cNvSpPr>
            <p:nvPr/>
          </p:nvSpPr>
          <p:spPr bwMode="auto">
            <a:xfrm>
              <a:off x="5244621" y="1904998"/>
              <a:ext cx="2833194" cy="2880021"/>
            </a:xfrm>
            <a:custGeom>
              <a:avLst/>
              <a:gdLst>
                <a:gd name="T0" fmla="*/ 597 w 608"/>
                <a:gd name="T1" fmla="*/ 273 h 618"/>
                <a:gd name="T2" fmla="*/ 541 w 608"/>
                <a:gd name="T3" fmla="*/ 209 h 618"/>
                <a:gd name="T4" fmla="*/ 576 w 608"/>
                <a:gd name="T5" fmla="*/ 170 h 618"/>
                <a:gd name="T6" fmla="*/ 545 w 608"/>
                <a:gd name="T7" fmla="*/ 129 h 618"/>
                <a:gd name="T8" fmla="*/ 459 w 608"/>
                <a:gd name="T9" fmla="*/ 104 h 618"/>
                <a:gd name="T10" fmla="*/ 464 w 608"/>
                <a:gd name="T11" fmla="*/ 55 h 618"/>
                <a:gd name="T12" fmla="*/ 415 w 608"/>
                <a:gd name="T13" fmla="*/ 39 h 618"/>
                <a:gd name="T14" fmla="*/ 328 w 608"/>
                <a:gd name="T15" fmla="*/ 56 h 618"/>
                <a:gd name="T16" fmla="*/ 315 w 608"/>
                <a:gd name="T17" fmla="*/ 8 h 618"/>
                <a:gd name="T18" fmla="*/ 269 w 608"/>
                <a:gd name="T19" fmla="*/ 6 h 618"/>
                <a:gd name="T20" fmla="*/ 257 w 608"/>
                <a:gd name="T21" fmla="*/ 58 h 618"/>
                <a:gd name="T22" fmla="*/ 165 w 608"/>
                <a:gd name="T23" fmla="*/ 43 h 618"/>
                <a:gd name="T24" fmla="*/ 118 w 608"/>
                <a:gd name="T25" fmla="*/ 64 h 618"/>
                <a:gd name="T26" fmla="*/ 131 w 608"/>
                <a:gd name="T27" fmla="*/ 122 h 618"/>
                <a:gd name="T28" fmla="*/ 55 w 608"/>
                <a:gd name="T29" fmla="*/ 145 h 618"/>
                <a:gd name="T30" fmla="*/ 25 w 608"/>
                <a:gd name="T31" fmla="*/ 186 h 618"/>
                <a:gd name="T32" fmla="*/ 63 w 608"/>
                <a:gd name="T33" fmla="*/ 228 h 618"/>
                <a:gd name="T34" fmla="*/ 8 w 608"/>
                <a:gd name="T35" fmla="*/ 292 h 618"/>
                <a:gd name="T36" fmla="*/ 5 w 608"/>
                <a:gd name="T37" fmla="*/ 343 h 618"/>
                <a:gd name="T38" fmla="*/ 54 w 608"/>
                <a:gd name="T39" fmla="*/ 356 h 618"/>
                <a:gd name="T40" fmla="*/ 48 w 608"/>
                <a:gd name="T41" fmla="*/ 439 h 618"/>
                <a:gd name="T42" fmla="*/ 56 w 608"/>
                <a:gd name="T43" fmla="*/ 489 h 618"/>
                <a:gd name="T44" fmla="*/ 117 w 608"/>
                <a:gd name="T45" fmla="*/ 491 h 618"/>
                <a:gd name="T46" fmla="*/ 146 w 608"/>
                <a:gd name="T47" fmla="*/ 509 h 618"/>
                <a:gd name="T48" fmla="*/ 140 w 608"/>
                <a:gd name="T49" fmla="*/ 563 h 618"/>
                <a:gd name="T50" fmla="*/ 183 w 608"/>
                <a:gd name="T51" fmla="*/ 589 h 618"/>
                <a:gd name="T52" fmla="*/ 220 w 608"/>
                <a:gd name="T53" fmla="*/ 550 h 618"/>
                <a:gd name="T54" fmla="*/ 269 w 608"/>
                <a:gd name="T55" fmla="*/ 563 h 618"/>
                <a:gd name="T56" fmla="*/ 296 w 608"/>
                <a:gd name="T57" fmla="*/ 617 h 618"/>
                <a:gd name="T58" fmla="*/ 345 w 608"/>
                <a:gd name="T59" fmla="*/ 604 h 618"/>
                <a:gd name="T60" fmla="*/ 399 w 608"/>
                <a:gd name="T61" fmla="*/ 547 h 618"/>
                <a:gd name="T62" fmla="*/ 440 w 608"/>
                <a:gd name="T63" fmla="*/ 587 h 618"/>
                <a:gd name="T64" fmla="*/ 482 w 608"/>
                <a:gd name="T65" fmla="*/ 558 h 618"/>
                <a:gd name="T66" fmla="*/ 471 w 608"/>
                <a:gd name="T67" fmla="*/ 504 h 618"/>
                <a:gd name="T68" fmla="*/ 507 w 608"/>
                <a:gd name="T69" fmla="*/ 471 h 618"/>
                <a:gd name="T70" fmla="*/ 568 w 608"/>
                <a:gd name="T71" fmla="*/ 473 h 618"/>
                <a:gd name="T72" fmla="*/ 580 w 608"/>
                <a:gd name="T73" fmla="*/ 424 h 618"/>
                <a:gd name="T74" fmla="*/ 559 w 608"/>
                <a:gd name="T75" fmla="*/ 345 h 618"/>
                <a:gd name="T76" fmla="*/ 608 w 608"/>
                <a:gd name="T77" fmla="*/ 323 h 618"/>
                <a:gd name="T78" fmla="*/ 103 w 608"/>
                <a:gd name="T79" fmla="*/ 326 h 618"/>
                <a:gd name="T80" fmla="*/ 103 w 608"/>
                <a:gd name="T81" fmla="*/ 300 h 618"/>
                <a:gd name="T82" fmla="*/ 103 w 608"/>
                <a:gd name="T83" fmla="*/ 326 h 618"/>
                <a:gd name="T84" fmla="*/ 456 w 608"/>
                <a:gd name="T85" fmla="*/ 161 h 618"/>
                <a:gd name="T86" fmla="*/ 438 w 608"/>
                <a:gd name="T87" fmla="*/ 180 h 618"/>
                <a:gd name="T88" fmla="*/ 304 w 608"/>
                <a:gd name="T89" fmla="*/ 98 h 618"/>
                <a:gd name="T90" fmla="*/ 304 w 608"/>
                <a:gd name="T91" fmla="*/ 125 h 618"/>
                <a:gd name="T92" fmla="*/ 304 w 608"/>
                <a:gd name="T93" fmla="*/ 98 h 618"/>
                <a:gd name="T94" fmla="*/ 171 w 608"/>
                <a:gd name="T95" fmla="*/ 161 h 618"/>
                <a:gd name="T96" fmla="*/ 153 w 608"/>
                <a:gd name="T97" fmla="*/ 180 h 618"/>
                <a:gd name="T98" fmla="*/ 171 w 608"/>
                <a:gd name="T99" fmla="*/ 464 h 618"/>
                <a:gd name="T100" fmla="*/ 153 w 608"/>
                <a:gd name="T101" fmla="*/ 446 h 618"/>
                <a:gd name="T102" fmla="*/ 171 w 608"/>
                <a:gd name="T103" fmla="*/ 464 h 618"/>
                <a:gd name="T104" fmla="*/ 291 w 608"/>
                <a:gd name="T105" fmla="*/ 514 h 618"/>
                <a:gd name="T106" fmla="*/ 318 w 608"/>
                <a:gd name="T107" fmla="*/ 514 h 618"/>
                <a:gd name="T108" fmla="*/ 456 w 608"/>
                <a:gd name="T109" fmla="*/ 464 h 618"/>
                <a:gd name="T110" fmla="*/ 438 w 608"/>
                <a:gd name="T111" fmla="*/ 446 h 618"/>
                <a:gd name="T112" fmla="*/ 456 w 608"/>
                <a:gd name="T113" fmla="*/ 464 h 618"/>
                <a:gd name="T114" fmla="*/ 129 w 608"/>
                <a:gd name="T115" fmla="*/ 309 h 618"/>
                <a:gd name="T116" fmla="*/ 480 w 608"/>
                <a:gd name="T117" fmla="*/ 309 h 618"/>
                <a:gd name="T118" fmla="*/ 506 w 608"/>
                <a:gd name="T119" fmla="*/ 326 h 618"/>
                <a:gd name="T120" fmla="*/ 506 w 608"/>
                <a:gd name="T121" fmla="*/ 300 h 618"/>
                <a:gd name="T122" fmla="*/ 506 w 608"/>
                <a:gd name="T123" fmla="*/ 3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618">
                  <a:moveTo>
                    <a:pt x="606" y="280"/>
                  </a:moveTo>
                  <a:cubicBezTo>
                    <a:pt x="606" y="276"/>
                    <a:pt x="602" y="272"/>
                    <a:pt x="597" y="273"/>
                  </a:cubicBezTo>
                  <a:cubicBezTo>
                    <a:pt x="557" y="264"/>
                    <a:pt x="557" y="264"/>
                    <a:pt x="557" y="264"/>
                  </a:cubicBezTo>
                  <a:cubicBezTo>
                    <a:pt x="554" y="245"/>
                    <a:pt x="548" y="227"/>
                    <a:pt x="541" y="209"/>
                  </a:cubicBezTo>
                  <a:cubicBezTo>
                    <a:pt x="572" y="180"/>
                    <a:pt x="572" y="180"/>
                    <a:pt x="572" y="180"/>
                  </a:cubicBezTo>
                  <a:cubicBezTo>
                    <a:pt x="576" y="178"/>
                    <a:pt x="578" y="174"/>
                    <a:pt x="576" y="170"/>
                  </a:cubicBezTo>
                  <a:cubicBezTo>
                    <a:pt x="556" y="132"/>
                    <a:pt x="556" y="132"/>
                    <a:pt x="556" y="132"/>
                  </a:cubicBezTo>
                  <a:cubicBezTo>
                    <a:pt x="554" y="128"/>
                    <a:pt x="549" y="127"/>
                    <a:pt x="545" y="129"/>
                  </a:cubicBezTo>
                  <a:cubicBezTo>
                    <a:pt x="496" y="139"/>
                    <a:pt x="496" y="139"/>
                    <a:pt x="496" y="139"/>
                  </a:cubicBezTo>
                  <a:cubicBezTo>
                    <a:pt x="485" y="126"/>
                    <a:pt x="472" y="114"/>
                    <a:pt x="459" y="104"/>
                  </a:cubicBezTo>
                  <a:cubicBezTo>
                    <a:pt x="467" y="65"/>
                    <a:pt x="467" y="65"/>
                    <a:pt x="467" y="65"/>
                  </a:cubicBezTo>
                  <a:cubicBezTo>
                    <a:pt x="469" y="61"/>
                    <a:pt x="468" y="57"/>
                    <a:pt x="464" y="55"/>
                  </a:cubicBezTo>
                  <a:cubicBezTo>
                    <a:pt x="426" y="35"/>
                    <a:pt x="426" y="35"/>
                    <a:pt x="426" y="35"/>
                  </a:cubicBezTo>
                  <a:cubicBezTo>
                    <a:pt x="422" y="33"/>
                    <a:pt x="417" y="35"/>
                    <a:pt x="415" y="39"/>
                  </a:cubicBezTo>
                  <a:cubicBezTo>
                    <a:pt x="382" y="67"/>
                    <a:pt x="382" y="67"/>
                    <a:pt x="382" y="67"/>
                  </a:cubicBezTo>
                  <a:cubicBezTo>
                    <a:pt x="366" y="62"/>
                    <a:pt x="343" y="58"/>
                    <a:pt x="328" y="56"/>
                  </a:cubicBezTo>
                  <a:cubicBezTo>
                    <a:pt x="328" y="55"/>
                    <a:pt x="328" y="55"/>
                    <a:pt x="328" y="55"/>
                  </a:cubicBezTo>
                  <a:cubicBezTo>
                    <a:pt x="315" y="8"/>
                    <a:pt x="315" y="8"/>
                    <a:pt x="315" y="8"/>
                  </a:cubicBezTo>
                  <a:cubicBezTo>
                    <a:pt x="314" y="4"/>
                    <a:pt x="314" y="0"/>
                    <a:pt x="310" y="1"/>
                  </a:cubicBezTo>
                  <a:cubicBezTo>
                    <a:pt x="269" y="6"/>
                    <a:pt x="269" y="6"/>
                    <a:pt x="269" y="6"/>
                  </a:cubicBezTo>
                  <a:cubicBezTo>
                    <a:pt x="265" y="6"/>
                    <a:pt x="263" y="10"/>
                    <a:pt x="263" y="15"/>
                  </a:cubicBezTo>
                  <a:cubicBezTo>
                    <a:pt x="257" y="58"/>
                    <a:pt x="257" y="58"/>
                    <a:pt x="257" y="58"/>
                  </a:cubicBezTo>
                  <a:cubicBezTo>
                    <a:pt x="238" y="62"/>
                    <a:pt x="219" y="67"/>
                    <a:pt x="202" y="75"/>
                  </a:cubicBezTo>
                  <a:cubicBezTo>
                    <a:pt x="165" y="43"/>
                    <a:pt x="165" y="43"/>
                    <a:pt x="165" y="43"/>
                  </a:cubicBezTo>
                  <a:cubicBezTo>
                    <a:pt x="162" y="39"/>
                    <a:pt x="157" y="38"/>
                    <a:pt x="154" y="40"/>
                  </a:cubicBezTo>
                  <a:cubicBezTo>
                    <a:pt x="118" y="64"/>
                    <a:pt x="118" y="64"/>
                    <a:pt x="118" y="64"/>
                  </a:cubicBezTo>
                  <a:cubicBezTo>
                    <a:pt x="115" y="66"/>
                    <a:pt x="114" y="71"/>
                    <a:pt x="116" y="75"/>
                  </a:cubicBezTo>
                  <a:cubicBezTo>
                    <a:pt x="131" y="122"/>
                    <a:pt x="131" y="122"/>
                    <a:pt x="131" y="122"/>
                  </a:cubicBezTo>
                  <a:cubicBezTo>
                    <a:pt x="121" y="132"/>
                    <a:pt x="111" y="142"/>
                    <a:pt x="102" y="154"/>
                  </a:cubicBezTo>
                  <a:cubicBezTo>
                    <a:pt x="55" y="145"/>
                    <a:pt x="55" y="145"/>
                    <a:pt x="55" y="145"/>
                  </a:cubicBezTo>
                  <a:cubicBezTo>
                    <a:pt x="51" y="143"/>
                    <a:pt x="46" y="144"/>
                    <a:pt x="44" y="148"/>
                  </a:cubicBezTo>
                  <a:cubicBezTo>
                    <a:pt x="25" y="186"/>
                    <a:pt x="25" y="186"/>
                    <a:pt x="25" y="186"/>
                  </a:cubicBezTo>
                  <a:cubicBezTo>
                    <a:pt x="23" y="190"/>
                    <a:pt x="25" y="195"/>
                    <a:pt x="29" y="197"/>
                  </a:cubicBezTo>
                  <a:cubicBezTo>
                    <a:pt x="63" y="228"/>
                    <a:pt x="63" y="228"/>
                    <a:pt x="63" y="228"/>
                  </a:cubicBezTo>
                  <a:cubicBezTo>
                    <a:pt x="58" y="243"/>
                    <a:pt x="54" y="258"/>
                    <a:pt x="52" y="274"/>
                  </a:cubicBezTo>
                  <a:cubicBezTo>
                    <a:pt x="8" y="292"/>
                    <a:pt x="8" y="292"/>
                    <a:pt x="8" y="292"/>
                  </a:cubicBezTo>
                  <a:cubicBezTo>
                    <a:pt x="4" y="293"/>
                    <a:pt x="0" y="296"/>
                    <a:pt x="1" y="300"/>
                  </a:cubicBezTo>
                  <a:cubicBezTo>
                    <a:pt x="5" y="343"/>
                    <a:pt x="5" y="343"/>
                    <a:pt x="5" y="343"/>
                  </a:cubicBezTo>
                  <a:cubicBezTo>
                    <a:pt x="6" y="347"/>
                    <a:pt x="10" y="350"/>
                    <a:pt x="15" y="350"/>
                  </a:cubicBezTo>
                  <a:cubicBezTo>
                    <a:pt x="54" y="356"/>
                    <a:pt x="54" y="356"/>
                    <a:pt x="54" y="356"/>
                  </a:cubicBezTo>
                  <a:cubicBezTo>
                    <a:pt x="58" y="379"/>
                    <a:pt x="65" y="400"/>
                    <a:pt x="75" y="420"/>
                  </a:cubicBezTo>
                  <a:cubicBezTo>
                    <a:pt x="48" y="439"/>
                    <a:pt x="48" y="439"/>
                    <a:pt x="48" y="439"/>
                  </a:cubicBezTo>
                  <a:cubicBezTo>
                    <a:pt x="44" y="440"/>
                    <a:pt x="41" y="444"/>
                    <a:pt x="42" y="448"/>
                  </a:cubicBezTo>
                  <a:cubicBezTo>
                    <a:pt x="56" y="489"/>
                    <a:pt x="56" y="489"/>
                    <a:pt x="56" y="489"/>
                  </a:cubicBezTo>
                  <a:cubicBezTo>
                    <a:pt x="57" y="493"/>
                    <a:pt x="62" y="495"/>
                    <a:pt x="66" y="494"/>
                  </a:cubicBezTo>
                  <a:cubicBezTo>
                    <a:pt x="117" y="491"/>
                    <a:pt x="117" y="491"/>
                    <a:pt x="117" y="491"/>
                  </a:cubicBezTo>
                  <a:cubicBezTo>
                    <a:pt x="119" y="490"/>
                    <a:pt x="121" y="489"/>
                    <a:pt x="122" y="487"/>
                  </a:cubicBezTo>
                  <a:cubicBezTo>
                    <a:pt x="130" y="495"/>
                    <a:pt x="138" y="502"/>
                    <a:pt x="146" y="509"/>
                  </a:cubicBezTo>
                  <a:cubicBezTo>
                    <a:pt x="145" y="512"/>
                    <a:pt x="145" y="512"/>
                    <a:pt x="145" y="512"/>
                  </a:cubicBezTo>
                  <a:cubicBezTo>
                    <a:pt x="140" y="563"/>
                    <a:pt x="140" y="563"/>
                    <a:pt x="140" y="563"/>
                  </a:cubicBezTo>
                  <a:cubicBezTo>
                    <a:pt x="138" y="567"/>
                    <a:pt x="139" y="571"/>
                    <a:pt x="143" y="573"/>
                  </a:cubicBezTo>
                  <a:cubicBezTo>
                    <a:pt x="183" y="589"/>
                    <a:pt x="183" y="589"/>
                    <a:pt x="183" y="589"/>
                  </a:cubicBezTo>
                  <a:cubicBezTo>
                    <a:pt x="187" y="591"/>
                    <a:pt x="192" y="588"/>
                    <a:pt x="193" y="584"/>
                  </a:cubicBezTo>
                  <a:cubicBezTo>
                    <a:pt x="220" y="550"/>
                    <a:pt x="220" y="550"/>
                    <a:pt x="220" y="550"/>
                  </a:cubicBezTo>
                  <a:cubicBezTo>
                    <a:pt x="235" y="556"/>
                    <a:pt x="252" y="560"/>
                    <a:pt x="269" y="562"/>
                  </a:cubicBezTo>
                  <a:cubicBezTo>
                    <a:pt x="269" y="563"/>
                    <a:pt x="269" y="563"/>
                    <a:pt x="269" y="563"/>
                  </a:cubicBezTo>
                  <a:cubicBezTo>
                    <a:pt x="288" y="610"/>
                    <a:pt x="288" y="610"/>
                    <a:pt x="288" y="610"/>
                  </a:cubicBezTo>
                  <a:cubicBezTo>
                    <a:pt x="288" y="614"/>
                    <a:pt x="292" y="618"/>
                    <a:pt x="296" y="617"/>
                  </a:cubicBezTo>
                  <a:cubicBezTo>
                    <a:pt x="339" y="613"/>
                    <a:pt x="339" y="613"/>
                    <a:pt x="339" y="613"/>
                  </a:cubicBezTo>
                  <a:cubicBezTo>
                    <a:pt x="343" y="612"/>
                    <a:pt x="346" y="608"/>
                    <a:pt x="345" y="604"/>
                  </a:cubicBezTo>
                  <a:cubicBezTo>
                    <a:pt x="353" y="560"/>
                    <a:pt x="353" y="560"/>
                    <a:pt x="353" y="560"/>
                  </a:cubicBezTo>
                  <a:cubicBezTo>
                    <a:pt x="369" y="557"/>
                    <a:pt x="384" y="553"/>
                    <a:pt x="399" y="547"/>
                  </a:cubicBezTo>
                  <a:cubicBezTo>
                    <a:pt x="430" y="582"/>
                    <a:pt x="430" y="582"/>
                    <a:pt x="430" y="582"/>
                  </a:cubicBezTo>
                  <a:cubicBezTo>
                    <a:pt x="432" y="587"/>
                    <a:pt x="436" y="589"/>
                    <a:pt x="440" y="587"/>
                  </a:cubicBezTo>
                  <a:cubicBezTo>
                    <a:pt x="479" y="568"/>
                    <a:pt x="479" y="568"/>
                    <a:pt x="479" y="568"/>
                  </a:cubicBezTo>
                  <a:cubicBezTo>
                    <a:pt x="483" y="567"/>
                    <a:pt x="484" y="562"/>
                    <a:pt x="482" y="558"/>
                  </a:cubicBezTo>
                  <a:cubicBezTo>
                    <a:pt x="474" y="508"/>
                    <a:pt x="474" y="508"/>
                    <a:pt x="474" y="508"/>
                  </a:cubicBezTo>
                  <a:cubicBezTo>
                    <a:pt x="471" y="504"/>
                    <a:pt x="471" y="504"/>
                    <a:pt x="471" y="504"/>
                  </a:cubicBezTo>
                  <a:cubicBezTo>
                    <a:pt x="483" y="493"/>
                    <a:pt x="494" y="482"/>
                    <a:pt x="504" y="470"/>
                  </a:cubicBezTo>
                  <a:cubicBezTo>
                    <a:pt x="507" y="471"/>
                    <a:pt x="507" y="471"/>
                    <a:pt x="507" y="471"/>
                  </a:cubicBezTo>
                  <a:cubicBezTo>
                    <a:pt x="557" y="477"/>
                    <a:pt x="557" y="477"/>
                    <a:pt x="557" y="477"/>
                  </a:cubicBezTo>
                  <a:cubicBezTo>
                    <a:pt x="561" y="479"/>
                    <a:pt x="566" y="477"/>
                    <a:pt x="568" y="473"/>
                  </a:cubicBezTo>
                  <a:cubicBezTo>
                    <a:pt x="584" y="433"/>
                    <a:pt x="584" y="433"/>
                    <a:pt x="584" y="433"/>
                  </a:cubicBezTo>
                  <a:cubicBezTo>
                    <a:pt x="586" y="430"/>
                    <a:pt x="584" y="425"/>
                    <a:pt x="580" y="424"/>
                  </a:cubicBezTo>
                  <a:cubicBezTo>
                    <a:pt x="546" y="397"/>
                    <a:pt x="546" y="397"/>
                    <a:pt x="546" y="397"/>
                  </a:cubicBezTo>
                  <a:cubicBezTo>
                    <a:pt x="552" y="380"/>
                    <a:pt x="556" y="363"/>
                    <a:pt x="559" y="345"/>
                  </a:cubicBezTo>
                  <a:cubicBezTo>
                    <a:pt x="600" y="331"/>
                    <a:pt x="600" y="331"/>
                    <a:pt x="600" y="331"/>
                  </a:cubicBezTo>
                  <a:cubicBezTo>
                    <a:pt x="605" y="330"/>
                    <a:pt x="608" y="327"/>
                    <a:pt x="608" y="323"/>
                  </a:cubicBezTo>
                  <a:lnTo>
                    <a:pt x="606" y="280"/>
                  </a:lnTo>
                  <a:close/>
                  <a:moveTo>
                    <a:pt x="103" y="326"/>
                  </a:moveTo>
                  <a:cubicBezTo>
                    <a:pt x="96" y="326"/>
                    <a:pt x="90" y="320"/>
                    <a:pt x="90" y="313"/>
                  </a:cubicBezTo>
                  <a:cubicBezTo>
                    <a:pt x="90" y="306"/>
                    <a:pt x="96" y="300"/>
                    <a:pt x="103" y="300"/>
                  </a:cubicBezTo>
                  <a:cubicBezTo>
                    <a:pt x="110" y="300"/>
                    <a:pt x="116" y="306"/>
                    <a:pt x="116" y="313"/>
                  </a:cubicBezTo>
                  <a:cubicBezTo>
                    <a:pt x="116" y="320"/>
                    <a:pt x="110" y="326"/>
                    <a:pt x="103" y="326"/>
                  </a:cubicBezTo>
                  <a:close/>
                  <a:moveTo>
                    <a:pt x="438" y="161"/>
                  </a:moveTo>
                  <a:cubicBezTo>
                    <a:pt x="443" y="156"/>
                    <a:pt x="451" y="156"/>
                    <a:pt x="456" y="161"/>
                  </a:cubicBezTo>
                  <a:cubicBezTo>
                    <a:pt x="461" y="166"/>
                    <a:pt x="461" y="175"/>
                    <a:pt x="456" y="180"/>
                  </a:cubicBezTo>
                  <a:cubicBezTo>
                    <a:pt x="451" y="185"/>
                    <a:pt x="443" y="185"/>
                    <a:pt x="438" y="180"/>
                  </a:cubicBezTo>
                  <a:cubicBezTo>
                    <a:pt x="432" y="175"/>
                    <a:pt x="432" y="166"/>
                    <a:pt x="438" y="161"/>
                  </a:cubicBezTo>
                  <a:close/>
                  <a:moveTo>
                    <a:pt x="304" y="98"/>
                  </a:moveTo>
                  <a:cubicBezTo>
                    <a:pt x="312" y="98"/>
                    <a:pt x="318" y="104"/>
                    <a:pt x="318" y="111"/>
                  </a:cubicBezTo>
                  <a:cubicBezTo>
                    <a:pt x="318" y="119"/>
                    <a:pt x="312" y="125"/>
                    <a:pt x="304" y="125"/>
                  </a:cubicBezTo>
                  <a:cubicBezTo>
                    <a:pt x="297" y="125"/>
                    <a:pt x="291" y="119"/>
                    <a:pt x="291" y="111"/>
                  </a:cubicBezTo>
                  <a:cubicBezTo>
                    <a:pt x="291" y="104"/>
                    <a:pt x="297" y="98"/>
                    <a:pt x="304" y="98"/>
                  </a:cubicBezTo>
                  <a:close/>
                  <a:moveTo>
                    <a:pt x="153" y="161"/>
                  </a:moveTo>
                  <a:cubicBezTo>
                    <a:pt x="158" y="156"/>
                    <a:pt x="166" y="156"/>
                    <a:pt x="171" y="161"/>
                  </a:cubicBezTo>
                  <a:cubicBezTo>
                    <a:pt x="176" y="166"/>
                    <a:pt x="176" y="175"/>
                    <a:pt x="171" y="180"/>
                  </a:cubicBezTo>
                  <a:cubicBezTo>
                    <a:pt x="166" y="185"/>
                    <a:pt x="158" y="185"/>
                    <a:pt x="153" y="180"/>
                  </a:cubicBezTo>
                  <a:cubicBezTo>
                    <a:pt x="148" y="175"/>
                    <a:pt x="148" y="166"/>
                    <a:pt x="153" y="161"/>
                  </a:cubicBezTo>
                  <a:close/>
                  <a:moveTo>
                    <a:pt x="171" y="464"/>
                  </a:moveTo>
                  <a:cubicBezTo>
                    <a:pt x="166" y="470"/>
                    <a:pt x="158" y="470"/>
                    <a:pt x="153" y="464"/>
                  </a:cubicBezTo>
                  <a:cubicBezTo>
                    <a:pt x="148" y="459"/>
                    <a:pt x="148" y="451"/>
                    <a:pt x="153" y="446"/>
                  </a:cubicBezTo>
                  <a:cubicBezTo>
                    <a:pt x="158" y="441"/>
                    <a:pt x="166" y="441"/>
                    <a:pt x="171" y="446"/>
                  </a:cubicBezTo>
                  <a:cubicBezTo>
                    <a:pt x="176" y="451"/>
                    <a:pt x="176" y="459"/>
                    <a:pt x="171" y="464"/>
                  </a:cubicBezTo>
                  <a:close/>
                  <a:moveTo>
                    <a:pt x="304" y="527"/>
                  </a:moveTo>
                  <a:cubicBezTo>
                    <a:pt x="297" y="527"/>
                    <a:pt x="291" y="521"/>
                    <a:pt x="291" y="514"/>
                  </a:cubicBezTo>
                  <a:cubicBezTo>
                    <a:pt x="291" y="507"/>
                    <a:pt x="297" y="501"/>
                    <a:pt x="304" y="501"/>
                  </a:cubicBezTo>
                  <a:cubicBezTo>
                    <a:pt x="312" y="501"/>
                    <a:pt x="318" y="507"/>
                    <a:pt x="318" y="514"/>
                  </a:cubicBezTo>
                  <a:cubicBezTo>
                    <a:pt x="318" y="521"/>
                    <a:pt x="312" y="527"/>
                    <a:pt x="304" y="527"/>
                  </a:cubicBezTo>
                  <a:close/>
                  <a:moveTo>
                    <a:pt x="456" y="464"/>
                  </a:moveTo>
                  <a:cubicBezTo>
                    <a:pt x="451" y="470"/>
                    <a:pt x="443" y="470"/>
                    <a:pt x="438" y="464"/>
                  </a:cubicBezTo>
                  <a:cubicBezTo>
                    <a:pt x="432" y="459"/>
                    <a:pt x="432" y="451"/>
                    <a:pt x="438" y="446"/>
                  </a:cubicBezTo>
                  <a:cubicBezTo>
                    <a:pt x="443" y="441"/>
                    <a:pt x="451" y="441"/>
                    <a:pt x="456" y="446"/>
                  </a:cubicBezTo>
                  <a:cubicBezTo>
                    <a:pt x="461" y="451"/>
                    <a:pt x="461" y="459"/>
                    <a:pt x="456" y="464"/>
                  </a:cubicBezTo>
                  <a:close/>
                  <a:moveTo>
                    <a:pt x="304" y="484"/>
                  </a:moveTo>
                  <a:cubicBezTo>
                    <a:pt x="208" y="484"/>
                    <a:pt x="129" y="406"/>
                    <a:pt x="129" y="309"/>
                  </a:cubicBezTo>
                  <a:cubicBezTo>
                    <a:pt x="129" y="212"/>
                    <a:pt x="208" y="134"/>
                    <a:pt x="304" y="134"/>
                  </a:cubicBezTo>
                  <a:cubicBezTo>
                    <a:pt x="401" y="134"/>
                    <a:pt x="480" y="212"/>
                    <a:pt x="480" y="309"/>
                  </a:cubicBezTo>
                  <a:cubicBezTo>
                    <a:pt x="480" y="406"/>
                    <a:pt x="401" y="484"/>
                    <a:pt x="304" y="484"/>
                  </a:cubicBezTo>
                  <a:close/>
                  <a:moveTo>
                    <a:pt x="506" y="326"/>
                  </a:moveTo>
                  <a:cubicBezTo>
                    <a:pt x="499" y="326"/>
                    <a:pt x="493" y="320"/>
                    <a:pt x="493" y="313"/>
                  </a:cubicBezTo>
                  <a:cubicBezTo>
                    <a:pt x="493" y="306"/>
                    <a:pt x="499" y="300"/>
                    <a:pt x="506" y="300"/>
                  </a:cubicBezTo>
                  <a:cubicBezTo>
                    <a:pt x="513" y="300"/>
                    <a:pt x="519" y="306"/>
                    <a:pt x="519" y="313"/>
                  </a:cubicBezTo>
                  <a:cubicBezTo>
                    <a:pt x="519" y="320"/>
                    <a:pt x="513" y="326"/>
                    <a:pt x="506" y="326"/>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Oval 12">
              <a:extLst>
                <a:ext uri="{FF2B5EF4-FFF2-40B4-BE49-F238E27FC236}">
                  <a16:creationId xmlns:a16="http://schemas.microsoft.com/office/drawing/2014/main" id="{92024C6F-C75E-4D00-A294-E61E7858EED9}"/>
                </a:ext>
              </a:extLst>
            </p:cNvPr>
            <p:cNvSpPr>
              <a:spLocks noChangeArrowheads="1"/>
            </p:cNvSpPr>
            <p:nvPr/>
          </p:nvSpPr>
          <p:spPr bwMode="auto">
            <a:xfrm>
              <a:off x="5896704" y="2576432"/>
              <a:ext cx="1512000" cy="1512000"/>
            </a:xfrm>
            <a:prstGeom prst="ellipse">
              <a:avLst/>
            </a:prstGeom>
            <a:solidFill>
              <a:schemeClr val="bg1"/>
            </a:solidFill>
            <a:ln w="12700">
              <a:noFill/>
              <a:round/>
              <a:headEnd/>
              <a:tailEnd/>
            </a:ln>
          </p:spPr>
          <p:txBody>
            <a:bodyPr wrap="square" lIns="83520" tIns="41027" rIns="83520" bIns="41027" anchor="ctr">
              <a:noAutofit/>
            </a:bodyPr>
            <a:lstStyle/>
            <a:p>
              <a:pPr algn="ctr"/>
              <a:r>
                <a:rPr lang="en-US" sz="1200" b="1" dirty="0"/>
                <a:t>Accenture</a:t>
              </a:r>
            </a:p>
          </p:txBody>
        </p:sp>
        <p:sp>
          <p:nvSpPr>
            <p:cNvPr id="33" name="Freeform 211">
              <a:extLst>
                <a:ext uri="{FF2B5EF4-FFF2-40B4-BE49-F238E27FC236}">
                  <a16:creationId xmlns:a16="http://schemas.microsoft.com/office/drawing/2014/main" id="{446BF9B7-50AA-4F9E-8723-6AF22185F3F2}"/>
                </a:ext>
                <a:ext uri="{C183D7F6-B498-43B3-948B-1728B52AA6E4}">
                  <adec:decorative xmlns:adec="http://schemas.microsoft.com/office/drawing/2017/decorative" val="1"/>
                </a:ext>
              </a:extLst>
            </p:cNvPr>
            <p:cNvSpPr>
              <a:spLocks noEditPoints="1"/>
            </p:cNvSpPr>
            <p:nvPr/>
          </p:nvSpPr>
          <p:spPr bwMode="auto">
            <a:xfrm>
              <a:off x="8012837" y="2810930"/>
              <a:ext cx="1441385" cy="1465208"/>
            </a:xfrm>
            <a:custGeom>
              <a:avLst/>
              <a:gdLst>
                <a:gd name="T0" fmla="*/ 597 w 608"/>
                <a:gd name="T1" fmla="*/ 273 h 618"/>
                <a:gd name="T2" fmla="*/ 541 w 608"/>
                <a:gd name="T3" fmla="*/ 209 h 618"/>
                <a:gd name="T4" fmla="*/ 576 w 608"/>
                <a:gd name="T5" fmla="*/ 170 h 618"/>
                <a:gd name="T6" fmla="*/ 545 w 608"/>
                <a:gd name="T7" fmla="*/ 129 h 618"/>
                <a:gd name="T8" fmla="*/ 459 w 608"/>
                <a:gd name="T9" fmla="*/ 104 h 618"/>
                <a:gd name="T10" fmla="*/ 464 w 608"/>
                <a:gd name="T11" fmla="*/ 55 h 618"/>
                <a:gd name="T12" fmla="*/ 415 w 608"/>
                <a:gd name="T13" fmla="*/ 39 h 618"/>
                <a:gd name="T14" fmla="*/ 328 w 608"/>
                <a:gd name="T15" fmla="*/ 56 h 618"/>
                <a:gd name="T16" fmla="*/ 315 w 608"/>
                <a:gd name="T17" fmla="*/ 8 h 618"/>
                <a:gd name="T18" fmla="*/ 269 w 608"/>
                <a:gd name="T19" fmla="*/ 6 h 618"/>
                <a:gd name="T20" fmla="*/ 257 w 608"/>
                <a:gd name="T21" fmla="*/ 58 h 618"/>
                <a:gd name="T22" fmla="*/ 165 w 608"/>
                <a:gd name="T23" fmla="*/ 43 h 618"/>
                <a:gd name="T24" fmla="*/ 118 w 608"/>
                <a:gd name="T25" fmla="*/ 64 h 618"/>
                <a:gd name="T26" fmla="*/ 131 w 608"/>
                <a:gd name="T27" fmla="*/ 122 h 618"/>
                <a:gd name="T28" fmla="*/ 55 w 608"/>
                <a:gd name="T29" fmla="*/ 145 h 618"/>
                <a:gd name="T30" fmla="*/ 25 w 608"/>
                <a:gd name="T31" fmla="*/ 186 h 618"/>
                <a:gd name="T32" fmla="*/ 63 w 608"/>
                <a:gd name="T33" fmla="*/ 228 h 618"/>
                <a:gd name="T34" fmla="*/ 8 w 608"/>
                <a:gd name="T35" fmla="*/ 292 h 618"/>
                <a:gd name="T36" fmla="*/ 5 w 608"/>
                <a:gd name="T37" fmla="*/ 343 h 618"/>
                <a:gd name="T38" fmla="*/ 54 w 608"/>
                <a:gd name="T39" fmla="*/ 356 h 618"/>
                <a:gd name="T40" fmla="*/ 48 w 608"/>
                <a:gd name="T41" fmla="*/ 439 h 618"/>
                <a:gd name="T42" fmla="*/ 56 w 608"/>
                <a:gd name="T43" fmla="*/ 489 h 618"/>
                <a:gd name="T44" fmla="*/ 117 w 608"/>
                <a:gd name="T45" fmla="*/ 491 h 618"/>
                <a:gd name="T46" fmla="*/ 146 w 608"/>
                <a:gd name="T47" fmla="*/ 509 h 618"/>
                <a:gd name="T48" fmla="*/ 140 w 608"/>
                <a:gd name="T49" fmla="*/ 563 h 618"/>
                <a:gd name="T50" fmla="*/ 183 w 608"/>
                <a:gd name="T51" fmla="*/ 589 h 618"/>
                <a:gd name="T52" fmla="*/ 220 w 608"/>
                <a:gd name="T53" fmla="*/ 550 h 618"/>
                <a:gd name="T54" fmla="*/ 269 w 608"/>
                <a:gd name="T55" fmla="*/ 563 h 618"/>
                <a:gd name="T56" fmla="*/ 296 w 608"/>
                <a:gd name="T57" fmla="*/ 617 h 618"/>
                <a:gd name="T58" fmla="*/ 345 w 608"/>
                <a:gd name="T59" fmla="*/ 604 h 618"/>
                <a:gd name="T60" fmla="*/ 399 w 608"/>
                <a:gd name="T61" fmla="*/ 547 h 618"/>
                <a:gd name="T62" fmla="*/ 440 w 608"/>
                <a:gd name="T63" fmla="*/ 587 h 618"/>
                <a:gd name="T64" fmla="*/ 482 w 608"/>
                <a:gd name="T65" fmla="*/ 558 h 618"/>
                <a:gd name="T66" fmla="*/ 471 w 608"/>
                <a:gd name="T67" fmla="*/ 504 h 618"/>
                <a:gd name="T68" fmla="*/ 507 w 608"/>
                <a:gd name="T69" fmla="*/ 471 h 618"/>
                <a:gd name="T70" fmla="*/ 568 w 608"/>
                <a:gd name="T71" fmla="*/ 473 h 618"/>
                <a:gd name="T72" fmla="*/ 580 w 608"/>
                <a:gd name="T73" fmla="*/ 424 h 618"/>
                <a:gd name="T74" fmla="*/ 559 w 608"/>
                <a:gd name="T75" fmla="*/ 345 h 618"/>
                <a:gd name="T76" fmla="*/ 608 w 608"/>
                <a:gd name="T77" fmla="*/ 323 h 618"/>
                <a:gd name="T78" fmla="*/ 103 w 608"/>
                <a:gd name="T79" fmla="*/ 326 h 618"/>
                <a:gd name="T80" fmla="*/ 103 w 608"/>
                <a:gd name="T81" fmla="*/ 300 h 618"/>
                <a:gd name="T82" fmla="*/ 103 w 608"/>
                <a:gd name="T83" fmla="*/ 326 h 618"/>
                <a:gd name="T84" fmla="*/ 456 w 608"/>
                <a:gd name="T85" fmla="*/ 161 h 618"/>
                <a:gd name="T86" fmla="*/ 438 w 608"/>
                <a:gd name="T87" fmla="*/ 180 h 618"/>
                <a:gd name="T88" fmla="*/ 304 w 608"/>
                <a:gd name="T89" fmla="*/ 98 h 618"/>
                <a:gd name="T90" fmla="*/ 304 w 608"/>
                <a:gd name="T91" fmla="*/ 125 h 618"/>
                <a:gd name="T92" fmla="*/ 304 w 608"/>
                <a:gd name="T93" fmla="*/ 98 h 618"/>
                <a:gd name="T94" fmla="*/ 171 w 608"/>
                <a:gd name="T95" fmla="*/ 161 h 618"/>
                <a:gd name="T96" fmla="*/ 153 w 608"/>
                <a:gd name="T97" fmla="*/ 180 h 618"/>
                <a:gd name="T98" fmla="*/ 171 w 608"/>
                <a:gd name="T99" fmla="*/ 464 h 618"/>
                <a:gd name="T100" fmla="*/ 153 w 608"/>
                <a:gd name="T101" fmla="*/ 446 h 618"/>
                <a:gd name="T102" fmla="*/ 171 w 608"/>
                <a:gd name="T103" fmla="*/ 464 h 618"/>
                <a:gd name="T104" fmla="*/ 291 w 608"/>
                <a:gd name="T105" fmla="*/ 514 h 618"/>
                <a:gd name="T106" fmla="*/ 318 w 608"/>
                <a:gd name="T107" fmla="*/ 514 h 618"/>
                <a:gd name="T108" fmla="*/ 456 w 608"/>
                <a:gd name="T109" fmla="*/ 464 h 618"/>
                <a:gd name="T110" fmla="*/ 438 w 608"/>
                <a:gd name="T111" fmla="*/ 446 h 618"/>
                <a:gd name="T112" fmla="*/ 456 w 608"/>
                <a:gd name="T113" fmla="*/ 464 h 618"/>
                <a:gd name="T114" fmla="*/ 129 w 608"/>
                <a:gd name="T115" fmla="*/ 309 h 618"/>
                <a:gd name="T116" fmla="*/ 480 w 608"/>
                <a:gd name="T117" fmla="*/ 309 h 618"/>
                <a:gd name="T118" fmla="*/ 506 w 608"/>
                <a:gd name="T119" fmla="*/ 326 h 618"/>
                <a:gd name="T120" fmla="*/ 506 w 608"/>
                <a:gd name="T121" fmla="*/ 300 h 618"/>
                <a:gd name="T122" fmla="*/ 506 w 608"/>
                <a:gd name="T123" fmla="*/ 3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618">
                  <a:moveTo>
                    <a:pt x="606" y="280"/>
                  </a:moveTo>
                  <a:cubicBezTo>
                    <a:pt x="606" y="276"/>
                    <a:pt x="602" y="272"/>
                    <a:pt x="597" y="273"/>
                  </a:cubicBezTo>
                  <a:cubicBezTo>
                    <a:pt x="557" y="264"/>
                    <a:pt x="557" y="264"/>
                    <a:pt x="557" y="264"/>
                  </a:cubicBezTo>
                  <a:cubicBezTo>
                    <a:pt x="554" y="245"/>
                    <a:pt x="548" y="227"/>
                    <a:pt x="541" y="209"/>
                  </a:cubicBezTo>
                  <a:cubicBezTo>
                    <a:pt x="572" y="180"/>
                    <a:pt x="572" y="180"/>
                    <a:pt x="572" y="180"/>
                  </a:cubicBezTo>
                  <a:cubicBezTo>
                    <a:pt x="576" y="178"/>
                    <a:pt x="578" y="174"/>
                    <a:pt x="576" y="170"/>
                  </a:cubicBezTo>
                  <a:cubicBezTo>
                    <a:pt x="556" y="132"/>
                    <a:pt x="556" y="132"/>
                    <a:pt x="556" y="132"/>
                  </a:cubicBezTo>
                  <a:cubicBezTo>
                    <a:pt x="554" y="128"/>
                    <a:pt x="549" y="127"/>
                    <a:pt x="545" y="129"/>
                  </a:cubicBezTo>
                  <a:cubicBezTo>
                    <a:pt x="496" y="139"/>
                    <a:pt x="496" y="139"/>
                    <a:pt x="496" y="139"/>
                  </a:cubicBezTo>
                  <a:cubicBezTo>
                    <a:pt x="485" y="126"/>
                    <a:pt x="472" y="114"/>
                    <a:pt x="459" y="104"/>
                  </a:cubicBezTo>
                  <a:cubicBezTo>
                    <a:pt x="467" y="65"/>
                    <a:pt x="467" y="65"/>
                    <a:pt x="467" y="65"/>
                  </a:cubicBezTo>
                  <a:cubicBezTo>
                    <a:pt x="469" y="61"/>
                    <a:pt x="468" y="57"/>
                    <a:pt x="464" y="55"/>
                  </a:cubicBezTo>
                  <a:cubicBezTo>
                    <a:pt x="426" y="35"/>
                    <a:pt x="426" y="35"/>
                    <a:pt x="426" y="35"/>
                  </a:cubicBezTo>
                  <a:cubicBezTo>
                    <a:pt x="422" y="33"/>
                    <a:pt x="417" y="35"/>
                    <a:pt x="415" y="39"/>
                  </a:cubicBezTo>
                  <a:cubicBezTo>
                    <a:pt x="382" y="67"/>
                    <a:pt x="382" y="67"/>
                    <a:pt x="382" y="67"/>
                  </a:cubicBezTo>
                  <a:cubicBezTo>
                    <a:pt x="366" y="62"/>
                    <a:pt x="343" y="58"/>
                    <a:pt x="328" y="56"/>
                  </a:cubicBezTo>
                  <a:cubicBezTo>
                    <a:pt x="328" y="55"/>
                    <a:pt x="328" y="55"/>
                    <a:pt x="328" y="55"/>
                  </a:cubicBezTo>
                  <a:cubicBezTo>
                    <a:pt x="315" y="8"/>
                    <a:pt x="315" y="8"/>
                    <a:pt x="315" y="8"/>
                  </a:cubicBezTo>
                  <a:cubicBezTo>
                    <a:pt x="314" y="4"/>
                    <a:pt x="314" y="0"/>
                    <a:pt x="310" y="1"/>
                  </a:cubicBezTo>
                  <a:cubicBezTo>
                    <a:pt x="269" y="6"/>
                    <a:pt x="269" y="6"/>
                    <a:pt x="269" y="6"/>
                  </a:cubicBezTo>
                  <a:cubicBezTo>
                    <a:pt x="265" y="6"/>
                    <a:pt x="263" y="10"/>
                    <a:pt x="263" y="15"/>
                  </a:cubicBezTo>
                  <a:cubicBezTo>
                    <a:pt x="257" y="58"/>
                    <a:pt x="257" y="58"/>
                    <a:pt x="257" y="58"/>
                  </a:cubicBezTo>
                  <a:cubicBezTo>
                    <a:pt x="238" y="62"/>
                    <a:pt x="219" y="67"/>
                    <a:pt x="202" y="75"/>
                  </a:cubicBezTo>
                  <a:cubicBezTo>
                    <a:pt x="165" y="43"/>
                    <a:pt x="165" y="43"/>
                    <a:pt x="165" y="43"/>
                  </a:cubicBezTo>
                  <a:cubicBezTo>
                    <a:pt x="162" y="39"/>
                    <a:pt x="157" y="38"/>
                    <a:pt x="154" y="40"/>
                  </a:cubicBezTo>
                  <a:cubicBezTo>
                    <a:pt x="118" y="64"/>
                    <a:pt x="118" y="64"/>
                    <a:pt x="118" y="64"/>
                  </a:cubicBezTo>
                  <a:cubicBezTo>
                    <a:pt x="115" y="66"/>
                    <a:pt x="114" y="71"/>
                    <a:pt x="116" y="75"/>
                  </a:cubicBezTo>
                  <a:cubicBezTo>
                    <a:pt x="131" y="122"/>
                    <a:pt x="131" y="122"/>
                    <a:pt x="131" y="122"/>
                  </a:cubicBezTo>
                  <a:cubicBezTo>
                    <a:pt x="121" y="132"/>
                    <a:pt x="111" y="142"/>
                    <a:pt x="102" y="154"/>
                  </a:cubicBezTo>
                  <a:cubicBezTo>
                    <a:pt x="55" y="145"/>
                    <a:pt x="55" y="145"/>
                    <a:pt x="55" y="145"/>
                  </a:cubicBezTo>
                  <a:cubicBezTo>
                    <a:pt x="51" y="143"/>
                    <a:pt x="46" y="144"/>
                    <a:pt x="44" y="148"/>
                  </a:cubicBezTo>
                  <a:cubicBezTo>
                    <a:pt x="25" y="186"/>
                    <a:pt x="25" y="186"/>
                    <a:pt x="25" y="186"/>
                  </a:cubicBezTo>
                  <a:cubicBezTo>
                    <a:pt x="23" y="190"/>
                    <a:pt x="25" y="195"/>
                    <a:pt x="29" y="197"/>
                  </a:cubicBezTo>
                  <a:cubicBezTo>
                    <a:pt x="63" y="228"/>
                    <a:pt x="63" y="228"/>
                    <a:pt x="63" y="228"/>
                  </a:cubicBezTo>
                  <a:cubicBezTo>
                    <a:pt x="58" y="243"/>
                    <a:pt x="54" y="258"/>
                    <a:pt x="52" y="274"/>
                  </a:cubicBezTo>
                  <a:cubicBezTo>
                    <a:pt x="8" y="292"/>
                    <a:pt x="8" y="292"/>
                    <a:pt x="8" y="292"/>
                  </a:cubicBezTo>
                  <a:cubicBezTo>
                    <a:pt x="4" y="293"/>
                    <a:pt x="0" y="296"/>
                    <a:pt x="1" y="300"/>
                  </a:cubicBezTo>
                  <a:cubicBezTo>
                    <a:pt x="5" y="343"/>
                    <a:pt x="5" y="343"/>
                    <a:pt x="5" y="343"/>
                  </a:cubicBezTo>
                  <a:cubicBezTo>
                    <a:pt x="6" y="347"/>
                    <a:pt x="10" y="350"/>
                    <a:pt x="15" y="350"/>
                  </a:cubicBezTo>
                  <a:cubicBezTo>
                    <a:pt x="54" y="356"/>
                    <a:pt x="54" y="356"/>
                    <a:pt x="54" y="356"/>
                  </a:cubicBezTo>
                  <a:cubicBezTo>
                    <a:pt x="58" y="379"/>
                    <a:pt x="65" y="400"/>
                    <a:pt x="75" y="420"/>
                  </a:cubicBezTo>
                  <a:cubicBezTo>
                    <a:pt x="48" y="439"/>
                    <a:pt x="48" y="439"/>
                    <a:pt x="48" y="439"/>
                  </a:cubicBezTo>
                  <a:cubicBezTo>
                    <a:pt x="44" y="440"/>
                    <a:pt x="41" y="444"/>
                    <a:pt x="42" y="448"/>
                  </a:cubicBezTo>
                  <a:cubicBezTo>
                    <a:pt x="56" y="489"/>
                    <a:pt x="56" y="489"/>
                    <a:pt x="56" y="489"/>
                  </a:cubicBezTo>
                  <a:cubicBezTo>
                    <a:pt x="57" y="493"/>
                    <a:pt x="62" y="495"/>
                    <a:pt x="66" y="494"/>
                  </a:cubicBezTo>
                  <a:cubicBezTo>
                    <a:pt x="117" y="491"/>
                    <a:pt x="117" y="491"/>
                    <a:pt x="117" y="491"/>
                  </a:cubicBezTo>
                  <a:cubicBezTo>
                    <a:pt x="119" y="490"/>
                    <a:pt x="121" y="489"/>
                    <a:pt x="122" y="487"/>
                  </a:cubicBezTo>
                  <a:cubicBezTo>
                    <a:pt x="130" y="495"/>
                    <a:pt x="138" y="502"/>
                    <a:pt x="146" y="509"/>
                  </a:cubicBezTo>
                  <a:cubicBezTo>
                    <a:pt x="145" y="512"/>
                    <a:pt x="145" y="512"/>
                    <a:pt x="145" y="512"/>
                  </a:cubicBezTo>
                  <a:cubicBezTo>
                    <a:pt x="140" y="563"/>
                    <a:pt x="140" y="563"/>
                    <a:pt x="140" y="563"/>
                  </a:cubicBezTo>
                  <a:cubicBezTo>
                    <a:pt x="138" y="567"/>
                    <a:pt x="139" y="571"/>
                    <a:pt x="143" y="573"/>
                  </a:cubicBezTo>
                  <a:cubicBezTo>
                    <a:pt x="183" y="589"/>
                    <a:pt x="183" y="589"/>
                    <a:pt x="183" y="589"/>
                  </a:cubicBezTo>
                  <a:cubicBezTo>
                    <a:pt x="187" y="591"/>
                    <a:pt x="192" y="588"/>
                    <a:pt x="193" y="584"/>
                  </a:cubicBezTo>
                  <a:cubicBezTo>
                    <a:pt x="220" y="550"/>
                    <a:pt x="220" y="550"/>
                    <a:pt x="220" y="550"/>
                  </a:cubicBezTo>
                  <a:cubicBezTo>
                    <a:pt x="235" y="556"/>
                    <a:pt x="252" y="560"/>
                    <a:pt x="269" y="562"/>
                  </a:cubicBezTo>
                  <a:cubicBezTo>
                    <a:pt x="269" y="563"/>
                    <a:pt x="269" y="563"/>
                    <a:pt x="269" y="563"/>
                  </a:cubicBezTo>
                  <a:cubicBezTo>
                    <a:pt x="288" y="610"/>
                    <a:pt x="288" y="610"/>
                    <a:pt x="288" y="610"/>
                  </a:cubicBezTo>
                  <a:cubicBezTo>
                    <a:pt x="288" y="614"/>
                    <a:pt x="292" y="618"/>
                    <a:pt x="296" y="617"/>
                  </a:cubicBezTo>
                  <a:cubicBezTo>
                    <a:pt x="339" y="613"/>
                    <a:pt x="339" y="613"/>
                    <a:pt x="339" y="613"/>
                  </a:cubicBezTo>
                  <a:cubicBezTo>
                    <a:pt x="343" y="612"/>
                    <a:pt x="346" y="608"/>
                    <a:pt x="345" y="604"/>
                  </a:cubicBezTo>
                  <a:cubicBezTo>
                    <a:pt x="353" y="560"/>
                    <a:pt x="353" y="560"/>
                    <a:pt x="353" y="560"/>
                  </a:cubicBezTo>
                  <a:cubicBezTo>
                    <a:pt x="369" y="557"/>
                    <a:pt x="384" y="553"/>
                    <a:pt x="399" y="547"/>
                  </a:cubicBezTo>
                  <a:cubicBezTo>
                    <a:pt x="430" y="582"/>
                    <a:pt x="430" y="582"/>
                    <a:pt x="430" y="582"/>
                  </a:cubicBezTo>
                  <a:cubicBezTo>
                    <a:pt x="432" y="587"/>
                    <a:pt x="436" y="589"/>
                    <a:pt x="440" y="587"/>
                  </a:cubicBezTo>
                  <a:cubicBezTo>
                    <a:pt x="479" y="568"/>
                    <a:pt x="479" y="568"/>
                    <a:pt x="479" y="568"/>
                  </a:cubicBezTo>
                  <a:cubicBezTo>
                    <a:pt x="483" y="567"/>
                    <a:pt x="484" y="562"/>
                    <a:pt x="482" y="558"/>
                  </a:cubicBezTo>
                  <a:cubicBezTo>
                    <a:pt x="474" y="508"/>
                    <a:pt x="474" y="508"/>
                    <a:pt x="474" y="508"/>
                  </a:cubicBezTo>
                  <a:cubicBezTo>
                    <a:pt x="471" y="504"/>
                    <a:pt x="471" y="504"/>
                    <a:pt x="471" y="504"/>
                  </a:cubicBezTo>
                  <a:cubicBezTo>
                    <a:pt x="483" y="493"/>
                    <a:pt x="494" y="482"/>
                    <a:pt x="504" y="470"/>
                  </a:cubicBezTo>
                  <a:cubicBezTo>
                    <a:pt x="507" y="471"/>
                    <a:pt x="507" y="471"/>
                    <a:pt x="507" y="471"/>
                  </a:cubicBezTo>
                  <a:cubicBezTo>
                    <a:pt x="557" y="477"/>
                    <a:pt x="557" y="477"/>
                    <a:pt x="557" y="477"/>
                  </a:cubicBezTo>
                  <a:cubicBezTo>
                    <a:pt x="561" y="479"/>
                    <a:pt x="566" y="477"/>
                    <a:pt x="568" y="473"/>
                  </a:cubicBezTo>
                  <a:cubicBezTo>
                    <a:pt x="584" y="433"/>
                    <a:pt x="584" y="433"/>
                    <a:pt x="584" y="433"/>
                  </a:cubicBezTo>
                  <a:cubicBezTo>
                    <a:pt x="586" y="430"/>
                    <a:pt x="584" y="425"/>
                    <a:pt x="580" y="424"/>
                  </a:cubicBezTo>
                  <a:cubicBezTo>
                    <a:pt x="546" y="397"/>
                    <a:pt x="546" y="397"/>
                    <a:pt x="546" y="397"/>
                  </a:cubicBezTo>
                  <a:cubicBezTo>
                    <a:pt x="552" y="380"/>
                    <a:pt x="556" y="363"/>
                    <a:pt x="559" y="345"/>
                  </a:cubicBezTo>
                  <a:cubicBezTo>
                    <a:pt x="600" y="331"/>
                    <a:pt x="600" y="331"/>
                    <a:pt x="600" y="331"/>
                  </a:cubicBezTo>
                  <a:cubicBezTo>
                    <a:pt x="605" y="330"/>
                    <a:pt x="608" y="327"/>
                    <a:pt x="608" y="323"/>
                  </a:cubicBezTo>
                  <a:lnTo>
                    <a:pt x="606" y="280"/>
                  </a:lnTo>
                  <a:close/>
                  <a:moveTo>
                    <a:pt x="103" y="326"/>
                  </a:moveTo>
                  <a:cubicBezTo>
                    <a:pt x="96" y="326"/>
                    <a:pt x="90" y="320"/>
                    <a:pt x="90" y="313"/>
                  </a:cubicBezTo>
                  <a:cubicBezTo>
                    <a:pt x="90" y="306"/>
                    <a:pt x="96" y="300"/>
                    <a:pt x="103" y="300"/>
                  </a:cubicBezTo>
                  <a:cubicBezTo>
                    <a:pt x="110" y="300"/>
                    <a:pt x="116" y="306"/>
                    <a:pt x="116" y="313"/>
                  </a:cubicBezTo>
                  <a:cubicBezTo>
                    <a:pt x="116" y="320"/>
                    <a:pt x="110" y="326"/>
                    <a:pt x="103" y="326"/>
                  </a:cubicBezTo>
                  <a:close/>
                  <a:moveTo>
                    <a:pt x="438" y="161"/>
                  </a:moveTo>
                  <a:cubicBezTo>
                    <a:pt x="443" y="156"/>
                    <a:pt x="451" y="156"/>
                    <a:pt x="456" y="161"/>
                  </a:cubicBezTo>
                  <a:cubicBezTo>
                    <a:pt x="461" y="166"/>
                    <a:pt x="461" y="175"/>
                    <a:pt x="456" y="180"/>
                  </a:cubicBezTo>
                  <a:cubicBezTo>
                    <a:pt x="451" y="185"/>
                    <a:pt x="443" y="185"/>
                    <a:pt x="438" y="180"/>
                  </a:cubicBezTo>
                  <a:cubicBezTo>
                    <a:pt x="432" y="175"/>
                    <a:pt x="432" y="166"/>
                    <a:pt x="438" y="161"/>
                  </a:cubicBezTo>
                  <a:close/>
                  <a:moveTo>
                    <a:pt x="304" y="98"/>
                  </a:moveTo>
                  <a:cubicBezTo>
                    <a:pt x="312" y="98"/>
                    <a:pt x="318" y="104"/>
                    <a:pt x="318" y="111"/>
                  </a:cubicBezTo>
                  <a:cubicBezTo>
                    <a:pt x="318" y="119"/>
                    <a:pt x="312" y="125"/>
                    <a:pt x="304" y="125"/>
                  </a:cubicBezTo>
                  <a:cubicBezTo>
                    <a:pt x="297" y="125"/>
                    <a:pt x="291" y="119"/>
                    <a:pt x="291" y="111"/>
                  </a:cubicBezTo>
                  <a:cubicBezTo>
                    <a:pt x="291" y="104"/>
                    <a:pt x="297" y="98"/>
                    <a:pt x="304" y="98"/>
                  </a:cubicBezTo>
                  <a:close/>
                  <a:moveTo>
                    <a:pt x="153" y="161"/>
                  </a:moveTo>
                  <a:cubicBezTo>
                    <a:pt x="158" y="156"/>
                    <a:pt x="166" y="156"/>
                    <a:pt x="171" y="161"/>
                  </a:cubicBezTo>
                  <a:cubicBezTo>
                    <a:pt x="176" y="166"/>
                    <a:pt x="176" y="175"/>
                    <a:pt x="171" y="180"/>
                  </a:cubicBezTo>
                  <a:cubicBezTo>
                    <a:pt x="166" y="185"/>
                    <a:pt x="158" y="185"/>
                    <a:pt x="153" y="180"/>
                  </a:cubicBezTo>
                  <a:cubicBezTo>
                    <a:pt x="148" y="175"/>
                    <a:pt x="148" y="166"/>
                    <a:pt x="153" y="161"/>
                  </a:cubicBezTo>
                  <a:close/>
                  <a:moveTo>
                    <a:pt x="171" y="464"/>
                  </a:moveTo>
                  <a:cubicBezTo>
                    <a:pt x="166" y="470"/>
                    <a:pt x="158" y="470"/>
                    <a:pt x="153" y="464"/>
                  </a:cubicBezTo>
                  <a:cubicBezTo>
                    <a:pt x="148" y="459"/>
                    <a:pt x="148" y="451"/>
                    <a:pt x="153" y="446"/>
                  </a:cubicBezTo>
                  <a:cubicBezTo>
                    <a:pt x="158" y="441"/>
                    <a:pt x="166" y="441"/>
                    <a:pt x="171" y="446"/>
                  </a:cubicBezTo>
                  <a:cubicBezTo>
                    <a:pt x="176" y="451"/>
                    <a:pt x="176" y="459"/>
                    <a:pt x="171" y="464"/>
                  </a:cubicBezTo>
                  <a:close/>
                  <a:moveTo>
                    <a:pt x="304" y="527"/>
                  </a:moveTo>
                  <a:cubicBezTo>
                    <a:pt x="297" y="527"/>
                    <a:pt x="291" y="521"/>
                    <a:pt x="291" y="514"/>
                  </a:cubicBezTo>
                  <a:cubicBezTo>
                    <a:pt x="291" y="507"/>
                    <a:pt x="297" y="501"/>
                    <a:pt x="304" y="501"/>
                  </a:cubicBezTo>
                  <a:cubicBezTo>
                    <a:pt x="312" y="501"/>
                    <a:pt x="318" y="507"/>
                    <a:pt x="318" y="514"/>
                  </a:cubicBezTo>
                  <a:cubicBezTo>
                    <a:pt x="318" y="521"/>
                    <a:pt x="312" y="527"/>
                    <a:pt x="304" y="527"/>
                  </a:cubicBezTo>
                  <a:close/>
                  <a:moveTo>
                    <a:pt x="456" y="464"/>
                  </a:moveTo>
                  <a:cubicBezTo>
                    <a:pt x="451" y="470"/>
                    <a:pt x="443" y="470"/>
                    <a:pt x="438" y="464"/>
                  </a:cubicBezTo>
                  <a:cubicBezTo>
                    <a:pt x="432" y="459"/>
                    <a:pt x="432" y="451"/>
                    <a:pt x="438" y="446"/>
                  </a:cubicBezTo>
                  <a:cubicBezTo>
                    <a:pt x="443" y="441"/>
                    <a:pt x="451" y="441"/>
                    <a:pt x="456" y="446"/>
                  </a:cubicBezTo>
                  <a:cubicBezTo>
                    <a:pt x="461" y="451"/>
                    <a:pt x="461" y="459"/>
                    <a:pt x="456" y="464"/>
                  </a:cubicBezTo>
                  <a:close/>
                  <a:moveTo>
                    <a:pt x="304" y="484"/>
                  </a:moveTo>
                  <a:cubicBezTo>
                    <a:pt x="208" y="484"/>
                    <a:pt x="129" y="406"/>
                    <a:pt x="129" y="309"/>
                  </a:cubicBezTo>
                  <a:cubicBezTo>
                    <a:pt x="129" y="212"/>
                    <a:pt x="208" y="134"/>
                    <a:pt x="304" y="134"/>
                  </a:cubicBezTo>
                  <a:cubicBezTo>
                    <a:pt x="401" y="134"/>
                    <a:pt x="480" y="212"/>
                    <a:pt x="480" y="309"/>
                  </a:cubicBezTo>
                  <a:cubicBezTo>
                    <a:pt x="480" y="406"/>
                    <a:pt x="401" y="484"/>
                    <a:pt x="304" y="484"/>
                  </a:cubicBezTo>
                  <a:close/>
                  <a:moveTo>
                    <a:pt x="506" y="326"/>
                  </a:moveTo>
                  <a:cubicBezTo>
                    <a:pt x="499" y="326"/>
                    <a:pt x="493" y="320"/>
                    <a:pt x="493" y="313"/>
                  </a:cubicBezTo>
                  <a:cubicBezTo>
                    <a:pt x="493" y="306"/>
                    <a:pt x="499" y="300"/>
                    <a:pt x="506" y="300"/>
                  </a:cubicBezTo>
                  <a:cubicBezTo>
                    <a:pt x="513" y="300"/>
                    <a:pt x="519" y="306"/>
                    <a:pt x="519" y="313"/>
                  </a:cubicBezTo>
                  <a:cubicBezTo>
                    <a:pt x="519" y="320"/>
                    <a:pt x="513" y="326"/>
                    <a:pt x="506" y="326"/>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Oval 20">
              <a:extLst>
                <a:ext uri="{FF2B5EF4-FFF2-40B4-BE49-F238E27FC236}">
                  <a16:creationId xmlns:a16="http://schemas.microsoft.com/office/drawing/2014/main" id="{D20EEE90-7313-440C-8F01-547C93352C1F}"/>
                </a:ext>
              </a:extLst>
            </p:cNvPr>
            <p:cNvSpPr>
              <a:spLocks noChangeArrowheads="1"/>
            </p:cNvSpPr>
            <p:nvPr/>
          </p:nvSpPr>
          <p:spPr bwMode="auto">
            <a:xfrm>
              <a:off x="8298255" y="3119020"/>
              <a:ext cx="864000" cy="864000"/>
            </a:xfrm>
            <a:prstGeom prst="ellipse">
              <a:avLst/>
            </a:prstGeom>
            <a:solidFill>
              <a:schemeClr val="bg1"/>
            </a:solidFill>
            <a:ln w="12700">
              <a:noFill/>
              <a:round/>
              <a:headEnd/>
              <a:tailEnd/>
            </a:ln>
          </p:spPr>
          <p:txBody>
            <a:bodyPr wrap="none" anchor="ctr"/>
            <a:lstStyle/>
            <a:p>
              <a:pPr algn="ctr"/>
              <a:r>
                <a:rPr lang="en-US" sz="1200" b="1"/>
                <a:t>3</a:t>
              </a:r>
              <a:r>
                <a:rPr lang="en-US" sz="1200" b="1" baseline="30000"/>
                <a:t>rd</a:t>
              </a:r>
              <a:r>
                <a:rPr lang="en-US" sz="1200" b="1"/>
                <a:t> party</a:t>
              </a:r>
              <a:br>
                <a:rPr lang="en-US" sz="1200" b="1"/>
              </a:br>
              <a:r>
                <a:rPr lang="en-US" sz="1200" b="1"/>
                <a:t>vendor</a:t>
              </a:r>
              <a:endParaRPr lang="en-US" sz="1200" b="1" dirty="0"/>
            </a:p>
          </p:txBody>
        </p:sp>
        <p:sp>
          <p:nvSpPr>
            <p:cNvPr id="35" name="Freeform 211">
              <a:extLst>
                <a:ext uri="{FF2B5EF4-FFF2-40B4-BE49-F238E27FC236}">
                  <a16:creationId xmlns:a16="http://schemas.microsoft.com/office/drawing/2014/main" id="{03D243F2-42BC-46EC-B258-ACC9B6B2E15E}"/>
                </a:ext>
                <a:ext uri="{C183D7F6-B498-43B3-948B-1728B52AA6E4}">
                  <adec:decorative xmlns:adec="http://schemas.microsoft.com/office/drawing/2017/decorative" val="1"/>
                </a:ext>
              </a:extLst>
            </p:cNvPr>
            <p:cNvSpPr>
              <a:spLocks noEditPoints="1"/>
            </p:cNvSpPr>
            <p:nvPr/>
          </p:nvSpPr>
          <p:spPr bwMode="auto">
            <a:xfrm>
              <a:off x="6856602" y="4547737"/>
              <a:ext cx="1441385" cy="1465208"/>
            </a:xfrm>
            <a:custGeom>
              <a:avLst/>
              <a:gdLst>
                <a:gd name="T0" fmla="*/ 597 w 608"/>
                <a:gd name="T1" fmla="*/ 273 h 618"/>
                <a:gd name="T2" fmla="*/ 541 w 608"/>
                <a:gd name="T3" fmla="*/ 209 h 618"/>
                <a:gd name="T4" fmla="*/ 576 w 608"/>
                <a:gd name="T5" fmla="*/ 170 h 618"/>
                <a:gd name="T6" fmla="*/ 545 w 608"/>
                <a:gd name="T7" fmla="*/ 129 h 618"/>
                <a:gd name="T8" fmla="*/ 459 w 608"/>
                <a:gd name="T9" fmla="*/ 104 h 618"/>
                <a:gd name="T10" fmla="*/ 464 w 608"/>
                <a:gd name="T11" fmla="*/ 55 h 618"/>
                <a:gd name="T12" fmla="*/ 415 w 608"/>
                <a:gd name="T13" fmla="*/ 39 h 618"/>
                <a:gd name="T14" fmla="*/ 328 w 608"/>
                <a:gd name="T15" fmla="*/ 56 h 618"/>
                <a:gd name="T16" fmla="*/ 315 w 608"/>
                <a:gd name="T17" fmla="*/ 8 h 618"/>
                <a:gd name="T18" fmla="*/ 269 w 608"/>
                <a:gd name="T19" fmla="*/ 6 h 618"/>
                <a:gd name="T20" fmla="*/ 257 w 608"/>
                <a:gd name="T21" fmla="*/ 58 h 618"/>
                <a:gd name="T22" fmla="*/ 165 w 608"/>
                <a:gd name="T23" fmla="*/ 43 h 618"/>
                <a:gd name="T24" fmla="*/ 118 w 608"/>
                <a:gd name="T25" fmla="*/ 64 h 618"/>
                <a:gd name="T26" fmla="*/ 131 w 608"/>
                <a:gd name="T27" fmla="*/ 122 h 618"/>
                <a:gd name="T28" fmla="*/ 55 w 608"/>
                <a:gd name="T29" fmla="*/ 145 h 618"/>
                <a:gd name="T30" fmla="*/ 25 w 608"/>
                <a:gd name="T31" fmla="*/ 186 h 618"/>
                <a:gd name="T32" fmla="*/ 63 w 608"/>
                <a:gd name="T33" fmla="*/ 228 h 618"/>
                <a:gd name="T34" fmla="*/ 8 w 608"/>
                <a:gd name="T35" fmla="*/ 292 h 618"/>
                <a:gd name="T36" fmla="*/ 5 w 608"/>
                <a:gd name="T37" fmla="*/ 343 h 618"/>
                <a:gd name="T38" fmla="*/ 54 w 608"/>
                <a:gd name="T39" fmla="*/ 356 h 618"/>
                <a:gd name="T40" fmla="*/ 48 w 608"/>
                <a:gd name="T41" fmla="*/ 439 h 618"/>
                <a:gd name="T42" fmla="*/ 56 w 608"/>
                <a:gd name="T43" fmla="*/ 489 h 618"/>
                <a:gd name="T44" fmla="*/ 117 w 608"/>
                <a:gd name="T45" fmla="*/ 491 h 618"/>
                <a:gd name="T46" fmla="*/ 146 w 608"/>
                <a:gd name="T47" fmla="*/ 509 h 618"/>
                <a:gd name="T48" fmla="*/ 140 w 608"/>
                <a:gd name="T49" fmla="*/ 563 h 618"/>
                <a:gd name="T50" fmla="*/ 183 w 608"/>
                <a:gd name="T51" fmla="*/ 589 h 618"/>
                <a:gd name="T52" fmla="*/ 220 w 608"/>
                <a:gd name="T53" fmla="*/ 550 h 618"/>
                <a:gd name="T54" fmla="*/ 269 w 608"/>
                <a:gd name="T55" fmla="*/ 563 h 618"/>
                <a:gd name="T56" fmla="*/ 296 w 608"/>
                <a:gd name="T57" fmla="*/ 617 h 618"/>
                <a:gd name="T58" fmla="*/ 345 w 608"/>
                <a:gd name="T59" fmla="*/ 604 h 618"/>
                <a:gd name="T60" fmla="*/ 399 w 608"/>
                <a:gd name="T61" fmla="*/ 547 h 618"/>
                <a:gd name="T62" fmla="*/ 440 w 608"/>
                <a:gd name="T63" fmla="*/ 587 h 618"/>
                <a:gd name="T64" fmla="*/ 482 w 608"/>
                <a:gd name="T65" fmla="*/ 558 h 618"/>
                <a:gd name="T66" fmla="*/ 471 w 608"/>
                <a:gd name="T67" fmla="*/ 504 h 618"/>
                <a:gd name="T68" fmla="*/ 507 w 608"/>
                <a:gd name="T69" fmla="*/ 471 h 618"/>
                <a:gd name="T70" fmla="*/ 568 w 608"/>
                <a:gd name="T71" fmla="*/ 473 h 618"/>
                <a:gd name="T72" fmla="*/ 580 w 608"/>
                <a:gd name="T73" fmla="*/ 424 h 618"/>
                <a:gd name="T74" fmla="*/ 559 w 608"/>
                <a:gd name="T75" fmla="*/ 345 h 618"/>
                <a:gd name="T76" fmla="*/ 608 w 608"/>
                <a:gd name="T77" fmla="*/ 323 h 618"/>
                <a:gd name="T78" fmla="*/ 103 w 608"/>
                <a:gd name="T79" fmla="*/ 326 h 618"/>
                <a:gd name="T80" fmla="*/ 103 w 608"/>
                <a:gd name="T81" fmla="*/ 300 h 618"/>
                <a:gd name="T82" fmla="*/ 103 w 608"/>
                <a:gd name="T83" fmla="*/ 326 h 618"/>
                <a:gd name="T84" fmla="*/ 456 w 608"/>
                <a:gd name="T85" fmla="*/ 161 h 618"/>
                <a:gd name="T86" fmla="*/ 438 w 608"/>
                <a:gd name="T87" fmla="*/ 180 h 618"/>
                <a:gd name="T88" fmla="*/ 304 w 608"/>
                <a:gd name="T89" fmla="*/ 98 h 618"/>
                <a:gd name="T90" fmla="*/ 304 w 608"/>
                <a:gd name="T91" fmla="*/ 125 h 618"/>
                <a:gd name="T92" fmla="*/ 304 w 608"/>
                <a:gd name="T93" fmla="*/ 98 h 618"/>
                <a:gd name="T94" fmla="*/ 171 w 608"/>
                <a:gd name="T95" fmla="*/ 161 h 618"/>
                <a:gd name="T96" fmla="*/ 153 w 608"/>
                <a:gd name="T97" fmla="*/ 180 h 618"/>
                <a:gd name="T98" fmla="*/ 171 w 608"/>
                <a:gd name="T99" fmla="*/ 464 h 618"/>
                <a:gd name="T100" fmla="*/ 153 w 608"/>
                <a:gd name="T101" fmla="*/ 446 h 618"/>
                <a:gd name="T102" fmla="*/ 171 w 608"/>
                <a:gd name="T103" fmla="*/ 464 h 618"/>
                <a:gd name="T104" fmla="*/ 291 w 608"/>
                <a:gd name="T105" fmla="*/ 514 h 618"/>
                <a:gd name="T106" fmla="*/ 318 w 608"/>
                <a:gd name="T107" fmla="*/ 514 h 618"/>
                <a:gd name="T108" fmla="*/ 456 w 608"/>
                <a:gd name="T109" fmla="*/ 464 h 618"/>
                <a:gd name="T110" fmla="*/ 438 w 608"/>
                <a:gd name="T111" fmla="*/ 446 h 618"/>
                <a:gd name="T112" fmla="*/ 456 w 608"/>
                <a:gd name="T113" fmla="*/ 464 h 618"/>
                <a:gd name="T114" fmla="*/ 129 w 608"/>
                <a:gd name="T115" fmla="*/ 309 h 618"/>
                <a:gd name="T116" fmla="*/ 480 w 608"/>
                <a:gd name="T117" fmla="*/ 309 h 618"/>
                <a:gd name="T118" fmla="*/ 506 w 608"/>
                <a:gd name="T119" fmla="*/ 326 h 618"/>
                <a:gd name="T120" fmla="*/ 506 w 608"/>
                <a:gd name="T121" fmla="*/ 300 h 618"/>
                <a:gd name="T122" fmla="*/ 506 w 608"/>
                <a:gd name="T123" fmla="*/ 3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618">
                  <a:moveTo>
                    <a:pt x="606" y="280"/>
                  </a:moveTo>
                  <a:cubicBezTo>
                    <a:pt x="606" y="276"/>
                    <a:pt x="602" y="272"/>
                    <a:pt x="597" y="273"/>
                  </a:cubicBezTo>
                  <a:cubicBezTo>
                    <a:pt x="557" y="264"/>
                    <a:pt x="557" y="264"/>
                    <a:pt x="557" y="264"/>
                  </a:cubicBezTo>
                  <a:cubicBezTo>
                    <a:pt x="554" y="245"/>
                    <a:pt x="548" y="227"/>
                    <a:pt x="541" y="209"/>
                  </a:cubicBezTo>
                  <a:cubicBezTo>
                    <a:pt x="572" y="180"/>
                    <a:pt x="572" y="180"/>
                    <a:pt x="572" y="180"/>
                  </a:cubicBezTo>
                  <a:cubicBezTo>
                    <a:pt x="576" y="178"/>
                    <a:pt x="578" y="174"/>
                    <a:pt x="576" y="170"/>
                  </a:cubicBezTo>
                  <a:cubicBezTo>
                    <a:pt x="556" y="132"/>
                    <a:pt x="556" y="132"/>
                    <a:pt x="556" y="132"/>
                  </a:cubicBezTo>
                  <a:cubicBezTo>
                    <a:pt x="554" y="128"/>
                    <a:pt x="549" y="127"/>
                    <a:pt x="545" y="129"/>
                  </a:cubicBezTo>
                  <a:cubicBezTo>
                    <a:pt x="496" y="139"/>
                    <a:pt x="496" y="139"/>
                    <a:pt x="496" y="139"/>
                  </a:cubicBezTo>
                  <a:cubicBezTo>
                    <a:pt x="485" y="126"/>
                    <a:pt x="472" y="114"/>
                    <a:pt x="459" y="104"/>
                  </a:cubicBezTo>
                  <a:cubicBezTo>
                    <a:pt x="467" y="65"/>
                    <a:pt x="467" y="65"/>
                    <a:pt x="467" y="65"/>
                  </a:cubicBezTo>
                  <a:cubicBezTo>
                    <a:pt x="469" y="61"/>
                    <a:pt x="468" y="57"/>
                    <a:pt x="464" y="55"/>
                  </a:cubicBezTo>
                  <a:cubicBezTo>
                    <a:pt x="426" y="35"/>
                    <a:pt x="426" y="35"/>
                    <a:pt x="426" y="35"/>
                  </a:cubicBezTo>
                  <a:cubicBezTo>
                    <a:pt x="422" y="33"/>
                    <a:pt x="417" y="35"/>
                    <a:pt x="415" y="39"/>
                  </a:cubicBezTo>
                  <a:cubicBezTo>
                    <a:pt x="382" y="67"/>
                    <a:pt x="382" y="67"/>
                    <a:pt x="382" y="67"/>
                  </a:cubicBezTo>
                  <a:cubicBezTo>
                    <a:pt x="366" y="62"/>
                    <a:pt x="343" y="58"/>
                    <a:pt x="328" y="56"/>
                  </a:cubicBezTo>
                  <a:cubicBezTo>
                    <a:pt x="328" y="55"/>
                    <a:pt x="328" y="55"/>
                    <a:pt x="328" y="55"/>
                  </a:cubicBezTo>
                  <a:cubicBezTo>
                    <a:pt x="315" y="8"/>
                    <a:pt x="315" y="8"/>
                    <a:pt x="315" y="8"/>
                  </a:cubicBezTo>
                  <a:cubicBezTo>
                    <a:pt x="314" y="4"/>
                    <a:pt x="314" y="0"/>
                    <a:pt x="310" y="1"/>
                  </a:cubicBezTo>
                  <a:cubicBezTo>
                    <a:pt x="269" y="6"/>
                    <a:pt x="269" y="6"/>
                    <a:pt x="269" y="6"/>
                  </a:cubicBezTo>
                  <a:cubicBezTo>
                    <a:pt x="265" y="6"/>
                    <a:pt x="263" y="10"/>
                    <a:pt x="263" y="15"/>
                  </a:cubicBezTo>
                  <a:cubicBezTo>
                    <a:pt x="257" y="58"/>
                    <a:pt x="257" y="58"/>
                    <a:pt x="257" y="58"/>
                  </a:cubicBezTo>
                  <a:cubicBezTo>
                    <a:pt x="238" y="62"/>
                    <a:pt x="219" y="67"/>
                    <a:pt x="202" y="75"/>
                  </a:cubicBezTo>
                  <a:cubicBezTo>
                    <a:pt x="165" y="43"/>
                    <a:pt x="165" y="43"/>
                    <a:pt x="165" y="43"/>
                  </a:cubicBezTo>
                  <a:cubicBezTo>
                    <a:pt x="162" y="39"/>
                    <a:pt x="157" y="38"/>
                    <a:pt x="154" y="40"/>
                  </a:cubicBezTo>
                  <a:cubicBezTo>
                    <a:pt x="118" y="64"/>
                    <a:pt x="118" y="64"/>
                    <a:pt x="118" y="64"/>
                  </a:cubicBezTo>
                  <a:cubicBezTo>
                    <a:pt x="115" y="66"/>
                    <a:pt x="114" y="71"/>
                    <a:pt x="116" y="75"/>
                  </a:cubicBezTo>
                  <a:cubicBezTo>
                    <a:pt x="131" y="122"/>
                    <a:pt x="131" y="122"/>
                    <a:pt x="131" y="122"/>
                  </a:cubicBezTo>
                  <a:cubicBezTo>
                    <a:pt x="121" y="132"/>
                    <a:pt x="111" y="142"/>
                    <a:pt x="102" y="154"/>
                  </a:cubicBezTo>
                  <a:cubicBezTo>
                    <a:pt x="55" y="145"/>
                    <a:pt x="55" y="145"/>
                    <a:pt x="55" y="145"/>
                  </a:cubicBezTo>
                  <a:cubicBezTo>
                    <a:pt x="51" y="143"/>
                    <a:pt x="46" y="144"/>
                    <a:pt x="44" y="148"/>
                  </a:cubicBezTo>
                  <a:cubicBezTo>
                    <a:pt x="25" y="186"/>
                    <a:pt x="25" y="186"/>
                    <a:pt x="25" y="186"/>
                  </a:cubicBezTo>
                  <a:cubicBezTo>
                    <a:pt x="23" y="190"/>
                    <a:pt x="25" y="195"/>
                    <a:pt x="29" y="197"/>
                  </a:cubicBezTo>
                  <a:cubicBezTo>
                    <a:pt x="63" y="228"/>
                    <a:pt x="63" y="228"/>
                    <a:pt x="63" y="228"/>
                  </a:cubicBezTo>
                  <a:cubicBezTo>
                    <a:pt x="58" y="243"/>
                    <a:pt x="54" y="258"/>
                    <a:pt x="52" y="274"/>
                  </a:cubicBezTo>
                  <a:cubicBezTo>
                    <a:pt x="8" y="292"/>
                    <a:pt x="8" y="292"/>
                    <a:pt x="8" y="292"/>
                  </a:cubicBezTo>
                  <a:cubicBezTo>
                    <a:pt x="4" y="293"/>
                    <a:pt x="0" y="296"/>
                    <a:pt x="1" y="300"/>
                  </a:cubicBezTo>
                  <a:cubicBezTo>
                    <a:pt x="5" y="343"/>
                    <a:pt x="5" y="343"/>
                    <a:pt x="5" y="343"/>
                  </a:cubicBezTo>
                  <a:cubicBezTo>
                    <a:pt x="6" y="347"/>
                    <a:pt x="10" y="350"/>
                    <a:pt x="15" y="350"/>
                  </a:cubicBezTo>
                  <a:cubicBezTo>
                    <a:pt x="54" y="356"/>
                    <a:pt x="54" y="356"/>
                    <a:pt x="54" y="356"/>
                  </a:cubicBezTo>
                  <a:cubicBezTo>
                    <a:pt x="58" y="379"/>
                    <a:pt x="65" y="400"/>
                    <a:pt x="75" y="420"/>
                  </a:cubicBezTo>
                  <a:cubicBezTo>
                    <a:pt x="48" y="439"/>
                    <a:pt x="48" y="439"/>
                    <a:pt x="48" y="439"/>
                  </a:cubicBezTo>
                  <a:cubicBezTo>
                    <a:pt x="44" y="440"/>
                    <a:pt x="41" y="444"/>
                    <a:pt x="42" y="448"/>
                  </a:cubicBezTo>
                  <a:cubicBezTo>
                    <a:pt x="56" y="489"/>
                    <a:pt x="56" y="489"/>
                    <a:pt x="56" y="489"/>
                  </a:cubicBezTo>
                  <a:cubicBezTo>
                    <a:pt x="57" y="493"/>
                    <a:pt x="62" y="495"/>
                    <a:pt x="66" y="494"/>
                  </a:cubicBezTo>
                  <a:cubicBezTo>
                    <a:pt x="117" y="491"/>
                    <a:pt x="117" y="491"/>
                    <a:pt x="117" y="491"/>
                  </a:cubicBezTo>
                  <a:cubicBezTo>
                    <a:pt x="119" y="490"/>
                    <a:pt x="121" y="489"/>
                    <a:pt x="122" y="487"/>
                  </a:cubicBezTo>
                  <a:cubicBezTo>
                    <a:pt x="130" y="495"/>
                    <a:pt x="138" y="502"/>
                    <a:pt x="146" y="509"/>
                  </a:cubicBezTo>
                  <a:cubicBezTo>
                    <a:pt x="145" y="512"/>
                    <a:pt x="145" y="512"/>
                    <a:pt x="145" y="512"/>
                  </a:cubicBezTo>
                  <a:cubicBezTo>
                    <a:pt x="140" y="563"/>
                    <a:pt x="140" y="563"/>
                    <a:pt x="140" y="563"/>
                  </a:cubicBezTo>
                  <a:cubicBezTo>
                    <a:pt x="138" y="567"/>
                    <a:pt x="139" y="571"/>
                    <a:pt x="143" y="573"/>
                  </a:cubicBezTo>
                  <a:cubicBezTo>
                    <a:pt x="183" y="589"/>
                    <a:pt x="183" y="589"/>
                    <a:pt x="183" y="589"/>
                  </a:cubicBezTo>
                  <a:cubicBezTo>
                    <a:pt x="187" y="591"/>
                    <a:pt x="192" y="588"/>
                    <a:pt x="193" y="584"/>
                  </a:cubicBezTo>
                  <a:cubicBezTo>
                    <a:pt x="220" y="550"/>
                    <a:pt x="220" y="550"/>
                    <a:pt x="220" y="550"/>
                  </a:cubicBezTo>
                  <a:cubicBezTo>
                    <a:pt x="235" y="556"/>
                    <a:pt x="252" y="560"/>
                    <a:pt x="269" y="562"/>
                  </a:cubicBezTo>
                  <a:cubicBezTo>
                    <a:pt x="269" y="563"/>
                    <a:pt x="269" y="563"/>
                    <a:pt x="269" y="563"/>
                  </a:cubicBezTo>
                  <a:cubicBezTo>
                    <a:pt x="288" y="610"/>
                    <a:pt x="288" y="610"/>
                    <a:pt x="288" y="610"/>
                  </a:cubicBezTo>
                  <a:cubicBezTo>
                    <a:pt x="288" y="614"/>
                    <a:pt x="292" y="618"/>
                    <a:pt x="296" y="617"/>
                  </a:cubicBezTo>
                  <a:cubicBezTo>
                    <a:pt x="339" y="613"/>
                    <a:pt x="339" y="613"/>
                    <a:pt x="339" y="613"/>
                  </a:cubicBezTo>
                  <a:cubicBezTo>
                    <a:pt x="343" y="612"/>
                    <a:pt x="346" y="608"/>
                    <a:pt x="345" y="604"/>
                  </a:cubicBezTo>
                  <a:cubicBezTo>
                    <a:pt x="353" y="560"/>
                    <a:pt x="353" y="560"/>
                    <a:pt x="353" y="560"/>
                  </a:cubicBezTo>
                  <a:cubicBezTo>
                    <a:pt x="369" y="557"/>
                    <a:pt x="384" y="553"/>
                    <a:pt x="399" y="547"/>
                  </a:cubicBezTo>
                  <a:cubicBezTo>
                    <a:pt x="430" y="582"/>
                    <a:pt x="430" y="582"/>
                    <a:pt x="430" y="582"/>
                  </a:cubicBezTo>
                  <a:cubicBezTo>
                    <a:pt x="432" y="587"/>
                    <a:pt x="436" y="589"/>
                    <a:pt x="440" y="587"/>
                  </a:cubicBezTo>
                  <a:cubicBezTo>
                    <a:pt x="479" y="568"/>
                    <a:pt x="479" y="568"/>
                    <a:pt x="479" y="568"/>
                  </a:cubicBezTo>
                  <a:cubicBezTo>
                    <a:pt x="483" y="567"/>
                    <a:pt x="484" y="562"/>
                    <a:pt x="482" y="558"/>
                  </a:cubicBezTo>
                  <a:cubicBezTo>
                    <a:pt x="474" y="508"/>
                    <a:pt x="474" y="508"/>
                    <a:pt x="474" y="508"/>
                  </a:cubicBezTo>
                  <a:cubicBezTo>
                    <a:pt x="471" y="504"/>
                    <a:pt x="471" y="504"/>
                    <a:pt x="471" y="504"/>
                  </a:cubicBezTo>
                  <a:cubicBezTo>
                    <a:pt x="483" y="493"/>
                    <a:pt x="494" y="482"/>
                    <a:pt x="504" y="470"/>
                  </a:cubicBezTo>
                  <a:cubicBezTo>
                    <a:pt x="507" y="471"/>
                    <a:pt x="507" y="471"/>
                    <a:pt x="507" y="471"/>
                  </a:cubicBezTo>
                  <a:cubicBezTo>
                    <a:pt x="557" y="477"/>
                    <a:pt x="557" y="477"/>
                    <a:pt x="557" y="477"/>
                  </a:cubicBezTo>
                  <a:cubicBezTo>
                    <a:pt x="561" y="479"/>
                    <a:pt x="566" y="477"/>
                    <a:pt x="568" y="473"/>
                  </a:cubicBezTo>
                  <a:cubicBezTo>
                    <a:pt x="584" y="433"/>
                    <a:pt x="584" y="433"/>
                    <a:pt x="584" y="433"/>
                  </a:cubicBezTo>
                  <a:cubicBezTo>
                    <a:pt x="586" y="430"/>
                    <a:pt x="584" y="425"/>
                    <a:pt x="580" y="424"/>
                  </a:cubicBezTo>
                  <a:cubicBezTo>
                    <a:pt x="546" y="397"/>
                    <a:pt x="546" y="397"/>
                    <a:pt x="546" y="397"/>
                  </a:cubicBezTo>
                  <a:cubicBezTo>
                    <a:pt x="552" y="380"/>
                    <a:pt x="556" y="363"/>
                    <a:pt x="559" y="345"/>
                  </a:cubicBezTo>
                  <a:cubicBezTo>
                    <a:pt x="600" y="331"/>
                    <a:pt x="600" y="331"/>
                    <a:pt x="600" y="331"/>
                  </a:cubicBezTo>
                  <a:cubicBezTo>
                    <a:pt x="605" y="330"/>
                    <a:pt x="608" y="327"/>
                    <a:pt x="608" y="323"/>
                  </a:cubicBezTo>
                  <a:lnTo>
                    <a:pt x="606" y="280"/>
                  </a:lnTo>
                  <a:close/>
                  <a:moveTo>
                    <a:pt x="103" y="326"/>
                  </a:moveTo>
                  <a:cubicBezTo>
                    <a:pt x="96" y="326"/>
                    <a:pt x="90" y="320"/>
                    <a:pt x="90" y="313"/>
                  </a:cubicBezTo>
                  <a:cubicBezTo>
                    <a:pt x="90" y="306"/>
                    <a:pt x="96" y="300"/>
                    <a:pt x="103" y="300"/>
                  </a:cubicBezTo>
                  <a:cubicBezTo>
                    <a:pt x="110" y="300"/>
                    <a:pt x="116" y="306"/>
                    <a:pt x="116" y="313"/>
                  </a:cubicBezTo>
                  <a:cubicBezTo>
                    <a:pt x="116" y="320"/>
                    <a:pt x="110" y="326"/>
                    <a:pt x="103" y="326"/>
                  </a:cubicBezTo>
                  <a:close/>
                  <a:moveTo>
                    <a:pt x="438" y="161"/>
                  </a:moveTo>
                  <a:cubicBezTo>
                    <a:pt x="443" y="156"/>
                    <a:pt x="451" y="156"/>
                    <a:pt x="456" y="161"/>
                  </a:cubicBezTo>
                  <a:cubicBezTo>
                    <a:pt x="461" y="166"/>
                    <a:pt x="461" y="175"/>
                    <a:pt x="456" y="180"/>
                  </a:cubicBezTo>
                  <a:cubicBezTo>
                    <a:pt x="451" y="185"/>
                    <a:pt x="443" y="185"/>
                    <a:pt x="438" y="180"/>
                  </a:cubicBezTo>
                  <a:cubicBezTo>
                    <a:pt x="432" y="175"/>
                    <a:pt x="432" y="166"/>
                    <a:pt x="438" y="161"/>
                  </a:cubicBezTo>
                  <a:close/>
                  <a:moveTo>
                    <a:pt x="304" y="98"/>
                  </a:moveTo>
                  <a:cubicBezTo>
                    <a:pt x="312" y="98"/>
                    <a:pt x="318" y="104"/>
                    <a:pt x="318" y="111"/>
                  </a:cubicBezTo>
                  <a:cubicBezTo>
                    <a:pt x="318" y="119"/>
                    <a:pt x="312" y="125"/>
                    <a:pt x="304" y="125"/>
                  </a:cubicBezTo>
                  <a:cubicBezTo>
                    <a:pt x="297" y="125"/>
                    <a:pt x="291" y="119"/>
                    <a:pt x="291" y="111"/>
                  </a:cubicBezTo>
                  <a:cubicBezTo>
                    <a:pt x="291" y="104"/>
                    <a:pt x="297" y="98"/>
                    <a:pt x="304" y="98"/>
                  </a:cubicBezTo>
                  <a:close/>
                  <a:moveTo>
                    <a:pt x="153" y="161"/>
                  </a:moveTo>
                  <a:cubicBezTo>
                    <a:pt x="158" y="156"/>
                    <a:pt x="166" y="156"/>
                    <a:pt x="171" y="161"/>
                  </a:cubicBezTo>
                  <a:cubicBezTo>
                    <a:pt x="176" y="166"/>
                    <a:pt x="176" y="175"/>
                    <a:pt x="171" y="180"/>
                  </a:cubicBezTo>
                  <a:cubicBezTo>
                    <a:pt x="166" y="185"/>
                    <a:pt x="158" y="185"/>
                    <a:pt x="153" y="180"/>
                  </a:cubicBezTo>
                  <a:cubicBezTo>
                    <a:pt x="148" y="175"/>
                    <a:pt x="148" y="166"/>
                    <a:pt x="153" y="161"/>
                  </a:cubicBezTo>
                  <a:close/>
                  <a:moveTo>
                    <a:pt x="171" y="464"/>
                  </a:moveTo>
                  <a:cubicBezTo>
                    <a:pt x="166" y="470"/>
                    <a:pt x="158" y="470"/>
                    <a:pt x="153" y="464"/>
                  </a:cubicBezTo>
                  <a:cubicBezTo>
                    <a:pt x="148" y="459"/>
                    <a:pt x="148" y="451"/>
                    <a:pt x="153" y="446"/>
                  </a:cubicBezTo>
                  <a:cubicBezTo>
                    <a:pt x="158" y="441"/>
                    <a:pt x="166" y="441"/>
                    <a:pt x="171" y="446"/>
                  </a:cubicBezTo>
                  <a:cubicBezTo>
                    <a:pt x="176" y="451"/>
                    <a:pt x="176" y="459"/>
                    <a:pt x="171" y="464"/>
                  </a:cubicBezTo>
                  <a:close/>
                  <a:moveTo>
                    <a:pt x="304" y="527"/>
                  </a:moveTo>
                  <a:cubicBezTo>
                    <a:pt x="297" y="527"/>
                    <a:pt x="291" y="521"/>
                    <a:pt x="291" y="514"/>
                  </a:cubicBezTo>
                  <a:cubicBezTo>
                    <a:pt x="291" y="507"/>
                    <a:pt x="297" y="501"/>
                    <a:pt x="304" y="501"/>
                  </a:cubicBezTo>
                  <a:cubicBezTo>
                    <a:pt x="312" y="501"/>
                    <a:pt x="318" y="507"/>
                    <a:pt x="318" y="514"/>
                  </a:cubicBezTo>
                  <a:cubicBezTo>
                    <a:pt x="318" y="521"/>
                    <a:pt x="312" y="527"/>
                    <a:pt x="304" y="527"/>
                  </a:cubicBezTo>
                  <a:close/>
                  <a:moveTo>
                    <a:pt x="456" y="464"/>
                  </a:moveTo>
                  <a:cubicBezTo>
                    <a:pt x="451" y="470"/>
                    <a:pt x="443" y="470"/>
                    <a:pt x="438" y="464"/>
                  </a:cubicBezTo>
                  <a:cubicBezTo>
                    <a:pt x="432" y="459"/>
                    <a:pt x="432" y="451"/>
                    <a:pt x="438" y="446"/>
                  </a:cubicBezTo>
                  <a:cubicBezTo>
                    <a:pt x="443" y="441"/>
                    <a:pt x="451" y="441"/>
                    <a:pt x="456" y="446"/>
                  </a:cubicBezTo>
                  <a:cubicBezTo>
                    <a:pt x="461" y="451"/>
                    <a:pt x="461" y="459"/>
                    <a:pt x="456" y="464"/>
                  </a:cubicBezTo>
                  <a:close/>
                  <a:moveTo>
                    <a:pt x="304" y="484"/>
                  </a:moveTo>
                  <a:cubicBezTo>
                    <a:pt x="208" y="484"/>
                    <a:pt x="129" y="406"/>
                    <a:pt x="129" y="309"/>
                  </a:cubicBezTo>
                  <a:cubicBezTo>
                    <a:pt x="129" y="212"/>
                    <a:pt x="208" y="134"/>
                    <a:pt x="304" y="134"/>
                  </a:cubicBezTo>
                  <a:cubicBezTo>
                    <a:pt x="401" y="134"/>
                    <a:pt x="480" y="212"/>
                    <a:pt x="480" y="309"/>
                  </a:cubicBezTo>
                  <a:cubicBezTo>
                    <a:pt x="480" y="406"/>
                    <a:pt x="401" y="484"/>
                    <a:pt x="304" y="484"/>
                  </a:cubicBezTo>
                  <a:close/>
                  <a:moveTo>
                    <a:pt x="506" y="326"/>
                  </a:moveTo>
                  <a:cubicBezTo>
                    <a:pt x="499" y="326"/>
                    <a:pt x="493" y="320"/>
                    <a:pt x="493" y="313"/>
                  </a:cubicBezTo>
                  <a:cubicBezTo>
                    <a:pt x="493" y="306"/>
                    <a:pt x="499" y="300"/>
                    <a:pt x="506" y="300"/>
                  </a:cubicBezTo>
                  <a:cubicBezTo>
                    <a:pt x="513" y="300"/>
                    <a:pt x="519" y="306"/>
                    <a:pt x="519" y="313"/>
                  </a:cubicBezTo>
                  <a:cubicBezTo>
                    <a:pt x="519" y="320"/>
                    <a:pt x="513" y="326"/>
                    <a:pt x="506" y="326"/>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Oval 20">
              <a:extLst>
                <a:ext uri="{FF2B5EF4-FFF2-40B4-BE49-F238E27FC236}">
                  <a16:creationId xmlns:a16="http://schemas.microsoft.com/office/drawing/2014/main" id="{340EB301-1285-41B5-83FE-F16336C25649}"/>
                </a:ext>
              </a:extLst>
            </p:cNvPr>
            <p:cNvSpPr>
              <a:spLocks noChangeArrowheads="1"/>
            </p:cNvSpPr>
            <p:nvPr/>
          </p:nvSpPr>
          <p:spPr bwMode="auto">
            <a:xfrm>
              <a:off x="7183784" y="4886831"/>
              <a:ext cx="787020" cy="787020"/>
            </a:xfrm>
            <a:prstGeom prst="ellipse">
              <a:avLst/>
            </a:prstGeom>
            <a:solidFill>
              <a:schemeClr val="bg1"/>
            </a:solidFill>
            <a:ln w="12700">
              <a:noFill/>
              <a:round/>
              <a:headEnd/>
              <a:tailEnd/>
            </a:ln>
          </p:spPr>
          <p:txBody>
            <a:bodyPr wrap="none" anchor="ctr"/>
            <a:lstStyle/>
            <a:p>
              <a:pPr algn="ctr"/>
              <a:r>
                <a:rPr lang="en-US" sz="1200" b="1" dirty="0"/>
                <a:t>3</a:t>
              </a:r>
              <a:r>
                <a:rPr lang="en-US" sz="1200" b="1" baseline="30000" dirty="0"/>
                <a:t>rd</a:t>
              </a:r>
              <a:r>
                <a:rPr lang="en-US" sz="1200" b="1" dirty="0"/>
                <a:t> party</a:t>
              </a:r>
              <a:br>
                <a:rPr lang="en-US" sz="1200" b="1" dirty="0"/>
              </a:br>
              <a:r>
                <a:rPr lang="en-US" sz="1200" b="1" dirty="0"/>
                <a:t>vendor</a:t>
              </a:r>
            </a:p>
          </p:txBody>
        </p:sp>
      </p:grpSp>
      <p:sp>
        <p:nvSpPr>
          <p:cNvPr id="4" name="Footer Placeholder 3">
            <a:extLst>
              <a:ext uri="{FF2B5EF4-FFF2-40B4-BE49-F238E27FC236}">
                <a16:creationId xmlns:a16="http://schemas.microsoft.com/office/drawing/2014/main" id="{85869999-76B0-4F9A-90D8-DC850A0970A4}"/>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B1E96EBD-B326-4409-9378-8C3FD779ACBB}"/>
              </a:ext>
            </a:extLst>
          </p:cNvPr>
          <p:cNvSpPr>
            <a:spLocks noGrp="1"/>
          </p:cNvSpPr>
          <p:nvPr>
            <p:ph type="sldNum" sz="quarter" idx="10"/>
          </p:nvPr>
        </p:nvSpPr>
        <p:spPr/>
        <p:txBody>
          <a:bodyPr/>
          <a:lstStyle/>
          <a:p>
            <a:fld id="{1F90F471-3972-4120-B8B3-0237DE626C35}" type="slidenum">
              <a:rPr lang="en-US" smtClean="0"/>
              <a:pPr/>
              <a:t>147</a:t>
            </a:fld>
            <a:endParaRPr lang="en-US" dirty="0"/>
          </a:p>
        </p:txBody>
      </p:sp>
    </p:spTree>
    <p:extLst>
      <p:ext uri="{BB962C8B-B14F-4D97-AF65-F5344CB8AC3E}">
        <p14:creationId xmlns:p14="http://schemas.microsoft.com/office/powerpoint/2010/main" val="149746350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7C4124B-B9D5-4FB9-AA46-3262DD2B40DB}"/>
              </a:ext>
            </a:extLst>
          </p:cNvPr>
          <p:cNvSpPr>
            <a:spLocks noGrp="1"/>
          </p:cNvSpPr>
          <p:nvPr>
            <p:ph type="title"/>
          </p:nvPr>
        </p:nvSpPr>
        <p:spPr/>
        <p:txBody>
          <a:bodyPr/>
          <a:lstStyle/>
          <a:p>
            <a:r>
              <a:rPr lang="en-US" dirty="0"/>
              <a:t>Conflicts</a:t>
            </a:r>
          </a:p>
        </p:txBody>
      </p:sp>
      <p:sp>
        <p:nvSpPr>
          <p:cNvPr id="10" name="Freeform: Shape 9" descr="Add text and order accordingly">
            <a:hlinkClick r:id="rId2" action="ppaction://hlinksldjump" tooltip="Return to Index"/>
            <a:extLst>
              <a:ext uri="{FF2B5EF4-FFF2-40B4-BE49-F238E27FC236}">
                <a16:creationId xmlns:a16="http://schemas.microsoft.com/office/drawing/2014/main" id="{0DE3F75C-CF1B-47BB-A358-FF97AF03C85D}"/>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 Placeholder 8">
            <a:extLst>
              <a:ext uri="{FF2B5EF4-FFF2-40B4-BE49-F238E27FC236}">
                <a16:creationId xmlns:a16="http://schemas.microsoft.com/office/drawing/2014/main" id="{1265ADBE-657A-4DC7-A6A6-2F0E697C4723}"/>
              </a:ext>
            </a:extLst>
          </p:cNvPr>
          <p:cNvSpPr>
            <a:spLocks noGrp="1"/>
          </p:cNvSpPr>
          <p:nvPr>
            <p:ph type="body" sz="quarter" idx="15"/>
          </p:nvPr>
        </p:nvSpPr>
        <p:spPr/>
        <p:txBody>
          <a:bodyPr/>
          <a:lstStyle/>
          <a:p>
            <a:r>
              <a:rPr lang="en-US" dirty="0"/>
              <a:t>Part of </a:t>
            </a:r>
            <a:br>
              <a:rPr lang="en-US" dirty="0"/>
            </a:br>
            <a:r>
              <a:rPr lang="en-US" dirty="0">
                <a:hlinkClick r:id="rId3" action="ppaction://hlinksldjump">
                  <a:extLst>
                    <a:ext uri="{A12FA001-AC4F-418D-AE19-62706E023703}">
                      <ahyp:hlinkClr xmlns:ahyp="http://schemas.microsoft.com/office/drawing/2018/hyperlinkcolor" val="tx"/>
                    </a:ext>
                  </a:extLst>
                </a:hlinkClick>
              </a:rPr>
              <a:t>Dynamic Concepts</a:t>
            </a:r>
            <a:endParaRPr lang="en-US" dirty="0"/>
          </a:p>
        </p:txBody>
      </p:sp>
      <p:sp>
        <p:nvSpPr>
          <p:cNvPr id="5" name="Footer Placeholder 4">
            <a:extLst>
              <a:ext uri="{FF2B5EF4-FFF2-40B4-BE49-F238E27FC236}">
                <a16:creationId xmlns:a16="http://schemas.microsoft.com/office/drawing/2014/main" id="{9DC78945-A645-4563-BCA9-927812C9C4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BEE2891-AE3F-4D8A-B562-5662B242B3DF}"/>
              </a:ext>
            </a:extLst>
          </p:cNvPr>
          <p:cNvSpPr>
            <a:spLocks noGrp="1"/>
          </p:cNvSpPr>
          <p:nvPr>
            <p:ph type="sldNum" sz="quarter" idx="17"/>
          </p:nvPr>
        </p:nvSpPr>
        <p:spPr/>
        <p:txBody>
          <a:bodyPr/>
          <a:lstStyle/>
          <a:p>
            <a:fld id="{1F90F471-3972-4120-B8B3-0237DE626C35}" type="slidenum">
              <a:rPr lang="en-US" smtClean="0"/>
              <a:pPr/>
              <a:t>148</a:t>
            </a:fld>
            <a:endParaRPr lang="en-US" dirty="0"/>
          </a:p>
        </p:txBody>
      </p:sp>
    </p:spTree>
    <p:extLst>
      <p:ext uri="{BB962C8B-B14F-4D97-AF65-F5344CB8AC3E}">
        <p14:creationId xmlns:p14="http://schemas.microsoft.com/office/powerpoint/2010/main" val="834396163"/>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Action/Reaction 1</a:t>
            </a:r>
          </a:p>
        </p:txBody>
      </p:sp>
      <p:sp>
        <p:nvSpPr>
          <p:cNvPr id="8" name="AutoShape 7">
            <a:extLst>
              <a:ext uri="{FF2B5EF4-FFF2-40B4-BE49-F238E27FC236}">
                <a16:creationId xmlns:a16="http://schemas.microsoft.com/office/drawing/2014/main" id="{22AAD2B8-1C24-44B1-8F73-18ED5D5A9CCF}"/>
              </a:ext>
            </a:extLst>
          </p:cNvPr>
          <p:cNvSpPr>
            <a:spLocks noChangeAspect="1" noChangeArrowheads="1"/>
          </p:cNvSpPr>
          <p:nvPr/>
        </p:nvSpPr>
        <p:spPr bwMode="auto">
          <a:xfrm>
            <a:off x="1822450" y="1763712"/>
            <a:ext cx="4207794" cy="2628709"/>
          </a:xfrm>
          <a:prstGeom prst="homePlate">
            <a:avLst>
              <a:gd name="adj" fmla="val 32103"/>
            </a:avLst>
          </a:prstGeom>
          <a:solidFill>
            <a:schemeClr val="accent1"/>
          </a:solidFill>
          <a:ln w="6350">
            <a:noFill/>
            <a:miter lim="800000"/>
            <a:headEnd/>
            <a:tailEnd/>
          </a:ln>
          <a:effectLst/>
        </p:spPr>
        <p:txBody>
          <a:bodyPr lIns="324000" tIns="180000" rIns="72000" bIns="72000" anchor="t"/>
          <a:lstStyle/>
          <a:p>
            <a:pPr marL="0" lvl="1" algn="l" eaLnBrk="0" hangingPunct="0">
              <a:lnSpc>
                <a:spcPct val="85000"/>
              </a:lnSpc>
              <a:spcBef>
                <a:spcPts val="100"/>
              </a:spcBef>
              <a:spcAft>
                <a:spcPts val="300"/>
              </a:spcAft>
              <a:buClr>
                <a:schemeClr val="folHlink"/>
              </a:buClr>
            </a:pPr>
            <a:r>
              <a:rPr lang="en-US" b="1" dirty="0">
                <a:solidFill>
                  <a:schemeClr val="bg1"/>
                </a:solidFill>
                <a:latin typeface="+mj-lt"/>
              </a:rPr>
              <a:t>Text</a:t>
            </a:r>
            <a:endParaRPr lang="en-US" b="1" cap="all" dirty="0">
              <a:solidFill>
                <a:schemeClr val="bg1"/>
              </a:solidFill>
              <a:latin typeface="+mj-lt"/>
            </a:endParaRPr>
          </a:p>
          <a:p>
            <a:pPr marL="177800" lvl="1" indent="-177800" algn="l" eaLnBrk="0" hangingPunct="0">
              <a:spcBef>
                <a:spcPts val="100"/>
              </a:spcBef>
              <a:spcAft>
                <a:spcPts val="100"/>
              </a:spcAft>
              <a:buFontTx/>
              <a:buChar char="•"/>
            </a:pPr>
            <a:r>
              <a:rPr lang="en-US" dirty="0">
                <a:solidFill>
                  <a:schemeClr val="bg1"/>
                </a:solidFill>
              </a:rPr>
              <a:t>Text</a:t>
            </a:r>
          </a:p>
          <a:p>
            <a:pPr marL="177800" lvl="1" indent="-177800" algn="l" eaLnBrk="0" hangingPunct="0">
              <a:spcBef>
                <a:spcPts val="100"/>
              </a:spcBef>
              <a:spcAft>
                <a:spcPts val="100"/>
              </a:spcAft>
              <a:buFontTx/>
              <a:buChar char="•"/>
            </a:pPr>
            <a:r>
              <a:rPr lang="en-US" dirty="0">
                <a:solidFill>
                  <a:schemeClr val="bg1"/>
                </a:solidFill>
              </a:rPr>
              <a:t>Text</a:t>
            </a:r>
          </a:p>
          <a:p>
            <a:pPr marL="177800" lvl="1" indent="-177800" algn="l" eaLnBrk="0" hangingPunct="0">
              <a:spcBef>
                <a:spcPts val="100"/>
              </a:spcBef>
              <a:spcAft>
                <a:spcPts val="100"/>
              </a:spcAft>
              <a:buFontTx/>
              <a:buChar char="•"/>
            </a:pPr>
            <a:r>
              <a:rPr lang="en-US" dirty="0">
                <a:solidFill>
                  <a:schemeClr val="bg1"/>
                </a:solidFill>
              </a:rPr>
              <a:t>Text</a:t>
            </a:r>
          </a:p>
        </p:txBody>
      </p:sp>
      <p:sp>
        <p:nvSpPr>
          <p:cNvPr id="6" name="AutoShape 6">
            <a:extLst>
              <a:ext uri="{FF2B5EF4-FFF2-40B4-BE49-F238E27FC236}">
                <a16:creationId xmlns:a16="http://schemas.microsoft.com/office/drawing/2014/main" id="{35AEA00A-8199-40E2-9E9F-156F8A21E8E7}"/>
              </a:ext>
            </a:extLst>
          </p:cNvPr>
          <p:cNvSpPr>
            <a:spLocks noChangeAspect="1" noChangeArrowheads="1"/>
          </p:cNvSpPr>
          <p:nvPr/>
        </p:nvSpPr>
        <p:spPr bwMode="auto">
          <a:xfrm flipH="1">
            <a:off x="6164930" y="1763712"/>
            <a:ext cx="4207794" cy="2628709"/>
          </a:xfrm>
          <a:prstGeom prst="homePlate">
            <a:avLst>
              <a:gd name="adj" fmla="val 32103"/>
            </a:avLst>
          </a:prstGeom>
          <a:solidFill>
            <a:schemeClr val="accent3"/>
          </a:solidFill>
          <a:ln w="6350">
            <a:noFill/>
            <a:miter lim="800000"/>
            <a:headEnd/>
            <a:tailEnd/>
          </a:ln>
          <a:effectLst/>
        </p:spPr>
        <p:txBody>
          <a:bodyPr lIns="720000" tIns="180000" rIns="72000" bIns="72000" anchor="t"/>
          <a:lstStyle/>
          <a:p>
            <a:pPr marL="0" lvl="1" eaLnBrk="0" hangingPunct="0">
              <a:lnSpc>
                <a:spcPct val="85000"/>
              </a:lnSpc>
              <a:spcBef>
                <a:spcPts val="100"/>
              </a:spcBef>
              <a:spcAft>
                <a:spcPts val="300"/>
              </a:spcAft>
              <a:buClr>
                <a:schemeClr val="folHlink"/>
              </a:buClr>
            </a:pPr>
            <a:r>
              <a:rPr lang="en-US" b="1" dirty="0">
                <a:solidFill>
                  <a:schemeClr val="bg1"/>
                </a:solidFill>
                <a:latin typeface="+mj-lt"/>
              </a:rPr>
              <a:t>Text</a:t>
            </a:r>
            <a:endParaRPr lang="en-US" b="1" cap="all" dirty="0">
              <a:solidFill>
                <a:schemeClr val="bg1"/>
              </a:solidFill>
              <a:latin typeface="+mj-lt"/>
            </a:endParaRPr>
          </a:p>
          <a:p>
            <a:pPr marL="177800" indent="-177800" algn="l" eaLnBrk="0" hangingPunct="0">
              <a:spcBef>
                <a:spcPts val="100"/>
              </a:spcBef>
              <a:spcAft>
                <a:spcPts val="100"/>
              </a:spcAft>
              <a:buFontTx/>
              <a:buChar char="•"/>
            </a:pPr>
            <a:r>
              <a:rPr lang="en-US" dirty="0">
                <a:solidFill>
                  <a:schemeClr val="bg1"/>
                </a:solidFill>
              </a:rPr>
              <a:t>Text</a:t>
            </a:r>
          </a:p>
          <a:p>
            <a:pPr marL="177800" indent="-177800" algn="l" eaLnBrk="0" hangingPunct="0">
              <a:spcBef>
                <a:spcPts val="100"/>
              </a:spcBef>
              <a:spcAft>
                <a:spcPts val="100"/>
              </a:spcAft>
              <a:buFontTx/>
              <a:buChar char="•"/>
            </a:pPr>
            <a:r>
              <a:rPr lang="en-US" dirty="0">
                <a:solidFill>
                  <a:schemeClr val="bg1"/>
                </a:solidFill>
              </a:rPr>
              <a:t>Text</a:t>
            </a:r>
          </a:p>
          <a:p>
            <a:pPr marL="177800" indent="-177800" algn="l" eaLnBrk="0" hangingPunct="0">
              <a:spcBef>
                <a:spcPts val="100"/>
              </a:spcBef>
              <a:spcAft>
                <a:spcPts val="100"/>
              </a:spcAft>
              <a:buFontTx/>
              <a:buChar char="•"/>
            </a:pPr>
            <a:r>
              <a:rPr lang="en-US" dirty="0">
                <a:solidFill>
                  <a:schemeClr val="bg1"/>
                </a:solidFill>
              </a:rPr>
              <a:t>Text</a:t>
            </a:r>
          </a:p>
        </p:txBody>
      </p:sp>
      <p:sp>
        <p:nvSpPr>
          <p:cNvPr id="4" name="Footer Placeholder 3">
            <a:extLst>
              <a:ext uri="{FF2B5EF4-FFF2-40B4-BE49-F238E27FC236}">
                <a16:creationId xmlns:a16="http://schemas.microsoft.com/office/drawing/2014/main" id="{7C918B19-691C-4795-90FD-B5EFD46C7938}"/>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D2EC7B93-D8F1-48ED-BE17-BC675D378B03}"/>
              </a:ext>
            </a:extLst>
          </p:cNvPr>
          <p:cNvSpPr>
            <a:spLocks noGrp="1"/>
          </p:cNvSpPr>
          <p:nvPr>
            <p:ph type="sldNum" sz="quarter" idx="10"/>
          </p:nvPr>
        </p:nvSpPr>
        <p:spPr/>
        <p:txBody>
          <a:bodyPr/>
          <a:lstStyle/>
          <a:p>
            <a:fld id="{1F90F471-3972-4120-B8B3-0237DE626C35}" type="slidenum">
              <a:rPr lang="en-US" smtClean="0"/>
              <a:pPr/>
              <a:t>149</a:t>
            </a:fld>
            <a:endParaRPr lang="en-US" dirty="0"/>
          </a:p>
        </p:txBody>
      </p:sp>
    </p:spTree>
    <p:extLst>
      <p:ext uri="{BB962C8B-B14F-4D97-AF65-F5344CB8AC3E}">
        <p14:creationId xmlns:p14="http://schemas.microsoft.com/office/powerpoint/2010/main" val="23564530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DFE8A17-3F52-4B73-987E-30C8F4583097}"/>
              </a:ext>
            </a:extLst>
          </p:cNvPr>
          <p:cNvSpPr>
            <a:spLocks noGrp="1"/>
          </p:cNvSpPr>
          <p:nvPr>
            <p:ph type="title"/>
          </p:nvPr>
        </p:nvSpPr>
        <p:spPr/>
        <p:txBody>
          <a:bodyPr/>
          <a:lstStyle/>
          <a:p>
            <a:r>
              <a:rPr lang="en-US" dirty="0"/>
              <a:t>Get started</a:t>
            </a:r>
          </a:p>
        </p:txBody>
      </p:sp>
      <p:sp>
        <p:nvSpPr>
          <p:cNvPr id="5" name="Footer Placeholder 4">
            <a:extLst>
              <a:ext uri="{FF2B5EF4-FFF2-40B4-BE49-F238E27FC236}">
                <a16:creationId xmlns:a16="http://schemas.microsoft.com/office/drawing/2014/main" id="{F15742ED-2E8A-4948-85F0-00FC7188C50A}"/>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7C9C2A3C-7A56-49A0-86B2-CC8F2448D51F}"/>
              </a:ext>
            </a:extLst>
          </p:cNvPr>
          <p:cNvSpPr>
            <a:spLocks noGrp="1"/>
          </p:cNvSpPr>
          <p:nvPr>
            <p:ph type="sldNum" sz="quarter" idx="11"/>
          </p:nvPr>
        </p:nvSpPr>
        <p:spPr/>
        <p:txBody>
          <a:bodyPr/>
          <a:lstStyle/>
          <a:p>
            <a:fld id="{1F90F471-3972-4120-B8B3-0237DE626C35}" type="slidenum">
              <a:rPr lang="en-US" smtClean="0"/>
              <a:pPr/>
              <a:t>15</a:t>
            </a:fld>
            <a:endParaRPr lang="en-US" dirty="0"/>
          </a:p>
        </p:txBody>
      </p:sp>
    </p:spTree>
    <p:extLst>
      <p:ext uri="{BB962C8B-B14F-4D97-AF65-F5344CB8AC3E}">
        <p14:creationId xmlns:p14="http://schemas.microsoft.com/office/powerpoint/2010/main" val="3997363625"/>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Action/Reaction 2</a:t>
            </a:r>
          </a:p>
        </p:txBody>
      </p:sp>
      <p:sp>
        <p:nvSpPr>
          <p:cNvPr id="6" name="AutoShape 6">
            <a:extLst>
              <a:ext uri="{FF2B5EF4-FFF2-40B4-BE49-F238E27FC236}">
                <a16:creationId xmlns:a16="http://schemas.microsoft.com/office/drawing/2014/main" id="{D576C33B-F2DC-4434-8F41-6A145DE00C1E}"/>
              </a:ext>
            </a:extLst>
          </p:cNvPr>
          <p:cNvSpPr>
            <a:spLocks noChangeAspect="1" noChangeArrowheads="1"/>
          </p:cNvSpPr>
          <p:nvPr/>
        </p:nvSpPr>
        <p:spPr bwMode="auto">
          <a:xfrm flipH="1">
            <a:off x="5740308" y="3170482"/>
            <a:ext cx="4207794" cy="2628709"/>
          </a:xfrm>
          <a:prstGeom prst="homePlate">
            <a:avLst>
              <a:gd name="adj" fmla="val 32103"/>
            </a:avLst>
          </a:prstGeom>
          <a:solidFill>
            <a:schemeClr val="accent3"/>
          </a:solidFill>
          <a:ln w="6350">
            <a:noFill/>
            <a:miter lim="800000"/>
            <a:headEnd/>
            <a:tailEnd/>
          </a:ln>
          <a:effectLst/>
        </p:spPr>
        <p:txBody>
          <a:bodyPr lIns="720000" tIns="180000" rIns="72000" bIns="72000" anchor="t"/>
          <a:lstStyle/>
          <a:p>
            <a:pPr marL="0" lvl="1" eaLnBrk="0" hangingPunct="0">
              <a:lnSpc>
                <a:spcPct val="85000"/>
              </a:lnSpc>
              <a:spcBef>
                <a:spcPts val="100"/>
              </a:spcBef>
              <a:spcAft>
                <a:spcPts val="300"/>
              </a:spcAft>
              <a:buClr>
                <a:schemeClr val="folHlink"/>
              </a:buClr>
            </a:pPr>
            <a:r>
              <a:rPr lang="en-US" b="1" dirty="0">
                <a:solidFill>
                  <a:schemeClr val="bg1"/>
                </a:solidFill>
                <a:latin typeface="+mj-lt"/>
              </a:rPr>
              <a:t>Text</a:t>
            </a:r>
            <a:endParaRPr lang="en-US" b="1" cap="all" dirty="0">
              <a:solidFill>
                <a:schemeClr val="bg1"/>
              </a:solidFill>
              <a:latin typeface="+mj-lt"/>
            </a:endParaRPr>
          </a:p>
          <a:p>
            <a:pPr marL="177800" indent="-177800" algn="l" eaLnBrk="0" hangingPunct="0">
              <a:spcBef>
                <a:spcPts val="100"/>
              </a:spcBef>
              <a:spcAft>
                <a:spcPts val="100"/>
              </a:spcAft>
              <a:buFontTx/>
              <a:buChar char="•"/>
            </a:pPr>
            <a:r>
              <a:rPr lang="en-US" dirty="0">
                <a:solidFill>
                  <a:schemeClr val="bg1"/>
                </a:solidFill>
              </a:rPr>
              <a:t>Text</a:t>
            </a:r>
          </a:p>
          <a:p>
            <a:pPr marL="177800" indent="-177800" algn="l" eaLnBrk="0" hangingPunct="0">
              <a:spcBef>
                <a:spcPts val="100"/>
              </a:spcBef>
              <a:spcAft>
                <a:spcPts val="100"/>
              </a:spcAft>
              <a:buFontTx/>
              <a:buChar char="•"/>
            </a:pPr>
            <a:r>
              <a:rPr lang="en-US" dirty="0">
                <a:solidFill>
                  <a:schemeClr val="bg1"/>
                </a:solidFill>
              </a:rPr>
              <a:t>Text</a:t>
            </a:r>
          </a:p>
          <a:p>
            <a:pPr marL="177800" indent="-177800" algn="l" eaLnBrk="0" hangingPunct="0">
              <a:spcBef>
                <a:spcPts val="100"/>
              </a:spcBef>
              <a:spcAft>
                <a:spcPts val="100"/>
              </a:spcAft>
              <a:buFontTx/>
              <a:buChar char="•"/>
            </a:pPr>
            <a:r>
              <a:rPr lang="en-US" dirty="0">
                <a:solidFill>
                  <a:schemeClr val="bg1"/>
                </a:solidFill>
              </a:rPr>
              <a:t>Text</a:t>
            </a:r>
          </a:p>
        </p:txBody>
      </p:sp>
      <p:sp>
        <p:nvSpPr>
          <p:cNvPr id="8" name="AutoShape 7">
            <a:extLst>
              <a:ext uri="{FF2B5EF4-FFF2-40B4-BE49-F238E27FC236}">
                <a16:creationId xmlns:a16="http://schemas.microsoft.com/office/drawing/2014/main" id="{2EBDFA5B-A80F-4966-A758-63AA52EFF1F7}"/>
              </a:ext>
            </a:extLst>
          </p:cNvPr>
          <p:cNvSpPr>
            <a:spLocks noChangeAspect="1" noChangeArrowheads="1"/>
          </p:cNvSpPr>
          <p:nvPr/>
        </p:nvSpPr>
        <p:spPr bwMode="auto">
          <a:xfrm>
            <a:off x="2256205" y="1763712"/>
            <a:ext cx="4207794" cy="2628709"/>
          </a:xfrm>
          <a:prstGeom prst="homePlate">
            <a:avLst>
              <a:gd name="adj" fmla="val 32103"/>
            </a:avLst>
          </a:prstGeom>
          <a:solidFill>
            <a:schemeClr val="accent1"/>
          </a:solidFill>
          <a:ln w="6350">
            <a:noFill/>
            <a:miter lim="800000"/>
            <a:headEnd/>
            <a:tailEnd/>
          </a:ln>
          <a:effectLst/>
        </p:spPr>
        <p:txBody>
          <a:bodyPr lIns="324000" tIns="180000" rIns="72000" bIns="72000" anchor="t"/>
          <a:lstStyle/>
          <a:p>
            <a:pPr marL="0" lvl="1" algn="l" eaLnBrk="0" hangingPunct="0">
              <a:lnSpc>
                <a:spcPct val="85000"/>
              </a:lnSpc>
              <a:spcBef>
                <a:spcPts val="100"/>
              </a:spcBef>
              <a:spcAft>
                <a:spcPts val="300"/>
              </a:spcAft>
              <a:buClr>
                <a:schemeClr val="folHlink"/>
              </a:buClr>
            </a:pPr>
            <a:r>
              <a:rPr lang="en-US" b="1" dirty="0">
                <a:solidFill>
                  <a:schemeClr val="bg1"/>
                </a:solidFill>
                <a:latin typeface="+mj-lt"/>
              </a:rPr>
              <a:t>Text</a:t>
            </a:r>
            <a:endParaRPr lang="en-US" b="1" cap="all" dirty="0">
              <a:solidFill>
                <a:schemeClr val="bg1"/>
              </a:solidFill>
              <a:latin typeface="+mj-lt"/>
            </a:endParaRPr>
          </a:p>
          <a:p>
            <a:pPr marL="177800" lvl="1" indent="-177800" algn="l" eaLnBrk="0" hangingPunct="0">
              <a:spcBef>
                <a:spcPts val="100"/>
              </a:spcBef>
              <a:spcAft>
                <a:spcPts val="100"/>
              </a:spcAft>
              <a:buFontTx/>
              <a:buChar char="•"/>
            </a:pPr>
            <a:r>
              <a:rPr lang="en-US" dirty="0">
                <a:solidFill>
                  <a:schemeClr val="bg1"/>
                </a:solidFill>
              </a:rPr>
              <a:t>Text</a:t>
            </a:r>
          </a:p>
          <a:p>
            <a:pPr marL="177800" lvl="1" indent="-177800" algn="l" eaLnBrk="0" hangingPunct="0">
              <a:spcBef>
                <a:spcPts val="100"/>
              </a:spcBef>
              <a:spcAft>
                <a:spcPts val="100"/>
              </a:spcAft>
              <a:buFontTx/>
              <a:buChar char="•"/>
            </a:pPr>
            <a:r>
              <a:rPr lang="en-US" dirty="0">
                <a:solidFill>
                  <a:schemeClr val="bg1"/>
                </a:solidFill>
              </a:rPr>
              <a:t>Text</a:t>
            </a:r>
          </a:p>
          <a:p>
            <a:pPr marL="177800" lvl="1" indent="-177800" algn="l" eaLnBrk="0" hangingPunct="0">
              <a:spcBef>
                <a:spcPts val="100"/>
              </a:spcBef>
              <a:spcAft>
                <a:spcPts val="100"/>
              </a:spcAft>
              <a:buFontTx/>
              <a:buChar char="•"/>
            </a:pPr>
            <a:r>
              <a:rPr lang="en-US" dirty="0">
                <a:solidFill>
                  <a:schemeClr val="bg1"/>
                </a:solidFill>
              </a:rPr>
              <a:t>Text</a:t>
            </a:r>
          </a:p>
        </p:txBody>
      </p:sp>
      <p:sp>
        <p:nvSpPr>
          <p:cNvPr id="4" name="Footer Placeholder 3">
            <a:extLst>
              <a:ext uri="{FF2B5EF4-FFF2-40B4-BE49-F238E27FC236}">
                <a16:creationId xmlns:a16="http://schemas.microsoft.com/office/drawing/2014/main" id="{6422925F-0AF7-4EE2-8F6C-126E0BF8D7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129A3878-7553-423E-90BC-5FF2544F7DBD}"/>
              </a:ext>
            </a:extLst>
          </p:cNvPr>
          <p:cNvSpPr>
            <a:spLocks noGrp="1"/>
          </p:cNvSpPr>
          <p:nvPr>
            <p:ph type="sldNum" sz="quarter" idx="10"/>
          </p:nvPr>
        </p:nvSpPr>
        <p:spPr/>
        <p:txBody>
          <a:bodyPr/>
          <a:lstStyle/>
          <a:p>
            <a:fld id="{1F90F471-3972-4120-B8B3-0237DE626C35}" type="slidenum">
              <a:rPr lang="en-US" smtClean="0"/>
              <a:pPr/>
              <a:t>150</a:t>
            </a:fld>
            <a:endParaRPr lang="en-US" dirty="0"/>
          </a:p>
        </p:txBody>
      </p:sp>
    </p:spTree>
    <p:extLst>
      <p:ext uri="{BB962C8B-B14F-4D97-AF65-F5344CB8AC3E}">
        <p14:creationId xmlns:p14="http://schemas.microsoft.com/office/powerpoint/2010/main" val="382317491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7C4124B-B9D5-4FB9-AA46-3262DD2B40DB}"/>
              </a:ext>
            </a:extLst>
          </p:cNvPr>
          <p:cNvSpPr>
            <a:spLocks noGrp="1"/>
          </p:cNvSpPr>
          <p:nvPr>
            <p:ph type="title"/>
          </p:nvPr>
        </p:nvSpPr>
        <p:spPr/>
        <p:txBody>
          <a:bodyPr/>
          <a:lstStyle/>
          <a:p>
            <a:r>
              <a:rPr lang="en-US" dirty="0"/>
              <a:t>Barriers/</a:t>
            </a:r>
            <a:br>
              <a:rPr lang="en-US" dirty="0"/>
            </a:br>
            <a:r>
              <a:rPr lang="en-US" dirty="0"/>
              <a:t>Resistance</a:t>
            </a:r>
          </a:p>
        </p:txBody>
      </p:sp>
      <p:sp>
        <p:nvSpPr>
          <p:cNvPr id="10" name="Freeform: Shape 9" descr="Add text and order accordingly">
            <a:hlinkClick r:id="rId2" action="ppaction://hlinksldjump" tooltip="Return to Index"/>
            <a:extLst>
              <a:ext uri="{FF2B5EF4-FFF2-40B4-BE49-F238E27FC236}">
                <a16:creationId xmlns:a16="http://schemas.microsoft.com/office/drawing/2014/main" id="{0DE3F75C-CF1B-47BB-A358-FF97AF03C85D}"/>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 Placeholder 8">
            <a:extLst>
              <a:ext uri="{FF2B5EF4-FFF2-40B4-BE49-F238E27FC236}">
                <a16:creationId xmlns:a16="http://schemas.microsoft.com/office/drawing/2014/main" id="{1265ADBE-657A-4DC7-A6A6-2F0E697C4723}"/>
              </a:ext>
            </a:extLst>
          </p:cNvPr>
          <p:cNvSpPr>
            <a:spLocks noGrp="1"/>
          </p:cNvSpPr>
          <p:nvPr>
            <p:ph type="body" sz="quarter" idx="15"/>
          </p:nvPr>
        </p:nvSpPr>
        <p:spPr/>
        <p:txBody>
          <a:bodyPr/>
          <a:lstStyle/>
          <a:p>
            <a:r>
              <a:rPr lang="en-US" dirty="0"/>
              <a:t>Part of </a:t>
            </a:r>
            <a:br>
              <a:rPr lang="en-US" dirty="0"/>
            </a:br>
            <a:r>
              <a:rPr lang="en-US" dirty="0">
                <a:hlinkClick r:id="rId3" action="ppaction://hlinksldjump">
                  <a:extLst>
                    <a:ext uri="{A12FA001-AC4F-418D-AE19-62706E023703}">
                      <ahyp:hlinkClr xmlns:ahyp="http://schemas.microsoft.com/office/drawing/2018/hyperlinkcolor" val="tx"/>
                    </a:ext>
                  </a:extLst>
                </a:hlinkClick>
              </a:rPr>
              <a:t>Dynamic Concepts</a:t>
            </a:r>
            <a:endParaRPr lang="en-US" dirty="0"/>
          </a:p>
        </p:txBody>
      </p:sp>
      <p:sp>
        <p:nvSpPr>
          <p:cNvPr id="5" name="Footer Placeholder 4">
            <a:extLst>
              <a:ext uri="{FF2B5EF4-FFF2-40B4-BE49-F238E27FC236}">
                <a16:creationId xmlns:a16="http://schemas.microsoft.com/office/drawing/2014/main" id="{9DC78945-A645-4563-BCA9-927812C9C4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BEE2891-AE3F-4D8A-B562-5662B242B3DF}"/>
              </a:ext>
            </a:extLst>
          </p:cNvPr>
          <p:cNvSpPr>
            <a:spLocks noGrp="1"/>
          </p:cNvSpPr>
          <p:nvPr>
            <p:ph type="sldNum" sz="quarter" idx="17"/>
          </p:nvPr>
        </p:nvSpPr>
        <p:spPr/>
        <p:txBody>
          <a:bodyPr/>
          <a:lstStyle/>
          <a:p>
            <a:fld id="{1F90F471-3972-4120-B8B3-0237DE626C35}" type="slidenum">
              <a:rPr lang="en-US" smtClean="0"/>
              <a:pPr/>
              <a:t>151</a:t>
            </a:fld>
            <a:endParaRPr lang="en-US" dirty="0"/>
          </a:p>
        </p:txBody>
      </p:sp>
    </p:spTree>
    <p:extLst>
      <p:ext uri="{BB962C8B-B14F-4D97-AF65-F5344CB8AC3E}">
        <p14:creationId xmlns:p14="http://schemas.microsoft.com/office/powerpoint/2010/main" val="4213449439"/>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Barriers/Obstacles 1</a:t>
            </a:r>
          </a:p>
        </p:txBody>
      </p:sp>
      <p:sp>
        <p:nvSpPr>
          <p:cNvPr id="9" name="Rectangle 5">
            <a:extLst>
              <a:ext uri="{FF2B5EF4-FFF2-40B4-BE49-F238E27FC236}">
                <a16:creationId xmlns:a16="http://schemas.microsoft.com/office/drawing/2014/main" id="{23DB85F3-D47E-438D-90CD-C7F84C0FCE44}"/>
              </a:ext>
            </a:extLst>
          </p:cNvPr>
          <p:cNvSpPr>
            <a:spLocks noChangeAspect="1" noChangeArrowheads="1"/>
          </p:cNvSpPr>
          <p:nvPr/>
        </p:nvSpPr>
        <p:spPr bwMode="auto">
          <a:xfrm>
            <a:off x="4438650" y="1376362"/>
            <a:ext cx="3323160" cy="1871640"/>
          </a:xfrm>
          <a:prstGeom prst="rect">
            <a:avLst/>
          </a:prstGeom>
          <a:solidFill>
            <a:schemeClr val="tx2">
              <a:lumMod val="20000"/>
              <a:lumOff val="80000"/>
            </a:schemeClr>
          </a:solidFill>
          <a:ln w="6350">
            <a:noFill/>
            <a:miter lim="800000"/>
            <a:headEnd/>
            <a:tailEnd/>
          </a:ln>
          <a:effectLst/>
        </p:spPr>
        <p:txBody>
          <a:bodyPr lIns="180000" tIns="180000" rIns="72000" bIns="72000"/>
          <a:lstStyle/>
          <a:p>
            <a:pPr marL="174625" indent="-174625" algn="l" eaLnBrk="0" hangingPunct="0">
              <a:spcBef>
                <a:spcPts val="100"/>
              </a:spcBef>
              <a:spcAft>
                <a:spcPts val="100"/>
              </a:spcAft>
              <a:buClr>
                <a:schemeClr val="tx1"/>
              </a:buClr>
            </a:pPr>
            <a:r>
              <a:rPr lang="en-US" dirty="0">
                <a:latin typeface="+mj-lt"/>
              </a:rPr>
              <a:t>Text</a:t>
            </a:r>
            <a:endParaRPr lang="en-US" cap="all" dirty="0">
              <a:latin typeface="+mj-lt"/>
            </a:endParaRPr>
          </a:p>
          <a:p>
            <a:pPr marL="174625" indent="-174625" algn="l" eaLnBrk="0" hangingPunct="0">
              <a:spcBef>
                <a:spcPts val="100"/>
              </a:spcBef>
              <a:spcAft>
                <a:spcPts val="100"/>
              </a:spcAft>
              <a:buFontTx/>
              <a:buChar char="•"/>
            </a:pPr>
            <a:r>
              <a:rPr lang="en-US" dirty="0"/>
              <a:t>Text</a:t>
            </a:r>
          </a:p>
          <a:p>
            <a:pPr marL="174625" indent="-174625" algn="l" eaLnBrk="0" hangingPunct="0">
              <a:spcBef>
                <a:spcPts val="100"/>
              </a:spcBef>
              <a:spcAft>
                <a:spcPts val="100"/>
              </a:spcAft>
              <a:buFontTx/>
              <a:buChar char="•"/>
            </a:pPr>
            <a:r>
              <a:rPr lang="en-US" dirty="0"/>
              <a:t>Text</a:t>
            </a:r>
          </a:p>
          <a:p>
            <a:pPr marL="174625" indent="-174625" algn="l" eaLnBrk="0" hangingPunct="0">
              <a:spcBef>
                <a:spcPts val="100"/>
              </a:spcBef>
              <a:spcAft>
                <a:spcPts val="100"/>
              </a:spcAft>
              <a:buFontTx/>
              <a:buChar char="•"/>
            </a:pPr>
            <a:r>
              <a:rPr lang="en-US" dirty="0"/>
              <a:t>Text</a:t>
            </a:r>
          </a:p>
        </p:txBody>
      </p:sp>
      <p:sp>
        <p:nvSpPr>
          <p:cNvPr id="7" name="Rectangle 4">
            <a:extLst>
              <a:ext uri="{FF2B5EF4-FFF2-40B4-BE49-F238E27FC236}">
                <a16:creationId xmlns:a16="http://schemas.microsoft.com/office/drawing/2014/main" id="{DB3928D1-C925-4698-94B5-74A2E8165B1E}"/>
              </a:ext>
            </a:extLst>
          </p:cNvPr>
          <p:cNvSpPr>
            <a:spLocks noChangeAspect="1" noChangeArrowheads="1"/>
          </p:cNvSpPr>
          <p:nvPr/>
        </p:nvSpPr>
        <p:spPr bwMode="auto">
          <a:xfrm>
            <a:off x="1822450" y="3382522"/>
            <a:ext cx="8540750" cy="552239"/>
          </a:xfrm>
          <a:prstGeom prst="rect">
            <a:avLst/>
          </a:prstGeom>
          <a:solidFill>
            <a:schemeClr val="accent2"/>
          </a:solidFill>
          <a:ln w="19050">
            <a:noFill/>
          </a:ln>
        </p:spPr>
        <p:txBody>
          <a:bodyPr vert="horz" wrap="square" lIns="0" tIns="36000" rIns="0" bIns="0" rtlCol="0" anchor="ctr">
            <a:noAutofit/>
          </a:bodyPr>
          <a:lstStyle/>
          <a:p>
            <a:pPr algn="ctr">
              <a:lnSpc>
                <a:spcPct val="85000"/>
              </a:lnSpc>
            </a:pPr>
            <a:r>
              <a:rPr lang="en-US" dirty="0">
                <a:solidFill>
                  <a:schemeClr val="bg1"/>
                </a:solidFill>
                <a:latin typeface="+mj-lt"/>
              </a:rPr>
              <a:t>Text</a:t>
            </a:r>
            <a:endParaRPr lang="en-US" cap="all" dirty="0">
              <a:solidFill>
                <a:schemeClr val="bg1"/>
              </a:solidFill>
              <a:latin typeface="+mj-lt"/>
            </a:endParaRPr>
          </a:p>
        </p:txBody>
      </p:sp>
      <p:sp>
        <p:nvSpPr>
          <p:cNvPr id="13" name="AutoShape 6" descr="Insert text here">
            <a:extLst>
              <a:ext uri="{FF2B5EF4-FFF2-40B4-BE49-F238E27FC236}">
                <a16:creationId xmlns:a16="http://schemas.microsoft.com/office/drawing/2014/main" id="{542D213C-8747-4F2B-AFA8-622E61DAE537}"/>
              </a:ext>
              <a:ext uri="{C183D7F6-B498-43B3-948B-1728B52AA6E4}">
                <adec:decorative xmlns:adec="http://schemas.microsoft.com/office/drawing/2017/decorative" val="0"/>
              </a:ext>
            </a:extLst>
          </p:cNvPr>
          <p:cNvSpPr>
            <a:spLocks noChangeAspect="1" noChangeArrowheads="1"/>
          </p:cNvSpPr>
          <p:nvPr/>
        </p:nvSpPr>
        <p:spPr bwMode="auto">
          <a:xfrm rot="5400000">
            <a:off x="5105921" y="3402010"/>
            <a:ext cx="1988617" cy="3323160"/>
          </a:xfrm>
          <a:prstGeom prst="homePlate">
            <a:avLst>
              <a:gd name="adj" fmla="val 25000"/>
            </a:avLst>
          </a:prstGeom>
          <a:solidFill>
            <a:schemeClr val="tx2">
              <a:lumMod val="20000"/>
              <a:lumOff val="80000"/>
            </a:schemeClr>
          </a:solidFill>
          <a:ln w="6350">
            <a:noFill/>
            <a:miter lim="800000"/>
            <a:headEnd/>
            <a:tailEnd/>
          </a:ln>
          <a:effectLst/>
        </p:spPr>
        <p:txBody>
          <a:bodyPr rot="10800000" vert="eaVert" lIns="72000" tIns="72000" rIns="72000" bIns="72000" anchor="ctr" anchorCtr="1"/>
          <a:lstStyle/>
          <a:p>
            <a:pPr eaLnBrk="0" hangingPunct="0">
              <a:spcBef>
                <a:spcPct val="0"/>
              </a:spcBef>
              <a:buClr>
                <a:schemeClr val="folHlink"/>
              </a:buClr>
            </a:pPr>
            <a:endParaRPr lang="de-DE"/>
          </a:p>
        </p:txBody>
      </p:sp>
      <p:sp>
        <p:nvSpPr>
          <p:cNvPr id="4" name="Footer Placeholder 3">
            <a:extLst>
              <a:ext uri="{FF2B5EF4-FFF2-40B4-BE49-F238E27FC236}">
                <a16:creationId xmlns:a16="http://schemas.microsoft.com/office/drawing/2014/main" id="{43E21C18-7845-48F8-814E-5E0BB8312E6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E17F2076-E14C-4E68-968D-317E34C94E63}"/>
              </a:ext>
            </a:extLst>
          </p:cNvPr>
          <p:cNvSpPr>
            <a:spLocks noGrp="1"/>
          </p:cNvSpPr>
          <p:nvPr>
            <p:ph type="sldNum" sz="quarter" idx="10"/>
          </p:nvPr>
        </p:nvSpPr>
        <p:spPr/>
        <p:txBody>
          <a:bodyPr/>
          <a:lstStyle/>
          <a:p>
            <a:fld id="{1F90F471-3972-4120-B8B3-0237DE626C35}" type="slidenum">
              <a:rPr lang="en-US" smtClean="0"/>
              <a:pPr/>
              <a:t>152</a:t>
            </a:fld>
            <a:endParaRPr lang="en-US" dirty="0"/>
          </a:p>
        </p:txBody>
      </p:sp>
    </p:spTree>
    <p:extLst>
      <p:ext uri="{BB962C8B-B14F-4D97-AF65-F5344CB8AC3E}">
        <p14:creationId xmlns:p14="http://schemas.microsoft.com/office/powerpoint/2010/main" val="319552640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Barriers/Obstacles 2</a:t>
            </a:r>
          </a:p>
        </p:txBody>
      </p:sp>
      <p:sp>
        <p:nvSpPr>
          <p:cNvPr id="14" name="AutoShape 4">
            <a:extLst>
              <a:ext uri="{FF2B5EF4-FFF2-40B4-BE49-F238E27FC236}">
                <a16:creationId xmlns:a16="http://schemas.microsoft.com/office/drawing/2014/main" id="{47F98249-0B95-48C7-8939-074A68E71A64}"/>
              </a:ext>
            </a:extLst>
          </p:cNvPr>
          <p:cNvSpPr>
            <a:spLocks noChangeAspect="1" noChangeArrowheads="1"/>
          </p:cNvSpPr>
          <p:nvPr/>
        </p:nvSpPr>
        <p:spPr bwMode="auto">
          <a:xfrm>
            <a:off x="1410570" y="1955592"/>
            <a:ext cx="1933033" cy="1022794"/>
          </a:xfrm>
          <a:prstGeom prst="homePlate">
            <a:avLst>
              <a:gd name="adj" fmla="val 33205"/>
            </a:avLst>
          </a:prstGeom>
          <a:solidFill>
            <a:schemeClr val="tx2">
              <a:lumMod val="20000"/>
              <a:lumOff val="80000"/>
            </a:schemeClr>
          </a:solidFill>
          <a:ln w="6350">
            <a:noFill/>
            <a:miter lim="800000"/>
            <a:headEnd/>
            <a:tailEnd/>
          </a:ln>
          <a:effectLst/>
        </p:spPr>
        <p:txBody>
          <a:bodyPr lIns="72000" tIns="72000" rIns="72000" bIns="72000" anchor="ctr" anchorCtr="1"/>
          <a:lstStyle/>
          <a:p>
            <a:pPr eaLnBrk="0" hangingPunct="0"/>
            <a:r>
              <a:rPr lang="en-US" dirty="0"/>
              <a:t>Text</a:t>
            </a:r>
          </a:p>
        </p:txBody>
      </p:sp>
      <p:sp>
        <p:nvSpPr>
          <p:cNvPr id="16" name="AutoShape 7">
            <a:extLst>
              <a:ext uri="{FF2B5EF4-FFF2-40B4-BE49-F238E27FC236}">
                <a16:creationId xmlns:a16="http://schemas.microsoft.com/office/drawing/2014/main" id="{91A991E6-E420-4E97-9897-B982B76996D0}"/>
              </a:ext>
            </a:extLst>
          </p:cNvPr>
          <p:cNvSpPr>
            <a:spLocks noChangeAspect="1" noChangeArrowheads="1"/>
          </p:cNvSpPr>
          <p:nvPr/>
        </p:nvSpPr>
        <p:spPr bwMode="auto">
          <a:xfrm>
            <a:off x="3632334" y="1955592"/>
            <a:ext cx="1935480" cy="1022794"/>
          </a:xfrm>
          <a:prstGeom prst="homePlate">
            <a:avLst>
              <a:gd name="adj" fmla="val 33247"/>
            </a:avLst>
          </a:prstGeom>
          <a:solidFill>
            <a:schemeClr val="tx2">
              <a:lumMod val="20000"/>
              <a:lumOff val="80000"/>
            </a:schemeClr>
          </a:solidFill>
          <a:ln w="6350">
            <a:noFill/>
            <a:miter lim="800000"/>
            <a:headEnd/>
            <a:tailEnd/>
          </a:ln>
          <a:effectLst/>
        </p:spPr>
        <p:txBody>
          <a:bodyPr lIns="72000" tIns="72000" rIns="72000" bIns="72000" anchor="ctr" anchorCtr="1"/>
          <a:lstStyle/>
          <a:p>
            <a:pPr eaLnBrk="0" hangingPunct="0"/>
            <a:r>
              <a:rPr lang="en-US"/>
              <a:t>Text</a:t>
            </a:r>
          </a:p>
        </p:txBody>
      </p:sp>
      <p:sp>
        <p:nvSpPr>
          <p:cNvPr id="18" name="AutoShape 8">
            <a:extLst>
              <a:ext uri="{FF2B5EF4-FFF2-40B4-BE49-F238E27FC236}">
                <a16:creationId xmlns:a16="http://schemas.microsoft.com/office/drawing/2014/main" id="{E1EC64FA-ECCE-442A-BBF1-11B6159500D4}"/>
              </a:ext>
            </a:extLst>
          </p:cNvPr>
          <p:cNvSpPr>
            <a:spLocks noChangeAspect="1" noChangeArrowheads="1"/>
          </p:cNvSpPr>
          <p:nvPr/>
        </p:nvSpPr>
        <p:spPr bwMode="auto">
          <a:xfrm>
            <a:off x="2281660" y="3134986"/>
            <a:ext cx="1933033" cy="1022794"/>
          </a:xfrm>
          <a:prstGeom prst="homePlate">
            <a:avLst>
              <a:gd name="adj" fmla="val 33205"/>
            </a:avLst>
          </a:prstGeom>
          <a:solidFill>
            <a:schemeClr val="tx2">
              <a:lumMod val="20000"/>
              <a:lumOff val="80000"/>
            </a:schemeClr>
          </a:solidFill>
          <a:ln w="6350">
            <a:noFill/>
            <a:miter lim="800000"/>
            <a:headEnd/>
            <a:tailEnd/>
          </a:ln>
          <a:effectLst/>
        </p:spPr>
        <p:txBody>
          <a:bodyPr lIns="72000" tIns="72000" rIns="72000" bIns="72000" anchor="ctr" anchorCtr="1"/>
          <a:lstStyle/>
          <a:p>
            <a:pPr eaLnBrk="0" hangingPunct="0"/>
            <a:r>
              <a:rPr lang="en-US"/>
              <a:t>Text</a:t>
            </a:r>
          </a:p>
        </p:txBody>
      </p:sp>
      <p:sp>
        <p:nvSpPr>
          <p:cNvPr id="20" name="AutoShape 9">
            <a:extLst>
              <a:ext uri="{FF2B5EF4-FFF2-40B4-BE49-F238E27FC236}">
                <a16:creationId xmlns:a16="http://schemas.microsoft.com/office/drawing/2014/main" id="{D70AFC99-679E-4274-9C32-181A124CE3DA}"/>
              </a:ext>
            </a:extLst>
          </p:cNvPr>
          <p:cNvSpPr>
            <a:spLocks noChangeAspect="1" noChangeArrowheads="1"/>
          </p:cNvSpPr>
          <p:nvPr/>
        </p:nvSpPr>
        <p:spPr bwMode="auto">
          <a:xfrm>
            <a:off x="4505870" y="3134986"/>
            <a:ext cx="1933033" cy="1022794"/>
          </a:xfrm>
          <a:prstGeom prst="homePlate">
            <a:avLst>
              <a:gd name="adj" fmla="val 33205"/>
            </a:avLst>
          </a:prstGeom>
          <a:solidFill>
            <a:schemeClr val="tx2">
              <a:lumMod val="20000"/>
              <a:lumOff val="80000"/>
            </a:schemeClr>
          </a:solidFill>
          <a:ln w="6350">
            <a:noFill/>
            <a:miter lim="800000"/>
            <a:headEnd/>
            <a:tailEnd/>
          </a:ln>
          <a:effectLst/>
        </p:spPr>
        <p:txBody>
          <a:bodyPr lIns="72000" tIns="72000" rIns="72000" bIns="72000" anchor="ctr" anchorCtr="1"/>
          <a:lstStyle/>
          <a:p>
            <a:pPr eaLnBrk="0" hangingPunct="0"/>
            <a:r>
              <a:rPr lang="en-US"/>
              <a:t>Text</a:t>
            </a:r>
          </a:p>
        </p:txBody>
      </p:sp>
      <p:sp>
        <p:nvSpPr>
          <p:cNvPr id="22" name="AutoShape 10">
            <a:extLst>
              <a:ext uri="{FF2B5EF4-FFF2-40B4-BE49-F238E27FC236}">
                <a16:creationId xmlns:a16="http://schemas.microsoft.com/office/drawing/2014/main" id="{D5338148-B2AE-4F12-A226-3ACF61809F0F}"/>
              </a:ext>
            </a:extLst>
          </p:cNvPr>
          <p:cNvSpPr>
            <a:spLocks noChangeAspect="1" noChangeArrowheads="1"/>
          </p:cNvSpPr>
          <p:nvPr/>
        </p:nvSpPr>
        <p:spPr bwMode="auto">
          <a:xfrm>
            <a:off x="1315144" y="4314381"/>
            <a:ext cx="1933033" cy="1022794"/>
          </a:xfrm>
          <a:prstGeom prst="homePlate">
            <a:avLst>
              <a:gd name="adj" fmla="val 33205"/>
            </a:avLst>
          </a:prstGeom>
          <a:solidFill>
            <a:schemeClr val="tx2">
              <a:lumMod val="20000"/>
              <a:lumOff val="80000"/>
            </a:schemeClr>
          </a:solidFill>
          <a:ln w="6350">
            <a:noFill/>
            <a:miter lim="800000"/>
            <a:headEnd/>
            <a:tailEnd/>
          </a:ln>
          <a:effectLst/>
        </p:spPr>
        <p:txBody>
          <a:bodyPr lIns="72000" tIns="72000" rIns="72000" bIns="72000" anchor="ctr" anchorCtr="1"/>
          <a:lstStyle/>
          <a:p>
            <a:pPr eaLnBrk="0" hangingPunct="0"/>
            <a:r>
              <a:rPr lang="en-US"/>
              <a:t>Text</a:t>
            </a:r>
          </a:p>
        </p:txBody>
      </p:sp>
      <p:sp>
        <p:nvSpPr>
          <p:cNvPr id="24" name="AutoShape 11">
            <a:extLst>
              <a:ext uri="{FF2B5EF4-FFF2-40B4-BE49-F238E27FC236}">
                <a16:creationId xmlns:a16="http://schemas.microsoft.com/office/drawing/2014/main" id="{73516520-8417-4BFB-AE2E-97F33F232469}"/>
              </a:ext>
            </a:extLst>
          </p:cNvPr>
          <p:cNvSpPr>
            <a:spLocks noChangeAspect="1" noChangeArrowheads="1"/>
          </p:cNvSpPr>
          <p:nvPr/>
        </p:nvSpPr>
        <p:spPr bwMode="auto">
          <a:xfrm>
            <a:off x="3539353" y="4314381"/>
            <a:ext cx="1933033" cy="1022794"/>
          </a:xfrm>
          <a:prstGeom prst="homePlate">
            <a:avLst>
              <a:gd name="adj" fmla="val 33205"/>
            </a:avLst>
          </a:prstGeom>
          <a:solidFill>
            <a:schemeClr val="tx2">
              <a:lumMod val="20000"/>
              <a:lumOff val="80000"/>
            </a:schemeClr>
          </a:solidFill>
          <a:ln w="6350">
            <a:noFill/>
            <a:miter lim="800000"/>
            <a:headEnd/>
            <a:tailEnd/>
          </a:ln>
          <a:effectLst/>
        </p:spPr>
        <p:txBody>
          <a:bodyPr lIns="72000" tIns="72000" rIns="72000" bIns="72000" anchor="ctr" anchorCtr="1"/>
          <a:lstStyle/>
          <a:p>
            <a:pPr eaLnBrk="0" hangingPunct="0"/>
            <a:r>
              <a:rPr lang="en-US"/>
              <a:t>Text</a:t>
            </a:r>
          </a:p>
        </p:txBody>
      </p:sp>
      <p:sp>
        <p:nvSpPr>
          <p:cNvPr id="28" name="Rectangle 27">
            <a:extLst>
              <a:ext uri="{FF2B5EF4-FFF2-40B4-BE49-F238E27FC236}">
                <a16:creationId xmlns:a16="http://schemas.microsoft.com/office/drawing/2014/main" id="{EE850A22-4F3B-41B0-9CF9-E16CF2D25657}"/>
              </a:ext>
            </a:extLst>
          </p:cNvPr>
          <p:cNvSpPr>
            <a:spLocks noChangeAspect="1" noChangeArrowheads="1"/>
          </p:cNvSpPr>
          <p:nvPr/>
        </p:nvSpPr>
        <p:spPr bwMode="auto">
          <a:xfrm rot="16200000">
            <a:off x="4459096" y="3370264"/>
            <a:ext cx="4823032" cy="552239"/>
          </a:xfrm>
          <a:prstGeom prst="rect">
            <a:avLst/>
          </a:prstGeom>
          <a:solidFill>
            <a:schemeClr val="accent2"/>
          </a:solidFill>
          <a:ln w="19050">
            <a:noFill/>
          </a:ln>
        </p:spPr>
        <p:txBody>
          <a:bodyPr vert="horz" wrap="square" lIns="0" tIns="36000" rIns="0" bIns="0" rtlCol="0" anchor="ctr">
            <a:noAutofit/>
          </a:bodyPr>
          <a:lstStyle/>
          <a:p>
            <a:pPr algn="ctr">
              <a:lnSpc>
                <a:spcPct val="85000"/>
              </a:lnSpc>
            </a:pPr>
            <a:r>
              <a:rPr lang="en-US" dirty="0">
                <a:solidFill>
                  <a:schemeClr val="bg1"/>
                </a:solidFill>
                <a:latin typeface="+mj-lt"/>
              </a:rPr>
              <a:t>Text</a:t>
            </a:r>
            <a:endParaRPr lang="en-US" cap="all" dirty="0">
              <a:solidFill>
                <a:schemeClr val="bg1"/>
              </a:solidFill>
              <a:latin typeface="+mj-lt"/>
            </a:endParaRPr>
          </a:p>
        </p:txBody>
      </p:sp>
      <p:sp>
        <p:nvSpPr>
          <p:cNvPr id="26" name="AutoShape 7">
            <a:extLst>
              <a:ext uri="{FF2B5EF4-FFF2-40B4-BE49-F238E27FC236}">
                <a16:creationId xmlns:a16="http://schemas.microsoft.com/office/drawing/2014/main" id="{FB8F6737-CC12-4EEB-9C5C-AA5D72E3E5EA}"/>
              </a:ext>
            </a:extLst>
          </p:cNvPr>
          <p:cNvSpPr>
            <a:spLocks noChangeAspect="1" noChangeArrowheads="1"/>
          </p:cNvSpPr>
          <p:nvPr/>
        </p:nvSpPr>
        <p:spPr bwMode="auto">
          <a:xfrm>
            <a:off x="7302321" y="1955592"/>
            <a:ext cx="3413313" cy="3381583"/>
          </a:xfrm>
          <a:prstGeom prst="homePlate">
            <a:avLst>
              <a:gd name="adj" fmla="val 32103"/>
            </a:avLst>
          </a:prstGeom>
          <a:solidFill>
            <a:schemeClr val="accent3"/>
          </a:solidFill>
          <a:ln w="6350">
            <a:noFill/>
            <a:miter lim="800000"/>
            <a:headEnd/>
            <a:tailEnd/>
          </a:ln>
          <a:effectLst/>
        </p:spPr>
        <p:txBody>
          <a:bodyPr lIns="216000" tIns="180000" rIns="72000" bIns="72000" anchor="t"/>
          <a:lstStyle/>
          <a:p>
            <a:pPr marL="0" lvl="1" algn="l" eaLnBrk="0" hangingPunct="0">
              <a:lnSpc>
                <a:spcPct val="85000"/>
              </a:lnSpc>
              <a:spcBef>
                <a:spcPts val="100"/>
              </a:spcBef>
              <a:spcAft>
                <a:spcPts val="300"/>
              </a:spcAft>
              <a:buClr>
                <a:schemeClr val="folHlink"/>
              </a:buClr>
            </a:pPr>
            <a:r>
              <a:rPr lang="en-US" sz="1600" b="1" dirty="0">
                <a:solidFill>
                  <a:schemeClr val="bg1"/>
                </a:solidFill>
                <a:latin typeface="+mj-lt"/>
              </a:rPr>
              <a:t>Text</a:t>
            </a:r>
            <a:endParaRPr lang="en-US" sz="1600" b="1" cap="all" dirty="0">
              <a:solidFill>
                <a:schemeClr val="bg1"/>
              </a:solidFill>
              <a:latin typeface="+mj-lt"/>
            </a:endParaRPr>
          </a:p>
          <a:p>
            <a:pPr marL="177800" lvl="1" indent="-177800" algn="l" eaLnBrk="0" hangingPunct="0">
              <a:spcBef>
                <a:spcPts val="100"/>
              </a:spcBef>
              <a:spcAft>
                <a:spcPts val="100"/>
              </a:spcAft>
              <a:buFontTx/>
              <a:buChar char="•"/>
            </a:pPr>
            <a:r>
              <a:rPr lang="en-US" sz="1600" dirty="0">
                <a:solidFill>
                  <a:schemeClr val="bg1"/>
                </a:solidFill>
              </a:rPr>
              <a:t>Text</a:t>
            </a:r>
          </a:p>
          <a:p>
            <a:pPr marL="177800" lvl="1" indent="-177800" algn="l" eaLnBrk="0" hangingPunct="0">
              <a:spcBef>
                <a:spcPts val="100"/>
              </a:spcBef>
              <a:spcAft>
                <a:spcPts val="100"/>
              </a:spcAft>
              <a:buFontTx/>
              <a:buChar char="•"/>
            </a:pPr>
            <a:r>
              <a:rPr lang="en-US" sz="1600" dirty="0">
                <a:solidFill>
                  <a:schemeClr val="bg1"/>
                </a:solidFill>
              </a:rPr>
              <a:t>Text</a:t>
            </a:r>
          </a:p>
          <a:p>
            <a:pPr marL="177800" lvl="1" indent="-177800" algn="l" eaLnBrk="0" hangingPunct="0">
              <a:spcBef>
                <a:spcPts val="100"/>
              </a:spcBef>
              <a:spcAft>
                <a:spcPts val="100"/>
              </a:spcAft>
              <a:buFontTx/>
              <a:buChar char="•"/>
            </a:pPr>
            <a:r>
              <a:rPr lang="en-US" sz="1600" dirty="0">
                <a:solidFill>
                  <a:schemeClr val="bg1"/>
                </a:solidFill>
              </a:rPr>
              <a:t>Text</a:t>
            </a:r>
          </a:p>
        </p:txBody>
      </p:sp>
      <p:sp>
        <p:nvSpPr>
          <p:cNvPr id="4" name="Footer Placeholder 3">
            <a:extLst>
              <a:ext uri="{FF2B5EF4-FFF2-40B4-BE49-F238E27FC236}">
                <a16:creationId xmlns:a16="http://schemas.microsoft.com/office/drawing/2014/main" id="{6E4B7244-670A-40FA-A7F3-CD918F46E2AD}"/>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0786C1B0-50B3-4980-B1FB-A0FA4264DA7A}"/>
              </a:ext>
            </a:extLst>
          </p:cNvPr>
          <p:cNvSpPr>
            <a:spLocks noGrp="1"/>
          </p:cNvSpPr>
          <p:nvPr>
            <p:ph type="sldNum" sz="quarter" idx="10"/>
          </p:nvPr>
        </p:nvSpPr>
        <p:spPr/>
        <p:txBody>
          <a:bodyPr/>
          <a:lstStyle/>
          <a:p>
            <a:fld id="{1F90F471-3972-4120-B8B3-0237DE626C35}" type="slidenum">
              <a:rPr lang="en-US" smtClean="0"/>
              <a:pPr/>
              <a:t>153</a:t>
            </a:fld>
            <a:endParaRPr lang="en-US" dirty="0"/>
          </a:p>
        </p:txBody>
      </p:sp>
    </p:spTree>
    <p:extLst>
      <p:ext uri="{BB962C8B-B14F-4D97-AF65-F5344CB8AC3E}">
        <p14:creationId xmlns:p14="http://schemas.microsoft.com/office/powerpoint/2010/main" val="989982673"/>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Barriers/Obstacles 3</a:t>
            </a:r>
          </a:p>
        </p:txBody>
      </p:sp>
      <p:sp>
        <p:nvSpPr>
          <p:cNvPr id="14" name="Arrow: Right 13">
            <a:extLst>
              <a:ext uri="{FF2B5EF4-FFF2-40B4-BE49-F238E27FC236}">
                <a16:creationId xmlns:a16="http://schemas.microsoft.com/office/drawing/2014/main" id="{8284E2DA-70EA-4DB8-82C2-62823AA0660F}"/>
              </a:ext>
            </a:extLst>
          </p:cNvPr>
          <p:cNvSpPr/>
          <p:nvPr/>
        </p:nvSpPr>
        <p:spPr>
          <a:xfrm>
            <a:off x="1822450" y="2568146"/>
            <a:ext cx="4772039" cy="2156475"/>
          </a:xfrm>
          <a:prstGeom prst="rightArrow">
            <a:avLst/>
          </a:prstGeom>
          <a:pattFill prst="dkUpDiag">
            <a:fgClr>
              <a:srgbClr val="96968C">
                <a:lumMod val="40000"/>
                <a:lumOff val="60000"/>
              </a:srgbClr>
            </a:fgClr>
            <a:bgClr>
              <a:srgbClr val="FFFFFF"/>
            </a:bgClr>
          </a:pattFill>
          <a:ln w="9525" cap="flat" cmpd="sng" algn="ctr">
            <a:noFill/>
            <a:prstDash val="solid"/>
          </a:ln>
          <a:effectLst/>
        </p:spPr>
        <p:txBody>
          <a:bodyPr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AU" sz="1800" b="1" i="0" u="none" strike="noStrike" kern="0" cap="none" spc="0" normalizeH="0" baseline="0" noProof="0" dirty="0">
                <a:ln>
                  <a:noFill/>
                </a:ln>
                <a:solidFill>
                  <a:schemeClr val="accent1"/>
                </a:solidFill>
                <a:effectLst/>
                <a:uLnTx/>
                <a:uFillTx/>
                <a:latin typeface="Arial Black"/>
                <a:ea typeface="+mn-ea"/>
                <a:cs typeface="+mn-cs"/>
              </a:rPr>
              <a:t>Text</a:t>
            </a:r>
            <a:endParaRPr kumimoji="0" lang="en-GB" sz="1800" b="1" i="0" u="none" strike="noStrike" kern="0" cap="all" spc="0" normalizeH="0" baseline="0" noProof="0" dirty="0">
              <a:ln>
                <a:noFill/>
              </a:ln>
              <a:solidFill>
                <a:schemeClr val="accent1"/>
              </a:solidFill>
              <a:effectLst/>
              <a:uLnTx/>
              <a:uFillTx/>
              <a:latin typeface="Arial Black"/>
              <a:ea typeface="+mn-ea"/>
              <a:cs typeface="+mn-cs"/>
            </a:endParaRPr>
          </a:p>
        </p:txBody>
      </p:sp>
      <p:sp>
        <p:nvSpPr>
          <p:cNvPr id="13" name="Rectangle 12">
            <a:extLst>
              <a:ext uri="{FF2B5EF4-FFF2-40B4-BE49-F238E27FC236}">
                <a16:creationId xmlns:a16="http://schemas.microsoft.com/office/drawing/2014/main" id="{FF8C1697-04DE-471B-8C84-59C7C6EAC653}"/>
              </a:ext>
            </a:extLst>
          </p:cNvPr>
          <p:cNvSpPr>
            <a:spLocks noChangeAspect="1" noChangeArrowheads="1"/>
          </p:cNvSpPr>
          <p:nvPr/>
        </p:nvSpPr>
        <p:spPr bwMode="auto">
          <a:xfrm rot="16200000">
            <a:off x="4459096" y="3370264"/>
            <a:ext cx="4823032" cy="552239"/>
          </a:xfrm>
          <a:prstGeom prst="rect">
            <a:avLst/>
          </a:prstGeom>
          <a:solidFill>
            <a:schemeClr val="accent2"/>
          </a:solidFill>
          <a:ln w="19050">
            <a:noFill/>
          </a:ln>
        </p:spPr>
        <p:txBody>
          <a:bodyPr vert="horz" wrap="square" lIns="0" tIns="36000" rIns="0" bIns="0" rtlCol="0" anchor="ctr">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Black"/>
                <a:ea typeface="+mn-ea"/>
                <a:cs typeface="+mn-cs"/>
              </a:rPr>
              <a:t>Text</a:t>
            </a:r>
            <a:endParaRPr kumimoji="0" lang="en-US" sz="1800" b="0" i="0" u="none" strike="noStrike" kern="0" cap="all" spc="0" normalizeH="0" baseline="0" noProof="0" dirty="0">
              <a:ln>
                <a:noFill/>
              </a:ln>
              <a:solidFill>
                <a:srgbClr val="FFFFFF"/>
              </a:solidFill>
              <a:effectLst/>
              <a:uLnTx/>
              <a:uFillTx/>
              <a:latin typeface="Arial Black"/>
              <a:ea typeface="+mn-ea"/>
              <a:cs typeface="+mn-cs"/>
            </a:endParaRPr>
          </a:p>
        </p:txBody>
      </p:sp>
      <p:sp>
        <p:nvSpPr>
          <p:cNvPr id="4" name="Footer Placeholder 3">
            <a:extLst>
              <a:ext uri="{FF2B5EF4-FFF2-40B4-BE49-F238E27FC236}">
                <a16:creationId xmlns:a16="http://schemas.microsoft.com/office/drawing/2014/main" id="{194C2253-C016-46A2-83BF-9B01E632D6B3}"/>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1A8CF3B0-A572-4454-A8B4-985B21687297}"/>
              </a:ext>
            </a:extLst>
          </p:cNvPr>
          <p:cNvSpPr>
            <a:spLocks noGrp="1"/>
          </p:cNvSpPr>
          <p:nvPr>
            <p:ph type="sldNum" sz="quarter" idx="10"/>
          </p:nvPr>
        </p:nvSpPr>
        <p:spPr/>
        <p:txBody>
          <a:bodyPr/>
          <a:lstStyle/>
          <a:p>
            <a:fld id="{1F90F471-3972-4120-B8B3-0237DE626C35}" type="slidenum">
              <a:rPr lang="en-US" smtClean="0"/>
              <a:pPr/>
              <a:t>154</a:t>
            </a:fld>
            <a:endParaRPr lang="en-US" dirty="0"/>
          </a:p>
        </p:txBody>
      </p:sp>
    </p:spTree>
    <p:extLst>
      <p:ext uri="{BB962C8B-B14F-4D97-AF65-F5344CB8AC3E}">
        <p14:creationId xmlns:p14="http://schemas.microsoft.com/office/powerpoint/2010/main" val="2790532378"/>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Penetrable Barrier</a:t>
            </a:r>
          </a:p>
        </p:txBody>
      </p:sp>
      <p:sp>
        <p:nvSpPr>
          <p:cNvPr id="4" name="Rectangle 3">
            <a:extLst>
              <a:ext uri="{FF2B5EF4-FFF2-40B4-BE49-F238E27FC236}">
                <a16:creationId xmlns:a16="http://schemas.microsoft.com/office/drawing/2014/main" id="{AD2D030E-557A-4B20-AA20-7DB942E8BFD7}"/>
              </a:ext>
            </a:extLst>
          </p:cNvPr>
          <p:cNvSpPr>
            <a:spLocks noChangeAspect="1" noChangeArrowheads="1"/>
          </p:cNvSpPr>
          <p:nvPr/>
        </p:nvSpPr>
        <p:spPr bwMode="auto">
          <a:xfrm>
            <a:off x="1822450" y="4151313"/>
            <a:ext cx="8557156" cy="552239"/>
          </a:xfrm>
          <a:prstGeom prst="rect">
            <a:avLst/>
          </a:prstGeom>
          <a:solidFill>
            <a:schemeClr val="accent2"/>
          </a:solidFill>
          <a:ln w="19050">
            <a:noFill/>
          </a:ln>
        </p:spPr>
        <p:txBody>
          <a:bodyPr vert="horz" wrap="square" lIns="0" tIns="36000" rIns="0" bIns="0" rtlCol="0" anchor="ctr">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Black"/>
                <a:ea typeface="+mn-ea"/>
                <a:cs typeface="+mn-cs"/>
              </a:rPr>
              <a:t>Text</a:t>
            </a:r>
            <a:endParaRPr kumimoji="0" lang="en-US" sz="1800" b="0" i="0" u="none" strike="noStrike" kern="0" cap="all" spc="0" normalizeH="0" baseline="0" noProof="0" dirty="0">
              <a:ln>
                <a:noFill/>
              </a:ln>
              <a:solidFill>
                <a:srgbClr val="FFFFFF"/>
              </a:solidFill>
              <a:effectLst/>
              <a:uLnTx/>
              <a:uFillTx/>
              <a:latin typeface="Arial Black"/>
              <a:ea typeface="+mn-ea"/>
              <a:cs typeface="+mn-cs"/>
            </a:endParaRPr>
          </a:p>
        </p:txBody>
      </p:sp>
      <p:sp>
        <p:nvSpPr>
          <p:cNvPr id="5" name="AutoShape 5">
            <a:extLst>
              <a:ext uri="{FF2B5EF4-FFF2-40B4-BE49-F238E27FC236}">
                <a16:creationId xmlns:a16="http://schemas.microsoft.com/office/drawing/2014/main" id="{444FE11E-B55C-48DC-B757-0C64F937143A}"/>
              </a:ext>
            </a:extLst>
          </p:cNvPr>
          <p:cNvSpPr>
            <a:spLocks noChangeArrowheads="1"/>
          </p:cNvSpPr>
          <p:nvPr/>
        </p:nvSpPr>
        <p:spPr bwMode="auto">
          <a:xfrm rot="16200000" flipH="1">
            <a:off x="2003630" y="2020276"/>
            <a:ext cx="3048000" cy="2265000"/>
          </a:xfrm>
          <a:prstGeom prst="rightArrow">
            <a:avLst>
              <a:gd name="adj1" fmla="val 50000"/>
              <a:gd name="adj2" fmla="val 45387"/>
            </a:avLst>
          </a:prstGeom>
          <a:solidFill>
            <a:srgbClr val="E4E7E7"/>
          </a:solidFill>
          <a:ln w="6350">
            <a:noFill/>
            <a:miter lim="800000"/>
            <a:headEnd/>
            <a:tailEnd/>
          </a:ln>
          <a:effectLst/>
        </p:spPr>
        <p:txBody>
          <a:bodyPr vert="eaVert" wrap="none" lIns="72000" tIns="72000" rIns="72000" bIns="7200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p:txBody>
      </p:sp>
      <p:sp>
        <p:nvSpPr>
          <p:cNvPr id="6" name="AutoShape 6">
            <a:extLst>
              <a:ext uri="{FF2B5EF4-FFF2-40B4-BE49-F238E27FC236}">
                <a16:creationId xmlns:a16="http://schemas.microsoft.com/office/drawing/2014/main" id="{F0D0DAAE-121F-416F-832A-917C2A7DF837}"/>
              </a:ext>
            </a:extLst>
          </p:cNvPr>
          <p:cNvSpPr>
            <a:spLocks noChangeArrowheads="1"/>
          </p:cNvSpPr>
          <p:nvPr/>
        </p:nvSpPr>
        <p:spPr bwMode="auto">
          <a:xfrm rot="16200000" flipH="1">
            <a:off x="7150427" y="2020277"/>
            <a:ext cx="3048000" cy="2264998"/>
          </a:xfrm>
          <a:prstGeom prst="rightArrow">
            <a:avLst>
              <a:gd name="adj1" fmla="val 50000"/>
              <a:gd name="adj2" fmla="val 45387"/>
            </a:avLst>
          </a:prstGeom>
          <a:solidFill>
            <a:srgbClr val="E4E7E7"/>
          </a:solidFill>
          <a:ln w="6350">
            <a:noFill/>
            <a:miter lim="800000"/>
            <a:headEnd/>
            <a:tailEnd/>
          </a:ln>
          <a:effectLst/>
        </p:spPr>
        <p:txBody>
          <a:bodyPr vert="eaVert" wrap="none" lIns="72000" tIns="72000" rIns="72000" bIns="7200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Arial"/>
                <a:ea typeface="+mn-ea"/>
                <a:cs typeface="+mn-cs"/>
              </a:rPr>
              <a:t>Text</a:t>
            </a:r>
          </a:p>
        </p:txBody>
      </p:sp>
      <p:sp>
        <p:nvSpPr>
          <p:cNvPr id="7" name="Footer Placeholder 6">
            <a:extLst>
              <a:ext uri="{FF2B5EF4-FFF2-40B4-BE49-F238E27FC236}">
                <a16:creationId xmlns:a16="http://schemas.microsoft.com/office/drawing/2014/main" id="{A0CFD934-D104-48DC-8707-B620E7A8692E}"/>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9" name="Slide Number Placeholder 8">
            <a:extLst>
              <a:ext uri="{FF2B5EF4-FFF2-40B4-BE49-F238E27FC236}">
                <a16:creationId xmlns:a16="http://schemas.microsoft.com/office/drawing/2014/main" id="{12AC9BC7-0359-47A9-8407-EFFB7AD8540B}"/>
              </a:ext>
            </a:extLst>
          </p:cNvPr>
          <p:cNvSpPr>
            <a:spLocks noGrp="1"/>
          </p:cNvSpPr>
          <p:nvPr>
            <p:ph type="sldNum" sz="quarter" idx="10"/>
          </p:nvPr>
        </p:nvSpPr>
        <p:spPr/>
        <p:txBody>
          <a:bodyPr/>
          <a:lstStyle/>
          <a:p>
            <a:fld id="{1F90F471-3972-4120-B8B3-0237DE626C35}" type="slidenum">
              <a:rPr lang="en-US" smtClean="0"/>
              <a:pPr/>
              <a:t>155</a:t>
            </a:fld>
            <a:endParaRPr lang="en-US" dirty="0"/>
          </a:p>
        </p:txBody>
      </p:sp>
    </p:spTree>
    <p:extLst>
      <p:ext uri="{BB962C8B-B14F-4D97-AF65-F5344CB8AC3E}">
        <p14:creationId xmlns:p14="http://schemas.microsoft.com/office/powerpoint/2010/main" val="2661545434"/>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Resistance 1</a:t>
            </a:r>
          </a:p>
        </p:txBody>
      </p:sp>
      <p:sp>
        <p:nvSpPr>
          <p:cNvPr id="5" name="Freeform 5">
            <a:extLst>
              <a:ext uri="{FF2B5EF4-FFF2-40B4-BE49-F238E27FC236}">
                <a16:creationId xmlns:a16="http://schemas.microsoft.com/office/drawing/2014/main" id="{9228E409-B521-439F-B39A-1AEBE0E9A838}"/>
              </a:ext>
              <a:ext uri="{C183D7F6-B498-43B3-948B-1728B52AA6E4}">
                <adec:decorative xmlns:adec="http://schemas.microsoft.com/office/drawing/2017/decorative" val="1"/>
              </a:ext>
            </a:extLst>
          </p:cNvPr>
          <p:cNvSpPr>
            <a:spLocks/>
          </p:cNvSpPr>
          <p:nvPr/>
        </p:nvSpPr>
        <p:spPr bwMode="auto">
          <a:xfrm>
            <a:off x="1468438" y="2694450"/>
            <a:ext cx="3927089" cy="1840220"/>
          </a:xfrm>
          <a:custGeom>
            <a:avLst/>
            <a:gdLst/>
            <a:ahLst/>
            <a:cxnLst>
              <a:cxn ang="0">
                <a:pos x="0" y="280"/>
              </a:cxn>
              <a:cxn ang="0">
                <a:pos x="1852" y="280"/>
              </a:cxn>
              <a:cxn ang="0">
                <a:pos x="1852" y="0"/>
              </a:cxn>
              <a:cxn ang="0">
                <a:pos x="2458" y="567"/>
              </a:cxn>
              <a:cxn ang="0">
                <a:pos x="1852" y="1134"/>
              </a:cxn>
              <a:cxn ang="0">
                <a:pos x="1852" y="854"/>
              </a:cxn>
              <a:cxn ang="0">
                <a:pos x="0" y="854"/>
              </a:cxn>
              <a:cxn ang="0">
                <a:pos x="0" y="280"/>
              </a:cxn>
            </a:cxnLst>
            <a:rect l="0" t="0" r="r" b="b"/>
            <a:pathLst>
              <a:path w="2459" h="1135">
                <a:moveTo>
                  <a:pt x="0" y="280"/>
                </a:moveTo>
                <a:lnTo>
                  <a:pt x="1852" y="280"/>
                </a:lnTo>
                <a:lnTo>
                  <a:pt x="1852" y="0"/>
                </a:lnTo>
                <a:lnTo>
                  <a:pt x="2458" y="567"/>
                </a:lnTo>
                <a:lnTo>
                  <a:pt x="1852" y="1134"/>
                </a:lnTo>
                <a:lnTo>
                  <a:pt x="1852" y="854"/>
                </a:lnTo>
                <a:lnTo>
                  <a:pt x="0" y="854"/>
                </a:lnTo>
                <a:lnTo>
                  <a:pt x="0" y="280"/>
                </a:lnTo>
              </a:path>
            </a:pathLst>
          </a:custGeom>
          <a:solidFill>
            <a:schemeClr val="accent1"/>
          </a:solidFill>
          <a:ln w="6350" cap="rnd" cmpd="sng">
            <a:noFill/>
            <a:round/>
            <a:headEnd/>
            <a:tailEn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 name="Text Box 8">
            <a:extLst>
              <a:ext uri="{FF2B5EF4-FFF2-40B4-BE49-F238E27FC236}">
                <a16:creationId xmlns:a16="http://schemas.microsoft.com/office/drawing/2014/main" id="{1B08FFD8-5561-4697-B152-0C93E7F57E0C}"/>
              </a:ext>
            </a:extLst>
          </p:cNvPr>
          <p:cNvSpPr txBox="1">
            <a:spLocks noChangeArrowheads="1"/>
          </p:cNvSpPr>
          <p:nvPr/>
        </p:nvSpPr>
        <p:spPr bwMode="auto">
          <a:xfrm>
            <a:off x="1601172" y="3447268"/>
            <a:ext cx="3165138" cy="237373"/>
          </a:xfrm>
          <a:prstGeom prst="rect">
            <a:avLst/>
          </a:prstGeom>
          <a:noFill/>
          <a:ln w="19050">
            <a:noFill/>
          </a:ln>
        </p:spPr>
        <p:txBody>
          <a:bodyPr vert="horz" wrap="square" lIns="0" tIns="36000" rIns="0" bIns="0" rtlCol="0" anchor="ctr">
            <a:noAutofit/>
          </a:bodyPr>
          <a:lstStyle>
            <a:defPPr>
              <a:defRPr lang="en-US"/>
            </a:defPPr>
            <a:lvl1pPr algn="ctr">
              <a:lnSpc>
                <a:spcPct val="85000"/>
              </a:lnSpc>
              <a:defRPr cap="all">
                <a:solidFill>
                  <a:schemeClr val="bg1"/>
                </a:solidFill>
                <a:latin typeface="+mj-lt"/>
              </a:defRPr>
            </a:lvl1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Black"/>
                <a:ea typeface="+mn-ea"/>
                <a:cs typeface="+mn-cs"/>
              </a:rPr>
              <a:t>Text</a:t>
            </a:r>
            <a:endParaRPr kumimoji="0" lang="en-US" sz="1800" b="0" i="0" u="none" strike="noStrike" kern="1200" cap="all" spc="0" normalizeH="0" baseline="0" noProof="0" dirty="0">
              <a:ln>
                <a:noFill/>
              </a:ln>
              <a:solidFill>
                <a:srgbClr val="FFFFFF"/>
              </a:solidFill>
              <a:effectLst/>
              <a:uLnTx/>
              <a:uFillTx/>
              <a:latin typeface="Arial Black"/>
              <a:ea typeface="+mn-ea"/>
              <a:cs typeface="+mn-cs"/>
            </a:endParaRPr>
          </a:p>
        </p:txBody>
      </p:sp>
      <p:sp>
        <p:nvSpPr>
          <p:cNvPr id="6" name="Freeform 6">
            <a:extLst>
              <a:ext uri="{FF2B5EF4-FFF2-40B4-BE49-F238E27FC236}">
                <a16:creationId xmlns:a16="http://schemas.microsoft.com/office/drawing/2014/main" id="{FD86DF9F-60AB-4817-805D-267B60406F0C}"/>
              </a:ext>
              <a:ext uri="{C183D7F6-B498-43B3-948B-1728B52AA6E4}">
                <adec:decorative xmlns:adec="http://schemas.microsoft.com/office/drawing/2017/decorative" val="1"/>
              </a:ext>
            </a:extLst>
          </p:cNvPr>
          <p:cNvSpPr>
            <a:spLocks/>
          </p:cNvSpPr>
          <p:nvPr/>
        </p:nvSpPr>
        <p:spPr bwMode="auto">
          <a:xfrm>
            <a:off x="5026282" y="1562007"/>
            <a:ext cx="2423944" cy="4117975"/>
          </a:xfrm>
          <a:custGeom>
            <a:avLst/>
            <a:gdLst/>
            <a:ahLst/>
            <a:cxnLst>
              <a:cxn ang="0">
                <a:pos x="0" y="8"/>
              </a:cxn>
              <a:cxn ang="0">
                <a:pos x="0" y="910"/>
              </a:cxn>
              <a:cxn ang="0">
                <a:pos x="389" y="1277"/>
              </a:cxn>
              <a:cxn ang="0">
                <a:pos x="34" y="1604"/>
              </a:cxn>
              <a:cxn ang="0">
                <a:pos x="34" y="2538"/>
              </a:cxn>
              <a:cxn ang="0">
                <a:pos x="1446" y="2538"/>
              </a:cxn>
              <a:cxn ang="0">
                <a:pos x="1446" y="0"/>
              </a:cxn>
              <a:cxn ang="0">
                <a:pos x="0" y="0"/>
              </a:cxn>
              <a:cxn ang="0">
                <a:pos x="0" y="8"/>
              </a:cxn>
            </a:cxnLst>
            <a:rect l="0" t="0" r="r" b="b"/>
            <a:pathLst>
              <a:path w="1447" h="2539">
                <a:moveTo>
                  <a:pt x="0" y="8"/>
                </a:moveTo>
                <a:lnTo>
                  <a:pt x="0" y="910"/>
                </a:lnTo>
                <a:lnTo>
                  <a:pt x="389" y="1277"/>
                </a:lnTo>
                <a:lnTo>
                  <a:pt x="34" y="1604"/>
                </a:lnTo>
                <a:lnTo>
                  <a:pt x="34" y="2538"/>
                </a:lnTo>
                <a:lnTo>
                  <a:pt x="1446" y="2538"/>
                </a:lnTo>
                <a:lnTo>
                  <a:pt x="1446" y="0"/>
                </a:lnTo>
                <a:lnTo>
                  <a:pt x="0" y="0"/>
                </a:lnTo>
                <a:lnTo>
                  <a:pt x="0" y="8"/>
                </a:lnTo>
              </a:path>
            </a:pathLst>
          </a:custGeom>
          <a:solidFill>
            <a:schemeClr val="accent3">
              <a:lumMod val="20000"/>
              <a:lumOff val="80000"/>
            </a:schemeClr>
          </a:solidFill>
          <a:ln w="6350" cap="rnd" cmpd="sng">
            <a:noFill/>
            <a:prstDash val="solid"/>
            <a:round/>
            <a:headEnd/>
            <a:tailEn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a typeface="+mn-ea"/>
              <a:cs typeface="+mn-cs"/>
            </a:endParaRPr>
          </a:p>
        </p:txBody>
      </p:sp>
      <p:sp>
        <p:nvSpPr>
          <p:cNvPr id="9" name="AutoShape 10">
            <a:extLst>
              <a:ext uri="{FF2B5EF4-FFF2-40B4-BE49-F238E27FC236}">
                <a16:creationId xmlns:a16="http://schemas.microsoft.com/office/drawing/2014/main" id="{3C3B0199-8ED8-4DE5-AC25-F4AD3E49A08E}"/>
              </a:ext>
            </a:extLst>
          </p:cNvPr>
          <p:cNvSpPr>
            <a:spLocks noChangeArrowheads="1"/>
          </p:cNvSpPr>
          <p:nvPr/>
        </p:nvSpPr>
        <p:spPr bwMode="auto">
          <a:xfrm>
            <a:off x="5395527" y="1594179"/>
            <a:ext cx="1814483" cy="997321"/>
          </a:xfrm>
          <a:prstGeom prst="leftArrow">
            <a:avLst>
              <a:gd name="adj1" fmla="val 50537"/>
              <a:gd name="adj2" fmla="val 54623"/>
            </a:avLst>
          </a:prstGeom>
          <a:solidFill>
            <a:schemeClr val="accent3"/>
          </a:solidFill>
          <a:ln w="6350">
            <a:noFill/>
            <a:miter lim="800000"/>
            <a:headEnd type="none" w="sm" len="sm"/>
            <a:tailEnd type="none" w="sm" len="sm"/>
          </a:ln>
          <a:effectLst/>
        </p:spPr>
        <p:txBody>
          <a:bodyPr wrap="none"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Arial"/>
                <a:ea typeface="+mn-ea"/>
                <a:cs typeface="+mn-cs"/>
              </a:rPr>
              <a:t>Text</a:t>
            </a:r>
          </a:p>
        </p:txBody>
      </p:sp>
      <p:sp>
        <p:nvSpPr>
          <p:cNvPr id="11" name="AutoShape 11">
            <a:extLst>
              <a:ext uri="{FF2B5EF4-FFF2-40B4-BE49-F238E27FC236}">
                <a16:creationId xmlns:a16="http://schemas.microsoft.com/office/drawing/2014/main" id="{0934B1B2-2F47-4623-9E7B-4EA55283DE47}"/>
              </a:ext>
            </a:extLst>
          </p:cNvPr>
          <p:cNvSpPr>
            <a:spLocks noChangeArrowheads="1"/>
          </p:cNvSpPr>
          <p:nvPr/>
        </p:nvSpPr>
        <p:spPr bwMode="auto">
          <a:xfrm>
            <a:off x="5395527" y="2612949"/>
            <a:ext cx="1814483" cy="997323"/>
          </a:xfrm>
          <a:prstGeom prst="leftArrow">
            <a:avLst>
              <a:gd name="adj1" fmla="val 50537"/>
              <a:gd name="adj2" fmla="val 54623"/>
            </a:avLst>
          </a:prstGeom>
          <a:solidFill>
            <a:schemeClr val="accent3"/>
          </a:solidFill>
          <a:ln w="6350">
            <a:noFill/>
            <a:miter lim="800000"/>
            <a:headEnd type="none" w="sm" len="sm"/>
            <a:tailEnd type="none" w="sm" len="sm"/>
          </a:ln>
          <a:effectLst/>
        </p:spPr>
        <p:txBody>
          <a:bodyPr wrap="none"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a:ea typeface="+mn-ea"/>
                <a:cs typeface="+mn-cs"/>
              </a:rPr>
              <a:t>Text</a:t>
            </a:r>
          </a:p>
        </p:txBody>
      </p:sp>
      <p:sp>
        <p:nvSpPr>
          <p:cNvPr id="12" name="AutoShape 12">
            <a:extLst>
              <a:ext uri="{FF2B5EF4-FFF2-40B4-BE49-F238E27FC236}">
                <a16:creationId xmlns:a16="http://schemas.microsoft.com/office/drawing/2014/main" id="{0B2206A6-C9CA-4CB6-9B99-0C27CD47AEB7}"/>
              </a:ext>
            </a:extLst>
          </p:cNvPr>
          <p:cNvSpPr>
            <a:spLocks noChangeArrowheads="1"/>
          </p:cNvSpPr>
          <p:nvPr/>
        </p:nvSpPr>
        <p:spPr bwMode="auto">
          <a:xfrm>
            <a:off x="5395527" y="3631719"/>
            <a:ext cx="1814483" cy="997321"/>
          </a:xfrm>
          <a:prstGeom prst="leftArrow">
            <a:avLst>
              <a:gd name="adj1" fmla="val 50537"/>
              <a:gd name="adj2" fmla="val 54623"/>
            </a:avLst>
          </a:prstGeom>
          <a:solidFill>
            <a:schemeClr val="accent3"/>
          </a:solidFill>
          <a:ln w="6350">
            <a:noFill/>
            <a:miter lim="800000"/>
            <a:headEnd type="none" w="sm" len="sm"/>
            <a:tailEnd type="none" w="sm" len="sm"/>
          </a:ln>
          <a:effectLst/>
        </p:spPr>
        <p:txBody>
          <a:bodyPr wrap="none"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Arial"/>
                <a:ea typeface="+mn-ea"/>
                <a:cs typeface="+mn-cs"/>
              </a:rPr>
              <a:t>Text</a:t>
            </a:r>
          </a:p>
        </p:txBody>
      </p:sp>
      <p:sp>
        <p:nvSpPr>
          <p:cNvPr id="13" name="AutoShape 13">
            <a:extLst>
              <a:ext uri="{FF2B5EF4-FFF2-40B4-BE49-F238E27FC236}">
                <a16:creationId xmlns:a16="http://schemas.microsoft.com/office/drawing/2014/main" id="{EC392535-5F78-4157-B265-EBB1DC67A569}"/>
              </a:ext>
            </a:extLst>
          </p:cNvPr>
          <p:cNvSpPr>
            <a:spLocks noChangeArrowheads="1"/>
          </p:cNvSpPr>
          <p:nvPr/>
        </p:nvSpPr>
        <p:spPr bwMode="auto">
          <a:xfrm>
            <a:off x="5395527" y="4650488"/>
            <a:ext cx="1814483" cy="997323"/>
          </a:xfrm>
          <a:prstGeom prst="leftArrow">
            <a:avLst>
              <a:gd name="adj1" fmla="val 50537"/>
              <a:gd name="adj2" fmla="val 54623"/>
            </a:avLst>
          </a:prstGeom>
          <a:solidFill>
            <a:schemeClr val="accent3"/>
          </a:solidFill>
          <a:ln w="6350">
            <a:noFill/>
            <a:miter lim="800000"/>
            <a:headEnd type="none" w="sm" len="sm"/>
            <a:tailEnd type="none" w="sm" len="sm"/>
          </a:ln>
          <a:effectLst/>
        </p:spPr>
        <p:txBody>
          <a:bodyPr wrap="none"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Arial"/>
                <a:ea typeface="+mn-ea"/>
                <a:cs typeface="+mn-cs"/>
              </a:rPr>
              <a:t>Text</a:t>
            </a:r>
          </a:p>
        </p:txBody>
      </p:sp>
      <p:sp>
        <p:nvSpPr>
          <p:cNvPr id="4" name="Freeform 4">
            <a:extLst>
              <a:ext uri="{FF2B5EF4-FFF2-40B4-BE49-F238E27FC236}">
                <a16:creationId xmlns:a16="http://schemas.microsoft.com/office/drawing/2014/main" id="{EA42DAAC-640C-4717-A200-2045D86637C4}"/>
              </a:ext>
              <a:ext uri="{C183D7F6-B498-43B3-948B-1728B52AA6E4}">
                <adec:decorative xmlns:adec="http://schemas.microsoft.com/office/drawing/2017/decorative" val="1"/>
              </a:ext>
            </a:extLst>
          </p:cNvPr>
          <p:cNvSpPr>
            <a:spLocks/>
          </p:cNvSpPr>
          <p:nvPr/>
        </p:nvSpPr>
        <p:spPr bwMode="auto">
          <a:xfrm>
            <a:off x="7097976" y="2694450"/>
            <a:ext cx="3416633" cy="1840220"/>
          </a:xfrm>
          <a:custGeom>
            <a:avLst/>
            <a:gdLst/>
            <a:ahLst/>
            <a:cxnLst>
              <a:cxn ang="0">
                <a:pos x="0" y="280"/>
              </a:cxn>
              <a:cxn ang="0">
                <a:pos x="1533" y="280"/>
              </a:cxn>
              <a:cxn ang="0">
                <a:pos x="1533" y="0"/>
              </a:cxn>
              <a:cxn ang="0">
                <a:pos x="2139" y="567"/>
              </a:cxn>
              <a:cxn ang="0">
                <a:pos x="1533" y="1134"/>
              </a:cxn>
              <a:cxn ang="0">
                <a:pos x="1533" y="854"/>
              </a:cxn>
              <a:cxn ang="0">
                <a:pos x="0" y="854"/>
              </a:cxn>
              <a:cxn ang="0">
                <a:pos x="0" y="280"/>
              </a:cxn>
            </a:cxnLst>
            <a:rect l="0" t="0" r="r" b="b"/>
            <a:pathLst>
              <a:path w="2140" h="1135">
                <a:moveTo>
                  <a:pt x="0" y="280"/>
                </a:moveTo>
                <a:lnTo>
                  <a:pt x="1533" y="280"/>
                </a:lnTo>
                <a:lnTo>
                  <a:pt x="1533" y="0"/>
                </a:lnTo>
                <a:lnTo>
                  <a:pt x="2139" y="567"/>
                </a:lnTo>
                <a:lnTo>
                  <a:pt x="1533" y="1134"/>
                </a:lnTo>
                <a:lnTo>
                  <a:pt x="1533" y="854"/>
                </a:lnTo>
                <a:lnTo>
                  <a:pt x="0" y="854"/>
                </a:lnTo>
                <a:lnTo>
                  <a:pt x="0" y="280"/>
                </a:lnTo>
              </a:path>
            </a:pathLst>
          </a:custGeom>
          <a:solidFill>
            <a:schemeClr val="accent1"/>
          </a:solidFill>
          <a:ln w="6350" cap="rnd" cmpd="sng">
            <a:noFill/>
            <a:prstDash val="solid"/>
            <a:round/>
            <a:headEnd/>
            <a:tailEn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a typeface="+mn-ea"/>
              <a:cs typeface="+mn-cs"/>
            </a:endParaRPr>
          </a:p>
        </p:txBody>
      </p:sp>
      <p:sp>
        <p:nvSpPr>
          <p:cNvPr id="17" name="Text Box 8">
            <a:extLst>
              <a:ext uri="{FF2B5EF4-FFF2-40B4-BE49-F238E27FC236}">
                <a16:creationId xmlns:a16="http://schemas.microsoft.com/office/drawing/2014/main" id="{0F97CFCC-82A7-457B-8960-08AD42914CE9}"/>
              </a:ext>
            </a:extLst>
          </p:cNvPr>
          <p:cNvSpPr txBox="1">
            <a:spLocks noChangeArrowheads="1"/>
          </p:cNvSpPr>
          <p:nvPr/>
        </p:nvSpPr>
        <p:spPr bwMode="auto">
          <a:xfrm>
            <a:off x="7410915" y="3452615"/>
            <a:ext cx="2566264" cy="315313"/>
          </a:xfrm>
          <a:prstGeom prst="rect">
            <a:avLst/>
          </a:prstGeom>
          <a:noFill/>
          <a:ln w="19050">
            <a:noFill/>
          </a:ln>
        </p:spPr>
        <p:txBody>
          <a:bodyPr vert="horz" wrap="square" lIns="0" tIns="36000" rIns="0" bIns="0" rtlCol="0" anchor="ctr">
            <a:noAutofit/>
          </a:bodyPr>
          <a:lstStyle>
            <a:defPPr>
              <a:defRPr lang="en-US"/>
            </a:defPPr>
            <a:lvl1pPr algn="ctr">
              <a:lnSpc>
                <a:spcPct val="85000"/>
              </a:lnSpc>
              <a:defRPr cap="all">
                <a:solidFill>
                  <a:schemeClr val="bg1"/>
                </a:solidFill>
                <a:latin typeface="+mj-lt"/>
              </a:defRPr>
            </a:lvl1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Black"/>
                <a:ea typeface="+mn-ea"/>
                <a:cs typeface="+mn-cs"/>
              </a:rPr>
              <a:t>Text</a:t>
            </a:r>
            <a:endParaRPr kumimoji="0" lang="en-US" sz="1800" b="0" i="0" u="none" strike="noStrike" kern="1200" cap="all" spc="0" normalizeH="0" baseline="0" noProof="0" dirty="0">
              <a:ln>
                <a:noFill/>
              </a:ln>
              <a:solidFill>
                <a:srgbClr val="FFFFFF"/>
              </a:solidFill>
              <a:effectLst/>
              <a:uLnTx/>
              <a:uFillTx/>
              <a:latin typeface="Arial Black"/>
              <a:ea typeface="+mn-ea"/>
              <a:cs typeface="+mn-cs"/>
            </a:endParaRPr>
          </a:p>
        </p:txBody>
      </p:sp>
      <p:sp>
        <p:nvSpPr>
          <p:cNvPr id="15" name="Footer Placeholder 14">
            <a:extLst>
              <a:ext uri="{FF2B5EF4-FFF2-40B4-BE49-F238E27FC236}">
                <a16:creationId xmlns:a16="http://schemas.microsoft.com/office/drawing/2014/main" id="{D2952787-0583-4E7A-9B61-B661B5F8563A}"/>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6" name="Slide Number Placeholder 15">
            <a:extLst>
              <a:ext uri="{FF2B5EF4-FFF2-40B4-BE49-F238E27FC236}">
                <a16:creationId xmlns:a16="http://schemas.microsoft.com/office/drawing/2014/main" id="{CC87B33E-4E60-4AAE-8F38-04504CE43E7B}"/>
              </a:ext>
            </a:extLst>
          </p:cNvPr>
          <p:cNvSpPr>
            <a:spLocks noGrp="1"/>
          </p:cNvSpPr>
          <p:nvPr>
            <p:ph type="sldNum" sz="quarter" idx="10"/>
          </p:nvPr>
        </p:nvSpPr>
        <p:spPr/>
        <p:txBody>
          <a:bodyPr/>
          <a:lstStyle/>
          <a:p>
            <a:fld id="{1F90F471-3972-4120-B8B3-0237DE626C35}" type="slidenum">
              <a:rPr lang="en-US" smtClean="0"/>
              <a:pPr/>
              <a:t>156</a:t>
            </a:fld>
            <a:endParaRPr lang="en-US" dirty="0"/>
          </a:p>
        </p:txBody>
      </p:sp>
    </p:spTree>
    <p:extLst>
      <p:ext uri="{BB962C8B-B14F-4D97-AF65-F5344CB8AC3E}">
        <p14:creationId xmlns:p14="http://schemas.microsoft.com/office/powerpoint/2010/main" val="1706408905"/>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Resistance 2</a:t>
            </a:r>
          </a:p>
        </p:txBody>
      </p:sp>
      <p:sp>
        <p:nvSpPr>
          <p:cNvPr id="8" name="AutoShape 4">
            <a:extLst>
              <a:ext uri="{FF2B5EF4-FFF2-40B4-BE49-F238E27FC236}">
                <a16:creationId xmlns:a16="http://schemas.microsoft.com/office/drawing/2014/main" id="{3F263377-C1E7-4C5E-8742-6C655F7336D3}"/>
              </a:ext>
            </a:extLst>
          </p:cNvPr>
          <p:cNvSpPr>
            <a:spLocks noChangeArrowheads="1"/>
          </p:cNvSpPr>
          <p:nvPr/>
        </p:nvSpPr>
        <p:spPr bwMode="auto">
          <a:xfrm>
            <a:off x="1822897" y="1367243"/>
            <a:ext cx="6157530" cy="3969932"/>
          </a:xfrm>
          <a:prstGeom prst="homePlate">
            <a:avLst>
              <a:gd name="adj" fmla="val 17194"/>
            </a:avLst>
          </a:prstGeom>
          <a:pattFill prst="dkUpDiag">
            <a:fgClr>
              <a:schemeClr val="accent1">
                <a:lumMod val="20000"/>
                <a:lumOff val="80000"/>
              </a:schemeClr>
            </a:fgClr>
            <a:bgClr>
              <a:schemeClr val="bg1"/>
            </a:bgClr>
          </a:pattFill>
          <a:ln w="6350">
            <a:noFill/>
            <a:miter lim="800000"/>
            <a:headEnd/>
            <a:tailEnd/>
          </a:ln>
          <a:effectLst/>
        </p:spPr>
        <p:txBody>
          <a:bodyPr wrap="none" lIns="180000" tIns="180000" rIns="72000" bIns="72000"/>
          <a:lstStyle/>
          <a:p>
            <a:pPr marL="0" lvl="1" eaLnBrk="0" hangingPunct="0">
              <a:lnSpc>
                <a:spcPct val="85000"/>
              </a:lnSpc>
              <a:spcBef>
                <a:spcPts val="100"/>
              </a:spcBef>
              <a:spcAft>
                <a:spcPts val="300"/>
              </a:spcAft>
              <a:buClr>
                <a:schemeClr val="folHlink"/>
              </a:buClr>
            </a:pPr>
            <a:r>
              <a:rPr lang="en-US" sz="1600" b="1" dirty="0">
                <a:solidFill>
                  <a:schemeClr val="accent1"/>
                </a:solidFill>
                <a:latin typeface="+mj-lt"/>
              </a:rPr>
              <a:t>Text</a:t>
            </a:r>
            <a:endParaRPr lang="en-US" sz="1600" b="1" cap="all" dirty="0">
              <a:solidFill>
                <a:schemeClr val="accent1"/>
              </a:solidFill>
              <a:latin typeface="+mj-lt"/>
            </a:endParaRPr>
          </a:p>
        </p:txBody>
      </p:sp>
      <p:sp>
        <p:nvSpPr>
          <p:cNvPr id="12" name="AutoShape 5">
            <a:extLst>
              <a:ext uri="{FF2B5EF4-FFF2-40B4-BE49-F238E27FC236}">
                <a16:creationId xmlns:a16="http://schemas.microsoft.com/office/drawing/2014/main" id="{01B94EAD-79C3-4AAF-8A6C-07890269CAB4}"/>
              </a:ext>
            </a:extLst>
          </p:cNvPr>
          <p:cNvSpPr>
            <a:spLocks noChangeArrowheads="1"/>
          </p:cNvSpPr>
          <p:nvPr/>
        </p:nvSpPr>
        <p:spPr bwMode="auto">
          <a:xfrm flipH="1">
            <a:off x="4512519" y="1930711"/>
            <a:ext cx="2589146" cy="2842996"/>
          </a:xfrm>
          <a:prstGeom prst="chevron">
            <a:avLst>
              <a:gd name="adj" fmla="val 23315"/>
            </a:avLst>
          </a:prstGeom>
          <a:solidFill>
            <a:schemeClr val="accent4"/>
          </a:solidFill>
          <a:ln w="6350">
            <a:noFill/>
            <a:miter lim="800000"/>
            <a:headEnd/>
            <a:tailEnd/>
          </a:ln>
          <a:effectLst/>
        </p:spPr>
        <p:txBody>
          <a:bodyPr wrap="none" lIns="180000" tIns="180000" rIns="72000" bIns="72000" anchor="t"/>
          <a:lstStyle/>
          <a:p>
            <a:pPr marL="0" lvl="1" indent="-179388" eaLnBrk="0" hangingPunct="0">
              <a:lnSpc>
                <a:spcPct val="85000"/>
              </a:lnSpc>
              <a:spcBef>
                <a:spcPts val="100"/>
              </a:spcBef>
              <a:spcAft>
                <a:spcPts val="300"/>
              </a:spcAft>
              <a:buClr>
                <a:schemeClr val="folHlink"/>
              </a:buClr>
            </a:pPr>
            <a:r>
              <a:rPr lang="en-US" sz="1600" b="1" dirty="0">
                <a:latin typeface="+mj-lt"/>
              </a:rPr>
              <a:t>Text</a:t>
            </a:r>
            <a:endParaRPr lang="en-US" sz="1600" b="1" cap="all" dirty="0">
              <a:latin typeface="+mj-lt"/>
            </a:endParaRPr>
          </a:p>
          <a:p>
            <a:pPr marL="177800" lvl="1" indent="-177800" eaLnBrk="0" hangingPunct="0">
              <a:spcBef>
                <a:spcPts val="100"/>
              </a:spcBef>
              <a:spcAft>
                <a:spcPts val="100"/>
              </a:spcAft>
              <a:buFontTx/>
              <a:buChar char="•"/>
            </a:pPr>
            <a:r>
              <a:rPr lang="en-US" sz="1600" dirty="0"/>
              <a:t>Text</a:t>
            </a:r>
          </a:p>
          <a:p>
            <a:pPr marL="177800" lvl="1" indent="-177800" eaLnBrk="0" hangingPunct="0">
              <a:spcBef>
                <a:spcPts val="100"/>
              </a:spcBef>
              <a:spcAft>
                <a:spcPts val="100"/>
              </a:spcAft>
              <a:buFontTx/>
              <a:buChar char="•"/>
            </a:pPr>
            <a:r>
              <a:rPr lang="en-US" sz="1600" dirty="0"/>
              <a:t>Text</a:t>
            </a:r>
          </a:p>
          <a:p>
            <a:pPr marL="177800" lvl="1" indent="-177800" eaLnBrk="0" hangingPunct="0">
              <a:spcBef>
                <a:spcPts val="100"/>
              </a:spcBef>
              <a:spcAft>
                <a:spcPts val="100"/>
              </a:spcAft>
              <a:buFontTx/>
              <a:buChar char="•"/>
            </a:pPr>
            <a:r>
              <a:rPr lang="en-US" sz="1600" dirty="0"/>
              <a:t>Text</a:t>
            </a:r>
          </a:p>
        </p:txBody>
      </p:sp>
      <p:sp>
        <p:nvSpPr>
          <p:cNvPr id="14" name="AutoShape 6">
            <a:extLst>
              <a:ext uri="{FF2B5EF4-FFF2-40B4-BE49-F238E27FC236}">
                <a16:creationId xmlns:a16="http://schemas.microsoft.com/office/drawing/2014/main" id="{D0CF278F-32A3-4979-AD82-A4E5E45F215D}"/>
              </a:ext>
            </a:extLst>
          </p:cNvPr>
          <p:cNvSpPr>
            <a:spLocks noChangeArrowheads="1"/>
          </p:cNvSpPr>
          <p:nvPr/>
        </p:nvSpPr>
        <p:spPr bwMode="auto">
          <a:xfrm flipH="1">
            <a:off x="2232212" y="1930711"/>
            <a:ext cx="2586823" cy="2842996"/>
          </a:xfrm>
          <a:prstGeom prst="chevron">
            <a:avLst>
              <a:gd name="adj" fmla="val 23315"/>
            </a:avLst>
          </a:prstGeom>
          <a:solidFill>
            <a:schemeClr val="accent1"/>
          </a:solidFill>
          <a:ln w="6350">
            <a:noFill/>
            <a:miter lim="800000"/>
            <a:headEnd/>
            <a:tailEnd/>
          </a:ln>
          <a:effectLst/>
        </p:spPr>
        <p:txBody>
          <a:bodyPr wrap="none" lIns="180000" tIns="180000" rIns="72000" bIns="72000" anchor="t"/>
          <a:lstStyle/>
          <a:p>
            <a:pPr marL="0" lvl="1" indent="-179388" eaLnBrk="0" hangingPunct="0">
              <a:lnSpc>
                <a:spcPct val="85000"/>
              </a:lnSpc>
              <a:spcBef>
                <a:spcPts val="100"/>
              </a:spcBef>
              <a:spcAft>
                <a:spcPts val="300"/>
              </a:spcAft>
              <a:buClr>
                <a:schemeClr val="folHlink"/>
              </a:buClr>
            </a:pPr>
            <a:r>
              <a:rPr lang="en-US" sz="1600" b="1" dirty="0">
                <a:solidFill>
                  <a:schemeClr val="bg1"/>
                </a:solidFill>
                <a:latin typeface="+mj-lt"/>
              </a:rPr>
              <a:t>Text</a:t>
            </a:r>
            <a:endParaRPr lang="en-US" sz="1600" b="1" cap="all" dirty="0">
              <a:solidFill>
                <a:schemeClr val="bg1"/>
              </a:solidFill>
              <a:latin typeface="+mj-lt"/>
            </a:endParaRPr>
          </a:p>
          <a:p>
            <a:pPr marL="177800" lvl="1" indent="-177800" eaLnBrk="0" hangingPunct="0">
              <a:spcBef>
                <a:spcPts val="100"/>
              </a:spcBef>
              <a:spcAft>
                <a:spcPts val="100"/>
              </a:spcAft>
              <a:buFontTx/>
              <a:buChar char="•"/>
            </a:pPr>
            <a:r>
              <a:rPr lang="en-US" sz="1600" dirty="0">
                <a:solidFill>
                  <a:schemeClr val="bg1"/>
                </a:solidFill>
              </a:rPr>
              <a:t>Text</a:t>
            </a:r>
          </a:p>
          <a:p>
            <a:pPr marL="177800" lvl="1" indent="-177800" eaLnBrk="0" hangingPunct="0">
              <a:spcBef>
                <a:spcPts val="100"/>
              </a:spcBef>
              <a:spcAft>
                <a:spcPts val="100"/>
              </a:spcAft>
              <a:buFontTx/>
              <a:buChar char="•"/>
            </a:pPr>
            <a:r>
              <a:rPr lang="en-US" sz="1600" dirty="0">
                <a:solidFill>
                  <a:schemeClr val="bg1"/>
                </a:solidFill>
              </a:rPr>
              <a:t>Text</a:t>
            </a:r>
          </a:p>
          <a:p>
            <a:pPr marL="177800" lvl="1" indent="-177800" eaLnBrk="0" hangingPunct="0">
              <a:spcBef>
                <a:spcPts val="100"/>
              </a:spcBef>
              <a:spcAft>
                <a:spcPts val="100"/>
              </a:spcAft>
              <a:buFontTx/>
              <a:buChar char="•"/>
            </a:pPr>
            <a:r>
              <a:rPr lang="en-US" sz="1600" dirty="0">
                <a:solidFill>
                  <a:schemeClr val="bg1"/>
                </a:solidFill>
              </a:rPr>
              <a:t>Text</a:t>
            </a:r>
          </a:p>
        </p:txBody>
      </p:sp>
      <p:sp>
        <p:nvSpPr>
          <p:cNvPr id="16" name="Oval 6">
            <a:extLst>
              <a:ext uri="{FF2B5EF4-FFF2-40B4-BE49-F238E27FC236}">
                <a16:creationId xmlns:a16="http://schemas.microsoft.com/office/drawing/2014/main" id="{B3374019-C48C-4928-AC00-A0E41BE4B69C}"/>
              </a:ext>
            </a:extLst>
          </p:cNvPr>
          <p:cNvSpPr>
            <a:spLocks noChangeArrowheads="1"/>
          </p:cNvSpPr>
          <p:nvPr/>
        </p:nvSpPr>
        <p:spPr bwMode="auto">
          <a:xfrm>
            <a:off x="8110157" y="2209745"/>
            <a:ext cx="2262568" cy="2284929"/>
          </a:xfrm>
          <a:prstGeom prst="ellipse">
            <a:avLst/>
          </a:prstGeom>
          <a:solidFill>
            <a:schemeClr val="accent3"/>
          </a:solidFill>
          <a:ln w="6350">
            <a:noFill/>
            <a:round/>
            <a:headEnd/>
            <a:tailEnd/>
          </a:ln>
          <a:effectLst/>
        </p:spPr>
        <p:txBody>
          <a:bodyPr wrap="none" lIns="72000" tIns="72000" rIns="72000" bIns="72000" anchor="ctr" anchorCtr="1"/>
          <a:lstStyle/>
          <a:p>
            <a:pPr marL="179388" indent="-179388" algn="ctr" eaLnBrk="0" hangingPunct="0">
              <a:lnSpc>
                <a:spcPct val="85000"/>
              </a:lnSpc>
              <a:spcBef>
                <a:spcPts val="100"/>
              </a:spcBef>
              <a:spcAft>
                <a:spcPts val="300"/>
              </a:spcAft>
            </a:pPr>
            <a:r>
              <a:rPr lang="en-US" b="1" dirty="0">
                <a:solidFill>
                  <a:schemeClr val="bg1"/>
                </a:solidFill>
                <a:latin typeface="+mj-lt"/>
              </a:rPr>
              <a:t>Text</a:t>
            </a:r>
            <a:endParaRPr lang="en-US" b="1" cap="all" dirty="0">
              <a:solidFill>
                <a:schemeClr val="bg1"/>
              </a:solidFill>
              <a:latin typeface="+mj-lt"/>
            </a:endParaRPr>
          </a:p>
        </p:txBody>
      </p:sp>
      <p:sp>
        <p:nvSpPr>
          <p:cNvPr id="4" name="Footer Placeholder 3">
            <a:extLst>
              <a:ext uri="{FF2B5EF4-FFF2-40B4-BE49-F238E27FC236}">
                <a16:creationId xmlns:a16="http://schemas.microsoft.com/office/drawing/2014/main" id="{85B8DDDC-B1E3-4B3E-AC35-DBC40E5724CD}"/>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BEA07E0B-F2AA-4248-9F3E-B10D7372380D}"/>
              </a:ext>
            </a:extLst>
          </p:cNvPr>
          <p:cNvSpPr>
            <a:spLocks noGrp="1"/>
          </p:cNvSpPr>
          <p:nvPr>
            <p:ph type="sldNum" sz="quarter" idx="10"/>
          </p:nvPr>
        </p:nvSpPr>
        <p:spPr/>
        <p:txBody>
          <a:bodyPr/>
          <a:lstStyle/>
          <a:p>
            <a:fld id="{1F90F471-3972-4120-B8B3-0237DE626C35}" type="slidenum">
              <a:rPr lang="en-US" smtClean="0"/>
              <a:pPr/>
              <a:t>157</a:t>
            </a:fld>
            <a:endParaRPr lang="en-US" dirty="0"/>
          </a:p>
        </p:txBody>
      </p:sp>
    </p:spTree>
    <p:extLst>
      <p:ext uri="{BB962C8B-B14F-4D97-AF65-F5344CB8AC3E}">
        <p14:creationId xmlns:p14="http://schemas.microsoft.com/office/powerpoint/2010/main" val="1119462521"/>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Penetration</a:t>
            </a:r>
          </a:p>
        </p:txBody>
      </p:sp>
      <p:grpSp>
        <p:nvGrpSpPr>
          <p:cNvPr id="3" name="Group 2" descr="Penetration description">
            <a:extLst>
              <a:ext uri="{FF2B5EF4-FFF2-40B4-BE49-F238E27FC236}">
                <a16:creationId xmlns:a16="http://schemas.microsoft.com/office/drawing/2014/main" id="{02A0D928-BC2D-4D6D-9F25-672F7D2ED9B6}"/>
              </a:ext>
            </a:extLst>
          </p:cNvPr>
          <p:cNvGrpSpPr/>
          <p:nvPr/>
        </p:nvGrpSpPr>
        <p:grpSpPr>
          <a:xfrm>
            <a:off x="334963" y="1373672"/>
            <a:ext cx="9804119" cy="4684228"/>
            <a:chOff x="334963" y="1373672"/>
            <a:chExt cx="9804119" cy="4684228"/>
          </a:xfrm>
        </p:grpSpPr>
        <p:sp>
          <p:nvSpPr>
            <p:cNvPr id="12" name="Rectangle 4">
              <a:extLst>
                <a:ext uri="{FF2B5EF4-FFF2-40B4-BE49-F238E27FC236}">
                  <a16:creationId xmlns:a16="http://schemas.microsoft.com/office/drawing/2014/main" id="{82E78ADB-33ED-4831-951F-0D9C85C23033}"/>
                </a:ext>
              </a:extLst>
            </p:cNvPr>
            <p:cNvSpPr>
              <a:spLocks noChangeArrowheads="1"/>
            </p:cNvSpPr>
            <p:nvPr/>
          </p:nvSpPr>
          <p:spPr bwMode="auto">
            <a:xfrm>
              <a:off x="3444481" y="1373672"/>
              <a:ext cx="5027166" cy="4684228"/>
            </a:xfrm>
            <a:prstGeom prst="rect">
              <a:avLst/>
            </a:prstGeom>
            <a:pattFill prst="dkUpDiag">
              <a:fgClr>
                <a:schemeClr val="tx2">
                  <a:lumMod val="40000"/>
                  <a:lumOff val="60000"/>
                </a:schemeClr>
              </a:fgClr>
              <a:bgClr>
                <a:schemeClr val="bg1"/>
              </a:bgClr>
            </a:pattFill>
            <a:ln w="6350">
              <a:noFill/>
              <a:miter lim="800000"/>
              <a:headEnd/>
              <a:tailEnd/>
            </a:ln>
            <a:effectLst/>
          </p:spPr>
          <p:txBody>
            <a:bodyPr lIns="180000" tIns="180000" rIns="72000" bIns="72000"/>
            <a:lstStyle/>
            <a:p>
              <a:pPr marL="174625" indent="-174625" eaLnBrk="0" hangingPunct="0">
                <a:spcBef>
                  <a:spcPts val="100"/>
                </a:spcBef>
                <a:spcAft>
                  <a:spcPts val="100"/>
                </a:spcAft>
                <a:buClr>
                  <a:schemeClr val="tx1"/>
                </a:buClr>
              </a:pPr>
              <a:r>
                <a:rPr lang="en-US" b="1" dirty="0">
                  <a:latin typeface="+mj-lt"/>
                </a:rPr>
                <a:t>Text</a:t>
              </a:r>
              <a:endParaRPr lang="en-US" b="1" cap="all" dirty="0">
                <a:latin typeface="+mj-lt"/>
              </a:endParaRPr>
            </a:p>
            <a:p>
              <a:pPr marL="174625" indent="-174625" eaLnBrk="0" hangingPunct="0">
                <a:spcBef>
                  <a:spcPts val="100"/>
                </a:spcBef>
                <a:spcAft>
                  <a:spcPts val="100"/>
                </a:spcAft>
                <a:buClr>
                  <a:schemeClr val="tx1"/>
                </a:buClr>
                <a:buFontTx/>
                <a:buChar char="•"/>
              </a:pPr>
              <a:r>
                <a:rPr lang="en-US" dirty="0"/>
                <a:t>Text</a:t>
              </a:r>
            </a:p>
            <a:p>
              <a:pPr marL="174625" indent="-174625" eaLnBrk="0" hangingPunct="0">
                <a:spcBef>
                  <a:spcPts val="100"/>
                </a:spcBef>
                <a:spcAft>
                  <a:spcPts val="100"/>
                </a:spcAft>
                <a:buClr>
                  <a:schemeClr val="tx1"/>
                </a:buClr>
                <a:buFontTx/>
                <a:buChar char="•"/>
              </a:pPr>
              <a:r>
                <a:rPr lang="en-US" dirty="0"/>
                <a:t>Text</a:t>
              </a:r>
            </a:p>
            <a:p>
              <a:pPr marL="174625" indent="-174625" eaLnBrk="0" hangingPunct="0">
                <a:spcBef>
                  <a:spcPts val="100"/>
                </a:spcBef>
                <a:spcAft>
                  <a:spcPts val="100"/>
                </a:spcAft>
                <a:buClr>
                  <a:schemeClr val="tx1"/>
                </a:buClr>
                <a:buFontTx/>
                <a:buChar char="•"/>
              </a:pPr>
              <a:r>
                <a:rPr lang="en-US" dirty="0"/>
                <a:t>Text</a:t>
              </a:r>
            </a:p>
          </p:txBody>
        </p:sp>
        <p:sp>
          <p:nvSpPr>
            <p:cNvPr id="22" name="Text Box 10">
              <a:extLst>
                <a:ext uri="{FF2B5EF4-FFF2-40B4-BE49-F238E27FC236}">
                  <a16:creationId xmlns:a16="http://schemas.microsoft.com/office/drawing/2014/main" id="{B6FC4750-21C4-4B03-B2BB-FF7BA1B86A21}"/>
                </a:ext>
              </a:extLst>
            </p:cNvPr>
            <p:cNvSpPr txBox="1">
              <a:spLocks noChangeArrowheads="1"/>
            </p:cNvSpPr>
            <p:nvPr/>
          </p:nvSpPr>
          <p:spPr bwMode="auto">
            <a:xfrm>
              <a:off x="334963" y="3541639"/>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r"/>
              <a:r>
                <a:rPr lang="en-US" b="1" cap="none" dirty="0">
                  <a:solidFill>
                    <a:schemeClr val="accent2"/>
                  </a:solidFill>
                </a:rPr>
                <a:t>Text</a:t>
              </a:r>
              <a:endParaRPr lang="en-US" b="1" dirty="0">
                <a:solidFill>
                  <a:schemeClr val="accent2"/>
                </a:solidFill>
              </a:endParaRPr>
            </a:p>
          </p:txBody>
        </p:sp>
        <p:sp>
          <p:nvSpPr>
            <p:cNvPr id="16" name="Freeform 7">
              <a:extLst>
                <a:ext uri="{FF2B5EF4-FFF2-40B4-BE49-F238E27FC236}">
                  <a16:creationId xmlns:a16="http://schemas.microsoft.com/office/drawing/2014/main" id="{0FE5DB96-BB6E-4ACE-B8DB-2F0E7CBC2743}"/>
                </a:ext>
                <a:ext uri="{C183D7F6-B498-43B3-948B-1728B52AA6E4}">
                  <adec:decorative xmlns:adec="http://schemas.microsoft.com/office/drawing/2017/decorative" val="1"/>
                </a:ext>
              </a:extLst>
            </p:cNvPr>
            <p:cNvSpPr>
              <a:spLocks/>
            </p:cNvSpPr>
            <p:nvPr/>
          </p:nvSpPr>
          <p:spPr bwMode="auto">
            <a:xfrm>
              <a:off x="2528769" y="3052671"/>
              <a:ext cx="1515181" cy="1321766"/>
            </a:xfrm>
            <a:custGeom>
              <a:avLst/>
              <a:gdLst/>
              <a:ahLst/>
              <a:cxnLst>
                <a:cxn ang="0">
                  <a:pos x="0" y="0"/>
                </a:cxn>
                <a:cxn ang="0">
                  <a:pos x="351" y="0"/>
                </a:cxn>
                <a:cxn ang="0">
                  <a:pos x="351" y="392"/>
                </a:cxn>
                <a:cxn ang="0">
                  <a:pos x="0" y="392"/>
                </a:cxn>
                <a:cxn ang="0">
                  <a:pos x="0" y="0"/>
                </a:cxn>
              </a:cxnLst>
              <a:rect l="0" t="0" r="r" b="b"/>
              <a:pathLst>
                <a:path w="352" h="393">
                  <a:moveTo>
                    <a:pt x="0" y="0"/>
                  </a:moveTo>
                  <a:lnTo>
                    <a:pt x="351" y="0"/>
                  </a:lnTo>
                  <a:lnTo>
                    <a:pt x="351" y="392"/>
                  </a:lnTo>
                  <a:lnTo>
                    <a:pt x="0" y="392"/>
                  </a:lnTo>
                  <a:lnTo>
                    <a:pt x="0" y="0"/>
                  </a:lnTo>
                </a:path>
              </a:pathLst>
            </a:custGeom>
            <a:solidFill>
              <a:schemeClr val="accent2"/>
            </a:solidFill>
            <a:ln w="6350" cap="rnd" cmpd="sng">
              <a:noFill/>
              <a:prstDash val="solid"/>
              <a:round/>
              <a:headEnd/>
              <a:tailEnd/>
            </a:ln>
            <a:effectLst/>
          </p:spPr>
          <p:txBody>
            <a:bodyPr lIns="72000" tIns="72000" rIns="72000" bIns="72000"/>
            <a:lstStyle/>
            <a:p>
              <a:endParaRPr lang="de-DE" sz="1400"/>
            </a:p>
          </p:txBody>
        </p:sp>
        <p:sp>
          <p:nvSpPr>
            <p:cNvPr id="18" name="Freeform 8">
              <a:extLst>
                <a:ext uri="{FF2B5EF4-FFF2-40B4-BE49-F238E27FC236}">
                  <a16:creationId xmlns:a16="http://schemas.microsoft.com/office/drawing/2014/main" id="{92FAFD15-F8BF-4FA7-8F09-AEA0C4C45908}"/>
                </a:ext>
                <a:ext uri="{C183D7F6-B498-43B3-948B-1728B52AA6E4}">
                  <adec:decorative xmlns:adec="http://schemas.microsoft.com/office/drawing/2017/decorative" val="1"/>
                </a:ext>
              </a:extLst>
            </p:cNvPr>
            <p:cNvSpPr>
              <a:spLocks/>
            </p:cNvSpPr>
            <p:nvPr/>
          </p:nvSpPr>
          <p:spPr bwMode="auto">
            <a:xfrm>
              <a:off x="4539613" y="3052671"/>
              <a:ext cx="1252551" cy="1321766"/>
            </a:xfrm>
            <a:custGeom>
              <a:avLst/>
              <a:gdLst/>
              <a:ahLst/>
              <a:cxnLst>
                <a:cxn ang="0">
                  <a:pos x="0" y="0"/>
                </a:cxn>
                <a:cxn ang="0">
                  <a:pos x="399" y="0"/>
                </a:cxn>
                <a:cxn ang="0">
                  <a:pos x="399" y="392"/>
                </a:cxn>
                <a:cxn ang="0">
                  <a:pos x="0" y="392"/>
                </a:cxn>
                <a:cxn ang="0">
                  <a:pos x="0" y="0"/>
                </a:cxn>
              </a:cxnLst>
              <a:rect l="0" t="0" r="r" b="b"/>
              <a:pathLst>
                <a:path w="400" h="393">
                  <a:moveTo>
                    <a:pt x="0" y="0"/>
                  </a:moveTo>
                  <a:lnTo>
                    <a:pt x="399" y="0"/>
                  </a:lnTo>
                  <a:lnTo>
                    <a:pt x="399" y="392"/>
                  </a:lnTo>
                  <a:lnTo>
                    <a:pt x="0" y="392"/>
                  </a:lnTo>
                  <a:lnTo>
                    <a:pt x="0" y="0"/>
                  </a:lnTo>
                </a:path>
              </a:pathLst>
            </a:custGeom>
            <a:solidFill>
              <a:schemeClr val="accent2"/>
            </a:solidFill>
            <a:ln w="6350" cap="rnd" cmpd="sng">
              <a:noFill/>
              <a:prstDash val="solid"/>
              <a:round/>
              <a:headEnd/>
              <a:tailEnd/>
            </a:ln>
            <a:effectLst/>
          </p:spPr>
          <p:txBody>
            <a:bodyPr lIns="72000" tIns="72000" rIns="72000" bIns="72000"/>
            <a:lstStyle/>
            <a:p>
              <a:endParaRPr lang="de-DE" sz="1400"/>
            </a:p>
          </p:txBody>
        </p:sp>
        <p:sp>
          <p:nvSpPr>
            <p:cNvPr id="20" name="Freeform 9">
              <a:extLst>
                <a:ext uri="{FF2B5EF4-FFF2-40B4-BE49-F238E27FC236}">
                  <a16:creationId xmlns:a16="http://schemas.microsoft.com/office/drawing/2014/main" id="{9A943B2D-B316-447E-8B06-A0E8887ACEBF}"/>
                </a:ext>
                <a:ext uri="{C183D7F6-B498-43B3-948B-1728B52AA6E4}">
                  <adec:decorative xmlns:adec="http://schemas.microsoft.com/office/drawing/2017/decorative" val="1"/>
                </a:ext>
              </a:extLst>
            </p:cNvPr>
            <p:cNvSpPr>
              <a:spLocks/>
            </p:cNvSpPr>
            <p:nvPr/>
          </p:nvSpPr>
          <p:spPr bwMode="auto">
            <a:xfrm>
              <a:off x="6488769" y="3052671"/>
              <a:ext cx="1254784" cy="1321766"/>
            </a:xfrm>
            <a:custGeom>
              <a:avLst/>
              <a:gdLst/>
              <a:ahLst/>
              <a:cxnLst>
                <a:cxn ang="0">
                  <a:pos x="0" y="0"/>
                </a:cxn>
                <a:cxn ang="0">
                  <a:pos x="400" y="0"/>
                </a:cxn>
                <a:cxn ang="0">
                  <a:pos x="400" y="392"/>
                </a:cxn>
                <a:cxn ang="0">
                  <a:pos x="0" y="392"/>
                </a:cxn>
                <a:cxn ang="0">
                  <a:pos x="0" y="0"/>
                </a:cxn>
              </a:cxnLst>
              <a:rect l="0" t="0" r="r" b="b"/>
              <a:pathLst>
                <a:path w="401" h="393">
                  <a:moveTo>
                    <a:pt x="0" y="0"/>
                  </a:moveTo>
                  <a:lnTo>
                    <a:pt x="400" y="0"/>
                  </a:lnTo>
                  <a:lnTo>
                    <a:pt x="400" y="392"/>
                  </a:lnTo>
                  <a:lnTo>
                    <a:pt x="0" y="392"/>
                  </a:lnTo>
                  <a:lnTo>
                    <a:pt x="0" y="0"/>
                  </a:lnTo>
                </a:path>
              </a:pathLst>
            </a:custGeom>
            <a:solidFill>
              <a:schemeClr val="accent2"/>
            </a:solidFill>
            <a:ln w="6350" cap="rnd" cmpd="sng">
              <a:noFill/>
              <a:prstDash val="solid"/>
              <a:round/>
              <a:headEnd/>
              <a:tailEnd/>
            </a:ln>
            <a:effectLst/>
          </p:spPr>
          <p:txBody>
            <a:bodyPr lIns="72000" tIns="72000" rIns="72000" bIns="72000"/>
            <a:lstStyle/>
            <a:p>
              <a:endParaRPr lang="de-DE" sz="1400"/>
            </a:p>
          </p:txBody>
        </p:sp>
        <p:sp>
          <p:nvSpPr>
            <p:cNvPr id="14" name="Freeform 6">
              <a:extLst>
                <a:ext uri="{FF2B5EF4-FFF2-40B4-BE49-F238E27FC236}">
                  <a16:creationId xmlns:a16="http://schemas.microsoft.com/office/drawing/2014/main" id="{CC84F464-1172-45CE-974A-ACC258173DD8}"/>
                </a:ext>
                <a:ext uri="{C183D7F6-B498-43B3-948B-1728B52AA6E4}">
                  <adec:decorative xmlns:adec="http://schemas.microsoft.com/office/drawing/2017/decorative" val="1"/>
                </a:ext>
              </a:extLst>
            </p:cNvPr>
            <p:cNvSpPr>
              <a:spLocks/>
            </p:cNvSpPr>
            <p:nvPr/>
          </p:nvSpPr>
          <p:spPr bwMode="auto">
            <a:xfrm>
              <a:off x="8232517" y="2275687"/>
              <a:ext cx="1906565" cy="2877965"/>
            </a:xfrm>
            <a:custGeom>
              <a:avLst/>
              <a:gdLst/>
              <a:ahLst/>
              <a:cxnLst>
                <a:cxn ang="0">
                  <a:pos x="0" y="234"/>
                </a:cxn>
                <a:cxn ang="0">
                  <a:pos x="266" y="234"/>
                </a:cxn>
                <a:cxn ang="0">
                  <a:pos x="266" y="0"/>
                </a:cxn>
                <a:cxn ang="0">
                  <a:pos x="502" y="429"/>
                </a:cxn>
                <a:cxn ang="0">
                  <a:pos x="266" y="854"/>
                </a:cxn>
                <a:cxn ang="0">
                  <a:pos x="266" y="625"/>
                </a:cxn>
                <a:cxn ang="0">
                  <a:pos x="0" y="625"/>
                </a:cxn>
                <a:cxn ang="0">
                  <a:pos x="0" y="234"/>
                </a:cxn>
              </a:cxnLst>
              <a:rect l="0" t="0" r="r" b="b"/>
              <a:pathLst>
                <a:path w="503" h="855">
                  <a:moveTo>
                    <a:pt x="0" y="234"/>
                  </a:moveTo>
                  <a:lnTo>
                    <a:pt x="266" y="234"/>
                  </a:lnTo>
                  <a:lnTo>
                    <a:pt x="266" y="0"/>
                  </a:lnTo>
                  <a:lnTo>
                    <a:pt x="502" y="429"/>
                  </a:lnTo>
                  <a:lnTo>
                    <a:pt x="266" y="854"/>
                  </a:lnTo>
                  <a:lnTo>
                    <a:pt x="266" y="625"/>
                  </a:lnTo>
                  <a:lnTo>
                    <a:pt x="0" y="625"/>
                  </a:lnTo>
                  <a:lnTo>
                    <a:pt x="0" y="234"/>
                  </a:lnTo>
                </a:path>
              </a:pathLst>
            </a:custGeom>
            <a:solidFill>
              <a:schemeClr val="accent2"/>
            </a:solidFill>
            <a:ln w="6350" cap="rnd" cmpd="sng">
              <a:noFill/>
              <a:prstDash val="solid"/>
              <a:round/>
              <a:headEnd/>
              <a:tailEnd/>
            </a:ln>
            <a:effectLst/>
          </p:spPr>
          <p:txBody>
            <a:bodyPr lIns="72000" tIns="72000" rIns="72000" bIns="72000"/>
            <a:lstStyle/>
            <a:p>
              <a:endParaRPr lang="de-DE" sz="1400"/>
            </a:p>
          </p:txBody>
        </p:sp>
      </p:grpSp>
      <p:sp>
        <p:nvSpPr>
          <p:cNvPr id="4" name="Footer Placeholder 3">
            <a:extLst>
              <a:ext uri="{FF2B5EF4-FFF2-40B4-BE49-F238E27FC236}">
                <a16:creationId xmlns:a16="http://schemas.microsoft.com/office/drawing/2014/main" id="{89D05765-2E02-46D7-942A-C62C8A87EEC9}"/>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CF0CD4DB-916A-477F-B584-C2A30713A37C}"/>
              </a:ext>
            </a:extLst>
          </p:cNvPr>
          <p:cNvSpPr>
            <a:spLocks noGrp="1"/>
          </p:cNvSpPr>
          <p:nvPr>
            <p:ph type="sldNum" sz="quarter" idx="10"/>
          </p:nvPr>
        </p:nvSpPr>
        <p:spPr/>
        <p:txBody>
          <a:bodyPr/>
          <a:lstStyle/>
          <a:p>
            <a:fld id="{1F90F471-3972-4120-B8B3-0237DE626C35}" type="slidenum">
              <a:rPr lang="en-US" smtClean="0"/>
              <a:pPr/>
              <a:t>158</a:t>
            </a:fld>
            <a:endParaRPr lang="en-US" dirty="0"/>
          </a:p>
        </p:txBody>
      </p:sp>
    </p:spTree>
    <p:extLst>
      <p:ext uri="{BB962C8B-B14F-4D97-AF65-F5344CB8AC3E}">
        <p14:creationId xmlns:p14="http://schemas.microsoft.com/office/powerpoint/2010/main" val="4001062562"/>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Filter </a:t>
            </a:r>
          </a:p>
        </p:txBody>
      </p:sp>
      <p:sp>
        <p:nvSpPr>
          <p:cNvPr id="48" name="Text Box 10">
            <a:extLst>
              <a:ext uri="{FF2B5EF4-FFF2-40B4-BE49-F238E27FC236}">
                <a16:creationId xmlns:a16="http://schemas.microsoft.com/office/drawing/2014/main" id="{38730C00-ACD8-4887-B8F6-796D9F7ED86E}"/>
              </a:ext>
            </a:extLst>
          </p:cNvPr>
          <p:cNvSpPr txBox="1">
            <a:spLocks noChangeArrowheads="1"/>
          </p:cNvSpPr>
          <p:nvPr/>
        </p:nvSpPr>
        <p:spPr bwMode="auto">
          <a:xfrm>
            <a:off x="345018" y="2125043"/>
            <a:ext cx="2248085"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r"/>
            <a:r>
              <a:rPr lang="en-US" cap="none" dirty="0">
                <a:solidFill>
                  <a:srgbClr val="96968C"/>
                </a:solidFill>
                <a:latin typeface="Arial Black"/>
              </a:rPr>
              <a:t>Text</a:t>
            </a:r>
          </a:p>
        </p:txBody>
      </p:sp>
      <p:sp>
        <p:nvSpPr>
          <p:cNvPr id="49" name="Text Box 10">
            <a:extLst>
              <a:ext uri="{FF2B5EF4-FFF2-40B4-BE49-F238E27FC236}">
                <a16:creationId xmlns:a16="http://schemas.microsoft.com/office/drawing/2014/main" id="{4ADFD11F-E7B1-44A4-86F2-D1D2E676C449}"/>
              </a:ext>
            </a:extLst>
          </p:cNvPr>
          <p:cNvSpPr txBox="1">
            <a:spLocks noChangeArrowheads="1"/>
          </p:cNvSpPr>
          <p:nvPr/>
        </p:nvSpPr>
        <p:spPr bwMode="auto">
          <a:xfrm>
            <a:off x="5179363" y="1522146"/>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ctr"/>
            <a:r>
              <a:rPr lang="en-US" cap="none" dirty="0">
                <a:solidFill>
                  <a:schemeClr val="accent2"/>
                </a:solidFill>
                <a:latin typeface="Arial Black"/>
              </a:rPr>
              <a:t>Text</a:t>
            </a:r>
          </a:p>
        </p:txBody>
      </p:sp>
      <p:grpSp>
        <p:nvGrpSpPr>
          <p:cNvPr id="3" name="Group 2" descr="Insert a description to the filter">
            <a:extLst>
              <a:ext uri="{FF2B5EF4-FFF2-40B4-BE49-F238E27FC236}">
                <a16:creationId xmlns:a16="http://schemas.microsoft.com/office/drawing/2014/main" id="{2C0C7F0F-872A-4145-AA9B-59D43CE794A6}"/>
              </a:ext>
            </a:extLst>
          </p:cNvPr>
          <p:cNvGrpSpPr/>
          <p:nvPr/>
        </p:nvGrpSpPr>
        <p:grpSpPr>
          <a:xfrm>
            <a:off x="2951753" y="1955593"/>
            <a:ext cx="6235297" cy="4102307"/>
            <a:chOff x="2951753" y="1955593"/>
            <a:chExt cx="6235297" cy="4102307"/>
          </a:xfrm>
        </p:grpSpPr>
        <p:grpSp>
          <p:nvGrpSpPr>
            <p:cNvPr id="35" name="Group 34">
              <a:extLst>
                <a:ext uri="{FF2B5EF4-FFF2-40B4-BE49-F238E27FC236}">
                  <a16:creationId xmlns:a16="http://schemas.microsoft.com/office/drawing/2014/main" id="{3B6B173E-A0C6-4A50-8E41-ABC156A96765}"/>
                </a:ext>
                <a:ext uri="{C183D7F6-B498-43B3-948B-1728B52AA6E4}">
                  <adec:decorative xmlns:adec="http://schemas.microsoft.com/office/drawing/2017/decorative" val="1"/>
                </a:ext>
              </a:extLst>
            </p:cNvPr>
            <p:cNvGrpSpPr/>
            <p:nvPr/>
          </p:nvGrpSpPr>
          <p:grpSpPr>
            <a:xfrm>
              <a:off x="2957922" y="2236930"/>
              <a:ext cx="2817400" cy="2595298"/>
              <a:chOff x="3269142" y="1516205"/>
              <a:chExt cx="2817400" cy="2595298"/>
            </a:xfrm>
          </p:grpSpPr>
          <p:sp>
            <p:nvSpPr>
              <p:cNvPr id="36" name="Line 4">
                <a:extLst>
                  <a:ext uri="{FF2B5EF4-FFF2-40B4-BE49-F238E27FC236}">
                    <a16:creationId xmlns:a16="http://schemas.microsoft.com/office/drawing/2014/main" id="{00FA432C-78E6-4DE1-8903-01909AE0972E}"/>
                  </a:ext>
                </a:extLst>
              </p:cNvPr>
              <p:cNvSpPr>
                <a:spLocks noChangeShapeType="1"/>
              </p:cNvSpPr>
              <p:nvPr/>
            </p:nvSpPr>
            <p:spPr bwMode="auto">
              <a:xfrm flipH="1">
                <a:off x="3458339" y="2281221"/>
                <a:ext cx="2628202" cy="1830282"/>
              </a:xfrm>
              <a:prstGeom prst="line">
                <a:avLst/>
              </a:prstGeom>
              <a:noFill/>
              <a:ln w="12700">
                <a:solidFill>
                  <a:srgbClr val="96968C">
                    <a:lumMod val="60000"/>
                    <a:lumOff val="40000"/>
                  </a:srgbClr>
                </a:solidFill>
                <a:round/>
                <a:headEnd type="none" w="sm" len="sm"/>
                <a:tailEnd type="triangle" w="med" len="med"/>
              </a:ln>
              <a:effectLst/>
            </p:spPr>
            <p:txBody>
              <a:bodyPr lIns="45720" rIns="4572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srgbClr val="000000"/>
                  </a:solidFill>
                  <a:effectLst/>
                  <a:uLnTx/>
                  <a:uFillTx/>
                </a:endParaRPr>
              </a:p>
            </p:txBody>
          </p:sp>
          <p:sp>
            <p:nvSpPr>
              <p:cNvPr id="37" name="Line 8">
                <a:extLst>
                  <a:ext uri="{FF2B5EF4-FFF2-40B4-BE49-F238E27FC236}">
                    <a16:creationId xmlns:a16="http://schemas.microsoft.com/office/drawing/2014/main" id="{8FD8152F-4E44-46A4-B239-AC139AC80DB5}"/>
                  </a:ext>
                </a:extLst>
              </p:cNvPr>
              <p:cNvSpPr>
                <a:spLocks noChangeShapeType="1"/>
              </p:cNvSpPr>
              <p:nvPr/>
            </p:nvSpPr>
            <p:spPr bwMode="auto">
              <a:xfrm>
                <a:off x="3269142" y="1516205"/>
                <a:ext cx="2817400" cy="760904"/>
              </a:xfrm>
              <a:prstGeom prst="line">
                <a:avLst/>
              </a:prstGeom>
              <a:noFill/>
              <a:ln w="12700">
                <a:solidFill>
                  <a:srgbClr val="96968C">
                    <a:lumMod val="60000"/>
                    <a:lumOff val="40000"/>
                  </a:srgbClr>
                </a:solidFill>
                <a:round/>
                <a:headEnd type="none" w="sm" len="sm"/>
                <a:tailEnd type="none" w="sm" len="sm"/>
              </a:ln>
              <a:effectLst/>
            </p:spPr>
            <p:txBody>
              <a:bodyPr lIns="45720" rIns="4572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srgbClr val="000000"/>
                  </a:solidFill>
                  <a:effectLst/>
                  <a:uLnTx/>
                  <a:uFillTx/>
                </a:endParaRPr>
              </a:p>
            </p:txBody>
          </p:sp>
        </p:grpSp>
        <p:grpSp>
          <p:nvGrpSpPr>
            <p:cNvPr id="38" name="Group 37">
              <a:extLst>
                <a:ext uri="{FF2B5EF4-FFF2-40B4-BE49-F238E27FC236}">
                  <a16:creationId xmlns:a16="http://schemas.microsoft.com/office/drawing/2014/main" id="{F485E7A7-4886-41C3-BEBB-0C7A150E25D9}"/>
                </a:ext>
                <a:ext uri="{C183D7F6-B498-43B3-948B-1728B52AA6E4}">
                  <adec:decorative xmlns:adec="http://schemas.microsoft.com/office/drawing/2017/decorative" val="1"/>
                </a:ext>
              </a:extLst>
            </p:cNvPr>
            <p:cNvGrpSpPr/>
            <p:nvPr/>
          </p:nvGrpSpPr>
          <p:grpSpPr>
            <a:xfrm>
              <a:off x="2957922" y="3018398"/>
              <a:ext cx="2821513" cy="2035932"/>
              <a:chOff x="3269142" y="2297673"/>
              <a:chExt cx="2821513" cy="2035932"/>
            </a:xfrm>
          </p:grpSpPr>
          <p:sp>
            <p:nvSpPr>
              <p:cNvPr id="39" name="Line 5">
                <a:extLst>
                  <a:ext uri="{FF2B5EF4-FFF2-40B4-BE49-F238E27FC236}">
                    <a16:creationId xmlns:a16="http://schemas.microsoft.com/office/drawing/2014/main" id="{C129BF8A-1D46-4791-BB87-4FCC770CB9DF}"/>
                  </a:ext>
                </a:extLst>
              </p:cNvPr>
              <p:cNvSpPr>
                <a:spLocks noChangeShapeType="1"/>
              </p:cNvSpPr>
              <p:nvPr/>
            </p:nvSpPr>
            <p:spPr bwMode="auto">
              <a:xfrm flipH="1">
                <a:off x="4305616" y="3054464"/>
                <a:ext cx="1785039" cy="1279141"/>
              </a:xfrm>
              <a:prstGeom prst="line">
                <a:avLst/>
              </a:prstGeom>
              <a:noFill/>
              <a:ln w="12700">
                <a:solidFill>
                  <a:srgbClr val="96968C">
                    <a:lumMod val="60000"/>
                    <a:lumOff val="40000"/>
                  </a:srgbClr>
                </a:solidFill>
                <a:round/>
                <a:headEnd type="none" w="sm" len="sm"/>
                <a:tailEnd type="triangle" w="med" len="med"/>
              </a:ln>
              <a:effectLst/>
            </p:spPr>
            <p:txBody>
              <a:bodyPr lIns="45720" rIns="4572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srgbClr val="000000"/>
                  </a:solidFill>
                  <a:effectLst/>
                  <a:uLnTx/>
                  <a:uFillTx/>
                </a:endParaRPr>
              </a:p>
            </p:txBody>
          </p:sp>
          <p:sp>
            <p:nvSpPr>
              <p:cNvPr id="40" name="Line 10">
                <a:extLst>
                  <a:ext uri="{FF2B5EF4-FFF2-40B4-BE49-F238E27FC236}">
                    <a16:creationId xmlns:a16="http://schemas.microsoft.com/office/drawing/2014/main" id="{F7B352BF-A1BD-4EA2-BAD3-FDF28333712B}"/>
                  </a:ext>
                </a:extLst>
              </p:cNvPr>
              <p:cNvSpPr>
                <a:spLocks noChangeShapeType="1"/>
              </p:cNvSpPr>
              <p:nvPr/>
            </p:nvSpPr>
            <p:spPr bwMode="auto">
              <a:xfrm>
                <a:off x="3269142" y="2297673"/>
                <a:ext cx="2817400" cy="760904"/>
              </a:xfrm>
              <a:prstGeom prst="line">
                <a:avLst/>
              </a:prstGeom>
              <a:noFill/>
              <a:ln w="12700">
                <a:solidFill>
                  <a:srgbClr val="96968C">
                    <a:lumMod val="60000"/>
                    <a:lumOff val="40000"/>
                  </a:srgbClr>
                </a:solidFill>
                <a:round/>
                <a:headEnd type="none" w="sm" len="sm"/>
                <a:tailEnd type="none" w="sm" len="sm"/>
              </a:ln>
              <a:effectLst/>
            </p:spPr>
            <p:txBody>
              <a:bodyPr lIns="45720" rIns="4572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srgbClr val="000000"/>
                  </a:solidFill>
                  <a:effectLst/>
                  <a:uLnTx/>
                  <a:uFillTx/>
                </a:endParaRPr>
              </a:p>
            </p:txBody>
          </p:sp>
        </p:grpSp>
        <p:sp>
          <p:nvSpPr>
            <p:cNvPr id="45" name="Line 9">
              <a:extLst>
                <a:ext uri="{FF2B5EF4-FFF2-40B4-BE49-F238E27FC236}">
                  <a16:creationId xmlns:a16="http://schemas.microsoft.com/office/drawing/2014/main" id="{CCD105A2-E9BE-4A40-8843-7FA7943758A8}"/>
                </a:ext>
                <a:ext uri="{C183D7F6-B498-43B3-948B-1728B52AA6E4}">
                  <adec:decorative xmlns:adec="http://schemas.microsoft.com/office/drawing/2017/decorative" val="1"/>
                </a:ext>
              </a:extLst>
            </p:cNvPr>
            <p:cNvSpPr>
              <a:spLocks noChangeShapeType="1"/>
            </p:cNvSpPr>
            <p:nvPr/>
          </p:nvSpPr>
          <p:spPr bwMode="auto">
            <a:xfrm>
              <a:off x="2951753" y="2625608"/>
              <a:ext cx="6235297" cy="1651366"/>
            </a:xfrm>
            <a:prstGeom prst="line">
              <a:avLst/>
            </a:prstGeom>
            <a:noFill/>
            <a:ln w="12700">
              <a:solidFill>
                <a:schemeClr val="accent2"/>
              </a:solidFill>
              <a:round/>
              <a:headEnd type="none" w="sm" len="sm"/>
              <a:tailEnd type="triangle" w="med" len="med"/>
            </a:ln>
            <a:effectLst/>
          </p:spPr>
          <p:txBody>
            <a:bodyPr lIns="45720" rIns="4572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srgbClr val="000000"/>
                </a:solidFill>
                <a:effectLst/>
                <a:uLnTx/>
                <a:uFillTx/>
              </a:endParaRPr>
            </a:p>
          </p:txBody>
        </p:sp>
        <p:grpSp>
          <p:nvGrpSpPr>
            <p:cNvPr id="41" name="Group 40">
              <a:extLst>
                <a:ext uri="{FF2B5EF4-FFF2-40B4-BE49-F238E27FC236}">
                  <a16:creationId xmlns:a16="http://schemas.microsoft.com/office/drawing/2014/main" id="{98862ED9-20D6-4ECC-B9C6-10BE7B53AE62}"/>
                </a:ext>
                <a:ext uri="{C183D7F6-B498-43B3-948B-1728B52AA6E4}">
                  <adec:decorative xmlns:adec="http://schemas.microsoft.com/office/drawing/2017/decorative" val="1"/>
                </a:ext>
              </a:extLst>
            </p:cNvPr>
            <p:cNvGrpSpPr/>
            <p:nvPr/>
          </p:nvGrpSpPr>
          <p:grpSpPr>
            <a:xfrm>
              <a:off x="2951753" y="3795754"/>
              <a:ext cx="2827681" cy="1410757"/>
              <a:chOff x="3262973" y="3075029"/>
              <a:chExt cx="2827681" cy="1410757"/>
            </a:xfrm>
          </p:grpSpPr>
          <p:sp>
            <p:nvSpPr>
              <p:cNvPr id="42" name="Line 6">
                <a:extLst>
                  <a:ext uri="{FF2B5EF4-FFF2-40B4-BE49-F238E27FC236}">
                    <a16:creationId xmlns:a16="http://schemas.microsoft.com/office/drawing/2014/main" id="{8C11F90B-BEC4-48E3-85F4-DCF39E59E895}"/>
                  </a:ext>
                </a:extLst>
              </p:cNvPr>
              <p:cNvSpPr>
                <a:spLocks noChangeShapeType="1"/>
              </p:cNvSpPr>
              <p:nvPr/>
            </p:nvSpPr>
            <p:spPr bwMode="auto">
              <a:xfrm flipH="1">
                <a:off x="5196079" y="3844159"/>
                <a:ext cx="894575" cy="641627"/>
              </a:xfrm>
              <a:prstGeom prst="line">
                <a:avLst/>
              </a:prstGeom>
              <a:noFill/>
              <a:ln w="12700">
                <a:solidFill>
                  <a:srgbClr val="96968C">
                    <a:lumMod val="60000"/>
                    <a:lumOff val="40000"/>
                  </a:srgbClr>
                </a:solidFill>
                <a:round/>
                <a:headEnd type="none" w="sm" len="sm"/>
                <a:tailEnd type="triangle" w="med" len="med"/>
              </a:ln>
              <a:effectLst/>
            </p:spPr>
            <p:txBody>
              <a:bodyPr lIns="45720" rIns="4572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srgbClr val="000000"/>
                  </a:solidFill>
                  <a:effectLst/>
                  <a:uLnTx/>
                  <a:uFillTx/>
                </a:endParaRPr>
              </a:p>
            </p:txBody>
          </p:sp>
          <p:sp>
            <p:nvSpPr>
              <p:cNvPr id="43" name="Line 11">
                <a:extLst>
                  <a:ext uri="{FF2B5EF4-FFF2-40B4-BE49-F238E27FC236}">
                    <a16:creationId xmlns:a16="http://schemas.microsoft.com/office/drawing/2014/main" id="{92C3F7D3-0FE5-428C-BCB6-C57E693BCFA9}"/>
                  </a:ext>
                </a:extLst>
              </p:cNvPr>
              <p:cNvSpPr>
                <a:spLocks noChangeShapeType="1"/>
              </p:cNvSpPr>
              <p:nvPr/>
            </p:nvSpPr>
            <p:spPr bwMode="auto">
              <a:xfrm>
                <a:off x="3262973" y="3075029"/>
                <a:ext cx="2823569" cy="765017"/>
              </a:xfrm>
              <a:prstGeom prst="line">
                <a:avLst/>
              </a:prstGeom>
              <a:noFill/>
              <a:ln w="12700">
                <a:solidFill>
                  <a:srgbClr val="96968C">
                    <a:lumMod val="60000"/>
                    <a:lumOff val="40000"/>
                  </a:srgbClr>
                </a:solidFill>
                <a:round/>
                <a:headEnd type="none" w="sm" len="sm"/>
                <a:tailEnd type="none" w="sm" len="sm"/>
              </a:ln>
              <a:effectLst/>
            </p:spPr>
            <p:txBody>
              <a:bodyPr lIns="45720" rIns="4572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srgbClr val="000000"/>
                  </a:solidFill>
                  <a:effectLst/>
                  <a:uLnTx/>
                  <a:uFillTx/>
                </a:endParaRPr>
              </a:p>
            </p:txBody>
          </p:sp>
        </p:grpSp>
        <p:sp>
          <p:nvSpPr>
            <p:cNvPr id="44" name="Rectangle 43">
              <a:extLst>
                <a:ext uri="{FF2B5EF4-FFF2-40B4-BE49-F238E27FC236}">
                  <a16:creationId xmlns:a16="http://schemas.microsoft.com/office/drawing/2014/main" id="{9D28921A-D2C8-4FFB-B7F6-27202903A833}"/>
                </a:ext>
                <a:ext uri="{C183D7F6-B498-43B3-948B-1728B52AA6E4}">
                  <adec:decorative xmlns:adec="http://schemas.microsoft.com/office/drawing/2017/decorative" val="1"/>
                </a:ext>
              </a:extLst>
            </p:cNvPr>
            <p:cNvSpPr>
              <a:spLocks noChangeAspect="1" noChangeArrowheads="1"/>
            </p:cNvSpPr>
            <p:nvPr/>
          </p:nvSpPr>
          <p:spPr bwMode="auto">
            <a:xfrm rot="16200000">
              <a:off x="4042378" y="3730627"/>
              <a:ext cx="4102307" cy="552239"/>
            </a:xfrm>
            <a:prstGeom prst="rect">
              <a:avLst/>
            </a:prstGeom>
            <a:solidFill>
              <a:schemeClr val="accent2"/>
            </a:solidFill>
            <a:ln w="19050">
              <a:noFill/>
            </a:ln>
          </p:spPr>
          <p:txBody>
            <a:bodyPr vert="horz" wrap="square" lIns="0" tIns="36000" rIns="0" bIns="0" rtlCol="0" anchor="ctr">
              <a:noAutofit/>
            </a:bodyPr>
            <a:lstStyle/>
            <a:p>
              <a:pPr marL="0" marR="0" lvl="0" indent="0" algn="ctr" defTabSz="914400" eaLnBrk="1" fontAlgn="auto" latinLnBrk="0" hangingPunct="1">
                <a:lnSpc>
                  <a:spcPct val="85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Black"/>
              </a:endParaRPr>
            </a:p>
          </p:txBody>
        </p:sp>
        <p:sp>
          <p:nvSpPr>
            <p:cNvPr id="46" name="Line 12">
              <a:extLst>
                <a:ext uri="{FF2B5EF4-FFF2-40B4-BE49-F238E27FC236}">
                  <a16:creationId xmlns:a16="http://schemas.microsoft.com/office/drawing/2014/main" id="{44221C9F-C7DF-4B3B-B479-CF4B1795D5D2}"/>
                </a:ext>
                <a:ext uri="{C183D7F6-B498-43B3-948B-1728B52AA6E4}">
                  <adec:decorative xmlns:adec="http://schemas.microsoft.com/office/drawing/2017/decorative" val="1"/>
                </a:ext>
              </a:extLst>
            </p:cNvPr>
            <p:cNvSpPr>
              <a:spLocks noChangeShapeType="1"/>
            </p:cNvSpPr>
            <p:nvPr/>
          </p:nvSpPr>
          <p:spPr bwMode="auto">
            <a:xfrm>
              <a:off x="2951753" y="3405020"/>
              <a:ext cx="6235297" cy="1651367"/>
            </a:xfrm>
            <a:prstGeom prst="line">
              <a:avLst/>
            </a:prstGeom>
            <a:noFill/>
            <a:ln w="12700">
              <a:solidFill>
                <a:schemeClr val="accent2"/>
              </a:solidFill>
              <a:round/>
              <a:headEnd type="none" w="sm" len="sm"/>
              <a:tailEnd type="triangle" w="med" len="med"/>
            </a:ln>
            <a:effectLst/>
          </p:spPr>
          <p:txBody>
            <a:bodyPr lIns="45720" rIns="4572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srgbClr val="000000"/>
                </a:solidFill>
                <a:effectLst/>
                <a:uLnTx/>
                <a:uFillTx/>
              </a:endParaRPr>
            </a:p>
          </p:txBody>
        </p:sp>
        <p:sp>
          <p:nvSpPr>
            <p:cNvPr id="47" name="Line 13">
              <a:extLst>
                <a:ext uri="{FF2B5EF4-FFF2-40B4-BE49-F238E27FC236}">
                  <a16:creationId xmlns:a16="http://schemas.microsoft.com/office/drawing/2014/main" id="{009C0EB3-C530-4147-9D4F-1D3B7E42B693}"/>
                </a:ext>
                <a:ext uri="{C183D7F6-B498-43B3-948B-1728B52AA6E4}">
                  <adec:decorative xmlns:adec="http://schemas.microsoft.com/office/drawing/2017/decorative" val="1"/>
                </a:ext>
              </a:extLst>
            </p:cNvPr>
            <p:cNvSpPr>
              <a:spLocks noChangeShapeType="1"/>
            </p:cNvSpPr>
            <p:nvPr/>
          </p:nvSpPr>
          <p:spPr bwMode="auto">
            <a:xfrm>
              <a:off x="2951753" y="4186488"/>
              <a:ext cx="6235297" cy="1649310"/>
            </a:xfrm>
            <a:prstGeom prst="line">
              <a:avLst/>
            </a:prstGeom>
            <a:noFill/>
            <a:ln w="12700">
              <a:solidFill>
                <a:schemeClr val="accent2"/>
              </a:solidFill>
              <a:round/>
              <a:headEnd type="none" w="sm" len="sm"/>
              <a:tailEnd type="triangle" w="med" len="med"/>
            </a:ln>
            <a:effectLst/>
          </p:spPr>
          <p:txBody>
            <a:bodyPr lIns="45720" rIns="4572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srgbClr val="000000"/>
                </a:solidFill>
                <a:effectLst/>
                <a:uLnTx/>
                <a:uFillTx/>
              </a:endParaRPr>
            </a:p>
          </p:txBody>
        </p:sp>
      </p:grpSp>
      <p:sp>
        <p:nvSpPr>
          <p:cNvPr id="4" name="Footer Placeholder 3">
            <a:extLst>
              <a:ext uri="{FF2B5EF4-FFF2-40B4-BE49-F238E27FC236}">
                <a16:creationId xmlns:a16="http://schemas.microsoft.com/office/drawing/2014/main" id="{DF5E1C29-ED39-4987-B7D5-A9757543FDFA}"/>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8A5604AF-A326-4400-8671-58DC36BEF7B3}"/>
              </a:ext>
            </a:extLst>
          </p:cNvPr>
          <p:cNvSpPr>
            <a:spLocks noGrp="1"/>
          </p:cNvSpPr>
          <p:nvPr>
            <p:ph type="sldNum" sz="quarter" idx="10"/>
          </p:nvPr>
        </p:nvSpPr>
        <p:spPr/>
        <p:txBody>
          <a:bodyPr/>
          <a:lstStyle/>
          <a:p>
            <a:fld id="{1F90F471-3972-4120-B8B3-0237DE626C35}" type="slidenum">
              <a:rPr lang="en-US" smtClean="0"/>
              <a:pPr/>
              <a:t>159</a:t>
            </a:fld>
            <a:endParaRPr lang="en-US" dirty="0"/>
          </a:p>
        </p:txBody>
      </p:sp>
    </p:spTree>
    <p:extLst>
      <p:ext uri="{BB962C8B-B14F-4D97-AF65-F5344CB8AC3E}">
        <p14:creationId xmlns:p14="http://schemas.microsoft.com/office/powerpoint/2010/main" val="7440415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1B1CB-9274-4EBF-8824-3A53AE693FE7}"/>
              </a:ext>
            </a:extLst>
          </p:cNvPr>
          <p:cNvSpPr>
            <a:spLocks noGrp="1"/>
          </p:cNvSpPr>
          <p:nvPr>
            <p:ph type="title"/>
          </p:nvPr>
        </p:nvSpPr>
        <p:spPr/>
        <p:txBody>
          <a:bodyPr/>
          <a:lstStyle/>
          <a:p>
            <a:r>
              <a:rPr lang="en-GB" dirty="0"/>
              <a:t>Insert Salutation</a:t>
            </a:r>
            <a:endParaRPr lang="en-US" dirty="0"/>
          </a:p>
        </p:txBody>
      </p:sp>
    </p:spTree>
    <p:extLst>
      <p:ext uri="{BB962C8B-B14F-4D97-AF65-F5344CB8AC3E}">
        <p14:creationId xmlns:p14="http://schemas.microsoft.com/office/powerpoint/2010/main" val="336641967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Broken link</a:t>
            </a:r>
          </a:p>
        </p:txBody>
      </p:sp>
      <p:sp>
        <p:nvSpPr>
          <p:cNvPr id="7" name="AutoShape 7">
            <a:extLst>
              <a:ext uri="{FF2B5EF4-FFF2-40B4-BE49-F238E27FC236}">
                <a16:creationId xmlns:a16="http://schemas.microsoft.com/office/drawing/2014/main" id="{B4A8D08F-AAEA-4C64-8DC1-53CB100F061E}"/>
              </a:ext>
            </a:extLst>
          </p:cNvPr>
          <p:cNvSpPr>
            <a:spLocks noChangeArrowheads="1"/>
          </p:cNvSpPr>
          <p:nvPr/>
        </p:nvSpPr>
        <p:spPr bwMode="auto">
          <a:xfrm>
            <a:off x="2036921" y="1219199"/>
            <a:ext cx="8363008" cy="4117975"/>
          </a:xfrm>
          <a:prstGeom prst="rightArrow">
            <a:avLst>
              <a:gd name="adj1" fmla="val 50000"/>
              <a:gd name="adj2" fmla="val 50240"/>
            </a:avLst>
          </a:prstGeom>
          <a:gradFill>
            <a:gsLst>
              <a:gs pos="0">
                <a:schemeClr val="accent1"/>
              </a:gs>
              <a:gs pos="100000">
                <a:schemeClr val="accent5"/>
              </a:gs>
            </a:gsLst>
            <a:lin ang="1200000" scaled="0"/>
          </a:gradFill>
          <a:ln w="6350" algn="ctr">
            <a:solidFill>
              <a:srgbClr val="E4E7E7"/>
            </a:solidFill>
            <a:miter lim="800000"/>
            <a:headEnd/>
            <a:tailEnd/>
          </a:ln>
          <a:effectLst/>
        </p:spPr>
        <p:txBody>
          <a:bodyPr wrap="none" lIns="180000" tIns="180000" rIns="72000" bIns="72000" anchor="ctr" anchorCtr="0"/>
          <a:lstStyle/>
          <a:p>
            <a:pPr marL="0" lvl="1" eaLnBrk="0" hangingPunct="0">
              <a:lnSpc>
                <a:spcPct val="85000"/>
              </a:lnSpc>
              <a:spcBef>
                <a:spcPts val="100"/>
              </a:spcBef>
              <a:spcAft>
                <a:spcPts val="300"/>
              </a:spcAft>
              <a:buClr>
                <a:schemeClr val="folHlink"/>
              </a:buClr>
            </a:pPr>
            <a:r>
              <a:rPr lang="en-US" b="1" dirty="0">
                <a:solidFill>
                  <a:schemeClr val="bg1"/>
                </a:solidFill>
                <a:latin typeface="+mj-lt"/>
              </a:rPr>
              <a:t>Text</a:t>
            </a:r>
          </a:p>
          <a:p>
            <a:pPr marL="177800" lvl="1" indent="-177800" eaLnBrk="0" hangingPunct="0">
              <a:spcBef>
                <a:spcPts val="100"/>
              </a:spcBef>
              <a:spcAft>
                <a:spcPts val="100"/>
              </a:spcAft>
              <a:buFontTx/>
              <a:buChar char="•"/>
            </a:pPr>
            <a:r>
              <a:rPr lang="en-US" dirty="0">
                <a:solidFill>
                  <a:schemeClr val="bg1"/>
                </a:solidFill>
              </a:rPr>
              <a:t>Text</a:t>
            </a:r>
          </a:p>
          <a:p>
            <a:pPr marL="177800" lvl="1" indent="-177800" eaLnBrk="0" hangingPunct="0">
              <a:spcBef>
                <a:spcPts val="100"/>
              </a:spcBef>
              <a:spcAft>
                <a:spcPts val="100"/>
              </a:spcAft>
              <a:buFontTx/>
              <a:buChar char="•"/>
            </a:pPr>
            <a:r>
              <a:rPr lang="en-US" dirty="0">
                <a:solidFill>
                  <a:schemeClr val="bg1"/>
                </a:solidFill>
              </a:rPr>
              <a:t>Text</a:t>
            </a:r>
          </a:p>
          <a:p>
            <a:pPr marL="177800" lvl="1" indent="-177800" eaLnBrk="0" hangingPunct="0">
              <a:spcBef>
                <a:spcPts val="100"/>
              </a:spcBef>
              <a:spcAft>
                <a:spcPts val="100"/>
              </a:spcAft>
              <a:buFontTx/>
              <a:buChar char="•"/>
            </a:pPr>
            <a:r>
              <a:rPr lang="en-US" dirty="0">
                <a:solidFill>
                  <a:schemeClr val="bg1"/>
                </a:solidFill>
              </a:rPr>
              <a:t>Text</a:t>
            </a:r>
          </a:p>
        </p:txBody>
      </p:sp>
      <p:sp>
        <p:nvSpPr>
          <p:cNvPr id="9" name="Line 8">
            <a:extLst>
              <a:ext uri="{FF2B5EF4-FFF2-40B4-BE49-F238E27FC236}">
                <a16:creationId xmlns:a16="http://schemas.microsoft.com/office/drawing/2014/main" id="{9600B4F4-4F0E-4965-B5D5-C5D99627F5AB}"/>
              </a:ext>
              <a:ext uri="{C183D7F6-B498-43B3-948B-1728B52AA6E4}">
                <adec:decorative xmlns:adec="http://schemas.microsoft.com/office/drawing/2017/decorative" val="1"/>
              </a:ext>
            </a:extLst>
          </p:cNvPr>
          <p:cNvSpPr>
            <a:spLocks noChangeShapeType="1"/>
          </p:cNvSpPr>
          <p:nvPr/>
        </p:nvSpPr>
        <p:spPr bwMode="auto">
          <a:xfrm flipH="1">
            <a:off x="4713500" y="1981556"/>
            <a:ext cx="1572620" cy="2724487"/>
          </a:xfrm>
          <a:prstGeom prst="line">
            <a:avLst/>
          </a:prstGeom>
          <a:noFill/>
          <a:ln w="254000">
            <a:solidFill>
              <a:schemeClr val="bg1"/>
            </a:solidFill>
            <a:round/>
            <a:headEnd/>
            <a:tailEnd/>
          </a:ln>
          <a:effectLst/>
        </p:spPr>
        <p:txBody>
          <a:bodyPr wrap="none" lIns="72000" tIns="72000" rIns="72000" bIns="72000" anchor="ctr"/>
          <a:lstStyle/>
          <a:p>
            <a:endParaRPr lang="de-DE" sz="1400" dirty="0"/>
          </a:p>
        </p:txBody>
      </p:sp>
      <p:sp>
        <p:nvSpPr>
          <p:cNvPr id="13" name="Rectangle 7">
            <a:extLst>
              <a:ext uri="{FF2B5EF4-FFF2-40B4-BE49-F238E27FC236}">
                <a16:creationId xmlns:a16="http://schemas.microsoft.com/office/drawing/2014/main" id="{B28E5076-BEB8-4223-997C-9580DA235530}"/>
              </a:ext>
            </a:extLst>
          </p:cNvPr>
          <p:cNvSpPr>
            <a:spLocks noChangeArrowheads="1"/>
          </p:cNvSpPr>
          <p:nvPr>
            <p:custDataLst>
              <p:tags r:id="rId1"/>
            </p:custDataLst>
          </p:nvPr>
        </p:nvSpPr>
        <p:spPr bwMode="auto">
          <a:xfrm>
            <a:off x="6286120" y="2259106"/>
            <a:ext cx="3113374" cy="2009021"/>
          </a:xfrm>
          <a:prstGeom prst="rect">
            <a:avLst/>
          </a:prstGeom>
          <a:noFill/>
          <a:ln w="6350">
            <a:noFill/>
            <a:miter lim="800000"/>
            <a:headEnd/>
            <a:tailEnd/>
          </a:ln>
          <a:effectLst/>
        </p:spPr>
        <p:txBody>
          <a:bodyPr lIns="180000" tIns="180000" rIns="144000" bIns="72000" anchor="ctr" anchorCtr="0"/>
          <a:lstStyle/>
          <a:p>
            <a:pPr eaLnBrk="0" hangingPunct="0">
              <a:lnSpc>
                <a:spcPct val="85000"/>
              </a:lnSpc>
              <a:spcBef>
                <a:spcPts val="100"/>
              </a:spcBef>
              <a:spcAft>
                <a:spcPts val="300"/>
              </a:spcAft>
            </a:pPr>
            <a:r>
              <a:rPr lang="en-US" b="1" dirty="0">
                <a:solidFill>
                  <a:schemeClr val="bg1"/>
                </a:solidFill>
                <a:latin typeface="+mj-lt"/>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p:txBody>
      </p:sp>
      <p:sp>
        <p:nvSpPr>
          <p:cNvPr id="4" name="Footer Placeholder 3">
            <a:extLst>
              <a:ext uri="{FF2B5EF4-FFF2-40B4-BE49-F238E27FC236}">
                <a16:creationId xmlns:a16="http://schemas.microsoft.com/office/drawing/2014/main" id="{3003585D-02BA-4995-8FE5-7B7A45C14FD9}"/>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ECF8DF4F-A230-4A6C-BF1E-12645F55141A}"/>
              </a:ext>
            </a:extLst>
          </p:cNvPr>
          <p:cNvSpPr>
            <a:spLocks noGrp="1"/>
          </p:cNvSpPr>
          <p:nvPr>
            <p:ph type="sldNum" sz="quarter" idx="10"/>
          </p:nvPr>
        </p:nvSpPr>
        <p:spPr/>
        <p:txBody>
          <a:bodyPr/>
          <a:lstStyle/>
          <a:p>
            <a:fld id="{1F90F471-3972-4120-B8B3-0237DE626C35}" type="slidenum">
              <a:rPr lang="en-US" smtClean="0"/>
              <a:pPr/>
              <a:t>160</a:t>
            </a:fld>
            <a:endParaRPr lang="en-US" dirty="0"/>
          </a:p>
        </p:txBody>
      </p:sp>
    </p:spTree>
    <p:extLst>
      <p:ext uri="{BB962C8B-B14F-4D97-AF65-F5344CB8AC3E}">
        <p14:creationId xmlns:p14="http://schemas.microsoft.com/office/powerpoint/2010/main" val="2229362548"/>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Dead end</a:t>
            </a:r>
          </a:p>
        </p:txBody>
      </p:sp>
      <p:sp>
        <p:nvSpPr>
          <p:cNvPr id="7" name="Freeform 4">
            <a:extLst>
              <a:ext uri="{FF2B5EF4-FFF2-40B4-BE49-F238E27FC236}">
                <a16:creationId xmlns:a16="http://schemas.microsoft.com/office/drawing/2014/main" id="{AE4A42FD-D136-44AC-9377-3AEDD9E67F35}"/>
              </a:ext>
              <a:ext uri="{C183D7F6-B498-43B3-948B-1728B52AA6E4}">
                <adec:decorative xmlns:adec="http://schemas.microsoft.com/office/drawing/2017/decorative" val="1"/>
              </a:ext>
            </a:extLst>
          </p:cNvPr>
          <p:cNvSpPr>
            <a:spLocks/>
          </p:cNvSpPr>
          <p:nvPr/>
        </p:nvSpPr>
        <p:spPr bwMode="auto">
          <a:xfrm>
            <a:off x="1468438" y="1376362"/>
            <a:ext cx="8916512" cy="4681537"/>
          </a:xfrm>
          <a:custGeom>
            <a:avLst/>
            <a:gdLst/>
            <a:ahLst/>
            <a:cxnLst>
              <a:cxn ang="0">
                <a:pos x="0" y="664"/>
              </a:cxn>
              <a:cxn ang="0">
                <a:pos x="3208" y="664"/>
              </a:cxn>
              <a:cxn ang="0">
                <a:pos x="3208" y="0"/>
              </a:cxn>
              <a:cxn ang="0">
                <a:pos x="3984" y="0"/>
              </a:cxn>
              <a:cxn ang="0">
                <a:pos x="3984" y="2344"/>
              </a:cxn>
              <a:cxn ang="0">
                <a:pos x="3208" y="2344"/>
              </a:cxn>
              <a:cxn ang="0">
                <a:pos x="3208" y="1688"/>
              </a:cxn>
              <a:cxn ang="0">
                <a:pos x="0" y="1688"/>
              </a:cxn>
              <a:cxn ang="0">
                <a:pos x="0" y="664"/>
              </a:cxn>
            </a:cxnLst>
            <a:rect l="0" t="0" r="r" b="b"/>
            <a:pathLst>
              <a:path w="3985" h="2345">
                <a:moveTo>
                  <a:pt x="0" y="664"/>
                </a:moveTo>
                <a:lnTo>
                  <a:pt x="3208" y="664"/>
                </a:lnTo>
                <a:lnTo>
                  <a:pt x="3208" y="0"/>
                </a:lnTo>
                <a:lnTo>
                  <a:pt x="3984" y="0"/>
                </a:lnTo>
                <a:lnTo>
                  <a:pt x="3984" y="2344"/>
                </a:lnTo>
                <a:lnTo>
                  <a:pt x="3208" y="2344"/>
                </a:lnTo>
                <a:lnTo>
                  <a:pt x="3208" y="1688"/>
                </a:lnTo>
                <a:lnTo>
                  <a:pt x="0" y="1688"/>
                </a:lnTo>
                <a:lnTo>
                  <a:pt x="0" y="664"/>
                </a:lnTo>
              </a:path>
            </a:pathLst>
          </a:custGeom>
          <a:pattFill prst="dkUpDiag">
            <a:fgClr>
              <a:schemeClr val="accent1">
                <a:lumMod val="20000"/>
                <a:lumOff val="80000"/>
              </a:schemeClr>
            </a:fgClr>
            <a:bgClr>
              <a:schemeClr val="bg1"/>
            </a:bgClr>
          </a:pattFill>
          <a:ln w="6350">
            <a:noFill/>
            <a:miter lim="800000"/>
            <a:headEnd/>
            <a:tailEnd/>
          </a:ln>
          <a:effectLst/>
        </p:spPr>
        <p:txBody>
          <a:bodyPr wrap="none" lIns="180000" tIns="180000" rIns="72000" bIns="72000"/>
          <a:lstStyle/>
          <a:p>
            <a:endParaRPr lang="de-DE" dirty="0"/>
          </a:p>
        </p:txBody>
      </p:sp>
      <p:sp>
        <p:nvSpPr>
          <p:cNvPr id="9" name="Arrow: Right 8">
            <a:extLst>
              <a:ext uri="{FF2B5EF4-FFF2-40B4-BE49-F238E27FC236}">
                <a16:creationId xmlns:a16="http://schemas.microsoft.com/office/drawing/2014/main" id="{DA6D2940-303A-413A-B5AA-56E5369E2443}"/>
              </a:ext>
            </a:extLst>
          </p:cNvPr>
          <p:cNvSpPr/>
          <p:nvPr/>
        </p:nvSpPr>
        <p:spPr>
          <a:xfrm>
            <a:off x="2531650" y="3037474"/>
            <a:ext cx="5403771" cy="1356861"/>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79388" indent="-179388" algn="ctr" eaLnBrk="0" hangingPunct="0">
              <a:lnSpc>
                <a:spcPct val="85000"/>
              </a:lnSpc>
              <a:spcBef>
                <a:spcPts val="100"/>
              </a:spcBef>
              <a:spcAft>
                <a:spcPts val="300"/>
              </a:spcAft>
            </a:pPr>
            <a:r>
              <a:rPr lang="en-AU" b="1" dirty="0">
                <a:solidFill>
                  <a:schemeClr val="bg1"/>
                </a:solidFill>
                <a:latin typeface="+mj-lt"/>
              </a:rPr>
              <a:t>Text</a:t>
            </a:r>
            <a:endParaRPr lang="en-GB" b="1" dirty="0">
              <a:solidFill>
                <a:schemeClr val="bg1"/>
              </a:solidFill>
              <a:latin typeface="+mj-lt"/>
            </a:endParaRPr>
          </a:p>
        </p:txBody>
      </p:sp>
      <p:sp>
        <p:nvSpPr>
          <p:cNvPr id="13" name="Rectangle 7">
            <a:extLst>
              <a:ext uri="{FF2B5EF4-FFF2-40B4-BE49-F238E27FC236}">
                <a16:creationId xmlns:a16="http://schemas.microsoft.com/office/drawing/2014/main" id="{3094CC7E-9114-405F-BA93-408EDA9F7E1E}"/>
              </a:ext>
            </a:extLst>
          </p:cNvPr>
          <p:cNvSpPr>
            <a:spLocks noChangeArrowheads="1"/>
          </p:cNvSpPr>
          <p:nvPr>
            <p:custDataLst>
              <p:tags r:id="rId1"/>
            </p:custDataLst>
          </p:nvPr>
        </p:nvSpPr>
        <p:spPr bwMode="auto">
          <a:xfrm>
            <a:off x="8684273" y="1376362"/>
            <a:ext cx="1700677" cy="2590520"/>
          </a:xfrm>
          <a:prstGeom prst="rect">
            <a:avLst/>
          </a:prstGeom>
          <a:noFill/>
          <a:ln w="6350">
            <a:noFill/>
            <a:miter lim="800000"/>
            <a:headEnd/>
            <a:tailEnd/>
          </a:ln>
          <a:effectLst/>
        </p:spPr>
        <p:txBody>
          <a:bodyPr lIns="180000" tIns="180000" rIns="144000" bIns="72000"/>
          <a:lstStyle/>
          <a:p>
            <a:pPr eaLnBrk="0" hangingPunct="0">
              <a:lnSpc>
                <a:spcPct val="85000"/>
              </a:lnSpc>
              <a:spcBef>
                <a:spcPts val="100"/>
              </a:spcBef>
              <a:spcAft>
                <a:spcPts val="300"/>
              </a:spcAft>
            </a:pPr>
            <a:r>
              <a:rPr lang="en-US" b="1" dirty="0">
                <a:latin typeface="+mj-lt"/>
              </a:rPr>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p:txBody>
      </p:sp>
      <p:sp>
        <p:nvSpPr>
          <p:cNvPr id="4" name="Footer Placeholder 3">
            <a:extLst>
              <a:ext uri="{FF2B5EF4-FFF2-40B4-BE49-F238E27FC236}">
                <a16:creationId xmlns:a16="http://schemas.microsoft.com/office/drawing/2014/main" id="{3C352A5F-8A4F-4160-AB9A-F9697E36FB0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8BA7CA0B-8777-48CC-B450-17718057A500}"/>
              </a:ext>
            </a:extLst>
          </p:cNvPr>
          <p:cNvSpPr>
            <a:spLocks noGrp="1"/>
          </p:cNvSpPr>
          <p:nvPr>
            <p:ph type="sldNum" sz="quarter" idx="10"/>
          </p:nvPr>
        </p:nvSpPr>
        <p:spPr/>
        <p:txBody>
          <a:bodyPr/>
          <a:lstStyle/>
          <a:p>
            <a:fld id="{1F90F471-3972-4120-B8B3-0237DE626C35}" type="slidenum">
              <a:rPr lang="en-US" smtClean="0"/>
              <a:pPr/>
              <a:t>161</a:t>
            </a:fld>
            <a:endParaRPr lang="en-US" dirty="0"/>
          </a:p>
        </p:txBody>
      </p:sp>
    </p:spTree>
    <p:extLst>
      <p:ext uri="{BB962C8B-B14F-4D97-AF65-F5344CB8AC3E}">
        <p14:creationId xmlns:p14="http://schemas.microsoft.com/office/powerpoint/2010/main" val="1399954004"/>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7C4124B-B9D5-4FB9-AA46-3262DD2B40DB}"/>
              </a:ext>
            </a:extLst>
          </p:cNvPr>
          <p:cNvSpPr>
            <a:spLocks noGrp="1"/>
          </p:cNvSpPr>
          <p:nvPr>
            <p:ph type="title"/>
          </p:nvPr>
        </p:nvSpPr>
        <p:spPr/>
        <p:txBody>
          <a:bodyPr/>
          <a:lstStyle/>
          <a:p>
            <a:r>
              <a:rPr lang="en-US" dirty="0"/>
              <a:t>Forces/</a:t>
            </a:r>
            <a:br>
              <a:rPr lang="en-US" dirty="0"/>
            </a:br>
            <a:r>
              <a:rPr lang="en-US" dirty="0"/>
              <a:t>Influence</a:t>
            </a:r>
          </a:p>
        </p:txBody>
      </p:sp>
      <p:sp>
        <p:nvSpPr>
          <p:cNvPr id="10" name="Freeform: Shape 9" descr="Add text and order accordingly">
            <a:hlinkClick r:id="rId2" action="ppaction://hlinksldjump" tooltip="Return to Index"/>
            <a:extLst>
              <a:ext uri="{FF2B5EF4-FFF2-40B4-BE49-F238E27FC236}">
                <a16:creationId xmlns:a16="http://schemas.microsoft.com/office/drawing/2014/main" id="{0DE3F75C-CF1B-47BB-A358-FF97AF03C85D}"/>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 Placeholder 8">
            <a:extLst>
              <a:ext uri="{FF2B5EF4-FFF2-40B4-BE49-F238E27FC236}">
                <a16:creationId xmlns:a16="http://schemas.microsoft.com/office/drawing/2014/main" id="{1265ADBE-657A-4DC7-A6A6-2F0E697C4723}"/>
              </a:ext>
            </a:extLst>
          </p:cNvPr>
          <p:cNvSpPr>
            <a:spLocks noGrp="1"/>
          </p:cNvSpPr>
          <p:nvPr>
            <p:ph type="body" sz="quarter" idx="15"/>
          </p:nvPr>
        </p:nvSpPr>
        <p:spPr/>
        <p:txBody>
          <a:bodyPr/>
          <a:lstStyle/>
          <a:p>
            <a:r>
              <a:rPr lang="en-US" dirty="0"/>
              <a:t>Part of </a:t>
            </a:r>
            <a:br>
              <a:rPr lang="en-US" dirty="0"/>
            </a:br>
            <a:r>
              <a:rPr lang="en-US" dirty="0">
                <a:hlinkClick r:id="rId3" action="ppaction://hlinksldjump">
                  <a:extLst>
                    <a:ext uri="{A12FA001-AC4F-418D-AE19-62706E023703}">
                      <ahyp:hlinkClr xmlns:ahyp="http://schemas.microsoft.com/office/drawing/2018/hyperlinkcolor" val="tx"/>
                    </a:ext>
                  </a:extLst>
                </a:hlinkClick>
              </a:rPr>
              <a:t>Dynamic Concepts</a:t>
            </a:r>
            <a:endParaRPr lang="en-US" dirty="0"/>
          </a:p>
        </p:txBody>
      </p:sp>
      <p:sp>
        <p:nvSpPr>
          <p:cNvPr id="5" name="Footer Placeholder 4">
            <a:extLst>
              <a:ext uri="{FF2B5EF4-FFF2-40B4-BE49-F238E27FC236}">
                <a16:creationId xmlns:a16="http://schemas.microsoft.com/office/drawing/2014/main" id="{9DC78945-A645-4563-BCA9-927812C9C4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BEE2891-AE3F-4D8A-B562-5662B242B3DF}"/>
              </a:ext>
            </a:extLst>
          </p:cNvPr>
          <p:cNvSpPr>
            <a:spLocks noGrp="1"/>
          </p:cNvSpPr>
          <p:nvPr>
            <p:ph type="sldNum" sz="quarter" idx="17"/>
          </p:nvPr>
        </p:nvSpPr>
        <p:spPr/>
        <p:txBody>
          <a:bodyPr/>
          <a:lstStyle/>
          <a:p>
            <a:fld id="{1F90F471-3972-4120-B8B3-0237DE626C35}" type="slidenum">
              <a:rPr lang="en-US" smtClean="0"/>
              <a:pPr/>
              <a:t>162</a:t>
            </a:fld>
            <a:endParaRPr lang="en-US" dirty="0"/>
          </a:p>
        </p:txBody>
      </p:sp>
    </p:spTree>
    <p:extLst>
      <p:ext uri="{BB962C8B-B14F-4D97-AF65-F5344CB8AC3E}">
        <p14:creationId xmlns:p14="http://schemas.microsoft.com/office/powerpoint/2010/main" val="2424279361"/>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Butterfly Diagram</a:t>
            </a:r>
          </a:p>
        </p:txBody>
      </p:sp>
      <p:grpSp>
        <p:nvGrpSpPr>
          <p:cNvPr id="3" name="Group 2" descr="Add text and order accordingly">
            <a:extLst>
              <a:ext uri="{FF2B5EF4-FFF2-40B4-BE49-F238E27FC236}">
                <a16:creationId xmlns:a16="http://schemas.microsoft.com/office/drawing/2014/main" id="{C97C3FC5-5CD3-4F49-8F34-A3C4D4D9572A}"/>
              </a:ext>
            </a:extLst>
          </p:cNvPr>
          <p:cNvGrpSpPr/>
          <p:nvPr/>
        </p:nvGrpSpPr>
        <p:grpSpPr>
          <a:xfrm>
            <a:off x="425450" y="1371600"/>
            <a:ext cx="11384916" cy="4628411"/>
            <a:chOff x="334851" y="1375311"/>
            <a:chExt cx="11520599" cy="4683571"/>
          </a:xfrm>
        </p:grpSpPr>
        <p:sp>
          <p:nvSpPr>
            <p:cNvPr id="7" name="Oval 6">
              <a:extLst>
                <a:ext uri="{FF2B5EF4-FFF2-40B4-BE49-F238E27FC236}">
                  <a16:creationId xmlns:a16="http://schemas.microsoft.com/office/drawing/2014/main" id="{7E39F725-C434-4047-B409-B16E9A47CF78}"/>
                </a:ext>
              </a:extLst>
            </p:cNvPr>
            <p:cNvSpPr>
              <a:spLocks noChangeArrowheads="1"/>
            </p:cNvSpPr>
            <p:nvPr/>
          </p:nvSpPr>
          <p:spPr bwMode="auto">
            <a:xfrm>
              <a:off x="5166162" y="2980390"/>
              <a:ext cx="1859676" cy="1878056"/>
            </a:xfrm>
            <a:prstGeom prst="ellipse">
              <a:avLst/>
            </a:prstGeom>
            <a:solidFill>
              <a:schemeClr val="accent2"/>
            </a:solidFill>
            <a:ln w="6350">
              <a:noFill/>
              <a:round/>
              <a:headEnd/>
              <a:tailEnd/>
            </a:ln>
            <a:effectLst/>
          </p:spPr>
          <p:txBody>
            <a:bodyPr wrap="none" lIns="72000" tIns="72000" rIns="72000" bIns="72000" anchor="ctr" anchorCtr="1"/>
            <a:lstStyle/>
            <a:p>
              <a:pPr marL="179388" marR="0" lvl="0" indent="-179388" algn="ctr"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Black"/>
                  <a:ea typeface="+mn-ea"/>
                  <a:cs typeface="+mn-cs"/>
                </a:rPr>
                <a:t>Text</a:t>
              </a:r>
              <a:endParaRPr kumimoji="0" lang="en-US" sz="1800" b="1" i="0" u="none" strike="noStrike" kern="0" cap="all" spc="0" normalizeH="0" baseline="0" noProof="0" dirty="0">
                <a:ln>
                  <a:noFill/>
                </a:ln>
                <a:solidFill>
                  <a:srgbClr val="FFFFFF"/>
                </a:solidFill>
                <a:effectLst/>
                <a:uLnTx/>
                <a:uFillTx/>
                <a:latin typeface="Arial Black"/>
                <a:ea typeface="+mn-ea"/>
                <a:cs typeface="+mn-cs"/>
              </a:endParaRPr>
            </a:p>
          </p:txBody>
        </p:sp>
        <p:sp>
          <p:nvSpPr>
            <p:cNvPr id="8" name="Rektangel 124">
              <a:extLst>
                <a:ext uri="{FF2B5EF4-FFF2-40B4-BE49-F238E27FC236}">
                  <a16:creationId xmlns:a16="http://schemas.microsoft.com/office/drawing/2014/main" id="{52EBD352-42A8-4223-B449-F0783E9DEB4B}"/>
                </a:ext>
              </a:extLst>
            </p:cNvPr>
            <p:cNvSpPr>
              <a:spLocks noChangeArrowheads="1"/>
            </p:cNvSpPr>
            <p:nvPr/>
          </p:nvSpPr>
          <p:spPr bwMode="auto">
            <a:xfrm>
              <a:off x="334963" y="1375311"/>
              <a:ext cx="3561936" cy="612000"/>
            </a:xfrm>
            <a:prstGeom prst="rect">
              <a:avLst/>
            </a:prstGeom>
            <a:solidFill>
              <a:srgbClr val="96968C">
                <a:lumMod val="20000"/>
                <a:lumOff val="80000"/>
              </a:srgbClr>
            </a:solidFill>
            <a:ln w="9525" cap="flat" cmpd="sng" algn="ctr">
              <a:noFill/>
              <a:prstDash val="solid"/>
            </a:ln>
            <a:effectLst/>
          </p:spPr>
          <p:txBody>
            <a:bodyPr lIns="180000" tIns="72000" rIns="108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srgbClr val="000000"/>
                  </a:solidFill>
                  <a:effectLst/>
                  <a:uLnTx/>
                  <a:uFillTx/>
                  <a:latin typeface="Arial"/>
                  <a:ea typeface="+mn-ea"/>
                  <a:cs typeface="+mn-cs"/>
                </a:rPr>
                <a:t>Example text</a:t>
              </a:r>
            </a:p>
          </p:txBody>
        </p:sp>
        <p:sp>
          <p:nvSpPr>
            <p:cNvPr id="9" name="Rektangel 134">
              <a:extLst>
                <a:ext uri="{FF2B5EF4-FFF2-40B4-BE49-F238E27FC236}">
                  <a16:creationId xmlns:a16="http://schemas.microsoft.com/office/drawing/2014/main" id="{238A662D-ACCA-46F5-AFE0-A1C667129D2C}"/>
                </a:ext>
              </a:extLst>
            </p:cNvPr>
            <p:cNvSpPr>
              <a:spLocks noChangeArrowheads="1"/>
            </p:cNvSpPr>
            <p:nvPr/>
          </p:nvSpPr>
          <p:spPr bwMode="auto">
            <a:xfrm>
              <a:off x="334851" y="2189625"/>
              <a:ext cx="3564796" cy="612000"/>
            </a:xfrm>
            <a:prstGeom prst="rect">
              <a:avLst/>
            </a:prstGeom>
            <a:solidFill>
              <a:srgbClr val="96968C">
                <a:lumMod val="20000"/>
                <a:lumOff val="80000"/>
              </a:srgbClr>
            </a:solidFill>
            <a:ln w="9525" cap="flat" cmpd="sng" algn="ctr">
              <a:noFill/>
              <a:prstDash val="solid"/>
            </a:ln>
            <a:effectLst/>
          </p:spPr>
          <p:txBody>
            <a:bodyPr lIns="180000" tIns="72000" rIns="108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srgbClr val="000000"/>
                  </a:solidFill>
                  <a:effectLst/>
                  <a:uLnTx/>
                  <a:uFillTx/>
                  <a:latin typeface="Arial"/>
                  <a:ea typeface="+mn-ea"/>
                  <a:cs typeface="+mn-cs"/>
                </a:rPr>
                <a:t>Example text</a:t>
              </a:r>
            </a:p>
          </p:txBody>
        </p:sp>
        <p:sp>
          <p:nvSpPr>
            <p:cNvPr id="11" name="Rektangel 137">
              <a:extLst>
                <a:ext uri="{FF2B5EF4-FFF2-40B4-BE49-F238E27FC236}">
                  <a16:creationId xmlns:a16="http://schemas.microsoft.com/office/drawing/2014/main" id="{578249F1-D703-4ED3-A90C-A4E870DA6D99}"/>
                </a:ext>
              </a:extLst>
            </p:cNvPr>
            <p:cNvSpPr>
              <a:spLocks noChangeArrowheads="1"/>
            </p:cNvSpPr>
            <p:nvPr/>
          </p:nvSpPr>
          <p:spPr bwMode="auto">
            <a:xfrm>
              <a:off x="334963" y="3003939"/>
              <a:ext cx="3561936" cy="612000"/>
            </a:xfrm>
            <a:prstGeom prst="rect">
              <a:avLst/>
            </a:prstGeom>
            <a:solidFill>
              <a:srgbClr val="96968C">
                <a:lumMod val="20000"/>
                <a:lumOff val="80000"/>
              </a:srgbClr>
            </a:solidFill>
            <a:ln w="9525" cap="flat" cmpd="sng" algn="ctr">
              <a:noFill/>
              <a:prstDash val="solid"/>
            </a:ln>
            <a:effectLst/>
          </p:spPr>
          <p:txBody>
            <a:bodyPr lIns="180000" tIns="72000" rIns="108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srgbClr val="000000"/>
                  </a:solidFill>
                  <a:effectLst/>
                  <a:uLnTx/>
                  <a:uFillTx/>
                  <a:latin typeface="Arial"/>
                  <a:ea typeface="+mn-ea"/>
                  <a:cs typeface="+mn-cs"/>
                </a:rPr>
                <a:t>Example text</a:t>
              </a:r>
            </a:p>
          </p:txBody>
        </p:sp>
        <p:sp>
          <p:nvSpPr>
            <p:cNvPr id="12" name="Rektangel 146">
              <a:extLst>
                <a:ext uri="{FF2B5EF4-FFF2-40B4-BE49-F238E27FC236}">
                  <a16:creationId xmlns:a16="http://schemas.microsoft.com/office/drawing/2014/main" id="{C0C96DBD-4EE8-479B-B086-F4DD7AED6279}"/>
                </a:ext>
              </a:extLst>
            </p:cNvPr>
            <p:cNvSpPr>
              <a:spLocks noChangeArrowheads="1"/>
            </p:cNvSpPr>
            <p:nvPr/>
          </p:nvSpPr>
          <p:spPr bwMode="auto">
            <a:xfrm>
              <a:off x="334851" y="4632567"/>
              <a:ext cx="3564796" cy="612000"/>
            </a:xfrm>
            <a:prstGeom prst="rect">
              <a:avLst/>
            </a:prstGeom>
            <a:solidFill>
              <a:srgbClr val="96968C">
                <a:lumMod val="20000"/>
                <a:lumOff val="80000"/>
              </a:srgbClr>
            </a:solidFill>
            <a:ln w="9525" cap="flat" cmpd="sng" algn="ctr">
              <a:noFill/>
              <a:prstDash val="solid"/>
            </a:ln>
            <a:effectLst/>
          </p:spPr>
          <p:txBody>
            <a:bodyPr lIns="180000" tIns="72000" rIns="108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srgbClr val="000000"/>
                  </a:solidFill>
                  <a:effectLst/>
                  <a:uLnTx/>
                  <a:uFillTx/>
                  <a:latin typeface="Arial"/>
                  <a:ea typeface="+mn-ea"/>
                  <a:cs typeface="+mn-cs"/>
                </a:rPr>
                <a:t>Example text</a:t>
              </a:r>
            </a:p>
          </p:txBody>
        </p:sp>
        <p:sp>
          <p:nvSpPr>
            <p:cNvPr id="13" name="Rektangel 153">
              <a:extLst>
                <a:ext uri="{FF2B5EF4-FFF2-40B4-BE49-F238E27FC236}">
                  <a16:creationId xmlns:a16="http://schemas.microsoft.com/office/drawing/2014/main" id="{BC40AE9A-EF5A-400D-8E01-284F6EFDBF80}"/>
                </a:ext>
              </a:extLst>
            </p:cNvPr>
            <p:cNvSpPr>
              <a:spLocks noChangeArrowheads="1"/>
            </p:cNvSpPr>
            <p:nvPr/>
          </p:nvSpPr>
          <p:spPr bwMode="auto">
            <a:xfrm>
              <a:off x="334851" y="3818253"/>
              <a:ext cx="3564796" cy="612000"/>
            </a:xfrm>
            <a:prstGeom prst="rect">
              <a:avLst/>
            </a:prstGeom>
            <a:solidFill>
              <a:srgbClr val="96968C">
                <a:lumMod val="20000"/>
                <a:lumOff val="80000"/>
              </a:srgbClr>
            </a:solidFill>
            <a:ln w="9525" cap="flat" cmpd="sng" algn="ctr">
              <a:noFill/>
              <a:prstDash val="solid"/>
            </a:ln>
            <a:effectLst/>
          </p:spPr>
          <p:txBody>
            <a:bodyPr lIns="180000" tIns="72000" rIns="108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srgbClr val="000000"/>
                  </a:solidFill>
                  <a:effectLst/>
                  <a:uLnTx/>
                  <a:uFillTx/>
                  <a:latin typeface="Arial"/>
                  <a:ea typeface="+mn-ea"/>
                  <a:cs typeface="+mn-cs"/>
                </a:rPr>
                <a:t>Example text</a:t>
              </a:r>
            </a:p>
          </p:txBody>
        </p:sp>
        <p:sp>
          <p:nvSpPr>
            <p:cNvPr id="14" name="Rektangel 166">
              <a:extLst>
                <a:ext uri="{FF2B5EF4-FFF2-40B4-BE49-F238E27FC236}">
                  <a16:creationId xmlns:a16="http://schemas.microsoft.com/office/drawing/2014/main" id="{5816AA64-437A-41FC-AB57-F90AE3791BBB}"/>
                </a:ext>
              </a:extLst>
            </p:cNvPr>
            <p:cNvSpPr>
              <a:spLocks noChangeArrowheads="1"/>
            </p:cNvSpPr>
            <p:nvPr/>
          </p:nvSpPr>
          <p:spPr bwMode="auto">
            <a:xfrm>
              <a:off x="334851" y="5446882"/>
              <a:ext cx="3564796" cy="612000"/>
            </a:xfrm>
            <a:prstGeom prst="rect">
              <a:avLst/>
            </a:prstGeom>
            <a:solidFill>
              <a:srgbClr val="96968C">
                <a:lumMod val="20000"/>
                <a:lumOff val="80000"/>
              </a:srgbClr>
            </a:solidFill>
            <a:ln w="9525" cap="flat" cmpd="sng" algn="ctr">
              <a:noFill/>
              <a:prstDash val="solid"/>
            </a:ln>
            <a:effectLst/>
          </p:spPr>
          <p:txBody>
            <a:bodyPr lIns="180000" tIns="72000" rIns="108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srgbClr val="000000"/>
                  </a:solidFill>
                  <a:effectLst/>
                  <a:uLnTx/>
                  <a:uFillTx/>
                  <a:latin typeface="Arial"/>
                  <a:ea typeface="+mn-ea"/>
                  <a:cs typeface="+mn-cs"/>
                </a:rPr>
                <a:t>Example text</a:t>
              </a:r>
            </a:p>
          </p:txBody>
        </p:sp>
        <p:sp>
          <p:nvSpPr>
            <p:cNvPr id="15" name="Rektangel 124">
              <a:extLst>
                <a:ext uri="{FF2B5EF4-FFF2-40B4-BE49-F238E27FC236}">
                  <a16:creationId xmlns:a16="http://schemas.microsoft.com/office/drawing/2014/main" id="{F49C4242-7CB0-499F-A8EB-4463ED4B29DE}"/>
                </a:ext>
              </a:extLst>
            </p:cNvPr>
            <p:cNvSpPr>
              <a:spLocks noChangeArrowheads="1"/>
            </p:cNvSpPr>
            <p:nvPr/>
          </p:nvSpPr>
          <p:spPr bwMode="auto">
            <a:xfrm>
              <a:off x="8290766" y="1375311"/>
              <a:ext cx="3561936" cy="612000"/>
            </a:xfrm>
            <a:prstGeom prst="rect">
              <a:avLst/>
            </a:prstGeom>
            <a:solidFill>
              <a:srgbClr val="96968C">
                <a:lumMod val="20000"/>
                <a:lumOff val="80000"/>
              </a:srgbClr>
            </a:solidFill>
            <a:ln w="9525" cap="flat" cmpd="sng" algn="ctr">
              <a:noFill/>
              <a:prstDash val="solid"/>
            </a:ln>
            <a:effectLst/>
          </p:spPr>
          <p:txBody>
            <a:bodyPr lIns="180000" tIns="72000" rIns="108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srgbClr val="000000"/>
                  </a:solidFill>
                  <a:effectLst/>
                  <a:uLnTx/>
                  <a:uFillTx/>
                  <a:latin typeface="Arial"/>
                  <a:ea typeface="+mn-ea"/>
                  <a:cs typeface="+mn-cs"/>
                </a:rPr>
                <a:t>Example text</a:t>
              </a:r>
            </a:p>
          </p:txBody>
        </p:sp>
        <p:sp>
          <p:nvSpPr>
            <p:cNvPr id="16" name="Rektangel 134">
              <a:extLst>
                <a:ext uri="{FF2B5EF4-FFF2-40B4-BE49-F238E27FC236}">
                  <a16:creationId xmlns:a16="http://schemas.microsoft.com/office/drawing/2014/main" id="{FB345E8E-A5AE-4577-BB57-5AE3EBFF3F8C}"/>
                </a:ext>
              </a:extLst>
            </p:cNvPr>
            <p:cNvSpPr>
              <a:spLocks noChangeArrowheads="1"/>
            </p:cNvSpPr>
            <p:nvPr/>
          </p:nvSpPr>
          <p:spPr bwMode="auto">
            <a:xfrm>
              <a:off x="8290654" y="2189625"/>
              <a:ext cx="3564796" cy="612000"/>
            </a:xfrm>
            <a:prstGeom prst="rect">
              <a:avLst/>
            </a:prstGeom>
            <a:solidFill>
              <a:srgbClr val="96968C">
                <a:lumMod val="20000"/>
                <a:lumOff val="80000"/>
              </a:srgbClr>
            </a:solidFill>
            <a:ln w="9525" cap="flat" cmpd="sng" algn="ctr">
              <a:noFill/>
              <a:prstDash val="solid"/>
            </a:ln>
            <a:effectLst/>
          </p:spPr>
          <p:txBody>
            <a:bodyPr lIns="180000" tIns="72000" rIns="108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srgbClr val="000000"/>
                  </a:solidFill>
                  <a:effectLst/>
                  <a:uLnTx/>
                  <a:uFillTx/>
                  <a:latin typeface="Arial"/>
                  <a:ea typeface="+mn-ea"/>
                  <a:cs typeface="+mn-cs"/>
                </a:rPr>
                <a:t>Example text</a:t>
              </a:r>
            </a:p>
          </p:txBody>
        </p:sp>
        <p:sp>
          <p:nvSpPr>
            <p:cNvPr id="17" name="Rektangel 137">
              <a:extLst>
                <a:ext uri="{FF2B5EF4-FFF2-40B4-BE49-F238E27FC236}">
                  <a16:creationId xmlns:a16="http://schemas.microsoft.com/office/drawing/2014/main" id="{C7B62B35-E7AF-4344-82E5-05B469E54570}"/>
                </a:ext>
              </a:extLst>
            </p:cNvPr>
            <p:cNvSpPr>
              <a:spLocks noChangeArrowheads="1"/>
            </p:cNvSpPr>
            <p:nvPr/>
          </p:nvSpPr>
          <p:spPr bwMode="auto">
            <a:xfrm>
              <a:off x="8290766" y="3003939"/>
              <a:ext cx="3561936" cy="612000"/>
            </a:xfrm>
            <a:prstGeom prst="rect">
              <a:avLst/>
            </a:prstGeom>
            <a:solidFill>
              <a:srgbClr val="96968C">
                <a:lumMod val="20000"/>
                <a:lumOff val="80000"/>
              </a:srgbClr>
            </a:solidFill>
            <a:ln w="9525" cap="flat" cmpd="sng" algn="ctr">
              <a:noFill/>
              <a:prstDash val="solid"/>
            </a:ln>
            <a:effectLst/>
          </p:spPr>
          <p:txBody>
            <a:bodyPr lIns="180000" tIns="72000" rIns="108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srgbClr val="000000"/>
                  </a:solidFill>
                  <a:effectLst/>
                  <a:uLnTx/>
                  <a:uFillTx/>
                  <a:latin typeface="Arial"/>
                  <a:ea typeface="+mn-ea"/>
                  <a:cs typeface="+mn-cs"/>
                </a:rPr>
                <a:t>Example text</a:t>
              </a:r>
            </a:p>
          </p:txBody>
        </p:sp>
        <p:sp>
          <p:nvSpPr>
            <p:cNvPr id="18" name="Rektangel 146">
              <a:extLst>
                <a:ext uri="{FF2B5EF4-FFF2-40B4-BE49-F238E27FC236}">
                  <a16:creationId xmlns:a16="http://schemas.microsoft.com/office/drawing/2014/main" id="{90800164-28BE-494E-B2F1-5CFFE2922EFB}"/>
                </a:ext>
              </a:extLst>
            </p:cNvPr>
            <p:cNvSpPr>
              <a:spLocks noChangeArrowheads="1"/>
            </p:cNvSpPr>
            <p:nvPr/>
          </p:nvSpPr>
          <p:spPr bwMode="auto">
            <a:xfrm>
              <a:off x="8290654" y="4632567"/>
              <a:ext cx="3564796" cy="612000"/>
            </a:xfrm>
            <a:prstGeom prst="rect">
              <a:avLst/>
            </a:prstGeom>
            <a:solidFill>
              <a:srgbClr val="96968C">
                <a:lumMod val="20000"/>
                <a:lumOff val="80000"/>
              </a:srgbClr>
            </a:solidFill>
            <a:ln w="9525" cap="flat" cmpd="sng" algn="ctr">
              <a:noFill/>
              <a:prstDash val="solid"/>
            </a:ln>
            <a:effectLst/>
          </p:spPr>
          <p:txBody>
            <a:bodyPr lIns="180000" tIns="72000" rIns="108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srgbClr val="000000"/>
                  </a:solidFill>
                  <a:effectLst/>
                  <a:uLnTx/>
                  <a:uFillTx/>
                  <a:latin typeface="Arial"/>
                  <a:ea typeface="+mn-ea"/>
                  <a:cs typeface="+mn-cs"/>
                </a:rPr>
                <a:t>Example text</a:t>
              </a:r>
            </a:p>
          </p:txBody>
        </p:sp>
        <p:sp>
          <p:nvSpPr>
            <p:cNvPr id="19" name="Rektangel 153">
              <a:extLst>
                <a:ext uri="{FF2B5EF4-FFF2-40B4-BE49-F238E27FC236}">
                  <a16:creationId xmlns:a16="http://schemas.microsoft.com/office/drawing/2014/main" id="{169DE570-3BDD-403E-B82B-2921DF6B2EC3}"/>
                </a:ext>
              </a:extLst>
            </p:cNvPr>
            <p:cNvSpPr>
              <a:spLocks noChangeArrowheads="1"/>
            </p:cNvSpPr>
            <p:nvPr/>
          </p:nvSpPr>
          <p:spPr bwMode="auto">
            <a:xfrm>
              <a:off x="8290654" y="3818253"/>
              <a:ext cx="3564796" cy="612000"/>
            </a:xfrm>
            <a:prstGeom prst="rect">
              <a:avLst/>
            </a:prstGeom>
            <a:solidFill>
              <a:srgbClr val="96968C">
                <a:lumMod val="20000"/>
                <a:lumOff val="80000"/>
              </a:srgbClr>
            </a:solidFill>
            <a:ln w="9525" cap="flat" cmpd="sng" algn="ctr">
              <a:noFill/>
              <a:prstDash val="solid"/>
            </a:ln>
            <a:effectLst/>
          </p:spPr>
          <p:txBody>
            <a:bodyPr lIns="180000" tIns="72000" rIns="108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srgbClr val="000000"/>
                  </a:solidFill>
                  <a:effectLst/>
                  <a:uLnTx/>
                  <a:uFillTx/>
                  <a:latin typeface="Arial"/>
                  <a:ea typeface="+mn-ea"/>
                  <a:cs typeface="+mn-cs"/>
                </a:rPr>
                <a:t>Example text</a:t>
              </a:r>
            </a:p>
          </p:txBody>
        </p:sp>
        <p:sp>
          <p:nvSpPr>
            <p:cNvPr id="20" name="Rektangel 166">
              <a:extLst>
                <a:ext uri="{FF2B5EF4-FFF2-40B4-BE49-F238E27FC236}">
                  <a16:creationId xmlns:a16="http://schemas.microsoft.com/office/drawing/2014/main" id="{E206780B-3095-4D3C-9866-00D0ED9E11EE}"/>
                </a:ext>
              </a:extLst>
            </p:cNvPr>
            <p:cNvSpPr>
              <a:spLocks noChangeArrowheads="1"/>
            </p:cNvSpPr>
            <p:nvPr/>
          </p:nvSpPr>
          <p:spPr bwMode="auto">
            <a:xfrm>
              <a:off x="8290654" y="5446882"/>
              <a:ext cx="3564796" cy="612000"/>
            </a:xfrm>
            <a:prstGeom prst="rect">
              <a:avLst/>
            </a:prstGeom>
            <a:solidFill>
              <a:srgbClr val="96968C">
                <a:lumMod val="20000"/>
                <a:lumOff val="80000"/>
              </a:srgbClr>
            </a:solidFill>
            <a:ln w="9525" cap="flat" cmpd="sng" algn="ctr">
              <a:noFill/>
              <a:prstDash val="solid"/>
            </a:ln>
            <a:effectLst/>
          </p:spPr>
          <p:txBody>
            <a:bodyPr lIns="180000" tIns="72000" rIns="108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srgbClr val="000000"/>
                  </a:solidFill>
                  <a:effectLst/>
                  <a:uLnTx/>
                  <a:uFillTx/>
                  <a:latin typeface="Arial"/>
                  <a:ea typeface="+mn-ea"/>
                  <a:cs typeface="+mn-cs"/>
                </a:rPr>
                <a:t>Example text</a:t>
              </a:r>
            </a:p>
          </p:txBody>
        </p:sp>
        <p:cxnSp>
          <p:nvCxnSpPr>
            <p:cNvPr id="21" name="Straight Arrow Connector 20">
              <a:extLst>
                <a:ext uri="{FF2B5EF4-FFF2-40B4-BE49-F238E27FC236}">
                  <a16:creationId xmlns:a16="http://schemas.microsoft.com/office/drawing/2014/main" id="{EF31D9C8-AAA5-466D-B648-A0DD5DC7FF79}"/>
                </a:ext>
              </a:extLst>
            </p:cNvPr>
            <p:cNvCxnSpPr>
              <a:stCxn id="8" idx="3"/>
            </p:cNvCxnSpPr>
            <p:nvPr/>
          </p:nvCxnSpPr>
          <p:spPr>
            <a:xfrm>
              <a:off x="3896899" y="1681311"/>
              <a:ext cx="1503440" cy="1322628"/>
            </a:xfrm>
            <a:prstGeom prst="straightConnector1">
              <a:avLst/>
            </a:prstGeom>
            <a:noFill/>
            <a:ln w="12700" cap="flat" cmpd="sng" algn="ctr">
              <a:solidFill>
                <a:srgbClr val="96968C">
                  <a:lumMod val="60000"/>
                  <a:lumOff val="40000"/>
                </a:srgbClr>
              </a:solidFill>
              <a:prstDash val="solid"/>
              <a:tailEnd type="triangle"/>
            </a:ln>
            <a:effectLst/>
          </p:spPr>
        </p:cxnSp>
        <p:cxnSp>
          <p:nvCxnSpPr>
            <p:cNvPr id="22" name="Straight Arrow Connector 21">
              <a:extLst>
                <a:ext uri="{FF2B5EF4-FFF2-40B4-BE49-F238E27FC236}">
                  <a16:creationId xmlns:a16="http://schemas.microsoft.com/office/drawing/2014/main" id="{347C4362-6AD4-4259-8354-3D5DDABC459E}"/>
                </a:ext>
              </a:extLst>
            </p:cNvPr>
            <p:cNvCxnSpPr>
              <a:stCxn id="9" idx="3"/>
            </p:cNvCxnSpPr>
            <p:nvPr/>
          </p:nvCxnSpPr>
          <p:spPr>
            <a:xfrm>
              <a:off x="3899647" y="2495625"/>
              <a:ext cx="1229306" cy="812840"/>
            </a:xfrm>
            <a:prstGeom prst="straightConnector1">
              <a:avLst/>
            </a:prstGeom>
            <a:noFill/>
            <a:ln w="12700" cap="flat" cmpd="sng" algn="ctr">
              <a:solidFill>
                <a:srgbClr val="96968C">
                  <a:lumMod val="60000"/>
                  <a:lumOff val="40000"/>
                </a:srgbClr>
              </a:solidFill>
              <a:prstDash val="solid"/>
              <a:tailEnd type="triangle"/>
            </a:ln>
            <a:effectLst/>
          </p:spPr>
        </p:cxnSp>
        <p:cxnSp>
          <p:nvCxnSpPr>
            <p:cNvPr id="23" name="Straight Arrow Connector 22">
              <a:extLst>
                <a:ext uri="{FF2B5EF4-FFF2-40B4-BE49-F238E27FC236}">
                  <a16:creationId xmlns:a16="http://schemas.microsoft.com/office/drawing/2014/main" id="{0242C306-4E33-421E-B7D7-B3BE7797EB76}"/>
                </a:ext>
              </a:extLst>
            </p:cNvPr>
            <p:cNvCxnSpPr>
              <a:stCxn id="11" idx="3"/>
            </p:cNvCxnSpPr>
            <p:nvPr/>
          </p:nvCxnSpPr>
          <p:spPr>
            <a:xfrm>
              <a:off x="3896899" y="3309939"/>
              <a:ext cx="1090737" cy="339348"/>
            </a:xfrm>
            <a:prstGeom prst="straightConnector1">
              <a:avLst/>
            </a:prstGeom>
            <a:noFill/>
            <a:ln w="12700" cap="flat" cmpd="sng" algn="ctr">
              <a:solidFill>
                <a:srgbClr val="96968C">
                  <a:lumMod val="60000"/>
                  <a:lumOff val="40000"/>
                </a:srgbClr>
              </a:solidFill>
              <a:prstDash val="solid"/>
              <a:tailEnd type="triangle"/>
            </a:ln>
            <a:effectLst/>
          </p:spPr>
        </p:cxnSp>
        <p:cxnSp>
          <p:nvCxnSpPr>
            <p:cNvPr id="24" name="Straight Arrow Connector 23">
              <a:extLst>
                <a:ext uri="{FF2B5EF4-FFF2-40B4-BE49-F238E27FC236}">
                  <a16:creationId xmlns:a16="http://schemas.microsoft.com/office/drawing/2014/main" id="{9549CF82-5A1E-4B7E-AFB9-E87CEE701E09}"/>
                </a:ext>
              </a:extLst>
            </p:cNvPr>
            <p:cNvCxnSpPr>
              <a:stCxn id="13" idx="3"/>
            </p:cNvCxnSpPr>
            <p:nvPr/>
          </p:nvCxnSpPr>
          <p:spPr>
            <a:xfrm flipV="1">
              <a:off x="3899647" y="4017196"/>
              <a:ext cx="1087989" cy="107057"/>
            </a:xfrm>
            <a:prstGeom prst="straightConnector1">
              <a:avLst/>
            </a:prstGeom>
            <a:noFill/>
            <a:ln w="12700" cap="flat" cmpd="sng" algn="ctr">
              <a:solidFill>
                <a:srgbClr val="96968C">
                  <a:lumMod val="60000"/>
                  <a:lumOff val="40000"/>
                </a:srgbClr>
              </a:solidFill>
              <a:prstDash val="solid"/>
              <a:tailEnd type="triangle"/>
            </a:ln>
            <a:effectLst/>
          </p:spPr>
        </p:cxnSp>
        <p:cxnSp>
          <p:nvCxnSpPr>
            <p:cNvPr id="25" name="Straight Arrow Connector 24">
              <a:extLst>
                <a:ext uri="{FF2B5EF4-FFF2-40B4-BE49-F238E27FC236}">
                  <a16:creationId xmlns:a16="http://schemas.microsoft.com/office/drawing/2014/main" id="{429ECCFC-9B2F-48AE-8471-F3F721CB8580}"/>
                </a:ext>
              </a:extLst>
            </p:cNvPr>
            <p:cNvCxnSpPr>
              <a:stCxn id="12" idx="3"/>
            </p:cNvCxnSpPr>
            <p:nvPr/>
          </p:nvCxnSpPr>
          <p:spPr>
            <a:xfrm flipV="1">
              <a:off x="3899647" y="4464424"/>
              <a:ext cx="1188720" cy="474143"/>
            </a:xfrm>
            <a:prstGeom prst="straightConnector1">
              <a:avLst/>
            </a:prstGeom>
            <a:noFill/>
            <a:ln w="12700" cap="flat" cmpd="sng" algn="ctr">
              <a:solidFill>
                <a:srgbClr val="96968C">
                  <a:lumMod val="60000"/>
                  <a:lumOff val="40000"/>
                </a:srgbClr>
              </a:solidFill>
              <a:prstDash val="solid"/>
              <a:tailEnd type="triangle"/>
            </a:ln>
            <a:effectLst/>
          </p:spPr>
        </p:cxnSp>
        <p:cxnSp>
          <p:nvCxnSpPr>
            <p:cNvPr id="26" name="Straight Arrow Connector 25">
              <a:extLst>
                <a:ext uri="{FF2B5EF4-FFF2-40B4-BE49-F238E27FC236}">
                  <a16:creationId xmlns:a16="http://schemas.microsoft.com/office/drawing/2014/main" id="{A8B51565-66E7-4E68-994C-97F8DE2F5ABD}"/>
                </a:ext>
              </a:extLst>
            </p:cNvPr>
            <p:cNvCxnSpPr/>
            <p:nvPr/>
          </p:nvCxnSpPr>
          <p:spPr>
            <a:xfrm flipV="1">
              <a:off x="3896899" y="4817225"/>
              <a:ext cx="1489748" cy="927360"/>
            </a:xfrm>
            <a:prstGeom prst="straightConnector1">
              <a:avLst/>
            </a:prstGeom>
            <a:noFill/>
            <a:ln w="12700" cap="flat" cmpd="sng" algn="ctr">
              <a:solidFill>
                <a:srgbClr val="96968C">
                  <a:lumMod val="60000"/>
                  <a:lumOff val="40000"/>
                </a:srgbClr>
              </a:solidFill>
              <a:prstDash val="solid"/>
              <a:tailEnd type="triangle"/>
            </a:ln>
            <a:effectLst/>
          </p:spPr>
        </p:cxnSp>
        <p:cxnSp>
          <p:nvCxnSpPr>
            <p:cNvPr id="27" name="Straight Arrow Connector 26">
              <a:extLst>
                <a:ext uri="{FF2B5EF4-FFF2-40B4-BE49-F238E27FC236}">
                  <a16:creationId xmlns:a16="http://schemas.microsoft.com/office/drawing/2014/main" id="{647674F6-A2E2-40CF-8CAB-3B55462FBBD6}"/>
                </a:ext>
              </a:extLst>
            </p:cNvPr>
            <p:cNvCxnSpPr>
              <a:stCxn id="15" idx="1"/>
            </p:cNvCxnSpPr>
            <p:nvPr/>
          </p:nvCxnSpPr>
          <p:spPr>
            <a:xfrm flipH="1">
              <a:off x="6800906" y="1681311"/>
              <a:ext cx="1489860" cy="1322628"/>
            </a:xfrm>
            <a:prstGeom prst="straightConnector1">
              <a:avLst/>
            </a:prstGeom>
            <a:noFill/>
            <a:ln w="12700" cap="flat" cmpd="sng" algn="ctr">
              <a:solidFill>
                <a:srgbClr val="96968C">
                  <a:lumMod val="60000"/>
                  <a:lumOff val="40000"/>
                </a:srgbClr>
              </a:solidFill>
              <a:prstDash val="solid"/>
              <a:tailEnd type="triangle"/>
            </a:ln>
            <a:effectLst/>
          </p:spPr>
        </p:cxnSp>
        <p:cxnSp>
          <p:nvCxnSpPr>
            <p:cNvPr id="28" name="Straight Arrow Connector 27">
              <a:extLst>
                <a:ext uri="{FF2B5EF4-FFF2-40B4-BE49-F238E27FC236}">
                  <a16:creationId xmlns:a16="http://schemas.microsoft.com/office/drawing/2014/main" id="{6E0C6F2E-5B83-4026-B42D-AF13DDC482D6}"/>
                </a:ext>
              </a:extLst>
            </p:cNvPr>
            <p:cNvCxnSpPr>
              <a:stCxn id="16" idx="1"/>
            </p:cNvCxnSpPr>
            <p:nvPr/>
          </p:nvCxnSpPr>
          <p:spPr>
            <a:xfrm flipH="1">
              <a:off x="7072292" y="2495625"/>
              <a:ext cx="1218362" cy="812840"/>
            </a:xfrm>
            <a:prstGeom prst="straightConnector1">
              <a:avLst/>
            </a:prstGeom>
            <a:noFill/>
            <a:ln w="12700" cap="flat" cmpd="sng" algn="ctr">
              <a:solidFill>
                <a:srgbClr val="96968C">
                  <a:lumMod val="60000"/>
                  <a:lumOff val="40000"/>
                </a:srgbClr>
              </a:solidFill>
              <a:prstDash val="solid"/>
              <a:tailEnd type="triangle"/>
            </a:ln>
            <a:effectLst/>
          </p:spPr>
        </p:cxnSp>
        <p:cxnSp>
          <p:nvCxnSpPr>
            <p:cNvPr id="29" name="Straight Arrow Connector 28">
              <a:extLst>
                <a:ext uri="{FF2B5EF4-FFF2-40B4-BE49-F238E27FC236}">
                  <a16:creationId xmlns:a16="http://schemas.microsoft.com/office/drawing/2014/main" id="{78CE26BB-5DCC-4D88-AC36-C00D4FFFDC50}"/>
                </a:ext>
              </a:extLst>
            </p:cNvPr>
            <p:cNvCxnSpPr>
              <a:stCxn id="17" idx="1"/>
            </p:cNvCxnSpPr>
            <p:nvPr/>
          </p:nvCxnSpPr>
          <p:spPr>
            <a:xfrm flipH="1">
              <a:off x="7213610" y="3309939"/>
              <a:ext cx="1077156" cy="339348"/>
            </a:xfrm>
            <a:prstGeom prst="straightConnector1">
              <a:avLst/>
            </a:prstGeom>
            <a:noFill/>
            <a:ln w="12700" cap="flat" cmpd="sng" algn="ctr">
              <a:solidFill>
                <a:srgbClr val="96968C">
                  <a:lumMod val="60000"/>
                  <a:lumOff val="40000"/>
                </a:srgbClr>
              </a:solidFill>
              <a:prstDash val="solid"/>
              <a:tailEnd type="triangle"/>
            </a:ln>
            <a:effectLst/>
          </p:spPr>
        </p:cxnSp>
        <p:cxnSp>
          <p:nvCxnSpPr>
            <p:cNvPr id="30" name="Straight Arrow Connector 29">
              <a:extLst>
                <a:ext uri="{FF2B5EF4-FFF2-40B4-BE49-F238E27FC236}">
                  <a16:creationId xmlns:a16="http://schemas.microsoft.com/office/drawing/2014/main" id="{926E7427-2308-418C-B2B2-CF40F6BFEBC9}"/>
                </a:ext>
              </a:extLst>
            </p:cNvPr>
            <p:cNvCxnSpPr>
              <a:stCxn id="19" idx="1"/>
            </p:cNvCxnSpPr>
            <p:nvPr/>
          </p:nvCxnSpPr>
          <p:spPr>
            <a:xfrm flipH="1" flipV="1">
              <a:off x="7213610" y="4017196"/>
              <a:ext cx="1077044" cy="107057"/>
            </a:xfrm>
            <a:prstGeom prst="straightConnector1">
              <a:avLst/>
            </a:prstGeom>
            <a:noFill/>
            <a:ln w="12700" cap="flat" cmpd="sng" algn="ctr">
              <a:solidFill>
                <a:srgbClr val="96968C">
                  <a:lumMod val="60000"/>
                  <a:lumOff val="40000"/>
                </a:srgbClr>
              </a:solidFill>
              <a:prstDash val="solid"/>
              <a:tailEnd type="triangle"/>
            </a:ln>
            <a:effectLst/>
          </p:spPr>
        </p:cxnSp>
        <p:cxnSp>
          <p:nvCxnSpPr>
            <p:cNvPr id="31" name="Straight Arrow Connector 30">
              <a:extLst>
                <a:ext uri="{FF2B5EF4-FFF2-40B4-BE49-F238E27FC236}">
                  <a16:creationId xmlns:a16="http://schemas.microsoft.com/office/drawing/2014/main" id="{5A73FE36-A541-48F8-8220-0B8D0B3A652B}"/>
                </a:ext>
              </a:extLst>
            </p:cNvPr>
            <p:cNvCxnSpPr>
              <a:stCxn id="18" idx="1"/>
            </p:cNvCxnSpPr>
            <p:nvPr/>
          </p:nvCxnSpPr>
          <p:spPr>
            <a:xfrm flipH="1" flipV="1">
              <a:off x="7112878" y="4464425"/>
              <a:ext cx="1177776" cy="474142"/>
            </a:xfrm>
            <a:prstGeom prst="straightConnector1">
              <a:avLst/>
            </a:prstGeom>
            <a:noFill/>
            <a:ln w="12700" cap="flat" cmpd="sng" algn="ctr">
              <a:solidFill>
                <a:srgbClr val="96968C">
                  <a:lumMod val="60000"/>
                  <a:lumOff val="40000"/>
                </a:srgbClr>
              </a:solidFill>
              <a:prstDash val="solid"/>
              <a:tailEnd type="triangle"/>
            </a:ln>
            <a:effectLst/>
          </p:spPr>
        </p:cxnSp>
        <p:cxnSp>
          <p:nvCxnSpPr>
            <p:cNvPr id="32" name="Straight Arrow Connector 31">
              <a:extLst>
                <a:ext uri="{FF2B5EF4-FFF2-40B4-BE49-F238E27FC236}">
                  <a16:creationId xmlns:a16="http://schemas.microsoft.com/office/drawing/2014/main" id="{2864A825-6F79-47A3-B732-D875C05891C5}"/>
                </a:ext>
              </a:extLst>
            </p:cNvPr>
            <p:cNvCxnSpPr>
              <a:stCxn id="20" idx="1"/>
            </p:cNvCxnSpPr>
            <p:nvPr/>
          </p:nvCxnSpPr>
          <p:spPr>
            <a:xfrm flipH="1" flipV="1">
              <a:off x="6814598" y="4817225"/>
              <a:ext cx="1476056" cy="935657"/>
            </a:xfrm>
            <a:prstGeom prst="straightConnector1">
              <a:avLst/>
            </a:prstGeom>
            <a:noFill/>
            <a:ln w="12700" cap="flat" cmpd="sng" algn="ctr">
              <a:solidFill>
                <a:srgbClr val="96968C">
                  <a:lumMod val="60000"/>
                  <a:lumOff val="40000"/>
                </a:srgbClr>
              </a:solidFill>
              <a:prstDash val="solid"/>
              <a:tailEnd type="triangle"/>
            </a:ln>
            <a:effectLst/>
          </p:spPr>
        </p:cxnSp>
      </p:grpSp>
      <p:sp>
        <p:nvSpPr>
          <p:cNvPr id="5" name="Footer Placeholder 4">
            <a:extLst>
              <a:ext uri="{FF2B5EF4-FFF2-40B4-BE49-F238E27FC236}">
                <a16:creationId xmlns:a16="http://schemas.microsoft.com/office/drawing/2014/main" id="{9E230146-02AD-4FCB-B181-8DBDA9342A84}"/>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F53608AA-7276-48F6-8F2F-F8243AD35E17}"/>
              </a:ext>
            </a:extLst>
          </p:cNvPr>
          <p:cNvSpPr>
            <a:spLocks noGrp="1"/>
          </p:cNvSpPr>
          <p:nvPr>
            <p:ph type="sldNum" sz="quarter" idx="10"/>
          </p:nvPr>
        </p:nvSpPr>
        <p:spPr/>
        <p:txBody>
          <a:bodyPr/>
          <a:lstStyle/>
          <a:p>
            <a:fld id="{1F90F471-3972-4120-B8B3-0237DE626C35}" type="slidenum">
              <a:rPr lang="en-US" smtClean="0"/>
              <a:pPr/>
              <a:t>163</a:t>
            </a:fld>
            <a:endParaRPr lang="en-US" dirty="0"/>
          </a:p>
        </p:txBody>
      </p:sp>
    </p:spTree>
    <p:extLst>
      <p:ext uri="{BB962C8B-B14F-4D97-AF65-F5344CB8AC3E}">
        <p14:creationId xmlns:p14="http://schemas.microsoft.com/office/powerpoint/2010/main" val="3536635616"/>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Influence 1</a:t>
            </a:r>
          </a:p>
        </p:txBody>
      </p:sp>
      <p:grpSp>
        <p:nvGrpSpPr>
          <p:cNvPr id="11" name="Group 10" descr="Add text and order accordingly">
            <a:extLst>
              <a:ext uri="{FF2B5EF4-FFF2-40B4-BE49-F238E27FC236}">
                <a16:creationId xmlns:a16="http://schemas.microsoft.com/office/drawing/2014/main" id="{D315B1F4-18C5-4E64-93CD-A16C87CC023C}"/>
              </a:ext>
            </a:extLst>
          </p:cNvPr>
          <p:cNvGrpSpPr/>
          <p:nvPr/>
        </p:nvGrpSpPr>
        <p:grpSpPr>
          <a:xfrm>
            <a:off x="4286393" y="1297022"/>
            <a:ext cx="3646451" cy="4863146"/>
            <a:chOff x="4297950" y="1297022"/>
            <a:chExt cx="3646451" cy="4863146"/>
          </a:xfrm>
        </p:grpSpPr>
        <p:sp>
          <p:nvSpPr>
            <p:cNvPr id="12" name="AutoShape 5">
              <a:extLst>
                <a:ext uri="{FF2B5EF4-FFF2-40B4-BE49-F238E27FC236}">
                  <a16:creationId xmlns:a16="http://schemas.microsoft.com/office/drawing/2014/main" id="{EB1EBDCA-9084-41C0-82E3-C7F793399725}"/>
                </a:ext>
              </a:extLst>
            </p:cNvPr>
            <p:cNvSpPr>
              <a:spLocks noChangeArrowheads="1"/>
            </p:cNvSpPr>
            <p:nvPr/>
          </p:nvSpPr>
          <p:spPr bwMode="auto">
            <a:xfrm rot="5400000" flipH="1">
              <a:off x="4972637" y="2979000"/>
              <a:ext cx="4163452" cy="1511224"/>
            </a:xfrm>
            <a:prstGeom prst="rightArrow">
              <a:avLst>
                <a:gd name="adj1" fmla="val 50000"/>
                <a:gd name="adj2" fmla="val 45387"/>
              </a:avLst>
            </a:prstGeom>
            <a:solidFill>
              <a:schemeClr val="accent3"/>
            </a:solidFill>
            <a:ln w="6350">
              <a:noFill/>
              <a:miter lim="800000"/>
              <a:headEnd/>
              <a:tailEnd/>
            </a:ln>
            <a:effectLst/>
          </p:spPr>
          <p:txBody>
            <a:bodyPr vert="eaVert" wrap="none" lIns="72000" tIns="72000" rIns="72000" bIns="72000" anchor="ctr"/>
            <a:lstStyle/>
            <a:p>
              <a:pPr algn="ctr" eaLnBrk="0" hangingPunct="0"/>
              <a:endParaRPr lang="en-US" dirty="0">
                <a:solidFill>
                  <a:schemeClr val="tx1"/>
                </a:solidFill>
              </a:endParaRPr>
            </a:p>
          </p:txBody>
        </p:sp>
        <p:sp>
          <p:nvSpPr>
            <p:cNvPr id="13" name="AutoShape 5">
              <a:extLst>
                <a:ext uri="{FF2B5EF4-FFF2-40B4-BE49-F238E27FC236}">
                  <a16:creationId xmlns:a16="http://schemas.microsoft.com/office/drawing/2014/main" id="{92FC91AE-15DA-4EBD-9D84-80D1011ADD93}"/>
                </a:ext>
              </a:extLst>
            </p:cNvPr>
            <p:cNvSpPr>
              <a:spLocks noChangeArrowheads="1"/>
            </p:cNvSpPr>
            <p:nvPr/>
          </p:nvSpPr>
          <p:spPr bwMode="auto">
            <a:xfrm rot="16200000" flipH="1">
              <a:off x="3106263" y="2979000"/>
              <a:ext cx="4163452" cy="1511224"/>
            </a:xfrm>
            <a:prstGeom prst="rightArrow">
              <a:avLst>
                <a:gd name="adj1" fmla="val 50000"/>
                <a:gd name="adj2" fmla="val 45387"/>
              </a:avLst>
            </a:prstGeom>
            <a:solidFill>
              <a:schemeClr val="accent2"/>
            </a:solidFill>
            <a:ln w="6350">
              <a:noFill/>
              <a:miter lim="800000"/>
              <a:headEnd/>
              <a:tailEnd/>
            </a:ln>
            <a:effectLst/>
          </p:spPr>
          <p:txBody>
            <a:bodyPr vert="eaVert" wrap="none" lIns="72000" tIns="72000" rIns="72000" bIns="72000" anchor="ctr"/>
            <a:lstStyle/>
            <a:p>
              <a:pPr algn="ctr" eaLnBrk="0" hangingPunct="0"/>
              <a:endParaRPr lang="en-US" dirty="0">
                <a:solidFill>
                  <a:schemeClr val="tx1"/>
                </a:solidFill>
              </a:endParaRPr>
            </a:p>
          </p:txBody>
        </p:sp>
        <p:sp>
          <p:nvSpPr>
            <p:cNvPr id="14" name="Text Box 10">
              <a:extLst>
                <a:ext uri="{FF2B5EF4-FFF2-40B4-BE49-F238E27FC236}">
                  <a16:creationId xmlns:a16="http://schemas.microsoft.com/office/drawing/2014/main" id="{E546B7DE-DCC8-4E73-A31F-28D2FF666E09}"/>
                </a:ext>
              </a:extLst>
            </p:cNvPr>
            <p:cNvSpPr txBox="1">
              <a:spLocks noChangeArrowheads="1"/>
            </p:cNvSpPr>
            <p:nvPr/>
          </p:nvSpPr>
          <p:spPr bwMode="auto">
            <a:xfrm>
              <a:off x="4297950" y="5816337"/>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ctr"/>
              <a:r>
                <a:rPr lang="en-US" b="1" cap="none" dirty="0">
                  <a:solidFill>
                    <a:schemeClr val="accent2"/>
                  </a:solidFill>
                </a:rPr>
                <a:t>Text</a:t>
              </a:r>
            </a:p>
          </p:txBody>
        </p:sp>
        <p:sp>
          <p:nvSpPr>
            <p:cNvPr id="15" name="Text Box 10">
              <a:extLst>
                <a:ext uri="{FF2B5EF4-FFF2-40B4-BE49-F238E27FC236}">
                  <a16:creationId xmlns:a16="http://schemas.microsoft.com/office/drawing/2014/main" id="{518F2996-F1F2-401B-B06B-F6C2F3EC6C59}"/>
                </a:ext>
              </a:extLst>
            </p:cNvPr>
            <p:cNvSpPr txBox="1">
              <a:spLocks noChangeArrowheads="1"/>
            </p:cNvSpPr>
            <p:nvPr/>
          </p:nvSpPr>
          <p:spPr bwMode="auto">
            <a:xfrm>
              <a:off x="6164325" y="1297022"/>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ctr"/>
              <a:r>
                <a:rPr lang="en-US" b="1" cap="none" dirty="0">
                  <a:solidFill>
                    <a:schemeClr val="accent3"/>
                  </a:solidFill>
                </a:rPr>
                <a:t>Text</a:t>
              </a:r>
            </a:p>
          </p:txBody>
        </p:sp>
      </p:grpSp>
      <p:sp>
        <p:nvSpPr>
          <p:cNvPr id="16" name="Rectangle 5">
            <a:extLst>
              <a:ext uri="{FF2B5EF4-FFF2-40B4-BE49-F238E27FC236}">
                <a16:creationId xmlns:a16="http://schemas.microsoft.com/office/drawing/2014/main" id="{733BF97F-2DCA-4A35-97AD-54F9D183EC7B}"/>
              </a:ext>
            </a:extLst>
          </p:cNvPr>
          <p:cNvSpPr>
            <a:spLocks noChangeArrowheads="1"/>
          </p:cNvSpPr>
          <p:nvPr/>
        </p:nvSpPr>
        <p:spPr bwMode="auto">
          <a:xfrm>
            <a:off x="1822449" y="2764830"/>
            <a:ext cx="8550275" cy="1915454"/>
          </a:xfrm>
          <a:prstGeom prst="rect">
            <a:avLst/>
          </a:prstGeom>
          <a:solidFill>
            <a:schemeClr val="tx2">
              <a:lumMod val="20000"/>
              <a:lumOff val="80000"/>
            </a:schemeClr>
          </a:solidFill>
          <a:ln w="6350">
            <a:noFill/>
            <a:miter lim="800000"/>
            <a:headEnd/>
            <a:tailEnd/>
          </a:ln>
        </p:spPr>
        <p:txBody>
          <a:bodyPr lIns="180000" tIns="144000" rIns="72000" bIns="72000"/>
          <a:lstStyle/>
          <a:p>
            <a:pPr algn="l" eaLnBrk="0" hangingPunct="0">
              <a:lnSpc>
                <a:spcPct val="85000"/>
              </a:lnSpc>
              <a:spcBef>
                <a:spcPts val="100"/>
              </a:spcBef>
              <a:spcAft>
                <a:spcPts val="300"/>
              </a:spcAft>
            </a:pPr>
            <a:r>
              <a:rPr lang="en-US" b="1" dirty="0">
                <a:latin typeface="+mj-lt"/>
              </a:rPr>
              <a:t>Text</a:t>
            </a:r>
          </a:p>
          <a:p>
            <a:pPr marL="174625" indent="-174625" algn="l" eaLnBrk="0" hangingPunct="0">
              <a:spcBef>
                <a:spcPts val="100"/>
              </a:spcBef>
              <a:spcAft>
                <a:spcPts val="100"/>
              </a:spcAft>
              <a:buFontTx/>
              <a:buChar char="•"/>
            </a:pPr>
            <a:r>
              <a:rPr lang="en-US" dirty="0"/>
              <a:t>Text</a:t>
            </a:r>
          </a:p>
          <a:p>
            <a:pPr marL="174625" indent="-174625" algn="l" eaLnBrk="0" hangingPunct="0">
              <a:spcBef>
                <a:spcPts val="100"/>
              </a:spcBef>
              <a:spcAft>
                <a:spcPts val="100"/>
              </a:spcAft>
              <a:buFontTx/>
              <a:buChar char="•"/>
            </a:pPr>
            <a:r>
              <a:rPr lang="en-US" dirty="0"/>
              <a:t>Text</a:t>
            </a:r>
          </a:p>
          <a:p>
            <a:pPr marL="174625" indent="-174625" algn="l" eaLnBrk="0" hangingPunct="0">
              <a:spcBef>
                <a:spcPts val="100"/>
              </a:spcBef>
              <a:spcAft>
                <a:spcPts val="100"/>
              </a:spcAft>
              <a:buFontTx/>
              <a:buChar char="•"/>
            </a:pPr>
            <a:r>
              <a:rPr lang="en-US" dirty="0"/>
              <a:t>Text</a:t>
            </a:r>
          </a:p>
        </p:txBody>
      </p:sp>
      <p:sp>
        <p:nvSpPr>
          <p:cNvPr id="5" name="Footer Placeholder 4">
            <a:extLst>
              <a:ext uri="{FF2B5EF4-FFF2-40B4-BE49-F238E27FC236}">
                <a16:creationId xmlns:a16="http://schemas.microsoft.com/office/drawing/2014/main" id="{4CD88D41-B930-4C84-BCEA-276C5228E86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531812FB-8569-4A10-82C4-2D0BE5A31B01}"/>
              </a:ext>
            </a:extLst>
          </p:cNvPr>
          <p:cNvSpPr>
            <a:spLocks noGrp="1"/>
          </p:cNvSpPr>
          <p:nvPr>
            <p:ph type="sldNum" sz="quarter" idx="10"/>
          </p:nvPr>
        </p:nvSpPr>
        <p:spPr/>
        <p:txBody>
          <a:bodyPr/>
          <a:lstStyle/>
          <a:p>
            <a:fld id="{1F90F471-3972-4120-B8B3-0237DE626C35}" type="slidenum">
              <a:rPr lang="en-US" smtClean="0"/>
              <a:pPr/>
              <a:t>164</a:t>
            </a:fld>
            <a:endParaRPr lang="en-US" dirty="0"/>
          </a:p>
        </p:txBody>
      </p:sp>
    </p:spTree>
    <p:extLst>
      <p:ext uri="{BB962C8B-B14F-4D97-AF65-F5344CB8AC3E}">
        <p14:creationId xmlns:p14="http://schemas.microsoft.com/office/powerpoint/2010/main" val="2002659569"/>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Influence 2</a:t>
            </a:r>
          </a:p>
        </p:txBody>
      </p:sp>
      <p:grpSp>
        <p:nvGrpSpPr>
          <p:cNvPr id="3" name="Group 2" descr="Influence board">
            <a:extLst>
              <a:ext uri="{FF2B5EF4-FFF2-40B4-BE49-F238E27FC236}">
                <a16:creationId xmlns:a16="http://schemas.microsoft.com/office/drawing/2014/main" id="{D3E7286E-2F3C-4C28-89E7-95518E6A69F4}"/>
              </a:ext>
            </a:extLst>
          </p:cNvPr>
          <p:cNvGrpSpPr/>
          <p:nvPr/>
        </p:nvGrpSpPr>
        <p:grpSpPr>
          <a:xfrm>
            <a:off x="1822450" y="1383243"/>
            <a:ext cx="8550275" cy="4517482"/>
            <a:chOff x="1822450" y="1383243"/>
            <a:chExt cx="8550275" cy="4517482"/>
          </a:xfrm>
        </p:grpSpPr>
        <p:sp>
          <p:nvSpPr>
            <p:cNvPr id="12" name="Freeform 5">
              <a:extLst>
                <a:ext uri="{FF2B5EF4-FFF2-40B4-BE49-F238E27FC236}">
                  <a16:creationId xmlns:a16="http://schemas.microsoft.com/office/drawing/2014/main" id="{764C4576-7E7C-436C-9E85-E49EEE93740C}"/>
                </a:ext>
                <a:ext uri="{C183D7F6-B498-43B3-948B-1728B52AA6E4}">
                  <adec:decorative xmlns:adec="http://schemas.microsoft.com/office/drawing/2017/decorative" val="1"/>
                </a:ext>
              </a:extLst>
            </p:cNvPr>
            <p:cNvSpPr>
              <a:spLocks/>
            </p:cNvSpPr>
            <p:nvPr/>
          </p:nvSpPr>
          <p:spPr bwMode="auto">
            <a:xfrm>
              <a:off x="1822450" y="4390192"/>
              <a:ext cx="8550275" cy="1510533"/>
            </a:xfrm>
            <a:custGeom>
              <a:avLst/>
              <a:gdLst/>
              <a:ahLst/>
              <a:cxnLst>
                <a:cxn ang="0">
                  <a:pos x="0" y="0"/>
                </a:cxn>
                <a:cxn ang="0">
                  <a:pos x="294" y="0"/>
                </a:cxn>
                <a:cxn ang="0">
                  <a:pos x="1263" y="247"/>
                </a:cxn>
                <a:cxn ang="0">
                  <a:pos x="2232" y="0"/>
                </a:cxn>
                <a:cxn ang="0">
                  <a:pos x="2675" y="0"/>
                </a:cxn>
                <a:cxn ang="0">
                  <a:pos x="3644" y="247"/>
                </a:cxn>
                <a:cxn ang="0">
                  <a:pos x="4613" y="0"/>
                </a:cxn>
                <a:cxn ang="0">
                  <a:pos x="4908" y="0"/>
                </a:cxn>
                <a:cxn ang="0">
                  <a:pos x="4908" y="718"/>
                </a:cxn>
                <a:cxn ang="0">
                  <a:pos x="0" y="718"/>
                </a:cxn>
                <a:cxn ang="0">
                  <a:pos x="0" y="0"/>
                </a:cxn>
              </a:cxnLst>
              <a:rect l="0" t="0" r="r" b="b"/>
              <a:pathLst>
                <a:path w="4909" h="719">
                  <a:moveTo>
                    <a:pt x="0" y="0"/>
                  </a:moveTo>
                  <a:lnTo>
                    <a:pt x="294" y="0"/>
                  </a:lnTo>
                  <a:lnTo>
                    <a:pt x="1263" y="247"/>
                  </a:lnTo>
                  <a:lnTo>
                    <a:pt x="2232" y="0"/>
                  </a:lnTo>
                  <a:lnTo>
                    <a:pt x="2675" y="0"/>
                  </a:lnTo>
                  <a:lnTo>
                    <a:pt x="3644" y="247"/>
                  </a:lnTo>
                  <a:lnTo>
                    <a:pt x="4613" y="0"/>
                  </a:lnTo>
                  <a:lnTo>
                    <a:pt x="4908" y="0"/>
                  </a:lnTo>
                  <a:lnTo>
                    <a:pt x="4908" y="718"/>
                  </a:lnTo>
                  <a:lnTo>
                    <a:pt x="0" y="718"/>
                  </a:lnTo>
                  <a:lnTo>
                    <a:pt x="0" y="0"/>
                  </a:lnTo>
                </a:path>
              </a:pathLst>
            </a:custGeom>
            <a:solidFill>
              <a:schemeClr val="accent2"/>
            </a:solidFill>
            <a:ln w="6350" cap="rnd" cmpd="sng">
              <a:noFill/>
              <a:prstDash val="solid"/>
              <a:round/>
              <a:headEnd/>
              <a:tailEnd/>
            </a:ln>
            <a:effectLst/>
          </p:spPr>
          <p:txBody>
            <a:bodyPr/>
            <a:lstStyle/>
            <a:p>
              <a:endParaRPr lang="de-DE" sz="1400" dirty="0"/>
            </a:p>
          </p:txBody>
        </p:sp>
        <p:sp>
          <p:nvSpPr>
            <p:cNvPr id="16" name="Rectangle 15">
              <a:extLst>
                <a:ext uri="{FF2B5EF4-FFF2-40B4-BE49-F238E27FC236}">
                  <a16:creationId xmlns:a16="http://schemas.microsoft.com/office/drawing/2014/main" id="{BED65550-4192-4A99-9DC6-52B95A740CE7}"/>
                </a:ext>
              </a:extLst>
            </p:cNvPr>
            <p:cNvSpPr/>
            <p:nvPr/>
          </p:nvSpPr>
          <p:spPr>
            <a:xfrm>
              <a:off x="3274668" y="5085348"/>
              <a:ext cx="5645838" cy="329706"/>
            </a:xfrm>
            <a:prstGeom prst="rect">
              <a:avLst/>
            </a:prstGeom>
          </p:spPr>
          <p:txBody>
            <a:bodyPr wrap="square">
              <a:spAutoFit/>
            </a:bodyPr>
            <a:lstStyle/>
            <a:p>
              <a:pPr marL="179388" indent="-179388" algn="ctr" eaLnBrk="0" hangingPunct="0">
                <a:lnSpc>
                  <a:spcPct val="85000"/>
                </a:lnSpc>
                <a:spcBef>
                  <a:spcPts val="100"/>
                </a:spcBef>
                <a:spcAft>
                  <a:spcPts val="300"/>
                </a:spcAft>
              </a:pPr>
              <a:r>
                <a:rPr lang="en-US" b="1" dirty="0">
                  <a:solidFill>
                    <a:schemeClr val="bg1"/>
                  </a:solidFill>
                  <a:latin typeface="+mj-lt"/>
                </a:rPr>
                <a:t>Text</a:t>
              </a:r>
            </a:p>
          </p:txBody>
        </p:sp>
        <p:sp>
          <p:nvSpPr>
            <p:cNvPr id="10" name="AutoShape 4">
              <a:extLst>
                <a:ext uri="{FF2B5EF4-FFF2-40B4-BE49-F238E27FC236}">
                  <a16:creationId xmlns:a16="http://schemas.microsoft.com/office/drawing/2014/main" id="{9C23BF65-3D66-47CD-BEDD-7CEC7BBD81D3}"/>
                </a:ext>
              </a:extLst>
            </p:cNvPr>
            <p:cNvSpPr>
              <a:spLocks noChangeArrowheads="1"/>
            </p:cNvSpPr>
            <p:nvPr/>
          </p:nvSpPr>
          <p:spPr bwMode="auto">
            <a:xfrm rot="16200000" flipH="1">
              <a:off x="2302432" y="1420889"/>
              <a:ext cx="3416346" cy="3341054"/>
            </a:xfrm>
            <a:prstGeom prst="homePlate">
              <a:avLst>
                <a:gd name="adj" fmla="val 15916"/>
              </a:avLst>
            </a:prstGeom>
            <a:solidFill>
              <a:schemeClr val="tx2">
                <a:lumMod val="20000"/>
                <a:lumOff val="80000"/>
              </a:schemeClr>
            </a:solidFill>
            <a:ln w="6350">
              <a:noFill/>
              <a:miter lim="800000"/>
              <a:headEnd/>
              <a:tailEnd/>
            </a:ln>
          </p:spPr>
          <p:txBody>
            <a:bodyPr vert="vert" lIns="144000" tIns="216000" rIns="180000" bIns="72000"/>
            <a:lstStyle/>
            <a:p>
              <a:pPr eaLnBrk="0" hangingPunct="0">
                <a:lnSpc>
                  <a:spcPct val="85000"/>
                </a:lnSpc>
                <a:spcBef>
                  <a:spcPts val="100"/>
                </a:spcBef>
                <a:spcAft>
                  <a:spcPts val="300"/>
                </a:spcAft>
              </a:pPr>
              <a:r>
                <a:rPr lang="en-US" b="1" dirty="0">
                  <a:latin typeface="+mj-lt"/>
                </a:rPr>
                <a:t>Text</a:t>
              </a:r>
            </a:p>
            <a:p>
              <a:pPr marL="174625" indent="-174625" eaLnBrk="0" hangingPunct="0">
                <a:lnSpc>
                  <a:spcPct val="85000"/>
                </a:lnSpc>
                <a:spcBef>
                  <a:spcPts val="100"/>
                </a:spcBef>
                <a:spcAft>
                  <a:spcPts val="100"/>
                </a:spcAft>
                <a:buFontTx/>
                <a:buChar char="•"/>
              </a:pPr>
              <a:r>
                <a:rPr lang="en-US" dirty="0"/>
                <a:t>Text</a:t>
              </a:r>
            </a:p>
            <a:p>
              <a:pPr marL="174625" indent="-174625" eaLnBrk="0" hangingPunct="0">
                <a:lnSpc>
                  <a:spcPct val="85000"/>
                </a:lnSpc>
                <a:spcBef>
                  <a:spcPts val="100"/>
                </a:spcBef>
                <a:spcAft>
                  <a:spcPts val="100"/>
                </a:spcAft>
                <a:buFontTx/>
                <a:buChar char="•"/>
              </a:pPr>
              <a:r>
                <a:rPr lang="en-US" dirty="0"/>
                <a:t>Text</a:t>
              </a:r>
            </a:p>
            <a:p>
              <a:pPr marL="174625" indent="-174625" eaLnBrk="0" hangingPunct="0">
                <a:lnSpc>
                  <a:spcPct val="85000"/>
                </a:lnSpc>
                <a:spcBef>
                  <a:spcPts val="100"/>
                </a:spcBef>
                <a:spcAft>
                  <a:spcPts val="100"/>
                </a:spcAft>
                <a:buFontTx/>
                <a:buChar char="•"/>
              </a:pPr>
              <a:r>
                <a:rPr lang="en-US" dirty="0"/>
                <a:t>Text</a:t>
              </a:r>
            </a:p>
          </p:txBody>
        </p:sp>
        <p:sp>
          <p:nvSpPr>
            <p:cNvPr id="14" name="AutoShape 6">
              <a:extLst>
                <a:ext uri="{FF2B5EF4-FFF2-40B4-BE49-F238E27FC236}">
                  <a16:creationId xmlns:a16="http://schemas.microsoft.com/office/drawing/2014/main" id="{821C6FDE-E051-4528-AC29-D62470E204D9}"/>
                </a:ext>
              </a:extLst>
            </p:cNvPr>
            <p:cNvSpPr>
              <a:spLocks noChangeArrowheads="1"/>
            </p:cNvSpPr>
            <p:nvPr/>
          </p:nvSpPr>
          <p:spPr bwMode="auto">
            <a:xfrm rot="16200000" flipH="1">
              <a:off x="6481103" y="1420889"/>
              <a:ext cx="3416346" cy="3341054"/>
            </a:xfrm>
            <a:prstGeom prst="homePlate">
              <a:avLst>
                <a:gd name="adj" fmla="val 15215"/>
              </a:avLst>
            </a:prstGeom>
            <a:solidFill>
              <a:schemeClr val="tx2">
                <a:lumMod val="20000"/>
                <a:lumOff val="80000"/>
              </a:schemeClr>
            </a:solidFill>
            <a:ln w="6350">
              <a:noFill/>
              <a:miter lim="800000"/>
              <a:headEnd/>
              <a:tailEnd/>
            </a:ln>
          </p:spPr>
          <p:txBody>
            <a:bodyPr vert="vert" lIns="144000" tIns="216000" rIns="180000" bIns="72000"/>
            <a:lstStyle/>
            <a:p>
              <a:pPr eaLnBrk="0" hangingPunct="0">
                <a:lnSpc>
                  <a:spcPct val="85000"/>
                </a:lnSpc>
                <a:spcBef>
                  <a:spcPts val="100"/>
                </a:spcBef>
                <a:spcAft>
                  <a:spcPts val="300"/>
                </a:spcAft>
              </a:pPr>
              <a:r>
                <a:rPr lang="en-US" b="1" dirty="0">
                  <a:latin typeface="+mj-lt"/>
                </a:rPr>
                <a:t>Text</a:t>
              </a:r>
            </a:p>
            <a:p>
              <a:pPr marL="174625" indent="-174625" eaLnBrk="0" hangingPunct="0">
                <a:lnSpc>
                  <a:spcPct val="85000"/>
                </a:lnSpc>
                <a:spcBef>
                  <a:spcPts val="100"/>
                </a:spcBef>
                <a:spcAft>
                  <a:spcPts val="100"/>
                </a:spcAft>
                <a:buFontTx/>
                <a:buChar char="•"/>
              </a:pPr>
              <a:r>
                <a:rPr lang="en-US" dirty="0"/>
                <a:t>Text</a:t>
              </a:r>
            </a:p>
            <a:p>
              <a:pPr marL="174625" indent="-174625" eaLnBrk="0" hangingPunct="0">
                <a:lnSpc>
                  <a:spcPct val="85000"/>
                </a:lnSpc>
                <a:spcBef>
                  <a:spcPts val="100"/>
                </a:spcBef>
                <a:spcAft>
                  <a:spcPts val="100"/>
                </a:spcAft>
                <a:buFontTx/>
                <a:buChar char="•"/>
              </a:pPr>
              <a:r>
                <a:rPr lang="en-US" dirty="0"/>
                <a:t>Text</a:t>
              </a:r>
            </a:p>
            <a:p>
              <a:pPr marL="174625" indent="-174625" eaLnBrk="0" hangingPunct="0">
                <a:lnSpc>
                  <a:spcPct val="85000"/>
                </a:lnSpc>
                <a:spcBef>
                  <a:spcPts val="100"/>
                </a:spcBef>
                <a:spcAft>
                  <a:spcPts val="100"/>
                </a:spcAft>
                <a:buFontTx/>
                <a:buChar char="•"/>
              </a:pPr>
              <a:r>
                <a:rPr lang="en-US" dirty="0"/>
                <a:t>Text</a:t>
              </a:r>
            </a:p>
          </p:txBody>
        </p:sp>
      </p:grpSp>
      <p:sp>
        <p:nvSpPr>
          <p:cNvPr id="5" name="Footer Placeholder 4">
            <a:extLst>
              <a:ext uri="{FF2B5EF4-FFF2-40B4-BE49-F238E27FC236}">
                <a16:creationId xmlns:a16="http://schemas.microsoft.com/office/drawing/2014/main" id="{20EBECA3-C2A6-466A-B717-16E5522FCE03}"/>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BFBDB714-D1BB-484B-A56E-9498045DC849}"/>
              </a:ext>
            </a:extLst>
          </p:cNvPr>
          <p:cNvSpPr>
            <a:spLocks noGrp="1"/>
          </p:cNvSpPr>
          <p:nvPr>
            <p:ph type="sldNum" sz="quarter" idx="10"/>
          </p:nvPr>
        </p:nvSpPr>
        <p:spPr/>
        <p:txBody>
          <a:bodyPr/>
          <a:lstStyle/>
          <a:p>
            <a:fld id="{1F90F471-3972-4120-B8B3-0237DE626C35}" type="slidenum">
              <a:rPr lang="en-US" smtClean="0"/>
              <a:pPr/>
              <a:t>165</a:t>
            </a:fld>
            <a:endParaRPr lang="en-US" dirty="0"/>
          </a:p>
        </p:txBody>
      </p:sp>
    </p:spTree>
    <p:extLst>
      <p:ext uri="{BB962C8B-B14F-4D97-AF65-F5344CB8AC3E}">
        <p14:creationId xmlns:p14="http://schemas.microsoft.com/office/powerpoint/2010/main" val="2204033200"/>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Influence 3</a:t>
            </a:r>
          </a:p>
        </p:txBody>
      </p:sp>
      <p:sp>
        <p:nvSpPr>
          <p:cNvPr id="15" name="TextBox 14">
            <a:extLst>
              <a:ext uri="{FF2B5EF4-FFF2-40B4-BE49-F238E27FC236}">
                <a16:creationId xmlns:a16="http://schemas.microsoft.com/office/drawing/2014/main" id="{493424F8-C299-412E-A461-23265533D410}"/>
              </a:ext>
            </a:extLst>
          </p:cNvPr>
          <p:cNvSpPr txBox="1"/>
          <p:nvPr/>
        </p:nvSpPr>
        <p:spPr>
          <a:xfrm>
            <a:off x="1299991" y="1376363"/>
            <a:ext cx="4320000" cy="387350"/>
          </a:xfrm>
          <a:prstGeom prst="rect">
            <a:avLst/>
          </a:prstGeom>
          <a:solidFill>
            <a:schemeClr val="accent1"/>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11" name="AutoShape 8">
            <a:extLst>
              <a:ext uri="{FF2B5EF4-FFF2-40B4-BE49-F238E27FC236}">
                <a16:creationId xmlns:a16="http://schemas.microsoft.com/office/drawing/2014/main" id="{F6528E39-0D90-4740-8080-4CDE81983BEF}"/>
              </a:ext>
            </a:extLst>
          </p:cNvPr>
          <p:cNvSpPr>
            <a:spLocks noChangeArrowheads="1"/>
          </p:cNvSpPr>
          <p:nvPr/>
        </p:nvSpPr>
        <p:spPr bwMode="auto">
          <a:xfrm flipV="1">
            <a:off x="1299991" y="1763713"/>
            <a:ext cx="4320000" cy="2002186"/>
          </a:xfrm>
          <a:prstGeom prst="triangle">
            <a:avLst>
              <a:gd name="adj" fmla="val 49995"/>
            </a:avLst>
          </a:prstGeom>
          <a:solidFill>
            <a:schemeClr val="accent1">
              <a:lumMod val="20000"/>
              <a:lumOff val="80000"/>
            </a:schemeClr>
          </a:solidFill>
          <a:ln w="6350">
            <a:noFill/>
            <a:miter lim="800000"/>
            <a:headEnd/>
            <a:tailEnd/>
          </a:ln>
          <a:effectLst/>
        </p:spPr>
        <p:txBody>
          <a:bodyPr rot="10800000" wrap="none" lIns="72000" tIns="180000" rIns="72000" bIns="72000"/>
          <a:lstStyle/>
          <a:p>
            <a:pPr algn="ctr" eaLnBrk="0" hangingPunct="0">
              <a:spcBef>
                <a:spcPct val="0"/>
              </a:spcBef>
            </a:pPr>
            <a:r>
              <a:rPr lang="en-US" dirty="0">
                <a:solidFill>
                  <a:schemeClr val="tx1"/>
                </a:solidFill>
              </a:rPr>
              <a:t>Text</a:t>
            </a:r>
          </a:p>
        </p:txBody>
      </p:sp>
      <p:sp>
        <p:nvSpPr>
          <p:cNvPr id="17" name="TextBox 16">
            <a:extLst>
              <a:ext uri="{FF2B5EF4-FFF2-40B4-BE49-F238E27FC236}">
                <a16:creationId xmlns:a16="http://schemas.microsoft.com/office/drawing/2014/main" id="{AB1AF1B4-F8BD-4119-96DC-67DC83B7432D}"/>
              </a:ext>
            </a:extLst>
          </p:cNvPr>
          <p:cNvSpPr txBox="1"/>
          <p:nvPr/>
        </p:nvSpPr>
        <p:spPr>
          <a:xfrm>
            <a:off x="6063705" y="1376363"/>
            <a:ext cx="4320000" cy="387350"/>
          </a:xfrm>
          <a:prstGeom prst="rect">
            <a:avLst/>
          </a:prstGeom>
          <a:solidFill>
            <a:schemeClr val="accent5"/>
          </a:solidFill>
          <a:ln w="19050">
            <a:noFill/>
          </a:ln>
        </p:spPr>
        <p:txBody>
          <a:bodyPr vert="horz" wrap="square" lIns="0" tIns="36000" rIns="0" bIns="0" rtlCol="0" anchor="ctr">
            <a:noAutofit/>
          </a:bodyPr>
          <a:lstStyle/>
          <a:p>
            <a:pPr algn="ctr">
              <a:lnSpc>
                <a:spcPct val="85000"/>
              </a:lnSpc>
            </a:pPr>
            <a:r>
              <a:rPr lang="en-AU" b="1" dirty="0">
                <a:latin typeface="+mj-lt"/>
              </a:rPr>
              <a:t>Text</a:t>
            </a:r>
          </a:p>
        </p:txBody>
      </p:sp>
      <p:sp>
        <p:nvSpPr>
          <p:cNvPr id="13" name="AutoShape 9">
            <a:extLst>
              <a:ext uri="{FF2B5EF4-FFF2-40B4-BE49-F238E27FC236}">
                <a16:creationId xmlns:a16="http://schemas.microsoft.com/office/drawing/2014/main" id="{B7AC945F-A826-4F24-9E50-B138ED50660D}"/>
              </a:ext>
            </a:extLst>
          </p:cNvPr>
          <p:cNvSpPr>
            <a:spLocks noChangeArrowheads="1"/>
          </p:cNvSpPr>
          <p:nvPr/>
        </p:nvSpPr>
        <p:spPr bwMode="auto">
          <a:xfrm flipV="1">
            <a:off x="6063705" y="1763713"/>
            <a:ext cx="4320000" cy="2002186"/>
          </a:xfrm>
          <a:prstGeom prst="triangle">
            <a:avLst>
              <a:gd name="adj" fmla="val 49995"/>
            </a:avLst>
          </a:prstGeom>
          <a:solidFill>
            <a:schemeClr val="accent3">
              <a:lumMod val="20000"/>
              <a:lumOff val="80000"/>
            </a:schemeClr>
          </a:solidFill>
          <a:ln w="6350">
            <a:noFill/>
            <a:miter lim="800000"/>
            <a:headEnd/>
            <a:tailEnd/>
          </a:ln>
          <a:effectLst/>
        </p:spPr>
        <p:txBody>
          <a:bodyPr rot="10800000" wrap="none" lIns="72000" tIns="180000" rIns="72000" bIns="72000"/>
          <a:lstStyle/>
          <a:p>
            <a:pPr algn="ctr" eaLnBrk="0" hangingPunct="0">
              <a:spcBef>
                <a:spcPct val="0"/>
              </a:spcBef>
            </a:pPr>
            <a:r>
              <a:rPr lang="en-US" dirty="0">
                <a:solidFill>
                  <a:schemeClr val="tx1"/>
                </a:solidFill>
              </a:rPr>
              <a:t>Text</a:t>
            </a:r>
          </a:p>
        </p:txBody>
      </p:sp>
      <p:sp>
        <p:nvSpPr>
          <p:cNvPr id="19" name="AutoShape 7">
            <a:extLst>
              <a:ext uri="{FF2B5EF4-FFF2-40B4-BE49-F238E27FC236}">
                <a16:creationId xmlns:a16="http://schemas.microsoft.com/office/drawing/2014/main" id="{8495E083-0176-42C4-9E95-BC8EC47D0BA5}"/>
              </a:ext>
            </a:extLst>
          </p:cNvPr>
          <p:cNvSpPr>
            <a:spLocks noChangeAspect="1" noChangeArrowheads="1"/>
          </p:cNvSpPr>
          <p:nvPr/>
        </p:nvSpPr>
        <p:spPr bwMode="auto">
          <a:xfrm>
            <a:off x="1299991" y="3728716"/>
            <a:ext cx="9576556" cy="1517052"/>
          </a:xfrm>
          <a:prstGeom prst="homePlate">
            <a:avLst>
              <a:gd name="adj" fmla="val 32103"/>
            </a:avLst>
          </a:prstGeom>
          <a:gradFill>
            <a:gsLst>
              <a:gs pos="0">
                <a:schemeClr val="accent1"/>
              </a:gs>
              <a:gs pos="100000">
                <a:schemeClr val="accent5"/>
              </a:gs>
            </a:gsLst>
            <a:lin ang="1200000" scaled="0"/>
          </a:gradFill>
          <a:ln w="6350">
            <a:noFill/>
            <a:miter lim="800000"/>
            <a:headEnd/>
            <a:tailEnd/>
          </a:ln>
          <a:effectLst/>
        </p:spPr>
        <p:txBody>
          <a:bodyPr lIns="324000" tIns="180000" rIns="72000" bIns="72000" anchor="t"/>
          <a:lstStyle/>
          <a:p>
            <a:pPr marL="0" lvl="1" algn="l" eaLnBrk="0" hangingPunct="0">
              <a:lnSpc>
                <a:spcPct val="85000"/>
              </a:lnSpc>
              <a:spcBef>
                <a:spcPts val="100"/>
              </a:spcBef>
              <a:spcAft>
                <a:spcPts val="300"/>
              </a:spcAft>
              <a:buClr>
                <a:schemeClr val="folHlink"/>
              </a:buClr>
            </a:pPr>
            <a:r>
              <a:rPr lang="en-US" b="1" dirty="0">
                <a:solidFill>
                  <a:schemeClr val="bg1"/>
                </a:solidFill>
                <a:latin typeface="+mj-lt"/>
              </a:rPr>
              <a:t>Text</a:t>
            </a:r>
          </a:p>
          <a:p>
            <a:pPr marL="177800" lvl="1" indent="-177800" algn="l" eaLnBrk="0" hangingPunct="0">
              <a:spcBef>
                <a:spcPts val="100"/>
              </a:spcBef>
              <a:spcAft>
                <a:spcPts val="100"/>
              </a:spcAft>
              <a:buFontTx/>
              <a:buChar char="•"/>
            </a:pPr>
            <a:r>
              <a:rPr lang="en-US" dirty="0">
                <a:solidFill>
                  <a:schemeClr val="bg1"/>
                </a:solidFill>
              </a:rPr>
              <a:t>Text</a:t>
            </a:r>
          </a:p>
          <a:p>
            <a:pPr marL="177800" lvl="1" indent="-177800" algn="l" eaLnBrk="0" hangingPunct="0">
              <a:spcBef>
                <a:spcPts val="100"/>
              </a:spcBef>
              <a:spcAft>
                <a:spcPts val="100"/>
              </a:spcAft>
              <a:buFontTx/>
              <a:buChar char="•"/>
            </a:pPr>
            <a:r>
              <a:rPr lang="en-US" dirty="0">
                <a:solidFill>
                  <a:schemeClr val="bg1"/>
                </a:solidFill>
              </a:rPr>
              <a:t>Text</a:t>
            </a:r>
          </a:p>
          <a:p>
            <a:pPr marL="177800" lvl="1" indent="-177800" algn="l" eaLnBrk="0" hangingPunct="0">
              <a:spcBef>
                <a:spcPts val="100"/>
              </a:spcBef>
              <a:spcAft>
                <a:spcPts val="100"/>
              </a:spcAft>
              <a:buFontTx/>
              <a:buChar char="•"/>
            </a:pPr>
            <a:r>
              <a:rPr lang="en-US" dirty="0">
                <a:solidFill>
                  <a:schemeClr val="bg1"/>
                </a:solidFill>
              </a:rPr>
              <a:t>Text</a:t>
            </a:r>
          </a:p>
        </p:txBody>
      </p:sp>
      <p:sp>
        <p:nvSpPr>
          <p:cNvPr id="5" name="Footer Placeholder 4">
            <a:extLst>
              <a:ext uri="{FF2B5EF4-FFF2-40B4-BE49-F238E27FC236}">
                <a16:creationId xmlns:a16="http://schemas.microsoft.com/office/drawing/2014/main" id="{08608A6F-A90F-4E38-AA0B-01F6CEF205A5}"/>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D98D763-5D54-4A35-8AD2-5F3EB62A9BA8}"/>
              </a:ext>
            </a:extLst>
          </p:cNvPr>
          <p:cNvSpPr>
            <a:spLocks noGrp="1"/>
          </p:cNvSpPr>
          <p:nvPr>
            <p:ph type="sldNum" sz="quarter" idx="10"/>
          </p:nvPr>
        </p:nvSpPr>
        <p:spPr/>
        <p:txBody>
          <a:bodyPr/>
          <a:lstStyle/>
          <a:p>
            <a:fld id="{1F90F471-3972-4120-B8B3-0237DE626C35}" type="slidenum">
              <a:rPr lang="en-US" smtClean="0"/>
              <a:pPr/>
              <a:t>166</a:t>
            </a:fld>
            <a:endParaRPr lang="en-US" dirty="0"/>
          </a:p>
        </p:txBody>
      </p:sp>
    </p:spTree>
    <p:extLst>
      <p:ext uri="{BB962C8B-B14F-4D97-AF65-F5344CB8AC3E}">
        <p14:creationId xmlns:p14="http://schemas.microsoft.com/office/powerpoint/2010/main" val="2663636339"/>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Influence 4</a:t>
            </a:r>
          </a:p>
        </p:txBody>
      </p:sp>
      <p:sp>
        <p:nvSpPr>
          <p:cNvPr id="21" name="Arrow: Right 20">
            <a:extLst>
              <a:ext uri="{FF2B5EF4-FFF2-40B4-BE49-F238E27FC236}">
                <a16:creationId xmlns:a16="http://schemas.microsoft.com/office/drawing/2014/main" id="{DABFA6DD-3C3F-4936-B435-6B846144C98F}"/>
              </a:ext>
              <a:ext uri="{C183D7F6-B498-43B3-948B-1728B52AA6E4}">
                <adec:decorative xmlns:adec="http://schemas.microsoft.com/office/drawing/2017/decorative" val="1"/>
              </a:ext>
            </a:extLst>
          </p:cNvPr>
          <p:cNvSpPr/>
          <p:nvPr/>
        </p:nvSpPr>
        <p:spPr>
          <a:xfrm>
            <a:off x="381001" y="2860276"/>
            <a:ext cx="11430000" cy="1572107"/>
          </a:xfrm>
          <a:prstGeom prst="rightArrow">
            <a:avLst/>
          </a:prstGeom>
          <a:pattFill prst="dkUpDiag">
            <a:fgClr>
              <a:schemeClr val="accent5"/>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3" name="Rectangle 22">
            <a:extLst>
              <a:ext uri="{FF2B5EF4-FFF2-40B4-BE49-F238E27FC236}">
                <a16:creationId xmlns:a16="http://schemas.microsoft.com/office/drawing/2014/main" id="{33249731-E075-48AF-A16B-DC4C0E3C7DA4}"/>
              </a:ext>
            </a:extLst>
          </p:cNvPr>
          <p:cNvSpPr/>
          <p:nvPr/>
        </p:nvSpPr>
        <p:spPr>
          <a:xfrm>
            <a:off x="1314451" y="1955486"/>
            <a:ext cx="4415779" cy="3381689"/>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tIns="180000" rtlCol="0" anchor="t" anchorCtr="0"/>
          <a:lstStyle/>
          <a:p>
            <a:pPr marL="344488" indent="-165100" eaLnBrk="0" hangingPunct="0">
              <a:spcBef>
                <a:spcPts val="100"/>
              </a:spcBef>
              <a:spcAft>
                <a:spcPts val="100"/>
              </a:spcAft>
              <a:buFontTx/>
              <a:buChar char="•"/>
            </a:pPr>
            <a:r>
              <a:rPr lang="en-US" dirty="0">
                <a:solidFill>
                  <a:schemeClr val="tx1"/>
                </a:solidFill>
              </a:rPr>
              <a:t>Text</a:t>
            </a:r>
          </a:p>
          <a:p>
            <a:pPr marL="344488" indent="-165100" eaLnBrk="0" hangingPunct="0">
              <a:spcBef>
                <a:spcPts val="100"/>
              </a:spcBef>
              <a:spcAft>
                <a:spcPts val="100"/>
              </a:spcAft>
              <a:buFontTx/>
              <a:buChar char="•"/>
            </a:pPr>
            <a:r>
              <a:rPr lang="en-US" dirty="0">
                <a:solidFill>
                  <a:schemeClr val="tx1"/>
                </a:solidFill>
              </a:rPr>
              <a:t>Text</a:t>
            </a:r>
          </a:p>
          <a:p>
            <a:pPr marL="344488" indent="-165100" eaLnBrk="0" hangingPunct="0">
              <a:spcBef>
                <a:spcPts val="100"/>
              </a:spcBef>
              <a:spcAft>
                <a:spcPts val="100"/>
              </a:spcAft>
              <a:buFontTx/>
              <a:buChar char="•"/>
            </a:pPr>
            <a:r>
              <a:rPr lang="en-US" dirty="0">
                <a:solidFill>
                  <a:schemeClr val="tx1"/>
                </a:solidFill>
              </a:rPr>
              <a:t>Text</a:t>
            </a:r>
          </a:p>
        </p:txBody>
      </p:sp>
      <p:sp>
        <p:nvSpPr>
          <p:cNvPr id="25" name="TextBox 24">
            <a:extLst>
              <a:ext uri="{FF2B5EF4-FFF2-40B4-BE49-F238E27FC236}">
                <a16:creationId xmlns:a16="http://schemas.microsoft.com/office/drawing/2014/main" id="{606C9395-A12A-4517-8C99-0E7B6037A6CC}"/>
              </a:ext>
            </a:extLst>
          </p:cNvPr>
          <p:cNvSpPr txBox="1"/>
          <p:nvPr/>
        </p:nvSpPr>
        <p:spPr>
          <a:xfrm>
            <a:off x="1314450" y="1568135"/>
            <a:ext cx="4415779" cy="387350"/>
          </a:xfrm>
          <a:prstGeom prst="rect">
            <a:avLst/>
          </a:prstGeom>
          <a:solidFill>
            <a:schemeClr val="accent1"/>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27" name="Rectangle 26">
            <a:extLst>
              <a:ext uri="{FF2B5EF4-FFF2-40B4-BE49-F238E27FC236}">
                <a16:creationId xmlns:a16="http://schemas.microsoft.com/office/drawing/2014/main" id="{80E77DBE-86CE-4CF1-9929-CA7394DAC31A}"/>
              </a:ext>
            </a:extLst>
          </p:cNvPr>
          <p:cNvSpPr/>
          <p:nvPr/>
        </p:nvSpPr>
        <p:spPr>
          <a:xfrm>
            <a:off x="6079840" y="1955486"/>
            <a:ext cx="4415779" cy="3381689"/>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tIns="180000" rtlCol="0" anchor="t" anchorCtr="0"/>
          <a:lstStyle/>
          <a:p>
            <a:pPr marL="344488" indent="-165100" eaLnBrk="0" hangingPunct="0">
              <a:spcBef>
                <a:spcPts val="100"/>
              </a:spcBef>
              <a:spcAft>
                <a:spcPts val="100"/>
              </a:spcAft>
              <a:buFontTx/>
              <a:buChar char="•"/>
            </a:pPr>
            <a:r>
              <a:rPr lang="en-US" dirty="0">
                <a:solidFill>
                  <a:schemeClr val="tx1"/>
                </a:solidFill>
              </a:rPr>
              <a:t>Text</a:t>
            </a:r>
          </a:p>
          <a:p>
            <a:pPr marL="344488" indent="-165100" eaLnBrk="0" hangingPunct="0">
              <a:spcBef>
                <a:spcPts val="100"/>
              </a:spcBef>
              <a:spcAft>
                <a:spcPts val="100"/>
              </a:spcAft>
              <a:buFontTx/>
              <a:buChar char="•"/>
            </a:pPr>
            <a:r>
              <a:rPr lang="en-US" dirty="0">
                <a:solidFill>
                  <a:schemeClr val="tx1"/>
                </a:solidFill>
              </a:rPr>
              <a:t>Text</a:t>
            </a:r>
          </a:p>
          <a:p>
            <a:pPr marL="344488" indent="-165100" eaLnBrk="0" hangingPunct="0">
              <a:spcBef>
                <a:spcPts val="100"/>
              </a:spcBef>
              <a:spcAft>
                <a:spcPts val="100"/>
              </a:spcAft>
              <a:buFontTx/>
              <a:buChar char="•"/>
            </a:pPr>
            <a:r>
              <a:rPr lang="en-US" dirty="0">
                <a:solidFill>
                  <a:schemeClr val="tx1"/>
                </a:solidFill>
              </a:rPr>
              <a:t>Text</a:t>
            </a:r>
          </a:p>
        </p:txBody>
      </p:sp>
      <p:sp>
        <p:nvSpPr>
          <p:cNvPr id="29" name="TextBox 28">
            <a:extLst>
              <a:ext uri="{FF2B5EF4-FFF2-40B4-BE49-F238E27FC236}">
                <a16:creationId xmlns:a16="http://schemas.microsoft.com/office/drawing/2014/main" id="{9D62D52D-FF97-45D5-B43A-EEDABA3CFB8C}"/>
              </a:ext>
            </a:extLst>
          </p:cNvPr>
          <p:cNvSpPr txBox="1"/>
          <p:nvPr/>
        </p:nvSpPr>
        <p:spPr>
          <a:xfrm>
            <a:off x="6079839" y="1568135"/>
            <a:ext cx="4415779" cy="387350"/>
          </a:xfrm>
          <a:prstGeom prst="rect">
            <a:avLst/>
          </a:prstGeom>
          <a:solidFill>
            <a:schemeClr val="accent3"/>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5" name="Footer Placeholder 4">
            <a:extLst>
              <a:ext uri="{FF2B5EF4-FFF2-40B4-BE49-F238E27FC236}">
                <a16:creationId xmlns:a16="http://schemas.microsoft.com/office/drawing/2014/main" id="{88100B10-729B-444B-AD5D-FC17812F3838}"/>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E114289E-E7DD-4D5D-ADC6-7E471F5C1679}"/>
              </a:ext>
            </a:extLst>
          </p:cNvPr>
          <p:cNvSpPr>
            <a:spLocks noGrp="1"/>
          </p:cNvSpPr>
          <p:nvPr>
            <p:ph type="sldNum" sz="quarter" idx="10"/>
          </p:nvPr>
        </p:nvSpPr>
        <p:spPr/>
        <p:txBody>
          <a:bodyPr/>
          <a:lstStyle/>
          <a:p>
            <a:fld id="{1F90F471-3972-4120-B8B3-0237DE626C35}" type="slidenum">
              <a:rPr lang="en-US" smtClean="0"/>
              <a:pPr/>
              <a:t>167</a:t>
            </a:fld>
            <a:endParaRPr lang="en-US" dirty="0"/>
          </a:p>
        </p:txBody>
      </p:sp>
    </p:spTree>
    <p:extLst>
      <p:ext uri="{BB962C8B-B14F-4D97-AF65-F5344CB8AC3E}">
        <p14:creationId xmlns:p14="http://schemas.microsoft.com/office/powerpoint/2010/main" val="324762561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Influence 5</a:t>
            </a:r>
          </a:p>
        </p:txBody>
      </p:sp>
      <p:grpSp>
        <p:nvGrpSpPr>
          <p:cNvPr id="3" name="Group 2" descr="Influence chart: insert description here">
            <a:extLst>
              <a:ext uri="{FF2B5EF4-FFF2-40B4-BE49-F238E27FC236}">
                <a16:creationId xmlns:a16="http://schemas.microsoft.com/office/drawing/2014/main" id="{3B39109C-3337-415B-8B93-33858BFFD0E3}"/>
              </a:ext>
            </a:extLst>
          </p:cNvPr>
          <p:cNvGrpSpPr/>
          <p:nvPr/>
        </p:nvGrpSpPr>
        <p:grpSpPr>
          <a:xfrm>
            <a:off x="3698308" y="1795602"/>
            <a:ext cx="6247076" cy="3835178"/>
            <a:chOff x="3698308" y="1795602"/>
            <a:chExt cx="6247076" cy="3835178"/>
          </a:xfrm>
        </p:grpSpPr>
        <p:sp>
          <p:nvSpPr>
            <p:cNvPr id="13" name="Arrow: Right 12">
              <a:extLst>
                <a:ext uri="{FF2B5EF4-FFF2-40B4-BE49-F238E27FC236}">
                  <a16:creationId xmlns:a16="http://schemas.microsoft.com/office/drawing/2014/main" id="{082E0A3F-A7CA-4B62-A60C-A24F2610639C}"/>
                </a:ext>
              </a:extLst>
            </p:cNvPr>
            <p:cNvSpPr/>
            <p:nvPr/>
          </p:nvSpPr>
          <p:spPr>
            <a:xfrm>
              <a:off x="3751093" y="2568146"/>
              <a:ext cx="6194291" cy="2156475"/>
            </a:xfrm>
            <a:prstGeom prst="rightArrow">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lIns="2160000" rtlCol="0" anchor="ctr"/>
            <a:lstStyle/>
            <a:p>
              <a:pPr algn="ctr" eaLnBrk="0" hangingPunct="0">
                <a:lnSpc>
                  <a:spcPct val="85000"/>
                </a:lnSpc>
                <a:spcBef>
                  <a:spcPts val="100"/>
                </a:spcBef>
                <a:spcAft>
                  <a:spcPts val="300"/>
                </a:spcAft>
              </a:pPr>
              <a:r>
                <a:rPr lang="en-AU" b="1" dirty="0">
                  <a:solidFill>
                    <a:schemeClr val="tx1"/>
                  </a:solidFill>
                  <a:latin typeface="+mj-lt"/>
                </a:rPr>
                <a:t>Text</a:t>
              </a:r>
              <a:endParaRPr lang="en-GB" b="1" dirty="0">
                <a:solidFill>
                  <a:schemeClr val="tx1"/>
                </a:solidFill>
                <a:latin typeface="+mj-lt"/>
              </a:endParaRPr>
            </a:p>
          </p:txBody>
        </p:sp>
        <p:sp>
          <p:nvSpPr>
            <p:cNvPr id="15" name="Isosceles Triangle 14">
              <a:extLst>
                <a:ext uri="{FF2B5EF4-FFF2-40B4-BE49-F238E27FC236}">
                  <a16:creationId xmlns:a16="http://schemas.microsoft.com/office/drawing/2014/main" id="{FA79B00C-A2EF-4821-8091-B22C1C40DB5A}"/>
                </a:ext>
                <a:ext uri="{C183D7F6-B498-43B3-948B-1728B52AA6E4}">
                  <adec:decorative xmlns:adec="http://schemas.microsoft.com/office/drawing/2017/decorative" val="1"/>
                </a:ext>
              </a:extLst>
            </p:cNvPr>
            <p:cNvSpPr/>
            <p:nvPr/>
          </p:nvSpPr>
          <p:spPr>
            <a:xfrm rot="5400000">
              <a:off x="2800641" y="2816031"/>
              <a:ext cx="3616273" cy="1820937"/>
            </a:xfrm>
            <a:prstGeom prst="triangle">
              <a:avLst>
                <a:gd name="adj" fmla="val 4966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1" name="Rectangle 6">
              <a:extLst>
                <a:ext uri="{FF2B5EF4-FFF2-40B4-BE49-F238E27FC236}">
                  <a16:creationId xmlns:a16="http://schemas.microsoft.com/office/drawing/2014/main" id="{62B181DE-6B50-44A5-B3AE-D3D0AE23026D}"/>
                </a:ext>
              </a:extLst>
            </p:cNvPr>
            <p:cNvSpPr>
              <a:spLocks noChangeArrowheads="1"/>
            </p:cNvSpPr>
            <p:nvPr>
              <p:custDataLst>
                <p:tags r:id="rId1"/>
              </p:custDataLst>
            </p:nvPr>
          </p:nvSpPr>
          <p:spPr bwMode="auto">
            <a:xfrm>
              <a:off x="3698308" y="2960000"/>
              <a:ext cx="1820938" cy="1532999"/>
            </a:xfrm>
            <a:prstGeom prst="rect">
              <a:avLst/>
            </a:prstGeom>
            <a:noFill/>
            <a:ln w="6350">
              <a:noFill/>
              <a:miter lim="800000"/>
              <a:headEnd/>
              <a:tailEnd/>
            </a:ln>
            <a:effectLst/>
          </p:spPr>
          <p:txBody>
            <a:bodyPr lIns="180000" tIns="180000" rIns="144000" bIns="72000" anchor="ctr" anchorCtr="0"/>
            <a:lstStyle/>
            <a:p>
              <a:pPr algn="l" eaLnBrk="0" hangingPunct="0">
                <a:lnSpc>
                  <a:spcPct val="85000"/>
                </a:lnSpc>
                <a:spcBef>
                  <a:spcPts val="100"/>
                </a:spcBef>
                <a:spcAft>
                  <a:spcPts val="300"/>
                </a:spcAft>
              </a:pPr>
              <a:r>
                <a:rPr lang="en-US" b="1" dirty="0">
                  <a:solidFill>
                    <a:schemeClr val="bg1"/>
                  </a:solidFill>
                  <a:latin typeface="+mj-lt"/>
                </a:rPr>
                <a:t>Text</a:t>
              </a:r>
            </a:p>
          </p:txBody>
        </p:sp>
        <p:sp>
          <p:nvSpPr>
            <p:cNvPr id="17" name="Isosceles Triangle 16">
              <a:extLst>
                <a:ext uri="{FF2B5EF4-FFF2-40B4-BE49-F238E27FC236}">
                  <a16:creationId xmlns:a16="http://schemas.microsoft.com/office/drawing/2014/main" id="{D184D62C-6DBC-44FB-9E14-1AABEE7E2006}"/>
                </a:ext>
                <a:ext uri="{C183D7F6-B498-43B3-948B-1728B52AA6E4}">
                  <adec:decorative xmlns:adec="http://schemas.microsoft.com/office/drawing/2017/decorative" val="1"/>
                </a:ext>
              </a:extLst>
            </p:cNvPr>
            <p:cNvSpPr/>
            <p:nvPr/>
          </p:nvSpPr>
          <p:spPr>
            <a:xfrm rot="10800000">
              <a:off x="3790978" y="1795603"/>
              <a:ext cx="3616274" cy="1820937"/>
            </a:xfrm>
            <a:prstGeom prst="triangle">
              <a:avLst>
                <a:gd name="adj" fmla="val 4966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3" name="Rectangle 6">
              <a:extLst>
                <a:ext uri="{FF2B5EF4-FFF2-40B4-BE49-F238E27FC236}">
                  <a16:creationId xmlns:a16="http://schemas.microsoft.com/office/drawing/2014/main" id="{7CCE5AAD-B615-4ABC-BED1-37EC4BAB585B}"/>
                </a:ext>
              </a:extLst>
            </p:cNvPr>
            <p:cNvSpPr>
              <a:spLocks noChangeArrowheads="1"/>
            </p:cNvSpPr>
            <p:nvPr>
              <p:custDataLst>
                <p:tags r:id="rId2"/>
              </p:custDataLst>
            </p:nvPr>
          </p:nvSpPr>
          <p:spPr bwMode="auto">
            <a:xfrm>
              <a:off x="4329229" y="1795602"/>
              <a:ext cx="2539773" cy="1532999"/>
            </a:xfrm>
            <a:prstGeom prst="rect">
              <a:avLst/>
            </a:prstGeom>
            <a:noFill/>
            <a:ln w="6350">
              <a:noFill/>
              <a:miter lim="800000"/>
              <a:headEnd/>
              <a:tailEnd/>
            </a:ln>
            <a:effectLst/>
          </p:spPr>
          <p:txBody>
            <a:bodyPr lIns="180000" tIns="180000" rIns="144000" bIns="72000" anchor="ctr" anchorCtr="0"/>
            <a:lstStyle/>
            <a:p>
              <a:pPr algn="ctr" eaLnBrk="0" hangingPunct="0">
                <a:lnSpc>
                  <a:spcPct val="85000"/>
                </a:lnSpc>
                <a:spcBef>
                  <a:spcPts val="100"/>
                </a:spcBef>
                <a:spcAft>
                  <a:spcPts val="300"/>
                </a:spcAft>
              </a:pPr>
              <a:r>
                <a:rPr lang="en-US" b="1" dirty="0">
                  <a:solidFill>
                    <a:schemeClr val="bg1"/>
                  </a:solidFill>
                  <a:latin typeface="+mj-lt"/>
                </a:rPr>
                <a:t>Text</a:t>
              </a:r>
            </a:p>
          </p:txBody>
        </p:sp>
        <p:sp>
          <p:nvSpPr>
            <p:cNvPr id="19" name="Isosceles Triangle 18">
              <a:extLst>
                <a:ext uri="{FF2B5EF4-FFF2-40B4-BE49-F238E27FC236}">
                  <a16:creationId xmlns:a16="http://schemas.microsoft.com/office/drawing/2014/main" id="{889957F5-28CB-4B62-B60F-91450EB05DFF}"/>
                </a:ext>
                <a:ext uri="{C183D7F6-B498-43B3-948B-1728B52AA6E4}">
                  <adec:decorative xmlns:adec="http://schemas.microsoft.com/office/drawing/2017/decorative" val="1"/>
                </a:ext>
              </a:extLst>
            </p:cNvPr>
            <p:cNvSpPr/>
            <p:nvPr/>
          </p:nvSpPr>
          <p:spPr>
            <a:xfrm flipH="1">
              <a:off x="3794176" y="3809843"/>
              <a:ext cx="3616274" cy="1820937"/>
            </a:xfrm>
            <a:prstGeom prst="triangle">
              <a:avLst>
                <a:gd name="adj" fmla="val 49660"/>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5" name="Rectangle 6">
              <a:extLst>
                <a:ext uri="{FF2B5EF4-FFF2-40B4-BE49-F238E27FC236}">
                  <a16:creationId xmlns:a16="http://schemas.microsoft.com/office/drawing/2014/main" id="{006EF808-87B9-421F-8EB3-A6E9F253575B}"/>
                </a:ext>
              </a:extLst>
            </p:cNvPr>
            <p:cNvSpPr>
              <a:spLocks noChangeArrowheads="1"/>
            </p:cNvSpPr>
            <p:nvPr>
              <p:custDataLst>
                <p:tags r:id="rId3"/>
              </p:custDataLst>
            </p:nvPr>
          </p:nvSpPr>
          <p:spPr bwMode="auto">
            <a:xfrm>
              <a:off x="4329229" y="4370231"/>
              <a:ext cx="2539773" cy="1260549"/>
            </a:xfrm>
            <a:prstGeom prst="rect">
              <a:avLst/>
            </a:prstGeom>
            <a:noFill/>
            <a:ln w="6350">
              <a:noFill/>
              <a:miter lim="800000"/>
              <a:headEnd/>
              <a:tailEnd/>
            </a:ln>
            <a:effectLst/>
          </p:spPr>
          <p:txBody>
            <a:bodyPr lIns="180000" tIns="180000" rIns="144000" bIns="72000" anchor="ctr" anchorCtr="0"/>
            <a:lstStyle/>
            <a:p>
              <a:pPr algn="ctr" eaLnBrk="0" hangingPunct="0">
                <a:lnSpc>
                  <a:spcPct val="85000"/>
                </a:lnSpc>
                <a:spcBef>
                  <a:spcPts val="100"/>
                </a:spcBef>
                <a:spcAft>
                  <a:spcPts val="300"/>
                </a:spcAft>
              </a:pPr>
              <a:r>
                <a:rPr lang="en-US" b="1" dirty="0">
                  <a:solidFill>
                    <a:schemeClr val="bg1"/>
                  </a:solidFill>
                  <a:latin typeface="+mj-lt"/>
                </a:rPr>
                <a:t>Text</a:t>
              </a:r>
            </a:p>
          </p:txBody>
        </p:sp>
      </p:grpSp>
      <p:sp>
        <p:nvSpPr>
          <p:cNvPr id="5" name="Footer Placeholder 4">
            <a:extLst>
              <a:ext uri="{FF2B5EF4-FFF2-40B4-BE49-F238E27FC236}">
                <a16:creationId xmlns:a16="http://schemas.microsoft.com/office/drawing/2014/main" id="{D382C4C0-9F3F-4F0F-A6DF-EFC8435E097D}"/>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4F6CF3D-B386-432B-B88B-5F6CA06682E2}"/>
              </a:ext>
            </a:extLst>
          </p:cNvPr>
          <p:cNvSpPr>
            <a:spLocks noGrp="1"/>
          </p:cNvSpPr>
          <p:nvPr>
            <p:ph type="sldNum" sz="quarter" idx="10"/>
          </p:nvPr>
        </p:nvSpPr>
        <p:spPr/>
        <p:txBody>
          <a:bodyPr/>
          <a:lstStyle/>
          <a:p>
            <a:fld id="{1F90F471-3972-4120-B8B3-0237DE626C35}" type="slidenum">
              <a:rPr lang="en-US" smtClean="0"/>
              <a:pPr/>
              <a:t>168</a:t>
            </a:fld>
            <a:endParaRPr lang="en-US" dirty="0"/>
          </a:p>
        </p:txBody>
      </p:sp>
    </p:spTree>
    <p:extLst>
      <p:ext uri="{BB962C8B-B14F-4D97-AF65-F5344CB8AC3E}">
        <p14:creationId xmlns:p14="http://schemas.microsoft.com/office/powerpoint/2010/main" val="2195871523"/>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pPr lvl="0"/>
            <a:r>
              <a:rPr lang="de-DE" noProof="0" dirty="0"/>
              <a:t>3 keypoints infographic</a:t>
            </a:r>
          </a:p>
        </p:txBody>
      </p:sp>
      <p:grpSp>
        <p:nvGrpSpPr>
          <p:cNvPr id="3" name="Group 2" descr="Location">
            <a:extLst>
              <a:ext uri="{FF2B5EF4-FFF2-40B4-BE49-F238E27FC236}">
                <a16:creationId xmlns:a16="http://schemas.microsoft.com/office/drawing/2014/main" id="{021F7795-9A7A-4B15-A60F-4BF22FA5FA37}"/>
              </a:ext>
            </a:extLst>
          </p:cNvPr>
          <p:cNvGrpSpPr/>
          <p:nvPr/>
        </p:nvGrpSpPr>
        <p:grpSpPr>
          <a:xfrm>
            <a:off x="421195" y="2580942"/>
            <a:ext cx="3220436" cy="2801681"/>
            <a:chOff x="421195" y="2580942"/>
            <a:chExt cx="3220436" cy="2801681"/>
          </a:xfrm>
        </p:grpSpPr>
        <p:grpSp>
          <p:nvGrpSpPr>
            <p:cNvPr id="128" name="Group 127">
              <a:extLst>
                <a:ext uri="{FF2B5EF4-FFF2-40B4-BE49-F238E27FC236}">
                  <a16:creationId xmlns:a16="http://schemas.microsoft.com/office/drawing/2014/main" id="{1396DB0F-E695-4B80-B1DA-E626BFDFA7E4}"/>
                </a:ext>
              </a:extLst>
            </p:cNvPr>
            <p:cNvGrpSpPr/>
            <p:nvPr/>
          </p:nvGrpSpPr>
          <p:grpSpPr>
            <a:xfrm>
              <a:off x="526114" y="2580942"/>
              <a:ext cx="3115517" cy="2801681"/>
              <a:chOff x="2719009" y="1792266"/>
              <a:chExt cx="2462223" cy="2801681"/>
            </a:xfrm>
            <a:solidFill>
              <a:schemeClr val="accent3">
                <a:lumMod val="60000"/>
                <a:lumOff val="40000"/>
              </a:schemeClr>
            </a:solidFill>
          </p:grpSpPr>
          <p:sp>
            <p:nvSpPr>
              <p:cNvPr id="129" name="Rectangle 128">
                <a:extLst>
                  <a:ext uri="{FF2B5EF4-FFF2-40B4-BE49-F238E27FC236}">
                    <a16:creationId xmlns:a16="http://schemas.microsoft.com/office/drawing/2014/main" id="{09ACFB13-32CD-40C6-A80C-2E9A1BA2404B}"/>
                  </a:ext>
                </a:extLst>
              </p:cNvPr>
              <p:cNvSpPr/>
              <p:nvPr/>
            </p:nvSpPr>
            <p:spPr>
              <a:xfrm>
                <a:off x="2719009" y="1792266"/>
                <a:ext cx="2462223" cy="2801681"/>
              </a:xfrm>
              <a:prstGeom prst="rect">
                <a:avLst/>
              </a:prstGeom>
              <a:grp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prstClr val="white"/>
                  </a:solidFill>
                  <a:effectLst/>
                  <a:uLnTx/>
                  <a:uFillTx/>
                  <a:latin typeface="+mj-lt"/>
                  <a:ea typeface="+mn-ea"/>
                  <a:cs typeface="+mn-cs"/>
                </a:endParaRPr>
              </a:p>
            </p:txBody>
          </p:sp>
          <p:sp>
            <p:nvSpPr>
              <p:cNvPr id="130" name="TextBox 129">
                <a:extLst>
                  <a:ext uri="{FF2B5EF4-FFF2-40B4-BE49-F238E27FC236}">
                    <a16:creationId xmlns:a16="http://schemas.microsoft.com/office/drawing/2014/main" id="{0E821EF2-98C8-42B4-8AE0-D8AD36D6C39C}"/>
                  </a:ext>
                </a:extLst>
              </p:cNvPr>
              <p:cNvSpPr txBox="1"/>
              <p:nvPr/>
            </p:nvSpPr>
            <p:spPr>
              <a:xfrm>
                <a:off x="2723538" y="1860194"/>
                <a:ext cx="2457694" cy="345511"/>
              </a:xfrm>
              <a:prstGeom prst="rect">
                <a:avLst/>
              </a:prstGeom>
              <a:grpFill/>
            </p:spPr>
            <p:txBody>
              <a:bodyPr vert="horz"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1" i="0" u="none" strike="noStrike" kern="0" cap="none" spc="300" normalizeH="0" baseline="0" noProof="0" dirty="0">
                    <a:ln>
                      <a:noFill/>
                    </a:ln>
                    <a:solidFill>
                      <a:schemeClr val="bg1"/>
                    </a:solidFill>
                    <a:effectLst/>
                    <a:uLnTx/>
                    <a:uFillTx/>
                    <a:latin typeface="+mj-lt"/>
                  </a:rPr>
                  <a:t>Location</a:t>
                </a:r>
              </a:p>
            </p:txBody>
          </p:sp>
        </p:grpSp>
        <p:grpSp>
          <p:nvGrpSpPr>
            <p:cNvPr id="131" name="Group 130">
              <a:extLst>
                <a:ext uri="{FF2B5EF4-FFF2-40B4-BE49-F238E27FC236}">
                  <a16:creationId xmlns:a16="http://schemas.microsoft.com/office/drawing/2014/main" id="{BFFCCDA7-D7A9-4756-B08D-A2CB25EF095F}"/>
                </a:ext>
              </a:extLst>
            </p:cNvPr>
            <p:cNvGrpSpPr/>
            <p:nvPr/>
          </p:nvGrpSpPr>
          <p:grpSpPr>
            <a:xfrm>
              <a:off x="421195" y="2951013"/>
              <a:ext cx="2756201" cy="2254194"/>
              <a:chOff x="475893" y="3299078"/>
              <a:chExt cx="2756201" cy="2254194"/>
            </a:xfrm>
            <a:solidFill>
              <a:schemeClr val="accent3"/>
            </a:solidFill>
          </p:grpSpPr>
          <p:grpSp>
            <p:nvGrpSpPr>
              <p:cNvPr id="132" name="Group 131">
                <a:extLst>
                  <a:ext uri="{FF2B5EF4-FFF2-40B4-BE49-F238E27FC236}">
                    <a16:creationId xmlns:a16="http://schemas.microsoft.com/office/drawing/2014/main" id="{F58547C5-07DE-445E-B95A-F9B5D6E7E31C}"/>
                  </a:ext>
                </a:extLst>
              </p:cNvPr>
              <p:cNvGrpSpPr/>
              <p:nvPr/>
            </p:nvGrpSpPr>
            <p:grpSpPr>
              <a:xfrm>
                <a:off x="475893" y="3299078"/>
                <a:ext cx="2756201" cy="216055"/>
                <a:chOff x="475893" y="3299078"/>
                <a:chExt cx="2756201" cy="216055"/>
              </a:xfrm>
              <a:grpFill/>
            </p:grpSpPr>
            <p:sp>
              <p:nvSpPr>
                <p:cNvPr id="151" name="Right Triangle 150">
                  <a:extLst>
                    <a:ext uri="{FF2B5EF4-FFF2-40B4-BE49-F238E27FC236}">
                      <a16:creationId xmlns:a16="http://schemas.microsoft.com/office/drawing/2014/main" id="{D32CD014-7ECF-4C4E-A768-7D8FE60E5974}"/>
                    </a:ext>
                  </a:extLst>
                </p:cNvPr>
                <p:cNvSpPr/>
                <p:nvPr/>
              </p:nvSpPr>
              <p:spPr>
                <a:xfrm rot="16200000">
                  <a:off x="510902" y="3264069"/>
                  <a:ext cx="36000" cy="106018"/>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52" name="Rectangle 151">
                  <a:extLst>
                    <a:ext uri="{FF2B5EF4-FFF2-40B4-BE49-F238E27FC236}">
                      <a16:creationId xmlns:a16="http://schemas.microsoft.com/office/drawing/2014/main" id="{333E0907-3845-423F-81BB-54634AF8BE9B}"/>
                    </a:ext>
                  </a:extLst>
                </p:cNvPr>
                <p:cNvSpPr/>
                <p:nvPr/>
              </p:nvSpPr>
              <p:spPr>
                <a:xfrm>
                  <a:off x="475894" y="3335079"/>
                  <a:ext cx="2756200" cy="180054"/>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 Europe</a:t>
                  </a:r>
                  <a:endParaRPr kumimoji="0" lang="de-DE" sz="1200" b="1" i="0" u="none" strike="noStrike" kern="0" cap="none" spc="0" normalizeH="0" baseline="0" noProof="0" dirty="0">
                    <a:ln>
                      <a:noFill/>
                    </a:ln>
                    <a:solidFill>
                      <a:prstClr val="white"/>
                    </a:solidFill>
                    <a:effectLst/>
                    <a:uLnTx/>
                    <a:uFillTx/>
                    <a:latin typeface="+mj-lt"/>
                    <a:ea typeface="+mn-ea"/>
                  </a:endParaRPr>
                </a:p>
              </p:txBody>
            </p:sp>
          </p:grpSp>
          <p:grpSp>
            <p:nvGrpSpPr>
              <p:cNvPr id="133" name="Group 132">
                <a:extLst>
                  <a:ext uri="{FF2B5EF4-FFF2-40B4-BE49-F238E27FC236}">
                    <a16:creationId xmlns:a16="http://schemas.microsoft.com/office/drawing/2014/main" id="{2891BF01-3355-45C2-9E52-EF067257B326}"/>
                  </a:ext>
                </a:extLst>
              </p:cNvPr>
              <p:cNvGrpSpPr/>
              <p:nvPr/>
            </p:nvGrpSpPr>
            <p:grpSpPr>
              <a:xfrm>
                <a:off x="475893" y="5337217"/>
                <a:ext cx="2756201" cy="216055"/>
                <a:chOff x="475893" y="5337217"/>
                <a:chExt cx="2756201" cy="216055"/>
              </a:xfrm>
              <a:grpFill/>
            </p:grpSpPr>
            <p:sp>
              <p:nvSpPr>
                <p:cNvPr id="149" name="Right Triangle 148">
                  <a:extLst>
                    <a:ext uri="{FF2B5EF4-FFF2-40B4-BE49-F238E27FC236}">
                      <a16:creationId xmlns:a16="http://schemas.microsoft.com/office/drawing/2014/main" id="{D85E5DD2-BBFB-44AB-81D8-3313B0623C31}"/>
                    </a:ext>
                  </a:extLst>
                </p:cNvPr>
                <p:cNvSpPr/>
                <p:nvPr/>
              </p:nvSpPr>
              <p:spPr>
                <a:xfrm rot="16200000">
                  <a:off x="510902" y="5302208"/>
                  <a:ext cx="36000" cy="106018"/>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50" name="Rectangle 149">
                  <a:extLst>
                    <a:ext uri="{FF2B5EF4-FFF2-40B4-BE49-F238E27FC236}">
                      <a16:creationId xmlns:a16="http://schemas.microsoft.com/office/drawing/2014/main" id="{52042B45-8F9D-4FA8-9130-B54082CC0B43}"/>
                    </a:ext>
                  </a:extLst>
                </p:cNvPr>
                <p:cNvSpPr/>
                <p:nvPr/>
              </p:nvSpPr>
              <p:spPr>
                <a:xfrm>
                  <a:off x="475894" y="5373218"/>
                  <a:ext cx="2756200" cy="180054"/>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 Russia</a:t>
                  </a:r>
                  <a:endParaRPr kumimoji="0" lang="de-DE" sz="1200" b="1" i="0" u="none" strike="noStrike" kern="0" cap="none" spc="0" normalizeH="0" baseline="0" noProof="0" dirty="0">
                    <a:ln>
                      <a:noFill/>
                    </a:ln>
                    <a:solidFill>
                      <a:prstClr val="white"/>
                    </a:solidFill>
                    <a:effectLst/>
                    <a:uLnTx/>
                    <a:uFillTx/>
                    <a:latin typeface="+mj-lt"/>
                    <a:ea typeface="+mn-ea"/>
                  </a:endParaRPr>
                </a:p>
              </p:txBody>
            </p:sp>
          </p:grpSp>
          <p:grpSp>
            <p:nvGrpSpPr>
              <p:cNvPr id="134" name="Group 133">
                <a:extLst>
                  <a:ext uri="{FF2B5EF4-FFF2-40B4-BE49-F238E27FC236}">
                    <a16:creationId xmlns:a16="http://schemas.microsoft.com/office/drawing/2014/main" id="{91829109-CD62-4FF1-AF2F-4021B199D93F}"/>
                  </a:ext>
                </a:extLst>
              </p:cNvPr>
              <p:cNvGrpSpPr/>
              <p:nvPr/>
            </p:nvGrpSpPr>
            <p:grpSpPr>
              <a:xfrm>
                <a:off x="475893" y="3638768"/>
                <a:ext cx="2756201" cy="216055"/>
                <a:chOff x="475893" y="3638768"/>
                <a:chExt cx="2756201" cy="216055"/>
              </a:xfrm>
              <a:grpFill/>
            </p:grpSpPr>
            <p:sp>
              <p:nvSpPr>
                <p:cNvPr id="147" name="Right Triangle 146">
                  <a:extLst>
                    <a:ext uri="{FF2B5EF4-FFF2-40B4-BE49-F238E27FC236}">
                      <a16:creationId xmlns:a16="http://schemas.microsoft.com/office/drawing/2014/main" id="{0CC69905-32FE-4881-A14A-CE29F543E0B9}"/>
                    </a:ext>
                  </a:extLst>
                </p:cNvPr>
                <p:cNvSpPr/>
                <p:nvPr/>
              </p:nvSpPr>
              <p:spPr>
                <a:xfrm rot="16200000">
                  <a:off x="510902" y="3603759"/>
                  <a:ext cx="36000" cy="106018"/>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48" name="Rectangle 147">
                  <a:extLst>
                    <a:ext uri="{FF2B5EF4-FFF2-40B4-BE49-F238E27FC236}">
                      <a16:creationId xmlns:a16="http://schemas.microsoft.com/office/drawing/2014/main" id="{E36C6E91-0C6A-4877-826A-09CCB0BC2F7F}"/>
                    </a:ext>
                  </a:extLst>
                </p:cNvPr>
                <p:cNvSpPr/>
                <p:nvPr/>
              </p:nvSpPr>
              <p:spPr>
                <a:xfrm>
                  <a:off x="475894" y="3674769"/>
                  <a:ext cx="2756200" cy="180054"/>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 China</a:t>
                  </a:r>
                  <a:endParaRPr kumimoji="0" lang="de-DE" sz="1200" b="1" i="0" u="none" strike="noStrike" kern="0" cap="none" spc="0" normalizeH="0" baseline="0" noProof="0" dirty="0">
                    <a:ln>
                      <a:noFill/>
                    </a:ln>
                    <a:solidFill>
                      <a:prstClr val="white"/>
                    </a:solidFill>
                    <a:effectLst/>
                    <a:uLnTx/>
                    <a:uFillTx/>
                    <a:latin typeface="+mj-lt"/>
                    <a:ea typeface="+mn-ea"/>
                  </a:endParaRPr>
                </a:p>
              </p:txBody>
            </p:sp>
          </p:grpSp>
          <p:grpSp>
            <p:nvGrpSpPr>
              <p:cNvPr id="135" name="Group 134">
                <a:extLst>
                  <a:ext uri="{FF2B5EF4-FFF2-40B4-BE49-F238E27FC236}">
                    <a16:creationId xmlns:a16="http://schemas.microsoft.com/office/drawing/2014/main" id="{0AB5C74B-40B9-48A6-A45E-62A5B89473CE}"/>
                  </a:ext>
                </a:extLst>
              </p:cNvPr>
              <p:cNvGrpSpPr/>
              <p:nvPr/>
            </p:nvGrpSpPr>
            <p:grpSpPr>
              <a:xfrm>
                <a:off x="475893" y="3978458"/>
                <a:ext cx="2756201" cy="216055"/>
                <a:chOff x="475893" y="3978458"/>
                <a:chExt cx="2756201" cy="216055"/>
              </a:xfrm>
              <a:grpFill/>
            </p:grpSpPr>
            <p:sp>
              <p:nvSpPr>
                <p:cNvPr id="145" name="Right Triangle 144">
                  <a:extLst>
                    <a:ext uri="{FF2B5EF4-FFF2-40B4-BE49-F238E27FC236}">
                      <a16:creationId xmlns:a16="http://schemas.microsoft.com/office/drawing/2014/main" id="{F93AE998-E45B-4E78-9DFE-69EBC6EF8C22}"/>
                    </a:ext>
                  </a:extLst>
                </p:cNvPr>
                <p:cNvSpPr/>
                <p:nvPr/>
              </p:nvSpPr>
              <p:spPr>
                <a:xfrm rot="16200000">
                  <a:off x="510902" y="3943449"/>
                  <a:ext cx="36000" cy="106018"/>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46" name="Rectangle 145">
                  <a:extLst>
                    <a:ext uri="{FF2B5EF4-FFF2-40B4-BE49-F238E27FC236}">
                      <a16:creationId xmlns:a16="http://schemas.microsoft.com/office/drawing/2014/main" id="{C7606F04-308D-4271-981D-4455FC0B1E1A}"/>
                    </a:ext>
                  </a:extLst>
                </p:cNvPr>
                <p:cNvSpPr/>
                <p:nvPr/>
              </p:nvSpPr>
              <p:spPr>
                <a:xfrm>
                  <a:off x="475894" y="4014459"/>
                  <a:ext cx="2756200" cy="180054"/>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 India</a:t>
                  </a:r>
                  <a:endParaRPr kumimoji="0" lang="de-DE" sz="1200" b="1" i="0" u="none" strike="noStrike" kern="0" cap="none" spc="0" normalizeH="0" baseline="0" noProof="0" dirty="0">
                    <a:ln>
                      <a:noFill/>
                    </a:ln>
                    <a:solidFill>
                      <a:prstClr val="white"/>
                    </a:solidFill>
                    <a:effectLst/>
                    <a:uLnTx/>
                    <a:uFillTx/>
                    <a:latin typeface="+mj-lt"/>
                    <a:ea typeface="+mn-ea"/>
                  </a:endParaRPr>
                </a:p>
              </p:txBody>
            </p:sp>
          </p:grpSp>
          <p:grpSp>
            <p:nvGrpSpPr>
              <p:cNvPr id="136" name="Group 135">
                <a:extLst>
                  <a:ext uri="{FF2B5EF4-FFF2-40B4-BE49-F238E27FC236}">
                    <a16:creationId xmlns:a16="http://schemas.microsoft.com/office/drawing/2014/main" id="{5809D956-05D1-418F-A9A5-E1AD1B943FAD}"/>
                  </a:ext>
                </a:extLst>
              </p:cNvPr>
              <p:cNvGrpSpPr/>
              <p:nvPr/>
            </p:nvGrpSpPr>
            <p:grpSpPr>
              <a:xfrm>
                <a:off x="475893" y="4318148"/>
                <a:ext cx="2756201" cy="216055"/>
                <a:chOff x="475893" y="4318148"/>
                <a:chExt cx="2756201" cy="216055"/>
              </a:xfrm>
              <a:grpFill/>
            </p:grpSpPr>
            <p:sp>
              <p:nvSpPr>
                <p:cNvPr id="143" name="Right Triangle 142">
                  <a:extLst>
                    <a:ext uri="{FF2B5EF4-FFF2-40B4-BE49-F238E27FC236}">
                      <a16:creationId xmlns:a16="http://schemas.microsoft.com/office/drawing/2014/main" id="{16FB070B-8E48-4B87-843A-6D32FD0D903D}"/>
                    </a:ext>
                  </a:extLst>
                </p:cNvPr>
                <p:cNvSpPr/>
                <p:nvPr/>
              </p:nvSpPr>
              <p:spPr>
                <a:xfrm rot="16200000">
                  <a:off x="510902" y="4283139"/>
                  <a:ext cx="36000" cy="106018"/>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44" name="Rectangle 143">
                  <a:extLst>
                    <a:ext uri="{FF2B5EF4-FFF2-40B4-BE49-F238E27FC236}">
                      <a16:creationId xmlns:a16="http://schemas.microsoft.com/office/drawing/2014/main" id="{11E0F7C2-C7F7-4CEA-B967-839C8381D40C}"/>
                    </a:ext>
                  </a:extLst>
                </p:cNvPr>
                <p:cNvSpPr/>
                <p:nvPr/>
              </p:nvSpPr>
              <p:spPr>
                <a:xfrm>
                  <a:off x="475894" y="4354149"/>
                  <a:ext cx="2756200" cy="180054"/>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 UK</a:t>
                  </a:r>
                  <a:endParaRPr kumimoji="0" lang="de-DE" sz="1200" b="1" i="0" u="none" strike="noStrike" kern="0" cap="none" spc="0" normalizeH="0" baseline="0" noProof="0" dirty="0">
                    <a:ln>
                      <a:noFill/>
                    </a:ln>
                    <a:solidFill>
                      <a:prstClr val="white"/>
                    </a:solidFill>
                    <a:effectLst/>
                    <a:uLnTx/>
                    <a:uFillTx/>
                    <a:latin typeface="+mj-lt"/>
                    <a:ea typeface="+mn-ea"/>
                  </a:endParaRPr>
                </a:p>
              </p:txBody>
            </p:sp>
          </p:grpSp>
          <p:grpSp>
            <p:nvGrpSpPr>
              <p:cNvPr id="137" name="Group 136">
                <a:extLst>
                  <a:ext uri="{FF2B5EF4-FFF2-40B4-BE49-F238E27FC236}">
                    <a16:creationId xmlns:a16="http://schemas.microsoft.com/office/drawing/2014/main" id="{3A6B59E4-B7D5-4B5B-90F2-0768914B1555}"/>
                  </a:ext>
                </a:extLst>
              </p:cNvPr>
              <p:cNvGrpSpPr/>
              <p:nvPr/>
            </p:nvGrpSpPr>
            <p:grpSpPr>
              <a:xfrm>
                <a:off x="475893" y="4997528"/>
                <a:ext cx="2756201" cy="216055"/>
                <a:chOff x="475893" y="4997528"/>
                <a:chExt cx="2756201" cy="216055"/>
              </a:xfrm>
              <a:grpFill/>
            </p:grpSpPr>
            <p:sp>
              <p:nvSpPr>
                <p:cNvPr id="141" name="Rectangle 140">
                  <a:extLst>
                    <a:ext uri="{FF2B5EF4-FFF2-40B4-BE49-F238E27FC236}">
                      <a16:creationId xmlns:a16="http://schemas.microsoft.com/office/drawing/2014/main" id="{844CD7B1-3162-44BF-A6B1-A32DADF115E0}"/>
                    </a:ext>
                  </a:extLst>
                </p:cNvPr>
                <p:cNvSpPr/>
                <p:nvPr/>
              </p:nvSpPr>
              <p:spPr>
                <a:xfrm>
                  <a:off x="475894" y="5033529"/>
                  <a:ext cx="2756200" cy="180054"/>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 Canada</a:t>
                  </a:r>
                  <a:endParaRPr kumimoji="0" lang="de-DE" sz="1200" b="1" i="0" u="none" strike="noStrike" kern="0" cap="none" spc="0" normalizeH="0" baseline="0" noProof="0" dirty="0">
                    <a:ln>
                      <a:noFill/>
                    </a:ln>
                    <a:solidFill>
                      <a:prstClr val="white"/>
                    </a:solidFill>
                    <a:effectLst/>
                    <a:uLnTx/>
                    <a:uFillTx/>
                    <a:latin typeface="+mj-lt"/>
                    <a:ea typeface="+mn-ea"/>
                  </a:endParaRPr>
                </a:p>
              </p:txBody>
            </p:sp>
            <p:sp>
              <p:nvSpPr>
                <p:cNvPr id="142" name="Right Triangle 141">
                  <a:extLst>
                    <a:ext uri="{FF2B5EF4-FFF2-40B4-BE49-F238E27FC236}">
                      <a16:creationId xmlns:a16="http://schemas.microsoft.com/office/drawing/2014/main" id="{895DF4A1-8B26-41E6-94F9-F4AEF154516E}"/>
                    </a:ext>
                  </a:extLst>
                </p:cNvPr>
                <p:cNvSpPr/>
                <p:nvPr/>
              </p:nvSpPr>
              <p:spPr>
                <a:xfrm rot="16200000">
                  <a:off x="510902" y="4962519"/>
                  <a:ext cx="36000" cy="106018"/>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grpSp>
          <p:grpSp>
            <p:nvGrpSpPr>
              <p:cNvPr id="138" name="Group 137">
                <a:extLst>
                  <a:ext uri="{FF2B5EF4-FFF2-40B4-BE49-F238E27FC236}">
                    <a16:creationId xmlns:a16="http://schemas.microsoft.com/office/drawing/2014/main" id="{330A38C2-CD1A-47D5-B74A-228FD0382DEA}"/>
                  </a:ext>
                </a:extLst>
              </p:cNvPr>
              <p:cNvGrpSpPr/>
              <p:nvPr/>
            </p:nvGrpSpPr>
            <p:grpSpPr>
              <a:xfrm>
                <a:off x="475893" y="4657838"/>
                <a:ext cx="2756201" cy="216055"/>
                <a:chOff x="475893" y="4657838"/>
                <a:chExt cx="2756201" cy="216055"/>
              </a:xfrm>
              <a:grpFill/>
            </p:grpSpPr>
            <p:sp>
              <p:nvSpPr>
                <p:cNvPr id="139" name="Right Triangle 138">
                  <a:extLst>
                    <a:ext uri="{FF2B5EF4-FFF2-40B4-BE49-F238E27FC236}">
                      <a16:creationId xmlns:a16="http://schemas.microsoft.com/office/drawing/2014/main" id="{9CBA86A9-410D-4265-85D4-2EA577E5CF5B}"/>
                    </a:ext>
                  </a:extLst>
                </p:cNvPr>
                <p:cNvSpPr/>
                <p:nvPr/>
              </p:nvSpPr>
              <p:spPr>
                <a:xfrm rot="16200000">
                  <a:off x="510902" y="4622829"/>
                  <a:ext cx="36000" cy="106018"/>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40" name="Rectangle 139">
                  <a:extLst>
                    <a:ext uri="{FF2B5EF4-FFF2-40B4-BE49-F238E27FC236}">
                      <a16:creationId xmlns:a16="http://schemas.microsoft.com/office/drawing/2014/main" id="{A520D004-24A3-43B7-93E2-A8477D6614E9}"/>
                    </a:ext>
                  </a:extLst>
                </p:cNvPr>
                <p:cNvSpPr/>
                <p:nvPr/>
              </p:nvSpPr>
              <p:spPr>
                <a:xfrm>
                  <a:off x="475894" y="4693839"/>
                  <a:ext cx="2756200" cy="180054"/>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 US</a:t>
                  </a:r>
                  <a:endParaRPr kumimoji="0" lang="de-DE" sz="1200" b="1" i="0" u="none" strike="noStrike" kern="0" cap="none" spc="0" normalizeH="0" baseline="0" noProof="0" dirty="0">
                    <a:ln>
                      <a:noFill/>
                    </a:ln>
                    <a:solidFill>
                      <a:prstClr val="white"/>
                    </a:solidFill>
                    <a:effectLst/>
                    <a:uLnTx/>
                    <a:uFillTx/>
                    <a:latin typeface="+mj-lt"/>
                    <a:ea typeface="+mn-ea"/>
                  </a:endParaRPr>
                </a:p>
              </p:txBody>
            </p:sp>
          </p:grpSp>
        </p:grpSp>
      </p:grpSp>
      <p:cxnSp>
        <p:nvCxnSpPr>
          <p:cNvPr id="107" name="Straight Connector 106">
            <a:extLst>
              <a:ext uri="{FF2B5EF4-FFF2-40B4-BE49-F238E27FC236}">
                <a16:creationId xmlns:a16="http://schemas.microsoft.com/office/drawing/2014/main" id="{320F8BAA-92FA-471B-8895-F219AFEE5B7B}"/>
              </a:ext>
              <a:ext uri="{C183D7F6-B498-43B3-948B-1728B52AA6E4}">
                <adec:decorative xmlns:adec="http://schemas.microsoft.com/office/drawing/2017/decorative" val="1"/>
              </a:ext>
            </a:extLst>
          </p:cNvPr>
          <p:cNvCxnSpPr>
            <a:cxnSpLocks/>
            <a:stCxn id="129" idx="3"/>
          </p:cNvCxnSpPr>
          <p:nvPr/>
        </p:nvCxnSpPr>
        <p:spPr>
          <a:xfrm flipV="1">
            <a:off x="3641631" y="3907336"/>
            <a:ext cx="688939" cy="74447"/>
          </a:xfrm>
          <a:prstGeom prst="line">
            <a:avLst/>
          </a:prstGeom>
          <a:noFill/>
          <a:ln w="9525" cap="flat" cmpd="sng" algn="ctr">
            <a:solidFill>
              <a:schemeClr val="accent3"/>
            </a:solidFill>
            <a:prstDash val="dash"/>
          </a:ln>
          <a:effectLst/>
        </p:spPr>
      </p:cxnSp>
      <p:grpSp>
        <p:nvGrpSpPr>
          <p:cNvPr id="10" name="Group 9" descr="Sect of icons">
            <a:extLst>
              <a:ext uri="{FF2B5EF4-FFF2-40B4-BE49-F238E27FC236}">
                <a16:creationId xmlns:a16="http://schemas.microsoft.com/office/drawing/2014/main" id="{B5A9B810-0E7D-42AF-8924-9DF4801ED654}"/>
              </a:ext>
            </a:extLst>
          </p:cNvPr>
          <p:cNvGrpSpPr/>
          <p:nvPr/>
        </p:nvGrpSpPr>
        <p:grpSpPr>
          <a:xfrm>
            <a:off x="3912278" y="2157031"/>
            <a:ext cx="4068365" cy="3965143"/>
            <a:chOff x="3912278" y="2157031"/>
            <a:chExt cx="4068365" cy="3965143"/>
          </a:xfrm>
        </p:grpSpPr>
        <p:grpSp>
          <p:nvGrpSpPr>
            <p:cNvPr id="4" name="Group 3" descr="Icons distribution">
              <a:extLst>
                <a:ext uri="{FF2B5EF4-FFF2-40B4-BE49-F238E27FC236}">
                  <a16:creationId xmlns:a16="http://schemas.microsoft.com/office/drawing/2014/main" id="{2419336C-7BE0-4208-B838-AE02AFC06915}"/>
                </a:ext>
              </a:extLst>
            </p:cNvPr>
            <p:cNvGrpSpPr/>
            <p:nvPr/>
          </p:nvGrpSpPr>
          <p:grpSpPr>
            <a:xfrm>
              <a:off x="3912278" y="2157031"/>
              <a:ext cx="3881049" cy="3965143"/>
              <a:chOff x="3912278" y="2157031"/>
              <a:chExt cx="3881049" cy="3965143"/>
            </a:xfrm>
          </p:grpSpPr>
          <p:sp>
            <p:nvSpPr>
              <p:cNvPr id="109" name="Freeform 7">
                <a:extLst>
                  <a:ext uri="{FF2B5EF4-FFF2-40B4-BE49-F238E27FC236}">
                    <a16:creationId xmlns:a16="http://schemas.microsoft.com/office/drawing/2014/main" id="{A9FFDAF6-1904-4A6D-BA2B-10A053614F79}"/>
                  </a:ext>
                </a:extLst>
              </p:cNvPr>
              <p:cNvSpPr>
                <a:spLocks/>
              </p:cNvSpPr>
              <p:nvPr/>
            </p:nvSpPr>
            <p:spPr bwMode="auto">
              <a:xfrm rot="2576790">
                <a:off x="5377927" y="2157031"/>
                <a:ext cx="2415400" cy="1978484"/>
              </a:xfrm>
              <a:custGeom>
                <a:avLst/>
                <a:gdLst>
                  <a:gd name="T0" fmla="*/ 2125 w 2125"/>
                  <a:gd name="T1" fmla="*/ 502 h 1739"/>
                  <a:gd name="T2" fmla="*/ 234 w 2125"/>
                  <a:gd name="T3" fmla="*/ 533 h 1739"/>
                  <a:gd name="T4" fmla="*/ 194 w 2125"/>
                  <a:gd name="T5" fmla="*/ 1371 h 1739"/>
                  <a:gd name="T6" fmla="*/ 1271 w 2125"/>
                  <a:gd name="T7" fmla="*/ 1108 h 1739"/>
                  <a:gd name="T8" fmla="*/ 2125 w 2125"/>
                  <a:gd name="T9" fmla="*/ 502 h 1739"/>
                </a:gdLst>
                <a:ahLst/>
                <a:cxnLst>
                  <a:cxn ang="0">
                    <a:pos x="T0" y="T1"/>
                  </a:cxn>
                  <a:cxn ang="0">
                    <a:pos x="T2" y="T3"/>
                  </a:cxn>
                  <a:cxn ang="0">
                    <a:pos x="T4" y="T5"/>
                  </a:cxn>
                  <a:cxn ang="0">
                    <a:pos x="T6" y="T7"/>
                  </a:cxn>
                  <a:cxn ang="0">
                    <a:pos x="T8" y="T9"/>
                  </a:cxn>
                </a:cxnLst>
                <a:rect l="0" t="0" r="r" b="b"/>
                <a:pathLst>
                  <a:path w="2125" h="1739">
                    <a:moveTo>
                      <a:pt x="2125" y="502"/>
                    </a:moveTo>
                    <a:cubicBezTo>
                      <a:pt x="1392" y="0"/>
                      <a:pt x="709" y="125"/>
                      <a:pt x="234" y="533"/>
                    </a:cubicBezTo>
                    <a:cubicBezTo>
                      <a:pt x="0" y="733"/>
                      <a:pt x="7" y="1158"/>
                      <a:pt x="194" y="1371"/>
                    </a:cubicBezTo>
                    <a:cubicBezTo>
                      <a:pt x="515" y="1739"/>
                      <a:pt x="1002" y="1690"/>
                      <a:pt x="1271" y="1108"/>
                    </a:cubicBezTo>
                    <a:cubicBezTo>
                      <a:pt x="1477" y="662"/>
                      <a:pt x="1687" y="441"/>
                      <a:pt x="2125" y="502"/>
                    </a:cubicBezTo>
                    <a:close/>
                  </a:path>
                </a:pathLst>
              </a:custGeom>
              <a:solidFill>
                <a:schemeClr val="accent1">
                  <a:lumMod val="60000"/>
                  <a:lumOff val="40000"/>
                </a:schemeClr>
              </a:solidFill>
              <a:ln w="12" cap="flat">
                <a:noFill/>
                <a:prstDash val="solid"/>
                <a:miter lim="800000"/>
                <a:headEnd/>
                <a:tailEnd/>
              </a:ln>
            </p:spPr>
            <p:txBody>
              <a:bodyPr vert="horz" wrap="square" lIns="48768" tIns="24384" rIns="48768" bIns="24384" numCol="1" anchor="t" anchorCtr="0" compatLnSpc="1">
                <a:prstTxWarp prst="textNoShape">
                  <a:avLst/>
                </a:prstTxWarp>
              </a:bodyPr>
              <a:lstStyle/>
              <a:p>
                <a:pPr marL="0" marR="0" lvl="0" indent="0" defTabSz="487650" eaLnBrk="1" fontAlgn="auto" latinLnBrk="0" hangingPunct="1">
                  <a:lnSpc>
                    <a:spcPct val="100000"/>
                  </a:lnSpc>
                  <a:spcBef>
                    <a:spcPts val="0"/>
                  </a:spcBef>
                  <a:spcAft>
                    <a:spcPts val="0"/>
                  </a:spcAft>
                  <a:buClrTx/>
                  <a:buSzTx/>
                  <a:buFontTx/>
                  <a:buNone/>
                  <a:tabLst/>
                  <a:defRPr/>
                </a:pPr>
                <a:endParaRPr kumimoji="0" lang="en-US" sz="960" b="0" i="0" u="none" strike="noStrike" kern="0" cap="none" spc="0" normalizeH="0" baseline="0" noProof="0" dirty="0">
                  <a:ln>
                    <a:noFill/>
                  </a:ln>
                  <a:solidFill>
                    <a:sysClr val="windowText" lastClr="000000"/>
                  </a:solidFill>
                  <a:effectLst/>
                  <a:uLnTx/>
                  <a:uFillTx/>
                  <a:latin typeface="+mj-lt"/>
                </a:endParaRPr>
              </a:p>
            </p:txBody>
          </p:sp>
          <p:sp>
            <p:nvSpPr>
              <p:cNvPr id="110" name="Freeform 10">
                <a:extLst>
                  <a:ext uri="{FF2B5EF4-FFF2-40B4-BE49-F238E27FC236}">
                    <a16:creationId xmlns:a16="http://schemas.microsoft.com/office/drawing/2014/main" id="{AD14DB71-04EB-4D0C-A400-146500757A5A}"/>
                  </a:ext>
                </a:extLst>
              </p:cNvPr>
              <p:cNvSpPr>
                <a:spLocks/>
              </p:cNvSpPr>
              <p:nvPr/>
            </p:nvSpPr>
            <p:spPr bwMode="auto">
              <a:xfrm rot="2576790">
                <a:off x="4758222" y="2460843"/>
                <a:ext cx="675982" cy="900210"/>
              </a:xfrm>
              <a:custGeom>
                <a:avLst/>
                <a:gdLst>
                  <a:gd name="T0" fmla="*/ 594 w 594"/>
                  <a:gd name="T1" fmla="*/ 792 h 792"/>
                  <a:gd name="T2" fmla="*/ 293 w 594"/>
                  <a:gd name="T3" fmla="*/ 152 h 792"/>
                  <a:gd name="T4" fmla="*/ 29 w 594"/>
                  <a:gd name="T5" fmla="*/ 208 h 792"/>
                  <a:gd name="T6" fmla="*/ 36 w 594"/>
                  <a:gd name="T7" fmla="*/ 414 h 792"/>
                  <a:gd name="T8" fmla="*/ 594 w 594"/>
                  <a:gd name="T9" fmla="*/ 792 h 792"/>
                </a:gdLst>
                <a:ahLst/>
                <a:cxnLst>
                  <a:cxn ang="0">
                    <a:pos x="T0" y="T1"/>
                  </a:cxn>
                  <a:cxn ang="0">
                    <a:pos x="T2" y="T3"/>
                  </a:cxn>
                  <a:cxn ang="0">
                    <a:pos x="T4" y="T5"/>
                  </a:cxn>
                  <a:cxn ang="0">
                    <a:pos x="T6" y="T7"/>
                  </a:cxn>
                  <a:cxn ang="0">
                    <a:pos x="T8" y="T9"/>
                  </a:cxn>
                </a:cxnLst>
                <a:rect l="0" t="0" r="r" b="b"/>
                <a:pathLst>
                  <a:path w="594" h="792">
                    <a:moveTo>
                      <a:pt x="594" y="792"/>
                    </a:moveTo>
                    <a:cubicBezTo>
                      <a:pt x="539" y="571"/>
                      <a:pt x="457" y="332"/>
                      <a:pt x="293" y="152"/>
                    </a:cubicBezTo>
                    <a:cubicBezTo>
                      <a:pt x="198" y="47"/>
                      <a:pt x="72" y="0"/>
                      <a:pt x="29" y="208"/>
                    </a:cubicBezTo>
                    <a:cubicBezTo>
                      <a:pt x="16" y="274"/>
                      <a:pt x="0" y="361"/>
                      <a:pt x="36" y="414"/>
                    </a:cubicBezTo>
                    <a:cubicBezTo>
                      <a:pt x="171" y="613"/>
                      <a:pt x="226" y="714"/>
                      <a:pt x="594" y="792"/>
                    </a:cubicBezTo>
                    <a:close/>
                  </a:path>
                </a:pathLst>
              </a:custGeom>
              <a:solidFill>
                <a:schemeClr val="accent3"/>
              </a:solidFill>
              <a:ln w="12" cap="flat">
                <a:noFill/>
                <a:prstDash val="solid"/>
                <a:miter lim="800000"/>
                <a:headEnd/>
                <a:tailEnd/>
              </a:ln>
            </p:spPr>
            <p:txBody>
              <a:bodyPr vert="horz" wrap="square" lIns="48768" tIns="24384" rIns="48768" bIns="24384" numCol="1" anchor="t" anchorCtr="0" compatLnSpc="1">
                <a:prstTxWarp prst="textNoShape">
                  <a:avLst/>
                </a:prstTxWarp>
              </a:bodyPr>
              <a:lstStyle/>
              <a:p>
                <a:pPr marL="0" marR="0" lvl="0" indent="0" defTabSz="487650" eaLnBrk="1" fontAlgn="auto" latinLnBrk="0" hangingPunct="1">
                  <a:lnSpc>
                    <a:spcPct val="100000"/>
                  </a:lnSpc>
                  <a:spcBef>
                    <a:spcPts val="0"/>
                  </a:spcBef>
                  <a:spcAft>
                    <a:spcPts val="0"/>
                  </a:spcAft>
                  <a:buClrTx/>
                  <a:buSzTx/>
                  <a:buFontTx/>
                  <a:buNone/>
                  <a:tabLst/>
                  <a:defRPr/>
                </a:pPr>
                <a:endParaRPr kumimoji="0" lang="en-US" sz="960" b="0" i="0" u="none" strike="noStrike" kern="0" cap="none" spc="0" normalizeH="0" baseline="0" noProof="0" dirty="0">
                  <a:ln>
                    <a:noFill/>
                  </a:ln>
                  <a:solidFill>
                    <a:sysClr val="windowText" lastClr="000000"/>
                  </a:solidFill>
                  <a:effectLst/>
                  <a:uLnTx/>
                  <a:uFillTx/>
                  <a:latin typeface="+mj-lt"/>
                </a:endParaRPr>
              </a:p>
            </p:txBody>
          </p:sp>
          <p:sp>
            <p:nvSpPr>
              <p:cNvPr id="111" name="Freeform 12">
                <a:extLst>
                  <a:ext uri="{FF2B5EF4-FFF2-40B4-BE49-F238E27FC236}">
                    <a16:creationId xmlns:a16="http://schemas.microsoft.com/office/drawing/2014/main" id="{7BB86089-6020-42A7-999D-FC2DFA25962D}"/>
                  </a:ext>
                </a:extLst>
              </p:cNvPr>
              <p:cNvSpPr>
                <a:spLocks/>
              </p:cNvSpPr>
              <p:nvPr/>
            </p:nvSpPr>
            <p:spPr bwMode="auto">
              <a:xfrm rot="2576790">
                <a:off x="5332932" y="4789931"/>
                <a:ext cx="649602" cy="954619"/>
              </a:xfrm>
              <a:custGeom>
                <a:avLst/>
                <a:gdLst>
                  <a:gd name="T0" fmla="*/ 463 w 572"/>
                  <a:gd name="T1" fmla="*/ 0 h 839"/>
                  <a:gd name="T2" fmla="*/ 47 w 572"/>
                  <a:gd name="T3" fmla="*/ 572 h 839"/>
                  <a:gd name="T4" fmla="*/ 223 w 572"/>
                  <a:gd name="T5" fmla="*/ 776 h 839"/>
                  <a:gd name="T6" fmla="*/ 400 w 572"/>
                  <a:gd name="T7" fmla="*/ 671 h 839"/>
                  <a:gd name="T8" fmla="*/ 463 w 572"/>
                  <a:gd name="T9" fmla="*/ 0 h 839"/>
                </a:gdLst>
                <a:ahLst/>
                <a:cxnLst>
                  <a:cxn ang="0">
                    <a:pos x="T0" y="T1"/>
                  </a:cxn>
                  <a:cxn ang="0">
                    <a:pos x="T2" y="T3"/>
                  </a:cxn>
                  <a:cxn ang="0">
                    <a:pos x="T4" y="T5"/>
                  </a:cxn>
                  <a:cxn ang="0">
                    <a:pos x="T6" y="T7"/>
                  </a:cxn>
                  <a:cxn ang="0">
                    <a:pos x="T8" y="T9"/>
                  </a:cxn>
                </a:cxnLst>
                <a:rect l="0" t="0" r="r" b="b"/>
                <a:pathLst>
                  <a:path w="572" h="839">
                    <a:moveTo>
                      <a:pt x="463" y="0"/>
                    </a:moveTo>
                    <a:cubicBezTo>
                      <a:pt x="296" y="155"/>
                      <a:pt x="126" y="342"/>
                      <a:pt x="47" y="572"/>
                    </a:cubicBezTo>
                    <a:cubicBezTo>
                      <a:pt x="0" y="706"/>
                      <a:pt x="20" y="839"/>
                      <a:pt x="223" y="776"/>
                    </a:cubicBezTo>
                    <a:cubicBezTo>
                      <a:pt x="287" y="756"/>
                      <a:pt x="371" y="729"/>
                      <a:pt x="400" y="671"/>
                    </a:cubicBezTo>
                    <a:cubicBezTo>
                      <a:pt x="510" y="457"/>
                      <a:pt x="572" y="360"/>
                      <a:pt x="463" y="0"/>
                    </a:cubicBezTo>
                    <a:close/>
                  </a:path>
                </a:pathLst>
              </a:custGeom>
              <a:solidFill>
                <a:schemeClr val="accent2"/>
              </a:solidFill>
              <a:ln w="12" cap="flat">
                <a:noFill/>
                <a:prstDash val="solid"/>
                <a:miter lim="800000"/>
                <a:headEnd/>
                <a:tailEnd/>
              </a:ln>
            </p:spPr>
            <p:txBody>
              <a:bodyPr vert="horz" wrap="square" lIns="48768" tIns="24384" rIns="48768" bIns="24384" numCol="1" anchor="t" anchorCtr="0" compatLnSpc="1">
                <a:prstTxWarp prst="textNoShape">
                  <a:avLst/>
                </a:prstTxWarp>
              </a:bodyPr>
              <a:lstStyle/>
              <a:p>
                <a:pPr marL="0" marR="0" lvl="0" indent="0" defTabSz="487650" eaLnBrk="1" fontAlgn="auto" latinLnBrk="0" hangingPunct="1">
                  <a:lnSpc>
                    <a:spcPct val="100000"/>
                  </a:lnSpc>
                  <a:spcBef>
                    <a:spcPts val="0"/>
                  </a:spcBef>
                  <a:spcAft>
                    <a:spcPts val="0"/>
                  </a:spcAft>
                  <a:buClrTx/>
                  <a:buSzTx/>
                  <a:buFontTx/>
                  <a:buNone/>
                  <a:tabLst/>
                  <a:defRPr/>
                </a:pPr>
                <a:endParaRPr kumimoji="0" lang="en-US" sz="960" b="0" i="0" u="none" strike="noStrike" kern="0" cap="none" spc="0" normalizeH="0" baseline="0" noProof="0" dirty="0">
                  <a:ln>
                    <a:noFill/>
                  </a:ln>
                  <a:solidFill>
                    <a:sysClr val="windowText" lastClr="000000"/>
                  </a:solidFill>
                  <a:effectLst/>
                  <a:uLnTx/>
                  <a:uFillTx/>
                  <a:latin typeface="+mj-lt"/>
                </a:endParaRPr>
              </a:p>
            </p:txBody>
          </p:sp>
          <p:sp>
            <p:nvSpPr>
              <p:cNvPr id="112" name="Freeform 9">
                <a:extLst>
                  <a:ext uri="{FF2B5EF4-FFF2-40B4-BE49-F238E27FC236}">
                    <a16:creationId xmlns:a16="http://schemas.microsoft.com/office/drawing/2014/main" id="{60413648-E1EF-4962-AFC3-0CB9C95C7457}"/>
                  </a:ext>
                </a:extLst>
              </p:cNvPr>
              <p:cNvSpPr>
                <a:spLocks/>
              </p:cNvSpPr>
              <p:nvPr/>
            </p:nvSpPr>
            <p:spPr bwMode="auto">
              <a:xfrm rot="2576790">
                <a:off x="3912278" y="3091937"/>
                <a:ext cx="2207659" cy="1937266"/>
              </a:xfrm>
              <a:custGeom>
                <a:avLst/>
                <a:gdLst>
                  <a:gd name="T0" fmla="*/ 52 w 1942"/>
                  <a:gd name="T1" fmla="*/ 0 h 1702"/>
                  <a:gd name="T2" fmla="*/ 1052 w 1942"/>
                  <a:gd name="T3" fmla="*/ 1605 h 1702"/>
                  <a:gd name="T4" fmla="*/ 1792 w 1942"/>
                  <a:gd name="T5" fmla="*/ 1207 h 1702"/>
                  <a:gd name="T6" fmla="*/ 1011 w 1942"/>
                  <a:gd name="T7" fmla="*/ 419 h 1702"/>
                  <a:gd name="T8" fmla="*/ 52 w 1942"/>
                  <a:gd name="T9" fmla="*/ 0 h 1702"/>
                </a:gdLst>
                <a:ahLst/>
                <a:cxnLst>
                  <a:cxn ang="0">
                    <a:pos x="T0" y="T1"/>
                  </a:cxn>
                  <a:cxn ang="0">
                    <a:pos x="T2" y="T3"/>
                  </a:cxn>
                  <a:cxn ang="0">
                    <a:pos x="T4" y="T5"/>
                  </a:cxn>
                  <a:cxn ang="0">
                    <a:pos x="T6" y="T7"/>
                  </a:cxn>
                  <a:cxn ang="0">
                    <a:pos x="T8" y="T9"/>
                  </a:cxn>
                </a:cxnLst>
                <a:rect l="0" t="0" r="r" b="b"/>
                <a:pathLst>
                  <a:path w="1942" h="1702">
                    <a:moveTo>
                      <a:pt x="52" y="0"/>
                    </a:moveTo>
                    <a:cubicBezTo>
                      <a:pt x="0" y="886"/>
                      <a:pt x="459" y="1408"/>
                      <a:pt x="1052" y="1605"/>
                    </a:cubicBezTo>
                    <a:cubicBezTo>
                      <a:pt x="1345" y="1702"/>
                      <a:pt x="1705" y="1477"/>
                      <a:pt x="1792" y="1207"/>
                    </a:cubicBezTo>
                    <a:cubicBezTo>
                      <a:pt x="1942" y="743"/>
                      <a:pt x="1649" y="350"/>
                      <a:pt x="1011" y="419"/>
                    </a:cubicBezTo>
                    <a:cubicBezTo>
                      <a:pt x="523" y="472"/>
                      <a:pt x="225" y="406"/>
                      <a:pt x="52" y="0"/>
                    </a:cubicBezTo>
                    <a:close/>
                  </a:path>
                </a:pathLst>
              </a:custGeom>
              <a:solidFill>
                <a:srgbClr val="8700DA"/>
              </a:solidFill>
              <a:ln w="12" cap="flat">
                <a:noFill/>
                <a:prstDash val="solid"/>
                <a:miter lim="800000"/>
                <a:headEnd/>
                <a:tailEnd/>
              </a:ln>
            </p:spPr>
            <p:txBody>
              <a:bodyPr vert="horz" wrap="square" lIns="48768" tIns="24384" rIns="48768" bIns="24384" numCol="1" anchor="t" anchorCtr="0" compatLnSpc="1">
                <a:prstTxWarp prst="textNoShape">
                  <a:avLst/>
                </a:prstTxWarp>
              </a:bodyPr>
              <a:lstStyle/>
              <a:p>
                <a:pPr marL="0" marR="0" lvl="0" indent="0" defTabSz="487650" eaLnBrk="1" fontAlgn="auto" latinLnBrk="0" hangingPunct="1">
                  <a:lnSpc>
                    <a:spcPct val="100000"/>
                  </a:lnSpc>
                  <a:spcBef>
                    <a:spcPts val="0"/>
                  </a:spcBef>
                  <a:spcAft>
                    <a:spcPts val="0"/>
                  </a:spcAft>
                  <a:buClrTx/>
                  <a:buSzTx/>
                  <a:buFontTx/>
                  <a:buNone/>
                  <a:tabLst/>
                  <a:defRPr/>
                </a:pPr>
                <a:endParaRPr kumimoji="0" lang="en-US" sz="960" b="0" i="0" u="none" strike="noStrike" kern="0" cap="none" spc="0" normalizeH="0" baseline="0" noProof="0" dirty="0">
                  <a:ln>
                    <a:noFill/>
                  </a:ln>
                  <a:solidFill>
                    <a:sysClr val="windowText" lastClr="000000"/>
                  </a:solidFill>
                  <a:effectLst/>
                  <a:uLnTx/>
                  <a:uFillTx/>
                  <a:latin typeface="+mj-lt"/>
                </a:endParaRPr>
              </a:p>
            </p:txBody>
          </p:sp>
          <p:sp>
            <p:nvSpPr>
              <p:cNvPr id="113" name="Freeform 11">
                <a:extLst>
                  <a:ext uri="{FF2B5EF4-FFF2-40B4-BE49-F238E27FC236}">
                    <a16:creationId xmlns:a16="http://schemas.microsoft.com/office/drawing/2014/main" id="{96CC0CF3-340A-41BA-8567-7E7903CCCCA9}"/>
                  </a:ext>
                </a:extLst>
              </p:cNvPr>
              <p:cNvSpPr>
                <a:spLocks/>
              </p:cNvSpPr>
              <p:nvPr/>
            </p:nvSpPr>
            <p:spPr bwMode="auto">
              <a:xfrm rot="2576790">
                <a:off x="5689702" y="3663907"/>
                <a:ext cx="1704794" cy="2458267"/>
              </a:xfrm>
              <a:custGeom>
                <a:avLst/>
                <a:gdLst>
                  <a:gd name="T0" fmla="*/ 461 w 1500"/>
                  <a:gd name="T1" fmla="*/ 2160 h 2160"/>
                  <a:gd name="T2" fmla="*/ 1387 w 1500"/>
                  <a:gd name="T3" fmla="*/ 511 h 2160"/>
                  <a:gd name="T4" fmla="*/ 682 w 1500"/>
                  <a:gd name="T5" fmla="*/ 54 h 2160"/>
                  <a:gd name="T6" fmla="*/ 367 w 1500"/>
                  <a:gd name="T7" fmla="*/ 1117 h 2160"/>
                  <a:gd name="T8" fmla="*/ 461 w 1500"/>
                  <a:gd name="T9" fmla="*/ 2160 h 2160"/>
                </a:gdLst>
                <a:ahLst/>
                <a:cxnLst>
                  <a:cxn ang="0">
                    <a:pos x="T0" y="T1"/>
                  </a:cxn>
                  <a:cxn ang="0">
                    <a:pos x="T2" y="T3"/>
                  </a:cxn>
                  <a:cxn ang="0">
                    <a:pos x="T4" y="T5"/>
                  </a:cxn>
                  <a:cxn ang="0">
                    <a:pos x="T6" y="T7"/>
                  </a:cxn>
                  <a:cxn ang="0">
                    <a:pos x="T8" y="T9"/>
                  </a:cxn>
                </a:cxnLst>
                <a:rect l="0" t="0" r="r" b="b"/>
                <a:pathLst>
                  <a:path w="1500" h="2160">
                    <a:moveTo>
                      <a:pt x="461" y="2160"/>
                    </a:moveTo>
                    <a:cubicBezTo>
                      <a:pt x="1263" y="1780"/>
                      <a:pt x="1500" y="1126"/>
                      <a:pt x="1387" y="511"/>
                    </a:cubicBezTo>
                    <a:cubicBezTo>
                      <a:pt x="1331" y="208"/>
                      <a:pt x="961" y="0"/>
                      <a:pt x="682" y="54"/>
                    </a:cubicBezTo>
                    <a:cubicBezTo>
                      <a:pt x="203" y="146"/>
                      <a:pt x="0" y="591"/>
                      <a:pt x="367" y="1117"/>
                    </a:cubicBezTo>
                    <a:cubicBezTo>
                      <a:pt x="649" y="1520"/>
                      <a:pt x="733" y="1813"/>
                      <a:pt x="461" y="2160"/>
                    </a:cubicBezTo>
                    <a:close/>
                  </a:path>
                </a:pathLst>
              </a:custGeom>
              <a:solidFill>
                <a:schemeClr val="accent2">
                  <a:lumMod val="60000"/>
                  <a:lumOff val="40000"/>
                </a:schemeClr>
              </a:solidFill>
              <a:ln w="12" cap="flat">
                <a:noFill/>
                <a:prstDash val="solid"/>
                <a:miter lim="800000"/>
                <a:headEnd/>
                <a:tailEnd/>
              </a:ln>
            </p:spPr>
            <p:txBody>
              <a:bodyPr vert="horz" wrap="square" lIns="48768" tIns="24384" rIns="48768" bIns="24384" numCol="1" anchor="t" anchorCtr="0" compatLnSpc="1">
                <a:prstTxWarp prst="textNoShape">
                  <a:avLst/>
                </a:prstTxWarp>
              </a:bodyPr>
              <a:lstStyle/>
              <a:p>
                <a:pPr marL="0" marR="0" lvl="0" indent="0" defTabSz="487650" eaLnBrk="1" fontAlgn="auto" latinLnBrk="0" hangingPunct="1">
                  <a:lnSpc>
                    <a:spcPct val="100000"/>
                  </a:lnSpc>
                  <a:spcBef>
                    <a:spcPts val="0"/>
                  </a:spcBef>
                  <a:spcAft>
                    <a:spcPts val="0"/>
                  </a:spcAft>
                  <a:buClrTx/>
                  <a:buSzTx/>
                  <a:buFontTx/>
                  <a:buNone/>
                  <a:tabLst/>
                  <a:defRPr/>
                </a:pPr>
                <a:endParaRPr kumimoji="0" lang="en-US" sz="960" b="0" i="0" u="none" strike="noStrike" kern="0" cap="none" spc="0" normalizeH="0" baseline="0" noProof="0" dirty="0">
                  <a:ln>
                    <a:noFill/>
                  </a:ln>
                  <a:solidFill>
                    <a:sysClr val="windowText" lastClr="000000"/>
                  </a:solidFill>
                  <a:effectLst/>
                  <a:uLnTx/>
                  <a:uFillTx/>
                  <a:latin typeface="+mj-lt"/>
                </a:endParaRPr>
              </a:p>
            </p:txBody>
          </p:sp>
          <p:sp>
            <p:nvSpPr>
              <p:cNvPr id="114" name="Oval 113">
                <a:extLst>
                  <a:ext uri="{FF2B5EF4-FFF2-40B4-BE49-F238E27FC236}">
                    <a16:creationId xmlns:a16="http://schemas.microsoft.com/office/drawing/2014/main" id="{D06B0FF3-6517-447F-A799-D599C5A7CAB7}"/>
                  </a:ext>
                </a:extLst>
              </p:cNvPr>
              <p:cNvSpPr/>
              <p:nvPr/>
            </p:nvSpPr>
            <p:spPr>
              <a:xfrm>
                <a:off x="5533453" y="2297013"/>
                <a:ext cx="1259000" cy="1259000"/>
              </a:xfrm>
              <a:prstGeom prst="ellipse">
                <a:avLst/>
              </a:prstGeom>
              <a:solidFill>
                <a:schemeClr val="accent1"/>
              </a:solidFill>
              <a:ln w="25400" cap="flat" cmpd="sng" algn="ctr">
                <a:noFill/>
                <a:prstDash val="solid"/>
              </a:ln>
              <a:effectLst/>
            </p:spPr>
            <p:txBody>
              <a:bodyPr rtlCol="0" anchor="ctr"/>
              <a:lstStyle/>
              <a:p>
                <a:pPr marL="0" marR="0" lvl="0" indent="0" algn="ctr" defTabSz="975299" eaLnBrk="1" fontAlgn="auto" latinLnBrk="0" hangingPunct="1">
                  <a:lnSpc>
                    <a:spcPct val="100000"/>
                  </a:lnSpc>
                  <a:spcBef>
                    <a:spcPts val="0"/>
                  </a:spcBef>
                  <a:spcAft>
                    <a:spcPts val="0"/>
                  </a:spcAft>
                  <a:buClrTx/>
                  <a:buSzTx/>
                  <a:buFontTx/>
                  <a:buNone/>
                  <a:tabLst/>
                  <a:defRPr/>
                </a:pPr>
                <a:endParaRPr kumimoji="0" lang="en-US" sz="1920" b="0" i="0" u="none" strike="noStrike" kern="0" cap="none" spc="0" normalizeH="0" baseline="0" noProof="0" dirty="0">
                  <a:ln>
                    <a:noFill/>
                  </a:ln>
                  <a:solidFill>
                    <a:srgbClr val="FFFFFF"/>
                  </a:solidFill>
                  <a:effectLst/>
                  <a:uLnTx/>
                  <a:uFillTx/>
                  <a:latin typeface="+mj-lt"/>
                  <a:ea typeface="+mn-ea"/>
                  <a:cs typeface="+mn-cs"/>
                </a:endParaRPr>
              </a:p>
            </p:txBody>
          </p:sp>
          <p:sp>
            <p:nvSpPr>
              <p:cNvPr id="115" name="Oval 114">
                <a:extLst>
                  <a:ext uri="{FF2B5EF4-FFF2-40B4-BE49-F238E27FC236}">
                    <a16:creationId xmlns:a16="http://schemas.microsoft.com/office/drawing/2014/main" id="{F6A7761D-B6C1-4674-A5B2-9B17B2A5A459}"/>
                  </a:ext>
                </a:extLst>
              </p:cNvPr>
              <p:cNvSpPr/>
              <p:nvPr/>
            </p:nvSpPr>
            <p:spPr>
              <a:xfrm>
                <a:off x="6279774" y="3919726"/>
                <a:ext cx="1259000" cy="1259000"/>
              </a:xfrm>
              <a:prstGeom prst="ellipse">
                <a:avLst/>
              </a:prstGeom>
              <a:solidFill>
                <a:schemeClr val="accent2"/>
              </a:solidFill>
              <a:ln w="25400" cap="flat" cmpd="sng" algn="ctr">
                <a:noFill/>
                <a:prstDash val="solid"/>
              </a:ln>
              <a:effectLst/>
            </p:spPr>
            <p:txBody>
              <a:bodyPr rtlCol="0" anchor="ctr"/>
              <a:lstStyle/>
              <a:p>
                <a:pPr marL="0" marR="0" lvl="0" indent="0" algn="ctr" defTabSz="975299" eaLnBrk="1" fontAlgn="auto" latinLnBrk="0" hangingPunct="1">
                  <a:lnSpc>
                    <a:spcPct val="100000"/>
                  </a:lnSpc>
                  <a:spcBef>
                    <a:spcPts val="0"/>
                  </a:spcBef>
                  <a:spcAft>
                    <a:spcPts val="0"/>
                  </a:spcAft>
                  <a:buClrTx/>
                  <a:buSzTx/>
                  <a:buFontTx/>
                  <a:buNone/>
                  <a:tabLst/>
                  <a:defRPr/>
                </a:pPr>
                <a:endParaRPr kumimoji="0" lang="en-US" sz="1920" b="0" i="0" u="none" strike="noStrike" kern="0" cap="none" spc="0" normalizeH="0" baseline="0" noProof="0" dirty="0">
                  <a:ln>
                    <a:noFill/>
                  </a:ln>
                  <a:solidFill>
                    <a:srgbClr val="FFFFFF"/>
                  </a:solidFill>
                  <a:effectLst/>
                  <a:uLnTx/>
                  <a:uFillTx/>
                  <a:latin typeface="+mj-lt"/>
                  <a:ea typeface="+mn-ea"/>
                  <a:cs typeface="+mn-cs"/>
                </a:endParaRPr>
              </a:p>
            </p:txBody>
          </p:sp>
          <p:sp>
            <p:nvSpPr>
              <p:cNvPr id="116" name="Oval 115">
                <a:extLst>
                  <a:ext uri="{FF2B5EF4-FFF2-40B4-BE49-F238E27FC236}">
                    <a16:creationId xmlns:a16="http://schemas.microsoft.com/office/drawing/2014/main" id="{5D23795E-3732-46BD-A31A-E2F575170192}"/>
                  </a:ext>
                </a:extLst>
              </p:cNvPr>
              <p:cNvSpPr/>
              <p:nvPr/>
            </p:nvSpPr>
            <p:spPr>
              <a:xfrm>
                <a:off x="4451226" y="3741152"/>
                <a:ext cx="1259000" cy="1259000"/>
              </a:xfrm>
              <a:prstGeom prst="ellipse">
                <a:avLst/>
              </a:prstGeom>
              <a:solidFill>
                <a:schemeClr val="accent3"/>
              </a:solidFill>
              <a:ln w="25400" cap="flat" cmpd="sng" algn="ctr">
                <a:noFill/>
                <a:prstDash val="solid"/>
              </a:ln>
              <a:effectLst/>
            </p:spPr>
            <p:txBody>
              <a:bodyPr rtlCol="0" anchor="ctr"/>
              <a:lstStyle/>
              <a:p>
                <a:pPr marL="0" marR="0" lvl="0" indent="0" algn="ctr" defTabSz="975299" eaLnBrk="1" fontAlgn="auto" latinLnBrk="0" hangingPunct="1">
                  <a:lnSpc>
                    <a:spcPct val="100000"/>
                  </a:lnSpc>
                  <a:spcBef>
                    <a:spcPts val="0"/>
                  </a:spcBef>
                  <a:spcAft>
                    <a:spcPts val="0"/>
                  </a:spcAft>
                  <a:buClrTx/>
                  <a:buSzTx/>
                  <a:buFontTx/>
                  <a:buNone/>
                  <a:tabLst/>
                  <a:defRPr/>
                </a:pPr>
                <a:endParaRPr kumimoji="0" lang="en-US" sz="1920" b="0" i="0" u="none" strike="noStrike" kern="0" cap="none" spc="0" normalizeH="0" baseline="0" noProof="0" dirty="0">
                  <a:ln>
                    <a:noFill/>
                  </a:ln>
                  <a:solidFill>
                    <a:srgbClr val="FFFFFF"/>
                  </a:solidFill>
                  <a:effectLst/>
                  <a:uLnTx/>
                  <a:uFillTx/>
                  <a:latin typeface="+mj-lt"/>
                  <a:ea typeface="+mn-ea"/>
                  <a:cs typeface="+mn-cs"/>
                </a:endParaRPr>
              </a:p>
            </p:txBody>
          </p:sp>
          <p:grpSp>
            <p:nvGrpSpPr>
              <p:cNvPr id="117" name="Group 121">
                <a:extLst>
                  <a:ext uri="{FF2B5EF4-FFF2-40B4-BE49-F238E27FC236}">
                    <a16:creationId xmlns:a16="http://schemas.microsoft.com/office/drawing/2014/main" id="{7C5E7429-79E1-49BA-9ED3-698237F4A895}"/>
                  </a:ext>
                </a:extLst>
              </p:cNvPr>
              <p:cNvGrpSpPr>
                <a:grpSpLocks noChangeAspect="1"/>
              </p:cNvGrpSpPr>
              <p:nvPr/>
            </p:nvGrpSpPr>
            <p:grpSpPr bwMode="auto">
              <a:xfrm>
                <a:off x="6603274" y="4245367"/>
                <a:ext cx="612000" cy="607719"/>
                <a:chOff x="1549" y="3225"/>
                <a:chExt cx="429" cy="426"/>
              </a:xfrm>
              <a:solidFill>
                <a:sysClr val="window" lastClr="FFFFFF"/>
              </a:solidFill>
            </p:grpSpPr>
            <p:sp>
              <p:nvSpPr>
                <p:cNvPr id="118" name="Freeform 122">
                  <a:extLst>
                    <a:ext uri="{FF2B5EF4-FFF2-40B4-BE49-F238E27FC236}">
                      <a16:creationId xmlns:a16="http://schemas.microsoft.com/office/drawing/2014/main" id="{11BA72D5-CBFD-4668-B341-F0803A34EB3E}"/>
                    </a:ext>
                  </a:extLst>
                </p:cNvPr>
                <p:cNvSpPr>
                  <a:spLocks/>
                </p:cNvSpPr>
                <p:nvPr/>
              </p:nvSpPr>
              <p:spPr bwMode="auto">
                <a:xfrm>
                  <a:off x="1860" y="3225"/>
                  <a:ext cx="118" cy="116"/>
                </a:xfrm>
                <a:custGeom>
                  <a:avLst/>
                  <a:gdLst>
                    <a:gd name="T0" fmla="*/ 7 w 80"/>
                    <a:gd name="T1" fmla="*/ 78 h 78"/>
                    <a:gd name="T2" fmla="*/ 3 w 80"/>
                    <a:gd name="T3" fmla="*/ 77 h 78"/>
                    <a:gd name="T4" fmla="*/ 3 w 80"/>
                    <a:gd name="T5" fmla="*/ 68 h 78"/>
                    <a:gd name="T6" fmla="*/ 69 w 80"/>
                    <a:gd name="T7" fmla="*/ 2 h 78"/>
                    <a:gd name="T8" fmla="*/ 77 w 80"/>
                    <a:gd name="T9" fmla="*/ 2 h 78"/>
                    <a:gd name="T10" fmla="*/ 77 w 80"/>
                    <a:gd name="T11" fmla="*/ 10 h 78"/>
                    <a:gd name="T12" fmla="*/ 11 w 80"/>
                    <a:gd name="T13" fmla="*/ 77 h 78"/>
                    <a:gd name="T14" fmla="*/ 7 w 80"/>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78">
                      <a:moveTo>
                        <a:pt x="7" y="78"/>
                      </a:moveTo>
                      <a:cubicBezTo>
                        <a:pt x="5" y="78"/>
                        <a:pt x="4" y="78"/>
                        <a:pt x="3" y="77"/>
                      </a:cubicBezTo>
                      <a:cubicBezTo>
                        <a:pt x="0" y="74"/>
                        <a:pt x="0" y="70"/>
                        <a:pt x="3" y="68"/>
                      </a:cubicBezTo>
                      <a:cubicBezTo>
                        <a:pt x="69" y="2"/>
                        <a:pt x="69" y="2"/>
                        <a:pt x="69" y="2"/>
                      </a:cubicBezTo>
                      <a:cubicBezTo>
                        <a:pt x="71" y="0"/>
                        <a:pt x="75" y="0"/>
                        <a:pt x="77" y="2"/>
                      </a:cubicBezTo>
                      <a:cubicBezTo>
                        <a:pt x="80" y="4"/>
                        <a:pt x="80" y="8"/>
                        <a:pt x="77" y="10"/>
                      </a:cubicBezTo>
                      <a:cubicBezTo>
                        <a:pt x="11" y="77"/>
                        <a:pt x="11" y="77"/>
                        <a:pt x="11" y="77"/>
                      </a:cubicBezTo>
                      <a:cubicBezTo>
                        <a:pt x="10" y="78"/>
                        <a:pt x="8" y="78"/>
                        <a:pt x="7"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19" name="Freeform 123">
                  <a:extLst>
                    <a:ext uri="{FF2B5EF4-FFF2-40B4-BE49-F238E27FC236}">
                      <a16:creationId xmlns:a16="http://schemas.microsoft.com/office/drawing/2014/main" id="{8C683419-8621-4EB2-A724-E64F79698898}"/>
                    </a:ext>
                  </a:extLst>
                </p:cNvPr>
                <p:cNvSpPr>
                  <a:spLocks/>
                </p:cNvSpPr>
                <p:nvPr/>
              </p:nvSpPr>
              <p:spPr bwMode="auto">
                <a:xfrm>
                  <a:off x="1549" y="3536"/>
                  <a:ext cx="117" cy="115"/>
                </a:xfrm>
                <a:custGeom>
                  <a:avLst/>
                  <a:gdLst>
                    <a:gd name="T0" fmla="*/ 7 w 79"/>
                    <a:gd name="T1" fmla="*/ 78 h 78"/>
                    <a:gd name="T2" fmla="*/ 3 w 79"/>
                    <a:gd name="T3" fmla="*/ 76 h 78"/>
                    <a:gd name="T4" fmla="*/ 3 w 79"/>
                    <a:gd name="T5" fmla="*/ 68 h 78"/>
                    <a:gd name="T6" fmla="*/ 69 w 79"/>
                    <a:gd name="T7" fmla="*/ 2 h 78"/>
                    <a:gd name="T8" fmla="*/ 77 w 79"/>
                    <a:gd name="T9" fmla="*/ 2 h 78"/>
                    <a:gd name="T10" fmla="*/ 77 w 79"/>
                    <a:gd name="T11" fmla="*/ 11 h 78"/>
                    <a:gd name="T12" fmla="*/ 11 w 79"/>
                    <a:gd name="T13" fmla="*/ 76 h 78"/>
                    <a:gd name="T14" fmla="*/ 7 w 79"/>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8">
                      <a:moveTo>
                        <a:pt x="7" y="78"/>
                      </a:moveTo>
                      <a:cubicBezTo>
                        <a:pt x="6" y="78"/>
                        <a:pt x="4" y="78"/>
                        <a:pt x="3" y="76"/>
                      </a:cubicBezTo>
                      <a:cubicBezTo>
                        <a:pt x="0" y="74"/>
                        <a:pt x="0" y="70"/>
                        <a:pt x="3" y="68"/>
                      </a:cubicBezTo>
                      <a:cubicBezTo>
                        <a:pt x="69" y="2"/>
                        <a:pt x="69" y="2"/>
                        <a:pt x="69" y="2"/>
                      </a:cubicBezTo>
                      <a:cubicBezTo>
                        <a:pt x="71" y="0"/>
                        <a:pt x="75" y="0"/>
                        <a:pt x="77" y="2"/>
                      </a:cubicBezTo>
                      <a:cubicBezTo>
                        <a:pt x="79" y="4"/>
                        <a:pt x="79" y="8"/>
                        <a:pt x="77" y="11"/>
                      </a:cubicBezTo>
                      <a:cubicBezTo>
                        <a:pt x="11" y="76"/>
                        <a:pt x="11" y="76"/>
                        <a:pt x="11" y="76"/>
                      </a:cubicBezTo>
                      <a:cubicBezTo>
                        <a:pt x="10" y="78"/>
                        <a:pt x="9" y="78"/>
                        <a:pt x="7"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20" name="Freeform 124">
                  <a:extLst>
                    <a:ext uri="{FF2B5EF4-FFF2-40B4-BE49-F238E27FC236}">
                      <a16:creationId xmlns:a16="http://schemas.microsoft.com/office/drawing/2014/main" id="{448C7C5C-CBAD-4BBF-8B4A-0411EB93164F}"/>
                    </a:ext>
                  </a:extLst>
                </p:cNvPr>
                <p:cNvSpPr>
                  <a:spLocks/>
                </p:cNvSpPr>
                <p:nvPr/>
              </p:nvSpPr>
              <p:spPr bwMode="auto">
                <a:xfrm>
                  <a:off x="1550" y="3545"/>
                  <a:ext cx="107" cy="106"/>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12 w 72"/>
                    <a:gd name="T11" fmla="*/ 6 h 72"/>
                    <a:gd name="T12" fmla="*/ 12 w 72"/>
                    <a:gd name="T13" fmla="*/ 60 h 72"/>
                    <a:gd name="T14" fmla="*/ 66 w 72"/>
                    <a:gd name="T15" fmla="*/ 60 h 72"/>
                    <a:gd name="T16" fmla="*/ 72 w 72"/>
                    <a:gd name="T17" fmla="*/ 66 h 72"/>
                    <a:gd name="T18" fmla="*/ 66 w 72"/>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66" y="72"/>
                      </a:moveTo>
                      <a:cubicBezTo>
                        <a:pt x="6" y="72"/>
                        <a:pt x="6" y="72"/>
                        <a:pt x="6" y="72"/>
                      </a:cubicBezTo>
                      <a:cubicBezTo>
                        <a:pt x="3" y="72"/>
                        <a:pt x="0" y="69"/>
                        <a:pt x="0" y="66"/>
                      </a:cubicBezTo>
                      <a:cubicBezTo>
                        <a:pt x="0" y="6"/>
                        <a:pt x="0" y="6"/>
                        <a:pt x="0" y="6"/>
                      </a:cubicBezTo>
                      <a:cubicBezTo>
                        <a:pt x="0" y="3"/>
                        <a:pt x="3" y="0"/>
                        <a:pt x="6" y="0"/>
                      </a:cubicBezTo>
                      <a:cubicBezTo>
                        <a:pt x="9" y="0"/>
                        <a:pt x="12" y="3"/>
                        <a:pt x="12" y="6"/>
                      </a:cubicBezTo>
                      <a:cubicBezTo>
                        <a:pt x="12" y="60"/>
                        <a:pt x="12" y="60"/>
                        <a:pt x="12" y="60"/>
                      </a:cubicBezTo>
                      <a:cubicBezTo>
                        <a:pt x="66" y="60"/>
                        <a:pt x="66" y="60"/>
                        <a:pt x="66" y="60"/>
                      </a:cubicBezTo>
                      <a:cubicBezTo>
                        <a:pt x="69" y="60"/>
                        <a:pt x="72" y="63"/>
                        <a:pt x="72" y="66"/>
                      </a:cubicBezTo>
                      <a:cubicBezTo>
                        <a:pt x="72" y="69"/>
                        <a:pt x="69" y="72"/>
                        <a:pt x="6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21" name="Freeform 125">
                  <a:extLst>
                    <a:ext uri="{FF2B5EF4-FFF2-40B4-BE49-F238E27FC236}">
                      <a16:creationId xmlns:a16="http://schemas.microsoft.com/office/drawing/2014/main" id="{522F5F97-AD67-4D0B-9508-CEC4A866A1BB}"/>
                    </a:ext>
                  </a:extLst>
                </p:cNvPr>
                <p:cNvSpPr>
                  <a:spLocks/>
                </p:cNvSpPr>
                <p:nvPr/>
              </p:nvSpPr>
              <p:spPr bwMode="auto">
                <a:xfrm>
                  <a:off x="1870" y="3225"/>
                  <a:ext cx="107" cy="107"/>
                </a:xfrm>
                <a:custGeom>
                  <a:avLst/>
                  <a:gdLst>
                    <a:gd name="T0" fmla="*/ 66 w 72"/>
                    <a:gd name="T1" fmla="*/ 72 h 72"/>
                    <a:gd name="T2" fmla="*/ 60 w 72"/>
                    <a:gd name="T3" fmla="*/ 66 h 72"/>
                    <a:gd name="T4" fmla="*/ 60 w 72"/>
                    <a:gd name="T5" fmla="*/ 12 h 72"/>
                    <a:gd name="T6" fmla="*/ 6 w 72"/>
                    <a:gd name="T7" fmla="*/ 12 h 72"/>
                    <a:gd name="T8" fmla="*/ 0 w 72"/>
                    <a:gd name="T9" fmla="*/ 6 h 72"/>
                    <a:gd name="T10" fmla="*/ 6 w 72"/>
                    <a:gd name="T11" fmla="*/ 0 h 72"/>
                    <a:gd name="T12" fmla="*/ 66 w 72"/>
                    <a:gd name="T13" fmla="*/ 0 h 72"/>
                    <a:gd name="T14" fmla="*/ 72 w 72"/>
                    <a:gd name="T15" fmla="*/ 6 h 72"/>
                    <a:gd name="T16" fmla="*/ 72 w 72"/>
                    <a:gd name="T17" fmla="*/ 66 h 72"/>
                    <a:gd name="T18" fmla="*/ 66 w 72"/>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66" y="72"/>
                      </a:moveTo>
                      <a:cubicBezTo>
                        <a:pt x="63" y="72"/>
                        <a:pt x="60" y="69"/>
                        <a:pt x="60" y="66"/>
                      </a:cubicBezTo>
                      <a:cubicBezTo>
                        <a:pt x="60" y="12"/>
                        <a:pt x="60" y="12"/>
                        <a:pt x="60" y="12"/>
                      </a:cubicBezTo>
                      <a:cubicBezTo>
                        <a:pt x="6" y="12"/>
                        <a:pt x="6" y="12"/>
                        <a:pt x="6" y="12"/>
                      </a:cubicBezTo>
                      <a:cubicBezTo>
                        <a:pt x="3" y="12"/>
                        <a:pt x="0" y="9"/>
                        <a:pt x="0" y="6"/>
                      </a:cubicBezTo>
                      <a:cubicBezTo>
                        <a:pt x="0" y="3"/>
                        <a:pt x="3" y="0"/>
                        <a:pt x="6" y="0"/>
                      </a:cubicBezTo>
                      <a:cubicBezTo>
                        <a:pt x="66" y="0"/>
                        <a:pt x="66" y="0"/>
                        <a:pt x="66" y="0"/>
                      </a:cubicBezTo>
                      <a:cubicBezTo>
                        <a:pt x="69" y="0"/>
                        <a:pt x="72" y="3"/>
                        <a:pt x="72" y="6"/>
                      </a:cubicBezTo>
                      <a:cubicBezTo>
                        <a:pt x="72" y="66"/>
                        <a:pt x="72" y="66"/>
                        <a:pt x="72" y="66"/>
                      </a:cubicBezTo>
                      <a:cubicBezTo>
                        <a:pt x="72" y="69"/>
                        <a:pt x="69" y="72"/>
                        <a:pt x="6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22" name="Freeform 126">
                  <a:extLst>
                    <a:ext uri="{FF2B5EF4-FFF2-40B4-BE49-F238E27FC236}">
                      <a16:creationId xmlns:a16="http://schemas.microsoft.com/office/drawing/2014/main" id="{F02DF31F-1B3C-4A3E-8503-8800F450DBD3}"/>
                    </a:ext>
                  </a:extLst>
                </p:cNvPr>
                <p:cNvSpPr>
                  <a:spLocks/>
                </p:cNvSpPr>
                <p:nvPr/>
              </p:nvSpPr>
              <p:spPr bwMode="auto">
                <a:xfrm>
                  <a:off x="1860" y="3534"/>
                  <a:ext cx="118" cy="117"/>
                </a:xfrm>
                <a:custGeom>
                  <a:avLst/>
                  <a:gdLst>
                    <a:gd name="T0" fmla="*/ 73 w 80"/>
                    <a:gd name="T1" fmla="*/ 79 h 79"/>
                    <a:gd name="T2" fmla="*/ 69 w 80"/>
                    <a:gd name="T3" fmla="*/ 77 h 79"/>
                    <a:gd name="T4" fmla="*/ 3 w 80"/>
                    <a:gd name="T5" fmla="*/ 11 h 79"/>
                    <a:gd name="T6" fmla="*/ 3 w 80"/>
                    <a:gd name="T7" fmla="*/ 3 h 79"/>
                    <a:gd name="T8" fmla="*/ 11 w 80"/>
                    <a:gd name="T9" fmla="*/ 3 h 79"/>
                    <a:gd name="T10" fmla="*/ 77 w 80"/>
                    <a:gd name="T11" fmla="*/ 69 h 79"/>
                    <a:gd name="T12" fmla="*/ 77 w 80"/>
                    <a:gd name="T13" fmla="*/ 77 h 79"/>
                    <a:gd name="T14" fmla="*/ 73 w 80"/>
                    <a:gd name="T15" fmla="*/ 79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79">
                      <a:moveTo>
                        <a:pt x="73" y="79"/>
                      </a:moveTo>
                      <a:cubicBezTo>
                        <a:pt x="72" y="79"/>
                        <a:pt x="70" y="79"/>
                        <a:pt x="69" y="77"/>
                      </a:cubicBezTo>
                      <a:cubicBezTo>
                        <a:pt x="3" y="11"/>
                        <a:pt x="3" y="11"/>
                        <a:pt x="3" y="11"/>
                      </a:cubicBezTo>
                      <a:cubicBezTo>
                        <a:pt x="0" y="9"/>
                        <a:pt x="0" y="5"/>
                        <a:pt x="3" y="3"/>
                      </a:cubicBezTo>
                      <a:cubicBezTo>
                        <a:pt x="5" y="0"/>
                        <a:pt x="9" y="0"/>
                        <a:pt x="11" y="3"/>
                      </a:cubicBezTo>
                      <a:cubicBezTo>
                        <a:pt x="77" y="69"/>
                        <a:pt x="77" y="69"/>
                        <a:pt x="77" y="69"/>
                      </a:cubicBezTo>
                      <a:cubicBezTo>
                        <a:pt x="80" y="71"/>
                        <a:pt x="80" y="75"/>
                        <a:pt x="77" y="77"/>
                      </a:cubicBezTo>
                      <a:cubicBezTo>
                        <a:pt x="76" y="79"/>
                        <a:pt x="75" y="79"/>
                        <a:pt x="7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23" name="Freeform 127">
                  <a:extLst>
                    <a:ext uri="{FF2B5EF4-FFF2-40B4-BE49-F238E27FC236}">
                      <a16:creationId xmlns:a16="http://schemas.microsoft.com/office/drawing/2014/main" id="{8B9EFF11-F60C-4B8C-A0A8-D4758B668FB3}"/>
                    </a:ext>
                  </a:extLst>
                </p:cNvPr>
                <p:cNvSpPr>
                  <a:spLocks/>
                </p:cNvSpPr>
                <p:nvPr/>
              </p:nvSpPr>
              <p:spPr bwMode="auto">
                <a:xfrm>
                  <a:off x="1549" y="3225"/>
                  <a:ext cx="117" cy="116"/>
                </a:xfrm>
                <a:custGeom>
                  <a:avLst/>
                  <a:gdLst>
                    <a:gd name="T0" fmla="*/ 73 w 79"/>
                    <a:gd name="T1" fmla="*/ 78 h 78"/>
                    <a:gd name="T2" fmla="*/ 69 w 79"/>
                    <a:gd name="T3" fmla="*/ 76 h 78"/>
                    <a:gd name="T4" fmla="*/ 3 w 79"/>
                    <a:gd name="T5" fmla="*/ 10 h 78"/>
                    <a:gd name="T6" fmla="*/ 3 w 79"/>
                    <a:gd name="T7" fmla="*/ 2 h 78"/>
                    <a:gd name="T8" fmla="*/ 11 w 79"/>
                    <a:gd name="T9" fmla="*/ 2 h 78"/>
                    <a:gd name="T10" fmla="*/ 77 w 79"/>
                    <a:gd name="T11" fmla="*/ 68 h 78"/>
                    <a:gd name="T12" fmla="*/ 77 w 79"/>
                    <a:gd name="T13" fmla="*/ 76 h 78"/>
                    <a:gd name="T14" fmla="*/ 73 w 79"/>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8">
                      <a:moveTo>
                        <a:pt x="73" y="78"/>
                      </a:moveTo>
                      <a:cubicBezTo>
                        <a:pt x="71" y="78"/>
                        <a:pt x="70" y="77"/>
                        <a:pt x="69" y="76"/>
                      </a:cubicBezTo>
                      <a:cubicBezTo>
                        <a:pt x="3" y="10"/>
                        <a:pt x="3" y="10"/>
                        <a:pt x="3" y="10"/>
                      </a:cubicBezTo>
                      <a:cubicBezTo>
                        <a:pt x="0" y="8"/>
                        <a:pt x="0" y="4"/>
                        <a:pt x="3" y="2"/>
                      </a:cubicBezTo>
                      <a:cubicBezTo>
                        <a:pt x="5" y="0"/>
                        <a:pt x="9" y="0"/>
                        <a:pt x="11" y="2"/>
                      </a:cubicBezTo>
                      <a:cubicBezTo>
                        <a:pt x="77" y="68"/>
                        <a:pt x="77" y="68"/>
                        <a:pt x="77" y="68"/>
                      </a:cubicBezTo>
                      <a:cubicBezTo>
                        <a:pt x="79" y="70"/>
                        <a:pt x="79" y="74"/>
                        <a:pt x="77" y="76"/>
                      </a:cubicBezTo>
                      <a:cubicBezTo>
                        <a:pt x="76" y="77"/>
                        <a:pt x="74" y="78"/>
                        <a:pt x="73"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24" name="Freeform 128">
                  <a:extLst>
                    <a:ext uri="{FF2B5EF4-FFF2-40B4-BE49-F238E27FC236}">
                      <a16:creationId xmlns:a16="http://schemas.microsoft.com/office/drawing/2014/main" id="{78824600-9894-44C2-A957-76322F83D6A1}"/>
                    </a:ext>
                  </a:extLst>
                </p:cNvPr>
                <p:cNvSpPr>
                  <a:spLocks/>
                </p:cNvSpPr>
                <p:nvPr/>
              </p:nvSpPr>
              <p:spPr bwMode="auto">
                <a:xfrm>
                  <a:off x="1550" y="3225"/>
                  <a:ext cx="107" cy="107"/>
                </a:xfrm>
                <a:custGeom>
                  <a:avLst/>
                  <a:gdLst>
                    <a:gd name="T0" fmla="*/ 6 w 72"/>
                    <a:gd name="T1" fmla="*/ 72 h 72"/>
                    <a:gd name="T2" fmla="*/ 0 w 72"/>
                    <a:gd name="T3" fmla="*/ 66 h 72"/>
                    <a:gd name="T4" fmla="*/ 0 w 72"/>
                    <a:gd name="T5" fmla="*/ 6 h 72"/>
                    <a:gd name="T6" fmla="*/ 6 w 72"/>
                    <a:gd name="T7" fmla="*/ 0 h 72"/>
                    <a:gd name="T8" fmla="*/ 66 w 72"/>
                    <a:gd name="T9" fmla="*/ 0 h 72"/>
                    <a:gd name="T10" fmla="*/ 72 w 72"/>
                    <a:gd name="T11" fmla="*/ 6 h 72"/>
                    <a:gd name="T12" fmla="*/ 66 w 72"/>
                    <a:gd name="T13" fmla="*/ 12 h 72"/>
                    <a:gd name="T14" fmla="*/ 12 w 72"/>
                    <a:gd name="T15" fmla="*/ 12 h 72"/>
                    <a:gd name="T16" fmla="*/ 12 w 72"/>
                    <a:gd name="T17" fmla="*/ 66 h 72"/>
                    <a:gd name="T18" fmla="*/ 6 w 72"/>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6" y="72"/>
                      </a:moveTo>
                      <a:cubicBezTo>
                        <a:pt x="3" y="72"/>
                        <a:pt x="0" y="69"/>
                        <a:pt x="0" y="66"/>
                      </a:cubicBezTo>
                      <a:cubicBezTo>
                        <a:pt x="0" y="6"/>
                        <a:pt x="0" y="6"/>
                        <a:pt x="0" y="6"/>
                      </a:cubicBezTo>
                      <a:cubicBezTo>
                        <a:pt x="0" y="3"/>
                        <a:pt x="3" y="0"/>
                        <a:pt x="6" y="0"/>
                      </a:cubicBezTo>
                      <a:cubicBezTo>
                        <a:pt x="66" y="0"/>
                        <a:pt x="66" y="0"/>
                        <a:pt x="66" y="0"/>
                      </a:cubicBezTo>
                      <a:cubicBezTo>
                        <a:pt x="69" y="0"/>
                        <a:pt x="72" y="3"/>
                        <a:pt x="72" y="6"/>
                      </a:cubicBezTo>
                      <a:cubicBezTo>
                        <a:pt x="72" y="9"/>
                        <a:pt x="69" y="12"/>
                        <a:pt x="66" y="12"/>
                      </a:cubicBezTo>
                      <a:cubicBezTo>
                        <a:pt x="12" y="12"/>
                        <a:pt x="12" y="12"/>
                        <a:pt x="12" y="12"/>
                      </a:cubicBezTo>
                      <a:cubicBezTo>
                        <a:pt x="12" y="66"/>
                        <a:pt x="12" y="66"/>
                        <a:pt x="12" y="66"/>
                      </a:cubicBezTo>
                      <a:cubicBezTo>
                        <a:pt x="12" y="69"/>
                        <a:pt x="9" y="72"/>
                        <a:pt x="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25" name="Freeform 129">
                  <a:extLst>
                    <a:ext uri="{FF2B5EF4-FFF2-40B4-BE49-F238E27FC236}">
                      <a16:creationId xmlns:a16="http://schemas.microsoft.com/office/drawing/2014/main" id="{4199DF51-ECDE-4225-8EF6-E4D9841EB6F5}"/>
                    </a:ext>
                  </a:extLst>
                </p:cNvPr>
                <p:cNvSpPr>
                  <a:spLocks/>
                </p:cNvSpPr>
                <p:nvPr/>
              </p:nvSpPr>
              <p:spPr bwMode="auto">
                <a:xfrm>
                  <a:off x="1870" y="3545"/>
                  <a:ext cx="107" cy="106"/>
                </a:xfrm>
                <a:custGeom>
                  <a:avLst/>
                  <a:gdLst>
                    <a:gd name="T0" fmla="*/ 66 w 72"/>
                    <a:gd name="T1" fmla="*/ 72 h 72"/>
                    <a:gd name="T2" fmla="*/ 6 w 72"/>
                    <a:gd name="T3" fmla="*/ 72 h 72"/>
                    <a:gd name="T4" fmla="*/ 0 w 72"/>
                    <a:gd name="T5" fmla="*/ 66 h 72"/>
                    <a:gd name="T6" fmla="*/ 6 w 72"/>
                    <a:gd name="T7" fmla="*/ 60 h 72"/>
                    <a:gd name="T8" fmla="*/ 60 w 72"/>
                    <a:gd name="T9" fmla="*/ 60 h 72"/>
                    <a:gd name="T10" fmla="*/ 60 w 72"/>
                    <a:gd name="T11" fmla="*/ 6 h 72"/>
                    <a:gd name="T12" fmla="*/ 66 w 72"/>
                    <a:gd name="T13" fmla="*/ 0 h 72"/>
                    <a:gd name="T14" fmla="*/ 72 w 72"/>
                    <a:gd name="T15" fmla="*/ 6 h 72"/>
                    <a:gd name="T16" fmla="*/ 72 w 72"/>
                    <a:gd name="T17" fmla="*/ 66 h 72"/>
                    <a:gd name="T18" fmla="*/ 66 w 72"/>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66" y="72"/>
                      </a:moveTo>
                      <a:cubicBezTo>
                        <a:pt x="6" y="72"/>
                        <a:pt x="6" y="72"/>
                        <a:pt x="6" y="72"/>
                      </a:cubicBezTo>
                      <a:cubicBezTo>
                        <a:pt x="3" y="72"/>
                        <a:pt x="0" y="69"/>
                        <a:pt x="0" y="66"/>
                      </a:cubicBezTo>
                      <a:cubicBezTo>
                        <a:pt x="0" y="63"/>
                        <a:pt x="3" y="60"/>
                        <a:pt x="6" y="60"/>
                      </a:cubicBezTo>
                      <a:cubicBezTo>
                        <a:pt x="60" y="60"/>
                        <a:pt x="60" y="60"/>
                        <a:pt x="60" y="60"/>
                      </a:cubicBezTo>
                      <a:cubicBezTo>
                        <a:pt x="60" y="6"/>
                        <a:pt x="60" y="6"/>
                        <a:pt x="60" y="6"/>
                      </a:cubicBezTo>
                      <a:cubicBezTo>
                        <a:pt x="60" y="3"/>
                        <a:pt x="63" y="0"/>
                        <a:pt x="66" y="0"/>
                      </a:cubicBezTo>
                      <a:cubicBezTo>
                        <a:pt x="69" y="0"/>
                        <a:pt x="72" y="3"/>
                        <a:pt x="72" y="6"/>
                      </a:cubicBezTo>
                      <a:cubicBezTo>
                        <a:pt x="72" y="66"/>
                        <a:pt x="72" y="66"/>
                        <a:pt x="72" y="66"/>
                      </a:cubicBezTo>
                      <a:cubicBezTo>
                        <a:pt x="72" y="69"/>
                        <a:pt x="69" y="72"/>
                        <a:pt x="6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26" name="Freeform 130">
                  <a:extLst>
                    <a:ext uri="{FF2B5EF4-FFF2-40B4-BE49-F238E27FC236}">
                      <a16:creationId xmlns:a16="http://schemas.microsoft.com/office/drawing/2014/main" id="{1151B469-7E5B-4235-92FE-9084C09098A4}"/>
                    </a:ext>
                  </a:extLst>
                </p:cNvPr>
                <p:cNvSpPr>
                  <a:spLocks noEditPoints="1"/>
                </p:cNvSpPr>
                <p:nvPr/>
              </p:nvSpPr>
              <p:spPr bwMode="auto">
                <a:xfrm>
                  <a:off x="1701" y="3278"/>
                  <a:ext cx="125"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8" y="72"/>
                        <a:pt x="72" y="59"/>
                        <a:pt x="72" y="42"/>
                      </a:cubicBezTo>
                      <a:cubicBezTo>
                        <a:pt x="72" y="26"/>
                        <a:pt x="58"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27" name="Freeform 131">
                  <a:extLst>
                    <a:ext uri="{FF2B5EF4-FFF2-40B4-BE49-F238E27FC236}">
                      <a16:creationId xmlns:a16="http://schemas.microsoft.com/office/drawing/2014/main" id="{7227653C-DF87-433A-B372-307701E89749}"/>
                    </a:ext>
                  </a:extLst>
                </p:cNvPr>
                <p:cNvSpPr>
                  <a:spLocks noEditPoints="1"/>
                </p:cNvSpPr>
                <p:nvPr/>
              </p:nvSpPr>
              <p:spPr bwMode="auto">
                <a:xfrm>
                  <a:off x="1675" y="3420"/>
                  <a:ext cx="177" cy="196"/>
                </a:xfrm>
                <a:custGeom>
                  <a:avLst/>
                  <a:gdLst>
                    <a:gd name="T0" fmla="*/ 78 w 120"/>
                    <a:gd name="T1" fmla="*/ 132 h 132"/>
                    <a:gd name="T2" fmla="*/ 42 w 120"/>
                    <a:gd name="T3" fmla="*/ 132 h 132"/>
                    <a:gd name="T4" fmla="*/ 36 w 120"/>
                    <a:gd name="T5" fmla="*/ 126 h 132"/>
                    <a:gd name="T6" fmla="*/ 36 w 120"/>
                    <a:gd name="T7" fmla="*/ 78 h 132"/>
                    <a:gd name="T8" fmla="*/ 0 w 120"/>
                    <a:gd name="T9" fmla="*/ 6 h 132"/>
                    <a:gd name="T10" fmla="*/ 6 w 120"/>
                    <a:gd name="T11" fmla="*/ 0 h 132"/>
                    <a:gd name="T12" fmla="*/ 114 w 120"/>
                    <a:gd name="T13" fmla="*/ 0 h 132"/>
                    <a:gd name="T14" fmla="*/ 120 w 120"/>
                    <a:gd name="T15" fmla="*/ 6 h 132"/>
                    <a:gd name="T16" fmla="*/ 84 w 120"/>
                    <a:gd name="T17" fmla="*/ 78 h 132"/>
                    <a:gd name="T18" fmla="*/ 84 w 120"/>
                    <a:gd name="T19" fmla="*/ 126 h 132"/>
                    <a:gd name="T20" fmla="*/ 78 w 120"/>
                    <a:gd name="T21" fmla="*/ 132 h 132"/>
                    <a:gd name="T22" fmla="*/ 48 w 120"/>
                    <a:gd name="T23" fmla="*/ 120 h 132"/>
                    <a:gd name="T24" fmla="*/ 72 w 120"/>
                    <a:gd name="T25" fmla="*/ 120 h 132"/>
                    <a:gd name="T26" fmla="*/ 72 w 120"/>
                    <a:gd name="T27" fmla="*/ 74 h 132"/>
                    <a:gd name="T28" fmla="*/ 76 w 120"/>
                    <a:gd name="T29" fmla="*/ 69 h 132"/>
                    <a:gd name="T30" fmla="*/ 107 w 120"/>
                    <a:gd name="T31" fmla="*/ 12 h 132"/>
                    <a:gd name="T32" fmla="*/ 12 w 120"/>
                    <a:gd name="T33" fmla="*/ 12 h 132"/>
                    <a:gd name="T34" fmla="*/ 44 w 120"/>
                    <a:gd name="T35" fmla="*/ 69 h 132"/>
                    <a:gd name="T36" fmla="*/ 48 w 120"/>
                    <a:gd name="T37" fmla="*/ 74 h 132"/>
                    <a:gd name="T38" fmla="*/ 48 w 120"/>
                    <a:gd name="T39"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 h="132">
                      <a:moveTo>
                        <a:pt x="78" y="132"/>
                      </a:moveTo>
                      <a:cubicBezTo>
                        <a:pt x="42" y="132"/>
                        <a:pt x="42" y="132"/>
                        <a:pt x="42" y="132"/>
                      </a:cubicBezTo>
                      <a:cubicBezTo>
                        <a:pt x="38" y="132"/>
                        <a:pt x="36" y="129"/>
                        <a:pt x="36" y="126"/>
                      </a:cubicBezTo>
                      <a:cubicBezTo>
                        <a:pt x="36" y="78"/>
                        <a:pt x="36" y="78"/>
                        <a:pt x="36" y="78"/>
                      </a:cubicBezTo>
                      <a:cubicBezTo>
                        <a:pt x="12" y="67"/>
                        <a:pt x="0" y="34"/>
                        <a:pt x="0" y="6"/>
                      </a:cubicBezTo>
                      <a:cubicBezTo>
                        <a:pt x="0" y="3"/>
                        <a:pt x="2" y="0"/>
                        <a:pt x="6" y="0"/>
                      </a:cubicBezTo>
                      <a:cubicBezTo>
                        <a:pt x="114" y="0"/>
                        <a:pt x="114" y="0"/>
                        <a:pt x="114" y="0"/>
                      </a:cubicBezTo>
                      <a:cubicBezTo>
                        <a:pt x="117" y="0"/>
                        <a:pt x="120" y="3"/>
                        <a:pt x="120" y="6"/>
                      </a:cubicBezTo>
                      <a:cubicBezTo>
                        <a:pt x="120" y="34"/>
                        <a:pt x="107" y="67"/>
                        <a:pt x="84" y="78"/>
                      </a:cubicBezTo>
                      <a:cubicBezTo>
                        <a:pt x="84" y="126"/>
                        <a:pt x="84" y="126"/>
                        <a:pt x="84" y="126"/>
                      </a:cubicBezTo>
                      <a:cubicBezTo>
                        <a:pt x="84" y="129"/>
                        <a:pt x="81" y="132"/>
                        <a:pt x="78" y="132"/>
                      </a:cubicBezTo>
                      <a:close/>
                      <a:moveTo>
                        <a:pt x="48" y="120"/>
                      </a:moveTo>
                      <a:cubicBezTo>
                        <a:pt x="72" y="120"/>
                        <a:pt x="72" y="120"/>
                        <a:pt x="72" y="120"/>
                      </a:cubicBezTo>
                      <a:cubicBezTo>
                        <a:pt x="72" y="74"/>
                        <a:pt x="72" y="74"/>
                        <a:pt x="72" y="74"/>
                      </a:cubicBezTo>
                      <a:cubicBezTo>
                        <a:pt x="72" y="72"/>
                        <a:pt x="73" y="70"/>
                        <a:pt x="76" y="69"/>
                      </a:cubicBezTo>
                      <a:cubicBezTo>
                        <a:pt x="94" y="62"/>
                        <a:pt x="106" y="36"/>
                        <a:pt x="107" y="12"/>
                      </a:cubicBezTo>
                      <a:cubicBezTo>
                        <a:pt x="12" y="12"/>
                        <a:pt x="12" y="12"/>
                        <a:pt x="12" y="12"/>
                      </a:cubicBezTo>
                      <a:cubicBezTo>
                        <a:pt x="14" y="36"/>
                        <a:pt x="25" y="62"/>
                        <a:pt x="44" y="69"/>
                      </a:cubicBezTo>
                      <a:cubicBezTo>
                        <a:pt x="46" y="70"/>
                        <a:pt x="48" y="72"/>
                        <a:pt x="48" y="74"/>
                      </a:cubicBezTo>
                      <a:lnTo>
                        <a:pt x="48"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grpSp>
          <p:grpSp>
            <p:nvGrpSpPr>
              <p:cNvPr id="191" name="Group 33">
                <a:extLst>
                  <a:ext uri="{FF2B5EF4-FFF2-40B4-BE49-F238E27FC236}">
                    <a16:creationId xmlns:a16="http://schemas.microsoft.com/office/drawing/2014/main" id="{366937FC-9B83-49C1-9CD9-3204D8D58365}"/>
                  </a:ext>
                </a:extLst>
              </p:cNvPr>
              <p:cNvGrpSpPr>
                <a:grpSpLocks noChangeAspect="1"/>
              </p:cNvGrpSpPr>
              <p:nvPr/>
            </p:nvGrpSpPr>
            <p:grpSpPr bwMode="auto">
              <a:xfrm>
                <a:off x="4720726" y="4015760"/>
                <a:ext cx="720000" cy="709784"/>
                <a:chOff x="2404" y="445"/>
                <a:chExt cx="423" cy="417"/>
              </a:xfrm>
              <a:solidFill>
                <a:sysClr val="window" lastClr="FFFFFF"/>
              </a:solidFill>
            </p:grpSpPr>
            <p:sp>
              <p:nvSpPr>
                <p:cNvPr id="192" name="Freeform 34">
                  <a:extLst>
                    <a:ext uri="{FF2B5EF4-FFF2-40B4-BE49-F238E27FC236}">
                      <a16:creationId xmlns:a16="http://schemas.microsoft.com/office/drawing/2014/main" id="{9B5120D3-AC0C-47DD-89F6-FB4F409F3850}"/>
                    </a:ext>
                  </a:extLst>
                </p:cNvPr>
                <p:cNvSpPr>
                  <a:spLocks noEditPoints="1"/>
                </p:cNvSpPr>
                <p:nvPr/>
              </p:nvSpPr>
              <p:spPr bwMode="auto">
                <a:xfrm>
                  <a:off x="2404" y="445"/>
                  <a:ext cx="417" cy="417"/>
                </a:xfrm>
                <a:custGeom>
                  <a:avLst/>
                  <a:gdLst>
                    <a:gd name="T0" fmla="*/ 269 w 282"/>
                    <a:gd name="T1" fmla="*/ 134 h 282"/>
                    <a:gd name="T2" fmla="*/ 205 w 282"/>
                    <a:gd name="T3" fmla="*/ 135 h 282"/>
                    <a:gd name="T4" fmla="*/ 195 w 282"/>
                    <a:gd name="T5" fmla="*/ 74 h 282"/>
                    <a:gd name="T6" fmla="*/ 208 w 282"/>
                    <a:gd name="T7" fmla="*/ 72 h 282"/>
                    <a:gd name="T8" fmla="*/ 208 w 282"/>
                    <a:gd name="T9" fmla="*/ 60 h 282"/>
                    <a:gd name="T10" fmla="*/ 189 w 282"/>
                    <a:gd name="T11" fmla="*/ 59 h 282"/>
                    <a:gd name="T12" fmla="*/ 161 w 282"/>
                    <a:gd name="T13" fmla="*/ 14 h 282"/>
                    <a:gd name="T14" fmla="*/ 217 w 282"/>
                    <a:gd name="T15" fmla="*/ 38 h 282"/>
                    <a:gd name="T16" fmla="*/ 141 w 282"/>
                    <a:gd name="T17" fmla="*/ 0 h 282"/>
                    <a:gd name="T18" fmla="*/ 0 w 282"/>
                    <a:gd name="T19" fmla="*/ 138 h 282"/>
                    <a:gd name="T20" fmla="*/ 148 w 282"/>
                    <a:gd name="T21" fmla="*/ 282 h 282"/>
                    <a:gd name="T22" fmla="*/ 276 w 282"/>
                    <a:gd name="T23" fmla="*/ 102 h 282"/>
                    <a:gd name="T24" fmla="*/ 137 w 282"/>
                    <a:gd name="T25" fmla="*/ 13 h 282"/>
                    <a:gd name="T26" fmla="*/ 139 w 282"/>
                    <a:gd name="T27" fmla="*/ 13 h 282"/>
                    <a:gd name="T28" fmla="*/ 144 w 282"/>
                    <a:gd name="T29" fmla="*/ 13 h 282"/>
                    <a:gd name="T30" fmla="*/ 175 w 282"/>
                    <a:gd name="T31" fmla="*/ 58 h 282"/>
                    <a:gd name="T32" fmla="*/ 105 w 282"/>
                    <a:gd name="T33" fmla="*/ 60 h 282"/>
                    <a:gd name="T34" fmla="*/ 137 w 282"/>
                    <a:gd name="T35" fmla="*/ 13 h 282"/>
                    <a:gd name="T36" fmla="*/ 117 w 282"/>
                    <a:gd name="T37" fmla="*/ 15 h 282"/>
                    <a:gd name="T38" fmla="*/ 118 w 282"/>
                    <a:gd name="T39" fmla="*/ 17 h 282"/>
                    <a:gd name="T40" fmla="*/ 92 w 282"/>
                    <a:gd name="T41" fmla="*/ 60 h 282"/>
                    <a:gd name="T42" fmla="*/ 41 w 282"/>
                    <a:gd name="T43" fmla="*/ 58 h 282"/>
                    <a:gd name="T44" fmla="*/ 32 w 282"/>
                    <a:gd name="T45" fmla="*/ 209 h 282"/>
                    <a:gd name="T46" fmla="*/ 90 w 282"/>
                    <a:gd name="T47" fmla="*/ 207 h 282"/>
                    <a:gd name="T48" fmla="*/ 120 w 282"/>
                    <a:gd name="T49" fmla="*/ 266 h 282"/>
                    <a:gd name="T50" fmla="*/ 119 w 282"/>
                    <a:gd name="T51" fmla="*/ 268 h 282"/>
                    <a:gd name="T52" fmla="*/ 258 w 282"/>
                    <a:gd name="T53" fmla="*/ 194 h 282"/>
                    <a:gd name="T54" fmla="*/ 220 w 282"/>
                    <a:gd name="T55" fmla="*/ 195 h 282"/>
                    <a:gd name="T56" fmla="*/ 221 w 282"/>
                    <a:gd name="T57" fmla="*/ 207 h 282"/>
                    <a:gd name="T58" fmla="*/ 249 w 282"/>
                    <a:gd name="T59" fmla="*/ 209 h 282"/>
                    <a:gd name="T60" fmla="*/ 160 w 282"/>
                    <a:gd name="T61" fmla="*/ 268 h 282"/>
                    <a:gd name="T62" fmla="*/ 179 w 282"/>
                    <a:gd name="T63" fmla="*/ 237 h 282"/>
                    <a:gd name="T64" fmla="*/ 144 w 282"/>
                    <a:gd name="T65" fmla="*/ 269 h 282"/>
                    <a:gd name="T66" fmla="*/ 142 w 282"/>
                    <a:gd name="T67" fmla="*/ 270 h 282"/>
                    <a:gd name="T68" fmla="*/ 139 w 282"/>
                    <a:gd name="T69" fmla="*/ 270 h 282"/>
                    <a:gd name="T70" fmla="*/ 138 w 282"/>
                    <a:gd name="T71" fmla="*/ 269 h 282"/>
                    <a:gd name="T72" fmla="*/ 103 w 282"/>
                    <a:gd name="T73" fmla="*/ 207 h 282"/>
                    <a:gd name="T74" fmla="*/ 152 w 282"/>
                    <a:gd name="T75" fmla="*/ 203 h 282"/>
                    <a:gd name="T76" fmla="*/ 98 w 282"/>
                    <a:gd name="T77" fmla="*/ 195 h 282"/>
                    <a:gd name="T78" fmla="*/ 93 w 282"/>
                    <a:gd name="T79" fmla="*/ 174 h 282"/>
                    <a:gd name="T80" fmla="*/ 80 w 282"/>
                    <a:gd name="T81" fmla="*/ 175 h 282"/>
                    <a:gd name="T82" fmla="*/ 85 w 282"/>
                    <a:gd name="T83" fmla="*/ 195 h 282"/>
                    <a:gd name="T84" fmla="*/ 24 w 282"/>
                    <a:gd name="T85" fmla="*/ 194 h 282"/>
                    <a:gd name="T86" fmla="*/ 12 w 282"/>
                    <a:gd name="T87" fmla="*/ 147 h 282"/>
                    <a:gd name="T88" fmla="*/ 48 w 282"/>
                    <a:gd name="T89" fmla="*/ 141 h 282"/>
                    <a:gd name="T90" fmla="*/ 12 w 282"/>
                    <a:gd name="T91" fmla="*/ 135 h 282"/>
                    <a:gd name="T92" fmla="*/ 30 w 282"/>
                    <a:gd name="T93" fmla="*/ 73 h 282"/>
                    <a:gd name="T94" fmla="*/ 87 w 282"/>
                    <a:gd name="T95" fmla="*/ 72 h 282"/>
                    <a:gd name="T96" fmla="*/ 78 w 282"/>
                    <a:gd name="T97" fmla="*/ 107 h 282"/>
                    <a:gd name="T98" fmla="*/ 90 w 282"/>
                    <a:gd name="T99" fmla="*/ 107 h 282"/>
                    <a:gd name="T100" fmla="*/ 100 w 282"/>
                    <a:gd name="T101" fmla="*/ 72 h 282"/>
                    <a:gd name="T102" fmla="*/ 182 w 282"/>
                    <a:gd name="T103" fmla="*/ 73 h 282"/>
                    <a:gd name="T104" fmla="*/ 193 w 282"/>
                    <a:gd name="T105" fmla="*/ 135 h 282"/>
                    <a:gd name="T106" fmla="*/ 117 w 282"/>
                    <a:gd name="T107" fmla="*/ 141 h 282"/>
                    <a:gd name="T108" fmla="*/ 193 w 282"/>
                    <a:gd name="T109" fmla="*/ 147 h 282"/>
                    <a:gd name="T110" fmla="*/ 190 w 282"/>
                    <a:gd name="T111" fmla="*/ 169 h 282"/>
                    <a:gd name="T112" fmla="*/ 205 w 282"/>
                    <a:gd name="T113" fmla="*/ 149 h 282"/>
                    <a:gd name="T114" fmla="*/ 269 w 282"/>
                    <a:gd name="T115" fmla="*/ 147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2" h="282">
                      <a:moveTo>
                        <a:pt x="265" y="107"/>
                      </a:moveTo>
                      <a:cubicBezTo>
                        <a:pt x="267" y="116"/>
                        <a:pt x="269" y="125"/>
                        <a:pt x="269" y="134"/>
                      </a:cubicBezTo>
                      <a:cubicBezTo>
                        <a:pt x="269" y="135"/>
                        <a:pt x="269" y="135"/>
                        <a:pt x="269" y="135"/>
                      </a:cubicBezTo>
                      <a:cubicBezTo>
                        <a:pt x="205" y="135"/>
                        <a:pt x="205" y="135"/>
                        <a:pt x="205" y="135"/>
                      </a:cubicBezTo>
                      <a:cubicBezTo>
                        <a:pt x="205" y="134"/>
                        <a:pt x="205" y="134"/>
                        <a:pt x="205" y="134"/>
                      </a:cubicBezTo>
                      <a:cubicBezTo>
                        <a:pt x="205" y="113"/>
                        <a:pt x="202" y="93"/>
                        <a:pt x="195" y="74"/>
                      </a:cubicBezTo>
                      <a:cubicBezTo>
                        <a:pt x="195" y="72"/>
                        <a:pt x="195" y="72"/>
                        <a:pt x="195" y="72"/>
                      </a:cubicBezTo>
                      <a:cubicBezTo>
                        <a:pt x="208" y="72"/>
                        <a:pt x="208" y="72"/>
                        <a:pt x="208" y="72"/>
                      </a:cubicBezTo>
                      <a:cubicBezTo>
                        <a:pt x="208" y="70"/>
                        <a:pt x="208" y="68"/>
                        <a:pt x="208" y="65"/>
                      </a:cubicBezTo>
                      <a:cubicBezTo>
                        <a:pt x="208" y="64"/>
                        <a:pt x="208" y="62"/>
                        <a:pt x="208" y="60"/>
                      </a:cubicBezTo>
                      <a:cubicBezTo>
                        <a:pt x="190" y="60"/>
                        <a:pt x="190" y="60"/>
                        <a:pt x="190" y="60"/>
                      </a:cubicBezTo>
                      <a:cubicBezTo>
                        <a:pt x="189" y="59"/>
                        <a:pt x="189" y="59"/>
                        <a:pt x="189" y="59"/>
                      </a:cubicBezTo>
                      <a:cubicBezTo>
                        <a:pt x="183" y="44"/>
                        <a:pt x="174" y="30"/>
                        <a:pt x="164" y="17"/>
                      </a:cubicBezTo>
                      <a:cubicBezTo>
                        <a:pt x="161" y="14"/>
                        <a:pt x="161" y="14"/>
                        <a:pt x="161" y="14"/>
                      </a:cubicBezTo>
                      <a:cubicBezTo>
                        <a:pt x="165" y="15"/>
                        <a:pt x="165" y="15"/>
                        <a:pt x="165" y="15"/>
                      </a:cubicBezTo>
                      <a:cubicBezTo>
                        <a:pt x="184" y="18"/>
                        <a:pt x="202" y="26"/>
                        <a:pt x="217" y="38"/>
                      </a:cubicBezTo>
                      <a:cubicBezTo>
                        <a:pt x="220" y="35"/>
                        <a:pt x="223" y="32"/>
                        <a:pt x="227" y="29"/>
                      </a:cubicBezTo>
                      <a:cubicBezTo>
                        <a:pt x="203" y="11"/>
                        <a:pt x="173" y="0"/>
                        <a:pt x="141" y="0"/>
                      </a:cubicBezTo>
                      <a:cubicBezTo>
                        <a:pt x="139" y="0"/>
                        <a:pt x="137" y="0"/>
                        <a:pt x="135" y="0"/>
                      </a:cubicBezTo>
                      <a:cubicBezTo>
                        <a:pt x="58" y="3"/>
                        <a:pt x="0" y="63"/>
                        <a:pt x="0" y="138"/>
                      </a:cubicBezTo>
                      <a:cubicBezTo>
                        <a:pt x="0" y="215"/>
                        <a:pt x="58" y="278"/>
                        <a:pt x="133" y="282"/>
                      </a:cubicBezTo>
                      <a:cubicBezTo>
                        <a:pt x="148" y="282"/>
                        <a:pt x="148" y="282"/>
                        <a:pt x="148" y="282"/>
                      </a:cubicBezTo>
                      <a:cubicBezTo>
                        <a:pt x="223" y="278"/>
                        <a:pt x="282" y="216"/>
                        <a:pt x="282" y="141"/>
                      </a:cubicBezTo>
                      <a:cubicBezTo>
                        <a:pt x="282" y="127"/>
                        <a:pt x="280" y="114"/>
                        <a:pt x="276" y="102"/>
                      </a:cubicBezTo>
                      <a:cubicBezTo>
                        <a:pt x="273" y="104"/>
                        <a:pt x="269" y="106"/>
                        <a:pt x="265" y="107"/>
                      </a:cubicBezTo>
                      <a:close/>
                      <a:moveTo>
                        <a:pt x="137" y="13"/>
                      </a:moveTo>
                      <a:cubicBezTo>
                        <a:pt x="138" y="13"/>
                        <a:pt x="138" y="13"/>
                        <a:pt x="138" y="13"/>
                      </a:cubicBezTo>
                      <a:cubicBezTo>
                        <a:pt x="139" y="13"/>
                        <a:pt x="139" y="13"/>
                        <a:pt x="139" y="13"/>
                      </a:cubicBezTo>
                      <a:cubicBezTo>
                        <a:pt x="140" y="12"/>
                        <a:pt x="141" y="12"/>
                        <a:pt x="142" y="13"/>
                      </a:cubicBezTo>
                      <a:cubicBezTo>
                        <a:pt x="144" y="13"/>
                        <a:pt x="144" y="13"/>
                        <a:pt x="144" y="13"/>
                      </a:cubicBezTo>
                      <a:cubicBezTo>
                        <a:pt x="144" y="13"/>
                        <a:pt x="144" y="13"/>
                        <a:pt x="144" y="13"/>
                      </a:cubicBezTo>
                      <a:cubicBezTo>
                        <a:pt x="157" y="27"/>
                        <a:pt x="167" y="42"/>
                        <a:pt x="175" y="58"/>
                      </a:cubicBezTo>
                      <a:cubicBezTo>
                        <a:pt x="176" y="60"/>
                        <a:pt x="176" y="60"/>
                        <a:pt x="176" y="60"/>
                      </a:cubicBezTo>
                      <a:cubicBezTo>
                        <a:pt x="105" y="60"/>
                        <a:pt x="105" y="60"/>
                        <a:pt x="105" y="60"/>
                      </a:cubicBezTo>
                      <a:cubicBezTo>
                        <a:pt x="106" y="58"/>
                        <a:pt x="106" y="58"/>
                        <a:pt x="106" y="58"/>
                      </a:cubicBezTo>
                      <a:cubicBezTo>
                        <a:pt x="114" y="42"/>
                        <a:pt x="125" y="27"/>
                        <a:pt x="137" y="13"/>
                      </a:cubicBezTo>
                      <a:close/>
                      <a:moveTo>
                        <a:pt x="41" y="58"/>
                      </a:moveTo>
                      <a:cubicBezTo>
                        <a:pt x="60" y="35"/>
                        <a:pt x="87" y="20"/>
                        <a:pt x="117" y="15"/>
                      </a:cubicBezTo>
                      <a:cubicBezTo>
                        <a:pt x="120" y="14"/>
                        <a:pt x="120" y="14"/>
                        <a:pt x="120" y="14"/>
                      </a:cubicBezTo>
                      <a:cubicBezTo>
                        <a:pt x="118" y="17"/>
                        <a:pt x="118" y="17"/>
                        <a:pt x="118" y="17"/>
                      </a:cubicBezTo>
                      <a:cubicBezTo>
                        <a:pt x="107" y="30"/>
                        <a:pt x="99" y="44"/>
                        <a:pt x="92" y="59"/>
                      </a:cubicBezTo>
                      <a:cubicBezTo>
                        <a:pt x="92" y="60"/>
                        <a:pt x="92" y="60"/>
                        <a:pt x="92" y="60"/>
                      </a:cubicBezTo>
                      <a:cubicBezTo>
                        <a:pt x="39" y="60"/>
                        <a:pt x="39" y="60"/>
                        <a:pt x="39" y="60"/>
                      </a:cubicBezTo>
                      <a:lnTo>
                        <a:pt x="41" y="58"/>
                      </a:lnTo>
                      <a:close/>
                      <a:moveTo>
                        <a:pt x="119" y="268"/>
                      </a:moveTo>
                      <a:cubicBezTo>
                        <a:pt x="83" y="262"/>
                        <a:pt x="52" y="240"/>
                        <a:pt x="32" y="209"/>
                      </a:cubicBezTo>
                      <a:cubicBezTo>
                        <a:pt x="31" y="207"/>
                        <a:pt x="31" y="207"/>
                        <a:pt x="31" y="207"/>
                      </a:cubicBezTo>
                      <a:cubicBezTo>
                        <a:pt x="90" y="207"/>
                        <a:pt x="90" y="207"/>
                        <a:pt x="90" y="207"/>
                      </a:cubicBezTo>
                      <a:cubicBezTo>
                        <a:pt x="90" y="208"/>
                        <a:pt x="90" y="208"/>
                        <a:pt x="90" y="208"/>
                      </a:cubicBezTo>
                      <a:cubicBezTo>
                        <a:pt x="97" y="228"/>
                        <a:pt x="107" y="247"/>
                        <a:pt x="120" y="266"/>
                      </a:cubicBezTo>
                      <a:cubicBezTo>
                        <a:pt x="122" y="268"/>
                        <a:pt x="122" y="268"/>
                        <a:pt x="122" y="268"/>
                      </a:cubicBezTo>
                      <a:lnTo>
                        <a:pt x="119" y="268"/>
                      </a:lnTo>
                      <a:close/>
                      <a:moveTo>
                        <a:pt x="269" y="149"/>
                      </a:moveTo>
                      <a:cubicBezTo>
                        <a:pt x="268" y="164"/>
                        <a:pt x="264" y="180"/>
                        <a:pt x="258" y="194"/>
                      </a:cubicBezTo>
                      <a:cubicBezTo>
                        <a:pt x="257" y="195"/>
                        <a:pt x="257" y="195"/>
                        <a:pt x="257" y="195"/>
                      </a:cubicBezTo>
                      <a:cubicBezTo>
                        <a:pt x="220" y="195"/>
                        <a:pt x="220" y="195"/>
                        <a:pt x="220" y="195"/>
                      </a:cubicBezTo>
                      <a:cubicBezTo>
                        <a:pt x="220" y="198"/>
                        <a:pt x="221" y="200"/>
                        <a:pt x="221" y="203"/>
                      </a:cubicBezTo>
                      <a:cubicBezTo>
                        <a:pt x="221" y="205"/>
                        <a:pt x="221" y="206"/>
                        <a:pt x="221" y="207"/>
                      </a:cubicBezTo>
                      <a:cubicBezTo>
                        <a:pt x="251" y="207"/>
                        <a:pt x="251" y="207"/>
                        <a:pt x="251" y="207"/>
                      </a:cubicBezTo>
                      <a:cubicBezTo>
                        <a:pt x="249" y="209"/>
                        <a:pt x="249" y="209"/>
                        <a:pt x="249" y="209"/>
                      </a:cubicBezTo>
                      <a:cubicBezTo>
                        <a:pt x="230" y="240"/>
                        <a:pt x="198" y="262"/>
                        <a:pt x="163" y="268"/>
                      </a:cubicBezTo>
                      <a:cubicBezTo>
                        <a:pt x="160" y="268"/>
                        <a:pt x="160" y="268"/>
                        <a:pt x="160" y="268"/>
                      </a:cubicBezTo>
                      <a:cubicBezTo>
                        <a:pt x="161" y="266"/>
                        <a:pt x="161" y="266"/>
                        <a:pt x="161" y="266"/>
                      </a:cubicBezTo>
                      <a:cubicBezTo>
                        <a:pt x="168" y="256"/>
                        <a:pt x="174" y="246"/>
                        <a:pt x="179" y="237"/>
                      </a:cubicBezTo>
                      <a:cubicBezTo>
                        <a:pt x="175" y="236"/>
                        <a:pt x="171" y="234"/>
                        <a:pt x="167" y="232"/>
                      </a:cubicBezTo>
                      <a:cubicBezTo>
                        <a:pt x="161" y="244"/>
                        <a:pt x="153" y="257"/>
                        <a:pt x="144" y="269"/>
                      </a:cubicBezTo>
                      <a:cubicBezTo>
                        <a:pt x="143" y="270"/>
                        <a:pt x="143" y="270"/>
                        <a:pt x="143" y="270"/>
                      </a:cubicBezTo>
                      <a:cubicBezTo>
                        <a:pt x="142" y="270"/>
                        <a:pt x="142" y="270"/>
                        <a:pt x="142" y="270"/>
                      </a:cubicBezTo>
                      <a:cubicBezTo>
                        <a:pt x="141" y="270"/>
                        <a:pt x="141" y="270"/>
                        <a:pt x="140" y="270"/>
                      </a:cubicBezTo>
                      <a:cubicBezTo>
                        <a:pt x="140" y="270"/>
                        <a:pt x="140" y="270"/>
                        <a:pt x="139" y="270"/>
                      </a:cubicBezTo>
                      <a:cubicBezTo>
                        <a:pt x="138" y="270"/>
                        <a:pt x="138" y="270"/>
                        <a:pt x="138" y="270"/>
                      </a:cubicBezTo>
                      <a:cubicBezTo>
                        <a:pt x="138" y="269"/>
                        <a:pt x="138" y="269"/>
                        <a:pt x="138" y="269"/>
                      </a:cubicBezTo>
                      <a:cubicBezTo>
                        <a:pt x="123" y="249"/>
                        <a:pt x="112" y="229"/>
                        <a:pt x="103" y="209"/>
                      </a:cubicBezTo>
                      <a:cubicBezTo>
                        <a:pt x="103" y="207"/>
                        <a:pt x="103" y="207"/>
                        <a:pt x="103" y="207"/>
                      </a:cubicBezTo>
                      <a:cubicBezTo>
                        <a:pt x="152" y="207"/>
                        <a:pt x="152" y="207"/>
                        <a:pt x="152" y="207"/>
                      </a:cubicBezTo>
                      <a:cubicBezTo>
                        <a:pt x="152" y="206"/>
                        <a:pt x="152" y="205"/>
                        <a:pt x="152" y="203"/>
                      </a:cubicBezTo>
                      <a:cubicBezTo>
                        <a:pt x="152" y="200"/>
                        <a:pt x="152" y="198"/>
                        <a:pt x="153" y="195"/>
                      </a:cubicBezTo>
                      <a:cubicBezTo>
                        <a:pt x="98" y="195"/>
                        <a:pt x="98" y="195"/>
                        <a:pt x="98" y="195"/>
                      </a:cubicBezTo>
                      <a:cubicBezTo>
                        <a:pt x="98" y="194"/>
                        <a:pt x="98" y="194"/>
                        <a:pt x="98" y="194"/>
                      </a:cubicBezTo>
                      <a:cubicBezTo>
                        <a:pt x="96" y="187"/>
                        <a:pt x="94" y="181"/>
                        <a:pt x="93" y="174"/>
                      </a:cubicBezTo>
                      <a:cubicBezTo>
                        <a:pt x="89" y="175"/>
                        <a:pt x="86" y="175"/>
                        <a:pt x="83" y="175"/>
                      </a:cubicBezTo>
                      <a:cubicBezTo>
                        <a:pt x="82" y="175"/>
                        <a:pt x="81" y="175"/>
                        <a:pt x="80" y="175"/>
                      </a:cubicBezTo>
                      <a:cubicBezTo>
                        <a:pt x="82" y="181"/>
                        <a:pt x="83" y="187"/>
                        <a:pt x="85" y="193"/>
                      </a:cubicBezTo>
                      <a:cubicBezTo>
                        <a:pt x="85" y="195"/>
                        <a:pt x="85" y="195"/>
                        <a:pt x="85" y="195"/>
                      </a:cubicBezTo>
                      <a:cubicBezTo>
                        <a:pt x="25" y="195"/>
                        <a:pt x="25" y="195"/>
                        <a:pt x="25" y="195"/>
                      </a:cubicBezTo>
                      <a:cubicBezTo>
                        <a:pt x="24" y="194"/>
                        <a:pt x="24" y="194"/>
                        <a:pt x="24" y="194"/>
                      </a:cubicBezTo>
                      <a:cubicBezTo>
                        <a:pt x="18" y="180"/>
                        <a:pt x="14" y="165"/>
                        <a:pt x="12" y="149"/>
                      </a:cubicBezTo>
                      <a:cubicBezTo>
                        <a:pt x="12" y="147"/>
                        <a:pt x="12" y="147"/>
                        <a:pt x="12" y="147"/>
                      </a:cubicBezTo>
                      <a:cubicBezTo>
                        <a:pt x="49" y="147"/>
                        <a:pt x="49" y="147"/>
                        <a:pt x="49" y="147"/>
                      </a:cubicBezTo>
                      <a:cubicBezTo>
                        <a:pt x="49" y="145"/>
                        <a:pt x="48" y="143"/>
                        <a:pt x="48" y="141"/>
                      </a:cubicBezTo>
                      <a:cubicBezTo>
                        <a:pt x="48" y="139"/>
                        <a:pt x="49" y="137"/>
                        <a:pt x="49" y="135"/>
                      </a:cubicBezTo>
                      <a:cubicBezTo>
                        <a:pt x="12" y="135"/>
                        <a:pt x="12" y="135"/>
                        <a:pt x="12" y="135"/>
                      </a:cubicBezTo>
                      <a:cubicBezTo>
                        <a:pt x="12" y="134"/>
                        <a:pt x="12" y="134"/>
                        <a:pt x="12" y="134"/>
                      </a:cubicBezTo>
                      <a:cubicBezTo>
                        <a:pt x="13" y="112"/>
                        <a:pt x="19" y="91"/>
                        <a:pt x="30" y="73"/>
                      </a:cubicBezTo>
                      <a:cubicBezTo>
                        <a:pt x="30" y="72"/>
                        <a:pt x="30" y="72"/>
                        <a:pt x="30" y="72"/>
                      </a:cubicBezTo>
                      <a:cubicBezTo>
                        <a:pt x="87" y="72"/>
                        <a:pt x="87" y="72"/>
                        <a:pt x="87" y="72"/>
                      </a:cubicBezTo>
                      <a:cubicBezTo>
                        <a:pt x="86" y="74"/>
                        <a:pt x="86" y="74"/>
                        <a:pt x="86" y="74"/>
                      </a:cubicBezTo>
                      <a:cubicBezTo>
                        <a:pt x="83" y="85"/>
                        <a:pt x="80" y="96"/>
                        <a:pt x="78" y="107"/>
                      </a:cubicBezTo>
                      <a:cubicBezTo>
                        <a:pt x="80" y="107"/>
                        <a:pt x="81" y="107"/>
                        <a:pt x="83" y="107"/>
                      </a:cubicBezTo>
                      <a:cubicBezTo>
                        <a:pt x="85" y="107"/>
                        <a:pt x="88" y="107"/>
                        <a:pt x="90" y="107"/>
                      </a:cubicBezTo>
                      <a:cubicBezTo>
                        <a:pt x="92" y="96"/>
                        <a:pt x="95" y="84"/>
                        <a:pt x="100" y="73"/>
                      </a:cubicBezTo>
                      <a:cubicBezTo>
                        <a:pt x="100" y="72"/>
                        <a:pt x="100" y="72"/>
                        <a:pt x="100" y="72"/>
                      </a:cubicBezTo>
                      <a:cubicBezTo>
                        <a:pt x="181" y="72"/>
                        <a:pt x="181" y="72"/>
                        <a:pt x="181" y="72"/>
                      </a:cubicBezTo>
                      <a:cubicBezTo>
                        <a:pt x="182" y="73"/>
                        <a:pt x="182" y="73"/>
                        <a:pt x="182" y="73"/>
                      </a:cubicBezTo>
                      <a:cubicBezTo>
                        <a:pt x="189" y="93"/>
                        <a:pt x="193" y="113"/>
                        <a:pt x="193" y="134"/>
                      </a:cubicBezTo>
                      <a:cubicBezTo>
                        <a:pt x="193" y="135"/>
                        <a:pt x="193" y="135"/>
                        <a:pt x="193" y="135"/>
                      </a:cubicBezTo>
                      <a:cubicBezTo>
                        <a:pt x="117" y="135"/>
                        <a:pt x="117" y="135"/>
                        <a:pt x="117" y="135"/>
                      </a:cubicBezTo>
                      <a:cubicBezTo>
                        <a:pt x="117" y="137"/>
                        <a:pt x="117" y="139"/>
                        <a:pt x="117" y="141"/>
                      </a:cubicBezTo>
                      <a:cubicBezTo>
                        <a:pt x="117" y="143"/>
                        <a:pt x="117" y="145"/>
                        <a:pt x="117" y="147"/>
                      </a:cubicBezTo>
                      <a:cubicBezTo>
                        <a:pt x="193" y="147"/>
                        <a:pt x="193" y="147"/>
                        <a:pt x="193" y="147"/>
                      </a:cubicBezTo>
                      <a:cubicBezTo>
                        <a:pt x="193" y="149"/>
                        <a:pt x="193" y="149"/>
                        <a:pt x="193" y="149"/>
                      </a:cubicBezTo>
                      <a:cubicBezTo>
                        <a:pt x="192" y="155"/>
                        <a:pt x="191" y="162"/>
                        <a:pt x="190" y="169"/>
                      </a:cubicBezTo>
                      <a:cubicBezTo>
                        <a:pt x="194" y="169"/>
                        <a:pt x="198" y="170"/>
                        <a:pt x="202" y="172"/>
                      </a:cubicBezTo>
                      <a:cubicBezTo>
                        <a:pt x="203" y="164"/>
                        <a:pt x="204" y="156"/>
                        <a:pt x="205" y="149"/>
                      </a:cubicBezTo>
                      <a:cubicBezTo>
                        <a:pt x="205" y="147"/>
                        <a:pt x="205" y="147"/>
                        <a:pt x="205" y="147"/>
                      </a:cubicBezTo>
                      <a:cubicBezTo>
                        <a:pt x="269" y="147"/>
                        <a:pt x="269" y="147"/>
                        <a:pt x="269" y="147"/>
                      </a:cubicBezTo>
                      <a:lnTo>
                        <a:pt x="269"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93" name="Freeform 35">
                  <a:extLst>
                    <a:ext uri="{FF2B5EF4-FFF2-40B4-BE49-F238E27FC236}">
                      <a16:creationId xmlns:a16="http://schemas.microsoft.com/office/drawing/2014/main" id="{1AADFE76-0881-44F4-8BB8-517B75437EA9}"/>
                    </a:ext>
                  </a:extLst>
                </p:cNvPr>
                <p:cNvSpPr>
                  <a:spLocks noEditPoints="1"/>
                </p:cNvSpPr>
                <p:nvPr/>
              </p:nvSpPr>
              <p:spPr bwMode="auto">
                <a:xfrm>
                  <a:off x="2490" y="616"/>
                  <a:ext cx="74" cy="74"/>
                </a:xfrm>
                <a:custGeom>
                  <a:avLst/>
                  <a:gdLst>
                    <a:gd name="T0" fmla="*/ 25 w 50"/>
                    <a:gd name="T1" fmla="*/ 0 h 50"/>
                    <a:gd name="T2" fmla="*/ 0 w 50"/>
                    <a:gd name="T3" fmla="*/ 25 h 50"/>
                    <a:gd name="T4" fmla="*/ 25 w 50"/>
                    <a:gd name="T5" fmla="*/ 50 h 50"/>
                    <a:gd name="T6" fmla="*/ 50 w 50"/>
                    <a:gd name="T7" fmla="*/ 25 h 50"/>
                    <a:gd name="T8" fmla="*/ 25 w 50"/>
                    <a:gd name="T9" fmla="*/ 0 h 50"/>
                    <a:gd name="T10" fmla="*/ 25 w 50"/>
                    <a:gd name="T11" fmla="*/ 38 h 50"/>
                    <a:gd name="T12" fmla="*/ 12 w 50"/>
                    <a:gd name="T13" fmla="*/ 25 h 50"/>
                    <a:gd name="T14" fmla="*/ 25 w 50"/>
                    <a:gd name="T15" fmla="*/ 12 h 50"/>
                    <a:gd name="T16" fmla="*/ 38 w 50"/>
                    <a:gd name="T17" fmla="*/ 25 h 50"/>
                    <a:gd name="T18" fmla="*/ 25 w 50"/>
                    <a:gd name="T19"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25" y="0"/>
                      </a:moveTo>
                      <a:cubicBezTo>
                        <a:pt x="11" y="0"/>
                        <a:pt x="0" y="11"/>
                        <a:pt x="0" y="25"/>
                      </a:cubicBezTo>
                      <a:cubicBezTo>
                        <a:pt x="0" y="39"/>
                        <a:pt x="11" y="50"/>
                        <a:pt x="25" y="50"/>
                      </a:cubicBezTo>
                      <a:cubicBezTo>
                        <a:pt x="39" y="50"/>
                        <a:pt x="50" y="39"/>
                        <a:pt x="50" y="25"/>
                      </a:cubicBezTo>
                      <a:cubicBezTo>
                        <a:pt x="50" y="11"/>
                        <a:pt x="39" y="0"/>
                        <a:pt x="25" y="0"/>
                      </a:cubicBezTo>
                      <a:close/>
                      <a:moveTo>
                        <a:pt x="25" y="38"/>
                      </a:moveTo>
                      <a:cubicBezTo>
                        <a:pt x="18" y="38"/>
                        <a:pt x="12" y="32"/>
                        <a:pt x="12" y="25"/>
                      </a:cubicBezTo>
                      <a:cubicBezTo>
                        <a:pt x="12" y="18"/>
                        <a:pt x="18" y="12"/>
                        <a:pt x="25" y="12"/>
                      </a:cubicBezTo>
                      <a:cubicBezTo>
                        <a:pt x="32" y="12"/>
                        <a:pt x="38" y="18"/>
                        <a:pt x="38" y="25"/>
                      </a:cubicBezTo>
                      <a:cubicBezTo>
                        <a:pt x="38" y="32"/>
                        <a:pt x="32" y="38"/>
                        <a:pt x="25"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94" name="Freeform 36">
                  <a:extLst>
                    <a:ext uri="{FF2B5EF4-FFF2-40B4-BE49-F238E27FC236}">
                      <a16:creationId xmlns:a16="http://schemas.microsoft.com/office/drawing/2014/main" id="{10EDDD3C-9495-41CB-88B9-5ADA03CCB04E}"/>
                    </a:ext>
                  </a:extLst>
                </p:cNvPr>
                <p:cNvSpPr>
                  <a:spLocks noEditPoints="1"/>
                </p:cNvSpPr>
                <p:nvPr/>
              </p:nvSpPr>
              <p:spPr bwMode="auto">
                <a:xfrm>
                  <a:off x="2642" y="708"/>
                  <a:ext cx="74" cy="74"/>
                </a:xfrm>
                <a:custGeom>
                  <a:avLst/>
                  <a:gdLst>
                    <a:gd name="T0" fmla="*/ 25 w 50"/>
                    <a:gd name="T1" fmla="*/ 0 h 50"/>
                    <a:gd name="T2" fmla="*/ 0 w 50"/>
                    <a:gd name="T3" fmla="*/ 25 h 50"/>
                    <a:gd name="T4" fmla="*/ 25 w 50"/>
                    <a:gd name="T5" fmla="*/ 50 h 50"/>
                    <a:gd name="T6" fmla="*/ 50 w 50"/>
                    <a:gd name="T7" fmla="*/ 25 h 50"/>
                    <a:gd name="T8" fmla="*/ 25 w 50"/>
                    <a:gd name="T9" fmla="*/ 0 h 50"/>
                    <a:gd name="T10" fmla="*/ 25 w 50"/>
                    <a:gd name="T11" fmla="*/ 38 h 50"/>
                    <a:gd name="T12" fmla="*/ 12 w 50"/>
                    <a:gd name="T13" fmla="*/ 25 h 50"/>
                    <a:gd name="T14" fmla="*/ 25 w 50"/>
                    <a:gd name="T15" fmla="*/ 12 h 50"/>
                    <a:gd name="T16" fmla="*/ 38 w 50"/>
                    <a:gd name="T17" fmla="*/ 25 h 50"/>
                    <a:gd name="T18" fmla="*/ 25 w 50"/>
                    <a:gd name="T19"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25" y="0"/>
                      </a:moveTo>
                      <a:cubicBezTo>
                        <a:pt x="12" y="0"/>
                        <a:pt x="0" y="11"/>
                        <a:pt x="0" y="25"/>
                      </a:cubicBezTo>
                      <a:cubicBezTo>
                        <a:pt x="0" y="39"/>
                        <a:pt x="12" y="50"/>
                        <a:pt x="25" y="50"/>
                      </a:cubicBezTo>
                      <a:cubicBezTo>
                        <a:pt x="39" y="50"/>
                        <a:pt x="50" y="39"/>
                        <a:pt x="50" y="25"/>
                      </a:cubicBezTo>
                      <a:cubicBezTo>
                        <a:pt x="50" y="11"/>
                        <a:pt x="39" y="0"/>
                        <a:pt x="25" y="0"/>
                      </a:cubicBezTo>
                      <a:close/>
                      <a:moveTo>
                        <a:pt x="25" y="38"/>
                      </a:moveTo>
                      <a:cubicBezTo>
                        <a:pt x="18" y="38"/>
                        <a:pt x="12" y="32"/>
                        <a:pt x="12" y="25"/>
                      </a:cubicBezTo>
                      <a:cubicBezTo>
                        <a:pt x="12" y="18"/>
                        <a:pt x="18" y="12"/>
                        <a:pt x="25" y="12"/>
                      </a:cubicBezTo>
                      <a:cubicBezTo>
                        <a:pt x="33" y="12"/>
                        <a:pt x="38" y="18"/>
                        <a:pt x="38" y="25"/>
                      </a:cubicBezTo>
                      <a:cubicBezTo>
                        <a:pt x="38" y="32"/>
                        <a:pt x="33" y="38"/>
                        <a:pt x="25"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95" name="Freeform 37">
                  <a:extLst>
                    <a:ext uri="{FF2B5EF4-FFF2-40B4-BE49-F238E27FC236}">
                      <a16:creationId xmlns:a16="http://schemas.microsoft.com/office/drawing/2014/main" id="{9DFECE5C-F8D7-47B9-A927-324446643D3E}"/>
                    </a:ext>
                  </a:extLst>
                </p:cNvPr>
                <p:cNvSpPr>
                  <a:spLocks noEditPoints="1"/>
                </p:cNvSpPr>
                <p:nvPr/>
              </p:nvSpPr>
              <p:spPr bwMode="auto">
                <a:xfrm>
                  <a:off x="2725" y="491"/>
                  <a:ext cx="102" cy="102"/>
                </a:xfrm>
                <a:custGeom>
                  <a:avLst/>
                  <a:gdLst>
                    <a:gd name="T0" fmla="*/ 35 w 69"/>
                    <a:gd name="T1" fmla="*/ 69 h 69"/>
                    <a:gd name="T2" fmla="*/ 69 w 69"/>
                    <a:gd name="T3" fmla="*/ 34 h 69"/>
                    <a:gd name="T4" fmla="*/ 35 w 69"/>
                    <a:gd name="T5" fmla="*/ 0 h 69"/>
                    <a:gd name="T6" fmla="*/ 0 w 69"/>
                    <a:gd name="T7" fmla="*/ 34 h 69"/>
                    <a:gd name="T8" fmla="*/ 35 w 69"/>
                    <a:gd name="T9" fmla="*/ 69 h 69"/>
                    <a:gd name="T10" fmla="*/ 35 w 69"/>
                    <a:gd name="T11" fmla="*/ 12 h 69"/>
                    <a:gd name="T12" fmla="*/ 57 w 69"/>
                    <a:gd name="T13" fmla="*/ 34 h 69"/>
                    <a:gd name="T14" fmla="*/ 35 w 69"/>
                    <a:gd name="T15" fmla="*/ 57 h 69"/>
                    <a:gd name="T16" fmla="*/ 12 w 69"/>
                    <a:gd name="T17" fmla="*/ 34 h 69"/>
                    <a:gd name="T18" fmla="*/ 35 w 69"/>
                    <a:gd name="T19" fmla="*/ 1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69">
                      <a:moveTo>
                        <a:pt x="35" y="69"/>
                      </a:moveTo>
                      <a:cubicBezTo>
                        <a:pt x="54" y="69"/>
                        <a:pt x="69" y="53"/>
                        <a:pt x="69" y="34"/>
                      </a:cubicBezTo>
                      <a:cubicBezTo>
                        <a:pt x="69" y="15"/>
                        <a:pt x="54" y="0"/>
                        <a:pt x="35" y="0"/>
                      </a:cubicBezTo>
                      <a:cubicBezTo>
                        <a:pt x="16" y="0"/>
                        <a:pt x="0" y="15"/>
                        <a:pt x="0" y="34"/>
                      </a:cubicBezTo>
                      <a:cubicBezTo>
                        <a:pt x="0" y="53"/>
                        <a:pt x="16" y="69"/>
                        <a:pt x="35" y="69"/>
                      </a:cubicBezTo>
                      <a:close/>
                      <a:moveTo>
                        <a:pt x="35" y="12"/>
                      </a:moveTo>
                      <a:cubicBezTo>
                        <a:pt x="47" y="12"/>
                        <a:pt x="57" y="22"/>
                        <a:pt x="57" y="34"/>
                      </a:cubicBezTo>
                      <a:cubicBezTo>
                        <a:pt x="57" y="47"/>
                        <a:pt x="47" y="57"/>
                        <a:pt x="35" y="57"/>
                      </a:cubicBezTo>
                      <a:cubicBezTo>
                        <a:pt x="22" y="57"/>
                        <a:pt x="12" y="47"/>
                        <a:pt x="12" y="34"/>
                      </a:cubicBezTo>
                      <a:cubicBezTo>
                        <a:pt x="12" y="22"/>
                        <a:pt x="22" y="12"/>
                        <a:pt x="3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grpSp>
          <p:grpSp>
            <p:nvGrpSpPr>
              <p:cNvPr id="196" name="Group 65">
                <a:extLst>
                  <a:ext uri="{FF2B5EF4-FFF2-40B4-BE49-F238E27FC236}">
                    <a16:creationId xmlns:a16="http://schemas.microsoft.com/office/drawing/2014/main" id="{1DBE86DF-522A-484D-90D5-1CDACC926805}"/>
                  </a:ext>
                </a:extLst>
              </p:cNvPr>
              <p:cNvGrpSpPr>
                <a:grpSpLocks noChangeAspect="1"/>
              </p:cNvGrpSpPr>
              <p:nvPr/>
            </p:nvGrpSpPr>
            <p:grpSpPr bwMode="auto">
              <a:xfrm rot="10800000">
                <a:off x="5838375" y="2627901"/>
                <a:ext cx="649156" cy="597224"/>
                <a:chOff x="1359" y="1738"/>
                <a:chExt cx="425" cy="391"/>
              </a:xfrm>
              <a:solidFill>
                <a:sysClr val="window" lastClr="FFFFFF"/>
              </a:solidFill>
            </p:grpSpPr>
            <p:sp>
              <p:nvSpPr>
                <p:cNvPr id="197" name="Freeform 66">
                  <a:extLst>
                    <a:ext uri="{FF2B5EF4-FFF2-40B4-BE49-F238E27FC236}">
                      <a16:creationId xmlns:a16="http://schemas.microsoft.com/office/drawing/2014/main" id="{4A327541-F24D-439D-9988-6432958E4852}"/>
                    </a:ext>
                  </a:extLst>
                </p:cNvPr>
                <p:cNvSpPr>
                  <a:spLocks noEditPoints="1"/>
                </p:cNvSpPr>
                <p:nvPr/>
              </p:nvSpPr>
              <p:spPr bwMode="auto">
                <a:xfrm>
                  <a:off x="1473" y="1842"/>
                  <a:ext cx="197" cy="199"/>
                </a:xfrm>
                <a:custGeom>
                  <a:avLst/>
                  <a:gdLst>
                    <a:gd name="T0" fmla="*/ 64 w 134"/>
                    <a:gd name="T1" fmla="*/ 1 h 135"/>
                    <a:gd name="T2" fmla="*/ 0 w 134"/>
                    <a:gd name="T3" fmla="*/ 66 h 135"/>
                    <a:gd name="T4" fmla="*/ 134 w 134"/>
                    <a:gd name="T5" fmla="*/ 67 h 135"/>
                    <a:gd name="T6" fmla="*/ 40 w 134"/>
                    <a:gd name="T7" fmla="*/ 95 h 135"/>
                    <a:gd name="T8" fmla="*/ 12 w 134"/>
                    <a:gd name="T9" fmla="*/ 69 h 135"/>
                    <a:gd name="T10" fmla="*/ 40 w 134"/>
                    <a:gd name="T11" fmla="*/ 95 h 135"/>
                    <a:gd name="T12" fmla="*/ 18 w 134"/>
                    <a:gd name="T13" fmla="*/ 41 h 135"/>
                    <a:gd name="T14" fmla="*/ 35 w 134"/>
                    <a:gd name="T15" fmla="*/ 57 h 135"/>
                    <a:gd name="T16" fmla="*/ 52 w 134"/>
                    <a:gd name="T17" fmla="*/ 121 h 135"/>
                    <a:gd name="T18" fmla="*/ 44 w 134"/>
                    <a:gd name="T19" fmla="*/ 107 h 135"/>
                    <a:gd name="T20" fmla="*/ 88 w 134"/>
                    <a:gd name="T21" fmla="*/ 69 h 135"/>
                    <a:gd name="T22" fmla="*/ 52 w 134"/>
                    <a:gd name="T23" fmla="*/ 95 h 135"/>
                    <a:gd name="T24" fmla="*/ 88 w 134"/>
                    <a:gd name="T25" fmla="*/ 69 h 135"/>
                    <a:gd name="T26" fmla="*/ 50 w 134"/>
                    <a:gd name="T27" fmla="*/ 41 h 135"/>
                    <a:gd name="T28" fmla="*/ 87 w 134"/>
                    <a:gd name="T29" fmla="*/ 57 h 135"/>
                    <a:gd name="T30" fmla="*/ 107 w 134"/>
                    <a:gd name="T31" fmla="*/ 29 h 135"/>
                    <a:gd name="T32" fmla="*/ 84 w 134"/>
                    <a:gd name="T33" fmla="*/ 15 h 135"/>
                    <a:gd name="T34" fmla="*/ 79 w 134"/>
                    <a:gd name="T35" fmla="*/ 29 h 135"/>
                    <a:gd name="T36" fmla="*/ 67 w 134"/>
                    <a:gd name="T37" fmla="*/ 13 h 135"/>
                    <a:gd name="T38" fmla="*/ 27 w 134"/>
                    <a:gd name="T39" fmla="*/ 29 h 135"/>
                    <a:gd name="T40" fmla="*/ 42 w 134"/>
                    <a:gd name="T41" fmla="*/ 29 h 135"/>
                    <a:gd name="T42" fmla="*/ 58 w 134"/>
                    <a:gd name="T43" fmla="*/ 107 h 135"/>
                    <a:gd name="T44" fmla="*/ 67 w 134"/>
                    <a:gd name="T45" fmla="*/ 122 h 135"/>
                    <a:gd name="T46" fmla="*/ 67 w 134"/>
                    <a:gd name="T47" fmla="*/ 124 h 135"/>
                    <a:gd name="T48" fmla="*/ 67 w 134"/>
                    <a:gd name="T49" fmla="*/ 124 h 135"/>
                    <a:gd name="T50" fmla="*/ 82 w 134"/>
                    <a:gd name="T51" fmla="*/ 121 h 135"/>
                    <a:gd name="T52" fmla="*/ 105 w 134"/>
                    <a:gd name="T53" fmla="*/ 107 h 135"/>
                    <a:gd name="T54" fmla="*/ 96 w 134"/>
                    <a:gd name="T55" fmla="*/ 41 h 135"/>
                    <a:gd name="T56" fmla="*/ 121 w 134"/>
                    <a:gd name="T57" fmla="*/ 57 h 135"/>
                    <a:gd name="T58" fmla="*/ 122 w 134"/>
                    <a:gd name="T59" fmla="*/ 69 h 135"/>
                    <a:gd name="T60" fmla="*/ 94 w 134"/>
                    <a:gd name="T61" fmla="*/ 95 h 135"/>
                    <a:gd name="T62" fmla="*/ 122 w 134"/>
                    <a:gd name="T63" fmla="*/ 6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4" h="135">
                      <a:moveTo>
                        <a:pt x="114" y="19"/>
                      </a:moveTo>
                      <a:cubicBezTo>
                        <a:pt x="100" y="7"/>
                        <a:pt x="83" y="0"/>
                        <a:pt x="64" y="1"/>
                      </a:cubicBezTo>
                      <a:cubicBezTo>
                        <a:pt x="64" y="1"/>
                        <a:pt x="64" y="1"/>
                        <a:pt x="64" y="1"/>
                      </a:cubicBezTo>
                      <a:cubicBezTo>
                        <a:pt x="27" y="2"/>
                        <a:pt x="0" y="30"/>
                        <a:pt x="0" y="66"/>
                      </a:cubicBezTo>
                      <a:cubicBezTo>
                        <a:pt x="0" y="104"/>
                        <a:pt x="30" y="135"/>
                        <a:pt x="67" y="135"/>
                      </a:cubicBezTo>
                      <a:cubicBezTo>
                        <a:pt x="104" y="135"/>
                        <a:pt x="134" y="105"/>
                        <a:pt x="134" y="67"/>
                      </a:cubicBezTo>
                      <a:cubicBezTo>
                        <a:pt x="134" y="49"/>
                        <a:pt x="127" y="32"/>
                        <a:pt x="114" y="19"/>
                      </a:cubicBezTo>
                      <a:close/>
                      <a:moveTo>
                        <a:pt x="40" y="95"/>
                      </a:moveTo>
                      <a:cubicBezTo>
                        <a:pt x="19" y="95"/>
                        <a:pt x="19" y="95"/>
                        <a:pt x="19" y="95"/>
                      </a:cubicBezTo>
                      <a:cubicBezTo>
                        <a:pt x="15" y="87"/>
                        <a:pt x="12" y="78"/>
                        <a:pt x="12" y="69"/>
                      </a:cubicBezTo>
                      <a:cubicBezTo>
                        <a:pt x="35" y="69"/>
                        <a:pt x="35" y="69"/>
                        <a:pt x="35" y="69"/>
                      </a:cubicBezTo>
                      <a:cubicBezTo>
                        <a:pt x="35" y="78"/>
                        <a:pt x="37" y="86"/>
                        <a:pt x="40" y="95"/>
                      </a:cubicBezTo>
                      <a:close/>
                      <a:moveTo>
                        <a:pt x="13" y="57"/>
                      </a:moveTo>
                      <a:cubicBezTo>
                        <a:pt x="13" y="52"/>
                        <a:pt x="15" y="46"/>
                        <a:pt x="18" y="41"/>
                      </a:cubicBezTo>
                      <a:cubicBezTo>
                        <a:pt x="38" y="41"/>
                        <a:pt x="38" y="41"/>
                        <a:pt x="38" y="41"/>
                      </a:cubicBezTo>
                      <a:cubicBezTo>
                        <a:pt x="36" y="46"/>
                        <a:pt x="35" y="52"/>
                        <a:pt x="35" y="57"/>
                      </a:cubicBezTo>
                      <a:lnTo>
                        <a:pt x="13" y="57"/>
                      </a:lnTo>
                      <a:close/>
                      <a:moveTo>
                        <a:pt x="52" y="121"/>
                      </a:moveTo>
                      <a:cubicBezTo>
                        <a:pt x="43" y="118"/>
                        <a:pt x="35" y="113"/>
                        <a:pt x="29" y="107"/>
                      </a:cubicBezTo>
                      <a:cubicBezTo>
                        <a:pt x="44" y="107"/>
                        <a:pt x="44" y="107"/>
                        <a:pt x="44" y="107"/>
                      </a:cubicBezTo>
                      <a:cubicBezTo>
                        <a:pt x="46" y="112"/>
                        <a:pt x="49" y="116"/>
                        <a:pt x="52" y="121"/>
                      </a:cubicBezTo>
                      <a:close/>
                      <a:moveTo>
                        <a:pt x="88" y="69"/>
                      </a:moveTo>
                      <a:cubicBezTo>
                        <a:pt x="87" y="78"/>
                        <a:pt x="85" y="86"/>
                        <a:pt x="82" y="95"/>
                      </a:cubicBezTo>
                      <a:cubicBezTo>
                        <a:pt x="52" y="95"/>
                        <a:pt x="52" y="95"/>
                        <a:pt x="52" y="95"/>
                      </a:cubicBezTo>
                      <a:cubicBezTo>
                        <a:pt x="49" y="86"/>
                        <a:pt x="47" y="78"/>
                        <a:pt x="46" y="69"/>
                      </a:cubicBezTo>
                      <a:lnTo>
                        <a:pt x="88" y="69"/>
                      </a:lnTo>
                      <a:close/>
                      <a:moveTo>
                        <a:pt x="47" y="57"/>
                      </a:moveTo>
                      <a:cubicBezTo>
                        <a:pt x="47" y="52"/>
                        <a:pt x="48" y="46"/>
                        <a:pt x="50" y="41"/>
                      </a:cubicBezTo>
                      <a:cubicBezTo>
                        <a:pt x="84" y="41"/>
                        <a:pt x="84" y="41"/>
                        <a:pt x="84" y="41"/>
                      </a:cubicBezTo>
                      <a:cubicBezTo>
                        <a:pt x="86" y="46"/>
                        <a:pt x="87" y="52"/>
                        <a:pt x="87" y="57"/>
                      </a:cubicBezTo>
                      <a:lnTo>
                        <a:pt x="47" y="57"/>
                      </a:lnTo>
                      <a:close/>
                      <a:moveTo>
                        <a:pt x="107" y="29"/>
                      </a:moveTo>
                      <a:cubicBezTo>
                        <a:pt x="92" y="29"/>
                        <a:pt x="92" y="29"/>
                        <a:pt x="92" y="29"/>
                      </a:cubicBezTo>
                      <a:cubicBezTo>
                        <a:pt x="90" y="24"/>
                        <a:pt x="87" y="20"/>
                        <a:pt x="84" y="15"/>
                      </a:cubicBezTo>
                      <a:cubicBezTo>
                        <a:pt x="93" y="18"/>
                        <a:pt x="100" y="23"/>
                        <a:pt x="107" y="29"/>
                      </a:cubicBezTo>
                      <a:close/>
                      <a:moveTo>
                        <a:pt x="79" y="29"/>
                      </a:moveTo>
                      <a:cubicBezTo>
                        <a:pt x="55" y="29"/>
                        <a:pt x="55" y="29"/>
                        <a:pt x="55" y="29"/>
                      </a:cubicBezTo>
                      <a:cubicBezTo>
                        <a:pt x="58" y="23"/>
                        <a:pt x="62" y="18"/>
                        <a:pt x="67" y="13"/>
                      </a:cubicBezTo>
                      <a:cubicBezTo>
                        <a:pt x="72" y="18"/>
                        <a:pt x="76" y="23"/>
                        <a:pt x="79" y="29"/>
                      </a:cubicBezTo>
                      <a:close/>
                      <a:moveTo>
                        <a:pt x="27" y="29"/>
                      </a:moveTo>
                      <a:cubicBezTo>
                        <a:pt x="33" y="22"/>
                        <a:pt x="41" y="18"/>
                        <a:pt x="50" y="15"/>
                      </a:cubicBezTo>
                      <a:cubicBezTo>
                        <a:pt x="47" y="19"/>
                        <a:pt x="44" y="24"/>
                        <a:pt x="42" y="29"/>
                      </a:cubicBezTo>
                      <a:lnTo>
                        <a:pt x="27" y="29"/>
                      </a:lnTo>
                      <a:close/>
                      <a:moveTo>
                        <a:pt x="58" y="107"/>
                      </a:moveTo>
                      <a:cubicBezTo>
                        <a:pt x="76" y="107"/>
                        <a:pt x="76" y="107"/>
                        <a:pt x="76" y="107"/>
                      </a:cubicBezTo>
                      <a:cubicBezTo>
                        <a:pt x="74" y="112"/>
                        <a:pt x="71" y="117"/>
                        <a:pt x="67" y="122"/>
                      </a:cubicBezTo>
                      <a:cubicBezTo>
                        <a:pt x="63" y="117"/>
                        <a:pt x="60" y="112"/>
                        <a:pt x="58" y="107"/>
                      </a:cubicBezTo>
                      <a:close/>
                      <a:moveTo>
                        <a:pt x="67" y="124"/>
                      </a:moveTo>
                      <a:cubicBezTo>
                        <a:pt x="67" y="124"/>
                        <a:pt x="67" y="124"/>
                        <a:pt x="67" y="124"/>
                      </a:cubicBezTo>
                      <a:cubicBezTo>
                        <a:pt x="67" y="124"/>
                        <a:pt x="67" y="124"/>
                        <a:pt x="67" y="124"/>
                      </a:cubicBezTo>
                      <a:close/>
                      <a:moveTo>
                        <a:pt x="105" y="107"/>
                      </a:moveTo>
                      <a:cubicBezTo>
                        <a:pt x="99" y="113"/>
                        <a:pt x="91" y="118"/>
                        <a:pt x="82" y="121"/>
                      </a:cubicBezTo>
                      <a:cubicBezTo>
                        <a:pt x="85" y="116"/>
                        <a:pt x="88" y="112"/>
                        <a:pt x="90" y="107"/>
                      </a:cubicBezTo>
                      <a:lnTo>
                        <a:pt x="105" y="107"/>
                      </a:lnTo>
                      <a:close/>
                      <a:moveTo>
                        <a:pt x="99" y="57"/>
                      </a:moveTo>
                      <a:cubicBezTo>
                        <a:pt x="99" y="52"/>
                        <a:pt x="98" y="46"/>
                        <a:pt x="96" y="41"/>
                      </a:cubicBezTo>
                      <a:cubicBezTo>
                        <a:pt x="115" y="41"/>
                        <a:pt x="115" y="41"/>
                        <a:pt x="115" y="41"/>
                      </a:cubicBezTo>
                      <a:cubicBezTo>
                        <a:pt x="118" y="46"/>
                        <a:pt x="120" y="52"/>
                        <a:pt x="121" y="57"/>
                      </a:cubicBezTo>
                      <a:lnTo>
                        <a:pt x="99" y="57"/>
                      </a:lnTo>
                      <a:close/>
                      <a:moveTo>
                        <a:pt x="122" y="69"/>
                      </a:moveTo>
                      <a:cubicBezTo>
                        <a:pt x="122" y="78"/>
                        <a:pt x="119" y="87"/>
                        <a:pt x="115" y="95"/>
                      </a:cubicBezTo>
                      <a:cubicBezTo>
                        <a:pt x="94" y="95"/>
                        <a:pt x="94" y="95"/>
                        <a:pt x="94" y="95"/>
                      </a:cubicBezTo>
                      <a:cubicBezTo>
                        <a:pt x="97" y="86"/>
                        <a:pt x="99" y="78"/>
                        <a:pt x="99" y="69"/>
                      </a:cubicBezTo>
                      <a:lnTo>
                        <a:pt x="122"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98" name="Freeform 67">
                  <a:extLst>
                    <a:ext uri="{FF2B5EF4-FFF2-40B4-BE49-F238E27FC236}">
                      <a16:creationId xmlns:a16="http://schemas.microsoft.com/office/drawing/2014/main" id="{B489FF14-B1C0-4F77-A5F3-256E6A94411C}"/>
                    </a:ext>
                  </a:extLst>
                </p:cNvPr>
                <p:cNvSpPr>
                  <a:spLocks noEditPoints="1"/>
                </p:cNvSpPr>
                <p:nvPr/>
              </p:nvSpPr>
              <p:spPr bwMode="auto">
                <a:xfrm>
                  <a:off x="1650" y="1738"/>
                  <a:ext cx="134" cy="135"/>
                </a:xfrm>
                <a:custGeom>
                  <a:avLst/>
                  <a:gdLst>
                    <a:gd name="T0" fmla="*/ 11 w 91"/>
                    <a:gd name="T1" fmla="*/ 88 h 91"/>
                    <a:gd name="T2" fmla="*/ 45 w 91"/>
                    <a:gd name="T3" fmla="*/ 55 h 91"/>
                    <a:gd name="T4" fmla="*/ 61 w 91"/>
                    <a:gd name="T5" fmla="*/ 60 h 91"/>
                    <a:gd name="T6" fmla="*/ 91 w 91"/>
                    <a:gd name="T7" fmla="*/ 30 h 91"/>
                    <a:gd name="T8" fmla="*/ 61 w 91"/>
                    <a:gd name="T9" fmla="*/ 0 h 91"/>
                    <a:gd name="T10" fmla="*/ 31 w 91"/>
                    <a:gd name="T11" fmla="*/ 30 h 91"/>
                    <a:gd name="T12" fmla="*/ 36 w 91"/>
                    <a:gd name="T13" fmla="*/ 47 h 91"/>
                    <a:gd name="T14" fmla="*/ 3 w 91"/>
                    <a:gd name="T15" fmla="*/ 80 h 91"/>
                    <a:gd name="T16" fmla="*/ 3 w 91"/>
                    <a:gd name="T17" fmla="*/ 88 h 91"/>
                    <a:gd name="T18" fmla="*/ 11 w 91"/>
                    <a:gd name="T19" fmla="*/ 88 h 91"/>
                    <a:gd name="T20" fmla="*/ 61 w 91"/>
                    <a:gd name="T21" fmla="*/ 12 h 91"/>
                    <a:gd name="T22" fmla="*/ 79 w 91"/>
                    <a:gd name="T23" fmla="*/ 30 h 91"/>
                    <a:gd name="T24" fmla="*/ 61 w 91"/>
                    <a:gd name="T25" fmla="*/ 48 h 91"/>
                    <a:gd name="T26" fmla="*/ 43 w 91"/>
                    <a:gd name="T27" fmla="*/ 30 h 91"/>
                    <a:gd name="T28" fmla="*/ 61 w 91"/>
                    <a:gd name="T29" fmla="*/ 1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91">
                      <a:moveTo>
                        <a:pt x="11" y="88"/>
                      </a:moveTo>
                      <a:cubicBezTo>
                        <a:pt x="45" y="55"/>
                        <a:pt x="45" y="55"/>
                        <a:pt x="45" y="55"/>
                      </a:cubicBezTo>
                      <a:cubicBezTo>
                        <a:pt x="49" y="58"/>
                        <a:pt x="55" y="60"/>
                        <a:pt x="61" y="60"/>
                      </a:cubicBezTo>
                      <a:cubicBezTo>
                        <a:pt x="77" y="60"/>
                        <a:pt x="91" y="46"/>
                        <a:pt x="91" y="30"/>
                      </a:cubicBezTo>
                      <a:cubicBezTo>
                        <a:pt x="91" y="13"/>
                        <a:pt x="77" y="0"/>
                        <a:pt x="61" y="0"/>
                      </a:cubicBezTo>
                      <a:cubicBezTo>
                        <a:pt x="44" y="0"/>
                        <a:pt x="31" y="13"/>
                        <a:pt x="31" y="30"/>
                      </a:cubicBezTo>
                      <a:cubicBezTo>
                        <a:pt x="31" y="36"/>
                        <a:pt x="33" y="42"/>
                        <a:pt x="36" y="47"/>
                      </a:cubicBezTo>
                      <a:cubicBezTo>
                        <a:pt x="3" y="80"/>
                        <a:pt x="3" y="80"/>
                        <a:pt x="3" y="80"/>
                      </a:cubicBezTo>
                      <a:cubicBezTo>
                        <a:pt x="0" y="82"/>
                        <a:pt x="0" y="86"/>
                        <a:pt x="3" y="88"/>
                      </a:cubicBezTo>
                      <a:cubicBezTo>
                        <a:pt x="5" y="91"/>
                        <a:pt x="9" y="91"/>
                        <a:pt x="11" y="88"/>
                      </a:cubicBezTo>
                      <a:close/>
                      <a:moveTo>
                        <a:pt x="61" y="12"/>
                      </a:moveTo>
                      <a:cubicBezTo>
                        <a:pt x="71" y="12"/>
                        <a:pt x="79" y="20"/>
                        <a:pt x="79" y="30"/>
                      </a:cubicBezTo>
                      <a:cubicBezTo>
                        <a:pt x="79" y="40"/>
                        <a:pt x="71" y="48"/>
                        <a:pt x="61" y="48"/>
                      </a:cubicBezTo>
                      <a:cubicBezTo>
                        <a:pt x="51" y="48"/>
                        <a:pt x="43" y="40"/>
                        <a:pt x="43" y="30"/>
                      </a:cubicBezTo>
                      <a:cubicBezTo>
                        <a:pt x="43" y="20"/>
                        <a:pt x="51" y="12"/>
                        <a:pt x="6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99" name="Freeform 68">
                  <a:extLst>
                    <a:ext uri="{FF2B5EF4-FFF2-40B4-BE49-F238E27FC236}">
                      <a16:creationId xmlns:a16="http://schemas.microsoft.com/office/drawing/2014/main" id="{567552D6-A137-4BB1-8EC7-5013B98AEF24}"/>
                    </a:ext>
                  </a:extLst>
                </p:cNvPr>
                <p:cNvSpPr>
                  <a:spLocks noEditPoints="1"/>
                </p:cNvSpPr>
                <p:nvPr/>
              </p:nvSpPr>
              <p:spPr bwMode="auto">
                <a:xfrm>
                  <a:off x="1668" y="2012"/>
                  <a:ext cx="116" cy="117"/>
                </a:xfrm>
                <a:custGeom>
                  <a:avLst/>
                  <a:gdLst>
                    <a:gd name="T0" fmla="*/ 49 w 79"/>
                    <a:gd name="T1" fmla="*/ 19 h 79"/>
                    <a:gd name="T2" fmla="*/ 32 w 79"/>
                    <a:gd name="T3" fmla="*/ 24 h 79"/>
                    <a:gd name="T4" fmla="*/ 11 w 79"/>
                    <a:gd name="T5" fmla="*/ 2 h 79"/>
                    <a:gd name="T6" fmla="*/ 2 w 79"/>
                    <a:gd name="T7" fmla="*/ 2 h 79"/>
                    <a:gd name="T8" fmla="*/ 2 w 79"/>
                    <a:gd name="T9" fmla="*/ 11 h 79"/>
                    <a:gd name="T10" fmla="*/ 24 w 79"/>
                    <a:gd name="T11" fmla="*/ 33 h 79"/>
                    <a:gd name="T12" fmla="*/ 19 w 79"/>
                    <a:gd name="T13" fmla="*/ 49 h 79"/>
                    <a:gd name="T14" fmla="*/ 49 w 79"/>
                    <a:gd name="T15" fmla="*/ 79 h 79"/>
                    <a:gd name="T16" fmla="*/ 79 w 79"/>
                    <a:gd name="T17" fmla="*/ 49 h 79"/>
                    <a:gd name="T18" fmla="*/ 49 w 79"/>
                    <a:gd name="T19" fmla="*/ 19 h 79"/>
                    <a:gd name="T20" fmla="*/ 49 w 79"/>
                    <a:gd name="T21" fmla="*/ 67 h 79"/>
                    <a:gd name="T22" fmla="*/ 31 w 79"/>
                    <a:gd name="T23" fmla="*/ 49 h 79"/>
                    <a:gd name="T24" fmla="*/ 49 w 79"/>
                    <a:gd name="T25" fmla="*/ 31 h 79"/>
                    <a:gd name="T26" fmla="*/ 67 w 79"/>
                    <a:gd name="T27" fmla="*/ 49 h 79"/>
                    <a:gd name="T28" fmla="*/ 49 w 79"/>
                    <a:gd name="T29" fmla="*/ 6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79">
                      <a:moveTo>
                        <a:pt x="49" y="19"/>
                      </a:moveTo>
                      <a:cubicBezTo>
                        <a:pt x="43" y="19"/>
                        <a:pt x="37" y="21"/>
                        <a:pt x="32" y="24"/>
                      </a:cubicBezTo>
                      <a:cubicBezTo>
                        <a:pt x="11" y="2"/>
                        <a:pt x="11" y="2"/>
                        <a:pt x="11" y="2"/>
                      </a:cubicBezTo>
                      <a:cubicBezTo>
                        <a:pt x="8" y="0"/>
                        <a:pt x="5" y="0"/>
                        <a:pt x="2" y="2"/>
                      </a:cubicBezTo>
                      <a:cubicBezTo>
                        <a:pt x="0" y="5"/>
                        <a:pt x="0" y="9"/>
                        <a:pt x="2" y="11"/>
                      </a:cubicBezTo>
                      <a:cubicBezTo>
                        <a:pt x="24" y="33"/>
                        <a:pt x="24" y="33"/>
                        <a:pt x="24" y="33"/>
                      </a:cubicBezTo>
                      <a:cubicBezTo>
                        <a:pt x="21" y="37"/>
                        <a:pt x="19" y="43"/>
                        <a:pt x="19" y="49"/>
                      </a:cubicBezTo>
                      <a:cubicBezTo>
                        <a:pt x="19" y="65"/>
                        <a:pt x="32" y="79"/>
                        <a:pt x="49" y="79"/>
                      </a:cubicBezTo>
                      <a:cubicBezTo>
                        <a:pt x="65" y="79"/>
                        <a:pt x="79" y="65"/>
                        <a:pt x="79" y="49"/>
                      </a:cubicBezTo>
                      <a:cubicBezTo>
                        <a:pt x="79" y="32"/>
                        <a:pt x="65" y="19"/>
                        <a:pt x="49" y="19"/>
                      </a:cubicBezTo>
                      <a:close/>
                      <a:moveTo>
                        <a:pt x="49" y="67"/>
                      </a:moveTo>
                      <a:cubicBezTo>
                        <a:pt x="39" y="67"/>
                        <a:pt x="31" y="59"/>
                        <a:pt x="31" y="49"/>
                      </a:cubicBezTo>
                      <a:cubicBezTo>
                        <a:pt x="31" y="39"/>
                        <a:pt x="39" y="31"/>
                        <a:pt x="49" y="31"/>
                      </a:cubicBezTo>
                      <a:cubicBezTo>
                        <a:pt x="59" y="31"/>
                        <a:pt x="67" y="39"/>
                        <a:pt x="67" y="49"/>
                      </a:cubicBezTo>
                      <a:cubicBezTo>
                        <a:pt x="67" y="59"/>
                        <a:pt x="59" y="67"/>
                        <a:pt x="49"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200" name="Freeform 69">
                  <a:extLst>
                    <a:ext uri="{FF2B5EF4-FFF2-40B4-BE49-F238E27FC236}">
                      <a16:creationId xmlns:a16="http://schemas.microsoft.com/office/drawing/2014/main" id="{79599A01-D968-42F5-9B66-CC3C513176E7}"/>
                    </a:ext>
                  </a:extLst>
                </p:cNvPr>
                <p:cNvSpPr>
                  <a:spLocks noEditPoints="1"/>
                </p:cNvSpPr>
                <p:nvPr/>
              </p:nvSpPr>
              <p:spPr bwMode="auto">
                <a:xfrm>
                  <a:off x="1359" y="1738"/>
                  <a:ext cx="134" cy="135"/>
                </a:xfrm>
                <a:custGeom>
                  <a:avLst/>
                  <a:gdLst>
                    <a:gd name="T0" fmla="*/ 30 w 91"/>
                    <a:gd name="T1" fmla="*/ 60 h 91"/>
                    <a:gd name="T2" fmla="*/ 46 w 91"/>
                    <a:gd name="T3" fmla="*/ 55 h 91"/>
                    <a:gd name="T4" fmla="*/ 80 w 91"/>
                    <a:gd name="T5" fmla="*/ 88 h 91"/>
                    <a:gd name="T6" fmla="*/ 88 w 91"/>
                    <a:gd name="T7" fmla="*/ 88 h 91"/>
                    <a:gd name="T8" fmla="*/ 88 w 91"/>
                    <a:gd name="T9" fmla="*/ 80 h 91"/>
                    <a:gd name="T10" fmla="*/ 55 w 91"/>
                    <a:gd name="T11" fmla="*/ 47 h 91"/>
                    <a:gd name="T12" fmla="*/ 60 w 91"/>
                    <a:gd name="T13" fmla="*/ 30 h 91"/>
                    <a:gd name="T14" fmla="*/ 30 w 91"/>
                    <a:gd name="T15" fmla="*/ 0 h 91"/>
                    <a:gd name="T16" fmla="*/ 0 w 91"/>
                    <a:gd name="T17" fmla="*/ 30 h 91"/>
                    <a:gd name="T18" fmla="*/ 30 w 91"/>
                    <a:gd name="T19" fmla="*/ 60 h 91"/>
                    <a:gd name="T20" fmla="*/ 30 w 91"/>
                    <a:gd name="T21" fmla="*/ 12 h 91"/>
                    <a:gd name="T22" fmla="*/ 48 w 91"/>
                    <a:gd name="T23" fmla="*/ 30 h 91"/>
                    <a:gd name="T24" fmla="*/ 30 w 91"/>
                    <a:gd name="T25" fmla="*/ 48 h 91"/>
                    <a:gd name="T26" fmla="*/ 12 w 91"/>
                    <a:gd name="T27" fmla="*/ 30 h 91"/>
                    <a:gd name="T28" fmla="*/ 30 w 91"/>
                    <a:gd name="T29" fmla="*/ 1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91">
                      <a:moveTo>
                        <a:pt x="30" y="60"/>
                      </a:moveTo>
                      <a:cubicBezTo>
                        <a:pt x="36" y="60"/>
                        <a:pt x="42" y="58"/>
                        <a:pt x="46" y="55"/>
                      </a:cubicBezTo>
                      <a:cubicBezTo>
                        <a:pt x="80" y="88"/>
                        <a:pt x="80" y="88"/>
                        <a:pt x="80" y="88"/>
                      </a:cubicBezTo>
                      <a:cubicBezTo>
                        <a:pt x="82" y="91"/>
                        <a:pt x="86" y="91"/>
                        <a:pt x="88" y="88"/>
                      </a:cubicBezTo>
                      <a:cubicBezTo>
                        <a:pt x="91" y="86"/>
                        <a:pt x="91" y="82"/>
                        <a:pt x="88" y="80"/>
                      </a:cubicBezTo>
                      <a:cubicBezTo>
                        <a:pt x="55" y="47"/>
                        <a:pt x="55" y="47"/>
                        <a:pt x="55" y="47"/>
                      </a:cubicBezTo>
                      <a:cubicBezTo>
                        <a:pt x="58" y="42"/>
                        <a:pt x="60" y="36"/>
                        <a:pt x="60" y="30"/>
                      </a:cubicBezTo>
                      <a:cubicBezTo>
                        <a:pt x="60" y="13"/>
                        <a:pt x="47" y="0"/>
                        <a:pt x="30" y="0"/>
                      </a:cubicBezTo>
                      <a:cubicBezTo>
                        <a:pt x="14" y="0"/>
                        <a:pt x="0" y="13"/>
                        <a:pt x="0" y="30"/>
                      </a:cubicBezTo>
                      <a:cubicBezTo>
                        <a:pt x="0" y="46"/>
                        <a:pt x="14" y="60"/>
                        <a:pt x="30" y="60"/>
                      </a:cubicBezTo>
                      <a:close/>
                      <a:moveTo>
                        <a:pt x="30" y="12"/>
                      </a:moveTo>
                      <a:cubicBezTo>
                        <a:pt x="40" y="12"/>
                        <a:pt x="48" y="20"/>
                        <a:pt x="48" y="30"/>
                      </a:cubicBezTo>
                      <a:cubicBezTo>
                        <a:pt x="48" y="40"/>
                        <a:pt x="40" y="48"/>
                        <a:pt x="30" y="48"/>
                      </a:cubicBezTo>
                      <a:cubicBezTo>
                        <a:pt x="20" y="48"/>
                        <a:pt x="12" y="40"/>
                        <a:pt x="12" y="30"/>
                      </a:cubicBezTo>
                      <a:cubicBezTo>
                        <a:pt x="12" y="20"/>
                        <a:pt x="2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201" name="Freeform 70">
                  <a:extLst>
                    <a:ext uri="{FF2B5EF4-FFF2-40B4-BE49-F238E27FC236}">
                      <a16:creationId xmlns:a16="http://schemas.microsoft.com/office/drawing/2014/main" id="{27F9C951-34E7-499C-AA07-D3BADD54715A}"/>
                    </a:ext>
                  </a:extLst>
                </p:cNvPr>
                <p:cNvSpPr>
                  <a:spLocks noEditPoints="1"/>
                </p:cNvSpPr>
                <p:nvPr/>
              </p:nvSpPr>
              <p:spPr bwMode="auto">
                <a:xfrm>
                  <a:off x="1359" y="2012"/>
                  <a:ext cx="117" cy="117"/>
                </a:xfrm>
                <a:custGeom>
                  <a:avLst/>
                  <a:gdLst>
                    <a:gd name="T0" fmla="*/ 68 w 79"/>
                    <a:gd name="T1" fmla="*/ 2 h 79"/>
                    <a:gd name="T2" fmla="*/ 47 w 79"/>
                    <a:gd name="T3" fmla="*/ 24 h 79"/>
                    <a:gd name="T4" fmla="*/ 30 w 79"/>
                    <a:gd name="T5" fmla="*/ 19 h 79"/>
                    <a:gd name="T6" fmla="*/ 0 w 79"/>
                    <a:gd name="T7" fmla="*/ 49 h 79"/>
                    <a:gd name="T8" fmla="*/ 30 w 79"/>
                    <a:gd name="T9" fmla="*/ 79 h 79"/>
                    <a:gd name="T10" fmla="*/ 60 w 79"/>
                    <a:gd name="T11" fmla="*/ 49 h 79"/>
                    <a:gd name="T12" fmla="*/ 55 w 79"/>
                    <a:gd name="T13" fmla="*/ 33 h 79"/>
                    <a:gd name="T14" fmla="*/ 77 w 79"/>
                    <a:gd name="T15" fmla="*/ 11 h 79"/>
                    <a:gd name="T16" fmla="*/ 77 w 79"/>
                    <a:gd name="T17" fmla="*/ 2 h 79"/>
                    <a:gd name="T18" fmla="*/ 68 w 79"/>
                    <a:gd name="T19" fmla="*/ 2 h 79"/>
                    <a:gd name="T20" fmla="*/ 30 w 79"/>
                    <a:gd name="T21" fmla="*/ 67 h 79"/>
                    <a:gd name="T22" fmla="*/ 12 w 79"/>
                    <a:gd name="T23" fmla="*/ 49 h 79"/>
                    <a:gd name="T24" fmla="*/ 30 w 79"/>
                    <a:gd name="T25" fmla="*/ 31 h 79"/>
                    <a:gd name="T26" fmla="*/ 48 w 79"/>
                    <a:gd name="T27" fmla="*/ 49 h 79"/>
                    <a:gd name="T28" fmla="*/ 30 w 79"/>
                    <a:gd name="T29" fmla="*/ 6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79">
                      <a:moveTo>
                        <a:pt x="68" y="2"/>
                      </a:moveTo>
                      <a:cubicBezTo>
                        <a:pt x="47" y="24"/>
                        <a:pt x="47" y="24"/>
                        <a:pt x="47" y="24"/>
                      </a:cubicBezTo>
                      <a:cubicBezTo>
                        <a:pt x="42" y="21"/>
                        <a:pt x="36" y="19"/>
                        <a:pt x="30" y="19"/>
                      </a:cubicBezTo>
                      <a:cubicBezTo>
                        <a:pt x="14" y="19"/>
                        <a:pt x="0" y="32"/>
                        <a:pt x="0" y="49"/>
                      </a:cubicBezTo>
                      <a:cubicBezTo>
                        <a:pt x="0" y="65"/>
                        <a:pt x="14" y="79"/>
                        <a:pt x="30" y="79"/>
                      </a:cubicBezTo>
                      <a:cubicBezTo>
                        <a:pt x="47" y="79"/>
                        <a:pt x="60" y="65"/>
                        <a:pt x="60" y="49"/>
                      </a:cubicBezTo>
                      <a:cubicBezTo>
                        <a:pt x="60" y="43"/>
                        <a:pt x="58" y="37"/>
                        <a:pt x="55" y="33"/>
                      </a:cubicBezTo>
                      <a:cubicBezTo>
                        <a:pt x="77" y="11"/>
                        <a:pt x="77" y="11"/>
                        <a:pt x="77" y="11"/>
                      </a:cubicBezTo>
                      <a:cubicBezTo>
                        <a:pt x="79" y="9"/>
                        <a:pt x="79" y="5"/>
                        <a:pt x="77" y="2"/>
                      </a:cubicBezTo>
                      <a:cubicBezTo>
                        <a:pt x="74" y="0"/>
                        <a:pt x="71" y="0"/>
                        <a:pt x="68" y="2"/>
                      </a:cubicBezTo>
                      <a:close/>
                      <a:moveTo>
                        <a:pt x="30" y="67"/>
                      </a:moveTo>
                      <a:cubicBezTo>
                        <a:pt x="20" y="67"/>
                        <a:pt x="12" y="59"/>
                        <a:pt x="12" y="49"/>
                      </a:cubicBezTo>
                      <a:cubicBezTo>
                        <a:pt x="12" y="39"/>
                        <a:pt x="20" y="31"/>
                        <a:pt x="30" y="31"/>
                      </a:cubicBezTo>
                      <a:cubicBezTo>
                        <a:pt x="40" y="31"/>
                        <a:pt x="48" y="39"/>
                        <a:pt x="48" y="49"/>
                      </a:cubicBezTo>
                      <a:cubicBezTo>
                        <a:pt x="48" y="59"/>
                        <a:pt x="40" y="67"/>
                        <a:pt x="30"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202" name="Freeform 71">
                  <a:extLst>
                    <a:ext uri="{FF2B5EF4-FFF2-40B4-BE49-F238E27FC236}">
                      <a16:creationId xmlns:a16="http://schemas.microsoft.com/office/drawing/2014/main" id="{67ACA1EC-735D-4DB3-9CD3-9608AF2C6D89}"/>
                    </a:ext>
                  </a:extLst>
                </p:cNvPr>
                <p:cNvSpPr>
                  <a:spLocks noEditPoints="1"/>
                </p:cNvSpPr>
                <p:nvPr/>
              </p:nvSpPr>
              <p:spPr bwMode="auto">
                <a:xfrm>
                  <a:off x="1654" y="1898"/>
                  <a:ext cx="130" cy="89"/>
                </a:xfrm>
                <a:custGeom>
                  <a:avLst/>
                  <a:gdLst>
                    <a:gd name="T0" fmla="*/ 58 w 88"/>
                    <a:gd name="T1" fmla="*/ 60 h 60"/>
                    <a:gd name="T2" fmla="*/ 88 w 88"/>
                    <a:gd name="T3" fmla="*/ 30 h 60"/>
                    <a:gd name="T4" fmla="*/ 58 w 88"/>
                    <a:gd name="T5" fmla="*/ 0 h 60"/>
                    <a:gd name="T6" fmla="*/ 28 w 88"/>
                    <a:gd name="T7" fmla="*/ 24 h 60"/>
                    <a:gd name="T8" fmla="*/ 6 w 88"/>
                    <a:gd name="T9" fmla="*/ 24 h 60"/>
                    <a:gd name="T10" fmla="*/ 0 w 88"/>
                    <a:gd name="T11" fmla="*/ 30 h 60"/>
                    <a:gd name="T12" fmla="*/ 6 w 88"/>
                    <a:gd name="T13" fmla="*/ 36 h 60"/>
                    <a:gd name="T14" fmla="*/ 28 w 88"/>
                    <a:gd name="T15" fmla="*/ 36 h 60"/>
                    <a:gd name="T16" fmla="*/ 58 w 88"/>
                    <a:gd name="T17" fmla="*/ 60 h 60"/>
                    <a:gd name="T18" fmla="*/ 58 w 88"/>
                    <a:gd name="T19" fmla="*/ 12 h 60"/>
                    <a:gd name="T20" fmla="*/ 76 w 88"/>
                    <a:gd name="T21" fmla="*/ 30 h 60"/>
                    <a:gd name="T22" fmla="*/ 58 w 88"/>
                    <a:gd name="T23" fmla="*/ 48 h 60"/>
                    <a:gd name="T24" fmla="*/ 40 w 88"/>
                    <a:gd name="T25" fmla="*/ 30 h 60"/>
                    <a:gd name="T26" fmla="*/ 40 w 88"/>
                    <a:gd name="T27" fmla="*/ 30 h 60"/>
                    <a:gd name="T28" fmla="*/ 40 w 88"/>
                    <a:gd name="T29" fmla="*/ 30 h 60"/>
                    <a:gd name="T30" fmla="*/ 58 w 88"/>
                    <a:gd name="T31"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60">
                      <a:moveTo>
                        <a:pt x="58" y="60"/>
                      </a:moveTo>
                      <a:cubicBezTo>
                        <a:pt x="74" y="60"/>
                        <a:pt x="88" y="46"/>
                        <a:pt x="88" y="30"/>
                      </a:cubicBezTo>
                      <a:cubicBezTo>
                        <a:pt x="88" y="13"/>
                        <a:pt x="74" y="0"/>
                        <a:pt x="58" y="0"/>
                      </a:cubicBezTo>
                      <a:cubicBezTo>
                        <a:pt x="43" y="0"/>
                        <a:pt x="31" y="10"/>
                        <a:pt x="28" y="24"/>
                      </a:cubicBezTo>
                      <a:cubicBezTo>
                        <a:pt x="6" y="24"/>
                        <a:pt x="6" y="24"/>
                        <a:pt x="6" y="24"/>
                      </a:cubicBezTo>
                      <a:cubicBezTo>
                        <a:pt x="2" y="24"/>
                        <a:pt x="0" y="26"/>
                        <a:pt x="0" y="30"/>
                      </a:cubicBezTo>
                      <a:cubicBezTo>
                        <a:pt x="0" y="33"/>
                        <a:pt x="2" y="36"/>
                        <a:pt x="6" y="36"/>
                      </a:cubicBezTo>
                      <a:cubicBezTo>
                        <a:pt x="28" y="36"/>
                        <a:pt x="28" y="36"/>
                        <a:pt x="28" y="36"/>
                      </a:cubicBezTo>
                      <a:cubicBezTo>
                        <a:pt x="31" y="49"/>
                        <a:pt x="43" y="60"/>
                        <a:pt x="58" y="60"/>
                      </a:cubicBezTo>
                      <a:close/>
                      <a:moveTo>
                        <a:pt x="58" y="12"/>
                      </a:moveTo>
                      <a:cubicBezTo>
                        <a:pt x="68" y="12"/>
                        <a:pt x="76" y="20"/>
                        <a:pt x="76" y="30"/>
                      </a:cubicBezTo>
                      <a:cubicBezTo>
                        <a:pt x="76" y="40"/>
                        <a:pt x="68" y="48"/>
                        <a:pt x="58" y="48"/>
                      </a:cubicBezTo>
                      <a:cubicBezTo>
                        <a:pt x="48" y="48"/>
                        <a:pt x="40" y="40"/>
                        <a:pt x="40" y="30"/>
                      </a:cubicBezTo>
                      <a:cubicBezTo>
                        <a:pt x="40" y="30"/>
                        <a:pt x="40" y="30"/>
                        <a:pt x="40" y="30"/>
                      </a:cubicBezTo>
                      <a:cubicBezTo>
                        <a:pt x="40" y="30"/>
                        <a:pt x="40" y="30"/>
                        <a:pt x="40" y="30"/>
                      </a:cubicBezTo>
                      <a:cubicBezTo>
                        <a:pt x="40" y="20"/>
                        <a:pt x="48" y="12"/>
                        <a:pt x="5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203" name="Freeform 72">
                  <a:extLst>
                    <a:ext uri="{FF2B5EF4-FFF2-40B4-BE49-F238E27FC236}">
                      <a16:creationId xmlns:a16="http://schemas.microsoft.com/office/drawing/2014/main" id="{A0B7B5AE-2C94-430E-8D10-95CB4ABB6F03}"/>
                    </a:ext>
                  </a:extLst>
                </p:cNvPr>
                <p:cNvSpPr>
                  <a:spLocks noEditPoints="1"/>
                </p:cNvSpPr>
                <p:nvPr/>
              </p:nvSpPr>
              <p:spPr bwMode="auto">
                <a:xfrm>
                  <a:off x="1359" y="1898"/>
                  <a:ext cx="131" cy="89"/>
                </a:xfrm>
                <a:custGeom>
                  <a:avLst/>
                  <a:gdLst>
                    <a:gd name="T0" fmla="*/ 30 w 89"/>
                    <a:gd name="T1" fmla="*/ 60 h 60"/>
                    <a:gd name="T2" fmla="*/ 60 w 89"/>
                    <a:gd name="T3" fmla="*/ 36 h 60"/>
                    <a:gd name="T4" fmla="*/ 83 w 89"/>
                    <a:gd name="T5" fmla="*/ 36 h 60"/>
                    <a:gd name="T6" fmla="*/ 89 w 89"/>
                    <a:gd name="T7" fmla="*/ 30 h 60"/>
                    <a:gd name="T8" fmla="*/ 83 w 89"/>
                    <a:gd name="T9" fmla="*/ 24 h 60"/>
                    <a:gd name="T10" fmla="*/ 60 w 89"/>
                    <a:gd name="T11" fmla="*/ 24 h 60"/>
                    <a:gd name="T12" fmla="*/ 30 w 89"/>
                    <a:gd name="T13" fmla="*/ 0 h 60"/>
                    <a:gd name="T14" fmla="*/ 0 w 89"/>
                    <a:gd name="T15" fmla="*/ 30 h 60"/>
                    <a:gd name="T16" fmla="*/ 30 w 89"/>
                    <a:gd name="T17" fmla="*/ 60 h 60"/>
                    <a:gd name="T18" fmla="*/ 30 w 89"/>
                    <a:gd name="T19" fmla="*/ 12 h 60"/>
                    <a:gd name="T20" fmla="*/ 48 w 89"/>
                    <a:gd name="T21" fmla="*/ 30 h 60"/>
                    <a:gd name="T22" fmla="*/ 30 w 89"/>
                    <a:gd name="T23" fmla="*/ 48 h 60"/>
                    <a:gd name="T24" fmla="*/ 12 w 89"/>
                    <a:gd name="T25" fmla="*/ 30 h 60"/>
                    <a:gd name="T26" fmla="*/ 30 w 89"/>
                    <a:gd name="T27"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 h="60">
                      <a:moveTo>
                        <a:pt x="30" y="60"/>
                      </a:moveTo>
                      <a:cubicBezTo>
                        <a:pt x="45" y="60"/>
                        <a:pt x="57" y="49"/>
                        <a:pt x="60" y="36"/>
                      </a:cubicBezTo>
                      <a:cubicBezTo>
                        <a:pt x="83" y="36"/>
                        <a:pt x="83" y="36"/>
                        <a:pt x="83" y="36"/>
                      </a:cubicBezTo>
                      <a:cubicBezTo>
                        <a:pt x="86" y="36"/>
                        <a:pt x="89" y="33"/>
                        <a:pt x="89" y="30"/>
                      </a:cubicBezTo>
                      <a:cubicBezTo>
                        <a:pt x="89" y="26"/>
                        <a:pt x="86" y="24"/>
                        <a:pt x="83" y="24"/>
                      </a:cubicBezTo>
                      <a:cubicBezTo>
                        <a:pt x="60" y="24"/>
                        <a:pt x="60" y="24"/>
                        <a:pt x="60" y="24"/>
                      </a:cubicBezTo>
                      <a:cubicBezTo>
                        <a:pt x="57" y="10"/>
                        <a:pt x="45" y="0"/>
                        <a:pt x="30" y="0"/>
                      </a:cubicBezTo>
                      <a:cubicBezTo>
                        <a:pt x="14" y="0"/>
                        <a:pt x="0" y="13"/>
                        <a:pt x="0" y="30"/>
                      </a:cubicBezTo>
                      <a:cubicBezTo>
                        <a:pt x="0" y="46"/>
                        <a:pt x="14" y="60"/>
                        <a:pt x="30" y="60"/>
                      </a:cubicBezTo>
                      <a:close/>
                      <a:moveTo>
                        <a:pt x="30" y="12"/>
                      </a:moveTo>
                      <a:cubicBezTo>
                        <a:pt x="40" y="12"/>
                        <a:pt x="48" y="20"/>
                        <a:pt x="48" y="30"/>
                      </a:cubicBezTo>
                      <a:cubicBezTo>
                        <a:pt x="48" y="40"/>
                        <a:pt x="40" y="48"/>
                        <a:pt x="30" y="48"/>
                      </a:cubicBezTo>
                      <a:cubicBezTo>
                        <a:pt x="20" y="48"/>
                        <a:pt x="12" y="40"/>
                        <a:pt x="12" y="30"/>
                      </a:cubicBezTo>
                      <a:cubicBezTo>
                        <a:pt x="12" y="20"/>
                        <a:pt x="2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grpSp>
        </p:grpSp>
        <p:sp>
          <p:nvSpPr>
            <p:cNvPr id="108" name="Freeform 8">
              <a:extLst>
                <a:ext uri="{FF2B5EF4-FFF2-40B4-BE49-F238E27FC236}">
                  <a16:creationId xmlns:a16="http://schemas.microsoft.com/office/drawing/2014/main" id="{4A3FD50C-244B-4521-970D-DB3DEA0D2F4A}"/>
                </a:ext>
              </a:extLst>
            </p:cNvPr>
            <p:cNvSpPr>
              <a:spLocks/>
            </p:cNvSpPr>
            <p:nvPr/>
          </p:nvSpPr>
          <p:spPr bwMode="auto">
            <a:xfrm rot="2576790">
              <a:off x="6904017" y="3415527"/>
              <a:ext cx="1076626" cy="461646"/>
            </a:xfrm>
            <a:custGeom>
              <a:avLst/>
              <a:gdLst>
                <a:gd name="T0" fmla="*/ 0 w 948"/>
                <a:gd name="T1" fmla="*/ 287 h 406"/>
                <a:gd name="T2" fmla="*/ 704 w 948"/>
                <a:gd name="T3" fmla="*/ 359 h 406"/>
                <a:gd name="T4" fmla="*/ 791 w 948"/>
                <a:gd name="T5" fmla="*/ 103 h 406"/>
                <a:gd name="T6" fmla="*/ 612 w 948"/>
                <a:gd name="T7" fmla="*/ 3 h 406"/>
                <a:gd name="T8" fmla="*/ 0 w 948"/>
                <a:gd name="T9" fmla="*/ 287 h 406"/>
              </a:gdLst>
              <a:ahLst/>
              <a:cxnLst>
                <a:cxn ang="0">
                  <a:pos x="T0" y="T1"/>
                </a:cxn>
                <a:cxn ang="0">
                  <a:pos x="T2" y="T3"/>
                </a:cxn>
                <a:cxn ang="0">
                  <a:pos x="T4" y="T5"/>
                </a:cxn>
                <a:cxn ang="0">
                  <a:pos x="T6" y="T7"/>
                </a:cxn>
                <a:cxn ang="0">
                  <a:pos x="T8" y="T9"/>
                </a:cxn>
              </a:cxnLst>
              <a:rect l="0" t="0" r="r" b="b"/>
              <a:pathLst>
                <a:path w="948" h="406">
                  <a:moveTo>
                    <a:pt x="0" y="287"/>
                  </a:moveTo>
                  <a:cubicBezTo>
                    <a:pt x="218" y="353"/>
                    <a:pt x="466" y="406"/>
                    <a:pt x="704" y="359"/>
                  </a:cubicBezTo>
                  <a:cubicBezTo>
                    <a:pt x="843" y="331"/>
                    <a:pt x="948" y="247"/>
                    <a:pt x="791" y="103"/>
                  </a:cubicBezTo>
                  <a:cubicBezTo>
                    <a:pt x="742" y="58"/>
                    <a:pt x="676" y="0"/>
                    <a:pt x="612" y="3"/>
                  </a:cubicBezTo>
                  <a:cubicBezTo>
                    <a:pt x="371" y="16"/>
                    <a:pt x="256" y="11"/>
                    <a:pt x="0" y="287"/>
                  </a:cubicBezTo>
                  <a:close/>
                </a:path>
              </a:pathLst>
            </a:custGeom>
            <a:solidFill>
              <a:schemeClr val="accent1"/>
            </a:solidFill>
            <a:ln w="12" cap="flat">
              <a:noFill/>
              <a:prstDash val="solid"/>
              <a:miter lim="800000"/>
              <a:headEnd/>
              <a:tailEnd/>
            </a:ln>
          </p:spPr>
          <p:txBody>
            <a:bodyPr vert="horz" wrap="square" lIns="48768" tIns="24384" rIns="48768" bIns="24384" numCol="1" anchor="t" anchorCtr="0" compatLnSpc="1">
              <a:prstTxWarp prst="textNoShape">
                <a:avLst/>
              </a:prstTxWarp>
            </a:bodyPr>
            <a:lstStyle/>
            <a:p>
              <a:pPr marL="0" marR="0" lvl="0" indent="0" defTabSz="487650" eaLnBrk="1" fontAlgn="auto" latinLnBrk="0" hangingPunct="1">
                <a:lnSpc>
                  <a:spcPct val="100000"/>
                </a:lnSpc>
                <a:spcBef>
                  <a:spcPts val="0"/>
                </a:spcBef>
                <a:spcAft>
                  <a:spcPts val="0"/>
                </a:spcAft>
                <a:buClrTx/>
                <a:buSzTx/>
                <a:buFontTx/>
                <a:buNone/>
                <a:tabLst/>
                <a:defRPr/>
              </a:pPr>
              <a:endParaRPr kumimoji="0" lang="en-US" sz="960" b="0" i="0" u="none" strike="noStrike" kern="0" cap="none" spc="0" normalizeH="0" baseline="0" noProof="0" dirty="0">
                <a:ln>
                  <a:noFill/>
                </a:ln>
                <a:solidFill>
                  <a:sysClr val="windowText" lastClr="000000"/>
                </a:solidFill>
                <a:effectLst/>
                <a:uLnTx/>
                <a:uFillTx/>
                <a:latin typeface="+mj-lt"/>
              </a:endParaRPr>
            </a:p>
          </p:txBody>
        </p:sp>
      </p:grpSp>
      <p:cxnSp>
        <p:nvCxnSpPr>
          <p:cNvPr id="106" name="Straight Connector 105">
            <a:extLst>
              <a:ext uri="{FF2B5EF4-FFF2-40B4-BE49-F238E27FC236}">
                <a16:creationId xmlns:a16="http://schemas.microsoft.com/office/drawing/2014/main" id="{0E9ADA16-B7D7-4818-ADD9-7E6C1D75D9B8}"/>
              </a:ext>
              <a:ext uri="{C183D7F6-B498-43B3-948B-1728B52AA6E4}">
                <adec:decorative xmlns:adec="http://schemas.microsoft.com/office/drawing/2017/decorative" val="1"/>
              </a:ext>
            </a:extLst>
          </p:cNvPr>
          <p:cNvCxnSpPr>
            <a:cxnSpLocks/>
            <a:endCxn id="154" idx="1"/>
          </p:cNvCxnSpPr>
          <p:nvPr/>
        </p:nvCxnSpPr>
        <p:spPr>
          <a:xfrm flipV="1">
            <a:off x="6725422" y="1582555"/>
            <a:ext cx="1708154" cy="1244920"/>
          </a:xfrm>
          <a:prstGeom prst="line">
            <a:avLst/>
          </a:prstGeom>
          <a:noFill/>
          <a:ln w="9525" cap="flat" cmpd="sng" algn="ctr">
            <a:solidFill>
              <a:schemeClr val="accent1"/>
            </a:solidFill>
            <a:prstDash val="dash"/>
          </a:ln>
          <a:effectLst/>
        </p:spPr>
      </p:cxnSp>
      <p:grpSp>
        <p:nvGrpSpPr>
          <p:cNvPr id="8" name="Group 7" descr="Structure">
            <a:extLst>
              <a:ext uri="{FF2B5EF4-FFF2-40B4-BE49-F238E27FC236}">
                <a16:creationId xmlns:a16="http://schemas.microsoft.com/office/drawing/2014/main" id="{30F2E3EF-FFA1-4B93-82AB-A14B08031DC1}"/>
              </a:ext>
            </a:extLst>
          </p:cNvPr>
          <p:cNvGrpSpPr/>
          <p:nvPr/>
        </p:nvGrpSpPr>
        <p:grpSpPr>
          <a:xfrm>
            <a:off x="8327029" y="381000"/>
            <a:ext cx="3058547" cy="2403109"/>
            <a:chOff x="8327029" y="381000"/>
            <a:chExt cx="3058547" cy="2403109"/>
          </a:xfrm>
        </p:grpSpPr>
        <p:grpSp>
          <p:nvGrpSpPr>
            <p:cNvPr id="153" name="Group 152">
              <a:extLst>
                <a:ext uri="{FF2B5EF4-FFF2-40B4-BE49-F238E27FC236}">
                  <a16:creationId xmlns:a16="http://schemas.microsoft.com/office/drawing/2014/main" id="{82AA4057-6B22-4368-A4AB-36B1B015E903}"/>
                </a:ext>
              </a:extLst>
            </p:cNvPr>
            <p:cNvGrpSpPr/>
            <p:nvPr/>
          </p:nvGrpSpPr>
          <p:grpSpPr>
            <a:xfrm>
              <a:off x="8433576" y="381000"/>
              <a:ext cx="2952000" cy="2403109"/>
              <a:chOff x="355599" y="1792265"/>
              <a:chExt cx="2332994" cy="2626630"/>
            </a:xfrm>
            <a:solidFill>
              <a:schemeClr val="accent1">
                <a:lumMod val="20000"/>
                <a:lumOff val="80000"/>
              </a:schemeClr>
            </a:solidFill>
          </p:grpSpPr>
          <p:sp>
            <p:nvSpPr>
              <p:cNvPr id="154" name="Rectangle 153">
                <a:extLst>
                  <a:ext uri="{FF2B5EF4-FFF2-40B4-BE49-F238E27FC236}">
                    <a16:creationId xmlns:a16="http://schemas.microsoft.com/office/drawing/2014/main" id="{08036F06-D746-4249-BF5D-F1961C02389E}"/>
                  </a:ext>
                </a:extLst>
              </p:cNvPr>
              <p:cNvSpPr/>
              <p:nvPr/>
            </p:nvSpPr>
            <p:spPr>
              <a:xfrm>
                <a:off x="355599" y="1792265"/>
                <a:ext cx="2332994" cy="2626630"/>
              </a:xfrm>
              <a:prstGeom prst="rect">
                <a:avLst/>
              </a:prstGeom>
              <a:grp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prstClr val="white"/>
                  </a:solidFill>
                  <a:effectLst/>
                  <a:uLnTx/>
                  <a:uFillTx/>
                  <a:latin typeface="+mj-lt"/>
                  <a:ea typeface="+mn-ea"/>
                  <a:cs typeface="+mn-cs"/>
                </a:endParaRPr>
              </a:p>
            </p:txBody>
          </p:sp>
          <p:sp>
            <p:nvSpPr>
              <p:cNvPr id="155" name="TextBox 154">
                <a:extLst>
                  <a:ext uri="{FF2B5EF4-FFF2-40B4-BE49-F238E27FC236}">
                    <a16:creationId xmlns:a16="http://schemas.microsoft.com/office/drawing/2014/main" id="{6FA6E802-7CD8-4351-8D7F-3C77A13F5576}"/>
                  </a:ext>
                </a:extLst>
              </p:cNvPr>
              <p:cNvSpPr txBox="1"/>
              <p:nvPr/>
            </p:nvSpPr>
            <p:spPr>
              <a:xfrm>
                <a:off x="355601" y="1860194"/>
                <a:ext cx="2332992" cy="345511"/>
              </a:xfrm>
              <a:prstGeom prst="rect">
                <a:avLst/>
              </a:prstGeom>
              <a:grpFill/>
            </p:spPr>
            <p:txBody>
              <a:bodyPr vert="horz"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1" i="0" u="none" strike="noStrike" kern="0" cap="none" spc="300" normalizeH="0" baseline="0" noProof="0" dirty="0">
                    <a:ln>
                      <a:noFill/>
                    </a:ln>
                    <a:solidFill>
                      <a:schemeClr val="accent1"/>
                    </a:solidFill>
                    <a:effectLst/>
                    <a:uLnTx/>
                    <a:uFillTx/>
                    <a:latin typeface="+mj-lt"/>
                  </a:rPr>
                  <a:t>Structure</a:t>
                </a:r>
              </a:p>
            </p:txBody>
          </p:sp>
        </p:grpSp>
        <p:grpSp>
          <p:nvGrpSpPr>
            <p:cNvPr id="156" name="Group 155">
              <a:extLst>
                <a:ext uri="{FF2B5EF4-FFF2-40B4-BE49-F238E27FC236}">
                  <a16:creationId xmlns:a16="http://schemas.microsoft.com/office/drawing/2014/main" id="{F6B16D9A-87D2-411D-BA79-C81B87482CF2}"/>
                </a:ext>
              </a:extLst>
            </p:cNvPr>
            <p:cNvGrpSpPr/>
            <p:nvPr/>
          </p:nvGrpSpPr>
          <p:grpSpPr>
            <a:xfrm>
              <a:off x="8327029" y="744567"/>
              <a:ext cx="2882330" cy="1815280"/>
              <a:chOff x="8840957" y="903058"/>
              <a:chExt cx="2882330" cy="1815280"/>
            </a:xfrm>
            <a:solidFill>
              <a:schemeClr val="accent1"/>
            </a:solidFill>
          </p:grpSpPr>
          <p:grpSp>
            <p:nvGrpSpPr>
              <p:cNvPr id="157" name="Group 156">
                <a:extLst>
                  <a:ext uri="{FF2B5EF4-FFF2-40B4-BE49-F238E27FC236}">
                    <a16:creationId xmlns:a16="http://schemas.microsoft.com/office/drawing/2014/main" id="{CBE244B6-BAAA-44A4-8D35-9C72A62F1462}"/>
                  </a:ext>
                </a:extLst>
              </p:cNvPr>
              <p:cNvGrpSpPr/>
              <p:nvPr/>
            </p:nvGrpSpPr>
            <p:grpSpPr>
              <a:xfrm>
                <a:off x="8840957" y="903058"/>
                <a:ext cx="2880000" cy="216055"/>
                <a:chOff x="440140" y="3072451"/>
                <a:chExt cx="2617973" cy="216055"/>
              </a:xfrm>
              <a:grpFill/>
            </p:grpSpPr>
            <p:sp>
              <p:nvSpPr>
                <p:cNvPr id="170" name="Right Triangle 169">
                  <a:extLst>
                    <a:ext uri="{FF2B5EF4-FFF2-40B4-BE49-F238E27FC236}">
                      <a16:creationId xmlns:a16="http://schemas.microsoft.com/office/drawing/2014/main" id="{29606062-A5D7-448E-AA1C-5788D9335B1B}"/>
                    </a:ext>
                  </a:extLst>
                </p:cNvPr>
                <p:cNvSpPr/>
                <p:nvPr/>
              </p:nvSpPr>
              <p:spPr>
                <a:xfrm rot="16200000">
                  <a:off x="470326" y="3042265"/>
                  <a:ext cx="36000" cy="96372"/>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71" name="Rectangle 170">
                  <a:extLst>
                    <a:ext uri="{FF2B5EF4-FFF2-40B4-BE49-F238E27FC236}">
                      <a16:creationId xmlns:a16="http://schemas.microsoft.com/office/drawing/2014/main" id="{B6F39CF9-72F8-45A3-9D0D-925550B362D3}"/>
                    </a:ext>
                  </a:extLst>
                </p:cNvPr>
                <p:cNvSpPr/>
                <p:nvPr/>
              </p:nvSpPr>
              <p:spPr>
                <a:xfrm>
                  <a:off x="440140" y="3108452"/>
                  <a:ext cx="2617973" cy="180054"/>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   A	</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 </a:t>
                  </a:r>
                  <a:r>
                    <a:rPr kumimoji="0" lang="de-DE" sz="1200" b="1" i="0" u="none" strike="noStrike" kern="0" cap="none" spc="0" normalizeH="0" baseline="0" noProof="0" dirty="0">
                      <a:ln>
                        <a:noFill/>
                      </a:ln>
                      <a:solidFill>
                        <a:prstClr val="white"/>
                      </a:solidFill>
                      <a:effectLst/>
                      <a:uLnTx/>
                      <a:uFillTx/>
                      <a:latin typeface="+mj-lt"/>
                      <a:ea typeface="+mn-ea"/>
                    </a:rPr>
                    <a:t>n/a</a:t>
                  </a:r>
                </a:p>
              </p:txBody>
            </p:sp>
          </p:grpSp>
          <p:grpSp>
            <p:nvGrpSpPr>
              <p:cNvPr id="158" name="Group 157">
                <a:extLst>
                  <a:ext uri="{FF2B5EF4-FFF2-40B4-BE49-F238E27FC236}">
                    <a16:creationId xmlns:a16="http://schemas.microsoft.com/office/drawing/2014/main" id="{BA3234DB-DF02-4246-BA1B-E7AA75E99586}"/>
                  </a:ext>
                </a:extLst>
              </p:cNvPr>
              <p:cNvGrpSpPr/>
              <p:nvPr/>
            </p:nvGrpSpPr>
            <p:grpSpPr>
              <a:xfrm>
                <a:off x="8840957" y="1243951"/>
                <a:ext cx="2880000" cy="396001"/>
                <a:chOff x="440140" y="3072451"/>
                <a:chExt cx="2617973" cy="396001"/>
              </a:xfrm>
              <a:grpFill/>
            </p:grpSpPr>
            <p:sp>
              <p:nvSpPr>
                <p:cNvPr id="168" name="Right Triangle 167">
                  <a:extLst>
                    <a:ext uri="{FF2B5EF4-FFF2-40B4-BE49-F238E27FC236}">
                      <a16:creationId xmlns:a16="http://schemas.microsoft.com/office/drawing/2014/main" id="{716974E1-EAC0-4134-B3B5-D77A6F257CB3}"/>
                    </a:ext>
                  </a:extLst>
                </p:cNvPr>
                <p:cNvSpPr/>
                <p:nvPr/>
              </p:nvSpPr>
              <p:spPr>
                <a:xfrm rot="16200000">
                  <a:off x="470326" y="3042265"/>
                  <a:ext cx="36000" cy="96372"/>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69" name="Rectangle 168">
                  <a:extLst>
                    <a:ext uri="{FF2B5EF4-FFF2-40B4-BE49-F238E27FC236}">
                      <a16:creationId xmlns:a16="http://schemas.microsoft.com/office/drawing/2014/main" id="{41862196-9832-4897-BBD3-3A5518D340B3}"/>
                    </a:ext>
                  </a:extLst>
                </p:cNvPr>
                <p:cNvSpPr/>
                <p:nvPr/>
              </p:nvSpPr>
              <p:spPr>
                <a:xfrm>
                  <a:off x="440140" y="3108452"/>
                  <a:ext cx="2617973" cy="360000"/>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 Name</a:t>
                  </a:r>
                  <a:endParaRPr kumimoji="0" lang="de-DE" sz="1200" b="1" i="0" u="none" strike="noStrike" kern="0" cap="none" spc="0" normalizeH="0" baseline="0" noProof="0" dirty="0">
                    <a:ln>
                      <a:noFill/>
                    </a:ln>
                    <a:solidFill>
                      <a:prstClr val="white"/>
                    </a:solidFill>
                    <a:effectLst/>
                    <a:uLnTx/>
                    <a:uFillTx/>
                    <a:latin typeface="+mj-lt"/>
                    <a:ea typeface="+mn-e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 →</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Name</a:t>
                  </a:r>
                  <a:endParaRPr kumimoji="0" lang="de-DE" sz="1200" b="1" i="0" u="none" strike="noStrike" kern="0" cap="none" spc="0" normalizeH="0" baseline="0" noProof="0" dirty="0">
                    <a:ln>
                      <a:noFill/>
                    </a:ln>
                    <a:solidFill>
                      <a:prstClr val="white"/>
                    </a:solidFill>
                    <a:effectLst/>
                    <a:uLnTx/>
                    <a:uFillTx/>
                    <a:latin typeface="+mj-lt"/>
                    <a:ea typeface="+mn-ea"/>
                  </a:endParaRPr>
                </a:p>
              </p:txBody>
            </p:sp>
          </p:grpSp>
          <p:grpSp>
            <p:nvGrpSpPr>
              <p:cNvPr id="159" name="Group 158">
                <a:extLst>
                  <a:ext uri="{FF2B5EF4-FFF2-40B4-BE49-F238E27FC236}">
                    <a16:creationId xmlns:a16="http://schemas.microsoft.com/office/drawing/2014/main" id="{F160DFC0-20BA-4D66-ACAF-26B0A8D0E6D8}"/>
                  </a:ext>
                </a:extLst>
              </p:cNvPr>
              <p:cNvGrpSpPr/>
              <p:nvPr/>
            </p:nvGrpSpPr>
            <p:grpSpPr>
              <a:xfrm>
                <a:off x="8843287" y="2502283"/>
                <a:ext cx="2880000" cy="216055"/>
                <a:chOff x="440140" y="3072451"/>
                <a:chExt cx="2617973" cy="216055"/>
              </a:xfrm>
              <a:grpFill/>
            </p:grpSpPr>
            <p:sp>
              <p:nvSpPr>
                <p:cNvPr id="166" name="Right Triangle 165">
                  <a:extLst>
                    <a:ext uri="{FF2B5EF4-FFF2-40B4-BE49-F238E27FC236}">
                      <a16:creationId xmlns:a16="http://schemas.microsoft.com/office/drawing/2014/main" id="{B504BB8A-C81D-428F-8D32-B078F6323297}"/>
                    </a:ext>
                  </a:extLst>
                </p:cNvPr>
                <p:cNvSpPr/>
                <p:nvPr/>
              </p:nvSpPr>
              <p:spPr>
                <a:xfrm rot="16200000">
                  <a:off x="470326" y="3042265"/>
                  <a:ext cx="36000" cy="96372"/>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67" name="Rectangle 166">
                  <a:extLst>
                    <a:ext uri="{FF2B5EF4-FFF2-40B4-BE49-F238E27FC236}">
                      <a16:creationId xmlns:a16="http://schemas.microsoft.com/office/drawing/2014/main" id="{CBFB6756-970D-46E6-8910-C016C872B7EE}"/>
                    </a:ext>
                  </a:extLst>
                </p:cNvPr>
                <p:cNvSpPr/>
                <p:nvPr/>
              </p:nvSpPr>
              <p:spPr>
                <a:xfrm>
                  <a:off x="440140" y="3108452"/>
                  <a:ext cx="2617973" cy="180054"/>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   D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a:t>
                  </a:r>
                  <a:r>
                    <a:rPr kumimoji="0" lang="de-DE" sz="1200" b="1" i="0" u="none" strike="noStrike" kern="0" cap="none" spc="0" normalizeH="0" baseline="0" noProof="0" dirty="0">
                      <a:ln>
                        <a:noFill/>
                      </a:ln>
                      <a:solidFill>
                        <a:prstClr val="white"/>
                      </a:solidFill>
                      <a:effectLst/>
                      <a:uLnTx/>
                      <a:uFillTx/>
                      <a:latin typeface="+mj-lt"/>
                      <a:ea typeface="+mn-ea"/>
                    </a:rPr>
                    <a:t> name</a:t>
                  </a:r>
                </a:p>
              </p:txBody>
            </p:sp>
          </p:grpSp>
          <p:grpSp>
            <p:nvGrpSpPr>
              <p:cNvPr id="160" name="Group 159">
                <a:extLst>
                  <a:ext uri="{FF2B5EF4-FFF2-40B4-BE49-F238E27FC236}">
                    <a16:creationId xmlns:a16="http://schemas.microsoft.com/office/drawing/2014/main" id="{2881A076-063A-4A0D-801D-1871E27FD837}"/>
                  </a:ext>
                </a:extLst>
              </p:cNvPr>
              <p:cNvGrpSpPr/>
              <p:nvPr/>
            </p:nvGrpSpPr>
            <p:grpSpPr>
              <a:xfrm>
                <a:off x="8840957" y="1764790"/>
                <a:ext cx="2880000" cy="576001"/>
                <a:chOff x="8584713" y="2634740"/>
                <a:chExt cx="2880000" cy="576001"/>
              </a:xfrm>
              <a:grpFill/>
            </p:grpSpPr>
            <p:grpSp>
              <p:nvGrpSpPr>
                <p:cNvPr id="162" name="Group 161">
                  <a:extLst>
                    <a:ext uri="{FF2B5EF4-FFF2-40B4-BE49-F238E27FC236}">
                      <a16:creationId xmlns:a16="http://schemas.microsoft.com/office/drawing/2014/main" id="{75E98598-A3B8-43B8-B9C3-BDC3D09B9632}"/>
                    </a:ext>
                  </a:extLst>
                </p:cNvPr>
                <p:cNvGrpSpPr/>
                <p:nvPr/>
              </p:nvGrpSpPr>
              <p:grpSpPr>
                <a:xfrm>
                  <a:off x="8584713" y="2634740"/>
                  <a:ext cx="2880000" cy="576001"/>
                  <a:chOff x="440140" y="3072451"/>
                  <a:chExt cx="2617973" cy="576001"/>
                </a:xfrm>
                <a:grpFill/>
              </p:grpSpPr>
              <p:sp>
                <p:nvSpPr>
                  <p:cNvPr id="164" name="Right Triangle 163">
                    <a:extLst>
                      <a:ext uri="{FF2B5EF4-FFF2-40B4-BE49-F238E27FC236}">
                        <a16:creationId xmlns:a16="http://schemas.microsoft.com/office/drawing/2014/main" id="{879504CC-75E9-4A8F-A5DF-8CA77623C75E}"/>
                      </a:ext>
                    </a:extLst>
                  </p:cNvPr>
                  <p:cNvSpPr/>
                  <p:nvPr/>
                </p:nvSpPr>
                <p:spPr>
                  <a:xfrm rot="16200000">
                    <a:off x="470326" y="3042265"/>
                    <a:ext cx="36000" cy="96372"/>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65" name="Rectangle 164">
                    <a:extLst>
                      <a:ext uri="{FF2B5EF4-FFF2-40B4-BE49-F238E27FC236}">
                        <a16:creationId xmlns:a16="http://schemas.microsoft.com/office/drawing/2014/main" id="{DCFFF447-111A-4359-B15C-5FB3BC3FF038}"/>
                      </a:ext>
                    </a:extLst>
                  </p:cNvPr>
                  <p:cNvSpPr/>
                  <p:nvPr/>
                </p:nvSpPr>
                <p:spPr>
                  <a:xfrm>
                    <a:off x="440140" y="3108452"/>
                    <a:ext cx="2617973" cy="540000"/>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Name</a:t>
                    </a:r>
                    <a:endParaRPr kumimoji="0" lang="de-DE" sz="1200" b="1" i="0" u="none" strike="noStrike" kern="0" cap="none" spc="0" normalizeH="0" baseline="0" noProof="0" dirty="0">
                      <a:ln>
                        <a:noFill/>
                      </a:ln>
                      <a:solidFill>
                        <a:prstClr val="white"/>
                      </a:solidFill>
                      <a:effectLst/>
                      <a:uLnTx/>
                      <a:uFillTx/>
                      <a:latin typeface="+mj-lt"/>
                      <a:ea typeface="+mn-e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Name</a:t>
                    </a:r>
                    <a:endParaRPr kumimoji="0" lang="de-DE" sz="1200" b="1" i="0" u="none" strike="noStrike" kern="0" cap="none" spc="0" normalizeH="0" baseline="0" noProof="0" dirty="0">
                      <a:ln>
                        <a:noFill/>
                      </a:ln>
                      <a:solidFill>
                        <a:prstClr val="white"/>
                      </a:solidFill>
                      <a:effectLst/>
                      <a:uLnTx/>
                      <a:uFillTx/>
                      <a:latin typeface="+mj-lt"/>
                      <a:ea typeface="+mn-e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Name</a:t>
                    </a:r>
                    <a:endParaRPr kumimoji="0" lang="de-DE" sz="1200" b="1" i="0" u="none" strike="noStrike" kern="0" cap="none" spc="0" normalizeH="0" baseline="0" noProof="0" dirty="0">
                      <a:ln>
                        <a:noFill/>
                      </a:ln>
                      <a:solidFill>
                        <a:prstClr val="white"/>
                      </a:solidFill>
                      <a:effectLst/>
                      <a:uLnTx/>
                      <a:uFillTx/>
                      <a:latin typeface="+mj-lt"/>
                      <a:ea typeface="+mn-ea"/>
                    </a:endParaRPr>
                  </a:p>
                </p:txBody>
              </p:sp>
            </p:grpSp>
            <p:sp>
              <p:nvSpPr>
                <p:cNvPr id="163" name="Rectangle 162">
                  <a:extLst>
                    <a:ext uri="{FF2B5EF4-FFF2-40B4-BE49-F238E27FC236}">
                      <a16:creationId xmlns:a16="http://schemas.microsoft.com/office/drawing/2014/main" id="{02D329B0-1942-4650-8A34-B26B7D9F0C3B}"/>
                    </a:ext>
                  </a:extLst>
                </p:cNvPr>
                <p:cNvSpPr/>
                <p:nvPr/>
              </p:nvSpPr>
              <p:spPr>
                <a:xfrm>
                  <a:off x="8710448" y="2813650"/>
                  <a:ext cx="298480" cy="276999"/>
                </a:xfrm>
                <a:prstGeom prst="rect">
                  <a:avLst/>
                </a:prstGeom>
                <a:grpFill/>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rPr>
                    <a:t>C</a:t>
                  </a:r>
                </a:p>
              </p:txBody>
            </p:sp>
          </p:grpSp>
          <p:sp>
            <p:nvSpPr>
              <p:cNvPr id="161" name="Rectangle 160">
                <a:extLst>
                  <a:ext uri="{FF2B5EF4-FFF2-40B4-BE49-F238E27FC236}">
                    <a16:creationId xmlns:a16="http://schemas.microsoft.com/office/drawing/2014/main" id="{B0967889-C0FF-4B5A-9D82-BD4248CF9987}"/>
                  </a:ext>
                </a:extLst>
              </p:cNvPr>
              <p:cNvSpPr/>
              <p:nvPr/>
            </p:nvSpPr>
            <p:spPr>
              <a:xfrm>
                <a:off x="8975698" y="1314855"/>
                <a:ext cx="287258" cy="276999"/>
              </a:xfrm>
              <a:prstGeom prst="rect">
                <a:avLst/>
              </a:prstGeom>
              <a:grpFill/>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rPr>
                  <a:t>B</a:t>
                </a:r>
              </a:p>
            </p:txBody>
          </p:sp>
        </p:grpSp>
      </p:grpSp>
      <p:cxnSp>
        <p:nvCxnSpPr>
          <p:cNvPr id="105" name="Straight Connector 104">
            <a:extLst>
              <a:ext uri="{FF2B5EF4-FFF2-40B4-BE49-F238E27FC236}">
                <a16:creationId xmlns:a16="http://schemas.microsoft.com/office/drawing/2014/main" id="{EE083FF9-595B-4D87-89D3-71515E9BB2A9}"/>
              </a:ext>
              <a:ext uri="{C183D7F6-B498-43B3-948B-1728B52AA6E4}">
                <adec:decorative xmlns:adec="http://schemas.microsoft.com/office/drawing/2017/decorative" val="1"/>
              </a:ext>
            </a:extLst>
          </p:cNvPr>
          <p:cNvCxnSpPr>
            <a:cxnSpLocks/>
          </p:cNvCxnSpPr>
          <p:nvPr/>
        </p:nvCxnSpPr>
        <p:spPr>
          <a:xfrm flipV="1">
            <a:off x="7513237" y="4704609"/>
            <a:ext cx="921837" cy="169567"/>
          </a:xfrm>
          <a:prstGeom prst="line">
            <a:avLst/>
          </a:prstGeom>
          <a:noFill/>
          <a:ln w="9525" cap="flat" cmpd="sng" algn="ctr">
            <a:solidFill>
              <a:schemeClr val="accent2"/>
            </a:solidFill>
            <a:prstDash val="dash"/>
          </a:ln>
          <a:effectLst/>
        </p:spPr>
      </p:cxnSp>
      <p:grpSp>
        <p:nvGrpSpPr>
          <p:cNvPr id="9" name="Group 8" descr="Type of Work">
            <a:extLst>
              <a:ext uri="{FF2B5EF4-FFF2-40B4-BE49-F238E27FC236}">
                <a16:creationId xmlns:a16="http://schemas.microsoft.com/office/drawing/2014/main" id="{474FEF23-B718-4941-8139-C3A023BA8494}"/>
              </a:ext>
            </a:extLst>
          </p:cNvPr>
          <p:cNvGrpSpPr/>
          <p:nvPr/>
        </p:nvGrpSpPr>
        <p:grpSpPr>
          <a:xfrm>
            <a:off x="8329176" y="3120877"/>
            <a:ext cx="3057898" cy="2846795"/>
            <a:chOff x="8329176" y="3120877"/>
            <a:chExt cx="3057898" cy="2846795"/>
          </a:xfrm>
        </p:grpSpPr>
        <p:sp>
          <p:nvSpPr>
            <p:cNvPr id="172" name="Rectangle 171">
              <a:extLst>
                <a:ext uri="{FF2B5EF4-FFF2-40B4-BE49-F238E27FC236}">
                  <a16:creationId xmlns:a16="http://schemas.microsoft.com/office/drawing/2014/main" id="{5C1E3C22-E2E1-4AA2-B237-A7800FE01E90}"/>
                </a:ext>
              </a:extLst>
            </p:cNvPr>
            <p:cNvSpPr/>
            <p:nvPr/>
          </p:nvSpPr>
          <p:spPr>
            <a:xfrm>
              <a:off x="8435074" y="3120877"/>
              <a:ext cx="2952000" cy="2846795"/>
            </a:xfrm>
            <a:prstGeom prst="rect">
              <a:avLst/>
            </a:prstGeom>
            <a:solidFill>
              <a:schemeClr val="accent2">
                <a:lumMod val="40000"/>
                <a:lumOff val="60000"/>
                <a:alpha val="50000"/>
              </a:scheme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prstClr val="white"/>
                </a:solidFill>
                <a:effectLst/>
                <a:uLnTx/>
                <a:uFillTx/>
                <a:latin typeface="+mj-lt"/>
                <a:ea typeface="+mn-ea"/>
                <a:cs typeface="+mn-cs"/>
              </a:endParaRPr>
            </a:p>
          </p:txBody>
        </p:sp>
        <p:sp>
          <p:nvSpPr>
            <p:cNvPr id="173" name="TextBox 172">
              <a:extLst>
                <a:ext uri="{FF2B5EF4-FFF2-40B4-BE49-F238E27FC236}">
                  <a16:creationId xmlns:a16="http://schemas.microsoft.com/office/drawing/2014/main" id="{564B9979-A319-42D8-9006-9986359AD56E}"/>
                </a:ext>
              </a:extLst>
            </p:cNvPr>
            <p:cNvSpPr txBox="1"/>
            <p:nvPr/>
          </p:nvSpPr>
          <p:spPr>
            <a:xfrm>
              <a:off x="8440466" y="3176407"/>
              <a:ext cx="2946608" cy="345511"/>
            </a:xfrm>
            <a:prstGeom prst="rect">
              <a:avLst/>
            </a:prstGeom>
          </p:spPr>
          <p:txBody>
            <a:bodyPr vert="horz" wrap="square" lIns="0" tIns="0" rIns="0" bIns="0" rtlCol="0" anchor="ctr">
              <a:noAutofit/>
            </a:bodyPr>
            <a:lstStyle/>
            <a:p>
              <a:pPr algn="ctr"/>
              <a:r>
                <a:rPr lang="de-DE" sz="1400" b="1" spc="300" dirty="0">
                  <a:solidFill>
                    <a:schemeClr val="accent2"/>
                  </a:solidFill>
                  <a:latin typeface="+mj-lt"/>
                </a:rPr>
                <a:t>Type of work</a:t>
              </a:r>
            </a:p>
          </p:txBody>
        </p:sp>
        <p:grpSp>
          <p:nvGrpSpPr>
            <p:cNvPr id="174" name="Group 173">
              <a:extLst>
                <a:ext uri="{FF2B5EF4-FFF2-40B4-BE49-F238E27FC236}">
                  <a16:creationId xmlns:a16="http://schemas.microsoft.com/office/drawing/2014/main" id="{25A3669C-2BDE-4F28-99F0-C86EFF022A62}"/>
                </a:ext>
              </a:extLst>
            </p:cNvPr>
            <p:cNvGrpSpPr/>
            <p:nvPr/>
          </p:nvGrpSpPr>
          <p:grpSpPr>
            <a:xfrm>
              <a:off x="8329176" y="3822685"/>
              <a:ext cx="2880000" cy="576001"/>
              <a:chOff x="8266472" y="3981176"/>
              <a:chExt cx="2880000" cy="576001"/>
            </a:xfrm>
            <a:solidFill>
              <a:schemeClr val="accent2"/>
            </a:solidFill>
          </p:grpSpPr>
          <p:sp>
            <p:nvSpPr>
              <p:cNvPr id="175" name="Right Triangle 174">
                <a:extLst>
                  <a:ext uri="{FF2B5EF4-FFF2-40B4-BE49-F238E27FC236}">
                    <a16:creationId xmlns:a16="http://schemas.microsoft.com/office/drawing/2014/main" id="{5C7850BC-6B7A-405D-987D-1EB2B5CA981C}"/>
                  </a:ext>
                </a:extLst>
              </p:cNvPr>
              <p:cNvSpPr/>
              <p:nvPr/>
            </p:nvSpPr>
            <p:spPr>
              <a:xfrm rot="16200000">
                <a:off x="8301481" y="3946167"/>
                <a:ext cx="36000" cy="106018"/>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76" name="Rectangle 175">
                <a:extLst>
                  <a:ext uri="{FF2B5EF4-FFF2-40B4-BE49-F238E27FC236}">
                    <a16:creationId xmlns:a16="http://schemas.microsoft.com/office/drawing/2014/main" id="{82FC9E34-D481-4EBA-84D6-E0FE8E04DE0D}"/>
                  </a:ext>
                </a:extLst>
              </p:cNvPr>
              <p:cNvSpPr/>
              <p:nvPr/>
            </p:nvSpPr>
            <p:spPr>
              <a:xfrm>
                <a:off x="8266472" y="4017177"/>
                <a:ext cx="2880000" cy="540000"/>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Name</a:t>
                </a:r>
                <a:endParaRPr kumimoji="0" lang="de-DE" sz="1200" b="1" i="0" u="none" strike="noStrike" kern="0" cap="none" spc="0" normalizeH="0" baseline="0" noProof="0" dirty="0">
                  <a:ln>
                    <a:noFill/>
                  </a:ln>
                  <a:solidFill>
                    <a:prstClr val="white"/>
                  </a:solidFill>
                  <a:effectLst/>
                  <a:uLnTx/>
                  <a:uFillTx/>
                  <a:latin typeface="+mj-lt"/>
                  <a:ea typeface="+mn-e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Consulting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Name</a:t>
                </a:r>
                <a:endParaRPr kumimoji="0" lang="de-DE" sz="1200" b="1" i="0" u="none" strike="noStrike" kern="0" cap="none" spc="0" normalizeH="0" baseline="0" noProof="0" dirty="0">
                  <a:ln>
                    <a:noFill/>
                  </a:ln>
                  <a:solidFill>
                    <a:prstClr val="white"/>
                  </a:solidFill>
                  <a:effectLst/>
                  <a:uLnTx/>
                  <a:uFillTx/>
                  <a:latin typeface="+mj-lt"/>
                  <a:ea typeface="+mn-e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Name</a:t>
                </a:r>
                <a:endParaRPr kumimoji="0" lang="de-DE" sz="1200" b="1" i="0" u="none" strike="noStrike" kern="0" cap="none" spc="0" normalizeH="0" baseline="0" noProof="0" dirty="0">
                  <a:ln>
                    <a:noFill/>
                  </a:ln>
                  <a:solidFill>
                    <a:prstClr val="white"/>
                  </a:solidFill>
                  <a:effectLst/>
                  <a:uLnTx/>
                  <a:uFillTx/>
                  <a:latin typeface="+mj-lt"/>
                  <a:ea typeface="+mn-ea"/>
                </a:endParaRPr>
              </a:p>
            </p:txBody>
          </p:sp>
        </p:grpSp>
        <p:grpSp>
          <p:nvGrpSpPr>
            <p:cNvPr id="178" name="Group 177">
              <a:extLst>
                <a:ext uri="{FF2B5EF4-FFF2-40B4-BE49-F238E27FC236}">
                  <a16:creationId xmlns:a16="http://schemas.microsoft.com/office/drawing/2014/main" id="{3CCF43D9-FFB4-4478-B3F7-B93056BA0FFE}"/>
                </a:ext>
              </a:extLst>
            </p:cNvPr>
            <p:cNvGrpSpPr/>
            <p:nvPr/>
          </p:nvGrpSpPr>
          <p:grpSpPr>
            <a:xfrm>
              <a:off x="8329176" y="3482807"/>
              <a:ext cx="2880000" cy="216055"/>
              <a:chOff x="8266472" y="3641298"/>
              <a:chExt cx="2880000" cy="216055"/>
            </a:xfrm>
            <a:solidFill>
              <a:schemeClr val="accent2"/>
            </a:solidFill>
          </p:grpSpPr>
          <p:sp>
            <p:nvSpPr>
              <p:cNvPr id="179" name="Right Triangle 178">
                <a:extLst>
                  <a:ext uri="{FF2B5EF4-FFF2-40B4-BE49-F238E27FC236}">
                    <a16:creationId xmlns:a16="http://schemas.microsoft.com/office/drawing/2014/main" id="{57612932-8C26-4828-88D4-8ED08FF32597}"/>
                  </a:ext>
                </a:extLst>
              </p:cNvPr>
              <p:cNvSpPr/>
              <p:nvPr/>
            </p:nvSpPr>
            <p:spPr>
              <a:xfrm rot="16200000">
                <a:off x="8301481" y="3606289"/>
                <a:ext cx="36000" cy="106018"/>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80" name="Rectangle 179">
                <a:extLst>
                  <a:ext uri="{FF2B5EF4-FFF2-40B4-BE49-F238E27FC236}">
                    <a16:creationId xmlns:a16="http://schemas.microsoft.com/office/drawing/2014/main" id="{C3D8BFF0-25D3-4F07-A339-A7004006B96E}"/>
                  </a:ext>
                </a:extLst>
              </p:cNvPr>
              <p:cNvSpPr/>
              <p:nvPr/>
            </p:nvSpPr>
            <p:spPr>
              <a:xfrm>
                <a:off x="8266472" y="3677299"/>
                <a:ext cx="2880000" cy="180054"/>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Strategy	</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 NAME</a:t>
                </a:r>
                <a:endParaRPr kumimoji="0" lang="de-DE" sz="1200" b="1" i="0" u="none" strike="noStrike" kern="0" cap="none" spc="0" normalizeH="0" baseline="0" noProof="0" dirty="0">
                  <a:ln>
                    <a:noFill/>
                  </a:ln>
                  <a:solidFill>
                    <a:prstClr val="white"/>
                  </a:solidFill>
                  <a:effectLst/>
                  <a:uLnTx/>
                  <a:uFillTx/>
                  <a:latin typeface="+mj-lt"/>
                  <a:ea typeface="+mn-ea"/>
                </a:endParaRPr>
              </a:p>
            </p:txBody>
          </p:sp>
        </p:grpSp>
        <p:grpSp>
          <p:nvGrpSpPr>
            <p:cNvPr id="181" name="Group 180">
              <a:extLst>
                <a:ext uri="{FF2B5EF4-FFF2-40B4-BE49-F238E27FC236}">
                  <a16:creationId xmlns:a16="http://schemas.microsoft.com/office/drawing/2014/main" id="{5B9772AC-6464-4228-BDA9-721AA1062EA7}"/>
                </a:ext>
              </a:extLst>
            </p:cNvPr>
            <p:cNvGrpSpPr/>
            <p:nvPr/>
          </p:nvGrpSpPr>
          <p:grpSpPr>
            <a:xfrm>
              <a:off x="8329176" y="4862646"/>
              <a:ext cx="2880000" cy="576001"/>
              <a:chOff x="8266472" y="5021137"/>
              <a:chExt cx="2880000" cy="576001"/>
            </a:xfrm>
            <a:solidFill>
              <a:schemeClr val="accent2"/>
            </a:solidFill>
          </p:grpSpPr>
          <p:sp>
            <p:nvSpPr>
              <p:cNvPr id="182" name="Right Triangle 181">
                <a:extLst>
                  <a:ext uri="{FF2B5EF4-FFF2-40B4-BE49-F238E27FC236}">
                    <a16:creationId xmlns:a16="http://schemas.microsoft.com/office/drawing/2014/main" id="{0CA23D89-844E-41DD-A14C-1EA4344BE0FB}"/>
                  </a:ext>
                </a:extLst>
              </p:cNvPr>
              <p:cNvSpPr/>
              <p:nvPr/>
            </p:nvSpPr>
            <p:spPr>
              <a:xfrm rot="16200000">
                <a:off x="8301481" y="4986128"/>
                <a:ext cx="36000" cy="106018"/>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83" name="Rectangle 182">
                <a:extLst>
                  <a:ext uri="{FF2B5EF4-FFF2-40B4-BE49-F238E27FC236}">
                    <a16:creationId xmlns:a16="http://schemas.microsoft.com/office/drawing/2014/main" id="{3B78C4F9-80FC-450A-A9A9-8831C9C30486}"/>
                  </a:ext>
                </a:extLst>
              </p:cNvPr>
              <p:cNvSpPr/>
              <p:nvPr/>
            </p:nvSpPr>
            <p:spPr>
              <a:xfrm>
                <a:off x="8266472" y="5057138"/>
                <a:ext cx="2880000" cy="540000"/>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Name</a:t>
                </a:r>
                <a:endParaRPr kumimoji="0" lang="de-DE" sz="1200" b="1" i="0" u="none" strike="noStrike" kern="0" cap="none" spc="0" normalizeH="0" baseline="0" noProof="0" dirty="0">
                  <a:ln>
                    <a:noFill/>
                  </a:ln>
                  <a:solidFill>
                    <a:prstClr val="white"/>
                  </a:solidFill>
                  <a:effectLst/>
                  <a:uLnTx/>
                  <a:uFillTx/>
                  <a:latin typeface="+mj-lt"/>
                  <a:ea typeface="+mn-e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Technology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Name</a:t>
                </a:r>
                <a:endParaRPr kumimoji="0" lang="de-DE" sz="1200" b="1" i="0" u="none" strike="noStrike" kern="0" cap="none" spc="0" normalizeH="0" baseline="0" noProof="0" dirty="0">
                  <a:ln>
                    <a:noFill/>
                  </a:ln>
                  <a:solidFill>
                    <a:prstClr val="white"/>
                  </a:solidFill>
                  <a:effectLst/>
                  <a:uLnTx/>
                  <a:uFillTx/>
                  <a:latin typeface="+mj-lt"/>
                  <a:ea typeface="+mn-e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Name</a:t>
                </a:r>
                <a:endParaRPr kumimoji="0" lang="de-DE" sz="1200" b="1" i="0" u="none" strike="noStrike" kern="0" cap="none" spc="0" normalizeH="0" baseline="0" noProof="0" dirty="0">
                  <a:ln>
                    <a:noFill/>
                  </a:ln>
                  <a:solidFill>
                    <a:prstClr val="white"/>
                  </a:solidFill>
                  <a:effectLst/>
                  <a:uLnTx/>
                  <a:uFillTx/>
                  <a:latin typeface="+mj-lt"/>
                  <a:ea typeface="+mn-ea"/>
                </a:endParaRPr>
              </a:p>
            </p:txBody>
          </p:sp>
        </p:grpSp>
        <p:grpSp>
          <p:nvGrpSpPr>
            <p:cNvPr id="185" name="Group 184">
              <a:extLst>
                <a:ext uri="{FF2B5EF4-FFF2-40B4-BE49-F238E27FC236}">
                  <a16:creationId xmlns:a16="http://schemas.microsoft.com/office/drawing/2014/main" id="{61A205D2-428E-4D0B-8F55-03D25B660FFC}"/>
                </a:ext>
              </a:extLst>
            </p:cNvPr>
            <p:cNvGrpSpPr/>
            <p:nvPr/>
          </p:nvGrpSpPr>
          <p:grpSpPr>
            <a:xfrm>
              <a:off x="8329176" y="4522509"/>
              <a:ext cx="2880000" cy="216055"/>
              <a:chOff x="8266472" y="4681000"/>
              <a:chExt cx="2880000" cy="216055"/>
            </a:xfrm>
            <a:solidFill>
              <a:schemeClr val="accent2"/>
            </a:solidFill>
          </p:grpSpPr>
          <p:sp>
            <p:nvSpPr>
              <p:cNvPr id="186" name="Right Triangle 185">
                <a:extLst>
                  <a:ext uri="{FF2B5EF4-FFF2-40B4-BE49-F238E27FC236}">
                    <a16:creationId xmlns:a16="http://schemas.microsoft.com/office/drawing/2014/main" id="{2AD3DB66-8508-40F6-898B-FBB42BC4F24B}"/>
                  </a:ext>
                </a:extLst>
              </p:cNvPr>
              <p:cNvSpPr/>
              <p:nvPr/>
            </p:nvSpPr>
            <p:spPr>
              <a:xfrm rot="16200000">
                <a:off x="8301481" y="4645991"/>
                <a:ext cx="36000" cy="106018"/>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87" name="Rectangle 186">
                <a:extLst>
                  <a:ext uri="{FF2B5EF4-FFF2-40B4-BE49-F238E27FC236}">
                    <a16:creationId xmlns:a16="http://schemas.microsoft.com/office/drawing/2014/main" id="{80DDAD7F-792F-4DA2-A280-4FD985E5D1E6}"/>
                  </a:ext>
                </a:extLst>
              </p:cNvPr>
              <p:cNvSpPr/>
              <p:nvPr/>
            </p:nvSpPr>
            <p:spPr>
              <a:xfrm>
                <a:off x="8266472" y="4717001"/>
                <a:ext cx="2880000" cy="180054"/>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Digital	</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 NAME</a:t>
                </a:r>
                <a:endParaRPr kumimoji="0" lang="de-DE" sz="1200" b="1" i="0" u="none" strike="noStrike" kern="0" cap="none" spc="0" normalizeH="0" baseline="0" noProof="0" dirty="0">
                  <a:ln>
                    <a:noFill/>
                  </a:ln>
                  <a:solidFill>
                    <a:prstClr val="white"/>
                  </a:solidFill>
                  <a:effectLst/>
                  <a:uLnTx/>
                  <a:uFillTx/>
                  <a:latin typeface="+mj-lt"/>
                  <a:ea typeface="+mn-ea"/>
                </a:endParaRPr>
              </a:p>
            </p:txBody>
          </p:sp>
        </p:grpSp>
        <p:grpSp>
          <p:nvGrpSpPr>
            <p:cNvPr id="188" name="Group 187">
              <a:extLst>
                <a:ext uri="{FF2B5EF4-FFF2-40B4-BE49-F238E27FC236}">
                  <a16:creationId xmlns:a16="http://schemas.microsoft.com/office/drawing/2014/main" id="{82951546-3102-4CD1-B4C2-E1370E9119B5}"/>
                </a:ext>
              </a:extLst>
            </p:cNvPr>
            <p:cNvGrpSpPr/>
            <p:nvPr/>
          </p:nvGrpSpPr>
          <p:grpSpPr>
            <a:xfrm>
              <a:off x="8329176" y="5562471"/>
              <a:ext cx="2880000" cy="216001"/>
              <a:chOff x="8266471" y="5720962"/>
              <a:chExt cx="2880000" cy="216001"/>
            </a:xfrm>
            <a:solidFill>
              <a:schemeClr val="accent2"/>
            </a:solidFill>
          </p:grpSpPr>
          <p:sp>
            <p:nvSpPr>
              <p:cNvPr id="189" name="Right Triangle 188">
                <a:extLst>
                  <a:ext uri="{FF2B5EF4-FFF2-40B4-BE49-F238E27FC236}">
                    <a16:creationId xmlns:a16="http://schemas.microsoft.com/office/drawing/2014/main" id="{0B62EF15-1794-4442-8FB5-7F16C5B595E2}"/>
                  </a:ext>
                </a:extLst>
              </p:cNvPr>
              <p:cNvSpPr/>
              <p:nvPr/>
            </p:nvSpPr>
            <p:spPr>
              <a:xfrm rot="16200000">
                <a:off x="8300671" y="5686762"/>
                <a:ext cx="36000" cy="104400"/>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90" name="Rectangle 189">
                <a:extLst>
                  <a:ext uri="{FF2B5EF4-FFF2-40B4-BE49-F238E27FC236}">
                    <a16:creationId xmlns:a16="http://schemas.microsoft.com/office/drawing/2014/main" id="{BFAE778D-D536-4A11-BB60-43BBAC54AEE4}"/>
                  </a:ext>
                </a:extLst>
              </p:cNvPr>
              <p:cNvSpPr/>
              <p:nvPr/>
            </p:nvSpPr>
            <p:spPr>
              <a:xfrm>
                <a:off x="8266472" y="5756963"/>
                <a:ext cx="2879999" cy="180000"/>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Operations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NAME</a:t>
                </a:r>
                <a:endParaRPr kumimoji="0" lang="de-DE" sz="1200" b="1" i="0" u="none" strike="noStrike" kern="0" cap="none" spc="0" normalizeH="0" baseline="0" noProof="0" dirty="0">
                  <a:ln>
                    <a:noFill/>
                  </a:ln>
                  <a:solidFill>
                    <a:prstClr val="white"/>
                  </a:solidFill>
                  <a:effectLst/>
                  <a:uLnTx/>
                  <a:uFillTx/>
                  <a:latin typeface="+mj-lt"/>
                  <a:ea typeface="+mn-ea"/>
                </a:endParaRPr>
              </a:p>
            </p:txBody>
          </p:sp>
        </p:grpSp>
      </p:grpSp>
      <p:sp>
        <p:nvSpPr>
          <p:cNvPr id="5" name="Footer Placeholder 4">
            <a:extLst>
              <a:ext uri="{FF2B5EF4-FFF2-40B4-BE49-F238E27FC236}">
                <a16:creationId xmlns:a16="http://schemas.microsoft.com/office/drawing/2014/main" id="{7A747A59-4285-459E-B3D3-6BF1E6E8A40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77736608-88C1-4873-A005-708CE97CB002}"/>
              </a:ext>
            </a:extLst>
          </p:cNvPr>
          <p:cNvSpPr>
            <a:spLocks noGrp="1"/>
          </p:cNvSpPr>
          <p:nvPr>
            <p:ph type="sldNum" sz="quarter" idx="10"/>
          </p:nvPr>
        </p:nvSpPr>
        <p:spPr/>
        <p:txBody>
          <a:bodyPr/>
          <a:lstStyle/>
          <a:p>
            <a:fld id="{1F90F471-3972-4120-B8B3-0237DE626C35}" type="slidenum">
              <a:rPr lang="en-US" smtClean="0"/>
              <a:pPr/>
              <a:t>169</a:t>
            </a:fld>
            <a:endParaRPr lang="en-US" dirty="0"/>
          </a:p>
        </p:txBody>
      </p:sp>
    </p:spTree>
    <p:extLst>
      <p:ext uri="{BB962C8B-B14F-4D97-AF65-F5344CB8AC3E}">
        <p14:creationId xmlns:p14="http://schemas.microsoft.com/office/powerpoint/2010/main" val="28044731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1B1CB-9274-4EBF-8824-3A53AE693FE7}"/>
              </a:ext>
            </a:extLst>
          </p:cNvPr>
          <p:cNvSpPr>
            <a:spLocks noGrp="1"/>
          </p:cNvSpPr>
          <p:nvPr>
            <p:ph type="title"/>
          </p:nvPr>
        </p:nvSpPr>
        <p:spPr/>
        <p:txBody>
          <a:bodyPr/>
          <a:lstStyle/>
          <a:p>
            <a:r>
              <a:rPr lang="en-GB" dirty="0"/>
              <a:t>Insert Salutation </a:t>
            </a:r>
            <a:endParaRPr lang="en-US" dirty="0"/>
          </a:p>
        </p:txBody>
      </p:sp>
    </p:spTree>
    <p:extLst>
      <p:ext uri="{BB962C8B-B14F-4D97-AF65-F5344CB8AC3E}">
        <p14:creationId xmlns:p14="http://schemas.microsoft.com/office/powerpoint/2010/main" val="3488696369"/>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Pressure</a:t>
            </a:r>
          </a:p>
        </p:txBody>
      </p:sp>
      <p:grpSp>
        <p:nvGrpSpPr>
          <p:cNvPr id="13" name="Group 3" descr="Add text and order accordingly">
            <a:extLst>
              <a:ext uri="{FF2B5EF4-FFF2-40B4-BE49-F238E27FC236}">
                <a16:creationId xmlns:a16="http://schemas.microsoft.com/office/drawing/2014/main" id="{2D6ED59F-2ECF-445C-B2D7-5C1FBF51C767}"/>
              </a:ext>
            </a:extLst>
          </p:cNvPr>
          <p:cNvGrpSpPr>
            <a:grpSpLocks/>
          </p:cNvGrpSpPr>
          <p:nvPr/>
        </p:nvGrpSpPr>
        <p:grpSpPr bwMode="auto">
          <a:xfrm>
            <a:off x="3751555" y="1366837"/>
            <a:ext cx="4698946" cy="4721225"/>
            <a:chOff x="2096" y="1411"/>
            <a:chExt cx="2050" cy="1901"/>
          </a:xfrm>
        </p:grpSpPr>
        <p:sp>
          <p:nvSpPr>
            <p:cNvPr id="14" name="Oval 4">
              <a:extLst>
                <a:ext uri="{FF2B5EF4-FFF2-40B4-BE49-F238E27FC236}">
                  <a16:creationId xmlns:a16="http://schemas.microsoft.com/office/drawing/2014/main" id="{71748AC7-34FE-4BC7-BD36-0F380271DC81}"/>
                </a:ext>
              </a:extLst>
            </p:cNvPr>
            <p:cNvSpPr>
              <a:spLocks noChangeArrowheads="1"/>
            </p:cNvSpPr>
            <p:nvPr/>
          </p:nvSpPr>
          <p:spPr bwMode="auto">
            <a:xfrm>
              <a:off x="2534" y="1817"/>
              <a:ext cx="1175" cy="1090"/>
            </a:xfrm>
            <a:prstGeom prst="ellipse">
              <a:avLst/>
            </a:prstGeom>
            <a:solidFill>
              <a:schemeClr val="accent2"/>
            </a:solidFill>
            <a:ln w="6350">
              <a:solidFill>
                <a:schemeClr val="folHlink"/>
              </a:solidFill>
              <a:round/>
              <a:headEnd/>
              <a:tailEnd/>
            </a:ln>
            <a:effectLst/>
          </p:spPr>
          <p:txBody>
            <a:bodyPr wrap="none" lIns="45720" rIns="45720" anchor="ctr" anchorCtr="1"/>
            <a:lstStyle/>
            <a:p>
              <a:pPr algn="ctr">
                <a:lnSpc>
                  <a:spcPct val="85000"/>
                </a:lnSpc>
                <a:spcBef>
                  <a:spcPct val="0"/>
                </a:spcBef>
              </a:pPr>
              <a:r>
                <a:rPr lang="en-US" b="1" cap="all" dirty="0">
                  <a:solidFill>
                    <a:schemeClr val="bg1"/>
                  </a:solidFill>
                  <a:latin typeface="+mj-lt"/>
                </a:rPr>
                <a:t>Text</a:t>
              </a:r>
            </a:p>
          </p:txBody>
        </p:sp>
        <p:grpSp>
          <p:nvGrpSpPr>
            <p:cNvPr id="15" name="Group 5">
              <a:extLst>
                <a:ext uri="{FF2B5EF4-FFF2-40B4-BE49-F238E27FC236}">
                  <a16:creationId xmlns:a16="http://schemas.microsoft.com/office/drawing/2014/main" id="{A7FF7A64-7E6A-4AE6-9415-C57740CE0207}"/>
                </a:ext>
              </a:extLst>
            </p:cNvPr>
            <p:cNvGrpSpPr>
              <a:grpSpLocks/>
            </p:cNvGrpSpPr>
            <p:nvPr/>
          </p:nvGrpSpPr>
          <p:grpSpPr bwMode="auto">
            <a:xfrm>
              <a:off x="2096" y="1411"/>
              <a:ext cx="2050" cy="1901"/>
              <a:chOff x="2928" y="1631"/>
              <a:chExt cx="2429" cy="2429"/>
            </a:xfrm>
          </p:grpSpPr>
          <p:sp>
            <p:nvSpPr>
              <p:cNvPr id="16" name="AutoShape 6">
                <a:extLst>
                  <a:ext uri="{FF2B5EF4-FFF2-40B4-BE49-F238E27FC236}">
                    <a16:creationId xmlns:a16="http://schemas.microsoft.com/office/drawing/2014/main" id="{20E14922-58CE-4B90-985F-6A7B6B023D6B}"/>
                  </a:ext>
                </a:extLst>
              </p:cNvPr>
              <p:cNvSpPr>
                <a:spLocks noChangeArrowheads="1"/>
              </p:cNvSpPr>
              <p:nvPr/>
            </p:nvSpPr>
            <p:spPr bwMode="auto">
              <a:xfrm>
                <a:off x="2928" y="1631"/>
                <a:ext cx="2429" cy="2429"/>
              </a:xfrm>
              <a:custGeom>
                <a:avLst/>
                <a:gdLst>
                  <a:gd name="G0" fmla="+- 4704 0 0"/>
                  <a:gd name="G1" fmla="+- 21600 0 4704"/>
                  <a:gd name="G2" fmla="+- 21600 0 4704"/>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4704" y="10800"/>
                    </a:moveTo>
                    <a:cubicBezTo>
                      <a:pt x="4704" y="14167"/>
                      <a:pt x="7433" y="16896"/>
                      <a:pt x="10800" y="16896"/>
                    </a:cubicBezTo>
                    <a:cubicBezTo>
                      <a:pt x="14167" y="16896"/>
                      <a:pt x="16896" y="14167"/>
                      <a:pt x="16896" y="10800"/>
                    </a:cubicBezTo>
                    <a:cubicBezTo>
                      <a:pt x="16896" y="7433"/>
                      <a:pt x="14167" y="4704"/>
                      <a:pt x="10800" y="4704"/>
                    </a:cubicBezTo>
                    <a:cubicBezTo>
                      <a:pt x="7433" y="4704"/>
                      <a:pt x="4704" y="7433"/>
                      <a:pt x="4704" y="10800"/>
                    </a:cubicBezTo>
                    <a:close/>
                  </a:path>
                </a:pathLst>
              </a:custGeom>
              <a:pattFill prst="dkUpDiag">
                <a:fgClr>
                  <a:schemeClr val="tx2">
                    <a:lumMod val="40000"/>
                    <a:lumOff val="60000"/>
                  </a:schemeClr>
                </a:fgClr>
                <a:bgClr>
                  <a:schemeClr val="bg1"/>
                </a:bgClr>
              </a:pattFill>
              <a:ln w="6350">
                <a:noFill/>
                <a:round/>
                <a:headEnd/>
                <a:tailEnd/>
              </a:ln>
              <a:effectLst/>
            </p:spPr>
            <p:txBody>
              <a:bodyPr wrap="none" lIns="45720" rIns="45720"/>
              <a:lstStyle/>
              <a:p>
                <a:endParaRPr lang="de-DE"/>
              </a:p>
            </p:txBody>
          </p:sp>
          <p:sp>
            <p:nvSpPr>
              <p:cNvPr id="17" name="Freeform 7">
                <a:extLst>
                  <a:ext uri="{FF2B5EF4-FFF2-40B4-BE49-F238E27FC236}">
                    <a16:creationId xmlns:a16="http://schemas.microsoft.com/office/drawing/2014/main" id="{49CEA2AC-A399-45A8-BE0F-996D971D2C41}"/>
                  </a:ext>
                </a:extLst>
              </p:cNvPr>
              <p:cNvSpPr>
                <a:spLocks/>
              </p:cNvSpPr>
              <p:nvPr/>
            </p:nvSpPr>
            <p:spPr bwMode="auto">
              <a:xfrm>
                <a:off x="3451" y="2656"/>
                <a:ext cx="243" cy="380"/>
              </a:xfrm>
              <a:custGeom>
                <a:avLst/>
                <a:gdLst/>
                <a:ahLst/>
                <a:cxnLst>
                  <a:cxn ang="0">
                    <a:pos x="0" y="272"/>
                  </a:cxn>
                  <a:cxn ang="0">
                    <a:pos x="96" y="272"/>
                  </a:cxn>
                  <a:cxn ang="0">
                    <a:pos x="96" y="368"/>
                  </a:cxn>
                  <a:cxn ang="0">
                    <a:pos x="216" y="184"/>
                  </a:cxn>
                  <a:cxn ang="0">
                    <a:pos x="96" y="0"/>
                  </a:cxn>
                  <a:cxn ang="0">
                    <a:pos x="96" y="96"/>
                  </a:cxn>
                  <a:cxn ang="0">
                    <a:pos x="0" y="96"/>
                  </a:cxn>
                </a:cxnLst>
                <a:rect l="0" t="0" r="r" b="b"/>
                <a:pathLst>
                  <a:path w="217" h="369">
                    <a:moveTo>
                      <a:pt x="0" y="272"/>
                    </a:moveTo>
                    <a:lnTo>
                      <a:pt x="96" y="272"/>
                    </a:lnTo>
                    <a:lnTo>
                      <a:pt x="96" y="368"/>
                    </a:lnTo>
                    <a:lnTo>
                      <a:pt x="216" y="184"/>
                    </a:lnTo>
                    <a:lnTo>
                      <a:pt x="96" y="0"/>
                    </a:lnTo>
                    <a:lnTo>
                      <a:pt x="96" y="96"/>
                    </a:lnTo>
                    <a:lnTo>
                      <a:pt x="0" y="96"/>
                    </a:lnTo>
                  </a:path>
                </a:pathLst>
              </a:custGeom>
              <a:pattFill prst="dkUpDiag">
                <a:fgClr>
                  <a:schemeClr val="tx2">
                    <a:lumMod val="40000"/>
                    <a:lumOff val="60000"/>
                  </a:schemeClr>
                </a:fgClr>
                <a:bgClr>
                  <a:schemeClr val="bg1"/>
                </a:bgClr>
              </a:pattFill>
              <a:ln w="6350" cap="rnd" cmpd="sng">
                <a:noFill/>
                <a:prstDash val="solid"/>
                <a:round/>
                <a:headEnd type="none" w="med" len="med"/>
                <a:tailEnd type="none" w="med" len="med"/>
              </a:ln>
              <a:effectLst/>
            </p:spPr>
            <p:txBody>
              <a:bodyPr lIns="45720" rIns="45720"/>
              <a:lstStyle/>
              <a:p>
                <a:endParaRPr lang="de-DE"/>
              </a:p>
            </p:txBody>
          </p:sp>
          <p:sp>
            <p:nvSpPr>
              <p:cNvPr id="18" name="Freeform 8">
                <a:extLst>
                  <a:ext uri="{FF2B5EF4-FFF2-40B4-BE49-F238E27FC236}">
                    <a16:creationId xmlns:a16="http://schemas.microsoft.com/office/drawing/2014/main" id="{65D163F0-CCB4-41A5-ADA3-010109A3B62A}"/>
                  </a:ext>
                </a:extLst>
              </p:cNvPr>
              <p:cNvSpPr>
                <a:spLocks/>
              </p:cNvSpPr>
              <p:nvPr/>
            </p:nvSpPr>
            <p:spPr bwMode="auto">
              <a:xfrm>
                <a:off x="4590" y="2655"/>
                <a:ext cx="253" cy="381"/>
              </a:xfrm>
              <a:custGeom>
                <a:avLst/>
                <a:gdLst/>
                <a:ahLst/>
                <a:cxnLst>
                  <a:cxn ang="0">
                    <a:pos x="225" y="96"/>
                  </a:cxn>
                  <a:cxn ang="0">
                    <a:pos x="125" y="96"/>
                  </a:cxn>
                  <a:cxn ang="0">
                    <a:pos x="125" y="0"/>
                  </a:cxn>
                  <a:cxn ang="0">
                    <a:pos x="0" y="184"/>
                  </a:cxn>
                  <a:cxn ang="0">
                    <a:pos x="125" y="368"/>
                  </a:cxn>
                  <a:cxn ang="0">
                    <a:pos x="125" y="264"/>
                  </a:cxn>
                  <a:cxn ang="0">
                    <a:pos x="225" y="264"/>
                  </a:cxn>
                </a:cxnLst>
                <a:rect l="0" t="0" r="r" b="b"/>
                <a:pathLst>
                  <a:path w="226" h="369">
                    <a:moveTo>
                      <a:pt x="225" y="96"/>
                    </a:moveTo>
                    <a:lnTo>
                      <a:pt x="125" y="96"/>
                    </a:lnTo>
                    <a:lnTo>
                      <a:pt x="125" y="0"/>
                    </a:lnTo>
                    <a:lnTo>
                      <a:pt x="0" y="184"/>
                    </a:lnTo>
                    <a:lnTo>
                      <a:pt x="125" y="368"/>
                    </a:lnTo>
                    <a:lnTo>
                      <a:pt x="125" y="264"/>
                    </a:lnTo>
                    <a:lnTo>
                      <a:pt x="225" y="264"/>
                    </a:lnTo>
                  </a:path>
                </a:pathLst>
              </a:custGeom>
              <a:pattFill prst="dkUpDiag">
                <a:fgClr>
                  <a:schemeClr val="tx2">
                    <a:lumMod val="40000"/>
                    <a:lumOff val="60000"/>
                  </a:schemeClr>
                </a:fgClr>
                <a:bgClr>
                  <a:schemeClr val="bg1"/>
                </a:bgClr>
              </a:pattFill>
              <a:ln w="6350" cap="rnd" cmpd="sng">
                <a:noFill/>
                <a:prstDash val="solid"/>
                <a:round/>
                <a:headEnd type="none" w="med" len="med"/>
                <a:tailEnd type="none" w="med" len="med"/>
              </a:ln>
              <a:effectLst/>
            </p:spPr>
            <p:txBody>
              <a:bodyPr lIns="45720" rIns="45720"/>
              <a:lstStyle/>
              <a:p>
                <a:endParaRPr lang="de-DE"/>
              </a:p>
            </p:txBody>
          </p:sp>
          <p:sp>
            <p:nvSpPr>
              <p:cNvPr id="19" name="Freeform 9">
                <a:extLst>
                  <a:ext uri="{FF2B5EF4-FFF2-40B4-BE49-F238E27FC236}">
                    <a16:creationId xmlns:a16="http://schemas.microsoft.com/office/drawing/2014/main" id="{0B4FCF45-1297-4B83-821C-491567699C25}"/>
                  </a:ext>
                </a:extLst>
              </p:cNvPr>
              <p:cNvSpPr>
                <a:spLocks/>
              </p:cNvSpPr>
              <p:nvPr/>
            </p:nvSpPr>
            <p:spPr bwMode="auto">
              <a:xfrm>
                <a:off x="3936" y="3305"/>
                <a:ext cx="412" cy="237"/>
              </a:xfrm>
              <a:custGeom>
                <a:avLst/>
                <a:gdLst/>
                <a:ahLst/>
                <a:cxnLst>
                  <a:cxn ang="0">
                    <a:pos x="272" y="229"/>
                  </a:cxn>
                  <a:cxn ang="0">
                    <a:pos x="272" y="229"/>
                  </a:cxn>
                  <a:cxn ang="0">
                    <a:pos x="272" y="123"/>
                  </a:cxn>
                  <a:cxn ang="0">
                    <a:pos x="368" y="123"/>
                  </a:cxn>
                  <a:cxn ang="0">
                    <a:pos x="184" y="0"/>
                  </a:cxn>
                  <a:cxn ang="0">
                    <a:pos x="0" y="123"/>
                  </a:cxn>
                  <a:cxn ang="0">
                    <a:pos x="104" y="123"/>
                  </a:cxn>
                  <a:cxn ang="0">
                    <a:pos x="104" y="229"/>
                  </a:cxn>
                </a:cxnLst>
                <a:rect l="0" t="0" r="r" b="b"/>
                <a:pathLst>
                  <a:path w="369" h="230">
                    <a:moveTo>
                      <a:pt x="272" y="229"/>
                    </a:moveTo>
                    <a:lnTo>
                      <a:pt x="272" y="229"/>
                    </a:lnTo>
                    <a:lnTo>
                      <a:pt x="272" y="123"/>
                    </a:lnTo>
                    <a:lnTo>
                      <a:pt x="368" y="123"/>
                    </a:lnTo>
                    <a:lnTo>
                      <a:pt x="184" y="0"/>
                    </a:lnTo>
                    <a:lnTo>
                      <a:pt x="0" y="123"/>
                    </a:lnTo>
                    <a:lnTo>
                      <a:pt x="104" y="123"/>
                    </a:lnTo>
                    <a:lnTo>
                      <a:pt x="104" y="229"/>
                    </a:lnTo>
                  </a:path>
                </a:pathLst>
              </a:custGeom>
              <a:pattFill prst="dkUpDiag">
                <a:fgClr>
                  <a:schemeClr val="tx2">
                    <a:lumMod val="40000"/>
                    <a:lumOff val="60000"/>
                  </a:schemeClr>
                </a:fgClr>
                <a:bgClr>
                  <a:schemeClr val="bg1"/>
                </a:bgClr>
              </a:pattFill>
              <a:ln w="6350" cap="rnd" cmpd="sng">
                <a:noFill/>
                <a:prstDash val="solid"/>
                <a:round/>
                <a:headEnd type="none" w="med" len="med"/>
                <a:tailEnd type="none" w="med" len="med"/>
              </a:ln>
              <a:effectLst/>
            </p:spPr>
            <p:txBody>
              <a:bodyPr lIns="45720" rIns="45720"/>
              <a:lstStyle/>
              <a:p>
                <a:endParaRPr lang="de-DE"/>
              </a:p>
            </p:txBody>
          </p:sp>
          <p:sp>
            <p:nvSpPr>
              <p:cNvPr id="20" name="Freeform 10">
                <a:extLst>
                  <a:ext uri="{FF2B5EF4-FFF2-40B4-BE49-F238E27FC236}">
                    <a16:creationId xmlns:a16="http://schemas.microsoft.com/office/drawing/2014/main" id="{C3DADC01-667E-45FC-B343-D7A962EC141A}"/>
                  </a:ext>
                </a:extLst>
              </p:cNvPr>
              <p:cNvSpPr>
                <a:spLocks/>
              </p:cNvSpPr>
              <p:nvPr/>
            </p:nvSpPr>
            <p:spPr bwMode="auto">
              <a:xfrm>
                <a:off x="3936" y="2160"/>
                <a:ext cx="412" cy="234"/>
              </a:xfrm>
              <a:custGeom>
                <a:avLst/>
                <a:gdLst/>
                <a:ahLst/>
                <a:cxnLst>
                  <a:cxn ang="0">
                    <a:pos x="104" y="0"/>
                  </a:cxn>
                  <a:cxn ang="0">
                    <a:pos x="104" y="0"/>
                  </a:cxn>
                  <a:cxn ang="0">
                    <a:pos x="104" y="105"/>
                  </a:cxn>
                  <a:cxn ang="0">
                    <a:pos x="0" y="105"/>
                  </a:cxn>
                  <a:cxn ang="0">
                    <a:pos x="184" y="226"/>
                  </a:cxn>
                  <a:cxn ang="0">
                    <a:pos x="368" y="105"/>
                  </a:cxn>
                  <a:cxn ang="0">
                    <a:pos x="272" y="105"/>
                  </a:cxn>
                  <a:cxn ang="0">
                    <a:pos x="272" y="0"/>
                  </a:cxn>
                </a:cxnLst>
                <a:rect l="0" t="0" r="r" b="b"/>
                <a:pathLst>
                  <a:path w="369" h="227">
                    <a:moveTo>
                      <a:pt x="104" y="0"/>
                    </a:moveTo>
                    <a:lnTo>
                      <a:pt x="104" y="0"/>
                    </a:lnTo>
                    <a:lnTo>
                      <a:pt x="104" y="105"/>
                    </a:lnTo>
                    <a:lnTo>
                      <a:pt x="0" y="105"/>
                    </a:lnTo>
                    <a:lnTo>
                      <a:pt x="184" y="226"/>
                    </a:lnTo>
                    <a:lnTo>
                      <a:pt x="368" y="105"/>
                    </a:lnTo>
                    <a:lnTo>
                      <a:pt x="272" y="105"/>
                    </a:lnTo>
                    <a:lnTo>
                      <a:pt x="272" y="0"/>
                    </a:lnTo>
                  </a:path>
                </a:pathLst>
              </a:custGeom>
              <a:pattFill prst="dkUpDiag">
                <a:fgClr>
                  <a:schemeClr val="tx2">
                    <a:lumMod val="40000"/>
                    <a:lumOff val="60000"/>
                  </a:schemeClr>
                </a:fgClr>
                <a:bgClr>
                  <a:schemeClr val="bg1"/>
                </a:bgClr>
              </a:pattFill>
              <a:ln w="6350" cap="rnd" cmpd="sng">
                <a:noFill/>
                <a:prstDash val="solid"/>
                <a:round/>
                <a:headEnd type="none" w="med" len="med"/>
                <a:tailEnd type="none" w="med" len="med"/>
              </a:ln>
              <a:effectLst/>
            </p:spPr>
            <p:txBody>
              <a:bodyPr lIns="45720" rIns="45720"/>
              <a:lstStyle/>
              <a:p>
                <a:endParaRPr lang="de-DE"/>
              </a:p>
            </p:txBody>
          </p:sp>
        </p:grpSp>
      </p:grpSp>
      <p:sp>
        <p:nvSpPr>
          <p:cNvPr id="5" name="Footer Placeholder 4">
            <a:extLst>
              <a:ext uri="{FF2B5EF4-FFF2-40B4-BE49-F238E27FC236}">
                <a16:creationId xmlns:a16="http://schemas.microsoft.com/office/drawing/2014/main" id="{EEF15DC4-0354-40C0-8FCA-5FABE4C8A8D8}"/>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197A26D3-6888-4F09-9374-7822E78B7E35}"/>
              </a:ext>
            </a:extLst>
          </p:cNvPr>
          <p:cNvSpPr>
            <a:spLocks noGrp="1"/>
          </p:cNvSpPr>
          <p:nvPr>
            <p:ph type="sldNum" sz="quarter" idx="10"/>
          </p:nvPr>
        </p:nvSpPr>
        <p:spPr/>
        <p:txBody>
          <a:bodyPr/>
          <a:lstStyle/>
          <a:p>
            <a:fld id="{1F90F471-3972-4120-B8B3-0237DE626C35}" type="slidenum">
              <a:rPr lang="en-US" smtClean="0"/>
              <a:pPr/>
              <a:t>170</a:t>
            </a:fld>
            <a:endParaRPr lang="en-US" dirty="0"/>
          </a:p>
        </p:txBody>
      </p:sp>
    </p:spTree>
    <p:extLst>
      <p:ext uri="{BB962C8B-B14F-4D97-AF65-F5344CB8AC3E}">
        <p14:creationId xmlns:p14="http://schemas.microsoft.com/office/powerpoint/2010/main" val="3436124035"/>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Forces 1</a:t>
            </a:r>
          </a:p>
        </p:txBody>
      </p:sp>
      <p:grpSp>
        <p:nvGrpSpPr>
          <p:cNvPr id="3" name="Group 2" descr="Forces: Insert description">
            <a:extLst>
              <a:ext uri="{FF2B5EF4-FFF2-40B4-BE49-F238E27FC236}">
                <a16:creationId xmlns:a16="http://schemas.microsoft.com/office/drawing/2014/main" id="{4DD44FD7-1EF3-4E2E-B586-9A42DB00892D}"/>
              </a:ext>
            </a:extLst>
          </p:cNvPr>
          <p:cNvGrpSpPr/>
          <p:nvPr/>
        </p:nvGrpSpPr>
        <p:grpSpPr>
          <a:xfrm>
            <a:off x="502836" y="1799809"/>
            <a:ext cx="11244614" cy="3564000"/>
            <a:chOff x="502836" y="1799809"/>
            <a:chExt cx="11244614" cy="3564000"/>
          </a:xfrm>
        </p:grpSpPr>
        <p:sp>
          <p:nvSpPr>
            <p:cNvPr id="10" name="Oval 9">
              <a:extLst>
                <a:ext uri="{FF2B5EF4-FFF2-40B4-BE49-F238E27FC236}">
                  <a16:creationId xmlns:a16="http://schemas.microsoft.com/office/drawing/2014/main" id="{5CE744CE-B7C9-4980-9DC8-13033C2FABB6}"/>
                </a:ext>
              </a:extLst>
            </p:cNvPr>
            <p:cNvSpPr>
              <a:spLocks noChangeAspect="1" noChangeArrowheads="1"/>
            </p:cNvSpPr>
            <p:nvPr/>
          </p:nvSpPr>
          <p:spPr bwMode="auto">
            <a:xfrm>
              <a:off x="4348090" y="1799809"/>
              <a:ext cx="3564000" cy="3564000"/>
            </a:xfrm>
            <a:prstGeom prst="ellipse">
              <a:avLst/>
            </a:prstGeom>
            <a:solidFill>
              <a:schemeClr val="accent2"/>
            </a:solidFill>
            <a:ln w="6350">
              <a:noFill/>
              <a:round/>
              <a:headEnd/>
              <a:tailEnd/>
            </a:ln>
            <a:effectLst/>
          </p:spPr>
          <p:txBody>
            <a:bodyPr wrap="none" lIns="36000" tIns="36000" rIns="36000" bIns="36000" anchor="ctr" anchorCtr="1"/>
            <a:lstStyle/>
            <a:p>
              <a:pPr algn="ctr" eaLnBrk="0" hangingPunct="0">
                <a:lnSpc>
                  <a:spcPct val="85000"/>
                </a:lnSpc>
                <a:spcBef>
                  <a:spcPts val="100"/>
                </a:spcBef>
                <a:spcAft>
                  <a:spcPts val="300"/>
                </a:spcAft>
              </a:pPr>
              <a:r>
                <a:rPr lang="en-US" b="1" dirty="0">
                  <a:solidFill>
                    <a:schemeClr val="bg1"/>
                  </a:solidFill>
                  <a:latin typeface="+mj-lt"/>
                </a:rPr>
                <a:t>Text</a:t>
              </a:r>
            </a:p>
            <a:p>
              <a:pPr algn="ctr" eaLnBrk="0" hangingPunct="0">
                <a:spcBef>
                  <a:spcPts val="100"/>
                </a:spcBef>
                <a:spcAft>
                  <a:spcPts val="100"/>
                </a:spcAft>
              </a:pPr>
              <a:r>
                <a:rPr lang="en-US" dirty="0">
                  <a:solidFill>
                    <a:schemeClr val="bg1"/>
                  </a:solidFill>
                </a:rPr>
                <a:t>Text</a:t>
              </a:r>
            </a:p>
            <a:p>
              <a:pPr algn="ctr" eaLnBrk="0" hangingPunct="0">
                <a:spcBef>
                  <a:spcPts val="100"/>
                </a:spcBef>
                <a:spcAft>
                  <a:spcPts val="100"/>
                </a:spcAft>
              </a:pPr>
              <a:r>
                <a:rPr lang="en-US" dirty="0">
                  <a:solidFill>
                    <a:schemeClr val="bg1"/>
                  </a:solidFill>
                </a:rPr>
                <a:t>Text</a:t>
              </a:r>
            </a:p>
            <a:p>
              <a:pPr algn="ctr" eaLnBrk="0" hangingPunct="0">
                <a:spcBef>
                  <a:spcPts val="100"/>
                </a:spcBef>
                <a:spcAft>
                  <a:spcPts val="100"/>
                </a:spcAft>
              </a:pPr>
              <a:r>
                <a:rPr lang="en-US" dirty="0">
                  <a:solidFill>
                    <a:schemeClr val="bg1"/>
                  </a:solidFill>
                </a:rPr>
                <a:t>Text</a:t>
              </a:r>
            </a:p>
          </p:txBody>
        </p:sp>
        <p:sp>
          <p:nvSpPr>
            <p:cNvPr id="14" name="Rectangle 10">
              <a:extLst>
                <a:ext uri="{FF2B5EF4-FFF2-40B4-BE49-F238E27FC236}">
                  <a16:creationId xmlns:a16="http://schemas.microsoft.com/office/drawing/2014/main" id="{3E3EF1E3-F019-41A4-8675-B27CB4C91D1D}"/>
                </a:ext>
              </a:extLst>
            </p:cNvPr>
            <p:cNvSpPr>
              <a:spLocks noChangeArrowheads="1"/>
            </p:cNvSpPr>
            <p:nvPr/>
          </p:nvSpPr>
          <p:spPr bwMode="auto">
            <a:xfrm>
              <a:off x="502836" y="3440098"/>
              <a:ext cx="2570400" cy="254567"/>
            </a:xfrm>
            <a:prstGeom prst="rect">
              <a:avLst/>
            </a:prstGeom>
            <a:noFill/>
            <a:ln w="6350">
              <a:noFill/>
              <a:miter lim="800000"/>
              <a:headEnd/>
              <a:tailEnd/>
            </a:ln>
            <a:effectLst/>
          </p:spPr>
          <p:txBody>
            <a:bodyPr wrap="none" lIns="45720" rIns="45720" anchor="ctr" anchorCtr="0"/>
            <a:lstStyle/>
            <a:p>
              <a:pPr algn="r" eaLnBrk="0" hangingPunct="0"/>
              <a:r>
                <a:rPr lang="en-US" b="1" dirty="0">
                  <a:solidFill>
                    <a:schemeClr val="accent2"/>
                  </a:solidFill>
                  <a:latin typeface="+mj-lt"/>
                </a:rPr>
                <a:t>Text</a:t>
              </a:r>
            </a:p>
          </p:txBody>
        </p:sp>
        <p:cxnSp>
          <p:nvCxnSpPr>
            <p:cNvPr id="12" name="Straight Arrow Connector 11">
              <a:extLst>
                <a:ext uri="{FF2B5EF4-FFF2-40B4-BE49-F238E27FC236}">
                  <a16:creationId xmlns:a16="http://schemas.microsoft.com/office/drawing/2014/main" id="{F70A22B4-E123-44BA-AD99-9ECA385F78CB}"/>
                </a:ext>
                <a:ext uri="{C183D7F6-B498-43B3-948B-1728B52AA6E4}">
                  <adec:decorative xmlns:adec="http://schemas.microsoft.com/office/drawing/2017/decorative" val="1"/>
                </a:ext>
              </a:extLst>
            </p:cNvPr>
            <p:cNvCxnSpPr/>
            <p:nvPr/>
          </p:nvCxnSpPr>
          <p:spPr bwMode="auto">
            <a:xfrm flipH="1">
              <a:off x="3190507" y="3567381"/>
              <a:ext cx="984451" cy="0"/>
            </a:xfrm>
            <a:prstGeom prst="straightConnector1">
              <a:avLst/>
            </a:prstGeom>
            <a:ln w="19050" cap="rnd">
              <a:solidFill>
                <a:schemeClr val="tx2">
                  <a:lumMod val="60000"/>
                  <a:lumOff val="40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13" name="Rectangle 9">
              <a:extLst>
                <a:ext uri="{FF2B5EF4-FFF2-40B4-BE49-F238E27FC236}">
                  <a16:creationId xmlns:a16="http://schemas.microsoft.com/office/drawing/2014/main" id="{3F0AA54C-AE81-4DB8-9A6B-9CDA196C77A8}"/>
                </a:ext>
              </a:extLst>
            </p:cNvPr>
            <p:cNvSpPr>
              <a:spLocks noChangeArrowheads="1"/>
            </p:cNvSpPr>
            <p:nvPr/>
          </p:nvSpPr>
          <p:spPr bwMode="auto">
            <a:xfrm>
              <a:off x="9177050" y="3408607"/>
              <a:ext cx="2570400" cy="317548"/>
            </a:xfrm>
            <a:prstGeom prst="rect">
              <a:avLst/>
            </a:prstGeom>
            <a:noFill/>
            <a:ln w="6350">
              <a:noFill/>
              <a:miter lim="800000"/>
              <a:headEnd/>
              <a:tailEnd/>
            </a:ln>
            <a:effectLst/>
          </p:spPr>
          <p:txBody>
            <a:bodyPr wrap="none" lIns="45720" rIns="45720" anchor="ctr" anchorCtr="0"/>
            <a:lstStyle/>
            <a:p>
              <a:pPr eaLnBrk="0" hangingPunct="0"/>
              <a:r>
                <a:rPr lang="en-US" b="1" dirty="0">
                  <a:solidFill>
                    <a:schemeClr val="accent2"/>
                  </a:solidFill>
                  <a:latin typeface="+mj-lt"/>
                </a:rPr>
                <a:t>Text</a:t>
              </a:r>
            </a:p>
          </p:txBody>
        </p:sp>
        <p:cxnSp>
          <p:nvCxnSpPr>
            <p:cNvPr id="11" name="Straight Arrow Connector 10">
              <a:extLst>
                <a:ext uri="{FF2B5EF4-FFF2-40B4-BE49-F238E27FC236}">
                  <a16:creationId xmlns:a16="http://schemas.microsoft.com/office/drawing/2014/main" id="{541A4D08-38CE-49F7-A6C5-D922425D8127}"/>
                </a:ext>
                <a:ext uri="{C183D7F6-B498-43B3-948B-1728B52AA6E4}">
                  <adec:decorative xmlns:adec="http://schemas.microsoft.com/office/drawing/2017/decorative" val="1"/>
                </a:ext>
              </a:extLst>
            </p:cNvPr>
            <p:cNvCxnSpPr/>
            <p:nvPr/>
          </p:nvCxnSpPr>
          <p:spPr bwMode="auto">
            <a:xfrm>
              <a:off x="8085221" y="3567381"/>
              <a:ext cx="974558" cy="0"/>
            </a:xfrm>
            <a:prstGeom prst="straightConnector1">
              <a:avLst/>
            </a:prstGeom>
            <a:ln w="19050" cap="rnd">
              <a:solidFill>
                <a:schemeClr val="tx2">
                  <a:lumMod val="60000"/>
                  <a:lumOff val="40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5" name="Footer Placeholder 4">
            <a:extLst>
              <a:ext uri="{FF2B5EF4-FFF2-40B4-BE49-F238E27FC236}">
                <a16:creationId xmlns:a16="http://schemas.microsoft.com/office/drawing/2014/main" id="{055AE9E1-0790-4353-BE3B-C71EDFD65C08}"/>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D31266ED-5D21-47AB-ADA2-04B56453E470}"/>
              </a:ext>
            </a:extLst>
          </p:cNvPr>
          <p:cNvSpPr>
            <a:spLocks noGrp="1"/>
          </p:cNvSpPr>
          <p:nvPr>
            <p:ph type="sldNum" sz="quarter" idx="10"/>
          </p:nvPr>
        </p:nvSpPr>
        <p:spPr/>
        <p:txBody>
          <a:bodyPr/>
          <a:lstStyle/>
          <a:p>
            <a:fld id="{1F90F471-3972-4120-B8B3-0237DE626C35}" type="slidenum">
              <a:rPr lang="en-US" smtClean="0"/>
              <a:pPr/>
              <a:t>171</a:t>
            </a:fld>
            <a:endParaRPr lang="en-US" dirty="0"/>
          </a:p>
        </p:txBody>
      </p:sp>
    </p:spTree>
    <p:extLst>
      <p:ext uri="{BB962C8B-B14F-4D97-AF65-F5344CB8AC3E}">
        <p14:creationId xmlns:p14="http://schemas.microsoft.com/office/powerpoint/2010/main" val="680417121"/>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Forces 2</a:t>
            </a:r>
          </a:p>
        </p:txBody>
      </p:sp>
      <p:grpSp>
        <p:nvGrpSpPr>
          <p:cNvPr id="3" name="Group 2" descr="Forces: Insert description here">
            <a:extLst>
              <a:ext uri="{FF2B5EF4-FFF2-40B4-BE49-F238E27FC236}">
                <a16:creationId xmlns:a16="http://schemas.microsoft.com/office/drawing/2014/main" id="{55736053-54D0-4E43-B0EA-474E63B59010}"/>
              </a:ext>
            </a:extLst>
          </p:cNvPr>
          <p:cNvGrpSpPr/>
          <p:nvPr/>
        </p:nvGrpSpPr>
        <p:grpSpPr>
          <a:xfrm>
            <a:off x="1142668" y="861342"/>
            <a:ext cx="9962716" cy="5363807"/>
            <a:chOff x="1142668" y="861342"/>
            <a:chExt cx="9962716" cy="5363807"/>
          </a:xfrm>
        </p:grpSpPr>
        <p:sp>
          <p:nvSpPr>
            <p:cNvPr id="22" name="Rectangle 21">
              <a:extLst>
                <a:ext uri="{FF2B5EF4-FFF2-40B4-BE49-F238E27FC236}">
                  <a16:creationId xmlns:a16="http://schemas.microsoft.com/office/drawing/2014/main" id="{E3976A8C-22FF-4671-9549-3758341F98C5}"/>
                </a:ext>
              </a:extLst>
            </p:cNvPr>
            <p:cNvSpPr>
              <a:spLocks noChangeAspect="1" noChangeArrowheads="1"/>
            </p:cNvSpPr>
            <p:nvPr/>
          </p:nvSpPr>
          <p:spPr bwMode="auto">
            <a:xfrm>
              <a:off x="4367368" y="1798771"/>
              <a:ext cx="3513316" cy="3513316"/>
            </a:xfrm>
            <a:prstGeom prst="rect">
              <a:avLst/>
            </a:prstGeom>
            <a:solidFill>
              <a:schemeClr val="accent2"/>
            </a:solidFill>
            <a:ln w="6350">
              <a:noFill/>
              <a:round/>
              <a:headEnd/>
              <a:tailEnd/>
            </a:ln>
            <a:effectLst/>
          </p:spPr>
          <p:txBody>
            <a:bodyPr wrap="none" lIns="36000" tIns="36000" rIns="36000" bIns="36000" anchor="ctr" anchorCtr="1"/>
            <a:lstStyle/>
            <a:p>
              <a:pPr algn="ctr" eaLnBrk="0" hangingPunct="0">
                <a:lnSpc>
                  <a:spcPct val="85000"/>
                </a:lnSpc>
                <a:spcBef>
                  <a:spcPts val="100"/>
                </a:spcBef>
                <a:spcAft>
                  <a:spcPts val="300"/>
                </a:spcAft>
              </a:pPr>
              <a:r>
                <a:rPr lang="en-US" b="1" dirty="0">
                  <a:solidFill>
                    <a:schemeClr val="bg1"/>
                  </a:solidFill>
                  <a:latin typeface="+mj-lt"/>
                </a:rPr>
                <a:t>Text</a:t>
              </a:r>
            </a:p>
            <a:p>
              <a:pPr algn="ctr" eaLnBrk="0" hangingPunct="0">
                <a:spcBef>
                  <a:spcPts val="100"/>
                </a:spcBef>
                <a:spcAft>
                  <a:spcPts val="100"/>
                </a:spcAft>
              </a:pPr>
              <a:r>
                <a:rPr lang="en-US" dirty="0">
                  <a:solidFill>
                    <a:schemeClr val="bg1"/>
                  </a:solidFill>
                </a:rPr>
                <a:t>Text</a:t>
              </a:r>
            </a:p>
            <a:p>
              <a:pPr algn="ctr" eaLnBrk="0" hangingPunct="0">
                <a:spcBef>
                  <a:spcPts val="100"/>
                </a:spcBef>
                <a:spcAft>
                  <a:spcPts val="100"/>
                </a:spcAft>
              </a:pPr>
              <a:r>
                <a:rPr lang="en-US" dirty="0">
                  <a:solidFill>
                    <a:schemeClr val="bg1"/>
                  </a:solidFill>
                </a:rPr>
                <a:t>Text</a:t>
              </a:r>
            </a:p>
            <a:p>
              <a:pPr algn="ctr" eaLnBrk="0" hangingPunct="0">
                <a:spcBef>
                  <a:spcPts val="100"/>
                </a:spcBef>
                <a:spcAft>
                  <a:spcPts val="100"/>
                </a:spcAft>
              </a:pPr>
              <a:r>
                <a:rPr lang="en-US" dirty="0">
                  <a:solidFill>
                    <a:schemeClr val="bg1"/>
                  </a:solidFill>
                </a:rPr>
                <a:t>Text</a:t>
              </a:r>
            </a:p>
          </p:txBody>
        </p:sp>
        <p:cxnSp>
          <p:nvCxnSpPr>
            <p:cNvPr id="15" name="Straight Arrow Connector 14">
              <a:extLst>
                <a:ext uri="{FF2B5EF4-FFF2-40B4-BE49-F238E27FC236}">
                  <a16:creationId xmlns:a16="http://schemas.microsoft.com/office/drawing/2014/main" id="{A7D0AC7B-8EFE-4A27-BF21-D9EBF869CD80}"/>
                </a:ext>
                <a:ext uri="{C183D7F6-B498-43B3-948B-1728B52AA6E4}">
                  <adec:decorative xmlns:adec="http://schemas.microsoft.com/office/drawing/2017/decorative" val="1"/>
                </a:ext>
              </a:extLst>
            </p:cNvPr>
            <p:cNvCxnSpPr/>
            <p:nvPr/>
          </p:nvCxnSpPr>
          <p:spPr bwMode="auto">
            <a:xfrm flipV="1">
              <a:off x="6125143" y="1217956"/>
              <a:ext cx="0" cy="540000"/>
            </a:xfrm>
            <a:prstGeom prst="straightConnector1">
              <a:avLst/>
            </a:prstGeom>
            <a:ln w="19050" cap="rnd">
              <a:solidFill>
                <a:schemeClr val="tx2">
                  <a:lumMod val="60000"/>
                  <a:lumOff val="40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18" name="Rectangle 7">
              <a:extLst>
                <a:ext uri="{FF2B5EF4-FFF2-40B4-BE49-F238E27FC236}">
                  <a16:creationId xmlns:a16="http://schemas.microsoft.com/office/drawing/2014/main" id="{192EDFE0-F7DB-4421-912A-D8D1448F213E}"/>
                </a:ext>
              </a:extLst>
            </p:cNvPr>
            <p:cNvSpPr>
              <a:spLocks noChangeArrowheads="1"/>
            </p:cNvSpPr>
            <p:nvPr/>
          </p:nvSpPr>
          <p:spPr bwMode="auto">
            <a:xfrm>
              <a:off x="4839836" y="861342"/>
              <a:ext cx="2570614" cy="254567"/>
            </a:xfrm>
            <a:prstGeom prst="rect">
              <a:avLst/>
            </a:prstGeom>
            <a:noFill/>
            <a:ln w="6350">
              <a:noFill/>
              <a:miter lim="800000"/>
              <a:headEnd/>
              <a:tailEnd/>
            </a:ln>
            <a:effectLst/>
          </p:spPr>
          <p:txBody>
            <a:bodyPr wrap="none" lIns="45720" rIns="45720"/>
            <a:lstStyle/>
            <a:p>
              <a:pPr algn="ctr" eaLnBrk="0" hangingPunct="0"/>
              <a:r>
                <a:rPr lang="en-US" b="1" dirty="0">
                  <a:solidFill>
                    <a:schemeClr val="accent2"/>
                  </a:solidFill>
                  <a:latin typeface="+mj-lt"/>
                </a:rPr>
                <a:t>Text</a:t>
              </a:r>
            </a:p>
          </p:txBody>
        </p:sp>
        <p:cxnSp>
          <p:nvCxnSpPr>
            <p:cNvPr id="14" name="Straight Arrow Connector 13">
              <a:extLst>
                <a:ext uri="{FF2B5EF4-FFF2-40B4-BE49-F238E27FC236}">
                  <a16:creationId xmlns:a16="http://schemas.microsoft.com/office/drawing/2014/main" id="{F554A83A-3830-451D-A1D3-69737A26B57B}"/>
                </a:ext>
                <a:ext uri="{C183D7F6-B498-43B3-948B-1728B52AA6E4}">
                  <adec:decorative xmlns:adec="http://schemas.microsoft.com/office/drawing/2017/decorative" val="1"/>
                </a:ext>
              </a:extLst>
            </p:cNvPr>
            <p:cNvCxnSpPr/>
            <p:nvPr/>
          </p:nvCxnSpPr>
          <p:spPr bwMode="auto">
            <a:xfrm>
              <a:off x="7934827" y="3555429"/>
              <a:ext cx="540000" cy="0"/>
            </a:xfrm>
            <a:prstGeom prst="straightConnector1">
              <a:avLst/>
            </a:prstGeom>
            <a:ln w="19050" cap="rnd">
              <a:solidFill>
                <a:schemeClr val="tx2">
                  <a:lumMod val="60000"/>
                  <a:lumOff val="40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20" name="Rectangle 9">
              <a:extLst>
                <a:ext uri="{FF2B5EF4-FFF2-40B4-BE49-F238E27FC236}">
                  <a16:creationId xmlns:a16="http://schemas.microsoft.com/office/drawing/2014/main" id="{E92E1320-3892-474D-AA0F-4B8E4B8B225F}"/>
                </a:ext>
              </a:extLst>
            </p:cNvPr>
            <p:cNvSpPr>
              <a:spLocks noChangeArrowheads="1"/>
            </p:cNvSpPr>
            <p:nvPr/>
          </p:nvSpPr>
          <p:spPr bwMode="auto">
            <a:xfrm>
              <a:off x="8534984" y="3396655"/>
              <a:ext cx="2570400" cy="317548"/>
            </a:xfrm>
            <a:prstGeom prst="rect">
              <a:avLst/>
            </a:prstGeom>
            <a:noFill/>
            <a:ln w="6350">
              <a:noFill/>
              <a:miter lim="800000"/>
              <a:headEnd/>
              <a:tailEnd/>
            </a:ln>
            <a:effectLst/>
          </p:spPr>
          <p:txBody>
            <a:bodyPr wrap="none" lIns="45720" rIns="45720" anchor="ctr" anchorCtr="0"/>
            <a:lstStyle/>
            <a:p>
              <a:pPr eaLnBrk="0" hangingPunct="0"/>
              <a:r>
                <a:rPr lang="en-US" b="1" dirty="0">
                  <a:solidFill>
                    <a:schemeClr val="accent2"/>
                  </a:solidFill>
                  <a:latin typeface="+mj-lt"/>
                </a:rPr>
                <a:t>Text</a:t>
              </a:r>
            </a:p>
          </p:txBody>
        </p:sp>
        <p:cxnSp>
          <p:nvCxnSpPr>
            <p:cNvPr id="17" name="Straight Arrow Connector 16">
              <a:extLst>
                <a:ext uri="{FF2B5EF4-FFF2-40B4-BE49-F238E27FC236}">
                  <a16:creationId xmlns:a16="http://schemas.microsoft.com/office/drawing/2014/main" id="{596291AB-D457-41D8-8839-057C91110FA3}"/>
                </a:ext>
                <a:ext uri="{C183D7F6-B498-43B3-948B-1728B52AA6E4}">
                  <adec:decorative xmlns:adec="http://schemas.microsoft.com/office/drawing/2017/decorative" val="1"/>
                </a:ext>
              </a:extLst>
            </p:cNvPr>
            <p:cNvCxnSpPr/>
            <p:nvPr/>
          </p:nvCxnSpPr>
          <p:spPr bwMode="auto">
            <a:xfrm>
              <a:off x="6125143" y="5345918"/>
              <a:ext cx="0" cy="540000"/>
            </a:xfrm>
            <a:prstGeom prst="straightConnector1">
              <a:avLst/>
            </a:prstGeom>
            <a:ln w="19050" cap="rnd">
              <a:solidFill>
                <a:schemeClr val="tx2">
                  <a:lumMod val="60000"/>
                  <a:lumOff val="40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19" name="Rectangle 8">
              <a:extLst>
                <a:ext uri="{FF2B5EF4-FFF2-40B4-BE49-F238E27FC236}">
                  <a16:creationId xmlns:a16="http://schemas.microsoft.com/office/drawing/2014/main" id="{342DAF04-A6F6-4FA2-B1EA-8AA8904FEA37}"/>
                </a:ext>
              </a:extLst>
            </p:cNvPr>
            <p:cNvSpPr>
              <a:spLocks noChangeArrowheads="1"/>
            </p:cNvSpPr>
            <p:nvPr/>
          </p:nvSpPr>
          <p:spPr bwMode="auto">
            <a:xfrm>
              <a:off x="4839836" y="5885918"/>
              <a:ext cx="2570614" cy="339231"/>
            </a:xfrm>
            <a:prstGeom prst="rect">
              <a:avLst/>
            </a:prstGeom>
            <a:noFill/>
            <a:ln w="6350">
              <a:noFill/>
              <a:miter lim="800000"/>
              <a:headEnd/>
              <a:tailEnd/>
            </a:ln>
            <a:effectLst/>
          </p:spPr>
          <p:txBody>
            <a:bodyPr wrap="none" lIns="45720" rIns="45720"/>
            <a:lstStyle/>
            <a:p>
              <a:pPr algn="ctr" eaLnBrk="0" hangingPunct="0"/>
              <a:r>
                <a:rPr lang="en-US" b="1" dirty="0">
                  <a:solidFill>
                    <a:schemeClr val="accent2"/>
                  </a:solidFill>
                  <a:latin typeface="+mj-lt"/>
                </a:rPr>
                <a:t>Text</a:t>
              </a:r>
            </a:p>
          </p:txBody>
        </p:sp>
        <p:cxnSp>
          <p:nvCxnSpPr>
            <p:cNvPr id="16" name="Straight Arrow Connector 15">
              <a:extLst>
                <a:ext uri="{FF2B5EF4-FFF2-40B4-BE49-F238E27FC236}">
                  <a16:creationId xmlns:a16="http://schemas.microsoft.com/office/drawing/2014/main" id="{242AFC66-12E6-4271-8E57-85B369CFF763}"/>
                </a:ext>
                <a:ext uri="{C183D7F6-B498-43B3-948B-1728B52AA6E4}">
                  <adec:decorative xmlns:adec="http://schemas.microsoft.com/office/drawing/2017/decorative" val="1"/>
                </a:ext>
              </a:extLst>
            </p:cNvPr>
            <p:cNvCxnSpPr/>
            <p:nvPr/>
          </p:nvCxnSpPr>
          <p:spPr bwMode="auto">
            <a:xfrm flipH="1">
              <a:off x="3755178" y="3555429"/>
              <a:ext cx="540000" cy="1"/>
            </a:xfrm>
            <a:prstGeom prst="straightConnector1">
              <a:avLst/>
            </a:prstGeom>
            <a:ln w="19050" cap="rnd">
              <a:solidFill>
                <a:schemeClr val="tx2">
                  <a:lumMod val="60000"/>
                  <a:lumOff val="40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21" name="Rectangle 10">
              <a:extLst>
                <a:ext uri="{FF2B5EF4-FFF2-40B4-BE49-F238E27FC236}">
                  <a16:creationId xmlns:a16="http://schemas.microsoft.com/office/drawing/2014/main" id="{F2E7C7F6-D0AF-40EF-BDEC-370F7F48C838}"/>
                </a:ext>
              </a:extLst>
            </p:cNvPr>
            <p:cNvSpPr>
              <a:spLocks noChangeArrowheads="1"/>
            </p:cNvSpPr>
            <p:nvPr/>
          </p:nvSpPr>
          <p:spPr bwMode="auto">
            <a:xfrm>
              <a:off x="1142668" y="3428146"/>
              <a:ext cx="2570400" cy="254567"/>
            </a:xfrm>
            <a:prstGeom prst="rect">
              <a:avLst/>
            </a:prstGeom>
            <a:noFill/>
            <a:ln w="6350">
              <a:noFill/>
              <a:miter lim="800000"/>
              <a:headEnd/>
              <a:tailEnd/>
            </a:ln>
            <a:effectLst/>
          </p:spPr>
          <p:txBody>
            <a:bodyPr wrap="none" lIns="45720" rIns="45720" anchor="ctr" anchorCtr="0"/>
            <a:lstStyle/>
            <a:p>
              <a:pPr algn="r" eaLnBrk="0" hangingPunct="0"/>
              <a:r>
                <a:rPr lang="en-US" b="1" dirty="0">
                  <a:solidFill>
                    <a:schemeClr val="accent2"/>
                  </a:solidFill>
                  <a:latin typeface="+mj-lt"/>
                </a:rPr>
                <a:t>Text</a:t>
              </a:r>
            </a:p>
          </p:txBody>
        </p:sp>
      </p:grpSp>
      <p:sp>
        <p:nvSpPr>
          <p:cNvPr id="5" name="Footer Placeholder 4">
            <a:extLst>
              <a:ext uri="{FF2B5EF4-FFF2-40B4-BE49-F238E27FC236}">
                <a16:creationId xmlns:a16="http://schemas.microsoft.com/office/drawing/2014/main" id="{A200C3BA-8AD0-44A9-AB2F-51FF16FDF1F5}"/>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A2A8C904-7894-4B07-BB72-B9C605FA59F7}"/>
              </a:ext>
            </a:extLst>
          </p:cNvPr>
          <p:cNvSpPr>
            <a:spLocks noGrp="1"/>
          </p:cNvSpPr>
          <p:nvPr>
            <p:ph type="sldNum" sz="quarter" idx="10"/>
          </p:nvPr>
        </p:nvSpPr>
        <p:spPr/>
        <p:txBody>
          <a:bodyPr/>
          <a:lstStyle/>
          <a:p>
            <a:fld id="{1F90F471-3972-4120-B8B3-0237DE626C35}" type="slidenum">
              <a:rPr lang="en-US" smtClean="0"/>
              <a:pPr/>
              <a:t>172</a:t>
            </a:fld>
            <a:endParaRPr lang="en-US" dirty="0"/>
          </a:p>
        </p:txBody>
      </p:sp>
    </p:spTree>
    <p:extLst>
      <p:ext uri="{BB962C8B-B14F-4D97-AF65-F5344CB8AC3E}">
        <p14:creationId xmlns:p14="http://schemas.microsoft.com/office/powerpoint/2010/main" val="3686172605"/>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Forces 3</a:t>
            </a:r>
          </a:p>
        </p:txBody>
      </p:sp>
      <p:sp>
        <p:nvSpPr>
          <p:cNvPr id="9" name="Oval 8">
            <a:extLst>
              <a:ext uri="{FF2B5EF4-FFF2-40B4-BE49-F238E27FC236}">
                <a16:creationId xmlns:a16="http://schemas.microsoft.com/office/drawing/2014/main" id="{86E95D25-CD15-44EB-9A6D-FC4082949981}"/>
              </a:ext>
            </a:extLst>
          </p:cNvPr>
          <p:cNvSpPr>
            <a:spLocks noChangeArrowheads="1"/>
          </p:cNvSpPr>
          <p:nvPr/>
        </p:nvSpPr>
        <p:spPr bwMode="auto">
          <a:xfrm>
            <a:off x="4781550" y="1990536"/>
            <a:ext cx="2628900" cy="2628000"/>
          </a:xfrm>
          <a:prstGeom prst="ellipse">
            <a:avLst/>
          </a:prstGeom>
          <a:solidFill>
            <a:schemeClr val="accent2"/>
          </a:solidFill>
          <a:ln w="6350">
            <a:noFill/>
            <a:round/>
            <a:headEnd/>
            <a:tailEnd/>
          </a:ln>
          <a:effectLst/>
        </p:spPr>
        <p:txBody>
          <a:bodyPr wrap="none" lIns="72000" tIns="72000" rIns="72000" bIns="72000" anchor="ctr" anchorCtr="1"/>
          <a:lstStyle/>
          <a:p>
            <a:pPr marL="179388" indent="-179388" algn="ctr" eaLnBrk="0" hangingPunct="0">
              <a:lnSpc>
                <a:spcPct val="85000"/>
              </a:lnSpc>
              <a:spcBef>
                <a:spcPts val="100"/>
              </a:spcBef>
              <a:spcAft>
                <a:spcPts val="300"/>
              </a:spcAft>
            </a:pPr>
            <a:r>
              <a:rPr lang="en-US" b="1" dirty="0">
                <a:solidFill>
                  <a:schemeClr val="bg1"/>
                </a:solidFill>
                <a:latin typeface="+mj-lt"/>
              </a:rPr>
              <a:t>Text</a:t>
            </a:r>
          </a:p>
        </p:txBody>
      </p:sp>
      <p:sp>
        <p:nvSpPr>
          <p:cNvPr id="11" name="AutoShape 6">
            <a:extLst>
              <a:ext uri="{FF2B5EF4-FFF2-40B4-BE49-F238E27FC236}">
                <a16:creationId xmlns:a16="http://schemas.microsoft.com/office/drawing/2014/main" id="{F660DC36-41BF-4D5C-ACBE-1405867E7124}"/>
              </a:ext>
            </a:extLst>
          </p:cNvPr>
          <p:cNvSpPr>
            <a:spLocks noChangeAspect="1" noChangeArrowheads="1"/>
          </p:cNvSpPr>
          <p:nvPr/>
        </p:nvSpPr>
        <p:spPr bwMode="auto">
          <a:xfrm flipH="1">
            <a:off x="7182045" y="1990182"/>
            <a:ext cx="4207794" cy="2628709"/>
          </a:xfrm>
          <a:prstGeom prst="homePlate">
            <a:avLst>
              <a:gd name="adj" fmla="val 32103"/>
            </a:avLst>
          </a:prstGeom>
          <a:solidFill>
            <a:schemeClr val="tx2">
              <a:lumMod val="20000"/>
              <a:lumOff val="80000"/>
            </a:schemeClr>
          </a:solidFill>
          <a:ln w="6350">
            <a:noFill/>
            <a:miter lim="800000"/>
            <a:headEnd/>
            <a:tailEnd/>
          </a:ln>
          <a:effectLst/>
        </p:spPr>
        <p:txBody>
          <a:bodyPr lIns="720000" tIns="180000" rIns="72000" bIns="72000" anchor="t"/>
          <a:lstStyle/>
          <a:p>
            <a:pPr marL="0" lvl="1" eaLnBrk="0" hangingPunct="0">
              <a:lnSpc>
                <a:spcPct val="85000"/>
              </a:lnSpc>
              <a:spcBef>
                <a:spcPts val="100"/>
              </a:spcBef>
              <a:spcAft>
                <a:spcPts val="300"/>
              </a:spcAft>
              <a:buClr>
                <a:schemeClr val="folHlink"/>
              </a:buClr>
            </a:pPr>
            <a:r>
              <a:rPr lang="en-US" b="1" dirty="0">
                <a:latin typeface="+mj-lt"/>
              </a:rPr>
              <a:t>Text</a:t>
            </a:r>
          </a:p>
          <a:p>
            <a:pPr marL="177800" indent="-177800" algn="l" eaLnBrk="0" hangingPunct="0">
              <a:spcBef>
                <a:spcPts val="100"/>
              </a:spcBef>
              <a:spcAft>
                <a:spcPts val="100"/>
              </a:spcAft>
              <a:buFontTx/>
              <a:buChar char="•"/>
            </a:pPr>
            <a:r>
              <a:rPr lang="en-US" dirty="0"/>
              <a:t>Text</a:t>
            </a:r>
          </a:p>
          <a:p>
            <a:pPr marL="177800" indent="-177800" algn="l" eaLnBrk="0" hangingPunct="0">
              <a:spcBef>
                <a:spcPts val="100"/>
              </a:spcBef>
              <a:spcAft>
                <a:spcPts val="100"/>
              </a:spcAft>
              <a:buFontTx/>
              <a:buChar char="•"/>
            </a:pPr>
            <a:r>
              <a:rPr lang="en-US" dirty="0"/>
              <a:t>Text</a:t>
            </a:r>
          </a:p>
          <a:p>
            <a:pPr marL="177800" indent="-177800" algn="l" eaLnBrk="0" hangingPunct="0">
              <a:spcBef>
                <a:spcPts val="100"/>
              </a:spcBef>
              <a:spcAft>
                <a:spcPts val="100"/>
              </a:spcAft>
              <a:buFontTx/>
              <a:buChar char="•"/>
            </a:pPr>
            <a:r>
              <a:rPr lang="en-US" dirty="0"/>
              <a:t>Text</a:t>
            </a:r>
          </a:p>
        </p:txBody>
      </p:sp>
      <p:sp>
        <p:nvSpPr>
          <p:cNvPr id="5" name="Footer Placeholder 4">
            <a:extLst>
              <a:ext uri="{FF2B5EF4-FFF2-40B4-BE49-F238E27FC236}">
                <a16:creationId xmlns:a16="http://schemas.microsoft.com/office/drawing/2014/main" id="{C2DC0B80-11DC-4B61-861E-5DBE8A7894C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F56A3A31-7C67-4AE0-8968-7A4BE583D797}"/>
              </a:ext>
            </a:extLst>
          </p:cNvPr>
          <p:cNvSpPr>
            <a:spLocks noGrp="1"/>
          </p:cNvSpPr>
          <p:nvPr>
            <p:ph type="sldNum" sz="quarter" idx="10"/>
          </p:nvPr>
        </p:nvSpPr>
        <p:spPr/>
        <p:txBody>
          <a:bodyPr/>
          <a:lstStyle/>
          <a:p>
            <a:fld id="{1F90F471-3972-4120-B8B3-0237DE626C35}" type="slidenum">
              <a:rPr lang="en-US" smtClean="0"/>
              <a:pPr/>
              <a:t>173</a:t>
            </a:fld>
            <a:endParaRPr lang="en-US" dirty="0"/>
          </a:p>
        </p:txBody>
      </p:sp>
      <p:sp>
        <p:nvSpPr>
          <p:cNvPr id="13" name="AutoShape 7">
            <a:extLst>
              <a:ext uri="{FF2B5EF4-FFF2-40B4-BE49-F238E27FC236}">
                <a16:creationId xmlns:a16="http://schemas.microsoft.com/office/drawing/2014/main" id="{1BB139B3-2BAC-4A2A-8845-442AE47F24AD}"/>
              </a:ext>
            </a:extLst>
          </p:cNvPr>
          <p:cNvSpPr>
            <a:spLocks noChangeAspect="1" noChangeArrowheads="1"/>
          </p:cNvSpPr>
          <p:nvPr/>
        </p:nvSpPr>
        <p:spPr bwMode="auto">
          <a:xfrm>
            <a:off x="802161" y="1990004"/>
            <a:ext cx="4207794" cy="2628709"/>
          </a:xfrm>
          <a:prstGeom prst="homePlate">
            <a:avLst>
              <a:gd name="adj" fmla="val 32103"/>
            </a:avLst>
          </a:prstGeom>
          <a:solidFill>
            <a:schemeClr val="tx2">
              <a:lumMod val="20000"/>
              <a:lumOff val="80000"/>
            </a:schemeClr>
          </a:solidFill>
          <a:ln w="6350">
            <a:noFill/>
            <a:miter lim="800000"/>
            <a:headEnd/>
            <a:tailEnd/>
          </a:ln>
          <a:effectLst/>
        </p:spPr>
        <p:txBody>
          <a:bodyPr lIns="324000" tIns="180000" rIns="72000" bIns="72000" anchor="t"/>
          <a:lstStyle/>
          <a:p>
            <a:pPr marL="0" lvl="1" algn="l" eaLnBrk="0" hangingPunct="0">
              <a:lnSpc>
                <a:spcPct val="85000"/>
              </a:lnSpc>
              <a:spcBef>
                <a:spcPts val="100"/>
              </a:spcBef>
              <a:spcAft>
                <a:spcPts val="300"/>
              </a:spcAft>
              <a:buClr>
                <a:schemeClr val="folHlink"/>
              </a:buClr>
            </a:pPr>
            <a:r>
              <a:rPr lang="en-US" b="1" dirty="0">
                <a:latin typeface="+mj-lt"/>
              </a:rPr>
              <a:t>Text</a:t>
            </a:r>
          </a:p>
          <a:p>
            <a:pPr marL="177800" lvl="1" indent="-177800" algn="l" eaLnBrk="0" hangingPunct="0">
              <a:spcBef>
                <a:spcPts val="100"/>
              </a:spcBef>
              <a:spcAft>
                <a:spcPts val="100"/>
              </a:spcAft>
              <a:buFontTx/>
              <a:buChar char="•"/>
            </a:pPr>
            <a:r>
              <a:rPr lang="en-US" dirty="0"/>
              <a:t>Text</a:t>
            </a:r>
          </a:p>
          <a:p>
            <a:pPr marL="177800" lvl="1" indent="-177800" algn="l" eaLnBrk="0" hangingPunct="0">
              <a:spcBef>
                <a:spcPts val="100"/>
              </a:spcBef>
              <a:spcAft>
                <a:spcPts val="100"/>
              </a:spcAft>
              <a:buFontTx/>
              <a:buChar char="•"/>
            </a:pPr>
            <a:r>
              <a:rPr lang="en-US" dirty="0"/>
              <a:t>Text</a:t>
            </a:r>
          </a:p>
          <a:p>
            <a:pPr marL="177800" lvl="1" indent="-177800" algn="l" eaLnBrk="0" hangingPunct="0">
              <a:spcBef>
                <a:spcPts val="100"/>
              </a:spcBef>
              <a:spcAft>
                <a:spcPts val="100"/>
              </a:spcAft>
              <a:buFontTx/>
              <a:buChar char="•"/>
            </a:pPr>
            <a:r>
              <a:rPr lang="en-US" dirty="0"/>
              <a:t>Text</a:t>
            </a:r>
          </a:p>
        </p:txBody>
      </p:sp>
    </p:spTree>
    <p:extLst>
      <p:ext uri="{BB962C8B-B14F-4D97-AF65-F5344CB8AC3E}">
        <p14:creationId xmlns:p14="http://schemas.microsoft.com/office/powerpoint/2010/main" val="2352105087"/>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Forces 4</a:t>
            </a:r>
          </a:p>
        </p:txBody>
      </p:sp>
      <p:grpSp>
        <p:nvGrpSpPr>
          <p:cNvPr id="3" name="Group 2" descr="Forces: Inser text here">
            <a:extLst>
              <a:ext uri="{FF2B5EF4-FFF2-40B4-BE49-F238E27FC236}">
                <a16:creationId xmlns:a16="http://schemas.microsoft.com/office/drawing/2014/main" id="{5B008ABF-ED16-4F4E-AA49-EA1EC11EBEF6}"/>
              </a:ext>
            </a:extLst>
          </p:cNvPr>
          <p:cNvGrpSpPr/>
          <p:nvPr/>
        </p:nvGrpSpPr>
        <p:grpSpPr>
          <a:xfrm>
            <a:off x="1611900" y="1327386"/>
            <a:ext cx="9024252" cy="4429728"/>
            <a:chOff x="1611900" y="1327386"/>
            <a:chExt cx="9024252" cy="4429728"/>
          </a:xfrm>
        </p:grpSpPr>
        <p:sp>
          <p:nvSpPr>
            <p:cNvPr id="22" name="Rectangle 21">
              <a:extLst>
                <a:ext uri="{FF2B5EF4-FFF2-40B4-BE49-F238E27FC236}">
                  <a16:creationId xmlns:a16="http://schemas.microsoft.com/office/drawing/2014/main" id="{F95E425A-AEF6-4E18-B9DF-3FD306526544}"/>
                </a:ext>
              </a:extLst>
            </p:cNvPr>
            <p:cNvSpPr>
              <a:spLocks noChangeAspect="1" noChangeArrowheads="1"/>
            </p:cNvSpPr>
            <p:nvPr/>
          </p:nvSpPr>
          <p:spPr bwMode="auto">
            <a:xfrm>
              <a:off x="4878855" y="2310258"/>
              <a:ext cx="2490342" cy="2490342"/>
            </a:xfrm>
            <a:prstGeom prst="rect">
              <a:avLst/>
            </a:prstGeom>
            <a:pattFill prst="dkUpDiag">
              <a:fgClr>
                <a:schemeClr val="tx2">
                  <a:lumMod val="40000"/>
                  <a:lumOff val="60000"/>
                </a:schemeClr>
              </a:fgClr>
              <a:bgClr>
                <a:schemeClr val="bg1"/>
              </a:bgClr>
            </a:pattFill>
            <a:ln w="6350">
              <a:noFill/>
              <a:round/>
              <a:headEnd/>
              <a:tailEnd/>
            </a:ln>
            <a:effectLst/>
          </p:spPr>
          <p:txBody>
            <a:bodyPr wrap="none" lIns="36000" tIns="36000" rIns="36000" bIns="36000" anchor="ctr" anchorCtr="1"/>
            <a:lstStyle/>
            <a:p>
              <a:pPr algn="ctr" eaLnBrk="0" hangingPunct="0">
                <a:lnSpc>
                  <a:spcPct val="85000"/>
                </a:lnSpc>
                <a:spcBef>
                  <a:spcPts val="100"/>
                </a:spcBef>
                <a:spcAft>
                  <a:spcPts val="300"/>
                </a:spcAft>
              </a:pPr>
              <a:r>
                <a:rPr lang="en-US" b="1" dirty="0">
                  <a:solidFill>
                    <a:schemeClr val="accent3"/>
                  </a:solidFill>
                  <a:latin typeface="+mj-lt"/>
                </a:rPr>
                <a:t>Text</a:t>
              </a:r>
            </a:p>
          </p:txBody>
        </p:sp>
        <p:cxnSp>
          <p:nvCxnSpPr>
            <p:cNvPr id="15" name="Straight Arrow Connector 14">
              <a:extLst>
                <a:ext uri="{FF2B5EF4-FFF2-40B4-BE49-F238E27FC236}">
                  <a16:creationId xmlns:a16="http://schemas.microsoft.com/office/drawing/2014/main" id="{1197A5F2-E85B-47A4-B144-29D42C8A903B}"/>
                </a:ext>
                <a:ext uri="{C183D7F6-B498-43B3-948B-1728B52AA6E4}">
                  <adec:decorative xmlns:adec="http://schemas.microsoft.com/office/drawing/2017/decorative" val="1"/>
                </a:ext>
              </a:extLst>
            </p:cNvPr>
            <p:cNvCxnSpPr/>
            <p:nvPr/>
          </p:nvCxnSpPr>
          <p:spPr bwMode="auto">
            <a:xfrm flipV="1">
              <a:off x="6125143" y="1684000"/>
              <a:ext cx="0" cy="540000"/>
            </a:xfrm>
            <a:prstGeom prst="straightConnector1">
              <a:avLst/>
            </a:prstGeom>
            <a:ln w="19050" cap="rnd">
              <a:solidFill>
                <a:schemeClr val="tx2">
                  <a:lumMod val="60000"/>
                  <a:lumOff val="40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18" name="Rectangle 7">
              <a:extLst>
                <a:ext uri="{FF2B5EF4-FFF2-40B4-BE49-F238E27FC236}">
                  <a16:creationId xmlns:a16="http://schemas.microsoft.com/office/drawing/2014/main" id="{9708B750-CB16-4C9F-8ED7-BB6C340A160C}"/>
                </a:ext>
              </a:extLst>
            </p:cNvPr>
            <p:cNvSpPr>
              <a:spLocks noChangeArrowheads="1"/>
            </p:cNvSpPr>
            <p:nvPr/>
          </p:nvSpPr>
          <p:spPr bwMode="auto">
            <a:xfrm>
              <a:off x="4839836" y="1327386"/>
              <a:ext cx="2570614" cy="254567"/>
            </a:xfrm>
            <a:prstGeom prst="rect">
              <a:avLst/>
            </a:prstGeom>
            <a:noFill/>
            <a:ln w="6350">
              <a:noFill/>
              <a:miter lim="800000"/>
              <a:headEnd/>
              <a:tailEnd/>
            </a:ln>
            <a:effectLst/>
          </p:spPr>
          <p:txBody>
            <a:bodyPr wrap="none" lIns="45720" rIns="45720"/>
            <a:lstStyle/>
            <a:p>
              <a:pPr algn="ctr" eaLnBrk="0" hangingPunct="0"/>
              <a:r>
                <a:rPr lang="en-US" b="1" dirty="0">
                  <a:solidFill>
                    <a:schemeClr val="accent2"/>
                  </a:solidFill>
                  <a:latin typeface="+mj-lt"/>
                </a:rPr>
                <a:t>Text</a:t>
              </a:r>
            </a:p>
          </p:txBody>
        </p:sp>
        <p:cxnSp>
          <p:nvCxnSpPr>
            <p:cNvPr id="14" name="Straight Arrow Connector 13">
              <a:extLst>
                <a:ext uri="{FF2B5EF4-FFF2-40B4-BE49-F238E27FC236}">
                  <a16:creationId xmlns:a16="http://schemas.microsoft.com/office/drawing/2014/main" id="{C8272CC4-A866-489D-9BCC-036C61F0C3F3}"/>
                </a:ext>
                <a:ext uri="{C183D7F6-B498-43B3-948B-1728B52AA6E4}">
                  <adec:decorative xmlns:adec="http://schemas.microsoft.com/office/drawing/2017/decorative" val="1"/>
                </a:ext>
              </a:extLst>
            </p:cNvPr>
            <p:cNvCxnSpPr/>
            <p:nvPr/>
          </p:nvCxnSpPr>
          <p:spPr bwMode="auto">
            <a:xfrm>
              <a:off x="7465595" y="3555429"/>
              <a:ext cx="540000" cy="0"/>
            </a:xfrm>
            <a:prstGeom prst="straightConnector1">
              <a:avLst/>
            </a:prstGeom>
            <a:ln w="19050" cap="rnd">
              <a:solidFill>
                <a:schemeClr val="tx2">
                  <a:lumMod val="60000"/>
                  <a:lumOff val="40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20" name="Rectangle 9">
              <a:extLst>
                <a:ext uri="{FF2B5EF4-FFF2-40B4-BE49-F238E27FC236}">
                  <a16:creationId xmlns:a16="http://schemas.microsoft.com/office/drawing/2014/main" id="{26F2D0AA-8ACA-43D4-9183-4F49FDFDF553}"/>
                </a:ext>
              </a:extLst>
            </p:cNvPr>
            <p:cNvSpPr>
              <a:spLocks noChangeArrowheads="1"/>
            </p:cNvSpPr>
            <p:nvPr/>
          </p:nvSpPr>
          <p:spPr bwMode="auto">
            <a:xfrm>
              <a:off x="8065752" y="3396655"/>
              <a:ext cx="2570400" cy="317548"/>
            </a:xfrm>
            <a:prstGeom prst="rect">
              <a:avLst/>
            </a:prstGeom>
            <a:noFill/>
            <a:ln w="6350">
              <a:noFill/>
              <a:miter lim="800000"/>
              <a:headEnd/>
              <a:tailEnd/>
            </a:ln>
            <a:effectLst/>
          </p:spPr>
          <p:txBody>
            <a:bodyPr wrap="none" lIns="45720" rIns="45720" anchor="ctr" anchorCtr="0"/>
            <a:lstStyle/>
            <a:p>
              <a:pPr eaLnBrk="0" hangingPunct="0"/>
              <a:r>
                <a:rPr lang="en-US" b="1" dirty="0">
                  <a:solidFill>
                    <a:schemeClr val="accent2"/>
                  </a:solidFill>
                  <a:latin typeface="+mj-lt"/>
                </a:rPr>
                <a:t>Text</a:t>
              </a:r>
            </a:p>
          </p:txBody>
        </p:sp>
        <p:cxnSp>
          <p:nvCxnSpPr>
            <p:cNvPr id="17" name="Straight Arrow Connector 16">
              <a:extLst>
                <a:ext uri="{FF2B5EF4-FFF2-40B4-BE49-F238E27FC236}">
                  <a16:creationId xmlns:a16="http://schemas.microsoft.com/office/drawing/2014/main" id="{4C99A67D-83B8-429F-A669-DE6227BF1187}"/>
                </a:ext>
                <a:ext uri="{C183D7F6-B498-43B3-948B-1728B52AA6E4}">
                  <adec:decorative xmlns:adec="http://schemas.microsoft.com/office/drawing/2017/decorative" val="1"/>
                </a:ext>
              </a:extLst>
            </p:cNvPr>
            <p:cNvCxnSpPr/>
            <p:nvPr/>
          </p:nvCxnSpPr>
          <p:spPr bwMode="auto">
            <a:xfrm>
              <a:off x="6125143" y="4877883"/>
              <a:ext cx="0" cy="540000"/>
            </a:xfrm>
            <a:prstGeom prst="straightConnector1">
              <a:avLst/>
            </a:prstGeom>
            <a:ln w="19050" cap="rnd">
              <a:solidFill>
                <a:schemeClr val="tx2">
                  <a:lumMod val="60000"/>
                  <a:lumOff val="40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19" name="Rectangle 8">
              <a:extLst>
                <a:ext uri="{FF2B5EF4-FFF2-40B4-BE49-F238E27FC236}">
                  <a16:creationId xmlns:a16="http://schemas.microsoft.com/office/drawing/2014/main" id="{714DFCE5-1F20-4D6F-9AA1-31E741D6A0F6}"/>
                </a:ext>
              </a:extLst>
            </p:cNvPr>
            <p:cNvSpPr>
              <a:spLocks noChangeArrowheads="1"/>
            </p:cNvSpPr>
            <p:nvPr/>
          </p:nvSpPr>
          <p:spPr bwMode="auto">
            <a:xfrm>
              <a:off x="4839836" y="5417883"/>
              <a:ext cx="2570614" cy="339231"/>
            </a:xfrm>
            <a:prstGeom prst="rect">
              <a:avLst/>
            </a:prstGeom>
            <a:noFill/>
            <a:ln w="6350">
              <a:noFill/>
              <a:miter lim="800000"/>
              <a:headEnd/>
              <a:tailEnd/>
            </a:ln>
            <a:effectLst/>
          </p:spPr>
          <p:txBody>
            <a:bodyPr wrap="none" lIns="45720" rIns="45720"/>
            <a:lstStyle/>
            <a:p>
              <a:pPr algn="ctr" eaLnBrk="0" hangingPunct="0"/>
              <a:r>
                <a:rPr lang="en-US" b="1" dirty="0">
                  <a:solidFill>
                    <a:schemeClr val="accent2"/>
                  </a:solidFill>
                  <a:latin typeface="+mj-lt"/>
                </a:rPr>
                <a:t>Text</a:t>
              </a:r>
            </a:p>
          </p:txBody>
        </p:sp>
        <p:cxnSp>
          <p:nvCxnSpPr>
            <p:cNvPr id="16" name="Straight Arrow Connector 15">
              <a:extLst>
                <a:ext uri="{FF2B5EF4-FFF2-40B4-BE49-F238E27FC236}">
                  <a16:creationId xmlns:a16="http://schemas.microsoft.com/office/drawing/2014/main" id="{8736F7D4-BFC0-4964-AA8A-95B866FF4050}"/>
                </a:ext>
                <a:ext uri="{C183D7F6-B498-43B3-948B-1728B52AA6E4}">
                  <adec:decorative xmlns:adec="http://schemas.microsoft.com/office/drawing/2017/decorative" val="1"/>
                </a:ext>
              </a:extLst>
            </p:cNvPr>
            <p:cNvCxnSpPr/>
            <p:nvPr/>
          </p:nvCxnSpPr>
          <p:spPr bwMode="auto">
            <a:xfrm flipH="1">
              <a:off x="4224410" y="3555429"/>
              <a:ext cx="540000" cy="1"/>
            </a:xfrm>
            <a:prstGeom prst="straightConnector1">
              <a:avLst/>
            </a:prstGeom>
            <a:ln w="19050" cap="rnd">
              <a:solidFill>
                <a:schemeClr val="tx2">
                  <a:lumMod val="60000"/>
                  <a:lumOff val="40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21" name="Rectangle 10">
              <a:extLst>
                <a:ext uri="{FF2B5EF4-FFF2-40B4-BE49-F238E27FC236}">
                  <a16:creationId xmlns:a16="http://schemas.microsoft.com/office/drawing/2014/main" id="{C0914C65-795F-44F7-ACE2-8A800A61D70C}"/>
                </a:ext>
              </a:extLst>
            </p:cNvPr>
            <p:cNvSpPr>
              <a:spLocks noChangeArrowheads="1"/>
            </p:cNvSpPr>
            <p:nvPr/>
          </p:nvSpPr>
          <p:spPr bwMode="auto">
            <a:xfrm>
              <a:off x="1611900" y="3428146"/>
              <a:ext cx="2570400" cy="254567"/>
            </a:xfrm>
            <a:prstGeom prst="rect">
              <a:avLst/>
            </a:prstGeom>
            <a:noFill/>
            <a:ln w="6350">
              <a:noFill/>
              <a:miter lim="800000"/>
              <a:headEnd/>
              <a:tailEnd/>
            </a:ln>
            <a:effectLst/>
          </p:spPr>
          <p:txBody>
            <a:bodyPr wrap="none" lIns="45720" rIns="45720" anchor="ctr" anchorCtr="0"/>
            <a:lstStyle/>
            <a:p>
              <a:pPr algn="r" eaLnBrk="0" hangingPunct="0"/>
              <a:r>
                <a:rPr lang="en-US" b="1" dirty="0">
                  <a:solidFill>
                    <a:schemeClr val="accent2"/>
                  </a:solidFill>
                  <a:latin typeface="+mj-lt"/>
                </a:rPr>
                <a:t>Text</a:t>
              </a:r>
            </a:p>
          </p:txBody>
        </p:sp>
      </p:grpSp>
      <p:sp>
        <p:nvSpPr>
          <p:cNvPr id="5" name="Footer Placeholder 4">
            <a:extLst>
              <a:ext uri="{FF2B5EF4-FFF2-40B4-BE49-F238E27FC236}">
                <a16:creationId xmlns:a16="http://schemas.microsoft.com/office/drawing/2014/main" id="{EC87B7D0-16D3-43CE-B67C-C395F8F7A316}"/>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10777907-B14D-42AF-B270-FE04F51ED1B4}"/>
              </a:ext>
            </a:extLst>
          </p:cNvPr>
          <p:cNvSpPr>
            <a:spLocks noGrp="1"/>
          </p:cNvSpPr>
          <p:nvPr>
            <p:ph type="sldNum" sz="quarter" idx="10"/>
          </p:nvPr>
        </p:nvSpPr>
        <p:spPr/>
        <p:txBody>
          <a:bodyPr/>
          <a:lstStyle/>
          <a:p>
            <a:fld id="{1F90F471-3972-4120-B8B3-0237DE626C35}" type="slidenum">
              <a:rPr lang="en-US" smtClean="0"/>
              <a:pPr/>
              <a:t>174</a:t>
            </a:fld>
            <a:endParaRPr lang="en-US" dirty="0"/>
          </a:p>
        </p:txBody>
      </p:sp>
    </p:spTree>
    <p:extLst>
      <p:ext uri="{BB962C8B-B14F-4D97-AF65-F5344CB8AC3E}">
        <p14:creationId xmlns:p14="http://schemas.microsoft.com/office/powerpoint/2010/main" val="4030568957"/>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Forces 5</a:t>
            </a:r>
          </a:p>
        </p:txBody>
      </p:sp>
      <p:grpSp>
        <p:nvGrpSpPr>
          <p:cNvPr id="3" name="Group 2" descr="Forces insert text here">
            <a:extLst>
              <a:ext uri="{FF2B5EF4-FFF2-40B4-BE49-F238E27FC236}">
                <a16:creationId xmlns:a16="http://schemas.microsoft.com/office/drawing/2014/main" id="{44CE93EE-80B9-469E-8D1E-76442D9BD8E9}"/>
              </a:ext>
            </a:extLst>
          </p:cNvPr>
          <p:cNvGrpSpPr/>
          <p:nvPr/>
        </p:nvGrpSpPr>
        <p:grpSpPr>
          <a:xfrm>
            <a:off x="2653872" y="1219200"/>
            <a:ext cx="6964300" cy="4838700"/>
            <a:chOff x="2653872" y="1219200"/>
            <a:chExt cx="6964300" cy="4838700"/>
          </a:xfrm>
        </p:grpSpPr>
        <p:sp>
          <p:nvSpPr>
            <p:cNvPr id="26" name="Oval 36">
              <a:extLst>
                <a:ext uri="{FF2B5EF4-FFF2-40B4-BE49-F238E27FC236}">
                  <a16:creationId xmlns:a16="http://schemas.microsoft.com/office/drawing/2014/main" id="{25964C26-6354-46F5-97FF-584719E4E473}"/>
                </a:ext>
              </a:extLst>
            </p:cNvPr>
            <p:cNvSpPr>
              <a:spLocks noChangeArrowheads="1"/>
            </p:cNvSpPr>
            <p:nvPr>
              <p:custDataLst>
                <p:tags r:id="rId1"/>
              </p:custDataLst>
            </p:nvPr>
          </p:nvSpPr>
          <p:spPr bwMode="auto">
            <a:xfrm>
              <a:off x="4713317" y="3125393"/>
              <a:ext cx="2832920" cy="1028752"/>
            </a:xfrm>
            <a:prstGeom prst="rect">
              <a:avLst/>
            </a:prstGeom>
            <a:solidFill>
              <a:schemeClr val="accent2"/>
            </a:solidFill>
            <a:ln w="6350">
              <a:noFill/>
              <a:round/>
              <a:headEnd/>
              <a:tailEnd/>
            </a:ln>
            <a:effectLst/>
          </p:spPr>
          <p:txBody>
            <a:bodyPr wrap="none" lIns="45720" rIns="45720" anchor="ctr" anchorCtr="1"/>
            <a:lstStyle/>
            <a:p>
              <a:pPr marL="179388" indent="-179388" algn="ctr" eaLnBrk="0" hangingPunct="0">
                <a:lnSpc>
                  <a:spcPct val="85000"/>
                </a:lnSpc>
                <a:spcBef>
                  <a:spcPts val="100"/>
                </a:spcBef>
                <a:spcAft>
                  <a:spcPts val="300"/>
                </a:spcAft>
              </a:pPr>
              <a:r>
                <a:rPr lang="en-GB" b="1" dirty="0">
                  <a:solidFill>
                    <a:schemeClr val="bg1"/>
                  </a:solidFill>
                  <a:latin typeface="+mj-lt"/>
                </a:rPr>
                <a:t>Text</a:t>
              </a:r>
              <a:endParaRPr lang="en-US" b="1" dirty="0">
                <a:solidFill>
                  <a:schemeClr val="bg1"/>
                </a:solidFill>
                <a:latin typeface="+mj-lt"/>
              </a:endParaRPr>
            </a:p>
          </p:txBody>
        </p:sp>
        <p:sp>
          <p:nvSpPr>
            <p:cNvPr id="20" name="Oval 29">
              <a:extLst>
                <a:ext uri="{FF2B5EF4-FFF2-40B4-BE49-F238E27FC236}">
                  <a16:creationId xmlns:a16="http://schemas.microsoft.com/office/drawing/2014/main" id="{FDE714E5-1922-4BF0-9D91-BDB6B4A1EB97}"/>
                </a:ext>
              </a:extLst>
            </p:cNvPr>
            <p:cNvSpPr>
              <a:spLocks noChangeArrowheads="1"/>
            </p:cNvSpPr>
            <p:nvPr>
              <p:custDataLst>
                <p:tags r:id="rId2"/>
              </p:custDataLst>
            </p:nvPr>
          </p:nvSpPr>
          <p:spPr bwMode="auto">
            <a:xfrm>
              <a:off x="5481914" y="1219200"/>
              <a:ext cx="1295725" cy="1295725"/>
            </a:xfrm>
            <a:prstGeom prst="ellipse">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b="1" dirty="0">
                  <a:solidFill>
                    <a:schemeClr val="accent2"/>
                  </a:solidFill>
                </a:rPr>
                <a:t>Text</a:t>
              </a:r>
              <a:endParaRPr lang="en-US" b="1" dirty="0">
                <a:solidFill>
                  <a:schemeClr val="accent2"/>
                </a:solidFill>
              </a:endParaRPr>
            </a:p>
          </p:txBody>
        </p:sp>
        <p:cxnSp>
          <p:nvCxnSpPr>
            <p:cNvPr id="19" name="AutoShape 42">
              <a:extLst>
                <a:ext uri="{FF2B5EF4-FFF2-40B4-BE49-F238E27FC236}">
                  <a16:creationId xmlns:a16="http://schemas.microsoft.com/office/drawing/2014/main" id="{4589FCCB-4B7C-41EB-8AA2-EB4326775FEC}"/>
                </a:ext>
                <a:ext uri="{C183D7F6-B498-43B3-948B-1728B52AA6E4}">
                  <adec:decorative xmlns:adec="http://schemas.microsoft.com/office/drawing/2017/decorative" val="1"/>
                </a:ext>
              </a:extLst>
            </p:cNvPr>
            <p:cNvCxnSpPr>
              <a:cxnSpLocks noChangeShapeType="1"/>
              <a:endCxn id="20" idx="4"/>
            </p:cNvCxnSpPr>
            <p:nvPr>
              <p:custDataLst>
                <p:tags r:id="rId3"/>
              </p:custDataLst>
            </p:nvPr>
          </p:nvCxnSpPr>
          <p:spPr bwMode="auto">
            <a:xfrm flipV="1">
              <a:off x="6129777" y="2514925"/>
              <a:ext cx="0" cy="530646"/>
            </a:xfrm>
            <a:prstGeom prst="straightConnector1">
              <a:avLst/>
            </a:prstGeom>
            <a:noFill/>
            <a:ln w="19050" cap="rnd">
              <a:solidFill>
                <a:schemeClr val="tx2">
                  <a:lumMod val="60000"/>
                  <a:lumOff val="40000"/>
                </a:schemeClr>
              </a:solidFill>
              <a:prstDash val="sysDot"/>
              <a:round/>
              <a:headEnd type="triangle"/>
              <a:tailEnd/>
            </a:ln>
            <a:effectLst/>
          </p:spPr>
        </p:cxnSp>
        <p:sp>
          <p:nvSpPr>
            <p:cNvPr id="21" name="Oval 30">
              <a:extLst>
                <a:ext uri="{FF2B5EF4-FFF2-40B4-BE49-F238E27FC236}">
                  <a16:creationId xmlns:a16="http://schemas.microsoft.com/office/drawing/2014/main" id="{A510A980-CFE6-48AE-B25E-A1ED42AF55CF}"/>
                </a:ext>
              </a:extLst>
            </p:cNvPr>
            <p:cNvSpPr>
              <a:spLocks noChangeArrowheads="1"/>
            </p:cNvSpPr>
            <p:nvPr>
              <p:custDataLst>
                <p:tags r:id="rId4"/>
              </p:custDataLst>
            </p:nvPr>
          </p:nvSpPr>
          <p:spPr bwMode="auto">
            <a:xfrm>
              <a:off x="8309956" y="1950137"/>
              <a:ext cx="1295725" cy="1295725"/>
            </a:xfrm>
            <a:prstGeom prst="ellipse">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b="1" dirty="0">
                  <a:solidFill>
                    <a:schemeClr val="accent2"/>
                  </a:solidFill>
                </a:rPr>
                <a:t>Text</a:t>
              </a:r>
              <a:endParaRPr lang="en-US" b="1" dirty="0">
                <a:solidFill>
                  <a:schemeClr val="accent2"/>
                </a:solidFill>
              </a:endParaRPr>
            </a:p>
          </p:txBody>
        </p:sp>
        <p:cxnSp>
          <p:nvCxnSpPr>
            <p:cNvPr id="29" name="AutoShape 40">
              <a:extLst>
                <a:ext uri="{FF2B5EF4-FFF2-40B4-BE49-F238E27FC236}">
                  <a16:creationId xmlns:a16="http://schemas.microsoft.com/office/drawing/2014/main" id="{4DA523B1-258E-4234-82A3-6C8C5D18A8D9}"/>
                </a:ext>
                <a:ext uri="{C183D7F6-B498-43B3-948B-1728B52AA6E4}">
                  <adec:decorative xmlns:adec="http://schemas.microsoft.com/office/drawing/2017/decorative" val="1"/>
                </a:ext>
              </a:extLst>
            </p:cNvPr>
            <p:cNvCxnSpPr>
              <a:cxnSpLocks noChangeShapeType="1"/>
            </p:cNvCxnSpPr>
            <p:nvPr>
              <p:custDataLst>
                <p:tags r:id="rId5"/>
              </p:custDataLst>
            </p:nvPr>
          </p:nvCxnSpPr>
          <p:spPr bwMode="auto">
            <a:xfrm flipV="1">
              <a:off x="7691945" y="2808481"/>
              <a:ext cx="647861" cy="274840"/>
            </a:xfrm>
            <a:prstGeom prst="straightConnector1">
              <a:avLst/>
            </a:prstGeom>
            <a:noFill/>
            <a:ln w="19050" cap="rnd">
              <a:solidFill>
                <a:schemeClr val="tx2">
                  <a:lumMod val="60000"/>
                  <a:lumOff val="40000"/>
                </a:schemeClr>
              </a:solidFill>
              <a:prstDash val="sysDot"/>
              <a:round/>
              <a:headEnd type="triangle"/>
              <a:tailEnd/>
            </a:ln>
            <a:effectLst/>
          </p:spPr>
        </p:cxnSp>
        <p:sp>
          <p:nvSpPr>
            <p:cNvPr id="22" name="Oval 31">
              <a:extLst>
                <a:ext uri="{FF2B5EF4-FFF2-40B4-BE49-F238E27FC236}">
                  <a16:creationId xmlns:a16="http://schemas.microsoft.com/office/drawing/2014/main" id="{15DF910F-9373-48C0-8761-2CE3EF50E88E}"/>
                </a:ext>
              </a:extLst>
            </p:cNvPr>
            <p:cNvSpPr>
              <a:spLocks noChangeArrowheads="1"/>
            </p:cNvSpPr>
            <p:nvPr>
              <p:custDataLst>
                <p:tags r:id="rId6"/>
              </p:custDataLst>
            </p:nvPr>
          </p:nvSpPr>
          <p:spPr bwMode="auto">
            <a:xfrm>
              <a:off x="8322447" y="3999341"/>
              <a:ext cx="1295725" cy="1295725"/>
            </a:xfrm>
            <a:prstGeom prst="ellipse">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b="1" dirty="0">
                  <a:solidFill>
                    <a:schemeClr val="accent2"/>
                  </a:solidFill>
                </a:rPr>
                <a:t>Text</a:t>
              </a:r>
              <a:endParaRPr lang="en-US" b="1" dirty="0">
                <a:solidFill>
                  <a:schemeClr val="accent2"/>
                </a:solidFill>
              </a:endParaRPr>
            </a:p>
          </p:txBody>
        </p:sp>
        <p:cxnSp>
          <p:nvCxnSpPr>
            <p:cNvPr id="30" name="AutoShape 40">
              <a:extLst>
                <a:ext uri="{FF2B5EF4-FFF2-40B4-BE49-F238E27FC236}">
                  <a16:creationId xmlns:a16="http://schemas.microsoft.com/office/drawing/2014/main" id="{FE0BD34B-2D5C-4E70-88E4-A2CD9021D942}"/>
                </a:ext>
                <a:ext uri="{C183D7F6-B498-43B3-948B-1728B52AA6E4}">
                  <adec:decorative xmlns:adec="http://schemas.microsoft.com/office/drawing/2017/decorative" val="1"/>
                </a:ext>
              </a:extLst>
            </p:cNvPr>
            <p:cNvCxnSpPr>
              <a:cxnSpLocks noChangeShapeType="1"/>
            </p:cNvCxnSpPr>
            <p:nvPr>
              <p:custDataLst>
                <p:tags r:id="rId7"/>
              </p:custDataLst>
            </p:nvPr>
          </p:nvCxnSpPr>
          <p:spPr bwMode="auto">
            <a:xfrm>
              <a:off x="7691945" y="4186577"/>
              <a:ext cx="647861" cy="274840"/>
            </a:xfrm>
            <a:prstGeom prst="straightConnector1">
              <a:avLst/>
            </a:prstGeom>
            <a:noFill/>
            <a:ln w="19050" cap="rnd">
              <a:solidFill>
                <a:schemeClr val="tx2">
                  <a:lumMod val="60000"/>
                  <a:lumOff val="40000"/>
                </a:schemeClr>
              </a:solidFill>
              <a:prstDash val="sysDot"/>
              <a:round/>
              <a:headEnd type="triangle"/>
              <a:tailEnd/>
            </a:ln>
            <a:effectLst/>
          </p:spPr>
        </p:cxnSp>
        <p:sp>
          <p:nvSpPr>
            <p:cNvPr id="24" name="Oval 34">
              <a:extLst>
                <a:ext uri="{FF2B5EF4-FFF2-40B4-BE49-F238E27FC236}">
                  <a16:creationId xmlns:a16="http://schemas.microsoft.com/office/drawing/2014/main" id="{1BAF8E32-4A86-4230-96C7-108F1BC020A6}"/>
                </a:ext>
              </a:extLst>
            </p:cNvPr>
            <p:cNvSpPr>
              <a:spLocks noChangeArrowheads="1"/>
            </p:cNvSpPr>
            <p:nvPr>
              <p:custDataLst>
                <p:tags r:id="rId8"/>
              </p:custDataLst>
            </p:nvPr>
          </p:nvSpPr>
          <p:spPr bwMode="auto">
            <a:xfrm>
              <a:off x="5481914" y="4762175"/>
              <a:ext cx="1295725" cy="1295725"/>
            </a:xfrm>
            <a:prstGeom prst="ellipse">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b="1" dirty="0">
                  <a:solidFill>
                    <a:schemeClr val="accent2"/>
                  </a:solidFill>
                </a:rPr>
                <a:t>Text</a:t>
              </a:r>
              <a:endParaRPr lang="en-US" b="1" dirty="0">
                <a:solidFill>
                  <a:schemeClr val="accent2"/>
                </a:solidFill>
              </a:endParaRPr>
            </a:p>
          </p:txBody>
        </p:sp>
        <p:cxnSp>
          <p:nvCxnSpPr>
            <p:cNvPr id="18" name="AutoShape 38">
              <a:extLst>
                <a:ext uri="{FF2B5EF4-FFF2-40B4-BE49-F238E27FC236}">
                  <a16:creationId xmlns:a16="http://schemas.microsoft.com/office/drawing/2014/main" id="{CEB8A882-A0D7-4DEF-8B58-AFD0C2AFE9AD}"/>
                </a:ext>
                <a:ext uri="{C183D7F6-B498-43B3-948B-1728B52AA6E4}">
                  <adec:decorative xmlns:adec="http://schemas.microsoft.com/office/drawing/2017/decorative" val="1"/>
                </a:ext>
              </a:extLst>
            </p:cNvPr>
            <p:cNvCxnSpPr>
              <a:cxnSpLocks noChangeShapeType="1"/>
              <a:stCxn id="24" idx="0"/>
            </p:cNvCxnSpPr>
            <p:nvPr>
              <p:custDataLst>
                <p:tags r:id="rId9"/>
              </p:custDataLst>
            </p:nvPr>
          </p:nvCxnSpPr>
          <p:spPr bwMode="auto">
            <a:xfrm flipV="1">
              <a:off x="6129777" y="4229555"/>
              <a:ext cx="0" cy="532620"/>
            </a:xfrm>
            <a:prstGeom prst="straightConnector1">
              <a:avLst/>
            </a:prstGeom>
            <a:noFill/>
            <a:ln w="19050" cap="rnd">
              <a:solidFill>
                <a:schemeClr val="tx2">
                  <a:lumMod val="60000"/>
                  <a:lumOff val="40000"/>
                </a:schemeClr>
              </a:solidFill>
              <a:prstDash val="sysDot"/>
              <a:round/>
              <a:headEnd/>
              <a:tailEnd type="triangle"/>
            </a:ln>
            <a:effectLst/>
          </p:spPr>
        </p:cxnSp>
        <p:sp>
          <p:nvSpPr>
            <p:cNvPr id="23" name="Oval 32">
              <a:extLst>
                <a:ext uri="{FF2B5EF4-FFF2-40B4-BE49-F238E27FC236}">
                  <a16:creationId xmlns:a16="http://schemas.microsoft.com/office/drawing/2014/main" id="{CAB9FF94-007C-438D-99F8-E641AA721F40}"/>
                </a:ext>
              </a:extLst>
            </p:cNvPr>
            <p:cNvSpPr>
              <a:spLocks noChangeArrowheads="1"/>
            </p:cNvSpPr>
            <p:nvPr>
              <p:custDataLst>
                <p:tags r:id="rId10"/>
              </p:custDataLst>
            </p:nvPr>
          </p:nvSpPr>
          <p:spPr bwMode="auto">
            <a:xfrm>
              <a:off x="2653872" y="3999341"/>
              <a:ext cx="1295725" cy="1295725"/>
            </a:xfrm>
            <a:prstGeom prst="ellipse">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b="1" dirty="0">
                  <a:solidFill>
                    <a:schemeClr val="accent2"/>
                  </a:solidFill>
                </a:rPr>
                <a:t>Text</a:t>
              </a:r>
              <a:endParaRPr lang="en-US" b="1" dirty="0">
                <a:solidFill>
                  <a:schemeClr val="accent2"/>
                </a:solidFill>
              </a:endParaRPr>
            </a:p>
          </p:txBody>
        </p:sp>
        <p:cxnSp>
          <p:nvCxnSpPr>
            <p:cNvPr id="28" name="AutoShape 40">
              <a:extLst>
                <a:ext uri="{FF2B5EF4-FFF2-40B4-BE49-F238E27FC236}">
                  <a16:creationId xmlns:a16="http://schemas.microsoft.com/office/drawing/2014/main" id="{6CDA31D4-7370-494F-921E-D475D3F86440}"/>
                </a:ext>
                <a:ext uri="{C183D7F6-B498-43B3-948B-1728B52AA6E4}">
                  <adec:decorative xmlns:adec="http://schemas.microsoft.com/office/drawing/2017/decorative" val="1"/>
                </a:ext>
              </a:extLst>
            </p:cNvPr>
            <p:cNvCxnSpPr>
              <a:cxnSpLocks noChangeShapeType="1"/>
            </p:cNvCxnSpPr>
            <p:nvPr>
              <p:custDataLst>
                <p:tags r:id="rId11"/>
              </p:custDataLst>
            </p:nvPr>
          </p:nvCxnSpPr>
          <p:spPr bwMode="auto">
            <a:xfrm flipH="1">
              <a:off x="3949598" y="4186577"/>
              <a:ext cx="647861" cy="274840"/>
            </a:xfrm>
            <a:prstGeom prst="straightConnector1">
              <a:avLst/>
            </a:prstGeom>
            <a:noFill/>
            <a:ln w="19050" cap="rnd">
              <a:solidFill>
                <a:schemeClr val="tx2">
                  <a:lumMod val="60000"/>
                  <a:lumOff val="40000"/>
                </a:schemeClr>
              </a:solidFill>
              <a:prstDash val="sysDot"/>
              <a:round/>
              <a:headEnd type="triangle"/>
              <a:tailEnd/>
            </a:ln>
            <a:effectLst/>
          </p:spPr>
        </p:cxnSp>
        <p:sp>
          <p:nvSpPr>
            <p:cNvPr id="25" name="Oval 35">
              <a:extLst>
                <a:ext uri="{FF2B5EF4-FFF2-40B4-BE49-F238E27FC236}">
                  <a16:creationId xmlns:a16="http://schemas.microsoft.com/office/drawing/2014/main" id="{1AF173A5-E8CC-4A1D-8397-A224FBCDD8CB}"/>
                </a:ext>
              </a:extLst>
            </p:cNvPr>
            <p:cNvSpPr>
              <a:spLocks noChangeArrowheads="1"/>
            </p:cNvSpPr>
            <p:nvPr>
              <p:custDataLst>
                <p:tags r:id="rId12"/>
              </p:custDataLst>
            </p:nvPr>
          </p:nvSpPr>
          <p:spPr bwMode="auto">
            <a:xfrm>
              <a:off x="2653872" y="1950137"/>
              <a:ext cx="1295725" cy="1295725"/>
            </a:xfrm>
            <a:prstGeom prst="ellipse">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b="1" dirty="0">
                  <a:solidFill>
                    <a:schemeClr val="accent2"/>
                  </a:solidFill>
                </a:rPr>
                <a:t>Text</a:t>
              </a:r>
              <a:endParaRPr lang="en-US" b="1" dirty="0">
                <a:solidFill>
                  <a:schemeClr val="accent2"/>
                </a:solidFill>
              </a:endParaRPr>
            </a:p>
          </p:txBody>
        </p:sp>
        <p:cxnSp>
          <p:nvCxnSpPr>
            <p:cNvPr id="27" name="AutoShape 40">
              <a:extLst>
                <a:ext uri="{FF2B5EF4-FFF2-40B4-BE49-F238E27FC236}">
                  <a16:creationId xmlns:a16="http://schemas.microsoft.com/office/drawing/2014/main" id="{70E75FAC-571A-47A3-84CB-EE267D1FC04D}"/>
                </a:ext>
                <a:ext uri="{C183D7F6-B498-43B3-948B-1728B52AA6E4}">
                  <adec:decorative xmlns:adec="http://schemas.microsoft.com/office/drawing/2017/decorative" val="1"/>
                </a:ext>
              </a:extLst>
            </p:cNvPr>
            <p:cNvCxnSpPr>
              <a:cxnSpLocks noChangeShapeType="1"/>
            </p:cNvCxnSpPr>
            <p:nvPr>
              <p:custDataLst>
                <p:tags r:id="rId13"/>
              </p:custDataLst>
            </p:nvPr>
          </p:nvCxnSpPr>
          <p:spPr bwMode="auto">
            <a:xfrm flipH="1" flipV="1">
              <a:off x="3949598" y="2808481"/>
              <a:ext cx="647861" cy="274840"/>
            </a:xfrm>
            <a:prstGeom prst="straightConnector1">
              <a:avLst/>
            </a:prstGeom>
            <a:noFill/>
            <a:ln w="19050" cap="rnd">
              <a:solidFill>
                <a:schemeClr val="tx2">
                  <a:lumMod val="60000"/>
                  <a:lumOff val="40000"/>
                </a:schemeClr>
              </a:solidFill>
              <a:prstDash val="sysDot"/>
              <a:round/>
              <a:headEnd type="triangle"/>
              <a:tailEnd/>
            </a:ln>
            <a:effectLst/>
          </p:spPr>
        </p:cxnSp>
      </p:grpSp>
      <p:sp>
        <p:nvSpPr>
          <p:cNvPr id="5" name="Footer Placeholder 4">
            <a:extLst>
              <a:ext uri="{FF2B5EF4-FFF2-40B4-BE49-F238E27FC236}">
                <a16:creationId xmlns:a16="http://schemas.microsoft.com/office/drawing/2014/main" id="{778C135F-5981-40C9-B444-02B1C85ABB4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B8E91FE4-8664-432B-86B3-ED731D6CF276}"/>
              </a:ext>
            </a:extLst>
          </p:cNvPr>
          <p:cNvSpPr>
            <a:spLocks noGrp="1"/>
          </p:cNvSpPr>
          <p:nvPr>
            <p:ph type="sldNum" sz="quarter" idx="10"/>
          </p:nvPr>
        </p:nvSpPr>
        <p:spPr/>
        <p:txBody>
          <a:bodyPr/>
          <a:lstStyle/>
          <a:p>
            <a:fld id="{1F90F471-3972-4120-B8B3-0237DE626C35}" type="slidenum">
              <a:rPr lang="en-US" smtClean="0"/>
              <a:pPr/>
              <a:t>175</a:t>
            </a:fld>
            <a:endParaRPr lang="en-US" dirty="0"/>
          </a:p>
        </p:txBody>
      </p:sp>
    </p:spTree>
    <p:extLst>
      <p:ext uri="{BB962C8B-B14F-4D97-AF65-F5344CB8AC3E}">
        <p14:creationId xmlns:p14="http://schemas.microsoft.com/office/powerpoint/2010/main" val="1942738353"/>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Forces 6</a:t>
            </a:r>
          </a:p>
        </p:txBody>
      </p:sp>
      <p:grpSp>
        <p:nvGrpSpPr>
          <p:cNvPr id="3" name="Group 2" descr="Forces insert text here">
            <a:extLst>
              <a:ext uri="{FF2B5EF4-FFF2-40B4-BE49-F238E27FC236}">
                <a16:creationId xmlns:a16="http://schemas.microsoft.com/office/drawing/2014/main" id="{11237156-F17F-4B51-9262-EC10023DABFA}"/>
              </a:ext>
            </a:extLst>
          </p:cNvPr>
          <p:cNvGrpSpPr/>
          <p:nvPr/>
        </p:nvGrpSpPr>
        <p:grpSpPr>
          <a:xfrm>
            <a:off x="2273605" y="1219200"/>
            <a:ext cx="8084833" cy="4656776"/>
            <a:chOff x="2273605" y="1219200"/>
            <a:chExt cx="8084833" cy="4656776"/>
          </a:xfrm>
        </p:grpSpPr>
        <p:sp>
          <p:nvSpPr>
            <p:cNvPr id="40" name="Oval 6">
              <a:extLst>
                <a:ext uri="{FF2B5EF4-FFF2-40B4-BE49-F238E27FC236}">
                  <a16:creationId xmlns:a16="http://schemas.microsoft.com/office/drawing/2014/main" id="{43F6201C-3865-4295-B6B0-7199D3DC0AF8}"/>
                </a:ext>
              </a:extLst>
            </p:cNvPr>
            <p:cNvSpPr>
              <a:spLocks noChangeArrowheads="1"/>
            </p:cNvSpPr>
            <p:nvPr/>
          </p:nvSpPr>
          <p:spPr bwMode="auto">
            <a:xfrm>
              <a:off x="5379938" y="2608560"/>
              <a:ext cx="1859676" cy="1878056"/>
            </a:xfrm>
            <a:prstGeom prst="ellipse">
              <a:avLst/>
            </a:prstGeom>
            <a:solidFill>
              <a:schemeClr val="accent2"/>
            </a:solidFill>
            <a:ln w="6350">
              <a:noFill/>
              <a:round/>
              <a:headEnd/>
              <a:tailEnd/>
            </a:ln>
            <a:effectLst/>
          </p:spPr>
          <p:txBody>
            <a:bodyPr wrap="none" lIns="72000" tIns="72000" rIns="72000" bIns="72000" anchor="ctr" anchorCtr="1"/>
            <a:lstStyle/>
            <a:p>
              <a:pPr marL="179388" indent="-179388" algn="ctr" eaLnBrk="0" hangingPunct="0">
                <a:lnSpc>
                  <a:spcPct val="85000"/>
                </a:lnSpc>
                <a:spcBef>
                  <a:spcPts val="100"/>
                </a:spcBef>
                <a:spcAft>
                  <a:spcPts val="300"/>
                </a:spcAft>
              </a:pPr>
              <a:r>
                <a:rPr lang="en-US" b="1" dirty="0">
                  <a:solidFill>
                    <a:schemeClr val="bg1"/>
                  </a:solidFill>
                  <a:latin typeface="+mj-lt"/>
                </a:rPr>
                <a:t>Text</a:t>
              </a:r>
            </a:p>
          </p:txBody>
        </p:sp>
        <p:sp>
          <p:nvSpPr>
            <p:cNvPr id="26" name="Oval 29">
              <a:extLst>
                <a:ext uri="{FF2B5EF4-FFF2-40B4-BE49-F238E27FC236}">
                  <a16:creationId xmlns:a16="http://schemas.microsoft.com/office/drawing/2014/main" id="{98753135-7F51-4D3D-8DFC-539240B90516}"/>
                </a:ext>
              </a:extLst>
            </p:cNvPr>
            <p:cNvSpPr>
              <a:spLocks noChangeArrowheads="1"/>
            </p:cNvSpPr>
            <p:nvPr>
              <p:custDataLst>
                <p:tags r:id="rId1"/>
              </p:custDataLst>
            </p:nvPr>
          </p:nvSpPr>
          <p:spPr bwMode="auto">
            <a:xfrm>
              <a:off x="5242268" y="1219200"/>
              <a:ext cx="2160000" cy="540000"/>
            </a:xfrm>
            <a:prstGeom prst="rect">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dirty="0"/>
                <a:t>Text</a:t>
              </a:r>
              <a:endParaRPr lang="en-US" dirty="0"/>
            </a:p>
          </p:txBody>
        </p:sp>
        <p:cxnSp>
          <p:nvCxnSpPr>
            <p:cNvPr id="25" name="AutoShape 42">
              <a:extLst>
                <a:ext uri="{FF2B5EF4-FFF2-40B4-BE49-F238E27FC236}">
                  <a16:creationId xmlns:a16="http://schemas.microsoft.com/office/drawing/2014/main" id="{33943C9E-8CEC-4B0B-8FF1-F2D56BD10E26}"/>
                </a:ext>
                <a:ext uri="{C183D7F6-B498-43B3-948B-1728B52AA6E4}">
                  <adec:decorative xmlns:adec="http://schemas.microsoft.com/office/drawing/2017/decorative" val="1"/>
                </a:ext>
              </a:extLst>
            </p:cNvPr>
            <p:cNvCxnSpPr>
              <a:cxnSpLocks noChangeShapeType="1"/>
              <a:endCxn id="26" idx="2"/>
            </p:cNvCxnSpPr>
            <p:nvPr>
              <p:custDataLst>
                <p:tags r:id="rId2"/>
              </p:custDataLst>
            </p:nvPr>
          </p:nvCxnSpPr>
          <p:spPr bwMode="auto">
            <a:xfrm flipV="1">
              <a:off x="6322268" y="1759199"/>
              <a:ext cx="0" cy="684000"/>
            </a:xfrm>
            <a:prstGeom prst="straightConnector1">
              <a:avLst/>
            </a:prstGeom>
            <a:noFill/>
            <a:ln w="12700" cap="rnd">
              <a:solidFill>
                <a:schemeClr val="accent1"/>
              </a:solidFill>
              <a:prstDash val="solid"/>
              <a:round/>
              <a:headEnd type="triangle"/>
              <a:tailEnd/>
            </a:ln>
            <a:effectLst/>
          </p:spPr>
        </p:cxnSp>
        <p:sp>
          <p:nvSpPr>
            <p:cNvPr id="23" name="Oval 22">
              <a:extLst>
                <a:ext uri="{FF2B5EF4-FFF2-40B4-BE49-F238E27FC236}">
                  <a16:creationId xmlns:a16="http://schemas.microsoft.com/office/drawing/2014/main" id="{ABF89616-7DD1-4F2A-A6D1-BEE26C46EC53}"/>
                </a:ext>
                <a:ext uri="{C183D7F6-B498-43B3-948B-1728B52AA6E4}">
                  <adec:decorative xmlns:adec="http://schemas.microsoft.com/office/drawing/2017/decorative" val="1"/>
                </a:ext>
              </a:extLst>
            </p:cNvPr>
            <p:cNvSpPr/>
            <p:nvPr/>
          </p:nvSpPr>
          <p:spPr>
            <a:xfrm>
              <a:off x="4149776" y="1387588"/>
              <a:ext cx="4320000" cy="4320000"/>
            </a:xfrm>
            <a:prstGeom prst="ellipse">
              <a:avLst/>
            </a:prstGeom>
            <a:noFill/>
            <a:ln>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7" name="Oval 30">
              <a:extLst>
                <a:ext uri="{FF2B5EF4-FFF2-40B4-BE49-F238E27FC236}">
                  <a16:creationId xmlns:a16="http://schemas.microsoft.com/office/drawing/2014/main" id="{11FC5E0F-7796-4164-ABEE-EA74D9F6DFD9}"/>
                </a:ext>
              </a:extLst>
            </p:cNvPr>
            <p:cNvSpPr>
              <a:spLocks noChangeArrowheads="1"/>
            </p:cNvSpPr>
            <p:nvPr>
              <p:custDataLst>
                <p:tags r:id="rId3"/>
              </p:custDataLst>
            </p:nvPr>
          </p:nvSpPr>
          <p:spPr bwMode="auto">
            <a:xfrm>
              <a:off x="7939591" y="2248394"/>
              <a:ext cx="2160000" cy="540000"/>
            </a:xfrm>
            <a:prstGeom prst="rect">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dirty="0"/>
                <a:t>Text</a:t>
              </a:r>
              <a:endParaRPr lang="en-US" dirty="0"/>
            </a:p>
          </p:txBody>
        </p:sp>
        <p:cxnSp>
          <p:nvCxnSpPr>
            <p:cNvPr id="34" name="AutoShape 40">
              <a:extLst>
                <a:ext uri="{FF2B5EF4-FFF2-40B4-BE49-F238E27FC236}">
                  <a16:creationId xmlns:a16="http://schemas.microsoft.com/office/drawing/2014/main" id="{0E6DCC59-5FFD-4AE3-B306-7EE154762C8F}"/>
                </a:ext>
                <a:ext uri="{C183D7F6-B498-43B3-948B-1728B52AA6E4}">
                  <adec:decorative xmlns:adec="http://schemas.microsoft.com/office/drawing/2017/decorative" val="1"/>
                </a:ext>
              </a:extLst>
            </p:cNvPr>
            <p:cNvCxnSpPr>
              <a:cxnSpLocks noChangeShapeType="1"/>
              <a:endCxn id="27" idx="1"/>
            </p:cNvCxnSpPr>
            <p:nvPr>
              <p:custDataLst>
                <p:tags r:id="rId4"/>
              </p:custDataLst>
            </p:nvPr>
          </p:nvCxnSpPr>
          <p:spPr bwMode="auto">
            <a:xfrm flipV="1">
              <a:off x="7365770" y="2518394"/>
              <a:ext cx="573821" cy="499794"/>
            </a:xfrm>
            <a:prstGeom prst="straightConnector1">
              <a:avLst/>
            </a:prstGeom>
            <a:noFill/>
            <a:ln w="12700" cap="rnd">
              <a:solidFill>
                <a:schemeClr val="accent1"/>
              </a:solidFill>
              <a:prstDash val="solid"/>
              <a:round/>
              <a:headEnd type="triangle"/>
              <a:tailEnd/>
            </a:ln>
            <a:effectLst/>
          </p:spPr>
        </p:cxnSp>
        <p:sp>
          <p:nvSpPr>
            <p:cNvPr id="36" name="Oval 30">
              <a:extLst>
                <a:ext uri="{FF2B5EF4-FFF2-40B4-BE49-F238E27FC236}">
                  <a16:creationId xmlns:a16="http://schemas.microsoft.com/office/drawing/2014/main" id="{E2EC55C9-F6EB-4CC7-8EE7-F6DEE9FF519B}"/>
                </a:ext>
              </a:extLst>
            </p:cNvPr>
            <p:cNvSpPr>
              <a:spLocks noChangeArrowheads="1"/>
            </p:cNvSpPr>
            <p:nvPr>
              <p:custDataLst>
                <p:tags r:id="rId5"/>
              </p:custDataLst>
            </p:nvPr>
          </p:nvSpPr>
          <p:spPr bwMode="auto">
            <a:xfrm>
              <a:off x="8198438" y="3277588"/>
              <a:ext cx="2160000" cy="540000"/>
            </a:xfrm>
            <a:prstGeom prst="rect">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dirty="0"/>
                <a:t>Text</a:t>
              </a:r>
              <a:endParaRPr lang="en-US" dirty="0"/>
            </a:p>
          </p:txBody>
        </p:sp>
        <p:cxnSp>
          <p:nvCxnSpPr>
            <p:cNvPr id="39" name="Straight Arrow Connector 38">
              <a:extLst>
                <a:ext uri="{FF2B5EF4-FFF2-40B4-BE49-F238E27FC236}">
                  <a16:creationId xmlns:a16="http://schemas.microsoft.com/office/drawing/2014/main" id="{F2E8A020-50A2-4B87-84B7-0BF952D4110B}"/>
                </a:ext>
                <a:ext uri="{C183D7F6-B498-43B3-948B-1728B52AA6E4}">
                  <adec:decorative xmlns:adec="http://schemas.microsoft.com/office/drawing/2017/decorative" val="1"/>
                </a:ext>
              </a:extLst>
            </p:cNvPr>
            <p:cNvCxnSpPr>
              <a:stCxn id="36" idx="1"/>
            </p:cNvCxnSpPr>
            <p:nvPr/>
          </p:nvCxnSpPr>
          <p:spPr>
            <a:xfrm flipH="1">
              <a:off x="7353279" y="3547588"/>
              <a:ext cx="845159"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8" name="Oval 31">
              <a:extLst>
                <a:ext uri="{FF2B5EF4-FFF2-40B4-BE49-F238E27FC236}">
                  <a16:creationId xmlns:a16="http://schemas.microsoft.com/office/drawing/2014/main" id="{C04796B8-7A03-4062-A34D-4022647030A7}"/>
                </a:ext>
              </a:extLst>
            </p:cNvPr>
            <p:cNvSpPr>
              <a:spLocks noChangeArrowheads="1"/>
            </p:cNvSpPr>
            <p:nvPr>
              <p:custDataLst>
                <p:tags r:id="rId6"/>
              </p:custDataLst>
            </p:nvPr>
          </p:nvSpPr>
          <p:spPr bwMode="auto">
            <a:xfrm>
              <a:off x="7939591" y="4306782"/>
              <a:ext cx="2160000" cy="540000"/>
            </a:xfrm>
            <a:prstGeom prst="rect">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dirty="0"/>
                <a:t>Text</a:t>
              </a:r>
              <a:endParaRPr lang="en-US" dirty="0"/>
            </a:p>
          </p:txBody>
        </p:sp>
        <p:cxnSp>
          <p:nvCxnSpPr>
            <p:cNvPr id="35" name="AutoShape 40">
              <a:extLst>
                <a:ext uri="{FF2B5EF4-FFF2-40B4-BE49-F238E27FC236}">
                  <a16:creationId xmlns:a16="http://schemas.microsoft.com/office/drawing/2014/main" id="{6C6E0433-22D6-4A0E-AF29-5DCE02922539}"/>
                </a:ext>
                <a:ext uri="{C183D7F6-B498-43B3-948B-1728B52AA6E4}">
                  <adec:decorative xmlns:adec="http://schemas.microsoft.com/office/drawing/2017/decorative" val="1"/>
                </a:ext>
              </a:extLst>
            </p:cNvPr>
            <p:cNvCxnSpPr>
              <a:cxnSpLocks noChangeShapeType="1"/>
              <a:endCxn id="28" idx="1"/>
            </p:cNvCxnSpPr>
            <p:nvPr>
              <p:custDataLst>
                <p:tags r:id="rId7"/>
              </p:custDataLst>
            </p:nvPr>
          </p:nvCxnSpPr>
          <p:spPr bwMode="auto">
            <a:xfrm>
              <a:off x="7353279" y="4076988"/>
              <a:ext cx="586312" cy="499794"/>
            </a:xfrm>
            <a:prstGeom prst="straightConnector1">
              <a:avLst/>
            </a:prstGeom>
            <a:noFill/>
            <a:ln w="12700" cap="rnd">
              <a:solidFill>
                <a:schemeClr val="accent1"/>
              </a:solidFill>
              <a:prstDash val="solid"/>
              <a:round/>
              <a:headEnd type="triangle"/>
              <a:tailEnd/>
            </a:ln>
            <a:effectLst/>
          </p:spPr>
        </p:cxnSp>
        <p:sp>
          <p:nvSpPr>
            <p:cNvPr id="30" name="Oval 34">
              <a:extLst>
                <a:ext uri="{FF2B5EF4-FFF2-40B4-BE49-F238E27FC236}">
                  <a16:creationId xmlns:a16="http://schemas.microsoft.com/office/drawing/2014/main" id="{52DED51A-9AAB-4708-9ADA-5E081198AFD6}"/>
                </a:ext>
              </a:extLst>
            </p:cNvPr>
            <p:cNvSpPr>
              <a:spLocks noChangeArrowheads="1"/>
            </p:cNvSpPr>
            <p:nvPr>
              <p:custDataLst>
                <p:tags r:id="rId8"/>
              </p:custDataLst>
            </p:nvPr>
          </p:nvSpPr>
          <p:spPr bwMode="auto">
            <a:xfrm>
              <a:off x="5229777" y="5335976"/>
              <a:ext cx="2160000" cy="540000"/>
            </a:xfrm>
            <a:prstGeom prst="rect">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dirty="0"/>
                <a:t>Text</a:t>
              </a:r>
              <a:endParaRPr lang="en-US" dirty="0"/>
            </a:p>
          </p:txBody>
        </p:sp>
        <p:cxnSp>
          <p:nvCxnSpPr>
            <p:cNvPr id="24" name="AutoShape 38">
              <a:extLst>
                <a:ext uri="{FF2B5EF4-FFF2-40B4-BE49-F238E27FC236}">
                  <a16:creationId xmlns:a16="http://schemas.microsoft.com/office/drawing/2014/main" id="{13465C84-6C56-4EAF-B361-5C9C6E09BCB9}"/>
                </a:ext>
                <a:ext uri="{C183D7F6-B498-43B3-948B-1728B52AA6E4}">
                  <adec:decorative xmlns:adec="http://schemas.microsoft.com/office/drawing/2017/decorative" val="1"/>
                </a:ext>
              </a:extLst>
            </p:cNvPr>
            <p:cNvCxnSpPr>
              <a:cxnSpLocks noChangeShapeType="1"/>
              <a:stCxn id="30" idx="0"/>
            </p:cNvCxnSpPr>
            <p:nvPr>
              <p:custDataLst>
                <p:tags r:id="rId9"/>
              </p:custDataLst>
            </p:nvPr>
          </p:nvCxnSpPr>
          <p:spPr bwMode="auto">
            <a:xfrm flipV="1">
              <a:off x="6309777" y="4651976"/>
              <a:ext cx="0" cy="684000"/>
            </a:xfrm>
            <a:prstGeom prst="straightConnector1">
              <a:avLst/>
            </a:prstGeom>
            <a:noFill/>
            <a:ln w="12700" cap="rnd">
              <a:solidFill>
                <a:schemeClr val="accent1"/>
              </a:solidFill>
              <a:prstDash val="solid"/>
              <a:round/>
              <a:headEnd/>
              <a:tailEnd type="triangle"/>
            </a:ln>
            <a:effectLst/>
          </p:spPr>
        </p:cxnSp>
        <p:sp>
          <p:nvSpPr>
            <p:cNvPr id="29" name="Oval 32">
              <a:extLst>
                <a:ext uri="{FF2B5EF4-FFF2-40B4-BE49-F238E27FC236}">
                  <a16:creationId xmlns:a16="http://schemas.microsoft.com/office/drawing/2014/main" id="{C3497533-D90F-4127-908E-81C3643419FE}"/>
                </a:ext>
              </a:extLst>
            </p:cNvPr>
            <p:cNvSpPr>
              <a:spLocks noChangeArrowheads="1"/>
            </p:cNvSpPr>
            <p:nvPr>
              <p:custDataLst>
                <p:tags r:id="rId10"/>
              </p:custDataLst>
            </p:nvPr>
          </p:nvSpPr>
          <p:spPr bwMode="auto">
            <a:xfrm>
              <a:off x="2532452" y="4306782"/>
              <a:ext cx="2160000" cy="540000"/>
            </a:xfrm>
            <a:prstGeom prst="rect">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dirty="0"/>
                <a:t>Text</a:t>
              </a:r>
              <a:endParaRPr lang="en-US" dirty="0"/>
            </a:p>
          </p:txBody>
        </p:sp>
        <p:cxnSp>
          <p:nvCxnSpPr>
            <p:cNvPr id="33" name="AutoShape 40">
              <a:extLst>
                <a:ext uri="{FF2B5EF4-FFF2-40B4-BE49-F238E27FC236}">
                  <a16:creationId xmlns:a16="http://schemas.microsoft.com/office/drawing/2014/main" id="{9948DD3A-C856-4B3F-ABF7-D4E659A6D882}"/>
                </a:ext>
                <a:ext uri="{C183D7F6-B498-43B3-948B-1728B52AA6E4}">
                  <adec:decorative xmlns:adec="http://schemas.microsoft.com/office/drawing/2017/decorative" val="1"/>
                </a:ext>
              </a:extLst>
            </p:cNvPr>
            <p:cNvCxnSpPr>
              <a:cxnSpLocks noChangeShapeType="1"/>
              <a:endCxn id="29" idx="3"/>
            </p:cNvCxnSpPr>
            <p:nvPr>
              <p:custDataLst>
                <p:tags r:id="rId11"/>
              </p:custDataLst>
            </p:nvPr>
          </p:nvCxnSpPr>
          <p:spPr bwMode="auto">
            <a:xfrm flipH="1">
              <a:off x="4692452" y="4061964"/>
              <a:ext cx="573821" cy="514818"/>
            </a:xfrm>
            <a:prstGeom prst="straightConnector1">
              <a:avLst/>
            </a:prstGeom>
            <a:noFill/>
            <a:ln w="12700" cap="rnd">
              <a:solidFill>
                <a:schemeClr val="accent1"/>
              </a:solidFill>
              <a:prstDash val="solid"/>
              <a:round/>
              <a:headEnd type="triangle"/>
              <a:tailEnd/>
            </a:ln>
            <a:effectLst/>
          </p:spPr>
        </p:cxnSp>
        <p:sp>
          <p:nvSpPr>
            <p:cNvPr id="37" name="Oval 35">
              <a:extLst>
                <a:ext uri="{FF2B5EF4-FFF2-40B4-BE49-F238E27FC236}">
                  <a16:creationId xmlns:a16="http://schemas.microsoft.com/office/drawing/2014/main" id="{7DABD721-6D4D-44ED-8987-CC1A958E83E4}"/>
                </a:ext>
              </a:extLst>
            </p:cNvPr>
            <p:cNvSpPr>
              <a:spLocks noChangeArrowheads="1"/>
            </p:cNvSpPr>
            <p:nvPr>
              <p:custDataLst>
                <p:tags r:id="rId12"/>
              </p:custDataLst>
            </p:nvPr>
          </p:nvSpPr>
          <p:spPr bwMode="auto">
            <a:xfrm>
              <a:off x="2273605" y="3272323"/>
              <a:ext cx="2160000" cy="540000"/>
            </a:xfrm>
            <a:prstGeom prst="rect">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dirty="0"/>
                <a:t>Text</a:t>
              </a:r>
              <a:endParaRPr lang="en-US" dirty="0"/>
            </a:p>
          </p:txBody>
        </p:sp>
        <p:cxnSp>
          <p:nvCxnSpPr>
            <p:cNvPr id="38" name="Straight Arrow Connector 37">
              <a:extLst>
                <a:ext uri="{FF2B5EF4-FFF2-40B4-BE49-F238E27FC236}">
                  <a16:creationId xmlns:a16="http://schemas.microsoft.com/office/drawing/2014/main" id="{DAB31DF2-1B09-4D26-8CA2-C2B3983ADF61}"/>
                </a:ext>
                <a:ext uri="{C183D7F6-B498-43B3-948B-1728B52AA6E4}">
                  <adec:decorative xmlns:adec="http://schemas.microsoft.com/office/drawing/2017/decorative" val="1"/>
                </a:ext>
              </a:extLst>
            </p:cNvPr>
            <p:cNvCxnSpPr>
              <a:stCxn id="37" idx="3"/>
            </p:cNvCxnSpPr>
            <p:nvPr/>
          </p:nvCxnSpPr>
          <p:spPr>
            <a:xfrm>
              <a:off x="4433605" y="3542323"/>
              <a:ext cx="808663"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1" name="Oval 35">
              <a:extLst>
                <a:ext uri="{FF2B5EF4-FFF2-40B4-BE49-F238E27FC236}">
                  <a16:creationId xmlns:a16="http://schemas.microsoft.com/office/drawing/2014/main" id="{B0063C5F-E3C6-4EDA-B5C5-06206024EE8B}"/>
                </a:ext>
              </a:extLst>
            </p:cNvPr>
            <p:cNvSpPr>
              <a:spLocks noChangeArrowheads="1"/>
            </p:cNvSpPr>
            <p:nvPr>
              <p:custDataLst>
                <p:tags r:id="rId13"/>
              </p:custDataLst>
            </p:nvPr>
          </p:nvSpPr>
          <p:spPr bwMode="auto">
            <a:xfrm>
              <a:off x="2544943" y="2248394"/>
              <a:ext cx="2160000" cy="540000"/>
            </a:xfrm>
            <a:prstGeom prst="rect">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dirty="0"/>
                <a:t>Text</a:t>
              </a:r>
              <a:endParaRPr lang="en-US" dirty="0"/>
            </a:p>
          </p:txBody>
        </p:sp>
        <p:cxnSp>
          <p:nvCxnSpPr>
            <p:cNvPr id="32" name="AutoShape 40">
              <a:extLst>
                <a:ext uri="{FF2B5EF4-FFF2-40B4-BE49-F238E27FC236}">
                  <a16:creationId xmlns:a16="http://schemas.microsoft.com/office/drawing/2014/main" id="{D96F9D8D-1A70-4BE5-BC66-A4352BBB3F7F}"/>
                </a:ext>
                <a:ext uri="{C183D7F6-B498-43B3-948B-1728B52AA6E4}">
                  <adec:decorative xmlns:adec="http://schemas.microsoft.com/office/drawing/2017/decorative" val="1"/>
                </a:ext>
              </a:extLst>
            </p:cNvPr>
            <p:cNvCxnSpPr>
              <a:cxnSpLocks noChangeShapeType="1"/>
              <a:endCxn id="31" idx="3"/>
            </p:cNvCxnSpPr>
            <p:nvPr>
              <p:custDataLst>
                <p:tags r:id="rId14"/>
              </p:custDataLst>
            </p:nvPr>
          </p:nvCxnSpPr>
          <p:spPr bwMode="auto">
            <a:xfrm flipH="1" flipV="1">
              <a:off x="4704943" y="2518394"/>
              <a:ext cx="573821" cy="499794"/>
            </a:xfrm>
            <a:prstGeom prst="straightConnector1">
              <a:avLst/>
            </a:prstGeom>
            <a:noFill/>
            <a:ln w="12700" cap="rnd">
              <a:solidFill>
                <a:schemeClr val="accent1"/>
              </a:solidFill>
              <a:prstDash val="solid"/>
              <a:round/>
              <a:headEnd type="triangle"/>
              <a:tailEnd/>
            </a:ln>
            <a:effectLst/>
          </p:spPr>
        </p:cxnSp>
      </p:grpSp>
      <p:sp>
        <p:nvSpPr>
          <p:cNvPr id="5" name="Footer Placeholder 4">
            <a:extLst>
              <a:ext uri="{FF2B5EF4-FFF2-40B4-BE49-F238E27FC236}">
                <a16:creationId xmlns:a16="http://schemas.microsoft.com/office/drawing/2014/main" id="{B1064A88-AC29-48C1-BF6A-948191484A64}"/>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E9CB7249-7F12-4FAA-8F01-E7281C7FFC61}"/>
              </a:ext>
            </a:extLst>
          </p:cNvPr>
          <p:cNvSpPr>
            <a:spLocks noGrp="1"/>
          </p:cNvSpPr>
          <p:nvPr>
            <p:ph type="sldNum" sz="quarter" idx="10"/>
          </p:nvPr>
        </p:nvSpPr>
        <p:spPr/>
        <p:txBody>
          <a:bodyPr/>
          <a:lstStyle/>
          <a:p>
            <a:fld id="{1F90F471-3972-4120-B8B3-0237DE626C35}" type="slidenum">
              <a:rPr lang="en-US" smtClean="0"/>
              <a:pPr/>
              <a:t>176</a:t>
            </a:fld>
            <a:endParaRPr lang="en-US" dirty="0"/>
          </a:p>
        </p:txBody>
      </p:sp>
    </p:spTree>
    <p:extLst>
      <p:ext uri="{BB962C8B-B14F-4D97-AF65-F5344CB8AC3E}">
        <p14:creationId xmlns:p14="http://schemas.microsoft.com/office/powerpoint/2010/main" val="243692208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Forces 7</a:t>
            </a:r>
          </a:p>
        </p:txBody>
      </p:sp>
      <p:grpSp>
        <p:nvGrpSpPr>
          <p:cNvPr id="3" name="Group 2" descr="Forces insert text here">
            <a:extLst>
              <a:ext uri="{FF2B5EF4-FFF2-40B4-BE49-F238E27FC236}">
                <a16:creationId xmlns:a16="http://schemas.microsoft.com/office/drawing/2014/main" id="{BBEC3955-B9F0-4914-A724-938F2F477EB4}"/>
              </a:ext>
            </a:extLst>
          </p:cNvPr>
          <p:cNvGrpSpPr/>
          <p:nvPr/>
        </p:nvGrpSpPr>
        <p:grpSpPr>
          <a:xfrm>
            <a:off x="1995189" y="1219200"/>
            <a:ext cx="8629174" cy="4656776"/>
            <a:chOff x="1995189" y="1219200"/>
            <a:chExt cx="8629174" cy="4656776"/>
          </a:xfrm>
        </p:grpSpPr>
        <p:sp>
          <p:nvSpPr>
            <p:cNvPr id="23" name="Oval 22">
              <a:extLst>
                <a:ext uri="{FF2B5EF4-FFF2-40B4-BE49-F238E27FC236}">
                  <a16:creationId xmlns:a16="http://schemas.microsoft.com/office/drawing/2014/main" id="{C3335C0F-B3ED-4FCA-BCFF-BD843F5B3FF9}"/>
                </a:ext>
                <a:ext uri="{C183D7F6-B498-43B3-948B-1728B52AA6E4}">
                  <adec:decorative xmlns:adec="http://schemas.microsoft.com/office/drawing/2017/decorative" val="1"/>
                </a:ext>
              </a:extLst>
            </p:cNvPr>
            <p:cNvSpPr/>
            <p:nvPr/>
          </p:nvSpPr>
          <p:spPr>
            <a:xfrm>
              <a:off x="4149776" y="1387588"/>
              <a:ext cx="4320000" cy="4320000"/>
            </a:xfrm>
            <a:prstGeom prst="ellipse">
              <a:avLst/>
            </a:prstGeom>
            <a:pattFill prst="dkUpDiag">
              <a:fgClr>
                <a:schemeClr val="tx2">
                  <a:lumMod val="20000"/>
                  <a:lumOff val="8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6" name="Oval 29">
              <a:extLst>
                <a:ext uri="{FF2B5EF4-FFF2-40B4-BE49-F238E27FC236}">
                  <a16:creationId xmlns:a16="http://schemas.microsoft.com/office/drawing/2014/main" id="{F5D558CB-779A-4E6C-8F28-3F3E3E3D9073}"/>
                </a:ext>
              </a:extLst>
            </p:cNvPr>
            <p:cNvSpPr>
              <a:spLocks noChangeArrowheads="1"/>
            </p:cNvSpPr>
            <p:nvPr>
              <p:custDataLst>
                <p:tags r:id="rId1"/>
              </p:custDataLst>
            </p:nvPr>
          </p:nvSpPr>
          <p:spPr bwMode="auto">
            <a:xfrm>
              <a:off x="5229777" y="1219200"/>
              <a:ext cx="2160000" cy="540000"/>
            </a:xfrm>
            <a:prstGeom prst="rect">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cxnSp>
          <p:nvCxnSpPr>
            <p:cNvPr id="25" name="AutoShape 42">
              <a:extLst>
                <a:ext uri="{FF2B5EF4-FFF2-40B4-BE49-F238E27FC236}">
                  <a16:creationId xmlns:a16="http://schemas.microsoft.com/office/drawing/2014/main" id="{BAFFEA64-012B-40C2-B708-182A7A61E185}"/>
                </a:ext>
                <a:ext uri="{C183D7F6-B498-43B3-948B-1728B52AA6E4}">
                  <adec:decorative xmlns:adec="http://schemas.microsoft.com/office/drawing/2017/decorative" val="1"/>
                </a:ext>
              </a:extLst>
            </p:cNvPr>
            <p:cNvCxnSpPr>
              <a:cxnSpLocks noChangeShapeType="1"/>
              <a:endCxn id="26" idx="2"/>
            </p:cNvCxnSpPr>
            <p:nvPr>
              <p:custDataLst>
                <p:tags r:id="rId2"/>
              </p:custDataLst>
            </p:nvPr>
          </p:nvCxnSpPr>
          <p:spPr bwMode="auto">
            <a:xfrm flipV="1">
              <a:off x="6309777" y="1759199"/>
              <a:ext cx="0" cy="684000"/>
            </a:xfrm>
            <a:prstGeom prst="straightConnector1">
              <a:avLst/>
            </a:prstGeom>
            <a:noFill/>
            <a:ln w="12700" cap="rnd">
              <a:solidFill>
                <a:schemeClr val="accent2"/>
              </a:solidFill>
              <a:prstDash val="solid"/>
              <a:round/>
              <a:headEnd type="triangle"/>
              <a:tailEnd/>
            </a:ln>
            <a:effectLst/>
          </p:spPr>
        </p:cxnSp>
        <p:sp>
          <p:nvSpPr>
            <p:cNvPr id="27" name="Oval 30">
              <a:extLst>
                <a:ext uri="{FF2B5EF4-FFF2-40B4-BE49-F238E27FC236}">
                  <a16:creationId xmlns:a16="http://schemas.microsoft.com/office/drawing/2014/main" id="{9EF2D2CB-9B51-4581-B970-87CD997AF912}"/>
                </a:ext>
              </a:extLst>
            </p:cNvPr>
            <p:cNvSpPr>
              <a:spLocks noChangeArrowheads="1"/>
            </p:cNvSpPr>
            <p:nvPr>
              <p:custDataLst>
                <p:tags r:id="rId3"/>
              </p:custDataLst>
            </p:nvPr>
          </p:nvSpPr>
          <p:spPr bwMode="auto">
            <a:xfrm>
              <a:off x="7927100" y="2248394"/>
              <a:ext cx="2160000" cy="540000"/>
            </a:xfrm>
            <a:prstGeom prst="rect">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cxnSp>
          <p:nvCxnSpPr>
            <p:cNvPr id="34" name="AutoShape 40">
              <a:extLst>
                <a:ext uri="{FF2B5EF4-FFF2-40B4-BE49-F238E27FC236}">
                  <a16:creationId xmlns:a16="http://schemas.microsoft.com/office/drawing/2014/main" id="{F0EABF0A-A4F0-4803-9AFD-6B52F95E3394}"/>
                </a:ext>
                <a:ext uri="{C183D7F6-B498-43B3-948B-1728B52AA6E4}">
                  <adec:decorative xmlns:adec="http://schemas.microsoft.com/office/drawing/2017/decorative" val="1"/>
                </a:ext>
              </a:extLst>
            </p:cNvPr>
            <p:cNvCxnSpPr>
              <a:cxnSpLocks noChangeShapeType="1"/>
              <a:endCxn id="27" idx="1"/>
            </p:cNvCxnSpPr>
            <p:nvPr>
              <p:custDataLst>
                <p:tags r:id="rId4"/>
              </p:custDataLst>
            </p:nvPr>
          </p:nvCxnSpPr>
          <p:spPr bwMode="auto">
            <a:xfrm flipV="1">
              <a:off x="7353279" y="2518394"/>
              <a:ext cx="573821" cy="499794"/>
            </a:xfrm>
            <a:prstGeom prst="straightConnector1">
              <a:avLst/>
            </a:prstGeom>
            <a:noFill/>
            <a:ln w="12700" cap="rnd">
              <a:solidFill>
                <a:schemeClr val="accent2"/>
              </a:solidFill>
              <a:prstDash val="solid"/>
              <a:round/>
              <a:headEnd type="triangle"/>
              <a:tailEnd/>
            </a:ln>
            <a:effectLst/>
          </p:spPr>
        </p:cxnSp>
        <p:sp>
          <p:nvSpPr>
            <p:cNvPr id="36" name="Oval 30">
              <a:extLst>
                <a:ext uri="{FF2B5EF4-FFF2-40B4-BE49-F238E27FC236}">
                  <a16:creationId xmlns:a16="http://schemas.microsoft.com/office/drawing/2014/main" id="{F5E36134-27CB-4781-97C7-C70F0F957253}"/>
                </a:ext>
              </a:extLst>
            </p:cNvPr>
            <p:cNvSpPr>
              <a:spLocks noChangeArrowheads="1"/>
            </p:cNvSpPr>
            <p:nvPr>
              <p:custDataLst>
                <p:tags r:id="rId5"/>
              </p:custDataLst>
            </p:nvPr>
          </p:nvSpPr>
          <p:spPr bwMode="auto">
            <a:xfrm>
              <a:off x="8464363" y="3277588"/>
              <a:ext cx="2160000" cy="540000"/>
            </a:xfrm>
            <a:prstGeom prst="rect">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cxnSp>
          <p:nvCxnSpPr>
            <p:cNvPr id="39" name="Straight Arrow Connector 38">
              <a:extLst>
                <a:ext uri="{FF2B5EF4-FFF2-40B4-BE49-F238E27FC236}">
                  <a16:creationId xmlns:a16="http://schemas.microsoft.com/office/drawing/2014/main" id="{3868A215-CA8D-45D8-9BB1-A4137769FD01}"/>
                </a:ext>
                <a:ext uri="{C183D7F6-B498-43B3-948B-1728B52AA6E4}">
                  <adec:decorative xmlns:adec="http://schemas.microsoft.com/office/drawing/2017/decorative" val="1"/>
                </a:ext>
              </a:extLst>
            </p:cNvPr>
            <p:cNvCxnSpPr>
              <a:cxnSpLocks/>
              <a:stCxn id="36" idx="1"/>
            </p:cNvCxnSpPr>
            <p:nvPr/>
          </p:nvCxnSpPr>
          <p:spPr>
            <a:xfrm flipH="1">
              <a:off x="7353279" y="3547588"/>
              <a:ext cx="1111084" cy="0"/>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8" name="Oval 31">
              <a:extLst>
                <a:ext uri="{FF2B5EF4-FFF2-40B4-BE49-F238E27FC236}">
                  <a16:creationId xmlns:a16="http://schemas.microsoft.com/office/drawing/2014/main" id="{26F0F21D-E590-452A-B0F4-2A20141B664F}"/>
                </a:ext>
              </a:extLst>
            </p:cNvPr>
            <p:cNvSpPr>
              <a:spLocks noChangeArrowheads="1"/>
            </p:cNvSpPr>
            <p:nvPr>
              <p:custDataLst>
                <p:tags r:id="rId6"/>
              </p:custDataLst>
            </p:nvPr>
          </p:nvSpPr>
          <p:spPr bwMode="auto">
            <a:xfrm>
              <a:off x="7939591" y="4306782"/>
              <a:ext cx="2160000" cy="540000"/>
            </a:xfrm>
            <a:prstGeom prst="rect">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cxnSp>
          <p:nvCxnSpPr>
            <p:cNvPr id="35" name="AutoShape 40">
              <a:extLst>
                <a:ext uri="{FF2B5EF4-FFF2-40B4-BE49-F238E27FC236}">
                  <a16:creationId xmlns:a16="http://schemas.microsoft.com/office/drawing/2014/main" id="{A009EDEA-CEB3-4A3E-9333-32CD7A2A5B5E}"/>
                </a:ext>
                <a:ext uri="{C183D7F6-B498-43B3-948B-1728B52AA6E4}">
                  <adec:decorative xmlns:adec="http://schemas.microsoft.com/office/drawing/2017/decorative" val="1"/>
                </a:ext>
              </a:extLst>
            </p:cNvPr>
            <p:cNvCxnSpPr>
              <a:cxnSpLocks noChangeShapeType="1"/>
              <a:endCxn id="28" idx="1"/>
            </p:cNvCxnSpPr>
            <p:nvPr>
              <p:custDataLst>
                <p:tags r:id="rId7"/>
              </p:custDataLst>
            </p:nvPr>
          </p:nvCxnSpPr>
          <p:spPr bwMode="auto">
            <a:xfrm>
              <a:off x="7353279" y="4076988"/>
              <a:ext cx="586312" cy="499794"/>
            </a:xfrm>
            <a:prstGeom prst="straightConnector1">
              <a:avLst/>
            </a:prstGeom>
            <a:noFill/>
            <a:ln w="12700" cap="rnd">
              <a:solidFill>
                <a:schemeClr val="accent2"/>
              </a:solidFill>
              <a:prstDash val="solid"/>
              <a:round/>
              <a:headEnd type="triangle"/>
              <a:tailEnd/>
            </a:ln>
            <a:effectLst/>
          </p:spPr>
        </p:cxnSp>
        <p:sp>
          <p:nvSpPr>
            <p:cNvPr id="30" name="Oval 34">
              <a:extLst>
                <a:ext uri="{FF2B5EF4-FFF2-40B4-BE49-F238E27FC236}">
                  <a16:creationId xmlns:a16="http://schemas.microsoft.com/office/drawing/2014/main" id="{C45A55B3-A8C7-4978-891B-64842C5D30C4}"/>
                </a:ext>
              </a:extLst>
            </p:cNvPr>
            <p:cNvSpPr>
              <a:spLocks noChangeArrowheads="1"/>
            </p:cNvSpPr>
            <p:nvPr>
              <p:custDataLst>
                <p:tags r:id="rId8"/>
              </p:custDataLst>
            </p:nvPr>
          </p:nvSpPr>
          <p:spPr bwMode="auto">
            <a:xfrm>
              <a:off x="5229777" y="5335976"/>
              <a:ext cx="2160000" cy="540000"/>
            </a:xfrm>
            <a:prstGeom prst="rect">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cxnSp>
          <p:nvCxnSpPr>
            <p:cNvPr id="24" name="AutoShape 38">
              <a:extLst>
                <a:ext uri="{FF2B5EF4-FFF2-40B4-BE49-F238E27FC236}">
                  <a16:creationId xmlns:a16="http://schemas.microsoft.com/office/drawing/2014/main" id="{52E80851-AD7A-481F-8583-74E9A93A72CD}"/>
                </a:ext>
                <a:ext uri="{C183D7F6-B498-43B3-948B-1728B52AA6E4}">
                  <adec:decorative xmlns:adec="http://schemas.microsoft.com/office/drawing/2017/decorative" val="1"/>
                </a:ext>
              </a:extLst>
            </p:cNvPr>
            <p:cNvCxnSpPr>
              <a:cxnSpLocks noChangeShapeType="1"/>
              <a:stCxn id="30" idx="0"/>
            </p:cNvCxnSpPr>
            <p:nvPr>
              <p:custDataLst>
                <p:tags r:id="rId9"/>
              </p:custDataLst>
            </p:nvPr>
          </p:nvCxnSpPr>
          <p:spPr bwMode="auto">
            <a:xfrm flipV="1">
              <a:off x="6309777" y="4651976"/>
              <a:ext cx="0" cy="684000"/>
            </a:xfrm>
            <a:prstGeom prst="straightConnector1">
              <a:avLst/>
            </a:prstGeom>
            <a:noFill/>
            <a:ln w="12700" cap="rnd">
              <a:solidFill>
                <a:schemeClr val="accent2"/>
              </a:solidFill>
              <a:prstDash val="solid"/>
              <a:round/>
              <a:headEnd/>
              <a:tailEnd type="triangle"/>
            </a:ln>
            <a:effectLst/>
          </p:spPr>
        </p:cxnSp>
        <p:sp>
          <p:nvSpPr>
            <p:cNvPr id="29" name="Oval 32">
              <a:extLst>
                <a:ext uri="{FF2B5EF4-FFF2-40B4-BE49-F238E27FC236}">
                  <a16:creationId xmlns:a16="http://schemas.microsoft.com/office/drawing/2014/main" id="{EBFC42FF-CBD2-4C80-A1D9-479887AD2DDD}"/>
                </a:ext>
              </a:extLst>
            </p:cNvPr>
            <p:cNvSpPr>
              <a:spLocks noChangeArrowheads="1"/>
            </p:cNvSpPr>
            <p:nvPr>
              <p:custDataLst>
                <p:tags r:id="rId10"/>
              </p:custDataLst>
            </p:nvPr>
          </p:nvSpPr>
          <p:spPr bwMode="auto">
            <a:xfrm>
              <a:off x="2532452" y="4306782"/>
              <a:ext cx="2160000" cy="540000"/>
            </a:xfrm>
            <a:prstGeom prst="rect">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cxnSp>
          <p:nvCxnSpPr>
            <p:cNvPr id="33" name="AutoShape 40">
              <a:extLst>
                <a:ext uri="{FF2B5EF4-FFF2-40B4-BE49-F238E27FC236}">
                  <a16:creationId xmlns:a16="http://schemas.microsoft.com/office/drawing/2014/main" id="{C31CD73D-BDD7-4D35-A674-DBA5B1F35777}"/>
                </a:ext>
                <a:ext uri="{C183D7F6-B498-43B3-948B-1728B52AA6E4}">
                  <adec:decorative xmlns:adec="http://schemas.microsoft.com/office/drawing/2017/decorative" val="1"/>
                </a:ext>
              </a:extLst>
            </p:cNvPr>
            <p:cNvCxnSpPr>
              <a:cxnSpLocks noChangeShapeType="1"/>
              <a:endCxn id="29" idx="3"/>
            </p:cNvCxnSpPr>
            <p:nvPr>
              <p:custDataLst>
                <p:tags r:id="rId11"/>
              </p:custDataLst>
            </p:nvPr>
          </p:nvCxnSpPr>
          <p:spPr bwMode="auto">
            <a:xfrm flipH="1">
              <a:off x="4692452" y="4061964"/>
              <a:ext cx="573821" cy="514818"/>
            </a:xfrm>
            <a:prstGeom prst="straightConnector1">
              <a:avLst/>
            </a:prstGeom>
            <a:noFill/>
            <a:ln w="12700" cap="rnd">
              <a:solidFill>
                <a:schemeClr val="accent2"/>
              </a:solidFill>
              <a:prstDash val="solid"/>
              <a:round/>
              <a:headEnd type="triangle"/>
              <a:tailEnd/>
            </a:ln>
            <a:effectLst/>
          </p:spPr>
        </p:cxnSp>
        <p:sp>
          <p:nvSpPr>
            <p:cNvPr id="37" name="Oval 35">
              <a:extLst>
                <a:ext uri="{FF2B5EF4-FFF2-40B4-BE49-F238E27FC236}">
                  <a16:creationId xmlns:a16="http://schemas.microsoft.com/office/drawing/2014/main" id="{9D1802BB-FF98-4542-A919-69E3EE1C118E}"/>
                </a:ext>
              </a:extLst>
            </p:cNvPr>
            <p:cNvSpPr>
              <a:spLocks noChangeArrowheads="1"/>
            </p:cNvSpPr>
            <p:nvPr>
              <p:custDataLst>
                <p:tags r:id="rId12"/>
              </p:custDataLst>
            </p:nvPr>
          </p:nvSpPr>
          <p:spPr bwMode="auto">
            <a:xfrm>
              <a:off x="1995189" y="3277588"/>
              <a:ext cx="2160000" cy="540000"/>
            </a:xfrm>
            <a:prstGeom prst="rect">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cxnSp>
          <p:nvCxnSpPr>
            <p:cNvPr id="38" name="Straight Arrow Connector 37">
              <a:extLst>
                <a:ext uri="{FF2B5EF4-FFF2-40B4-BE49-F238E27FC236}">
                  <a16:creationId xmlns:a16="http://schemas.microsoft.com/office/drawing/2014/main" id="{1BF1B279-BEBE-4B94-A42D-1A2FF2EA21D0}"/>
                </a:ext>
                <a:ext uri="{C183D7F6-B498-43B3-948B-1728B52AA6E4}">
                  <adec:decorative xmlns:adec="http://schemas.microsoft.com/office/drawing/2017/decorative" val="1"/>
                </a:ext>
              </a:extLst>
            </p:cNvPr>
            <p:cNvCxnSpPr>
              <a:stCxn id="37" idx="3"/>
            </p:cNvCxnSpPr>
            <p:nvPr/>
          </p:nvCxnSpPr>
          <p:spPr>
            <a:xfrm>
              <a:off x="4155189" y="3547588"/>
              <a:ext cx="1111084" cy="0"/>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1" name="Oval 35">
              <a:extLst>
                <a:ext uri="{FF2B5EF4-FFF2-40B4-BE49-F238E27FC236}">
                  <a16:creationId xmlns:a16="http://schemas.microsoft.com/office/drawing/2014/main" id="{30DB9F3A-14B8-4D55-8505-19E1EAB4D2B6}"/>
                </a:ext>
              </a:extLst>
            </p:cNvPr>
            <p:cNvSpPr>
              <a:spLocks noChangeArrowheads="1"/>
            </p:cNvSpPr>
            <p:nvPr>
              <p:custDataLst>
                <p:tags r:id="rId13"/>
              </p:custDataLst>
            </p:nvPr>
          </p:nvSpPr>
          <p:spPr bwMode="auto">
            <a:xfrm>
              <a:off x="2532452" y="2248394"/>
              <a:ext cx="2160000" cy="540000"/>
            </a:xfrm>
            <a:prstGeom prst="rect">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cxnSp>
          <p:nvCxnSpPr>
            <p:cNvPr id="32" name="AutoShape 40">
              <a:extLst>
                <a:ext uri="{FF2B5EF4-FFF2-40B4-BE49-F238E27FC236}">
                  <a16:creationId xmlns:a16="http://schemas.microsoft.com/office/drawing/2014/main" id="{09CD994C-17A9-4170-A2D8-752ADB9DFAB4}"/>
                </a:ext>
                <a:ext uri="{C183D7F6-B498-43B3-948B-1728B52AA6E4}">
                  <adec:decorative xmlns:adec="http://schemas.microsoft.com/office/drawing/2017/decorative" val="1"/>
                </a:ext>
              </a:extLst>
            </p:cNvPr>
            <p:cNvCxnSpPr>
              <a:cxnSpLocks noChangeShapeType="1"/>
              <a:endCxn id="31" idx="3"/>
            </p:cNvCxnSpPr>
            <p:nvPr>
              <p:custDataLst>
                <p:tags r:id="rId14"/>
              </p:custDataLst>
            </p:nvPr>
          </p:nvCxnSpPr>
          <p:spPr bwMode="auto">
            <a:xfrm flipH="1" flipV="1">
              <a:off x="4692452" y="2518394"/>
              <a:ext cx="573821" cy="499794"/>
            </a:xfrm>
            <a:prstGeom prst="straightConnector1">
              <a:avLst/>
            </a:prstGeom>
            <a:noFill/>
            <a:ln w="12700" cap="rnd">
              <a:solidFill>
                <a:schemeClr val="accent2"/>
              </a:solidFill>
              <a:prstDash val="solid"/>
              <a:round/>
              <a:headEnd type="triangle"/>
              <a:tailEnd/>
            </a:ln>
            <a:effectLst/>
          </p:spPr>
        </p:cxnSp>
        <p:sp>
          <p:nvSpPr>
            <p:cNvPr id="40" name="Oval 6">
              <a:extLst>
                <a:ext uri="{FF2B5EF4-FFF2-40B4-BE49-F238E27FC236}">
                  <a16:creationId xmlns:a16="http://schemas.microsoft.com/office/drawing/2014/main" id="{68246178-6609-4025-A38D-22F2A346FEFD}"/>
                </a:ext>
              </a:extLst>
            </p:cNvPr>
            <p:cNvSpPr>
              <a:spLocks noChangeArrowheads="1"/>
            </p:cNvSpPr>
            <p:nvPr/>
          </p:nvSpPr>
          <p:spPr bwMode="auto">
            <a:xfrm>
              <a:off x="5379938" y="2608560"/>
              <a:ext cx="1859676" cy="1878056"/>
            </a:xfrm>
            <a:prstGeom prst="ellipse">
              <a:avLst/>
            </a:prstGeom>
            <a:solidFill>
              <a:schemeClr val="accent1"/>
            </a:solidFill>
            <a:ln w="6350">
              <a:noFill/>
              <a:round/>
              <a:headEnd/>
              <a:tailEnd/>
            </a:ln>
            <a:effectLst/>
          </p:spPr>
          <p:txBody>
            <a:bodyPr wrap="none" lIns="72000" tIns="72000" rIns="72000" bIns="72000" anchor="ctr" anchorCtr="1"/>
            <a:lstStyle/>
            <a:p>
              <a:pPr marL="179388" indent="-179388" algn="ctr" eaLnBrk="0" hangingPunct="0">
                <a:lnSpc>
                  <a:spcPct val="85000"/>
                </a:lnSpc>
                <a:spcBef>
                  <a:spcPts val="100"/>
                </a:spcBef>
                <a:spcAft>
                  <a:spcPts val="300"/>
                </a:spcAft>
              </a:pPr>
              <a:r>
                <a:rPr lang="en-US" b="1" dirty="0">
                  <a:solidFill>
                    <a:schemeClr val="bg1"/>
                  </a:solidFill>
                  <a:latin typeface="+mj-lt"/>
                </a:rPr>
                <a:t>Text</a:t>
              </a:r>
            </a:p>
          </p:txBody>
        </p:sp>
      </p:grpSp>
      <p:sp>
        <p:nvSpPr>
          <p:cNvPr id="5" name="Footer Placeholder 4">
            <a:extLst>
              <a:ext uri="{FF2B5EF4-FFF2-40B4-BE49-F238E27FC236}">
                <a16:creationId xmlns:a16="http://schemas.microsoft.com/office/drawing/2014/main" id="{08E19FB0-7335-4705-BEA0-035A70D00734}"/>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57686F0D-049B-4E11-82B0-A79D62391BB9}"/>
              </a:ext>
            </a:extLst>
          </p:cNvPr>
          <p:cNvSpPr>
            <a:spLocks noGrp="1"/>
          </p:cNvSpPr>
          <p:nvPr>
            <p:ph type="sldNum" sz="quarter" idx="10"/>
          </p:nvPr>
        </p:nvSpPr>
        <p:spPr/>
        <p:txBody>
          <a:bodyPr/>
          <a:lstStyle/>
          <a:p>
            <a:fld id="{1F90F471-3972-4120-B8B3-0237DE626C35}" type="slidenum">
              <a:rPr lang="en-US" smtClean="0"/>
              <a:pPr/>
              <a:t>177</a:t>
            </a:fld>
            <a:endParaRPr lang="en-US" dirty="0"/>
          </a:p>
        </p:txBody>
      </p:sp>
    </p:spTree>
    <p:extLst>
      <p:ext uri="{BB962C8B-B14F-4D97-AF65-F5344CB8AC3E}">
        <p14:creationId xmlns:p14="http://schemas.microsoft.com/office/powerpoint/2010/main" val="1865876555"/>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Porter’s five forces</a:t>
            </a:r>
          </a:p>
        </p:txBody>
      </p:sp>
      <p:grpSp>
        <p:nvGrpSpPr>
          <p:cNvPr id="3" name="Group 2" descr="Five forces insert text here">
            <a:extLst>
              <a:ext uri="{FF2B5EF4-FFF2-40B4-BE49-F238E27FC236}">
                <a16:creationId xmlns:a16="http://schemas.microsoft.com/office/drawing/2014/main" id="{243E1375-5AFC-4EE8-96AB-6D5389C2701A}"/>
              </a:ext>
            </a:extLst>
          </p:cNvPr>
          <p:cNvGrpSpPr/>
          <p:nvPr/>
        </p:nvGrpSpPr>
        <p:grpSpPr>
          <a:xfrm>
            <a:off x="345019" y="1822368"/>
            <a:ext cx="11510431" cy="3780002"/>
            <a:chOff x="345019" y="1822368"/>
            <a:chExt cx="11510431" cy="3780002"/>
          </a:xfrm>
        </p:grpSpPr>
        <p:grpSp>
          <p:nvGrpSpPr>
            <p:cNvPr id="17" name="Group 16" descr="Internal Competition text">
              <a:extLst>
                <a:ext uri="{FF2B5EF4-FFF2-40B4-BE49-F238E27FC236}">
                  <a16:creationId xmlns:a16="http://schemas.microsoft.com/office/drawing/2014/main" id="{6E80E624-0646-43B7-AE70-8C7967E8148B}"/>
                </a:ext>
              </a:extLst>
            </p:cNvPr>
            <p:cNvGrpSpPr>
              <a:grpSpLocks noChangeAspect="1"/>
            </p:cNvGrpSpPr>
            <p:nvPr/>
          </p:nvGrpSpPr>
          <p:grpSpPr>
            <a:xfrm>
              <a:off x="4238936" y="1822369"/>
              <a:ext cx="3780000" cy="3780000"/>
              <a:chOff x="4250007" y="1487819"/>
              <a:chExt cx="4424338" cy="4424338"/>
            </a:xfrm>
          </p:grpSpPr>
          <p:sp>
            <p:nvSpPr>
              <p:cNvPr id="18" name="Rectangle 17">
                <a:extLst>
                  <a:ext uri="{FF2B5EF4-FFF2-40B4-BE49-F238E27FC236}">
                    <a16:creationId xmlns:a16="http://schemas.microsoft.com/office/drawing/2014/main" id="{1CAFCBC5-7462-4711-BD2C-E902AC0BD22E}"/>
                  </a:ext>
                </a:extLst>
              </p:cNvPr>
              <p:cNvSpPr/>
              <p:nvPr/>
            </p:nvSpPr>
            <p:spPr>
              <a:xfrm>
                <a:off x="4250007" y="1487819"/>
                <a:ext cx="4424338" cy="4424338"/>
              </a:xfrm>
              <a:prstGeom prst="rect">
                <a:avLst/>
              </a:prstGeom>
              <a:solidFill>
                <a:schemeClr val="tx2">
                  <a:lumMod val="20000"/>
                  <a:lumOff val="80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9" name="Rectangle 18">
                <a:extLst>
                  <a:ext uri="{FF2B5EF4-FFF2-40B4-BE49-F238E27FC236}">
                    <a16:creationId xmlns:a16="http://schemas.microsoft.com/office/drawing/2014/main" id="{C7FF5BD1-C51A-4C1A-ADB5-09BAFA651D73}"/>
                  </a:ext>
                </a:extLst>
              </p:cNvPr>
              <p:cNvSpPr/>
              <p:nvPr/>
            </p:nvSpPr>
            <p:spPr>
              <a:xfrm>
                <a:off x="4617634" y="1855446"/>
                <a:ext cx="3689084" cy="3689084"/>
              </a:xfrm>
              <a:prstGeom prst="rect">
                <a:avLst/>
              </a:prstGeom>
              <a:pattFill prst="dkUpDiag">
                <a:fgClr>
                  <a:schemeClr val="tx2">
                    <a:lumMod val="20000"/>
                    <a:lumOff val="80000"/>
                  </a:schemeClr>
                </a:fgClr>
                <a:bgClr>
                  <a:schemeClr val="bg1"/>
                </a:bgClr>
              </a:patt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0" name="Diamond 19">
                <a:extLst>
                  <a:ext uri="{FF2B5EF4-FFF2-40B4-BE49-F238E27FC236}">
                    <a16:creationId xmlns:a16="http://schemas.microsoft.com/office/drawing/2014/main" id="{5A9A146A-392F-4218-8D55-4E615C360949}"/>
                  </a:ext>
                </a:extLst>
              </p:cNvPr>
              <p:cNvSpPr>
                <a:spLocks noChangeAspect="1"/>
              </p:cNvSpPr>
              <p:nvPr/>
            </p:nvSpPr>
            <p:spPr>
              <a:xfrm>
                <a:off x="4250007" y="1487819"/>
                <a:ext cx="4424338" cy="4424338"/>
              </a:xfrm>
              <a:prstGeom prst="diamond">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eaLnBrk="0" hangingPunct="0">
                  <a:lnSpc>
                    <a:spcPct val="85000"/>
                  </a:lnSpc>
                  <a:spcBef>
                    <a:spcPts val="100"/>
                  </a:spcBef>
                  <a:spcAft>
                    <a:spcPts val="300"/>
                  </a:spcAft>
                </a:pPr>
                <a:r>
                  <a:rPr lang="en-US" b="1" dirty="0">
                    <a:solidFill>
                      <a:schemeClr val="bg1"/>
                    </a:solidFill>
                    <a:latin typeface="+mj-lt"/>
                  </a:rPr>
                  <a:t>Internal competition</a:t>
                </a:r>
              </a:p>
              <a:p>
                <a:pPr algn="ctr" eaLnBrk="0" hangingPunct="0">
                  <a:spcBef>
                    <a:spcPts val="100"/>
                  </a:spcBef>
                  <a:spcAft>
                    <a:spcPts val="100"/>
                  </a:spcAft>
                </a:pPr>
                <a:r>
                  <a:rPr lang="en-US" dirty="0">
                    <a:solidFill>
                      <a:schemeClr val="bg1"/>
                    </a:solidFill>
                  </a:rPr>
                  <a:t>Insert text</a:t>
                </a:r>
              </a:p>
            </p:txBody>
          </p:sp>
        </p:grpSp>
        <p:sp>
          <p:nvSpPr>
            <p:cNvPr id="23" name="Rectangle 7">
              <a:extLst>
                <a:ext uri="{FF2B5EF4-FFF2-40B4-BE49-F238E27FC236}">
                  <a16:creationId xmlns:a16="http://schemas.microsoft.com/office/drawing/2014/main" id="{9973C8D6-A13B-453B-A3D6-B154606E7A60}"/>
                </a:ext>
              </a:extLst>
            </p:cNvPr>
            <p:cNvSpPr>
              <a:spLocks noChangeArrowheads="1"/>
            </p:cNvSpPr>
            <p:nvPr>
              <p:custDataLst>
                <p:tags r:id="rId1"/>
              </p:custDataLst>
            </p:nvPr>
          </p:nvSpPr>
          <p:spPr bwMode="auto">
            <a:xfrm>
              <a:off x="345019" y="1822369"/>
              <a:ext cx="2690488" cy="1890000"/>
            </a:xfrm>
            <a:prstGeom prst="rect">
              <a:avLst/>
            </a:prstGeom>
            <a:noFill/>
            <a:ln w="6350">
              <a:noFill/>
              <a:miter lim="800000"/>
              <a:headEnd/>
              <a:tailEnd/>
            </a:ln>
            <a:effectLst/>
          </p:spPr>
          <p:txBody>
            <a:bodyPr lIns="0" tIns="0" rIns="0" bIns="0" anchor="ctr" anchorCtr="0"/>
            <a:lstStyle/>
            <a:p>
              <a:pPr algn="r" eaLnBrk="0" hangingPunct="0">
                <a:lnSpc>
                  <a:spcPct val="80000"/>
                </a:lnSpc>
              </a:pPr>
              <a:r>
                <a:rPr lang="en-US" b="1" dirty="0">
                  <a:solidFill>
                    <a:schemeClr val="accent2"/>
                  </a:solidFill>
                  <a:latin typeface="+mj-lt"/>
                </a:rPr>
                <a:t>New entrants</a:t>
              </a:r>
            </a:p>
            <a:p>
              <a:pPr algn="r" eaLnBrk="0" hangingPunct="0">
                <a:lnSpc>
                  <a:spcPct val="90000"/>
                </a:lnSpc>
                <a:spcBef>
                  <a:spcPts val="100"/>
                </a:spcBef>
                <a:spcAft>
                  <a:spcPts val="1200"/>
                </a:spcAft>
              </a:pPr>
              <a:r>
                <a:rPr lang="en-US" dirty="0"/>
                <a:t>Insert text here</a:t>
              </a:r>
            </a:p>
          </p:txBody>
        </p:sp>
        <p:cxnSp>
          <p:nvCxnSpPr>
            <p:cNvPr id="25" name="Straight Arrow Connector 24">
              <a:extLst>
                <a:ext uri="{FF2B5EF4-FFF2-40B4-BE49-F238E27FC236}">
                  <a16:creationId xmlns:a16="http://schemas.microsoft.com/office/drawing/2014/main" id="{FF06F13B-70C6-4933-A76F-5C8D9DD8F93B}"/>
                </a:ext>
                <a:ext uri="{C183D7F6-B498-43B3-948B-1728B52AA6E4}">
                  <adec:decorative xmlns:adec="http://schemas.microsoft.com/office/drawing/2017/decorative" val="1"/>
                </a:ext>
              </a:extLst>
            </p:cNvPr>
            <p:cNvCxnSpPr/>
            <p:nvPr/>
          </p:nvCxnSpPr>
          <p:spPr>
            <a:xfrm>
              <a:off x="3170963" y="2804243"/>
              <a:ext cx="1676459" cy="0"/>
            </a:xfrm>
            <a:prstGeom prst="straightConnector1">
              <a:avLst/>
            </a:prstGeom>
            <a:ln w="19050" cap="rnd">
              <a:solidFill>
                <a:schemeClr val="tx2">
                  <a:lumMod val="60000"/>
                  <a:lumOff val="4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Rectangle 7">
              <a:extLst>
                <a:ext uri="{FF2B5EF4-FFF2-40B4-BE49-F238E27FC236}">
                  <a16:creationId xmlns:a16="http://schemas.microsoft.com/office/drawing/2014/main" id="{4A691253-33B7-404F-9F10-23319E627187}"/>
                </a:ext>
              </a:extLst>
            </p:cNvPr>
            <p:cNvSpPr>
              <a:spLocks noChangeArrowheads="1"/>
            </p:cNvSpPr>
            <p:nvPr>
              <p:custDataLst>
                <p:tags r:id="rId2"/>
              </p:custDataLst>
            </p:nvPr>
          </p:nvSpPr>
          <p:spPr bwMode="auto">
            <a:xfrm>
              <a:off x="345019" y="3712370"/>
              <a:ext cx="2690488" cy="1890000"/>
            </a:xfrm>
            <a:prstGeom prst="rect">
              <a:avLst/>
            </a:prstGeom>
            <a:noFill/>
            <a:ln w="6350">
              <a:noFill/>
              <a:miter lim="800000"/>
              <a:headEnd/>
              <a:tailEnd/>
            </a:ln>
            <a:effectLst/>
          </p:spPr>
          <p:txBody>
            <a:bodyPr lIns="0" tIns="0" rIns="0" bIns="0" anchor="ctr" anchorCtr="0"/>
            <a:lstStyle/>
            <a:p>
              <a:pPr algn="r" eaLnBrk="0" hangingPunct="0">
                <a:lnSpc>
                  <a:spcPct val="80000"/>
                </a:lnSpc>
              </a:pPr>
              <a:r>
                <a:rPr lang="en-US" b="1" dirty="0">
                  <a:solidFill>
                    <a:schemeClr val="accent2"/>
                  </a:solidFill>
                  <a:latin typeface="+mj-lt"/>
                </a:rPr>
                <a:t>Suppliers</a:t>
              </a:r>
            </a:p>
            <a:p>
              <a:pPr algn="r" eaLnBrk="0" hangingPunct="0">
                <a:lnSpc>
                  <a:spcPct val="90000"/>
                </a:lnSpc>
                <a:spcBef>
                  <a:spcPts val="100"/>
                </a:spcBef>
                <a:spcAft>
                  <a:spcPts val="1200"/>
                </a:spcAft>
              </a:pPr>
              <a:r>
                <a:rPr lang="en-US" dirty="0"/>
                <a:t>Insert text here</a:t>
              </a:r>
            </a:p>
          </p:txBody>
        </p:sp>
        <p:cxnSp>
          <p:nvCxnSpPr>
            <p:cNvPr id="24" name="Straight Arrow Connector 23">
              <a:extLst>
                <a:ext uri="{FF2B5EF4-FFF2-40B4-BE49-F238E27FC236}">
                  <a16:creationId xmlns:a16="http://schemas.microsoft.com/office/drawing/2014/main" id="{E5AA5FD4-4ED5-4210-A44C-869E60143A07}"/>
                </a:ext>
                <a:ext uri="{C183D7F6-B498-43B3-948B-1728B52AA6E4}">
                  <adec:decorative xmlns:adec="http://schemas.microsoft.com/office/drawing/2017/decorative" val="1"/>
                </a:ext>
              </a:extLst>
            </p:cNvPr>
            <p:cNvCxnSpPr/>
            <p:nvPr/>
          </p:nvCxnSpPr>
          <p:spPr>
            <a:xfrm>
              <a:off x="3170963" y="4694244"/>
              <a:ext cx="1676459" cy="0"/>
            </a:xfrm>
            <a:prstGeom prst="straightConnector1">
              <a:avLst/>
            </a:prstGeom>
            <a:ln w="19050" cap="rnd">
              <a:solidFill>
                <a:schemeClr val="tx2">
                  <a:lumMod val="60000"/>
                  <a:lumOff val="4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6" name="Rectangle 7">
              <a:extLst>
                <a:ext uri="{FF2B5EF4-FFF2-40B4-BE49-F238E27FC236}">
                  <a16:creationId xmlns:a16="http://schemas.microsoft.com/office/drawing/2014/main" id="{6D3DB0E7-2DA2-4683-9ECC-FA25564D81E3}"/>
                </a:ext>
              </a:extLst>
            </p:cNvPr>
            <p:cNvSpPr>
              <a:spLocks noChangeArrowheads="1"/>
            </p:cNvSpPr>
            <p:nvPr>
              <p:custDataLst>
                <p:tags r:id="rId3"/>
              </p:custDataLst>
            </p:nvPr>
          </p:nvSpPr>
          <p:spPr bwMode="auto">
            <a:xfrm>
              <a:off x="9161245" y="1822368"/>
              <a:ext cx="2694205" cy="1890001"/>
            </a:xfrm>
            <a:prstGeom prst="rect">
              <a:avLst/>
            </a:prstGeom>
            <a:noFill/>
            <a:ln w="6350">
              <a:noFill/>
              <a:miter lim="800000"/>
              <a:headEnd/>
              <a:tailEnd/>
            </a:ln>
            <a:effectLst/>
          </p:spPr>
          <p:txBody>
            <a:bodyPr lIns="0" tIns="0" rIns="0" bIns="0" anchor="ctr" anchorCtr="0"/>
            <a:lstStyle/>
            <a:p>
              <a:pPr eaLnBrk="0" hangingPunct="0">
                <a:lnSpc>
                  <a:spcPct val="80000"/>
                </a:lnSpc>
              </a:pPr>
              <a:r>
                <a:rPr lang="en-US" b="1" dirty="0">
                  <a:solidFill>
                    <a:schemeClr val="accent2"/>
                  </a:solidFill>
                  <a:latin typeface="+mj-lt"/>
                </a:rPr>
                <a:t>Customers</a:t>
              </a:r>
            </a:p>
            <a:p>
              <a:pPr eaLnBrk="0" hangingPunct="0">
                <a:lnSpc>
                  <a:spcPct val="90000"/>
                </a:lnSpc>
                <a:spcBef>
                  <a:spcPts val="100"/>
                </a:spcBef>
                <a:spcAft>
                  <a:spcPts val="1200"/>
                </a:spcAft>
              </a:pPr>
              <a:r>
                <a:rPr lang="en-US" dirty="0"/>
                <a:t>Insert text here</a:t>
              </a:r>
            </a:p>
          </p:txBody>
        </p:sp>
        <p:cxnSp>
          <p:nvCxnSpPr>
            <p:cNvPr id="28" name="Straight Arrow Connector 27">
              <a:extLst>
                <a:ext uri="{FF2B5EF4-FFF2-40B4-BE49-F238E27FC236}">
                  <a16:creationId xmlns:a16="http://schemas.microsoft.com/office/drawing/2014/main" id="{EFAF3EAD-F480-42AC-A64B-7FBAEBC644CD}"/>
                </a:ext>
                <a:ext uri="{C183D7F6-B498-43B3-948B-1728B52AA6E4}">
                  <adec:decorative xmlns:adec="http://schemas.microsoft.com/office/drawing/2017/decorative" val="1"/>
                </a:ext>
              </a:extLst>
            </p:cNvPr>
            <p:cNvCxnSpPr/>
            <p:nvPr/>
          </p:nvCxnSpPr>
          <p:spPr>
            <a:xfrm flipH="1">
              <a:off x="7410450" y="2804243"/>
              <a:ext cx="1676459" cy="0"/>
            </a:xfrm>
            <a:prstGeom prst="straightConnector1">
              <a:avLst/>
            </a:prstGeom>
            <a:ln w="19050" cap="rnd">
              <a:solidFill>
                <a:schemeClr val="tx2">
                  <a:lumMod val="60000"/>
                  <a:lumOff val="4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Rectangle 7">
              <a:extLst>
                <a:ext uri="{FF2B5EF4-FFF2-40B4-BE49-F238E27FC236}">
                  <a16:creationId xmlns:a16="http://schemas.microsoft.com/office/drawing/2014/main" id="{A6786F16-C30B-479E-AE55-F08783788B4D}"/>
                </a:ext>
              </a:extLst>
            </p:cNvPr>
            <p:cNvSpPr>
              <a:spLocks noChangeArrowheads="1"/>
            </p:cNvSpPr>
            <p:nvPr>
              <p:custDataLst>
                <p:tags r:id="rId4"/>
              </p:custDataLst>
            </p:nvPr>
          </p:nvSpPr>
          <p:spPr bwMode="auto">
            <a:xfrm>
              <a:off x="9161245" y="3712369"/>
              <a:ext cx="2694205" cy="1890001"/>
            </a:xfrm>
            <a:prstGeom prst="rect">
              <a:avLst/>
            </a:prstGeom>
            <a:noFill/>
            <a:ln w="6350">
              <a:noFill/>
              <a:miter lim="800000"/>
              <a:headEnd/>
              <a:tailEnd/>
            </a:ln>
            <a:effectLst/>
          </p:spPr>
          <p:txBody>
            <a:bodyPr lIns="0" tIns="0" rIns="0" bIns="0" anchor="ctr" anchorCtr="0"/>
            <a:lstStyle/>
            <a:p>
              <a:pPr eaLnBrk="0" hangingPunct="0">
                <a:lnSpc>
                  <a:spcPct val="80000"/>
                </a:lnSpc>
              </a:pPr>
              <a:r>
                <a:rPr lang="en-US" b="1" dirty="0">
                  <a:solidFill>
                    <a:schemeClr val="accent2"/>
                  </a:solidFill>
                  <a:latin typeface="+mj-lt"/>
                </a:rPr>
                <a:t>Substitutes</a:t>
              </a:r>
            </a:p>
            <a:p>
              <a:pPr eaLnBrk="0" hangingPunct="0">
                <a:lnSpc>
                  <a:spcPct val="90000"/>
                </a:lnSpc>
                <a:spcBef>
                  <a:spcPts val="100"/>
                </a:spcBef>
                <a:spcAft>
                  <a:spcPts val="1200"/>
                </a:spcAft>
              </a:pPr>
              <a:r>
                <a:rPr lang="en-US" dirty="0"/>
                <a:t>Insert text here</a:t>
              </a:r>
            </a:p>
          </p:txBody>
        </p:sp>
        <p:cxnSp>
          <p:nvCxnSpPr>
            <p:cNvPr id="27" name="Straight Arrow Connector 26">
              <a:extLst>
                <a:ext uri="{FF2B5EF4-FFF2-40B4-BE49-F238E27FC236}">
                  <a16:creationId xmlns:a16="http://schemas.microsoft.com/office/drawing/2014/main" id="{93C8E3F4-8C53-479F-B3E6-68F8B0428245}"/>
                </a:ext>
                <a:ext uri="{C183D7F6-B498-43B3-948B-1728B52AA6E4}">
                  <adec:decorative xmlns:adec="http://schemas.microsoft.com/office/drawing/2017/decorative" val="1"/>
                </a:ext>
              </a:extLst>
            </p:cNvPr>
            <p:cNvCxnSpPr/>
            <p:nvPr/>
          </p:nvCxnSpPr>
          <p:spPr>
            <a:xfrm flipH="1">
              <a:off x="7410450" y="4694244"/>
              <a:ext cx="1676459" cy="0"/>
            </a:xfrm>
            <a:prstGeom prst="straightConnector1">
              <a:avLst/>
            </a:prstGeom>
            <a:ln w="19050" cap="rnd">
              <a:solidFill>
                <a:schemeClr val="tx2">
                  <a:lumMod val="60000"/>
                  <a:lumOff val="4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sp>
        <p:nvSpPr>
          <p:cNvPr id="5" name="Footer Placeholder 4">
            <a:extLst>
              <a:ext uri="{FF2B5EF4-FFF2-40B4-BE49-F238E27FC236}">
                <a16:creationId xmlns:a16="http://schemas.microsoft.com/office/drawing/2014/main" id="{26F35524-16BB-4CAC-8723-C6F67BBB4B2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58B0C946-560E-42EF-B7A4-E45777527C62}"/>
              </a:ext>
            </a:extLst>
          </p:cNvPr>
          <p:cNvSpPr>
            <a:spLocks noGrp="1"/>
          </p:cNvSpPr>
          <p:nvPr>
            <p:ph type="sldNum" sz="quarter" idx="10"/>
          </p:nvPr>
        </p:nvSpPr>
        <p:spPr/>
        <p:txBody>
          <a:bodyPr/>
          <a:lstStyle/>
          <a:p>
            <a:fld id="{1F90F471-3972-4120-B8B3-0237DE626C35}" type="slidenum">
              <a:rPr lang="en-US" smtClean="0"/>
              <a:pPr/>
              <a:t>178</a:t>
            </a:fld>
            <a:endParaRPr lang="en-US" dirty="0"/>
          </a:p>
        </p:txBody>
      </p:sp>
    </p:spTree>
    <p:extLst>
      <p:ext uri="{BB962C8B-B14F-4D97-AF65-F5344CB8AC3E}">
        <p14:creationId xmlns:p14="http://schemas.microsoft.com/office/powerpoint/2010/main" val="2431733798"/>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Factors 1</a:t>
            </a:r>
          </a:p>
        </p:txBody>
      </p:sp>
      <p:grpSp>
        <p:nvGrpSpPr>
          <p:cNvPr id="3" name="Group 2" descr="Factors insert text here">
            <a:extLst>
              <a:ext uri="{FF2B5EF4-FFF2-40B4-BE49-F238E27FC236}">
                <a16:creationId xmlns:a16="http://schemas.microsoft.com/office/drawing/2014/main" id="{412792AF-6597-4EA2-BCDB-C964BD984C9A}"/>
              </a:ext>
            </a:extLst>
          </p:cNvPr>
          <p:cNvGrpSpPr/>
          <p:nvPr/>
        </p:nvGrpSpPr>
        <p:grpSpPr>
          <a:xfrm>
            <a:off x="3788323" y="1219200"/>
            <a:ext cx="4771002" cy="4838700"/>
            <a:chOff x="3788323" y="1219200"/>
            <a:chExt cx="4771002" cy="4838700"/>
          </a:xfrm>
        </p:grpSpPr>
        <p:sp>
          <p:nvSpPr>
            <p:cNvPr id="13" name="Oval 12">
              <a:extLst>
                <a:ext uri="{FF2B5EF4-FFF2-40B4-BE49-F238E27FC236}">
                  <a16:creationId xmlns:a16="http://schemas.microsoft.com/office/drawing/2014/main" id="{55F8D428-6806-4834-8FA7-78C8FD532ACC}"/>
                </a:ext>
              </a:extLst>
            </p:cNvPr>
            <p:cNvSpPr>
              <a:spLocks noChangeAspect="1" noChangeArrowheads="1"/>
            </p:cNvSpPr>
            <p:nvPr/>
          </p:nvSpPr>
          <p:spPr bwMode="auto">
            <a:xfrm>
              <a:off x="4348090" y="1799809"/>
              <a:ext cx="3564000" cy="3564000"/>
            </a:xfrm>
            <a:prstGeom prst="ellipse">
              <a:avLst/>
            </a:prstGeom>
            <a:solidFill>
              <a:schemeClr val="tx2">
                <a:lumMod val="20000"/>
                <a:lumOff val="80000"/>
              </a:schemeClr>
            </a:solidFill>
            <a:ln w="6350">
              <a:noFill/>
              <a:round/>
              <a:headEnd/>
              <a:tailEnd/>
            </a:ln>
            <a:effectLst/>
          </p:spPr>
          <p:txBody>
            <a:bodyPr wrap="none" lIns="36000" tIns="36000" rIns="36000" bIns="36000" anchor="ctr" anchorCtr="1"/>
            <a:lstStyle/>
            <a:p>
              <a:pPr algn="ctr" eaLnBrk="0" hangingPunct="0">
                <a:lnSpc>
                  <a:spcPct val="85000"/>
                </a:lnSpc>
                <a:spcBef>
                  <a:spcPts val="100"/>
                </a:spcBef>
                <a:spcAft>
                  <a:spcPts val="300"/>
                </a:spcAft>
              </a:pPr>
              <a:r>
                <a:rPr lang="en-US" b="1" dirty="0">
                  <a:solidFill>
                    <a:schemeClr val="accent2"/>
                  </a:solidFill>
                  <a:latin typeface="+mj-lt"/>
                </a:rPr>
                <a:t>Text</a:t>
              </a:r>
            </a:p>
            <a:p>
              <a:pPr algn="ctr" eaLnBrk="0" hangingPunct="0">
                <a:spcBef>
                  <a:spcPts val="100"/>
                </a:spcBef>
                <a:spcAft>
                  <a:spcPts val="100"/>
                </a:spcAft>
              </a:pPr>
              <a:r>
                <a:rPr lang="en-US" dirty="0"/>
                <a:t>Text</a:t>
              </a:r>
            </a:p>
            <a:p>
              <a:pPr algn="ctr" eaLnBrk="0" hangingPunct="0">
                <a:spcBef>
                  <a:spcPts val="100"/>
                </a:spcBef>
                <a:spcAft>
                  <a:spcPts val="100"/>
                </a:spcAft>
              </a:pPr>
              <a:r>
                <a:rPr lang="en-US" dirty="0"/>
                <a:t>Text</a:t>
              </a:r>
            </a:p>
            <a:p>
              <a:pPr algn="ctr" eaLnBrk="0" hangingPunct="0">
                <a:spcBef>
                  <a:spcPts val="100"/>
                </a:spcBef>
                <a:spcAft>
                  <a:spcPts val="100"/>
                </a:spcAft>
              </a:pPr>
              <a:r>
                <a:rPr lang="en-US" dirty="0"/>
                <a:t>Text</a:t>
              </a:r>
            </a:p>
          </p:txBody>
        </p:sp>
        <p:sp>
          <p:nvSpPr>
            <p:cNvPr id="15" name="Oval 29">
              <a:extLst>
                <a:ext uri="{FF2B5EF4-FFF2-40B4-BE49-F238E27FC236}">
                  <a16:creationId xmlns:a16="http://schemas.microsoft.com/office/drawing/2014/main" id="{D768426B-4AFF-4FAC-8FF9-0051994B4937}"/>
                </a:ext>
              </a:extLst>
            </p:cNvPr>
            <p:cNvSpPr>
              <a:spLocks noChangeArrowheads="1"/>
            </p:cNvSpPr>
            <p:nvPr>
              <p:custDataLst>
                <p:tags r:id="rId1"/>
              </p:custDataLst>
            </p:nvPr>
          </p:nvSpPr>
          <p:spPr bwMode="auto">
            <a:xfrm>
              <a:off x="5481914" y="1219200"/>
              <a:ext cx="1295725" cy="1295725"/>
            </a:xfrm>
            <a:prstGeom prst="ellipse">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sp>
          <p:nvSpPr>
            <p:cNvPr id="17" name="Oval 30">
              <a:extLst>
                <a:ext uri="{FF2B5EF4-FFF2-40B4-BE49-F238E27FC236}">
                  <a16:creationId xmlns:a16="http://schemas.microsoft.com/office/drawing/2014/main" id="{4394D79F-276E-4950-9727-EFFC5701AE41}"/>
                </a:ext>
              </a:extLst>
            </p:cNvPr>
            <p:cNvSpPr>
              <a:spLocks noChangeArrowheads="1"/>
            </p:cNvSpPr>
            <p:nvPr>
              <p:custDataLst>
                <p:tags r:id="rId2"/>
              </p:custDataLst>
            </p:nvPr>
          </p:nvSpPr>
          <p:spPr bwMode="auto">
            <a:xfrm>
              <a:off x="7263600" y="1995663"/>
              <a:ext cx="1295725" cy="1295725"/>
            </a:xfrm>
            <a:prstGeom prst="ellipse">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sp>
          <p:nvSpPr>
            <p:cNvPr id="19" name="Oval 31">
              <a:extLst>
                <a:ext uri="{FF2B5EF4-FFF2-40B4-BE49-F238E27FC236}">
                  <a16:creationId xmlns:a16="http://schemas.microsoft.com/office/drawing/2014/main" id="{5DCD7F2C-8FC8-4651-93DB-C36EB43A3E1A}"/>
                </a:ext>
              </a:extLst>
            </p:cNvPr>
            <p:cNvSpPr>
              <a:spLocks noChangeArrowheads="1"/>
            </p:cNvSpPr>
            <p:nvPr>
              <p:custDataLst>
                <p:tags r:id="rId3"/>
              </p:custDataLst>
            </p:nvPr>
          </p:nvSpPr>
          <p:spPr bwMode="auto">
            <a:xfrm>
              <a:off x="7263600" y="3826471"/>
              <a:ext cx="1295725" cy="1295725"/>
            </a:xfrm>
            <a:prstGeom prst="ellipse">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sp>
          <p:nvSpPr>
            <p:cNvPr id="23" name="Oval 34">
              <a:extLst>
                <a:ext uri="{FF2B5EF4-FFF2-40B4-BE49-F238E27FC236}">
                  <a16:creationId xmlns:a16="http://schemas.microsoft.com/office/drawing/2014/main" id="{563A10A9-9D75-4BE0-BC28-501076352AEB}"/>
                </a:ext>
              </a:extLst>
            </p:cNvPr>
            <p:cNvSpPr>
              <a:spLocks noChangeArrowheads="1"/>
            </p:cNvSpPr>
            <p:nvPr>
              <p:custDataLst>
                <p:tags r:id="rId4"/>
              </p:custDataLst>
            </p:nvPr>
          </p:nvSpPr>
          <p:spPr bwMode="auto">
            <a:xfrm>
              <a:off x="5481914" y="4762175"/>
              <a:ext cx="1295725" cy="1295725"/>
            </a:xfrm>
            <a:prstGeom prst="ellipse">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sp>
          <p:nvSpPr>
            <p:cNvPr id="21" name="Oval 32">
              <a:extLst>
                <a:ext uri="{FF2B5EF4-FFF2-40B4-BE49-F238E27FC236}">
                  <a16:creationId xmlns:a16="http://schemas.microsoft.com/office/drawing/2014/main" id="{F6F98FAA-9122-4BA0-942B-F5324CA61522}"/>
                </a:ext>
              </a:extLst>
            </p:cNvPr>
            <p:cNvSpPr>
              <a:spLocks noChangeArrowheads="1"/>
            </p:cNvSpPr>
            <p:nvPr>
              <p:custDataLst>
                <p:tags r:id="rId5"/>
              </p:custDataLst>
            </p:nvPr>
          </p:nvSpPr>
          <p:spPr bwMode="auto">
            <a:xfrm>
              <a:off x="3788323" y="3826471"/>
              <a:ext cx="1295725" cy="1295725"/>
            </a:xfrm>
            <a:prstGeom prst="ellipse">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sp>
          <p:nvSpPr>
            <p:cNvPr id="25" name="Oval 35">
              <a:extLst>
                <a:ext uri="{FF2B5EF4-FFF2-40B4-BE49-F238E27FC236}">
                  <a16:creationId xmlns:a16="http://schemas.microsoft.com/office/drawing/2014/main" id="{17FB21E7-3E58-4BC5-9BC0-97F8955C1A18}"/>
                </a:ext>
              </a:extLst>
            </p:cNvPr>
            <p:cNvSpPr>
              <a:spLocks noChangeArrowheads="1"/>
            </p:cNvSpPr>
            <p:nvPr>
              <p:custDataLst>
                <p:tags r:id="rId6"/>
              </p:custDataLst>
            </p:nvPr>
          </p:nvSpPr>
          <p:spPr bwMode="auto">
            <a:xfrm>
              <a:off x="3788323" y="1995663"/>
              <a:ext cx="1295725" cy="1295725"/>
            </a:xfrm>
            <a:prstGeom prst="ellipse">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grpSp>
      <p:sp>
        <p:nvSpPr>
          <p:cNvPr id="5" name="Footer Placeholder 4">
            <a:extLst>
              <a:ext uri="{FF2B5EF4-FFF2-40B4-BE49-F238E27FC236}">
                <a16:creationId xmlns:a16="http://schemas.microsoft.com/office/drawing/2014/main" id="{ABDD76C0-9C76-4600-80F4-A4B770B12EB6}"/>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2B5D730-87DB-40C5-8C7F-8C1F19F33892}"/>
              </a:ext>
            </a:extLst>
          </p:cNvPr>
          <p:cNvSpPr>
            <a:spLocks noGrp="1"/>
          </p:cNvSpPr>
          <p:nvPr>
            <p:ph type="sldNum" sz="quarter" idx="10"/>
          </p:nvPr>
        </p:nvSpPr>
        <p:spPr/>
        <p:txBody>
          <a:bodyPr/>
          <a:lstStyle/>
          <a:p>
            <a:fld id="{1F90F471-3972-4120-B8B3-0237DE626C35}" type="slidenum">
              <a:rPr lang="en-US" smtClean="0"/>
              <a:pPr/>
              <a:t>179</a:t>
            </a:fld>
            <a:endParaRPr lang="en-US" dirty="0"/>
          </a:p>
        </p:txBody>
      </p:sp>
    </p:spTree>
    <p:extLst>
      <p:ext uri="{BB962C8B-B14F-4D97-AF65-F5344CB8AC3E}">
        <p14:creationId xmlns:p14="http://schemas.microsoft.com/office/powerpoint/2010/main" val="5307237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07E925-91F5-4569-B079-6628CFA58C78}"/>
              </a:ext>
            </a:extLst>
          </p:cNvPr>
          <p:cNvSpPr>
            <a:spLocks noGrp="1"/>
          </p:cNvSpPr>
          <p:nvPr>
            <p:ph type="title"/>
          </p:nvPr>
        </p:nvSpPr>
        <p:spPr/>
        <p:txBody>
          <a:bodyPr/>
          <a:lstStyle/>
          <a:p>
            <a:r>
              <a:rPr lang="en-US" dirty="0"/>
              <a:t>Insert Salutation 72pt</a:t>
            </a:r>
          </a:p>
        </p:txBody>
      </p:sp>
    </p:spTree>
    <p:extLst>
      <p:ext uri="{BB962C8B-B14F-4D97-AF65-F5344CB8AC3E}">
        <p14:creationId xmlns:p14="http://schemas.microsoft.com/office/powerpoint/2010/main" val="3282499869"/>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Factors 2</a:t>
            </a:r>
          </a:p>
        </p:txBody>
      </p:sp>
      <p:grpSp>
        <p:nvGrpSpPr>
          <p:cNvPr id="3" name="Group 2" descr="Factor insert text here">
            <a:extLst>
              <a:ext uri="{FF2B5EF4-FFF2-40B4-BE49-F238E27FC236}">
                <a16:creationId xmlns:a16="http://schemas.microsoft.com/office/drawing/2014/main" id="{5B966D53-39D3-4125-A30F-468146CF21DB}"/>
              </a:ext>
            </a:extLst>
          </p:cNvPr>
          <p:cNvGrpSpPr/>
          <p:nvPr/>
        </p:nvGrpSpPr>
        <p:grpSpPr>
          <a:xfrm>
            <a:off x="295895" y="2178729"/>
            <a:ext cx="11618293" cy="3124792"/>
            <a:chOff x="295895" y="2178729"/>
            <a:chExt cx="11618293" cy="3124792"/>
          </a:xfrm>
        </p:grpSpPr>
        <p:sp>
          <p:nvSpPr>
            <p:cNvPr id="7" name="Hexagon 6">
              <a:extLst>
                <a:ext uri="{FF2B5EF4-FFF2-40B4-BE49-F238E27FC236}">
                  <a16:creationId xmlns:a16="http://schemas.microsoft.com/office/drawing/2014/main" id="{E4AA4D43-2082-402E-8246-0C2DCB56CE5D}"/>
                </a:ext>
              </a:extLst>
            </p:cNvPr>
            <p:cNvSpPr/>
            <p:nvPr/>
          </p:nvSpPr>
          <p:spPr>
            <a:xfrm>
              <a:off x="4723874" y="2542620"/>
              <a:ext cx="2821020" cy="2431914"/>
            </a:xfrm>
            <a:prstGeom prst="hexagon">
              <a:avLst/>
            </a:prstGeom>
            <a:solidFill>
              <a:schemeClr val="accent2"/>
            </a:solidFill>
            <a:ln w="9525" cap="flat" cmpd="sng" algn="ctr">
              <a:noFill/>
              <a:prstDash val="solid"/>
            </a:ln>
            <a:effectLst/>
          </p:spPr>
          <p:txBody>
            <a:bodyPr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Black"/>
                  <a:ea typeface="+mn-ea"/>
                  <a:cs typeface="+mn-cs"/>
                </a:rPr>
                <a:t>Text</a:t>
              </a:r>
            </a:p>
          </p:txBody>
        </p:sp>
        <p:sp>
          <p:nvSpPr>
            <p:cNvPr id="10" name="Rectangle 10">
              <a:extLst>
                <a:ext uri="{FF2B5EF4-FFF2-40B4-BE49-F238E27FC236}">
                  <a16:creationId xmlns:a16="http://schemas.microsoft.com/office/drawing/2014/main" id="{D2C95440-B671-4DE7-A397-32B1EF9290B8}"/>
                </a:ext>
              </a:extLst>
            </p:cNvPr>
            <p:cNvSpPr>
              <a:spLocks noChangeArrowheads="1"/>
            </p:cNvSpPr>
            <p:nvPr/>
          </p:nvSpPr>
          <p:spPr bwMode="auto">
            <a:xfrm>
              <a:off x="295895" y="2178729"/>
              <a:ext cx="3321825" cy="328987"/>
            </a:xfrm>
            <a:prstGeom prst="rect">
              <a:avLst/>
            </a:prstGeom>
            <a:noFill/>
            <a:ln w="6350">
              <a:noFill/>
              <a:miter lim="800000"/>
              <a:headEnd/>
              <a:tailEnd/>
            </a:ln>
            <a:effectLst/>
          </p:spPr>
          <p:txBody>
            <a:bodyPr wrap="none" lIns="72000" rIns="72000" anchor="ctr" anchorCtr="0"/>
            <a:lstStyle/>
            <a:p>
              <a:pPr marL="0" marR="0" lvl="0" indent="0" algn="r"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p:txBody>
        </p:sp>
        <p:sp>
          <p:nvSpPr>
            <p:cNvPr id="11" name="Freeform: Shape 10">
              <a:extLst>
                <a:ext uri="{FF2B5EF4-FFF2-40B4-BE49-F238E27FC236}">
                  <a16:creationId xmlns:a16="http://schemas.microsoft.com/office/drawing/2014/main" id="{ADB81060-70F0-46D3-A908-FAD684C89311}"/>
                </a:ext>
                <a:ext uri="{C183D7F6-B498-43B3-948B-1728B52AA6E4}">
                  <adec:decorative xmlns:adec="http://schemas.microsoft.com/office/drawing/2017/decorative" val="1"/>
                </a:ext>
              </a:extLst>
            </p:cNvPr>
            <p:cNvSpPr/>
            <p:nvPr/>
          </p:nvSpPr>
          <p:spPr>
            <a:xfrm flipV="1">
              <a:off x="3643347" y="2343223"/>
              <a:ext cx="1341046" cy="398331"/>
            </a:xfrm>
            <a:custGeom>
              <a:avLst/>
              <a:gdLst>
                <a:gd name="connsiteX0" fmla="*/ 0 w 1037690"/>
                <a:gd name="connsiteY0" fmla="*/ 308225 h 308225"/>
                <a:gd name="connsiteX1" fmla="*/ 678095 w 1037690"/>
                <a:gd name="connsiteY1" fmla="*/ 308225 h 308225"/>
                <a:gd name="connsiteX2" fmla="*/ 1037690 w 1037690"/>
                <a:gd name="connsiteY2" fmla="*/ 0 h 308225"/>
              </a:gdLst>
              <a:ahLst/>
              <a:cxnLst>
                <a:cxn ang="0">
                  <a:pos x="connsiteX0" y="connsiteY0"/>
                </a:cxn>
                <a:cxn ang="0">
                  <a:pos x="connsiteX1" y="connsiteY1"/>
                </a:cxn>
                <a:cxn ang="0">
                  <a:pos x="connsiteX2" y="connsiteY2"/>
                </a:cxn>
              </a:cxnLst>
              <a:rect l="l" t="t" r="r" b="b"/>
              <a:pathLst>
                <a:path w="1037690" h="308225">
                  <a:moveTo>
                    <a:pt x="0" y="308225"/>
                  </a:moveTo>
                  <a:lnTo>
                    <a:pt x="678095" y="308225"/>
                  </a:lnTo>
                  <a:lnTo>
                    <a:pt x="1037690" y="0"/>
                  </a:lnTo>
                </a:path>
              </a:pathLst>
            </a:custGeom>
            <a:noFill/>
            <a:ln w="19050" cap="rnd" cmpd="sng" algn="ctr">
              <a:solidFill>
                <a:srgbClr val="96968C">
                  <a:lumMod val="60000"/>
                  <a:lumOff val="40000"/>
                </a:srgbClr>
              </a:solidFill>
              <a:prstDash val="sysDot"/>
              <a:headEnd type="none"/>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 name="Rectangle 10">
              <a:extLst>
                <a:ext uri="{FF2B5EF4-FFF2-40B4-BE49-F238E27FC236}">
                  <a16:creationId xmlns:a16="http://schemas.microsoft.com/office/drawing/2014/main" id="{FBA1918E-9DDE-46D9-8209-F25DF0161DEC}"/>
                </a:ext>
              </a:extLst>
            </p:cNvPr>
            <p:cNvSpPr>
              <a:spLocks noChangeArrowheads="1"/>
            </p:cNvSpPr>
            <p:nvPr/>
          </p:nvSpPr>
          <p:spPr bwMode="auto">
            <a:xfrm>
              <a:off x="295895" y="3617308"/>
              <a:ext cx="3321825" cy="328987"/>
            </a:xfrm>
            <a:prstGeom prst="rect">
              <a:avLst/>
            </a:prstGeom>
            <a:noFill/>
            <a:ln w="6350">
              <a:noFill/>
              <a:miter lim="800000"/>
              <a:headEnd/>
              <a:tailEnd/>
            </a:ln>
            <a:effectLst/>
          </p:spPr>
          <p:txBody>
            <a:bodyPr wrap="none" lIns="72000" rIns="72000" anchor="ctr" anchorCtr="0"/>
            <a:lstStyle/>
            <a:p>
              <a:pPr marL="0" marR="0" lvl="0" indent="0" algn="r"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p:txBody>
        </p:sp>
        <p:cxnSp>
          <p:nvCxnSpPr>
            <p:cNvPr id="5" name="Straight Arrow Connector 4">
              <a:extLst>
                <a:ext uri="{FF2B5EF4-FFF2-40B4-BE49-F238E27FC236}">
                  <a16:creationId xmlns:a16="http://schemas.microsoft.com/office/drawing/2014/main" id="{BD82D708-5DB0-4574-98D5-828AE5742094}"/>
                </a:ext>
                <a:ext uri="{C183D7F6-B498-43B3-948B-1728B52AA6E4}">
                  <adec:decorative xmlns:adec="http://schemas.microsoft.com/office/drawing/2017/decorative" val="1"/>
                </a:ext>
              </a:extLst>
            </p:cNvPr>
            <p:cNvCxnSpPr>
              <a:endCxn id="6" idx="3"/>
            </p:cNvCxnSpPr>
            <p:nvPr/>
          </p:nvCxnSpPr>
          <p:spPr bwMode="auto">
            <a:xfrm flipH="1">
              <a:off x="3617720" y="3781802"/>
              <a:ext cx="915232" cy="0"/>
            </a:xfrm>
            <a:prstGeom prst="straightConnector1">
              <a:avLst/>
            </a:prstGeom>
            <a:noFill/>
            <a:ln w="19050" cap="rnd" cmpd="sng" algn="ctr">
              <a:solidFill>
                <a:srgbClr val="96968C">
                  <a:lumMod val="60000"/>
                  <a:lumOff val="40000"/>
                </a:srgbClr>
              </a:solidFill>
              <a:prstDash val="sysDot"/>
              <a:headEnd type="triangle"/>
              <a:tailEnd type="none"/>
            </a:ln>
            <a:effectLst/>
          </p:spPr>
        </p:cxnSp>
        <p:sp>
          <p:nvSpPr>
            <p:cNvPr id="8" name="Rectangle 10">
              <a:extLst>
                <a:ext uri="{FF2B5EF4-FFF2-40B4-BE49-F238E27FC236}">
                  <a16:creationId xmlns:a16="http://schemas.microsoft.com/office/drawing/2014/main" id="{44E2A45C-FBC2-4BE3-8025-9440745B890A}"/>
                </a:ext>
              </a:extLst>
            </p:cNvPr>
            <p:cNvSpPr>
              <a:spLocks noChangeArrowheads="1"/>
            </p:cNvSpPr>
            <p:nvPr/>
          </p:nvSpPr>
          <p:spPr bwMode="auto">
            <a:xfrm>
              <a:off x="295895" y="4974534"/>
              <a:ext cx="3321825" cy="328987"/>
            </a:xfrm>
            <a:prstGeom prst="rect">
              <a:avLst/>
            </a:prstGeom>
            <a:noFill/>
            <a:ln w="6350">
              <a:noFill/>
              <a:miter lim="800000"/>
              <a:headEnd/>
              <a:tailEnd/>
            </a:ln>
            <a:effectLst/>
          </p:spPr>
          <p:txBody>
            <a:bodyPr wrap="none" lIns="72000" rIns="72000" anchor="ctr" anchorCtr="0"/>
            <a:lstStyle/>
            <a:p>
              <a:pPr marL="0" marR="0" lvl="0" indent="0" algn="r"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p:txBody>
        </p:sp>
        <p:sp>
          <p:nvSpPr>
            <p:cNvPr id="9" name="Freeform: Shape 8">
              <a:extLst>
                <a:ext uri="{FF2B5EF4-FFF2-40B4-BE49-F238E27FC236}">
                  <a16:creationId xmlns:a16="http://schemas.microsoft.com/office/drawing/2014/main" id="{A637FBDA-99DB-4F3F-946E-513944FFCF15}"/>
                </a:ext>
                <a:ext uri="{C183D7F6-B498-43B3-948B-1728B52AA6E4}">
                  <adec:decorative xmlns:adec="http://schemas.microsoft.com/office/drawing/2017/decorative" val="1"/>
                </a:ext>
              </a:extLst>
            </p:cNvPr>
            <p:cNvSpPr/>
            <p:nvPr/>
          </p:nvSpPr>
          <p:spPr>
            <a:xfrm>
              <a:off x="3643347" y="4753237"/>
              <a:ext cx="1341046" cy="398331"/>
            </a:xfrm>
            <a:custGeom>
              <a:avLst/>
              <a:gdLst>
                <a:gd name="connsiteX0" fmla="*/ 0 w 1037690"/>
                <a:gd name="connsiteY0" fmla="*/ 308225 h 308225"/>
                <a:gd name="connsiteX1" fmla="*/ 678095 w 1037690"/>
                <a:gd name="connsiteY1" fmla="*/ 308225 h 308225"/>
                <a:gd name="connsiteX2" fmla="*/ 1037690 w 1037690"/>
                <a:gd name="connsiteY2" fmla="*/ 0 h 308225"/>
              </a:gdLst>
              <a:ahLst/>
              <a:cxnLst>
                <a:cxn ang="0">
                  <a:pos x="connsiteX0" y="connsiteY0"/>
                </a:cxn>
                <a:cxn ang="0">
                  <a:pos x="connsiteX1" y="connsiteY1"/>
                </a:cxn>
                <a:cxn ang="0">
                  <a:pos x="connsiteX2" y="connsiteY2"/>
                </a:cxn>
              </a:cxnLst>
              <a:rect l="l" t="t" r="r" b="b"/>
              <a:pathLst>
                <a:path w="1037690" h="308225">
                  <a:moveTo>
                    <a:pt x="0" y="308225"/>
                  </a:moveTo>
                  <a:lnTo>
                    <a:pt x="678095" y="308225"/>
                  </a:lnTo>
                  <a:lnTo>
                    <a:pt x="1037690" y="0"/>
                  </a:lnTo>
                </a:path>
              </a:pathLst>
            </a:custGeom>
            <a:noFill/>
            <a:ln w="19050" cap="rnd" cmpd="sng" algn="ctr">
              <a:solidFill>
                <a:srgbClr val="96968C">
                  <a:lumMod val="60000"/>
                  <a:lumOff val="40000"/>
                </a:srgbClr>
              </a:solidFill>
              <a:prstDash val="sysDot"/>
              <a:headEnd type="none"/>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 name="Rectangle 10">
              <a:extLst>
                <a:ext uri="{FF2B5EF4-FFF2-40B4-BE49-F238E27FC236}">
                  <a16:creationId xmlns:a16="http://schemas.microsoft.com/office/drawing/2014/main" id="{716BC5C5-9B17-4ACD-A905-117B1D889F04}"/>
                </a:ext>
              </a:extLst>
            </p:cNvPr>
            <p:cNvSpPr>
              <a:spLocks noChangeArrowheads="1"/>
            </p:cNvSpPr>
            <p:nvPr/>
          </p:nvSpPr>
          <p:spPr bwMode="auto">
            <a:xfrm>
              <a:off x="8592363" y="2178729"/>
              <a:ext cx="3321825" cy="328987"/>
            </a:xfrm>
            <a:prstGeom prst="rect">
              <a:avLst/>
            </a:prstGeom>
            <a:noFill/>
            <a:ln w="6350">
              <a:noFill/>
              <a:miter lim="800000"/>
              <a:headEnd/>
              <a:tailEnd/>
            </a:ln>
            <a:effectLst/>
          </p:spPr>
          <p:txBody>
            <a:bodyPr wrap="none" lIns="72000" rIns="72000" anchor="ctr" anchorCtr="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p:txBody>
        </p:sp>
        <p:sp>
          <p:nvSpPr>
            <p:cNvPr id="17" name="Freeform: Shape 16">
              <a:extLst>
                <a:ext uri="{FF2B5EF4-FFF2-40B4-BE49-F238E27FC236}">
                  <a16:creationId xmlns:a16="http://schemas.microsoft.com/office/drawing/2014/main" id="{58BB4F19-A7D4-4063-A44D-E080704AC569}"/>
                </a:ext>
                <a:ext uri="{C183D7F6-B498-43B3-948B-1728B52AA6E4}">
                  <adec:decorative xmlns:adec="http://schemas.microsoft.com/office/drawing/2017/decorative" val="1"/>
                </a:ext>
              </a:extLst>
            </p:cNvPr>
            <p:cNvSpPr/>
            <p:nvPr/>
          </p:nvSpPr>
          <p:spPr>
            <a:xfrm flipH="1" flipV="1">
              <a:off x="7251318" y="2343223"/>
              <a:ext cx="1341046" cy="398331"/>
            </a:xfrm>
            <a:custGeom>
              <a:avLst/>
              <a:gdLst>
                <a:gd name="connsiteX0" fmla="*/ 0 w 1037690"/>
                <a:gd name="connsiteY0" fmla="*/ 308225 h 308225"/>
                <a:gd name="connsiteX1" fmla="*/ 678095 w 1037690"/>
                <a:gd name="connsiteY1" fmla="*/ 308225 h 308225"/>
                <a:gd name="connsiteX2" fmla="*/ 1037690 w 1037690"/>
                <a:gd name="connsiteY2" fmla="*/ 0 h 308225"/>
              </a:gdLst>
              <a:ahLst/>
              <a:cxnLst>
                <a:cxn ang="0">
                  <a:pos x="connsiteX0" y="connsiteY0"/>
                </a:cxn>
                <a:cxn ang="0">
                  <a:pos x="connsiteX1" y="connsiteY1"/>
                </a:cxn>
                <a:cxn ang="0">
                  <a:pos x="connsiteX2" y="connsiteY2"/>
                </a:cxn>
              </a:cxnLst>
              <a:rect l="l" t="t" r="r" b="b"/>
              <a:pathLst>
                <a:path w="1037690" h="308225">
                  <a:moveTo>
                    <a:pt x="0" y="308225"/>
                  </a:moveTo>
                  <a:lnTo>
                    <a:pt x="678095" y="308225"/>
                  </a:lnTo>
                  <a:lnTo>
                    <a:pt x="1037690" y="0"/>
                  </a:lnTo>
                </a:path>
              </a:pathLst>
            </a:custGeom>
            <a:noFill/>
            <a:ln w="19050" cap="rnd" cmpd="sng" algn="ctr">
              <a:solidFill>
                <a:srgbClr val="96968C">
                  <a:lumMod val="60000"/>
                  <a:lumOff val="40000"/>
                </a:srgbClr>
              </a:solidFill>
              <a:prstDash val="sysDot"/>
              <a:headEnd type="none"/>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 name="Rectangle 10">
              <a:extLst>
                <a:ext uri="{FF2B5EF4-FFF2-40B4-BE49-F238E27FC236}">
                  <a16:creationId xmlns:a16="http://schemas.microsoft.com/office/drawing/2014/main" id="{E27AEC0E-AD9E-49EE-9971-B646C59C2414}"/>
                </a:ext>
              </a:extLst>
            </p:cNvPr>
            <p:cNvSpPr>
              <a:spLocks noChangeArrowheads="1"/>
            </p:cNvSpPr>
            <p:nvPr/>
          </p:nvSpPr>
          <p:spPr bwMode="auto">
            <a:xfrm>
              <a:off x="8592363" y="3617308"/>
              <a:ext cx="3321825" cy="328987"/>
            </a:xfrm>
            <a:prstGeom prst="rect">
              <a:avLst/>
            </a:prstGeom>
            <a:noFill/>
            <a:ln w="6350">
              <a:noFill/>
              <a:miter lim="800000"/>
              <a:headEnd/>
              <a:tailEnd/>
            </a:ln>
            <a:effectLst/>
          </p:spPr>
          <p:txBody>
            <a:bodyPr wrap="none" lIns="72000" rIns="72000" anchor="ctr" anchorCtr="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p:txBody>
        </p:sp>
        <p:cxnSp>
          <p:nvCxnSpPr>
            <p:cNvPr id="15" name="Straight Arrow Connector 14">
              <a:extLst>
                <a:ext uri="{FF2B5EF4-FFF2-40B4-BE49-F238E27FC236}">
                  <a16:creationId xmlns:a16="http://schemas.microsoft.com/office/drawing/2014/main" id="{A78E9025-DF12-44DA-B89C-A3851148C641}"/>
                </a:ext>
                <a:ext uri="{C183D7F6-B498-43B3-948B-1728B52AA6E4}">
                  <adec:decorative xmlns:adec="http://schemas.microsoft.com/office/drawing/2017/decorative" val="1"/>
                </a:ext>
              </a:extLst>
            </p:cNvPr>
            <p:cNvCxnSpPr/>
            <p:nvPr/>
          </p:nvCxnSpPr>
          <p:spPr bwMode="auto">
            <a:xfrm>
              <a:off x="7677131" y="3781802"/>
              <a:ext cx="915232" cy="0"/>
            </a:xfrm>
            <a:prstGeom prst="straightConnector1">
              <a:avLst/>
            </a:prstGeom>
            <a:noFill/>
            <a:ln w="19050" cap="rnd" cmpd="sng" algn="ctr">
              <a:solidFill>
                <a:srgbClr val="96968C">
                  <a:lumMod val="60000"/>
                  <a:lumOff val="40000"/>
                </a:srgbClr>
              </a:solidFill>
              <a:prstDash val="sysDot"/>
              <a:headEnd type="triangle"/>
              <a:tailEnd type="none"/>
            </a:ln>
            <a:effectLst/>
          </p:spPr>
        </p:cxnSp>
        <p:sp>
          <p:nvSpPr>
            <p:cNvPr id="13" name="Rectangle 10">
              <a:extLst>
                <a:ext uri="{FF2B5EF4-FFF2-40B4-BE49-F238E27FC236}">
                  <a16:creationId xmlns:a16="http://schemas.microsoft.com/office/drawing/2014/main" id="{232905A1-683D-40FC-8690-3DC00E5B884C}"/>
                </a:ext>
              </a:extLst>
            </p:cNvPr>
            <p:cNvSpPr>
              <a:spLocks noChangeArrowheads="1"/>
            </p:cNvSpPr>
            <p:nvPr/>
          </p:nvSpPr>
          <p:spPr bwMode="auto">
            <a:xfrm>
              <a:off x="8592363" y="4974534"/>
              <a:ext cx="3321825" cy="328987"/>
            </a:xfrm>
            <a:prstGeom prst="rect">
              <a:avLst/>
            </a:prstGeom>
            <a:noFill/>
            <a:ln w="6350">
              <a:noFill/>
              <a:miter lim="800000"/>
              <a:headEnd/>
              <a:tailEnd/>
            </a:ln>
            <a:effectLst/>
          </p:spPr>
          <p:txBody>
            <a:bodyPr wrap="none" lIns="72000" rIns="72000" anchor="ctr" anchorCtr="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p:txBody>
        </p:sp>
        <p:sp>
          <p:nvSpPr>
            <p:cNvPr id="16" name="Freeform: Shape 15">
              <a:extLst>
                <a:ext uri="{FF2B5EF4-FFF2-40B4-BE49-F238E27FC236}">
                  <a16:creationId xmlns:a16="http://schemas.microsoft.com/office/drawing/2014/main" id="{EDBD3AF3-CC18-4856-B131-4F001A4600CD}"/>
                </a:ext>
                <a:ext uri="{C183D7F6-B498-43B3-948B-1728B52AA6E4}">
                  <adec:decorative xmlns:adec="http://schemas.microsoft.com/office/drawing/2017/decorative" val="1"/>
                </a:ext>
              </a:extLst>
            </p:cNvPr>
            <p:cNvSpPr/>
            <p:nvPr/>
          </p:nvSpPr>
          <p:spPr>
            <a:xfrm flipH="1">
              <a:off x="7251318" y="4753237"/>
              <a:ext cx="1341046" cy="398331"/>
            </a:xfrm>
            <a:custGeom>
              <a:avLst/>
              <a:gdLst>
                <a:gd name="connsiteX0" fmla="*/ 0 w 1037690"/>
                <a:gd name="connsiteY0" fmla="*/ 308225 h 308225"/>
                <a:gd name="connsiteX1" fmla="*/ 678095 w 1037690"/>
                <a:gd name="connsiteY1" fmla="*/ 308225 h 308225"/>
                <a:gd name="connsiteX2" fmla="*/ 1037690 w 1037690"/>
                <a:gd name="connsiteY2" fmla="*/ 0 h 308225"/>
              </a:gdLst>
              <a:ahLst/>
              <a:cxnLst>
                <a:cxn ang="0">
                  <a:pos x="connsiteX0" y="connsiteY0"/>
                </a:cxn>
                <a:cxn ang="0">
                  <a:pos x="connsiteX1" y="connsiteY1"/>
                </a:cxn>
                <a:cxn ang="0">
                  <a:pos x="connsiteX2" y="connsiteY2"/>
                </a:cxn>
              </a:cxnLst>
              <a:rect l="l" t="t" r="r" b="b"/>
              <a:pathLst>
                <a:path w="1037690" h="308225">
                  <a:moveTo>
                    <a:pt x="0" y="308225"/>
                  </a:moveTo>
                  <a:lnTo>
                    <a:pt x="678095" y="308225"/>
                  </a:lnTo>
                  <a:lnTo>
                    <a:pt x="1037690" y="0"/>
                  </a:lnTo>
                </a:path>
              </a:pathLst>
            </a:custGeom>
            <a:noFill/>
            <a:ln w="19050" cap="rnd" cmpd="sng" algn="ctr">
              <a:solidFill>
                <a:srgbClr val="96968C">
                  <a:lumMod val="60000"/>
                  <a:lumOff val="40000"/>
                </a:srgbClr>
              </a:solidFill>
              <a:prstDash val="sysDot"/>
              <a:headEnd type="none"/>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a:ea typeface="+mn-ea"/>
                <a:cs typeface="+mn-cs"/>
              </a:endParaRPr>
            </a:p>
          </p:txBody>
        </p:sp>
      </p:grpSp>
      <p:sp>
        <p:nvSpPr>
          <p:cNvPr id="19" name="Footer Placeholder 18">
            <a:extLst>
              <a:ext uri="{FF2B5EF4-FFF2-40B4-BE49-F238E27FC236}">
                <a16:creationId xmlns:a16="http://schemas.microsoft.com/office/drawing/2014/main" id="{4FA2252F-92AE-4F6C-8831-BE92B8B8D72E}"/>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0" name="Slide Number Placeholder 19">
            <a:extLst>
              <a:ext uri="{FF2B5EF4-FFF2-40B4-BE49-F238E27FC236}">
                <a16:creationId xmlns:a16="http://schemas.microsoft.com/office/drawing/2014/main" id="{FA387706-C2AD-40D7-B2FA-F9B0FCBF0DFB}"/>
              </a:ext>
            </a:extLst>
          </p:cNvPr>
          <p:cNvSpPr>
            <a:spLocks noGrp="1"/>
          </p:cNvSpPr>
          <p:nvPr>
            <p:ph type="sldNum" sz="quarter" idx="10"/>
          </p:nvPr>
        </p:nvSpPr>
        <p:spPr/>
        <p:txBody>
          <a:bodyPr/>
          <a:lstStyle/>
          <a:p>
            <a:fld id="{1F90F471-3972-4120-B8B3-0237DE626C35}" type="slidenum">
              <a:rPr lang="en-US" smtClean="0"/>
              <a:pPr/>
              <a:t>180</a:t>
            </a:fld>
            <a:endParaRPr lang="en-US" dirty="0"/>
          </a:p>
        </p:txBody>
      </p:sp>
    </p:spTree>
    <p:extLst>
      <p:ext uri="{BB962C8B-B14F-4D97-AF65-F5344CB8AC3E}">
        <p14:creationId xmlns:p14="http://schemas.microsoft.com/office/powerpoint/2010/main" val="1385164646"/>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Factors 3</a:t>
            </a:r>
          </a:p>
        </p:txBody>
      </p:sp>
      <p:grpSp>
        <p:nvGrpSpPr>
          <p:cNvPr id="3" name="Group 2" descr="Factors insert text here">
            <a:extLst>
              <a:ext uri="{FF2B5EF4-FFF2-40B4-BE49-F238E27FC236}">
                <a16:creationId xmlns:a16="http://schemas.microsoft.com/office/drawing/2014/main" id="{7859B0DA-9B88-4F8A-9124-A6157874F262}"/>
              </a:ext>
            </a:extLst>
          </p:cNvPr>
          <p:cNvGrpSpPr/>
          <p:nvPr/>
        </p:nvGrpSpPr>
        <p:grpSpPr>
          <a:xfrm>
            <a:off x="2349396" y="885424"/>
            <a:ext cx="7503264" cy="4790372"/>
            <a:chOff x="2349396" y="885424"/>
            <a:chExt cx="7503264" cy="4790372"/>
          </a:xfrm>
        </p:grpSpPr>
        <p:sp>
          <p:nvSpPr>
            <p:cNvPr id="27" name="Oval 29">
              <a:extLst>
                <a:ext uri="{FF2B5EF4-FFF2-40B4-BE49-F238E27FC236}">
                  <a16:creationId xmlns:a16="http://schemas.microsoft.com/office/drawing/2014/main" id="{285DB225-8DA1-407D-883B-FA7F42807A28}"/>
                </a:ext>
              </a:extLst>
            </p:cNvPr>
            <p:cNvSpPr>
              <a:spLocks noChangeArrowheads="1"/>
            </p:cNvSpPr>
            <p:nvPr>
              <p:custDataLst>
                <p:tags r:id="rId1"/>
              </p:custDataLst>
            </p:nvPr>
          </p:nvSpPr>
          <p:spPr bwMode="auto">
            <a:xfrm>
              <a:off x="2441000" y="3029600"/>
              <a:ext cx="1295725" cy="1295725"/>
            </a:xfrm>
            <a:prstGeom prst="ellipse">
              <a:avLst/>
            </a:prstGeom>
            <a:solidFill>
              <a:schemeClr val="accent2">
                <a:lumMod val="20000"/>
                <a:lumOff val="80000"/>
              </a:schemeClr>
            </a:solidFill>
            <a:ln w="6350">
              <a:noFill/>
              <a:round/>
              <a:headEnd/>
              <a:tailEnd/>
            </a:ln>
            <a:effectLst/>
          </p:spPr>
          <p:txBody>
            <a:bodyPr wrap="none" lIns="72000" tIns="72000" rIns="72000" bIns="72000" anchor="ctr" anchorCtr="1"/>
            <a:lstStyle/>
            <a:p>
              <a:pPr eaLnBrk="0" hangingPunct="0"/>
              <a:r>
                <a:rPr lang="en-GB" b="1" dirty="0">
                  <a:solidFill>
                    <a:schemeClr val="accent2"/>
                  </a:solidFill>
                </a:rPr>
                <a:t>Text</a:t>
              </a:r>
              <a:endParaRPr lang="en-US" b="1" dirty="0">
                <a:solidFill>
                  <a:schemeClr val="accent2"/>
                </a:solidFill>
              </a:endParaRPr>
            </a:p>
          </p:txBody>
        </p:sp>
        <p:cxnSp>
          <p:nvCxnSpPr>
            <p:cNvPr id="31" name="Straight Arrow Connector 30">
              <a:extLst>
                <a:ext uri="{FF2B5EF4-FFF2-40B4-BE49-F238E27FC236}">
                  <a16:creationId xmlns:a16="http://schemas.microsoft.com/office/drawing/2014/main" id="{27ECA010-6D3C-43C2-8879-96E979BEA8DE}"/>
                </a:ext>
                <a:ext uri="{C183D7F6-B498-43B3-948B-1728B52AA6E4}">
                  <adec:decorative xmlns:adec="http://schemas.microsoft.com/office/drawing/2017/decorative" val="1"/>
                </a:ext>
              </a:extLst>
            </p:cNvPr>
            <p:cNvCxnSpPr>
              <a:stCxn id="27" idx="6"/>
            </p:cNvCxnSpPr>
            <p:nvPr/>
          </p:nvCxnSpPr>
          <p:spPr>
            <a:xfrm flipV="1">
              <a:off x="3736725" y="3677462"/>
              <a:ext cx="508653" cy="1"/>
            </a:xfrm>
            <a:prstGeom prst="straightConnector1">
              <a:avLst/>
            </a:prstGeom>
            <a:noFill/>
            <a:ln w="19050" cap="rnd">
              <a:solidFill>
                <a:schemeClr val="tx2">
                  <a:lumMod val="60000"/>
                  <a:lumOff val="40000"/>
                </a:schemeClr>
              </a:solidFill>
              <a:prstDash val="sysDot"/>
              <a:round/>
              <a:headEnd type="none"/>
              <a:tailEnd type="triangle"/>
            </a:ln>
            <a:effectLst/>
          </p:spPr>
        </p:cxnSp>
        <p:sp>
          <p:nvSpPr>
            <p:cNvPr id="26" name="Oval 29">
              <a:extLst>
                <a:ext uri="{FF2B5EF4-FFF2-40B4-BE49-F238E27FC236}">
                  <a16:creationId xmlns:a16="http://schemas.microsoft.com/office/drawing/2014/main" id="{D7B06C09-F91D-4D55-A3DC-95FDCF659E3E}"/>
                </a:ext>
              </a:extLst>
            </p:cNvPr>
            <p:cNvSpPr>
              <a:spLocks noChangeArrowheads="1"/>
            </p:cNvSpPr>
            <p:nvPr>
              <p:custDataLst>
                <p:tags r:id="rId2"/>
              </p:custDataLst>
            </p:nvPr>
          </p:nvSpPr>
          <p:spPr bwMode="auto">
            <a:xfrm>
              <a:off x="3418390" y="1533286"/>
              <a:ext cx="1295725" cy="1295725"/>
            </a:xfrm>
            <a:prstGeom prst="ellipse">
              <a:avLst/>
            </a:prstGeom>
            <a:solidFill>
              <a:schemeClr val="accent2">
                <a:lumMod val="20000"/>
                <a:lumOff val="80000"/>
              </a:schemeClr>
            </a:solidFill>
            <a:ln w="6350">
              <a:noFill/>
              <a:round/>
              <a:headEnd/>
              <a:tailEnd/>
            </a:ln>
            <a:effectLst/>
          </p:spPr>
          <p:txBody>
            <a:bodyPr wrap="none" lIns="72000" tIns="72000" rIns="72000" bIns="72000" anchor="ctr" anchorCtr="1"/>
            <a:lstStyle/>
            <a:p>
              <a:pPr eaLnBrk="0" hangingPunct="0"/>
              <a:r>
                <a:rPr lang="en-GB" b="1" dirty="0">
                  <a:solidFill>
                    <a:schemeClr val="accent2"/>
                  </a:solidFill>
                </a:rPr>
                <a:t>Text</a:t>
              </a:r>
              <a:endParaRPr lang="en-US" b="1" dirty="0">
                <a:solidFill>
                  <a:schemeClr val="accent2"/>
                </a:solidFill>
              </a:endParaRPr>
            </a:p>
          </p:txBody>
        </p:sp>
        <p:cxnSp>
          <p:nvCxnSpPr>
            <p:cNvPr id="30" name="Straight Arrow Connector 29">
              <a:extLst>
                <a:ext uri="{FF2B5EF4-FFF2-40B4-BE49-F238E27FC236}">
                  <a16:creationId xmlns:a16="http://schemas.microsoft.com/office/drawing/2014/main" id="{FC21E2E3-CBA1-48C7-8225-249E36EED908}"/>
                </a:ext>
                <a:ext uri="{C183D7F6-B498-43B3-948B-1728B52AA6E4}">
                  <adec:decorative xmlns:adec="http://schemas.microsoft.com/office/drawing/2017/decorative" val="1"/>
                </a:ext>
              </a:extLst>
            </p:cNvPr>
            <p:cNvCxnSpPr>
              <a:stCxn id="26" idx="5"/>
            </p:cNvCxnSpPr>
            <p:nvPr/>
          </p:nvCxnSpPr>
          <p:spPr>
            <a:xfrm>
              <a:off x="4524360" y="2639256"/>
              <a:ext cx="310530" cy="298254"/>
            </a:xfrm>
            <a:prstGeom prst="straightConnector1">
              <a:avLst/>
            </a:prstGeom>
            <a:noFill/>
            <a:ln w="19050" cap="rnd">
              <a:solidFill>
                <a:schemeClr val="tx2">
                  <a:lumMod val="60000"/>
                  <a:lumOff val="40000"/>
                </a:schemeClr>
              </a:solidFill>
              <a:prstDash val="sysDot"/>
              <a:round/>
              <a:headEnd type="none"/>
              <a:tailEnd type="triangle"/>
            </a:ln>
            <a:effectLst/>
          </p:spPr>
        </p:cxnSp>
        <p:sp>
          <p:nvSpPr>
            <p:cNvPr id="21" name="Oval 29">
              <a:extLst>
                <a:ext uri="{FF2B5EF4-FFF2-40B4-BE49-F238E27FC236}">
                  <a16:creationId xmlns:a16="http://schemas.microsoft.com/office/drawing/2014/main" id="{C09DD1A9-862B-41D1-AE64-3874CAD5B0CB}"/>
                </a:ext>
              </a:extLst>
            </p:cNvPr>
            <p:cNvSpPr>
              <a:spLocks noChangeArrowheads="1"/>
            </p:cNvSpPr>
            <p:nvPr>
              <p:custDataLst>
                <p:tags r:id="rId3"/>
              </p:custDataLst>
            </p:nvPr>
          </p:nvSpPr>
          <p:spPr bwMode="auto">
            <a:xfrm>
              <a:off x="5453166" y="885424"/>
              <a:ext cx="1295725" cy="1295725"/>
            </a:xfrm>
            <a:prstGeom prst="ellipse">
              <a:avLst/>
            </a:prstGeom>
            <a:solidFill>
              <a:schemeClr val="accent2">
                <a:lumMod val="20000"/>
                <a:lumOff val="80000"/>
              </a:schemeClr>
            </a:solidFill>
            <a:ln w="6350">
              <a:noFill/>
              <a:round/>
              <a:headEnd/>
              <a:tailEnd/>
            </a:ln>
            <a:effectLst/>
          </p:spPr>
          <p:txBody>
            <a:bodyPr wrap="none" lIns="72000" tIns="72000" rIns="72000" bIns="72000" anchor="ctr" anchorCtr="1"/>
            <a:lstStyle/>
            <a:p>
              <a:pPr eaLnBrk="0" hangingPunct="0"/>
              <a:r>
                <a:rPr lang="en-GB" b="1" dirty="0">
                  <a:solidFill>
                    <a:schemeClr val="accent2"/>
                  </a:solidFill>
                </a:rPr>
                <a:t>Text</a:t>
              </a:r>
              <a:endParaRPr lang="en-US" b="1" dirty="0">
                <a:solidFill>
                  <a:schemeClr val="accent2"/>
                </a:solidFill>
              </a:endParaRPr>
            </a:p>
          </p:txBody>
        </p:sp>
        <p:cxnSp>
          <p:nvCxnSpPr>
            <p:cNvPr id="20" name="AutoShape 42">
              <a:extLst>
                <a:ext uri="{FF2B5EF4-FFF2-40B4-BE49-F238E27FC236}">
                  <a16:creationId xmlns:a16="http://schemas.microsoft.com/office/drawing/2014/main" id="{64CED433-1BC9-4C49-9F33-AB44D461AE02}"/>
                </a:ext>
                <a:ext uri="{C183D7F6-B498-43B3-948B-1728B52AA6E4}">
                  <adec:decorative xmlns:adec="http://schemas.microsoft.com/office/drawing/2017/decorative" val="1"/>
                </a:ext>
              </a:extLst>
            </p:cNvPr>
            <p:cNvCxnSpPr>
              <a:cxnSpLocks noChangeShapeType="1"/>
            </p:cNvCxnSpPr>
            <p:nvPr>
              <p:custDataLst>
                <p:tags r:id="rId4"/>
              </p:custDataLst>
            </p:nvPr>
          </p:nvCxnSpPr>
          <p:spPr bwMode="auto">
            <a:xfrm flipV="1">
              <a:off x="6101028" y="2181150"/>
              <a:ext cx="1" cy="317327"/>
            </a:xfrm>
            <a:prstGeom prst="straightConnector1">
              <a:avLst/>
            </a:prstGeom>
            <a:noFill/>
            <a:ln w="19050" cap="rnd">
              <a:solidFill>
                <a:schemeClr val="tx2">
                  <a:lumMod val="60000"/>
                  <a:lumOff val="40000"/>
                </a:schemeClr>
              </a:solidFill>
              <a:prstDash val="sysDot"/>
              <a:round/>
              <a:headEnd type="triangle"/>
              <a:tailEnd/>
            </a:ln>
            <a:effectLst/>
          </p:spPr>
        </p:cxnSp>
        <p:sp>
          <p:nvSpPr>
            <p:cNvPr id="28" name="Oval 29">
              <a:extLst>
                <a:ext uri="{FF2B5EF4-FFF2-40B4-BE49-F238E27FC236}">
                  <a16:creationId xmlns:a16="http://schemas.microsoft.com/office/drawing/2014/main" id="{FFC079C4-4801-48D0-8CEA-86D3EB62EB8D}"/>
                </a:ext>
              </a:extLst>
            </p:cNvPr>
            <p:cNvSpPr>
              <a:spLocks noChangeArrowheads="1"/>
            </p:cNvSpPr>
            <p:nvPr>
              <p:custDataLst>
                <p:tags r:id="rId5"/>
              </p:custDataLst>
            </p:nvPr>
          </p:nvSpPr>
          <p:spPr bwMode="auto">
            <a:xfrm>
              <a:off x="7487942" y="1533286"/>
              <a:ext cx="1295725" cy="1295725"/>
            </a:xfrm>
            <a:prstGeom prst="ellipse">
              <a:avLst/>
            </a:prstGeom>
            <a:solidFill>
              <a:schemeClr val="accent2">
                <a:lumMod val="20000"/>
                <a:lumOff val="80000"/>
              </a:schemeClr>
            </a:solidFill>
            <a:ln w="6350">
              <a:noFill/>
              <a:round/>
              <a:headEnd/>
              <a:tailEnd/>
            </a:ln>
            <a:effectLst/>
          </p:spPr>
          <p:txBody>
            <a:bodyPr wrap="none" lIns="72000" tIns="72000" rIns="72000" bIns="72000" anchor="ctr" anchorCtr="1"/>
            <a:lstStyle/>
            <a:p>
              <a:pPr eaLnBrk="0" hangingPunct="0"/>
              <a:r>
                <a:rPr lang="en-GB" b="1" dirty="0">
                  <a:solidFill>
                    <a:schemeClr val="accent2"/>
                  </a:solidFill>
                </a:rPr>
                <a:t>Text</a:t>
              </a:r>
              <a:endParaRPr lang="en-US" b="1" dirty="0">
                <a:solidFill>
                  <a:schemeClr val="accent2"/>
                </a:solidFill>
              </a:endParaRPr>
            </a:p>
          </p:txBody>
        </p:sp>
        <p:cxnSp>
          <p:nvCxnSpPr>
            <p:cNvPr id="32" name="Straight Arrow Connector 31">
              <a:extLst>
                <a:ext uri="{FF2B5EF4-FFF2-40B4-BE49-F238E27FC236}">
                  <a16:creationId xmlns:a16="http://schemas.microsoft.com/office/drawing/2014/main" id="{2FCBDD9A-78CF-465A-BD0A-EC6F82B91C09}"/>
                </a:ext>
                <a:ext uri="{C183D7F6-B498-43B3-948B-1728B52AA6E4}">
                  <adec:decorative xmlns:adec="http://schemas.microsoft.com/office/drawing/2017/decorative" val="1"/>
                </a:ext>
              </a:extLst>
            </p:cNvPr>
            <p:cNvCxnSpPr>
              <a:stCxn id="28" idx="3"/>
            </p:cNvCxnSpPr>
            <p:nvPr/>
          </p:nvCxnSpPr>
          <p:spPr>
            <a:xfrm flipH="1">
              <a:off x="7367167" y="2639256"/>
              <a:ext cx="310530" cy="327603"/>
            </a:xfrm>
            <a:prstGeom prst="straightConnector1">
              <a:avLst/>
            </a:prstGeom>
            <a:noFill/>
            <a:ln w="19050" cap="rnd">
              <a:solidFill>
                <a:schemeClr val="tx2">
                  <a:lumMod val="60000"/>
                  <a:lumOff val="40000"/>
                </a:schemeClr>
              </a:solidFill>
              <a:prstDash val="sysDot"/>
              <a:round/>
              <a:headEnd type="none"/>
              <a:tailEnd type="triangle"/>
            </a:ln>
            <a:effectLst/>
          </p:spPr>
        </p:cxnSp>
        <p:sp>
          <p:nvSpPr>
            <p:cNvPr id="29" name="Oval 29">
              <a:extLst>
                <a:ext uri="{FF2B5EF4-FFF2-40B4-BE49-F238E27FC236}">
                  <a16:creationId xmlns:a16="http://schemas.microsoft.com/office/drawing/2014/main" id="{126C2001-38A2-4C8E-A25A-B4BA5238D633}"/>
                </a:ext>
              </a:extLst>
            </p:cNvPr>
            <p:cNvSpPr>
              <a:spLocks noChangeArrowheads="1"/>
            </p:cNvSpPr>
            <p:nvPr>
              <p:custDataLst>
                <p:tags r:id="rId6"/>
              </p:custDataLst>
            </p:nvPr>
          </p:nvSpPr>
          <p:spPr bwMode="auto">
            <a:xfrm>
              <a:off x="8465331" y="3029600"/>
              <a:ext cx="1295725" cy="1295725"/>
            </a:xfrm>
            <a:prstGeom prst="ellipse">
              <a:avLst/>
            </a:prstGeom>
            <a:solidFill>
              <a:schemeClr val="accent2">
                <a:lumMod val="20000"/>
                <a:lumOff val="80000"/>
              </a:schemeClr>
            </a:solidFill>
            <a:ln w="6350">
              <a:noFill/>
              <a:round/>
              <a:headEnd/>
              <a:tailEnd/>
            </a:ln>
            <a:effectLst/>
          </p:spPr>
          <p:txBody>
            <a:bodyPr wrap="none" lIns="72000" tIns="72000" rIns="72000" bIns="72000" anchor="ctr" anchorCtr="1"/>
            <a:lstStyle/>
            <a:p>
              <a:pPr eaLnBrk="0" hangingPunct="0"/>
              <a:r>
                <a:rPr lang="en-GB" b="1" dirty="0">
                  <a:solidFill>
                    <a:schemeClr val="accent2"/>
                  </a:solidFill>
                </a:rPr>
                <a:t>Text</a:t>
              </a:r>
              <a:endParaRPr lang="en-US" b="1" dirty="0">
                <a:solidFill>
                  <a:schemeClr val="accent2"/>
                </a:solidFill>
              </a:endParaRPr>
            </a:p>
          </p:txBody>
        </p:sp>
        <p:cxnSp>
          <p:nvCxnSpPr>
            <p:cNvPr id="33" name="Straight Arrow Connector 32">
              <a:extLst>
                <a:ext uri="{FF2B5EF4-FFF2-40B4-BE49-F238E27FC236}">
                  <a16:creationId xmlns:a16="http://schemas.microsoft.com/office/drawing/2014/main" id="{436D0D0D-8328-412E-931C-8A48AE5031F7}"/>
                </a:ext>
                <a:ext uri="{C183D7F6-B498-43B3-948B-1728B52AA6E4}">
                  <adec:decorative xmlns:adec="http://schemas.microsoft.com/office/drawing/2017/decorative" val="1"/>
                </a:ext>
              </a:extLst>
            </p:cNvPr>
            <p:cNvCxnSpPr>
              <a:stCxn id="29" idx="2"/>
            </p:cNvCxnSpPr>
            <p:nvPr/>
          </p:nvCxnSpPr>
          <p:spPr>
            <a:xfrm flipH="1" flipV="1">
              <a:off x="7886700" y="3677462"/>
              <a:ext cx="578631" cy="1"/>
            </a:xfrm>
            <a:prstGeom prst="straightConnector1">
              <a:avLst/>
            </a:prstGeom>
            <a:noFill/>
            <a:ln w="19050" cap="rnd">
              <a:solidFill>
                <a:schemeClr val="tx2">
                  <a:lumMod val="60000"/>
                  <a:lumOff val="40000"/>
                </a:schemeClr>
              </a:solidFill>
              <a:prstDash val="sysDot"/>
              <a:round/>
              <a:headEnd type="none"/>
              <a:tailEnd type="triangle"/>
            </a:ln>
            <a:effectLst/>
          </p:spPr>
        </p:cxnSp>
        <p:grpSp>
          <p:nvGrpSpPr>
            <p:cNvPr id="22" name="Group 21" descr="Insert text">
              <a:extLst>
                <a:ext uri="{FF2B5EF4-FFF2-40B4-BE49-F238E27FC236}">
                  <a16:creationId xmlns:a16="http://schemas.microsoft.com/office/drawing/2014/main" id="{B954F83D-11FF-4BD2-824D-AFF27C574344}"/>
                </a:ext>
              </a:extLst>
            </p:cNvPr>
            <p:cNvGrpSpPr/>
            <p:nvPr/>
          </p:nvGrpSpPr>
          <p:grpSpPr>
            <a:xfrm>
              <a:off x="4157930" y="2498477"/>
              <a:ext cx="3886196" cy="1929626"/>
              <a:chOff x="4744029" y="2686050"/>
              <a:chExt cx="3130665" cy="1554480"/>
            </a:xfrm>
          </p:grpSpPr>
          <p:sp>
            <p:nvSpPr>
              <p:cNvPr id="23" name="Freeform: Shape 22">
                <a:extLst>
                  <a:ext uri="{FF2B5EF4-FFF2-40B4-BE49-F238E27FC236}">
                    <a16:creationId xmlns:a16="http://schemas.microsoft.com/office/drawing/2014/main" id="{778EA437-2CE3-44FC-9F53-04C8E1A3BB44}"/>
                  </a:ext>
                </a:extLst>
              </p:cNvPr>
              <p:cNvSpPr/>
              <p:nvPr/>
            </p:nvSpPr>
            <p:spPr>
              <a:xfrm>
                <a:off x="4744029" y="2686050"/>
                <a:ext cx="3130665" cy="1554480"/>
              </a:xfrm>
              <a:custGeom>
                <a:avLst/>
                <a:gdLst>
                  <a:gd name="connsiteX0" fmla="*/ 1565332 w 3130665"/>
                  <a:gd name="connsiteY0" fmla="*/ 0 h 1554480"/>
                  <a:gd name="connsiteX1" fmla="*/ 3123158 w 3130665"/>
                  <a:gd name="connsiteY1" fmla="*/ 1405805 h 1554480"/>
                  <a:gd name="connsiteX2" fmla="*/ 3130665 w 3130665"/>
                  <a:gd name="connsiteY2" fmla="*/ 1554480 h 1554480"/>
                  <a:gd name="connsiteX3" fmla="*/ 0 w 3130665"/>
                  <a:gd name="connsiteY3" fmla="*/ 1554480 h 1554480"/>
                  <a:gd name="connsiteX4" fmla="*/ 7507 w 3130665"/>
                  <a:gd name="connsiteY4" fmla="*/ 1405805 h 1554480"/>
                  <a:gd name="connsiteX5" fmla="*/ 1565332 w 3130665"/>
                  <a:gd name="connsiteY5" fmla="*/ 0 h 155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0665" h="1554480">
                    <a:moveTo>
                      <a:pt x="1565332" y="0"/>
                    </a:moveTo>
                    <a:cubicBezTo>
                      <a:pt x="2376108" y="0"/>
                      <a:pt x="3042967" y="616186"/>
                      <a:pt x="3123158" y="1405805"/>
                    </a:cubicBezTo>
                    <a:lnTo>
                      <a:pt x="3130665" y="1554480"/>
                    </a:lnTo>
                    <a:lnTo>
                      <a:pt x="0" y="1554480"/>
                    </a:lnTo>
                    <a:lnTo>
                      <a:pt x="7507" y="1405805"/>
                    </a:lnTo>
                    <a:cubicBezTo>
                      <a:pt x="87697" y="616186"/>
                      <a:pt x="754556" y="0"/>
                      <a:pt x="1565332" y="0"/>
                    </a:cubicBez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4" name="Rectangle 7">
                <a:extLst>
                  <a:ext uri="{FF2B5EF4-FFF2-40B4-BE49-F238E27FC236}">
                    <a16:creationId xmlns:a16="http://schemas.microsoft.com/office/drawing/2014/main" id="{3F8AC9B7-A288-42BE-B10E-9097EB3AAF59}"/>
                  </a:ext>
                </a:extLst>
              </p:cNvPr>
              <p:cNvSpPr>
                <a:spLocks noChangeArrowheads="1"/>
              </p:cNvSpPr>
              <p:nvPr>
                <p:custDataLst>
                  <p:tags r:id="rId8"/>
                </p:custDataLst>
              </p:nvPr>
            </p:nvSpPr>
            <p:spPr bwMode="auto">
              <a:xfrm>
                <a:off x="5109213" y="2734497"/>
                <a:ext cx="2400298" cy="1506033"/>
              </a:xfrm>
              <a:prstGeom prst="rect">
                <a:avLst/>
              </a:prstGeom>
              <a:noFill/>
              <a:ln w="6350">
                <a:noFill/>
                <a:miter lim="800000"/>
                <a:headEnd/>
                <a:tailEnd/>
              </a:ln>
              <a:effectLst/>
            </p:spPr>
            <p:txBody>
              <a:bodyPr lIns="180000" tIns="180000" rIns="144000" bIns="72000" anchor="ctr" anchorCtr="0"/>
              <a:lstStyle/>
              <a:p>
                <a:pPr algn="ctr" eaLnBrk="0" hangingPunct="0">
                  <a:lnSpc>
                    <a:spcPct val="85000"/>
                  </a:lnSpc>
                  <a:spcBef>
                    <a:spcPts val="100"/>
                  </a:spcBef>
                  <a:spcAft>
                    <a:spcPts val="300"/>
                  </a:spcAft>
                </a:pPr>
                <a:r>
                  <a:rPr lang="en-US" b="1" dirty="0">
                    <a:solidFill>
                      <a:schemeClr val="bg1"/>
                    </a:solidFill>
                    <a:latin typeface="+mj-lt"/>
                  </a:rPr>
                  <a:t>Text</a:t>
                </a:r>
              </a:p>
              <a:p>
                <a:pPr algn="ctr" eaLnBrk="0" hangingPunct="0">
                  <a:spcBef>
                    <a:spcPts val="100"/>
                  </a:spcBef>
                  <a:spcAft>
                    <a:spcPts val="100"/>
                  </a:spcAft>
                </a:pPr>
                <a:r>
                  <a:rPr lang="en-US" dirty="0">
                    <a:solidFill>
                      <a:schemeClr val="bg1"/>
                    </a:solidFill>
                  </a:rPr>
                  <a:t>Insert text</a:t>
                </a:r>
              </a:p>
            </p:txBody>
          </p:sp>
        </p:grpSp>
        <p:cxnSp>
          <p:nvCxnSpPr>
            <p:cNvPr id="34" name="AutoShape 42">
              <a:extLst>
                <a:ext uri="{FF2B5EF4-FFF2-40B4-BE49-F238E27FC236}">
                  <a16:creationId xmlns:a16="http://schemas.microsoft.com/office/drawing/2014/main" id="{2346E9DE-BB6E-4CB6-A904-CE07CCA88AEA}"/>
                </a:ext>
                <a:ext uri="{C183D7F6-B498-43B3-948B-1728B52AA6E4}">
                  <adec:decorative xmlns:adec="http://schemas.microsoft.com/office/drawing/2017/decorative" val="1"/>
                </a:ext>
              </a:extLst>
            </p:cNvPr>
            <p:cNvCxnSpPr>
              <a:cxnSpLocks noChangeShapeType="1"/>
              <a:endCxn id="24" idx="2"/>
            </p:cNvCxnSpPr>
            <p:nvPr>
              <p:custDataLst>
                <p:tags r:id="rId7"/>
              </p:custDataLst>
            </p:nvPr>
          </p:nvCxnSpPr>
          <p:spPr bwMode="auto">
            <a:xfrm flipV="1">
              <a:off x="6101028" y="4428103"/>
              <a:ext cx="1" cy="455408"/>
            </a:xfrm>
            <a:prstGeom prst="straightConnector1">
              <a:avLst/>
            </a:prstGeom>
            <a:noFill/>
            <a:ln w="19050" cap="rnd">
              <a:solidFill>
                <a:schemeClr val="tx2">
                  <a:lumMod val="60000"/>
                  <a:lumOff val="40000"/>
                </a:schemeClr>
              </a:solidFill>
              <a:prstDash val="sysDot"/>
              <a:round/>
              <a:headEnd type="triangle"/>
              <a:tailEnd/>
            </a:ln>
            <a:effectLst/>
          </p:spPr>
        </p:cxnSp>
        <p:sp>
          <p:nvSpPr>
            <p:cNvPr id="25" name="Rectangle 24">
              <a:extLst>
                <a:ext uri="{FF2B5EF4-FFF2-40B4-BE49-F238E27FC236}">
                  <a16:creationId xmlns:a16="http://schemas.microsoft.com/office/drawing/2014/main" id="{2EF68329-0446-4857-84EF-D0742A08B518}"/>
                </a:ext>
                <a:ext uri="{C183D7F6-B498-43B3-948B-1728B52AA6E4}">
                  <adec:decorative xmlns:adec="http://schemas.microsoft.com/office/drawing/2017/decorative" val="0"/>
                </a:ext>
              </a:extLst>
            </p:cNvPr>
            <p:cNvSpPr>
              <a:spLocks noChangeArrowheads="1"/>
            </p:cNvSpPr>
            <p:nvPr/>
          </p:nvSpPr>
          <p:spPr bwMode="auto">
            <a:xfrm>
              <a:off x="2349396" y="4968124"/>
              <a:ext cx="7503264" cy="707672"/>
            </a:xfrm>
            <a:prstGeom prst="rect">
              <a:avLst/>
            </a:prstGeom>
            <a:pattFill prst="dkUpDiag">
              <a:fgClr>
                <a:schemeClr val="tx2">
                  <a:lumMod val="40000"/>
                  <a:lumOff val="60000"/>
                </a:schemeClr>
              </a:fgClr>
              <a:bgClr>
                <a:schemeClr val="bg1"/>
              </a:bgClr>
            </a:pattFill>
            <a:ln w="6350">
              <a:noFill/>
              <a:round/>
              <a:headEnd/>
              <a:tailEnd/>
            </a:ln>
            <a:effectLst/>
          </p:spPr>
          <p:txBody>
            <a:bodyPr wrap="none" lIns="72000" tIns="108000" rIns="72000" bIns="72000" anchor="ctr" anchorCtr="1"/>
            <a:lstStyle/>
            <a:p>
              <a:pPr algn="ctr" eaLnBrk="0" hangingPunct="0">
                <a:lnSpc>
                  <a:spcPct val="85000"/>
                </a:lnSpc>
                <a:spcBef>
                  <a:spcPts val="100"/>
                </a:spcBef>
                <a:spcAft>
                  <a:spcPts val="300"/>
                </a:spcAft>
              </a:pPr>
              <a:r>
                <a:rPr lang="en-US" b="1" dirty="0">
                  <a:latin typeface="+mj-lt"/>
                </a:rPr>
                <a:t>Text</a:t>
              </a:r>
            </a:p>
          </p:txBody>
        </p:sp>
      </p:grpSp>
      <p:sp>
        <p:nvSpPr>
          <p:cNvPr id="5" name="Footer Placeholder 4">
            <a:extLst>
              <a:ext uri="{FF2B5EF4-FFF2-40B4-BE49-F238E27FC236}">
                <a16:creationId xmlns:a16="http://schemas.microsoft.com/office/drawing/2014/main" id="{888B6201-2247-4F4F-BCC6-060A62E1923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5EA4E9F5-AB4C-4C21-B88A-D9A11A99026B}"/>
              </a:ext>
            </a:extLst>
          </p:cNvPr>
          <p:cNvSpPr>
            <a:spLocks noGrp="1"/>
          </p:cNvSpPr>
          <p:nvPr>
            <p:ph type="sldNum" sz="quarter" idx="10"/>
          </p:nvPr>
        </p:nvSpPr>
        <p:spPr/>
        <p:txBody>
          <a:bodyPr/>
          <a:lstStyle/>
          <a:p>
            <a:fld id="{1F90F471-3972-4120-B8B3-0237DE626C35}" type="slidenum">
              <a:rPr lang="en-US" smtClean="0"/>
              <a:pPr/>
              <a:t>181</a:t>
            </a:fld>
            <a:endParaRPr lang="en-US" dirty="0"/>
          </a:p>
        </p:txBody>
      </p:sp>
    </p:spTree>
    <p:extLst>
      <p:ext uri="{BB962C8B-B14F-4D97-AF65-F5344CB8AC3E}">
        <p14:creationId xmlns:p14="http://schemas.microsoft.com/office/powerpoint/2010/main" val="1062654203"/>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Goal-setting</a:t>
            </a:r>
          </a:p>
        </p:txBody>
      </p:sp>
      <p:sp>
        <p:nvSpPr>
          <p:cNvPr id="31" name="Rectangle 30">
            <a:extLst>
              <a:ext uri="{FF2B5EF4-FFF2-40B4-BE49-F238E27FC236}">
                <a16:creationId xmlns:a16="http://schemas.microsoft.com/office/drawing/2014/main" id="{22751444-DD11-4E9D-85CD-536AA747947A}"/>
              </a:ext>
            </a:extLst>
          </p:cNvPr>
          <p:cNvSpPr>
            <a:spLocks noChangeArrowheads="1"/>
          </p:cNvSpPr>
          <p:nvPr/>
        </p:nvSpPr>
        <p:spPr bwMode="auto">
          <a:xfrm>
            <a:off x="1822450" y="1366838"/>
            <a:ext cx="4803452" cy="852699"/>
          </a:xfrm>
          <a:prstGeom prst="rect">
            <a:avLst/>
          </a:prstGeom>
          <a:noFill/>
          <a:ln w="6350">
            <a:noFill/>
            <a:miter lim="800000"/>
            <a:headEnd/>
            <a:tailEnd/>
          </a:ln>
          <a:effectLst/>
        </p:spPr>
        <p:txBody>
          <a:bodyPr lIns="72000" tIns="72000" rIns="72000" bIns="72000" anchor="ctr"/>
          <a:lstStyle/>
          <a:p>
            <a:pPr algn="l" defTabSz="885825" eaLnBrk="0" hangingPunct="0">
              <a:spcBef>
                <a:spcPct val="0"/>
              </a:spcBef>
            </a:pPr>
            <a:r>
              <a:rPr lang="en-US" dirty="0"/>
              <a:t>Text</a:t>
            </a:r>
            <a:r>
              <a:rPr lang="en-US" b="1" dirty="0"/>
              <a:t> </a:t>
            </a:r>
          </a:p>
        </p:txBody>
      </p:sp>
      <p:sp>
        <p:nvSpPr>
          <p:cNvPr id="33" name="Rectangle 32">
            <a:extLst>
              <a:ext uri="{FF2B5EF4-FFF2-40B4-BE49-F238E27FC236}">
                <a16:creationId xmlns:a16="http://schemas.microsoft.com/office/drawing/2014/main" id="{5D3AD9AB-4794-4E51-A8F3-2256294BB8BA}"/>
              </a:ext>
            </a:extLst>
          </p:cNvPr>
          <p:cNvSpPr>
            <a:spLocks noChangeArrowheads="1"/>
          </p:cNvSpPr>
          <p:nvPr/>
        </p:nvSpPr>
        <p:spPr bwMode="auto">
          <a:xfrm>
            <a:off x="1822450" y="2219537"/>
            <a:ext cx="4803452" cy="757411"/>
          </a:xfrm>
          <a:prstGeom prst="rect">
            <a:avLst/>
          </a:prstGeom>
          <a:noFill/>
          <a:ln w="6350">
            <a:noFill/>
            <a:miter lim="800000"/>
            <a:headEnd/>
            <a:tailEnd/>
          </a:ln>
          <a:effectLst/>
        </p:spPr>
        <p:txBody>
          <a:bodyPr lIns="72000" tIns="72000" rIns="72000" bIns="72000" anchor="ctr"/>
          <a:lstStyle/>
          <a:p>
            <a:pPr algn="l" defTabSz="885825" eaLnBrk="0" hangingPunct="0">
              <a:spcBef>
                <a:spcPct val="0"/>
              </a:spcBef>
            </a:pPr>
            <a:r>
              <a:rPr lang="en-US" dirty="0"/>
              <a:t>Text</a:t>
            </a:r>
          </a:p>
        </p:txBody>
      </p:sp>
      <p:sp>
        <p:nvSpPr>
          <p:cNvPr id="35" name="Rectangle 34">
            <a:extLst>
              <a:ext uri="{FF2B5EF4-FFF2-40B4-BE49-F238E27FC236}">
                <a16:creationId xmlns:a16="http://schemas.microsoft.com/office/drawing/2014/main" id="{1E1A7495-AE8F-4689-A83F-352EA3B98EF6}"/>
              </a:ext>
            </a:extLst>
          </p:cNvPr>
          <p:cNvSpPr>
            <a:spLocks noChangeArrowheads="1"/>
          </p:cNvSpPr>
          <p:nvPr/>
        </p:nvSpPr>
        <p:spPr bwMode="auto">
          <a:xfrm>
            <a:off x="1822450" y="2979391"/>
            <a:ext cx="4803452" cy="732978"/>
          </a:xfrm>
          <a:prstGeom prst="rect">
            <a:avLst/>
          </a:prstGeom>
          <a:noFill/>
          <a:ln w="6350">
            <a:noFill/>
            <a:miter lim="800000"/>
            <a:headEnd/>
            <a:tailEnd/>
          </a:ln>
          <a:effectLst/>
        </p:spPr>
        <p:txBody>
          <a:bodyPr lIns="72000" tIns="72000" rIns="72000" bIns="72000" anchor="ctr"/>
          <a:lstStyle/>
          <a:p>
            <a:pPr algn="l" defTabSz="885825" eaLnBrk="0" hangingPunct="0">
              <a:spcBef>
                <a:spcPct val="0"/>
              </a:spcBef>
            </a:pPr>
            <a:r>
              <a:rPr lang="en-US" dirty="0"/>
              <a:t>Text</a:t>
            </a:r>
          </a:p>
        </p:txBody>
      </p:sp>
      <p:sp>
        <p:nvSpPr>
          <p:cNvPr id="37" name="Rectangle 36">
            <a:extLst>
              <a:ext uri="{FF2B5EF4-FFF2-40B4-BE49-F238E27FC236}">
                <a16:creationId xmlns:a16="http://schemas.microsoft.com/office/drawing/2014/main" id="{BE452F43-1CD9-408D-8A54-D1ABC9BEA02B}"/>
              </a:ext>
            </a:extLst>
          </p:cNvPr>
          <p:cNvSpPr>
            <a:spLocks noChangeArrowheads="1"/>
          </p:cNvSpPr>
          <p:nvPr/>
        </p:nvSpPr>
        <p:spPr bwMode="auto">
          <a:xfrm>
            <a:off x="1822450" y="3712369"/>
            <a:ext cx="4803452" cy="740309"/>
          </a:xfrm>
          <a:prstGeom prst="rect">
            <a:avLst/>
          </a:prstGeom>
          <a:noFill/>
          <a:ln w="6350">
            <a:noFill/>
            <a:miter lim="800000"/>
            <a:headEnd/>
            <a:tailEnd/>
          </a:ln>
          <a:effectLst/>
        </p:spPr>
        <p:txBody>
          <a:bodyPr lIns="72000" tIns="72000" rIns="72000" bIns="72000" anchor="ctr"/>
          <a:lstStyle/>
          <a:p>
            <a:pPr algn="l" defTabSz="885825" eaLnBrk="0" hangingPunct="0">
              <a:spcBef>
                <a:spcPct val="0"/>
              </a:spcBef>
            </a:pPr>
            <a:r>
              <a:rPr lang="en-US" dirty="0"/>
              <a:t>Text</a:t>
            </a:r>
          </a:p>
        </p:txBody>
      </p:sp>
      <p:sp>
        <p:nvSpPr>
          <p:cNvPr id="39" name="Rectangle 38">
            <a:extLst>
              <a:ext uri="{FF2B5EF4-FFF2-40B4-BE49-F238E27FC236}">
                <a16:creationId xmlns:a16="http://schemas.microsoft.com/office/drawing/2014/main" id="{64458DDB-1338-4019-97E1-FDBFA0610A71}"/>
              </a:ext>
            </a:extLst>
          </p:cNvPr>
          <p:cNvSpPr>
            <a:spLocks noChangeArrowheads="1"/>
          </p:cNvSpPr>
          <p:nvPr/>
        </p:nvSpPr>
        <p:spPr bwMode="auto">
          <a:xfrm>
            <a:off x="1822450" y="4452678"/>
            <a:ext cx="4803452" cy="737865"/>
          </a:xfrm>
          <a:prstGeom prst="rect">
            <a:avLst/>
          </a:prstGeom>
          <a:noFill/>
          <a:ln w="6350">
            <a:noFill/>
            <a:miter lim="800000"/>
            <a:headEnd/>
            <a:tailEnd/>
          </a:ln>
          <a:effectLst/>
        </p:spPr>
        <p:txBody>
          <a:bodyPr lIns="72000" tIns="72000" rIns="72000" bIns="72000" anchor="ctr"/>
          <a:lstStyle/>
          <a:p>
            <a:pPr algn="l" defTabSz="885825" eaLnBrk="0" hangingPunct="0">
              <a:spcBef>
                <a:spcPct val="0"/>
              </a:spcBef>
            </a:pPr>
            <a:r>
              <a:rPr lang="en-US" dirty="0"/>
              <a:t>Text</a:t>
            </a:r>
          </a:p>
        </p:txBody>
      </p:sp>
      <p:sp>
        <p:nvSpPr>
          <p:cNvPr id="41" name="Rectangle 40">
            <a:extLst>
              <a:ext uri="{FF2B5EF4-FFF2-40B4-BE49-F238E27FC236}">
                <a16:creationId xmlns:a16="http://schemas.microsoft.com/office/drawing/2014/main" id="{E8C3F0CC-9B87-4DF7-BD1A-CA1456836333}"/>
              </a:ext>
            </a:extLst>
          </p:cNvPr>
          <p:cNvSpPr>
            <a:spLocks noChangeArrowheads="1"/>
          </p:cNvSpPr>
          <p:nvPr/>
        </p:nvSpPr>
        <p:spPr bwMode="auto">
          <a:xfrm>
            <a:off x="1822450" y="5190543"/>
            <a:ext cx="4803452" cy="852697"/>
          </a:xfrm>
          <a:prstGeom prst="rect">
            <a:avLst/>
          </a:prstGeom>
          <a:noFill/>
          <a:ln w="6350">
            <a:noFill/>
            <a:miter lim="800000"/>
            <a:headEnd/>
            <a:tailEnd/>
          </a:ln>
          <a:effectLst/>
        </p:spPr>
        <p:txBody>
          <a:bodyPr lIns="72000" tIns="72000" rIns="72000" bIns="72000" anchor="ctr"/>
          <a:lstStyle/>
          <a:p>
            <a:pPr algn="l" defTabSz="885825" eaLnBrk="0" hangingPunct="0">
              <a:spcBef>
                <a:spcPct val="0"/>
              </a:spcBef>
            </a:pPr>
            <a:r>
              <a:rPr lang="en-US" dirty="0"/>
              <a:t>Text</a:t>
            </a:r>
          </a:p>
        </p:txBody>
      </p:sp>
      <p:sp>
        <p:nvSpPr>
          <p:cNvPr id="19" name="Freeform 5">
            <a:extLst>
              <a:ext uri="{FF2B5EF4-FFF2-40B4-BE49-F238E27FC236}">
                <a16:creationId xmlns:a16="http://schemas.microsoft.com/office/drawing/2014/main" id="{DD3FA0B2-CABE-4936-B4D2-5330D863DCF0}"/>
              </a:ext>
              <a:ext uri="{C183D7F6-B498-43B3-948B-1728B52AA6E4}">
                <adec:decorative xmlns:adec="http://schemas.microsoft.com/office/drawing/2017/decorative" val="1"/>
              </a:ext>
            </a:extLst>
          </p:cNvPr>
          <p:cNvSpPr>
            <a:spLocks/>
          </p:cNvSpPr>
          <p:nvPr/>
        </p:nvSpPr>
        <p:spPr bwMode="auto">
          <a:xfrm>
            <a:off x="1822450" y="3712369"/>
            <a:ext cx="6256887" cy="2345531"/>
          </a:xfrm>
          <a:custGeom>
            <a:avLst/>
            <a:gdLst/>
            <a:ahLst/>
            <a:cxnLst>
              <a:cxn ang="0">
                <a:pos x="0" y="1008"/>
              </a:cxn>
              <a:cxn ang="0">
                <a:pos x="3022" y="1008"/>
              </a:cxn>
              <a:cxn ang="0">
                <a:pos x="3724" y="0"/>
              </a:cxn>
              <a:cxn ang="0">
                <a:pos x="17" y="0"/>
              </a:cxn>
            </a:cxnLst>
            <a:rect l="0" t="0" r="r" b="b"/>
            <a:pathLst>
              <a:path w="3725" h="1009">
                <a:moveTo>
                  <a:pt x="0" y="1008"/>
                </a:moveTo>
                <a:lnTo>
                  <a:pt x="3022" y="1008"/>
                </a:lnTo>
                <a:lnTo>
                  <a:pt x="3724" y="0"/>
                </a:lnTo>
                <a:lnTo>
                  <a:pt x="17" y="0"/>
                </a:lnTo>
              </a:path>
            </a:pathLst>
          </a:custGeom>
          <a:noFill/>
          <a:ln w="12700" cap="rnd" cmpd="sng">
            <a:solidFill>
              <a:schemeClr val="tx2">
                <a:lumMod val="40000"/>
                <a:lumOff val="60000"/>
              </a:schemeClr>
            </a:solidFill>
            <a:prstDash val="solid"/>
            <a:round/>
            <a:headEnd type="none" w="sm" len="sm"/>
            <a:tailEnd type="none" w="sm" len="sm"/>
          </a:ln>
          <a:effectLst/>
        </p:spPr>
        <p:txBody>
          <a:bodyPr lIns="72000" tIns="72000" rIns="72000" bIns="72000"/>
          <a:lstStyle/>
          <a:p>
            <a:endParaRPr lang="de-DE" sz="1400" dirty="0"/>
          </a:p>
        </p:txBody>
      </p:sp>
      <p:sp>
        <p:nvSpPr>
          <p:cNvPr id="21" name="Freeform 6">
            <a:extLst>
              <a:ext uri="{FF2B5EF4-FFF2-40B4-BE49-F238E27FC236}">
                <a16:creationId xmlns:a16="http://schemas.microsoft.com/office/drawing/2014/main" id="{40D74665-08E9-4105-A2BC-8B708D6EC5ED}"/>
              </a:ext>
              <a:ext uri="{C183D7F6-B498-43B3-948B-1728B52AA6E4}">
                <adec:decorative xmlns:adec="http://schemas.microsoft.com/office/drawing/2017/decorative" val="1"/>
              </a:ext>
            </a:extLst>
          </p:cNvPr>
          <p:cNvSpPr>
            <a:spLocks/>
          </p:cNvSpPr>
          <p:nvPr/>
        </p:nvSpPr>
        <p:spPr bwMode="auto">
          <a:xfrm>
            <a:off x="1822450" y="3712369"/>
            <a:ext cx="5714343" cy="1492399"/>
          </a:xfrm>
          <a:custGeom>
            <a:avLst/>
            <a:gdLst/>
            <a:ahLst/>
            <a:cxnLst>
              <a:cxn ang="0">
                <a:pos x="0" y="641"/>
              </a:cxn>
              <a:cxn ang="0">
                <a:pos x="2936" y="641"/>
              </a:cxn>
              <a:cxn ang="0">
                <a:pos x="3401" y="0"/>
              </a:cxn>
              <a:cxn ang="0">
                <a:pos x="9" y="0"/>
              </a:cxn>
            </a:cxnLst>
            <a:rect l="0" t="0" r="r" b="b"/>
            <a:pathLst>
              <a:path w="3402" h="642">
                <a:moveTo>
                  <a:pt x="0" y="641"/>
                </a:moveTo>
                <a:lnTo>
                  <a:pt x="2936" y="641"/>
                </a:lnTo>
                <a:lnTo>
                  <a:pt x="3401" y="0"/>
                </a:lnTo>
                <a:lnTo>
                  <a:pt x="9" y="0"/>
                </a:lnTo>
              </a:path>
            </a:pathLst>
          </a:custGeom>
          <a:noFill/>
          <a:ln w="12700" cap="rnd" cmpd="sng">
            <a:solidFill>
              <a:schemeClr val="tx2">
                <a:lumMod val="40000"/>
                <a:lumOff val="60000"/>
              </a:schemeClr>
            </a:solidFill>
            <a:prstDash val="solid"/>
            <a:round/>
            <a:headEnd type="none" w="sm" len="sm"/>
            <a:tailEnd type="none" w="sm" len="sm"/>
          </a:ln>
          <a:effectLst/>
        </p:spPr>
        <p:txBody>
          <a:bodyPr lIns="72000" tIns="72000" rIns="72000" bIns="72000"/>
          <a:lstStyle/>
          <a:p>
            <a:endParaRPr lang="de-DE" sz="1400" dirty="0"/>
          </a:p>
        </p:txBody>
      </p:sp>
      <p:sp>
        <p:nvSpPr>
          <p:cNvPr id="23" name="Freeform 7">
            <a:extLst>
              <a:ext uri="{FF2B5EF4-FFF2-40B4-BE49-F238E27FC236}">
                <a16:creationId xmlns:a16="http://schemas.microsoft.com/office/drawing/2014/main" id="{4BCDD141-24CE-41EC-AE6B-C82B9AEE080F}"/>
              </a:ext>
              <a:ext uri="{C183D7F6-B498-43B3-948B-1728B52AA6E4}">
                <adec:decorative xmlns:adec="http://schemas.microsoft.com/office/drawing/2017/decorative" val="1"/>
              </a:ext>
            </a:extLst>
          </p:cNvPr>
          <p:cNvSpPr>
            <a:spLocks/>
          </p:cNvSpPr>
          <p:nvPr/>
        </p:nvSpPr>
        <p:spPr bwMode="auto">
          <a:xfrm>
            <a:off x="1822450" y="3712369"/>
            <a:ext cx="5133167" cy="739226"/>
          </a:xfrm>
          <a:custGeom>
            <a:avLst/>
            <a:gdLst/>
            <a:ahLst/>
            <a:cxnLst>
              <a:cxn ang="0">
                <a:pos x="0" y="317"/>
              </a:cxn>
              <a:cxn ang="0">
                <a:pos x="2858" y="317"/>
              </a:cxn>
              <a:cxn ang="0">
                <a:pos x="3055" y="0"/>
              </a:cxn>
              <a:cxn ang="0">
                <a:pos x="3" y="0"/>
              </a:cxn>
            </a:cxnLst>
            <a:rect l="0" t="0" r="r" b="b"/>
            <a:pathLst>
              <a:path w="3056" h="318">
                <a:moveTo>
                  <a:pt x="0" y="317"/>
                </a:moveTo>
                <a:lnTo>
                  <a:pt x="2858" y="317"/>
                </a:lnTo>
                <a:lnTo>
                  <a:pt x="3055" y="0"/>
                </a:lnTo>
                <a:lnTo>
                  <a:pt x="3" y="0"/>
                </a:lnTo>
              </a:path>
            </a:pathLst>
          </a:custGeom>
          <a:noFill/>
          <a:ln w="12700" cap="rnd" cmpd="sng">
            <a:solidFill>
              <a:schemeClr val="tx2">
                <a:lumMod val="40000"/>
                <a:lumOff val="60000"/>
              </a:schemeClr>
            </a:solidFill>
            <a:prstDash val="solid"/>
            <a:round/>
            <a:headEnd type="none" w="sm" len="sm"/>
            <a:tailEnd type="none" w="sm" len="sm"/>
          </a:ln>
          <a:effectLst/>
        </p:spPr>
        <p:txBody>
          <a:bodyPr lIns="72000" tIns="72000" rIns="72000" bIns="72000"/>
          <a:lstStyle/>
          <a:p>
            <a:endParaRPr lang="de-DE" sz="1400" dirty="0"/>
          </a:p>
        </p:txBody>
      </p:sp>
      <p:sp>
        <p:nvSpPr>
          <p:cNvPr id="27" name="Freeform 9">
            <a:extLst>
              <a:ext uri="{FF2B5EF4-FFF2-40B4-BE49-F238E27FC236}">
                <a16:creationId xmlns:a16="http://schemas.microsoft.com/office/drawing/2014/main" id="{83E236EC-E010-41DD-B3ED-E5E2C72722DA}"/>
              </a:ext>
              <a:ext uri="{C183D7F6-B498-43B3-948B-1728B52AA6E4}">
                <adec:decorative xmlns:adec="http://schemas.microsoft.com/office/drawing/2017/decorative" val="1"/>
              </a:ext>
            </a:extLst>
          </p:cNvPr>
          <p:cNvSpPr>
            <a:spLocks/>
          </p:cNvSpPr>
          <p:nvPr/>
        </p:nvSpPr>
        <p:spPr bwMode="auto">
          <a:xfrm>
            <a:off x="1822450" y="2219970"/>
            <a:ext cx="5700906" cy="1494724"/>
          </a:xfrm>
          <a:custGeom>
            <a:avLst/>
            <a:gdLst/>
            <a:ahLst/>
            <a:cxnLst>
              <a:cxn ang="0">
                <a:pos x="0" y="0"/>
              </a:cxn>
              <a:cxn ang="0">
                <a:pos x="2928" y="0"/>
              </a:cxn>
              <a:cxn ang="0">
                <a:pos x="3393" y="642"/>
              </a:cxn>
              <a:cxn ang="0">
                <a:pos x="0" y="642"/>
              </a:cxn>
            </a:cxnLst>
            <a:rect l="0" t="0" r="r" b="b"/>
            <a:pathLst>
              <a:path w="3394" h="643">
                <a:moveTo>
                  <a:pt x="0" y="0"/>
                </a:moveTo>
                <a:lnTo>
                  <a:pt x="2928" y="0"/>
                </a:lnTo>
                <a:lnTo>
                  <a:pt x="3393" y="642"/>
                </a:lnTo>
                <a:lnTo>
                  <a:pt x="0" y="642"/>
                </a:lnTo>
              </a:path>
            </a:pathLst>
          </a:custGeom>
          <a:noFill/>
          <a:ln w="12700" cap="rnd" cmpd="sng">
            <a:solidFill>
              <a:schemeClr val="tx2">
                <a:lumMod val="40000"/>
                <a:lumOff val="60000"/>
              </a:schemeClr>
            </a:solidFill>
            <a:prstDash val="solid"/>
            <a:round/>
            <a:headEnd type="none" w="sm" len="sm"/>
            <a:tailEnd type="none" w="sm" len="sm"/>
          </a:ln>
          <a:effectLst/>
        </p:spPr>
        <p:txBody>
          <a:bodyPr lIns="72000" tIns="72000" rIns="72000" bIns="72000"/>
          <a:lstStyle/>
          <a:p>
            <a:endParaRPr lang="de-DE" sz="1400" dirty="0"/>
          </a:p>
        </p:txBody>
      </p:sp>
      <p:sp>
        <p:nvSpPr>
          <p:cNvPr id="29" name="Freeform 10">
            <a:extLst>
              <a:ext uri="{FF2B5EF4-FFF2-40B4-BE49-F238E27FC236}">
                <a16:creationId xmlns:a16="http://schemas.microsoft.com/office/drawing/2014/main" id="{64585770-7064-46DE-81EB-15D5A7488402}"/>
              </a:ext>
              <a:ext uri="{C183D7F6-B498-43B3-948B-1728B52AA6E4}">
                <adec:decorative xmlns:adec="http://schemas.microsoft.com/office/drawing/2017/decorative" val="1"/>
              </a:ext>
            </a:extLst>
          </p:cNvPr>
          <p:cNvSpPr>
            <a:spLocks/>
          </p:cNvSpPr>
          <p:nvPr/>
        </p:nvSpPr>
        <p:spPr bwMode="auto">
          <a:xfrm>
            <a:off x="1822450" y="2973143"/>
            <a:ext cx="5146604" cy="741550"/>
          </a:xfrm>
          <a:custGeom>
            <a:avLst/>
            <a:gdLst/>
            <a:ahLst/>
            <a:cxnLst>
              <a:cxn ang="0">
                <a:pos x="0" y="0"/>
              </a:cxn>
              <a:cxn ang="0">
                <a:pos x="2858" y="0"/>
              </a:cxn>
              <a:cxn ang="0">
                <a:pos x="3063" y="318"/>
              </a:cxn>
              <a:cxn ang="0">
                <a:pos x="8" y="318"/>
              </a:cxn>
            </a:cxnLst>
            <a:rect l="0" t="0" r="r" b="b"/>
            <a:pathLst>
              <a:path w="3064" h="319">
                <a:moveTo>
                  <a:pt x="0" y="0"/>
                </a:moveTo>
                <a:lnTo>
                  <a:pt x="2858" y="0"/>
                </a:lnTo>
                <a:lnTo>
                  <a:pt x="3063" y="318"/>
                </a:lnTo>
                <a:lnTo>
                  <a:pt x="8" y="318"/>
                </a:lnTo>
              </a:path>
            </a:pathLst>
          </a:custGeom>
          <a:noFill/>
          <a:ln w="12700" cap="rnd" cmpd="sng">
            <a:solidFill>
              <a:schemeClr val="tx2">
                <a:lumMod val="40000"/>
                <a:lumOff val="60000"/>
              </a:schemeClr>
            </a:solidFill>
            <a:prstDash val="solid"/>
            <a:round/>
            <a:headEnd type="none" w="sm" len="sm"/>
            <a:tailEnd type="none" w="sm" len="sm"/>
          </a:ln>
          <a:effectLst/>
        </p:spPr>
        <p:txBody>
          <a:bodyPr lIns="72000" tIns="72000" rIns="72000" bIns="72000"/>
          <a:lstStyle/>
          <a:p>
            <a:endParaRPr lang="de-DE" sz="1400" dirty="0"/>
          </a:p>
        </p:txBody>
      </p:sp>
      <p:sp>
        <p:nvSpPr>
          <p:cNvPr id="25" name="Freeform 8">
            <a:extLst>
              <a:ext uri="{FF2B5EF4-FFF2-40B4-BE49-F238E27FC236}">
                <a16:creationId xmlns:a16="http://schemas.microsoft.com/office/drawing/2014/main" id="{EB29C102-DCE9-4ED4-BE4E-34FE8E3C2B5E}"/>
              </a:ext>
              <a:ext uri="{C183D7F6-B498-43B3-948B-1728B52AA6E4}">
                <adec:decorative xmlns:adec="http://schemas.microsoft.com/office/drawing/2017/decorative" val="1"/>
              </a:ext>
            </a:extLst>
          </p:cNvPr>
          <p:cNvSpPr>
            <a:spLocks/>
          </p:cNvSpPr>
          <p:nvPr/>
        </p:nvSpPr>
        <p:spPr bwMode="auto">
          <a:xfrm>
            <a:off x="1822450" y="1366838"/>
            <a:ext cx="6266965" cy="2347856"/>
          </a:xfrm>
          <a:custGeom>
            <a:avLst/>
            <a:gdLst/>
            <a:ahLst/>
            <a:cxnLst>
              <a:cxn ang="0">
                <a:pos x="0" y="0"/>
              </a:cxn>
              <a:cxn ang="0">
                <a:pos x="3027" y="0"/>
              </a:cxn>
              <a:cxn ang="0">
                <a:pos x="3730" y="1009"/>
              </a:cxn>
              <a:cxn ang="0">
                <a:pos x="15" y="1009"/>
              </a:cxn>
            </a:cxnLst>
            <a:rect l="0" t="0" r="r" b="b"/>
            <a:pathLst>
              <a:path w="3731" h="1010">
                <a:moveTo>
                  <a:pt x="0" y="0"/>
                </a:moveTo>
                <a:lnTo>
                  <a:pt x="3027" y="0"/>
                </a:lnTo>
                <a:lnTo>
                  <a:pt x="3730" y="1009"/>
                </a:lnTo>
                <a:lnTo>
                  <a:pt x="15" y="1009"/>
                </a:lnTo>
              </a:path>
            </a:pathLst>
          </a:custGeom>
          <a:noFill/>
          <a:ln w="12700" cap="rnd" cmpd="sng">
            <a:solidFill>
              <a:schemeClr val="tx2">
                <a:lumMod val="40000"/>
                <a:lumOff val="60000"/>
              </a:schemeClr>
            </a:solidFill>
            <a:prstDash val="solid"/>
            <a:round/>
            <a:headEnd type="none" w="sm" len="sm"/>
            <a:tailEnd type="none" w="sm" len="sm"/>
          </a:ln>
          <a:effectLst/>
        </p:spPr>
        <p:txBody>
          <a:bodyPr lIns="72000" tIns="72000" rIns="72000" bIns="72000"/>
          <a:lstStyle/>
          <a:p>
            <a:endParaRPr lang="de-DE" sz="1400" dirty="0"/>
          </a:p>
        </p:txBody>
      </p:sp>
      <p:sp>
        <p:nvSpPr>
          <p:cNvPr id="43" name="Oval 42">
            <a:extLst>
              <a:ext uri="{FF2B5EF4-FFF2-40B4-BE49-F238E27FC236}">
                <a16:creationId xmlns:a16="http://schemas.microsoft.com/office/drawing/2014/main" id="{8DF44452-C028-4A00-8ED9-87DD7BB878FC}"/>
              </a:ext>
            </a:extLst>
          </p:cNvPr>
          <p:cNvSpPr>
            <a:spLocks noChangeArrowheads="1"/>
          </p:cNvSpPr>
          <p:nvPr/>
        </p:nvSpPr>
        <p:spPr bwMode="auto">
          <a:xfrm>
            <a:off x="8089415" y="2603128"/>
            <a:ext cx="2216039" cy="2216039"/>
          </a:xfrm>
          <a:prstGeom prst="ellipse">
            <a:avLst/>
          </a:prstGeom>
          <a:solidFill>
            <a:schemeClr val="accent2"/>
          </a:solidFill>
          <a:ln w="6350">
            <a:noFill/>
            <a:round/>
            <a:headEnd/>
            <a:tailEnd/>
          </a:ln>
          <a:effectLst/>
        </p:spPr>
        <p:txBody>
          <a:bodyPr wrap="none" lIns="72000" tIns="72000" rIns="72000" bIns="72000" anchor="ctr" anchorCtr="1"/>
          <a:lstStyle/>
          <a:p>
            <a:pPr algn="ctr" eaLnBrk="0" hangingPunct="0">
              <a:lnSpc>
                <a:spcPct val="85000"/>
              </a:lnSpc>
              <a:spcBef>
                <a:spcPts val="100"/>
              </a:spcBef>
              <a:spcAft>
                <a:spcPts val="300"/>
              </a:spcAft>
            </a:pPr>
            <a:r>
              <a:rPr lang="en-US" b="1" dirty="0">
                <a:solidFill>
                  <a:schemeClr val="bg1"/>
                </a:solidFill>
                <a:latin typeface="+mj-lt"/>
              </a:rPr>
              <a:t>Goal</a:t>
            </a:r>
          </a:p>
        </p:txBody>
      </p:sp>
      <p:sp>
        <p:nvSpPr>
          <p:cNvPr id="5" name="Footer Placeholder 4">
            <a:extLst>
              <a:ext uri="{FF2B5EF4-FFF2-40B4-BE49-F238E27FC236}">
                <a16:creationId xmlns:a16="http://schemas.microsoft.com/office/drawing/2014/main" id="{939E5023-F663-4815-8AA9-A1B93BCF4C0E}"/>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E7BAE684-3C55-4D22-A66C-75D5BAB68C32}"/>
              </a:ext>
            </a:extLst>
          </p:cNvPr>
          <p:cNvSpPr>
            <a:spLocks noGrp="1"/>
          </p:cNvSpPr>
          <p:nvPr>
            <p:ph type="sldNum" sz="quarter" idx="10"/>
          </p:nvPr>
        </p:nvSpPr>
        <p:spPr/>
        <p:txBody>
          <a:bodyPr/>
          <a:lstStyle/>
          <a:p>
            <a:fld id="{1F90F471-3972-4120-B8B3-0237DE626C35}" type="slidenum">
              <a:rPr lang="en-US" smtClean="0"/>
              <a:pPr/>
              <a:t>182</a:t>
            </a:fld>
            <a:endParaRPr lang="en-US" dirty="0"/>
          </a:p>
        </p:txBody>
      </p:sp>
    </p:spTree>
    <p:extLst>
      <p:ext uri="{BB962C8B-B14F-4D97-AF65-F5344CB8AC3E}">
        <p14:creationId xmlns:p14="http://schemas.microsoft.com/office/powerpoint/2010/main" val="585918223"/>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Reduction 1</a:t>
            </a:r>
          </a:p>
        </p:txBody>
      </p:sp>
      <p:cxnSp>
        <p:nvCxnSpPr>
          <p:cNvPr id="13" name="Straight Arrow Connector 12">
            <a:extLst>
              <a:ext uri="{FF2B5EF4-FFF2-40B4-BE49-F238E27FC236}">
                <a16:creationId xmlns:a16="http://schemas.microsoft.com/office/drawing/2014/main" id="{859D6A7D-406B-4653-ADB4-B49115E0D815}"/>
              </a:ext>
              <a:ext uri="{C183D7F6-B498-43B3-948B-1728B52AA6E4}">
                <adec:decorative xmlns:adec="http://schemas.microsoft.com/office/drawing/2017/decorative" val="1"/>
              </a:ext>
            </a:extLst>
          </p:cNvPr>
          <p:cNvCxnSpPr/>
          <p:nvPr/>
        </p:nvCxnSpPr>
        <p:spPr>
          <a:xfrm>
            <a:off x="3304878" y="4050291"/>
            <a:ext cx="5605924" cy="1286884"/>
          </a:xfrm>
          <a:prstGeom prst="straightConnector1">
            <a:avLst/>
          </a:prstGeom>
          <a:ln w="28575">
            <a:solidFill>
              <a:schemeClr val="accent2">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16" name="Text Box 10">
            <a:extLst>
              <a:ext uri="{FF2B5EF4-FFF2-40B4-BE49-F238E27FC236}">
                <a16:creationId xmlns:a16="http://schemas.microsoft.com/office/drawing/2014/main" id="{F589C558-1CBF-4A53-8F7D-86E84157FFBB}"/>
              </a:ext>
            </a:extLst>
          </p:cNvPr>
          <p:cNvSpPr txBox="1">
            <a:spLocks noChangeArrowheads="1"/>
          </p:cNvSpPr>
          <p:nvPr/>
        </p:nvSpPr>
        <p:spPr bwMode="auto">
          <a:xfrm>
            <a:off x="2414840" y="1416161"/>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ctr"/>
            <a:r>
              <a:rPr lang="en-US" b="1" cap="none" dirty="0">
                <a:solidFill>
                  <a:schemeClr val="tx1"/>
                </a:solidFill>
              </a:rPr>
              <a:t>Text</a:t>
            </a:r>
          </a:p>
        </p:txBody>
      </p:sp>
      <p:sp>
        <p:nvSpPr>
          <p:cNvPr id="12" name="AutoShape 5" descr="Down arrow">
            <a:extLst>
              <a:ext uri="{FF2B5EF4-FFF2-40B4-BE49-F238E27FC236}">
                <a16:creationId xmlns:a16="http://schemas.microsoft.com/office/drawing/2014/main" id="{7B8CEEFB-AF45-48D7-A17E-378F2040D387}"/>
              </a:ext>
            </a:extLst>
          </p:cNvPr>
          <p:cNvSpPr>
            <a:spLocks noChangeArrowheads="1"/>
          </p:cNvSpPr>
          <p:nvPr/>
        </p:nvSpPr>
        <p:spPr bwMode="auto">
          <a:xfrm rot="16200000" flipH="1">
            <a:off x="2314878" y="2420219"/>
            <a:ext cx="1980000" cy="900000"/>
          </a:xfrm>
          <a:prstGeom prst="rightArrow">
            <a:avLst>
              <a:gd name="adj1" fmla="val 50000"/>
              <a:gd name="adj2" fmla="val 45387"/>
            </a:avLst>
          </a:prstGeom>
          <a:solidFill>
            <a:schemeClr val="tx2">
              <a:lumMod val="40000"/>
              <a:lumOff val="60000"/>
            </a:schemeClr>
          </a:solidFill>
          <a:ln w="6350">
            <a:noFill/>
            <a:miter lim="800000"/>
            <a:headEnd/>
            <a:tailEnd/>
          </a:ln>
          <a:effectLst/>
        </p:spPr>
        <p:txBody>
          <a:bodyPr vert="eaVert" wrap="none" lIns="72000" tIns="72000" rIns="72000" bIns="72000" anchor="ctr"/>
          <a:lstStyle/>
          <a:p>
            <a:pPr algn="ctr" eaLnBrk="0" hangingPunct="0"/>
            <a:endParaRPr lang="en-US" dirty="0">
              <a:solidFill>
                <a:schemeClr val="tx1"/>
              </a:solidFill>
            </a:endParaRPr>
          </a:p>
        </p:txBody>
      </p:sp>
      <p:sp>
        <p:nvSpPr>
          <p:cNvPr id="17" name="Text Box 10">
            <a:extLst>
              <a:ext uri="{FF2B5EF4-FFF2-40B4-BE49-F238E27FC236}">
                <a16:creationId xmlns:a16="http://schemas.microsoft.com/office/drawing/2014/main" id="{77D2000E-0844-4EAC-A415-8FE8110DB455}"/>
              </a:ext>
            </a:extLst>
          </p:cNvPr>
          <p:cNvSpPr txBox="1">
            <a:spLocks noChangeArrowheads="1"/>
          </p:cNvSpPr>
          <p:nvPr/>
        </p:nvSpPr>
        <p:spPr bwMode="auto">
          <a:xfrm>
            <a:off x="5217802" y="1416161"/>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ctr"/>
            <a:r>
              <a:rPr lang="en-US" b="1" cap="none" dirty="0">
                <a:solidFill>
                  <a:schemeClr val="tx1"/>
                </a:solidFill>
              </a:rPr>
              <a:t>Text</a:t>
            </a:r>
          </a:p>
        </p:txBody>
      </p:sp>
      <p:sp>
        <p:nvSpPr>
          <p:cNvPr id="14" name="AutoShape 5" descr="Down arrow">
            <a:extLst>
              <a:ext uri="{FF2B5EF4-FFF2-40B4-BE49-F238E27FC236}">
                <a16:creationId xmlns:a16="http://schemas.microsoft.com/office/drawing/2014/main" id="{2C53646E-28C4-44F0-83B2-6CF5B4F0DD0D}"/>
              </a:ext>
            </a:extLst>
          </p:cNvPr>
          <p:cNvSpPr>
            <a:spLocks noChangeArrowheads="1"/>
          </p:cNvSpPr>
          <p:nvPr/>
        </p:nvSpPr>
        <p:spPr bwMode="auto">
          <a:xfrm rot="16200000" flipH="1">
            <a:off x="4827680" y="2776863"/>
            <a:ext cx="2560320" cy="900000"/>
          </a:xfrm>
          <a:prstGeom prst="rightArrow">
            <a:avLst>
              <a:gd name="adj1" fmla="val 50000"/>
              <a:gd name="adj2" fmla="val 45387"/>
            </a:avLst>
          </a:prstGeom>
          <a:solidFill>
            <a:schemeClr val="tx2">
              <a:lumMod val="40000"/>
              <a:lumOff val="60000"/>
            </a:schemeClr>
          </a:solidFill>
          <a:ln w="6350">
            <a:noFill/>
            <a:miter lim="800000"/>
            <a:headEnd/>
            <a:tailEnd/>
          </a:ln>
          <a:effectLst/>
        </p:spPr>
        <p:txBody>
          <a:bodyPr vert="eaVert" wrap="none" lIns="72000" tIns="72000" rIns="72000" bIns="72000" anchor="ctr"/>
          <a:lstStyle/>
          <a:p>
            <a:pPr algn="ctr" eaLnBrk="0" hangingPunct="0"/>
            <a:endParaRPr lang="en-US" dirty="0">
              <a:solidFill>
                <a:schemeClr val="tx1"/>
              </a:solidFill>
            </a:endParaRPr>
          </a:p>
        </p:txBody>
      </p:sp>
      <p:sp>
        <p:nvSpPr>
          <p:cNvPr id="18" name="Text Box 10">
            <a:extLst>
              <a:ext uri="{FF2B5EF4-FFF2-40B4-BE49-F238E27FC236}">
                <a16:creationId xmlns:a16="http://schemas.microsoft.com/office/drawing/2014/main" id="{DDDE0F5A-58C8-4910-A9FF-370A1861A8A6}"/>
              </a:ext>
            </a:extLst>
          </p:cNvPr>
          <p:cNvSpPr txBox="1">
            <a:spLocks noChangeArrowheads="1"/>
          </p:cNvSpPr>
          <p:nvPr/>
        </p:nvSpPr>
        <p:spPr bwMode="auto">
          <a:xfrm>
            <a:off x="8020764" y="1416161"/>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ctr"/>
            <a:r>
              <a:rPr lang="en-US" b="1" cap="none" dirty="0">
                <a:solidFill>
                  <a:schemeClr val="tx1"/>
                </a:solidFill>
              </a:rPr>
              <a:t>Text</a:t>
            </a:r>
          </a:p>
        </p:txBody>
      </p:sp>
      <p:sp>
        <p:nvSpPr>
          <p:cNvPr id="15" name="AutoShape 5" descr="Down arrow">
            <a:extLst>
              <a:ext uri="{FF2B5EF4-FFF2-40B4-BE49-F238E27FC236}">
                <a16:creationId xmlns:a16="http://schemas.microsoft.com/office/drawing/2014/main" id="{8D714427-B9AA-4F85-BE3B-A040EDAF28AC}"/>
              </a:ext>
            </a:extLst>
          </p:cNvPr>
          <p:cNvSpPr>
            <a:spLocks noChangeArrowheads="1"/>
          </p:cNvSpPr>
          <p:nvPr/>
        </p:nvSpPr>
        <p:spPr bwMode="auto">
          <a:xfrm rot="16200000" flipH="1">
            <a:off x="7310602" y="3096903"/>
            <a:ext cx="3200400" cy="900000"/>
          </a:xfrm>
          <a:prstGeom prst="rightArrow">
            <a:avLst>
              <a:gd name="adj1" fmla="val 50000"/>
              <a:gd name="adj2" fmla="val 45387"/>
            </a:avLst>
          </a:prstGeom>
          <a:solidFill>
            <a:schemeClr val="tx2">
              <a:lumMod val="40000"/>
              <a:lumOff val="60000"/>
            </a:schemeClr>
          </a:solidFill>
          <a:ln w="6350">
            <a:noFill/>
            <a:miter lim="800000"/>
            <a:headEnd/>
            <a:tailEnd/>
          </a:ln>
          <a:effectLst/>
        </p:spPr>
        <p:txBody>
          <a:bodyPr vert="eaVert" wrap="none" lIns="72000" tIns="72000" rIns="72000" bIns="72000" anchor="ctr"/>
          <a:lstStyle/>
          <a:p>
            <a:pPr algn="ctr" eaLnBrk="0" hangingPunct="0"/>
            <a:endParaRPr lang="en-US" dirty="0">
              <a:solidFill>
                <a:schemeClr val="tx1"/>
              </a:solidFill>
            </a:endParaRPr>
          </a:p>
        </p:txBody>
      </p:sp>
      <p:sp>
        <p:nvSpPr>
          <p:cNvPr id="5" name="Footer Placeholder 4">
            <a:extLst>
              <a:ext uri="{FF2B5EF4-FFF2-40B4-BE49-F238E27FC236}">
                <a16:creationId xmlns:a16="http://schemas.microsoft.com/office/drawing/2014/main" id="{2DD7728C-7F3B-4466-A906-99EF099CB4BF}"/>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0DF77250-5643-40D3-829A-4AAF7690AF6C}"/>
              </a:ext>
            </a:extLst>
          </p:cNvPr>
          <p:cNvSpPr>
            <a:spLocks noGrp="1"/>
          </p:cNvSpPr>
          <p:nvPr>
            <p:ph type="sldNum" sz="quarter" idx="10"/>
          </p:nvPr>
        </p:nvSpPr>
        <p:spPr/>
        <p:txBody>
          <a:bodyPr/>
          <a:lstStyle/>
          <a:p>
            <a:fld id="{1F90F471-3972-4120-B8B3-0237DE626C35}" type="slidenum">
              <a:rPr lang="en-US" smtClean="0"/>
              <a:pPr/>
              <a:t>183</a:t>
            </a:fld>
            <a:endParaRPr lang="en-US" dirty="0"/>
          </a:p>
        </p:txBody>
      </p:sp>
    </p:spTree>
    <p:extLst>
      <p:ext uri="{BB962C8B-B14F-4D97-AF65-F5344CB8AC3E}">
        <p14:creationId xmlns:p14="http://schemas.microsoft.com/office/powerpoint/2010/main" val="4008231322"/>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Reduction 2</a:t>
            </a:r>
          </a:p>
        </p:txBody>
      </p:sp>
      <p:sp>
        <p:nvSpPr>
          <p:cNvPr id="15" name="Arrow: Right 14">
            <a:extLst>
              <a:ext uri="{FF2B5EF4-FFF2-40B4-BE49-F238E27FC236}">
                <a16:creationId xmlns:a16="http://schemas.microsoft.com/office/drawing/2014/main" id="{3041F94D-3BB8-49B9-A224-3542FD3FB5DC}"/>
              </a:ext>
              <a:ext uri="{C183D7F6-B498-43B3-948B-1728B52AA6E4}">
                <adec:decorative xmlns:adec="http://schemas.microsoft.com/office/drawing/2017/decorative" val="1"/>
              </a:ext>
            </a:extLst>
          </p:cNvPr>
          <p:cNvSpPr/>
          <p:nvPr/>
        </p:nvSpPr>
        <p:spPr>
          <a:xfrm rot="739882">
            <a:off x="2308861" y="4355521"/>
            <a:ext cx="7680960" cy="439345"/>
          </a:xfrm>
          <a:prstGeom prst="rightArrow">
            <a:avLst/>
          </a:prstGeom>
          <a:gradFill flip="none" rotWithShape="1">
            <a:gsLst>
              <a:gs pos="0">
                <a:schemeClr val="accent3"/>
              </a:gs>
              <a:gs pos="100000">
                <a:schemeClr val="accent1"/>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6" name="Group 15" descr="Add text and order accordingly">
            <a:extLst>
              <a:ext uri="{FF2B5EF4-FFF2-40B4-BE49-F238E27FC236}">
                <a16:creationId xmlns:a16="http://schemas.microsoft.com/office/drawing/2014/main" id="{B1C1F565-22A7-4DB2-8BF8-3435FE70D0DD}"/>
              </a:ext>
            </a:extLst>
          </p:cNvPr>
          <p:cNvGrpSpPr/>
          <p:nvPr/>
        </p:nvGrpSpPr>
        <p:grpSpPr>
          <a:xfrm>
            <a:off x="2414841" y="1297622"/>
            <a:ext cx="1780076" cy="2242774"/>
            <a:chOff x="3009200" y="1366838"/>
            <a:chExt cx="1780076" cy="2242774"/>
          </a:xfrm>
        </p:grpSpPr>
        <p:sp>
          <p:nvSpPr>
            <p:cNvPr id="17" name="Text Box 10">
              <a:extLst>
                <a:ext uri="{FF2B5EF4-FFF2-40B4-BE49-F238E27FC236}">
                  <a16:creationId xmlns:a16="http://schemas.microsoft.com/office/drawing/2014/main" id="{E0062E3B-7D6E-47B7-88F1-0C80EF1F198C}"/>
                </a:ext>
              </a:extLst>
            </p:cNvPr>
            <p:cNvSpPr txBox="1">
              <a:spLocks noChangeArrowheads="1"/>
            </p:cNvSpPr>
            <p:nvPr/>
          </p:nvSpPr>
          <p:spPr bwMode="auto">
            <a:xfrm>
              <a:off x="3009200" y="1366838"/>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ctr"/>
              <a:r>
                <a:rPr lang="en-US" b="1" cap="none" dirty="0">
                  <a:solidFill>
                    <a:schemeClr val="accent3"/>
                  </a:solidFill>
                </a:rPr>
                <a:t>Text</a:t>
              </a:r>
            </a:p>
          </p:txBody>
        </p:sp>
        <p:cxnSp>
          <p:nvCxnSpPr>
            <p:cNvPr id="18" name="Straight Arrow Connector 17">
              <a:extLst>
                <a:ext uri="{FF2B5EF4-FFF2-40B4-BE49-F238E27FC236}">
                  <a16:creationId xmlns:a16="http://schemas.microsoft.com/office/drawing/2014/main" id="{C7570391-9F7D-4A4C-B6EC-C8B92F22DA95}"/>
                </a:ext>
              </a:extLst>
            </p:cNvPr>
            <p:cNvCxnSpPr/>
            <p:nvPr/>
          </p:nvCxnSpPr>
          <p:spPr>
            <a:xfrm>
              <a:off x="3899238" y="1805940"/>
              <a:ext cx="0" cy="1803672"/>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9" name="Group 18" descr="Add text and order accordingly">
            <a:extLst>
              <a:ext uri="{FF2B5EF4-FFF2-40B4-BE49-F238E27FC236}">
                <a16:creationId xmlns:a16="http://schemas.microsoft.com/office/drawing/2014/main" id="{694AEC61-EB84-43DA-8C6B-EB49337799AB}"/>
              </a:ext>
            </a:extLst>
          </p:cNvPr>
          <p:cNvGrpSpPr/>
          <p:nvPr/>
        </p:nvGrpSpPr>
        <p:grpSpPr>
          <a:xfrm>
            <a:off x="5217803" y="1297622"/>
            <a:ext cx="1780076" cy="3045142"/>
            <a:chOff x="5812162" y="1366838"/>
            <a:chExt cx="1780076" cy="3045142"/>
          </a:xfrm>
        </p:grpSpPr>
        <p:sp>
          <p:nvSpPr>
            <p:cNvPr id="20" name="Text Box 10">
              <a:extLst>
                <a:ext uri="{FF2B5EF4-FFF2-40B4-BE49-F238E27FC236}">
                  <a16:creationId xmlns:a16="http://schemas.microsoft.com/office/drawing/2014/main" id="{1FEE92E7-38B0-4B60-8BD7-67717A90B426}"/>
                </a:ext>
              </a:extLst>
            </p:cNvPr>
            <p:cNvSpPr txBox="1">
              <a:spLocks noChangeArrowheads="1"/>
            </p:cNvSpPr>
            <p:nvPr/>
          </p:nvSpPr>
          <p:spPr bwMode="auto">
            <a:xfrm>
              <a:off x="5812162" y="1366838"/>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ctr"/>
              <a:r>
                <a:rPr lang="en-US" b="1" cap="none" dirty="0">
                  <a:solidFill>
                    <a:schemeClr val="accent2"/>
                  </a:solidFill>
                </a:rPr>
                <a:t>Text</a:t>
              </a:r>
            </a:p>
          </p:txBody>
        </p:sp>
        <p:cxnSp>
          <p:nvCxnSpPr>
            <p:cNvPr id="21" name="Straight Arrow Connector 20">
              <a:extLst>
                <a:ext uri="{FF2B5EF4-FFF2-40B4-BE49-F238E27FC236}">
                  <a16:creationId xmlns:a16="http://schemas.microsoft.com/office/drawing/2014/main" id="{FC26A555-264F-42F0-A6D8-58898BC73CC5}"/>
                </a:ext>
              </a:extLst>
            </p:cNvPr>
            <p:cNvCxnSpPr/>
            <p:nvPr/>
          </p:nvCxnSpPr>
          <p:spPr>
            <a:xfrm>
              <a:off x="6702200" y="1805940"/>
              <a:ext cx="0" cy="2606040"/>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2" name="Group 21" descr="Add text and order accordingly">
            <a:extLst>
              <a:ext uri="{FF2B5EF4-FFF2-40B4-BE49-F238E27FC236}">
                <a16:creationId xmlns:a16="http://schemas.microsoft.com/office/drawing/2014/main" id="{89ACD567-1821-4227-A489-F184EA06D65C}"/>
              </a:ext>
            </a:extLst>
          </p:cNvPr>
          <p:cNvGrpSpPr/>
          <p:nvPr/>
        </p:nvGrpSpPr>
        <p:grpSpPr>
          <a:xfrm>
            <a:off x="8020765" y="1297622"/>
            <a:ext cx="1780076" cy="3628072"/>
            <a:chOff x="8615124" y="1366838"/>
            <a:chExt cx="1780076" cy="3628072"/>
          </a:xfrm>
        </p:grpSpPr>
        <p:sp>
          <p:nvSpPr>
            <p:cNvPr id="23" name="Text Box 10">
              <a:extLst>
                <a:ext uri="{FF2B5EF4-FFF2-40B4-BE49-F238E27FC236}">
                  <a16:creationId xmlns:a16="http://schemas.microsoft.com/office/drawing/2014/main" id="{747D8E67-8075-4CDC-8766-502214985B76}"/>
                </a:ext>
              </a:extLst>
            </p:cNvPr>
            <p:cNvSpPr txBox="1">
              <a:spLocks noChangeArrowheads="1"/>
            </p:cNvSpPr>
            <p:nvPr/>
          </p:nvSpPr>
          <p:spPr bwMode="auto">
            <a:xfrm>
              <a:off x="8615124" y="1366838"/>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ctr"/>
              <a:r>
                <a:rPr lang="en-US" b="1" cap="none" dirty="0"/>
                <a:t>Text</a:t>
              </a:r>
            </a:p>
          </p:txBody>
        </p:sp>
        <p:cxnSp>
          <p:nvCxnSpPr>
            <p:cNvPr id="24" name="Straight Arrow Connector 23">
              <a:extLst>
                <a:ext uri="{FF2B5EF4-FFF2-40B4-BE49-F238E27FC236}">
                  <a16:creationId xmlns:a16="http://schemas.microsoft.com/office/drawing/2014/main" id="{A2677D12-306D-4EEA-8677-56A64E3345D8}"/>
                </a:ext>
              </a:extLst>
            </p:cNvPr>
            <p:cNvCxnSpPr/>
            <p:nvPr/>
          </p:nvCxnSpPr>
          <p:spPr>
            <a:xfrm>
              <a:off x="9505162" y="1805940"/>
              <a:ext cx="0" cy="318897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
        <p:nvSpPr>
          <p:cNvPr id="5" name="Footer Placeholder 4">
            <a:extLst>
              <a:ext uri="{FF2B5EF4-FFF2-40B4-BE49-F238E27FC236}">
                <a16:creationId xmlns:a16="http://schemas.microsoft.com/office/drawing/2014/main" id="{B37F31A1-9312-46CA-82E5-337DD1992FE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A2B5BEB9-0C7A-4CFC-8A2A-C206A6C654A7}"/>
              </a:ext>
            </a:extLst>
          </p:cNvPr>
          <p:cNvSpPr>
            <a:spLocks noGrp="1"/>
          </p:cNvSpPr>
          <p:nvPr>
            <p:ph type="sldNum" sz="quarter" idx="10"/>
          </p:nvPr>
        </p:nvSpPr>
        <p:spPr/>
        <p:txBody>
          <a:bodyPr/>
          <a:lstStyle/>
          <a:p>
            <a:fld id="{1F90F471-3972-4120-B8B3-0237DE626C35}" type="slidenum">
              <a:rPr lang="en-US" smtClean="0"/>
              <a:pPr/>
              <a:t>184</a:t>
            </a:fld>
            <a:endParaRPr lang="en-US" dirty="0"/>
          </a:p>
        </p:txBody>
      </p:sp>
    </p:spTree>
    <p:extLst>
      <p:ext uri="{BB962C8B-B14F-4D97-AF65-F5344CB8AC3E}">
        <p14:creationId xmlns:p14="http://schemas.microsoft.com/office/powerpoint/2010/main" val="3469877743"/>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Increase 1</a:t>
            </a:r>
          </a:p>
        </p:txBody>
      </p:sp>
      <p:grpSp>
        <p:nvGrpSpPr>
          <p:cNvPr id="13" name="Group 12" descr="Add text and order accordingly">
            <a:extLst>
              <a:ext uri="{FF2B5EF4-FFF2-40B4-BE49-F238E27FC236}">
                <a16:creationId xmlns:a16="http://schemas.microsoft.com/office/drawing/2014/main" id="{42D0BE2D-A0B3-41B4-8F9E-5D34592A1DD8}"/>
              </a:ext>
            </a:extLst>
          </p:cNvPr>
          <p:cNvGrpSpPr/>
          <p:nvPr/>
        </p:nvGrpSpPr>
        <p:grpSpPr>
          <a:xfrm flipV="1">
            <a:off x="2854878" y="1625156"/>
            <a:ext cx="6505924" cy="3456956"/>
            <a:chOff x="2854878" y="1830896"/>
            <a:chExt cx="6505924" cy="3456956"/>
          </a:xfrm>
        </p:grpSpPr>
        <p:sp>
          <p:nvSpPr>
            <p:cNvPr id="14" name="AutoShape 5">
              <a:extLst>
                <a:ext uri="{FF2B5EF4-FFF2-40B4-BE49-F238E27FC236}">
                  <a16:creationId xmlns:a16="http://schemas.microsoft.com/office/drawing/2014/main" id="{43FFE540-47A1-45B8-A8D4-1B25F19E5A5C}"/>
                </a:ext>
              </a:extLst>
            </p:cNvPr>
            <p:cNvSpPr>
              <a:spLocks noChangeArrowheads="1"/>
            </p:cNvSpPr>
            <p:nvPr/>
          </p:nvSpPr>
          <p:spPr bwMode="auto">
            <a:xfrm rot="16200000" flipH="1">
              <a:off x="2314878" y="2370896"/>
              <a:ext cx="1980000" cy="900000"/>
            </a:xfrm>
            <a:prstGeom prst="rightArrow">
              <a:avLst>
                <a:gd name="adj1" fmla="val 50000"/>
                <a:gd name="adj2" fmla="val 45387"/>
              </a:avLst>
            </a:prstGeom>
            <a:solidFill>
              <a:schemeClr val="tx2">
                <a:lumMod val="40000"/>
                <a:lumOff val="60000"/>
              </a:schemeClr>
            </a:solidFill>
            <a:ln w="6350">
              <a:noFill/>
              <a:miter lim="800000"/>
              <a:headEnd/>
              <a:tailEnd/>
            </a:ln>
            <a:effectLst/>
          </p:spPr>
          <p:txBody>
            <a:bodyPr vert="eaVert" wrap="none" lIns="72000" tIns="72000" rIns="72000" bIns="72000" anchor="ctr"/>
            <a:lstStyle/>
            <a:p>
              <a:pPr algn="ctr" eaLnBrk="0" hangingPunct="0"/>
              <a:endParaRPr lang="en-US" dirty="0">
                <a:solidFill>
                  <a:schemeClr val="tx1"/>
                </a:solidFill>
              </a:endParaRPr>
            </a:p>
          </p:txBody>
        </p:sp>
        <p:cxnSp>
          <p:nvCxnSpPr>
            <p:cNvPr id="15" name="Straight Arrow Connector 14">
              <a:extLst>
                <a:ext uri="{FF2B5EF4-FFF2-40B4-BE49-F238E27FC236}">
                  <a16:creationId xmlns:a16="http://schemas.microsoft.com/office/drawing/2014/main" id="{7DB7814E-E08D-456D-A3D2-73D03E4ED5F5}"/>
                </a:ext>
              </a:extLst>
            </p:cNvPr>
            <p:cNvCxnSpPr/>
            <p:nvPr/>
          </p:nvCxnSpPr>
          <p:spPr>
            <a:xfrm>
              <a:off x="3304878" y="4000968"/>
              <a:ext cx="5605924" cy="1286884"/>
            </a:xfrm>
            <a:prstGeom prst="straightConnector1">
              <a:avLst/>
            </a:prstGeom>
            <a:ln w="28575">
              <a:solidFill>
                <a:schemeClr val="accent2">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16" name="AutoShape 5">
              <a:extLst>
                <a:ext uri="{FF2B5EF4-FFF2-40B4-BE49-F238E27FC236}">
                  <a16:creationId xmlns:a16="http://schemas.microsoft.com/office/drawing/2014/main" id="{DD28861F-0423-44BC-BC0F-5A92ABAD48C2}"/>
                </a:ext>
              </a:extLst>
            </p:cNvPr>
            <p:cNvSpPr>
              <a:spLocks noChangeArrowheads="1"/>
            </p:cNvSpPr>
            <p:nvPr/>
          </p:nvSpPr>
          <p:spPr bwMode="auto">
            <a:xfrm rot="16200000" flipH="1">
              <a:off x="4827680" y="2727540"/>
              <a:ext cx="2560320" cy="900000"/>
            </a:xfrm>
            <a:prstGeom prst="rightArrow">
              <a:avLst>
                <a:gd name="adj1" fmla="val 50000"/>
                <a:gd name="adj2" fmla="val 45387"/>
              </a:avLst>
            </a:prstGeom>
            <a:solidFill>
              <a:schemeClr val="tx2">
                <a:lumMod val="40000"/>
                <a:lumOff val="60000"/>
              </a:schemeClr>
            </a:solidFill>
            <a:ln w="6350">
              <a:noFill/>
              <a:miter lim="800000"/>
              <a:headEnd/>
              <a:tailEnd/>
            </a:ln>
            <a:effectLst/>
          </p:spPr>
          <p:txBody>
            <a:bodyPr vert="eaVert" wrap="none" lIns="72000" tIns="72000" rIns="72000" bIns="72000" anchor="ctr"/>
            <a:lstStyle/>
            <a:p>
              <a:pPr algn="ctr" eaLnBrk="0" hangingPunct="0"/>
              <a:endParaRPr lang="en-US" dirty="0">
                <a:solidFill>
                  <a:schemeClr val="tx1"/>
                </a:solidFill>
              </a:endParaRPr>
            </a:p>
          </p:txBody>
        </p:sp>
        <p:sp>
          <p:nvSpPr>
            <p:cNvPr id="17" name="AutoShape 5">
              <a:extLst>
                <a:ext uri="{FF2B5EF4-FFF2-40B4-BE49-F238E27FC236}">
                  <a16:creationId xmlns:a16="http://schemas.microsoft.com/office/drawing/2014/main" id="{938CD1AA-5B00-4165-97BD-819D1E735B5F}"/>
                </a:ext>
              </a:extLst>
            </p:cNvPr>
            <p:cNvSpPr>
              <a:spLocks noChangeArrowheads="1"/>
            </p:cNvSpPr>
            <p:nvPr/>
          </p:nvSpPr>
          <p:spPr bwMode="auto">
            <a:xfrm rot="16200000" flipH="1">
              <a:off x="7310602" y="3047580"/>
              <a:ext cx="3200400" cy="900000"/>
            </a:xfrm>
            <a:prstGeom prst="rightArrow">
              <a:avLst>
                <a:gd name="adj1" fmla="val 50000"/>
                <a:gd name="adj2" fmla="val 45387"/>
              </a:avLst>
            </a:prstGeom>
            <a:solidFill>
              <a:schemeClr val="tx2">
                <a:lumMod val="40000"/>
                <a:lumOff val="60000"/>
              </a:schemeClr>
            </a:solidFill>
            <a:ln w="6350">
              <a:noFill/>
              <a:miter lim="800000"/>
              <a:headEnd/>
              <a:tailEnd/>
            </a:ln>
            <a:effectLst/>
          </p:spPr>
          <p:txBody>
            <a:bodyPr vert="eaVert" wrap="none" lIns="72000" tIns="72000" rIns="72000" bIns="72000" anchor="ctr"/>
            <a:lstStyle/>
            <a:p>
              <a:pPr algn="ctr" eaLnBrk="0" hangingPunct="0"/>
              <a:endParaRPr lang="en-US" dirty="0">
                <a:solidFill>
                  <a:schemeClr val="tx1"/>
                </a:solidFill>
              </a:endParaRPr>
            </a:p>
          </p:txBody>
        </p:sp>
      </p:grpSp>
      <p:sp>
        <p:nvSpPr>
          <p:cNvPr id="18" name="Text Box 10">
            <a:extLst>
              <a:ext uri="{FF2B5EF4-FFF2-40B4-BE49-F238E27FC236}">
                <a16:creationId xmlns:a16="http://schemas.microsoft.com/office/drawing/2014/main" id="{808747B4-0422-4124-A1F4-1135277F7785}"/>
              </a:ext>
            </a:extLst>
          </p:cNvPr>
          <p:cNvSpPr txBox="1">
            <a:spLocks noChangeArrowheads="1"/>
          </p:cNvSpPr>
          <p:nvPr/>
        </p:nvSpPr>
        <p:spPr bwMode="auto">
          <a:xfrm>
            <a:off x="2414840" y="5082112"/>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ctr"/>
            <a:r>
              <a:rPr lang="en-US" b="1" cap="none" dirty="0">
                <a:solidFill>
                  <a:schemeClr val="tx1"/>
                </a:solidFill>
              </a:rPr>
              <a:t>Text</a:t>
            </a:r>
          </a:p>
        </p:txBody>
      </p:sp>
      <p:sp>
        <p:nvSpPr>
          <p:cNvPr id="19" name="Text Box 10">
            <a:extLst>
              <a:ext uri="{FF2B5EF4-FFF2-40B4-BE49-F238E27FC236}">
                <a16:creationId xmlns:a16="http://schemas.microsoft.com/office/drawing/2014/main" id="{CA76C602-30BC-4047-AE54-0EA9EF539890}"/>
              </a:ext>
            </a:extLst>
          </p:cNvPr>
          <p:cNvSpPr txBox="1">
            <a:spLocks noChangeArrowheads="1"/>
          </p:cNvSpPr>
          <p:nvPr/>
        </p:nvSpPr>
        <p:spPr bwMode="auto">
          <a:xfrm>
            <a:off x="5217802" y="5082112"/>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ctr"/>
            <a:r>
              <a:rPr lang="en-US" b="1" cap="none" dirty="0">
                <a:solidFill>
                  <a:schemeClr val="tx1"/>
                </a:solidFill>
              </a:rPr>
              <a:t>Text</a:t>
            </a:r>
          </a:p>
        </p:txBody>
      </p:sp>
      <p:sp>
        <p:nvSpPr>
          <p:cNvPr id="20" name="Text Box 10">
            <a:extLst>
              <a:ext uri="{FF2B5EF4-FFF2-40B4-BE49-F238E27FC236}">
                <a16:creationId xmlns:a16="http://schemas.microsoft.com/office/drawing/2014/main" id="{FE8AA1C3-2ABE-492F-9BFA-58B6D5855F3C}"/>
              </a:ext>
            </a:extLst>
          </p:cNvPr>
          <p:cNvSpPr txBox="1">
            <a:spLocks noChangeArrowheads="1"/>
          </p:cNvSpPr>
          <p:nvPr/>
        </p:nvSpPr>
        <p:spPr bwMode="auto">
          <a:xfrm>
            <a:off x="8020764" y="5082112"/>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ctr"/>
            <a:r>
              <a:rPr lang="en-US" b="1" cap="none" dirty="0">
                <a:solidFill>
                  <a:schemeClr val="tx1"/>
                </a:solidFill>
              </a:rPr>
              <a:t>Text</a:t>
            </a:r>
          </a:p>
        </p:txBody>
      </p:sp>
      <p:sp>
        <p:nvSpPr>
          <p:cNvPr id="5" name="Footer Placeholder 4">
            <a:extLst>
              <a:ext uri="{FF2B5EF4-FFF2-40B4-BE49-F238E27FC236}">
                <a16:creationId xmlns:a16="http://schemas.microsoft.com/office/drawing/2014/main" id="{4B946C57-8BB3-4A6C-AD82-EA9F90529A5D}"/>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EC76006C-EEAC-4E31-ACAE-AE12CB31ADB8}"/>
              </a:ext>
            </a:extLst>
          </p:cNvPr>
          <p:cNvSpPr>
            <a:spLocks noGrp="1"/>
          </p:cNvSpPr>
          <p:nvPr>
            <p:ph type="sldNum" sz="quarter" idx="10"/>
          </p:nvPr>
        </p:nvSpPr>
        <p:spPr/>
        <p:txBody>
          <a:bodyPr/>
          <a:lstStyle/>
          <a:p>
            <a:fld id="{1F90F471-3972-4120-B8B3-0237DE626C35}" type="slidenum">
              <a:rPr lang="en-US" smtClean="0"/>
              <a:pPr/>
              <a:t>185</a:t>
            </a:fld>
            <a:endParaRPr lang="en-US" dirty="0"/>
          </a:p>
        </p:txBody>
      </p:sp>
    </p:spTree>
    <p:extLst>
      <p:ext uri="{BB962C8B-B14F-4D97-AF65-F5344CB8AC3E}">
        <p14:creationId xmlns:p14="http://schemas.microsoft.com/office/powerpoint/2010/main" val="1581974968"/>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Increase 2</a:t>
            </a:r>
          </a:p>
        </p:txBody>
      </p:sp>
      <p:grpSp>
        <p:nvGrpSpPr>
          <p:cNvPr id="3" name="Group 2" descr="Increase insert text here">
            <a:extLst>
              <a:ext uri="{FF2B5EF4-FFF2-40B4-BE49-F238E27FC236}">
                <a16:creationId xmlns:a16="http://schemas.microsoft.com/office/drawing/2014/main" id="{1E572961-AFAA-4B7B-B9ED-7A1B67D268E7}"/>
              </a:ext>
            </a:extLst>
          </p:cNvPr>
          <p:cNvGrpSpPr/>
          <p:nvPr/>
        </p:nvGrpSpPr>
        <p:grpSpPr>
          <a:xfrm>
            <a:off x="2308861" y="1736724"/>
            <a:ext cx="7680960" cy="3571020"/>
            <a:chOff x="2308861" y="1736724"/>
            <a:chExt cx="7680960" cy="3571020"/>
          </a:xfrm>
        </p:grpSpPr>
        <p:sp>
          <p:nvSpPr>
            <p:cNvPr id="9" name="Arrow: Right 8">
              <a:extLst>
                <a:ext uri="{FF2B5EF4-FFF2-40B4-BE49-F238E27FC236}">
                  <a16:creationId xmlns:a16="http://schemas.microsoft.com/office/drawing/2014/main" id="{39669C00-609D-46D6-AFC2-D9A4AEBAD78A}"/>
                </a:ext>
                <a:ext uri="{C183D7F6-B498-43B3-948B-1728B52AA6E4}">
                  <adec:decorative xmlns:adec="http://schemas.microsoft.com/office/drawing/2017/decorative" val="1"/>
                </a:ext>
              </a:extLst>
            </p:cNvPr>
            <p:cNvSpPr/>
            <p:nvPr/>
          </p:nvSpPr>
          <p:spPr>
            <a:xfrm rot="20860118" flipV="1">
              <a:off x="2308861" y="1867552"/>
              <a:ext cx="7680960" cy="439345"/>
            </a:xfrm>
            <a:prstGeom prst="rightArrow">
              <a:avLst/>
            </a:prstGeom>
            <a:gradFill flip="none" rotWithShape="1">
              <a:gsLst>
                <a:gs pos="0">
                  <a:schemeClr val="accent3"/>
                </a:gs>
                <a:gs pos="100000">
                  <a:schemeClr val="accent1"/>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lt1"/>
                </a:solidFill>
              </a:endParaRPr>
            </a:p>
          </p:txBody>
        </p:sp>
        <p:sp>
          <p:nvSpPr>
            <p:cNvPr id="5" name="Text Box 10">
              <a:extLst>
                <a:ext uri="{FF2B5EF4-FFF2-40B4-BE49-F238E27FC236}">
                  <a16:creationId xmlns:a16="http://schemas.microsoft.com/office/drawing/2014/main" id="{D49CC600-5F06-4779-84CB-410936EE1C2D}"/>
                </a:ext>
              </a:extLst>
            </p:cNvPr>
            <p:cNvSpPr txBox="1">
              <a:spLocks noChangeArrowheads="1"/>
            </p:cNvSpPr>
            <p:nvPr/>
          </p:nvSpPr>
          <p:spPr bwMode="auto">
            <a:xfrm>
              <a:off x="2414841" y="4963913"/>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800" b="0" i="0" u="none" strike="noStrike" kern="1200" cap="none" spc="0" normalizeH="0" baseline="0" noProof="0" dirty="0">
                  <a:ln>
                    <a:noFill/>
                  </a:ln>
                  <a:solidFill>
                    <a:schemeClr val="accent3"/>
                  </a:solidFill>
                  <a:effectLst/>
                  <a:uLnTx/>
                  <a:uFillTx/>
                  <a:latin typeface="Arial Black"/>
                  <a:ea typeface="+mn-ea"/>
                  <a:cs typeface="+mn-cs"/>
                </a:rPr>
                <a:t>Text</a:t>
              </a:r>
            </a:p>
          </p:txBody>
        </p:sp>
        <p:cxnSp>
          <p:nvCxnSpPr>
            <p:cNvPr id="10" name="Straight Arrow Connector 9" descr="up arrow">
              <a:extLst>
                <a:ext uri="{FF2B5EF4-FFF2-40B4-BE49-F238E27FC236}">
                  <a16:creationId xmlns:a16="http://schemas.microsoft.com/office/drawing/2014/main" id="{79CFBC9F-FE4E-4FC0-9AF6-32975BA34C1D}"/>
                </a:ext>
              </a:extLst>
            </p:cNvPr>
            <p:cNvCxnSpPr/>
            <p:nvPr/>
          </p:nvCxnSpPr>
          <p:spPr>
            <a:xfrm flipV="1">
              <a:off x="3304879" y="3122022"/>
              <a:ext cx="0" cy="1803672"/>
            </a:xfrm>
            <a:prstGeom prst="straightConnector1">
              <a:avLst/>
            </a:prstGeom>
            <a:noFill/>
            <a:ln w="19050" cap="flat" cmpd="sng" algn="ctr">
              <a:solidFill>
                <a:srgbClr val="A100FF"/>
              </a:solidFill>
              <a:prstDash val="solid"/>
              <a:tailEnd type="triangle"/>
            </a:ln>
            <a:effectLst/>
          </p:spPr>
        </p:cxnSp>
        <p:sp>
          <p:nvSpPr>
            <p:cNvPr id="6" name="Text Box 10">
              <a:extLst>
                <a:ext uri="{FF2B5EF4-FFF2-40B4-BE49-F238E27FC236}">
                  <a16:creationId xmlns:a16="http://schemas.microsoft.com/office/drawing/2014/main" id="{048F45E9-8F49-45B4-A867-234076F5BA17}"/>
                </a:ext>
              </a:extLst>
            </p:cNvPr>
            <p:cNvSpPr txBox="1">
              <a:spLocks noChangeArrowheads="1"/>
            </p:cNvSpPr>
            <p:nvPr/>
          </p:nvSpPr>
          <p:spPr bwMode="auto">
            <a:xfrm>
              <a:off x="5217803" y="4963913"/>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800" b="0" i="0" u="none" strike="noStrike" kern="1200" cap="none" spc="0" normalizeH="0" baseline="0" noProof="0" dirty="0">
                  <a:ln>
                    <a:noFill/>
                  </a:ln>
                  <a:solidFill>
                    <a:schemeClr val="accent2"/>
                  </a:solidFill>
                  <a:effectLst/>
                  <a:uLnTx/>
                  <a:uFillTx/>
                  <a:latin typeface="Arial Black"/>
                  <a:ea typeface="+mn-ea"/>
                  <a:cs typeface="+mn-cs"/>
                </a:rPr>
                <a:t>Text</a:t>
              </a:r>
            </a:p>
          </p:txBody>
        </p:sp>
        <p:cxnSp>
          <p:nvCxnSpPr>
            <p:cNvPr id="11" name="Straight Arrow Connector 10" descr="up arrow">
              <a:extLst>
                <a:ext uri="{FF2B5EF4-FFF2-40B4-BE49-F238E27FC236}">
                  <a16:creationId xmlns:a16="http://schemas.microsoft.com/office/drawing/2014/main" id="{65032183-23C4-408A-8F8F-B239F8D981B0}"/>
                </a:ext>
              </a:extLst>
            </p:cNvPr>
            <p:cNvCxnSpPr/>
            <p:nvPr/>
          </p:nvCxnSpPr>
          <p:spPr>
            <a:xfrm flipV="1">
              <a:off x="6107841" y="2319654"/>
              <a:ext cx="0" cy="2606040"/>
            </a:xfrm>
            <a:prstGeom prst="straightConnector1">
              <a:avLst/>
            </a:prstGeom>
            <a:noFill/>
            <a:ln w="19050" cap="flat" cmpd="sng" algn="ctr">
              <a:solidFill>
                <a:schemeClr val="accent2"/>
              </a:solidFill>
              <a:prstDash val="solid"/>
              <a:tailEnd type="triangle"/>
            </a:ln>
            <a:effectLst/>
          </p:spPr>
        </p:cxnSp>
        <p:sp>
          <p:nvSpPr>
            <p:cNvPr id="7" name="Text Box 10">
              <a:extLst>
                <a:ext uri="{FF2B5EF4-FFF2-40B4-BE49-F238E27FC236}">
                  <a16:creationId xmlns:a16="http://schemas.microsoft.com/office/drawing/2014/main" id="{17E7A0BD-F7DE-496D-A005-BD04EF3A4996}"/>
                </a:ext>
              </a:extLst>
            </p:cNvPr>
            <p:cNvSpPr txBox="1">
              <a:spLocks noChangeArrowheads="1"/>
            </p:cNvSpPr>
            <p:nvPr/>
          </p:nvSpPr>
          <p:spPr bwMode="auto">
            <a:xfrm>
              <a:off x="8020765" y="4963913"/>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800" b="0" i="0" u="none" strike="noStrike" kern="1200" cap="none" spc="0" normalizeH="0" baseline="0" noProof="0" dirty="0">
                  <a:ln>
                    <a:noFill/>
                  </a:ln>
                  <a:effectLst/>
                  <a:uLnTx/>
                  <a:uFillTx/>
                  <a:latin typeface="Arial Black"/>
                  <a:ea typeface="+mn-ea"/>
                  <a:cs typeface="+mn-cs"/>
                </a:rPr>
                <a:t>Text</a:t>
              </a:r>
            </a:p>
          </p:txBody>
        </p:sp>
        <p:cxnSp>
          <p:nvCxnSpPr>
            <p:cNvPr id="12" name="Straight Arrow Connector 11" descr="up arrow">
              <a:extLst>
                <a:ext uri="{FF2B5EF4-FFF2-40B4-BE49-F238E27FC236}">
                  <a16:creationId xmlns:a16="http://schemas.microsoft.com/office/drawing/2014/main" id="{6C2DDF66-417C-4F9D-8711-001C28153F3D}"/>
                </a:ext>
              </a:extLst>
            </p:cNvPr>
            <p:cNvCxnSpPr/>
            <p:nvPr/>
          </p:nvCxnSpPr>
          <p:spPr>
            <a:xfrm flipV="1">
              <a:off x="8910803" y="1736724"/>
              <a:ext cx="0" cy="3188970"/>
            </a:xfrm>
            <a:prstGeom prst="straightConnector1">
              <a:avLst/>
            </a:prstGeom>
            <a:noFill/>
            <a:ln w="19050" cap="flat" cmpd="sng" algn="ctr">
              <a:solidFill>
                <a:schemeClr val="accent1"/>
              </a:solidFill>
              <a:prstDash val="solid"/>
              <a:tailEnd type="triangle"/>
            </a:ln>
            <a:effectLst/>
          </p:spPr>
        </p:cxnSp>
      </p:grpSp>
      <p:sp>
        <p:nvSpPr>
          <p:cNvPr id="8" name="Footer Placeholder 7">
            <a:extLst>
              <a:ext uri="{FF2B5EF4-FFF2-40B4-BE49-F238E27FC236}">
                <a16:creationId xmlns:a16="http://schemas.microsoft.com/office/drawing/2014/main" id="{E987A470-B84D-44AC-9A5A-C0DC073E89F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4" name="Slide Number Placeholder 13">
            <a:extLst>
              <a:ext uri="{FF2B5EF4-FFF2-40B4-BE49-F238E27FC236}">
                <a16:creationId xmlns:a16="http://schemas.microsoft.com/office/drawing/2014/main" id="{76272A82-98B1-4C92-9D6F-99E0A8564B0A}"/>
              </a:ext>
            </a:extLst>
          </p:cNvPr>
          <p:cNvSpPr>
            <a:spLocks noGrp="1"/>
          </p:cNvSpPr>
          <p:nvPr>
            <p:ph type="sldNum" sz="quarter" idx="10"/>
          </p:nvPr>
        </p:nvSpPr>
        <p:spPr/>
        <p:txBody>
          <a:bodyPr/>
          <a:lstStyle/>
          <a:p>
            <a:fld id="{1F90F471-3972-4120-B8B3-0237DE626C35}" type="slidenum">
              <a:rPr lang="en-US" smtClean="0"/>
              <a:pPr/>
              <a:t>186</a:t>
            </a:fld>
            <a:endParaRPr lang="en-US" dirty="0"/>
          </a:p>
        </p:txBody>
      </p:sp>
    </p:spTree>
    <p:extLst>
      <p:ext uri="{BB962C8B-B14F-4D97-AF65-F5344CB8AC3E}">
        <p14:creationId xmlns:p14="http://schemas.microsoft.com/office/powerpoint/2010/main" val="3641653795"/>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4E5B9E6-D552-48C5-824D-E60A4F821B04}"/>
              </a:ext>
            </a:extLst>
          </p:cNvPr>
          <p:cNvSpPr>
            <a:spLocks noGrp="1"/>
          </p:cNvSpPr>
          <p:nvPr>
            <p:ph type="title"/>
          </p:nvPr>
        </p:nvSpPr>
        <p:spPr/>
        <p:txBody>
          <a:bodyPr/>
          <a:lstStyle/>
          <a:p>
            <a:r>
              <a:rPr lang="en-US" dirty="0"/>
              <a:t>Processes</a:t>
            </a:r>
          </a:p>
        </p:txBody>
      </p:sp>
      <p:sp>
        <p:nvSpPr>
          <p:cNvPr id="10" name="Freeform: Shape 9" descr="Add text and order accordingly">
            <a:hlinkClick r:id="rId2" action="ppaction://hlinksldjump" tooltip="Return to Index"/>
            <a:extLst>
              <a:ext uri="{FF2B5EF4-FFF2-40B4-BE49-F238E27FC236}">
                <a16:creationId xmlns:a16="http://schemas.microsoft.com/office/drawing/2014/main" id="{7F1FB234-68F0-4CF3-B471-EDBA28C0B908}"/>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ext Placeholder 1">
            <a:extLst>
              <a:ext uri="{FF2B5EF4-FFF2-40B4-BE49-F238E27FC236}">
                <a16:creationId xmlns:a16="http://schemas.microsoft.com/office/drawing/2014/main" id="{14A22E63-A672-45C2-BA93-140939E871CE}"/>
              </a:ext>
            </a:extLst>
          </p:cNvPr>
          <p:cNvSpPr>
            <a:spLocks noGrp="1"/>
          </p:cNvSpPr>
          <p:nvPr>
            <p:ph type="body" sz="quarter" idx="16"/>
          </p:nvPr>
        </p:nvSpPr>
        <p:spPr>
          <a:xfrm>
            <a:off x="1143000" y="4610099"/>
            <a:ext cx="9144000" cy="1474215"/>
          </a:xfrm>
        </p:spPr>
        <p:txBody>
          <a:bodyPr numCol="2"/>
          <a:lstStyle/>
          <a:p>
            <a:r>
              <a:rPr lang="en-GB" dirty="0">
                <a:hlinkClick r:id="rId3" action="ppaction://hlinksldjump">
                  <a:extLst>
                    <a:ext uri="{A12FA001-AC4F-418D-AE19-62706E023703}">
                      <ahyp:hlinkClr xmlns:ahyp="http://schemas.microsoft.com/office/drawing/2018/hyperlinkcolor" val="tx"/>
                    </a:ext>
                  </a:extLst>
                </a:hlinkClick>
              </a:rPr>
              <a:t>Linear Flows</a:t>
            </a:r>
            <a:endParaRPr lang="en-GB" dirty="0"/>
          </a:p>
          <a:p>
            <a:r>
              <a:rPr lang="en-GB" dirty="0">
                <a:hlinkClick r:id="rId4" action="ppaction://hlinksldjump">
                  <a:extLst>
                    <a:ext uri="{A12FA001-AC4F-418D-AE19-62706E023703}">
                      <ahyp:hlinkClr xmlns:ahyp="http://schemas.microsoft.com/office/drawing/2018/hyperlinkcolor" val="tx"/>
                    </a:ext>
                  </a:extLst>
                </a:hlinkClick>
              </a:rPr>
              <a:t>Issue to Outcome Flows</a:t>
            </a:r>
            <a:endParaRPr lang="en-GB" dirty="0"/>
          </a:p>
          <a:p>
            <a:r>
              <a:rPr lang="en-GB" dirty="0">
                <a:hlinkClick r:id="rId5" action="ppaction://hlinksldjump">
                  <a:extLst>
                    <a:ext uri="{A12FA001-AC4F-418D-AE19-62706E023703}">
                      <ahyp:hlinkClr xmlns:ahyp="http://schemas.microsoft.com/office/drawing/2018/hyperlinkcolor" val="tx"/>
                    </a:ext>
                  </a:extLst>
                </a:hlinkClick>
              </a:rPr>
              <a:t>Circular Flows</a:t>
            </a:r>
            <a:endParaRPr lang="en-GB" dirty="0"/>
          </a:p>
        </p:txBody>
      </p:sp>
      <p:sp>
        <p:nvSpPr>
          <p:cNvPr id="5" name="Footer Placeholder 4">
            <a:extLst>
              <a:ext uri="{FF2B5EF4-FFF2-40B4-BE49-F238E27FC236}">
                <a16:creationId xmlns:a16="http://schemas.microsoft.com/office/drawing/2014/main" id="{66739FAD-9146-4526-8212-A89B05AAB9FD}"/>
              </a:ext>
            </a:extLst>
          </p:cNvPr>
          <p:cNvSpPr>
            <a:spLocks noGrp="1"/>
          </p:cNvSpPr>
          <p:nvPr>
            <p:ph type="ftr" sz="quarter" idx="18"/>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03186AE4-1B64-4DEA-AB86-F8FF234B71C8}"/>
              </a:ext>
            </a:extLst>
          </p:cNvPr>
          <p:cNvSpPr>
            <a:spLocks noGrp="1"/>
          </p:cNvSpPr>
          <p:nvPr>
            <p:ph type="sldNum" sz="quarter" idx="19"/>
          </p:nvPr>
        </p:nvSpPr>
        <p:spPr/>
        <p:txBody>
          <a:bodyPr/>
          <a:lstStyle/>
          <a:p>
            <a:fld id="{1F90F471-3972-4120-B8B3-0237DE626C35}" type="slidenum">
              <a:rPr lang="en-US" smtClean="0"/>
              <a:pPr/>
              <a:t>187</a:t>
            </a:fld>
            <a:endParaRPr lang="en-US" dirty="0"/>
          </a:p>
        </p:txBody>
      </p:sp>
    </p:spTree>
    <p:extLst>
      <p:ext uri="{BB962C8B-B14F-4D97-AF65-F5344CB8AC3E}">
        <p14:creationId xmlns:p14="http://schemas.microsoft.com/office/powerpoint/2010/main" val="4214695948"/>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7C4124B-B9D5-4FB9-AA46-3262DD2B40DB}"/>
              </a:ext>
            </a:extLst>
          </p:cNvPr>
          <p:cNvSpPr>
            <a:spLocks noGrp="1"/>
          </p:cNvSpPr>
          <p:nvPr>
            <p:ph type="title"/>
          </p:nvPr>
        </p:nvSpPr>
        <p:spPr/>
        <p:txBody>
          <a:bodyPr/>
          <a:lstStyle/>
          <a:p>
            <a:r>
              <a:rPr lang="en-US" dirty="0"/>
              <a:t>Linear Flows</a:t>
            </a:r>
          </a:p>
        </p:txBody>
      </p:sp>
      <p:sp>
        <p:nvSpPr>
          <p:cNvPr id="10" name="Freeform: Shape 9" descr="Add text and order accordingly">
            <a:hlinkClick r:id="rId2" action="ppaction://hlinksldjump" tooltip="Return to Index"/>
            <a:extLst>
              <a:ext uri="{FF2B5EF4-FFF2-40B4-BE49-F238E27FC236}">
                <a16:creationId xmlns:a16="http://schemas.microsoft.com/office/drawing/2014/main" id="{0DE3F75C-CF1B-47BB-A358-FF97AF03C85D}"/>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 Placeholder 8">
            <a:extLst>
              <a:ext uri="{FF2B5EF4-FFF2-40B4-BE49-F238E27FC236}">
                <a16:creationId xmlns:a16="http://schemas.microsoft.com/office/drawing/2014/main" id="{1265ADBE-657A-4DC7-A6A6-2F0E697C4723}"/>
              </a:ext>
            </a:extLst>
          </p:cNvPr>
          <p:cNvSpPr>
            <a:spLocks noGrp="1"/>
          </p:cNvSpPr>
          <p:nvPr>
            <p:ph type="body" sz="quarter" idx="15"/>
          </p:nvPr>
        </p:nvSpPr>
        <p:spPr/>
        <p:txBody>
          <a:bodyPr/>
          <a:lstStyle/>
          <a:p>
            <a:r>
              <a:rPr lang="en-US" dirty="0"/>
              <a:t>Part of </a:t>
            </a:r>
            <a:r>
              <a:rPr lang="en-US" dirty="0">
                <a:hlinkClick r:id="rId3" action="ppaction://hlinksldjump">
                  <a:extLst>
                    <a:ext uri="{A12FA001-AC4F-418D-AE19-62706E023703}">
                      <ahyp:hlinkClr xmlns:ahyp="http://schemas.microsoft.com/office/drawing/2018/hyperlinkcolor" val="tx"/>
                    </a:ext>
                  </a:extLst>
                </a:hlinkClick>
              </a:rPr>
              <a:t>Processes</a:t>
            </a:r>
            <a:endParaRPr lang="en-US" dirty="0"/>
          </a:p>
        </p:txBody>
      </p:sp>
      <p:sp>
        <p:nvSpPr>
          <p:cNvPr id="5" name="Footer Placeholder 4">
            <a:extLst>
              <a:ext uri="{FF2B5EF4-FFF2-40B4-BE49-F238E27FC236}">
                <a16:creationId xmlns:a16="http://schemas.microsoft.com/office/drawing/2014/main" id="{9DC78945-A645-4563-BCA9-927812C9C4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BEE2891-AE3F-4D8A-B562-5662B242B3DF}"/>
              </a:ext>
            </a:extLst>
          </p:cNvPr>
          <p:cNvSpPr>
            <a:spLocks noGrp="1"/>
          </p:cNvSpPr>
          <p:nvPr>
            <p:ph type="sldNum" sz="quarter" idx="17"/>
          </p:nvPr>
        </p:nvSpPr>
        <p:spPr/>
        <p:txBody>
          <a:bodyPr/>
          <a:lstStyle/>
          <a:p>
            <a:fld id="{1F90F471-3972-4120-B8B3-0237DE626C35}" type="slidenum">
              <a:rPr lang="en-US" smtClean="0"/>
              <a:pPr/>
              <a:t>188</a:t>
            </a:fld>
            <a:endParaRPr lang="en-US" dirty="0"/>
          </a:p>
        </p:txBody>
      </p:sp>
    </p:spTree>
    <p:extLst>
      <p:ext uri="{BB962C8B-B14F-4D97-AF65-F5344CB8AC3E}">
        <p14:creationId xmlns:p14="http://schemas.microsoft.com/office/powerpoint/2010/main" val="178653700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Linear Flow 1</a:t>
            </a:r>
          </a:p>
        </p:txBody>
      </p:sp>
      <p:sp>
        <p:nvSpPr>
          <p:cNvPr id="12" name="AutoShape 5">
            <a:extLst>
              <a:ext uri="{FF2B5EF4-FFF2-40B4-BE49-F238E27FC236}">
                <a16:creationId xmlns:a16="http://schemas.microsoft.com/office/drawing/2014/main" id="{A1441FC2-8DE4-4F74-8545-87F4525BB05B}"/>
              </a:ext>
            </a:extLst>
          </p:cNvPr>
          <p:cNvSpPr>
            <a:spLocks noChangeArrowheads="1"/>
          </p:cNvSpPr>
          <p:nvPr/>
        </p:nvSpPr>
        <p:spPr bwMode="auto">
          <a:xfrm>
            <a:off x="345018" y="2185102"/>
            <a:ext cx="3960000" cy="1766918"/>
          </a:xfrm>
          <a:prstGeom prst="homePlate">
            <a:avLst>
              <a:gd name="adj" fmla="val 16553"/>
            </a:avLst>
          </a:prstGeom>
          <a:solidFill>
            <a:schemeClr val="tx2">
              <a:lumMod val="20000"/>
              <a:lumOff val="80000"/>
            </a:schemeClr>
          </a:solidFill>
          <a:ln w="6350">
            <a:noFill/>
            <a:miter lim="800000"/>
            <a:headEnd/>
            <a:tailEnd/>
          </a:ln>
          <a:effectLst/>
        </p:spPr>
        <p:txBody>
          <a:bodyPr wrap="square" lIns="180000" tIns="108000" rIns="108000" bIns="72000" anchor="t" anchorCtr="0"/>
          <a:lstStyle/>
          <a:p>
            <a:pPr algn="l" eaLnBrk="0" hangingPunct="0"/>
            <a:r>
              <a:rPr lang="en-US" dirty="0">
                <a:solidFill>
                  <a:schemeClr val="tx1"/>
                </a:solidFill>
              </a:rPr>
              <a:t>Text</a:t>
            </a:r>
          </a:p>
        </p:txBody>
      </p:sp>
      <p:sp>
        <p:nvSpPr>
          <p:cNvPr id="14" name="AutoShape 6">
            <a:extLst>
              <a:ext uri="{FF2B5EF4-FFF2-40B4-BE49-F238E27FC236}">
                <a16:creationId xmlns:a16="http://schemas.microsoft.com/office/drawing/2014/main" id="{D531378D-F453-45A5-9004-8D4D25D141B8}"/>
              </a:ext>
            </a:extLst>
          </p:cNvPr>
          <p:cNvSpPr>
            <a:spLocks noChangeAspect="1" noChangeArrowheads="1"/>
          </p:cNvSpPr>
          <p:nvPr/>
        </p:nvSpPr>
        <p:spPr bwMode="auto">
          <a:xfrm>
            <a:off x="4015754" y="1777072"/>
            <a:ext cx="4032000" cy="2582978"/>
          </a:xfrm>
          <a:prstGeom prst="chevron">
            <a:avLst>
              <a:gd name="adj" fmla="val 15929"/>
            </a:avLst>
          </a:prstGeom>
          <a:solidFill>
            <a:schemeClr val="accent2"/>
          </a:solidFill>
          <a:ln w="6350">
            <a:noFill/>
            <a:miter lim="800000"/>
            <a:headEnd/>
            <a:tailEnd/>
          </a:ln>
          <a:effectLst/>
        </p:spPr>
        <p:txBody>
          <a:bodyPr lIns="72000" tIns="486000" rIns="72000" bIns="72000"/>
          <a:lstStyle/>
          <a:p>
            <a:pPr algn="l" eaLnBrk="0" hangingPunct="0"/>
            <a:r>
              <a:rPr lang="en-US" b="1">
                <a:solidFill>
                  <a:schemeClr val="bg1"/>
                </a:solidFill>
              </a:rPr>
              <a:t>Text</a:t>
            </a:r>
          </a:p>
        </p:txBody>
      </p:sp>
      <p:sp>
        <p:nvSpPr>
          <p:cNvPr id="16" name="Text Box 7">
            <a:extLst>
              <a:ext uri="{FF2B5EF4-FFF2-40B4-BE49-F238E27FC236}">
                <a16:creationId xmlns:a16="http://schemas.microsoft.com/office/drawing/2014/main" id="{288BDAA2-F566-411F-AD9C-DD3E9F49CBB7}"/>
              </a:ext>
            </a:extLst>
          </p:cNvPr>
          <p:cNvSpPr txBox="1">
            <a:spLocks noChangeArrowheads="1"/>
          </p:cNvSpPr>
          <p:nvPr/>
        </p:nvSpPr>
        <p:spPr bwMode="auto">
          <a:xfrm>
            <a:off x="514348" y="4480561"/>
            <a:ext cx="3240615" cy="1548599"/>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dirty="0">
                <a:solidFill>
                  <a:schemeClr val="tx1"/>
                </a:solidFill>
              </a:rPr>
              <a:t>Text </a:t>
            </a:r>
          </a:p>
          <a:p>
            <a:pPr marL="179388" indent="-179388" eaLnBrk="0" hangingPunct="0">
              <a:spcBef>
                <a:spcPts val="100"/>
              </a:spcBef>
              <a:spcAft>
                <a:spcPts val="100"/>
              </a:spcAft>
              <a:buClr>
                <a:schemeClr val="tx1"/>
              </a:buClr>
              <a:buFontTx/>
              <a:buChar char="•"/>
            </a:pPr>
            <a:r>
              <a:rPr lang="en-US" sz="1400" dirty="0"/>
              <a:t>Text </a:t>
            </a:r>
          </a:p>
          <a:p>
            <a:pPr marL="179388" indent="-179388" eaLnBrk="0" hangingPunct="0">
              <a:spcBef>
                <a:spcPts val="100"/>
              </a:spcBef>
              <a:spcAft>
                <a:spcPts val="100"/>
              </a:spcAft>
              <a:buClr>
                <a:schemeClr val="tx1"/>
              </a:buClr>
              <a:buFontTx/>
              <a:buChar char="•"/>
            </a:pPr>
            <a:r>
              <a:rPr lang="en-US" sz="1400" dirty="0"/>
              <a:t>Text </a:t>
            </a:r>
          </a:p>
        </p:txBody>
      </p:sp>
      <p:sp>
        <p:nvSpPr>
          <p:cNvPr id="18" name="Arrow: Chevron 17">
            <a:extLst>
              <a:ext uri="{FF2B5EF4-FFF2-40B4-BE49-F238E27FC236}">
                <a16:creationId xmlns:a16="http://schemas.microsoft.com/office/drawing/2014/main" id="{82F097C8-1AF3-4AF0-B2F1-585036C47B43}"/>
              </a:ext>
            </a:extLst>
          </p:cNvPr>
          <p:cNvSpPr/>
          <p:nvPr/>
        </p:nvSpPr>
        <p:spPr>
          <a:xfrm>
            <a:off x="7893862" y="2185102"/>
            <a:ext cx="3961588" cy="1766918"/>
          </a:xfrm>
          <a:prstGeom prst="chevron">
            <a:avLst>
              <a:gd name="adj" fmla="val 15715"/>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72000" rtlCol="0" anchor="t" anchorCtr="0"/>
          <a:lstStyle/>
          <a:p>
            <a:pPr eaLnBrk="0" hangingPunct="0"/>
            <a:r>
              <a:rPr lang="en-US">
                <a:solidFill>
                  <a:schemeClr val="tx1"/>
                </a:solidFill>
              </a:rPr>
              <a:t>Text</a:t>
            </a:r>
            <a:endParaRPr lang="en-US" dirty="0">
              <a:solidFill>
                <a:schemeClr val="tx1"/>
              </a:solidFill>
            </a:endParaRPr>
          </a:p>
        </p:txBody>
      </p:sp>
      <p:sp>
        <p:nvSpPr>
          <p:cNvPr id="20" name="Text Box 7">
            <a:extLst>
              <a:ext uri="{FF2B5EF4-FFF2-40B4-BE49-F238E27FC236}">
                <a16:creationId xmlns:a16="http://schemas.microsoft.com/office/drawing/2014/main" id="{4646B0CB-38B0-437E-B5B8-EFD763BFD5A9}"/>
              </a:ext>
            </a:extLst>
          </p:cNvPr>
          <p:cNvSpPr txBox="1">
            <a:spLocks noChangeArrowheads="1"/>
          </p:cNvSpPr>
          <p:nvPr/>
        </p:nvSpPr>
        <p:spPr bwMode="auto">
          <a:xfrm>
            <a:off x="4514850" y="4480560"/>
            <a:ext cx="3120390" cy="1577340"/>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dirty="0">
                <a:solidFill>
                  <a:schemeClr val="tx1"/>
                </a:solidFill>
              </a:rPr>
              <a:t>Text </a:t>
            </a:r>
          </a:p>
          <a:p>
            <a:pPr marL="179388" indent="-179388" eaLnBrk="0" hangingPunct="0">
              <a:spcBef>
                <a:spcPts val="100"/>
              </a:spcBef>
              <a:spcAft>
                <a:spcPts val="100"/>
              </a:spcAft>
              <a:buClr>
                <a:schemeClr val="tx1"/>
              </a:buClr>
              <a:buFontTx/>
              <a:buChar char="•"/>
            </a:pPr>
            <a:r>
              <a:rPr lang="en-US" sz="1400" dirty="0"/>
              <a:t>Text </a:t>
            </a:r>
          </a:p>
          <a:p>
            <a:pPr marL="179388" indent="-179388" eaLnBrk="0" hangingPunct="0">
              <a:spcBef>
                <a:spcPts val="100"/>
              </a:spcBef>
              <a:spcAft>
                <a:spcPts val="100"/>
              </a:spcAft>
              <a:buClr>
                <a:schemeClr val="tx1"/>
              </a:buClr>
              <a:buFontTx/>
              <a:buChar char="•"/>
            </a:pPr>
            <a:r>
              <a:rPr lang="en-US" sz="1400" dirty="0"/>
              <a:t>Text </a:t>
            </a:r>
          </a:p>
        </p:txBody>
      </p:sp>
      <p:sp>
        <p:nvSpPr>
          <p:cNvPr id="22" name="Text Box 7">
            <a:extLst>
              <a:ext uri="{FF2B5EF4-FFF2-40B4-BE49-F238E27FC236}">
                <a16:creationId xmlns:a16="http://schemas.microsoft.com/office/drawing/2014/main" id="{16F594C7-FCBF-4C89-9AA8-38892E4DC9A7}"/>
              </a:ext>
            </a:extLst>
          </p:cNvPr>
          <p:cNvSpPr txBox="1">
            <a:spLocks noChangeArrowheads="1"/>
          </p:cNvSpPr>
          <p:nvPr/>
        </p:nvSpPr>
        <p:spPr bwMode="auto">
          <a:xfrm>
            <a:off x="8355329" y="4480560"/>
            <a:ext cx="2958531" cy="1577340"/>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dirty="0">
                <a:solidFill>
                  <a:schemeClr val="tx1"/>
                </a:solidFill>
              </a:rPr>
              <a:t>Text </a:t>
            </a:r>
          </a:p>
          <a:p>
            <a:pPr marL="179388" indent="-179388" eaLnBrk="0" hangingPunct="0">
              <a:spcBef>
                <a:spcPts val="100"/>
              </a:spcBef>
              <a:spcAft>
                <a:spcPts val="100"/>
              </a:spcAft>
              <a:buClr>
                <a:schemeClr val="tx1"/>
              </a:buClr>
              <a:buFontTx/>
              <a:buChar char="•"/>
            </a:pPr>
            <a:r>
              <a:rPr lang="en-US" sz="1400" dirty="0"/>
              <a:t>Text </a:t>
            </a:r>
          </a:p>
          <a:p>
            <a:pPr marL="179388" indent="-179388" eaLnBrk="0" hangingPunct="0">
              <a:spcBef>
                <a:spcPts val="100"/>
              </a:spcBef>
              <a:spcAft>
                <a:spcPts val="100"/>
              </a:spcAft>
              <a:buClr>
                <a:schemeClr val="tx1"/>
              </a:buClr>
              <a:buFontTx/>
              <a:buChar char="•"/>
            </a:pPr>
            <a:r>
              <a:rPr lang="en-US" sz="1400" dirty="0"/>
              <a:t>Text </a:t>
            </a:r>
          </a:p>
        </p:txBody>
      </p:sp>
      <p:sp>
        <p:nvSpPr>
          <p:cNvPr id="5" name="Footer Placeholder 4">
            <a:extLst>
              <a:ext uri="{FF2B5EF4-FFF2-40B4-BE49-F238E27FC236}">
                <a16:creationId xmlns:a16="http://schemas.microsoft.com/office/drawing/2014/main" id="{9EBA4347-B1CC-4815-BFB0-1B397644276E}"/>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C17418BD-A40D-4F6A-AF54-5CC84D486508}"/>
              </a:ext>
            </a:extLst>
          </p:cNvPr>
          <p:cNvSpPr>
            <a:spLocks noGrp="1"/>
          </p:cNvSpPr>
          <p:nvPr>
            <p:ph type="sldNum" sz="quarter" idx="10"/>
          </p:nvPr>
        </p:nvSpPr>
        <p:spPr/>
        <p:txBody>
          <a:bodyPr/>
          <a:lstStyle/>
          <a:p>
            <a:fld id="{1F90F471-3972-4120-B8B3-0237DE626C35}" type="slidenum">
              <a:rPr lang="en-US" smtClean="0"/>
              <a:pPr/>
              <a:t>189</a:t>
            </a:fld>
            <a:endParaRPr lang="en-US" dirty="0"/>
          </a:p>
        </p:txBody>
      </p:sp>
    </p:spTree>
    <p:extLst>
      <p:ext uri="{BB962C8B-B14F-4D97-AF65-F5344CB8AC3E}">
        <p14:creationId xmlns:p14="http://schemas.microsoft.com/office/powerpoint/2010/main" val="27169273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All informative images must include a description for screen readers. All informative images must include a description for screen readers. If descriptive information is available in nearby text, it should not be repeated in the alt text for an image.">
            <a:extLst>
              <a:ext uri="{FF2B5EF4-FFF2-40B4-BE49-F238E27FC236}">
                <a16:creationId xmlns:a16="http://schemas.microsoft.com/office/drawing/2014/main" id="{81B925E5-8E8B-48F5-B47A-FA819A8A17F3}"/>
              </a:ext>
              <a:ext uri="{C183D7F6-B498-43B3-948B-1728B52AA6E4}">
                <adec:decorative xmlns:adec="http://schemas.microsoft.com/office/drawing/2017/decorative" val="0"/>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74" r="74"/>
          <a:stretch>
            <a:fillRect/>
          </a:stretch>
        </p:blipFill>
        <p:spPr>
          <a:xfrm>
            <a:off x="-7938" y="-9525"/>
            <a:ext cx="12207876" cy="6877050"/>
          </a:xfrm>
          <a:prstGeom prst="rect">
            <a:avLst/>
          </a:prstGeom>
        </p:spPr>
      </p:pic>
      <p:sp>
        <p:nvSpPr>
          <p:cNvPr id="3" name="Title 2">
            <a:extLst>
              <a:ext uri="{FF2B5EF4-FFF2-40B4-BE49-F238E27FC236}">
                <a16:creationId xmlns:a16="http://schemas.microsoft.com/office/drawing/2014/main" id="{D46328CF-B099-44EE-8063-165B7FFA4898}"/>
              </a:ext>
            </a:extLst>
          </p:cNvPr>
          <p:cNvSpPr>
            <a:spLocks noGrp="1"/>
          </p:cNvSpPr>
          <p:nvPr>
            <p:ph type="title"/>
          </p:nvPr>
        </p:nvSpPr>
        <p:spPr/>
        <p:txBody>
          <a:bodyPr/>
          <a:lstStyle/>
          <a:p>
            <a:r>
              <a:rPr lang="en-US" dirty="0"/>
              <a:t>Insert Salutation 72pt </a:t>
            </a:r>
          </a:p>
        </p:txBody>
      </p:sp>
      <p:sp>
        <p:nvSpPr>
          <p:cNvPr id="5" name="GTS_WH" descr="Accenture Logo. Note: Can be marked as decorative also.">
            <a:extLst>
              <a:ext uri="{FF2B5EF4-FFF2-40B4-BE49-F238E27FC236}">
                <a16:creationId xmlns:a16="http://schemas.microsoft.com/office/drawing/2014/main" id="{49DE8C35-9CAC-4BA9-AA12-935A53606C54}"/>
              </a:ext>
              <a:ext uri="{C183D7F6-B498-43B3-948B-1728B52AA6E4}">
                <adec:decorative xmlns:adec="http://schemas.microsoft.com/office/drawing/2017/decorative" val="0"/>
              </a:ext>
            </a:extLst>
          </p:cNvPr>
          <p:cNvSpPr>
            <a:spLocks noChangeAspect="1"/>
          </p:cNvSpPr>
          <p:nvPr/>
        </p:nvSpPr>
        <p:spPr bwMode="black">
          <a:xfrm>
            <a:off x="380999" y="5607812"/>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43891451"/>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Linear Flow 2</a:t>
            </a:r>
          </a:p>
        </p:txBody>
      </p:sp>
      <p:sp>
        <p:nvSpPr>
          <p:cNvPr id="17" name="AutoShape 5">
            <a:extLst>
              <a:ext uri="{FF2B5EF4-FFF2-40B4-BE49-F238E27FC236}">
                <a16:creationId xmlns:a16="http://schemas.microsoft.com/office/drawing/2014/main" id="{822D7F20-B6FD-4A36-8974-A7278BB3A10C}"/>
              </a:ext>
            </a:extLst>
          </p:cNvPr>
          <p:cNvSpPr>
            <a:spLocks noChangeArrowheads="1"/>
          </p:cNvSpPr>
          <p:nvPr/>
        </p:nvSpPr>
        <p:spPr bwMode="auto">
          <a:xfrm>
            <a:off x="337788" y="2162040"/>
            <a:ext cx="3012015" cy="1766918"/>
          </a:xfrm>
          <a:prstGeom prst="homePlate">
            <a:avLst>
              <a:gd name="adj" fmla="val 16553"/>
            </a:avLst>
          </a:prstGeom>
          <a:solidFill>
            <a:schemeClr val="tx2">
              <a:lumMod val="20000"/>
              <a:lumOff val="80000"/>
            </a:schemeClr>
          </a:solidFill>
          <a:ln w="6350">
            <a:noFill/>
            <a:miter lim="800000"/>
            <a:headEnd/>
            <a:tailEnd/>
          </a:ln>
          <a:effectLst/>
        </p:spPr>
        <p:txBody>
          <a:bodyPr wrap="square" lIns="180000" tIns="108000" rIns="108000" bIns="72000" anchor="t" anchorCtr="0"/>
          <a:lstStyle/>
          <a:p>
            <a:pPr algn="l" eaLnBrk="0" hangingPunct="0"/>
            <a:r>
              <a:rPr lang="en-US" dirty="0">
                <a:solidFill>
                  <a:schemeClr val="tx1"/>
                </a:solidFill>
              </a:rPr>
              <a:t>Text</a:t>
            </a:r>
          </a:p>
        </p:txBody>
      </p:sp>
      <p:sp>
        <p:nvSpPr>
          <p:cNvPr id="18" name="AutoShape 6">
            <a:extLst>
              <a:ext uri="{FF2B5EF4-FFF2-40B4-BE49-F238E27FC236}">
                <a16:creationId xmlns:a16="http://schemas.microsoft.com/office/drawing/2014/main" id="{6430E63B-1D0D-420D-B90F-AD6168AA446B}"/>
              </a:ext>
            </a:extLst>
          </p:cNvPr>
          <p:cNvSpPr>
            <a:spLocks noChangeAspect="1" noChangeArrowheads="1"/>
          </p:cNvSpPr>
          <p:nvPr/>
        </p:nvSpPr>
        <p:spPr bwMode="auto">
          <a:xfrm>
            <a:off x="3061778" y="1754010"/>
            <a:ext cx="3066780" cy="2582978"/>
          </a:xfrm>
          <a:prstGeom prst="chevron">
            <a:avLst>
              <a:gd name="adj" fmla="val 15929"/>
            </a:avLst>
          </a:prstGeom>
          <a:solidFill>
            <a:schemeClr val="accent2"/>
          </a:solidFill>
          <a:ln w="6350">
            <a:noFill/>
            <a:miter lim="800000"/>
            <a:headEnd/>
            <a:tailEnd/>
          </a:ln>
          <a:effectLst/>
        </p:spPr>
        <p:txBody>
          <a:bodyPr lIns="72000" tIns="486000" rIns="72000" bIns="72000"/>
          <a:lstStyle/>
          <a:p>
            <a:pPr algn="l" eaLnBrk="0" hangingPunct="0"/>
            <a:r>
              <a:rPr lang="en-US" b="1">
                <a:solidFill>
                  <a:schemeClr val="bg1"/>
                </a:solidFill>
              </a:rPr>
              <a:t>Text</a:t>
            </a:r>
          </a:p>
        </p:txBody>
      </p:sp>
      <p:sp>
        <p:nvSpPr>
          <p:cNvPr id="19" name="Arrow: Chevron 18">
            <a:extLst>
              <a:ext uri="{FF2B5EF4-FFF2-40B4-BE49-F238E27FC236}">
                <a16:creationId xmlns:a16="http://schemas.microsoft.com/office/drawing/2014/main" id="{B19ABD02-23A5-4264-B39A-394834CE2F6B}"/>
              </a:ext>
            </a:extLst>
          </p:cNvPr>
          <p:cNvSpPr/>
          <p:nvPr/>
        </p:nvSpPr>
        <p:spPr>
          <a:xfrm>
            <a:off x="6077016" y="2162040"/>
            <a:ext cx="3013223" cy="1766918"/>
          </a:xfrm>
          <a:prstGeom prst="chevron">
            <a:avLst>
              <a:gd name="adj" fmla="val 15715"/>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72000" rtlCol="0" anchor="t" anchorCtr="0"/>
          <a:lstStyle/>
          <a:p>
            <a:pPr eaLnBrk="0" hangingPunct="0"/>
            <a:r>
              <a:rPr lang="en-US">
                <a:solidFill>
                  <a:schemeClr val="tx1"/>
                </a:solidFill>
              </a:rPr>
              <a:t>Text</a:t>
            </a:r>
            <a:endParaRPr lang="en-US" dirty="0">
              <a:solidFill>
                <a:schemeClr val="tx1"/>
              </a:solidFill>
            </a:endParaRPr>
          </a:p>
        </p:txBody>
      </p:sp>
      <p:sp>
        <p:nvSpPr>
          <p:cNvPr id="20" name="Arrow: Chevron 19">
            <a:extLst>
              <a:ext uri="{FF2B5EF4-FFF2-40B4-BE49-F238E27FC236}">
                <a16:creationId xmlns:a16="http://schemas.microsoft.com/office/drawing/2014/main" id="{EC78E030-77EB-432E-8BF2-C51AD994EE8B}"/>
              </a:ext>
            </a:extLst>
          </p:cNvPr>
          <p:cNvSpPr/>
          <p:nvPr/>
        </p:nvSpPr>
        <p:spPr>
          <a:xfrm>
            <a:off x="8939975" y="2162040"/>
            <a:ext cx="2915475" cy="1766918"/>
          </a:xfrm>
          <a:prstGeom prst="chevron">
            <a:avLst>
              <a:gd name="adj" fmla="val 15715"/>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72000" rtlCol="0" anchor="t" anchorCtr="0"/>
          <a:lstStyle/>
          <a:p>
            <a:pPr eaLnBrk="0" hangingPunct="0"/>
            <a:r>
              <a:rPr lang="en-US" dirty="0">
                <a:solidFill>
                  <a:schemeClr val="tx1"/>
                </a:solidFill>
              </a:rPr>
              <a:t>Text</a:t>
            </a:r>
          </a:p>
        </p:txBody>
      </p:sp>
      <p:sp>
        <p:nvSpPr>
          <p:cNvPr id="15" name="Text Box 7">
            <a:extLst>
              <a:ext uri="{FF2B5EF4-FFF2-40B4-BE49-F238E27FC236}">
                <a16:creationId xmlns:a16="http://schemas.microsoft.com/office/drawing/2014/main" id="{8B934D26-A551-4D09-9E95-C8B8419B1807}"/>
              </a:ext>
            </a:extLst>
          </p:cNvPr>
          <p:cNvSpPr txBox="1">
            <a:spLocks noChangeArrowheads="1"/>
          </p:cNvSpPr>
          <p:nvPr/>
        </p:nvSpPr>
        <p:spPr bwMode="auto">
          <a:xfrm>
            <a:off x="514349" y="4480561"/>
            <a:ext cx="2547430" cy="1548599"/>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dirty="0">
                <a:solidFill>
                  <a:schemeClr val="tx1"/>
                </a:solidFill>
              </a:rPr>
              <a:t>Text </a:t>
            </a:r>
          </a:p>
          <a:p>
            <a:pPr marL="179388" indent="-179388" eaLnBrk="0" hangingPunct="0">
              <a:spcBef>
                <a:spcPts val="100"/>
              </a:spcBef>
              <a:spcAft>
                <a:spcPts val="100"/>
              </a:spcAft>
              <a:buClr>
                <a:schemeClr val="tx1"/>
              </a:buClr>
              <a:buFontTx/>
              <a:buChar char="•"/>
            </a:pPr>
            <a:r>
              <a:rPr lang="en-US" sz="1400" dirty="0"/>
              <a:t>Text </a:t>
            </a:r>
          </a:p>
          <a:p>
            <a:pPr marL="179388" indent="-179388" eaLnBrk="0" hangingPunct="0">
              <a:spcBef>
                <a:spcPts val="100"/>
              </a:spcBef>
              <a:spcAft>
                <a:spcPts val="100"/>
              </a:spcAft>
              <a:buClr>
                <a:schemeClr val="tx1"/>
              </a:buClr>
              <a:buFontTx/>
              <a:buChar char="•"/>
            </a:pPr>
            <a:r>
              <a:rPr lang="en-US" sz="1400" dirty="0"/>
              <a:t>Text </a:t>
            </a:r>
          </a:p>
        </p:txBody>
      </p:sp>
      <p:sp>
        <p:nvSpPr>
          <p:cNvPr id="22" name="Text Box 7">
            <a:extLst>
              <a:ext uri="{FF2B5EF4-FFF2-40B4-BE49-F238E27FC236}">
                <a16:creationId xmlns:a16="http://schemas.microsoft.com/office/drawing/2014/main" id="{A935E040-8E09-4786-8329-7ACA0A8F1BA2}"/>
              </a:ext>
            </a:extLst>
          </p:cNvPr>
          <p:cNvSpPr txBox="1">
            <a:spLocks noChangeArrowheads="1"/>
          </p:cNvSpPr>
          <p:nvPr/>
        </p:nvSpPr>
        <p:spPr bwMode="auto">
          <a:xfrm>
            <a:off x="3551944" y="4480561"/>
            <a:ext cx="2547430" cy="1548599"/>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dirty="0">
                <a:solidFill>
                  <a:schemeClr val="tx1"/>
                </a:solidFill>
              </a:rPr>
              <a:t>Text </a:t>
            </a:r>
          </a:p>
          <a:p>
            <a:pPr marL="179388" indent="-179388" eaLnBrk="0" hangingPunct="0">
              <a:spcBef>
                <a:spcPts val="100"/>
              </a:spcBef>
              <a:spcAft>
                <a:spcPts val="100"/>
              </a:spcAft>
              <a:buClr>
                <a:schemeClr val="tx1"/>
              </a:buClr>
              <a:buFontTx/>
              <a:buChar char="•"/>
            </a:pPr>
            <a:r>
              <a:rPr lang="en-US" sz="1400" dirty="0"/>
              <a:t>Text </a:t>
            </a:r>
          </a:p>
          <a:p>
            <a:pPr marL="179388" indent="-179388" eaLnBrk="0" hangingPunct="0">
              <a:spcBef>
                <a:spcPts val="100"/>
              </a:spcBef>
              <a:spcAft>
                <a:spcPts val="100"/>
              </a:spcAft>
              <a:buClr>
                <a:schemeClr val="tx1"/>
              </a:buClr>
              <a:buFontTx/>
              <a:buChar char="•"/>
            </a:pPr>
            <a:r>
              <a:rPr lang="en-US" sz="1400" dirty="0"/>
              <a:t>Text </a:t>
            </a:r>
          </a:p>
        </p:txBody>
      </p:sp>
      <p:sp>
        <p:nvSpPr>
          <p:cNvPr id="23" name="Text Box 7">
            <a:extLst>
              <a:ext uri="{FF2B5EF4-FFF2-40B4-BE49-F238E27FC236}">
                <a16:creationId xmlns:a16="http://schemas.microsoft.com/office/drawing/2014/main" id="{1DC36B56-6979-4BA8-8D49-A6FAE37D1818}"/>
              </a:ext>
            </a:extLst>
          </p:cNvPr>
          <p:cNvSpPr txBox="1">
            <a:spLocks noChangeArrowheads="1"/>
          </p:cNvSpPr>
          <p:nvPr/>
        </p:nvSpPr>
        <p:spPr bwMode="auto">
          <a:xfrm>
            <a:off x="6442140" y="4480561"/>
            <a:ext cx="2361392" cy="1548599"/>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dirty="0">
                <a:solidFill>
                  <a:schemeClr val="tx1"/>
                </a:solidFill>
              </a:rPr>
              <a:t>Text </a:t>
            </a:r>
          </a:p>
          <a:p>
            <a:pPr marL="179388" indent="-179388" eaLnBrk="0" hangingPunct="0">
              <a:spcBef>
                <a:spcPts val="100"/>
              </a:spcBef>
              <a:spcAft>
                <a:spcPts val="100"/>
              </a:spcAft>
              <a:buClr>
                <a:schemeClr val="tx1"/>
              </a:buClr>
              <a:buFontTx/>
              <a:buChar char="•"/>
            </a:pPr>
            <a:r>
              <a:rPr lang="en-US" sz="1400" dirty="0"/>
              <a:t>Text </a:t>
            </a:r>
          </a:p>
          <a:p>
            <a:pPr marL="179388" indent="-179388" eaLnBrk="0" hangingPunct="0">
              <a:spcBef>
                <a:spcPts val="100"/>
              </a:spcBef>
              <a:spcAft>
                <a:spcPts val="100"/>
              </a:spcAft>
              <a:buClr>
                <a:schemeClr val="tx1"/>
              </a:buClr>
              <a:buFontTx/>
              <a:buChar char="•"/>
            </a:pPr>
            <a:r>
              <a:rPr lang="en-US" sz="1400" dirty="0"/>
              <a:t>Text </a:t>
            </a:r>
          </a:p>
        </p:txBody>
      </p:sp>
      <p:sp>
        <p:nvSpPr>
          <p:cNvPr id="24" name="Text Box 7">
            <a:extLst>
              <a:ext uri="{FF2B5EF4-FFF2-40B4-BE49-F238E27FC236}">
                <a16:creationId xmlns:a16="http://schemas.microsoft.com/office/drawing/2014/main" id="{CEC0306A-3643-4A8F-8466-7DDC9B8BF2B8}"/>
              </a:ext>
            </a:extLst>
          </p:cNvPr>
          <p:cNvSpPr txBox="1">
            <a:spLocks noChangeArrowheads="1"/>
          </p:cNvSpPr>
          <p:nvPr/>
        </p:nvSpPr>
        <p:spPr bwMode="auto">
          <a:xfrm>
            <a:off x="9399348" y="4480561"/>
            <a:ext cx="2361392" cy="1548599"/>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dirty="0">
                <a:solidFill>
                  <a:schemeClr val="tx1"/>
                </a:solidFill>
              </a:rPr>
              <a:t>Text </a:t>
            </a:r>
          </a:p>
          <a:p>
            <a:pPr marL="179388" indent="-179388" eaLnBrk="0" hangingPunct="0">
              <a:spcBef>
                <a:spcPts val="100"/>
              </a:spcBef>
              <a:spcAft>
                <a:spcPts val="100"/>
              </a:spcAft>
              <a:buClr>
                <a:schemeClr val="tx1"/>
              </a:buClr>
              <a:buFontTx/>
              <a:buChar char="•"/>
            </a:pPr>
            <a:r>
              <a:rPr lang="en-US" sz="1400" dirty="0"/>
              <a:t>Text </a:t>
            </a:r>
          </a:p>
          <a:p>
            <a:pPr marL="179388" indent="-179388" eaLnBrk="0" hangingPunct="0">
              <a:spcBef>
                <a:spcPts val="100"/>
              </a:spcBef>
              <a:spcAft>
                <a:spcPts val="100"/>
              </a:spcAft>
              <a:buClr>
                <a:schemeClr val="tx1"/>
              </a:buClr>
              <a:buFontTx/>
              <a:buChar char="•"/>
            </a:pPr>
            <a:r>
              <a:rPr lang="en-US" sz="1400" dirty="0"/>
              <a:t>Text </a:t>
            </a:r>
          </a:p>
        </p:txBody>
      </p:sp>
      <p:sp>
        <p:nvSpPr>
          <p:cNvPr id="5" name="Footer Placeholder 4">
            <a:extLst>
              <a:ext uri="{FF2B5EF4-FFF2-40B4-BE49-F238E27FC236}">
                <a16:creationId xmlns:a16="http://schemas.microsoft.com/office/drawing/2014/main" id="{E0909A09-80F8-4C1D-8012-CB4357BF258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6ED00355-C86B-4936-8A38-773D088CE46C}"/>
              </a:ext>
            </a:extLst>
          </p:cNvPr>
          <p:cNvSpPr>
            <a:spLocks noGrp="1"/>
          </p:cNvSpPr>
          <p:nvPr>
            <p:ph type="sldNum" sz="quarter" idx="10"/>
          </p:nvPr>
        </p:nvSpPr>
        <p:spPr/>
        <p:txBody>
          <a:bodyPr/>
          <a:lstStyle/>
          <a:p>
            <a:fld id="{1F90F471-3972-4120-B8B3-0237DE626C35}" type="slidenum">
              <a:rPr lang="en-US" smtClean="0"/>
              <a:pPr/>
              <a:t>190</a:t>
            </a:fld>
            <a:endParaRPr lang="en-US" dirty="0"/>
          </a:p>
        </p:txBody>
      </p:sp>
    </p:spTree>
    <p:extLst>
      <p:ext uri="{BB962C8B-B14F-4D97-AF65-F5344CB8AC3E}">
        <p14:creationId xmlns:p14="http://schemas.microsoft.com/office/powerpoint/2010/main" val="4139860461"/>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Linear Flow 3</a:t>
            </a:r>
          </a:p>
        </p:txBody>
      </p:sp>
      <p:sp>
        <p:nvSpPr>
          <p:cNvPr id="7" name="AutoShape 5">
            <a:extLst>
              <a:ext uri="{FF2B5EF4-FFF2-40B4-BE49-F238E27FC236}">
                <a16:creationId xmlns:a16="http://schemas.microsoft.com/office/drawing/2014/main" id="{69C5595B-5F87-4D51-9F5F-FBB166D27B81}"/>
              </a:ext>
            </a:extLst>
          </p:cNvPr>
          <p:cNvSpPr>
            <a:spLocks noChangeArrowheads="1"/>
          </p:cNvSpPr>
          <p:nvPr/>
        </p:nvSpPr>
        <p:spPr bwMode="auto">
          <a:xfrm>
            <a:off x="337788" y="2162040"/>
            <a:ext cx="2442831" cy="1766918"/>
          </a:xfrm>
          <a:prstGeom prst="homePlate">
            <a:avLst>
              <a:gd name="adj" fmla="val 16553"/>
            </a:avLst>
          </a:prstGeom>
          <a:solidFill>
            <a:srgbClr val="96968C">
              <a:lumMod val="20000"/>
              <a:lumOff val="80000"/>
            </a:srgbClr>
          </a:solidFill>
          <a:ln w="6350">
            <a:noFill/>
            <a:miter lim="800000"/>
            <a:headEnd/>
            <a:tailEnd/>
          </a:ln>
          <a:effectLst/>
        </p:spPr>
        <p:txBody>
          <a:bodyPr wrap="square" lIns="180000" tIns="108000" rIns="108000" bIns="72000" anchor="t" anchorCtr="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p:txBody>
      </p:sp>
      <p:sp>
        <p:nvSpPr>
          <p:cNvPr id="8" name="AutoShape 6">
            <a:extLst>
              <a:ext uri="{FF2B5EF4-FFF2-40B4-BE49-F238E27FC236}">
                <a16:creationId xmlns:a16="http://schemas.microsoft.com/office/drawing/2014/main" id="{9265F570-56D3-4C17-A227-41DED37AC2E4}"/>
              </a:ext>
            </a:extLst>
          </p:cNvPr>
          <p:cNvSpPr>
            <a:spLocks noChangeAspect="1" noChangeArrowheads="1"/>
          </p:cNvSpPr>
          <p:nvPr/>
        </p:nvSpPr>
        <p:spPr bwMode="auto">
          <a:xfrm>
            <a:off x="2505221" y="1754010"/>
            <a:ext cx="2487247" cy="2582978"/>
          </a:xfrm>
          <a:prstGeom prst="chevron">
            <a:avLst>
              <a:gd name="adj" fmla="val 15929"/>
            </a:avLst>
          </a:prstGeom>
          <a:solidFill>
            <a:schemeClr val="accent2"/>
          </a:solidFill>
          <a:ln w="6350">
            <a:noFill/>
            <a:miter lim="800000"/>
            <a:headEnd/>
            <a:tailEnd/>
          </a:ln>
          <a:effectLst/>
        </p:spPr>
        <p:txBody>
          <a:bodyPr lIns="72000" tIns="486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Arial"/>
                <a:ea typeface="+mn-ea"/>
                <a:cs typeface="+mn-cs"/>
              </a:rPr>
              <a:t>Text</a:t>
            </a:r>
          </a:p>
        </p:txBody>
      </p:sp>
      <p:sp>
        <p:nvSpPr>
          <p:cNvPr id="9" name="Arrow: Chevron 8">
            <a:extLst>
              <a:ext uri="{FF2B5EF4-FFF2-40B4-BE49-F238E27FC236}">
                <a16:creationId xmlns:a16="http://schemas.microsoft.com/office/drawing/2014/main" id="{EA70E064-B558-4DD7-8305-591614739C98}"/>
              </a:ext>
            </a:extLst>
          </p:cNvPr>
          <p:cNvSpPr/>
          <p:nvPr/>
        </p:nvSpPr>
        <p:spPr>
          <a:xfrm>
            <a:off x="4992468" y="2162040"/>
            <a:ext cx="2443811" cy="1766918"/>
          </a:xfrm>
          <a:prstGeom prst="chevron">
            <a:avLst>
              <a:gd name="adj" fmla="val 15715"/>
            </a:avLst>
          </a:prstGeom>
          <a:solidFill>
            <a:srgbClr val="96968C">
              <a:lumMod val="20000"/>
              <a:lumOff val="80000"/>
            </a:srgbClr>
          </a:solidFill>
          <a:ln w="9525" cap="flat" cmpd="sng" algn="ctr">
            <a:noFill/>
            <a:prstDash val="solid"/>
          </a:ln>
          <a:effectLst/>
        </p:spPr>
        <p:txBody>
          <a:bodyPr wrap="square" lIns="180000" tIns="108000" rIns="108000" bIns="72000" rtlCol="0" anchor="t" anchorCtr="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Arial"/>
                <a:ea typeface="+mn-ea"/>
                <a:cs typeface="+mn-cs"/>
              </a:rPr>
              <a:t>Text</a:t>
            </a: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 name="Arrow: Chevron 9">
            <a:extLst>
              <a:ext uri="{FF2B5EF4-FFF2-40B4-BE49-F238E27FC236}">
                <a16:creationId xmlns:a16="http://schemas.microsoft.com/office/drawing/2014/main" id="{69D5B229-A476-49C7-A301-FD542FF2E193}"/>
              </a:ext>
            </a:extLst>
          </p:cNvPr>
          <p:cNvSpPr/>
          <p:nvPr/>
        </p:nvSpPr>
        <p:spPr>
          <a:xfrm>
            <a:off x="7286176" y="2162040"/>
            <a:ext cx="2443811" cy="1766918"/>
          </a:xfrm>
          <a:prstGeom prst="chevron">
            <a:avLst>
              <a:gd name="adj" fmla="val 15715"/>
            </a:avLst>
          </a:prstGeom>
          <a:solidFill>
            <a:srgbClr val="96968C">
              <a:lumMod val="20000"/>
              <a:lumOff val="80000"/>
            </a:srgbClr>
          </a:solidFill>
          <a:ln w="9525" cap="flat" cmpd="sng" algn="ctr">
            <a:noFill/>
            <a:prstDash val="solid"/>
          </a:ln>
          <a:effectLst/>
        </p:spPr>
        <p:txBody>
          <a:bodyPr wrap="square" lIns="180000" tIns="108000" rIns="108000" bIns="72000" rtlCol="0" anchor="t" anchorCtr="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p:txBody>
      </p:sp>
      <p:sp>
        <p:nvSpPr>
          <p:cNvPr id="12" name="Arrow: Chevron 11">
            <a:extLst>
              <a:ext uri="{FF2B5EF4-FFF2-40B4-BE49-F238E27FC236}">
                <a16:creationId xmlns:a16="http://schemas.microsoft.com/office/drawing/2014/main" id="{B01D5F03-E64A-4577-BE5B-A88152A72AE4}"/>
              </a:ext>
            </a:extLst>
          </p:cNvPr>
          <p:cNvSpPr/>
          <p:nvPr/>
        </p:nvSpPr>
        <p:spPr>
          <a:xfrm>
            <a:off x="9579885" y="2162040"/>
            <a:ext cx="2277154" cy="1766918"/>
          </a:xfrm>
          <a:prstGeom prst="chevron">
            <a:avLst>
              <a:gd name="adj" fmla="val 15715"/>
            </a:avLst>
          </a:prstGeom>
          <a:solidFill>
            <a:srgbClr val="96968C">
              <a:lumMod val="20000"/>
              <a:lumOff val="80000"/>
            </a:srgbClr>
          </a:solidFill>
          <a:ln w="9525" cap="flat" cmpd="sng" algn="ctr">
            <a:noFill/>
            <a:prstDash val="solid"/>
          </a:ln>
          <a:effectLst/>
        </p:spPr>
        <p:txBody>
          <a:bodyPr wrap="square" lIns="180000" tIns="108000" rIns="108000" bIns="72000" rtlCol="0" anchor="t" anchorCtr="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p:txBody>
      </p:sp>
      <p:sp>
        <p:nvSpPr>
          <p:cNvPr id="5" name="Text Box 7">
            <a:extLst>
              <a:ext uri="{FF2B5EF4-FFF2-40B4-BE49-F238E27FC236}">
                <a16:creationId xmlns:a16="http://schemas.microsoft.com/office/drawing/2014/main" id="{8182DF73-8A30-4EBA-927E-94BD18E1FA6E}"/>
              </a:ext>
            </a:extLst>
          </p:cNvPr>
          <p:cNvSpPr txBox="1">
            <a:spLocks noChangeArrowheads="1"/>
          </p:cNvSpPr>
          <p:nvPr/>
        </p:nvSpPr>
        <p:spPr bwMode="auto">
          <a:xfrm>
            <a:off x="514349" y="4480561"/>
            <a:ext cx="1990872" cy="1548599"/>
          </a:xfrm>
          <a:prstGeom prst="rect">
            <a:avLst/>
          </a:prstGeom>
          <a:noFill/>
          <a:ln w="3175">
            <a:noFill/>
            <a:miter lim="800000"/>
            <a:headEnd/>
            <a:tailEnd/>
          </a:ln>
          <a:effectLst/>
        </p:spPr>
        <p:txBody>
          <a:bodyPr lIns="0" tIns="72000" rIns="0" bIns="0"/>
          <a:lstStyle/>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Text </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Text </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Text </a:t>
            </a:r>
          </a:p>
        </p:txBody>
      </p:sp>
      <p:sp>
        <p:nvSpPr>
          <p:cNvPr id="13" name="Text Box 7">
            <a:extLst>
              <a:ext uri="{FF2B5EF4-FFF2-40B4-BE49-F238E27FC236}">
                <a16:creationId xmlns:a16="http://schemas.microsoft.com/office/drawing/2014/main" id="{5D49E6DE-08E7-4D63-BBD7-298A824B5EE5}"/>
              </a:ext>
            </a:extLst>
          </p:cNvPr>
          <p:cNvSpPr txBox="1">
            <a:spLocks noChangeArrowheads="1"/>
          </p:cNvSpPr>
          <p:nvPr/>
        </p:nvSpPr>
        <p:spPr bwMode="auto">
          <a:xfrm>
            <a:off x="2967571" y="4480561"/>
            <a:ext cx="1799638" cy="1548599"/>
          </a:xfrm>
          <a:prstGeom prst="rect">
            <a:avLst/>
          </a:prstGeom>
          <a:noFill/>
          <a:ln w="3175">
            <a:noFill/>
            <a:miter lim="800000"/>
            <a:headEnd/>
            <a:tailEnd/>
          </a:ln>
          <a:effectLst/>
        </p:spPr>
        <p:txBody>
          <a:bodyPr lIns="0" tIns="72000" rIns="0" bIns="0"/>
          <a:lstStyle/>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Text </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Text </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Text </a:t>
            </a:r>
          </a:p>
        </p:txBody>
      </p:sp>
      <p:sp>
        <p:nvSpPr>
          <p:cNvPr id="14" name="Text Box 7">
            <a:extLst>
              <a:ext uri="{FF2B5EF4-FFF2-40B4-BE49-F238E27FC236}">
                <a16:creationId xmlns:a16="http://schemas.microsoft.com/office/drawing/2014/main" id="{29EB8345-E50A-4165-8B38-18C32E4E92E3}"/>
              </a:ext>
            </a:extLst>
          </p:cNvPr>
          <p:cNvSpPr txBox="1">
            <a:spLocks noChangeArrowheads="1"/>
          </p:cNvSpPr>
          <p:nvPr/>
        </p:nvSpPr>
        <p:spPr bwMode="auto">
          <a:xfrm>
            <a:off x="5301477" y="4480561"/>
            <a:ext cx="1799638" cy="1548599"/>
          </a:xfrm>
          <a:prstGeom prst="rect">
            <a:avLst/>
          </a:prstGeom>
          <a:noFill/>
          <a:ln w="3175">
            <a:noFill/>
            <a:miter lim="800000"/>
            <a:headEnd/>
            <a:tailEnd/>
          </a:ln>
          <a:effectLst/>
        </p:spPr>
        <p:txBody>
          <a:bodyPr lIns="0" tIns="72000" rIns="0" bIns="0"/>
          <a:lstStyle/>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Text </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Text </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Text </a:t>
            </a:r>
          </a:p>
        </p:txBody>
      </p:sp>
      <p:sp>
        <p:nvSpPr>
          <p:cNvPr id="15" name="Text Box 7">
            <a:extLst>
              <a:ext uri="{FF2B5EF4-FFF2-40B4-BE49-F238E27FC236}">
                <a16:creationId xmlns:a16="http://schemas.microsoft.com/office/drawing/2014/main" id="{859A52AD-0622-485C-AE63-A6591EFF3A08}"/>
              </a:ext>
            </a:extLst>
          </p:cNvPr>
          <p:cNvSpPr txBox="1">
            <a:spLocks noChangeArrowheads="1"/>
          </p:cNvSpPr>
          <p:nvPr/>
        </p:nvSpPr>
        <p:spPr bwMode="auto">
          <a:xfrm>
            <a:off x="7738135" y="4480561"/>
            <a:ext cx="1799638" cy="1548599"/>
          </a:xfrm>
          <a:prstGeom prst="rect">
            <a:avLst/>
          </a:prstGeom>
          <a:noFill/>
          <a:ln w="3175">
            <a:noFill/>
            <a:miter lim="800000"/>
            <a:headEnd/>
            <a:tailEnd/>
          </a:ln>
          <a:effectLst/>
        </p:spPr>
        <p:txBody>
          <a:bodyPr lIns="0" tIns="72000" rIns="0" bIns="0"/>
          <a:lstStyle/>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Text </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Text </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Text </a:t>
            </a:r>
          </a:p>
        </p:txBody>
      </p:sp>
      <p:sp>
        <p:nvSpPr>
          <p:cNvPr id="16" name="Text Box 7">
            <a:extLst>
              <a:ext uri="{FF2B5EF4-FFF2-40B4-BE49-F238E27FC236}">
                <a16:creationId xmlns:a16="http://schemas.microsoft.com/office/drawing/2014/main" id="{AF3CA7C7-EC07-4FA7-8B55-8C9259C68A5A}"/>
              </a:ext>
            </a:extLst>
          </p:cNvPr>
          <p:cNvSpPr txBox="1">
            <a:spLocks noChangeArrowheads="1"/>
          </p:cNvSpPr>
          <p:nvPr/>
        </p:nvSpPr>
        <p:spPr bwMode="auto">
          <a:xfrm>
            <a:off x="10026685" y="4480561"/>
            <a:ext cx="1799638" cy="1548599"/>
          </a:xfrm>
          <a:prstGeom prst="rect">
            <a:avLst/>
          </a:prstGeom>
          <a:noFill/>
          <a:ln w="3175">
            <a:noFill/>
            <a:miter lim="800000"/>
            <a:headEnd/>
            <a:tailEnd/>
          </a:ln>
          <a:effectLst/>
        </p:spPr>
        <p:txBody>
          <a:bodyPr lIns="0" tIns="72000" rIns="0" bIns="0"/>
          <a:lstStyle/>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Text </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Text </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Text </a:t>
            </a:r>
          </a:p>
        </p:txBody>
      </p:sp>
      <p:sp>
        <p:nvSpPr>
          <p:cNvPr id="18" name="Footer Placeholder 17">
            <a:extLst>
              <a:ext uri="{FF2B5EF4-FFF2-40B4-BE49-F238E27FC236}">
                <a16:creationId xmlns:a16="http://schemas.microsoft.com/office/drawing/2014/main" id="{E038F82D-C06E-4574-B634-AAA91A1F3584}"/>
              </a:ext>
            </a:extLst>
          </p:cNvPr>
          <p:cNvSpPr>
            <a:spLocks noGrp="1"/>
          </p:cNvSpPr>
          <p:nvPr>
            <p:ph type="ftr" sz="quarter" idx="3"/>
          </p:nvPr>
        </p:nvSpPr>
        <p:spPr>
          <a:xfrm>
            <a:off x="7369946" y="6490025"/>
            <a:ext cx="4114800" cy="198318"/>
          </a:xfrm>
        </p:spPr>
        <p:txBody>
          <a:bodyPr/>
          <a:lstStyle/>
          <a:p>
            <a:pPr algn="r" defTabSz="228600">
              <a:spcAft>
                <a:spcPts val="1200"/>
              </a:spcAft>
              <a:defRPr/>
            </a:pPr>
            <a:r>
              <a:rPr lang="en-GB"/>
              <a:t>Copyright © 2021 Accenture. All rights reserved.</a:t>
            </a:r>
            <a:endParaRPr lang="en-GB" dirty="0"/>
          </a:p>
        </p:txBody>
      </p:sp>
      <p:sp>
        <p:nvSpPr>
          <p:cNvPr id="19" name="Slide Number Placeholder 18">
            <a:extLst>
              <a:ext uri="{FF2B5EF4-FFF2-40B4-BE49-F238E27FC236}">
                <a16:creationId xmlns:a16="http://schemas.microsoft.com/office/drawing/2014/main" id="{18753A5F-4BD7-4265-AB43-CF2670E62376}"/>
              </a:ext>
            </a:extLst>
          </p:cNvPr>
          <p:cNvSpPr>
            <a:spLocks noGrp="1"/>
          </p:cNvSpPr>
          <p:nvPr>
            <p:ph type="sldNum" sz="quarter" idx="10"/>
          </p:nvPr>
        </p:nvSpPr>
        <p:spPr/>
        <p:txBody>
          <a:bodyPr/>
          <a:lstStyle/>
          <a:p>
            <a:fld id="{1F90F471-3972-4120-B8B3-0237DE626C35}" type="slidenum">
              <a:rPr lang="en-US" smtClean="0"/>
              <a:pPr/>
              <a:t>191</a:t>
            </a:fld>
            <a:endParaRPr lang="en-US" dirty="0"/>
          </a:p>
        </p:txBody>
      </p:sp>
    </p:spTree>
    <p:extLst>
      <p:ext uri="{BB962C8B-B14F-4D97-AF65-F5344CB8AC3E}">
        <p14:creationId xmlns:p14="http://schemas.microsoft.com/office/powerpoint/2010/main" val="1904628210"/>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Linear Flow 4</a:t>
            </a:r>
          </a:p>
        </p:txBody>
      </p:sp>
      <p:grpSp>
        <p:nvGrpSpPr>
          <p:cNvPr id="3" name="Group 2" descr="Flow 1 insert description here">
            <a:extLst>
              <a:ext uri="{FF2B5EF4-FFF2-40B4-BE49-F238E27FC236}">
                <a16:creationId xmlns:a16="http://schemas.microsoft.com/office/drawing/2014/main" id="{17366E0F-13A2-4466-9D62-8AB213565688}"/>
              </a:ext>
            </a:extLst>
          </p:cNvPr>
          <p:cNvGrpSpPr/>
          <p:nvPr/>
        </p:nvGrpSpPr>
        <p:grpSpPr>
          <a:xfrm>
            <a:off x="345018" y="1623102"/>
            <a:ext cx="11512020" cy="2616389"/>
            <a:chOff x="345018" y="1623102"/>
            <a:chExt cx="11512020" cy="2616389"/>
          </a:xfrm>
        </p:grpSpPr>
        <p:sp>
          <p:nvSpPr>
            <p:cNvPr id="21" name="TextBox 20">
              <a:extLst>
                <a:ext uri="{FF2B5EF4-FFF2-40B4-BE49-F238E27FC236}">
                  <a16:creationId xmlns:a16="http://schemas.microsoft.com/office/drawing/2014/main" id="{FA0ABFAE-4FCC-4D77-9296-804AA1CCD902}"/>
                </a:ext>
              </a:extLst>
            </p:cNvPr>
            <p:cNvSpPr txBox="1"/>
            <p:nvPr/>
          </p:nvSpPr>
          <p:spPr>
            <a:xfrm>
              <a:off x="345018" y="1623102"/>
              <a:ext cx="11512020" cy="2616389"/>
            </a:xfrm>
            <a:prstGeom prst="rect">
              <a:avLst/>
            </a:prstGeom>
            <a:solidFill>
              <a:schemeClr val="tx2">
                <a:lumMod val="20000"/>
                <a:lumOff val="80000"/>
              </a:schemeClr>
            </a:solidFill>
            <a:ln w="19050">
              <a:noFill/>
            </a:ln>
          </p:spPr>
          <p:txBody>
            <a:bodyPr vert="horz" wrap="square" lIns="0" tIns="144000" rIns="0" bIns="0" rtlCol="0" anchor="t" anchorCtr="0">
              <a:noAutofit/>
            </a:bodyPr>
            <a:lstStyle/>
            <a:p>
              <a:pPr algn="ctr">
                <a:lnSpc>
                  <a:spcPct val="85000"/>
                </a:lnSpc>
              </a:pPr>
              <a:r>
                <a:rPr lang="en-AU" sz="1600" b="1" cap="all" dirty="0">
                  <a:solidFill>
                    <a:schemeClr val="accent3"/>
                  </a:solidFill>
                  <a:latin typeface="+mj-lt"/>
                </a:rPr>
                <a:t>Text</a:t>
              </a:r>
            </a:p>
          </p:txBody>
        </p:sp>
        <p:sp>
          <p:nvSpPr>
            <p:cNvPr id="26" name="AutoShape 5">
              <a:extLst>
                <a:ext uri="{FF2B5EF4-FFF2-40B4-BE49-F238E27FC236}">
                  <a16:creationId xmlns:a16="http://schemas.microsoft.com/office/drawing/2014/main" id="{F74DF5B4-2FF5-4A8A-8CAD-3803EF302583}"/>
                </a:ext>
              </a:extLst>
            </p:cNvPr>
            <p:cNvSpPr>
              <a:spLocks noChangeArrowheads="1"/>
            </p:cNvSpPr>
            <p:nvPr/>
          </p:nvSpPr>
          <p:spPr bwMode="auto">
            <a:xfrm>
              <a:off x="591324" y="2162040"/>
              <a:ext cx="2338560" cy="1766918"/>
            </a:xfrm>
            <a:prstGeom prst="homePlate">
              <a:avLst>
                <a:gd name="adj" fmla="val 16553"/>
              </a:avLst>
            </a:prstGeom>
            <a:solidFill>
              <a:schemeClr val="accent1"/>
            </a:solidFill>
            <a:ln w="6350">
              <a:noFill/>
              <a:miter lim="800000"/>
              <a:headEnd/>
              <a:tailEnd/>
            </a:ln>
            <a:effectLst/>
          </p:spPr>
          <p:txBody>
            <a:bodyPr wrap="square" lIns="180000" tIns="108000" rIns="108000" bIns="108000" anchor="ctr" anchorCtr="0"/>
            <a:lstStyle/>
            <a:p>
              <a:pPr algn="l" eaLnBrk="0" hangingPunct="0"/>
              <a:r>
                <a:rPr lang="en-US" dirty="0">
                  <a:solidFill>
                    <a:schemeClr val="bg1"/>
                  </a:solidFill>
                </a:rPr>
                <a:t>Text</a:t>
              </a:r>
            </a:p>
          </p:txBody>
        </p:sp>
        <p:sp>
          <p:nvSpPr>
            <p:cNvPr id="28" name="Arrow: Chevron 27">
              <a:extLst>
                <a:ext uri="{FF2B5EF4-FFF2-40B4-BE49-F238E27FC236}">
                  <a16:creationId xmlns:a16="http://schemas.microsoft.com/office/drawing/2014/main" id="{310F3CC7-527C-4EB6-A0BB-452B95891439}"/>
                </a:ext>
              </a:extLst>
            </p:cNvPr>
            <p:cNvSpPr/>
            <p:nvPr/>
          </p:nvSpPr>
          <p:spPr>
            <a:xfrm>
              <a:off x="2767637" y="2162040"/>
              <a:ext cx="2339498" cy="1766918"/>
            </a:xfrm>
            <a:prstGeom prst="chevron">
              <a:avLst>
                <a:gd name="adj" fmla="val 15715"/>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a:solidFill>
                    <a:schemeClr val="bg1"/>
                  </a:solidFill>
                </a:rPr>
                <a:t>Text</a:t>
              </a:r>
              <a:endParaRPr lang="en-US" dirty="0">
                <a:solidFill>
                  <a:schemeClr val="bg1"/>
                </a:solidFill>
              </a:endParaRPr>
            </a:p>
          </p:txBody>
        </p:sp>
        <p:sp>
          <p:nvSpPr>
            <p:cNvPr id="25" name="Arrow: Chevron 24">
              <a:extLst>
                <a:ext uri="{FF2B5EF4-FFF2-40B4-BE49-F238E27FC236}">
                  <a16:creationId xmlns:a16="http://schemas.microsoft.com/office/drawing/2014/main" id="{0C197748-D85D-4A4A-A435-8B746157FDDE}"/>
                </a:ext>
              </a:extLst>
            </p:cNvPr>
            <p:cNvSpPr/>
            <p:nvPr/>
          </p:nvSpPr>
          <p:spPr>
            <a:xfrm>
              <a:off x="4944887" y="2162040"/>
              <a:ext cx="2339498" cy="1766918"/>
            </a:xfrm>
            <a:prstGeom prst="chevron">
              <a:avLst>
                <a:gd name="adj" fmla="val 15715"/>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a:solidFill>
                    <a:schemeClr val="bg1"/>
                  </a:solidFill>
                </a:rPr>
                <a:t>Text</a:t>
              </a:r>
              <a:endParaRPr lang="en-US" dirty="0">
                <a:solidFill>
                  <a:schemeClr val="bg1"/>
                </a:solidFill>
              </a:endParaRPr>
            </a:p>
          </p:txBody>
        </p:sp>
        <p:sp>
          <p:nvSpPr>
            <p:cNvPr id="29" name="Arrow: Chevron 28">
              <a:extLst>
                <a:ext uri="{FF2B5EF4-FFF2-40B4-BE49-F238E27FC236}">
                  <a16:creationId xmlns:a16="http://schemas.microsoft.com/office/drawing/2014/main" id="{711784D0-9C1A-4C08-80B5-D23A06B3AEC2}"/>
                </a:ext>
              </a:extLst>
            </p:cNvPr>
            <p:cNvSpPr/>
            <p:nvPr/>
          </p:nvSpPr>
          <p:spPr>
            <a:xfrm>
              <a:off x="7122137" y="2162040"/>
              <a:ext cx="2339498" cy="1766918"/>
            </a:xfrm>
            <a:prstGeom prst="chevron">
              <a:avLst>
                <a:gd name="adj" fmla="val 15715"/>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a:solidFill>
                    <a:schemeClr val="bg1"/>
                  </a:solidFill>
                </a:rPr>
                <a:t>Text</a:t>
              </a:r>
              <a:endParaRPr lang="en-US" dirty="0">
                <a:solidFill>
                  <a:schemeClr val="bg1"/>
                </a:solidFill>
              </a:endParaRPr>
            </a:p>
          </p:txBody>
        </p:sp>
        <p:sp>
          <p:nvSpPr>
            <p:cNvPr id="27" name="Arrow: Chevron 26">
              <a:extLst>
                <a:ext uri="{FF2B5EF4-FFF2-40B4-BE49-F238E27FC236}">
                  <a16:creationId xmlns:a16="http://schemas.microsoft.com/office/drawing/2014/main" id="{9CDA3D5D-46E8-49DC-ADAC-A288D9813754}"/>
                </a:ext>
              </a:extLst>
            </p:cNvPr>
            <p:cNvSpPr/>
            <p:nvPr/>
          </p:nvSpPr>
          <p:spPr>
            <a:xfrm>
              <a:off x="9299388" y="2162040"/>
              <a:ext cx="2340062" cy="1766918"/>
            </a:xfrm>
            <a:prstGeom prst="chevron">
              <a:avLst>
                <a:gd name="adj" fmla="val 15715"/>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dirty="0">
                  <a:solidFill>
                    <a:schemeClr val="bg1"/>
                  </a:solidFill>
                </a:rPr>
                <a:t>Text</a:t>
              </a:r>
            </a:p>
          </p:txBody>
        </p:sp>
      </p:grpSp>
      <p:cxnSp>
        <p:nvCxnSpPr>
          <p:cNvPr id="22" name="Straight Connector 21">
            <a:extLst>
              <a:ext uri="{FF2B5EF4-FFF2-40B4-BE49-F238E27FC236}">
                <a16:creationId xmlns:a16="http://schemas.microsoft.com/office/drawing/2014/main" id="{593953C1-F60B-4B6C-B79B-4FD68E37CC87}"/>
              </a:ext>
              <a:ext uri="{C183D7F6-B498-43B3-948B-1728B52AA6E4}">
                <adec:decorative xmlns:adec="http://schemas.microsoft.com/office/drawing/2017/decorative" val="1"/>
              </a:ext>
            </a:extLst>
          </p:cNvPr>
          <p:cNvCxnSpPr/>
          <p:nvPr/>
        </p:nvCxnSpPr>
        <p:spPr>
          <a:xfrm>
            <a:off x="591324" y="3928958"/>
            <a:ext cx="0" cy="778798"/>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CAB08D5-7181-4CAE-A4FB-24732467F838}"/>
              </a:ext>
              <a:ext uri="{C183D7F6-B498-43B3-948B-1728B52AA6E4}">
                <adec:decorative xmlns:adec="http://schemas.microsoft.com/office/drawing/2017/decorative" val="1"/>
              </a:ext>
            </a:extLst>
          </p:cNvPr>
          <p:cNvCxnSpPr/>
          <p:nvPr/>
        </p:nvCxnSpPr>
        <p:spPr>
          <a:xfrm>
            <a:off x="2584282" y="3928958"/>
            <a:ext cx="9055168" cy="778798"/>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4" name="Group 3" descr="Flow 2 insert description">
            <a:extLst>
              <a:ext uri="{FF2B5EF4-FFF2-40B4-BE49-F238E27FC236}">
                <a16:creationId xmlns:a16="http://schemas.microsoft.com/office/drawing/2014/main" id="{6AA001FC-6154-4BE7-AA04-BD9385E3D368}"/>
              </a:ext>
            </a:extLst>
          </p:cNvPr>
          <p:cNvGrpSpPr/>
          <p:nvPr/>
        </p:nvGrpSpPr>
        <p:grpSpPr>
          <a:xfrm>
            <a:off x="590043" y="4707756"/>
            <a:ext cx="11272637" cy="1368111"/>
            <a:chOff x="590043" y="4707756"/>
            <a:chExt cx="11272637" cy="1368111"/>
          </a:xfrm>
        </p:grpSpPr>
        <p:sp>
          <p:nvSpPr>
            <p:cNvPr id="36" name="Arrow: Chevron 35">
              <a:extLst>
                <a:ext uri="{FF2B5EF4-FFF2-40B4-BE49-F238E27FC236}">
                  <a16:creationId xmlns:a16="http://schemas.microsoft.com/office/drawing/2014/main" id="{109B8260-39DA-4D5D-AB42-8058AA1EBC5D}"/>
                </a:ext>
              </a:extLst>
            </p:cNvPr>
            <p:cNvSpPr/>
            <p:nvPr/>
          </p:nvSpPr>
          <p:spPr>
            <a:xfrm>
              <a:off x="590043" y="4707756"/>
              <a:ext cx="1993757" cy="1368111"/>
            </a:xfrm>
            <a:prstGeom prst="chevron">
              <a:avLst>
                <a:gd name="adj" fmla="val 15715"/>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sz="1600">
                  <a:solidFill>
                    <a:schemeClr val="tx1"/>
                  </a:solidFill>
                </a:rPr>
                <a:t>Text</a:t>
              </a:r>
              <a:endParaRPr lang="en-US" sz="1600" dirty="0">
                <a:solidFill>
                  <a:schemeClr val="tx1"/>
                </a:solidFill>
              </a:endParaRPr>
            </a:p>
          </p:txBody>
        </p:sp>
        <p:sp>
          <p:nvSpPr>
            <p:cNvPr id="33" name="Arrow: Chevron 32">
              <a:extLst>
                <a:ext uri="{FF2B5EF4-FFF2-40B4-BE49-F238E27FC236}">
                  <a16:creationId xmlns:a16="http://schemas.microsoft.com/office/drawing/2014/main" id="{46150F7B-F2D2-4AB7-823D-7A74DDD49ACC}"/>
                </a:ext>
              </a:extLst>
            </p:cNvPr>
            <p:cNvSpPr/>
            <p:nvPr/>
          </p:nvSpPr>
          <p:spPr>
            <a:xfrm>
              <a:off x="2446012" y="4707756"/>
              <a:ext cx="1993757" cy="1368111"/>
            </a:xfrm>
            <a:prstGeom prst="chevron">
              <a:avLst>
                <a:gd name="adj" fmla="val 15715"/>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sz="1600">
                  <a:solidFill>
                    <a:schemeClr val="tx1"/>
                  </a:solidFill>
                </a:rPr>
                <a:t>Text</a:t>
              </a:r>
              <a:endParaRPr lang="en-US" sz="1600" dirty="0">
                <a:solidFill>
                  <a:schemeClr val="tx1"/>
                </a:solidFill>
              </a:endParaRPr>
            </a:p>
          </p:txBody>
        </p:sp>
        <p:sp>
          <p:nvSpPr>
            <p:cNvPr id="31" name="Arrow: Chevron 30">
              <a:extLst>
                <a:ext uri="{FF2B5EF4-FFF2-40B4-BE49-F238E27FC236}">
                  <a16:creationId xmlns:a16="http://schemas.microsoft.com/office/drawing/2014/main" id="{B7355813-13AD-4AED-8A1C-5C7D85727372}"/>
                </a:ext>
              </a:extLst>
            </p:cNvPr>
            <p:cNvSpPr/>
            <p:nvPr/>
          </p:nvSpPr>
          <p:spPr>
            <a:xfrm>
              <a:off x="4301499" y="4707756"/>
              <a:ext cx="1993757" cy="1368111"/>
            </a:xfrm>
            <a:prstGeom prst="chevron">
              <a:avLst>
                <a:gd name="adj" fmla="val 15715"/>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sz="1600">
                  <a:solidFill>
                    <a:schemeClr val="tx1"/>
                  </a:solidFill>
                </a:rPr>
                <a:t>Text</a:t>
              </a:r>
              <a:endParaRPr lang="en-US" sz="1600" dirty="0">
                <a:solidFill>
                  <a:schemeClr val="tx1"/>
                </a:solidFill>
              </a:endParaRPr>
            </a:p>
          </p:txBody>
        </p:sp>
        <p:sp>
          <p:nvSpPr>
            <p:cNvPr id="34" name="Arrow: Chevron 33">
              <a:extLst>
                <a:ext uri="{FF2B5EF4-FFF2-40B4-BE49-F238E27FC236}">
                  <a16:creationId xmlns:a16="http://schemas.microsoft.com/office/drawing/2014/main" id="{9514B491-8527-4420-8572-4159E673FDAF}"/>
                </a:ext>
              </a:extLst>
            </p:cNvPr>
            <p:cNvSpPr/>
            <p:nvPr/>
          </p:nvSpPr>
          <p:spPr>
            <a:xfrm>
              <a:off x="6156986" y="4707756"/>
              <a:ext cx="1993757" cy="1368111"/>
            </a:xfrm>
            <a:prstGeom prst="chevron">
              <a:avLst>
                <a:gd name="adj" fmla="val 15715"/>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sz="1600">
                  <a:solidFill>
                    <a:schemeClr val="tx1"/>
                  </a:solidFill>
                </a:rPr>
                <a:t>Text</a:t>
              </a:r>
              <a:endParaRPr lang="en-US" sz="1600" dirty="0">
                <a:solidFill>
                  <a:schemeClr val="tx1"/>
                </a:solidFill>
              </a:endParaRPr>
            </a:p>
          </p:txBody>
        </p:sp>
        <p:sp>
          <p:nvSpPr>
            <p:cNvPr id="32" name="Arrow: Chevron 31">
              <a:extLst>
                <a:ext uri="{FF2B5EF4-FFF2-40B4-BE49-F238E27FC236}">
                  <a16:creationId xmlns:a16="http://schemas.microsoft.com/office/drawing/2014/main" id="{92E5D4CE-256A-4AD6-A0DC-D3972590EBEA}"/>
                </a:ext>
              </a:extLst>
            </p:cNvPr>
            <p:cNvSpPr/>
            <p:nvPr/>
          </p:nvSpPr>
          <p:spPr>
            <a:xfrm>
              <a:off x="8012474" y="4707756"/>
              <a:ext cx="1994238" cy="1368111"/>
            </a:xfrm>
            <a:prstGeom prst="chevron">
              <a:avLst>
                <a:gd name="adj" fmla="val 15715"/>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sz="1600" dirty="0">
                  <a:solidFill>
                    <a:schemeClr val="tx1"/>
                  </a:solidFill>
                </a:rPr>
                <a:t>Text</a:t>
              </a:r>
            </a:p>
          </p:txBody>
        </p:sp>
        <p:sp>
          <p:nvSpPr>
            <p:cNvPr id="35" name="Arrow: Chevron 34">
              <a:extLst>
                <a:ext uri="{FF2B5EF4-FFF2-40B4-BE49-F238E27FC236}">
                  <a16:creationId xmlns:a16="http://schemas.microsoft.com/office/drawing/2014/main" id="{E60C30A2-BCC3-4752-8C53-80F254F68643}"/>
                </a:ext>
              </a:extLst>
            </p:cNvPr>
            <p:cNvSpPr/>
            <p:nvPr/>
          </p:nvSpPr>
          <p:spPr>
            <a:xfrm>
              <a:off x="9868442" y="4707756"/>
              <a:ext cx="1994238" cy="1368111"/>
            </a:xfrm>
            <a:prstGeom prst="chevron">
              <a:avLst>
                <a:gd name="adj" fmla="val 15715"/>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sz="1600" dirty="0">
                  <a:solidFill>
                    <a:schemeClr val="tx1"/>
                  </a:solidFill>
                </a:rPr>
                <a:t>Text</a:t>
              </a:r>
            </a:p>
          </p:txBody>
        </p:sp>
      </p:grpSp>
      <p:sp>
        <p:nvSpPr>
          <p:cNvPr id="5" name="Footer Placeholder 4">
            <a:extLst>
              <a:ext uri="{FF2B5EF4-FFF2-40B4-BE49-F238E27FC236}">
                <a16:creationId xmlns:a16="http://schemas.microsoft.com/office/drawing/2014/main" id="{68A94B46-A893-4A9B-9A72-A2A103AAEF1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095B5476-546A-4B24-BDF3-CF0B4342F159}"/>
              </a:ext>
            </a:extLst>
          </p:cNvPr>
          <p:cNvSpPr>
            <a:spLocks noGrp="1"/>
          </p:cNvSpPr>
          <p:nvPr>
            <p:ph type="sldNum" sz="quarter" idx="10"/>
          </p:nvPr>
        </p:nvSpPr>
        <p:spPr/>
        <p:txBody>
          <a:bodyPr/>
          <a:lstStyle/>
          <a:p>
            <a:fld id="{1F90F471-3972-4120-B8B3-0237DE626C35}" type="slidenum">
              <a:rPr lang="en-US" smtClean="0"/>
              <a:pPr/>
              <a:t>192</a:t>
            </a:fld>
            <a:endParaRPr lang="en-US" dirty="0"/>
          </a:p>
        </p:txBody>
      </p:sp>
    </p:spTree>
    <p:extLst>
      <p:ext uri="{BB962C8B-B14F-4D97-AF65-F5344CB8AC3E}">
        <p14:creationId xmlns:p14="http://schemas.microsoft.com/office/powerpoint/2010/main" val="3050664037"/>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Linear Flow 5</a:t>
            </a:r>
          </a:p>
        </p:txBody>
      </p:sp>
      <p:grpSp>
        <p:nvGrpSpPr>
          <p:cNvPr id="39" name="Group 38" descr="Add text and order accordingly">
            <a:extLst>
              <a:ext uri="{FF2B5EF4-FFF2-40B4-BE49-F238E27FC236}">
                <a16:creationId xmlns:a16="http://schemas.microsoft.com/office/drawing/2014/main" id="{3009E178-F508-43AC-B7AC-FFC5AC826784}"/>
              </a:ext>
            </a:extLst>
          </p:cNvPr>
          <p:cNvGrpSpPr/>
          <p:nvPr/>
        </p:nvGrpSpPr>
        <p:grpSpPr>
          <a:xfrm>
            <a:off x="381000" y="1131885"/>
            <a:ext cx="11445698" cy="4787572"/>
            <a:chOff x="345017" y="1288295"/>
            <a:chExt cx="11517664" cy="4787572"/>
          </a:xfrm>
        </p:grpSpPr>
        <p:cxnSp>
          <p:nvCxnSpPr>
            <p:cNvPr id="22" name="Straight Connector 21">
              <a:extLst>
                <a:ext uri="{FF2B5EF4-FFF2-40B4-BE49-F238E27FC236}">
                  <a16:creationId xmlns:a16="http://schemas.microsoft.com/office/drawing/2014/main" id="{CEBFD199-B74A-4457-8BC4-0D6AA4EDEBEC}"/>
                </a:ext>
              </a:extLst>
            </p:cNvPr>
            <p:cNvCxnSpPr/>
            <p:nvPr/>
          </p:nvCxnSpPr>
          <p:spPr>
            <a:xfrm>
              <a:off x="591324" y="3678957"/>
              <a:ext cx="0" cy="1028799"/>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F4E9126-9852-4FB3-8BB2-F8558086009F}"/>
                </a:ext>
              </a:extLst>
            </p:cNvPr>
            <p:cNvCxnSpPr/>
            <p:nvPr/>
          </p:nvCxnSpPr>
          <p:spPr>
            <a:xfrm>
              <a:off x="2466474" y="3678957"/>
              <a:ext cx="9172976" cy="1028799"/>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8B2B6D51-B7F0-4F58-8DEE-372145921CB2}"/>
                </a:ext>
              </a:extLst>
            </p:cNvPr>
            <p:cNvGrpSpPr/>
            <p:nvPr/>
          </p:nvGrpSpPr>
          <p:grpSpPr>
            <a:xfrm>
              <a:off x="345018" y="1912039"/>
              <a:ext cx="11510432" cy="1766918"/>
              <a:chOff x="337788" y="2162040"/>
              <a:chExt cx="11540738" cy="1766918"/>
            </a:xfrm>
          </p:grpSpPr>
          <p:sp>
            <p:nvSpPr>
              <p:cNvPr id="25" name="Arrow: Chevron 24">
                <a:extLst>
                  <a:ext uri="{FF2B5EF4-FFF2-40B4-BE49-F238E27FC236}">
                    <a16:creationId xmlns:a16="http://schemas.microsoft.com/office/drawing/2014/main" id="{4365DB9B-63BE-402F-B902-A0B80437BBD9}"/>
                  </a:ext>
                </a:extLst>
              </p:cNvPr>
              <p:cNvSpPr/>
              <p:nvPr/>
            </p:nvSpPr>
            <p:spPr>
              <a:xfrm>
                <a:off x="4885467" y="2162040"/>
                <a:ext cx="2443811" cy="1766918"/>
              </a:xfrm>
              <a:prstGeom prst="chevron">
                <a:avLst>
                  <a:gd name="adj" fmla="val 15715"/>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dirty="0">
                    <a:solidFill>
                      <a:schemeClr val="tx1"/>
                    </a:solidFill>
                  </a:rPr>
                  <a:t>Text</a:t>
                </a:r>
              </a:p>
            </p:txBody>
          </p:sp>
          <p:sp>
            <p:nvSpPr>
              <p:cNvPr id="26" name="AutoShape 5">
                <a:extLst>
                  <a:ext uri="{FF2B5EF4-FFF2-40B4-BE49-F238E27FC236}">
                    <a16:creationId xmlns:a16="http://schemas.microsoft.com/office/drawing/2014/main" id="{BCBF9ED9-EF34-421E-8343-6F8C64F1B400}"/>
                  </a:ext>
                </a:extLst>
              </p:cNvPr>
              <p:cNvSpPr>
                <a:spLocks noChangeArrowheads="1"/>
              </p:cNvSpPr>
              <p:nvPr/>
            </p:nvSpPr>
            <p:spPr bwMode="auto">
              <a:xfrm>
                <a:off x="337788" y="2162040"/>
                <a:ext cx="2442831" cy="1766918"/>
              </a:xfrm>
              <a:prstGeom prst="homePlate">
                <a:avLst>
                  <a:gd name="adj" fmla="val 16553"/>
                </a:avLst>
              </a:prstGeom>
              <a:solidFill>
                <a:schemeClr val="accent1"/>
              </a:solidFill>
              <a:ln w="6350">
                <a:noFill/>
                <a:miter lim="800000"/>
                <a:headEnd/>
                <a:tailEnd/>
              </a:ln>
              <a:effectLst/>
            </p:spPr>
            <p:txBody>
              <a:bodyPr wrap="square" lIns="180000" tIns="108000" rIns="108000" bIns="108000" anchor="ctr" anchorCtr="0"/>
              <a:lstStyle/>
              <a:p>
                <a:pPr algn="l" eaLnBrk="0" hangingPunct="0"/>
                <a:r>
                  <a:rPr lang="en-US" dirty="0">
                    <a:solidFill>
                      <a:schemeClr val="bg1"/>
                    </a:solidFill>
                  </a:rPr>
                  <a:t>Text</a:t>
                </a:r>
              </a:p>
            </p:txBody>
          </p:sp>
          <p:sp>
            <p:nvSpPr>
              <p:cNvPr id="27" name="Arrow: Chevron 26">
                <a:extLst>
                  <a:ext uri="{FF2B5EF4-FFF2-40B4-BE49-F238E27FC236}">
                    <a16:creationId xmlns:a16="http://schemas.microsoft.com/office/drawing/2014/main" id="{554BAE68-FF54-4042-83CB-74DBDA50D55E}"/>
                  </a:ext>
                </a:extLst>
              </p:cNvPr>
              <p:cNvSpPr/>
              <p:nvPr/>
            </p:nvSpPr>
            <p:spPr>
              <a:xfrm>
                <a:off x="9434126" y="2162040"/>
                <a:ext cx="2444400" cy="1766918"/>
              </a:xfrm>
              <a:prstGeom prst="chevron">
                <a:avLst>
                  <a:gd name="adj" fmla="val 15715"/>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dirty="0">
                    <a:solidFill>
                      <a:schemeClr val="tx1"/>
                    </a:solidFill>
                  </a:rPr>
                  <a:t>Text</a:t>
                </a:r>
              </a:p>
            </p:txBody>
          </p:sp>
          <p:sp>
            <p:nvSpPr>
              <p:cNvPr id="28" name="Arrow: Chevron 27">
                <a:extLst>
                  <a:ext uri="{FF2B5EF4-FFF2-40B4-BE49-F238E27FC236}">
                    <a16:creationId xmlns:a16="http://schemas.microsoft.com/office/drawing/2014/main" id="{DB20B16C-13E1-43B5-A700-90AB212E45A4}"/>
                  </a:ext>
                </a:extLst>
              </p:cNvPr>
              <p:cNvSpPr/>
              <p:nvPr/>
            </p:nvSpPr>
            <p:spPr>
              <a:xfrm>
                <a:off x="2611138" y="2162040"/>
                <a:ext cx="2443811" cy="1766918"/>
              </a:xfrm>
              <a:prstGeom prst="chevron">
                <a:avLst>
                  <a:gd name="adj" fmla="val 15715"/>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dirty="0">
                    <a:solidFill>
                      <a:schemeClr val="tx1"/>
                    </a:solidFill>
                  </a:rPr>
                  <a:t>Text</a:t>
                </a:r>
              </a:p>
            </p:txBody>
          </p:sp>
          <p:sp>
            <p:nvSpPr>
              <p:cNvPr id="29" name="Arrow: Chevron 28">
                <a:extLst>
                  <a:ext uri="{FF2B5EF4-FFF2-40B4-BE49-F238E27FC236}">
                    <a16:creationId xmlns:a16="http://schemas.microsoft.com/office/drawing/2014/main" id="{359730C3-0D48-4EFE-9DD8-399A164FF253}"/>
                  </a:ext>
                </a:extLst>
              </p:cNvPr>
              <p:cNvSpPr/>
              <p:nvPr/>
            </p:nvSpPr>
            <p:spPr>
              <a:xfrm>
                <a:off x="7159796" y="2162040"/>
                <a:ext cx="2443811" cy="1766918"/>
              </a:xfrm>
              <a:prstGeom prst="chevron">
                <a:avLst>
                  <a:gd name="adj" fmla="val 15715"/>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dirty="0">
                    <a:solidFill>
                      <a:schemeClr val="tx1"/>
                    </a:solidFill>
                  </a:rPr>
                  <a:t>Text</a:t>
                </a:r>
              </a:p>
            </p:txBody>
          </p:sp>
        </p:grpSp>
        <p:grpSp>
          <p:nvGrpSpPr>
            <p:cNvPr id="30" name="Group 29">
              <a:extLst>
                <a:ext uri="{FF2B5EF4-FFF2-40B4-BE49-F238E27FC236}">
                  <a16:creationId xmlns:a16="http://schemas.microsoft.com/office/drawing/2014/main" id="{1D27EA06-0B36-4369-A5CE-0BD6B9DBDA2E}"/>
                </a:ext>
              </a:extLst>
            </p:cNvPr>
            <p:cNvGrpSpPr/>
            <p:nvPr/>
          </p:nvGrpSpPr>
          <p:grpSpPr>
            <a:xfrm>
              <a:off x="345019" y="4707756"/>
              <a:ext cx="11517662" cy="1368111"/>
              <a:chOff x="336218" y="4080545"/>
              <a:chExt cx="13817227" cy="1766918"/>
            </a:xfrm>
            <a:solidFill>
              <a:schemeClr val="accent1">
                <a:lumMod val="20000"/>
                <a:lumOff val="80000"/>
              </a:schemeClr>
            </a:solidFill>
          </p:grpSpPr>
          <p:sp>
            <p:nvSpPr>
              <p:cNvPr id="31" name="Arrow: Chevron 30">
                <a:extLst>
                  <a:ext uri="{FF2B5EF4-FFF2-40B4-BE49-F238E27FC236}">
                    <a16:creationId xmlns:a16="http://schemas.microsoft.com/office/drawing/2014/main" id="{8A4F7CAA-1FB5-47C7-9B49-9671EF5DFE59}"/>
                  </a:ext>
                </a:extLst>
              </p:cNvPr>
              <p:cNvSpPr/>
              <p:nvPr/>
            </p:nvSpPr>
            <p:spPr>
              <a:xfrm>
                <a:off x="4885467" y="4080545"/>
                <a:ext cx="2443811" cy="1766918"/>
              </a:xfrm>
              <a:prstGeom prst="chevron">
                <a:avLst>
                  <a:gd name="adj" fmla="val 15715"/>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sz="1600" dirty="0">
                    <a:solidFill>
                      <a:schemeClr val="tx1"/>
                    </a:solidFill>
                  </a:rPr>
                  <a:t>Text</a:t>
                </a:r>
              </a:p>
            </p:txBody>
          </p:sp>
          <p:sp>
            <p:nvSpPr>
              <p:cNvPr id="32" name="Arrow: Chevron 31">
                <a:extLst>
                  <a:ext uri="{FF2B5EF4-FFF2-40B4-BE49-F238E27FC236}">
                    <a16:creationId xmlns:a16="http://schemas.microsoft.com/office/drawing/2014/main" id="{9BB9BA1E-EB1F-4770-A632-15ADA80284C7}"/>
                  </a:ext>
                </a:extLst>
              </p:cNvPr>
              <p:cNvSpPr/>
              <p:nvPr/>
            </p:nvSpPr>
            <p:spPr>
              <a:xfrm>
                <a:off x="9434126" y="4080545"/>
                <a:ext cx="2444400" cy="1766918"/>
              </a:xfrm>
              <a:prstGeom prst="chevron">
                <a:avLst>
                  <a:gd name="adj" fmla="val 15715"/>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sz="1600" dirty="0">
                    <a:solidFill>
                      <a:schemeClr val="tx1"/>
                    </a:solidFill>
                  </a:rPr>
                  <a:t>Text</a:t>
                </a:r>
              </a:p>
            </p:txBody>
          </p:sp>
          <p:sp>
            <p:nvSpPr>
              <p:cNvPr id="33" name="Arrow: Chevron 32">
                <a:extLst>
                  <a:ext uri="{FF2B5EF4-FFF2-40B4-BE49-F238E27FC236}">
                    <a16:creationId xmlns:a16="http://schemas.microsoft.com/office/drawing/2014/main" id="{BEBE1CB5-AA00-4DBC-9C64-375C61F9AD1C}"/>
                  </a:ext>
                </a:extLst>
              </p:cNvPr>
              <p:cNvSpPr/>
              <p:nvPr/>
            </p:nvSpPr>
            <p:spPr>
              <a:xfrm>
                <a:off x="2611138" y="4080545"/>
                <a:ext cx="2443811" cy="1766918"/>
              </a:xfrm>
              <a:prstGeom prst="chevron">
                <a:avLst>
                  <a:gd name="adj" fmla="val 15715"/>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sz="1600" dirty="0">
                    <a:solidFill>
                      <a:schemeClr val="tx1"/>
                    </a:solidFill>
                  </a:rPr>
                  <a:t>Text</a:t>
                </a:r>
              </a:p>
            </p:txBody>
          </p:sp>
          <p:sp>
            <p:nvSpPr>
              <p:cNvPr id="34" name="Arrow: Chevron 33">
                <a:extLst>
                  <a:ext uri="{FF2B5EF4-FFF2-40B4-BE49-F238E27FC236}">
                    <a16:creationId xmlns:a16="http://schemas.microsoft.com/office/drawing/2014/main" id="{31602C5D-1109-49E7-A820-905F0BD3FA88}"/>
                  </a:ext>
                </a:extLst>
              </p:cNvPr>
              <p:cNvSpPr/>
              <p:nvPr/>
            </p:nvSpPr>
            <p:spPr>
              <a:xfrm>
                <a:off x="7159796" y="4080545"/>
                <a:ext cx="2443811" cy="1766918"/>
              </a:xfrm>
              <a:prstGeom prst="chevron">
                <a:avLst>
                  <a:gd name="adj" fmla="val 15715"/>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sz="1600" dirty="0">
                    <a:solidFill>
                      <a:schemeClr val="tx1"/>
                    </a:solidFill>
                  </a:rPr>
                  <a:t>Text</a:t>
                </a:r>
              </a:p>
            </p:txBody>
          </p:sp>
          <p:sp>
            <p:nvSpPr>
              <p:cNvPr id="35" name="Arrow: Chevron 34">
                <a:extLst>
                  <a:ext uri="{FF2B5EF4-FFF2-40B4-BE49-F238E27FC236}">
                    <a16:creationId xmlns:a16="http://schemas.microsoft.com/office/drawing/2014/main" id="{6EE4C096-AD3A-4B69-A430-D91E1D21B59A}"/>
                  </a:ext>
                </a:extLst>
              </p:cNvPr>
              <p:cNvSpPr/>
              <p:nvPr/>
            </p:nvSpPr>
            <p:spPr>
              <a:xfrm>
                <a:off x="11709045" y="4080545"/>
                <a:ext cx="2444400" cy="1766918"/>
              </a:xfrm>
              <a:prstGeom prst="chevron">
                <a:avLst>
                  <a:gd name="adj" fmla="val 15715"/>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sz="1600" dirty="0">
                    <a:solidFill>
                      <a:schemeClr val="tx1"/>
                    </a:solidFill>
                  </a:rPr>
                  <a:t>Text</a:t>
                </a:r>
              </a:p>
            </p:txBody>
          </p:sp>
          <p:sp>
            <p:nvSpPr>
              <p:cNvPr id="36" name="Arrow: Chevron 35">
                <a:extLst>
                  <a:ext uri="{FF2B5EF4-FFF2-40B4-BE49-F238E27FC236}">
                    <a16:creationId xmlns:a16="http://schemas.microsoft.com/office/drawing/2014/main" id="{AAEE2D4C-5516-4990-B780-2A5865F4478E}"/>
                  </a:ext>
                </a:extLst>
              </p:cNvPr>
              <p:cNvSpPr/>
              <p:nvPr/>
            </p:nvSpPr>
            <p:spPr>
              <a:xfrm>
                <a:off x="336218" y="4080545"/>
                <a:ext cx="2443811" cy="1766918"/>
              </a:xfrm>
              <a:prstGeom prst="chevron">
                <a:avLst>
                  <a:gd name="adj" fmla="val 15715"/>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sz="1600" dirty="0">
                    <a:solidFill>
                      <a:schemeClr val="tx1"/>
                    </a:solidFill>
                  </a:rPr>
                  <a:t>Text</a:t>
                </a:r>
              </a:p>
            </p:txBody>
          </p:sp>
        </p:grpSp>
        <p:sp>
          <p:nvSpPr>
            <p:cNvPr id="37" name="Shape 68">
              <a:extLst>
                <a:ext uri="{FF2B5EF4-FFF2-40B4-BE49-F238E27FC236}">
                  <a16:creationId xmlns:a16="http://schemas.microsoft.com/office/drawing/2014/main" id="{1E778218-BADE-4775-AF00-02025682DF9A}"/>
                </a:ext>
              </a:extLst>
            </p:cNvPr>
            <p:cNvSpPr/>
            <p:nvPr/>
          </p:nvSpPr>
          <p:spPr>
            <a:xfrm>
              <a:off x="345017" y="1699285"/>
              <a:ext cx="11512800" cy="0"/>
            </a:xfrm>
            <a:prstGeom prst="line">
              <a:avLst/>
            </a:prstGeom>
            <a:ln w="12700" cmpd="sng">
              <a:solidFill>
                <a:schemeClr val="tx2">
                  <a:lumMod val="60000"/>
                  <a:lumOff val="40000"/>
                </a:schemeClr>
              </a:solidFill>
              <a:prstDash val="solid"/>
              <a:miter lim="400000"/>
              <a:headEnd type="none" len="sm"/>
              <a:tailEnd type="none" len="sm"/>
            </a:ln>
          </p:spPr>
          <p:txBody>
            <a:bodyPr lIns="0" tIns="0" rIns="0" bIns="0" anchor="ctr"/>
            <a:lstStyle/>
            <a:p>
              <a:pPr>
                <a:defRPr sz="3200"/>
              </a:pPr>
              <a:endParaRPr lang="en-US" sz="3199" dirty="0"/>
            </a:p>
          </p:txBody>
        </p:sp>
        <p:sp>
          <p:nvSpPr>
            <p:cNvPr id="38" name="TextBox 37">
              <a:extLst>
                <a:ext uri="{FF2B5EF4-FFF2-40B4-BE49-F238E27FC236}">
                  <a16:creationId xmlns:a16="http://schemas.microsoft.com/office/drawing/2014/main" id="{9683DAC1-6F1A-4790-9497-97107FC333E6}"/>
                </a:ext>
              </a:extLst>
            </p:cNvPr>
            <p:cNvSpPr txBox="1"/>
            <p:nvPr/>
          </p:nvSpPr>
          <p:spPr>
            <a:xfrm>
              <a:off x="345018" y="1288295"/>
              <a:ext cx="11463047" cy="355939"/>
            </a:xfrm>
            <a:prstGeom prst="rect">
              <a:avLst/>
            </a:prstGeom>
          </p:spPr>
          <p:txBody>
            <a:bodyPr vert="horz" wrap="square" lIns="0" tIns="0" rIns="0" bIns="0" rtlCol="0" anchor="b" anchorCtr="0">
              <a:noAutofit/>
            </a:bodyPr>
            <a:lstStyle/>
            <a:p>
              <a:r>
                <a:rPr lang="en-AU" b="1" dirty="0">
                  <a:latin typeface="+mj-lt"/>
                </a:rPr>
                <a:t>Title</a:t>
              </a:r>
            </a:p>
          </p:txBody>
        </p:sp>
      </p:grpSp>
      <p:sp>
        <p:nvSpPr>
          <p:cNvPr id="5" name="Footer Placeholder 4">
            <a:extLst>
              <a:ext uri="{FF2B5EF4-FFF2-40B4-BE49-F238E27FC236}">
                <a16:creationId xmlns:a16="http://schemas.microsoft.com/office/drawing/2014/main" id="{8B1F52C5-122F-49A6-9039-CFDB78C6E139}"/>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2008A7AB-FDAB-4540-83C0-AF46DDB15CCA}"/>
              </a:ext>
            </a:extLst>
          </p:cNvPr>
          <p:cNvSpPr>
            <a:spLocks noGrp="1"/>
          </p:cNvSpPr>
          <p:nvPr>
            <p:ph type="sldNum" sz="quarter" idx="10"/>
          </p:nvPr>
        </p:nvSpPr>
        <p:spPr/>
        <p:txBody>
          <a:bodyPr/>
          <a:lstStyle/>
          <a:p>
            <a:fld id="{1F90F471-3972-4120-B8B3-0237DE626C35}" type="slidenum">
              <a:rPr lang="en-US" smtClean="0"/>
              <a:pPr/>
              <a:t>193</a:t>
            </a:fld>
            <a:endParaRPr lang="en-US" dirty="0"/>
          </a:p>
        </p:txBody>
      </p:sp>
    </p:spTree>
    <p:extLst>
      <p:ext uri="{BB962C8B-B14F-4D97-AF65-F5344CB8AC3E}">
        <p14:creationId xmlns:p14="http://schemas.microsoft.com/office/powerpoint/2010/main" val="1003367970"/>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Linear Flow 6</a:t>
            </a:r>
          </a:p>
        </p:txBody>
      </p:sp>
      <p:sp>
        <p:nvSpPr>
          <p:cNvPr id="14" name="AutoShape 4">
            <a:extLst>
              <a:ext uri="{FF2B5EF4-FFF2-40B4-BE49-F238E27FC236}">
                <a16:creationId xmlns:a16="http://schemas.microsoft.com/office/drawing/2014/main" id="{93FE6D7D-A440-40A4-9D67-32669DAD4877}"/>
              </a:ext>
            </a:extLst>
          </p:cNvPr>
          <p:cNvSpPr>
            <a:spLocks noChangeArrowheads="1"/>
          </p:cNvSpPr>
          <p:nvPr/>
        </p:nvSpPr>
        <p:spPr bwMode="auto">
          <a:xfrm>
            <a:off x="334962" y="1777072"/>
            <a:ext cx="8520280" cy="1188000"/>
          </a:xfrm>
          <a:prstGeom prst="homePlate">
            <a:avLst>
              <a:gd name="adj" fmla="val 32315"/>
            </a:avLst>
          </a:prstGeom>
          <a:solidFill>
            <a:schemeClr val="tx2">
              <a:lumMod val="20000"/>
              <a:lumOff val="80000"/>
            </a:schemeClr>
          </a:solidFill>
          <a:ln w="6350">
            <a:noFill/>
            <a:miter lim="800000"/>
            <a:headEnd/>
            <a:tailEnd/>
          </a:ln>
          <a:effectLst/>
        </p:spPr>
        <p:txBody>
          <a:bodyPr lIns="180000" tIns="180000" rIns="1080000" bIns="72000"/>
          <a:lstStyle/>
          <a:p>
            <a:pPr algn="l" eaLnBrk="0" hangingPunct="0"/>
            <a:r>
              <a:rPr lang="en-US">
                <a:solidFill>
                  <a:schemeClr val="tx1"/>
                </a:solidFill>
              </a:rPr>
              <a:t>Text</a:t>
            </a:r>
          </a:p>
        </p:txBody>
      </p:sp>
      <p:sp>
        <p:nvSpPr>
          <p:cNvPr id="5" name="AutoShape 4">
            <a:extLst>
              <a:ext uri="{FF2B5EF4-FFF2-40B4-BE49-F238E27FC236}">
                <a16:creationId xmlns:a16="http://schemas.microsoft.com/office/drawing/2014/main" id="{8F1158FA-70A7-49E4-A32A-8202A0B1C4C9}"/>
              </a:ext>
            </a:extLst>
          </p:cNvPr>
          <p:cNvSpPr>
            <a:spLocks noChangeArrowheads="1"/>
          </p:cNvSpPr>
          <p:nvPr/>
        </p:nvSpPr>
        <p:spPr bwMode="auto">
          <a:xfrm>
            <a:off x="334962" y="3172050"/>
            <a:ext cx="8520280" cy="1188000"/>
          </a:xfrm>
          <a:prstGeom prst="homePlate">
            <a:avLst>
              <a:gd name="adj" fmla="val 32315"/>
            </a:avLst>
          </a:prstGeom>
          <a:solidFill>
            <a:schemeClr val="tx2">
              <a:lumMod val="20000"/>
              <a:lumOff val="80000"/>
            </a:schemeClr>
          </a:solidFill>
          <a:ln w="6350">
            <a:noFill/>
            <a:miter lim="800000"/>
            <a:headEnd/>
            <a:tailEnd/>
          </a:ln>
          <a:effectLst/>
        </p:spPr>
        <p:txBody>
          <a:bodyPr lIns="180000" tIns="180000" rIns="1080000" bIns="72000"/>
          <a:lstStyle/>
          <a:p>
            <a:pPr algn="l" eaLnBrk="0" hangingPunct="0"/>
            <a:r>
              <a:rPr lang="en-US">
                <a:solidFill>
                  <a:schemeClr val="tx1"/>
                </a:solidFill>
              </a:rPr>
              <a:t>Text</a:t>
            </a:r>
          </a:p>
        </p:txBody>
      </p:sp>
      <p:sp>
        <p:nvSpPr>
          <p:cNvPr id="16" name="AutoShape 6">
            <a:extLst>
              <a:ext uri="{FF2B5EF4-FFF2-40B4-BE49-F238E27FC236}">
                <a16:creationId xmlns:a16="http://schemas.microsoft.com/office/drawing/2014/main" id="{029F4210-573B-43F5-8B98-9A9EA295B2D3}"/>
              </a:ext>
            </a:extLst>
          </p:cNvPr>
          <p:cNvSpPr>
            <a:spLocks noChangeAspect="1" noChangeArrowheads="1"/>
          </p:cNvSpPr>
          <p:nvPr/>
        </p:nvSpPr>
        <p:spPr bwMode="auto">
          <a:xfrm>
            <a:off x="7823450" y="1777072"/>
            <a:ext cx="4032000" cy="2582978"/>
          </a:xfrm>
          <a:prstGeom prst="chevron">
            <a:avLst>
              <a:gd name="adj" fmla="val 15929"/>
            </a:avLst>
          </a:prstGeom>
          <a:solidFill>
            <a:schemeClr val="accent2"/>
          </a:solidFill>
          <a:ln w="6350">
            <a:noFill/>
            <a:miter lim="800000"/>
            <a:headEnd/>
            <a:tailEnd/>
          </a:ln>
          <a:effectLst/>
        </p:spPr>
        <p:txBody>
          <a:bodyPr lIns="72000" tIns="486000" rIns="72000" bIns="72000"/>
          <a:lstStyle/>
          <a:p>
            <a:pPr algn="l" eaLnBrk="0" hangingPunct="0"/>
            <a:r>
              <a:rPr lang="en-US" b="1">
                <a:solidFill>
                  <a:schemeClr val="bg1"/>
                </a:solidFill>
              </a:rPr>
              <a:t>Text</a:t>
            </a:r>
          </a:p>
        </p:txBody>
      </p:sp>
      <p:sp>
        <p:nvSpPr>
          <p:cNvPr id="20" name="Text Box 7">
            <a:extLst>
              <a:ext uri="{FF2B5EF4-FFF2-40B4-BE49-F238E27FC236}">
                <a16:creationId xmlns:a16="http://schemas.microsoft.com/office/drawing/2014/main" id="{91DAC9BA-98D8-47BC-B6C1-644BEACD3D2F}"/>
              </a:ext>
            </a:extLst>
          </p:cNvPr>
          <p:cNvSpPr txBox="1">
            <a:spLocks noChangeArrowheads="1"/>
          </p:cNvSpPr>
          <p:nvPr/>
        </p:nvSpPr>
        <p:spPr bwMode="auto">
          <a:xfrm>
            <a:off x="514050" y="4480560"/>
            <a:ext cx="6896399" cy="1577340"/>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a:solidFill>
                  <a:schemeClr val="tx1"/>
                </a:solidFill>
              </a:rPr>
              <a:t>Text </a:t>
            </a:r>
          </a:p>
          <a:p>
            <a:pPr marL="179388" indent="-179388" eaLnBrk="0" hangingPunct="0">
              <a:spcBef>
                <a:spcPts val="100"/>
              </a:spcBef>
              <a:spcAft>
                <a:spcPts val="100"/>
              </a:spcAft>
              <a:buClr>
                <a:schemeClr val="tx1"/>
              </a:buClr>
              <a:buFontTx/>
              <a:buChar char="•"/>
            </a:pPr>
            <a:r>
              <a:rPr lang="en-US" sz="1400"/>
              <a:t>Text </a:t>
            </a:r>
          </a:p>
          <a:p>
            <a:pPr marL="179388" indent="-179388" eaLnBrk="0" hangingPunct="0">
              <a:spcBef>
                <a:spcPts val="100"/>
              </a:spcBef>
              <a:spcAft>
                <a:spcPts val="100"/>
              </a:spcAft>
              <a:buClr>
                <a:schemeClr val="tx1"/>
              </a:buClr>
              <a:buFontTx/>
              <a:buChar char="•"/>
            </a:pPr>
            <a:r>
              <a:rPr lang="en-US" sz="1400"/>
              <a:t>Text </a:t>
            </a:r>
            <a:endParaRPr lang="en-US" sz="1400" dirty="0"/>
          </a:p>
        </p:txBody>
      </p:sp>
      <p:sp>
        <p:nvSpPr>
          <p:cNvPr id="18" name="Text Box 7">
            <a:extLst>
              <a:ext uri="{FF2B5EF4-FFF2-40B4-BE49-F238E27FC236}">
                <a16:creationId xmlns:a16="http://schemas.microsoft.com/office/drawing/2014/main" id="{22D176C4-3F5B-417A-93DC-D1112A52A7A7}"/>
              </a:ext>
            </a:extLst>
          </p:cNvPr>
          <p:cNvSpPr txBox="1">
            <a:spLocks noChangeArrowheads="1"/>
          </p:cNvSpPr>
          <p:nvPr/>
        </p:nvSpPr>
        <p:spPr bwMode="auto">
          <a:xfrm>
            <a:off x="8322546" y="4480560"/>
            <a:ext cx="3120390" cy="1577340"/>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a:solidFill>
                  <a:schemeClr val="tx1"/>
                </a:solidFill>
              </a:rPr>
              <a:t>Text </a:t>
            </a:r>
          </a:p>
          <a:p>
            <a:pPr marL="179388" indent="-179388" eaLnBrk="0" hangingPunct="0">
              <a:spcBef>
                <a:spcPts val="100"/>
              </a:spcBef>
              <a:spcAft>
                <a:spcPts val="100"/>
              </a:spcAft>
              <a:buClr>
                <a:schemeClr val="tx1"/>
              </a:buClr>
              <a:buFontTx/>
              <a:buChar char="•"/>
            </a:pPr>
            <a:r>
              <a:rPr lang="en-US" sz="1400"/>
              <a:t>Text </a:t>
            </a:r>
          </a:p>
          <a:p>
            <a:pPr marL="179388" indent="-179388" eaLnBrk="0" hangingPunct="0">
              <a:spcBef>
                <a:spcPts val="100"/>
              </a:spcBef>
              <a:spcAft>
                <a:spcPts val="100"/>
              </a:spcAft>
              <a:buClr>
                <a:schemeClr val="tx1"/>
              </a:buClr>
              <a:buFontTx/>
              <a:buChar char="•"/>
            </a:pPr>
            <a:r>
              <a:rPr lang="en-US" sz="1400"/>
              <a:t>Text </a:t>
            </a:r>
            <a:endParaRPr lang="en-US" sz="1400" dirty="0"/>
          </a:p>
        </p:txBody>
      </p:sp>
      <p:sp>
        <p:nvSpPr>
          <p:cNvPr id="6" name="Footer Placeholder 5">
            <a:extLst>
              <a:ext uri="{FF2B5EF4-FFF2-40B4-BE49-F238E27FC236}">
                <a16:creationId xmlns:a16="http://schemas.microsoft.com/office/drawing/2014/main" id="{B4D13885-E6EA-4A44-8B07-DF4F5669A15F}"/>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7" name="Slide Number Placeholder 6">
            <a:extLst>
              <a:ext uri="{FF2B5EF4-FFF2-40B4-BE49-F238E27FC236}">
                <a16:creationId xmlns:a16="http://schemas.microsoft.com/office/drawing/2014/main" id="{D338834C-9E6D-4145-ABC9-938F17922D83}"/>
              </a:ext>
            </a:extLst>
          </p:cNvPr>
          <p:cNvSpPr>
            <a:spLocks noGrp="1"/>
          </p:cNvSpPr>
          <p:nvPr>
            <p:ph type="sldNum" sz="quarter" idx="10"/>
          </p:nvPr>
        </p:nvSpPr>
        <p:spPr/>
        <p:txBody>
          <a:bodyPr/>
          <a:lstStyle/>
          <a:p>
            <a:fld id="{1F90F471-3972-4120-B8B3-0237DE626C35}" type="slidenum">
              <a:rPr lang="en-US" smtClean="0"/>
              <a:pPr/>
              <a:t>194</a:t>
            </a:fld>
            <a:endParaRPr lang="en-US" dirty="0"/>
          </a:p>
        </p:txBody>
      </p:sp>
    </p:spTree>
    <p:extLst>
      <p:ext uri="{BB962C8B-B14F-4D97-AF65-F5344CB8AC3E}">
        <p14:creationId xmlns:p14="http://schemas.microsoft.com/office/powerpoint/2010/main" val="3873444003"/>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Linear Flow 7</a:t>
            </a:r>
          </a:p>
        </p:txBody>
      </p:sp>
      <p:sp>
        <p:nvSpPr>
          <p:cNvPr id="5" name="Arrow: Pentagon 4">
            <a:extLst>
              <a:ext uri="{FF2B5EF4-FFF2-40B4-BE49-F238E27FC236}">
                <a16:creationId xmlns:a16="http://schemas.microsoft.com/office/drawing/2014/main" id="{093FA37E-5120-41D6-835E-709A49EB6098}"/>
              </a:ext>
            </a:extLst>
          </p:cNvPr>
          <p:cNvSpPr/>
          <p:nvPr/>
        </p:nvSpPr>
        <p:spPr>
          <a:xfrm>
            <a:off x="7640053" y="1628800"/>
            <a:ext cx="4215397" cy="2731250"/>
          </a:xfrm>
          <a:prstGeom prst="homePlate">
            <a:avLst>
              <a:gd name="adj" fmla="val 18484"/>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468000" tIns="180000" rIns="144000" rtlCol="0" anchor="t" anchorCtr="0"/>
          <a:lstStyle/>
          <a:p>
            <a:r>
              <a:rPr lang="en-AU" b="1"/>
              <a:t>Text</a:t>
            </a:r>
            <a:endParaRPr lang="en-AU" b="1" dirty="0"/>
          </a:p>
        </p:txBody>
      </p:sp>
      <p:sp>
        <p:nvSpPr>
          <p:cNvPr id="14" name="Text Box 7">
            <a:extLst>
              <a:ext uri="{FF2B5EF4-FFF2-40B4-BE49-F238E27FC236}">
                <a16:creationId xmlns:a16="http://schemas.microsoft.com/office/drawing/2014/main" id="{F3341E4A-3DC5-44F3-8043-1886DE54D0D8}"/>
              </a:ext>
            </a:extLst>
          </p:cNvPr>
          <p:cNvSpPr txBox="1">
            <a:spLocks noChangeArrowheads="1"/>
          </p:cNvSpPr>
          <p:nvPr/>
        </p:nvSpPr>
        <p:spPr bwMode="auto">
          <a:xfrm>
            <a:off x="514050" y="4480560"/>
            <a:ext cx="3228411" cy="1577340"/>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dirty="0">
                <a:solidFill>
                  <a:schemeClr val="tx1"/>
                </a:solidFill>
              </a:rPr>
              <a:t>Text </a:t>
            </a:r>
          </a:p>
          <a:p>
            <a:pPr marL="179388" indent="-179388" eaLnBrk="0" hangingPunct="0">
              <a:spcBef>
                <a:spcPts val="100"/>
              </a:spcBef>
              <a:spcAft>
                <a:spcPts val="100"/>
              </a:spcAft>
              <a:buClr>
                <a:schemeClr val="tx1"/>
              </a:buClr>
              <a:buFontTx/>
              <a:buChar char="•"/>
            </a:pPr>
            <a:r>
              <a:rPr lang="en-US" sz="1400" dirty="0"/>
              <a:t>Text </a:t>
            </a:r>
          </a:p>
          <a:p>
            <a:pPr marL="179388" indent="-179388" eaLnBrk="0" hangingPunct="0">
              <a:spcBef>
                <a:spcPts val="100"/>
              </a:spcBef>
              <a:spcAft>
                <a:spcPts val="100"/>
              </a:spcAft>
              <a:buClr>
                <a:schemeClr val="tx1"/>
              </a:buClr>
              <a:buFontTx/>
              <a:buChar char="•"/>
            </a:pPr>
            <a:r>
              <a:rPr lang="en-US" sz="1400" dirty="0"/>
              <a:t>Text </a:t>
            </a:r>
          </a:p>
        </p:txBody>
      </p:sp>
      <p:sp>
        <p:nvSpPr>
          <p:cNvPr id="16" name="Arrow: Pentagon 15">
            <a:extLst>
              <a:ext uri="{FF2B5EF4-FFF2-40B4-BE49-F238E27FC236}">
                <a16:creationId xmlns:a16="http://schemas.microsoft.com/office/drawing/2014/main" id="{8DA8E00B-C8AF-491C-8CDF-2E09D0CAE156}"/>
              </a:ext>
            </a:extLst>
          </p:cNvPr>
          <p:cNvSpPr/>
          <p:nvPr/>
        </p:nvSpPr>
        <p:spPr>
          <a:xfrm>
            <a:off x="3958389" y="2145156"/>
            <a:ext cx="4104000" cy="2214894"/>
          </a:xfrm>
          <a:prstGeom prst="homePlate">
            <a:avLst>
              <a:gd name="adj" fmla="val 18484"/>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468000" tIns="180000" rIns="144000" rtlCol="0" anchor="t" anchorCtr="0"/>
          <a:lstStyle/>
          <a:p>
            <a:r>
              <a:rPr lang="en-AU" b="1" dirty="0"/>
              <a:t>Text</a:t>
            </a:r>
          </a:p>
        </p:txBody>
      </p:sp>
      <p:sp>
        <p:nvSpPr>
          <p:cNvPr id="18" name="Arrow: Pentagon 17">
            <a:extLst>
              <a:ext uri="{FF2B5EF4-FFF2-40B4-BE49-F238E27FC236}">
                <a16:creationId xmlns:a16="http://schemas.microsoft.com/office/drawing/2014/main" id="{71D3C868-7F34-45CD-AF32-625FE8A168ED}"/>
              </a:ext>
            </a:extLst>
          </p:cNvPr>
          <p:cNvSpPr/>
          <p:nvPr/>
        </p:nvSpPr>
        <p:spPr>
          <a:xfrm>
            <a:off x="334962" y="2642100"/>
            <a:ext cx="3960000" cy="1717950"/>
          </a:xfrm>
          <a:prstGeom prst="homePlate">
            <a:avLst>
              <a:gd name="adj" fmla="val 18484"/>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180000" tIns="180000" rIns="144000" rtlCol="0" anchor="t" anchorCtr="0"/>
          <a:lstStyle/>
          <a:p>
            <a:r>
              <a:rPr lang="en-AU" b="1" dirty="0">
                <a:solidFill>
                  <a:schemeClr val="tx1"/>
                </a:solidFill>
              </a:rPr>
              <a:t>Text</a:t>
            </a:r>
          </a:p>
        </p:txBody>
      </p:sp>
      <p:sp>
        <p:nvSpPr>
          <p:cNvPr id="20" name="Text Box 7">
            <a:extLst>
              <a:ext uri="{FF2B5EF4-FFF2-40B4-BE49-F238E27FC236}">
                <a16:creationId xmlns:a16="http://schemas.microsoft.com/office/drawing/2014/main" id="{DFAB0A70-F727-4ACA-8C2E-870A7BB5C166}"/>
              </a:ext>
            </a:extLst>
          </p:cNvPr>
          <p:cNvSpPr txBox="1">
            <a:spLocks noChangeArrowheads="1"/>
          </p:cNvSpPr>
          <p:nvPr/>
        </p:nvSpPr>
        <p:spPr bwMode="auto">
          <a:xfrm>
            <a:off x="4443527" y="4480560"/>
            <a:ext cx="3228411" cy="1577340"/>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dirty="0">
                <a:solidFill>
                  <a:schemeClr val="tx1"/>
                </a:solidFill>
              </a:rPr>
              <a:t>Text </a:t>
            </a:r>
          </a:p>
          <a:p>
            <a:pPr marL="179388" indent="-179388" eaLnBrk="0" hangingPunct="0">
              <a:spcBef>
                <a:spcPts val="100"/>
              </a:spcBef>
              <a:spcAft>
                <a:spcPts val="100"/>
              </a:spcAft>
              <a:buClr>
                <a:schemeClr val="tx1"/>
              </a:buClr>
              <a:buFontTx/>
              <a:buChar char="•"/>
            </a:pPr>
            <a:r>
              <a:rPr lang="en-US" sz="1400" dirty="0"/>
              <a:t>Text </a:t>
            </a:r>
          </a:p>
          <a:p>
            <a:pPr marL="179388" indent="-179388" eaLnBrk="0" hangingPunct="0">
              <a:spcBef>
                <a:spcPts val="100"/>
              </a:spcBef>
              <a:spcAft>
                <a:spcPts val="100"/>
              </a:spcAft>
              <a:buClr>
                <a:schemeClr val="tx1"/>
              </a:buClr>
              <a:buFontTx/>
              <a:buChar char="•"/>
            </a:pPr>
            <a:r>
              <a:rPr lang="en-US" sz="1400" dirty="0"/>
              <a:t>Text </a:t>
            </a:r>
          </a:p>
        </p:txBody>
      </p:sp>
      <p:sp>
        <p:nvSpPr>
          <p:cNvPr id="22" name="Text Box 7">
            <a:extLst>
              <a:ext uri="{FF2B5EF4-FFF2-40B4-BE49-F238E27FC236}">
                <a16:creationId xmlns:a16="http://schemas.microsoft.com/office/drawing/2014/main" id="{C59B6A19-DD1A-42EE-A722-B61CE9D30B6A}"/>
              </a:ext>
            </a:extLst>
          </p:cNvPr>
          <p:cNvSpPr txBox="1">
            <a:spLocks noChangeArrowheads="1"/>
          </p:cNvSpPr>
          <p:nvPr/>
        </p:nvSpPr>
        <p:spPr bwMode="auto">
          <a:xfrm>
            <a:off x="8117144" y="4480560"/>
            <a:ext cx="3228411" cy="1577340"/>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dirty="0">
                <a:solidFill>
                  <a:schemeClr val="tx1"/>
                </a:solidFill>
              </a:rPr>
              <a:t>Text </a:t>
            </a:r>
          </a:p>
          <a:p>
            <a:pPr marL="179388" indent="-179388" eaLnBrk="0" hangingPunct="0">
              <a:spcBef>
                <a:spcPts val="100"/>
              </a:spcBef>
              <a:spcAft>
                <a:spcPts val="100"/>
              </a:spcAft>
              <a:buClr>
                <a:schemeClr val="tx1"/>
              </a:buClr>
              <a:buFontTx/>
              <a:buChar char="•"/>
            </a:pPr>
            <a:r>
              <a:rPr lang="en-US" sz="1400" dirty="0"/>
              <a:t>Text </a:t>
            </a:r>
          </a:p>
          <a:p>
            <a:pPr marL="179388" indent="-179388" eaLnBrk="0" hangingPunct="0">
              <a:spcBef>
                <a:spcPts val="100"/>
              </a:spcBef>
              <a:spcAft>
                <a:spcPts val="100"/>
              </a:spcAft>
              <a:buClr>
                <a:schemeClr val="tx1"/>
              </a:buClr>
              <a:buFontTx/>
              <a:buChar char="•"/>
            </a:pPr>
            <a:r>
              <a:rPr lang="en-US" sz="1400" dirty="0"/>
              <a:t>Text </a:t>
            </a:r>
          </a:p>
        </p:txBody>
      </p:sp>
      <p:sp>
        <p:nvSpPr>
          <p:cNvPr id="6" name="Footer Placeholder 5">
            <a:extLst>
              <a:ext uri="{FF2B5EF4-FFF2-40B4-BE49-F238E27FC236}">
                <a16:creationId xmlns:a16="http://schemas.microsoft.com/office/drawing/2014/main" id="{7BF140A7-97CE-4E75-BC50-84C7F73FA0CE}"/>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7" name="Slide Number Placeholder 6">
            <a:extLst>
              <a:ext uri="{FF2B5EF4-FFF2-40B4-BE49-F238E27FC236}">
                <a16:creationId xmlns:a16="http://schemas.microsoft.com/office/drawing/2014/main" id="{B466D69B-22F2-41BD-BA1F-B1C490CD07F4}"/>
              </a:ext>
            </a:extLst>
          </p:cNvPr>
          <p:cNvSpPr>
            <a:spLocks noGrp="1"/>
          </p:cNvSpPr>
          <p:nvPr>
            <p:ph type="sldNum" sz="quarter" idx="10"/>
          </p:nvPr>
        </p:nvSpPr>
        <p:spPr/>
        <p:txBody>
          <a:bodyPr/>
          <a:lstStyle/>
          <a:p>
            <a:fld id="{1F90F471-3972-4120-B8B3-0237DE626C35}" type="slidenum">
              <a:rPr lang="en-US" smtClean="0"/>
              <a:pPr/>
              <a:t>195</a:t>
            </a:fld>
            <a:endParaRPr lang="en-US" dirty="0"/>
          </a:p>
        </p:txBody>
      </p:sp>
    </p:spTree>
    <p:extLst>
      <p:ext uri="{BB962C8B-B14F-4D97-AF65-F5344CB8AC3E}">
        <p14:creationId xmlns:p14="http://schemas.microsoft.com/office/powerpoint/2010/main" val="4246233550"/>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Linear Flow 8</a:t>
            </a:r>
          </a:p>
        </p:txBody>
      </p:sp>
      <p:sp>
        <p:nvSpPr>
          <p:cNvPr id="12" name="Arrow: Pentagon 11">
            <a:extLst>
              <a:ext uri="{FF2B5EF4-FFF2-40B4-BE49-F238E27FC236}">
                <a16:creationId xmlns:a16="http://schemas.microsoft.com/office/drawing/2014/main" id="{2AFC9B2A-7832-495B-BAD1-A9A6DE61147E}"/>
              </a:ext>
            </a:extLst>
          </p:cNvPr>
          <p:cNvSpPr/>
          <p:nvPr/>
        </p:nvSpPr>
        <p:spPr>
          <a:xfrm>
            <a:off x="7640053" y="1628800"/>
            <a:ext cx="4215397" cy="2731250"/>
          </a:xfrm>
          <a:prstGeom prst="homePlate">
            <a:avLst>
              <a:gd name="adj" fmla="val 18484"/>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468000" tIns="180000" rIns="144000" rtlCol="0" anchor="t" anchorCtr="0"/>
          <a:lstStyle/>
          <a:p>
            <a:r>
              <a:rPr lang="en-AU" b="1"/>
              <a:t>Text</a:t>
            </a:r>
            <a:endParaRPr lang="en-AU" b="1" dirty="0"/>
          </a:p>
        </p:txBody>
      </p:sp>
      <p:sp>
        <p:nvSpPr>
          <p:cNvPr id="14" name="Text Box 7">
            <a:extLst>
              <a:ext uri="{FF2B5EF4-FFF2-40B4-BE49-F238E27FC236}">
                <a16:creationId xmlns:a16="http://schemas.microsoft.com/office/drawing/2014/main" id="{65F93068-5642-452C-9257-69201206A85A}"/>
              </a:ext>
            </a:extLst>
          </p:cNvPr>
          <p:cNvSpPr txBox="1">
            <a:spLocks noChangeArrowheads="1"/>
          </p:cNvSpPr>
          <p:nvPr/>
        </p:nvSpPr>
        <p:spPr bwMode="auto">
          <a:xfrm>
            <a:off x="514050" y="4480560"/>
            <a:ext cx="3228411" cy="1577340"/>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dirty="0">
                <a:solidFill>
                  <a:schemeClr val="tx1"/>
                </a:solidFill>
              </a:rPr>
              <a:t>Text </a:t>
            </a:r>
          </a:p>
          <a:p>
            <a:pPr marL="179388" indent="-179388" eaLnBrk="0" hangingPunct="0">
              <a:spcBef>
                <a:spcPts val="100"/>
              </a:spcBef>
              <a:spcAft>
                <a:spcPts val="100"/>
              </a:spcAft>
              <a:buClr>
                <a:schemeClr val="tx1"/>
              </a:buClr>
              <a:buFontTx/>
              <a:buChar char="•"/>
            </a:pPr>
            <a:r>
              <a:rPr lang="en-US" sz="1400" dirty="0"/>
              <a:t>Text </a:t>
            </a:r>
          </a:p>
          <a:p>
            <a:pPr marL="179388" indent="-179388" eaLnBrk="0" hangingPunct="0">
              <a:spcBef>
                <a:spcPts val="100"/>
              </a:spcBef>
              <a:spcAft>
                <a:spcPts val="100"/>
              </a:spcAft>
              <a:buClr>
                <a:schemeClr val="tx1"/>
              </a:buClr>
              <a:buFontTx/>
              <a:buChar char="•"/>
            </a:pPr>
            <a:r>
              <a:rPr lang="en-US" sz="1400" dirty="0"/>
              <a:t>Text </a:t>
            </a:r>
          </a:p>
        </p:txBody>
      </p:sp>
      <p:sp>
        <p:nvSpPr>
          <p:cNvPr id="16" name="Arrow: Pentagon 15">
            <a:extLst>
              <a:ext uri="{FF2B5EF4-FFF2-40B4-BE49-F238E27FC236}">
                <a16:creationId xmlns:a16="http://schemas.microsoft.com/office/drawing/2014/main" id="{7338316E-AD77-4053-ACC5-3E43174B44AF}"/>
              </a:ext>
            </a:extLst>
          </p:cNvPr>
          <p:cNvSpPr/>
          <p:nvPr/>
        </p:nvSpPr>
        <p:spPr>
          <a:xfrm>
            <a:off x="3958389" y="1886978"/>
            <a:ext cx="4104000" cy="2214894"/>
          </a:xfrm>
          <a:prstGeom prst="homePlate">
            <a:avLst>
              <a:gd name="adj" fmla="val 18484"/>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468000" tIns="180000" rIns="144000" rtlCol="0" anchor="t" anchorCtr="0"/>
          <a:lstStyle/>
          <a:p>
            <a:r>
              <a:rPr lang="en-AU" b="1" dirty="0"/>
              <a:t>Text</a:t>
            </a:r>
          </a:p>
        </p:txBody>
      </p:sp>
      <p:sp>
        <p:nvSpPr>
          <p:cNvPr id="18" name="Arrow: Pentagon 17">
            <a:extLst>
              <a:ext uri="{FF2B5EF4-FFF2-40B4-BE49-F238E27FC236}">
                <a16:creationId xmlns:a16="http://schemas.microsoft.com/office/drawing/2014/main" id="{A1C2DD89-A3B2-4011-8265-A391C37AF3E2}"/>
              </a:ext>
            </a:extLst>
          </p:cNvPr>
          <p:cNvSpPr/>
          <p:nvPr/>
        </p:nvSpPr>
        <p:spPr>
          <a:xfrm>
            <a:off x="334962" y="2135450"/>
            <a:ext cx="3960000" cy="1717950"/>
          </a:xfrm>
          <a:prstGeom prst="homePlate">
            <a:avLst>
              <a:gd name="adj" fmla="val 18484"/>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180000" tIns="180000" rIns="144000" rtlCol="0" anchor="t" anchorCtr="0"/>
          <a:lstStyle/>
          <a:p>
            <a:r>
              <a:rPr lang="en-AU" b="1" dirty="0"/>
              <a:t>Text</a:t>
            </a:r>
          </a:p>
        </p:txBody>
      </p:sp>
      <p:sp>
        <p:nvSpPr>
          <p:cNvPr id="20" name="Text Box 7">
            <a:extLst>
              <a:ext uri="{FF2B5EF4-FFF2-40B4-BE49-F238E27FC236}">
                <a16:creationId xmlns:a16="http://schemas.microsoft.com/office/drawing/2014/main" id="{3CD6A851-05DE-49B0-864D-6C9365A32504}"/>
              </a:ext>
            </a:extLst>
          </p:cNvPr>
          <p:cNvSpPr txBox="1">
            <a:spLocks noChangeArrowheads="1"/>
          </p:cNvSpPr>
          <p:nvPr/>
        </p:nvSpPr>
        <p:spPr bwMode="auto">
          <a:xfrm>
            <a:off x="4443527" y="4480560"/>
            <a:ext cx="3228411" cy="1577340"/>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dirty="0">
                <a:solidFill>
                  <a:schemeClr val="tx1"/>
                </a:solidFill>
              </a:rPr>
              <a:t>Text </a:t>
            </a:r>
          </a:p>
          <a:p>
            <a:pPr marL="179388" indent="-179388" eaLnBrk="0" hangingPunct="0">
              <a:spcBef>
                <a:spcPts val="100"/>
              </a:spcBef>
              <a:spcAft>
                <a:spcPts val="100"/>
              </a:spcAft>
              <a:buClr>
                <a:schemeClr val="tx1"/>
              </a:buClr>
              <a:buFontTx/>
              <a:buChar char="•"/>
            </a:pPr>
            <a:r>
              <a:rPr lang="en-US" sz="1400" dirty="0"/>
              <a:t>Text </a:t>
            </a:r>
          </a:p>
          <a:p>
            <a:pPr marL="179388" indent="-179388" eaLnBrk="0" hangingPunct="0">
              <a:spcBef>
                <a:spcPts val="100"/>
              </a:spcBef>
              <a:spcAft>
                <a:spcPts val="100"/>
              </a:spcAft>
              <a:buClr>
                <a:schemeClr val="tx1"/>
              </a:buClr>
              <a:buFontTx/>
              <a:buChar char="•"/>
            </a:pPr>
            <a:r>
              <a:rPr lang="en-US" sz="1400" dirty="0"/>
              <a:t>Text </a:t>
            </a:r>
          </a:p>
        </p:txBody>
      </p:sp>
      <p:sp>
        <p:nvSpPr>
          <p:cNvPr id="22" name="Text Box 7">
            <a:extLst>
              <a:ext uri="{FF2B5EF4-FFF2-40B4-BE49-F238E27FC236}">
                <a16:creationId xmlns:a16="http://schemas.microsoft.com/office/drawing/2014/main" id="{9E22BD54-8D89-4370-AF12-203C4D1239B6}"/>
              </a:ext>
            </a:extLst>
          </p:cNvPr>
          <p:cNvSpPr txBox="1">
            <a:spLocks noChangeArrowheads="1"/>
          </p:cNvSpPr>
          <p:nvPr/>
        </p:nvSpPr>
        <p:spPr bwMode="auto">
          <a:xfrm>
            <a:off x="8117144" y="4480560"/>
            <a:ext cx="3228411" cy="1577340"/>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dirty="0">
                <a:solidFill>
                  <a:schemeClr val="tx1"/>
                </a:solidFill>
              </a:rPr>
              <a:t>Text </a:t>
            </a:r>
          </a:p>
          <a:p>
            <a:pPr marL="179388" indent="-179388" eaLnBrk="0" hangingPunct="0">
              <a:spcBef>
                <a:spcPts val="100"/>
              </a:spcBef>
              <a:spcAft>
                <a:spcPts val="100"/>
              </a:spcAft>
              <a:buClr>
                <a:schemeClr val="tx1"/>
              </a:buClr>
              <a:buFontTx/>
              <a:buChar char="•"/>
            </a:pPr>
            <a:r>
              <a:rPr lang="en-US" sz="1400" dirty="0"/>
              <a:t>Text </a:t>
            </a:r>
          </a:p>
          <a:p>
            <a:pPr marL="179388" indent="-179388" eaLnBrk="0" hangingPunct="0">
              <a:spcBef>
                <a:spcPts val="100"/>
              </a:spcBef>
              <a:spcAft>
                <a:spcPts val="100"/>
              </a:spcAft>
              <a:buClr>
                <a:schemeClr val="tx1"/>
              </a:buClr>
              <a:buFontTx/>
              <a:buChar char="•"/>
            </a:pPr>
            <a:r>
              <a:rPr lang="en-US" sz="1400" dirty="0"/>
              <a:t>Text </a:t>
            </a:r>
          </a:p>
        </p:txBody>
      </p:sp>
      <p:sp>
        <p:nvSpPr>
          <p:cNvPr id="5" name="Footer Placeholder 4">
            <a:extLst>
              <a:ext uri="{FF2B5EF4-FFF2-40B4-BE49-F238E27FC236}">
                <a16:creationId xmlns:a16="http://schemas.microsoft.com/office/drawing/2014/main" id="{202B1BE0-ECCA-44F6-A0B5-156FE8ABDB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36EE27B6-0171-40DA-AB8F-328612D92036}"/>
              </a:ext>
            </a:extLst>
          </p:cNvPr>
          <p:cNvSpPr>
            <a:spLocks noGrp="1"/>
          </p:cNvSpPr>
          <p:nvPr>
            <p:ph type="sldNum" sz="quarter" idx="10"/>
          </p:nvPr>
        </p:nvSpPr>
        <p:spPr/>
        <p:txBody>
          <a:bodyPr/>
          <a:lstStyle/>
          <a:p>
            <a:fld id="{1F90F471-3972-4120-B8B3-0237DE626C35}" type="slidenum">
              <a:rPr lang="en-US" smtClean="0"/>
              <a:pPr/>
              <a:t>196</a:t>
            </a:fld>
            <a:endParaRPr lang="en-US" dirty="0"/>
          </a:p>
        </p:txBody>
      </p:sp>
    </p:spTree>
    <p:extLst>
      <p:ext uri="{BB962C8B-B14F-4D97-AF65-F5344CB8AC3E}">
        <p14:creationId xmlns:p14="http://schemas.microsoft.com/office/powerpoint/2010/main" val="4170784370"/>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Linear Flow 9</a:t>
            </a:r>
            <a:endParaRPr lang="en-US" dirty="0"/>
          </a:p>
        </p:txBody>
      </p:sp>
      <p:grpSp>
        <p:nvGrpSpPr>
          <p:cNvPr id="3" name="Group 2" descr="Linear flow inser text here">
            <a:extLst>
              <a:ext uri="{FF2B5EF4-FFF2-40B4-BE49-F238E27FC236}">
                <a16:creationId xmlns:a16="http://schemas.microsoft.com/office/drawing/2014/main" id="{8ED0D489-96BA-449B-913B-0EFC71AC7B11}"/>
              </a:ext>
            </a:extLst>
          </p:cNvPr>
          <p:cNvGrpSpPr/>
          <p:nvPr/>
        </p:nvGrpSpPr>
        <p:grpSpPr>
          <a:xfrm>
            <a:off x="1468438" y="1326903"/>
            <a:ext cx="8894762" cy="4730997"/>
            <a:chOff x="1468438" y="1326903"/>
            <a:chExt cx="8894762" cy="4730997"/>
          </a:xfrm>
        </p:grpSpPr>
        <p:sp>
          <p:nvSpPr>
            <p:cNvPr id="14" name="AutoShape 2" descr="Arrow insert text here">
              <a:extLst>
                <a:ext uri="{FF2B5EF4-FFF2-40B4-BE49-F238E27FC236}">
                  <a16:creationId xmlns:a16="http://schemas.microsoft.com/office/drawing/2014/main" id="{DD96D137-0CF1-4716-917E-68B8DED0C5DB}"/>
                </a:ext>
              </a:extLst>
            </p:cNvPr>
            <p:cNvSpPr>
              <a:spLocks noChangeArrowheads="1"/>
            </p:cNvSpPr>
            <p:nvPr/>
          </p:nvSpPr>
          <p:spPr bwMode="auto">
            <a:xfrm>
              <a:off x="5398925" y="1326903"/>
              <a:ext cx="4964275" cy="4730997"/>
            </a:xfrm>
            <a:prstGeom prst="rightArrow">
              <a:avLst>
                <a:gd name="adj1" fmla="val 69787"/>
                <a:gd name="adj2" fmla="val 35949"/>
              </a:avLst>
            </a:prstGeom>
            <a:solidFill>
              <a:schemeClr val="accent2"/>
            </a:solidFill>
            <a:ln w="6350" cap="rnd">
              <a:noFill/>
              <a:miter lim="800000"/>
              <a:headEnd/>
              <a:tailEnd/>
            </a:ln>
            <a:effectLst/>
          </p:spPr>
          <p:txBody>
            <a:bodyPr wrap="none" lIns="72000" tIns="72000" rIns="72000" bIns="72000" anchor="ctr" anchorCtr="1"/>
            <a:lstStyle/>
            <a:p>
              <a:pPr marL="174625" indent="-174625" algn="l" eaLnBrk="0" hangingPunct="0">
                <a:spcBef>
                  <a:spcPts val="100"/>
                </a:spcBef>
                <a:spcAft>
                  <a:spcPts val="100"/>
                </a:spcAft>
              </a:pPr>
              <a:endParaRPr lang="en-US" dirty="0"/>
            </a:p>
          </p:txBody>
        </p:sp>
        <p:sp>
          <p:nvSpPr>
            <p:cNvPr id="16" name="Rectangle 7">
              <a:extLst>
                <a:ext uri="{FF2B5EF4-FFF2-40B4-BE49-F238E27FC236}">
                  <a16:creationId xmlns:a16="http://schemas.microsoft.com/office/drawing/2014/main" id="{363CC3AC-8D96-443E-853F-C48998739CB0}"/>
                </a:ext>
              </a:extLst>
            </p:cNvPr>
            <p:cNvSpPr>
              <a:spLocks noChangeArrowheads="1"/>
            </p:cNvSpPr>
            <p:nvPr>
              <p:custDataLst>
                <p:tags r:id="rId1"/>
              </p:custDataLst>
            </p:nvPr>
          </p:nvSpPr>
          <p:spPr bwMode="auto">
            <a:xfrm>
              <a:off x="6722180" y="2549937"/>
              <a:ext cx="2773261" cy="2284929"/>
            </a:xfrm>
            <a:prstGeom prst="rect">
              <a:avLst/>
            </a:prstGeom>
            <a:noFill/>
            <a:ln w="6350">
              <a:noFill/>
              <a:miter lim="800000"/>
              <a:headEnd/>
              <a:tailEnd/>
            </a:ln>
            <a:effectLst/>
          </p:spPr>
          <p:txBody>
            <a:bodyPr lIns="180000" tIns="180000" rIns="144000" bIns="180000" anchor="ctr" anchorCtr="0"/>
            <a:lstStyle/>
            <a:p>
              <a:pPr eaLnBrk="0" hangingPunct="0">
                <a:lnSpc>
                  <a:spcPct val="85000"/>
                </a:lnSpc>
                <a:spcBef>
                  <a:spcPts val="100"/>
                </a:spcBef>
                <a:spcAft>
                  <a:spcPts val="300"/>
                </a:spcAft>
              </a:pPr>
              <a:r>
                <a:rPr lang="en-US" b="1" dirty="0">
                  <a:solidFill>
                    <a:schemeClr val="bg1"/>
                  </a:solidFill>
                  <a:latin typeface="+mj-lt"/>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p:txBody>
        </p:sp>
        <p:sp>
          <p:nvSpPr>
            <p:cNvPr id="20" name="Freeform 4">
              <a:extLst>
                <a:ext uri="{FF2B5EF4-FFF2-40B4-BE49-F238E27FC236}">
                  <a16:creationId xmlns:a16="http://schemas.microsoft.com/office/drawing/2014/main" id="{241655EE-1490-4F77-BB08-0A4DA43838F9}"/>
                </a:ext>
                <a:ext uri="{C183D7F6-B498-43B3-948B-1728B52AA6E4}">
                  <adec:decorative xmlns:adec="http://schemas.microsoft.com/office/drawing/2017/decorative" val="1"/>
                </a:ext>
              </a:extLst>
            </p:cNvPr>
            <p:cNvSpPr>
              <a:spLocks/>
            </p:cNvSpPr>
            <p:nvPr/>
          </p:nvSpPr>
          <p:spPr bwMode="auto">
            <a:xfrm>
              <a:off x="1471505" y="2030801"/>
              <a:ext cx="4760135" cy="1255977"/>
            </a:xfrm>
            <a:custGeom>
              <a:avLst/>
              <a:gdLst/>
              <a:ahLst/>
              <a:cxnLst>
                <a:cxn ang="0">
                  <a:pos x="1503" y="358"/>
                </a:cxn>
                <a:cxn ang="0">
                  <a:pos x="1503" y="0"/>
                </a:cxn>
                <a:cxn ang="0">
                  <a:pos x="1827" y="634"/>
                </a:cxn>
                <a:cxn ang="0">
                  <a:pos x="0" y="634"/>
                </a:cxn>
                <a:cxn ang="0">
                  <a:pos x="0" y="358"/>
                </a:cxn>
                <a:cxn ang="0">
                  <a:pos x="1503" y="358"/>
                </a:cxn>
              </a:cxnLst>
              <a:rect l="0" t="0" r="r" b="b"/>
              <a:pathLst>
                <a:path w="1828" h="635">
                  <a:moveTo>
                    <a:pt x="1503" y="358"/>
                  </a:moveTo>
                  <a:lnTo>
                    <a:pt x="1503" y="0"/>
                  </a:lnTo>
                  <a:lnTo>
                    <a:pt x="1827" y="634"/>
                  </a:lnTo>
                  <a:lnTo>
                    <a:pt x="0" y="634"/>
                  </a:lnTo>
                  <a:lnTo>
                    <a:pt x="0" y="358"/>
                  </a:lnTo>
                  <a:lnTo>
                    <a:pt x="1503" y="358"/>
                  </a:lnTo>
                </a:path>
              </a:pathLst>
            </a:custGeom>
            <a:solidFill>
              <a:schemeClr val="accent2">
                <a:lumMod val="20000"/>
                <a:lumOff val="80000"/>
              </a:schemeClr>
            </a:solidFill>
            <a:ln w="6350" cap="rnd" cmpd="sng">
              <a:noFill/>
              <a:prstDash val="solid"/>
              <a:round/>
              <a:headEnd/>
              <a:tailEnd/>
            </a:ln>
            <a:effectLst/>
          </p:spPr>
          <p:txBody>
            <a:bodyPr lIns="72000" tIns="72000" rIns="72000" bIns="72000"/>
            <a:lstStyle/>
            <a:p>
              <a:endParaRPr lang="en-US" b="1" dirty="0"/>
            </a:p>
          </p:txBody>
        </p:sp>
        <p:sp>
          <p:nvSpPr>
            <p:cNvPr id="24" name="Rectangle 6">
              <a:extLst>
                <a:ext uri="{FF2B5EF4-FFF2-40B4-BE49-F238E27FC236}">
                  <a16:creationId xmlns:a16="http://schemas.microsoft.com/office/drawing/2014/main" id="{CB883C4D-6364-46CF-94BD-EE072474A589}"/>
                </a:ext>
              </a:extLst>
            </p:cNvPr>
            <p:cNvSpPr>
              <a:spLocks noChangeArrowheads="1"/>
            </p:cNvSpPr>
            <p:nvPr/>
          </p:nvSpPr>
          <p:spPr bwMode="auto">
            <a:xfrm>
              <a:off x="1471505" y="2736234"/>
              <a:ext cx="3824671" cy="550544"/>
            </a:xfrm>
            <a:prstGeom prst="rect">
              <a:avLst/>
            </a:prstGeom>
            <a:noFill/>
            <a:ln w="6350">
              <a:noFill/>
              <a:miter lim="800000"/>
              <a:headEnd/>
              <a:tailEnd/>
            </a:ln>
            <a:effectLst/>
          </p:spPr>
          <p:txBody>
            <a:bodyPr lIns="180000" tIns="72000" rIns="72000" bIns="72000" anchor="ctr"/>
            <a:lstStyle/>
            <a:p>
              <a:pPr algn="l" defTabSz="885825" eaLnBrk="0" hangingPunct="0">
                <a:spcBef>
                  <a:spcPct val="0"/>
                </a:spcBef>
              </a:pPr>
              <a:r>
                <a:rPr lang="en-GB" dirty="0"/>
                <a:t>Text </a:t>
              </a:r>
            </a:p>
          </p:txBody>
        </p:sp>
        <p:sp>
          <p:nvSpPr>
            <p:cNvPr id="22" name="Freeform 5">
              <a:extLst>
                <a:ext uri="{FF2B5EF4-FFF2-40B4-BE49-F238E27FC236}">
                  <a16:creationId xmlns:a16="http://schemas.microsoft.com/office/drawing/2014/main" id="{026924F2-E9A4-4184-B710-3657C2C97AD1}"/>
                </a:ext>
                <a:ext uri="{C183D7F6-B498-43B3-948B-1728B52AA6E4}">
                  <adec:decorative xmlns:adec="http://schemas.microsoft.com/office/drawing/2017/decorative" val="1"/>
                </a:ext>
              </a:extLst>
            </p:cNvPr>
            <p:cNvSpPr>
              <a:spLocks/>
            </p:cNvSpPr>
            <p:nvPr/>
          </p:nvSpPr>
          <p:spPr bwMode="auto">
            <a:xfrm>
              <a:off x="1471505" y="3381858"/>
              <a:ext cx="5023906" cy="633355"/>
            </a:xfrm>
            <a:custGeom>
              <a:avLst/>
              <a:gdLst/>
              <a:ahLst/>
              <a:cxnLst>
                <a:cxn ang="0">
                  <a:pos x="0" y="0"/>
                </a:cxn>
                <a:cxn ang="0">
                  <a:pos x="1856" y="0"/>
                </a:cxn>
                <a:cxn ang="0">
                  <a:pos x="1928" y="162"/>
                </a:cxn>
                <a:cxn ang="0">
                  <a:pos x="1853" y="319"/>
                </a:cxn>
                <a:cxn ang="0">
                  <a:pos x="0" y="318"/>
                </a:cxn>
                <a:cxn ang="0">
                  <a:pos x="0" y="0"/>
                </a:cxn>
              </a:cxnLst>
              <a:rect l="0" t="0" r="r" b="b"/>
              <a:pathLst>
                <a:path w="1929" h="320">
                  <a:moveTo>
                    <a:pt x="0" y="0"/>
                  </a:moveTo>
                  <a:lnTo>
                    <a:pt x="1856" y="0"/>
                  </a:lnTo>
                  <a:lnTo>
                    <a:pt x="1928" y="162"/>
                  </a:lnTo>
                  <a:lnTo>
                    <a:pt x="1853" y="319"/>
                  </a:lnTo>
                  <a:lnTo>
                    <a:pt x="0" y="318"/>
                  </a:lnTo>
                  <a:lnTo>
                    <a:pt x="0" y="0"/>
                  </a:lnTo>
                </a:path>
              </a:pathLst>
            </a:custGeom>
            <a:solidFill>
              <a:schemeClr val="accent2">
                <a:lumMod val="40000"/>
                <a:lumOff val="60000"/>
              </a:schemeClr>
            </a:solidFill>
            <a:ln w="6350" cap="rnd" cmpd="sng">
              <a:noFill/>
              <a:prstDash val="solid"/>
              <a:round/>
              <a:headEnd/>
              <a:tailEnd/>
            </a:ln>
            <a:effectLst/>
          </p:spPr>
          <p:txBody>
            <a:bodyPr lIns="72000" tIns="72000" rIns="72000" bIns="72000"/>
            <a:lstStyle/>
            <a:p>
              <a:endParaRPr lang="en-US" dirty="0"/>
            </a:p>
          </p:txBody>
        </p:sp>
        <p:sp>
          <p:nvSpPr>
            <p:cNvPr id="26" name="Rectangle 7">
              <a:extLst>
                <a:ext uri="{FF2B5EF4-FFF2-40B4-BE49-F238E27FC236}">
                  <a16:creationId xmlns:a16="http://schemas.microsoft.com/office/drawing/2014/main" id="{E15AF4CF-6C38-4E41-946F-EF8DA9C86E30}"/>
                </a:ext>
              </a:extLst>
            </p:cNvPr>
            <p:cNvSpPr>
              <a:spLocks noChangeArrowheads="1"/>
            </p:cNvSpPr>
            <p:nvPr/>
          </p:nvSpPr>
          <p:spPr bwMode="auto">
            <a:xfrm>
              <a:off x="1471505" y="3378791"/>
              <a:ext cx="3824671" cy="636422"/>
            </a:xfrm>
            <a:prstGeom prst="rect">
              <a:avLst/>
            </a:prstGeom>
            <a:noFill/>
            <a:ln w="6350">
              <a:noFill/>
              <a:miter lim="800000"/>
              <a:headEnd/>
              <a:tailEnd/>
            </a:ln>
            <a:effectLst/>
          </p:spPr>
          <p:txBody>
            <a:bodyPr lIns="180000" tIns="72000" rIns="72000" bIns="72000" anchor="ctr"/>
            <a:lstStyle/>
            <a:p>
              <a:pPr algn="l" defTabSz="885825" eaLnBrk="0" hangingPunct="0">
                <a:spcBef>
                  <a:spcPct val="0"/>
                </a:spcBef>
              </a:pPr>
              <a:r>
                <a:rPr lang="en-GB" dirty="0"/>
                <a:t>Text </a:t>
              </a:r>
            </a:p>
          </p:txBody>
        </p:sp>
        <p:sp>
          <p:nvSpPr>
            <p:cNvPr id="18" name="Freeform 3">
              <a:extLst>
                <a:ext uri="{FF2B5EF4-FFF2-40B4-BE49-F238E27FC236}">
                  <a16:creationId xmlns:a16="http://schemas.microsoft.com/office/drawing/2014/main" id="{7907D27F-41E8-453A-AD86-B7E6F7100F6A}"/>
                </a:ext>
                <a:ext uri="{C183D7F6-B498-43B3-948B-1728B52AA6E4}">
                  <adec:decorative xmlns:adec="http://schemas.microsoft.com/office/drawing/2017/decorative" val="1"/>
                </a:ext>
              </a:extLst>
            </p:cNvPr>
            <p:cNvSpPr>
              <a:spLocks/>
            </p:cNvSpPr>
            <p:nvPr/>
          </p:nvSpPr>
          <p:spPr bwMode="auto">
            <a:xfrm>
              <a:off x="1471505" y="4094958"/>
              <a:ext cx="4772404" cy="1259044"/>
            </a:xfrm>
            <a:custGeom>
              <a:avLst/>
              <a:gdLst/>
              <a:ahLst/>
              <a:cxnLst>
                <a:cxn ang="0">
                  <a:pos x="1503" y="275"/>
                </a:cxn>
                <a:cxn ang="0">
                  <a:pos x="1503" y="635"/>
                </a:cxn>
                <a:cxn ang="0">
                  <a:pos x="1827" y="0"/>
                </a:cxn>
                <a:cxn ang="0">
                  <a:pos x="0" y="0"/>
                </a:cxn>
                <a:cxn ang="0">
                  <a:pos x="0" y="275"/>
                </a:cxn>
                <a:cxn ang="0">
                  <a:pos x="1503" y="275"/>
                </a:cxn>
              </a:cxnLst>
              <a:rect l="0" t="0" r="r" b="b"/>
              <a:pathLst>
                <a:path w="1828" h="636">
                  <a:moveTo>
                    <a:pt x="1503" y="275"/>
                  </a:moveTo>
                  <a:lnTo>
                    <a:pt x="1503" y="635"/>
                  </a:lnTo>
                  <a:lnTo>
                    <a:pt x="1827" y="0"/>
                  </a:lnTo>
                  <a:lnTo>
                    <a:pt x="0" y="0"/>
                  </a:lnTo>
                  <a:lnTo>
                    <a:pt x="0" y="275"/>
                  </a:lnTo>
                  <a:lnTo>
                    <a:pt x="1503" y="275"/>
                  </a:lnTo>
                </a:path>
              </a:pathLst>
            </a:custGeom>
            <a:solidFill>
              <a:schemeClr val="accent2">
                <a:lumMod val="60000"/>
                <a:lumOff val="40000"/>
              </a:schemeClr>
            </a:solidFill>
            <a:ln w="6350" cap="rnd" cmpd="sng">
              <a:noFill/>
              <a:prstDash val="solid"/>
              <a:round/>
              <a:headEnd/>
              <a:tailEnd/>
            </a:ln>
            <a:effectLst/>
          </p:spPr>
          <p:txBody>
            <a:bodyPr lIns="72000" tIns="72000" rIns="72000" bIns="72000"/>
            <a:lstStyle/>
            <a:p>
              <a:endParaRPr lang="en-US" dirty="0"/>
            </a:p>
          </p:txBody>
        </p:sp>
        <p:sp>
          <p:nvSpPr>
            <p:cNvPr id="28" name="Rectangle 8">
              <a:extLst>
                <a:ext uri="{FF2B5EF4-FFF2-40B4-BE49-F238E27FC236}">
                  <a16:creationId xmlns:a16="http://schemas.microsoft.com/office/drawing/2014/main" id="{97FE36EA-6597-42C6-B909-7445E0C751E4}"/>
                </a:ext>
              </a:extLst>
            </p:cNvPr>
            <p:cNvSpPr>
              <a:spLocks noChangeArrowheads="1"/>
            </p:cNvSpPr>
            <p:nvPr/>
          </p:nvSpPr>
          <p:spPr bwMode="auto">
            <a:xfrm>
              <a:off x="1468438" y="4094958"/>
              <a:ext cx="3818536" cy="535209"/>
            </a:xfrm>
            <a:prstGeom prst="rect">
              <a:avLst/>
            </a:prstGeom>
            <a:noFill/>
            <a:ln w="6350">
              <a:noFill/>
              <a:miter lim="800000"/>
              <a:headEnd/>
              <a:tailEnd/>
            </a:ln>
            <a:effectLst/>
          </p:spPr>
          <p:txBody>
            <a:bodyPr lIns="180000" tIns="72000" rIns="72000" bIns="72000" anchor="ctr"/>
            <a:lstStyle/>
            <a:p>
              <a:pPr algn="l" defTabSz="885825" eaLnBrk="0" hangingPunct="0">
                <a:spcBef>
                  <a:spcPct val="0"/>
                </a:spcBef>
              </a:pPr>
              <a:r>
                <a:rPr lang="en-GB" dirty="0"/>
                <a:t>Text </a:t>
              </a:r>
            </a:p>
          </p:txBody>
        </p:sp>
      </p:grpSp>
      <p:sp>
        <p:nvSpPr>
          <p:cNvPr id="5" name="Footer Placeholder 4">
            <a:extLst>
              <a:ext uri="{FF2B5EF4-FFF2-40B4-BE49-F238E27FC236}">
                <a16:creationId xmlns:a16="http://schemas.microsoft.com/office/drawing/2014/main" id="{1A959103-6C87-4CFB-93DD-03B39B91053A}"/>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70F432B8-CC26-406A-BFB9-89E6F0D79E06}"/>
              </a:ext>
            </a:extLst>
          </p:cNvPr>
          <p:cNvSpPr>
            <a:spLocks noGrp="1"/>
          </p:cNvSpPr>
          <p:nvPr>
            <p:ph type="sldNum" sz="quarter" idx="10"/>
          </p:nvPr>
        </p:nvSpPr>
        <p:spPr/>
        <p:txBody>
          <a:bodyPr/>
          <a:lstStyle/>
          <a:p>
            <a:fld id="{1F90F471-3972-4120-B8B3-0237DE626C35}" type="slidenum">
              <a:rPr lang="en-US" smtClean="0"/>
              <a:pPr/>
              <a:t>197</a:t>
            </a:fld>
            <a:endParaRPr lang="en-US" dirty="0"/>
          </a:p>
        </p:txBody>
      </p:sp>
    </p:spTree>
    <p:extLst>
      <p:ext uri="{BB962C8B-B14F-4D97-AF65-F5344CB8AC3E}">
        <p14:creationId xmlns:p14="http://schemas.microsoft.com/office/powerpoint/2010/main" val="252061086"/>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Linear Flow 10</a:t>
            </a:r>
          </a:p>
        </p:txBody>
      </p:sp>
      <p:sp>
        <p:nvSpPr>
          <p:cNvPr id="11" name="AutoShape 3">
            <a:extLst>
              <a:ext uri="{FF2B5EF4-FFF2-40B4-BE49-F238E27FC236}">
                <a16:creationId xmlns:a16="http://schemas.microsoft.com/office/drawing/2014/main" id="{15B3E77B-B06C-4903-B0C0-324A182592CB}"/>
              </a:ext>
            </a:extLst>
          </p:cNvPr>
          <p:cNvSpPr>
            <a:spLocks noChangeAspect="1" noChangeArrowheads="1"/>
          </p:cNvSpPr>
          <p:nvPr/>
        </p:nvSpPr>
        <p:spPr bwMode="auto">
          <a:xfrm>
            <a:off x="1822450" y="2568621"/>
            <a:ext cx="2864463" cy="2364697"/>
          </a:xfrm>
          <a:prstGeom prst="homePlate">
            <a:avLst>
              <a:gd name="adj" fmla="val 22135"/>
            </a:avLst>
          </a:prstGeom>
          <a:solidFill>
            <a:schemeClr val="tx2">
              <a:lumMod val="20000"/>
              <a:lumOff val="80000"/>
            </a:schemeClr>
          </a:solidFill>
          <a:ln w="6350">
            <a:noFill/>
            <a:miter lim="800000"/>
            <a:headEnd/>
            <a:tailEnd/>
          </a:ln>
          <a:effectLst/>
        </p:spPr>
        <p:txBody>
          <a:bodyPr lIns="180000" tIns="180000" rIns="72000" bIns="72000"/>
          <a:lstStyle/>
          <a:p>
            <a:pPr marL="180000" indent="-180000" algn="l" eaLnBrk="0" hangingPunct="0">
              <a:spcBef>
                <a:spcPts val="100"/>
              </a:spcBef>
              <a:spcAft>
                <a:spcPts val="100"/>
              </a:spcAft>
              <a:buClr>
                <a:schemeClr val="tx1"/>
              </a:buClr>
            </a:pPr>
            <a:r>
              <a:rPr lang="en-US" sz="1400" b="1" dirty="0">
                <a:latin typeface="+mj-lt"/>
              </a:rPr>
              <a:t>Text</a:t>
            </a:r>
          </a:p>
          <a:p>
            <a:pPr marL="177800" indent="-177800" eaLnBrk="0" hangingPunct="0">
              <a:spcBef>
                <a:spcPts val="100"/>
              </a:spcBef>
              <a:spcAft>
                <a:spcPts val="100"/>
              </a:spcAft>
              <a:buFontTx/>
              <a:buChar char="•"/>
            </a:pPr>
            <a:r>
              <a:rPr lang="en-US" sz="1400" dirty="0"/>
              <a:t>Text</a:t>
            </a:r>
          </a:p>
          <a:p>
            <a:pPr marL="177800" indent="-177800" eaLnBrk="0" hangingPunct="0">
              <a:spcBef>
                <a:spcPts val="100"/>
              </a:spcBef>
              <a:spcAft>
                <a:spcPts val="100"/>
              </a:spcAft>
              <a:buFontTx/>
              <a:buChar char="•"/>
            </a:pPr>
            <a:r>
              <a:rPr lang="en-US" sz="1400" dirty="0"/>
              <a:t>Text</a:t>
            </a:r>
          </a:p>
          <a:p>
            <a:pPr marL="177800" indent="-177800" eaLnBrk="0" hangingPunct="0">
              <a:spcBef>
                <a:spcPts val="100"/>
              </a:spcBef>
              <a:spcAft>
                <a:spcPts val="100"/>
              </a:spcAft>
              <a:buFontTx/>
              <a:buChar char="•"/>
            </a:pPr>
            <a:r>
              <a:rPr lang="en-US" sz="1400" dirty="0"/>
              <a:t>Text</a:t>
            </a:r>
          </a:p>
        </p:txBody>
      </p:sp>
      <p:sp>
        <p:nvSpPr>
          <p:cNvPr id="13" name="AutoShape 4">
            <a:extLst>
              <a:ext uri="{FF2B5EF4-FFF2-40B4-BE49-F238E27FC236}">
                <a16:creationId xmlns:a16="http://schemas.microsoft.com/office/drawing/2014/main" id="{EE3A9A6C-A755-459E-ACC4-433078D2DBA4}"/>
              </a:ext>
            </a:extLst>
          </p:cNvPr>
          <p:cNvSpPr>
            <a:spLocks noChangeArrowheads="1"/>
          </p:cNvSpPr>
          <p:nvPr/>
        </p:nvSpPr>
        <p:spPr bwMode="auto">
          <a:xfrm flipH="1">
            <a:off x="4302431" y="2568622"/>
            <a:ext cx="3296430" cy="1134222"/>
          </a:xfrm>
          <a:prstGeom prst="parallelogram">
            <a:avLst>
              <a:gd name="adj" fmla="val 43924"/>
            </a:avLst>
          </a:prstGeom>
          <a:solidFill>
            <a:schemeClr val="accent2">
              <a:lumMod val="40000"/>
              <a:lumOff val="60000"/>
            </a:schemeClr>
          </a:solidFill>
          <a:ln w="6350" cap="rnd">
            <a:noFill/>
            <a:miter lim="800000"/>
            <a:headEnd/>
            <a:tailEnd/>
          </a:ln>
          <a:effectLst/>
        </p:spPr>
        <p:txBody>
          <a:bodyPr wrap="none" lIns="72000" tIns="72000" rIns="72000" bIns="72000" anchor="ctr"/>
          <a:lstStyle/>
          <a:p>
            <a:pPr marL="180000" indent="-180000" eaLnBrk="0" hangingPunct="0">
              <a:spcBef>
                <a:spcPts val="100"/>
              </a:spcBef>
              <a:spcAft>
                <a:spcPts val="100"/>
              </a:spcAft>
              <a:buClr>
                <a:schemeClr val="tx1"/>
              </a:buClr>
            </a:pPr>
            <a:r>
              <a:rPr lang="en-US" sz="1400" b="1" dirty="0">
                <a:latin typeface="+mj-lt"/>
              </a:rPr>
              <a:t>Text</a:t>
            </a:r>
          </a:p>
          <a:p>
            <a:pPr eaLnBrk="0" hangingPunct="0">
              <a:spcBef>
                <a:spcPts val="100"/>
              </a:spcBef>
              <a:spcAft>
                <a:spcPts val="100"/>
              </a:spcAft>
            </a:pPr>
            <a:r>
              <a:rPr lang="en-US" sz="1400" dirty="0"/>
              <a:t>Insert text</a:t>
            </a:r>
          </a:p>
        </p:txBody>
      </p:sp>
      <p:sp>
        <p:nvSpPr>
          <p:cNvPr id="15" name="AutoShape 5">
            <a:extLst>
              <a:ext uri="{FF2B5EF4-FFF2-40B4-BE49-F238E27FC236}">
                <a16:creationId xmlns:a16="http://schemas.microsoft.com/office/drawing/2014/main" id="{DA14CEE6-D38C-46F2-A8F8-6880E60DEF37}"/>
              </a:ext>
            </a:extLst>
          </p:cNvPr>
          <p:cNvSpPr>
            <a:spLocks noChangeArrowheads="1"/>
          </p:cNvSpPr>
          <p:nvPr/>
        </p:nvSpPr>
        <p:spPr bwMode="auto">
          <a:xfrm>
            <a:off x="4302431" y="3799096"/>
            <a:ext cx="3296430" cy="1134222"/>
          </a:xfrm>
          <a:prstGeom prst="parallelogram">
            <a:avLst>
              <a:gd name="adj" fmla="val 43924"/>
            </a:avLst>
          </a:prstGeom>
          <a:solidFill>
            <a:schemeClr val="accent2">
              <a:lumMod val="40000"/>
              <a:lumOff val="60000"/>
            </a:schemeClr>
          </a:solidFill>
          <a:ln w="6350" cap="rnd">
            <a:noFill/>
            <a:miter lim="800000"/>
            <a:headEnd/>
            <a:tailEnd/>
          </a:ln>
          <a:effectLst/>
        </p:spPr>
        <p:txBody>
          <a:bodyPr wrap="none" lIns="72000" tIns="72000" rIns="72000" bIns="72000" anchor="ctr"/>
          <a:lstStyle/>
          <a:p>
            <a:pPr marL="180000" indent="-180000" eaLnBrk="0" hangingPunct="0">
              <a:spcBef>
                <a:spcPts val="100"/>
              </a:spcBef>
              <a:spcAft>
                <a:spcPts val="100"/>
              </a:spcAft>
              <a:buClr>
                <a:schemeClr val="tx1"/>
              </a:buClr>
            </a:pPr>
            <a:r>
              <a:rPr lang="en-US" sz="1400" b="1" dirty="0">
                <a:latin typeface="+mj-lt"/>
              </a:rPr>
              <a:t>Text</a:t>
            </a:r>
          </a:p>
          <a:p>
            <a:pPr eaLnBrk="0" hangingPunct="0">
              <a:spcBef>
                <a:spcPts val="100"/>
              </a:spcBef>
              <a:spcAft>
                <a:spcPts val="100"/>
              </a:spcAft>
            </a:pPr>
            <a:r>
              <a:rPr lang="en-US" sz="1400" dirty="0"/>
              <a:t>Insert text</a:t>
            </a:r>
          </a:p>
        </p:txBody>
      </p:sp>
      <p:sp>
        <p:nvSpPr>
          <p:cNvPr id="17" name="AutoShape 6">
            <a:extLst>
              <a:ext uri="{FF2B5EF4-FFF2-40B4-BE49-F238E27FC236}">
                <a16:creationId xmlns:a16="http://schemas.microsoft.com/office/drawing/2014/main" id="{145BDF3B-7398-4319-A40C-AA246BF4C2B1}"/>
              </a:ext>
              <a:ext uri="{C183D7F6-B498-43B3-948B-1728B52AA6E4}">
                <adec:decorative xmlns:adec="http://schemas.microsoft.com/office/drawing/2017/decorative" val="1"/>
              </a:ext>
            </a:extLst>
          </p:cNvPr>
          <p:cNvSpPr>
            <a:spLocks noChangeArrowheads="1"/>
          </p:cNvSpPr>
          <p:nvPr/>
        </p:nvSpPr>
        <p:spPr bwMode="auto">
          <a:xfrm>
            <a:off x="7238888" y="1474637"/>
            <a:ext cx="3296430" cy="4545340"/>
          </a:xfrm>
          <a:prstGeom prst="notchedRightArrow">
            <a:avLst>
              <a:gd name="adj1" fmla="val 52152"/>
              <a:gd name="adj2" fmla="val 30044"/>
            </a:avLst>
          </a:prstGeom>
          <a:solidFill>
            <a:schemeClr val="accent2"/>
          </a:solidFill>
          <a:ln w="6350" cap="rnd">
            <a:noFill/>
            <a:miter lim="800000"/>
            <a:headEnd/>
            <a:tailEnd/>
          </a:ln>
          <a:effectLst/>
        </p:spPr>
        <p:txBody>
          <a:bodyPr wrap="none" lIns="72000" tIns="72000" rIns="72000" bIns="72000" anchor="ctr"/>
          <a:lstStyle/>
          <a:p>
            <a:pPr marL="180000" indent="-180000" algn="l" eaLnBrk="0" hangingPunct="0">
              <a:spcBef>
                <a:spcPts val="100"/>
              </a:spcBef>
              <a:spcAft>
                <a:spcPts val="100"/>
              </a:spcAft>
            </a:pPr>
            <a:endParaRPr lang="en-US" dirty="0">
              <a:solidFill>
                <a:schemeClr val="bg1"/>
              </a:solidFill>
            </a:endParaRPr>
          </a:p>
        </p:txBody>
      </p:sp>
      <p:sp>
        <p:nvSpPr>
          <p:cNvPr id="19" name="Rectangle 7">
            <a:extLst>
              <a:ext uri="{FF2B5EF4-FFF2-40B4-BE49-F238E27FC236}">
                <a16:creationId xmlns:a16="http://schemas.microsoft.com/office/drawing/2014/main" id="{341E9330-C28B-40E2-A4E1-C1242F392CA7}"/>
              </a:ext>
            </a:extLst>
          </p:cNvPr>
          <p:cNvSpPr>
            <a:spLocks noChangeArrowheads="1"/>
          </p:cNvSpPr>
          <p:nvPr>
            <p:custDataLst>
              <p:tags r:id="rId1"/>
            </p:custDataLst>
          </p:nvPr>
        </p:nvSpPr>
        <p:spPr bwMode="auto">
          <a:xfrm>
            <a:off x="7842445" y="2568621"/>
            <a:ext cx="2236397" cy="2364697"/>
          </a:xfrm>
          <a:prstGeom prst="rect">
            <a:avLst/>
          </a:prstGeom>
          <a:noFill/>
          <a:ln w="6350">
            <a:noFill/>
            <a:miter lim="800000"/>
            <a:headEnd/>
            <a:tailEnd/>
          </a:ln>
          <a:effectLst/>
        </p:spPr>
        <p:txBody>
          <a:bodyPr lIns="180000" tIns="180000" rIns="144000" bIns="180000" anchor="ctr" anchorCtr="0"/>
          <a:lstStyle/>
          <a:p>
            <a:pPr marL="180000" indent="-180000" eaLnBrk="0" hangingPunct="0">
              <a:spcBef>
                <a:spcPts val="100"/>
              </a:spcBef>
              <a:spcAft>
                <a:spcPts val="100"/>
              </a:spcAft>
              <a:buClr>
                <a:schemeClr val="tx1"/>
              </a:buClr>
            </a:pPr>
            <a:r>
              <a:rPr lang="en-US" sz="1400" b="1" dirty="0">
                <a:solidFill>
                  <a:schemeClr val="bg1"/>
                </a:solidFill>
                <a:latin typeface="+mj-lt"/>
              </a:rPr>
              <a:t>Text</a:t>
            </a:r>
          </a:p>
          <a:p>
            <a:pPr marL="177800" indent="-177800" eaLnBrk="0" hangingPunct="0">
              <a:spcBef>
                <a:spcPts val="100"/>
              </a:spcBef>
              <a:spcAft>
                <a:spcPts val="100"/>
              </a:spcAft>
              <a:buFontTx/>
              <a:buChar char="•"/>
            </a:pPr>
            <a:r>
              <a:rPr lang="en-US" sz="1400" dirty="0">
                <a:solidFill>
                  <a:schemeClr val="bg1"/>
                </a:solidFill>
              </a:rPr>
              <a:t>Text</a:t>
            </a:r>
          </a:p>
          <a:p>
            <a:pPr marL="177800" indent="-177800" eaLnBrk="0" hangingPunct="0">
              <a:spcBef>
                <a:spcPts val="100"/>
              </a:spcBef>
              <a:spcAft>
                <a:spcPts val="100"/>
              </a:spcAft>
              <a:buFontTx/>
              <a:buChar char="•"/>
            </a:pPr>
            <a:r>
              <a:rPr lang="en-US" sz="1400" dirty="0">
                <a:solidFill>
                  <a:schemeClr val="bg1"/>
                </a:solidFill>
              </a:rPr>
              <a:t>Text</a:t>
            </a:r>
          </a:p>
          <a:p>
            <a:pPr marL="177800" indent="-177800" eaLnBrk="0" hangingPunct="0">
              <a:spcBef>
                <a:spcPts val="100"/>
              </a:spcBef>
              <a:spcAft>
                <a:spcPts val="100"/>
              </a:spcAft>
              <a:buFontTx/>
              <a:buChar char="•"/>
            </a:pPr>
            <a:r>
              <a:rPr lang="en-US" sz="1400" dirty="0">
                <a:solidFill>
                  <a:schemeClr val="bg1"/>
                </a:solidFill>
              </a:rPr>
              <a:t>Text</a:t>
            </a:r>
          </a:p>
        </p:txBody>
      </p:sp>
      <p:sp>
        <p:nvSpPr>
          <p:cNvPr id="5" name="Footer Placeholder 4">
            <a:extLst>
              <a:ext uri="{FF2B5EF4-FFF2-40B4-BE49-F238E27FC236}">
                <a16:creationId xmlns:a16="http://schemas.microsoft.com/office/drawing/2014/main" id="{5377368E-3C8B-44E7-8906-D0DFE67E37D8}"/>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3E94FD64-4C32-457E-A410-2984BB0EE70C}"/>
              </a:ext>
            </a:extLst>
          </p:cNvPr>
          <p:cNvSpPr>
            <a:spLocks noGrp="1"/>
          </p:cNvSpPr>
          <p:nvPr>
            <p:ph type="sldNum" sz="quarter" idx="10"/>
          </p:nvPr>
        </p:nvSpPr>
        <p:spPr/>
        <p:txBody>
          <a:bodyPr/>
          <a:lstStyle/>
          <a:p>
            <a:fld id="{1F90F471-3972-4120-B8B3-0237DE626C35}" type="slidenum">
              <a:rPr lang="en-US" smtClean="0"/>
              <a:pPr/>
              <a:t>198</a:t>
            </a:fld>
            <a:endParaRPr lang="en-US" dirty="0"/>
          </a:p>
        </p:txBody>
      </p:sp>
    </p:spTree>
    <p:extLst>
      <p:ext uri="{BB962C8B-B14F-4D97-AF65-F5344CB8AC3E}">
        <p14:creationId xmlns:p14="http://schemas.microsoft.com/office/powerpoint/2010/main" val="2046392405"/>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Linear Flow 11</a:t>
            </a:r>
          </a:p>
        </p:txBody>
      </p:sp>
      <p:grpSp>
        <p:nvGrpSpPr>
          <p:cNvPr id="12" name="Group 4" descr="Add text and order accordingly">
            <a:extLst>
              <a:ext uri="{FF2B5EF4-FFF2-40B4-BE49-F238E27FC236}">
                <a16:creationId xmlns:a16="http://schemas.microsoft.com/office/drawing/2014/main" id="{6A64E5E0-BAF6-485B-BF67-C8C6B1A0061F}"/>
              </a:ext>
            </a:extLst>
          </p:cNvPr>
          <p:cNvGrpSpPr>
            <a:grpSpLocks/>
          </p:cNvGrpSpPr>
          <p:nvPr/>
        </p:nvGrpSpPr>
        <p:grpSpPr bwMode="auto">
          <a:xfrm>
            <a:off x="4839534" y="1503326"/>
            <a:ext cx="6283917" cy="4502848"/>
            <a:chOff x="1943" y="1659"/>
            <a:chExt cx="2692" cy="1947"/>
          </a:xfrm>
        </p:grpSpPr>
        <p:sp>
          <p:nvSpPr>
            <p:cNvPr id="13" name="Freeform 5">
              <a:extLst>
                <a:ext uri="{FF2B5EF4-FFF2-40B4-BE49-F238E27FC236}">
                  <a16:creationId xmlns:a16="http://schemas.microsoft.com/office/drawing/2014/main" id="{4D2957AA-FDE2-4266-800F-054BC6B8A1C5}"/>
                </a:ext>
              </a:extLst>
            </p:cNvPr>
            <p:cNvSpPr>
              <a:spLocks/>
            </p:cNvSpPr>
            <p:nvPr/>
          </p:nvSpPr>
          <p:spPr bwMode="auto">
            <a:xfrm>
              <a:off x="1943" y="2632"/>
              <a:ext cx="2692" cy="974"/>
            </a:xfrm>
            <a:custGeom>
              <a:avLst/>
              <a:gdLst/>
              <a:ahLst/>
              <a:cxnLst>
                <a:cxn ang="0">
                  <a:pos x="0" y="794"/>
                </a:cxn>
                <a:cxn ang="0">
                  <a:pos x="1355" y="794"/>
                </a:cxn>
                <a:cxn ang="0">
                  <a:pos x="1355" y="927"/>
                </a:cxn>
                <a:cxn ang="0">
                  <a:pos x="1867" y="0"/>
                </a:cxn>
                <a:cxn ang="0">
                  <a:pos x="105" y="0"/>
                </a:cxn>
                <a:cxn ang="0">
                  <a:pos x="0" y="0"/>
                </a:cxn>
                <a:cxn ang="0">
                  <a:pos x="0" y="794"/>
                </a:cxn>
              </a:cxnLst>
              <a:rect l="0" t="0" r="r" b="b"/>
              <a:pathLst>
                <a:path w="1868" h="928">
                  <a:moveTo>
                    <a:pt x="0" y="794"/>
                  </a:moveTo>
                  <a:lnTo>
                    <a:pt x="1355" y="794"/>
                  </a:lnTo>
                  <a:lnTo>
                    <a:pt x="1355" y="927"/>
                  </a:lnTo>
                  <a:lnTo>
                    <a:pt x="1867" y="0"/>
                  </a:lnTo>
                  <a:lnTo>
                    <a:pt x="105" y="0"/>
                  </a:lnTo>
                  <a:lnTo>
                    <a:pt x="0" y="0"/>
                  </a:lnTo>
                  <a:lnTo>
                    <a:pt x="0" y="794"/>
                  </a:lnTo>
                </a:path>
              </a:pathLst>
            </a:custGeom>
            <a:solidFill>
              <a:schemeClr val="tx2">
                <a:lumMod val="20000"/>
                <a:lumOff val="80000"/>
              </a:schemeClr>
            </a:solidFill>
            <a:ln w="6350" cap="rnd" cmpd="sng">
              <a:noFill/>
              <a:prstDash val="solid"/>
              <a:round/>
              <a:headEnd type="none" w="med" len="med"/>
              <a:tailEnd type="none" w="med" len="med"/>
            </a:ln>
            <a:effectLst/>
          </p:spPr>
          <p:txBody>
            <a:bodyPr lIns="72000" tIns="72000" rIns="72000" bIns="72000"/>
            <a:lstStyle/>
            <a:p>
              <a:endParaRPr lang="en-US" dirty="0"/>
            </a:p>
          </p:txBody>
        </p:sp>
        <p:sp>
          <p:nvSpPr>
            <p:cNvPr id="14" name="Freeform 6">
              <a:extLst>
                <a:ext uri="{FF2B5EF4-FFF2-40B4-BE49-F238E27FC236}">
                  <a16:creationId xmlns:a16="http://schemas.microsoft.com/office/drawing/2014/main" id="{6543F5E2-7AEF-4843-8D72-555171183060}"/>
                </a:ext>
              </a:extLst>
            </p:cNvPr>
            <p:cNvSpPr>
              <a:spLocks/>
            </p:cNvSpPr>
            <p:nvPr/>
          </p:nvSpPr>
          <p:spPr bwMode="auto">
            <a:xfrm>
              <a:off x="1943" y="1659"/>
              <a:ext cx="2692" cy="974"/>
            </a:xfrm>
            <a:custGeom>
              <a:avLst/>
              <a:gdLst/>
              <a:ahLst/>
              <a:cxnLst>
                <a:cxn ang="0">
                  <a:pos x="0" y="133"/>
                </a:cxn>
                <a:cxn ang="0">
                  <a:pos x="1355" y="133"/>
                </a:cxn>
                <a:cxn ang="0">
                  <a:pos x="1355" y="0"/>
                </a:cxn>
                <a:cxn ang="0">
                  <a:pos x="1867" y="927"/>
                </a:cxn>
                <a:cxn ang="0">
                  <a:pos x="105" y="927"/>
                </a:cxn>
                <a:cxn ang="0">
                  <a:pos x="0" y="927"/>
                </a:cxn>
                <a:cxn ang="0">
                  <a:pos x="0" y="133"/>
                </a:cxn>
              </a:cxnLst>
              <a:rect l="0" t="0" r="r" b="b"/>
              <a:pathLst>
                <a:path w="1868" h="928">
                  <a:moveTo>
                    <a:pt x="0" y="133"/>
                  </a:moveTo>
                  <a:lnTo>
                    <a:pt x="1355" y="133"/>
                  </a:lnTo>
                  <a:lnTo>
                    <a:pt x="1355" y="0"/>
                  </a:lnTo>
                  <a:lnTo>
                    <a:pt x="1867" y="927"/>
                  </a:lnTo>
                  <a:lnTo>
                    <a:pt x="105" y="927"/>
                  </a:lnTo>
                  <a:lnTo>
                    <a:pt x="0" y="927"/>
                  </a:lnTo>
                  <a:lnTo>
                    <a:pt x="0" y="133"/>
                  </a:lnTo>
                </a:path>
              </a:pathLst>
            </a:custGeom>
            <a:solidFill>
              <a:schemeClr val="accent2">
                <a:lumMod val="40000"/>
                <a:lumOff val="60000"/>
              </a:schemeClr>
            </a:solidFill>
            <a:ln w="12700" cap="rnd" cmpd="sng">
              <a:noFill/>
              <a:prstDash val="solid"/>
              <a:round/>
              <a:headEnd type="none" w="med" len="med"/>
              <a:tailEnd type="none" w="med" len="med"/>
            </a:ln>
            <a:effectLst/>
          </p:spPr>
          <p:txBody>
            <a:bodyPr lIns="72000" tIns="72000" rIns="72000" bIns="72000"/>
            <a:lstStyle/>
            <a:p>
              <a:endParaRPr lang="en-US" dirty="0"/>
            </a:p>
          </p:txBody>
        </p:sp>
        <p:sp>
          <p:nvSpPr>
            <p:cNvPr id="15" name="Rectangle 8">
              <a:extLst>
                <a:ext uri="{FF2B5EF4-FFF2-40B4-BE49-F238E27FC236}">
                  <a16:creationId xmlns:a16="http://schemas.microsoft.com/office/drawing/2014/main" id="{84476495-2175-45C8-988B-7556D6B71D17}"/>
                </a:ext>
              </a:extLst>
            </p:cNvPr>
            <p:cNvSpPr>
              <a:spLocks noChangeArrowheads="1"/>
            </p:cNvSpPr>
            <p:nvPr/>
          </p:nvSpPr>
          <p:spPr bwMode="auto">
            <a:xfrm>
              <a:off x="3004" y="1797"/>
              <a:ext cx="966" cy="829"/>
            </a:xfrm>
            <a:prstGeom prst="rect">
              <a:avLst/>
            </a:prstGeom>
            <a:noFill/>
            <a:ln w="6350">
              <a:noFill/>
              <a:miter lim="800000"/>
              <a:headEnd/>
              <a:tailEnd/>
            </a:ln>
            <a:effectLst/>
          </p:spPr>
          <p:txBody>
            <a:bodyPr lIns="72000" tIns="72000" rIns="72000" bIns="72000" anchor="ctr" anchorCtr="0">
              <a:noAutofit/>
            </a:bodyPr>
            <a:lstStyle/>
            <a:p>
              <a:pPr indent="-177800" eaLnBrk="0" hangingPunct="0">
                <a:lnSpc>
                  <a:spcPct val="85000"/>
                </a:lnSpc>
                <a:spcBef>
                  <a:spcPts val="100"/>
                </a:spcBef>
                <a:spcAft>
                  <a:spcPts val="300"/>
                </a:spcAft>
                <a:buClr>
                  <a:schemeClr val="bg1"/>
                </a:buClr>
              </a:pPr>
              <a:r>
                <a:rPr lang="en-GB" b="1" dirty="0">
                  <a:latin typeface="+mj-lt"/>
                </a:rPr>
                <a:t>Text</a:t>
              </a:r>
            </a:p>
            <a:p>
              <a:pPr marL="165100" indent="-165100" eaLnBrk="0" hangingPunct="0">
                <a:spcBef>
                  <a:spcPts val="100"/>
                </a:spcBef>
                <a:spcAft>
                  <a:spcPts val="100"/>
                </a:spcAft>
                <a:buFontTx/>
                <a:buChar char="•"/>
              </a:pPr>
              <a:r>
                <a:rPr lang="en-GB" dirty="0"/>
                <a:t>Text</a:t>
              </a:r>
            </a:p>
            <a:p>
              <a:pPr marL="165100" indent="-165100" eaLnBrk="0" hangingPunct="0">
                <a:spcBef>
                  <a:spcPts val="100"/>
                </a:spcBef>
                <a:spcAft>
                  <a:spcPts val="100"/>
                </a:spcAft>
                <a:buFontTx/>
                <a:buChar char="•"/>
              </a:pPr>
              <a:r>
                <a:rPr lang="en-GB" dirty="0"/>
                <a:t>Text</a:t>
              </a:r>
            </a:p>
            <a:p>
              <a:pPr marL="165100" indent="-165100" eaLnBrk="0" hangingPunct="0">
                <a:spcBef>
                  <a:spcPts val="100"/>
                </a:spcBef>
                <a:spcAft>
                  <a:spcPts val="100"/>
                </a:spcAft>
                <a:buFontTx/>
                <a:buChar char="•"/>
              </a:pPr>
              <a:r>
                <a:rPr lang="en-GB" dirty="0"/>
                <a:t>Text</a:t>
              </a:r>
            </a:p>
          </p:txBody>
        </p:sp>
        <p:sp>
          <p:nvSpPr>
            <p:cNvPr id="16" name="Rectangle 9">
              <a:extLst>
                <a:ext uri="{FF2B5EF4-FFF2-40B4-BE49-F238E27FC236}">
                  <a16:creationId xmlns:a16="http://schemas.microsoft.com/office/drawing/2014/main" id="{1883C7B1-13B5-43B5-BA31-86C15F725045}"/>
                </a:ext>
              </a:extLst>
            </p:cNvPr>
            <p:cNvSpPr>
              <a:spLocks noChangeArrowheads="1"/>
            </p:cNvSpPr>
            <p:nvPr/>
          </p:nvSpPr>
          <p:spPr bwMode="auto">
            <a:xfrm>
              <a:off x="3004" y="2633"/>
              <a:ext cx="966" cy="835"/>
            </a:xfrm>
            <a:prstGeom prst="rect">
              <a:avLst/>
            </a:prstGeom>
            <a:noFill/>
            <a:ln w="6350">
              <a:noFill/>
              <a:miter lim="800000"/>
              <a:headEnd/>
              <a:tailEnd/>
            </a:ln>
            <a:effectLst/>
          </p:spPr>
          <p:txBody>
            <a:bodyPr lIns="72000" tIns="72000" rIns="72000" bIns="72000" anchor="ctr" anchorCtr="0">
              <a:noAutofit/>
            </a:bodyPr>
            <a:lstStyle/>
            <a:p>
              <a:pPr indent="-177800" eaLnBrk="0" hangingPunct="0">
                <a:lnSpc>
                  <a:spcPct val="85000"/>
                </a:lnSpc>
                <a:spcBef>
                  <a:spcPts val="100"/>
                </a:spcBef>
                <a:spcAft>
                  <a:spcPts val="300"/>
                </a:spcAft>
                <a:buClr>
                  <a:schemeClr val="bg1"/>
                </a:buClr>
              </a:pPr>
              <a:r>
                <a:rPr lang="en-GB" b="1" dirty="0">
                  <a:latin typeface="+mj-lt"/>
                </a:rPr>
                <a:t>Text</a:t>
              </a:r>
            </a:p>
            <a:p>
              <a:pPr marL="165100" indent="-165100" eaLnBrk="0" hangingPunct="0">
                <a:spcBef>
                  <a:spcPts val="100"/>
                </a:spcBef>
                <a:spcAft>
                  <a:spcPts val="100"/>
                </a:spcAft>
                <a:buFontTx/>
                <a:buChar char="•"/>
              </a:pPr>
              <a:r>
                <a:rPr lang="en-GB" dirty="0"/>
                <a:t>Text</a:t>
              </a:r>
            </a:p>
            <a:p>
              <a:pPr marL="165100" indent="-165100" eaLnBrk="0" hangingPunct="0">
                <a:spcBef>
                  <a:spcPts val="100"/>
                </a:spcBef>
                <a:spcAft>
                  <a:spcPts val="100"/>
                </a:spcAft>
                <a:buFontTx/>
                <a:buChar char="•"/>
              </a:pPr>
              <a:r>
                <a:rPr lang="en-GB" dirty="0"/>
                <a:t>Text</a:t>
              </a:r>
            </a:p>
            <a:p>
              <a:pPr marL="165100" indent="-165100" eaLnBrk="0" hangingPunct="0">
                <a:spcBef>
                  <a:spcPts val="100"/>
                </a:spcBef>
                <a:spcAft>
                  <a:spcPts val="100"/>
                </a:spcAft>
                <a:buFontTx/>
                <a:buChar char="•"/>
              </a:pPr>
              <a:r>
                <a:rPr lang="en-GB" dirty="0"/>
                <a:t>Text</a:t>
              </a:r>
            </a:p>
          </p:txBody>
        </p:sp>
      </p:grpSp>
      <p:sp>
        <p:nvSpPr>
          <p:cNvPr id="17" name="AutoShape 7">
            <a:extLst>
              <a:ext uri="{FF2B5EF4-FFF2-40B4-BE49-F238E27FC236}">
                <a16:creationId xmlns:a16="http://schemas.microsoft.com/office/drawing/2014/main" id="{3AAD5FD6-92AD-4B95-AB6C-3F07D7537ABD}"/>
              </a:ext>
              <a:ext uri="{C183D7F6-B498-43B3-948B-1728B52AA6E4}">
                <adec:decorative xmlns:adec="http://schemas.microsoft.com/office/drawing/2017/decorative" val="1"/>
              </a:ext>
            </a:extLst>
          </p:cNvPr>
          <p:cNvSpPr>
            <a:spLocks noChangeArrowheads="1"/>
          </p:cNvSpPr>
          <p:nvPr/>
        </p:nvSpPr>
        <p:spPr bwMode="auto">
          <a:xfrm>
            <a:off x="2165350" y="2486228"/>
            <a:ext cx="4883341" cy="2537044"/>
          </a:xfrm>
          <a:prstGeom prst="rightArrow">
            <a:avLst>
              <a:gd name="adj1" fmla="val 75000"/>
              <a:gd name="adj2" fmla="val 38529"/>
            </a:avLst>
          </a:prstGeom>
          <a:solidFill>
            <a:schemeClr val="accent2"/>
          </a:solidFill>
          <a:ln w="25400">
            <a:noFill/>
            <a:miter lim="800000"/>
            <a:headEnd/>
            <a:tailEnd/>
          </a:ln>
          <a:effectLst/>
        </p:spPr>
        <p:txBody>
          <a:bodyPr wrap="none" lIns="72000" tIns="72000" rIns="72000" bIns="72000"/>
          <a:lstStyle/>
          <a:p>
            <a:pPr marL="177800" indent="-177800" algn="l" defTabSz="1044575" eaLnBrk="0" hangingPunct="0">
              <a:spcBef>
                <a:spcPts val="100"/>
              </a:spcBef>
              <a:spcAft>
                <a:spcPts val="100"/>
              </a:spcAft>
            </a:pPr>
            <a:endParaRPr lang="en-GB" sz="1400" dirty="0">
              <a:solidFill>
                <a:schemeClr val="bg1"/>
              </a:solidFill>
            </a:endParaRPr>
          </a:p>
        </p:txBody>
      </p:sp>
      <p:sp>
        <p:nvSpPr>
          <p:cNvPr id="18" name="Rectangle 7">
            <a:extLst>
              <a:ext uri="{FF2B5EF4-FFF2-40B4-BE49-F238E27FC236}">
                <a16:creationId xmlns:a16="http://schemas.microsoft.com/office/drawing/2014/main" id="{A9A0FD9F-45E1-4BED-8AE2-F4F413631728}"/>
              </a:ext>
            </a:extLst>
          </p:cNvPr>
          <p:cNvSpPr>
            <a:spLocks noChangeArrowheads="1"/>
          </p:cNvSpPr>
          <p:nvPr>
            <p:custDataLst>
              <p:tags r:id="rId1"/>
            </p:custDataLst>
          </p:nvPr>
        </p:nvSpPr>
        <p:spPr bwMode="auto">
          <a:xfrm>
            <a:off x="2324349" y="2830239"/>
            <a:ext cx="2773261" cy="1819254"/>
          </a:xfrm>
          <a:prstGeom prst="rect">
            <a:avLst/>
          </a:prstGeom>
          <a:noFill/>
          <a:ln w="6350">
            <a:noFill/>
            <a:miter lim="800000"/>
            <a:headEnd/>
            <a:tailEnd/>
          </a:ln>
          <a:effectLst/>
        </p:spPr>
        <p:txBody>
          <a:bodyPr lIns="180000" tIns="180000" rIns="144000" bIns="180000" anchor="ctr" anchorCtr="0"/>
          <a:lstStyle/>
          <a:p>
            <a:pPr eaLnBrk="0" hangingPunct="0">
              <a:lnSpc>
                <a:spcPct val="85000"/>
              </a:lnSpc>
              <a:spcBef>
                <a:spcPts val="100"/>
              </a:spcBef>
              <a:spcAft>
                <a:spcPts val="300"/>
              </a:spcAft>
            </a:pPr>
            <a:r>
              <a:rPr lang="en-US" b="1" dirty="0">
                <a:solidFill>
                  <a:schemeClr val="bg1"/>
                </a:solidFill>
                <a:latin typeface="+mj-lt"/>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p:txBody>
      </p:sp>
      <p:sp>
        <p:nvSpPr>
          <p:cNvPr id="5" name="Footer Placeholder 4">
            <a:extLst>
              <a:ext uri="{FF2B5EF4-FFF2-40B4-BE49-F238E27FC236}">
                <a16:creationId xmlns:a16="http://schemas.microsoft.com/office/drawing/2014/main" id="{72A45209-148C-407D-A4D5-500FE4A01BBF}"/>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6806AC6F-C9E8-45B4-B918-2A148DC32BD1}"/>
              </a:ext>
            </a:extLst>
          </p:cNvPr>
          <p:cNvSpPr>
            <a:spLocks noGrp="1"/>
          </p:cNvSpPr>
          <p:nvPr>
            <p:ph type="sldNum" sz="quarter" idx="10"/>
          </p:nvPr>
        </p:nvSpPr>
        <p:spPr/>
        <p:txBody>
          <a:bodyPr/>
          <a:lstStyle/>
          <a:p>
            <a:fld id="{1F90F471-3972-4120-B8B3-0237DE626C35}" type="slidenum">
              <a:rPr lang="en-US" smtClean="0"/>
              <a:pPr/>
              <a:t>199</a:t>
            </a:fld>
            <a:endParaRPr lang="en-US" dirty="0"/>
          </a:p>
        </p:txBody>
      </p:sp>
    </p:spTree>
    <p:extLst>
      <p:ext uri="{BB962C8B-B14F-4D97-AF65-F5344CB8AC3E}">
        <p14:creationId xmlns:p14="http://schemas.microsoft.com/office/powerpoint/2010/main" val="7078495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0DB6F-6774-4642-B634-C94EC271FEED}"/>
              </a:ext>
            </a:extLst>
          </p:cNvPr>
          <p:cNvSpPr>
            <a:spLocks noGrp="1"/>
          </p:cNvSpPr>
          <p:nvPr>
            <p:ph type="title"/>
          </p:nvPr>
        </p:nvSpPr>
        <p:spPr/>
        <p:txBody>
          <a:bodyPr/>
          <a:lstStyle/>
          <a:p>
            <a:r>
              <a:rPr lang="en-US" dirty="0"/>
              <a:t>Contents</a:t>
            </a:r>
          </a:p>
        </p:txBody>
      </p:sp>
      <p:sp>
        <p:nvSpPr>
          <p:cNvPr id="3" name="Content Placeholder 2">
            <a:extLst>
              <a:ext uri="{FF2B5EF4-FFF2-40B4-BE49-F238E27FC236}">
                <a16:creationId xmlns:a16="http://schemas.microsoft.com/office/drawing/2014/main" id="{944CC320-D437-4C01-ACD1-ED82FDCFCE3B}"/>
              </a:ext>
            </a:extLst>
          </p:cNvPr>
          <p:cNvSpPr>
            <a:spLocks noGrp="1"/>
          </p:cNvSpPr>
          <p:nvPr>
            <p:ph sz="quarter" idx="10"/>
          </p:nvPr>
        </p:nvSpPr>
        <p:spPr>
          <a:xfrm>
            <a:off x="381001" y="1371600"/>
            <a:ext cx="8595360" cy="4940300"/>
          </a:xfrm>
        </p:spPr>
        <p:txBody>
          <a:bodyPr/>
          <a:lstStyle/>
          <a:p>
            <a:pPr marL="0" indent="0">
              <a:buNone/>
            </a:pPr>
            <a:r>
              <a:rPr lang="en-US" dirty="0"/>
              <a:t>This slide starter pack has two main sections:</a:t>
            </a:r>
          </a:p>
          <a:p>
            <a:pPr marL="457200" indent="-457200">
              <a:buAutoNum type="arabicPeriod"/>
            </a:pPr>
            <a:r>
              <a:rPr lang="en-US" dirty="0"/>
              <a:t>A new </a:t>
            </a:r>
            <a:r>
              <a:rPr lang="en-US" dirty="0">
                <a:solidFill>
                  <a:schemeClr val="accent1"/>
                </a:solidFill>
              </a:rPr>
              <a:t>Slide Kit </a:t>
            </a:r>
            <a:r>
              <a:rPr lang="en-US" dirty="0"/>
              <a:t>offers many different layout options that are available in the new PPT template master view. It also includes tips for creating an impactful presentation and provides an overview of the new colors, gradients, and fonts.</a:t>
            </a:r>
          </a:p>
          <a:p>
            <a:pPr marL="457200" indent="-457200">
              <a:buAutoNum type="arabicPeriod"/>
            </a:pPr>
            <a:r>
              <a:rPr lang="en-US" dirty="0"/>
              <a:t>The extensive </a:t>
            </a:r>
            <a:r>
              <a:rPr lang="en-US" dirty="0">
                <a:solidFill>
                  <a:schemeClr val="accent1"/>
                </a:solidFill>
              </a:rPr>
              <a:t>Visuals Library, </a:t>
            </a:r>
            <a:r>
              <a:rPr lang="en-US" dirty="0"/>
              <a:t>starting on page 63, contains a vast array of graphic tools to help illustrate your points and bring your presentations to life. </a:t>
            </a:r>
          </a:p>
        </p:txBody>
      </p:sp>
      <p:sp>
        <p:nvSpPr>
          <p:cNvPr id="6" name="Rectangle 5" descr="Slide Kit link">
            <a:hlinkClick r:id="rId2" action="ppaction://hlinksldjump"/>
            <a:extLst>
              <a:ext uri="{FF2B5EF4-FFF2-40B4-BE49-F238E27FC236}">
                <a16:creationId xmlns:a16="http://schemas.microsoft.com/office/drawing/2014/main" id="{3B311271-6C08-422B-96F5-E576E0409252}"/>
              </a:ext>
            </a:extLst>
          </p:cNvPr>
          <p:cNvSpPr/>
          <p:nvPr/>
        </p:nvSpPr>
        <p:spPr>
          <a:xfrm>
            <a:off x="1627322" y="1759058"/>
            <a:ext cx="1053885" cy="2867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7" name="Rectangle 6" descr="Visuals Library Link">
            <a:hlinkClick r:id="rId3" action="ppaction://hlinksldjump"/>
            <a:extLst>
              <a:ext uri="{FF2B5EF4-FFF2-40B4-BE49-F238E27FC236}">
                <a16:creationId xmlns:a16="http://schemas.microsoft.com/office/drawing/2014/main" id="{A14FD051-7CF0-47B9-BB5B-914EE6EE8EE9}"/>
              </a:ext>
            </a:extLst>
          </p:cNvPr>
          <p:cNvSpPr/>
          <p:nvPr/>
        </p:nvSpPr>
        <p:spPr>
          <a:xfrm>
            <a:off x="2557220" y="3036376"/>
            <a:ext cx="1821051" cy="2867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 name="Footer Placeholder 3">
            <a:extLst>
              <a:ext uri="{FF2B5EF4-FFF2-40B4-BE49-F238E27FC236}">
                <a16:creationId xmlns:a16="http://schemas.microsoft.com/office/drawing/2014/main" id="{ED058553-ABA2-422C-8BB3-5F37EFD1D51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B4DDD5CB-91AA-43B9-AA97-0074F878C9F4}"/>
              </a:ext>
            </a:extLst>
          </p:cNvPr>
          <p:cNvSpPr>
            <a:spLocks noGrp="1"/>
          </p:cNvSpPr>
          <p:nvPr>
            <p:ph type="sldNum" sz="quarter" idx="11"/>
          </p:nvPr>
        </p:nvSpPr>
        <p:spPr/>
        <p:txBody>
          <a:bodyPr/>
          <a:lstStyle/>
          <a:p>
            <a:fld id="{1F90F471-3972-4120-B8B3-0237DE626C35}" type="slidenum">
              <a:rPr lang="en-US" smtClean="0"/>
              <a:pPr/>
              <a:t>2</a:t>
            </a:fld>
            <a:endParaRPr lang="en-US" dirty="0"/>
          </a:p>
        </p:txBody>
      </p:sp>
    </p:spTree>
    <p:extLst>
      <p:ext uri="{BB962C8B-B14F-4D97-AF65-F5344CB8AC3E}">
        <p14:creationId xmlns:p14="http://schemas.microsoft.com/office/powerpoint/2010/main" val="10448816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010D6EF-6B69-4DAD-937F-6B8E977C8E92}"/>
              </a:ext>
            </a:extLst>
          </p:cNvPr>
          <p:cNvSpPr>
            <a:spLocks noGrp="1"/>
          </p:cNvSpPr>
          <p:nvPr>
            <p:ph type="ctrTitle"/>
          </p:nvPr>
        </p:nvSpPr>
        <p:spPr/>
        <p:txBody>
          <a:bodyPr/>
          <a:lstStyle/>
          <a:p>
            <a:r>
              <a:rPr lang="en-GB" dirty="0"/>
              <a:t>Place presentation title here 48pt</a:t>
            </a:r>
            <a:endParaRPr lang="en-US" dirty="0"/>
          </a:p>
        </p:txBody>
      </p:sp>
      <p:sp>
        <p:nvSpPr>
          <p:cNvPr id="4" name="Text Placeholder 3">
            <a:extLst>
              <a:ext uri="{FF2B5EF4-FFF2-40B4-BE49-F238E27FC236}">
                <a16:creationId xmlns:a16="http://schemas.microsoft.com/office/drawing/2014/main" id="{361CAAAC-9BC5-427D-B5A9-9DFBECDF06F5}"/>
              </a:ext>
            </a:extLst>
          </p:cNvPr>
          <p:cNvSpPr>
            <a:spLocks noGrp="1"/>
          </p:cNvSpPr>
          <p:nvPr>
            <p:ph type="body" sz="quarter" idx="13"/>
          </p:nvPr>
        </p:nvSpPr>
        <p:spPr/>
        <p:txBody>
          <a:bodyPr/>
          <a:lstStyle/>
          <a:p>
            <a:r>
              <a:rPr lang="en-GB" dirty="0"/>
              <a:t>Place subtitle here in GT Sectra Fine </a:t>
            </a:r>
            <a:r>
              <a:rPr lang="en-GB" dirty="0" err="1"/>
              <a:t>Rg</a:t>
            </a:r>
            <a:r>
              <a:rPr lang="en-GB" dirty="0"/>
              <a:t> 24pt</a:t>
            </a:r>
            <a:endParaRPr lang="en-US" dirty="0"/>
          </a:p>
        </p:txBody>
      </p:sp>
      <p:sp>
        <p:nvSpPr>
          <p:cNvPr id="2" name="Text Placeholder 1">
            <a:extLst>
              <a:ext uri="{FF2B5EF4-FFF2-40B4-BE49-F238E27FC236}">
                <a16:creationId xmlns:a16="http://schemas.microsoft.com/office/drawing/2014/main" id="{A492F17B-DA14-4E85-AF77-224E0036CBAB}"/>
              </a:ext>
            </a:extLst>
          </p:cNvPr>
          <p:cNvSpPr>
            <a:spLocks noGrp="1"/>
          </p:cNvSpPr>
          <p:nvPr>
            <p:ph type="body" sz="quarter" idx="12"/>
          </p:nvPr>
        </p:nvSpPr>
        <p:spPr/>
        <p:txBody>
          <a:bodyPr/>
          <a:lstStyle/>
          <a:p>
            <a:r>
              <a:rPr lang="en-US" dirty="0"/>
              <a:t>Presenter 14pt</a:t>
            </a:r>
          </a:p>
        </p:txBody>
      </p:sp>
    </p:spTree>
    <p:extLst>
      <p:ext uri="{BB962C8B-B14F-4D97-AF65-F5344CB8AC3E}">
        <p14:creationId xmlns:p14="http://schemas.microsoft.com/office/powerpoint/2010/main" val="1595237603"/>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Linear Flow 12</a:t>
            </a:r>
          </a:p>
        </p:txBody>
      </p:sp>
      <p:sp>
        <p:nvSpPr>
          <p:cNvPr id="5" name="AutoShape 7">
            <a:extLst>
              <a:ext uri="{FF2B5EF4-FFF2-40B4-BE49-F238E27FC236}">
                <a16:creationId xmlns:a16="http://schemas.microsoft.com/office/drawing/2014/main" id="{67277FFC-43C4-438E-AF87-2AC41C9D985E}"/>
              </a:ext>
              <a:ext uri="{C183D7F6-B498-43B3-948B-1728B52AA6E4}">
                <adec:decorative xmlns:adec="http://schemas.microsoft.com/office/drawing/2017/decorative" val="1"/>
              </a:ext>
            </a:extLst>
          </p:cNvPr>
          <p:cNvSpPr>
            <a:spLocks noChangeArrowheads="1"/>
          </p:cNvSpPr>
          <p:nvPr/>
        </p:nvSpPr>
        <p:spPr bwMode="auto">
          <a:xfrm>
            <a:off x="345018" y="2331245"/>
            <a:ext cx="2932259" cy="2537044"/>
          </a:xfrm>
          <a:prstGeom prst="rightArrow">
            <a:avLst>
              <a:gd name="adj1" fmla="val 75000"/>
              <a:gd name="adj2" fmla="val 38529"/>
            </a:avLst>
          </a:prstGeom>
          <a:solidFill>
            <a:schemeClr val="tx2">
              <a:lumMod val="20000"/>
              <a:lumOff val="80000"/>
            </a:schemeClr>
          </a:solidFill>
          <a:ln w="25400">
            <a:noFill/>
            <a:miter lim="800000"/>
            <a:headEnd/>
            <a:tailEnd/>
          </a:ln>
          <a:effectLst/>
        </p:spPr>
        <p:txBody>
          <a:bodyPr wrap="none" lIns="72000" tIns="72000" rIns="72000" bIns="72000"/>
          <a:lstStyle/>
          <a:p>
            <a:pPr marL="177800" indent="-177800" algn="l" defTabSz="1044575" eaLnBrk="0" hangingPunct="0">
              <a:spcBef>
                <a:spcPts val="100"/>
              </a:spcBef>
              <a:spcAft>
                <a:spcPts val="100"/>
              </a:spcAft>
            </a:pPr>
            <a:endParaRPr lang="en-GB" sz="1400" dirty="0">
              <a:solidFill>
                <a:schemeClr val="bg1"/>
              </a:solidFill>
            </a:endParaRPr>
          </a:p>
        </p:txBody>
      </p:sp>
      <p:sp>
        <p:nvSpPr>
          <p:cNvPr id="6" name="Rectangle 7">
            <a:extLst>
              <a:ext uri="{FF2B5EF4-FFF2-40B4-BE49-F238E27FC236}">
                <a16:creationId xmlns:a16="http://schemas.microsoft.com/office/drawing/2014/main" id="{E851890D-8A15-488E-A722-858848B9C259}"/>
              </a:ext>
            </a:extLst>
          </p:cNvPr>
          <p:cNvSpPr>
            <a:spLocks noChangeArrowheads="1"/>
          </p:cNvSpPr>
          <p:nvPr>
            <p:custDataLst>
              <p:tags r:id="rId1"/>
            </p:custDataLst>
          </p:nvPr>
        </p:nvSpPr>
        <p:spPr bwMode="auto">
          <a:xfrm>
            <a:off x="504016" y="2675256"/>
            <a:ext cx="2773261" cy="1819254"/>
          </a:xfrm>
          <a:prstGeom prst="rect">
            <a:avLst/>
          </a:prstGeom>
          <a:noFill/>
          <a:ln w="6350">
            <a:noFill/>
            <a:miter lim="800000"/>
            <a:headEnd/>
            <a:tailEnd/>
          </a:ln>
          <a:effectLst/>
        </p:spPr>
        <p:txBody>
          <a:bodyPr lIns="180000" tIns="180000" rIns="144000" bIns="180000" anchor="ctr" anchorCtr="0"/>
          <a:lstStyle/>
          <a:p>
            <a:pPr eaLnBrk="0" hangingPunct="0">
              <a:lnSpc>
                <a:spcPct val="85000"/>
              </a:lnSpc>
              <a:spcBef>
                <a:spcPts val="100"/>
              </a:spcBef>
              <a:spcAft>
                <a:spcPts val="300"/>
              </a:spcAft>
            </a:pPr>
            <a:r>
              <a:rPr lang="en-US" b="1" dirty="0">
                <a:latin typeface="+mj-lt"/>
              </a:rPr>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p:txBody>
      </p:sp>
      <p:sp>
        <p:nvSpPr>
          <p:cNvPr id="11" name="Freeform 6">
            <a:extLst>
              <a:ext uri="{FF2B5EF4-FFF2-40B4-BE49-F238E27FC236}">
                <a16:creationId xmlns:a16="http://schemas.microsoft.com/office/drawing/2014/main" id="{DD9C7F1B-41A6-4287-968F-3B4B568F889D}"/>
              </a:ext>
              <a:ext uri="{C183D7F6-B498-43B3-948B-1728B52AA6E4}">
                <adec:decorative xmlns:adec="http://schemas.microsoft.com/office/drawing/2017/decorative" val="1"/>
              </a:ext>
            </a:extLst>
          </p:cNvPr>
          <p:cNvSpPr>
            <a:spLocks/>
          </p:cNvSpPr>
          <p:nvPr/>
        </p:nvSpPr>
        <p:spPr bwMode="auto">
          <a:xfrm>
            <a:off x="3722232" y="1682067"/>
            <a:ext cx="3594100" cy="1844675"/>
          </a:xfrm>
          <a:custGeom>
            <a:avLst/>
            <a:gdLst>
              <a:gd name="T0" fmla="*/ 1413 w 2264"/>
              <a:gd name="T1" fmla="*/ 0 h 1162"/>
              <a:gd name="T2" fmla="*/ 2264 w 2264"/>
              <a:gd name="T3" fmla="*/ 1162 h 1162"/>
              <a:gd name="T4" fmla="*/ 0 w 2264"/>
              <a:gd name="T5" fmla="*/ 1162 h 1162"/>
              <a:gd name="T6" fmla="*/ 0 w 2264"/>
              <a:gd name="T7" fmla="*/ 301 h 1162"/>
              <a:gd name="T8" fmla="*/ 1413 w 2264"/>
              <a:gd name="T9" fmla="*/ 301 h 1162"/>
              <a:gd name="T10" fmla="*/ 1413 w 2264"/>
              <a:gd name="T11" fmla="*/ 0 h 1162"/>
              <a:gd name="T12" fmla="*/ 1413 w 2264"/>
              <a:gd name="T13" fmla="*/ 0 h 1162"/>
            </a:gdLst>
            <a:ahLst/>
            <a:cxnLst>
              <a:cxn ang="0">
                <a:pos x="T0" y="T1"/>
              </a:cxn>
              <a:cxn ang="0">
                <a:pos x="T2" y="T3"/>
              </a:cxn>
              <a:cxn ang="0">
                <a:pos x="T4" y="T5"/>
              </a:cxn>
              <a:cxn ang="0">
                <a:pos x="T6" y="T7"/>
              </a:cxn>
              <a:cxn ang="0">
                <a:pos x="T8" y="T9"/>
              </a:cxn>
              <a:cxn ang="0">
                <a:pos x="T10" y="T11"/>
              </a:cxn>
              <a:cxn ang="0">
                <a:pos x="T12" y="T13"/>
              </a:cxn>
            </a:cxnLst>
            <a:rect l="0" t="0" r="r" b="b"/>
            <a:pathLst>
              <a:path w="2264" h="1162">
                <a:moveTo>
                  <a:pt x="1413" y="0"/>
                </a:moveTo>
                <a:lnTo>
                  <a:pt x="2264" y="1162"/>
                </a:lnTo>
                <a:lnTo>
                  <a:pt x="0" y="1162"/>
                </a:lnTo>
                <a:lnTo>
                  <a:pt x="0" y="301"/>
                </a:lnTo>
                <a:lnTo>
                  <a:pt x="1413" y="301"/>
                </a:lnTo>
                <a:lnTo>
                  <a:pt x="1413" y="0"/>
                </a:lnTo>
                <a:lnTo>
                  <a:pt x="1413"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7" name="Rectangle 7">
            <a:extLst>
              <a:ext uri="{FF2B5EF4-FFF2-40B4-BE49-F238E27FC236}">
                <a16:creationId xmlns:a16="http://schemas.microsoft.com/office/drawing/2014/main" id="{E2F2C6F7-39DB-49DF-9AC3-3A49B8A599DA}"/>
              </a:ext>
            </a:extLst>
          </p:cNvPr>
          <p:cNvSpPr>
            <a:spLocks noChangeArrowheads="1"/>
          </p:cNvSpPr>
          <p:nvPr>
            <p:custDataLst>
              <p:tags r:id="rId2"/>
            </p:custDataLst>
          </p:nvPr>
        </p:nvSpPr>
        <p:spPr bwMode="auto">
          <a:xfrm>
            <a:off x="3888368" y="2154263"/>
            <a:ext cx="2773261" cy="1372479"/>
          </a:xfrm>
          <a:prstGeom prst="rect">
            <a:avLst/>
          </a:prstGeom>
          <a:noFill/>
          <a:ln w="6350">
            <a:noFill/>
            <a:miter lim="800000"/>
            <a:headEnd/>
            <a:tailEnd/>
          </a:ln>
          <a:effectLst/>
        </p:spPr>
        <p:txBody>
          <a:bodyPr lIns="180000" tIns="180000" rIns="144000" bIns="180000" anchor="ctr" anchorCtr="0"/>
          <a:lstStyle/>
          <a:p>
            <a:pPr eaLnBrk="0" hangingPunct="0">
              <a:lnSpc>
                <a:spcPct val="85000"/>
              </a:lnSpc>
              <a:spcBef>
                <a:spcPts val="100"/>
              </a:spcBef>
              <a:spcAft>
                <a:spcPts val="300"/>
              </a:spcAft>
            </a:pPr>
            <a:r>
              <a:rPr lang="en-US" b="1" dirty="0">
                <a:latin typeface="+mj-lt"/>
              </a:rPr>
              <a:t>Text</a:t>
            </a:r>
          </a:p>
          <a:p>
            <a:pPr algn="l" eaLnBrk="0" hangingPunct="0">
              <a:spcBef>
                <a:spcPts val="100"/>
              </a:spcBef>
              <a:spcAft>
                <a:spcPts val="100"/>
              </a:spcAft>
            </a:pPr>
            <a:r>
              <a:rPr lang="en-US" dirty="0"/>
              <a:t>Insert text</a:t>
            </a:r>
          </a:p>
        </p:txBody>
      </p:sp>
      <p:sp>
        <p:nvSpPr>
          <p:cNvPr id="10" name="Freeform 5">
            <a:extLst>
              <a:ext uri="{FF2B5EF4-FFF2-40B4-BE49-F238E27FC236}">
                <a16:creationId xmlns:a16="http://schemas.microsoft.com/office/drawing/2014/main" id="{D08519AF-AC16-47CF-B1B0-4B96D35273CD}"/>
              </a:ext>
              <a:ext uri="{C183D7F6-B498-43B3-948B-1728B52AA6E4}">
                <adec:decorative xmlns:adec="http://schemas.microsoft.com/office/drawing/2017/decorative" val="1"/>
              </a:ext>
            </a:extLst>
          </p:cNvPr>
          <p:cNvSpPr>
            <a:spLocks/>
          </p:cNvSpPr>
          <p:nvPr/>
        </p:nvSpPr>
        <p:spPr bwMode="auto">
          <a:xfrm>
            <a:off x="3722232" y="3672792"/>
            <a:ext cx="3594100" cy="1844675"/>
          </a:xfrm>
          <a:custGeom>
            <a:avLst/>
            <a:gdLst>
              <a:gd name="T0" fmla="*/ 0 w 2264"/>
              <a:gd name="T1" fmla="*/ 0 h 1162"/>
              <a:gd name="T2" fmla="*/ 2264 w 2264"/>
              <a:gd name="T3" fmla="*/ 0 h 1162"/>
              <a:gd name="T4" fmla="*/ 1413 w 2264"/>
              <a:gd name="T5" fmla="*/ 1162 h 1162"/>
              <a:gd name="T6" fmla="*/ 1413 w 2264"/>
              <a:gd name="T7" fmla="*/ 861 h 1162"/>
              <a:gd name="T8" fmla="*/ 0 w 2264"/>
              <a:gd name="T9" fmla="*/ 861 h 1162"/>
              <a:gd name="T10" fmla="*/ 0 w 2264"/>
              <a:gd name="T11" fmla="*/ 0 h 1162"/>
              <a:gd name="T12" fmla="*/ 0 w 2264"/>
              <a:gd name="T13" fmla="*/ 0 h 1162"/>
            </a:gdLst>
            <a:ahLst/>
            <a:cxnLst>
              <a:cxn ang="0">
                <a:pos x="T0" y="T1"/>
              </a:cxn>
              <a:cxn ang="0">
                <a:pos x="T2" y="T3"/>
              </a:cxn>
              <a:cxn ang="0">
                <a:pos x="T4" y="T5"/>
              </a:cxn>
              <a:cxn ang="0">
                <a:pos x="T6" y="T7"/>
              </a:cxn>
              <a:cxn ang="0">
                <a:pos x="T8" y="T9"/>
              </a:cxn>
              <a:cxn ang="0">
                <a:pos x="T10" y="T11"/>
              </a:cxn>
              <a:cxn ang="0">
                <a:pos x="T12" y="T13"/>
              </a:cxn>
            </a:cxnLst>
            <a:rect l="0" t="0" r="r" b="b"/>
            <a:pathLst>
              <a:path w="2264" h="1162">
                <a:moveTo>
                  <a:pt x="0" y="0"/>
                </a:moveTo>
                <a:lnTo>
                  <a:pt x="2264" y="0"/>
                </a:lnTo>
                <a:lnTo>
                  <a:pt x="1413" y="1162"/>
                </a:lnTo>
                <a:lnTo>
                  <a:pt x="1413" y="861"/>
                </a:lnTo>
                <a:lnTo>
                  <a:pt x="0" y="861"/>
                </a:lnTo>
                <a:lnTo>
                  <a:pt x="0" y="0"/>
                </a:lnTo>
                <a:lnTo>
                  <a:pt x="0"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9" name="Rectangle 7">
            <a:extLst>
              <a:ext uri="{FF2B5EF4-FFF2-40B4-BE49-F238E27FC236}">
                <a16:creationId xmlns:a16="http://schemas.microsoft.com/office/drawing/2014/main" id="{D2D68F33-7886-4971-84CF-E7ED0461FEDE}"/>
              </a:ext>
            </a:extLst>
          </p:cNvPr>
          <p:cNvSpPr>
            <a:spLocks noChangeArrowheads="1"/>
          </p:cNvSpPr>
          <p:nvPr>
            <p:custDataLst>
              <p:tags r:id="rId3"/>
            </p:custDataLst>
          </p:nvPr>
        </p:nvSpPr>
        <p:spPr bwMode="auto">
          <a:xfrm>
            <a:off x="3888368" y="3672792"/>
            <a:ext cx="2773261" cy="1372479"/>
          </a:xfrm>
          <a:prstGeom prst="rect">
            <a:avLst/>
          </a:prstGeom>
          <a:noFill/>
          <a:ln w="6350">
            <a:noFill/>
            <a:miter lim="800000"/>
            <a:headEnd/>
            <a:tailEnd/>
          </a:ln>
          <a:effectLst/>
        </p:spPr>
        <p:txBody>
          <a:bodyPr lIns="180000" tIns="180000" rIns="144000" bIns="180000" anchor="ctr" anchorCtr="0"/>
          <a:lstStyle/>
          <a:p>
            <a:pPr eaLnBrk="0" hangingPunct="0">
              <a:lnSpc>
                <a:spcPct val="85000"/>
              </a:lnSpc>
              <a:spcBef>
                <a:spcPts val="100"/>
              </a:spcBef>
              <a:spcAft>
                <a:spcPts val="300"/>
              </a:spcAft>
            </a:pPr>
            <a:r>
              <a:rPr lang="en-US" b="1" dirty="0">
                <a:latin typeface="+mj-lt"/>
              </a:rPr>
              <a:t>Text</a:t>
            </a:r>
          </a:p>
          <a:p>
            <a:pPr algn="l" eaLnBrk="0" hangingPunct="0">
              <a:spcBef>
                <a:spcPts val="100"/>
              </a:spcBef>
              <a:spcAft>
                <a:spcPts val="100"/>
              </a:spcAft>
            </a:pPr>
            <a:r>
              <a:rPr lang="en-US" dirty="0"/>
              <a:t>Insert text</a:t>
            </a:r>
          </a:p>
        </p:txBody>
      </p:sp>
      <p:sp>
        <p:nvSpPr>
          <p:cNvPr id="8" name="AutoShape 7">
            <a:extLst>
              <a:ext uri="{FF2B5EF4-FFF2-40B4-BE49-F238E27FC236}">
                <a16:creationId xmlns:a16="http://schemas.microsoft.com/office/drawing/2014/main" id="{F26F347E-6DE6-48AE-9B52-4749CD5178E3}"/>
              </a:ext>
              <a:ext uri="{C183D7F6-B498-43B3-948B-1728B52AA6E4}">
                <adec:decorative xmlns:adec="http://schemas.microsoft.com/office/drawing/2017/decorative" val="1"/>
              </a:ext>
            </a:extLst>
          </p:cNvPr>
          <p:cNvSpPr>
            <a:spLocks noChangeArrowheads="1"/>
          </p:cNvSpPr>
          <p:nvPr/>
        </p:nvSpPr>
        <p:spPr bwMode="auto">
          <a:xfrm>
            <a:off x="7761288" y="1269609"/>
            <a:ext cx="4130859" cy="4660316"/>
          </a:xfrm>
          <a:prstGeom prst="rightArrow">
            <a:avLst>
              <a:gd name="adj1" fmla="val 75000"/>
              <a:gd name="adj2" fmla="val 38529"/>
            </a:avLst>
          </a:prstGeom>
          <a:solidFill>
            <a:schemeClr val="accent2"/>
          </a:solidFill>
          <a:ln w="25400">
            <a:noFill/>
            <a:miter lim="800000"/>
            <a:headEnd/>
            <a:tailEnd/>
          </a:ln>
          <a:effectLst/>
        </p:spPr>
        <p:txBody>
          <a:bodyPr wrap="none" lIns="72000" tIns="72000" rIns="72000" bIns="72000"/>
          <a:lstStyle/>
          <a:p>
            <a:pPr marL="177800" indent="-177800" algn="l" defTabSz="1044575" eaLnBrk="0" hangingPunct="0">
              <a:spcBef>
                <a:spcPts val="100"/>
              </a:spcBef>
              <a:spcAft>
                <a:spcPts val="100"/>
              </a:spcAft>
            </a:pPr>
            <a:endParaRPr lang="en-GB" sz="1400" dirty="0">
              <a:solidFill>
                <a:schemeClr val="bg1"/>
              </a:solidFill>
            </a:endParaRPr>
          </a:p>
        </p:txBody>
      </p:sp>
      <p:sp>
        <p:nvSpPr>
          <p:cNvPr id="9" name="Rectangle 7">
            <a:extLst>
              <a:ext uri="{FF2B5EF4-FFF2-40B4-BE49-F238E27FC236}">
                <a16:creationId xmlns:a16="http://schemas.microsoft.com/office/drawing/2014/main" id="{D0BA931B-CB75-4453-97C0-C2BD5EEAC357}"/>
              </a:ext>
            </a:extLst>
          </p:cNvPr>
          <p:cNvSpPr>
            <a:spLocks noChangeArrowheads="1"/>
          </p:cNvSpPr>
          <p:nvPr>
            <p:custDataLst>
              <p:tags r:id="rId4"/>
            </p:custDataLst>
          </p:nvPr>
        </p:nvSpPr>
        <p:spPr bwMode="auto">
          <a:xfrm>
            <a:off x="8081219" y="2675256"/>
            <a:ext cx="2773261" cy="1819254"/>
          </a:xfrm>
          <a:prstGeom prst="rect">
            <a:avLst/>
          </a:prstGeom>
          <a:noFill/>
          <a:ln w="6350">
            <a:noFill/>
            <a:miter lim="800000"/>
            <a:headEnd/>
            <a:tailEnd/>
          </a:ln>
          <a:effectLst/>
        </p:spPr>
        <p:txBody>
          <a:bodyPr lIns="180000" tIns="180000" rIns="144000" bIns="180000" anchor="ctr" anchorCtr="0"/>
          <a:lstStyle/>
          <a:p>
            <a:pPr eaLnBrk="0" hangingPunct="0">
              <a:lnSpc>
                <a:spcPct val="85000"/>
              </a:lnSpc>
              <a:spcBef>
                <a:spcPts val="100"/>
              </a:spcBef>
              <a:spcAft>
                <a:spcPts val="300"/>
              </a:spcAft>
            </a:pPr>
            <a:r>
              <a:rPr lang="en-US" b="1" dirty="0">
                <a:solidFill>
                  <a:schemeClr val="bg1"/>
                </a:solidFill>
                <a:latin typeface="+mj-lt"/>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p:txBody>
      </p:sp>
      <p:sp>
        <p:nvSpPr>
          <p:cNvPr id="7" name="Footer Placeholder 6">
            <a:extLst>
              <a:ext uri="{FF2B5EF4-FFF2-40B4-BE49-F238E27FC236}">
                <a16:creationId xmlns:a16="http://schemas.microsoft.com/office/drawing/2014/main" id="{C980E75B-EB4C-497A-AE17-BDCE93ABF70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2" name="Slide Number Placeholder 11">
            <a:extLst>
              <a:ext uri="{FF2B5EF4-FFF2-40B4-BE49-F238E27FC236}">
                <a16:creationId xmlns:a16="http://schemas.microsoft.com/office/drawing/2014/main" id="{460A7851-92EA-4D40-BB20-0C5C8EEF9F6A}"/>
              </a:ext>
            </a:extLst>
          </p:cNvPr>
          <p:cNvSpPr>
            <a:spLocks noGrp="1"/>
          </p:cNvSpPr>
          <p:nvPr>
            <p:ph type="sldNum" sz="quarter" idx="10"/>
          </p:nvPr>
        </p:nvSpPr>
        <p:spPr/>
        <p:txBody>
          <a:bodyPr/>
          <a:lstStyle/>
          <a:p>
            <a:fld id="{1F90F471-3972-4120-B8B3-0237DE626C35}" type="slidenum">
              <a:rPr lang="en-US" smtClean="0"/>
              <a:pPr/>
              <a:t>200</a:t>
            </a:fld>
            <a:endParaRPr lang="en-US" dirty="0"/>
          </a:p>
        </p:txBody>
      </p:sp>
    </p:spTree>
    <p:extLst>
      <p:ext uri="{BB962C8B-B14F-4D97-AF65-F5344CB8AC3E}">
        <p14:creationId xmlns:p14="http://schemas.microsoft.com/office/powerpoint/2010/main" val="384422559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Linear Flow 13</a:t>
            </a:r>
          </a:p>
        </p:txBody>
      </p:sp>
      <p:sp>
        <p:nvSpPr>
          <p:cNvPr id="10" name="AutoShape 3">
            <a:extLst>
              <a:ext uri="{FF2B5EF4-FFF2-40B4-BE49-F238E27FC236}">
                <a16:creationId xmlns:a16="http://schemas.microsoft.com/office/drawing/2014/main" id="{FB3491EE-5381-483F-8A4F-116E2945C6B5}"/>
              </a:ext>
            </a:extLst>
          </p:cNvPr>
          <p:cNvSpPr>
            <a:spLocks noChangeArrowheads="1"/>
          </p:cNvSpPr>
          <p:nvPr/>
        </p:nvSpPr>
        <p:spPr bwMode="auto">
          <a:xfrm>
            <a:off x="7608862" y="1239269"/>
            <a:ext cx="4248176" cy="4522338"/>
          </a:xfrm>
          <a:prstGeom prst="rightArrow">
            <a:avLst>
              <a:gd name="adj1" fmla="val 75000"/>
              <a:gd name="adj2" fmla="val 31986"/>
            </a:avLst>
          </a:prstGeom>
          <a:solidFill>
            <a:schemeClr val="accent3"/>
          </a:solidFill>
          <a:ln w="6350">
            <a:noFill/>
            <a:miter lim="800000"/>
            <a:headEnd/>
            <a:tailEnd/>
          </a:ln>
          <a:effectLst/>
        </p:spPr>
        <p:txBody>
          <a:bodyPr wrap="none" lIns="216000" tIns="72000" rIns="72000" bIns="72000" anchor="ctr" anchorCtr="1"/>
          <a:lstStyle/>
          <a:p>
            <a:pPr indent="-177800" eaLnBrk="0" hangingPunct="0">
              <a:lnSpc>
                <a:spcPct val="85000"/>
              </a:lnSpc>
              <a:spcBef>
                <a:spcPts val="100"/>
              </a:spcBef>
              <a:spcAft>
                <a:spcPts val="300"/>
              </a:spcAft>
              <a:buClr>
                <a:schemeClr val="bg1"/>
              </a:buClr>
              <a:tabLst>
                <a:tab pos="474663" algn="l"/>
              </a:tabLst>
            </a:pPr>
            <a:r>
              <a:rPr lang="en-GB" b="1" dirty="0">
                <a:solidFill>
                  <a:schemeClr val="bg1"/>
                </a:solidFill>
                <a:latin typeface="+mj-lt"/>
              </a:rPr>
              <a:t>Text</a:t>
            </a:r>
          </a:p>
          <a:p>
            <a:pPr marL="165100" indent="-165100" eaLnBrk="0" hangingPunct="0">
              <a:spcBef>
                <a:spcPts val="100"/>
              </a:spcBef>
              <a:spcAft>
                <a:spcPts val="100"/>
              </a:spcAft>
              <a:buFontTx/>
              <a:buChar char="•"/>
              <a:tabLst>
                <a:tab pos="474663" algn="l"/>
              </a:tabLst>
            </a:pPr>
            <a:r>
              <a:rPr lang="en-GB" dirty="0">
                <a:solidFill>
                  <a:schemeClr val="bg1"/>
                </a:solidFill>
              </a:rPr>
              <a:t>Text</a:t>
            </a:r>
          </a:p>
          <a:p>
            <a:pPr marL="165100" indent="-165100" eaLnBrk="0" hangingPunct="0">
              <a:spcBef>
                <a:spcPts val="100"/>
              </a:spcBef>
              <a:spcAft>
                <a:spcPts val="100"/>
              </a:spcAft>
              <a:buFontTx/>
              <a:buChar char="•"/>
              <a:tabLst>
                <a:tab pos="474663" algn="l"/>
              </a:tabLst>
            </a:pPr>
            <a:r>
              <a:rPr lang="en-GB" dirty="0">
                <a:solidFill>
                  <a:schemeClr val="bg1"/>
                </a:solidFill>
              </a:rPr>
              <a:t>Text</a:t>
            </a:r>
          </a:p>
          <a:p>
            <a:pPr marL="165100" indent="-165100" eaLnBrk="0" hangingPunct="0">
              <a:spcBef>
                <a:spcPts val="100"/>
              </a:spcBef>
              <a:spcAft>
                <a:spcPts val="100"/>
              </a:spcAft>
              <a:buFontTx/>
              <a:buChar char="•"/>
              <a:tabLst>
                <a:tab pos="474663" algn="l"/>
              </a:tabLst>
            </a:pPr>
            <a:r>
              <a:rPr lang="en-GB" dirty="0">
                <a:solidFill>
                  <a:schemeClr val="bg1"/>
                </a:solidFill>
              </a:rPr>
              <a:t>Text</a:t>
            </a:r>
          </a:p>
        </p:txBody>
      </p:sp>
      <p:sp>
        <p:nvSpPr>
          <p:cNvPr id="12" name="AutoShape 4">
            <a:extLst>
              <a:ext uri="{FF2B5EF4-FFF2-40B4-BE49-F238E27FC236}">
                <a16:creationId xmlns:a16="http://schemas.microsoft.com/office/drawing/2014/main" id="{B0E38681-FFAB-471E-BB90-DCC9FBA37106}"/>
              </a:ext>
            </a:extLst>
          </p:cNvPr>
          <p:cNvSpPr>
            <a:spLocks noChangeArrowheads="1"/>
          </p:cNvSpPr>
          <p:nvPr/>
        </p:nvSpPr>
        <p:spPr bwMode="auto">
          <a:xfrm>
            <a:off x="4978219" y="1674645"/>
            <a:ext cx="3744848" cy="3653052"/>
          </a:xfrm>
          <a:prstGeom prst="rightArrow">
            <a:avLst>
              <a:gd name="adj1" fmla="val 75000"/>
              <a:gd name="adj2" fmla="val 31986"/>
            </a:avLst>
          </a:prstGeom>
          <a:solidFill>
            <a:schemeClr val="accent3">
              <a:lumMod val="60000"/>
              <a:lumOff val="40000"/>
            </a:schemeClr>
          </a:solidFill>
          <a:ln w="6350">
            <a:noFill/>
            <a:miter lim="800000"/>
            <a:headEnd/>
            <a:tailEnd/>
          </a:ln>
          <a:effectLst/>
        </p:spPr>
        <p:txBody>
          <a:bodyPr wrap="none" lIns="288000" tIns="72000" rIns="72000" bIns="72000" anchor="ctr" anchorCtr="1"/>
          <a:lstStyle/>
          <a:p>
            <a:pPr indent="-177800" eaLnBrk="0" hangingPunct="0">
              <a:lnSpc>
                <a:spcPct val="85000"/>
              </a:lnSpc>
              <a:spcBef>
                <a:spcPts val="100"/>
              </a:spcBef>
              <a:spcAft>
                <a:spcPts val="300"/>
              </a:spcAft>
              <a:buClr>
                <a:schemeClr val="bg1"/>
              </a:buClr>
              <a:tabLst>
                <a:tab pos="474663" algn="l"/>
              </a:tabLst>
            </a:pPr>
            <a:r>
              <a:rPr lang="en-GB" b="1" dirty="0">
                <a:solidFill>
                  <a:schemeClr val="bg1"/>
                </a:solidFill>
                <a:latin typeface="+mj-lt"/>
              </a:rPr>
              <a:t>Text</a:t>
            </a:r>
          </a:p>
          <a:p>
            <a:pPr marL="165100" indent="-165100" eaLnBrk="0" hangingPunct="0">
              <a:spcBef>
                <a:spcPts val="100"/>
              </a:spcBef>
              <a:spcAft>
                <a:spcPts val="100"/>
              </a:spcAft>
              <a:buFontTx/>
              <a:buChar char="•"/>
              <a:tabLst>
                <a:tab pos="474663" algn="l"/>
              </a:tabLst>
            </a:pPr>
            <a:r>
              <a:rPr lang="en-GB" dirty="0">
                <a:solidFill>
                  <a:schemeClr val="bg1"/>
                </a:solidFill>
              </a:rPr>
              <a:t>Text</a:t>
            </a:r>
          </a:p>
          <a:p>
            <a:pPr marL="165100" indent="-165100" eaLnBrk="0" hangingPunct="0">
              <a:spcBef>
                <a:spcPts val="100"/>
              </a:spcBef>
              <a:spcAft>
                <a:spcPts val="100"/>
              </a:spcAft>
              <a:buFontTx/>
              <a:buChar char="•"/>
              <a:tabLst>
                <a:tab pos="474663" algn="l"/>
              </a:tabLst>
            </a:pPr>
            <a:r>
              <a:rPr lang="en-GB" dirty="0">
                <a:solidFill>
                  <a:schemeClr val="bg1"/>
                </a:solidFill>
              </a:rPr>
              <a:t>Text</a:t>
            </a:r>
          </a:p>
          <a:p>
            <a:pPr marL="165100" indent="-165100" eaLnBrk="0" hangingPunct="0">
              <a:spcBef>
                <a:spcPts val="100"/>
              </a:spcBef>
              <a:spcAft>
                <a:spcPts val="100"/>
              </a:spcAft>
              <a:buFontTx/>
              <a:buChar char="•"/>
              <a:tabLst>
                <a:tab pos="474663" algn="l"/>
              </a:tabLst>
            </a:pPr>
            <a:r>
              <a:rPr lang="en-GB" dirty="0">
                <a:solidFill>
                  <a:schemeClr val="bg1"/>
                </a:solidFill>
              </a:rPr>
              <a:t>Text</a:t>
            </a:r>
          </a:p>
        </p:txBody>
      </p:sp>
      <p:sp>
        <p:nvSpPr>
          <p:cNvPr id="14" name="AutoShape 5">
            <a:extLst>
              <a:ext uri="{FF2B5EF4-FFF2-40B4-BE49-F238E27FC236}">
                <a16:creationId xmlns:a16="http://schemas.microsoft.com/office/drawing/2014/main" id="{11334F73-A409-4392-A5FC-8CBC53F6AEED}"/>
              </a:ext>
            </a:extLst>
          </p:cNvPr>
          <p:cNvSpPr>
            <a:spLocks noChangeArrowheads="1"/>
          </p:cNvSpPr>
          <p:nvPr/>
        </p:nvSpPr>
        <p:spPr bwMode="auto">
          <a:xfrm>
            <a:off x="2420709" y="2004475"/>
            <a:ext cx="3499644" cy="2962608"/>
          </a:xfrm>
          <a:prstGeom prst="rightArrow">
            <a:avLst>
              <a:gd name="adj1" fmla="val 75000"/>
              <a:gd name="adj2" fmla="val 31986"/>
            </a:avLst>
          </a:prstGeom>
          <a:solidFill>
            <a:schemeClr val="accent3">
              <a:lumMod val="20000"/>
              <a:lumOff val="80000"/>
            </a:schemeClr>
          </a:solidFill>
          <a:ln w="6350">
            <a:noFill/>
            <a:miter lim="800000"/>
            <a:headEnd/>
            <a:tailEnd/>
          </a:ln>
          <a:effectLst/>
        </p:spPr>
        <p:txBody>
          <a:bodyPr wrap="none" lIns="72000" tIns="72000" rIns="72000" bIns="72000" anchor="ctr" anchorCtr="1"/>
          <a:lstStyle/>
          <a:p>
            <a:pPr indent="-177800" eaLnBrk="0" hangingPunct="0">
              <a:lnSpc>
                <a:spcPct val="85000"/>
              </a:lnSpc>
              <a:spcBef>
                <a:spcPts val="100"/>
              </a:spcBef>
              <a:spcAft>
                <a:spcPts val="300"/>
              </a:spcAft>
              <a:tabLst>
                <a:tab pos="474663" algn="l"/>
              </a:tabLst>
            </a:pPr>
            <a:r>
              <a:rPr lang="en-GB" b="1" dirty="0">
                <a:latin typeface="+mj-lt"/>
              </a:rPr>
              <a:t>Text</a:t>
            </a:r>
          </a:p>
          <a:p>
            <a:pPr marL="165100" indent="-165100" eaLnBrk="0" hangingPunct="0">
              <a:spcBef>
                <a:spcPts val="100"/>
              </a:spcBef>
              <a:spcAft>
                <a:spcPts val="100"/>
              </a:spcAft>
              <a:buFontTx/>
              <a:buChar char="•"/>
              <a:tabLst>
                <a:tab pos="474663" algn="l"/>
              </a:tabLst>
            </a:pPr>
            <a:r>
              <a:rPr lang="en-GB" dirty="0"/>
              <a:t>Text</a:t>
            </a:r>
          </a:p>
          <a:p>
            <a:pPr marL="165100" indent="-165100" eaLnBrk="0" hangingPunct="0">
              <a:spcBef>
                <a:spcPts val="100"/>
              </a:spcBef>
              <a:spcAft>
                <a:spcPts val="100"/>
              </a:spcAft>
              <a:buFontTx/>
              <a:buChar char="•"/>
              <a:tabLst>
                <a:tab pos="474663" algn="l"/>
              </a:tabLst>
            </a:pPr>
            <a:r>
              <a:rPr lang="en-GB" dirty="0"/>
              <a:t>Text</a:t>
            </a:r>
          </a:p>
          <a:p>
            <a:pPr marL="165100" indent="-165100" eaLnBrk="0" hangingPunct="0">
              <a:spcBef>
                <a:spcPts val="100"/>
              </a:spcBef>
              <a:spcAft>
                <a:spcPts val="100"/>
              </a:spcAft>
              <a:buFontTx/>
              <a:buChar char="•"/>
              <a:tabLst>
                <a:tab pos="474663" algn="l"/>
              </a:tabLst>
            </a:pPr>
            <a:r>
              <a:rPr lang="en-GB" dirty="0"/>
              <a:t>Text</a:t>
            </a:r>
          </a:p>
        </p:txBody>
      </p:sp>
      <p:sp>
        <p:nvSpPr>
          <p:cNvPr id="16" name="AutoShape 6">
            <a:extLst>
              <a:ext uri="{FF2B5EF4-FFF2-40B4-BE49-F238E27FC236}">
                <a16:creationId xmlns:a16="http://schemas.microsoft.com/office/drawing/2014/main" id="{E35FB674-1DB7-40D4-8A1F-FCACA92E9734}"/>
              </a:ext>
            </a:extLst>
          </p:cNvPr>
          <p:cNvSpPr>
            <a:spLocks noChangeArrowheads="1"/>
          </p:cNvSpPr>
          <p:nvPr/>
        </p:nvSpPr>
        <p:spPr bwMode="auto">
          <a:xfrm>
            <a:off x="345018" y="2288862"/>
            <a:ext cx="2832135" cy="2421686"/>
          </a:xfrm>
          <a:prstGeom prst="rightArrow">
            <a:avLst>
              <a:gd name="adj1" fmla="val 75000"/>
              <a:gd name="adj2" fmla="val 31986"/>
            </a:avLst>
          </a:prstGeom>
          <a:solidFill>
            <a:schemeClr val="tx2">
              <a:lumMod val="20000"/>
              <a:lumOff val="80000"/>
            </a:schemeClr>
          </a:solidFill>
          <a:ln w="6350">
            <a:noFill/>
            <a:miter lim="800000"/>
            <a:headEnd/>
            <a:tailEnd/>
          </a:ln>
          <a:effectLst/>
        </p:spPr>
        <p:txBody>
          <a:bodyPr wrap="none" lIns="216000" tIns="72000" rIns="72000" bIns="72000" anchor="ctr"/>
          <a:lstStyle/>
          <a:p>
            <a:pPr indent="-177800" eaLnBrk="0" hangingPunct="0">
              <a:lnSpc>
                <a:spcPct val="85000"/>
              </a:lnSpc>
              <a:spcBef>
                <a:spcPts val="100"/>
              </a:spcBef>
              <a:spcAft>
                <a:spcPts val="300"/>
              </a:spcAft>
              <a:tabLst>
                <a:tab pos="474663" algn="l"/>
              </a:tabLst>
            </a:pPr>
            <a:r>
              <a:rPr lang="en-GB" b="1" dirty="0">
                <a:latin typeface="+mj-lt"/>
              </a:rPr>
              <a:t>Text</a:t>
            </a:r>
          </a:p>
          <a:p>
            <a:pPr marL="165100" indent="-165100" eaLnBrk="0" hangingPunct="0">
              <a:spcBef>
                <a:spcPts val="100"/>
              </a:spcBef>
              <a:spcAft>
                <a:spcPts val="100"/>
              </a:spcAft>
              <a:buFontTx/>
              <a:buChar char="•"/>
              <a:tabLst>
                <a:tab pos="474663" algn="l"/>
              </a:tabLst>
            </a:pPr>
            <a:r>
              <a:rPr lang="en-GB" dirty="0"/>
              <a:t>Text</a:t>
            </a:r>
          </a:p>
          <a:p>
            <a:pPr marL="165100" indent="-165100" eaLnBrk="0" hangingPunct="0">
              <a:spcBef>
                <a:spcPts val="100"/>
              </a:spcBef>
              <a:spcAft>
                <a:spcPts val="100"/>
              </a:spcAft>
              <a:buFontTx/>
              <a:buChar char="•"/>
              <a:tabLst>
                <a:tab pos="474663" algn="l"/>
              </a:tabLst>
            </a:pPr>
            <a:r>
              <a:rPr lang="en-GB" dirty="0"/>
              <a:t>Text</a:t>
            </a:r>
          </a:p>
          <a:p>
            <a:pPr marL="165100" indent="-165100" eaLnBrk="0" hangingPunct="0">
              <a:spcBef>
                <a:spcPts val="100"/>
              </a:spcBef>
              <a:spcAft>
                <a:spcPts val="100"/>
              </a:spcAft>
              <a:buFontTx/>
              <a:buChar char="•"/>
              <a:tabLst>
                <a:tab pos="474663" algn="l"/>
              </a:tabLst>
            </a:pPr>
            <a:r>
              <a:rPr lang="en-GB" dirty="0"/>
              <a:t>Text</a:t>
            </a:r>
          </a:p>
        </p:txBody>
      </p:sp>
      <p:sp>
        <p:nvSpPr>
          <p:cNvPr id="5" name="Footer Placeholder 4">
            <a:extLst>
              <a:ext uri="{FF2B5EF4-FFF2-40B4-BE49-F238E27FC236}">
                <a16:creationId xmlns:a16="http://schemas.microsoft.com/office/drawing/2014/main" id="{15EB3992-66F3-41A3-A17A-773A309BE559}"/>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4B6D0974-2552-43D7-955C-43FEED9E224A}"/>
              </a:ext>
            </a:extLst>
          </p:cNvPr>
          <p:cNvSpPr>
            <a:spLocks noGrp="1"/>
          </p:cNvSpPr>
          <p:nvPr>
            <p:ph type="sldNum" sz="quarter" idx="10"/>
          </p:nvPr>
        </p:nvSpPr>
        <p:spPr/>
        <p:txBody>
          <a:bodyPr/>
          <a:lstStyle/>
          <a:p>
            <a:fld id="{1F90F471-3972-4120-B8B3-0237DE626C35}" type="slidenum">
              <a:rPr lang="en-US" smtClean="0"/>
              <a:pPr/>
              <a:t>201</a:t>
            </a:fld>
            <a:endParaRPr lang="en-US" dirty="0"/>
          </a:p>
        </p:txBody>
      </p:sp>
    </p:spTree>
    <p:extLst>
      <p:ext uri="{BB962C8B-B14F-4D97-AF65-F5344CB8AC3E}">
        <p14:creationId xmlns:p14="http://schemas.microsoft.com/office/powerpoint/2010/main" val="2292658732"/>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Linear Flow 14</a:t>
            </a:r>
          </a:p>
        </p:txBody>
      </p:sp>
      <p:sp>
        <p:nvSpPr>
          <p:cNvPr id="9" name="AutoShape 3">
            <a:extLst>
              <a:ext uri="{FF2B5EF4-FFF2-40B4-BE49-F238E27FC236}">
                <a16:creationId xmlns:a16="http://schemas.microsoft.com/office/drawing/2014/main" id="{929C69C0-B11E-483E-AFB5-8BA9B1D5E263}"/>
              </a:ext>
            </a:extLst>
          </p:cNvPr>
          <p:cNvSpPr>
            <a:spLocks noChangeArrowheads="1"/>
          </p:cNvSpPr>
          <p:nvPr/>
        </p:nvSpPr>
        <p:spPr bwMode="auto">
          <a:xfrm>
            <a:off x="6656591" y="1239269"/>
            <a:ext cx="4248176" cy="4522338"/>
          </a:xfrm>
          <a:prstGeom prst="rightArrow">
            <a:avLst>
              <a:gd name="adj1" fmla="val 75000"/>
              <a:gd name="adj2" fmla="val 31986"/>
            </a:avLst>
          </a:prstGeom>
          <a:solidFill>
            <a:schemeClr val="accent3"/>
          </a:solidFill>
          <a:ln w="6350">
            <a:noFill/>
            <a:miter lim="800000"/>
            <a:headEnd/>
            <a:tailEnd/>
          </a:ln>
          <a:effectLst/>
        </p:spPr>
        <p:txBody>
          <a:bodyPr wrap="none" lIns="216000" tIns="72000" rIns="72000" bIns="72000" anchor="ctr" anchorCtr="1"/>
          <a:lstStyle/>
          <a:p>
            <a:pPr indent="-177800" eaLnBrk="0" hangingPunct="0">
              <a:lnSpc>
                <a:spcPct val="85000"/>
              </a:lnSpc>
              <a:spcBef>
                <a:spcPts val="100"/>
              </a:spcBef>
              <a:spcAft>
                <a:spcPts val="300"/>
              </a:spcAft>
              <a:buClr>
                <a:schemeClr val="bg1"/>
              </a:buClr>
              <a:tabLst>
                <a:tab pos="474663" algn="l"/>
              </a:tabLst>
            </a:pPr>
            <a:r>
              <a:rPr lang="en-GB" b="1" dirty="0">
                <a:solidFill>
                  <a:schemeClr val="bg1"/>
                </a:solidFill>
                <a:latin typeface="+mj-lt"/>
              </a:rPr>
              <a:t>Text</a:t>
            </a:r>
          </a:p>
          <a:p>
            <a:pPr marL="165100" indent="-165100" eaLnBrk="0" hangingPunct="0">
              <a:spcBef>
                <a:spcPts val="100"/>
              </a:spcBef>
              <a:spcAft>
                <a:spcPts val="100"/>
              </a:spcAft>
              <a:buFontTx/>
              <a:buChar char="•"/>
              <a:tabLst>
                <a:tab pos="474663" algn="l"/>
              </a:tabLst>
            </a:pPr>
            <a:r>
              <a:rPr lang="en-GB" dirty="0">
                <a:solidFill>
                  <a:schemeClr val="bg1"/>
                </a:solidFill>
              </a:rPr>
              <a:t>Text</a:t>
            </a:r>
          </a:p>
          <a:p>
            <a:pPr marL="165100" indent="-165100" eaLnBrk="0" hangingPunct="0">
              <a:spcBef>
                <a:spcPts val="100"/>
              </a:spcBef>
              <a:spcAft>
                <a:spcPts val="100"/>
              </a:spcAft>
              <a:buFontTx/>
              <a:buChar char="•"/>
              <a:tabLst>
                <a:tab pos="474663" algn="l"/>
              </a:tabLst>
            </a:pPr>
            <a:r>
              <a:rPr lang="en-GB" dirty="0">
                <a:solidFill>
                  <a:schemeClr val="bg1"/>
                </a:solidFill>
              </a:rPr>
              <a:t>Text</a:t>
            </a:r>
          </a:p>
          <a:p>
            <a:pPr marL="165100" indent="-165100" eaLnBrk="0" hangingPunct="0">
              <a:spcBef>
                <a:spcPts val="100"/>
              </a:spcBef>
              <a:spcAft>
                <a:spcPts val="100"/>
              </a:spcAft>
              <a:buFontTx/>
              <a:buChar char="•"/>
              <a:tabLst>
                <a:tab pos="474663" algn="l"/>
              </a:tabLst>
            </a:pPr>
            <a:r>
              <a:rPr lang="en-GB" dirty="0">
                <a:solidFill>
                  <a:schemeClr val="bg1"/>
                </a:solidFill>
              </a:rPr>
              <a:t>Text</a:t>
            </a:r>
          </a:p>
        </p:txBody>
      </p:sp>
      <p:sp>
        <p:nvSpPr>
          <p:cNvPr id="11" name="AutoShape 4">
            <a:extLst>
              <a:ext uri="{FF2B5EF4-FFF2-40B4-BE49-F238E27FC236}">
                <a16:creationId xmlns:a16="http://schemas.microsoft.com/office/drawing/2014/main" id="{B20100E0-A880-432F-AA8C-B90D6798DC25}"/>
              </a:ext>
            </a:extLst>
          </p:cNvPr>
          <p:cNvSpPr>
            <a:spLocks noChangeArrowheads="1"/>
          </p:cNvSpPr>
          <p:nvPr/>
        </p:nvSpPr>
        <p:spPr bwMode="auto">
          <a:xfrm>
            <a:off x="4025948" y="1674645"/>
            <a:ext cx="3744848" cy="3653052"/>
          </a:xfrm>
          <a:prstGeom prst="rightArrow">
            <a:avLst>
              <a:gd name="adj1" fmla="val 75000"/>
              <a:gd name="adj2" fmla="val 31986"/>
            </a:avLst>
          </a:prstGeom>
          <a:solidFill>
            <a:schemeClr val="accent3">
              <a:lumMod val="60000"/>
              <a:lumOff val="40000"/>
            </a:schemeClr>
          </a:solidFill>
          <a:ln w="6350">
            <a:noFill/>
            <a:miter lim="800000"/>
            <a:headEnd/>
            <a:tailEnd/>
          </a:ln>
          <a:effectLst/>
        </p:spPr>
        <p:txBody>
          <a:bodyPr wrap="none" lIns="288000" tIns="72000" rIns="72000" bIns="72000" anchor="ctr" anchorCtr="1"/>
          <a:lstStyle/>
          <a:p>
            <a:pPr indent="-177800" eaLnBrk="0" hangingPunct="0">
              <a:lnSpc>
                <a:spcPct val="85000"/>
              </a:lnSpc>
              <a:spcBef>
                <a:spcPts val="100"/>
              </a:spcBef>
              <a:spcAft>
                <a:spcPts val="300"/>
              </a:spcAft>
              <a:buClr>
                <a:schemeClr val="bg1"/>
              </a:buClr>
              <a:tabLst>
                <a:tab pos="474663" algn="l"/>
              </a:tabLst>
            </a:pPr>
            <a:r>
              <a:rPr lang="en-GB" b="1" dirty="0">
                <a:solidFill>
                  <a:schemeClr val="bg1"/>
                </a:solidFill>
                <a:latin typeface="+mj-lt"/>
              </a:rPr>
              <a:t>Text</a:t>
            </a:r>
          </a:p>
          <a:p>
            <a:pPr marL="165100" indent="-165100" eaLnBrk="0" hangingPunct="0">
              <a:spcBef>
                <a:spcPts val="100"/>
              </a:spcBef>
              <a:spcAft>
                <a:spcPts val="100"/>
              </a:spcAft>
              <a:buFontTx/>
              <a:buChar char="•"/>
              <a:tabLst>
                <a:tab pos="474663" algn="l"/>
              </a:tabLst>
            </a:pPr>
            <a:r>
              <a:rPr lang="en-GB" dirty="0">
                <a:solidFill>
                  <a:schemeClr val="bg1"/>
                </a:solidFill>
              </a:rPr>
              <a:t>Text</a:t>
            </a:r>
          </a:p>
          <a:p>
            <a:pPr marL="165100" indent="-165100" eaLnBrk="0" hangingPunct="0">
              <a:spcBef>
                <a:spcPts val="100"/>
              </a:spcBef>
              <a:spcAft>
                <a:spcPts val="100"/>
              </a:spcAft>
              <a:buFontTx/>
              <a:buChar char="•"/>
              <a:tabLst>
                <a:tab pos="474663" algn="l"/>
              </a:tabLst>
            </a:pPr>
            <a:r>
              <a:rPr lang="en-GB" dirty="0">
                <a:solidFill>
                  <a:schemeClr val="bg1"/>
                </a:solidFill>
              </a:rPr>
              <a:t>Text</a:t>
            </a:r>
          </a:p>
          <a:p>
            <a:pPr marL="165100" indent="-165100" eaLnBrk="0" hangingPunct="0">
              <a:spcBef>
                <a:spcPts val="100"/>
              </a:spcBef>
              <a:spcAft>
                <a:spcPts val="100"/>
              </a:spcAft>
              <a:buFontTx/>
              <a:buChar char="•"/>
              <a:tabLst>
                <a:tab pos="474663" algn="l"/>
              </a:tabLst>
            </a:pPr>
            <a:r>
              <a:rPr lang="en-GB" dirty="0">
                <a:solidFill>
                  <a:schemeClr val="bg1"/>
                </a:solidFill>
              </a:rPr>
              <a:t>Text</a:t>
            </a:r>
          </a:p>
        </p:txBody>
      </p:sp>
      <p:sp>
        <p:nvSpPr>
          <p:cNvPr id="13" name="AutoShape 6">
            <a:extLst>
              <a:ext uri="{FF2B5EF4-FFF2-40B4-BE49-F238E27FC236}">
                <a16:creationId xmlns:a16="http://schemas.microsoft.com/office/drawing/2014/main" id="{4FF52A9D-A849-4FF6-833E-B7ECA35A7A3B}"/>
              </a:ext>
            </a:extLst>
          </p:cNvPr>
          <p:cNvSpPr>
            <a:spLocks noChangeArrowheads="1"/>
          </p:cNvSpPr>
          <p:nvPr/>
        </p:nvSpPr>
        <p:spPr bwMode="auto">
          <a:xfrm>
            <a:off x="1468882" y="2004475"/>
            <a:ext cx="3499200" cy="2962800"/>
          </a:xfrm>
          <a:prstGeom prst="rightArrow">
            <a:avLst>
              <a:gd name="adj1" fmla="val 75000"/>
              <a:gd name="adj2" fmla="val 31986"/>
            </a:avLst>
          </a:prstGeom>
          <a:solidFill>
            <a:schemeClr val="tx2">
              <a:lumMod val="20000"/>
              <a:lumOff val="80000"/>
            </a:schemeClr>
          </a:solidFill>
          <a:ln w="6350">
            <a:noFill/>
            <a:miter lim="800000"/>
            <a:headEnd/>
            <a:tailEnd/>
          </a:ln>
          <a:effectLst/>
        </p:spPr>
        <p:txBody>
          <a:bodyPr wrap="none" lIns="216000" tIns="72000" rIns="72000" bIns="72000" anchor="ctr"/>
          <a:lstStyle/>
          <a:p>
            <a:pPr indent="-177800" eaLnBrk="0" hangingPunct="0">
              <a:lnSpc>
                <a:spcPct val="85000"/>
              </a:lnSpc>
              <a:spcBef>
                <a:spcPts val="100"/>
              </a:spcBef>
              <a:spcAft>
                <a:spcPts val="300"/>
              </a:spcAft>
              <a:tabLst>
                <a:tab pos="474663" algn="l"/>
              </a:tabLst>
            </a:pPr>
            <a:r>
              <a:rPr lang="en-GB" b="1" dirty="0">
                <a:latin typeface="+mj-lt"/>
              </a:rPr>
              <a:t>Text</a:t>
            </a:r>
          </a:p>
          <a:p>
            <a:pPr marL="165100" indent="-165100" eaLnBrk="0" hangingPunct="0">
              <a:spcBef>
                <a:spcPts val="100"/>
              </a:spcBef>
              <a:spcAft>
                <a:spcPts val="100"/>
              </a:spcAft>
              <a:buFontTx/>
              <a:buChar char="•"/>
              <a:tabLst>
                <a:tab pos="474663" algn="l"/>
              </a:tabLst>
            </a:pPr>
            <a:r>
              <a:rPr lang="en-GB" dirty="0"/>
              <a:t>Text</a:t>
            </a:r>
          </a:p>
          <a:p>
            <a:pPr marL="165100" indent="-165100" eaLnBrk="0" hangingPunct="0">
              <a:spcBef>
                <a:spcPts val="100"/>
              </a:spcBef>
              <a:spcAft>
                <a:spcPts val="100"/>
              </a:spcAft>
              <a:buFontTx/>
              <a:buChar char="•"/>
              <a:tabLst>
                <a:tab pos="474663" algn="l"/>
              </a:tabLst>
            </a:pPr>
            <a:r>
              <a:rPr lang="en-GB" dirty="0"/>
              <a:t>Text</a:t>
            </a:r>
          </a:p>
          <a:p>
            <a:pPr marL="165100" indent="-165100" eaLnBrk="0" hangingPunct="0">
              <a:spcBef>
                <a:spcPts val="100"/>
              </a:spcBef>
              <a:spcAft>
                <a:spcPts val="100"/>
              </a:spcAft>
              <a:buFontTx/>
              <a:buChar char="•"/>
              <a:tabLst>
                <a:tab pos="474663" algn="l"/>
              </a:tabLst>
            </a:pPr>
            <a:r>
              <a:rPr lang="en-GB" dirty="0"/>
              <a:t>Text</a:t>
            </a:r>
          </a:p>
        </p:txBody>
      </p:sp>
      <p:sp>
        <p:nvSpPr>
          <p:cNvPr id="5" name="Footer Placeholder 4">
            <a:extLst>
              <a:ext uri="{FF2B5EF4-FFF2-40B4-BE49-F238E27FC236}">
                <a16:creationId xmlns:a16="http://schemas.microsoft.com/office/drawing/2014/main" id="{F565F2D1-486E-4ED2-8B6B-68B2810610B9}"/>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D32317BD-8A05-4C4D-871C-B968B1920C13}"/>
              </a:ext>
            </a:extLst>
          </p:cNvPr>
          <p:cNvSpPr>
            <a:spLocks noGrp="1"/>
          </p:cNvSpPr>
          <p:nvPr>
            <p:ph type="sldNum" sz="quarter" idx="10"/>
          </p:nvPr>
        </p:nvSpPr>
        <p:spPr/>
        <p:txBody>
          <a:bodyPr/>
          <a:lstStyle/>
          <a:p>
            <a:fld id="{1F90F471-3972-4120-B8B3-0237DE626C35}" type="slidenum">
              <a:rPr lang="en-US" smtClean="0"/>
              <a:pPr/>
              <a:t>202</a:t>
            </a:fld>
            <a:endParaRPr lang="en-US" dirty="0"/>
          </a:p>
        </p:txBody>
      </p:sp>
    </p:spTree>
    <p:extLst>
      <p:ext uri="{BB962C8B-B14F-4D97-AF65-F5344CB8AC3E}">
        <p14:creationId xmlns:p14="http://schemas.microsoft.com/office/powerpoint/2010/main" val="711388056"/>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Linear Flow 15</a:t>
            </a:r>
          </a:p>
        </p:txBody>
      </p:sp>
      <p:grpSp>
        <p:nvGrpSpPr>
          <p:cNvPr id="12" name="Group 2" descr="Add text and order accordingly">
            <a:extLst>
              <a:ext uri="{FF2B5EF4-FFF2-40B4-BE49-F238E27FC236}">
                <a16:creationId xmlns:a16="http://schemas.microsoft.com/office/drawing/2014/main" id="{4897F697-8521-429E-8A5B-B930098DEDBD}"/>
              </a:ext>
            </a:extLst>
          </p:cNvPr>
          <p:cNvGrpSpPr>
            <a:grpSpLocks/>
          </p:cNvGrpSpPr>
          <p:nvPr/>
        </p:nvGrpSpPr>
        <p:grpSpPr bwMode="auto">
          <a:xfrm>
            <a:off x="1681129" y="1256841"/>
            <a:ext cx="8203427" cy="4510507"/>
            <a:chOff x="198" y="1003"/>
            <a:chExt cx="5358" cy="3085"/>
          </a:xfrm>
        </p:grpSpPr>
        <p:sp>
          <p:nvSpPr>
            <p:cNvPr id="13" name="Freeform 3">
              <a:extLst>
                <a:ext uri="{FF2B5EF4-FFF2-40B4-BE49-F238E27FC236}">
                  <a16:creationId xmlns:a16="http://schemas.microsoft.com/office/drawing/2014/main" id="{2C35241E-0C72-460B-A20C-B4D857D99053}"/>
                </a:ext>
              </a:extLst>
            </p:cNvPr>
            <p:cNvSpPr>
              <a:spLocks/>
            </p:cNvSpPr>
            <p:nvPr/>
          </p:nvSpPr>
          <p:spPr bwMode="auto">
            <a:xfrm>
              <a:off x="201" y="1003"/>
              <a:ext cx="4470" cy="1160"/>
            </a:xfrm>
            <a:custGeom>
              <a:avLst/>
              <a:gdLst/>
              <a:ahLst/>
              <a:cxnLst>
                <a:cxn ang="0">
                  <a:pos x="0" y="437"/>
                </a:cxn>
                <a:cxn ang="0">
                  <a:pos x="2898" y="437"/>
                </a:cxn>
                <a:cxn ang="0">
                  <a:pos x="2622" y="0"/>
                </a:cxn>
                <a:cxn ang="0">
                  <a:pos x="3016" y="0"/>
                </a:cxn>
                <a:cxn ang="0">
                  <a:pos x="3504" y="790"/>
                </a:cxn>
                <a:cxn ang="0">
                  <a:pos x="0" y="790"/>
                </a:cxn>
                <a:cxn ang="0">
                  <a:pos x="0" y="437"/>
                </a:cxn>
              </a:cxnLst>
              <a:rect l="0" t="0" r="r" b="b"/>
              <a:pathLst>
                <a:path w="3504" h="790">
                  <a:moveTo>
                    <a:pt x="0" y="437"/>
                  </a:moveTo>
                  <a:lnTo>
                    <a:pt x="2898" y="437"/>
                  </a:lnTo>
                  <a:lnTo>
                    <a:pt x="2622" y="0"/>
                  </a:lnTo>
                  <a:lnTo>
                    <a:pt x="3016" y="0"/>
                  </a:lnTo>
                  <a:lnTo>
                    <a:pt x="3504" y="790"/>
                  </a:lnTo>
                  <a:lnTo>
                    <a:pt x="0" y="790"/>
                  </a:lnTo>
                  <a:lnTo>
                    <a:pt x="0" y="437"/>
                  </a:lnTo>
                  <a:close/>
                </a:path>
              </a:pathLst>
            </a:custGeom>
            <a:solidFill>
              <a:schemeClr val="tx2">
                <a:lumMod val="40000"/>
                <a:lumOff val="60000"/>
              </a:schemeClr>
            </a:solidFill>
            <a:ln w="6350" cap="rnd" cmpd="sng">
              <a:noFill/>
              <a:prstDash val="solid"/>
              <a:round/>
              <a:headEnd type="none" w="sm" len="sm"/>
              <a:tailEnd type="none" w="sm" len="sm"/>
            </a:ln>
            <a:effectLst/>
          </p:spPr>
          <p:txBody>
            <a:bodyPr lIns="216000" tIns="72000" rIns="72000" bIns="72000"/>
            <a:lstStyle/>
            <a:p>
              <a:endParaRPr lang="en-US"/>
            </a:p>
          </p:txBody>
        </p:sp>
        <p:sp>
          <p:nvSpPr>
            <p:cNvPr id="14" name="Freeform 4">
              <a:extLst>
                <a:ext uri="{FF2B5EF4-FFF2-40B4-BE49-F238E27FC236}">
                  <a16:creationId xmlns:a16="http://schemas.microsoft.com/office/drawing/2014/main" id="{33285420-0A86-4591-A677-AC9811EAD5BA}"/>
                </a:ext>
              </a:extLst>
            </p:cNvPr>
            <p:cNvSpPr>
              <a:spLocks/>
            </p:cNvSpPr>
            <p:nvPr/>
          </p:nvSpPr>
          <p:spPr bwMode="auto">
            <a:xfrm>
              <a:off x="201" y="2928"/>
              <a:ext cx="4470" cy="1160"/>
            </a:xfrm>
            <a:custGeom>
              <a:avLst/>
              <a:gdLst/>
              <a:ahLst/>
              <a:cxnLst>
                <a:cxn ang="0">
                  <a:pos x="0" y="352"/>
                </a:cxn>
                <a:cxn ang="0">
                  <a:pos x="2898" y="352"/>
                </a:cxn>
                <a:cxn ang="0">
                  <a:pos x="2646" y="790"/>
                </a:cxn>
                <a:cxn ang="0">
                  <a:pos x="3040" y="790"/>
                </a:cxn>
                <a:cxn ang="0">
                  <a:pos x="3504" y="0"/>
                </a:cxn>
                <a:cxn ang="0">
                  <a:pos x="0" y="0"/>
                </a:cxn>
                <a:cxn ang="0">
                  <a:pos x="0" y="352"/>
                </a:cxn>
              </a:cxnLst>
              <a:rect l="0" t="0" r="r" b="b"/>
              <a:pathLst>
                <a:path w="3504" h="790">
                  <a:moveTo>
                    <a:pt x="0" y="352"/>
                  </a:moveTo>
                  <a:lnTo>
                    <a:pt x="2898" y="352"/>
                  </a:lnTo>
                  <a:lnTo>
                    <a:pt x="2646" y="790"/>
                  </a:lnTo>
                  <a:lnTo>
                    <a:pt x="3040" y="790"/>
                  </a:lnTo>
                  <a:lnTo>
                    <a:pt x="3504" y="0"/>
                  </a:lnTo>
                  <a:lnTo>
                    <a:pt x="0" y="0"/>
                  </a:lnTo>
                  <a:lnTo>
                    <a:pt x="0" y="352"/>
                  </a:lnTo>
                  <a:close/>
                </a:path>
              </a:pathLst>
            </a:custGeom>
            <a:solidFill>
              <a:schemeClr val="tx2">
                <a:lumMod val="40000"/>
                <a:lumOff val="60000"/>
              </a:schemeClr>
            </a:solidFill>
            <a:ln w="6350" cap="rnd" cmpd="sng">
              <a:noFill/>
              <a:prstDash val="solid"/>
              <a:round/>
              <a:headEnd type="none" w="sm" len="sm"/>
              <a:tailEnd type="none" w="sm" len="sm"/>
            </a:ln>
            <a:effectLst/>
          </p:spPr>
          <p:txBody>
            <a:bodyPr lIns="216000" tIns="72000" rIns="72000" bIns="72000"/>
            <a:lstStyle/>
            <a:p>
              <a:endParaRPr lang="en-US"/>
            </a:p>
          </p:txBody>
        </p:sp>
        <p:sp>
          <p:nvSpPr>
            <p:cNvPr id="15" name="Freeform 5">
              <a:extLst>
                <a:ext uri="{FF2B5EF4-FFF2-40B4-BE49-F238E27FC236}">
                  <a16:creationId xmlns:a16="http://schemas.microsoft.com/office/drawing/2014/main" id="{D3B1F535-995E-4535-8B29-CB19288676F2}"/>
                </a:ext>
              </a:extLst>
            </p:cNvPr>
            <p:cNvSpPr>
              <a:spLocks/>
            </p:cNvSpPr>
            <p:nvPr/>
          </p:nvSpPr>
          <p:spPr bwMode="auto">
            <a:xfrm>
              <a:off x="201" y="1003"/>
              <a:ext cx="5355" cy="3085"/>
            </a:xfrm>
            <a:custGeom>
              <a:avLst/>
              <a:gdLst/>
              <a:ahLst/>
              <a:cxnLst>
                <a:cxn ang="0">
                  <a:pos x="0" y="874"/>
                </a:cxn>
                <a:cxn ang="0">
                  <a:pos x="3693" y="874"/>
                </a:cxn>
                <a:cxn ang="0">
                  <a:pos x="3158" y="0"/>
                </a:cxn>
                <a:cxn ang="0">
                  <a:pos x="3575" y="0"/>
                </a:cxn>
                <a:cxn ang="0">
                  <a:pos x="4198" y="1065"/>
                </a:cxn>
                <a:cxn ang="0">
                  <a:pos x="3575" y="2102"/>
                </a:cxn>
                <a:cxn ang="0">
                  <a:pos x="3205" y="2102"/>
                </a:cxn>
                <a:cxn ang="0">
                  <a:pos x="3717" y="1227"/>
                </a:cxn>
                <a:cxn ang="0">
                  <a:pos x="0" y="1227"/>
                </a:cxn>
                <a:cxn ang="0">
                  <a:pos x="0" y="874"/>
                </a:cxn>
              </a:cxnLst>
              <a:rect l="0" t="0" r="r" b="b"/>
              <a:pathLst>
                <a:path w="4198" h="2102">
                  <a:moveTo>
                    <a:pt x="0" y="874"/>
                  </a:moveTo>
                  <a:lnTo>
                    <a:pt x="3693" y="874"/>
                  </a:lnTo>
                  <a:lnTo>
                    <a:pt x="3158" y="0"/>
                  </a:lnTo>
                  <a:lnTo>
                    <a:pt x="3575" y="0"/>
                  </a:lnTo>
                  <a:lnTo>
                    <a:pt x="4198" y="1065"/>
                  </a:lnTo>
                  <a:lnTo>
                    <a:pt x="3575" y="2102"/>
                  </a:lnTo>
                  <a:lnTo>
                    <a:pt x="3205" y="2102"/>
                  </a:lnTo>
                  <a:lnTo>
                    <a:pt x="3717" y="1227"/>
                  </a:lnTo>
                  <a:lnTo>
                    <a:pt x="0" y="1227"/>
                  </a:lnTo>
                  <a:lnTo>
                    <a:pt x="0" y="874"/>
                  </a:lnTo>
                  <a:close/>
                </a:path>
              </a:pathLst>
            </a:custGeom>
            <a:solidFill>
              <a:schemeClr val="accent1"/>
            </a:solidFill>
            <a:ln w="6350" cap="rnd" cmpd="sng">
              <a:noFill/>
              <a:prstDash val="solid"/>
              <a:round/>
              <a:headEnd type="none" w="sm" len="sm"/>
              <a:tailEnd type="none" w="sm" len="sm"/>
            </a:ln>
            <a:effectLst/>
          </p:spPr>
          <p:txBody>
            <a:bodyPr lIns="216000" tIns="72000" rIns="72000" bIns="72000"/>
            <a:lstStyle/>
            <a:p>
              <a:endParaRPr lang="en-US"/>
            </a:p>
          </p:txBody>
        </p:sp>
        <p:sp>
          <p:nvSpPr>
            <p:cNvPr id="16" name="Rectangle 6">
              <a:extLst>
                <a:ext uri="{FF2B5EF4-FFF2-40B4-BE49-F238E27FC236}">
                  <a16:creationId xmlns:a16="http://schemas.microsoft.com/office/drawing/2014/main" id="{B39CC4E1-530B-4562-AC82-8DA3F693CC0C}"/>
                </a:ext>
              </a:extLst>
            </p:cNvPr>
            <p:cNvSpPr>
              <a:spLocks noChangeArrowheads="1"/>
            </p:cNvSpPr>
            <p:nvPr/>
          </p:nvSpPr>
          <p:spPr bwMode="auto">
            <a:xfrm>
              <a:off x="198" y="1642"/>
              <a:ext cx="3729" cy="511"/>
            </a:xfrm>
            <a:prstGeom prst="rect">
              <a:avLst/>
            </a:prstGeom>
            <a:noFill/>
            <a:ln w="6350">
              <a:noFill/>
              <a:miter lim="800000"/>
              <a:headEnd/>
              <a:tailEnd/>
            </a:ln>
            <a:effectLst/>
          </p:spPr>
          <p:txBody>
            <a:bodyPr lIns="216000" tIns="72000" rIns="72000" bIns="72000" anchor="ctr"/>
            <a:lstStyle/>
            <a:p>
              <a:pPr algn="l" defTabSz="885825" eaLnBrk="0" hangingPunct="0"/>
              <a:r>
                <a:rPr lang="en-GB" b="1" dirty="0"/>
                <a:t>Text </a:t>
              </a:r>
            </a:p>
          </p:txBody>
        </p:sp>
        <p:sp>
          <p:nvSpPr>
            <p:cNvPr id="17" name="Rectangle 7">
              <a:extLst>
                <a:ext uri="{FF2B5EF4-FFF2-40B4-BE49-F238E27FC236}">
                  <a16:creationId xmlns:a16="http://schemas.microsoft.com/office/drawing/2014/main" id="{3F2AC79E-049E-4238-B03F-A202D0087C13}"/>
                </a:ext>
              </a:extLst>
            </p:cNvPr>
            <p:cNvSpPr>
              <a:spLocks noChangeArrowheads="1"/>
            </p:cNvSpPr>
            <p:nvPr/>
          </p:nvSpPr>
          <p:spPr bwMode="auto">
            <a:xfrm>
              <a:off x="198" y="2285"/>
              <a:ext cx="4754" cy="511"/>
            </a:xfrm>
            <a:prstGeom prst="rect">
              <a:avLst/>
            </a:prstGeom>
            <a:noFill/>
            <a:ln w="6350">
              <a:noFill/>
              <a:miter lim="800000"/>
              <a:headEnd/>
              <a:tailEnd/>
            </a:ln>
            <a:effectLst/>
          </p:spPr>
          <p:txBody>
            <a:bodyPr lIns="216000" tIns="72000" rIns="72000" bIns="72000" anchor="ctr"/>
            <a:lstStyle/>
            <a:p>
              <a:pPr algn="l" defTabSz="885825" eaLnBrk="0" hangingPunct="0"/>
              <a:r>
                <a:rPr lang="en-GB" b="1">
                  <a:solidFill>
                    <a:schemeClr val="bg1"/>
                  </a:solidFill>
                </a:rPr>
                <a:t>Text </a:t>
              </a:r>
            </a:p>
          </p:txBody>
        </p:sp>
        <p:sp>
          <p:nvSpPr>
            <p:cNvPr id="18" name="Rectangle 8">
              <a:extLst>
                <a:ext uri="{FF2B5EF4-FFF2-40B4-BE49-F238E27FC236}">
                  <a16:creationId xmlns:a16="http://schemas.microsoft.com/office/drawing/2014/main" id="{D7B0231F-746A-4C31-B5E1-6492D749357F}"/>
                </a:ext>
              </a:extLst>
            </p:cNvPr>
            <p:cNvSpPr>
              <a:spLocks noChangeArrowheads="1"/>
            </p:cNvSpPr>
            <p:nvPr/>
          </p:nvSpPr>
          <p:spPr bwMode="auto">
            <a:xfrm>
              <a:off x="198" y="2930"/>
              <a:ext cx="3729" cy="510"/>
            </a:xfrm>
            <a:prstGeom prst="rect">
              <a:avLst/>
            </a:prstGeom>
            <a:noFill/>
            <a:ln w="6350">
              <a:noFill/>
              <a:miter lim="800000"/>
              <a:headEnd/>
              <a:tailEnd/>
            </a:ln>
            <a:effectLst/>
          </p:spPr>
          <p:txBody>
            <a:bodyPr lIns="216000" tIns="72000" rIns="72000" bIns="72000" anchor="ctr"/>
            <a:lstStyle/>
            <a:p>
              <a:pPr algn="l" defTabSz="885825" eaLnBrk="0" hangingPunct="0"/>
              <a:r>
                <a:rPr lang="en-GB" b="1"/>
                <a:t>Text </a:t>
              </a:r>
            </a:p>
          </p:txBody>
        </p:sp>
      </p:grpSp>
      <p:sp>
        <p:nvSpPr>
          <p:cNvPr id="3" name="Footer Placeholder 2">
            <a:extLst>
              <a:ext uri="{FF2B5EF4-FFF2-40B4-BE49-F238E27FC236}">
                <a16:creationId xmlns:a16="http://schemas.microsoft.com/office/drawing/2014/main" id="{64C44EEA-E504-481D-B984-D542BBB35303}"/>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D9D25257-9192-4887-8532-1C91E3C3A93A}"/>
              </a:ext>
            </a:extLst>
          </p:cNvPr>
          <p:cNvSpPr>
            <a:spLocks noGrp="1"/>
          </p:cNvSpPr>
          <p:nvPr>
            <p:ph type="sldNum" sz="quarter" idx="10"/>
          </p:nvPr>
        </p:nvSpPr>
        <p:spPr/>
        <p:txBody>
          <a:bodyPr/>
          <a:lstStyle/>
          <a:p>
            <a:fld id="{1F90F471-3972-4120-B8B3-0237DE626C35}" type="slidenum">
              <a:rPr lang="en-US" smtClean="0"/>
              <a:pPr/>
              <a:t>203</a:t>
            </a:fld>
            <a:endParaRPr lang="en-US" dirty="0"/>
          </a:p>
        </p:txBody>
      </p:sp>
    </p:spTree>
    <p:extLst>
      <p:ext uri="{BB962C8B-B14F-4D97-AF65-F5344CB8AC3E}">
        <p14:creationId xmlns:p14="http://schemas.microsoft.com/office/powerpoint/2010/main" val="2892641773"/>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Linear Flow 16</a:t>
            </a:r>
          </a:p>
        </p:txBody>
      </p:sp>
      <p:grpSp>
        <p:nvGrpSpPr>
          <p:cNvPr id="13" name="Group 12" descr="Add text and order accordingly">
            <a:extLst>
              <a:ext uri="{FF2B5EF4-FFF2-40B4-BE49-F238E27FC236}">
                <a16:creationId xmlns:a16="http://schemas.microsoft.com/office/drawing/2014/main" id="{E2B3B4FC-05CA-406C-9C0E-D9863D2A0A05}"/>
              </a:ext>
            </a:extLst>
          </p:cNvPr>
          <p:cNvGrpSpPr/>
          <p:nvPr/>
        </p:nvGrpSpPr>
        <p:grpSpPr bwMode="auto">
          <a:xfrm>
            <a:off x="1822450" y="1624176"/>
            <a:ext cx="8540750" cy="4217155"/>
            <a:chOff x="331788" y="1844675"/>
            <a:chExt cx="8461375" cy="4349750"/>
          </a:xfrm>
        </p:grpSpPr>
        <p:sp>
          <p:nvSpPr>
            <p:cNvPr id="14" name="AutoShape 3">
              <a:extLst>
                <a:ext uri="{FF2B5EF4-FFF2-40B4-BE49-F238E27FC236}">
                  <a16:creationId xmlns:a16="http://schemas.microsoft.com/office/drawing/2014/main" id="{31469D23-FA60-49F8-BA00-315D3B3C3499}"/>
                </a:ext>
              </a:extLst>
            </p:cNvPr>
            <p:cNvSpPr>
              <a:spLocks noChangeArrowheads="1"/>
            </p:cNvSpPr>
            <p:nvPr>
              <p:custDataLst>
                <p:tags r:id="rId1"/>
              </p:custDataLst>
            </p:nvPr>
          </p:nvSpPr>
          <p:spPr bwMode="auto">
            <a:xfrm>
              <a:off x="2149475" y="2568575"/>
              <a:ext cx="6643688" cy="727075"/>
            </a:xfrm>
            <a:prstGeom prst="homePlate">
              <a:avLst>
                <a:gd name="adj" fmla="val 13368"/>
              </a:avLst>
            </a:prstGeom>
            <a:solidFill>
              <a:schemeClr val="accent2">
                <a:lumMod val="40000"/>
                <a:lumOff val="60000"/>
              </a:schemeClr>
            </a:solidFill>
            <a:ln w="6350">
              <a:noFill/>
              <a:miter lim="800000"/>
              <a:headEnd/>
              <a:tailEnd/>
            </a:ln>
            <a:effectLst/>
          </p:spPr>
          <p:txBody>
            <a:bodyPr wrap="none" lIns="45720" tIns="47625" rIns="45720" bIns="47625" anchor="ctr" anchorCtr="1"/>
            <a:lstStyle/>
            <a:p>
              <a:pPr defTabSz="990600" eaLnBrk="0" hangingPunct="0">
                <a:spcBef>
                  <a:spcPct val="0"/>
                </a:spcBef>
              </a:pPr>
              <a:r>
                <a:rPr lang="en-GB" dirty="0"/>
                <a:t>Text</a:t>
              </a:r>
            </a:p>
          </p:txBody>
        </p:sp>
        <p:sp>
          <p:nvSpPr>
            <p:cNvPr id="15" name="AutoShape 4">
              <a:extLst>
                <a:ext uri="{FF2B5EF4-FFF2-40B4-BE49-F238E27FC236}">
                  <a16:creationId xmlns:a16="http://schemas.microsoft.com/office/drawing/2014/main" id="{28D94C2F-4750-4CE1-8493-10EED047C8C0}"/>
                </a:ext>
              </a:extLst>
            </p:cNvPr>
            <p:cNvSpPr>
              <a:spLocks noChangeArrowheads="1"/>
            </p:cNvSpPr>
            <p:nvPr>
              <p:custDataLst>
                <p:tags r:id="rId2"/>
              </p:custDataLst>
            </p:nvPr>
          </p:nvSpPr>
          <p:spPr bwMode="auto">
            <a:xfrm>
              <a:off x="2149475" y="5465763"/>
              <a:ext cx="6643688" cy="728662"/>
            </a:xfrm>
            <a:prstGeom prst="homePlate">
              <a:avLst>
                <a:gd name="adj" fmla="val 13381"/>
              </a:avLst>
            </a:prstGeom>
            <a:solidFill>
              <a:schemeClr val="accent2">
                <a:lumMod val="40000"/>
                <a:lumOff val="60000"/>
              </a:schemeClr>
            </a:solidFill>
            <a:ln w="6350">
              <a:noFill/>
              <a:miter lim="800000"/>
              <a:headEnd/>
              <a:tailEnd/>
            </a:ln>
            <a:effectLst/>
          </p:spPr>
          <p:txBody>
            <a:bodyPr wrap="none" lIns="45720" tIns="47625" rIns="45720" bIns="47625" anchor="ctr" anchorCtr="1"/>
            <a:lstStyle/>
            <a:p>
              <a:pPr defTabSz="990600" eaLnBrk="0" hangingPunct="0">
                <a:spcBef>
                  <a:spcPct val="0"/>
                </a:spcBef>
              </a:pPr>
              <a:r>
                <a:rPr lang="en-GB" dirty="0"/>
                <a:t>Text</a:t>
              </a:r>
            </a:p>
          </p:txBody>
        </p:sp>
        <p:sp>
          <p:nvSpPr>
            <p:cNvPr id="16" name="AutoShape 5">
              <a:extLst>
                <a:ext uri="{FF2B5EF4-FFF2-40B4-BE49-F238E27FC236}">
                  <a16:creationId xmlns:a16="http://schemas.microsoft.com/office/drawing/2014/main" id="{84902E49-B92B-47DF-A0BC-B1258FCC0B1F}"/>
                </a:ext>
              </a:extLst>
            </p:cNvPr>
            <p:cNvSpPr>
              <a:spLocks noChangeArrowheads="1"/>
            </p:cNvSpPr>
            <p:nvPr>
              <p:custDataLst>
                <p:tags r:id="rId3"/>
              </p:custDataLst>
            </p:nvPr>
          </p:nvSpPr>
          <p:spPr bwMode="auto">
            <a:xfrm>
              <a:off x="2149475" y="4017963"/>
              <a:ext cx="6643688" cy="730250"/>
            </a:xfrm>
            <a:prstGeom prst="homePlate">
              <a:avLst>
                <a:gd name="adj" fmla="val 13352"/>
              </a:avLst>
            </a:prstGeom>
            <a:solidFill>
              <a:schemeClr val="accent2">
                <a:lumMod val="40000"/>
                <a:lumOff val="60000"/>
              </a:schemeClr>
            </a:solidFill>
            <a:ln w="6350">
              <a:noFill/>
              <a:miter lim="800000"/>
              <a:headEnd/>
              <a:tailEnd/>
            </a:ln>
            <a:effectLst/>
          </p:spPr>
          <p:txBody>
            <a:bodyPr wrap="none" lIns="45720" tIns="47625" rIns="45720" bIns="47625" anchor="ctr" anchorCtr="1"/>
            <a:lstStyle/>
            <a:p>
              <a:pPr defTabSz="990600" eaLnBrk="0" hangingPunct="0">
                <a:spcBef>
                  <a:spcPct val="0"/>
                </a:spcBef>
              </a:pPr>
              <a:r>
                <a:rPr lang="en-GB" dirty="0"/>
                <a:t>Text</a:t>
              </a:r>
            </a:p>
          </p:txBody>
        </p:sp>
        <p:sp>
          <p:nvSpPr>
            <p:cNvPr id="17" name="AutoShape 6">
              <a:extLst>
                <a:ext uri="{FF2B5EF4-FFF2-40B4-BE49-F238E27FC236}">
                  <a16:creationId xmlns:a16="http://schemas.microsoft.com/office/drawing/2014/main" id="{97F210A7-A4D8-4EF0-ABAD-D13CFBCC5E0C}"/>
                </a:ext>
              </a:extLst>
            </p:cNvPr>
            <p:cNvSpPr>
              <a:spLocks noChangeArrowheads="1"/>
            </p:cNvSpPr>
            <p:nvPr>
              <p:custDataLst>
                <p:tags r:id="rId4"/>
              </p:custDataLst>
            </p:nvPr>
          </p:nvSpPr>
          <p:spPr bwMode="auto">
            <a:xfrm>
              <a:off x="2149475" y="1844675"/>
              <a:ext cx="6643688" cy="728663"/>
            </a:xfrm>
            <a:prstGeom prst="homePlate">
              <a:avLst>
                <a:gd name="adj" fmla="val 13381"/>
              </a:avLst>
            </a:prstGeom>
            <a:solidFill>
              <a:schemeClr val="accent2">
                <a:lumMod val="20000"/>
                <a:lumOff val="80000"/>
              </a:schemeClr>
            </a:solidFill>
            <a:ln w="6350">
              <a:noFill/>
              <a:miter lim="800000"/>
              <a:headEnd/>
              <a:tailEnd/>
            </a:ln>
            <a:effectLst/>
          </p:spPr>
          <p:txBody>
            <a:bodyPr wrap="none" lIns="45720" tIns="47625" rIns="45720" bIns="47625" anchor="ctr" anchorCtr="1"/>
            <a:lstStyle/>
            <a:p>
              <a:pPr defTabSz="990600" eaLnBrk="0" hangingPunct="0">
                <a:spcBef>
                  <a:spcPct val="0"/>
                </a:spcBef>
              </a:pPr>
              <a:r>
                <a:rPr lang="en-GB" dirty="0">
                  <a:solidFill>
                    <a:schemeClr val="tx1"/>
                  </a:solidFill>
                </a:rPr>
                <a:t>Text</a:t>
              </a:r>
            </a:p>
          </p:txBody>
        </p:sp>
        <p:sp>
          <p:nvSpPr>
            <p:cNvPr id="18" name="AutoShape 7">
              <a:extLst>
                <a:ext uri="{FF2B5EF4-FFF2-40B4-BE49-F238E27FC236}">
                  <a16:creationId xmlns:a16="http://schemas.microsoft.com/office/drawing/2014/main" id="{19A8C3E3-7AAD-4EDE-A4FC-DD16C0007483}"/>
                </a:ext>
              </a:extLst>
            </p:cNvPr>
            <p:cNvSpPr>
              <a:spLocks noChangeArrowheads="1"/>
            </p:cNvSpPr>
            <p:nvPr>
              <p:custDataLst>
                <p:tags r:id="rId5"/>
              </p:custDataLst>
            </p:nvPr>
          </p:nvSpPr>
          <p:spPr bwMode="auto">
            <a:xfrm>
              <a:off x="2149475" y="3290888"/>
              <a:ext cx="6643688" cy="730250"/>
            </a:xfrm>
            <a:prstGeom prst="homePlate">
              <a:avLst>
                <a:gd name="adj" fmla="val 13352"/>
              </a:avLst>
            </a:prstGeom>
            <a:solidFill>
              <a:schemeClr val="accent2">
                <a:lumMod val="20000"/>
                <a:lumOff val="80000"/>
              </a:schemeClr>
            </a:solidFill>
            <a:ln w="6350">
              <a:noFill/>
              <a:miter lim="800000"/>
              <a:headEnd/>
              <a:tailEnd/>
            </a:ln>
            <a:effectLst/>
          </p:spPr>
          <p:txBody>
            <a:bodyPr wrap="none" lIns="45720" tIns="47625" rIns="45720" bIns="47625" anchor="ctr" anchorCtr="1"/>
            <a:lstStyle/>
            <a:p>
              <a:pPr defTabSz="990600" eaLnBrk="0" hangingPunct="0">
                <a:spcBef>
                  <a:spcPct val="0"/>
                </a:spcBef>
              </a:pPr>
              <a:r>
                <a:rPr lang="en-GB" dirty="0">
                  <a:solidFill>
                    <a:schemeClr val="tx1"/>
                  </a:solidFill>
                </a:rPr>
                <a:t>Text</a:t>
              </a:r>
            </a:p>
          </p:txBody>
        </p:sp>
        <p:sp>
          <p:nvSpPr>
            <p:cNvPr id="19" name="AutoShape 8">
              <a:extLst>
                <a:ext uri="{FF2B5EF4-FFF2-40B4-BE49-F238E27FC236}">
                  <a16:creationId xmlns:a16="http://schemas.microsoft.com/office/drawing/2014/main" id="{F1B5472C-ECEF-44B1-8B4B-E387AF5E3FEA}"/>
                </a:ext>
              </a:extLst>
            </p:cNvPr>
            <p:cNvSpPr>
              <a:spLocks noChangeArrowheads="1"/>
            </p:cNvSpPr>
            <p:nvPr>
              <p:custDataLst>
                <p:tags r:id="rId6"/>
              </p:custDataLst>
            </p:nvPr>
          </p:nvSpPr>
          <p:spPr bwMode="auto">
            <a:xfrm>
              <a:off x="2149475" y="4743450"/>
              <a:ext cx="6643688" cy="730250"/>
            </a:xfrm>
            <a:prstGeom prst="homePlate">
              <a:avLst>
                <a:gd name="adj" fmla="val 13352"/>
              </a:avLst>
            </a:prstGeom>
            <a:solidFill>
              <a:schemeClr val="accent2">
                <a:lumMod val="20000"/>
                <a:lumOff val="80000"/>
              </a:schemeClr>
            </a:solidFill>
            <a:ln w="6350">
              <a:noFill/>
              <a:miter lim="800000"/>
              <a:headEnd/>
              <a:tailEnd/>
            </a:ln>
            <a:effectLst/>
          </p:spPr>
          <p:txBody>
            <a:bodyPr wrap="none" lIns="45720" tIns="47625" rIns="45720" bIns="47625" anchor="ctr" anchorCtr="1"/>
            <a:lstStyle/>
            <a:p>
              <a:pPr defTabSz="990600" eaLnBrk="0" hangingPunct="0">
                <a:spcBef>
                  <a:spcPct val="0"/>
                </a:spcBef>
              </a:pPr>
              <a:r>
                <a:rPr lang="en-GB" dirty="0">
                  <a:solidFill>
                    <a:schemeClr val="tx1"/>
                  </a:solidFill>
                </a:rPr>
                <a:t>Text</a:t>
              </a:r>
            </a:p>
          </p:txBody>
        </p:sp>
        <p:sp>
          <p:nvSpPr>
            <p:cNvPr id="20" name="Rectangle 11">
              <a:extLst>
                <a:ext uri="{FF2B5EF4-FFF2-40B4-BE49-F238E27FC236}">
                  <a16:creationId xmlns:a16="http://schemas.microsoft.com/office/drawing/2014/main" id="{05364269-AC81-49BD-83FD-88D70F19AF5D}"/>
                </a:ext>
              </a:extLst>
            </p:cNvPr>
            <p:cNvSpPr>
              <a:spLocks noChangeArrowheads="1"/>
            </p:cNvSpPr>
            <p:nvPr>
              <p:custDataLst>
                <p:tags r:id="rId7"/>
              </p:custDataLst>
            </p:nvPr>
          </p:nvSpPr>
          <p:spPr bwMode="auto">
            <a:xfrm rot="16200000">
              <a:off x="-934243" y="3110706"/>
              <a:ext cx="4349750" cy="1817687"/>
            </a:xfrm>
            <a:prstGeom prst="rect">
              <a:avLst/>
            </a:prstGeom>
            <a:solidFill>
              <a:schemeClr val="accent2"/>
            </a:solidFill>
            <a:ln w="6350">
              <a:noFill/>
              <a:miter lim="800000"/>
              <a:headEnd/>
              <a:tailEnd/>
            </a:ln>
            <a:effectLst/>
          </p:spPr>
          <p:txBody>
            <a:bodyPr vert="eaVert" wrap="none" lIns="45720" tIns="47625" rIns="45720" bIns="47625" anchor="ctr" anchorCtr="1"/>
            <a:lstStyle/>
            <a:p>
              <a:pPr indent="-177800" eaLnBrk="0" hangingPunct="0">
                <a:lnSpc>
                  <a:spcPct val="85000"/>
                </a:lnSpc>
                <a:spcBef>
                  <a:spcPts val="100"/>
                </a:spcBef>
                <a:spcAft>
                  <a:spcPts val="300"/>
                </a:spcAft>
                <a:tabLst>
                  <a:tab pos="474663" algn="l"/>
                </a:tabLst>
              </a:pPr>
              <a:r>
                <a:rPr lang="en-GB" b="1" dirty="0">
                  <a:solidFill>
                    <a:schemeClr val="bg1"/>
                  </a:solidFill>
                  <a:latin typeface="+mj-lt"/>
                </a:rPr>
                <a:t>Text</a:t>
              </a:r>
            </a:p>
          </p:txBody>
        </p:sp>
      </p:grpSp>
      <p:sp>
        <p:nvSpPr>
          <p:cNvPr id="5" name="Footer Placeholder 4">
            <a:extLst>
              <a:ext uri="{FF2B5EF4-FFF2-40B4-BE49-F238E27FC236}">
                <a16:creationId xmlns:a16="http://schemas.microsoft.com/office/drawing/2014/main" id="{FD7C5BEC-59C9-4953-91AF-F60CC8FF3538}"/>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5CE64730-3FCC-4F6D-87B7-1646B7DDFFB0}"/>
              </a:ext>
            </a:extLst>
          </p:cNvPr>
          <p:cNvSpPr>
            <a:spLocks noGrp="1"/>
          </p:cNvSpPr>
          <p:nvPr>
            <p:ph type="sldNum" sz="quarter" idx="10"/>
          </p:nvPr>
        </p:nvSpPr>
        <p:spPr/>
        <p:txBody>
          <a:bodyPr/>
          <a:lstStyle/>
          <a:p>
            <a:fld id="{1F90F471-3972-4120-B8B3-0237DE626C35}" type="slidenum">
              <a:rPr lang="en-US" smtClean="0"/>
              <a:pPr/>
              <a:t>204</a:t>
            </a:fld>
            <a:endParaRPr lang="en-US" dirty="0"/>
          </a:p>
        </p:txBody>
      </p:sp>
    </p:spTree>
    <p:extLst>
      <p:ext uri="{BB962C8B-B14F-4D97-AF65-F5344CB8AC3E}">
        <p14:creationId xmlns:p14="http://schemas.microsoft.com/office/powerpoint/2010/main" val="300989176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Linear Flow 17</a:t>
            </a:r>
          </a:p>
        </p:txBody>
      </p:sp>
      <p:sp>
        <p:nvSpPr>
          <p:cNvPr id="58" name="AutoShape 5">
            <a:extLst>
              <a:ext uri="{FF2B5EF4-FFF2-40B4-BE49-F238E27FC236}">
                <a16:creationId xmlns:a16="http://schemas.microsoft.com/office/drawing/2014/main" id="{BF81DAB3-AF11-48B7-B00F-439F5CF1F0A8}"/>
              </a:ext>
            </a:extLst>
          </p:cNvPr>
          <p:cNvSpPr>
            <a:spLocks noChangeArrowheads="1"/>
          </p:cNvSpPr>
          <p:nvPr/>
        </p:nvSpPr>
        <p:spPr bwMode="auto">
          <a:xfrm>
            <a:off x="1532338" y="1512538"/>
            <a:ext cx="9822724" cy="502443"/>
          </a:xfrm>
          <a:prstGeom prst="homePlate">
            <a:avLst>
              <a:gd name="adj" fmla="val 16553"/>
            </a:avLst>
          </a:prstGeom>
          <a:pattFill prst="dkUpDiag">
            <a:fgClr>
              <a:schemeClr val="tx2">
                <a:lumMod val="40000"/>
                <a:lumOff val="60000"/>
              </a:schemeClr>
            </a:fgClr>
            <a:bgClr>
              <a:schemeClr val="bg1"/>
            </a:bgClr>
          </a:pattFill>
          <a:ln w="6350">
            <a:noFill/>
            <a:miter lim="800000"/>
            <a:headEnd/>
            <a:tailEnd/>
          </a:ln>
          <a:effectLst/>
        </p:spPr>
        <p:txBody>
          <a:bodyPr wrap="square" lIns="180000" tIns="108000" rIns="108000" bIns="108000" anchor="ctr" anchorCtr="0"/>
          <a:lstStyle/>
          <a:p>
            <a:pPr algn="ctr" eaLnBrk="0" hangingPunct="0">
              <a:lnSpc>
                <a:spcPct val="90000"/>
              </a:lnSpc>
              <a:buClr>
                <a:srgbClr val="990033"/>
              </a:buClr>
            </a:pPr>
            <a:r>
              <a:rPr lang="en-US" sz="1400" b="1" dirty="0">
                <a:solidFill>
                  <a:schemeClr val="accent2"/>
                </a:solidFill>
                <a:latin typeface="+mj-lt"/>
              </a:rPr>
              <a:t>Text</a:t>
            </a:r>
          </a:p>
        </p:txBody>
      </p:sp>
      <p:sp>
        <p:nvSpPr>
          <p:cNvPr id="50" name="AutoShape 5">
            <a:extLst>
              <a:ext uri="{FF2B5EF4-FFF2-40B4-BE49-F238E27FC236}">
                <a16:creationId xmlns:a16="http://schemas.microsoft.com/office/drawing/2014/main" id="{442C0B2D-2585-41B9-B73D-9EFD3B955223}"/>
              </a:ext>
            </a:extLst>
          </p:cNvPr>
          <p:cNvSpPr>
            <a:spLocks noChangeArrowheads="1"/>
          </p:cNvSpPr>
          <p:nvPr/>
        </p:nvSpPr>
        <p:spPr bwMode="auto">
          <a:xfrm>
            <a:off x="1532338" y="2068930"/>
            <a:ext cx="1987933" cy="502443"/>
          </a:xfrm>
          <a:prstGeom prst="homePlate">
            <a:avLst>
              <a:gd name="adj" fmla="val 16553"/>
            </a:avLst>
          </a:prstGeom>
          <a:solidFill>
            <a:schemeClr val="tx2">
              <a:lumMod val="40000"/>
              <a:lumOff val="60000"/>
            </a:schemeClr>
          </a:solidFill>
          <a:ln w="6350">
            <a:noFill/>
            <a:miter lim="800000"/>
            <a:headEnd/>
            <a:tailEnd/>
          </a:ln>
          <a:effectLst/>
        </p:spPr>
        <p:txBody>
          <a:bodyPr wrap="square" lIns="180000" tIns="108000" rIns="108000" bIns="108000" anchor="ctr" anchorCtr="0"/>
          <a:lstStyle/>
          <a:p>
            <a:pPr eaLnBrk="0" hangingPunct="0">
              <a:lnSpc>
                <a:spcPct val="90000"/>
              </a:lnSpc>
              <a:buClr>
                <a:srgbClr val="990033"/>
              </a:buClr>
            </a:pPr>
            <a:r>
              <a:rPr lang="en-US" sz="1200" b="1" dirty="0">
                <a:latin typeface="+mj-lt"/>
              </a:rPr>
              <a:t>Text</a:t>
            </a:r>
          </a:p>
        </p:txBody>
      </p:sp>
      <p:sp>
        <p:nvSpPr>
          <p:cNvPr id="54" name="Arrow: Chevron 53">
            <a:extLst>
              <a:ext uri="{FF2B5EF4-FFF2-40B4-BE49-F238E27FC236}">
                <a16:creationId xmlns:a16="http://schemas.microsoft.com/office/drawing/2014/main" id="{7DE3548D-30C9-4735-9583-BE81E5971E9A}"/>
              </a:ext>
            </a:extLst>
          </p:cNvPr>
          <p:cNvSpPr/>
          <p:nvPr/>
        </p:nvSpPr>
        <p:spPr>
          <a:xfrm>
            <a:off x="3490119" y="2068930"/>
            <a:ext cx="1988730" cy="502443"/>
          </a:xfrm>
          <a:prstGeom prst="chevron">
            <a:avLst>
              <a:gd name="adj" fmla="val 15715"/>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lnSpc>
                <a:spcPct val="90000"/>
              </a:lnSpc>
              <a:buClr>
                <a:srgbClr val="990033"/>
              </a:buClr>
            </a:pPr>
            <a:r>
              <a:rPr lang="en-US" sz="1200" b="1" dirty="0">
                <a:solidFill>
                  <a:schemeClr val="bg1"/>
                </a:solidFill>
                <a:latin typeface="+mj-lt"/>
              </a:rPr>
              <a:t>Text</a:t>
            </a:r>
          </a:p>
        </p:txBody>
      </p:sp>
      <p:sp>
        <p:nvSpPr>
          <p:cNvPr id="48" name="Arrow: Chevron 47">
            <a:extLst>
              <a:ext uri="{FF2B5EF4-FFF2-40B4-BE49-F238E27FC236}">
                <a16:creationId xmlns:a16="http://schemas.microsoft.com/office/drawing/2014/main" id="{678B4736-E05D-4EC0-A0CF-BEF185364964}"/>
              </a:ext>
            </a:extLst>
          </p:cNvPr>
          <p:cNvSpPr/>
          <p:nvPr/>
        </p:nvSpPr>
        <p:spPr>
          <a:xfrm>
            <a:off x="5448697" y="2068930"/>
            <a:ext cx="1988730" cy="502443"/>
          </a:xfrm>
          <a:prstGeom prst="chevron">
            <a:avLst>
              <a:gd name="adj" fmla="val 15715"/>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lnSpc>
                <a:spcPct val="90000"/>
              </a:lnSpc>
              <a:buClr>
                <a:srgbClr val="990033"/>
              </a:buClr>
            </a:pPr>
            <a:r>
              <a:rPr lang="en-US" sz="1200" b="1" dirty="0">
                <a:solidFill>
                  <a:schemeClr val="tx1"/>
                </a:solidFill>
                <a:latin typeface="+mj-lt"/>
              </a:rPr>
              <a:t>Text</a:t>
            </a:r>
          </a:p>
        </p:txBody>
      </p:sp>
      <p:sp>
        <p:nvSpPr>
          <p:cNvPr id="56" name="Arrow: Chevron 55">
            <a:extLst>
              <a:ext uri="{FF2B5EF4-FFF2-40B4-BE49-F238E27FC236}">
                <a16:creationId xmlns:a16="http://schemas.microsoft.com/office/drawing/2014/main" id="{F1A16892-53A0-439F-BC62-13C182003FCB}"/>
              </a:ext>
            </a:extLst>
          </p:cNvPr>
          <p:cNvSpPr/>
          <p:nvPr/>
        </p:nvSpPr>
        <p:spPr>
          <a:xfrm>
            <a:off x="7407275" y="2068930"/>
            <a:ext cx="1988730" cy="502443"/>
          </a:xfrm>
          <a:prstGeom prst="chevron">
            <a:avLst>
              <a:gd name="adj" fmla="val 15715"/>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lnSpc>
                <a:spcPct val="90000"/>
              </a:lnSpc>
              <a:buClr>
                <a:srgbClr val="990033"/>
              </a:buClr>
            </a:pPr>
            <a:r>
              <a:rPr lang="en-US" sz="1200" b="1" dirty="0">
                <a:solidFill>
                  <a:schemeClr val="tx1"/>
                </a:solidFill>
                <a:latin typeface="+mj-lt"/>
              </a:rPr>
              <a:t>Text</a:t>
            </a:r>
          </a:p>
        </p:txBody>
      </p:sp>
      <p:sp>
        <p:nvSpPr>
          <p:cNvPr id="52" name="Arrow: Chevron 51">
            <a:extLst>
              <a:ext uri="{FF2B5EF4-FFF2-40B4-BE49-F238E27FC236}">
                <a16:creationId xmlns:a16="http://schemas.microsoft.com/office/drawing/2014/main" id="{C951F2BB-3699-4FAB-B5FD-F5FA6CEED58C}"/>
              </a:ext>
            </a:extLst>
          </p:cNvPr>
          <p:cNvSpPr/>
          <p:nvPr/>
        </p:nvSpPr>
        <p:spPr>
          <a:xfrm>
            <a:off x="9365852" y="2068930"/>
            <a:ext cx="1989210" cy="502443"/>
          </a:xfrm>
          <a:prstGeom prst="chevron">
            <a:avLst>
              <a:gd name="adj" fmla="val 15715"/>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lnSpc>
                <a:spcPct val="90000"/>
              </a:lnSpc>
              <a:buClr>
                <a:srgbClr val="990033"/>
              </a:buClr>
            </a:pPr>
            <a:r>
              <a:rPr lang="en-US" sz="1200" b="1" dirty="0">
                <a:solidFill>
                  <a:schemeClr val="tx1"/>
                </a:solidFill>
                <a:latin typeface="+mj-lt"/>
              </a:rPr>
              <a:t>Text</a:t>
            </a:r>
          </a:p>
        </p:txBody>
      </p:sp>
      <p:sp>
        <p:nvSpPr>
          <p:cNvPr id="44" name="Text Box 19">
            <a:extLst>
              <a:ext uri="{FF2B5EF4-FFF2-40B4-BE49-F238E27FC236}">
                <a16:creationId xmlns:a16="http://schemas.microsoft.com/office/drawing/2014/main" id="{F1A4D56F-BB54-49E2-8C29-5D8B93A73C2F}"/>
              </a:ext>
            </a:extLst>
          </p:cNvPr>
          <p:cNvSpPr txBox="1">
            <a:spLocks noChangeArrowheads="1"/>
          </p:cNvSpPr>
          <p:nvPr/>
        </p:nvSpPr>
        <p:spPr bwMode="auto">
          <a:xfrm rot="-5400000">
            <a:off x="426574" y="3252233"/>
            <a:ext cx="1682095" cy="428276"/>
          </a:xfrm>
          <a:prstGeom prst="rect">
            <a:avLst/>
          </a:prstGeom>
          <a:solidFill>
            <a:schemeClr val="tx2">
              <a:lumMod val="40000"/>
              <a:lumOff val="60000"/>
            </a:schemeClr>
          </a:solidFill>
          <a:ln w="12700">
            <a:noFill/>
            <a:miter lim="800000"/>
            <a:headEnd/>
            <a:tailEnd/>
          </a:ln>
        </p:spPr>
        <p:txBody>
          <a:bodyPr lIns="107987" tIns="36000" rIns="107987" bIns="0" anchor="ctr"/>
          <a:lstStyle/>
          <a:p>
            <a:pPr algn="ctr" eaLnBrk="0" hangingPunct="0">
              <a:lnSpc>
                <a:spcPct val="90000"/>
              </a:lnSpc>
              <a:buClr>
                <a:srgbClr val="990033"/>
              </a:buClr>
              <a:buFont typeface="Wingdings" pitchFamily="2" charset="2"/>
              <a:buNone/>
            </a:pPr>
            <a:r>
              <a:rPr lang="de-DE" sz="1200" b="1" dirty="0">
                <a:latin typeface="+mj-lt"/>
              </a:rPr>
              <a:t>Text</a:t>
            </a:r>
          </a:p>
        </p:txBody>
      </p:sp>
      <p:sp>
        <p:nvSpPr>
          <p:cNvPr id="24" name="Text Box 5">
            <a:extLst>
              <a:ext uri="{FF2B5EF4-FFF2-40B4-BE49-F238E27FC236}">
                <a16:creationId xmlns:a16="http://schemas.microsoft.com/office/drawing/2014/main" id="{1935305F-34A4-4B39-B9D7-7413A0EE6628}"/>
              </a:ext>
            </a:extLst>
          </p:cNvPr>
          <p:cNvSpPr txBox="1">
            <a:spLocks noChangeArrowheads="1"/>
          </p:cNvSpPr>
          <p:nvPr/>
        </p:nvSpPr>
        <p:spPr bwMode="auto">
          <a:xfrm>
            <a:off x="1532338" y="2625322"/>
            <a:ext cx="1908000" cy="1682094"/>
          </a:xfrm>
          <a:prstGeom prst="rect">
            <a:avLst/>
          </a:prstGeom>
          <a:solidFill>
            <a:schemeClr val="tx2">
              <a:lumMod val="20000"/>
              <a:lumOff val="80000"/>
            </a:schemeClr>
          </a:solidFill>
          <a:ln w="12700">
            <a:noFill/>
            <a:miter lim="800000"/>
            <a:headEnd/>
            <a:tailEnd/>
          </a:ln>
        </p:spPr>
        <p:txBody>
          <a:bodyPr lIns="72000" tIns="36000" rIns="36000" bIns="36000"/>
          <a:lstStyle/>
          <a:p>
            <a:pPr marL="88900" indent="-88900" algn="l" defTabSz="912813" eaLnBrk="0" hangingPunct="0">
              <a:lnSpc>
                <a:spcPct val="95000"/>
              </a:lnSpc>
              <a:spcBef>
                <a:spcPct val="20000"/>
              </a:spcBef>
            </a:pPr>
            <a:r>
              <a:rPr lang="de-DE" sz="1000" dirty="0"/>
              <a:t>Text</a:t>
            </a:r>
          </a:p>
        </p:txBody>
      </p:sp>
      <p:sp>
        <p:nvSpPr>
          <p:cNvPr id="28" name="Text Box 8">
            <a:extLst>
              <a:ext uri="{FF2B5EF4-FFF2-40B4-BE49-F238E27FC236}">
                <a16:creationId xmlns:a16="http://schemas.microsoft.com/office/drawing/2014/main" id="{B33F7C9F-3893-40AD-8F03-50C9216DE97D}"/>
              </a:ext>
            </a:extLst>
          </p:cNvPr>
          <p:cNvSpPr txBox="1">
            <a:spLocks noChangeArrowheads="1"/>
          </p:cNvSpPr>
          <p:nvPr/>
        </p:nvSpPr>
        <p:spPr bwMode="auto">
          <a:xfrm>
            <a:off x="3490119" y="2625322"/>
            <a:ext cx="1908000" cy="1682094"/>
          </a:xfrm>
          <a:prstGeom prst="rect">
            <a:avLst/>
          </a:prstGeom>
          <a:solidFill>
            <a:schemeClr val="accent2">
              <a:lumMod val="20000"/>
              <a:lumOff val="80000"/>
            </a:schemeClr>
          </a:solidFill>
          <a:ln w="12700" algn="ctr">
            <a:noFill/>
            <a:miter lim="800000"/>
            <a:headEnd/>
            <a:tailEnd/>
          </a:ln>
        </p:spPr>
        <p:txBody>
          <a:bodyPr lIns="72000" tIns="36000" rIns="36000" bIns="36000"/>
          <a:lstStyle/>
          <a:p>
            <a:pPr marL="88900" indent="-88900" algn="l" defTabSz="912813" eaLnBrk="0" hangingPunct="0">
              <a:lnSpc>
                <a:spcPct val="95000"/>
              </a:lnSpc>
              <a:spcBef>
                <a:spcPct val="20000"/>
              </a:spcBef>
            </a:pPr>
            <a:r>
              <a:rPr lang="de-DE" sz="1000" dirty="0"/>
              <a:t>Text</a:t>
            </a:r>
          </a:p>
        </p:txBody>
      </p:sp>
      <p:sp>
        <p:nvSpPr>
          <p:cNvPr id="32" name="Text Box 11">
            <a:extLst>
              <a:ext uri="{FF2B5EF4-FFF2-40B4-BE49-F238E27FC236}">
                <a16:creationId xmlns:a16="http://schemas.microsoft.com/office/drawing/2014/main" id="{DE1C8D9F-FA06-4A8A-AC2C-5B14DE1B3631}"/>
              </a:ext>
            </a:extLst>
          </p:cNvPr>
          <p:cNvSpPr txBox="1">
            <a:spLocks noChangeArrowheads="1"/>
          </p:cNvSpPr>
          <p:nvPr/>
        </p:nvSpPr>
        <p:spPr bwMode="auto">
          <a:xfrm>
            <a:off x="5448697" y="2625322"/>
            <a:ext cx="1908000" cy="1682094"/>
          </a:xfrm>
          <a:prstGeom prst="rect">
            <a:avLst/>
          </a:prstGeom>
          <a:solidFill>
            <a:schemeClr val="tx2">
              <a:lumMod val="20000"/>
              <a:lumOff val="80000"/>
            </a:schemeClr>
          </a:solidFill>
          <a:ln w="12700" algn="ctr">
            <a:noFill/>
            <a:miter lim="800000"/>
            <a:headEnd/>
            <a:tailEnd/>
          </a:ln>
        </p:spPr>
        <p:txBody>
          <a:bodyPr lIns="72000" tIns="36000" rIns="36000" bIns="36000"/>
          <a:lstStyle/>
          <a:p>
            <a:pPr marL="88900" indent="-88900" algn="l" defTabSz="912813" eaLnBrk="0" hangingPunct="0">
              <a:lnSpc>
                <a:spcPct val="95000"/>
              </a:lnSpc>
              <a:spcBef>
                <a:spcPct val="20000"/>
              </a:spcBef>
            </a:pPr>
            <a:r>
              <a:rPr lang="de-DE" sz="1000" dirty="0"/>
              <a:t>Text</a:t>
            </a:r>
          </a:p>
        </p:txBody>
      </p:sp>
      <p:sp>
        <p:nvSpPr>
          <p:cNvPr id="36" name="Text Box 14">
            <a:extLst>
              <a:ext uri="{FF2B5EF4-FFF2-40B4-BE49-F238E27FC236}">
                <a16:creationId xmlns:a16="http://schemas.microsoft.com/office/drawing/2014/main" id="{EADEE2BF-8FBA-45AA-A89F-3EF840209FBE}"/>
              </a:ext>
            </a:extLst>
          </p:cNvPr>
          <p:cNvSpPr txBox="1">
            <a:spLocks noChangeArrowheads="1"/>
          </p:cNvSpPr>
          <p:nvPr/>
        </p:nvSpPr>
        <p:spPr bwMode="auto">
          <a:xfrm>
            <a:off x="7407275" y="2625322"/>
            <a:ext cx="1908000" cy="1682094"/>
          </a:xfrm>
          <a:prstGeom prst="rect">
            <a:avLst/>
          </a:prstGeom>
          <a:solidFill>
            <a:schemeClr val="tx2">
              <a:lumMod val="20000"/>
              <a:lumOff val="80000"/>
            </a:schemeClr>
          </a:solidFill>
          <a:ln w="12700" algn="ctr">
            <a:noFill/>
            <a:miter lim="800000"/>
            <a:headEnd/>
            <a:tailEnd/>
          </a:ln>
        </p:spPr>
        <p:txBody>
          <a:bodyPr lIns="72000" tIns="36000" rIns="36000" bIns="36000"/>
          <a:lstStyle/>
          <a:p>
            <a:pPr marL="88900" indent="-88900" algn="l" defTabSz="912813" eaLnBrk="0" hangingPunct="0">
              <a:lnSpc>
                <a:spcPct val="95000"/>
              </a:lnSpc>
              <a:spcBef>
                <a:spcPct val="20000"/>
              </a:spcBef>
            </a:pPr>
            <a:r>
              <a:rPr lang="de-DE" sz="1000" dirty="0"/>
              <a:t>Text</a:t>
            </a:r>
          </a:p>
        </p:txBody>
      </p:sp>
      <p:sp>
        <p:nvSpPr>
          <p:cNvPr id="40" name="Text Box 17">
            <a:extLst>
              <a:ext uri="{FF2B5EF4-FFF2-40B4-BE49-F238E27FC236}">
                <a16:creationId xmlns:a16="http://schemas.microsoft.com/office/drawing/2014/main" id="{F0E6A4C1-490D-4481-8ABF-521E19BFF76D}"/>
              </a:ext>
            </a:extLst>
          </p:cNvPr>
          <p:cNvSpPr txBox="1">
            <a:spLocks noChangeArrowheads="1"/>
          </p:cNvSpPr>
          <p:nvPr/>
        </p:nvSpPr>
        <p:spPr bwMode="auto">
          <a:xfrm>
            <a:off x="9365852" y="2625322"/>
            <a:ext cx="1908000" cy="1682094"/>
          </a:xfrm>
          <a:prstGeom prst="rect">
            <a:avLst/>
          </a:prstGeom>
          <a:solidFill>
            <a:schemeClr val="tx2">
              <a:lumMod val="20000"/>
              <a:lumOff val="80000"/>
            </a:schemeClr>
          </a:solidFill>
          <a:ln w="12700" algn="ctr">
            <a:noFill/>
            <a:miter lim="800000"/>
            <a:headEnd/>
            <a:tailEnd/>
          </a:ln>
        </p:spPr>
        <p:txBody>
          <a:bodyPr lIns="72000" tIns="36000" rIns="36000" bIns="36000"/>
          <a:lstStyle/>
          <a:p>
            <a:pPr marL="88900" indent="-88900" algn="l" defTabSz="912813" eaLnBrk="0" hangingPunct="0">
              <a:lnSpc>
                <a:spcPct val="95000"/>
              </a:lnSpc>
              <a:spcBef>
                <a:spcPct val="20000"/>
              </a:spcBef>
            </a:pPr>
            <a:r>
              <a:rPr lang="de-DE" sz="1000" dirty="0"/>
              <a:t>Text</a:t>
            </a:r>
          </a:p>
        </p:txBody>
      </p:sp>
      <p:sp>
        <p:nvSpPr>
          <p:cNvPr id="46" name="Text Box 19">
            <a:extLst>
              <a:ext uri="{FF2B5EF4-FFF2-40B4-BE49-F238E27FC236}">
                <a16:creationId xmlns:a16="http://schemas.microsoft.com/office/drawing/2014/main" id="{7D569E2B-E67B-4614-B94E-7D0998DF6C04}"/>
              </a:ext>
            </a:extLst>
          </p:cNvPr>
          <p:cNvSpPr txBox="1">
            <a:spLocks noChangeArrowheads="1"/>
          </p:cNvSpPr>
          <p:nvPr/>
        </p:nvSpPr>
        <p:spPr bwMode="auto">
          <a:xfrm rot="-5400000">
            <a:off x="426575" y="5002717"/>
            <a:ext cx="1682095" cy="428276"/>
          </a:xfrm>
          <a:prstGeom prst="rect">
            <a:avLst/>
          </a:prstGeom>
          <a:solidFill>
            <a:schemeClr val="tx2">
              <a:lumMod val="40000"/>
              <a:lumOff val="60000"/>
            </a:schemeClr>
          </a:solidFill>
          <a:ln w="12700">
            <a:noFill/>
            <a:miter lim="800000"/>
            <a:headEnd/>
            <a:tailEnd/>
          </a:ln>
        </p:spPr>
        <p:txBody>
          <a:bodyPr lIns="107987" tIns="36000" rIns="107987" bIns="0" anchor="ctr"/>
          <a:lstStyle/>
          <a:p>
            <a:pPr algn="ctr" eaLnBrk="0" hangingPunct="0">
              <a:lnSpc>
                <a:spcPct val="90000"/>
              </a:lnSpc>
              <a:buClr>
                <a:srgbClr val="990033"/>
              </a:buClr>
              <a:buFont typeface="Wingdings" pitchFamily="2" charset="2"/>
              <a:buNone/>
            </a:pPr>
            <a:r>
              <a:rPr lang="de-DE" sz="1200" b="1" dirty="0">
                <a:latin typeface="+mj-lt"/>
              </a:rPr>
              <a:t>Text</a:t>
            </a:r>
          </a:p>
        </p:txBody>
      </p:sp>
      <p:sp>
        <p:nvSpPr>
          <p:cNvPr id="26" name="Text Box 6">
            <a:extLst>
              <a:ext uri="{FF2B5EF4-FFF2-40B4-BE49-F238E27FC236}">
                <a16:creationId xmlns:a16="http://schemas.microsoft.com/office/drawing/2014/main" id="{9E46BE9C-9253-4A63-A906-B2279A0AB125}"/>
              </a:ext>
            </a:extLst>
          </p:cNvPr>
          <p:cNvSpPr txBox="1">
            <a:spLocks noChangeArrowheads="1"/>
          </p:cNvSpPr>
          <p:nvPr/>
        </p:nvSpPr>
        <p:spPr bwMode="auto">
          <a:xfrm>
            <a:off x="1532338" y="4375806"/>
            <a:ext cx="1908000" cy="1682094"/>
          </a:xfrm>
          <a:prstGeom prst="rect">
            <a:avLst/>
          </a:prstGeom>
          <a:solidFill>
            <a:schemeClr val="tx2">
              <a:lumMod val="20000"/>
              <a:lumOff val="80000"/>
            </a:schemeClr>
          </a:solidFill>
          <a:ln w="12700" algn="ctr">
            <a:noFill/>
            <a:miter lim="800000"/>
            <a:headEnd/>
            <a:tailEnd/>
          </a:ln>
        </p:spPr>
        <p:txBody>
          <a:bodyPr lIns="72000" tIns="36000" rIns="36000" bIns="36000"/>
          <a:lstStyle/>
          <a:p>
            <a:pPr marL="88900" indent="-88900" algn="l" defTabSz="912813" eaLnBrk="0" hangingPunct="0">
              <a:lnSpc>
                <a:spcPct val="95000"/>
              </a:lnSpc>
              <a:spcBef>
                <a:spcPct val="20000"/>
              </a:spcBef>
            </a:pPr>
            <a:r>
              <a:rPr lang="de-DE" sz="1000" dirty="0"/>
              <a:t>Text</a:t>
            </a:r>
          </a:p>
        </p:txBody>
      </p:sp>
      <p:sp>
        <p:nvSpPr>
          <p:cNvPr id="30" name="Text Box 9">
            <a:extLst>
              <a:ext uri="{FF2B5EF4-FFF2-40B4-BE49-F238E27FC236}">
                <a16:creationId xmlns:a16="http://schemas.microsoft.com/office/drawing/2014/main" id="{C293115C-18C0-4423-B4C7-50618BA188DF}"/>
              </a:ext>
            </a:extLst>
          </p:cNvPr>
          <p:cNvSpPr txBox="1">
            <a:spLocks noChangeArrowheads="1"/>
          </p:cNvSpPr>
          <p:nvPr/>
        </p:nvSpPr>
        <p:spPr bwMode="auto">
          <a:xfrm>
            <a:off x="3490119" y="4375806"/>
            <a:ext cx="1908000" cy="1682094"/>
          </a:xfrm>
          <a:prstGeom prst="rect">
            <a:avLst/>
          </a:prstGeom>
          <a:solidFill>
            <a:schemeClr val="accent2">
              <a:lumMod val="20000"/>
              <a:lumOff val="80000"/>
            </a:schemeClr>
          </a:solidFill>
          <a:ln w="12700" algn="ctr">
            <a:noFill/>
            <a:miter lim="800000"/>
            <a:headEnd/>
            <a:tailEnd/>
          </a:ln>
        </p:spPr>
        <p:txBody>
          <a:bodyPr lIns="72000" tIns="36000" rIns="36000" bIns="36000"/>
          <a:lstStyle/>
          <a:p>
            <a:pPr marL="88900" indent="-88900" algn="l" defTabSz="912813" eaLnBrk="0" hangingPunct="0">
              <a:lnSpc>
                <a:spcPct val="95000"/>
              </a:lnSpc>
              <a:spcBef>
                <a:spcPct val="20000"/>
              </a:spcBef>
            </a:pPr>
            <a:r>
              <a:rPr lang="de-DE" sz="1000" dirty="0"/>
              <a:t>Text</a:t>
            </a:r>
          </a:p>
        </p:txBody>
      </p:sp>
      <p:sp>
        <p:nvSpPr>
          <p:cNvPr id="34" name="Text Box 12">
            <a:extLst>
              <a:ext uri="{FF2B5EF4-FFF2-40B4-BE49-F238E27FC236}">
                <a16:creationId xmlns:a16="http://schemas.microsoft.com/office/drawing/2014/main" id="{7CEEEB6F-1A92-4EA1-BB11-4EF4A534F772}"/>
              </a:ext>
            </a:extLst>
          </p:cNvPr>
          <p:cNvSpPr txBox="1">
            <a:spLocks noChangeArrowheads="1"/>
          </p:cNvSpPr>
          <p:nvPr/>
        </p:nvSpPr>
        <p:spPr bwMode="auto">
          <a:xfrm>
            <a:off x="5448697" y="4375806"/>
            <a:ext cx="1908000" cy="1682094"/>
          </a:xfrm>
          <a:prstGeom prst="rect">
            <a:avLst/>
          </a:prstGeom>
          <a:solidFill>
            <a:schemeClr val="tx2">
              <a:lumMod val="20000"/>
              <a:lumOff val="80000"/>
            </a:schemeClr>
          </a:solidFill>
          <a:ln w="12700" algn="ctr">
            <a:noFill/>
            <a:miter lim="800000"/>
            <a:headEnd/>
            <a:tailEnd/>
          </a:ln>
        </p:spPr>
        <p:txBody>
          <a:bodyPr lIns="72000" tIns="36000" rIns="36000" bIns="36000"/>
          <a:lstStyle/>
          <a:p>
            <a:pPr marL="88900" indent="-88900" algn="l" defTabSz="912813" eaLnBrk="0" hangingPunct="0">
              <a:lnSpc>
                <a:spcPct val="95000"/>
              </a:lnSpc>
              <a:spcBef>
                <a:spcPct val="20000"/>
              </a:spcBef>
            </a:pPr>
            <a:r>
              <a:rPr lang="de-DE" sz="1000" dirty="0"/>
              <a:t>Text</a:t>
            </a:r>
          </a:p>
        </p:txBody>
      </p:sp>
      <p:sp>
        <p:nvSpPr>
          <p:cNvPr id="38" name="Text Box 15">
            <a:extLst>
              <a:ext uri="{FF2B5EF4-FFF2-40B4-BE49-F238E27FC236}">
                <a16:creationId xmlns:a16="http://schemas.microsoft.com/office/drawing/2014/main" id="{666C5C7C-7EC4-4679-A8EF-B2E9F54CEE50}"/>
              </a:ext>
            </a:extLst>
          </p:cNvPr>
          <p:cNvSpPr txBox="1">
            <a:spLocks noChangeArrowheads="1"/>
          </p:cNvSpPr>
          <p:nvPr/>
        </p:nvSpPr>
        <p:spPr bwMode="auto">
          <a:xfrm>
            <a:off x="7407275" y="4375806"/>
            <a:ext cx="1908000" cy="1682094"/>
          </a:xfrm>
          <a:prstGeom prst="rect">
            <a:avLst/>
          </a:prstGeom>
          <a:solidFill>
            <a:schemeClr val="tx2">
              <a:lumMod val="20000"/>
              <a:lumOff val="80000"/>
            </a:schemeClr>
          </a:solidFill>
          <a:ln w="12700" algn="ctr">
            <a:noFill/>
            <a:miter lim="800000"/>
            <a:headEnd/>
            <a:tailEnd/>
          </a:ln>
        </p:spPr>
        <p:txBody>
          <a:bodyPr lIns="72000" tIns="36000" rIns="36000" bIns="36000"/>
          <a:lstStyle/>
          <a:p>
            <a:pPr marL="88900" indent="-88900" algn="l" defTabSz="912813" eaLnBrk="0" hangingPunct="0">
              <a:lnSpc>
                <a:spcPct val="95000"/>
              </a:lnSpc>
              <a:spcBef>
                <a:spcPct val="20000"/>
              </a:spcBef>
            </a:pPr>
            <a:r>
              <a:rPr lang="de-DE" sz="1000" dirty="0"/>
              <a:t>Text</a:t>
            </a:r>
          </a:p>
        </p:txBody>
      </p:sp>
      <p:sp>
        <p:nvSpPr>
          <p:cNvPr id="42" name="Text Box 18">
            <a:extLst>
              <a:ext uri="{FF2B5EF4-FFF2-40B4-BE49-F238E27FC236}">
                <a16:creationId xmlns:a16="http://schemas.microsoft.com/office/drawing/2014/main" id="{FA2F8972-4E62-496B-AF7B-D83D080EE2F4}"/>
              </a:ext>
            </a:extLst>
          </p:cNvPr>
          <p:cNvSpPr txBox="1">
            <a:spLocks noChangeArrowheads="1"/>
          </p:cNvSpPr>
          <p:nvPr/>
        </p:nvSpPr>
        <p:spPr bwMode="auto">
          <a:xfrm>
            <a:off x="9365852" y="4375806"/>
            <a:ext cx="1908000" cy="1682094"/>
          </a:xfrm>
          <a:prstGeom prst="rect">
            <a:avLst/>
          </a:prstGeom>
          <a:solidFill>
            <a:schemeClr val="tx2">
              <a:lumMod val="20000"/>
              <a:lumOff val="80000"/>
            </a:schemeClr>
          </a:solidFill>
          <a:ln w="12700" algn="ctr">
            <a:noFill/>
            <a:miter lim="800000"/>
            <a:headEnd/>
            <a:tailEnd/>
          </a:ln>
        </p:spPr>
        <p:txBody>
          <a:bodyPr lIns="72000" tIns="36000" rIns="36000" bIns="36000"/>
          <a:lstStyle/>
          <a:p>
            <a:pPr marL="88900" indent="-88900" algn="l" defTabSz="912813" eaLnBrk="0" hangingPunct="0">
              <a:lnSpc>
                <a:spcPct val="95000"/>
              </a:lnSpc>
              <a:spcBef>
                <a:spcPct val="20000"/>
              </a:spcBef>
            </a:pPr>
            <a:r>
              <a:rPr lang="de-DE" sz="1000" dirty="0"/>
              <a:t>Text</a:t>
            </a:r>
          </a:p>
        </p:txBody>
      </p:sp>
      <p:sp>
        <p:nvSpPr>
          <p:cNvPr id="5" name="Footer Placeholder 4">
            <a:extLst>
              <a:ext uri="{FF2B5EF4-FFF2-40B4-BE49-F238E27FC236}">
                <a16:creationId xmlns:a16="http://schemas.microsoft.com/office/drawing/2014/main" id="{CD957501-A44F-4D5F-8CEF-D0AC9696DF98}"/>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CD772A70-E067-48DB-B7C0-3163FC824A75}"/>
              </a:ext>
            </a:extLst>
          </p:cNvPr>
          <p:cNvSpPr>
            <a:spLocks noGrp="1"/>
          </p:cNvSpPr>
          <p:nvPr>
            <p:ph type="sldNum" sz="quarter" idx="10"/>
          </p:nvPr>
        </p:nvSpPr>
        <p:spPr/>
        <p:txBody>
          <a:bodyPr/>
          <a:lstStyle/>
          <a:p>
            <a:fld id="{1F90F471-3972-4120-B8B3-0237DE626C35}" type="slidenum">
              <a:rPr lang="en-US" smtClean="0"/>
              <a:pPr/>
              <a:t>205</a:t>
            </a:fld>
            <a:endParaRPr lang="en-US" dirty="0"/>
          </a:p>
        </p:txBody>
      </p:sp>
    </p:spTree>
    <p:extLst>
      <p:ext uri="{BB962C8B-B14F-4D97-AF65-F5344CB8AC3E}">
        <p14:creationId xmlns:p14="http://schemas.microsoft.com/office/powerpoint/2010/main" val="350747926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Linear Flow 18</a:t>
            </a:r>
          </a:p>
        </p:txBody>
      </p:sp>
      <p:sp>
        <p:nvSpPr>
          <p:cNvPr id="24" name="TextBox 23">
            <a:extLst>
              <a:ext uri="{FF2B5EF4-FFF2-40B4-BE49-F238E27FC236}">
                <a16:creationId xmlns:a16="http://schemas.microsoft.com/office/drawing/2014/main" id="{DC954F12-CD35-4180-8B34-2E153AB4675E}"/>
              </a:ext>
            </a:extLst>
          </p:cNvPr>
          <p:cNvSpPr txBox="1"/>
          <p:nvPr/>
        </p:nvSpPr>
        <p:spPr>
          <a:xfrm>
            <a:off x="345018" y="1376363"/>
            <a:ext cx="2627999" cy="387350"/>
          </a:xfrm>
          <a:prstGeom prst="rect">
            <a:avLst/>
          </a:prstGeom>
          <a:solidFill>
            <a:schemeClr val="tx2"/>
          </a:solidFill>
          <a:ln w="19050">
            <a:noFill/>
          </a:ln>
        </p:spPr>
        <p:txBody>
          <a:bodyPr vert="horz" wrap="square" lIns="0" tIns="36000" rIns="0" bIns="0" rtlCol="0" anchor="ctr">
            <a:noAutofit/>
          </a:bodyPr>
          <a:lstStyle/>
          <a:p>
            <a:pPr algn="ctr">
              <a:lnSpc>
                <a:spcPct val="85000"/>
              </a:lnSpc>
            </a:pPr>
            <a:r>
              <a:rPr lang="en-AU" dirty="0">
                <a:latin typeface="+mj-lt"/>
              </a:rPr>
              <a:t>Text</a:t>
            </a:r>
          </a:p>
        </p:txBody>
      </p:sp>
      <p:sp>
        <p:nvSpPr>
          <p:cNvPr id="23" name="Rectangle 22">
            <a:extLst>
              <a:ext uri="{FF2B5EF4-FFF2-40B4-BE49-F238E27FC236}">
                <a16:creationId xmlns:a16="http://schemas.microsoft.com/office/drawing/2014/main" id="{0AF111FC-181C-4930-B4AA-BBB8BABDACA1}"/>
              </a:ext>
            </a:extLst>
          </p:cNvPr>
          <p:cNvSpPr/>
          <p:nvPr/>
        </p:nvSpPr>
        <p:spPr>
          <a:xfrm>
            <a:off x="345019" y="1763714"/>
            <a:ext cx="2627999" cy="4294186"/>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34" name="Arrow: Chevron 33">
            <a:extLst>
              <a:ext uri="{FF2B5EF4-FFF2-40B4-BE49-F238E27FC236}">
                <a16:creationId xmlns:a16="http://schemas.microsoft.com/office/drawing/2014/main" id="{A7C7C76B-C2B4-434A-ACA0-2F6BBAB49DF9}"/>
              </a:ext>
              <a:ext uri="{C183D7F6-B498-43B3-948B-1728B52AA6E4}">
                <adec:decorative xmlns:adec="http://schemas.microsoft.com/office/drawing/2017/decorative" val="1"/>
              </a:ext>
            </a:extLst>
          </p:cNvPr>
          <p:cNvSpPr/>
          <p:nvPr/>
        </p:nvSpPr>
        <p:spPr>
          <a:xfrm>
            <a:off x="2986007" y="3505927"/>
            <a:ext cx="307363" cy="422408"/>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27" name="TextBox 26">
            <a:extLst>
              <a:ext uri="{FF2B5EF4-FFF2-40B4-BE49-F238E27FC236}">
                <a16:creationId xmlns:a16="http://schemas.microsoft.com/office/drawing/2014/main" id="{3D599922-EE7F-47FC-9D8B-3CDA28D06736}"/>
              </a:ext>
            </a:extLst>
          </p:cNvPr>
          <p:cNvSpPr txBox="1"/>
          <p:nvPr/>
        </p:nvSpPr>
        <p:spPr>
          <a:xfrm>
            <a:off x="3306359" y="1376363"/>
            <a:ext cx="2627999" cy="387350"/>
          </a:xfrm>
          <a:prstGeom prst="rect">
            <a:avLst/>
          </a:prstGeom>
          <a:solidFill>
            <a:schemeClr val="accent2"/>
          </a:solidFill>
          <a:ln w="19050">
            <a:noFill/>
          </a:ln>
        </p:spPr>
        <p:txBody>
          <a:bodyPr vert="horz" wrap="square" lIns="0" tIns="36000" rIns="0" bIns="0" rtlCol="0" anchor="ctr">
            <a:noAutofit/>
          </a:bodyPr>
          <a:lstStyle/>
          <a:p>
            <a:pPr algn="ctr">
              <a:lnSpc>
                <a:spcPct val="85000"/>
              </a:lnSpc>
            </a:pPr>
            <a:r>
              <a:rPr lang="en-AU" dirty="0">
                <a:solidFill>
                  <a:schemeClr val="bg1"/>
                </a:solidFill>
                <a:latin typeface="+mj-lt"/>
              </a:rPr>
              <a:t>Text</a:t>
            </a:r>
          </a:p>
        </p:txBody>
      </p:sp>
      <p:sp>
        <p:nvSpPr>
          <p:cNvPr id="26" name="Rectangle 25">
            <a:extLst>
              <a:ext uri="{FF2B5EF4-FFF2-40B4-BE49-F238E27FC236}">
                <a16:creationId xmlns:a16="http://schemas.microsoft.com/office/drawing/2014/main" id="{FB59C084-FC2B-49A7-97A3-7287BB98F30A}"/>
              </a:ext>
            </a:extLst>
          </p:cNvPr>
          <p:cNvSpPr/>
          <p:nvPr/>
        </p:nvSpPr>
        <p:spPr>
          <a:xfrm>
            <a:off x="3306360" y="1763714"/>
            <a:ext cx="2627999" cy="4294186"/>
          </a:xfrm>
          <a:prstGeom prst="rect">
            <a:avLst/>
          </a:prstGeom>
          <a:solidFill>
            <a:schemeClr val="accent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35" name="Arrow: Chevron 34">
            <a:extLst>
              <a:ext uri="{FF2B5EF4-FFF2-40B4-BE49-F238E27FC236}">
                <a16:creationId xmlns:a16="http://schemas.microsoft.com/office/drawing/2014/main" id="{9F87B42E-C23D-4A7C-A029-16619D86D0F0}"/>
              </a:ext>
              <a:ext uri="{C183D7F6-B498-43B3-948B-1728B52AA6E4}">
                <adec:decorative xmlns:adec="http://schemas.microsoft.com/office/drawing/2017/decorative" val="1"/>
              </a:ext>
            </a:extLst>
          </p:cNvPr>
          <p:cNvSpPr/>
          <p:nvPr/>
        </p:nvSpPr>
        <p:spPr>
          <a:xfrm>
            <a:off x="5947348" y="3505927"/>
            <a:ext cx="307363" cy="422408"/>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30" name="TextBox 29">
            <a:extLst>
              <a:ext uri="{FF2B5EF4-FFF2-40B4-BE49-F238E27FC236}">
                <a16:creationId xmlns:a16="http://schemas.microsoft.com/office/drawing/2014/main" id="{1F166D02-9DFA-4684-A517-D29976E4D488}"/>
              </a:ext>
            </a:extLst>
          </p:cNvPr>
          <p:cNvSpPr txBox="1"/>
          <p:nvPr/>
        </p:nvSpPr>
        <p:spPr>
          <a:xfrm>
            <a:off x="6267700" y="1376363"/>
            <a:ext cx="2627999" cy="387350"/>
          </a:xfrm>
          <a:prstGeom prst="rect">
            <a:avLst/>
          </a:prstGeom>
          <a:solidFill>
            <a:schemeClr val="tx2"/>
          </a:solidFill>
          <a:ln w="19050">
            <a:noFill/>
          </a:ln>
        </p:spPr>
        <p:txBody>
          <a:bodyPr vert="horz" wrap="square" lIns="0" tIns="36000" rIns="0" bIns="0" rtlCol="0" anchor="ctr">
            <a:noAutofit/>
          </a:bodyPr>
          <a:lstStyle/>
          <a:p>
            <a:pPr algn="ctr">
              <a:lnSpc>
                <a:spcPct val="85000"/>
              </a:lnSpc>
            </a:pPr>
            <a:r>
              <a:rPr lang="en-AU" dirty="0">
                <a:latin typeface="+mj-lt"/>
              </a:rPr>
              <a:t>Text</a:t>
            </a:r>
          </a:p>
        </p:txBody>
      </p:sp>
      <p:sp>
        <p:nvSpPr>
          <p:cNvPr id="29" name="Rectangle 28">
            <a:extLst>
              <a:ext uri="{FF2B5EF4-FFF2-40B4-BE49-F238E27FC236}">
                <a16:creationId xmlns:a16="http://schemas.microsoft.com/office/drawing/2014/main" id="{A015C437-9492-4908-8C25-AA41C7443D24}"/>
              </a:ext>
            </a:extLst>
          </p:cNvPr>
          <p:cNvSpPr/>
          <p:nvPr/>
        </p:nvSpPr>
        <p:spPr>
          <a:xfrm>
            <a:off x="6267701" y="1763714"/>
            <a:ext cx="2627999" cy="4294186"/>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36" name="Arrow: Chevron 35">
            <a:extLst>
              <a:ext uri="{FF2B5EF4-FFF2-40B4-BE49-F238E27FC236}">
                <a16:creationId xmlns:a16="http://schemas.microsoft.com/office/drawing/2014/main" id="{0C51AE56-3B27-4758-808F-7ABD45F9F165}"/>
              </a:ext>
              <a:ext uri="{C183D7F6-B498-43B3-948B-1728B52AA6E4}">
                <adec:decorative xmlns:adec="http://schemas.microsoft.com/office/drawing/2017/decorative" val="1"/>
              </a:ext>
            </a:extLst>
          </p:cNvPr>
          <p:cNvSpPr/>
          <p:nvPr/>
        </p:nvSpPr>
        <p:spPr>
          <a:xfrm>
            <a:off x="8908689" y="3505927"/>
            <a:ext cx="307363" cy="422408"/>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33" name="TextBox 32">
            <a:extLst>
              <a:ext uri="{FF2B5EF4-FFF2-40B4-BE49-F238E27FC236}">
                <a16:creationId xmlns:a16="http://schemas.microsoft.com/office/drawing/2014/main" id="{25E8865D-A488-4E11-9FD7-BB324C971370}"/>
              </a:ext>
            </a:extLst>
          </p:cNvPr>
          <p:cNvSpPr txBox="1"/>
          <p:nvPr/>
        </p:nvSpPr>
        <p:spPr>
          <a:xfrm>
            <a:off x="9229038" y="1376363"/>
            <a:ext cx="2627999" cy="387350"/>
          </a:xfrm>
          <a:prstGeom prst="rect">
            <a:avLst/>
          </a:prstGeom>
          <a:solidFill>
            <a:schemeClr val="tx2"/>
          </a:solidFill>
          <a:ln w="19050">
            <a:noFill/>
          </a:ln>
        </p:spPr>
        <p:txBody>
          <a:bodyPr vert="horz" wrap="square" lIns="0" tIns="36000" rIns="0" bIns="0" rtlCol="0" anchor="ctr">
            <a:noAutofit/>
          </a:bodyPr>
          <a:lstStyle/>
          <a:p>
            <a:pPr algn="ctr">
              <a:lnSpc>
                <a:spcPct val="85000"/>
              </a:lnSpc>
            </a:pPr>
            <a:r>
              <a:rPr lang="en-AU" dirty="0">
                <a:latin typeface="+mj-lt"/>
              </a:rPr>
              <a:t>Text</a:t>
            </a:r>
          </a:p>
        </p:txBody>
      </p:sp>
      <p:sp>
        <p:nvSpPr>
          <p:cNvPr id="32" name="Rectangle 31">
            <a:extLst>
              <a:ext uri="{FF2B5EF4-FFF2-40B4-BE49-F238E27FC236}">
                <a16:creationId xmlns:a16="http://schemas.microsoft.com/office/drawing/2014/main" id="{B5A5F9FE-59FA-412C-9906-2CADFE834D82}"/>
              </a:ext>
            </a:extLst>
          </p:cNvPr>
          <p:cNvSpPr/>
          <p:nvPr/>
        </p:nvSpPr>
        <p:spPr>
          <a:xfrm>
            <a:off x="9229039" y="1763714"/>
            <a:ext cx="2627999" cy="4294186"/>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3" name="Footer Placeholder 2">
            <a:extLst>
              <a:ext uri="{FF2B5EF4-FFF2-40B4-BE49-F238E27FC236}">
                <a16:creationId xmlns:a16="http://schemas.microsoft.com/office/drawing/2014/main" id="{C350A947-4622-48F5-87A2-3E73CDF4719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8788C6F8-6DA9-4D4E-87D3-9AF35DC452EB}"/>
              </a:ext>
            </a:extLst>
          </p:cNvPr>
          <p:cNvSpPr>
            <a:spLocks noGrp="1"/>
          </p:cNvSpPr>
          <p:nvPr>
            <p:ph type="sldNum" sz="quarter" idx="10"/>
          </p:nvPr>
        </p:nvSpPr>
        <p:spPr/>
        <p:txBody>
          <a:bodyPr/>
          <a:lstStyle/>
          <a:p>
            <a:fld id="{1F90F471-3972-4120-B8B3-0237DE626C35}" type="slidenum">
              <a:rPr lang="en-US" smtClean="0"/>
              <a:pPr/>
              <a:t>206</a:t>
            </a:fld>
            <a:endParaRPr lang="en-US" dirty="0"/>
          </a:p>
        </p:txBody>
      </p:sp>
    </p:spTree>
    <p:extLst>
      <p:ext uri="{BB962C8B-B14F-4D97-AF65-F5344CB8AC3E}">
        <p14:creationId xmlns:p14="http://schemas.microsoft.com/office/powerpoint/2010/main" val="4076422499"/>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Chevrons</a:t>
            </a:r>
          </a:p>
        </p:txBody>
      </p:sp>
      <p:grpSp>
        <p:nvGrpSpPr>
          <p:cNvPr id="11" name="Group 4" descr="Add text and order accordingly">
            <a:extLst>
              <a:ext uri="{FF2B5EF4-FFF2-40B4-BE49-F238E27FC236}">
                <a16:creationId xmlns:a16="http://schemas.microsoft.com/office/drawing/2014/main" id="{6703905E-4DCF-45D3-ACDD-7964985BC8D7}"/>
              </a:ext>
            </a:extLst>
          </p:cNvPr>
          <p:cNvGrpSpPr>
            <a:grpSpLocks/>
          </p:cNvGrpSpPr>
          <p:nvPr/>
        </p:nvGrpSpPr>
        <p:grpSpPr bwMode="auto">
          <a:xfrm>
            <a:off x="3939647" y="1402270"/>
            <a:ext cx="4322762" cy="4675188"/>
            <a:chOff x="1999" y="1656"/>
            <a:chExt cx="1765" cy="1934"/>
          </a:xfrm>
        </p:grpSpPr>
        <p:sp>
          <p:nvSpPr>
            <p:cNvPr id="12" name="Freeform 5">
              <a:extLst>
                <a:ext uri="{FF2B5EF4-FFF2-40B4-BE49-F238E27FC236}">
                  <a16:creationId xmlns:a16="http://schemas.microsoft.com/office/drawing/2014/main" id="{B7274B3D-8CCB-471C-BCEB-7E0E5D03DEC7}"/>
                </a:ext>
              </a:extLst>
            </p:cNvPr>
            <p:cNvSpPr>
              <a:spLocks/>
            </p:cNvSpPr>
            <p:nvPr/>
          </p:nvSpPr>
          <p:spPr bwMode="auto">
            <a:xfrm>
              <a:off x="1999" y="2851"/>
              <a:ext cx="1765" cy="739"/>
            </a:xfrm>
            <a:custGeom>
              <a:avLst/>
              <a:gdLst/>
              <a:ahLst/>
              <a:cxnLst>
                <a:cxn ang="0">
                  <a:pos x="0" y="665"/>
                </a:cxn>
                <a:cxn ang="0">
                  <a:pos x="0" y="0"/>
                </a:cxn>
                <a:cxn ang="0">
                  <a:pos x="466" y="250"/>
                </a:cxn>
                <a:cxn ang="0">
                  <a:pos x="935" y="0"/>
                </a:cxn>
                <a:cxn ang="0">
                  <a:pos x="935" y="671"/>
                </a:cxn>
                <a:cxn ang="0">
                  <a:pos x="463" y="920"/>
                </a:cxn>
                <a:cxn ang="0">
                  <a:pos x="0" y="665"/>
                </a:cxn>
              </a:cxnLst>
              <a:rect l="0" t="0" r="r" b="b"/>
              <a:pathLst>
                <a:path w="936" h="921">
                  <a:moveTo>
                    <a:pt x="0" y="665"/>
                  </a:moveTo>
                  <a:lnTo>
                    <a:pt x="0" y="0"/>
                  </a:lnTo>
                  <a:lnTo>
                    <a:pt x="466" y="250"/>
                  </a:lnTo>
                  <a:lnTo>
                    <a:pt x="935" y="0"/>
                  </a:lnTo>
                  <a:lnTo>
                    <a:pt x="935" y="671"/>
                  </a:lnTo>
                  <a:lnTo>
                    <a:pt x="463" y="920"/>
                  </a:lnTo>
                  <a:lnTo>
                    <a:pt x="0" y="665"/>
                  </a:lnTo>
                </a:path>
              </a:pathLst>
            </a:custGeom>
            <a:solidFill>
              <a:schemeClr val="accent1"/>
            </a:solidFill>
            <a:ln w="6350" cap="rnd" cmpd="sng">
              <a:noFill/>
              <a:prstDash val="solid"/>
              <a:round/>
              <a:headEnd type="none" w="med" len="med"/>
              <a:tailEnd type="none" w="med" len="med"/>
            </a:ln>
            <a:effectLst/>
          </p:spPr>
          <p:txBody>
            <a:bodyPr lIns="45720" rIns="45720"/>
            <a:lstStyle/>
            <a:p>
              <a:endParaRPr lang="en-US"/>
            </a:p>
          </p:txBody>
        </p:sp>
        <p:sp>
          <p:nvSpPr>
            <p:cNvPr id="13" name="Freeform 6">
              <a:extLst>
                <a:ext uri="{FF2B5EF4-FFF2-40B4-BE49-F238E27FC236}">
                  <a16:creationId xmlns:a16="http://schemas.microsoft.com/office/drawing/2014/main" id="{EBE29E0B-9EE3-45CE-9CEB-CE3DA2EB347B}"/>
                </a:ext>
              </a:extLst>
            </p:cNvPr>
            <p:cNvSpPr>
              <a:spLocks/>
            </p:cNvSpPr>
            <p:nvPr/>
          </p:nvSpPr>
          <p:spPr bwMode="auto">
            <a:xfrm>
              <a:off x="1999" y="2257"/>
              <a:ext cx="1765" cy="739"/>
            </a:xfrm>
            <a:custGeom>
              <a:avLst/>
              <a:gdLst/>
              <a:ahLst/>
              <a:cxnLst>
                <a:cxn ang="0">
                  <a:pos x="0" y="665"/>
                </a:cxn>
                <a:cxn ang="0">
                  <a:pos x="0" y="0"/>
                </a:cxn>
                <a:cxn ang="0">
                  <a:pos x="466" y="250"/>
                </a:cxn>
                <a:cxn ang="0">
                  <a:pos x="935" y="0"/>
                </a:cxn>
                <a:cxn ang="0">
                  <a:pos x="935" y="672"/>
                </a:cxn>
                <a:cxn ang="0">
                  <a:pos x="464" y="921"/>
                </a:cxn>
                <a:cxn ang="0">
                  <a:pos x="0" y="665"/>
                </a:cxn>
              </a:cxnLst>
              <a:rect l="0" t="0" r="r" b="b"/>
              <a:pathLst>
                <a:path w="936" h="922">
                  <a:moveTo>
                    <a:pt x="0" y="665"/>
                  </a:moveTo>
                  <a:lnTo>
                    <a:pt x="0" y="0"/>
                  </a:lnTo>
                  <a:lnTo>
                    <a:pt x="466" y="250"/>
                  </a:lnTo>
                  <a:lnTo>
                    <a:pt x="935" y="0"/>
                  </a:lnTo>
                  <a:lnTo>
                    <a:pt x="935" y="672"/>
                  </a:lnTo>
                  <a:lnTo>
                    <a:pt x="464" y="921"/>
                  </a:lnTo>
                  <a:lnTo>
                    <a:pt x="0" y="665"/>
                  </a:lnTo>
                </a:path>
              </a:pathLst>
            </a:custGeom>
            <a:solidFill>
              <a:schemeClr val="accent2"/>
            </a:solidFill>
            <a:ln w="6350" cap="rnd" cmpd="sng">
              <a:noFill/>
              <a:prstDash val="solid"/>
              <a:round/>
              <a:headEnd type="none" w="med" len="med"/>
              <a:tailEnd type="none" w="med" len="med"/>
            </a:ln>
            <a:effectLst/>
          </p:spPr>
          <p:txBody>
            <a:bodyPr lIns="45720" rIns="45720"/>
            <a:lstStyle/>
            <a:p>
              <a:endParaRPr lang="en-US"/>
            </a:p>
          </p:txBody>
        </p:sp>
        <p:sp>
          <p:nvSpPr>
            <p:cNvPr id="14" name="Rectangle 7">
              <a:extLst>
                <a:ext uri="{FF2B5EF4-FFF2-40B4-BE49-F238E27FC236}">
                  <a16:creationId xmlns:a16="http://schemas.microsoft.com/office/drawing/2014/main" id="{AFB3E84A-84A5-4AAF-85FF-6D82192A6750}"/>
                </a:ext>
              </a:extLst>
            </p:cNvPr>
            <p:cNvSpPr>
              <a:spLocks noChangeArrowheads="1"/>
            </p:cNvSpPr>
            <p:nvPr/>
          </p:nvSpPr>
          <p:spPr bwMode="auto">
            <a:xfrm>
              <a:off x="2736" y="2578"/>
              <a:ext cx="291" cy="179"/>
            </a:xfrm>
            <a:prstGeom prst="rect">
              <a:avLst/>
            </a:prstGeom>
            <a:noFill/>
            <a:ln w="6350">
              <a:noFill/>
              <a:miter lim="800000"/>
              <a:headEnd/>
              <a:tailEnd/>
            </a:ln>
            <a:effectLst/>
          </p:spPr>
          <p:txBody>
            <a:bodyPr wrap="none" lIns="45720" rIns="45720"/>
            <a:lstStyle/>
            <a:p>
              <a:pPr marL="209550" indent="-209550" algn="ctr" defTabSz="922338" eaLnBrk="0" hangingPunct="0"/>
              <a:r>
                <a:rPr lang="en-GB" b="1" dirty="0">
                  <a:solidFill>
                    <a:schemeClr val="bg1"/>
                  </a:solidFill>
                </a:rPr>
                <a:t>Text</a:t>
              </a:r>
            </a:p>
          </p:txBody>
        </p:sp>
        <p:sp>
          <p:nvSpPr>
            <p:cNvPr id="15" name="Rectangle 8">
              <a:extLst>
                <a:ext uri="{FF2B5EF4-FFF2-40B4-BE49-F238E27FC236}">
                  <a16:creationId xmlns:a16="http://schemas.microsoft.com/office/drawing/2014/main" id="{C88974E8-5773-4926-9D71-ED83327EB30F}"/>
                </a:ext>
              </a:extLst>
            </p:cNvPr>
            <p:cNvSpPr>
              <a:spLocks noChangeArrowheads="1"/>
            </p:cNvSpPr>
            <p:nvPr/>
          </p:nvSpPr>
          <p:spPr bwMode="auto">
            <a:xfrm>
              <a:off x="2736" y="3185"/>
              <a:ext cx="291" cy="179"/>
            </a:xfrm>
            <a:prstGeom prst="rect">
              <a:avLst/>
            </a:prstGeom>
            <a:noFill/>
            <a:ln w="6350">
              <a:noFill/>
              <a:miter lim="800000"/>
              <a:headEnd/>
              <a:tailEnd/>
            </a:ln>
            <a:effectLst/>
          </p:spPr>
          <p:txBody>
            <a:bodyPr wrap="none" lIns="45720" rIns="45720"/>
            <a:lstStyle/>
            <a:p>
              <a:pPr marL="209550" indent="-209550" algn="ctr" defTabSz="922338" eaLnBrk="0" hangingPunct="0"/>
              <a:r>
                <a:rPr lang="en-GB" b="1">
                  <a:solidFill>
                    <a:schemeClr val="bg1"/>
                  </a:solidFill>
                </a:rPr>
                <a:t>Text</a:t>
              </a:r>
            </a:p>
          </p:txBody>
        </p:sp>
        <p:sp>
          <p:nvSpPr>
            <p:cNvPr id="16" name="AutoShape 9">
              <a:extLst>
                <a:ext uri="{FF2B5EF4-FFF2-40B4-BE49-F238E27FC236}">
                  <a16:creationId xmlns:a16="http://schemas.microsoft.com/office/drawing/2014/main" id="{54B0FAA4-8107-4269-89A9-2A0A82E71E17}"/>
                </a:ext>
              </a:extLst>
            </p:cNvPr>
            <p:cNvSpPr>
              <a:spLocks noChangeArrowheads="1"/>
            </p:cNvSpPr>
            <p:nvPr/>
          </p:nvSpPr>
          <p:spPr bwMode="auto">
            <a:xfrm rot="5400000">
              <a:off x="2512" y="1148"/>
              <a:ext cx="739" cy="1756"/>
            </a:xfrm>
            <a:prstGeom prst="homePlate">
              <a:avLst>
                <a:gd name="adj" fmla="val 26255"/>
              </a:avLst>
            </a:prstGeom>
            <a:solidFill>
              <a:schemeClr val="accent3"/>
            </a:solidFill>
            <a:ln w="6350" cap="rnd">
              <a:noFill/>
              <a:miter lim="800000"/>
              <a:headEnd/>
              <a:tailEnd/>
            </a:ln>
            <a:effectLst/>
          </p:spPr>
          <p:txBody>
            <a:bodyPr rot="10800000" vert="eaVert" wrap="none" lIns="45720" rIns="45720" anchor="ctr"/>
            <a:lstStyle/>
            <a:p>
              <a:pPr algn="ctr" eaLnBrk="0" hangingPunct="0"/>
              <a:r>
                <a:rPr lang="en-US" b="1" dirty="0">
                  <a:solidFill>
                    <a:schemeClr val="bg1"/>
                  </a:solidFill>
                </a:rPr>
                <a:t>Text</a:t>
              </a:r>
            </a:p>
          </p:txBody>
        </p:sp>
      </p:grpSp>
      <p:sp>
        <p:nvSpPr>
          <p:cNvPr id="5" name="Footer Placeholder 4">
            <a:extLst>
              <a:ext uri="{FF2B5EF4-FFF2-40B4-BE49-F238E27FC236}">
                <a16:creationId xmlns:a16="http://schemas.microsoft.com/office/drawing/2014/main" id="{D8D300FD-8A72-493A-8CB6-64852853A5FE}"/>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A4903F5D-C495-4E5F-ABD9-B0B0CDA8804F}"/>
              </a:ext>
            </a:extLst>
          </p:cNvPr>
          <p:cNvSpPr>
            <a:spLocks noGrp="1"/>
          </p:cNvSpPr>
          <p:nvPr>
            <p:ph type="sldNum" sz="quarter" idx="10"/>
          </p:nvPr>
        </p:nvSpPr>
        <p:spPr/>
        <p:txBody>
          <a:bodyPr/>
          <a:lstStyle/>
          <a:p>
            <a:fld id="{1F90F471-3972-4120-B8B3-0237DE626C35}" type="slidenum">
              <a:rPr lang="en-US" smtClean="0"/>
              <a:pPr/>
              <a:t>207</a:t>
            </a:fld>
            <a:endParaRPr lang="en-US" dirty="0"/>
          </a:p>
        </p:txBody>
      </p:sp>
    </p:spTree>
    <p:extLst>
      <p:ext uri="{BB962C8B-B14F-4D97-AF65-F5344CB8AC3E}">
        <p14:creationId xmlns:p14="http://schemas.microsoft.com/office/powerpoint/2010/main" val="1813434856"/>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Steps – Descending 1</a:t>
            </a:r>
          </a:p>
        </p:txBody>
      </p:sp>
      <p:grpSp>
        <p:nvGrpSpPr>
          <p:cNvPr id="12" name="Group 4" descr="Add text and order accordingly">
            <a:extLst>
              <a:ext uri="{FF2B5EF4-FFF2-40B4-BE49-F238E27FC236}">
                <a16:creationId xmlns:a16="http://schemas.microsoft.com/office/drawing/2014/main" id="{B4C83122-CBBC-4696-A98A-4D5C07F92560}"/>
              </a:ext>
            </a:extLst>
          </p:cNvPr>
          <p:cNvGrpSpPr>
            <a:grpSpLocks/>
          </p:cNvGrpSpPr>
          <p:nvPr/>
        </p:nvGrpSpPr>
        <p:grpSpPr bwMode="auto">
          <a:xfrm>
            <a:off x="345019" y="1879896"/>
            <a:ext cx="11512020" cy="3776400"/>
            <a:chOff x="202" y="1457"/>
            <a:chExt cx="5359" cy="2653"/>
          </a:xfrm>
          <a:solidFill>
            <a:schemeClr val="accent6"/>
          </a:solidFill>
        </p:grpSpPr>
        <p:sp>
          <p:nvSpPr>
            <p:cNvPr id="13" name="AutoShape 5">
              <a:extLst>
                <a:ext uri="{FF2B5EF4-FFF2-40B4-BE49-F238E27FC236}">
                  <a16:creationId xmlns:a16="http://schemas.microsoft.com/office/drawing/2014/main" id="{573B272D-4473-457B-86A9-D9C204BE6864}"/>
                </a:ext>
              </a:extLst>
            </p:cNvPr>
            <p:cNvSpPr>
              <a:spLocks noChangeArrowheads="1"/>
            </p:cNvSpPr>
            <p:nvPr/>
          </p:nvSpPr>
          <p:spPr bwMode="auto">
            <a:xfrm>
              <a:off x="4534" y="3621"/>
              <a:ext cx="1027" cy="489"/>
            </a:xfrm>
            <a:prstGeom prst="homePlate">
              <a:avLst>
                <a:gd name="adj" fmla="val 13399"/>
              </a:avLst>
            </a:prstGeom>
            <a:solidFill>
              <a:schemeClr val="accent4"/>
            </a:solidFill>
            <a:ln w="19050" cap="rnd">
              <a:solidFill>
                <a:schemeClr val="bg1"/>
              </a:solidFill>
              <a:miter lim="800000"/>
              <a:headEnd/>
              <a:tailEnd/>
            </a:ln>
            <a:effectLst/>
          </p:spPr>
          <p:txBody>
            <a:bodyPr wrap="none" lIns="180000" tIns="72000" rIns="72000" bIns="72000" anchor="ctr"/>
            <a:lstStyle/>
            <a:p>
              <a:pPr algn="l" eaLnBrk="0" hangingPunct="0"/>
              <a:r>
                <a:rPr lang="en-GB" sz="1400" b="1">
                  <a:solidFill>
                    <a:schemeClr val="bg1"/>
                  </a:solidFill>
                </a:rPr>
                <a:t>Text</a:t>
              </a:r>
            </a:p>
          </p:txBody>
        </p:sp>
        <p:sp>
          <p:nvSpPr>
            <p:cNvPr id="14" name="AutoShape 6">
              <a:extLst>
                <a:ext uri="{FF2B5EF4-FFF2-40B4-BE49-F238E27FC236}">
                  <a16:creationId xmlns:a16="http://schemas.microsoft.com/office/drawing/2014/main" id="{FA83883D-23B6-4DBA-B144-A9011BA213A3}"/>
                </a:ext>
              </a:extLst>
            </p:cNvPr>
            <p:cNvSpPr>
              <a:spLocks noChangeArrowheads="1"/>
            </p:cNvSpPr>
            <p:nvPr/>
          </p:nvSpPr>
          <p:spPr bwMode="auto">
            <a:xfrm>
              <a:off x="3666" y="3187"/>
              <a:ext cx="1030" cy="491"/>
            </a:xfrm>
            <a:prstGeom prst="homePlate">
              <a:avLst>
                <a:gd name="adj" fmla="val 13393"/>
              </a:avLst>
            </a:prstGeom>
            <a:solidFill>
              <a:schemeClr val="accent5"/>
            </a:solidFill>
            <a:ln w="19050" cap="rnd">
              <a:solidFill>
                <a:schemeClr val="bg1"/>
              </a:solidFill>
              <a:miter lim="800000"/>
              <a:headEnd/>
              <a:tailEnd/>
            </a:ln>
            <a:effectLst/>
          </p:spPr>
          <p:txBody>
            <a:bodyPr wrap="none" lIns="180000" tIns="72000" rIns="72000" bIns="72000" anchor="ctr"/>
            <a:lstStyle/>
            <a:p>
              <a:pPr algn="l" eaLnBrk="0" hangingPunct="0"/>
              <a:r>
                <a:rPr lang="en-GB" sz="1400" b="1"/>
                <a:t>Text</a:t>
              </a:r>
            </a:p>
          </p:txBody>
        </p:sp>
        <p:sp>
          <p:nvSpPr>
            <p:cNvPr id="15" name="AutoShape 7">
              <a:extLst>
                <a:ext uri="{FF2B5EF4-FFF2-40B4-BE49-F238E27FC236}">
                  <a16:creationId xmlns:a16="http://schemas.microsoft.com/office/drawing/2014/main" id="{D2B16384-1203-4714-9071-5304BA1D26CA}"/>
                </a:ext>
              </a:extLst>
            </p:cNvPr>
            <p:cNvSpPr>
              <a:spLocks noChangeArrowheads="1"/>
            </p:cNvSpPr>
            <p:nvPr/>
          </p:nvSpPr>
          <p:spPr bwMode="auto">
            <a:xfrm>
              <a:off x="2801" y="2755"/>
              <a:ext cx="1027" cy="489"/>
            </a:xfrm>
            <a:prstGeom prst="homePlate">
              <a:avLst>
                <a:gd name="adj" fmla="val 13399"/>
              </a:avLst>
            </a:prstGeom>
            <a:solidFill>
              <a:schemeClr val="accent6"/>
            </a:solidFill>
            <a:ln w="19050" cap="rnd">
              <a:solidFill>
                <a:schemeClr val="bg1"/>
              </a:solidFill>
              <a:miter lim="800000"/>
              <a:headEnd/>
              <a:tailEnd/>
            </a:ln>
            <a:effectLst/>
          </p:spPr>
          <p:txBody>
            <a:bodyPr wrap="none" lIns="180000" tIns="72000" rIns="72000" bIns="72000" anchor="ctr"/>
            <a:lstStyle/>
            <a:p>
              <a:pPr algn="l" eaLnBrk="0" hangingPunct="0"/>
              <a:r>
                <a:rPr lang="en-GB" sz="1400" b="1"/>
                <a:t>Text</a:t>
              </a:r>
            </a:p>
          </p:txBody>
        </p:sp>
        <p:sp>
          <p:nvSpPr>
            <p:cNvPr id="16" name="AutoShape 8">
              <a:extLst>
                <a:ext uri="{FF2B5EF4-FFF2-40B4-BE49-F238E27FC236}">
                  <a16:creationId xmlns:a16="http://schemas.microsoft.com/office/drawing/2014/main" id="{17E6149A-6E3B-4199-9CB4-91834A2ACFDC}"/>
                </a:ext>
              </a:extLst>
            </p:cNvPr>
            <p:cNvSpPr>
              <a:spLocks noChangeArrowheads="1"/>
            </p:cNvSpPr>
            <p:nvPr/>
          </p:nvSpPr>
          <p:spPr bwMode="auto">
            <a:xfrm>
              <a:off x="1935" y="2322"/>
              <a:ext cx="1027" cy="489"/>
            </a:xfrm>
            <a:prstGeom prst="homePlate">
              <a:avLst>
                <a:gd name="adj" fmla="val 13399"/>
              </a:avLst>
            </a:prstGeom>
            <a:solidFill>
              <a:schemeClr val="accent1"/>
            </a:solidFill>
            <a:ln w="19050" cap="rnd">
              <a:solidFill>
                <a:schemeClr val="bg1"/>
              </a:solidFill>
              <a:miter lim="800000"/>
              <a:headEnd/>
              <a:tailEnd/>
            </a:ln>
            <a:effectLst/>
          </p:spPr>
          <p:txBody>
            <a:bodyPr wrap="none" lIns="180000" tIns="72000" rIns="72000" bIns="72000" anchor="ctr"/>
            <a:lstStyle/>
            <a:p>
              <a:pPr algn="l" eaLnBrk="0" hangingPunct="0"/>
              <a:r>
                <a:rPr lang="en-GB" sz="1400" b="1">
                  <a:solidFill>
                    <a:schemeClr val="bg1"/>
                  </a:solidFill>
                </a:rPr>
                <a:t>Text</a:t>
              </a:r>
            </a:p>
          </p:txBody>
        </p:sp>
        <p:sp>
          <p:nvSpPr>
            <p:cNvPr id="17" name="AutoShape 9">
              <a:extLst>
                <a:ext uri="{FF2B5EF4-FFF2-40B4-BE49-F238E27FC236}">
                  <a16:creationId xmlns:a16="http://schemas.microsoft.com/office/drawing/2014/main" id="{42CC9FA1-1EB4-44F8-866C-76E8A0AEE937}"/>
                </a:ext>
              </a:extLst>
            </p:cNvPr>
            <p:cNvSpPr>
              <a:spLocks noChangeArrowheads="1"/>
            </p:cNvSpPr>
            <p:nvPr/>
          </p:nvSpPr>
          <p:spPr bwMode="auto">
            <a:xfrm>
              <a:off x="1069" y="1890"/>
              <a:ext cx="1028" cy="489"/>
            </a:xfrm>
            <a:prstGeom prst="homePlate">
              <a:avLst>
                <a:gd name="adj" fmla="val 13402"/>
              </a:avLst>
            </a:prstGeom>
            <a:solidFill>
              <a:schemeClr val="accent2"/>
            </a:solidFill>
            <a:ln w="19050" cap="rnd">
              <a:solidFill>
                <a:schemeClr val="bg1"/>
              </a:solidFill>
              <a:miter lim="800000"/>
              <a:headEnd/>
              <a:tailEnd/>
            </a:ln>
            <a:effectLst/>
          </p:spPr>
          <p:txBody>
            <a:bodyPr wrap="none" lIns="180000" tIns="72000" rIns="72000" bIns="72000" anchor="ctr"/>
            <a:lstStyle/>
            <a:p>
              <a:pPr algn="l" eaLnBrk="0" hangingPunct="0"/>
              <a:r>
                <a:rPr lang="en-GB" sz="1400" b="1">
                  <a:solidFill>
                    <a:schemeClr val="bg1"/>
                  </a:solidFill>
                </a:rPr>
                <a:t>Text</a:t>
              </a:r>
            </a:p>
          </p:txBody>
        </p:sp>
        <p:sp>
          <p:nvSpPr>
            <p:cNvPr id="18" name="AutoShape 10">
              <a:extLst>
                <a:ext uri="{FF2B5EF4-FFF2-40B4-BE49-F238E27FC236}">
                  <a16:creationId xmlns:a16="http://schemas.microsoft.com/office/drawing/2014/main" id="{C069DD61-7244-4B22-B0C6-C519C3072228}"/>
                </a:ext>
              </a:extLst>
            </p:cNvPr>
            <p:cNvSpPr>
              <a:spLocks noChangeArrowheads="1"/>
            </p:cNvSpPr>
            <p:nvPr/>
          </p:nvSpPr>
          <p:spPr bwMode="auto">
            <a:xfrm>
              <a:off x="202" y="1457"/>
              <a:ext cx="1027" cy="489"/>
            </a:xfrm>
            <a:prstGeom prst="homePlate">
              <a:avLst>
                <a:gd name="adj" fmla="val 13399"/>
              </a:avLst>
            </a:prstGeom>
            <a:solidFill>
              <a:schemeClr val="accent3"/>
            </a:solidFill>
            <a:ln w="19050" cap="rnd">
              <a:solidFill>
                <a:schemeClr val="bg1"/>
              </a:solidFill>
              <a:miter lim="800000"/>
              <a:headEnd/>
              <a:tailEnd/>
            </a:ln>
            <a:effectLst/>
          </p:spPr>
          <p:txBody>
            <a:bodyPr wrap="none" lIns="180000" tIns="72000" rIns="72000" bIns="72000" anchor="ctr"/>
            <a:lstStyle/>
            <a:p>
              <a:pPr algn="l" eaLnBrk="0" hangingPunct="0"/>
              <a:r>
                <a:rPr lang="en-GB" sz="1400" b="1" dirty="0">
                  <a:solidFill>
                    <a:schemeClr val="bg1"/>
                  </a:solidFill>
                </a:rPr>
                <a:t>Text</a:t>
              </a:r>
            </a:p>
          </p:txBody>
        </p:sp>
      </p:grpSp>
      <p:sp>
        <p:nvSpPr>
          <p:cNvPr id="5" name="Footer Placeholder 4">
            <a:extLst>
              <a:ext uri="{FF2B5EF4-FFF2-40B4-BE49-F238E27FC236}">
                <a16:creationId xmlns:a16="http://schemas.microsoft.com/office/drawing/2014/main" id="{28D0A4E4-94F6-459F-BF1B-8D7A1E0C1D4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007112D8-938D-4DB6-AFBF-EB68C5E72CAE}"/>
              </a:ext>
            </a:extLst>
          </p:cNvPr>
          <p:cNvSpPr>
            <a:spLocks noGrp="1"/>
          </p:cNvSpPr>
          <p:nvPr>
            <p:ph type="sldNum" sz="quarter" idx="10"/>
          </p:nvPr>
        </p:nvSpPr>
        <p:spPr/>
        <p:txBody>
          <a:bodyPr/>
          <a:lstStyle/>
          <a:p>
            <a:fld id="{1F90F471-3972-4120-B8B3-0237DE626C35}" type="slidenum">
              <a:rPr lang="en-US" smtClean="0"/>
              <a:pPr/>
              <a:t>208</a:t>
            </a:fld>
            <a:endParaRPr lang="en-US" dirty="0"/>
          </a:p>
        </p:txBody>
      </p:sp>
    </p:spTree>
    <p:extLst>
      <p:ext uri="{BB962C8B-B14F-4D97-AF65-F5344CB8AC3E}">
        <p14:creationId xmlns:p14="http://schemas.microsoft.com/office/powerpoint/2010/main" val="3679837098"/>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Steps – Descending 2</a:t>
            </a:r>
          </a:p>
        </p:txBody>
      </p:sp>
      <p:grpSp>
        <p:nvGrpSpPr>
          <p:cNvPr id="5" name="Group 4" descr="Add text and order accordingly">
            <a:extLst>
              <a:ext uri="{FF2B5EF4-FFF2-40B4-BE49-F238E27FC236}">
                <a16:creationId xmlns:a16="http://schemas.microsoft.com/office/drawing/2014/main" id="{54C8FDDF-B749-45B1-9F93-4DF88749E92B}"/>
              </a:ext>
            </a:extLst>
          </p:cNvPr>
          <p:cNvGrpSpPr/>
          <p:nvPr/>
        </p:nvGrpSpPr>
        <p:grpSpPr>
          <a:xfrm>
            <a:off x="381000" y="1834150"/>
            <a:ext cx="11429366" cy="3780000"/>
            <a:chOff x="345018" y="1834151"/>
            <a:chExt cx="11510432" cy="3775097"/>
          </a:xfrm>
        </p:grpSpPr>
        <p:sp>
          <p:nvSpPr>
            <p:cNvPr id="6" name="Rectangle 3">
              <a:extLst>
                <a:ext uri="{FF2B5EF4-FFF2-40B4-BE49-F238E27FC236}">
                  <a16:creationId xmlns:a16="http://schemas.microsoft.com/office/drawing/2014/main" id="{A053FC23-3B6B-47E4-B9DD-6C566C6490A5}"/>
                </a:ext>
              </a:extLst>
            </p:cNvPr>
            <p:cNvSpPr>
              <a:spLocks noChangeArrowheads="1"/>
            </p:cNvSpPr>
            <p:nvPr/>
          </p:nvSpPr>
          <p:spPr bwMode="auto">
            <a:xfrm>
              <a:off x="345018" y="1834151"/>
              <a:ext cx="2795015" cy="720000"/>
            </a:xfrm>
            <a:prstGeom prst="rect">
              <a:avLst/>
            </a:prstGeom>
            <a:solidFill>
              <a:schemeClr val="accent3"/>
            </a:solidFill>
            <a:ln w="6350" cap="rnd">
              <a:no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rPr>
                <a:t>Text</a:t>
              </a:r>
            </a:p>
          </p:txBody>
        </p:sp>
        <p:sp>
          <p:nvSpPr>
            <p:cNvPr id="7" name="Rectangle 4">
              <a:extLst>
                <a:ext uri="{FF2B5EF4-FFF2-40B4-BE49-F238E27FC236}">
                  <a16:creationId xmlns:a16="http://schemas.microsoft.com/office/drawing/2014/main" id="{C21B0C8C-8C1C-4367-876C-5C6363EF50F1}"/>
                </a:ext>
              </a:extLst>
            </p:cNvPr>
            <p:cNvSpPr>
              <a:spLocks noChangeArrowheads="1"/>
            </p:cNvSpPr>
            <p:nvPr/>
          </p:nvSpPr>
          <p:spPr bwMode="auto">
            <a:xfrm>
              <a:off x="2522385" y="2597925"/>
              <a:ext cx="2795015" cy="720000"/>
            </a:xfrm>
            <a:prstGeom prst="rect">
              <a:avLst/>
            </a:prstGeom>
            <a:solidFill>
              <a:schemeClr val="accent2"/>
            </a:solidFill>
            <a:ln w="6350" cap="rnd">
              <a:no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rPr>
                <a:t>Text</a:t>
              </a:r>
            </a:p>
          </p:txBody>
        </p:sp>
        <p:sp>
          <p:nvSpPr>
            <p:cNvPr id="8" name="Rectangle 5">
              <a:extLst>
                <a:ext uri="{FF2B5EF4-FFF2-40B4-BE49-F238E27FC236}">
                  <a16:creationId xmlns:a16="http://schemas.microsoft.com/office/drawing/2014/main" id="{39937A53-E20D-4112-9B5D-D494F774B8F6}"/>
                </a:ext>
              </a:extLst>
            </p:cNvPr>
            <p:cNvSpPr>
              <a:spLocks noChangeArrowheads="1"/>
            </p:cNvSpPr>
            <p:nvPr/>
          </p:nvSpPr>
          <p:spPr bwMode="auto">
            <a:xfrm>
              <a:off x="4703718" y="3361699"/>
              <a:ext cx="2795015" cy="720000"/>
            </a:xfrm>
            <a:prstGeom prst="rect">
              <a:avLst/>
            </a:prstGeom>
            <a:solidFill>
              <a:schemeClr val="accent1"/>
            </a:solidFill>
            <a:ln w="6350" cap="rnd">
              <a:no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rPr>
                <a:t>Text</a:t>
              </a:r>
            </a:p>
          </p:txBody>
        </p:sp>
        <p:sp>
          <p:nvSpPr>
            <p:cNvPr id="9" name="Rectangle 6">
              <a:extLst>
                <a:ext uri="{FF2B5EF4-FFF2-40B4-BE49-F238E27FC236}">
                  <a16:creationId xmlns:a16="http://schemas.microsoft.com/office/drawing/2014/main" id="{A9D1E1B0-DCD0-45A3-A436-5744C49AF267}"/>
                </a:ext>
              </a:extLst>
            </p:cNvPr>
            <p:cNvSpPr>
              <a:spLocks noChangeArrowheads="1"/>
            </p:cNvSpPr>
            <p:nvPr/>
          </p:nvSpPr>
          <p:spPr bwMode="auto">
            <a:xfrm>
              <a:off x="6881085" y="4125473"/>
              <a:ext cx="2795015" cy="720000"/>
            </a:xfrm>
            <a:prstGeom prst="rect">
              <a:avLst/>
            </a:prstGeom>
            <a:solidFill>
              <a:schemeClr val="accent5"/>
            </a:solidFill>
            <a:ln w="6350" cap="rnd">
              <a:no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effectLst/>
                  <a:uLnTx/>
                  <a:uFillTx/>
                  <a:latin typeface="Arial"/>
                  <a:ea typeface="+mn-ea"/>
                  <a:cs typeface="+mn-cs"/>
                </a:rPr>
                <a:t>Text</a:t>
              </a:r>
            </a:p>
          </p:txBody>
        </p:sp>
        <p:sp>
          <p:nvSpPr>
            <p:cNvPr id="10" name="Rectangle 7">
              <a:extLst>
                <a:ext uri="{FF2B5EF4-FFF2-40B4-BE49-F238E27FC236}">
                  <a16:creationId xmlns:a16="http://schemas.microsoft.com/office/drawing/2014/main" id="{07EF3F30-77BD-4492-8C63-6D2973B3E081}"/>
                </a:ext>
              </a:extLst>
            </p:cNvPr>
            <p:cNvSpPr>
              <a:spLocks noChangeArrowheads="1"/>
            </p:cNvSpPr>
            <p:nvPr/>
          </p:nvSpPr>
          <p:spPr bwMode="auto">
            <a:xfrm>
              <a:off x="9060435" y="4889248"/>
              <a:ext cx="2795015" cy="720000"/>
            </a:xfrm>
            <a:prstGeom prst="rect">
              <a:avLst/>
            </a:prstGeom>
            <a:solidFill>
              <a:schemeClr val="accent6"/>
            </a:solidFill>
            <a:ln w="6350" cap="rnd">
              <a:no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effectLst/>
                  <a:uLnTx/>
                  <a:uFillTx/>
                  <a:latin typeface="Arial"/>
                  <a:ea typeface="+mn-ea"/>
                  <a:cs typeface="+mn-cs"/>
                </a:rPr>
                <a:t>Text</a:t>
              </a:r>
            </a:p>
          </p:txBody>
        </p:sp>
      </p:grpSp>
      <p:sp>
        <p:nvSpPr>
          <p:cNvPr id="12" name="Footer Placeholder 11">
            <a:extLst>
              <a:ext uri="{FF2B5EF4-FFF2-40B4-BE49-F238E27FC236}">
                <a16:creationId xmlns:a16="http://schemas.microsoft.com/office/drawing/2014/main" id="{BF23B5E7-4FCB-426F-93BE-89AD1935057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3" name="Slide Number Placeholder 12">
            <a:extLst>
              <a:ext uri="{FF2B5EF4-FFF2-40B4-BE49-F238E27FC236}">
                <a16:creationId xmlns:a16="http://schemas.microsoft.com/office/drawing/2014/main" id="{4BD98DC3-9ED7-4B2A-BE12-74DD21366274}"/>
              </a:ext>
            </a:extLst>
          </p:cNvPr>
          <p:cNvSpPr>
            <a:spLocks noGrp="1"/>
          </p:cNvSpPr>
          <p:nvPr>
            <p:ph type="sldNum" sz="quarter" idx="10"/>
          </p:nvPr>
        </p:nvSpPr>
        <p:spPr/>
        <p:txBody>
          <a:bodyPr/>
          <a:lstStyle/>
          <a:p>
            <a:fld id="{1F90F471-3972-4120-B8B3-0237DE626C35}" type="slidenum">
              <a:rPr lang="en-US" smtClean="0"/>
              <a:pPr/>
              <a:t>209</a:t>
            </a:fld>
            <a:endParaRPr lang="en-US" dirty="0"/>
          </a:p>
        </p:txBody>
      </p:sp>
    </p:spTree>
    <p:extLst>
      <p:ext uri="{BB962C8B-B14F-4D97-AF65-F5344CB8AC3E}">
        <p14:creationId xmlns:p14="http://schemas.microsoft.com/office/powerpoint/2010/main" val="5953355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ED86CE-216B-4B9A-B879-0CC10BF2F491}"/>
              </a:ext>
            </a:extLst>
          </p:cNvPr>
          <p:cNvSpPr>
            <a:spLocks noGrp="1"/>
          </p:cNvSpPr>
          <p:nvPr>
            <p:ph type="ctrTitle"/>
          </p:nvPr>
        </p:nvSpPr>
        <p:spPr/>
        <p:txBody>
          <a:bodyPr/>
          <a:lstStyle/>
          <a:p>
            <a:r>
              <a:rPr lang="en-GB" dirty="0"/>
              <a:t>Place presentation title here 48pt </a:t>
            </a:r>
            <a:endParaRPr lang="en-US" dirty="0"/>
          </a:p>
        </p:txBody>
      </p:sp>
      <p:sp>
        <p:nvSpPr>
          <p:cNvPr id="4" name="Text Placeholder 3">
            <a:extLst>
              <a:ext uri="{FF2B5EF4-FFF2-40B4-BE49-F238E27FC236}">
                <a16:creationId xmlns:a16="http://schemas.microsoft.com/office/drawing/2014/main" id="{10E237F7-F035-4196-9427-E33DFA35E659}"/>
              </a:ext>
            </a:extLst>
          </p:cNvPr>
          <p:cNvSpPr>
            <a:spLocks noGrp="1"/>
          </p:cNvSpPr>
          <p:nvPr>
            <p:ph type="body" sz="quarter" idx="13"/>
          </p:nvPr>
        </p:nvSpPr>
        <p:spPr/>
        <p:txBody>
          <a:bodyPr/>
          <a:lstStyle/>
          <a:p>
            <a:r>
              <a:rPr lang="en-GB" dirty="0"/>
              <a:t>Place subtitle here in GT Sectra Fine </a:t>
            </a:r>
            <a:r>
              <a:rPr lang="en-GB" dirty="0" err="1"/>
              <a:t>Rg</a:t>
            </a:r>
            <a:r>
              <a:rPr lang="en-GB" dirty="0"/>
              <a:t> 24pt</a:t>
            </a:r>
            <a:endParaRPr lang="en-US" dirty="0"/>
          </a:p>
        </p:txBody>
      </p:sp>
      <p:sp>
        <p:nvSpPr>
          <p:cNvPr id="3" name="Text Placeholder 2">
            <a:extLst>
              <a:ext uri="{FF2B5EF4-FFF2-40B4-BE49-F238E27FC236}">
                <a16:creationId xmlns:a16="http://schemas.microsoft.com/office/drawing/2014/main" id="{7A60FF96-33BF-4255-A9C9-20A81D8B980E}"/>
              </a:ext>
            </a:extLst>
          </p:cNvPr>
          <p:cNvSpPr>
            <a:spLocks noGrp="1"/>
          </p:cNvSpPr>
          <p:nvPr>
            <p:ph type="body" sz="quarter" idx="12"/>
          </p:nvPr>
        </p:nvSpPr>
        <p:spPr/>
        <p:txBody>
          <a:bodyPr/>
          <a:lstStyle/>
          <a:p>
            <a:r>
              <a:rPr lang="en-US" dirty="0"/>
              <a:t>Presenter 14pt</a:t>
            </a:r>
          </a:p>
        </p:txBody>
      </p:sp>
    </p:spTree>
    <p:extLst>
      <p:ext uri="{BB962C8B-B14F-4D97-AF65-F5344CB8AC3E}">
        <p14:creationId xmlns:p14="http://schemas.microsoft.com/office/powerpoint/2010/main" val="696096207"/>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Steps – Descending 3</a:t>
            </a:r>
          </a:p>
        </p:txBody>
      </p:sp>
      <p:sp>
        <p:nvSpPr>
          <p:cNvPr id="21" name="AutoShape 13">
            <a:extLst>
              <a:ext uri="{FF2B5EF4-FFF2-40B4-BE49-F238E27FC236}">
                <a16:creationId xmlns:a16="http://schemas.microsoft.com/office/drawing/2014/main" id="{CB3B7819-C0D2-45B2-87FB-C156A46B48BB}"/>
              </a:ext>
            </a:extLst>
          </p:cNvPr>
          <p:cNvSpPr>
            <a:spLocks noChangeArrowheads="1"/>
          </p:cNvSpPr>
          <p:nvPr/>
        </p:nvSpPr>
        <p:spPr bwMode="auto">
          <a:xfrm>
            <a:off x="1822450" y="1592263"/>
            <a:ext cx="2397173" cy="1064545"/>
          </a:xfrm>
          <a:prstGeom prst="homePlate">
            <a:avLst>
              <a:gd name="adj" fmla="val 16410"/>
            </a:avLst>
          </a:prstGeom>
          <a:solidFill>
            <a:schemeClr val="accent3"/>
          </a:solidFill>
          <a:ln w="9525" algn="ctr">
            <a:noFill/>
            <a:miter lim="800000"/>
            <a:headEnd/>
            <a:tailEnd/>
          </a:ln>
        </p:spPr>
        <p:txBody>
          <a:bodyPr lIns="180000" rIns="108000" anchor="ctr"/>
          <a:lstStyle/>
          <a:p>
            <a:pPr algn="l" eaLnBrk="0" hangingPunct="0">
              <a:spcBef>
                <a:spcPct val="20000"/>
              </a:spcBef>
              <a:buClrTx/>
              <a:buFontTx/>
              <a:buNone/>
            </a:pPr>
            <a:r>
              <a:rPr lang="de-DE" sz="1600" b="1" dirty="0">
                <a:solidFill>
                  <a:schemeClr val="bg1"/>
                </a:solidFill>
                <a:latin typeface="+mj-lt"/>
              </a:rPr>
              <a:t>Text</a:t>
            </a:r>
          </a:p>
        </p:txBody>
      </p:sp>
      <p:sp>
        <p:nvSpPr>
          <p:cNvPr id="18" name="Freeform 7">
            <a:extLst>
              <a:ext uri="{FF2B5EF4-FFF2-40B4-BE49-F238E27FC236}">
                <a16:creationId xmlns:a16="http://schemas.microsoft.com/office/drawing/2014/main" id="{97B1E3AC-ED49-4CD9-9B42-4B5AAF0DDF9F}"/>
              </a:ext>
            </a:extLst>
          </p:cNvPr>
          <p:cNvSpPr>
            <a:spLocks/>
          </p:cNvSpPr>
          <p:nvPr/>
        </p:nvSpPr>
        <p:spPr bwMode="auto">
          <a:xfrm>
            <a:off x="4134453" y="1592263"/>
            <a:ext cx="6238273" cy="1064545"/>
          </a:xfrm>
          <a:custGeom>
            <a:avLst/>
            <a:gdLst>
              <a:gd name="T0" fmla="*/ 0 w 4038"/>
              <a:gd name="T1" fmla="*/ 0 h 678"/>
              <a:gd name="T2" fmla="*/ 102 w 4038"/>
              <a:gd name="T3" fmla="*/ 336 h 678"/>
              <a:gd name="T4" fmla="*/ 0 w 4038"/>
              <a:gd name="T5" fmla="*/ 678 h 678"/>
              <a:gd name="T6" fmla="*/ 4038 w 4038"/>
              <a:gd name="T7" fmla="*/ 678 h 678"/>
              <a:gd name="T8" fmla="*/ 4038 w 4038"/>
              <a:gd name="T9" fmla="*/ 0 h 678"/>
              <a:gd name="T10" fmla="*/ 0 w 4038"/>
              <a:gd name="T11" fmla="*/ 0 h 678"/>
              <a:gd name="T12" fmla="*/ 0 60000 65536"/>
              <a:gd name="T13" fmla="*/ 0 60000 65536"/>
              <a:gd name="T14" fmla="*/ 0 60000 65536"/>
              <a:gd name="T15" fmla="*/ 0 60000 65536"/>
              <a:gd name="T16" fmla="*/ 0 60000 65536"/>
              <a:gd name="T17" fmla="*/ 0 60000 65536"/>
              <a:gd name="T18" fmla="*/ 0 w 4038"/>
              <a:gd name="T19" fmla="*/ 0 h 678"/>
              <a:gd name="T20" fmla="*/ 4038 w 4038"/>
              <a:gd name="T21" fmla="*/ 678 h 678"/>
            </a:gdLst>
            <a:ahLst/>
            <a:cxnLst>
              <a:cxn ang="T12">
                <a:pos x="T0" y="T1"/>
              </a:cxn>
              <a:cxn ang="T13">
                <a:pos x="T2" y="T3"/>
              </a:cxn>
              <a:cxn ang="T14">
                <a:pos x="T4" y="T5"/>
              </a:cxn>
              <a:cxn ang="T15">
                <a:pos x="T6" y="T7"/>
              </a:cxn>
              <a:cxn ang="T16">
                <a:pos x="T8" y="T9"/>
              </a:cxn>
              <a:cxn ang="T17">
                <a:pos x="T10" y="T11"/>
              </a:cxn>
            </a:cxnLst>
            <a:rect l="T18" t="T19" r="T20" b="T21"/>
            <a:pathLst>
              <a:path w="4038" h="678">
                <a:moveTo>
                  <a:pt x="0" y="0"/>
                </a:moveTo>
                <a:lnTo>
                  <a:pt x="102" y="336"/>
                </a:lnTo>
                <a:lnTo>
                  <a:pt x="0" y="678"/>
                </a:lnTo>
                <a:lnTo>
                  <a:pt x="4038" y="678"/>
                </a:lnTo>
                <a:lnTo>
                  <a:pt x="4038" y="0"/>
                </a:lnTo>
                <a:lnTo>
                  <a:pt x="0" y="0"/>
                </a:lnTo>
                <a:close/>
              </a:path>
            </a:pathLst>
          </a:custGeom>
          <a:solidFill>
            <a:srgbClr val="E4E7E7"/>
          </a:solidFill>
          <a:ln w="9525" cap="flat" cmpd="sng">
            <a:noFill/>
            <a:prstDash val="solid"/>
            <a:round/>
            <a:headEnd type="none" w="sm" len="sm"/>
            <a:tailEnd type="none" w="sm" len="sm"/>
          </a:ln>
        </p:spPr>
        <p:txBody>
          <a:bodyPr wrap="none" lIns="396000" anchor="ctr"/>
          <a:lstStyle/>
          <a:p>
            <a:r>
              <a:rPr lang="en-US" dirty="0"/>
              <a:t>Text</a:t>
            </a:r>
          </a:p>
        </p:txBody>
      </p:sp>
      <p:cxnSp>
        <p:nvCxnSpPr>
          <p:cNvPr id="24" name="Connector: Elbow 23">
            <a:extLst>
              <a:ext uri="{FF2B5EF4-FFF2-40B4-BE49-F238E27FC236}">
                <a16:creationId xmlns:a16="http://schemas.microsoft.com/office/drawing/2014/main" id="{CDEB4841-D3F0-4354-8271-3FE56B55632A}"/>
              </a:ext>
              <a:ext uri="{C183D7F6-B498-43B3-948B-1728B52AA6E4}">
                <adec:decorative xmlns:adec="http://schemas.microsoft.com/office/drawing/2017/decorative" val="1"/>
              </a:ext>
            </a:extLst>
          </p:cNvPr>
          <p:cNvCxnSpPr/>
          <p:nvPr/>
        </p:nvCxnSpPr>
        <p:spPr>
          <a:xfrm rot="16200000" flipH="1">
            <a:off x="1957375" y="2731786"/>
            <a:ext cx="601930" cy="448948"/>
          </a:xfrm>
          <a:prstGeom prst="bentConnector2">
            <a:avLst/>
          </a:prstGeom>
          <a:ln w="1270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 name="AutoShape 11">
            <a:extLst>
              <a:ext uri="{FF2B5EF4-FFF2-40B4-BE49-F238E27FC236}">
                <a16:creationId xmlns:a16="http://schemas.microsoft.com/office/drawing/2014/main" id="{2F4A470A-C4CB-4342-B98E-831E8F49DF04}"/>
              </a:ext>
            </a:extLst>
          </p:cNvPr>
          <p:cNvSpPr>
            <a:spLocks noChangeArrowheads="1"/>
          </p:cNvSpPr>
          <p:nvPr/>
        </p:nvSpPr>
        <p:spPr bwMode="auto">
          <a:xfrm>
            <a:off x="2555580" y="2725708"/>
            <a:ext cx="2427270" cy="1064545"/>
          </a:xfrm>
          <a:prstGeom prst="homePlate">
            <a:avLst>
              <a:gd name="adj" fmla="val 14656"/>
            </a:avLst>
          </a:prstGeom>
          <a:solidFill>
            <a:schemeClr val="accent2"/>
          </a:solidFill>
          <a:ln w="9525" algn="ctr">
            <a:noFill/>
            <a:miter lim="800000"/>
            <a:headEnd/>
            <a:tailEnd/>
          </a:ln>
        </p:spPr>
        <p:txBody>
          <a:bodyPr lIns="180000" rIns="108000" anchor="ctr"/>
          <a:lstStyle/>
          <a:p>
            <a:pPr algn="l" eaLnBrk="0" hangingPunct="0">
              <a:spcBef>
                <a:spcPct val="20000"/>
              </a:spcBef>
              <a:buClrTx/>
              <a:buFontTx/>
              <a:buNone/>
            </a:pPr>
            <a:r>
              <a:rPr lang="de-DE" sz="1600" b="1" dirty="0">
                <a:solidFill>
                  <a:schemeClr val="bg1"/>
                </a:solidFill>
                <a:latin typeface="+mj-lt"/>
              </a:rPr>
              <a:t>Text</a:t>
            </a:r>
          </a:p>
        </p:txBody>
      </p:sp>
      <p:sp>
        <p:nvSpPr>
          <p:cNvPr id="23" name="Freeform 7">
            <a:extLst>
              <a:ext uri="{FF2B5EF4-FFF2-40B4-BE49-F238E27FC236}">
                <a16:creationId xmlns:a16="http://schemas.microsoft.com/office/drawing/2014/main" id="{5DB64371-5D41-4235-864C-454D44C15770}"/>
              </a:ext>
            </a:extLst>
          </p:cNvPr>
          <p:cNvSpPr>
            <a:spLocks/>
          </p:cNvSpPr>
          <p:nvPr/>
        </p:nvSpPr>
        <p:spPr bwMode="auto">
          <a:xfrm>
            <a:off x="4915047" y="2725708"/>
            <a:ext cx="5457679" cy="1064545"/>
          </a:xfrm>
          <a:custGeom>
            <a:avLst/>
            <a:gdLst>
              <a:gd name="T0" fmla="*/ 0 w 4038"/>
              <a:gd name="T1" fmla="*/ 0 h 678"/>
              <a:gd name="T2" fmla="*/ 102 w 4038"/>
              <a:gd name="T3" fmla="*/ 336 h 678"/>
              <a:gd name="T4" fmla="*/ 0 w 4038"/>
              <a:gd name="T5" fmla="*/ 678 h 678"/>
              <a:gd name="T6" fmla="*/ 4038 w 4038"/>
              <a:gd name="T7" fmla="*/ 678 h 678"/>
              <a:gd name="T8" fmla="*/ 4038 w 4038"/>
              <a:gd name="T9" fmla="*/ 0 h 678"/>
              <a:gd name="T10" fmla="*/ 0 w 4038"/>
              <a:gd name="T11" fmla="*/ 0 h 678"/>
              <a:gd name="T12" fmla="*/ 0 60000 65536"/>
              <a:gd name="T13" fmla="*/ 0 60000 65536"/>
              <a:gd name="T14" fmla="*/ 0 60000 65536"/>
              <a:gd name="T15" fmla="*/ 0 60000 65536"/>
              <a:gd name="T16" fmla="*/ 0 60000 65536"/>
              <a:gd name="T17" fmla="*/ 0 60000 65536"/>
              <a:gd name="T18" fmla="*/ 0 w 4038"/>
              <a:gd name="T19" fmla="*/ 0 h 678"/>
              <a:gd name="T20" fmla="*/ 4038 w 4038"/>
              <a:gd name="T21" fmla="*/ 678 h 678"/>
            </a:gdLst>
            <a:ahLst/>
            <a:cxnLst>
              <a:cxn ang="T12">
                <a:pos x="T0" y="T1"/>
              </a:cxn>
              <a:cxn ang="T13">
                <a:pos x="T2" y="T3"/>
              </a:cxn>
              <a:cxn ang="T14">
                <a:pos x="T4" y="T5"/>
              </a:cxn>
              <a:cxn ang="T15">
                <a:pos x="T6" y="T7"/>
              </a:cxn>
              <a:cxn ang="T16">
                <a:pos x="T8" y="T9"/>
              </a:cxn>
              <a:cxn ang="T17">
                <a:pos x="T10" y="T11"/>
              </a:cxn>
            </a:cxnLst>
            <a:rect l="T18" t="T19" r="T20" b="T21"/>
            <a:pathLst>
              <a:path w="4038" h="678">
                <a:moveTo>
                  <a:pt x="0" y="0"/>
                </a:moveTo>
                <a:lnTo>
                  <a:pt x="102" y="336"/>
                </a:lnTo>
                <a:lnTo>
                  <a:pt x="0" y="678"/>
                </a:lnTo>
                <a:lnTo>
                  <a:pt x="4038" y="678"/>
                </a:lnTo>
                <a:lnTo>
                  <a:pt x="4038" y="0"/>
                </a:lnTo>
                <a:lnTo>
                  <a:pt x="0" y="0"/>
                </a:lnTo>
                <a:close/>
              </a:path>
            </a:pathLst>
          </a:custGeom>
          <a:solidFill>
            <a:srgbClr val="E4E7E7"/>
          </a:solidFill>
          <a:ln w="9525" cap="flat" cmpd="sng">
            <a:noFill/>
            <a:prstDash val="solid"/>
            <a:round/>
            <a:headEnd type="none" w="sm" len="sm"/>
            <a:tailEnd type="none" w="sm" len="sm"/>
          </a:ln>
        </p:spPr>
        <p:txBody>
          <a:bodyPr wrap="none" lIns="396000" anchor="ctr"/>
          <a:lstStyle/>
          <a:p>
            <a:r>
              <a:rPr lang="en-US" dirty="0"/>
              <a:t>Text</a:t>
            </a:r>
          </a:p>
        </p:txBody>
      </p:sp>
      <p:cxnSp>
        <p:nvCxnSpPr>
          <p:cNvPr id="25" name="Connector: Elbow 24">
            <a:extLst>
              <a:ext uri="{FF2B5EF4-FFF2-40B4-BE49-F238E27FC236}">
                <a16:creationId xmlns:a16="http://schemas.microsoft.com/office/drawing/2014/main" id="{76DF6E13-2564-47AE-91F1-D4FA1A4AA1B5}"/>
              </a:ext>
              <a:ext uri="{C183D7F6-B498-43B3-948B-1728B52AA6E4}">
                <adec:decorative xmlns:adec="http://schemas.microsoft.com/office/drawing/2017/decorative" val="1"/>
              </a:ext>
            </a:extLst>
          </p:cNvPr>
          <p:cNvCxnSpPr/>
          <p:nvPr/>
        </p:nvCxnSpPr>
        <p:spPr>
          <a:xfrm rot="16200000" flipH="1">
            <a:off x="2690506" y="3865987"/>
            <a:ext cx="601930" cy="448948"/>
          </a:xfrm>
          <a:prstGeom prst="bentConnector2">
            <a:avLst/>
          </a:prstGeom>
          <a:ln w="1270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AutoShape 5">
            <a:extLst>
              <a:ext uri="{FF2B5EF4-FFF2-40B4-BE49-F238E27FC236}">
                <a16:creationId xmlns:a16="http://schemas.microsoft.com/office/drawing/2014/main" id="{CE91CEE0-4C0C-4E6E-8089-ABE5A08B7331}"/>
              </a:ext>
            </a:extLst>
          </p:cNvPr>
          <p:cNvSpPr>
            <a:spLocks noChangeArrowheads="1"/>
          </p:cNvSpPr>
          <p:nvPr/>
        </p:nvSpPr>
        <p:spPr bwMode="auto">
          <a:xfrm>
            <a:off x="3303757" y="3859153"/>
            <a:ext cx="2427271" cy="1064545"/>
          </a:xfrm>
          <a:prstGeom prst="homePlate">
            <a:avLst>
              <a:gd name="adj" fmla="val 13259"/>
            </a:avLst>
          </a:prstGeom>
          <a:solidFill>
            <a:schemeClr val="accent1"/>
          </a:solidFill>
          <a:ln w="9525" algn="ctr">
            <a:noFill/>
            <a:miter lim="800000"/>
            <a:headEnd/>
            <a:tailEnd/>
          </a:ln>
        </p:spPr>
        <p:txBody>
          <a:bodyPr lIns="180000" rIns="108000" anchor="ctr"/>
          <a:lstStyle/>
          <a:p>
            <a:pPr algn="l" eaLnBrk="0" hangingPunct="0">
              <a:spcBef>
                <a:spcPct val="20000"/>
              </a:spcBef>
              <a:buClrTx/>
              <a:buFontTx/>
              <a:buNone/>
            </a:pPr>
            <a:r>
              <a:rPr lang="de-DE" sz="1600" b="1" dirty="0">
                <a:solidFill>
                  <a:schemeClr val="bg1"/>
                </a:solidFill>
                <a:latin typeface="+mj-lt"/>
              </a:rPr>
              <a:t>Text</a:t>
            </a:r>
          </a:p>
        </p:txBody>
      </p:sp>
      <p:sp>
        <p:nvSpPr>
          <p:cNvPr id="22" name="Freeform 8">
            <a:extLst>
              <a:ext uri="{FF2B5EF4-FFF2-40B4-BE49-F238E27FC236}">
                <a16:creationId xmlns:a16="http://schemas.microsoft.com/office/drawing/2014/main" id="{73A62F17-9B9F-4706-89C0-25340F4C2D7E}"/>
              </a:ext>
            </a:extLst>
          </p:cNvPr>
          <p:cNvSpPr>
            <a:spLocks/>
          </p:cNvSpPr>
          <p:nvPr/>
        </p:nvSpPr>
        <p:spPr bwMode="auto">
          <a:xfrm>
            <a:off x="5663223" y="3859153"/>
            <a:ext cx="4709503" cy="1064545"/>
          </a:xfrm>
          <a:custGeom>
            <a:avLst/>
            <a:gdLst>
              <a:gd name="T0" fmla="*/ 0 w 3558"/>
              <a:gd name="T1" fmla="*/ 0 h 684"/>
              <a:gd name="T2" fmla="*/ 102 w 3558"/>
              <a:gd name="T3" fmla="*/ 342 h 684"/>
              <a:gd name="T4" fmla="*/ 0 w 3558"/>
              <a:gd name="T5" fmla="*/ 684 h 684"/>
              <a:gd name="T6" fmla="*/ 3558 w 3558"/>
              <a:gd name="T7" fmla="*/ 684 h 684"/>
              <a:gd name="T8" fmla="*/ 3558 w 3558"/>
              <a:gd name="T9" fmla="*/ 0 h 684"/>
              <a:gd name="T10" fmla="*/ 0 w 3558"/>
              <a:gd name="T11" fmla="*/ 0 h 684"/>
              <a:gd name="T12" fmla="*/ 0 60000 65536"/>
              <a:gd name="T13" fmla="*/ 0 60000 65536"/>
              <a:gd name="T14" fmla="*/ 0 60000 65536"/>
              <a:gd name="T15" fmla="*/ 0 60000 65536"/>
              <a:gd name="T16" fmla="*/ 0 60000 65536"/>
              <a:gd name="T17" fmla="*/ 0 60000 65536"/>
              <a:gd name="T18" fmla="*/ 0 w 3558"/>
              <a:gd name="T19" fmla="*/ 0 h 684"/>
              <a:gd name="T20" fmla="*/ 3558 w 3558"/>
              <a:gd name="T21" fmla="*/ 684 h 684"/>
            </a:gdLst>
            <a:ahLst/>
            <a:cxnLst>
              <a:cxn ang="T12">
                <a:pos x="T0" y="T1"/>
              </a:cxn>
              <a:cxn ang="T13">
                <a:pos x="T2" y="T3"/>
              </a:cxn>
              <a:cxn ang="T14">
                <a:pos x="T4" y="T5"/>
              </a:cxn>
              <a:cxn ang="T15">
                <a:pos x="T6" y="T7"/>
              </a:cxn>
              <a:cxn ang="T16">
                <a:pos x="T8" y="T9"/>
              </a:cxn>
              <a:cxn ang="T17">
                <a:pos x="T10" y="T11"/>
              </a:cxn>
            </a:cxnLst>
            <a:rect l="T18" t="T19" r="T20" b="T21"/>
            <a:pathLst>
              <a:path w="3558" h="684">
                <a:moveTo>
                  <a:pt x="0" y="0"/>
                </a:moveTo>
                <a:lnTo>
                  <a:pt x="102" y="342"/>
                </a:lnTo>
                <a:lnTo>
                  <a:pt x="0" y="684"/>
                </a:lnTo>
                <a:lnTo>
                  <a:pt x="3558" y="684"/>
                </a:lnTo>
                <a:lnTo>
                  <a:pt x="3558" y="0"/>
                </a:lnTo>
                <a:lnTo>
                  <a:pt x="0" y="0"/>
                </a:lnTo>
                <a:close/>
              </a:path>
            </a:pathLst>
          </a:custGeom>
          <a:solidFill>
            <a:srgbClr val="E4E7E7"/>
          </a:solidFill>
          <a:ln w="9525" cap="flat" cmpd="sng">
            <a:noFill/>
            <a:prstDash val="solid"/>
            <a:round/>
            <a:headEnd type="none" w="sm" len="sm"/>
            <a:tailEnd type="none" w="sm" len="sm"/>
          </a:ln>
        </p:spPr>
        <p:txBody>
          <a:bodyPr wrap="none" lIns="396000" anchor="ctr"/>
          <a:lstStyle/>
          <a:p>
            <a:r>
              <a:rPr lang="en-US" dirty="0"/>
              <a:t>Text</a:t>
            </a:r>
          </a:p>
        </p:txBody>
      </p:sp>
      <p:cxnSp>
        <p:nvCxnSpPr>
          <p:cNvPr id="26" name="Connector: Elbow 25">
            <a:extLst>
              <a:ext uri="{FF2B5EF4-FFF2-40B4-BE49-F238E27FC236}">
                <a16:creationId xmlns:a16="http://schemas.microsoft.com/office/drawing/2014/main" id="{1D4A78C8-26D9-45F9-BFE8-FCA50D1D84CB}"/>
              </a:ext>
              <a:ext uri="{C183D7F6-B498-43B3-948B-1728B52AA6E4}">
                <adec:decorative xmlns:adec="http://schemas.microsoft.com/office/drawing/2017/decorative" val="1"/>
              </a:ext>
            </a:extLst>
          </p:cNvPr>
          <p:cNvCxnSpPr/>
          <p:nvPr/>
        </p:nvCxnSpPr>
        <p:spPr>
          <a:xfrm rot="16200000" flipH="1">
            <a:off x="3438682" y="5000190"/>
            <a:ext cx="601930" cy="448948"/>
          </a:xfrm>
          <a:prstGeom prst="bentConnector2">
            <a:avLst/>
          </a:prstGeom>
          <a:ln w="1270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AutoShape 4">
            <a:extLst>
              <a:ext uri="{FF2B5EF4-FFF2-40B4-BE49-F238E27FC236}">
                <a16:creationId xmlns:a16="http://schemas.microsoft.com/office/drawing/2014/main" id="{174927C9-AEAB-44E5-A2D7-6E9BC7170D11}"/>
              </a:ext>
            </a:extLst>
          </p:cNvPr>
          <p:cNvSpPr>
            <a:spLocks noChangeArrowheads="1"/>
          </p:cNvSpPr>
          <p:nvPr/>
        </p:nvSpPr>
        <p:spPr bwMode="auto">
          <a:xfrm>
            <a:off x="4035475" y="4993355"/>
            <a:ext cx="2428683" cy="1064545"/>
          </a:xfrm>
          <a:prstGeom prst="homePlate">
            <a:avLst>
              <a:gd name="adj" fmla="val 13259"/>
            </a:avLst>
          </a:prstGeom>
          <a:solidFill>
            <a:schemeClr val="accent5"/>
          </a:solidFill>
          <a:ln w="9525">
            <a:noFill/>
            <a:miter lim="800000"/>
            <a:headEnd/>
            <a:tailEnd/>
          </a:ln>
        </p:spPr>
        <p:txBody>
          <a:bodyPr lIns="180000" rIns="108000" anchor="ctr"/>
          <a:lstStyle/>
          <a:p>
            <a:pPr algn="l" eaLnBrk="0" hangingPunct="0">
              <a:spcBef>
                <a:spcPct val="20000"/>
              </a:spcBef>
              <a:buClrTx/>
              <a:buFontTx/>
              <a:buNone/>
            </a:pPr>
            <a:r>
              <a:rPr lang="de-DE" sz="1600" b="1" dirty="0">
                <a:latin typeface="+mj-lt"/>
              </a:rPr>
              <a:t>Text</a:t>
            </a:r>
          </a:p>
        </p:txBody>
      </p:sp>
      <p:sp>
        <p:nvSpPr>
          <p:cNvPr id="19" name="Freeform 9">
            <a:extLst>
              <a:ext uri="{FF2B5EF4-FFF2-40B4-BE49-F238E27FC236}">
                <a16:creationId xmlns:a16="http://schemas.microsoft.com/office/drawing/2014/main" id="{15FF336A-3F07-4813-A5E1-F7CB5314E982}"/>
              </a:ext>
            </a:extLst>
          </p:cNvPr>
          <p:cNvSpPr>
            <a:spLocks/>
          </p:cNvSpPr>
          <p:nvPr/>
        </p:nvSpPr>
        <p:spPr bwMode="auto">
          <a:xfrm>
            <a:off x="6396355" y="4993355"/>
            <a:ext cx="3976371" cy="1064545"/>
          </a:xfrm>
          <a:custGeom>
            <a:avLst/>
            <a:gdLst>
              <a:gd name="T0" fmla="*/ 0 w 3078"/>
              <a:gd name="T1" fmla="*/ 0 h 678"/>
              <a:gd name="T2" fmla="*/ 102 w 3078"/>
              <a:gd name="T3" fmla="*/ 342 h 678"/>
              <a:gd name="T4" fmla="*/ 0 w 3078"/>
              <a:gd name="T5" fmla="*/ 678 h 678"/>
              <a:gd name="T6" fmla="*/ 3078 w 3078"/>
              <a:gd name="T7" fmla="*/ 678 h 678"/>
              <a:gd name="T8" fmla="*/ 3078 w 3078"/>
              <a:gd name="T9" fmla="*/ 0 h 678"/>
              <a:gd name="T10" fmla="*/ 0 w 3078"/>
              <a:gd name="T11" fmla="*/ 0 h 678"/>
              <a:gd name="T12" fmla="*/ 0 60000 65536"/>
              <a:gd name="T13" fmla="*/ 0 60000 65536"/>
              <a:gd name="T14" fmla="*/ 0 60000 65536"/>
              <a:gd name="T15" fmla="*/ 0 60000 65536"/>
              <a:gd name="T16" fmla="*/ 0 60000 65536"/>
              <a:gd name="T17" fmla="*/ 0 60000 65536"/>
              <a:gd name="T18" fmla="*/ 0 w 3078"/>
              <a:gd name="T19" fmla="*/ 0 h 678"/>
              <a:gd name="T20" fmla="*/ 3078 w 3078"/>
              <a:gd name="T21" fmla="*/ 678 h 678"/>
            </a:gdLst>
            <a:ahLst/>
            <a:cxnLst>
              <a:cxn ang="T12">
                <a:pos x="T0" y="T1"/>
              </a:cxn>
              <a:cxn ang="T13">
                <a:pos x="T2" y="T3"/>
              </a:cxn>
              <a:cxn ang="T14">
                <a:pos x="T4" y="T5"/>
              </a:cxn>
              <a:cxn ang="T15">
                <a:pos x="T6" y="T7"/>
              </a:cxn>
              <a:cxn ang="T16">
                <a:pos x="T8" y="T9"/>
              </a:cxn>
              <a:cxn ang="T17">
                <a:pos x="T10" y="T11"/>
              </a:cxn>
            </a:cxnLst>
            <a:rect l="T18" t="T19" r="T20" b="T21"/>
            <a:pathLst>
              <a:path w="3078" h="678">
                <a:moveTo>
                  <a:pt x="0" y="0"/>
                </a:moveTo>
                <a:lnTo>
                  <a:pt x="102" y="342"/>
                </a:lnTo>
                <a:lnTo>
                  <a:pt x="0" y="678"/>
                </a:lnTo>
                <a:lnTo>
                  <a:pt x="3078" y="678"/>
                </a:lnTo>
                <a:lnTo>
                  <a:pt x="3078" y="0"/>
                </a:lnTo>
                <a:lnTo>
                  <a:pt x="0" y="0"/>
                </a:lnTo>
                <a:close/>
              </a:path>
            </a:pathLst>
          </a:custGeom>
          <a:solidFill>
            <a:srgbClr val="E4E7E7"/>
          </a:solidFill>
          <a:ln w="9525" cap="flat" cmpd="sng">
            <a:noFill/>
            <a:prstDash val="solid"/>
            <a:round/>
            <a:headEnd type="none" w="sm" len="sm"/>
            <a:tailEnd type="none" w="sm" len="sm"/>
          </a:ln>
        </p:spPr>
        <p:txBody>
          <a:bodyPr wrap="none" lIns="396000" anchor="ctr"/>
          <a:lstStyle/>
          <a:p>
            <a:r>
              <a:rPr lang="en-US" dirty="0"/>
              <a:t>Text</a:t>
            </a:r>
          </a:p>
        </p:txBody>
      </p:sp>
      <p:sp>
        <p:nvSpPr>
          <p:cNvPr id="5" name="Footer Placeholder 4">
            <a:extLst>
              <a:ext uri="{FF2B5EF4-FFF2-40B4-BE49-F238E27FC236}">
                <a16:creationId xmlns:a16="http://schemas.microsoft.com/office/drawing/2014/main" id="{9450F5A2-8B8C-48A5-8226-57BC6DD7B8B3}"/>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EC3A45F9-4D8E-42FF-A9E3-D3EA80881501}"/>
              </a:ext>
            </a:extLst>
          </p:cNvPr>
          <p:cNvSpPr>
            <a:spLocks noGrp="1"/>
          </p:cNvSpPr>
          <p:nvPr>
            <p:ph type="sldNum" sz="quarter" idx="10"/>
          </p:nvPr>
        </p:nvSpPr>
        <p:spPr/>
        <p:txBody>
          <a:bodyPr/>
          <a:lstStyle/>
          <a:p>
            <a:fld id="{1F90F471-3972-4120-B8B3-0237DE626C35}" type="slidenum">
              <a:rPr lang="en-US" smtClean="0"/>
              <a:pPr/>
              <a:t>210</a:t>
            </a:fld>
            <a:endParaRPr lang="en-US" dirty="0"/>
          </a:p>
        </p:txBody>
      </p:sp>
    </p:spTree>
    <p:extLst>
      <p:ext uri="{BB962C8B-B14F-4D97-AF65-F5344CB8AC3E}">
        <p14:creationId xmlns:p14="http://schemas.microsoft.com/office/powerpoint/2010/main" val="941647501"/>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Steps – Ascending 1</a:t>
            </a:r>
          </a:p>
        </p:txBody>
      </p:sp>
      <p:grpSp>
        <p:nvGrpSpPr>
          <p:cNvPr id="5" name="Group 4" descr="Add text and order accordingly">
            <a:extLst>
              <a:ext uri="{FF2B5EF4-FFF2-40B4-BE49-F238E27FC236}">
                <a16:creationId xmlns:a16="http://schemas.microsoft.com/office/drawing/2014/main" id="{CE171420-35E4-49D0-84B3-6E889EB2A385}"/>
              </a:ext>
            </a:extLst>
          </p:cNvPr>
          <p:cNvGrpSpPr/>
          <p:nvPr/>
        </p:nvGrpSpPr>
        <p:grpSpPr>
          <a:xfrm>
            <a:off x="380999" y="1879896"/>
            <a:ext cx="11429367" cy="3776400"/>
            <a:chOff x="345019" y="1879896"/>
            <a:chExt cx="11512020" cy="3776400"/>
          </a:xfrm>
        </p:grpSpPr>
        <p:sp>
          <p:nvSpPr>
            <p:cNvPr id="6" name="AutoShape 5">
              <a:extLst>
                <a:ext uri="{FF2B5EF4-FFF2-40B4-BE49-F238E27FC236}">
                  <a16:creationId xmlns:a16="http://schemas.microsoft.com/office/drawing/2014/main" id="{D7D28C6B-C8FF-40A0-A3A4-3B46FD6872C1}"/>
                </a:ext>
              </a:extLst>
            </p:cNvPr>
            <p:cNvSpPr>
              <a:spLocks noChangeArrowheads="1"/>
            </p:cNvSpPr>
            <p:nvPr/>
          </p:nvSpPr>
          <p:spPr bwMode="auto">
            <a:xfrm>
              <a:off x="9650873" y="1879896"/>
              <a:ext cx="2206166" cy="696065"/>
            </a:xfrm>
            <a:prstGeom prst="homePlate">
              <a:avLst>
                <a:gd name="adj" fmla="val 13399"/>
              </a:avLst>
            </a:prstGeom>
            <a:solidFill>
              <a:schemeClr val="accent3"/>
            </a:solidFill>
            <a:ln w="19050" cap="rnd">
              <a:solidFill>
                <a:srgbClr val="FFFFFF"/>
              </a:solid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Arial"/>
                  <a:ea typeface="+mn-ea"/>
                  <a:cs typeface="+mn-cs"/>
                </a:rPr>
                <a:t>Text</a:t>
              </a:r>
            </a:p>
          </p:txBody>
        </p:sp>
        <p:sp>
          <p:nvSpPr>
            <p:cNvPr id="7" name="AutoShape 6">
              <a:extLst>
                <a:ext uri="{FF2B5EF4-FFF2-40B4-BE49-F238E27FC236}">
                  <a16:creationId xmlns:a16="http://schemas.microsoft.com/office/drawing/2014/main" id="{FC7DC6CB-BB2D-4FF0-AB47-4DCC6389AB88}"/>
                </a:ext>
              </a:extLst>
            </p:cNvPr>
            <p:cNvSpPr>
              <a:spLocks noChangeArrowheads="1"/>
            </p:cNvSpPr>
            <p:nvPr/>
          </p:nvSpPr>
          <p:spPr bwMode="auto">
            <a:xfrm>
              <a:off x="7786265" y="2496248"/>
              <a:ext cx="2212611" cy="698912"/>
            </a:xfrm>
            <a:prstGeom prst="homePlate">
              <a:avLst>
                <a:gd name="adj" fmla="val 13393"/>
              </a:avLst>
            </a:prstGeom>
            <a:solidFill>
              <a:schemeClr val="accent2"/>
            </a:solidFill>
            <a:ln w="19050" cap="rnd">
              <a:solidFill>
                <a:srgbClr val="FFFFFF"/>
              </a:solid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a:ea typeface="+mn-ea"/>
                  <a:cs typeface="+mn-cs"/>
                </a:rPr>
                <a:t>Text</a:t>
              </a:r>
            </a:p>
          </p:txBody>
        </p:sp>
        <p:sp>
          <p:nvSpPr>
            <p:cNvPr id="8" name="AutoShape 7">
              <a:extLst>
                <a:ext uri="{FF2B5EF4-FFF2-40B4-BE49-F238E27FC236}">
                  <a16:creationId xmlns:a16="http://schemas.microsoft.com/office/drawing/2014/main" id="{794CA059-219E-4097-88CF-D6DF48B3B26E}"/>
                </a:ext>
              </a:extLst>
            </p:cNvPr>
            <p:cNvSpPr>
              <a:spLocks noChangeArrowheads="1"/>
            </p:cNvSpPr>
            <p:nvPr/>
          </p:nvSpPr>
          <p:spPr bwMode="auto">
            <a:xfrm>
              <a:off x="5928102" y="3111176"/>
              <a:ext cx="2206166" cy="696065"/>
            </a:xfrm>
            <a:prstGeom prst="homePlate">
              <a:avLst>
                <a:gd name="adj" fmla="val 13399"/>
              </a:avLst>
            </a:prstGeom>
            <a:solidFill>
              <a:schemeClr val="accent1"/>
            </a:solidFill>
            <a:ln w="19050" cap="rnd">
              <a:solidFill>
                <a:srgbClr val="FFFFFF"/>
              </a:solid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Arial"/>
                  <a:ea typeface="+mn-ea"/>
                  <a:cs typeface="+mn-cs"/>
                </a:rPr>
                <a:t>Text</a:t>
              </a:r>
            </a:p>
          </p:txBody>
        </p:sp>
        <p:sp>
          <p:nvSpPr>
            <p:cNvPr id="9" name="AutoShape 8">
              <a:extLst>
                <a:ext uri="{FF2B5EF4-FFF2-40B4-BE49-F238E27FC236}">
                  <a16:creationId xmlns:a16="http://schemas.microsoft.com/office/drawing/2014/main" id="{F6F4F395-DF83-4D65-8E2B-CD7000399402}"/>
                </a:ext>
              </a:extLst>
            </p:cNvPr>
            <p:cNvSpPr>
              <a:spLocks noChangeArrowheads="1"/>
            </p:cNvSpPr>
            <p:nvPr/>
          </p:nvSpPr>
          <p:spPr bwMode="auto">
            <a:xfrm>
              <a:off x="4067790" y="3727528"/>
              <a:ext cx="2206166" cy="696065"/>
            </a:xfrm>
            <a:prstGeom prst="homePlate">
              <a:avLst>
                <a:gd name="adj" fmla="val 13399"/>
              </a:avLst>
            </a:prstGeom>
            <a:solidFill>
              <a:schemeClr val="accent6"/>
            </a:solidFill>
            <a:ln w="19050" cap="rnd">
              <a:solidFill>
                <a:srgbClr val="FFFFFF"/>
              </a:solid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400" b="1" i="0" u="none" strike="noStrike" kern="0" cap="none" spc="0" normalizeH="0" baseline="0" noProof="0">
                  <a:ln>
                    <a:noFill/>
                  </a:ln>
                  <a:effectLst/>
                  <a:uLnTx/>
                  <a:uFillTx/>
                  <a:latin typeface="Arial"/>
                  <a:ea typeface="+mn-ea"/>
                  <a:cs typeface="+mn-cs"/>
                </a:rPr>
                <a:t>Text</a:t>
              </a:r>
            </a:p>
          </p:txBody>
        </p:sp>
        <p:sp>
          <p:nvSpPr>
            <p:cNvPr id="10" name="AutoShape 9">
              <a:extLst>
                <a:ext uri="{FF2B5EF4-FFF2-40B4-BE49-F238E27FC236}">
                  <a16:creationId xmlns:a16="http://schemas.microsoft.com/office/drawing/2014/main" id="{52720FD2-40BD-4798-AFAA-AFF3D5185AFF}"/>
                </a:ext>
              </a:extLst>
            </p:cNvPr>
            <p:cNvSpPr>
              <a:spLocks noChangeArrowheads="1"/>
            </p:cNvSpPr>
            <p:nvPr/>
          </p:nvSpPr>
          <p:spPr bwMode="auto">
            <a:xfrm>
              <a:off x="2207479" y="4345303"/>
              <a:ext cx="2208314" cy="696065"/>
            </a:xfrm>
            <a:prstGeom prst="homePlate">
              <a:avLst>
                <a:gd name="adj" fmla="val 13402"/>
              </a:avLst>
            </a:prstGeom>
            <a:solidFill>
              <a:schemeClr val="accent5"/>
            </a:solidFill>
            <a:ln w="19050" cap="rnd">
              <a:solidFill>
                <a:srgbClr val="FFFFFF"/>
              </a:solid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400" b="1" i="0" u="none" strike="noStrike" kern="0" cap="none" spc="0" normalizeH="0" baseline="0" noProof="0">
                  <a:ln>
                    <a:noFill/>
                  </a:ln>
                  <a:effectLst/>
                  <a:uLnTx/>
                  <a:uFillTx/>
                  <a:latin typeface="Arial"/>
                  <a:ea typeface="+mn-ea"/>
                  <a:cs typeface="+mn-cs"/>
                </a:rPr>
                <a:t>Text</a:t>
              </a:r>
            </a:p>
          </p:txBody>
        </p:sp>
        <p:sp>
          <p:nvSpPr>
            <p:cNvPr id="11" name="AutoShape 10">
              <a:extLst>
                <a:ext uri="{FF2B5EF4-FFF2-40B4-BE49-F238E27FC236}">
                  <a16:creationId xmlns:a16="http://schemas.microsoft.com/office/drawing/2014/main" id="{ED707A03-78CB-4A6D-8380-0C415135F0BA}"/>
                </a:ext>
              </a:extLst>
            </p:cNvPr>
            <p:cNvSpPr>
              <a:spLocks noChangeArrowheads="1"/>
            </p:cNvSpPr>
            <p:nvPr/>
          </p:nvSpPr>
          <p:spPr bwMode="auto">
            <a:xfrm>
              <a:off x="345019" y="4960231"/>
              <a:ext cx="2206166" cy="696065"/>
            </a:xfrm>
            <a:prstGeom prst="homePlate">
              <a:avLst>
                <a:gd name="adj" fmla="val 13399"/>
              </a:avLst>
            </a:prstGeom>
            <a:solidFill>
              <a:schemeClr val="accent4"/>
            </a:solidFill>
            <a:ln w="19050" cap="rnd">
              <a:solidFill>
                <a:srgbClr val="FFFFFF"/>
              </a:solid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a:ea typeface="+mn-ea"/>
                  <a:cs typeface="+mn-cs"/>
                </a:rPr>
                <a:t>Text</a:t>
              </a:r>
            </a:p>
          </p:txBody>
        </p:sp>
      </p:grpSp>
      <p:sp>
        <p:nvSpPr>
          <p:cNvPr id="13" name="Footer Placeholder 12">
            <a:extLst>
              <a:ext uri="{FF2B5EF4-FFF2-40B4-BE49-F238E27FC236}">
                <a16:creationId xmlns:a16="http://schemas.microsoft.com/office/drawing/2014/main" id="{B82D7A8C-8265-467E-BF25-EFDB8EACBED6}"/>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4" name="Slide Number Placeholder 13">
            <a:extLst>
              <a:ext uri="{FF2B5EF4-FFF2-40B4-BE49-F238E27FC236}">
                <a16:creationId xmlns:a16="http://schemas.microsoft.com/office/drawing/2014/main" id="{9FDCEB27-5E12-4D42-90C4-E79A780C3D5A}"/>
              </a:ext>
            </a:extLst>
          </p:cNvPr>
          <p:cNvSpPr>
            <a:spLocks noGrp="1"/>
          </p:cNvSpPr>
          <p:nvPr>
            <p:ph type="sldNum" sz="quarter" idx="10"/>
          </p:nvPr>
        </p:nvSpPr>
        <p:spPr/>
        <p:txBody>
          <a:bodyPr/>
          <a:lstStyle/>
          <a:p>
            <a:fld id="{1F90F471-3972-4120-B8B3-0237DE626C35}" type="slidenum">
              <a:rPr lang="en-US" smtClean="0"/>
              <a:pPr/>
              <a:t>211</a:t>
            </a:fld>
            <a:endParaRPr lang="en-US" dirty="0"/>
          </a:p>
        </p:txBody>
      </p:sp>
    </p:spTree>
    <p:extLst>
      <p:ext uri="{BB962C8B-B14F-4D97-AF65-F5344CB8AC3E}">
        <p14:creationId xmlns:p14="http://schemas.microsoft.com/office/powerpoint/2010/main" val="1246257589"/>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Steps – Ascending 2</a:t>
            </a:r>
          </a:p>
        </p:txBody>
      </p:sp>
      <p:grpSp>
        <p:nvGrpSpPr>
          <p:cNvPr id="5" name="Group 4" descr="Add text and order accordingly">
            <a:extLst>
              <a:ext uri="{FF2B5EF4-FFF2-40B4-BE49-F238E27FC236}">
                <a16:creationId xmlns:a16="http://schemas.microsoft.com/office/drawing/2014/main" id="{A67D86B1-00C2-4254-B3D8-633466CA39EE}"/>
              </a:ext>
            </a:extLst>
          </p:cNvPr>
          <p:cNvGrpSpPr/>
          <p:nvPr/>
        </p:nvGrpSpPr>
        <p:grpSpPr>
          <a:xfrm>
            <a:off x="381000" y="1834150"/>
            <a:ext cx="11429366" cy="3780000"/>
            <a:chOff x="345018" y="1834150"/>
            <a:chExt cx="11510432" cy="3780000"/>
          </a:xfrm>
        </p:grpSpPr>
        <p:sp>
          <p:nvSpPr>
            <p:cNvPr id="6" name="Rectangle 3">
              <a:extLst>
                <a:ext uri="{FF2B5EF4-FFF2-40B4-BE49-F238E27FC236}">
                  <a16:creationId xmlns:a16="http://schemas.microsoft.com/office/drawing/2014/main" id="{1049DAA4-44AB-49C4-A6D6-67BD60A481C3}"/>
                </a:ext>
              </a:extLst>
            </p:cNvPr>
            <p:cNvSpPr>
              <a:spLocks noChangeArrowheads="1"/>
            </p:cNvSpPr>
            <p:nvPr/>
          </p:nvSpPr>
          <p:spPr bwMode="auto">
            <a:xfrm>
              <a:off x="345018" y="4893215"/>
              <a:ext cx="2795015" cy="720935"/>
            </a:xfrm>
            <a:prstGeom prst="rect">
              <a:avLst/>
            </a:prstGeom>
            <a:solidFill>
              <a:schemeClr val="accent6"/>
            </a:solidFill>
            <a:ln w="6350" cap="rnd">
              <a:no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effectLst/>
                  <a:uLnTx/>
                  <a:uFillTx/>
                  <a:latin typeface="Arial"/>
                  <a:ea typeface="+mn-ea"/>
                  <a:cs typeface="+mn-cs"/>
                </a:rPr>
                <a:t>Text</a:t>
              </a:r>
            </a:p>
          </p:txBody>
        </p:sp>
        <p:sp>
          <p:nvSpPr>
            <p:cNvPr id="7" name="Rectangle 4">
              <a:extLst>
                <a:ext uri="{FF2B5EF4-FFF2-40B4-BE49-F238E27FC236}">
                  <a16:creationId xmlns:a16="http://schemas.microsoft.com/office/drawing/2014/main" id="{3866A23C-8C4B-4C7A-B667-114D59EACB34}"/>
                </a:ext>
              </a:extLst>
            </p:cNvPr>
            <p:cNvSpPr>
              <a:spLocks noChangeArrowheads="1"/>
            </p:cNvSpPr>
            <p:nvPr/>
          </p:nvSpPr>
          <p:spPr bwMode="auto">
            <a:xfrm>
              <a:off x="2522385" y="4128448"/>
              <a:ext cx="2795015" cy="720935"/>
            </a:xfrm>
            <a:prstGeom prst="rect">
              <a:avLst/>
            </a:prstGeom>
            <a:solidFill>
              <a:schemeClr val="accent5"/>
            </a:solidFill>
            <a:ln w="6350" cap="rnd">
              <a:no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effectLst/>
                  <a:uLnTx/>
                  <a:uFillTx/>
                  <a:latin typeface="Arial"/>
                  <a:ea typeface="+mn-ea"/>
                  <a:cs typeface="+mn-cs"/>
                </a:rPr>
                <a:t>Text</a:t>
              </a:r>
            </a:p>
          </p:txBody>
        </p:sp>
        <p:sp>
          <p:nvSpPr>
            <p:cNvPr id="8" name="Rectangle 5">
              <a:extLst>
                <a:ext uri="{FF2B5EF4-FFF2-40B4-BE49-F238E27FC236}">
                  <a16:creationId xmlns:a16="http://schemas.microsoft.com/office/drawing/2014/main" id="{765D411F-EAFA-46EF-8212-17AA9A0E61E0}"/>
                </a:ext>
              </a:extLst>
            </p:cNvPr>
            <p:cNvSpPr>
              <a:spLocks noChangeArrowheads="1"/>
            </p:cNvSpPr>
            <p:nvPr/>
          </p:nvSpPr>
          <p:spPr bwMode="auto">
            <a:xfrm>
              <a:off x="4703718" y="3363682"/>
              <a:ext cx="2795015" cy="720935"/>
            </a:xfrm>
            <a:prstGeom prst="rect">
              <a:avLst/>
            </a:prstGeom>
            <a:solidFill>
              <a:schemeClr val="accent1"/>
            </a:solidFill>
            <a:ln w="6350" cap="rnd">
              <a:no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rPr>
                <a:t>Text</a:t>
              </a:r>
            </a:p>
          </p:txBody>
        </p:sp>
        <p:sp>
          <p:nvSpPr>
            <p:cNvPr id="9" name="Rectangle 6">
              <a:extLst>
                <a:ext uri="{FF2B5EF4-FFF2-40B4-BE49-F238E27FC236}">
                  <a16:creationId xmlns:a16="http://schemas.microsoft.com/office/drawing/2014/main" id="{AF16615B-F7AF-4229-98CF-FEF75794107C}"/>
                </a:ext>
              </a:extLst>
            </p:cNvPr>
            <p:cNvSpPr>
              <a:spLocks noChangeArrowheads="1"/>
            </p:cNvSpPr>
            <p:nvPr/>
          </p:nvSpPr>
          <p:spPr bwMode="auto">
            <a:xfrm>
              <a:off x="6881085" y="2598916"/>
              <a:ext cx="2795015" cy="720935"/>
            </a:xfrm>
            <a:prstGeom prst="rect">
              <a:avLst/>
            </a:prstGeom>
            <a:solidFill>
              <a:schemeClr val="accent2"/>
            </a:solidFill>
            <a:ln w="6350" cap="rnd">
              <a:no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rPr>
                <a:t>Text</a:t>
              </a:r>
            </a:p>
          </p:txBody>
        </p:sp>
        <p:sp>
          <p:nvSpPr>
            <p:cNvPr id="10" name="Rectangle 7">
              <a:extLst>
                <a:ext uri="{FF2B5EF4-FFF2-40B4-BE49-F238E27FC236}">
                  <a16:creationId xmlns:a16="http://schemas.microsoft.com/office/drawing/2014/main" id="{C35AA633-75AF-4505-801C-8C2C86B5E144}"/>
                </a:ext>
              </a:extLst>
            </p:cNvPr>
            <p:cNvSpPr>
              <a:spLocks noChangeArrowheads="1"/>
            </p:cNvSpPr>
            <p:nvPr/>
          </p:nvSpPr>
          <p:spPr bwMode="auto">
            <a:xfrm>
              <a:off x="9060435" y="1834150"/>
              <a:ext cx="2795015" cy="720935"/>
            </a:xfrm>
            <a:prstGeom prst="rect">
              <a:avLst/>
            </a:prstGeom>
            <a:solidFill>
              <a:schemeClr val="accent3"/>
            </a:solidFill>
            <a:ln w="6350" cap="rnd">
              <a:no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rPr>
                <a:t>Text</a:t>
              </a:r>
            </a:p>
          </p:txBody>
        </p:sp>
      </p:grpSp>
      <p:sp>
        <p:nvSpPr>
          <p:cNvPr id="12" name="Footer Placeholder 11">
            <a:extLst>
              <a:ext uri="{FF2B5EF4-FFF2-40B4-BE49-F238E27FC236}">
                <a16:creationId xmlns:a16="http://schemas.microsoft.com/office/drawing/2014/main" id="{5C282EDB-B52F-426B-B68C-A10A96171F2B}"/>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3" name="Slide Number Placeholder 12">
            <a:extLst>
              <a:ext uri="{FF2B5EF4-FFF2-40B4-BE49-F238E27FC236}">
                <a16:creationId xmlns:a16="http://schemas.microsoft.com/office/drawing/2014/main" id="{B20D354F-6119-42B2-859A-BEE49972C73C}"/>
              </a:ext>
            </a:extLst>
          </p:cNvPr>
          <p:cNvSpPr>
            <a:spLocks noGrp="1"/>
          </p:cNvSpPr>
          <p:nvPr>
            <p:ph type="sldNum" sz="quarter" idx="10"/>
          </p:nvPr>
        </p:nvSpPr>
        <p:spPr/>
        <p:txBody>
          <a:bodyPr/>
          <a:lstStyle/>
          <a:p>
            <a:fld id="{1F90F471-3972-4120-B8B3-0237DE626C35}" type="slidenum">
              <a:rPr lang="en-US" smtClean="0"/>
              <a:pPr/>
              <a:t>212</a:t>
            </a:fld>
            <a:endParaRPr lang="en-US" dirty="0"/>
          </a:p>
        </p:txBody>
      </p:sp>
    </p:spTree>
    <p:extLst>
      <p:ext uri="{BB962C8B-B14F-4D97-AF65-F5344CB8AC3E}">
        <p14:creationId xmlns:p14="http://schemas.microsoft.com/office/powerpoint/2010/main" val="3305680226"/>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Growth 1</a:t>
            </a:r>
          </a:p>
        </p:txBody>
      </p:sp>
      <p:sp>
        <p:nvSpPr>
          <p:cNvPr id="9" name="Arrow: Right 8" descr="Add text and order accordingly">
            <a:extLst>
              <a:ext uri="{FF2B5EF4-FFF2-40B4-BE49-F238E27FC236}">
                <a16:creationId xmlns:a16="http://schemas.microsoft.com/office/drawing/2014/main" id="{9FEB7032-2FD2-4942-985A-FAF03DCFEC77}"/>
              </a:ext>
            </a:extLst>
          </p:cNvPr>
          <p:cNvSpPr/>
          <p:nvPr/>
        </p:nvSpPr>
        <p:spPr>
          <a:xfrm>
            <a:off x="334963" y="2860276"/>
            <a:ext cx="11522075" cy="1572107"/>
          </a:xfrm>
          <a:prstGeom prst="rightArrow">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3" name="Rectangle 5">
            <a:extLst>
              <a:ext uri="{FF2B5EF4-FFF2-40B4-BE49-F238E27FC236}">
                <a16:creationId xmlns:a16="http://schemas.microsoft.com/office/drawing/2014/main" id="{83C65797-F3EF-451C-822D-6695F4C48573}"/>
              </a:ext>
            </a:extLst>
          </p:cNvPr>
          <p:cNvSpPr>
            <a:spLocks noChangeArrowheads="1"/>
          </p:cNvSpPr>
          <p:nvPr/>
        </p:nvSpPr>
        <p:spPr bwMode="auto">
          <a:xfrm>
            <a:off x="334964" y="2764830"/>
            <a:ext cx="2609850" cy="1915454"/>
          </a:xfrm>
          <a:prstGeom prst="rect">
            <a:avLst/>
          </a:prstGeom>
          <a:solidFill>
            <a:schemeClr val="accent3">
              <a:lumMod val="20000"/>
              <a:lumOff val="80000"/>
            </a:schemeClr>
          </a:solidFill>
          <a:ln w="6350">
            <a:noFill/>
            <a:miter lim="800000"/>
            <a:headEnd/>
            <a:tailEnd/>
          </a:ln>
        </p:spPr>
        <p:txBody>
          <a:bodyPr lIns="180000" tIns="144000" rIns="72000" bIns="72000"/>
          <a:lstStyle/>
          <a:p>
            <a:pPr algn="l" eaLnBrk="0" hangingPunct="0">
              <a:lnSpc>
                <a:spcPct val="85000"/>
              </a:lnSpc>
              <a:spcBef>
                <a:spcPts val="100"/>
              </a:spcBef>
              <a:spcAft>
                <a:spcPts val="300"/>
              </a:spcAft>
            </a:pPr>
            <a:r>
              <a:rPr lang="en-US" b="1" dirty="0">
                <a:latin typeface="+mj-lt"/>
              </a:rPr>
              <a:t>Text</a:t>
            </a:r>
          </a:p>
          <a:p>
            <a:pPr marL="174625" indent="-174625" algn="l" eaLnBrk="0" hangingPunct="0">
              <a:spcBef>
                <a:spcPts val="100"/>
              </a:spcBef>
              <a:spcAft>
                <a:spcPts val="100"/>
              </a:spcAft>
              <a:buFontTx/>
              <a:buChar char="•"/>
            </a:pPr>
            <a:r>
              <a:rPr lang="en-US" dirty="0"/>
              <a:t>Text</a:t>
            </a:r>
          </a:p>
          <a:p>
            <a:pPr marL="174625" indent="-174625" algn="l" eaLnBrk="0" hangingPunct="0">
              <a:spcBef>
                <a:spcPts val="100"/>
              </a:spcBef>
              <a:spcAft>
                <a:spcPts val="100"/>
              </a:spcAft>
              <a:buFontTx/>
              <a:buChar char="•"/>
            </a:pPr>
            <a:r>
              <a:rPr lang="en-US" dirty="0"/>
              <a:t>Text</a:t>
            </a:r>
          </a:p>
          <a:p>
            <a:pPr marL="174625" indent="-174625" algn="l" eaLnBrk="0" hangingPunct="0">
              <a:spcBef>
                <a:spcPts val="100"/>
              </a:spcBef>
              <a:spcAft>
                <a:spcPts val="100"/>
              </a:spcAft>
              <a:buFontTx/>
              <a:buChar char="•"/>
            </a:pPr>
            <a:r>
              <a:rPr lang="en-US" dirty="0"/>
              <a:t>Text</a:t>
            </a:r>
          </a:p>
        </p:txBody>
      </p:sp>
      <p:sp>
        <p:nvSpPr>
          <p:cNvPr id="15" name="Rectangle 5">
            <a:extLst>
              <a:ext uri="{FF2B5EF4-FFF2-40B4-BE49-F238E27FC236}">
                <a16:creationId xmlns:a16="http://schemas.microsoft.com/office/drawing/2014/main" id="{778B693C-EE37-4C3A-843A-428309D73ACB}"/>
              </a:ext>
            </a:extLst>
          </p:cNvPr>
          <p:cNvSpPr>
            <a:spLocks noChangeArrowheads="1"/>
          </p:cNvSpPr>
          <p:nvPr/>
        </p:nvSpPr>
        <p:spPr bwMode="auto">
          <a:xfrm>
            <a:off x="4048920" y="2107939"/>
            <a:ext cx="2609850" cy="3229236"/>
          </a:xfrm>
          <a:prstGeom prst="rect">
            <a:avLst/>
          </a:prstGeom>
          <a:solidFill>
            <a:schemeClr val="accent3">
              <a:lumMod val="60000"/>
              <a:lumOff val="40000"/>
            </a:schemeClr>
          </a:solidFill>
          <a:ln w="6350">
            <a:noFill/>
            <a:miter lim="800000"/>
            <a:headEnd/>
            <a:tailEnd/>
          </a:ln>
        </p:spPr>
        <p:txBody>
          <a:bodyPr lIns="180000" tIns="144000" rIns="72000" bIns="72000"/>
          <a:lstStyle/>
          <a:p>
            <a:pPr algn="l" eaLnBrk="0" hangingPunct="0">
              <a:lnSpc>
                <a:spcPct val="85000"/>
              </a:lnSpc>
              <a:spcBef>
                <a:spcPts val="100"/>
              </a:spcBef>
              <a:spcAft>
                <a:spcPts val="300"/>
              </a:spcAft>
            </a:pPr>
            <a:r>
              <a:rPr lang="en-US" b="1" dirty="0">
                <a:solidFill>
                  <a:schemeClr val="bg1"/>
                </a:solidFill>
                <a:latin typeface="+mj-lt"/>
              </a:rPr>
              <a:t>Text</a:t>
            </a:r>
          </a:p>
          <a:p>
            <a:pPr marL="174625" indent="-174625" algn="l" eaLnBrk="0" hangingPunct="0">
              <a:spcBef>
                <a:spcPts val="100"/>
              </a:spcBef>
              <a:spcAft>
                <a:spcPts val="100"/>
              </a:spcAft>
              <a:buFontTx/>
              <a:buChar char="•"/>
            </a:pPr>
            <a:r>
              <a:rPr lang="en-US" dirty="0">
                <a:solidFill>
                  <a:schemeClr val="bg1"/>
                </a:solidFill>
              </a:rPr>
              <a:t>Text</a:t>
            </a:r>
          </a:p>
          <a:p>
            <a:pPr marL="174625" indent="-174625" algn="l" eaLnBrk="0" hangingPunct="0">
              <a:spcBef>
                <a:spcPts val="100"/>
              </a:spcBef>
              <a:spcAft>
                <a:spcPts val="100"/>
              </a:spcAft>
              <a:buFontTx/>
              <a:buChar char="•"/>
            </a:pPr>
            <a:r>
              <a:rPr lang="en-US" dirty="0">
                <a:solidFill>
                  <a:schemeClr val="bg1"/>
                </a:solidFill>
              </a:rPr>
              <a:t>Text</a:t>
            </a:r>
          </a:p>
          <a:p>
            <a:pPr marL="174625" indent="-174625" algn="l" eaLnBrk="0" hangingPunct="0">
              <a:spcBef>
                <a:spcPts val="100"/>
              </a:spcBef>
              <a:spcAft>
                <a:spcPts val="100"/>
              </a:spcAft>
              <a:buFontTx/>
              <a:buChar char="•"/>
            </a:pPr>
            <a:r>
              <a:rPr lang="en-US" dirty="0">
                <a:solidFill>
                  <a:schemeClr val="bg1"/>
                </a:solidFill>
              </a:rPr>
              <a:t>Text</a:t>
            </a:r>
          </a:p>
        </p:txBody>
      </p:sp>
      <p:sp>
        <p:nvSpPr>
          <p:cNvPr id="17" name="Rectangle 5">
            <a:extLst>
              <a:ext uri="{FF2B5EF4-FFF2-40B4-BE49-F238E27FC236}">
                <a16:creationId xmlns:a16="http://schemas.microsoft.com/office/drawing/2014/main" id="{581B6DF3-DF72-4863-8E5F-F18292C559F0}"/>
              </a:ext>
            </a:extLst>
          </p:cNvPr>
          <p:cNvSpPr>
            <a:spLocks noChangeArrowheads="1"/>
          </p:cNvSpPr>
          <p:nvPr/>
        </p:nvSpPr>
        <p:spPr bwMode="auto">
          <a:xfrm>
            <a:off x="7762875" y="1387214"/>
            <a:ext cx="2609850" cy="4670686"/>
          </a:xfrm>
          <a:prstGeom prst="rect">
            <a:avLst/>
          </a:prstGeom>
          <a:solidFill>
            <a:schemeClr val="accent3"/>
          </a:solidFill>
          <a:ln w="6350">
            <a:noFill/>
            <a:miter lim="800000"/>
            <a:headEnd/>
            <a:tailEnd/>
          </a:ln>
        </p:spPr>
        <p:txBody>
          <a:bodyPr lIns="180000" tIns="144000" rIns="72000" bIns="72000"/>
          <a:lstStyle/>
          <a:p>
            <a:pPr algn="l" eaLnBrk="0" hangingPunct="0">
              <a:lnSpc>
                <a:spcPct val="85000"/>
              </a:lnSpc>
              <a:spcBef>
                <a:spcPts val="100"/>
              </a:spcBef>
              <a:spcAft>
                <a:spcPts val="300"/>
              </a:spcAft>
            </a:pPr>
            <a:r>
              <a:rPr lang="en-US" b="1" dirty="0">
                <a:solidFill>
                  <a:schemeClr val="bg1"/>
                </a:solidFill>
                <a:latin typeface="+mj-lt"/>
              </a:rPr>
              <a:t>Text</a:t>
            </a:r>
          </a:p>
          <a:p>
            <a:pPr marL="174625" indent="-174625" algn="l" eaLnBrk="0" hangingPunct="0">
              <a:spcBef>
                <a:spcPts val="100"/>
              </a:spcBef>
              <a:spcAft>
                <a:spcPts val="100"/>
              </a:spcAft>
              <a:buFontTx/>
              <a:buChar char="•"/>
            </a:pPr>
            <a:r>
              <a:rPr lang="en-US" dirty="0">
                <a:solidFill>
                  <a:schemeClr val="bg1"/>
                </a:solidFill>
              </a:rPr>
              <a:t>Text</a:t>
            </a:r>
          </a:p>
          <a:p>
            <a:pPr marL="174625" indent="-174625" algn="l" eaLnBrk="0" hangingPunct="0">
              <a:spcBef>
                <a:spcPts val="100"/>
              </a:spcBef>
              <a:spcAft>
                <a:spcPts val="100"/>
              </a:spcAft>
              <a:buFontTx/>
              <a:buChar char="•"/>
            </a:pPr>
            <a:r>
              <a:rPr lang="en-US" dirty="0">
                <a:solidFill>
                  <a:schemeClr val="bg1"/>
                </a:solidFill>
              </a:rPr>
              <a:t>Text</a:t>
            </a:r>
          </a:p>
          <a:p>
            <a:pPr marL="174625" indent="-174625" algn="l" eaLnBrk="0" hangingPunct="0">
              <a:spcBef>
                <a:spcPts val="100"/>
              </a:spcBef>
              <a:spcAft>
                <a:spcPts val="100"/>
              </a:spcAft>
              <a:buFontTx/>
              <a:buChar char="•"/>
            </a:pPr>
            <a:r>
              <a:rPr lang="en-US" dirty="0">
                <a:solidFill>
                  <a:schemeClr val="bg1"/>
                </a:solidFill>
              </a:rPr>
              <a:t>Text</a:t>
            </a:r>
          </a:p>
        </p:txBody>
      </p:sp>
      <p:sp>
        <p:nvSpPr>
          <p:cNvPr id="3" name="Footer Placeholder 2">
            <a:extLst>
              <a:ext uri="{FF2B5EF4-FFF2-40B4-BE49-F238E27FC236}">
                <a16:creationId xmlns:a16="http://schemas.microsoft.com/office/drawing/2014/main" id="{114659C2-8218-429F-8378-86E86D4360C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03E13418-F8FE-4156-AEB6-66864B7E9074}"/>
              </a:ext>
            </a:extLst>
          </p:cNvPr>
          <p:cNvSpPr>
            <a:spLocks noGrp="1"/>
          </p:cNvSpPr>
          <p:nvPr>
            <p:ph type="sldNum" sz="quarter" idx="10"/>
          </p:nvPr>
        </p:nvSpPr>
        <p:spPr/>
        <p:txBody>
          <a:bodyPr/>
          <a:lstStyle/>
          <a:p>
            <a:fld id="{1F90F471-3972-4120-B8B3-0237DE626C35}" type="slidenum">
              <a:rPr lang="en-US" smtClean="0"/>
              <a:pPr/>
              <a:t>213</a:t>
            </a:fld>
            <a:endParaRPr lang="en-US" dirty="0"/>
          </a:p>
        </p:txBody>
      </p:sp>
    </p:spTree>
    <p:extLst>
      <p:ext uri="{BB962C8B-B14F-4D97-AF65-F5344CB8AC3E}">
        <p14:creationId xmlns:p14="http://schemas.microsoft.com/office/powerpoint/2010/main" val="332316459"/>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Growth 2</a:t>
            </a:r>
          </a:p>
        </p:txBody>
      </p:sp>
      <p:grpSp>
        <p:nvGrpSpPr>
          <p:cNvPr id="11" name="Group 10" descr="Add text and order accordingly">
            <a:extLst>
              <a:ext uri="{FF2B5EF4-FFF2-40B4-BE49-F238E27FC236}">
                <a16:creationId xmlns:a16="http://schemas.microsoft.com/office/drawing/2014/main" id="{7CD714A5-B329-4583-B08D-8F3786277F4B}"/>
              </a:ext>
            </a:extLst>
          </p:cNvPr>
          <p:cNvGrpSpPr>
            <a:grpSpLocks/>
          </p:cNvGrpSpPr>
          <p:nvPr/>
        </p:nvGrpSpPr>
        <p:grpSpPr bwMode="auto">
          <a:xfrm>
            <a:off x="381000" y="1457990"/>
            <a:ext cx="11438468" cy="4294188"/>
            <a:chOff x="204" y="981"/>
            <a:chExt cx="5353" cy="3107"/>
          </a:xfrm>
        </p:grpSpPr>
        <p:sp>
          <p:nvSpPr>
            <p:cNvPr id="12" name="AutoShape 2">
              <a:extLst>
                <a:ext uri="{FF2B5EF4-FFF2-40B4-BE49-F238E27FC236}">
                  <a16:creationId xmlns:a16="http://schemas.microsoft.com/office/drawing/2014/main" id="{5772E79F-480E-46E2-A02F-09F144961D93}"/>
                </a:ext>
              </a:extLst>
            </p:cNvPr>
            <p:cNvSpPr>
              <a:spLocks noChangeArrowheads="1"/>
            </p:cNvSpPr>
            <p:nvPr/>
          </p:nvSpPr>
          <p:spPr bwMode="auto">
            <a:xfrm rot="27000000">
              <a:off x="1327" y="-142"/>
              <a:ext cx="3107" cy="5353"/>
            </a:xfrm>
            <a:prstGeom prst="rtTriangle">
              <a:avLst/>
            </a:prstGeom>
            <a:pattFill prst="dkUpDiag">
              <a:fgClr>
                <a:schemeClr val="tx2">
                  <a:lumMod val="40000"/>
                  <a:lumOff val="60000"/>
                </a:schemeClr>
              </a:fgClr>
              <a:bgClr>
                <a:schemeClr val="bg1"/>
              </a:bgClr>
            </a:pattFill>
            <a:ln w="6350">
              <a:noFill/>
              <a:miter lim="800000"/>
              <a:headEnd/>
              <a:tailEnd/>
            </a:ln>
            <a:effectLst/>
          </p:spPr>
          <p:txBody>
            <a:bodyPr wrap="none" lIns="72000" tIns="72000" rIns="72000" bIns="72000" anchor="ctr"/>
            <a:lstStyle/>
            <a:p>
              <a:endParaRPr lang="en-US" dirty="0"/>
            </a:p>
          </p:txBody>
        </p:sp>
        <p:sp>
          <p:nvSpPr>
            <p:cNvPr id="13" name="AutoShape 3">
              <a:extLst>
                <a:ext uri="{FF2B5EF4-FFF2-40B4-BE49-F238E27FC236}">
                  <a16:creationId xmlns:a16="http://schemas.microsoft.com/office/drawing/2014/main" id="{CABE8EB4-D2AE-4255-A187-B655583879C2}"/>
                </a:ext>
              </a:extLst>
            </p:cNvPr>
            <p:cNvSpPr>
              <a:spLocks noChangeArrowheads="1"/>
            </p:cNvSpPr>
            <p:nvPr/>
          </p:nvSpPr>
          <p:spPr bwMode="auto">
            <a:xfrm rot="16200000">
              <a:off x="1327" y="-142"/>
              <a:ext cx="3107" cy="5353"/>
            </a:xfrm>
            <a:prstGeom prst="rtTriangle">
              <a:avLst/>
            </a:prstGeom>
            <a:solidFill>
              <a:schemeClr val="accent1"/>
            </a:solidFill>
            <a:ln w="6350">
              <a:noFill/>
              <a:miter lim="800000"/>
              <a:headEnd/>
              <a:tailEnd/>
            </a:ln>
            <a:effectLst/>
          </p:spPr>
          <p:txBody>
            <a:bodyPr wrap="none" lIns="72000" tIns="72000" rIns="72000" bIns="72000" anchor="ctr"/>
            <a:lstStyle/>
            <a:p>
              <a:endParaRPr lang="en-US" dirty="0"/>
            </a:p>
          </p:txBody>
        </p:sp>
      </p:grpSp>
      <p:sp>
        <p:nvSpPr>
          <p:cNvPr id="14" name="Rectangle 7">
            <a:extLst>
              <a:ext uri="{FF2B5EF4-FFF2-40B4-BE49-F238E27FC236}">
                <a16:creationId xmlns:a16="http://schemas.microsoft.com/office/drawing/2014/main" id="{38976297-B07D-475A-AA95-B12F4498B630}"/>
              </a:ext>
            </a:extLst>
          </p:cNvPr>
          <p:cNvSpPr>
            <a:spLocks noChangeArrowheads="1"/>
          </p:cNvSpPr>
          <p:nvPr>
            <p:custDataLst>
              <p:tags r:id="rId1"/>
            </p:custDataLst>
          </p:nvPr>
        </p:nvSpPr>
        <p:spPr bwMode="auto">
          <a:xfrm>
            <a:off x="381000" y="1457990"/>
            <a:ext cx="2755922" cy="1819254"/>
          </a:xfrm>
          <a:prstGeom prst="rect">
            <a:avLst/>
          </a:prstGeom>
          <a:noFill/>
          <a:ln w="6350">
            <a:noFill/>
            <a:miter lim="800000"/>
            <a:headEnd/>
            <a:tailEnd/>
          </a:ln>
          <a:effectLst/>
        </p:spPr>
        <p:txBody>
          <a:bodyPr lIns="180000" tIns="180000" rIns="144000" bIns="180000" anchor="t" anchorCtr="0"/>
          <a:lstStyle/>
          <a:p>
            <a:pPr eaLnBrk="0" hangingPunct="0">
              <a:lnSpc>
                <a:spcPct val="85000"/>
              </a:lnSpc>
              <a:spcBef>
                <a:spcPts val="100"/>
              </a:spcBef>
              <a:spcAft>
                <a:spcPts val="300"/>
              </a:spcAft>
            </a:pPr>
            <a:r>
              <a:rPr lang="en-US" b="1" dirty="0">
                <a:latin typeface="+mj-lt"/>
              </a:rPr>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p:txBody>
      </p:sp>
      <p:sp>
        <p:nvSpPr>
          <p:cNvPr id="15" name="Rectangle 7">
            <a:extLst>
              <a:ext uri="{FF2B5EF4-FFF2-40B4-BE49-F238E27FC236}">
                <a16:creationId xmlns:a16="http://schemas.microsoft.com/office/drawing/2014/main" id="{A61A1CFC-DC00-40F4-9BA4-9192FB103483}"/>
              </a:ext>
            </a:extLst>
          </p:cNvPr>
          <p:cNvSpPr>
            <a:spLocks noChangeArrowheads="1"/>
          </p:cNvSpPr>
          <p:nvPr>
            <p:custDataLst>
              <p:tags r:id="rId2"/>
            </p:custDataLst>
          </p:nvPr>
        </p:nvSpPr>
        <p:spPr bwMode="auto">
          <a:xfrm>
            <a:off x="5251434" y="3930102"/>
            <a:ext cx="2755922" cy="1822076"/>
          </a:xfrm>
          <a:prstGeom prst="rect">
            <a:avLst/>
          </a:prstGeom>
          <a:noFill/>
          <a:ln w="6350">
            <a:noFill/>
            <a:miter lim="800000"/>
            <a:headEnd/>
            <a:tailEnd/>
          </a:ln>
          <a:effectLst/>
        </p:spPr>
        <p:txBody>
          <a:bodyPr lIns="180000" tIns="180000" rIns="144000" bIns="180000" anchor="b" anchorCtr="0"/>
          <a:lstStyle/>
          <a:p>
            <a:pPr eaLnBrk="0" hangingPunct="0">
              <a:lnSpc>
                <a:spcPct val="85000"/>
              </a:lnSpc>
              <a:spcBef>
                <a:spcPts val="100"/>
              </a:spcBef>
              <a:spcAft>
                <a:spcPts val="300"/>
              </a:spcAft>
            </a:pPr>
            <a:r>
              <a:rPr lang="en-US" b="1" dirty="0">
                <a:solidFill>
                  <a:schemeClr val="bg1"/>
                </a:solidFill>
                <a:latin typeface="+mj-lt"/>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p:txBody>
      </p:sp>
      <p:sp>
        <p:nvSpPr>
          <p:cNvPr id="16" name="Rectangle 7">
            <a:extLst>
              <a:ext uri="{FF2B5EF4-FFF2-40B4-BE49-F238E27FC236}">
                <a16:creationId xmlns:a16="http://schemas.microsoft.com/office/drawing/2014/main" id="{BF3EB538-83F4-46D5-B583-1EA2488449B0}"/>
              </a:ext>
            </a:extLst>
          </p:cNvPr>
          <p:cNvSpPr>
            <a:spLocks noChangeArrowheads="1"/>
          </p:cNvSpPr>
          <p:nvPr>
            <p:custDataLst>
              <p:tags r:id="rId3"/>
            </p:custDataLst>
          </p:nvPr>
        </p:nvSpPr>
        <p:spPr bwMode="auto">
          <a:xfrm>
            <a:off x="8714074" y="3930102"/>
            <a:ext cx="2755922" cy="1822076"/>
          </a:xfrm>
          <a:prstGeom prst="rect">
            <a:avLst/>
          </a:prstGeom>
          <a:noFill/>
          <a:ln w="6350">
            <a:noFill/>
            <a:miter lim="800000"/>
            <a:headEnd/>
            <a:tailEnd/>
          </a:ln>
          <a:effectLst/>
        </p:spPr>
        <p:txBody>
          <a:bodyPr lIns="180000" tIns="180000" rIns="144000" bIns="180000" anchor="b" anchorCtr="0"/>
          <a:lstStyle/>
          <a:p>
            <a:pPr eaLnBrk="0" hangingPunct="0">
              <a:lnSpc>
                <a:spcPct val="85000"/>
              </a:lnSpc>
              <a:spcBef>
                <a:spcPts val="100"/>
              </a:spcBef>
              <a:spcAft>
                <a:spcPts val="300"/>
              </a:spcAft>
            </a:pPr>
            <a:r>
              <a:rPr lang="en-US" b="1" dirty="0">
                <a:solidFill>
                  <a:schemeClr val="bg1"/>
                </a:solidFill>
                <a:latin typeface="+mj-lt"/>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p:txBody>
      </p:sp>
      <p:sp>
        <p:nvSpPr>
          <p:cNvPr id="5" name="Footer Placeholder 4">
            <a:extLst>
              <a:ext uri="{FF2B5EF4-FFF2-40B4-BE49-F238E27FC236}">
                <a16:creationId xmlns:a16="http://schemas.microsoft.com/office/drawing/2014/main" id="{BFEA7874-B664-460B-9BE6-98EBB5B3C16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5E703338-6CE6-4D92-8E16-E1781A37BB68}"/>
              </a:ext>
            </a:extLst>
          </p:cNvPr>
          <p:cNvSpPr>
            <a:spLocks noGrp="1"/>
          </p:cNvSpPr>
          <p:nvPr>
            <p:ph type="sldNum" sz="quarter" idx="10"/>
          </p:nvPr>
        </p:nvSpPr>
        <p:spPr/>
        <p:txBody>
          <a:bodyPr/>
          <a:lstStyle/>
          <a:p>
            <a:fld id="{1F90F471-3972-4120-B8B3-0237DE626C35}" type="slidenum">
              <a:rPr lang="en-US" smtClean="0"/>
              <a:pPr/>
              <a:t>214</a:t>
            </a:fld>
            <a:endParaRPr lang="en-US" dirty="0"/>
          </a:p>
        </p:txBody>
      </p:sp>
    </p:spTree>
    <p:extLst>
      <p:ext uri="{BB962C8B-B14F-4D97-AF65-F5344CB8AC3E}">
        <p14:creationId xmlns:p14="http://schemas.microsoft.com/office/powerpoint/2010/main" val="152888024"/>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Development 1</a:t>
            </a:r>
          </a:p>
        </p:txBody>
      </p:sp>
      <p:sp>
        <p:nvSpPr>
          <p:cNvPr id="10" name="Rectangle 5">
            <a:extLst>
              <a:ext uri="{FF2B5EF4-FFF2-40B4-BE49-F238E27FC236}">
                <a16:creationId xmlns:a16="http://schemas.microsoft.com/office/drawing/2014/main" id="{FC6F285C-36F7-4165-9834-68FA689010EC}"/>
              </a:ext>
            </a:extLst>
          </p:cNvPr>
          <p:cNvSpPr>
            <a:spLocks noChangeArrowheads="1"/>
          </p:cNvSpPr>
          <p:nvPr/>
        </p:nvSpPr>
        <p:spPr bwMode="auto">
          <a:xfrm>
            <a:off x="379414" y="1366838"/>
            <a:ext cx="3214998" cy="4691062"/>
          </a:xfrm>
          <a:prstGeom prst="rect">
            <a:avLst/>
          </a:prstGeom>
          <a:solidFill>
            <a:schemeClr val="accent3">
              <a:lumMod val="20000"/>
              <a:lumOff val="80000"/>
            </a:schemeClr>
          </a:solidFill>
          <a:ln w="6350">
            <a:noFill/>
            <a:miter lim="800000"/>
            <a:headEnd/>
            <a:tailEnd/>
          </a:ln>
        </p:spPr>
        <p:txBody>
          <a:bodyPr lIns="180000" tIns="144000" rIns="72000" bIns="72000"/>
          <a:lstStyle/>
          <a:p>
            <a:pPr algn="l" eaLnBrk="0" hangingPunct="0">
              <a:lnSpc>
                <a:spcPct val="85000"/>
              </a:lnSpc>
              <a:spcBef>
                <a:spcPts val="100"/>
              </a:spcBef>
              <a:spcAft>
                <a:spcPts val="300"/>
              </a:spcAft>
            </a:pPr>
            <a:r>
              <a:rPr lang="en-US" b="1" dirty="0">
                <a:latin typeface="+mj-lt"/>
              </a:rPr>
              <a:t>Text</a:t>
            </a:r>
          </a:p>
          <a:p>
            <a:pPr marL="174625" indent="-174625" algn="l" eaLnBrk="0" hangingPunct="0">
              <a:spcBef>
                <a:spcPts val="100"/>
              </a:spcBef>
              <a:spcAft>
                <a:spcPts val="100"/>
              </a:spcAft>
              <a:buFontTx/>
              <a:buChar char="•"/>
            </a:pPr>
            <a:r>
              <a:rPr lang="en-US" dirty="0"/>
              <a:t>Text</a:t>
            </a:r>
          </a:p>
          <a:p>
            <a:pPr marL="174625" indent="-174625" algn="l" eaLnBrk="0" hangingPunct="0">
              <a:spcBef>
                <a:spcPts val="100"/>
              </a:spcBef>
              <a:spcAft>
                <a:spcPts val="100"/>
              </a:spcAft>
              <a:buFontTx/>
              <a:buChar char="•"/>
            </a:pPr>
            <a:r>
              <a:rPr lang="en-US" dirty="0"/>
              <a:t>Text</a:t>
            </a:r>
          </a:p>
          <a:p>
            <a:pPr marL="174625" indent="-174625" algn="l" eaLnBrk="0" hangingPunct="0">
              <a:spcBef>
                <a:spcPts val="100"/>
              </a:spcBef>
              <a:spcAft>
                <a:spcPts val="100"/>
              </a:spcAft>
              <a:buFontTx/>
              <a:buChar char="•"/>
            </a:pPr>
            <a:r>
              <a:rPr lang="en-US" dirty="0"/>
              <a:t>Text</a:t>
            </a:r>
          </a:p>
        </p:txBody>
      </p:sp>
      <p:sp>
        <p:nvSpPr>
          <p:cNvPr id="18" name="Arrow: Chevron 17">
            <a:extLst>
              <a:ext uri="{FF2B5EF4-FFF2-40B4-BE49-F238E27FC236}">
                <a16:creationId xmlns:a16="http://schemas.microsoft.com/office/drawing/2014/main" id="{3DF55D15-51FF-408A-B3B8-C62AE0475CF9}"/>
              </a:ext>
              <a:ext uri="{C183D7F6-B498-43B3-948B-1728B52AA6E4}">
                <adec:decorative xmlns:adec="http://schemas.microsoft.com/office/drawing/2017/decorative" val="1"/>
              </a:ext>
            </a:extLst>
          </p:cNvPr>
          <p:cNvSpPr/>
          <p:nvPr/>
        </p:nvSpPr>
        <p:spPr>
          <a:xfrm>
            <a:off x="3758223" y="2868068"/>
            <a:ext cx="565673" cy="783447"/>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14" name="Rectangle 5">
            <a:extLst>
              <a:ext uri="{FF2B5EF4-FFF2-40B4-BE49-F238E27FC236}">
                <a16:creationId xmlns:a16="http://schemas.microsoft.com/office/drawing/2014/main" id="{A32A0F1C-0468-4BD4-ADF1-192F19A21F03}"/>
              </a:ext>
            </a:extLst>
          </p:cNvPr>
          <p:cNvSpPr>
            <a:spLocks noChangeArrowheads="1"/>
          </p:cNvSpPr>
          <p:nvPr/>
        </p:nvSpPr>
        <p:spPr bwMode="auto">
          <a:xfrm>
            <a:off x="4487708" y="1366838"/>
            <a:ext cx="3214998" cy="4691062"/>
          </a:xfrm>
          <a:prstGeom prst="rect">
            <a:avLst/>
          </a:prstGeom>
          <a:solidFill>
            <a:schemeClr val="accent3">
              <a:lumMod val="60000"/>
              <a:lumOff val="40000"/>
            </a:schemeClr>
          </a:solidFill>
          <a:ln w="6350">
            <a:noFill/>
            <a:miter lim="800000"/>
            <a:headEnd/>
            <a:tailEnd/>
          </a:ln>
        </p:spPr>
        <p:txBody>
          <a:bodyPr lIns="180000" tIns="144000" rIns="72000" bIns="72000"/>
          <a:lstStyle/>
          <a:p>
            <a:pPr algn="l" eaLnBrk="0" hangingPunct="0">
              <a:lnSpc>
                <a:spcPct val="85000"/>
              </a:lnSpc>
              <a:spcBef>
                <a:spcPts val="100"/>
              </a:spcBef>
              <a:spcAft>
                <a:spcPts val="300"/>
              </a:spcAft>
            </a:pPr>
            <a:r>
              <a:rPr lang="en-US" b="1" dirty="0">
                <a:solidFill>
                  <a:schemeClr val="bg1"/>
                </a:solidFill>
                <a:latin typeface="+mj-lt"/>
              </a:rPr>
              <a:t>Text</a:t>
            </a:r>
          </a:p>
          <a:p>
            <a:pPr marL="174625" indent="-174625" algn="l" eaLnBrk="0" hangingPunct="0">
              <a:spcBef>
                <a:spcPts val="100"/>
              </a:spcBef>
              <a:spcAft>
                <a:spcPts val="100"/>
              </a:spcAft>
              <a:buFontTx/>
              <a:buChar char="•"/>
            </a:pPr>
            <a:r>
              <a:rPr lang="en-US" dirty="0">
                <a:solidFill>
                  <a:schemeClr val="bg1"/>
                </a:solidFill>
              </a:rPr>
              <a:t>Text</a:t>
            </a:r>
          </a:p>
          <a:p>
            <a:pPr marL="174625" indent="-174625" algn="l" eaLnBrk="0" hangingPunct="0">
              <a:spcBef>
                <a:spcPts val="100"/>
              </a:spcBef>
              <a:spcAft>
                <a:spcPts val="100"/>
              </a:spcAft>
              <a:buFontTx/>
              <a:buChar char="•"/>
            </a:pPr>
            <a:r>
              <a:rPr lang="en-US" dirty="0">
                <a:solidFill>
                  <a:schemeClr val="bg1"/>
                </a:solidFill>
              </a:rPr>
              <a:t>Text</a:t>
            </a:r>
          </a:p>
          <a:p>
            <a:pPr marL="174625" indent="-174625" algn="l" eaLnBrk="0" hangingPunct="0">
              <a:spcBef>
                <a:spcPts val="100"/>
              </a:spcBef>
              <a:spcAft>
                <a:spcPts val="100"/>
              </a:spcAft>
              <a:buFontTx/>
              <a:buChar char="•"/>
            </a:pPr>
            <a:r>
              <a:rPr lang="en-US" dirty="0">
                <a:solidFill>
                  <a:schemeClr val="bg1"/>
                </a:solidFill>
              </a:rPr>
              <a:t>Text</a:t>
            </a:r>
          </a:p>
        </p:txBody>
      </p:sp>
      <p:sp>
        <p:nvSpPr>
          <p:cNvPr id="20" name="Arrow: Chevron 19">
            <a:extLst>
              <a:ext uri="{FF2B5EF4-FFF2-40B4-BE49-F238E27FC236}">
                <a16:creationId xmlns:a16="http://schemas.microsoft.com/office/drawing/2014/main" id="{9EDBED30-3E6D-4693-9168-913EC3912F12}"/>
              </a:ext>
              <a:ext uri="{C183D7F6-B498-43B3-948B-1728B52AA6E4}">
                <adec:decorative xmlns:adec="http://schemas.microsoft.com/office/drawing/2017/decorative" val="1"/>
              </a:ext>
            </a:extLst>
          </p:cNvPr>
          <p:cNvSpPr/>
          <p:nvPr/>
        </p:nvSpPr>
        <p:spPr>
          <a:xfrm>
            <a:off x="7866517" y="2868068"/>
            <a:ext cx="565673" cy="783447"/>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16" name="Rectangle 5">
            <a:extLst>
              <a:ext uri="{FF2B5EF4-FFF2-40B4-BE49-F238E27FC236}">
                <a16:creationId xmlns:a16="http://schemas.microsoft.com/office/drawing/2014/main" id="{5F244F94-8DED-4725-AE56-7905FD3BDB00}"/>
              </a:ext>
            </a:extLst>
          </p:cNvPr>
          <p:cNvSpPr>
            <a:spLocks noChangeArrowheads="1"/>
          </p:cNvSpPr>
          <p:nvPr/>
        </p:nvSpPr>
        <p:spPr bwMode="auto">
          <a:xfrm>
            <a:off x="8596002" y="1387214"/>
            <a:ext cx="3214998" cy="4670686"/>
          </a:xfrm>
          <a:prstGeom prst="rect">
            <a:avLst/>
          </a:prstGeom>
          <a:solidFill>
            <a:schemeClr val="accent3"/>
          </a:solidFill>
          <a:ln w="6350">
            <a:noFill/>
            <a:miter lim="800000"/>
            <a:headEnd/>
            <a:tailEnd/>
          </a:ln>
        </p:spPr>
        <p:txBody>
          <a:bodyPr lIns="180000" tIns="144000" rIns="72000" bIns="72000"/>
          <a:lstStyle/>
          <a:p>
            <a:pPr algn="l" eaLnBrk="0" hangingPunct="0">
              <a:lnSpc>
                <a:spcPct val="85000"/>
              </a:lnSpc>
              <a:spcBef>
                <a:spcPts val="100"/>
              </a:spcBef>
              <a:spcAft>
                <a:spcPts val="300"/>
              </a:spcAft>
            </a:pPr>
            <a:r>
              <a:rPr lang="en-US" b="1" dirty="0">
                <a:solidFill>
                  <a:schemeClr val="bg1"/>
                </a:solidFill>
                <a:latin typeface="+mj-lt"/>
              </a:rPr>
              <a:t>Text</a:t>
            </a:r>
          </a:p>
          <a:p>
            <a:pPr marL="174625" indent="-174625" algn="l" eaLnBrk="0" hangingPunct="0">
              <a:spcBef>
                <a:spcPts val="100"/>
              </a:spcBef>
              <a:spcAft>
                <a:spcPts val="100"/>
              </a:spcAft>
              <a:buFontTx/>
              <a:buChar char="•"/>
            </a:pPr>
            <a:r>
              <a:rPr lang="en-US" dirty="0">
                <a:solidFill>
                  <a:schemeClr val="bg1"/>
                </a:solidFill>
              </a:rPr>
              <a:t>Text</a:t>
            </a:r>
          </a:p>
          <a:p>
            <a:pPr marL="174625" indent="-174625" algn="l" eaLnBrk="0" hangingPunct="0">
              <a:spcBef>
                <a:spcPts val="100"/>
              </a:spcBef>
              <a:spcAft>
                <a:spcPts val="100"/>
              </a:spcAft>
              <a:buFontTx/>
              <a:buChar char="•"/>
            </a:pPr>
            <a:r>
              <a:rPr lang="en-US" dirty="0">
                <a:solidFill>
                  <a:schemeClr val="bg1"/>
                </a:solidFill>
              </a:rPr>
              <a:t>Text</a:t>
            </a:r>
          </a:p>
          <a:p>
            <a:pPr marL="174625" indent="-174625" algn="l" eaLnBrk="0" hangingPunct="0">
              <a:spcBef>
                <a:spcPts val="100"/>
              </a:spcBef>
              <a:spcAft>
                <a:spcPts val="100"/>
              </a:spcAft>
              <a:buFontTx/>
              <a:buChar char="•"/>
            </a:pPr>
            <a:r>
              <a:rPr lang="en-US" dirty="0">
                <a:solidFill>
                  <a:schemeClr val="bg1"/>
                </a:solidFill>
              </a:rPr>
              <a:t>Text</a:t>
            </a:r>
          </a:p>
        </p:txBody>
      </p:sp>
      <p:sp>
        <p:nvSpPr>
          <p:cNvPr id="3" name="Footer Placeholder 2">
            <a:extLst>
              <a:ext uri="{FF2B5EF4-FFF2-40B4-BE49-F238E27FC236}">
                <a16:creationId xmlns:a16="http://schemas.microsoft.com/office/drawing/2014/main" id="{9178B0DA-060D-4002-8AD3-B6CD9A04C95B}"/>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AE199C94-4F3D-4611-90B4-06F5C6D89B42}"/>
              </a:ext>
            </a:extLst>
          </p:cNvPr>
          <p:cNvSpPr>
            <a:spLocks noGrp="1"/>
          </p:cNvSpPr>
          <p:nvPr>
            <p:ph type="sldNum" sz="quarter" idx="10"/>
          </p:nvPr>
        </p:nvSpPr>
        <p:spPr/>
        <p:txBody>
          <a:bodyPr/>
          <a:lstStyle/>
          <a:p>
            <a:fld id="{1F90F471-3972-4120-B8B3-0237DE626C35}" type="slidenum">
              <a:rPr lang="en-US" smtClean="0"/>
              <a:pPr/>
              <a:t>215</a:t>
            </a:fld>
            <a:endParaRPr lang="en-US" dirty="0"/>
          </a:p>
        </p:txBody>
      </p:sp>
    </p:spTree>
    <p:extLst>
      <p:ext uri="{BB962C8B-B14F-4D97-AF65-F5344CB8AC3E}">
        <p14:creationId xmlns:p14="http://schemas.microsoft.com/office/powerpoint/2010/main" val="384715725"/>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Development 2</a:t>
            </a:r>
          </a:p>
        </p:txBody>
      </p:sp>
      <p:sp>
        <p:nvSpPr>
          <p:cNvPr id="10" name="Arrow: Right 9">
            <a:extLst>
              <a:ext uri="{FF2B5EF4-FFF2-40B4-BE49-F238E27FC236}">
                <a16:creationId xmlns:a16="http://schemas.microsoft.com/office/drawing/2014/main" id="{97502E12-E1B0-4841-B577-99D6CB7EA50E}"/>
              </a:ext>
              <a:ext uri="{C183D7F6-B498-43B3-948B-1728B52AA6E4}">
                <adec:decorative xmlns:adec="http://schemas.microsoft.com/office/drawing/2017/decorative" val="1"/>
              </a:ext>
            </a:extLst>
          </p:cNvPr>
          <p:cNvSpPr/>
          <p:nvPr/>
        </p:nvSpPr>
        <p:spPr>
          <a:xfrm>
            <a:off x="381001" y="2860276"/>
            <a:ext cx="11429365" cy="1572107"/>
          </a:xfrm>
          <a:prstGeom prst="rightArrow">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2" name="Oval 11">
            <a:extLst>
              <a:ext uri="{FF2B5EF4-FFF2-40B4-BE49-F238E27FC236}">
                <a16:creationId xmlns:a16="http://schemas.microsoft.com/office/drawing/2014/main" id="{F1C3C676-DF0C-43B0-BF79-BC148C328275}"/>
              </a:ext>
            </a:extLst>
          </p:cNvPr>
          <p:cNvSpPr>
            <a:spLocks noChangeAspect="1" noChangeArrowheads="1"/>
          </p:cNvSpPr>
          <p:nvPr/>
        </p:nvSpPr>
        <p:spPr bwMode="auto">
          <a:xfrm>
            <a:off x="1102253" y="2228547"/>
            <a:ext cx="2880000" cy="2880000"/>
          </a:xfrm>
          <a:prstGeom prst="ellipse">
            <a:avLst/>
          </a:prstGeom>
          <a:solidFill>
            <a:schemeClr val="accent3"/>
          </a:solidFill>
          <a:ln w="6350">
            <a:noFill/>
            <a:round/>
            <a:headEnd/>
            <a:tailEnd/>
          </a:ln>
          <a:effectLst/>
        </p:spPr>
        <p:txBody>
          <a:bodyPr wrap="none" lIns="36000" tIns="36000" rIns="36000" bIns="36000" anchor="ctr" anchorCtr="1"/>
          <a:lstStyle/>
          <a:p>
            <a:pPr algn="ctr" eaLnBrk="0" hangingPunct="0">
              <a:lnSpc>
                <a:spcPct val="85000"/>
              </a:lnSpc>
              <a:spcBef>
                <a:spcPts val="100"/>
              </a:spcBef>
              <a:spcAft>
                <a:spcPts val="300"/>
              </a:spcAft>
            </a:pPr>
            <a:r>
              <a:rPr lang="en-US" b="1" dirty="0">
                <a:solidFill>
                  <a:schemeClr val="bg1"/>
                </a:solidFill>
                <a:latin typeface="+mj-lt"/>
              </a:rPr>
              <a:t>Text</a:t>
            </a:r>
          </a:p>
          <a:p>
            <a:pPr algn="ctr" eaLnBrk="0" hangingPunct="0">
              <a:spcBef>
                <a:spcPts val="100"/>
              </a:spcBef>
              <a:spcAft>
                <a:spcPts val="100"/>
              </a:spcAft>
            </a:pPr>
            <a:r>
              <a:rPr lang="en-US" dirty="0">
                <a:solidFill>
                  <a:schemeClr val="bg1"/>
                </a:solidFill>
              </a:rPr>
              <a:t>Text</a:t>
            </a:r>
          </a:p>
          <a:p>
            <a:pPr algn="ctr" eaLnBrk="0" hangingPunct="0">
              <a:spcBef>
                <a:spcPts val="100"/>
              </a:spcBef>
              <a:spcAft>
                <a:spcPts val="100"/>
              </a:spcAft>
            </a:pPr>
            <a:r>
              <a:rPr lang="en-US" dirty="0">
                <a:solidFill>
                  <a:schemeClr val="bg1"/>
                </a:solidFill>
              </a:rPr>
              <a:t>Text</a:t>
            </a:r>
          </a:p>
          <a:p>
            <a:pPr algn="ctr" eaLnBrk="0" hangingPunct="0">
              <a:spcBef>
                <a:spcPts val="100"/>
              </a:spcBef>
              <a:spcAft>
                <a:spcPts val="100"/>
              </a:spcAft>
            </a:pPr>
            <a:r>
              <a:rPr lang="en-US" dirty="0">
                <a:solidFill>
                  <a:schemeClr val="bg1"/>
                </a:solidFill>
              </a:rPr>
              <a:t>Text</a:t>
            </a:r>
          </a:p>
        </p:txBody>
      </p:sp>
      <p:sp>
        <p:nvSpPr>
          <p:cNvPr id="14" name="Oval 13">
            <a:extLst>
              <a:ext uri="{FF2B5EF4-FFF2-40B4-BE49-F238E27FC236}">
                <a16:creationId xmlns:a16="http://schemas.microsoft.com/office/drawing/2014/main" id="{810CE0C6-11CC-48B2-A39E-96B42C37B961}"/>
              </a:ext>
            </a:extLst>
          </p:cNvPr>
          <p:cNvSpPr>
            <a:spLocks noChangeAspect="1" noChangeArrowheads="1"/>
          </p:cNvSpPr>
          <p:nvPr/>
        </p:nvSpPr>
        <p:spPr bwMode="auto">
          <a:xfrm>
            <a:off x="4297489" y="2228547"/>
            <a:ext cx="2880000" cy="2880000"/>
          </a:xfrm>
          <a:prstGeom prst="ellipse">
            <a:avLst/>
          </a:prstGeom>
          <a:solidFill>
            <a:schemeClr val="accent2"/>
          </a:solidFill>
          <a:ln w="6350">
            <a:noFill/>
            <a:round/>
            <a:headEnd/>
            <a:tailEnd/>
          </a:ln>
          <a:effectLst/>
        </p:spPr>
        <p:txBody>
          <a:bodyPr wrap="none" lIns="36000" tIns="36000" rIns="36000" bIns="36000" anchor="ctr" anchorCtr="1"/>
          <a:lstStyle/>
          <a:p>
            <a:pPr algn="ctr" eaLnBrk="0" hangingPunct="0">
              <a:lnSpc>
                <a:spcPct val="85000"/>
              </a:lnSpc>
              <a:spcBef>
                <a:spcPts val="100"/>
              </a:spcBef>
              <a:spcAft>
                <a:spcPts val="300"/>
              </a:spcAft>
            </a:pPr>
            <a:r>
              <a:rPr lang="en-US" b="1" dirty="0">
                <a:solidFill>
                  <a:schemeClr val="bg1"/>
                </a:solidFill>
                <a:latin typeface="+mj-lt"/>
              </a:rPr>
              <a:t>Text</a:t>
            </a:r>
          </a:p>
          <a:p>
            <a:pPr algn="ctr" eaLnBrk="0" hangingPunct="0">
              <a:spcBef>
                <a:spcPts val="100"/>
              </a:spcBef>
              <a:spcAft>
                <a:spcPts val="100"/>
              </a:spcAft>
            </a:pPr>
            <a:r>
              <a:rPr lang="en-US" dirty="0">
                <a:solidFill>
                  <a:schemeClr val="bg1"/>
                </a:solidFill>
              </a:rPr>
              <a:t>Text</a:t>
            </a:r>
          </a:p>
          <a:p>
            <a:pPr algn="ctr" eaLnBrk="0" hangingPunct="0">
              <a:spcBef>
                <a:spcPts val="100"/>
              </a:spcBef>
              <a:spcAft>
                <a:spcPts val="100"/>
              </a:spcAft>
            </a:pPr>
            <a:r>
              <a:rPr lang="en-US" dirty="0">
                <a:solidFill>
                  <a:schemeClr val="bg1"/>
                </a:solidFill>
              </a:rPr>
              <a:t>Text</a:t>
            </a:r>
          </a:p>
          <a:p>
            <a:pPr algn="ctr" eaLnBrk="0" hangingPunct="0">
              <a:spcBef>
                <a:spcPts val="100"/>
              </a:spcBef>
              <a:spcAft>
                <a:spcPts val="100"/>
              </a:spcAft>
            </a:pPr>
            <a:r>
              <a:rPr lang="en-US" dirty="0">
                <a:solidFill>
                  <a:schemeClr val="bg1"/>
                </a:solidFill>
              </a:rPr>
              <a:t>Text</a:t>
            </a:r>
          </a:p>
        </p:txBody>
      </p:sp>
      <p:sp>
        <p:nvSpPr>
          <p:cNvPr id="16" name="Oval 15">
            <a:extLst>
              <a:ext uri="{FF2B5EF4-FFF2-40B4-BE49-F238E27FC236}">
                <a16:creationId xmlns:a16="http://schemas.microsoft.com/office/drawing/2014/main" id="{8B3C46AA-DF97-4FBE-A0E9-F7C15E581120}"/>
              </a:ext>
            </a:extLst>
          </p:cNvPr>
          <p:cNvSpPr>
            <a:spLocks noChangeAspect="1" noChangeArrowheads="1"/>
          </p:cNvSpPr>
          <p:nvPr/>
        </p:nvSpPr>
        <p:spPr bwMode="auto">
          <a:xfrm>
            <a:off x="7492725" y="2228547"/>
            <a:ext cx="2880000" cy="2880000"/>
          </a:xfrm>
          <a:prstGeom prst="ellipse">
            <a:avLst/>
          </a:prstGeom>
          <a:solidFill>
            <a:schemeClr val="accent1"/>
          </a:solidFill>
          <a:ln w="6350">
            <a:noFill/>
            <a:round/>
            <a:headEnd/>
            <a:tailEnd/>
          </a:ln>
          <a:effectLst/>
        </p:spPr>
        <p:txBody>
          <a:bodyPr wrap="none" lIns="36000" tIns="36000" rIns="36000" bIns="36000" anchor="ctr" anchorCtr="1"/>
          <a:lstStyle/>
          <a:p>
            <a:pPr algn="ctr" eaLnBrk="0" hangingPunct="0">
              <a:lnSpc>
                <a:spcPct val="85000"/>
              </a:lnSpc>
              <a:spcBef>
                <a:spcPts val="100"/>
              </a:spcBef>
              <a:spcAft>
                <a:spcPts val="300"/>
              </a:spcAft>
            </a:pPr>
            <a:r>
              <a:rPr lang="en-US" b="1" dirty="0">
                <a:solidFill>
                  <a:schemeClr val="bg1"/>
                </a:solidFill>
                <a:latin typeface="+mj-lt"/>
              </a:rPr>
              <a:t>Text</a:t>
            </a:r>
          </a:p>
          <a:p>
            <a:pPr algn="ctr" eaLnBrk="0" hangingPunct="0">
              <a:spcBef>
                <a:spcPts val="100"/>
              </a:spcBef>
              <a:spcAft>
                <a:spcPts val="100"/>
              </a:spcAft>
            </a:pPr>
            <a:r>
              <a:rPr lang="en-US" dirty="0">
                <a:solidFill>
                  <a:schemeClr val="bg1"/>
                </a:solidFill>
              </a:rPr>
              <a:t>Text</a:t>
            </a:r>
          </a:p>
          <a:p>
            <a:pPr algn="ctr" eaLnBrk="0" hangingPunct="0">
              <a:spcBef>
                <a:spcPts val="100"/>
              </a:spcBef>
              <a:spcAft>
                <a:spcPts val="100"/>
              </a:spcAft>
            </a:pPr>
            <a:r>
              <a:rPr lang="en-US" dirty="0">
                <a:solidFill>
                  <a:schemeClr val="bg1"/>
                </a:solidFill>
              </a:rPr>
              <a:t>Text</a:t>
            </a:r>
          </a:p>
          <a:p>
            <a:pPr algn="ctr" eaLnBrk="0" hangingPunct="0">
              <a:spcBef>
                <a:spcPts val="100"/>
              </a:spcBef>
              <a:spcAft>
                <a:spcPts val="100"/>
              </a:spcAft>
            </a:pPr>
            <a:r>
              <a:rPr lang="en-US" dirty="0">
                <a:solidFill>
                  <a:schemeClr val="bg1"/>
                </a:solidFill>
              </a:rPr>
              <a:t>Text</a:t>
            </a:r>
          </a:p>
        </p:txBody>
      </p:sp>
      <p:sp>
        <p:nvSpPr>
          <p:cNvPr id="5" name="Footer Placeholder 4">
            <a:extLst>
              <a:ext uri="{FF2B5EF4-FFF2-40B4-BE49-F238E27FC236}">
                <a16:creationId xmlns:a16="http://schemas.microsoft.com/office/drawing/2014/main" id="{9FCC6937-04E9-4EBC-A218-40BC1EED59CF}"/>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270FD8B0-CCA4-4CC8-BDC9-4883673429CB}"/>
              </a:ext>
            </a:extLst>
          </p:cNvPr>
          <p:cNvSpPr>
            <a:spLocks noGrp="1"/>
          </p:cNvSpPr>
          <p:nvPr>
            <p:ph type="sldNum" sz="quarter" idx="10"/>
          </p:nvPr>
        </p:nvSpPr>
        <p:spPr/>
        <p:txBody>
          <a:bodyPr/>
          <a:lstStyle/>
          <a:p>
            <a:fld id="{1F90F471-3972-4120-B8B3-0237DE626C35}" type="slidenum">
              <a:rPr lang="en-US" smtClean="0"/>
              <a:pPr/>
              <a:t>216</a:t>
            </a:fld>
            <a:endParaRPr lang="en-US" dirty="0"/>
          </a:p>
        </p:txBody>
      </p:sp>
    </p:spTree>
    <p:extLst>
      <p:ext uri="{BB962C8B-B14F-4D97-AF65-F5344CB8AC3E}">
        <p14:creationId xmlns:p14="http://schemas.microsoft.com/office/powerpoint/2010/main" val="3059280620"/>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Process 1</a:t>
            </a:r>
          </a:p>
        </p:txBody>
      </p:sp>
      <p:grpSp>
        <p:nvGrpSpPr>
          <p:cNvPr id="3" name="Group 2" descr="Process insert details here">
            <a:extLst>
              <a:ext uri="{FF2B5EF4-FFF2-40B4-BE49-F238E27FC236}">
                <a16:creationId xmlns:a16="http://schemas.microsoft.com/office/drawing/2014/main" id="{F4432D70-C8F6-4CEA-98F8-19C388180250}"/>
              </a:ext>
            </a:extLst>
          </p:cNvPr>
          <p:cNvGrpSpPr/>
          <p:nvPr/>
        </p:nvGrpSpPr>
        <p:grpSpPr>
          <a:xfrm>
            <a:off x="334964" y="1763713"/>
            <a:ext cx="11522074" cy="4059843"/>
            <a:chOff x="334964" y="1763713"/>
            <a:chExt cx="11522074" cy="4059843"/>
          </a:xfrm>
        </p:grpSpPr>
        <p:sp>
          <p:nvSpPr>
            <p:cNvPr id="22" name="Arrow: Chevron 21">
              <a:extLst>
                <a:ext uri="{FF2B5EF4-FFF2-40B4-BE49-F238E27FC236}">
                  <a16:creationId xmlns:a16="http://schemas.microsoft.com/office/drawing/2014/main" id="{CB2D815B-E2D6-49B6-93C3-AB7584FEE935}"/>
                </a:ext>
              </a:extLst>
            </p:cNvPr>
            <p:cNvSpPr/>
            <p:nvPr/>
          </p:nvSpPr>
          <p:spPr>
            <a:xfrm>
              <a:off x="334964" y="1763713"/>
              <a:ext cx="2140035" cy="2419972"/>
            </a:xfrm>
            <a:prstGeom prst="chevron">
              <a:avLst>
                <a:gd name="adj" fmla="val 23888"/>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dirty="0">
                  <a:solidFill>
                    <a:schemeClr val="tx1"/>
                  </a:solidFill>
                </a:rPr>
                <a:t>Text</a:t>
              </a:r>
            </a:p>
          </p:txBody>
        </p:sp>
        <p:sp>
          <p:nvSpPr>
            <p:cNvPr id="23" name="Arrow: Chevron 22">
              <a:extLst>
                <a:ext uri="{FF2B5EF4-FFF2-40B4-BE49-F238E27FC236}">
                  <a16:creationId xmlns:a16="http://schemas.microsoft.com/office/drawing/2014/main" id="{FF73984D-1118-43C7-8441-DF3D092387C5}"/>
                </a:ext>
              </a:extLst>
            </p:cNvPr>
            <p:cNvSpPr/>
            <p:nvPr/>
          </p:nvSpPr>
          <p:spPr>
            <a:xfrm>
              <a:off x="2211372" y="1763713"/>
              <a:ext cx="2140035" cy="2419972"/>
            </a:xfrm>
            <a:prstGeom prst="chevron">
              <a:avLst>
                <a:gd name="adj" fmla="val 23888"/>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dirty="0">
                  <a:solidFill>
                    <a:schemeClr val="tx1"/>
                  </a:solidFill>
                </a:rPr>
                <a:t>Text</a:t>
              </a:r>
            </a:p>
          </p:txBody>
        </p:sp>
        <p:sp>
          <p:nvSpPr>
            <p:cNvPr id="24" name="Arrow: Chevron 23">
              <a:extLst>
                <a:ext uri="{FF2B5EF4-FFF2-40B4-BE49-F238E27FC236}">
                  <a16:creationId xmlns:a16="http://schemas.microsoft.com/office/drawing/2014/main" id="{E966AF0D-EE03-4AC5-AEFF-78B932121DFF}"/>
                </a:ext>
              </a:extLst>
            </p:cNvPr>
            <p:cNvSpPr/>
            <p:nvPr/>
          </p:nvSpPr>
          <p:spPr>
            <a:xfrm>
              <a:off x="4087779" y="1763713"/>
              <a:ext cx="2140035" cy="2419972"/>
            </a:xfrm>
            <a:prstGeom prst="chevron">
              <a:avLst>
                <a:gd name="adj" fmla="val 23888"/>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dirty="0">
                  <a:solidFill>
                    <a:schemeClr val="tx1"/>
                  </a:solidFill>
                </a:rPr>
                <a:t>Text</a:t>
              </a:r>
            </a:p>
          </p:txBody>
        </p:sp>
        <p:sp>
          <p:nvSpPr>
            <p:cNvPr id="25" name="Freeform: Shape 24">
              <a:extLst>
                <a:ext uri="{FF2B5EF4-FFF2-40B4-BE49-F238E27FC236}">
                  <a16:creationId xmlns:a16="http://schemas.microsoft.com/office/drawing/2014/main" id="{07D42CE4-0829-4B94-88D2-93E47FBB1225}"/>
                </a:ext>
                <a:ext uri="{C183D7F6-B498-43B3-948B-1728B52AA6E4}">
                  <adec:decorative xmlns:adec="http://schemas.microsoft.com/office/drawing/2017/decorative" val="0"/>
                </a:ext>
              </a:extLst>
            </p:cNvPr>
            <p:cNvSpPr/>
            <p:nvPr/>
          </p:nvSpPr>
          <p:spPr>
            <a:xfrm>
              <a:off x="5964187" y="1763713"/>
              <a:ext cx="2140035" cy="1735972"/>
            </a:xfrm>
            <a:custGeom>
              <a:avLst/>
              <a:gdLst>
                <a:gd name="connsiteX0" fmla="*/ 0 w 2140035"/>
                <a:gd name="connsiteY0" fmla="*/ 0 h 1735972"/>
                <a:gd name="connsiteX1" fmla="*/ 1628823 w 2140035"/>
                <a:gd name="connsiteY1" fmla="*/ 0 h 1735972"/>
                <a:gd name="connsiteX2" fmla="*/ 2140035 w 2140035"/>
                <a:gd name="connsiteY2" fmla="*/ 1209986 h 1735972"/>
                <a:gd name="connsiteX3" fmla="*/ 1917809 w 2140035"/>
                <a:gd name="connsiteY3" fmla="*/ 1735972 h 1735972"/>
                <a:gd name="connsiteX4" fmla="*/ 288986 w 2140035"/>
                <a:gd name="connsiteY4" fmla="*/ 1735972 h 1735972"/>
                <a:gd name="connsiteX5" fmla="*/ 511212 w 2140035"/>
                <a:gd name="connsiteY5" fmla="*/ 1209986 h 173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0035" h="1735972">
                  <a:moveTo>
                    <a:pt x="0" y="0"/>
                  </a:moveTo>
                  <a:lnTo>
                    <a:pt x="1628823" y="0"/>
                  </a:lnTo>
                  <a:lnTo>
                    <a:pt x="2140035" y="1209986"/>
                  </a:lnTo>
                  <a:lnTo>
                    <a:pt x="1917809" y="1735972"/>
                  </a:lnTo>
                  <a:lnTo>
                    <a:pt x="288986" y="1735972"/>
                  </a:lnTo>
                  <a:lnTo>
                    <a:pt x="511212" y="1209986"/>
                  </a:lnTo>
                  <a:close/>
                </a:path>
              </a:pathLst>
            </a:cu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tIns="720000" rtlCol="0" anchor="ctr"/>
            <a:lstStyle/>
            <a:p>
              <a:pPr algn="ctr"/>
              <a:r>
                <a:rPr lang="en-AU" dirty="0">
                  <a:solidFill>
                    <a:schemeClr val="tx1"/>
                  </a:solidFill>
                </a:rPr>
                <a:t>Text</a:t>
              </a:r>
            </a:p>
          </p:txBody>
        </p:sp>
        <p:cxnSp>
          <p:nvCxnSpPr>
            <p:cNvPr id="33" name="Straight Arrow Connector 32">
              <a:extLst>
                <a:ext uri="{FF2B5EF4-FFF2-40B4-BE49-F238E27FC236}">
                  <a16:creationId xmlns:a16="http://schemas.microsoft.com/office/drawing/2014/main" id="{90F079E8-F4A5-4460-869C-5BD08FAC3FC2}"/>
                </a:ext>
                <a:ext uri="{C183D7F6-B498-43B3-948B-1728B52AA6E4}">
                  <adec:decorative xmlns:adec="http://schemas.microsoft.com/office/drawing/2017/decorative" val="1"/>
                </a:ext>
              </a:extLst>
            </p:cNvPr>
            <p:cNvCxnSpPr/>
            <p:nvPr/>
          </p:nvCxnSpPr>
          <p:spPr>
            <a:xfrm flipV="1">
              <a:off x="7034204" y="3295859"/>
              <a:ext cx="0" cy="4622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Freeform: Shape 25">
              <a:extLst>
                <a:ext uri="{FF2B5EF4-FFF2-40B4-BE49-F238E27FC236}">
                  <a16:creationId xmlns:a16="http://schemas.microsoft.com/office/drawing/2014/main" id="{32005861-CCFD-4027-8B47-E89BB6D51ABF}"/>
                </a:ext>
              </a:extLst>
            </p:cNvPr>
            <p:cNvSpPr/>
            <p:nvPr/>
          </p:nvSpPr>
          <p:spPr>
            <a:xfrm>
              <a:off x="7840595" y="1763713"/>
              <a:ext cx="2140035" cy="1735972"/>
            </a:xfrm>
            <a:custGeom>
              <a:avLst/>
              <a:gdLst>
                <a:gd name="connsiteX0" fmla="*/ 0 w 2140035"/>
                <a:gd name="connsiteY0" fmla="*/ 0 h 1735972"/>
                <a:gd name="connsiteX1" fmla="*/ 1628823 w 2140035"/>
                <a:gd name="connsiteY1" fmla="*/ 0 h 1735972"/>
                <a:gd name="connsiteX2" fmla="*/ 2140035 w 2140035"/>
                <a:gd name="connsiteY2" fmla="*/ 1209986 h 1735972"/>
                <a:gd name="connsiteX3" fmla="*/ 1917809 w 2140035"/>
                <a:gd name="connsiteY3" fmla="*/ 1735972 h 1735972"/>
                <a:gd name="connsiteX4" fmla="*/ 288986 w 2140035"/>
                <a:gd name="connsiteY4" fmla="*/ 1735972 h 1735972"/>
                <a:gd name="connsiteX5" fmla="*/ 511212 w 2140035"/>
                <a:gd name="connsiteY5" fmla="*/ 1209986 h 173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0035" h="1735972">
                  <a:moveTo>
                    <a:pt x="0" y="0"/>
                  </a:moveTo>
                  <a:lnTo>
                    <a:pt x="1628823" y="0"/>
                  </a:lnTo>
                  <a:lnTo>
                    <a:pt x="2140035" y="1209986"/>
                  </a:lnTo>
                  <a:lnTo>
                    <a:pt x="1917809" y="1735972"/>
                  </a:lnTo>
                  <a:lnTo>
                    <a:pt x="288986" y="1735972"/>
                  </a:lnTo>
                  <a:lnTo>
                    <a:pt x="511212" y="1209986"/>
                  </a:lnTo>
                  <a:close/>
                </a:path>
              </a:pathLst>
            </a:cu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tIns="720000" rtlCol="0" anchor="ctr"/>
            <a:lstStyle/>
            <a:p>
              <a:pPr algn="ctr"/>
              <a:r>
                <a:rPr lang="en-AU" dirty="0">
                  <a:solidFill>
                    <a:schemeClr val="tx1"/>
                  </a:solidFill>
                </a:rPr>
                <a:t>Text</a:t>
              </a:r>
            </a:p>
          </p:txBody>
        </p:sp>
        <p:cxnSp>
          <p:nvCxnSpPr>
            <p:cNvPr id="34" name="Straight Arrow Connector 33">
              <a:extLst>
                <a:ext uri="{FF2B5EF4-FFF2-40B4-BE49-F238E27FC236}">
                  <a16:creationId xmlns:a16="http://schemas.microsoft.com/office/drawing/2014/main" id="{F0D34BE0-732E-4E57-A2C6-E7B8092E427E}"/>
                </a:ext>
                <a:ext uri="{C183D7F6-B498-43B3-948B-1728B52AA6E4}">
                  <adec:decorative xmlns:adec="http://schemas.microsoft.com/office/drawing/2017/decorative" val="1"/>
                </a:ext>
              </a:extLst>
            </p:cNvPr>
            <p:cNvCxnSpPr/>
            <p:nvPr/>
          </p:nvCxnSpPr>
          <p:spPr>
            <a:xfrm>
              <a:off x="8913245" y="3295859"/>
              <a:ext cx="0" cy="4622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Freeform: Shape 31">
              <a:extLst>
                <a:ext uri="{FF2B5EF4-FFF2-40B4-BE49-F238E27FC236}">
                  <a16:creationId xmlns:a16="http://schemas.microsoft.com/office/drawing/2014/main" id="{5DB1A658-DC44-4444-BA35-58D30F4DCA5C}"/>
                </a:ext>
              </a:extLst>
            </p:cNvPr>
            <p:cNvSpPr/>
            <p:nvPr/>
          </p:nvSpPr>
          <p:spPr>
            <a:xfrm>
              <a:off x="5964187" y="3652671"/>
              <a:ext cx="3729581" cy="531014"/>
            </a:xfrm>
            <a:custGeom>
              <a:avLst/>
              <a:gdLst>
                <a:gd name="connsiteX0" fmla="*/ 224351 w 3729581"/>
                <a:gd name="connsiteY0" fmla="*/ 0 h 531014"/>
                <a:gd name="connsiteX1" fmla="*/ 3729581 w 3729581"/>
                <a:gd name="connsiteY1" fmla="*/ 0 h 531014"/>
                <a:gd name="connsiteX2" fmla="*/ 3505231 w 3729581"/>
                <a:gd name="connsiteY2" fmla="*/ 531014 h 531014"/>
                <a:gd name="connsiteX3" fmla="*/ 2727637 w 3729581"/>
                <a:gd name="connsiteY3" fmla="*/ 531014 h 531014"/>
                <a:gd name="connsiteX4" fmla="*/ 1876408 w 3729581"/>
                <a:gd name="connsiteY4" fmla="*/ 531014 h 531014"/>
                <a:gd name="connsiteX5" fmla="*/ 1628823 w 3729581"/>
                <a:gd name="connsiteY5" fmla="*/ 531014 h 531014"/>
                <a:gd name="connsiteX6" fmla="*/ 1089756 w 3729581"/>
                <a:gd name="connsiteY6" fmla="*/ 531014 h 531014"/>
                <a:gd name="connsiteX7" fmla="*/ 0 w 3729581"/>
                <a:gd name="connsiteY7" fmla="*/ 531014 h 531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9581" h="531014">
                  <a:moveTo>
                    <a:pt x="224351" y="0"/>
                  </a:moveTo>
                  <a:lnTo>
                    <a:pt x="3729581" y="0"/>
                  </a:lnTo>
                  <a:lnTo>
                    <a:pt x="3505231" y="531014"/>
                  </a:lnTo>
                  <a:lnTo>
                    <a:pt x="2727637" y="531014"/>
                  </a:lnTo>
                  <a:lnTo>
                    <a:pt x="1876408" y="531014"/>
                  </a:lnTo>
                  <a:lnTo>
                    <a:pt x="1628823" y="531014"/>
                  </a:lnTo>
                  <a:lnTo>
                    <a:pt x="1089756" y="531014"/>
                  </a:lnTo>
                  <a:lnTo>
                    <a:pt x="0" y="531014"/>
                  </a:lnTo>
                  <a:close/>
                </a:path>
              </a:pathLst>
            </a:cu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dirty="0">
                  <a:solidFill>
                    <a:schemeClr val="tx1"/>
                  </a:solidFill>
                </a:rPr>
                <a:t>Text</a:t>
              </a:r>
            </a:p>
          </p:txBody>
        </p:sp>
        <p:sp>
          <p:nvSpPr>
            <p:cNvPr id="27" name="Arrow: Chevron 26">
              <a:extLst>
                <a:ext uri="{FF2B5EF4-FFF2-40B4-BE49-F238E27FC236}">
                  <a16:creationId xmlns:a16="http://schemas.microsoft.com/office/drawing/2014/main" id="{BAB86800-6DD8-496B-8A81-6F5EE681E284}"/>
                </a:ext>
              </a:extLst>
            </p:cNvPr>
            <p:cNvSpPr/>
            <p:nvPr/>
          </p:nvSpPr>
          <p:spPr>
            <a:xfrm>
              <a:off x="9717003" y="1763713"/>
              <a:ext cx="2140035" cy="2419972"/>
            </a:xfrm>
            <a:prstGeom prst="chevron">
              <a:avLst>
                <a:gd name="adj" fmla="val 23888"/>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dirty="0">
                  <a:solidFill>
                    <a:schemeClr val="tx1"/>
                  </a:solidFill>
                </a:rPr>
                <a:t>Text</a:t>
              </a:r>
            </a:p>
          </p:txBody>
        </p:sp>
        <p:cxnSp>
          <p:nvCxnSpPr>
            <p:cNvPr id="35" name="Straight Arrow Connector 34">
              <a:extLst>
                <a:ext uri="{FF2B5EF4-FFF2-40B4-BE49-F238E27FC236}">
                  <a16:creationId xmlns:a16="http://schemas.microsoft.com/office/drawing/2014/main" id="{125DF614-98C3-48FA-A223-96E41087C541}"/>
                </a:ext>
                <a:ext uri="{C183D7F6-B498-43B3-948B-1728B52AA6E4}">
                  <adec:decorative xmlns:adec="http://schemas.microsoft.com/office/drawing/2017/decorative" val="1"/>
                </a:ext>
              </a:extLst>
            </p:cNvPr>
            <p:cNvCxnSpPr/>
            <p:nvPr/>
          </p:nvCxnSpPr>
          <p:spPr>
            <a:xfrm>
              <a:off x="2092551" y="4552801"/>
              <a:ext cx="0" cy="359917"/>
            </a:xfrm>
            <a:prstGeom prst="straightConnector1">
              <a:avLst/>
            </a:prstGeom>
            <a:ln w="38100">
              <a:solidFill>
                <a:schemeClr val="accent2"/>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8" name="Rectangle 11">
              <a:extLst>
                <a:ext uri="{FF2B5EF4-FFF2-40B4-BE49-F238E27FC236}">
                  <a16:creationId xmlns:a16="http://schemas.microsoft.com/office/drawing/2014/main" id="{11C65CFE-F051-4EC5-8B19-EC4D397F8686}"/>
                </a:ext>
              </a:extLst>
            </p:cNvPr>
            <p:cNvSpPr>
              <a:spLocks noChangeArrowheads="1"/>
            </p:cNvSpPr>
            <p:nvPr/>
          </p:nvSpPr>
          <p:spPr bwMode="auto">
            <a:xfrm>
              <a:off x="1264551" y="5103556"/>
              <a:ext cx="1656000" cy="720000"/>
            </a:xfrm>
            <a:prstGeom prst="rect">
              <a:avLst/>
            </a:prstGeom>
            <a:solidFill>
              <a:schemeClr val="accent1"/>
            </a:solidFill>
            <a:ln w="6350">
              <a:noFill/>
              <a:miter lim="800000"/>
              <a:headEnd/>
              <a:tailEnd/>
            </a:ln>
            <a:effectLst/>
          </p:spPr>
          <p:txBody>
            <a:bodyPr wrap="none" anchor="ctr"/>
            <a:lstStyle/>
            <a:p>
              <a:pPr algn="ctr" eaLnBrk="0" hangingPunct="0"/>
              <a:r>
                <a:rPr lang="en-GB" b="1">
                  <a:solidFill>
                    <a:schemeClr val="bg1"/>
                  </a:solidFill>
                </a:rPr>
                <a:t>Text</a:t>
              </a:r>
            </a:p>
          </p:txBody>
        </p:sp>
        <p:cxnSp>
          <p:nvCxnSpPr>
            <p:cNvPr id="36" name="Straight Arrow Connector 35">
              <a:extLst>
                <a:ext uri="{FF2B5EF4-FFF2-40B4-BE49-F238E27FC236}">
                  <a16:creationId xmlns:a16="http://schemas.microsoft.com/office/drawing/2014/main" id="{78C65DB5-483C-4511-9C97-4D59C2CCF223}"/>
                </a:ext>
                <a:ext uri="{C183D7F6-B498-43B3-948B-1728B52AA6E4}">
                  <adec:decorative xmlns:adec="http://schemas.microsoft.com/office/drawing/2017/decorative" val="1"/>
                </a:ext>
              </a:extLst>
            </p:cNvPr>
            <p:cNvCxnSpPr/>
            <p:nvPr/>
          </p:nvCxnSpPr>
          <p:spPr>
            <a:xfrm>
              <a:off x="3970310" y="4552801"/>
              <a:ext cx="0" cy="359917"/>
            </a:xfrm>
            <a:prstGeom prst="straightConnector1">
              <a:avLst/>
            </a:prstGeom>
            <a:ln w="38100">
              <a:solidFill>
                <a:schemeClr val="accent2"/>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9" name="Rectangle 12">
              <a:extLst>
                <a:ext uri="{FF2B5EF4-FFF2-40B4-BE49-F238E27FC236}">
                  <a16:creationId xmlns:a16="http://schemas.microsoft.com/office/drawing/2014/main" id="{384823F1-7063-4065-BD00-671BD5A58602}"/>
                </a:ext>
              </a:extLst>
            </p:cNvPr>
            <p:cNvSpPr>
              <a:spLocks noChangeArrowheads="1"/>
            </p:cNvSpPr>
            <p:nvPr/>
          </p:nvSpPr>
          <p:spPr bwMode="auto">
            <a:xfrm>
              <a:off x="5020069" y="5103556"/>
              <a:ext cx="1656000" cy="720000"/>
            </a:xfrm>
            <a:prstGeom prst="rect">
              <a:avLst/>
            </a:prstGeom>
            <a:solidFill>
              <a:schemeClr val="accent1"/>
            </a:solidFill>
            <a:ln w="6350">
              <a:noFill/>
              <a:miter lim="800000"/>
              <a:headEnd/>
              <a:tailEnd/>
            </a:ln>
            <a:effectLst/>
          </p:spPr>
          <p:txBody>
            <a:bodyPr wrap="none" anchor="ctr"/>
            <a:lstStyle/>
            <a:p>
              <a:pPr algn="ctr" eaLnBrk="0" hangingPunct="0"/>
              <a:r>
                <a:rPr lang="en-GB" b="1">
                  <a:solidFill>
                    <a:schemeClr val="bg1"/>
                  </a:solidFill>
                </a:rPr>
                <a:t>Text</a:t>
              </a:r>
            </a:p>
          </p:txBody>
        </p:sp>
        <p:cxnSp>
          <p:nvCxnSpPr>
            <p:cNvPr id="37" name="Straight Arrow Connector 36">
              <a:extLst>
                <a:ext uri="{FF2B5EF4-FFF2-40B4-BE49-F238E27FC236}">
                  <a16:creationId xmlns:a16="http://schemas.microsoft.com/office/drawing/2014/main" id="{4B330C7F-BDFA-4BD2-9A14-8E95833E0816}"/>
                </a:ext>
                <a:ext uri="{C183D7F6-B498-43B3-948B-1728B52AA6E4}">
                  <adec:decorative xmlns:adec="http://schemas.microsoft.com/office/drawing/2017/decorative" val="1"/>
                </a:ext>
              </a:extLst>
            </p:cNvPr>
            <p:cNvCxnSpPr/>
            <p:nvPr/>
          </p:nvCxnSpPr>
          <p:spPr>
            <a:xfrm>
              <a:off x="5848069" y="4552801"/>
              <a:ext cx="0" cy="359917"/>
            </a:xfrm>
            <a:prstGeom prst="straightConnector1">
              <a:avLst/>
            </a:prstGeom>
            <a:ln w="38100">
              <a:solidFill>
                <a:schemeClr val="accent2"/>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30" name="Rectangle 13">
              <a:extLst>
                <a:ext uri="{FF2B5EF4-FFF2-40B4-BE49-F238E27FC236}">
                  <a16:creationId xmlns:a16="http://schemas.microsoft.com/office/drawing/2014/main" id="{AF469A61-5A13-461A-85A4-380844CCEB53}"/>
                </a:ext>
              </a:extLst>
            </p:cNvPr>
            <p:cNvSpPr>
              <a:spLocks noChangeArrowheads="1"/>
            </p:cNvSpPr>
            <p:nvPr/>
          </p:nvSpPr>
          <p:spPr bwMode="auto">
            <a:xfrm>
              <a:off x="3142310" y="5103556"/>
              <a:ext cx="1656000" cy="720000"/>
            </a:xfrm>
            <a:prstGeom prst="rect">
              <a:avLst/>
            </a:prstGeom>
            <a:solidFill>
              <a:schemeClr val="accent1"/>
            </a:solidFill>
            <a:ln w="6350">
              <a:noFill/>
              <a:miter lim="800000"/>
              <a:headEnd/>
              <a:tailEnd/>
            </a:ln>
            <a:effectLst/>
          </p:spPr>
          <p:txBody>
            <a:bodyPr wrap="none" anchor="ctr"/>
            <a:lstStyle/>
            <a:p>
              <a:pPr algn="ctr" eaLnBrk="0" hangingPunct="0"/>
              <a:r>
                <a:rPr lang="en-GB" b="1">
                  <a:solidFill>
                    <a:schemeClr val="bg1"/>
                  </a:solidFill>
                </a:rPr>
                <a:t>Text</a:t>
              </a:r>
            </a:p>
          </p:txBody>
        </p:sp>
        <p:cxnSp>
          <p:nvCxnSpPr>
            <p:cNvPr id="38" name="Straight Arrow Connector 37">
              <a:extLst>
                <a:ext uri="{FF2B5EF4-FFF2-40B4-BE49-F238E27FC236}">
                  <a16:creationId xmlns:a16="http://schemas.microsoft.com/office/drawing/2014/main" id="{977DEA03-83ED-4BA1-A98C-BBFD8B065BBA}"/>
                </a:ext>
                <a:ext uri="{C183D7F6-B498-43B3-948B-1728B52AA6E4}">
                  <adec:decorative xmlns:adec="http://schemas.microsoft.com/office/drawing/2017/decorative" val="1"/>
                </a:ext>
              </a:extLst>
            </p:cNvPr>
            <p:cNvCxnSpPr/>
            <p:nvPr/>
          </p:nvCxnSpPr>
          <p:spPr>
            <a:xfrm>
              <a:off x="9596384" y="4552801"/>
              <a:ext cx="0" cy="359917"/>
            </a:xfrm>
            <a:prstGeom prst="straightConnector1">
              <a:avLst/>
            </a:prstGeom>
            <a:ln w="38100">
              <a:solidFill>
                <a:schemeClr val="accent2"/>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31" name="Rectangle 14">
              <a:extLst>
                <a:ext uri="{FF2B5EF4-FFF2-40B4-BE49-F238E27FC236}">
                  <a16:creationId xmlns:a16="http://schemas.microsoft.com/office/drawing/2014/main" id="{53A865C9-6DF5-4AA9-B73F-A9C813E0C509}"/>
                </a:ext>
              </a:extLst>
            </p:cNvPr>
            <p:cNvSpPr>
              <a:spLocks noChangeArrowheads="1"/>
            </p:cNvSpPr>
            <p:nvPr/>
          </p:nvSpPr>
          <p:spPr bwMode="auto">
            <a:xfrm>
              <a:off x="8768384" y="5103556"/>
              <a:ext cx="1656000" cy="720000"/>
            </a:xfrm>
            <a:prstGeom prst="rect">
              <a:avLst/>
            </a:prstGeom>
            <a:solidFill>
              <a:schemeClr val="accent1"/>
            </a:solidFill>
            <a:ln w="6350">
              <a:noFill/>
              <a:miter lim="800000"/>
              <a:headEnd/>
              <a:tailEnd/>
            </a:ln>
            <a:effectLst/>
          </p:spPr>
          <p:txBody>
            <a:bodyPr wrap="none" anchor="ctr"/>
            <a:lstStyle/>
            <a:p>
              <a:pPr algn="ctr" eaLnBrk="0" hangingPunct="0"/>
              <a:r>
                <a:rPr lang="en-GB" b="1">
                  <a:solidFill>
                    <a:schemeClr val="bg1"/>
                  </a:solidFill>
                </a:rPr>
                <a:t>Text</a:t>
              </a:r>
            </a:p>
          </p:txBody>
        </p:sp>
      </p:grpSp>
      <p:sp>
        <p:nvSpPr>
          <p:cNvPr id="5" name="Footer Placeholder 4">
            <a:extLst>
              <a:ext uri="{FF2B5EF4-FFF2-40B4-BE49-F238E27FC236}">
                <a16:creationId xmlns:a16="http://schemas.microsoft.com/office/drawing/2014/main" id="{E332581C-F653-4092-AB37-768D6D12D095}"/>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528AF7B1-3AED-4F10-B01F-9D89AF3EA6EF}"/>
              </a:ext>
            </a:extLst>
          </p:cNvPr>
          <p:cNvSpPr>
            <a:spLocks noGrp="1"/>
          </p:cNvSpPr>
          <p:nvPr>
            <p:ph type="sldNum" sz="quarter" idx="10"/>
          </p:nvPr>
        </p:nvSpPr>
        <p:spPr/>
        <p:txBody>
          <a:bodyPr/>
          <a:lstStyle/>
          <a:p>
            <a:fld id="{1F90F471-3972-4120-B8B3-0237DE626C35}" type="slidenum">
              <a:rPr lang="en-US" smtClean="0"/>
              <a:pPr/>
              <a:t>217</a:t>
            </a:fld>
            <a:endParaRPr lang="en-US" dirty="0"/>
          </a:p>
        </p:txBody>
      </p:sp>
    </p:spTree>
    <p:extLst>
      <p:ext uri="{BB962C8B-B14F-4D97-AF65-F5344CB8AC3E}">
        <p14:creationId xmlns:p14="http://schemas.microsoft.com/office/powerpoint/2010/main" val="1470138867"/>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Process 2</a:t>
            </a:r>
          </a:p>
        </p:txBody>
      </p:sp>
      <p:sp>
        <p:nvSpPr>
          <p:cNvPr id="40" name="Rectangle 11">
            <a:extLst>
              <a:ext uri="{FF2B5EF4-FFF2-40B4-BE49-F238E27FC236}">
                <a16:creationId xmlns:a16="http://schemas.microsoft.com/office/drawing/2014/main" id="{1978CBCA-1388-49C9-B2C2-B876F52E48F2}"/>
              </a:ext>
            </a:extLst>
          </p:cNvPr>
          <p:cNvSpPr>
            <a:spLocks noChangeArrowheads="1"/>
          </p:cNvSpPr>
          <p:nvPr/>
        </p:nvSpPr>
        <p:spPr bwMode="auto">
          <a:xfrm>
            <a:off x="437012" y="1555601"/>
            <a:ext cx="1887220" cy="440576"/>
          </a:xfrm>
          <a:prstGeom prst="rect">
            <a:avLst/>
          </a:prstGeom>
          <a:solidFill>
            <a:schemeClr val="tx2"/>
          </a:solidFill>
          <a:ln w="6350">
            <a:noFill/>
            <a:miter lim="800000"/>
            <a:headEnd/>
            <a:tailEnd/>
          </a:ln>
          <a:effectLst/>
        </p:spPr>
        <p:txBody>
          <a:bodyPr wrap="none" anchor="ctr"/>
          <a:lstStyle/>
          <a:p>
            <a:pPr algn="ctr" eaLnBrk="0" hangingPunct="0"/>
            <a:r>
              <a:rPr lang="en-GB" sz="1400" b="1" dirty="0">
                <a:latin typeface="+mj-lt"/>
              </a:rPr>
              <a:t>Text</a:t>
            </a:r>
          </a:p>
        </p:txBody>
      </p:sp>
      <p:sp>
        <p:nvSpPr>
          <p:cNvPr id="22" name="Arrow: Chevron 21">
            <a:extLst>
              <a:ext uri="{FF2B5EF4-FFF2-40B4-BE49-F238E27FC236}">
                <a16:creationId xmlns:a16="http://schemas.microsoft.com/office/drawing/2014/main" id="{BC38E987-DC61-4FE0-9B3E-682B6F64B4C7}"/>
              </a:ext>
            </a:extLst>
          </p:cNvPr>
          <p:cNvSpPr/>
          <p:nvPr/>
        </p:nvSpPr>
        <p:spPr>
          <a:xfrm>
            <a:off x="427038" y="2116396"/>
            <a:ext cx="2499862" cy="2915431"/>
          </a:xfrm>
          <a:prstGeom prst="chevron">
            <a:avLst>
              <a:gd name="adj" fmla="val 23888"/>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dirty="0">
                <a:solidFill>
                  <a:schemeClr val="tx1"/>
                </a:solidFill>
              </a:rPr>
              <a:t>Text</a:t>
            </a:r>
          </a:p>
        </p:txBody>
      </p:sp>
      <p:sp>
        <p:nvSpPr>
          <p:cNvPr id="48" name="Rectangle 11">
            <a:extLst>
              <a:ext uri="{FF2B5EF4-FFF2-40B4-BE49-F238E27FC236}">
                <a16:creationId xmlns:a16="http://schemas.microsoft.com/office/drawing/2014/main" id="{2046F9AD-B1CC-446F-BC55-05A337BC2515}"/>
              </a:ext>
            </a:extLst>
          </p:cNvPr>
          <p:cNvSpPr>
            <a:spLocks noChangeArrowheads="1"/>
          </p:cNvSpPr>
          <p:nvPr/>
        </p:nvSpPr>
        <p:spPr bwMode="auto">
          <a:xfrm>
            <a:off x="437012" y="5152045"/>
            <a:ext cx="1887220" cy="440576"/>
          </a:xfrm>
          <a:prstGeom prst="rect">
            <a:avLst/>
          </a:prstGeom>
          <a:solidFill>
            <a:schemeClr val="accent5"/>
          </a:solidFill>
          <a:ln w="6350">
            <a:noFill/>
            <a:miter lim="800000"/>
            <a:headEnd/>
            <a:tailEnd/>
          </a:ln>
          <a:effectLst/>
        </p:spPr>
        <p:txBody>
          <a:bodyPr wrap="none" anchor="ctr"/>
          <a:lstStyle/>
          <a:p>
            <a:pPr algn="ctr" eaLnBrk="0" hangingPunct="0"/>
            <a:r>
              <a:rPr lang="en-GB" sz="1400" b="1" dirty="0">
                <a:latin typeface="+mj-lt"/>
              </a:rPr>
              <a:t>Text</a:t>
            </a:r>
          </a:p>
        </p:txBody>
      </p:sp>
      <p:sp>
        <p:nvSpPr>
          <p:cNvPr id="42" name="Rectangle 11">
            <a:extLst>
              <a:ext uri="{FF2B5EF4-FFF2-40B4-BE49-F238E27FC236}">
                <a16:creationId xmlns:a16="http://schemas.microsoft.com/office/drawing/2014/main" id="{BF3EA759-51AA-42AB-A1E2-12F12962BBEA}"/>
              </a:ext>
            </a:extLst>
          </p:cNvPr>
          <p:cNvSpPr>
            <a:spLocks noChangeArrowheads="1"/>
          </p:cNvSpPr>
          <p:nvPr/>
        </p:nvSpPr>
        <p:spPr bwMode="auto">
          <a:xfrm>
            <a:off x="2570464" y="1555601"/>
            <a:ext cx="4387593" cy="440576"/>
          </a:xfrm>
          <a:prstGeom prst="rect">
            <a:avLst/>
          </a:prstGeom>
          <a:solidFill>
            <a:schemeClr val="accent1"/>
          </a:solidFill>
          <a:ln w="6350">
            <a:noFill/>
            <a:miter lim="800000"/>
            <a:headEnd/>
            <a:tailEnd/>
          </a:ln>
          <a:effectLst/>
        </p:spPr>
        <p:txBody>
          <a:bodyPr wrap="none" anchor="ctr"/>
          <a:lstStyle/>
          <a:p>
            <a:pPr algn="ctr" eaLnBrk="0" hangingPunct="0"/>
            <a:r>
              <a:rPr lang="en-GB" sz="1400" b="1" dirty="0">
                <a:solidFill>
                  <a:schemeClr val="bg1"/>
                </a:solidFill>
                <a:latin typeface="+mj-lt"/>
              </a:rPr>
              <a:t>Text</a:t>
            </a:r>
          </a:p>
        </p:txBody>
      </p:sp>
      <p:sp>
        <p:nvSpPr>
          <p:cNvPr id="30" name="Freeform 5">
            <a:extLst>
              <a:ext uri="{FF2B5EF4-FFF2-40B4-BE49-F238E27FC236}">
                <a16:creationId xmlns:a16="http://schemas.microsoft.com/office/drawing/2014/main" id="{F0BA0AAA-6BD0-4286-B073-B07CB75D5273}"/>
              </a:ext>
            </a:extLst>
          </p:cNvPr>
          <p:cNvSpPr>
            <a:spLocks/>
          </p:cNvSpPr>
          <p:nvPr/>
        </p:nvSpPr>
        <p:spPr bwMode="auto">
          <a:xfrm>
            <a:off x="2570464" y="2116396"/>
            <a:ext cx="4940164" cy="1368254"/>
          </a:xfrm>
          <a:custGeom>
            <a:avLst/>
            <a:gdLst>
              <a:gd name="T0" fmla="*/ 1901 w 3282"/>
              <a:gd name="T1" fmla="*/ 909 h 909"/>
              <a:gd name="T2" fmla="*/ 3282 w 3282"/>
              <a:gd name="T3" fmla="*/ 909 h 909"/>
              <a:gd name="T4" fmla="*/ 2906 w 3282"/>
              <a:gd name="T5" fmla="*/ 0 h 909"/>
              <a:gd name="T6" fmla="*/ 2544 w 3282"/>
              <a:gd name="T7" fmla="*/ 0 h 909"/>
              <a:gd name="T8" fmla="*/ 1525 w 3282"/>
              <a:gd name="T9" fmla="*/ 0 h 909"/>
              <a:gd name="T10" fmla="*/ 1382 w 3282"/>
              <a:gd name="T11" fmla="*/ 0 h 909"/>
              <a:gd name="T12" fmla="*/ 1149 w 3282"/>
              <a:gd name="T13" fmla="*/ 0 h 909"/>
              <a:gd name="T14" fmla="*/ 0 w 3282"/>
              <a:gd name="T15" fmla="*/ 0 h 909"/>
              <a:gd name="T16" fmla="*/ 376 w 3282"/>
              <a:gd name="T17" fmla="*/ 909 h 909"/>
              <a:gd name="T18" fmla="*/ 1758 w 3282"/>
              <a:gd name="T19" fmla="*/ 909 h 909"/>
              <a:gd name="T20" fmla="*/ 1756 w 3282"/>
              <a:gd name="T21" fmla="*/ 909 h 909"/>
              <a:gd name="T22" fmla="*/ 1901 w 3282"/>
              <a:gd name="T23" fmla="*/ 909 h 909"/>
              <a:gd name="T24" fmla="*/ 1901 w 3282"/>
              <a:gd name="T25" fmla="*/ 909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82" h="909">
                <a:moveTo>
                  <a:pt x="1901" y="909"/>
                </a:moveTo>
                <a:lnTo>
                  <a:pt x="3282" y="909"/>
                </a:lnTo>
                <a:lnTo>
                  <a:pt x="2906" y="0"/>
                </a:lnTo>
                <a:lnTo>
                  <a:pt x="2544" y="0"/>
                </a:lnTo>
                <a:lnTo>
                  <a:pt x="1525" y="0"/>
                </a:lnTo>
                <a:lnTo>
                  <a:pt x="1382" y="0"/>
                </a:lnTo>
                <a:lnTo>
                  <a:pt x="1149" y="0"/>
                </a:lnTo>
                <a:lnTo>
                  <a:pt x="0" y="0"/>
                </a:lnTo>
                <a:lnTo>
                  <a:pt x="376" y="909"/>
                </a:lnTo>
                <a:lnTo>
                  <a:pt x="1758" y="909"/>
                </a:lnTo>
                <a:lnTo>
                  <a:pt x="1756" y="909"/>
                </a:lnTo>
                <a:lnTo>
                  <a:pt x="1901" y="909"/>
                </a:lnTo>
                <a:lnTo>
                  <a:pt x="1901" y="909"/>
                </a:lnTo>
                <a:close/>
              </a:path>
            </a:pathLst>
          </a:custGeom>
          <a:solidFill>
            <a:schemeClr val="accent1">
              <a:lumMod val="40000"/>
              <a:lumOff val="60000"/>
            </a:schemeClr>
          </a:solidFill>
          <a:ln>
            <a:noFill/>
          </a:ln>
        </p:spPr>
        <p:txBody>
          <a:bodyPr vert="horz" wrap="square" lIns="91440" tIns="45720" rIns="91440" bIns="45720" numCol="1" anchor="ctr" anchorCtr="0" compatLnSpc="1">
            <a:prstTxWarp prst="textNoShape">
              <a:avLst/>
            </a:prstTxWarp>
          </a:bodyPr>
          <a:lstStyle/>
          <a:p>
            <a:pPr algn="ctr"/>
            <a:r>
              <a:rPr lang="en-AU" dirty="0"/>
              <a:t>Text</a:t>
            </a:r>
          </a:p>
        </p:txBody>
      </p:sp>
      <p:sp>
        <p:nvSpPr>
          <p:cNvPr id="36" name="Freeform 8">
            <a:extLst>
              <a:ext uri="{FF2B5EF4-FFF2-40B4-BE49-F238E27FC236}">
                <a16:creationId xmlns:a16="http://schemas.microsoft.com/office/drawing/2014/main" id="{B30E56A0-09E8-45DD-8B92-ED2033B0D26C}"/>
              </a:ext>
            </a:extLst>
          </p:cNvPr>
          <p:cNvSpPr>
            <a:spLocks/>
          </p:cNvSpPr>
          <p:nvPr/>
        </p:nvSpPr>
        <p:spPr bwMode="auto">
          <a:xfrm>
            <a:off x="2570464" y="3662267"/>
            <a:ext cx="2646194" cy="1368254"/>
          </a:xfrm>
          <a:custGeom>
            <a:avLst/>
            <a:gdLst>
              <a:gd name="T0" fmla="*/ 1758 w 1758"/>
              <a:gd name="T1" fmla="*/ 0 h 909"/>
              <a:gd name="T2" fmla="*/ 376 w 1758"/>
              <a:gd name="T3" fmla="*/ 0 h 909"/>
              <a:gd name="T4" fmla="*/ 0 w 1758"/>
              <a:gd name="T5" fmla="*/ 909 h 909"/>
              <a:gd name="T6" fmla="*/ 1382 w 1758"/>
              <a:gd name="T7" fmla="*/ 909 h 909"/>
              <a:gd name="T8" fmla="*/ 1758 w 1758"/>
              <a:gd name="T9" fmla="*/ 0 h 909"/>
            </a:gdLst>
            <a:ahLst/>
            <a:cxnLst>
              <a:cxn ang="0">
                <a:pos x="T0" y="T1"/>
              </a:cxn>
              <a:cxn ang="0">
                <a:pos x="T2" y="T3"/>
              </a:cxn>
              <a:cxn ang="0">
                <a:pos x="T4" y="T5"/>
              </a:cxn>
              <a:cxn ang="0">
                <a:pos x="T6" y="T7"/>
              </a:cxn>
              <a:cxn ang="0">
                <a:pos x="T8" y="T9"/>
              </a:cxn>
            </a:cxnLst>
            <a:rect l="0" t="0" r="r" b="b"/>
            <a:pathLst>
              <a:path w="1758" h="909">
                <a:moveTo>
                  <a:pt x="1758" y="0"/>
                </a:moveTo>
                <a:lnTo>
                  <a:pt x="376" y="0"/>
                </a:lnTo>
                <a:lnTo>
                  <a:pt x="0" y="909"/>
                </a:lnTo>
                <a:lnTo>
                  <a:pt x="1382" y="909"/>
                </a:lnTo>
                <a:lnTo>
                  <a:pt x="1758" y="0"/>
                </a:lnTo>
                <a:close/>
              </a:path>
            </a:pathLst>
          </a:custGeom>
          <a:solidFill>
            <a:schemeClr val="accent1">
              <a:lumMod val="20000"/>
              <a:lumOff val="80000"/>
            </a:schemeClr>
          </a:solidFill>
          <a:ln>
            <a:noFill/>
          </a:ln>
        </p:spPr>
        <p:txBody>
          <a:bodyPr vert="horz" wrap="square" lIns="91440" tIns="45720" rIns="91440" bIns="45720" numCol="1" anchor="ctr" anchorCtr="0" compatLnSpc="1">
            <a:prstTxWarp prst="textNoShape">
              <a:avLst/>
            </a:prstTxWarp>
          </a:bodyPr>
          <a:lstStyle/>
          <a:p>
            <a:pPr algn="ctr"/>
            <a:r>
              <a:rPr lang="en-AU" dirty="0"/>
              <a:t>Text</a:t>
            </a:r>
          </a:p>
          <a:p>
            <a:pPr algn="ctr"/>
            <a:endParaRPr lang="en-GB" dirty="0"/>
          </a:p>
        </p:txBody>
      </p:sp>
      <p:sp>
        <p:nvSpPr>
          <p:cNvPr id="50" name="Rectangle 11">
            <a:extLst>
              <a:ext uri="{FF2B5EF4-FFF2-40B4-BE49-F238E27FC236}">
                <a16:creationId xmlns:a16="http://schemas.microsoft.com/office/drawing/2014/main" id="{FB48E623-8A8E-45DF-BBD2-3CC9DA642BB9}"/>
              </a:ext>
            </a:extLst>
          </p:cNvPr>
          <p:cNvSpPr>
            <a:spLocks noChangeArrowheads="1"/>
          </p:cNvSpPr>
          <p:nvPr/>
        </p:nvSpPr>
        <p:spPr bwMode="auto">
          <a:xfrm>
            <a:off x="2570464" y="5152045"/>
            <a:ext cx="2092539" cy="440576"/>
          </a:xfrm>
          <a:prstGeom prst="rect">
            <a:avLst/>
          </a:prstGeom>
          <a:solidFill>
            <a:schemeClr val="accent5"/>
          </a:solidFill>
          <a:ln w="6350">
            <a:noFill/>
            <a:miter lim="800000"/>
            <a:headEnd/>
            <a:tailEnd/>
          </a:ln>
          <a:effectLst/>
        </p:spPr>
        <p:txBody>
          <a:bodyPr wrap="none" anchor="ctr"/>
          <a:lstStyle/>
          <a:p>
            <a:pPr algn="ctr" eaLnBrk="0" hangingPunct="0"/>
            <a:r>
              <a:rPr lang="en-GB" sz="1400" b="1" dirty="0">
                <a:latin typeface="+mj-lt"/>
              </a:rPr>
              <a:t>Text</a:t>
            </a:r>
          </a:p>
        </p:txBody>
      </p:sp>
      <p:sp>
        <p:nvSpPr>
          <p:cNvPr id="32" name="Freeform 6">
            <a:extLst>
              <a:ext uri="{FF2B5EF4-FFF2-40B4-BE49-F238E27FC236}">
                <a16:creationId xmlns:a16="http://schemas.microsoft.com/office/drawing/2014/main" id="{8C2E2EAF-ABF7-4708-BD96-BF63CFFF7922}"/>
              </a:ext>
            </a:extLst>
          </p:cNvPr>
          <p:cNvSpPr>
            <a:spLocks/>
          </p:cNvSpPr>
          <p:nvPr/>
        </p:nvSpPr>
        <p:spPr bwMode="auto">
          <a:xfrm>
            <a:off x="4865939" y="3662267"/>
            <a:ext cx="2644689" cy="1368254"/>
          </a:xfrm>
          <a:custGeom>
            <a:avLst/>
            <a:gdLst>
              <a:gd name="T0" fmla="*/ 1757 w 1757"/>
              <a:gd name="T1" fmla="*/ 0 h 909"/>
              <a:gd name="T2" fmla="*/ 376 w 1757"/>
              <a:gd name="T3" fmla="*/ 0 h 909"/>
              <a:gd name="T4" fmla="*/ 0 w 1757"/>
              <a:gd name="T5" fmla="*/ 909 h 909"/>
              <a:gd name="T6" fmla="*/ 1381 w 1757"/>
              <a:gd name="T7" fmla="*/ 909 h 909"/>
              <a:gd name="T8" fmla="*/ 1757 w 1757"/>
              <a:gd name="T9" fmla="*/ 0 h 909"/>
            </a:gdLst>
            <a:ahLst/>
            <a:cxnLst>
              <a:cxn ang="0">
                <a:pos x="T0" y="T1"/>
              </a:cxn>
              <a:cxn ang="0">
                <a:pos x="T2" y="T3"/>
              </a:cxn>
              <a:cxn ang="0">
                <a:pos x="T4" y="T5"/>
              </a:cxn>
              <a:cxn ang="0">
                <a:pos x="T6" y="T7"/>
              </a:cxn>
              <a:cxn ang="0">
                <a:pos x="T8" y="T9"/>
              </a:cxn>
            </a:cxnLst>
            <a:rect l="0" t="0" r="r" b="b"/>
            <a:pathLst>
              <a:path w="1757" h="909">
                <a:moveTo>
                  <a:pt x="1757" y="0"/>
                </a:moveTo>
                <a:lnTo>
                  <a:pt x="376" y="0"/>
                </a:lnTo>
                <a:lnTo>
                  <a:pt x="0" y="909"/>
                </a:lnTo>
                <a:lnTo>
                  <a:pt x="1381" y="909"/>
                </a:lnTo>
                <a:lnTo>
                  <a:pt x="1757" y="0"/>
                </a:lnTo>
                <a:close/>
              </a:path>
            </a:pathLst>
          </a:custGeom>
          <a:solidFill>
            <a:schemeClr val="accent1">
              <a:lumMod val="20000"/>
              <a:lumOff val="80000"/>
            </a:schemeClr>
          </a:solidFill>
          <a:ln>
            <a:noFill/>
          </a:ln>
        </p:spPr>
        <p:txBody>
          <a:bodyPr vert="horz" wrap="square" lIns="91440" tIns="45720" rIns="91440" bIns="45720" numCol="1" anchor="ctr" anchorCtr="0" compatLnSpc="1">
            <a:prstTxWarp prst="textNoShape">
              <a:avLst/>
            </a:prstTxWarp>
          </a:bodyPr>
          <a:lstStyle/>
          <a:p>
            <a:pPr algn="ctr"/>
            <a:r>
              <a:rPr lang="en-AU" dirty="0"/>
              <a:t>Text</a:t>
            </a:r>
          </a:p>
        </p:txBody>
      </p:sp>
      <p:sp>
        <p:nvSpPr>
          <p:cNvPr id="52" name="Rectangle 11">
            <a:extLst>
              <a:ext uri="{FF2B5EF4-FFF2-40B4-BE49-F238E27FC236}">
                <a16:creationId xmlns:a16="http://schemas.microsoft.com/office/drawing/2014/main" id="{07799B5C-65C4-4ED2-AA78-FCA6ACBA5C98}"/>
              </a:ext>
            </a:extLst>
          </p:cNvPr>
          <p:cNvSpPr>
            <a:spLocks noChangeArrowheads="1"/>
          </p:cNvSpPr>
          <p:nvPr/>
        </p:nvSpPr>
        <p:spPr bwMode="auto">
          <a:xfrm>
            <a:off x="4867101" y="5152045"/>
            <a:ext cx="2092539" cy="440576"/>
          </a:xfrm>
          <a:prstGeom prst="rect">
            <a:avLst/>
          </a:prstGeom>
          <a:solidFill>
            <a:schemeClr val="accent5"/>
          </a:solidFill>
          <a:ln w="6350">
            <a:noFill/>
            <a:miter lim="800000"/>
            <a:headEnd/>
            <a:tailEnd/>
          </a:ln>
          <a:effectLst/>
        </p:spPr>
        <p:txBody>
          <a:bodyPr wrap="none" anchor="ctr"/>
          <a:lstStyle/>
          <a:p>
            <a:pPr algn="ctr" eaLnBrk="0" hangingPunct="0"/>
            <a:r>
              <a:rPr lang="en-GB" sz="1400" b="1" dirty="0">
                <a:latin typeface="+mj-lt"/>
              </a:rPr>
              <a:t>Text</a:t>
            </a:r>
          </a:p>
        </p:txBody>
      </p:sp>
      <p:sp>
        <p:nvSpPr>
          <p:cNvPr id="44" name="Rectangle 11">
            <a:extLst>
              <a:ext uri="{FF2B5EF4-FFF2-40B4-BE49-F238E27FC236}">
                <a16:creationId xmlns:a16="http://schemas.microsoft.com/office/drawing/2014/main" id="{8FE8D9EB-2088-429B-B672-75A0239ADF02}"/>
              </a:ext>
            </a:extLst>
          </p:cNvPr>
          <p:cNvSpPr>
            <a:spLocks noChangeArrowheads="1"/>
          </p:cNvSpPr>
          <p:nvPr/>
        </p:nvSpPr>
        <p:spPr bwMode="auto">
          <a:xfrm>
            <a:off x="7204288" y="1555601"/>
            <a:ext cx="1887220" cy="440576"/>
          </a:xfrm>
          <a:prstGeom prst="rect">
            <a:avLst/>
          </a:prstGeom>
          <a:solidFill>
            <a:schemeClr val="tx2"/>
          </a:solidFill>
          <a:ln w="6350">
            <a:noFill/>
            <a:miter lim="800000"/>
            <a:headEnd/>
            <a:tailEnd/>
          </a:ln>
          <a:effectLst/>
        </p:spPr>
        <p:txBody>
          <a:bodyPr wrap="none" anchor="ctr"/>
          <a:lstStyle/>
          <a:p>
            <a:pPr algn="ctr" eaLnBrk="0" hangingPunct="0"/>
            <a:r>
              <a:rPr lang="en-GB" sz="1400" b="1" dirty="0">
                <a:latin typeface="+mj-lt"/>
              </a:rPr>
              <a:t>Text</a:t>
            </a:r>
          </a:p>
        </p:txBody>
      </p:sp>
      <p:sp>
        <p:nvSpPr>
          <p:cNvPr id="28" name="Arrow: Chevron 27">
            <a:extLst>
              <a:ext uri="{FF2B5EF4-FFF2-40B4-BE49-F238E27FC236}">
                <a16:creationId xmlns:a16="http://schemas.microsoft.com/office/drawing/2014/main" id="{7F730E43-D14C-4649-9542-D529D53944D9}"/>
              </a:ext>
            </a:extLst>
          </p:cNvPr>
          <p:cNvSpPr/>
          <p:nvPr/>
        </p:nvSpPr>
        <p:spPr>
          <a:xfrm>
            <a:off x="7213751" y="2116396"/>
            <a:ext cx="2499862" cy="2915431"/>
          </a:xfrm>
          <a:prstGeom prst="chevron">
            <a:avLst>
              <a:gd name="adj" fmla="val 23888"/>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dirty="0">
                <a:solidFill>
                  <a:schemeClr val="tx1"/>
                </a:solidFill>
              </a:rPr>
              <a:t>Text</a:t>
            </a:r>
          </a:p>
        </p:txBody>
      </p:sp>
      <p:sp>
        <p:nvSpPr>
          <p:cNvPr id="54" name="Rectangle 11">
            <a:extLst>
              <a:ext uri="{FF2B5EF4-FFF2-40B4-BE49-F238E27FC236}">
                <a16:creationId xmlns:a16="http://schemas.microsoft.com/office/drawing/2014/main" id="{DD706D1E-4C20-4CBA-9C3A-8C73E5131591}"/>
              </a:ext>
            </a:extLst>
          </p:cNvPr>
          <p:cNvSpPr>
            <a:spLocks noChangeArrowheads="1"/>
          </p:cNvSpPr>
          <p:nvPr/>
        </p:nvSpPr>
        <p:spPr bwMode="auto">
          <a:xfrm>
            <a:off x="7213751" y="5152045"/>
            <a:ext cx="1887220" cy="440576"/>
          </a:xfrm>
          <a:prstGeom prst="rect">
            <a:avLst/>
          </a:prstGeom>
          <a:solidFill>
            <a:schemeClr val="accent5"/>
          </a:solidFill>
          <a:ln w="6350">
            <a:noFill/>
            <a:miter lim="800000"/>
            <a:headEnd/>
            <a:tailEnd/>
          </a:ln>
          <a:effectLst/>
        </p:spPr>
        <p:txBody>
          <a:bodyPr wrap="none" anchor="ctr"/>
          <a:lstStyle/>
          <a:p>
            <a:pPr algn="ctr" eaLnBrk="0" hangingPunct="0"/>
            <a:r>
              <a:rPr lang="en-GB" sz="1400" b="1" dirty="0">
                <a:latin typeface="+mj-lt"/>
              </a:rPr>
              <a:t>Text</a:t>
            </a:r>
          </a:p>
        </p:txBody>
      </p:sp>
      <p:sp>
        <p:nvSpPr>
          <p:cNvPr id="46" name="Rectangle 11">
            <a:extLst>
              <a:ext uri="{FF2B5EF4-FFF2-40B4-BE49-F238E27FC236}">
                <a16:creationId xmlns:a16="http://schemas.microsoft.com/office/drawing/2014/main" id="{1445801C-028A-4ED8-A99B-2A9C5340507E}"/>
              </a:ext>
            </a:extLst>
          </p:cNvPr>
          <p:cNvSpPr>
            <a:spLocks noChangeArrowheads="1"/>
          </p:cNvSpPr>
          <p:nvPr/>
        </p:nvSpPr>
        <p:spPr bwMode="auto">
          <a:xfrm>
            <a:off x="9337740" y="1555601"/>
            <a:ext cx="1887220" cy="440576"/>
          </a:xfrm>
          <a:prstGeom prst="rect">
            <a:avLst/>
          </a:prstGeom>
          <a:solidFill>
            <a:schemeClr val="tx2"/>
          </a:solidFill>
          <a:ln w="6350">
            <a:noFill/>
            <a:miter lim="800000"/>
            <a:headEnd/>
            <a:tailEnd/>
          </a:ln>
          <a:effectLst/>
        </p:spPr>
        <p:txBody>
          <a:bodyPr wrap="none" anchor="ctr"/>
          <a:lstStyle/>
          <a:p>
            <a:pPr algn="ctr" eaLnBrk="0" hangingPunct="0"/>
            <a:r>
              <a:rPr lang="en-GB" sz="1400" b="1" dirty="0">
                <a:latin typeface="+mj-lt"/>
              </a:rPr>
              <a:t>Text</a:t>
            </a:r>
          </a:p>
        </p:txBody>
      </p:sp>
      <p:sp>
        <p:nvSpPr>
          <p:cNvPr id="26" name="Arrow: Chevron 25">
            <a:extLst>
              <a:ext uri="{FF2B5EF4-FFF2-40B4-BE49-F238E27FC236}">
                <a16:creationId xmlns:a16="http://schemas.microsoft.com/office/drawing/2014/main" id="{95AAFD3A-8133-4CFE-9933-9A6EF00CF2EC}"/>
              </a:ext>
            </a:extLst>
          </p:cNvPr>
          <p:cNvSpPr/>
          <p:nvPr/>
        </p:nvSpPr>
        <p:spPr>
          <a:xfrm>
            <a:off x="9357176" y="2116396"/>
            <a:ext cx="2499862" cy="2915431"/>
          </a:xfrm>
          <a:prstGeom prst="chevron">
            <a:avLst>
              <a:gd name="adj" fmla="val 23888"/>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dirty="0">
                <a:solidFill>
                  <a:schemeClr val="tx1"/>
                </a:solidFill>
              </a:rPr>
              <a:t>Text</a:t>
            </a:r>
          </a:p>
        </p:txBody>
      </p:sp>
      <p:sp>
        <p:nvSpPr>
          <p:cNvPr id="56" name="Rectangle 11">
            <a:extLst>
              <a:ext uri="{FF2B5EF4-FFF2-40B4-BE49-F238E27FC236}">
                <a16:creationId xmlns:a16="http://schemas.microsoft.com/office/drawing/2014/main" id="{0EF26346-B641-4E3D-9431-D9508B1AE66E}"/>
              </a:ext>
            </a:extLst>
          </p:cNvPr>
          <p:cNvSpPr>
            <a:spLocks noChangeArrowheads="1"/>
          </p:cNvSpPr>
          <p:nvPr/>
        </p:nvSpPr>
        <p:spPr bwMode="auto">
          <a:xfrm>
            <a:off x="9355083" y="5152045"/>
            <a:ext cx="1887220" cy="440576"/>
          </a:xfrm>
          <a:prstGeom prst="rect">
            <a:avLst/>
          </a:prstGeom>
          <a:solidFill>
            <a:schemeClr val="accent5"/>
          </a:solidFill>
          <a:ln w="6350">
            <a:noFill/>
            <a:miter lim="800000"/>
            <a:headEnd/>
            <a:tailEnd/>
          </a:ln>
          <a:effectLst/>
        </p:spPr>
        <p:txBody>
          <a:bodyPr wrap="none" anchor="ctr"/>
          <a:lstStyle/>
          <a:p>
            <a:pPr algn="ctr" eaLnBrk="0" hangingPunct="0"/>
            <a:r>
              <a:rPr lang="en-GB" sz="1400" b="1" dirty="0">
                <a:latin typeface="+mj-lt"/>
              </a:rPr>
              <a:t>Text</a:t>
            </a:r>
          </a:p>
        </p:txBody>
      </p:sp>
      <p:sp>
        <p:nvSpPr>
          <p:cNvPr id="3" name="Footer Placeholder 2">
            <a:extLst>
              <a:ext uri="{FF2B5EF4-FFF2-40B4-BE49-F238E27FC236}">
                <a16:creationId xmlns:a16="http://schemas.microsoft.com/office/drawing/2014/main" id="{F1BCE92D-C57D-472A-8BC2-599AA21408AE}"/>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1B446888-086E-4A4F-AA08-AF0CD0660283}"/>
              </a:ext>
            </a:extLst>
          </p:cNvPr>
          <p:cNvSpPr>
            <a:spLocks noGrp="1"/>
          </p:cNvSpPr>
          <p:nvPr>
            <p:ph type="sldNum" sz="quarter" idx="10"/>
          </p:nvPr>
        </p:nvSpPr>
        <p:spPr/>
        <p:txBody>
          <a:bodyPr/>
          <a:lstStyle/>
          <a:p>
            <a:fld id="{1F90F471-3972-4120-B8B3-0237DE626C35}" type="slidenum">
              <a:rPr lang="en-US" smtClean="0"/>
              <a:pPr/>
              <a:t>218</a:t>
            </a:fld>
            <a:endParaRPr lang="en-US" dirty="0"/>
          </a:p>
        </p:txBody>
      </p:sp>
    </p:spTree>
    <p:extLst>
      <p:ext uri="{BB962C8B-B14F-4D97-AF65-F5344CB8AC3E}">
        <p14:creationId xmlns:p14="http://schemas.microsoft.com/office/powerpoint/2010/main" val="1833036874"/>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Decisions</a:t>
            </a:r>
          </a:p>
        </p:txBody>
      </p:sp>
      <p:sp>
        <p:nvSpPr>
          <p:cNvPr id="12" name="AutoShape 7">
            <a:extLst>
              <a:ext uri="{FF2B5EF4-FFF2-40B4-BE49-F238E27FC236}">
                <a16:creationId xmlns:a16="http://schemas.microsoft.com/office/drawing/2014/main" id="{0B79759D-ED5C-41B4-A4D1-17AD5F7F4A12}"/>
              </a:ext>
            </a:extLst>
          </p:cNvPr>
          <p:cNvSpPr>
            <a:spLocks noChangeAspect="1" noChangeArrowheads="1"/>
          </p:cNvSpPr>
          <p:nvPr/>
        </p:nvSpPr>
        <p:spPr bwMode="auto">
          <a:xfrm>
            <a:off x="324570" y="1839923"/>
            <a:ext cx="3564341" cy="2060027"/>
          </a:xfrm>
          <a:prstGeom prst="homePlate">
            <a:avLst>
              <a:gd name="adj" fmla="val 25015"/>
            </a:avLst>
          </a:prstGeom>
          <a:solidFill>
            <a:schemeClr val="tx2">
              <a:lumMod val="20000"/>
              <a:lumOff val="80000"/>
            </a:schemeClr>
          </a:solidFill>
          <a:ln w="6350">
            <a:noFill/>
            <a:miter lim="800000"/>
            <a:headEnd/>
            <a:tailEnd/>
          </a:ln>
          <a:effectLst/>
        </p:spPr>
        <p:txBody>
          <a:bodyPr wrap="square" lIns="288000" tIns="180000" rIns="72000" bIns="72000" anchor="ctr" anchorCtr="0"/>
          <a:lstStyle/>
          <a:p>
            <a:pPr marL="0" lvl="1" algn="l" eaLnBrk="0" hangingPunct="0">
              <a:lnSpc>
                <a:spcPct val="85000"/>
              </a:lnSpc>
              <a:spcBef>
                <a:spcPts val="100"/>
              </a:spcBef>
              <a:spcAft>
                <a:spcPts val="300"/>
              </a:spcAft>
              <a:buClr>
                <a:schemeClr val="folHlink"/>
              </a:buClr>
            </a:pPr>
            <a:r>
              <a:rPr lang="en-US" b="1" dirty="0">
                <a:latin typeface="+mj-lt"/>
              </a:rPr>
              <a:t>Text</a:t>
            </a:r>
          </a:p>
          <a:p>
            <a:pPr marL="177800" lvl="1" indent="-177800" algn="l" eaLnBrk="0" hangingPunct="0">
              <a:spcBef>
                <a:spcPts val="100"/>
              </a:spcBef>
              <a:spcAft>
                <a:spcPts val="100"/>
              </a:spcAft>
              <a:buFontTx/>
              <a:buChar char="•"/>
            </a:pPr>
            <a:r>
              <a:rPr lang="en-US" dirty="0"/>
              <a:t>Text</a:t>
            </a:r>
          </a:p>
          <a:p>
            <a:pPr marL="177800" lvl="1" indent="-177800" algn="l" eaLnBrk="0" hangingPunct="0">
              <a:spcBef>
                <a:spcPts val="100"/>
              </a:spcBef>
              <a:spcAft>
                <a:spcPts val="100"/>
              </a:spcAft>
              <a:buFontTx/>
              <a:buChar char="•"/>
            </a:pPr>
            <a:r>
              <a:rPr lang="en-US" dirty="0"/>
              <a:t>Text</a:t>
            </a:r>
          </a:p>
          <a:p>
            <a:pPr marL="177800" lvl="1" indent="-177800" algn="l" eaLnBrk="0" hangingPunct="0">
              <a:spcBef>
                <a:spcPts val="100"/>
              </a:spcBef>
              <a:spcAft>
                <a:spcPts val="100"/>
              </a:spcAft>
              <a:buFontTx/>
              <a:buChar char="•"/>
            </a:pPr>
            <a:r>
              <a:rPr lang="en-US" dirty="0"/>
              <a:t>Text</a:t>
            </a:r>
          </a:p>
        </p:txBody>
      </p:sp>
      <p:sp>
        <p:nvSpPr>
          <p:cNvPr id="10" name="Hexagon 9">
            <a:extLst>
              <a:ext uri="{FF2B5EF4-FFF2-40B4-BE49-F238E27FC236}">
                <a16:creationId xmlns:a16="http://schemas.microsoft.com/office/drawing/2014/main" id="{441ADA7E-2D1E-4A01-9323-A23E49DC2A0E}"/>
              </a:ext>
            </a:extLst>
          </p:cNvPr>
          <p:cNvSpPr>
            <a:spLocks noChangeAspect="1"/>
          </p:cNvSpPr>
          <p:nvPr/>
        </p:nvSpPr>
        <p:spPr>
          <a:xfrm>
            <a:off x="4017514" y="1969936"/>
            <a:ext cx="2088000" cy="1800000"/>
          </a:xfrm>
          <a:prstGeom prst="hexagon">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lnSpc>
                <a:spcPct val="85000"/>
              </a:lnSpc>
              <a:spcBef>
                <a:spcPts val="100"/>
              </a:spcBef>
              <a:spcAft>
                <a:spcPts val="300"/>
              </a:spcAft>
            </a:pPr>
            <a:r>
              <a:rPr lang="en-US" b="1" dirty="0">
                <a:solidFill>
                  <a:schemeClr val="bg1"/>
                </a:solidFill>
                <a:latin typeface="+mj-lt"/>
              </a:rPr>
              <a:t>Key decision point</a:t>
            </a:r>
          </a:p>
        </p:txBody>
      </p:sp>
      <p:sp>
        <p:nvSpPr>
          <p:cNvPr id="14" name="Arrow: Chevron 13">
            <a:extLst>
              <a:ext uri="{FF2B5EF4-FFF2-40B4-BE49-F238E27FC236}">
                <a16:creationId xmlns:a16="http://schemas.microsoft.com/office/drawing/2014/main" id="{96FFB3C6-48A0-4854-8A00-7721E1B6A900}"/>
              </a:ext>
            </a:extLst>
          </p:cNvPr>
          <p:cNvSpPr/>
          <p:nvPr/>
        </p:nvSpPr>
        <p:spPr>
          <a:xfrm>
            <a:off x="5918808" y="1839923"/>
            <a:ext cx="3564855" cy="2060027"/>
          </a:xfrm>
          <a:prstGeom prst="chevron">
            <a:avLst>
              <a:gd name="adj" fmla="val 24501"/>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288000" rtlCol="0" anchor="ctr"/>
          <a:lstStyle/>
          <a:p>
            <a:pPr marL="0" lvl="1" eaLnBrk="0" hangingPunct="0">
              <a:lnSpc>
                <a:spcPct val="85000"/>
              </a:lnSpc>
              <a:spcBef>
                <a:spcPts val="100"/>
              </a:spcBef>
              <a:spcAft>
                <a:spcPts val="300"/>
              </a:spcAft>
              <a:buClr>
                <a:schemeClr val="folHlink"/>
              </a:buClr>
            </a:pPr>
            <a:r>
              <a:rPr lang="en-US" b="1" dirty="0">
                <a:solidFill>
                  <a:schemeClr val="tx1"/>
                </a:solidFill>
                <a:latin typeface="+mj-lt"/>
              </a:rPr>
              <a:t>Text</a:t>
            </a:r>
          </a:p>
          <a:p>
            <a:pPr marL="177800" lvl="1" indent="-177800" eaLnBrk="0" hangingPunct="0">
              <a:spcBef>
                <a:spcPts val="100"/>
              </a:spcBef>
              <a:spcAft>
                <a:spcPts val="100"/>
              </a:spcAft>
              <a:buFontTx/>
              <a:buChar char="•"/>
            </a:pPr>
            <a:r>
              <a:rPr lang="en-US" dirty="0">
                <a:solidFill>
                  <a:schemeClr val="tx1"/>
                </a:solidFill>
              </a:rPr>
              <a:t>Text</a:t>
            </a:r>
          </a:p>
          <a:p>
            <a:pPr marL="177800" lvl="1" indent="-177800" eaLnBrk="0" hangingPunct="0">
              <a:spcBef>
                <a:spcPts val="100"/>
              </a:spcBef>
              <a:spcAft>
                <a:spcPts val="100"/>
              </a:spcAft>
              <a:buFontTx/>
              <a:buChar char="•"/>
            </a:pPr>
            <a:r>
              <a:rPr lang="en-US" dirty="0">
                <a:solidFill>
                  <a:schemeClr val="tx1"/>
                </a:solidFill>
              </a:rPr>
              <a:t>Text</a:t>
            </a:r>
          </a:p>
          <a:p>
            <a:pPr marL="177800" lvl="1" indent="-177800" eaLnBrk="0" hangingPunct="0">
              <a:spcBef>
                <a:spcPts val="100"/>
              </a:spcBef>
              <a:spcAft>
                <a:spcPts val="100"/>
              </a:spcAft>
              <a:buFontTx/>
              <a:buChar char="•"/>
            </a:pPr>
            <a:r>
              <a:rPr lang="en-US" dirty="0">
                <a:solidFill>
                  <a:schemeClr val="tx1"/>
                </a:solidFill>
              </a:rPr>
              <a:t>Text</a:t>
            </a:r>
          </a:p>
        </p:txBody>
      </p:sp>
      <p:sp>
        <p:nvSpPr>
          <p:cNvPr id="16" name="Hexagon 15">
            <a:extLst>
              <a:ext uri="{FF2B5EF4-FFF2-40B4-BE49-F238E27FC236}">
                <a16:creationId xmlns:a16="http://schemas.microsoft.com/office/drawing/2014/main" id="{3D7E0926-6FB4-4566-B3A1-D74E55EEAB38}"/>
              </a:ext>
            </a:extLst>
          </p:cNvPr>
          <p:cNvSpPr>
            <a:spLocks noChangeAspect="1"/>
          </p:cNvSpPr>
          <p:nvPr/>
        </p:nvSpPr>
        <p:spPr>
          <a:xfrm>
            <a:off x="9659450" y="1969936"/>
            <a:ext cx="2088000" cy="1800000"/>
          </a:xfrm>
          <a:prstGeom prst="hexagon">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lnSpc>
                <a:spcPct val="85000"/>
              </a:lnSpc>
              <a:spcBef>
                <a:spcPts val="100"/>
              </a:spcBef>
              <a:spcAft>
                <a:spcPts val="300"/>
              </a:spcAft>
            </a:pPr>
            <a:r>
              <a:rPr lang="en-US" b="1" dirty="0">
                <a:solidFill>
                  <a:schemeClr val="bg1"/>
                </a:solidFill>
                <a:latin typeface="+mj-lt"/>
              </a:rPr>
              <a:t>Key decision point</a:t>
            </a:r>
          </a:p>
        </p:txBody>
      </p:sp>
      <p:sp>
        <p:nvSpPr>
          <p:cNvPr id="5" name="Footer Placeholder 4">
            <a:extLst>
              <a:ext uri="{FF2B5EF4-FFF2-40B4-BE49-F238E27FC236}">
                <a16:creationId xmlns:a16="http://schemas.microsoft.com/office/drawing/2014/main" id="{4A830D81-3A6C-4D28-BC02-2D473FFF60C8}"/>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31BDDBA6-C2CA-4C8C-AA3C-D685BAF85D7B}"/>
              </a:ext>
            </a:extLst>
          </p:cNvPr>
          <p:cNvSpPr>
            <a:spLocks noGrp="1"/>
          </p:cNvSpPr>
          <p:nvPr>
            <p:ph type="sldNum" sz="quarter" idx="10"/>
          </p:nvPr>
        </p:nvSpPr>
        <p:spPr/>
        <p:txBody>
          <a:bodyPr/>
          <a:lstStyle/>
          <a:p>
            <a:fld id="{1F90F471-3972-4120-B8B3-0237DE626C35}" type="slidenum">
              <a:rPr lang="en-US" smtClean="0"/>
              <a:pPr/>
              <a:t>219</a:t>
            </a:fld>
            <a:endParaRPr lang="en-US" dirty="0"/>
          </a:p>
        </p:txBody>
      </p:sp>
    </p:spTree>
    <p:extLst>
      <p:ext uri="{BB962C8B-B14F-4D97-AF65-F5344CB8AC3E}">
        <p14:creationId xmlns:p14="http://schemas.microsoft.com/office/powerpoint/2010/main" val="35120329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5F7B0-780F-44C1-BE82-A1869CC114AD}"/>
              </a:ext>
            </a:extLst>
          </p:cNvPr>
          <p:cNvSpPr>
            <a:spLocks noGrp="1"/>
          </p:cNvSpPr>
          <p:nvPr>
            <p:ph type="ctrTitle"/>
          </p:nvPr>
        </p:nvSpPr>
        <p:spPr/>
        <p:txBody>
          <a:bodyPr/>
          <a:lstStyle/>
          <a:p>
            <a:r>
              <a:rPr lang="en-GB" dirty="0"/>
              <a:t>Place presentation title here 48pt   </a:t>
            </a:r>
            <a:endParaRPr lang="en-US" dirty="0"/>
          </a:p>
        </p:txBody>
      </p:sp>
      <p:sp>
        <p:nvSpPr>
          <p:cNvPr id="4" name="Text Placeholder 3">
            <a:extLst>
              <a:ext uri="{FF2B5EF4-FFF2-40B4-BE49-F238E27FC236}">
                <a16:creationId xmlns:a16="http://schemas.microsoft.com/office/drawing/2014/main" id="{B11AF9B8-BA1B-458B-B966-6976EB99F169}"/>
              </a:ext>
            </a:extLst>
          </p:cNvPr>
          <p:cNvSpPr>
            <a:spLocks noGrp="1"/>
          </p:cNvSpPr>
          <p:nvPr>
            <p:ph type="body" sz="quarter" idx="13"/>
          </p:nvPr>
        </p:nvSpPr>
        <p:spPr/>
        <p:txBody>
          <a:bodyPr/>
          <a:lstStyle/>
          <a:p>
            <a:r>
              <a:rPr lang="en-GB" dirty="0"/>
              <a:t>Place subtitle here in GT Sectra Fine </a:t>
            </a:r>
            <a:r>
              <a:rPr lang="en-GB" dirty="0" err="1"/>
              <a:t>Rg</a:t>
            </a:r>
            <a:r>
              <a:rPr lang="en-GB" dirty="0"/>
              <a:t> 24pt</a:t>
            </a:r>
            <a:endParaRPr lang="en-US" dirty="0"/>
          </a:p>
        </p:txBody>
      </p:sp>
      <p:sp>
        <p:nvSpPr>
          <p:cNvPr id="3" name="Text Placeholder 2">
            <a:extLst>
              <a:ext uri="{FF2B5EF4-FFF2-40B4-BE49-F238E27FC236}">
                <a16:creationId xmlns:a16="http://schemas.microsoft.com/office/drawing/2014/main" id="{25BE0E95-5B59-4256-9FCA-3147063CC671}"/>
              </a:ext>
            </a:extLst>
          </p:cNvPr>
          <p:cNvSpPr>
            <a:spLocks noGrp="1"/>
          </p:cNvSpPr>
          <p:nvPr>
            <p:ph type="body" sz="quarter" idx="12"/>
          </p:nvPr>
        </p:nvSpPr>
        <p:spPr/>
        <p:txBody>
          <a:bodyPr/>
          <a:lstStyle/>
          <a:p>
            <a:r>
              <a:rPr lang="en-US" dirty="0"/>
              <a:t>Presenter 14pt</a:t>
            </a:r>
          </a:p>
        </p:txBody>
      </p:sp>
    </p:spTree>
    <p:extLst>
      <p:ext uri="{BB962C8B-B14F-4D97-AF65-F5344CB8AC3E}">
        <p14:creationId xmlns:p14="http://schemas.microsoft.com/office/powerpoint/2010/main" val="3500910877"/>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Changing Course</a:t>
            </a:r>
          </a:p>
        </p:txBody>
      </p:sp>
      <p:sp>
        <p:nvSpPr>
          <p:cNvPr id="21" name="Freeform 5">
            <a:extLst>
              <a:ext uri="{FF2B5EF4-FFF2-40B4-BE49-F238E27FC236}">
                <a16:creationId xmlns:a16="http://schemas.microsoft.com/office/drawing/2014/main" id="{F89C5A32-427F-465F-BBDA-61F020FEB369}"/>
              </a:ext>
              <a:ext uri="{C183D7F6-B498-43B3-948B-1728B52AA6E4}">
                <adec:decorative xmlns:adec="http://schemas.microsoft.com/office/drawing/2017/decorative" val="1"/>
              </a:ext>
            </a:extLst>
          </p:cNvPr>
          <p:cNvSpPr>
            <a:spLocks/>
          </p:cNvSpPr>
          <p:nvPr/>
        </p:nvSpPr>
        <p:spPr bwMode="auto">
          <a:xfrm>
            <a:off x="-848" y="1514847"/>
            <a:ext cx="8961968" cy="4373769"/>
          </a:xfrm>
          <a:custGeom>
            <a:avLst/>
            <a:gdLst>
              <a:gd name="T0" fmla="*/ 5684 w 5684"/>
              <a:gd name="T1" fmla="*/ 382 h 2774"/>
              <a:gd name="T2" fmla="*/ 5302 w 5684"/>
              <a:gd name="T3" fmla="*/ 0 h 2774"/>
              <a:gd name="T4" fmla="*/ 5302 w 5684"/>
              <a:gd name="T5" fmla="*/ 190 h 2774"/>
              <a:gd name="T6" fmla="*/ 3818 w 5684"/>
              <a:gd name="T7" fmla="*/ 190 h 2774"/>
              <a:gd name="T8" fmla="*/ 3399 w 5684"/>
              <a:gd name="T9" fmla="*/ 190 h 2774"/>
              <a:gd name="T10" fmla="*/ 3258 w 5684"/>
              <a:gd name="T11" fmla="*/ 190 h 2774"/>
              <a:gd name="T12" fmla="*/ 2775 w 5684"/>
              <a:gd name="T13" fmla="*/ 920 h 2774"/>
              <a:gd name="T14" fmla="*/ 1803 w 5684"/>
              <a:gd name="T15" fmla="*/ 2388 h 2774"/>
              <a:gd name="T16" fmla="*/ 0 w 5684"/>
              <a:gd name="T17" fmla="*/ 2388 h 2774"/>
              <a:gd name="T18" fmla="*/ 0 w 5684"/>
              <a:gd name="T19" fmla="*/ 2774 h 2774"/>
              <a:gd name="T20" fmla="*/ 1449 w 5684"/>
              <a:gd name="T21" fmla="*/ 2774 h 2774"/>
              <a:gd name="T22" fmla="*/ 1882 w 5684"/>
              <a:gd name="T23" fmla="*/ 2774 h 2774"/>
              <a:gd name="T24" fmla="*/ 2009 w 5684"/>
              <a:gd name="T25" fmla="*/ 2774 h 2774"/>
              <a:gd name="T26" fmla="*/ 2493 w 5684"/>
              <a:gd name="T27" fmla="*/ 2044 h 2774"/>
              <a:gd name="T28" fmla="*/ 2493 w 5684"/>
              <a:gd name="T29" fmla="*/ 2044 h 2774"/>
              <a:gd name="T30" fmla="*/ 3465 w 5684"/>
              <a:gd name="T31" fmla="*/ 572 h 2774"/>
              <a:gd name="T32" fmla="*/ 5302 w 5684"/>
              <a:gd name="T33" fmla="*/ 572 h 2774"/>
              <a:gd name="T34" fmla="*/ 5302 w 5684"/>
              <a:gd name="T35" fmla="*/ 765 h 2774"/>
              <a:gd name="T36" fmla="*/ 5684 w 5684"/>
              <a:gd name="T37" fmla="*/ 382 h 2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84" h="2774">
                <a:moveTo>
                  <a:pt x="5684" y="382"/>
                </a:moveTo>
                <a:lnTo>
                  <a:pt x="5302" y="0"/>
                </a:lnTo>
                <a:lnTo>
                  <a:pt x="5302" y="190"/>
                </a:lnTo>
                <a:lnTo>
                  <a:pt x="3818" y="190"/>
                </a:lnTo>
                <a:lnTo>
                  <a:pt x="3399" y="190"/>
                </a:lnTo>
                <a:lnTo>
                  <a:pt x="3258" y="190"/>
                </a:lnTo>
                <a:lnTo>
                  <a:pt x="2775" y="920"/>
                </a:lnTo>
                <a:lnTo>
                  <a:pt x="1803" y="2388"/>
                </a:lnTo>
                <a:lnTo>
                  <a:pt x="0" y="2388"/>
                </a:lnTo>
                <a:lnTo>
                  <a:pt x="0" y="2774"/>
                </a:lnTo>
                <a:lnTo>
                  <a:pt x="1449" y="2774"/>
                </a:lnTo>
                <a:lnTo>
                  <a:pt x="1882" y="2774"/>
                </a:lnTo>
                <a:lnTo>
                  <a:pt x="2009" y="2774"/>
                </a:lnTo>
                <a:lnTo>
                  <a:pt x="2493" y="2044"/>
                </a:lnTo>
                <a:lnTo>
                  <a:pt x="2493" y="2044"/>
                </a:lnTo>
                <a:lnTo>
                  <a:pt x="3465" y="572"/>
                </a:lnTo>
                <a:lnTo>
                  <a:pt x="5302" y="572"/>
                </a:lnTo>
                <a:lnTo>
                  <a:pt x="5302" y="765"/>
                </a:lnTo>
                <a:lnTo>
                  <a:pt x="5684" y="382"/>
                </a:lnTo>
                <a:close/>
              </a:path>
            </a:pathLst>
          </a:custGeom>
          <a:pattFill prst="dkUpDiag">
            <a:fgClr>
              <a:schemeClr val="tx2">
                <a:lumMod val="60000"/>
                <a:lumOff val="40000"/>
              </a:schemeClr>
            </a:fgClr>
            <a:bgClr>
              <a:schemeClr val="bg1"/>
            </a:bgClr>
          </a:pattFill>
          <a:ln>
            <a:noFill/>
          </a:ln>
        </p:spPr>
        <p:txBody>
          <a:bodyPr vert="horz" wrap="square" lIns="91440" tIns="45720" rIns="91440" bIns="45720" numCol="1" anchor="t" anchorCtr="0" compatLnSpc="1">
            <a:prstTxWarp prst="textNoShape">
              <a:avLst/>
            </a:prstTxWarp>
          </a:bodyPr>
          <a:lstStyle/>
          <a:p>
            <a:endParaRPr lang="en-GB" dirty="0"/>
          </a:p>
        </p:txBody>
      </p:sp>
      <p:sp>
        <p:nvSpPr>
          <p:cNvPr id="23" name="Freeform 6" descr="Add text and order accordingly">
            <a:extLst>
              <a:ext uri="{FF2B5EF4-FFF2-40B4-BE49-F238E27FC236}">
                <a16:creationId xmlns:a16="http://schemas.microsoft.com/office/drawing/2014/main" id="{4558B1FA-5D62-4655-B49F-50AF85186C26}"/>
              </a:ext>
            </a:extLst>
          </p:cNvPr>
          <p:cNvSpPr>
            <a:spLocks/>
          </p:cNvSpPr>
          <p:nvPr/>
        </p:nvSpPr>
        <p:spPr bwMode="auto">
          <a:xfrm>
            <a:off x="-124691" y="2119383"/>
            <a:ext cx="8359668" cy="3471896"/>
          </a:xfrm>
          <a:custGeom>
            <a:avLst/>
            <a:gdLst>
              <a:gd name="T0" fmla="*/ 0 w 5302"/>
              <a:gd name="T1" fmla="*/ 2202 h 2202"/>
              <a:gd name="T2" fmla="*/ 2009 w 5302"/>
              <a:gd name="T3" fmla="*/ 2202 h 2202"/>
              <a:gd name="T4" fmla="*/ 3465 w 5302"/>
              <a:gd name="T5" fmla="*/ 0 h 2202"/>
              <a:gd name="T6" fmla="*/ 5302 w 5302"/>
              <a:gd name="T7" fmla="*/ 0 h 2202"/>
            </a:gdLst>
            <a:ahLst/>
            <a:cxnLst>
              <a:cxn ang="0">
                <a:pos x="T0" y="T1"/>
              </a:cxn>
              <a:cxn ang="0">
                <a:pos x="T2" y="T3"/>
              </a:cxn>
              <a:cxn ang="0">
                <a:pos x="T4" y="T5"/>
              </a:cxn>
              <a:cxn ang="0">
                <a:pos x="T6" y="T7"/>
              </a:cxn>
            </a:cxnLst>
            <a:rect l="0" t="0" r="r" b="b"/>
            <a:pathLst>
              <a:path w="5302" h="2202">
                <a:moveTo>
                  <a:pt x="0" y="2202"/>
                </a:moveTo>
                <a:lnTo>
                  <a:pt x="2009" y="2202"/>
                </a:lnTo>
                <a:lnTo>
                  <a:pt x="3465" y="0"/>
                </a:lnTo>
                <a:lnTo>
                  <a:pt x="5302" y="0"/>
                </a:lnTo>
              </a:path>
            </a:pathLst>
          </a:custGeom>
          <a:noFill/>
          <a:ln w="28575" cap="flat">
            <a:solidFill>
              <a:schemeClr val="bg1"/>
            </a:solidFill>
            <a:prstDash val="solid"/>
            <a:miter lim="800000"/>
            <a:headEnd/>
            <a:tailEnd type="triangle"/>
          </a:ln>
        </p:spPr>
        <p:txBody>
          <a:bodyPr vert="horz" wrap="square" lIns="91440" tIns="45720" rIns="91440" bIns="45720" numCol="1" anchor="t" anchorCtr="0" compatLnSpc="1">
            <a:prstTxWarp prst="textNoShape">
              <a:avLst/>
            </a:prstTxWarp>
          </a:bodyPr>
          <a:lstStyle/>
          <a:p>
            <a:endParaRPr lang="en-GB" dirty="0"/>
          </a:p>
        </p:txBody>
      </p:sp>
      <p:sp>
        <p:nvSpPr>
          <p:cNvPr id="25" name="Rectangle 9">
            <a:extLst>
              <a:ext uri="{FF2B5EF4-FFF2-40B4-BE49-F238E27FC236}">
                <a16:creationId xmlns:a16="http://schemas.microsoft.com/office/drawing/2014/main" id="{EB5D02AD-97B4-45BD-AB47-87D616BBBF3D}"/>
              </a:ext>
            </a:extLst>
          </p:cNvPr>
          <p:cNvSpPr>
            <a:spLocks noChangeArrowheads="1"/>
          </p:cNvSpPr>
          <p:nvPr/>
        </p:nvSpPr>
        <p:spPr bwMode="auto">
          <a:xfrm>
            <a:off x="345018" y="2654694"/>
            <a:ext cx="2254927" cy="1931114"/>
          </a:xfrm>
          <a:prstGeom prst="rect">
            <a:avLst/>
          </a:prstGeom>
          <a:noFill/>
          <a:ln w="6350">
            <a:noFill/>
            <a:miter lim="800000"/>
            <a:headEnd/>
            <a:tailEnd/>
          </a:ln>
          <a:effectLst/>
        </p:spPr>
        <p:txBody>
          <a:bodyPr lIns="72000" tIns="72000" rIns="72000" bIns="72000" anchor="t" anchorCtr="0">
            <a:noAutofit/>
          </a:bodyPr>
          <a:lstStyle/>
          <a:p>
            <a:pPr indent="-177800" eaLnBrk="0" hangingPunct="0">
              <a:lnSpc>
                <a:spcPct val="85000"/>
              </a:lnSpc>
              <a:spcBef>
                <a:spcPts val="100"/>
              </a:spcBef>
              <a:spcAft>
                <a:spcPts val="300"/>
              </a:spcAft>
              <a:buClr>
                <a:schemeClr val="bg1"/>
              </a:buClr>
            </a:pPr>
            <a:r>
              <a:rPr lang="en-GB" b="1" dirty="0">
                <a:solidFill>
                  <a:schemeClr val="accent1"/>
                </a:solidFill>
                <a:latin typeface="+mj-lt"/>
              </a:rPr>
              <a:t>Text</a:t>
            </a:r>
          </a:p>
          <a:p>
            <a:pPr marL="165100" indent="-165100" eaLnBrk="0" hangingPunct="0">
              <a:spcBef>
                <a:spcPts val="100"/>
              </a:spcBef>
              <a:spcAft>
                <a:spcPts val="100"/>
              </a:spcAft>
              <a:buFontTx/>
              <a:buChar char="•"/>
            </a:pPr>
            <a:r>
              <a:rPr lang="en-GB" dirty="0"/>
              <a:t>Text</a:t>
            </a:r>
          </a:p>
          <a:p>
            <a:pPr marL="165100" indent="-165100" eaLnBrk="0" hangingPunct="0">
              <a:spcBef>
                <a:spcPts val="100"/>
              </a:spcBef>
              <a:spcAft>
                <a:spcPts val="100"/>
              </a:spcAft>
              <a:buFontTx/>
              <a:buChar char="•"/>
            </a:pPr>
            <a:r>
              <a:rPr lang="en-GB" dirty="0"/>
              <a:t>Text</a:t>
            </a:r>
          </a:p>
          <a:p>
            <a:pPr marL="165100" indent="-165100" eaLnBrk="0" hangingPunct="0">
              <a:spcBef>
                <a:spcPts val="100"/>
              </a:spcBef>
              <a:spcAft>
                <a:spcPts val="100"/>
              </a:spcAft>
              <a:buFontTx/>
              <a:buChar char="•"/>
            </a:pPr>
            <a:r>
              <a:rPr lang="en-GB" dirty="0"/>
              <a:t>Text</a:t>
            </a:r>
          </a:p>
        </p:txBody>
      </p:sp>
      <p:sp>
        <p:nvSpPr>
          <p:cNvPr id="27" name="Rectangle 9">
            <a:extLst>
              <a:ext uri="{FF2B5EF4-FFF2-40B4-BE49-F238E27FC236}">
                <a16:creationId xmlns:a16="http://schemas.microsoft.com/office/drawing/2014/main" id="{11B7A1A3-7217-47B6-A661-9998AC8862DE}"/>
              </a:ext>
            </a:extLst>
          </p:cNvPr>
          <p:cNvSpPr>
            <a:spLocks noChangeArrowheads="1"/>
          </p:cNvSpPr>
          <p:nvPr/>
        </p:nvSpPr>
        <p:spPr bwMode="auto">
          <a:xfrm>
            <a:off x="5640651" y="3957502"/>
            <a:ext cx="2254927" cy="1931114"/>
          </a:xfrm>
          <a:prstGeom prst="rect">
            <a:avLst/>
          </a:prstGeom>
          <a:noFill/>
          <a:ln w="6350">
            <a:noFill/>
            <a:miter lim="800000"/>
            <a:headEnd/>
            <a:tailEnd/>
          </a:ln>
          <a:effectLst/>
        </p:spPr>
        <p:txBody>
          <a:bodyPr lIns="72000" tIns="72000" rIns="72000" bIns="0" anchor="b" anchorCtr="0">
            <a:noAutofit/>
          </a:bodyPr>
          <a:lstStyle/>
          <a:p>
            <a:pPr indent="-177800" eaLnBrk="0" hangingPunct="0">
              <a:lnSpc>
                <a:spcPct val="85000"/>
              </a:lnSpc>
              <a:spcBef>
                <a:spcPts val="100"/>
              </a:spcBef>
              <a:spcAft>
                <a:spcPts val="300"/>
              </a:spcAft>
              <a:buClr>
                <a:schemeClr val="bg1"/>
              </a:buClr>
            </a:pPr>
            <a:r>
              <a:rPr lang="en-GB" b="1" dirty="0">
                <a:solidFill>
                  <a:schemeClr val="accent1"/>
                </a:solidFill>
                <a:latin typeface="+mj-lt"/>
              </a:rPr>
              <a:t>Text</a:t>
            </a:r>
          </a:p>
          <a:p>
            <a:pPr marL="165100" indent="-165100" eaLnBrk="0" hangingPunct="0">
              <a:spcBef>
                <a:spcPts val="100"/>
              </a:spcBef>
              <a:spcAft>
                <a:spcPts val="100"/>
              </a:spcAft>
              <a:buFontTx/>
              <a:buChar char="•"/>
            </a:pPr>
            <a:r>
              <a:rPr lang="en-GB" dirty="0"/>
              <a:t>Text</a:t>
            </a:r>
          </a:p>
          <a:p>
            <a:pPr marL="165100" indent="-165100" eaLnBrk="0" hangingPunct="0">
              <a:spcBef>
                <a:spcPts val="100"/>
              </a:spcBef>
              <a:spcAft>
                <a:spcPts val="100"/>
              </a:spcAft>
              <a:buFontTx/>
              <a:buChar char="•"/>
            </a:pPr>
            <a:r>
              <a:rPr lang="en-GB" dirty="0"/>
              <a:t>Text</a:t>
            </a:r>
          </a:p>
          <a:p>
            <a:pPr marL="165100" indent="-165100" eaLnBrk="0" hangingPunct="0">
              <a:spcBef>
                <a:spcPts val="100"/>
              </a:spcBef>
              <a:spcAft>
                <a:spcPts val="100"/>
              </a:spcAft>
              <a:buFontTx/>
              <a:buChar char="•"/>
            </a:pPr>
            <a:r>
              <a:rPr lang="en-GB" dirty="0"/>
              <a:t>Text</a:t>
            </a:r>
          </a:p>
        </p:txBody>
      </p:sp>
      <p:sp>
        <p:nvSpPr>
          <p:cNvPr id="29" name="Oval 28">
            <a:extLst>
              <a:ext uri="{FF2B5EF4-FFF2-40B4-BE49-F238E27FC236}">
                <a16:creationId xmlns:a16="http://schemas.microsoft.com/office/drawing/2014/main" id="{CE500378-8C6A-4B34-9DCC-C8F38772E57E}"/>
              </a:ext>
            </a:extLst>
          </p:cNvPr>
          <p:cNvSpPr>
            <a:spLocks noChangeAspect="1" noChangeArrowheads="1"/>
          </p:cNvSpPr>
          <p:nvPr/>
        </p:nvSpPr>
        <p:spPr bwMode="auto">
          <a:xfrm>
            <a:off x="9084963" y="965867"/>
            <a:ext cx="2307032" cy="2307032"/>
          </a:xfrm>
          <a:prstGeom prst="ellipse">
            <a:avLst/>
          </a:prstGeom>
          <a:solidFill>
            <a:schemeClr val="accent1"/>
          </a:solidFill>
          <a:ln w="6350">
            <a:noFill/>
            <a:round/>
            <a:headEnd/>
            <a:tailEnd/>
          </a:ln>
          <a:effectLst/>
        </p:spPr>
        <p:txBody>
          <a:bodyPr wrap="none" lIns="36000" tIns="36000" rIns="36000" bIns="36000" anchor="ctr" anchorCtr="1"/>
          <a:lstStyle/>
          <a:p>
            <a:pPr algn="ctr" eaLnBrk="0" hangingPunct="0">
              <a:lnSpc>
                <a:spcPct val="85000"/>
              </a:lnSpc>
              <a:spcBef>
                <a:spcPts val="100"/>
              </a:spcBef>
              <a:spcAft>
                <a:spcPts val="300"/>
              </a:spcAft>
            </a:pPr>
            <a:r>
              <a:rPr lang="en-US" b="1" dirty="0">
                <a:solidFill>
                  <a:schemeClr val="bg1"/>
                </a:solidFill>
                <a:latin typeface="+mj-lt"/>
              </a:rPr>
              <a:t>Text</a:t>
            </a:r>
          </a:p>
          <a:p>
            <a:pPr algn="ctr" eaLnBrk="0" hangingPunct="0">
              <a:spcBef>
                <a:spcPts val="100"/>
              </a:spcBef>
              <a:spcAft>
                <a:spcPts val="100"/>
              </a:spcAft>
            </a:pPr>
            <a:r>
              <a:rPr lang="en-US" dirty="0">
                <a:solidFill>
                  <a:schemeClr val="bg1"/>
                </a:solidFill>
              </a:rPr>
              <a:t>Insert text</a:t>
            </a:r>
          </a:p>
        </p:txBody>
      </p:sp>
      <p:sp>
        <p:nvSpPr>
          <p:cNvPr id="5" name="Footer Placeholder 4">
            <a:extLst>
              <a:ext uri="{FF2B5EF4-FFF2-40B4-BE49-F238E27FC236}">
                <a16:creationId xmlns:a16="http://schemas.microsoft.com/office/drawing/2014/main" id="{F0138AD7-D23E-463F-AD8C-18D9F00C749E}"/>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CB3A1337-B51B-485B-BF22-93FC08DA3E79}"/>
              </a:ext>
            </a:extLst>
          </p:cNvPr>
          <p:cNvSpPr>
            <a:spLocks noGrp="1"/>
          </p:cNvSpPr>
          <p:nvPr>
            <p:ph type="sldNum" sz="quarter" idx="10"/>
          </p:nvPr>
        </p:nvSpPr>
        <p:spPr/>
        <p:txBody>
          <a:bodyPr/>
          <a:lstStyle/>
          <a:p>
            <a:fld id="{1F90F471-3972-4120-B8B3-0237DE626C35}" type="slidenum">
              <a:rPr lang="en-US" smtClean="0"/>
              <a:pPr/>
              <a:t>220</a:t>
            </a:fld>
            <a:endParaRPr lang="en-US" dirty="0"/>
          </a:p>
        </p:txBody>
      </p:sp>
    </p:spTree>
    <p:extLst>
      <p:ext uri="{BB962C8B-B14F-4D97-AF65-F5344CB8AC3E}">
        <p14:creationId xmlns:p14="http://schemas.microsoft.com/office/powerpoint/2010/main" val="3137518547"/>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Pipeline 1</a:t>
            </a:r>
          </a:p>
        </p:txBody>
      </p:sp>
      <p:grpSp>
        <p:nvGrpSpPr>
          <p:cNvPr id="12" name="Group 11" descr="Add text and order accordingly">
            <a:extLst>
              <a:ext uri="{FF2B5EF4-FFF2-40B4-BE49-F238E27FC236}">
                <a16:creationId xmlns:a16="http://schemas.microsoft.com/office/drawing/2014/main" id="{D6EBB03A-334C-4EB1-87A6-22D8E85D0B24}"/>
              </a:ext>
            </a:extLst>
          </p:cNvPr>
          <p:cNvGrpSpPr>
            <a:grpSpLocks/>
          </p:cNvGrpSpPr>
          <p:nvPr/>
        </p:nvGrpSpPr>
        <p:grpSpPr bwMode="auto">
          <a:xfrm>
            <a:off x="345017" y="2247900"/>
            <a:ext cx="11515187" cy="2343456"/>
            <a:chOff x="1399" y="2071"/>
            <a:chExt cx="3272" cy="666"/>
          </a:xfrm>
        </p:grpSpPr>
        <p:sp>
          <p:nvSpPr>
            <p:cNvPr id="13" name="AutoShape 3">
              <a:extLst>
                <a:ext uri="{FF2B5EF4-FFF2-40B4-BE49-F238E27FC236}">
                  <a16:creationId xmlns:a16="http://schemas.microsoft.com/office/drawing/2014/main" id="{6D0982E1-831E-4564-84A9-4CD96AD600C8}"/>
                </a:ext>
              </a:extLst>
            </p:cNvPr>
            <p:cNvSpPr>
              <a:spLocks noChangeArrowheads="1"/>
            </p:cNvSpPr>
            <p:nvPr/>
          </p:nvSpPr>
          <p:spPr bwMode="auto">
            <a:xfrm rot="-5400000">
              <a:off x="2803" y="974"/>
              <a:ext cx="666" cy="2860"/>
            </a:xfrm>
            <a:custGeom>
              <a:avLst/>
              <a:gdLst>
                <a:gd name="G0" fmla="+- 6101 0 0"/>
                <a:gd name="G1" fmla="+- 21600 0 6101"/>
                <a:gd name="G2" fmla="*/ 6101 1 2"/>
                <a:gd name="G3" fmla="+- 21600 0 G2"/>
                <a:gd name="G4" fmla="+/ 6101 21600 2"/>
                <a:gd name="G5" fmla="+/ G1 0 2"/>
                <a:gd name="G6" fmla="*/ 21600 21600 6101"/>
                <a:gd name="G7" fmla="*/ G6 1 2"/>
                <a:gd name="G8" fmla="+- 21600 0 G7"/>
                <a:gd name="G9" fmla="*/ 21600 1 2"/>
                <a:gd name="G10" fmla="+- 6101 0 G9"/>
                <a:gd name="G11" fmla="?: G10 G8 0"/>
                <a:gd name="G12" fmla="?: G10 G7 21600"/>
                <a:gd name="T0" fmla="*/ 18549 w 21600"/>
                <a:gd name="T1" fmla="*/ 10800 h 21600"/>
                <a:gd name="T2" fmla="*/ 10800 w 21600"/>
                <a:gd name="T3" fmla="*/ 21600 h 21600"/>
                <a:gd name="T4" fmla="*/ 3051 w 21600"/>
                <a:gd name="T5" fmla="*/ 10800 h 21600"/>
                <a:gd name="T6" fmla="*/ 10800 w 21600"/>
                <a:gd name="T7" fmla="*/ 0 h 21600"/>
                <a:gd name="T8" fmla="*/ 4851 w 21600"/>
                <a:gd name="T9" fmla="*/ 4851 h 21600"/>
                <a:gd name="T10" fmla="*/ 16749 w 21600"/>
                <a:gd name="T11" fmla="*/ 16749 h 21600"/>
              </a:gdLst>
              <a:ahLst/>
              <a:cxnLst>
                <a:cxn ang="0">
                  <a:pos x="T0" y="T1"/>
                </a:cxn>
                <a:cxn ang="0">
                  <a:pos x="T2" y="T3"/>
                </a:cxn>
                <a:cxn ang="0">
                  <a:pos x="T4" y="T5"/>
                </a:cxn>
                <a:cxn ang="0">
                  <a:pos x="T6" y="T7"/>
                </a:cxn>
              </a:cxnLst>
              <a:rect l="T8" t="T9" r="T10" b="T11"/>
              <a:pathLst>
                <a:path w="21600" h="21600">
                  <a:moveTo>
                    <a:pt x="0" y="0"/>
                  </a:moveTo>
                  <a:lnTo>
                    <a:pt x="6101" y="21600"/>
                  </a:lnTo>
                  <a:lnTo>
                    <a:pt x="15499" y="21600"/>
                  </a:lnTo>
                  <a:lnTo>
                    <a:pt x="21600" y="0"/>
                  </a:lnTo>
                  <a:close/>
                </a:path>
              </a:pathLst>
            </a:custGeom>
            <a:pattFill prst="dkUpDiag">
              <a:fgClr>
                <a:schemeClr val="tx2">
                  <a:lumMod val="40000"/>
                  <a:lumOff val="60000"/>
                </a:schemeClr>
              </a:fgClr>
              <a:bgClr>
                <a:schemeClr val="bg1"/>
              </a:bgClr>
            </a:pattFill>
            <a:ln w="6350">
              <a:noFill/>
              <a:miter lim="800000"/>
              <a:headEnd/>
              <a:tailEnd/>
            </a:ln>
            <a:effectLst/>
          </p:spPr>
          <p:txBody>
            <a:bodyPr wrap="none" lIns="45720" rIns="45720" anchor="ctr"/>
            <a:lstStyle/>
            <a:p>
              <a:pPr algn="ctr"/>
              <a:endParaRPr lang="en-US" sz="1600"/>
            </a:p>
          </p:txBody>
        </p:sp>
        <p:sp>
          <p:nvSpPr>
            <p:cNvPr id="14" name="Oval 4">
              <a:extLst>
                <a:ext uri="{FF2B5EF4-FFF2-40B4-BE49-F238E27FC236}">
                  <a16:creationId xmlns:a16="http://schemas.microsoft.com/office/drawing/2014/main" id="{94C5210E-0306-4D7E-A67C-B79392159038}"/>
                </a:ext>
              </a:extLst>
            </p:cNvPr>
            <p:cNvSpPr>
              <a:spLocks noChangeArrowheads="1"/>
            </p:cNvSpPr>
            <p:nvPr/>
          </p:nvSpPr>
          <p:spPr bwMode="auto">
            <a:xfrm>
              <a:off x="1399" y="2072"/>
              <a:ext cx="664" cy="665"/>
            </a:xfrm>
            <a:prstGeom prst="ellipse">
              <a:avLst/>
            </a:prstGeom>
            <a:solidFill>
              <a:schemeClr val="accent3"/>
            </a:solidFill>
            <a:ln w="6350">
              <a:noFill/>
              <a:round/>
              <a:headEnd/>
              <a:tailEnd/>
            </a:ln>
            <a:effectLst/>
          </p:spPr>
          <p:txBody>
            <a:bodyPr wrap="none" lIns="45720" rIns="45720" anchor="ctr"/>
            <a:lstStyle/>
            <a:p>
              <a:pPr algn="ctr" eaLnBrk="0" hangingPunct="0"/>
              <a:r>
                <a:rPr lang="en-GB" sz="1600" b="1">
                  <a:solidFill>
                    <a:schemeClr val="bg1"/>
                  </a:solidFill>
                </a:rPr>
                <a:t>Text</a:t>
              </a:r>
            </a:p>
          </p:txBody>
        </p:sp>
        <p:sp>
          <p:nvSpPr>
            <p:cNvPr id="15" name="Oval 5">
              <a:extLst>
                <a:ext uri="{FF2B5EF4-FFF2-40B4-BE49-F238E27FC236}">
                  <a16:creationId xmlns:a16="http://schemas.microsoft.com/office/drawing/2014/main" id="{404D50EC-2D4E-43D1-8C8F-CE59776F7AAB}"/>
                </a:ext>
              </a:extLst>
            </p:cNvPr>
            <p:cNvSpPr>
              <a:spLocks noChangeArrowheads="1"/>
            </p:cNvSpPr>
            <p:nvPr/>
          </p:nvSpPr>
          <p:spPr bwMode="auto">
            <a:xfrm>
              <a:off x="2293" y="2125"/>
              <a:ext cx="558" cy="558"/>
            </a:xfrm>
            <a:prstGeom prst="ellipse">
              <a:avLst/>
            </a:prstGeom>
            <a:solidFill>
              <a:schemeClr val="accent2"/>
            </a:solidFill>
            <a:ln w="6350">
              <a:noFill/>
              <a:round/>
              <a:headEnd/>
              <a:tailEnd/>
            </a:ln>
            <a:effectLst/>
          </p:spPr>
          <p:txBody>
            <a:bodyPr wrap="none" lIns="45720" rIns="45720" anchor="ctr"/>
            <a:lstStyle/>
            <a:p>
              <a:pPr algn="ctr" eaLnBrk="0" hangingPunct="0"/>
              <a:r>
                <a:rPr lang="en-GB" sz="1600" b="1">
                  <a:solidFill>
                    <a:schemeClr val="bg1"/>
                  </a:solidFill>
                </a:rPr>
                <a:t>Text</a:t>
              </a:r>
            </a:p>
          </p:txBody>
        </p:sp>
        <p:sp>
          <p:nvSpPr>
            <p:cNvPr id="16" name="Oval 6">
              <a:extLst>
                <a:ext uri="{FF2B5EF4-FFF2-40B4-BE49-F238E27FC236}">
                  <a16:creationId xmlns:a16="http://schemas.microsoft.com/office/drawing/2014/main" id="{2E2052A0-0901-4BD7-8F3C-BBC58DEB4F7B}"/>
                </a:ext>
              </a:extLst>
            </p:cNvPr>
            <p:cNvSpPr>
              <a:spLocks noChangeArrowheads="1"/>
            </p:cNvSpPr>
            <p:nvPr/>
          </p:nvSpPr>
          <p:spPr bwMode="auto">
            <a:xfrm>
              <a:off x="3081" y="2172"/>
              <a:ext cx="465" cy="464"/>
            </a:xfrm>
            <a:prstGeom prst="ellipse">
              <a:avLst/>
            </a:prstGeom>
            <a:solidFill>
              <a:schemeClr val="accent1"/>
            </a:solidFill>
            <a:ln w="6350">
              <a:noFill/>
              <a:round/>
              <a:headEnd/>
              <a:tailEnd/>
            </a:ln>
            <a:effectLst/>
          </p:spPr>
          <p:txBody>
            <a:bodyPr wrap="none" lIns="45720" rIns="45720" anchor="ctr"/>
            <a:lstStyle/>
            <a:p>
              <a:pPr algn="ctr" eaLnBrk="0" hangingPunct="0"/>
              <a:r>
                <a:rPr lang="en-GB" sz="1600" b="1">
                  <a:solidFill>
                    <a:schemeClr val="bg1"/>
                  </a:solidFill>
                </a:rPr>
                <a:t>Text</a:t>
              </a:r>
            </a:p>
          </p:txBody>
        </p:sp>
        <p:sp>
          <p:nvSpPr>
            <p:cNvPr id="17" name="Oval 7">
              <a:extLst>
                <a:ext uri="{FF2B5EF4-FFF2-40B4-BE49-F238E27FC236}">
                  <a16:creationId xmlns:a16="http://schemas.microsoft.com/office/drawing/2014/main" id="{22699BED-850F-48C5-9B2F-B07D34291DED}"/>
                </a:ext>
              </a:extLst>
            </p:cNvPr>
            <p:cNvSpPr>
              <a:spLocks noChangeArrowheads="1"/>
            </p:cNvSpPr>
            <p:nvPr/>
          </p:nvSpPr>
          <p:spPr bwMode="auto">
            <a:xfrm>
              <a:off x="3776" y="2220"/>
              <a:ext cx="367" cy="368"/>
            </a:xfrm>
            <a:prstGeom prst="ellipse">
              <a:avLst/>
            </a:prstGeom>
            <a:solidFill>
              <a:schemeClr val="accent5"/>
            </a:solidFill>
            <a:ln w="6350">
              <a:noFill/>
              <a:round/>
              <a:headEnd/>
              <a:tailEnd/>
            </a:ln>
            <a:effectLst/>
          </p:spPr>
          <p:txBody>
            <a:bodyPr wrap="none" lIns="45720" rIns="45720" anchor="ctr"/>
            <a:lstStyle/>
            <a:p>
              <a:pPr algn="ctr" eaLnBrk="0" hangingPunct="0"/>
              <a:r>
                <a:rPr lang="en-GB" sz="1600" b="1"/>
                <a:t>Text</a:t>
              </a:r>
            </a:p>
          </p:txBody>
        </p:sp>
        <p:sp>
          <p:nvSpPr>
            <p:cNvPr id="18" name="Oval 8">
              <a:extLst>
                <a:ext uri="{FF2B5EF4-FFF2-40B4-BE49-F238E27FC236}">
                  <a16:creationId xmlns:a16="http://schemas.microsoft.com/office/drawing/2014/main" id="{A9B6B297-A2A5-40E2-95EF-46F6104A0607}"/>
                </a:ext>
              </a:extLst>
            </p:cNvPr>
            <p:cNvSpPr>
              <a:spLocks noChangeArrowheads="1"/>
            </p:cNvSpPr>
            <p:nvPr/>
          </p:nvSpPr>
          <p:spPr bwMode="auto">
            <a:xfrm>
              <a:off x="4374" y="2256"/>
              <a:ext cx="297" cy="296"/>
            </a:xfrm>
            <a:prstGeom prst="ellipse">
              <a:avLst/>
            </a:prstGeom>
            <a:solidFill>
              <a:schemeClr val="accent6"/>
            </a:solidFill>
            <a:ln w="6350">
              <a:noFill/>
              <a:round/>
              <a:headEnd/>
              <a:tailEnd/>
            </a:ln>
            <a:effectLst/>
          </p:spPr>
          <p:txBody>
            <a:bodyPr wrap="none" lIns="45720" rIns="45720" anchor="ctr"/>
            <a:lstStyle/>
            <a:p>
              <a:pPr algn="ctr" eaLnBrk="0" hangingPunct="0"/>
              <a:r>
                <a:rPr lang="en-GB" sz="1600" b="1"/>
                <a:t>Text</a:t>
              </a:r>
            </a:p>
          </p:txBody>
        </p:sp>
      </p:grpSp>
      <p:sp>
        <p:nvSpPr>
          <p:cNvPr id="5" name="Footer Placeholder 4">
            <a:extLst>
              <a:ext uri="{FF2B5EF4-FFF2-40B4-BE49-F238E27FC236}">
                <a16:creationId xmlns:a16="http://schemas.microsoft.com/office/drawing/2014/main" id="{99967219-4059-48E3-94D3-E732BC745DA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5B633CEA-722F-4C58-BE24-1D47AEBC467E}"/>
              </a:ext>
            </a:extLst>
          </p:cNvPr>
          <p:cNvSpPr>
            <a:spLocks noGrp="1"/>
          </p:cNvSpPr>
          <p:nvPr>
            <p:ph type="sldNum" sz="quarter" idx="10"/>
          </p:nvPr>
        </p:nvSpPr>
        <p:spPr/>
        <p:txBody>
          <a:bodyPr/>
          <a:lstStyle/>
          <a:p>
            <a:fld id="{1F90F471-3972-4120-B8B3-0237DE626C35}" type="slidenum">
              <a:rPr lang="en-US" smtClean="0"/>
              <a:pPr/>
              <a:t>221</a:t>
            </a:fld>
            <a:endParaRPr lang="en-US" dirty="0"/>
          </a:p>
        </p:txBody>
      </p:sp>
    </p:spTree>
    <p:extLst>
      <p:ext uri="{BB962C8B-B14F-4D97-AF65-F5344CB8AC3E}">
        <p14:creationId xmlns:p14="http://schemas.microsoft.com/office/powerpoint/2010/main" val="1685005675"/>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Pipeline 2</a:t>
            </a:r>
          </a:p>
        </p:txBody>
      </p:sp>
      <p:grpSp>
        <p:nvGrpSpPr>
          <p:cNvPr id="13" name="Group 12" descr="Add text and order accordingly">
            <a:extLst>
              <a:ext uri="{FF2B5EF4-FFF2-40B4-BE49-F238E27FC236}">
                <a16:creationId xmlns:a16="http://schemas.microsoft.com/office/drawing/2014/main" id="{70603C6C-DDE4-4168-9A6D-DF0520F6CE8E}"/>
              </a:ext>
            </a:extLst>
          </p:cNvPr>
          <p:cNvGrpSpPr>
            <a:grpSpLocks/>
          </p:cNvGrpSpPr>
          <p:nvPr/>
        </p:nvGrpSpPr>
        <p:grpSpPr bwMode="auto">
          <a:xfrm>
            <a:off x="5320507" y="1352550"/>
            <a:ext cx="1550987" cy="4705350"/>
            <a:chOff x="2427" y="1140"/>
            <a:chExt cx="890" cy="2700"/>
          </a:xfrm>
        </p:grpSpPr>
        <p:sp>
          <p:nvSpPr>
            <p:cNvPr id="14" name="AutoShape 3">
              <a:extLst>
                <a:ext uri="{FF2B5EF4-FFF2-40B4-BE49-F238E27FC236}">
                  <a16:creationId xmlns:a16="http://schemas.microsoft.com/office/drawing/2014/main" id="{157EB8A0-82C4-4844-905F-3FD075F46644}"/>
                </a:ext>
              </a:extLst>
            </p:cNvPr>
            <p:cNvSpPr>
              <a:spLocks noChangeArrowheads="1"/>
            </p:cNvSpPr>
            <p:nvPr/>
          </p:nvSpPr>
          <p:spPr bwMode="auto">
            <a:xfrm rot="-10800000">
              <a:off x="2427" y="1205"/>
              <a:ext cx="890" cy="2479"/>
            </a:xfrm>
            <a:custGeom>
              <a:avLst/>
              <a:gdLst>
                <a:gd name="G0" fmla="+- 6101 0 0"/>
                <a:gd name="G1" fmla="+- 21600 0 6101"/>
                <a:gd name="G2" fmla="*/ 6101 1 2"/>
                <a:gd name="G3" fmla="+- 21600 0 G2"/>
                <a:gd name="G4" fmla="+/ 6101 21600 2"/>
                <a:gd name="G5" fmla="+/ G1 0 2"/>
                <a:gd name="G6" fmla="*/ 21600 21600 6101"/>
                <a:gd name="G7" fmla="*/ G6 1 2"/>
                <a:gd name="G8" fmla="+- 21600 0 G7"/>
                <a:gd name="G9" fmla="*/ 21600 1 2"/>
                <a:gd name="G10" fmla="+- 6101 0 G9"/>
                <a:gd name="G11" fmla="?: G10 G8 0"/>
                <a:gd name="G12" fmla="?: G10 G7 21600"/>
                <a:gd name="T0" fmla="*/ 18549 w 21600"/>
                <a:gd name="T1" fmla="*/ 10800 h 21600"/>
                <a:gd name="T2" fmla="*/ 10800 w 21600"/>
                <a:gd name="T3" fmla="*/ 21600 h 21600"/>
                <a:gd name="T4" fmla="*/ 3051 w 21600"/>
                <a:gd name="T5" fmla="*/ 10800 h 21600"/>
                <a:gd name="T6" fmla="*/ 10800 w 21600"/>
                <a:gd name="T7" fmla="*/ 0 h 21600"/>
                <a:gd name="T8" fmla="*/ 4851 w 21600"/>
                <a:gd name="T9" fmla="*/ 4851 h 21600"/>
                <a:gd name="T10" fmla="*/ 16749 w 21600"/>
                <a:gd name="T11" fmla="*/ 16749 h 21600"/>
              </a:gdLst>
              <a:ahLst/>
              <a:cxnLst>
                <a:cxn ang="0">
                  <a:pos x="T0" y="T1"/>
                </a:cxn>
                <a:cxn ang="0">
                  <a:pos x="T2" y="T3"/>
                </a:cxn>
                <a:cxn ang="0">
                  <a:pos x="T4" y="T5"/>
                </a:cxn>
                <a:cxn ang="0">
                  <a:pos x="T6" y="T7"/>
                </a:cxn>
              </a:cxnLst>
              <a:rect l="T8" t="T9" r="T10" b="T11"/>
              <a:pathLst>
                <a:path w="21600" h="21600">
                  <a:moveTo>
                    <a:pt x="0" y="0"/>
                  </a:moveTo>
                  <a:lnTo>
                    <a:pt x="6101" y="21600"/>
                  </a:lnTo>
                  <a:lnTo>
                    <a:pt x="15499" y="21600"/>
                  </a:lnTo>
                  <a:lnTo>
                    <a:pt x="21600" y="0"/>
                  </a:lnTo>
                  <a:close/>
                </a:path>
              </a:pathLst>
            </a:custGeom>
            <a:pattFill prst="dkUpDiag">
              <a:fgClr>
                <a:srgbClr val="96968C">
                  <a:lumMod val="40000"/>
                  <a:lumOff val="60000"/>
                </a:srgbClr>
              </a:fgClr>
              <a:bgClr>
                <a:srgbClr val="FFFFFF"/>
              </a:bgClr>
            </a:pattFill>
            <a:ln w="6350">
              <a:no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 name="Oval 4">
              <a:extLst>
                <a:ext uri="{FF2B5EF4-FFF2-40B4-BE49-F238E27FC236}">
                  <a16:creationId xmlns:a16="http://schemas.microsoft.com/office/drawing/2014/main" id="{D6BA91B6-6115-4DEE-B84E-90839659CEBB}"/>
                </a:ext>
              </a:extLst>
            </p:cNvPr>
            <p:cNvSpPr>
              <a:spLocks noChangeArrowheads="1"/>
            </p:cNvSpPr>
            <p:nvPr/>
          </p:nvSpPr>
          <p:spPr bwMode="auto">
            <a:xfrm rot="-5400000">
              <a:off x="2718" y="3241"/>
              <a:ext cx="309" cy="889"/>
            </a:xfrm>
            <a:prstGeom prst="ellipse">
              <a:avLst/>
            </a:prstGeom>
            <a:solidFill>
              <a:schemeClr val="accent3"/>
            </a:solidFill>
            <a:ln w="6350">
              <a:noFill/>
              <a:round/>
              <a:headEnd/>
              <a:tailEnd/>
            </a:ln>
            <a:effectLst/>
          </p:spPr>
          <p:txBody>
            <a:bodyPr vert="eaVert" wrap="none" lIns="72000" tIns="72000" rIns="72000" bIns="7200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FFFFFF"/>
                  </a:solidFill>
                  <a:effectLst/>
                  <a:uLnTx/>
                  <a:uFillTx/>
                  <a:latin typeface="Arial"/>
                  <a:ea typeface="+mn-ea"/>
                  <a:cs typeface="+mn-cs"/>
                </a:rPr>
                <a:t>Text</a:t>
              </a:r>
            </a:p>
          </p:txBody>
        </p:sp>
        <p:sp>
          <p:nvSpPr>
            <p:cNvPr id="16" name="Oval 5">
              <a:extLst>
                <a:ext uri="{FF2B5EF4-FFF2-40B4-BE49-F238E27FC236}">
                  <a16:creationId xmlns:a16="http://schemas.microsoft.com/office/drawing/2014/main" id="{3D2D760F-B68E-4CC4-824C-14B3D822F6CA}"/>
                </a:ext>
              </a:extLst>
            </p:cNvPr>
            <p:cNvSpPr>
              <a:spLocks noChangeArrowheads="1"/>
            </p:cNvSpPr>
            <p:nvPr/>
          </p:nvSpPr>
          <p:spPr bwMode="auto">
            <a:xfrm rot="-5400000">
              <a:off x="2746" y="2754"/>
              <a:ext cx="252" cy="773"/>
            </a:xfrm>
            <a:prstGeom prst="ellipse">
              <a:avLst/>
            </a:prstGeom>
            <a:solidFill>
              <a:schemeClr val="accent2"/>
            </a:solidFill>
            <a:ln w="6350">
              <a:noFill/>
              <a:round/>
              <a:headEnd/>
              <a:tailEnd/>
            </a:ln>
            <a:effectLst/>
          </p:spPr>
          <p:txBody>
            <a:bodyPr vert="eaVert" wrap="none" lIns="72000" tIns="72000" rIns="72000" bIns="7200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FFFFFF"/>
                  </a:solidFill>
                  <a:effectLst/>
                  <a:uLnTx/>
                  <a:uFillTx/>
                  <a:latin typeface="Arial"/>
                  <a:ea typeface="+mn-ea"/>
                  <a:cs typeface="+mn-cs"/>
                </a:rPr>
                <a:t>Text</a:t>
              </a:r>
            </a:p>
          </p:txBody>
        </p:sp>
        <p:sp>
          <p:nvSpPr>
            <p:cNvPr id="17" name="Oval 6">
              <a:extLst>
                <a:ext uri="{FF2B5EF4-FFF2-40B4-BE49-F238E27FC236}">
                  <a16:creationId xmlns:a16="http://schemas.microsoft.com/office/drawing/2014/main" id="{0D173F21-6CA9-42D7-A1B4-0436AED3ED7C}"/>
                </a:ext>
              </a:extLst>
            </p:cNvPr>
            <p:cNvSpPr>
              <a:spLocks noChangeArrowheads="1"/>
            </p:cNvSpPr>
            <p:nvPr/>
          </p:nvSpPr>
          <p:spPr bwMode="auto">
            <a:xfrm rot="-5400000">
              <a:off x="2752" y="2296"/>
              <a:ext cx="240" cy="671"/>
            </a:xfrm>
            <a:prstGeom prst="ellipse">
              <a:avLst/>
            </a:prstGeom>
            <a:solidFill>
              <a:schemeClr val="accent1"/>
            </a:solidFill>
            <a:ln w="6350">
              <a:noFill/>
              <a:round/>
              <a:headEnd/>
              <a:tailEnd/>
            </a:ln>
            <a:effectLst/>
          </p:spPr>
          <p:txBody>
            <a:bodyPr vert="eaVert" wrap="none" lIns="72000" tIns="72000" rIns="72000" bIns="7200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Arial"/>
                  <a:ea typeface="+mn-ea"/>
                  <a:cs typeface="+mn-cs"/>
                </a:rPr>
                <a:t>Text</a:t>
              </a:r>
            </a:p>
          </p:txBody>
        </p:sp>
        <p:sp>
          <p:nvSpPr>
            <p:cNvPr id="18" name="Oval 7">
              <a:extLst>
                <a:ext uri="{FF2B5EF4-FFF2-40B4-BE49-F238E27FC236}">
                  <a16:creationId xmlns:a16="http://schemas.microsoft.com/office/drawing/2014/main" id="{C1534551-19A2-482B-8B8D-E7434D989F40}"/>
                </a:ext>
              </a:extLst>
            </p:cNvPr>
            <p:cNvSpPr>
              <a:spLocks noChangeArrowheads="1"/>
            </p:cNvSpPr>
            <p:nvPr/>
          </p:nvSpPr>
          <p:spPr bwMode="auto">
            <a:xfrm rot="-5400000">
              <a:off x="2751" y="1843"/>
              <a:ext cx="242" cy="571"/>
            </a:xfrm>
            <a:prstGeom prst="ellipse">
              <a:avLst/>
            </a:prstGeom>
            <a:solidFill>
              <a:schemeClr val="accent6"/>
            </a:solidFill>
            <a:ln w="6350">
              <a:noFill/>
              <a:round/>
              <a:headEnd/>
              <a:tailEnd/>
            </a:ln>
            <a:effectLst/>
          </p:spPr>
          <p:txBody>
            <a:bodyPr vert="eaVert" wrap="none" lIns="72000" tIns="72000" rIns="72000" bIns="7200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200" b="1" i="0" u="none" strike="noStrike" kern="0" cap="none" spc="0" normalizeH="0" baseline="0" noProof="0">
                  <a:ln>
                    <a:noFill/>
                  </a:ln>
                  <a:effectLst/>
                  <a:uLnTx/>
                  <a:uFillTx/>
                  <a:latin typeface="Arial"/>
                  <a:ea typeface="+mn-ea"/>
                  <a:cs typeface="+mn-cs"/>
                </a:rPr>
                <a:t>Text</a:t>
              </a:r>
            </a:p>
          </p:txBody>
        </p:sp>
        <p:sp>
          <p:nvSpPr>
            <p:cNvPr id="19" name="Oval 8">
              <a:extLst>
                <a:ext uri="{FF2B5EF4-FFF2-40B4-BE49-F238E27FC236}">
                  <a16:creationId xmlns:a16="http://schemas.microsoft.com/office/drawing/2014/main" id="{99CB851C-3E5F-44D6-B4BF-8758F18EE8A5}"/>
                </a:ext>
              </a:extLst>
            </p:cNvPr>
            <p:cNvSpPr>
              <a:spLocks noChangeArrowheads="1"/>
            </p:cNvSpPr>
            <p:nvPr/>
          </p:nvSpPr>
          <p:spPr bwMode="auto">
            <a:xfrm rot="-5400000">
              <a:off x="2774" y="1412"/>
              <a:ext cx="193" cy="474"/>
            </a:xfrm>
            <a:prstGeom prst="ellipse">
              <a:avLst/>
            </a:prstGeom>
            <a:solidFill>
              <a:schemeClr val="accent5"/>
            </a:solidFill>
            <a:ln w="6350">
              <a:noFill/>
              <a:round/>
              <a:headEnd/>
              <a:tailEnd/>
            </a:ln>
            <a:effectLst/>
          </p:spPr>
          <p:txBody>
            <a:bodyPr vert="eaVert" wrap="none" lIns="72000" tIns="72000" rIns="72000" bIns="7200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200" b="1" i="0" u="none" strike="noStrike" kern="0" cap="none" spc="0" normalizeH="0" baseline="0" noProof="0">
                  <a:ln>
                    <a:noFill/>
                  </a:ln>
                  <a:effectLst/>
                  <a:uLnTx/>
                  <a:uFillTx/>
                  <a:latin typeface="Arial"/>
                  <a:ea typeface="+mn-ea"/>
                  <a:cs typeface="+mn-cs"/>
                </a:rPr>
                <a:t>Text</a:t>
              </a:r>
            </a:p>
          </p:txBody>
        </p:sp>
        <p:sp>
          <p:nvSpPr>
            <p:cNvPr id="20" name="Oval 9">
              <a:extLst>
                <a:ext uri="{FF2B5EF4-FFF2-40B4-BE49-F238E27FC236}">
                  <a16:creationId xmlns:a16="http://schemas.microsoft.com/office/drawing/2014/main" id="{61995F40-A73C-40E9-801E-9C6246C479A0}"/>
                </a:ext>
              </a:extLst>
            </p:cNvPr>
            <p:cNvSpPr>
              <a:spLocks noChangeArrowheads="1"/>
            </p:cNvSpPr>
            <p:nvPr/>
          </p:nvSpPr>
          <p:spPr bwMode="auto">
            <a:xfrm rot="-5400000">
              <a:off x="2797" y="1017"/>
              <a:ext cx="150" cy="395"/>
            </a:xfrm>
            <a:prstGeom prst="ellipse">
              <a:avLst/>
            </a:prstGeom>
            <a:solidFill>
              <a:schemeClr val="accent4"/>
            </a:solidFill>
            <a:ln w="6350">
              <a:noFill/>
              <a:round/>
              <a:headEnd/>
              <a:tailEnd/>
            </a:ln>
            <a:effectLst/>
          </p:spPr>
          <p:txBody>
            <a:bodyPr vert="eaVert" wrap="none" lIns="72000" tIns="72000" rIns="72000" bIns="7200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effectLst/>
                  <a:uLnTx/>
                  <a:uFillTx/>
                  <a:latin typeface="Arial"/>
                  <a:ea typeface="+mn-ea"/>
                  <a:cs typeface="+mn-cs"/>
                </a:rPr>
                <a:t>Text</a:t>
              </a:r>
            </a:p>
          </p:txBody>
        </p:sp>
      </p:grpSp>
      <p:sp>
        <p:nvSpPr>
          <p:cNvPr id="5" name="Footer Placeholder 4">
            <a:extLst>
              <a:ext uri="{FF2B5EF4-FFF2-40B4-BE49-F238E27FC236}">
                <a16:creationId xmlns:a16="http://schemas.microsoft.com/office/drawing/2014/main" id="{57D26FB3-3147-44F9-B165-C8BF3EE02CE8}"/>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8ADAC7DC-7ACC-4C79-88D3-98A46AC44828}"/>
              </a:ext>
            </a:extLst>
          </p:cNvPr>
          <p:cNvSpPr>
            <a:spLocks noGrp="1"/>
          </p:cNvSpPr>
          <p:nvPr>
            <p:ph type="sldNum" sz="quarter" idx="10"/>
          </p:nvPr>
        </p:nvSpPr>
        <p:spPr/>
        <p:txBody>
          <a:bodyPr/>
          <a:lstStyle/>
          <a:p>
            <a:fld id="{1F90F471-3972-4120-B8B3-0237DE626C35}" type="slidenum">
              <a:rPr lang="en-US" smtClean="0"/>
              <a:pPr/>
              <a:t>222</a:t>
            </a:fld>
            <a:endParaRPr lang="en-US" dirty="0"/>
          </a:p>
        </p:txBody>
      </p:sp>
    </p:spTree>
    <p:extLst>
      <p:ext uri="{BB962C8B-B14F-4D97-AF65-F5344CB8AC3E}">
        <p14:creationId xmlns:p14="http://schemas.microsoft.com/office/powerpoint/2010/main" val="2012233632"/>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Pipeline 3</a:t>
            </a:r>
          </a:p>
        </p:txBody>
      </p:sp>
      <p:grpSp>
        <p:nvGrpSpPr>
          <p:cNvPr id="5" name="Group 13" descr="Add text and order accordingly">
            <a:extLst>
              <a:ext uri="{FF2B5EF4-FFF2-40B4-BE49-F238E27FC236}">
                <a16:creationId xmlns:a16="http://schemas.microsoft.com/office/drawing/2014/main" id="{5FAAAFBF-F94B-4429-A096-3EA496E4B069}"/>
              </a:ext>
            </a:extLst>
          </p:cNvPr>
          <p:cNvGrpSpPr>
            <a:grpSpLocks/>
          </p:cNvGrpSpPr>
          <p:nvPr/>
        </p:nvGrpSpPr>
        <p:grpSpPr bwMode="auto">
          <a:xfrm>
            <a:off x="5574890" y="1287938"/>
            <a:ext cx="1042220" cy="4806000"/>
            <a:chOff x="2570" y="1115"/>
            <a:chExt cx="619" cy="2928"/>
          </a:xfrm>
        </p:grpSpPr>
        <p:sp>
          <p:nvSpPr>
            <p:cNvPr id="6" name="AutoShape 3">
              <a:extLst>
                <a:ext uri="{FF2B5EF4-FFF2-40B4-BE49-F238E27FC236}">
                  <a16:creationId xmlns:a16="http://schemas.microsoft.com/office/drawing/2014/main" id="{0350E14F-353A-4E7F-ABB4-1D59914CE7A6}"/>
                </a:ext>
              </a:extLst>
            </p:cNvPr>
            <p:cNvSpPr>
              <a:spLocks noChangeArrowheads="1"/>
            </p:cNvSpPr>
            <p:nvPr/>
          </p:nvSpPr>
          <p:spPr bwMode="auto">
            <a:xfrm flipV="1">
              <a:off x="2570" y="1288"/>
              <a:ext cx="619" cy="2449"/>
            </a:xfrm>
            <a:custGeom>
              <a:avLst/>
              <a:gdLst>
                <a:gd name="G0" fmla="+- 6101 0 0"/>
                <a:gd name="G1" fmla="+- 21600 0 6101"/>
                <a:gd name="G2" fmla="*/ 6101 1 2"/>
                <a:gd name="G3" fmla="+- 21600 0 G2"/>
                <a:gd name="G4" fmla="+/ 6101 21600 2"/>
                <a:gd name="G5" fmla="+/ G1 0 2"/>
                <a:gd name="G6" fmla="*/ 21600 21600 6101"/>
                <a:gd name="G7" fmla="*/ G6 1 2"/>
                <a:gd name="G8" fmla="+- 21600 0 G7"/>
                <a:gd name="G9" fmla="*/ 21600 1 2"/>
                <a:gd name="G10" fmla="+- 6101 0 G9"/>
                <a:gd name="G11" fmla="?: G10 G8 0"/>
                <a:gd name="G12" fmla="?: G10 G7 21600"/>
                <a:gd name="T0" fmla="*/ 18549 w 21600"/>
                <a:gd name="T1" fmla="*/ 10800 h 21600"/>
                <a:gd name="T2" fmla="*/ 10800 w 21600"/>
                <a:gd name="T3" fmla="*/ 21600 h 21600"/>
                <a:gd name="T4" fmla="*/ 3051 w 21600"/>
                <a:gd name="T5" fmla="*/ 10800 h 21600"/>
                <a:gd name="T6" fmla="*/ 10800 w 21600"/>
                <a:gd name="T7" fmla="*/ 0 h 21600"/>
                <a:gd name="T8" fmla="*/ 4851 w 21600"/>
                <a:gd name="T9" fmla="*/ 4851 h 21600"/>
                <a:gd name="T10" fmla="*/ 16749 w 21600"/>
                <a:gd name="T11" fmla="*/ 16749 h 21600"/>
              </a:gdLst>
              <a:ahLst/>
              <a:cxnLst>
                <a:cxn ang="0">
                  <a:pos x="T0" y="T1"/>
                </a:cxn>
                <a:cxn ang="0">
                  <a:pos x="T2" y="T3"/>
                </a:cxn>
                <a:cxn ang="0">
                  <a:pos x="T4" y="T5"/>
                </a:cxn>
                <a:cxn ang="0">
                  <a:pos x="T6" y="T7"/>
                </a:cxn>
              </a:cxnLst>
              <a:rect l="T8" t="T9" r="T10" b="T11"/>
              <a:pathLst>
                <a:path w="21600" h="21600">
                  <a:moveTo>
                    <a:pt x="0" y="0"/>
                  </a:moveTo>
                  <a:lnTo>
                    <a:pt x="6101" y="21600"/>
                  </a:lnTo>
                  <a:lnTo>
                    <a:pt x="15499" y="21600"/>
                  </a:lnTo>
                  <a:lnTo>
                    <a:pt x="21600" y="0"/>
                  </a:lnTo>
                  <a:close/>
                </a:path>
              </a:pathLst>
            </a:custGeom>
            <a:pattFill prst="dkUpDiag">
              <a:fgClr>
                <a:srgbClr val="96968C">
                  <a:lumMod val="40000"/>
                  <a:lumOff val="60000"/>
                </a:srgbClr>
              </a:fgClr>
              <a:bgClr>
                <a:srgbClr val="FFFFFF"/>
              </a:bgClr>
            </a:pattFill>
            <a:ln w="6350">
              <a:noFill/>
              <a:miter lim="800000"/>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 name="Oval 4">
              <a:extLst>
                <a:ext uri="{FF2B5EF4-FFF2-40B4-BE49-F238E27FC236}">
                  <a16:creationId xmlns:a16="http://schemas.microsoft.com/office/drawing/2014/main" id="{7BAFE05F-6349-486F-B54B-5AB1D96A159B}"/>
                </a:ext>
              </a:extLst>
            </p:cNvPr>
            <p:cNvSpPr>
              <a:spLocks noChangeArrowheads="1"/>
            </p:cNvSpPr>
            <p:nvPr/>
          </p:nvSpPr>
          <p:spPr bwMode="auto">
            <a:xfrm>
              <a:off x="2570" y="3425"/>
              <a:ext cx="617" cy="618"/>
            </a:xfrm>
            <a:prstGeom prst="ellipse">
              <a:avLst/>
            </a:prstGeom>
            <a:solidFill>
              <a:schemeClr val="accent3"/>
            </a:solidFill>
            <a:ln w="6350">
              <a:noFill/>
              <a:round/>
              <a:headEnd/>
              <a:tailEnd/>
            </a:ln>
            <a:effectLst/>
          </p:spPr>
          <p:txBody>
            <a:bodyPr wrap="none" lIns="45720" rIns="4572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GB" sz="1200" b="1" i="0" u="none" strike="noStrike" kern="0" cap="none" spc="0" normalizeH="0" baseline="0" noProof="0">
                  <a:ln>
                    <a:noFill/>
                  </a:ln>
                  <a:solidFill>
                    <a:srgbClr val="FFFFFF"/>
                  </a:solidFill>
                  <a:effectLst/>
                  <a:uLnTx/>
                  <a:uFillTx/>
                  <a:latin typeface="Arial"/>
                  <a:ea typeface="+mn-ea"/>
                  <a:cs typeface="+mn-cs"/>
                </a:rPr>
                <a:t>Text</a:t>
              </a:r>
            </a:p>
          </p:txBody>
        </p:sp>
        <p:sp>
          <p:nvSpPr>
            <p:cNvPr id="8" name="Oval 5">
              <a:extLst>
                <a:ext uri="{FF2B5EF4-FFF2-40B4-BE49-F238E27FC236}">
                  <a16:creationId xmlns:a16="http://schemas.microsoft.com/office/drawing/2014/main" id="{0E5EB32E-8D2C-49B4-AB2B-5B13A8E98A64}"/>
                </a:ext>
              </a:extLst>
            </p:cNvPr>
            <p:cNvSpPr>
              <a:spLocks noChangeArrowheads="1"/>
            </p:cNvSpPr>
            <p:nvPr/>
          </p:nvSpPr>
          <p:spPr bwMode="auto">
            <a:xfrm>
              <a:off x="2619" y="2720"/>
              <a:ext cx="519" cy="519"/>
            </a:xfrm>
            <a:prstGeom prst="ellipse">
              <a:avLst/>
            </a:prstGeom>
            <a:solidFill>
              <a:schemeClr val="accent2"/>
            </a:solidFill>
            <a:ln w="6350">
              <a:noFill/>
              <a:round/>
              <a:headEnd/>
              <a:tailEnd/>
            </a:ln>
            <a:effectLst/>
          </p:spPr>
          <p:txBody>
            <a:bodyPr wrap="none" lIns="45720" rIns="4572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GB" sz="1200" b="1" i="0" u="none" strike="noStrike" kern="0" cap="none" spc="0" normalizeH="0" baseline="0" noProof="0">
                  <a:ln>
                    <a:noFill/>
                  </a:ln>
                  <a:solidFill>
                    <a:srgbClr val="FFFFFF"/>
                  </a:solidFill>
                  <a:effectLst/>
                  <a:uLnTx/>
                  <a:uFillTx/>
                  <a:latin typeface="Arial"/>
                  <a:ea typeface="+mn-ea"/>
                  <a:cs typeface="+mn-cs"/>
                </a:rPr>
                <a:t>Text</a:t>
              </a:r>
            </a:p>
          </p:txBody>
        </p:sp>
        <p:sp>
          <p:nvSpPr>
            <p:cNvPr id="9" name="Oval 6">
              <a:extLst>
                <a:ext uri="{FF2B5EF4-FFF2-40B4-BE49-F238E27FC236}">
                  <a16:creationId xmlns:a16="http://schemas.microsoft.com/office/drawing/2014/main" id="{5CBCEB97-91DA-475A-889E-137AAAF7E875}"/>
                </a:ext>
              </a:extLst>
            </p:cNvPr>
            <p:cNvSpPr>
              <a:spLocks noChangeArrowheads="1"/>
            </p:cNvSpPr>
            <p:nvPr/>
          </p:nvSpPr>
          <p:spPr bwMode="auto">
            <a:xfrm>
              <a:off x="2663" y="2103"/>
              <a:ext cx="432" cy="432"/>
            </a:xfrm>
            <a:prstGeom prst="ellipse">
              <a:avLst/>
            </a:prstGeom>
            <a:solidFill>
              <a:schemeClr val="accent1"/>
            </a:solidFill>
            <a:ln w="6350">
              <a:noFill/>
              <a:round/>
              <a:headEnd/>
              <a:tailEnd/>
            </a:ln>
            <a:effectLst/>
          </p:spPr>
          <p:txBody>
            <a:bodyPr wrap="none" lIns="45720" rIns="4572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GB" sz="1200" b="1" i="0" u="none" strike="noStrike" kern="0" cap="none" spc="0" normalizeH="0" baseline="0" noProof="0">
                  <a:ln>
                    <a:noFill/>
                  </a:ln>
                  <a:solidFill>
                    <a:srgbClr val="FFFFFF"/>
                  </a:solidFill>
                  <a:effectLst/>
                  <a:uLnTx/>
                  <a:uFillTx/>
                  <a:latin typeface="Arial"/>
                  <a:ea typeface="+mn-ea"/>
                  <a:cs typeface="+mn-cs"/>
                </a:rPr>
                <a:t>Text</a:t>
              </a:r>
            </a:p>
          </p:txBody>
        </p:sp>
        <p:sp>
          <p:nvSpPr>
            <p:cNvPr id="10" name="Oval 7">
              <a:extLst>
                <a:ext uri="{FF2B5EF4-FFF2-40B4-BE49-F238E27FC236}">
                  <a16:creationId xmlns:a16="http://schemas.microsoft.com/office/drawing/2014/main" id="{D48E335B-2CDF-4EE9-9B80-E997CB00AEEF}"/>
                </a:ext>
              </a:extLst>
            </p:cNvPr>
            <p:cNvSpPr>
              <a:spLocks noChangeArrowheads="1"/>
            </p:cNvSpPr>
            <p:nvPr/>
          </p:nvSpPr>
          <p:spPr bwMode="auto">
            <a:xfrm>
              <a:off x="2708" y="1575"/>
              <a:ext cx="341" cy="342"/>
            </a:xfrm>
            <a:prstGeom prst="ellipse">
              <a:avLst/>
            </a:prstGeom>
            <a:solidFill>
              <a:schemeClr val="accent5"/>
            </a:solidFill>
            <a:ln w="6350">
              <a:noFill/>
              <a:round/>
              <a:headEnd/>
              <a:tailEnd/>
            </a:ln>
            <a:effectLst/>
          </p:spPr>
          <p:txBody>
            <a:bodyPr wrap="none" lIns="45720" rIns="4572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GB" sz="1200" b="1" i="0" u="none" strike="noStrike" kern="0" cap="none" spc="0" normalizeH="0" baseline="0" noProof="0">
                  <a:ln>
                    <a:noFill/>
                  </a:ln>
                  <a:effectLst/>
                  <a:uLnTx/>
                  <a:uFillTx/>
                  <a:latin typeface="Arial"/>
                  <a:ea typeface="+mn-ea"/>
                  <a:cs typeface="+mn-cs"/>
                </a:rPr>
                <a:t>Text</a:t>
              </a:r>
            </a:p>
          </p:txBody>
        </p:sp>
        <p:sp>
          <p:nvSpPr>
            <p:cNvPr id="11" name="Oval 12">
              <a:extLst>
                <a:ext uri="{FF2B5EF4-FFF2-40B4-BE49-F238E27FC236}">
                  <a16:creationId xmlns:a16="http://schemas.microsoft.com/office/drawing/2014/main" id="{30B68815-9B12-4C55-8FEF-75598F3C34CF}"/>
                </a:ext>
              </a:extLst>
            </p:cNvPr>
            <p:cNvSpPr>
              <a:spLocks noChangeArrowheads="1"/>
            </p:cNvSpPr>
            <p:nvPr/>
          </p:nvSpPr>
          <p:spPr bwMode="auto">
            <a:xfrm>
              <a:off x="2741" y="1115"/>
              <a:ext cx="276" cy="275"/>
            </a:xfrm>
            <a:prstGeom prst="ellipse">
              <a:avLst/>
            </a:prstGeom>
            <a:solidFill>
              <a:schemeClr val="accent6"/>
            </a:solidFill>
            <a:ln w="6350">
              <a:noFill/>
              <a:round/>
              <a:headEnd/>
              <a:tailEnd/>
            </a:ln>
            <a:effectLst/>
          </p:spPr>
          <p:txBody>
            <a:bodyPr wrap="none" lIns="45720" rIns="4572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GB" sz="1200" b="1" i="0" u="none" strike="noStrike" kern="0" cap="none" spc="0" normalizeH="0" baseline="0" noProof="0" dirty="0">
                  <a:ln>
                    <a:noFill/>
                  </a:ln>
                  <a:effectLst/>
                  <a:uLnTx/>
                  <a:uFillTx/>
                  <a:latin typeface="Arial"/>
                  <a:ea typeface="+mn-ea"/>
                  <a:cs typeface="+mn-cs"/>
                </a:rPr>
                <a:t>Text</a:t>
              </a:r>
            </a:p>
          </p:txBody>
        </p:sp>
      </p:grpSp>
      <p:sp>
        <p:nvSpPr>
          <p:cNvPr id="13" name="Footer Placeholder 12">
            <a:extLst>
              <a:ext uri="{FF2B5EF4-FFF2-40B4-BE49-F238E27FC236}">
                <a16:creationId xmlns:a16="http://schemas.microsoft.com/office/drawing/2014/main" id="{B3FAEBB7-C3A5-41A9-BDCF-1E8124C78D6F}"/>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4" name="Slide Number Placeholder 13">
            <a:extLst>
              <a:ext uri="{FF2B5EF4-FFF2-40B4-BE49-F238E27FC236}">
                <a16:creationId xmlns:a16="http://schemas.microsoft.com/office/drawing/2014/main" id="{2B247FAF-F066-4D9A-80E5-894CDE446D94}"/>
              </a:ext>
            </a:extLst>
          </p:cNvPr>
          <p:cNvSpPr>
            <a:spLocks noGrp="1"/>
          </p:cNvSpPr>
          <p:nvPr>
            <p:ph type="sldNum" sz="quarter" idx="10"/>
          </p:nvPr>
        </p:nvSpPr>
        <p:spPr/>
        <p:txBody>
          <a:bodyPr/>
          <a:lstStyle/>
          <a:p>
            <a:fld id="{1F90F471-3972-4120-B8B3-0237DE626C35}" type="slidenum">
              <a:rPr lang="en-US" smtClean="0"/>
              <a:pPr/>
              <a:t>223</a:t>
            </a:fld>
            <a:endParaRPr lang="en-US" dirty="0"/>
          </a:p>
        </p:txBody>
      </p:sp>
    </p:spTree>
    <p:extLst>
      <p:ext uri="{BB962C8B-B14F-4D97-AF65-F5344CB8AC3E}">
        <p14:creationId xmlns:p14="http://schemas.microsoft.com/office/powerpoint/2010/main" val="4062522595"/>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Acceleration</a:t>
            </a:r>
          </a:p>
        </p:txBody>
      </p:sp>
      <p:grpSp>
        <p:nvGrpSpPr>
          <p:cNvPr id="14" name="Group 13" descr="Add text and order accordingly">
            <a:extLst>
              <a:ext uri="{FF2B5EF4-FFF2-40B4-BE49-F238E27FC236}">
                <a16:creationId xmlns:a16="http://schemas.microsoft.com/office/drawing/2014/main" id="{941D698C-4912-41E8-B674-C280EDEF6742}"/>
              </a:ext>
            </a:extLst>
          </p:cNvPr>
          <p:cNvGrpSpPr/>
          <p:nvPr/>
        </p:nvGrpSpPr>
        <p:grpSpPr>
          <a:xfrm>
            <a:off x="381000" y="2338108"/>
            <a:ext cx="9855214" cy="2181784"/>
            <a:chOff x="381000" y="2338108"/>
            <a:chExt cx="9855214" cy="2181784"/>
          </a:xfrm>
        </p:grpSpPr>
        <p:sp>
          <p:nvSpPr>
            <p:cNvPr id="6" name="Freeform 3">
              <a:extLst>
                <a:ext uri="{FF2B5EF4-FFF2-40B4-BE49-F238E27FC236}">
                  <a16:creationId xmlns:a16="http://schemas.microsoft.com/office/drawing/2014/main" id="{E2C05474-D531-441B-A0F4-2FDE6E1DDE59}"/>
                </a:ext>
              </a:extLst>
            </p:cNvPr>
            <p:cNvSpPr>
              <a:spLocks/>
            </p:cNvSpPr>
            <p:nvPr/>
          </p:nvSpPr>
          <p:spPr bwMode="auto">
            <a:xfrm>
              <a:off x="2737978" y="2338108"/>
              <a:ext cx="263654" cy="2181784"/>
            </a:xfrm>
            <a:custGeom>
              <a:avLst/>
              <a:gdLst/>
              <a:ahLst/>
              <a:cxnLst>
                <a:cxn ang="0">
                  <a:pos x="0" y="0"/>
                </a:cxn>
                <a:cxn ang="0">
                  <a:pos x="232" y="0"/>
                </a:cxn>
                <a:cxn ang="0">
                  <a:pos x="336" y="360"/>
                </a:cxn>
                <a:cxn ang="0">
                  <a:pos x="232" y="720"/>
                </a:cxn>
                <a:cxn ang="0">
                  <a:pos x="0" y="720"/>
                </a:cxn>
                <a:cxn ang="0">
                  <a:pos x="0" y="0"/>
                </a:cxn>
              </a:cxnLst>
              <a:rect l="0" t="0" r="r" b="b"/>
              <a:pathLst>
                <a:path w="337" h="721">
                  <a:moveTo>
                    <a:pt x="0" y="0"/>
                  </a:moveTo>
                  <a:lnTo>
                    <a:pt x="232" y="0"/>
                  </a:lnTo>
                  <a:lnTo>
                    <a:pt x="336" y="360"/>
                  </a:lnTo>
                  <a:lnTo>
                    <a:pt x="232" y="720"/>
                  </a:lnTo>
                  <a:lnTo>
                    <a:pt x="0" y="720"/>
                  </a:lnTo>
                  <a:lnTo>
                    <a:pt x="0" y="0"/>
                  </a:lnTo>
                </a:path>
              </a:pathLst>
            </a:custGeom>
            <a:solidFill>
              <a:schemeClr val="accent1"/>
            </a:solidFill>
            <a:ln w="6350" cap="rnd" cmpd="sng">
              <a:no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 name="Freeform 4">
              <a:extLst>
                <a:ext uri="{FF2B5EF4-FFF2-40B4-BE49-F238E27FC236}">
                  <a16:creationId xmlns:a16="http://schemas.microsoft.com/office/drawing/2014/main" id="{6C1F5A9A-1C07-4B3F-ADFB-9BC97DBB96BC}"/>
                </a:ext>
              </a:extLst>
            </p:cNvPr>
            <p:cNvSpPr>
              <a:spLocks/>
            </p:cNvSpPr>
            <p:nvPr/>
          </p:nvSpPr>
          <p:spPr bwMode="auto">
            <a:xfrm>
              <a:off x="3001632" y="2338108"/>
              <a:ext cx="634134" cy="2181784"/>
            </a:xfrm>
            <a:custGeom>
              <a:avLst/>
              <a:gdLst/>
              <a:ahLst/>
              <a:cxnLst>
                <a:cxn ang="0">
                  <a:pos x="0" y="0"/>
                </a:cxn>
                <a:cxn ang="0">
                  <a:pos x="328" y="0"/>
                </a:cxn>
                <a:cxn ang="0">
                  <a:pos x="472" y="360"/>
                </a:cxn>
                <a:cxn ang="0">
                  <a:pos x="328" y="720"/>
                </a:cxn>
                <a:cxn ang="0">
                  <a:pos x="0" y="720"/>
                </a:cxn>
                <a:cxn ang="0">
                  <a:pos x="104" y="360"/>
                </a:cxn>
                <a:cxn ang="0">
                  <a:pos x="0" y="0"/>
                </a:cxn>
              </a:cxnLst>
              <a:rect l="0" t="0" r="r" b="b"/>
              <a:pathLst>
                <a:path w="473" h="721">
                  <a:moveTo>
                    <a:pt x="0" y="0"/>
                  </a:moveTo>
                  <a:lnTo>
                    <a:pt x="328" y="0"/>
                  </a:lnTo>
                  <a:lnTo>
                    <a:pt x="472" y="360"/>
                  </a:lnTo>
                  <a:lnTo>
                    <a:pt x="328" y="720"/>
                  </a:lnTo>
                  <a:lnTo>
                    <a:pt x="0" y="720"/>
                  </a:lnTo>
                  <a:lnTo>
                    <a:pt x="104" y="360"/>
                  </a:lnTo>
                  <a:lnTo>
                    <a:pt x="0" y="0"/>
                  </a:lnTo>
                </a:path>
              </a:pathLst>
            </a:custGeom>
            <a:solidFill>
              <a:schemeClr val="accent1"/>
            </a:solidFill>
            <a:ln w="6350" cap="rnd" cmpd="sng">
              <a:no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Freeform 5">
              <a:extLst>
                <a:ext uri="{FF2B5EF4-FFF2-40B4-BE49-F238E27FC236}">
                  <a16:creationId xmlns:a16="http://schemas.microsoft.com/office/drawing/2014/main" id="{3A2A4D88-F37F-4192-9482-A3B3F88A9242}"/>
                </a:ext>
              </a:extLst>
            </p:cNvPr>
            <p:cNvSpPr>
              <a:spLocks/>
            </p:cNvSpPr>
            <p:nvPr/>
          </p:nvSpPr>
          <p:spPr bwMode="auto">
            <a:xfrm>
              <a:off x="3574398" y="2338108"/>
              <a:ext cx="811419" cy="2181784"/>
            </a:xfrm>
            <a:custGeom>
              <a:avLst/>
              <a:gdLst/>
              <a:ahLst/>
              <a:cxnLst>
                <a:cxn ang="0">
                  <a:pos x="0" y="0"/>
                </a:cxn>
                <a:cxn ang="0">
                  <a:pos x="368" y="0"/>
                </a:cxn>
                <a:cxn ang="0">
                  <a:pos x="552" y="360"/>
                </a:cxn>
                <a:cxn ang="0">
                  <a:pos x="368" y="720"/>
                </a:cxn>
                <a:cxn ang="0">
                  <a:pos x="0" y="720"/>
                </a:cxn>
                <a:cxn ang="0">
                  <a:pos x="144" y="360"/>
                </a:cxn>
                <a:cxn ang="0">
                  <a:pos x="0" y="0"/>
                </a:cxn>
              </a:cxnLst>
              <a:rect l="0" t="0" r="r" b="b"/>
              <a:pathLst>
                <a:path w="553" h="721">
                  <a:moveTo>
                    <a:pt x="0" y="0"/>
                  </a:moveTo>
                  <a:lnTo>
                    <a:pt x="368" y="0"/>
                  </a:lnTo>
                  <a:lnTo>
                    <a:pt x="552" y="360"/>
                  </a:lnTo>
                  <a:lnTo>
                    <a:pt x="368" y="720"/>
                  </a:lnTo>
                  <a:lnTo>
                    <a:pt x="0" y="720"/>
                  </a:lnTo>
                  <a:lnTo>
                    <a:pt x="144" y="360"/>
                  </a:lnTo>
                  <a:lnTo>
                    <a:pt x="0" y="0"/>
                  </a:lnTo>
                </a:path>
              </a:pathLst>
            </a:custGeom>
            <a:solidFill>
              <a:schemeClr val="accent1"/>
            </a:solidFill>
            <a:ln w="6350" cap="rnd" cmpd="sng">
              <a:no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 name="Freeform 6">
              <a:extLst>
                <a:ext uri="{FF2B5EF4-FFF2-40B4-BE49-F238E27FC236}">
                  <a16:creationId xmlns:a16="http://schemas.microsoft.com/office/drawing/2014/main" id="{1CF8807A-10C8-4F39-AE8D-6B244E64CEF8}"/>
                </a:ext>
              </a:extLst>
            </p:cNvPr>
            <p:cNvSpPr>
              <a:spLocks/>
            </p:cNvSpPr>
            <p:nvPr/>
          </p:nvSpPr>
          <p:spPr bwMode="auto">
            <a:xfrm>
              <a:off x="4324449" y="2338108"/>
              <a:ext cx="1131895" cy="2181784"/>
            </a:xfrm>
            <a:custGeom>
              <a:avLst/>
              <a:gdLst/>
              <a:ahLst/>
              <a:cxnLst>
                <a:cxn ang="0">
                  <a:pos x="0" y="0"/>
                </a:cxn>
                <a:cxn ang="0">
                  <a:pos x="408" y="0"/>
                </a:cxn>
                <a:cxn ang="0">
                  <a:pos x="632" y="360"/>
                </a:cxn>
                <a:cxn ang="0">
                  <a:pos x="408" y="720"/>
                </a:cxn>
                <a:cxn ang="0">
                  <a:pos x="0" y="720"/>
                </a:cxn>
                <a:cxn ang="0">
                  <a:pos x="184" y="360"/>
                </a:cxn>
                <a:cxn ang="0">
                  <a:pos x="0" y="0"/>
                </a:cxn>
              </a:cxnLst>
              <a:rect l="0" t="0" r="r" b="b"/>
              <a:pathLst>
                <a:path w="633" h="721">
                  <a:moveTo>
                    <a:pt x="0" y="0"/>
                  </a:moveTo>
                  <a:lnTo>
                    <a:pt x="408" y="0"/>
                  </a:lnTo>
                  <a:lnTo>
                    <a:pt x="632" y="360"/>
                  </a:lnTo>
                  <a:lnTo>
                    <a:pt x="408" y="720"/>
                  </a:lnTo>
                  <a:lnTo>
                    <a:pt x="0" y="720"/>
                  </a:lnTo>
                  <a:lnTo>
                    <a:pt x="184" y="360"/>
                  </a:lnTo>
                  <a:lnTo>
                    <a:pt x="0" y="0"/>
                  </a:lnTo>
                </a:path>
              </a:pathLst>
            </a:custGeom>
            <a:solidFill>
              <a:schemeClr val="accent1"/>
            </a:solidFill>
            <a:ln w="6350" cap="rnd" cmpd="sng">
              <a:no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 name="Freeform 7">
              <a:extLst>
                <a:ext uri="{FF2B5EF4-FFF2-40B4-BE49-F238E27FC236}">
                  <a16:creationId xmlns:a16="http://schemas.microsoft.com/office/drawing/2014/main" id="{4331F61B-DDFB-4655-982B-BA804D1827A4}"/>
                </a:ext>
              </a:extLst>
            </p:cNvPr>
            <p:cNvSpPr>
              <a:spLocks/>
            </p:cNvSpPr>
            <p:nvPr/>
          </p:nvSpPr>
          <p:spPr bwMode="auto">
            <a:xfrm>
              <a:off x="5276787" y="2338108"/>
              <a:ext cx="1431915" cy="2181784"/>
            </a:xfrm>
            <a:custGeom>
              <a:avLst/>
              <a:gdLst/>
              <a:ahLst/>
              <a:cxnLst>
                <a:cxn ang="0">
                  <a:pos x="0" y="0"/>
                </a:cxn>
                <a:cxn ang="0">
                  <a:pos x="448" y="0"/>
                </a:cxn>
                <a:cxn ang="0">
                  <a:pos x="712" y="360"/>
                </a:cxn>
                <a:cxn ang="0">
                  <a:pos x="448" y="720"/>
                </a:cxn>
                <a:cxn ang="0">
                  <a:pos x="0" y="720"/>
                </a:cxn>
                <a:cxn ang="0">
                  <a:pos x="224" y="360"/>
                </a:cxn>
                <a:cxn ang="0">
                  <a:pos x="0" y="0"/>
                </a:cxn>
              </a:cxnLst>
              <a:rect l="0" t="0" r="r" b="b"/>
              <a:pathLst>
                <a:path w="713" h="721">
                  <a:moveTo>
                    <a:pt x="0" y="0"/>
                  </a:moveTo>
                  <a:lnTo>
                    <a:pt x="448" y="0"/>
                  </a:lnTo>
                  <a:lnTo>
                    <a:pt x="712" y="360"/>
                  </a:lnTo>
                  <a:lnTo>
                    <a:pt x="448" y="720"/>
                  </a:lnTo>
                  <a:lnTo>
                    <a:pt x="0" y="720"/>
                  </a:lnTo>
                  <a:lnTo>
                    <a:pt x="224" y="360"/>
                  </a:lnTo>
                  <a:lnTo>
                    <a:pt x="0" y="0"/>
                  </a:lnTo>
                </a:path>
              </a:pathLst>
            </a:custGeom>
            <a:solidFill>
              <a:schemeClr val="accent1"/>
            </a:solidFill>
            <a:ln w="6350" cap="rnd" cmpd="sng">
              <a:no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 name="Freeform 8">
              <a:extLst>
                <a:ext uri="{FF2B5EF4-FFF2-40B4-BE49-F238E27FC236}">
                  <a16:creationId xmlns:a16="http://schemas.microsoft.com/office/drawing/2014/main" id="{FE62EA82-0F20-44E2-96E1-C536448862C3}"/>
                </a:ext>
              </a:extLst>
            </p:cNvPr>
            <p:cNvSpPr>
              <a:spLocks/>
            </p:cNvSpPr>
            <p:nvPr/>
          </p:nvSpPr>
          <p:spPr bwMode="auto">
            <a:xfrm>
              <a:off x="6513234" y="2338108"/>
              <a:ext cx="1766029" cy="2181784"/>
            </a:xfrm>
            <a:custGeom>
              <a:avLst/>
              <a:gdLst/>
              <a:ahLst/>
              <a:cxnLst>
                <a:cxn ang="0">
                  <a:pos x="0" y="0"/>
                </a:cxn>
                <a:cxn ang="0">
                  <a:pos x="528" y="0"/>
                </a:cxn>
                <a:cxn ang="0">
                  <a:pos x="832" y="360"/>
                </a:cxn>
                <a:cxn ang="0">
                  <a:pos x="528" y="720"/>
                </a:cxn>
                <a:cxn ang="0">
                  <a:pos x="0" y="720"/>
                </a:cxn>
                <a:cxn ang="0">
                  <a:pos x="264" y="360"/>
                </a:cxn>
                <a:cxn ang="0">
                  <a:pos x="0" y="0"/>
                </a:cxn>
              </a:cxnLst>
              <a:rect l="0" t="0" r="r" b="b"/>
              <a:pathLst>
                <a:path w="833" h="721">
                  <a:moveTo>
                    <a:pt x="0" y="0"/>
                  </a:moveTo>
                  <a:lnTo>
                    <a:pt x="528" y="0"/>
                  </a:lnTo>
                  <a:lnTo>
                    <a:pt x="832" y="360"/>
                  </a:lnTo>
                  <a:lnTo>
                    <a:pt x="528" y="720"/>
                  </a:lnTo>
                  <a:lnTo>
                    <a:pt x="0" y="720"/>
                  </a:lnTo>
                  <a:lnTo>
                    <a:pt x="264" y="360"/>
                  </a:lnTo>
                  <a:lnTo>
                    <a:pt x="0" y="0"/>
                  </a:lnTo>
                </a:path>
              </a:pathLst>
            </a:custGeom>
            <a:solidFill>
              <a:schemeClr val="accent1"/>
            </a:solidFill>
            <a:ln w="6350" cap="rnd" cmpd="sng">
              <a:no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 name="Freeform 9">
              <a:extLst>
                <a:ext uri="{FF2B5EF4-FFF2-40B4-BE49-F238E27FC236}">
                  <a16:creationId xmlns:a16="http://schemas.microsoft.com/office/drawing/2014/main" id="{27884873-2B90-43C0-82D8-038D45E74721}"/>
                </a:ext>
              </a:extLst>
            </p:cNvPr>
            <p:cNvSpPr>
              <a:spLocks/>
            </p:cNvSpPr>
            <p:nvPr/>
          </p:nvSpPr>
          <p:spPr bwMode="auto">
            <a:xfrm>
              <a:off x="7995153" y="2338108"/>
              <a:ext cx="2241061" cy="2181784"/>
            </a:xfrm>
            <a:custGeom>
              <a:avLst/>
              <a:gdLst/>
              <a:ahLst/>
              <a:cxnLst>
                <a:cxn ang="0">
                  <a:pos x="0" y="0"/>
                </a:cxn>
                <a:cxn ang="0">
                  <a:pos x="648" y="0"/>
                </a:cxn>
                <a:cxn ang="0">
                  <a:pos x="1008" y="360"/>
                </a:cxn>
                <a:cxn ang="0">
                  <a:pos x="648" y="720"/>
                </a:cxn>
                <a:cxn ang="0">
                  <a:pos x="0" y="720"/>
                </a:cxn>
                <a:cxn ang="0">
                  <a:pos x="264" y="360"/>
                </a:cxn>
                <a:cxn ang="0">
                  <a:pos x="0" y="0"/>
                </a:cxn>
              </a:cxnLst>
              <a:rect l="0" t="0" r="r" b="b"/>
              <a:pathLst>
                <a:path w="1009" h="721">
                  <a:moveTo>
                    <a:pt x="0" y="0"/>
                  </a:moveTo>
                  <a:lnTo>
                    <a:pt x="648" y="0"/>
                  </a:lnTo>
                  <a:lnTo>
                    <a:pt x="1008" y="360"/>
                  </a:lnTo>
                  <a:lnTo>
                    <a:pt x="648" y="720"/>
                  </a:lnTo>
                  <a:lnTo>
                    <a:pt x="0" y="720"/>
                  </a:lnTo>
                  <a:lnTo>
                    <a:pt x="264" y="360"/>
                  </a:lnTo>
                  <a:lnTo>
                    <a:pt x="0" y="0"/>
                  </a:lnTo>
                </a:path>
              </a:pathLst>
            </a:custGeom>
            <a:solidFill>
              <a:schemeClr val="accent1"/>
            </a:solidFill>
            <a:ln w="6350" cap="rnd" cmpd="sng">
              <a:no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 name="Rectangle 10">
              <a:extLst>
                <a:ext uri="{FF2B5EF4-FFF2-40B4-BE49-F238E27FC236}">
                  <a16:creationId xmlns:a16="http://schemas.microsoft.com/office/drawing/2014/main" id="{EEA699D4-B3C6-45E1-A051-CB811E32F660}"/>
                </a:ext>
              </a:extLst>
            </p:cNvPr>
            <p:cNvSpPr>
              <a:spLocks noChangeArrowheads="1"/>
            </p:cNvSpPr>
            <p:nvPr/>
          </p:nvSpPr>
          <p:spPr bwMode="auto">
            <a:xfrm>
              <a:off x="381000" y="3254003"/>
              <a:ext cx="2188785" cy="349995"/>
            </a:xfrm>
            <a:prstGeom prst="rect">
              <a:avLst/>
            </a:prstGeom>
            <a:noFill/>
            <a:ln w="6350">
              <a:noFill/>
              <a:miter lim="800000"/>
              <a:headEnd/>
              <a:tailEnd/>
            </a:ln>
            <a:effectLst/>
          </p:spPr>
          <p:txBody>
            <a:bodyPr lIns="0" tIns="0" rIns="0" bIns="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Arial Black"/>
                  <a:ea typeface="+mn-ea"/>
                  <a:cs typeface="+mn-cs"/>
                </a:rPr>
                <a:t>Text</a:t>
              </a:r>
            </a:p>
          </p:txBody>
        </p:sp>
      </p:grpSp>
      <p:sp>
        <p:nvSpPr>
          <p:cNvPr id="5" name="Footer Placeholder 4">
            <a:extLst>
              <a:ext uri="{FF2B5EF4-FFF2-40B4-BE49-F238E27FC236}">
                <a16:creationId xmlns:a16="http://schemas.microsoft.com/office/drawing/2014/main" id="{9B23DFA1-D324-419F-9101-42936A221494}"/>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6" name="Slide Number Placeholder 15">
            <a:extLst>
              <a:ext uri="{FF2B5EF4-FFF2-40B4-BE49-F238E27FC236}">
                <a16:creationId xmlns:a16="http://schemas.microsoft.com/office/drawing/2014/main" id="{A35407BA-9459-4B87-9838-F00A08C9315D}"/>
              </a:ext>
            </a:extLst>
          </p:cNvPr>
          <p:cNvSpPr>
            <a:spLocks noGrp="1"/>
          </p:cNvSpPr>
          <p:nvPr>
            <p:ph type="sldNum" sz="quarter" idx="10"/>
          </p:nvPr>
        </p:nvSpPr>
        <p:spPr/>
        <p:txBody>
          <a:bodyPr/>
          <a:lstStyle/>
          <a:p>
            <a:fld id="{1F90F471-3972-4120-B8B3-0237DE626C35}" type="slidenum">
              <a:rPr lang="en-US" smtClean="0"/>
              <a:pPr/>
              <a:t>224</a:t>
            </a:fld>
            <a:endParaRPr lang="en-US" dirty="0"/>
          </a:p>
        </p:txBody>
      </p:sp>
    </p:spTree>
    <p:extLst>
      <p:ext uri="{BB962C8B-B14F-4D97-AF65-F5344CB8AC3E}">
        <p14:creationId xmlns:p14="http://schemas.microsoft.com/office/powerpoint/2010/main" val="1239204172"/>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Vision 1</a:t>
            </a:r>
          </a:p>
        </p:txBody>
      </p:sp>
      <p:sp>
        <p:nvSpPr>
          <p:cNvPr id="5" name="Arc 3">
            <a:extLst>
              <a:ext uri="{FF2B5EF4-FFF2-40B4-BE49-F238E27FC236}">
                <a16:creationId xmlns:a16="http://schemas.microsoft.com/office/drawing/2014/main" id="{46A73EC3-594F-4DE7-BC53-B431F4A1C9E1}"/>
              </a:ext>
            </a:extLst>
          </p:cNvPr>
          <p:cNvSpPr>
            <a:spLocks/>
          </p:cNvSpPr>
          <p:nvPr/>
        </p:nvSpPr>
        <p:spPr bwMode="auto">
          <a:xfrm>
            <a:off x="4558959" y="1628800"/>
            <a:ext cx="3070151" cy="1535076"/>
          </a:xfrm>
          <a:custGeom>
            <a:avLst/>
            <a:gdLst>
              <a:gd name="G0" fmla="+- 21600 0 0"/>
              <a:gd name="G1" fmla="+- 21600 0 0"/>
              <a:gd name="G2" fmla="+- 21600 0 0"/>
              <a:gd name="T0" fmla="*/ 0 w 43200"/>
              <a:gd name="T1" fmla="*/ 21546 h 21600"/>
              <a:gd name="T2" fmla="*/ 43200 w 43200"/>
              <a:gd name="T3" fmla="*/ 21600 h 21600"/>
              <a:gd name="T4" fmla="*/ 21600 w 43200"/>
              <a:gd name="T5" fmla="*/ 21600 h 21600"/>
            </a:gdLst>
            <a:ahLst/>
            <a:cxnLst>
              <a:cxn ang="0">
                <a:pos x="T0" y="T1"/>
              </a:cxn>
              <a:cxn ang="0">
                <a:pos x="T2" y="T3"/>
              </a:cxn>
              <a:cxn ang="0">
                <a:pos x="T4" y="T5"/>
              </a:cxn>
            </a:cxnLst>
            <a:rect l="0" t="0" r="r" b="b"/>
            <a:pathLst>
              <a:path w="43200" h="21600" fill="none" extrusionOk="0">
                <a:moveTo>
                  <a:pt x="0" y="21546"/>
                </a:moveTo>
                <a:cubicBezTo>
                  <a:pt x="29" y="9637"/>
                  <a:pt x="9691" y="-1"/>
                  <a:pt x="21600" y="0"/>
                </a:cubicBezTo>
                <a:cubicBezTo>
                  <a:pt x="33529" y="0"/>
                  <a:pt x="43200" y="9670"/>
                  <a:pt x="43200" y="21600"/>
                </a:cubicBezTo>
              </a:path>
              <a:path w="43200" h="21600" stroke="0" extrusionOk="0">
                <a:moveTo>
                  <a:pt x="0" y="21546"/>
                </a:moveTo>
                <a:cubicBezTo>
                  <a:pt x="29" y="9637"/>
                  <a:pt x="9691" y="-1"/>
                  <a:pt x="21600" y="0"/>
                </a:cubicBezTo>
                <a:cubicBezTo>
                  <a:pt x="33529" y="0"/>
                  <a:pt x="43200" y="9670"/>
                  <a:pt x="43200" y="21600"/>
                </a:cubicBezTo>
                <a:lnTo>
                  <a:pt x="21600" y="21600"/>
                </a:lnTo>
                <a:close/>
              </a:path>
            </a:pathLst>
          </a:custGeom>
          <a:solidFill>
            <a:schemeClr val="accent3">
              <a:lumMod val="20000"/>
              <a:lumOff val="80000"/>
            </a:schemeClr>
          </a:solidFill>
          <a:ln w="6350" cap="rnd">
            <a:noFill/>
            <a:round/>
            <a:headEnd/>
            <a:tailEnd/>
          </a:ln>
          <a:effectLst/>
        </p:spPr>
        <p:txBody>
          <a:bodyPr lIns="45720" tIns="25200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800" b="1" i="0" u="none" strike="noStrike" kern="0" cap="all" spc="0" normalizeH="0" baseline="0" noProof="0">
                <a:ln>
                  <a:noFill/>
                </a:ln>
                <a:effectLst/>
                <a:uLnTx/>
                <a:uFillTx/>
                <a:latin typeface="Arial Black"/>
                <a:ea typeface="+mn-ea"/>
                <a:cs typeface="+mn-cs"/>
              </a:rPr>
              <a:t>Vision</a:t>
            </a:r>
          </a:p>
        </p:txBody>
      </p:sp>
      <p:grpSp>
        <p:nvGrpSpPr>
          <p:cNvPr id="3" name="Group 2">
            <a:extLst>
              <a:ext uri="{FF2B5EF4-FFF2-40B4-BE49-F238E27FC236}">
                <a16:creationId xmlns:a16="http://schemas.microsoft.com/office/drawing/2014/main" id="{5D24D825-ADEC-4160-95A6-267607C88EAD}"/>
              </a:ext>
              <a:ext uri="{C183D7F6-B498-43B3-948B-1728B52AA6E4}">
                <adec:decorative xmlns:adec="http://schemas.microsoft.com/office/drawing/2017/decorative" val="1"/>
              </a:ext>
            </a:extLst>
          </p:cNvPr>
          <p:cNvGrpSpPr/>
          <p:nvPr/>
        </p:nvGrpSpPr>
        <p:grpSpPr>
          <a:xfrm>
            <a:off x="1992313" y="3163876"/>
            <a:ext cx="8203443" cy="2899758"/>
            <a:chOff x="1992313" y="3163876"/>
            <a:chExt cx="8203443" cy="2899758"/>
          </a:xfrm>
        </p:grpSpPr>
        <p:sp>
          <p:nvSpPr>
            <p:cNvPr id="6" name="Freeform 12">
              <a:extLst>
                <a:ext uri="{FF2B5EF4-FFF2-40B4-BE49-F238E27FC236}">
                  <a16:creationId xmlns:a16="http://schemas.microsoft.com/office/drawing/2014/main" id="{079AAD45-697D-4AFD-A179-62FB690F9189}"/>
                </a:ext>
              </a:extLst>
            </p:cNvPr>
            <p:cNvSpPr>
              <a:spLocks/>
            </p:cNvSpPr>
            <p:nvPr/>
          </p:nvSpPr>
          <p:spPr bwMode="auto">
            <a:xfrm>
              <a:off x="5724081" y="3493917"/>
              <a:ext cx="753723" cy="310085"/>
            </a:xfrm>
            <a:custGeom>
              <a:avLst/>
              <a:gdLst/>
              <a:ahLst/>
              <a:cxnLst>
                <a:cxn ang="0">
                  <a:pos x="51" y="208"/>
                </a:cxn>
                <a:cxn ang="0">
                  <a:pos x="467" y="208"/>
                </a:cxn>
                <a:cxn ang="0">
                  <a:pos x="346" y="40"/>
                </a:cxn>
                <a:cxn ang="0">
                  <a:pos x="511" y="40"/>
                </a:cxn>
                <a:cxn ang="0">
                  <a:pos x="268" y="0"/>
                </a:cxn>
                <a:cxn ang="0">
                  <a:pos x="0" y="40"/>
                </a:cxn>
                <a:cxn ang="0">
                  <a:pos x="164" y="40"/>
                </a:cxn>
                <a:cxn ang="0">
                  <a:pos x="51" y="208"/>
                </a:cxn>
              </a:cxnLst>
              <a:rect l="0" t="0" r="r" b="b"/>
              <a:pathLst>
                <a:path w="512" h="209">
                  <a:moveTo>
                    <a:pt x="51" y="208"/>
                  </a:moveTo>
                  <a:lnTo>
                    <a:pt x="467" y="208"/>
                  </a:lnTo>
                  <a:lnTo>
                    <a:pt x="346" y="40"/>
                  </a:lnTo>
                  <a:lnTo>
                    <a:pt x="511" y="40"/>
                  </a:lnTo>
                  <a:lnTo>
                    <a:pt x="268" y="0"/>
                  </a:lnTo>
                  <a:lnTo>
                    <a:pt x="0" y="40"/>
                  </a:lnTo>
                  <a:lnTo>
                    <a:pt x="164" y="40"/>
                  </a:lnTo>
                  <a:lnTo>
                    <a:pt x="51" y="208"/>
                  </a:lnTo>
                </a:path>
              </a:pathLst>
            </a:custGeom>
            <a:solidFill>
              <a:schemeClr val="accent3"/>
            </a:solidFill>
            <a:ln w="19050" cap="rnd" cmpd="sng">
              <a:noFill/>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 name="Freeform 13">
              <a:extLst>
                <a:ext uri="{FF2B5EF4-FFF2-40B4-BE49-F238E27FC236}">
                  <a16:creationId xmlns:a16="http://schemas.microsoft.com/office/drawing/2014/main" id="{F842428B-2C61-42B0-8E3E-2D5B68310B50}"/>
                </a:ext>
              </a:extLst>
            </p:cNvPr>
            <p:cNvSpPr>
              <a:spLocks/>
            </p:cNvSpPr>
            <p:nvPr/>
          </p:nvSpPr>
          <p:spPr bwMode="auto">
            <a:xfrm>
              <a:off x="4362469" y="3493917"/>
              <a:ext cx="1234201" cy="296269"/>
            </a:xfrm>
            <a:custGeom>
              <a:avLst/>
              <a:gdLst/>
              <a:ahLst/>
              <a:cxnLst>
                <a:cxn ang="0">
                  <a:pos x="311" y="200"/>
                </a:cxn>
                <a:cxn ang="0">
                  <a:pos x="0" y="168"/>
                </a:cxn>
                <a:cxn ang="0">
                  <a:pos x="398" y="40"/>
                </a:cxn>
                <a:cxn ang="0">
                  <a:pos x="207" y="40"/>
                </a:cxn>
                <a:cxn ang="0">
                  <a:pos x="623" y="0"/>
                </a:cxn>
                <a:cxn ang="0">
                  <a:pos x="839" y="40"/>
                </a:cxn>
                <a:cxn ang="0">
                  <a:pos x="649" y="40"/>
                </a:cxn>
                <a:cxn ang="0">
                  <a:pos x="311" y="200"/>
                </a:cxn>
              </a:cxnLst>
              <a:rect l="0" t="0" r="r" b="b"/>
              <a:pathLst>
                <a:path w="840" h="201">
                  <a:moveTo>
                    <a:pt x="311" y="200"/>
                  </a:moveTo>
                  <a:lnTo>
                    <a:pt x="0" y="168"/>
                  </a:lnTo>
                  <a:lnTo>
                    <a:pt x="398" y="40"/>
                  </a:lnTo>
                  <a:lnTo>
                    <a:pt x="207" y="40"/>
                  </a:lnTo>
                  <a:lnTo>
                    <a:pt x="623" y="0"/>
                  </a:lnTo>
                  <a:lnTo>
                    <a:pt x="839" y="40"/>
                  </a:lnTo>
                  <a:lnTo>
                    <a:pt x="649" y="40"/>
                  </a:lnTo>
                  <a:lnTo>
                    <a:pt x="311" y="200"/>
                  </a:lnTo>
                </a:path>
              </a:pathLst>
            </a:custGeom>
            <a:solidFill>
              <a:schemeClr val="accent3"/>
            </a:solidFill>
            <a:ln w="19050" cap="rnd" cmpd="sng">
              <a:noFill/>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 name="Freeform 14">
              <a:extLst>
                <a:ext uri="{FF2B5EF4-FFF2-40B4-BE49-F238E27FC236}">
                  <a16:creationId xmlns:a16="http://schemas.microsoft.com/office/drawing/2014/main" id="{D951DE38-C0EF-408A-BE94-CADA738D3835}"/>
                </a:ext>
              </a:extLst>
            </p:cNvPr>
            <p:cNvSpPr>
              <a:spLocks/>
            </p:cNvSpPr>
            <p:nvPr/>
          </p:nvSpPr>
          <p:spPr bwMode="auto">
            <a:xfrm>
              <a:off x="6540741" y="3493917"/>
              <a:ext cx="1235736" cy="296269"/>
            </a:xfrm>
            <a:custGeom>
              <a:avLst/>
              <a:gdLst/>
              <a:ahLst/>
              <a:cxnLst>
                <a:cxn ang="0">
                  <a:pos x="527" y="200"/>
                </a:cxn>
                <a:cxn ang="0">
                  <a:pos x="839" y="168"/>
                </a:cxn>
                <a:cxn ang="0">
                  <a:pos x="440" y="40"/>
                </a:cxn>
                <a:cxn ang="0">
                  <a:pos x="622" y="40"/>
                </a:cxn>
                <a:cxn ang="0">
                  <a:pos x="215" y="0"/>
                </a:cxn>
                <a:cxn ang="0">
                  <a:pos x="0" y="40"/>
                </a:cxn>
                <a:cxn ang="0">
                  <a:pos x="189" y="40"/>
                </a:cxn>
                <a:cxn ang="0">
                  <a:pos x="527" y="200"/>
                </a:cxn>
              </a:cxnLst>
              <a:rect l="0" t="0" r="r" b="b"/>
              <a:pathLst>
                <a:path w="840" h="201">
                  <a:moveTo>
                    <a:pt x="527" y="200"/>
                  </a:moveTo>
                  <a:lnTo>
                    <a:pt x="839" y="168"/>
                  </a:lnTo>
                  <a:lnTo>
                    <a:pt x="440" y="40"/>
                  </a:lnTo>
                  <a:lnTo>
                    <a:pt x="622" y="40"/>
                  </a:lnTo>
                  <a:lnTo>
                    <a:pt x="215" y="0"/>
                  </a:lnTo>
                  <a:lnTo>
                    <a:pt x="0" y="40"/>
                  </a:lnTo>
                  <a:lnTo>
                    <a:pt x="189" y="40"/>
                  </a:lnTo>
                  <a:lnTo>
                    <a:pt x="527" y="200"/>
                  </a:lnTo>
                </a:path>
              </a:pathLst>
            </a:custGeom>
            <a:solidFill>
              <a:schemeClr val="accent3"/>
            </a:solidFill>
            <a:ln w="19050" cap="rnd" cmpd="sng">
              <a:noFill/>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258FBE0F-C3FF-47A6-B1E7-C76D01921938}"/>
                </a:ext>
              </a:extLst>
            </p:cNvPr>
            <p:cNvGrpSpPr/>
            <p:nvPr/>
          </p:nvGrpSpPr>
          <p:grpSpPr>
            <a:xfrm>
              <a:off x="1992313" y="3163876"/>
              <a:ext cx="8203443" cy="2899758"/>
              <a:chOff x="1992313" y="3163876"/>
              <a:chExt cx="8203443" cy="2899758"/>
            </a:xfrm>
          </p:grpSpPr>
          <p:sp>
            <p:nvSpPr>
              <p:cNvPr id="10" name="Line 4">
                <a:extLst>
                  <a:ext uri="{FF2B5EF4-FFF2-40B4-BE49-F238E27FC236}">
                    <a16:creationId xmlns:a16="http://schemas.microsoft.com/office/drawing/2014/main" id="{C4AE4B15-D47C-4DAB-8DC8-03EBC726D3C4}"/>
                  </a:ext>
                </a:extLst>
              </p:cNvPr>
              <p:cNvSpPr>
                <a:spLocks noChangeShapeType="1"/>
              </p:cNvSpPr>
              <p:nvPr/>
            </p:nvSpPr>
            <p:spPr bwMode="auto">
              <a:xfrm>
                <a:off x="1992313" y="3163876"/>
                <a:ext cx="8203443" cy="0"/>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nvGrpSpPr>
              <p:cNvPr id="11" name="Group 5">
                <a:extLst>
                  <a:ext uri="{FF2B5EF4-FFF2-40B4-BE49-F238E27FC236}">
                    <a16:creationId xmlns:a16="http://schemas.microsoft.com/office/drawing/2014/main" id="{2C864672-2972-441A-9E62-974AA0040667}"/>
                  </a:ext>
                </a:extLst>
              </p:cNvPr>
              <p:cNvGrpSpPr>
                <a:grpSpLocks/>
              </p:cNvGrpSpPr>
              <p:nvPr/>
            </p:nvGrpSpPr>
            <p:grpSpPr bwMode="auto">
              <a:xfrm>
                <a:off x="2044506" y="3166946"/>
                <a:ext cx="8088312" cy="882669"/>
                <a:chOff x="347" y="1356"/>
                <a:chExt cx="5497" cy="598"/>
              </a:xfrm>
            </p:grpSpPr>
            <p:sp>
              <p:nvSpPr>
                <p:cNvPr id="22" name="Line 6">
                  <a:extLst>
                    <a:ext uri="{FF2B5EF4-FFF2-40B4-BE49-F238E27FC236}">
                      <a16:creationId xmlns:a16="http://schemas.microsoft.com/office/drawing/2014/main" id="{0375B38C-3017-4ACF-8EF3-39EF7717C8E5}"/>
                    </a:ext>
                  </a:extLst>
                </p:cNvPr>
                <p:cNvSpPr>
                  <a:spLocks noChangeShapeType="1"/>
                </p:cNvSpPr>
                <p:nvPr/>
              </p:nvSpPr>
              <p:spPr bwMode="auto">
                <a:xfrm flipV="1">
                  <a:off x="347" y="1356"/>
                  <a:ext cx="2761" cy="598"/>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 name="Line 7">
                  <a:extLst>
                    <a:ext uri="{FF2B5EF4-FFF2-40B4-BE49-F238E27FC236}">
                      <a16:creationId xmlns:a16="http://schemas.microsoft.com/office/drawing/2014/main" id="{D10FA852-2256-43D8-BB32-E6FF8F795A8A}"/>
                    </a:ext>
                  </a:extLst>
                </p:cNvPr>
                <p:cNvSpPr>
                  <a:spLocks noChangeShapeType="1"/>
                </p:cNvSpPr>
                <p:nvPr/>
              </p:nvSpPr>
              <p:spPr bwMode="auto">
                <a:xfrm>
                  <a:off x="3095" y="1363"/>
                  <a:ext cx="2749" cy="589"/>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sp>
            <p:nvSpPr>
              <p:cNvPr id="12" name="Line 8">
                <a:extLst>
                  <a:ext uri="{FF2B5EF4-FFF2-40B4-BE49-F238E27FC236}">
                    <a16:creationId xmlns:a16="http://schemas.microsoft.com/office/drawing/2014/main" id="{8D60B723-E21F-4006-BE13-921073C64C05}"/>
                  </a:ext>
                </a:extLst>
              </p:cNvPr>
              <p:cNvSpPr>
                <a:spLocks noChangeShapeType="1"/>
              </p:cNvSpPr>
              <p:nvPr/>
            </p:nvSpPr>
            <p:spPr bwMode="auto">
              <a:xfrm flipV="1">
                <a:off x="3229584" y="3176156"/>
                <a:ext cx="2864451" cy="2887478"/>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 name="Line 9">
                <a:extLst>
                  <a:ext uri="{FF2B5EF4-FFF2-40B4-BE49-F238E27FC236}">
                    <a16:creationId xmlns:a16="http://schemas.microsoft.com/office/drawing/2014/main" id="{B890C4ED-0D23-4C5C-823C-C125A586ABF4}"/>
                  </a:ext>
                </a:extLst>
              </p:cNvPr>
              <p:cNvSpPr>
                <a:spLocks noChangeShapeType="1"/>
              </p:cNvSpPr>
              <p:nvPr/>
            </p:nvSpPr>
            <p:spPr bwMode="auto">
              <a:xfrm>
                <a:off x="6094035" y="3176156"/>
                <a:ext cx="2853705" cy="2876732"/>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 name="Arc 10">
                <a:extLst>
                  <a:ext uri="{FF2B5EF4-FFF2-40B4-BE49-F238E27FC236}">
                    <a16:creationId xmlns:a16="http://schemas.microsoft.com/office/drawing/2014/main" id="{8A1E6C80-AAA1-4CFD-BF9D-F04455A31EEA}"/>
                  </a:ext>
                </a:extLst>
              </p:cNvPr>
              <p:cNvSpPr>
                <a:spLocks/>
              </p:cNvSpPr>
              <p:nvPr/>
            </p:nvSpPr>
            <p:spPr bwMode="auto">
              <a:xfrm>
                <a:off x="4453038" y="3163876"/>
                <a:ext cx="3323439" cy="285524"/>
              </a:xfrm>
              <a:custGeom>
                <a:avLst/>
                <a:gdLst>
                  <a:gd name="G0" fmla="+- 21600 0 0"/>
                  <a:gd name="G1" fmla="+- 460 0 0"/>
                  <a:gd name="G2" fmla="+- 21600 0 0"/>
                  <a:gd name="T0" fmla="*/ 43195 w 43200"/>
                  <a:gd name="T1" fmla="*/ 0 h 22060"/>
                  <a:gd name="T2" fmla="*/ 5 w 43200"/>
                  <a:gd name="T3" fmla="*/ 1 h 22060"/>
                  <a:gd name="T4" fmla="*/ 21600 w 43200"/>
                  <a:gd name="T5" fmla="*/ 460 h 22060"/>
                </a:gdLst>
                <a:ahLst/>
                <a:cxnLst>
                  <a:cxn ang="0">
                    <a:pos x="T0" y="T1"/>
                  </a:cxn>
                  <a:cxn ang="0">
                    <a:pos x="T2" y="T3"/>
                  </a:cxn>
                  <a:cxn ang="0">
                    <a:pos x="T4" y="T5"/>
                  </a:cxn>
                </a:cxnLst>
                <a:rect l="0" t="0" r="r" b="b"/>
                <a:pathLst>
                  <a:path w="43200" h="22060" fill="none" extrusionOk="0">
                    <a:moveTo>
                      <a:pt x="43195" y="-1"/>
                    </a:moveTo>
                    <a:cubicBezTo>
                      <a:pt x="43198" y="153"/>
                      <a:pt x="43200" y="306"/>
                      <a:pt x="43200" y="460"/>
                    </a:cubicBezTo>
                    <a:cubicBezTo>
                      <a:pt x="43200" y="12389"/>
                      <a:pt x="33529" y="22060"/>
                      <a:pt x="21600" y="22060"/>
                    </a:cubicBezTo>
                    <a:cubicBezTo>
                      <a:pt x="9670" y="22060"/>
                      <a:pt x="0" y="12389"/>
                      <a:pt x="0" y="460"/>
                    </a:cubicBezTo>
                    <a:cubicBezTo>
                      <a:pt x="-1" y="306"/>
                      <a:pt x="1" y="153"/>
                      <a:pt x="4" y="0"/>
                    </a:cubicBezTo>
                  </a:path>
                  <a:path w="43200" h="22060" stroke="0" extrusionOk="0">
                    <a:moveTo>
                      <a:pt x="43195" y="-1"/>
                    </a:moveTo>
                    <a:cubicBezTo>
                      <a:pt x="43198" y="153"/>
                      <a:pt x="43200" y="306"/>
                      <a:pt x="43200" y="460"/>
                    </a:cubicBezTo>
                    <a:cubicBezTo>
                      <a:pt x="43200" y="12389"/>
                      <a:pt x="33529" y="22060"/>
                      <a:pt x="21600" y="22060"/>
                    </a:cubicBezTo>
                    <a:cubicBezTo>
                      <a:pt x="9670" y="22060"/>
                      <a:pt x="0" y="12389"/>
                      <a:pt x="0" y="460"/>
                    </a:cubicBezTo>
                    <a:cubicBezTo>
                      <a:pt x="-1" y="306"/>
                      <a:pt x="1" y="153"/>
                      <a:pt x="4" y="0"/>
                    </a:cubicBezTo>
                    <a:lnTo>
                      <a:pt x="21600" y="460"/>
                    </a:lnTo>
                    <a:close/>
                  </a:path>
                </a:pathLst>
              </a:custGeom>
              <a:noFill/>
              <a:ln w="12700" cap="rnd">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 name="Arc 11">
                <a:extLst>
                  <a:ext uri="{FF2B5EF4-FFF2-40B4-BE49-F238E27FC236}">
                    <a16:creationId xmlns:a16="http://schemas.microsoft.com/office/drawing/2014/main" id="{D0744334-4AFB-4051-87ED-E41E81CF2F6B}"/>
                  </a:ext>
                </a:extLst>
              </p:cNvPr>
              <p:cNvSpPr>
                <a:spLocks/>
              </p:cNvSpPr>
              <p:nvPr/>
            </p:nvSpPr>
            <p:spPr bwMode="auto">
              <a:xfrm>
                <a:off x="2505028" y="3176156"/>
                <a:ext cx="7205644" cy="742977"/>
              </a:xfrm>
              <a:custGeom>
                <a:avLst/>
                <a:gdLst>
                  <a:gd name="G0" fmla="+- 21600 0 0"/>
                  <a:gd name="G1" fmla="+- 0 0 0"/>
                  <a:gd name="G2" fmla="+- 21600 0 0"/>
                  <a:gd name="T0" fmla="*/ 43200 w 43200"/>
                  <a:gd name="T1" fmla="*/ 0 h 21600"/>
                  <a:gd name="T2" fmla="*/ 0 w 43200"/>
                  <a:gd name="T3" fmla="*/ 0 h 21600"/>
                  <a:gd name="T4" fmla="*/ 21600 w 43200"/>
                  <a:gd name="T5" fmla="*/ 0 h 21600"/>
                </a:gdLst>
                <a:ahLst/>
                <a:cxnLst>
                  <a:cxn ang="0">
                    <a:pos x="T0" y="T1"/>
                  </a:cxn>
                  <a:cxn ang="0">
                    <a:pos x="T2" y="T3"/>
                  </a:cxn>
                  <a:cxn ang="0">
                    <a:pos x="T4" y="T5"/>
                  </a:cxn>
                </a:cxnLst>
                <a:rect l="0" t="0" r="r" b="b"/>
                <a:pathLst>
                  <a:path w="43200" h="21600" fill="none" extrusionOk="0">
                    <a:moveTo>
                      <a:pt x="43200" y="0"/>
                    </a:moveTo>
                    <a:cubicBezTo>
                      <a:pt x="43200" y="11929"/>
                      <a:pt x="33529" y="21600"/>
                      <a:pt x="21600" y="21600"/>
                    </a:cubicBezTo>
                    <a:cubicBezTo>
                      <a:pt x="9670" y="21600"/>
                      <a:pt x="0" y="11929"/>
                      <a:pt x="0" y="0"/>
                    </a:cubicBezTo>
                  </a:path>
                  <a:path w="43200" h="21600" stroke="0" extrusionOk="0">
                    <a:moveTo>
                      <a:pt x="43200" y="0"/>
                    </a:moveTo>
                    <a:cubicBezTo>
                      <a:pt x="43200" y="11929"/>
                      <a:pt x="33529" y="21600"/>
                      <a:pt x="21600" y="21600"/>
                    </a:cubicBezTo>
                    <a:cubicBezTo>
                      <a:pt x="9670" y="21600"/>
                      <a:pt x="0" y="11929"/>
                      <a:pt x="0" y="0"/>
                    </a:cubicBezTo>
                    <a:lnTo>
                      <a:pt x="21600" y="0"/>
                    </a:lnTo>
                    <a:close/>
                  </a:path>
                </a:pathLst>
              </a:custGeom>
              <a:noFill/>
              <a:ln w="12700" cap="rnd">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nvGrpSpPr>
              <p:cNvPr id="16" name="Group 15">
                <a:extLst>
                  <a:ext uri="{FF2B5EF4-FFF2-40B4-BE49-F238E27FC236}">
                    <a16:creationId xmlns:a16="http://schemas.microsoft.com/office/drawing/2014/main" id="{B470B87D-6B62-42DF-8C31-C953F3E1863A}"/>
                  </a:ext>
                </a:extLst>
              </p:cNvPr>
              <p:cNvGrpSpPr>
                <a:grpSpLocks/>
              </p:cNvGrpSpPr>
              <p:nvPr/>
            </p:nvGrpSpPr>
            <p:grpSpPr bwMode="auto">
              <a:xfrm>
                <a:off x="2055251" y="3163876"/>
                <a:ext cx="8077567" cy="142763"/>
                <a:chOff x="355" y="1355"/>
                <a:chExt cx="5489" cy="96"/>
              </a:xfrm>
            </p:grpSpPr>
            <p:sp>
              <p:nvSpPr>
                <p:cNvPr id="20" name="Line 16">
                  <a:extLst>
                    <a:ext uri="{FF2B5EF4-FFF2-40B4-BE49-F238E27FC236}">
                      <a16:creationId xmlns:a16="http://schemas.microsoft.com/office/drawing/2014/main" id="{9680304B-A9FA-4C34-BC43-3E0F8D1388E0}"/>
                    </a:ext>
                  </a:extLst>
                </p:cNvPr>
                <p:cNvSpPr>
                  <a:spLocks noChangeShapeType="1"/>
                </p:cNvSpPr>
                <p:nvPr/>
              </p:nvSpPr>
              <p:spPr bwMode="auto">
                <a:xfrm flipV="1">
                  <a:off x="355" y="1355"/>
                  <a:ext cx="2762" cy="96"/>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 name="Line 17">
                  <a:extLst>
                    <a:ext uri="{FF2B5EF4-FFF2-40B4-BE49-F238E27FC236}">
                      <a16:creationId xmlns:a16="http://schemas.microsoft.com/office/drawing/2014/main" id="{B7AF75D3-E45B-4B38-9B40-E1E9F9671A15}"/>
                    </a:ext>
                  </a:extLst>
                </p:cNvPr>
                <p:cNvSpPr>
                  <a:spLocks noChangeShapeType="1"/>
                </p:cNvSpPr>
                <p:nvPr/>
              </p:nvSpPr>
              <p:spPr bwMode="auto">
                <a:xfrm>
                  <a:off x="3099" y="1355"/>
                  <a:ext cx="2745" cy="96"/>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17" name="Group 18">
                <a:extLst>
                  <a:ext uri="{FF2B5EF4-FFF2-40B4-BE49-F238E27FC236}">
                    <a16:creationId xmlns:a16="http://schemas.microsoft.com/office/drawing/2014/main" id="{75421B36-F92F-4A40-83F6-FE8FE2E2ABF3}"/>
                  </a:ext>
                </a:extLst>
              </p:cNvPr>
              <p:cNvGrpSpPr>
                <a:grpSpLocks/>
              </p:cNvGrpSpPr>
              <p:nvPr/>
            </p:nvGrpSpPr>
            <p:grpSpPr bwMode="auto">
              <a:xfrm>
                <a:off x="2044506" y="3163876"/>
                <a:ext cx="8088312" cy="448242"/>
                <a:chOff x="347" y="1355"/>
                <a:chExt cx="5497" cy="303"/>
              </a:xfrm>
            </p:grpSpPr>
            <p:sp>
              <p:nvSpPr>
                <p:cNvPr id="18" name="Line 19">
                  <a:extLst>
                    <a:ext uri="{FF2B5EF4-FFF2-40B4-BE49-F238E27FC236}">
                      <a16:creationId xmlns:a16="http://schemas.microsoft.com/office/drawing/2014/main" id="{554649C2-64E4-4101-830E-F6E86893163E}"/>
                    </a:ext>
                  </a:extLst>
                </p:cNvPr>
                <p:cNvSpPr>
                  <a:spLocks noChangeShapeType="1"/>
                </p:cNvSpPr>
                <p:nvPr/>
              </p:nvSpPr>
              <p:spPr bwMode="auto">
                <a:xfrm flipV="1">
                  <a:off x="347" y="1355"/>
                  <a:ext cx="2770" cy="303"/>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 name="Line 20">
                  <a:extLst>
                    <a:ext uri="{FF2B5EF4-FFF2-40B4-BE49-F238E27FC236}">
                      <a16:creationId xmlns:a16="http://schemas.microsoft.com/office/drawing/2014/main" id="{263609E9-57E6-40C0-86A2-498A1A1CE3A9}"/>
                    </a:ext>
                  </a:extLst>
                </p:cNvPr>
                <p:cNvSpPr>
                  <a:spLocks noChangeShapeType="1"/>
                </p:cNvSpPr>
                <p:nvPr/>
              </p:nvSpPr>
              <p:spPr bwMode="auto">
                <a:xfrm>
                  <a:off x="3099" y="1355"/>
                  <a:ext cx="2745" cy="303"/>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grpSp>
      <p:sp>
        <p:nvSpPr>
          <p:cNvPr id="25" name="Footer Placeholder 24">
            <a:extLst>
              <a:ext uri="{FF2B5EF4-FFF2-40B4-BE49-F238E27FC236}">
                <a16:creationId xmlns:a16="http://schemas.microsoft.com/office/drawing/2014/main" id="{2F3C8A2A-EACC-462D-AACA-DDCCBB04EF9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6" name="Slide Number Placeholder 25">
            <a:extLst>
              <a:ext uri="{FF2B5EF4-FFF2-40B4-BE49-F238E27FC236}">
                <a16:creationId xmlns:a16="http://schemas.microsoft.com/office/drawing/2014/main" id="{DFF3F60D-A7ED-4BBC-A47C-6A8A139E68B5}"/>
              </a:ext>
            </a:extLst>
          </p:cNvPr>
          <p:cNvSpPr>
            <a:spLocks noGrp="1"/>
          </p:cNvSpPr>
          <p:nvPr>
            <p:ph type="sldNum" sz="quarter" idx="10"/>
          </p:nvPr>
        </p:nvSpPr>
        <p:spPr/>
        <p:txBody>
          <a:bodyPr/>
          <a:lstStyle/>
          <a:p>
            <a:fld id="{1F90F471-3972-4120-B8B3-0237DE626C35}" type="slidenum">
              <a:rPr lang="en-US" smtClean="0"/>
              <a:pPr/>
              <a:t>225</a:t>
            </a:fld>
            <a:endParaRPr lang="en-US" dirty="0"/>
          </a:p>
        </p:txBody>
      </p:sp>
    </p:spTree>
    <p:extLst>
      <p:ext uri="{BB962C8B-B14F-4D97-AF65-F5344CB8AC3E}">
        <p14:creationId xmlns:p14="http://schemas.microsoft.com/office/powerpoint/2010/main" val="156864912"/>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Vision 2</a:t>
            </a:r>
          </a:p>
        </p:txBody>
      </p:sp>
      <p:sp>
        <p:nvSpPr>
          <p:cNvPr id="6" name="Arc 3">
            <a:extLst>
              <a:ext uri="{FF2B5EF4-FFF2-40B4-BE49-F238E27FC236}">
                <a16:creationId xmlns:a16="http://schemas.microsoft.com/office/drawing/2014/main" id="{71FC690D-1E29-40C5-AB53-2ED09CDCB6AC}"/>
              </a:ext>
            </a:extLst>
          </p:cNvPr>
          <p:cNvSpPr>
            <a:spLocks/>
          </p:cNvSpPr>
          <p:nvPr/>
        </p:nvSpPr>
        <p:spPr bwMode="auto">
          <a:xfrm>
            <a:off x="4558959" y="1628800"/>
            <a:ext cx="3070151" cy="1535076"/>
          </a:xfrm>
          <a:custGeom>
            <a:avLst/>
            <a:gdLst>
              <a:gd name="G0" fmla="+- 21600 0 0"/>
              <a:gd name="G1" fmla="+- 21600 0 0"/>
              <a:gd name="G2" fmla="+- 21600 0 0"/>
              <a:gd name="T0" fmla="*/ 0 w 43200"/>
              <a:gd name="T1" fmla="*/ 21546 h 21600"/>
              <a:gd name="T2" fmla="*/ 43200 w 43200"/>
              <a:gd name="T3" fmla="*/ 21600 h 21600"/>
              <a:gd name="T4" fmla="*/ 21600 w 43200"/>
              <a:gd name="T5" fmla="*/ 21600 h 21600"/>
            </a:gdLst>
            <a:ahLst/>
            <a:cxnLst>
              <a:cxn ang="0">
                <a:pos x="T0" y="T1"/>
              </a:cxn>
              <a:cxn ang="0">
                <a:pos x="T2" y="T3"/>
              </a:cxn>
              <a:cxn ang="0">
                <a:pos x="T4" y="T5"/>
              </a:cxn>
            </a:cxnLst>
            <a:rect l="0" t="0" r="r" b="b"/>
            <a:pathLst>
              <a:path w="43200" h="21600" fill="none" extrusionOk="0">
                <a:moveTo>
                  <a:pt x="0" y="21546"/>
                </a:moveTo>
                <a:cubicBezTo>
                  <a:pt x="29" y="9637"/>
                  <a:pt x="9691" y="-1"/>
                  <a:pt x="21600" y="0"/>
                </a:cubicBezTo>
                <a:cubicBezTo>
                  <a:pt x="33529" y="0"/>
                  <a:pt x="43200" y="9670"/>
                  <a:pt x="43200" y="21600"/>
                </a:cubicBezTo>
              </a:path>
              <a:path w="43200" h="21600" stroke="0" extrusionOk="0">
                <a:moveTo>
                  <a:pt x="0" y="21546"/>
                </a:moveTo>
                <a:cubicBezTo>
                  <a:pt x="29" y="9637"/>
                  <a:pt x="9691" y="-1"/>
                  <a:pt x="21600" y="0"/>
                </a:cubicBezTo>
                <a:cubicBezTo>
                  <a:pt x="33529" y="0"/>
                  <a:pt x="43200" y="9670"/>
                  <a:pt x="43200" y="21600"/>
                </a:cubicBezTo>
                <a:lnTo>
                  <a:pt x="21600" y="21600"/>
                </a:lnTo>
                <a:close/>
              </a:path>
            </a:pathLst>
          </a:custGeom>
          <a:solidFill>
            <a:schemeClr val="accent3">
              <a:lumMod val="20000"/>
              <a:lumOff val="80000"/>
            </a:schemeClr>
          </a:solidFill>
          <a:ln w="6350" cap="rnd">
            <a:noFill/>
            <a:round/>
            <a:headEnd/>
            <a:tailEnd/>
          </a:ln>
          <a:effectLst/>
        </p:spPr>
        <p:txBody>
          <a:bodyPr lIns="45720" tIns="25200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800" b="1" i="0" u="none" strike="noStrike" kern="0" cap="all" spc="0" normalizeH="0" baseline="0" noProof="0" dirty="0">
                <a:ln>
                  <a:noFill/>
                </a:ln>
                <a:effectLst/>
                <a:uLnTx/>
                <a:uFillTx/>
                <a:latin typeface="Arial Black"/>
                <a:ea typeface="+mn-ea"/>
                <a:cs typeface="+mn-cs"/>
              </a:rPr>
              <a:t>Vision</a:t>
            </a:r>
          </a:p>
        </p:txBody>
      </p:sp>
      <p:grpSp>
        <p:nvGrpSpPr>
          <p:cNvPr id="3" name="Group 2">
            <a:extLst>
              <a:ext uri="{FF2B5EF4-FFF2-40B4-BE49-F238E27FC236}">
                <a16:creationId xmlns:a16="http://schemas.microsoft.com/office/drawing/2014/main" id="{30D4DAE1-04E7-4363-BBAF-DF1154A0426F}"/>
              </a:ext>
              <a:ext uri="{C183D7F6-B498-43B3-948B-1728B52AA6E4}">
                <adec:decorative xmlns:adec="http://schemas.microsoft.com/office/drawing/2017/decorative" val="1"/>
              </a:ext>
            </a:extLst>
          </p:cNvPr>
          <p:cNvGrpSpPr/>
          <p:nvPr/>
        </p:nvGrpSpPr>
        <p:grpSpPr>
          <a:xfrm>
            <a:off x="1992313" y="3153130"/>
            <a:ext cx="8203443" cy="2910504"/>
            <a:chOff x="1992313" y="3153130"/>
            <a:chExt cx="8203443" cy="2910504"/>
          </a:xfrm>
        </p:grpSpPr>
        <p:sp>
          <p:nvSpPr>
            <p:cNvPr id="5" name="Rectangle 4">
              <a:extLst>
                <a:ext uri="{FF2B5EF4-FFF2-40B4-BE49-F238E27FC236}">
                  <a16:creationId xmlns:a16="http://schemas.microsoft.com/office/drawing/2014/main" id="{4965EF70-DF5C-4D9D-B209-13A3C22E704A}"/>
                </a:ext>
              </a:extLst>
            </p:cNvPr>
            <p:cNvSpPr/>
            <p:nvPr/>
          </p:nvSpPr>
          <p:spPr bwMode="auto">
            <a:xfrm>
              <a:off x="2044506" y="3153130"/>
              <a:ext cx="8088312" cy="2910504"/>
            </a:xfrm>
            <a:prstGeom prst="rect">
              <a:avLst/>
            </a:prstGeom>
            <a:solidFill>
              <a:srgbClr val="FFFFFF">
                <a:lumMod val="95000"/>
              </a:srgbClr>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US"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sp>
          <p:nvSpPr>
            <p:cNvPr id="8" name="Freeform 13">
              <a:extLst>
                <a:ext uri="{FF2B5EF4-FFF2-40B4-BE49-F238E27FC236}">
                  <a16:creationId xmlns:a16="http://schemas.microsoft.com/office/drawing/2014/main" id="{C5874C90-DA05-4729-B3E0-2FDBEA85199B}"/>
                </a:ext>
              </a:extLst>
            </p:cNvPr>
            <p:cNvSpPr>
              <a:spLocks/>
            </p:cNvSpPr>
            <p:nvPr/>
          </p:nvSpPr>
          <p:spPr bwMode="auto">
            <a:xfrm>
              <a:off x="4362469" y="3493917"/>
              <a:ext cx="1234201" cy="296269"/>
            </a:xfrm>
            <a:custGeom>
              <a:avLst/>
              <a:gdLst/>
              <a:ahLst/>
              <a:cxnLst>
                <a:cxn ang="0">
                  <a:pos x="311" y="200"/>
                </a:cxn>
                <a:cxn ang="0">
                  <a:pos x="0" y="168"/>
                </a:cxn>
                <a:cxn ang="0">
                  <a:pos x="398" y="40"/>
                </a:cxn>
                <a:cxn ang="0">
                  <a:pos x="207" y="40"/>
                </a:cxn>
                <a:cxn ang="0">
                  <a:pos x="623" y="0"/>
                </a:cxn>
                <a:cxn ang="0">
                  <a:pos x="839" y="40"/>
                </a:cxn>
                <a:cxn ang="0">
                  <a:pos x="649" y="40"/>
                </a:cxn>
                <a:cxn ang="0">
                  <a:pos x="311" y="200"/>
                </a:cxn>
              </a:cxnLst>
              <a:rect l="0" t="0" r="r" b="b"/>
              <a:pathLst>
                <a:path w="840" h="201">
                  <a:moveTo>
                    <a:pt x="311" y="200"/>
                  </a:moveTo>
                  <a:lnTo>
                    <a:pt x="0" y="168"/>
                  </a:lnTo>
                  <a:lnTo>
                    <a:pt x="398" y="40"/>
                  </a:lnTo>
                  <a:lnTo>
                    <a:pt x="207" y="40"/>
                  </a:lnTo>
                  <a:lnTo>
                    <a:pt x="623" y="0"/>
                  </a:lnTo>
                  <a:lnTo>
                    <a:pt x="839" y="40"/>
                  </a:lnTo>
                  <a:lnTo>
                    <a:pt x="649" y="40"/>
                  </a:lnTo>
                  <a:lnTo>
                    <a:pt x="311" y="200"/>
                  </a:lnTo>
                </a:path>
              </a:pathLst>
            </a:custGeom>
            <a:solidFill>
              <a:schemeClr val="accent3"/>
            </a:solidFill>
            <a:ln w="19050" cap="rnd" cmpd="sng">
              <a:noFill/>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 name="Freeform 12">
              <a:extLst>
                <a:ext uri="{FF2B5EF4-FFF2-40B4-BE49-F238E27FC236}">
                  <a16:creationId xmlns:a16="http://schemas.microsoft.com/office/drawing/2014/main" id="{AC92B782-2369-4DEE-9BF4-B20A56A9034E}"/>
                </a:ext>
              </a:extLst>
            </p:cNvPr>
            <p:cNvSpPr>
              <a:spLocks/>
            </p:cNvSpPr>
            <p:nvPr/>
          </p:nvSpPr>
          <p:spPr bwMode="auto">
            <a:xfrm>
              <a:off x="5724081" y="3493917"/>
              <a:ext cx="753723" cy="310085"/>
            </a:xfrm>
            <a:custGeom>
              <a:avLst/>
              <a:gdLst/>
              <a:ahLst/>
              <a:cxnLst>
                <a:cxn ang="0">
                  <a:pos x="51" y="208"/>
                </a:cxn>
                <a:cxn ang="0">
                  <a:pos x="467" y="208"/>
                </a:cxn>
                <a:cxn ang="0">
                  <a:pos x="346" y="40"/>
                </a:cxn>
                <a:cxn ang="0">
                  <a:pos x="511" y="40"/>
                </a:cxn>
                <a:cxn ang="0">
                  <a:pos x="268" y="0"/>
                </a:cxn>
                <a:cxn ang="0">
                  <a:pos x="0" y="40"/>
                </a:cxn>
                <a:cxn ang="0">
                  <a:pos x="164" y="40"/>
                </a:cxn>
                <a:cxn ang="0">
                  <a:pos x="51" y="208"/>
                </a:cxn>
              </a:cxnLst>
              <a:rect l="0" t="0" r="r" b="b"/>
              <a:pathLst>
                <a:path w="512" h="209">
                  <a:moveTo>
                    <a:pt x="51" y="208"/>
                  </a:moveTo>
                  <a:lnTo>
                    <a:pt x="467" y="208"/>
                  </a:lnTo>
                  <a:lnTo>
                    <a:pt x="346" y="40"/>
                  </a:lnTo>
                  <a:lnTo>
                    <a:pt x="511" y="40"/>
                  </a:lnTo>
                  <a:lnTo>
                    <a:pt x="268" y="0"/>
                  </a:lnTo>
                  <a:lnTo>
                    <a:pt x="0" y="40"/>
                  </a:lnTo>
                  <a:lnTo>
                    <a:pt x="164" y="40"/>
                  </a:lnTo>
                  <a:lnTo>
                    <a:pt x="51" y="208"/>
                  </a:lnTo>
                </a:path>
              </a:pathLst>
            </a:custGeom>
            <a:solidFill>
              <a:schemeClr val="accent3"/>
            </a:solidFill>
            <a:ln w="19050" cap="rnd" cmpd="sng">
              <a:noFill/>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 name="Freeform 14">
              <a:extLst>
                <a:ext uri="{FF2B5EF4-FFF2-40B4-BE49-F238E27FC236}">
                  <a16:creationId xmlns:a16="http://schemas.microsoft.com/office/drawing/2014/main" id="{F634800A-4EF0-42C5-8BA1-3E3E4273D1C4}"/>
                </a:ext>
              </a:extLst>
            </p:cNvPr>
            <p:cNvSpPr>
              <a:spLocks/>
            </p:cNvSpPr>
            <p:nvPr/>
          </p:nvSpPr>
          <p:spPr bwMode="auto">
            <a:xfrm>
              <a:off x="6540741" y="3493917"/>
              <a:ext cx="1235736" cy="296269"/>
            </a:xfrm>
            <a:custGeom>
              <a:avLst/>
              <a:gdLst/>
              <a:ahLst/>
              <a:cxnLst>
                <a:cxn ang="0">
                  <a:pos x="527" y="200"/>
                </a:cxn>
                <a:cxn ang="0">
                  <a:pos x="839" y="168"/>
                </a:cxn>
                <a:cxn ang="0">
                  <a:pos x="440" y="40"/>
                </a:cxn>
                <a:cxn ang="0">
                  <a:pos x="622" y="40"/>
                </a:cxn>
                <a:cxn ang="0">
                  <a:pos x="215" y="0"/>
                </a:cxn>
                <a:cxn ang="0">
                  <a:pos x="0" y="40"/>
                </a:cxn>
                <a:cxn ang="0">
                  <a:pos x="189" y="40"/>
                </a:cxn>
                <a:cxn ang="0">
                  <a:pos x="527" y="200"/>
                </a:cxn>
              </a:cxnLst>
              <a:rect l="0" t="0" r="r" b="b"/>
              <a:pathLst>
                <a:path w="840" h="201">
                  <a:moveTo>
                    <a:pt x="527" y="200"/>
                  </a:moveTo>
                  <a:lnTo>
                    <a:pt x="839" y="168"/>
                  </a:lnTo>
                  <a:lnTo>
                    <a:pt x="440" y="40"/>
                  </a:lnTo>
                  <a:lnTo>
                    <a:pt x="622" y="40"/>
                  </a:lnTo>
                  <a:lnTo>
                    <a:pt x="215" y="0"/>
                  </a:lnTo>
                  <a:lnTo>
                    <a:pt x="0" y="40"/>
                  </a:lnTo>
                  <a:lnTo>
                    <a:pt x="189" y="40"/>
                  </a:lnTo>
                  <a:lnTo>
                    <a:pt x="527" y="200"/>
                  </a:lnTo>
                </a:path>
              </a:pathLst>
            </a:custGeom>
            <a:solidFill>
              <a:schemeClr val="accent3"/>
            </a:solidFill>
            <a:ln w="19050" cap="rnd" cmpd="sng">
              <a:noFill/>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5ADB9FE9-5242-4AD6-A3C7-A82863F1E064}"/>
                </a:ext>
              </a:extLst>
            </p:cNvPr>
            <p:cNvGrpSpPr/>
            <p:nvPr/>
          </p:nvGrpSpPr>
          <p:grpSpPr>
            <a:xfrm>
              <a:off x="1992313" y="3163876"/>
              <a:ext cx="8203443" cy="2899758"/>
              <a:chOff x="1992313" y="3163876"/>
              <a:chExt cx="8203443" cy="2899758"/>
            </a:xfrm>
          </p:grpSpPr>
          <p:sp>
            <p:nvSpPr>
              <p:cNvPr id="11" name="Line 4">
                <a:extLst>
                  <a:ext uri="{FF2B5EF4-FFF2-40B4-BE49-F238E27FC236}">
                    <a16:creationId xmlns:a16="http://schemas.microsoft.com/office/drawing/2014/main" id="{66B2F12A-F348-4E6B-B346-1C79EFC4E507}"/>
                  </a:ext>
                </a:extLst>
              </p:cNvPr>
              <p:cNvSpPr>
                <a:spLocks noChangeShapeType="1"/>
              </p:cNvSpPr>
              <p:nvPr/>
            </p:nvSpPr>
            <p:spPr bwMode="auto">
              <a:xfrm>
                <a:off x="1992313" y="3163876"/>
                <a:ext cx="8203443" cy="0"/>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nvGrpSpPr>
              <p:cNvPr id="12" name="Group 5">
                <a:extLst>
                  <a:ext uri="{FF2B5EF4-FFF2-40B4-BE49-F238E27FC236}">
                    <a16:creationId xmlns:a16="http://schemas.microsoft.com/office/drawing/2014/main" id="{B167F57C-DE70-4556-AE2B-FBAA96E29694}"/>
                  </a:ext>
                </a:extLst>
              </p:cNvPr>
              <p:cNvGrpSpPr>
                <a:grpSpLocks/>
              </p:cNvGrpSpPr>
              <p:nvPr/>
            </p:nvGrpSpPr>
            <p:grpSpPr bwMode="auto">
              <a:xfrm>
                <a:off x="2044506" y="3166946"/>
                <a:ext cx="8088312" cy="882669"/>
                <a:chOff x="347" y="1356"/>
                <a:chExt cx="5497" cy="598"/>
              </a:xfrm>
            </p:grpSpPr>
            <p:sp>
              <p:nvSpPr>
                <p:cNvPr id="23" name="Line 6">
                  <a:extLst>
                    <a:ext uri="{FF2B5EF4-FFF2-40B4-BE49-F238E27FC236}">
                      <a16:creationId xmlns:a16="http://schemas.microsoft.com/office/drawing/2014/main" id="{385269F9-2F52-48ED-98AD-61D841E167A8}"/>
                    </a:ext>
                  </a:extLst>
                </p:cNvPr>
                <p:cNvSpPr>
                  <a:spLocks noChangeShapeType="1"/>
                </p:cNvSpPr>
                <p:nvPr/>
              </p:nvSpPr>
              <p:spPr bwMode="auto">
                <a:xfrm flipV="1">
                  <a:off x="347" y="1356"/>
                  <a:ext cx="2761" cy="598"/>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 name="Line 7">
                  <a:extLst>
                    <a:ext uri="{FF2B5EF4-FFF2-40B4-BE49-F238E27FC236}">
                      <a16:creationId xmlns:a16="http://schemas.microsoft.com/office/drawing/2014/main" id="{65232298-B8D8-4E69-AE76-7CFF5FEB502A}"/>
                    </a:ext>
                  </a:extLst>
                </p:cNvPr>
                <p:cNvSpPr>
                  <a:spLocks noChangeShapeType="1"/>
                </p:cNvSpPr>
                <p:nvPr/>
              </p:nvSpPr>
              <p:spPr bwMode="auto">
                <a:xfrm>
                  <a:off x="3095" y="1363"/>
                  <a:ext cx="2749" cy="589"/>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sp>
            <p:nvSpPr>
              <p:cNvPr id="13" name="Line 8">
                <a:extLst>
                  <a:ext uri="{FF2B5EF4-FFF2-40B4-BE49-F238E27FC236}">
                    <a16:creationId xmlns:a16="http://schemas.microsoft.com/office/drawing/2014/main" id="{04F59836-673E-4FA6-8E84-2317FEF4FE71}"/>
                  </a:ext>
                </a:extLst>
              </p:cNvPr>
              <p:cNvSpPr>
                <a:spLocks noChangeShapeType="1"/>
              </p:cNvSpPr>
              <p:nvPr/>
            </p:nvSpPr>
            <p:spPr bwMode="auto">
              <a:xfrm flipV="1">
                <a:off x="3229584" y="3176156"/>
                <a:ext cx="2864451" cy="2887478"/>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 name="Line 9">
                <a:extLst>
                  <a:ext uri="{FF2B5EF4-FFF2-40B4-BE49-F238E27FC236}">
                    <a16:creationId xmlns:a16="http://schemas.microsoft.com/office/drawing/2014/main" id="{08F20E03-5152-4421-9ECC-EA0E1245B4A8}"/>
                  </a:ext>
                </a:extLst>
              </p:cNvPr>
              <p:cNvSpPr>
                <a:spLocks noChangeShapeType="1"/>
              </p:cNvSpPr>
              <p:nvPr/>
            </p:nvSpPr>
            <p:spPr bwMode="auto">
              <a:xfrm>
                <a:off x="6094035" y="3176156"/>
                <a:ext cx="2853705" cy="2876732"/>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 name="Arc 10">
                <a:extLst>
                  <a:ext uri="{FF2B5EF4-FFF2-40B4-BE49-F238E27FC236}">
                    <a16:creationId xmlns:a16="http://schemas.microsoft.com/office/drawing/2014/main" id="{244599E5-6FAD-46AF-828A-0E2A1C0FF6FA}"/>
                  </a:ext>
                </a:extLst>
              </p:cNvPr>
              <p:cNvSpPr>
                <a:spLocks/>
              </p:cNvSpPr>
              <p:nvPr/>
            </p:nvSpPr>
            <p:spPr bwMode="auto">
              <a:xfrm>
                <a:off x="4453038" y="3163876"/>
                <a:ext cx="3323439" cy="285524"/>
              </a:xfrm>
              <a:custGeom>
                <a:avLst/>
                <a:gdLst>
                  <a:gd name="G0" fmla="+- 21600 0 0"/>
                  <a:gd name="G1" fmla="+- 460 0 0"/>
                  <a:gd name="G2" fmla="+- 21600 0 0"/>
                  <a:gd name="T0" fmla="*/ 43195 w 43200"/>
                  <a:gd name="T1" fmla="*/ 0 h 22060"/>
                  <a:gd name="T2" fmla="*/ 5 w 43200"/>
                  <a:gd name="T3" fmla="*/ 1 h 22060"/>
                  <a:gd name="T4" fmla="*/ 21600 w 43200"/>
                  <a:gd name="T5" fmla="*/ 460 h 22060"/>
                </a:gdLst>
                <a:ahLst/>
                <a:cxnLst>
                  <a:cxn ang="0">
                    <a:pos x="T0" y="T1"/>
                  </a:cxn>
                  <a:cxn ang="0">
                    <a:pos x="T2" y="T3"/>
                  </a:cxn>
                  <a:cxn ang="0">
                    <a:pos x="T4" y="T5"/>
                  </a:cxn>
                </a:cxnLst>
                <a:rect l="0" t="0" r="r" b="b"/>
                <a:pathLst>
                  <a:path w="43200" h="22060" fill="none" extrusionOk="0">
                    <a:moveTo>
                      <a:pt x="43195" y="-1"/>
                    </a:moveTo>
                    <a:cubicBezTo>
                      <a:pt x="43198" y="153"/>
                      <a:pt x="43200" y="306"/>
                      <a:pt x="43200" y="460"/>
                    </a:cubicBezTo>
                    <a:cubicBezTo>
                      <a:pt x="43200" y="12389"/>
                      <a:pt x="33529" y="22060"/>
                      <a:pt x="21600" y="22060"/>
                    </a:cubicBezTo>
                    <a:cubicBezTo>
                      <a:pt x="9670" y="22060"/>
                      <a:pt x="0" y="12389"/>
                      <a:pt x="0" y="460"/>
                    </a:cubicBezTo>
                    <a:cubicBezTo>
                      <a:pt x="-1" y="306"/>
                      <a:pt x="1" y="153"/>
                      <a:pt x="4" y="0"/>
                    </a:cubicBezTo>
                  </a:path>
                  <a:path w="43200" h="22060" stroke="0" extrusionOk="0">
                    <a:moveTo>
                      <a:pt x="43195" y="-1"/>
                    </a:moveTo>
                    <a:cubicBezTo>
                      <a:pt x="43198" y="153"/>
                      <a:pt x="43200" y="306"/>
                      <a:pt x="43200" y="460"/>
                    </a:cubicBezTo>
                    <a:cubicBezTo>
                      <a:pt x="43200" y="12389"/>
                      <a:pt x="33529" y="22060"/>
                      <a:pt x="21600" y="22060"/>
                    </a:cubicBezTo>
                    <a:cubicBezTo>
                      <a:pt x="9670" y="22060"/>
                      <a:pt x="0" y="12389"/>
                      <a:pt x="0" y="460"/>
                    </a:cubicBezTo>
                    <a:cubicBezTo>
                      <a:pt x="-1" y="306"/>
                      <a:pt x="1" y="153"/>
                      <a:pt x="4" y="0"/>
                    </a:cubicBezTo>
                    <a:lnTo>
                      <a:pt x="21600" y="460"/>
                    </a:lnTo>
                    <a:close/>
                  </a:path>
                </a:pathLst>
              </a:custGeom>
              <a:noFill/>
              <a:ln w="12700" cap="rnd">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 name="Arc 11">
                <a:extLst>
                  <a:ext uri="{FF2B5EF4-FFF2-40B4-BE49-F238E27FC236}">
                    <a16:creationId xmlns:a16="http://schemas.microsoft.com/office/drawing/2014/main" id="{C05B7E2A-F779-4E94-BC6F-7EAD56099504}"/>
                  </a:ext>
                </a:extLst>
              </p:cNvPr>
              <p:cNvSpPr>
                <a:spLocks/>
              </p:cNvSpPr>
              <p:nvPr/>
            </p:nvSpPr>
            <p:spPr bwMode="auto">
              <a:xfrm>
                <a:off x="2505028" y="3176156"/>
                <a:ext cx="7205644" cy="742977"/>
              </a:xfrm>
              <a:custGeom>
                <a:avLst/>
                <a:gdLst>
                  <a:gd name="G0" fmla="+- 21600 0 0"/>
                  <a:gd name="G1" fmla="+- 0 0 0"/>
                  <a:gd name="G2" fmla="+- 21600 0 0"/>
                  <a:gd name="T0" fmla="*/ 43200 w 43200"/>
                  <a:gd name="T1" fmla="*/ 0 h 21600"/>
                  <a:gd name="T2" fmla="*/ 0 w 43200"/>
                  <a:gd name="T3" fmla="*/ 0 h 21600"/>
                  <a:gd name="T4" fmla="*/ 21600 w 43200"/>
                  <a:gd name="T5" fmla="*/ 0 h 21600"/>
                </a:gdLst>
                <a:ahLst/>
                <a:cxnLst>
                  <a:cxn ang="0">
                    <a:pos x="T0" y="T1"/>
                  </a:cxn>
                  <a:cxn ang="0">
                    <a:pos x="T2" y="T3"/>
                  </a:cxn>
                  <a:cxn ang="0">
                    <a:pos x="T4" y="T5"/>
                  </a:cxn>
                </a:cxnLst>
                <a:rect l="0" t="0" r="r" b="b"/>
                <a:pathLst>
                  <a:path w="43200" h="21600" fill="none" extrusionOk="0">
                    <a:moveTo>
                      <a:pt x="43200" y="0"/>
                    </a:moveTo>
                    <a:cubicBezTo>
                      <a:pt x="43200" y="11929"/>
                      <a:pt x="33529" y="21600"/>
                      <a:pt x="21600" y="21600"/>
                    </a:cubicBezTo>
                    <a:cubicBezTo>
                      <a:pt x="9670" y="21600"/>
                      <a:pt x="0" y="11929"/>
                      <a:pt x="0" y="0"/>
                    </a:cubicBezTo>
                  </a:path>
                  <a:path w="43200" h="21600" stroke="0" extrusionOk="0">
                    <a:moveTo>
                      <a:pt x="43200" y="0"/>
                    </a:moveTo>
                    <a:cubicBezTo>
                      <a:pt x="43200" y="11929"/>
                      <a:pt x="33529" y="21600"/>
                      <a:pt x="21600" y="21600"/>
                    </a:cubicBezTo>
                    <a:cubicBezTo>
                      <a:pt x="9670" y="21600"/>
                      <a:pt x="0" y="11929"/>
                      <a:pt x="0" y="0"/>
                    </a:cubicBezTo>
                    <a:lnTo>
                      <a:pt x="21600" y="0"/>
                    </a:lnTo>
                    <a:close/>
                  </a:path>
                </a:pathLst>
              </a:custGeom>
              <a:noFill/>
              <a:ln w="12700" cap="rnd">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nvGrpSpPr>
              <p:cNvPr id="17" name="Group 15">
                <a:extLst>
                  <a:ext uri="{FF2B5EF4-FFF2-40B4-BE49-F238E27FC236}">
                    <a16:creationId xmlns:a16="http://schemas.microsoft.com/office/drawing/2014/main" id="{D163F58B-5B69-42FA-930E-27A08FE99779}"/>
                  </a:ext>
                </a:extLst>
              </p:cNvPr>
              <p:cNvGrpSpPr>
                <a:grpSpLocks/>
              </p:cNvGrpSpPr>
              <p:nvPr/>
            </p:nvGrpSpPr>
            <p:grpSpPr bwMode="auto">
              <a:xfrm>
                <a:off x="2055251" y="3163876"/>
                <a:ext cx="8077567" cy="142763"/>
                <a:chOff x="355" y="1355"/>
                <a:chExt cx="5489" cy="96"/>
              </a:xfrm>
            </p:grpSpPr>
            <p:sp>
              <p:nvSpPr>
                <p:cNvPr id="21" name="Line 16">
                  <a:extLst>
                    <a:ext uri="{FF2B5EF4-FFF2-40B4-BE49-F238E27FC236}">
                      <a16:creationId xmlns:a16="http://schemas.microsoft.com/office/drawing/2014/main" id="{D3BD39BB-82AE-476A-B83D-BE9C6B167F1D}"/>
                    </a:ext>
                  </a:extLst>
                </p:cNvPr>
                <p:cNvSpPr>
                  <a:spLocks noChangeShapeType="1"/>
                </p:cNvSpPr>
                <p:nvPr/>
              </p:nvSpPr>
              <p:spPr bwMode="auto">
                <a:xfrm flipV="1">
                  <a:off x="355" y="1355"/>
                  <a:ext cx="2762" cy="96"/>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 name="Line 17">
                  <a:extLst>
                    <a:ext uri="{FF2B5EF4-FFF2-40B4-BE49-F238E27FC236}">
                      <a16:creationId xmlns:a16="http://schemas.microsoft.com/office/drawing/2014/main" id="{EDFDF8A6-BE25-41DD-9F61-9EB83AFE5909}"/>
                    </a:ext>
                  </a:extLst>
                </p:cNvPr>
                <p:cNvSpPr>
                  <a:spLocks noChangeShapeType="1"/>
                </p:cNvSpPr>
                <p:nvPr/>
              </p:nvSpPr>
              <p:spPr bwMode="auto">
                <a:xfrm>
                  <a:off x="3099" y="1355"/>
                  <a:ext cx="2745" cy="96"/>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18" name="Group 18">
                <a:extLst>
                  <a:ext uri="{FF2B5EF4-FFF2-40B4-BE49-F238E27FC236}">
                    <a16:creationId xmlns:a16="http://schemas.microsoft.com/office/drawing/2014/main" id="{3BFE7ED0-D3F5-4416-B45A-2801ABB10D13}"/>
                  </a:ext>
                </a:extLst>
              </p:cNvPr>
              <p:cNvGrpSpPr>
                <a:grpSpLocks/>
              </p:cNvGrpSpPr>
              <p:nvPr/>
            </p:nvGrpSpPr>
            <p:grpSpPr bwMode="auto">
              <a:xfrm>
                <a:off x="2044506" y="3163876"/>
                <a:ext cx="8088312" cy="448242"/>
                <a:chOff x="347" y="1355"/>
                <a:chExt cx="5497" cy="303"/>
              </a:xfrm>
            </p:grpSpPr>
            <p:sp>
              <p:nvSpPr>
                <p:cNvPr id="19" name="Line 19">
                  <a:extLst>
                    <a:ext uri="{FF2B5EF4-FFF2-40B4-BE49-F238E27FC236}">
                      <a16:creationId xmlns:a16="http://schemas.microsoft.com/office/drawing/2014/main" id="{163A3ECC-7C72-406A-BBC4-6F70117F75E3}"/>
                    </a:ext>
                  </a:extLst>
                </p:cNvPr>
                <p:cNvSpPr>
                  <a:spLocks noChangeShapeType="1"/>
                </p:cNvSpPr>
                <p:nvPr/>
              </p:nvSpPr>
              <p:spPr bwMode="auto">
                <a:xfrm flipV="1">
                  <a:off x="347" y="1355"/>
                  <a:ext cx="2770" cy="303"/>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 name="Line 20">
                  <a:extLst>
                    <a:ext uri="{FF2B5EF4-FFF2-40B4-BE49-F238E27FC236}">
                      <a16:creationId xmlns:a16="http://schemas.microsoft.com/office/drawing/2014/main" id="{DA0C7D4D-CA7D-420E-80A2-E3C7150FAE08}"/>
                    </a:ext>
                  </a:extLst>
                </p:cNvPr>
                <p:cNvSpPr>
                  <a:spLocks noChangeShapeType="1"/>
                </p:cNvSpPr>
                <p:nvPr/>
              </p:nvSpPr>
              <p:spPr bwMode="auto">
                <a:xfrm>
                  <a:off x="3099" y="1355"/>
                  <a:ext cx="2745" cy="303"/>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grpSp>
      <p:sp>
        <p:nvSpPr>
          <p:cNvPr id="26" name="Footer Placeholder 25">
            <a:extLst>
              <a:ext uri="{FF2B5EF4-FFF2-40B4-BE49-F238E27FC236}">
                <a16:creationId xmlns:a16="http://schemas.microsoft.com/office/drawing/2014/main" id="{E08D2E92-1228-4498-826B-18ABFB05B68D}"/>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7" name="Slide Number Placeholder 26">
            <a:extLst>
              <a:ext uri="{FF2B5EF4-FFF2-40B4-BE49-F238E27FC236}">
                <a16:creationId xmlns:a16="http://schemas.microsoft.com/office/drawing/2014/main" id="{A6FDD906-963E-4324-B6F3-64F59DCEB5E4}"/>
              </a:ext>
            </a:extLst>
          </p:cNvPr>
          <p:cNvSpPr>
            <a:spLocks noGrp="1"/>
          </p:cNvSpPr>
          <p:nvPr>
            <p:ph type="sldNum" sz="quarter" idx="10"/>
          </p:nvPr>
        </p:nvSpPr>
        <p:spPr/>
        <p:txBody>
          <a:bodyPr/>
          <a:lstStyle/>
          <a:p>
            <a:fld id="{1F90F471-3972-4120-B8B3-0237DE626C35}" type="slidenum">
              <a:rPr lang="en-US" smtClean="0"/>
              <a:pPr/>
              <a:t>226</a:t>
            </a:fld>
            <a:endParaRPr lang="en-US" dirty="0"/>
          </a:p>
        </p:txBody>
      </p:sp>
    </p:spTree>
    <p:extLst>
      <p:ext uri="{BB962C8B-B14F-4D97-AF65-F5344CB8AC3E}">
        <p14:creationId xmlns:p14="http://schemas.microsoft.com/office/powerpoint/2010/main" val="312480057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7C4124B-B9D5-4FB9-AA46-3262DD2B40DB}"/>
              </a:ext>
            </a:extLst>
          </p:cNvPr>
          <p:cNvSpPr>
            <a:spLocks noGrp="1"/>
          </p:cNvSpPr>
          <p:nvPr>
            <p:ph type="title"/>
          </p:nvPr>
        </p:nvSpPr>
        <p:spPr/>
        <p:txBody>
          <a:bodyPr/>
          <a:lstStyle/>
          <a:p>
            <a:r>
              <a:rPr lang="en-US" dirty="0"/>
              <a:t>Issue to Outcome Flows</a:t>
            </a:r>
          </a:p>
        </p:txBody>
      </p:sp>
      <p:sp>
        <p:nvSpPr>
          <p:cNvPr id="10" name="Freeform: Shape 9" descr="Add text and order accordingly">
            <a:hlinkClick r:id="rId2" action="ppaction://hlinksldjump" tooltip="Return to Index"/>
            <a:extLst>
              <a:ext uri="{FF2B5EF4-FFF2-40B4-BE49-F238E27FC236}">
                <a16:creationId xmlns:a16="http://schemas.microsoft.com/office/drawing/2014/main" id="{0DE3F75C-CF1B-47BB-A358-FF97AF03C85D}"/>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 Placeholder 8">
            <a:extLst>
              <a:ext uri="{FF2B5EF4-FFF2-40B4-BE49-F238E27FC236}">
                <a16:creationId xmlns:a16="http://schemas.microsoft.com/office/drawing/2014/main" id="{1265ADBE-657A-4DC7-A6A6-2F0E697C4723}"/>
              </a:ext>
            </a:extLst>
          </p:cNvPr>
          <p:cNvSpPr>
            <a:spLocks noGrp="1"/>
          </p:cNvSpPr>
          <p:nvPr>
            <p:ph type="body" sz="quarter" idx="15"/>
          </p:nvPr>
        </p:nvSpPr>
        <p:spPr/>
        <p:txBody>
          <a:bodyPr/>
          <a:lstStyle/>
          <a:p>
            <a:r>
              <a:rPr lang="en-US" dirty="0"/>
              <a:t>Part of </a:t>
            </a:r>
            <a:r>
              <a:rPr lang="en-US" dirty="0">
                <a:hlinkClick r:id="rId3" action="ppaction://hlinksldjump">
                  <a:extLst>
                    <a:ext uri="{A12FA001-AC4F-418D-AE19-62706E023703}">
                      <ahyp:hlinkClr xmlns:ahyp="http://schemas.microsoft.com/office/drawing/2018/hyperlinkcolor" val="tx"/>
                    </a:ext>
                  </a:extLst>
                </a:hlinkClick>
              </a:rPr>
              <a:t>Processes</a:t>
            </a:r>
            <a:endParaRPr lang="en-US" dirty="0"/>
          </a:p>
        </p:txBody>
      </p:sp>
      <p:sp>
        <p:nvSpPr>
          <p:cNvPr id="5" name="Footer Placeholder 4">
            <a:extLst>
              <a:ext uri="{FF2B5EF4-FFF2-40B4-BE49-F238E27FC236}">
                <a16:creationId xmlns:a16="http://schemas.microsoft.com/office/drawing/2014/main" id="{9DC78945-A645-4563-BCA9-927812C9C4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BEE2891-AE3F-4D8A-B562-5662B242B3DF}"/>
              </a:ext>
            </a:extLst>
          </p:cNvPr>
          <p:cNvSpPr>
            <a:spLocks noGrp="1"/>
          </p:cNvSpPr>
          <p:nvPr>
            <p:ph type="sldNum" sz="quarter" idx="17"/>
          </p:nvPr>
        </p:nvSpPr>
        <p:spPr/>
        <p:txBody>
          <a:bodyPr/>
          <a:lstStyle/>
          <a:p>
            <a:fld id="{1F90F471-3972-4120-B8B3-0237DE626C35}" type="slidenum">
              <a:rPr lang="en-US" smtClean="0"/>
              <a:pPr/>
              <a:t>227</a:t>
            </a:fld>
            <a:endParaRPr lang="en-US" dirty="0"/>
          </a:p>
        </p:txBody>
      </p:sp>
    </p:spTree>
    <p:extLst>
      <p:ext uri="{BB962C8B-B14F-4D97-AF65-F5344CB8AC3E}">
        <p14:creationId xmlns:p14="http://schemas.microsoft.com/office/powerpoint/2010/main" val="3172116035"/>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ZA" dirty="0"/>
              <a:t>Marketplace context</a:t>
            </a:r>
            <a:endParaRPr lang="en-US" dirty="0"/>
          </a:p>
        </p:txBody>
      </p:sp>
      <p:graphicFrame>
        <p:nvGraphicFramePr>
          <p:cNvPr id="7" name="Content Placeholder 6">
            <a:extLst>
              <a:ext uri="{FF2B5EF4-FFF2-40B4-BE49-F238E27FC236}">
                <a16:creationId xmlns:a16="http://schemas.microsoft.com/office/drawing/2014/main" id="{7A7203D1-A47C-4133-BE79-E7B624ED2F59}"/>
              </a:ext>
            </a:extLst>
          </p:cNvPr>
          <p:cNvGraphicFramePr>
            <a:graphicFrameLocks noGrp="1"/>
          </p:cNvGraphicFramePr>
          <p:nvPr>
            <p:ph sz="quarter" idx="4294967295"/>
            <p:extLst>
              <p:ext uri="{D42A27DB-BD31-4B8C-83A1-F6EECF244321}">
                <p14:modId xmlns:p14="http://schemas.microsoft.com/office/powerpoint/2010/main" val="3486537730"/>
              </p:ext>
            </p:extLst>
          </p:nvPr>
        </p:nvGraphicFramePr>
        <p:xfrm>
          <a:off x="384048" y="1371600"/>
          <a:ext cx="11430000" cy="4691062"/>
        </p:xfrm>
        <a:graphic>
          <a:graphicData uri="http://schemas.openxmlformats.org/drawingml/2006/table">
            <a:tbl>
              <a:tblPr firstRow="1" bandRow="1"/>
              <a:tblGrid>
                <a:gridCol w="2857500">
                  <a:extLst>
                    <a:ext uri="{9D8B030D-6E8A-4147-A177-3AD203B41FA5}">
                      <a16:colId xmlns:a16="http://schemas.microsoft.com/office/drawing/2014/main" val="20000"/>
                    </a:ext>
                  </a:extLst>
                </a:gridCol>
                <a:gridCol w="2857500">
                  <a:extLst>
                    <a:ext uri="{9D8B030D-6E8A-4147-A177-3AD203B41FA5}">
                      <a16:colId xmlns:a16="http://schemas.microsoft.com/office/drawing/2014/main" val="20001"/>
                    </a:ext>
                  </a:extLst>
                </a:gridCol>
                <a:gridCol w="2857500">
                  <a:extLst>
                    <a:ext uri="{9D8B030D-6E8A-4147-A177-3AD203B41FA5}">
                      <a16:colId xmlns:a16="http://schemas.microsoft.com/office/drawing/2014/main" val="20002"/>
                    </a:ext>
                  </a:extLst>
                </a:gridCol>
                <a:gridCol w="2857500">
                  <a:extLst>
                    <a:ext uri="{9D8B030D-6E8A-4147-A177-3AD203B41FA5}">
                      <a16:colId xmlns:a16="http://schemas.microsoft.com/office/drawing/2014/main" val="20003"/>
                    </a:ext>
                  </a:extLst>
                </a:gridCol>
              </a:tblGrid>
              <a:tr h="348708">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lnSpc>
                          <a:spcPct val="85000"/>
                        </a:lnSpc>
                      </a:pPr>
                      <a:r>
                        <a:rPr lang="en-US" sz="1400" cap="none" baseline="0" dirty="0">
                          <a:solidFill>
                            <a:schemeClr val="bg1"/>
                          </a:solidFill>
                          <a:latin typeface="+mj-lt"/>
                        </a:rPr>
                        <a:t>Industry context</a:t>
                      </a:r>
                    </a:p>
                  </a:txBody>
                  <a:tcPr marL="180000" marR="180000" marT="72000">
                    <a:lnL w="12700" cmpd="sng">
                      <a:noFill/>
                    </a:lnL>
                    <a:lnR w="12700" cap="flat" cmpd="sng" algn="ctr">
                      <a:noFill/>
                      <a:prstDash val="dot"/>
                      <a:round/>
                      <a:headEnd type="none" w="med" len="med"/>
                      <a:tailEnd type="none" w="med" len="med"/>
                    </a:lnR>
                    <a:lnT w="12700" cmpd="sng">
                      <a:noFill/>
                    </a:lnT>
                    <a:lnB w="6350" cap="flat" cmpd="sng" algn="ctr">
                      <a:noFill/>
                      <a:prstDash val="dash"/>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lnSpc>
                          <a:spcPct val="85000"/>
                        </a:lnSpc>
                      </a:pPr>
                      <a:r>
                        <a:rPr lang="en-US" sz="1400" cap="none" baseline="0" dirty="0">
                          <a:solidFill>
                            <a:schemeClr val="bg1"/>
                          </a:solidFill>
                          <a:latin typeface="+mj-lt"/>
                        </a:rPr>
                        <a:t>Performance</a:t>
                      </a:r>
                    </a:p>
                  </a:txBody>
                  <a:tcPr marL="180000" marR="180000" marT="72000">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mpd="sng">
                      <a:noFill/>
                    </a:lnT>
                    <a:lnB w="6350" cap="flat" cmpd="sng" algn="ctr">
                      <a:noFill/>
                      <a:prstDash val="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lnSpc>
                          <a:spcPct val="85000"/>
                        </a:lnSpc>
                      </a:pPr>
                      <a:r>
                        <a:rPr lang="en-US" sz="1400" cap="none" baseline="0" dirty="0">
                          <a:solidFill>
                            <a:schemeClr val="bg1"/>
                          </a:solidFill>
                          <a:latin typeface="+mj-lt"/>
                        </a:rPr>
                        <a:t>Opportunities</a:t>
                      </a:r>
                    </a:p>
                  </a:txBody>
                  <a:tcPr marL="180000" marR="180000" marT="72000">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mpd="sng">
                      <a:noFill/>
                    </a:lnT>
                    <a:lnB w="6350" cap="flat" cmpd="sng" algn="ctr">
                      <a:noFill/>
                      <a:prstDash val="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lnSpc>
                          <a:spcPct val="85000"/>
                        </a:lnSpc>
                      </a:pPr>
                      <a:r>
                        <a:rPr lang="en-US" sz="1400" cap="none" baseline="0" dirty="0">
                          <a:solidFill>
                            <a:schemeClr val="bg1"/>
                          </a:solidFill>
                          <a:latin typeface="+mj-lt"/>
                        </a:rPr>
                        <a:t>Challenges</a:t>
                      </a:r>
                    </a:p>
                  </a:txBody>
                  <a:tcPr marL="180000" marR="180000" marT="72000">
                    <a:lnL w="12700" cap="flat" cmpd="sng" algn="ctr">
                      <a:noFill/>
                      <a:prstDash val="dot"/>
                      <a:round/>
                      <a:headEnd type="none" w="med" len="med"/>
                      <a:tailEnd type="none" w="med" len="med"/>
                    </a:lnL>
                    <a:lnR w="12700" cmpd="sng">
                      <a:noFill/>
                    </a:lnR>
                    <a:lnT w="12700" cmpd="sng">
                      <a:noFill/>
                    </a:lnT>
                    <a:lnB w="6350" cap="flat" cmpd="sng" algn="ctr">
                      <a:noFill/>
                      <a:prstDash val="dash"/>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434235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chemeClr val="tx1"/>
                        </a:buClr>
                        <a:buSzTx/>
                        <a:buFontTx/>
                        <a:buChar char="•"/>
                        <a:tabLst/>
                        <a:defRPr/>
                      </a:pPr>
                      <a:r>
                        <a:rPr kumimoji="0" lang="en-US" sz="1400" b="0" i="0" u="none" strike="noStrike" kern="0" cap="none" spc="0" normalizeH="0" baseline="0" noProof="0" dirty="0">
                          <a:ln>
                            <a:noFill/>
                          </a:ln>
                          <a:solidFill>
                            <a:schemeClr val="tx1"/>
                          </a:solidFill>
                          <a:effectLst/>
                          <a:uLnTx/>
                          <a:uFillTx/>
                          <a:latin typeface="+mn-lt"/>
                          <a:ea typeface="+mn-ea"/>
                          <a:cs typeface="+mn-cs"/>
                        </a:rPr>
                        <a:t>Body copy</a:t>
                      </a:r>
                    </a:p>
                  </a:txBody>
                  <a:tcPr marL="180000" marR="180000">
                    <a:lnL w="12700" cmpd="sng">
                      <a:noFill/>
                    </a:lnL>
                    <a:lnR w="12700" cap="flat" cmpd="sng" algn="ctr">
                      <a:solidFill>
                        <a:srgbClr val="96968C">
                          <a:lumMod val="60000"/>
                          <a:lumOff val="40000"/>
                        </a:srgbClr>
                      </a:solid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chemeClr val="tx1"/>
                        </a:buClr>
                        <a:buSzTx/>
                        <a:buFontTx/>
                        <a:buChar char="•"/>
                        <a:tabLst/>
                        <a:defRPr/>
                      </a:pPr>
                      <a:r>
                        <a:rPr kumimoji="0" lang="en-US" sz="1400" b="0" i="0" u="none" strike="noStrike" kern="0" cap="none" spc="0" normalizeH="0" baseline="0" noProof="0" dirty="0">
                          <a:ln>
                            <a:noFill/>
                          </a:ln>
                          <a:solidFill>
                            <a:schemeClr val="tx1"/>
                          </a:solidFill>
                          <a:effectLst/>
                          <a:uLnTx/>
                          <a:uFillTx/>
                          <a:latin typeface="+mn-lt"/>
                          <a:ea typeface="+mn-ea"/>
                          <a:cs typeface="+mn-cs"/>
                        </a:rPr>
                        <a:t>Body copy</a:t>
                      </a:r>
                    </a:p>
                  </a:txBody>
                  <a:tcPr marL="180000" marR="180000">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chemeClr val="tx1"/>
                        </a:buClr>
                        <a:buSzTx/>
                        <a:buFontTx/>
                        <a:buChar char="•"/>
                        <a:tabLst/>
                        <a:defRPr/>
                      </a:pPr>
                      <a:r>
                        <a:rPr kumimoji="0" lang="en-US" sz="1400" b="0" i="0" u="none" strike="noStrike" kern="0" cap="none" spc="0" normalizeH="0" baseline="0" noProof="0" dirty="0">
                          <a:ln>
                            <a:noFill/>
                          </a:ln>
                          <a:solidFill>
                            <a:schemeClr val="tx1"/>
                          </a:solidFill>
                          <a:effectLst/>
                          <a:uLnTx/>
                          <a:uFillTx/>
                          <a:latin typeface="+mn-lt"/>
                          <a:ea typeface="+mn-ea"/>
                          <a:cs typeface="+mn-cs"/>
                        </a:rPr>
                        <a:t>Body copy</a:t>
                      </a:r>
                    </a:p>
                  </a:txBody>
                  <a:tcPr marL="180000" marR="180000">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chemeClr val="tx1"/>
                        </a:buClr>
                        <a:buSzTx/>
                        <a:buFontTx/>
                        <a:buChar char="•"/>
                        <a:tabLst/>
                        <a:defRPr/>
                      </a:pPr>
                      <a:r>
                        <a:rPr kumimoji="0" lang="en-US" sz="1400" b="0" i="0" u="none" strike="noStrike" kern="0" cap="none" spc="0" normalizeH="0" baseline="0" noProof="0" dirty="0">
                          <a:ln>
                            <a:noFill/>
                          </a:ln>
                          <a:solidFill>
                            <a:schemeClr val="tx1"/>
                          </a:solidFill>
                          <a:effectLst/>
                          <a:uLnTx/>
                          <a:uFillTx/>
                          <a:latin typeface="+mn-lt"/>
                          <a:ea typeface="+mn-ea"/>
                          <a:cs typeface="+mn-cs"/>
                        </a:rPr>
                        <a:t>Body copy</a:t>
                      </a:r>
                    </a:p>
                  </a:txBody>
                  <a:tcPr marL="180000" marR="180000">
                    <a:lnL w="12700" cap="flat" cmpd="sng" algn="ctr">
                      <a:solidFill>
                        <a:srgbClr val="96968C">
                          <a:lumMod val="60000"/>
                          <a:lumOff val="40000"/>
                        </a:srgbClr>
                      </a:solidFill>
                      <a:prstDash val="dot"/>
                      <a:round/>
                      <a:headEnd type="none" w="med" len="med"/>
                      <a:tailEnd type="none" w="med" len="med"/>
                    </a:lnL>
                    <a:lnR w="12700" cmpd="sng">
                      <a:noFill/>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5" name="Footer Placeholder 4">
            <a:extLst>
              <a:ext uri="{FF2B5EF4-FFF2-40B4-BE49-F238E27FC236}">
                <a16:creationId xmlns:a16="http://schemas.microsoft.com/office/drawing/2014/main" id="{86CAE307-9D6E-41AB-B93E-D4904BF5F2E9}"/>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30FD1F80-480B-45D5-B4CC-C0DC153A79FD}"/>
              </a:ext>
            </a:extLst>
          </p:cNvPr>
          <p:cNvSpPr>
            <a:spLocks noGrp="1"/>
          </p:cNvSpPr>
          <p:nvPr>
            <p:ph type="sldNum" sz="quarter" idx="10"/>
          </p:nvPr>
        </p:nvSpPr>
        <p:spPr/>
        <p:txBody>
          <a:bodyPr/>
          <a:lstStyle/>
          <a:p>
            <a:fld id="{1F90F471-3972-4120-B8B3-0237DE626C35}" type="slidenum">
              <a:rPr lang="en-US" smtClean="0"/>
              <a:pPr/>
              <a:t>228</a:t>
            </a:fld>
            <a:endParaRPr lang="en-US" dirty="0"/>
          </a:p>
        </p:txBody>
      </p:sp>
    </p:spTree>
    <p:extLst>
      <p:ext uri="{BB962C8B-B14F-4D97-AF65-F5344CB8AC3E}">
        <p14:creationId xmlns:p14="http://schemas.microsoft.com/office/powerpoint/2010/main" val="3549832295"/>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9667060-E9CB-43AD-AF61-1B3850D59440}"/>
              </a:ext>
            </a:extLst>
          </p:cNvPr>
          <p:cNvSpPr>
            <a:spLocks noGrp="1"/>
          </p:cNvSpPr>
          <p:nvPr>
            <p:ph type="title"/>
          </p:nvPr>
        </p:nvSpPr>
        <p:spPr/>
        <p:txBody>
          <a:bodyPr/>
          <a:lstStyle/>
          <a:p>
            <a:r>
              <a:rPr lang="en-ZA" dirty="0"/>
              <a:t>Internal Context</a:t>
            </a:r>
            <a:endParaRPr lang="en-US" dirty="0"/>
          </a:p>
        </p:txBody>
      </p:sp>
      <p:graphicFrame>
        <p:nvGraphicFramePr>
          <p:cNvPr id="9" name="Content Placeholder 8">
            <a:extLst>
              <a:ext uri="{FF2B5EF4-FFF2-40B4-BE49-F238E27FC236}">
                <a16:creationId xmlns:a16="http://schemas.microsoft.com/office/drawing/2014/main" id="{0E920BDC-01DF-449C-850A-4D66C7EF9837}"/>
              </a:ext>
            </a:extLst>
          </p:cNvPr>
          <p:cNvGraphicFramePr>
            <a:graphicFrameLocks noGrp="1"/>
          </p:cNvGraphicFramePr>
          <p:nvPr>
            <p:ph sz="quarter" idx="4294967295"/>
            <p:extLst>
              <p:ext uri="{D42A27DB-BD31-4B8C-83A1-F6EECF244321}">
                <p14:modId xmlns:p14="http://schemas.microsoft.com/office/powerpoint/2010/main" val="3366108473"/>
              </p:ext>
            </p:extLst>
          </p:nvPr>
        </p:nvGraphicFramePr>
        <p:xfrm>
          <a:off x="384048" y="1371600"/>
          <a:ext cx="11430000" cy="4691062"/>
        </p:xfrm>
        <a:graphic>
          <a:graphicData uri="http://schemas.openxmlformats.org/drawingml/2006/table">
            <a:tbl>
              <a:tblPr firstRow="1" bandRow="1">
                <a:tableStyleId>{5C22544A-7EE6-4342-B048-85BDC9FD1C3A}</a:tableStyleId>
              </a:tblPr>
              <a:tblGrid>
                <a:gridCol w="5715000">
                  <a:extLst>
                    <a:ext uri="{9D8B030D-6E8A-4147-A177-3AD203B41FA5}">
                      <a16:colId xmlns:a16="http://schemas.microsoft.com/office/drawing/2014/main" val="20000"/>
                    </a:ext>
                  </a:extLst>
                </a:gridCol>
                <a:gridCol w="5715000">
                  <a:extLst>
                    <a:ext uri="{9D8B030D-6E8A-4147-A177-3AD203B41FA5}">
                      <a16:colId xmlns:a16="http://schemas.microsoft.com/office/drawing/2014/main" val="20002"/>
                    </a:ext>
                  </a:extLst>
                </a:gridCol>
              </a:tblGrid>
              <a:tr h="348708">
                <a:tc>
                  <a:txBody>
                    <a:bodyPr/>
                    <a:lstStyle/>
                    <a:p>
                      <a:pPr algn="ctr">
                        <a:lnSpc>
                          <a:spcPct val="85000"/>
                        </a:lnSpc>
                      </a:pPr>
                      <a:r>
                        <a:rPr lang="en-US" sz="1400" cap="none" baseline="0" dirty="0">
                          <a:solidFill>
                            <a:schemeClr val="bg1"/>
                          </a:solidFill>
                          <a:latin typeface="+mj-lt"/>
                        </a:rPr>
                        <a:t>Business model context</a:t>
                      </a:r>
                    </a:p>
                  </a:txBody>
                  <a:tcPr marL="180000" marR="180000" marT="72000">
                    <a:lnL w="12700" cmpd="sng">
                      <a:noFill/>
                    </a:lnL>
                    <a:lnR w="12700" cap="flat" cmpd="sng" algn="ctr">
                      <a:noFill/>
                      <a:prstDash val="dot"/>
                      <a:round/>
                      <a:headEnd type="none" w="med" len="med"/>
                      <a:tailEnd type="none" w="med" len="med"/>
                    </a:lnR>
                    <a:lnT w="12700" cmpd="sng">
                      <a:noFill/>
                    </a:lnT>
                    <a:lnB w="6350" cap="flat" cmpd="sng" algn="ctr">
                      <a:noFill/>
                      <a:prstDash val="dash"/>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ct val="85000"/>
                        </a:lnSpc>
                      </a:pPr>
                      <a:r>
                        <a:rPr lang="en-US" sz="1400" cap="none" baseline="0" dirty="0">
                          <a:solidFill>
                            <a:schemeClr val="bg1"/>
                          </a:solidFill>
                          <a:latin typeface="+mj-lt"/>
                        </a:rPr>
                        <a:t>Operating model context</a:t>
                      </a:r>
                    </a:p>
                  </a:txBody>
                  <a:tcPr marL="180000" marR="180000" marT="72000">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mpd="sng">
                      <a:noFill/>
                    </a:lnT>
                    <a:lnB w="6350" cap="flat" cmpd="sng" algn="ctr">
                      <a:noFill/>
                      <a:prstDash val="dash"/>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342354">
                <a:tc>
                  <a:txBody>
                    <a:bodyPr/>
                    <a:lstStyle/>
                    <a:p>
                      <a:pPr marL="176213" marR="0" lvl="0" indent="-176213" algn="l" defTabSz="914400" rtl="0" eaLnBrk="1" fontAlgn="base" latinLnBrk="0" hangingPunct="1">
                        <a:lnSpc>
                          <a:spcPct val="100000"/>
                        </a:lnSpc>
                        <a:spcBef>
                          <a:spcPct val="20000"/>
                        </a:spcBef>
                        <a:spcAft>
                          <a:spcPct val="0"/>
                        </a:spcAft>
                        <a:buClr>
                          <a:schemeClr val="tx1"/>
                        </a:buClr>
                        <a:buSzTx/>
                        <a:buFontTx/>
                        <a:buChar char="•"/>
                        <a:tabLst/>
                        <a:defRPr/>
                      </a:pPr>
                      <a:r>
                        <a:rPr kumimoji="0" lang="en-US" sz="1400" b="0" i="0" u="none" strike="noStrike" kern="0" cap="none" spc="0" normalizeH="0" baseline="0" noProof="0" dirty="0">
                          <a:ln>
                            <a:noFill/>
                          </a:ln>
                          <a:solidFill>
                            <a:schemeClr val="tx1"/>
                          </a:solidFill>
                          <a:effectLst/>
                          <a:uLnTx/>
                          <a:uFillTx/>
                          <a:latin typeface="+mn-lt"/>
                          <a:ea typeface="+mn-ea"/>
                          <a:cs typeface="+mn-cs"/>
                        </a:rPr>
                        <a:t>Body copy</a:t>
                      </a:r>
                    </a:p>
                  </a:txBody>
                  <a:tcPr marL="180000" marR="180000">
                    <a:lnL w="12700" cmpd="sng">
                      <a:noFill/>
                    </a:lnL>
                    <a:lnR w="12700" cap="flat" cmpd="sng" algn="ctr">
                      <a:solidFill>
                        <a:schemeClr val="tx2">
                          <a:lumMod val="60000"/>
                          <a:lumOff val="40000"/>
                        </a:schemeClr>
                      </a:solid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6213" marR="0" lvl="0" indent="-176213" algn="l" defTabSz="914400" rtl="0" eaLnBrk="1" fontAlgn="base" latinLnBrk="0" hangingPunct="1">
                        <a:lnSpc>
                          <a:spcPct val="100000"/>
                        </a:lnSpc>
                        <a:spcBef>
                          <a:spcPct val="20000"/>
                        </a:spcBef>
                        <a:spcAft>
                          <a:spcPct val="0"/>
                        </a:spcAft>
                        <a:buClr>
                          <a:schemeClr val="tx1"/>
                        </a:buClr>
                        <a:buSzTx/>
                        <a:buFontTx/>
                        <a:buChar char="•"/>
                        <a:tabLst/>
                        <a:defRPr/>
                      </a:pPr>
                      <a:r>
                        <a:rPr kumimoji="0" lang="en-US" sz="1400" b="0" i="0" u="none" strike="noStrike" kern="0" cap="none" spc="0" normalizeH="0" baseline="0" noProof="0" dirty="0">
                          <a:ln>
                            <a:noFill/>
                          </a:ln>
                          <a:solidFill>
                            <a:schemeClr val="tx1"/>
                          </a:solidFill>
                          <a:effectLst/>
                          <a:uLnTx/>
                          <a:uFillTx/>
                          <a:latin typeface="+mn-lt"/>
                          <a:ea typeface="+mn-ea"/>
                          <a:cs typeface="+mn-cs"/>
                        </a:rPr>
                        <a:t>Body copy</a:t>
                      </a:r>
                    </a:p>
                  </a:txBody>
                  <a:tcPr marL="180000" marR="180000">
                    <a:lnL w="12700" cap="flat" cmpd="sng" algn="ctr">
                      <a:solidFill>
                        <a:schemeClr val="tx2">
                          <a:lumMod val="60000"/>
                          <a:lumOff val="4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3" name="Footer Placeholder 2">
            <a:extLst>
              <a:ext uri="{FF2B5EF4-FFF2-40B4-BE49-F238E27FC236}">
                <a16:creationId xmlns:a16="http://schemas.microsoft.com/office/drawing/2014/main" id="{E6DDC99C-9DA5-4165-AF41-6C39D48AEF0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9C154BA1-5E4E-4D90-B078-92EC46391592}"/>
              </a:ext>
            </a:extLst>
          </p:cNvPr>
          <p:cNvSpPr>
            <a:spLocks noGrp="1"/>
          </p:cNvSpPr>
          <p:nvPr>
            <p:ph type="sldNum" sz="quarter" idx="10"/>
          </p:nvPr>
        </p:nvSpPr>
        <p:spPr/>
        <p:txBody>
          <a:bodyPr/>
          <a:lstStyle/>
          <a:p>
            <a:fld id="{1F90F471-3972-4120-B8B3-0237DE626C35}" type="slidenum">
              <a:rPr lang="en-US" smtClean="0"/>
              <a:pPr/>
              <a:t>229</a:t>
            </a:fld>
            <a:endParaRPr lang="en-US" dirty="0"/>
          </a:p>
        </p:txBody>
      </p:sp>
    </p:spTree>
    <p:extLst>
      <p:ext uri="{BB962C8B-B14F-4D97-AF65-F5344CB8AC3E}">
        <p14:creationId xmlns:p14="http://schemas.microsoft.com/office/powerpoint/2010/main" val="29240180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5DF22D-D813-4F90-A078-28ADEC082D3D}"/>
              </a:ext>
            </a:extLst>
          </p:cNvPr>
          <p:cNvSpPr>
            <a:spLocks noGrp="1"/>
          </p:cNvSpPr>
          <p:nvPr>
            <p:ph type="ctrTitle"/>
          </p:nvPr>
        </p:nvSpPr>
        <p:spPr/>
        <p:txBody>
          <a:bodyPr/>
          <a:lstStyle/>
          <a:p>
            <a:r>
              <a:rPr lang="en-US" dirty="0"/>
              <a:t>Presentation title 60pt, long title 48pt, max 3 lines</a:t>
            </a:r>
          </a:p>
        </p:txBody>
      </p:sp>
      <p:sp>
        <p:nvSpPr>
          <p:cNvPr id="3" name="Subtitle 2">
            <a:extLst>
              <a:ext uri="{FF2B5EF4-FFF2-40B4-BE49-F238E27FC236}">
                <a16:creationId xmlns:a16="http://schemas.microsoft.com/office/drawing/2014/main" id="{660DC617-DD72-4AF7-9C3D-E286D99E54CC}"/>
              </a:ext>
            </a:extLst>
          </p:cNvPr>
          <p:cNvSpPr>
            <a:spLocks noGrp="1"/>
          </p:cNvSpPr>
          <p:nvPr>
            <p:ph type="subTitle" idx="1"/>
          </p:nvPr>
        </p:nvSpPr>
        <p:spPr/>
        <p:txBody>
          <a:bodyPr/>
          <a:lstStyle/>
          <a:p>
            <a:r>
              <a:rPr lang="en-GB" dirty="0"/>
              <a:t>Place subtitle here in GT Sectra Fine </a:t>
            </a:r>
            <a:r>
              <a:rPr lang="en-GB" dirty="0" err="1"/>
              <a:t>Rg</a:t>
            </a:r>
            <a:r>
              <a:rPr lang="en-GB" dirty="0"/>
              <a:t> 24pt</a:t>
            </a:r>
            <a:endParaRPr lang="en-US" dirty="0"/>
          </a:p>
        </p:txBody>
      </p:sp>
      <p:sp>
        <p:nvSpPr>
          <p:cNvPr id="4" name="Text Placeholder 3">
            <a:extLst>
              <a:ext uri="{FF2B5EF4-FFF2-40B4-BE49-F238E27FC236}">
                <a16:creationId xmlns:a16="http://schemas.microsoft.com/office/drawing/2014/main" id="{AB99E921-D9BE-41F0-BFDA-C8DB92FF9684}"/>
              </a:ext>
            </a:extLst>
          </p:cNvPr>
          <p:cNvSpPr>
            <a:spLocks noGrp="1"/>
          </p:cNvSpPr>
          <p:nvPr>
            <p:ph type="body" sz="quarter" idx="12"/>
          </p:nvPr>
        </p:nvSpPr>
        <p:spPr/>
        <p:txBody>
          <a:bodyPr/>
          <a:lstStyle/>
          <a:p>
            <a:r>
              <a:rPr lang="en-US" dirty="0"/>
              <a:t>Presenter 14pt</a:t>
            </a:r>
          </a:p>
        </p:txBody>
      </p:sp>
    </p:spTree>
    <p:extLst>
      <p:ext uri="{BB962C8B-B14F-4D97-AF65-F5344CB8AC3E}">
        <p14:creationId xmlns:p14="http://schemas.microsoft.com/office/powerpoint/2010/main" val="2596209378"/>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AB01265-3C3C-4C1C-96F3-DE340DF20F43}"/>
              </a:ext>
            </a:extLst>
          </p:cNvPr>
          <p:cNvSpPr>
            <a:spLocks noGrp="1"/>
          </p:cNvSpPr>
          <p:nvPr>
            <p:ph type="title"/>
          </p:nvPr>
        </p:nvSpPr>
        <p:spPr/>
        <p:txBody>
          <a:bodyPr/>
          <a:lstStyle/>
          <a:p>
            <a:r>
              <a:rPr lang="en-ZA" dirty="0"/>
              <a:t>Outcomes</a:t>
            </a:r>
            <a:endParaRPr lang="en-US" dirty="0"/>
          </a:p>
        </p:txBody>
      </p:sp>
      <p:graphicFrame>
        <p:nvGraphicFramePr>
          <p:cNvPr id="7" name="Content Placeholder 6">
            <a:extLst>
              <a:ext uri="{FF2B5EF4-FFF2-40B4-BE49-F238E27FC236}">
                <a16:creationId xmlns:a16="http://schemas.microsoft.com/office/drawing/2014/main" id="{16181F35-B447-4E2A-8A77-CC16D63E722B}"/>
              </a:ext>
            </a:extLst>
          </p:cNvPr>
          <p:cNvGraphicFramePr>
            <a:graphicFrameLocks noGrp="1"/>
          </p:cNvGraphicFramePr>
          <p:nvPr>
            <p:ph sz="quarter" idx="4294967295"/>
            <p:extLst>
              <p:ext uri="{D42A27DB-BD31-4B8C-83A1-F6EECF244321}">
                <p14:modId xmlns:p14="http://schemas.microsoft.com/office/powerpoint/2010/main" val="3414665853"/>
              </p:ext>
            </p:extLst>
          </p:nvPr>
        </p:nvGraphicFramePr>
        <p:xfrm>
          <a:off x="384048" y="1909763"/>
          <a:ext cx="11430000" cy="4315108"/>
        </p:xfrm>
        <a:graphic>
          <a:graphicData uri="http://schemas.openxmlformats.org/drawingml/2006/table">
            <a:tbl>
              <a:tblPr firstRow="1" bandRow="1">
                <a:tableStyleId>{5C22544A-7EE6-4342-B048-85BDC9FD1C3A}</a:tableStyleId>
              </a:tblPr>
              <a:tblGrid>
                <a:gridCol w="3810000">
                  <a:extLst>
                    <a:ext uri="{9D8B030D-6E8A-4147-A177-3AD203B41FA5}">
                      <a16:colId xmlns:a16="http://schemas.microsoft.com/office/drawing/2014/main" val="20000"/>
                    </a:ext>
                  </a:extLst>
                </a:gridCol>
                <a:gridCol w="3810000">
                  <a:extLst>
                    <a:ext uri="{9D8B030D-6E8A-4147-A177-3AD203B41FA5}">
                      <a16:colId xmlns:a16="http://schemas.microsoft.com/office/drawing/2014/main" val="20001"/>
                    </a:ext>
                  </a:extLst>
                </a:gridCol>
                <a:gridCol w="3810000">
                  <a:extLst>
                    <a:ext uri="{9D8B030D-6E8A-4147-A177-3AD203B41FA5}">
                      <a16:colId xmlns:a16="http://schemas.microsoft.com/office/drawing/2014/main" val="20002"/>
                    </a:ext>
                  </a:extLst>
                </a:gridCol>
              </a:tblGrid>
              <a:tr h="465347">
                <a:tc>
                  <a:txBody>
                    <a:bodyPr/>
                    <a:lstStyle/>
                    <a:p>
                      <a:pPr marL="0" algn="ctr" defTabSz="1734634" rtl="0" eaLnBrk="1" latinLnBrk="0" hangingPunct="1">
                        <a:lnSpc>
                          <a:spcPct val="85000"/>
                        </a:lnSpc>
                        <a:spcBef>
                          <a:spcPts val="0"/>
                        </a:spcBef>
                        <a:buNone/>
                      </a:pPr>
                      <a:r>
                        <a:rPr lang="en-US" sz="1400" b="1" kern="1200" cap="none" baseline="0" dirty="0">
                          <a:solidFill>
                            <a:schemeClr val="bg1"/>
                          </a:solidFill>
                          <a:latin typeface="+mj-lt"/>
                          <a:ea typeface="+mn-ea"/>
                          <a:cs typeface="+mn-cs"/>
                        </a:rPr>
                        <a:t>Interim outcomes</a:t>
                      </a:r>
                    </a:p>
                    <a:p>
                      <a:pPr marL="0" algn="ctr" defTabSz="1734634" rtl="0" eaLnBrk="1" latinLnBrk="0" hangingPunct="1">
                        <a:lnSpc>
                          <a:spcPct val="85000"/>
                        </a:lnSpc>
                        <a:spcBef>
                          <a:spcPts val="0"/>
                        </a:spcBef>
                        <a:buNone/>
                      </a:pPr>
                      <a:r>
                        <a:rPr lang="en-US" sz="1400" b="1" kern="1200" cap="none" baseline="0" dirty="0">
                          <a:solidFill>
                            <a:schemeClr val="bg1"/>
                          </a:solidFill>
                          <a:latin typeface="+mj-lt"/>
                          <a:ea typeface="+mn-ea"/>
                          <a:cs typeface="+mn-cs"/>
                        </a:rPr>
                        <a:t>Month/year</a:t>
                      </a:r>
                    </a:p>
                  </a:txBody>
                  <a:tcPr marL="180000" marR="180000" marT="72000">
                    <a:lnL w="12700" cmpd="sng">
                      <a:noFill/>
                    </a:lnL>
                    <a:lnR w="12700" cap="flat" cmpd="sng" algn="ctr">
                      <a:noFill/>
                      <a:prstDash val="dot"/>
                      <a:round/>
                      <a:headEnd type="none" w="med" len="med"/>
                      <a:tailEnd type="none" w="med" len="med"/>
                    </a:lnR>
                    <a:lnT w="12700" cmpd="sng">
                      <a:noFill/>
                    </a:lnT>
                    <a:lnB w="6350" cap="flat" cmpd="sng" algn="ctr">
                      <a:noFill/>
                      <a:prstDash val="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1734634" rtl="0" eaLnBrk="1" latinLnBrk="0" hangingPunct="1">
                        <a:lnSpc>
                          <a:spcPct val="85000"/>
                        </a:lnSpc>
                        <a:spcBef>
                          <a:spcPts val="0"/>
                        </a:spcBef>
                        <a:buClr>
                          <a:schemeClr val="tx1"/>
                        </a:buClr>
                        <a:buNone/>
                      </a:pPr>
                      <a:r>
                        <a:rPr lang="en-US" sz="1400" b="1" kern="1200" cap="none" baseline="0" dirty="0">
                          <a:solidFill>
                            <a:schemeClr val="bg1"/>
                          </a:solidFill>
                          <a:latin typeface="+mj-lt"/>
                          <a:ea typeface="+mn-ea"/>
                          <a:cs typeface="+mn-cs"/>
                        </a:rPr>
                        <a:t>Interim outcomes</a:t>
                      </a:r>
                    </a:p>
                    <a:p>
                      <a:pPr marL="0" lvl="0" indent="0" algn="ctr" defTabSz="1734634" rtl="0" eaLnBrk="1" latinLnBrk="0" hangingPunct="1">
                        <a:lnSpc>
                          <a:spcPct val="85000"/>
                        </a:lnSpc>
                        <a:spcBef>
                          <a:spcPts val="0"/>
                        </a:spcBef>
                        <a:buClr>
                          <a:schemeClr val="tx1"/>
                        </a:buClr>
                        <a:buNone/>
                      </a:pPr>
                      <a:r>
                        <a:rPr lang="en-US" sz="1400" b="1" kern="1200" cap="none" baseline="0" dirty="0">
                          <a:solidFill>
                            <a:schemeClr val="bg1"/>
                          </a:solidFill>
                          <a:latin typeface="+mj-lt"/>
                          <a:ea typeface="+mn-ea"/>
                          <a:cs typeface="+mn-cs"/>
                        </a:rPr>
                        <a:t>Month/year</a:t>
                      </a:r>
                    </a:p>
                  </a:txBody>
                  <a:tcPr marL="180000" marR="180000" marT="72000">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mpd="sng">
                      <a:noFill/>
                    </a:lnT>
                    <a:lnB w="6350" cap="flat" cmpd="sng" algn="ctr">
                      <a:noFill/>
                      <a:prstDash val="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lvl="0" indent="0" algn="ctr" defTabSz="1734634" rtl="0" eaLnBrk="1" latinLnBrk="0" hangingPunct="1">
                        <a:lnSpc>
                          <a:spcPct val="85000"/>
                        </a:lnSpc>
                        <a:spcBef>
                          <a:spcPts val="0"/>
                        </a:spcBef>
                        <a:buClr>
                          <a:schemeClr val="tx1"/>
                        </a:buClr>
                        <a:buNone/>
                      </a:pPr>
                      <a:r>
                        <a:rPr lang="en-US" sz="1400" b="1" kern="1200" cap="none" baseline="0" dirty="0">
                          <a:solidFill>
                            <a:schemeClr val="bg1"/>
                          </a:solidFill>
                          <a:latin typeface="+mj-lt"/>
                          <a:ea typeface="+mn-ea"/>
                          <a:cs typeface="+mn-cs"/>
                        </a:rPr>
                        <a:t>Target outcomes</a:t>
                      </a:r>
                    </a:p>
                  </a:txBody>
                  <a:tcPr marL="180000" marR="180000" marT="72000">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mpd="sng">
                      <a:noFill/>
                    </a:lnT>
                    <a:lnB w="6350" cap="flat" cmpd="sng" algn="ctr">
                      <a:noFill/>
                      <a:prstDash val="dash"/>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1278225">
                <a:tc>
                  <a:txBody>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Economic</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marL="180000" marR="180000">
                    <a:lnL w="12700" cmpd="sng">
                      <a:noFill/>
                    </a:lnL>
                    <a:lnR w="12700" cap="flat" cmpd="sng" algn="ctr">
                      <a:solidFill>
                        <a:schemeClr val="tx2">
                          <a:lumMod val="60000"/>
                          <a:lumOff val="40000"/>
                        </a:schemeClr>
                      </a:solid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Economic</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marL="180000" marR="180000">
                    <a:lnL w="12700" cap="flat" cmpd="sng" algn="ctr">
                      <a:solidFill>
                        <a:schemeClr val="tx2">
                          <a:lumMod val="60000"/>
                          <a:lumOff val="40000"/>
                        </a:schemeClr>
                      </a:solidFill>
                      <a:prstDash val="dot"/>
                      <a:round/>
                      <a:headEnd type="none" w="med" len="med"/>
                      <a:tailEnd type="none" w="med" len="med"/>
                    </a:lnL>
                    <a:lnR w="12700" cap="flat" cmpd="sng" algn="ctr">
                      <a:solidFill>
                        <a:schemeClr val="tx2">
                          <a:lumMod val="60000"/>
                          <a:lumOff val="40000"/>
                        </a:schemeClr>
                      </a:solid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Economic</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marL="180000" marR="180000">
                    <a:lnL w="12700" cap="flat" cmpd="sng" algn="ctr">
                      <a:solidFill>
                        <a:schemeClr val="tx2">
                          <a:lumMod val="60000"/>
                          <a:lumOff val="40000"/>
                        </a:schemeClr>
                      </a:solidFill>
                      <a:prstDash val="dot"/>
                      <a:round/>
                      <a:headEnd type="none" w="med" len="med"/>
                      <a:tailEnd type="none" w="med" len="med"/>
                    </a:lnL>
                    <a:lnR w="12700" cap="flat" cmpd="sng" algn="ctr">
                      <a:solidFill>
                        <a:schemeClr val="tx2">
                          <a:lumMod val="60000"/>
                          <a:lumOff val="40000"/>
                        </a:schemeClr>
                      </a:solid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278226">
                <a:tc>
                  <a:txBody>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Economic</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marL="180000" marR="180000">
                    <a:lnL w="12700" cmpd="sng">
                      <a:noFill/>
                    </a:lnL>
                    <a:lnR w="12700" cap="flat" cmpd="sng" algn="ctr">
                      <a:solidFill>
                        <a:schemeClr val="tx2">
                          <a:lumMod val="60000"/>
                          <a:lumOff val="40000"/>
                        </a:schemeClr>
                      </a:solid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Economic</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marL="180000" marR="180000">
                    <a:lnL w="12700" cap="flat" cmpd="sng" algn="ctr">
                      <a:solidFill>
                        <a:schemeClr val="tx2">
                          <a:lumMod val="60000"/>
                          <a:lumOff val="40000"/>
                        </a:schemeClr>
                      </a:solidFill>
                      <a:prstDash val="dot"/>
                      <a:round/>
                      <a:headEnd type="none" w="med" len="med"/>
                      <a:tailEnd type="none" w="med" len="med"/>
                    </a:lnL>
                    <a:lnR w="12700" cap="flat" cmpd="sng" algn="ctr">
                      <a:solidFill>
                        <a:schemeClr val="tx2">
                          <a:lumMod val="60000"/>
                          <a:lumOff val="40000"/>
                        </a:schemeClr>
                      </a:solid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Economic</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marL="180000" marR="180000">
                    <a:lnL w="12700" cap="flat" cmpd="sng" algn="ctr">
                      <a:solidFill>
                        <a:schemeClr val="tx2">
                          <a:lumMod val="60000"/>
                          <a:lumOff val="40000"/>
                        </a:schemeClr>
                      </a:solidFill>
                      <a:prstDash val="dot"/>
                      <a:round/>
                      <a:headEnd type="none" w="med" len="med"/>
                      <a:tailEnd type="none" w="med" len="med"/>
                    </a:lnL>
                    <a:lnR w="12700" cap="flat" cmpd="sng" algn="ctr">
                      <a:solidFill>
                        <a:schemeClr val="tx2">
                          <a:lumMod val="60000"/>
                          <a:lumOff val="40000"/>
                        </a:schemeClr>
                      </a:solid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41625180"/>
                  </a:ext>
                </a:extLst>
              </a:tr>
              <a:tr h="1278225">
                <a:tc>
                  <a:txBody>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Economic</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marL="180000" marR="180000">
                    <a:lnL w="12700" cmpd="sng">
                      <a:noFill/>
                    </a:lnL>
                    <a:lnR w="12700" cap="flat" cmpd="sng" algn="ctr">
                      <a:solidFill>
                        <a:schemeClr val="tx2">
                          <a:lumMod val="60000"/>
                          <a:lumOff val="40000"/>
                        </a:schemeClr>
                      </a:solid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Economic</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marL="180000" marR="180000">
                    <a:lnL w="12700" cap="flat" cmpd="sng" algn="ctr">
                      <a:solidFill>
                        <a:schemeClr val="tx2">
                          <a:lumMod val="60000"/>
                          <a:lumOff val="40000"/>
                        </a:schemeClr>
                      </a:solidFill>
                      <a:prstDash val="dot"/>
                      <a:round/>
                      <a:headEnd type="none" w="med" len="med"/>
                      <a:tailEnd type="none" w="med" len="med"/>
                    </a:lnL>
                    <a:lnR w="12700" cap="flat" cmpd="sng" algn="ctr">
                      <a:solidFill>
                        <a:schemeClr val="tx2">
                          <a:lumMod val="60000"/>
                          <a:lumOff val="40000"/>
                        </a:schemeClr>
                      </a:solid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Economic</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marL="180000" marR="180000">
                    <a:lnL w="12700" cap="flat" cmpd="sng" algn="ctr">
                      <a:solidFill>
                        <a:schemeClr val="tx2">
                          <a:lumMod val="60000"/>
                          <a:lumOff val="40000"/>
                        </a:schemeClr>
                      </a:solidFill>
                      <a:prstDash val="dot"/>
                      <a:round/>
                      <a:headEnd type="none" w="med" len="med"/>
                      <a:tailEnd type="none" w="med" len="med"/>
                    </a:lnL>
                    <a:lnR w="12700" cap="flat" cmpd="sng" algn="ctr">
                      <a:solidFill>
                        <a:schemeClr val="tx2">
                          <a:lumMod val="60000"/>
                          <a:lumOff val="40000"/>
                        </a:schemeClr>
                      </a:solid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94846431"/>
                  </a:ext>
                </a:extLst>
              </a:tr>
            </a:tbl>
          </a:graphicData>
        </a:graphic>
      </p:graphicFrame>
      <p:sp>
        <p:nvSpPr>
          <p:cNvPr id="9" name="AcnSubjectTitle_ID_260107">
            <a:extLst>
              <a:ext uri="{FF2B5EF4-FFF2-40B4-BE49-F238E27FC236}">
                <a16:creationId xmlns:a16="http://schemas.microsoft.com/office/drawing/2014/main" id="{56D3A71B-6727-46D8-83FB-2CE11939D2FF}"/>
              </a:ext>
            </a:extLst>
          </p:cNvPr>
          <p:cNvSpPr txBox="1">
            <a:spLocks noChangeArrowheads="1"/>
          </p:cNvSpPr>
          <p:nvPr>
            <p:custDataLst>
              <p:tags r:id="rId1"/>
            </p:custDataLst>
          </p:nvPr>
        </p:nvSpPr>
        <p:spPr bwMode="auto">
          <a:xfrm>
            <a:off x="381000" y="876300"/>
            <a:ext cx="8949813" cy="797311"/>
          </a:xfrm>
          <a:prstGeom prst="rect">
            <a:avLst/>
          </a:prstGeom>
          <a:noFill/>
          <a:ln w="9525" algn="ctr">
            <a:noFill/>
            <a:miter lim="800000"/>
            <a:headEnd/>
            <a:tailEnd/>
          </a:ln>
          <a:effectLst/>
        </p:spPr>
        <p:txBody>
          <a:bodyPr wrap="square" lIns="0" tIns="18000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t;Client’s&gt; business objectives in connection with the effort described in this proposal are focused around the following desired outcomes.</a:t>
            </a:r>
            <a:endParaRPr kumimoji="0" lang="en-US" altLang="ja-JP" sz="2000" b="1" i="0" u="none" strike="noStrike" kern="1200" cap="none" spc="0" normalizeH="0" baseline="0" noProof="0" dirty="0">
              <a:ln>
                <a:noFill/>
              </a:ln>
              <a:solidFill>
                <a:srgbClr val="000000"/>
              </a:solidFill>
              <a:effectLst/>
              <a:uLnTx/>
              <a:uFillTx/>
              <a:latin typeface="+mj-lt"/>
              <a:ea typeface="+mn-ea"/>
              <a:cs typeface="+mn-cs"/>
            </a:endParaRPr>
          </a:p>
        </p:txBody>
      </p:sp>
      <p:sp>
        <p:nvSpPr>
          <p:cNvPr id="5" name="Footer Placeholder 4">
            <a:extLst>
              <a:ext uri="{FF2B5EF4-FFF2-40B4-BE49-F238E27FC236}">
                <a16:creationId xmlns:a16="http://schemas.microsoft.com/office/drawing/2014/main" id="{339399EB-53C0-4B4B-B32C-62ABC7D1A0C4}"/>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EEA1591A-46E2-42BD-BE1F-F396614F6280}"/>
              </a:ext>
            </a:extLst>
          </p:cNvPr>
          <p:cNvSpPr>
            <a:spLocks noGrp="1"/>
          </p:cNvSpPr>
          <p:nvPr>
            <p:ph type="sldNum" sz="quarter" idx="10"/>
          </p:nvPr>
        </p:nvSpPr>
        <p:spPr/>
        <p:txBody>
          <a:bodyPr/>
          <a:lstStyle/>
          <a:p>
            <a:fld id="{1F90F471-3972-4120-B8B3-0237DE626C35}" type="slidenum">
              <a:rPr lang="en-US" smtClean="0"/>
              <a:pPr/>
              <a:t>230</a:t>
            </a:fld>
            <a:endParaRPr lang="en-US" dirty="0"/>
          </a:p>
        </p:txBody>
      </p:sp>
    </p:spTree>
    <p:extLst>
      <p:ext uri="{BB962C8B-B14F-4D97-AF65-F5344CB8AC3E}">
        <p14:creationId xmlns:p14="http://schemas.microsoft.com/office/powerpoint/2010/main" val="2765777347"/>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97C52682-7688-46BE-8EA7-F41470E0F088}"/>
              </a:ext>
            </a:extLst>
          </p:cNvPr>
          <p:cNvSpPr txBox="1"/>
          <p:nvPr/>
        </p:nvSpPr>
        <p:spPr bwMode="auto">
          <a:xfrm>
            <a:off x="381000" y="1"/>
            <a:ext cx="1081548" cy="257369"/>
          </a:xfrm>
          <a:prstGeom prst="rect">
            <a:avLst/>
          </a:prstGeom>
          <a:solidFill>
            <a:schemeClr val="accent2"/>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ea typeface="+mn-ea"/>
                <a:cs typeface="+mn-cs"/>
              </a:rPr>
              <a:t>Option 1</a:t>
            </a:r>
          </a:p>
        </p:txBody>
      </p:sp>
      <p:sp>
        <p:nvSpPr>
          <p:cNvPr id="6" name="Title 5">
            <a:extLst>
              <a:ext uri="{FF2B5EF4-FFF2-40B4-BE49-F238E27FC236}">
                <a16:creationId xmlns:a16="http://schemas.microsoft.com/office/drawing/2014/main" id="{FC20430A-7226-475E-B01B-DA888DDFB112}"/>
              </a:ext>
            </a:extLst>
          </p:cNvPr>
          <p:cNvSpPr>
            <a:spLocks noGrp="1"/>
          </p:cNvSpPr>
          <p:nvPr>
            <p:ph type="title"/>
          </p:nvPr>
        </p:nvSpPr>
        <p:spPr/>
        <p:txBody>
          <a:bodyPr/>
          <a:lstStyle/>
          <a:p>
            <a:r>
              <a:rPr lang="en-US" dirty="0"/>
              <a:t>Summary of your business </a:t>
            </a:r>
            <a:br>
              <a:rPr lang="en-US" dirty="0"/>
            </a:br>
            <a:r>
              <a:rPr lang="en-US" dirty="0"/>
              <a:t>issues and outcomes</a:t>
            </a:r>
          </a:p>
        </p:txBody>
      </p:sp>
      <p:sp>
        <p:nvSpPr>
          <p:cNvPr id="21" name="Rectangle 20">
            <a:extLst>
              <a:ext uri="{FF2B5EF4-FFF2-40B4-BE49-F238E27FC236}">
                <a16:creationId xmlns:a16="http://schemas.microsoft.com/office/drawing/2014/main" id="{B4D1FB25-3F16-47DA-AE26-E8818B1816CA}"/>
              </a:ext>
            </a:extLst>
          </p:cNvPr>
          <p:cNvSpPr/>
          <p:nvPr/>
        </p:nvSpPr>
        <p:spPr bwMode="auto">
          <a:xfrm>
            <a:off x="390972" y="1398643"/>
            <a:ext cx="1554480" cy="369332"/>
          </a:xfrm>
          <a:prstGeom prst="rect">
            <a:avLst/>
          </a:prstGeom>
          <a:noFill/>
        </p:spPr>
        <p:txBody>
          <a:bodyPr wrap="square" l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A100FF"/>
                </a:solidFill>
                <a:effectLst/>
                <a:uLnTx/>
                <a:uFillTx/>
                <a:latin typeface="+mj-lt"/>
                <a:ea typeface="+mn-ea"/>
                <a:cs typeface="+mn-cs"/>
              </a:rPr>
              <a:t>From issue</a:t>
            </a:r>
          </a:p>
        </p:txBody>
      </p:sp>
      <p:cxnSp>
        <p:nvCxnSpPr>
          <p:cNvPr id="23" name="Straight Connector 22">
            <a:extLst>
              <a:ext uri="{FF2B5EF4-FFF2-40B4-BE49-F238E27FC236}">
                <a16:creationId xmlns:a16="http://schemas.microsoft.com/office/drawing/2014/main" id="{A2E57708-3DE2-46DD-A120-209026029F7D}"/>
              </a:ext>
              <a:ext uri="{C183D7F6-B498-43B3-948B-1728B52AA6E4}">
                <adec:decorative xmlns:adec="http://schemas.microsoft.com/office/drawing/2017/decorative" val="1"/>
              </a:ext>
            </a:extLst>
          </p:cNvPr>
          <p:cNvCxnSpPr>
            <a:cxnSpLocks/>
          </p:cNvCxnSpPr>
          <p:nvPr/>
        </p:nvCxnSpPr>
        <p:spPr bwMode="auto">
          <a:xfrm>
            <a:off x="381000" y="1862060"/>
            <a:ext cx="11427791" cy="0"/>
          </a:xfrm>
          <a:prstGeom prst="line">
            <a:avLst/>
          </a:prstGeom>
          <a:noFill/>
          <a:ln w="38100" cap="flat" cmpd="sng" algn="ctr">
            <a:gradFill>
              <a:gsLst>
                <a:gs pos="0">
                  <a:srgbClr val="A100FF"/>
                </a:gs>
                <a:gs pos="99000">
                  <a:srgbClr val="BE82FF"/>
                </a:gs>
              </a:gsLst>
              <a:lin ang="1200000" scaled="0"/>
            </a:gradFill>
            <a:prstDash val="solid"/>
            <a:tailEnd type="triangle"/>
          </a:ln>
          <a:effectLst/>
        </p:spPr>
      </p:cxnSp>
      <p:sp>
        <p:nvSpPr>
          <p:cNvPr id="22" name="Rectangle 21">
            <a:extLst>
              <a:ext uri="{FF2B5EF4-FFF2-40B4-BE49-F238E27FC236}">
                <a16:creationId xmlns:a16="http://schemas.microsoft.com/office/drawing/2014/main" id="{685BBC33-6BCF-4690-9B1A-8C193E43E34C}"/>
              </a:ext>
            </a:extLst>
          </p:cNvPr>
          <p:cNvSpPr/>
          <p:nvPr/>
        </p:nvSpPr>
        <p:spPr bwMode="auto">
          <a:xfrm>
            <a:off x="10195826" y="1211599"/>
            <a:ext cx="1554480" cy="556371"/>
          </a:xfrm>
          <a:prstGeom prst="rect">
            <a:avLst/>
          </a:prstGeom>
          <a:noFill/>
        </p:spPr>
        <p:txBody>
          <a:bodyPr wrap="square" lIns="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BE82FF"/>
                </a:solidFill>
                <a:effectLst/>
                <a:uLnTx/>
                <a:uFillTx/>
                <a:latin typeface="+mj-lt"/>
                <a:ea typeface="+mn-ea"/>
                <a:cs typeface="+mn-cs"/>
              </a:rPr>
              <a:t>To outcome</a:t>
            </a:r>
          </a:p>
        </p:txBody>
      </p:sp>
      <p:sp>
        <p:nvSpPr>
          <p:cNvPr id="20" name="Content Placeholder 7">
            <a:extLst>
              <a:ext uri="{FF2B5EF4-FFF2-40B4-BE49-F238E27FC236}">
                <a16:creationId xmlns:a16="http://schemas.microsoft.com/office/drawing/2014/main" id="{03C115BB-F692-4873-9628-01ED8CF90742}"/>
              </a:ext>
            </a:extLst>
          </p:cNvPr>
          <p:cNvSpPr txBox="1">
            <a:spLocks/>
          </p:cNvSpPr>
          <p:nvPr/>
        </p:nvSpPr>
        <p:spPr bwMode="auto">
          <a:xfrm>
            <a:off x="381000" y="2249488"/>
            <a:ext cx="5539888" cy="3087687"/>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19" name="Content Placeholder 7">
            <a:extLst>
              <a:ext uri="{FF2B5EF4-FFF2-40B4-BE49-F238E27FC236}">
                <a16:creationId xmlns:a16="http://schemas.microsoft.com/office/drawing/2014/main" id="{5FF06301-73B8-4F14-8B50-2A91AADB1D40}"/>
              </a:ext>
            </a:extLst>
          </p:cNvPr>
          <p:cNvSpPr txBox="1">
            <a:spLocks/>
          </p:cNvSpPr>
          <p:nvPr/>
        </p:nvSpPr>
        <p:spPr bwMode="auto">
          <a:xfrm>
            <a:off x="6270477" y="2249489"/>
            <a:ext cx="5539889" cy="380841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12" name="Rectangle 11">
            <a:extLst>
              <a:ext uri="{FF2B5EF4-FFF2-40B4-BE49-F238E27FC236}">
                <a16:creationId xmlns:a16="http://schemas.microsoft.com/office/drawing/2014/main" id="{D67ACCC9-A9C1-480B-B9AD-D86F56FDD252}"/>
              </a:ext>
            </a:extLst>
          </p:cNvPr>
          <p:cNvSpPr/>
          <p:nvPr/>
        </p:nvSpPr>
        <p:spPr bwMode="auto">
          <a:xfrm>
            <a:off x="390973" y="5298472"/>
            <a:ext cx="4134452" cy="922473"/>
          </a:xfrm>
          <a:prstGeom prst="rect">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ea"/>
                <a:cs typeface="Arial" pitchFamily="34" charset="0"/>
              </a:rPr>
              <a:t>User note: choose one of the following five 3-slide design options for showing a summary of the issues and outcomes, our understanding of the critical considerations and our value proposition.</a:t>
            </a:r>
          </a:p>
        </p:txBody>
      </p:sp>
      <p:sp>
        <p:nvSpPr>
          <p:cNvPr id="3" name="Footer Placeholder 2">
            <a:extLst>
              <a:ext uri="{FF2B5EF4-FFF2-40B4-BE49-F238E27FC236}">
                <a16:creationId xmlns:a16="http://schemas.microsoft.com/office/drawing/2014/main" id="{017DA133-8F89-46A4-9B73-D4197747AFB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84A4B07C-767E-40BF-97D3-F12007550D23}"/>
              </a:ext>
            </a:extLst>
          </p:cNvPr>
          <p:cNvSpPr>
            <a:spLocks noGrp="1"/>
          </p:cNvSpPr>
          <p:nvPr>
            <p:ph type="sldNum" sz="quarter" idx="10"/>
          </p:nvPr>
        </p:nvSpPr>
        <p:spPr/>
        <p:txBody>
          <a:bodyPr/>
          <a:lstStyle/>
          <a:p>
            <a:fld id="{1F90F471-3972-4120-B8B3-0237DE626C35}" type="slidenum">
              <a:rPr lang="en-US" smtClean="0"/>
              <a:pPr/>
              <a:t>231</a:t>
            </a:fld>
            <a:endParaRPr lang="en-US" dirty="0"/>
          </a:p>
        </p:txBody>
      </p:sp>
    </p:spTree>
    <p:extLst>
      <p:ext uri="{BB962C8B-B14F-4D97-AF65-F5344CB8AC3E}">
        <p14:creationId xmlns:p14="http://schemas.microsoft.com/office/powerpoint/2010/main" val="3500904759"/>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2F3E49C3-36D6-416F-B152-E40CB45C8B7C}"/>
              </a:ext>
            </a:extLst>
          </p:cNvPr>
          <p:cNvSpPr txBox="1"/>
          <p:nvPr/>
        </p:nvSpPr>
        <p:spPr bwMode="auto">
          <a:xfrm>
            <a:off x="381000" y="1"/>
            <a:ext cx="1081548" cy="257369"/>
          </a:xfrm>
          <a:prstGeom prst="rect">
            <a:avLst/>
          </a:prstGeom>
          <a:solidFill>
            <a:schemeClr val="accent2"/>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ea typeface="+mn-ea"/>
                <a:cs typeface="+mn-cs"/>
              </a:rPr>
              <a:t>Option 1</a:t>
            </a:r>
          </a:p>
        </p:txBody>
      </p:sp>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ZA" dirty="0"/>
              <a:t>Our understanding of the </a:t>
            </a:r>
            <a:br>
              <a:rPr lang="en-ZA" dirty="0"/>
            </a:br>
            <a:r>
              <a:rPr lang="en-ZA" dirty="0"/>
              <a:t>critical considerations</a:t>
            </a:r>
            <a:endParaRPr lang="en-US" dirty="0"/>
          </a:p>
        </p:txBody>
      </p:sp>
      <p:graphicFrame>
        <p:nvGraphicFramePr>
          <p:cNvPr id="14" name="Table 13" descr="Insert a description here">
            <a:extLst>
              <a:ext uri="{FF2B5EF4-FFF2-40B4-BE49-F238E27FC236}">
                <a16:creationId xmlns:a16="http://schemas.microsoft.com/office/drawing/2014/main" id="{8494881B-5E5B-406C-A93D-E057DC0E51CD}"/>
              </a:ext>
            </a:extLst>
          </p:cNvPr>
          <p:cNvGraphicFramePr>
            <a:graphicFrameLocks noGrp="1"/>
          </p:cNvGraphicFramePr>
          <p:nvPr>
            <p:extLst>
              <p:ext uri="{D42A27DB-BD31-4B8C-83A1-F6EECF244321}">
                <p14:modId xmlns:p14="http://schemas.microsoft.com/office/powerpoint/2010/main" val="3639891113"/>
              </p:ext>
            </p:extLst>
          </p:nvPr>
        </p:nvGraphicFramePr>
        <p:xfrm>
          <a:off x="380364" y="1669468"/>
          <a:ext cx="11430000" cy="660432"/>
        </p:xfrm>
        <a:graphic>
          <a:graphicData uri="http://schemas.openxmlformats.org/drawingml/2006/table">
            <a:tbl>
              <a:tblPr firstRow="1" bandRow="1"/>
              <a:tblGrid>
                <a:gridCol w="1905000">
                  <a:extLst>
                    <a:ext uri="{9D8B030D-6E8A-4147-A177-3AD203B41FA5}">
                      <a16:colId xmlns:a16="http://schemas.microsoft.com/office/drawing/2014/main" val="2946451248"/>
                    </a:ext>
                  </a:extLst>
                </a:gridCol>
                <a:gridCol w="1905000">
                  <a:extLst>
                    <a:ext uri="{9D8B030D-6E8A-4147-A177-3AD203B41FA5}">
                      <a16:colId xmlns:a16="http://schemas.microsoft.com/office/drawing/2014/main" val="3800481965"/>
                    </a:ext>
                  </a:extLst>
                </a:gridCol>
                <a:gridCol w="1905000">
                  <a:extLst>
                    <a:ext uri="{9D8B030D-6E8A-4147-A177-3AD203B41FA5}">
                      <a16:colId xmlns:a16="http://schemas.microsoft.com/office/drawing/2014/main" val="2148660868"/>
                    </a:ext>
                  </a:extLst>
                </a:gridCol>
                <a:gridCol w="1905000">
                  <a:extLst>
                    <a:ext uri="{9D8B030D-6E8A-4147-A177-3AD203B41FA5}">
                      <a16:colId xmlns:a16="http://schemas.microsoft.com/office/drawing/2014/main" val="1102821067"/>
                    </a:ext>
                  </a:extLst>
                </a:gridCol>
                <a:gridCol w="1905000">
                  <a:extLst>
                    <a:ext uri="{9D8B030D-6E8A-4147-A177-3AD203B41FA5}">
                      <a16:colId xmlns:a16="http://schemas.microsoft.com/office/drawing/2014/main" val="1561285184"/>
                    </a:ext>
                  </a:extLst>
                </a:gridCol>
                <a:gridCol w="1905000">
                  <a:extLst>
                    <a:ext uri="{9D8B030D-6E8A-4147-A177-3AD203B41FA5}">
                      <a16:colId xmlns:a16="http://schemas.microsoft.com/office/drawing/2014/main" val="2585088318"/>
                    </a:ext>
                  </a:extLst>
                </a:gridCol>
              </a:tblGrid>
              <a:tr h="438714">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l" defTabSz="1734634" rtl="0" eaLnBrk="1" fontAlgn="auto" latinLnBrk="0" hangingPunct="1">
                        <a:lnSpc>
                          <a:spcPct val="85000"/>
                        </a:lnSpc>
                        <a:spcBef>
                          <a:spcPts val="0"/>
                        </a:spcBef>
                        <a:spcAft>
                          <a:spcPts val="0"/>
                        </a:spcAft>
                        <a:buClrTx/>
                        <a:buSzTx/>
                        <a:buFontTx/>
                        <a:buNone/>
                        <a:tabLst/>
                        <a:defRPr/>
                      </a:pPr>
                      <a:r>
                        <a:rPr lang="en-US" sz="1400" b="1" cap="none" baseline="0" dirty="0">
                          <a:solidFill>
                            <a:schemeClr val="tx2"/>
                          </a:solidFill>
                          <a:latin typeface="+mj-lt"/>
                        </a:rPr>
                        <a:t>From issue</a:t>
                      </a:r>
                    </a:p>
                  </a:txBody>
                  <a:tcPr marL="0" marR="90000" marB="252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l" defTabSz="1734634" rtl="0" eaLnBrk="1" fontAlgn="auto" latinLnBrk="0" hangingPunct="1">
                        <a:lnSpc>
                          <a:spcPct val="85000"/>
                        </a:lnSpc>
                        <a:spcBef>
                          <a:spcPts val="0"/>
                        </a:spcBef>
                        <a:spcAft>
                          <a:spcPts val="0"/>
                        </a:spcAft>
                        <a:buClrTx/>
                        <a:buSzTx/>
                        <a:buFontTx/>
                        <a:buNone/>
                        <a:tabLst/>
                        <a:defRPr/>
                      </a:pPr>
                      <a:r>
                        <a:rPr lang="en-US" sz="1400" b="1" cap="none" baseline="0" dirty="0">
                          <a:solidFill>
                            <a:schemeClr val="accent1"/>
                          </a:solidFill>
                          <a:latin typeface="+mj-lt"/>
                        </a:rPr>
                        <a:t>Pace</a:t>
                      </a:r>
                    </a:p>
                  </a:txBody>
                  <a:tcPr marR="90000" marB="252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l" defTabSz="1734634" rtl="0" eaLnBrk="1" fontAlgn="auto" latinLnBrk="0" hangingPunct="1">
                        <a:lnSpc>
                          <a:spcPct val="85000"/>
                        </a:lnSpc>
                        <a:spcBef>
                          <a:spcPts val="0"/>
                        </a:spcBef>
                        <a:spcAft>
                          <a:spcPts val="0"/>
                        </a:spcAft>
                        <a:buClrTx/>
                        <a:buSzTx/>
                        <a:buFontTx/>
                        <a:buNone/>
                        <a:tabLst/>
                        <a:defRPr/>
                      </a:pPr>
                      <a:r>
                        <a:rPr lang="en-US" sz="1400" b="1" cap="none" baseline="0" dirty="0">
                          <a:solidFill>
                            <a:schemeClr val="accent1"/>
                          </a:solidFill>
                          <a:latin typeface="+mj-lt"/>
                        </a:rPr>
                        <a:t>Certainty</a:t>
                      </a:r>
                    </a:p>
                  </a:txBody>
                  <a:tcPr marR="90000" marB="252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nSpc>
                          <a:spcPct val="85000"/>
                        </a:lnSpc>
                        <a:defRPr/>
                      </a:pPr>
                      <a:r>
                        <a:rPr lang="en-US" sz="1400" b="1" cap="none" baseline="0" dirty="0">
                          <a:solidFill>
                            <a:schemeClr val="accent1"/>
                          </a:solidFill>
                          <a:latin typeface="+mj-lt"/>
                        </a:rPr>
                        <a:t>Strategic agility</a:t>
                      </a:r>
                    </a:p>
                  </a:txBody>
                  <a:tcPr marR="90000" marB="252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nSpc>
                          <a:spcPct val="85000"/>
                        </a:lnSpc>
                        <a:defRPr/>
                      </a:pPr>
                      <a:r>
                        <a:rPr lang="en-US" sz="1400" b="1" cap="none" baseline="0" dirty="0">
                          <a:solidFill>
                            <a:schemeClr val="accent1"/>
                          </a:solidFill>
                          <a:latin typeface="+mj-lt"/>
                        </a:rPr>
                        <a:t>Other        </a:t>
                      </a:r>
                    </a:p>
                    <a:p>
                      <a:pPr>
                        <a:lnSpc>
                          <a:spcPct val="85000"/>
                        </a:lnSpc>
                        <a:defRPr/>
                      </a:pPr>
                      <a:r>
                        <a:rPr lang="en-US" sz="1400" b="1" cap="none" baseline="0" dirty="0">
                          <a:solidFill>
                            <a:schemeClr val="accent1"/>
                          </a:solidFill>
                          <a:latin typeface="+mj-lt"/>
                        </a:rPr>
                        <a:t>(if applicable)</a:t>
                      </a:r>
                    </a:p>
                  </a:txBody>
                  <a:tcPr marR="90000" marB="252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r" defTabSz="1734634" rtl="0" eaLnBrk="1" fontAlgn="auto" latinLnBrk="0" hangingPunct="1">
                        <a:lnSpc>
                          <a:spcPct val="85000"/>
                        </a:lnSpc>
                        <a:spcBef>
                          <a:spcPts val="0"/>
                        </a:spcBef>
                        <a:spcAft>
                          <a:spcPts val="0"/>
                        </a:spcAft>
                        <a:buClrTx/>
                        <a:buSzTx/>
                        <a:buFontTx/>
                        <a:buNone/>
                        <a:tabLst/>
                        <a:defRPr/>
                      </a:pPr>
                      <a:r>
                        <a:rPr lang="en-US" sz="1400" b="1" cap="none" baseline="0" dirty="0">
                          <a:solidFill>
                            <a:schemeClr val="tx2"/>
                          </a:solidFill>
                          <a:latin typeface="+mj-lt"/>
                        </a:rPr>
                        <a:t>To outcome</a:t>
                      </a:r>
                    </a:p>
                  </a:txBody>
                  <a:tcPr marR="90000" marB="252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24032906"/>
                  </a:ext>
                </a:extLst>
              </a:tr>
            </a:tbl>
          </a:graphicData>
        </a:graphic>
      </p:graphicFrame>
      <p:cxnSp>
        <p:nvCxnSpPr>
          <p:cNvPr id="16" name="Straight Connector 15">
            <a:extLst>
              <a:ext uri="{FF2B5EF4-FFF2-40B4-BE49-F238E27FC236}">
                <a16:creationId xmlns:a16="http://schemas.microsoft.com/office/drawing/2014/main" id="{4FBEDEF3-7005-4160-BA5E-331A8E0B200B}"/>
              </a:ext>
              <a:ext uri="{C183D7F6-B498-43B3-948B-1728B52AA6E4}">
                <adec:decorative xmlns:adec="http://schemas.microsoft.com/office/drawing/2017/decorative" val="1"/>
              </a:ext>
            </a:extLst>
          </p:cNvPr>
          <p:cNvCxnSpPr>
            <a:cxnSpLocks/>
          </p:cNvCxnSpPr>
          <p:nvPr/>
        </p:nvCxnSpPr>
        <p:spPr bwMode="auto">
          <a:xfrm>
            <a:off x="370336" y="2166860"/>
            <a:ext cx="11438408" cy="0"/>
          </a:xfrm>
          <a:prstGeom prst="line">
            <a:avLst/>
          </a:prstGeom>
          <a:noFill/>
          <a:ln w="38100" cap="flat" cmpd="sng" algn="ctr">
            <a:gradFill>
              <a:gsLst>
                <a:gs pos="0">
                  <a:srgbClr val="A100FF"/>
                </a:gs>
                <a:gs pos="99000">
                  <a:srgbClr val="BE82FF"/>
                </a:gs>
              </a:gsLst>
              <a:lin ang="1200000" scaled="0"/>
            </a:gradFill>
            <a:prstDash val="solid"/>
            <a:tailEnd type="triangle"/>
          </a:ln>
          <a:effectLst/>
        </p:spPr>
      </p:cxnSp>
      <p:graphicFrame>
        <p:nvGraphicFramePr>
          <p:cNvPr id="15" name="Table 14" descr="insert a description here">
            <a:extLst>
              <a:ext uri="{FF2B5EF4-FFF2-40B4-BE49-F238E27FC236}">
                <a16:creationId xmlns:a16="http://schemas.microsoft.com/office/drawing/2014/main" id="{75F2DABE-923D-40BC-B84D-30D3E3A559E4}"/>
              </a:ext>
            </a:extLst>
          </p:cNvPr>
          <p:cNvGraphicFramePr>
            <a:graphicFrameLocks noGrp="1"/>
          </p:cNvGraphicFramePr>
          <p:nvPr>
            <p:extLst>
              <p:ext uri="{D42A27DB-BD31-4B8C-83A1-F6EECF244321}">
                <p14:modId xmlns:p14="http://schemas.microsoft.com/office/powerpoint/2010/main" val="2131641363"/>
              </p:ext>
            </p:extLst>
          </p:nvPr>
        </p:nvGraphicFramePr>
        <p:xfrm>
          <a:off x="380364" y="2492939"/>
          <a:ext cx="11430000" cy="3166824"/>
        </p:xfrm>
        <a:graphic>
          <a:graphicData uri="http://schemas.openxmlformats.org/drawingml/2006/table">
            <a:tbl>
              <a:tblPr firstRow="1" bandRow="1"/>
              <a:tblGrid>
                <a:gridCol w="1905000">
                  <a:extLst>
                    <a:ext uri="{9D8B030D-6E8A-4147-A177-3AD203B41FA5}">
                      <a16:colId xmlns:a16="http://schemas.microsoft.com/office/drawing/2014/main" val="2946451248"/>
                    </a:ext>
                  </a:extLst>
                </a:gridCol>
                <a:gridCol w="1905000">
                  <a:extLst>
                    <a:ext uri="{9D8B030D-6E8A-4147-A177-3AD203B41FA5}">
                      <a16:colId xmlns:a16="http://schemas.microsoft.com/office/drawing/2014/main" val="3800481965"/>
                    </a:ext>
                  </a:extLst>
                </a:gridCol>
                <a:gridCol w="1905000">
                  <a:extLst>
                    <a:ext uri="{9D8B030D-6E8A-4147-A177-3AD203B41FA5}">
                      <a16:colId xmlns:a16="http://schemas.microsoft.com/office/drawing/2014/main" val="2148660868"/>
                    </a:ext>
                  </a:extLst>
                </a:gridCol>
                <a:gridCol w="1905000">
                  <a:extLst>
                    <a:ext uri="{9D8B030D-6E8A-4147-A177-3AD203B41FA5}">
                      <a16:colId xmlns:a16="http://schemas.microsoft.com/office/drawing/2014/main" val="1102821067"/>
                    </a:ext>
                  </a:extLst>
                </a:gridCol>
                <a:gridCol w="1905000">
                  <a:extLst>
                    <a:ext uri="{9D8B030D-6E8A-4147-A177-3AD203B41FA5}">
                      <a16:colId xmlns:a16="http://schemas.microsoft.com/office/drawing/2014/main" val="1561285184"/>
                    </a:ext>
                  </a:extLst>
                </a:gridCol>
                <a:gridCol w="1905000">
                  <a:extLst>
                    <a:ext uri="{9D8B030D-6E8A-4147-A177-3AD203B41FA5}">
                      <a16:colId xmlns:a16="http://schemas.microsoft.com/office/drawing/2014/main" val="2585088318"/>
                    </a:ext>
                  </a:extLst>
                </a:gridCol>
              </a:tblGrid>
              <a:tr h="1055608">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endParaRPr lang="en-GB" sz="1400" dirty="0">
                        <a:latin typeface="+mn-lt"/>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a:lnL w="12700" cmpd="sng">
                      <a:solidFill>
                        <a:srgbClr val="FFFFFF"/>
                      </a:solidFill>
                    </a:lnL>
                    <a:lnR w="12700" cap="flat" cmpd="sng" algn="ctr">
                      <a:solidFill>
                        <a:srgbClr val="96968C">
                          <a:lumMod val="60000"/>
                          <a:lumOff val="40000"/>
                        </a:srgbClr>
                      </a:solidFill>
                      <a:prstDash val="dot"/>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endParaRPr lang="en-GB" dirty="0">
                        <a:latin typeface="+mn-lt"/>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059020377"/>
                  </a:ext>
                </a:extLst>
              </a:tr>
              <a:tr h="105560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GB" dirty="0">
                        <a:latin typeface="+mn-lt"/>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a:lnL w="12700" cmpd="sng">
                      <a:solidFill>
                        <a:srgbClr val="FFFFFF"/>
                      </a:solidFill>
                    </a:lnL>
                    <a:lnR w="12700" cap="flat" cmpd="sng" algn="ctr">
                      <a:solidFill>
                        <a:srgbClr val="96968C">
                          <a:lumMod val="60000"/>
                          <a:lumOff val="40000"/>
                        </a:srgbClr>
                      </a:solidFill>
                      <a:prstDash val="dot"/>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GB">
                        <a:latin typeface="+mn-lt"/>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2567835490"/>
                  </a:ext>
                </a:extLst>
              </a:tr>
              <a:tr h="105560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GB" dirty="0">
                        <a:latin typeface="+mn-lt"/>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mn-lt"/>
                          <a:ea typeface="+mn-ea"/>
                          <a:cs typeface="+mn-cs"/>
                        </a:rPr>
                        <a:t>Body copy</a:t>
                      </a:r>
                      <a:endParaRPr kumimoji="0" lang="en-US" sz="1400" b="0" i="0" u="none" strike="noStrike" kern="0" cap="none" spc="0" normalizeH="0" baseline="0" noProof="0" dirty="0">
                        <a:ln>
                          <a:noFill/>
                        </a:ln>
                        <a:solidFill>
                          <a:srgbClr val="000000"/>
                        </a:solidFill>
                        <a:effectLst/>
                        <a:uLnTx/>
                        <a:uFillTx/>
                        <a:latin typeface="+mn-lt"/>
                        <a:ea typeface="+mn-ea"/>
                        <a:cs typeface="+mn-cs"/>
                      </a:endParaRPr>
                    </a:p>
                  </a:txBody>
                  <a:tcPr>
                    <a:lnL w="12700" cmpd="sng">
                      <a:solidFill>
                        <a:srgbClr val="FFFFFF"/>
                      </a:solidFill>
                    </a:lnL>
                    <a:lnR w="12700" cap="flat" cmpd="sng" algn="ctr">
                      <a:solidFill>
                        <a:srgbClr val="96968C">
                          <a:lumMod val="60000"/>
                          <a:lumOff val="40000"/>
                        </a:srgbClr>
                      </a:solidFill>
                      <a:prstDash val="dot"/>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mn-lt"/>
                          <a:ea typeface="+mn-ea"/>
                          <a:cs typeface="+mn-cs"/>
                        </a:rPr>
                        <a:t>Body copy</a:t>
                      </a:r>
                      <a:endParaRPr kumimoji="0" lang="en-US" sz="1400" b="0" i="0" u="none" strike="noStrike" kern="0" cap="none" spc="0" normalizeH="0" baseline="0" noProof="0" dirty="0">
                        <a:ln>
                          <a:noFill/>
                        </a:ln>
                        <a:solidFill>
                          <a:srgbClr val="000000"/>
                        </a:solidFill>
                        <a:effectLst/>
                        <a:uLnTx/>
                        <a:uFillTx/>
                        <a:latin typeface="+mn-lt"/>
                        <a:ea typeface="+mn-ea"/>
                        <a:cs typeface="+mn-cs"/>
                      </a:endParaRPr>
                    </a:p>
                  </a:txBody>
                  <a:tcPr>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GB" dirty="0">
                        <a:latin typeface="+mn-lt"/>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2356234930"/>
                  </a:ext>
                </a:extLst>
              </a:tr>
            </a:tbl>
          </a:graphicData>
        </a:graphic>
      </p:graphicFrame>
      <p:sp>
        <p:nvSpPr>
          <p:cNvPr id="3" name="Footer Placeholder 2">
            <a:extLst>
              <a:ext uri="{FF2B5EF4-FFF2-40B4-BE49-F238E27FC236}">
                <a16:creationId xmlns:a16="http://schemas.microsoft.com/office/drawing/2014/main" id="{39C49629-2DFC-439B-B190-8B76BF7D45DD}"/>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E7A96E90-4570-4772-B748-B58557F846A4}"/>
              </a:ext>
            </a:extLst>
          </p:cNvPr>
          <p:cNvSpPr>
            <a:spLocks noGrp="1"/>
          </p:cNvSpPr>
          <p:nvPr>
            <p:ph type="sldNum" sz="quarter" idx="10"/>
          </p:nvPr>
        </p:nvSpPr>
        <p:spPr/>
        <p:txBody>
          <a:bodyPr/>
          <a:lstStyle/>
          <a:p>
            <a:fld id="{1F90F471-3972-4120-B8B3-0237DE626C35}" type="slidenum">
              <a:rPr lang="en-US" smtClean="0"/>
              <a:pPr/>
              <a:t>232</a:t>
            </a:fld>
            <a:endParaRPr lang="en-US" dirty="0"/>
          </a:p>
        </p:txBody>
      </p:sp>
    </p:spTree>
    <p:extLst>
      <p:ext uri="{BB962C8B-B14F-4D97-AF65-F5344CB8AC3E}">
        <p14:creationId xmlns:p14="http://schemas.microsoft.com/office/powerpoint/2010/main" val="1745688244"/>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A1C4C00D-C15D-40DF-996F-78D3CD9621FB}"/>
              </a:ext>
            </a:extLst>
          </p:cNvPr>
          <p:cNvSpPr txBox="1"/>
          <p:nvPr/>
        </p:nvSpPr>
        <p:spPr bwMode="auto">
          <a:xfrm>
            <a:off x="381000" y="1"/>
            <a:ext cx="1081548" cy="257369"/>
          </a:xfrm>
          <a:prstGeom prst="rect">
            <a:avLst/>
          </a:prstGeom>
          <a:solidFill>
            <a:schemeClr val="accent2"/>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ea typeface="+mn-ea"/>
                <a:cs typeface="+mn-cs"/>
              </a:rPr>
              <a:t>Option 1</a:t>
            </a:r>
          </a:p>
        </p:txBody>
      </p:sp>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ZA" dirty="0"/>
              <a:t>Our value proposition </a:t>
            </a:r>
            <a:br>
              <a:rPr lang="en-ZA" dirty="0"/>
            </a:br>
            <a:r>
              <a:rPr lang="en-ZA" dirty="0"/>
              <a:t>for the engagement</a:t>
            </a:r>
            <a:endParaRPr lang="en-US" dirty="0"/>
          </a:p>
        </p:txBody>
      </p:sp>
      <p:graphicFrame>
        <p:nvGraphicFramePr>
          <p:cNvPr id="5" name="Table 4" descr="Insert a description here">
            <a:extLst>
              <a:ext uri="{FF2B5EF4-FFF2-40B4-BE49-F238E27FC236}">
                <a16:creationId xmlns:a16="http://schemas.microsoft.com/office/drawing/2014/main" id="{EC2E309D-F04A-40CA-8425-F82EAE7DDE2E}"/>
              </a:ext>
            </a:extLst>
          </p:cNvPr>
          <p:cNvGraphicFramePr>
            <a:graphicFrameLocks noGrp="1"/>
          </p:cNvGraphicFramePr>
          <p:nvPr>
            <p:extLst>
              <p:ext uri="{D42A27DB-BD31-4B8C-83A1-F6EECF244321}">
                <p14:modId xmlns:p14="http://schemas.microsoft.com/office/powerpoint/2010/main" val="801024340"/>
              </p:ext>
            </p:extLst>
          </p:nvPr>
        </p:nvGraphicFramePr>
        <p:xfrm>
          <a:off x="380364" y="1669468"/>
          <a:ext cx="11430000" cy="660432"/>
        </p:xfrm>
        <a:graphic>
          <a:graphicData uri="http://schemas.openxmlformats.org/drawingml/2006/table">
            <a:tbl>
              <a:tblPr firstRow="1" bandRow="1"/>
              <a:tblGrid>
                <a:gridCol w="1905000">
                  <a:extLst>
                    <a:ext uri="{9D8B030D-6E8A-4147-A177-3AD203B41FA5}">
                      <a16:colId xmlns:a16="http://schemas.microsoft.com/office/drawing/2014/main" val="2946451248"/>
                    </a:ext>
                  </a:extLst>
                </a:gridCol>
                <a:gridCol w="1905000">
                  <a:extLst>
                    <a:ext uri="{9D8B030D-6E8A-4147-A177-3AD203B41FA5}">
                      <a16:colId xmlns:a16="http://schemas.microsoft.com/office/drawing/2014/main" val="3800481965"/>
                    </a:ext>
                  </a:extLst>
                </a:gridCol>
                <a:gridCol w="1905000">
                  <a:extLst>
                    <a:ext uri="{9D8B030D-6E8A-4147-A177-3AD203B41FA5}">
                      <a16:colId xmlns:a16="http://schemas.microsoft.com/office/drawing/2014/main" val="2148660868"/>
                    </a:ext>
                  </a:extLst>
                </a:gridCol>
                <a:gridCol w="1905000">
                  <a:extLst>
                    <a:ext uri="{9D8B030D-6E8A-4147-A177-3AD203B41FA5}">
                      <a16:colId xmlns:a16="http://schemas.microsoft.com/office/drawing/2014/main" val="1102821067"/>
                    </a:ext>
                  </a:extLst>
                </a:gridCol>
                <a:gridCol w="1905000">
                  <a:extLst>
                    <a:ext uri="{9D8B030D-6E8A-4147-A177-3AD203B41FA5}">
                      <a16:colId xmlns:a16="http://schemas.microsoft.com/office/drawing/2014/main" val="1561285184"/>
                    </a:ext>
                  </a:extLst>
                </a:gridCol>
                <a:gridCol w="1905000">
                  <a:extLst>
                    <a:ext uri="{9D8B030D-6E8A-4147-A177-3AD203B41FA5}">
                      <a16:colId xmlns:a16="http://schemas.microsoft.com/office/drawing/2014/main" val="2585088318"/>
                    </a:ext>
                  </a:extLst>
                </a:gridCol>
              </a:tblGrid>
              <a:tr h="438714">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l" defTabSz="1734634" rtl="0" eaLnBrk="1" fontAlgn="auto" latinLnBrk="0" hangingPunct="1">
                        <a:lnSpc>
                          <a:spcPct val="85000"/>
                        </a:lnSpc>
                        <a:spcBef>
                          <a:spcPts val="0"/>
                        </a:spcBef>
                        <a:spcAft>
                          <a:spcPts val="0"/>
                        </a:spcAft>
                        <a:buClrTx/>
                        <a:buSzTx/>
                        <a:buFontTx/>
                        <a:buNone/>
                        <a:tabLst/>
                        <a:defRPr/>
                      </a:pPr>
                      <a:r>
                        <a:rPr lang="en-US" sz="1400" b="1" cap="none" baseline="0" dirty="0">
                          <a:solidFill>
                            <a:schemeClr val="accent1"/>
                          </a:solidFill>
                          <a:latin typeface="+mj-lt"/>
                        </a:rPr>
                        <a:t>From issue</a:t>
                      </a:r>
                    </a:p>
                  </a:txBody>
                  <a:tcPr marL="0" marR="90000" marB="252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l" defTabSz="1734634" rtl="0" eaLnBrk="1" fontAlgn="auto" latinLnBrk="0" hangingPunct="1">
                        <a:lnSpc>
                          <a:spcPct val="85000"/>
                        </a:lnSpc>
                        <a:spcBef>
                          <a:spcPts val="0"/>
                        </a:spcBef>
                        <a:spcAft>
                          <a:spcPts val="0"/>
                        </a:spcAft>
                        <a:buClrTx/>
                        <a:buSzTx/>
                        <a:buFontTx/>
                        <a:buNone/>
                        <a:tabLst/>
                        <a:defRPr/>
                      </a:pPr>
                      <a:r>
                        <a:rPr lang="en-US" sz="1400" b="1" cap="none" baseline="0" dirty="0">
                          <a:solidFill>
                            <a:schemeClr val="tx2"/>
                          </a:solidFill>
                          <a:latin typeface="+mj-lt"/>
                        </a:rPr>
                        <a:t>Pace</a:t>
                      </a:r>
                    </a:p>
                  </a:txBody>
                  <a:tcPr marR="90000" marB="252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l" defTabSz="1734634" rtl="0" eaLnBrk="1" fontAlgn="auto" latinLnBrk="0" hangingPunct="1">
                        <a:lnSpc>
                          <a:spcPct val="85000"/>
                        </a:lnSpc>
                        <a:spcBef>
                          <a:spcPts val="0"/>
                        </a:spcBef>
                        <a:spcAft>
                          <a:spcPts val="0"/>
                        </a:spcAft>
                        <a:buClrTx/>
                        <a:buSzTx/>
                        <a:buFontTx/>
                        <a:buNone/>
                        <a:tabLst/>
                        <a:defRPr/>
                      </a:pPr>
                      <a:r>
                        <a:rPr lang="en-US" sz="1400" b="1" cap="none" baseline="0" dirty="0">
                          <a:solidFill>
                            <a:schemeClr val="tx2"/>
                          </a:solidFill>
                          <a:latin typeface="+mj-lt"/>
                        </a:rPr>
                        <a:t>Certainty</a:t>
                      </a:r>
                    </a:p>
                  </a:txBody>
                  <a:tcPr marR="90000" marB="252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nSpc>
                          <a:spcPct val="85000"/>
                        </a:lnSpc>
                        <a:defRPr/>
                      </a:pPr>
                      <a:r>
                        <a:rPr lang="en-US" sz="1400" b="1" cap="none" baseline="0" dirty="0">
                          <a:solidFill>
                            <a:schemeClr val="tx2"/>
                          </a:solidFill>
                          <a:latin typeface="+mj-lt"/>
                        </a:rPr>
                        <a:t>Strategic agility</a:t>
                      </a:r>
                    </a:p>
                  </a:txBody>
                  <a:tcPr marR="90000" marB="252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nSpc>
                          <a:spcPct val="85000"/>
                        </a:lnSpc>
                        <a:defRPr/>
                      </a:pPr>
                      <a:r>
                        <a:rPr lang="en-US" sz="1400" b="1" cap="none" baseline="0" dirty="0">
                          <a:solidFill>
                            <a:schemeClr val="tx2"/>
                          </a:solidFill>
                          <a:latin typeface="+mj-lt"/>
                        </a:rPr>
                        <a:t>Other        </a:t>
                      </a:r>
                    </a:p>
                    <a:p>
                      <a:pPr>
                        <a:lnSpc>
                          <a:spcPct val="85000"/>
                        </a:lnSpc>
                        <a:defRPr/>
                      </a:pPr>
                      <a:r>
                        <a:rPr lang="en-US" sz="1400" b="1" cap="none" baseline="0" dirty="0">
                          <a:solidFill>
                            <a:schemeClr val="tx2"/>
                          </a:solidFill>
                          <a:latin typeface="+mj-lt"/>
                        </a:rPr>
                        <a:t>(if applicable)</a:t>
                      </a:r>
                    </a:p>
                  </a:txBody>
                  <a:tcPr marR="90000" marB="252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r" defTabSz="1734634" rtl="0" eaLnBrk="1" fontAlgn="auto" latinLnBrk="0" hangingPunct="1">
                        <a:lnSpc>
                          <a:spcPct val="85000"/>
                        </a:lnSpc>
                        <a:spcBef>
                          <a:spcPts val="0"/>
                        </a:spcBef>
                        <a:spcAft>
                          <a:spcPts val="0"/>
                        </a:spcAft>
                        <a:buClrTx/>
                        <a:buSzTx/>
                        <a:buFontTx/>
                        <a:buNone/>
                        <a:tabLst/>
                        <a:defRPr/>
                      </a:pPr>
                      <a:r>
                        <a:rPr lang="en-US" sz="1400" b="1" cap="none" baseline="0" dirty="0">
                          <a:solidFill>
                            <a:schemeClr val="accent5"/>
                          </a:solidFill>
                          <a:latin typeface="+mj-lt"/>
                        </a:rPr>
                        <a:t>To outcome</a:t>
                      </a:r>
                    </a:p>
                  </a:txBody>
                  <a:tcPr marR="90000" marB="252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24032906"/>
                  </a:ext>
                </a:extLst>
              </a:tr>
            </a:tbl>
          </a:graphicData>
        </a:graphic>
      </p:graphicFrame>
      <p:cxnSp>
        <p:nvCxnSpPr>
          <p:cNvPr id="8" name="Straight Connector 7">
            <a:extLst>
              <a:ext uri="{FF2B5EF4-FFF2-40B4-BE49-F238E27FC236}">
                <a16:creationId xmlns:a16="http://schemas.microsoft.com/office/drawing/2014/main" id="{A16ACAF1-2223-4A74-96EB-2DD14A2BE1F0}"/>
              </a:ext>
              <a:ext uri="{C183D7F6-B498-43B3-948B-1728B52AA6E4}">
                <adec:decorative xmlns:adec="http://schemas.microsoft.com/office/drawing/2017/decorative" val="1"/>
              </a:ext>
            </a:extLst>
          </p:cNvPr>
          <p:cNvCxnSpPr>
            <a:cxnSpLocks/>
          </p:cNvCxnSpPr>
          <p:nvPr/>
        </p:nvCxnSpPr>
        <p:spPr bwMode="auto">
          <a:xfrm>
            <a:off x="370336" y="2166860"/>
            <a:ext cx="11438407" cy="0"/>
          </a:xfrm>
          <a:prstGeom prst="line">
            <a:avLst/>
          </a:prstGeom>
          <a:noFill/>
          <a:ln w="38100" cap="flat" cmpd="sng" algn="ctr">
            <a:gradFill>
              <a:gsLst>
                <a:gs pos="0">
                  <a:srgbClr val="A100FF"/>
                </a:gs>
                <a:gs pos="99000">
                  <a:srgbClr val="BE82FF"/>
                </a:gs>
              </a:gsLst>
              <a:lin ang="1200000" scaled="0"/>
            </a:gradFill>
            <a:prstDash val="solid"/>
            <a:tailEnd type="triangle"/>
          </a:ln>
          <a:effectLst/>
        </p:spPr>
      </p:cxnSp>
      <p:graphicFrame>
        <p:nvGraphicFramePr>
          <p:cNvPr id="7" name="Table 6" descr="Insert a description here">
            <a:extLst>
              <a:ext uri="{FF2B5EF4-FFF2-40B4-BE49-F238E27FC236}">
                <a16:creationId xmlns:a16="http://schemas.microsoft.com/office/drawing/2014/main" id="{7B06045E-D5C3-4B8F-90F0-043AE6D0F8F0}"/>
              </a:ext>
            </a:extLst>
          </p:cNvPr>
          <p:cNvGraphicFramePr>
            <a:graphicFrameLocks noGrp="1"/>
          </p:cNvGraphicFramePr>
          <p:nvPr>
            <p:extLst>
              <p:ext uri="{D42A27DB-BD31-4B8C-83A1-F6EECF244321}">
                <p14:modId xmlns:p14="http://schemas.microsoft.com/office/powerpoint/2010/main" val="1761822428"/>
              </p:ext>
            </p:extLst>
          </p:nvPr>
        </p:nvGraphicFramePr>
        <p:xfrm>
          <a:off x="380364" y="2492939"/>
          <a:ext cx="11430000" cy="3166824"/>
        </p:xfrm>
        <a:graphic>
          <a:graphicData uri="http://schemas.openxmlformats.org/drawingml/2006/table">
            <a:tbl>
              <a:tblPr firstRow="1" bandRow="1"/>
              <a:tblGrid>
                <a:gridCol w="1905000">
                  <a:extLst>
                    <a:ext uri="{9D8B030D-6E8A-4147-A177-3AD203B41FA5}">
                      <a16:colId xmlns:a16="http://schemas.microsoft.com/office/drawing/2014/main" val="2946451248"/>
                    </a:ext>
                  </a:extLst>
                </a:gridCol>
                <a:gridCol w="1905000">
                  <a:extLst>
                    <a:ext uri="{9D8B030D-6E8A-4147-A177-3AD203B41FA5}">
                      <a16:colId xmlns:a16="http://schemas.microsoft.com/office/drawing/2014/main" val="3800481965"/>
                    </a:ext>
                  </a:extLst>
                </a:gridCol>
                <a:gridCol w="1905000">
                  <a:extLst>
                    <a:ext uri="{9D8B030D-6E8A-4147-A177-3AD203B41FA5}">
                      <a16:colId xmlns:a16="http://schemas.microsoft.com/office/drawing/2014/main" val="2148660868"/>
                    </a:ext>
                  </a:extLst>
                </a:gridCol>
                <a:gridCol w="1905000">
                  <a:extLst>
                    <a:ext uri="{9D8B030D-6E8A-4147-A177-3AD203B41FA5}">
                      <a16:colId xmlns:a16="http://schemas.microsoft.com/office/drawing/2014/main" val="1102821067"/>
                    </a:ext>
                  </a:extLst>
                </a:gridCol>
                <a:gridCol w="1905000">
                  <a:extLst>
                    <a:ext uri="{9D8B030D-6E8A-4147-A177-3AD203B41FA5}">
                      <a16:colId xmlns:a16="http://schemas.microsoft.com/office/drawing/2014/main" val="1561285184"/>
                    </a:ext>
                  </a:extLst>
                </a:gridCol>
                <a:gridCol w="1905000">
                  <a:extLst>
                    <a:ext uri="{9D8B030D-6E8A-4147-A177-3AD203B41FA5}">
                      <a16:colId xmlns:a16="http://schemas.microsoft.com/office/drawing/2014/main" val="2585088318"/>
                    </a:ext>
                  </a:extLst>
                </a:gridCol>
              </a:tblGrid>
              <a:tr h="1055608">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endParaRPr lang="en-GB" sz="1400" dirty="0">
                        <a:latin typeface="+mn-lt"/>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a:lnL w="12700" cmpd="sng">
                      <a:solidFill>
                        <a:srgbClr val="FFFFFF"/>
                      </a:solidFill>
                    </a:lnL>
                    <a:lnR w="12700" cap="flat" cmpd="sng" algn="ctr">
                      <a:solidFill>
                        <a:srgbClr val="96968C">
                          <a:lumMod val="60000"/>
                          <a:lumOff val="40000"/>
                        </a:srgbClr>
                      </a:solidFill>
                      <a:prstDash val="dot"/>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endParaRPr lang="en-GB" dirty="0">
                        <a:latin typeface="+mn-lt"/>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059020377"/>
                  </a:ext>
                </a:extLst>
              </a:tr>
              <a:tr h="105560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GB" dirty="0">
                        <a:latin typeface="+mn-lt"/>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a:lnL w="12700" cmpd="sng">
                      <a:solidFill>
                        <a:srgbClr val="FFFFFF"/>
                      </a:solidFill>
                    </a:lnL>
                    <a:lnR w="12700" cap="flat" cmpd="sng" algn="ctr">
                      <a:solidFill>
                        <a:srgbClr val="96968C">
                          <a:lumMod val="60000"/>
                          <a:lumOff val="40000"/>
                        </a:srgbClr>
                      </a:solidFill>
                      <a:prstDash val="dot"/>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GB" dirty="0">
                        <a:latin typeface="+mn-lt"/>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2567835490"/>
                  </a:ext>
                </a:extLst>
              </a:tr>
              <a:tr h="105560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GB" dirty="0">
                        <a:latin typeface="+mn-lt"/>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mn-lt"/>
                          <a:ea typeface="+mn-ea"/>
                          <a:cs typeface="+mn-cs"/>
                        </a:rPr>
                        <a:t>Body copy</a:t>
                      </a:r>
                      <a:endParaRPr kumimoji="0" lang="en-US" sz="1400" b="0" i="0" u="none" strike="noStrike" kern="0" cap="none" spc="0" normalizeH="0" baseline="0" noProof="0" dirty="0">
                        <a:ln>
                          <a:noFill/>
                        </a:ln>
                        <a:solidFill>
                          <a:srgbClr val="000000"/>
                        </a:solidFill>
                        <a:effectLst/>
                        <a:uLnTx/>
                        <a:uFillTx/>
                        <a:latin typeface="+mn-lt"/>
                        <a:ea typeface="+mn-ea"/>
                        <a:cs typeface="+mn-cs"/>
                      </a:endParaRPr>
                    </a:p>
                  </a:txBody>
                  <a:tcPr>
                    <a:lnL w="12700" cmpd="sng">
                      <a:solidFill>
                        <a:srgbClr val="FFFFFF"/>
                      </a:solidFill>
                    </a:lnL>
                    <a:lnR w="12700" cap="flat" cmpd="sng" algn="ctr">
                      <a:solidFill>
                        <a:srgbClr val="96968C">
                          <a:lumMod val="60000"/>
                          <a:lumOff val="40000"/>
                        </a:srgbClr>
                      </a:solidFill>
                      <a:prstDash val="dot"/>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mn-lt"/>
                          <a:ea typeface="+mn-ea"/>
                          <a:cs typeface="+mn-cs"/>
                        </a:rPr>
                        <a:t>Body copy</a:t>
                      </a:r>
                      <a:endParaRPr kumimoji="0" lang="en-US" sz="1400" b="0" i="0" u="none" strike="noStrike" kern="0" cap="none" spc="0" normalizeH="0" baseline="0" noProof="0" dirty="0">
                        <a:ln>
                          <a:noFill/>
                        </a:ln>
                        <a:solidFill>
                          <a:srgbClr val="000000"/>
                        </a:solidFill>
                        <a:effectLst/>
                        <a:uLnTx/>
                        <a:uFillTx/>
                        <a:latin typeface="+mn-lt"/>
                        <a:ea typeface="+mn-ea"/>
                        <a:cs typeface="+mn-cs"/>
                      </a:endParaRPr>
                    </a:p>
                  </a:txBody>
                  <a:tcPr>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mn-lt"/>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GB" dirty="0">
                        <a:latin typeface="+mn-lt"/>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2356234930"/>
                  </a:ext>
                </a:extLst>
              </a:tr>
            </a:tbl>
          </a:graphicData>
        </a:graphic>
      </p:graphicFrame>
      <p:sp>
        <p:nvSpPr>
          <p:cNvPr id="3" name="Footer Placeholder 2">
            <a:extLst>
              <a:ext uri="{FF2B5EF4-FFF2-40B4-BE49-F238E27FC236}">
                <a16:creationId xmlns:a16="http://schemas.microsoft.com/office/drawing/2014/main" id="{964D2DD1-63FD-4FF4-B4AB-6DA5FC249285}"/>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0" name="Slide Number Placeholder 9">
            <a:extLst>
              <a:ext uri="{FF2B5EF4-FFF2-40B4-BE49-F238E27FC236}">
                <a16:creationId xmlns:a16="http://schemas.microsoft.com/office/drawing/2014/main" id="{F645E199-5808-43B0-8800-BB1641D587F4}"/>
              </a:ext>
            </a:extLst>
          </p:cNvPr>
          <p:cNvSpPr>
            <a:spLocks noGrp="1"/>
          </p:cNvSpPr>
          <p:nvPr>
            <p:ph type="sldNum" sz="quarter" idx="10"/>
          </p:nvPr>
        </p:nvSpPr>
        <p:spPr/>
        <p:txBody>
          <a:bodyPr/>
          <a:lstStyle/>
          <a:p>
            <a:fld id="{1F90F471-3972-4120-B8B3-0237DE626C35}" type="slidenum">
              <a:rPr lang="en-US" smtClean="0"/>
              <a:pPr/>
              <a:t>233</a:t>
            </a:fld>
            <a:endParaRPr lang="en-US" dirty="0"/>
          </a:p>
        </p:txBody>
      </p:sp>
    </p:spTree>
    <p:extLst>
      <p:ext uri="{BB962C8B-B14F-4D97-AF65-F5344CB8AC3E}">
        <p14:creationId xmlns:p14="http://schemas.microsoft.com/office/powerpoint/2010/main" val="2391789386"/>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935B6A0-EDEC-4DD4-86A4-7CDA8201AC54}"/>
              </a:ext>
            </a:extLst>
          </p:cNvPr>
          <p:cNvSpPr txBox="1"/>
          <p:nvPr/>
        </p:nvSpPr>
        <p:spPr bwMode="auto">
          <a:xfrm>
            <a:off x="381000" y="1"/>
            <a:ext cx="1081548" cy="257369"/>
          </a:xfrm>
          <a:prstGeom prst="rect">
            <a:avLst/>
          </a:prstGeom>
          <a:solidFill>
            <a:schemeClr val="accent2"/>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ea typeface="+mn-ea"/>
                <a:cs typeface="+mn-cs"/>
              </a:rPr>
              <a:t>Option 2</a:t>
            </a:r>
          </a:p>
        </p:txBody>
      </p:sp>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US" dirty="0"/>
              <a:t>Summary of your business </a:t>
            </a:r>
            <a:br>
              <a:rPr lang="en-US" dirty="0"/>
            </a:br>
            <a:r>
              <a:rPr lang="en-US" dirty="0"/>
              <a:t>issues and outcomes</a:t>
            </a:r>
          </a:p>
        </p:txBody>
      </p:sp>
      <p:sp>
        <p:nvSpPr>
          <p:cNvPr id="8" name="AutoShape 5">
            <a:extLst>
              <a:ext uri="{FF2B5EF4-FFF2-40B4-BE49-F238E27FC236}">
                <a16:creationId xmlns:a16="http://schemas.microsoft.com/office/drawing/2014/main" id="{BA867934-9AE5-487E-A2D3-CD354DD2F45B}"/>
              </a:ext>
            </a:extLst>
          </p:cNvPr>
          <p:cNvSpPr>
            <a:spLocks noChangeArrowheads="1"/>
          </p:cNvSpPr>
          <p:nvPr/>
        </p:nvSpPr>
        <p:spPr bwMode="auto">
          <a:xfrm>
            <a:off x="381000" y="1763713"/>
            <a:ext cx="2282410" cy="1736725"/>
          </a:xfrm>
          <a:prstGeom prst="homePlate">
            <a:avLst>
              <a:gd name="adj" fmla="val 16553"/>
            </a:avLst>
          </a:prstGeom>
          <a:solidFill>
            <a:schemeClr val="accent3"/>
          </a:solidFill>
          <a:ln w="6350">
            <a:noFill/>
            <a:miter lim="800000"/>
            <a:headEnd/>
            <a:tailEnd/>
          </a:ln>
          <a:effectLst/>
        </p:spPr>
        <p:txBody>
          <a:bodyPr wrap="square" lIns="108000" tIns="108000" rIns="108000" bIns="108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mj-lt"/>
                <a:ea typeface="+mn-ea"/>
                <a:cs typeface="+mn-cs"/>
              </a:rPr>
              <a:t>From issue</a:t>
            </a:r>
          </a:p>
        </p:txBody>
      </p:sp>
      <p:sp>
        <p:nvSpPr>
          <p:cNvPr id="5" name="Content Placeholder 7">
            <a:extLst>
              <a:ext uri="{FF2B5EF4-FFF2-40B4-BE49-F238E27FC236}">
                <a16:creationId xmlns:a16="http://schemas.microsoft.com/office/drawing/2014/main" id="{7F430A76-B30A-4C5C-A376-8864B500C141}"/>
              </a:ext>
            </a:extLst>
          </p:cNvPr>
          <p:cNvSpPr txBox="1">
            <a:spLocks/>
          </p:cNvSpPr>
          <p:nvPr/>
        </p:nvSpPr>
        <p:spPr bwMode="auto">
          <a:xfrm>
            <a:off x="381000" y="3751442"/>
            <a:ext cx="2322090" cy="1585733"/>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9" name="Arrow: Chevron 8">
            <a:extLst>
              <a:ext uri="{FF2B5EF4-FFF2-40B4-BE49-F238E27FC236}">
                <a16:creationId xmlns:a16="http://schemas.microsoft.com/office/drawing/2014/main" id="{BBD93B57-155A-41C8-A08B-53887837376F}"/>
              </a:ext>
            </a:extLst>
          </p:cNvPr>
          <p:cNvSpPr/>
          <p:nvPr/>
        </p:nvSpPr>
        <p:spPr>
          <a:xfrm>
            <a:off x="9526490" y="1763713"/>
            <a:ext cx="2283876" cy="1736725"/>
          </a:xfrm>
          <a:prstGeom prst="chevron">
            <a:avLst>
              <a:gd name="adj" fmla="val 15715"/>
            </a:avLst>
          </a:prstGeom>
          <a:solidFill>
            <a:schemeClr val="accent1"/>
          </a:solidFill>
          <a:ln w="9525" cap="flat" cmpd="sng" algn="ctr">
            <a:noFill/>
            <a:prstDash val="solid"/>
          </a:ln>
          <a:effectLst/>
        </p:spPr>
        <p:txBody>
          <a:bodyPr wrap="square" lIns="144000" tIns="108000" rIns="36000" bIns="108000" rtlCol="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mj-lt"/>
                <a:ea typeface="+mn-ea"/>
                <a:cs typeface="+mn-cs"/>
              </a:rPr>
              <a:t>To outcome</a:t>
            </a:r>
          </a:p>
        </p:txBody>
      </p:sp>
      <p:sp>
        <p:nvSpPr>
          <p:cNvPr id="7" name="Content Placeholder 7">
            <a:extLst>
              <a:ext uri="{FF2B5EF4-FFF2-40B4-BE49-F238E27FC236}">
                <a16:creationId xmlns:a16="http://schemas.microsoft.com/office/drawing/2014/main" id="{33A4A438-64A1-43FC-ABC0-58557DA7C3D6}"/>
              </a:ext>
            </a:extLst>
          </p:cNvPr>
          <p:cNvSpPr txBox="1">
            <a:spLocks/>
          </p:cNvSpPr>
          <p:nvPr/>
        </p:nvSpPr>
        <p:spPr bwMode="auto">
          <a:xfrm>
            <a:off x="9526490" y="3751442"/>
            <a:ext cx="2203569" cy="1585733"/>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Body copy</a:t>
            </a:r>
          </a:p>
        </p:txBody>
      </p:sp>
      <p:sp>
        <p:nvSpPr>
          <p:cNvPr id="11" name="Footer Placeholder 10">
            <a:extLst>
              <a:ext uri="{FF2B5EF4-FFF2-40B4-BE49-F238E27FC236}">
                <a16:creationId xmlns:a16="http://schemas.microsoft.com/office/drawing/2014/main" id="{28C08F06-4967-459C-9AD7-1D43C2F5C80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2" name="Slide Number Placeholder 11">
            <a:extLst>
              <a:ext uri="{FF2B5EF4-FFF2-40B4-BE49-F238E27FC236}">
                <a16:creationId xmlns:a16="http://schemas.microsoft.com/office/drawing/2014/main" id="{3D55B9F7-6C6D-4607-A6E5-03D58FD504BF}"/>
              </a:ext>
            </a:extLst>
          </p:cNvPr>
          <p:cNvSpPr>
            <a:spLocks noGrp="1"/>
          </p:cNvSpPr>
          <p:nvPr>
            <p:ph type="sldNum" sz="quarter" idx="10"/>
          </p:nvPr>
        </p:nvSpPr>
        <p:spPr/>
        <p:txBody>
          <a:bodyPr/>
          <a:lstStyle/>
          <a:p>
            <a:fld id="{1F90F471-3972-4120-B8B3-0237DE626C35}" type="slidenum">
              <a:rPr lang="en-US" smtClean="0"/>
              <a:pPr/>
              <a:t>234</a:t>
            </a:fld>
            <a:endParaRPr lang="en-US" dirty="0"/>
          </a:p>
        </p:txBody>
      </p:sp>
    </p:spTree>
    <p:extLst>
      <p:ext uri="{BB962C8B-B14F-4D97-AF65-F5344CB8AC3E}">
        <p14:creationId xmlns:p14="http://schemas.microsoft.com/office/powerpoint/2010/main" val="32701766"/>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FDC983D-C203-407D-BCB9-04444A350592}"/>
              </a:ext>
            </a:extLst>
          </p:cNvPr>
          <p:cNvSpPr txBox="1"/>
          <p:nvPr/>
        </p:nvSpPr>
        <p:spPr bwMode="auto">
          <a:xfrm>
            <a:off x="381000" y="1"/>
            <a:ext cx="1081548" cy="257369"/>
          </a:xfrm>
          <a:prstGeom prst="rect">
            <a:avLst/>
          </a:prstGeom>
          <a:solidFill>
            <a:schemeClr val="accent2"/>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ea typeface="+mn-ea"/>
                <a:cs typeface="+mn-cs"/>
              </a:rPr>
              <a:t>Option 2</a:t>
            </a:r>
          </a:p>
        </p:txBody>
      </p:sp>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ZA" dirty="0"/>
              <a:t>Our understanding of the </a:t>
            </a:r>
            <a:br>
              <a:rPr lang="en-ZA" dirty="0"/>
            </a:br>
            <a:r>
              <a:rPr lang="en-ZA" dirty="0"/>
              <a:t>critical considerations</a:t>
            </a:r>
            <a:endParaRPr lang="en-US" dirty="0"/>
          </a:p>
        </p:txBody>
      </p:sp>
      <p:sp>
        <p:nvSpPr>
          <p:cNvPr id="8" name="Rectangle 7">
            <a:extLst>
              <a:ext uri="{FF2B5EF4-FFF2-40B4-BE49-F238E27FC236}">
                <a16:creationId xmlns:a16="http://schemas.microsoft.com/office/drawing/2014/main" id="{D145B8E1-DDA9-41F4-AE6C-CA8BE79CBDC9}"/>
              </a:ext>
            </a:extLst>
          </p:cNvPr>
          <p:cNvSpPr/>
          <p:nvPr/>
        </p:nvSpPr>
        <p:spPr bwMode="auto">
          <a:xfrm>
            <a:off x="1851816" y="1753880"/>
            <a:ext cx="8484041" cy="424516"/>
          </a:xfrm>
          <a:prstGeom prst="rect">
            <a:avLst/>
          </a:prstGeom>
          <a:solidFill>
            <a:schemeClr val="accent1"/>
          </a:solidFill>
          <a:ln w="6350">
            <a:solidFill>
              <a:srgbClr val="FFFFFF"/>
            </a:solidFill>
            <a:miter lim="800000"/>
            <a:headEnd/>
            <a:tailEnd/>
          </a:ln>
          <a:effectLst/>
        </p:spPr>
        <p:txBody>
          <a:bodyPr vert="horz" wrap="square" lIns="72009" tIns="72009" rIns="72009" bIns="72009" numCol="1" rtlCol="0" anchor="ctr" anchorCtr="0" compatLnSpc="1">
            <a:prstTxWarp prst="textNoShape">
              <a:avLst/>
            </a:prstTxWarp>
            <a:noAutofit/>
          </a:bodyPr>
          <a:lstStyle/>
          <a:p>
            <a:pPr marL="0" marR="0" lvl="0" indent="0" algn="ctr" defTabSz="914400" rtl="0" eaLnBrk="1" fontAlgn="ctr" latinLnBrk="0" hangingPunct="1">
              <a:lnSpc>
                <a:spcPct val="100000"/>
              </a:lnSpc>
              <a:spcBef>
                <a:spcPts val="0"/>
              </a:spcBef>
              <a:spcAft>
                <a:spcPts val="300"/>
              </a:spcAft>
              <a:buClrTx/>
              <a:buSzTx/>
              <a:buFontTx/>
              <a:buNone/>
              <a:tabLst/>
              <a:defRPr/>
            </a:pPr>
            <a:r>
              <a:rPr kumimoji="0" lang="en-IE" sz="1400" b="1" i="0" u="none" strike="noStrike" kern="0" cap="none" spc="0" normalizeH="0" baseline="0" noProof="0" dirty="0">
                <a:ln>
                  <a:noFill/>
                </a:ln>
                <a:solidFill>
                  <a:srgbClr val="FFFFFF"/>
                </a:solidFill>
                <a:effectLst/>
                <a:uLnTx/>
                <a:uFillTx/>
                <a:latin typeface="+mj-lt"/>
                <a:ea typeface="+mn-ea"/>
                <a:cs typeface="Arial" pitchFamily="34" charset="0"/>
              </a:rPr>
              <a:t>Pace</a:t>
            </a:r>
          </a:p>
        </p:txBody>
      </p:sp>
      <p:sp>
        <p:nvSpPr>
          <p:cNvPr id="9" name="Rectangle 8">
            <a:extLst>
              <a:ext uri="{FF2B5EF4-FFF2-40B4-BE49-F238E27FC236}">
                <a16:creationId xmlns:a16="http://schemas.microsoft.com/office/drawing/2014/main" id="{D24A94AF-19C6-43C3-954D-40A3BD190EA9}"/>
              </a:ext>
            </a:extLst>
          </p:cNvPr>
          <p:cNvSpPr/>
          <p:nvPr/>
        </p:nvSpPr>
        <p:spPr bwMode="auto">
          <a:xfrm>
            <a:off x="1851816" y="2194376"/>
            <a:ext cx="8484041" cy="424515"/>
          </a:xfrm>
          <a:prstGeom prst="rect">
            <a:avLst/>
          </a:prstGeom>
          <a:solidFill>
            <a:schemeClr val="accent2"/>
          </a:solidFill>
          <a:ln w="6350">
            <a:solidFill>
              <a:srgbClr val="FFFFFF"/>
            </a:solidFill>
            <a:miter lim="800000"/>
            <a:headEnd/>
            <a:tailEnd/>
          </a:ln>
          <a:effectLst/>
        </p:spPr>
        <p:txBody>
          <a:bodyPr vert="horz" wrap="square" lIns="72009" tIns="72009" rIns="72009" bIns="72009" numCol="1" rtlCol="0" anchor="ctr" anchorCtr="0" compatLnSpc="1">
            <a:prstTxWarp prst="textNoShape">
              <a:avLst/>
            </a:prstTxWarp>
            <a:noAutofit/>
          </a:bodyPr>
          <a:lstStyle/>
          <a:p>
            <a:pPr marL="0" marR="0" lvl="0" indent="0" algn="ctr" defTabSz="914400" rtl="0" eaLnBrk="1" fontAlgn="ctr" latinLnBrk="0" hangingPunct="1">
              <a:lnSpc>
                <a:spcPct val="100000"/>
              </a:lnSpc>
              <a:spcBef>
                <a:spcPts val="0"/>
              </a:spcBef>
              <a:spcAft>
                <a:spcPts val="300"/>
              </a:spcAft>
              <a:buClrTx/>
              <a:buSzTx/>
              <a:buFontTx/>
              <a:buNone/>
              <a:tabLst/>
              <a:defRPr/>
            </a:pPr>
            <a:r>
              <a:rPr kumimoji="0" lang="en-IE" sz="1400" b="1" i="0" u="none" strike="noStrike" kern="0" cap="none" spc="0" normalizeH="0" baseline="0" noProof="0" dirty="0">
                <a:ln>
                  <a:noFill/>
                </a:ln>
                <a:solidFill>
                  <a:srgbClr val="FFFFFF"/>
                </a:solidFill>
                <a:effectLst/>
                <a:uLnTx/>
                <a:uFillTx/>
                <a:latin typeface="+mj-lt"/>
                <a:ea typeface="+mn-ea"/>
                <a:cs typeface="Arial" pitchFamily="34" charset="0"/>
              </a:rPr>
              <a:t>Certainty</a:t>
            </a:r>
          </a:p>
        </p:txBody>
      </p:sp>
      <p:sp>
        <p:nvSpPr>
          <p:cNvPr id="10" name="Rectangle 9">
            <a:extLst>
              <a:ext uri="{FF2B5EF4-FFF2-40B4-BE49-F238E27FC236}">
                <a16:creationId xmlns:a16="http://schemas.microsoft.com/office/drawing/2014/main" id="{DA52E032-26EE-4E82-B243-290F5FF6F927}"/>
              </a:ext>
            </a:extLst>
          </p:cNvPr>
          <p:cNvSpPr/>
          <p:nvPr/>
        </p:nvSpPr>
        <p:spPr bwMode="auto">
          <a:xfrm>
            <a:off x="1854044" y="2634869"/>
            <a:ext cx="8484041" cy="424516"/>
          </a:xfrm>
          <a:prstGeom prst="rect">
            <a:avLst/>
          </a:prstGeom>
          <a:solidFill>
            <a:schemeClr val="accent3"/>
          </a:solidFill>
          <a:ln w="6350">
            <a:solidFill>
              <a:srgbClr val="FFFFFF"/>
            </a:solidFill>
            <a:miter lim="800000"/>
            <a:headEnd/>
            <a:tailEnd/>
          </a:ln>
          <a:effectLst/>
        </p:spPr>
        <p:txBody>
          <a:bodyPr vert="horz" wrap="square" lIns="72009" tIns="72009" rIns="72009" bIns="72009" numCol="1" rtlCol="0" anchor="ctr" anchorCtr="0" compatLnSpc="1">
            <a:prstTxWarp prst="textNoShape">
              <a:avLst/>
            </a:prstTxWarp>
            <a:noAutofit/>
          </a:bodyPr>
          <a:lstStyle/>
          <a:p>
            <a:pPr marL="0" marR="0" lvl="0" indent="0" algn="ctr" defTabSz="914400" rtl="0" eaLnBrk="1" fontAlgn="ctr" latinLnBrk="0" hangingPunct="1">
              <a:lnSpc>
                <a:spcPct val="100000"/>
              </a:lnSpc>
              <a:spcBef>
                <a:spcPts val="0"/>
              </a:spcBef>
              <a:spcAft>
                <a:spcPts val="300"/>
              </a:spcAft>
              <a:buClrTx/>
              <a:buSzTx/>
              <a:buFontTx/>
              <a:buNone/>
              <a:tabLst/>
              <a:defRPr/>
            </a:pPr>
            <a:r>
              <a:rPr kumimoji="0" lang="en-IE" sz="1400" b="1" i="0" u="none" strike="noStrike" kern="0" cap="none" spc="0" normalizeH="0" baseline="0" noProof="0" dirty="0">
                <a:ln>
                  <a:noFill/>
                </a:ln>
                <a:solidFill>
                  <a:srgbClr val="FFFFFF"/>
                </a:solidFill>
                <a:effectLst/>
                <a:uLnTx/>
                <a:uFillTx/>
                <a:latin typeface="+mj-lt"/>
                <a:ea typeface="+mn-ea"/>
                <a:cs typeface="Arial" pitchFamily="34" charset="0"/>
              </a:rPr>
              <a:t>Strategic agility</a:t>
            </a:r>
          </a:p>
        </p:txBody>
      </p:sp>
      <p:sp>
        <p:nvSpPr>
          <p:cNvPr id="7" name="Rectangle 6">
            <a:extLst>
              <a:ext uri="{FF2B5EF4-FFF2-40B4-BE49-F238E27FC236}">
                <a16:creationId xmlns:a16="http://schemas.microsoft.com/office/drawing/2014/main" id="{029B38F2-052E-4CC9-BC5E-5517D3E21644}"/>
              </a:ext>
            </a:extLst>
          </p:cNvPr>
          <p:cNvSpPr/>
          <p:nvPr/>
        </p:nvSpPr>
        <p:spPr bwMode="auto">
          <a:xfrm>
            <a:off x="1851816" y="3075364"/>
            <a:ext cx="8484041" cy="424516"/>
          </a:xfrm>
          <a:prstGeom prst="rect">
            <a:avLst/>
          </a:prstGeom>
          <a:solidFill>
            <a:schemeClr val="accent4"/>
          </a:solidFill>
          <a:ln w="6350">
            <a:solidFill>
              <a:srgbClr val="FFFFFF"/>
            </a:solidFill>
            <a:miter lim="800000"/>
            <a:headEnd/>
            <a:tailEnd/>
          </a:ln>
          <a:effectLst/>
        </p:spPr>
        <p:txBody>
          <a:bodyPr vert="horz" wrap="square" lIns="72009" tIns="72009" rIns="72009" bIns="72009" numCol="1" rtlCol="0" anchor="ctr" anchorCtr="0" compatLnSpc="1">
            <a:prstTxWarp prst="textNoShape">
              <a:avLst/>
            </a:prstTxWarp>
            <a:noAutofit/>
          </a:bodyPr>
          <a:lstStyle/>
          <a:p>
            <a:pPr marL="0" marR="0" lvl="0" indent="0" algn="ctr" defTabSz="914400" rtl="0" eaLnBrk="1" fontAlgn="ctr" latinLnBrk="0" hangingPunct="1">
              <a:lnSpc>
                <a:spcPct val="100000"/>
              </a:lnSpc>
              <a:spcBef>
                <a:spcPts val="0"/>
              </a:spcBef>
              <a:spcAft>
                <a:spcPts val="300"/>
              </a:spcAft>
              <a:buClrTx/>
              <a:buSzTx/>
              <a:buFontTx/>
              <a:buNone/>
              <a:tabLst/>
              <a:defRPr/>
            </a:pPr>
            <a:r>
              <a:rPr kumimoji="0" lang="en-IE" sz="1400" b="1" i="0" u="none" strike="noStrike" kern="0" cap="none" spc="0" normalizeH="0" baseline="0" noProof="0" dirty="0">
                <a:ln>
                  <a:noFill/>
                </a:ln>
                <a:solidFill>
                  <a:srgbClr val="FFFFFF"/>
                </a:solidFill>
                <a:effectLst/>
                <a:uLnTx/>
                <a:uFillTx/>
                <a:latin typeface="+mj-lt"/>
                <a:ea typeface="+mn-ea"/>
                <a:cs typeface="Arial" pitchFamily="34" charset="0"/>
              </a:rPr>
              <a:t>&lt;Other if applicable&gt;</a:t>
            </a:r>
          </a:p>
        </p:txBody>
      </p:sp>
      <p:sp>
        <p:nvSpPr>
          <p:cNvPr id="13" name="Arrow: Chevron 12">
            <a:extLst>
              <a:ext uri="{FF2B5EF4-FFF2-40B4-BE49-F238E27FC236}">
                <a16:creationId xmlns:a16="http://schemas.microsoft.com/office/drawing/2014/main" id="{FBDEE48C-E383-4868-A1CB-54E064751690}"/>
              </a:ext>
            </a:extLst>
          </p:cNvPr>
          <p:cNvSpPr/>
          <p:nvPr/>
        </p:nvSpPr>
        <p:spPr>
          <a:xfrm>
            <a:off x="9526490" y="1763713"/>
            <a:ext cx="2283876" cy="1736725"/>
          </a:xfrm>
          <a:prstGeom prst="chevron">
            <a:avLst>
              <a:gd name="adj" fmla="val 15715"/>
            </a:avLst>
          </a:prstGeom>
          <a:solidFill>
            <a:srgbClr val="96968C">
              <a:lumMod val="40000"/>
              <a:lumOff val="60000"/>
            </a:srgbClr>
          </a:solidFill>
          <a:ln w="9525" cap="flat" cmpd="sng" algn="ctr">
            <a:noFill/>
            <a:prstDash val="solid"/>
          </a:ln>
          <a:effectLst/>
        </p:spPr>
        <p:txBody>
          <a:bodyPr wrap="square" lIns="144000" tIns="108000" rIns="36000" bIns="108000" rtlCol="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effectLst/>
                <a:uLnTx/>
                <a:uFillTx/>
                <a:latin typeface="+mj-lt"/>
                <a:ea typeface="+mn-ea"/>
                <a:cs typeface="+mn-cs"/>
              </a:rPr>
              <a:t>To outcome</a:t>
            </a:r>
          </a:p>
        </p:txBody>
      </p:sp>
      <p:sp>
        <p:nvSpPr>
          <p:cNvPr id="11" name="Content Placeholder 7">
            <a:extLst>
              <a:ext uri="{FF2B5EF4-FFF2-40B4-BE49-F238E27FC236}">
                <a16:creationId xmlns:a16="http://schemas.microsoft.com/office/drawing/2014/main" id="{FF0AD6EC-1437-4457-85E2-7AE0AF9D598F}"/>
              </a:ext>
            </a:extLst>
          </p:cNvPr>
          <p:cNvSpPr txBox="1">
            <a:spLocks/>
          </p:cNvSpPr>
          <p:nvPr/>
        </p:nvSpPr>
        <p:spPr bwMode="auto">
          <a:xfrm>
            <a:off x="2401059" y="3751442"/>
            <a:ext cx="7125430" cy="1585733"/>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5" name="Footer Placeholder 4">
            <a:extLst>
              <a:ext uri="{FF2B5EF4-FFF2-40B4-BE49-F238E27FC236}">
                <a16:creationId xmlns:a16="http://schemas.microsoft.com/office/drawing/2014/main" id="{C25E4A98-8B4C-4795-9CAE-28D06FA3C3A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5" name="Slide Number Placeholder 14">
            <a:extLst>
              <a:ext uri="{FF2B5EF4-FFF2-40B4-BE49-F238E27FC236}">
                <a16:creationId xmlns:a16="http://schemas.microsoft.com/office/drawing/2014/main" id="{CBD68FD0-0B14-4C3D-83F2-2D0DAA4F41A0}"/>
              </a:ext>
            </a:extLst>
          </p:cNvPr>
          <p:cNvSpPr>
            <a:spLocks noGrp="1"/>
          </p:cNvSpPr>
          <p:nvPr>
            <p:ph type="sldNum" sz="quarter" idx="10"/>
          </p:nvPr>
        </p:nvSpPr>
        <p:spPr/>
        <p:txBody>
          <a:bodyPr/>
          <a:lstStyle/>
          <a:p>
            <a:fld id="{1F90F471-3972-4120-B8B3-0237DE626C35}" type="slidenum">
              <a:rPr lang="en-US" smtClean="0"/>
              <a:pPr/>
              <a:t>235</a:t>
            </a:fld>
            <a:endParaRPr lang="en-US" dirty="0"/>
          </a:p>
        </p:txBody>
      </p:sp>
      <p:sp>
        <p:nvSpPr>
          <p:cNvPr id="12" name="AutoShape 5">
            <a:extLst>
              <a:ext uri="{FF2B5EF4-FFF2-40B4-BE49-F238E27FC236}">
                <a16:creationId xmlns:a16="http://schemas.microsoft.com/office/drawing/2014/main" id="{9DC53711-F3EF-47EF-9875-1E645DF77AC0}"/>
              </a:ext>
            </a:extLst>
          </p:cNvPr>
          <p:cNvSpPr>
            <a:spLocks noChangeArrowheads="1"/>
          </p:cNvSpPr>
          <p:nvPr/>
        </p:nvSpPr>
        <p:spPr bwMode="auto">
          <a:xfrm>
            <a:off x="381000" y="1763713"/>
            <a:ext cx="2282410" cy="1736725"/>
          </a:xfrm>
          <a:prstGeom prst="homePlate">
            <a:avLst>
              <a:gd name="adj" fmla="val 16553"/>
            </a:avLst>
          </a:prstGeom>
          <a:solidFill>
            <a:srgbClr val="96968C">
              <a:lumMod val="40000"/>
              <a:lumOff val="60000"/>
            </a:srgbClr>
          </a:solidFill>
          <a:ln w="6350">
            <a:noFill/>
            <a:miter lim="800000"/>
            <a:headEnd/>
            <a:tailEnd/>
          </a:ln>
          <a:effectLst/>
        </p:spPr>
        <p:txBody>
          <a:bodyPr wrap="square" lIns="108000" tIns="108000" rIns="108000" bIns="108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effectLst/>
                <a:uLnTx/>
                <a:uFillTx/>
                <a:latin typeface="+mj-lt"/>
                <a:ea typeface="+mn-ea"/>
                <a:cs typeface="+mn-cs"/>
              </a:rPr>
              <a:t>From issue</a:t>
            </a:r>
          </a:p>
        </p:txBody>
      </p:sp>
    </p:spTree>
    <p:extLst>
      <p:ext uri="{BB962C8B-B14F-4D97-AF65-F5344CB8AC3E}">
        <p14:creationId xmlns:p14="http://schemas.microsoft.com/office/powerpoint/2010/main" val="430784449"/>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43D61B8-C496-4FA8-A07E-6CD224FA9A62}"/>
              </a:ext>
            </a:extLst>
          </p:cNvPr>
          <p:cNvSpPr txBox="1"/>
          <p:nvPr/>
        </p:nvSpPr>
        <p:spPr bwMode="auto">
          <a:xfrm>
            <a:off x="381000" y="1"/>
            <a:ext cx="1081548" cy="257369"/>
          </a:xfrm>
          <a:prstGeom prst="rect">
            <a:avLst/>
          </a:prstGeom>
          <a:solidFill>
            <a:schemeClr val="accent2"/>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ea typeface="+mn-ea"/>
                <a:cs typeface="+mn-cs"/>
              </a:rPr>
              <a:t>Option 2</a:t>
            </a:r>
          </a:p>
        </p:txBody>
      </p:sp>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ZA" dirty="0"/>
              <a:t>Our value proposition </a:t>
            </a:r>
            <a:br>
              <a:rPr lang="en-ZA" dirty="0"/>
            </a:br>
            <a:r>
              <a:rPr lang="en-ZA" dirty="0"/>
              <a:t>for the engagement</a:t>
            </a:r>
            <a:endParaRPr lang="en-US" dirty="0"/>
          </a:p>
        </p:txBody>
      </p:sp>
      <p:sp>
        <p:nvSpPr>
          <p:cNvPr id="8" name="Rectangle 7">
            <a:extLst>
              <a:ext uri="{FF2B5EF4-FFF2-40B4-BE49-F238E27FC236}">
                <a16:creationId xmlns:a16="http://schemas.microsoft.com/office/drawing/2014/main" id="{D14B0020-36DA-47CE-8E31-76576A955E7A}"/>
              </a:ext>
            </a:extLst>
          </p:cNvPr>
          <p:cNvSpPr/>
          <p:nvPr/>
        </p:nvSpPr>
        <p:spPr bwMode="auto">
          <a:xfrm>
            <a:off x="1851816" y="1753880"/>
            <a:ext cx="8484041" cy="424516"/>
          </a:xfrm>
          <a:prstGeom prst="rect">
            <a:avLst/>
          </a:prstGeom>
          <a:solidFill>
            <a:srgbClr val="96968C">
              <a:lumMod val="40000"/>
              <a:lumOff val="60000"/>
            </a:srgbClr>
          </a:solidFill>
          <a:ln w="6350">
            <a:solidFill>
              <a:srgbClr val="FFFFFF"/>
            </a:solidFill>
            <a:miter lim="800000"/>
            <a:headEnd/>
            <a:tailEnd/>
          </a:ln>
          <a:effectLst/>
        </p:spPr>
        <p:txBody>
          <a:bodyPr vert="horz" wrap="square" lIns="72009" tIns="72009" rIns="72009" bIns="72009" numCol="1" rtlCol="0" anchor="ctr" anchorCtr="0" compatLnSpc="1">
            <a:prstTxWarp prst="textNoShape">
              <a:avLst/>
            </a:prstTxWarp>
            <a:noAutofit/>
          </a:bodyPr>
          <a:lstStyle/>
          <a:p>
            <a:pPr marL="0" marR="0" lvl="0" indent="0" algn="ctr" defTabSz="914400" rtl="0" eaLnBrk="1" fontAlgn="ctr" latinLnBrk="0" hangingPunct="1">
              <a:lnSpc>
                <a:spcPct val="100000"/>
              </a:lnSpc>
              <a:spcBef>
                <a:spcPts val="0"/>
              </a:spcBef>
              <a:spcAft>
                <a:spcPts val="300"/>
              </a:spcAft>
              <a:buClrTx/>
              <a:buSzTx/>
              <a:buFontTx/>
              <a:buNone/>
              <a:tabLst/>
              <a:defRPr/>
            </a:pPr>
            <a:r>
              <a:rPr kumimoji="0" lang="en-IE" sz="1400" b="1" i="0" u="none" strike="noStrike" kern="0" cap="none" spc="0" normalizeH="0" baseline="0" noProof="0" dirty="0">
                <a:ln>
                  <a:noFill/>
                </a:ln>
                <a:effectLst/>
                <a:uLnTx/>
                <a:uFillTx/>
                <a:latin typeface="+mj-lt"/>
                <a:ea typeface="+mn-ea"/>
                <a:cs typeface="Arial" pitchFamily="34" charset="0"/>
              </a:rPr>
              <a:t>Pace</a:t>
            </a:r>
          </a:p>
        </p:txBody>
      </p:sp>
      <p:sp>
        <p:nvSpPr>
          <p:cNvPr id="9" name="Rectangle 8">
            <a:extLst>
              <a:ext uri="{FF2B5EF4-FFF2-40B4-BE49-F238E27FC236}">
                <a16:creationId xmlns:a16="http://schemas.microsoft.com/office/drawing/2014/main" id="{644806C1-45C4-45D8-830A-DFD69686864E}"/>
              </a:ext>
            </a:extLst>
          </p:cNvPr>
          <p:cNvSpPr/>
          <p:nvPr/>
        </p:nvSpPr>
        <p:spPr bwMode="auto">
          <a:xfrm>
            <a:off x="1851816" y="2194376"/>
            <a:ext cx="8484041" cy="424515"/>
          </a:xfrm>
          <a:prstGeom prst="rect">
            <a:avLst/>
          </a:prstGeom>
          <a:solidFill>
            <a:srgbClr val="96968C">
              <a:lumMod val="40000"/>
              <a:lumOff val="60000"/>
            </a:srgbClr>
          </a:solidFill>
          <a:ln w="6350">
            <a:solidFill>
              <a:srgbClr val="FFFFFF"/>
            </a:solidFill>
            <a:miter lim="800000"/>
            <a:headEnd/>
            <a:tailEnd/>
          </a:ln>
          <a:effectLst/>
        </p:spPr>
        <p:txBody>
          <a:bodyPr vert="horz" wrap="square" lIns="72009" tIns="72009" rIns="72009" bIns="72009" numCol="1" rtlCol="0" anchor="ctr" anchorCtr="0" compatLnSpc="1">
            <a:prstTxWarp prst="textNoShape">
              <a:avLst/>
            </a:prstTxWarp>
            <a:noAutofit/>
          </a:bodyPr>
          <a:lstStyle/>
          <a:p>
            <a:pPr marL="0" marR="0" lvl="0" indent="0" algn="ctr" defTabSz="914400" rtl="0" eaLnBrk="1" fontAlgn="ctr" latinLnBrk="0" hangingPunct="1">
              <a:lnSpc>
                <a:spcPct val="100000"/>
              </a:lnSpc>
              <a:spcBef>
                <a:spcPts val="0"/>
              </a:spcBef>
              <a:spcAft>
                <a:spcPts val="300"/>
              </a:spcAft>
              <a:buClrTx/>
              <a:buSzTx/>
              <a:buFontTx/>
              <a:buNone/>
              <a:tabLst/>
              <a:defRPr/>
            </a:pPr>
            <a:r>
              <a:rPr kumimoji="0" lang="en-IE" sz="1400" b="1" i="0" u="none" strike="noStrike" kern="0" cap="none" spc="0" normalizeH="0" baseline="0" noProof="0" dirty="0">
                <a:ln>
                  <a:noFill/>
                </a:ln>
                <a:effectLst/>
                <a:uLnTx/>
                <a:uFillTx/>
                <a:latin typeface="+mj-lt"/>
                <a:ea typeface="+mn-ea"/>
                <a:cs typeface="Arial" pitchFamily="34" charset="0"/>
              </a:rPr>
              <a:t>Certainty</a:t>
            </a:r>
          </a:p>
        </p:txBody>
      </p:sp>
      <p:sp>
        <p:nvSpPr>
          <p:cNvPr id="10" name="Rectangle 9">
            <a:extLst>
              <a:ext uri="{FF2B5EF4-FFF2-40B4-BE49-F238E27FC236}">
                <a16:creationId xmlns:a16="http://schemas.microsoft.com/office/drawing/2014/main" id="{748EEF55-2467-4720-9755-F854076B48BE}"/>
              </a:ext>
            </a:extLst>
          </p:cNvPr>
          <p:cNvSpPr/>
          <p:nvPr/>
        </p:nvSpPr>
        <p:spPr bwMode="auto">
          <a:xfrm>
            <a:off x="1854044" y="2634869"/>
            <a:ext cx="8484041" cy="424516"/>
          </a:xfrm>
          <a:prstGeom prst="rect">
            <a:avLst/>
          </a:prstGeom>
          <a:solidFill>
            <a:srgbClr val="96968C">
              <a:lumMod val="40000"/>
              <a:lumOff val="60000"/>
            </a:srgbClr>
          </a:solidFill>
          <a:ln w="6350">
            <a:solidFill>
              <a:srgbClr val="FFFFFF"/>
            </a:solidFill>
            <a:miter lim="800000"/>
            <a:headEnd/>
            <a:tailEnd/>
          </a:ln>
          <a:effectLst/>
        </p:spPr>
        <p:txBody>
          <a:bodyPr vert="horz" wrap="square" lIns="72009" tIns="72009" rIns="72009" bIns="72009" numCol="1" rtlCol="0" anchor="ctr" anchorCtr="0" compatLnSpc="1">
            <a:prstTxWarp prst="textNoShape">
              <a:avLst/>
            </a:prstTxWarp>
            <a:noAutofit/>
          </a:bodyPr>
          <a:lstStyle/>
          <a:p>
            <a:pPr marL="0" marR="0" lvl="0" indent="0" algn="ctr" defTabSz="914400" rtl="0" eaLnBrk="1" fontAlgn="ctr" latinLnBrk="0" hangingPunct="1">
              <a:lnSpc>
                <a:spcPct val="100000"/>
              </a:lnSpc>
              <a:spcBef>
                <a:spcPts val="0"/>
              </a:spcBef>
              <a:spcAft>
                <a:spcPts val="300"/>
              </a:spcAft>
              <a:buClrTx/>
              <a:buSzTx/>
              <a:buFontTx/>
              <a:buNone/>
              <a:tabLst/>
              <a:defRPr/>
            </a:pPr>
            <a:r>
              <a:rPr kumimoji="0" lang="en-IE" sz="1400" b="1" i="0" u="none" strike="noStrike" kern="0" cap="none" spc="0" normalizeH="0" baseline="0" noProof="0" dirty="0">
                <a:ln>
                  <a:noFill/>
                </a:ln>
                <a:effectLst/>
                <a:uLnTx/>
                <a:uFillTx/>
                <a:latin typeface="+mj-lt"/>
                <a:ea typeface="+mn-ea"/>
                <a:cs typeface="Arial" pitchFamily="34" charset="0"/>
              </a:rPr>
              <a:t>Strategic agility</a:t>
            </a:r>
          </a:p>
        </p:txBody>
      </p:sp>
      <p:sp>
        <p:nvSpPr>
          <p:cNvPr id="7" name="Rectangle 6">
            <a:extLst>
              <a:ext uri="{FF2B5EF4-FFF2-40B4-BE49-F238E27FC236}">
                <a16:creationId xmlns:a16="http://schemas.microsoft.com/office/drawing/2014/main" id="{55530105-B089-45E6-B6A7-8BB65E26FAF5}"/>
              </a:ext>
            </a:extLst>
          </p:cNvPr>
          <p:cNvSpPr/>
          <p:nvPr/>
        </p:nvSpPr>
        <p:spPr bwMode="auto">
          <a:xfrm>
            <a:off x="1851816" y="3075364"/>
            <a:ext cx="8484041" cy="424516"/>
          </a:xfrm>
          <a:prstGeom prst="rect">
            <a:avLst/>
          </a:prstGeom>
          <a:solidFill>
            <a:srgbClr val="96968C">
              <a:lumMod val="40000"/>
              <a:lumOff val="60000"/>
            </a:srgbClr>
          </a:solidFill>
          <a:ln w="6350">
            <a:solidFill>
              <a:srgbClr val="FFFFFF"/>
            </a:solidFill>
            <a:miter lim="800000"/>
            <a:headEnd/>
            <a:tailEnd/>
          </a:ln>
          <a:effectLst/>
        </p:spPr>
        <p:txBody>
          <a:bodyPr vert="horz" wrap="square" lIns="72009" tIns="72009" rIns="72009" bIns="72009" numCol="1" rtlCol="0" anchor="ctr" anchorCtr="0" compatLnSpc="1">
            <a:prstTxWarp prst="textNoShape">
              <a:avLst/>
            </a:prstTxWarp>
            <a:noAutofit/>
          </a:bodyPr>
          <a:lstStyle/>
          <a:p>
            <a:pPr marL="0" marR="0" lvl="0" indent="0" algn="ctr" defTabSz="914400" rtl="0" eaLnBrk="1" fontAlgn="ctr" latinLnBrk="0" hangingPunct="1">
              <a:lnSpc>
                <a:spcPct val="100000"/>
              </a:lnSpc>
              <a:spcBef>
                <a:spcPts val="0"/>
              </a:spcBef>
              <a:spcAft>
                <a:spcPts val="300"/>
              </a:spcAft>
              <a:buClrTx/>
              <a:buSzTx/>
              <a:buFontTx/>
              <a:buNone/>
              <a:tabLst/>
              <a:defRPr/>
            </a:pPr>
            <a:r>
              <a:rPr kumimoji="0" lang="en-IE" sz="1400" b="1" i="0" u="none" strike="noStrike" kern="0" cap="none" spc="0" normalizeH="0" baseline="0" noProof="0" dirty="0">
                <a:ln>
                  <a:noFill/>
                </a:ln>
                <a:effectLst/>
                <a:uLnTx/>
                <a:uFillTx/>
                <a:latin typeface="+mj-lt"/>
                <a:ea typeface="+mn-ea"/>
                <a:cs typeface="Arial" pitchFamily="34" charset="0"/>
              </a:rPr>
              <a:t>&lt;Other if applicable&gt;</a:t>
            </a:r>
          </a:p>
        </p:txBody>
      </p:sp>
      <p:sp>
        <p:nvSpPr>
          <p:cNvPr id="13" name="Arrow: Chevron 12">
            <a:extLst>
              <a:ext uri="{FF2B5EF4-FFF2-40B4-BE49-F238E27FC236}">
                <a16:creationId xmlns:a16="http://schemas.microsoft.com/office/drawing/2014/main" id="{9B33C129-A767-48E8-962E-5B6F3655BAE7}"/>
              </a:ext>
            </a:extLst>
          </p:cNvPr>
          <p:cNvSpPr/>
          <p:nvPr/>
        </p:nvSpPr>
        <p:spPr>
          <a:xfrm>
            <a:off x="9526490" y="1763713"/>
            <a:ext cx="2283876" cy="1736725"/>
          </a:xfrm>
          <a:prstGeom prst="chevron">
            <a:avLst>
              <a:gd name="adj" fmla="val 15715"/>
            </a:avLst>
          </a:prstGeom>
          <a:solidFill>
            <a:schemeClr val="accent1"/>
          </a:solidFill>
          <a:ln w="9525" cap="flat" cmpd="sng" algn="ctr">
            <a:noFill/>
            <a:prstDash val="solid"/>
          </a:ln>
          <a:effectLst/>
        </p:spPr>
        <p:txBody>
          <a:bodyPr wrap="square" lIns="144000" tIns="108000" rIns="36000" bIns="108000" rtlCol="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mj-lt"/>
                <a:ea typeface="+mn-ea"/>
                <a:cs typeface="+mn-cs"/>
              </a:rPr>
              <a:t>To outcome</a:t>
            </a:r>
          </a:p>
        </p:txBody>
      </p:sp>
      <p:sp>
        <p:nvSpPr>
          <p:cNvPr id="14" name="Content Placeholder 7">
            <a:extLst>
              <a:ext uri="{FF2B5EF4-FFF2-40B4-BE49-F238E27FC236}">
                <a16:creationId xmlns:a16="http://schemas.microsoft.com/office/drawing/2014/main" id="{0369EEFD-2EC3-4761-8CDD-A1134908C1BE}"/>
              </a:ext>
            </a:extLst>
          </p:cNvPr>
          <p:cNvSpPr txBox="1">
            <a:spLocks/>
          </p:cNvSpPr>
          <p:nvPr/>
        </p:nvSpPr>
        <p:spPr bwMode="auto">
          <a:xfrm>
            <a:off x="381000" y="3751442"/>
            <a:ext cx="2322090" cy="1585733"/>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11" name="Content Placeholder 7">
            <a:extLst>
              <a:ext uri="{FF2B5EF4-FFF2-40B4-BE49-F238E27FC236}">
                <a16:creationId xmlns:a16="http://schemas.microsoft.com/office/drawing/2014/main" id="{BA3061B7-22DB-4491-9EA9-AD5288AAE191}"/>
              </a:ext>
            </a:extLst>
          </p:cNvPr>
          <p:cNvSpPr txBox="1">
            <a:spLocks/>
          </p:cNvSpPr>
          <p:nvPr/>
        </p:nvSpPr>
        <p:spPr bwMode="auto">
          <a:xfrm>
            <a:off x="3250444" y="3751442"/>
            <a:ext cx="5426662" cy="1585733"/>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15" name="Content Placeholder 7">
            <a:extLst>
              <a:ext uri="{FF2B5EF4-FFF2-40B4-BE49-F238E27FC236}">
                <a16:creationId xmlns:a16="http://schemas.microsoft.com/office/drawing/2014/main" id="{FFFB59AA-D933-40A6-BB8F-6043BE0850A8}"/>
              </a:ext>
            </a:extLst>
          </p:cNvPr>
          <p:cNvSpPr txBox="1">
            <a:spLocks/>
          </p:cNvSpPr>
          <p:nvPr/>
        </p:nvSpPr>
        <p:spPr bwMode="auto">
          <a:xfrm>
            <a:off x="9526490" y="3751442"/>
            <a:ext cx="2203569" cy="1585733"/>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5" name="Footer Placeholder 4">
            <a:extLst>
              <a:ext uri="{FF2B5EF4-FFF2-40B4-BE49-F238E27FC236}">
                <a16:creationId xmlns:a16="http://schemas.microsoft.com/office/drawing/2014/main" id="{5E23D45A-9765-49B0-83F5-CFD7E4CEB38F}"/>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7" name="Slide Number Placeholder 16">
            <a:extLst>
              <a:ext uri="{FF2B5EF4-FFF2-40B4-BE49-F238E27FC236}">
                <a16:creationId xmlns:a16="http://schemas.microsoft.com/office/drawing/2014/main" id="{99976F0F-2E03-4F82-8776-DD1DF6197BE8}"/>
              </a:ext>
            </a:extLst>
          </p:cNvPr>
          <p:cNvSpPr>
            <a:spLocks noGrp="1"/>
          </p:cNvSpPr>
          <p:nvPr>
            <p:ph type="sldNum" sz="quarter" idx="10"/>
          </p:nvPr>
        </p:nvSpPr>
        <p:spPr/>
        <p:txBody>
          <a:bodyPr/>
          <a:lstStyle/>
          <a:p>
            <a:fld id="{1F90F471-3972-4120-B8B3-0237DE626C35}" type="slidenum">
              <a:rPr lang="en-US" smtClean="0"/>
              <a:pPr/>
              <a:t>236</a:t>
            </a:fld>
            <a:endParaRPr lang="en-US" dirty="0"/>
          </a:p>
        </p:txBody>
      </p:sp>
      <p:sp>
        <p:nvSpPr>
          <p:cNvPr id="12" name="AutoShape 5">
            <a:extLst>
              <a:ext uri="{FF2B5EF4-FFF2-40B4-BE49-F238E27FC236}">
                <a16:creationId xmlns:a16="http://schemas.microsoft.com/office/drawing/2014/main" id="{52DF599A-A40F-4713-A84D-D9ADE3EFB130}"/>
              </a:ext>
            </a:extLst>
          </p:cNvPr>
          <p:cNvSpPr>
            <a:spLocks noChangeArrowheads="1"/>
          </p:cNvSpPr>
          <p:nvPr/>
        </p:nvSpPr>
        <p:spPr bwMode="auto">
          <a:xfrm>
            <a:off x="381000" y="1763713"/>
            <a:ext cx="2282410" cy="1736725"/>
          </a:xfrm>
          <a:prstGeom prst="homePlate">
            <a:avLst>
              <a:gd name="adj" fmla="val 16553"/>
            </a:avLst>
          </a:prstGeom>
          <a:solidFill>
            <a:schemeClr val="accent3"/>
          </a:solidFill>
          <a:ln w="6350">
            <a:noFill/>
            <a:miter lim="800000"/>
            <a:headEnd/>
            <a:tailEnd/>
          </a:ln>
          <a:effectLst/>
        </p:spPr>
        <p:txBody>
          <a:bodyPr wrap="square" lIns="108000" tIns="108000" rIns="108000" bIns="108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mj-lt"/>
                <a:ea typeface="+mn-ea"/>
                <a:cs typeface="+mn-cs"/>
              </a:rPr>
              <a:t>From issue</a:t>
            </a:r>
          </a:p>
        </p:txBody>
      </p:sp>
    </p:spTree>
    <p:extLst>
      <p:ext uri="{BB962C8B-B14F-4D97-AF65-F5344CB8AC3E}">
        <p14:creationId xmlns:p14="http://schemas.microsoft.com/office/powerpoint/2010/main" val="2536391564"/>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6103C4F-860D-4836-B336-1DA421BC538E}"/>
              </a:ext>
            </a:extLst>
          </p:cNvPr>
          <p:cNvSpPr txBox="1"/>
          <p:nvPr/>
        </p:nvSpPr>
        <p:spPr bwMode="auto">
          <a:xfrm>
            <a:off x="381000" y="1"/>
            <a:ext cx="1081548" cy="257369"/>
          </a:xfrm>
          <a:prstGeom prst="rect">
            <a:avLst/>
          </a:prstGeom>
          <a:solidFill>
            <a:schemeClr val="accent2"/>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ea typeface="+mn-ea"/>
                <a:cs typeface="+mn-cs"/>
              </a:rPr>
              <a:t>Option 3</a:t>
            </a:r>
          </a:p>
        </p:txBody>
      </p:sp>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US" dirty="0"/>
              <a:t>Summary of your business </a:t>
            </a:r>
            <a:br>
              <a:rPr lang="en-US" dirty="0"/>
            </a:br>
            <a:r>
              <a:rPr lang="en-US" dirty="0"/>
              <a:t>issues and outcomes</a:t>
            </a:r>
          </a:p>
        </p:txBody>
      </p:sp>
      <p:sp>
        <p:nvSpPr>
          <p:cNvPr id="8" name="AutoShape 4">
            <a:extLst>
              <a:ext uri="{FF2B5EF4-FFF2-40B4-BE49-F238E27FC236}">
                <a16:creationId xmlns:a16="http://schemas.microsoft.com/office/drawing/2014/main" id="{5501EB44-B07A-4E11-BCE5-1487978426C7}"/>
              </a:ext>
            </a:extLst>
          </p:cNvPr>
          <p:cNvSpPr>
            <a:spLocks noChangeArrowheads="1"/>
          </p:cNvSpPr>
          <p:nvPr/>
        </p:nvSpPr>
        <p:spPr bwMode="auto">
          <a:xfrm>
            <a:off x="381000" y="1763713"/>
            <a:ext cx="1463744" cy="1267422"/>
          </a:xfrm>
          <a:prstGeom prst="hexagon">
            <a:avLst>
              <a:gd name="adj" fmla="val 27042"/>
              <a:gd name="vf" fmla="val 115470"/>
            </a:avLst>
          </a:prstGeom>
          <a:solidFill>
            <a:schemeClr val="accent3"/>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From issue</a:t>
            </a:r>
          </a:p>
        </p:txBody>
      </p:sp>
      <p:sp>
        <p:nvSpPr>
          <p:cNvPr id="10" name="Content Placeholder 7">
            <a:extLst>
              <a:ext uri="{FF2B5EF4-FFF2-40B4-BE49-F238E27FC236}">
                <a16:creationId xmlns:a16="http://schemas.microsoft.com/office/drawing/2014/main" id="{9D6BCF8B-3E29-4701-B172-75612E91001D}"/>
              </a:ext>
            </a:extLst>
          </p:cNvPr>
          <p:cNvSpPr txBox="1">
            <a:spLocks/>
          </p:cNvSpPr>
          <p:nvPr/>
        </p:nvSpPr>
        <p:spPr bwMode="auto">
          <a:xfrm>
            <a:off x="381000" y="3401961"/>
            <a:ext cx="1465347" cy="2655939"/>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cxnSp>
        <p:nvCxnSpPr>
          <p:cNvPr id="7" name="Straight Arrow Connector 6">
            <a:extLst>
              <a:ext uri="{FF2B5EF4-FFF2-40B4-BE49-F238E27FC236}">
                <a16:creationId xmlns:a16="http://schemas.microsoft.com/office/drawing/2014/main" id="{2508467C-460B-4895-9183-F8B479F58F60}"/>
              </a:ext>
              <a:ext uri="{C183D7F6-B498-43B3-948B-1728B52AA6E4}">
                <adec:decorative xmlns:adec="http://schemas.microsoft.com/office/drawing/2017/decorative" val="1"/>
              </a:ext>
            </a:extLst>
          </p:cNvPr>
          <p:cNvCxnSpPr>
            <a:stCxn id="8" idx="0"/>
            <a:endCxn id="9" idx="3"/>
          </p:cNvCxnSpPr>
          <p:nvPr/>
        </p:nvCxnSpPr>
        <p:spPr>
          <a:xfrm flipV="1">
            <a:off x="1844744" y="2382666"/>
            <a:ext cx="8501879" cy="14758"/>
          </a:xfrm>
          <a:prstGeom prst="straightConnector1">
            <a:avLst/>
          </a:prstGeom>
          <a:noFill/>
          <a:ln w="15875" cap="flat" cmpd="sng" algn="ctr">
            <a:gradFill>
              <a:gsLst>
                <a:gs pos="0">
                  <a:schemeClr val="accent3"/>
                </a:gs>
                <a:gs pos="100000">
                  <a:schemeClr val="accent1"/>
                </a:gs>
              </a:gsLst>
              <a:lin ang="1200000" scaled="0"/>
            </a:gradFill>
            <a:prstDash val="solid"/>
            <a:tailEnd type="none"/>
          </a:ln>
          <a:effectLst/>
        </p:spPr>
      </p:cxnSp>
      <p:sp>
        <p:nvSpPr>
          <p:cNvPr id="9" name="AutoShape 4">
            <a:extLst>
              <a:ext uri="{FF2B5EF4-FFF2-40B4-BE49-F238E27FC236}">
                <a16:creationId xmlns:a16="http://schemas.microsoft.com/office/drawing/2014/main" id="{1233EB42-D65B-419B-8D29-CB79863AB476}"/>
              </a:ext>
            </a:extLst>
          </p:cNvPr>
          <p:cNvSpPr>
            <a:spLocks noChangeArrowheads="1"/>
          </p:cNvSpPr>
          <p:nvPr/>
        </p:nvSpPr>
        <p:spPr bwMode="auto">
          <a:xfrm>
            <a:off x="10346622" y="1763713"/>
            <a:ext cx="1463744" cy="1237905"/>
          </a:xfrm>
          <a:prstGeom prst="hexagon">
            <a:avLst>
              <a:gd name="adj" fmla="val 27042"/>
              <a:gd name="vf" fmla="val 115470"/>
            </a:avLst>
          </a:prstGeom>
          <a:solidFill>
            <a:schemeClr val="accent1"/>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To outcome</a:t>
            </a:r>
          </a:p>
        </p:txBody>
      </p:sp>
      <p:sp>
        <p:nvSpPr>
          <p:cNvPr id="11" name="Content Placeholder 7">
            <a:extLst>
              <a:ext uri="{FF2B5EF4-FFF2-40B4-BE49-F238E27FC236}">
                <a16:creationId xmlns:a16="http://schemas.microsoft.com/office/drawing/2014/main" id="{8F8BBCBA-56FF-4552-92B8-8A0A544A464B}"/>
              </a:ext>
            </a:extLst>
          </p:cNvPr>
          <p:cNvSpPr txBox="1">
            <a:spLocks/>
          </p:cNvSpPr>
          <p:nvPr/>
        </p:nvSpPr>
        <p:spPr bwMode="auto">
          <a:xfrm>
            <a:off x="10346622" y="3401961"/>
            <a:ext cx="1463744" cy="2655939"/>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5" name="Footer Placeholder 4">
            <a:extLst>
              <a:ext uri="{FF2B5EF4-FFF2-40B4-BE49-F238E27FC236}">
                <a16:creationId xmlns:a16="http://schemas.microsoft.com/office/drawing/2014/main" id="{EEAE2B7B-12E0-4766-9B85-659E9F7AB3D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3" name="Slide Number Placeholder 12">
            <a:extLst>
              <a:ext uri="{FF2B5EF4-FFF2-40B4-BE49-F238E27FC236}">
                <a16:creationId xmlns:a16="http://schemas.microsoft.com/office/drawing/2014/main" id="{E831F106-D4DD-4760-A86B-3B29AF9F8A5B}"/>
              </a:ext>
            </a:extLst>
          </p:cNvPr>
          <p:cNvSpPr>
            <a:spLocks noGrp="1"/>
          </p:cNvSpPr>
          <p:nvPr>
            <p:ph type="sldNum" sz="quarter" idx="10"/>
          </p:nvPr>
        </p:nvSpPr>
        <p:spPr/>
        <p:txBody>
          <a:bodyPr/>
          <a:lstStyle/>
          <a:p>
            <a:fld id="{1F90F471-3972-4120-B8B3-0237DE626C35}" type="slidenum">
              <a:rPr lang="en-US" smtClean="0"/>
              <a:pPr/>
              <a:t>237</a:t>
            </a:fld>
            <a:endParaRPr lang="en-US" dirty="0"/>
          </a:p>
        </p:txBody>
      </p:sp>
    </p:spTree>
    <p:extLst>
      <p:ext uri="{BB962C8B-B14F-4D97-AF65-F5344CB8AC3E}">
        <p14:creationId xmlns:p14="http://schemas.microsoft.com/office/powerpoint/2010/main" val="2128495475"/>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18149EF-E98C-4B18-8526-F30EF72E40C4}"/>
              </a:ext>
            </a:extLst>
          </p:cNvPr>
          <p:cNvSpPr txBox="1"/>
          <p:nvPr/>
        </p:nvSpPr>
        <p:spPr bwMode="auto">
          <a:xfrm>
            <a:off x="381000" y="1"/>
            <a:ext cx="1081548" cy="257369"/>
          </a:xfrm>
          <a:prstGeom prst="rect">
            <a:avLst/>
          </a:prstGeom>
          <a:solidFill>
            <a:schemeClr val="accent2"/>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ea typeface="+mn-ea"/>
                <a:cs typeface="+mn-cs"/>
              </a:rPr>
              <a:t>Option 3</a:t>
            </a:r>
          </a:p>
        </p:txBody>
      </p:sp>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ZA" dirty="0"/>
              <a:t>Our understanding of the </a:t>
            </a:r>
            <a:br>
              <a:rPr lang="en-ZA" dirty="0"/>
            </a:br>
            <a:r>
              <a:rPr lang="en-ZA" dirty="0"/>
              <a:t>critical considerations</a:t>
            </a:r>
            <a:endParaRPr lang="en-US" dirty="0"/>
          </a:p>
        </p:txBody>
      </p:sp>
      <p:sp>
        <p:nvSpPr>
          <p:cNvPr id="8" name="AutoShape 4">
            <a:extLst>
              <a:ext uri="{FF2B5EF4-FFF2-40B4-BE49-F238E27FC236}">
                <a16:creationId xmlns:a16="http://schemas.microsoft.com/office/drawing/2014/main" id="{A0B3857E-2C1C-47F7-8EAC-F61329F3C716}"/>
              </a:ext>
            </a:extLst>
          </p:cNvPr>
          <p:cNvSpPr>
            <a:spLocks noChangeArrowheads="1"/>
          </p:cNvSpPr>
          <p:nvPr/>
        </p:nvSpPr>
        <p:spPr bwMode="auto">
          <a:xfrm>
            <a:off x="381000" y="1763713"/>
            <a:ext cx="1463744" cy="1267422"/>
          </a:xfrm>
          <a:prstGeom prst="hexagon">
            <a:avLst>
              <a:gd name="adj" fmla="val 27042"/>
              <a:gd name="vf" fmla="val 115470"/>
            </a:avLst>
          </a:prstGeom>
          <a:solidFill>
            <a:srgbClr val="96968C">
              <a:lumMod val="40000"/>
              <a:lumOff val="60000"/>
            </a:srgbClr>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mj-lt"/>
                <a:ea typeface="+mn-ea"/>
                <a:cs typeface="+mn-cs"/>
              </a:rPr>
              <a:t>From issue</a:t>
            </a:r>
          </a:p>
        </p:txBody>
      </p:sp>
      <p:cxnSp>
        <p:nvCxnSpPr>
          <p:cNvPr id="7" name="Straight Arrow Connector 6">
            <a:extLst>
              <a:ext uri="{FF2B5EF4-FFF2-40B4-BE49-F238E27FC236}">
                <a16:creationId xmlns:a16="http://schemas.microsoft.com/office/drawing/2014/main" id="{BC834832-F305-4CD8-8406-B36D7AE7990F}"/>
              </a:ext>
              <a:ext uri="{C183D7F6-B498-43B3-948B-1728B52AA6E4}">
                <adec:decorative xmlns:adec="http://schemas.microsoft.com/office/drawing/2017/decorative" val="1"/>
              </a:ext>
            </a:extLst>
          </p:cNvPr>
          <p:cNvCxnSpPr>
            <a:stCxn id="8" idx="0"/>
            <a:endCxn id="12" idx="3"/>
          </p:cNvCxnSpPr>
          <p:nvPr/>
        </p:nvCxnSpPr>
        <p:spPr>
          <a:xfrm flipV="1">
            <a:off x="1844744" y="2382666"/>
            <a:ext cx="8501879" cy="14758"/>
          </a:xfrm>
          <a:prstGeom prst="straightConnector1">
            <a:avLst/>
          </a:prstGeom>
          <a:noFill/>
          <a:ln w="15875" cap="flat" cmpd="sng" algn="ctr">
            <a:gradFill>
              <a:gsLst>
                <a:gs pos="0">
                  <a:schemeClr val="accent3"/>
                </a:gs>
                <a:gs pos="100000">
                  <a:schemeClr val="accent1"/>
                </a:gs>
              </a:gsLst>
              <a:lin ang="1200000" scaled="0"/>
            </a:gradFill>
            <a:prstDash val="solid"/>
            <a:tailEnd type="none"/>
          </a:ln>
          <a:effectLst/>
        </p:spPr>
      </p:cxnSp>
      <p:sp>
        <p:nvSpPr>
          <p:cNvPr id="14" name="Content Placeholder 7">
            <a:extLst>
              <a:ext uri="{FF2B5EF4-FFF2-40B4-BE49-F238E27FC236}">
                <a16:creationId xmlns:a16="http://schemas.microsoft.com/office/drawing/2014/main" id="{5777F958-62FD-4559-BAA9-80500912636B}"/>
              </a:ext>
            </a:extLst>
          </p:cNvPr>
          <p:cNvSpPr txBox="1">
            <a:spLocks/>
          </p:cNvSpPr>
          <p:nvPr/>
        </p:nvSpPr>
        <p:spPr bwMode="auto">
          <a:xfrm>
            <a:off x="381000" y="3500438"/>
            <a:ext cx="1465347"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9" name="AutoShape 4">
            <a:extLst>
              <a:ext uri="{FF2B5EF4-FFF2-40B4-BE49-F238E27FC236}">
                <a16:creationId xmlns:a16="http://schemas.microsoft.com/office/drawing/2014/main" id="{8EF7D3E4-7454-43FB-9732-20A294A38530}"/>
              </a:ext>
            </a:extLst>
          </p:cNvPr>
          <p:cNvSpPr>
            <a:spLocks noChangeArrowheads="1"/>
          </p:cNvSpPr>
          <p:nvPr/>
        </p:nvSpPr>
        <p:spPr bwMode="auto">
          <a:xfrm>
            <a:off x="2374124" y="1763713"/>
            <a:ext cx="1463744" cy="1237905"/>
          </a:xfrm>
          <a:prstGeom prst="hexagon">
            <a:avLst>
              <a:gd name="adj" fmla="val 27042"/>
              <a:gd name="vf" fmla="val 115470"/>
            </a:avLst>
          </a:prstGeom>
          <a:solidFill>
            <a:schemeClr val="accent2"/>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Pace</a:t>
            </a:r>
          </a:p>
        </p:txBody>
      </p:sp>
      <p:sp>
        <p:nvSpPr>
          <p:cNvPr id="15" name="Content Placeholder 7">
            <a:extLst>
              <a:ext uri="{FF2B5EF4-FFF2-40B4-BE49-F238E27FC236}">
                <a16:creationId xmlns:a16="http://schemas.microsoft.com/office/drawing/2014/main" id="{D2EA09BA-02DA-424C-BF85-6A5D4D242DF9}"/>
              </a:ext>
            </a:extLst>
          </p:cNvPr>
          <p:cNvSpPr txBox="1">
            <a:spLocks/>
          </p:cNvSpPr>
          <p:nvPr/>
        </p:nvSpPr>
        <p:spPr bwMode="auto">
          <a:xfrm>
            <a:off x="2374124" y="3500438"/>
            <a:ext cx="1465347"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10" name="AutoShape 4">
            <a:extLst>
              <a:ext uri="{FF2B5EF4-FFF2-40B4-BE49-F238E27FC236}">
                <a16:creationId xmlns:a16="http://schemas.microsoft.com/office/drawing/2014/main" id="{C19A1700-BADA-41E7-B709-3B7C8B98B017}"/>
              </a:ext>
            </a:extLst>
          </p:cNvPr>
          <p:cNvSpPr>
            <a:spLocks noChangeArrowheads="1"/>
          </p:cNvSpPr>
          <p:nvPr/>
        </p:nvSpPr>
        <p:spPr bwMode="auto">
          <a:xfrm>
            <a:off x="4367248" y="1763713"/>
            <a:ext cx="1463744" cy="1237905"/>
          </a:xfrm>
          <a:prstGeom prst="hexagon">
            <a:avLst>
              <a:gd name="adj" fmla="val 27042"/>
              <a:gd name="vf" fmla="val 115470"/>
            </a:avLst>
          </a:prstGeom>
          <a:solidFill>
            <a:schemeClr val="accent2"/>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Certainty</a:t>
            </a:r>
          </a:p>
        </p:txBody>
      </p:sp>
      <p:sp>
        <p:nvSpPr>
          <p:cNvPr id="16" name="Content Placeholder 7">
            <a:extLst>
              <a:ext uri="{FF2B5EF4-FFF2-40B4-BE49-F238E27FC236}">
                <a16:creationId xmlns:a16="http://schemas.microsoft.com/office/drawing/2014/main" id="{A2BDF42F-AE44-43EF-A5C2-99A434FBD7BB}"/>
              </a:ext>
            </a:extLst>
          </p:cNvPr>
          <p:cNvSpPr txBox="1">
            <a:spLocks/>
          </p:cNvSpPr>
          <p:nvPr/>
        </p:nvSpPr>
        <p:spPr bwMode="auto">
          <a:xfrm>
            <a:off x="4367248" y="3500438"/>
            <a:ext cx="1465347"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11" name="AutoShape 4">
            <a:extLst>
              <a:ext uri="{FF2B5EF4-FFF2-40B4-BE49-F238E27FC236}">
                <a16:creationId xmlns:a16="http://schemas.microsoft.com/office/drawing/2014/main" id="{896A6B25-81FD-4C74-8D90-B3353EFD5295}"/>
              </a:ext>
            </a:extLst>
          </p:cNvPr>
          <p:cNvSpPr>
            <a:spLocks noChangeArrowheads="1"/>
          </p:cNvSpPr>
          <p:nvPr/>
        </p:nvSpPr>
        <p:spPr bwMode="auto">
          <a:xfrm>
            <a:off x="6360372" y="1763713"/>
            <a:ext cx="1463744" cy="1237905"/>
          </a:xfrm>
          <a:prstGeom prst="hexagon">
            <a:avLst>
              <a:gd name="adj" fmla="val 27042"/>
              <a:gd name="vf" fmla="val 115470"/>
            </a:avLst>
          </a:prstGeom>
          <a:solidFill>
            <a:schemeClr val="accent2"/>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Strategic agility</a:t>
            </a:r>
          </a:p>
        </p:txBody>
      </p:sp>
      <p:sp>
        <p:nvSpPr>
          <p:cNvPr id="17" name="Content Placeholder 7">
            <a:extLst>
              <a:ext uri="{FF2B5EF4-FFF2-40B4-BE49-F238E27FC236}">
                <a16:creationId xmlns:a16="http://schemas.microsoft.com/office/drawing/2014/main" id="{10C46C62-FD0E-45EB-BDC2-D19BD42A6BE0}"/>
              </a:ext>
            </a:extLst>
          </p:cNvPr>
          <p:cNvSpPr txBox="1">
            <a:spLocks/>
          </p:cNvSpPr>
          <p:nvPr/>
        </p:nvSpPr>
        <p:spPr bwMode="auto">
          <a:xfrm>
            <a:off x="6360372" y="3500438"/>
            <a:ext cx="1465347"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13" name="AutoShape 4">
            <a:extLst>
              <a:ext uri="{FF2B5EF4-FFF2-40B4-BE49-F238E27FC236}">
                <a16:creationId xmlns:a16="http://schemas.microsoft.com/office/drawing/2014/main" id="{011C19D8-8AAE-474D-BD4E-EE7CC3CC1BC1}"/>
              </a:ext>
            </a:extLst>
          </p:cNvPr>
          <p:cNvSpPr>
            <a:spLocks noChangeArrowheads="1"/>
          </p:cNvSpPr>
          <p:nvPr/>
        </p:nvSpPr>
        <p:spPr bwMode="auto">
          <a:xfrm>
            <a:off x="8353496" y="1747995"/>
            <a:ext cx="1463744" cy="1237905"/>
          </a:xfrm>
          <a:prstGeom prst="hexagon">
            <a:avLst>
              <a:gd name="adj" fmla="val 27042"/>
              <a:gd name="vf" fmla="val 115470"/>
            </a:avLst>
          </a:prstGeom>
          <a:solidFill>
            <a:schemeClr val="accent2"/>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Other  </a:t>
            </a:r>
            <a:br>
              <a:rPr kumimoji="0" lang="en-US" sz="1200" b="1" i="0" u="none" strike="noStrike" kern="0" cap="none" spc="0" normalizeH="0" baseline="0" noProof="0" dirty="0">
                <a:ln>
                  <a:noFill/>
                </a:ln>
                <a:solidFill>
                  <a:srgbClr val="FFFFFF"/>
                </a:solidFill>
                <a:effectLst/>
                <a:uLnTx/>
                <a:uFillTx/>
                <a:latin typeface="+mj-lt"/>
                <a:ea typeface="+mn-ea"/>
                <a:cs typeface="+mn-cs"/>
              </a:rPr>
            </a:br>
            <a:r>
              <a:rPr kumimoji="0" lang="en-US" sz="1100" b="1" i="0" u="none" strike="noStrike" kern="0" cap="none" spc="0" normalizeH="0" baseline="0" noProof="0" dirty="0">
                <a:ln>
                  <a:noFill/>
                </a:ln>
                <a:solidFill>
                  <a:srgbClr val="FFFFFF"/>
                </a:solidFill>
                <a:effectLst/>
                <a:uLnTx/>
                <a:uFillTx/>
                <a:latin typeface="+mj-lt"/>
                <a:ea typeface="+mn-ea"/>
                <a:cs typeface="+mn-cs"/>
              </a:rPr>
              <a:t>(if applicable)</a:t>
            </a:r>
            <a:endParaRPr kumimoji="0" lang="en-US" sz="1200" b="1" i="0" u="none" strike="noStrike" kern="0" cap="none" spc="0" normalizeH="0" baseline="0" noProof="0" dirty="0">
              <a:ln>
                <a:noFill/>
              </a:ln>
              <a:solidFill>
                <a:srgbClr val="FFFFFF"/>
              </a:solidFill>
              <a:effectLst/>
              <a:uLnTx/>
              <a:uFillTx/>
              <a:latin typeface="+mj-lt"/>
              <a:ea typeface="+mn-ea"/>
              <a:cs typeface="+mn-cs"/>
            </a:endParaRPr>
          </a:p>
        </p:txBody>
      </p:sp>
      <p:sp>
        <p:nvSpPr>
          <p:cNvPr id="18" name="Content Placeholder 7">
            <a:extLst>
              <a:ext uri="{FF2B5EF4-FFF2-40B4-BE49-F238E27FC236}">
                <a16:creationId xmlns:a16="http://schemas.microsoft.com/office/drawing/2014/main" id="{84BF1634-7EE0-4E01-82C3-CBF19F22D801}"/>
              </a:ext>
            </a:extLst>
          </p:cNvPr>
          <p:cNvSpPr txBox="1">
            <a:spLocks/>
          </p:cNvSpPr>
          <p:nvPr/>
        </p:nvSpPr>
        <p:spPr bwMode="auto">
          <a:xfrm>
            <a:off x="8353496" y="3500438"/>
            <a:ext cx="1465347"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12" name="AutoShape 4">
            <a:extLst>
              <a:ext uri="{FF2B5EF4-FFF2-40B4-BE49-F238E27FC236}">
                <a16:creationId xmlns:a16="http://schemas.microsoft.com/office/drawing/2014/main" id="{688AFF1B-53A3-46BB-AEBC-EA5868C814EC}"/>
              </a:ext>
            </a:extLst>
          </p:cNvPr>
          <p:cNvSpPr>
            <a:spLocks noChangeArrowheads="1"/>
          </p:cNvSpPr>
          <p:nvPr/>
        </p:nvSpPr>
        <p:spPr bwMode="auto">
          <a:xfrm>
            <a:off x="10346622" y="1763713"/>
            <a:ext cx="1463744" cy="1237905"/>
          </a:xfrm>
          <a:prstGeom prst="hexagon">
            <a:avLst>
              <a:gd name="adj" fmla="val 27042"/>
              <a:gd name="vf" fmla="val 115470"/>
            </a:avLst>
          </a:prstGeom>
          <a:solidFill>
            <a:srgbClr val="96968C">
              <a:lumMod val="40000"/>
              <a:lumOff val="60000"/>
            </a:srgbClr>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mj-lt"/>
                <a:ea typeface="+mn-ea"/>
                <a:cs typeface="+mn-cs"/>
              </a:rPr>
              <a:t>To outcome</a:t>
            </a:r>
          </a:p>
        </p:txBody>
      </p:sp>
      <p:sp>
        <p:nvSpPr>
          <p:cNvPr id="25" name="Content Placeholder 7">
            <a:extLst>
              <a:ext uri="{FF2B5EF4-FFF2-40B4-BE49-F238E27FC236}">
                <a16:creationId xmlns:a16="http://schemas.microsoft.com/office/drawing/2014/main" id="{2EA8CC4D-3AB6-466F-A690-72B639764BE0}"/>
              </a:ext>
            </a:extLst>
          </p:cNvPr>
          <p:cNvSpPr txBox="1">
            <a:spLocks/>
          </p:cNvSpPr>
          <p:nvPr/>
        </p:nvSpPr>
        <p:spPr bwMode="auto">
          <a:xfrm>
            <a:off x="10346622" y="3500438"/>
            <a:ext cx="1463744"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grpSp>
        <p:nvGrpSpPr>
          <p:cNvPr id="19" name="Group 18" descr="Critical considerations insert info here">
            <a:extLst>
              <a:ext uri="{FF2B5EF4-FFF2-40B4-BE49-F238E27FC236}">
                <a16:creationId xmlns:a16="http://schemas.microsoft.com/office/drawing/2014/main" id="{50881CA7-F2FE-4FE1-9593-58C662D9AF93}"/>
              </a:ext>
            </a:extLst>
          </p:cNvPr>
          <p:cNvGrpSpPr/>
          <p:nvPr/>
        </p:nvGrpSpPr>
        <p:grpSpPr>
          <a:xfrm>
            <a:off x="2110236" y="3490452"/>
            <a:ext cx="7972496" cy="2567448"/>
            <a:chOff x="2086388" y="3490452"/>
            <a:chExt cx="8030456" cy="2605548"/>
          </a:xfrm>
        </p:grpSpPr>
        <p:cxnSp>
          <p:nvCxnSpPr>
            <p:cNvPr id="20" name="Straight Connector 19">
              <a:extLst>
                <a:ext uri="{FF2B5EF4-FFF2-40B4-BE49-F238E27FC236}">
                  <a16:creationId xmlns:a16="http://schemas.microsoft.com/office/drawing/2014/main" id="{DB73A4C1-3E58-4C0F-9809-A3E9F80EE1A6}"/>
                </a:ext>
              </a:extLst>
            </p:cNvPr>
            <p:cNvCxnSpPr/>
            <p:nvPr/>
          </p:nvCxnSpPr>
          <p:spPr>
            <a:xfrm>
              <a:off x="2086388" y="3490452"/>
              <a:ext cx="0" cy="2605548"/>
            </a:xfrm>
            <a:prstGeom prst="line">
              <a:avLst/>
            </a:prstGeom>
            <a:noFill/>
            <a:ln w="19050" cap="flat" cmpd="sng" algn="ctr">
              <a:solidFill>
                <a:srgbClr val="96968C">
                  <a:lumMod val="40000"/>
                  <a:lumOff val="60000"/>
                </a:srgbClr>
              </a:solidFill>
              <a:prstDash val="sysDot"/>
            </a:ln>
            <a:effectLst/>
          </p:spPr>
        </p:cxnSp>
        <p:cxnSp>
          <p:nvCxnSpPr>
            <p:cNvPr id="21" name="Straight Connector 20">
              <a:extLst>
                <a:ext uri="{FF2B5EF4-FFF2-40B4-BE49-F238E27FC236}">
                  <a16:creationId xmlns:a16="http://schemas.microsoft.com/office/drawing/2014/main" id="{B6AE6B93-8E75-410D-BF7C-8AB3630C4559}"/>
                </a:ext>
              </a:extLst>
            </p:cNvPr>
            <p:cNvCxnSpPr/>
            <p:nvPr/>
          </p:nvCxnSpPr>
          <p:spPr>
            <a:xfrm>
              <a:off x="4094002" y="3490452"/>
              <a:ext cx="0" cy="2605548"/>
            </a:xfrm>
            <a:prstGeom prst="line">
              <a:avLst/>
            </a:prstGeom>
            <a:noFill/>
            <a:ln w="19050" cap="flat" cmpd="sng" algn="ctr">
              <a:solidFill>
                <a:srgbClr val="96968C">
                  <a:lumMod val="40000"/>
                  <a:lumOff val="60000"/>
                </a:srgbClr>
              </a:solidFill>
              <a:prstDash val="sysDot"/>
            </a:ln>
            <a:effectLst/>
          </p:spPr>
        </p:cxnSp>
        <p:cxnSp>
          <p:nvCxnSpPr>
            <p:cNvPr id="22" name="Straight Connector 21">
              <a:extLst>
                <a:ext uri="{FF2B5EF4-FFF2-40B4-BE49-F238E27FC236}">
                  <a16:creationId xmlns:a16="http://schemas.microsoft.com/office/drawing/2014/main" id="{989F7B79-C751-481E-9A82-DE1A5BB22769}"/>
                </a:ext>
              </a:extLst>
            </p:cNvPr>
            <p:cNvCxnSpPr/>
            <p:nvPr/>
          </p:nvCxnSpPr>
          <p:spPr>
            <a:xfrm>
              <a:off x="6101616" y="3490452"/>
              <a:ext cx="0" cy="2605548"/>
            </a:xfrm>
            <a:prstGeom prst="line">
              <a:avLst/>
            </a:prstGeom>
            <a:noFill/>
            <a:ln w="19050" cap="flat" cmpd="sng" algn="ctr">
              <a:solidFill>
                <a:srgbClr val="96968C">
                  <a:lumMod val="40000"/>
                  <a:lumOff val="60000"/>
                </a:srgbClr>
              </a:solidFill>
              <a:prstDash val="sysDot"/>
            </a:ln>
            <a:effectLst/>
          </p:spPr>
        </p:cxnSp>
        <p:cxnSp>
          <p:nvCxnSpPr>
            <p:cNvPr id="23" name="Straight Connector 22">
              <a:extLst>
                <a:ext uri="{FF2B5EF4-FFF2-40B4-BE49-F238E27FC236}">
                  <a16:creationId xmlns:a16="http://schemas.microsoft.com/office/drawing/2014/main" id="{617E3D91-CEE5-48DC-9A20-395DD923216F}"/>
                </a:ext>
              </a:extLst>
            </p:cNvPr>
            <p:cNvCxnSpPr/>
            <p:nvPr/>
          </p:nvCxnSpPr>
          <p:spPr>
            <a:xfrm>
              <a:off x="8109230" y="3490452"/>
              <a:ext cx="0" cy="2605548"/>
            </a:xfrm>
            <a:prstGeom prst="line">
              <a:avLst/>
            </a:prstGeom>
            <a:noFill/>
            <a:ln w="19050" cap="flat" cmpd="sng" algn="ctr">
              <a:solidFill>
                <a:srgbClr val="96968C">
                  <a:lumMod val="40000"/>
                  <a:lumOff val="60000"/>
                </a:srgbClr>
              </a:solidFill>
              <a:prstDash val="sysDot"/>
            </a:ln>
            <a:effectLst/>
          </p:spPr>
        </p:cxnSp>
        <p:cxnSp>
          <p:nvCxnSpPr>
            <p:cNvPr id="24" name="Straight Connector 23">
              <a:extLst>
                <a:ext uri="{FF2B5EF4-FFF2-40B4-BE49-F238E27FC236}">
                  <a16:creationId xmlns:a16="http://schemas.microsoft.com/office/drawing/2014/main" id="{40306021-67F7-4E8E-9066-5E7973CA67EC}"/>
                </a:ext>
              </a:extLst>
            </p:cNvPr>
            <p:cNvCxnSpPr/>
            <p:nvPr/>
          </p:nvCxnSpPr>
          <p:spPr>
            <a:xfrm>
              <a:off x="10116844" y="3490452"/>
              <a:ext cx="0" cy="2605548"/>
            </a:xfrm>
            <a:prstGeom prst="line">
              <a:avLst/>
            </a:prstGeom>
            <a:noFill/>
            <a:ln w="19050" cap="flat" cmpd="sng" algn="ctr">
              <a:solidFill>
                <a:srgbClr val="96968C">
                  <a:lumMod val="40000"/>
                  <a:lumOff val="60000"/>
                </a:srgbClr>
              </a:solidFill>
              <a:prstDash val="sysDot"/>
            </a:ln>
            <a:effectLst/>
          </p:spPr>
        </p:cxnSp>
      </p:grpSp>
      <p:sp>
        <p:nvSpPr>
          <p:cNvPr id="5" name="Footer Placeholder 4">
            <a:extLst>
              <a:ext uri="{FF2B5EF4-FFF2-40B4-BE49-F238E27FC236}">
                <a16:creationId xmlns:a16="http://schemas.microsoft.com/office/drawing/2014/main" id="{C7CAAD00-F81D-4762-A43F-3334C743876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7" name="Slide Number Placeholder 26">
            <a:extLst>
              <a:ext uri="{FF2B5EF4-FFF2-40B4-BE49-F238E27FC236}">
                <a16:creationId xmlns:a16="http://schemas.microsoft.com/office/drawing/2014/main" id="{877A94A7-4AC2-433B-AE7A-D80BE22F1063}"/>
              </a:ext>
            </a:extLst>
          </p:cNvPr>
          <p:cNvSpPr>
            <a:spLocks noGrp="1"/>
          </p:cNvSpPr>
          <p:nvPr>
            <p:ph type="sldNum" sz="quarter" idx="10"/>
          </p:nvPr>
        </p:nvSpPr>
        <p:spPr/>
        <p:txBody>
          <a:bodyPr/>
          <a:lstStyle/>
          <a:p>
            <a:fld id="{1F90F471-3972-4120-B8B3-0237DE626C35}" type="slidenum">
              <a:rPr lang="en-US" smtClean="0"/>
              <a:pPr/>
              <a:t>238</a:t>
            </a:fld>
            <a:endParaRPr lang="en-US" dirty="0"/>
          </a:p>
        </p:txBody>
      </p:sp>
    </p:spTree>
    <p:extLst>
      <p:ext uri="{BB962C8B-B14F-4D97-AF65-F5344CB8AC3E}">
        <p14:creationId xmlns:p14="http://schemas.microsoft.com/office/powerpoint/2010/main" val="411310782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extBox 67">
            <a:extLst>
              <a:ext uri="{FF2B5EF4-FFF2-40B4-BE49-F238E27FC236}">
                <a16:creationId xmlns:a16="http://schemas.microsoft.com/office/drawing/2014/main" id="{DC1EEA0E-2025-49A8-AEAA-6D8F231C935B}"/>
              </a:ext>
            </a:extLst>
          </p:cNvPr>
          <p:cNvSpPr txBox="1"/>
          <p:nvPr/>
        </p:nvSpPr>
        <p:spPr bwMode="auto">
          <a:xfrm>
            <a:off x="381000" y="1"/>
            <a:ext cx="1081548" cy="257369"/>
          </a:xfrm>
          <a:prstGeom prst="rect">
            <a:avLst/>
          </a:prstGeom>
          <a:solidFill>
            <a:schemeClr val="accent2"/>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ea typeface="+mn-ea"/>
                <a:cs typeface="+mn-cs"/>
              </a:rPr>
              <a:t>Option 3</a:t>
            </a:r>
          </a:p>
        </p:txBody>
      </p:sp>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ZA" dirty="0"/>
              <a:t>Our value proposition </a:t>
            </a:r>
            <a:br>
              <a:rPr lang="en-ZA" dirty="0"/>
            </a:br>
            <a:r>
              <a:rPr lang="en-ZA" dirty="0"/>
              <a:t>for the engagement</a:t>
            </a:r>
            <a:endParaRPr lang="en-US" dirty="0"/>
          </a:p>
        </p:txBody>
      </p:sp>
      <p:cxnSp>
        <p:nvCxnSpPr>
          <p:cNvPr id="48" name="Straight Arrow Connector 47">
            <a:extLst>
              <a:ext uri="{FF2B5EF4-FFF2-40B4-BE49-F238E27FC236}">
                <a16:creationId xmlns:a16="http://schemas.microsoft.com/office/drawing/2014/main" id="{00964921-9265-4431-81D2-975D5D3D444B}"/>
              </a:ext>
              <a:ext uri="{C183D7F6-B498-43B3-948B-1728B52AA6E4}">
                <adec:decorative xmlns:adec="http://schemas.microsoft.com/office/drawing/2017/decorative" val="1"/>
              </a:ext>
            </a:extLst>
          </p:cNvPr>
          <p:cNvCxnSpPr>
            <a:stCxn id="49" idx="0"/>
            <a:endCxn id="53" idx="3"/>
          </p:cNvCxnSpPr>
          <p:nvPr/>
        </p:nvCxnSpPr>
        <p:spPr>
          <a:xfrm flipV="1">
            <a:off x="1844744" y="2382666"/>
            <a:ext cx="8501879" cy="14758"/>
          </a:xfrm>
          <a:prstGeom prst="straightConnector1">
            <a:avLst/>
          </a:prstGeom>
          <a:noFill/>
          <a:ln w="15875" cap="flat" cmpd="sng" algn="ctr">
            <a:gradFill>
              <a:gsLst>
                <a:gs pos="0">
                  <a:schemeClr val="accent3"/>
                </a:gs>
                <a:gs pos="100000">
                  <a:schemeClr val="accent1"/>
                </a:gs>
              </a:gsLst>
              <a:lin ang="1200000" scaled="0"/>
            </a:gradFill>
            <a:prstDash val="solid"/>
            <a:tailEnd type="none"/>
          </a:ln>
          <a:effectLst/>
        </p:spPr>
      </p:cxnSp>
      <p:sp>
        <p:nvSpPr>
          <p:cNvPr id="49" name="AutoShape 4">
            <a:extLst>
              <a:ext uri="{FF2B5EF4-FFF2-40B4-BE49-F238E27FC236}">
                <a16:creationId xmlns:a16="http://schemas.microsoft.com/office/drawing/2014/main" id="{7754AC0B-E57D-4D90-B1DF-8F09149C623B}"/>
              </a:ext>
            </a:extLst>
          </p:cNvPr>
          <p:cNvSpPr>
            <a:spLocks noChangeArrowheads="1"/>
          </p:cNvSpPr>
          <p:nvPr/>
        </p:nvSpPr>
        <p:spPr bwMode="auto">
          <a:xfrm>
            <a:off x="381000" y="1763713"/>
            <a:ext cx="1463744" cy="1267422"/>
          </a:xfrm>
          <a:prstGeom prst="hexagon">
            <a:avLst>
              <a:gd name="adj" fmla="val 27042"/>
              <a:gd name="vf" fmla="val 115470"/>
            </a:avLst>
          </a:prstGeom>
          <a:solidFill>
            <a:schemeClr val="accent3"/>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From issue</a:t>
            </a:r>
          </a:p>
        </p:txBody>
      </p:sp>
      <p:sp>
        <p:nvSpPr>
          <p:cNvPr id="55" name="Content Placeholder 7">
            <a:extLst>
              <a:ext uri="{FF2B5EF4-FFF2-40B4-BE49-F238E27FC236}">
                <a16:creationId xmlns:a16="http://schemas.microsoft.com/office/drawing/2014/main" id="{DBAE180B-70EC-42BC-B014-8E8A513DF4DF}"/>
              </a:ext>
            </a:extLst>
          </p:cNvPr>
          <p:cNvSpPr txBox="1">
            <a:spLocks/>
          </p:cNvSpPr>
          <p:nvPr/>
        </p:nvSpPr>
        <p:spPr bwMode="auto">
          <a:xfrm>
            <a:off x="381000" y="3500438"/>
            <a:ext cx="1465347"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50" name="AutoShape 4">
            <a:extLst>
              <a:ext uri="{FF2B5EF4-FFF2-40B4-BE49-F238E27FC236}">
                <a16:creationId xmlns:a16="http://schemas.microsoft.com/office/drawing/2014/main" id="{BF07B91D-DE53-4593-9345-8CFA4DDE6A2D}"/>
              </a:ext>
            </a:extLst>
          </p:cNvPr>
          <p:cNvSpPr>
            <a:spLocks noChangeArrowheads="1"/>
          </p:cNvSpPr>
          <p:nvPr/>
        </p:nvSpPr>
        <p:spPr bwMode="auto">
          <a:xfrm>
            <a:off x="2374124" y="1763713"/>
            <a:ext cx="1463744" cy="1237905"/>
          </a:xfrm>
          <a:prstGeom prst="hexagon">
            <a:avLst>
              <a:gd name="adj" fmla="val 27042"/>
              <a:gd name="vf" fmla="val 115470"/>
            </a:avLst>
          </a:prstGeom>
          <a:solidFill>
            <a:srgbClr val="96968C">
              <a:lumMod val="40000"/>
              <a:lumOff val="60000"/>
            </a:srgbClr>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mj-lt"/>
                <a:ea typeface="+mn-ea"/>
                <a:cs typeface="+mn-cs"/>
              </a:rPr>
              <a:t>Pace</a:t>
            </a:r>
          </a:p>
        </p:txBody>
      </p:sp>
      <p:sp>
        <p:nvSpPr>
          <p:cNvPr id="56" name="Content Placeholder 7">
            <a:extLst>
              <a:ext uri="{FF2B5EF4-FFF2-40B4-BE49-F238E27FC236}">
                <a16:creationId xmlns:a16="http://schemas.microsoft.com/office/drawing/2014/main" id="{E39C63EE-34B6-4884-9D22-F16B9315B499}"/>
              </a:ext>
            </a:extLst>
          </p:cNvPr>
          <p:cNvSpPr txBox="1">
            <a:spLocks/>
          </p:cNvSpPr>
          <p:nvPr/>
        </p:nvSpPr>
        <p:spPr bwMode="auto">
          <a:xfrm>
            <a:off x="2374124" y="3500438"/>
            <a:ext cx="1465347"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51" name="AutoShape 4">
            <a:extLst>
              <a:ext uri="{FF2B5EF4-FFF2-40B4-BE49-F238E27FC236}">
                <a16:creationId xmlns:a16="http://schemas.microsoft.com/office/drawing/2014/main" id="{1FA83C6C-FD8E-4F35-B8FB-D8EEAA5E844C}"/>
              </a:ext>
            </a:extLst>
          </p:cNvPr>
          <p:cNvSpPr>
            <a:spLocks noChangeArrowheads="1"/>
          </p:cNvSpPr>
          <p:nvPr/>
        </p:nvSpPr>
        <p:spPr bwMode="auto">
          <a:xfrm>
            <a:off x="4367248" y="1763713"/>
            <a:ext cx="1463744" cy="1237905"/>
          </a:xfrm>
          <a:prstGeom prst="hexagon">
            <a:avLst>
              <a:gd name="adj" fmla="val 27042"/>
              <a:gd name="vf" fmla="val 115470"/>
            </a:avLst>
          </a:prstGeom>
          <a:solidFill>
            <a:srgbClr val="96968C">
              <a:lumMod val="40000"/>
              <a:lumOff val="60000"/>
            </a:srgbClr>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mj-lt"/>
                <a:ea typeface="+mn-ea"/>
                <a:cs typeface="+mn-cs"/>
              </a:rPr>
              <a:t>Certainty</a:t>
            </a:r>
          </a:p>
        </p:txBody>
      </p:sp>
      <p:sp>
        <p:nvSpPr>
          <p:cNvPr id="57" name="Content Placeholder 7">
            <a:extLst>
              <a:ext uri="{FF2B5EF4-FFF2-40B4-BE49-F238E27FC236}">
                <a16:creationId xmlns:a16="http://schemas.microsoft.com/office/drawing/2014/main" id="{E238F721-FCF9-487C-8247-308D0D7CDBBD}"/>
              </a:ext>
            </a:extLst>
          </p:cNvPr>
          <p:cNvSpPr txBox="1">
            <a:spLocks/>
          </p:cNvSpPr>
          <p:nvPr/>
        </p:nvSpPr>
        <p:spPr bwMode="auto">
          <a:xfrm>
            <a:off x="4367248" y="3500438"/>
            <a:ext cx="1465347"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52" name="AutoShape 4">
            <a:extLst>
              <a:ext uri="{FF2B5EF4-FFF2-40B4-BE49-F238E27FC236}">
                <a16:creationId xmlns:a16="http://schemas.microsoft.com/office/drawing/2014/main" id="{5AB46F9F-AD6D-419B-BC49-5E1592220780}"/>
              </a:ext>
            </a:extLst>
          </p:cNvPr>
          <p:cNvSpPr>
            <a:spLocks noChangeArrowheads="1"/>
          </p:cNvSpPr>
          <p:nvPr/>
        </p:nvSpPr>
        <p:spPr bwMode="auto">
          <a:xfrm>
            <a:off x="6360372" y="1763713"/>
            <a:ext cx="1463744" cy="1237905"/>
          </a:xfrm>
          <a:prstGeom prst="hexagon">
            <a:avLst>
              <a:gd name="adj" fmla="val 27042"/>
              <a:gd name="vf" fmla="val 115470"/>
            </a:avLst>
          </a:prstGeom>
          <a:solidFill>
            <a:srgbClr val="96968C">
              <a:lumMod val="40000"/>
              <a:lumOff val="60000"/>
            </a:srgbClr>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mj-lt"/>
                <a:ea typeface="+mn-ea"/>
                <a:cs typeface="+mn-cs"/>
              </a:rPr>
              <a:t>Strategic agility</a:t>
            </a:r>
          </a:p>
        </p:txBody>
      </p:sp>
      <p:sp>
        <p:nvSpPr>
          <p:cNvPr id="58" name="Content Placeholder 7">
            <a:extLst>
              <a:ext uri="{FF2B5EF4-FFF2-40B4-BE49-F238E27FC236}">
                <a16:creationId xmlns:a16="http://schemas.microsoft.com/office/drawing/2014/main" id="{83DA8964-C0BD-49C1-97DF-AFBACE8E8A4D}"/>
              </a:ext>
            </a:extLst>
          </p:cNvPr>
          <p:cNvSpPr txBox="1">
            <a:spLocks/>
          </p:cNvSpPr>
          <p:nvPr/>
        </p:nvSpPr>
        <p:spPr bwMode="auto">
          <a:xfrm>
            <a:off x="6360372" y="3500438"/>
            <a:ext cx="1465347"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54" name="AutoShape 4">
            <a:extLst>
              <a:ext uri="{FF2B5EF4-FFF2-40B4-BE49-F238E27FC236}">
                <a16:creationId xmlns:a16="http://schemas.microsoft.com/office/drawing/2014/main" id="{43DD6E78-3A4F-4B4C-93D1-3C89987F34C0}"/>
              </a:ext>
            </a:extLst>
          </p:cNvPr>
          <p:cNvSpPr>
            <a:spLocks noChangeArrowheads="1"/>
          </p:cNvSpPr>
          <p:nvPr/>
        </p:nvSpPr>
        <p:spPr bwMode="auto">
          <a:xfrm>
            <a:off x="8353496" y="1747995"/>
            <a:ext cx="1463744" cy="1237905"/>
          </a:xfrm>
          <a:prstGeom prst="hexagon">
            <a:avLst>
              <a:gd name="adj" fmla="val 27042"/>
              <a:gd name="vf" fmla="val 115470"/>
            </a:avLst>
          </a:prstGeom>
          <a:solidFill>
            <a:srgbClr val="96968C">
              <a:lumMod val="40000"/>
              <a:lumOff val="60000"/>
            </a:srgbClr>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mj-lt"/>
                <a:ea typeface="+mn-ea"/>
                <a:cs typeface="+mn-cs"/>
              </a:rPr>
              <a:t>Other  </a:t>
            </a:r>
            <a:br>
              <a:rPr kumimoji="0" lang="en-US" sz="1200" b="1" i="0" u="none" strike="noStrike" kern="0" cap="none" spc="0" normalizeH="0" baseline="0" noProof="0" dirty="0">
                <a:ln>
                  <a:noFill/>
                </a:ln>
                <a:effectLst/>
                <a:uLnTx/>
                <a:uFillTx/>
                <a:latin typeface="+mj-lt"/>
                <a:ea typeface="+mn-ea"/>
                <a:cs typeface="+mn-cs"/>
              </a:rPr>
            </a:br>
            <a:r>
              <a:rPr kumimoji="0" lang="en-US" sz="1100" i="0" u="none" strike="noStrike" kern="0" cap="none" spc="0" normalizeH="0" baseline="0" noProof="0" dirty="0">
                <a:ln>
                  <a:noFill/>
                </a:ln>
                <a:effectLst/>
                <a:uLnTx/>
                <a:uFillTx/>
                <a:ea typeface="+mn-ea"/>
                <a:cs typeface="+mn-cs"/>
              </a:rPr>
              <a:t>(if applicable)</a:t>
            </a:r>
            <a:endParaRPr kumimoji="0" lang="en-US" sz="1200" i="0" u="none" strike="noStrike" kern="0" cap="none" spc="0" normalizeH="0" baseline="0" noProof="0" dirty="0">
              <a:ln>
                <a:noFill/>
              </a:ln>
              <a:effectLst/>
              <a:uLnTx/>
              <a:uFillTx/>
              <a:ea typeface="+mn-ea"/>
              <a:cs typeface="+mn-cs"/>
            </a:endParaRPr>
          </a:p>
        </p:txBody>
      </p:sp>
      <p:sp>
        <p:nvSpPr>
          <p:cNvPr id="59" name="Content Placeholder 7">
            <a:extLst>
              <a:ext uri="{FF2B5EF4-FFF2-40B4-BE49-F238E27FC236}">
                <a16:creationId xmlns:a16="http://schemas.microsoft.com/office/drawing/2014/main" id="{0063A75A-1481-4825-8AA7-3D7020BC2305}"/>
              </a:ext>
            </a:extLst>
          </p:cNvPr>
          <p:cNvSpPr txBox="1">
            <a:spLocks/>
          </p:cNvSpPr>
          <p:nvPr/>
        </p:nvSpPr>
        <p:spPr bwMode="auto">
          <a:xfrm>
            <a:off x="8353496" y="3500438"/>
            <a:ext cx="1465347"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53" name="AutoShape 4">
            <a:extLst>
              <a:ext uri="{FF2B5EF4-FFF2-40B4-BE49-F238E27FC236}">
                <a16:creationId xmlns:a16="http://schemas.microsoft.com/office/drawing/2014/main" id="{F675D14A-9B45-44C1-9371-CE589D8782FF}"/>
              </a:ext>
            </a:extLst>
          </p:cNvPr>
          <p:cNvSpPr>
            <a:spLocks noChangeArrowheads="1"/>
          </p:cNvSpPr>
          <p:nvPr/>
        </p:nvSpPr>
        <p:spPr bwMode="auto">
          <a:xfrm>
            <a:off x="10346622" y="1763713"/>
            <a:ext cx="1463744" cy="1237905"/>
          </a:xfrm>
          <a:prstGeom prst="hexagon">
            <a:avLst>
              <a:gd name="adj" fmla="val 27042"/>
              <a:gd name="vf" fmla="val 115470"/>
            </a:avLst>
          </a:prstGeom>
          <a:solidFill>
            <a:schemeClr val="accent1"/>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To outcome</a:t>
            </a:r>
          </a:p>
        </p:txBody>
      </p:sp>
      <p:sp>
        <p:nvSpPr>
          <p:cNvPr id="66" name="Content Placeholder 7">
            <a:extLst>
              <a:ext uri="{FF2B5EF4-FFF2-40B4-BE49-F238E27FC236}">
                <a16:creationId xmlns:a16="http://schemas.microsoft.com/office/drawing/2014/main" id="{93B08E01-4D73-40C7-8962-335E805DB30B}"/>
              </a:ext>
            </a:extLst>
          </p:cNvPr>
          <p:cNvSpPr txBox="1">
            <a:spLocks/>
          </p:cNvSpPr>
          <p:nvPr/>
        </p:nvSpPr>
        <p:spPr bwMode="auto">
          <a:xfrm>
            <a:off x="10346622" y="3500438"/>
            <a:ext cx="1463744"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grpSp>
        <p:nvGrpSpPr>
          <p:cNvPr id="60" name="Group 59" descr="value proposition">
            <a:extLst>
              <a:ext uri="{FF2B5EF4-FFF2-40B4-BE49-F238E27FC236}">
                <a16:creationId xmlns:a16="http://schemas.microsoft.com/office/drawing/2014/main" id="{B4EAB64E-8707-4BC2-AF17-70DD91CA2931}"/>
              </a:ext>
            </a:extLst>
          </p:cNvPr>
          <p:cNvGrpSpPr/>
          <p:nvPr/>
        </p:nvGrpSpPr>
        <p:grpSpPr>
          <a:xfrm>
            <a:off x="2110236" y="3490452"/>
            <a:ext cx="7972496" cy="2567448"/>
            <a:chOff x="2086388" y="3490452"/>
            <a:chExt cx="8030456" cy="2605548"/>
          </a:xfrm>
        </p:grpSpPr>
        <p:cxnSp>
          <p:nvCxnSpPr>
            <p:cNvPr id="61" name="Straight Connector 60">
              <a:extLst>
                <a:ext uri="{FF2B5EF4-FFF2-40B4-BE49-F238E27FC236}">
                  <a16:creationId xmlns:a16="http://schemas.microsoft.com/office/drawing/2014/main" id="{2260A575-5BC1-4916-8195-E159124166E1}"/>
                </a:ext>
              </a:extLst>
            </p:cNvPr>
            <p:cNvCxnSpPr/>
            <p:nvPr/>
          </p:nvCxnSpPr>
          <p:spPr>
            <a:xfrm>
              <a:off x="2086388" y="3490452"/>
              <a:ext cx="0" cy="2605548"/>
            </a:xfrm>
            <a:prstGeom prst="line">
              <a:avLst/>
            </a:prstGeom>
            <a:noFill/>
            <a:ln w="19050" cap="flat" cmpd="sng" algn="ctr">
              <a:solidFill>
                <a:srgbClr val="96968C">
                  <a:lumMod val="40000"/>
                  <a:lumOff val="60000"/>
                </a:srgbClr>
              </a:solidFill>
              <a:prstDash val="sysDot"/>
            </a:ln>
            <a:effectLst/>
          </p:spPr>
        </p:cxnSp>
        <p:cxnSp>
          <p:nvCxnSpPr>
            <p:cNvPr id="62" name="Straight Connector 61">
              <a:extLst>
                <a:ext uri="{FF2B5EF4-FFF2-40B4-BE49-F238E27FC236}">
                  <a16:creationId xmlns:a16="http://schemas.microsoft.com/office/drawing/2014/main" id="{6B596186-F10E-4DD3-BAC6-C597DC7EE43B}"/>
                </a:ext>
              </a:extLst>
            </p:cNvPr>
            <p:cNvCxnSpPr/>
            <p:nvPr/>
          </p:nvCxnSpPr>
          <p:spPr>
            <a:xfrm>
              <a:off x="4094002" y="3490452"/>
              <a:ext cx="0" cy="2605548"/>
            </a:xfrm>
            <a:prstGeom prst="line">
              <a:avLst/>
            </a:prstGeom>
            <a:noFill/>
            <a:ln w="19050" cap="flat" cmpd="sng" algn="ctr">
              <a:solidFill>
                <a:srgbClr val="96968C">
                  <a:lumMod val="40000"/>
                  <a:lumOff val="60000"/>
                </a:srgbClr>
              </a:solidFill>
              <a:prstDash val="sysDot"/>
            </a:ln>
            <a:effectLst/>
          </p:spPr>
        </p:cxnSp>
        <p:cxnSp>
          <p:nvCxnSpPr>
            <p:cNvPr id="63" name="Straight Connector 62">
              <a:extLst>
                <a:ext uri="{FF2B5EF4-FFF2-40B4-BE49-F238E27FC236}">
                  <a16:creationId xmlns:a16="http://schemas.microsoft.com/office/drawing/2014/main" id="{CCF24132-1828-4458-BC05-E66F7D9D42DB}"/>
                </a:ext>
              </a:extLst>
            </p:cNvPr>
            <p:cNvCxnSpPr/>
            <p:nvPr/>
          </p:nvCxnSpPr>
          <p:spPr>
            <a:xfrm>
              <a:off x="6101616" y="3490452"/>
              <a:ext cx="0" cy="2605548"/>
            </a:xfrm>
            <a:prstGeom prst="line">
              <a:avLst/>
            </a:prstGeom>
            <a:noFill/>
            <a:ln w="19050" cap="flat" cmpd="sng" algn="ctr">
              <a:solidFill>
                <a:srgbClr val="96968C">
                  <a:lumMod val="40000"/>
                  <a:lumOff val="60000"/>
                </a:srgbClr>
              </a:solidFill>
              <a:prstDash val="sysDot"/>
            </a:ln>
            <a:effectLst/>
          </p:spPr>
        </p:cxnSp>
        <p:cxnSp>
          <p:nvCxnSpPr>
            <p:cNvPr id="64" name="Straight Connector 63">
              <a:extLst>
                <a:ext uri="{FF2B5EF4-FFF2-40B4-BE49-F238E27FC236}">
                  <a16:creationId xmlns:a16="http://schemas.microsoft.com/office/drawing/2014/main" id="{EC46A07F-8432-4F16-ADA1-A7F051ABEB76}"/>
                </a:ext>
              </a:extLst>
            </p:cNvPr>
            <p:cNvCxnSpPr/>
            <p:nvPr/>
          </p:nvCxnSpPr>
          <p:spPr>
            <a:xfrm>
              <a:off x="8109230" y="3490452"/>
              <a:ext cx="0" cy="2605548"/>
            </a:xfrm>
            <a:prstGeom prst="line">
              <a:avLst/>
            </a:prstGeom>
            <a:noFill/>
            <a:ln w="19050" cap="flat" cmpd="sng" algn="ctr">
              <a:solidFill>
                <a:srgbClr val="96968C">
                  <a:lumMod val="40000"/>
                  <a:lumOff val="60000"/>
                </a:srgbClr>
              </a:solidFill>
              <a:prstDash val="sysDot"/>
            </a:ln>
            <a:effectLst/>
          </p:spPr>
        </p:cxnSp>
        <p:cxnSp>
          <p:nvCxnSpPr>
            <p:cNvPr id="65" name="Straight Connector 64">
              <a:extLst>
                <a:ext uri="{FF2B5EF4-FFF2-40B4-BE49-F238E27FC236}">
                  <a16:creationId xmlns:a16="http://schemas.microsoft.com/office/drawing/2014/main" id="{79094639-52CA-4FCA-B615-F6A5657EF531}"/>
                </a:ext>
              </a:extLst>
            </p:cNvPr>
            <p:cNvCxnSpPr/>
            <p:nvPr/>
          </p:nvCxnSpPr>
          <p:spPr>
            <a:xfrm>
              <a:off x="10116844" y="3490452"/>
              <a:ext cx="0" cy="2605548"/>
            </a:xfrm>
            <a:prstGeom prst="line">
              <a:avLst/>
            </a:prstGeom>
            <a:noFill/>
            <a:ln w="19050" cap="flat" cmpd="sng" algn="ctr">
              <a:solidFill>
                <a:srgbClr val="96968C">
                  <a:lumMod val="40000"/>
                  <a:lumOff val="60000"/>
                </a:srgbClr>
              </a:solidFill>
              <a:prstDash val="sysDot"/>
            </a:ln>
            <a:effectLst/>
          </p:spPr>
        </p:cxnSp>
      </p:grpSp>
      <p:sp>
        <p:nvSpPr>
          <p:cNvPr id="3" name="Footer Placeholder 2">
            <a:extLst>
              <a:ext uri="{FF2B5EF4-FFF2-40B4-BE49-F238E27FC236}">
                <a16:creationId xmlns:a16="http://schemas.microsoft.com/office/drawing/2014/main" id="{02CE093A-BC1E-46C3-B055-E19FB0CC05C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7686C2D7-A00D-4DEB-B359-320760175C17}"/>
              </a:ext>
            </a:extLst>
          </p:cNvPr>
          <p:cNvSpPr>
            <a:spLocks noGrp="1"/>
          </p:cNvSpPr>
          <p:nvPr>
            <p:ph type="sldNum" sz="quarter" idx="10"/>
          </p:nvPr>
        </p:nvSpPr>
        <p:spPr/>
        <p:txBody>
          <a:bodyPr/>
          <a:lstStyle/>
          <a:p>
            <a:fld id="{1F90F471-3972-4120-B8B3-0237DE626C35}" type="slidenum">
              <a:rPr lang="en-US" smtClean="0"/>
              <a:pPr/>
              <a:t>239</a:t>
            </a:fld>
            <a:endParaRPr lang="en-US" dirty="0"/>
          </a:p>
        </p:txBody>
      </p:sp>
    </p:spTree>
    <p:extLst>
      <p:ext uri="{BB962C8B-B14F-4D97-AF65-F5344CB8AC3E}">
        <p14:creationId xmlns:p14="http://schemas.microsoft.com/office/powerpoint/2010/main" val="18073299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ll informative images must include a description for screen readers. All informative images must include a description for screen readers. If descriptive information is available in nearby text, it should not be repeated in the alt text for an image.">
            <a:extLst>
              <a:ext uri="{FF2B5EF4-FFF2-40B4-BE49-F238E27FC236}">
                <a16:creationId xmlns:a16="http://schemas.microsoft.com/office/drawing/2014/main" id="{010B7942-E11A-4A43-92E2-8F76320C206F}"/>
              </a:ext>
            </a:extLst>
          </p:cNvPr>
          <p:cNvPicPr>
            <a:picLocks noGrp="1" noChangeAspect="1"/>
          </p:cNvPicPr>
          <p:nvPr>
            <p:ph type="pic" sz="quarter" idx="10"/>
          </p:nvPr>
        </p:nvPicPr>
        <p:blipFill>
          <a:blip r:embed="rId3"/>
          <a:srcRect l="74" r="74"/>
          <a:stretch>
            <a:fillRect/>
          </a:stretch>
        </p:blipFill>
        <p:spPr/>
      </p:pic>
      <p:sp>
        <p:nvSpPr>
          <p:cNvPr id="3" name="Title 2">
            <a:extLst>
              <a:ext uri="{FF2B5EF4-FFF2-40B4-BE49-F238E27FC236}">
                <a16:creationId xmlns:a16="http://schemas.microsoft.com/office/drawing/2014/main" id="{5A3E2EA4-5331-48AB-9449-4C9DDF953A56}"/>
              </a:ext>
            </a:extLst>
          </p:cNvPr>
          <p:cNvSpPr>
            <a:spLocks noGrp="1"/>
          </p:cNvSpPr>
          <p:nvPr>
            <p:ph type="ctrTitle"/>
          </p:nvPr>
        </p:nvSpPr>
        <p:spPr/>
        <p:txBody>
          <a:bodyPr/>
          <a:lstStyle/>
          <a:p>
            <a:r>
              <a:rPr lang="en-GB" dirty="0"/>
              <a:t>Place presentation title here 48pt</a:t>
            </a:r>
            <a:endParaRPr lang="en-US" dirty="0"/>
          </a:p>
        </p:txBody>
      </p:sp>
      <p:sp>
        <p:nvSpPr>
          <p:cNvPr id="4" name="Subtitle 3">
            <a:extLst>
              <a:ext uri="{FF2B5EF4-FFF2-40B4-BE49-F238E27FC236}">
                <a16:creationId xmlns:a16="http://schemas.microsoft.com/office/drawing/2014/main" id="{0841D744-8B27-42AF-952D-1CE423253F20}"/>
              </a:ext>
            </a:extLst>
          </p:cNvPr>
          <p:cNvSpPr>
            <a:spLocks noGrp="1"/>
          </p:cNvSpPr>
          <p:nvPr>
            <p:ph type="subTitle" idx="1"/>
          </p:nvPr>
        </p:nvSpPr>
        <p:spPr/>
        <p:txBody>
          <a:bodyPr/>
          <a:lstStyle/>
          <a:p>
            <a:r>
              <a:rPr lang="en-GB" dirty="0"/>
              <a:t>Place subtitle here in GT Sectra Fine </a:t>
            </a:r>
            <a:r>
              <a:rPr lang="en-GB" dirty="0" err="1"/>
              <a:t>Rg</a:t>
            </a:r>
            <a:r>
              <a:rPr lang="en-GB" dirty="0"/>
              <a:t> 24pt</a:t>
            </a:r>
            <a:endParaRPr lang="en-US" dirty="0"/>
          </a:p>
        </p:txBody>
      </p:sp>
      <p:sp>
        <p:nvSpPr>
          <p:cNvPr id="5" name="Text Placeholder 4">
            <a:extLst>
              <a:ext uri="{FF2B5EF4-FFF2-40B4-BE49-F238E27FC236}">
                <a16:creationId xmlns:a16="http://schemas.microsoft.com/office/drawing/2014/main" id="{F7A67ED0-2B46-4468-BD32-4A3B6104ED73}"/>
              </a:ext>
            </a:extLst>
          </p:cNvPr>
          <p:cNvSpPr>
            <a:spLocks noGrp="1"/>
          </p:cNvSpPr>
          <p:nvPr>
            <p:ph type="body" sz="quarter" idx="12"/>
          </p:nvPr>
        </p:nvSpPr>
        <p:spPr/>
        <p:txBody>
          <a:bodyPr/>
          <a:lstStyle/>
          <a:p>
            <a:r>
              <a:rPr lang="en-US" dirty="0"/>
              <a:t>Presenter 14pt</a:t>
            </a:r>
          </a:p>
        </p:txBody>
      </p:sp>
      <p:sp>
        <p:nvSpPr>
          <p:cNvPr id="8" name="GTS_WH" descr="Accenture Logo">
            <a:extLst>
              <a:ext uri="{FF2B5EF4-FFF2-40B4-BE49-F238E27FC236}">
                <a16:creationId xmlns:a16="http://schemas.microsoft.com/office/drawing/2014/main" id="{C2BC9768-803D-4637-A9E8-6098F801CBC2}"/>
              </a:ext>
            </a:extLst>
          </p:cNvPr>
          <p:cNvSpPr>
            <a:spLocks noChangeAspect="1"/>
          </p:cNvSpPr>
          <p:nvPr/>
        </p:nvSpPr>
        <p:spPr bwMode="white">
          <a:xfrm>
            <a:off x="381001" y="560781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452981853"/>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E906929-6143-48DD-8828-E38070382F46}"/>
              </a:ext>
            </a:extLst>
          </p:cNvPr>
          <p:cNvSpPr txBox="1"/>
          <p:nvPr/>
        </p:nvSpPr>
        <p:spPr bwMode="auto">
          <a:xfrm>
            <a:off x="381000" y="1"/>
            <a:ext cx="1081548" cy="257369"/>
          </a:xfrm>
          <a:prstGeom prst="rect">
            <a:avLst/>
          </a:prstGeom>
          <a:solidFill>
            <a:schemeClr val="accent2"/>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ea typeface="+mn-ea"/>
                <a:cs typeface="+mn-cs"/>
              </a:rPr>
              <a:t>Option 4</a:t>
            </a:r>
          </a:p>
        </p:txBody>
      </p:sp>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US" dirty="0"/>
              <a:t>Summary of your business </a:t>
            </a:r>
            <a:br>
              <a:rPr lang="en-US" dirty="0"/>
            </a:br>
            <a:r>
              <a:rPr lang="en-US" dirty="0"/>
              <a:t>issues and outcomes</a:t>
            </a:r>
          </a:p>
        </p:txBody>
      </p:sp>
      <p:sp>
        <p:nvSpPr>
          <p:cNvPr id="26" name="AutoShape 4">
            <a:extLst>
              <a:ext uri="{FF2B5EF4-FFF2-40B4-BE49-F238E27FC236}">
                <a16:creationId xmlns:a16="http://schemas.microsoft.com/office/drawing/2014/main" id="{EB9E1AE5-4E6D-44BE-BCAC-A0CE2F498F72}"/>
              </a:ext>
            </a:extLst>
          </p:cNvPr>
          <p:cNvSpPr>
            <a:spLocks noChangeArrowheads="1"/>
          </p:cNvSpPr>
          <p:nvPr/>
        </p:nvSpPr>
        <p:spPr bwMode="auto">
          <a:xfrm>
            <a:off x="344581" y="1763713"/>
            <a:ext cx="1474385" cy="1267422"/>
          </a:xfrm>
          <a:prstGeom prst="hexagon">
            <a:avLst>
              <a:gd name="adj" fmla="val 27042"/>
              <a:gd name="vf" fmla="val 115470"/>
            </a:avLst>
          </a:prstGeom>
          <a:solidFill>
            <a:schemeClr val="accent3"/>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From issue</a:t>
            </a:r>
          </a:p>
        </p:txBody>
      </p:sp>
      <p:sp>
        <p:nvSpPr>
          <p:cNvPr id="28" name="Content Placeholder 7">
            <a:extLst>
              <a:ext uri="{FF2B5EF4-FFF2-40B4-BE49-F238E27FC236}">
                <a16:creationId xmlns:a16="http://schemas.microsoft.com/office/drawing/2014/main" id="{E6AE9374-C483-43CC-825D-BBE74865F1B4}"/>
              </a:ext>
            </a:extLst>
          </p:cNvPr>
          <p:cNvSpPr txBox="1">
            <a:spLocks/>
          </p:cNvSpPr>
          <p:nvPr/>
        </p:nvSpPr>
        <p:spPr bwMode="auto">
          <a:xfrm>
            <a:off x="344581" y="3401961"/>
            <a:ext cx="1476000" cy="2655939"/>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cxnSp>
        <p:nvCxnSpPr>
          <p:cNvPr id="25" name="Straight Arrow Connector 24">
            <a:extLst>
              <a:ext uri="{FF2B5EF4-FFF2-40B4-BE49-F238E27FC236}">
                <a16:creationId xmlns:a16="http://schemas.microsoft.com/office/drawing/2014/main" id="{EA882747-3A3E-4528-9893-453E2CBCCBD8}"/>
              </a:ext>
              <a:ext uri="{C183D7F6-B498-43B3-948B-1728B52AA6E4}">
                <adec:decorative xmlns:adec="http://schemas.microsoft.com/office/drawing/2017/decorative" val="1"/>
              </a:ext>
            </a:extLst>
          </p:cNvPr>
          <p:cNvCxnSpPr/>
          <p:nvPr/>
        </p:nvCxnSpPr>
        <p:spPr>
          <a:xfrm>
            <a:off x="2268286" y="2397424"/>
            <a:ext cx="7665047" cy="0"/>
          </a:xfrm>
          <a:prstGeom prst="straightConnector1">
            <a:avLst/>
          </a:prstGeom>
          <a:noFill/>
          <a:ln w="38100" cap="flat" cmpd="sng" algn="ctr">
            <a:solidFill>
              <a:schemeClr val="accent2"/>
            </a:solidFill>
            <a:prstDash val="solid"/>
            <a:tailEnd type="triangle"/>
          </a:ln>
          <a:effectLst/>
        </p:spPr>
      </p:cxnSp>
      <p:sp>
        <p:nvSpPr>
          <p:cNvPr id="27" name="AutoShape 4">
            <a:extLst>
              <a:ext uri="{FF2B5EF4-FFF2-40B4-BE49-F238E27FC236}">
                <a16:creationId xmlns:a16="http://schemas.microsoft.com/office/drawing/2014/main" id="{B0779CB6-8EAB-460F-B280-9C134732FD91}"/>
              </a:ext>
            </a:extLst>
          </p:cNvPr>
          <p:cNvSpPr>
            <a:spLocks noChangeArrowheads="1"/>
          </p:cNvSpPr>
          <p:nvPr/>
        </p:nvSpPr>
        <p:spPr bwMode="auto">
          <a:xfrm>
            <a:off x="10382653" y="1778472"/>
            <a:ext cx="1474385" cy="1237905"/>
          </a:xfrm>
          <a:prstGeom prst="hexagon">
            <a:avLst>
              <a:gd name="adj" fmla="val 27042"/>
              <a:gd name="vf" fmla="val 115470"/>
            </a:avLst>
          </a:prstGeom>
          <a:solidFill>
            <a:schemeClr val="accent1"/>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To outcome</a:t>
            </a:r>
          </a:p>
        </p:txBody>
      </p:sp>
      <p:sp>
        <p:nvSpPr>
          <p:cNvPr id="29" name="Content Placeholder 7">
            <a:extLst>
              <a:ext uri="{FF2B5EF4-FFF2-40B4-BE49-F238E27FC236}">
                <a16:creationId xmlns:a16="http://schemas.microsoft.com/office/drawing/2014/main" id="{04BBF10F-5078-49DB-AB54-82AEACEE30EB}"/>
              </a:ext>
            </a:extLst>
          </p:cNvPr>
          <p:cNvSpPr txBox="1">
            <a:spLocks/>
          </p:cNvSpPr>
          <p:nvPr/>
        </p:nvSpPr>
        <p:spPr bwMode="auto">
          <a:xfrm>
            <a:off x="10382653" y="3401961"/>
            <a:ext cx="1474385" cy="2655939"/>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5" name="Footer Placeholder 4">
            <a:extLst>
              <a:ext uri="{FF2B5EF4-FFF2-40B4-BE49-F238E27FC236}">
                <a16:creationId xmlns:a16="http://schemas.microsoft.com/office/drawing/2014/main" id="{59CB9ECB-E2E6-42EC-97CC-6357BC547E8E}"/>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7" name="Slide Number Placeholder 6">
            <a:extLst>
              <a:ext uri="{FF2B5EF4-FFF2-40B4-BE49-F238E27FC236}">
                <a16:creationId xmlns:a16="http://schemas.microsoft.com/office/drawing/2014/main" id="{EABED850-5C88-4045-8B03-5B56DA6FCF5A}"/>
              </a:ext>
            </a:extLst>
          </p:cNvPr>
          <p:cNvSpPr>
            <a:spLocks noGrp="1"/>
          </p:cNvSpPr>
          <p:nvPr>
            <p:ph type="sldNum" sz="quarter" idx="10"/>
          </p:nvPr>
        </p:nvSpPr>
        <p:spPr/>
        <p:txBody>
          <a:bodyPr/>
          <a:lstStyle/>
          <a:p>
            <a:fld id="{1F90F471-3972-4120-B8B3-0237DE626C35}" type="slidenum">
              <a:rPr lang="en-US" smtClean="0"/>
              <a:pPr/>
              <a:t>240</a:t>
            </a:fld>
            <a:endParaRPr lang="en-US" dirty="0"/>
          </a:p>
        </p:txBody>
      </p:sp>
    </p:spTree>
    <p:extLst>
      <p:ext uri="{BB962C8B-B14F-4D97-AF65-F5344CB8AC3E}">
        <p14:creationId xmlns:p14="http://schemas.microsoft.com/office/powerpoint/2010/main" val="102104729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46E6763-0B0A-4126-95A5-609EAAC522A0}"/>
              </a:ext>
            </a:extLst>
          </p:cNvPr>
          <p:cNvSpPr txBox="1"/>
          <p:nvPr/>
        </p:nvSpPr>
        <p:spPr bwMode="auto">
          <a:xfrm>
            <a:off x="381000" y="1"/>
            <a:ext cx="1081548" cy="257369"/>
          </a:xfrm>
          <a:prstGeom prst="rect">
            <a:avLst/>
          </a:prstGeom>
          <a:solidFill>
            <a:schemeClr val="accent2"/>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ea typeface="+mn-ea"/>
                <a:cs typeface="+mn-cs"/>
              </a:rPr>
              <a:t>Option 4</a:t>
            </a:r>
          </a:p>
        </p:txBody>
      </p:sp>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ZA" dirty="0"/>
              <a:t>Our understanding of the </a:t>
            </a:r>
            <a:br>
              <a:rPr lang="en-ZA" dirty="0"/>
            </a:br>
            <a:r>
              <a:rPr lang="en-ZA" dirty="0"/>
              <a:t>critical considerations</a:t>
            </a:r>
            <a:endParaRPr lang="en-US" dirty="0"/>
          </a:p>
        </p:txBody>
      </p:sp>
      <p:grpSp>
        <p:nvGrpSpPr>
          <p:cNvPr id="3" name="Group 2" descr="Critical considerations add text here">
            <a:extLst>
              <a:ext uri="{FF2B5EF4-FFF2-40B4-BE49-F238E27FC236}">
                <a16:creationId xmlns:a16="http://schemas.microsoft.com/office/drawing/2014/main" id="{DC2633DA-088F-48CC-9CB2-866C0EF2FF5B}"/>
              </a:ext>
            </a:extLst>
          </p:cNvPr>
          <p:cNvGrpSpPr/>
          <p:nvPr/>
        </p:nvGrpSpPr>
        <p:grpSpPr>
          <a:xfrm>
            <a:off x="344581" y="1763713"/>
            <a:ext cx="11512457" cy="4294187"/>
            <a:chOff x="344581" y="1763713"/>
            <a:chExt cx="11512457" cy="4294187"/>
          </a:xfrm>
        </p:grpSpPr>
        <p:sp>
          <p:nvSpPr>
            <p:cNvPr id="26" name="AutoShape 4">
              <a:extLst>
                <a:ext uri="{FF2B5EF4-FFF2-40B4-BE49-F238E27FC236}">
                  <a16:creationId xmlns:a16="http://schemas.microsoft.com/office/drawing/2014/main" id="{3BF4D0A5-33A8-4F4A-B91E-EFC02E89A1C6}"/>
                </a:ext>
              </a:extLst>
            </p:cNvPr>
            <p:cNvSpPr>
              <a:spLocks noChangeArrowheads="1"/>
            </p:cNvSpPr>
            <p:nvPr/>
          </p:nvSpPr>
          <p:spPr bwMode="auto">
            <a:xfrm>
              <a:off x="344581" y="1763713"/>
              <a:ext cx="1474385" cy="1267422"/>
            </a:xfrm>
            <a:prstGeom prst="hexagon">
              <a:avLst>
                <a:gd name="adj" fmla="val 27042"/>
                <a:gd name="vf" fmla="val 115470"/>
              </a:avLst>
            </a:prstGeom>
            <a:pattFill prst="dkUpDiag">
              <a:fgClr>
                <a:srgbClr val="96968C">
                  <a:lumMod val="40000"/>
                  <a:lumOff val="60000"/>
                </a:srgbClr>
              </a:fgClr>
              <a:bgClr>
                <a:srgbClr val="FFFFFF"/>
              </a:bgClr>
            </a:patt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mj-lt"/>
                  <a:ea typeface="+mn-ea"/>
                  <a:cs typeface="+mn-cs"/>
                </a:rPr>
                <a:t>From issue</a:t>
              </a:r>
            </a:p>
          </p:txBody>
        </p:sp>
        <p:sp>
          <p:nvSpPr>
            <p:cNvPr id="28" name="Content Placeholder 7">
              <a:extLst>
                <a:ext uri="{FF2B5EF4-FFF2-40B4-BE49-F238E27FC236}">
                  <a16:creationId xmlns:a16="http://schemas.microsoft.com/office/drawing/2014/main" id="{DFF859C0-14DF-4EF1-A9CC-89A440557325}"/>
                </a:ext>
              </a:extLst>
            </p:cNvPr>
            <p:cNvSpPr txBox="1">
              <a:spLocks/>
            </p:cNvSpPr>
            <p:nvPr/>
          </p:nvSpPr>
          <p:spPr bwMode="auto">
            <a:xfrm>
              <a:off x="344581" y="4394723"/>
              <a:ext cx="1476000" cy="1663177"/>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38" name="Rectangle 9">
              <a:extLst>
                <a:ext uri="{FF2B5EF4-FFF2-40B4-BE49-F238E27FC236}">
                  <a16:creationId xmlns:a16="http://schemas.microsoft.com/office/drawing/2014/main" id="{9E1339E6-D15C-4F60-9BC5-C194828C23D2}"/>
                </a:ext>
              </a:extLst>
            </p:cNvPr>
            <p:cNvSpPr>
              <a:spLocks noChangeArrowheads="1"/>
            </p:cNvSpPr>
            <p:nvPr/>
          </p:nvSpPr>
          <p:spPr bwMode="auto">
            <a:xfrm>
              <a:off x="2352195" y="2037091"/>
              <a:ext cx="7497227" cy="340672"/>
            </a:xfrm>
            <a:prstGeom prst="rect">
              <a:avLst/>
            </a:prstGeom>
            <a:noFill/>
            <a:ln w="6350">
              <a:noFill/>
              <a:miter lim="800000"/>
              <a:headEnd/>
              <a:tailEnd/>
            </a:ln>
            <a:effectLst/>
          </p:spPr>
          <p:txBody>
            <a:bodyPr lIns="72000" tIns="72000" rIns="72000" bIns="72000" anchor="ctr" anchorCtr="0">
              <a:noAutofit/>
            </a:bodyPr>
            <a:lstStyle/>
            <a:p>
              <a:pPr marL="0" marR="0" lvl="0" indent="-177800" algn="ctr" defTabSz="914400" rtl="0" eaLnBrk="0" fontAlgn="auto" latinLnBrk="0" hangingPunct="0">
                <a:lnSpc>
                  <a:spcPct val="85000"/>
                </a:lnSpc>
                <a:spcBef>
                  <a:spcPts val="100"/>
                </a:spcBef>
                <a:spcAft>
                  <a:spcPts val="300"/>
                </a:spcAft>
                <a:buClr>
                  <a:srgbClr val="FFFFFF"/>
                </a:buClr>
                <a:buSzTx/>
                <a:buFontTx/>
                <a:buNone/>
                <a:tabLst/>
                <a:defRPr/>
              </a:pPr>
              <a:r>
                <a:rPr kumimoji="0" lang="en-GB" sz="1400" b="1" i="0" u="none" strike="noStrike" kern="1200" cap="none" spc="0" normalizeH="0" baseline="0" noProof="0" dirty="0">
                  <a:ln>
                    <a:noFill/>
                  </a:ln>
                  <a:solidFill>
                    <a:srgbClr val="000000"/>
                  </a:solidFill>
                  <a:effectLst/>
                  <a:uLnTx/>
                  <a:uFillTx/>
                  <a:latin typeface="+mj-lt"/>
                  <a:ea typeface="+mn-ea"/>
                  <a:cs typeface="+mn-cs"/>
                </a:rPr>
                <a:t>Text</a:t>
              </a:r>
            </a:p>
          </p:txBody>
        </p:sp>
        <p:cxnSp>
          <p:nvCxnSpPr>
            <p:cNvPr id="25" name="Straight Arrow Connector 24">
              <a:extLst>
                <a:ext uri="{FF2B5EF4-FFF2-40B4-BE49-F238E27FC236}">
                  <a16:creationId xmlns:a16="http://schemas.microsoft.com/office/drawing/2014/main" id="{B52CC826-80B8-4318-80D3-4A7579625153}"/>
                </a:ext>
                <a:ext uri="{C183D7F6-B498-43B3-948B-1728B52AA6E4}">
                  <adec:decorative xmlns:adec="http://schemas.microsoft.com/office/drawing/2017/decorative" val="1"/>
                </a:ext>
              </a:extLst>
            </p:cNvPr>
            <p:cNvCxnSpPr/>
            <p:nvPr/>
          </p:nvCxnSpPr>
          <p:spPr>
            <a:xfrm>
              <a:off x="2268286" y="2397424"/>
              <a:ext cx="7665047" cy="0"/>
            </a:xfrm>
            <a:prstGeom prst="straightConnector1">
              <a:avLst/>
            </a:prstGeom>
            <a:noFill/>
            <a:ln w="38100" cap="flat" cmpd="sng" algn="ctr">
              <a:solidFill>
                <a:schemeClr val="accent2"/>
              </a:solidFill>
              <a:prstDash val="solid"/>
              <a:tailEnd type="triangle"/>
            </a:ln>
            <a:effectLst/>
          </p:spPr>
        </p:cxnSp>
        <p:sp>
          <p:nvSpPr>
            <p:cNvPr id="27" name="AutoShape 4">
              <a:extLst>
                <a:ext uri="{FF2B5EF4-FFF2-40B4-BE49-F238E27FC236}">
                  <a16:creationId xmlns:a16="http://schemas.microsoft.com/office/drawing/2014/main" id="{600756D4-001D-45AB-94E7-7317FA35BBA0}"/>
                </a:ext>
              </a:extLst>
            </p:cNvPr>
            <p:cNvSpPr>
              <a:spLocks noChangeArrowheads="1"/>
            </p:cNvSpPr>
            <p:nvPr/>
          </p:nvSpPr>
          <p:spPr bwMode="auto">
            <a:xfrm>
              <a:off x="10382653" y="1778472"/>
              <a:ext cx="1474385" cy="1237905"/>
            </a:xfrm>
            <a:prstGeom prst="hexagon">
              <a:avLst>
                <a:gd name="adj" fmla="val 27042"/>
                <a:gd name="vf" fmla="val 115470"/>
              </a:avLst>
            </a:prstGeom>
            <a:pattFill prst="dkUpDiag">
              <a:fgClr>
                <a:srgbClr val="96968C">
                  <a:lumMod val="40000"/>
                  <a:lumOff val="60000"/>
                </a:srgbClr>
              </a:fgClr>
              <a:bgClr>
                <a:srgbClr val="FFFFFF"/>
              </a:bgClr>
            </a:patt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mj-lt"/>
                  <a:ea typeface="+mn-ea"/>
                  <a:cs typeface="+mn-cs"/>
                </a:rPr>
                <a:t>To outcome</a:t>
              </a:r>
            </a:p>
          </p:txBody>
        </p:sp>
        <p:sp>
          <p:nvSpPr>
            <p:cNvPr id="29" name="Content Placeholder 7">
              <a:extLst>
                <a:ext uri="{FF2B5EF4-FFF2-40B4-BE49-F238E27FC236}">
                  <a16:creationId xmlns:a16="http://schemas.microsoft.com/office/drawing/2014/main" id="{82BF1311-CD98-4A15-AEB5-6A77770215DB}"/>
                </a:ext>
              </a:extLst>
            </p:cNvPr>
            <p:cNvSpPr txBox="1">
              <a:spLocks/>
            </p:cNvSpPr>
            <p:nvPr/>
          </p:nvSpPr>
          <p:spPr bwMode="auto">
            <a:xfrm>
              <a:off x="10382653" y="4394723"/>
              <a:ext cx="1474385" cy="1663177"/>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cxnSp>
          <p:nvCxnSpPr>
            <p:cNvPr id="39" name="Straight Arrow Connector 38">
              <a:extLst>
                <a:ext uri="{FF2B5EF4-FFF2-40B4-BE49-F238E27FC236}">
                  <a16:creationId xmlns:a16="http://schemas.microsoft.com/office/drawing/2014/main" id="{3F7A9D70-90DD-41E2-9E46-24D7409C8F6F}"/>
                </a:ext>
                <a:ext uri="{C183D7F6-B498-43B3-948B-1728B52AA6E4}">
                  <adec:decorative xmlns:adec="http://schemas.microsoft.com/office/drawing/2017/decorative" val="1"/>
                </a:ext>
              </a:extLst>
            </p:cNvPr>
            <p:cNvCxnSpPr/>
            <p:nvPr/>
          </p:nvCxnSpPr>
          <p:spPr>
            <a:xfrm>
              <a:off x="3089387" y="2397424"/>
              <a:ext cx="0" cy="369866"/>
            </a:xfrm>
            <a:prstGeom prst="straightConnector1">
              <a:avLst/>
            </a:prstGeom>
            <a:noFill/>
            <a:ln w="9525" cap="flat" cmpd="sng" algn="ctr">
              <a:solidFill>
                <a:schemeClr val="accent2"/>
              </a:solidFill>
              <a:prstDash val="solid"/>
              <a:headEnd type="triangle"/>
              <a:tailEnd type="triangle"/>
            </a:ln>
            <a:effectLst/>
          </p:spPr>
        </p:cxnSp>
        <p:sp>
          <p:nvSpPr>
            <p:cNvPr id="30" name="AutoShape 4">
              <a:extLst>
                <a:ext uri="{FF2B5EF4-FFF2-40B4-BE49-F238E27FC236}">
                  <a16:creationId xmlns:a16="http://schemas.microsoft.com/office/drawing/2014/main" id="{AC8DD002-0E01-45DB-9654-9F1A38844ACE}"/>
                </a:ext>
              </a:extLst>
            </p:cNvPr>
            <p:cNvSpPr>
              <a:spLocks noChangeArrowheads="1"/>
            </p:cNvSpPr>
            <p:nvPr/>
          </p:nvSpPr>
          <p:spPr bwMode="auto">
            <a:xfrm>
              <a:off x="2352195" y="2783008"/>
              <a:ext cx="1474385" cy="1237905"/>
            </a:xfrm>
            <a:prstGeom prst="hexagon">
              <a:avLst>
                <a:gd name="adj" fmla="val 27042"/>
                <a:gd name="vf" fmla="val 115470"/>
              </a:avLst>
            </a:prstGeom>
            <a:solidFill>
              <a:schemeClr val="accent2"/>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Pace</a:t>
              </a:r>
            </a:p>
          </p:txBody>
        </p:sp>
        <p:sp>
          <p:nvSpPr>
            <p:cNvPr id="34" name="Content Placeholder 7">
              <a:extLst>
                <a:ext uri="{FF2B5EF4-FFF2-40B4-BE49-F238E27FC236}">
                  <a16:creationId xmlns:a16="http://schemas.microsoft.com/office/drawing/2014/main" id="{7F5678E9-FD8B-4C9F-8EE8-AE44E6CB7715}"/>
                </a:ext>
              </a:extLst>
            </p:cNvPr>
            <p:cNvSpPr txBox="1">
              <a:spLocks/>
            </p:cNvSpPr>
            <p:nvPr/>
          </p:nvSpPr>
          <p:spPr bwMode="auto">
            <a:xfrm>
              <a:off x="2352195" y="4394722"/>
              <a:ext cx="1476000" cy="1663177"/>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cxnSp>
          <p:nvCxnSpPr>
            <p:cNvPr id="40" name="Straight Arrow Connector 39">
              <a:extLst>
                <a:ext uri="{FF2B5EF4-FFF2-40B4-BE49-F238E27FC236}">
                  <a16:creationId xmlns:a16="http://schemas.microsoft.com/office/drawing/2014/main" id="{8CA1C682-E417-4382-B76A-059571414FF0}"/>
                </a:ext>
                <a:ext uri="{C183D7F6-B498-43B3-948B-1728B52AA6E4}">
                  <adec:decorative xmlns:adec="http://schemas.microsoft.com/office/drawing/2017/decorative" val="1"/>
                </a:ext>
              </a:extLst>
            </p:cNvPr>
            <p:cNvCxnSpPr/>
            <p:nvPr/>
          </p:nvCxnSpPr>
          <p:spPr>
            <a:xfrm>
              <a:off x="5097001" y="2397424"/>
              <a:ext cx="0" cy="369866"/>
            </a:xfrm>
            <a:prstGeom prst="straightConnector1">
              <a:avLst/>
            </a:prstGeom>
            <a:noFill/>
            <a:ln w="9525" cap="flat" cmpd="sng" algn="ctr">
              <a:solidFill>
                <a:schemeClr val="accent2"/>
              </a:solidFill>
              <a:prstDash val="solid"/>
              <a:headEnd type="triangle"/>
              <a:tailEnd type="triangle"/>
            </a:ln>
            <a:effectLst/>
          </p:spPr>
        </p:cxnSp>
        <p:sp>
          <p:nvSpPr>
            <p:cNvPr id="31" name="AutoShape 4">
              <a:extLst>
                <a:ext uri="{FF2B5EF4-FFF2-40B4-BE49-F238E27FC236}">
                  <a16:creationId xmlns:a16="http://schemas.microsoft.com/office/drawing/2014/main" id="{FD672B5F-3CFE-492B-B9CF-D5DA5B18FEDF}"/>
                </a:ext>
              </a:extLst>
            </p:cNvPr>
            <p:cNvSpPr>
              <a:spLocks noChangeArrowheads="1"/>
            </p:cNvSpPr>
            <p:nvPr/>
          </p:nvSpPr>
          <p:spPr bwMode="auto">
            <a:xfrm>
              <a:off x="4359809" y="2783008"/>
              <a:ext cx="1474385" cy="1237905"/>
            </a:xfrm>
            <a:prstGeom prst="hexagon">
              <a:avLst>
                <a:gd name="adj" fmla="val 27042"/>
                <a:gd name="vf" fmla="val 115470"/>
              </a:avLst>
            </a:prstGeom>
            <a:solidFill>
              <a:schemeClr val="accent2"/>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Certainty</a:t>
              </a:r>
            </a:p>
          </p:txBody>
        </p:sp>
        <p:sp>
          <p:nvSpPr>
            <p:cNvPr id="35" name="Content Placeholder 7">
              <a:extLst>
                <a:ext uri="{FF2B5EF4-FFF2-40B4-BE49-F238E27FC236}">
                  <a16:creationId xmlns:a16="http://schemas.microsoft.com/office/drawing/2014/main" id="{3ABF8B76-8975-4D29-BFF2-D1A25DDC25A7}"/>
                </a:ext>
              </a:extLst>
            </p:cNvPr>
            <p:cNvSpPr txBox="1">
              <a:spLocks/>
            </p:cNvSpPr>
            <p:nvPr/>
          </p:nvSpPr>
          <p:spPr bwMode="auto">
            <a:xfrm>
              <a:off x="4359809" y="4394722"/>
              <a:ext cx="1476000" cy="1663177"/>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cxnSp>
          <p:nvCxnSpPr>
            <p:cNvPr id="41" name="Straight Arrow Connector 40">
              <a:extLst>
                <a:ext uri="{FF2B5EF4-FFF2-40B4-BE49-F238E27FC236}">
                  <a16:creationId xmlns:a16="http://schemas.microsoft.com/office/drawing/2014/main" id="{58E5D210-4819-4BB6-8126-5081320D0088}"/>
                </a:ext>
                <a:ext uri="{C183D7F6-B498-43B3-948B-1728B52AA6E4}">
                  <adec:decorative xmlns:adec="http://schemas.microsoft.com/office/drawing/2017/decorative" val="1"/>
                </a:ext>
              </a:extLst>
            </p:cNvPr>
            <p:cNvCxnSpPr/>
            <p:nvPr/>
          </p:nvCxnSpPr>
          <p:spPr>
            <a:xfrm>
              <a:off x="7104615" y="2397424"/>
              <a:ext cx="0" cy="369866"/>
            </a:xfrm>
            <a:prstGeom prst="straightConnector1">
              <a:avLst/>
            </a:prstGeom>
            <a:noFill/>
            <a:ln w="9525" cap="flat" cmpd="sng" algn="ctr">
              <a:solidFill>
                <a:schemeClr val="accent2"/>
              </a:solidFill>
              <a:prstDash val="solid"/>
              <a:headEnd type="triangle"/>
              <a:tailEnd type="triangle"/>
            </a:ln>
            <a:effectLst/>
          </p:spPr>
        </p:cxnSp>
        <p:sp>
          <p:nvSpPr>
            <p:cNvPr id="32" name="AutoShape 4">
              <a:extLst>
                <a:ext uri="{FF2B5EF4-FFF2-40B4-BE49-F238E27FC236}">
                  <a16:creationId xmlns:a16="http://schemas.microsoft.com/office/drawing/2014/main" id="{072C200F-1789-448E-9BA1-098778A9EE65}"/>
                </a:ext>
              </a:extLst>
            </p:cNvPr>
            <p:cNvSpPr>
              <a:spLocks noChangeArrowheads="1"/>
            </p:cNvSpPr>
            <p:nvPr/>
          </p:nvSpPr>
          <p:spPr bwMode="auto">
            <a:xfrm>
              <a:off x="6367423" y="2783008"/>
              <a:ext cx="1474385" cy="1237905"/>
            </a:xfrm>
            <a:prstGeom prst="hexagon">
              <a:avLst>
                <a:gd name="adj" fmla="val 27042"/>
                <a:gd name="vf" fmla="val 115470"/>
              </a:avLst>
            </a:prstGeom>
            <a:solidFill>
              <a:schemeClr val="accent2"/>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Strategic agility</a:t>
              </a:r>
            </a:p>
          </p:txBody>
        </p:sp>
        <p:sp>
          <p:nvSpPr>
            <p:cNvPr id="36" name="Content Placeholder 7">
              <a:extLst>
                <a:ext uri="{FF2B5EF4-FFF2-40B4-BE49-F238E27FC236}">
                  <a16:creationId xmlns:a16="http://schemas.microsoft.com/office/drawing/2014/main" id="{EB8315DA-208A-4A67-9780-989044121916}"/>
                </a:ext>
              </a:extLst>
            </p:cNvPr>
            <p:cNvSpPr txBox="1">
              <a:spLocks/>
            </p:cNvSpPr>
            <p:nvPr/>
          </p:nvSpPr>
          <p:spPr bwMode="auto">
            <a:xfrm>
              <a:off x="6367423" y="4394722"/>
              <a:ext cx="1476000" cy="1663177"/>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cxnSp>
          <p:nvCxnSpPr>
            <p:cNvPr id="42" name="Straight Arrow Connector 41">
              <a:extLst>
                <a:ext uri="{FF2B5EF4-FFF2-40B4-BE49-F238E27FC236}">
                  <a16:creationId xmlns:a16="http://schemas.microsoft.com/office/drawing/2014/main" id="{D92FDD7C-2572-4F73-93D5-1AF6B1CEC5E8}"/>
                </a:ext>
                <a:ext uri="{C183D7F6-B498-43B3-948B-1728B52AA6E4}">
                  <adec:decorative xmlns:adec="http://schemas.microsoft.com/office/drawing/2017/decorative" val="1"/>
                </a:ext>
              </a:extLst>
            </p:cNvPr>
            <p:cNvCxnSpPr/>
            <p:nvPr/>
          </p:nvCxnSpPr>
          <p:spPr>
            <a:xfrm>
              <a:off x="9112229" y="2397424"/>
              <a:ext cx="0" cy="369866"/>
            </a:xfrm>
            <a:prstGeom prst="straightConnector1">
              <a:avLst/>
            </a:prstGeom>
            <a:noFill/>
            <a:ln w="9525" cap="flat" cmpd="sng" algn="ctr">
              <a:solidFill>
                <a:schemeClr val="accent2"/>
              </a:solidFill>
              <a:prstDash val="solid"/>
              <a:headEnd type="triangle"/>
              <a:tailEnd type="triangle"/>
            </a:ln>
            <a:effectLst/>
          </p:spPr>
        </p:cxnSp>
        <p:sp>
          <p:nvSpPr>
            <p:cNvPr id="33" name="AutoShape 4">
              <a:extLst>
                <a:ext uri="{FF2B5EF4-FFF2-40B4-BE49-F238E27FC236}">
                  <a16:creationId xmlns:a16="http://schemas.microsoft.com/office/drawing/2014/main" id="{77CB18D5-AC58-475A-94C9-8DE888D4E8AF}"/>
                </a:ext>
              </a:extLst>
            </p:cNvPr>
            <p:cNvSpPr>
              <a:spLocks noChangeArrowheads="1"/>
            </p:cNvSpPr>
            <p:nvPr/>
          </p:nvSpPr>
          <p:spPr bwMode="auto">
            <a:xfrm>
              <a:off x="8375037" y="2767290"/>
              <a:ext cx="1474385" cy="1237905"/>
            </a:xfrm>
            <a:prstGeom prst="hexagon">
              <a:avLst>
                <a:gd name="adj" fmla="val 27042"/>
                <a:gd name="vf" fmla="val 115470"/>
              </a:avLst>
            </a:prstGeom>
            <a:solidFill>
              <a:schemeClr val="accent2"/>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Other  </a:t>
              </a:r>
              <a:br>
                <a:rPr kumimoji="0" lang="en-US" sz="1200" b="1" i="0" u="none" strike="noStrike" kern="0" cap="none" spc="0" normalizeH="0" baseline="0" noProof="0" dirty="0">
                  <a:ln>
                    <a:noFill/>
                  </a:ln>
                  <a:solidFill>
                    <a:srgbClr val="FFFFFF"/>
                  </a:solidFill>
                  <a:effectLst/>
                  <a:uLnTx/>
                  <a:uFillTx/>
                  <a:latin typeface="+mj-lt"/>
                  <a:ea typeface="+mn-ea"/>
                  <a:cs typeface="+mn-cs"/>
                </a:rPr>
              </a:br>
              <a:r>
                <a:rPr kumimoji="0" lang="en-US" sz="1200" i="0" u="none" strike="noStrike" kern="0" cap="none" spc="0" normalizeH="0" baseline="0" noProof="0" dirty="0">
                  <a:ln>
                    <a:noFill/>
                  </a:ln>
                  <a:solidFill>
                    <a:srgbClr val="FFFFFF"/>
                  </a:solidFill>
                  <a:effectLst/>
                  <a:uLnTx/>
                  <a:uFillTx/>
                  <a:ea typeface="+mn-ea"/>
                  <a:cs typeface="+mn-cs"/>
                </a:rPr>
                <a:t>(if applicable)</a:t>
              </a:r>
            </a:p>
          </p:txBody>
        </p:sp>
        <p:sp>
          <p:nvSpPr>
            <p:cNvPr id="37" name="Content Placeholder 7">
              <a:extLst>
                <a:ext uri="{FF2B5EF4-FFF2-40B4-BE49-F238E27FC236}">
                  <a16:creationId xmlns:a16="http://schemas.microsoft.com/office/drawing/2014/main" id="{D180D6E3-FFC2-4F77-9FD7-B4F76C3AE101}"/>
                </a:ext>
              </a:extLst>
            </p:cNvPr>
            <p:cNvSpPr txBox="1">
              <a:spLocks/>
            </p:cNvSpPr>
            <p:nvPr/>
          </p:nvSpPr>
          <p:spPr bwMode="auto">
            <a:xfrm>
              <a:off x="8375037" y="4394722"/>
              <a:ext cx="1476000" cy="1663177"/>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grpSp>
      <p:sp>
        <p:nvSpPr>
          <p:cNvPr id="5" name="Footer Placeholder 4">
            <a:extLst>
              <a:ext uri="{FF2B5EF4-FFF2-40B4-BE49-F238E27FC236}">
                <a16:creationId xmlns:a16="http://schemas.microsoft.com/office/drawing/2014/main" id="{B4F1AF73-C1CC-46CF-833E-09CD2CB73AB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7" name="Slide Number Placeholder 6">
            <a:extLst>
              <a:ext uri="{FF2B5EF4-FFF2-40B4-BE49-F238E27FC236}">
                <a16:creationId xmlns:a16="http://schemas.microsoft.com/office/drawing/2014/main" id="{FABA6076-2937-455E-857C-B2735F971D1B}"/>
              </a:ext>
            </a:extLst>
          </p:cNvPr>
          <p:cNvSpPr>
            <a:spLocks noGrp="1"/>
          </p:cNvSpPr>
          <p:nvPr>
            <p:ph type="sldNum" sz="quarter" idx="10"/>
          </p:nvPr>
        </p:nvSpPr>
        <p:spPr/>
        <p:txBody>
          <a:bodyPr/>
          <a:lstStyle/>
          <a:p>
            <a:fld id="{1F90F471-3972-4120-B8B3-0237DE626C35}" type="slidenum">
              <a:rPr lang="en-US" smtClean="0"/>
              <a:pPr/>
              <a:t>241</a:t>
            </a:fld>
            <a:endParaRPr lang="en-US" dirty="0"/>
          </a:p>
        </p:txBody>
      </p:sp>
    </p:spTree>
    <p:extLst>
      <p:ext uri="{BB962C8B-B14F-4D97-AF65-F5344CB8AC3E}">
        <p14:creationId xmlns:p14="http://schemas.microsoft.com/office/powerpoint/2010/main" val="3323085496"/>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036D664-B6DD-48AC-BCB0-837CE9588C46}"/>
              </a:ext>
            </a:extLst>
          </p:cNvPr>
          <p:cNvSpPr txBox="1"/>
          <p:nvPr/>
        </p:nvSpPr>
        <p:spPr bwMode="auto">
          <a:xfrm>
            <a:off x="344581" y="0"/>
            <a:ext cx="1081548" cy="257369"/>
          </a:xfrm>
          <a:prstGeom prst="rect">
            <a:avLst/>
          </a:prstGeom>
          <a:solidFill>
            <a:schemeClr val="accent2"/>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ea typeface="+mn-ea"/>
                <a:cs typeface="+mn-cs"/>
              </a:rPr>
              <a:t>Option 4</a:t>
            </a:r>
          </a:p>
        </p:txBody>
      </p:sp>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ZA" dirty="0"/>
              <a:t>Our value proposition </a:t>
            </a:r>
            <a:br>
              <a:rPr lang="en-ZA" dirty="0"/>
            </a:br>
            <a:r>
              <a:rPr lang="en-ZA" dirty="0"/>
              <a:t>for the engagement </a:t>
            </a:r>
            <a:endParaRPr lang="en-US" dirty="0"/>
          </a:p>
        </p:txBody>
      </p:sp>
      <p:grpSp>
        <p:nvGrpSpPr>
          <p:cNvPr id="3" name="Group 2" descr="value proposition engagement insert text">
            <a:extLst>
              <a:ext uri="{FF2B5EF4-FFF2-40B4-BE49-F238E27FC236}">
                <a16:creationId xmlns:a16="http://schemas.microsoft.com/office/drawing/2014/main" id="{180230B4-8A15-4673-B8B6-47BC3EE65B80}"/>
              </a:ext>
            </a:extLst>
          </p:cNvPr>
          <p:cNvGrpSpPr/>
          <p:nvPr/>
        </p:nvGrpSpPr>
        <p:grpSpPr>
          <a:xfrm>
            <a:off x="344581" y="1763713"/>
            <a:ext cx="11512457" cy="4294187"/>
            <a:chOff x="344581" y="1763713"/>
            <a:chExt cx="11512457" cy="4294187"/>
          </a:xfrm>
        </p:grpSpPr>
        <p:sp>
          <p:nvSpPr>
            <p:cNvPr id="8" name="AutoShape 4">
              <a:extLst>
                <a:ext uri="{FF2B5EF4-FFF2-40B4-BE49-F238E27FC236}">
                  <a16:creationId xmlns:a16="http://schemas.microsoft.com/office/drawing/2014/main" id="{6CCD98D6-B1E2-453D-B657-E5037BF97263}"/>
                </a:ext>
              </a:extLst>
            </p:cNvPr>
            <p:cNvSpPr>
              <a:spLocks noChangeArrowheads="1"/>
            </p:cNvSpPr>
            <p:nvPr/>
          </p:nvSpPr>
          <p:spPr bwMode="auto">
            <a:xfrm>
              <a:off x="344581" y="1763713"/>
              <a:ext cx="1474385" cy="1267422"/>
            </a:xfrm>
            <a:prstGeom prst="hexagon">
              <a:avLst>
                <a:gd name="adj" fmla="val 27042"/>
                <a:gd name="vf" fmla="val 115470"/>
              </a:avLst>
            </a:prstGeom>
            <a:solidFill>
              <a:schemeClr val="accent3"/>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From issue</a:t>
              </a:r>
            </a:p>
          </p:txBody>
        </p:sp>
        <p:sp>
          <p:nvSpPr>
            <p:cNvPr id="10" name="Content Placeholder 7">
              <a:extLst>
                <a:ext uri="{FF2B5EF4-FFF2-40B4-BE49-F238E27FC236}">
                  <a16:creationId xmlns:a16="http://schemas.microsoft.com/office/drawing/2014/main" id="{E7D707CD-F36F-4BA7-9867-346B1E15CD5D}"/>
                </a:ext>
              </a:extLst>
            </p:cNvPr>
            <p:cNvSpPr txBox="1">
              <a:spLocks/>
            </p:cNvSpPr>
            <p:nvPr/>
          </p:nvSpPr>
          <p:spPr bwMode="auto">
            <a:xfrm>
              <a:off x="344581" y="4394723"/>
              <a:ext cx="1476000" cy="1663177"/>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20" name="Rectangle 9">
              <a:extLst>
                <a:ext uri="{FF2B5EF4-FFF2-40B4-BE49-F238E27FC236}">
                  <a16:creationId xmlns:a16="http://schemas.microsoft.com/office/drawing/2014/main" id="{6DE851D6-843F-4B73-8585-50C7D019134F}"/>
                </a:ext>
              </a:extLst>
            </p:cNvPr>
            <p:cNvSpPr>
              <a:spLocks noChangeArrowheads="1"/>
            </p:cNvSpPr>
            <p:nvPr/>
          </p:nvSpPr>
          <p:spPr bwMode="auto">
            <a:xfrm>
              <a:off x="2352195" y="2037091"/>
              <a:ext cx="7497227" cy="340672"/>
            </a:xfrm>
            <a:prstGeom prst="rect">
              <a:avLst/>
            </a:prstGeom>
            <a:noFill/>
            <a:ln w="6350">
              <a:noFill/>
              <a:miter lim="800000"/>
              <a:headEnd/>
              <a:tailEnd/>
            </a:ln>
            <a:effectLst/>
          </p:spPr>
          <p:txBody>
            <a:bodyPr lIns="72000" tIns="72000" rIns="72000" bIns="72000" anchor="ctr" anchorCtr="0">
              <a:noAutofit/>
            </a:bodyPr>
            <a:lstStyle/>
            <a:p>
              <a:pPr marL="0" marR="0" lvl="0" indent="-177800" algn="ctr" defTabSz="914400" rtl="0" eaLnBrk="0" fontAlgn="auto" latinLnBrk="0" hangingPunct="0">
                <a:lnSpc>
                  <a:spcPct val="85000"/>
                </a:lnSpc>
                <a:spcBef>
                  <a:spcPts val="100"/>
                </a:spcBef>
                <a:spcAft>
                  <a:spcPts val="300"/>
                </a:spcAft>
                <a:buClr>
                  <a:srgbClr val="FFFFFF"/>
                </a:buClr>
                <a:buSzTx/>
                <a:buFontTx/>
                <a:buNone/>
                <a:tabLst/>
                <a:defRPr/>
              </a:pPr>
              <a:r>
                <a:rPr kumimoji="0" lang="en-GB" sz="1400" b="1" i="0" u="none" strike="noStrike" kern="1200" cap="none" spc="0" normalizeH="0" baseline="0" noProof="0" dirty="0">
                  <a:ln>
                    <a:noFill/>
                  </a:ln>
                  <a:solidFill>
                    <a:srgbClr val="000000"/>
                  </a:solidFill>
                  <a:effectLst/>
                  <a:uLnTx/>
                  <a:uFillTx/>
                  <a:latin typeface="+mj-lt"/>
                  <a:ea typeface="+mn-ea"/>
                  <a:cs typeface="+mn-cs"/>
                </a:rPr>
                <a:t>Text</a:t>
              </a:r>
            </a:p>
          </p:txBody>
        </p:sp>
        <p:cxnSp>
          <p:nvCxnSpPr>
            <p:cNvPr id="25" name="Straight Arrow Connector 24">
              <a:extLst>
                <a:ext uri="{FF2B5EF4-FFF2-40B4-BE49-F238E27FC236}">
                  <a16:creationId xmlns:a16="http://schemas.microsoft.com/office/drawing/2014/main" id="{944C45AB-E499-4DCD-8D66-A3E24E1312FC}"/>
                </a:ext>
              </a:extLst>
            </p:cNvPr>
            <p:cNvCxnSpPr/>
            <p:nvPr/>
          </p:nvCxnSpPr>
          <p:spPr>
            <a:xfrm>
              <a:off x="2268286" y="2397424"/>
              <a:ext cx="7665047" cy="0"/>
            </a:xfrm>
            <a:prstGeom prst="straightConnector1">
              <a:avLst/>
            </a:prstGeom>
            <a:noFill/>
            <a:ln w="38100" cap="flat" cmpd="sng" algn="ctr">
              <a:solidFill>
                <a:schemeClr val="accent2"/>
              </a:solidFill>
              <a:prstDash val="solid"/>
              <a:tailEnd type="triangle"/>
            </a:ln>
            <a:effectLst/>
          </p:spPr>
        </p:cxnSp>
        <p:sp>
          <p:nvSpPr>
            <p:cNvPr id="9" name="AutoShape 4">
              <a:extLst>
                <a:ext uri="{FF2B5EF4-FFF2-40B4-BE49-F238E27FC236}">
                  <a16:creationId xmlns:a16="http://schemas.microsoft.com/office/drawing/2014/main" id="{4FBFEC0F-9A17-41CA-8AA2-67C6576E70B1}"/>
                </a:ext>
              </a:extLst>
            </p:cNvPr>
            <p:cNvSpPr>
              <a:spLocks noChangeArrowheads="1"/>
            </p:cNvSpPr>
            <p:nvPr/>
          </p:nvSpPr>
          <p:spPr bwMode="auto">
            <a:xfrm>
              <a:off x="10382653" y="1778472"/>
              <a:ext cx="1474385" cy="1237905"/>
            </a:xfrm>
            <a:prstGeom prst="hexagon">
              <a:avLst>
                <a:gd name="adj" fmla="val 27042"/>
                <a:gd name="vf" fmla="val 115470"/>
              </a:avLst>
            </a:prstGeom>
            <a:solidFill>
              <a:schemeClr val="accent1"/>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To outcome</a:t>
              </a:r>
            </a:p>
          </p:txBody>
        </p:sp>
        <p:sp>
          <p:nvSpPr>
            <p:cNvPr id="11" name="Content Placeholder 7">
              <a:extLst>
                <a:ext uri="{FF2B5EF4-FFF2-40B4-BE49-F238E27FC236}">
                  <a16:creationId xmlns:a16="http://schemas.microsoft.com/office/drawing/2014/main" id="{7C039B41-2AF6-4F05-9017-C0C0FF6E695D}"/>
                </a:ext>
              </a:extLst>
            </p:cNvPr>
            <p:cNvSpPr txBox="1">
              <a:spLocks/>
            </p:cNvSpPr>
            <p:nvPr/>
          </p:nvSpPr>
          <p:spPr bwMode="auto">
            <a:xfrm>
              <a:off x="10382653" y="4394723"/>
              <a:ext cx="1474385" cy="1663177"/>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cxnSp>
          <p:nvCxnSpPr>
            <p:cNvPr id="26" name="Straight Arrow Connector 25">
              <a:extLst>
                <a:ext uri="{FF2B5EF4-FFF2-40B4-BE49-F238E27FC236}">
                  <a16:creationId xmlns:a16="http://schemas.microsoft.com/office/drawing/2014/main" id="{8038C523-60C2-470F-A372-07F706BD38D9}"/>
                </a:ext>
              </a:extLst>
            </p:cNvPr>
            <p:cNvCxnSpPr/>
            <p:nvPr/>
          </p:nvCxnSpPr>
          <p:spPr>
            <a:xfrm>
              <a:off x="3089387" y="2397424"/>
              <a:ext cx="0" cy="369866"/>
            </a:xfrm>
            <a:prstGeom prst="straightConnector1">
              <a:avLst/>
            </a:prstGeom>
            <a:noFill/>
            <a:ln w="9525" cap="flat" cmpd="sng" algn="ctr">
              <a:solidFill>
                <a:schemeClr val="accent2"/>
              </a:solidFill>
              <a:prstDash val="solid"/>
              <a:headEnd type="triangle"/>
              <a:tailEnd type="triangle"/>
            </a:ln>
            <a:effectLst/>
          </p:spPr>
        </p:cxnSp>
        <p:sp>
          <p:nvSpPr>
            <p:cNvPr id="12" name="AutoShape 4">
              <a:extLst>
                <a:ext uri="{FF2B5EF4-FFF2-40B4-BE49-F238E27FC236}">
                  <a16:creationId xmlns:a16="http://schemas.microsoft.com/office/drawing/2014/main" id="{FED66C81-2961-48C2-AB99-E04120805D2D}"/>
                </a:ext>
              </a:extLst>
            </p:cNvPr>
            <p:cNvSpPr>
              <a:spLocks noChangeArrowheads="1"/>
            </p:cNvSpPr>
            <p:nvPr/>
          </p:nvSpPr>
          <p:spPr bwMode="auto">
            <a:xfrm>
              <a:off x="2352195" y="2783008"/>
              <a:ext cx="1474385" cy="1237905"/>
            </a:xfrm>
            <a:prstGeom prst="hexagon">
              <a:avLst>
                <a:gd name="adj" fmla="val 27042"/>
                <a:gd name="vf" fmla="val 115470"/>
              </a:avLst>
            </a:prstGeom>
            <a:pattFill prst="dkUpDiag">
              <a:fgClr>
                <a:srgbClr val="96968C">
                  <a:lumMod val="40000"/>
                  <a:lumOff val="60000"/>
                </a:srgbClr>
              </a:fgClr>
              <a:bgClr>
                <a:srgbClr val="FFFFFF"/>
              </a:bgClr>
            </a:patt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mj-lt"/>
                  <a:ea typeface="+mn-ea"/>
                  <a:cs typeface="+mn-cs"/>
                </a:rPr>
                <a:t>Pace</a:t>
              </a:r>
            </a:p>
          </p:txBody>
        </p:sp>
        <p:sp>
          <p:nvSpPr>
            <p:cNvPr id="16" name="Content Placeholder 7">
              <a:extLst>
                <a:ext uri="{FF2B5EF4-FFF2-40B4-BE49-F238E27FC236}">
                  <a16:creationId xmlns:a16="http://schemas.microsoft.com/office/drawing/2014/main" id="{361F8704-74B8-4905-8401-A551EFF0926C}"/>
                </a:ext>
              </a:extLst>
            </p:cNvPr>
            <p:cNvSpPr txBox="1">
              <a:spLocks/>
            </p:cNvSpPr>
            <p:nvPr/>
          </p:nvSpPr>
          <p:spPr bwMode="auto">
            <a:xfrm>
              <a:off x="2352195" y="4394722"/>
              <a:ext cx="1476000" cy="1663177"/>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cxnSp>
          <p:nvCxnSpPr>
            <p:cNvPr id="27" name="Straight Arrow Connector 26">
              <a:extLst>
                <a:ext uri="{FF2B5EF4-FFF2-40B4-BE49-F238E27FC236}">
                  <a16:creationId xmlns:a16="http://schemas.microsoft.com/office/drawing/2014/main" id="{D5EC41C7-B26B-44DA-BF07-3E46301579F0}"/>
                </a:ext>
              </a:extLst>
            </p:cNvPr>
            <p:cNvCxnSpPr/>
            <p:nvPr/>
          </p:nvCxnSpPr>
          <p:spPr>
            <a:xfrm>
              <a:off x="5097001" y="2397424"/>
              <a:ext cx="0" cy="369866"/>
            </a:xfrm>
            <a:prstGeom prst="straightConnector1">
              <a:avLst/>
            </a:prstGeom>
            <a:noFill/>
            <a:ln w="9525" cap="flat" cmpd="sng" algn="ctr">
              <a:solidFill>
                <a:schemeClr val="accent2"/>
              </a:solidFill>
              <a:prstDash val="solid"/>
              <a:headEnd type="triangle"/>
              <a:tailEnd type="triangle"/>
            </a:ln>
            <a:effectLst/>
          </p:spPr>
        </p:cxnSp>
        <p:sp>
          <p:nvSpPr>
            <p:cNvPr id="13" name="AutoShape 4">
              <a:extLst>
                <a:ext uri="{FF2B5EF4-FFF2-40B4-BE49-F238E27FC236}">
                  <a16:creationId xmlns:a16="http://schemas.microsoft.com/office/drawing/2014/main" id="{0CF2E8CA-EA5E-4856-B9E0-3F4A2171021C}"/>
                </a:ext>
              </a:extLst>
            </p:cNvPr>
            <p:cNvSpPr>
              <a:spLocks noChangeArrowheads="1"/>
            </p:cNvSpPr>
            <p:nvPr/>
          </p:nvSpPr>
          <p:spPr bwMode="auto">
            <a:xfrm>
              <a:off x="4359809" y="2783008"/>
              <a:ext cx="1474385" cy="1237905"/>
            </a:xfrm>
            <a:prstGeom prst="hexagon">
              <a:avLst>
                <a:gd name="adj" fmla="val 27042"/>
                <a:gd name="vf" fmla="val 115470"/>
              </a:avLst>
            </a:prstGeom>
            <a:pattFill prst="dkUpDiag">
              <a:fgClr>
                <a:srgbClr val="96968C">
                  <a:lumMod val="40000"/>
                  <a:lumOff val="60000"/>
                </a:srgbClr>
              </a:fgClr>
              <a:bgClr>
                <a:srgbClr val="FFFFFF"/>
              </a:bgClr>
            </a:patt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mj-lt"/>
                  <a:ea typeface="+mn-ea"/>
                  <a:cs typeface="+mn-cs"/>
                </a:rPr>
                <a:t>Certainty</a:t>
              </a:r>
            </a:p>
          </p:txBody>
        </p:sp>
        <p:sp>
          <p:nvSpPr>
            <p:cNvPr id="17" name="Content Placeholder 7">
              <a:extLst>
                <a:ext uri="{FF2B5EF4-FFF2-40B4-BE49-F238E27FC236}">
                  <a16:creationId xmlns:a16="http://schemas.microsoft.com/office/drawing/2014/main" id="{26DB82C6-DE91-4605-B18F-B676458001EE}"/>
                </a:ext>
              </a:extLst>
            </p:cNvPr>
            <p:cNvSpPr txBox="1">
              <a:spLocks/>
            </p:cNvSpPr>
            <p:nvPr/>
          </p:nvSpPr>
          <p:spPr bwMode="auto">
            <a:xfrm>
              <a:off x="4359809" y="4394722"/>
              <a:ext cx="1476000" cy="1663177"/>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cxnSp>
          <p:nvCxnSpPr>
            <p:cNvPr id="28" name="Straight Arrow Connector 27">
              <a:extLst>
                <a:ext uri="{FF2B5EF4-FFF2-40B4-BE49-F238E27FC236}">
                  <a16:creationId xmlns:a16="http://schemas.microsoft.com/office/drawing/2014/main" id="{D5E31667-9B0D-4C52-B024-7E502C48857D}"/>
                </a:ext>
              </a:extLst>
            </p:cNvPr>
            <p:cNvCxnSpPr/>
            <p:nvPr/>
          </p:nvCxnSpPr>
          <p:spPr>
            <a:xfrm>
              <a:off x="7104615" y="2397424"/>
              <a:ext cx="0" cy="369866"/>
            </a:xfrm>
            <a:prstGeom prst="straightConnector1">
              <a:avLst/>
            </a:prstGeom>
            <a:noFill/>
            <a:ln w="9525" cap="flat" cmpd="sng" algn="ctr">
              <a:solidFill>
                <a:schemeClr val="accent2"/>
              </a:solidFill>
              <a:prstDash val="solid"/>
              <a:headEnd type="triangle"/>
              <a:tailEnd type="triangle"/>
            </a:ln>
            <a:effectLst/>
          </p:spPr>
        </p:cxnSp>
        <p:sp>
          <p:nvSpPr>
            <p:cNvPr id="14" name="AutoShape 4">
              <a:extLst>
                <a:ext uri="{FF2B5EF4-FFF2-40B4-BE49-F238E27FC236}">
                  <a16:creationId xmlns:a16="http://schemas.microsoft.com/office/drawing/2014/main" id="{5713AA75-CF05-4A6C-9974-805D129BCE86}"/>
                </a:ext>
              </a:extLst>
            </p:cNvPr>
            <p:cNvSpPr>
              <a:spLocks noChangeArrowheads="1"/>
            </p:cNvSpPr>
            <p:nvPr/>
          </p:nvSpPr>
          <p:spPr bwMode="auto">
            <a:xfrm>
              <a:off x="6367423" y="2783008"/>
              <a:ext cx="1474385" cy="1237905"/>
            </a:xfrm>
            <a:prstGeom prst="hexagon">
              <a:avLst>
                <a:gd name="adj" fmla="val 27042"/>
                <a:gd name="vf" fmla="val 115470"/>
              </a:avLst>
            </a:prstGeom>
            <a:pattFill prst="dkUpDiag">
              <a:fgClr>
                <a:srgbClr val="96968C">
                  <a:lumMod val="40000"/>
                  <a:lumOff val="60000"/>
                </a:srgbClr>
              </a:fgClr>
              <a:bgClr>
                <a:srgbClr val="FFFFFF"/>
              </a:bgClr>
            </a:patt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mj-lt"/>
                  <a:ea typeface="+mn-ea"/>
                  <a:cs typeface="+mn-cs"/>
                </a:rPr>
                <a:t>Strategic agility</a:t>
              </a:r>
            </a:p>
          </p:txBody>
        </p:sp>
        <p:sp>
          <p:nvSpPr>
            <p:cNvPr id="18" name="Content Placeholder 7">
              <a:extLst>
                <a:ext uri="{FF2B5EF4-FFF2-40B4-BE49-F238E27FC236}">
                  <a16:creationId xmlns:a16="http://schemas.microsoft.com/office/drawing/2014/main" id="{9BAC9544-34F0-4054-86CB-CE390396EB95}"/>
                </a:ext>
              </a:extLst>
            </p:cNvPr>
            <p:cNvSpPr txBox="1">
              <a:spLocks/>
            </p:cNvSpPr>
            <p:nvPr/>
          </p:nvSpPr>
          <p:spPr bwMode="auto">
            <a:xfrm>
              <a:off x="6367423" y="4394722"/>
              <a:ext cx="1476000" cy="1663177"/>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cxnSp>
          <p:nvCxnSpPr>
            <p:cNvPr id="29" name="Straight Arrow Connector 28">
              <a:extLst>
                <a:ext uri="{FF2B5EF4-FFF2-40B4-BE49-F238E27FC236}">
                  <a16:creationId xmlns:a16="http://schemas.microsoft.com/office/drawing/2014/main" id="{5274557E-953B-4B0A-A144-49E584E23954}"/>
                </a:ext>
              </a:extLst>
            </p:cNvPr>
            <p:cNvCxnSpPr/>
            <p:nvPr/>
          </p:nvCxnSpPr>
          <p:spPr>
            <a:xfrm>
              <a:off x="9112229" y="2397424"/>
              <a:ext cx="0" cy="369866"/>
            </a:xfrm>
            <a:prstGeom prst="straightConnector1">
              <a:avLst/>
            </a:prstGeom>
            <a:noFill/>
            <a:ln w="9525" cap="flat" cmpd="sng" algn="ctr">
              <a:solidFill>
                <a:schemeClr val="accent2"/>
              </a:solidFill>
              <a:prstDash val="solid"/>
              <a:headEnd type="triangle"/>
              <a:tailEnd type="triangle"/>
            </a:ln>
            <a:effectLst/>
          </p:spPr>
        </p:cxnSp>
        <p:sp>
          <p:nvSpPr>
            <p:cNvPr id="15" name="AutoShape 4">
              <a:extLst>
                <a:ext uri="{FF2B5EF4-FFF2-40B4-BE49-F238E27FC236}">
                  <a16:creationId xmlns:a16="http://schemas.microsoft.com/office/drawing/2014/main" id="{69D33915-7EEB-4D44-A7E6-CD523B420B8A}"/>
                </a:ext>
              </a:extLst>
            </p:cNvPr>
            <p:cNvSpPr>
              <a:spLocks noChangeArrowheads="1"/>
            </p:cNvSpPr>
            <p:nvPr/>
          </p:nvSpPr>
          <p:spPr bwMode="auto">
            <a:xfrm>
              <a:off x="8375037" y="2767290"/>
              <a:ext cx="1474385" cy="1237905"/>
            </a:xfrm>
            <a:prstGeom prst="hexagon">
              <a:avLst>
                <a:gd name="adj" fmla="val 27042"/>
                <a:gd name="vf" fmla="val 115470"/>
              </a:avLst>
            </a:prstGeom>
            <a:pattFill prst="dkUpDiag">
              <a:fgClr>
                <a:srgbClr val="96968C">
                  <a:lumMod val="40000"/>
                  <a:lumOff val="60000"/>
                </a:srgbClr>
              </a:fgClr>
              <a:bgClr>
                <a:srgbClr val="FFFFFF"/>
              </a:bgClr>
            </a:patt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mj-lt"/>
                  <a:ea typeface="+mn-ea"/>
                  <a:cs typeface="+mn-cs"/>
                </a:rPr>
                <a:t>Other  </a:t>
              </a:r>
              <a:br>
                <a:rPr kumimoji="0" lang="en-US" sz="1200" b="1" i="0" u="none" strike="noStrike" kern="0" cap="none" spc="0" normalizeH="0" baseline="0" noProof="0" dirty="0">
                  <a:ln>
                    <a:noFill/>
                  </a:ln>
                  <a:effectLst/>
                  <a:uLnTx/>
                  <a:uFillTx/>
                  <a:latin typeface="+mj-lt"/>
                  <a:ea typeface="+mn-ea"/>
                  <a:cs typeface="+mn-cs"/>
                </a:rPr>
              </a:br>
              <a:r>
                <a:rPr kumimoji="0" lang="en-US" sz="1200" i="0" u="none" strike="noStrike" kern="0" cap="none" spc="0" normalizeH="0" baseline="0" noProof="0" dirty="0">
                  <a:ln>
                    <a:noFill/>
                  </a:ln>
                  <a:effectLst/>
                  <a:uLnTx/>
                  <a:uFillTx/>
                  <a:ea typeface="+mn-ea"/>
                  <a:cs typeface="+mn-cs"/>
                </a:rPr>
                <a:t>(if applicable)</a:t>
              </a:r>
            </a:p>
          </p:txBody>
        </p:sp>
        <p:sp>
          <p:nvSpPr>
            <p:cNvPr id="19" name="Content Placeholder 7">
              <a:extLst>
                <a:ext uri="{FF2B5EF4-FFF2-40B4-BE49-F238E27FC236}">
                  <a16:creationId xmlns:a16="http://schemas.microsoft.com/office/drawing/2014/main" id="{016F91E6-1C3D-41DF-A5DB-59FA4A463E02}"/>
                </a:ext>
              </a:extLst>
            </p:cNvPr>
            <p:cNvSpPr txBox="1">
              <a:spLocks/>
            </p:cNvSpPr>
            <p:nvPr/>
          </p:nvSpPr>
          <p:spPr bwMode="auto">
            <a:xfrm>
              <a:off x="8375037" y="4394722"/>
              <a:ext cx="1476000" cy="1663177"/>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grpSp>
      <p:sp>
        <p:nvSpPr>
          <p:cNvPr id="5" name="Footer Placeholder 4">
            <a:extLst>
              <a:ext uri="{FF2B5EF4-FFF2-40B4-BE49-F238E27FC236}">
                <a16:creationId xmlns:a16="http://schemas.microsoft.com/office/drawing/2014/main" id="{B3B6A33A-2EF2-454B-9756-BA0FCDE60588}"/>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7" name="Slide Number Placeholder 6">
            <a:extLst>
              <a:ext uri="{FF2B5EF4-FFF2-40B4-BE49-F238E27FC236}">
                <a16:creationId xmlns:a16="http://schemas.microsoft.com/office/drawing/2014/main" id="{2F9FD86D-1F77-4E55-B506-CD0C42493C2E}"/>
              </a:ext>
            </a:extLst>
          </p:cNvPr>
          <p:cNvSpPr>
            <a:spLocks noGrp="1"/>
          </p:cNvSpPr>
          <p:nvPr>
            <p:ph type="sldNum" sz="quarter" idx="10"/>
          </p:nvPr>
        </p:nvSpPr>
        <p:spPr/>
        <p:txBody>
          <a:bodyPr/>
          <a:lstStyle/>
          <a:p>
            <a:fld id="{1F90F471-3972-4120-B8B3-0237DE626C35}" type="slidenum">
              <a:rPr lang="en-US" smtClean="0"/>
              <a:pPr/>
              <a:t>242</a:t>
            </a:fld>
            <a:endParaRPr lang="en-US" dirty="0"/>
          </a:p>
        </p:txBody>
      </p:sp>
    </p:spTree>
    <p:extLst>
      <p:ext uri="{BB962C8B-B14F-4D97-AF65-F5344CB8AC3E}">
        <p14:creationId xmlns:p14="http://schemas.microsoft.com/office/powerpoint/2010/main" val="3983574618"/>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E906929-6143-48DD-8828-E38070382F46}"/>
              </a:ext>
            </a:extLst>
          </p:cNvPr>
          <p:cNvSpPr txBox="1"/>
          <p:nvPr/>
        </p:nvSpPr>
        <p:spPr bwMode="auto">
          <a:xfrm>
            <a:off x="381000" y="1"/>
            <a:ext cx="1081548" cy="257369"/>
          </a:xfrm>
          <a:prstGeom prst="rect">
            <a:avLst/>
          </a:prstGeom>
          <a:solidFill>
            <a:schemeClr val="accent2"/>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ea typeface="+mn-ea"/>
                <a:cs typeface="+mn-cs"/>
              </a:rPr>
              <a:t>Option 5</a:t>
            </a:r>
          </a:p>
        </p:txBody>
      </p:sp>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US" dirty="0"/>
              <a:t>Summary of your business </a:t>
            </a:r>
            <a:br>
              <a:rPr lang="en-US" dirty="0"/>
            </a:br>
            <a:r>
              <a:rPr lang="en-US" dirty="0"/>
              <a:t>issues and outcomes </a:t>
            </a:r>
          </a:p>
        </p:txBody>
      </p:sp>
      <p:sp>
        <p:nvSpPr>
          <p:cNvPr id="7" name="Chevron 24">
            <a:extLst>
              <a:ext uri="{FF2B5EF4-FFF2-40B4-BE49-F238E27FC236}">
                <a16:creationId xmlns:a16="http://schemas.microsoft.com/office/drawing/2014/main" id="{40EF9840-404B-47B3-BBD9-9791C5A8686F}"/>
              </a:ext>
            </a:extLst>
          </p:cNvPr>
          <p:cNvSpPr/>
          <p:nvPr/>
        </p:nvSpPr>
        <p:spPr bwMode="auto">
          <a:xfrm>
            <a:off x="344580" y="1763713"/>
            <a:ext cx="2182907" cy="1214436"/>
          </a:xfrm>
          <a:prstGeom prst="chevron">
            <a:avLst>
              <a:gd name="adj" fmla="val 20913"/>
            </a:avLst>
          </a:prstGeom>
          <a:solidFill>
            <a:schemeClr val="accent3"/>
          </a:solidFill>
          <a:ln w="6350">
            <a:noFill/>
            <a:miter lim="800000"/>
            <a:headEnd/>
            <a:tailEnd/>
          </a:ln>
          <a:effectLst/>
        </p:spPr>
        <p:txBody>
          <a:bodyPr wrap="square" lIns="108000" tIns="108000" rIns="108000" bIns="108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From issue</a:t>
            </a:r>
          </a:p>
        </p:txBody>
      </p:sp>
      <p:sp>
        <p:nvSpPr>
          <p:cNvPr id="8" name="Content Placeholder 7">
            <a:extLst>
              <a:ext uri="{FF2B5EF4-FFF2-40B4-BE49-F238E27FC236}">
                <a16:creationId xmlns:a16="http://schemas.microsoft.com/office/drawing/2014/main" id="{763DECBA-D914-4555-A858-71187F39A711}"/>
              </a:ext>
            </a:extLst>
          </p:cNvPr>
          <p:cNvSpPr txBox="1">
            <a:spLocks/>
          </p:cNvSpPr>
          <p:nvPr/>
        </p:nvSpPr>
        <p:spPr bwMode="auto">
          <a:xfrm>
            <a:off x="344581" y="3500438"/>
            <a:ext cx="1476000"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5" name="Chevron 23">
            <a:extLst>
              <a:ext uri="{FF2B5EF4-FFF2-40B4-BE49-F238E27FC236}">
                <a16:creationId xmlns:a16="http://schemas.microsoft.com/office/drawing/2014/main" id="{09C8DCEF-E8F8-421C-8524-5E27F8F310D6}"/>
              </a:ext>
            </a:extLst>
          </p:cNvPr>
          <p:cNvSpPr/>
          <p:nvPr/>
        </p:nvSpPr>
        <p:spPr bwMode="auto">
          <a:xfrm>
            <a:off x="9672542" y="1763714"/>
            <a:ext cx="2182907" cy="1214436"/>
          </a:xfrm>
          <a:prstGeom prst="chevron">
            <a:avLst>
              <a:gd name="adj" fmla="val 20913"/>
            </a:avLst>
          </a:prstGeom>
          <a:solidFill>
            <a:schemeClr val="accent2"/>
          </a:solidFill>
          <a:ln w="6350">
            <a:noFill/>
            <a:miter lim="800000"/>
            <a:headEnd/>
            <a:tailEnd/>
          </a:ln>
          <a:effectLst/>
        </p:spPr>
        <p:txBody>
          <a:bodyPr wrap="square" lIns="108000" tIns="108000" rIns="108000" bIns="108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To outcome</a:t>
            </a:r>
          </a:p>
        </p:txBody>
      </p:sp>
      <p:sp>
        <p:nvSpPr>
          <p:cNvPr id="9" name="Content Placeholder 7">
            <a:extLst>
              <a:ext uri="{FF2B5EF4-FFF2-40B4-BE49-F238E27FC236}">
                <a16:creationId xmlns:a16="http://schemas.microsoft.com/office/drawing/2014/main" id="{9079B8CE-B92F-406D-87EC-F678B36C58B4}"/>
              </a:ext>
            </a:extLst>
          </p:cNvPr>
          <p:cNvSpPr txBox="1">
            <a:spLocks/>
          </p:cNvSpPr>
          <p:nvPr/>
        </p:nvSpPr>
        <p:spPr bwMode="auto">
          <a:xfrm>
            <a:off x="10026802" y="3500438"/>
            <a:ext cx="1474385"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11" name="Footer Placeholder 10">
            <a:extLst>
              <a:ext uri="{FF2B5EF4-FFF2-40B4-BE49-F238E27FC236}">
                <a16:creationId xmlns:a16="http://schemas.microsoft.com/office/drawing/2014/main" id="{7A803123-1A51-45D3-A643-1A24211B126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2" name="Slide Number Placeholder 11">
            <a:extLst>
              <a:ext uri="{FF2B5EF4-FFF2-40B4-BE49-F238E27FC236}">
                <a16:creationId xmlns:a16="http://schemas.microsoft.com/office/drawing/2014/main" id="{B0084DA9-0E45-46B2-B717-B5D253812321}"/>
              </a:ext>
            </a:extLst>
          </p:cNvPr>
          <p:cNvSpPr>
            <a:spLocks noGrp="1"/>
          </p:cNvSpPr>
          <p:nvPr>
            <p:ph type="sldNum" sz="quarter" idx="10"/>
          </p:nvPr>
        </p:nvSpPr>
        <p:spPr/>
        <p:txBody>
          <a:bodyPr/>
          <a:lstStyle/>
          <a:p>
            <a:fld id="{1F90F471-3972-4120-B8B3-0237DE626C35}" type="slidenum">
              <a:rPr lang="en-US" smtClean="0"/>
              <a:pPr/>
              <a:t>243</a:t>
            </a:fld>
            <a:endParaRPr lang="en-US" dirty="0"/>
          </a:p>
        </p:txBody>
      </p:sp>
    </p:spTree>
    <p:extLst>
      <p:ext uri="{BB962C8B-B14F-4D97-AF65-F5344CB8AC3E}">
        <p14:creationId xmlns:p14="http://schemas.microsoft.com/office/powerpoint/2010/main" val="2591276603"/>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46E6763-0B0A-4126-95A5-609EAAC522A0}"/>
              </a:ext>
            </a:extLst>
          </p:cNvPr>
          <p:cNvSpPr txBox="1"/>
          <p:nvPr/>
        </p:nvSpPr>
        <p:spPr bwMode="auto">
          <a:xfrm>
            <a:off x="381000" y="1"/>
            <a:ext cx="1081548" cy="257369"/>
          </a:xfrm>
          <a:prstGeom prst="rect">
            <a:avLst/>
          </a:prstGeom>
          <a:solidFill>
            <a:schemeClr val="accent2"/>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ea typeface="+mn-ea"/>
                <a:cs typeface="+mn-cs"/>
              </a:rPr>
              <a:t>Option 5</a:t>
            </a:r>
          </a:p>
        </p:txBody>
      </p:sp>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ZA" dirty="0"/>
              <a:t>Our understanding of the </a:t>
            </a:r>
            <a:br>
              <a:rPr lang="en-ZA" dirty="0"/>
            </a:br>
            <a:r>
              <a:rPr lang="en-ZA" dirty="0"/>
              <a:t>critical considerations  </a:t>
            </a:r>
            <a:endParaRPr lang="en-US" dirty="0"/>
          </a:p>
        </p:txBody>
      </p:sp>
      <p:grpSp>
        <p:nvGrpSpPr>
          <p:cNvPr id="4" name="Group 3" descr="Critical consideration insert text here">
            <a:extLst>
              <a:ext uri="{FF2B5EF4-FFF2-40B4-BE49-F238E27FC236}">
                <a16:creationId xmlns:a16="http://schemas.microsoft.com/office/drawing/2014/main" id="{C482B581-8106-4694-B089-B146D734C9D5}"/>
              </a:ext>
            </a:extLst>
          </p:cNvPr>
          <p:cNvGrpSpPr/>
          <p:nvPr/>
        </p:nvGrpSpPr>
        <p:grpSpPr>
          <a:xfrm>
            <a:off x="344580" y="1763713"/>
            <a:ext cx="11510869" cy="4294187"/>
            <a:chOff x="344580" y="1763713"/>
            <a:chExt cx="11510869" cy="4294187"/>
          </a:xfrm>
        </p:grpSpPr>
        <p:sp>
          <p:nvSpPr>
            <p:cNvPr id="8" name="Chevron 24">
              <a:extLst>
                <a:ext uri="{FF2B5EF4-FFF2-40B4-BE49-F238E27FC236}">
                  <a16:creationId xmlns:a16="http://schemas.microsoft.com/office/drawing/2014/main" id="{A122F87C-F1D9-49E2-BCE4-2B7975304D0A}"/>
                </a:ext>
              </a:extLst>
            </p:cNvPr>
            <p:cNvSpPr/>
            <p:nvPr/>
          </p:nvSpPr>
          <p:spPr bwMode="auto">
            <a:xfrm>
              <a:off x="344580" y="1763713"/>
              <a:ext cx="2182907" cy="1214436"/>
            </a:xfrm>
            <a:prstGeom prst="chevron">
              <a:avLst>
                <a:gd name="adj" fmla="val 20913"/>
              </a:avLst>
            </a:prstGeom>
            <a:solidFill>
              <a:schemeClr val="bg2">
                <a:lumMod val="10000"/>
              </a:schemeClr>
            </a:solidFill>
            <a:ln w="6350">
              <a:noFill/>
              <a:miter lim="800000"/>
              <a:headEnd/>
              <a:tailEnd/>
            </a:ln>
            <a:effectLst/>
          </p:spPr>
          <p:txBody>
            <a:bodyPr wrap="square" lIns="108000" tIns="108000" rIns="108000" bIns="108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From issue</a:t>
              </a:r>
            </a:p>
          </p:txBody>
        </p:sp>
        <p:sp>
          <p:nvSpPr>
            <p:cNvPr id="15" name="Content Placeholder 7">
              <a:extLst>
                <a:ext uri="{FF2B5EF4-FFF2-40B4-BE49-F238E27FC236}">
                  <a16:creationId xmlns:a16="http://schemas.microsoft.com/office/drawing/2014/main" id="{75BEA412-6E9A-417C-9409-24BAEA2EEAD2}"/>
                </a:ext>
              </a:extLst>
            </p:cNvPr>
            <p:cNvSpPr txBox="1">
              <a:spLocks/>
            </p:cNvSpPr>
            <p:nvPr/>
          </p:nvSpPr>
          <p:spPr bwMode="auto">
            <a:xfrm>
              <a:off x="344581" y="3500438"/>
              <a:ext cx="1476000"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5" name="Chevron 23">
              <a:extLst>
                <a:ext uri="{FF2B5EF4-FFF2-40B4-BE49-F238E27FC236}">
                  <a16:creationId xmlns:a16="http://schemas.microsoft.com/office/drawing/2014/main" id="{86C6F08B-B349-4BED-BF1B-EC58F13641C3}"/>
                </a:ext>
              </a:extLst>
            </p:cNvPr>
            <p:cNvSpPr/>
            <p:nvPr/>
          </p:nvSpPr>
          <p:spPr bwMode="auto">
            <a:xfrm>
              <a:off x="9672542" y="1763714"/>
              <a:ext cx="2182907" cy="1214436"/>
            </a:xfrm>
            <a:prstGeom prst="chevron">
              <a:avLst>
                <a:gd name="adj" fmla="val 20913"/>
              </a:avLst>
            </a:prstGeom>
            <a:solidFill>
              <a:schemeClr val="bg2">
                <a:lumMod val="10000"/>
              </a:schemeClr>
            </a:solidFill>
            <a:ln w="6350">
              <a:noFill/>
              <a:miter lim="800000"/>
              <a:headEnd/>
              <a:tailEnd/>
            </a:ln>
            <a:effectLst/>
          </p:spPr>
          <p:txBody>
            <a:bodyPr wrap="square" lIns="108000" tIns="108000" rIns="108000" bIns="108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To outcome</a:t>
              </a:r>
            </a:p>
          </p:txBody>
        </p:sp>
        <p:sp>
          <p:nvSpPr>
            <p:cNvPr id="23" name="Content Placeholder 7">
              <a:extLst>
                <a:ext uri="{FF2B5EF4-FFF2-40B4-BE49-F238E27FC236}">
                  <a16:creationId xmlns:a16="http://schemas.microsoft.com/office/drawing/2014/main" id="{AADDC86F-AC2B-45C7-9E10-DB77F7A6C719}"/>
                </a:ext>
              </a:extLst>
            </p:cNvPr>
            <p:cNvSpPr txBox="1">
              <a:spLocks/>
            </p:cNvSpPr>
            <p:nvPr/>
          </p:nvSpPr>
          <p:spPr bwMode="auto">
            <a:xfrm>
              <a:off x="10026802" y="3500438"/>
              <a:ext cx="1474385"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7" name="Chevron 22">
              <a:extLst>
                <a:ext uri="{FF2B5EF4-FFF2-40B4-BE49-F238E27FC236}">
                  <a16:creationId xmlns:a16="http://schemas.microsoft.com/office/drawing/2014/main" id="{4EA9C50E-9056-4C6D-8DCC-30F21065FCE7}"/>
                </a:ext>
                <a:ext uri="{C183D7F6-B498-43B3-948B-1728B52AA6E4}">
                  <adec:decorative xmlns:adec="http://schemas.microsoft.com/office/drawing/2017/decorative" val="1"/>
                </a:ext>
              </a:extLst>
            </p:cNvPr>
            <p:cNvSpPr/>
            <p:nvPr/>
          </p:nvSpPr>
          <p:spPr bwMode="auto">
            <a:xfrm>
              <a:off x="2422230" y="1769495"/>
              <a:ext cx="7362756" cy="1214436"/>
            </a:xfrm>
            <a:prstGeom prst="chevron">
              <a:avLst>
                <a:gd name="adj" fmla="val 20913"/>
              </a:avLst>
            </a:prstGeom>
            <a:pattFill prst="dkUpDiag">
              <a:fgClr>
                <a:srgbClr val="96968C">
                  <a:lumMod val="40000"/>
                  <a:lumOff val="60000"/>
                </a:srgbClr>
              </a:fgClr>
              <a:bgClr>
                <a:srgbClr val="FFFFFF"/>
              </a:bgClr>
            </a:pattFill>
            <a:ln w="6350">
              <a:noFill/>
              <a:miter lim="800000"/>
              <a:headEnd/>
              <a:tailEnd/>
            </a:ln>
            <a:effectLst/>
          </p:spPr>
          <p:txBody>
            <a:bodyPr wrap="square" lIns="108000" tIns="108000" rIns="108000" bIns="108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ZA" sz="1200" b="0" i="0" u="none" strike="noStrike" kern="0" cap="none" spc="0" normalizeH="0" baseline="0" noProof="0" dirty="0" err="1">
                <a:ln>
                  <a:noFill/>
                </a:ln>
                <a:solidFill>
                  <a:srgbClr val="FFFFFF"/>
                </a:solidFill>
                <a:effectLst/>
                <a:uLnTx/>
                <a:uFillTx/>
                <a:latin typeface="Arial Black"/>
                <a:ea typeface="+mn-ea"/>
                <a:cs typeface="+mn-cs"/>
              </a:endParaRPr>
            </a:p>
          </p:txBody>
        </p:sp>
        <p:sp>
          <p:nvSpPr>
            <p:cNvPr id="9" name="Rectangle 8">
              <a:extLst>
                <a:ext uri="{FF2B5EF4-FFF2-40B4-BE49-F238E27FC236}">
                  <a16:creationId xmlns:a16="http://schemas.microsoft.com/office/drawing/2014/main" id="{4D6B984C-DC6A-4CBE-9C79-5E565EE0D35F}"/>
                </a:ext>
              </a:extLst>
            </p:cNvPr>
            <p:cNvSpPr/>
            <p:nvPr/>
          </p:nvSpPr>
          <p:spPr bwMode="auto">
            <a:xfrm>
              <a:off x="5194059" y="1841911"/>
              <a:ext cx="1596912" cy="240066"/>
            </a:xfrm>
            <a:prstGeom prst="rect">
              <a:avLst/>
            </a:prstGeom>
          </p:spPr>
          <p:txBody>
            <a:bodyPr wrap="none">
              <a:spAutoFit/>
            </a:bodyPr>
            <a:lstStyle/>
            <a:p>
              <a:pPr marL="0" marR="0" lvl="0" indent="0" algn="ctr" defTabSz="914400" rtl="0" eaLnBrk="0" fontAlgn="auto" latinLnBrk="0" hangingPunct="0">
                <a:lnSpc>
                  <a:spcPct val="8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2"/>
                  </a:solidFill>
                  <a:effectLst/>
                  <a:uLnTx/>
                  <a:uFillTx/>
                  <a:latin typeface="+mj-lt"/>
                  <a:ea typeface="+mn-ea"/>
                  <a:cs typeface="+mn-cs"/>
                </a:rPr>
                <a:t>Value and benefits</a:t>
              </a:r>
            </a:p>
          </p:txBody>
        </p:sp>
        <p:sp>
          <p:nvSpPr>
            <p:cNvPr id="11" name="Chevron 9">
              <a:extLst>
                <a:ext uri="{FF2B5EF4-FFF2-40B4-BE49-F238E27FC236}">
                  <a16:creationId xmlns:a16="http://schemas.microsoft.com/office/drawing/2014/main" id="{C4348223-8ADE-4A81-B226-33F6E930291A}"/>
                </a:ext>
              </a:extLst>
            </p:cNvPr>
            <p:cNvSpPr/>
            <p:nvPr/>
          </p:nvSpPr>
          <p:spPr bwMode="auto">
            <a:xfrm>
              <a:off x="2739547" y="2129944"/>
              <a:ext cx="1725375" cy="708527"/>
            </a:xfrm>
            <a:prstGeom prst="chevron">
              <a:avLst>
                <a:gd name="adj" fmla="val 20913"/>
              </a:avLst>
            </a:prstGeom>
            <a:solidFill>
              <a:schemeClr val="accent2"/>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Pace</a:t>
              </a:r>
            </a:p>
          </p:txBody>
        </p:sp>
        <p:cxnSp>
          <p:nvCxnSpPr>
            <p:cNvPr id="24" name="Straight Connector 23">
              <a:extLst>
                <a:ext uri="{FF2B5EF4-FFF2-40B4-BE49-F238E27FC236}">
                  <a16:creationId xmlns:a16="http://schemas.microsoft.com/office/drawing/2014/main" id="{58DE0A3C-5B25-487E-84E6-3CF397BC2E32}"/>
                </a:ext>
                <a:ext uri="{C183D7F6-B498-43B3-948B-1728B52AA6E4}">
                  <adec:decorative xmlns:adec="http://schemas.microsoft.com/office/drawing/2017/decorative" val="1"/>
                </a:ext>
              </a:extLst>
            </p:cNvPr>
            <p:cNvCxnSpPr/>
            <p:nvPr/>
          </p:nvCxnSpPr>
          <p:spPr>
            <a:xfrm>
              <a:off x="2311248" y="3490452"/>
              <a:ext cx="0" cy="2567448"/>
            </a:xfrm>
            <a:prstGeom prst="line">
              <a:avLst/>
            </a:prstGeom>
            <a:noFill/>
            <a:ln w="19050" cap="flat" cmpd="sng" algn="ctr">
              <a:solidFill>
                <a:srgbClr val="96968C">
                  <a:lumMod val="40000"/>
                  <a:lumOff val="60000"/>
                </a:srgbClr>
              </a:solidFill>
              <a:prstDash val="sysDot"/>
            </a:ln>
            <a:effectLst/>
          </p:spPr>
        </p:cxnSp>
        <p:sp>
          <p:nvSpPr>
            <p:cNvPr id="16" name="Content Placeholder 7">
              <a:extLst>
                <a:ext uri="{FF2B5EF4-FFF2-40B4-BE49-F238E27FC236}">
                  <a16:creationId xmlns:a16="http://schemas.microsoft.com/office/drawing/2014/main" id="{56551EE1-1436-41DA-BE30-E8178CB465A9}"/>
                </a:ext>
              </a:extLst>
            </p:cNvPr>
            <p:cNvSpPr txBox="1">
              <a:spLocks/>
            </p:cNvSpPr>
            <p:nvPr/>
          </p:nvSpPr>
          <p:spPr bwMode="auto">
            <a:xfrm>
              <a:off x="2739547" y="3500438"/>
              <a:ext cx="1476000"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12" name="Chevron 20">
              <a:extLst>
                <a:ext uri="{FF2B5EF4-FFF2-40B4-BE49-F238E27FC236}">
                  <a16:creationId xmlns:a16="http://schemas.microsoft.com/office/drawing/2014/main" id="{522B1F93-8BB2-478C-98CF-C95E846CA72E}"/>
                </a:ext>
              </a:extLst>
            </p:cNvPr>
            <p:cNvSpPr/>
            <p:nvPr/>
          </p:nvSpPr>
          <p:spPr bwMode="auto">
            <a:xfrm>
              <a:off x="4433952" y="2129944"/>
              <a:ext cx="1725375" cy="708527"/>
            </a:xfrm>
            <a:prstGeom prst="chevron">
              <a:avLst>
                <a:gd name="adj" fmla="val 20913"/>
              </a:avLst>
            </a:prstGeom>
            <a:solidFill>
              <a:schemeClr val="accent2"/>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Certainty</a:t>
              </a:r>
            </a:p>
          </p:txBody>
        </p:sp>
        <p:cxnSp>
          <p:nvCxnSpPr>
            <p:cNvPr id="20" name="Straight Connector 19">
              <a:extLst>
                <a:ext uri="{FF2B5EF4-FFF2-40B4-BE49-F238E27FC236}">
                  <a16:creationId xmlns:a16="http://schemas.microsoft.com/office/drawing/2014/main" id="{38C7544E-BC10-49F6-957E-C23F2CEE2B1C}"/>
                </a:ext>
                <a:ext uri="{C183D7F6-B498-43B3-948B-1728B52AA6E4}">
                  <adec:decorative xmlns:adec="http://schemas.microsoft.com/office/drawing/2017/decorative" val="1"/>
                </a:ext>
              </a:extLst>
            </p:cNvPr>
            <p:cNvCxnSpPr/>
            <p:nvPr/>
          </p:nvCxnSpPr>
          <p:spPr>
            <a:xfrm>
              <a:off x="4326861" y="3490452"/>
              <a:ext cx="0" cy="2567448"/>
            </a:xfrm>
            <a:prstGeom prst="line">
              <a:avLst/>
            </a:prstGeom>
            <a:noFill/>
            <a:ln w="19050" cap="flat" cmpd="sng" algn="ctr">
              <a:solidFill>
                <a:srgbClr val="96968C">
                  <a:lumMod val="40000"/>
                  <a:lumOff val="60000"/>
                </a:srgbClr>
              </a:solidFill>
              <a:prstDash val="sysDot"/>
            </a:ln>
            <a:effectLst/>
          </p:spPr>
        </p:cxnSp>
        <p:sp>
          <p:nvSpPr>
            <p:cNvPr id="17" name="Content Placeholder 7">
              <a:extLst>
                <a:ext uri="{FF2B5EF4-FFF2-40B4-BE49-F238E27FC236}">
                  <a16:creationId xmlns:a16="http://schemas.microsoft.com/office/drawing/2014/main" id="{40BAB1D5-D789-474D-B879-BF12B3855D34}"/>
                </a:ext>
              </a:extLst>
            </p:cNvPr>
            <p:cNvSpPr txBox="1">
              <a:spLocks/>
            </p:cNvSpPr>
            <p:nvPr/>
          </p:nvSpPr>
          <p:spPr bwMode="auto">
            <a:xfrm>
              <a:off x="4438175" y="3500438"/>
              <a:ext cx="1476000"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13" name="Chevron 21">
              <a:extLst>
                <a:ext uri="{FF2B5EF4-FFF2-40B4-BE49-F238E27FC236}">
                  <a16:creationId xmlns:a16="http://schemas.microsoft.com/office/drawing/2014/main" id="{31EF2A45-DBC9-4F3C-9BB4-CDF0475CCF7C}"/>
                </a:ext>
              </a:extLst>
            </p:cNvPr>
            <p:cNvSpPr/>
            <p:nvPr/>
          </p:nvSpPr>
          <p:spPr bwMode="auto">
            <a:xfrm>
              <a:off x="6110054" y="2129944"/>
              <a:ext cx="1725375" cy="708527"/>
            </a:xfrm>
            <a:prstGeom prst="chevron">
              <a:avLst>
                <a:gd name="adj" fmla="val 20913"/>
              </a:avLst>
            </a:prstGeom>
            <a:solidFill>
              <a:schemeClr val="accent2"/>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Strategic agility</a:t>
              </a:r>
            </a:p>
          </p:txBody>
        </p:sp>
        <p:cxnSp>
          <p:nvCxnSpPr>
            <p:cNvPr id="21" name="Straight Connector 20">
              <a:extLst>
                <a:ext uri="{FF2B5EF4-FFF2-40B4-BE49-F238E27FC236}">
                  <a16:creationId xmlns:a16="http://schemas.microsoft.com/office/drawing/2014/main" id="{2EEF2279-E21F-4669-96D6-098521D78D1B}"/>
                </a:ext>
                <a:ext uri="{C183D7F6-B498-43B3-948B-1728B52AA6E4}">
                  <adec:decorative xmlns:adec="http://schemas.microsoft.com/office/drawing/2017/decorative" val="1"/>
                </a:ext>
              </a:extLst>
            </p:cNvPr>
            <p:cNvCxnSpPr/>
            <p:nvPr/>
          </p:nvCxnSpPr>
          <p:spPr>
            <a:xfrm>
              <a:off x="6025489" y="3490452"/>
              <a:ext cx="0" cy="2567448"/>
            </a:xfrm>
            <a:prstGeom prst="line">
              <a:avLst/>
            </a:prstGeom>
            <a:noFill/>
            <a:ln w="19050" cap="flat" cmpd="sng" algn="ctr">
              <a:solidFill>
                <a:srgbClr val="96968C">
                  <a:lumMod val="40000"/>
                  <a:lumOff val="60000"/>
                </a:srgbClr>
              </a:solidFill>
              <a:prstDash val="sysDot"/>
            </a:ln>
            <a:effectLst/>
          </p:spPr>
        </p:cxnSp>
        <p:sp>
          <p:nvSpPr>
            <p:cNvPr id="18" name="Content Placeholder 7">
              <a:extLst>
                <a:ext uri="{FF2B5EF4-FFF2-40B4-BE49-F238E27FC236}">
                  <a16:creationId xmlns:a16="http://schemas.microsoft.com/office/drawing/2014/main" id="{DC3BCDE7-E373-4692-87C9-FA796A66F359}"/>
                </a:ext>
              </a:extLst>
            </p:cNvPr>
            <p:cNvSpPr txBox="1">
              <a:spLocks/>
            </p:cNvSpPr>
            <p:nvPr/>
          </p:nvSpPr>
          <p:spPr bwMode="auto">
            <a:xfrm>
              <a:off x="6136803" y="3500438"/>
              <a:ext cx="1476000"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14" name="Chevron 19">
              <a:extLst>
                <a:ext uri="{FF2B5EF4-FFF2-40B4-BE49-F238E27FC236}">
                  <a16:creationId xmlns:a16="http://schemas.microsoft.com/office/drawing/2014/main" id="{05D910AA-8DA6-480C-8F3C-E361A2999104}"/>
                </a:ext>
              </a:extLst>
            </p:cNvPr>
            <p:cNvSpPr/>
            <p:nvPr/>
          </p:nvSpPr>
          <p:spPr bwMode="auto">
            <a:xfrm>
              <a:off x="7772586" y="2127969"/>
              <a:ext cx="1725375" cy="708527"/>
            </a:xfrm>
            <a:prstGeom prst="chevron">
              <a:avLst>
                <a:gd name="adj" fmla="val 20913"/>
              </a:avLst>
            </a:prstGeom>
            <a:solidFill>
              <a:schemeClr val="accent2"/>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Other</a:t>
              </a:r>
            </a:p>
          </p:txBody>
        </p:sp>
        <p:cxnSp>
          <p:nvCxnSpPr>
            <p:cNvPr id="22" name="Straight Connector 21">
              <a:extLst>
                <a:ext uri="{FF2B5EF4-FFF2-40B4-BE49-F238E27FC236}">
                  <a16:creationId xmlns:a16="http://schemas.microsoft.com/office/drawing/2014/main" id="{DBEE4F43-21A8-4BCD-96EE-00518DE52EB4}"/>
                </a:ext>
                <a:ext uri="{C183D7F6-B498-43B3-948B-1728B52AA6E4}">
                  <adec:decorative xmlns:adec="http://schemas.microsoft.com/office/drawing/2017/decorative" val="1"/>
                </a:ext>
              </a:extLst>
            </p:cNvPr>
            <p:cNvCxnSpPr/>
            <p:nvPr/>
          </p:nvCxnSpPr>
          <p:spPr>
            <a:xfrm>
              <a:off x="7724117" y="3490452"/>
              <a:ext cx="0" cy="2567448"/>
            </a:xfrm>
            <a:prstGeom prst="line">
              <a:avLst/>
            </a:prstGeom>
            <a:noFill/>
            <a:ln w="19050" cap="flat" cmpd="sng" algn="ctr">
              <a:solidFill>
                <a:srgbClr val="96968C">
                  <a:lumMod val="40000"/>
                  <a:lumOff val="60000"/>
                </a:srgbClr>
              </a:solidFill>
              <a:prstDash val="sysDot"/>
            </a:ln>
            <a:effectLst/>
          </p:spPr>
        </p:cxnSp>
        <p:sp>
          <p:nvSpPr>
            <p:cNvPr id="19" name="Content Placeholder 7">
              <a:extLst>
                <a:ext uri="{FF2B5EF4-FFF2-40B4-BE49-F238E27FC236}">
                  <a16:creationId xmlns:a16="http://schemas.microsoft.com/office/drawing/2014/main" id="{B3284F27-AFFA-4DE6-837E-57C658F956F9}"/>
                </a:ext>
              </a:extLst>
            </p:cNvPr>
            <p:cNvSpPr txBox="1">
              <a:spLocks/>
            </p:cNvSpPr>
            <p:nvPr/>
          </p:nvSpPr>
          <p:spPr bwMode="auto">
            <a:xfrm>
              <a:off x="7835429" y="3500438"/>
              <a:ext cx="1476000"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cxnSp>
          <p:nvCxnSpPr>
            <p:cNvPr id="25" name="Straight Connector 24">
              <a:extLst>
                <a:ext uri="{FF2B5EF4-FFF2-40B4-BE49-F238E27FC236}">
                  <a16:creationId xmlns:a16="http://schemas.microsoft.com/office/drawing/2014/main" id="{0FF9D4B4-9485-4C09-955C-1E0EAFD22BE5}"/>
                </a:ext>
                <a:ext uri="{C183D7F6-B498-43B3-948B-1728B52AA6E4}">
                  <adec:decorative xmlns:adec="http://schemas.microsoft.com/office/drawing/2017/decorative" val="1"/>
                </a:ext>
              </a:extLst>
            </p:cNvPr>
            <p:cNvCxnSpPr/>
            <p:nvPr/>
          </p:nvCxnSpPr>
          <p:spPr>
            <a:xfrm>
              <a:off x="9596952" y="3490452"/>
              <a:ext cx="0" cy="2567448"/>
            </a:xfrm>
            <a:prstGeom prst="line">
              <a:avLst/>
            </a:prstGeom>
            <a:noFill/>
            <a:ln w="19050" cap="flat" cmpd="sng" algn="ctr">
              <a:solidFill>
                <a:srgbClr val="96968C">
                  <a:lumMod val="40000"/>
                  <a:lumOff val="60000"/>
                </a:srgbClr>
              </a:solidFill>
              <a:prstDash val="sysDot"/>
            </a:ln>
            <a:effectLst/>
          </p:spPr>
        </p:cxnSp>
      </p:grpSp>
      <p:sp>
        <p:nvSpPr>
          <p:cNvPr id="3" name="Footer Placeholder 2">
            <a:extLst>
              <a:ext uri="{FF2B5EF4-FFF2-40B4-BE49-F238E27FC236}">
                <a16:creationId xmlns:a16="http://schemas.microsoft.com/office/drawing/2014/main" id="{DD52EA5E-45D4-4348-BAD8-26CE12BF07FF}"/>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7" name="Slide Number Placeholder 26">
            <a:extLst>
              <a:ext uri="{FF2B5EF4-FFF2-40B4-BE49-F238E27FC236}">
                <a16:creationId xmlns:a16="http://schemas.microsoft.com/office/drawing/2014/main" id="{F3C5727E-1B5C-4219-8A57-0BEAA816C80A}"/>
              </a:ext>
            </a:extLst>
          </p:cNvPr>
          <p:cNvSpPr>
            <a:spLocks noGrp="1"/>
          </p:cNvSpPr>
          <p:nvPr>
            <p:ph type="sldNum" sz="quarter" idx="10"/>
          </p:nvPr>
        </p:nvSpPr>
        <p:spPr/>
        <p:txBody>
          <a:bodyPr/>
          <a:lstStyle/>
          <a:p>
            <a:fld id="{1F90F471-3972-4120-B8B3-0237DE626C35}" type="slidenum">
              <a:rPr lang="en-US" smtClean="0"/>
              <a:pPr/>
              <a:t>244</a:t>
            </a:fld>
            <a:endParaRPr lang="en-US" dirty="0"/>
          </a:p>
        </p:txBody>
      </p:sp>
    </p:spTree>
    <p:extLst>
      <p:ext uri="{BB962C8B-B14F-4D97-AF65-F5344CB8AC3E}">
        <p14:creationId xmlns:p14="http://schemas.microsoft.com/office/powerpoint/2010/main" val="1068481583"/>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036D664-B6DD-48AC-BCB0-837CE9588C46}"/>
              </a:ext>
            </a:extLst>
          </p:cNvPr>
          <p:cNvSpPr txBox="1"/>
          <p:nvPr/>
        </p:nvSpPr>
        <p:spPr bwMode="auto">
          <a:xfrm>
            <a:off x="381000" y="1"/>
            <a:ext cx="1081548" cy="257369"/>
          </a:xfrm>
          <a:prstGeom prst="rect">
            <a:avLst/>
          </a:prstGeom>
          <a:solidFill>
            <a:schemeClr val="accent2"/>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ea typeface="+mn-ea"/>
                <a:cs typeface="+mn-cs"/>
              </a:rPr>
              <a:t>Option 5</a:t>
            </a:r>
          </a:p>
        </p:txBody>
      </p:sp>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ZA" dirty="0"/>
              <a:t>Our value proposition </a:t>
            </a:r>
            <a:br>
              <a:rPr lang="en-ZA" dirty="0"/>
            </a:br>
            <a:r>
              <a:rPr lang="en-ZA" dirty="0"/>
              <a:t>for the engagement  </a:t>
            </a:r>
            <a:endParaRPr lang="en-US" dirty="0"/>
          </a:p>
        </p:txBody>
      </p:sp>
      <p:grpSp>
        <p:nvGrpSpPr>
          <p:cNvPr id="4" name="Group 3" descr="value proposition insert text here">
            <a:extLst>
              <a:ext uri="{FF2B5EF4-FFF2-40B4-BE49-F238E27FC236}">
                <a16:creationId xmlns:a16="http://schemas.microsoft.com/office/drawing/2014/main" id="{21E77C31-7691-4D06-BA67-B3D824E9D232}"/>
              </a:ext>
            </a:extLst>
          </p:cNvPr>
          <p:cNvGrpSpPr/>
          <p:nvPr/>
        </p:nvGrpSpPr>
        <p:grpSpPr>
          <a:xfrm>
            <a:off x="344580" y="1763713"/>
            <a:ext cx="11510869" cy="4294187"/>
            <a:chOff x="344580" y="1763713"/>
            <a:chExt cx="11510869" cy="4294187"/>
          </a:xfrm>
        </p:grpSpPr>
        <p:sp>
          <p:nvSpPr>
            <p:cNvPr id="8" name="Chevron 24">
              <a:extLst>
                <a:ext uri="{FF2B5EF4-FFF2-40B4-BE49-F238E27FC236}">
                  <a16:creationId xmlns:a16="http://schemas.microsoft.com/office/drawing/2014/main" id="{99F3558C-2B48-4842-8220-811A6609A7D5}"/>
                </a:ext>
              </a:extLst>
            </p:cNvPr>
            <p:cNvSpPr/>
            <p:nvPr/>
          </p:nvSpPr>
          <p:spPr bwMode="auto">
            <a:xfrm>
              <a:off x="344580" y="1763713"/>
              <a:ext cx="2182907" cy="1214436"/>
            </a:xfrm>
            <a:prstGeom prst="chevron">
              <a:avLst>
                <a:gd name="adj" fmla="val 20913"/>
              </a:avLst>
            </a:prstGeom>
            <a:solidFill>
              <a:schemeClr val="accent3"/>
            </a:solidFill>
            <a:ln w="6350">
              <a:noFill/>
              <a:miter lim="800000"/>
              <a:headEnd/>
              <a:tailEnd/>
            </a:ln>
            <a:effectLst/>
          </p:spPr>
          <p:txBody>
            <a:bodyPr wrap="square" lIns="108000" tIns="108000" rIns="108000" bIns="108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From issue</a:t>
              </a:r>
            </a:p>
          </p:txBody>
        </p:sp>
        <p:sp>
          <p:nvSpPr>
            <p:cNvPr id="15" name="Content Placeholder 7">
              <a:extLst>
                <a:ext uri="{FF2B5EF4-FFF2-40B4-BE49-F238E27FC236}">
                  <a16:creationId xmlns:a16="http://schemas.microsoft.com/office/drawing/2014/main" id="{EEF855CA-C4C7-4AE1-B861-7FBC3D9EE212}"/>
                </a:ext>
              </a:extLst>
            </p:cNvPr>
            <p:cNvSpPr txBox="1">
              <a:spLocks/>
            </p:cNvSpPr>
            <p:nvPr/>
          </p:nvSpPr>
          <p:spPr bwMode="auto">
            <a:xfrm>
              <a:off x="344581" y="3500438"/>
              <a:ext cx="1476000"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5" name="Chevron 23">
              <a:extLst>
                <a:ext uri="{FF2B5EF4-FFF2-40B4-BE49-F238E27FC236}">
                  <a16:creationId xmlns:a16="http://schemas.microsoft.com/office/drawing/2014/main" id="{13F3BB8B-9FE5-41ED-9E5C-6F5A19467108}"/>
                </a:ext>
              </a:extLst>
            </p:cNvPr>
            <p:cNvSpPr/>
            <p:nvPr/>
          </p:nvSpPr>
          <p:spPr bwMode="auto">
            <a:xfrm>
              <a:off x="9672542" y="1763714"/>
              <a:ext cx="2182907" cy="1214436"/>
            </a:xfrm>
            <a:prstGeom prst="chevron">
              <a:avLst>
                <a:gd name="adj" fmla="val 20913"/>
              </a:avLst>
            </a:prstGeom>
            <a:solidFill>
              <a:schemeClr val="accent1"/>
            </a:solidFill>
            <a:ln w="6350">
              <a:noFill/>
              <a:miter lim="800000"/>
              <a:headEnd/>
              <a:tailEnd/>
            </a:ln>
            <a:effectLst/>
          </p:spPr>
          <p:txBody>
            <a:bodyPr wrap="square" lIns="108000" tIns="108000" rIns="108000" bIns="108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To outcome</a:t>
              </a:r>
            </a:p>
          </p:txBody>
        </p:sp>
        <p:cxnSp>
          <p:nvCxnSpPr>
            <p:cNvPr id="25" name="Straight Connector 24">
              <a:extLst>
                <a:ext uri="{FF2B5EF4-FFF2-40B4-BE49-F238E27FC236}">
                  <a16:creationId xmlns:a16="http://schemas.microsoft.com/office/drawing/2014/main" id="{F0049DA5-E65F-4D25-AFD0-C7685E01C749}"/>
                </a:ext>
                <a:ext uri="{C183D7F6-B498-43B3-948B-1728B52AA6E4}">
                  <adec:decorative xmlns:adec="http://schemas.microsoft.com/office/drawing/2017/decorative" val="1"/>
                </a:ext>
              </a:extLst>
            </p:cNvPr>
            <p:cNvCxnSpPr/>
            <p:nvPr/>
          </p:nvCxnSpPr>
          <p:spPr>
            <a:xfrm>
              <a:off x="9596952" y="3490452"/>
              <a:ext cx="0" cy="2567448"/>
            </a:xfrm>
            <a:prstGeom prst="line">
              <a:avLst/>
            </a:prstGeom>
            <a:noFill/>
            <a:ln w="19050" cap="flat" cmpd="sng" algn="ctr">
              <a:solidFill>
                <a:srgbClr val="96968C">
                  <a:lumMod val="40000"/>
                  <a:lumOff val="60000"/>
                </a:srgbClr>
              </a:solidFill>
              <a:prstDash val="sysDot"/>
            </a:ln>
            <a:effectLst/>
          </p:spPr>
        </p:cxnSp>
        <p:sp>
          <p:nvSpPr>
            <p:cNvPr id="23" name="Content Placeholder 7">
              <a:extLst>
                <a:ext uri="{FF2B5EF4-FFF2-40B4-BE49-F238E27FC236}">
                  <a16:creationId xmlns:a16="http://schemas.microsoft.com/office/drawing/2014/main" id="{A67A39E3-FB8D-4416-8F68-2BC090409659}"/>
                </a:ext>
              </a:extLst>
            </p:cNvPr>
            <p:cNvSpPr txBox="1">
              <a:spLocks/>
            </p:cNvSpPr>
            <p:nvPr/>
          </p:nvSpPr>
          <p:spPr bwMode="auto">
            <a:xfrm>
              <a:off x="10026802" y="3500438"/>
              <a:ext cx="1474385"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7" name="Chevron 22">
              <a:extLst>
                <a:ext uri="{FF2B5EF4-FFF2-40B4-BE49-F238E27FC236}">
                  <a16:creationId xmlns:a16="http://schemas.microsoft.com/office/drawing/2014/main" id="{230C45A8-27B2-410C-8E41-E2A47AF47634}"/>
                </a:ext>
                <a:ext uri="{C183D7F6-B498-43B3-948B-1728B52AA6E4}">
                  <adec:decorative xmlns:adec="http://schemas.microsoft.com/office/drawing/2017/decorative" val="1"/>
                </a:ext>
              </a:extLst>
            </p:cNvPr>
            <p:cNvSpPr/>
            <p:nvPr/>
          </p:nvSpPr>
          <p:spPr bwMode="auto">
            <a:xfrm>
              <a:off x="2422230" y="1769495"/>
              <a:ext cx="7362756" cy="1214436"/>
            </a:xfrm>
            <a:prstGeom prst="chevron">
              <a:avLst>
                <a:gd name="adj" fmla="val 20913"/>
              </a:avLst>
            </a:prstGeom>
            <a:pattFill prst="dkUpDiag">
              <a:fgClr>
                <a:srgbClr val="96968C">
                  <a:lumMod val="40000"/>
                  <a:lumOff val="60000"/>
                </a:srgbClr>
              </a:fgClr>
              <a:bgClr>
                <a:srgbClr val="FFFFFF"/>
              </a:bgClr>
            </a:pattFill>
            <a:ln w="6350">
              <a:noFill/>
              <a:miter lim="800000"/>
              <a:headEnd/>
              <a:tailEnd/>
            </a:ln>
            <a:effectLst/>
          </p:spPr>
          <p:txBody>
            <a:bodyPr wrap="square" lIns="108000" tIns="108000" rIns="108000" bIns="108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ZA" sz="1200" b="0" i="0" u="none" strike="noStrike" kern="0" cap="none" spc="0" normalizeH="0" baseline="0" noProof="0" dirty="0" err="1">
                <a:ln>
                  <a:noFill/>
                </a:ln>
                <a:solidFill>
                  <a:srgbClr val="FFFFFF"/>
                </a:solidFill>
                <a:effectLst/>
                <a:uLnTx/>
                <a:uFillTx/>
                <a:latin typeface="Arial Black"/>
                <a:ea typeface="+mn-ea"/>
                <a:cs typeface="+mn-cs"/>
              </a:endParaRPr>
            </a:p>
          </p:txBody>
        </p:sp>
        <p:sp>
          <p:nvSpPr>
            <p:cNvPr id="9" name="Rectangle 8">
              <a:extLst>
                <a:ext uri="{FF2B5EF4-FFF2-40B4-BE49-F238E27FC236}">
                  <a16:creationId xmlns:a16="http://schemas.microsoft.com/office/drawing/2014/main" id="{0FCD38ED-133D-4FA2-898A-F5310B3672EB}"/>
                </a:ext>
              </a:extLst>
            </p:cNvPr>
            <p:cNvSpPr/>
            <p:nvPr/>
          </p:nvSpPr>
          <p:spPr bwMode="auto">
            <a:xfrm>
              <a:off x="5194059" y="1841911"/>
              <a:ext cx="1596912" cy="240066"/>
            </a:xfrm>
            <a:prstGeom prst="rect">
              <a:avLst/>
            </a:prstGeom>
          </p:spPr>
          <p:txBody>
            <a:bodyPr wrap="none">
              <a:spAutoFit/>
            </a:bodyPr>
            <a:lstStyle/>
            <a:p>
              <a:pPr marL="0" marR="0" lvl="0" indent="0" algn="ctr" defTabSz="914400" rtl="0" eaLnBrk="0" fontAlgn="auto" latinLnBrk="0" hangingPunct="0">
                <a:lnSpc>
                  <a:spcPct val="8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2"/>
                  </a:solidFill>
                  <a:effectLst/>
                  <a:uLnTx/>
                  <a:uFillTx/>
                  <a:latin typeface="+mj-lt"/>
                  <a:ea typeface="+mn-ea"/>
                  <a:cs typeface="+mn-cs"/>
                </a:rPr>
                <a:t>Value and benefits</a:t>
              </a:r>
            </a:p>
          </p:txBody>
        </p:sp>
        <p:sp>
          <p:nvSpPr>
            <p:cNvPr id="11" name="Chevron 9">
              <a:extLst>
                <a:ext uri="{FF2B5EF4-FFF2-40B4-BE49-F238E27FC236}">
                  <a16:creationId xmlns:a16="http://schemas.microsoft.com/office/drawing/2014/main" id="{7E613082-8C48-437A-95A4-3DA2FC1EAE88}"/>
                </a:ext>
              </a:extLst>
            </p:cNvPr>
            <p:cNvSpPr/>
            <p:nvPr/>
          </p:nvSpPr>
          <p:spPr bwMode="auto">
            <a:xfrm>
              <a:off x="2739547" y="2129944"/>
              <a:ext cx="1725375" cy="708527"/>
            </a:xfrm>
            <a:prstGeom prst="chevron">
              <a:avLst>
                <a:gd name="adj" fmla="val 20913"/>
              </a:avLst>
            </a:prstGeom>
            <a:solidFill>
              <a:schemeClr val="bg1"/>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mj-lt"/>
                  <a:ea typeface="+mn-ea"/>
                  <a:cs typeface="+mn-cs"/>
                </a:rPr>
                <a:t>Pace</a:t>
              </a:r>
            </a:p>
          </p:txBody>
        </p:sp>
        <p:cxnSp>
          <p:nvCxnSpPr>
            <p:cNvPr id="24" name="Straight Connector 23">
              <a:extLst>
                <a:ext uri="{FF2B5EF4-FFF2-40B4-BE49-F238E27FC236}">
                  <a16:creationId xmlns:a16="http://schemas.microsoft.com/office/drawing/2014/main" id="{13C6259F-A607-4CB5-9936-2F78EBB39698}"/>
                </a:ext>
                <a:ext uri="{C183D7F6-B498-43B3-948B-1728B52AA6E4}">
                  <adec:decorative xmlns:adec="http://schemas.microsoft.com/office/drawing/2017/decorative" val="1"/>
                </a:ext>
              </a:extLst>
            </p:cNvPr>
            <p:cNvCxnSpPr/>
            <p:nvPr/>
          </p:nvCxnSpPr>
          <p:spPr>
            <a:xfrm>
              <a:off x="2311248" y="3490452"/>
              <a:ext cx="0" cy="2567448"/>
            </a:xfrm>
            <a:prstGeom prst="line">
              <a:avLst/>
            </a:prstGeom>
            <a:noFill/>
            <a:ln w="19050" cap="flat" cmpd="sng" algn="ctr">
              <a:solidFill>
                <a:srgbClr val="96968C">
                  <a:lumMod val="40000"/>
                  <a:lumOff val="60000"/>
                </a:srgbClr>
              </a:solidFill>
              <a:prstDash val="sysDot"/>
            </a:ln>
            <a:effectLst/>
          </p:spPr>
        </p:cxnSp>
        <p:sp>
          <p:nvSpPr>
            <p:cNvPr id="16" name="Content Placeholder 7">
              <a:extLst>
                <a:ext uri="{FF2B5EF4-FFF2-40B4-BE49-F238E27FC236}">
                  <a16:creationId xmlns:a16="http://schemas.microsoft.com/office/drawing/2014/main" id="{379D4ADD-1701-4383-BF7F-5BB423BA549D}"/>
                </a:ext>
              </a:extLst>
            </p:cNvPr>
            <p:cNvSpPr txBox="1">
              <a:spLocks/>
            </p:cNvSpPr>
            <p:nvPr/>
          </p:nvSpPr>
          <p:spPr bwMode="auto">
            <a:xfrm>
              <a:off x="2739547" y="3500438"/>
              <a:ext cx="1476000"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12" name="Chevron 20">
              <a:extLst>
                <a:ext uri="{FF2B5EF4-FFF2-40B4-BE49-F238E27FC236}">
                  <a16:creationId xmlns:a16="http://schemas.microsoft.com/office/drawing/2014/main" id="{D25B221D-8AFF-4180-B398-B357014B825A}"/>
                </a:ext>
              </a:extLst>
            </p:cNvPr>
            <p:cNvSpPr/>
            <p:nvPr/>
          </p:nvSpPr>
          <p:spPr bwMode="auto">
            <a:xfrm>
              <a:off x="4433952" y="2129944"/>
              <a:ext cx="1725375" cy="708527"/>
            </a:xfrm>
            <a:prstGeom prst="chevron">
              <a:avLst>
                <a:gd name="adj" fmla="val 20913"/>
              </a:avLst>
            </a:prstGeom>
            <a:solidFill>
              <a:schemeClr val="bg1"/>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mj-lt"/>
                  <a:ea typeface="+mn-ea"/>
                  <a:cs typeface="+mn-cs"/>
                </a:rPr>
                <a:t>Certainty</a:t>
              </a:r>
            </a:p>
          </p:txBody>
        </p:sp>
        <p:cxnSp>
          <p:nvCxnSpPr>
            <p:cNvPr id="20" name="Straight Connector 19">
              <a:extLst>
                <a:ext uri="{FF2B5EF4-FFF2-40B4-BE49-F238E27FC236}">
                  <a16:creationId xmlns:a16="http://schemas.microsoft.com/office/drawing/2014/main" id="{1B8D8A18-809E-4789-9570-8014831422E5}"/>
                </a:ext>
                <a:ext uri="{C183D7F6-B498-43B3-948B-1728B52AA6E4}">
                  <adec:decorative xmlns:adec="http://schemas.microsoft.com/office/drawing/2017/decorative" val="1"/>
                </a:ext>
              </a:extLst>
            </p:cNvPr>
            <p:cNvCxnSpPr/>
            <p:nvPr/>
          </p:nvCxnSpPr>
          <p:spPr>
            <a:xfrm>
              <a:off x="4326861" y="3490452"/>
              <a:ext cx="0" cy="2567448"/>
            </a:xfrm>
            <a:prstGeom prst="line">
              <a:avLst/>
            </a:prstGeom>
            <a:noFill/>
            <a:ln w="19050" cap="flat" cmpd="sng" algn="ctr">
              <a:solidFill>
                <a:srgbClr val="96968C">
                  <a:lumMod val="40000"/>
                  <a:lumOff val="60000"/>
                </a:srgbClr>
              </a:solidFill>
              <a:prstDash val="sysDot"/>
            </a:ln>
            <a:effectLst/>
          </p:spPr>
        </p:cxnSp>
        <p:sp>
          <p:nvSpPr>
            <p:cNvPr id="17" name="Content Placeholder 7">
              <a:extLst>
                <a:ext uri="{FF2B5EF4-FFF2-40B4-BE49-F238E27FC236}">
                  <a16:creationId xmlns:a16="http://schemas.microsoft.com/office/drawing/2014/main" id="{1420F0BD-5021-49A1-9308-5677DA79D74B}"/>
                </a:ext>
              </a:extLst>
            </p:cNvPr>
            <p:cNvSpPr txBox="1">
              <a:spLocks/>
            </p:cNvSpPr>
            <p:nvPr/>
          </p:nvSpPr>
          <p:spPr bwMode="auto">
            <a:xfrm>
              <a:off x="4438175" y="3500438"/>
              <a:ext cx="1476000"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13" name="Chevron 21">
              <a:extLst>
                <a:ext uri="{FF2B5EF4-FFF2-40B4-BE49-F238E27FC236}">
                  <a16:creationId xmlns:a16="http://schemas.microsoft.com/office/drawing/2014/main" id="{07F3C84A-A592-4860-8A3E-8E3C85F11FB9}"/>
                </a:ext>
              </a:extLst>
            </p:cNvPr>
            <p:cNvSpPr/>
            <p:nvPr/>
          </p:nvSpPr>
          <p:spPr bwMode="auto">
            <a:xfrm>
              <a:off x="6110054" y="2129944"/>
              <a:ext cx="1725375" cy="708527"/>
            </a:xfrm>
            <a:prstGeom prst="chevron">
              <a:avLst>
                <a:gd name="adj" fmla="val 20913"/>
              </a:avLst>
            </a:prstGeom>
            <a:solidFill>
              <a:schemeClr val="bg1"/>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mj-lt"/>
                  <a:ea typeface="+mn-ea"/>
                  <a:cs typeface="+mn-cs"/>
                </a:rPr>
                <a:t>Strategic agility</a:t>
              </a:r>
            </a:p>
          </p:txBody>
        </p:sp>
        <p:cxnSp>
          <p:nvCxnSpPr>
            <p:cNvPr id="21" name="Straight Connector 20">
              <a:extLst>
                <a:ext uri="{FF2B5EF4-FFF2-40B4-BE49-F238E27FC236}">
                  <a16:creationId xmlns:a16="http://schemas.microsoft.com/office/drawing/2014/main" id="{8E1F02BA-EA68-488D-915F-09AF11C630F3}"/>
                </a:ext>
                <a:ext uri="{C183D7F6-B498-43B3-948B-1728B52AA6E4}">
                  <adec:decorative xmlns:adec="http://schemas.microsoft.com/office/drawing/2017/decorative" val="1"/>
                </a:ext>
              </a:extLst>
            </p:cNvPr>
            <p:cNvCxnSpPr/>
            <p:nvPr/>
          </p:nvCxnSpPr>
          <p:spPr>
            <a:xfrm>
              <a:off x="6025489" y="3490452"/>
              <a:ext cx="0" cy="2567448"/>
            </a:xfrm>
            <a:prstGeom prst="line">
              <a:avLst/>
            </a:prstGeom>
            <a:noFill/>
            <a:ln w="19050" cap="flat" cmpd="sng" algn="ctr">
              <a:solidFill>
                <a:srgbClr val="96968C">
                  <a:lumMod val="40000"/>
                  <a:lumOff val="60000"/>
                </a:srgbClr>
              </a:solidFill>
              <a:prstDash val="sysDot"/>
            </a:ln>
            <a:effectLst/>
          </p:spPr>
        </p:cxnSp>
        <p:sp>
          <p:nvSpPr>
            <p:cNvPr id="18" name="Content Placeholder 7">
              <a:extLst>
                <a:ext uri="{FF2B5EF4-FFF2-40B4-BE49-F238E27FC236}">
                  <a16:creationId xmlns:a16="http://schemas.microsoft.com/office/drawing/2014/main" id="{924E4B98-87F4-4801-8E53-052C9B51D06C}"/>
                </a:ext>
              </a:extLst>
            </p:cNvPr>
            <p:cNvSpPr txBox="1">
              <a:spLocks/>
            </p:cNvSpPr>
            <p:nvPr/>
          </p:nvSpPr>
          <p:spPr bwMode="auto">
            <a:xfrm>
              <a:off x="6136803" y="3500438"/>
              <a:ext cx="1476000"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sp>
          <p:nvSpPr>
            <p:cNvPr id="14" name="Chevron 19">
              <a:extLst>
                <a:ext uri="{FF2B5EF4-FFF2-40B4-BE49-F238E27FC236}">
                  <a16:creationId xmlns:a16="http://schemas.microsoft.com/office/drawing/2014/main" id="{C7B4FB2F-02B1-41F6-AA2F-D577C93831D1}"/>
                </a:ext>
              </a:extLst>
            </p:cNvPr>
            <p:cNvSpPr/>
            <p:nvPr/>
          </p:nvSpPr>
          <p:spPr bwMode="auto">
            <a:xfrm>
              <a:off x="7772586" y="2127969"/>
              <a:ext cx="1725375" cy="708527"/>
            </a:xfrm>
            <a:prstGeom prst="chevron">
              <a:avLst>
                <a:gd name="adj" fmla="val 20913"/>
              </a:avLst>
            </a:prstGeom>
            <a:solidFill>
              <a:schemeClr val="bg1"/>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mj-lt"/>
                  <a:ea typeface="+mn-ea"/>
                  <a:cs typeface="+mn-cs"/>
                </a:rPr>
                <a:t>Other</a:t>
              </a:r>
            </a:p>
          </p:txBody>
        </p:sp>
        <p:cxnSp>
          <p:nvCxnSpPr>
            <p:cNvPr id="22" name="Straight Connector 21">
              <a:extLst>
                <a:ext uri="{FF2B5EF4-FFF2-40B4-BE49-F238E27FC236}">
                  <a16:creationId xmlns:a16="http://schemas.microsoft.com/office/drawing/2014/main" id="{8C570EA3-46F6-4627-B7DA-165F0CA9E83C}"/>
                </a:ext>
                <a:ext uri="{C183D7F6-B498-43B3-948B-1728B52AA6E4}">
                  <adec:decorative xmlns:adec="http://schemas.microsoft.com/office/drawing/2017/decorative" val="1"/>
                </a:ext>
              </a:extLst>
            </p:cNvPr>
            <p:cNvCxnSpPr/>
            <p:nvPr/>
          </p:nvCxnSpPr>
          <p:spPr>
            <a:xfrm>
              <a:off x="7724117" y="3490452"/>
              <a:ext cx="0" cy="2567448"/>
            </a:xfrm>
            <a:prstGeom prst="line">
              <a:avLst/>
            </a:prstGeom>
            <a:noFill/>
            <a:ln w="19050" cap="flat" cmpd="sng" algn="ctr">
              <a:solidFill>
                <a:srgbClr val="96968C">
                  <a:lumMod val="40000"/>
                  <a:lumOff val="60000"/>
                </a:srgbClr>
              </a:solidFill>
              <a:prstDash val="sysDot"/>
            </a:ln>
            <a:effectLst/>
          </p:spPr>
        </p:cxnSp>
        <p:sp>
          <p:nvSpPr>
            <p:cNvPr id="19" name="Content Placeholder 7">
              <a:extLst>
                <a:ext uri="{FF2B5EF4-FFF2-40B4-BE49-F238E27FC236}">
                  <a16:creationId xmlns:a16="http://schemas.microsoft.com/office/drawing/2014/main" id="{4583B3BB-E9D0-46C5-99E2-8C347689F018}"/>
                </a:ext>
              </a:extLst>
            </p:cNvPr>
            <p:cNvSpPr txBox="1">
              <a:spLocks/>
            </p:cNvSpPr>
            <p:nvPr/>
          </p:nvSpPr>
          <p:spPr bwMode="auto">
            <a:xfrm>
              <a:off x="7835429" y="3500438"/>
              <a:ext cx="1476000"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Body copy</a:t>
              </a:r>
            </a:p>
          </p:txBody>
        </p:sp>
      </p:grpSp>
      <p:sp>
        <p:nvSpPr>
          <p:cNvPr id="3" name="Footer Placeholder 2">
            <a:extLst>
              <a:ext uri="{FF2B5EF4-FFF2-40B4-BE49-F238E27FC236}">
                <a16:creationId xmlns:a16="http://schemas.microsoft.com/office/drawing/2014/main" id="{CB9FC965-488B-424B-A71A-E890412E6FEB}"/>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7" name="Slide Number Placeholder 26">
            <a:extLst>
              <a:ext uri="{FF2B5EF4-FFF2-40B4-BE49-F238E27FC236}">
                <a16:creationId xmlns:a16="http://schemas.microsoft.com/office/drawing/2014/main" id="{5C18FD23-DF67-4EE8-9A21-35DF85B60AAB}"/>
              </a:ext>
            </a:extLst>
          </p:cNvPr>
          <p:cNvSpPr>
            <a:spLocks noGrp="1"/>
          </p:cNvSpPr>
          <p:nvPr>
            <p:ph type="sldNum" sz="quarter" idx="10"/>
          </p:nvPr>
        </p:nvSpPr>
        <p:spPr/>
        <p:txBody>
          <a:bodyPr/>
          <a:lstStyle/>
          <a:p>
            <a:fld id="{1F90F471-3972-4120-B8B3-0237DE626C35}" type="slidenum">
              <a:rPr lang="en-US" smtClean="0"/>
              <a:pPr/>
              <a:t>245</a:t>
            </a:fld>
            <a:endParaRPr lang="en-US" dirty="0"/>
          </a:p>
        </p:txBody>
      </p:sp>
    </p:spTree>
    <p:extLst>
      <p:ext uri="{BB962C8B-B14F-4D97-AF65-F5344CB8AC3E}">
        <p14:creationId xmlns:p14="http://schemas.microsoft.com/office/powerpoint/2010/main" val="3041735895"/>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descr="Add text and order accordingly">
            <a:hlinkClick r:id="rId2" action="ppaction://hlinksldjump" tooltip="Return to Index"/>
            <a:extLst>
              <a:ext uri="{FF2B5EF4-FFF2-40B4-BE49-F238E27FC236}">
                <a16:creationId xmlns:a16="http://schemas.microsoft.com/office/drawing/2014/main" id="{0DE3F75C-CF1B-47BB-A358-FF97AF03C85D}"/>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itle 6">
            <a:extLst>
              <a:ext uri="{FF2B5EF4-FFF2-40B4-BE49-F238E27FC236}">
                <a16:creationId xmlns:a16="http://schemas.microsoft.com/office/drawing/2014/main" id="{F7C4124B-B9D5-4FB9-AA46-3262DD2B40DB}"/>
              </a:ext>
            </a:extLst>
          </p:cNvPr>
          <p:cNvSpPr>
            <a:spLocks noGrp="1"/>
          </p:cNvSpPr>
          <p:nvPr>
            <p:ph type="title"/>
          </p:nvPr>
        </p:nvSpPr>
        <p:spPr/>
        <p:txBody>
          <a:bodyPr/>
          <a:lstStyle/>
          <a:p>
            <a:r>
              <a:rPr lang="en-US" dirty="0"/>
              <a:t>Circular Flows</a:t>
            </a:r>
          </a:p>
        </p:txBody>
      </p:sp>
      <p:sp>
        <p:nvSpPr>
          <p:cNvPr id="9" name="Text Placeholder 8">
            <a:extLst>
              <a:ext uri="{FF2B5EF4-FFF2-40B4-BE49-F238E27FC236}">
                <a16:creationId xmlns:a16="http://schemas.microsoft.com/office/drawing/2014/main" id="{1265ADBE-657A-4DC7-A6A6-2F0E697C4723}"/>
              </a:ext>
            </a:extLst>
          </p:cNvPr>
          <p:cNvSpPr>
            <a:spLocks noGrp="1"/>
          </p:cNvSpPr>
          <p:nvPr>
            <p:ph type="body" sz="quarter" idx="15"/>
          </p:nvPr>
        </p:nvSpPr>
        <p:spPr/>
        <p:txBody>
          <a:bodyPr/>
          <a:lstStyle/>
          <a:p>
            <a:r>
              <a:rPr lang="en-US" dirty="0"/>
              <a:t>Part of </a:t>
            </a:r>
            <a:r>
              <a:rPr lang="en-US" dirty="0">
                <a:hlinkClick r:id="rId3" action="ppaction://hlinksldjump">
                  <a:extLst>
                    <a:ext uri="{A12FA001-AC4F-418D-AE19-62706E023703}">
                      <ahyp:hlinkClr xmlns:ahyp="http://schemas.microsoft.com/office/drawing/2018/hyperlinkcolor" val="tx"/>
                    </a:ext>
                  </a:extLst>
                </a:hlinkClick>
              </a:rPr>
              <a:t>Processes</a:t>
            </a:r>
            <a:endParaRPr lang="en-US" dirty="0"/>
          </a:p>
        </p:txBody>
      </p:sp>
      <p:sp>
        <p:nvSpPr>
          <p:cNvPr id="5" name="Footer Placeholder 4">
            <a:extLst>
              <a:ext uri="{FF2B5EF4-FFF2-40B4-BE49-F238E27FC236}">
                <a16:creationId xmlns:a16="http://schemas.microsoft.com/office/drawing/2014/main" id="{9DC78945-A645-4563-BCA9-927812C9C4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BEE2891-AE3F-4D8A-B562-5662B242B3DF}"/>
              </a:ext>
            </a:extLst>
          </p:cNvPr>
          <p:cNvSpPr>
            <a:spLocks noGrp="1"/>
          </p:cNvSpPr>
          <p:nvPr>
            <p:ph type="sldNum" sz="quarter" idx="17"/>
          </p:nvPr>
        </p:nvSpPr>
        <p:spPr/>
        <p:txBody>
          <a:bodyPr/>
          <a:lstStyle/>
          <a:p>
            <a:fld id="{1F90F471-3972-4120-B8B3-0237DE626C35}" type="slidenum">
              <a:rPr lang="en-US" smtClean="0"/>
              <a:pPr/>
              <a:t>246</a:t>
            </a:fld>
            <a:endParaRPr lang="en-US" dirty="0"/>
          </a:p>
        </p:txBody>
      </p:sp>
    </p:spTree>
    <p:extLst>
      <p:ext uri="{BB962C8B-B14F-4D97-AF65-F5344CB8AC3E}">
        <p14:creationId xmlns:p14="http://schemas.microsoft.com/office/powerpoint/2010/main" val="244735747"/>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Circular Flow 1</a:t>
            </a:r>
          </a:p>
        </p:txBody>
      </p:sp>
      <p:grpSp>
        <p:nvGrpSpPr>
          <p:cNvPr id="25" name="Group 13" descr="Add text and order accordingly">
            <a:extLst>
              <a:ext uri="{FF2B5EF4-FFF2-40B4-BE49-F238E27FC236}">
                <a16:creationId xmlns:a16="http://schemas.microsoft.com/office/drawing/2014/main" id="{B5CB2525-3FF7-489D-8DF3-431044B7E216}"/>
              </a:ext>
            </a:extLst>
          </p:cNvPr>
          <p:cNvGrpSpPr>
            <a:grpSpLocks noChangeAspect="1"/>
          </p:cNvGrpSpPr>
          <p:nvPr/>
        </p:nvGrpSpPr>
        <p:grpSpPr bwMode="auto">
          <a:xfrm>
            <a:off x="2375872" y="1773177"/>
            <a:ext cx="3432097" cy="3612118"/>
            <a:chOff x="960" y="1442"/>
            <a:chExt cx="1824" cy="1920"/>
          </a:xfrm>
        </p:grpSpPr>
        <p:sp>
          <p:nvSpPr>
            <p:cNvPr id="26" name="Freeform 14">
              <a:extLst>
                <a:ext uri="{FF2B5EF4-FFF2-40B4-BE49-F238E27FC236}">
                  <a16:creationId xmlns:a16="http://schemas.microsoft.com/office/drawing/2014/main" id="{8398E1A3-AEA2-4B19-9E04-77065CEE0ED5}"/>
                </a:ext>
              </a:extLst>
            </p:cNvPr>
            <p:cNvSpPr>
              <a:spLocks/>
            </p:cNvSpPr>
            <p:nvPr/>
          </p:nvSpPr>
          <p:spPr bwMode="auto">
            <a:xfrm>
              <a:off x="960" y="1442"/>
              <a:ext cx="1824" cy="1920"/>
            </a:xfrm>
            <a:custGeom>
              <a:avLst/>
              <a:gdLst/>
              <a:ahLst/>
              <a:cxnLst>
                <a:cxn ang="0">
                  <a:pos x="218" y="1220"/>
                </a:cxn>
                <a:cxn ang="0">
                  <a:pos x="346" y="1238"/>
                </a:cxn>
                <a:cxn ang="0">
                  <a:pos x="496" y="1297"/>
                </a:cxn>
                <a:cxn ang="0">
                  <a:pos x="659" y="1316"/>
                </a:cxn>
                <a:cxn ang="0">
                  <a:pos x="856" y="1288"/>
                </a:cxn>
                <a:cxn ang="0">
                  <a:pos x="1028" y="1205"/>
                </a:cxn>
                <a:cxn ang="0">
                  <a:pos x="1168" y="1077"/>
                </a:cxn>
                <a:cxn ang="0">
                  <a:pos x="1255" y="944"/>
                </a:cxn>
                <a:cxn ang="0">
                  <a:pos x="1306" y="791"/>
                </a:cxn>
                <a:cxn ang="0">
                  <a:pos x="1318" y="625"/>
                </a:cxn>
                <a:cxn ang="0">
                  <a:pos x="1306" y="526"/>
                </a:cxn>
                <a:cxn ang="0">
                  <a:pos x="1279" y="433"/>
                </a:cxn>
                <a:cxn ang="0">
                  <a:pos x="1239" y="346"/>
                </a:cxn>
                <a:cxn ang="0">
                  <a:pos x="1125" y="194"/>
                </a:cxn>
                <a:cxn ang="0">
                  <a:pos x="973" y="80"/>
                </a:cxn>
                <a:cxn ang="0">
                  <a:pos x="886" y="40"/>
                </a:cxn>
                <a:cxn ang="0">
                  <a:pos x="793" y="13"/>
                </a:cxn>
                <a:cxn ang="0">
                  <a:pos x="694" y="1"/>
                </a:cxn>
                <a:cxn ang="0">
                  <a:pos x="559" y="8"/>
                </a:cxn>
                <a:cxn ang="0">
                  <a:pos x="464" y="30"/>
                </a:cxn>
                <a:cxn ang="0">
                  <a:pos x="375" y="64"/>
                </a:cxn>
                <a:cxn ang="0">
                  <a:pos x="241" y="151"/>
                </a:cxn>
                <a:cxn ang="0">
                  <a:pos x="113" y="291"/>
                </a:cxn>
                <a:cxn ang="0">
                  <a:pos x="52" y="403"/>
                </a:cxn>
                <a:cxn ang="0">
                  <a:pos x="21" y="494"/>
                </a:cxn>
                <a:cxn ang="0">
                  <a:pos x="3" y="591"/>
                </a:cxn>
                <a:cxn ang="0">
                  <a:pos x="4" y="728"/>
                </a:cxn>
                <a:cxn ang="0">
                  <a:pos x="55" y="921"/>
                </a:cxn>
                <a:cxn ang="0">
                  <a:pos x="159" y="1087"/>
                </a:cxn>
                <a:cxn ang="0">
                  <a:pos x="416" y="895"/>
                </a:cxn>
                <a:cxn ang="0">
                  <a:pos x="359" y="817"/>
                </a:cxn>
                <a:cxn ang="0">
                  <a:pos x="327" y="726"/>
                </a:cxn>
                <a:cxn ang="0">
                  <a:pos x="322" y="624"/>
                </a:cxn>
                <a:cxn ang="0">
                  <a:pos x="347" y="527"/>
                </a:cxn>
                <a:cxn ang="0">
                  <a:pos x="399" y="443"/>
                </a:cxn>
                <a:cxn ang="0">
                  <a:pos x="471" y="378"/>
                </a:cxn>
                <a:cxn ang="0">
                  <a:pos x="559" y="335"/>
                </a:cxn>
                <a:cxn ang="0">
                  <a:pos x="659" y="320"/>
                </a:cxn>
                <a:cxn ang="0">
                  <a:pos x="760" y="335"/>
                </a:cxn>
                <a:cxn ang="0">
                  <a:pos x="849" y="378"/>
                </a:cxn>
                <a:cxn ang="0">
                  <a:pos x="921" y="443"/>
                </a:cxn>
                <a:cxn ang="0">
                  <a:pos x="972" y="527"/>
                </a:cxn>
                <a:cxn ang="0">
                  <a:pos x="997" y="624"/>
                </a:cxn>
                <a:cxn ang="0">
                  <a:pos x="992" y="727"/>
                </a:cxn>
                <a:cxn ang="0">
                  <a:pos x="958" y="820"/>
                </a:cxn>
                <a:cxn ang="0">
                  <a:pos x="899" y="898"/>
                </a:cxn>
                <a:cxn ang="0">
                  <a:pos x="820" y="957"/>
                </a:cxn>
                <a:cxn ang="0">
                  <a:pos x="727" y="991"/>
                </a:cxn>
                <a:cxn ang="0">
                  <a:pos x="612" y="994"/>
                </a:cxn>
                <a:cxn ang="0">
                  <a:pos x="482" y="948"/>
                </a:cxn>
              </a:cxnLst>
              <a:rect l="0" t="0" r="r" b="b"/>
              <a:pathLst>
                <a:path w="1319" h="1317">
                  <a:moveTo>
                    <a:pt x="518" y="912"/>
                  </a:moveTo>
                  <a:lnTo>
                    <a:pt x="280" y="973"/>
                  </a:lnTo>
                  <a:lnTo>
                    <a:pt x="218" y="1220"/>
                  </a:lnTo>
                  <a:lnTo>
                    <a:pt x="256" y="1181"/>
                  </a:lnTo>
                  <a:lnTo>
                    <a:pt x="300" y="1211"/>
                  </a:lnTo>
                  <a:lnTo>
                    <a:pt x="346" y="1238"/>
                  </a:lnTo>
                  <a:lnTo>
                    <a:pt x="394" y="1262"/>
                  </a:lnTo>
                  <a:lnTo>
                    <a:pt x="443" y="1281"/>
                  </a:lnTo>
                  <a:lnTo>
                    <a:pt x="496" y="1297"/>
                  </a:lnTo>
                  <a:lnTo>
                    <a:pt x="549" y="1308"/>
                  </a:lnTo>
                  <a:lnTo>
                    <a:pt x="603" y="1316"/>
                  </a:lnTo>
                  <a:lnTo>
                    <a:pt x="659" y="1316"/>
                  </a:lnTo>
                  <a:lnTo>
                    <a:pt x="727" y="1315"/>
                  </a:lnTo>
                  <a:lnTo>
                    <a:pt x="793" y="1304"/>
                  </a:lnTo>
                  <a:lnTo>
                    <a:pt x="856" y="1288"/>
                  </a:lnTo>
                  <a:lnTo>
                    <a:pt x="915" y="1266"/>
                  </a:lnTo>
                  <a:lnTo>
                    <a:pt x="973" y="1238"/>
                  </a:lnTo>
                  <a:lnTo>
                    <a:pt x="1028" y="1205"/>
                  </a:lnTo>
                  <a:lnTo>
                    <a:pt x="1079" y="1167"/>
                  </a:lnTo>
                  <a:lnTo>
                    <a:pt x="1125" y="1124"/>
                  </a:lnTo>
                  <a:lnTo>
                    <a:pt x="1168" y="1077"/>
                  </a:lnTo>
                  <a:lnTo>
                    <a:pt x="1207" y="1026"/>
                  </a:lnTo>
                  <a:lnTo>
                    <a:pt x="1239" y="972"/>
                  </a:lnTo>
                  <a:lnTo>
                    <a:pt x="1255" y="944"/>
                  </a:lnTo>
                  <a:lnTo>
                    <a:pt x="1267" y="915"/>
                  </a:lnTo>
                  <a:lnTo>
                    <a:pt x="1289" y="854"/>
                  </a:lnTo>
                  <a:lnTo>
                    <a:pt x="1306" y="791"/>
                  </a:lnTo>
                  <a:lnTo>
                    <a:pt x="1315" y="726"/>
                  </a:lnTo>
                  <a:lnTo>
                    <a:pt x="1317" y="659"/>
                  </a:lnTo>
                  <a:lnTo>
                    <a:pt x="1318" y="625"/>
                  </a:lnTo>
                  <a:lnTo>
                    <a:pt x="1315" y="591"/>
                  </a:lnTo>
                  <a:lnTo>
                    <a:pt x="1311" y="559"/>
                  </a:lnTo>
                  <a:lnTo>
                    <a:pt x="1306" y="526"/>
                  </a:lnTo>
                  <a:lnTo>
                    <a:pt x="1299" y="494"/>
                  </a:lnTo>
                  <a:lnTo>
                    <a:pt x="1289" y="463"/>
                  </a:lnTo>
                  <a:lnTo>
                    <a:pt x="1279" y="433"/>
                  </a:lnTo>
                  <a:lnTo>
                    <a:pt x="1267" y="403"/>
                  </a:lnTo>
                  <a:lnTo>
                    <a:pt x="1255" y="373"/>
                  </a:lnTo>
                  <a:lnTo>
                    <a:pt x="1239" y="346"/>
                  </a:lnTo>
                  <a:lnTo>
                    <a:pt x="1207" y="291"/>
                  </a:lnTo>
                  <a:lnTo>
                    <a:pt x="1168" y="240"/>
                  </a:lnTo>
                  <a:lnTo>
                    <a:pt x="1125" y="194"/>
                  </a:lnTo>
                  <a:lnTo>
                    <a:pt x="1079" y="151"/>
                  </a:lnTo>
                  <a:lnTo>
                    <a:pt x="1028" y="112"/>
                  </a:lnTo>
                  <a:lnTo>
                    <a:pt x="973" y="80"/>
                  </a:lnTo>
                  <a:lnTo>
                    <a:pt x="945" y="64"/>
                  </a:lnTo>
                  <a:lnTo>
                    <a:pt x="915" y="52"/>
                  </a:lnTo>
                  <a:lnTo>
                    <a:pt x="886" y="40"/>
                  </a:lnTo>
                  <a:lnTo>
                    <a:pt x="856" y="30"/>
                  </a:lnTo>
                  <a:lnTo>
                    <a:pt x="824" y="20"/>
                  </a:lnTo>
                  <a:lnTo>
                    <a:pt x="793" y="13"/>
                  </a:lnTo>
                  <a:lnTo>
                    <a:pt x="760" y="8"/>
                  </a:lnTo>
                  <a:lnTo>
                    <a:pt x="727" y="4"/>
                  </a:lnTo>
                  <a:lnTo>
                    <a:pt x="694" y="1"/>
                  </a:lnTo>
                  <a:lnTo>
                    <a:pt x="659" y="0"/>
                  </a:lnTo>
                  <a:lnTo>
                    <a:pt x="593" y="4"/>
                  </a:lnTo>
                  <a:lnTo>
                    <a:pt x="559" y="8"/>
                  </a:lnTo>
                  <a:lnTo>
                    <a:pt x="527" y="13"/>
                  </a:lnTo>
                  <a:lnTo>
                    <a:pt x="496" y="20"/>
                  </a:lnTo>
                  <a:lnTo>
                    <a:pt x="464" y="30"/>
                  </a:lnTo>
                  <a:lnTo>
                    <a:pt x="433" y="40"/>
                  </a:lnTo>
                  <a:lnTo>
                    <a:pt x="403" y="52"/>
                  </a:lnTo>
                  <a:lnTo>
                    <a:pt x="375" y="64"/>
                  </a:lnTo>
                  <a:lnTo>
                    <a:pt x="346" y="80"/>
                  </a:lnTo>
                  <a:lnTo>
                    <a:pt x="292" y="112"/>
                  </a:lnTo>
                  <a:lnTo>
                    <a:pt x="241" y="151"/>
                  </a:lnTo>
                  <a:lnTo>
                    <a:pt x="194" y="194"/>
                  </a:lnTo>
                  <a:lnTo>
                    <a:pt x="151" y="240"/>
                  </a:lnTo>
                  <a:lnTo>
                    <a:pt x="113" y="291"/>
                  </a:lnTo>
                  <a:lnTo>
                    <a:pt x="80" y="346"/>
                  </a:lnTo>
                  <a:lnTo>
                    <a:pt x="65" y="373"/>
                  </a:lnTo>
                  <a:lnTo>
                    <a:pt x="52" y="403"/>
                  </a:lnTo>
                  <a:lnTo>
                    <a:pt x="40" y="433"/>
                  </a:lnTo>
                  <a:lnTo>
                    <a:pt x="30" y="463"/>
                  </a:lnTo>
                  <a:lnTo>
                    <a:pt x="21" y="494"/>
                  </a:lnTo>
                  <a:lnTo>
                    <a:pt x="13" y="526"/>
                  </a:lnTo>
                  <a:lnTo>
                    <a:pt x="8" y="559"/>
                  </a:lnTo>
                  <a:lnTo>
                    <a:pt x="3" y="591"/>
                  </a:lnTo>
                  <a:lnTo>
                    <a:pt x="1" y="625"/>
                  </a:lnTo>
                  <a:lnTo>
                    <a:pt x="0" y="659"/>
                  </a:lnTo>
                  <a:lnTo>
                    <a:pt x="4" y="728"/>
                  </a:lnTo>
                  <a:lnTo>
                    <a:pt x="14" y="795"/>
                  </a:lnTo>
                  <a:lnTo>
                    <a:pt x="32" y="860"/>
                  </a:lnTo>
                  <a:lnTo>
                    <a:pt x="55" y="921"/>
                  </a:lnTo>
                  <a:lnTo>
                    <a:pt x="84" y="980"/>
                  </a:lnTo>
                  <a:lnTo>
                    <a:pt x="118" y="1036"/>
                  </a:lnTo>
                  <a:lnTo>
                    <a:pt x="159" y="1087"/>
                  </a:lnTo>
                  <a:lnTo>
                    <a:pt x="203" y="1134"/>
                  </a:lnTo>
                  <a:lnTo>
                    <a:pt x="253" y="938"/>
                  </a:lnTo>
                  <a:lnTo>
                    <a:pt x="416" y="895"/>
                  </a:lnTo>
                  <a:lnTo>
                    <a:pt x="395" y="871"/>
                  </a:lnTo>
                  <a:lnTo>
                    <a:pt x="376" y="845"/>
                  </a:lnTo>
                  <a:lnTo>
                    <a:pt x="359" y="817"/>
                  </a:lnTo>
                  <a:lnTo>
                    <a:pt x="346" y="788"/>
                  </a:lnTo>
                  <a:lnTo>
                    <a:pt x="335" y="757"/>
                  </a:lnTo>
                  <a:lnTo>
                    <a:pt x="327" y="726"/>
                  </a:lnTo>
                  <a:lnTo>
                    <a:pt x="322" y="693"/>
                  </a:lnTo>
                  <a:lnTo>
                    <a:pt x="320" y="659"/>
                  </a:lnTo>
                  <a:lnTo>
                    <a:pt x="322" y="624"/>
                  </a:lnTo>
                  <a:lnTo>
                    <a:pt x="328" y="591"/>
                  </a:lnTo>
                  <a:lnTo>
                    <a:pt x="335" y="559"/>
                  </a:lnTo>
                  <a:lnTo>
                    <a:pt x="347" y="527"/>
                  </a:lnTo>
                  <a:lnTo>
                    <a:pt x="361" y="498"/>
                  </a:lnTo>
                  <a:lnTo>
                    <a:pt x="378" y="469"/>
                  </a:lnTo>
                  <a:lnTo>
                    <a:pt x="399" y="443"/>
                  </a:lnTo>
                  <a:lnTo>
                    <a:pt x="420" y="419"/>
                  </a:lnTo>
                  <a:lnTo>
                    <a:pt x="445" y="397"/>
                  </a:lnTo>
                  <a:lnTo>
                    <a:pt x="471" y="378"/>
                  </a:lnTo>
                  <a:lnTo>
                    <a:pt x="499" y="361"/>
                  </a:lnTo>
                  <a:lnTo>
                    <a:pt x="527" y="347"/>
                  </a:lnTo>
                  <a:lnTo>
                    <a:pt x="559" y="335"/>
                  </a:lnTo>
                  <a:lnTo>
                    <a:pt x="592" y="326"/>
                  </a:lnTo>
                  <a:lnTo>
                    <a:pt x="624" y="322"/>
                  </a:lnTo>
                  <a:lnTo>
                    <a:pt x="659" y="320"/>
                  </a:lnTo>
                  <a:lnTo>
                    <a:pt x="695" y="322"/>
                  </a:lnTo>
                  <a:lnTo>
                    <a:pt x="727" y="326"/>
                  </a:lnTo>
                  <a:lnTo>
                    <a:pt x="760" y="335"/>
                  </a:lnTo>
                  <a:lnTo>
                    <a:pt x="792" y="347"/>
                  </a:lnTo>
                  <a:lnTo>
                    <a:pt x="820" y="361"/>
                  </a:lnTo>
                  <a:lnTo>
                    <a:pt x="849" y="378"/>
                  </a:lnTo>
                  <a:lnTo>
                    <a:pt x="875" y="397"/>
                  </a:lnTo>
                  <a:lnTo>
                    <a:pt x="899" y="419"/>
                  </a:lnTo>
                  <a:lnTo>
                    <a:pt x="921" y="443"/>
                  </a:lnTo>
                  <a:lnTo>
                    <a:pt x="940" y="469"/>
                  </a:lnTo>
                  <a:lnTo>
                    <a:pt x="958" y="498"/>
                  </a:lnTo>
                  <a:lnTo>
                    <a:pt x="972" y="527"/>
                  </a:lnTo>
                  <a:lnTo>
                    <a:pt x="984" y="559"/>
                  </a:lnTo>
                  <a:lnTo>
                    <a:pt x="992" y="591"/>
                  </a:lnTo>
                  <a:lnTo>
                    <a:pt x="997" y="624"/>
                  </a:lnTo>
                  <a:lnTo>
                    <a:pt x="999" y="659"/>
                  </a:lnTo>
                  <a:lnTo>
                    <a:pt x="997" y="694"/>
                  </a:lnTo>
                  <a:lnTo>
                    <a:pt x="992" y="727"/>
                  </a:lnTo>
                  <a:lnTo>
                    <a:pt x="984" y="759"/>
                  </a:lnTo>
                  <a:lnTo>
                    <a:pt x="972" y="791"/>
                  </a:lnTo>
                  <a:lnTo>
                    <a:pt x="958" y="820"/>
                  </a:lnTo>
                  <a:lnTo>
                    <a:pt x="940" y="848"/>
                  </a:lnTo>
                  <a:lnTo>
                    <a:pt x="921" y="873"/>
                  </a:lnTo>
                  <a:lnTo>
                    <a:pt x="899" y="898"/>
                  </a:lnTo>
                  <a:lnTo>
                    <a:pt x="875" y="920"/>
                  </a:lnTo>
                  <a:lnTo>
                    <a:pt x="849" y="940"/>
                  </a:lnTo>
                  <a:lnTo>
                    <a:pt x="820" y="957"/>
                  </a:lnTo>
                  <a:lnTo>
                    <a:pt x="792" y="971"/>
                  </a:lnTo>
                  <a:lnTo>
                    <a:pt x="760" y="983"/>
                  </a:lnTo>
                  <a:lnTo>
                    <a:pt x="727" y="991"/>
                  </a:lnTo>
                  <a:lnTo>
                    <a:pt x="695" y="996"/>
                  </a:lnTo>
                  <a:lnTo>
                    <a:pt x="659" y="998"/>
                  </a:lnTo>
                  <a:lnTo>
                    <a:pt x="612" y="994"/>
                  </a:lnTo>
                  <a:lnTo>
                    <a:pt x="566" y="985"/>
                  </a:lnTo>
                  <a:lnTo>
                    <a:pt x="523" y="969"/>
                  </a:lnTo>
                  <a:lnTo>
                    <a:pt x="482" y="948"/>
                  </a:lnTo>
                  <a:lnTo>
                    <a:pt x="518" y="912"/>
                  </a:lnTo>
                </a:path>
              </a:pathLst>
            </a:custGeom>
            <a:solidFill>
              <a:schemeClr val="accent1"/>
            </a:solidFill>
            <a:ln w="6350" cap="rnd" cmpd="sng">
              <a:noFill/>
              <a:prstDash val="solid"/>
              <a:round/>
              <a:headEnd type="none" w="med" len="med"/>
              <a:tailEnd type="none" w="med" len="med"/>
            </a:ln>
            <a:effectLst/>
          </p:spPr>
          <p:txBody>
            <a:bodyPr lIns="45720" rIns="45720" anchor="ctr" anchorCtr="1"/>
            <a:lstStyle/>
            <a:p>
              <a:endParaRPr lang="en-US" sz="1600"/>
            </a:p>
          </p:txBody>
        </p:sp>
        <p:sp>
          <p:nvSpPr>
            <p:cNvPr id="27" name="Text Box 15">
              <a:extLst>
                <a:ext uri="{FF2B5EF4-FFF2-40B4-BE49-F238E27FC236}">
                  <a16:creationId xmlns:a16="http://schemas.microsoft.com/office/drawing/2014/main" id="{634EE439-9392-49FF-B19B-E4B9D48AFF30}"/>
                </a:ext>
              </a:extLst>
            </p:cNvPr>
            <p:cNvSpPr txBox="1">
              <a:spLocks noChangeArrowheads="1"/>
            </p:cNvSpPr>
            <p:nvPr/>
          </p:nvSpPr>
          <p:spPr bwMode="auto">
            <a:xfrm>
              <a:off x="2339" y="2321"/>
              <a:ext cx="445" cy="161"/>
            </a:xfrm>
            <a:prstGeom prst="rect">
              <a:avLst/>
            </a:prstGeom>
            <a:noFill/>
            <a:ln w="6350">
              <a:noFill/>
              <a:miter lim="800000"/>
              <a:headEnd/>
              <a:tailEnd/>
            </a:ln>
            <a:effectLst/>
          </p:spPr>
          <p:txBody>
            <a:bodyPr lIns="45720" rIns="45720" anchor="ctr" anchorCtr="1"/>
            <a:lstStyle/>
            <a:p>
              <a:pPr eaLnBrk="0" hangingPunct="0"/>
              <a:r>
                <a:rPr lang="en-US" sz="1600" b="1" dirty="0">
                  <a:solidFill>
                    <a:schemeClr val="bg1"/>
                  </a:solidFill>
                </a:rPr>
                <a:t>Text</a:t>
              </a:r>
            </a:p>
          </p:txBody>
        </p:sp>
        <p:sp>
          <p:nvSpPr>
            <p:cNvPr id="28" name="Text Box 16">
              <a:extLst>
                <a:ext uri="{FF2B5EF4-FFF2-40B4-BE49-F238E27FC236}">
                  <a16:creationId xmlns:a16="http://schemas.microsoft.com/office/drawing/2014/main" id="{E72CA45D-458E-48AB-A277-227D208E21BB}"/>
                </a:ext>
              </a:extLst>
            </p:cNvPr>
            <p:cNvSpPr txBox="1">
              <a:spLocks noChangeArrowheads="1"/>
            </p:cNvSpPr>
            <p:nvPr/>
          </p:nvSpPr>
          <p:spPr bwMode="auto">
            <a:xfrm>
              <a:off x="1319" y="1712"/>
              <a:ext cx="507" cy="161"/>
            </a:xfrm>
            <a:prstGeom prst="rect">
              <a:avLst/>
            </a:prstGeom>
            <a:noFill/>
            <a:ln w="6350">
              <a:noFill/>
              <a:miter lim="800000"/>
              <a:headEnd/>
              <a:tailEnd/>
            </a:ln>
            <a:effectLst/>
          </p:spPr>
          <p:txBody>
            <a:bodyPr lIns="45720" rIns="45720" anchor="ctr" anchorCtr="1"/>
            <a:lstStyle/>
            <a:p>
              <a:pPr eaLnBrk="0" hangingPunct="0"/>
              <a:r>
                <a:rPr lang="en-US" sz="1600" b="1" dirty="0">
                  <a:solidFill>
                    <a:schemeClr val="bg1"/>
                  </a:solidFill>
                </a:rPr>
                <a:t>Text</a:t>
              </a:r>
            </a:p>
          </p:txBody>
        </p:sp>
        <p:sp>
          <p:nvSpPr>
            <p:cNvPr id="29" name="Text Box 17">
              <a:extLst>
                <a:ext uri="{FF2B5EF4-FFF2-40B4-BE49-F238E27FC236}">
                  <a16:creationId xmlns:a16="http://schemas.microsoft.com/office/drawing/2014/main" id="{E5948532-264B-4C2C-87BA-A6FE9F17E705}"/>
                </a:ext>
              </a:extLst>
            </p:cNvPr>
            <p:cNvSpPr txBox="1">
              <a:spLocks noChangeArrowheads="1"/>
            </p:cNvSpPr>
            <p:nvPr/>
          </p:nvSpPr>
          <p:spPr bwMode="auto">
            <a:xfrm>
              <a:off x="1543" y="2976"/>
              <a:ext cx="657" cy="161"/>
            </a:xfrm>
            <a:prstGeom prst="rect">
              <a:avLst/>
            </a:prstGeom>
            <a:noFill/>
            <a:ln w="6350">
              <a:noFill/>
              <a:miter lim="800000"/>
              <a:headEnd/>
              <a:tailEnd/>
            </a:ln>
            <a:effectLst/>
          </p:spPr>
          <p:txBody>
            <a:bodyPr lIns="45720" rIns="45720" anchor="ctr" anchorCtr="1"/>
            <a:lstStyle/>
            <a:p>
              <a:pPr eaLnBrk="0" hangingPunct="0"/>
              <a:r>
                <a:rPr lang="en-US" sz="1600" b="1" dirty="0">
                  <a:solidFill>
                    <a:schemeClr val="bg1"/>
                  </a:solidFill>
                </a:rPr>
                <a:t>Text</a:t>
              </a:r>
            </a:p>
          </p:txBody>
        </p:sp>
      </p:grpSp>
      <p:grpSp>
        <p:nvGrpSpPr>
          <p:cNvPr id="30" name="Group 18" descr="Add text and order accordingly">
            <a:extLst>
              <a:ext uri="{FF2B5EF4-FFF2-40B4-BE49-F238E27FC236}">
                <a16:creationId xmlns:a16="http://schemas.microsoft.com/office/drawing/2014/main" id="{A4E347F7-F915-4E29-AF90-9D59CFF2194F}"/>
              </a:ext>
            </a:extLst>
          </p:cNvPr>
          <p:cNvGrpSpPr>
            <a:grpSpLocks noChangeAspect="1"/>
          </p:cNvGrpSpPr>
          <p:nvPr/>
        </p:nvGrpSpPr>
        <p:grpSpPr bwMode="auto">
          <a:xfrm>
            <a:off x="6348029" y="1773178"/>
            <a:ext cx="3432097" cy="3587115"/>
            <a:chOff x="3456" y="1456"/>
            <a:chExt cx="1824" cy="1906"/>
          </a:xfrm>
          <a:solidFill>
            <a:schemeClr val="accent2"/>
          </a:solidFill>
        </p:grpSpPr>
        <p:sp>
          <p:nvSpPr>
            <p:cNvPr id="31" name="Freeform 19">
              <a:extLst>
                <a:ext uri="{FF2B5EF4-FFF2-40B4-BE49-F238E27FC236}">
                  <a16:creationId xmlns:a16="http://schemas.microsoft.com/office/drawing/2014/main" id="{2E284CF2-5042-47AD-BEB2-ED95DCB1F123}"/>
                </a:ext>
              </a:extLst>
            </p:cNvPr>
            <p:cNvSpPr>
              <a:spLocks/>
            </p:cNvSpPr>
            <p:nvPr/>
          </p:nvSpPr>
          <p:spPr bwMode="auto">
            <a:xfrm>
              <a:off x="3456" y="1456"/>
              <a:ext cx="1824" cy="1906"/>
            </a:xfrm>
            <a:custGeom>
              <a:avLst/>
              <a:gdLst/>
              <a:ahLst/>
              <a:cxnLst>
                <a:cxn ang="0">
                  <a:pos x="53" y="495"/>
                </a:cxn>
                <a:cxn ang="0">
                  <a:pos x="8" y="652"/>
                </a:cxn>
                <a:cxn ang="0">
                  <a:pos x="1" y="814"/>
                </a:cxn>
                <a:cxn ang="0">
                  <a:pos x="34" y="975"/>
                </a:cxn>
                <a:cxn ang="0">
                  <a:pos x="104" y="1125"/>
                </a:cxn>
                <a:cxn ang="0">
                  <a:pos x="207" y="1258"/>
                </a:cxn>
                <a:cxn ang="0">
                  <a:pos x="340" y="1370"/>
                </a:cxn>
                <a:cxn ang="0">
                  <a:pos x="496" y="1453"/>
                </a:cxn>
                <a:cxn ang="0">
                  <a:pos x="668" y="1503"/>
                </a:cxn>
                <a:cxn ang="0">
                  <a:pos x="849" y="1521"/>
                </a:cxn>
                <a:cxn ang="0">
                  <a:pos x="1030" y="1503"/>
                </a:cxn>
                <a:cxn ang="0">
                  <a:pos x="1201" y="1453"/>
                </a:cxn>
                <a:cxn ang="0">
                  <a:pos x="1358" y="1370"/>
                </a:cxn>
                <a:cxn ang="0">
                  <a:pos x="1491" y="1258"/>
                </a:cxn>
                <a:cxn ang="0">
                  <a:pos x="1594" y="1125"/>
                </a:cxn>
                <a:cxn ang="0">
                  <a:pos x="1663" y="975"/>
                </a:cxn>
                <a:cxn ang="0">
                  <a:pos x="1696" y="814"/>
                </a:cxn>
                <a:cxn ang="0">
                  <a:pos x="1689" y="650"/>
                </a:cxn>
                <a:cxn ang="0">
                  <a:pos x="1642" y="489"/>
                </a:cxn>
                <a:cxn ang="0">
                  <a:pos x="1559" y="343"/>
                </a:cxn>
                <a:cxn ang="0">
                  <a:pos x="1441" y="215"/>
                </a:cxn>
                <a:cxn ang="0">
                  <a:pos x="1296" y="113"/>
                </a:cxn>
                <a:cxn ang="0">
                  <a:pos x="1129" y="41"/>
                </a:cxn>
                <a:cxn ang="0">
                  <a:pos x="949" y="5"/>
                </a:cxn>
                <a:cxn ang="0">
                  <a:pos x="765" y="3"/>
                </a:cxn>
                <a:cxn ang="0">
                  <a:pos x="585" y="37"/>
                </a:cxn>
                <a:cxn ang="0">
                  <a:pos x="416" y="105"/>
                </a:cxn>
                <a:cxn ang="0">
                  <a:pos x="268" y="204"/>
                </a:cxn>
                <a:cxn ang="0">
                  <a:pos x="440" y="268"/>
                </a:cxn>
                <a:cxn ang="0">
                  <a:pos x="650" y="427"/>
                </a:cxn>
                <a:cxn ang="0">
                  <a:pos x="766" y="388"/>
                </a:cxn>
                <a:cxn ang="0">
                  <a:pos x="890" y="381"/>
                </a:cxn>
                <a:cxn ang="0">
                  <a:pos x="1011" y="407"/>
                </a:cxn>
                <a:cxn ang="0">
                  <a:pos x="1119" y="466"/>
                </a:cxn>
                <a:cxn ang="0">
                  <a:pos x="1203" y="548"/>
                </a:cxn>
                <a:cxn ang="0">
                  <a:pos x="1256" y="649"/>
                </a:cxn>
                <a:cxn ang="0">
                  <a:pos x="1273" y="760"/>
                </a:cxn>
                <a:cxn ang="0">
                  <a:pos x="1253" y="874"/>
                </a:cxn>
                <a:cxn ang="0">
                  <a:pos x="1197" y="978"/>
                </a:cxn>
                <a:cxn ang="0">
                  <a:pos x="1109" y="1061"/>
                </a:cxn>
                <a:cxn ang="0">
                  <a:pos x="996" y="1117"/>
                </a:cxn>
                <a:cxn ang="0">
                  <a:pos x="870" y="1140"/>
                </a:cxn>
                <a:cxn ang="0">
                  <a:pos x="742" y="1128"/>
                </a:cxn>
                <a:cxn ang="0">
                  <a:pos x="624" y="1084"/>
                </a:cxn>
                <a:cxn ang="0">
                  <a:pos x="526" y="1008"/>
                </a:cxn>
                <a:cxn ang="0">
                  <a:pos x="458" y="910"/>
                </a:cxn>
                <a:cxn ang="0">
                  <a:pos x="426" y="798"/>
                </a:cxn>
                <a:cxn ang="0">
                  <a:pos x="435" y="687"/>
                </a:cxn>
                <a:cxn ang="0">
                  <a:pos x="473" y="583"/>
                </a:cxn>
                <a:cxn ang="0">
                  <a:pos x="551" y="493"/>
                </a:cxn>
                <a:cxn ang="0">
                  <a:pos x="280" y="308"/>
                </a:cxn>
                <a:cxn ang="0">
                  <a:pos x="104" y="397"/>
                </a:cxn>
              </a:cxnLst>
              <a:rect l="0" t="0" r="r" b="b"/>
              <a:pathLst>
                <a:path w="1699" h="1522">
                  <a:moveTo>
                    <a:pt x="104" y="397"/>
                  </a:moveTo>
                  <a:lnTo>
                    <a:pt x="76" y="444"/>
                  </a:lnTo>
                  <a:lnTo>
                    <a:pt x="53" y="495"/>
                  </a:lnTo>
                  <a:lnTo>
                    <a:pt x="34" y="546"/>
                  </a:lnTo>
                  <a:lnTo>
                    <a:pt x="18" y="598"/>
                  </a:lnTo>
                  <a:lnTo>
                    <a:pt x="8" y="652"/>
                  </a:lnTo>
                  <a:lnTo>
                    <a:pt x="1" y="706"/>
                  </a:lnTo>
                  <a:lnTo>
                    <a:pt x="0" y="760"/>
                  </a:lnTo>
                  <a:lnTo>
                    <a:pt x="1" y="814"/>
                  </a:lnTo>
                  <a:lnTo>
                    <a:pt x="8" y="868"/>
                  </a:lnTo>
                  <a:lnTo>
                    <a:pt x="20" y="922"/>
                  </a:lnTo>
                  <a:lnTo>
                    <a:pt x="34" y="975"/>
                  </a:lnTo>
                  <a:lnTo>
                    <a:pt x="54" y="1025"/>
                  </a:lnTo>
                  <a:lnTo>
                    <a:pt x="76" y="1076"/>
                  </a:lnTo>
                  <a:lnTo>
                    <a:pt x="104" y="1125"/>
                  </a:lnTo>
                  <a:lnTo>
                    <a:pt x="134" y="1172"/>
                  </a:lnTo>
                  <a:lnTo>
                    <a:pt x="169" y="1216"/>
                  </a:lnTo>
                  <a:lnTo>
                    <a:pt x="207" y="1258"/>
                  </a:lnTo>
                  <a:lnTo>
                    <a:pt x="249" y="1298"/>
                  </a:lnTo>
                  <a:lnTo>
                    <a:pt x="293" y="1335"/>
                  </a:lnTo>
                  <a:lnTo>
                    <a:pt x="340" y="1370"/>
                  </a:lnTo>
                  <a:lnTo>
                    <a:pt x="390" y="1400"/>
                  </a:lnTo>
                  <a:lnTo>
                    <a:pt x="442" y="1428"/>
                  </a:lnTo>
                  <a:lnTo>
                    <a:pt x="496" y="1453"/>
                  </a:lnTo>
                  <a:lnTo>
                    <a:pt x="552" y="1473"/>
                  </a:lnTo>
                  <a:lnTo>
                    <a:pt x="609" y="1490"/>
                  </a:lnTo>
                  <a:lnTo>
                    <a:pt x="668" y="1503"/>
                  </a:lnTo>
                  <a:lnTo>
                    <a:pt x="728" y="1513"/>
                  </a:lnTo>
                  <a:lnTo>
                    <a:pt x="788" y="1519"/>
                  </a:lnTo>
                  <a:lnTo>
                    <a:pt x="849" y="1521"/>
                  </a:lnTo>
                  <a:lnTo>
                    <a:pt x="910" y="1519"/>
                  </a:lnTo>
                  <a:lnTo>
                    <a:pt x="970" y="1513"/>
                  </a:lnTo>
                  <a:lnTo>
                    <a:pt x="1030" y="1503"/>
                  </a:lnTo>
                  <a:lnTo>
                    <a:pt x="1088" y="1490"/>
                  </a:lnTo>
                  <a:lnTo>
                    <a:pt x="1145" y="1473"/>
                  </a:lnTo>
                  <a:lnTo>
                    <a:pt x="1201" y="1453"/>
                  </a:lnTo>
                  <a:lnTo>
                    <a:pt x="1256" y="1428"/>
                  </a:lnTo>
                  <a:lnTo>
                    <a:pt x="1308" y="1400"/>
                  </a:lnTo>
                  <a:lnTo>
                    <a:pt x="1358" y="1370"/>
                  </a:lnTo>
                  <a:lnTo>
                    <a:pt x="1405" y="1335"/>
                  </a:lnTo>
                  <a:lnTo>
                    <a:pt x="1449" y="1298"/>
                  </a:lnTo>
                  <a:lnTo>
                    <a:pt x="1491" y="1258"/>
                  </a:lnTo>
                  <a:lnTo>
                    <a:pt x="1529" y="1216"/>
                  </a:lnTo>
                  <a:lnTo>
                    <a:pt x="1563" y="1172"/>
                  </a:lnTo>
                  <a:lnTo>
                    <a:pt x="1594" y="1125"/>
                  </a:lnTo>
                  <a:lnTo>
                    <a:pt x="1622" y="1076"/>
                  </a:lnTo>
                  <a:lnTo>
                    <a:pt x="1644" y="1025"/>
                  </a:lnTo>
                  <a:lnTo>
                    <a:pt x="1663" y="975"/>
                  </a:lnTo>
                  <a:lnTo>
                    <a:pt x="1678" y="922"/>
                  </a:lnTo>
                  <a:lnTo>
                    <a:pt x="1690" y="868"/>
                  </a:lnTo>
                  <a:lnTo>
                    <a:pt x="1696" y="814"/>
                  </a:lnTo>
                  <a:lnTo>
                    <a:pt x="1698" y="760"/>
                  </a:lnTo>
                  <a:lnTo>
                    <a:pt x="1696" y="705"/>
                  </a:lnTo>
                  <a:lnTo>
                    <a:pt x="1689" y="650"/>
                  </a:lnTo>
                  <a:lnTo>
                    <a:pt x="1678" y="595"/>
                  </a:lnTo>
                  <a:lnTo>
                    <a:pt x="1662" y="542"/>
                  </a:lnTo>
                  <a:lnTo>
                    <a:pt x="1642" y="489"/>
                  </a:lnTo>
                  <a:lnTo>
                    <a:pt x="1618" y="439"/>
                  </a:lnTo>
                  <a:lnTo>
                    <a:pt x="1591" y="390"/>
                  </a:lnTo>
                  <a:lnTo>
                    <a:pt x="1559" y="343"/>
                  </a:lnTo>
                  <a:lnTo>
                    <a:pt x="1523" y="297"/>
                  </a:lnTo>
                  <a:lnTo>
                    <a:pt x="1484" y="255"/>
                  </a:lnTo>
                  <a:lnTo>
                    <a:pt x="1441" y="215"/>
                  </a:lnTo>
                  <a:lnTo>
                    <a:pt x="1395" y="177"/>
                  </a:lnTo>
                  <a:lnTo>
                    <a:pt x="1346" y="143"/>
                  </a:lnTo>
                  <a:lnTo>
                    <a:pt x="1296" y="113"/>
                  </a:lnTo>
                  <a:lnTo>
                    <a:pt x="1242" y="86"/>
                  </a:lnTo>
                  <a:lnTo>
                    <a:pt x="1186" y="61"/>
                  </a:lnTo>
                  <a:lnTo>
                    <a:pt x="1129" y="41"/>
                  </a:lnTo>
                  <a:lnTo>
                    <a:pt x="1070" y="25"/>
                  </a:lnTo>
                  <a:lnTo>
                    <a:pt x="1010" y="13"/>
                  </a:lnTo>
                  <a:lnTo>
                    <a:pt x="949" y="5"/>
                  </a:lnTo>
                  <a:lnTo>
                    <a:pt x="888" y="0"/>
                  </a:lnTo>
                  <a:lnTo>
                    <a:pt x="826" y="0"/>
                  </a:lnTo>
                  <a:lnTo>
                    <a:pt x="765" y="3"/>
                  </a:lnTo>
                  <a:lnTo>
                    <a:pt x="704" y="10"/>
                  </a:lnTo>
                  <a:lnTo>
                    <a:pt x="644" y="22"/>
                  </a:lnTo>
                  <a:lnTo>
                    <a:pt x="585" y="37"/>
                  </a:lnTo>
                  <a:lnTo>
                    <a:pt x="525" y="56"/>
                  </a:lnTo>
                  <a:lnTo>
                    <a:pt x="470" y="79"/>
                  </a:lnTo>
                  <a:lnTo>
                    <a:pt x="416" y="105"/>
                  </a:lnTo>
                  <a:lnTo>
                    <a:pt x="364" y="135"/>
                  </a:lnTo>
                  <a:lnTo>
                    <a:pt x="316" y="168"/>
                  </a:lnTo>
                  <a:lnTo>
                    <a:pt x="268" y="204"/>
                  </a:lnTo>
                  <a:lnTo>
                    <a:pt x="225" y="244"/>
                  </a:lnTo>
                  <a:lnTo>
                    <a:pt x="185" y="286"/>
                  </a:lnTo>
                  <a:lnTo>
                    <a:pt x="440" y="268"/>
                  </a:lnTo>
                  <a:lnTo>
                    <a:pt x="582" y="469"/>
                  </a:lnTo>
                  <a:lnTo>
                    <a:pt x="614" y="447"/>
                  </a:lnTo>
                  <a:lnTo>
                    <a:pt x="650" y="427"/>
                  </a:lnTo>
                  <a:lnTo>
                    <a:pt x="686" y="411"/>
                  </a:lnTo>
                  <a:lnTo>
                    <a:pt x="726" y="398"/>
                  </a:lnTo>
                  <a:lnTo>
                    <a:pt x="766" y="388"/>
                  </a:lnTo>
                  <a:lnTo>
                    <a:pt x="808" y="382"/>
                  </a:lnTo>
                  <a:lnTo>
                    <a:pt x="849" y="380"/>
                  </a:lnTo>
                  <a:lnTo>
                    <a:pt x="890" y="381"/>
                  </a:lnTo>
                  <a:lnTo>
                    <a:pt x="932" y="386"/>
                  </a:lnTo>
                  <a:lnTo>
                    <a:pt x="973" y="395"/>
                  </a:lnTo>
                  <a:lnTo>
                    <a:pt x="1011" y="407"/>
                  </a:lnTo>
                  <a:lnTo>
                    <a:pt x="1049" y="424"/>
                  </a:lnTo>
                  <a:lnTo>
                    <a:pt x="1086" y="443"/>
                  </a:lnTo>
                  <a:lnTo>
                    <a:pt x="1119" y="466"/>
                  </a:lnTo>
                  <a:lnTo>
                    <a:pt x="1151" y="489"/>
                  </a:lnTo>
                  <a:lnTo>
                    <a:pt x="1177" y="518"/>
                  </a:lnTo>
                  <a:lnTo>
                    <a:pt x="1203" y="548"/>
                  </a:lnTo>
                  <a:lnTo>
                    <a:pt x="1224" y="580"/>
                  </a:lnTo>
                  <a:lnTo>
                    <a:pt x="1242" y="614"/>
                  </a:lnTo>
                  <a:lnTo>
                    <a:pt x="1256" y="649"/>
                  </a:lnTo>
                  <a:lnTo>
                    <a:pt x="1266" y="685"/>
                  </a:lnTo>
                  <a:lnTo>
                    <a:pt x="1272" y="723"/>
                  </a:lnTo>
                  <a:lnTo>
                    <a:pt x="1273" y="760"/>
                  </a:lnTo>
                  <a:lnTo>
                    <a:pt x="1271" y="798"/>
                  </a:lnTo>
                  <a:lnTo>
                    <a:pt x="1265" y="836"/>
                  </a:lnTo>
                  <a:lnTo>
                    <a:pt x="1253" y="874"/>
                  </a:lnTo>
                  <a:lnTo>
                    <a:pt x="1239" y="910"/>
                  </a:lnTo>
                  <a:lnTo>
                    <a:pt x="1220" y="944"/>
                  </a:lnTo>
                  <a:lnTo>
                    <a:pt x="1197" y="978"/>
                  </a:lnTo>
                  <a:lnTo>
                    <a:pt x="1171" y="1008"/>
                  </a:lnTo>
                  <a:lnTo>
                    <a:pt x="1142" y="1036"/>
                  </a:lnTo>
                  <a:lnTo>
                    <a:pt x="1109" y="1061"/>
                  </a:lnTo>
                  <a:lnTo>
                    <a:pt x="1074" y="1084"/>
                  </a:lnTo>
                  <a:lnTo>
                    <a:pt x="1037" y="1101"/>
                  </a:lnTo>
                  <a:lnTo>
                    <a:pt x="996" y="1117"/>
                  </a:lnTo>
                  <a:lnTo>
                    <a:pt x="955" y="1128"/>
                  </a:lnTo>
                  <a:lnTo>
                    <a:pt x="913" y="1136"/>
                  </a:lnTo>
                  <a:lnTo>
                    <a:pt x="870" y="1140"/>
                  </a:lnTo>
                  <a:lnTo>
                    <a:pt x="827" y="1140"/>
                  </a:lnTo>
                  <a:lnTo>
                    <a:pt x="784" y="1136"/>
                  </a:lnTo>
                  <a:lnTo>
                    <a:pt x="742" y="1128"/>
                  </a:lnTo>
                  <a:lnTo>
                    <a:pt x="701" y="1117"/>
                  </a:lnTo>
                  <a:lnTo>
                    <a:pt x="661" y="1101"/>
                  </a:lnTo>
                  <a:lnTo>
                    <a:pt x="624" y="1084"/>
                  </a:lnTo>
                  <a:lnTo>
                    <a:pt x="589" y="1061"/>
                  </a:lnTo>
                  <a:lnTo>
                    <a:pt x="556" y="1036"/>
                  </a:lnTo>
                  <a:lnTo>
                    <a:pt x="526" y="1008"/>
                  </a:lnTo>
                  <a:lnTo>
                    <a:pt x="501" y="978"/>
                  </a:lnTo>
                  <a:lnTo>
                    <a:pt x="477" y="944"/>
                  </a:lnTo>
                  <a:lnTo>
                    <a:pt x="458" y="910"/>
                  </a:lnTo>
                  <a:lnTo>
                    <a:pt x="445" y="874"/>
                  </a:lnTo>
                  <a:lnTo>
                    <a:pt x="433" y="836"/>
                  </a:lnTo>
                  <a:lnTo>
                    <a:pt x="426" y="798"/>
                  </a:lnTo>
                  <a:lnTo>
                    <a:pt x="424" y="760"/>
                  </a:lnTo>
                  <a:lnTo>
                    <a:pt x="428" y="723"/>
                  </a:lnTo>
                  <a:lnTo>
                    <a:pt x="435" y="687"/>
                  </a:lnTo>
                  <a:lnTo>
                    <a:pt x="445" y="652"/>
                  </a:lnTo>
                  <a:lnTo>
                    <a:pt x="457" y="617"/>
                  </a:lnTo>
                  <a:lnTo>
                    <a:pt x="473" y="583"/>
                  </a:lnTo>
                  <a:lnTo>
                    <a:pt x="493" y="550"/>
                  </a:lnTo>
                  <a:lnTo>
                    <a:pt x="613" y="591"/>
                  </a:lnTo>
                  <a:lnTo>
                    <a:pt x="551" y="493"/>
                  </a:lnTo>
                  <a:lnTo>
                    <a:pt x="486" y="394"/>
                  </a:lnTo>
                  <a:lnTo>
                    <a:pt x="419" y="299"/>
                  </a:lnTo>
                  <a:lnTo>
                    <a:pt x="280" y="308"/>
                  </a:lnTo>
                  <a:lnTo>
                    <a:pt x="143" y="322"/>
                  </a:lnTo>
                  <a:lnTo>
                    <a:pt x="5" y="337"/>
                  </a:lnTo>
                  <a:lnTo>
                    <a:pt x="104" y="397"/>
                  </a:lnTo>
                </a:path>
              </a:pathLst>
            </a:custGeom>
            <a:solidFill>
              <a:schemeClr val="accent3"/>
            </a:solidFill>
            <a:ln w="12700" cap="rnd" cmpd="sng">
              <a:noFill/>
              <a:prstDash val="solid"/>
              <a:round/>
              <a:headEnd/>
              <a:tailEnd/>
            </a:ln>
            <a:effectLst/>
          </p:spPr>
          <p:txBody>
            <a:bodyPr lIns="45720" rIns="45720" anchor="ctr" anchorCtr="1"/>
            <a:lstStyle/>
            <a:p>
              <a:endParaRPr lang="en-US" sz="1600"/>
            </a:p>
          </p:txBody>
        </p:sp>
        <p:sp>
          <p:nvSpPr>
            <p:cNvPr id="32" name="Text Box 20">
              <a:extLst>
                <a:ext uri="{FF2B5EF4-FFF2-40B4-BE49-F238E27FC236}">
                  <a16:creationId xmlns:a16="http://schemas.microsoft.com/office/drawing/2014/main" id="{BBC60170-0EAD-46C8-A4C8-8A73149DBE52}"/>
                </a:ext>
              </a:extLst>
            </p:cNvPr>
            <p:cNvSpPr txBox="1">
              <a:spLocks noChangeArrowheads="1"/>
            </p:cNvSpPr>
            <p:nvPr/>
          </p:nvSpPr>
          <p:spPr bwMode="auto">
            <a:xfrm>
              <a:off x="3495" y="2321"/>
              <a:ext cx="419" cy="161"/>
            </a:xfrm>
            <a:prstGeom prst="rect">
              <a:avLst/>
            </a:prstGeom>
            <a:noFill/>
            <a:ln w="6350">
              <a:noFill/>
              <a:miter lim="800000"/>
              <a:headEnd/>
              <a:tailEnd/>
            </a:ln>
            <a:effectLst/>
          </p:spPr>
          <p:txBody>
            <a:bodyPr lIns="45720" rIns="45720" anchor="ctr" anchorCtr="1"/>
            <a:lstStyle/>
            <a:p>
              <a:pPr eaLnBrk="0" hangingPunct="0"/>
              <a:r>
                <a:rPr lang="en-US" sz="1600" b="1" dirty="0">
                  <a:solidFill>
                    <a:schemeClr val="bg1"/>
                  </a:solidFill>
                </a:rPr>
                <a:t>Text</a:t>
              </a:r>
            </a:p>
          </p:txBody>
        </p:sp>
        <p:sp>
          <p:nvSpPr>
            <p:cNvPr id="33" name="Text Box 21">
              <a:extLst>
                <a:ext uri="{FF2B5EF4-FFF2-40B4-BE49-F238E27FC236}">
                  <a16:creationId xmlns:a16="http://schemas.microsoft.com/office/drawing/2014/main" id="{7A3FCE69-94CB-428E-BEED-39F20CBB4B77}"/>
                </a:ext>
              </a:extLst>
            </p:cNvPr>
            <p:cNvSpPr txBox="1">
              <a:spLocks noChangeArrowheads="1"/>
            </p:cNvSpPr>
            <p:nvPr/>
          </p:nvSpPr>
          <p:spPr bwMode="auto">
            <a:xfrm>
              <a:off x="4417" y="1712"/>
              <a:ext cx="498" cy="161"/>
            </a:xfrm>
            <a:prstGeom prst="rect">
              <a:avLst/>
            </a:prstGeom>
            <a:noFill/>
            <a:ln w="6350">
              <a:noFill/>
              <a:miter lim="800000"/>
              <a:headEnd/>
              <a:tailEnd/>
            </a:ln>
            <a:effectLst/>
          </p:spPr>
          <p:txBody>
            <a:bodyPr lIns="45720" rIns="45720" anchor="ctr" anchorCtr="1"/>
            <a:lstStyle/>
            <a:p>
              <a:pPr eaLnBrk="0" hangingPunct="0"/>
              <a:r>
                <a:rPr lang="en-US" sz="1600" b="1" dirty="0">
                  <a:solidFill>
                    <a:schemeClr val="bg1"/>
                  </a:solidFill>
                </a:rPr>
                <a:t>Text</a:t>
              </a:r>
            </a:p>
          </p:txBody>
        </p:sp>
        <p:sp>
          <p:nvSpPr>
            <p:cNvPr id="34" name="Text Box 22">
              <a:extLst>
                <a:ext uri="{FF2B5EF4-FFF2-40B4-BE49-F238E27FC236}">
                  <a16:creationId xmlns:a16="http://schemas.microsoft.com/office/drawing/2014/main" id="{F32F2AAB-AF11-4A57-AB8A-0E9C4787DCCB}"/>
                </a:ext>
              </a:extLst>
            </p:cNvPr>
            <p:cNvSpPr txBox="1">
              <a:spLocks noChangeArrowheads="1"/>
            </p:cNvSpPr>
            <p:nvPr/>
          </p:nvSpPr>
          <p:spPr bwMode="auto">
            <a:xfrm>
              <a:off x="4239" y="2976"/>
              <a:ext cx="519" cy="161"/>
            </a:xfrm>
            <a:prstGeom prst="rect">
              <a:avLst/>
            </a:prstGeom>
            <a:noFill/>
            <a:ln w="6350">
              <a:noFill/>
              <a:miter lim="800000"/>
              <a:headEnd/>
              <a:tailEnd/>
            </a:ln>
            <a:effectLst/>
          </p:spPr>
          <p:txBody>
            <a:bodyPr lIns="45720" rIns="45720" anchor="ctr" anchorCtr="1"/>
            <a:lstStyle/>
            <a:p>
              <a:pPr eaLnBrk="0" hangingPunct="0"/>
              <a:r>
                <a:rPr lang="en-US" sz="1600" b="1" dirty="0">
                  <a:solidFill>
                    <a:schemeClr val="bg1"/>
                  </a:solidFill>
                </a:rPr>
                <a:t>Text</a:t>
              </a:r>
            </a:p>
          </p:txBody>
        </p:sp>
      </p:grpSp>
      <p:sp>
        <p:nvSpPr>
          <p:cNvPr id="5" name="Footer Placeholder 4">
            <a:extLst>
              <a:ext uri="{FF2B5EF4-FFF2-40B4-BE49-F238E27FC236}">
                <a16:creationId xmlns:a16="http://schemas.microsoft.com/office/drawing/2014/main" id="{270D9FA9-C2E0-4011-9106-7558F88802FD}"/>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2AA5B76F-B3E4-4417-8772-EE3266F870BF}"/>
              </a:ext>
            </a:extLst>
          </p:cNvPr>
          <p:cNvSpPr>
            <a:spLocks noGrp="1"/>
          </p:cNvSpPr>
          <p:nvPr>
            <p:ph type="sldNum" sz="quarter" idx="10"/>
          </p:nvPr>
        </p:nvSpPr>
        <p:spPr/>
        <p:txBody>
          <a:bodyPr/>
          <a:lstStyle/>
          <a:p>
            <a:fld id="{1F90F471-3972-4120-B8B3-0237DE626C35}" type="slidenum">
              <a:rPr lang="en-US" smtClean="0"/>
              <a:pPr/>
              <a:t>247</a:t>
            </a:fld>
            <a:endParaRPr lang="en-US" dirty="0"/>
          </a:p>
        </p:txBody>
      </p:sp>
    </p:spTree>
    <p:extLst>
      <p:ext uri="{BB962C8B-B14F-4D97-AF65-F5344CB8AC3E}">
        <p14:creationId xmlns:p14="http://schemas.microsoft.com/office/powerpoint/2010/main" val="1116537717"/>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Circular Flow 2</a:t>
            </a:r>
          </a:p>
        </p:txBody>
      </p:sp>
      <p:grpSp>
        <p:nvGrpSpPr>
          <p:cNvPr id="15" name="Group 14" descr="Add text and order accordingly">
            <a:extLst>
              <a:ext uri="{FF2B5EF4-FFF2-40B4-BE49-F238E27FC236}">
                <a16:creationId xmlns:a16="http://schemas.microsoft.com/office/drawing/2014/main" id="{74D32804-8484-4DD9-8C5E-EDA67BCE7E32}"/>
              </a:ext>
            </a:extLst>
          </p:cNvPr>
          <p:cNvGrpSpPr>
            <a:grpSpLocks noChangeAspect="1"/>
          </p:cNvGrpSpPr>
          <p:nvPr/>
        </p:nvGrpSpPr>
        <p:grpSpPr bwMode="auto">
          <a:xfrm>
            <a:off x="2171564" y="1858451"/>
            <a:ext cx="3838094" cy="3498419"/>
            <a:chOff x="684213" y="1532528"/>
            <a:chExt cx="3429000" cy="3303730"/>
          </a:xfrm>
          <a:solidFill>
            <a:schemeClr val="accent1"/>
          </a:solidFill>
        </p:grpSpPr>
        <p:sp>
          <p:nvSpPr>
            <p:cNvPr id="16" name="Freeform 16">
              <a:extLst>
                <a:ext uri="{FF2B5EF4-FFF2-40B4-BE49-F238E27FC236}">
                  <a16:creationId xmlns:a16="http://schemas.microsoft.com/office/drawing/2014/main" id="{9288F8C2-2B70-46D3-8326-66155612A722}"/>
                </a:ext>
              </a:extLst>
            </p:cNvPr>
            <p:cNvSpPr>
              <a:spLocks/>
            </p:cNvSpPr>
            <p:nvPr/>
          </p:nvSpPr>
          <p:spPr bwMode="auto">
            <a:xfrm>
              <a:off x="946150" y="1532528"/>
              <a:ext cx="3167063" cy="1724427"/>
            </a:xfrm>
            <a:custGeom>
              <a:avLst/>
              <a:gdLst/>
              <a:ahLst/>
              <a:cxnLst>
                <a:cxn ang="0">
                  <a:pos x="1566" y="519"/>
                </a:cxn>
                <a:cxn ang="0">
                  <a:pos x="1527" y="423"/>
                </a:cxn>
                <a:cxn ang="0">
                  <a:pos x="1472" y="333"/>
                </a:cxn>
                <a:cxn ang="0">
                  <a:pos x="1404" y="250"/>
                </a:cxn>
                <a:cxn ang="0">
                  <a:pos x="1323" y="177"/>
                </a:cxn>
                <a:cxn ang="0">
                  <a:pos x="1232" y="115"/>
                </a:cxn>
                <a:cxn ang="0">
                  <a:pos x="1131" y="66"/>
                </a:cxn>
                <a:cxn ang="0">
                  <a:pos x="1023" y="30"/>
                </a:cxn>
                <a:cxn ang="0">
                  <a:pos x="911" y="7"/>
                </a:cxn>
                <a:cxn ang="0">
                  <a:pos x="796" y="0"/>
                </a:cxn>
                <a:cxn ang="0">
                  <a:pos x="683" y="7"/>
                </a:cxn>
                <a:cxn ang="0">
                  <a:pos x="570" y="29"/>
                </a:cxn>
                <a:cxn ang="0">
                  <a:pos x="462" y="65"/>
                </a:cxn>
                <a:cxn ang="0">
                  <a:pos x="361" y="114"/>
                </a:cxn>
                <a:cxn ang="0">
                  <a:pos x="270" y="175"/>
                </a:cxn>
                <a:cxn ang="0">
                  <a:pos x="189" y="248"/>
                </a:cxn>
                <a:cxn ang="0">
                  <a:pos x="120" y="330"/>
                </a:cxn>
                <a:cxn ang="0">
                  <a:pos x="65" y="421"/>
                </a:cxn>
                <a:cxn ang="0">
                  <a:pos x="24" y="517"/>
                </a:cxn>
                <a:cxn ang="0">
                  <a:pos x="0" y="616"/>
                </a:cxn>
                <a:cxn ang="0">
                  <a:pos x="233" y="479"/>
                </a:cxn>
                <a:cxn ang="0">
                  <a:pos x="435" y="582"/>
                </a:cxn>
                <a:cxn ang="0">
                  <a:pos x="476" y="521"/>
                </a:cxn>
                <a:cxn ang="0">
                  <a:pos x="531" y="468"/>
                </a:cxn>
                <a:cxn ang="0">
                  <a:pos x="595" y="428"/>
                </a:cxn>
                <a:cxn ang="0">
                  <a:pos x="668" y="398"/>
                </a:cxn>
                <a:cxn ang="0">
                  <a:pos x="746" y="381"/>
                </a:cxn>
                <a:cxn ang="0">
                  <a:pos x="826" y="379"/>
                </a:cxn>
                <a:cxn ang="0">
                  <a:pos x="905" y="391"/>
                </a:cxn>
                <a:cxn ang="0">
                  <a:pos x="979" y="417"/>
                </a:cxn>
                <a:cxn ang="0">
                  <a:pos x="1046" y="455"/>
                </a:cxn>
                <a:cxn ang="0">
                  <a:pos x="1104" y="505"/>
                </a:cxn>
                <a:cxn ang="0">
                  <a:pos x="1150" y="564"/>
                </a:cxn>
                <a:cxn ang="0">
                  <a:pos x="1025" y="570"/>
                </a:cxn>
                <a:cxn ang="0">
                  <a:pos x="1690" y="570"/>
                </a:cxn>
              </a:cxnLst>
              <a:rect l="0" t="0" r="r" b="b"/>
              <a:pathLst>
                <a:path w="1691" h="783">
                  <a:moveTo>
                    <a:pt x="1581" y="570"/>
                  </a:moveTo>
                  <a:lnTo>
                    <a:pt x="1566" y="519"/>
                  </a:lnTo>
                  <a:lnTo>
                    <a:pt x="1549" y="471"/>
                  </a:lnTo>
                  <a:lnTo>
                    <a:pt x="1527" y="423"/>
                  </a:lnTo>
                  <a:lnTo>
                    <a:pt x="1501" y="377"/>
                  </a:lnTo>
                  <a:lnTo>
                    <a:pt x="1472" y="333"/>
                  </a:lnTo>
                  <a:lnTo>
                    <a:pt x="1440" y="291"/>
                  </a:lnTo>
                  <a:lnTo>
                    <a:pt x="1404" y="250"/>
                  </a:lnTo>
                  <a:lnTo>
                    <a:pt x="1365" y="212"/>
                  </a:lnTo>
                  <a:lnTo>
                    <a:pt x="1323" y="177"/>
                  </a:lnTo>
                  <a:lnTo>
                    <a:pt x="1278" y="145"/>
                  </a:lnTo>
                  <a:lnTo>
                    <a:pt x="1232" y="115"/>
                  </a:lnTo>
                  <a:lnTo>
                    <a:pt x="1182" y="90"/>
                  </a:lnTo>
                  <a:lnTo>
                    <a:pt x="1131" y="66"/>
                  </a:lnTo>
                  <a:lnTo>
                    <a:pt x="1078" y="45"/>
                  </a:lnTo>
                  <a:lnTo>
                    <a:pt x="1023" y="30"/>
                  </a:lnTo>
                  <a:lnTo>
                    <a:pt x="968" y="17"/>
                  </a:lnTo>
                  <a:lnTo>
                    <a:pt x="911" y="7"/>
                  </a:lnTo>
                  <a:lnTo>
                    <a:pt x="853" y="1"/>
                  </a:lnTo>
                  <a:lnTo>
                    <a:pt x="796" y="0"/>
                  </a:lnTo>
                  <a:lnTo>
                    <a:pt x="740" y="1"/>
                  </a:lnTo>
                  <a:lnTo>
                    <a:pt x="683" y="7"/>
                  </a:lnTo>
                  <a:lnTo>
                    <a:pt x="626" y="16"/>
                  </a:lnTo>
                  <a:lnTo>
                    <a:pt x="570" y="29"/>
                  </a:lnTo>
                  <a:lnTo>
                    <a:pt x="515" y="45"/>
                  </a:lnTo>
                  <a:lnTo>
                    <a:pt x="462" y="65"/>
                  </a:lnTo>
                  <a:lnTo>
                    <a:pt x="411" y="87"/>
                  </a:lnTo>
                  <a:lnTo>
                    <a:pt x="361" y="114"/>
                  </a:lnTo>
                  <a:lnTo>
                    <a:pt x="315" y="143"/>
                  </a:lnTo>
                  <a:lnTo>
                    <a:pt x="270" y="175"/>
                  </a:lnTo>
                  <a:lnTo>
                    <a:pt x="227" y="210"/>
                  </a:lnTo>
                  <a:lnTo>
                    <a:pt x="189" y="248"/>
                  </a:lnTo>
                  <a:lnTo>
                    <a:pt x="152" y="287"/>
                  </a:lnTo>
                  <a:lnTo>
                    <a:pt x="120" y="330"/>
                  </a:lnTo>
                  <a:lnTo>
                    <a:pt x="91" y="375"/>
                  </a:lnTo>
                  <a:lnTo>
                    <a:pt x="65" y="421"/>
                  </a:lnTo>
                  <a:lnTo>
                    <a:pt x="43" y="467"/>
                  </a:lnTo>
                  <a:lnTo>
                    <a:pt x="24" y="517"/>
                  </a:lnTo>
                  <a:lnTo>
                    <a:pt x="10" y="567"/>
                  </a:lnTo>
                  <a:lnTo>
                    <a:pt x="0" y="616"/>
                  </a:lnTo>
                  <a:lnTo>
                    <a:pt x="118" y="549"/>
                  </a:lnTo>
                  <a:lnTo>
                    <a:pt x="233" y="479"/>
                  </a:lnTo>
                  <a:lnTo>
                    <a:pt x="419" y="615"/>
                  </a:lnTo>
                  <a:lnTo>
                    <a:pt x="435" y="582"/>
                  </a:lnTo>
                  <a:lnTo>
                    <a:pt x="454" y="550"/>
                  </a:lnTo>
                  <a:lnTo>
                    <a:pt x="476" y="521"/>
                  </a:lnTo>
                  <a:lnTo>
                    <a:pt x="502" y="494"/>
                  </a:lnTo>
                  <a:lnTo>
                    <a:pt x="531" y="468"/>
                  </a:lnTo>
                  <a:lnTo>
                    <a:pt x="563" y="446"/>
                  </a:lnTo>
                  <a:lnTo>
                    <a:pt x="595" y="428"/>
                  </a:lnTo>
                  <a:lnTo>
                    <a:pt x="631" y="411"/>
                  </a:lnTo>
                  <a:lnTo>
                    <a:pt x="668" y="398"/>
                  </a:lnTo>
                  <a:lnTo>
                    <a:pt x="707" y="388"/>
                  </a:lnTo>
                  <a:lnTo>
                    <a:pt x="746" y="381"/>
                  </a:lnTo>
                  <a:lnTo>
                    <a:pt x="785" y="378"/>
                  </a:lnTo>
                  <a:lnTo>
                    <a:pt x="826" y="379"/>
                  </a:lnTo>
                  <a:lnTo>
                    <a:pt x="865" y="383"/>
                  </a:lnTo>
                  <a:lnTo>
                    <a:pt x="905" y="391"/>
                  </a:lnTo>
                  <a:lnTo>
                    <a:pt x="943" y="402"/>
                  </a:lnTo>
                  <a:lnTo>
                    <a:pt x="979" y="417"/>
                  </a:lnTo>
                  <a:lnTo>
                    <a:pt x="1014" y="435"/>
                  </a:lnTo>
                  <a:lnTo>
                    <a:pt x="1046" y="455"/>
                  </a:lnTo>
                  <a:lnTo>
                    <a:pt x="1077" y="479"/>
                  </a:lnTo>
                  <a:lnTo>
                    <a:pt x="1104" y="505"/>
                  </a:lnTo>
                  <a:lnTo>
                    <a:pt x="1128" y="533"/>
                  </a:lnTo>
                  <a:lnTo>
                    <a:pt x="1150" y="564"/>
                  </a:lnTo>
                  <a:lnTo>
                    <a:pt x="1153" y="570"/>
                  </a:lnTo>
                  <a:lnTo>
                    <a:pt x="1025" y="570"/>
                  </a:lnTo>
                  <a:lnTo>
                    <a:pt x="1361" y="782"/>
                  </a:lnTo>
                  <a:lnTo>
                    <a:pt x="1690" y="570"/>
                  </a:lnTo>
                  <a:lnTo>
                    <a:pt x="1581" y="570"/>
                  </a:lnTo>
                </a:path>
              </a:pathLst>
            </a:custGeom>
            <a:grpFill/>
            <a:ln w="6350" cap="rnd" cmpd="sng">
              <a:noFill/>
              <a:prstDash val="solid"/>
              <a:round/>
              <a:headEnd/>
              <a:tailEnd/>
            </a:ln>
            <a:effectLst/>
          </p:spPr>
          <p:txBody>
            <a:bodyPr lIns="45720" rIns="45720" anchor="ctr" anchorCtr="1"/>
            <a:lstStyle/>
            <a:p>
              <a:endParaRPr lang="en-US" sz="1400"/>
            </a:p>
          </p:txBody>
        </p:sp>
        <p:sp>
          <p:nvSpPr>
            <p:cNvPr id="17" name="Freeform 17">
              <a:extLst>
                <a:ext uri="{FF2B5EF4-FFF2-40B4-BE49-F238E27FC236}">
                  <a16:creationId xmlns:a16="http://schemas.microsoft.com/office/drawing/2014/main" id="{D8839640-3D59-4046-8804-E1E9A5967573}"/>
                </a:ext>
              </a:extLst>
            </p:cNvPr>
            <p:cNvSpPr>
              <a:spLocks/>
            </p:cNvSpPr>
            <p:nvPr/>
          </p:nvSpPr>
          <p:spPr bwMode="auto">
            <a:xfrm>
              <a:off x="684213" y="2708895"/>
              <a:ext cx="3275012" cy="2127363"/>
            </a:xfrm>
            <a:custGeom>
              <a:avLst/>
              <a:gdLst/>
              <a:ahLst/>
              <a:cxnLst>
                <a:cxn ang="0">
                  <a:pos x="1344" y="233"/>
                </a:cxn>
                <a:cxn ang="0">
                  <a:pos x="1339" y="307"/>
                </a:cxn>
                <a:cxn ang="0">
                  <a:pos x="1316" y="378"/>
                </a:cxn>
                <a:cxn ang="0">
                  <a:pos x="1279" y="444"/>
                </a:cxn>
                <a:cxn ang="0">
                  <a:pos x="1228" y="501"/>
                </a:cxn>
                <a:cxn ang="0">
                  <a:pos x="1165" y="550"/>
                </a:cxn>
                <a:cxn ang="0">
                  <a:pos x="1091" y="584"/>
                </a:cxn>
                <a:cxn ang="0">
                  <a:pos x="1012" y="605"/>
                </a:cxn>
                <a:cxn ang="0">
                  <a:pos x="930" y="610"/>
                </a:cxn>
                <a:cxn ang="0">
                  <a:pos x="847" y="601"/>
                </a:cxn>
                <a:cxn ang="0">
                  <a:pos x="770" y="577"/>
                </a:cxn>
                <a:cxn ang="0">
                  <a:pos x="698" y="540"/>
                </a:cxn>
                <a:cxn ang="0">
                  <a:pos x="637" y="490"/>
                </a:cxn>
                <a:cxn ang="0">
                  <a:pos x="588" y="430"/>
                </a:cxn>
                <a:cxn ang="0">
                  <a:pos x="554" y="363"/>
                </a:cxn>
                <a:cxn ang="0">
                  <a:pos x="535" y="291"/>
                </a:cxn>
                <a:cxn ang="0">
                  <a:pos x="534" y="216"/>
                </a:cxn>
                <a:cxn ang="0">
                  <a:pos x="373" y="0"/>
                </a:cxn>
                <a:cxn ang="0">
                  <a:pos x="131" y="209"/>
                </a:cxn>
                <a:cxn ang="0">
                  <a:pos x="135" y="314"/>
                </a:cxn>
                <a:cxn ang="0">
                  <a:pos x="155" y="417"/>
                </a:cxn>
                <a:cxn ang="0">
                  <a:pos x="192" y="516"/>
                </a:cxn>
                <a:cxn ang="0">
                  <a:pos x="244" y="609"/>
                </a:cxn>
                <a:cxn ang="0">
                  <a:pos x="310" y="695"/>
                </a:cxn>
                <a:cxn ang="0">
                  <a:pos x="389" y="771"/>
                </a:cxn>
                <a:cxn ang="0">
                  <a:pos x="481" y="837"/>
                </a:cxn>
                <a:cxn ang="0">
                  <a:pos x="581" y="890"/>
                </a:cxn>
                <a:cxn ang="0">
                  <a:pos x="688" y="928"/>
                </a:cxn>
                <a:cxn ang="0">
                  <a:pos x="802" y="954"/>
                </a:cxn>
                <a:cxn ang="0">
                  <a:pos x="917" y="965"/>
                </a:cxn>
                <a:cxn ang="0">
                  <a:pos x="1035" y="959"/>
                </a:cxn>
                <a:cxn ang="0">
                  <a:pos x="1148" y="941"/>
                </a:cxn>
                <a:cxn ang="0">
                  <a:pos x="1259" y="905"/>
                </a:cxn>
                <a:cxn ang="0">
                  <a:pos x="1361" y="858"/>
                </a:cxn>
                <a:cxn ang="0">
                  <a:pos x="1456" y="797"/>
                </a:cxn>
                <a:cxn ang="0">
                  <a:pos x="1540" y="725"/>
                </a:cxn>
                <a:cxn ang="0">
                  <a:pos x="1611" y="642"/>
                </a:cxn>
                <a:cxn ang="0">
                  <a:pos x="1669" y="552"/>
                </a:cxn>
                <a:cxn ang="0">
                  <a:pos x="1711" y="455"/>
                </a:cxn>
                <a:cxn ang="0">
                  <a:pos x="1738" y="352"/>
                </a:cxn>
                <a:cxn ang="0">
                  <a:pos x="1748" y="248"/>
                </a:cxn>
                <a:cxn ang="0">
                  <a:pos x="1740" y="144"/>
                </a:cxn>
                <a:cxn ang="0">
                  <a:pos x="1340" y="195"/>
                </a:cxn>
              </a:cxnLst>
              <a:rect l="0" t="0" r="r" b="b"/>
              <a:pathLst>
                <a:path w="1749" h="966">
                  <a:moveTo>
                    <a:pt x="1340" y="195"/>
                  </a:moveTo>
                  <a:lnTo>
                    <a:pt x="1344" y="233"/>
                  </a:lnTo>
                  <a:lnTo>
                    <a:pt x="1344" y="269"/>
                  </a:lnTo>
                  <a:lnTo>
                    <a:pt x="1339" y="307"/>
                  </a:lnTo>
                  <a:lnTo>
                    <a:pt x="1330" y="343"/>
                  </a:lnTo>
                  <a:lnTo>
                    <a:pt x="1316" y="378"/>
                  </a:lnTo>
                  <a:lnTo>
                    <a:pt x="1300" y="412"/>
                  </a:lnTo>
                  <a:lnTo>
                    <a:pt x="1279" y="444"/>
                  </a:lnTo>
                  <a:lnTo>
                    <a:pt x="1255" y="475"/>
                  </a:lnTo>
                  <a:lnTo>
                    <a:pt x="1228" y="501"/>
                  </a:lnTo>
                  <a:lnTo>
                    <a:pt x="1197" y="526"/>
                  </a:lnTo>
                  <a:lnTo>
                    <a:pt x="1165" y="550"/>
                  </a:lnTo>
                  <a:lnTo>
                    <a:pt x="1128" y="568"/>
                  </a:lnTo>
                  <a:lnTo>
                    <a:pt x="1091" y="584"/>
                  </a:lnTo>
                  <a:lnTo>
                    <a:pt x="1052" y="596"/>
                  </a:lnTo>
                  <a:lnTo>
                    <a:pt x="1012" y="605"/>
                  </a:lnTo>
                  <a:lnTo>
                    <a:pt x="971" y="609"/>
                  </a:lnTo>
                  <a:lnTo>
                    <a:pt x="930" y="610"/>
                  </a:lnTo>
                  <a:lnTo>
                    <a:pt x="888" y="607"/>
                  </a:lnTo>
                  <a:lnTo>
                    <a:pt x="847" y="601"/>
                  </a:lnTo>
                  <a:lnTo>
                    <a:pt x="807" y="590"/>
                  </a:lnTo>
                  <a:lnTo>
                    <a:pt x="770" y="577"/>
                  </a:lnTo>
                  <a:lnTo>
                    <a:pt x="732" y="561"/>
                  </a:lnTo>
                  <a:lnTo>
                    <a:pt x="698" y="540"/>
                  </a:lnTo>
                  <a:lnTo>
                    <a:pt x="665" y="516"/>
                  </a:lnTo>
                  <a:lnTo>
                    <a:pt x="637" y="490"/>
                  </a:lnTo>
                  <a:lnTo>
                    <a:pt x="611" y="461"/>
                  </a:lnTo>
                  <a:lnTo>
                    <a:pt x="588" y="430"/>
                  </a:lnTo>
                  <a:lnTo>
                    <a:pt x="569" y="397"/>
                  </a:lnTo>
                  <a:lnTo>
                    <a:pt x="554" y="363"/>
                  </a:lnTo>
                  <a:lnTo>
                    <a:pt x="543" y="328"/>
                  </a:lnTo>
                  <a:lnTo>
                    <a:pt x="535" y="291"/>
                  </a:lnTo>
                  <a:lnTo>
                    <a:pt x="533" y="254"/>
                  </a:lnTo>
                  <a:lnTo>
                    <a:pt x="534" y="216"/>
                  </a:lnTo>
                  <a:lnTo>
                    <a:pt x="669" y="216"/>
                  </a:lnTo>
                  <a:lnTo>
                    <a:pt x="373" y="0"/>
                  </a:lnTo>
                  <a:lnTo>
                    <a:pt x="0" y="209"/>
                  </a:lnTo>
                  <a:lnTo>
                    <a:pt x="131" y="209"/>
                  </a:lnTo>
                  <a:lnTo>
                    <a:pt x="131" y="261"/>
                  </a:lnTo>
                  <a:lnTo>
                    <a:pt x="135" y="314"/>
                  </a:lnTo>
                  <a:lnTo>
                    <a:pt x="143" y="366"/>
                  </a:lnTo>
                  <a:lnTo>
                    <a:pt x="155" y="417"/>
                  </a:lnTo>
                  <a:lnTo>
                    <a:pt x="172" y="467"/>
                  </a:lnTo>
                  <a:lnTo>
                    <a:pt x="192" y="516"/>
                  </a:lnTo>
                  <a:lnTo>
                    <a:pt x="215" y="564"/>
                  </a:lnTo>
                  <a:lnTo>
                    <a:pt x="244" y="609"/>
                  </a:lnTo>
                  <a:lnTo>
                    <a:pt x="275" y="653"/>
                  </a:lnTo>
                  <a:lnTo>
                    <a:pt x="310" y="695"/>
                  </a:lnTo>
                  <a:lnTo>
                    <a:pt x="349" y="734"/>
                  </a:lnTo>
                  <a:lnTo>
                    <a:pt x="389" y="771"/>
                  </a:lnTo>
                  <a:lnTo>
                    <a:pt x="434" y="806"/>
                  </a:lnTo>
                  <a:lnTo>
                    <a:pt x="481" y="837"/>
                  </a:lnTo>
                  <a:lnTo>
                    <a:pt x="529" y="864"/>
                  </a:lnTo>
                  <a:lnTo>
                    <a:pt x="581" y="890"/>
                  </a:lnTo>
                  <a:lnTo>
                    <a:pt x="635" y="911"/>
                  </a:lnTo>
                  <a:lnTo>
                    <a:pt x="688" y="928"/>
                  </a:lnTo>
                  <a:lnTo>
                    <a:pt x="745" y="943"/>
                  </a:lnTo>
                  <a:lnTo>
                    <a:pt x="802" y="954"/>
                  </a:lnTo>
                  <a:lnTo>
                    <a:pt x="859" y="960"/>
                  </a:lnTo>
                  <a:lnTo>
                    <a:pt x="917" y="965"/>
                  </a:lnTo>
                  <a:lnTo>
                    <a:pt x="976" y="964"/>
                  </a:lnTo>
                  <a:lnTo>
                    <a:pt x="1035" y="959"/>
                  </a:lnTo>
                  <a:lnTo>
                    <a:pt x="1091" y="952"/>
                  </a:lnTo>
                  <a:lnTo>
                    <a:pt x="1148" y="941"/>
                  </a:lnTo>
                  <a:lnTo>
                    <a:pt x="1204" y="925"/>
                  </a:lnTo>
                  <a:lnTo>
                    <a:pt x="1259" y="905"/>
                  </a:lnTo>
                  <a:lnTo>
                    <a:pt x="1311" y="883"/>
                  </a:lnTo>
                  <a:lnTo>
                    <a:pt x="1361" y="858"/>
                  </a:lnTo>
                  <a:lnTo>
                    <a:pt x="1410" y="829"/>
                  </a:lnTo>
                  <a:lnTo>
                    <a:pt x="1456" y="797"/>
                  </a:lnTo>
                  <a:lnTo>
                    <a:pt x="1499" y="763"/>
                  </a:lnTo>
                  <a:lnTo>
                    <a:pt x="1540" y="725"/>
                  </a:lnTo>
                  <a:lnTo>
                    <a:pt x="1577" y="684"/>
                  </a:lnTo>
                  <a:lnTo>
                    <a:pt x="1611" y="642"/>
                  </a:lnTo>
                  <a:lnTo>
                    <a:pt x="1642" y="598"/>
                  </a:lnTo>
                  <a:lnTo>
                    <a:pt x="1669" y="552"/>
                  </a:lnTo>
                  <a:lnTo>
                    <a:pt x="1692" y="503"/>
                  </a:lnTo>
                  <a:lnTo>
                    <a:pt x="1711" y="455"/>
                  </a:lnTo>
                  <a:lnTo>
                    <a:pt x="1727" y="404"/>
                  </a:lnTo>
                  <a:lnTo>
                    <a:pt x="1738" y="352"/>
                  </a:lnTo>
                  <a:lnTo>
                    <a:pt x="1745" y="301"/>
                  </a:lnTo>
                  <a:lnTo>
                    <a:pt x="1748" y="248"/>
                  </a:lnTo>
                  <a:lnTo>
                    <a:pt x="1747" y="196"/>
                  </a:lnTo>
                  <a:lnTo>
                    <a:pt x="1740" y="144"/>
                  </a:lnTo>
                  <a:lnTo>
                    <a:pt x="1505" y="301"/>
                  </a:lnTo>
                  <a:lnTo>
                    <a:pt x="1340" y="195"/>
                  </a:lnTo>
                </a:path>
              </a:pathLst>
            </a:custGeom>
            <a:grpFill/>
            <a:ln w="6350" cap="rnd" cmpd="sng">
              <a:noFill/>
              <a:prstDash val="solid"/>
              <a:round/>
              <a:headEnd/>
              <a:tailEnd/>
            </a:ln>
            <a:effectLst/>
          </p:spPr>
          <p:txBody>
            <a:bodyPr lIns="45720" rIns="45720" anchor="ctr" anchorCtr="1"/>
            <a:lstStyle/>
            <a:p>
              <a:endParaRPr lang="en-US" sz="1400"/>
            </a:p>
          </p:txBody>
        </p:sp>
        <p:sp>
          <p:nvSpPr>
            <p:cNvPr id="18" name="Text Box 18">
              <a:extLst>
                <a:ext uri="{FF2B5EF4-FFF2-40B4-BE49-F238E27FC236}">
                  <a16:creationId xmlns:a16="http://schemas.microsoft.com/office/drawing/2014/main" id="{B4576746-3B13-4EB0-A51E-1144A4AE2C97}"/>
                </a:ext>
              </a:extLst>
            </p:cNvPr>
            <p:cNvSpPr txBox="1">
              <a:spLocks noChangeArrowheads="1"/>
            </p:cNvSpPr>
            <p:nvPr/>
          </p:nvSpPr>
          <p:spPr bwMode="auto">
            <a:xfrm>
              <a:off x="2192338" y="1793753"/>
              <a:ext cx="487362" cy="274885"/>
            </a:xfrm>
            <a:prstGeom prst="rect">
              <a:avLst/>
            </a:prstGeom>
            <a:grpFill/>
            <a:ln w="6350">
              <a:noFill/>
              <a:miter lim="800000"/>
              <a:headEnd/>
              <a:tailEnd/>
            </a:ln>
            <a:effectLst/>
          </p:spPr>
          <p:txBody>
            <a:bodyPr lIns="45720" rIns="45720" anchor="ctr" anchorCtr="1"/>
            <a:lstStyle/>
            <a:p>
              <a:pPr eaLnBrk="0" hangingPunct="0"/>
              <a:r>
                <a:rPr lang="en-US" sz="1400" b="1" dirty="0">
                  <a:solidFill>
                    <a:schemeClr val="bg1"/>
                  </a:solidFill>
                </a:rPr>
                <a:t>Text</a:t>
              </a:r>
            </a:p>
          </p:txBody>
        </p:sp>
        <p:sp>
          <p:nvSpPr>
            <p:cNvPr id="19" name="Text Box 19">
              <a:extLst>
                <a:ext uri="{FF2B5EF4-FFF2-40B4-BE49-F238E27FC236}">
                  <a16:creationId xmlns:a16="http://schemas.microsoft.com/office/drawing/2014/main" id="{940A88A7-3A82-4889-8AE9-DDE70AE309CB}"/>
                </a:ext>
              </a:extLst>
            </p:cNvPr>
            <p:cNvSpPr txBox="1">
              <a:spLocks noChangeArrowheads="1"/>
            </p:cNvSpPr>
            <p:nvPr/>
          </p:nvSpPr>
          <p:spPr bwMode="auto">
            <a:xfrm>
              <a:off x="2192338" y="4252343"/>
              <a:ext cx="487362" cy="274885"/>
            </a:xfrm>
            <a:prstGeom prst="rect">
              <a:avLst/>
            </a:prstGeom>
            <a:grpFill/>
            <a:ln w="6350">
              <a:noFill/>
              <a:miter lim="800000"/>
              <a:headEnd/>
              <a:tailEnd/>
            </a:ln>
            <a:effectLst/>
          </p:spPr>
          <p:txBody>
            <a:bodyPr lIns="45720" rIns="45720" anchor="ctr" anchorCtr="1"/>
            <a:lstStyle/>
            <a:p>
              <a:pPr eaLnBrk="0" hangingPunct="0"/>
              <a:r>
                <a:rPr lang="en-US" sz="1400" b="1">
                  <a:solidFill>
                    <a:schemeClr val="bg1"/>
                  </a:solidFill>
                </a:rPr>
                <a:t>Text</a:t>
              </a:r>
            </a:p>
          </p:txBody>
        </p:sp>
      </p:grpSp>
      <p:grpSp>
        <p:nvGrpSpPr>
          <p:cNvPr id="20" name="Group 19" descr="Add text and order accordingly">
            <a:extLst>
              <a:ext uri="{FF2B5EF4-FFF2-40B4-BE49-F238E27FC236}">
                <a16:creationId xmlns:a16="http://schemas.microsoft.com/office/drawing/2014/main" id="{4A145CB5-8A0E-459C-BE0F-D9332A8A9581}"/>
              </a:ext>
            </a:extLst>
          </p:cNvPr>
          <p:cNvGrpSpPr>
            <a:grpSpLocks noChangeAspect="1"/>
          </p:cNvGrpSpPr>
          <p:nvPr/>
        </p:nvGrpSpPr>
        <p:grpSpPr bwMode="auto">
          <a:xfrm>
            <a:off x="6384033" y="1602136"/>
            <a:ext cx="3397423" cy="4030401"/>
            <a:chOff x="4962525" y="1383988"/>
            <a:chExt cx="3189288" cy="3600810"/>
          </a:xfrm>
        </p:grpSpPr>
        <p:sp>
          <p:nvSpPr>
            <p:cNvPr id="21" name="Freeform 21">
              <a:extLst>
                <a:ext uri="{FF2B5EF4-FFF2-40B4-BE49-F238E27FC236}">
                  <a16:creationId xmlns:a16="http://schemas.microsoft.com/office/drawing/2014/main" id="{DB727780-CDDD-4771-9247-EDBCD241F5B9}"/>
                </a:ext>
              </a:extLst>
            </p:cNvPr>
            <p:cNvSpPr>
              <a:spLocks/>
            </p:cNvSpPr>
            <p:nvPr/>
          </p:nvSpPr>
          <p:spPr bwMode="auto">
            <a:xfrm>
              <a:off x="6364288" y="1638384"/>
              <a:ext cx="1787525" cy="3346414"/>
            </a:xfrm>
            <a:custGeom>
              <a:avLst/>
              <a:gdLst/>
              <a:ahLst/>
              <a:cxnLst>
                <a:cxn ang="0">
                  <a:pos x="333" y="1459"/>
                </a:cxn>
                <a:cxn ang="0">
                  <a:pos x="442" y="1422"/>
                </a:cxn>
                <a:cxn ang="0">
                  <a:pos x="545" y="1372"/>
                </a:cxn>
                <a:cxn ang="0">
                  <a:pos x="641" y="1310"/>
                </a:cxn>
                <a:cxn ang="0">
                  <a:pos x="730" y="1239"/>
                </a:cxn>
                <a:cxn ang="0">
                  <a:pos x="806" y="1158"/>
                </a:cxn>
                <a:cxn ang="0">
                  <a:pos x="869" y="1067"/>
                </a:cxn>
                <a:cxn ang="0">
                  <a:pos x="915" y="970"/>
                </a:cxn>
                <a:cxn ang="0">
                  <a:pos x="947" y="868"/>
                </a:cxn>
                <a:cxn ang="0">
                  <a:pos x="961" y="763"/>
                </a:cxn>
                <a:cxn ang="0">
                  <a:pos x="958" y="656"/>
                </a:cxn>
                <a:cxn ang="0">
                  <a:pos x="936" y="551"/>
                </a:cxn>
                <a:cxn ang="0">
                  <a:pos x="899" y="450"/>
                </a:cxn>
                <a:cxn ang="0">
                  <a:pos x="846" y="355"/>
                </a:cxn>
                <a:cxn ang="0">
                  <a:pos x="778" y="268"/>
                </a:cxn>
                <a:cxn ang="0">
                  <a:pos x="697" y="190"/>
                </a:cxn>
                <a:cxn ang="0">
                  <a:pos x="605" y="125"/>
                </a:cxn>
                <a:cxn ang="0">
                  <a:pos x="502" y="71"/>
                </a:cxn>
                <a:cxn ang="0">
                  <a:pos x="392" y="31"/>
                </a:cxn>
                <a:cxn ang="0">
                  <a:pos x="276" y="7"/>
                </a:cxn>
                <a:cxn ang="0">
                  <a:pos x="289" y="98"/>
                </a:cxn>
                <a:cxn ang="0">
                  <a:pos x="222" y="382"/>
                </a:cxn>
                <a:cxn ang="0">
                  <a:pos x="301" y="408"/>
                </a:cxn>
                <a:cxn ang="0">
                  <a:pos x="373" y="448"/>
                </a:cxn>
                <a:cxn ang="0">
                  <a:pos x="433" y="500"/>
                </a:cxn>
                <a:cxn ang="0">
                  <a:pos x="481" y="562"/>
                </a:cxn>
                <a:cxn ang="0">
                  <a:pos x="513" y="631"/>
                </a:cxn>
                <a:cxn ang="0">
                  <a:pos x="530" y="706"/>
                </a:cxn>
                <a:cxn ang="0">
                  <a:pos x="528" y="781"/>
                </a:cxn>
                <a:cxn ang="0">
                  <a:pos x="509" y="854"/>
                </a:cxn>
                <a:cxn ang="0">
                  <a:pos x="475" y="922"/>
                </a:cxn>
                <a:cxn ang="0">
                  <a:pos x="424" y="983"/>
                </a:cxn>
                <a:cxn ang="0">
                  <a:pos x="361" y="1034"/>
                </a:cxn>
                <a:cxn ang="0">
                  <a:pos x="288" y="1072"/>
                </a:cxn>
                <a:cxn ang="0">
                  <a:pos x="249" y="964"/>
                </a:cxn>
                <a:cxn ang="0">
                  <a:pos x="274" y="1597"/>
                </a:cxn>
              </a:cxnLst>
              <a:rect l="0" t="0" r="r" b="b"/>
              <a:pathLst>
                <a:path w="962" h="1598">
                  <a:moveTo>
                    <a:pt x="274" y="1472"/>
                  </a:moveTo>
                  <a:lnTo>
                    <a:pt x="333" y="1459"/>
                  </a:lnTo>
                  <a:lnTo>
                    <a:pt x="388" y="1442"/>
                  </a:lnTo>
                  <a:lnTo>
                    <a:pt x="442" y="1422"/>
                  </a:lnTo>
                  <a:lnTo>
                    <a:pt x="494" y="1398"/>
                  </a:lnTo>
                  <a:lnTo>
                    <a:pt x="545" y="1372"/>
                  </a:lnTo>
                  <a:lnTo>
                    <a:pt x="592" y="1341"/>
                  </a:lnTo>
                  <a:lnTo>
                    <a:pt x="641" y="1310"/>
                  </a:lnTo>
                  <a:lnTo>
                    <a:pt x="686" y="1276"/>
                  </a:lnTo>
                  <a:lnTo>
                    <a:pt x="730" y="1239"/>
                  </a:lnTo>
                  <a:lnTo>
                    <a:pt x="770" y="1200"/>
                  </a:lnTo>
                  <a:lnTo>
                    <a:pt x="806" y="1158"/>
                  </a:lnTo>
                  <a:lnTo>
                    <a:pt x="838" y="1114"/>
                  </a:lnTo>
                  <a:lnTo>
                    <a:pt x="869" y="1067"/>
                  </a:lnTo>
                  <a:lnTo>
                    <a:pt x="894" y="1019"/>
                  </a:lnTo>
                  <a:lnTo>
                    <a:pt x="915" y="970"/>
                  </a:lnTo>
                  <a:lnTo>
                    <a:pt x="933" y="920"/>
                  </a:lnTo>
                  <a:lnTo>
                    <a:pt x="947" y="868"/>
                  </a:lnTo>
                  <a:lnTo>
                    <a:pt x="956" y="815"/>
                  </a:lnTo>
                  <a:lnTo>
                    <a:pt x="961" y="763"/>
                  </a:lnTo>
                  <a:lnTo>
                    <a:pt x="961" y="709"/>
                  </a:lnTo>
                  <a:lnTo>
                    <a:pt x="958" y="656"/>
                  </a:lnTo>
                  <a:lnTo>
                    <a:pt x="949" y="604"/>
                  </a:lnTo>
                  <a:lnTo>
                    <a:pt x="936" y="551"/>
                  </a:lnTo>
                  <a:lnTo>
                    <a:pt x="921" y="500"/>
                  </a:lnTo>
                  <a:lnTo>
                    <a:pt x="899" y="450"/>
                  </a:lnTo>
                  <a:lnTo>
                    <a:pt x="876" y="402"/>
                  </a:lnTo>
                  <a:lnTo>
                    <a:pt x="846" y="355"/>
                  </a:lnTo>
                  <a:lnTo>
                    <a:pt x="814" y="310"/>
                  </a:lnTo>
                  <a:lnTo>
                    <a:pt x="778" y="268"/>
                  </a:lnTo>
                  <a:lnTo>
                    <a:pt x="740" y="228"/>
                  </a:lnTo>
                  <a:lnTo>
                    <a:pt x="697" y="190"/>
                  </a:lnTo>
                  <a:lnTo>
                    <a:pt x="652" y="157"/>
                  </a:lnTo>
                  <a:lnTo>
                    <a:pt x="605" y="125"/>
                  </a:lnTo>
                  <a:lnTo>
                    <a:pt x="554" y="96"/>
                  </a:lnTo>
                  <a:lnTo>
                    <a:pt x="502" y="71"/>
                  </a:lnTo>
                  <a:lnTo>
                    <a:pt x="448" y="49"/>
                  </a:lnTo>
                  <a:lnTo>
                    <a:pt x="392" y="31"/>
                  </a:lnTo>
                  <a:lnTo>
                    <a:pt x="335" y="17"/>
                  </a:lnTo>
                  <a:lnTo>
                    <a:pt x="276" y="7"/>
                  </a:lnTo>
                  <a:lnTo>
                    <a:pt x="218" y="0"/>
                  </a:lnTo>
                  <a:lnTo>
                    <a:pt x="289" y="98"/>
                  </a:lnTo>
                  <a:lnTo>
                    <a:pt x="363" y="195"/>
                  </a:lnTo>
                  <a:lnTo>
                    <a:pt x="222" y="382"/>
                  </a:lnTo>
                  <a:lnTo>
                    <a:pt x="264" y="393"/>
                  </a:lnTo>
                  <a:lnTo>
                    <a:pt x="301" y="408"/>
                  </a:lnTo>
                  <a:lnTo>
                    <a:pt x="339" y="426"/>
                  </a:lnTo>
                  <a:lnTo>
                    <a:pt x="373" y="448"/>
                  </a:lnTo>
                  <a:lnTo>
                    <a:pt x="405" y="472"/>
                  </a:lnTo>
                  <a:lnTo>
                    <a:pt x="433" y="500"/>
                  </a:lnTo>
                  <a:lnTo>
                    <a:pt x="460" y="530"/>
                  </a:lnTo>
                  <a:lnTo>
                    <a:pt x="481" y="562"/>
                  </a:lnTo>
                  <a:lnTo>
                    <a:pt x="500" y="596"/>
                  </a:lnTo>
                  <a:lnTo>
                    <a:pt x="513" y="631"/>
                  </a:lnTo>
                  <a:lnTo>
                    <a:pt x="523" y="668"/>
                  </a:lnTo>
                  <a:lnTo>
                    <a:pt x="530" y="706"/>
                  </a:lnTo>
                  <a:lnTo>
                    <a:pt x="531" y="743"/>
                  </a:lnTo>
                  <a:lnTo>
                    <a:pt x="528" y="781"/>
                  </a:lnTo>
                  <a:lnTo>
                    <a:pt x="521" y="818"/>
                  </a:lnTo>
                  <a:lnTo>
                    <a:pt x="509" y="854"/>
                  </a:lnTo>
                  <a:lnTo>
                    <a:pt x="493" y="890"/>
                  </a:lnTo>
                  <a:lnTo>
                    <a:pt x="475" y="922"/>
                  </a:lnTo>
                  <a:lnTo>
                    <a:pt x="451" y="954"/>
                  </a:lnTo>
                  <a:lnTo>
                    <a:pt x="424" y="983"/>
                  </a:lnTo>
                  <a:lnTo>
                    <a:pt x="395" y="1010"/>
                  </a:lnTo>
                  <a:lnTo>
                    <a:pt x="361" y="1034"/>
                  </a:lnTo>
                  <a:lnTo>
                    <a:pt x="326" y="1055"/>
                  </a:lnTo>
                  <a:lnTo>
                    <a:pt x="288" y="1072"/>
                  </a:lnTo>
                  <a:lnTo>
                    <a:pt x="249" y="1085"/>
                  </a:lnTo>
                  <a:lnTo>
                    <a:pt x="249" y="964"/>
                  </a:lnTo>
                  <a:lnTo>
                    <a:pt x="0" y="1252"/>
                  </a:lnTo>
                  <a:lnTo>
                    <a:pt x="274" y="1597"/>
                  </a:lnTo>
                  <a:lnTo>
                    <a:pt x="274" y="1472"/>
                  </a:lnTo>
                </a:path>
              </a:pathLst>
            </a:custGeom>
            <a:solidFill>
              <a:schemeClr val="accent3"/>
            </a:solidFill>
            <a:ln w="6350" cap="rnd" cmpd="sng">
              <a:noFill/>
              <a:prstDash val="solid"/>
              <a:round/>
              <a:headEnd/>
              <a:tailEnd/>
            </a:ln>
            <a:effectLst/>
          </p:spPr>
          <p:txBody>
            <a:bodyPr lIns="45720" rIns="45720" anchor="ctr" anchorCtr="1"/>
            <a:lstStyle/>
            <a:p>
              <a:endParaRPr lang="en-US" sz="1400"/>
            </a:p>
          </p:txBody>
        </p:sp>
        <p:sp>
          <p:nvSpPr>
            <p:cNvPr id="22" name="Freeform 22">
              <a:extLst>
                <a:ext uri="{FF2B5EF4-FFF2-40B4-BE49-F238E27FC236}">
                  <a16:creationId xmlns:a16="http://schemas.microsoft.com/office/drawing/2014/main" id="{1517E562-C6C0-422C-BB70-35FAE416C9BF}"/>
                </a:ext>
              </a:extLst>
            </p:cNvPr>
            <p:cNvSpPr>
              <a:spLocks/>
            </p:cNvSpPr>
            <p:nvPr/>
          </p:nvSpPr>
          <p:spPr bwMode="auto">
            <a:xfrm>
              <a:off x="4962525" y="1383988"/>
              <a:ext cx="1984375" cy="3370317"/>
            </a:xfrm>
            <a:custGeom>
              <a:avLst/>
              <a:gdLst/>
              <a:ahLst/>
              <a:cxnLst>
                <a:cxn ang="0">
                  <a:pos x="777" y="1225"/>
                </a:cxn>
                <a:cxn ang="0">
                  <a:pos x="694" y="1206"/>
                </a:cxn>
                <a:cxn ang="0">
                  <a:pos x="618" y="1171"/>
                </a:cxn>
                <a:cxn ang="0">
                  <a:pos x="550" y="1123"/>
                </a:cxn>
                <a:cxn ang="0">
                  <a:pos x="496" y="1064"/>
                </a:cxn>
                <a:cxn ang="0">
                  <a:pos x="457" y="996"/>
                </a:cxn>
                <a:cxn ang="0">
                  <a:pos x="433" y="921"/>
                </a:cxn>
                <a:cxn ang="0">
                  <a:pos x="427" y="845"/>
                </a:cxn>
                <a:cxn ang="0">
                  <a:pos x="439" y="769"/>
                </a:cxn>
                <a:cxn ang="0">
                  <a:pos x="467" y="697"/>
                </a:cxn>
                <a:cxn ang="0">
                  <a:pos x="512" y="631"/>
                </a:cxn>
                <a:cxn ang="0">
                  <a:pos x="571" y="576"/>
                </a:cxn>
                <a:cxn ang="0">
                  <a:pos x="641" y="532"/>
                </a:cxn>
                <a:cxn ang="0">
                  <a:pos x="716" y="502"/>
                </a:cxn>
                <a:cxn ang="0">
                  <a:pos x="797" y="487"/>
                </a:cxn>
                <a:cxn ang="0">
                  <a:pos x="838" y="595"/>
                </a:cxn>
                <a:cxn ang="0">
                  <a:pos x="833" y="0"/>
                </a:cxn>
                <a:cxn ang="0">
                  <a:pos x="774" y="110"/>
                </a:cxn>
                <a:cxn ang="0">
                  <a:pos x="658" y="127"/>
                </a:cxn>
                <a:cxn ang="0">
                  <a:pos x="545" y="159"/>
                </a:cxn>
                <a:cxn ang="0">
                  <a:pos x="439" y="206"/>
                </a:cxn>
                <a:cxn ang="0">
                  <a:pos x="338" y="262"/>
                </a:cxn>
                <a:cxn ang="0">
                  <a:pos x="248" y="331"/>
                </a:cxn>
                <a:cxn ang="0">
                  <a:pos x="170" y="411"/>
                </a:cxn>
                <a:cxn ang="0">
                  <a:pos x="105" y="499"/>
                </a:cxn>
                <a:cxn ang="0">
                  <a:pos x="55" y="595"/>
                </a:cxn>
                <a:cxn ang="0">
                  <a:pos x="20" y="697"/>
                </a:cxn>
                <a:cxn ang="0">
                  <a:pos x="2" y="802"/>
                </a:cxn>
                <a:cxn ang="0">
                  <a:pos x="1" y="908"/>
                </a:cxn>
                <a:cxn ang="0">
                  <a:pos x="17" y="1013"/>
                </a:cxn>
                <a:cxn ang="0">
                  <a:pos x="49" y="1115"/>
                </a:cxn>
                <a:cxn ang="0">
                  <a:pos x="97" y="1212"/>
                </a:cxn>
                <a:cxn ang="0">
                  <a:pos x="160" y="1302"/>
                </a:cxn>
                <a:cxn ang="0">
                  <a:pos x="237" y="1383"/>
                </a:cxn>
                <a:cxn ang="0">
                  <a:pos x="325" y="1453"/>
                </a:cxn>
                <a:cxn ang="0">
                  <a:pos x="424" y="1511"/>
                </a:cxn>
                <a:cxn ang="0">
                  <a:pos x="531" y="1557"/>
                </a:cxn>
                <a:cxn ang="0">
                  <a:pos x="644" y="1588"/>
                </a:cxn>
                <a:cxn ang="0">
                  <a:pos x="760" y="1605"/>
                </a:cxn>
                <a:cxn ang="0">
                  <a:pos x="879" y="1607"/>
                </a:cxn>
                <a:cxn ang="0">
                  <a:pos x="819" y="1230"/>
                </a:cxn>
              </a:cxnLst>
              <a:rect l="0" t="0" r="r" b="b"/>
              <a:pathLst>
                <a:path w="1068" h="1609">
                  <a:moveTo>
                    <a:pt x="819" y="1230"/>
                  </a:moveTo>
                  <a:lnTo>
                    <a:pt x="777" y="1225"/>
                  </a:lnTo>
                  <a:lnTo>
                    <a:pt x="734" y="1217"/>
                  </a:lnTo>
                  <a:lnTo>
                    <a:pt x="694" y="1206"/>
                  </a:lnTo>
                  <a:lnTo>
                    <a:pt x="655" y="1190"/>
                  </a:lnTo>
                  <a:lnTo>
                    <a:pt x="618" y="1171"/>
                  </a:lnTo>
                  <a:lnTo>
                    <a:pt x="583" y="1148"/>
                  </a:lnTo>
                  <a:lnTo>
                    <a:pt x="550" y="1123"/>
                  </a:lnTo>
                  <a:lnTo>
                    <a:pt x="522" y="1094"/>
                  </a:lnTo>
                  <a:lnTo>
                    <a:pt x="496" y="1064"/>
                  </a:lnTo>
                  <a:lnTo>
                    <a:pt x="474" y="1030"/>
                  </a:lnTo>
                  <a:lnTo>
                    <a:pt x="457" y="996"/>
                  </a:lnTo>
                  <a:lnTo>
                    <a:pt x="443" y="959"/>
                  </a:lnTo>
                  <a:lnTo>
                    <a:pt x="433" y="921"/>
                  </a:lnTo>
                  <a:lnTo>
                    <a:pt x="427" y="884"/>
                  </a:lnTo>
                  <a:lnTo>
                    <a:pt x="427" y="845"/>
                  </a:lnTo>
                  <a:lnTo>
                    <a:pt x="431" y="807"/>
                  </a:lnTo>
                  <a:lnTo>
                    <a:pt x="439" y="769"/>
                  </a:lnTo>
                  <a:lnTo>
                    <a:pt x="451" y="733"/>
                  </a:lnTo>
                  <a:lnTo>
                    <a:pt x="467" y="697"/>
                  </a:lnTo>
                  <a:lnTo>
                    <a:pt x="487" y="663"/>
                  </a:lnTo>
                  <a:lnTo>
                    <a:pt x="512" y="631"/>
                  </a:lnTo>
                  <a:lnTo>
                    <a:pt x="539" y="602"/>
                  </a:lnTo>
                  <a:lnTo>
                    <a:pt x="571" y="576"/>
                  </a:lnTo>
                  <a:lnTo>
                    <a:pt x="603" y="552"/>
                  </a:lnTo>
                  <a:lnTo>
                    <a:pt x="641" y="532"/>
                  </a:lnTo>
                  <a:lnTo>
                    <a:pt x="677" y="515"/>
                  </a:lnTo>
                  <a:lnTo>
                    <a:pt x="716" y="502"/>
                  </a:lnTo>
                  <a:lnTo>
                    <a:pt x="756" y="493"/>
                  </a:lnTo>
                  <a:lnTo>
                    <a:pt x="797" y="487"/>
                  </a:lnTo>
                  <a:lnTo>
                    <a:pt x="838" y="484"/>
                  </a:lnTo>
                  <a:lnTo>
                    <a:pt x="838" y="595"/>
                  </a:lnTo>
                  <a:lnTo>
                    <a:pt x="1067" y="311"/>
                  </a:lnTo>
                  <a:lnTo>
                    <a:pt x="833" y="0"/>
                  </a:lnTo>
                  <a:lnTo>
                    <a:pt x="833" y="106"/>
                  </a:lnTo>
                  <a:lnTo>
                    <a:pt x="774" y="110"/>
                  </a:lnTo>
                  <a:lnTo>
                    <a:pt x="715" y="117"/>
                  </a:lnTo>
                  <a:lnTo>
                    <a:pt x="658" y="127"/>
                  </a:lnTo>
                  <a:lnTo>
                    <a:pt x="600" y="142"/>
                  </a:lnTo>
                  <a:lnTo>
                    <a:pt x="545" y="159"/>
                  </a:lnTo>
                  <a:lnTo>
                    <a:pt x="491" y="181"/>
                  </a:lnTo>
                  <a:lnTo>
                    <a:pt x="439" y="206"/>
                  </a:lnTo>
                  <a:lnTo>
                    <a:pt x="388" y="232"/>
                  </a:lnTo>
                  <a:lnTo>
                    <a:pt x="338" y="262"/>
                  </a:lnTo>
                  <a:lnTo>
                    <a:pt x="292" y="295"/>
                  </a:lnTo>
                  <a:lnTo>
                    <a:pt x="248" y="331"/>
                  </a:lnTo>
                  <a:lnTo>
                    <a:pt x="207" y="370"/>
                  </a:lnTo>
                  <a:lnTo>
                    <a:pt x="170" y="411"/>
                  </a:lnTo>
                  <a:lnTo>
                    <a:pt x="135" y="454"/>
                  </a:lnTo>
                  <a:lnTo>
                    <a:pt x="105" y="499"/>
                  </a:lnTo>
                  <a:lnTo>
                    <a:pt x="77" y="547"/>
                  </a:lnTo>
                  <a:lnTo>
                    <a:pt x="55" y="595"/>
                  </a:lnTo>
                  <a:lnTo>
                    <a:pt x="36" y="646"/>
                  </a:lnTo>
                  <a:lnTo>
                    <a:pt x="20" y="697"/>
                  </a:lnTo>
                  <a:lnTo>
                    <a:pt x="9" y="750"/>
                  </a:lnTo>
                  <a:lnTo>
                    <a:pt x="2" y="802"/>
                  </a:lnTo>
                  <a:lnTo>
                    <a:pt x="0" y="855"/>
                  </a:lnTo>
                  <a:lnTo>
                    <a:pt x="1" y="908"/>
                  </a:lnTo>
                  <a:lnTo>
                    <a:pt x="6" y="961"/>
                  </a:lnTo>
                  <a:lnTo>
                    <a:pt x="17" y="1013"/>
                  </a:lnTo>
                  <a:lnTo>
                    <a:pt x="30" y="1065"/>
                  </a:lnTo>
                  <a:lnTo>
                    <a:pt x="49" y="1115"/>
                  </a:lnTo>
                  <a:lnTo>
                    <a:pt x="71" y="1164"/>
                  </a:lnTo>
                  <a:lnTo>
                    <a:pt x="97" y="1212"/>
                  </a:lnTo>
                  <a:lnTo>
                    <a:pt x="127" y="1258"/>
                  </a:lnTo>
                  <a:lnTo>
                    <a:pt x="160" y="1302"/>
                  </a:lnTo>
                  <a:lnTo>
                    <a:pt x="197" y="1344"/>
                  </a:lnTo>
                  <a:lnTo>
                    <a:pt x="237" y="1383"/>
                  </a:lnTo>
                  <a:lnTo>
                    <a:pt x="278" y="1420"/>
                  </a:lnTo>
                  <a:lnTo>
                    <a:pt x="325" y="1453"/>
                  </a:lnTo>
                  <a:lnTo>
                    <a:pt x="373" y="1484"/>
                  </a:lnTo>
                  <a:lnTo>
                    <a:pt x="424" y="1511"/>
                  </a:lnTo>
                  <a:lnTo>
                    <a:pt x="476" y="1536"/>
                  </a:lnTo>
                  <a:lnTo>
                    <a:pt x="531" y="1557"/>
                  </a:lnTo>
                  <a:lnTo>
                    <a:pt x="586" y="1574"/>
                  </a:lnTo>
                  <a:lnTo>
                    <a:pt x="644" y="1588"/>
                  </a:lnTo>
                  <a:lnTo>
                    <a:pt x="702" y="1599"/>
                  </a:lnTo>
                  <a:lnTo>
                    <a:pt x="760" y="1605"/>
                  </a:lnTo>
                  <a:lnTo>
                    <a:pt x="820" y="1608"/>
                  </a:lnTo>
                  <a:lnTo>
                    <a:pt x="879" y="1607"/>
                  </a:lnTo>
                  <a:lnTo>
                    <a:pt x="697" y="1374"/>
                  </a:lnTo>
                  <a:lnTo>
                    <a:pt x="819" y="1230"/>
                  </a:lnTo>
                </a:path>
              </a:pathLst>
            </a:custGeom>
            <a:solidFill>
              <a:schemeClr val="accent3"/>
            </a:solidFill>
            <a:ln w="6350" cap="rnd" cmpd="sng">
              <a:noFill/>
              <a:prstDash val="solid"/>
              <a:round/>
              <a:headEnd/>
              <a:tailEnd/>
            </a:ln>
            <a:effectLst/>
          </p:spPr>
          <p:txBody>
            <a:bodyPr lIns="45720" rIns="45720" anchor="ctr" anchorCtr="1"/>
            <a:lstStyle/>
            <a:p>
              <a:endParaRPr lang="en-US" sz="1400"/>
            </a:p>
          </p:txBody>
        </p:sp>
        <p:sp>
          <p:nvSpPr>
            <p:cNvPr id="23" name="Text Box 23">
              <a:extLst>
                <a:ext uri="{FF2B5EF4-FFF2-40B4-BE49-F238E27FC236}">
                  <a16:creationId xmlns:a16="http://schemas.microsoft.com/office/drawing/2014/main" id="{73D8D616-6C3C-4F11-B6C1-0BF406044286}"/>
                </a:ext>
              </a:extLst>
            </p:cNvPr>
            <p:cNvSpPr txBox="1">
              <a:spLocks noChangeArrowheads="1"/>
            </p:cNvSpPr>
            <p:nvPr/>
          </p:nvSpPr>
          <p:spPr bwMode="auto">
            <a:xfrm>
              <a:off x="5151438" y="2932559"/>
              <a:ext cx="487362" cy="274883"/>
            </a:xfrm>
            <a:prstGeom prst="rect">
              <a:avLst/>
            </a:prstGeom>
            <a:noFill/>
            <a:ln w="6350">
              <a:noFill/>
              <a:miter lim="800000"/>
              <a:headEnd/>
              <a:tailEnd/>
            </a:ln>
            <a:effectLst/>
          </p:spPr>
          <p:txBody>
            <a:bodyPr lIns="45720" rIns="45720" anchor="ctr" anchorCtr="1"/>
            <a:lstStyle/>
            <a:p>
              <a:pPr eaLnBrk="0" hangingPunct="0"/>
              <a:r>
                <a:rPr lang="en-US" sz="1400" b="1">
                  <a:solidFill>
                    <a:schemeClr val="bg1"/>
                  </a:solidFill>
                </a:rPr>
                <a:t>Text</a:t>
              </a:r>
            </a:p>
          </p:txBody>
        </p:sp>
        <p:sp>
          <p:nvSpPr>
            <p:cNvPr id="24" name="Text Box 24">
              <a:extLst>
                <a:ext uri="{FF2B5EF4-FFF2-40B4-BE49-F238E27FC236}">
                  <a16:creationId xmlns:a16="http://schemas.microsoft.com/office/drawing/2014/main" id="{DBE2C71D-3137-4C14-AA5C-11BD3321ED8E}"/>
                </a:ext>
              </a:extLst>
            </p:cNvPr>
            <p:cNvSpPr txBox="1">
              <a:spLocks noChangeArrowheads="1"/>
            </p:cNvSpPr>
            <p:nvPr/>
          </p:nvSpPr>
          <p:spPr bwMode="auto">
            <a:xfrm>
              <a:off x="7499350" y="2932559"/>
              <a:ext cx="487363" cy="274883"/>
            </a:xfrm>
            <a:prstGeom prst="rect">
              <a:avLst/>
            </a:prstGeom>
            <a:noFill/>
            <a:ln w="6350">
              <a:noFill/>
              <a:miter lim="800000"/>
              <a:headEnd/>
              <a:tailEnd/>
            </a:ln>
            <a:effectLst/>
          </p:spPr>
          <p:txBody>
            <a:bodyPr lIns="45720" rIns="45720" anchor="ctr" anchorCtr="1"/>
            <a:lstStyle/>
            <a:p>
              <a:pPr eaLnBrk="0" hangingPunct="0"/>
              <a:r>
                <a:rPr lang="en-US" sz="1400" b="1" dirty="0">
                  <a:solidFill>
                    <a:schemeClr val="bg1"/>
                  </a:solidFill>
                </a:rPr>
                <a:t>Text</a:t>
              </a:r>
            </a:p>
          </p:txBody>
        </p:sp>
      </p:grpSp>
      <p:sp>
        <p:nvSpPr>
          <p:cNvPr id="5" name="Footer Placeholder 4">
            <a:extLst>
              <a:ext uri="{FF2B5EF4-FFF2-40B4-BE49-F238E27FC236}">
                <a16:creationId xmlns:a16="http://schemas.microsoft.com/office/drawing/2014/main" id="{A0CD89F8-6BF0-4139-87AE-4BF6B761479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2E3424E7-AF85-424A-B603-2E860A9C68BF}"/>
              </a:ext>
            </a:extLst>
          </p:cNvPr>
          <p:cNvSpPr>
            <a:spLocks noGrp="1"/>
          </p:cNvSpPr>
          <p:nvPr>
            <p:ph type="sldNum" sz="quarter" idx="10"/>
          </p:nvPr>
        </p:nvSpPr>
        <p:spPr/>
        <p:txBody>
          <a:bodyPr/>
          <a:lstStyle/>
          <a:p>
            <a:fld id="{1F90F471-3972-4120-B8B3-0237DE626C35}" type="slidenum">
              <a:rPr lang="en-US" smtClean="0"/>
              <a:pPr/>
              <a:t>248</a:t>
            </a:fld>
            <a:endParaRPr lang="en-US" dirty="0"/>
          </a:p>
        </p:txBody>
      </p:sp>
    </p:spTree>
    <p:extLst>
      <p:ext uri="{BB962C8B-B14F-4D97-AF65-F5344CB8AC3E}">
        <p14:creationId xmlns:p14="http://schemas.microsoft.com/office/powerpoint/2010/main" val="2963984803"/>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Circular Flow 3</a:t>
            </a:r>
          </a:p>
        </p:txBody>
      </p:sp>
      <p:grpSp>
        <p:nvGrpSpPr>
          <p:cNvPr id="12" name="Group 23" descr="Add text and order accordingly">
            <a:extLst>
              <a:ext uri="{FF2B5EF4-FFF2-40B4-BE49-F238E27FC236}">
                <a16:creationId xmlns:a16="http://schemas.microsoft.com/office/drawing/2014/main" id="{F25A5001-CD1A-412C-AAB5-1C189EE2E68A}"/>
              </a:ext>
            </a:extLst>
          </p:cNvPr>
          <p:cNvGrpSpPr>
            <a:grpSpLocks/>
          </p:cNvGrpSpPr>
          <p:nvPr/>
        </p:nvGrpSpPr>
        <p:grpSpPr bwMode="auto">
          <a:xfrm>
            <a:off x="3251684" y="1260972"/>
            <a:ext cx="4814490" cy="5012344"/>
            <a:chOff x="1471" y="1182"/>
            <a:chExt cx="2702" cy="2704"/>
          </a:xfrm>
        </p:grpSpPr>
        <p:sp>
          <p:nvSpPr>
            <p:cNvPr id="13" name="Freeform 16">
              <a:extLst>
                <a:ext uri="{FF2B5EF4-FFF2-40B4-BE49-F238E27FC236}">
                  <a16:creationId xmlns:a16="http://schemas.microsoft.com/office/drawing/2014/main" id="{D95C1CB8-07EF-4904-B033-E0E3BF020794}"/>
                </a:ext>
              </a:extLst>
            </p:cNvPr>
            <p:cNvSpPr>
              <a:spLocks/>
            </p:cNvSpPr>
            <p:nvPr/>
          </p:nvSpPr>
          <p:spPr bwMode="auto">
            <a:xfrm flipV="1">
              <a:off x="2641" y="2281"/>
              <a:ext cx="1532" cy="1605"/>
            </a:xfrm>
            <a:custGeom>
              <a:avLst/>
              <a:gdLst/>
              <a:ahLst/>
              <a:cxnLst>
                <a:cxn ang="0">
                  <a:pos x="2392" y="2389"/>
                </a:cxn>
                <a:cxn ang="0">
                  <a:pos x="1705" y="2500"/>
                </a:cxn>
                <a:cxn ang="0">
                  <a:pos x="1719" y="2386"/>
                </a:cxn>
                <a:cxn ang="0">
                  <a:pos x="1715" y="2248"/>
                </a:cxn>
                <a:cxn ang="0">
                  <a:pos x="1691" y="2098"/>
                </a:cxn>
                <a:cxn ang="0">
                  <a:pos x="1645" y="1962"/>
                </a:cxn>
                <a:cxn ang="0">
                  <a:pos x="1588" y="1840"/>
                </a:cxn>
                <a:cxn ang="0">
                  <a:pos x="1531" y="1756"/>
                </a:cxn>
                <a:cxn ang="0">
                  <a:pos x="1471" y="1680"/>
                </a:cxn>
                <a:cxn ang="0">
                  <a:pos x="1405" y="1612"/>
                </a:cxn>
                <a:cxn ang="0">
                  <a:pos x="1337" y="1549"/>
                </a:cxn>
                <a:cxn ang="0">
                  <a:pos x="1249" y="1489"/>
                </a:cxn>
                <a:cxn ang="0">
                  <a:pos x="1175" y="1443"/>
                </a:cxn>
                <a:cxn ang="0">
                  <a:pos x="1082" y="1397"/>
                </a:cxn>
                <a:cxn ang="0">
                  <a:pos x="1003" y="1368"/>
                </a:cxn>
                <a:cxn ang="0">
                  <a:pos x="887" y="1345"/>
                </a:cxn>
                <a:cxn ang="0">
                  <a:pos x="772" y="1334"/>
                </a:cxn>
                <a:cxn ang="0">
                  <a:pos x="739" y="1814"/>
                </a:cxn>
                <a:cxn ang="0">
                  <a:pos x="737" y="0"/>
                </a:cxn>
                <a:cxn ang="0">
                  <a:pos x="778" y="416"/>
                </a:cxn>
                <a:cxn ang="0">
                  <a:pos x="895" y="423"/>
                </a:cxn>
                <a:cxn ang="0">
                  <a:pos x="1001" y="435"/>
                </a:cxn>
                <a:cxn ang="0">
                  <a:pos x="1085" y="448"/>
                </a:cxn>
                <a:cxn ang="0">
                  <a:pos x="1167" y="469"/>
                </a:cxn>
                <a:cxn ang="0">
                  <a:pos x="1245" y="491"/>
                </a:cxn>
                <a:cxn ang="0">
                  <a:pos x="1321" y="513"/>
                </a:cxn>
                <a:cxn ang="0">
                  <a:pos x="1411" y="549"/>
                </a:cxn>
                <a:cxn ang="0">
                  <a:pos x="1493" y="582"/>
                </a:cxn>
                <a:cxn ang="0">
                  <a:pos x="1583" y="625"/>
                </a:cxn>
                <a:cxn ang="0">
                  <a:pos x="1661" y="669"/>
                </a:cxn>
                <a:cxn ang="0">
                  <a:pos x="1729" y="712"/>
                </a:cxn>
                <a:cxn ang="0">
                  <a:pos x="1809" y="763"/>
                </a:cxn>
                <a:cxn ang="0">
                  <a:pos x="1882" y="818"/>
                </a:cxn>
                <a:cxn ang="0">
                  <a:pos x="1971" y="891"/>
                </a:cxn>
                <a:cxn ang="0">
                  <a:pos x="2071" y="983"/>
                </a:cxn>
                <a:cxn ang="0">
                  <a:pos x="2159" y="1082"/>
                </a:cxn>
                <a:cxn ang="0">
                  <a:pos x="2243" y="1185"/>
                </a:cxn>
                <a:cxn ang="0">
                  <a:pos x="2315" y="1294"/>
                </a:cxn>
                <a:cxn ang="0">
                  <a:pos x="2385" y="1410"/>
                </a:cxn>
                <a:cxn ang="0">
                  <a:pos x="2447" y="1527"/>
                </a:cxn>
                <a:cxn ang="0">
                  <a:pos x="2499" y="1652"/>
                </a:cxn>
                <a:cxn ang="0">
                  <a:pos x="2553" y="1808"/>
                </a:cxn>
                <a:cxn ang="0">
                  <a:pos x="2593" y="1970"/>
                </a:cxn>
                <a:cxn ang="0">
                  <a:pos x="2616" y="2144"/>
                </a:cxn>
                <a:cxn ang="0">
                  <a:pos x="2629" y="2351"/>
                </a:cxn>
                <a:cxn ang="0">
                  <a:pos x="2619" y="2526"/>
                </a:cxn>
                <a:cxn ang="0">
                  <a:pos x="2599" y="2690"/>
                </a:cxn>
                <a:cxn ang="0">
                  <a:pos x="2556" y="2868"/>
                </a:cxn>
              </a:cxnLst>
              <a:rect l="0" t="0" r="r" b="b"/>
              <a:pathLst>
                <a:path w="2629" h="2873">
                  <a:moveTo>
                    <a:pt x="2554" y="2873"/>
                  </a:moveTo>
                  <a:lnTo>
                    <a:pt x="2392" y="2389"/>
                  </a:lnTo>
                  <a:lnTo>
                    <a:pt x="2392" y="2387"/>
                  </a:lnTo>
                  <a:lnTo>
                    <a:pt x="1705" y="2500"/>
                  </a:lnTo>
                  <a:lnTo>
                    <a:pt x="1713" y="2446"/>
                  </a:lnTo>
                  <a:lnTo>
                    <a:pt x="1719" y="2386"/>
                  </a:lnTo>
                  <a:lnTo>
                    <a:pt x="1719" y="2322"/>
                  </a:lnTo>
                  <a:lnTo>
                    <a:pt x="1715" y="2248"/>
                  </a:lnTo>
                  <a:lnTo>
                    <a:pt x="1705" y="2178"/>
                  </a:lnTo>
                  <a:lnTo>
                    <a:pt x="1691" y="2098"/>
                  </a:lnTo>
                  <a:lnTo>
                    <a:pt x="1673" y="2034"/>
                  </a:lnTo>
                  <a:lnTo>
                    <a:pt x="1645" y="1962"/>
                  </a:lnTo>
                  <a:lnTo>
                    <a:pt x="1619" y="1900"/>
                  </a:lnTo>
                  <a:lnTo>
                    <a:pt x="1588" y="1840"/>
                  </a:lnTo>
                  <a:lnTo>
                    <a:pt x="1559" y="1794"/>
                  </a:lnTo>
                  <a:lnTo>
                    <a:pt x="1531" y="1756"/>
                  </a:lnTo>
                  <a:lnTo>
                    <a:pt x="1503" y="1718"/>
                  </a:lnTo>
                  <a:lnTo>
                    <a:pt x="1471" y="1680"/>
                  </a:lnTo>
                  <a:lnTo>
                    <a:pt x="1435" y="1640"/>
                  </a:lnTo>
                  <a:lnTo>
                    <a:pt x="1405" y="1612"/>
                  </a:lnTo>
                  <a:lnTo>
                    <a:pt x="1371" y="1579"/>
                  </a:lnTo>
                  <a:lnTo>
                    <a:pt x="1337" y="1549"/>
                  </a:lnTo>
                  <a:lnTo>
                    <a:pt x="1297" y="1519"/>
                  </a:lnTo>
                  <a:lnTo>
                    <a:pt x="1249" y="1489"/>
                  </a:lnTo>
                  <a:lnTo>
                    <a:pt x="1210" y="1460"/>
                  </a:lnTo>
                  <a:lnTo>
                    <a:pt x="1175" y="1443"/>
                  </a:lnTo>
                  <a:lnTo>
                    <a:pt x="1125" y="1413"/>
                  </a:lnTo>
                  <a:lnTo>
                    <a:pt x="1082" y="1397"/>
                  </a:lnTo>
                  <a:lnTo>
                    <a:pt x="1044" y="1383"/>
                  </a:lnTo>
                  <a:lnTo>
                    <a:pt x="1003" y="1368"/>
                  </a:lnTo>
                  <a:lnTo>
                    <a:pt x="943" y="1354"/>
                  </a:lnTo>
                  <a:lnTo>
                    <a:pt x="887" y="1345"/>
                  </a:lnTo>
                  <a:lnTo>
                    <a:pt x="829" y="1338"/>
                  </a:lnTo>
                  <a:lnTo>
                    <a:pt x="772" y="1334"/>
                  </a:lnTo>
                  <a:lnTo>
                    <a:pt x="739" y="1332"/>
                  </a:lnTo>
                  <a:lnTo>
                    <a:pt x="739" y="1814"/>
                  </a:lnTo>
                  <a:lnTo>
                    <a:pt x="0" y="921"/>
                  </a:lnTo>
                  <a:lnTo>
                    <a:pt x="737" y="0"/>
                  </a:lnTo>
                  <a:lnTo>
                    <a:pt x="737" y="415"/>
                  </a:lnTo>
                  <a:lnTo>
                    <a:pt x="778" y="416"/>
                  </a:lnTo>
                  <a:lnTo>
                    <a:pt x="835" y="418"/>
                  </a:lnTo>
                  <a:lnTo>
                    <a:pt x="895" y="423"/>
                  </a:lnTo>
                  <a:lnTo>
                    <a:pt x="954" y="429"/>
                  </a:lnTo>
                  <a:lnTo>
                    <a:pt x="1001" y="435"/>
                  </a:lnTo>
                  <a:lnTo>
                    <a:pt x="1037" y="440"/>
                  </a:lnTo>
                  <a:lnTo>
                    <a:pt x="1085" y="448"/>
                  </a:lnTo>
                  <a:lnTo>
                    <a:pt x="1134" y="461"/>
                  </a:lnTo>
                  <a:lnTo>
                    <a:pt x="1167" y="469"/>
                  </a:lnTo>
                  <a:lnTo>
                    <a:pt x="1207" y="478"/>
                  </a:lnTo>
                  <a:lnTo>
                    <a:pt x="1245" y="491"/>
                  </a:lnTo>
                  <a:lnTo>
                    <a:pt x="1286" y="503"/>
                  </a:lnTo>
                  <a:lnTo>
                    <a:pt x="1321" y="513"/>
                  </a:lnTo>
                  <a:lnTo>
                    <a:pt x="1363" y="529"/>
                  </a:lnTo>
                  <a:lnTo>
                    <a:pt x="1411" y="549"/>
                  </a:lnTo>
                  <a:lnTo>
                    <a:pt x="1453" y="565"/>
                  </a:lnTo>
                  <a:lnTo>
                    <a:pt x="1493" y="582"/>
                  </a:lnTo>
                  <a:lnTo>
                    <a:pt x="1539" y="603"/>
                  </a:lnTo>
                  <a:lnTo>
                    <a:pt x="1583" y="625"/>
                  </a:lnTo>
                  <a:lnTo>
                    <a:pt x="1623" y="644"/>
                  </a:lnTo>
                  <a:lnTo>
                    <a:pt x="1661" y="669"/>
                  </a:lnTo>
                  <a:lnTo>
                    <a:pt x="1695" y="688"/>
                  </a:lnTo>
                  <a:lnTo>
                    <a:pt x="1729" y="712"/>
                  </a:lnTo>
                  <a:lnTo>
                    <a:pt x="1767" y="734"/>
                  </a:lnTo>
                  <a:lnTo>
                    <a:pt x="1809" y="763"/>
                  </a:lnTo>
                  <a:lnTo>
                    <a:pt x="1847" y="791"/>
                  </a:lnTo>
                  <a:lnTo>
                    <a:pt x="1882" y="818"/>
                  </a:lnTo>
                  <a:lnTo>
                    <a:pt x="1917" y="845"/>
                  </a:lnTo>
                  <a:lnTo>
                    <a:pt x="1971" y="891"/>
                  </a:lnTo>
                  <a:lnTo>
                    <a:pt x="2026" y="943"/>
                  </a:lnTo>
                  <a:lnTo>
                    <a:pt x="2071" y="983"/>
                  </a:lnTo>
                  <a:lnTo>
                    <a:pt x="2123" y="1041"/>
                  </a:lnTo>
                  <a:lnTo>
                    <a:pt x="2159" y="1082"/>
                  </a:lnTo>
                  <a:lnTo>
                    <a:pt x="2199" y="1131"/>
                  </a:lnTo>
                  <a:lnTo>
                    <a:pt x="2243" y="1185"/>
                  </a:lnTo>
                  <a:lnTo>
                    <a:pt x="2279" y="1237"/>
                  </a:lnTo>
                  <a:lnTo>
                    <a:pt x="2315" y="1294"/>
                  </a:lnTo>
                  <a:lnTo>
                    <a:pt x="2353" y="1351"/>
                  </a:lnTo>
                  <a:lnTo>
                    <a:pt x="2385" y="1410"/>
                  </a:lnTo>
                  <a:lnTo>
                    <a:pt x="2417" y="1462"/>
                  </a:lnTo>
                  <a:lnTo>
                    <a:pt x="2447" y="1527"/>
                  </a:lnTo>
                  <a:lnTo>
                    <a:pt x="2475" y="1588"/>
                  </a:lnTo>
                  <a:lnTo>
                    <a:pt x="2499" y="1652"/>
                  </a:lnTo>
                  <a:lnTo>
                    <a:pt x="2523" y="1723"/>
                  </a:lnTo>
                  <a:lnTo>
                    <a:pt x="2553" y="1808"/>
                  </a:lnTo>
                  <a:lnTo>
                    <a:pt x="2573" y="1889"/>
                  </a:lnTo>
                  <a:lnTo>
                    <a:pt x="2593" y="1970"/>
                  </a:lnTo>
                  <a:lnTo>
                    <a:pt x="2603" y="2050"/>
                  </a:lnTo>
                  <a:lnTo>
                    <a:pt x="2616" y="2144"/>
                  </a:lnTo>
                  <a:lnTo>
                    <a:pt x="2627" y="2260"/>
                  </a:lnTo>
                  <a:lnTo>
                    <a:pt x="2629" y="2351"/>
                  </a:lnTo>
                  <a:lnTo>
                    <a:pt x="2627" y="2440"/>
                  </a:lnTo>
                  <a:lnTo>
                    <a:pt x="2619" y="2526"/>
                  </a:lnTo>
                  <a:lnTo>
                    <a:pt x="2608" y="2606"/>
                  </a:lnTo>
                  <a:lnTo>
                    <a:pt x="2599" y="2690"/>
                  </a:lnTo>
                  <a:lnTo>
                    <a:pt x="2581" y="2776"/>
                  </a:lnTo>
                  <a:lnTo>
                    <a:pt x="2556" y="2868"/>
                  </a:lnTo>
                  <a:lnTo>
                    <a:pt x="2554" y="2873"/>
                  </a:lnTo>
                  <a:close/>
                </a:path>
              </a:pathLst>
            </a:custGeom>
            <a:solidFill>
              <a:schemeClr val="accent5"/>
            </a:solidFill>
            <a:ln w="6350" cmpd="sng">
              <a:noFill/>
              <a:round/>
              <a:headEnd/>
              <a:tailEnd/>
            </a:ln>
          </p:spPr>
          <p:txBody>
            <a:bodyPr lIns="45720" rIns="45720" anchor="ctr" anchorCtr="1"/>
            <a:lstStyle/>
            <a:p>
              <a:endParaRPr lang="en-US"/>
            </a:p>
          </p:txBody>
        </p:sp>
        <p:sp>
          <p:nvSpPr>
            <p:cNvPr id="14" name="Freeform 17">
              <a:extLst>
                <a:ext uri="{FF2B5EF4-FFF2-40B4-BE49-F238E27FC236}">
                  <a16:creationId xmlns:a16="http://schemas.microsoft.com/office/drawing/2014/main" id="{AD073776-F878-420D-9257-DD6F55F38B6E}"/>
                </a:ext>
              </a:extLst>
            </p:cNvPr>
            <p:cNvSpPr>
              <a:spLocks/>
            </p:cNvSpPr>
            <p:nvPr/>
          </p:nvSpPr>
          <p:spPr bwMode="auto">
            <a:xfrm rot="7203160" flipV="1">
              <a:off x="1573" y="1727"/>
              <a:ext cx="1469" cy="1674"/>
            </a:xfrm>
            <a:custGeom>
              <a:avLst/>
              <a:gdLst/>
              <a:ahLst/>
              <a:cxnLst>
                <a:cxn ang="0">
                  <a:pos x="2392" y="2389"/>
                </a:cxn>
                <a:cxn ang="0">
                  <a:pos x="1705" y="2500"/>
                </a:cxn>
                <a:cxn ang="0">
                  <a:pos x="1719" y="2386"/>
                </a:cxn>
                <a:cxn ang="0">
                  <a:pos x="1715" y="2248"/>
                </a:cxn>
                <a:cxn ang="0">
                  <a:pos x="1691" y="2098"/>
                </a:cxn>
                <a:cxn ang="0">
                  <a:pos x="1645" y="1962"/>
                </a:cxn>
                <a:cxn ang="0">
                  <a:pos x="1588" y="1840"/>
                </a:cxn>
                <a:cxn ang="0">
                  <a:pos x="1531" y="1756"/>
                </a:cxn>
                <a:cxn ang="0">
                  <a:pos x="1471" y="1680"/>
                </a:cxn>
                <a:cxn ang="0">
                  <a:pos x="1405" y="1612"/>
                </a:cxn>
                <a:cxn ang="0">
                  <a:pos x="1337" y="1549"/>
                </a:cxn>
                <a:cxn ang="0">
                  <a:pos x="1249" y="1489"/>
                </a:cxn>
                <a:cxn ang="0">
                  <a:pos x="1175" y="1443"/>
                </a:cxn>
                <a:cxn ang="0">
                  <a:pos x="1082" y="1397"/>
                </a:cxn>
                <a:cxn ang="0">
                  <a:pos x="1003" y="1368"/>
                </a:cxn>
                <a:cxn ang="0">
                  <a:pos x="887" y="1345"/>
                </a:cxn>
                <a:cxn ang="0">
                  <a:pos x="772" y="1334"/>
                </a:cxn>
                <a:cxn ang="0">
                  <a:pos x="739" y="1814"/>
                </a:cxn>
                <a:cxn ang="0">
                  <a:pos x="737" y="0"/>
                </a:cxn>
                <a:cxn ang="0">
                  <a:pos x="778" y="416"/>
                </a:cxn>
                <a:cxn ang="0">
                  <a:pos x="895" y="423"/>
                </a:cxn>
                <a:cxn ang="0">
                  <a:pos x="1001" y="435"/>
                </a:cxn>
                <a:cxn ang="0">
                  <a:pos x="1085" y="448"/>
                </a:cxn>
                <a:cxn ang="0">
                  <a:pos x="1167" y="469"/>
                </a:cxn>
                <a:cxn ang="0">
                  <a:pos x="1245" y="491"/>
                </a:cxn>
                <a:cxn ang="0">
                  <a:pos x="1321" y="513"/>
                </a:cxn>
                <a:cxn ang="0">
                  <a:pos x="1411" y="549"/>
                </a:cxn>
                <a:cxn ang="0">
                  <a:pos x="1493" y="582"/>
                </a:cxn>
                <a:cxn ang="0">
                  <a:pos x="1583" y="625"/>
                </a:cxn>
                <a:cxn ang="0">
                  <a:pos x="1661" y="669"/>
                </a:cxn>
                <a:cxn ang="0">
                  <a:pos x="1729" y="712"/>
                </a:cxn>
                <a:cxn ang="0">
                  <a:pos x="1809" y="763"/>
                </a:cxn>
                <a:cxn ang="0">
                  <a:pos x="1882" y="818"/>
                </a:cxn>
                <a:cxn ang="0">
                  <a:pos x="1971" y="891"/>
                </a:cxn>
                <a:cxn ang="0">
                  <a:pos x="2071" y="983"/>
                </a:cxn>
                <a:cxn ang="0">
                  <a:pos x="2159" y="1082"/>
                </a:cxn>
                <a:cxn ang="0">
                  <a:pos x="2243" y="1185"/>
                </a:cxn>
                <a:cxn ang="0">
                  <a:pos x="2315" y="1294"/>
                </a:cxn>
                <a:cxn ang="0">
                  <a:pos x="2385" y="1410"/>
                </a:cxn>
                <a:cxn ang="0">
                  <a:pos x="2447" y="1527"/>
                </a:cxn>
                <a:cxn ang="0">
                  <a:pos x="2499" y="1652"/>
                </a:cxn>
                <a:cxn ang="0">
                  <a:pos x="2553" y="1808"/>
                </a:cxn>
                <a:cxn ang="0">
                  <a:pos x="2593" y="1970"/>
                </a:cxn>
                <a:cxn ang="0">
                  <a:pos x="2616" y="2144"/>
                </a:cxn>
                <a:cxn ang="0">
                  <a:pos x="2629" y="2351"/>
                </a:cxn>
                <a:cxn ang="0">
                  <a:pos x="2619" y="2526"/>
                </a:cxn>
                <a:cxn ang="0">
                  <a:pos x="2599" y="2690"/>
                </a:cxn>
                <a:cxn ang="0">
                  <a:pos x="2556" y="2868"/>
                </a:cxn>
              </a:cxnLst>
              <a:rect l="0" t="0" r="r" b="b"/>
              <a:pathLst>
                <a:path w="2629" h="2873">
                  <a:moveTo>
                    <a:pt x="2554" y="2873"/>
                  </a:moveTo>
                  <a:lnTo>
                    <a:pt x="2392" y="2389"/>
                  </a:lnTo>
                  <a:lnTo>
                    <a:pt x="2392" y="2387"/>
                  </a:lnTo>
                  <a:lnTo>
                    <a:pt x="1705" y="2500"/>
                  </a:lnTo>
                  <a:lnTo>
                    <a:pt x="1713" y="2446"/>
                  </a:lnTo>
                  <a:lnTo>
                    <a:pt x="1719" y="2386"/>
                  </a:lnTo>
                  <a:lnTo>
                    <a:pt x="1719" y="2322"/>
                  </a:lnTo>
                  <a:lnTo>
                    <a:pt x="1715" y="2248"/>
                  </a:lnTo>
                  <a:lnTo>
                    <a:pt x="1705" y="2178"/>
                  </a:lnTo>
                  <a:lnTo>
                    <a:pt x="1691" y="2098"/>
                  </a:lnTo>
                  <a:lnTo>
                    <a:pt x="1673" y="2034"/>
                  </a:lnTo>
                  <a:lnTo>
                    <a:pt x="1645" y="1962"/>
                  </a:lnTo>
                  <a:lnTo>
                    <a:pt x="1619" y="1900"/>
                  </a:lnTo>
                  <a:lnTo>
                    <a:pt x="1588" y="1840"/>
                  </a:lnTo>
                  <a:lnTo>
                    <a:pt x="1559" y="1794"/>
                  </a:lnTo>
                  <a:lnTo>
                    <a:pt x="1531" y="1756"/>
                  </a:lnTo>
                  <a:lnTo>
                    <a:pt x="1503" y="1718"/>
                  </a:lnTo>
                  <a:lnTo>
                    <a:pt x="1471" y="1680"/>
                  </a:lnTo>
                  <a:lnTo>
                    <a:pt x="1435" y="1640"/>
                  </a:lnTo>
                  <a:lnTo>
                    <a:pt x="1405" y="1612"/>
                  </a:lnTo>
                  <a:lnTo>
                    <a:pt x="1371" y="1579"/>
                  </a:lnTo>
                  <a:lnTo>
                    <a:pt x="1337" y="1549"/>
                  </a:lnTo>
                  <a:lnTo>
                    <a:pt x="1297" y="1519"/>
                  </a:lnTo>
                  <a:lnTo>
                    <a:pt x="1249" y="1489"/>
                  </a:lnTo>
                  <a:lnTo>
                    <a:pt x="1210" y="1460"/>
                  </a:lnTo>
                  <a:lnTo>
                    <a:pt x="1175" y="1443"/>
                  </a:lnTo>
                  <a:lnTo>
                    <a:pt x="1125" y="1413"/>
                  </a:lnTo>
                  <a:lnTo>
                    <a:pt x="1082" y="1397"/>
                  </a:lnTo>
                  <a:lnTo>
                    <a:pt x="1044" y="1383"/>
                  </a:lnTo>
                  <a:lnTo>
                    <a:pt x="1003" y="1368"/>
                  </a:lnTo>
                  <a:lnTo>
                    <a:pt x="943" y="1354"/>
                  </a:lnTo>
                  <a:lnTo>
                    <a:pt x="887" y="1345"/>
                  </a:lnTo>
                  <a:lnTo>
                    <a:pt x="829" y="1338"/>
                  </a:lnTo>
                  <a:lnTo>
                    <a:pt x="772" y="1334"/>
                  </a:lnTo>
                  <a:lnTo>
                    <a:pt x="739" y="1332"/>
                  </a:lnTo>
                  <a:lnTo>
                    <a:pt x="739" y="1814"/>
                  </a:lnTo>
                  <a:lnTo>
                    <a:pt x="0" y="921"/>
                  </a:lnTo>
                  <a:lnTo>
                    <a:pt x="737" y="0"/>
                  </a:lnTo>
                  <a:lnTo>
                    <a:pt x="737" y="415"/>
                  </a:lnTo>
                  <a:lnTo>
                    <a:pt x="778" y="416"/>
                  </a:lnTo>
                  <a:lnTo>
                    <a:pt x="835" y="418"/>
                  </a:lnTo>
                  <a:lnTo>
                    <a:pt x="895" y="423"/>
                  </a:lnTo>
                  <a:lnTo>
                    <a:pt x="954" y="429"/>
                  </a:lnTo>
                  <a:lnTo>
                    <a:pt x="1001" y="435"/>
                  </a:lnTo>
                  <a:lnTo>
                    <a:pt x="1037" y="440"/>
                  </a:lnTo>
                  <a:lnTo>
                    <a:pt x="1085" y="448"/>
                  </a:lnTo>
                  <a:lnTo>
                    <a:pt x="1134" y="461"/>
                  </a:lnTo>
                  <a:lnTo>
                    <a:pt x="1167" y="469"/>
                  </a:lnTo>
                  <a:lnTo>
                    <a:pt x="1207" y="478"/>
                  </a:lnTo>
                  <a:lnTo>
                    <a:pt x="1245" y="491"/>
                  </a:lnTo>
                  <a:lnTo>
                    <a:pt x="1286" y="503"/>
                  </a:lnTo>
                  <a:lnTo>
                    <a:pt x="1321" y="513"/>
                  </a:lnTo>
                  <a:lnTo>
                    <a:pt x="1363" y="529"/>
                  </a:lnTo>
                  <a:lnTo>
                    <a:pt x="1411" y="549"/>
                  </a:lnTo>
                  <a:lnTo>
                    <a:pt x="1453" y="565"/>
                  </a:lnTo>
                  <a:lnTo>
                    <a:pt x="1493" y="582"/>
                  </a:lnTo>
                  <a:lnTo>
                    <a:pt x="1539" y="603"/>
                  </a:lnTo>
                  <a:lnTo>
                    <a:pt x="1583" y="625"/>
                  </a:lnTo>
                  <a:lnTo>
                    <a:pt x="1623" y="644"/>
                  </a:lnTo>
                  <a:lnTo>
                    <a:pt x="1661" y="669"/>
                  </a:lnTo>
                  <a:lnTo>
                    <a:pt x="1695" y="688"/>
                  </a:lnTo>
                  <a:lnTo>
                    <a:pt x="1729" y="712"/>
                  </a:lnTo>
                  <a:lnTo>
                    <a:pt x="1767" y="734"/>
                  </a:lnTo>
                  <a:lnTo>
                    <a:pt x="1809" y="763"/>
                  </a:lnTo>
                  <a:lnTo>
                    <a:pt x="1847" y="791"/>
                  </a:lnTo>
                  <a:lnTo>
                    <a:pt x="1882" y="818"/>
                  </a:lnTo>
                  <a:lnTo>
                    <a:pt x="1917" y="845"/>
                  </a:lnTo>
                  <a:lnTo>
                    <a:pt x="1971" y="891"/>
                  </a:lnTo>
                  <a:lnTo>
                    <a:pt x="2026" y="943"/>
                  </a:lnTo>
                  <a:lnTo>
                    <a:pt x="2071" y="983"/>
                  </a:lnTo>
                  <a:lnTo>
                    <a:pt x="2123" y="1041"/>
                  </a:lnTo>
                  <a:lnTo>
                    <a:pt x="2159" y="1082"/>
                  </a:lnTo>
                  <a:lnTo>
                    <a:pt x="2199" y="1131"/>
                  </a:lnTo>
                  <a:lnTo>
                    <a:pt x="2243" y="1185"/>
                  </a:lnTo>
                  <a:lnTo>
                    <a:pt x="2279" y="1237"/>
                  </a:lnTo>
                  <a:lnTo>
                    <a:pt x="2315" y="1294"/>
                  </a:lnTo>
                  <a:lnTo>
                    <a:pt x="2353" y="1351"/>
                  </a:lnTo>
                  <a:lnTo>
                    <a:pt x="2385" y="1410"/>
                  </a:lnTo>
                  <a:lnTo>
                    <a:pt x="2417" y="1462"/>
                  </a:lnTo>
                  <a:lnTo>
                    <a:pt x="2447" y="1527"/>
                  </a:lnTo>
                  <a:lnTo>
                    <a:pt x="2475" y="1588"/>
                  </a:lnTo>
                  <a:lnTo>
                    <a:pt x="2499" y="1652"/>
                  </a:lnTo>
                  <a:lnTo>
                    <a:pt x="2523" y="1723"/>
                  </a:lnTo>
                  <a:lnTo>
                    <a:pt x="2553" y="1808"/>
                  </a:lnTo>
                  <a:lnTo>
                    <a:pt x="2573" y="1889"/>
                  </a:lnTo>
                  <a:lnTo>
                    <a:pt x="2593" y="1970"/>
                  </a:lnTo>
                  <a:lnTo>
                    <a:pt x="2603" y="2050"/>
                  </a:lnTo>
                  <a:lnTo>
                    <a:pt x="2616" y="2144"/>
                  </a:lnTo>
                  <a:lnTo>
                    <a:pt x="2627" y="2260"/>
                  </a:lnTo>
                  <a:lnTo>
                    <a:pt x="2629" y="2351"/>
                  </a:lnTo>
                  <a:lnTo>
                    <a:pt x="2627" y="2440"/>
                  </a:lnTo>
                  <a:lnTo>
                    <a:pt x="2619" y="2526"/>
                  </a:lnTo>
                  <a:lnTo>
                    <a:pt x="2608" y="2606"/>
                  </a:lnTo>
                  <a:lnTo>
                    <a:pt x="2599" y="2690"/>
                  </a:lnTo>
                  <a:lnTo>
                    <a:pt x="2581" y="2776"/>
                  </a:lnTo>
                  <a:lnTo>
                    <a:pt x="2556" y="2868"/>
                  </a:lnTo>
                  <a:lnTo>
                    <a:pt x="2554" y="2873"/>
                  </a:lnTo>
                  <a:close/>
                </a:path>
              </a:pathLst>
            </a:custGeom>
            <a:solidFill>
              <a:schemeClr val="accent3"/>
            </a:solidFill>
            <a:ln w="6350" cmpd="sng">
              <a:noFill/>
              <a:round/>
              <a:headEnd/>
              <a:tailEnd/>
            </a:ln>
          </p:spPr>
          <p:txBody>
            <a:bodyPr lIns="45720" rIns="45720" anchor="ctr" anchorCtr="1"/>
            <a:lstStyle/>
            <a:p>
              <a:endParaRPr lang="en-US"/>
            </a:p>
          </p:txBody>
        </p:sp>
        <p:sp>
          <p:nvSpPr>
            <p:cNvPr id="15" name="Freeform 18">
              <a:extLst>
                <a:ext uri="{FF2B5EF4-FFF2-40B4-BE49-F238E27FC236}">
                  <a16:creationId xmlns:a16="http://schemas.microsoft.com/office/drawing/2014/main" id="{9A68B93D-87C7-4FC2-B538-AAFEC9E86210}"/>
                </a:ext>
              </a:extLst>
            </p:cNvPr>
            <p:cNvSpPr>
              <a:spLocks/>
            </p:cNvSpPr>
            <p:nvPr/>
          </p:nvSpPr>
          <p:spPr bwMode="auto">
            <a:xfrm rot="14370681" flipV="1">
              <a:off x="2550" y="1080"/>
              <a:ext cx="1470" cy="1674"/>
            </a:xfrm>
            <a:custGeom>
              <a:avLst/>
              <a:gdLst/>
              <a:ahLst/>
              <a:cxnLst>
                <a:cxn ang="0">
                  <a:pos x="2392" y="2389"/>
                </a:cxn>
                <a:cxn ang="0">
                  <a:pos x="1705" y="2500"/>
                </a:cxn>
                <a:cxn ang="0">
                  <a:pos x="1719" y="2386"/>
                </a:cxn>
                <a:cxn ang="0">
                  <a:pos x="1715" y="2248"/>
                </a:cxn>
                <a:cxn ang="0">
                  <a:pos x="1691" y="2098"/>
                </a:cxn>
                <a:cxn ang="0">
                  <a:pos x="1645" y="1962"/>
                </a:cxn>
                <a:cxn ang="0">
                  <a:pos x="1588" y="1840"/>
                </a:cxn>
                <a:cxn ang="0">
                  <a:pos x="1531" y="1756"/>
                </a:cxn>
                <a:cxn ang="0">
                  <a:pos x="1471" y="1680"/>
                </a:cxn>
                <a:cxn ang="0">
                  <a:pos x="1405" y="1612"/>
                </a:cxn>
                <a:cxn ang="0">
                  <a:pos x="1337" y="1549"/>
                </a:cxn>
                <a:cxn ang="0">
                  <a:pos x="1249" y="1489"/>
                </a:cxn>
                <a:cxn ang="0">
                  <a:pos x="1175" y="1443"/>
                </a:cxn>
                <a:cxn ang="0">
                  <a:pos x="1082" y="1397"/>
                </a:cxn>
                <a:cxn ang="0">
                  <a:pos x="1003" y="1368"/>
                </a:cxn>
                <a:cxn ang="0">
                  <a:pos x="887" y="1345"/>
                </a:cxn>
                <a:cxn ang="0">
                  <a:pos x="772" y="1334"/>
                </a:cxn>
                <a:cxn ang="0">
                  <a:pos x="739" y="1814"/>
                </a:cxn>
                <a:cxn ang="0">
                  <a:pos x="737" y="0"/>
                </a:cxn>
                <a:cxn ang="0">
                  <a:pos x="778" y="416"/>
                </a:cxn>
                <a:cxn ang="0">
                  <a:pos x="895" y="423"/>
                </a:cxn>
                <a:cxn ang="0">
                  <a:pos x="1001" y="435"/>
                </a:cxn>
                <a:cxn ang="0">
                  <a:pos x="1085" y="448"/>
                </a:cxn>
                <a:cxn ang="0">
                  <a:pos x="1167" y="469"/>
                </a:cxn>
                <a:cxn ang="0">
                  <a:pos x="1245" y="491"/>
                </a:cxn>
                <a:cxn ang="0">
                  <a:pos x="1321" y="513"/>
                </a:cxn>
                <a:cxn ang="0">
                  <a:pos x="1411" y="549"/>
                </a:cxn>
                <a:cxn ang="0">
                  <a:pos x="1493" y="582"/>
                </a:cxn>
                <a:cxn ang="0">
                  <a:pos x="1583" y="625"/>
                </a:cxn>
                <a:cxn ang="0">
                  <a:pos x="1661" y="669"/>
                </a:cxn>
                <a:cxn ang="0">
                  <a:pos x="1729" y="712"/>
                </a:cxn>
                <a:cxn ang="0">
                  <a:pos x="1809" y="763"/>
                </a:cxn>
                <a:cxn ang="0">
                  <a:pos x="1882" y="818"/>
                </a:cxn>
                <a:cxn ang="0">
                  <a:pos x="1971" y="891"/>
                </a:cxn>
                <a:cxn ang="0">
                  <a:pos x="2071" y="983"/>
                </a:cxn>
                <a:cxn ang="0">
                  <a:pos x="2159" y="1082"/>
                </a:cxn>
                <a:cxn ang="0">
                  <a:pos x="2243" y="1185"/>
                </a:cxn>
                <a:cxn ang="0">
                  <a:pos x="2315" y="1294"/>
                </a:cxn>
                <a:cxn ang="0">
                  <a:pos x="2385" y="1410"/>
                </a:cxn>
                <a:cxn ang="0">
                  <a:pos x="2447" y="1527"/>
                </a:cxn>
                <a:cxn ang="0">
                  <a:pos x="2499" y="1652"/>
                </a:cxn>
                <a:cxn ang="0">
                  <a:pos x="2553" y="1808"/>
                </a:cxn>
                <a:cxn ang="0">
                  <a:pos x="2593" y="1970"/>
                </a:cxn>
                <a:cxn ang="0">
                  <a:pos x="2616" y="2144"/>
                </a:cxn>
                <a:cxn ang="0">
                  <a:pos x="2629" y="2351"/>
                </a:cxn>
                <a:cxn ang="0">
                  <a:pos x="2619" y="2526"/>
                </a:cxn>
                <a:cxn ang="0">
                  <a:pos x="2599" y="2690"/>
                </a:cxn>
                <a:cxn ang="0">
                  <a:pos x="2556" y="2868"/>
                </a:cxn>
              </a:cxnLst>
              <a:rect l="0" t="0" r="r" b="b"/>
              <a:pathLst>
                <a:path w="2629" h="2873">
                  <a:moveTo>
                    <a:pt x="2554" y="2873"/>
                  </a:moveTo>
                  <a:lnTo>
                    <a:pt x="2392" y="2389"/>
                  </a:lnTo>
                  <a:lnTo>
                    <a:pt x="2392" y="2387"/>
                  </a:lnTo>
                  <a:lnTo>
                    <a:pt x="1705" y="2500"/>
                  </a:lnTo>
                  <a:lnTo>
                    <a:pt x="1713" y="2446"/>
                  </a:lnTo>
                  <a:lnTo>
                    <a:pt x="1719" y="2386"/>
                  </a:lnTo>
                  <a:lnTo>
                    <a:pt x="1719" y="2322"/>
                  </a:lnTo>
                  <a:lnTo>
                    <a:pt x="1715" y="2248"/>
                  </a:lnTo>
                  <a:lnTo>
                    <a:pt x="1705" y="2178"/>
                  </a:lnTo>
                  <a:lnTo>
                    <a:pt x="1691" y="2098"/>
                  </a:lnTo>
                  <a:lnTo>
                    <a:pt x="1673" y="2034"/>
                  </a:lnTo>
                  <a:lnTo>
                    <a:pt x="1645" y="1962"/>
                  </a:lnTo>
                  <a:lnTo>
                    <a:pt x="1619" y="1900"/>
                  </a:lnTo>
                  <a:lnTo>
                    <a:pt x="1588" y="1840"/>
                  </a:lnTo>
                  <a:lnTo>
                    <a:pt x="1559" y="1794"/>
                  </a:lnTo>
                  <a:lnTo>
                    <a:pt x="1531" y="1756"/>
                  </a:lnTo>
                  <a:lnTo>
                    <a:pt x="1503" y="1718"/>
                  </a:lnTo>
                  <a:lnTo>
                    <a:pt x="1471" y="1680"/>
                  </a:lnTo>
                  <a:lnTo>
                    <a:pt x="1435" y="1640"/>
                  </a:lnTo>
                  <a:lnTo>
                    <a:pt x="1405" y="1612"/>
                  </a:lnTo>
                  <a:lnTo>
                    <a:pt x="1371" y="1579"/>
                  </a:lnTo>
                  <a:lnTo>
                    <a:pt x="1337" y="1549"/>
                  </a:lnTo>
                  <a:lnTo>
                    <a:pt x="1297" y="1519"/>
                  </a:lnTo>
                  <a:lnTo>
                    <a:pt x="1249" y="1489"/>
                  </a:lnTo>
                  <a:lnTo>
                    <a:pt x="1210" y="1460"/>
                  </a:lnTo>
                  <a:lnTo>
                    <a:pt x="1175" y="1443"/>
                  </a:lnTo>
                  <a:lnTo>
                    <a:pt x="1125" y="1413"/>
                  </a:lnTo>
                  <a:lnTo>
                    <a:pt x="1082" y="1397"/>
                  </a:lnTo>
                  <a:lnTo>
                    <a:pt x="1044" y="1383"/>
                  </a:lnTo>
                  <a:lnTo>
                    <a:pt x="1003" y="1368"/>
                  </a:lnTo>
                  <a:lnTo>
                    <a:pt x="943" y="1354"/>
                  </a:lnTo>
                  <a:lnTo>
                    <a:pt x="887" y="1345"/>
                  </a:lnTo>
                  <a:lnTo>
                    <a:pt x="829" y="1338"/>
                  </a:lnTo>
                  <a:lnTo>
                    <a:pt x="772" y="1334"/>
                  </a:lnTo>
                  <a:lnTo>
                    <a:pt x="739" y="1332"/>
                  </a:lnTo>
                  <a:lnTo>
                    <a:pt x="739" y="1814"/>
                  </a:lnTo>
                  <a:lnTo>
                    <a:pt x="0" y="921"/>
                  </a:lnTo>
                  <a:lnTo>
                    <a:pt x="737" y="0"/>
                  </a:lnTo>
                  <a:lnTo>
                    <a:pt x="737" y="415"/>
                  </a:lnTo>
                  <a:lnTo>
                    <a:pt x="778" y="416"/>
                  </a:lnTo>
                  <a:lnTo>
                    <a:pt x="835" y="418"/>
                  </a:lnTo>
                  <a:lnTo>
                    <a:pt x="895" y="423"/>
                  </a:lnTo>
                  <a:lnTo>
                    <a:pt x="954" y="429"/>
                  </a:lnTo>
                  <a:lnTo>
                    <a:pt x="1001" y="435"/>
                  </a:lnTo>
                  <a:lnTo>
                    <a:pt x="1037" y="440"/>
                  </a:lnTo>
                  <a:lnTo>
                    <a:pt x="1085" y="448"/>
                  </a:lnTo>
                  <a:lnTo>
                    <a:pt x="1134" y="461"/>
                  </a:lnTo>
                  <a:lnTo>
                    <a:pt x="1167" y="469"/>
                  </a:lnTo>
                  <a:lnTo>
                    <a:pt x="1207" y="478"/>
                  </a:lnTo>
                  <a:lnTo>
                    <a:pt x="1245" y="491"/>
                  </a:lnTo>
                  <a:lnTo>
                    <a:pt x="1286" y="503"/>
                  </a:lnTo>
                  <a:lnTo>
                    <a:pt x="1321" y="513"/>
                  </a:lnTo>
                  <a:lnTo>
                    <a:pt x="1363" y="529"/>
                  </a:lnTo>
                  <a:lnTo>
                    <a:pt x="1411" y="549"/>
                  </a:lnTo>
                  <a:lnTo>
                    <a:pt x="1453" y="565"/>
                  </a:lnTo>
                  <a:lnTo>
                    <a:pt x="1493" y="582"/>
                  </a:lnTo>
                  <a:lnTo>
                    <a:pt x="1539" y="603"/>
                  </a:lnTo>
                  <a:lnTo>
                    <a:pt x="1583" y="625"/>
                  </a:lnTo>
                  <a:lnTo>
                    <a:pt x="1623" y="644"/>
                  </a:lnTo>
                  <a:lnTo>
                    <a:pt x="1661" y="669"/>
                  </a:lnTo>
                  <a:lnTo>
                    <a:pt x="1695" y="688"/>
                  </a:lnTo>
                  <a:lnTo>
                    <a:pt x="1729" y="712"/>
                  </a:lnTo>
                  <a:lnTo>
                    <a:pt x="1767" y="734"/>
                  </a:lnTo>
                  <a:lnTo>
                    <a:pt x="1809" y="763"/>
                  </a:lnTo>
                  <a:lnTo>
                    <a:pt x="1847" y="791"/>
                  </a:lnTo>
                  <a:lnTo>
                    <a:pt x="1882" y="818"/>
                  </a:lnTo>
                  <a:lnTo>
                    <a:pt x="1917" y="845"/>
                  </a:lnTo>
                  <a:lnTo>
                    <a:pt x="1971" y="891"/>
                  </a:lnTo>
                  <a:lnTo>
                    <a:pt x="2026" y="943"/>
                  </a:lnTo>
                  <a:lnTo>
                    <a:pt x="2071" y="983"/>
                  </a:lnTo>
                  <a:lnTo>
                    <a:pt x="2123" y="1041"/>
                  </a:lnTo>
                  <a:lnTo>
                    <a:pt x="2159" y="1082"/>
                  </a:lnTo>
                  <a:lnTo>
                    <a:pt x="2199" y="1131"/>
                  </a:lnTo>
                  <a:lnTo>
                    <a:pt x="2243" y="1185"/>
                  </a:lnTo>
                  <a:lnTo>
                    <a:pt x="2279" y="1237"/>
                  </a:lnTo>
                  <a:lnTo>
                    <a:pt x="2315" y="1294"/>
                  </a:lnTo>
                  <a:lnTo>
                    <a:pt x="2353" y="1351"/>
                  </a:lnTo>
                  <a:lnTo>
                    <a:pt x="2385" y="1410"/>
                  </a:lnTo>
                  <a:lnTo>
                    <a:pt x="2417" y="1462"/>
                  </a:lnTo>
                  <a:lnTo>
                    <a:pt x="2447" y="1527"/>
                  </a:lnTo>
                  <a:lnTo>
                    <a:pt x="2475" y="1588"/>
                  </a:lnTo>
                  <a:lnTo>
                    <a:pt x="2499" y="1652"/>
                  </a:lnTo>
                  <a:lnTo>
                    <a:pt x="2523" y="1723"/>
                  </a:lnTo>
                  <a:lnTo>
                    <a:pt x="2553" y="1808"/>
                  </a:lnTo>
                  <a:lnTo>
                    <a:pt x="2573" y="1889"/>
                  </a:lnTo>
                  <a:lnTo>
                    <a:pt x="2593" y="1970"/>
                  </a:lnTo>
                  <a:lnTo>
                    <a:pt x="2603" y="2050"/>
                  </a:lnTo>
                  <a:lnTo>
                    <a:pt x="2616" y="2144"/>
                  </a:lnTo>
                  <a:lnTo>
                    <a:pt x="2627" y="2260"/>
                  </a:lnTo>
                  <a:lnTo>
                    <a:pt x="2629" y="2351"/>
                  </a:lnTo>
                  <a:lnTo>
                    <a:pt x="2627" y="2440"/>
                  </a:lnTo>
                  <a:lnTo>
                    <a:pt x="2619" y="2526"/>
                  </a:lnTo>
                  <a:lnTo>
                    <a:pt x="2608" y="2606"/>
                  </a:lnTo>
                  <a:lnTo>
                    <a:pt x="2599" y="2690"/>
                  </a:lnTo>
                  <a:lnTo>
                    <a:pt x="2581" y="2776"/>
                  </a:lnTo>
                  <a:lnTo>
                    <a:pt x="2556" y="2868"/>
                  </a:lnTo>
                  <a:lnTo>
                    <a:pt x="2554" y="2873"/>
                  </a:lnTo>
                  <a:close/>
                </a:path>
              </a:pathLst>
            </a:custGeom>
            <a:solidFill>
              <a:schemeClr val="accent1"/>
            </a:solidFill>
            <a:ln w="6350" cmpd="sng">
              <a:noFill/>
              <a:round/>
              <a:headEnd/>
              <a:tailEnd/>
            </a:ln>
          </p:spPr>
          <p:txBody>
            <a:bodyPr lIns="45720" rIns="45720" anchor="ctr" anchorCtr="1"/>
            <a:lstStyle/>
            <a:p>
              <a:endParaRPr lang="en-US"/>
            </a:p>
          </p:txBody>
        </p:sp>
        <p:sp>
          <p:nvSpPr>
            <p:cNvPr id="16" name="Text Box 19">
              <a:extLst>
                <a:ext uri="{FF2B5EF4-FFF2-40B4-BE49-F238E27FC236}">
                  <a16:creationId xmlns:a16="http://schemas.microsoft.com/office/drawing/2014/main" id="{AD91D2D3-6DAD-4CF8-A602-7A234B2ED16E}"/>
                </a:ext>
              </a:extLst>
            </p:cNvPr>
            <p:cNvSpPr txBox="1">
              <a:spLocks noChangeArrowheads="1"/>
            </p:cNvSpPr>
            <p:nvPr/>
          </p:nvSpPr>
          <p:spPr bwMode="auto">
            <a:xfrm>
              <a:off x="1911" y="2498"/>
              <a:ext cx="357" cy="182"/>
            </a:xfrm>
            <a:prstGeom prst="rect">
              <a:avLst/>
            </a:prstGeom>
            <a:noFill/>
            <a:ln w="6350">
              <a:noFill/>
              <a:miter lim="800000"/>
              <a:headEnd/>
              <a:tailEnd/>
            </a:ln>
            <a:effectLst/>
          </p:spPr>
          <p:txBody>
            <a:bodyPr lIns="45720" rIns="45720" anchor="ctr" anchorCtr="1"/>
            <a:lstStyle/>
            <a:p>
              <a:pPr eaLnBrk="0" hangingPunct="0"/>
              <a:r>
                <a:rPr lang="en-US" sz="1400" b="1" dirty="0">
                  <a:solidFill>
                    <a:schemeClr val="bg1"/>
                  </a:solidFill>
                </a:rPr>
                <a:t>Text</a:t>
              </a:r>
            </a:p>
          </p:txBody>
        </p:sp>
        <p:sp>
          <p:nvSpPr>
            <p:cNvPr id="17" name="Text Box 20">
              <a:extLst>
                <a:ext uri="{FF2B5EF4-FFF2-40B4-BE49-F238E27FC236}">
                  <a16:creationId xmlns:a16="http://schemas.microsoft.com/office/drawing/2014/main" id="{0C95FB17-2666-4BE3-8CB0-5F9DF12CF861}"/>
                </a:ext>
              </a:extLst>
            </p:cNvPr>
            <p:cNvSpPr txBox="1">
              <a:spLocks noChangeArrowheads="1"/>
            </p:cNvSpPr>
            <p:nvPr/>
          </p:nvSpPr>
          <p:spPr bwMode="auto">
            <a:xfrm>
              <a:off x="3074" y="1570"/>
              <a:ext cx="357" cy="183"/>
            </a:xfrm>
            <a:prstGeom prst="rect">
              <a:avLst/>
            </a:prstGeom>
            <a:noFill/>
            <a:ln w="6350">
              <a:noFill/>
              <a:miter lim="800000"/>
              <a:headEnd/>
              <a:tailEnd/>
            </a:ln>
            <a:effectLst/>
          </p:spPr>
          <p:txBody>
            <a:bodyPr lIns="45720" rIns="45720" anchor="ctr" anchorCtr="1"/>
            <a:lstStyle/>
            <a:p>
              <a:pPr eaLnBrk="0" hangingPunct="0"/>
              <a:r>
                <a:rPr lang="en-US" sz="1400" b="1" dirty="0">
                  <a:solidFill>
                    <a:schemeClr val="bg1"/>
                  </a:solidFill>
                </a:rPr>
                <a:t>Text</a:t>
              </a:r>
            </a:p>
          </p:txBody>
        </p:sp>
        <p:sp>
          <p:nvSpPr>
            <p:cNvPr id="18" name="Text Box 21">
              <a:extLst>
                <a:ext uri="{FF2B5EF4-FFF2-40B4-BE49-F238E27FC236}">
                  <a16:creationId xmlns:a16="http://schemas.microsoft.com/office/drawing/2014/main" id="{431F17E0-7AC2-4828-91CD-44234FCFEC5A}"/>
                </a:ext>
              </a:extLst>
            </p:cNvPr>
            <p:cNvSpPr txBox="1">
              <a:spLocks noChangeArrowheads="1"/>
            </p:cNvSpPr>
            <p:nvPr/>
          </p:nvSpPr>
          <p:spPr bwMode="auto">
            <a:xfrm>
              <a:off x="3450" y="3073"/>
              <a:ext cx="357" cy="182"/>
            </a:xfrm>
            <a:prstGeom prst="rect">
              <a:avLst/>
            </a:prstGeom>
            <a:noFill/>
            <a:ln w="6350">
              <a:noFill/>
              <a:miter lim="800000"/>
              <a:headEnd/>
              <a:tailEnd/>
            </a:ln>
            <a:effectLst/>
          </p:spPr>
          <p:txBody>
            <a:bodyPr lIns="45720" rIns="45720" anchor="ctr" anchorCtr="1"/>
            <a:lstStyle/>
            <a:p>
              <a:pPr eaLnBrk="0" hangingPunct="0"/>
              <a:r>
                <a:rPr lang="en-US" sz="1400" b="1">
                  <a:solidFill>
                    <a:schemeClr val="bg1"/>
                  </a:solidFill>
                </a:rPr>
                <a:t>Text</a:t>
              </a:r>
            </a:p>
          </p:txBody>
        </p:sp>
      </p:grpSp>
      <p:sp>
        <p:nvSpPr>
          <p:cNvPr id="5" name="Footer Placeholder 4">
            <a:extLst>
              <a:ext uri="{FF2B5EF4-FFF2-40B4-BE49-F238E27FC236}">
                <a16:creationId xmlns:a16="http://schemas.microsoft.com/office/drawing/2014/main" id="{ECEDE010-3C17-4D58-8D62-1B6867D564D6}"/>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EABB44A0-A5E1-4195-9772-A599ECAE9FD2}"/>
              </a:ext>
            </a:extLst>
          </p:cNvPr>
          <p:cNvSpPr>
            <a:spLocks noGrp="1"/>
          </p:cNvSpPr>
          <p:nvPr>
            <p:ph type="sldNum" sz="quarter" idx="10"/>
          </p:nvPr>
        </p:nvSpPr>
        <p:spPr/>
        <p:txBody>
          <a:bodyPr/>
          <a:lstStyle/>
          <a:p>
            <a:fld id="{1F90F471-3972-4120-B8B3-0237DE626C35}" type="slidenum">
              <a:rPr lang="en-US" smtClean="0"/>
              <a:pPr/>
              <a:t>249</a:t>
            </a:fld>
            <a:endParaRPr lang="en-US" dirty="0"/>
          </a:p>
        </p:txBody>
      </p:sp>
    </p:spTree>
    <p:extLst>
      <p:ext uri="{BB962C8B-B14F-4D97-AF65-F5344CB8AC3E}">
        <p14:creationId xmlns:p14="http://schemas.microsoft.com/office/powerpoint/2010/main" val="18329707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13" descr="All informative images must include a description for screen readers. All informative images must include a description for screen readers. If descriptive information is available in nearby text, it should not be repeated in the alt text for an image.">
            <a:extLst>
              <a:ext uri="{FF2B5EF4-FFF2-40B4-BE49-F238E27FC236}">
                <a16:creationId xmlns:a16="http://schemas.microsoft.com/office/drawing/2014/main" id="{A8416F08-7B0C-4018-B462-2611C2DA69D9}"/>
              </a:ext>
            </a:extLst>
          </p:cNvPr>
          <p:cNvPicPr>
            <a:picLocks noGrp="1" noChangeAspect="1"/>
          </p:cNvPicPr>
          <p:nvPr>
            <p:ph type="pic" sz="quarter" idx="10"/>
          </p:nvPr>
        </p:nvPicPr>
        <p:blipFill rotWithShape="1">
          <a:blip r:embed="rId3"/>
          <a:srcRect l="74" r="74"/>
          <a:stretch/>
        </p:blipFill>
        <p:spPr>
          <a:xfrm>
            <a:off x="-7938" y="-9525"/>
            <a:ext cx="12207876" cy="6877050"/>
          </a:xfrm>
        </p:spPr>
      </p:pic>
      <p:sp>
        <p:nvSpPr>
          <p:cNvPr id="3" name="Title 2">
            <a:extLst>
              <a:ext uri="{FF2B5EF4-FFF2-40B4-BE49-F238E27FC236}">
                <a16:creationId xmlns:a16="http://schemas.microsoft.com/office/drawing/2014/main" id="{F4C49174-90D6-49F2-9AA6-AC03353484AC}"/>
              </a:ext>
            </a:extLst>
          </p:cNvPr>
          <p:cNvSpPr>
            <a:spLocks noGrp="1"/>
          </p:cNvSpPr>
          <p:nvPr>
            <p:ph type="ctrTitle"/>
          </p:nvPr>
        </p:nvSpPr>
        <p:spPr/>
        <p:txBody>
          <a:bodyPr/>
          <a:lstStyle/>
          <a:p>
            <a:r>
              <a:rPr lang="en-GB" dirty="0"/>
              <a:t>Place presentation title here 48pt  </a:t>
            </a:r>
            <a:endParaRPr lang="en-US" dirty="0"/>
          </a:p>
        </p:txBody>
      </p:sp>
      <p:sp>
        <p:nvSpPr>
          <p:cNvPr id="5" name="Subtitle 4">
            <a:extLst>
              <a:ext uri="{FF2B5EF4-FFF2-40B4-BE49-F238E27FC236}">
                <a16:creationId xmlns:a16="http://schemas.microsoft.com/office/drawing/2014/main" id="{D6C2F587-D14E-4638-8259-2FB8D78CBB4B}"/>
              </a:ext>
            </a:extLst>
          </p:cNvPr>
          <p:cNvSpPr>
            <a:spLocks noGrp="1"/>
          </p:cNvSpPr>
          <p:nvPr>
            <p:ph type="subTitle" idx="1"/>
          </p:nvPr>
        </p:nvSpPr>
        <p:spPr/>
        <p:txBody>
          <a:bodyPr/>
          <a:lstStyle/>
          <a:p>
            <a:r>
              <a:rPr lang="en-GB" dirty="0"/>
              <a:t>Place subtitle here in GT Sectra Fine </a:t>
            </a:r>
            <a:r>
              <a:rPr lang="en-GB" dirty="0" err="1"/>
              <a:t>Rg</a:t>
            </a:r>
            <a:r>
              <a:rPr lang="en-GB" dirty="0"/>
              <a:t> 24pt</a:t>
            </a:r>
            <a:endParaRPr lang="en-US" dirty="0"/>
          </a:p>
        </p:txBody>
      </p:sp>
      <p:sp>
        <p:nvSpPr>
          <p:cNvPr id="4" name="Text Placeholder 3">
            <a:extLst>
              <a:ext uri="{FF2B5EF4-FFF2-40B4-BE49-F238E27FC236}">
                <a16:creationId xmlns:a16="http://schemas.microsoft.com/office/drawing/2014/main" id="{296675F5-096C-4F04-89C4-86C86C6F2B53}"/>
              </a:ext>
            </a:extLst>
          </p:cNvPr>
          <p:cNvSpPr>
            <a:spLocks noGrp="1"/>
          </p:cNvSpPr>
          <p:nvPr>
            <p:ph type="body" sz="quarter" idx="12"/>
          </p:nvPr>
        </p:nvSpPr>
        <p:spPr/>
        <p:txBody>
          <a:bodyPr/>
          <a:lstStyle/>
          <a:p>
            <a:r>
              <a:rPr lang="en-US" dirty="0"/>
              <a:t>Presenter 14pt</a:t>
            </a:r>
          </a:p>
        </p:txBody>
      </p:sp>
      <p:grpSp>
        <p:nvGrpSpPr>
          <p:cNvPr id="7" name="Logo_WH" descr="Accenture Logo">
            <a:extLst>
              <a:ext uri="{FF2B5EF4-FFF2-40B4-BE49-F238E27FC236}">
                <a16:creationId xmlns:a16="http://schemas.microsoft.com/office/drawing/2014/main" id="{DAC392B4-488C-476D-B7DA-7878C175A9E5}"/>
              </a:ext>
            </a:extLst>
          </p:cNvPr>
          <p:cNvGrpSpPr>
            <a:grpSpLocks noChangeAspect="1"/>
          </p:cNvGrpSpPr>
          <p:nvPr/>
        </p:nvGrpSpPr>
        <p:grpSpPr bwMode="black">
          <a:xfrm>
            <a:off x="381001" y="5815652"/>
            <a:ext cx="1883664" cy="496247"/>
            <a:chOff x="1561" y="187"/>
            <a:chExt cx="4536" cy="1195"/>
          </a:xfrm>
        </p:grpSpPr>
        <p:sp>
          <p:nvSpPr>
            <p:cNvPr id="8" name="Freeform 5">
              <a:extLst>
                <a:ext uri="{FF2B5EF4-FFF2-40B4-BE49-F238E27FC236}">
                  <a16:creationId xmlns:a16="http://schemas.microsoft.com/office/drawing/2014/main" id="{282BF107-136F-44A2-A6B7-7524452C061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7A563F5D-4B26-49FF-9C0A-0364C494CBC0}"/>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67105527"/>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Circular Flow 4</a:t>
            </a:r>
          </a:p>
        </p:txBody>
      </p:sp>
      <p:grpSp>
        <p:nvGrpSpPr>
          <p:cNvPr id="21" name="Group 14" descr="Add text and order accordingly">
            <a:extLst>
              <a:ext uri="{FF2B5EF4-FFF2-40B4-BE49-F238E27FC236}">
                <a16:creationId xmlns:a16="http://schemas.microsoft.com/office/drawing/2014/main" id="{8AF14EC2-F49D-441B-9465-CF843B7B7804}"/>
              </a:ext>
            </a:extLst>
          </p:cNvPr>
          <p:cNvGrpSpPr>
            <a:grpSpLocks/>
          </p:cNvGrpSpPr>
          <p:nvPr/>
        </p:nvGrpSpPr>
        <p:grpSpPr bwMode="auto">
          <a:xfrm>
            <a:off x="3911600" y="1457990"/>
            <a:ext cx="4344988" cy="4443413"/>
            <a:chOff x="1504" y="1204"/>
            <a:chExt cx="2737" cy="2799"/>
          </a:xfrm>
        </p:grpSpPr>
        <p:sp>
          <p:nvSpPr>
            <p:cNvPr id="22" name="Freeform 4">
              <a:extLst>
                <a:ext uri="{FF2B5EF4-FFF2-40B4-BE49-F238E27FC236}">
                  <a16:creationId xmlns:a16="http://schemas.microsoft.com/office/drawing/2014/main" id="{41FB83AD-7888-432D-8007-02AB4C24C237}"/>
                </a:ext>
              </a:extLst>
            </p:cNvPr>
            <p:cNvSpPr>
              <a:spLocks/>
            </p:cNvSpPr>
            <p:nvPr/>
          </p:nvSpPr>
          <p:spPr bwMode="auto">
            <a:xfrm>
              <a:off x="1518" y="1665"/>
              <a:ext cx="861" cy="1953"/>
            </a:xfrm>
            <a:custGeom>
              <a:avLst/>
              <a:gdLst/>
              <a:ahLst/>
              <a:cxnLst>
                <a:cxn ang="0">
                  <a:pos x="425" y="312"/>
                </a:cxn>
                <a:cxn ang="0">
                  <a:pos x="361" y="64"/>
                </a:cxn>
                <a:cxn ang="0">
                  <a:pos x="106" y="0"/>
                </a:cxn>
                <a:cxn ang="0">
                  <a:pos x="145" y="38"/>
                </a:cxn>
                <a:cxn ang="0">
                  <a:pos x="113" y="83"/>
                </a:cxn>
                <a:cxn ang="0">
                  <a:pos x="84" y="130"/>
                </a:cxn>
                <a:cxn ang="0">
                  <a:pos x="59" y="180"/>
                </a:cxn>
                <a:cxn ang="0">
                  <a:pos x="38" y="233"/>
                </a:cxn>
                <a:cxn ang="0">
                  <a:pos x="22" y="286"/>
                </a:cxn>
                <a:cxn ang="0">
                  <a:pos x="10" y="342"/>
                </a:cxn>
                <a:cxn ang="0">
                  <a:pos x="2" y="399"/>
                </a:cxn>
                <a:cxn ang="0">
                  <a:pos x="0" y="458"/>
                </a:cxn>
                <a:cxn ang="0">
                  <a:pos x="1" y="493"/>
                </a:cxn>
                <a:cxn ang="0">
                  <a:pos x="4" y="529"/>
                </a:cxn>
                <a:cxn ang="0">
                  <a:pos x="9" y="564"/>
                </a:cxn>
                <a:cxn ang="0">
                  <a:pos x="14" y="598"/>
                </a:cxn>
                <a:cxn ang="0">
                  <a:pos x="23" y="632"/>
                </a:cxn>
                <a:cxn ang="0">
                  <a:pos x="33" y="665"/>
                </a:cxn>
                <a:cxn ang="0">
                  <a:pos x="44" y="698"/>
                </a:cxn>
                <a:cxn ang="0">
                  <a:pos x="57" y="729"/>
                </a:cxn>
                <a:cxn ang="0">
                  <a:pos x="86" y="790"/>
                </a:cxn>
                <a:cxn ang="0">
                  <a:pos x="123" y="847"/>
                </a:cxn>
                <a:cxn ang="0">
                  <a:pos x="164" y="900"/>
                </a:cxn>
                <a:cxn ang="0">
                  <a:pos x="210" y="950"/>
                </a:cxn>
                <a:cxn ang="0">
                  <a:pos x="261" y="745"/>
                </a:cxn>
                <a:cxn ang="0">
                  <a:pos x="431" y="702"/>
                </a:cxn>
                <a:cxn ang="0">
                  <a:pos x="409" y="676"/>
                </a:cxn>
                <a:cxn ang="0">
                  <a:pos x="389" y="650"/>
                </a:cxn>
                <a:cxn ang="0">
                  <a:pos x="373" y="622"/>
                </a:cxn>
                <a:cxn ang="0">
                  <a:pos x="358" y="591"/>
                </a:cxn>
                <a:cxn ang="0">
                  <a:pos x="347" y="559"/>
                </a:cxn>
                <a:cxn ang="0">
                  <a:pos x="339" y="527"/>
                </a:cxn>
                <a:cxn ang="0">
                  <a:pos x="334" y="493"/>
                </a:cxn>
                <a:cxn ang="0">
                  <a:pos x="332" y="458"/>
                </a:cxn>
                <a:cxn ang="0">
                  <a:pos x="336" y="407"/>
                </a:cxn>
                <a:cxn ang="0">
                  <a:pos x="346" y="360"/>
                </a:cxn>
                <a:cxn ang="0">
                  <a:pos x="363" y="314"/>
                </a:cxn>
                <a:cxn ang="0">
                  <a:pos x="373" y="292"/>
                </a:cxn>
                <a:cxn ang="0">
                  <a:pos x="385" y="272"/>
                </a:cxn>
                <a:cxn ang="0">
                  <a:pos x="425" y="312"/>
                </a:cxn>
              </a:cxnLst>
              <a:rect l="0" t="0" r="r" b="b"/>
              <a:pathLst>
                <a:path w="432" h="951">
                  <a:moveTo>
                    <a:pt x="425" y="312"/>
                  </a:moveTo>
                  <a:lnTo>
                    <a:pt x="361" y="64"/>
                  </a:lnTo>
                  <a:lnTo>
                    <a:pt x="106" y="0"/>
                  </a:lnTo>
                  <a:lnTo>
                    <a:pt x="145" y="38"/>
                  </a:lnTo>
                  <a:lnTo>
                    <a:pt x="113" y="83"/>
                  </a:lnTo>
                  <a:lnTo>
                    <a:pt x="84" y="130"/>
                  </a:lnTo>
                  <a:lnTo>
                    <a:pt x="59" y="180"/>
                  </a:lnTo>
                  <a:lnTo>
                    <a:pt x="38" y="233"/>
                  </a:lnTo>
                  <a:lnTo>
                    <a:pt x="22" y="286"/>
                  </a:lnTo>
                  <a:lnTo>
                    <a:pt x="10" y="342"/>
                  </a:lnTo>
                  <a:lnTo>
                    <a:pt x="2" y="399"/>
                  </a:lnTo>
                  <a:lnTo>
                    <a:pt x="0" y="458"/>
                  </a:lnTo>
                  <a:lnTo>
                    <a:pt x="1" y="493"/>
                  </a:lnTo>
                  <a:lnTo>
                    <a:pt x="4" y="529"/>
                  </a:lnTo>
                  <a:lnTo>
                    <a:pt x="9" y="564"/>
                  </a:lnTo>
                  <a:lnTo>
                    <a:pt x="14" y="598"/>
                  </a:lnTo>
                  <a:lnTo>
                    <a:pt x="23" y="632"/>
                  </a:lnTo>
                  <a:lnTo>
                    <a:pt x="33" y="665"/>
                  </a:lnTo>
                  <a:lnTo>
                    <a:pt x="44" y="698"/>
                  </a:lnTo>
                  <a:lnTo>
                    <a:pt x="57" y="729"/>
                  </a:lnTo>
                  <a:lnTo>
                    <a:pt x="86" y="790"/>
                  </a:lnTo>
                  <a:lnTo>
                    <a:pt x="123" y="847"/>
                  </a:lnTo>
                  <a:lnTo>
                    <a:pt x="164" y="900"/>
                  </a:lnTo>
                  <a:lnTo>
                    <a:pt x="210" y="950"/>
                  </a:lnTo>
                  <a:lnTo>
                    <a:pt x="261" y="745"/>
                  </a:lnTo>
                  <a:lnTo>
                    <a:pt x="431" y="702"/>
                  </a:lnTo>
                  <a:lnTo>
                    <a:pt x="409" y="676"/>
                  </a:lnTo>
                  <a:lnTo>
                    <a:pt x="389" y="650"/>
                  </a:lnTo>
                  <a:lnTo>
                    <a:pt x="373" y="622"/>
                  </a:lnTo>
                  <a:lnTo>
                    <a:pt x="358" y="591"/>
                  </a:lnTo>
                  <a:lnTo>
                    <a:pt x="347" y="559"/>
                  </a:lnTo>
                  <a:lnTo>
                    <a:pt x="339" y="527"/>
                  </a:lnTo>
                  <a:lnTo>
                    <a:pt x="334" y="493"/>
                  </a:lnTo>
                  <a:lnTo>
                    <a:pt x="332" y="458"/>
                  </a:lnTo>
                  <a:lnTo>
                    <a:pt x="336" y="407"/>
                  </a:lnTo>
                  <a:lnTo>
                    <a:pt x="346" y="360"/>
                  </a:lnTo>
                  <a:lnTo>
                    <a:pt x="363" y="314"/>
                  </a:lnTo>
                  <a:lnTo>
                    <a:pt x="373" y="292"/>
                  </a:lnTo>
                  <a:lnTo>
                    <a:pt x="385" y="272"/>
                  </a:lnTo>
                  <a:lnTo>
                    <a:pt x="425" y="312"/>
                  </a:lnTo>
                </a:path>
              </a:pathLst>
            </a:custGeom>
            <a:solidFill>
              <a:schemeClr val="accent1"/>
            </a:solidFill>
            <a:ln w="6350" cap="rnd" cmpd="sng">
              <a:noFill/>
              <a:prstDash val="solid"/>
              <a:round/>
              <a:headEnd/>
              <a:tailEnd/>
            </a:ln>
            <a:effectLst/>
          </p:spPr>
          <p:txBody>
            <a:bodyPr lIns="45720" rIns="45720" anchor="ctr" anchorCtr="1"/>
            <a:lstStyle/>
            <a:p>
              <a:endParaRPr lang="en-US" sz="1600" b="1">
                <a:solidFill>
                  <a:schemeClr val="bg1"/>
                </a:solidFill>
              </a:endParaRPr>
            </a:p>
          </p:txBody>
        </p:sp>
        <p:sp>
          <p:nvSpPr>
            <p:cNvPr id="23" name="Freeform 5">
              <a:extLst>
                <a:ext uri="{FF2B5EF4-FFF2-40B4-BE49-F238E27FC236}">
                  <a16:creationId xmlns:a16="http://schemas.microsoft.com/office/drawing/2014/main" id="{C1B03786-57AC-40DA-A370-A873943E32B1}"/>
                </a:ext>
              </a:extLst>
            </p:cNvPr>
            <p:cNvSpPr>
              <a:spLocks/>
            </p:cNvSpPr>
            <p:nvPr/>
          </p:nvSpPr>
          <p:spPr bwMode="auto">
            <a:xfrm>
              <a:off x="1970" y="3124"/>
              <a:ext cx="1889" cy="879"/>
            </a:xfrm>
            <a:custGeom>
              <a:avLst/>
              <a:gdLst/>
              <a:ahLst/>
              <a:cxnLst>
                <a:cxn ang="0">
                  <a:pos x="311" y="8"/>
                </a:cxn>
                <a:cxn ang="0">
                  <a:pos x="64" y="73"/>
                </a:cxn>
                <a:cxn ang="0">
                  <a:pos x="0" y="328"/>
                </a:cxn>
                <a:cxn ang="0">
                  <a:pos x="40" y="287"/>
                </a:cxn>
                <a:cxn ang="0">
                  <a:pos x="85" y="318"/>
                </a:cxn>
                <a:cxn ang="0">
                  <a:pos x="132" y="346"/>
                </a:cxn>
                <a:cxn ang="0">
                  <a:pos x="182" y="371"/>
                </a:cxn>
                <a:cxn ang="0">
                  <a:pos x="234" y="392"/>
                </a:cxn>
                <a:cxn ang="0">
                  <a:pos x="287" y="408"/>
                </a:cxn>
                <a:cxn ang="0">
                  <a:pos x="342" y="420"/>
                </a:cxn>
                <a:cxn ang="0">
                  <a:pos x="400" y="427"/>
                </a:cxn>
                <a:cxn ang="0">
                  <a:pos x="458" y="427"/>
                </a:cxn>
                <a:cxn ang="0">
                  <a:pos x="529" y="425"/>
                </a:cxn>
                <a:cxn ang="0">
                  <a:pos x="597" y="415"/>
                </a:cxn>
                <a:cxn ang="0">
                  <a:pos x="664" y="397"/>
                </a:cxn>
                <a:cxn ang="0">
                  <a:pos x="728" y="374"/>
                </a:cxn>
                <a:cxn ang="0">
                  <a:pos x="788" y="344"/>
                </a:cxn>
                <a:cxn ang="0">
                  <a:pos x="817" y="327"/>
                </a:cxn>
                <a:cxn ang="0">
                  <a:pos x="845" y="309"/>
                </a:cxn>
                <a:cxn ang="0">
                  <a:pos x="898" y="268"/>
                </a:cxn>
                <a:cxn ang="0">
                  <a:pos x="947" y="223"/>
                </a:cxn>
                <a:cxn ang="0">
                  <a:pos x="746" y="173"/>
                </a:cxn>
                <a:cxn ang="0">
                  <a:pos x="701" y="0"/>
                </a:cxn>
                <a:cxn ang="0">
                  <a:pos x="677" y="22"/>
                </a:cxn>
                <a:cxn ang="0">
                  <a:pos x="650" y="41"/>
                </a:cxn>
                <a:cxn ang="0">
                  <a:pos x="621" y="57"/>
                </a:cxn>
                <a:cxn ang="0">
                  <a:pos x="591" y="72"/>
                </a:cxn>
                <a:cxn ang="0">
                  <a:pos x="560" y="83"/>
                </a:cxn>
                <a:cxn ang="0">
                  <a:pos x="526" y="91"/>
                </a:cxn>
                <a:cxn ang="0">
                  <a:pos x="493" y="96"/>
                </a:cxn>
                <a:cxn ang="0">
                  <a:pos x="458" y="98"/>
                </a:cxn>
                <a:cxn ang="0">
                  <a:pos x="433" y="97"/>
                </a:cxn>
                <a:cxn ang="0">
                  <a:pos x="408" y="94"/>
                </a:cxn>
                <a:cxn ang="0">
                  <a:pos x="384" y="90"/>
                </a:cxn>
                <a:cxn ang="0">
                  <a:pos x="361" y="85"/>
                </a:cxn>
                <a:cxn ang="0">
                  <a:pos x="338" y="77"/>
                </a:cxn>
                <a:cxn ang="0">
                  <a:pos x="316" y="69"/>
                </a:cxn>
                <a:cxn ang="0">
                  <a:pos x="295" y="58"/>
                </a:cxn>
                <a:cxn ang="0">
                  <a:pos x="274" y="46"/>
                </a:cxn>
                <a:cxn ang="0">
                  <a:pos x="311" y="8"/>
                </a:cxn>
              </a:cxnLst>
              <a:rect l="0" t="0" r="r" b="b"/>
              <a:pathLst>
                <a:path w="948" h="428">
                  <a:moveTo>
                    <a:pt x="311" y="8"/>
                  </a:moveTo>
                  <a:lnTo>
                    <a:pt x="64" y="73"/>
                  </a:lnTo>
                  <a:lnTo>
                    <a:pt x="0" y="328"/>
                  </a:lnTo>
                  <a:lnTo>
                    <a:pt x="40" y="287"/>
                  </a:lnTo>
                  <a:lnTo>
                    <a:pt x="85" y="318"/>
                  </a:lnTo>
                  <a:lnTo>
                    <a:pt x="132" y="346"/>
                  </a:lnTo>
                  <a:lnTo>
                    <a:pt x="182" y="371"/>
                  </a:lnTo>
                  <a:lnTo>
                    <a:pt x="234" y="392"/>
                  </a:lnTo>
                  <a:lnTo>
                    <a:pt x="287" y="408"/>
                  </a:lnTo>
                  <a:lnTo>
                    <a:pt x="342" y="420"/>
                  </a:lnTo>
                  <a:lnTo>
                    <a:pt x="400" y="427"/>
                  </a:lnTo>
                  <a:lnTo>
                    <a:pt x="458" y="427"/>
                  </a:lnTo>
                  <a:lnTo>
                    <a:pt x="529" y="425"/>
                  </a:lnTo>
                  <a:lnTo>
                    <a:pt x="597" y="415"/>
                  </a:lnTo>
                  <a:lnTo>
                    <a:pt x="664" y="397"/>
                  </a:lnTo>
                  <a:lnTo>
                    <a:pt x="728" y="374"/>
                  </a:lnTo>
                  <a:lnTo>
                    <a:pt x="788" y="344"/>
                  </a:lnTo>
                  <a:lnTo>
                    <a:pt x="817" y="327"/>
                  </a:lnTo>
                  <a:lnTo>
                    <a:pt x="845" y="309"/>
                  </a:lnTo>
                  <a:lnTo>
                    <a:pt x="898" y="268"/>
                  </a:lnTo>
                  <a:lnTo>
                    <a:pt x="947" y="223"/>
                  </a:lnTo>
                  <a:lnTo>
                    <a:pt x="746" y="173"/>
                  </a:lnTo>
                  <a:lnTo>
                    <a:pt x="701" y="0"/>
                  </a:lnTo>
                  <a:lnTo>
                    <a:pt x="677" y="22"/>
                  </a:lnTo>
                  <a:lnTo>
                    <a:pt x="650" y="41"/>
                  </a:lnTo>
                  <a:lnTo>
                    <a:pt x="621" y="57"/>
                  </a:lnTo>
                  <a:lnTo>
                    <a:pt x="591" y="72"/>
                  </a:lnTo>
                  <a:lnTo>
                    <a:pt x="560" y="83"/>
                  </a:lnTo>
                  <a:lnTo>
                    <a:pt x="526" y="91"/>
                  </a:lnTo>
                  <a:lnTo>
                    <a:pt x="493" y="96"/>
                  </a:lnTo>
                  <a:lnTo>
                    <a:pt x="458" y="98"/>
                  </a:lnTo>
                  <a:lnTo>
                    <a:pt x="433" y="97"/>
                  </a:lnTo>
                  <a:lnTo>
                    <a:pt x="408" y="94"/>
                  </a:lnTo>
                  <a:lnTo>
                    <a:pt x="384" y="90"/>
                  </a:lnTo>
                  <a:lnTo>
                    <a:pt x="361" y="85"/>
                  </a:lnTo>
                  <a:lnTo>
                    <a:pt x="338" y="77"/>
                  </a:lnTo>
                  <a:lnTo>
                    <a:pt x="316" y="69"/>
                  </a:lnTo>
                  <a:lnTo>
                    <a:pt x="295" y="58"/>
                  </a:lnTo>
                  <a:lnTo>
                    <a:pt x="274" y="46"/>
                  </a:lnTo>
                  <a:lnTo>
                    <a:pt x="311" y="8"/>
                  </a:lnTo>
                </a:path>
              </a:pathLst>
            </a:custGeom>
            <a:solidFill>
              <a:schemeClr val="accent2"/>
            </a:solidFill>
            <a:ln w="6350" cap="rnd" cmpd="sng">
              <a:noFill/>
              <a:prstDash val="solid"/>
              <a:round/>
              <a:headEnd/>
              <a:tailEnd/>
            </a:ln>
            <a:effectLst/>
          </p:spPr>
          <p:txBody>
            <a:bodyPr lIns="45720" rIns="45720" anchor="ctr" anchorCtr="1"/>
            <a:lstStyle/>
            <a:p>
              <a:endParaRPr lang="en-US" sz="1600" b="1">
                <a:solidFill>
                  <a:schemeClr val="bg1"/>
                </a:solidFill>
              </a:endParaRPr>
            </a:p>
          </p:txBody>
        </p:sp>
        <p:sp>
          <p:nvSpPr>
            <p:cNvPr id="24" name="Freeform 6">
              <a:extLst>
                <a:ext uri="{FF2B5EF4-FFF2-40B4-BE49-F238E27FC236}">
                  <a16:creationId xmlns:a16="http://schemas.microsoft.com/office/drawing/2014/main" id="{794199C6-3F8A-491D-94B1-2B5192B06F0D}"/>
                </a:ext>
              </a:extLst>
            </p:cNvPr>
            <p:cNvSpPr>
              <a:spLocks/>
            </p:cNvSpPr>
            <p:nvPr/>
          </p:nvSpPr>
          <p:spPr bwMode="auto">
            <a:xfrm>
              <a:off x="3394" y="1606"/>
              <a:ext cx="847" cy="1949"/>
            </a:xfrm>
            <a:custGeom>
              <a:avLst/>
              <a:gdLst/>
              <a:ahLst/>
              <a:cxnLst>
                <a:cxn ang="0">
                  <a:pos x="5" y="637"/>
                </a:cxn>
                <a:cxn ang="0">
                  <a:pos x="69" y="883"/>
                </a:cxn>
                <a:cxn ang="0">
                  <a:pos x="325" y="947"/>
                </a:cxn>
                <a:cxn ang="0">
                  <a:pos x="281" y="905"/>
                </a:cxn>
                <a:cxn ang="0">
                  <a:pos x="314" y="860"/>
                </a:cxn>
                <a:cxn ang="0">
                  <a:pos x="342" y="813"/>
                </a:cxn>
                <a:cxn ang="0">
                  <a:pos x="367" y="763"/>
                </a:cxn>
                <a:cxn ang="0">
                  <a:pos x="388" y="711"/>
                </a:cxn>
                <a:cxn ang="0">
                  <a:pos x="404" y="657"/>
                </a:cxn>
                <a:cxn ang="0">
                  <a:pos x="417" y="602"/>
                </a:cxn>
                <a:cxn ang="0">
                  <a:pos x="424" y="545"/>
                </a:cxn>
                <a:cxn ang="0">
                  <a:pos x="424" y="487"/>
                </a:cxn>
                <a:cxn ang="0">
                  <a:pos x="423" y="416"/>
                </a:cxn>
                <a:cxn ang="0">
                  <a:pos x="412" y="347"/>
                </a:cxn>
                <a:cxn ang="0">
                  <a:pos x="394" y="281"/>
                </a:cxn>
                <a:cxn ang="0">
                  <a:pos x="371" y="219"/>
                </a:cxn>
                <a:cxn ang="0">
                  <a:pos x="342" y="158"/>
                </a:cxn>
                <a:cxn ang="0">
                  <a:pos x="306" y="101"/>
                </a:cxn>
                <a:cxn ang="0">
                  <a:pos x="266" y="48"/>
                </a:cxn>
                <a:cxn ang="0">
                  <a:pos x="220" y="0"/>
                </a:cxn>
                <a:cxn ang="0">
                  <a:pos x="169" y="203"/>
                </a:cxn>
                <a:cxn ang="0">
                  <a:pos x="0" y="247"/>
                </a:cxn>
                <a:cxn ang="0">
                  <a:pos x="22" y="272"/>
                </a:cxn>
                <a:cxn ang="0">
                  <a:pos x="40" y="298"/>
                </a:cxn>
                <a:cxn ang="0">
                  <a:pos x="56" y="326"/>
                </a:cxn>
                <a:cxn ang="0">
                  <a:pos x="69" y="356"/>
                </a:cxn>
                <a:cxn ang="0">
                  <a:pos x="81" y="387"/>
                </a:cxn>
                <a:cxn ang="0">
                  <a:pos x="89" y="419"/>
                </a:cxn>
                <a:cxn ang="0">
                  <a:pos x="93" y="452"/>
                </a:cxn>
                <a:cxn ang="0">
                  <a:pos x="95" y="487"/>
                </a:cxn>
                <a:cxn ang="0">
                  <a:pos x="91" y="536"/>
                </a:cxn>
                <a:cxn ang="0">
                  <a:pos x="81" y="585"/>
                </a:cxn>
                <a:cxn ang="0">
                  <a:pos x="64" y="629"/>
                </a:cxn>
                <a:cxn ang="0">
                  <a:pos x="42" y="671"/>
                </a:cxn>
                <a:cxn ang="0">
                  <a:pos x="5" y="637"/>
                </a:cxn>
              </a:cxnLst>
              <a:rect l="0" t="0" r="r" b="b"/>
              <a:pathLst>
                <a:path w="425" h="948">
                  <a:moveTo>
                    <a:pt x="5" y="637"/>
                  </a:moveTo>
                  <a:lnTo>
                    <a:pt x="69" y="883"/>
                  </a:lnTo>
                  <a:lnTo>
                    <a:pt x="325" y="947"/>
                  </a:lnTo>
                  <a:lnTo>
                    <a:pt x="281" y="905"/>
                  </a:lnTo>
                  <a:lnTo>
                    <a:pt x="314" y="860"/>
                  </a:lnTo>
                  <a:lnTo>
                    <a:pt x="342" y="813"/>
                  </a:lnTo>
                  <a:lnTo>
                    <a:pt x="367" y="763"/>
                  </a:lnTo>
                  <a:lnTo>
                    <a:pt x="388" y="711"/>
                  </a:lnTo>
                  <a:lnTo>
                    <a:pt x="404" y="657"/>
                  </a:lnTo>
                  <a:lnTo>
                    <a:pt x="417" y="602"/>
                  </a:lnTo>
                  <a:lnTo>
                    <a:pt x="424" y="545"/>
                  </a:lnTo>
                  <a:lnTo>
                    <a:pt x="424" y="487"/>
                  </a:lnTo>
                  <a:lnTo>
                    <a:pt x="423" y="416"/>
                  </a:lnTo>
                  <a:lnTo>
                    <a:pt x="412" y="347"/>
                  </a:lnTo>
                  <a:lnTo>
                    <a:pt x="394" y="281"/>
                  </a:lnTo>
                  <a:lnTo>
                    <a:pt x="371" y="219"/>
                  </a:lnTo>
                  <a:lnTo>
                    <a:pt x="342" y="158"/>
                  </a:lnTo>
                  <a:lnTo>
                    <a:pt x="306" y="101"/>
                  </a:lnTo>
                  <a:lnTo>
                    <a:pt x="266" y="48"/>
                  </a:lnTo>
                  <a:lnTo>
                    <a:pt x="220" y="0"/>
                  </a:lnTo>
                  <a:lnTo>
                    <a:pt x="169" y="203"/>
                  </a:lnTo>
                  <a:lnTo>
                    <a:pt x="0" y="247"/>
                  </a:lnTo>
                  <a:lnTo>
                    <a:pt x="22" y="272"/>
                  </a:lnTo>
                  <a:lnTo>
                    <a:pt x="40" y="298"/>
                  </a:lnTo>
                  <a:lnTo>
                    <a:pt x="56" y="326"/>
                  </a:lnTo>
                  <a:lnTo>
                    <a:pt x="69" y="356"/>
                  </a:lnTo>
                  <a:lnTo>
                    <a:pt x="81" y="387"/>
                  </a:lnTo>
                  <a:lnTo>
                    <a:pt x="89" y="419"/>
                  </a:lnTo>
                  <a:lnTo>
                    <a:pt x="93" y="452"/>
                  </a:lnTo>
                  <a:lnTo>
                    <a:pt x="95" y="487"/>
                  </a:lnTo>
                  <a:lnTo>
                    <a:pt x="91" y="536"/>
                  </a:lnTo>
                  <a:lnTo>
                    <a:pt x="81" y="585"/>
                  </a:lnTo>
                  <a:lnTo>
                    <a:pt x="64" y="629"/>
                  </a:lnTo>
                  <a:lnTo>
                    <a:pt x="42" y="671"/>
                  </a:lnTo>
                  <a:lnTo>
                    <a:pt x="5" y="637"/>
                  </a:lnTo>
                </a:path>
              </a:pathLst>
            </a:custGeom>
            <a:solidFill>
              <a:schemeClr val="accent3"/>
            </a:solidFill>
            <a:ln w="6350" cap="rnd" cmpd="sng">
              <a:noFill/>
              <a:prstDash val="solid"/>
              <a:round/>
              <a:headEnd/>
              <a:tailEnd/>
            </a:ln>
            <a:effectLst/>
          </p:spPr>
          <p:txBody>
            <a:bodyPr lIns="45720" rIns="45720" anchor="ctr" anchorCtr="1"/>
            <a:lstStyle/>
            <a:p>
              <a:endParaRPr lang="en-US" sz="1600" b="1">
                <a:solidFill>
                  <a:schemeClr val="bg1"/>
                </a:solidFill>
              </a:endParaRPr>
            </a:p>
          </p:txBody>
        </p:sp>
        <p:sp>
          <p:nvSpPr>
            <p:cNvPr id="25" name="Freeform 7">
              <a:extLst>
                <a:ext uri="{FF2B5EF4-FFF2-40B4-BE49-F238E27FC236}">
                  <a16:creationId xmlns:a16="http://schemas.microsoft.com/office/drawing/2014/main" id="{FB048D56-EFEF-450E-BC7A-85564984D222}"/>
                </a:ext>
              </a:extLst>
            </p:cNvPr>
            <p:cNvSpPr>
              <a:spLocks/>
            </p:cNvSpPr>
            <p:nvPr/>
          </p:nvSpPr>
          <p:spPr bwMode="auto">
            <a:xfrm>
              <a:off x="1900" y="1204"/>
              <a:ext cx="1901" cy="879"/>
            </a:xfrm>
            <a:custGeom>
              <a:avLst/>
              <a:gdLst/>
              <a:ahLst/>
              <a:cxnLst>
                <a:cxn ang="0">
                  <a:pos x="643" y="425"/>
                </a:cxn>
                <a:cxn ang="0">
                  <a:pos x="890" y="362"/>
                </a:cxn>
                <a:cxn ang="0">
                  <a:pos x="953" y="105"/>
                </a:cxn>
                <a:cxn ang="0">
                  <a:pos x="914" y="147"/>
                </a:cxn>
                <a:cxn ang="0">
                  <a:pos x="869" y="114"/>
                </a:cxn>
                <a:cxn ang="0">
                  <a:pos x="821" y="85"/>
                </a:cxn>
                <a:cxn ang="0">
                  <a:pos x="771" y="60"/>
                </a:cxn>
                <a:cxn ang="0">
                  <a:pos x="719" y="39"/>
                </a:cxn>
                <a:cxn ang="0">
                  <a:pos x="664" y="22"/>
                </a:cxn>
                <a:cxn ang="0">
                  <a:pos x="608" y="10"/>
                </a:cxn>
                <a:cxn ang="0">
                  <a:pos x="551" y="2"/>
                </a:cxn>
                <a:cxn ang="0">
                  <a:pos x="491" y="0"/>
                </a:cxn>
                <a:cxn ang="0">
                  <a:pos x="420" y="3"/>
                </a:cxn>
                <a:cxn ang="0">
                  <a:pos x="351" y="14"/>
                </a:cxn>
                <a:cxn ang="0">
                  <a:pos x="284" y="32"/>
                </a:cxn>
                <a:cxn ang="0">
                  <a:pos x="220" y="57"/>
                </a:cxn>
                <a:cxn ang="0">
                  <a:pos x="160" y="86"/>
                </a:cxn>
                <a:cxn ang="0">
                  <a:pos x="102" y="122"/>
                </a:cxn>
                <a:cxn ang="0">
                  <a:pos x="49" y="163"/>
                </a:cxn>
                <a:cxn ang="0">
                  <a:pos x="0" y="209"/>
                </a:cxn>
                <a:cxn ang="0">
                  <a:pos x="207" y="261"/>
                </a:cxn>
                <a:cxn ang="0">
                  <a:pos x="251" y="427"/>
                </a:cxn>
                <a:cxn ang="0">
                  <a:pos x="276" y="405"/>
                </a:cxn>
                <a:cxn ang="0">
                  <a:pos x="302" y="387"/>
                </a:cxn>
                <a:cxn ang="0">
                  <a:pos x="330" y="370"/>
                </a:cxn>
                <a:cxn ang="0">
                  <a:pos x="360" y="357"/>
                </a:cxn>
                <a:cxn ang="0">
                  <a:pos x="391" y="346"/>
                </a:cxn>
                <a:cxn ang="0">
                  <a:pos x="424" y="338"/>
                </a:cxn>
                <a:cxn ang="0">
                  <a:pos x="458" y="333"/>
                </a:cxn>
                <a:cxn ang="0">
                  <a:pos x="491" y="331"/>
                </a:cxn>
                <a:cxn ang="0">
                  <a:pos x="543" y="335"/>
                </a:cxn>
                <a:cxn ang="0">
                  <a:pos x="591" y="346"/>
                </a:cxn>
                <a:cxn ang="0">
                  <a:pos x="638" y="363"/>
                </a:cxn>
                <a:cxn ang="0">
                  <a:pos x="680" y="386"/>
                </a:cxn>
                <a:cxn ang="0">
                  <a:pos x="643" y="425"/>
                </a:cxn>
              </a:cxnLst>
              <a:rect l="0" t="0" r="r" b="b"/>
              <a:pathLst>
                <a:path w="954" h="428">
                  <a:moveTo>
                    <a:pt x="643" y="425"/>
                  </a:moveTo>
                  <a:lnTo>
                    <a:pt x="890" y="362"/>
                  </a:lnTo>
                  <a:lnTo>
                    <a:pt x="953" y="105"/>
                  </a:lnTo>
                  <a:lnTo>
                    <a:pt x="914" y="147"/>
                  </a:lnTo>
                  <a:lnTo>
                    <a:pt x="869" y="114"/>
                  </a:lnTo>
                  <a:lnTo>
                    <a:pt x="821" y="85"/>
                  </a:lnTo>
                  <a:lnTo>
                    <a:pt x="771" y="60"/>
                  </a:lnTo>
                  <a:lnTo>
                    <a:pt x="719" y="39"/>
                  </a:lnTo>
                  <a:lnTo>
                    <a:pt x="664" y="22"/>
                  </a:lnTo>
                  <a:lnTo>
                    <a:pt x="608" y="10"/>
                  </a:lnTo>
                  <a:lnTo>
                    <a:pt x="551" y="2"/>
                  </a:lnTo>
                  <a:lnTo>
                    <a:pt x="491" y="0"/>
                  </a:lnTo>
                  <a:lnTo>
                    <a:pt x="420" y="3"/>
                  </a:lnTo>
                  <a:lnTo>
                    <a:pt x="351" y="14"/>
                  </a:lnTo>
                  <a:lnTo>
                    <a:pt x="284" y="32"/>
                  </a:lnTo>
                  <a:lnTo>
                    <a:pt x="220" y="57"/>
                  </a:lnTo>
                  <a:lnTo>
                    <a:pt x="160" y="86"/>
                  </a:lnTo>
                  <a:lnTo>
                    <a:pt x="102" y="122"/>
                  </a:lnTo>
                  <a:lnTo>
                    <a:pt x="49" y="163"/>
                  </a:lnTo>
                  <a:lnTo>
                    <a:pt x="0" y="209"/>
                  </a:lnTo>
                  <a:lnTo>
                    <a:pt x="207" y="261"/>
                  </a:lnTo>
                  <a:lnTo>
                    <a:pt x="251" y="427"/>
                  </a:lnTo>
                  <a:lnTo>
                    <a:pt x="276" y="405"/>
                  </a:lnTo>
                  <a:lnTo>
                    <a:pt x="302" y="387"/>
                  </a:lnTo>
                  <a:lnTo>
                    <a:pt x="330" y="370"/>
                  </a:lnTo>
                  <a:lnTo>
                    <a:pt x="360" y="357"/>
                  </a:lnTo>
                  <a:lnTo>
                    <a:pt x="391" y="346"/>
                  </a:lnTo>
                  <a:lnTo>
                    <a:pt x="424" y="338"/>
                  </a:lnTo>
                  <a:lnTo>
                    <a:pt x="458" y="333"/>
                  </a:lnTo>
                  <a:lnTo>
                    <a:pt x="491" y="331"/>
                  </a:lnTo>
                  <a:lnTo>
                    <a:pt x="543" y="335"/>
                  </a:lnTo>
                  <a:lnTo>
                    <a:pt x="591" y="346"/>
                  </a:lnTo>
                  <a:lnTo>
                    <a:pt x="638" y="363"/>
                  </a:lnTo>
                  <a:lnTo>
                    <a:pt x="680" y="386"/>
                  </a:lnTo>
                  <a:lnTo>
                    <a:pt x="643" y="425"/>
                  </a:lnTo>
                </a:path>
              </a:pathLst>
            </a:custGeom>
            <a:solidFill>
              <a:schemeClr val="accent5"/>
            </a:solidFill>
            <a:ln w="6350" cap="rnd" cmpd="sng">
              <a:noFill/>
              <a:prstDash val="solid"/>
              <a:round/>
              <a:headEnd/>
              <a:tailEnd/>
            </a:ln>
            <a:effectLst/>
          </p:spPr>
          <p:txBody>
            <a:bodyPr lIns="45720" rIns="45720" anchor="ctr" anchorCtr="1"/>
            <a:lstStyle/>
            <a:p>
              <a:endParaRPr lang="en-US" sz="1600" b="1">
                <a:solidFill>
                  <a:schemeClr val="bg1"/>
                </a:solidFill>
              </a:endParaRPr>
            </a:p>
          </p:txBody>
        </p:sp>
        <p:sp>
          <p:nvSpPr>
            <p:cNvPr id="26" name="Text Box 8">
              <a:extLst>
                <a:ext uri="{FF2B5EF4-FFF2-40B4-BE49-F238E27FC236}">
                  <a16:creationId xmlns:a16="http://schemas.microsoft.com/office/drawing/2014/main" id="{E66F3F7E-4C85-47FD-B5FA-8AA910CBBA96}"/>
                </a:ext>
              </a:extLst>
            </p:cNvPr>
            <p:cNvSpPr txBox="1">
              <a:spLocks noChangeArrowheads="1"/>
            </p:cNvSpPr>
            <p:nvPr/>
          </p:nvSpPr>
          <p:spPr bwMode="auto">
            <a:xfrm>
              <a:off x="2705" y="1393"/>
              <a:ext cx="356" cy="232"/>
            </a:xfrm>
            <a:prstGeom prst="rect">
              <a:avLst/>
            </a:prstGeom>
            <a:noFill/>
            <a:ln w="6350">
              <a:noFill/>
              <a:miter lim="800000"/>
              <a:headEnd/>
              <a:tailEnd/>
            </a:ln>
            <a:effectLst/>
          </p:spPr>
          <p:txBody>
            <a:bodyPr lIns="45720" rIns="45720" anchor="ctr" anchorCtr="1"/>
            <a:lstStyle/>
            <a:p>
              <a:pPr algn="ctr" eaLnBrk="0" hangingPunct="0"/>
              <a:r>
                <a:rPr lang="en-US" sz="1600" b="1" dirty="0">
                  <a:solidFill>
                    <a:schemeClr val="bg1"/>
                  </a:solidFill>
                </a:rPr>
                <a:t>Text</a:t>
              </a:r>
            </a:p>
          </p:txBody>
        </p:sp>
        <p:sp>
          <p:nvSpPr>
            <p:cNvPr id="27" name="Text Box 9">
              <a:extLst>
                <a:ext uri="{FF2B5EF4-FFF2-40B4-BE49-F238E27FC236}">
                  <a16:creationId xmlns:a16="http://schemas.microsoft.com/office/drawing/2014/main" id="{BBEDD887-F18B-4A7F-90D8-E69D133E6307}"/>
                </a:ext>
              </a:extLst>
            </p:cNvPr>
            <p:cNvSpPr txBox="1">
              <a:spLocks noChangeArrowheads="1"/>
            </p:cNvSpPr>
            <p:nvPr/>
          </p:nvSpPr>
          <p:spPr bwMode="auto">
            <a:xfrm>
              <a:off x="2705" y="3502"/>
              <a:ext cx="356" cy="231"/>
            </a:xfrm>
            <a:prstGeom prst="rect">
              <a:avLst/>
            </a:prstGeom>
            <a:noFill/>
            <a:ln w="6350">
              <a:noFill/>
              <a:miter lim="800000"/>
              <a:headEnd/>
              <a:tailEnd/>
            </a:ln>
            <a:effectLst/>
          </p:spPr>
          <p:txBody>
            <a:bodyPr lIns="45720" rIns="45720" anchor="ctr" anchorCtr="1"/>
            <a:lstStyle/>
            <a:p>
              <a:pPr algn="ctr" eaLnBrk="0" hangingPunct="0"/>
              <a:r>
                <a:rPr lang="en-US" sz="1600" b="1" dirty="0">
                  <a:solidFill>
                    <a:schemeClr val="bg1"/>
                  </a:solidFill>
                </a:rPr>
                <a:t>Text</a:t>
              </a:r>
            </a:p>
          </p:txBody>
        </p:sp>
        <p:sp>
          <p:nvSpPr>
            <p:cNvPr id="28" name="Text Box 10">
              <a:extLst>
                <a:ext uri="{FF2B5EF4-FFF2-40B4-BE49-F238E27FC236}">
                  <a16:creationId xmlns:a16="http://schemas.microsoft.com/office/drawing/2014/main" id="{48942B0B-6587-4AB2-8FBE-9F167F8E5223}"/>
                </a:ext>
              </a:extLst>
            </p:cNvPr>
            <p:cNvSpPr txBox="1">
              <a:spLocks noChangeArrowheads="1"/>
            </p:cNvSpPr>
            <p:nvPr/>
          </p:nvSpPr>
          <p:spPr bwMode="auto">
            <a:xfrm>
              <a:off x="1504" y="2535"/>
              <a:ext cx="587" cy="155"/>
            </a:xfrm>
            <a:prstGeom prst="rect">
              <a:avLst/>
            </a:prstGeom>
            <a:noFill/>
            <a:ln w="6350">
              <a:noFill/>
              <a:miter lim="800000"/>
              <a:headEnd/>
              <a:tailEnd/>
            </a:ln>
            <a:effectLst/>
          </p:spPr>
          <p:txBody>
            <a:bodyPr lIns="0" tIns="0" rIns="0" bIns="0">
              <a:spAutoFit/>
            </a:bodyPr>
            <a:lstStyle/>
            <a:p>
              <a:pPr algn="ctr" eaLnBrk="0" hangingPunct="0"/>
              <a:r>
                <a:rPr lang="en-GB" sz="1600" b="1" dirty="0">
                  <a:solidFill>
                    <a:schemeClr val="bg1"/>
                  </a:solidFill>
                </a:rPr>
                <a:t>Text</a:t>
              </a:r>
            </a:p>
          </p:txBody>
        </p:sp>
        <p:sp>
          <p:nvSpPr>
            <p:cNvPr id="29" name="Text Box 11">
              <a:extLst>
                <a:ext uri="{FF2B5EF4-FFF2-40B4-BE49-F238E27FC236}">
                  <a16:creationId xmlns:a16="http://schemas.microsoft.com/office/drawing/2014/main" id="{346FDCD2-0723-4230-B592-7A946A3A4617}"/>
                </a:ext>
              </a:extLst>
            </p:cNvPr>
            <p:cNvSpPr txBox="1">
              <a:spLocks noChangeArrowheads="1"/>
            </p:cNvSpPr>
            <p:nvPr/>
          </p:nvSpPr>
          <p:spPr bwMode="auto">
            <a:xfrm>
              <a:off x="3586" y="2495"/>
              <a:ext cx="588" cy="155"/>
            </a:xfrm>
            <a:prstGeom prst="rect">
              <a:avLst/>
            </a:prstGeom>
            <a:noFill/>
            <a:ln w="6350">
              <a:noFill/>
              <a:miter lim="800000"/>
              <a:headEnd/>
              <a:tailEnd/>
            </a:ln>
            <a:effectLst/>
          </p:spPr>
          <p:txBody>
            <a:bodyPr lIns="0" tIns="0" rIns="0" bIns="0">
              <a:spAutoFit/>
            </a:bodyPr>
            <a:lstStyle/>
            <a:p>
              <a:pPr algn="ctr" eaLnBrk="0" hangingPunct="0"/>
              <a:r>
                <a:rPr lang="en-GB" sz="1600" b="1">
                  <a:solidFill>
                    <a:schemeClr val="bg1"/>
                  </a:solidFill>
                </a:rPr>
                <a:t>Text</a:t>
              </a:r>
            </a:p>
          </p:txBody>
        </p:sp>
      </p:grpSp>
      <p:sp>
        <p:nvSpPr>
          <p:cNvPr id="5" name="Footer Placeholder 4">
            <a:extLst>
              <a:ext uri="{FF2B5EF4-FFF2-40B4-BE49-F238E27FC236}">
                <a16:creationId xmlns:a16="http://schemas.microsoft.com/office/drawing/2014/main" id="{DBEC5FA0-3D28-4A81-AD53-007E89F65449}"/>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6E98A203-8047-4CF6-A70E-E9467F40D7E6}"/>
              </a:ext>
            </a:extLst>
          </p:cNvPr>
          <p:cNvSpPr>
            <a:spLocks noGrp="1"/>
          </p:cNvSpPr>
          <p:nvPr>
            <p:ph type="sldNum" sz="quarter" idx="10"/>
          </p:nvPr>
        </p:nvSpPr>
        <p:spPr/>
        <p:txBody>
          <a:bodyPr/>
          <a:lstStyle/>
          <a:p>
            <a:fld id="{1F90F471-3972-4120-B8B3-0237DE626C35}" type="slidenum">
              <a:rPr lang="en-US" smtClean="0"/>
              <a:pPr/>
              <a:t>250</a:t>
            </a:fld>
            <a:endParaRPr lang="en-US" dirty="0"/>
          </a:p>
        </p:txBody>
      </p:sp>
    </p:spTree>
    <p:extLst>
      <p:ext uri="{BB962C8B-B14F-4D97-AF65-F5344CB8AC3E}">
        <p14:creationId xmlns:p14="http://schemas.microsoft.com/office/powerpoint/2010/main" val="1945622500"/>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Circular Flow 5</a:t>
            </a:r>
          </a:p>
        </p:txBody>
      </p:sp>
      <p:grpSp>
        <p:nvGrpSpPr>
          <p:cNvPr id="5" name="Group 16" descr="Add text and order accordingly">
            <a:extLst>
              <a:ext uri="{FF2B5EF4-FFF2-40B4-BE49-F238E27FC236}">
                <a16:creationId xmlns:a16="http://schemas.microsoft.com/office/drawing/2014/main" id="{810B75A2-F491-46F5-825A-CA98F3B4C8A2}"/>
              </a:ext>
            </a:extLst>
          </p:cNvPr>
          <p:cNvGrpSpPr>
            <a:grpSpLocks/>
          </p:cNvGrpSpPr>
          <p:nvPr/>
        </p:nvGrpSpPr>
        <p:grpSpPr bwMode="auto">
          <a:xfrm>
            <a:off x="3817144" y="1371600"/>
            <a:ext cx="4583113" cy="4537075"/>
            <a:chOff x="1473" y="1208"/>
            <a:chExt cx="2887" cy="2858"/>
          </a:xfrm>
          <a:solidFill>
            <a:schemeClr val="accent2"/>
          </a:solidFill>
        </p:grpSpPr>
        <p:sp>
          <p:nvSpPr>
            <p:cNvPr id="6" name="Freeform 4">
              <a:extLst>
                <a:ext uri="{FF2B5EF4-FFF2-40B4-BE49-F238E27FC236}">
                  <a16:creationId xmlns:a16="http://schemas.microsoft.com/office/drawing/2014/main" id="{69BDC05D-D8E0-40C0-9364-A02E9E62130D}"/>
                </a:ext>
              </a:extLst>
            </p:cNvPr>
            <p:cNvSpPr>
              <a:spLocks/>
            </p:cNvSpPr>
            <p:nvPr/>
          </p:nvSpPr>
          <p:spPr bwMode="auto">
            <a:xfrm>
              <a:off x="1630" y="1208"/>
              <a:ext cx="1535" cy="1146"/>
            </a:xfrm>
            <a:custGeom>
              <a:avLst/>
              <a:gdLst/>
              <a:ahLst/>
              <a:cxnLst>
                <a:cxn ang="0">
                  <a:pos x="579" y="438"/>
                </a:cxn>
                <a:cxn ang="0">
                  <a:pos x="740" y="243"/>
                </a:cxn>
                <a:cxn ang="0">
                  <a:pos x="642" y="0"/>
                </a:cxn>
                <a:cxn ang="0">
                  <a:pos x="635" y="54"/>
                </a:cxn>
                <a:cxn ang="0">
                  <a:pos x="610" y="53"/>
                </a:cxn>
                <a:cxn ang="0">
                  <a:pos x="560" y="55"/>
                </a:cxn>
                <a:cxn ang="0">
                  <a:pos x="511" y="60"/>
                </a:cxn>
                <a:cxn ang="0">
                  <a:pos x="463" y="69"/>
                </a:cxn>
                <a:cxn ang="0">
                  <a:pos x="417" y="81"/>
                </a:cxn>
                <a:cxn ang="0">
                  <a:pos x="372" y="96"/>
                </a:cxn>
                <a:cxn ang="0">
                  <a:pos x="328" y="115"/>
                </a:cxn>
                <a:cxn ang="0">
                  <a:pos x="286" y="136"/>
                </a:cxn>
                <a:cxn ang="0">
                  <a:pos x="246" y="159"/>
                </a:cxn>
                <a:cxn ang="0">
                  <a:pos x="208" y="186"/>
                </a:cxn>
                <a:cxn ang="0">
                  <a:pos x="171" y="215"/>
                </a:cxn>
                <a:cxn ang="0">
                  <a:pos x="137" y="247"/>
                </a:cxn>
                <a:cxn ang="0">
                  <a:pos x="104" y="280"/>
                </a:cxn>
                <a:cxn ang="0">
                  <a:pos x="74" y="316"/>
                </a:cxn>
                <a:cxn ang="0">
                  <a:pos x="47" y="354"/>
                </a:cxn>
                <a:cxn ang="0">
                  <a:pos x="23" y="394"/>
                </a:cxn>
                <a:cxn ang="0">
                  <a:pos x="0" y="435"/>
                </a:cxn>
                <a:cxn ang="0">
                  <a:pos x="212" y="421"/>
                </a:cxn>
                <a:cxn ang="0">
                  <a:pos x="304" y="564"/>
                </a:cxn>
                <a:cxn ang="0">
                  <a:pos x="327" y="527"/>
                </a:cxn>
                <a:cxn ang="0">
                  <a:pos x="354" y="494"/>
                </a:cxn>
                <a:cxn ang="0">
                  <a:pos x="385" y="464"/>
                </a:cxn>
                <a:cxn ang="0">
                  <a:pos x="420" y="439"/>
                </a:cxn>
                <a:cxn ang="0">
                  <a:pos x="459" y="417"/>
                </a:cxn>
                <a:cxn ang="0">
                  <a:pos x="478" y="408"/>
                </a:cxn>
                <a:cxn ang="0">
                  <a:pos x="499" y="400"/>
                </a:cxn>
                <a:cxn ang="0">
                  <a:pos x="520" y="394"/>
                </a:cxn>
                <a:cxn ang="0">
                  <a:pos x="542" y="389"/>
                </a:cxn>
                <a:cxn ang="0">
                  <a:pos x="565" y="385"/>
                </a:cxn>
                <a:cxn ang="0">
                  <a:pos x="587" y="384"/>
                </a:cxn>
                <a:cxn ang="0">
                  <a:pos x="579" y="438"/>
                </a:cxn>
              </a:cxnLst>
              <a:rect l="0" t="0" r="r" b="b"/>
              <a:pathLst>
                <a:path w="741" h="565">
                  <a:moveTo>
                    <a:pt x="579" y="438"/>
                  </a:moveTo>
                  <a:lnTo>
                    <a:pt x="740" y="243"/>
                  </a:lnTo>
                  <a:lnTo>
                    <a:pt x="642" y="0"/>
                  </a:lnTo>
                  <a:lnTo>
                    <a:pt x="635" y="54"/>
                  </a:lnTo>
                  <a:lnTo>
                    <a:pt x="610" y="53"/>
                  </a:lnTo>
                  <a:lnTo>
                    <a:pt x="560" y="55"/>
                  </a:lnTo>
                  <a:lnTo>
                    <a:pt x="511" y="60"/>
                  </a:lnTo>
                  <a:lnTo>
                    <a:pt x="463" y="69"/>
                  </a:lnTo>
                  <a:lnTo>
                    <a:pt x="417" y="81"/>
                  </a:lnTo>
                  <a:lnTo>
                    <a:pt x="372" y="96"/>
                  </a:lnTo>
                  <a:lnTo>
                    <a:pt x="328" y="115"/>
                  </a:lnTo>
                  <a:lnTo>
                    <a:pt x="286" y="136"/>
                  </a:lnTo>
                  <a:lnTo>
                    <a:pt x="246" y="159"/>
                  </a:lnTo>
                  <a:lnTo>
                    <a:pt x="208" y="186"/>
                  </a:lnTo>
                  <a:lnTo>
                    <a:pt x="171" y="215"/>
                  </a:lnTo>
                  <a:lnTo>
                    <a:pt x="137" y="247"/>
                  </a:lnTo>
                  <a:lnTo>
                    <a:pt x="104" y="280"/>
                  </a:lnTo>
                  <a:lnTo>
                    <a:pt x="74" y="316"/>
                  </a:lnTo>
                  <a:lnTo>
                    <a:pt x="47" y="354"/>
                  </a:lnTo>
                  <a:lnTo>
                    <a:pt x="23" y="394"/>
                  </a:lnTo>
                  <a:lnTo>
                    <a:pt x="0" y="435"/>
                  </a:lnTo>
                  <a:lnTo>
                    <a:pt x="212" y="421"/>
                  </a:lnTo>
                  <a:lnTo>
                    <a:pt x="304" y="564"/>
                  </a:lnTo>
                  <a:lnTo>
                    <a:pt x="327" y="527"/>
                  </a:lnTo>
                  <a:lnTo>
                    <a:pt x="354" y="494"/>
                  </a:lnTo>
                  <a:lnTo>
                    <a:pt x="385" y="464"/>
                  </a:lnTo>
                  <a:lnTo>
                    <a:pt x="420" y="439"/>
                  </a:lnTo>
                  <a:lnTo>
                    <a:pt x="459" y="417"/>
                  </a:lnTo>
                  <a:lnTo>
                    <a:pt x="478" y="408"/>
                  </a:lnTo>
                  <a:lnTo>
                    <a:pt x="499" y="400"/>
                  </a:lnTo>
                  <a:lnTo>
                    <a:pt x="520" y="394"/>
                  </a:lnTo>
                  <a:lnTo>
                    <a:pt x="542" y="389"/>
                  </a:lnTo>
                  <a:lnTo>
                    <a:pt x="565" y="385"/>
                  </a:lnTo>
                  <a:lnTo>
                    <a:pt x="587" y="384"/>
                  </a:lnTo>
                  <a:lnTo>
                    <a:pt x="579" y="438"/>
                  </a:lnTo>
                </a:path>
              </a:pathLst>
            </a:custGeom>
            <a:grpFill/>
            <a:ln w="6350" cap="rnd"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 name="Freeform 5">
              <a:extLst>
                <a:ext uri="{FF2B5EF4-FFF2-40B4-BE49-F238E27FC236}">
                  <a16:creationId xmlns:a16="http://schemas.microsoft.com/office/drawing/2014/main" id="{C2DABBBF-C6ED-452D-9D4C-7456CD24C5DE}"/>
                </a:ext>
              </a:extLst>
            </p:cNvPr>
            <p:cNvSpPr>
              <a:spLocks/>
            </p:cNvSpPr>
            <p:nvPr/>
          </p:nvSpPr>
          <p:spPr bwMode="auto">
            <a:xfrm>
              <a:off x="3028" y="1330"/>
              <a:ext cx="1332" cy="1309"/>
            </a:xfrm>
            <a:custGeom>
              <a:avLst/>
              <a:gdLst/>
              <a:ahLst/>
              <a:cxnLst>
                <a:cxn ang="0">
                  <a:pos x="206" y="552"/>
                </a:cxn>
                <a:cxn ang="0">
                  <a:pos x="444" y="645"/>
                </a:cxn>
                <a:cxn ang="0">
                  <a:pos x="642" y="477"/>
                </a:cxn>
                <a:cxn ang="0">
                  <a:pos x="587" y="487"/>
                </a:cxn>
                <a:cxn ang="0">
                  <a:pos x="571" y="440"/>
                </a:cxn>
                <a:cxn ang="0">
                  <a:pos x="552" y="394"/>
                </a:cxn>
                <a:cxn ang="0">
                  <a:pos x="531" y="351"/>
                </a:cxn>
                <a:cxn ang="0">
                  <a:pos x="506" y="309"/>
                </a:cxn>
                <a:cxn ang="0">
                  <a:pos x="479" y="269"/>
                </a:cxn>
                <a:cxn ang="0">
                  <a:pos x="449" y="232"/>
                </a:cxn>
                <a:cxn ang="0">
                  <a:pos x="416" y="196"/>
                </a:cxn>
                <a:cxn ang="0">
                  <a:pos x="381" y="162"/>
                </a:cxn>
                <a:cxn ang="0">
                  <a:pos x="343" y="132"/>
                </a:cxn>
                <a:cxn ang="0">
                  <a:pos x="304" y="104"/>
                </a:cxn>
                <a:cxn ang="0">
                  <a:pos x="263" y="78"/>
                </a:cxn>
                <a:cxn ang="0">
                  <a:pos x="220" y="56"/>
                </a:cxn>
                <a:cxn ang="0">
                  <a:pos x="175" y="37"/>
                </a:cxn>
                <a:cxn ang="0">
                  <a:pos x="128" y="21"/>
                </a:cxn>
                <a:cxn ang="0">
                  <a:pos x="80" y="9"/>
                </a:cxn>
                <a:cxn ang="0">
                  <a:pos x="31" y="0"/>
                </a:cxn>
                <a:cxn ang="0">
                  <a:pos x="110" y="196"/>
                </a:cxn>
                <a:cxn ang="0">
                  <a:pos x="0" y="329"/>
                </a:cxn>
                <a:cxn ang="0">
                  <a:pos x="44" y="340"/>
                </a:cxn>
                <a:cxn ang="0">
                  <a:pos x="84" y="357"/>
                </a:cxn>
                <a:cxn ang="0">
                  <a:pos x="122" y="378"/>
                </a:cxn>
                <a:cxn ang="0">
                  <a:pos x="157" y="405"/>
                </a:cxn>
                <a:cxn ang="0">
                  <a:pos x="174" y="419"/>
                </a:cxn>
                <a:cxn ang="0">
                  <a:pos x="189" y="434"/>
                </a:cxn>
                <a:cxn ang="0">
                  <a:pos x="216" y="468"/>
                </a:cxn>
                <a:cxn ang="0">
                  <a:pos x="240" y="504"/>
                </a:cxn>
                <a:cxn ang="0">
                  <a:pos x="258" y="543"/>
                </a:cxn>
                <a:cxn ang="0">
                  <a:pos x="206" y="552"/>
                </a:cxn>
              </a:cxnLst>
              <a:rect l="0" t="0" r="r" b="b"/>
              <a:pathLst>
                <a:path w="643" h="646">
                  <a:moveTo>
                    <a:pt x="206" y="552"/>
                  </a:moveTo>
                  <a:lnTo>
                    <a:pt x="444" y="645"/>
                  </a:lnTo>
                  <a:lnTo>
                    <a:pt x="642" y="477"/>
                  </a:lnTo>
                  <a:lnTo>
                    <a:pt x="587" y="487"/>
                  </a:lnTo>
                  <a:lnTo>
                    <a:pt x="571" y="440"/>
                  </a:lnTo>
                  <a:lnTo>
                    <a:pt x="552" y="394"/>
                  </a:lnTo>
                  <a:lnTo>
                    <a:pt x="531" y="351"/>
                  </a:lnTo>
                  <a:lnTo>
                    <a:pt x="506" y="309"/>
                  </a:lnTo>
                  <a:lnTo>
                    <a:pt x="479" y="269"/>
                  </a:lnTo>
                  <a:lnTo>
                    <a:pt x="449" y="232"/>
                  </a:lnTo>
                  <a:lnTo>
                    <a:pt x="416" y="196"/>
                  </a:lnTo>
                  <a:lnTo>
                    <a:pt x="381" y="162"/>
                  </a:lnTo>
                  <a:lnTo>
                    <a:pt x="343" y="132"/>
                  </a:lnTo>
                  <a:lnTo>
                    <a:pt x="304" y="104"/>
                  </a:lnTo>
                  <a:lnTo>
                    <a:pt x="263" y="78"/>
                  </a:lnTo>
                  <a:lnTo>
                    <a:pt x="220" y="56"/>
                  </a:lnTo>
                  <a:lnTo>
                    <a:pt x="175" y="37"/>
                  </a:lnTo>
                  <a:lnTo>
                    <a:pt x="128" y="21"/>
                  </a:lnTo>
                  <a:lnTo>
                    <a:pt x="80" y="9"/>
                  </a:lnTo>
                  <a:lnTo>
                    <a:pt x="31" y="0"/>
                  </a:lnTo>
                  <a:lnTo>
                    <a:pt x="110" y="196"/>
                  </a:lnTo>
                  <a:lnTo>
                    <a:pt x="0" y="329"/>
                  </a:lnTo>
                  <a:lnTo>
                    <a:pt x="44" y="340"/>
                  </a:lnTo>
                  <a:lnTo>
                    <a:pt x="84" y="357"/>
                  </a:lnTo>
                  <a:lnTo>
                    <a:pt x="122" y="378"/>
                  </a:lnTo>
                  <a:lnTo>
                    <a:pt x="157" y="405"/>
                  </a:lnTo>
                  <a:lnTo>
                    <a:pt x="174" y="419"/>
                  </a:lnTo>
                  <a:lnTo>
                    <a:pt x="189" y="434"/>
                  </a:lnTo>
                  <a:lnTo>
                    <a:pt x="216" y="468"/>
                  </a:lnTo>
                  <a:lnTo>
                    <a:pt x="240" y="504"/>
                  </a:lnTo>
                  <a:lnTo>
                    <a:pt x="258" y="543"/>
                  </a:lnTo>
                  <a:lnTo>
                    <a:pt x="206" y="552"/>
                  </a:lnTo>
                </a:path>
              </a:pathLst>
            </a:custGeom>
            <a:grpFill/>
            <a:ln w="6350" cap="rnd"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 name="Freeform 6">
              <a:extLst>
                <a:ext uri="{FF2B5EF4-FFF2-40B4-BE49-F238E27FC236}">
                  <a16:creationId xmlns:a16="http://schemas.microsoft.com/office/drawing/2014/main" id="{5D371F0F-D72B-4800-BF05-67C4147D9E41}"/>
                </a:ext>
              </a:extLst>
            </p:cNvPr>
            <p:cNvSpPr>
              <a:spLocks/>
            </p:cNvSpPr>
            <p:nvPr/>
          </p:nvSpPr>
          <p:spPr bwMode="auto">
            <a:xfrm>
              <a:off x="3279" y="2461"/>
              <a:ext cx="1020" cy="1479"/>
            </a:xfrm>
            <a:custGeom>
              <a:avLst/>
              <a:gdLst/>
              <a:ahLst/>
              <a:cxnLst>
                <a:cxn ang="0">
                  <a:pos x="16" y="336"/>
                </a:cxn>
                <a:cxn ang="0">
                  <a:pos x="0" y="590"/>
                </a:cxn>
                <a:cxn ang="0">
                  <a:pos x="221" y="729"/>
                </a:cxn>
                <a:cxn ang="0">
                  <a:pos x="193" y="676"/>
                </a:cxn>
                <a:cxn ang="0">
                  <a:pos x="257" y="626"/>
                </a:cxn>
                <a:cxn ang="0">
                  <a:pos x="316" y="569"/>
                </a:cxn>
                <a:cxn ang="0">
                  <a:pos x="367" y="506"/>
                </a:cxn>
                <a:cxn ang="0">
                  <a:pos x="410" y="437"/>
                </a:cxn>
                <a:cxn ang="0">
                  <a:pos x="445" y="362"/>
                </a:cxn>
                <a:cxn ang="0">
                  <a:pos x="470" y="282"/>
                </a:cxn>
                <a:cxn ang="0">
                  <a:pos x="486" y="199"/>
                </a:cxn>
                <a:cxn ang="0">
                  <a:pos x="491" y="113"/>
                </a:cxn>
                <a:cxn ang="0">
                  <a:pos x="488" y="56"/>
                </a:cxn>
                <a:cxn ang="0">
                  <a:pos x="481" y="0"/>
                </a:cxn>
                <a:cxn ang="0">
                  <a:pos x="323" y="134"/>
                </a:cxn>
                <a:cxn ang="0">
                  <a:pos x="158" y="69"/>
                </a:cxn>
                <a:cxn ang="0">
                  <a:pos x="162" y="113"/>
                </a:cxn>
                <a:cxn ang="0">
                  <a:pos x="160" y="153"/>
                </a:cxn>
                <a:cxn ang="0">
                  <a:pos x="153" y="191"/>
                </a:cxn>
                <a:cxn ang="0">
                  <a:pos x="143" y="227"/>
                </a:cxn>
                <a:cxn ang="0">
                  <a:pos x="129" y="263"/>
                </a:cxn>
                <a:cxn ang="0">
                  <a:pos x="111" y="296"/>
                </a:cxn>
                <a:cxn ang="0">
                  <a:pos x="90" y="327"/>
                </a:cxn>
                <a:cxn ang="0">
                  <a:pos x="66" y="355"/>
                </a:cxn>
                <a:cxn ang="0">
                  <a:pos x="39" y="380"/>
                </a:cxn>
                <a:cxn ang="0">
                  <a:pos x="16" y="336"/>
                </a:cxn>
              </a:cxnLst>
              <a:rect l="0" t="0" r="r" b="b"/>
              <a:pathLst>
                <a:path w="492" h="730">
                  <a:moveTo>
                    <a:pt x="16" y="336"/>
                  </a:moveTo>
                  <a:lnTo>
                    <a:pt x="0" y="590"/>
                  </a:lnTo>
                  <a:lnTo>
                    <a:pt x="221" y="729"/>
                  </a:lnTo>
                  <a:lnTo>
                    <a:pt x="193" y="676"/>
                  </a:lnTo>
                  <a:lnTo>
                    <a:pt x="257" y="626"/>
                  </a:lnTo>
                  <a:lnTo>
                    <a:pt x="316" y="569"/>
                  </a:lnTo>
                  <a:lnTo>
                    <a:pt x="367" y="506"/>
                  </a:lnTo>
                  <a:lnTo>
                    <a:pt x="410" y="437"/>
                  </a:lnTo>
                  <a:lnTo>
                    <a:pt x="445" y="362"/>
                  </a:lnTo>
                  <a:lnTo>
                    <a:pt x="470" y="282"/>
                  </a:lnTo>
                  <a:lnTo>
                    <a:pt x="486" y="199"/>
                  </a:lnTo>
                  <a:lnTo>
                    <a:pt x="491" y="113"/>
                  </a:lnTo>
                  <a:lnTo>
                    <a:pt x="488" y="56"/>
                  </a:lnTo>
                  <a:lnTo>
                    <a:pt x="481" y="0"/>
                  </a:lnTo>
                  <a:lnTo>
                    <a:pt x="323" y="134"/>
                  </a:lnTo>
                  <a:lnTo>
                    <a:pt x="158" y="69"/>
                  </a:lnTo>
                  <a:lnTo>
                    <a:pt x="162" y="113"/>
                  </a:lnTo>
                  <a:lnTo>
                    <a:pt x="160" y="153"/>
                  </a:lnTo>
                  <a:lnTo>
                    <a:pt x="153" y="191"/>
                  </a:lnTo>
                  <a:lnTo>
                    <a:pt x="143" y="227"/>
                  </a:lnTo>
                  <a:lnTo>
                    <a:pt x="129" y="263"/>
                  </a:lnTo>
                  <a:lnTo>
                    <a:pt x="111" y="296"/>
                  </a:lnTo>
                  <a:lnTo>
                    <a:pt x="90" y="327"/>
                  </a:lnTo>
                  <a:lnTo>
                    <a:pt x="66" y="355"/>
                  </a:lnTo>
                  <a:lnTo>
                    <a:pt x="39" y="380"/>
                  </a:lnTo>
                  <a:lnTo>
                    <a:pt x="16" y="336"/>
                  </a:lnTo>
                </a:path>
              </a:pathLst>
            </a:custGeom>
            <a:grpFill/>
            <a:ln w="6350" cap="rnd"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 name="Freeform 7">
              <a:extLst>
                <a:ext uri="{FF2B5EF4-FFF2-40B4-BE49-F238E27FC236}">
                  <a16:creationId xmlns:a16="http://schemas.microsoft.com/office/drawing/2014/main" id="{3020EE1D-5CDD-44D9-9491-5798BEBCD3CC}"/>
                </a:ext>
              </a:extLst>
            </p:cNvPr>
            <p:cNvSpPr>
              <a:spLocks/>
            </p:cNvSpPr>
            <p:nvPr/>
          </p:nvSpPr>
          <p:spPr bwMode="auto">
            <a:xfrm>
              <a:off x="1954" y="3221"/>
              <a:ext cx="1599" cy="845"/>
            </a:xfrm>
            <a:custGeom>
              <a:avLst/>
              <a:gdLst/>
              <a:ahLst/>
              <a:cxnLst>
                <a:cxn ang="0">
                  <a:pos x="309" y="0"/>
                </a:cxn>
                <a:cxn ang="0">
                  <a:pos x="63" y="64"/>
                </a:cxn>
                <a:cxn ang="0">
                  <a:pos x="0" y="317"/>
                </a:cxn>
                <a:cxn ang="0">
                  <a:pos x="40" y="276"/>
                </a:cxn>
                <a:cxn ang="0">
                  <a:pos x="84" y="307"/>
                </a:cxn>
                <a:cxn ang="0">
                  <a:pos x="131" y="335"/>
                </a:cxn>
                <a:cxn ang="0">
                  <a:pos x="180" y="360"/>
                </a:cxn>
                <a:cxn ang="0">
                  <a:pos x="232" y="381"/>
                </a:cxn>
                <a:cxn ang="0">
                  <a:pos x="285" y="397"/>
                </a:cxn>
                <a:cxn ang="0">
                  <a:pos x="339" y="408"/>
                </a:cxn>
                <a:cxn ang="0">
                  <a:pos x="396" y="415"/>
                </a:cxn>
                <a:cxn ang="0">
                  <a:pos x="454" y="416"/>
                </a:cxn>
                <a:cxn ang="0">
                  <a:pos x="539" y="412"/>
                </a:cxn>
                <a:cxn ang="0">
                  <a:pos x="620" y="398"/>
                </a:cxn>
                <a:cxn ang="0">
                  <a:pos x="660" y="386"/>
                </a:cxn>
                <a:cxn ang="0">
                  <a:pos x="697" y="372"/>
                </a:cxn>
                <a:cxn ang="0">
                  <a:pos x="771" y="339"/>
                </a:cxn>
                <a:cxn ang="0">
                  <a:pos x="596" y="230"/>
                </a:cxn>
                <a:cxn ang="0">
                  <a:pos x="606" y="53"/>
                </a:cxn>
                <a:cxn ang="0">
                  <a:pos x="571" y="68"/>
                </a:cxn>
                <a:cxn ang="0">
                  <a:pos x="533" y="80"/>
                </a:cxn>
                <a:cxn ang="0">
                  <a:pos x="495" y="86"/>
                </a:cxn>
                <a:cxn ang="0">
                  <a:pos x="454" y="88"/>
                </a:cxn>
                <a:cxn ang="0">
                  <a:pos x="405" y="85"/>
                </a:cxn>
                <a:cxn ang="0">
                  <a:pos x="358" y="74"/>
                </a:cxn>
                <a:cxn ang="0">
                  <a:pos x="313" y="59"/>
                </a:cxn>
                <a:cxn ang="0">
                  <a:pos x="272" y="38"/>
                </a:cxn>
                <a:cxn ang="0">
                  <a:pos x="309" y="0"/>
                </a:cxn>
              </a:cxnLst>
              <a:rect l="0" t="0" r="r" b="b"/>
              <a:pathLst>
                <a:path w="772" h="417">
                  <a:moveTo>
                    <a:pt x="309" y="0"/>
                  </a:moveTo>
                  <a:lnTo>
                    <a:pt x="63" y="64"/>
                  </a:lnTo>
                  <a:lnTo>
                    <a:pt x="0" y="317"/>
                  </a:lnTo>
                  <a:lnTo>
                    <a:pt x="40" y="276"/>
                  </a:lnTo>
                  <a:lnTo>
                    <a:pt x="84" y="307"/>
                  </a:lnTo>
                  <a:lnTo>
                    <a:pt x="131" y="335"/>
                  </a:lnTo>
                  <a:lnTo>
                    <a:pt x="180" y="360"/>
                  </a:lnTo>
                  <a:lnTo>
                    <a:pt x="232" y="381"/>
                  </a:lnTo>
                  <a:lnTo>
                    <a:pt x="285" y="397"/>
                  </a:lnTo>
                  <a:lnTo>
                    <a:pt x="339" y="408"/>
                  </a:lnTo>
                  <a:lnTo>
                    <a:pt x="396" y="415"/>
                  </a:lnTo>
                  <a:lnTo>
                    <a:pt x="454" y="416"/>
                  </a:lnTo>
                  <a:lnTo>
                    <a:pt x="539" y="412"/>
                  </a:lnTo>
                  <a:lnTo>
                    <a:pt x="620" y="398"/>
                  </a:lnTo>
                  <a:lnTo>
                    <a:pt x="660" y="386"/>
                  </a:lnTo>
                  <a:lnTo>
                    <a:pt x="697" y="372"/>
                  </a:lnTo>
                  <a:lnTo>
                    <a:pt x="771" y="339"/>
                  </a:lnTo>
                  <a:lnTo>
                    <a:pt x="596" y="230"/>
                  </a:lnTo>
                  <a:lnTo>
                    <a:pt x="606" y="53"/>
                  </a:lnTo>
                  <a:lnTo>
                    <a:pt x="571" y="68"/>
                  </a:lnTo>
                  <a:lnTo>
                    <a:pt x="533" y="80"/>
                  </a:lnTo>
                  <a:lnTo>
                    <a:pt x="495" y="86"/>
                  </a:lnTo>
                  <a:lnTo>
                    <a:pt x="454" y="88"/>
                  </a:lnTo>
                  <a:lnTo>
                    <a:pt x="405" y="85"/>
                  </a:lnTo>
                  <a:lnTo>
                    <a:pt x="358" y="74"/>
                  </a:lnTo>
                  <a:lnTo>
                    <a:pt x="313" y="59"/>
                  </a:lnTo>
                  <a:lnTo>
                    <a:pt x="272" y="38"/>
                  </a:lnTo>
                  <a:lnTo>
                    <a:pt x="309" y="0"/>
                  </a:lnTo>
                </a:path>
              </a:pathLst>
            </a:custGeom>
            <a:grpFill/>
            <a:ln w="6350" cap="rnd"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 name="Freeform 8">
              <a:extLst>
                <a:ext uri="{FF2B5EF4-FFF2-40B4-BE49-F238E27FC236}">
                  <a16:creationId xmlns:a16="http://schemas.microsoft.com/office/drawing/2014/main" id="{2EFADCB5-68F8-403F-BED0-CCE73769C8FF}"/>
                </a:ext>
              </a:extLst>
            </p:cNvPr>
            <p:cNvSpPr>
              <a:spLocks/>
            </p:cNvSpPr>
            <p:nvPr/>
          </p:nvSpPr>
          <p:spPr bwMode="auto">
            <a:xfrm>
              <a:off x="1473" y="2140"/>
              <a:ext cx="901" cy="1545"/>
            </a:xfrm>
            <a:custGeom>
              <a:avLst/>
              <a:gdLst/>
              <a:ahLst/>
              <a:cxnLst>
                <a:cxn ang="0">
                  <a:pos x="396" y="214"/>
                </a:cxn>
                <a:cxn ang="0">
                  <a:pos x="260" y="0"/>
                </a:cxn>
                <a:cxn ang="0">
                  <a:pos x="0" y="18"/>
                </a:cxn>
                <a:cxn ang="0">
                  <a:pos x="47" y="42"/>
                </a:cxn>
                <a:cxn ang="0">
                  <a:pos x="32" y="89"/>
                </a:cxn>
                <a:cxn ang="0">
                  <a:pos x="21" y="137"/>
                </a:cxn>
                <a:cxn ang="0">
                  <a:pos x="14" y="185"/>
                </a:cxn>
                <a:cxn ang="0">
                  <a:pos x="10" y="233"/>
                </a:cxn>
                <a:cxn ang="0">
                  <a:pos x="9" y="281"/>
                </a:cxn>
                <a:cxn ang="0">
                  <a:pos x="11" y="330"/>
                </a:cxn>
                <a:cxn ang="0">
                  <a:pos x="17" y="378"/>
                </a:cxn>
                <a:cxn ang="0">
                  <a:pos x="25" y="425"/>
                </a:cxn>
                <a:cxn ang="0">
                  <a:pos x="39" y="473"/>
                </a:cxn>
                <a:cxn ang="0">
                  <a:pos x="54" y="517"/>
                </a:cxn>
                <a:cxn ang="0">
                  <a:pos x="74" y="562"/>
                </a:cxn>
                <a:cxn ang="0">
                  <a:pos x="95" y="606"/>
                </a:cxn>
                <a:cxn ang="0">
                  <a:pos x="121" y="647"/>
                </a:cxn>
                <a:cxn ang="0">
                  <a:pos x="150" y="686"/>
                </a:cxn>
                <a:cxn ang="0">
                  <a:pos x="182" y="725"/>
                </a:cxn>
                <a:cxn ang="0">
                  <a:pos x="216" y="761"/>
                </a:cxn>
                <a:cxn ang="0">
                  <a:pos x="266" y="558"/>
                </a:cxn>
                <a:cxn ang="0">
                  <a:pos x="434" y="515"/>
                </a:cxn>
                <a:cxn ang="0">
                  <a:pos x="406" y="480"/>
                </a:cxn>
                <a:cxn ang="0">
                  <a:pos x="382" y="444"/>
                </a:cxn>
                <a:cxn ang="0">
                  <a:pos x="363" y="404"/>
                </a:cxn>
                <a:cxn ang="0">
                  <a:pos x="349" y="363"/>
                </a:cxn>
                <a:cxn ang="0">
                  <a:pos x="340" y="319"/>
                </a:cxn>
                <a:cxn ang="0">
                  <a:pos x="337" y="275"/>
                </a:cxn>
                <a:cxn ang="0">
                  <a:pos x="339" y="231"/>
                </a:cxn>
                <a:cxn ang="0">
                  <a:pos x="342" y="210"/>
                </a:cxn>
                <a:cxn ang="0">
                  <a:pos x="347" y="188"/>
                </a:cxn>
                <a:cxn ang="0">
                  <a:pos x="396" y="214"/>
                </a:cxn>
              </a:cxnLst>
              <a:rect l="0" t="0" r="r" b="b"/>
              <a:pathLst>
                <a:path w="435" h="762">
                  <a:moveTo>
                    <a:pt x="396" y="214"/>
                  </a:moveTo>
                  <a:lnTo>
                    <a:pt x="260" y="0"/>
                  </a:lnTo>
                  <a:lnTo>
                    <a:pt x="0" y="18"/>
                  </a:lnTo>
                  <a:lnTo>
                    <a:pt x="47" y="42"/>
                  </a:lnTo>
                  <a:lnTo>
                    <a:pt x="32" y="89"/>
                  </a:lnTo>
                  <a:lnTo>
                    <a:pt x="21" y="137"/>
                  </a:lnTo>
                  <a:lnTo>
                    <a:pt x="14" y="185"/>
                  </a:lnTo>
                  <a:lnTo>
                    <a:pt x="10" y="233"/>
                  </a:lnTo>
                  <a:lnTo>
                    <a:pt x="9" y="281"/>
                  </a:lnTo>
                  <a:lnTo>
                    <a:pt x="11" y="330"/>
                  </a:lnTo>
                  <a:lnTo>
                    <a:pt x="17" y="378"/>
                  </a:lnTo>
                  <a:lnTo>
                    <a:pt x="25" y="425"/>
                  </a:lnTo>
                  <a:lnTo>
                    <a:pt x="39" y="473"/>
                  </a:lnTo>
                  <a:lnTo>
                    <a:pt x="54" y="517"/>
                  </a:lnTo>
                  <a:lnTo>
                    <a:pt x="74" y="562"/>
                  </a:lnTo>
                  <a:lnTo>
                    <a:pt x="95" y="606"/>
                  </a:lnTo>
                  <a:lnTo>
                    <a:pt x="121" y="647"/>
                  </a:lnTo>
                  <a:lnTo>
                    <a:pt x="150" y="686"/>
                  </a:lnTo>
                  <a:lnTo>
                    <a:pt x="182" y="725"/>
                  </a:lnTo>
                  <a:lnTo>
                    <a:pt x="216" y="761"/>
                  </a:lnTo>
                  <a:lnTo>
                    <a:pt x="266" y="558"/>
                  </a:lnTo>
                  <a:lnTo>
                    <a:pt x="434" y="515"/>
                  </a:lnTo>
                  <a:lnTo>
                    <a:pt x="406" y="480"/>
                  </a:lnTo>
                  <a:lnTo>
                    <a:pt x="382" y="444"/>
                  </a:lnTo>
                  <a:lnTo>
                    <a:pt x="363" y="404"/>
                  </a:lnTo>
                  <a:lnTo>
                    <a:pt x="349" y="363"/>
                  </a:lnTo>
                  <a:lnTo>
                    <a:pt x="340" y="319"/>
                  </a:lnTo>
                  <a:lnTo>
                    <a:pt x="337" y="275"/>
                  </a:lnTo>
                  <a:lnTo>
                    <a:pt x="339" y="231"/>
                  </a:lnTo>
                  <a:lnTo>
                    <a:pt x="342" y="210"/>
                  </a:lnTo>
                  <a:lnTo>
                    <a:pt x="347" y="188"/>
                  </a:lnTo>
                  <a:lnTo>
                    <a:pt x="396" y="214"/>
                  </a:lnTo>
                </a:path>
              </a:pathLst>
            </a:custGeom>
            <a:grpFill/>
            <a:ln w="6350" cap="rnd"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 name="Text Box 9">
              <a:extLst>
                <a:ext uri="{FF2B5EF4-FFF2-40B4-BE49-F238E27FC236}">
                  <a16:creationId xmlns:a16="http://schemas.microsoft.com/office/drawing/2014/main" id="{96A45BDB-AA0B-4AB2-BD93-E46F2B6C69CC}"/>
                </a:ext>
              </a:extLst>
            </p:cNvPr>
            <p:cNvSpPr txBox="1">
              <a:spLocks noChangeArrowheads="1"/>
            </p:cNvSpPr>
            <p:nvPr/>
          </p:nvSpPr>
          <p:spPr bwMode="auto">
            <a:xfrm>
              <a:off x="2445" y="3578"/>
              <a:ext cx="339" cy="229"/>
            </a:xfrm>
            <a:prstGeom prst="rect">
              <a:avLst/>
            </a:prstGeom>
            <a:grp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Text</a:t>
              </a:r>
            </a:p>
          </p:txBody>
        </p:sp>
        <p:sp>
          <p:nvSpPr>
            <p:cNvPr id="12" name="Text Box 10">
              <a:extLst>
                <a:ext uri="{FF2B5EF4-FFF2-40B4-BE49-F238E27FC236}">
                  <a16:creationId xmlns:a16="http://schemas.microsoft.com/office/drawing/2014/main" id="{638DC130-A4A0-4700-A3BF-79B232DC8D88}"/>
                </a:ext>
              </a:extLst>
            </p:cNvPr>
            <p:cNvSpPr txBox="1">
              <a:spLocks noChangeArrowheads="1"/>
            </p:cNvSpPr>
            <p:nvPr/>
          </p:nvSpPr>
          <p:spPr bwMode="auto">
            <a:xfrm>
              <a:off x="3568" y="3089"/>
              <a:ext cx="338" cy="228"/>
            </a:xfrm>
            <a:prstGeom prst="rect">
              <a:avLst/>
            </a:prstGeom>
            <a:grp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rPr>
                <a:t>Text</a:t>
              </a:r>
            </a:p>
          </p:txBody>
        </p:sp>
        <p:sp>
          <p:nvSpPr>
            <p:cNvPr id="13" name="Text Box 11">
              <a:extLst>
                <a:ext uri="{FF2B5EF4-FFF2-40B4-BE49-F238E27FC236}">
                  <a16:creationId xmlns:a16="http://schemas.microsoft.com/office/drawing/2014/main" id="{FC21857C-781C-4658-B5A5-0657C91E8033}"/>
                </a:ext>
              </a:extLst>
            </p:cNvPr>
            <p:cNvSpPr txBox="1">
              <a:spLocks noChangeArrowheads="1"/>
            </p:cNvSpPr>
            <p:nvPr/>
          </p:nvSpPr>
          <p:spPr bwMode="auto">
            <a:xfrm>
              <a:off x="3494" y="1909"/>
              <a:ext cx="339" cy="228"/>
            </a:xfrm>
            <a:prstGeom prst="rect">
              <a:avLst/>
            </a:prstGeom>
            <a:grp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rPr>
                <a:t>Text</a:t>
              </a:r>
            </a:p>
          </p:txBody>
        </p:sp>
        <p:sp>
          <p:nvSpPr>
            <p:cNvPr id="14" name="Text Box 12">
              <a:extLst>
                <a:ext uri="{FF2B5EF4-FFF2-40B4-BE49-F238E27FC236}">
                  <a16:creationId xmlns:a16="http://schemas.microsoft.com/office/drawing/2014/main" id="{2DB7E2E9-55E5-4141-9DE5-7874D07AC29F}"/>
                </a:ext>
              </a:extLst>
            </p:cNvPr>
            <p:cNvSpPr txBox="1">
              <a:spLocks noChangeArrowheads="1"/>
            </p:cNvSpPr>
            <p:nvPr/>
          </p:nvSpPr>
          <p:spPr bwMode="auto">
            <a:xfrm>
              <a:off x="2270" y="1614"/>
              <a:ext cx="338" cy="228"/>
            </a:xfrm>
            <a:prstGeom prst="rect">
              <a:avLst/>
            </a:prstGeom>
            <a:grp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Text</a:t>
              </a:r>
            </a:p>
          </p:txBody>
        </p:sp>
        <p:sp>
          <p:nvSpPr>
            <p:cNvPr id="15" name="Text Box 13">
              <a:extLst>
                <a:ext uri="{FF2B5EF4-FFF2-40B4-BE49-F238E27FC236}">
                  <a16:creationId xmlns:a16="http://schemas.microsoft.com/office/drawing/2014/main" id="{4166573D-6EFF-4AB0-9C9D-7CA45DAA9CED}"/>
                </a:ext>
              </a:extLst>
            </p:cNvPr>
            <p:cNvSpPr txBox="1">
              <a:spLocks noChangeArrowheads="1"/>
            </p:cNvSpPr>
            <p:nvPr/>
          </p:nvSpPr>
          <p:spPr bwMode="auto">
            <a:xfrm>
              <a:off x="1639" y="2703"/>
              <a:ext cx="339" cy="228"/>
            </a:xfrm>
            <a:prstGeom prst="rect">
              <a:avLst/>
            </a:prstGeom>
            <a:grp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rPr>
                <a:t>Text</a:t>
              </a:r>
            </a:p>
          </p:txBody>
        </p:sp>
      </p:grpSp>
      <p:sp>
        <p:nvSpPr>
          <p:cNvPr id="17" name="Footer Placeholder 16">
            <a:extLst>
              <a:ext uri="{FF2B5EF4-FFF2-40B4-BE49-F238E27FC236}">
                <a16:creationId xmlns:a16="http://schemas.microsoft.com/office/drawing/2014/main" id="{2AA71E70-976F-4134-BE22-C0310D5670F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8" name="Slide Number Placeholder 17">
            <a:extLst>
              <a:ext uri="{FF2B5EF4-FFF2-40B4-BE49-F238E27FC236}">
                <a16:creationId xmlns:a16="http://schemas.microsoft.com/office/drawing/2014/main" id="{EF22E0D3-DED2-491F-9629-E53BC3657367}"/>
              </a:ext>
            </a:extLst>
          </p:cNvPr>
          <p:cNvSpPr>
            <a:spLocks noGrp="1"/>
          </p:cNvSpPr>
          <p:nvPr>
            <p:ph type="sldNum" sz="quarter" idx="10"/>
          </p:nvPr>
        </p:nvSpPr>
        <p:spPr/>
        <p:txBody>
          <a:bodyPr/>
          <a:lstStyle/>
          <a:p>
            <a:fld id="{1F90F471-3972-4120-B8B3-0237DE626C35}" type="slidenum">
              <a:rPr lang="en-US" smtClean="0"/>
              <a:pPr/>
              <a:t>251</a:t>
            </a:fld>
            <a:endParaRPr lang="en-US" dirty="0"/>
          </a:p>
        </p:txBody>
      </p:sp>
    </p:spTree>
    <p:extLst>
      <p:ext uri="{BB962C8B-B14F-4D97-AF65-F5344CB8AC3E}">
        <p14:creationId xmlns:p14="http://schemas.microsoft.com/office/powerpoint/2010/main" val="1711522710"/>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Circular Flow 6</a:t>
            </a:r>
          </a:p>
        </p:txBody>
      </p:sp>
      <p:grpSp>
        <p:nvGrpSpPr>
          <p:cNvPr id="3" name="Group 2" descr="Circular flow insert description here">
            <a:extLst>
              <a:ext uri="{FF2B5EF4-FFF2-40B4-BE49-F238E27FC236}">
                <a16:creationId xmlns:a16="http://schemas.microsoft.com/office/drawing/2014/main" id="{73D68F07-E9FD-4F96-9329-C601B8CE3CDF}"/>
              </a:ext>
            </a:extLst>
          </p:cNvPr>
          <p:cNvGrpSpPr/>
          <p:nvPr/>
        </p:nvGrpSpPr>
        <p:grpSpPr>
          <a:xfrm>
            <a:off x="3686523" y="1457990"/>
            <a:ext cx="4857750" cy="4611686"/>
            <a:chOff x="3686523" y="1457990"/>
            <a:chExt cx="4857750" cy="4611686"/>
          </a:xfrm>
        </p:grpSpPr>
        <p:sp>
          <p:nvSpPr>
            <p:cNvPr id="9" name="Freeform 8">
              <a:extLst>
                <a:ext uri="{FF2B5EF4-FFF2-40B4-BE49-F238E27FC236}">
                  <a16:creationId xmlns:a16="http://schemas.microsoft.com/office/drawing/2014/main" id="{8F9B906A-8BF3-4E8A-8080-F66CAF35891E}"/>
                </a:ext>
                <a:ext uri="{C183D7F6-B498-43B3-948B-1728B52AA6E4}">
                  <adec:decorative xmlns:adec="http://schemas.microsoft.com/office/drawing/2017/decorative" val="1"/>
                </a:ext>
              </a:extLst>
            </p:cNvPr>
            <p:cNvSpPr>
              <a:spLocks/>
            </p:cNvSpPr>
            <p:nvPr/>
          </p:nvSpPr>
          <p:spPr bwMode="auto">
            <a:xfrm>
              <a:off x="5488335" y="1472277"/>
              <a:ext cx="2157412" cy="1427163"/>
            </a:xfrm>
            <a:custGeom>
              <a:avLst/>
              <a:gdLst/>
              <a:ahLst/>
              <a:cxnLst>
                <a:cxn ang="0">
                  <a:pos x="335" y="421"/>
                </a:cxn>
                <a:cxn ang="0">
                  <a:pos x="580" y="358"/>
                </a:cxn>
                <a:cxn ang="0">
                  <a:pos x="644" y="105"/>
                </a:cxn>
                <a:cxn ang="0">
                  <a:pos x="604" y="145"/>
                </a:cxn>
                <a:cxn ang="0">
                  <a:pos x="559" y="113"/>
                </a:cxn>
                <a:cxn ang="0">
                  <a:pos x="512" y="85"/>
                </a:cxn>
                <a:cxn ang="0">
                  <a:pos x="463" y="59"/>
                </a:cxn>
                <a:cxn ang="0">
                  <a:pos x="411" y="39"/>
                </a:cxn>
                <a:cxn ang="0">
                  <a:pos x="357" y="21"/>
                </a:cxn>
                <a:cxn ang="0">
                  <a:pos x="302" y="9"/>
                </a:cxn>
                <a:cxn ang="0">
                  <a:pos x="244" y="2"/>
                </a:cxn>
                <a:cxn ang="0">
                  <a:pos x="186" y="0"/>
                </a:cxn>
                <a:cxn ang="0">
                  <a:pos x="138" y="2"/>
                </a:cxn>
                <a:cxn ang="0">
                  <a:pos x="91" y="6"/>
                </a:cxn>
                <a:cxn ang="0">
                  <a:pos x="45" y="15"/>
                </a:cxn>
                <a:cxn ang="0">
                  <a:pos x="0" y="26"/>
                </a:cxn>
                <a:cxn ang="0">
                  <a:pos x="152" y="173"/>
                </a:cxn>
                <a:cxn ang="0">
                  <a:pos x="107" y="336"/>
                </a:cxn>
                <a:cxn ang="0">
                  <a:pos x="146" y="330"/>
                </a:cxn>
                <a:cxn ang="0">
                  <a:pos x="186" y="328"/>
                </a:cxn>
                <a:cxn ang="0">
                  <a:pos x="237" y="331"/>
                </a:cxn>
                <a:cxn ang="0">
                  <a:pos x="285" y="342"/>
                </a:cxn>
                <a:cxn ang="0">
                  <a:pos x="330" y="359"/>
                </a:cxn>
                <a:cxn ang="0">
                  <a:pos x="373" y="382"/>
                </a:cxn>
                <a:cxn ang="0">
                  <a:pos x="335" y="421"/>
                </a:cxn>
              </a:cxnLst>
              <a:rect l="0" t="0" r="r" b="b"/>
              <a:pathLst>
                <a:path w="645" h="422">
                  <a:moveTo>
                    <a:pt x="335" y="421"/>
                  </a:moveTo>
                  <a:lnTo>
                    <a:pt x="580" y="358"/>
                  </a:lnTo>
                  <a:lnTo>
                    <a:pt x="644" y="105"/>
                  </a:lnTo>
                  <a:lnTo>
                    <a:pt x="604" y="145"/>
                  </a:lnTo>
                  <a:lnTo>
                    <a:pt x="559" y="113"/>
                  </a:lnTo>
                  <a:lnTo>
                    <a:pt x="512" y="85"/>
                  </a:lnTo>
                  <a:lnTo>
                    <a:pt x="463" y="59"/>
                  </a:lnTo>
                  <a:lnTo>
                    <a:pt x="411" y="39"/>
                  </a:lnTo>
                  <a:lnTo>
                    <a:pt x="357" y="21"/>
                  </a:lnTo>
                  <a:lnTo>
                    <a:pt x="302" y="9"/>
                  </a:lnTo>
                  <a:lnTo>
                    <a:pt x="244" y="2"/>
                  </a:lnTo>
                  <a:lnTo>
                    <a:pt x="186" y="0"/>
                  </a:lnTo>
                  <a:lnTo>
                    <a:pt x="138" y="2"/>
                  </a:lnTo>
                  <a:lnTo>
                    <a:pt x="91" y="6"/>
                  </a:lnTo>
                  <a:lnTo>
                    <a:pt x="45" y="15"/>
                  </a:lnTo>
                  <a:lnTo>
                    <a:pt x="0" y="26"/>
                  </a:lnTo>
                  <a:lnTo>
                    <a:pt x="152" y="173"/>
                  </a:lnTo>
                  <a:lnTo>
                    <a:pt x="107" y="336"/>
                  </a:lnTo>
                  <a:lnTo>
                    <a:pt x="146" y="330"/>
                  </a:lnTo>
                  <a:lnTo>
                    <a:pt x="186" y="328"/>
                  </a:lnTo>
                  <a:lnTo>
                    <a:pt x="237" y="331"/>
                  </a:lnTo>
                  <a:lnTo>
                    <a:pt x="285" y="342"/>
                  </a:lnTo>
                  <a:lnTo>
                    <a:pt x="330" y="359"/>
                  </a:lnTo>
                  <a:lnTo>
                    <a:pt x="373" y="382"/>
                  </a:lnTo>
                  <a:lnTo>
                    <a:pt x="335" y="421"/>
                  </a:lnTo>
                </a:path>
              </a:pathLst>
            </a:custGeom>
            <a:solidFill>
              <a:schemeClr val="accent2"/>
            </a:solidFill>
            <a:ln w="6350" cap="rnd"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 name="Text Box 10">
              <a:extLst>
                <a:ext uri="{FF2B5EF4-FFF2-40B4-BE49-F238E27FC236}">
                  <a16:creationId xmlns:a16="http://schemas.microsoft.com/office/drawing/2014/main" id="{8A6AD29E-70E1-404F-BCE4-BDF46BF407BD}"/>
                </a:ext>
              </a:extLst>
            </p:cNvPr>
            <p:cNvSpPr txBox="1">
              <a:spLocks noChangeArrowheads="1"/>
            </p:cNvSpPr>
            <p:nvPr/>
          </p:nvSpPr>
          <p:spPr bwMode="auto">
            <a:xfrm>
              <a:off x="6378922" y="1926301"/>
              <a:ext cx="560388" cy="376238"/>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Text</a:t>
              </a:r>
            </a:p>
          </p:txBody>
        </p:sp>
        <p:sp>
          <p:nvSpPr>
            <p:cNvPr id="8" name="Freeform 7">
              <a:extLst>
                <a:ext uri="{FF2B5EF4-FFF2-40B4-BE49-F238E27FC236}">
                  <a16:creationId xmlns:a16="http://schemas.microsoft.com/office/drawing/2014/main" id="{118D7B76-3C86-41AF-9FE9-66DFBC3E42B2}"/>
                </a:ext>
                <a:ext uri="{C183D7F6-B498-43B3-948B-1728B52AA6E4}">
                  <adec:decorative xmlns:adec="http://schemas.microsoft.com/office/drawing/2017/decorative" val="1"/>
                </a:ext>
              </a:extLst>
            </p:cNvPr>
            <p:cNvSpPr>
              <a:spLocks/>
            </p:cNvSpPr>
            <p:nvPr/>
          </p:nvSpPr>
          <p:spPr bwMode="auto">
            <a:xfrm>
              <a:off x="6959948" y="2126327"/>
              <a:ext cx="1584325" cy="2251075"/>
            </a:xfrm>
            <a:custGeom>
              <a:avLst/>
              <a:gdLst/>
              <a:ahLst/>
              <a:cxnLst>
                <a:cxn ang="0">
                  <a:pos x="44" y="484"/>
                </a:cxn>
                <a:cxn ang="0">
                  <a:pos x="223" y="665"/>
                </a:cxn>
                <a:cxn ang="0">
                  <a:pos x="472" y="593"/>
                </a:cxn>
                <a:cxn ang="0">
                  <a:pos x="417" y="578"/>
                </a:cxn>
                <a:cxn ang="0">
                  <a:pos x="422" y="531"/>
                </a:cxn>
                <a:cxn ang="0">
                  <a:pos x="424" y="483"/>
                </a:cxn>
                <a:cxn ang="0">
                  <a:pos x="420" y="413"/>
                </a:cxn>
                <a:cxn ang="0">
                  <a:pos x="409" y="345"/>
                </a:cxn>
                <a:cxn ang="0">
                  <a:pos x="392" y="279"/>
                </a:cxn>
                <a:cxn ang="0">
                  <a:pos x="369" y="217"/>
                </a:cxn>
                <a:cxn ang="0">
                  <a:pos x="355" y="186"/>
                </a:cxn>
                <a:cxn ang="0">
                  <a:pos x="339" y="157"/>
                </a:cxn>
                <a:cxn ang="0">
                  <a:pos x="323" y="127"/>
                </a:cxn>
                <a:cxn ang="0">
                  <a:pos x="305" y="101"/>
                </a:cxn>
                <a:cxn ang="0">
                  <a:pos x="285" y="74"/>
                </a:cxn>
                <a:cxn ang="0">
                  <a:pos x="264" y="48"/>
                </a:cxn>
                <a:cxn ang="0">
                  <a:pos x="219" y="0"/>
                </a:cxn>
                <a:cxn ang="0">
                  <a:pos x="169" y="202"/>
                </a:cxn>
                <a:cxn ang="0">
                  <a:pos x="0" y="245"/>
                </a:cxn>
                <a:cxn ang="0">
                  <a:pos x="20" y="270"/>
                </a:cxn>
                <a:cxn ang="0">
                  <a:pos x="39" y="296"/>
                </a:cxn>
                <a:cxn ang="0">
                  <a:pos x="55" y="324"/>
                </a:cxn>
                <a:cxn ang="0">
                  <a:pos x="69" y="353"/>
                </a:cxn>
                <a:cxn ang="0">
                  <a:pos x="79" y="384"/>
                </a:cxn>
                <a:cxn ang="0">
                  <a:pos x="88" y="416"/>
                </a:cxn>
                <a:cxn ang="0">
                  <a:pos x="92" y="449"/>
                </a:cxn>
                <a:cxn ang="0">
                  <a:pos x="94" y="483"/>
                </a:cxn>
                <a:cxn ang="0">
                  <a:pos x="93" y="496"/>
                </a:cxn>
                <a:cxn ang="0">
                  <a:pos x="44" y="484"/>
                </a:cxn>
              </a:cxnLst>
              <a:rect l="0" t="0" r="r" b="b"/>
              <a:pathLst>
                <a:path w="473" h="666">
                  <a:moveTo>
                    <a:pt x="44" y="484"/>
                  </a:moveTo>
                  <a:lnTo>
                    <a:pt x="223" y="665"/>
                  </a:lnTo>
                  <a:lnTo>
                    <a:pt x="472" y="593"/>
                  </a:lnTo>
                  <a:lnTo>
                    <a:pt x="417" y="578"/>
                  </a:lnTo>
                  <a:lnTo>
                    <a:pt x="422" y="531"/>
                  </a:lnTo>
                  <a:lnTo>
                    <a:pt x="424" y="483"/>
                  </a:lnTo>
                  <a:lnTo>
                    <a:pt x="420" y="413"/>
                  </a:lnTo>
                  <a:lnTo>
                    <a:pt x="409" y="345"/>
                  </a:lnTo>
                  <a:lnTo>
                    <a:pt x="392" y="279"/>
                  </a:lnTo>
                  <a:lnTo>
                    <a:pt x="369" y="217"/>
                  </a:lnTo>
                  <a:lnTo>
                    <a:pt x="355" y="186"/>
                  </a:lnTo>
                  <a:lnTo>
                    <a:pt x="339" y="157"/>
                  </a:lnTo>
                  <a:lnTo>
                    <a:pt x="323" y="127"/>
                  </a:lnTo>
                  <a:lnTo>
                    <a:pt x="305" y="101"/>
                  </a:lnTo>
                  <a:lnTo>
                    <a:pt x="285" y="74"/>
                  </a:lnTo>
                  <a:lnTo>
                    <a:pt x="264" y="48"/>
                  </a:lnTo>
                  <a:lnTo>
                    <a:pt x="219" y="0"/>
                  </a:lnTo>
                  <a:lnTo>
                    <a:pt x="169" y="202"/>
                  </a:lnTo>
                  <a:lnTo>
                    <a:pt x="0" y="245"/>
                  </a:lnTo>
                  <a:lnTo>
                    <a:pt x="20" y="270"/>
                  </a:lnTo>
                  <a:lnTo>
                    <a:pt x="39" y="296"/>
                  </a:lnTo>
                  <a:lnTo>
                    <a:pt x="55" y="324"/>
                  </a:lnTo>
                  <a:lnTo>
                    <a:pt x="69" y="353"/>
                  </a:lnTo>
                  <a:lnTo>
                    <a:pt x="79" y="384"/>
                  </a:lnTo>
                  <a:lnTo>
                    <a:pt x="88" y="416"/>
                  </a:lnTo>
                  <a:lnTo>
                    <a:pt x="92" y="449"/>
                  </a:lnTo>
                  <a:lnTo>
                    <a:pt x="94" y="483"/>
                  </a:lnTo>
                  <a:lnTo>
                    <a:pt x="93" y="496"/>
                  </a:lnTo>
                  <a:lnTo>
                    <a:pt x="44" y="484"/>
                  </a:lnTo>
                </a:path>
              </a:pathLst>
            </a:custGeom>
            <a:solidFill>
              <a:schemeClr val="accent2"/>
            </a:solidFill>
            <a:ln w="6350" cap="rnd"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12" name="Text Box 11">
              <a:extLst>
                <a:ext uri="{FF2B5EF4-FFF2-40B4-BE49-F238E27FC236}">
                  <a16:creationId xmlns:a16="http://schemas.microsoft.com/office/drawing/2014/main" id="{E3B754B8-4A58-4BF3-92CE-6E1D097D6267}"/>
                </a:ext>
              </a:extLst>
            </p:cNvPr>
            <p:cNvSpPr txBox="1">
              <a:spLocks noChangeArrowheads="1"/>
            </p:cNvSpPr>
            <p:nvPr/>
          </p:nvSpPr>
          <p:spPr bwMode="auto">
            <a:xfrm>
              <a:off x="7472711" y="3204240"/>
              <a:ext cx="560387" cy="377825"/>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rPr>
                <a:t>Text</a:t>
              </a:r>
            </a:p>
          </p:txBody>
        </p:sp>
        <p:sp>
          <p:nvSpPr>
            <p:cNvPr id="7" name="Freeform 6">
              <a:extLst>
                <a:ext uri="{FF2B5EF4-FFF2-40B4-BE49-F238E27FC236}">
                  <a16:creationId xmlns:a16="http://schemas.microsoft.com/office/drawing/2014/main" id="{E89825DE-87D1-46FB-962B-53F1A5EFE620}"/>
                </a:ext>
                <a:ext uri="{C183D7F6-B498-43B3-948B-1728B52AA6E4}">
                  <adec:decorative xmlns:adec="http://schemas.microsoft.com/office/drawing/2017/decorative" val="1"/>
                </a:ext>
              </a:extLst>
            </p:cNvPr>
            <p:cNvSpPr>
              <a:spLocks/>
            </p:cNvSpPr>
            <p:nvPr/>
          </p:nvSpPr>
          <p:spPr bwMode="auto">
            <a:xfrm>
              <a:off x="6391622" y="4090064"/>
              <a:ext cx="1925638" cy="1979612"/>
            </a:xfrm>
            <a:custGeom>
              <a:avLst/>
              <a:gdLst/>
              <a:ahLst/>
              <a:cxnLst>
                <a:cxn ang="0">
                  <a:pos x="67" y="161"/>
                </a:cxn>
                <a:cxn ang="0">
                  <a:pos x="0" y="404"/>
                </a:cxn>
                <a:cxn ang="0">
                  <a:pos x="188" y="584"/>
                </a:cxn>
                <a:cxn ang="0">
                  <a:pos x="172" y="529"/>
                </a:cxn>
                <a:cxn ang="0">
                  <a:pos x="209" y="513"/>
                </a:cxn>
                <a:cxn ang="0">
                  <a:pos x="243" y="495"/>
                </a:cxn>
                <a:cxn ang="0">
                  <a:pos x="278" y="474"/>
                </a:cxn>
                <a:cxn ang="0">
                  <a:pos x="310" y="452"/>
                </a:cxn>
                <a:cxn ang="0">
                  <a:pos x="342" y="428"/>
                </a:cxn>
                <a:cxn ang="0">
                  <a:pos x="371" y="403"/>
                </a:cxn>
                <a:cxn ang="0">
                  <a:pos x="400" y="375"/>
                </a:cxn>
                <a:cxn ang="0">
                  <a:pos x="427" y="348"/>
                </a:cxn>
                <a:cxn ang="0">
                  <a:pos x="452" y="317"/>
                </a:cxn>
                <a:cxn ang="0">
                  <a:pos x="475" y="285"/>
                </a:cxn>
                <a:cxn ang="0">
                  <a:pos x="496" y="252"/>
                </a:cxn>
                <a:cxn ang="0">
                  <a:pos x="516" y="218"/>
                </a:cxn>
                <a:cxn ang="0">
                  <a:pos x="533" y="183"/>
                </a:cxn>
                <a:cxn ang="0">
                  <a:pos x="549" y="146"/>
                </a:cxn>
                <a:cxn ang="0">
                  <a:pos x="563" y="108"/>
                </a:cxn>
                <a:cxn ang="0">
                  <a:pos x="574" y="70"/>
                </a:cxn>
                <a:cxn ang="0">
                  <a:pos x="375" y="126"/>
                </a:cxn>
                <a:cxn ang="0">
                  <a:pos x="250" y="0"/>
                </a:cxn>
                <a:cxn ang="0">
                  <a:pos x="239" y="33"/>
                </a:cxn>
                <a:cxn ang="0">
                  <a:pos x="224" y="65"/>
                </a:cxn>
                <a:cxn ang="0">
                  <a:pos x="206" y="94"/>
                </a:cxn>
                <a:cxn ang="0">
                  <a:pos x="185" y="122"/>
                </a:cxn>
                <a:cxn ang="0">
                  <a:pos x="163" y="147"/>
                </a:cxn>
                <a:cxn ang="0">
                  <a:pos x="137" y="171"/>
                </a:cxn>
                <a:cxn ang="0">
                  <a:pos x="110" y="191"/>
                </a:cxn>
                <a:cxn ang="0">
                  <a:pos x="81" y="209"/>
                </a:cxn>
                <a:cxn ang="0">
                  <a:pos x="67" y="161"/>
                </a:cxn>
              </a:cxnLst>
              <a:rect l="0" t="0" r="r" b="b"/>
              <a:pathLst>
                <a:path w="575" h="585">
                  <a:moveTo>
                    <a:pt x="67" y="161"/>
                  </a:moveTo>
                  <a:lnTo>
                    <a:pt x="0" y="404"/>
                  </a:lnTo>
                  <a:lnTo>
                    <a:pt x="188" y="584"/>
                  </a:lnTo>
                  <a:lnTo>
                    <a:pt x="172" y="529"/>
                  </a:lnTo>
                  <a:lnTo>
                    <a:pt x="209" y="513"/>
                  </a:lnTo>
                  <a:lnTo>
                    <a:pt x="243" y="495"/>
                  </a:lnTo>
                  <a:lnTo>
                    <a:pt x="278" y="474"/>
                  </a:lnTo>
                  <a:lnTo>
                    <a:pt x="310" y="452"/>
                  </a:lnTo>
                  <a:lnTo>
                    <a:pt x="342" y="428"/>
                  </a:lnTo>
                  <a:lnTo>
                    <a:pt x="371" y="403"/>
                  </a:lnTo>
                  <a:lnTo>
                    <a:pt x="400" y="375"/>
                  </a:lnTo>
                  <a:lnTo>
                    <a:pt x="427" y="348"/>
                  </a:lnTo>
                  <a:lnTo>
                    <a:pt x="452" y="317"/>
                  </a:lnTo>
                  <a:lnTo>
                    <a:pt x="475" y="285"/>
                  </a:lnTo>
                  <a:lnTo>
                    <a:pt x="496" y="252"/>
                  </a:lnTo>
                  <a:lnTo>
                    <a:pt x="516" y="218"/>
                  </a:lnTo>
                  <a:lnTo>
                    <a:pt x="533" y="183"/>
                  </a:lnTo>
                  <a:lnTo>
                    <a:pt x="549" y="146"/>
                  </a:lnTo>
                  <a:lnTo>
                    <a:pt x="563" y="108"/>
                  </a:lnTo>
                  <a:lnTo>
                    <a:pt x="574" y="70"/>
                  </a:lnTo>
                  <a:lnTo>
                    <a:pt x="375" y="126"/>
                  </a:lnTo>
                  <a:lnTo>
                    <a:pt x="250" y="0"/>
                  </a:lnTo>
                  <a:lnTo>
                    <a:pt x="239" y="33"/>
                  </a:lnTo>
                  <a:lnTo>
                    <a:pt x="224" y="65"/>
                  </a:lnTo>
                  <a:lnTo>
                    <a:pt x="206" y="94"/>
                  </a:lnTo>
                  <a:lnTo>
                    <a:pt x="185" y="122"/>
                  </a:lnTo>
                  <a:lnTo>
                    <a:pt x="163" y="147"/>
                  </a:lnTo>
                  <a:lnTo>
                    <a:pt x="137" y="171"/>
                  </a:lnTo>
                  <a:lnTo>
                    <a:pt x="110" y="191"/>
                  </a:lnTo>
                  <a:lnTo>
                    <a:pt x="81" y="209"/>
                  </a:lnTo>
                  <a:lnTo>
                    <a:pt x="67" y="161"/>
                  </a:lnTo>
                </a:path>
              </a:pathLst>
            </a:custGeom>
            <a:solidFill>
              <a:schemeClr val="accent2"/>
            </a:solidFill>
            <a:ln w="6350" cap="rnd"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13" name="Text Box 12">
              <a:extLst>
                <a:ext uri="{FF2B5EF4-FFF2-40B4-BE49-F238E27FC236}">
                  <a16:creationId xmlns:a16="http://schemas.microsoft.com/office/drawing/2014/main" id="{C81A19AF-7FB3-4258-A6A9-169CCD626D54}"/>
                </a:ext>
              </a:extLst>
            </p:cNvPr>
            <p:cNvSpPr txBox="1">
              <a:spLocks noChangeArrowheads="1"/>
            </p:cNvSpPr>
            <p:nvPr/>
          </p:nvSpPr>
          <p:spPr bwMode="auto">
            <a:xfrm>
              <a:off x="6958361" y="4879051"/>
              <a:ext cx="560387" cy="376238"/>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rPr>
                <a:t>Text</a:t>
              </a:r>
            </a:p>
          </p:txBody>
        </p:sp>
        <p:sp>
          <p:nvSpPr>
            <p:cNvPr id="6" name="Freeform 5">
              <a:extLst>
                <a:ext uri="{FF2B5EF4-FFF2-40B4-BE49-F238E27FC236}">
                  <a16:creationId xmlns:a16="http://schemas.microsoft.com/office/drawing/2014/main" id="{851A43A5-06BB-4BC9-A0DA-F412032E4A27}"/>
                </a:ext>
                <a:ext uri="{C183D7F6-B498-43B3-948B-1728B52AA6E4}">
                  <adec:decorative xmlns:adec="http://schemas.microsoft.com/office/drawing/2017/decorative" val="1"/>
                </a:ext>
              </a:extLst>
            </p:cNvPr>
            <p:cNvSpPr>
              <a:spLocks/>
            </p:cNvSpPr>
            <p:nvPr/>
          </p:nvSpPr>
          <p:spPr bwMode="auto">
            <a:xfrm>
              <a:off x="4592985" y="4637751"/>
              <a:ext cx="2144712" cy="1416050"/>
            </a:xfrm>
            <a:custGeom>
              <a:avLst/>
              <a:gdLst/>
              <a:ahLst/>
              <a:cxnLst>
                <a:cxn ang="0">
                  <a:pos x="307" y="0"/>
                </a:cxn>
                <a:cxn ang="0">
                  <a:pos x="63" y="64"/>
                </a:cxn>
                <a:cxn ang="0">
                  <a:pos x="0" y="316"/>
                </a:cxn>
                <a:cxn ang="0">
                  <a:pos x="40" y="275"/>
                </a:cxn>
                <a:cxn ang="0">
                  <a:pos x="84" y="307"/>
                </a:cxn>
                <a:cxn ang="0">
                  <a:pos x="130" y="335"/>
                </a:cxn>
                <a:cxn ang="0">
                  <a:pos x="180" y="359"/>
                </a:cxn>
                <a:cxn ang="0">
                  <a:pos x="231" y="379"/>
                </a:cxn>
                <a:cxn ang="0">
                  <a:pos x="284" y="395"/>
                </a:cxn>
                <a:cxn ang="0">
                  <a:pos x="339" y="407"/>
                </a:cxn>
                <a:cxn ang="0">
                  <a:pos x="395" y="414"/>
                </a:cxn>
                <a:cxn ang="0">
                  <a:pos x="453" y="417"/>
                </a:cxn>
                <a:cxn ang="0">
                  <a:pos x="501" y="414"/>
                </a:cxn>
                <a:cxn ang="0">
                  <a:pos x="549" y="411"/>
                </a:cxn>
                <a:cxn ang="0">
                  <a:pos x="595" y="401"/>
                </a:cxn>
                <a:cxn ang="0">
                  <a:pos x="639" y="391"/>
                </a:cxn>
                <a:cxn ang="0">
                  <a:pos x="491" y="248"/>
                </a:cxn>
                <a:cxn ang="0">
                  <a:pos x="538" y="78"/>
                </a:cxn>
                <a:cxn ang="0">
                  <a:pos x="497" y="86"/>
                </a:cxn>
                <a:cxn ang="0">
                  <a:pos x="453" y="88"/>
                </a:cxn>
                <a:cxn ang="0">
                  <a:pos x="404" y="85"/>
                </a:cxn>
                <a:cxn ang="0">
                  <a:pos x="380" y="81"/>
                </a:cxn>
                <a:cxn ang="0">
                  <a:pos x="357" y="75"/>
                </a:cxn>
                <a:cxn ang="0">
                  <a:pos x="334" y="68"/>
                </a:cxn>
                <a:cxn ang="0">
                  <a:pos x="313" y="60"/>
                </a:cxn>
                <a:cxn ang="0">
                  <a:pos x="271" y="38"/>
                </a:cxn>
                <a:cxn ang="0">
                  <a:pos x="307" y="0"/>
                </a:cxn>
              </a:cxnLst>
              <a:rect l="0" t="0" r="r" b="b"/>
              <a:pathLst>
                <a:path w="640" h="418">
                  <a:moveTo>
                    <a:pt x="307" y="0"/>
                  </a:moveTo>
                  <a:lnTo>
                    <a:pt x="63" y="64"/>
                  </a:lnTo>
                  <a:lnTo>
                    <a:pt x="0" y="316"/>
                  </a:lnTo>
                  <a:lnTo>
                    <a:pt x="40" y="275"/>
                  </a:lnTo>
                  <a:lnTo>
                    <a:pt x="84" y="307"/>
                  </a:lnTo>
                  <a:lnTo>
                    <a:pt x="130" y="335"/>
                  </a:lnTo>
                  <a:lnTo>
                    <a:pt x="180" y="359"/>
                  </a:lnTo>
                  <a:lnTo>
                    <a:pt x="231" y="379"/>
                  </a:lnTo>
                  <a:lnTo>
                    <a:pt x="284" y="395"/>
                  </a:lnTo>
                  <a:lnTo>
                    <a:pt x="339" y="407"/>
                  </a:lnTo>
                  <a:lnTo>
                    <a:pt x="395" y="414"/>
                  </a:lnTo>
                  <a:lnTo>
                    <a:pt x="453" y="417"/>
                  </a:lnTo>
                  <a:lnTo>
                    <a:pt x="501" y="414"/>
                  </a:lnTo>
                  <a:lnTo>
                    <a:pt x="549" y="411"/>
                  </a:lnTo>
                  <a:lnTo>
                    <a:pt x="595" y="401"/>
                  </a:lnTo>
                  <a:lnTo>
                    <a:pt x="639" y="391"/>
                  </a:lnTo>
                  <a:lnTo>
                    <a:pt x="491" y="248"/>
                  </a:lnTo>
                  <a:lnTo>
                    <a:pt x="538" y="78"/>
                  </a:lnTo>
                  <a:lnTo>
                    <a:pt x="497" y="86"/>
                  </a:lnTo>
                  <a:lnTo>
                    <a:pt x="453" y="88"/>
                  </a:lnTo>
                  <a:lnTo>
                    <a:pt x="404" y="85"/>
                  </a:lnTo>
                  <a:lnTo>
                    <a:pt x="380" y="81"/>
                  </a:lnTo>
                  <a:lnTo>
                    <a:pt x="357" y="75"/>
                  </a:lnTo>
                  <a:lnTo>
                    <a:pt x="334" y="68"/>
                  </a:lnTo>
                  <a:lnTo>
                    <a:pt x="313" y="60"/>
                  </a:lnTo>
                  <a:lnTo>
                    <a:pt x="271" y="38"/>
                  </a:lnTo>
                  <a:lnTo>
                    <a:pt x="307" y="0"/>
                  </a:lnTo>
                </a:path>
              </a:pathLst>
            </a:custGeom>
            <a:solidFill>
              <a:schemeClr val="accent2"/>
            </a:solidFill>
            <a:ln w="6350" cap="rnd"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14" name="Text Box 13">
              <a:extLst>
                <a:ext uri="{FF2B5EF4-FFF2-40B4-BE49-F238E27FC236}">
                  <a16:creationId xmlns:a16="http://schemas.microsoft.com/office/drawing/2014/main" id="{ADEB3273-9B7C-462B-B665-A3FB1206A4B8}"/>
                </a:ext>
              </a:extLst>
            </p:cNvPr>
            <p:cNvSpPr txBox="1">
              <a:spLocks noChangeArrowheads="1"/>
            </p:cNvSpPr>
            <p:nvPr/>
          </p:nvSpPr>
          <p:spPr bwMode="auto">
            <a:xfrm>
              <a:off x="5296247" y="5221951"/>
              <a:ext cx="560388" cy="376238"/>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Text</a:t>
              </a:r>
            </a:p>
          </p:txBody>
        </p:sp>
        <p:sp>
          <p:nvSpPr>
            <p:cNvPr id="5" name="Freeform 4">
              <a:extLst>
                <a:ext uri="{FF2B5EF4-FFF2-40B4-BE49-F238E27FC236}">
                  <a16:creationId xmlns:a16="http://schemas.microsoft.com/office/drawing/2014/main" id="{AC0F2D33-6FA2-42FF-9292-3EF4CFB3B091}"/>
                </a:ext>
                <a:ext uri="{C183D7F6-B498-43B3-948B-1728B52AA6E4}">
                  <adec:decorative xmlns:adec="http://schemas.microsoft.com/office/drawing/2017/decorative" val="1"/>
                </a:ext>
              </a:extLst>
            </p:cNvPr>
            <p:cNvSpPr>
              <a:spLocks/>
            </p:cNvSpPr>
            <p:nvPr/>
          </p:nvSpPr>
          <p:spPr bwMode="auto">
            <a:xfrm>
              <a:off x="3686523" y="3161376"/>
              <a:ext cx="1585913" cy="2254250"/>
            </a:xfrm>
            <a:custGeom>
              <a:avLst/>
              <a:gdLst/>
              <a:ahLst/>
              <a:cxnLst>
                <a:cxn ang="0">
                  <a:pos x="430" y="181"/>
                </a:cxn>
                <a:cxn ang="0">
                  <a:pos x="251" y="0"/>
                </a:cxn>
                <a:cxn ang="0">
                  <a:pos x="0" y="72"/>
                </a:cxn>
                <a:cxn ang="0">
                  <a:pos x="53" y="85"/>
                </a:cxn>
                <a:cxn ang="0">
                  <a:pos x="48" y="130"/>
                </a:cxn>
                <a:cxn ang="0">
                  <a:pos x="46" y="177"/>
                </a:cxn>
                <a:cxn ang="0">
                  <a:pos x="48" y="213"/>
                </a:cxn>
                <a:cxn ang="0">
                  <a:pos x="50" y="248"/>
                </a:cxn>
                <a:cxn ang="0">
                  <a:pos x="55" y="283"/>
                </a:cxn>
                <a:cxn ang="0">
                  <a:pos x="61" y="317"/>
                </a:cxn>
                <a:cxn ang="0">
                  <a:pos x="69" y="350"/>
                </a:cxn>
                <a:cxn ang="0">
                  <a:pos x="79" y="383"/>
                </a:cxn>
                <a:cxn ang="0">
                  <a:pos x="91" y="416"/>
                </a:cxn>
                <a:cxn ang="0">
                  <a:pos x="103" y="447"/>
                </a:cxn>
                <a:cxn ang="0">
                  <a:pos x="133" y="507"/>
                </a:cxn>
                <a:cxn ang="0">
                  <a:pos x="151" y="536"/>
                </a:cxn>
                <a:cxn ang="0">
                  <a:pos x="169" y="564"/>
                </a:cxn>
                <a:cxn ang="0">
                  <a:pos x="210" y="617"/>
                </a:cxn>
                <a:cxn ang="0">
                  <a:pos x="255" y="666"/>
                </a:cxn>
                <a:cxn ang="0">
                  <a:pos x="305" y="464"/>
                </a:cxn>
                <a:cxn ang="0">
                  <a:pos x="473" y="419"/>
                </a:cxn>
                <a:cxn ang="0">
                  <a:pos x="452" y="394"/>
                </a:cxn>
                <a:cxn ang="0">
                  <a:pos x="432" y="369"/>
                </a:cxn>
                <a:cxn ang="0">
                  <a:pos x="416" y="340"/>
                </a:cxn>
                <a:cxn ang="0">
                  <a:pos x="402" y="309"/>
                </a:cxn>
                <a:cxn ang="0">
                  <a:pos x="391" y="279"/>
                </a:cxn>
                <a:cxn ang="0">
                  <a:pos x="382" y="246"/>
                </a:cxn>
                <a:cxn ang="0">
                  <a:pos x="378" y="212"/>
                </a:cxn>
                <a:cxn ang="0">
                  <a:pos x="376" y="177"/>
                </a:cxn>
                <a:cxn ang="0">
                  <a:pos x="376" y="167"/>
                </a:cxn>
                <a:cxn ang="0">
                  <a:pos x="430" y="181"/>
                </a:cxn>
              </a:cxnLst>
              <a:rect l="0" t="0" r="r" b="b"/>
              <a:pathLst>
                <a:path w="474" h="667">
                  <a:moveTo>
                    <a:pt x="430" y="181"/>
                  </a:moveTo>
                  <a:lnTo>
                    <a:pt x="251" y="0"/>
                  </a:lnTo>
                  <a:lnTo>
                    <a:pt x="0" y="72"/>
                  </a:lnTo>
                  <a:lnTo>
                    <a:pt x="53" y="85"/>
                  </a:lnTo>
                  <a:lnTo>
                    <a:pt x="48" y="130"/>
                  </a:lnTo>
                  <a:lnTo>
                    <a:pt x="46" y="177"/>
                  </a:lnTo>
                  <a:lnTo>
                    <a:pt x="48" y="213"/>
                  </a:lnTo>
                  <a:lnTo>
                    <a:pt x="50" y="248"/>
                  </a:lnTo>
                  <a:lnTo>
                    <a:pt x="55" y="283"/>
                  </a:lnTo>
                  <a:lnTo>
                    <a:pt x="61" y="317"/>
                  </a:lnTo>
                  <a:lnTo>
                    <a:pt x="69" y="350"/>
                  </a:lnTo>
                  <a:lnTo>
                    <a:pt x="79" y="383"/>
                  </a:lnTo>
                  <a:lnTo>
                    <a:pt x="91" y="416"/>
                  </a:lnTo>
                  <a:lnTo>
                    <a:pt x="103" y="447"/>
                  </a:lnTo>
                  <a:lnTo>
                    <a:pt x="133" y="507"/>
                  </a:lnTo>
                  <a:lnTo>
                    <a:pt x="151" y="536"/>
                  </a:lnTo>
                  <a:lnTo>
                    <a:pt x="169" y="564"/>
                  </a:lnTo>
                  <a:lnTo>
                    <a:pt x="210" y="617"/>
                  </a:lnTo>
                  <a:lnTo>
                    <a:pt x="255" y="666"/>
                  </a:lnTo>
                  <a:lnTo>
                    <a:pt x="305" y="464"/>
                  </a:lnTo>
                  <a:lnTo>
                    <a:pt x="473" y="419"/>
                  </a:lnTo>
                  <a:lnTo>
                    <a:pt x="452" y="394"/>
                  </a:lnTo>
                  <a:lnTo>
                    <a:pt x="432" y="369"/>
                  </a:lnTo>
                  <a:lnTo>
                    <a:pt x="416" y="340"/>
                  </a:lnTo>
                  <a:lnTo>
                    <a:pt x="402" y="309"/>
                  </a:lnTo>
                  <a:lnTo>
                    <a:pt x="391" y="279"/>
                  </a:lnTo>
                  <a:lnTo>
                    <a:pt x="382" y="246"/>
                  </a:lnTo>
                  <a:lnTo>
                    <a:pt x="378" y="212"/>
                  </a:lnTo>
                  <a:lnTo>
                    <a:pt x="376" y="177"/>
                  </a:lnTo>
                  <a:lnTo>
                    <a:pt x="376" y="167"/>
                  </a:lnTo>
                  <a:lnTo>
                    <a:pt x="430" y="181"/>
                  </a:lnTo>
                </a:path>
              </a:pathLst>
            </a:custGeom>
            <a:solidFill>
              <a:schemeClr val="accent2"/>
            </a:solidFill>
            <a:ln w="6350" cap="rnd"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15" name="Text Box 14">
              <a:extLst>
                <a:ext uri="{FF2B5EF4-FFF2-40B4-BE49-F238E27FC236}">
                  <a16:creationId xmlns:a16="http://schemas.microsoft.com/office/drawing/2014/main" id="{05F23277-8103-4ABF-B0E3-11F508D33BEE}"/>
                </a:ext>
              </a:extLst>
            </p:cNvPr>
            <p:cNvSpPr txBox="1">
              <a:spLocks noChangeArrowheads="1"/>
            </p:cNvSpPr>
            <p:nvPr/>
          </p:nvSpPr>
          <p:spPr bwMode="auto">
            <a:xfrm>
              <a:off x="4148486" y="3942426"/>
              <a:ext cx="560387" cy="376238"/>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rPr>
                <a:t>Text</a:t>
              </a:r>
            </a:p>
          </p:txBody>
        </p:sp>
        <p:sp>
          <p:nvSpPr>
            <p:cNvPr id="10" name="Freeform 9">
              <a:extLst>
                <a:ext uri="{FF2B5EF4-FFF2-40B4-BE49-F238E27FC236}">
                  <a16:creationId xmlns:a16="http://schemas.microsoft.com/office/drawing/2014/main" id="{0ED4CBA4-EF95-4825-8629-F23A1A95C69B}"/>
                </a:ext>
                <a:ext uri="{C183D7F6-B498-43B3-948B-1728B52AA6E4}">
                  <adec:decorative xmlns:adec="http://schemas.microsoft.com/office/drawing/2017/decorative" val="1"/>
                </a:ext>
              </a:extLst>
            </p:cNvPr>
            <p:cNvSpPr>
              <a:spLocks/>
            </p:cNvSpPr>
            <p:nvPr/>
          </p:nvSpPr>
          <p:spPr bwMode="auto">
            <a:xfrm>
              <a:off x="3907185" y="1457990"/>
              <a:ext cx="1936750" cy="1970087"/>
            </a:xfrm>
            <a:custGeom>
              <a:avLst/>
              <a:gdLst/>
              <a:ahLst/>
              <a:cxnLst>
                <a:cxn ang="0">
                  <a:pos x="510" y="426"/>
                </a:cxn>
                <a:cxn ang="0">
                  <a:pos x="577" y="182"/>
                </a:cxn>
                <a:cxn ang="0">
                  <a:pos x="390" y="0"/>
                </a:cxn>
                <a:cxn ang="0">
                  <a:pos x="405" y="52"/>
                </a:cxn>
                <a:cxn ang="0">
                  <a:pos x="368" y="68"/>
                </a:cxn>
                <a:cxn ang="0">
                  <a:pos x="332" y="86"/>
                </a:cxn>
                <a:cxn ang="0">
                  <a:pos x="265" y="129"/>
                </a:cxn>
                <a:cxn ang="0">
                  <a:pos x="233" y="153"/>
                </a:cxn>
                <a:cxn ang="0">
                  <a:pos x="203" y="179"/>
                </a:cxn>
                <a:cxn ang="0">
                  <a:pos x="174" y="207"/>
                </a:cxn>
                <a:cxn ang="0">
                  <a:pos x="147" y="235"/>
                </a:cxn>
                <a:cxn ang="0">
                  <a:pos x="122" y="266"/>
                </a:cxn>
                <a:cxn ang="0">
                  <a:pos x="99" y="298"/>
                </a:cxn>
                <a:cxn ang="0">
                  <a:pos x="77" y="332"/>
                </a:cxn>
                <a:cxn ang="0">
                  <a:pos x="57" y="367"/>
                </a:cxn>
                <a:cxn ang="0">
                  <a:pos x="41" y="403"/>
                </a:cxn>
                <a:cxn ang="0">
                  <a:pos x="25" y="440"/>
                </a:cxn>
                <a:cxn ang="0">
                  <a:pos x="0" y="518"/>
                </a:cxn>
                <a:cxn ang="0">
                  <a:pos x="204" y="459"/>
                </a:cxn>
                <a:cxn ang="0">
                  <a:pos x="324" y="581"/>
                </a:cxn>
                <a:cxn ang="0">
                  <a:pos x="336" y="548"/>
                </a:cxn>
                <a:cxn ang="0">
                  <a:pos x="350" y="516"/>
                </a:cxn>
                <a:cxn ang="0">
                  <a:pos x="369" y="486"/>
                </a:cxn>
                <a:cxn ang="0">
                  <a:pos x="389" y="458"/>
                </a:cxn>
                <a:cxn ang="0">
                  <a:pos x="412" y="433"/>
                </a:cxn>
                <a:cxn ang="0">
                  <a:pos x="438" y="409"/>
                </a:cxn>
                <a:cxn ang="0">
                  <a:pos x="465" y="389"/>
                </a:cxn>
                <a:cxn ang="0">
                  <a:pos x="495" y="372"/>
                </a:cxn>
                <a:cxn ang="0">
                  <a:pos x="510" y="426"/>
                </a:cxn>
              </a:cxnLst>
              <a:rect l="0" t="0" r="r" b="b"/>
              <a:pathLst>
                <a:path w="578" h="582">
                  <a:moveTo>
                    <a:pt x="510" y="426"/>
                  </a:moveTo>
                  <a:lnTo>
                    <a:pt x="577" y="182"/>
                  </a:lnTo>
                  <a:lnTo>
                    <a:pt x="390" y="0"/>
                  </a:lnTo>
                  <a:lnTo>
                    <a:pt x="405" y="52"/>
                  </a:lnTo>
                  <a:lnTo>
                    <a:pt x="368" y="68"/>
                  </a:lnTo>
                  <a:lnTo>
                    <a:pt x="332" y="86"/>
                  </a:lnTo>
                  <a:lnTo>
                    <a:pt x="265" y="129"/>
                  </a:lnTo>
                  <a:lnTo>
                    <a:pt x="233" y="153"/>
                  </a:lnTo>
                  <a:lnTo>
                    <a:pt x="203" y="179"/>
                  </a:lnTo>
                  <a:lnTo>
                    <a:pt x="174" y="207"/>
                  </a:lnTo>
                  <a:lnTo>
                    <a:pt x="147" y="235"/>
                  </a:lnTo>
                  <a:lnTo>
                    <a:pt x="122" y="266"/>
                  </a:lnTo>
                  <a:lnTo>
                    <a:pt x="99" y="298"/>
                  </a:lnTo>
                  <a:lnTo>
                    <a:pt x="77" y="332"/>
                  </a:lnTo>
                  <a:lnTo>
                    <a:pt x="57" y="367"/>
                  </a:lnTo>
                  <a:lnTo>
                    <a:pt x="41" y="403"/>
                  </a:lnTo>
                  <a:lnTo>
                    <a:pt x="25" y="440"/>
                  </a:lnTo>
                  <a:lnTo>
                    <a:pt x="0" y="518"/>
                  </a:lnTo>
                  <a:lnTo>
                    <a:pt x="204" y="459"/>
                  </a:lnTo>
                  <a:lnTo>
                    <a:pt x="324" y="581"/>
                  </a:lnTo>
                  <a:lnTo>
                    <a:pt x="336" y="548"/>
                  </a:lnTo>
                  <a:lnTo>
                    <a:pt x="350" y="516"/>
                  </a:lnTo>
                  <a:lnTo>
                    <a:pt x="369" y="486"/>
                  </a:lnTo>
                  <a:lnTo>
                    <a:pt x="389" y="458"/>
                  </a:lnTo>
                  <a:lnTo>
                    <a:pt x="412" y="433"/>
                  </a:lnTo>
                  <a:lnTo>
                    <a:pt x="438" y="409"/>
                  </a:lnTo>
                  <a:lnTo>
                    <a:pt x="465" y="389"/>
                  </a:lnTo>
                  <a:lnTo>
                    <a:pt x="495" y="372"/>
                  </a:lnTo>
                  <a:lnTo>
                    <a:pt x="510" y="426"/>
                  </a:lnTo>
                </a:path>
              </a:pathLst>
            </a:custGeom>
            <a:solidFill>
              <a:schemeClr val="accent2"/>
            </a:solidFill>
            <a:ln w="6350" cap="rnd"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 name="Text Box 15">
              <a:extLst>
                <a:ext uri="{FF2B5EF4-FFF2-40B4-BE49-F238E27FC236}">
                  <a16:creationId xmlns:a16="http://schemas.microsoft.com/office/drawing/2014/main" id="{63820320-C417-4FAF-A5DF-182AEE211C90}"/>
                </a:ext>
              </a:extLst>
            </p:cNvPr>
            <p:cNvSpPr txBox="1">
              <a:spLocks noChangeArrowheads="1"/>
            </p:cNvSpPr>
            <p:nvPr/>
          </p:nvSpPr>
          <p:spPr bwMode="auto">
            <a:xfrm>
              <a:off x="4688236" y="2254915"/>
              <a:ext cx="560387" cy="377825"/>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Text</a:t>
              </a:r>
            </a:p>
          </p:txBody>
        </p:sp>
      </p:grpSp>
      <p:sp>
        <p:nvSpPr>
          <p:cNvPr id="18" name="Footer Placeholder 17">
            <a:extLst>
              <a:ext uri="{FF2B5EF4-FFF2-40B4-BE49-F238E27FC236}">
                <a16:creationId xmlns:a16="http://schemas.microsoft.com/office/drawing/2014/main" id="{DF150869-9444-40D6-9811-7F160AC0886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9" name="Slide Number Placeholder 18">
            <a:extLst>
              <a:ext uri="{FF2B5EF4-FFF2-40B4-BE49-F238E27FC236}">
                <a16:creationId xmlns:a16="http://schemas.microsoft.com/office/drawing/2014/main" id="{A446CCA9-32EE-45F1-B304-7B968D4C41CA}"/>
              </a:ext>
            </a:extLst>
          </p:cNvPr>
          <p:cNvSpPr>
            <a:spLocks noGrp="1"/>
          </p:cNvSpPr>
          <p:nvPr>
            <p:ph type="sldNum" sz="quarter" idx="10"/>
          </p:nvPr>
        </p:nvSpPr>
        <p:spPr/>
        <p:txBody>
          <a:bodyPr/>
          <a:lstStyle/>
          <a:p>
            <a:fld id="{1F90F471-3972-4120-B8B3-0237DE626C35}" type="slidenum">
              <a:rPr lang="en-US" smtClean="0"/>
              <a:pPr/>
              <a:t>252</a:t>
            </a:fld>
            <a:endParaRPr lang="en-US" dirty="0"/>
          </a:p>
        </p:txBody>
      </p:sp>
    </p:spTree>
    <p:extLst>
      <p:ext uri="{BB962C8B-B14F-4D97-AF65-F5344CB8AC3E}">
        <p14:creationId xmlns:p14="http://schemas.microsoft.com/office/powerpoint/2010/main" val="2810320540"/>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Circular Flow 7</a:t>
            </a:r>
          </a:p>
        </p:txBody>
      </p:sp>
      <p:grpSp>
        <p:nvGrpSpPr>
          <p:cNvPr id="3" name="Group 2" descr="Circular flow insert description here">
            <a:extLst>
              <a:ext uri="{FF2B5EF4-FFF2-40B4-BE49-F238E27FC236}">
                <a16:creationId xmlns:a16="http://schemas.microsoft.com/office/drawing/2014/main" id="{D3DD32C0-6E9B-40C4-A929-EE614BF4A717}"/>
              </a:ext>
            </a:extLst>
          </p:cNvPr>
          <p:cNvGrpSpPr/>
          <p:nvPr/>
        </p:nvGrpSpPr>
        <p:grpSpPr>
          <a:xfrm>
            <a:off x="3756025" y="1457990"/>
            <a:ext cx="4645025" cy="4549774"/>
            <a:chOff x="3756025" y="1457990"/>
            <a:chExt cx="4645025" cy="4549774"/>
          </a:xfrm>
        </p:grpSpPr>
        <p:sp>
          <p:nvSpPr>
            <p:cNvPr id="5" name="Freeform 4">
              <a:extLst>
                <a:ext uri="{FF2B5EF4-FFF2-40B4-BE49-F238E27FC236}">
                  <a16:creationId xmlns:a16="http://schemas.microsoft.com/office/drawing/2014/main" id="{87A9B891-605D-4F48-9318-263CA586F643}"/>
                </a:ext>
                <a:ext uri="{C183D7F6-B498-43B3-948B-1728B52AA6E4}">
                  <adec:decorative xmlns:adec="http://schemas.microsoft.com/office/drawing/2017/decorative" val="1"/>
                </a:ext>
              </a:extLst>
            </p:cNvPr>
            <p:cNvSpPr>
              <a:spLocks/>
            </p:cNvSpPr>
            <p:nvPr/>
          </p:nvSpPr>
          <p:spPr bwMode="auto">
            <a:xfrm>
              <a:off x="6080539" y="1681146"/>
              <a:ext cx="1472325" cy="2049565"/>
            </a:xfrm>
            <a:custGeom>
              <a:avLst/>
              <a:gdLst/>
              <a:ahLst/>
              <a:cxnLst>
                <a:cxn ang="0">
                  <a:pos x="0" y="1199"/>
                </a:cxn>
                <a:cxn ang="0">
                  <a:pos x="0" y="600"/>
                </a:cxn>
                <a:cxn ang="0">
                  <a:pos x="0" y="0"/>
                </a:cxn>
                <a:cxn ang="0">
                  <a:pos x="30" y="0"/>
                </a:cxn>
                <a:cxn ang="0">
                  <a:pos x="59" y="1"/>
                </a:cxn>
                <a:cxn ang="0">
                  <a:pos x="88" y="3"/>
                </a:cxn>
                <a:cxn ang="0">
                  <a:pos x="118" y="6"/>
                </a:cxn>
                <a:cxn ang="0">
                  <a:pos x="147" y="9"/>
                </a:cxn>
                <a:cxn ang="0">
                  <a:pos x="176" y="13"/>
                </a:cxn>
                <a:cxn ang="0">
                  <a:pos x="205" y="18"/>
                </a:cxn>
                <a:cxn ang="0">
                  <a:pos x="234" y="23"/>
                </a:cxn>
                <a:cxn ang="0">
                  <a:pos x="263" y="29"/>
                </a:cxn>
                <a:cxn ang="0">
                  <a:pos x="291" y="36"/>
                </a:cxn>
                <a:cxn ang="0">
                  <a:pos x="320" y="43"/>
                </a:cxn>
                <a:cxn ang="0">
                  <a:pos x="348" y="52"/>
                </a:cxn>
                <a:cxn ang="0">
                  <a:pos x="362" y="56"/>
                </a:cxn>
                <a:cxn ang="0">
                  <a:pos x="376" y="60"/>
                </a:cxn>
                <a:cxn ang="0">
                  <a:pos x="404" y="70"/>
                </a:cxn>
                <a:cxn ang="0">
                  <a:pos x="431" y="80"/>
                </a:cxn>
                <a:cxn ang="0">
                  <a:pos x="459" y="91"/>
                </a:cxn>
                <a:cxn ang="0">
                  <a:pos x="486" y="103"/>
                </a:cxn>
                <a:cxn ang="0">
                  <a:pos x="513" y="115"/>
                </a:cxn>
                <a:cxn ang="0">
                  <a:pos x="539" y="128"/>
                </a:cxn>
                <a:cxn ang="0">
                  <a:pos x="565" y="141"/>
                </a:cxn>
                <a:cxn ang="0">
                  <a:pos x="591" y="155"/>
                </a:cxn>
                <a:cxn ang="0">
                  <a:pos x="617" y="170"/>
                </a:cxn>
                <a:cxn ang="0">
                  <a:pos x="642" y="185"/>
                </a:cxn>
                <a:cxn ang="0">
                  <a:pos x="667" y="201"/>
                </a:cxn>
                <a:cxn ang="0">
                  <a:pos x="691" y="218"/>
                </a:cxn>
                <a:cxn ang="0">
                  <a:pos x="703" y="227"/>
                </a:cxn>
                <a:cxn ang="0">
                  <a:pos x="715" y="235"/>
                </a:cxn>
                <a:cxn ang="0">
                  <a:pos x="739" y="253"/>
                </a:cxn>
                <a:cxn ang="0">
                  <a:pos x="762" y="271"/>
                </a:cxn>
                <a:cxn ang="0">
                  <a:pos x="784" y="290"/>
                </a:cxn>
                <a:cxn ang="0">
                  <a:pos x="806" y="310"/>
                </a:cxn>
                <a:cxn ang="0">
                  <a:pos x="817" y="320"/>
                </a:cxn>
                <a:cxn ang="0">
                  <a:pos x="827" y="330"/>
                </a:cxn>
                <a:cxn ang="0">
                  <a:pos x="848" y="351"/>
                </a:cxn>
                <a:cxn ang="0">
                  <a:pos x="423" y="775"/>
                </a:cxn>
                <a:cxn ang="0">
                  <a:pos x="0" y="1199"/>
                </a:cxn>
              </a:cxnLst>
              <a:rect l="0" t="0" r="r" b="b"/>
              <a:pathLst>
                <a:path w="848" h="1199">
                  <a:moveTo>
                    <a:pt x="0" y="1199"/>
                  </a:moveTo>
                  <a:lnTo>
                    <a:pt x="0" y="600"/>
                  </a:lnTo>
                  <a:lnTo>
                    <a:pt x="0" y="0"/>
                  </a:lnTo>
                  <a:lnTo>
                    <a:pt x="30" y="0"/>
                  </a:lnTo>
                  <a:lnTo>
                    <a:pt x="59" y="1"/>
                  </a:lnTo>
                  <a:lnTo>
                    <a:pt x="88" y="3"/>
                  </a:lnTo>
                  <a:lnTo>
                    <a:pt x="118" y="6"/>
                  </a:lnTo>
                  <a:lnTo>
                    <a:pt x="147" y="9"/>
                  </a:lnTo>
                  <a:lnTo>
                    <a:pt x="176" y="13"/>
                  </a:lnTo>
                  <a:lnTo>
                    <a:pt x="205" y="18"/>
                  </a:lnTo>
                  <a:lnTo>
                    <a:pt x="234" y="23"/>
                  </a:lnTo>
                  <a:lnTo>
                    <a:pt x="263" y="29"/>
                  </a:lnTo>
                  <a:lnTo>
                    <a:pt x="291" y="36"/>
                  </a:lnTo>
                  <a:lnTo>
                    <a:pt x="320" y="43"/>
                  </a:lnTo>
                  <a:lnTo>
                    <a:pt x="348" y="52"/>
                  </a:lnTo>
                  <a:lnTo>
                    <a:pt x="362" y="56"/>
                  </a:lnTo>
                  <a:lnTo>
                    <a:pt x="376" y="60"/>
                  </a:lnTo>
                  <a:lnTo>
                    <a:pt x="404" y="70"/>
                  </a:lnTo>
                  <a:lnTo>
                    <a:pt x="431" y="80"/>
                  </a:lnTo>
                  <a:lnTo>
                    <a:pt x="459" y="91"/>
                  </a:lnTo>
                  <a:lnTo>
                    <a:pt x="486" y="103"/>
                  </a:lnTo>
                  <a:lnTo>
                    <a:pt x="513" y="115"/>
                  </a:lnTo>
                  <a:lnTo>
                    <a:pt x="539" y="128"/>
                  </a:lnTo>
                  <a:lnTo>
                    <a:pt x="565" y="141"/>
                  </a:lnTo>
                  <a:lnTo>
                    <a:pt x="591" y="155"/>
                  </a:lnTo>
                  <a:lnTo>
                    <a:pt x="617" y="170"/>
                  </a:lnTo>
                  <a:lnTo>
                    <a:pt x="642" y="185"/>
                  </a:lnTo>
                  <a:lnTo>
                    <a:pt x="667" y="201"/>
                  </a:lnTo>
                  <a:lnTo>
                    <a:pt x="691" y="218"/>
                  </a:lnTo>
                  <a:lnTo>
                    <a:pt x="703" y="227"/>
                  </a:lnTo>
                  <a:lnTo>
                    <a:pt x="715" y="235"/>
                  </a:lnTo>
                  <a:lnTo>
                    <a:pt x="739" y="253"/>
                  </a:lnTo>
                  <a:lnTo>
                    <a:pt x="762" y="271"/>
                  </a:lnTo>
                  <a:lnTo>
                    <a:pt x="784" y="290"/>
                  </a:lnTo>
                  <a:lnTo>
                    <a:pt x="806" y="310"/>
                  </a:lnTo>
                  <a:lnTo>
                    <a:pt x="817" y="320"/>
                  </a:lnTo>
                  <a:lnTo>
                    <a:pt x="827" y="330"/>
                  </a:lnTo>
                  <a:lnTo>
                    <a:pt x="848" y="351"/>
                  </a:lnTo>
                  <a:lnTo>
                    <a:pt x="423" y="775"/>
                  </a:lnTo>
                  <a:lnTo>
                    <a:pt x="0" y="1199"/>
                  </a:lnTo>
                  <a:close/>
                </a:path>
              </a:pathLst>
            </a:custGeom>
            <a:solidFill>
              <a:schemeClr val="accent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 name="Text Box 16">
              <a:extLst>
                <a:ext uri="{FF2B5EF4-FFF2-40B4-BE49-F238E27FC236}">
                  <a16:creationId xmlns:a16="http://schemas.microsoft.com/office/drawing/2014/main" id="{9CB3123A-FEC5-4D58-A2B8-0E88E158200B}"/>
                </a:ext>
              </a:extLst>
            </p:cNvPr>
            <p:cNvSpPr txBox="1">
              <a:spLocks noChangeArrowheads="1"/>
            </p:cNvSpPr>
            <p:nvPr/>
          </p:nvSpPr>
          <p:spPr bwMode="auto">
            <a:xfrm>
              <a:off x="6338595" y="2086291"/>
              <a:ext cx="518114" cy="348816"/>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Text</a:t>
              </a:r>
            </a:p>
          </p:txBody>
        </p:sp>
        <p:sp>
          <p:nvSpPr>
            <p:cNvPr id="6" name="Freeform 5">
              <a:extLst>
                <a:ext uri="{FF2B5EF4-FFF2-40B4-BE49-F238E27FC236}">
                  <a16:creationId xmlns:a16="http://schemas.microsoft.com/office/drawing/2014/main" id="{D0CC7140-CA45-4431-8F22-92B8FE43C41A}"/>
                </a:ext>
                <a:ext uri="{C183D7F6-B498-43B3-948B-1728B52AA6E4}">
                  <adec:decorative xmlns:adec="http://schemas.microsoft.com/office/drawing/2017/decorative" val="1"/>
                </a:ext>
              </a:extLst>
            </p:cNvPr>
            <p:cNvSpPr>
              <a:spLocks/>
            </p:cNvSpPr>
            <p:nvPr/>
          </p:nvSpPr>
          <p:spPr bwMode="auto">
            <a:xfrm>
              <a:off x="6080538" y="2281282"/>
              <a:ext cx="2082460" cy="1449428"/>
            </a:xfrm>
            <a:custGeom>
              <a:avLst/>
              <a:gdLst/>
              <a:ahLst/>
              <a:cxnLst>
                <a:cxn ang="0">
                  <a:pos x="0" y="848"/>
                </a:cxn>
                <a:cxn ang="0">
                  <a:pos x="423" y="424"/>
                </a:cxn>
                <a:cxn ang="0">
                  <a:pos x="848" y="0"/>
                </a:cxn>
                <a:cxn ang="0">
                  <a:pos x="869" y="21"/>
                </a:cxn>
                <a:cxn ang="0">
                  <a:pos x="889" y="42"/>
                </a:cxn>
                <a:cxn ang="0">
                  <a:pos x="909" y="64"/>
                </a:cxn>
                <a:cxn ang="0">
                  <a:pos x="928" y="87"/>
                </a:cxn>
                <a:cxn ang="0">
                  <a:pos x="946" y="110"/>
                </a:cxn>
                <a:cxn ang="0">
                  <a:pos x="964" y="133"/>
                </a:cxn>
                <a:cxn ang="0">
                  <a:pos x="981" y="157"/>
                </a:cxn>
                <a:cxn ang="0">
                  <a:pos x="989" y="169"/>
                </a:cxn>
                <a:cxn ang="0">
                  <a:pos x="997" y="181"/>
                </a:cxn>
                <a:cxn ang="0">
                  <a:pos x="1013" y="206"/>
                </a:cxn>
                <a:cxn ang="0">
                  <a:pos x="1029" y="231"/>
                </a:cxn>
                <a:cxn ang="0">
                  <a:pos x="1044" y="257"/>
                </a:cxn>
                <a:cxn ang="0">
                  <a:pos x="1058" y="283"/>
                </a:cxn>
                <a:cxn ang="0">
                  <a:pos x="1071" y="309"/>
                </a:cxn>
                <a:cxn ang="0">
                  <a:pos x="1084" y="336"/>
                </a:cxn>
                <a:cxn ang="0">
                  <a:pos x="1097" y="362"/>
                </a:cxn>
                <a:cxn ang="0">
                  <a:pos x="1108" y="389"/>
                </a:cxn>
                <a:cxn ang="0">
                  <a:pos x="1119" y="417"/>
                </a:cxn>
                <a:cxn ang="0">
                  <a:pos x="1129" y="444"/>
                </a:cxn>
                <a:cxn ang="0">
                  <a:pos x="1139" y="472"/>
                </a:cxn>
                <a:cxn ang="0">
                  <a:pos x="1148" y="500"/>
                </a:cxn>
                <a:cxn ang="0">
                  <a:pos x="1156" y="528"/>
                </a:cxn>
                <a:cxn ang="0">
                  <a:pos x="1164" y="557"/>
                </a:cxn>
                <a:cxn ang="0">
                  <a:pos x="1171" y="585"/>
                </a:cxn>
                <a:cxn ang="0">
                  <a:pos x="1177" y="614"/>
                </a:cxn>
                <a:cxn ang="0">
                  <a:pos x="1182" y="643"/>
                </a:cxn>
                <a:cxn ang="0">
                  <a:pos x="1187" y="672"/>
                </a:cxn>
                <a:cxn ang="0">
                  <a:pos x="1191" y="701"/>
                </a:cxn>
                <a:cxn ang="0">
                  <a:pos x="1194" y="730"/>
                </a:cxn>
                <a:cxn ang="0">
                  <a:pos x="1197" y="760"/>
                </a:cxn>
                <a:cxn ang="0">
                  <a:pos x="1198" y="789"/>
                </a:cxn>
                <a:cxn ang="0">
                  <a:pos x="1199" y="818"/>
                </a:cxn>
                <a:cxn ang="0">
                  <a:pos x="1199" y="848"/>
                </a:cxn>
                <a:cxn ang="0">
                  <a:pos x="599" y="848"/>
                </a:cxn>
                <a:cxn ang="0">
                  <a:pos x="0" y="848"/>
                </a:cxn>
              </a:cxnLst>
              <a:rect l="0" t="0" r="r" b="b"/>
              <a:pathLst>
                <a:path w="1199" h="848">
                  <a:moveTo>
                    <a:pt x="0" y="848"/>
                  </a:moveTo>
                  <a:lnTo>
                    <a:pt x="423" y="424"/>
                  </a:lnTo>
                  <a:lnTo>
                    <a:pt x="848" y="0"/>
                  </a:lnTo>
                  <a:lnTo>
                    <a:pt x="869" y="21"/>
                  </a:lnTo>
                  <a:lnTo>
                    <a:pt x="889" y="42"/>
                  </a:lnTo>
                  <a:lnTo>
                    <a:pt x="909" y="64"/>
                  </a:lnTo>
                  <a:lnTo>
                    <a:pt x="928" y="87"/>
                  </a:lnTo>
                  <a:lnTo>
                    <a:pt x="946" y="110"/>
                  </a:lnTo>
                  <a:lnTo>
                    <a:pt x="964" y="133"/>
                  </a:lnTo>
                  <a:lnTo>
                    <a:pt x="981" y="157"/>
                  </a:lnTo>
                  <a:lnTo>
                    <a:pt x="989" y="169"/>
                  </a:lnTo>
                  <a:lnTo>
                    <a:pt x="997" y="181"/>
                  </a:lnTo>
                  <a:lnTo>
                    <a:pt x="1013" y="206"/>
                  </a:lnTo>
                  <a:lnTo>
                    <a:pt x="1029" y="231"/>
                  </a:lnTo>
                  <a:lnTo>
                    <a:pt x="1044" y="257"/>
                  </a:lnTo>
                  <a:lnTo>
                    <a:pt x="1058" y="283"/>
                  </a:lnTo>
                  <a:lnTo>
                    <a:pt x="1071" y="309"/>
                  </a:lnTo>
                  <a:lnTo>
                    <a:pt x="1084" y="336"/>
                  </a:lnTo>
                  <a:lnTo>
                    <a:pt x="1097" y="362"/>
                  </a:lnTo>
                  <a:lnTo>
                    <a:pt x="1108" y="389"/>
                  </a:lnTo>
                  <a:lnTo>
                    <a:pt x="1119" y="417"/>
                  </a:lnTo>
                  <a:lnTo>
                    <a:pt x="1129" y="444"/>
                  </a:lnTo>
                  <a:lnTo>
                    <a:pt x="1139" y="472"/>
                  </a:lnTo>
                  <a:lnTo>
                    <a:pt x="1148" y="500"/>
                  </a:lnTo>
                  <a:lnTo>
                    <a:pt x="1156" y="528"/>
                  </a:lnTo>
                  <a:lnTo>
                    <a:pt x="1164" y="557"/>
                  </a:lnTo>
                  <a:lnTo>
                    <a:pt x="1171" y="585"/>
                  </a:lnTo>
                  <a:lnTo>
                    <a:pt x="1177" y="614"/>
                  </a:lnTo>
                  <a:lnTo>
                    <a:pt x="1182" y="643"/>
                  </a:lnTo>
                  <a:lnTo>
                    <a:pt x="1187" y="672"/>
                  </a:lnTo>
                  <a:lnTo>
                    <a:pt x="1191" y="701"/>
                  </a:lnTo>
                  <a:lnTo>
                    <a:pt x="1194" y="730"/>
                  </a:lnTo>
                  <a:lnTo>
                    <a:pt x="1197" y="760"/>
                  </a:lnTo>
                  <a:lnTo>
                    <a:pt x="1198" y="789"/>
                  </a:lnTo>
                  <a:lnTo>
                    <a:pt x="1199" y="818"/>
                  </a:lnTo>
                  <a:lnTo>
                    <a:pt x="1199" y="848"/>
                  </a:lnTo>
                  <a:lnTo>
                    <a:pt x="599" y="848"/>
                  </a:lnTo>
                  <a:lnTo>
                    <a:pt x="0" y="848"/>
                  </a:lnTo>
                  <a:close/>
                </a:path>
              </a:pathLst>
            </a:custGeom>
            <a:solidFill>
              <a:schemeClr val="accent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 name="Text Box 17">
              <a:extLst>
                <a:ext uri="{FF2B5EF4-FFF2-40B4-BE49-F238E27FC236}">
                  <a16:creationId xmlns:a16="http://schemas.microsoft.com/office/drawing/2014/main" id="{ADED32FA-0DE2-4CE8-B367-00FF1A7BEF21}"/>
                </a:ext>
              </a:extLst>
            </p:cNvPr>
            <p:cNvSpPr txBox="1">
              <a:spLocks noChangeArrowheads="1"/>
            </p:cNvSpPr>
            <p:nvPr/>
          </p:nvSpPr>
          <p:spPr bwMode="auto">
            <a:xfrm>
              <a:off x="7292805" y="3033078"/>
              <a:ext cx="518114" cy="348816"/>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rPr>
                <a:t>Text</a:t>
              </a:r>
            </a:p>
          </p:txBody>
        </p:sp>
        <p:sp>
          <p:nvSpPr>
            <p:cNvPr id="7" name="Freeform 6">
              <a:extLst>
                <a:ext uri="{FF2B5EF4-FFF2-40B4-BE49-F238E27FC236}">
                  <a16:creationId xmlns:a16="http://schemas.microsoft.com/office/drawing/2014/main" id="{A4507833-C83E-402A-850B-2F11BD58A559}"/>
                </a:ext>
                <a:ext uri="{C183D7F6-B498-43B3-948B-1728B52AA6E4}">
                  <adec:decorative xmlns:adec="http://schemas.microsoft.com/office/drawing/2017/decorative" val="1"/>
                </a:ext>
              </a:extLst>
            </p:cNvPr>
            <p:cNvSpPr>
              <a:spLocks/>
            </p:cNvSpPr>
            <p:nvPr/>
          </p:nvSpPr>
          <p:spPr bwMode="auto">
            <a:xfrm>
              <a:off x="6080538" y="3730710"/>
              <a:ext cx="2082460" cy="1449428"/>
            </a:xfrm>
            <a:custGeom>
              <a:avLst/>
              <a:gdLst/>
              <a:ahLst/>
              <a:cxnLst>
                <a:cxn ang="0">
                  <a:pos x="0" y="0"/>
                </a:cxn>
                <a:cxn ang="0">
                  <a:pos x="599" y="0"/>
                </a:cxn>
                <a:cxn ang="0">
                  <a:pos x="1199" y="0"/>
                </a:cxn>
                <a:cxn ang="0">
                  <a:pos x="1199" y="29"/>
                </a:cxn>
                <a:cxn ang="0">
                  <a:pos x="1198" y="59"/>
                </a:cxn>
                <a:cxn ang="0">
                  <a:pos x="1196" y="88"/>
                </a:cxn>
                <a:cxn ang="0">
                  <a:pos x="1194" y="117"/>
                </a:cxn>
                <a:cxn ang="0">
                  <a:pos x="1190" y="147"/>
                </a:cxn>
                <a:cxn ang="0">
                  <a:pos x="1186" y="176"/>
                </a:cxn>
                <a:cxn ang="0">
                  <a:pos x="1182" y="205"/>
                </a:cxn>
                <a:cxn ang="0">
                  <a:pos x="1176" y="234"/>
                </a:cxn>
                <a:cxn ang="0">
                  <a:pos x="1170" y="262"/>
                </a:cxn>
                <a:cxn ang="0">
                  <a:pos x="1163" y="291"/>
                </a:cxn>
                <a:cxn ang="0">
                  <a:pos x="1156" y="319"/>
                </a:cxn>
                <a:cxn ang="0">
                  <a:pos x="1148" y="348"/>
                </a:cxn>
                <a:cxn ang="0">
                  <a:pos x="1143" y="362"/>
                </a:cxn>
                <a:cxn ang="0">
                  <a:pos x="1139" y="376"/>
                </a:cxn>
                <a:cxn ang="0">
                  <a:pos x="1129" y="404"/>
                </a:cxn>
                <a:cxn ang="0">
                  <a:pos x="1119" y="431"/>
                </a:cxn>
                <a:cxn ang="0">
                  <a:pos x="1108" y="458"/>
                </a:cxn>
                <a:cxn ang="0">
                  <a:pos x="1097" y="485"/>
                </a:cxn>
                <a:cxn ang="0">
                  <a:pos x="1084" y="512"/>
                </a:cxn>
                <a:cxn ang="0">
                  <a:pos x="1072" y="539"/>
                </a:cxn>
                <a:cxn ang="0">
                  <a:pos x="1058" y="565"/>
                </a:cxn>
                <a:cxn ang="0">
                  <a:pos x="1044" y="591"/>
                </a:cxn>
                <a:cxn ang="0">
                  <a:pos x="1029" y="617"/>
                </a:cxn>
                <a:cxn ang="0">
                  <a:pos x="1014" y="642"/>
                </a:cxn>
                <a:cxn ang="0">
                  <a:pos x="998" y="667"/>
                </a:cxn>
                <a:cxn ang="0">
                  <a:pos x="981" y="691"/>
                </a:cxn>
                <a:cxn ang="0">
                  <a:pos x="973" y="703"/>
                </a:cxn>
                <a:cxn ang="0">
                  <a:pos x="964" y="715"/>
                </a:cxn>
                <a:cxn ang="0">
                  <a:pos x="946" y="738"/>
                </a:cxn>
                <a:cxn ang="0">
                  <a:pos x="928" y="761"/>
                </a:cxn>
                <a:cxn ang="0">
                  <a:pos x="909" y="784"/>
                </a:cxn>
                <a:cxn ang="0">
                  <a:pos x="889" y="806"/>
                </a:cxn>
                <a:cxn ang="0">
                  <a:pos x="879" y="816"/>
                </a:cxn>
                <a:cxn ang="0">
                  <a:pos x="869" y="827"/>
                </a:cxn>
                <a:cxn ang="0">
                  <a:pos x="848" y="848"/>
                </a:cxn>
                <a:cxn ang="0">
                  <a:pos x="423" y="423"/>
                </a:cxn>
                <a:cxn ang="0">
                  <a:pos x="0" y="0"/>
                </a:cxn>
              </a:cxnLst>
              <a:rect l="0" t="0" r="r" b="b"/>
              <a:pathLst>
                <a:path w="1199" h="848">
                  <a:moveTo>
                    <a:pt x="0" y="0"/>
                  </a:moveTo>
                  <a:lnTo>
                    <a:pt x="599" y="0"/>
                  </a:lnTo>
                  <a:lnTo>
                    <a:pt x="1199" y="0"/>
                  </a:lnTo>
                  <a:lnTo>
                    <a:pt x="1199" y="29"/>
                  </a:lnTo>
                  <a:lnTo>
                    <a:pt x="1198" y="59"/>
                  </a:lnTo>
                  <a:lnTo>
                    <a:pt x="1196" y="88"/>
                  </a:lnTo>
                  <a:lnTo>
                    <a:pt x="1194" y="117"/>
                  </a:lnTo>
                  <a:lnTo>
                    <a:pt x="1190" y="147"/>
                  </a:lnTo>
                  <a:lnTo>
                    <a:pt x="1186" y="176"/>
                  </a:lnTo>
                  <a:lnTo>
                    <a:pt x="1182" y="205"/>
                  </a:lnTo>
                  <a:lnTo>
                    <a:pt x="1176" y="234"/>
                  </a:lnTo>
                  <a:lnTo>
                    <a:pt x="1170" y="262"/>
                  </a:lnTo>
                  <a:lnTo>
                    <a:pt x="1163" y="291"/>
                  </a:lnTo>
                  <a:lnTo>
                    <a:pt x="1156" y="319"/>
                  </a:lnTo>
                  <a:lnTo>
                    <a:pt x="1148" y="348"/>
                  </a:lnTo>
                  <a:lnTo>
                    <a:pt x="1143" y="362"/>
                  </a:lnTo>
                  <a:lnTo>
                    <a:pt x="1139" y="376"/>
                  </a:lnTo>
                  <a:lnTo>
                    <a:pt x="1129" y="404"/>
                  </a:lnTo>
                  <a:lnTo>
                    <a:pt x="1119" y="431"/>
                  </a:lnTo>
                  <a:lnTo>
                    <a:pt x="1108" y="458"/>
                  </a:lnTo>
                  <a:lnTo>
                    <a:pt x="1097" y="485"/>
                  </a:lnTo>
                  <a:lnTo>
                    <a:pt x="1084" y="512"/>
                  </a:lnTo>
                  <a:lnTo>
                    <a:pt x="1072" y="539"/>
                  </a:lnTo>
                  <a:lnTo>
                    <a:pt x="1058" y="565"/>
                  </a:lnTo>
                  <a:lnTo>
                    <a:pt x="1044" y="591"/>
                  </a:lnTo>
                  <a:lnTo>
                    <a:pt x="1029" y="617"/>
                  </a:lnTo>
                  <a:lnTo>
                    <a:pt x="1014" y="642"/>
                  </a:lnTo>
                  <a:lnTo>
                    <a:pt x="998" y="667"/>
                  </a:lnTo>
                  <a:lnTo>
                    <a:pt x="981" y="691"/>
                  </a:lnTo>
                  <a:lnTo>
                    <a:pt x="973" y="703"/>
                  </a:lnTo>
                  <a:lnTo>
                    <a:pt x="964" y="715"/>
                  </a:lnTo>
                  <a:lnTo>
                    <a:pt x="946" y="738"/>
                  </a:lnTo>
                  <a:lnTo>
                    <a:pt x="928" y="761"/>
                  </a:lnTo>
                  <a:lnTo>
                    <a:pt x="909" y="784"/>
                  </a:lnTo>
                  <a:lnTo>
                    <a:pt x="889" y="806"/>
                  </a:lnTo>
                  <a:lnTo>
                    <a:pt x="879" y="816"/>
                  </a:lnTo>
                  <a:lnTo>
                    <a:pt x="869" y="827"/>
                  </a:lnTo>
                  <a:lnTo>
                    <a:pt x="848" y="848"/>
                  </a:lnTo>
                  <a:lnTo>
                    <a:pt x="423" y="423"/>
                  </a:lnTo>
                  <a:lnTo>
                    <a:pt x="0" y="0"/>
                  </a:lnTo>
                  <a:close/>
                </a:path>
              </a:pathLst>
            </a:custGeom>
            <a:solidFill>
              <a:schemeClr val="accent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 name="Text Box 22">
              <a:extLst>
                <a:ext uri="{FF2B5EF4-FFF2-40B4-BE49-F238E27FC236}">
                  <a16:creationId xmlns:a16="http://schemas.microsoft.com/office/drawing/2014/main" id="{A6FBD6A3-B2C8-4FCA-8D49-312DEC5302A1}"/>
                </a:ext>
              </a:extLst>
            </p:cNvPr>
            <p:cNvSpPr txBox="1">
              <a:spLocks noChangeArrowheads="1"/>
            </p:cNvSpPr>
            <p:nvPr/>
          </p:nvSpPr>
          <p:spPr bwMode="auto">
            <a:xfrm>
              <a:off x="7292805" y="4079526"/>
              <a:ext cx="518114" cy="348816"/>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rPr>
                <a:t>Text</a:t>
              </a:r>
            </a:p>
          </p:txBody>
        </p:sp>
        <p:sp>
          <p:nvSpPr>
            <p:cNvPr id="8" name="Freeform 7">
              <a:extLst>
                <a:ext uri="{FF2B5EF4-FFF2-40B4-BE49-F238E27FC236}">
                  <a16:creationId xmlns:a16="http://schemas.microsoft.com/office/drawing/2014/main" id="{3B4E2AB9-75CE-48E2-846A-4AE1F191F203}"/>
                </a:ext>
                <a:ext uri="{C183D7F6-B498-43B3-948B-1728B52AA6E4}">
                  <adec:decorative xmlns:adec="http://schemas.microsoft.com/office/drawing/2017/decorative" val="1"/>
                </a:ext>
              </a:extLst>
            </p:cNvPr>
            <p:cNvSpPr>
              <a:spLocks/>
            </p:cNvSpPr>
            <p:nvPr/>
          </p:nvSpPr>
          <p:spPr bwMode="auto">
            <a:xfrm>
              <a:off x="6080539" y="3730711"/>
              <a:ext cx="1472325" cy="2049565"/>
            </a:xfrm>
            <a:custGeom>
              <a:avLst/>
              <a:gdLst/>
              <a:ahLst/>
              <a:cxnLst>
                <a:cxn ang="0">
                  <a:pos x="0" y="0"/>
                </a:cxn>
                <a:cxn ang="0">
                  <a:pos x="423" y="423"/>
                </a:cxn>
                <a:cxn ang="0">
                  <a:pos x="848" y="848"/>
                </a:cxn>
                <a:cxn ang="0">
                  <a:pos x="827" y="869"/>
                </a:cxn>
                <a:cxn ang="0">
                  <a:pos x="806" y="889"/>
                </a:cxn>
                <a:cxn ang="0">
                  <a:pos x="784" y="908"/>
                </a:cxn>
                <a:cxn ang="0">
                  <a:pos x="761" y="927"/>
                </a:cxn>
                <a:cxn ang="0">
                  <a:pos x="738" y="945"/>
                </a:cxn>
                <a:cxn ang="0">
                  <a:pos x="715" y="963"/>
                </a:cxn>
                <a:cxn ang="0">
                  <a:pos x="691" y="980"/>
                </a:cxn>
                <a:cxn ang="0">
                  <a:pos x="679" y="989"/>
                </a:cxn>
                <a:cxn ang="0">
                  <a:pos x="667" y="997"/>
                </a:cxn>
                <a:cxn ang="0">
                  <a:pos x="642" y="1013"/>
                </a:cxn>
                <a:cxn ang="0">
                  <a:pos x="617" y="1028"/>
                </a:cxn>
                <a:cxn ang="0">
                  <a:pos x="591" y="1043"/>
                </a:cxn>
                <a:cxn ang="0">
                  <a:pos x="565" y="1057"/>
                </a:cxn>
                <a:cxn ang="0">
                  <a:pos x="539" y="1071"/>
                </a:cxn>
                <a:cxn ang="0">
                  <a:pos x="513" y="1084"/>
                </a:cxn>
                <a:cxn ang="0">
                  <a:pos x="486" y="1096"/>
                </a:cxn>
                <a:cxn ang="0">
                  <a:pos x="459" y="1108"/>
                </a:cxn>
                <a:cxn ang="0">
                  <a:pos x="432" y="1119"/>
                </a:cxn>
                <a:cxn ang="0">
                  <a:pos x="404" y="1129"/>
                </a:cxn>
                <a:cxn ang="0">
                  <a:pos x="376" y="1139"/>
                </a:cxn>
                <a:cxn ang="0">
                  <a:pos x="348" y="1148"/>
                </a:cxn>
                <a:cxn ang="0">
                  <a:pos x="320" y="1156"/>
                </a:cxn>
                <a:cxn ang="0">
                  <a:pos x="292" y="1163"/>
                </a:cxn>
                <a:cxn ang="0">
                  <a:pos x="263" y="1170"/>
                </a:cxn>
                <a:cxn ang="0">
                  <a:pos x="234" y="1176"/>
                </a:cxn>
                <a:cxn ang="0">
                  <a:pos x="205" y="1182"/>
                </a:cxn>
                <a:cxn ang="0">
                  <a:pos x="176" y="1186"/>
                </a:cxn>
                <a:cxn ang="0">
                  <a:pos x="147" y="1190"/>
                </a:cxn>
                <a:cxn ang="0">
                  <a:pos x="118" y="1194"/>
                </a:cxn>
                <a:cxn ang="0">
                  <a:pos x="89" y="1196"/>
                </a:cxn>
                <a:cxn ang="0">
                  <a:pos x="59" y="1198"/>
                </a:cxn>
                <a:cxn ang="0">
                  <a:pos x="30" y="1199"/>
                </a:cxn>
                <a:cxn ang="0">
                  <a:pos x="0" y="1199"/>
                </a:cxn>
                <a:cxn ang="0">
                  <a:pos x="0" y="599"/>
                </a:cxn>
                <a:cxn ang="0">
                  <a:pos x="0" y="0"/>
                </a:cxn>
              </a:cxnLst>
              <a:rect l="0" t="0" r="r" b="b"/>
              <a:pathLst>
                <a:path w="848" h="1199">
                  <a:moveTo>
                    <a:pt x="0" y="0"/>
                  </a:moveTo>
                  <a:lnTo>
                    <a:pt x="423" y="423"/>
                  </a:lnTo>
                  <a:lnTo>
                    <a:pt x="848" y="848"/>
                  </a:lnTo>
                  <a:lnTo>
                    <a:pt x="827" y="869"/>
                  </a:lnTo>
                  <a:lnTo>
                    <a:pt x="806" y="889"/>
                  </a:lnTo>
                  <a:lnTo>
                    <a:pt x="784" y="908"/>
                  </a:lnTo>
                  <a:lnTo>
                    <a:pt x="761" y="927"/>
                  </a:lnTo>
                  <a:lnTo>
                    <a:pt x="738" y="945"/>
                  </a:lnTo>
                  <a:lnTo>
                    <a:pt x="715" y="963"/>
                  </a:lnTo>
                  <a:lnTo>
                    <a:pt x="691" y="980"/>
                  </a:lnTo>
                  <a:lnTo>
                    <a:pt x="679" y="989"/>
                  </a:lnTo>
                  <a:lnTo>
                    <a:pt x="667" y="997"/>
                  </a:lnTo>
                  <a:lnTo>
                    <a:pt x="642" y="1013"/>
                  </a:lnTo>
                  <a:lnTo>
                    <a:pt x="617" y="1028"/>
                  </a:lnTo>
                  <a:lnTo>
                    <a:pt x="591" y="1043"/>
                  </a:lnTo>
                  <a:lnTo>
                    <a:pt x="565" y="1057"/>
                  </a:lnTo>
                  <a:lnTo>
                    <a:pt x="539" y="1071"/>
                  </a:lnTo>
                  <a:lnTo>
                    <a:pt x="513" y="1084"/>
                  </a:lnTo>
                  <a:lnTo>
                    <a:pt x="486" y="1096"/>
                  </a:lnTo>
                  <a:lnTo>
                    <a:pt x="459" y="1108"/>
                  </a:lnTo>
                  <a:lnTo>
                    <a:pt x="432" y="1119"/>
                  </a:lnTo>
                  <a:lnTo>
                    <a:pt x="404" y="1129"/>
                  </a:lnTo>
                  <a:lnTo>
                    <a:pt x="376" y="1139"/>
                  </a:lnTo>
                  <a:lnTo>
                    <a:pt x="348" y="1148"/>
                  </a:lnTo>
                  <a:lnTo>
                    <a:pt x="320" y="1156"/>
                  </a:lnTo>
                  <a:lnTo>
                    <a:pt x="292" y="1163"/>
                  </a:lnTo>
                  <a:lnTo>
                    <a:pt x="263" y="1170"/>
                  </a:lnTo>
                  <a:lnTo>
                    <a:pt x="234" y="1176"/>
                  </a:lnTo>
                  <a:lnTo>
                    <a:pt x="205" y="1182"/>
                  </a:lnTo>
                  <a:lnTo>
                    <a:pt x="176" y="1186"/>
                  </a:lnTo>
                  <a:lnTo>
                    <a:pt x="147" y="1190"/>
                  </a:lnTo>
                  <a:lnTo>
                    <a:pt x="118" y="1194"/>
                  </a:lnTo>
                  <a:lnTo>
                    <a:pt x="89" y="1196"/>
                  </a:lnTo>
                  <a:lnTo>
                    <a:pt x="59" y="1198"/>
                  </a:lnTo>
                  <a:lnTo>
                    <a:pt x="30" y="1199"/>
                  </a:lnTo>
                  <a:lnTo>
                    <a:pt x="0" y="1199"/>
                  </a:lnTo>
                  <a:lnTo>
                    <a:pt x="0" y="599"/>
                  </a:lnTo>
                  <a:lnTo>
                    <a:pt x="0" y="0"/>
                  </a:lnTo>
                  <a:close/>
                </a:path>
              </a:pathLst>
            </a:custGeom>
            <a:solidFill>
              <a:schemeClr val="accent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 name="Text Box 18">
              <a:extLst>
                <a:ext uri="{FF2B5EF4-FFF2-40B4-BE49-F238E27FC236}">
                  <a16:creationId xmlns:a16="http://schemas.microsoft.com/office/drawing/2014/main" id="{999117F5-F17C-4450-B216-308EF3F04DF9}"/>
                </a:ext>
              </a:extLst>
            </p:cNvPr>
            <p:cNvSpPr txBox="1">
              <a:spLocks noChangeArrowheads="1"/>
            </p:cNvSpPr>
            <p:nvPr/>
          </p:nvSpPr>
          <p:spPr bwMode="auto">
            <a:xfrm>
              <a:off x="6326592" y="4969982"/>
              <a:ext cx="518114" cy="348816"/>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Text</a:t>
              </a:r>
            </a:p>
          </p:txBody>
        </p:sp>
        <p:sp>
          <p:nvSpPr>
            <p:cNvPr id="9" name="Freeform 8">
              <a:extLst>
                <a:ext uri="{FF2B5EF4-FFF2-40B4-BE49-F238E27FC236}">
                  <a16:creationId xmlns:a16="http://schemas.microsoft.com/office/drawing/2014/main" id="{54CD5F8C-9086-4B42-A868-8A0818439CF0}"/>
                </a:ext>
                <a:ext uri="{C183D7F6-B498-43B3-948B-1728B52AA6E4}">
                  <adec:decorative xmlns:adec="http://schemas.microsoft.com/office/drawing/2017/decorative" val="1"/>
                </a:ext>
              </a:extLst>
            </p:cNvPr>
            <p:cNvSpPr>
              <a:spLocks/>
            </p:cNvSpPr>
            <p:nvPr/>
          </p:nvSpPr>
          <p:spPr bwMode="auto">
            <a:xfrm>
              <a:off x="4606214" y="3730711"/>
              <a:ext cx="1474325" cy="2049565"/>
            </a:xfrm>
            <a:custGeom>
              <a:avLst/>
              <a:gdLst/>
              <a:ahLst/>
              <a:cxnLst>
                <a:cxn ang="0">
                  <a:pos x="848" y="0"/>
                </a:cxn>
                <a:cxn ang="0">
                  <a:pos x="848" y="599"/>
                </a:cxn>
                <a:cxn ang="0">
                  <a:pos x="848" y="1199"/>
                </a:cxn>
                <a:cxn ang="0">
                  <a:pos x="819" y="1199"/>
                </a:cxn>
                <a:cxn ang="0">
                  <a:pos x="790" y="1198"/>
                </a:cxn>
                <a:cxn ang="0">
                  <a:pos x="760" y="1196"/>
                </a:cxn>
                <a:cxn ang="0">
                  <a:pos x="731" y="1193"/>
                </a:cxn>
                <a:cxn ang="0">
                  <a:pos x="702" y="1190"/>
                </a:cxn>
                <a:cxn ang="0">
                  <a:pos x="673" y="1186"/>
                </a:cxn>
                <a:cxn ang="0">
                  <a:pos x="644" y="1181"/>
                </a:cxn>
                <a:cxn ang="0">
                  <a:pos x="615" y="1176"/>
                </a:cxn>
                <a:cxn ang="0">
                  <a:pos x="586" y="1170"/>
                </a:cxn>
                <a:cxn ang="0">
                  <a:pos x="557" y="1163"/>
                </a:cxn>
                <a:cxn ang="0">
                  <a:pos x="529" y="1155"/>
                </a:cxn>
                <a:cxn ang="0">
                  <a:pos x="501" y="1147"/>
                </a:cxn>
                <a:cxn ang="0">
                  <a:pos x="487" y="1143"/>
                </a:cxn>
                <a:cxn ang="0">
                  <a:pos x="473" y="1138"/>
                </a:cxn>
                <a:cxn ang="0">
                  <a:pos x="445" y="1129"/>
                </a:cxn>
                <a:cxn ang="0">
                  <a:pos x="417" y="1119"/>
                </a:cxn>
                <a:cxn ang="0">
                  <a:pos x="390" y="1108"/>
                </a:cxn>
                <a:cxn ang="0">
                  <a:pos x="363" y="1096"/>
                </a:cxn>
                <a:cxn ang="0">
                  <a:pos x="336" y="1084"/>
                </a:cxn>
                <a:cxn ang="0">
                  <a:pos x="310" y="1071"/>
                </a:cxn>
                <a:cxn ang="0">
                  <a:pos x="284" y="1058"/>
                </a:cxn>
                <a:cxn ang="0">
                  <a:pos x="258" y="1044"/>
                </a:cxn>
                <a:cxn ang="0">
                  <a:pos x="231" y="1029"/>
                </a:cxn>
                <a:cxn ang="0">
                  <a:pos x="206" y="1013"/>
                </a:cxn>
                <a:cxn ang="0">
                  <a:pos x="182" y="997"/>
                </a:cxn>
                <a:cxn ang="0">
                  <a:pos x="157" y="981"/>
                </a:cxn>
                <a:cxn ang="0">
                  <a:pos x="145" y="972"/>
                </a:cxn>
                <a:cxn ang="0">
                  <a:pos x="133" y="964"/>
                </a:cxn>
                <a:cxn ang="0">
                  <a:pos x="110" y="946"/>
                </a:cxn>
                <a:cxn ang="0">
                  <a:pos x="87" y="927"/>
                </a:cxn>
                <a:cxn ang="0">
                  <a:pos x="65" y="908"/>
                </a:cxn>
                <a:cxn ang="0">
                  <a:pos x="43" y="889"/>
                </a:cxn>
                <a:cxn ang="0">
                  <a:pos x="32" y="879"/>
                </a:cxn>
                <a:cxn ang="0">
                  <a:pos x="21" y="869"/>
                </a:cxn>
                <a:cxn ang="0">
                  <a:pos x="0" y="848"/>
                </a:cxn>
                <a:cxn ang="0">
                  <a:pos x="424" y="423"/>
                </a:cxn>
                <a:cxn ang="0">
                  <a:pos x="848" y="0"/>
                </a:cxn>
              </a:cxnLst>
              <a:rect l="0" t="0" r="r" b="b"/>
              <a:pathLst>
                <a:path w="848" h="1199">
                  <a:moveTo>
                    <a:pt x="848" y="0"/>
                  </a:moveTo>
                  <a:lnTo>
                    <a:pt x="848" y="599"/>
                  </a:lnTo>
                  <a:lnTo>
                    <a:pt x="848" y="1199"/>
                  </a:lnTo>
                  <a:lnTo>
                    <a:pt x="819" y="1199"/>
                  </a:lnTo>
                  <a:lnTo>
                    <a:pt x="790" y="1198"/>
                  </a:lnTo>
                  <a:lnTo>
                    <a:pt x="760" y="1196"/>
                  </a:lnTo>
                  <a:lnTo>
                    <a:pt x="731" y="1193"/>
                  </a:lnTo>
                  <a:lnTo>
                    <a:pt x="702" y="1190"/>
                  </a:lnTo>
                  <a:lnTo>
                    <a:pt x="673" y="1186"/>
                  </a:lnTo>
                  <a:lnTo>
                    <a:pt x="644" y="1181"/>
                  </a:lnTo>
                  <a:lnTo>
                    <a:pt x="615" y="1176"/>
                  </a:lnTo>
                  <a:lnTo>
                    <a:pt x="586" y="1170"/>
                  </a:lnTo>
                  <a:lnTo>
                    <a:pt x="557" y="1163"/>
                  </a:lnTo>
                  <a:lnTo>
                    <a:pt x="529" y="1155"/>
                  </a:lnTo>
                  <a:lnTo>
                    <a:pt x="501" y="1147"/>
                  </a:lnTo>
                  <a:lnTo>
                    <a:pt x="487" y="1143"/>
                  </a:lnTo>
                  <a:lnTo>
                    <a:pt x="473" y="1138"/>
                  </a:lnTo>
                  <a:lnTo>
                    <a:pt x="445" y="1129"/>
                  </a:lnTo>
                  <a:lnTo>
                    <a:pt x="417" y="1119"/>
                  </a:lnTo>
                  <a:lnTo>
                    <a:pt x="390" y="1108"/>
                  </a:lnTo>
                  <a:lnTo>
                    <a:pt x="363" y="1096"/>
                  </a:lnTo>
                  <a:lnTo>
                    <a:pt x="336" y="1084"/>
                  </a:lnTo>
                  <a:lnTo>
                    <a:pt x="310" y="1071"/>
                  </a:lnTo>
                  <a:lnTo>
                    <a:pt x="284" y="1058"/>
                  </a:lnTo>
                  <a:lnTo>
                    <a:pt x="258" y="1044"/>
                  </a:lnTo>
                  <a:lnTo>
                    <a:pt x="231" y="1029"/>
                  </a:lnTo>
                  <a:lnTo>
                    <a:pt x="206" y="1013"/>
                  </a:lnTo>
                  <a:lnTo>
                    <a:pt x="182" y="997"/>
                  </a:lnTo>
                  <a:lnTo>
                    <a:pt x="157" y="981"/>
                  </a:lnTo>
                  <a:lnTo>
                    <a:pt x="145" y="972"/>
                  </a:lnTo>
                  <a:lnTo>
                    <a:pt x="133" y="964"/>
                  </a:lnTo>
                  <a:lnTo>
                    <a:pt x="110" y="946"/>
                  </a:lnTo>
                  <a:lnTo>
                    <a:pt x="87" y="927"/>
                  </a:lnTo>
                  <a:lnTo>
                    <a:pt x="65" y="908"/>
                  </a:lnTo>
                  <a:lnTo>
                    <a:pt x="43" y="889"/>
                  </a:lnTo>
                  <a:lnTo>
                    <a:pt x="32" y="879"/>
                  </a:lnTo>
                  <a:lnTo>
                    <a:pt x="21" y="869"/>
                  </a:lnTo>
                  <a:lnTo>
                    <a:pt x="0" y="848"/>
                  </a:lnTo>
                  <a:lnTo>
                    <a:pt x="424" y="423"/>
                  </a:lnTo>
                  <a:lnTo>
                    <a:pt x="848" y="0"/>
                  </a:lnTo>
                  <a:close/>
                </a:path>
              </a:pathLst>
            </a:custGeom>
            <a:solidFill>
              <a:schemeClr val="accent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 name="Text Box 19">
              <a:extLst>
                <a:ext uri="{FF2B5EF4-FFF2-40B4-BE49-F238E27FC236}">
                  <a16:creationId xmlns:a16="http://schemas.microsoft.com/office/drawing/2014/main" id="{3FAD454D-2DA7-46C7-9F0C-B98D93D7371D}"/>
                </a:ext>
              </a:extLst>
            </p:cNvPr>
            <p:cNvSpPr txBox="1">
              <a:spLocks noChangeArrowheads="1"/>
            </p:cNvSpPr>
            <p:nvPr/>
          </p:nvSpPr>
          <p:spPr bwMode="auto">
            <a:xfrm>
              <a:off x="5302366" y="4969982"/>
              <a:ext cx="518114" cy="348816"/>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Text</a:t>
              </a:r>
            </a:p>
          </p:txBody>
        </p:sp>
        <p:sp>
          <p:nvSpPr>
            <p:cNvPr id="10" name="Freeform 9">
              <a:extLst>
                <a:ext uri="{FF2B5EF4-FFF2-40B4-BE49-F238E27FC236}">
                  <a16:creationId xmlns:a16="http://schemas.microsoft.com/office/drawing/2014/main" id="{70E33D1B-3F17-4FDE-AA47-B50E7B15ED11}"/>
                </a:ext>
                <a:ext uri="{C183D7F6-B498-43B3-948B-1728B52AA6E4}">
                  <adec:decorative xmlns:adec="http://schemas.microsoft.com/office/drawing/2017/decorative" val="1"/>
                </a:ext>
              </a:extLst>
            </p:cNvPr>
            <p:cNvSpPr>
              <a:spLocks/>
            </p:cNvSpPr>
            <p:nvPr/>
          </p:nvSpPr>
          <p:spPr bwMode="auto">
            <a:xfrm>
              <a:off x="3996078" y="3730710"/>
              <a:ext cx="2084460" cy="1449428"/>
            </a:xfrm>
            <a:custGeom>
              <a:avLst/>
              <a:gdLst/>
              <a:ahLst/>
              <a:cxnLst>
                <a:cxn ang="0">
                  <a:pos x="1199" y="0"/>
                </a:cxn>
                <a:cxn ang="0">
                  <a:pos x="775" y="423"/>
                </a:cxn>
                <a:cxn ang="0">
                  <a:pos x="351" y="848"/>
                </a:cxn>
                <a:cxn ang="0">
                  <a:pos x="331" y="827"/>
                </a:cxn>
                <a:cxn ang="0">
                  <a:pos x="311" y="806"/>
                </a:cxn>
                <a:cxn ang="0">
                  <a:pos x="291" y="783"/>
                </a:cxn>
                <a:cxn ang="0">
                  <a:pos x="272" y="761"/>
                </a:cxn>
                <a:cxn ang="0">
                  <a:pos x="254" y="738"/>
                </a:cxn>
                <a:cxn ang="0">
                  <a:pos x="236" y="715"/>
                </a:cxn>
                <a:cxn ang="0">
                  <a:pos x="219" y="691"/>
                </a:cxn>
                <a:cxn ang="0">
                  <a:pos x="210" y="679"/>
                </a:cxn>
                <a:cxn ang="0">
                  <a:pos x="202" y="667"/>
                </a:cxn>
                <a:cxn ang="0">
                  <a:pos x="186" y="642"/>
                </a:cxn>
                <a:cxn ang="0">
                  <a:pos x="171" y="617"/>
                </a:cxn>
                <a:cxn ang="0">
                  <a:pos x="156" y="590"/>
                </a:cxn>
                <a:cxn ang="0">
                  <a:pos x="142" y="565"/>
                </a:cxn>
                <a:cxn ang="0">
                  <a:pos x="128" y="539"/>
                </a:cxn>
                <a:cxn ang="0">
                  <a:pos x="115" y="512"/>
                </a:cxn>
                <a:cxn ang="0">
                  <a:pos x="103" y="485"/>
                </a:cxn>
                <a:cxn ang="0">
                  <a:pos x="91" y="458"/>
                </a:cxn>
                <a:cxn ang="0">
                  <a:pos x="81" y="431"/>
                </a:cxn>
                <a:cxn ang="0">
                  <a:pos x="70" y="404"/>
                </a:cxn>
                <a:cxn ang="0">
                  <a:pos x="61" y="376"/>
                </a:cxn>
                <a:cxn ang="0">
                  <a:pos x="52" y="348"/>
                </a:cxn>
                <a:cxn ang="0">
                  <a:pos x="43" y="320"/>
                </a:cxn>
                <a:cxn ang="0">
                  <a:pos x="36" y="291"/>
                </a:cxn>
                <a:cxn ang="0">
                  <a:pos x="29" y="263"/>
                </a:cxn>
                <a:cxn ang="0">
                  <a:pos x="23" y="234"/>
                </a:cxn>
                <a:cxn ang="0">
                  <a:pos x="17" y="205"/>
                </a:cxn>
                <a:cxn ang="0">
                  <a:pos x="13" y="176"/>
                </a:cxn>
                <a:cxn ang="0">
                  <a:pos x="9" y="147"/>
                </a:cxn>
                <a:cxn ang="0">
                  <a:pos x="6" y="118"/>
                </a:cxn>
                <a:cxn ang="0">
                  <a:pos x="3" y="88"/>
                </a:cxn>
                <a:cxn ang="0">
                  <a:pos x="1" y="59"/>
                </a:cxn>
                <a:cxn ang="0">
                  <a:pos x="0" y="29"/>
                </a:cxn>
                <a:cxn ang="0">
                  <a:pos x="0" y="0"/>
                </a:cxn>
                <a:cxn ang="0">
                  <a:pos x="600" y="0"/>
                </a:cxn>
                <a:cxn ang="0">
                  <a:pos x="1199" y="0"/>
                </a:cxn>
              </a:cxnLst>
              <a:rect l="0" t="0" r="r" b="b"/>
              <a:pathLst>
                <a:path w="1199" h="848">
                  <a:moveTo>
                    <a:pt x="1199" y="0"/>
                  </a:moveTo>
                  <a:lnTo>
                    <a:pt x="775" y="423"/>
                  </a:lnTo>
                  <a:lnTo>
                    <a:pt x="351" y="848"/>
                  </a:lnTo>
                  <a:lnTo>
                    <a:pt x="331" y="827"/>
                  </a:lnTo>
                  <a:lnTo>
                    <a:pt x="311" y="806"/>
                  </a:lnTo>
                  <a:lnTo>
                    <a:pt x="291" y="783"/>
                  </a:lnTo>
                  <a:lnTo>
                    <a:pt x="272" y="761"/>
                  </a:lnTo>
                  <a:lnTo>
                    <a:pt x="254" y="738"/>
                  </a:lnTo>
                  <a:lnTo>
                    <a:pt x="236" y="715"/>
                  </a:lnTo>
                  <a:lnTo>
                    <a:pt x="219" y="691"/>
                  </a:lnTo>
                  <a:lnTo>
                    <a:pt x="210" y="679"/>
                  </a:lnTo>
                  <a:lnTo>
                    <a:pt x="202" y="667"/>
                  </a:lnTo>
                  <a:lnTo>
                    <a:pt x="186" y="642"/>
                  </a:lnTo>
                  <a:lnTo>
                    <a:pt x="171" y="617"/>
                  </a:lnTo>
                  <a:lnTo>
                    <a:pt x="156" y="590"/>
                  </a:lnTo>
                  <a:lnTo>
                    <a:pt x="142" y="565"/>
                  </a:lnTo>
                  <a:lnTo>
                    <a:pt x="128" y="539"/>
                  </a:lnTo>
                  <a:lnTo>
                    <a:pt x="115" y="512"/>
                  </a:lnTo>
                  <a:lnTo>
                    <a:pt x="103" y="485"/>
                  </a:lnTo>
                  <a:lnTo>
                    <a:pt x="91" y="458"/>
                  </a:lnTo>
                  <a:lnTo>
                    <a:pt x="81" y="431"/>
                  </a:lnTo>
                  <a:lnTo>
                    <a:pt x="70" y="404"/>
                  </a:lnTo>
                  <a:lnTo>
                    <a:pt x="61" y="376"/>
                  </a:lnTo>
                  <a:lnTo>
                    <a:pt x="52" y="348"/>
                  </a:lnTo>
                  <a:lnTo>
                    <a:pt x="43" y="320"/>
                  </a:lnTo>
                  <a:lnTo>
                    <a:pt x="36" y="291"/>
                  </a:lnTo>
                  <a:lnTo>
                    <a:pt x="29" y="263"/>
                  </a:lnTo>
                  <a:lnTo>
                    <a:pt x="23" y="234"/>
                  </a:lnTo>
                  <a:lnTo>
                    <a:pt x="17" y="205"/>
                  </a:lnTo>
                  <a:lnTo>
                    <a:pt x="13" y="176"/>
                  </a:lnTo>
                  <a:lnTo>
                    <a:pt x="9" y="147"/>
                  </a:lnTo>
                  <a:lnTo>
                    <a:pt x="6" y="118"/>
                  </a:lnTo>
                  <a:lnTo>
                    <a:pt x="3" y="88"/>
                  </a:lnTo>
                  <a:lnTo>
                    <a:pt x="1" y="59"/>
                  </a:lnTo>
                  <a:lnTo>
                    <a:pt x="0" y="29"/>
                  </a:lnTo>
                  <a:lnTo>
                    <a:pt x="0" y="0"/>
                  </a:lnTo>
                  <a:lnTo>
                    <a:pt x="600" y="0"/>
                  </a:lnTo>
                  <a:lnTo>
                    <a:pt x="1199" y="0"/>
                  </a:lnTo>
                  <a:close/>
                </a:path>
              </a:pathLst>
            </a:custGeom>
            <a:solidFill>
              <a:schemeClr val="accent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 name="Text Box 23">
              <a:extLst>
                <a:ext uri="{FF2B5EF4-FFF2-40B4-BE49-F238E27FC236}">
                  <a16:creationId xmlns:a16="http://schemas.microsoft.com/office/drawing/2014/main" id="{177325A8-93FF-4762-88A3-BFC48551B230}"/>
                </a:ext>
              </a:extLst>
            </p:cNvPr>
            <p:cNvSpPr txBox="1">
              <a:spLocks noChangeArrowheads="1"/>
            </p:cNvSpPr>
            <p:nvPr/>
          </p:nvSpPr>
          <p:spPr bwMode="auto">
            <a:xfrm>
              <a:off x="4364159" y="4079526"/>
              <a:ext cx="518114" cy="348816"/>
            </a:xfrm>
            <a:prstGeom prst="rect">
              <a:avLst/>
            </a:prstGeom>
            <a:solidFill>
              <a:schemeClr val="accent1"/>
            </a:solid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Text</a:t>
              </a:r>
            </a:p>
          </p:txBody>
        </p:sp>
        <p:sp>
          <p:nvSpPr>
            <p:cNvPr id="11" name="Freeform 10">
              <a:extLst>
                <a:ext uri="{FF2B5EF4-FFF2-40B4-BE49-F238E27FC236}">
                  <a16:creationId xmlns:a16="http://schemas.microsoft.com/office/drawing/2014/main" id="{2322ADB8-5838-4783-A0C4-D9CD39794D80}"/>
                </a:ext>
                <a:ext uri="{C183D7F6-B498-43B3-948B-1728B52AA6E4}">
                  <adec:decorative xmlns:adec="http://schemas.microsoft.com/office/drawing/2017/decorative" val="1"/>
                </a:ext>
              </a:extLst>
            </p:cNvPr>
            <p:cNvSpPr>
              <a:spLocks/>
            </p:cNvSpPr>
            <p:nvPr/>
          </p:nvSpPr>
          <p:spPr bwMode="auto">
            <a:xfrm>
              <a:off x="3996078" y="2281282"/>
              <a:ext cx="2084460" cy="1449428"/>
            </a:xfrm>
            <a:custGeom>
              <a:avLst/>
              <a:gdLst/>
              <a:ahLst/>
              <a:cxnLst>
                <a:cxn ang="0">
                  <a:pos x="1199" y="848"/>
                </a:cxn>
                <a:cxn ang="0">
                  <a:pos x="600" y="848"/>
                </a:cxn>
                <a:cxn ang="0">
                  <a:pos x="0" y="848"/>
                </a:cxn>
                <a:cxn ang="0">
                  <a:pos x="1" y="819"/>
                </a:cxn>
                <a:cxn ang="0">
                  <a:pos x="2" y="789"/>
                </a:cxn>
                <a:cxn ang="0">
                  <a:pos x="3" y="760"/>
                </a:cxn>
                <a:cxn ang="0">
                  <a:pos x="6" y="730"/>
                </a:cxn>
                <a:cxn ang="0">
                  <a:pos x="9" y="701"/>
                </a:cxn>
                <a:cxn ang="0">
                  <a:pos x="13" y="672"/>
                </a:cxn>
                <a:cxn ang="0">
                  <a:pos x="18" y="643"/>
                </a:cxn>
                <a:cxn ang="0">
                  <a:pos x="23" y="614"/>
                </a:cxn>
                <a:cxn ang="0">
                  <a:pos x="29" y="585"/>
                </a:cxn>
                <a:cxn ang="0">
                  <a:pos x="36" y="557"/>
                </a:cxn>
                <a:cxn ang="0">
                  <a:pos x="44" y="528"/>
                </a:cxn>
                <a:cxn ang="0">
                  <a:pos x="52" y="500"/>
                </a:cxn>
                <a:cxn ang="0">
                  <a:pos x="56" y="486"/>
                </a:cxn>
                <a:cxn ang="0">
                  <a:pos x="61" y="472"/>
                </a:cxn>
                <a:cxn ang="0">
                  <a:pos x="70" y="444"/>
                </a:cxn>
                <a:cxn ang="0">
                  <a:pos x="81" y="417"/>
                </a:cxn>
                <a:cxn ang="0">
                  <a:pos x="91" y="389"/>
                </a:cxn>
                <a:cxn ang="0">
                  <a:pos x="103" y="362"/>
                </a:cxn>
                <a:cxn ang="0">
                  <a:pos x="115" y="336"/>
                </a:cxn>
                <a:cxn ang="0">
                  <a:pos x="128" y="309"/>
                </a:cxn>
                <a:cxn ang="0">
                  <a:pos x="142" y="283"/>
                </a:cxn>
                <a:cxn ang="0">
                  <a:pos x="156" y="257"/>
                </a:cxn>
                <a:cxn ang="0">
                  <a:pos x="170" y="231"/>
                </a:cxn>
                <a:cxn ang="0">
                  <a:pos x="186" y="206"/>
                </a:cxn>
                <a:cxn ang="0">
                  <a:pos x="202" y="181"/>
                </a:cxn>
                <a:cxn ang="0">
                  <a:pos x="218" y="157"/>
                </a:cxn>
                <a:cxn ang="0">
                  <a:pos x="227" y="145"/>
                </a:cxn>
                <a:cxn ang="0">
                  <a:pos x="236" y="133"/>
                </a:cxn>
                <a:cxn ang="0">
                  <a:pos x="253" y="110"/>
                </a:cxn>
                <a:cxn ang="0">
                  <a:pos x="272" y="87"/>
                </a:cxn>
                <a:cxn ang="0">
                  <a:pos x="291" y="64"/>
                </a:cxn>
                <a:cxn ang="0">
                  <a:pos x="310" y="42"/>
                </a:cxn>
                <a:cxn ang="0">
                  <a:pos x="320" y="31"/>
                </a:cxn>
                <a:cxn ang="0">
                  <a:pos x="330" y="21"/>
                </a:cxn>
                <a:cxn ang="0">
                  <a:pos x="351" y="0"/>
                </a:cxn>
                <a:cxn ang="0">
                  <a:pos x="775" y="424"/>
                </a:cxn>
                <a:cxn ang="0">
                  <a:pos x="1199" y="848"/>
                </a:cxn>
              </a:cxnLst>
              <a:rect l="0" t="0" r="r" b="b"/>
              <a:pathLst>
                <a:path w="1199" h="848">
                  <a:moveTo>
                    <a:pt x="1199" y="848"/>
                  </a:moveTo>
                  <a:lnTo>
                    <a:pt x="600" y="848"/>
                  </a:lnTo>
                  <a:lnTo>
                    <a:pt x="0" y="848"/>
                  </a:lnTo>
                  <a:lnTo>
                    <a:pt x="1" y="819"/>
                  </a:lnTo>
                  <a:lnTo>
                    <a:pt x="2" y="789"/>
                  </a:lnTo>
                  <a:lnTo>
                    <a:pt x="3" y="760"/>
                  </a:lnTo>
                  <a:lnTo>
                    <a:pt x="6" y="730"/>
                  </a:lnTo>
                  <a:lnTo>
                    <a:pt x="9" y="701"/>
                  </a:lnTo>
                  <a:lnTo>
                    <a:pt x="13" y="672"/>
                  </a:lnTo>
                  <a:lnTo>
                    <a:pt x="18" y="643"/>
                  </a:lnTo>
                  <a:lnTo>
                    <a:pt x="23" y="614"/>
                  </a:lnTo>
                  <a:lnTo>
                    <a:pt x="29" y="585"/>
                  </a:lnTo>
                  <a:lnTo>
                    <a:pt x="36" y="557"/>
                  </a:lnTo>
                  <a:lnTo>
                    <a:pt x="44" y="528"/>
                  </a:lnTo>
                  <a:lnTo>
                    <a:pt x="52" y="500"/>
                  </a:lnTo>
                  <a:lnTo>
                    <a:pt x="56" y="486"/>
                  </a:lnTo>
                  <a:lnTo>
                    <a:pt x="61" y="472"/>
                  </a:lnTo>
                  <a:lnTo>
                    <a:pt x="70" y="444"/>
                  </a:lnTo>
                  <a:lnTo>
                    <a:pt x="81" y="417"/>
                  </a:lnTo>
                  <a:lnTo>
                    <a:pt x="91" y="389"/>
                  </a:lnTo>
                  <a:lnTo>
                    <a:pt x="103" y="362"/>
                  </a:lnTo>
                  <a:lnTo>
                    <a:pt x="115" y="336"/>
                  </a:lnTo>
                  <a:lnTo>
                    <a:pt x="128" y="309"/>
                  </a:lnTo>
                  <a:lnTo>
                    <a:pt x="142" y="283"/>
                  </a:lnTo>
                  <a:lnTo>
                    <a:pt x="156" y="257"/>
                  </a:lnTo>
                  <a:lnTo>
                    <a:pt x="170" y="231"/>
                  </a:lnTo>
                  <a:lnTo>
                    <a:pt x="186" y="206"/>
                  </a:lnTo>
                  <a:lnTo>
                    <a:pt x="202" y="181"/>
                  </a:lnTo>
                  <a:lnTo>
                    <a:pt x="218" y="157"/>
                  </a:lnTo>
                  <a:lnTo>
                    <a:pt x="227" y="145"/>
                  </a:lnTo>
                  <a:lnTo>
                    <a:pt x="236" y="133"/>
                  </a:lnTo>
                  <a:lnTo>
                    <a:pt x="253" y="110"/>
                  </a:lnTo>
                  <a:lnTo>
                    <a:pt x="272" y="87"/>
                  </a:lnTo>
                  <a:lnTo>
                    <a:pt x="291" y="64"/>
                  </a:lnTo>
                  <a:lnTo>
                    <a:pt x="310" y="42"/>
                  </a:lnTo>
                  <a:lnTo>
                    <a:pt x="320" y="31"/>
                  </a:lnTo>
                  <a:lnTo>
                    <a:pt x="330" y="21"/>
                  </a:lnTo>
                  <a:lnTo>
                    <a:pt x="351" y="0"/>
                  </a:lnTo>
                  <a:lnTo>
                    <a:pt x="775" y="424"/>
                  </a:lnTo>
                  <a:lnTo>
                    <a:pt x="1199" y="848"/>
                  </a:lnTo>
                  <a:close/>
                </a:path>
              </a:pathLst>
            </a:custGeom>
            <a:solidFill>
              <a:schemeClr val="accent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 name="Text Box 20">
              <a:extLst>
                <a:ext uri="{FF2B5EF4-FFF2-40B4-BE49-F238E27FC236}">
                  <a16:creationId xmlns:a16="http://schemas.microsoft.com/office/drawing/2014/main" id="{D3B0A7D5-FFA5-4892-820C-FA3DB578E3CB}"/>
                </a:ext>
              </a:extLst>
            </p:cNvPr>
            <p:cNvSpPr txBox="1">
              <a:spLocks noChangeArrowheads="1"/>
            </p:cNvSpPr>
            <p:nvPr/>
          </p:nvSpPr>
          <p:spPr bwMode="auto">
            <a:xfrm>
              <a:off x="4364159" y="3033078"/>
              <a:ext cx="518114" cy="348816"/>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rPr>
                <a:t>Text</a:t>
              </a:r>
            </a:p>
          </p:txBody>
        </p:sp>
        <p:sp>
          <p:nvSpPr>
            <p:cNvPr id="12" name="Freeform 11">
              <a:extLst>
                <a:ext uri="{FF2B5EF4-FFF2-40B4-BE49-F238E27FC236}">
                  <a16:creationId xmlns:a16="http://schemas.microsoft.com/office/drawing/2014/main" id="{78B7C901-6E3D-4106-9B35-09D203DE69F0}"/>
                </a:ext>
                <a:ext uri="{C183D7F6-B498-43B3-948B-1728B52AA6E4}">
                  <adec:decorative xmlns:adec="http://schemas.microsoft.com/office/drawing/2017/decorative" val="1"/>
                </a:ext>
              </a:extLst>
            </p:cNvPr>
            <p:cNvSpPr>
              <a:spLocks/>
            </p:cNvSpPr>
            <p:nvPr/>
          </p:nvSpPr>
          <p:spPr bwMode="auto">
            <a:xfrm>
              <a:off x="4606214" y="1681146"/>
              <a:ext cx="1474325" cy="2049565"/>
            </a:xfrm>
            <a:custGeom>
              <a:avLst/>
              <a:gdLst/>
              <a:ahLst/>
              <a:cxnLst>
                <a:cxn ang="0">
                  <a:pos x="848" y="1199"/>
                </a:cxn>
                <a:cxn ang="0">
                  <a:pos x="424" y="775"/>
                </a:cxn>
                <a:cxn ang="0">
                  <a:pos x="0" y="351"/>
                </a:cxn>
                <a:cxn ang="0">
                  <a:pos x="21" y="330"/>
                </a:cxn>
                <a:cxn ang="0">
                  <a:pos x="43" y="310"/>
                </a:cxn>
                <a:cxn ang="0">
                  <a:pos x="65" y="291"/>
                </a:cxn>
                <a:cxn ang="0">
                  <a:pos x="87" y="272"/>
                </a:cxn>
                <a:cxn ang="0">
                  <a:pos x="110" y="253"/>
                </a:cxn>
                <a:cxn ang="0">
                  <a:pos x="134" y="236"/>
                </a:cxn>
                <a:cxn ang="0">
                  <a:pos x="157" y="218"/>
                </a:cxn>
                <a:cxn ang="0">
                  <a:pos x="170" y="210"/>
                </a:cxn>
                <a:cxn ang="0">
                  <a:pos x="182" y="202"/>
                </a:cxn>
                <a:cxn ang="0">
                  <a:pos x="206" y="186"/>
                </a:cxn>
                <a:cxn ang="0">
                  <a:pos x="231" y="170"/>
                </a:cxn>
                <a:cxn ang="0">
                  <a:pos x="258" y="156"/>
                </a:cxn>
                <a:cxn ang="0">
                  <a:pos x="284" y="141"/>
                </a:cxn>
                <a:cxn ang="0">
                  <a:pos x="310" y="128"/>
                </a:cxn>
                <a:cxn ang="0">
                  <a:pos x="336" y="115"/>
                </a:cxn>
                <a:cxn ang="0">
                  <a:pos x="363" y="103"/>
                </a:cxn>
                <a:cxn ang="0">
                  <a:pos x="390" y="91"/>
                </a:cxn>
                <a:cxn ang="0">
                  <a:pos x="417" y="80"/>
                </a:cxn>
                <a:cxn ang="0">
                  <a:pos x="445" y="70"/>
                </a:cxn>
                <a:cxn ang="0">
                  <a:pos x="472" y="60"/>
                </a:cxn>
                <a:cxn ang="0">
                  <a:pos x="500" y="51"/>
                </a:cxn>
                <a:cxn ang="0">
                  <a:pos x="529" y="43"/>
                </a:cxn>
                <a:cxn ang="0">
                  <a:pos x="557" y="35"/>
                </a:cxn>
                <a:cxn ang="0">
                  <a:pos x="586" y="29"/>
                </a:cxn>
                <a:cxn ang="0">
                  <a:pos x="614" y="23"/>
                </a:cxn>
                <a:cxn ang="0">
                  <a:pos x="643" y="17"/>
                </a:cxn>
                <a:cxn ang="0">
                  <a:pos x="672" y="12"/>
                </a:cxn>
                <a:cxn ang="0">
                  <a:pos x="701" y="8"/>
                </a:cxn>
                <a:cxn ang="0">
                  <a:pos x="731" y="5"/>
                </a:cxn>
                <a:cxn ang="0">
                  <a:pos x="760" y="3"/>
                </a:cxn>
                <a:cxn ang="0">
                  <a:pos x="789" y="1"/>
                </a:cxn>
                <a:cxn ang="0">
                  <a:pos x="819" y="0"/>
                </a:cxn>
                <a:cxn ang="0">
                  <a:pos x="848" y="0"/>
                </a:cxn>
                <a:cxn ang="0">
                  <a:pos x="848" y="600"/>
                </a:cxn>
                <a:cxn ang="0">
                  <a:pos x="848" y="1199"/>
                </a:cxn>
              </a:cxnLst>
              <a:rect l="0" t="0" r="r" b="b"/>
              <a:pathLst>
                <a:path w="848" h="1199">
                  <a:moveTo>
                    <a:pt x="848" y="1199"/>
                  </a:moveTo>
                  <a:lnTo>
                    <a:pt x="424" y="775"/>
                  </a:lnTo>
                  <a:lnTo>
                    <a:pt x="0" y="351"/>
                  </a:lnTo>
                  <a:lnTo>
                    <a:pt x="21" y="330"/>
                  </a:lnTo>
                  <a:lnTo>
                    <a:pt x="43" y="310"/>
                  </a:lnTo>
                  <a:lnTo>
                    <a:pt x="65" y="291"/>
                  </a:lnTo>
                  <a:lnTo>
                    <a:pt x="87" y="272"/>
                  </a:lnTo>
                  <a:lnTo>
                    <a:pt x="110" y="253"/>
                  </a:lnTo>
                  <a:lnTo>
                    <a:pt x="134" y="236"/>
                  </a:lnTo>
                  <a:lnTo>
                    <a:pt x="157" y="218"/>
                  </a:lnTo>
                  <a:lnTo>
                    <a:pt x="170" y="210"/>
                  </a:lnTo>
                  <a:lnTo>
                    <a:pt x="182" y="202"/>
                  </a:lnTo>
                  <a:lnTo>
                    <a:pt x="206" y="186"/>
                  </a:lnTo>
                  <a:lnTo>
                    <a:pt x="231" y="170"/>
                  </a:lnTo>
                  <a:lnTo>
                    <a:pt x="258" y="156"/>
                  </a:lnTo>
                  <a:lnTo>
                    <a:pt x="284" y="141"/>
                  </a:lnTo>
                  <a:lnTo>
                    <a:pt x="310" y="128"/>
                  </a:lnTo>
                  <a:lnTo>
                    <a:pt x="336" y="115"/>
                  </a:lnTo>
                  <a:lnTo>
                    <a:pt x="363" y="103"/>
                  </a:lnTo>
                  <a:lnTo>
                    <a:pt x="390" y="91"/>
                  </a:lnTo>
                  <a:lnTo>
                    <a:pt x="417" y="80"/>
                  </a:lnTo>
                  <a:lnTo>
                    <a:pt x="445" y="70"/>
                  </a:lnTo>
                  <a:lnTo>
                    <a:pt x="472" y="60"/>
                  </a:lnTo>
                  <a:lnTo>
                    <a:pt x="500" y="51"/>
                  </a:lnTo>
                  <a:lnTo>
                    <a:pt x="529" y="43"/>
                  </a:lnTo>
                  <a:lnTo>
                    <a:pt x="557" y="35"/>
                  </a:lnTo>
                  <a:lnTo>
                    <a:pt x="586" y="29"/>
                  </a:lnTo>
                  <a:lnTo>
                    <a:pt x="614" y="23"/>
                  </a:lnTo>
                  <a:lnTo>
                    <a:pt x="643" y="17"/>
                  </a:lnTo>
                  <a:lnTo>
                    <a:pt x="672" y="12"/>
                  </a:lnTo>
                  <a:lnTo>
                    <a:pt x="701" y="8"/>
                  </a:lnTo>
                  <a:lnTo>
                    <a:pt x="731" y="5"/>
                  </a:lnTo>
                  <a:lnTo>
                    <a:pt x="760" y="3"/>
                  </a:lnTo>
                  <a:lnTo>
                    <a:pt x="789" y="1"/>
                  </a:lnTo>
                  <a:lnTo>
                    <a:pt x="819" y="0"/>
                  </a:lnTo>
                  <a:lnTo>
                    <a:pt x="848" y="0"/>
                  </a:lnTo>
                  <a:lnTo>
                    <a:pt x="848" y="600"/>
                  </a:lnTo>
                  <a:lnTo>
                    <a:pt x="848" y="1199"/>
                  </a:lnTo>
                  <a:close/>
                </a:path>
              </a:pathLst>
            </a:custGeom>
            <a:solidFill>
              <a:schemeClr val="accent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 name="Text Box 21">
              <a:extLst>
                <a:ext uri="{FF2B5EF4-FFF2-40B4-BE49-F238E27FC236}">
                  <a16:creationId xmlns:a16="http://schemas.microsoft.com/office/drawing/2014/main" id="{ED7880CE-69DA-468F-8813-75EF1B194E48}"/>
                </a:ext>
              </a:extLst>
            </p:cNvPr>
            <p:cNvSpPr txBox="1">
              <a:spLocks noChangeArrowheads="1"/>
            </p:cNvSpPr>
            <p:nvPr/>
          </p:nvSpPr>
          <p:spPr bwMode="auto">
            <a:xfrm>
              <a:off x="5302366" y="2086291"/>
              <a:ext cx="518114" cy="348816"/>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Text</a:t>
              </a:r>
            </a:p>
          </p:txBody>
        </p:sp>
        <p:sp>
          <p:nvSpPr>
            <p:cNvPr id="13" name="Arc 12">
              <a:extLst>
                <a:ext uri="{FF2B5EF4-FFF2-40B4-BE49-F238E27FC236}">
                  <a16:creationId xmlns:a16="http://schemas.microsoft.com/office/drawing/2014/main" id="{6CE2FDFF-B5E5-4417-9CF5-4A19CDF54839}"/>
                </a:ext>
                <a:ext uri="{C183D7F6-B498-43B3-948B-1728B52AA6E4}">
                  <adec:decorative xmlns:adec="http://schemas.microsoft.com/office/drawing/2017/decorative" val="1"/>
                </a:ext>
              </a:extLst>
            </p:cNvPr>
            <p:cNvSpPr>
              <a:spLocks/>
            </p:cNvSpPr>
            <p:nvPr/>
          </p:nvSpPr>
          <p:spPr bwMode="auto">
            <a:xfrm>
              <a:off x="6152554" y="1460157"/>
              <a:ext cx="2248496" cy="2212057"/>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6350" cap="rnd">
              <a:solidFill>
                <a:srgbClr val="BE82FF"/>
              </a:solidFill>
              <a:prstDash val="dash"/>
              <a:round/>
              <a:headEnd type="none" w="sm" len="sm"/>
              <a:tailEnd type="triangle" w="lg" len="me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 name="Arc 13">
              <a:extLst>
                <a:ext uri="{FF2B5EF4-FFF2-40B4-BE49-F238E27FC236}">
                  <a16:creationId xmlns:a16="http://schemas.microsoft.com/office/drawing/2014/main" id="{0BD1EA60-65A3-4F7B-B2B0-3EDE4E7AC994}"/>
                </a:ext>
                <a:ext uri="{C183D7F6-B498-43B3-948B-1728B52AA6E4}">
                  <adec:decorative xmlns:adec="http://schemas.microsoft.com/office/drawing/2017/decorative" val="1"/>
                </a:ext>
              </a:extLst>
            </p:cNvPr>
            <p:cNvSpPr>
              <a:spLocks/>
            </p:cNvSpPr>
            <p:nvPr/>
          </p:nvSpPr>
          <p:spPr bwMode="auto">
            <a:xfrm>
              <a:off x="6148553" y="3735043"/>
              <a:ext cx="2248496" cy="2259722"/>
            </a:xfrm>
            <a:custGeom>
              <a:avLst/>
              <a:gdLst>
                <a:gd name="G0" fmla="+- 0 0 0"/>
                <a:gd name="G1" fmla="+- 19 0 0"/>
                <a:gd name="G2" fmla="+- 21600 0 0"/>
                <a:gd name="T0" fmla="*/ 21600 w 21600"/>
                <a:gd name="T1" fmla="*/ 0 h 21619"/>
                <a:gd name="T2" fmla="*/ 0 w 21600"/>
                <a:gd name="T3" fmla="*/ 21619 h 21619"/>
                <a:gd name="T4" fmla="*/ 0 w 21600"/>
                <a:gd name="T5" fmla="*/ 19 h 21619"/>
              </a:gdLst>
              <a:ahLst/>
              <a:cxnLst>
                <a:cxn ang="0">
                  <a:pos x="T0" y="T1"/>
                </a:cxn>
                <a:cxn ang="0">
                  <a:pos x="T2" y="T3"/>
                </a:cxn>
                <a:cxn ang="0">
                  <a:pos x="T4" y="T5"/>
                </a:cxn>
              </a:cxnLst>
              <a:rect l="0" t="0" r="r" b="b"/>
              <a:pathLst>
                <a:path w="21600" h="21619" fill="none" extrusionOk="0">
                  <a:moveTo>
                    <a:pt x="21599" y="0"/>
                  </a:moveTo>
                  <a:cubicBezTo>
                    <a:pt x="21599" y="6"/>
                    <a:pt x="21600" y="12"/>
                    <a:pt x="21600" y="19"/>
                  </a:cubicBezTo>
                  <a:cubicBezTo>
                    <a:pt x="21600" y="11948"/>
                    <a:pt x="11929" y="21618"/>
                    <a:pt x="0" y="21619"/>
                  </a:cubicBezTo>
                </a:path>
                <a:path w="21600" h="21619" stroke="0" extrusionOk="0">
                  <a:moveTo>
                    <a:pt x="21599" y="0"/>
                  </a:moveTo>
                  <a:cubicBezTo>
                    <a:pt x="21599" y="6"/>
                    <a:pt x="21600" y="12"/>
                    <a:pt x="21600" y="19"/>
                  </a:cubicBezTo>
                  <a:cubicBezTo>
                    <a:pt x="21600" y="11948"/>
                    <a:pt x="11929" y="21618"/>
                    <a:pt x="0" y="21619"/>
                  </a:cubicBezTo>
                  <a:lnTo>
                    <a:pt x="0" y="19"/>
                  </a:lnTo>
                  <a:close/>
                </a:path>
              </a:pathLst>
            </a:custGeom>
            <a:noFill/>
            <a:ln w="6350" cap="rnd">
              <a:solidFill>
                <a:srgbClr val="BE82FF"/>
              </a:solidFill>
              <a:prstDash val="dash"/>
              <a:round/>
              <a:headEnd type="none" w="sm" len="sm"/>
              <a:tailEnd type="triangle" w="lg" len="me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 name="Arc 14">
              <a:extLst>
                <a:ext uri="{FF2B5EF4-FFF2-40B4-BE49-F238E27FC236}">
                  <a16:creationId xmlns:a16="http://schemas.microsoft.com/office/drawing/2014/main" id="{4B188FA2-397B-4FA1-BDF2-B67421FF7D01}"/>
                </a:ext>
                <a:ext uri="{C183D7F6-B498-43B3-948B-1728B52AA6E4}">
                  <adec:decorative xmlns:adec="http://schemas.microsoft.com/office/drawing/2017/decorative" val="1"/>
                </a:ext>
              </a:extLst>
            </p:cNvPr>
            <p:cNvSpPr>
              <a:spLocks/>
            </p:cNvSpPr>
            <p:nvPr/>
          </p:nvSpPr>
          <p:spPr bwMode="auto">
            <a:xfrm>
              <a:off x="3756025" y="3691712"/>
              <a:ext cx="2248496" cy="2316052"/>
            </a:xfrm>
            <a:custGeom>
              <a:avLst/>
              <a:gdLst>
                <a:gd name="G0" fmla="+- 21600 0 0"/>
                <a:gd name="G1" fmla="+- 0 0 0"/>
                <a:gd name="G2" fmla="+- 21600 0 0"/>
                <a:gd name="T0" fmla="*/ 21600 w 21600"/>
                <a:gd name="T1" fmla="*/ 21600 h 21600"/>
                <a:gd name="T2" fmla="*/ 0 w 21600"/>
                <a:gd name="T3" fmla="*/ 0 h 21600"/>
                <a:gd name="T4" fmla="*/ 21600 w 21600"/>
                <a:gd name="T5" fmla="*/ 0 h 21600"/>
              </a:gdLst>
              <a:ahLst/>
              <a:cxnLst>
                <a:cxn ang="0">
                  <a:pos x="T0" y="T1"/>
                </a:cxn>
                <a:cxn ang="0">
                  <a:pos x="T2" y="T3"/>
                </a:cxn>
                <a:cxn ang="0">
                  <a:pos x="T4" y="T5"/>
                </a:cxn>
              </a:cxnLst>
              <a:rect l="0" t="0" r="r" b="b"/>
              <a:pathLst>
                <a:path w="21600" h="21600" fill="none" extrusionOk="0">
                  <a:moveTo>
                    <a:pt x="21600" y="21600"/>
                  </a:moveTo>
                  <a:cubicBezTo>
                    <a:pt x="9670" y="21600"/>
                    <a:pt x="0" y="11929"/>
                    <a:pt x="0" y="0"/>
                  </a:cubicBezTo>
                </a:path>
                <a:path w="21600" h="21600" stroke="0" extrusionOk="0">
                  <a:moveTo>
                    <a:pt x="21600" y="21600"/>
                  </a:moveTo>
                  <a:cubicBezTo>
                    <a:pt x="9670" y="21600"/>
                    <a:pt x="0" y="11929"/>
                    <a:pt x="0" y="0"/>
                  </a:cubicBezTo>
                  <a:lnTo>
                    <a:pt x="21600" y="0"/>
                  </a:lnTo>
                  <a:close/>
                </a:path>
              </a:pathLst>
            </a:custGeom>
            <a:noFill/>
            <a:ln w="6350" cap="rnd">
              <a:solidFill>
                <a:srgbClr val="BE82FF"/>
              </a:solidFill>
              <a:prstDash val="dash"/>
              <a:round/>
              <a:headEnd type="none" w="sm" len="sm"/>
              <a:tailEnd type="triangle" w="lg" len="me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 name="Arc 15">
              <a:extLst>
                <a:ext uri="{FF2B5EF4-FFF2-40B4-BE49-F238E27FC236}">
                  <a16:creationId xmlns:a16="http://schemas.microsoft.com/office/drawing/2014/main" id="{B51D78C4-169F-4EA9-95A1-3B214AA8BC02}"/>
                </a:ext>
                <a:ext uri="{C183D7F6-B498-43B3-948B-1728B52AA6E4}">
                  <adec:decorative xmlns:adec="http://schemas.microsoft.com/office/drawing/2017/decorative" val="1"/>
                </a:ext>
              </a:extLst>
            </p:cNvPr>
            <p:cNvSpPr>
              <a:spLocks/>
            </p:cNvSpPr>
            <p:nvPr/>
          </p:nvSpPr>
          <p:spPr bwMode="auto">
            <a:xfrm>
              <a:off x="3756025" y="1457990"/>
              <a:ext cx="2248496" cy="2173059"/>
            </a:xfrm>
            <a:custGeom>
              <a:avLst/>
              <a:gdLst>
                <a:gd name="G0" fmla="+- 21600 0 0"/>
                <a:gd name="G1" fmla="+- 21600 0 0"/>
                <a:gd name="G2" fmla="+- 21600 0 0"/>
                <a:gd name="T0" fmla="*/ 0 w 21600"/>
                <a:gd name="T1" fmla="*/ 21600 h 21600"/>
                <a:gd name="T2" fmla="*/ 21581 w 21600"/>
                <a:gd name="T3" fmla="*/ 0 h 21600"/>
                <a:gd name="T4" fmla="*/ 21600 w 21600"/>
                <a:gd name="T5" fmla="*/ 21600 h 21600"/>
              </a:gdLst>
              <a:ahLst/>
              <a:cxnLst>
                <a:cxn ang="0">
                  <a:pos x="T0" y="T1"/>
                </a:cxn>
                <a:cxn ang="0">
                  <a:pos x="T2" y="T3"/>
                </a:cxn>
                <a:cxn ang="0">
                  <a:pos x="T4" y="T5"/>
                </a:cxn>
              </a:cxnLst>
              <a:rect l="0" t="0" r="r" b="b"/>
              <a:pathLst>
                <a:path w="21600" h="21600" fill="none" extrusionOk="0">
                  <a:moveTo>
                    <a:pt x="0" y="21600"/>
                  </a:moveTo>
                  <a:cubicBezTo>
                    <a:pt x="0" y="9678"/>
                    <a:pt x="9659" y="10"/>
                    <a:pt x="21581" y="0"/>
                  </a:cubicBezTo>
                </a:path>
                <a:path w="21600" h="21600" stroke="0" extrusionOk="0">
                  <a:moveTo>
                    <a:pt x="0" y="21600"/>
                  </a:moveTo>
                  <a:cubicBezTo>
                    <a:pt x="0" y="9678"/>
                    <a:pt x="9659" y="10"/>
                    <a:pt x="21581" y="0"/>
                  </a:cubicBezTo>
                  <a:lnTo>
                    <a:pt x="21600" y="21600"/>
                  </a:lnTo>
                  <a:close/>
                </a:path>
              </a:pathLst>
            </a:custGeom>
            <a:noFill/>
            <a:ln w="6350" cap="rnd">
              <a:solidFill>
                <a:srgbClr val="BE82FF"/>
              </a:solidFill>
              <a:prstDash val="dash"/>
              <a:round/>
              <a:headEnd type="none" w="sm" len="sm"/>
              <a:tailEnd type="triangle" w="lg" len="me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sp>
        <p:nvSpPr>
          <p:cNvPr id="26" name="Footer Placeholder 25">
            <a:extLst>
              <a:ext uri="{FF2B5EF4-FFF2-40B4-BE49-F238E27FC236}">
                <a16:creationId xmlns:a16="http://schemas.microsoft.com/office/drawing/2014/main" id="{BFE37A04-26BC-4995-86F2-E9E0945B6BFB}"/>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7" name="Slide Number Placeholder 26">
            <a:extLst>
              <a:ext uri="{FF2B5EF4-FFF2-40B4-BE49-F238E27FC236}">
                <a16:creationId xmlns:a16="http://schemas.microsoft.com/office/drawing/2014/main" id="{9C6F6E2B-7F76-4946-9B76-962A87953DCF}"/>
              </a:ext>
            </a:extLst>
          </p:cNvPr>
          <p:cNvSpPr>
            <a:spLocks noGrp="1"/>
          </p:cNvSpPr>
          <p:nvPr>
            <p:ph type="sldNum" sz="quarter" idx="10"/>
          </p:nvPr>
        </p:nvSpPr>
        <p:spPr/>
        <p:txBody>
          <a:bodyPr/>
          <a:lstStyle/>
          <a:p>
            <a:fld id="{1F90F471-3972-4120-B8B3-0237DE626C35}" type="slidenum">
              <a:rPr lang="en-US" smtClean="0"/>
              <a:pPr/>
              <a:t>253</a:t>
            </a:fld>
            <a:endParaRPr lang="en-US" dirty="0"/>
          </a:p>
        </p:txBody>
      </p:sp>
    </p:spTree>
    <p:extLst>
      <p:ext uri="{BB962C8B-B14F-4D97-AF65-F5344CB8AC3E}">
        <p14:creationId xmlns:p14="http://schemas.microsoft.com/office/powerpoint/2010/main" val="3900787939"/>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Circular Flow 8</a:t>
            </a:r>
          </a:p>
        </p:txBody>
      </p:sp>
      <p:grpSp>
        <p:nvGrpSpPr>
          <p:cNvPr id="5" name="Group 3" descr="Add text and order accordingly">
            <a:extLst>
              <a:ext uri="{FF2B5EF4-FFF2-40B4-BE49-F238E27FC236}">
                <a16:creationId xmlns:a16="http://schemas.microsoft.com/office/drawing/2014/main" id="{5C028904-5CB2-489E-AA85-B5F8C2C0A7CD}"/>
              </a:ext>
            </a:extLst>
          </p:cNvPr>
          <p:cNvGrpSpPr>
            <a:grpSpLocks/>
          </p:cNvGrpSpPr>
          <p:nvPr/>
        </p:nvGrpSpPr>
        <p:grpSpPr bwMode="auto">
          <a:xfrm>
            <a:off x="3865563" y="1628801"/>
            <a:ext cx="4462462" cy="4562475"/>
            <a:chOff x="2160" y="1440"/>
            <a:chExt cx="2035" cy="1920"/>
          </a:xfrm>
        </p:grpSpPr>
        <p:sp>
          <p:nvSpPr>
            <p:cNvPr id="6" name="Freeform 4">
              <a:extLst>
                <a:ext uri="{FF2B5EF4-FFF2-40B4-BE49-F238E27FC236}">
                  <a16:creationId xmlns:a16="http://schemas.microsoft.com/office/drawing/2014/main" id="{77E71570-5FF9-4AC2-A341-2F2F301A5315}"/>
                </a:ext>
              </a:extLst>
            </p:cNvPr>
            <p:cNvSpPr>
              <a:spLocks/>
            </p:cNvSpPr>
            <p:nvPr/>
          </p:nvSpPr>
          <p:spPr bwMode="auto">
            <a:xfrm>
              <a:off x="2160" y="2315"/>
              <a:ext cx="1918" cy="1045"/>
            </a:xfrm>
            <a:custGeom>
              <a:avLst/>
              <a:gdLst/>
              <a:ahLst/>
              <a:cxnLst>
                <a:cxn ang="0">
                  <a:pos x="1396" y="197"/>
                </a:cxn>
                <a:cxn ang="0">
                  <a:pos x="1365" y="331"/>
                </a:cxn>
                <a:cxn ang="0">
                  <a:pos x="1310" y="446"/>
                </a:cxn>
                <a:cxn ang="0">
                  <a:pos x="1237" y="543"/>
                </a:cxn>
                <a:cxn ang="0">
                  <a:pos x="1147" y="621"/>
                </a:cxn>
                <a:cxn ang="0">
                  <a:pos x="1046" y="680"/>
                </a:cxn>
                <a:cxn ang="0">
                  <a:pos x="936" y="721"/>
                </a:cxn>
                <a:cxn ang="0">
                  <a:pos x="820" y="742"/>
                </a:cxn>
                <a:cxn ang="0">
                  <a:pos x="702" y="744"/>
                </a:cxn>
                <a:cxn ang="0">
                  <a:pos x="586" y="728"/>
                </a:cxn>
                <a:cxn ang="0">
                  <a:pos x="474" y="691"/>
                </a:cxn>
                <a:cxn ang="0">
                  <a:pos x="371" y="636"/>
                </a:cxn>
                <a:cxn ang="0">
                  <a:pos x="278" y="561"/>
                </a:cxn>
                <a:cxn ang="0">
                  <a:pos x="201" y="467"/>
                </a:cxn>
                <a:cxn ang="0">
                  <a:pos x="142" y="353"/>
                </a:cxn>
                <a:cxn ang="0">
                  <a:pos x="105" y="220"/>
                </a:cxn>
                <a:cxn ang="0">
                  <a:pos x="0" y="147"/>
                </a:cxn>
                <a:cxn ang="0">
                  <a:pos x="575" y="163"/>
                </a:cxn>
                <a:cxn ang="0">
                  <a:pos x="496" y="202"/>
                </a:cxn>
                <a:cxn ang="0">
                  <a:pos x="528" y="278"/>
                </a:cxn>
                <a:cxn ang="0">
                  <a:pos x="572" y="342"/>
                </a:cxn>
                <a:cxn ang="0">
                  <a:pos x="629" y="394"/>
                </a:cxn>
                <a:cxn ang="0">
                  <a:pos x="694" y="434"/>
                </a:cxn>
                <a:cxn ang="0">
                  <a:pos x="766" y="462"/>
                </a:cxn>
                <a:cxn ang="0">
                  <a:pos x="843" y="480"/>
                </a:cxn>
                <a:cxn ang="0">
                  <a:pos x="922" y="487"/>
                </a:cxn>
                <a:cxn ang="0">
                  <a:pos x="1042" y="477"/>
                </a:cxn>
                <a:cxn ang="0">
                  <a:pos x="1119" y="457"/>
                </a:cxn>
                <a:cxn ang="0">
                  <a:pos x="1191" y="425"/>
                </a:cxn>
                <a:cxn ang="0">
                  <a:pos x="1256" y="384"/>
                </a:cxn>
                <a:cxn ang="0">
                  <a:pos x="1312" y="334"/>
                </a:cxn>
                <a:cxn ang="0">
                  <a:pos x="1357" y="273"/>
                </a:cxn>
                <a:cxn ang="0">
                  <a:pos x="1388" y="203"/>
                </a:cxn>
                <a:cxn ang="0">
                  <a:pos x="1403" y="123"/>
                </a:cxn>
              </a:cxnLst>
              <a:rect l="0" t="0" r="r" b="b"/>
              <a:pathLst>
                <a:path w="1404" h="745">
                  <a:moveTo>
                    <a:pt x="1403" y="123"/>
                  </a:moveTo>
                  <a:lnTo>
                    <a:pt x="1396" y="197"/>
                  </a:lnTo>
                  <a:lnTo>
                    <a:pt x="1384" y="266"/>
                  </a:lnTo>
                  <a:lnTo>
                    <a:pt x="1365" y="331"/>
                  </a:lnTo>
                  <a:lnTo>
                    <a:pt x="1340" y="391"/>
                  </a:lnTo>
                  <a:lnTo>
                    <a:pt x="1310" y="446"/>
                  </a:lnTo>
                  <a:lnTo>
                    <a:pt x="1275" y="498"/>
                  </a:lnTo>
                  <a:lnTo>
                    <a:pt x="1237" y="543"/>
                  </a:lnTo>
                  <a:lnTo>
                    <a:pt x="1194" y="585"/>
                  </a:lnTo>
                  <a:lnTo>
                    <a:pt x="1147" y="621"/>
                  </a:lnTo>
                  <a:lnTo>
                    <a:pt x="1098" y="654"/>
                  </a:lnTo>
                  <a:lnTo>
                    <a:pt x="1046" y="680"/>
                  </a:lnTo>
                  <a:lnTo>
                    <a:pt x="991" y="703"/>
                  </a:lnTo>
                  <a:lnTo>
                    <a:pt x="936" y="721"/>
                  </a:lnTo>
                  <a:lnTo>
                    <a:pt x="878" y="734"/>
                  </a:lnTo>
                  <a:lnTo>
                    <a:pt x="820" y="742"/>
                  </a:lnTo>
                  <a:lnTo>
                    <a:pt x="761" y="744"/>
                  </a:lnTo>
                  <a:lnTo>
                    <a:pt x="702" y="744"/>
                  </a:lnTo>
                  <a:lnTo>
                    <a:pt x="643" y="738"/>
                  </a:lnTo>
                  <a:lnTo>
                    <a:pt x="586" y="728"/>
                  </a:lnTo>
                  <a:lnTo>
                    <a:pt x="529" y="712"/>
                  </a:lnTo>
                  <a:lnTo>
                    <a:pt x="474" y="691"/>
                  </a:lnTo>
                  <a:lnTo>
                    <a:pt x="421" y="666"/>
                  </a:lnTo>
                  <a:lnTo>
                    <a:pt x="371" y="636"/>
                  </a:lnTo>
                  <a:lnTo>
                    <a:pt x="322" y="601"/>
                  </a:lnTo>
                  <a:lnTo>
                    <a:pt x="278" y="561"/>
                  </a:lnTo>
                  <a:lnTo>
                    <a:pt x="237" y="517"/>
                  </a:lnTo>
                  <a:lnTo>
                    <a:pt x="201" y="467"/>
                  </a:lnTo>
                  <a:lnTo>
                    <a:pt x="169" y="413"/>
                  </a:lnTo>
                  <a:lnTo>
                    <a:pt x="142" y="353"/>
                  </a:lnTo>
                  <a:lnTo>
                    <a:pt x="120" y="289"/>
                  </a:lnTo>
                  <a:lnTo>
                    <a:pt x="105" y="220"/>
                  </a:lnTo>
                  <a:lnTo>
                    <a:pt x="96" y="147"/>
                  </a:lnTo>
                  <a:lnTo>
                    <a:pt x="0" y="147"/>
                  </a:lnTo>
                  <a:lnTo>
                    <a:pt x="299" y="0"/>
                  </a:lnTo>
                  <a:lnTo>
                    <a:pt x="575" y="163"/>
                  </a:lnTo>
                  <a:lnTo>
                    <a:pt x="486" y="160"/>
                  </a:lnTo>
                  <a:lnTo>
                    <a:pt x="496" y="202"/>
                  </a:lnTo>
                  <a:lnTo>
                    <a:pt x="510" y="242"/>
                  </a:lnTo>
                  <a:lnTo>
                    <a:pt x="528" y="278"/>
                  </a:lnTo>
                  <a:lnTo>
                    <a:pt x="549" y="311"/>
                  </a:lnTo>
                  <a:lnTo>
                    <a:pt x="572" y="342"/>
                  </a:lnTo>
                  <a:lnTo>
                    <a:pt x="599" y="369"/>
                  </a:lnTo>
                  <a:lnTo>
                    <a:pt x="629" y="394"/>
                  </a:lnTo>
                  <a:lnTo>
                    <a:pt x="660" y="416"/>
                  </a:lnTo>
                  <a:lnTo>
                    <a:pt x="694" y="434"/>
                  </a:lnTo>
                  <a:lnTo>
                    <a:pt x="729" y="450"/>
                  </a:lnTo>
                  <a:lnTo>
                    <a:pt x="766" y="462"/>
                  </a:lnTo>
                  <a:lnTo>
                    <a:pt x="804" y="473"/>
                  </a:lnTo>
                  <a:lnTo>
                    <a:pt x="843" y="480"/>
                  </a:lnTo>
                  <a:lnTo>
                    <a:pt x="882" y="485"/>
                  </a:lnTo>
                  <a:lnTo>
                    <a:pt x="922" y="487"/>
                  </a:lnTo>
                  <a:lnTo>
                    <a:pt x="962" y="486"/>
                  </a:lnTo>
                  <a:lnTo>
                    <a:pt x="1042" y="477"/>
                  </a:lnTo>
                  <a:lnTo>
                    <a:pt x="1081" y="468"/>
                  </a:lnTo>
                  <a:lnTo>
                    <a:pt x="1119" y="457"/>
                  </a:lnTo>
                  <a:lnTo>
                    <a:pt x="1155" y="442"/>
                  </a:lnTo>
                  <a:lnTo>
                    <a:pt x="1191" y="425"/>
                  </a:lnTo>
                  <a:lnTo>
                    <a:pt x="1224" y="406"/>
                  </a:lnTo>
                  <a:lnTo>
                    <a:pt x="1256" y="384"/>
                  </a:lnTo>
                  <a:lnTo>
                    <a:pt x="1285" y="361"/>
                  </a:lnTo>
                  <a:lnTo>
                    <a:pt x="1312" y="334"/>
                  </a:lnTo>
                  <a:lnTo>
                    <a:pt x="1336" y="304"/>
                  </a:lnTo>
                  <a:lnTo>
                    <a:pt x="1357" y="273"/>
                  </a:lnTo>
                  <a:lnTo>
                    <a:pt x="1373" y="239"/>
                  </a:lnTo>
                  <a:lnTo>
                    <a:pt x="1388" y="203"/>
                  </a:lnTo>
                  <a:lnTo>
                    <a:pt x="1397" y="164"/>
                  </a:lnTo>
                  <a:lnTo>
                    <a:pt x="1403" y="123"/>
                  </a:lnTo>
                </a:path>
              </a:pathLst>
            </a:custGeom>
            <a:solidFill>
              <a:srgbClr val="A100FF"/>
            </a:solidFill>
            <a:ln w="6350" cap="flat" cmpd="sng">
              <a:no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 name="Freeform 5">
              <a:extLst>
                <a:ext uri="{FF2B5EF4-FFF2-40B4-BE49-F238E27FC236}">
                  <a16:creationId xmlns:a16="http://schemas.microsoft.com/office/drawing/2014/main" id="{020C3523-1078-4A31-842E-F74C35624075}"/>
                </a:ext>
              </a:extLst>
            </p:cNvPr>
            <p:cNvSpPr>
              <a:spLocks/>
            </p:cNvSpPr>
            <p:nvPr/>
          </p:nvSpPr>
          <p:spPr bwMode="auto">
            <a:xfrm>
              <a:off x="2280" y="1440"/>
              <a:ext cx="1915" cy="1047"/>
            </a:xfrm>
            <a:custGeom>
              <a:avLst/>
              <a:gdLst/>
              <a:ahLst/>
              <a:cxnLst>
                <a:cxn ang="0">
                  <a:pos x="3" y="585"/>
                </a:cxn>
                <a:cxn ang="0">
                  <a:pos x="12" y="513"/>
                </a:cxn>
                <a:cxn ang="0">
                  <a:pos x="29" y="446"/>
                </a:cxn>
                <a:cxn ang="0">
                  <a:pos x="51" y="383"/>
                </a:cxn>
                <a:cxn ang="0">
                  <a:pos x="94" y="299"/>
                </a:cxn>
                <a:cxn ang="0">
                  <a:pos x="167" y="202"/>
                </a:cxn>
                <a:cxn ang="0">
                  <a:pos x="232" y="142"/>
                </a:cxn>
                <a:cxn ang="0">
                  <a:pos x="306" y="92"/>
                </a:cxn>
                <a:cxn ang="0">
                  <a:pos x="412" y="42"/>
                </a:cxn>
                <a:cxn ang="0">
                  <a:pos x="467" y="25"/>
                </a:cxn>
                <a:cxn ang="0">
                  <a:pos x="525" y="11"/>
                </a:cxn>
                <a:cxn ang="0">
                  <a:pos x="583" y="4"/>
                </a:cxn>
                <a:cxn ang="0">
                  <a:pos x="642" y="0"/>
                </a:cxn>
                <a:cxn ang="0">
                  <a:pos x="760" y="7"/>
                </a:cxn>
                <a:cxn ang="0">
                  <a:pos x="874" y="33"/>
                </a:cxn>
                <a:cxn ang="0">
                  <a:pos x="956" y="66"/>
                </a:cxn>
                <a:cxn ang="0">
                  <a:pos x="1007" y="93"/>
                </a:cxn>
                <a:cxn ang="0">
                  <a:pos x="1081" y="145"/>
                </a:cxn>
                <a:cxn ang="0">
                  <a:pos x="1125" y="185"/>
                </a:cxn>
                <a:cxn ang="0">
                  <a:pos x="1166" y="229"/>
                </a:cxn>
                <a:cxn ang="0">
                  <a:pos x="1234" y="333"/>
                </a:cxn>
                <a:cxn ang="0">
                  <a:pos x="1282" y="457"/>
                </a:cxn>
                <a:cxn ang="0">
                  <a:pos x="1307" y="599"/>
                </a:cxn>
                <a:cxn ang="0">
                  <a:pos x="1104" y="746"/>
                </a:cxn>
                <a:cxn ang="0">
                  <a:pos x="917" y="585"/>
                </a:cxn>
                <a:cxn ang="0">
                  <a:pos x="894" y="503"/>
                </a:cxn>
                <a:cxn ang="0">
                  <a:pos x="854" y="434"/>
                </a:cxn>
                <a:cxn ang="0">
                  <a:pos x="804" y="376"/>
                </a:cxn>
                <a:cxn ang="0">
                  <a:pos x="744" y="330"/>
                </a:cxn>
                <a:cxn ang="0">
                  <a:pos x="675" y="295"/>
                </a:cxn>
                <a:cxn ang="0">
                  <a:pos x="599" y="272"/>
                </a:cxn>
                <a:cxn ang="0">
                  <a:pos x="521" y="261"/>
                </a:cxn>
                <a:cxn ang="0">
                  <a:pos x="441" y="260"/>
                </a:cxn>
                <a:cxn ang="0">
                  <a:pos x="360" y="269"/>
                </a:cxn>
                <a:cxn ang="0">
                  <a:pos x="284" y="289"/>
                </a:cxn>
                <a:cxn ang="0">
                  <a:pos x="212" y="320"/>
                </a:cxn>
                <a:cxn ang="0">
                  <a:pos x="147" y="361"/>
                </a:cxn>
                <a:cxn ang="0">
                  <a:pos x="92" y="412"/>
                </a:cxn>
                <a:cxn ang="0">
                  <a:pos x="47" y="473"/>
                </a:cxn>
                <a:cxn ang="0">
                  <a:pos x="16" y="543"/>
                </a:cxn>
                <a:cxn ang="0">
                  <a:pos x="0" y="623"/>
                </a:cxn>
              </a:cxnLst>
              <a:rect l="0" t="0" r="r" b="b"/>
              <a:pathLst>
                <a:path w="1402" h="747">
                  <a:moveTo>
                    <a:pt x="0" y="623"/>
                  </a:moveTo>
                  <a:lnTo>
                    <a:pt x="3" y="585"/>
                  </a:lnTo>
                  <a:lnTo>
                    <a:pt x="7" y="548"/>
                  </a:lnTo>
                  <a:lnTo>
                    <a:pt x="12" y="513"/>
                  </a:lnTo>
                  <a:lnTo>
                    <a:pt x="19" y="480"/>
                  </a:lnTo>
                  <a:lnTo>
                    <a:pt x="29" y="446"/>
                  </a:lnTo>
                  <a:lnTo>
                    <a:pt x="38" y="414"/>
                  </a:lnTo>
                  <a:lnTo>
                    <a:pt x="51" y="383"/>
                  </a:lnTo>
                  <a:lnTo>
                    <a:pt x="63" y="354"/>
                  </a:lnTo>
                  <a:lnTo>
                    <a:pt x="94" y="299"/>
                  </a:lnTo>
                  <a:lnTo>
                    <a:pt x="128" y="248"/>
                  </a:lnTo>
                  <a:lnTo>
                    <a:pt x="167" y="202"/>
                  </a:lnTo>
                  <a:lnTo>
                    <a:pt x="210" y="161"/>
                  </a:lnTo>
                  <a:lnTo>
                    <a:pt x="232" y="142"/>
                  </a:lnTo>
                  <a:lnTo>
                    <a:pt x="256" y="124"/>
                  </a:lnTo>
                  <a:lnTo>
                    <a:pt x="306" y="92"/>
                  </a:lnTo>
                  <a:lnTo>
                    <a:pt x="357" y="65"/>
                  </a:lnTo>
                  <a:lnTo>
                    <a:pt x="412" y="42"/>
                  </a:lnTo>
                  <a:lnTo>
                    <a:pt x="440" y="32"/>
                  </a:lnTo>
                  <a:lnTo>
                    <a:pt x="467" y="25"/>
                  </a:lnTo>
                  <a:lnTo>
                    <a:pt x="496" y="17"/>
                  </a:lnTo>
                  <a:lnTo>
                    <a:pt x="525" y="11"/>
                  </a:lnTo>
                  <a:lnTo>
                    <a:pt x="554" y="7"/>
                  </a:lnTo>
                  <a:lnTo>
                    <a:pt x="583" y="4"/>
                  </a:lnTo>
                  <a:lnTo>
                    <a:pt x="613" y="1"/>
                  </a:lnTo>
                  <a:lnTo>
                    <a:pt x="642" y="0"/>
                  </a:lnTo>
                  <a:lnTo>
                    <a:pt x="701" y="1"/>
                  </a:lnTo>
                  <a:lnTo>
                    <a:pt x="760" y="7"/>
                  </a:lnTo>
                  <a:lnTo>
                    <a:pt x="818" y="18"/>
                  </a:lnTo>
                  <a:lnTo>
                    <a:pt x="874" y="33"/>
                  </a:lnTo>
                  <a:lnTo>
                    <a:pt x="929" y="54"/>
                  </a:lnTo>
                  <a:lnTo>
                    <a:pt x="956" y="66"/>
                  </a:lnTo>
                  <a:lnTo>
                    <a:pt x="982" y="79"/>
                  </a:lnTo>
                  <a:lnTo>
                    <a:pt x="1007" y="93"/>
                  </a:lnTo>
                  <a:lnTo>
                    <a:pt x="1033" y="109"/>
                  </a:lnTo>
                  <a:lnTo>
                    <a:pt x="1081" y="145"/>
                  </a:lnTo>
                  <a:lnTo>
                    <a:pt x="1103" y="164"/>
                  </a:lnTo>
                  <a:lnTo>
                    <a:pt x="1125" y="185"/>
                  </a:lnTo>
                  <a:lnTo>
                    <a:pt x="1146" y="206"/>
                  </a:lnTo>
                  <a:lnTo>
                    <a:pt x="1166" y="229"/>
                  </a:lnTo>
                  <a:lnTo>
                    <a:pt x="1202" y="278"/>
                  </a:lnTo>
                  <a:lnTo>
                    <a:pt x="1234" y="333"/>
                  </a:lnTo>
                  <a:lnTo>
                    <a:pt x="1261" y="392"/>
                  </a:lnTo>
                  <a:lnTo>
                    <a:pt x="1282" y="457"/>
                  </a:lnTo>
                  <a:lnTo>
                    <a:pt x="1298" y="525"/>
                  </a:lnTo>
                  <a:lnTo>
                    <a:pt x="1307" y="599"/>
                  </a:lnTo>
                  <a:lnTo>
                    <a:pt x="1401" y="599"/>
                  </a:lnTo>
                  <a:lnTo>
                    <a:pt x="1104" y="746"/>
                  </a:lnTo>
                  <a:lnTo>
                    <a:pt x="828" y="583"/>
                  </a:lnTo>
                  <a:lnTo>
                    <a:pt x="917" y="585"/>
                  </a:lnTo>
                  <a:lnTo>
                    <a:pt x="908" y="543"/>
                  </a:lnTo>
                  <a:lnTo>
                    <a:pt x="894" y="503"/>
                  </a:lnTo>
                  <a:lnTo>
                    <a:pt x="875" y="467"/>
                  </a:lnTo>
                  <a:lnTo>
                    <a:pt x="854" y="434"/>
                  </a:lnTo>
                  <a:lnTo>
                    <a:pt x="830" y="403"/>
                  </a:lnTo>
                  <a:lnTo>
                    <a:pt x="804" y="376"/>
                  </a:lnTo>
                  <a:lnTo>
                    <a:pt x="775" y="351"/>
                  </a:lnTo>
                  <a:lnTo>
                    <a:pt x="744" y="330"/>
                  </a:lnTo>
                  <a:lnTo>
                    <a:pt x="710" y="311"/>
                  </a:lnTo>
                  <a:lnTo>
                    <a:pt x="675" y="295"/>
                  </a:lnTo>
                  <a:lnTo>
                    <a:pt x="637" y="283"/>
                  </a:lnTo>
                  <a:lnTo>
                    <a:pt x="599" y="272"/>
                  </a:lnTo>
                  <a:lnTo>
                    <a:pt x="561" y="265"/>
                  </a:lnTo>
                  <a:lnTo>
                    <a:pt x="521" y="261"/>
                  </a:lnTo>
                  <a:lnTo>
                    <a:pt x="481" y="259"/>
                  </a:lnTo>
                  <a:lnTo>
                    <a:pt x="441" y="260"/>
                  </a:lnTo>
                  <a:lnTo>
                    <a:pt x="400" y="263"/>
                  </a:lnTo>
                  <a:lnTo>
                    <a:pt x="360" y="269"/>
                  </a:lnTo>
                  <a:lnTo>
                    <a:pt x="322" y="278"/>
                  </a:lnTo>
                  <a:lnTo>
                    <a:pt x="284" y="289"/>
                  </a:lnTo>
                  <a:lnTo>
                    <a:pt x="248" y="304"/>
                  </a:lnTo>
                  <a:lnTo>
                    <a:pt x="212" y="320"/>
                  </a:lnTo>
                  <a:lnTo>
                    <a:pt x="179" y="339"/>
                  </a:lnTo>
                  <a:lnTo>
                    <a:pt x="147" y="361"/>
                  </a:lnTo>
                  <a:lnTo>
                    <a:pt x="118" y="385"/>
                  </a:lnTo>
                  <a:lnTo>
                    <a:pt x="92" y="412"/>
                  </a:lnTo>
                  <a:lnTo>
                    <a:pt x="68" y="441"/>
                  </a:lnTo>
                  <a:lnTo>
                    <a:pt x="47" y="473"/>
                  </a:lnTo>
                  <a:lnTo>
                    <a:pt x="30" y="506"/>
                  </a:lnTo>
                  <a:lnTo>
                    <a:pt x="16" y="543"/>
                  </a:lnTo>
                  <a:lnTo>
                    <a:pt x="6" y="581"/>
                  </a:lnTo>
                  <a:lnTo>
                    <a:pt x="0" y="623"/>
                  </a:lnTo>
                </a:path>
              </a:pathLst>
            </a:custGeom>
            <a:solidFill>
              <a:srgbClr val="BE82FF">
                <a:lumMod val="20000"/>
                <a:lumOff val="80000"/>
              </a:srgbClr>
            </a:solidFill>
            <a:ln w="6350" cap="flat" cmpd="sng">
              <a:no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nvGrpSpPr>
            <p:cNvPr id="8" name="Group 6">
              <a:extLst>
                <a:ext uri="{FF2B5EF4-FFF2-40B4-BE49-F238E27FC236}">
                  <a16:creationId xmlns:a16="http://schemas.microsoft.com/office/drawing/2014/main" id="{99CC1C4C-A130-491C-9ADF-7EE1C5B7231E}"/>
                </a:ext>
              </a:extLst>
            </p:cNvPr>
            <p:cNvGrpSpPr>
              <a:grpSpLocks/>
            </p:cNvGrpSpPr>
            <p:nvPr/>
          </p:nvGrpSpPr>
          <p:grpSpPr bwMode="auto">
            <a:xfrm>
              <a:off x="3047" y="1595"/>
              <a:ext cx="260" cy="1611"/>
              <a:chOff x="2988" y="1595"/>
              <a:chExt cx="260" cy="1611"/>
            </a:xfrm>
          </p:grpSpPr>
          <p:sp>
            <p:nvSpPr>
              <p:cNvPr id="9" name="Text Box 7">
                <a:extLst>
                  <a:ext uri="{FF2B5EF4-FFF2-40B4-BE49-F238E27FC236}">
                    <a16:creationId xmlns:a16="http://schemas.microsoft.com/office/drawing/2014/main" id="{BFB3B5D8-A738-4F85-8289-5D090BEF2883}"/>
                  </a:ext>
                </a:extLst>
              </p:cNvPr>
              <p:cNvSpPr txBox="1">
                <a:spLocks noChangeArrowheads="1"/>
              </p:cNvSpPr>
              <p:nvPr/>
            </p:nvSpPr>
            <p:spPr bwMode="auto">
              <a:xfrm>
                <a:off x="2989" y="1595"/>
                <a:ext cx="259" cy="16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a:ea typeface="+mn-ea"/>
                    <a:cs typeface="+mn-cs"/>
                  </a:rPr>
                  <a:t>Text</a:t>
                </a:r>
              </a:p>
            </p:txBody>
          </p:sp>
          <p:sp>
            <p:nvSpPr>
              <p:cNvPr id="10" name="Text Box 8">
                <a:extLst>
                  <a:ext uri="{FF2B5EF4-FFF2-40B4-BE49-F238E27FC236}">
                    <a16:creationId xmlns:a16="http://schemas.microsoft.com/office/drawing/2014/main" id="{8EF0C697-B0BA-4004-8BA6-178BD3F8B8A2}"/>
                  </a:ext>
                </a:extLst>
              </p:cNvPr>
              <p:cNvSpPr txBox="1">
                <a:spLocks noChangeArrowheads="1"/>
              </p:cNvSpPr>
              <p:nvPr/>
            </p:nvSpPr>
            <p:spPr bwMode="auto">
              <a:xfrm>
                <a:off x="2988" y="3045"/>
                <a:ext cx="259" cy="16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a:ea typeface="+mn-ea"/>
                    <a:cs typeface="+mn-cs"/>
                  </a:rPr>
                  <a:t>Text</a:t>
                </a:r>
              </a:p>
            </p:txBody>
          </p:sp>
        </p:grpSp>
      </p:grpSp>
      <p:sp>
        <p:nvSpPr>
          <p:cNvPr id="12" name="Footer Placeholder 11">
            <a:extLst>
              <a:ext uri="{FF2B5EF4-FFF2-40B4-BE49-F238E27FC236}">
                <a16:creationId xmlns:a16="http://schemas.microsoft.com/office/drawing/2014/main" id="{170CDBF1-20E8-4E54-9383-4E350064162E}"/>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3" name="Slide Number Placeholder 12">
            <a:extLst>
              <a:ext uri="{FF2B5EF4-FFF2-40B4-BE49-F238E27FC236}">
                <a16:creationId xmlns:a16="http://schemas.microsoft.com/office/drawing/2014/main" id="{337613A6-23FB-448C-879C-7E8924560F62}"/>
              </a:ext>
            </a:extLst>
          </p:cNvPr>
          <p:cNvSpPr>
            <a:spLocks noGrp="1"/>
          </p:cNvSpPr>
          <p:nvPr>
            <p:ph type="sldNum" sz="quarter" idx="10"/>
          </p:nvPr>
        </p:nvSpPr>
        <p:spPr/>
        <p:txBody>
          <a:bodyPr/>
          <a:lstStyle/>
          <a:p>
            <a:fld id="{1F90F471-3972-4120-B8B3-0237DE626C35}" type="slidenum">
              <a:rPr lang="en-US" smtClean="0"/>
              <a:pPr/>
              <a:t>254</a:t>
            </a:fld>
            <a:endParaRPr lang="en-US" dirty="0"/>
          </a:p>
        </p:txBody>
      </p:sp>
    </p:spTree>
    <p:extLst>
      <p:ext uri="{BB962C8B-B14F-4D97-AF65-F5344CB8AC3E}">
        <p14:creationId xmlns:p14="http://schemas.microsoft.com/office/powerpoint/2010/main" val="1596628710"/>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Circular Flow 9</a:t>
            </a:r>
          </a:p>
        </p:txBody>
      </p:sp>
      <p:sp>
        <p:nvSpPr>
          <p:cNvPr id="5" name="Rectangle 5">
            <a:extLst>
              <a:ext uri="{FF2B5EF4-FFF2-40B4-BE49-F238E27FC236}">
                <a16:creationId xmlns:a16="http://schemas.microsoft.com/office/drawing/2014/main" id="{F823DF79-2861-427F-86A1-8FBF1FDA8EA9}"/>
              </a:ext>
            </a:extLst>
          </p:cNvPr>
          <p:cNvSpPr>
            <a:spLocks noChangeArrowheads="1"/>
          </p:cNvSpPr>
          <p:nvPr/>
        </p:nvSpPr>
        <p:spPr bwMode="auto">
          <a:xfrm>
            <a:off x="1992314" y="1628800"/>
            <a:ext cx="3345436" cy="2349314"/>
          </a:xfrm>
          <a:prstGeom prst="rect">
            <a:avLst/>
          </a:prstGeom>
          <a:solidFill>
            <a:srgbClr val="96968C">
              <a:lumMod val="20000"/>
              <a:lumOff val="80000"/>
            </a:srgb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Arial Black"/>
                <a:ea typeface="+mn-ea"/>
                <a:cs typeface="+mn-cs"/>
              </a:rPr>
              <a:t>Text</a:t>
            </a:r>
          </a:p>
          <a:p>
            <a:pPr marL="174625" marR="0" lvl="0" indent="-174625" algn="l" defTabSz="914400" rtl="0" eaLnBrk="0" fontAlgn="auto" latinLnBrk="0" hangingPunct="0">
              <a:lnSpc>
                <a:spcPct val="100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Arial"/>
                <a:ea typeface="+mn-ea"/>
                <a:cs typeface="+mn-cs"/>
              </a:rPr>
              <a:t>Text</a:t>
            </a:r>
          </a:p>
          <a:p>
            <a:pPr marL="174625" marR="0" lvl="0" indent="-174625" algn="l" defTabSz="914400" rtl="0" eaLnBrk="0" fontAlgn="auto" latinLnBrk="0" hangingPunct="0">
              <a:lnSpc>
                <a:spcPct val="100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Arial"/>
                <a:ea typeface="+mn-ea"/>
                <a:cs typeface="+mn-cs"/>
              </a:rPr>
              <a:t>Text</a:t>
            </a:r>
          </a:p>
          <a:p>
            <a:pPr marL="174625" marR="0" lvl="0" indent="-174625" algn="l" defTabSz="914400" rtl="0" eaLnBrk="0" fontAlgn="auto" latinLnBrk="0" hangingPunct="0">
              <a:lnSpc>
                <a:spcPct val="100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Arial"/>
                <a:ea typeface="+mn-ea"/>
                <a:cs typeface="+mn-cs"/>
              </a:rPr>
              <a:t>Text</a:t>
            </a:r>
          </a:p>
        </p:txBody>
      </p:sp>
      <p:sp>
        <p:nvSpPr>
          <p:cNvPr id="6" name="Rectangle 5">
            <a:extLst>
              <a:ext uri="{FF2B5EF4-FFF2-40B4-BE49-F238E27FC236}">
                <a16:creationId xmlns:a16="http://schemas.microsoft.com/office/drawing/2014/main" id="{C4C54C36-0648-489B-AC7A-53F3C4C6A2F7}"/>
              </a:ext>
            </a:extLst>
          </p:cNvPr>
          <p:cNvSpPr>
            <a:spLocks noChangeArrowheads="1"/>
          </p:cNvSpPr>
          <p:nvPr/>
        </p:nvSpPr>
        <p:spPr bwMode="auto">
          <a:xfrm>
            <a:off x="6897748" y="3535309"/>
            <a:ext cx="3345436" cy="2349314"/>
          </a:xfrm>
          <a:prstGeom prst="rect">
            <a:avLst/>
          </a:prstGeom>
          <a:solidFill>
            <a:srgbClr val="96968C">
              <a:lumMod val="20000"/>
              <a:lumOff val="80000"/>
            </a:srgbClr>
          </a:solidFill>
          <a:ln w="6350">
            <a:noFill/>
            <a:miter lim="800000"/>
            <a:headEnd/>
            <a:tailEnd/>
          </a:ln>
        </p:spPr>
        <p:txBody>
          <a:bodyPr lIns="468000" tIns="540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Arial Black"/>
                <a:ea typeface="+mn-ea"/>
                <a:cs typeface="+mn-cs"/>
              </a:rPr>
              <a:t>Text</a:t>
            </a:r>
          </a:p>
          <a:p>
            <a:pPr marL="174625" marR="0" lvl="0" indent="-174625" algn="l" defTabSz="914400" rtl="0" eaLnBrk="0" fontAlgn="auto" latinLnBrk="0" hangingPunct="0">
              <a:lnSpc>
                <a:spcPct val="100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Arial"/>
                <a:ea typeface="+mn-ea"/>
                <a:cs typeface="+mn-cs"/>
              </a:rPr>
              <a:t>Text</a:t>
            </a:r>
          </a:p>
          <a:p>
            <a:pPr marL="174625" marR="0" lvl="0" indent="-174625" algn="l" defTabSz="914400" rtl="0" eaLnBrk="0" fontAlgn="auto" latinLnBrk="0" hangingPunct="0">
              <a:lnSpc>
                <a:spcPct val="100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Arial"/>
                <a:ea typeface="+mn-ea"/>
                <a:cs typeface="+mn-cs"/>
              </a:rPr>
              <a:t>Text</a:t>
            </a:r>
          </a:p>
          <a:p>
            <a:pPr marL="174625" marR="0" lvl="0" indent="-174625" algn="l" defTabSz="914400" rtl="0" eaLnBrk="0" fontAlgn="auto" latinLnBrk="0" hangingPunct="0">
              <a:lnSpc>
                <a:spcPct val="100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Arial"/>
                <a:ea typeface="+mn-ea"/>
                <a:cs typeface="+mn-cs"/>
              </a:rPr>
              <a:t>Text</a:t>
            </a:r>
          </a:p>
        </p:txBody>
      </p:sp>
      <p:grpSp>
        <p:nvGrpSpPr>
          <p:cNvPr id="7" name="Group 6" descr="Add text and order accordingly">
            <a:extLst>
              <a:ext uri="{FF2B5EF4-FFF2-40B4-BE49-F238E27FC236}">
                <a16:creationId xmlns:a16="http://schemas.microsoft.com/office/drawing/2014/main" id="{C9460E18-32FF-4A91-8C42-5E98566A83BA}"/>
              </a:ext>
            </a:extLst>
          </p:cNvPr>
          <p:cNvGrpSpPr/>
          <p:nvPr/>
        </p:nvGrpSpPr>
        <p:grpSpPr bwMode="auto">
          <a:xfrm>
            <a:off x="3979958" y="2336814"/>
            <a:ext cx="4238879" cy="2859634"/>
            <a:chOff x="2376488" y="2649539"/>
            <a:chExt cx="4391025" cy="2962274"/>
          </a:xfrm>
        </p:grpSpPr>
        <p:grpSp>
          <p:nvGrpSpPr>
            <p:cNvPr id="8" name="Group 13">
              <a:extLst>
                <a:ext uri="{FF2B5EF4-FFF2-40B4-BE49-F238E27FC236}">
                  <a16:creationId xmlns:a16="http://schemas.microsoft.com/office/drawing/2014/main" id="{B7A22414-3CE2-4365-AD4F-6A5B4DEC8E13}"/>
                </a:ext>
              </a:extLst>
            </p:cNvPr>
            <p:cNvGrpSpPr>
              <a:grpSpLocks/>
            </p:cNvGrpSpPr>
            <p:nvPr/>
          </p:nvGrpSpPr>
          <p:grpSpPr bwMode="auto">
            <a:xfrm>
              <a:off x="2376488" y="4005263"/>
              <a:ext cx="3455987" cy="1606550"/>
              <a:chOff x="1497" y="2523"/>
              <a:chExt cx="2177" cy="1012"/>
            </a:xfrm>
          </p:grpSpPr>
          <p:sp>
            <p:nvSpPr>
              <p:cNvPr id="12" name="Freeform 6">
                <a:extLst>
                  <a:ext uri="{FF2B5EF4-FFF2-40B4-BE49-F238E27FC236}">
                    <a16:creationId xmlns:a16="http://schemas.microsoft.com/office/drawing/2014/main" id="{A8F9425F-1A9E-40AF-A520-9FBEE339C300}"/>
                  </a:ext>
                </a:extLst>
              </p:cNvPr>
              <p:cNvSpPr>
                <a:spLocks/>
              </p:cNvSpPr>
              <p:nvPr/>
            </p:nvSpPr>
            <p:spPr bwMode="auto">
              <a:xfrm>
                <a:off x="1497" y="2523"/>
                <a:ext cx="2177" cy="1012"/>
              </a:xfrm>
              <a:custGeom>
                <a:avLst/>
                <a:gdLst/>
                <a:ahLst/>
                <a:cxnLst>
                  <a:cxn ang="0">
                    <a:pos x="1396" y="197"/>
                  </a:cxn>
                  <a:cxn ang="0">
                    <a:pos x="1365" y="331"/>
                  </a:cxn>
                  <a:cxn ang="0">
                    <a:pos x="1310" y="446"/>
                  </a:cxn>
                  <a:cxn ang="0">
                    <a:pos x="1237" y="543"/>
                  </a:cxn>
                  <a:cxn ang="0">
                    <a:pos x="1147" y="621"/>
                  </a:cxn>
                  <a:cxn ang="0">
                    <a:pos x="1046" y="680"/>
                  </a:cxn>
                  <a:cxn ang="0">
                    <a:pos x="936" y="721"/>
                  </a:cxn>
                  <a:cxn ang="0">
                    <a:pos x="820" y="742"/>
                  </a:cxn>
                  <a:cxn ang="0">
                    <a:pos x="702" y="744"/>
                  </a:cxn>
                  <a:cxn ang="0">
                    <a:pos x="586" y="728"/>
                  </a:cxn>
                  <a:cxn ang="0">
                    <a:pos x="474" y="691"/>
                  </a:cxn>
                  <a:cxn ang="0">
                    <a:pos x="371" y="636"/>
                  </a:cxn>
                  <a:cxn ang="0">
                    <a:pos x="278" y="561"/>
                  </a:cxn>
                  <a:cxn ang="0">
                    <a:pos x="201" y="467"/>
                  </a:cxn>
                  <a:cxn ang="0">
                    <a:pos x="142" y="353"/>
                  </a:cxn>
                  <a:cxn ang="0">
                    <a:pos x="105" y="220"/>
                  </a:cxn>
                  <a:cxn ang="0">
                    <a:pos x="0" y="147"/>
                  </a:cxn>
                  <a:cxn ang="0">
                    <a:pos x="575" y="163"/>
                  </a:cxn>
                  <a:cxn ang="0">
                    <a:pos x="496" y="202"/>
                  </a:cxn>
                  <a:cxn ang="0">
                    <a:pos x="528" y="278"/>
                  </a:cxn>
                  <a:cxn ang="0">
                    <a:pos x="572" y="342"/>
                  </a:cxn>
                  <a:cxn ang="0">
                    <a:pos x="629" y="394"/>
                  </a:cxn>
                  <a:cxn ang="0">
                    <a:pos x="694" y="434"/>
                  </a:cxn>
                  <a:cxn ang="0">
                    <a:pos x="766" y="462"/>
                  </a:cxn>
                  <a:cxn ang="0">
                    <a:pos x="843" y="480"/>
                  </a:cxn>
                  <a:cxn ang="0">
                    <a:pos x="922" y="487"/>
                  </a:cxn>
                  <a:cxn ang="0">
                    <a:pos x="1042" y="477"/>
                  </a:cxn>
                  <a:cxn ang="0">
                    <a:pos x="1119" y="457"/>
                  </a:cxn>
                  <a:cxn ang="0">
                    <a:pos x="1191" y="425"/>
                  </a:cxn>
                  <a:cxn ang="0">
                    <a:pos x="1256" y="384"/>
                  </a:cxn>
                  <a:cxn ang="0">
                    <a:pos x="1312" y="334"/>
                  </a:cxn>
                  <a:cxn ang="0">
                    <a:pos x="1357" y="273"/>
                  </a:cxn>
                  <a:cxn ang="0">
                    <a:pos x="1388" y="203"/>
                  </a:cxn>
                  <a:cxn ang="0">
                    <a:pos x="1403" y="123"/>
                  </a:cxn>
                </a:cxnLst>
                <a:rect l="0" t="0" r="r" b="b"/>
                <a:pathLst>
                  <a:path w="1404" h="745">
                    <a:moveTo>
                      <a:pt x="1403" y="123"/>
                    </a:moveTo>
                    <a:lnTo>
                      <a:pt x="1396" y="197"/>
                    </a:lnTo>
                    <a:lnTo>
                      <a:pt x="1384" y="266"/>
                    </a:lnTo>
                    <a:lnTo>
                      <a:pt x="1365" y="331"/>
                    </a:lnTo>
                    <a:lnTo>
                      <a:pt x="1340" y="391"/>
                    </a:lnTo>
                    <a:lnTo>
                      <a:pt x="1310" y="446"/>
                    </a:lnTo>
                    <a:lnTo>
                      <a:pt x="1275" y="498"/>
                    </a:lnTo>
                    <a:lnTo>
                      <a:pt x="1237" y="543"/>
                    </a:lnTo>
                    <a:lnTo>
                      <a:pt x="1194" y="585"/>
                    </a:lnTo>
                    <a:lnTo>
                      <a:pt x="1147" y="621"/>
                    </a:lnTo>
                    <a:lnTo>
                      <a:pt x="1098" y="654"/>
                    </a:lnTo>
                    <a:lnTo>
                      <a:pt x="1046" y="680"/>
                    </a:lnTo>
                    <a:lnTo>
                      <a:pt x="991" y="703"/>
                    </a:lnTo>
                    <a:lnTo>
                      <a:pt x="936" y="721"/>
                    </a:lnTo>
                    <a:lnTo>
                      <a:pt x="878" y="734"/>
                    </a:lnTo>
                    <a:lnTo>
                      <a:pt x="820" y="742"/>
                    </a:lnTo>
                    <a:lnTo>
                      <a:pt x="761" y="744"/>
                    </a:lnTo>
                    <a:lnTo>
                      <a:pt x="702" y="744"/>
                    </a:lnTo>
                    <a:lnTo>
                      <a:pt x="643" y="738"/>
                    </a:lnTo>
                    <a:lnTo>
                      <a:pt x="586" y="728"/>
                    </a:lnTo>
                    <a:lnTo>
                      <a:pt x="529" y="712"/>
                    </a:lnTo>
                    <a:lnTo>
                      <a:pt x="474" y="691"/>
                    </a:lnTo>
                    <a:lnTo>
                      <a:pt x="421" y="666"/>
                    </a:lnTo>
                    <a:lnTo>
                      <a:pt x="371" y="636"/>
                    </a:lnTo>
                    <a:lnTo>
                      <a:pt x="322" y="601"/>
                    </a:lnTo>
                    <a:lnTo>
                      <a:pt x="278" y="561"/>
                    </a:lnTo>
                    <a:lnTo>
                      <a:pt x="237" y="517"/>
                    </a:lnTo>
                    <a:lnTo>
                      <a:pt x="201" y="467"/>
                    </a:lnTo>
                    <a:lnTo>
                      <a:pt x="169" y="413"/>
                    </a:lnTo>
                    <a:lnTo>
                      <a:pt x="142" y="353"/>
                    </a:lnTo>
                    <a:lnTo>
                      <a:pt x="120" y="289"/>
                    </a:lnTo>
                    <a:lnTo>
                      <a:pt x="105" y="220"/>
                    </a:lnTo>
                    <a:lnTo>
                      <a:pt x="96" y="147"/>
                    </a:lnTo>
                    <a:lnTo>
                      <a:pt x="0" y="147"/>
                    </a:lnTo>
                    <a:lnTo>
                      <a:pt x="299" y="0"/>
                    </a:lnTo>
                    <a:lnTo>
                      <a:pt x="575" y="163"/>
                    </a:lnTo>
                    <a:lnTo>
                      <a:pt x="486" y="160"/>
                    </a:lnTo>
                    <a:lnTo>
                      <a:pt x="496" y="202"/>
                    </a:lnTo>
                    <a:lnTo>
                      <a:pt x="510" y="242"/>
                    </a:lnTo>
                    <a:lnTo>
                      <a:pt x="528" y="278"/>
                    </a:lnTo>
                    <a:lnTo>
                      <a:pt x="549" y="311"/>
                    </a:lnTo>
                    <a:lnTo>
                      <a:pt x="572" y="342"/>
                    </a:lnTo>
                    <a:lnTo>
                      <a:pt x="599" y="369"/>
                    </a:lnTo>
                    <a:lnTo>
                      <a:pt x="629" y="394"/>
                    </a:lnTo>
                    <a:lnTo>
                      <a:pt x="660" y="416"/>
                    </a:lnTo>
                    <a:lnTo>
                      <a:pt x="694" y="434"/>
                    </a:lnTo>
                    <a:lnTo>
                      <a:pt x="729" y="450"/>
                    </a:lnTo>
                    <a:lnTo>
                      <a:pt x="766" y="462"/>
                    </a:lnTo>
                    <a:lnTo>
                      <a:pt x="804" y="473"/>
                    </a:lnTo>
                    <a:lnTo>
                      <a:pt x="843" y="480"/>
                    </a:lnTo>
                    <a:lnTo>
                      <a:pt x="882" y="485"/>
                    </a:lnTo>
                    <a:lnTo>
                      <a:pt x="922" y="487"/>
                    </a:lnTo>
                    <a:lnTo>
                      <a:pt x="962" y="486"/>
                    </a:lnTo>
                    <a:lnTo>
                      <a:pt x="1042" y="477"/>
                    </a:lnTo>
                    <a:lnTo>
                      <a:pt x="1081" y="468"/>
                    </a:lnTo>
                    <a:lnTo>
                      <a:pt x="1119" y="457"/>
                    </a:lnTo>
                    <a:lnTo>
                      <a:pt x="1155" y="442"/>
                    </a:lnTo>
                    <a:lnTo>
                      <a:pt x="1191" y="425"/>
                    </a:lnTo>
                    <a:lnTo>
                      <a:pt x="1224" y="406"/>
                    </a:lnTo>
                    <a:lnTo>
                      <a:pt x="1256" y="384"/>
                    </a:lnTo>
                    <a:lnTo>
                      <a:pt x="1285" y="361"/>
                    </a:lnTo>
                    <a:lnTo>
                      <a:pt x="1312" y="334"/>
                    </a:lnTo>
                    <a:lnTo>
                      <a:pt x="1336" y="304"/>
                    </a:lnTo>
                    <a:lnTo>
                      <a:pt x="1357" y="273"/>
                    </a:lnTo>
                    <a:lnTo>
                      <a:pt x="1373" y="239"/>
                    </a:lnTo>
                    <a:lnTo>
                      <a:pt x="1388" y="203"/>
                    </a:lnTo>
                    <a:lnTo>
                      <a:pt x="1397" y="164"/>
                    </a:lnTo>
                    <a:lnTo>
                      <a:pt x="1403" y="123"/>
                    </a:lnTo>
                  </a:path>
                </a:pathLst>
              </a:custGeom>
              <a:solidFill>
                <a:srgbClr val="A055F5"/>
              </a:solidFill>
              <a:ln w="6350" cap="flat" cmpd="sng">
                <a:no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 name="Text Box 8">
                <a:extLst>
                  <a:ext uri="{FF2B5EF4-FFF2-40B4-BE49-F238E27FC236}">
                    <a16:creationId xmlns:a16="http://schemas.microsoft.com/office/drawing/2014/main" id="{0FCEE2ED-D7FA-4A9C-89CD-D21BAE0A88B9}"/>
                  </a:ext>
                </a:extLst>
              </p:cNvPr>
              <p:cNvSpPr txBox="1">
                <a:spLocks noChangeArrowheads="1"/>
              </p:cNvSpPr>
              <p:nvPr/>
            </p:nvSpPr>
            <p:spPr bwMode="auto">
              <a:xfrm>
                <a:off x="1791" y="2740"/>
                <a:ext cx="352" cy="24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Text</a:t>
                </a:r>
              </a:p>
            </p:txBody>
          </p:sp>
        </p:grpSp>
        <p:grpSp>
          <p:nvGrpSpPr>
            <p:cNvPr id="9" name="Group 14">
              <a:extLst>
                <a:ext uri="{FF2B5EF4-FFF2-40B4-BE49-F238E27FC236}">
                  <a16:creationId xmlns:a16="http://schemas.microsoft.com/office/drawing/2014/main" id="{7DD7C130-A2A4-437E-9D90-B1D8E192DB7E}"/>
                </a:ext>
              </a:extLst>
            </p:cNvPr>
            <p:cNvGrpSpPr>
              <a:grpSpLocks/>
            </p:cNvGrpSpPr>
            <p:nvPr/>
          </p:nvGrpSpPr>
          <p:grpSpPr bwMode="auto">
            <a:xfrm>
              <a:off x="3314700" y="2649539"/>
              <a:ext cx="3452813" cy="1609725"/>
              <a:chOff x="2088" y="1669"/>
              <a:chExt cx="2175" cy="1014"/>
            </a:xfrm>
            <a:solidFill>
              <a:srgbClr val="DCAFFF"/>
            </a:solidFill>
          </p:grpSpPr>
          <p:sp>
            <p:nvSpPr>
              <p:cNvPr id="10" name="Freeform 7">
                <a:extLst>
                  <a:ext uri="{FF2B5EF4-FFF2-40B4-BE49-F238E27FC236}">
                    <a16:creationId xmlns:a16="http://schemas.microsoft.com/office/drawing/2014/main" id="{40ACC854-56A4-4146-84DA-9D4D4E4F3B56}"/>
                  </a:ext>
                </a:extLst>
              </p:cNvPr>
              <p:cNvSpPr>
                <a:spLocks/>
              </p:cNvSpPr>
              <p:nvPr/>
            </p:nvSpPr>
            <p:spPr bwMode="auto">
              <a:xfrm>
                <a:off x="2088" y="1669"/>
                <a:ext cx="2175" cy="1014"/>
              </a:xfrm>
              <a:custGeom>
                <a:avLst/>
                <a:gdLst/>
                <a:ahLst/>
                <a:cxnLst>
                  <a:cxn ang="0">
                    <a:pos x="3" y="585"/>
                  </a:cxn>
                  <a:cxn ang="0">
                    <a:pos x="12" y="513"/>
                  </a:cxn>
                  <a:cxn ang="0">
                    <a:pos x="29" y="446"/>
                  </a:cxn>
                  <a:cxn ang="0">
                    <a:pos x="51" y="383"/>
                  </a:cxn>
                  <a:cxn ang="0">
                    <a:pos x="94" y="299"/>
                  </a:cxn>
                  <a:cxn ang="0">
                    <a:pos x="167" y="202"/>
                  </a:cxn>
                  <a:cxn ang="0">
                    <a:pos x="232" y="142"/>
                  </a:cxn>
                  <a:cxn ang="0">
                    <a:pos x="306" y="92"/>
                  </a:cxn>
                  <a:cxn ang="0">
                    <a:pos x="412" y="42"/>
                  </a:cxn>
                  <a:cxn ang="0">
                    <a:pos x="467" y="25"/>
                  </a:cxn>
                  <a:cxn ang="0">
                    <a:pos x="525" y="11"/>
                  </a:cxn>
                  <a:cxn ang="0">
                    <a:pos x="583" y="4"/>
                  </a:cxn>
                  <a:cxn ang="0">
                    <a:pos x="642" y="0"/>
                  </a:cxn>
                  <a:cxn ang="0">
                    <a:pos x="760" y="7"/>
                  </a:cxn>
                  <a:cxn ang="0">
                    <a:pos x="874" y="33"/>
                  </a:cxn>
                  <a:cxn ang="0">
                    <a:pos x="956" y="66"/>
                  </a:cxn>
                  <a:cxn ang="0">
                    <a:pos x="1007" y="93"/>
                  </a:cxn>
                  <a:cxn ang="0">
                    <a:pos x="1081" y="145"/>
                  </a:cxn>
                  <a:cxn ang="0">
                    <a:pos x="1125" y="185"/>
                  </a:cxn>
                  <a:cxn ang="0">
                    <a:pos x="1166" y="229"/>
                  </a:cxn>
                  <a:cxn ang="0">
                    <a:pos x="1234" y="333"/>
                  </a:cxn>
                  <a:cxn ang="0">
                    <a:pos x="1282" y="457"/>
                  </a:cxn>
                  <a:cxn ang="0">
                    <a:pos x="1307" y="599"/>
                  </a:cxn>
                  <a:cxn ang="0">
                    <a:pos x="1104" y="746"/>
                  </a:cxn>
                  <a:cxn ang="0">
                    <a:pos x="917" y="585"/>
                  </a:cxn>
                  <a:cxn ang="0">
                    <a:pos x="894" y="503"/>
                  </a:cxn>
                  <a:cxn ang="0">
                    <a:pos x="854" y="434"/>
                  </a:cxn>
                  <a:cxn ang="0">
                    <a:pos x="804" y="376"/>
                  </a:cxn>
                  <a:cxn ang="0">
                    <a:pos x="744" y="330"/>
                  </a:cxn>
                  <a:cxn ang="0">
                    <a:pos x="675" y="295"/>
                  </a:cxn>
                  <a:cxn ang="0">
                    <a:pos x="599" y="272"/>
                  </a:cxn>
                  <a:cxn ang="0">
                    <a:pos x="521" y="261"/>
                  </a:cxn>
                  <a:cxn ang="0">
                    <a:pos x="441" y="260"/>
                  </a:cxn>
                  <a:cxn ang="0">
                    <a:pos x="360" y="269"/>
                  </a:cxn>
                  <a:cxn ang="0">
                    <a:pos x="284" y="289"/>
                  </a:cxn>
                  <a:cxn ang="0">
                    <a:pos x="212" y="320"/>
                  </a:cxn>
                  <a:cxn ang="0">
                    <a:pos x="147" y="361"/>
                  </a:cxn>
                  <a:cxn ang="0">
                    <a:pos x="92" y="412"/>
                  </a:cxn>
                  <a:cxn ang="0">
                    <a:pos x="47" y="473"/>
                  </a:cxn>
                  <a:cxn ang="0">
                    <a:pos x="16" y="543"/>
                  </a:cxn>
                  <a:cxn ang="0">
                    <a:pos x="0" y="623"/>
                  </a:cxn>
                </a:cxnLst>
                <a:rect l="0" t="0" r="r" b="b"/>
                <a:pathLst>
                  <a:path w="1402" h="747">
                    <a:moveTo>
                      <a:pt x="0" y="623"/>
                    </a:moveTo>
                    <a:lnTo>
                      <a:pt x="3" y="585"/>
                    </a:lnTo>
                    <a:lnTo>
                      <a:pt x="7" y="548"/>
                    </a:lnTo>
                    <a:lnTo>
                      <a:pt x="12" y="513"/>
                    </a:lnTo>
                    <a:lnTo>
                      <a:pt x="19" y="480"/>
                    </a:lnTo>
                    <a:lnTo>
                      <a:pt x="29" y="446"/>
                    </a:lnTo>
                    <a:lnTo>
                      <a:pt x="38" y="414"/>
                    </a:lnTo>
                    <a:lnTo>
                      <a:pt x="51" y="383"/>
                    </a:lnTo>
                    <a:lnTo>
                      <a:pt x="63" y="354"/>
                    </a:lnTo>
                    <a:lnTo>
                      <a:pt x="94" y="299"/>
                    </a:lnTo>
                    <a:lnTo>
                      <a:pt x="128" y="248"/>
                    </a:lnTo>
                    <a:lnTo>
                      <a:pt x="167" y="202"/>
                    </a:lnTo>
                    <a:lnTo>
                      <a:pt x="210" y="161"/>
                    </a:lnTo>
                    <a:lnTo>
                      <a:pt x="232" y="142"/>
                    </a:lnTo>
                    <a:lnTo>
                      <a:pt x="256" y="124"/>
                    </a:lnTo>
                    <a:lnTo>
                      <a:pt x="306" y="92"/>
                    </a:lnTo>
                    <a:lnTo>
                      <a:pt x="357" y="65"/>
                    </a:lnTo>
                    <a:lnTo>
                      <a:pt x="412" y="42"/>
                    </a:lnTo>
                    <a:lnTo>
                      <a:pt x="440" y="32"/>
                    </a:lnTo>
                    <a:lnTo>
                      <a:pt x="467" y="25"/>
                    </a:lnTo>
                    <a:lnTo>
                      <a:pt x="496" y="17"/>
                    </a:lnTo>
                    <a:lnTo>
                      <a:pt x="525" y="11"/>
                    </a:lnTo>
                    <a:lnTo>
                      <a:pt x="554" y="7"/>
                    </a:lnTo>
                    <a:lnTo>
                      <a:pt x="583" y="4"/>
                    </a:lnTo>
                    <a:lnTo>
                      <a:pt x="613" y="1"/>
                    </a:lnTo>
                    <a:lnTo>
                      <a:pt x="642" y="0"/>
                    </a:lnTo>
                    <a:lnTo>
                      <a:pt x="701" y="1"/>
                    </a:lnTo>
                    <a:lnTo>
                      <a:pt x="760" y="7"/>
                    </a:lnTo>
                    <a:lnTo>
                      <a:pt x="818" y="18"/>
                    </a:lnTo>
                    <a:lnTo>
                      <a:pt x="874" y="33"/>
                    </a:lnTo>
                    <a:lnTo>
                      <a:pt x="929" y="54"/>
                    </a:lnTo>
                    <a:lnTo>
                      <a:pt x="956" y="66"/>
                    </a:lnTo>
                    <a:lnTo>
                      <a:pt x="982" y="79"/>
                    </a:lnTo>
                    <a:lnTo>
                      <a:pt x="1007" y="93"/>
                    </a:lnTo>
                    <a:lnTo>
                      <a:pt x="1033" y="109"/>
                    </a:lnTo>
                    <a:lnTo>
                      <a:pt x="1081" y="145"/>
                    </a:lnTo>
                    <a:lnTo>
                      <a:pt x="1103" y="164"/>
                    </a:lnTo>
                    <a:lnTo>
                      <a:pt x="1125" y="185"/>
                    </a:lnTo>
                    <a:lnTo>
                      <a:pt x="1146" y="206"/>
                    </a:lnTo>
                    <a:lnTo>
                      <a:pt x="1166" y="229"/>
                    </a:lnTo>
                    <a:lnTo>
                      <a:pt x="1202" y="278"/>
                    </a:lnTo>
                    <a:lnTo>
                      <a:pt x="1234" y="333"/>
                    </a:lnTo>
                    <a:lnTo>
                      <a:pt x="1261" y="392"/>
                    </a:lnTo>
                    <a:lnTo>
                      <a:pt x="1282" y="457"/>
                    </a:lnTo>
                    <a:lnTo>
                      <a:pt x="1298" y="525"/>
                    </a:lnTo>
                    <a:lnTo>
                      <a:pt x="1307" y="599"/>
                    </a:lnTo>
                    <a:lnTo>
                      <a:pt x="1401" y="599"/>
                    </a:lnTo>
                    <a:lnTo>
                      <a:pt x="1104" y="746"/>
                    </a:lnTo>
                    <a:lnTo>
                      <a:pt x="828" y="583"/>
                    </a:lnTo>
                    <a:lnTo>
                      <a:pt x="917" y="585"/>
                    </a:lnTo>
                    <a:lnTo>
                      <a:pt x="908" y="543"/>
                    </a:lnTo>
                    <a:lnTo>
                      <a:pt x="894" y="503"/>
                    </a:lnTo>
                    <a:lnTo>
                      <a:pt x="875" y="467"/>
                    </a:lnTo>
                    <a:lnTo>
                      <a:pt x="854" y="434"/>
                    </a:lnTo>
                    <a:lnTo>
                      <a:pt x="830" y="403"/>
                    </a:lnTo>
                    <a:lnTo>
                      <a:pt x="804" y="376"/>
                    </a:lnTo>
                    <a:lnTo>
                      <a:pt x="775" y="351"/>
                    </a:lnTo>
                    <a:lnTo>
                      <a:pt x="744" y="330"/>
                    </a:lnTo>
                    <a:lnTo>
                      <a:pt x="710" y="311"/>
                    </a:lnTo>
                    <a:lnTo>
                      <a:pt x="675" y="295"/>
                    </a:lnTo>
                    <a:lnTo>
                      <a:pt x="637" y="283"/>
                    </a:lnTo>
                    <a:lnTo>
                      <a:pt x="599" y="272"/>
                    </a:lnTo>
                    <a:lnTo>
                      <a:pt x="561" y="265"/>
                    </a:lnTo>
                    <a:lnTo>
                      <a:pt x="521" y="261"/>
                    </a:lnTo>
                    <a:lnTo>
                      <a:pt x="481" y="259"/>
                    </a:lnTo>
                    <a:lnTo>
                      <a:pt x="441" y="260"/>
                    </a:lnTo>
                    <a:lnTo>
                      <a:pt x="400" y="263"/>
                    </a:lnTo>
                    <a:lnTo>
                      <a:pt x="360" y="269"/>
                    </a:lnTo>
                    <a:lnTo>
                      <a:pt x="322" y="278"/>
                    </a:lnTo>
                    <a:lnTo>
                      <a:pt x="284" y="289"/>
                    </a:lnTo>
                    <a:lnTo>
                      <a:pt x="248" y="304"/>
                    </a:lnTo>
                    <a:lnTo>
                      <a:pt x="212" y="320"/>
                    </a:lnTo>
                    <a:lnTo>
                      <a:pt x="179" y="339"/>
                    </a:lnTo>
                    <a:lnTo>
                      <a:pt x="147" y="361"/>
                    </a:lnTo>
                    <a:lnTo>
                      <a:pt x="118" y="385"/>
                    </a:lnTo>
                    <a:lnTo>
                      <a:pt x="92" y="412"/>
                    </a:lnTo>
                    <a:lnTo>
                      <a:pt x="68" y="441"/>
                    </a:lnTo>
                    <a:lnTo>
                      <a:pt x="47" y="473"/>
                    </a:lnTo>
                    <a:lnTo>
                      <a:pt x="30" y="506"/>
                    </a:lnTo>
                    <a:lnTo>
                      <a:pt x="16" y="543"/>
                    </a:lnTo>
                    <a:lnTo>
                      <a:pt x="6" y="581"/>
                    </a:lnTo>
                    <a:lnTo>
                      <a:pt x="0" y="623"/>
                    </a:lnTo>
                  </a:path>
                </a:pathLst>
              </a:custGeom>
              <a:solidFill>
                <a:srgbClr val="A100FF"/>
              </a:solidFill>
              <a:ln w="6350" cap="flat" cmpd="sng">
                <a:no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 name="Text Box 9">
                <a:extLst>
                  <a:ext uri="{FF2B5EF4-FFF2-40B4-BE49-F238E27FC236}">
                    <a16:creationId xmlns:a16="http://schemas.microsoft.com/office/drawing/2014/main" id="{F80A241D-6D86-4149-862B-DA68EEC504EF}"/>
                  </a:ext>
                </a:extLst>
              </p:cNvPr>
              <p:cNvSpPr txBox="1">
                <a:spLocks noChangeArrowheads="1"/>
              </p:cNvSpPr>
              <p:nvPr/>
            </p:nvSpPr>
            <p:spPr bwMode="auto">
              <a:xfrm>
                <a:off x="3590" y="2295"/>
                <a:ext cx="353" cy="24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Text</a:t>
                </a:r>
                <a:endParaRPr kumimoji="0" lang="en-US" sz="1600" b="1" i="0" u="none" strike="noStrike" kern="0" cap="none" spc="0" normalizeH="0" baseline="0" noProof="0" dirty="0">
                  <a:ln>
                    <a:noFill/>
                  </a:ln>
                  <a:solidFill>
                    <a:srgbClr val="FFFFFF"/>
                  </a:solidFill>
                  <a:effectLst/>
                  <a:uLnTx/>
                  <a:uFillTx/>
                  <a:latin typeface="Arial"/>
                  <a:ea typeface="+mn-ea"/>
                  <a:cs typeface="+mn-cs"/>
                </a:endParaRPr>
              </a:p>
            </p:txBody>
          </p:sp>
        </p:grpSp>
      </p:grpSp>
      <p:sp>
        <p:nvSpPr>
          <p:cNvPr id="15" name="Footer Placeholder 14">
            <a:extLst>
              <a:ext uri="{FF2B5EF4-FFF2-40B4-BE49-F238E27FC236}">
                <a16:creationId xmlns:a16="http://schemas.microsoft.com/office/drawing/2014/main" id="{88A425C3-A332-4136-89B4-94530EEABDF5}"/>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6" name="Slide Number Placeholder 15">
            <a:extLst>
              <a:ext uri="{FF2B5EF4-FFF2-40B4-BE49-F238E27FC236}">
                <a16:creationId xmlns:a16="http://schemas.microsoft.com/office/drawing/2014/main" id="{399B70BB-CD32-48E2-954F-2405E033552D}"/>
              </a:ext>
            </a:extLst>
          </p:cNvPr>
          <p:cNvSpPr>
            <a:spLocks noGrp="1"/>
          </p:cNvSpPr>
          <p:nvPr>
            <p:ph type="sldNum" sz="quarter" idx="10"/>
          </p:nvPr>
        </p:nvSpPr>
        <p:spPr/>
        <p:txBody>
          <a:bodyPr/>
          <a:lstStyle/>
          <a:p>
            <a:fld id="{1F90F471-3972-4120-B8B3-0237DE626C35}" type="slidenum">
              <a:rPr lang="en-US" smtClean="0"/>
              <a:pPr/>
              <a:t>255</a:t>
            </a:fld>
            <a:endParaRPr lang="en-US" dirty="0"/>
          </a:p>
        </p:txBody>
      </p:sp>
    </p:spTree>
    <p:extLst>
      <p:ext uri="{BB962C8B-B14F-4D97-AF65-F5344CB8AC3E}">
        <p14:creationId xmlns:p14="http://schemas.microsoft.com/office/powerpoint/2010/main" val="1693641433"/>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Circular Flow 10</a:t>
            </a:r>
            <a:br>
              <a:rPr lang="de-DE" dirty="0"/>
            </a:br>
            <a:endParaRPr lang="en-GB" dirty="0"/>
          </a:p>
        </p:txBody>
      </p:sp>
      <p:grpSp>
        <p:nvGrpSpPr>
          <p:cNvPr id="5" name="Group 3" descr="Add text and order accordingly">
            <a:extLst>
              <a:ext uri="{FF2B5EF4-FFF2-40B4-BE49-F238E27FC236}">
                <a16:creationId xmlns:a16="http://schemas.microsoft.com/office/drawing/2014/main" id="{0CE52429-B089-452E-BDF4-B6A711F07E07}"/>
              </a:ext>
            </a:extLst>
          </p:cNvPr>
          <p:cNvGrpSpPr>
            <a:grpSpLocks/>
          </p:cNvGrpSpPr>
          <p:nvPr/>
        </p:nvGrpSpPr>
        <p:grpSpPr bwMode="auto">
          <a:xfrm>
            <a:off x="2495600" y="1628776"/>
            <a:ext cx="7277188" cy="4212493"/>
            <a:chOff x="1152" y="1458"/>
            <a:chExt cx="3936" cy="1909"/>
          </a:xfrm>
        </p:grpSpPr>
        <p:sp>
          <p:nvSpPr>
            <p:cNvPr id="6" name="Freeform 4">
              <a:extLst>
                <a:ext uri="{FF2B5EF4-FFF2-40B4-BE49-F238E27FC236}">
                  <a16:creationId xmlns:a16="http://schemas.microsoft.com/office/drawing/2014/main" id="{B4D6AB69-7E6E-40B5-BD30-76A4290E6C58}"/>
                </a:ext>
              </a:extLst>
            </p:cNvPr>
            <p:cNvSpPr>
              <a:spLocks/>
            </p:cNvSpPr>
            <p:nvPr/>
          </p:nvSpPr>
          <p:spPr bwMode="auto">
            <a:xfrm>
              <a:off x="1976" y="1458"/>
              <a:ext cx="3112" cy="1909"/>
            </a:xfrm>
            <a:custGeom>
              <a:avLst/>
              <a:gdLst/>
              <a:ahLst/>
              <a:cxnLst>
                <a:cxn ang="0">
                  <a:pos x="1892" y="1296"/>
                </a:cxn>
                <a:cxn ang="0">
                  <a:pos x="1892" y="705"/>
                </a:cxn>
                <a:cxn ang="0">
                  <a:pos x="1889" y="647"/>
                </a:cxn>
                <a:cxn ang="0">
                  <a:pos x="1881" y="589"/>
                </a:cxn>
                <a:cxn ang="0">
                  <a:pos x="1867" y="522"/>
                </a:cxn>
                <a:cxn ang="0">
                  <a:pos x="1843" y="453"/>
                </a:cxn>
                <a:cxn ang="0">
                  <a:pos x="1824" y="400"/>
                </a:cxn>
                <a:cxn ang="0">
                  <a:pos x="1790" y="331"/>
                </a:cxn>
                <a:cxn ang="0">
                  <a:pos x="1764" y="289"/>
                </a:cxn>
                <a:cxn ang="0">
                  <a:pos x="1727" y="240"/>
                </a:cxn>
                <a:cxn ang="0">
                  <a:pos x="1694" y="204"/>
                </a:cxn>
                <a:cxn ang="0">
                  <a:pos x="1656" y="169"/>
                </a:cxn>
                <a:cxn ang="0">
                  <a:pos x="1627" y="147"/>
                </a:cxn>
                <a:cxn ang="0">
                  <a:pos x="1590" y="119"/>
                </a:cxn>
                <a:cxn ang="0">
                  <a:pos x="1558" y="99"/>
                </a:cxn>
                <a:cxn ang="0">
                  <a:pos x="1525" y="81"/>
                </a:cxn>
                <a:cxn ang="0">
                  <a:pos x="1496" y="67"/>
                </a:cxn>
                <a:cxn ang="0">
                  <a:pos x="1457" y="52"/>
                </a:cxn>
                <a:cxn ang="0">
                  <a:pos x="1425" y="39"/>
                </a:cxn>
                <a:cxn ang="0">
                  <a:pos x="1384" y="28"/>
                </a:cxn>
                <a:cxn ang="0">
                  <a:pos x="1346" y="18"/>
                </a:cxn>
                <a:cxn ang="0">
                  <a:pos x="1306" y="13"/>
                </a:cxn>
                <a:cxn ang="0">
                  <a:pos x="1266" y="7"/>
                </a:cxn>
                <a:cxn ang="0">
                  <a:pos x="1216" y="4"/>
                </a:cxn>
                <a:cxn ang="0">
                  <a:pos x="1177" y="3"/>
                </a:cxn>
                <a:cxn ang="0">
                  <a:pos x="1133" y="1"/>
                </a:cxn>
                <a:cxn ang="0">
                  <a:pos x="1091" y="0"/>
                </a:cxn>
                <a:cxn ang="0">
                  <a:pos x="1046" y="0"/>
                </a:cxn>
                <a:cxn ang="0">
                  <a:pos x="0" y="0"/>
                </a:cxn>
                <a:cxn ang="0">
                  <a:pos x="365" y="353"/>
                </a:cxn>
                <a:cxn ang="0">
                  <a:pos x="1049" y="354"/>
                </a:cxn>
                <a:cxn ang="0">
                  <a:pos x="1091" y="356"/>
                </a:cxn>
                <a:cxn ang="0">
                  <a:pos x="1135" y="360"/>
                </a:cxn>
                <a:cxn ang="0">
                  <a:pos x="1179" y="368"/>
                </a:cxn>
                <a:cxn ang="0">
                  <a:pos x="1221" y="380"/>
                </a:cxn>
                <a:cxn ang="0">
                  <a:pos x="1261" y="396"/>
                </a:cxn>
                <a:cxn ang="0">
                  <a:pos x="1300" y="417"/>
                </a:cxn>
                <a:cxn ang="0">
                  <a:pos x="1334" y="442"/>
                </a:cxn>
                <a:cxn ang="0">
                  <a:pos x="1367" y="470"/>
                </a:cxn>
                <a:cxn ang="0">
                  <a:pos x="1394" y="501"/>
                </a:cxn>
                <a:cxn ang="0">
                  <a:pos x="1418" y="535"/>
                </a:cxn>
                <a:cxn ang="0">
                  <a:pos x="1437" y="570"/>
                </a:cxn>
                <a:cxn ang="0">
                  <a:pos x="1450" y="608"/>
                </a:cxn>
                <a:cxn ang="0">
                  <a:pos x="1459" y="647"/>
                </a:cxn>
                <a:cxn ang="0">
                  <a:pos x="1464" y="687"/>
                </a:cxn>
                <a:cxn ang="0">
                  <a:pos x="1464" y="729"/>
                </a:cxn>
                <a:cxn ang="0">
                  <a:pos x="1464" y="1298"/>
                </a:cxn>
                <a:cxn ang="0">
                  <a:pos x="1275" y="1298"/>
                </a:cxn>
                <a:cxn ang="0">
                  <a:pos x="1671" y="1667"/>
                </a:cxn>
                <a:cxn ang="0">
                  <a:pos x="2091" y="1296"/>
                </a:cxn>
                <a:cxn ang="0">
                  <a:pos x="1892" y="1296"/>
                </a:cxn>
              </a:cxnLst>
              <a:rect l="0" t="0" r="r" b="b"/>
              <a:pathLst>
                <a:path w="2092" h="1668">
                  <a:moveTo>
                    <a:pt x="1892" y="1296"/>
                  </a:moveTo>
                  <a:lnTo>
                    <a:pt x="1892" y="705"/>
                  </a:lnTo>
                  <a:lnTo>
                    <a:pt x="1889" y="647"/>
                  </a:lnTo>
                  <a:lnTo>
                    <a:pt x="1881" y="589"/>
                  </a:lnTo>
                  <a:lnTo>
                    <a:pt x="1867" y="522"/>
                  </a:lnTo>
                  <a:lnTo>
                    <a:pt x="1843" y="453"/>
                  </a:lnTo>
                  <a:lnTo>
                    <a:pt x="1824" y="400"/>
                  </a:lnTo>
                  <a:lnTo>
                    <a:pt x="1790" y="331"/>
                  </a:lnTo>
                  <a:lnTo>
                    <a:pt x="1764" y="289"/>
                  </a:lnTo>
                  <a:lnTo>
                    <a:pt x="1727" y="240"/>
                  </a:lnTo>
                  <a:lnTo>
                    <a:pt x="1694" y="204"/>
                  </a:lnTo>
                  <a:lnTo>
                    <a:pt x="1656" y="169"/>
                  </a:lnTo>
                  <a:lnTo>
                    <a:pt x="1627" y="147"/>
                  </a:lnTo>
                  <a:lnTo>
                    <a:pt x="1590" y="119"/>
                  </a:lnTo>
                  <a:lnTo>
                    <a:pt x="1558" y="99"/>
                  </a:lnTo>
                  <a:lnTo>
                    <a:pt x="1525" y="81"/>
                  </a:lnTo>
                  <a:lnTo>
                    <a:pt x="1496" y="67"/>
                  </a:lnTo>
                  <a:lnTo>
                    <a:pt x="1457" y="52"/>
                  </a:lnTo>
                  <a:lnTo>
                    <a:pt x="1425" y="39"/>
                  </a:lnTo>
                  <a:lnTo>
                    <a:pt x="1384" y="28"/>
                  </a:lnTo>
                  <a:lnTo>
                    <a:pt x="1346" y="18"/>
                  </a:lnTo>
                  <a:lnTo>
                    <a:pt x="1306" y="13"/>
                  </a:lnTo>
                  <a:lnTo>
                    <a:pt x="1266" y="7"/>
                  </a:lnTo>
                  <a:lnTo>
                    <a:pt x="1216" y="4"/>
                  </a:lnTo>
                  <a:lnTo>
                    <a:pt x="1177" y="3"/>
                  </a:lnTo>
                  <a:lnTo>
                    <a:pt x="1133" y="1"/>
                  </a:lnTo>
                  <a:lnTo>
                    <a:pt x="1091" y="0"/>
                  </a:lnTo>
                  <a:lnTo>
                    <a:pt x="1046" y="0"/>
                  </a:lnTo>
                  <a:lnTo>
                    <a:pt x="0" y="0"/>
                  </a:lnTo>
                  <a:lnTo>
                    <a:pt x="365" y="353"/>
                  </a:lnTo>
                  <a:lnTo>
                    <a:pt x="1049" y="354"/>
                  </a:lnTo>
                  <a:lnTo>
                    <a:pt x="1091" y="356"/>
                  </a:lnTo>
                  <a:lnTo>
                    <a:pt x="1135" y="360"/>
                  </a:lnTo>
                  <a:lnTo>
                    <a:pt x="1179" y="368"/>
                  </a:lnTo>
                  <a:lnTo>
                    <a:pt x="1221" y="380"/>
                  </a:lnTo>
                  <a:lnTo>
                    <a:pt x="1261" y="396"/>
                  </a:lnTo>
                  <a:lnTo>
                    <a:pt x="1300" y="417"/>
                  </a:lnTo>
                  <a:lnTo>
                    <a:pt x="1334" y="442"/>
                  </a:lnTo>
                  <a:lnTo>
                    <a:pt x="1367" y="470"/>
                  </a:lnTo>
                  <a:lnTo>
                    <a:pt x="1394" y="501"/>
                  </a:lnTo>
                  <a:lnTo>
                    <a:pt x="1418" y="535"/>
                  </a:lnTo>
                  <a:lnTo>
                    <a:pt x="1437" y="570"/>
                  </a:lnTo>
                  <a:lnTo>
                    <a:pt x="1450" y="608"/>
                  </a:lnTo>
                  <a:lnTo>
                    <a:pt x="1459" y="647"/>
                  </a:lnTo>
                  <a:lnTo>
                    <a:pt x="1464" y="687"/>
                  </a:lnTo>
                  <a:lnTo>
                    <a:pt x="1464" y="729"/>
                  </a:lnTo>
                  <a:lnTo>
                    <a:pt x="1464" y="1298"/>
                  </a:lnTo>
                  <a:lnTo>
                    <a:pt x="1275" y="1298"/>
                  </a:lnTo>
                  <a:lnTo>
                    <a:pt x="1671" y="1667"/>
                  </a:lnTo>
                  <a:lnTo>
                    <a:pt x="2091" y="1296"/>
                  </a:lnTo>
                  <a:lnTo>
                    <a:pt x="1892" y="1296"/>
                  </a:lnTo>
                </a:path>
              </a:pathLst>
            </a:custGeom>
            <a:solidFill>
              <a:srgbClr val="A100FF"/>
            </a:solidFill>
            <a:ln w="6350" cap="rnd"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 name="Freeform 5">
              <a:extLst>
                <a:ext uri="{FF2B5EF4-FFF2-40B4-BE49-F238E27FC236}">
                  <a16:creationId xmlns:a16="http://schemas.microsoft.com/office/drawing/2014/main" id="{240A8A0A-37B5-499E-B8D3-A346A6416448}"/>
                </a:ext>
              </a:extLst>
            </p:cNvPr>
            <p:cNvSpPr>
              <a:spLocks/>
            </p:cNvSpPr>
            <p:nvPr/>
          </p:nvSpPr>
          <p:spPr bwMode="auto">
            <a:xfrm>
              <a:off x="1152" y="1458"/>
              <a:ext cx="3083" cy="1904"/>
            </a:xfrm>
            <a:custGeom>
              <a:avLst/>
              <a:gdLst/>
              <a:ahLst/>
              <a:cxnLst>
                <a:cxn ang="0">
                  <a:pos x="179" y="363"/>
                </a:cxn>
                <a:cxn ang="0">
                  <a:pos x="179" y="957"/>
                </a:cxn>
                <a:cxn ang="0">
                  <a:pos x="180" y="1016"/>
                </a:cxn>
                <a:cxn ang="0">
                  <a:pos x="188" y="1072"/>
                </a:cxn>
                <a:cxn ang="0">
                  <a:pos x="200" y="1130"/>
                </a:cxn>
                <a:cxn ang="0">
                  <a:pos x="217" y="1186"/>
                </a:cxn>
                <a:cxn ang="0">
                  <a:pos x="239" y="1241"/>
                </a:cxn>
                <a:cxn ang="0">
                  <a:pos x="265" y="1294"/>
                </a:cxn>
                <a:cxn ang="0">
                  <a:pos x="296" y="1345"/>
                </a:cxn>
                <a:cxn ang="0">
                  <a:pos x="333" y="1392"/>
                </a:cxn>
                <a:cxn ang="0">
                  <a:pos x="372" y="1439"/>
                </a:cxn>
                <a:cxn ang="0">
                  <a:pos x="416" y="1482"/>
                </a:cxn>
                <a:cxn ang="0">
                  <a:pos x="464" y="1521"/>
                </a:cxn>
                <a:cxn ang="0">
                  <a:pos x="509" y="1553"/>
                </a:cxn>
                <a:cxn ang="0">
                  <a:pos x="552" y="1579"/>
                </a:cxn>
                <a:cxn ang="0">
                  <a:pos x="589" y="1597"/>
                </a:cxn>
                <a:cxn ang="0">
                  <a:pos x="618" y="1609"/>
                </a:cxn>
                <a:cxn ang="0">
                  <a:pos x="657" y="1624"/>
                </a:cxn>
                <a:cxn ang="0">
                  <a:pos x="691" y="1632"/>
                </a:cxn>
                <a:cxn ang="0">
                  <a:pos x="730" y="1642"/>
                </a:cxn>
                <a:cxn ang="0">
                  <a:pos x="772" y="1650"/>
                </a:cxn>
                <a:cxn ang="0">
                  <a:pos x="813" y="1655"/>
                </a:cxn>
                <a:cxn ang="0">
                  <a:pos x="852" y="1658"/>
                </a:cxn>
                <a:cxn ang="0">
                  <a:pos x="893" y="1661"/>
                </a:cxn>
                <a:cxn ang="0">
                  <a:pos x="935" y="1660"/>
                </a:cxn>
                <a:cxn ang="0">
                  <a:pos x="980" y="1662"/>
                </a:cxn>
                <a:cxn ang="0">
                  <a:pos x="1023" y="1662"/>
                </a:cxn>
                <a:cxn ang="0">
                  <a:pos x="2071" y="1662"/>
                </a:cxn>
                <a:cxn ang="0">
                  <a:pos x="1704" y="1306"/>
                </a:cxn>
                <a:cxn ang="0">
                  <a:pos x="1008" y="1306"/>
                </a:cxn>
                <a:cxn ang="0">
                  <a:pos x="966" y="1306"/>
                </a:cxn>
                <a:cxn ang="0">
                  <a:pos x="935" y="1302"/>
                </a:cxn>
                <a:cxn ang="0">
                  <a:pos x="891" y="1294"/>
                </a:cxn>
                <a:cxn ang="0">
                  <a:pos x="849" y="1282"/>
                </a:cxn>
                <a:cxn ang="0">
                  <a:pos x="808" y="1265"/>
                </a:cxn>
                <a:cxn ang="0">
                  <a:pos x="770" y="1244"/>
                </a:cxn>
                <a:cxn ang="0">
                  <a:pos x="734" y="1220"/>
                </a:cxn>
                <a:cxn ang="0">
                  <a:pos x="704" y="1192"/>
                </a:cxn>
                <a:cxn ang="0">
                  <a:pos x="674" y="1161"/>
                </a:cxn>
                <a:cxn ang="0">
                  <a:pos x="652" y="1128"/>
                </a:cxn>
                <a:cxn ang="0">
                  <a:pos x="638" y="1105"/>
                </a:cxn>
                <a:cxn ang="0">
                  <a:pos x="626" y="1077"/>
                </a:cxn>
                <a:cxn ang="0">
                  <a:pos x="615" y="1045"/>
                </a:cxn>
                <a:cxn ang="0">
                  <a:pos x="609" y="1014"/>
                </a:cxn>
                <a:cxn ang="0">
                  <a:pos x="605" y="974"/>
                </a:cxn>
                <a:cxn ang="0">
                  <a:pos x="602" y="936"/>
                </a:cxn>
                <a:cxn ang="0">
                  <a:pos x="602" y="363"/>
                </a:cxn>
                <a:cxn ang="0">
                  <a:pos x="793" y="363"/>
                </a:cxn>
                <a:cxn ang="0">
                  <a:pos x="404" y="0"/>
                </a:cxn>
                <a:cxn ang="0">
                  <a:pos x="0" y="363"/>
                </a:cxn>
                <a:cxn ang="0">
                  <a:pos x="179" y="363"/>
                </a:cxn>
              </a:cxnLst>
              <a:rect l="0" t="0" r="r" b="b"/>
              <a:pathLst>
                <a:path w="2072" h="1663">
                  <a:moveTo>
                    <a:pt x="179" y="363"/>
                  </a:moveTo>
                  <a:lnTo>
                    <a:pt x="179" y="957"/>
                  </a:lnTo>
                  <a:lnTo>
                    <a:pt x="180" y="1016"/>
                  </a:lnTo>
                  <a:lnTo>
                    <a:pt x="188" y="1072"/>
                  </a:lnTo>
                  <a:lnTo>
                    <a:pt x="200" y="1130"/>
                  </a:lnTo>
                  <a:lnTo>
                    <a:pt x="217" y="1186"/>
                  </a:lnTo>
                  <a:lnTo>
                    <a:pt x="239" y="1241"/>
                  </a:lnTo>
                  <a:lnTo>
                    <a:pt x="265" y="1294"/>
                  </a:lnTo>
                  <a:lnTo>
                    <a:pt x="296" y="1345"/>
                  </a:lnTo>
                  <a:lnTo>
                    <a:pt x="333" y="1392"/>
                  </a:lnTo>
                  <a:lnTo>
                    <a:pt x="372" y="1439"/>
                  </a:lnTo>
                  <a:lnTo>
                    <a:pt x="416" y="1482"/>
                  </a:lnTo>
                  <a:lnTo>
                    <a:pt x="464" y="1521"/>
                  </a:lnTo>
                  <a:lnTo>
                    <a:pt x="509" y="1553"/>
                  </a:lnTo>
                  <a:lnTo>
                    <a:pt x="552" y="1579"/>
                  </a:lnTo>
                  <a:lnTo>
                    <a:pt x="589" y="1597"/>
                  </a:lnTo>
                  <a:lnTo>
                    <a:pt x="618" y="1609"/>
                  </a:lnTo>
                  <a:lnTo>
                    <a:pt x="657" y="1624"/>
                  </a:lnTo>
                  <a:lnTo>
                    <a:pt x="691" y="1632"/>
                  </a:lnTo>
                  <a:lnTo>
                    <a:pt x="730" y="1642"/>
                  </a:lnTo>
                  <a:lnTo>
                    <a:pt x="772" y="1650"/>
                  </a:lnTo>
                  <a:lnTo>
                    <a:pt x="813" y="1655"/>
                  </a:lnTo>
                  <a:lnTo>
                    <a:pt x="852" y="1658"/>
                  </a:lnTo>
                  <a:lnTo>
                    <a:pt x="893" y="1661"/>
                  </a:lnTo>
                  <a:lnTo>
                    <a:pt x="935" y="1660"/>
                  </a:lnTo>
                  <a:lnTo>
                    <a:pt x="980" y="1662"/>
                  </a:lnTo>
                  <a:lnTo>
                    <a:pt x="1023" y="1662"/>
                  </a:lnTo>
                  <a:lnTo>
                    <a:pt x="2071" y="1662"/>
                  </a:lnTo>
                  <a:lnTo>
                    <a:pt x="1704" y="1306"/>
                  </a:lnTo>
                  <a:lnTo>
                    <a:pt x="1008" y="1306"/>
                  </a:lnTo>
                  <a:lnTo>
                    <a:pt x="966" y="1306"/>
                  </a:lnTo>
                  <a:lnTo>
                    <a:pt x="935" y="1302"/>
                  </a:lnTo>
                  <a:lnTo>
                    <a:pt x="891" y="1294"/>
                  </a:lnTo>
                  <a:lnTo>
                    <a:pt x="849" y="1282"/>
                  </a:lnTo>
                  <a:lnTo>
                    <a:pt x="808" y="1265"/>
                  </a:lnTo>
                  <a:lnTo>
                    <a:pt x="770" y="1244"/>
                  </a:lnTo>
                  <a:lnTo>
                    <a:pt x="734" y="1220"/>
                  </a:lnTo>
                  <a:lnTo>
                    <a:pt x="704" y="1192"/>
                  </a:lnTo>
                  <a:lnTo>
                    <a:pt x="674" y="1161"/>
                  </a:lnTo>
                  <a:lnTo>
                    <a:pt x="652" y="1128"/>
                  </a:lnTo>
                  <a:lnTo>
                    <a:pt x="638" y="1105"/>
                  </a:lnTo>
                  <a:lnTo>
                    <a:pt x="626" y="1077"/>
                  </a:lnTo>
                  <a:lnTo>
                    <a:pt x="615" y="1045"/>
                  </a:lnTo>
                  <a:lnTo>
                    <a:pt x="609" y="1014"/>
                  </a:lnTo>
                  <a:lnTo>
                    <a:pt x="605" y="974"/>
                  </a:lnTo>
                  <a:lnTo>
                    <a:pt x="602" y="936"/>
                  </a:lnTo>
                  <a:lnTo>
                    <a:pt x="602" y="363"/>
                  </a:lnTo>
                  <a:lnTo>
                    <a:pt x="793" y="363"/>
                  </a:lnTo>
                  <a:lnTo>
                    <a:pt x="404" y="0"/>
                  </a:lnTo>
                  <a:lnTo>
                    <a:pt x="0" y="363"/>
                  </a:lnTo>
                  <a:lnTo>
                    <a:pt x="179" y="363"/>
                  </a:lnTo>
                </a:path>
              </a:pathLst>
            </a:custGeom>
            <a:solidFill>
              <a:srgbClr val="A055F5"/>
            </a:solidFill>
            <a:ln w="6350" cap="rnd"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 name="Text Box 6">
              <a:extLst>
                <a:ext uri="{FF2B5EF4-FFF2-40B4-BE49-F238E27FC236}">
                  <a16:creationId xmlns:a16="http://schemas.microsoft.com/office/drawing/2014/main" id="{679F7D44-5F1A-4256-834E-3A9B401B3651}"/>
                </a:ext>
              </a:extLst>
            </p:cNvPr>
            <p:cNvSpPr txBox="1">
              <a:spLocks noChangeArrowheads="1"/>
            </p:cNvSpPr>
            <p:nvPr/>
          </p:nvSpPr>
          <p:spPr bwMode="auto">
            <a:xfrm>
              <a:off x="2564" y="3079"/>
              <a:ext cx="382" cy="16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a:ea typeface="+mn-ea"/>
                  <a:cs typeface="+mn-cs"/>
                </a:rPr>
                <a:t>Text</a:t>
              </a:r>
            </a:p>
          </p:txBody>
        </p:sp>
        <p:sp>
          <p:nvSpPr>
            <p:cNvPr id="9" name="Text Box 7">
              <a:extLst>
                <a:ext uri="{FF2B5EF4-FFF2-40B4-BE49-F238E27FC236}">
                  <a16:creationId xmlns:a16="http://schemas.microsoft.com/office/drawing/2014/main" id="{2EC739CE-AF2D-4D23-A85C-69A1DCACAA12}"/>
                </a:ext>
              </a:extLst>
            </p:cNvPr>
            <p:cNvSpPr txBox="1">
              <a:spLocks noChangeArrowheads="1"/>
            </p:cNvSpPr>
            <p:nvPr/>
          </p:nvSpPr>
          <p:spPr bwMode="auto">
            <a:xfrm>
              <a:off x="3402" y="1579"/>
              <a:ext cx="342" cy="16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a:ea typeface="+mn-ea"/>
                  <a:cs typeface="+mn-cs"/>
                </a:rPr>
                <a:t>Text</a:t>
              </a:r>
            </a:p>
          </p:txBody>
        </p:sp>
      </p:grpSp>
      <p:sp>
        <p:nvSpPr>
          <p:cNvPr id="11" name="Footer Placeholder 10">
            <a:extLst>
              <a:ext uri="{FF2B5EF4-FFF2-40B4-BE49-F238E27FC236}">
                <a16:creationId xmlns:a16="http://schemas.microsoft.com/office/drawing/2014/main" id="{328397FB-F07D-451E-982B-F0B371FCC574}"/>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2" name="Slide Number Placeholder 11">
            <a:extLst>
              <a:ext uri="{FF2B5EF4-FFF2-40B4-BE49-F238E27FC236}">
                <a16:creationId xmlns:a16="http://schemas.microsoft.com/office/drawing/2014/main" id="{48A86C05-6040-4D7C-893F-7377464912EF}"/>
              </a:ext>
            </a:extLst>
          </p:cNvPr>
          <p:cNvSpPr>
            <a:spLocks noGrp="1"/>
          </p:cNvSpPr>
          <p:nvPr>
            <p:ph type="sldNum" sz="quarter" idx="10"/>
          </p:nvPr>
        </p:nvSpPr>
        <p:spPr/>
        <p:txBody>
          <a:bodyPr/>
          <a:lstStyle/>
          <a:p>
            <a:fld id="{1F90F471-3972-4120-B8B3-0237DE626C35}" type="slidenum">
              <a:rPr lang="en-US" smtClean="0"/>
              <a:pPr/>
              <a:t>256</a:t>
            </a:fld>
            <a:endParaRPr lang="en-US" dirty="0"/>
          </a:p>
        </p:txBody>
      </p:sp>
    </p:spTree>
    <p:extLst>
      <p:ext uri="{BB962C8B-B14F-4D97-AF65-F5344CB8AC3E}">
        <p14:creationId xmlns:p14="http://schemas.microsoft.com/office/powerpoint/2010/main" val="4067509907"/>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Circular Flow 11</a:t>
            </a:r>
          </a:p>
        </p:txBody>
      </p:sp>
      <p:grpSp>
        <p:nvGrpSpPr>
          <p:cNvPr id="5" name="Group 15" descr="Add text and order accordingly">
            <a:extLst>
              <a:ext uri="{FF2B5EF4-FFF2-40B4-BE49-F238E27FC236}">
                <a16:creationId xmlns:a16="http://schemas.microsoft.com/office/drawing/2014/main" id="{C841F2CE-C836-4349-B43F-EB1EAEF424A5}"/>
              </a:ext>
            </a:extLst>
          </p:cNvPr>
          <p:cNvGrpSpPr>
            <a:grpSpLocks/>
          </p:cNvGrpSpPr>
          <p:nvPr/>
        </p:nvGrpSpPr>
        <p:grpSpPr bwMode="auto">
          <a:xfrm>
            <a:off x="3849689" y="1628801"/>
            <a:ext cx="4478337" cy="4556125"/>
            <a:chOff x="1465" y="1188"/>
            <a:chExt cx="2821" cy="2870"/>
          </a:xfrm>
        </p:grpSpPr>
        <p:sp>
          <p:nvSpPr>
            <p:cNvPr id="6" name="Freeform 4">
              <a:extLst>
                <a:ext uri="{FF2B5EF4-FFF2-40B4-BE49-F238E27FC236}">
                  <a16:creationId xmlns:a16="http://schemas.microsoft.com/office/drawing/2014/main" id="{42B1EB57-0C1C-4A8D-8A82-219F2E11D073}"/>
                </a:ext>
              </a:extLst>
            </p:cNvPr>
            <p:cNvSpPr>
              <a:spLocks/>
            </p:cNvSpPr>
            <p:nvPr/>
          </p:nvSpPr>
          <p:spPr bwMode="auto">
            <a:xfrm>
              <a:off x="2643" y="2364"/>
              <a:ext cx="1248" cy="1694"/>
            </a:xfrm>
            <a:custGeom>
              <a:avLst/>
              <a:gdLst/>
              <a:ahLst/>
              <a:cxnLst>
                <a:cxn ang="0">
                  <a:pos x="281" y="0"/>
                </a:cxn>
                <a:cxn ang="0">
                  <a:pos x="292" y="5"/>
                </a:cxn>
                <a:cxn ang="0">
                  <a:pos x="303" y="12"/>
                </a:cxn>
                <a:cxn ang="0">
                  <a:pos x="314" y="22"/>
                </a:cxn>
                <a:cxn ang="0">
                  <a:pos x="325" y="33"/>
                </a:cxn>
                <a:cxn ang="0">
                  <a:pos x="334" y="46"/>
                </a:cxn>
                <a:cxn ang="0">
                  <a:pos x="342" y="59"/>
                </a:cxn>
                <a:cxn ang="0">
                  <a:pos x="350" y="74"/>
                </a:cxn>
                <a:cxn ang="0">
                  <a:pos x="356" y="89"/>
                </a:cxn>
                <a:cxn ang="0">
                  <a:pos x="361" y="104"/>
                </a:cxn>
                <a:cxn ang="0">
                  <a:pos x="364" y="119"/>
                </a:cxn>
                <a:cxn ang="0">
                  <a:pos x="365" y="133"/>
                </a:cxn>
                <a:cxn ang="0">
                  <a:pos x="365" y="146"/>
                </a:cxn>
                <a:cxn ang="0">
                  <a:pos x="194" y="742"/>
                </a:cxn>
                <a:cxn ang="0">
                  <a:pos x="193" y="752"/>
                </a:cxn>
                <a:cxn ang="0">
                  <a:pos x="192" y="760"/>
                </a:cxn>
                <a:cxn ang="0">
                  <a:pos x="0" y="714"/>
                </a:cxn>
                <a:cxn ang="0">
                  <a:pos x="373" y="1010"/>
                </a:cxn>
                <a:cxn ang="0">
                  <a:pos x="861" y="920"/>
                </a:cxn>
                <a:cxn ang="0">
                  <a:pos x="664" y="873"/>
                </a:cxn>
                <a:cxn ang="0">
                  <a:pos x="669" y="866"/>
                </a:cxn>
                <a:cxn ang="0">
                  <a:pos x="672" y="857"/>
                </a:cxn>
                <a:cxn ang="0">
                  <a:pos x="882" y="158"/>
                </a:cxn>
                <a:cxn ang="0">
                  <a:pos x="884" y="148"/>
                </a:cxn>
                <a:cxn ang="0">
                  <a:pos x="884" y="137"/>
                </a:cxn>
                <a:cxn ang="0">
                  <a:pos x="881" y="126"/>
                </a:cxn>
                <a:cxn ang="0">
                  <a:pos x="876" y="116"/>
                </a:cxn>
                <a:cxn ang="0">
                  <a:pos x="868" y="107"/>
                </a:cxn>
                <a:cxn ang="0">
                  <a:pos x="860" y="100"/>
                </a:cxn>
                <a:cxn ang="0">
                  <a:pos x="849" y="94"/>
                </a:cxn>
                <a:cxn ang="0">
                  <a:pos x="838" y="90"/>
                </a:cxn>
                <a:cxn ang="0">
                  <a:pos x="788" y="75"/>
                </a:cxn>
                <a:cxn ang="0">
                  <a:pos x="739" y="63"/>
                </a:cxn>
                <a:cxn ang="0">
                  <a:pos x="687" y="52"/>
                </a:cxn>
                <a:cxn ang="0">
                  <a:pos x="636" y="44"/>
                </a:cxn>
                <a:cxn ang="0">
                  <a:pos x="585" y="37"/>
                </a:cxn>
                <a:cxn ang="0">
                  <a:pos x="281" y="0"/>
                </a:cxn>
              </a:cxnLst>
              <a:rect l="0" t="0" r="r" b="b"/>
              <a:pathLst>
                <a:path w="885" h="1011">
                  <a:moveTo>
                    <a:pt x="281" y="0"/>
                  </a:moveTo>
                  <a:lnTo>
                    <a:pt x="292" y="5"/>
                  </a:lnTo>
                  <a:lnTo>
                    <a:pt x="303" y="12"/>
                  </a:lnTo>
                  <a:lnTo>
                    <a:pt x="314" y="22"/>
                  </a:lnTo>
                  <a:lnTo>
                    <a:pt x="325" y="33"/>
                  </a:lnTo>
                  <a:lnTo>
                    <a:pt x="334" y="46"/>
                  </a:lnTo>
                  <a:lnTo>
                    <a:pt x="342" y="59"/>
                  </a:lnTo>
                  <a:lnTo>
                    <a:pt x="350" y="74"/>
                  </a:lnTo>
                  <a:lnTo>
                    <a:pt x="356" y="89"/>
                  </a:lnTo>
                  <a:lnTo>
                    <a:pt x="361" y="104"/>
                  </a:lnTo>
                  <a:lnTo>
                    <a:pt x="364" y="119"/>
                  </a:lnTo>
                  <a:lnTo>
                    <a:pt x="365" y="133"/>
                  </a:lnTo>
                  <a:lnTo>
                    <a:pt x="365" y="146"/>
                  </a:lnTo>
                  <a:lnTo>
                    <a:pt x="194" y="742"/>
                  </a:lnTo>
                  <a:lnTo>
                    <a:pt x="193" y="752"/>
                  </a:lnTo>
                  <a:lnTo>
                    <a:pt x="192" y="760"/>
                  </a:lnTo>
                  <a:lnTo>
                    <a:pt x="0" y="714"/>
                  </a:lnTo>
                  <a:lnTo>
                    <a:pt x="373" y="1010"/>
                  </a:lnTo>
                  <a:lnTo>
                    <a:pt x="861" y="920"/>
                  </a:lnTo>
                  <a:lnTo>
                    <a:pt x="664" y="873"/>
                  </a:lnTo>
                  <a:lnTo>
                    <a:pt x="669" y="866"/>
                  </a:lnTo>
                  <a:lnTo>
                    <a:pt x="672" y="857"/>
                  </a:lnTo>
                  <a:lnTo>
                    <a:pt x="882" y="158"/>
                  </a:lnTo>
                  <a:lnTo>
                    <a:pt x="884" y="148"/>
                  </a:lnTo>
                  <a:lnTo>
                    <a:pt x="884" y="137"/>
                  </a:lnTo>
                  <a:lnTo>
                    <a:pt x="881" y="126"/>
                  </a:lnTo>
                  <a:lnTo>
                    <a:pt x="876" y="116"/>
                  </a:lnTo>
                  <a:lnTo>
                    <a:pt x="868" y="107"/>
                  </a:lnTo>
                  <a:lnTo>
                    <a:pt x="860" y="100"/>
                  </a:lnTo>
                  <a:lnTo>
                    <a:pt x="849" y="94"/>
                  </a:lnTo>
                  <a:lnTo>
                    <a:pt x="838" y="90"/>
                  </a:lnTo>
                  <a:lnTo>
                    <a:pt x="788" y="75"/>
                  </a:lnTo>
                  <a:lnTo>
                    <a:pt x="739" y="63"/>
                  </a:lnTo>
                  <a:lnTo>
                    <a:pt x="687" y="52"/>
                  </a:lnTo>
                  <a:lnTo>
                    <a:pt x="636" y="44"/>
                  </a:lnTo>
                  <a:lnTo>
                    <a:pt x="585" y="37"/>
                  </a:lnTo>
                  <a:lnTo>
                    <a:pt x="281" y="0"/>
                  </a:lnTo>
                </a:path>
              </a:pathLst>
            </a:custGeom>
            <a:solidFill>
              <a:schemeClr val="accent3"/>
            </a:solidFill>
            <a:ln w="6350" cap="rnd" cmpd="sng">
              <a:no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7" name="Freeform 5">
              <a:extLst>
                <a:ext uri="{FF2B5EF4-FFF2-40B4-BE49-F238E27FC236}">
                  <a16:creationId xmlns:a16="http://schemas.microsoft.com/office/drawing/2014/main" id="{734A7AB1-B023-4616-A669-DD14F6190181}"/>
                </a:ext>
              </a:extLst>
            </p:cNvPr>
            <p:cNvSpPr>
              <a:spLocks/>
            </p:cNvSpPr>
            <p:nvPr/>
          </p:nvSpPr>
          <p:spPr bwMode="auto">
            <a:xfrm>
              <a:off x="2701" y="1188"/>
              <a:ext cx="1585" cy="1335"/>
            </a:xfrm>
            <a:custGeom>
              <a:avLst/>
              <a:gdLst/>
              <a:ahLst/>
              <a:cxnLst>
                <a:cxn ang="0">
                  <a:pos x="93" y="796"/>
                </a:cxn>
                <a:cxn ang="0">
                  <a:pos x="98" y="780"/>
                </a:cxn>
                <a:cxn ang="0">
                  <a:pos x="107" y="766"/>
                </a:cxn>
                <a:cxn ang="0">
                  <a:pos x="118" y="751"/>
                </a:cxn>
                <a:cxn ang="0">
                  <a:pos x="131" y="738"/>
                </a:cxn>
                <a:cxn ang="0">
                  <a:pos x="148" y="725"/>
                </a:cxn>
                <a:cxn ang="0">
                  <a:pos x="167" y="712"/>
                </a:cxn>
                <a:cxn ang="0">
                  <a:pos x="188" y="699"/>
                </a:cxn>
                <a:cxn ang="0">
                  <a:pos x="211" y="690"/>
                </a:cxn>
                <a:cxn ang="0">
                  <a:pos x="236" y="680"/>
                </a:cxn>
                <a:cxn ang="0">
                  <a:pos x="262" y="671"/>
                </a:cxn>
                <a:cxn ang="0">
                  <a:pos x="904" y="621"/>
                </a:cxn>
                <a:cxn ang="0">
                  <a:pos x="914" y="619"/>
                </a:cxn>
                <a:cxn ang="0">
                  <a:pos x="924" y="616"/>
                </a:cxn>
                <a:cxn ang="0">
                  <a:pos x="940" y="794"/>
                </a:cxn>
                <a:cxn ang="0">
                  <a:pos x="1123" y="379"/>
                </a:cxn>
                <a:cxn ang="0">
                  <a:pos x="863" y="0"/>
                </a:cxn>
                <a:cxn ang="0">
                  <a:pos x="880" y="180"/>
                </a:cxn>
                <a:cxn ang="0">
                  <a:pos x="871" y="180"/>
                </a:cxn>
                <a:cxn ang="0">
                  <a:pos x="861" y="180"/>
                </a:cxn>
                <a:cxn ang="0">
                  <a:pos x="56" y="242"/>
                </a:cxn>
                <a:cxn ang="0">
                  <a:pos x="44" y="244"/>
                </a:cxn>
                <a:cxn ang="0">
                  <a:pos x="33" y="248"/>
                </a:cxn>
                <a:cxn ang="0">
                  <a:pos x="23" y="255"/>
                </a:cxn>
                <a:cxn ang="0">
                  <a:pos x="13" y="262"/>
                </a:cxn>
                <a:cxn ang="0">
                  <a:pos x="6" y="271"/>
                </a:cxn>
                <a:cxn ang="0">
                  <a:pos x="1" y="281"/>
                </a:cxn>
                <a:cxn ang="0">
                  <a:pos x="0" y="292"/>
                </a:cxn>
                <a:cxn ang="0">
                  <a:pos x="0" y="302"/>
                </a:cxn>
                <a:cxn ang="0">
                  <a:pos x="5" y="369"/>
                </a:cxn>
                <a:cxn ang="0">
                  <a:pos x="13" y="435"/>
                </a:cxn>
                <a:cxn ang="0">
                  <a:pos x="24" y="502"/>
                </a:cxn>
                <a:cxn ang="0">
                  <a:pos x="38" y="567"/>
                </a:cxn>
                <a:cxn ang="0">
                  <a:pos x="56" y="643"/>
                </a:cxn>
                <a:cxn ang="0">
                  <a:pos x="73" y="720"/>
                </a:cxn>
                <a:cxn ang="0">
                  <a:pos x="93" y="796"/>
                </a:cxn>
              </a:cxnLst>
              <a:rect l="0" t="0" r="r" b="b"/>
              <a:pathLst>
                <a:path w="1124" h="797">
                  <a:moveTo>
                    <a:pt x="93" y="796"/>
                  </a:moveTo>
                  <a:lnTo>
                    <a:pt x="98" y="780"/>
                  </a:lnTo>
                  <a:lnTo>
                    <a:pt x="107" y="766"/>
                  </a:lnTo>
                  <a:lnTo>
                    <a:pt x="118" y="751"/>
                  </a:lnTo>
                  <a:lnTo>
                    <a:pt x="131" y="738"/>
                  </a:lnTo>
                  <a:lnTo>
                    <a:pt x="148" y="725"/>
                  </a:lnTo>
                  <a:lnTo>
                    <a:pt x="167" y="712"/>
                  </a:lnTo>
                  <a:lnTo>
                    <a:pt x="188" y="699"/>
                  </a:lnTo>
                  <a:lnTo>
                    <a:pt x="211" y="690"/>
                  </a:lnTo>
                  <a:lnTo>
                    <a:pt x="236" y="680"/>
                  </a:lnTo>
                  <a:lnTo>
                    <a:pt x="262" y="671"/>
                  </a:lnTo>
                  <a:lnTo>
                    <a:pt x="904" y="621"/>
                  </a:lnTo>
                  <a:lnTo>
                    <a:pt x="914" y="619"/>
                  </a:lnTo>
                  <a:lnTo>
                    <a:pt x="924" y="616"/>
                  </a:lnTo>
                  <a:lnTo>
                    <a:pt x="940" y="794"/>
                  </a:lnTo>
                  <a:lnTo>
                    <a:pt x="1123" y="379"/>
                  </a:lnTo>
                  <a:lnTo>
                    <a:pt x="863" y="0"/>
                  </a:lnTo>
                  <a:lnTo>
                    <a:pt x="880" y="180"/>
                  </a:lnTo>
                  <a:lnTo>
                    <a:pt x="871" y="180"/>
                  </a:lnTo>
                  <a:lnTo>
                    <a:pt x="861" y="180"/>
                  </a:lnTo>
                  <a:lnTo>
                    <a:pt x="56" y="242"/>
                  </a:lnTo>
                  <a:lnTo>
                    <a:pt x="44" y="244"/>
                  </a:lnTo>
                  <a:lnTo>
                    <a:pt x="33" y="248"/>
                  </a:lnTo>
                  <a:lnTo>
                    <a:pt x="23" y="255"/>
                  </a:lnTo>
                  <a:lnTo>
                    <a:pt x="13" y="262"/>
                  </a:lnTo>
                  <a:lnTo>
                    <a:pt x="6" y="271"/>
                  </a:lnTo>
                  <a:lnTo>
                    <a:pt x="1" y="281"/>
                  </a:lnTo>
                  <a:lnTo>
                    <a:pt x="0" y="292"/>
                  </a:lnTo>
                  <a:lnTo>
                    <a:pt x="0" y="302"/>
                  </a:lnTo>
                  <a:lnTo>
                    <a:pt x="5" y="369"/>
                  </a:lnTo>
                  <a:lnTo>
                    <a:pt x="13" y="435"/>
                  </a:lnTo>
                  <a:lnTo>
                    <a:pt x="24" y="502"/>
                  </a:lnTo>
                  <a:lnTo>
                    <a:pt x="38" y="567"/>
                  </a:lnTo>
                  <a:lnTo>
                    <a:pt x="56" y="643"/>
                  </a:lnTo>
                  <a:lnTo>
                    <a:pt x="73" y="720"/>
                  </a:lnTo>
                  <a:lnTo>
                    <a:pt x="93" y="796"/>
                  </a:lnTo>
                </a:path>
              </a:pathLst>
            </a:custGeom>
            <a:solidFill>
              <a:schemeClr val="accent1"/>
            </a:solidFill>
            <a:ln w="6350" cap="rnd" cmpd="sng">
              <a:no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8" name="Freeform 6">
              <a:extLst>
                <a:ext uri="{FF2B5EF4-FFF2-40B4-BE49-F238E27FC236}">
                  <a16:creationId xmlns:a16="http://schemas.microsoft.com/office/drawing/2014/main" id="{57161050-0D2F-486B-B990-6991613EDD8D}"/>
                </a:ext>
              </a:extLst>
            </p:cNvPr>
            <p:cNvSpPr>
              <a:spLocks/>
            </p:cNvSpPr>
            <p:nvPr/>
          </p:nvSpPr>
          <p:spPr bwMode="auto">
            <a:xfrm>
              <a:off x="1465" y="1747"/>
              <a:ext cx="1687" cy="1615"/>
            </a:xfrm>
            <a:custGeom>
              <a:avLst/>
              <a:gdLst/>
              <a:ahLst/>
              <a:cxnLst>
                <a:cxn ang="0">
                  <a:pos x="1195" y="537"/>
                </a:cxn>
                <a:cxn ang="0">
                  <a:pos x="1178" y="552"/>
                </a:cxn>
                <a:cxn ang="0">
                  <a:pos x="1160" y="564"/>
                </a:cxn>
                <a:cxn ang="0">
                  <a:pos x="1141" y="575"/>
                </a:cxn>
                <a:cxn ang="0">
                  <a:pos x="1121" y="583"/>
                </a:cxn>
                <a:cxn ang="0">
                  <a:pos x="1099" y="588"/>
                </a:cxn>
                <a:cxn ang="0">
                  <a:pos x="1082" y="587"/>
                </a:cxn>
                <a:cxn ang="0">
                  <a:pos x="1065" y="584"/>
                </a:cxn>
                <a:cxn ang="0">
                  <a:pos x="1049" y="579"/>
                </a:cxn>
                <a:cxn ang="0">
                  <a:pos x="1031" y="571"/>
                </a:cxn>
                <a:cxn ang="0">
                  <a:pos x="1013" y="561"/>
                </a:cxn>
                <a:cxn ang="0">
                  <a:pos x="995" y="549"/>
                </a:cxn>
                <a:cxn ang="0">
                  <a:pos x="978" y="536"/>
                </a:cxn>
                <a:cxn ang="0">
                  <a:pos x="962" y="521"/>
                </a:cxn>
                <a:cxn ang="0">
                  <a:pos x="462" y="145"/>
                </a:cxn>
                <a:cxn ang="0">
                  <a:pos x="454" y="140"/>
                </a:cxn>
                <a:cxn ang="0">
                  <a:pos x="444" y="136"/>
                </a:cxn>
                <a:cxn ang="0">
                  <a:pos x="572" y="0"/>
                </a:cxn>
                <a:cxn ang="0">
                  <a:pos x="115" y="177"/>
                </a:cxn>
                <a:cxn ang="0">
                  <a:pos x="0" y="611"/>
                </a:cxn>
                <a:cxn ang="0">
                  <a:pos x="131" y="471"/>
                </a:cxn>
                <a:cxn ang="0">
                  <a:pos x="135" y="479"/>
                </a:cxn>
                <a:cxn ang="0">
                  <a:pos x="142" y="484"/>
                </a:cxn>
                <a:cxn ang="0">
                  <a:pos x="763" y="950"/>
                </a:cxn>
                <a:cxn ang="0">
                  <a:pos x="773" y="956"/>
                </a:cxn>
                <a:cxn ang="0">
                  <a:pos x="785" y="961"/>
                </a:cxn>
                <a:cxn ang="0">
                  <a:pos x="796" y="963"/>
                </a:cxn>
                <a:cxn ang="0">
                  <a:pos x="808" y="963"/>
                </a:cxn>
                <a:cxn ang="0">
                  <a:pos x="820" y="961"/>
                </a:cxn>
                <a:cxn ang="0">
                  <a:pos x="831" y="957"/>
                </a:cxn>
                <a:cxn ang="0">
                  <a:pos x="842" y="951"/>
                </a:cxn>
                <a:cxn ang="0">
                  <a:pos x="850" y="943"/>
                </a:cxn>
                <a:cxn ang="0">
                  <a:pos x="1072" y="708"/>
                </a:cxn>
                <a:cxn ang="0">
                  <a:pos x="1091" y="686"/>
                </a:cxn>
                <a:cxn ang="0">
                  <a:pos x="1111" y="663"/>
                </a:cxn>
                <a:cxn ang="0">
                  <a:pos x="1128" y="639"/>
                </a:cxn>
                <a:cxn ang="0">
                  <a:pos x="1146" y="614"/>
                </a:cxn>
                <a:cxn ang="0">
                  <a:pos x="1164" y="588"/>
                </a:cxn>
                <a:cxn ang="0">
                  <a:pos x="1180" y="563"/>
                </a:cxn>
                <a:cxn ang="0">
                  <a:pos x="1195" y="537"/>
                </a:cxn>
              </a:cxnLst>
              <a:rect l="0" t="0" r="r" b="b"/>
              <a:pathLst>
                <a:path w="1196" h="964">
                  <a:moveTo>
                    <a:pt x="1195" y="537"/>
                  </a:moveTo>
                  <a:lnTo>
                    <a:pt x="1178" y="552"/>
                  </a:lnTo>
                  <a:lnTo>
                    <a:pt x="1160" y="564"/>
                  </a:lnTo>
                  <a:lnTo>
                    <a:pt x="1141" y="575"/>
                  </a:lnTo>
                  <a:lnTo>
                    <a:pt x="1121" y="583"/>
                  </a:lnTo>
                  <a:lnTo>
                    <a:pt x="1099" y="588"/>
                  </a:lnTo>
                  <a:lnTo>
                    <a:pt x="1082" y="587"/>
                  </a:lnTo>
                  <a:lnTo>
                    <a:pt x="1065" y="584"/>
                  </a:lnTo>
                  <a:lnTo>
                    <a:pt x="1049" y="579"/>
                  </a:lnTo>
                  <a:lnTo>
                    <a:pt x="1031" y="571"/>
                  </a:lnTo>
                  <a:lnTo>
                    <a:pt x="1013" y="561"/>
                  </a:lnTo>
                  <a:lnTo>
                    <a:pt x="995" y="549"/>
                  </a:lnTo>
                  <a:lnTo>
                    <a:pt x="978" y="536"/>
                  </a:lnTo>
                  <a:lnTo>
                    <a:pt x="962" y="521"/>
                  </a:lnTo>
                  <a:lnTo>
                    <a:pt x="462" y="145"/>
                  </a:lnTo>
                  <a:lnTo>
                    <a:pt x="454" y="140"/>
                  </a:lnTo>
                  <a:lnTo>
                    <a:pt x="444" y="136"/>
                  </a:lnTo>
                  <a:lnTo>
                    <a:pt x="572" y="0"/>
                  </a:lnTo>
                  <a:lnTo>
                    <a:pt x="115" y="177"/>
                  </a:lnTo>
                  <a:lnTo>
                    <a:pt x="0" y="611"/>
                  </a:lnTo>
                  <a:lnTo>
                    <a:pt x="131" y="471"/>
                  </a:lnTo>
                  <a:lnTo>
                    <a:pt x="135" y="479"/>
                  </a:lnTo>
                  <a:lnTo>
                    <a:pt x="142" y="484"/>
                  </a:lnTo>
                  <a:lnTo>
                    <a:pt x="763" y="950"/>
                  </a:lnTo>
                  <a:lnTo>
                    <a:pt x="773" y="956"/>
                  </a:lnTo>
                  <a:lnTo>
                    <a:pt x="785" y="961"/>
                  </a:lnTo>
                  <a:lnTo>
                    <a:pt x="796" y="963"/>
                  </a:lnTo>
                  <a:lnTo>
                    <a:pt x="808" y="963"/>
                  </a:lnTo>
                  <a:lnTo>
                    <a:pt x="820" y="961"/>
                  </a:lnTo>
                  <a:lnTo>
                    <a:pt x="831" y="957"/>
                  </a:lnTo>
                  <a:lnTo>
                    <a:pt x="842" y="951"/>
                  </a:lnTo>
                  <a:lnTo>
                    <a:pt x="850" y="943"/>
                  </a:lnTo>
                  <a:lnTo>
                    <a:pt x="1072" y="708"/>
                  </a:lnTo>
                  <a:lnTo>
                    <a:pt x="1091" y="686"/>
                  </a:lnTo>
                  <a:lnTo>
                    <a:pt x="1111" y="663"/>
                  </a:lnTo>
                  <a:lnTo>
                    <a:pt x="1128" y="639"/>
                  </a:lnTo>
                  <a:lnTo>
                    <a:pt x="1146" y="614"/>
                  </a:lnTo>
                  <a:lnTo>
                    <a:pt x="1164" y="588"/>
                  </a:lnTo>
                  <a:lnTo>
                    <a:pt x="1180" y="563"/>
                  </a:lnTo>
                  <a:lnTo>
                    <a:pt x="1195" y="537"/>
                  </a:lnTo>
                </a:path>
              </a:pathLst>
            </a:custGeom>
            <a:solidFill>
              <a:schemeClr val="accent2"/>
            </a:solidFill>
            <a:ln w="6350" cap="rnd" cmpd="sng">
              <a:no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9" name="Oval 7">
              <a:extLst>
                <a:ext uri="{FF2B5EF4-FFF2-40B4-BE49-F238E27FC236}">
                  <a16:creationId xmlns:a16="http://schemas.microsoft.com/office/drawing/2014/main" id="{72F13CD1-0BAC-46FA-8DE9-29351090A950}"/>
                </a:ext>
              </a:extLst>
            </p:cNvPr>
            <p:cNvSpPr>
              <a:spLocks noChangeArrowheads="1"/>
            </p:cNvSpPr>
            <p:nvPr/>
          </p:nvSpPr>
          <p:spPr bwMode="auto">
            <a:xfrm>
              <a:off x="2834" y="2360"/>
              <a:ext cx="345" cy="369"/>
            </a:xfrm>
            <a:prstGeom prst="ellipse">
              <a:avLst/>
            </a:prstGeom>
            <a:pattFill prst="dkUpDiag">
              <a:fgClr>
                <a:srgbClr val="96968C">
                  <a:lumMod val="40000"/>
                  <a:lumOff val="60000"/>
                </a:srgbClr>
              </a:fgClr>
              <a:bgClr>
                <a:srgbClr val="FFFFFF"/>
              </a:bgClr>
            </a:pattFill>
            <a:ln w="6350">
              <a:noFill/>
              <a:round/>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10" name="Rectangle 8">
              <a:extLst>
                <a:ext uri="{FF2B5EF4-FFF2-40B4-BE49-F238E27FC236}">
                  <a16:creationId xmlns:a16="http://schemas.microsoft.com/office/drawing/2014/main" id="{8F94F381-82D1-4B5F-A6AC-BB01D49130D2}"/>
                </a:ext>
              </a:extLst>
            </p:cNvPr>
            <p:cNvSpPr>
              <a:spLocks noChangeArrowheads="1"/>
            </p:cNvSpPr>
            <p:nvPr/>
          </p:nvSpPr>
          <p:spPr bwMode="auto">
            <a:xfrm>
              <a:off x="1972" y="2394"/>
              <a:ext cx="447" cy="198"/>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Arial"/>
                  <a:ea typeface="+mn-ea"/>
                  <a:cs typeface="+mn-cs"/>
                </a:rPr>
                <a:t>Text</a:t>
              </a:r>
            </a:p>
          </p:txBody>
        </p:sp>
        <p:sp>
          <p:nvSpPr>
            <p:cNvPr id="11" name="Rectangle 13">
              <a:extLst>
                <a:ext uri="{FF2B5EF4-FFF2-40B4-BE49-F238E27FC236}">
                  <a16:creationId xmlns:a16="http://schemas.microsoft.com/office/drawing/2014/main" id="{0C2E7CC5-2E09-436E-B16A-54683AE561DD}"/>
                </a:ext>
              </a:extLst>
            </p:cNvPr>
            <p:cNvSpPr>
              <a:spLocks noChangeArrowheads="1"/>
            </p:cNvSpPr>
            <p:nvPr/>
          </p:nvSpPr>
          <p:spPr bwMode="auto">
            <a:xfrm>
              <a:off x="3272" y="1797"/>
              <a:ext cx="447" cy="198"/>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Arial"/>
                  <a:ea typeface="+mn-ea"/>
                  <a:cs typeface="+mn-cs"/>
                </a:rPr>
                <a:t>Text</a:t>
              </a:r>
            </a:p>
          </p:txBody>
        </p:sp>
        <p:sp>
          <p:nvSpPr>
            <p:cNvPr id="12" name="Rectangle 14">
              <a:extLst>
                <a:ext uri="{FF2B5EF4-FFF2-40B4-BE49-F238E27FC236}">
                  <a16:creationId xmlns:a16="http://schemas.microsoft.com/office/drawing/2014/main" id="{98402887-AF5E-4105-A269-8B395FE4E392}"/>
                </a:ext>
              </a:extLst>
            </p:cNvPr>
            <p:cNvSpPr>
              <a:spLocks noChangeArrowheads="1"/>
            </p:cNvSpPr>
            <p:nvPr/>
          </p:nvSpPr>
          <p:spPr bwMode="auto">
            <a:xfrm>
              <a:off x="3152" y="3144"/>
              <a:ext cx="447" cy="198"/>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Arial"/>
                  <a:ea typeface="+mn-ea"/>
                  <a:cs typeface="+mn-cs"/>
                </a:rPr>
                <a:t>Text</a:t>
              </a:r>
            </a:p>
          </p:txBody>
        </p:sp>
      </p:grpSp>
      <p:sp>
        <p:nvSpPr>
          <p:cNvPr id="14" name="Footer Placeholder 13">
            <a:extLst>
              <a:ext uri="{FF2B5EF4-FFF2-40B4-BE49-F238E27FC236}">
                <a16:creationId xmlns:a16="http://schemas.microsoft.com/office/drawing/2014/main" id="{59DD7B43-5846-4AAD-8381-8F329794B8BB}"/>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5" name="Slide Number Placeholder 14">
            <a:extLst>
              <a:ext uri="{FF2B5EF4-FFF2-40B4-BE49-F238E27FC236}">
                <a16:creationId xmlns:a16="http://schemas.microsoft.com/office/drawing/2014/main" id="{206527BF-90FB-46F4-87F2-7357DFCAFB8A}"/>
              </a:ext>
            </a:extLst>
          </p:cNvPr>
          <p:cNvSpPr>
            <a:spLocks noGrp="1"/>
          </p:cNvSpPr>
          <p:nvPr>
            <p:ph type="sldNum" sz="quarter" idx="10"/>
          </p:nvPr>
        </p:nvSpPr>
        <p:spPr/>
        <p:txBody>
          <a:bodyPr/>
          <a:lstStyle/>
          <a:p>
            <a:fld id="{1F90F471-3972-4120-B8B3-0237DE626C35}" type="slidenum">
              <a:rPr lang="en-US" smtClean="0"/>
              <a:pPr/>
              <a:t>257</a:t>
            </a:fld>
            <a:endParaRPr lang="en-US" dirty="0"/>
          </a:p>
        </p:txBody>
      </p:sp>
    </p:spTree>
    <p:extLst>
      <p:ext uri="{BB962C8B-B14F-4D97-AF65-F5344CB8AC3E}">
        <p14:creationId xmlns:p14="http://schemas.microsoft.com/office/powerpoint/2010/main" val="3316443382"/>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Circular Flow 12</a:t>
            </a:r>
          </a:p>
        </p:txBody>
      </p:sp>
      <p:grpSp>
        <p:nvGrpSpPr>
          <p:cNvPr id="5" name="Group 3" descr="Add text and order accordingly">
            <a:extLst>
              <a:ext uri="{FF2B5EF4-FFF2-40B4-BE49-F238E27FC236}">
                <a16:creationId xmlns:a16="http://schemas.microsoft.com/office/drawing/2014/main" id="{5E486010-F7D0-4118-9516-3C8C152F4EC6}"/>
              </a:ext>
            </a:extLst>
          </p:cNvPr>
          <p:cNvGrpSpPr>
            <a:grpSpLocks/>
          </p:cNvGrpSpPr>
          <p:nvPr/>
        </p:nvGrpSpPr>
        <p:grpSpPr bwMode="auto">
          <a:xfrm>
            <a:off x="3657440" y="1371600"/>
            <a:ext cx="4922837" cy="4551363"/>
            <a:chOff x="1968" y="1392"/>
            <a:chExt cx="2304" cy="1966"/>
          </a:xfrm>
        </p:grpSpPr>
        <p:sp>
          <p:nvSpPr>
            <p:cNvPr id="6" name="Freeform 4">
              <a:extLst>
                <a:ext uri="{FF2B5EF4-FFF2-40B4-BE49-F238E27FC236}">
                  <a16:creationId xmlns:a16="http://schemas.microsoft.com/office/drawing/2014/main" id="{8D7BA5A9-B8D2-426C-87EB-A77B5D5A6252}"/>
                </a:ext>
              </a:extLst>
            </p:cNvPr>
            <p:cNvSpPr>
              <a:spLocks/>
            </p:cNvSpPr>
            <p:nvPr/>
          </p:nvSpPr>
          <p:spPr bwMode="auto">
            <a:xfrm>
              <a:off x="1968" y="1893"/>
              <a:ext cx="1388" cy="502"/>
            </a:xfrm>
            <a:custGeom>
              <a:avLst/>
              <a:gdLst/>
              <a:ahLst/>
              <a:cxnLst>
                <a:cxn ang="0">
                  <a:pos x="1561" y="540"/>
                </a:cxn>
                <a:cxn ang="0">
                  <a:pos x="1541" y="452"/>
                </a:cxn>
                <a:cxn ang="0">
                  <a:pos x="1503" y="368"/>
                </a:cxn>
                <a:cxn ang="0">
                  <a:pos x="1450" y="288"/>
                </a:cxn>
                <a:cxn ang="0">
                  <a:pos x="1382" y="215"/>
                </a:cxn>
                <a:cxn ang="0">
                  <a:pos x="1301" y="152"/>
                </a:cxn>
                <a:cxn ang="0">
                  <a:pos x="1208" y="96"/>
                </a:cxn>
                <a:cxn ang="0">
                  <a:pos x="1107" y="54"/>
                </a:cxn>
                <a:cxn ang="0">
                  <a:pos x="998" y="23"/>
                </a:cxn>
                <a:cxn ang="0">
                  <a:pos x="885" y="4"/>
                </a:cxn>
                <a:cxn ang="0">
                  <a:pos x="771" y="0"/>
                </a:cxn>
                <a:cxn ang="0">
                  <a:pos x="653" y="7"/>
                </a:cxn>
                <a:cxn ang="0">
                  <a:pos x="543" y="29"/>
                </a:cxn>
                <a:cxn ang="0">
                  <a:pos x="435" y="63"/>
                </a:cxn>
                <a:cxn ang="0">
                  <a:pos x="335" y="108"/>
                </a:cxn>
                <a:cxn ang="0">
                  <a:pos x="246" y="165"/>
                </a:cxn>
                <a:cxn ang="0">
                  <a:pos x="168" y="231"/>
                </a:cxn>
                <a:cxn ang="0">
                  <a:pos x="103" y="305"/>
                </a:cxn>
                <a:cxn ang="0">
                  <a:pos x="53" y="385"/>
                </a:cxn>
                <a:cxn ang="0">
                  <a:pos x="19" y="472"/>
                </a:cxn>
                <a:cxn ang="0">
                  <a:pos x="2" y="561"/>
                </a:cxn>
                <a:cxn ang="0">
                  <a:pos x="783" y="606"/>
                </a:cxn>
                <a:cxn ang="0">
                  <a:pos x="898" y="577"/>
                </a:cxn>
                <a:cxn ang="0">
                  <a:pos x="936" y="525"/>
                </a:cxn>
                <a:cxn ang="0">
                  <a:pos x="987" y="481"/>
                </a:cxn>
                <a:cxn ang="0">
                  <a:pos x="1049" y="446"/>
                </a:cxn>
                <a:cxn ang="0">
                  <a:pos x="1118" y="420"/>
                </a:cxn>
                <a:cxn ang="0">
                  <a:pos x="1192" y="408"/>
                </a:cxn>
                <a:cxn ang="0">
                  <a:pos x="1267" y="408"/>
                </a:cxn>
                <a:cxn ang="0">
                  <a:pos x="1343" y="421"/>
                </a:cxn>
                <a:cxn ang="0">
                  <a:pos x="1414" y="447"/>
                </a:cxn>
                <a:cxn ang="0">
                  <a:pos x="1476" y="484"/>
                </a:cxn>
                <a:cxn ang="0">
                  <a:pos x="1527" y="530"/>
                </a:cxn>
                <a:cxn ang="0">
                  <a:pos x="1566" y="584"/>
                </a:cxn>
              </a:cxnLst>
              <a:rect l="0" t="0" r="r" b="b"/>
              <a:pathLst>
                <a:path w="1567" h="607">
                  <a:moveTo>
                    <a:pt x="1566" y="584"/>
                  </a:moveTo>
                  <a:lnTo>
                    <a:pt x="1561" y="540"/>
                  </a:lnTo>
                  <a:lnTo>
                    <a:pt x="1553" y="495"/>
                  </a:lnTo>
                  <a:lnTo>
                    <a:pt x="1541" y="452"/>
                  </a:lnTo>
                  <a:lnTo>
                    <a:pt x="1523" y="409"/>
                  </a:lnTo>
                  <a:lnTo>
                    <a:pt x="1503" y="368"/>
                  </a:lnTo>
                  <a:lnTo>
                    <a:pt x="1479" y="326"/>
                  </a:lnTo>
                  <a:lnTo>
                    <a:pt x="1450" y="288"/>
                  </a:lnTo>
                  <a:lnTo>
                    <a:pt x="1416" y="251"/>
                  </a:lnTo>
                  <a:lnTo>
                    <a:pt x="1382" y="215"/>
                  </a:lnTo>
                  <a:lnTo>
                    <a:pt x="1343" y="183"/>
                  </a:lnTo>
                  <a:lnTo>
                    <a:pt x="1301" y="152"/>
                  </a:lnTo>
                  <a:lnTo>
                    <a:pt x="1256" y="122"/>
                  </a:lnTo>
                  <a:lnTo>
                    <a:pt x="1208" y="96"/>
                  </a:lnTo>
                  <a:lnTo>
                    <a:pt x="1158" y="74"/>
                  </a:lnTo>
                  <a:lnTo>
                    <a:pt x="1107" y="54"/>
                  </a:lnTo>
                  <a:lnTo>
                    <a:pt x="1054" y="37"/>
                  </a:lnTo>
                  <a:lnTo>
                    <a:pt x="998" y="23"/>
                  </a:lnTo>
                  <a:lnTo>
                    <a:pt x="942" y="12"/>
                  </a:lnTo>
                  <a:lnTo>
                    <a:pt x="885" y="4"/>
                  </a:lnTo>
                  <a:lnTo>
                    <a:pt x="827" y="1"/>
                  </a:lnTo>
                  <a:lnTo>
                    <a:pt x="771" y="0"/>
                  </a:lnTo>
                  <a:lnTo>
                    <a:pt x="713" y="2"/>
                  </a:lnTo>
                  <a:lnTo>
                    <a:pt x="653" y="7"/>
                  </a:lnTo>
                  <a:lnTo>
                    <a:pt x="597" y="17"/>
                  </a:lnTo>
                  <a:lnTo>
                    <a:pt x="543" y="29"/>
                  </a:lnTo>
                  <a:lnTo>
                    <a:pt x="488" y="45"/>
                  </a:lnTo>
                  <a:lnTo>
                    <a:pt x="435" y="63"/>
                  </a:lnTo>
                  <a:lnTo>
                    <a:pt x="384" y="84"/>
                  </a:lnTo>
                  <a:lnTo>
                    <a:pt x="335" y="108"/>
                  </a:lnTo>
                  <a:lnTo>
                    <a:pt x="289" y="136"/>
                  </a:lnTo>
                  <a:lnTo>
                    <a:pt x="246" y="165"/>
                  </a:lnTo>
                  <a:lnTo>
                    <a:pt x="205" y="196"/>
                  </a:lnTo>
                  <a:lnTo>
                    <a:pt x="168" y="231"/>
                  </a:lnTo>
                  <a:lnTo>
                    <a:pt x="133" y="268"/>
                  </a:lnTo>
                  <a:lnTo>
                    <a:pt x="103" y="305"/>
                  </a:lnTo>
                  <a:lnTo>
                    <a:pt x="77" y="346"/>
                  </a:lnTo>
                  <a:lnTo>
                    <a:pt x="53" y="385"/>
                  </a:lnTo>
                  <a:lnTo>
                    <a:pt x="34" y="429"/>
                  </a:lnTo>
                  <a:lnTo>
                    <a:pt x="19" y="472"/>
                  </a:lnTo>
                  <a:lnTo>
                    <a:pt x="9" y="515"/>
                  </a:lnTo>
                  <a:lnTo>
                    <a:pt x="2" y="561"/>
                  </a:lnTo>
                  <a:lnTo>
                    <a:pt x="0" y="606"/>
                  </a:lnTo>
                  <a:lnTo>
                    <a:pt x="783" y="606"/>
                  </a:lnTo>
                  <a:lnTo>
                    <a:pt x="883" y="606"/>
                  </a:lnTo>
                  <a:lnTo>
                    <a:pt x="898" y="577"/>
                  </a:lnTo>
                  <a:lnTo>
                    <a:pt x="916" y="550"/>
                  </a:lnTo>
                  <a:lnTo>
                    <a:pt x="936" y="525"/>
                  </a:lnTo>
                  <a:lnTo>
                    <a:pt x="960" y="502"/>
                  </a:lnTo>
                  <a:lnTo>
                    <a:pt x="987" y="481"/>
                  </a:lnTo>
                  <a:lnTo>
                    <a:pt x="1018" y="462"/>
                  </a:lnTo>
                  <a:lnTo>
                    <a:pt x="1049" y="446"/>
                  </a:lnTo>
                  <a:lnTo>
                    <a:pt x="1083" y="432"/>
                  </a:lnTo>
                  <a:lnTo>
                    <a:pt x="1118" y="420"/>
                  </a:lnTo>
                  <a:lnTo>
                    <a:pt x="1154" y="413"/>
                  </a:lnTo>
                  <a:lnTo>
                    <a:pt x="1192" y="408"/>
                  </a:lnTo>
                  <a:lnTo>
                    <a:pt x="1229" y="408"/>
                  </a:lnTo>
                  <a:lnTo>
                    <a:pt x="1267" y="408"/>
                  </a:lnTo>
                  <a:lnTo>
                    <a:pt x="1306" y="414"/>
                  </a:lnTo>
                  <a:lnTo>
                    <a:pt x="1343" y="421"/>
                  </a:lnTo>
                  <a:lnTo>
                    <a:pt x="1379" y="434"/>
                  </a:lnTo>
                  <a:lnTo>
                    <a:pt x="1414" y="447"/>
                  </a:lnTo>
                  <a:lnTo>
                    <a:pt x="1445" y="463"/>
                  </a:lnTo>
                  <a:lnTo>
                    <a:pt x="1476" y="484"/>
                  </a:lnTo>
                  <a:lnTo>
                    <a:pt x="1503" y="507"/>
                  </a:lnTo>
                  <a:lnTo>
                    <a:pt x="1527" y="530"/>
                  </a:lnTo>
                  <a:lnTo>
                    <a:pt x="1548" y="557"/>
                  </a:lnTo>
                  <a:lnTo>
                    <a:pt x="1566" y="584"/>
                  </a:lnTo>
                </a:path>
              </a:pathLst>
            </a:custGeom>
            <a:solidFill>
              <a:srgbClr val="A100FF">
                <a:lumMod val="20000"/>
                <a:lumOff val="80000"/>
              </a:srgbClr>
            </a:solidFill>
            <a:ln w="12700" cap="rnd" cmpd="sng">
              <a:solidFill>
                <a:srgbClr val="FFFFFF"/>
              </a:solid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 name="Freeform 5">
              <a:extLst>
                <a:ext uri="{FF2B5EF4-FFF2-40B4-BE49-F238E27FC236}">
                  <a16:creationId xmlns:a16="http://schemas.microsoft.com/office/drawing/2014/main" id="{2EE3CE22-9EF0-43F7-8244-0CA4769183C6}"/>
                </a:ext>
              </a:extLst>
            </p:cNvPr>
            <p:cNvSpPr>
              <a:spLocks/>
            </p:cNvSpPr>
            <p:nvPr/>
          </p:nvSpPr>
          <p:spPr bwMode="auto">
            <a:xfrm>
              <a:off x="2557" y="2199"/>
              <a:ext cx="601" cy="1159"/>
            </a:xfrm>
            <a:custGeom>
              <a:avLst/>
              <a:gdLst/>
              <a:ahLst/>
              <a:cxnLst>
                <a:cxn ang="0">
                  <a:pos x="605" y="3"/>
                </a:cxn>
                <a:cxn ang="0">
                  <a:pos x="506" y="22"/>
                </a:cxn>
                <a:cxn ang="0">
                  <a:pos x="412" y="55"/>
                </a:cxn>
                <a:cxn ang="0">
                  <a:pos x="322" y="103"/>
                </a:cxn>
                <a:cxn ang="0">
                  <a:pos x="242" y="164"/>
                </a:cxn>
                <a:cxn ang="0">
                  <a:pos x="169" y="236"/>
                </a:cxn>
                <a:cxn ang="0">
                  <a:pos x="110" y="318"/>
                </a:cxn>
                <a:cxn ang="0">
                  <a:pos x="62" y="410"/>
                </a:cxn>
                <a:cxn ang="0">
                  <a:pos x="27" y="507"/>
                </a:cxn>
                <a:cxn ang="0">
                  <a:pos x="6" y="607"/>
                </a:cxn>
                <a:cxn ang="0">
                  <a:pos x="0" y="711"/>
                </a:cxn>
                <a:cxn ang="0">
                  <a:pos x="9" y="814"/>
                </a:cxn>
                <a:cxn ang="0">
                  <a:pos x="34" y="915"/>
                </a:cxn>
                <a:cxn ang="0">
                  <a:pos x="71" y="1010"/>
                </a:cxn>
                <a:cxn ang="0">
                  <a:pos x="122" y="1099"/>
                </a:cxn>
                <a:cxn ang="0">
                  <a:pos x="186" y="1180"/>
                </a:cxn>
                <a:cxn ang="0">
                  <a:pos x="259" y="1249"/>
                </a:cxn>
                <a:cxn ang="0">
                  <a:pos x="343" y="1307"/>
                </a:cxn>
                <a:cxn ang="0">
                  <a:pos x="433" y="1353"/>
                </a:cxn>
                <a:cxn ang="0">
                  <a:pos x="529" y="1382"/>
                </a:cxn>
                <a:cxn ang="0">
                  <a:pos x="627" y="1397"/>
                </a:cxn>
                <a:cxn ang="0">
                  <a:pos x="679" y="699"/>
                </a:cxn>
                <a:cxn ang="0">
                  <a:pos x="645" y="598"/>
                </a:cxn>
                <a:cxn ang="0">
                  <a:pos x="587" y="563"/>
                </a:cxn>
                <a:cxn ang="0">
                  <a:pos x="539" y="516"/>
                </a:cxn>
                <a:cxn ang="0">
                  <a:pos x="499" y="462"/>
                </a:cxn>
                <a:cxn ang="0">
                  <a:pos x="471" y="400"/>
                </a:cxn>
                <a:cxn ang="0">
                  <a:pos x="458" y="334"/>
                </a:cxn>
                <a:cxn ang="0">
                  <a:pos x="458" y="265"/>
                </a:cxn>
                <a:cxn ang="0">
                  <a:pos x="473" y="198"/>
                </a:cxn>
                <a:cxn ang="0">
                  <a:pos x="500" y="135"/>
                </a:cxn>
                <a:cxn ang="0">
                  <a:pos x="542" y="80"/>
                </a:cxn>
                <a:cxn ang="0">
                  <a:pos x="594" y="34"/>
                </a:cxn>
                <a:cxn ang="0">
                  <a:pos x="655" y="0"/>
                </a:cxn>
              </a:cxnLst>
              <a:rect l="0" t="0" r="r" b="b"/>
              <a:pathLst>
                <a:path w="680" h="1401">
                  <a:moveTo>
                    <a:pt x="655" y="0"/>
                  </a:moveTo>
                  <a:lnTo>
                    <a:pt x="605" y="3"/>
                  </a:lnTo>
                  <a:lnTo>
                    <a:pt x="556" y="11"/>
                  </a:lnTo>
                  <a:lnTo>
                    <a:pt x="506" y="22"/>
                  </a:lnTo>
                  <a:lnTo>
                    <a:pt x="459" y="37"/>
                  </a:lnTo>
                  <a:lnTo>
                    <a:pt x="412" y="55"/>
                  </a:lnTo>
                  <a:lnTo>
                    <a:pt x="367" y="77"/>
                  </a:lnTo>
                  <a:lnTo>
                    <a:pt x="322" y="103"/>
                  </a:lnTo>
                  <a:lnTo>
                    <a:pt x="281" y="132"/>
                  </a:lnTo>
                  <a:lnTo>
                    <a:pt x="242" y="164"/>
                  </a:lnTo>
                  <a:lnTo>
                    <a:pt x="204" y="198"/>
                  </a:lnTo>
                  <a:lnTo>
                    <a:pt x="169" y="236"/>
                  </a:lnTo>
                  <a:lnTo>
                    <a:pt x="139" y="276"/>
                  </a:lnTo>
                  <a:lnTo>
                    <a:pt x="110" y="318"/>
                  </a:lnTo>
                  <a:lnTo>
                    <a:pt x="84" y="363"/>
                  </a:lnTo>
                  <a:lnTo>
                    <a:pt x="62" y="410"/>
                  </a:lnTo>
                  <a:lnTo>
                    <a:pt x="42" y="457"/>
                  </a:lnTo>
                  <a:lnTo>
                    <a:pt x="27" y="507"/>
                  </a:lnTo>
                  <a:lnTo>
                    <a:pt x="15" y="557"/>
                  </a:lnTo>
                  <a:lnTo>
                    <a:pt x="6" y="607"/>
                  </a:lnTo>
                  <a:lnTo>
                    <a:pt x="1" y="659"/>
                  </a:lnTo>
                  <a:lnTo>
                    <a:pt x="0" y="711"/>
                  </a:lnTo>
                  <a:lnTo>
                    <a:pt x="4" y="762"/>
                  </a:lnTo>
                  <a:lnTo>
                    <a:pt x="9" y="814"/>
                  </a:lnTo>
                  <a:lnTo>
                    <a:pt x="19" y="866"/>
                  </a:lnTo>
                  <a:lnTo>
                    <a:pt x="34" y="915"/>
                  </a:lnTo>
                  <a:lnTo>
                    <a:pt x="51" y="963"/>
                  </a:lnTo>
                  <a:lnTo>
                    <a:pt x="71" y="1010"/>
                  </a:lnTo>
                  <a:lnTo>
                    <a:pt x="95" y="1056"/>
                  </a:lnTo>
                  <a:lnTo>
                    <a:pt x="122" y="1099"/>
                  </a:lnTo>
                  <a:lnTo>
                    <a:pt x="153" y="1141"/>
                  </a:lnTo>
                  <a:lnTo>
                    <a:pt x="186" y="1180"/>
                  </a:lnTo>
                  <a:lnTo>
                    <a:pt x="222" y="1215"/>
                  </a:lnTo>
                  <a:lnTo>
                    <a:pt x="259" y="1249"/>
                  </a:lnTo>
                  <a:lnTo>
                    <a:pt x="300" y="1280"/>
                  </a:lnTo>
                  <a:lnTo>
                    <a:pt x="343" y="1307"/>
                  </a:lnTo>
                  <a:lnTo>
                    <a:pt x="387" y="1332"/>
                  </a:lnTo>
                  <a:lnTo>
                    <a:pt x="433" y="1353"/>
                  </a:lnTo>
                  <a:lnTo>
                    <a:pt x="481" y="1369"/>
                  </a:lnTo>
                  <a:lnTo>
                    <a:pt x="529" y="1382"/>
                  </a:lnTo>
                  <a:lnTo>
                    <a:pt x="578" y="1391"/>
                  </a:lnTo>
                  <a:lnTo>
                    <a:pt x="627" y="1397"/>
                  </a:lnTo>
                  <a:lnTo>
                    <a:pt x="679" y="1400"/>
                  </a:lnTo>
                  <a:lnTo>
                    <a:pt x="679" y="699"/>
                  </a:lnTo>
                  <a:lnTo>
                    <a:pt x="679" y="610"/>
                  </a:lnTo>
                  <a:lnTo>
                    <a:pt x="645" y="598"/>
                  </a:lnTo>
                  <a:lnTo>
                    <a:pt x="616" y="580"/>
                  </a:lnTo>
                  <a:lnTo>
                    <a:pt x="587" y="563"/>
                  </a:lnTo>
                  <a:lnTo>
                    <a:pt x="563" y="541"/>
                  </a:lnTo>
                  <a:lnTo>
                    <a:pt x="539" y="516"/>
                  </a:lnTo>
                  <a:lnTo>
                    <a:pt x="517" y="490"/>
                  </a:lnTo>
                  <a:lnTo>
                    <a:pt x="499" y="462"/>
                  </a:lnTo>
                  <a:lnTo>
                    <a:pt x="484" y="431"/>
                  </a:lnTo>
                  <a:lnTo>
                    <a:pt x="471" y="400"/>
                  </a:lnTo>
                  <a:lnTo>
                    <a:pt x="463" y="368"/>
                  </a:lnTo>
                  <a:lnTo>
                    <a:pt x="458" y="334"/>
                  </a:lnTo>
                  <a:lnTo>
                    <a:pt x="456" y="300"/>
                  </a:lnTo>
                  <a:lnTo>
                    <a:pt x="458" y="265"/>
                  </a:lnTo>
                  <a:lnTo>
                    <a:pt x="463" y="232"/>
                  </a:lnTo>
                  <a:lnTo>
                    <a:pt x="473" y="198"/>
                  </a:lnTo>
                  <a:lnTo>
                    <a:pt x="485" y="166"/>
                  </a:lnTo>
                  <a:lnTo>
                    <a:pt x="500" y="135"/>
                  </a:lnTo>
                  <a:lnTo>
                    <a:pt x="520" y="106"/>
                  </a:lnTo>
                  <a:lnTo>
                    <a:pt x="542" y="80"/>
                  </a:lnTo>
                  <a:lnTo>
                    <a:pt x="568" y="55"/>
                  </a:lnTo>
                  <a:lnTo>
                    <a:pt x="594" y="34"/>
                  </a:lnTo>
                  <a:lnTo>
                    <a:pt x="623" y="14"/>
                  </a:lnTo>
                  <a:lnTo>
                    <a:pt x="655" y="0"/>
                  </a:lnTo>
                </a:path>
              </a:pathLst>
            </a:custGeom>
            <a:solidFill>
              <a:srgbClr val="A100FF">
                <a:lumMod val="20000"/>
                <a:lumOff val="80000"/>
              </a:srgbClr>
            </a:solidFill>
            <a:ln w="12700" cap="rnd" cmpd="sng">
              <a:solidFill>
                <a:srgbClr val="FFFFFF"/>
              </a:solid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 name="Freeform 6">
              <a:extLst>
                <a:ext uri="{FF2B5EF4-FFF2-40B4-BE49-F238E27FC236}">
                  <a16:creationId xmlns:a16="http://schemas.microsoft.com/office/drawing/2014/main" id="{702C38B3-94C4-474C-A8EA-582CCF515B29}"/>
                </a:ext>
              </a:extLst>
            </p:cNvPr>
            <p:cNvSpPr>
              <a:spLocks/>
            </p:cNvSpPr>
            <p:nvPr/>
          </p:nvSpPr>
          <p:spPr bwMode="auto">
            <a:xfrm>
              <a:off x="2884" y="2370"/>
              <a:ext cx="1388" cy="501"/>
            </a:xfrm>
            <a:custGeom>
              <a:avLst/>
              <a:gdLst/>
              <a:ahLst/>
              <a:cxnLst>
                <a:cxn ang="0">
                  <a:pos x="4" y="65"/>
                </a:cxn>
                <a:cxn ang="0">
                  <a:pos x="24" y="154"/>
                </a:cxn>
                <a:cxn ang="0">
                  <a:pos x="62" y="238"/>
                </a:cxn>
                <a:cxn ang="0">
                  <a:pos x="115" y="317"/>
                </a:cxn>
                <a:cxn ang="0">
                  <a:pos x="183" y="390"/>
                </a:cxn>
                <a:cxn ang="0">
                  <a:pos x="264" y="454"/>
                </a:cxn>
                <a:cxn ang="0">
                  <a:pos x="357" y="508"/>
                </a:cxn>
                <a:cxn ang="0">
                  <a:pos x="458" y="551"/>
                </a:cxn>
                <a:cxn ang="0">
                  <a:pos x="567" y="582"/>
                </a:cxn>
                <a:cxn ang="0">
                  <a:pos x="680" y="600"/>
                </a:cxn>
                <a:cxn ang="0">
                  <a:pos x="794" y="605"/>
                </a:cxn>
                <a:cxn ang="0">
                  <a:pos x="910" y="597"/>
                </a:cxn>
                <a:cxn ang="0">
                  <a:pos x="1022" y="576"/>
                </a:cxn>
                <a:cxn ang="0">
                  <a:pos x="1130" y="543"/>
                </a:cxn>
                <a:cxn ang="0">
                  <a:pos x="1230" y="496"/>
                </a:cxn>
                <a:cxn ang="0">
                  <a:pos x="1319" y="440"/>
                </a:cxn>
                <a:cxn ang="0">
                  <a:pos x="1397" y="374"/>
                </a:cxn>
                <a:cxn ang="0">
                  <a:pos x="1462" y="300"/>
                </a:cxn>
                <a:cxn ang="0">
                  <a:pos x="1512" y="219"/>
                </a:cxn>
                <a:cxn ang="0">
                  <a:pos x="1546" y="133"/>
                </a:cxn>
                <a:cxn ang="0">
                  <a:pos x="1563" y="45"/>
                </a:cxn>
                <a:cxn ang="0">
                  <a:pos x="782" y="0"/>
                </a:cxn>
                <a:cxn ang="0">
                  <a:pos x="667" y="27"/>
                </a:cxn>
                <a:cxn ang="0">
                  <a:pos x="627" y="76"/>
                </a:cxn>
                <a:cxn ang="0">
                  <a:pos x="573" y="117"/>
                </a:cxn>
                <a:cxn ang="0">
                  <a:pos x="511" y="146"/>
                </a:cxn>
                <a:cxn ang="0">
                  <a:pos x="441" y="165"/>
                </a:cxn>
                <a:cxn ang="0">
                  <a:pos x="369" y="170"/>
                </a:cxn>
                <a:cxn ang="0">
                  <a:pos x="289" y="171"/>
                </a:cxn>
                <a:cxn ang="0">
                  <a:pos x="212" y="159"/>
                </a:cxn>
                <a:cxn ang="0">
                  <a:pos x="139" y="133"/>
                </a:cxn>
                <a:cxn ang="0">
                  <a:pos x="74" y="95"/>
                </a:cxn>
                <a:cxn ang="0">
                  <a:pos x="22" y="48"/>
                </a:cxn>
              </a:cxnLst>
              <a:rect l="0" t="0" r="r" b="b"/>
              <a:pathLst>
                <a:path w="1567" h="606">
                  <a:moveTo>
                    <a:pt x="0" y="20"/>
                  </a:moveTo>
                  <a:lnTo>
                    <a:pt x="4" y="65"/>
                  </a:lnTo>
                  <a:lnTo>
                    <a:pt x="12" y="109"/>
                  </a:lnTo>
                  <a:lnTo>
                    <a:pt x="24" y="154"/>
                  </a:lnTo>
                  <a:lnTo>
                    <a:pt x="42" y="196"/>
                  </a:lnTo>
                  <a:lnTo>
                    <a:pt x="62" y="238"/>
                  </a:lnTo>
                  <a:lnTo>
                    <a:pt x="86" y="279"/>
                  </a:lnTo>
                  <a:lnTo>
                    <a:pt x="115" y="317"/>
                  </a:lnTo>
                  <a:lnTo>
                    <a:pt x="149" y="354"/>
                  </a:lnTo>
                  <a:lnTo>
                    <a:pt x="183" y="390"/>
                  </a:lnTo>
                  <a:lnTo>
                    <a:pt x="222" y="423"/>
                  </a:lnTo>
                  <a:lnTo>
                    <a:pt x="264" y="454"/>
                  </a:lnTo>
                  <a:lnTo>
                    <a:pt x="309" y="482"/>
                  </a:lnTo>
                  <a:lnTo>
                    <a:pt x="357" y="508"/>
                  </a:lnTo>
                  <a:lnTo>
                    <a:pt x="407" y="530"/>
                  </a:lnTo>
                  <a:lnTo>
                    <a:pt x="458" y="551"/>
                  </a:lnTo>
                  <a:lnTo>
                    <a:pt x="511" y="567"/>
                  </a:lnTo>
                  <a:lnTo>
                    <a:pt x="567" y="582"/>
                  </a:lnTo>
                  <a:lnTo>
                    <a:pt x="623" y="592"/>
                  </a:lnTo>
                  <a:lnTo>
                    <a:pt x="680" y="600"/>
                  </a:lnTo>
                  <a:lnTo>
                    <a:pt x="736" y="603"/>
                  </a:lnTo>
                  <a:lnTo>
                    <a:pt x="794" y="605"/>
                  </a:lnTo>
                  <a:lnTo>
                    <a:pt x="852" y="603"/>
                  </a:lnTo>
                  <a:lnTo>
                    <a:pt x="910" y="597"/>
                  </a:lnTo>
                  <a:lnTo>
                    <a:pt x="967" y="587"/>
                  </a:lnTo>
                  <a:lnTo>
                    <a:pt x="1022" y="576"/>
                  </a:lnTo>
                  <a:lnTo>
                    <a:pt x="1077" y="560"/>
                  </a:lnTo>
                  <a:lnTo>
                    <a:pt x="1130" y="543"/>
                  </a:lnTo>
                  <a:lnTo>
                    <a:pt x="1181" y="521"/>
                  </a:lnTo>
                  <a:lnTo>
                    <a:pt x="1230" y="496"/>
                  </a:lnTo>
                  <a:lnTo>
                    <a:pt x="1276" y="470"/>
                  </a:lnTo>
                  <a:lnTo>
                    <a:pt x="1319" y="440"/>
                  </a:lnTo>
                  <a:lnTo>
                    <a:pt x="1360" y="408"/>
                  </a:lnTo>
                  <a:lnTo>
                    <a:pt x="1397" y="374"/>
                  </a:lnTo>
                  <a:lnTo>
                    <a:pt x="1432" y="338"/>
                  </a:lnTo>
                  <a:lnTo>
                    <a:pt x="1462" y="300"/>
                  </a:lnTo>
                  <a:lnTo>
                    <a:pt x="1488" y="260"/>
                  </a:lnTo>
                  <a:lnTo>
                    <a:pt x="1512" y="219"/>
                  </a:lnTo>
                  <a:lnTo>
                    <a:pt x="1531" y="176"/>
                  </a:lnTo>
                  <a:lnTo>
                    <a:pt x="1546" y="133"/>
                  </a:lnTo>
                  <a:lnTo>
                    <a:pt x="1556" y="90"/>
                  </a:lnTo>
                  <a:lnTo>
                    <a:pt x="1563" y="45"/>
                  </a:lnTo>
                  <a:lnTo>
                    <a:pt x="1566" y="0"/>
                  </a:lnTo>
                  <a:lnTo>
                    <a:pt x="782" y="0"/>
                  </a:lnTo>
                  <a:lnTo>
                    <a:pt x="682" y="0"/>
                  </a:lnTo>
                  <a:lnTo>
                    <a:pt x="667" y="27"/>
                  </a:lnTo>
                  <a:lnTo>
                    <a:pt x="648" y="53"/>
                  </a:lnTo>
                  <a:lnTo>
                    <a:pt x="627" y="76"/>
                  </a:lnTo>
                  <a:lnTo>
                    <a:pt x="601" y="98"/>
                  </a:lnTo>
                  <a:lnTo>
                    <a:pt x="573" y="117"/>
                  </a:lnTo>
                  <a:lnTo>
                    <a:pt x="543" y="133"/>
                  </a:lnTo>
                  <a:lnTo>
                    <a:pt x="511" y="146"/>
                  </a:lnTo>
                  <a:lnTo>
                    <a:pt x="477" y="158"/>
                  </a:lnTo>
                  <a:lnTo>
                    <a:pt x="441" y="165"/>
                  </a:lnTo>
                  <a:lnTo>
                    <a:pt x="407" y="169"/>
                  </a:lnTo>
                  <a:lnTo>
                    <a:pt x="369" y="170"/>
                  </a:lnTo>
                  <a:lnTo>
                    <a:pt x="328" y="172"/>
                  </a:lnTo>
                  <a:lnTo>
                    <a:pt x="289" y="171"/>
                  </a:lnTo>
                  <a:lnTo>
                    <a:pt x="249" y="167"/>
                  </a:lnTo>
                  <a:lnTo>
                    <a:pt x="212" y="159"/>
                  </a:lnTo>
                  <a:lnTo>
                    <a:pt x="173" y="146"/>
                  </a:lnTo>
                  <a:lnTo>
                    <a:pt x="139" y="133"/>
                  </a:lnTo>
                  <a:lnTo>
                    <a:pt x="104" y="116"/>
                  </a:lnTo>
                  <a:lnTo>
                    <a:pt x="74" y="95"/>
                  </a:lnTo>
                  <a:lnTo>
                    <a:pt x="46" y="74"/>
                  </a:lnTo>
                  <a:lnTo>
                    <a:pt x="22" y="48"/>
                  </a:lnTo>
                  <a:lnTo>
                    <a:pt x="0" y="20"/>
                  </a:lnTo>
                </a:path>
              </a:pathLst>
            </a:custGeom>
            <a:solidFill>
              <a:srgbClr val="A100FF">
                <a:lumMod val="20000"/>
                <a:lumOff val="80000"/>
              </a:srgbClr>
            </a:solidFill>
            <a:ln w="12700" cap="rnd" cmpd="sng">
              <a:solidFill>
                <a:srgbClr val="FFFFFF"/>
              </a:solid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 name="Freeform 7">
              <a:extLst>
                <a:ext uri="{FF2B5EF4-FFF2-40B4-BE49-F238E27FC236}">
                  <a16:creationId xmlns:a16="http://schemas.microsoft.com/office/drawing/2014/main" id="{16709393-662B-494A-88E3-9031230497B8}"/>
                </a:ext>
              </a:extLst>
            </p:cNvPr>
            <p:cNvSpPr>
              <a:spLocks/>
            </p:cNvSpPr>
            <p:nvPr/>
          </p:nvSpPr>
          <p:spPr bwMode="auto">
            <a:xfrm>
              <a:off x="3088" y="1392"/>
              <a:ext cx="604" cy="1162"/>
            </a:xfrm>
            <a:custGeom>
              <a:avLst/>
              <a:gdLst/>
              <a:ahLst/>
              <a:cxnLst>
                <a:cxn ang="0">
                  <a:pos x="77" y="1401"/>
                </a:cxn>
                <a:cxn ang="0">
                  <a:pos x="173" y="1382"/>
                </a:cxn>
                <a:cxn ang="0">
                  <a:pos x="265" y="1350"/>
                </a:cxn>
                <a:cxn ang="0">
                  <a:pos x="352" y="1303"/>
                </a:cxn>
                <a:cxn ang="0">
                  <a:pos x="434" y="1245"/>
                </a:cxn>
                <a:cxn ang="0">
                  <a:pos x="504" y="1175"/>
                </a:cxn>
                <a:cxn ang="0">
                  <a:pos x="566" y="1096"/>
                </a:cxn>
                <a:cxn ang="0">
                  <a:pos x="614" y="1008"/>
                </a:cxn>
                <a:cxn ang="0">
                  <a:pos x="650" y="914"/>
                </a:cxn>
                <a:cxn ang="0">
                  <a:pos x="672" y="815"/>
                </a:cxn>
                <a:cxn ang="0">
                  <a:pos x="682" y="714"/>
                </a:cxn>
                <a:cxn ang="0">
                  <a:pos x="676" y="613"/>
                </a:cxn>
                <a:cxn ang="0">
                  <a:pos x="655" y="514"/>
                </a:cxn>
                <a:cxn ang="0">
                  <a:pos x="622" y="418"/>
                </a:cxn>
                <a:cxn ang="0">
                  <a:pos x="575" y="328"/>
                </a:cxn>
                <a:cxn ang="0">
                  <a:pos x="518" y="247"/>
                </a:cxn>
                <a:cxn ang="0">
                  <a:pos x="450" y="175"/>
                </a:cxn>
                <a:cxn ang="0">
                  <a:pos x="372" y="113"/>
                </a:cxn>
                <a:cxn ang="0">
                  <a:pos x="285" y="64"/>
                </a:cxn>
                <a:cxn ang="0">
                  <a:pos x="194" y="29"/>
                </a:cxn>
                <a:cxn ang="0">
                  <a:pos x="97" y="8"/>
                </a:cxn>
                <a:cxn ang="0">
                  <a:pos x="0" y="0"/>
                </a:cxn>
                <a:cxn ang="0">
                  <a:pos x="34" y="756"/>
                </a:cxn>
                <a:cxn ang="0">
                  <a:pos x="96" y="809"/>
                </a:cxn>
                <a:cxn ang="0">
                  <a:pos x="148" y="872"/>
                </a:cxn>
                <a:cxn ang="0">
                  <a:pos x="188" y="945"/>
                </a:cxn>
                <a:cxn ang="0">
                  <a:pos x="214" y="1023"/>
                </a:cxn>
                <a:cxn ang="0">
                  <a:pos x="225" y="1104"/>
                </a:cxn>
                <a:cxn ang="0">
                  <a:pos x="219" y="1172"/>
                </a:cxn>
                <a:cxn ang="0">
                  <a:pos x="198" y="1238"/>
                </a:cxn>
                <a:cxn ang="0">
                  <a:pos x="163" y="1297"/>
                </a:cxn>
                <a:cxn ang="0">
                  <a:pos x="115" y="1348"/>
                </a:cxn>
                <a:cxn ang="0">
                  <a:pos x="59" y="1389"/>
                </a:cxn>
              </a:cxnLst>
              <a:rect l="0" t="0" r="r" b="b"/>
              <a:pathLst>
                <a:path w="683" h="1405">
                  <a:moveTo>
                    <a:pt x="27" y="1404"/>
                  </a:moveTo>
                  <a:lnTo>
                    <a:pt x="77" y="1401"/>
                  </a:lnTo>
                  <a:lnTo>
                    <a:pt x="125" y="1394"/>
                  </a:lnTo>
                  <a:lnTo>
                    <a:pt x="173" y="1382"/>
                  </a:lnTo>
                  <a:lnTo>
                    <a:pt x="220" y="1368"/>
                  </a:lnTo>
                  <a:lnTo>
                    <a:pt x="265" y="1350"/>
                  </a:lnTo>
                  <a:lnTo>
                    <a:pt x="310" y="1329"/>
                  </a:lnTo>
                  <a:lnTo>
                    <a:pt x="352" y="1303"/>
                  </a:lnTo>
                  <a:lnTo>
                    <a:pt x="395" y="1276"/>
                  </a:lnTo>
                  <a:lnTo>
                    <a:pt x="434" y="1245"/>
                  </a:lnTo>
                  <a:lnTo>
                    <a:pt x="469" y="1212"/>
                  </a:lnTo>
                  <a:lnTo>
                    <a:pt x="504" y="1175"/>
                  </a:lnTo>
                  <a:lnTo>
                    <a:pt x="537" y="1137"/>
                  </a:lnTo>
                  <a:lnTo>
                    <a:pt x="566" y="1096"/>
                  </a:lnTo>
                  <a:lnTo>
                    <a:pt x="591" y="1053"/>
                  </a:lnTo>
                  <a:lnTo>
                    <a:pt x="614" y="1008"/>
                  </a:lnTo>
                  <a:lnTo>
                    <a:pt x="633" y="962"/>
                  </a:lnTo>
                  <a:lnTo>
                    <a:pt x="650" y="914"/>
                  </a:lnTo>
                  <a:lnTo>
                    <a:pt x="662" y="865"/>
                  </a:lnTo>
                  <a:lnTo>
                    <a:pt x="672" y="815"/>
                  </a:lnTo>
                  <a:lnTo>
                    <a:pt x="677" y="765"/>
                  </a:lnTo>
                  <a:lnTo>
                    <a:pt x="682" y="714"/>
                  </a:lnTo>
                  <a:lnTo>
                    <a:pt x="680" y="663"/>
                  </a:lnTo>
                  <a:lnTo>
                    <a:pt x="676" y="613"/>
                  </a:lnTo>
                  <a:lnTo>
                    <a:pt x="668" y="563"/>
                  </a:lnTo>
                  <a:lnTo>
                    <a:pt x="655" y="514"/>
                  </a:lnTo>
                  <a:lnTo>
                    <a:pt x="640" y="465"/>
                  </a:lnTo>
                  <a:lnTo>
                    <a:pt x="622" y="418"/>
                  </a:lnTo>
                  <a:lnTo>
                    <a:pt x="600" y="373"/>
                  </a:lnTo>
                  <a:lnTo>
                    <a:pt x="575" y="328"/>
                  </a:lnTo>
                  <a:lnTo>
                    <a:pt x="549" y="286"/>
                  </a:lnTo>
                  <a:lnTo>
                    <a:pt x="518" y="247"/>
                  </a:lnTo>
                  <a:lnTo>
                    <a:pt x="484" y="210"/>
                  </a:lnTo>
                  <a:lnTo>
                    <a:pt x="450" y="175"/>
                  </a:lnTo>
                  <a:lnTo>
                    <a:pt x="411" y="142"/>
                  </a:lnTo>
                  <a:lnTo>
                    <a:pt x="372" y="113"/>
                  </a:lnTo>
                  <a:lnTo>
                    <a:pt x="329" y="87"/>
                  </a:lnTo>
                  <a:lnTo>
                    <a:pt x="285" y="64"/>
                  </a:lnTo>
                  <a:lnTo>
                    <a:pt x="241" y="45"/>
                  </a:lnTo>
                  <a:lnTo>
                    <a:pt x="194" y="29"/>
                  </a:lnTo>
                  <a:lnTo>
                    <a:pt x="146" y="17"/>
                  </a:lnTo>
                  <a:lnTo>
                    <a:pt x="97" y="8"/>
                  </a:lnTo>
                  <a:lnTo>
                    <a:pt x="49" y="2"/>
                  </a:lnTo>
                  <a:lnTo>
                    <a:pt x="0" y="0"/>
                  </a:lnTo>
                  <a:lnTo>
                    <a:pt x="0" y="734"/>
                  </a:lnTo>
                  <a:lnTo>
                    <a:pt x="34" y="756"/>
                  </a:lnTo>
                  <a:lnTo>
                    <a:pt x="67" y="781"/>
                  </a:lnTo>
                  <a:lnTo>
                    <a:pt x="96" y="809"/>
                  </a:lnTo>
                  <a:lnTo>
                    <a:pt x="125" y="840"/>
                  </a:lnTo>
                  <a:lnTo>
                    <a:pt x="148" y="872"/>
                  </a:lnTo>
                  <a:lnTo>
                    <a:pt x="170" y="908"/>
                  </a:lnTo>
                  <a:lnTo>
                    <a:pt x="188" y="945"/>
                  </a:lnTo>
                  <a:lnTo>
                    <a:pt x="203" y="983"/>
                  </a:lnTo>
                  <a:lnTo>
                    <a:pt x="214" y="1023"/>
                  </a:lnTo>
                  <a:lnTo>
                    <a:pt x="221" y="1062"/>
                  </a:lnTo>
                  <a:lnTo>
                    <a:pt x="225" y="1104"/>
                  </a:lnTo>
                  <a:lnTo>
                    <a:pt x="225" y="1138"/>
                  </a:lnTo>
                  <a:lnTo>
                    <a:pt x="219" y="1172"/>
                  </a:lnTo>
                  <a:lnTo>
                    <a:pt x="210" y="1206"/>
                  </a:lnTo>
                  <a:lnTo>
                    <a:pt x="198" y="1238"/>
                  </a:lnTo>
                  <a:lnTo>
                    <a:pt x="181" y="1269"/>
                  </a:lnTo>
                  <a:lnTo>
                    <a:pt x="163" y="1297"/>
                  </a:lnTo>
                  <a:lnTo>
                    <a:pt x="140" y="1324"/>
                  </a:lnTo>
                  <a:lnTo>
                    <a:pt x="115" y="1348"/>
                  </a:lnTo>
                  <a:lnTo>
                    <a:pt x="89" y="1370"/>
                  </a:lnTo>
                  <a:lnTo>
                    <a:pt x="59" y="1389"/>
                  </a:lnTo>
                  <a:lnTo>
                    <a:pt x="27" y="1404"/>
                  </a:lnTo>
                </a:path>
              </a:pathLst>
            </a:custGeom>
            <a:solidFill>
              <a:srgbClr val="A100FF">
                <a:lumMod val="20000"/>
                <a:lumOff val="80000"/>
              </a:srgbClr>
            </a:solidFill>
            <a:ln w="12700" cap="rnd" cmpd="sng">
              <a:solidFill>
                <a:srgbClr val="FFFFFF"/>
              </a:solid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 name="Oval 8">
              <a:extLst>
                <a:ext uri="{FF2B5EF4-FFF2-40B4-BE49-F238E27FC236}">
                  <a16:creationId xmlns:a16="http://schemas.microsoft.com/office/drawing/2014/main" id="{01FC48AA-649C-4606-8BAA-A55EAD09A98A}"/>
                </a:ext>
              </a:extLst>
            </p:cNvPr>
            <p:cNvSpPr>
              <a:spLocks noChangeAspect="1" noChangeArrowheads="1"/>
            </p:cNvSpPr>
            <p:nvPr/>
          </p:nvSpPr>
          <p:spPr bwMode="auto">
            <a:xfrm>
              <a:off x="2884" y="2199"/>
              <a:ext cx="438" cy="404"/>
            </a:xfrm>
            <a:prstGeom prst="ellipse">
              <a:avLst/>
            </a:prstGeom>
            <a:solidFill>
              <a:srgbClr val="A055F5"/>
            </a:solidFill>
            <a:ln w="12700">
              <a:solidFill>
                <a:srgbClr val="FFFFFF"/>
              </a:solidFill>
              <a:round/>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 name="Text Box 9">
              <a:extLst>
                <a:ext uri="{FF2B5EF4-FFF2-40B4-BE49-F238E27FC236}">
                  <a16:creationId xmlns:a16="http://schemas.microsoft.com/office/drawing/2014/main" id="{9B763E7D-404F-4953-87A2-62DEB74770D6}"/>
                </a:ext>
              </a:extLst>
            </p:cNvPr>
            <p:cNvSpPr txBox="1">
              <a:spLocks noChangeArrowheads="1"/>
            </p:cNvSpPr>
            <p:nvPr/>
          </p:nvSpPr>
          <p:spPr bwMode="auto">
            <a:xfrm>
              <a:off x="3260" y="1892"/>
              <a:ext cx="259" cy="161"/>
            </a:xfrm>
            <a:prstGeom prst="rect">
              <a:avLst/>
            </a:prstGeom>
            <a:noFill/>
            <a:ln w="2540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Arial"/>
                  <a:ea typeface="+mn-ea"/>
                  <a:cs typeface="+mn-cs"/>
                </a:rPr>
                <a:t>Text</a:t>
              </a:r>
            </a:p>
          </p:txBody>
        </p:sp>
        <p:sp>
          <p:nvSpPr>
            <p:cNvPr id="12" name="Text Box 10">
              <a:extLst>
                <a:ext uri="{FF2B5EF4-FFF2-40B4-BE49-F238E27FC236}">
                  <a16:creationId xmlns:a16="http://schemas.microsoft.com/office/drawing/2014/main" id="{2B14BF72-A2D0-40DB-9AAD-6D493172A99A}"/>
                </a:ext>
              </a:extLst>
            </p:cNvPr>
            <p:cNvSpPr txBox="1">
              <a:spLocks noChangeArrowheads="1"/>
            </p:cNvSpPr>
            <p:nvPr/>
          </p:nvSpPr>
          <p:spPr bwMode="auto">
            <a:xfrm>
              <a:off x="3448" y="2540"/>
              <a:ext cx="259" cy="161"/>
            </a:xfrm>
            <a:prstGeom prst="rect">
              <a:avLst/>
            </a:prstGeom>
            <a:noFill/>
            <a:ln w="2540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Arial"/>
                  <a:ea typeface="+mn-ea"/>
                  <a:cs typeface="+mn-cs"/>
                </a:rPr>
                <a:t>Text</a:t>
              </a:r>
            </a:p>
          </p:txBody>
        </p:sp>
        <p:sp>
          <p:nvSpPr>
            <p:cNvPr id="13" name="Text Box 11">
              <a:extLst>
                <a:ext uri="{FF2B5EF4-FFF2-40B4-BE49-F238E27FC236}">
                  <a16:creationId xmlns:a16="http://schemas.microsoft.com/office/drawing/2014/main" id="{22D01ACD-19ED-4DB1-AB98-FCA81E93DC50}"/>
                </a:ext>
              </a:extLst>
            </p:cNvPr>
            <p:cNvSpPr txBox="1">
              <a:spLocks noChangeArrowheads="1"/>
            </p:cNvSpPr>
            <p:nvPr/>
          </p:nvSpPr>
          <p:spPr bwMode="auto">
            <a:xfrm>
              <a:off x="2728" y="2698"/>
              <a:ext cx="259" cy="161"/>
            </a:xfrm>
            <a:prstGeom prst="rect">
              <a:avLst/>
            </a:prstGeom>
            <a:noFill/>
            <a:ln w="2540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a:ea typeface="+mn-ea"/>
                  <a:cs typeface="+mn-cs"/>
                </a:rPr>
                <a:t>Text</a:t>
              </a:r>
            </a:p>
          </p:txBody>
        </p:sp>
        <p:sp>
          <p:nvSpPr>
            <p:cNvPr id="14" name="Text Box 12">
              <a:extLst>
                <a:ext uri="{FF2B5EF4-FFF2-40B4-BE49-F238E27FC236}">
                  <a16:creationId xmlns:a16="http://schemas.microsoft.com/office/drawing/2014/main" id="{33B0A2A2-1123-4758-A7BE-F549D54DB4B8}"/>
                </a:ext>
              </a:extLst>
            </p:cNvPr>
            <p:cNvSpPr txBox="1">
              <a:spLocks noChangeArrowheads="1"/>
            </p:cNvSpPr>
            <p:nvPr/>
          </p:nvSpPr>
          <p:spPr bwMode="auto">
            <a:xfrm>
              <a:off x="2533" y="2063"/>
              <a:ext cx="259" cy="161"/>
            </a:xfrm>
            <a:prstGeom prst="rect">
              <a:avLst/>
            </a:prstGeom>
            <a:noFill/>
            <a:ln w="2540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a:ea typeface="+mn-ea"/>
                  <a:cs typeface="+mn-cs"/>
                </a:rPr>
                <a:t>Text</a:t>
              </a:r>
            </a:p>
          </p:txBody>
        </p:sp>
      </p:grpSp>
      <p:sp>
        <p:nvSpPr>
          <p:cNvPr id="16" name="Footer Placeholder 15">
            <a:extLst>
              <a:ext uri="{FF2B5EF4-FFF2-40B4-BE49-F238E27FC236}">
                <a16:creationId xmlns:a16="http://schemas.microsoft.com/office/drawing/2014/main" id="{64570333-FED7-44EB-BC7C-0249994939CB}"/>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7" name="Slide Number Placeholder 16">
            <a:extLst>
              <a:ext uri="{FF2B5EF4-FFF2-40B4-BE49-F238E27FC236}">
                <a16:creationId xmlns:a16="http://schemas.microsoft.com/office/drawing/2014/main" id="{4BD37A55-3CEA-4942-AC2E-3526A9E5CE17}"/>
              </a:ext>
            </a:extLst>
          </p:cNvPr>
          <p:cNvSpPr>
            <a:spLocks noGrp="1"/>
          </p:cNvSpPr>
          <p:nvPr>
            <p:ph type="sldNum" sz="quarter" idx="10"/>
          </p:nvPr>
        </p:nvSpPr>
        <p:spPr/>
        <p:txBody>
          <a:bodyPr/>
          <a:lstStyle/>
          <a:p>
            <a:fld id="{1F90F471-3972-4120-B8B3-0237DE626C35}" type="slidenum">
              <a:rPr lang="en-US" smtClean="0"/>
              <a:pPr/>
              <a:t>258</a:t>
            </a:fld>
            <a:endParaRPr lang="en-US" dirty="0"/>
          </a:p>
        </p:txBody>
      </p:sp>
    </p:spTree>
    <p:extLst>
      <p:ext uri="{BB962C8B-B14F-4D97-AF65-F5344CB8AC3E}">
        <p14:creationId xmlns:p14="http://schemas.microsoft.com/office/powerpoint/2010/main" val="2924897420"/>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Iterative Flow 1</a:t>
            </a:r>
          </a:p>
        </p:txBody>
      </p:sp>
      <p:sp>
        <p:nvSpPr>
          <p:cNvPr id="5" name="Oval 29">
            <a:extLst>
              <a:ext uri="{FF2B5EF4-FFF2-40B4-BE49-F238E27FC236}">
                <a16:creationId xmlns:a16="http://schemas.microsoft.com/office/drawing/2014/main" id="{84A5EE20-BE92-4D16-8BE1-D68F381154EF}"/>
              </a:ext>
            </a:extLst>
          </p:cNvPr>
          <p:cNvSpPr>
            <a:spLocks noChangeArrowheads="1"/>
          </p:cNvSpPr>
          <p:nvPr>
            <p:custDataLst>
              <p:tags r:id="rId1"/>
            </p:custDataLst>
          </p:nvPr>
        </p:nvSpPr>
        <p:spPr bwMode="auto">
          <a:xfrm>
            <a:off x="5242268" y="1219200"/>
            <a:ext cx="2160000" cy="540000"/>
          </a:xfrm>
          <a:prstGeom prst="rect">
            <a:avLst/>
          </a:prstGeom>
          <a:solidFill>
            <a:srgbClr val="96968C">
              <a:lumMod val="20000"/>
              <a:lumOff val="80000"/>
            </a:srgbClr>
          </a:solidFill>
          <a:ln w="6350">
            <a:noFill/>
            <a:round/>
            <a:headEnd/>
            <a:tailEnd/>
          </a:ln>
          <a:effectLst/>
        </p:spPr>
        <p:txBody>
          <a:bodyPr wrap="none" lIns="72000" tIns="72000" rIns="72000" bIns="7200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00000"/>
                </a:solidFill>
                <a:effectLst/>
                <a:uLnTx/>
                <a:uFillTx/>
                <a:latin typeface="Arial"/>
                <a:ea typeface="+mn-ea"/>
                <a:cs typeface="+mn-cs"/>
              </a:rPr>
              <a:t>Text</a:t>
            </a: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 name="Oval 30">
            <a:extLst>
              <a:ext uri="{FF2B5EF4-FFF2-40B4-BE49-F238E27FC236}">
                <a16:creationId xmlns:a16="http://schemas.microsoft.com/office/drawing/2014/main" id="{CB52DC5A-22A1-48FA-947D-95D9582D5FBC}"/>
              </a:ext>
            </a:extLst>
          </p:cNvPr>
          <p:cNvSpPr>
            <a:spLocks noChangeArrowheads="1"/>
          </p:cNvSpPr>
          <p:nvPr>
            <p:custDataLst>
              <p:tags r:id="rId2"/>
            </p:custDataLst>
          </p:nvPr>
        </p:nvSpPr>
        <p:spPr bwMode="auto">
          <a:xfrm>
            <a:off x="8198438" y="3277588"/>
            <a:ext cx="2160000" cy="540000"/>
          </a:xfrm>
          <a:prstGeom prst="rect">
            <a:avLst/>
          </a:prstGeom>
          <a:solidFill>
            <a:srgbClr val="96968C">
              <a:lumMod val="20000"/>
              <a:lumOff val="80000"/>
            </a:srgbClr>
          </a:solidFill>
          <a:ln w="6350">
            <a:noFill/>
            <a:round/>
            <a:headEnd/>
            <a:tailEnd/>
          </a:ln>
          <a:effectLst/>
        </p:spPr>
        <p:txBody>
          <a:bodyPr wrap="none" lIns="72000" tIns="72000" rIns="72000" bIns="7200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00000"/>
                </a:solidFill>
                <a:effectLst/>
                <a:uLnTx/>
                <a:uFillTx/>
                <a:latin typeface="Arial"/>
                <a:ea typeface="+mn-ea"/>
                <a:cs typeface="+mn-cs"/>
              </a:rPr>
              <a:t>Text</a:t>
            </a: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 name="Oval 34">
            <a:extLst>
              <a:ext uri="{FF2B5EF4-FFF2-40B4-BE49-F238E27FC236}">
                <a16:creationId xmlns:a16="http://schemas.microsoft.com/office/drawing/2014/main" id="{1906198E-1227-4DAB-8AA1-6F880F6631A4}"/>
              </a:ext>
            </a:extLst>
          </p:cNvPr>
          <p:cNvSpPr>
            <a:spLocks noChangeArrowheads="1"/>
          </p:cNvSpPr>
          <p:nvPr>
            <p:custDataLst>
              <p:tags r:id="rId3"/>
            </p:custDataLst>
          </p:nvPr>
        </p:nvSpPr>
        <p:spPr bwMode="auto">
          <a:xfrm>
            <a:off x="5229777" y="5335976"/>
            <a:ext cx="2160000" cy="540000"/>
          </a:xfrm>
          <a:prstGeom prst="rect">
            <a:avLst/>
          </a:prstGeom>
          <a:solidFill>
            <a:srgbClr val="96968C">
              <a:lumMod val="20000"/>
              <a:lumOff val="80000"/>
            </a:srgbClr>
          </a:solidFill>
          <a:ln w="6350">
            <a:noFill/>
            <a:round/>
            <a:headEnd/>
            <a:tailEnd/>
          </a:ln>
          <a:effectLst/>
        </p:spPr>
        <p:txBody>
          <a:bodyPr wrap="none" lIns="72000" tIns="72000" rIns="72000" bIns="7200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00000"/>
                </a:solidFill>
                <a:effectLst/>
                <a:uLnTx/>
                <a:uFillTx/>
                <a:latin typeface="Arial"/>
                <a:ea typeface="+mn-ea"/>
                <a:cs typeface="+mn-cs"/>
              </a:rPr>
              <a:t>Text</a:t>
            </a: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Oval 35">
            <a:extLst>
              <a:ext uri="{FF2B5EF4-FFF2-40B4-BE49-F238E27FC236}">
                <a16:creationId xmlns:a16="http://schemas.microsoft.com/office/drawing/2014/main" id="{C5EC0FAD-85EB-45B9-B345-7BAAF62B2233}"/>
              </a:ext>
            </a:extLst>
          </p:cNvPr>
          <p:cNvSpPr>
            <a:spLocks noChangeArrowheads="1"/>
          </p:cNvSpPr>
          <p:nvPr>
            <p:custDataLst>
              <p:tags r:id="rId4"/>
            </p:custDataLst>
          </p:nvPr>
        </p:nvSpPr>
        <p:spPr bwMode="auto">
          <a:xfrm>
            <a:off x="2273605" y="3272323"/>
            <a:ext cx="2160000" cy="540000"/>
          </a:xfrm>
          <a:prstGeom prst="rect">
            <a:avLst/>
          </a:prstGeom>
          <a:solidFill>
            <a:srgbClr val="96968C">
              <a:lumMod val="20000"/>
              <a:lumOff val="80000"/>
            </a:srgbClr>
          </a:solidFill>
          <a:ln w="6350">
            <a:noFill/>
            <a:round/>
            <a:headEnd/>
            <a:tailEnd/>
          </a:ln>
          <a:effectLst/>
        </p:spPr>
        <p:txBody>
          <a:bodyPr wrap="none" lIns="72000" tIns="72000" rIns="72000" bIns="7200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00000"/>
                </a:solidFill>
                <a:effectLst/>
                <a:uLnTx/>
                <a:uFillTx/>
                <a:latin typeface="Arial"/>
                <a:ea typeface="+mn-ea"/>
                <a:cs typeface="+mn-cs"/>
              </a:rPr>
              <a:t>Text</a:t>
            </a: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7120956D-EA3C-471E-A725-9907557E03A8}"/>
              </a:ext>
              <a:ext uri="{C183D7F6-B498-43B3-948B-1728B52AA6E4}">
                <adec:decorative xmlns:adec="http://schemas.microsoft.com/office/drawing/2017/decorative" val="1"/>
              </a:ext>
            </a:extLst>
          </p:cNvPr>
          <p:cNvGrpSpPr/>
          <p:nvPr/>
        </p:nvGrpSpPr>
        <p:grpSpPr>
          <a:xfrm>
            <a:off x="4433605" y="1759199"/>
            <a:ext cx="3764833" cy="3576777"/>
            <a:chOff x="4433605" y="1759199"/>
            <a:chExt cx="3764833" cy="3576777"/>
          </a:xfrm>
        </p:grpSpPr>
        <p:cxnSp>
          <p:nvCxnSpPr>
            <p:cNvPr id="10" name="AutoShape 38">
              <a:extLst>
                <a:ext uri="{FF2B5EF4-FFF2-40B4-BE49-F238E27FC236}">
                  <a16:creationId xmlns:a16="http://schemas.microsoft.com/office/drawing/2014/main" id="{48B5B2CD-71F2-49E3-91AD-7564335F5B44}"/>
                </a:ext>
              </a:extLst>
            </p:cNvPr>
            <p:cNvCxnSpPr>
              <a:cxnSpLocks noChangeShapeType="1"/>
              <a:stCxn id="6" idx="0"/>
            </p:cNvCxnSpPr>
            <p:nvPr>
              <p:custDataLst>
                <p:tags r:id="rId5"/>
              </p:custDataLst>
            </p:nvPr>
          </p:nvCxnSpPr>
          <p:spPr bwMode="auto">
            <a:xfrm flipV="1">
              <a:off x="6309777" y="4651976"/>
              <a:ext cx="0" cy="684000"/>
            </a:xfrm>
            <a:prstGeom prst="straightConnector1">
              <a:avLst/>
            </a:prstGeom>
            <a:noFill/>
            <a:ln w="12700" cap="rnd">
              <a:solidFill>
                <a:schemeClr val="accent2"/>
              </a:solidFill>
              <a:prstDash val="dash"/>
              <a:round/>
              <a:headEnd/>
              <a:tailEnd type="none"/>
            </a:ln>
            <a:effectLst/>
          </p:spPr>
        </p:cxnSp>
        <p:cxnSp>
          <p:nvCxnSpPr>
            <p:cNvPr id="11" name="AutoShape 42">
              <a:extLst>
                <a:ext uri="{FF2B5EF4-FFF2-40B4-BE49-F238E27FC236}">
                  <a16:creationId xmlns:a16="http://schemas.microsoft.com/office/drawing/2014/main" id="{DE8304B9-4937-4449-AA20-0932999449FD}"/>
                </a:ext>
              </a:extLst>
            </p:cNvPr>
            <p:cNvCxnSpPr>
              <a:cxnSpLocks noChangeShapeType="1"/>
              <a:endCxn id="5" idx="2"/>
            </p:cNvCxnSpPr>
            <p:nvPr>
              <p:custDataLst>
                <p:tags r:id="rId6"/>
              </p:custDataLst>
            </p:nvPr>
          </p:nvCxnSpPr>
          <p:spPr bwMode="auto">
            <a:xfrm flipV="1">
              <a:off x="6322268" y="1759199"/>
              <a:ext cx="0" cy="684000"/>
            </a:xfrm>
            <a:prstGeom prst="straightConnector1">
              <a:avLst/>
            </a:prstGeom>
            <a:noFill/>
            <a:ln w="12700" cap="rnd">
              <a:solidFill>
                <a:schemeClr val="accent2"/>
              </a:solidFill>
              <a:prstDash val="dash"/>
              <a:round/>
              <a:headEnd type="none"/>
              <a:tailEnd type="none"/>
            </a:ln>
            <a:effectLst/>
          </p:spPr>
        </p:cxnSp>
        <p:cxnSp>
          <p:nvCxnSpPr>
            <p:cNvPr id="12" name="Straight Arrow Connector 11">
              <a:extLst>
                <a:ext uri="{FF2B5EF4-FFF2-40B4-BE49-F238E27FC236}">
                  <a16:creationId xmlns:a16="http://schemas.microsoft.com/office/drawing/2014/main" id="{A753FC96-F3DD-4DC0-A877-20D0ED18DDF2}"/>
                </a:ext>
              </a:extLst>
            </p:cNvPr>
            <p:cNvCxnSpPr>
              <a:stCxn id="8" idx="3"/>
            </p:cNvCxnSpPr>
            <p:nvPr/>
          </p:nvCxnSpPr>
          <p:spPr>
            <a:xfrm>
              <a:off x="4433605" y="3542323"/>
              <a:ext cx="808663" cy="0"/>
            </a:xfrm>
            <a:prstGeom prst="straightConnector1">
              <a:avLst/>
            </a:prstGeom>
            <a:noFill/>
            <a:ln w="12700" cap="flat" cmpd="sng" algn="ctr">
              <a:solidFill>
                <a:schemeClr val="accent2"/>
              </a:solidFill>
              <a:prstDash val="dash"/>
              <a:tailEnd type="none"/>
            </a:ln>
            <a:effectLst/>
          </p:spPr>
        </p:cxnSp>
        <p:cxnSp>
          <p:nvCxnSpPr>
            <p:cNvPr id="13" name="Straight Arrow Connector 12">
              <a:extLst>
                <a:ext uri="{FF2B5EF4-FFF2-40B4-BE49-F238E27FC236}">
                  <a16:creationId xmlns:a16="http://schemas.microsoft.com/office/drawing/2014/main" id="{3D7A38E7-528A-4C77-99E1-D73D4C2A4943}"/>
                </a:ext>
              </a:extLst>
            </p:cNvPr>
            <p:cNvCxnSpPr>
              <a:stCxn id="7" idx="1"/>
            </p:cNvCxnSpPr>
            <p:nvPr/>
          </p:nvCxnSpPr>
          <p:spPr>
            <a:xfrm flipH="1">
              <a:off x="7353279" y="3547588"/>
              <a:ext cx="845159" cy="0"/>
            </a:xfrm>
            <a:prstGeom prst="straightConnector1">
              <a:avLst/>
            </a:prstGeom>
            <a:noFill/>
            <a:ln w="12700" cap="flat" cmpd="sng" algn="ctr">
              <a:solidFill>
                <a:schemeClr val="accent2"/>
              </a:solidFill>
              <a:prstDash val="dash"/>
              <a:tailEnd type="none"/>
            </a:ln>
            <a:effectLst/>
          </p:spPr>
        </p:cxnSp>
      </p:grpSp>
      <p:sp>
        <p:nvSpPr>
          <p:cNvPr id="14" name="Oval 6">
            <a:extLst>
              <a:ext uri="{FF2B5EF4-FFF2-40B4-BE49-F238E27FC236}">
                <a16:creationId xmlns:a16="http://schemas.microsoft.com/office/drawing/2014/main" id="{5F4B29C5-A26E-477F-A83C-E3799D89AD1B}"/>
              </a:ext>
            </a:extLst>
          </p:cNvPr>
          <p:cNvSpPr>
            <a:spLocks noChangeArrowheads="1"/>
          </p:cNvSpPr>
          <p:nvPr/>
        </p:nvSpPr>
        <p:spPr bwMode="auto">
          <a:xfrm>
            <a:off x="5379938" y="2608560"/>
            <a:ext cx="1859676" cy="1878056"/>
          </a:xfrm>
          <a:prstGeom prst="ellipse">
            <a:avLst/>
          </a:prstGeom>
          <a:solidFill>
            <a:schemeClr val="accent1"/>
          </a:solidFill>
          <a:ln w="6350">
            <a:noFill/>
            <a:round/>
            <a:headEnd/>
            <a:tailEnd/>
          </a:ln>
          <a:effectLst/>
        </p:spPr>
        <p:txBody>
          <a:bodyPr wrap="none" lIns="72000" tIns="72000" rIns="72000" bIns="72000" anchor="ctr" anchorCtr="1"/>
          <a:lstStyle/>
          <a:p>
            <a:pPr marL="179388" marR="0" lvl="0" indent="-179388" algn="ctr"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Black"/>
                <a:ea typeface="+mn-ea"/>
                <a:cs typeface="+mn-cs"/>
              </a:rPr>
              <a:t>Text</a:t>
            </a:r>
          </a:p>
        </p:txBody>
      </p:sp>
      <p:grpSp>
        <p:nvGrpSpPr>
          <p:cNvPr id="15" name="Group 14">
            <a:extLst>
              <a:ext uri="{FF2B5EF4-FFF2-40B4-BE49-F238E27FC236}">
                <a16:creationId xmlns:a16="http://schemas.microsoft.com/office/drawing/2014/main" id="{85582A6C-F0FC-4314-864C-05CA834F5B67}"/>
              </a:ext>
              <a:ext uri="{C183D7F6-B498-43B3-948B-1728B52AA6E4}">
                <adec:decorative xmlns:adec="http://schemas.microsoft.com/office/drawing/2017/decorative" val="1"/>
              </a:ext>
            </a:extLst>
          </p:cNvPr>
          <p:cNvGrpSpPr/>
          <p:nvPr/>
        </p:nvGrpSpPr>
        <p:grpSpPr>
          <a:xfrm>
            <a:off x="4149776" y="1387588"/>
            <a:ext cx="4320000" cy="4320000"/>
            <a:chOff x="4149776" y="1387588"/>
            <a:chExt cx="4320000" cy="4320000"/>
          </a:xfrm>
        </p:grpSpPr>
        <p:sp>
          <p:nvSpPr>
            <p:cNvPr id="16" name="Arc 15">
              <a:extLst>
                <a:ext uri="{FF2B5EF4-FFF2-40B4-BE49-F238E27FC236}">
                  <a16:creationId xmlns:a16="http://schemas.microsoft.com/office/drawing/2014/main" id="{065ACE74-DF86-432A-8356-351C6FFADE17}"/>
                </a:ext>
              </a:extLst>
            </p:cNvPr>
            <p:cNvSpPr>
              <a:spLocks noChangeAspect="1"/>
            </p:cNvSpPr>
            <p:nvPr/>
          </p:nvSpPr>
          <p:spPr>
            <a:xfrm>
              <a:off x="4149776" y="1387588"/>
              <a:ext cx="4320000" cy="4320000"/>
            </a:xfrm>
            <a:prstGeom prst="arc">
              <a:avLst>
                <a:gd name="adj1" fmla="val 18129456"/>
                <a:gd name="adj2" fmla="val 21039645"/>
              </a:avLst>
            </a:prstGeom>
            <a:noFill/>
            <a:ln w="12700" cap="flat" cmpd="sng" algn="ctr">
              <a:solidFill>
                <a:schemeClr val="accent3"/>
              </a:solidFill>
              <a:prstDash val="solid"/>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7" name="Arc 16">
              <a:extLst>
                <a:ext uri="{FF2B5EF4-FFF2-40B4-BE49-F238E27FC236}">
                  <a16:creationId xmlns:a16="http://schemas.microsoft.com/office/drawing/2014/main" id="{A4F7AC61-BEDD-41E5-9558-AE6C414593D5}"/>
                </a:ext>
              </a:extLst>
            </p:cNvPr>
            <p:cNvSpPr>
              <a:spLocks noChangeAspect="1"/>
            </p:cNvSpPr>
            <p:nvPr/>
          </p:nvSpPr>
          <p:spPr>
            <a:xfrm>
              <a:off x="4149776" y="1387588"/>
              <a:ext cx="4320000" cy="4320000"/>
            </a:xfrm>
            <a:prstGeom prst="arc">
              <a:avLst>
                <a:gd name="adj1" fmla="val 545749"/>
                <a:gd name="adj2" fmla="val 3461886"/>
              </a:avLst>
            </a:prstGeom>
            <a:noFill/>
            <a:ln w="12700" cap="flat" cmpd="sng" algn="ctr">
              <a:solidFill>
                <a:schemeClr val="accent3"/>
              </a:solidFill>
              <a:prstDash val="solid"/>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8" name="Arc 17">
              <a:extLst>
                <a:ext uri="{FF2B5EF4-FFF2-40B4-BE49-F238E27FC236}">
                  <a16:creationId xmlns:a16="http://schemas.microsoft.com/office/drawing/2014/main" id="{D87CC0B3-F0E9-4BF3-A8C0-9F86ACA221F7}"/>
                </a:ext>
              </a:extLst>
            </p:cNvPr>
            <p:cNvSpPr>
              <a:spLocks noChangeAspect="1"/>
            </p:cNvSpPr>
            <p:nvPr/>
          </p:nvSpPr>
          <p:spPr>
            <a:xfrm>
              <a:off x="4149776" y="1387588"/>
              <a:ext cx="4320000" cy="4320000"/>
            </a:xfrm>
            <a:prstGeom prst="arc">
              <a:avLst>
                <a:gd name="adj1" fmla="val 7312901"/>
                <a:gd name="adj2" fmla="val 10203774"/>
              </a:avLst>
            </a:prstGeom>
            <a:noFill/>
            <a:ln w="12700" cap="flat" cmpd="sng" algn="ctr">
              <a:solidFill>
                <a:schemeClr val="accent3"/>
              </a:solidFill>
              <a:prstDash val="solid"/>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9" name="Arc 18">
              <a:extLst>
                <a:ext uri="{FF2B5EF4-FFF2-40B4-BE49-F238E27FC236}">
                  <a16:creationId xmlns:a16="http://schemas.microsoft.com/office/drawing/2014/main" id="{C6D1B8A0-C5AB-425C-B8F8-4170A8A006F9}"/>
                </a:ext>
              </a:extLst>
            </p:cNvPr>
            <p:cNvSpPr>
              <a:spLocks noChangeAspect="1"/>
            </p:cNvSpPr>
            <p:nvPr/>
          </p:nvSpPr>
          <p:spPr>
            <a:xfrm>
              <a:off x="4149776" y="1387588"/>
              <a:ext cx="4320000" cy="4320000"/>
            </a:xfrm>
            <a:prstGeom prst="arc">
              <a:avLst>
                <a:gd name="adj1" fmla="val 11423776"/>
                <a:gd name="adj2" fmla="val 14320093"/>
              </a:avLst>
            </a:prstGeom>
            <a:noFill/>
            <a:ln w="12700" cap="flat" cmpd="sng" algn="ctr">
              <a:solidFill>
                <a:schemeClr val="accent3"/>
              </a:solidFill>
              <a:prstDash val="solid"/>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grpSp>
      <p:sp>
        <p:nvSpPr>
          <p:cNvPr id="21" name="Footer Placeholder 20">
            <a:extLst>
              <a:ext uri="{FF2B5EF4-FFF2-40B4-BE49-F238E27FC236}">
                <a16:creationId xmlns:a16="http://schemas.microsoft.com/office/drawing/2014/main" id="{5F2FCFC7-5888-485E-A543-3DB65A55740D}"/>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2" name="Slide Number Placeholder 21">
            <a:extLst>
              <a:ext uri="{FF2B5EF4-FFF2-40B4-BE49-F238E27FC236}">
                <a16:creationId xmlns:a16="http://schemas.microsoft.com/office/drawing/2014/main" id="{74FD852E-5FF4-42B9-8394-235E6AEA649E}"/>
              </a:ext>
            </a:extLst>
          </p:cNvPr>
          <p:cNvSpPr>
            <a:spLocks noGrp="1"/>
          </p:cNvSpPr>
          <p:nvPr>
            <p:ph type="sldNum" sz="quarter" idx="10"/>
          </p:nvPr>
        </p:nvSpPr>
        <p:spPr/>
        <p:txBody>
          <a:bodyPr/>
          <a:lstStyle/>
          <a:p>
            <a:fld id="{1F90F471-3972-4120-B8B3-0237DE626C35}" type="slidenum">
              <a:rPr lang="en-US" smtClean="0"/>
              <a:pPr/>
              <a:t>259</a:t>
            </a:fld>
            <a:endParaRPr lang="en-US" dirty="0"/>
          </a:p>
        </p:txBody>
      </p:sp>
    </p:spTree>
    <p:extLst>
      <p:ext uri="{BB962C8B-B14F-4D97-AF65-F5344CB8AC3E}">
        <p14:creationId xmlns:p14="http://schemas.microsoft.com/office/powerpoint/2010/main" val="37814621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ll informative images must include a description for screen readers. All informative images must include a description for screen readers. If descriptive information is available in nearby text, it should not be repeated in the alt text for an image.">
            <a:extLst>
              <a:ext uri="{FF2B5EF4-FFF2-40B4-BE49-F238E27FC236}">
                <a16:creationId xmlns:a16="http://schemas.microsoft.com/office/drawing/2014/main" id="{47FD6FC5-659B-4F7B-ABEA-18DFE378F894}"/>
              </a:ext>
            </a:extLst>
          </p:cNvPr>
          <p:cNvPicPr>
            <a:picLocks noGrp="1" noChangeAspect="1"/>
          </p:cNvPicPr>
          <p:nvPr>
            <p:ph type="pic" sz="quarter" idx="10"/>
          </p:nvPr>
        </p:nvPicPr>
        <p:blipFill>
          <a:blip r:embed="rId3"/>
          <a:srcRect l="74" r="74"/>
          <a:stretch>
            <a:fillRect/>
          </a:stretch>
        </p:blipFill>
        <p:spPr/>
      </p:pic>
      <p:sp>
        <p:nvSpPr>
          <p:cNvPr id="3" name="Title 2">
            <a:extLst>
              <a:ext uri="{FF2B5EF4-FFF2-40B4-BE49-F238E27FC236}">
                <a16:creationId xmlns:a16="http://schemas.microsoft.com/office/drawing/2014/main" id="{660CFD2B-2C81-4516-A054-D75E97880919}"/>
              </a:ext>
            </a:extLst>
          </p:cNvPr>
          <p:cNvSpPr>
            <a:spLocks noGrp="1"/>
          </p:cNvSpPr>
          <p:nvPr>
            <p:ph type="ctrTitle"/>
          </p:nvPr>
        </p:nvSpPr>
        <p:spPr/>
        <p:txBody>
          <a:bodyPr/>
          <a:lstStyle/>
          <a:p>
            <a:r>
              <a:rPr lang="en-GB" dirty="0"/>
              <a:t>Place presentation title here 48pt  </a:t>
            </a:r>
            <a:endParaRPr lang="en-US" dirty="0"/>
          </a:p>
        </p:txBody>
      </p:sp>
      <p:sp>
        <p:nvSpPr>
          <p:cNvPr id="4" name="Subtitle 3">
            <a:extLst>
              <a:ext uri="{FF2B5EF4-FFF2-40B4-BE49-F238E27FC236}">
                <a16:creationId xmlns:a16="http://schemas.microsoft.com/office/drawing/2014/main" id="{B951A67A-4CC1-4159-A06D-82C86503E9B8}"/>
              </a:ext>
            </a:extLst>
          </p:cNvPr>
          <p:cNvSpPr>
            <a:spLocks noGrp="1"/>
          </p:cNvSpPr>
          <p:nvPr>
            <p:ph type="subTitle" idx="1"/>
          </p:nvPr>
        </p:nvSpPr>
        <p:spPr/>
        <p:txBody>
          <a:bodyPr/>
          <a:lstStyle/>
          <a:p>
            <a:r>
              <a:rPr lang="en-GB" dirty="0"/>
              <a:t>Place subtitle here in GT Sectra Fine </a:t>
            </a:r>
            <a:r>
              <a:rPr lang="en-GB" dirty="0" err="1"/>
              <a:t>Rg</a:t>
            </a:r>
            <a:r>
              <a:rPr lang="en-GB" dirty="0"/>
              <a:t> 24pt</a:t>
            </a:r>
            <a:endParaRPr lang="en-US" dirty="0"/>
          </a:p>
        </p:txBody>
      </p:sp>
      <p:sp>
        <p:nvSpPr>
          <p:cNvPr id="5" name="Text Placeholder 4">
            <a:extLst>
              <a:ext uri="{FF2B5EF4-FFF2-40B4-BE49-F238E27FC236}">
                <a16:creationId xmlns:a16="http://schemas.microsoft.com/office/drawing/2014/main" id="{35981204-73F3-414B-AC96-B82D9948B7D6}"/>
              </a:ext>
            </a:extLst>
          </p:cNvPr>
          <p:cNvSpPr>
            <a:spLocks noGrp="1"/>
          </p:cNvSpPr>
          <p:nvPr>
            <p:ph type="body" sz="quarter" idx="12"/>
          </p:nvPr>
        </p:nvSpPr>
        <p:spPr/>
        <p:txBody>
          <a:bodyPr/>
          <a:lstStyle/>
          <a:p>
            <a:r>
              <a:rPr lang="en-US" dirty="0"/>
              <a:t>Presenter 14pt</a:t>
            </a:r>
          </a:p>
        </p:txBody>
      </p:sp>
      <p:sp>
        <p:nvSpPr>
          <p:cNvPr id="6" name="Picture Placeholder 5" descr="Insert logo here">
            <a:extLst>
              <a:ext uri="{FF2B5EF4-FFF2-40B4-BE49-F238E27FC236}">
                <a16:creationId xmlns:a16="http://schemas.microsoft.com/office/drawing/2014/main" id="{4F16AA81-916A-4DEF-96D3-DEFF72DA34C1}"/>
              </a:ext>
            </a:extLst>
          </p:cNvPr>
          <p:cNvSpPr>
            <a:spLocks noGrp="1"/>
          </p:cNvSpPr>
          <p:nvPr>
            <p:ph type="pic" sz="quarter" idx="13"/>
          </p:nvPr>
        </p:nvSpPr>
        <p:spPr/>
        <p:txBody>
          <a:bodyPr/>
          <a:lstStyle/>
          <a:p>
            <a:endParaRPr lang="fr-FR"/>
          </a:p>
        </p:txBody>
      </p:sp>
      <p:sp>
        <p:nvSpPr>
          <p:cNvPr id="9" name="GTS_WH">
            <a:extLst>
              <a:ext uri="{FF2B5EF4-FFF2-40B4-BE49-F238E27FC236}">
                <a16:creationId xmlns:a16="http://schemas.microsoft.com/office/drawing/2014/main" id="{09F8AEEB-3F8F-4582-8AE6-11D6521D0792}"/>
              </a:ext>
              <a:ext uri="{C183D7F6-B498-43B3-948B-1728B52AA6E4}">
                <adec:decorative xmlns:adec="http://schemas.microsoft.com/office/drawing/2017/decorative" val="1"/>
              </a:ext>
            </a:extLst>
          </p:cNvPr>
          <p:cNvSpPr>
            <a:spLocks noChangeAspect="1"/>
          </p:cNvSpPr>
          <p:nvPr/>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92267208"/>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Iterative Flow 2</a:t>
            </a:r>
          </a:p>
        </p:txBody>
      </p:sp>
      <p:grpSp>
        <p:nvGrpSpPr>
          <p:cNvPr id="5" name="Group 3" descr="Add text and order accordingly">
            <a:extLst>
              <a:ext uri="{FF2B5EF4-FFF2-40B4-BE49-F238E27FC236}">
                <a16:creationId xmlns:a16="http://schemas.microsoft.com/office/drawing/2014/main" id="{6EC19FB9-09EB-4B38-B22E-BD041041C35A}"/>
              </a:ext>
            </a:extLst>
          </p:cNvPr>
          <p:cNvGrpSpPr>
            <a:grpSpLocks/>
          </p:cNvGrpSpPr>
          <p:nvPr/>
        </p:nvGrpSpPr>
        <p:grpSpPr bwMode="auto">
          <a:xfrm>
            <a:off x="2351584" y="1628801"/>
            <a:ext cx="7452828" cy="4002444"/>
            <a:chOff x="1152" y="1440"/>
            <a:chExt cx="3936" cy="1902"/>
          </a:xfrm>
        </p:grpSpPr>
        <p:sp>
          <p:nvSpPr>
            <p:cNvPr id="6" name="Oval 4">
              <a:extLst>
                <a:ext uri="{FF2B5EF4-FFF2-40B4-BE49-F238E27FC236}">
                  <a16:creationId xmlns:a16="http://schemas.microsoft.com/office/drawing/2014/main" id="{26C9D223-B95A-4DB1-B2CC-772427F655FB}"/>
                </a:ext>
              </a:extLst>
            </p:cNvPr>
            <p:cNvSpPr>
              <a:spLocks noChangeArrowheads="1"/>
            </p:cNvSpPr>
            <p:nvPr/>
          </p:nvSpPr>
          <p:spPr bwMode="auto">
            <a:xfrm>
              <a:off x="3596" y="2088"/>
              <a:ext cx="1492" cy="606"/>
            </a:xfrm>
            <a:prstGeom prst="ellipse">
              <a:avLst/>
            </a:prstGeom>
            <a:solidFill>
              <a:schemeClr val="accent5"/>
            </a:solidFill>
            <a:ln w="6350">
              <a:noFill/>
              <a:round/>
              <a:headEnd/>
              <a:tailEnd/>
            </a:ln>
            <a:effectLst/>
          </p:spPr>
          <p:txBody>
            <a:bodyPr wrap="none"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a:ln>
                    <a:noFill/>
                  </a:ln>
                  <a:effectLst/>
                  <a:uLnTx/>
                  <a:uFillTx/>
                  <a:latin typeface="Arial"/>
                  <a:ea typeface="+mn-ea"/>
                  <a:cs typeface="+mn-cs"/>
                </a:rPr>
                <a:t>Text</a:t>
              </a:r>
            </a:p>
          </p:txBody>
        </p:sp>
        <p:sp>
          <p:nvSpPr>
            <p:cNvPr id="7" name="Oval 5">
              <a:extLst>
                <a:ext uri="{FF2B5EF4-FFF2-40B4-BE49-F238E27FC236}">
                  <a16:creationId xmlns:a16="http://schemas.microsoft.com/office/drawing/2014/main" id="{228E677B-5A01-4FDB-BFF0-3A1EA4629ED3}"/>
                </a:ext>
              </a:extLst>
            </p:cNvPr>
            <p:cNvSpPr>
              <a:spLocks noChangeArrowheads="1"/>
            </p:cNvSpPr>
            <p:nvPr/>
          </p:nvSpPr>
          <p:spPr bwMode="auto">
            <a:xfrm>
              <a:off x="1152" y="2088"/>
              <a:ext cx="1492" cy="606"/>
            </a:xfrm>
            <a:prstGeom prst="ellipse">
              <a:avLst/>
            </a:prstGeom>
            <a:solidFill>
              <a:schemeClr val="accent2"/>
            </a:solidFill>
            <a:ln w="6350">
              <a:noFill/>
              <a:round/>
              <a:headEnd/>
              <a:tailEnd/>
            </a:ln>
            <a:effectLst/>
          </p:spPr>
          <p:txBody>
            <a:bodyPr wrap="none"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Arial"/>
                  <a:ea typeface="+mn-ea"/>
                  <a:cs typeface="+mn-cs"/>
                </a:rPr>
                <a:t>Text</a:t>
              </a:r>
            </a:p>
          </p:txBody>
        </p:sp>
        <p:sp>
          <p:nvSpPr>
            <p:cNvPr id="8" name="Oval 6">
              <a:extLst>
                <a:ext uri="{FF2B5EF4-FFF2-40B4-BE49-F238E27FC236}">
                  <a16:creationId xmlns:a16="http://schemas.microsoft.com/office/drawing/2014/main" id="{D20E7F93-A0A1-4E38-BA93-6A87AFC4BF94}"/>
                </a:ext>
              </a:extLst>
            </p:cNvPr>
            <p:cNvSpPr>
              <a:spLocks noChangeArrowheads="1"/>
            </p:cNvSpPr>
            <p:nvPr/>
          </p:nvSpPr>
          <p:spPr bwMode="auto">
            <a:xfrm>
              <a:off x="2375" y="2737"/>
              <a:ext cx="1490" cy="605"/>
            </a:xfrm>
            <a:prstGeom prst="ellipse">
              <a:avLst/>
            </a:prstGeom>
            <a:solidFill>
              <a:schemeClr val="accent3"/>
            </a:solidFill>
            <a:ln w="6350">
              <a:noFill/>
              <a:round/>
              <a:headEnd/>
              <a:tailEnd/>
            </a:ln>
            <a:effectLst/>
          </p:spPr>
          <p:txBody>
            <a:bodyPr wrap="none"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Arial"/>
                  <a:ea typeface="+mn-ea"/>
                  <a:cs typeface="+mn-cs"/>
                </a:rPr>
                <a:t>Text</a:t>
              </a:r>
            </a:p>
          </p:txBody>
        </p:sp>
        <p:sp>
          <p:nvSpPr>
            <p:cNvPr id="9" name="Oval 7">
              <a:extLst>
                <a:ext uri="{FF2B5EF4-FFF2-40B4-BE49-F238E27FC236}">
                  <a16:creationId xmlns:a16="http://schemas.microsoft.com/office/drawing/2014/main" id="{2C402DA2-4802-4A89-8EB4-6F54B34B5FEE}"/>
                </a:ext>
              </a:extLst>
            </p:cNvPr>
            <p:cNvSpPr>
              <a:spLocks noChangeArrowheads="1"/>
            </p:cNvSpPr>
            <p:nvPr/>
          </p:nvSpPr>
          <p:spPr bwMode="auto">
            <a:xfrm>
              <a:off x="2375" y="1440"/>
              <a:ext cx="1490" cy="605"/>
            </a:xfrm>
            <a:prstGeom prst="ellipse">
              <a:avLst/>
            </a:prstGeom>
            <a:solidFill>
              <a:schemeClr val="accent1"/>
            </a:solidFill>
            <a:ln w="6350">
              <a:noFill/>
              <a:round/>
              <a:headEnd/>
              <a:tailEnd/>
            </a:ln>
            <a:effectLst/>
          </p:spPr>
          <p:txBody>
            <a:bodyPr wrap="none"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Arial"/>
                  <a:ea typeface="+mn-ea"/>
                  <a:cs typeface="+mn-cs"/>
                </a:rPr>
                <a:t>Text</a:t>
              </a:r>
            </a:p>
          </p:txBody>
        </p:sp>
        <p:cxnSp>
          <p:nvCxnSpPr>
            <p:cNvPr id="10" name="AutoShape 8">
              <a:extLst>
                <a:ext uri="{FF2B5EF4-FFF2-40B4-BE49-F238E27FC236}">
                  <a16:creationId xmlns:a16="http://schemas.microsoft.com/office/drawing/2014/main" id="{38AC0673-D450-48B5-889B-A1C150A97368}"/>
                </a:ext>
              </a:extLst>
            </p:cNvPr>
            <p:cNvCxnSpPr>
              <a:cxnSpLocks noChangeShapeType="1"/>
              <a:stCxn id="7" idx="4"/>
              <a:endCxn id="8" idx="2"/>
            </p:cNvCxnSpPr>
            <p:nvPr/>
          </p:nvCxnSpPr>
          <p:spPr bwMode="auto">
            <a:xfrm rot="16200000" flipH="1">
              <a:off x="1964" y="2628"/>
              <a:ext cx="346" cy="477"/>
            </a:xfrm>
            <a:prstGeom prst="curvedConnector2">
              <a:avLst/>
            </a:prstGeom>
            <a:noFill/>
            <a:ln w="12700">
              <a:solidFill>
                <a:srgbClr val="96968C">
                  <a:lumMod val="60000"/>
                  <a:lumOff val="40000"/>
                </a:srgbClr>
              </a:solidFill>
              <a:prstDash val="dash"/>
              <a:round/>
              <a:headEnd type="triangle" w="lg" len="med"/>
              <a:tailEnd/>
            </a:ln>
            <a:effectLst/>
          </p:spPr>
        </p:cxnSp>
        <p:cxnSp>
          <p:nvCxnSpPr>
            <p:cNvPr id="11" name="AutoShape 9">
              <a:extLst>
                <a:ext uri="{FF2B5EF4-FFF2-40B4-BE49-F238E27FC236}">
                  <a16:creationId xmlns:a16="http://schemas.microsoft.com/office/drawing/2014/main" id="{84D12EB0-EDAF-424A-A552-559E0B6FBB49}"/>
                </a:ext>
              </a:extLst>
            </p:cNvPr>
            <p:cNvCxnSpPr>
              <a:cxnSpLocks noChangeShapeType="1"/>
              <a:stCxn id="9" idx="2"/>
              <a:endCxn id="7" idx="0"/>
            </p:cNvCxnSpPr>
            <p:nvPr/>
          </p:nvCxnSpPr>
          <p:spPr bwMode="auto">
            <a:xfrm rot="10800000" flipV="1">
              <a:off x="1898" y="1743"/>
              <a:ext cx="477" cy="345"/>
            </a:xfrm>
            <a:prstGeom prst="curvedConnector2">
              <a:avLst/>
            </a:prstGeom>
            <a:noFill/>
            <a:ln w="12700">
              <a:solidFill>
                <a:srgbClr val="96968C">
                  <a:lumMod val="60000"/>
                  <a:lumOff val="40000"/>
                </a:srgbClr>
              </a:solidFill>
              <a:prstDash val="dash"/>
              <a:round/>
              <a:headEnd type="triangle" w="lg" len="med"/>
              <a:tailEnd/>
            </a:ln>
            <a:effectLst/>
          </p:spPr>
        </p:cxnSp>
        <p:cxnSp>
          <p:nvCxnSpPr>
            <p:cNvPr id="12" name="AutoShape 10">
              <a:extLst>
                <a:ext uri="{FF2B5EF4-FFF2-40B4-BE49-F238E27FC236}">
                  <a16:creationId xmlns:a16="http://schemas.microsoft.com/office/drawing/2014/main" id="{B01F3B7B-2631-467D-B63B-D27CD9D314D6}"/>
                </a:ext>
              </a:extLst>
            </p:cNvPr>
            <p:cNvCxnSpPr>
              <a:cxnSpLocks noChangeShapeType="1"/>
              <a:stCxn id="6" idx="0"/>
              <a:endCxn id="9" idx="6"/>
            </p:cNvCxnSpPr>
            <p:nvPr/>
          </p:nvCxnSpPr>
          <p:spPr bwMode="auto">
            <a:xfrm rot="5400000" flipH="1">
              <a:off x="3931" y="1677"/>
              <a:ext cx="345" cy="477"/>
            </a:xfrm>
            <a:prstGeom prst="curvedConnector2">
              <a:avLst/>
            </a:prstGeom>
            <a:noFill/>
            <a:ln w="12700">
              <a:solidFill>
                <a:srgbClr val="96968C">
                  <a:lumMod val="60000"/>
                  <a:lumOff val="40000"/>
                </a:srgbClr>
              </a:solidFill>
              <a:prstDash val="dash"/>
              <a:round/>
              <a:headEnd type="triangle" w="lg" len="med"/>
              <a:tailEnd/>
            </a:ln>
            <a:effectLst/>
          </p:spPr>
        </p:cxnSp>
        <p:cxnSp>
          <p:nvCxnSpPr>
            <p:cNvPr id="13" name="AutoShape 11">
              <a:extLst>
                <a:ext uri="{FF2B5EF4-FFF2-40B4-BE49-F238E27FC236}">
                  <a16:creationId xmlns:a16="http://schemas.microsoft.com/office/drawing/2014/main" id="{3E65981F-CAC8-4F57-9D23-47FFA1919605}"/>
                </a:ext>
              </a:extLst>
            </p:cNvPr>
            <p:cNvCxnSpPr>
              <a:cxnSpLocks noChangeShapeType="1"/>
              <a:stCxn id="8" idx="6"/>
              <a:endCxn id="6" idx="4"/>
            </p:cNvCxnSpPr>
            <p:nvPr/>
          </p:nvCxnSpPr>
          <p:spPr bwMode="auto">
            <a:xfrm flipV="1">
              <a:off x="3865" y="2694"/>
              <a:ext cx="477" cy="346"/>
            </a:xfrm>
            <a:prstGeom prst="curvedConnector2">
              <a:avLst/>
            </a:prstGeom>
            <a:noFill/>
            <a:ln w="12700">
              <a:solidFill>
                <a:srgbClr val="96968C">
                  <a:lumMod val="60000"/>
                  <a:lumOff val="40000"/>
                </a:srgbClr>
              </a:solidFill>
              <a:prstDash val="dash"/>
              <a:round/>
              <a:headEnd type="triangle" w="lg" len="med"/>
              <a:tailEnd/>
            </a:ln>
            <a:effectLst/>
          </p:spPr>
        </p:cxnSp>
      </p:grpSp>
      <p:sp>
        <p:nvSpPr>
          <p:cNvPr id="15" name="Footer Placeholder 14">
            <a:extLst>
              <a:ext uri="{FF2B5EF4-FFF2-40B4-BE49-F238E27FC236}">
                <a16:creationId xmlns:a16="http://schemas.microsoft.com/office/drawing/2014/main" id="{01E0F1DB-E3EF-4566-A5F3-8FDA1FFB3EF9}"/>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6" name="Slide Number Placeholder 15">
            <a:extLst>
              <a:ext uri="{FF2B5EF4-FFF2-40B4-BE49-F238E27FC236}">
                <a16:creationId xmlns:a16="http://schemas.microsoft.com/office/drawing/2014/main" id="{711A4AE9-0E2C-4351-9A50-714F9C15EA86}"/>
              </a:ext>
            </a:extLst>
          </p:cNvPr>
          <p:cNvSpPr>
            <a:spLocks noGrp="1"/>
          </p:cNvSpPr>
          <p:nvPr>
            <p:ph type="sldNum" sz="quarter" idx="10"/>
          </p:nvPr>
        </p:nvSpPr>
        <p:spPr/>
        <p:txBody>
          <a:bodyPr/>
          <a:lstStyle/>
          <a:p>
            <a:fld id="{1F90F471-3972-4120-B8B3-0237DE626C35}" type="slidenum">
              <a:rPr lang="en-US" smtClean="0"/>
              <a:pPr/>
              <a:t>260</a:t>
            </a:fld>
            <a:endParaRPr lang="en-US" dirty="0"/>
          </a:p>
        </p:txBody>
      </p:sp>
    </p:spTree>
    <p:extLst>
      <p:ext uri="{BB962C8B-B14F-4D97-AF65-F5344CB8AC3E}">
        <p14:creationId xmlns:p14="http://schemas.microsoft.com/office/powerpoint/2010/main" val="2833582090"/>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Iterative Flow 3</a:t>
            </a:r>
          </a:p>
        </p:txBody>
      </p:sp>
      <p:sp>
        <p:nvSpPr>
          <p:cNvPr id="7" name="Rectangle 14">
            <a:extLst>
              <a:ext uri="{FF2B5EF4-FFF2-40B4-BE49-F238E27FC236}">
                <a16:creationId xmlns:a16="http://schemas.microsoft.com/office/drawing/2014/main" id="{694F809D-93C7-41E5-B16B-3CD72E9835FA}"/>
              </a:ext>
            </a:extLst>
          </p:cNvPr>
          <p:cNvSpPr>
            <a:spLocks noChangeArrowheads="1"/>
          </p:cNvSpPr>
          <p:nvPr/>
        </p:nvSpPr>
        <p:spPr bwMode="auto">
          <a:xfrm>
            <a:off x="1991646" y="1631388"/>
            <a:ext cx="3783491" cy="1949256"/>
          </a:xfrm>
          <a:prstGeom prst="rect">
            <a:avLst/>
          </a:prstGeom>
          <a:solidFill>
            <a:schemeClr val="accent4"/>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effectLst/>
                <a:uLnTx/>
                <a:uFillTx/>
                <a:latin typeface="Arial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effectLst/>
                <a:uLnTx/>
                <a:uFillTx/>
                <a:latin typeface="Arial"/>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effectLst/>
                <a:uLnTx/>
                <a:uFillTx/>
                <a:latin typeface="Arial"/>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effectLst/>
                <a:uLnTx/>
                <a:uFillTx/>
                <a:latin typeface="Arial"/>
                <a:ea typeface="+mn-ea"/>
                <a:cs typeface="+mn-cs"/>
              </a:rPr>
              <a:t>Text</a:t>
            </a:r>
            <a:endParaRPr kumimoji="0" lang="en-GB" sz="1600" b="0" i="0" u="none" strike="noStrike" kern="0" cap="none" spc="0" normalizeH="0" baseline="0" noProof="0" dirty="0">
              <a:ln>
                <a:noFill/>
              </a:ln>
              <a:effectLst/>
              <a:uLnTx/>
              <a:uFillTx/>
              <a:latin typeface="Arial"/>
              <a:ea typeface="+mn-ea"/>
              <a:cs typeface="+mn-cs"/>
            </a:endParaRPr>
          </a:p>
        </p:txBody>
      </p:sp>
      <p:sp>
        <p:nvSpPr>
          <p:cNvPr id="8" name="Rectangle 15">
            <a:extLst>
              <a:ext uri="{FF2B5EF4-FFF2-40B4-BE49-F238E27FC236}">
                <a16:creationId xmlns:a16="http://schemas.microsoft.com/office/drawing/2014/main" id="{682FB432-5925-481F-8FE6-B9F1623E29E4}"/>
              </a:ext>
            </a:extLst>
          </p:cNvPr>
          <p:cNvSpPr>
            <a:spLocks noChangeArrowheads="1"/>
          </p:cNvSpPr>
          <p:nvPr/>
        </p:nvSpPr>
        <p:spPr bwMode="auto">
          <a:xfrm>
            <a:off x="6367122" y="1645190"/>
            <a:ext cx="3832566" cy="1949257"/>
          </a:xfrm>
          <a:prstGeom prst="rect">
            <a:avLst/>
          </a:prstGeom>
          <a:solidFill>
            <a:schemeClr val="accent3"/>
          </a:solidFill>
          <a:ln w="6350">
            <a:noFill/>
            <a:miter lim="800000"/>
            <a:headEnd/>
            <a:tailEnd/>
          </a:ln>
        </p:spPr>
        <p:txBody>
          <a:bodyPr lIns="180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mn-cs"/>
              </a:rPr>
              <a:t>Text</a:t>
            </a:r>
            <a:endParaRPr kumimoji="0" lang="en-GB" sz="1600" b="0" i="0" u="none" strike="noStrike" kern="0" cap="none" spc="0" normalizeH="0" baseline="0" noProof="0" dirty="0">
              <a:ln>
                <a:noFill/>
              </a:ln>
              <a:solidFill>
                <a:srgbClr val="FFFFFF"/>
              </a:solidFill>
              <a:effectLst/>
              <a:uLnTx/>
              <a:uFillTx/>
              <a:latin typeface="Arial"/>
              <a:ea typeface="+mn-ea"/>
              <a:cs typeface="+mn-cs"/>
            </a:endParaRPr>
          </a:p>
        </p:txBody>
      </p:sp>
      <p:sp>
        <p:nvSpPr>
          <p:cNvPr id="5" name="Rectangle 12">
            <a:extLst>
              <a:ext uri="{FF2B5EF4-FFF2-40B4-BE49-F238E27FC236}">
                <a16:creationId xmlns:a16="http://schemas.microsoft.com/office/drawing/2014/main" id="{D9D65473-E065-454D-8D8A-54E6D966D968}"/>
              </a:ext>
            </a:extLst>
          </p:cNvPr>
          <p:cNvSpPr>
            <a:spLocks noChangeArrowheads="1"/>
          </p:cNvSpPr>
          <p:nvPr/>
        </p:nvSpPr>
        <p:spPr bwMode="auto">
          <a:xfrm>
            <a:off x="1991646" y="3934916"/>
            <a:ext cx="3783491" cy="2108755"/>
          </a:xfrm>
          <a:prstGeom prst="rect">
            <a:avLst/>
          </a:prstGeom>
          <a:solidFill>
            <a:schemeClr val="accent1"/>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mn-cs"/>
              </a:rPr>
              <a:t>Text</a:t>
            </a:r>
            <a:endParaRPr kumimoji="0" lang="en-GB" sz="1600" b="0" i="0" u="none" strike="noStrike" kern="0" cap="none" spc="0" normalizeH="0" baseline="0" noProof="0" dirty="0">
              <a:ln>
                <a:noFill/>
              </a:ln>
              <a:solidFill>
                <a:srgbClr val="FFFFFF"/>
              </a:solidFill>
              <a:effectLst/>
              <a:uLnTx/>
              <a:uFillTx/>
              <a:latin typeface="Arial"/>
              <a:ea typeface="+mn-ea"/>
              <a:cs typeface="+mn-cs"/>
            </a:endParaRPr>
          </a:p>
        </p:txBody>
      </p:sp>
      <p:sp>
        <p:nvSpPr>
          <p:cNvPr id="6" name="Rectangle 13">
            <a:extLst>
              <a:ext uri="{FF2B5EF4-FFF2-40B4-BE49-F238E27FC236}">
                <a16:creationId xmlns:a16="http://schemas.microsoft.com/office/drawing/2014/main" id="{3F3C9DA4-5A9A-4029-8E51-601426E6A0B8}"/>
              </a:ext>
            </a:extLst>
          </p:cNvPr>
          <p:cNvSpPr>
            <a:spLocks noChangeArrowheads="1"/>
          </p:cNvSpPr>
          <p:nvPr/>
        </p:nvSpPr>
        <p:spPr bwMode="auto">
          <a:xfrm>
            <a:off x="6362520" y="3948718"/>
            <a:ext cx="3832567" cy="2094953"/>
          </a:xfrm>
          <a:prstGeom prst="rect">
            <a:avLst/>
          </a:prstGeom>
          <a:solidFill>
            <a:schemeClr val="accent2"/>
          </a:solidFill>
          <a:ln w="6350">
            <a:noFill/>
            <a:miter lim="800000"/>
            <a:headEnd/>
            <a:tailEnd/>
          </a:ln>
        </p:spPr>
        <p:txBody>
          <a:bodyPr lIns="180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mn-cs"/>
              </a:rPr>
              <a:t>Text</a:t>
            </a:r>
            <a:endParaRPr kumimoji="0" lang="en-GB" sz="1600" b="0" i="0" u="none" strike="noStrike" kern="0" cap="none" spc="0" normalizeH="0" baseline="0" noProof="0" dirty="0">
              <a:ln>
                <a:noFill/>
              </a:ln>
              <a:solidFill>
                <a:srgbClr val="FFFFFF"/>
              </a:solidFill>
              <a:effectLst/>
              <a:uLnTx/>
              <a:uFillTx/>
              <a:latin typeface="Arial"/>
              <a:ea typeface="+mn-ea"/>
              <a:cs typeface="+mn-cs"/>
            </a:endParaRPr>
          </a:p>
        </p:txBody>
      </p:sp>
      <p:sp>
        <p:nvSpPr>
          <p:cNvPr id="9" name="Arc 8">
            <a:extLst>
              <a:ext uri="{FF2B5EF4-FFF2-40B4-BE49-F238E27FC236}">
                <a16:creationId xmlns:a16="http://schemas.microsoft.com/office/drawing/2014/main" id="{224D844F-4F33-4BFB-81DC-D2C6B0FC8FE1}"/>
              </a:ext>
              <a:ext uri="{C183D7F6-B498-43B3-948B-1728B52AA6E4}">
                <adec:decorative xmlns:adec="http://schemas.microsoft.com/office/drawing/2017/decorative" val="1"/>
              </a:ext>
            </a:extLst>
          </p:cNvPr>
          <p:cNvSpPr>
            <a:spLocks noChangeAspect="1"/>
          </p:cNvSpPr>
          <p:nvPr/>
        </p:nvSpPr>
        <p:spPr>
          <a:xfrm>
            <a:off x="4973181" y="2662133"/>
            <a:ext cx="2191294" cy="2191294"/>
          </a:xfrm>
          <a:prstGeom prst="arc">
            <a:avLst>
              <a:gd name="adj1" fmla="val 20275296"/>
              <a:gd name="adj2" fmla="val 4042003"/>
            </a:avLst>
          </a:prstGeom>
          <a:noFill/>
          <a:ln w="101600" cap="flat" cmpd="sng" algn="ctr">
            <a:solidFill>
              <a:schemeClr val="accent3"/>
            </a:solidFill>
            <a:prstDash val="solid"/>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0" name="Arc 9">
            <a:extLst>
              <a:ext uri="{FF2B5EF4-FFF2-40B4-BE49-F238E27FC236}">
                <a16:creationId xmlns:a16="http://schemas.microsoft.com/office/drawing/2014/main" id="{D3886D99-7D9A-4871-88B4-AA186D2B27A2}"/>
              </a:ext>
              <a:ext uri="{C183D7F6-B498-43B3-948B-1728B52AA6E4}">
                <adec:decorative xmlns:adec="http://schemas.microsoft.com/office/drawing/2017/decorative" val="1"/>
              </a:ext>
            </a:extLst>
          </p:cNvPr>
          <p:cNvSpPr>
            <a:spLocks noChangeAspect="1"/>
          </p:cNvSpPr>
          <p:nvPr/>
        </p:nvSpPr>
        <p:spPr>
          <a:xfrm>
            <a:off x="4973181" y="2662133"/>
            <a:ext cx="2191294" cy="2191294"/>
          </a:xfrm>
          <a:prstGeom prst="arc">
            <a:avLst>
              <a:gd name="adj1" fmla="val 15095988"/>
              <a:gd name="adj2" fmla="val 21094687"/>
            </a:avLst>
          </a:prstGeom>
          <a:noFill/>
          <a:ln w="101600" cap="flat" cmpd="sng" algn="ctr">
            <a:solidFill>
              <a:schemeClr val="accent5"/>
            </a:solidFill>
            <a:prstDash val="solid"/>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Arc 10">
            <a:extLst>
              <a:ext uri="{FF2B5EF4-FFF2-40B4-BE49-F238E27FC236}">
                <a16:creationId xmlns:a16="http://schemas.microsoft.com/office/drawing/2014/main" id="{42DD6E52-E2D7-487A-84A3-09EAE288A889}"/>
              </a:ext>
              <a:ext uri="{C183D7F6-B498-43B3-948B-1728B52AA6E4}">
                <adec:decorative xmlns:adec="http://schemas.microsoft.com/office/drawing/2017/decorative" val="1"/>
              </a:ext>
            </a:extLst>
          </p:cNvPr>
          <p:cNvSpPr>
            <a:spLocks noChangeAspect="1"/>
          </p:cNvSpPr>
          <p:nvPr/>
        </p:nvSpPr>
        <p:spPr>
          <a:xfrm>
            <a:off x="4973181" y="2662133"/>
            <a:ext cx="2191294" cy="2191294"/>
          </a:xfrm>
          <a:prstGeom prst="arc">
            <a:avLst>
              <a:gd name="adj1" fmla="val 10199293"/>
              <a:gd name="adj2" fmla="val 15470761"/>
            </a:avLst>
          </a:prstGeom>
          <a:noFill/>
          <a:ln w="101600" cap="flat" cmpd="sng" algn="ctr">
            <a:solidFill>
              <a:schemeClr val="accent3"/>
            </a:solidFill>
            <a:prstDash val="solid"/>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2" name="Arc 11">
            <a:extLst>
              <a:ext uri="{FF2B5EF4-FFF2-40B4-BE49-F238E27FC236}">
                <a16:creationId xmlns:a16="http://schemas.microsoft.com/office/drawing/2014/main" id="{0D7426E4-C07F-4DB6-8BF0-B03F3EACED47}"/>
              </a:ext>
              <a:ext uri="{C183D7F6-B498-43B3-948B-1728B52AA6E4}">
                <adec:decorative xmlns:adec="http://schemas.microsoft.com/office/drawing/2017/decorative" val="1"/>
              </a:ext>
            </a:extLst>
          </p:cNvPr>
          <p:cNvSpPr>
            <a:spLocks noChangeAspect="1"/>
          </p:cNvSpPr>
          <p:nvPr/>
        </p:nvSpPr>
        <p:spPr>
          <a:xfrm>
            <a:off x="4973181" y="2662133"/>
            <a:ext cx="2191294" cy="2191294"/>
          </a:xfrm>
          <a:prstGeom prst="arc">
            <a:avLst>
              <a:gd name="adj1" fmla="val 4245166"/>
              <a:gd name="adj2" fmla="val 10383252"/>
            </a:avLst>
          </a:prstGeom>
          <a:noFill/>
          <a:ln w="101600" cap="flat" cmpd="sng" algn="ctr">
            <a:solidFill>
              <a:schemeClr val="accent2"/>
            </a:solidFill>
            <a:prstDash val="solid"/>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4" name="Footer Placeholder 13">
            <a:extLst>
              <a:ext uri="{FF2B5EF4-FFF2-40B4-BE49-F238E27FC236}">
                <a16:creationId xmlns:a16="http://schemas.microsoft.com/office/drawing/2014/main" id="{AFA3251F-8BBE-4796-9DBE-280D38BD4C76}"/>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5" name="Slide Number Placeholder 14">
            <a:extLst>
              <a:ext uri="{FF2B5EF4-FFF2-40B4-BE49-F238E27FC236}">
                <a16:creationId xmlns:a16="http://schemas.microsoft.com/office/drawing/2014/main" id="{FBCB26BA-C01B-47C0-9521-F240500BC6A6}"/>
              </a:ext>
            </a:extLst>
          </p:cNvPr>
          <p:cNvSpPr>
            <a:spLocks noGrp="1"/>
          </p:cNvSpPr>
          <p:nvPr>
            <p:ph type="sldNum" sz="quarter" idx="10"/>
          </p:nvPr>
        </p:nvSpPr>
        <p:spPr/>
        <p:txBody>
          <a:bodyPr/>
          <a:lstStyle/>
          <a:p>
            <a:fld id="{1F90F471-3972-4120-B8B3-0237DE626C35}" type="slidenum">
              <a:rPr lang="en-US" smtClean="0"/>
              <a:pPr/>
              <a:t>261</a:t>
            </a:fld>
            <a:endParaRPr lang="en-US" dirty="0"/>
          </a:p>
        </p:txBody>
      </p:sp>
    </p:spTree>
    <p:extLst>
      <p:ext uri="{BB962C8B-B14F-4D97-AF65-F5344CB8AC3E}">
        <p14:creationId xmlns:p14="http://schemas.microsoft.com/office/powerpoint/2010/main" val="3541964862"/>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Iterative Flow 4</a:t>
            </a:r>
          </a:p>
        </p:txBody>
      </p:sp>
      <p:sp>
        <p:nvSpPr>
          <p:cNvPr id="5" name="Rectangle 14">
            <a:extLst>
              <a:ext uri="{FF2B5EF4-FFF2-40B4-BE49-F238E27FC236}">
                <a16:creationId xmlns:a16="http://schemas.microsoft.com/office/drawing/2014/main" id="{BD705390-05A5-4F46-8A7E-83866E1AF980}"/>
              </a:ext>
            </a:extLst>
          </p:cNvPr>
          <p:cNvSpPr>
            <a:spLocks noChangeArrowheads="1"/>
          </p:cNvSpPr>
          <p:nvPr/>
        </p:nvSpPr>
        <p:spPr bwMode="auto">
          <a:xfrm>
            <a:off x="1774589" y="1436480"/>
            <a:ext cx="3783491" cy="1949256"/>
          </a:xfrm>
          <a:prstGeom prst="rect">
            <a:avLst/>
          </a:prstGeom>
          <a:solidFill>
            <a:schemeClr val="accent1"/>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mn-cs"/>
              </a:rPr>
              <a:t>Text</a:t>
            </a:r>
            <a:endParaRPr kumimoji="0" lang="en-GB" sz="1600" b="0" i="0" u="none" strike="noStrike" kern="0" cap="none" spc="0" normalizeH="0" baseline="0" noProof="0" dirty="0">
              <a:ln>
                <a:noFill/>
              </a:ln>
              <a:solidFill>
                <a:srgbClr val="FFFFFF"/>
              </a:solidFill>
              <a:effectLst/>
              <a:uLnTx/>
              <a:uFillTx/>
              <a:latin typeface="Arial"/>
              <a:ea typeface="+mn-ea"/>
              <a:cs typeface="+mn-cs"/>
            </a:endParaRPr>
          </a:p>
        </p:txBody>
      </p:sp>
      <p:sp>
        <p:nvSpPr>
          <p:cNvPr id="9" name="Arrow: Chevron 8">
            <a:extLst>
              <a:ext uri="{FF2B5EF4-FFF2-40B4-BE49-F238E27FC236}">
                <a16:creationId xmlns:a16="http://schemas.microsoft.com/office/drawing/2014/main" id="{E8DAF940-DFE2-409C-B647-00503271EF4D}"/>
              </a:ext>
              <a:ext uri="{C183D7F6-B498-43B3-948B-1728B52AA6E4}">
                <adec:decorative xmlns:adec="http://schemas.microsoft.com/office/drawing/2017/decorative" val="1"/>
              </a:ext>
            </a:extLst>
          </p:cNvPr>
          <p:cNvSpPr/>
          <p:nvPr/>
        </p:nvSpPr>
        <p:spPr>
          <a:xfrm>
            <a:off x="5709340" y="2019385"/>
            <a:ext cx="570072" cy="783447"/>
          </a:xfrm>
          <a:prstGeom prst="chevron">
            <a:avLst/>
          </a:prstGeom>
          <a:pattFill prst="dkUpDiag">
            <a:fgClr>
              <a:srgbClr val="96968C">
                <a:lumMod val="40000"/>
                <a:lumOff val="60000"/>
              </a:srgbClr>
            </a:fgClr>
            <a:bgClr>
              <a:srgbClr val="FFFFFF"/>
            </a:bgClr>
          </a:patt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 name="Rectangle 14">
            <a:extLst>
              <a:ext uri="{FF2B5EF4-FFF2-40B4-BE49-F238E27FC236}">
                <a16:creationId xmlns:a16="http://schemas.microsoft.com/office/drawing/2014/main" id="{D588A19F-2A32-4010-B9DB-79636F642D8A}"/>
              </a:ext>
            </a:extLst>
          </p:cNvPr>
          <p:cNvSpPr>
            <a:spLocks noChangeArrowheads="1"/>
          </p:cNvSpPr>
          <p:nvPr/>
        </p:nvSpPr>
        <p:spPr bwMode="auto">
          <a:xfrm>
            <a:off x="6430672" y="1436480"/>
            <a:ext cx="3783491" cy="1949256"/>
          </a:xfrm>
          <a:prstGeom prst="rect">
            <a:avLst/>
          </a:prstGeom>
          <a:solidFill>
            <a:schemeClr val="accent1"/>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mn-cs"/>
              </a:rPr>
              <a:t>Text</a:t>
            </a:r>
            <a:endParaRPr kumimoji="0" lang="en-GB" sz="160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Arrow: Chevron 10">
            <a:extLst>
              <a:ext uri="{FF2B5EF4-FFF2-40B4-BE49-F238E27FC236}">
                <a16:creationId xmlns:a16="http://schemas.microsoft.com/office/drawing/2014/main" id="{FA494D36-B62B-484D-A11A-BFFC144F8D57}"/>
              </a:ext>
              <a:ext uri="{C183D7F6-B498-43B3-948B-1728B52AA6E4}">
                <adec:decorative xmlns:adec="http://schemas.microsoft.com/office/drawing/2017/decorative" val="1"/>
              </a:ext>
            </a:extLst>
          </p:cNvPr>
          <p:cNvSpPr/>
          <p:nvPr/>
        </p:nvSpPr>
        <p:spPr>
          <a:xfrm rot="5400000">
            <a:off x="8037381" y="3355595"/>
            <a:ext cx="570072" cy="783447"/>
          </a:xfrm>
          <a:prstGeom prst="chevron">
            <a:avLst/>
          </a:prstGeom>
          <a:pattFill prst="dkUpDiag">
            <a:fgClr>
              <a:srgbClr val="96968C">
                <a:lumMod val="40000"/>
                <a:lumOff val="60000"/>
              </a:srgbClr>
            </a:fgClr>
            <a:bgClr>
              <a:srgbClr val="FFFFFF"/>
            </a:bgClr>
          </a:patt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Rectangle 14">
            <a:extLst>
              <a:ext uri="{FF2B5EF4-FFF2-40B4-BE49-F238E27FC236}">
                <a16:creationId xmlns:a16="http://schemas.microsoft.com/office/drawing/2014/main" id="{EA3CED9A-75E2-4A4D-924C-E75140658E97}"/>
              </a:ext>
            </a:extLst>
          </p:cNvPr>
          <p:cNvSpPr>
            <a:spLocks noChangeArrowheads="1"/>
          </p:cNvSpPr>
          <p:nvPr/>
        </p:nvSpPr>
        <p:spPr bwMode="auto">
          <a:xfrm>
            <a:off x="6430672" y="4108903"/>
            <a:ext cx="3783491" cy="1949256"/>
          </a:xfrm>
          <a:prstGeom prst="rect">
            <a:avLst/>
          </a:prstGeom>
          <a:solidFill>
            <a:schemeClr val="accent1"/>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mn-cs"/>
              </a:rPr>
              <a:t>Text</a:t>
            </a:r>
            <a:endParaRPr kumimoji="0" lang="en-GB" sz="1600" b="0" i="0" u="none" strike="noStrike" kern="0" cap="none" spc="0" normalizeH="0" baseline="0" noProof="0" dirty="0">
              <a:ln>
                <a:noFill/>
              </a:ln>
              <a:solidFill>
                <a:srgbClr val="FFFFFF"/>
              </a:solidFill>
              <a:effectLst/>
              <a:uLnTx/>
              <a:uFillTx/>
              <a:latin typeface="Arial"/>
              <a:ea typeface="+mn-ea"/>
              <a:cs typeface="+mn-cs"/>
            </a:endParaRPr>
          </a:p>
        </p:txBody>
      </p:sp>
      <p:sp>
        <p:nvSpPr>
          <p:cNvPr id="10" name="Arrow: Chevron 9">
            <a:extLst>
              <a:ext uri="{FF2B5EF4-FFF2-40B4-BE49-F238E27FC236}">
                <a16:creationId xmlns:a16="http://schemas.microsoft.com/office/drawing/2014/main" id="{BC749D52-B7C6-4A94-A5BE-FA63B2BEF272}"/>
              </a:ext>
              <a:ext uri="{C183D7F6-B498-43B3-948B-1728B52AA6E4}">
                <adec:decorative xmlns:adec="http://schemas.microsoft.com/office/drawing/2017/decorative" val="1"/>
              </a:ext>
            </a:extLst>
          </p:cNvPr>
          <p:cNvSpPr/>
          <p:nvPr/>
        </p:nvSpPr>
        <p:spPr>
          <a:xfrm rot="10800000">
            <a:off x="5709340" y="4691807"/>
            <a:ext cx="570072" cy="783447"/>
          </a:xfrm>
          <a:prstGeom prst="chevron">
            <a:avLst/>
          </a:prstGeom>
          <a:pattFill prst="dkUpDiag">
            <a:fgClr>
              <a:srgbClr val="96968C">
                <a:lumMod val="40000"/>
                <a:lumOff val="60000"/>
              </a:srgbClr>
            </a:fgClr>
            <a:bgClr>
              <a:srgbClr val="FFFFFF"/>
            </a:bgClr>
          </a:patt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 name="Rectangle 14">
            <a:extLst>
              <a:ext uri="{FF2B5EF4-FFF2-40B4-BE49-F238E27FC236}">
                <a16:creationId xmlns:a16="http://schemas.microsoft.com/office/drawing/2014/main" id="{15CED576-76F4-4413-AF67-83ADF98A926A}"/>
              </a:ext>
            </a:extLst>
          </p:cNvPr>
          <p:cNvSpPr>
            <a:spLocks noChangeArrowheads="1"/>
          </p:cNvSpPr>
          <p:nvPr/>
        </p:nvSpPr>
        <p:spPr bwMode="auto">
          <a:xfrm>
            <a:off x="1774589" y="4108903"/>
            <a:ext cx="3783491" cy="1949256"/>
          </a:xfrm>
          <a:prstGeom prst="rect">
            <a:avLst/>
          </a:prstGeom>
          <a:solidFill>
            <a:schemeClr val="accent1"/>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mn-cs"/>
              </a:rPr>
              <a:t>Text</a:t>
            </a:r>
            <a:endParaRPr kumimoji="0" lang="en-GB" sz="1600" b="0" i="0" u="none" strike="noStrike" kern="0" cap="none" spc="0" normalizeH="0" baseline="0" noProof="0" dirty="0">
              <a:ln>
                <a:noFill/>
              </a:ln>
              <a:solidFill>
                <a:srgbClr val="FFFFFF"/>
              </a:solidFill>
              <a:effectLst/>
              <a:uLnTx/>
              <a:uFillTx/>
              <a:latin typeface="Arial"/>
              <a:ea typeface="+mn-ea"/>
              <a:cs typeface="+mn-cs"/>
            </a:endParaRPr>
          </a:p>
        </p:txBody>
      </p:sp>
      <p:sp>
        <p:nvSpPr>
          <p:cNvPr id="12" name="Arrow: Chevron 11">
            <a:extLst>
              <a:ext uri="{FF2B5EF4-FFF2-40B4-BE49-F238E27FC236}">
                <a16:creationId xmlns:a16="http://schemas.microsoft.com/office/drawing/2014/main" id="{AE2F4CCB-2ADD-462E-A336-7C84C2359C77}"/>
              </a:ext>
              <a:ext uri="{C183D7F6-B498-43B3-948B-1728B52AA6E4}">
                <adec:decorative xmlns:adec="http://schemas.microsoft.com/office/drawing/2017/decorative" val="1"/>
              </a:ext>
            </a:extLst>
          </p:cNvPr>
          <p:cNvSpPr/>
          <p:nvPr/>
        </p:nvSpPr>
        <p:spPr>
          <a:xfrm rot="16200000">
            <a:off x="3381298" y="3355595"/>
            <a:ext cx="570072" cy="783447"/>
          </a:xfrm>
          <a:prstGeom prst="chevron">
            <a:avLst/>
          </a:prstGeom>
          <a:pattFill prst="dkUpDiag">
            <a:fgClr>
              <a:srgbClr val="96968C">
                <a:lumMod val="40000"/>
                <a:lumOff val="60000"/>
              </a:srgbClr>
            </a:fgClr>
            <a:bgClr>
              <a:srgbClr val="FFFFFF"/>
            </a:bgClr>
          </a:patt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 name="Footer Placeholder 13">
            <a:extLst>
              <a:ext uri="{FF2B5EF4-FFF2-40B4-BE49-F238E27FC236}">
                <a16:creationId xmlns:a16="http://schemas.microsoft.com/office/drawing/2014/main" id="{94C87421-74D6-428B-9DB5-62F0DE203C88}"/>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5" name="Slide Number Placeholder 14">
            <a:extLst>
              <a:ext uri="{FF2B5EF4-FFF2-40B4-BE49-F238E27FC236}">
                <a16:creationId xmlns:a16="http://schemas.microsoft.com/office/drawing/2014/main" id="{54E6C8F1-B9E7-48B8-8F6B-3E3BEFDB6C4F}"/>
              </a:ext>
            </a:extLst>
          </p:cNvPr>
          <p:cNvSpPr>
            <a:spLocks noGrp="1"/>
          </p:cNvSpPr>
          <p:nvPr>
            <p:ph type="sldNum" sz="quarter" idx="10"/>
          </p:nvPr>
        </p:nvSpPr>
        <p:spPr/>
        <p:txBody>
          <a:bodyPr/>
          <a:lstStyle/>
          <a:p>
            <a:fld id="{1F90F471-3972-4120-B8B3-0237DE626C35}" type="slidenum">
              <a:rPr lang="en-US" smtClean="0"/>
              <a:pPr/>
              <a:t>262</a:t>
            </a:fld>
            <a:endParaRPr lang="en-US" dirty="0"/>
          </a:p>
        </p:txBody>
      </p:sp>
    </p:spTree>
    <p:extLst>
      <p:ext uri="{BB962C8B-B14F-4D97-AF65-F5344CB8AC3E}">
        <p14:creationId xmlns:p14="http://schemas.microsoft.com/office/powerpoint/2010/main" val="1949962729"/>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Dual Iterative Flow</a:t>
            </a:r>
          </a:p>
        </p:txBody>
      </p:sp>
      <p:grpSp>
        <p:nvGrpSpPr>
          <p:cNvPr id="5" name="Group 3" descr="Add text and order accordingly">
            <a:extLst>
              <a:ext uri="{FF2B5EF4-FFF2-40B4-BE49-F238E27FC236}">
                <a16:creationId xmlns:a16="http://schemas.microsoft.com/office/drawing/2014/main" id="{5C5D7FD9-D503-428B-A1CF-EB45706F96BA}"/>
              </a:ext>
            </a:extLst>
          </p:cNvPr>
          <p:cNvGrpSpPr>
            <a:grpSpLocks/>
          </p:cNvGrpSpPr>
          <p:nvPr/>
        </p:nvGrpSpPr>
        <p:grpSpPr bwMode="auto">
          <a:xfrm>
            <a:off x="3876898" y="1628800"/>
            <a:ext cx="4451350" cy="4573588"/>
            <a:chOff x="2130" y="1482"/>
            <a:chExt cx="1979" cy="1877"/>
          </a:xfrm>
        </p:grpSpPr>
        <p:sp>
          <p:nvSpPr>
            <p:cNvPr id="6" name="Freeform 4">
              <a:extLst>
                <a:ext uri="{FF2B5EF4-FFF2-40B4-BE49-F238E27FC236}">
                  <a16:creationId xmlns:a16="http://schemas.microsoft.com/office/drawing/2014/main" id="{3361202F-E8B4-495F-ABDA-F79D673D764B}"/>
                </a:ext>
              </a:extLst>
            </p:cNvPr>
            <p:cNvSpPr>
              <a:spLocks/>
            </p:cNvSpPr>
            <p:nvPr/>
          </p:nvSpPr>
          <p:spPr bwMode="auto">
            <a:xfrm>
              <a:off x="2318" y="2634"/>
              <a:ext cx="1485" cy="725"/>
            </a:xfrm>
            <a:custGeom>
              <a:avLst/>
              <a:gdLst/>
              <a:ahLst/>
              <a:cxnLst>
                <a:cxn ang="0">
                  <a:pos x="432" y="0"/>
                </a:cxn>
                <a:cxn ang="0">
                  <a:pos x="94" y="86"/>
                </a:cxn>
                <a:cxn ang="0">
                  <a:pos x="0" y="440"/>
                </a:cxn>
                <a:cxn ang="0">
                  <a:pos x="92" y="349"/>
                </a:cxn>
                <a:cxn ang="0">
                  <a:pos x="91" y="350"/>
                </a:cxn>
                <a:cxn ang="0">
                  <a:pos x="137" y="387"/>
                </a:cxn>
                <a:cxn ang="0">
                  <a:pos x="188" y="421"/>
                </a:cxn>
                <a:cxn ang="0">
                  <a:pos x="240" y="450"/>
                </a:cxn>
                <a:cxn ang="0">
                  <a:pos x="294" y="474"/>
                </a:cxn>
                <a:cxn ang="0">
                  <a:pos x="353" y="493"/>
                </a:cxn>
                <a:cxn ang="0">
                  <a:pos x="412" y="507"/>
                </a:cxn>
                <a:cxn ang="0">
                  <a:pos x="474" y="515"/>
                </a:cxn>
                <a:cxn ang="0">
                  <a:pos x="537" y="517"/>
                </a:cxn>
                <a:cxn ang="0">
                  <a:pos x="606" y="515"/>
                </a:cxn>
                <a:cxn ang="0">
                  <a:pos x="671" y="506"/>
                </a:cxn>
                <a:cxn ang="0">
                  <a:pos x="735" y="489"/>
                </a:cxn>
                <a:cxn ang="0">
                  <a:pos x="796" y="467"/>
                </a:cxn>
                <a:cxn ang="0">
                  <a:pos x="855" y="439"/>
                </a:cxn>
                <a:cxn ang="0">
                  <a:pos x="911" y="406"/>
                </a:cxn>
                <a:cxn ang="0">
                  <a:pos x="963" y="368"/>
                </a:cxn>
                <a:cxn ang="0">
                  <a:pos x="1010" y="325"/>
                </a:cxn>
                <a:cxn ang="0">
                  <a:pos x="730" y="55"/>
                </a:cxn>
                <a:cxn ang="0">
                  <a:pos x="711" y="71"/>
                </a:cxn>
                <a:cxn ang="0">
                  <a:pos x="690" y="85"/>
                </a:cxn>
                <a:cxn ang="0">
                  <a:pos x="644" y="108"/>
                </a:cxn>
                <a:cxn ang="0">
                  <a:pos x="619" y="117"/>
                </a:cxn>
                <a:cxn ang="0">
                  <a:pos x="594" y="122"/>
                </a:cxn>
                <a:cxn ang="0">
                  <a:pos x="567" y="127"/>
                </a:cxn>
                <a:cxn ang="0">
                  <a:pos x="540" y="127"/>
                </a:cxn>
                <a:cxn ang="0">
                  <a:pos x="492" y="123"/>
                </a:cxn>
                <a:cxn ang="0">
                  <a:pos x="447" y="112"/>
                </a:cxn>
                <a:cxn ang="0">
                  <a:pos x="405" y="93"/>
                </a:cxn>
                <a:cxn ang="0">
                  <a:pos x="366" y="68"/>
                </a:cxn>
                <a:cxn ang="0">
                  <a:pos x="366" y="69"/>
                </a:cxn>
                <a:cxn ang="0">
                  <a:pos x="365" y="69"/>
                </a:cxn>
                <a:cxn ang="0">
                  <a:pos x="432" y="0"/>
                </a:cxn>
              </a:cxnLst>
              <a:rect l="0" t="0" r="r" b="b"/>
              <a:pathLst>
                <a:path w="1010" h="517">
                  <a:moveTo>
                    <a:pt x="432" y="0"/>
                  </a:moveTo>
                  <a:lnTo>
                    <a:pt x="94" y="86"/>
                  </a:lnTo>
                  <a:lnTo>
                    <a:pt x="0" y="440"/>
                  </a:lnTo>
                  <a:lnTo>
                    <a:pt x="92" y="349"/>
                  </a:lnTo>
                  <a:lnTo>
                    <a:pt x="91" y="350"/>
                  </a:lnTo>
                  <a:lnTo>
                    <a:pt x="137" y="387"/>
                  </a:lnTo>
                  <a:lnTo>
                    <a:pt x="188" y="421"/>
                  </a:lnTo>
                  <a:lnTo>
                    <a:pt x="240" y="450"/>
                  </a:lnTo>
                  <a:lnTo>
                    <a:pt x="294" y="474"/>
                  </a:lnTo>
                  <a:lnTo>
                    <a:pt x="353" y="493"/>
                  </a:lnTo>
                  <a:lnTo>
                    <a:pt x="412" y="507"/>
                  </a:lnTo>
                  <a:lnTo>
                    <a:pt x="474" y="515"/>
                  </a:lnTo>
                  <a:lnTo>
                    <a:pt x="537" y="517"/>
                  </a:lnTo>
                  <a:lnTo>
                    <a:pt x="606" y="515"/>
                  </a:lnTo>
                  <a:lnTo>
                    <a:pt x="671" y="506"/>
                  </a:lnTo>
                  <a:lnTo>
                    <a:pt x="735" y="489"/>
                  </a:lnTo>
                  <a:lnTo>
                    <a:pt x="796" y="467"/>
                  </a:lnTo>
                  <a:lnTo>
                    <a:pt x="855" y="439"/>
                  </a:lnTo>
                  <a:lnTo>
                    <a:pt x="911" y="406"/>
                  </a:lnTo>
                  <a:lnTo>
                    <a:pt x="963" y="368"/>
                  </a:lnTo>
                  <a:lnTo>
                    <a:pt x="1010" y="325"/>
                  </a:lnTo>
                  <a:lnTo>
                    <a:pt x="730" y="55"/>
                  </a:lnTo>
                  <a:lnTo>
                    <a:pt x="711" y="71"/>
                  </a:lnTo>
                  <a:lnTo>
                    <a:pt x="690" y="85"/>
                  </a:lnTo>
                  <a:lnTo>
                    <a:pt x="644" y="108"/>
                  </a:lnTo>
                  <a:lnTo>
                    <a:pt x="619" y="117"/>
                  </a:lnTo>
                  <a:lnTo>
                    <a:pt x="594" y="122"/>
                  </a:lnTo>
                  <a:lnTo>
                    <a:pt x="567" y="127"/>
                  </a:lnTo>
                  <a:lnTo>
                    <a:pt x="540" y="127"/>
                  </a:lnTo>
                  <a:lnTo>
                    <a:pt x="492" y="123"/>
                  </a:lnTo>
                  <a:lnTo>
                    <a:pt x="447" y="112"/>
                  </a:lnTo>
                  <a:lnTo>
                    <a:pt x="405" y="93"/>
                  </a:lnTo>
                  <a:lnTo>
                    <a:pt x="366" y="68"/>
                  </a:lnTo>
                  <a:lnTo>
                    <a:pt x="366" y="69"/>
                  </a:lnTo>
                  <a:lnTo>
                    <a:pt x="365" y="69"/>
                  </a:lnTo>
                  <a:lnTo>
                    <a:pt x="432" y="0"/>
                  </a:lnTo>
                </a:path>
              </a:pathLst>
            </a:custGeom>
            <a:solidFill>
              <a:srgbClr val="A100FF"/>
            </a:solidFill>
            <a:ln w="6350" cap="rnd" cmpd="sng">
              <a:solidFill>
                <a:srgbClr val="FFFFFF"/>
              </a:solid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 name="Freeform 5">
              <a:extLst>
                <a:ext uri="{FF2B5EF4-FFF2-40B4-BE49-F238E27FC236}">
                  <a16:creationId xmlns:a16="http://schemas.microsoft.com/office/drawing/2014/main" id="{F888DD17-87EF-4F99-98F5-62D6EC4D2FBB}"/>
                </a:ext>
              </a:extLst>
            </p:cNvPr>
            <p:cNvSpPr>
              <a:spLocks/>
            </p:cNvSpPr>
            <p:nvPr/>
          </p:nvSpPr>
          <p:spPr bwMode="auto">
            <a:xfrm>
              <a:off x="3358" y="1785"/>
              <a:ext cx="751" cy="1368"/>
            </a:xfrm>
            <a:custGeom>
              <a:avLst/>
              <a:gdLst/>
              <a:ahLst/>
              <a:cxnLst>
                <a:cxn ang="0">
                  <a:pos x="0" y="546"/>
                </a:cxn>
                <a:cxn ang="0">
                  <a:pos x="88" y="886"/>
                </a:cxn>
                <a:cxn ang="0">
                  <a:pos x="440" y="974"/>
                </a:cxn>
                <a:cxn ang="0">
                  <a:pos x="353" y="890"/>
                </a:cxn>
                <a:cxn ang="0">
                  <a:pos x="388" y="844"/>
                </a:cxn>
                <a:cxn ang="0">
                  <a:pos x="419" y="795"/>
                </a:cxn>
                <a:cxn ang="0">
                  <a:pos x="446" y="744"/>
                </a:cxn>
                <a:cxn ang="0">
                  <a:pos x="469" y="691"/>
                </a:cxn>
                <a:cxn ang="0">
                  <a:pos x="487" y="636"/>
                </a:cxn>
                <a:cxn ang="0">
                  <a:pos x="500" y="577"/>
                </a:cxn>
                <a:cxn ang="0">
                  <a:pos x="508" y="518"/>
                </a:cxn>
                <a:cxn ang="0">
                  <a:pos x="509" y="458"/>
                </a:cxn>
                <a:cxn ang="0">
                  <a:pos x="510" y="424"/>
                </a:cxn>
                <a:cxn ang="0">
                  <a:pos x="507" y="391"/>
                </a:cxn>
                <a:cxn ang="0">
                  <a:pos x="504" y="360"/>
                </a:cxn>
                <a:cxn ang="0">
                  <a:pos x="498" y="328"/>
                </a:cxn>
                <a:cxn ang="0">
                  <a:pos x="492" y="297"/>
                </a:cxn>
                <a:cxn ang="0">
                  <a:pos x="484" y="267"/>
                </a:cxn>
                <a:cxn ang="0">
                  <a:pos x="474" y="236"/>
                </a:cxn>
                <a:cxn ang="0">
                  <a:pos x="463" y="208"/>
                </a:cxn>
                <a:cxn ang="0">
                  <a:pos x="451" y="179"/>
                </a:cxn>
                <a:cxn ang="0">
                  <a:pos x="436" y="150"/>
                </a:cxn>
                <a:cxn ang="0">
                  <a:pos x="422" y="123"/>
                </a:cxn>
                <a:cxn ang="0">
                  <a:pos x="406" y="98"/>
                </a:cxn>
                <a:cxn ang="0">
                  <a:pos x="389" y="71"/>
                </a:cxn>
                <a:cxn ang="0">
                  <a:pos x="370" y="47"/>
                </a:cxn>
                <a:cxn ang="0">
                  <a:pos x="351" y="23"/>
                </a:cxn>
                <a:cxn ang="0">
                  <a:pos x="330" y="0"/>
                </a:cxn>
                <a:cxn ang="0">
                  <a:pos x="61" y="276"/>
                </a:cxn>
                <a:cxn ang="0">
                  <a:pos x="76" y="295"/>
                </a:cxn>
                <a:cxn ang="0">
                  <a:pos x="88" y="316"/>
                </a:cxn>
                <a:cxn ang="0">
                  <a:pos x="99" y="337"/>
                </a:cxn>
                <a:cxn ang="0">
                  <a:pos x="108" y="358"/>
                </a:cxn>
                <a:cxn ang="0">
                  <a:pos x="115" y="381"/>
                </a:cxn>
                <a:cxn ang="0">
                  <a:pos x="120" y="405"/>
                </a:cxn>
                <a:cxn ang="0">
                  <a:pos x="123" y="429"/>
                </a:cxn>
                <a:cxn ang="0">
                  <a:pos x="124" y="454"/>
                </a:cxn>
                <a:cxn ang="0">
                  <a:pos x="121" y="499"/>
                </a:cxn>
                <a:cxn ang="0">
                  <a:pos x="110" y="541"/>
                </a:cxn>
                <a:cxn ang="0">
                  <a:pos x="103" y="562"/>
                </a:cxn>
                <a:cxn ang="0">
                  <a:pos x="95" y="581"/>
                </a:cxn>
                <a:cxn ang="0">
                  <a:pos x="85" y="599"/>
                </a:cxn>
                <a:cxn ang="0">
                  <a:pos x="73" y="617"/>
                </a:cxn>
                <a:cxn ang="0">
                  <a:pos x="0" y="546"/>
                </a:cxn>
              </a:cxnLst>
              <a:rect l="0" t="0" r="r" b="b"/>
              <a:pathLst>
                <a:path w="511" h="975">
                  <a:moveTo>
                    <a:pt x="0" y="546"/>
                  </a:moveTo>
                  <a:lnTo>
                    <a:pt x="88" y="886"/>
                  </a:lnTo>
                  <a:lnTo>
                    <a:pt x="440" y="974"/>
                  </a:lnTo>
                  <a:lnTo>
                    <a:pt x="353" y="890"/>
                  </a:lnTo>
                  <a:lnTo>
                    <a:pt x="388" y="844"/>
                  </a:lnTo>
                  <a:lnTo>
                    <a:pt x="419" y="795"/>
                  </a:lnTo>
                  <a:lnTo>
                    <a:pt x="446" y="744"/>
                  </a:lnTo>
                  <a:lnTo>
                    <a:pt x="469" y="691"/>
                  </a:lnTo>
                  <a:lnTo>
                    <a:pt x="487" y="636"/>
                  </a:lnTo>
                  <a:lnTo>
                    <a:pt x="500" y="577"/>
                  </a:lnTo>
                  <a:lnTo>
                    <a:pt x="508" y="518"/>
                  </a:lnTo>
                  <a:lnTo>
                    <a:pt x="509" y="458"/>
                  </a:lnTo>
                  <a:lnTo>
                    <a:pt x="510" y="424"/>
                  </a:lnTo>
                  <a:lnTo>
                    <a:pt x="507" y="391"/>
                  </a:lnTo>
                  <a:lnTo>
                    <a:pt x="504" y="360"/>
                  </a:lnTo>
                  <a:lnTo>
                    <a:pt x="498" y="328"/>
                  </a:lnTo>
                  <a:lnTo>
                    <a:pt x="492" y="297"/>
                  </a:lnTo>
                  <a:lnTo>
                    <a:pt x="484" y="267"/>
                  </a:lnTo>
                  <a:lnTo>
                    <a:pt x="474" y="236"/>
                  </a:lnTo>
                  <a:lnTo>
                    <a:pt x="463" y="208"/>
                  </a:lnTo>
                  <a:lnTo>
                    <a:pt x="451" y="179"/>
                  </a:lnTo>
                  <a:lnTo>
                    <a:pt x="436" y="150"/>
                  </a:lnTo>
                  <a:lnTo>
                    <a:pt x="422" y="123"/>
                  </a:lnTo>
                  <a:lnTo>
                    <a:pt x="406" y="98"/>
                  </a:lnTo>
                  <a:lnTo>
                    <a:pt x="389" y="71"/>
                  </a:lnTo>
                  <a:lnTo>
                    <a:pt x="370" y="47"/>
                  </a:lnTo>
                  <a:lnTo>
                    <a:pt x="351" y="23"/>
                  </a:lnTo>
                  <a:lnTo>
                    <a:pt x="330" y="0"/>
                  </a:lnTo>
                  <a:lnTo>
                    <a:pt x="61" y="276"/>
                  </a:lnTo>
                  <a:lnTo>
                    <a:pt x="76" y="295"/>
                  </a:lnTo>
                  <a:lnTo>
                    <a:pt x="88" y="316"/>
                  </a:lnTo>
                  <a:lnTo>
                    <a:pt x="99" y="337"/>
                  </a:lnTo>
                  <a:lnTo>
                    <a:pt x="108" y="358"/>
                  </a:lnTo>
                  <a:lnTo>
                    <a:pt x="115" y="381"/>
                  </a:lnTo>
                  <a:lnTo>
                    <a:pt x="120" y="405"/>
                  </a:lnTo>
                  <a:lnTo>
                    <a:pt x="123" y="429"/>
                  </a:lnTo>
                  <a:lnTo>
                    <a:pt x="124" y="454"/>
                  </a:lnTo>
                  <a:lnTo>
                    <a:pt x="121" y="499"/>
                  </a:lnTo>
                  <a:lnTo>
                    <a:pt x="110" y="541"/>
                  </a:lnTo>
                  <a:lnTo>
                    <a:pt x="103" y="562"/>
                  </a:lnTo>
                  <a:lnTo>
                    <a:pt x="95" y="581"/>
                  </a:lnTo>
                  <a:lnTo>
                    <a:pt x="85" y="599"/>
                  </a:lnTo>
                  <a:lnTo>
                    <a:pt x="73" y="617"/>
                  </a:lnTo>
                  <a:lnTo>
                    <a:pt x="0" y="546"/>
                  </a:lnTo>
                </a:path>
              </a:pathLst>
            </a:custGeom>
            <a:solidFill>
              <a:srgbClr val="A100FF"/>
            </a:solidFill>
            <a:ln w="6350" cap="rnd" cmpd="sng">
              <a:solidFill>
                <a:srgbClr val="FFFFFF"/>
              </a:solid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 name="Freeform 6">
              <a:extLst>
                <a:ext uri="{FF2B5EF4-FFF2-40B4-BE49-F238E27FC236}">
                  <a16:creationId xmlns:a16="http://schemas.microsoft.com/office/drawing/2014/main" id="{4A060BB2-718D-46D8-8AA4-4D3E7266CAC0}"/>
                </a:ext>
              </a:extLst>
            </p:cNvPr>
            <p:cNvSpPr>
              <a:spLocks/>
            </p:cNvSpPr>
            <p:nvPr/>
          </p:nvSpPr>
          <p:spPr bwMode="auto">
            <a:xfrm>
              <a:off x="2406" y="1482"/>
              <a:ext cx="1482" cy="752"/>
            </a:xfrm>
            <a:custGeom>
              <a:avLst/>
              <a:gdLst/>
              <a:ahLst/>
              <a:cxnLst>
                <a:cxn ang="0">
                  <a:pos x="933" y="171"/>
                </a:cxn>
                <a:cxn ang="0">
                  <a:pos x="887" y="133"/>
                </a:cxn>
                <a:cxn ang="0">
                  <a:pos x="837" y="100"/>
                </a:cxn>
                <a:cxn ang="0">
                  <a:pos x="784" y="70"/>
                </a:cxn>
                <a:cxn ang="0">
                  <a:pos x="757" y="57"/>
                </a:cxn>
                <a:cxn ang="0">
                  <a:pos x="729" y="46"/>
                </a:cxn>
                <a:cxn ang="0">
                  <a:pos x="700" y="35"/>
                </a:cxn>
                <a:cxn ang="0">
                  <a:pos x="671" y="26"/>
                </a:cxn>
                <a:cxn ang="0">
                  <a:pos x="641" y="18"/>
                </a:cxn>
                <a:cxn ang="0">
                  <a:pos x="611" y="12"/>
                </a:cxn>
                <a:cxn ang="0">
                  <a:pos x="580" y="6"/>
                </a:cxn>
                <a:cxn ang="0">
                  <a:pos x="549" y="3"/>
                </a:cxn>
                <a:cxn ang="0">
                  <a:pos x="517" y="1"/>
                </a:cxn>
                <a:cxn ang="0">
                  <a:pos x="485" y="0"/>
                </a:cxn>
                <a:cxn ang="0">
                  <a:pos x="450" y="1"/>
                </a:cxn>
                <a:cxn ang="0">
                  <a:pos x="415" y="4"/>
                </a:cxn>
                <a:cxn ang="0">
                  <a:pos x="380" y="8"/>
                </a:cxn>
                <a:cxn ang="0">
                  <a:pos x="346" y="15"/>
                </a:cxn>
                <a:cxn ang="0">
                  <a:pos x="280" y="32"/>
                </a:cxn>
                <a:cxn ang="0">
                  <a:pos x="248" y="43"/>
                </a:cxn>
                <a:cxn ang="0">
                  <a:pos x="217" y="57"/>
                </a:cxn>
                <a:cxn ang="0">
                  <a:pos x="157" y="86"/>
                </a:cxn>
                <a:cxn ang="0">
                  <a:pos x="100" y="121"/>
                </a:cxn>
                <a:cxn ang="0">
                  <a:pos x="48" y="163"/>
                </a:cxn>
                <a:cxn ang="0">
                  <a:pos x="0" y="208"/>
                </a:cxn>
                <a:cxn ang="0">
                  <a:pos x="276" y="483"/>
                </a:cxn>
                <a:cxn ang="0">
                  <a:pos x="297" y="462"/>
                </a:cxn>
                <a:cxn ang="0">
                  <a:pos x="319" y="443"/>
                </a:cxn>
                <a:cxn ang="0">
                  <a:pos x="344" y="426"/>
                </a:cxn>
                <a:cxn ang="0">
                  <a:pos x="369" y="413"/>
                </a:cxn>
                <a:cxn ang="0">
                  <a:pos x="398" y="402"/>
                </a:cxn>
                <a:cxn ang="0">
                  <a:pos x="427" y="393"/>
                </a:cxn>
                <a:cxn ang="0">
                  <a:pos x="457" y="389"/>
                </a:cxn>
                <a:cxn ang="0">
                  <a:pos x="488" y="387"/>
                </a:cxn>
                <a:cxn ang="0">
                  <a:pos x="514" y="388"/>
                </a:cxn>
                <a:cxn ang="0">
                  <a:pos x="536" y="391"/>
                </a:cxn>
                <a:cxn ang="0">
                  <a:pos x="560" y="396"/>
                </a:cxn>
                <a:cxn ang="0">
                  <a:pos x="583" y="403"/>
                </a:cxn>
                <a:cxn ang="0">
                  <a:pos x="605" y="412"/>
                </a:cxn>
                <a:cxn ang="0">
                  <a:pos x="625" y="423"/>
                </a:cxn>
                <a:cxn ang="0">
                  <a:pos x="645" y="435"/>
                </a:cxn>
                <a:cxn ang="0">
                  <a:pos x="663" y="448"/>
                </a:cxn>
                <a:cxn ang="0">
                  <a:pos x="579" y="535"/>
                </a:cxn>
                <a:cxn ang="0">
                  <a:pos x="919" y="446"/>
                </a:cxn>
                <a:cxn ang="0">
                  <a:pos x="1007" y="95"/>
                </a:cxn>
                <a:cxn ang="0">
                  <a:pos x="933" y="171"/>
                </a:cxn>
              </a:cxnLst>
              <a:rect l="0" t="0" r="r" b="b"/>
              <a:pathLst>
                <a:path w="1008" h="536">
                  <a:moveTo>
                    <a:pt x="933" y="171"/>
                  </a:moveTo>
                  <a:lnTo>
                    <a:pt x="887" y="133"/>
                  </a:lnTo>
                  <a:lnTo>
                    <a:pt x="837" y="100"/>
                  </a:lnTo>
                  <a:lnTo>
                    <a:pt x="784" y="70"/>
                  </a:lnTo>
                  <a:lnTo>
                    <a:pt x="757" y="57"/>
                  </a:lnTo>
                  <a:lnTo>
                    <a:pt x="729" y="46"/>
                  </a:lnTo>
                  <a:lnTo>
                    <a:pt x="700" y="35"/>
                  </a:lnTo>
                  <a:lnTo>
                    <a:pt x="671" y="26"/>
                  </a:lnTo>
                  <a:lnTo>
                    <a:pt x="641" y="18"/>
                  </a:lnTo>
                  <a:lnTo>
                    <a:pt x="611" y="12"/>
                  </a:lnTo>
                  <a:lnTo>
                    <a:pt x="580" y="6"/>
                  </a:lnTo>
                  <a:lnTo>
                    <a:pt x="549" y="3"/>
                  </a:lnTo>
                  <a:lnTo>
                    <a:pt x="517" y="1"/>
                  </a:lnTo>
                  <a:lnTo>
                    <a:pt x="485" y="0"/>
                  </a:lnTo>
                  <a:lnTo>
                    <a:pt x="450" y="1"/>
                  </a:lnTo>
                  <a:lnTo>
                    <a:pt x="415" y="4"/>
                  </a:lnTo>
                  <a:lnTo>
                    <a:pt x="380" y="8"/>
                  </a:lnTo>
                  <a:lnTo>
                    <a:pt x="346" y="15"/>
                  </a:lnTo>
                  <a:lnTo>
                    <a:pt x="280" y="32"/>
                  </a:lnTo>
                  <a:lnTo>
                    <a:pt x="248" y="43"/>
                  </a:lnTo>
                  <a:lnTo>
                    <a:pt x="217" y="57"/>
                  </a:lnTo>
                  <a:lnTo>
                    <a:pt x="157" y="86"/>
                  </a:lnTo>
                  <a:lnTo>
                    <a:pt x="100" y="121"/>
                  </a:lnTo>
                  <a:lnTo>
                    <a:pt x="48" y="163"/>
                  </a:lnTo>
                  <a:lnTo>
                    <a:pt x="0" y="208"/>
                  </a:lnTo>
                  <a:lnTo>
                    <a:pt x="276" y="483"/>
                  </a:lnTo>
                  <a:lnTo>
                    <a:pt x="297" y="462"/>
                  </a:lnTo>
                  <a:lnTo>
                    <a:pt x="319" y="443"/>
                  </a:lnTo>
                  <a:lnTo>
                    <a:pt x="344" y="426"/>
                  </a:lnTo>
                  <a:lnTo>
                    <a:pt x="369" y="413"/>
                  </a:lnTo>
                  <a:lnTo>
                    <a:pt x="398" y="402"/>
                  </a:lnTo>
                  <a:lnTo>
                    <a:pt x="427" y="393"/>
                  </a:lnTo>
                  <a:lnTo>
                    <a:pt x="457" y="389"/>
                  </a:lnTo>
                  <a:lnTo>
                    <a:pt x="488" y="387"/>
                  </a:lnTo>
                  <a:lnTo>
                    <a:pt x="514" y="388"/>
                  </a:lnTo>
                  <a:lnTo>
                    <a:pt x="536" y="391"/>
                  </a:lnTo>
                  <a:lnTo>
                    <a:pt x="560" y="396"/>
                  </a:lnTo>
                  <a:lnTo>
                    <a:pt x="583" y="403"/>
                  </a:lnTo>
                  <a:lnTo>
                    <a:pt x="605" y="412"/>
                  </a:lnTo>
                  <a:lnTo>
                    <a:pt x="625" y="423"/>
                  </a:lnTo>
                  <a:lnTo>
                    <a:pt x="645" y="435"/>
                  </a:lnTo>
                  <a:lnTo>
                    <a:pt x="663" y="448"/>
                  </a:lnTo>
                  <a:lnTo>
                    <a:pt x="579" y="535"/>
                  </a:lnTo>
                  <a:lnTo>
                    <a:pt x="919" y="446"/>
                  </a:lnTo>
                  <a:lnTo>
                    <a:pt x="1007" y="95"/>
                  </a:lnTo>
                  <a:lnTo>
                    <a:pt x="933" y="171"/>
                  </a:lnTo>
                </a:path>
              </a:pathLst>
            </a:custGeom>
            <a:solidFill>
              <a:srgbClr val="A100FF"/>
            </a:solidFill>
            <a:ln w="6350" cap="rnd" cmpd="sng">
              <a:solidFill>
                <a:srgbClr val="FFFFFF"/>
              </a:solid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 name="Freeform 7">
              <a:extLst>
                <a:ext uri="{FF2B5EF4-FFF2-40B4-BE49-F238E27FC236}">
                  <a16:creationId xmlns:a16="http://schemas.microsoft.com/office/drawing/2014/main" id="{4CF42C71-9067-4F8B-BA5A-546F09DACC4B}"/>
                </a:ext>
              </a:extLst>
            </p:cNvPr>
            <p:cNvSpPr>
              <a:spLocks/>
            </p:cNvSpPr>
            <p:nvPr/>
          </p:nvSpPr>
          <p:spPr bwMode="auto">
            <a:xfrm>
              <a:off x="2130" y="1709"/>
              <a:ext cx="755" cy="1329"/>
            </a:xfrm>
            <a:custGeom>
              <a:avLst/>
              <a:gdLst/>
              <a:ahLst/>
              <a:cxnLst>
                <a:cxn ang="0">
                  <a:pos x="755" y="596"/>
                </a:cxn>
                <a:cxn ang="0">
                  <a:pos x="627" y="123"/>
                </a:cxn>
                <a:cxn ang="0">
                  <a:pos x="118" y="0"/>
                </a:cxn>
                <a:cxn ang="0">
                  <a:pos x="232" y="107"/>
                </a:cxn>
                <a:cxn ang="0">
                  <a:pos x="181" y="170"/>
                </a:cxn>
                <a:cxn ang="0">
                  <a:pos x="135" y="239"/>
                </a:cxn>
                <a:cxn ang="0">
                  <a:pos x="96" y="310"/>
                </a:cxn>
                <a:cxn ang="0">
                  <a:pos x="62" y="386"/>
                </a:cxn>
                <a:cxn ang="0">
                  <a:pos x="35" y="464"/>
                </a:cxn>
                <a:cxn ang="0">
                  <a:pos x="16" y="544"/>
                </a:cxn>
                <a:cxn ang="0">
                  <a:pos x="4" y="629"/>
                </a:cxn>
                <a:cxn ang="0">
                  <a:pos x="0" y="714"/>
                </a:cxn>
                <a:cxn ang="0">
                  <a:pos x="6" y="804"/>
                </a:cxn>
                <a:cxn ang="0">
                  <a:pos x="18" y="891"/>
                </a:cxn>
                <a:cxn ang="0">
                  <a:pos x="40" y="977"/>
                </a:cxn>
                <a:cxn ang="0">
                  <a:pos x="68" y="1058"/>
                </a:cxn>
                <a:cxn ang="0">
                  <a:pos x="104" y="1135"/>
                </a:cxn>
                <a:cxn ang="0">
                  <a:pos x="149" y="1211"/>
                </a:cxn>
                <a:cxn ang="0">
                  <a:pos x="199" y="1281"/>
                </a:cxn>
                <a:cxn ang="0">
                  <a:pos x="248" y="1329"/>
                </a:cxn>
                <a:cxn ang="0">
                  <a:pos x="332" y="1051"/>
                </a:cxn>
                <a:cxn ang="0">
                  <a:pos x="668" y="967"/>
                </a:cxn>
                <a:cxn ang="0">
                  <a:pos x="627" y="911"/>
                </a:cxn>
                <a:cxn ang="0">
                  <a:pos x="596" y="849"/>
                </a:cxn>
                <a:cxn ang="0">
                  <a:pos x="577" y="782"/>
                </a:cxn>
                <a:cxn ang="0">
                  <a:pos x="569" y="710"/>
                </a:cxn>
                <a:cxn ang="0">
                  <a:pos x="575" y="650"/>
                </a:cxn>
                <a:cxn ang="0">
                  <a:pos x="588" y="592"/>
                </a:cxn>
                <a:cxn ang="0">
                  <a:pos x="610" y="537"/>
                </a:cxn>
                <a:cxn ang="0">
                  <a:pos x="640" y="488"/>
                </a:cxn>
                <a:cxn ang="0">
                  <a:pos x="755" y="596"/>
                </a:cxn>
              </a:cxnLst>
              <a:rect l="0" t="0" r="r" b="b"/>
              <a:pathLst>
                <a:path w="755" h="1329">
                  <a:moveTo>
                    <a:pt x="755" y="596"/>
                  </a:moveTo>
                  <a:lnTo>
                    <a:pt x="627" y="123"/>
                  </a:lnTo>
                  <a:lnTo>
                    <a:pt x="118" y="0"/>
                  </a:lnTo>
                  <a:lnTo>
                    <a:pt x="232" y="107"/>
                  </a:lnTo>
                  <a:lnTo>
                    <a:pt x="181" y="170"/>
                  </a:lnTo>
                  <a:lnTo>
                    <a:pt x="135" y="239"/>
                  </a:lnTo>
                  <a:lnTo>
                    <a:pt x="96" y="310"/>
                  </a:lnTo>
                  <a:lnTo>
                    <a:pt x="62" y="386"/>
                  </a:lnTo>
                  <a:lnTo>
                    <a:pt x="35" y="464"/>
                  </a:lnTo>
                  <a:lnTo>
                    <a:pt x="16" y="544"/>
                  </a:lnTo>
                  <a:lnTo>
                    <a:pt x="4" y="629"/>
                  </a:lnTo>
                  <a:lnTo>
                    <a:pt x="0" y="714"/>
                  </a:lnTo>
                  <a:lnTo>
                    <a:pt x="6" y="804"/>
                  </a:lnTo>
                  <a:lnTo>
                    <a:pt x="18" y="891"/>
                  </a:lnTo>
                  <a:lnTo>
                    <a:pt x="40" y="977"/>
                  </a:lnTo>
                  <a:lnTo>
                    <a:pt x="68" y="1058"/>
                  </a:lnTo>
                  <a:lnTo>
                    <a:pt x="104" y="1135"/>
                  </a:lnTo>
                  <a:lnTo>
                    <a:pt x="149" y="1211"/>
                  </a:lnTo>
                  <a:lnTo>
                    <a:pt x="199" y="1281"/>
                  </a:lnTo>
                  <a:lnTo>
                    <a:pt x="248" y="1329"/>
                  </a:lnTo>
                  <a:lnTo>
                    <a:pt x="332" y="1051"/>
                  </a:lnTo>
                  <a:lnTo>
                    <a:pt x="668" y="967"/>
                  </a:lnTo>
                  <a:lnTo>
                    <a:pt x="627" y="911"/>
                  </a:lnTo>
                  <a:lnTo>
                    <a:pt x="596" y="849"/>
                  </a:lnTo>
                  <a:lnTo>
                    <a:pt x="577" y="782"/>
                  </a:lnTo>
                  <a:lnTo>
                    <a:pt x="569" y="710"/>
                  </a:lnTo>
                  <a:lnTo>
                    <a:pt x="575" y="650"/>
                  </a:lnTo>
                  <a:lnTo>
                    <a:pt x="588" y="592"/>
                  </a:lnTo>
                  <a:lnTo>
                    <a:pt x="610" y="537"/>
                  </a:lnTo>
                  <a:lnTo>
                    <a:pt x="640" y="488"/>
                  </a:lnTo>
                  <a:lnTo>
                    <a:pt x="755" y="596"/>
                  </a:lnTo>
                </a:path>
              </a:pathLst>
            </a:custGeom>
            <a:solidFill>
              <a:srgbClr val="A100FF"/>
            </a:solidFill>
            <a:ln w="6350" cap="rnd" cmpd="sng">
              <a:solidFill>
                <a:srgbClr val="FFFFFF"/>
              </a:solid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 name="Freeform 8">
              <a:extLst>
                <a:ext uri="{FF2B5EF4-FFF2-40B4-BE49-F238E27FC236}">
                  <a16:creationId xmlns:a16="http://schemas.microsoft.com/office/drawing/2014/main" id="{C88C3D2F-0491-427D-A513-2D8D5D290D3B}"/>
                </a:ext>
              </a:extLst>
            </p:cNvPr>
            <p:cNvSpPr>
              <a:spLocks/>
            </p:cNvSpPr>
            <p:nvPr/>
          </p:nvSpPr>
          <p:spPr bwMode="auto">
            <a:xfrm>
              <a:off x="2988" y="2430"/>
              <a:ext cx="661" cy="602"/>
            </a:xfrm>
            <a:custGeom>
              <a:avLst/>
              <a:gdLst/>
              <a:ahLst/>
              <a:cxnLst>
                <a:cxn ang="0">
                  <a:pos x="103" y="96"/>
                </a:cxn>
                <a:cxn ang="0">
                  <a:pos x="0" y="259"/>
                </a:cxn>
                <a:cxn ang="0">
                  <a:pos x="108" y="429"/>
                </a:cxn>
                <a:cxn ang="0">
                  <a:pos x="107" y="362"/>
                </a:cxn>
                <a:cxn ang="0">
                  <a:pos x="107" y="362"/>
                </a:cxn>
                <a:cxn ang="0">
                  <a:pos x="139" y="359"/>
                </a:cxn>
                <a:cxn ang="0">
                  <a:pos x="170" y="353"/>
                </a:cxn>
                <a:cxn ang="0">
                  <a:pos x="202" y="344"/>
                </a:cxn>
                <a:cxn ang="0">
                  <a:pos x="232" y="332"/>
                </a:cxn>
                <a:cxn ang="0">
                  <a:pos x="262" y="317"/>
                </a:cxn>
                <a:cxn ang="0">
                  <a:pos x="290" y="299"/>
                </a:cxn>
                <a:cxn ang="0">
                  <a:pos x="317" y="279"/>
                </a:cxn>
                <a:cxn ang="0">
                  <a:pos x="342" y="255"/>
                </a:cxn>
                <a:cxn ang="0">
                  <a:pos x="367" y="228"/>
                </a:cxn>
                <a:cxn ang="0">
                  <a:pos x="389" y="199"/>
                </a:cxn>
                <a:cxn ang="0">
                  <a:pos x="407" y="168"/>
                </a:cxn>
                <a:cxn ang="0">
                  <a:pos x="422" y="137"/>
                </a:cxn>
                <a:cxn ang="0">
                  <a:pos x="434" y="103"/>
                </a:cxn>
                <a:cxn ang="0">
                  <a:pos x="442" y="69"/>
                </a:cxn>
                <a:cxn ang="0">
                  <a:pos x="447" y="34"/>
                </a:cxn>
                <a:cxn ang="0">
                  <a:pos x="449" y="0"/>
                </a:cxn>
                <a:cxn ang="0">
                  <a:pos x="238" y="4"/>
                </a:cxn>
                <a:cxn ang="0">
                  <a:pos x="234" y="31"/>
                </a:cxn>
                <a:cxn ang="0">
                  <a:pos x="225" y="57"/>
                </a:cxn>
                <a:cxn ang="0">
                  <a:pos x="212" y="82"/>
                </a:cxn>
                <a:cxn ang="0">
                  <a:pos x="193" y="104"/>
                </a:cxn>
                <a:cxn ang="0">
                  <a:pos x="173" y="121"/>
                </a:cxn>
                <a:cxn ang="0">
                  <a:pos x="152" y="134"/>
                </a:cxn>
                <a:cxn ang="0">
                  <a:pos x="128" y="143"/>
                </a:cxn>
                <a:cxn ang="0">
                  <a:pos x="103" y="148"/>
                </a:cxn>
                <a:cxn ang="0">
                  <a:pos x="104" y="149"/>
                </a:cxn>
                <a:cxn ang="0">
                  <a:pos x="103" y="149"/>
                </a:cxn>
                <a:cxn ang="0">
                  <a:pos x="103" y="96"/>
                </a:cxn>
              </a:cxnLst>
              <a:rect l="0" t="0" r="r" b="b"/>
              <a:pathLst>
                <a:path w="449" h="429">
                  <a:moveTo>
                    <a:pt x="103" y="96"/>
                  </a:moveTo>
                  <a:lnTo>
                    <a:pt x="0" y="259"/>
                  </a:lnTo>
                  <a:lnTo>
                    <a:pt x="108" y="429"/>
                  </a:lnTo>
                  <a:lnTo>
                    <a:pt x="107" y="362"/>
                  </a:lnTo>
                  <a:lnTo>
                    <a:pt x="107" y="362"/>
                  </a:lnTo>
                  <a:lnTo>
                    <a:pt x="139" y="359"/>
                  </a:lnTo>
                  <a:lnTo>
                    <a:pt x="170" y="353"/>
                  </a:lnTo>
                  <a:lnTo>
                    <a:pt x="202" y="344"/>
                  </a:lnTo>
                  <a:lnTo>
                    <a:pt x="232" y="332"/>
                  </a:lnTo>
                  <a:lnTo>
                    <a:pt x="262" y="317"/>
                  </a:lnTo>
                  <a:lnTo>
                    <a:pt x="290" y="299"/>
                  </a:lnTo>
                  <a:lnTo>
                    <a:pt x="317" y="279"/>
                  </a:lnTo>
                  <a:lnTo>
                    <a:pt x="342" y="255"/>
                  </a:lnTo>
                  <a:lnTo>
                    <a:pt x="367" y="228"/>
                  </a:lnTo>
                  <a:lnTo>
                    <a:pt x="389" y="199"/>
                  </a:lnTo>
                  <a:lnTo>
                    <a:pt x="407" y="168"/>
                  </a:lnTo>
                  <a:lnTo>
                    <a:pt x="422" y="137"/>
                  </a:lnTo>
                  <a:lnTo>
                    <a:pt x="434" y="103"/>
                  </a:lnTo>
                  <a:lnTo>
                    <a:pt x="442" y="69"/>
                  </a:lnTo>
                  <a:lnTo>
                    <a:pt x="447" y="34"/>
                  </a:lnTo>
                  <a:lnTo>
                    <a:pt x="449" y="0"/>
                  </a:lnTo>
                  <a:lnTo>
                    <a:pt x="238" y="4"/>
                  </a:lnTo>
                  <a:lnTo>
                    <a:pt x="234" y="31"/>
                  </a:lnTo>
                  <a:lnTo>
                    <a:pt x="225" y="57"/>
                  </a:lnTo>
                  <a:lnTo>
                    <a:pt x="212" y="82"/>
                  </a:lnTo>
                  <a:lnTo>
                    <a:pt x="193" y="104"/>
                  </a:lnTo>
                  <a:lnTo>
                    <a:pt x="173" y="121"/>
                  </a:lnTo>
                  <a:lnTo>
                    <a:pt x="152" y="134"/>
                  </a:lnTo>
                  <a:lnTo>
                    <a:pt x="128" y="143"/>
                  </a:lnTo>
                  <a:lnTo>
                    <a:pt x="103" y="148"/>
                  </a:lnTo>
                  <a:lnTo>
                    <a:pt x="104" y="149"/>
                  </a:lnTo>
                  <a:lnTo>
                    <a:pt x="103" y="149"/>
                  </a:lnTo>
                  <a:lnTo>
                    <a:pt x="103" y="96"/>
                  </a:lnTo>
                </a:path>
              </a:pathLst>
            </a:custGeom>
            <a:solidFill>
              <a:srgbClr val="BE82FF">
                <a:lumMod val="20000"/>
                <a:lumOff val="80000"/>
              </a:srgbClr>
            </a:solidFill>
            <a:ln w="6350" cap="rnd" cmpd="sng">
              <a:solidFill>
                <a:srgbClr val="FFFFFF"/>
              </a:solid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 name="Freeform 9">
              <a:extLst>
                <a:ext uri="{FF2B5EF4-FFF2-40B4-BE49-F238E27FC236}">
                  <a16:creationId xmlns:a16="http://schemas.microsoft.com/office/drawing/2014/main" id="{F26A4F2C-07AB-4DF2-8FA9-309BA26A60E7}"/>
                </a:ext>
              </a:extLst>
            </p:cNvPr>
            <p:cNvSpPr>
              <a:spLocks/>
            </p:cNvSpPr>
            <p:nvPr/>
          </p:nvSpPr>
          <p:spPr bwMode="auto">
            <a:xfrm>
              <a:off x="3139" y="1914"/>
              <a:ext cx="616" cy="609"/>
            </a:xfrm>
            <a:custGeom>
              <a:avLst/>
              <a:gdLst/>
              <a:ahLst/>
              <a:cxnLst>
                <a:cxn ang="0">
                  <a:pos x="83" y="337"/>
                </a:cxn>
                <a:cxn ang="0">
                  <a:pos x="248" y="433"/>
                </a:cxn>
                <a:cxn ang="0">
                  <a:pos x="418" y="332"/>
                </a:cxn>
                <a:cxn ang="0">
                  <a:pos x="352" y="333"/>
                </a:cxn>
                <a:cxn ang="0">
                  <a:pos x="348" y="302"/>
                </a:cxn>
                <a:cxn ang="0">
                  <a:pos x="341" y="271"/>
                </a:cxn>
                <a:cxn ang="0">
                  <a:pos x="332" y="241"/>
                </a:cxn>
                <a:cxn ang="0">
                  <a:pos x="320" y="212"/>
                </a:cxn>
                <a:cxn ang="0">
                  <a:pos x="306" y="184"/>
                </a:cxn>
                <a:cxn ang="0">
                  <a:pos x="288" y="157"/>
                </a:cxn>
                <a:cxn ang="0">
                  <a:pos x="269" y="131"/>
                </a:cxn>
                <a:cxn ang="0">
                  <a:pos x="246" y="106"/>
                </a:cxn>
                <a:cxn ang="0">
                  <a:pos x="220" y="82"/>
                </a:cxn>
                <a:cxn ang="0">
                  <a:pos x="192" y="61"/>
                </a:cxn>
                <a:cxn ang="0">
                  <a:pos x="163" y="43"/>
                </a:cxn>
                <a:cxn ang="0">
                  <a:pos x="131" y="29"/>
                </a:cxn>
                <a:cxn ang="0">
                  <a:pos x="100" y="17"/>
                </a:cxn>
                <a:cxn ang="0">
                  <a:pos x="67" y="8"/>
                </a:cxn>
                <a:cxn ang="0">
                  <a:pos x="33" y="2"/>
                </a:cxn>
                <a:cxn ang="0">
                  <a:pos x="0" y="0"/>
                </a:cxn>
                <a:cxn ang="0">
                  <a:pos x="4" y="209"/>
                </a:cxn>
                <a:cxn ang="0">
                  <a:pos x="29" y="213"/>
                </a:cxn>
                <a:cxn ang="0">
                  <a:pos x="52" y="222"/>
                </a:cxn>
                <a:cxn ang="0">
                  <a:pos x="75" y="236"/>
                </a:cxn>
                <a:cxn ang="0">
                  <a:pos x="96" y="253"/>
                </a:cxn>
                <a:cxn ang="0">
                  <a:pos x="112" y="272"/>
                </a:cxn>
                <a:cxn ang="0">
                  <a:pos x="124" y="292"/>
                </a:cxn>
                <a:cxn ang="0">
                  <a:pos x="133" y="313"/>
                </a:cxn>
                <a:cxn ang="0">
                  <a:pos x="136" y="324"/>
                </a:cxn>
                <a:cxn ang="0">
                  <a:pos x="139" y="336"/>
                </a:cxn>
                <a:cxn ang="0">
                  <a:pos x="83" y="337"/>
                </a:cxn>
              </a:cxnLst>
              <a:rect l="0" t="0" r="r" b="b"/>
              <a:pathLst>
                <a:path w="419" h="434">
                  <a:moveTo>
                    <a:pt x="83" y="337"/>
                  </a:moveTo>
                  <a:lnTo>
                    <a:pt x="248" y="433"/>
                  </a:lnTo>
                  <a:lnTo>
                    <a:pt x="418" y="332"/>
                  </a:lnTo>
                  <a:lnTo>
                    <a:pt x="352" y="333"/>
                  </a:lnTo>
                  <a:lnTo>
                    <a:pt x="348" y="302"/>
                  </a:lnTo>
                  <a:lnTo>
                    <a:pt x="341" y="271"/>
                  </a:lnTo>
                  <a:lnTo>
                    <a:pt x="332" y="241"/>
                  </a:lnTo>
                  <a:lnTo>
                    <a:pt x="320" y="212"/>
                  </a:lnTo>
                  <a:lnTo>
                    <a:pt x="306" y="184"/>
                  </a:lnTo>
                  <a:lnTo>
                    <a:pt x="288" y="157"/>
                  </a:lnTo>
                  <a:lnTo>
                    <a:pt x="269" y="131"/>
                  </a:lnTo>
                  <a:lnTo>
                    <a:pt x="246" y="106"/>
                  </a:lnTo>
                  <a:lnTo>
                    <a:pt x="220" y="82"/>
                  </a:lnTo>
                  <a:lnTo>
                    <a:pt x="192" y="61"/>
                  </a:lnTo>
                  <a:lnTo>
                    <a:pt x="163" y="43"/>
                  </a:lnTo>
                  <a:lnTo>
                    <a:pt x="131" y="29"/>
                  </a:lnTo>
                  <a:lnTo>
                    <a:pt x="100" y="17"/>
                  </a:lnTo>
                  <a:lnTo>
                    <a:pt x="67" y="8"/>
                  </a:lnTo>
                  <a:lnTo>
                    <a:pt x="33" y="2"/>
                  </a:lnTo>
                  <a:lnTo>
                    <a:pt x="0" y="0"/>
                  </a:lnTo>
                  <a:lnTo>
                    <a:pt x="4" y="209"/>
                  </a:lnTo>
                  <a:lnTo>
                    <a:pt x="29" y="213"/>
                  </a:lnTo>
                  <a:lnTo>
                    <a:pt x="52" y="222"/>
                  </a:lnTo>
                  <a:lnTo>
                    <a:pt x="75" y="236"/>
                  </a:lnTo>
                  <a:lnTo>
                    <a:pt x="96" y="253"/>
                  </a:lnTo>
                  <a:lnTo>
                    <a:pt x="112" y="272"/>
                  </a:lnTo>
                  <a:lnTo>
                    <a:pt x="124" y="292"/>
                  </a:lnTo>
                  <a:lnTo>
                    <a:pt x="133" y="313"/>
                  </a:lnTo>
                  <a:lnTo>
                    <a:pt x="136" y="324"/>
                  </a:lnTo>
                  <a:lnTo>
                    <a:pt x="139" y="336"/>
                  </a:lnTo>
                  <a:lnTo>
                    <a:pt x="83" y="337"/>
                  </a:lnTo>
                </a:path>
              </a:pathLst>
            </a:custGeom>
            <a:solidFill>
              <a:srgbClr val="BE82FF">
                <a:lumMod val="20000"/>
                <a:lumOff val="80000"/>
              </a:srgbClr>
            </a:solidFill>
            <a:ln w="6350" cap="rnd" cmpd="sng">
              <a:solidFill>
                <a:srgbClr val="FFFFFF"/>
              </a:solid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 name="Freeform 10">
              <a:extLst>
                <a:ext uri="{FF2B5EF4-FFF2-40B4-BE49-F238E27FC236}">
                  <a16:creationId xmlns:a16="http://schemas.microsoft.com/office/drawing/2014/main" id="{6E939BA0-2A6E-497E-86DC-7FC59883F218}"/>
                </a:ext>
              </a:extLst>
            </p:cNvPr>
            <p:cNvSpPr>
              <a:spLocks/>
            </p:cNvSpPr>
            <p:nvPr/>
          </p:nvSpPr>
          <p:spPr bwMode="auto">
            <a:xfrm>
              <a:off x="2575" y="1824"/>
              <a:ext cx="654" cy="608"/>
            </a:xfrm>
            <a:custGeom>
              <a:avLst/>
              <a:gdLst/>
              <a:ahLst/>
              <a:cxnLst>
                <a:cxn ang="0">
                  <a:pos x="344" y="59"/>
                </a:cxn>
                <a:cxn ang="0">
                  <a:pos x="312" y="61"/>
                </a:cxn>
                <a:cxn ang="0">
                  <a:pos x="280" y="68"/>
                </a:cxn>
                <a:cxn ang="0">
                  <a:pos x="248" y="77"/>
                </a:cxn>
                <a:cxn ang="0">
                  <a:pos x="218" y="88"/>
                </a:cxn>
                <a:cxn ang="0">
                  <a:pos x="188" y="103"/>
                </a:cxn>
                <a:cxn ang="0">
                  <a:pos x="159" y="121"/>
                </a:cxn>
                <a:cxn ang="0">
                  <a:pos x="132" y="142"/>
                </a:cxn>
                <a:cxn ang="0">
                  <a:pos x="107" y="165"/>
                </a:cxn>
                <a:cxn ang="0">
                  <a:pos x="81" y="193"/>
                </a:cxn>
                <a:cxn ang="0">
                  <a:pos x="59" y="224"/>
                </a:cxn>
                <a:cxn ang="0">
                  <a:pos x="40" y="255"/>
                </a:cxn>
                <a:cxn ang="0">
                  <a:pos x="25" y="290"/>
                </a:cxn>
                <a:cxn ang="0">
                  <a:pos x="13" y="324"/>
                </a:cxn>
                <a:cxn ang="0">
                  <a:pos x="5" y="359"/>
                </a:cxn>
                <a:cxn ang="0">
                  <a:pos x="1" y="395"/>
                </a:cxn>
                <a:cxn ang="0">
                  <a:pos x="0" y="432"/>
                </a:cxn>
                <a:cxn ang="0">
                  <a:pos x="211" y="431"/>
                </a:cxn>
                <a:cxn ang="0">
                  <a:pos x="212" y="399"/>
                </a:cxn>
                <a:cxn ang="0">
                  <a:pos x="220" y="368"/>
                </a:cxn>
                <a:cxn ang="0">
                  <a:pos x="235" y="338"/>
                </a:cxn>
                <a:cxn ang="0">
                  <a:pos x="256" y="312"/>
                </a:cxn>
                <a:cxn ang="0">
                  <a:pos x="276" y="295"/>
                </a:cxn>
                <a:cxn ang="0">
                  <a:pos x="298" y="282"/>
                </a:cxn>
                <a:cxn ang="0">
                  <a:pos x="323" y="272"/>
                </a:cxn>
                <a:cxn ang="0">
                  <a:pos x="347" y="268"/>
                </a:cxn>
                <a:cxn ang="0">
                  <a:pos x="348" y="335"/>
                </a:cxn>
                <a:cxn ang="0">
                  <a:pos x="444" y="170"/>
                </a:cxn>
                <a:cxn ang="0">
                  <a:pos x="343" y="0"/>
                </a:cxn>
                <a:cxn ang="0">
                  <a:pos x="344" y="59"/>
                </a:cxn>
              </a:cxnLst>
              <a:rect l="0" t="0" r="r" b="b"/>
              <a:pathLst>
                <a:path w="445" h="433">
                  <a:moveTo>
                    <a:pt x="344" y="59"/>
                  </a:moveTo>
                  <a:lnTo>
                    <a:pt x="312" y="61"/>
                  </a:lnTo>
                  <a:lnTo>
                    <a:pt x="280" y="68"/>
                  </a:lnTo>
                  <a:lnTo>
                    <a:pt x="248" y="77"/>
                  </a:lnTo>
                  <a:lnTo>
                    <a:pt x="218" y="88"/>
                  </a:lnTo>
                  <a:lnTo>
                    <a:pt x="188" y="103"/>
                  </a:lnTo>
                  <a:lnTo>
                    <a:pt x="159" y="121"/>
                  </a:lnTo>
                  <a:lnTo>
                    <a:pt x="132" y="142"/>
                  </a:lnTo>
                  <a:lnTo>
                    <a:pt x="107" y="165"/>
                  </a:lnTo>
                  <a:lnTo>
                    <a:pt x="81" y="193"/>
                  </a:lnTo>
                  <a:lnTo>
                    <a:pt x="59" y="224"/>
                  </a:lnTo>
                  <a:lnTo>
                    <a:pt x="40" y="255"/>
                  </a:lnTo>
                  <a:lnTo>
                    <a:pt x="25" y="290"/>
                  </a:lnTo>
                  <a:lnTo>
                    <a:pt x="13" y="324"/>
                  </a:lnTo>
                  <a:lnTo>
                    <a:pt x="5" y="359"/>
                  </a:lnTo>
                  <a:lnTo>
                    <a:pt x="1" y="395"/>
                  </a:lnTo>
                  <a:lnTo>
                    <a:pt x="0" y="432"/>
                  </a:lnTo>
                  <a:lnTo>
                    <a:pt x="211" y="431"/>
                  </a:lnTo>
                  <a:lnTo>
                    <a:pt x="212" y="399"/>
                  </a:lnTo>
                  <a:lnTo>
                    <a:pt x="220" y="368"/>
                  </a:lnTo>
                  <a:lnTo>
                    <a:pt x="235" y="338"/>
                  </a:lnTo>
                  <a:lnTo>
                    <a:pt x="256" y="312"/>
                  </a:lnTo>
                  <a:lnTo>
                    <a:pt x="276" y="295"/>
                  </a:lnTo>
                  <a:lnTo>
                    <a:pt x="298" y="282"/>
                  </a:lnTo>
                  <a:lnTo>
                    <a:pt x="323" y="272"/>
                  </a:lnTo>
                  <a:lnTo>
                    <a:pt x="347" y="268"/>
                  </a:lnTo>
                  <a:lnTo>
                    <a:pt x="348" y="335"/>
                  </a:lnTo>
                  <a:lnTo>
                    <a:pt x="444" y="170"/>
                  </a:lnTo>
                  <a:lnTo>
                    <a:pt x="343" y="0"/>
                  </a:lnTo>
                  <a:lnTo>
                    <a:pt x="344" y="59"/>
                  </a:lnTo>
                </a:path>
              </a:pathLst>
            </a:custGeom>
            <a:solidFill>
              <a:srgbClr val="BE82FF">
                <a:lumMod val="20000"/>
                <a:lumOff val="80000"/>
              </a:srgbClr>
            </a:solidFill>
            <a:ln w="6350" cap="rnd" cmpd="sng">
              <a:solidFill>
                <a:srgbClr val="FFFFFF"/>
              </a:solid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 name="Freeform 11">
              <a:extLst>
                <a:ext uri="{FF2B5EF4-FFF2-40B4-BE49-F238E27FC236}">
                  <a16:creationId xmlns:a16="http://schemas.microsoft.com/office/drawing/2014/main" id="{1CE5FC6D-6681-4DB0-BBDD-583E0ED520D4}"/>
                </a:ext>
              </a:extLst>
            </p:cNvPr>
            <p:cNvSpPr>
              <a:spLocks/>
            </p:cNvSpPr>
            <p:nvPr/>
          </p:nvSpPr>
          <p:spPr bwMode="auto">
            <a:xfrm>
              <a:off x="2487" y="2326"/>
              <a:ext cx="606" cy="612"/>
            </a:xfrm>
            <a:custGeom>
              <a:avLst/>
              <a:gdLst/>
              <a:ahLst/>
              <a:cxnLst>
                <a:cxn ang="0">
                  <a:pos x="333" y="97"/>
                </a:cxn>
                <a:cxn ang="0">
                  <a:pos x="168" y="0"/>
                </a:cxn>
                <a:cxn ang="0">
                  <a:pos x="0" y="101"/>
                </a:cxn>
                <a:cxn ang="0">
                  <a:pos x="59" y="100"/>
                </a:cxn>
                <a:cxn ang="0">
                  <a:pos x="70" y="162"/>
                </a:cxn>
                <a:cxn ang="0">
                  <a:pos x="79" y="192"/>
                </a:cxn>
                <a:cxn ang="0">
                  <a:pos x="91" y="222"/>
                </a:cxn>
                <a:cxn ang="0">
                  <a:pos x="105" y="251"/>
                </a:cxn>
                <a:cxn ang="0">
                  <a:pos x="122" y="278"/>
                </a:cxn>
                <a:cxn ang="0">
                  <a:pos x="165" y="329"/>
                </a:cxn>
                <a:cxn ang="0">
                  <a:pos x="192" y="352"/>
                </a:cxn>
                <a:cxn ang="0">
                  <a:pos x="219" y="373"/>
                </a:cxn>
                <a:cxn ang="0">
                  <a:pos x="247" y="390"/>
                </a:cxn>
                <a:cxn ang="0">
                  <a:pos x="278" y="405"/>
                </a:cxn>
                <a:cxn ang="0">
                  <a:pos x="309" y="417"/>
                </a:cxn>
                <a:cxn ang="0">
                  <a:pos x="342" y="426"/>
                </a:cxn>
                <a:cxn ang="0">
                  <a:pos x="374" y="432"/>
                </a:cxn>
                <a:cxn ang="0">
                  <a:pos x="407" y="435"/>
                </a:cxn>
                <a:cxn ang="0">
                  <a:pos x="345" y="333"/>
                </a:cxn>
                <a:cxn ang="0">
                  <a:pos x="411" y="222"/>
                </a:cxn>
                <a:cxn ang="0">
                  <a:pos x="385" y="217"/>
                </a:cxn>
                <a:cxn ang="0">
                  <a:pos x="360" y="209"/>
                </a:cxn>
                <a:cxn ang="0">
                  <a:pos x="335" y="195"/>
                </a:cxn>
                <a:cxn ang="0">
                  <a:pos x="315" y="177"/>
                </a:cxn>
                <a:cxn ang="0">
                  <a:pos x="299" y="159"/>
                </a:cxn>
                <a:cxn ang="0">
                  <a:pos x="287" y="139"/>
                </a:cxn>
                <a:cxn ang="0">
                  <a:pos x="279" y="119"/>
                </a:cxn>
                <a:cxn ang="0">
                  <a:pos x="273" y="97"/>
                </a:cxn>
                <a:cxn ang="0">
                  <a:pos x="333" y="97"/>
                </a:cxn>
              </a:cxnLst>
              <a:rect l="0" t="0" r="r" b="b"/>
              <a:pathLst>
                <a:path w="412" h="436">
                  <a:moveTo>
                    <a:pt x="333" y="97"/>
                  </a:moveTo>
                  <a:lnTo>
                    <a:pt x="168" y="0"/>
                  </a:lnTo>
                  <a:lnTo>
                    <a:pt x="0" y="101"/>
                  </a:lnTo>
                  <a:lnTo>
                    <a:pt x="59" y="100"/>
                  </a:lnTo>
                  <a:lnTo>
                    <a:pt x="70" y="162"/>
                  </a:lnTo>
                  <a:lnTo>
                    <a:pt x="79" y="192"/>
                  </a:lnTo>
                  <a:lnTo>
                    <a:pt x="91" y="222"/>
                  </a:lnTo>
                  <a:lnTo>
                    <a:pt x="105" y="251"/>
                  </a:lnTo>
                  <a:lnTo>
                    <a:pt x="122" y="278"/>
                  </a:lnTo>
                  <a:lnTo>
                    <a:pt x="165" y="329"/>
                  </a:lnTo>
                  <a:lnTo>
                    <a:pt x="192" y="352"/>
                  </a:lnTo>
                  <a:lnTo>
                    <a:pt x="219" y="373"/>
                  </a:lnTo>
                  <a:lnTo>
                    <a:pt x="247" y="390"/>
                  </a:lnTo>
                  <a:lnTo>
                    <a:pt x="278" y="405"/>
                  </a:lnTo>
                  <a:lnTo>
                    <a:pt x="309" y="417"/>
                  </a:lnTo>
                  <a:lnTo>
                    <a:pt x="342" y="426"/>
                  </a:lnTo>
                  <a:lnTo>
                    <a:pt x="374" y="432"/>
                  </a:lnTo>
                  <a:lnTo>
                    <a:pt x="407" y="435"/>
                  </a:lnTo>
                  <a:lnTo>
                    <a:pt x="345" y="333"/>
                  </a:lnTo>
                  <a:lnTo>
                    <a:pt x="411" y="222"/>
                  </a:lnTo>
                  <a:lnTo>
                    <a:pt x="385" y="217"/>
                  </a:lnTo>
                  <a:lnTo>
                    <a:pt x="360" y="209"/>
                  </a:lnTo>
                  <a:lnTo>
                    <a:pt x="335" y="195"/>
                  </a:lnTo>
                  <a:lnTo>
                    <a:pt x="315" y="177"/>
                  </a:lnTo>
                  <a:lnTo>
                    <a:pt x="299" y="159"/>
                  </a:lnTo>
                  <a:lnTo>
                    <a:pt x="287" y="139"/>
                  </a:lnTo>
                  <a:lnTo>
                    <a:pt x="279" y="119"/>
                  </a:lnTo>
                  <a:lnTo>
                    <a:pt x="273" y="97"/>
                  </a:lnTo>
                  <a:lnTo>
                    <a:pt x="333" y="97"/>
                  </a:lnTo>
                </a:path>
              </a:pathLst>
            </a:custGeom>
            <a:solidFill>
              <a:srgbClr val="BE82FF">
                <a:lumMod val="20000"/>
                <a:lumOff val="80000"/>
              </a:srgbClr>
            </a:solidFill>
            <a:ln w="6350" cap="rnd" cmpd="sng">
              <a:solidFill>
                <a:srgbClr val="FFFFFF"/>
              </a:solid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nvGrpSpPr>
            <p:cNvPr id="14" name="Group 12">
              <a:extLst>
                <a:ext uri="{FF2B5EF4-FFF2-40B4-BE49-F238E27FC236}">
                  <a16:creationId xmlns:a16="http://schemas.microsoft.com/office/drawing/2014/main" id="{B3A7809B-B5C9-449F-8BC1-0280AFBEBF90}"/>
                </a:ext>
              </a:extLst>
            </p:cNvPr>
            <p:cNvGrpSpPr>
              <a:grpSpLocks/>
            </p:cNvGrpSpPr>
            <p:nvPr/>
          </p:nvGrpSpPr>
          <p:grpSpPr bwMode="auto">
            <a:xfrm>
              <a:off x="2197" y="1624"/>
              <a:ext cx="1845" cy="1609"/>
              <a:chOff x="2180" y="1582"/>
              <a:chExt cx="1845" cy="1609"/>
            </a:xfrm>
          </p:grpSpPr>
          <p:sp>
            <p:nvSpPr>
              <p:cNvPr id="19" name="Text Box 13">
                <a:extLst>
                  <a:ext uri="{FF2B5EF4-FFF2-40B4-BE49-F238E27FC236}">
                    <a16:creationId xmlns:a16="http://schemas.microsoft.com/office/drawing/2014/main" id="{839FE7D4-41FE-4E36-99E3-A7057D38DB45}"/>
                  </a:ext>
                </a:extLst>
              </p:cNvPr>
              <p:cNvSpPr txBox="1">
                <a:spLocks noChangeArrowheads="1"/>
              </p:cNvSpPr>
              <p:nvPr/>
            </p:nvSpPr>
            <p:spPr bwMode="auto">
              <a:xfrm>
                <a:off x="2986" y="3030"/>
                <a:ext cx="259" cy="16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Arial"/>
                    <a:ea typeface="+mn-ea"/>
                    <a:cs typeface="+mn-cs"/>
                  </a:rPr>
                  <a:t>Text</a:t>
                </a:r>
              </a:p>
            </p:txBody>
          </p:sp>
          <p:sp>
            <p:nvSpPr>
              <p:cNvPr id="20" name="Text Box 14">
                <a:extLst>
                  <a:ext uri="{FF2B5EF4-FFF2-40B4-BE49-F238E27FC236}">
                    <a16:creationId xmlns:a16="http://schemas.microsoft.com/office/drawing/2014/main" id="{535AC301-1E53-4FA1-907D-6B92553AF109}"/>
                  </a:ext>
                </a:extLst>
              </p:cNvPr>
              <p:cNvSpPr txBox="1">
                <a:spLocks noChangeArrowheads="1"/>
              </p:cNvSpPr>
              <p:nvPr/>
            </p:nvSpPr>
            <p:spPr bwMode="auto">
              <a:xfrm>
                <a:off x="2986" y="1582"/>
                <a:ext cx="259" cy="16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a:ea typeface="+mn-ea"/>
                    <a:cs typeface="+mn-cs"/>
                  </a:rPr>
                  <a:t>Text</a:t>
                </a:r>
              </a:p>
            </p:txBody>
          </p:sp>
          <p:sp>
            <p:nvSpPr>
              <p:cNvPr id="21" name="Text Box 15">
                <a:extLst>
                  <a:ext uri="{FF2B5EF4-FFF2-40B4-BE49-F238E27FC236}">
                    <a16:creationId xmlns:a16="http://schemas.microsoft.com/office/drawing/2014/main" id="{58ACA973-449F-4B7F-9F64-C54554591A53}"/>
                  </a:ext>
                </a:extLst>
              </p:cNvPr>
              <p:cNvSpPr txBox="1">
                <a:spLocks noChangeArrowheads="1"/>
              </p:cNvSpPr>
              <p:nvPr/>
            </p:nvSpPr>
            <p:spPr bwMode="auto">
              <a:xfrm>
                <a:off x="3766" y="2307"/>
                <a:ext cx="259" cy="16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Arial"/>
                    <a:ea typeface="+mn-ea"/>
                    <a:cs typeface="+mn-cs"/>
                  </a:rPr>
                  <a:t>Text</a:t>
                </a:r>
              </a:p>
            </p:txBody>
          </p:sp>
          <p:sp>
            <p:nvSpPr>
              <p:cNvPr id="22" name="Text Box 16">
                <a:extLst>
                  <a:ext uri="{FF2B5EF4-FFF2-40B4-BE49-F238E27FC236}">
                    <a16:creationId xmlns:a16="http://schemas.microsoft.com/office/drawing/2014/main" id="{C50E24CA-5D3B-46C6-A051-5DC32D82C2FF}"/>
                  </a:ext>
                </a:extLst>
              </p:cNvPr>
              <p:cNvSpPr txBox="1">
                <a:spLocks noChangeArrowheads="1"/>
              </p:cNvSpPr>
              <p:nvPr/>
            </p:nvSpPr>
            <p:spPr bwMode="auto">
              <a:xfrm>
                <a:off x="2180" y="2307"/>
                <a:ext cx="259" cy="16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a:ea typeface="+mn-ea"/>
                    <a:cs typeface="+mn-cs"/>
                  </a:rPr>
                  <a:t>Text</a:t>
                </a:r>
              </a:p>
            </p:txBody>
          </p:sp>
        </p:grpSp>
        <p:sp>
          <p:nvSpPr>
            <p:cNvPr id="15" name="Text Box 17">
              <a:extLst>
                <a:ext uri="{FF2B5EF4-FFF2-40B4-BE49-F238E27FC236}">
                  <a16:creationId xmlns:a16="http://schemas.microsoft.com/office/drawing/2014/main" id="{614B1D98-CD8B-443D-81D1-402A1604E056}"/>
                </a:ext>
              </a:extLst>
            </p:cNvPr>
            <p:cNvSpPr txBox="1">
              <a:spLocks noChangeArrowheads="1"/>
            </p:cNvSpPr>
            <p:nvPr/>
          </p:nvSpPr>
          <p:spPr bwMode="auto">
            <a:xfrm>
              <a:off x="3229" y="2073"/>
              <a:ext cx="259" cy="16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a:ea typeface="+mn-ea"/>
                  <a:cs typeface="+mn-cs"/>
                </a:rPr>
                <a:t>Text</a:t>
              </a:r>
            </a:p>
          </p:txBody>
        </p:sp>
        <p:sp>
          <p:nvSpPr>
            <p:cNvPr id="16" name="Text Box 18">
              <a:extLst>
                <a:ext uri="{FF2B5EF4-FFF2-40B4-BE49-F238E27FC236}">
                  <a16:creationId xmlns:a16="http://schemas.microsoft.com/office/drawing/2014/main" id="{3002CDF6-7E1D-4B3C-AD0D-F796922A107B}"/>
                </a:ext>
              </a:extLst>
            </p:cNvPr>
            <p:cNvSpPr txBox="1">
              <a:spLocks noChangeArrowheads="1"/>
            </p:cNvSpPr>
            <p:nvPr/>
          </p:nvSpPr>
          <p:spPr bwMode="auto">
            <a:xfrm>
              <a:off x="3229" y="2634"/>
              <a:ext cx="259" cy="16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Arial"/>
                  <a:ea typeface="+mn-ea"/>
                  <a:cs typeface="+mn-cs"/>
                </a:rPr>
                <a:t>Text</a:t>
              </a:r>
            </a:p>
          </p:txBody>
        </p:sp>
        <p:sp>
          <p:nvSpPr>
            <p:cNvPr id="17" name="Text Box 19">
              <a:extLst>
                <a:ext uri="{FF2B5EF4-FFF2-40B4-BE49-F238E27FC236}">
                  <a16:creationId xmlns:a16="http://schemas.microsoft.com/office/drawing/2014/main" id="{4A6F22C3-6245-4BF6-98FD-5C023935C818}"/>
                </a:ext>
              </a:extLst>
            </p:cNvPr>
            <p:cNvSpPr txBox="1">
              <a:spLocks noChangeArrowheads="1"/>
            </p:cNvSpPr>
            <p:nvPr/>
          </p:nvSpPr>
          <p:spPr bwMode="auto">
            <a:xfrm>
              <a:off x="2735" y="2634"/>
              <a:ext cx="259" cy="16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Arial"/>
                  <a:ea typeface="+mn-ea"/>
                  <a:cs typeface="+mn-cs"/>
                </a:rPr>
                <a:t>Text</a:t>
              </a:r>
            </a:p>
          </p:txBody>
        </p:sp>
        <p:sp>
          <p:nvSpPr>
            <p:cNvPr id="18" name="Text Box 20">
              <a:extLst>
                <a:ext uri="{FF2B5EF4-FFF2-40B4-BE49-F238E27FC236}">
                  <a16:creationId xmlns:a16="http://schemas.microsoft.com/office/drawing/2014/main" id="{36D64969-AE38-44C2-AA23-ADD13D6E133A}"/>
                </a:ext>
              </a:extLst>
            </p:cNvPr>
            <p:cNvSpPr txBox="1">
              <a:spLocks noChangeArrowheads="1"/>
            </p:cNvSpPr>
            <p:nvPr/>
          </p:nvSpPr>
          <p:spPr bwMode="auto">
            <a:xfrm>
              <a:off x="2735" y="2073"/>
              <a:ext cx="259" cy="16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a:ea typeface="+mn-ea"/>
                  <a:cs typeface="+mn-cs"/>
                </a:rPr>
                <a:t>Text</a:t>
              </a:r>
            </a:p>
          </p:txBody>
        </p:sp>
      </p:grpSp>
      <p:sp>
        <p:nvSpPr>
          <p:cNvPr id="24" name="Footer Placeholder 23">
            <a:extLst>
              <a:ext uri="{FF2B5EF4-FFF2-40B4-BE49-F238E27FC236}">
                <a16:creationId xmlns:a16="http://schemas.microsoft.com/office/drawing/2014/main" id="{0AFA868D-C65D-4049-BC36-229CFE66A53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5" name="Slide Number Placeholder 24">
            <a:extLst>
              <a:ext uri="{FF2B5EF4-FFF2-40B4-BE49-F238E27FC236}">
                <a16:creationId xmlns:a16="http://schemas.microsoft.com/office/drawing/2014/main" id="{A7EC3FC0-0992-44D7-839B-EED311664BD8}"/>
              </a:ext>
            </a:extLst>
          </p:cNvPr>
          <p:cNvSpPr>
            <a:spLocks noGrp="1"/>
          </p:cNvSpPr>
          <p:nvPr>
            <p:ph type="sldNum" sz="quarter" idx="10"/>
          </p:nvPr>
        </p:nvSpPr>
        <p:spPr/>
        <p:txBody>
          <a:bodyPr/>
          <a:lstStyle/>
          <a:p>
            <a:fld id="{1F90F471-3972-4120-B8B3-0237DE626C35}" type="slidenum">
              <a:rPr lang="en-US" smtClean="0"/>
              <a:pPr/>
              <a:t>263</a:t>
            </a:fld>
            <a:endParaRPr lang="en-US" dirty="0"/>
          </a:p>
        </p:txBody>
      </p:sp>
    </p:spTree>
    <p:extLst>
      <p:ext uri="{BB962C8B-B14F-4D97-AF65-F5344CB8AC3E}">
        <p14:creationId xmlns:p14="http://schemas.microsoft.com/office/powerpoint/2010/main" val="22635868"/>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Impacted Flow 1</a:t>
            </a:r>
          </a:p>
        </p:txBody>
      </p:sp>
      <p:grpSp>
        <p:nvGrpSpPr>
          <p:cNvPr id="31" name="Group 30" descr="Start">
            <a:extLst>
              <a:ext uri="{FF2B5EF4-FFF2-40B4-BE49-F238E27FC236}">
                <a16:creationId xmlns:a16="http://schemas.microsoft.com/office/drawing/2014/main" id="{B75549D9-F48F-481E-9156-D6CC34716106}"/>
              </a:ext>
            </a:extLst>
          </p:cNvPr>
          <p:cNvGrpSpPr/>
          <p:nvPr/>
        </p:nvGrpSpPr>
        <p:grpSpPr>
          <a:xfrm>
            <a:off x="1278046" y="1662350"/>
            <a:ext cx="6362007" cy="535682"/>
            <a:chOff x="1278046" y="1662350"/>
            <a:chExt cx="6362007" cy="535682"/>
          </a:xfrm>
        </p:grpSpPr>
        <p:cxnSp>
          <p:nvCxnSpPr>
            <p:cNvPr id="32" name="Straight Connector 31">
              <a:extLst>
                <a:ext uri="{FF2B5EF4-FFF2-40B4-BE49-F238E27FC236}">
                  <a16:creationId xmlns:a16="http://schemas.microsoft.com/office/drawing/2014/main" id="{04958823-D7EB-443A-BFD2-119B3B2F4091}"/>
                </a:ext>
              </a:extLst>
            </p:cNvPr>
            <p:cNvCxnSpPr/>
            <p:nvPr/>
          </p:nvCxnSpPr>
          <p:spPr>
            <a:xfrm>
              <a:off x="1278046" y="1919352"/>
              <a:ext cx="6362007" cy="0"/>
            </a:xfrm>
            <a:prstGeom prst="line">
              <a:avLst/>
            </a:prstGeom>
            <a:ln w="635000">
              <a:solidFill>
                <a:schemeClr val="accent3"/>
              </a:solidFill>
              <a:prstDash val="solid"/>
              <a:headEnd type="none" w="sm" len="sm"/>
              <a:tailEnd type="non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A18A694E-2063-44C5-95C7-5FB5E1CABB09}"/>
                </a:ext>
              </a:extLst>
            </p:cNvPr>
            <p:cNvCxnSpPr/>
            <p:nvPr/>
          </p:nvCxnSpPr>
          <p:spPr>
            <a:xfrm>
              <a:off x="2024448" y="1918376"/>
              <a:ext cx="1648636" cy="0"/>
            </a:xfrm>
            <a:prstGeom prst="straightConnector1">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03ECBBF3-8A0E-4BB9-9CA1-CF8FEE99096E}"/>
                </a:ext>
              </a:extLst>
            </p:cNvPr>
            <p:cNvCxnSpPr/>
            <p:nvPr/>
          </p:nvCxnSpPr>
          <p:spPr>
            <a:xfrm>
              <a:off x="4366855" y="1918376"/>
              <a:ext cx="1615291" cy="0"/>
            </a:xfrm>
            <a:prstGeom prst="straightConnector1">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1A132B12-EF8F-4A79-AF03-0B25634B95D7}"/>
                </a:ext>
              </a:extLst>
            </p:cNvPr>
            <p:cNvSpPr/>
            <p:nvPr/>
          </p:nvSpPr>
          <p:spPr>
            <a:xfrm>
              <a:off x="3752616" y="1662350"/>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bg1"/>
                  </a:solidFill>
                  <a:latin typeface="+mj-lt"/>
                </a:rPr>
                <a:t>2</a:t>
              </a:r>
              <a:endParaRPr lang="en-GB" sz="2000" dirty="0">
                <a:solidFill>
                  <a:schemeClr val="bg1"/>
                </a:solidFill>
                <a:latin typeface="+mj-lt"/>
              </a:endParaRPr>
            </a:p>
          </p:txBody>
        </p:sp>
        <p:sp>
          <p:nvSpPr>
            <p:cNvPr id="36" name="Oval 35">
              <a:extLst>
                <a:ext uri="{FF2B5EF4-FFF2-40B4-BE49-F238E27FC236}">
                  <a16:creationId xmlns:a16="http://schemas.microsoft.com/office/drawing/2014/main" id="{719A4FC2-C431-4168-ADFA-A7A9925177FD}"/>
                </a:ext>
              </a:extLst>
            </p:cNvPr>
            <p:cNvSpPr/>
            <p:nvPr/>
          </p:nvSpPr>
          <p:spPr>
            <a:xfrm>
              <a:off x="1456822" y="1662351"/>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bg1"/>
                  </a:solidFill>
                  <a:latin typeface="+mj-lt"/>
                </a:rPr>
                <a:t>1</a:t>
              </a:r>
              <a:endParaRPr lang="en-GB" sz="2000" dirty="0">
                <a:solidFill>
                  <a:schemeClr val="bg1"/>
                </a:solidFill>
                <a:latin typeface="+mj-lt"/>
              </a:endParaRPr>
            </a:p>
          </p:txBody>
        </p:sp>
      </p:grpSp>
      <p:sp>
        <p:nvSpPr>
          <p:cNvPr id="37" name="Content Placeholder 1">
            <a:extLst>
              <a:ext uri="{FF2B5EF4-FFF2-40B4-BE49-F238E27FC236}">
                <a16:creationId xmlns:a16="http://schemas.microsoft.com/office/drawing/2014/main" id="{58F3105B-616A-438E-B1CB-512FB26A8E70}"/>
              </a:ext>
            </a:extLst>
          </p:cNvPr>
          <p:cNvSpPr txBox="1">
            <a:spLocks/>
          </p:cNvSpPr>
          <p:nvPr/>
        </p:nvSpPr>
        <p:spPr>
          <a:xfrm>
            <a:off x="1532326" y="1355150"/>
            <a:ext cx="368691" cy="193899"/>
          </a:xfrm>
          <a:prstGeom prst="rect">
            <a:avLst/>
          </a:prstGeom>
        </p:spPr>
        <p:txBody>
          <a:bodyPr vert="horz" wrap="none" lIns="0" tIns="0" rIns="0" bIns="0" rtlCol="0" anchor="b">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algn="ctr"/>
            <a:r>
              <a:rPr lang="en-US" sz="1400" b="0" dirty="0"/>
              <a:t>Text</a:t>
            </a:r>
          </a:p>
        </p:txBody>
      </p:sp>
      <p:sp>
        <p:nvSpPr>
          <p:cNvPr id="30" name="Content Placeholder 1">
            <a:extLst>
              <a:ext uri="{FF2B5EF4-FFF2-40B4-BE49-F238E27FC236}">
                <a16:creationId xmlns:a16="http://schemas.microsoft.com/office/drawing/2014/main" id="{AD15750A-4183-4812-9886-1D2A7282389A}"/>
              </a:ext>
            </a:extLst>
          </p:cNvPr>
          <p:cNvSpPr txBox="1">
            <a:spLocks/>
          </p:cNvSpPr>
          <p:nvPr/>
        </p:nvSpPr>
        <p:spPr>
          <a:xfrm>
            <a:off x="3837212" y="1355150"/>
            <a:ext cx="368691" cy="193899"/>
          </a:xfrm>
          <a:prstGeom prst="rect">
            <a:avLst/>
          </a:prstGeom>
        </p:spPr>
        <p:txBody>
          <a:bodyPr vert="horz" wrap="none" lIns="0" tIns="0" rIns="0" bIns="0" rtlCol="0" anchor="b">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algn="ctr"/>
            <a:r>
              <a:rPr lang="en-US" sz="1400" b="0" dirty="0"/>
              <a:t>Text</a:t>
            </a:r>
          </a:p>
        </p:txBody>
      </p:sp>
      <p:sp>
        <p:nvSpPr>
          <p:cNvPr id="38" name="Content Placeholder 1">
            <a:extLst>
              <a:ext uri="{FF2B5EF4-FFF2-40B4-BE49-F238E27FC236}">
                <a16:creationId xmlns:a16="http://schemas.microsoft.com/office/drawing/2014/main" id="{26FB75BD-83BF-4A21-A659-C71CF6293612}"/>
              </a:ext>
            </a:extLst>
          </p:cNvPr>
          <p:cNvSpPr txBox="1">
            <a:spLocks/>
          </p:cNvSpPr>
          <p:nvPr/>
        </p:nvSpPr>
        <p:spPr>
          <a:xfrm>
            <a:off x="7293367" y="1355150"/>
            <a:ext cx="368691" cy="193899"/>
          </a:xfrm>
          <a:prstGeom prst="rect">
            <a:avLst/>
          </a:prstGeom>
        </p:spPr>
        <p:txBody>
          <a:bodyPr vert="horz" wrap="none" lIns="0" tIns="0" rIns="0" bIns="0" rtlCol="0" anchor="b">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algn="ctr"/>
            <a:r>
              <a:rPr lang="en-US" sz="1400" b="0" dirty="0"/>
              <a:t>Text</a:t>
            </a:r>
          </a:p>
        </p:txBody>
      </p:sp>
      <p:sp>
        <p:nvSpPr>
          <p:cNvPr id="39" name="TextBox 38">
            <a:extLst>
              <a:ext uri="{FF2B5EF4-FFF2-40B4-BE49-F238E27FC236}">
                <a16:creationId xmlns:a16="http://schemas.microsoft.com/office/drawing/2014/main" id="{E7670BD1-DCA1-46C7-AC5D-D0894F020B06}"/>
              </a:ext>
            </a:extLst>
          </p:cNvPr>
          <p:cNvSpPr txBox="1"/>
          <p:nvPr/>
        </p:nvSpPr>
        <p:spPr>
          <a:xfrm>
            <a:off x="7077878" y="3608501"/>
            <a:ext cx="804707" cy="344710"/>
          </a:xfrm>
          <a:prstGeom prst="rect">
            <a:avLst/>
          </a:prstGeom>
        </p:spPr>
        <p:txBody>
          <a:bodyPr vert="horz" wrap="none" lIns="0" tIns="0" rIns="0" bIns="0" rtlCol="0" anchor="ctr">
            <a:spAutoFit/>
          </a:bodyPr>
          <a:lstStyle/>
          <a:p>
            <a:pPr algn="ctr">
              <a:lnSpc>
                <a:spcPct val="80000"/>
              </a:lnSpc>
            </a:pPr>
            <a:r>
              <a:rPr lang="en-AU" sz="2800" b="1" dirty="0">
                <a:ln w="6350">
                  <a:noFill/>
                </a:ln>
                <a:latin typeface="+mj-lt"/>
              </a:rPr>
              <a:t>Text</a:t>
            </a:r>
            <a:endParaRPr lang="en-GB" sz="2800" b="1" dirty="0" err="1">
              <a:ln w="6350">
                <a:noFill/>
              </a:ln>
              <a:latin typeface="+mj-lt"/>
            </a:endParaRPr>
          </a:p>
        </p:txBody>
      </p:sp>
      <p:grpSp>
        <p:nvGrpSpPr>
          <p:cNvPr id="42" name="Group 41" descr="Goal">
            <a:extLst>
              <a:ext uri="{FF2B5EF4-FFF2-40B4-BE49-F238E27FC236}">
                <a16:creationId xmlns:a16="http://schemas.microsoft.com/office/drawing/2014/main" id="{7208C1FC-E37D-4355-B687-39A0874C6899}"/>
              </a:ext>
            </a:extLst>
          </p:cNvPr>
          <p:cNvGrpSpPr/>
          <p:nvPr/>
        </p:nvGrpSpPr>
        <p:grpSpPr>
          <a:xfrm>
            <a:off x="5462725" y="1662350"/>
            <a:ext cx="4021325" cy="4036306"/>
            <a:chOff x="5462725" y="1662350"/>
            <a:chExt cx="4021325" cy="4036306"/>
          </a:xfrm>
        </p:grpSpPr>
        <p:sp>
          <p:nvSpPr>
            <p:cNvPr id="43" name="Oval 42">
              <a:extLst>
                <a:ext uri="{FF2B5EF4-FFF2-40B4-BE49-F238E27FC236}">
                  <a16:creationId xmlns:a16="http://schemas.microsoft.com/office/drawing/2014/main" id="{9DFD8C67-C3E0-4E8E-8C1C-3CFCC98BAD28}"/>
                </a:ext>
              </a:extLst>
            </p:cNvPr>
            <p:cNvSpPr/>
            <p:nvPr/>
          </p:nvSpPr>
          <p:spPr>
            <a:xfrm rot="16200000">
              <a:off x="5720701" y="1919352"/>
              <a:ext cx="3511824" cy="3511824"/>
            </a:xfrm>
            <a:prstGeom prst="ellipse">
              <a:avLst/>
            </a:prstGeom>
            <a:noFill/>
            <a:ln w="635000">
              <a:solidFill>
                <a:schemeClr val="accent3"/>
              </a:solidFill>
              <a:headEnd type="arrow" w="sm" len="sm"/>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44" name="Group 43">
              <a:extLst>
                <a:ext uri="{FF2B5EF4-FFF2-40B4-BE49-F238E27FC236}">
                  <a16:creationId xmlns:a16="http://schemas.microsoft.com/office/drawing/2014/main" id="{5ED7882E-875A-4BA2-89C7-5F64ACE288DC}"/>
                </a:ext>
              </a:extLst>
            </p:cNvPr>
            <p:cNvGrpSpPr/>
            <p:nvPr/>
          </p:nvGrpSpPr>
          <p:grpSpPr>
            <a:xfrm>
              <a:off x="5740430" y="1939079"/>
              <a:ext cx="3472367" cy="3472367"/>
              <a:chOff x="6111329" y="2422187"/>
              <a:chExt cx="2698028" cy="2698028"/>
            </a:xfrm>
          </p:grpSpPr>
          <p:sp>
            <p:nvSpPr>
              <p:cNvPr id="52" name="Arc 51">
                <a:extLst>
                  <a:ext uri="{FF2B5EF4-FFF2-40B4-BE49-F238E27FC236}">
                    <a16:creationId xmlns:a16="http://schemas.microsoft.com/office/drawing/2014/main" id="{0C40CB3D-F8D8-4F4F-BAC1-60B010ADF9CA}"/>
                  </a:ext>
                </a:extLst>
              </p:cNvPr>
              <p:cNvSpPr/>
              <p:nvPr/>
            </p:nvSpPr>
            <p:spPr>
              <a:xfrm rot="16200000">
                <a:off x="6111329" y="2422187"/>
                <a:ext cx="2698028" cy="2698028"/>
              </a:xfrm>
              <a:prstGeom prst="arc">
                <a:avLst>
                  <a:gd name="adj1" fmla="val 682328"/>
                  <a:gd name="adj2" fmla="val 4749717"/>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53" name="Arc 52">
                <a:extLst>
                  <a:ext uri="{FF2B5EF4-FFF2-40B4-BE49-F238E27FC236}">
                    <a16:creationId xmlns:a16="http://schemas.microsoft.com/office/drawing/2014/main" id="{6842CDB1-F877-46DB-97FF-2C9839AC9A30}"/>
                  </a:ext>
                </a:extLst>
              </p:cNvPr>
              <p:cNvSpPr/>
              <p:nvPr/>
            </p:nvSpPr>
            <p:spPr>
              <a:xfrm>
                <a:off x="6111329" y="2422187"/>
                <a:ext cx="2698028" cy="2698028"/>
              </a:xfrm>
              <a:prstGeom prst="arc">
                <a:avLst>
                  <a:gd name="adj1" fmla="val 682328"/>
                  <a:gd name="adj2" fmla="val 4749717"/>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grpSp>
        <p:grpSp>
          <p:nvGrpSpPr>
            <p:cNvPr id="45" name="Group 44">
              <a:extLst>
                <a:ext uri="{FF2B5EF4-FFF2-40B4-BE49-F238E27FC236}">
                  <a16:creationId xmlns:a16="http://schemas.microsoft.com/office/drawing/2014/main" id="{A3BE0B3F-71B4-4635-BCEF-17FF8B1A53E5}"/>
                </a:ext>
              </a:extLst>
            </p:cNvPr>
            <p:cNvGrpSpPr/>
            <p:nvPr/>
          </p:nvGrpSpPr>
          <p:grpSpPr>
            <a:xfrm rot="10800000">
              <a:off x="5740430" y="1939079"/>
              <a:ext cx="3472367" cy="3472367"/>
              <a:chOff x="6111329" y="2422187"/>
              <a:chExt cx="2698028" cy="2698028"/>
            </a:xfrm>
          </p:grpSpPr>
          <p:sp>
            <p:nvSpPr>
              <p:cNvPr id="50" name="Arc 49">
                <a:extLst>
                  <a:ext uri="{FF2B5EF4-FFF2-40B4-BE49-F238E27FC236}">
                    <a16:creationId xmlns:a16="http://schemas.microsoft.com/office/drawing/2014/main" id="{8934A438-CE9E-4C9C-91AB-B2B3EB579FA0}"/>
                  </a:ext>
                </a:extLst>
              </p:cNvPr>
              <p:cNvSpPr/>
              <p:nvPr/>
            </p:nvSpPr>
            <p:spPr>
              <a:xfrm rot="16200000">
                <a:off x="6111329" y="2422187"/>
                <a:ext cx="2698028" cy="2698028"/>
              </a:xfrm>
              <a:prstGeom prst="arc">
                <a:avLst>
                  <a:gd name="adj1" fmla="val 682328"/>
                  <a:gd name="adj2" fmla="val 4749717"/>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51" name="Arc 50">
                <a:extLst>
                  <a:ext uri="{FF2B5EF4-FFF2-40B4-BE49-F238E27FC236}">
                    <a16:creationId xmlns:a16="http://schemas.microsoft.com/office/drawing/2014/main" id="{FDB881E3-F662-4EBB-A961-CDD4D52B0C38}"/>
                  </a:ext>
                </a:extLst>
              </p:cNvPr>
              <p:cNvSpPr/>
              <p:nvPr/>
            </p:nvSpPr>
            <p:spPr>
              <a:xfrm>
                <a:off x="6111329" y="2422187"/>
                <a:ext cx="2698028" cy="2698028"/>
              </a:xfrm>
              <a:prstGeom prst="arc">
                <a:avLst>
                  <a:gd name="adj1" fmla="val 682328"/>
                  <a:gd name="adj2" fmla="val 4749717"/>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grpSp>
        <p:sp>
          <p:nvSpPr>
            <p:cNvPr id="46" name="Oval 45">
              <a:extLst>
                <a:ext uri="{FF2B5EF4-FFF2-40B4-BE49-F238E27FC236}">
                  <a16:creationId xmlns:a16="http://schemas.microsoft.com/office/drawing/2014/main" id="{26B96800-73D1-4808-9A4C-9BCD57744FCA}"/>
                </a:ext>
              </a:extLst>
            </p:cNvPr>
            <p:cNvSpPr/>
            <p:nvPr/>
          </p:nvSpPr>
          <p:spPr>
            <a:xfrm>
              <a:off x="7208772" y="1662350"/>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bg1"/>
                  </a:solidFill>
                  <a:latin typeface="+mj-lt"/>
                </a:rPr>
                <a:t>3</a:t>
              </a:r>
              <a:endParaRPr lang="en-GB" sz="2000" dirty="0">
                <a:solidFill>
                  <a:schemeClr val="bg1"/>
                </a:solidFill>
                <a:latin typeface="+mj-lt"/>
              </a:endParaRPr>
            </a:p>
          </p:txBody>
        </p:sp>
        <p:sp>
          <p:nvSpPr>
            <p:cNvPr id="47" name="Oval 46">
              <a:extLst>
                <a:ext uri="{FF2B5EF4-FFF2-40B4-BE49-F238E27FC236}">
                  <a16:creationId xmlns:a16="http://schemas.microsoft.com/office/drawing/2014/main" id="{29CCFCCA-D49C-4D10-AD0A-510E67E973E2}"/>
                </a:ext>
              </a:extLst>
            </p:cNvPr>
            <p:cNvSpPr/>
            <p:nvPr/>
          </p:nvSpPr>
          <p:spPr>
            <a:xfrm>
              <a:off x="5462725" y="3407421"/>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bg1"/>
                  </a:solidFill>
                  <a:latin typeface="+mj-lt"/>
                </a:rPr>
                <a:t>6</a:t>
              </a:r>
              <a:endParaRPr lang="en-GB" sz="2000" dirty="0">
                <a:solidFill>
                  <a:schemeClr val="bg1"/>
                </a:solidFill>
                <a:latin typeface="+mj-lt"/>
              </a:endParaRPr>
            </a:p>
          </p:txBody>
        </p:sp>
        <p:sp>
          <p:nvSpPr>
            <p:cNvPr id="48" name="Oval 47">
              <a:extLst>
                <a:ext uri="{FF2B5EF4-FFF2-40B4-BE49-F238E27FC236}">
                  <a16:creationId xmlns:a16="http://schemas.microsoft.com/office/drawing/2014/main" id="{F5CDFF3B-7B6B-48A9-999B-8F25960666AC}"/>
                </a:ext>
              </a:extLst>
            </p:cNvPr>
            <p:cNvSpPr/>
            <p:nvPr/>
          </p:nvSpPr>
          <p:spPr>
            <a:xfrm>
              <a:off x="8948369" y="3407421"/>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bg1"/>
                  </a:solidFill>
                  <a:latin typeface="+mj-lt"/>
                </a:rPr>
                <a:t>4</a:t>
              </a:r>
              <a:endParaRPr lang="en-GB" sz="2000" dirty="0">
                <a:solidFill>
                  <a:schemeClr val="bg1"/>
                </a:solidFill>
                <a:latin typeface="+mj-lt"/>
              </a:endParaRPr>
            </a:p>
          </p:txBody>
        </p:sp>
        <p:sp>
          <p:nvSpPr>
            <p:cNvPr id="49" name="Oval 48">
              <a:extLst>
                <a:ext uri="{FF2B5EF4-FFF2-40B4-BE49-F238E27FC236}">
                  <a16:creationId xmlns:a16="http://schemas.microsoft.com/office/drawing/2014/main" id="{65044163-7FE4-48AA-AB7E-A4745F6909D5}"/>
                </a:ext>
              </a:extLst>
            </p:cNvPr>
            <p:cNvSpPr/>
            <p:nvPr/>
          </p:nvSpPr>
          <p:spPr>
            <a:xfrm>
              <a:off x="7208772" y="5162975"/>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bg1"/>
                  </a:solidFill>
                  <a:latin typeface="+mj-lt"/>
                </a:rPr>
                <a:t>5</a:t>
              </a:r>
              <a:endParaRPr lang="en-GB" sz="2000" dirty="0">
                <a:solidFill>
                  <a:schemeClr val="bg1"/>
                </a:solidFill>
                <a:latin typeface="+mj-lt"/>
              </a:endParaRPr>
            </a:p>
          </p:txBody>
        </p:sp>
      </p:grpSp>
      <p:sp>
        <p:nvSpPr>
          <p:cNvPr id="40" name="Content Placeholder 1">
            <a:extLst>
              <a:ext uri="{FF2B5EF4-FFF2-40B4-BE49-F238E27FC236}">
                <a16:creationId xmlns:a16="http://schemas.microsoft.com/office/drawing/2014/main" id="{1F26BEF7-A3FB-4090-A54C-58D96442A7D9}"/>
              </a:ext>
            </a:extLst>
          </p:cNvPr>
          <p:cNvSpPr txBox="1">
            <a:spLocks/>
          </p:cNvSpPr>
          <p:nvPr/>
        </p:nvSpPr>
        <p:spPr>
          <a:xfrm>
            <a:off x="4829170" y="3578164"/>
            <a:ext cx="368691" cy="193899"/>
          </a:xfrm>
          <a:prstGeom prst="rect">
            <a:avLst/>
          </a:prstGeom>
        </p:spPr>
        <p:txBody>
          <a:bodyPr vert="horz" wrap="none" lIns="0" tIns="0" rIns="0" bIns="0" rtlCol="0">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algn="r"/>
            <a:r>
              <a:rPr lang="en-US" sz="1400" b="0" dirty="0"/>
              <a:t>Text</a:t>
            </a:r>
          </a:p>
        </p:txBody>
      </p:sp>
      <p:sp>
        <p:nvSpPr>
          <p:cNvPr id="41" name="Content Placeholder 1">
            <a:extLst>
              <a:ext uri="{FF2B5EF4-FFF2-40B4-BE49-F238E27FC236}">
                <a16:creationId xmlns:a16="http://schemas.microsoft.com/office/drawing/2014/main" id="{F298DB68-BE8E-405F-B4E8-26157CC6DDA5}"/>
              </a:ext>
            </a:extLst>
          </p:cNvPr>
          <p:cNvSpPr txBox="1">
            <a:spLocks/>
          </p:cNvSpPr>
          <p:nvPr/>
        </p:nvSpPr>
        <p:spPr>
          <a:xfrm>
            <a:off x="9744400" y="3578164"/>
            <a:ext cx="368691" cy="193899"/>
          </a:xfrm>
          <a:prstGeom prst="rect">
            <a:avLst/>
          </a:prstGeom>
        </p:spPr>
        <p:txBody>
          <a:bodyPr vert="horz" wrap="none" lIns="0" tIns="0" rIns="0" bIns="0" rtlCol="0">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r>
              <a:rPr lang="en-US" sz="1400" b="0" dirty="0"/>
              <a:t>Text</a:t>
            </a:r>
          </a:p>
        </p:txBody>
      </p:sp>
      <p:sp>
        <p:nvSpPr>
          <p:cNvPr id="54" name="Content Placeholder 1">
            <a:extLst>
              <a:ext uri="{FF2B5EF4-FFF2-40B4-BE49-F238E27FC236}">
                <a16:creationId xmlns:a16="http://schemas.microsoft.com/office/drawing/2014/main" id="{EA847460-5AB4-4BA3-90C7-99F556E4A16F}"/>
              </a:ext>
            </a:extLst>
          </p:cNvPr>
          <p:cNvSpPr txBox="1">
            <a:spLocks/>
          </p:cNvSpPr>
          <p:nvPr/>
        </p:nvSpPr>
        <p:spPr>
          <a:xfrm>
            <a:off x="7293367" y="5864626"/>
            <a:ext cx="368691" cy="193899"/>
          </a:xfrm>
          <a:prstGeom prst="rect">
            <a:avLst/>
          </a:prstGeom>
        </p:spPr>
        <p:txBody>
          <a:bodyPr vert="horz" wrap="none" lIns="0" tIns="0" rIns="0" bIns="0" rtlCol="0">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algn="ctr"/>
            <a:r>
              <a:rPr lang="en-US" sz="1400" b="0" dirty="0"/>
              <a:t>Text</a:t>
            </a:r>
          </a:p>
        </p:txBody>
      </p:sp>
      <p:sp>
        <p:nvSpPr>
          <p:cNvPr id="5" name="Footer Placeholder 4">
            <a:extLst>
              <a:ext uri="{FF2B5EF4-FFF2-40B4-BE49-F238E27FC236}">
                <a16:creationId xmlns:a16="http://schemas.microsoft.com/office/drawing/2014/main" id="{258C7015-BD0A-454E-BB40-1DCEEFAC39FE}"/>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011F6ED9-464E-41B8-B3F3-C219B5442FF8}"/>
              </a:ext>
            </a:extLst>
          </p:cNvPr>
          <p:cNvSpPr>
            <a:spLocks noGrp="1"/>
          </p:cNvSpPr>
          <p:nvPr>
            <p:ph type="sldNum" sz="quarter" idx="10"/>
          </p:nvPr>
        </p:nvSpPr>
        <p:spPr/>
        <p:txBody>
          <a:bodyPr/>
          <a:lstStyle/>
          <a:p>
            <a:fld id="{1F90F471-3972-4120-B8B3-0237DE626C35}" type="slidenum">
              <a:rPr lang="en-US" smtClean="0"/>
              <a:pPr/>
              <a:t>264</a:t>
            </a:fld>
            <a:endParaRPr lang="en-US" dirty="0"/>
          </a:p>
        </p:txBody>
      </p:sp>
    </p:spTree>
    <p:extLst>
      <p:ext uri="{BB962C8B-B14F-4D97-AF65-F5344CB8AC3E}">
        <p14:creationId xmlns:p14="http://schemas.microsoft.com/office/powerpoint/2010/main" val="3913583863"/>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Impacted Flow 2</a:t>
            </a:r>
          </a:p>
        </p:txBody>
      </p:sp>
      <p:grpSp>
        <p:nvGrpSpPr>
          <p:cNvPr id="14" name="Group 15">
            <a:extLst>
              <a:ext uri="{FF2B5EF4-FFF2-40B4-BE49-F238E27FC236}">
                <a16:creationId xmlns:a16="http://schemas.microsoft.com/office/drawing/2014/main" id="{E677028D-0868-4CBC-9B1A-849E457616F5}"/>
              </a:ext>
              <a:ext uri="{C183D7F6-B498-43B3-948B-1728B52AA6E4}">
                <adec:decorative xmlns:adec="http://schemas.microsoft.com/office/drawing/2017/decorative" val="1"/>
              </a:ext>
            </a:extLst>
          </p:cNvPr>
          <p:cNvGrpSpPr>
            <a:grpSpLocks/>
          </p:cNvGrpSpPr>
          <p:nvPr/>
        </p:nvGrpSpPr>
        <p:grpSpPr bwMode="auto">
          <a:xfrm>
            <a:off x="2574180" y="2026920"/>
            <a:ext cx="6619493" cy="2740895"/>
            <a:chOff x="570" y="1456"/>
            <a:chExt cx="4323" cy="1790"/>
          </a:xfrm>
        </p:grpSpPr>
        <p:sp>
          <p:nvSpPr>
            <p:cNvPr id="15" name="Rectangle 3">
              <a:extLst>
                <a:ext uri="{FF2B5EF4-FFF2-40B4-BE49-F238E27FC236}">
                  <a16:creationId xmlns:a16="http://schemas.microsoft.com/office/drawing/2014/main" id="{39977218-8670-434F-81F3-C6D96CC7ACDF}"/>
                </a:ext>
              </a:extLst>
            </p:cNvPr>
            <p:cNvSpPr>
              <a:spLocks noChangeArrowheads="1"/>
            </p:cNvSpPr>
            <p:nvPr>
              <p:custDataLst>
                <p:tags r:id="rId1"/>
              </p:custDataLst>
            </p:nvPr>
          </p:nvSpPr>
          <p:spPr bwMode="auto">
            <a:xfrm>
              <a:off x="3981" y="1554"/>
              <a:ext cx="95" cy="236"/>
            </a:xfrm>
            <a:prstGeom prst="rect">
              <a:avLst/>
            </a:prstGeom>
            <a:noFill/>
            <a:ln w="9525">
              <a:noFill/>
              <a:miter lim="800000"/>
              <a:headEnd/>
              <a:tailEnd/>
            </a:ln>
            <a:effectLst/>
          </p:spPr>
          <p:txBody>
            <a:bodyPr wrap="none" lIns="72000" tIns="72000" rIns="72000" bIns="72000">
              <a:spAutoFit/>
            </a:bodyPr>
            <a:lstStyle/>
            <a:p>
              <a:pPr eaLnBrk="0" hangingPunct="0"/>
              <a:endParaRPr lang="de-DE" sz="1400" dirty="0"/>
            </a:p>
          </p:txBody>
        </p:sp>
        <p:sp>
          <p:nvSpPr>
            <p:cNvPr id="16" name="Oval 5">
              <a:extLst>
                <a:ext uri="{FF2B5EF4-FFF2-40B4-BE49-F238E27FC236}">
                  <a16:creationId xmlns:a16="http://schemas.microsoft.com/office/drawing/2014/main" id="{22270A93-5F39-48FE-8A17-C0A22E7044D3}"/>
                </a:ext>
              </a:extLst>
            </p:cNvPr>
            <p:cNvSpPr>
              <a:spLocks noChangeArrowheads="1"/>
            </p:cNvSpPr>
            <p:nvPr>
              <p:custDataLst>
                <p:tags r:id="rId2"/>
              </p:custDataLst>
            </p:nvPr>
          </p:nvSpPr>
          <p:spPr bwMode="auto">
            <a:xfrm>
              <a:off x="570" y="1456"/>
              <a:ext cx="4323" cy="1790"/>
            </a:xfrm>
            <a:prstGeom prst="ellipse">
              <a:avLst/>
            </a:prstGeom>
            <a:solidFill>
              <a:schemeClr val="bg1"/>
            </a:solidFill>
            <a:ln w="6350">
              <a:solidFill>
                <a:schemeClr val="tx2">
                  <a:lumMod val="60000"/>
                  <a:lumOff val="40000"/>
                </a:schemeClr>
              </a:solidFill>
              <a:prstDash val="dash"/>
              <a:round/>
              <a:headEnd/>
              <a:tailEnd/>
            </a:ln>
            <a:effectLst/>
          </p:spPr>
          <p:txBody>
            <a:bodyPr wrap="none" lIns="72000" tIns="72000" rIns="72000" bIns="72000" anchor="ctr" anchorCtr="1"/>
            <a:lstStyle/>
            <a:p>
              <a:endParaRPr lang="en-US" dirty="0"/>
            </a:p>
          </p:txBody>
        </p:sp>
        <p:sp>
          <p:nvSpPr>
            <p:cNvPr id="17" name="AutoShape 10">
              <a:extLst>
                <a:ext uri="{FF2B5EF4-FFF2-40B4-BE49-F238E27FC236}">
                  <a16:creationId xmlns:a16="http://schemas.microsoft.com/office/drawing/2014/main" id="{0263EF76-A9A9-41E5-9241-22AD6957145D}"/>
                </a:ext>
              </a:extLst>
            </p:cNvPr>
            <p:cNvSpPr>
              <a:spLocks noChangeArrowheads="1"/>
            </p:cNvSpPr>
            <p:nvPr>
              <p:custDataLst>
                <p:tags r:id="rId3"/>
              </p:custDataLst>
            </p:nvPr>
          </p:nvSpPr>
          <p:spPr bwMode="auto">
            <a:xfrm rot="-2760541">
              <a:off x="4516" y="1836"/>
              <a:ext cx="98" cy="84"/>
            </a:xfrm>
            <a:prstGeom prst="triangle">
              <a:avLst>
                <a:gd name="adj" fmla="val 50000"/>
              </a:avLst>
            </a:prstGeom>
            <a:solidFill>
              <a:schemeClr val="tx2">
                <a:lumMod val="60000"/>
                <a:lumOff val="40000"/>
              </a:schemeClr>
            </a:solidFill>
            <a:ln w="6350">
              <a:noFill/>
              <a:miter lim="800000"/>
              <a:headEnd/>
              <a:tailEnd/>
            </a:ln>
            <a:effectLst/>
          </p:spPr>
          <p:txBody>
            <a:bodyPr wrap="none" lIns="72000" tIns="72000" rIns="72000" bIns="72000" anchor="ctr"/>
            <a:lstStyle/>
            <a:p>
              <a:endParaRPr lang="en-US" dirty="0"/>
            </a:p>
          </p:txBody>
        </p:sp>
        <p:sp>
          <p:nvSpPr>
            <p:cNvPr id="18" name="AutoShape 11">
              <a:extLst>
                <a:ext uri="{FF2B5EF4-FFF2-40B4-BE49-F238E27FC236}">
                  <a16:creationId xmlns:a16="http://schemas.microsoft.com/office/drawing/2014/main" id="{EF8606CE-5F38-4A45-8971-1F8B422C7F62}"/>
                </a:ext>
              </a:extLst>
            </p:cNvPr>
            <p:cNvSpPr>
              <a:spLocks noChangeArrowheads="1"/>
            </p:cNvSpPr>
            <p:nvPr>
              <p:custDataLst>
                <p:tags r:id="rId4"/>
              </p:custDataLst>
            </p:nvPr>
          </p:nvSpPr>
          <p:spPr bwMode="auto">
            <a:xfrm rot="-8160541">
              <a:off x="844" y="1836"/>
              <a:ext cx="99" cy="83"/>
            </a:xfrm>
            <a:prstGeom prst="triangle">
              <a:avLst>
                <a:gd name="adj" fmla="val 50000"/>
              </a:avLst>
            </a:prstGeom>
            <a:solidFill>
              <a:schemeClr val="tx2">
                <a:lumMod val="60000"/>
                <a:lumOff val="40000"/>
              </a:schemeClr>
            </a:solidFill>
            <a:ln w="6350">
              <a:noFill/>
              <a:miter lim="800000"/>
              <a:headEnd/>
              <a:tailEnd/>
            </a:ln>
            <a:effectLst/>
          </p:spPr>
          <p:txBody>
            <a:bodyPr wrap="none" lIns="72000" tIns="72000" rIns="72000" bIns="72000" anchor="ctr"/>
            <a:lstStyle/>
            <a:p>
              <a:endParaRPr lang="en-US" dirty="0"/>
            </a:p>
          </p:txBody>
        </p:sp>
      </p:grpSp>
      <p:sp>
        <p:nvSpPr>
          <p:cNvPr id="19" name="AutoShape 3">
            <a:extLst>
              <a:ext uri="{FF2B5EF4-FFF2-40B4-BE49-F238E27FC236}">
                <a16:creationId xmlns:a16="http://schemas.microsoft.com/office/drawing/2014/main" id="{3C46BD3E-C9C5-41CE-BC22-86C198F316CA}"/>
              </a:ext>
            </a:extLst>
          </p:cNvPr>
          <p:cNvSpPr>
            <a:spLocks noChangeAspect="1" noChangeArrowheads="1"/>
          </p:cNvSpPr>
          <p:nvPr/>
        </p:nvSpPr>
        <p:spPr bwMode="auto">
          <a:xfrm>
            <a:off x="1963995" y="4577068"/>
            <a:ext cx="3387073" cy="1133108"/>
          </a:xfrm>
          <a:prstGeom prst="homePlate">
            <a:avLst>
              <a:gd name="adj" fmla="val 22135"/>
            </a:avLst>
          </a:prstGeom>
          <a:solidFill>
            <a:schemeClr val="accent3"/>
          </a:solidFill>
          <a:ln w="6350">
            <a:noFill/>
            <a:miter lim="800000"/>
            <a:headEnd/>
            <a:tailEnd/>
          </a:ln>
          <a:effectLst/>
        </p:spPr>
        <p:txBody>
          <a:bodyPr lIns="180000" tIns="180000" rIns="72000" bIns="72000"/>
          <a:lstStyle/>
          <a:p>
            <a:pPr marL="180000" indent="-180000" algn="l" eaLnBrk="0" hangingPunct="0">
              <a:spcBef>
                <a:spcPts val="100"/>
              </a:spcBef>
              <a:spcAft>
                <a:spcPts val="100"/>
              </a:spcAft>
              <a:buClr>
                <a:schemeClr val="tx1"/>
              </a:buClr>
            </a:pPr>
            <a:r>
              <a:rPr lang="en-US" sz="1400" b="1" dirty="0">
                <a:solidFill>
                  <a:schemeClr val="bg1"/>
                </a:solidFill>
                <a:latin typeface="+mj-lt"/>
              </a:rPr>
              <a:t>Text</a:t>
            </a:r>
          </a:p>
          <a:p>
            <a:pPr marL="177800" indent="-177800" eaLnBrk="0" hangingPunct="0">
              <a:spcBef>
                <a:spcPts val="100"/>
              </a:spcBef>
              <a:spcAft>
                <a:spcPts val="100"/>
              </a:spcAft>
              <a:buFontTx/>
              <a:buChar char="•"/>
            </a:pPr>
            <a:r>
              <a:rPr lang="en-US" sz="1400" dirty="0">
                <a:solidFill>
                  <a:schemeClr val="bg1"/>
                </a:solidFill>
              </a:rPr>
              <a:t>Text</a:t>
            </a:r>
          </a:p>
          <a:p>
            <a:pPr marL="177800" indent="-177800" eaLnBrk="0" hangingPunct="0">
              <a:spcBef>
                <a:spcPts val="100"/>
              </a:spcBef>
              <a:spcAft>
                <a:spcPts val="100"/>
              </a:spcAft>
              <a:buFontTx/>
              <a:buChar char="•"/>
            </a:pPr>
            <a:r>
              <a:rPr lang="en-US" sz="1400" dirty="0">
                <a:solidFill>
                  <a:schemeClr val="bg1"/>
                </a:solidFill>
              </a:rPr>
              <a:t>Text</a:t>
            </a:r>
          </a:p>
        </p:txBody>
      </p:sp>
      <p:sp>
        <p:nvSpPr>
          <p:cNvPr id="20" name="AutoShape 3">
            <a:extLst>
              <a:ext uri="{FF2B5EF4-FFF2-40B4-BE49-F238E27FC236}">
                <a16:creationId xmlns:a16="http://schemas.microsoft.com/office/drawing/2014/main" id="{3F824294-A614-4E06-B404-B72164402CA4}"/>
              </a:ext>
            </a:extLst>
          </p:cNvPr>
          <p:cNvSpPr>
            <a:spLocks noChangeAspect="1" noChangeArrowheads="1"/>
          </p:cNvSpPr>
          <p:nvPr/>
        </p:nvSpPr>
        <p:spPr bwMode="auto">
          <a:xfrm>
            <a:off x="4534538" y="4030857"/>
            <a:ext cx="3387073" cy="1133108"/>
          </a:xfrm>
          <a:prstGeom prst="homePlate">
            <a:avLst>
              <a:gd name="adj" fmla="val 22135"/>
            </a:avLst>
          </a:prstGeom>
          <a:solidFill>
            <a:schemeClr val="accent4"/>
          </a:solidFill>
          <a:ln w="6350">
            <a:noFill/>
            <a:miter lim="800000"/>
            <a:headEnd/>
            <a:tailEnd/>
          </a:ln>
          <a:effectLst/>
        </p:spPr>
        <p:txBody>
          <a:bodyPr lIns="180000" tIns="180000" rIns="72000" bIns="72000"/>
          <a:lstStyle/>
          <a:p>
            <a:pPr marL="180000" indent="-180000" algn="l" eaLnBrk="0" hangingPunct="0">
              <a:spcBef>
                <a:spcPts val="100"/>
              </a:spcBef>
              <a:spcAft>
                <a:spcPts val="100"/>
              </a:spcAft>
              <a:buClr>
                <a:schemeClr val="tx1"/>
              </a:buClr>
            </a:pPr>
            <a:r>
              <a:rPr lang="en-US" sz="1400" b="1" dirty="0">
                <a:latin typeface="+mj-lt"/>
              </a:rPr>
              <a:t>Text</a:t>
            </a:r>
          </a:p>
          <a:p>
            <a:pPr marL="177800" indent="-177800" eaLnBrk="0" hangingPunct="0">
              <a:spcBef>
                <a:spcPts val="100"/>
              </a:spcBef>
              <a:spcAft>
                <a:spcPts val="100"/>
              </a:spcAft>
              <a:buFontTx/>
              <a:buChar char="•"/>
            </a:pPr>
            <a:r>
              <a:rPr lang="en-US" sz="1400" dirty="0"/>
              <a:t>Text</a:t>
            </a:r>
          </a:p>
          <a:p>
            <a:pPr marL="177800" indent="-177800" eaLnBrk="0" hangingPunct="0">
              <a:spcBef>
                <a:spcPts val="100"/>
              </a:spcBef>
              <a:spcAft>
                <a:spcPts val="100"/>
              </a:spcAft>
              <a:buFontTx/>
              <a:buChar char="•"/>
            </a:pPr>
            <a:r>
              <a:rPr lang="en-US" sz="1400" dirty="0"/>
              <a:t>Text</a:t>
            </a:r>
          </a:p>
        </p:txBody>
      </p:sp>
      <p:sp>
        <p:nvSpPr>
          <p:cNvPr id="21" name="AutoShape 3">
            <a:extLst>
              <a:ext uri="{FF2B5EF4-FFF2-40B4-BE49-F238E27FC236}">
                <a16:creationId xmlns:a16="http://schemas.microsoft.com/office/drawing/2014/main" id="{6BE7AFDF-4D35-4624-B8E5-3ACEEF4F6357}"/>
              </a:ext>
            </a:extLst>
          </p:cNvPr>
          <p:cNvSpPr>
            <a:spLocks noChangeAspect="1" noChangeArrowheads="1"/>
          </p:cNvSpPr>
          <p:nvPr/>
        </p:nvSpPr>
        <p:spPr bwMode="auto">
          <a:xfrm>
            <a:off x="7105080" y="3484647"/>
            <a:ext cx="3387073" cy="1133108"/>
          </a:xfrm>
          <a:prstGeom prst="homePlate">
            <a:avLst>
              <a:gd name="adj" fmla="val 22135"/>
            </a:avLst>
          </a:prstGeom>
          <a:solidFill>
            <a:schemeClr val="accent1"/>
          </a:solidFill>
          <a:ln w="6350">
            <a:noFill/>
            <a:miter lim="800000"/>
            <a:headEnd/>
            <a:tailEnd/>
          </a:ln>
          <a:effectLst/>
        </p:spPr>
        <p:txBody>
          <a:bodyPr lIns="180000" tIns="180000" rIns="72000" bIns="72000"/>
          <a:lstStyle/>
          <a:p>
            <a:pPr marL="180000" indent="-180000" algn="l" eaLnBrk="0" hangingPunct="0">
              <a:spcBef>
                <a:spcPts val="100"/>
              </a:spcBef>
              <a:spcAft>
                <a:spcPts val="100"/>
              </a:spcAft>
              <a:buClr>
                <a:schemeClr val="tx1"/>
              </a:buClr>
            </a:pPr>
            <a:r>
              <a:rPr lang="en-US" sz="1400" b="1" dirty="0">
                <a:solidFill>
                  <a:schemeClr val="bg1"/>
                </a:solidFill>
                <a:latin typeface="+mj-lt"/>
              </a:rPr>
              <a:t>Text</a:t>
            </a:r>
          </a:p>
          <a:p>
            <a:pPr marL="177800" indent="-177800" eaLnBrk="0" hangingPunct="0">
              <a:spcBef>
                <a:spcPts val="100"/>
              </a:spcBef>
              <a:spcAft>
                <a:spcPts val="100"/>
              </a:spcAft>
              <a:buFontTx/>
              <a:buChar char="•"/>
            </a:pPr>
            <a:r>
              <a:rPr lang="en-US" sz="1400" dirty="0">
                <a:solidFill>
                  <a:schemeClr val="bg1"/>
                </a:solidFill>
              </a:rPr>
              <a:t>Text</a:t>
            </a:r>
          </a:p>
          <a:p>
            <a:pPr marL="177800" indent="-177800" eaLnBrk="0" hangingPunct="0">
              <a:spcBef>
                <a:spcPts val="100"/>
              </a:spcBef>
              <a:spcAft>
                <a:spcPts val="100"/>
              </a:spcAft>
              <a:buFontTx/>
              <a:buChar char="•"/>
            </a:pPr>
            <a:r>
              <a:rPr lang="en-US" sz="1400" dirty="0">
                <a:solidFill>
                  <a:schemeClr val="bg1"/>
                </a:solidFill>
              </a:rPr>
              <a:t>Text</a:t>
            </a:r>
          </a:p>
        </p:txBody>
      </p:sp>
      <p:sp>
        <p:nvSpPr>
          <p:cNvPr id="22" name="Rectangle 14">
            <a:extLst>
              <a:ext uri="{FF2B5EF4-FFF2-40B4-BE49-F238E27FC236}">
                <a16:creationId xmlns:a16="http://schemas.microsoft.com/office/drawing/2014/main" id="{B3276FF9-0796-4360-B8F6-CF287B2A50A0}"/>
              </a:ext>
            </a:extLst>
          </p:cNvPr>
          <p:cNvSpPr>
            <a:spLocks noChangeArrowheads="1"/>
          </p:cNvSpPr>
          <p:nvPr/>
        </p:nvSpPr>
        <p:spPr bwMode="auto">
          <a:xfrm>
            <a:off x="3819789" y="1321803"/>
            <a:ext cx="4015416" cy="1766693"/>
          </a:xfrm>
          <a:prstGeom prst="rect">
            <a:avLst/>
          </a:prstGeom>
          <a:solidFill>
            <a:schemeClr val="tx2">
              <a:lumMod val="20000"/>
              <a:lumOff val="80000"/>
            </a:schemeClr>
          </a:solidFill>
          <a:ln w="6350">
            <a:noFill/>
            <a:miter lim="800000"/>
            <a:headEnd/>
            <a:tailEnd/>
          </a:ln>
        </p:spPr>
        <p:txBody>
          <a:bodyPr lIns="180000" tIns="144000" rIns="72000" bIns="72000"/>
          <a:lstStyle/>
          <a:p>
            <a:pPr eaLnBrk="0" hangingPunct="0">
              <a:lnSpc>
                <a:spcPct val="85000"/>
              </a:lnSpc>
              <a:spcBef>
                <a:spcPts val="100"/>
              </a:spcBef>
              <a:spcAft>
                <a:spcPts val="300"/>
              </a:spcAft>
            </a:pPr>
            <a:r>
              <a:rPr lang="en-US" sz="1600" b="1" dirty="0">
                <a:latin typeface="+mj-lt"/>
              </a:rPr>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endParaRPr lang="en-GB" sz="1600" dirty="0"/>
          </a:p>
        </p:txBody>
      </p:sp>
      <p:sp>
        <p:nvSpPr>
          <p:cNvPr id="5" name="Footer Placeholder 4">
            <a:extLst>
              <a:ext uri="{FF2B5EF4-FFF2-40B4-BE49-F238E27FC236}">
                <a16:creationId xmlns:a16="http://schemas.microsoft.com/office/drawing/2014/main" id="{E690C0B6-AD90-4347-B3DE-008451CB859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4EDE819A-7654-4C1B-9FCB-FFD8A9C83689}"/>
              </a:ext>
            </a:extLst>
          </p:cNvPr>
          <p:cNvSpPr>
            <a:spLocks noGrp="1"/>
          </p:cNvSpPr>
          <p:nvPr>
            <p:ph type="sldNum" sz="quarter" idx="10"/>
          </p:nvPr>
        </p:nvSpPr>
        <p:spPr/>
        <p:txBody>
          <a:bodyPr/>
          <a:lstStyle/>
          <a:p>
            <a:fld id="{1F90F471-3972-4120-B8B3-0237DE626C35}" type="slidenum">
              <a:rPr lang="en-US" smtClean="0"/>
              <a:pPr/>
              <a:t>265</a:t>
            </a:fld>
            <a:endParaRPr lang="en-US" dirty="0"/>
          </a:p>
        </p:txBody>
      </p:sp>
    </p:spTree>
    <p:extLst>
      <p:ext uri="{BB962C8B-B14F-4D97-AF65-F5344CB8AC3E}">
        <p14:creationId xmlns:p14="http://schemas.microsoft.com/office/powerpoint/2010/main" val="1195571443"/>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4E5B9E6-D552-48C5-824D-E60A4F821B04}"/>
              </a:ext>
            </a:extLst>
          </p:cNvPr>
          <p:cNvSpPr>
            <a:spLocks noGrp="1"/>
          </p:cNvSpPr>
          <p:nvPr>
            <p:ph type="title"/>
          </p:nvPr>
        </p:nvSpPr>
        <p:spPr/>
        <p:txBody>
          <a:bodyPr/>
          <a:lstStyle/>
          <a:p>
            <a:r>
              <a:rPr lang="en-US" dirty="0"/>
              <a:t>Static Objects</a:t>
            </a:r>
          </a:p>
        </p:txBody>
      </p:sp>
      <p:sp>
        <p:nvSpPr>
          <p:cNvPr id="2" name="Text Placeholder 1">
            <a:extLst>
              <a:ext uri="{FF2B5EF4-FFF2-40B4-BE49-F238E27FC236}">
                <a16:creationId xmlns:a16="http://schemas.microsoft.com/office/drawing/2014/main" id="{14A22E63-A672-45C2-BA93-140939E871CE}"/>
              </a:ext>
            </a:extLst>
          </p:cNvPr>
          <p:cNvSpPr>
            <a:spLocks noGrp="1"/>
          </p:cNvSpPr>
          <p:nvPr>
            <p:ph type="body" sz="quarter" idx="16"/>
          </p:nvPr>
        </p:nvSpPr>
        <p:spPr>
          <a:xfrm>
            <a:off x="1142999" y="4610099"/>
            <a:ext cx="5171173" cy="1474215"/>
          </a:xfrm>
        </p:spPr>
        <p:txBody>
          <a:bodyPr numCol="2"/>
          <a:lstStyle/>
          <a:p>
            <a:r>
              <a:rPr lang="en-US" dirty="0">
                <a:hlinkClick r:id="rId2" action="ppaction://hlinksldjump">
                  <a:extLst>
                    <a:ext uri="{A12FA001-AC4F-418D-AE19-62706E023703}">
                      <ahyp:hlinkClr xmlns:ahyp="http://schemas.microsoft.com/office/drawing/2018/hyperlinkcolor" val="tx"/>
                    </a:ext>
                  </a:extLst>
                </a:hlinkClick>
              </a:rPr>
              <a:t>Circles</a:t>
            </a:r>
            <a:endParaRPr lang="en-US" dirty="0">
              <a:hlinkClick r:id="" action="ppaction://noaction">
                <a:extLst>
                  <a:ext uri="{A12FA001-AC4F-418D-AE19-62706E023703}">
                    <ahyp:hlinkClr xmlns:ahyp="http://schemas.microsoft.com/office/drawing/2018/hyperlinkcolor" val="tx"/>
                  </a:ext>
                </a:extLst>
              </a:hlinkClick>
            </a:endParaRPr>
          </a:p>
          <a:p>
            <a:r>
              <a:rPr lang="en-US" dirty="0">
                <a:hlinkClick r:id="rId3" action="ppaction://hlinksldjump">
                  <a:extLst>
                    <a:ext uri="{A12FA001-AC4F-418D-AE19-62706E023703}">
                      <ahyp:hlinkClr xmlns:ahyp="http://schemas.microsoft.com/office/drawing/2018/hyperlinkcolor" val="tx"/>
                    </a:ext>
                  </a:extLst>
                </a:hlinkClick>
              </a:rPr>
              <a:t>Trees</a:t>
            </a:r>
            <a:endParaRPr lang="en-US" dirty="0"/>
          </a:p>
          <a:p>
            <a:r>
              <a:rPr lang="en-US" dirty="0">
                <a:hlinkClick r:id="rId4" action="ppaction://hlinksldjump">
                  <a:extLst>
                    <a:ext uri="{A12FA001-AC4F-418D-AE19-62706E023703}">
                      <ahyp:hlinkClr xmlns:ahyp="http://schemas.microsoft.com/office/drawing/2018/hyperlinkcolor" val="tx"/>
                    </a:ext>
                  </a:extLst>
                </a:hlinkClick>
              </a:rPr>
              <a:t>Boxes</a:t>
            </a:r>
            <a:endParaRPr lang="en-US" dirty="0"/>
          </a:p>
          <a:p>
            <a:r>
              <a:rPr lang="en-US" dirty="0">
                <a:hlinkClick r:id="rId5" action="ppaction://hlinksldjump">
                  <a:extLst>
                    <a:ext uri="{A12FA001-AC4F-418D-AE19-62706E023703}">
                      <ahyp:hlinkClr xmlns:ahyp="http://schemas.microsoft.com/office/drawing/2018/hyperlinkcolor" val="tx"/>
                    </a:ext>
                  </a:extLst>
                </a:hlinkClick>
              </a:rPr>
              <a:t>Text Objects</a:t>
            </a:r>
            <a:endParaRPr lang="en-US" dirty="0"/>
          </a:p>
          <a:p>
            <a:r>
              <a:rPr lang="en-US" dirty="0">
                <a:hlinkClick r:id="rId6" action="ppaction://hlinksldjump">
                  <a:extLst>
                    <a:ext uri="{A12FA001-AC4F-418D-AE19-62706E023703}">
                      <ahyp:hlinkClr xmlns:ahyp="http://schemas.microsoft.com/office/drawing/2018/hyperlinkcolor" val="tx"/>
                    </a:ext>
                  </a:extLst>
                </a:hlinkClick>
              </a:rPr>
              <a:t>Other Structures</a:t>
            </a:r>
            <a:endParaRPr lang="en-US" dirty="0"/>
          </a:p>
        </p:txBody>
      </p:sp>
      <p:sp>
        <p:nvSpPr>
          <p:cNvPr id="10" name="Freeform: Shape 9" descr="Add text and order accordingly">
            <a:hlinkClick r:id="rId7" action="ppaction://hlinksldjump" tooltip="Return to Index"/>
            <a:extLst>
              <a:ext uri="{FF2B5EF4-FFF2-40B4-BE49-F238E27FC236}">
                <a16:creationId xmlns:a16="http://schemas.microsoft.com/office/drawing/2014/main" id="{7F1FB234-68F0-4CF3-B471-EDBA28C0B908}"/>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66739FAD-9146-4526-8212-A89B05AAB9FD}"/>
              </a:ext>
            </a:extLst>
          </p:cNvPr>
          <p:cNvSpPr>
            <a:spLocks noGrp="1"/>
          </p:cNvSpPr>
          <p:nvPr>
            <p:ph type="ftr" sz="quarter" idx="18"/>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03186AE4-1B64-4DEA-AB86-F8FF234B71C8}"/>
              </a:ext>
            </a:extLst>
          </p:cNvPr>
          <p:cNvSpPr>
            <a:spLocks noGrp="1"/>
          </p:cNvSpPr>
          <p:nvPr>
            <p:ph type="sldNum" sz="quarter" idx="19"/>
          </p:nvPr>
        </p:nvSpPr>
        <p:spPr/>
        <p:txBody>
          <a:bodyPr/>
          <a:lstStyle/>
          <a:p>
            <a:fld id="{1F90F471-3972-4120-B8B3-0237DE626C35}" type="slidenum">
              <a:rPr lang="en-US" smtClean="0"/>
              <a:pPr/>
              <a:t>266</a:t>
            </a:fld>
            <a:endParaRPr lang="en-US" dirty="0"/>
          </a:p>
        </p:txBody>
      </p:sp>
    </p:spTree>
    <p:extLst>
      <p:ext uri="{BB962C8B-B14F-4D97-AF65-F5344CB8AC3E}">
        <p14:creationId xmlns:p14="http://schemas.microsoft.com/office/powerpoint/2010/main" val="3247105122"/>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7C4124B-B9D5-4FB9-AA46-3262DD2B40DB}"/>
              </a:ext>
            </a:extLst>
          </p:cNvPr>
          <p:cNvSpPr>
            <a:spLocks noGrp="1"/>
          </p:cNvSpPr>
          <p:nvPr>
            <p:ph type="title"/>
          </p:nvPr>
        </p:nvSpPr>
        <p:spPr/>
        <p:txBody>
          <a:bodyPr/>
          <a:lstStyle/>
          <a:p>
            <a:r>
              <a:rPr lang="en-US" dirty="0"/>
              <a:t>Circles</a:t>
            </a:r>
          </a:p>
        </p:txBody>
      </p:sp>
      <p:sp>
        <p:nvSpPr>
          <p:cNvPr id="9" name="Text Placeholder 8">
            <a:extLst>
              <a:ext uri="{FF2B5EF4-FFF2-40B4-BE49-F238E27FC236}">
                <a16:creationId xmlns:a16="http://schemas.microsoft.com/office/drawing/2014/main" id="{1265ADBE-657A-4DC7-A6A6-2F0E697C4723}"/>
              </a:ext>
            </a:extLst>
          </p:cNvPr>
          <p:cNvSpPr>
            <a:spLocks noGrp="1"/>
          </p:cNvSpPr>
          <p:nvPr>
            <p:ph type="body" sz="quarter" idx="15"/>
          </p:nvPr>
        </p:nvSpPr>
        <p:spPr/>
        <p:txBody>
          <a:bodyPr/>
          <a:lstStyle/>
          <a:p>
            <a:r>
              <a:rPr lang="en-US" dirty="0"/>
              <a:t>Part of </a:t>
            </a:r>
            <a:r>
              <a:rPr lang="en-US" dirty="0">
                <a:hlinkClick r:id="rId2" action="ppaction://hlinksldjump">
                  <a:extLst>
                    <a:ext uri="{A12FA001-AC4F-418D-AE19-62706E023703}">
                      <ahyp:hlinkClr xmlns:ahyp="http://schemas.microsoft.com/office/drawing/2018/hyperlinkcolor" val="tx"/>
                    </a:ext>
                  </a:extLst>
                </a:hlinkClick>
              </a:rPr>
              <a:t>Static Objects</a:t>
            </a:r>
            <a:endParaRPr lang="en-US" dirty="0"/>
          </a:p>
        </p:txBody>
      </p:sp>
      <p:sp>
        <p:nvSpPr>
          <p:cNvPr id="5" name="Footer Placeholder 4">
            <a:extLst>
              <a:ext uri="{FF2B5EF4-FFF2-40B4-BE49-F238E27FC236}">
                <a16:creationId xmlns:a16="http://schemas.microsoft.com/office/drawing/2014/main" id="{9DC78945-A645-4563-BCA9-927812C9C4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BEE2891-AE3F-4D8A-B562-5662B242B3DF}"/>
              </a:ext>
            </a:extLst>
          </p:cNvPr>
          <p:cNvSpPr>
            <a:spLocks noGrp="1"/>
          </p:cNvSpPr>
          <p:nvPr>
            <p:ph type="sldNum" sz="quarter" idx="17"/>
          </p:nvPr>
        </p:nvSpPr>
        <p:spPr/>
        <p:txBody>
          <a:bodyPr/>
          <a:lstStyle/>
          <a:p>
            <a:fld id="{1F90F471-3972-4120-B8B3-0237DE626C35}" type="slidenum">
              <a:rPr lang="en-US" smtClean="0"/>
              <a:pPr/>
              <a:t>267</a:t>
            </a:fld>
            <a:endParaRPr lang="en-US" dirty="0"/>
          </a:p>
        </p:txBody>
      </p:sp>
      <p:sp>
        <p:nvSpPr>
          <p:cNvPr id="10" name="Freeform: Shape 9" descr="Add text and order accordingly">
            <a:hlinkClick r:id="rId3" action="ppaction://hlinksldjump" tooltip="Return to Index"/>
            <a:extLst>
              <a:ext uri="{FF2B5EF4-FFF2-40B4-BE49-F238E27FC236}">
                <a16:creationId xmlns:a16="http://schemas.microsoft.com/office/drawing/2014/main" id="{0DE3F75C-CF1B-47BB-A358-FF97AF03C85D}"/>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771790027"/>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de-DE" sz="3600" b="1" dirty="0"/>
              <a:t>Interlocking Circles 1</a:t>
            </a:r>
            <a:endParaRPr lang="en-US" sz="3600" b="1" dirty="0"/>
          </a:p>
        </p:txBody>
      </p:sp>
      <p:sp>
        <p:nvSpPr>
          <p:cNvPr id="12" name="Oval 10">
            <a:extLst>
              <a:ext uri="{FF2B5EF4-FFF2-40B4-BE49-F238E27FC236}">
                <a16:creationId xmlns:a16="http://schemas.microsoft.com/office/drawing/2014/main" id="{3DD82A8D-ECEC-4254-94F4-CA85C85AD833}"/>
              </a:ext>
            </a:extLst>
          </p:cNvPr>
          <p:cNvSpPr>
            <a:spLocks noChangeArrowheads="1"/>
          </p:cNvSpPr>
          <p:nvPr/>
        </p:nvSpPr>
        <p:spPr bwMode="auto">
          <a:xfrm>
            <a:off x="2294463" y="1533939"/>
            <a:ext cx="4535488" cy="4533900"/>
          </a:xfrm>
          <a:prstGeom prst="ellipse">
            <a:avLst/>
          </a:prstGeom>
          <a:solidFill>
            <a:schemeClr val="accent1">
              <a:lumMod val="20000"/>
              <a:lumOff val="80000"/>
            </a:schemeClr>
          </a:solidFill>
          <a:ln w="6350">
            <a:noFill/>
            <a:round/>
            <a:headEnd/>
            <a:tailEnd/>
          </a:ln>
          <a:effectLst/>
        </p:spPr>
        <p:txBody>
          <a:bodyPr lIns="72000" tIns="72000" rIns="72000" bIns="72000" anchor="ctr"/>
          <a:lstStyle/>
          <a:p>
            <a:pPr marL="179388" marR="0" lvl="0" indent="-179388" algn="l"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all" spc="0" normalizeH="0" baseline="0" noProof="0" dirty="0">
                <a:ln>
                  <a:noFill/>
                </a:ln>
                <a:solidFill>
                  <a:srgbClr val="000000"/>
                </a:solidFill>
                <a:effectLst/>
                <a:uLnTx/>
                <a:uFillTx/>
                <a:latin typeface="Arial Black"/>
                <a:ea typeface="+mn-ea"/>
                <a:cs typeface="+mn-cs"/>
              </a:rPr>
              <a:t>Text</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p:txBody>
      </p:sp>
      <p:sp>
        <p:nvSpPr>
          <p:cNvPr id="13" name="Oval 11">
            <a:extLst>
              <a:ext uri="{FF2B5EF4-FFF2-40B4-BE49-F238E27FC236}">
                <a16:creationId xmlns:a16="http://schemas.microsoft.com/office/drawing/2014/main" id="{BD005A0B-A793-4A6F-B6D9-764CDFEC5979}"/>
              </a:ext>
            </a:extLst>
          </p:cNvPr>
          <p:cNvSpPr>
            <a:spLocks noChangeArrowheads="1"/>
          </p:cNvSpPr>
          <p:nvPr/>
        </p:nvSpPr>
        <p:spPr bwMode="auto">
          <a:xfrm>
            <a:off x="5372626" y="1533939"/>
            <a:ext cx="4535487" cy="4533900"/>
          </a:xfrm>
          <a:prstGeom prst="ellipse">
            <a:avLst/>
          </a:prstGeom>
          <a:solidFill>
            <a:schemeClr val="accent3">
              <a:lumMod val="20000"/>
              <a:lumOff val="80000"/>
            </a:schemeClr>
          </a:solidFill>
          <a:ln w="6350">
            <a:noFill/>
            <a:round/>
            <a:headEnd/>
            <a:tailEnd/>
          </a:ln>
          <a:effectLst/>
        </p:spPr>
        <p:txBody>
          <a:bodyPr lIns="1512000" tIns="72000" rIns="72000" bIns="72000" anchor="ctr"/>
          <a:lstStyle/>
          <a:p>
            <a:pPr marL="179388" marR="0" lvl="0" indent="-179388" algn="l"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all" spc="0" normalizeH="0" baseline="0" noProof="0" dirty="0">
                <a:ln>
                  <a:noFill/>
                </a:ln>
                <a:solidFill>
                  <a:srgbClr val="000000"/>
                </a:solidFill>
                <a:effectLst/>
                <a:uLnTx/>
                <a:uFillTx/>
                <a:latin typeface="Arial Black"/>
                <a:ea typeface="+mn-ea"/>
                <a:cs typeface="+mn-cs"/>
              </a:rPr>
              <a:t>Text</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p:txBody>
      </p:sp>
      <p:sp>
        <p:nvSpPr>
          <p:cNvPr id="14" name="Freeform 12" descr="Add text and order accordingly">
            <a:extLst>
              <a:ext uri="{FF2B5EF4-FFF2-40B4-BE49-F238E27FC236}">
                <a16:creationId xmlns:a16="http://schemas.microsoft.com/office/drawing/2014/main" id="{289DC790-1A4F-4C9C-8882-0298AABE25B7}"/>
              </a:ext>
            </a:extLst>
          </p:cNvPr>
          <p:cNvSpPr>
            <a:spLocks/>
          </p:cNvSpPr>
          <p:nvPr/>
        </p:nvSpPr>
        <p:spPr bwMode="auto">
          <a:xfrm>
            <a:off x="5372626" y="2140364"/>
            <a:ext cx="1455737" cy="3332163"/>
          </a:xfrm>
          <a:custGeom>
            <a:avLst/>
            <a:gdLst/>
            <a:ahLst/>
            <a:cxnLst>
              <a:cxn ang="0">
                <a:pos x="384" y="1925"/>
              </a:cxn>
              <a:cxn ang="0">
                <a:pos x="293" y="1824"/>
              </a:cxn>
              <a:cxn ang="0">
                <a:pos x="213" y="1712"/>
              </a:cxn>
              <a:cxn ang="0">
                <a:pos x="146" y="1595"/>
              </a:cxn>
              <a:cxn ang="0">
                <a:pos x="90" y="1469"/>
              </a:cxn>
              <a:cxn ang="0">
                <a:pos x="46" y="1338"/>
              </a:cxn>
              <a:cxn ang="0">
                <a:pos x="17" y="1200"/>
              </a:cxn>
              <a:cxn ang="0">
                <a:pos x="4" y="1094"/>
              </a:cxn>
              <a:cxn ang="0">
                <a:pos x="0" y="1023"/>
              </a:cxn>
              <a:cxn ang="0">
                <a:pos x="0" y="950"/>
              </a:cxn>
              <a:cxn ang="0">
                <a:pos x="4" y="878"/>
              </a:cxn>
              <a:cxn ang="0">
                <a:pos x="17" y="772"/>
              </a:cxn>
              <a:cxn ang="0">
                <a:pos x="46" y="634"/>
              </a:cxn>
              <a:cxn ang="0">
                <a:pos x="90" y="503"/>
              </a:cxn>
              <a:cxn ang="0">
                <a:pos x="146" y="377"/>
              </a:cxn>
              <a:cxn ang="0">
                <a:pos x="213" y="260"/>
              </a:cxn>
              <a:cxn ang="0">
                <a:pos x="293" y="148"/>
              </a:cxn>
              <a:cxn ang="0">
                <a:pos x="384" y="47"/>
              </a:cxn>
              <a:cxn ang="0">
                <a:pos x="479" y="47"/>
              </a:cxn>
              <a:cxn ang="0">
                <a:pos x="570" y="148"/>
              </a:cxn>
              <a:cxn ang="0">
                <a:pos x="650" y="260"/>
              </a:cxn>
              <a:cxn ang="0">
                <a:pos x="717" y="377"/>
              </a:cxn>
              <a:cxn ang="0">
                <a:pos x="773" y="503"/>
              </a:cxn>
              <a:cxn ang="0">
                <a:pos x="817" y="634"/>
              </a:cxn>
              <a:cxn ang="0">
                <a:pos x="846" y="772"/>
              </a:cxn>
              <a:cxn ang="0">
                <a:pos x="859" y="878"/>
              </a:cxn>
              <a:cxn ang="0">
                <a:pos x="863" y="950"/>
              </a:cxn>
              <a:cxn ang="0">
                <a:pos x="863" y="1023"/>
              </a:cxn>
              <a:cxn ang="0">
                <a:pos x="859" y="1094"/>
              </a:cxn>
              <a:cxn ang="0">
                <a:pos x="846" y="1200"/>
              </a:cxn>
              <a:cxn ang="0">
                <a:pos x="817" y="1338"/>
              </a:cxn>
              <a:cxn ang="0">
                <a:pos x="773" y="1469"/>
              </a:cxn>
              <a:cxn ang="0">
                <a:pos x="717" y="1595"/>
              </a:cxn>
              <a:cxn ang="0">
                <a:pos x="650" y="1712"/>
              </a:cxn>
              <a:cxn ang="0">
                <a:pos x="570" y="1824"/>
              </a:cxn>
              <a:cxn ang="0">
                <a:pos x="479" y="1925"/>
              </a:cxn>
            </a:cxnLst>
            <a:rect l="0" t="0" r="r" b="b"/>
            <a:pathLst>
              <a:path w="863" h="1972">
                <a:moveTo>
                  <a:pt x="432" y="1972"/>
                </a:moveTo>
                <a:lnTo>
                  <a:pt x="384" y="1925"/>
                </a:lnTo>
                <a:lnTo>
                  <a:pt x="337" y="1876"/>
                </a:lnTo>
                <a:lnTo>
                  <a:pt x="293" y="1824"/>
                </a:lnTo>
                <a:lnTo>
                  <a:pt x="251" y="1770"/>
                </a:lnTo>
                <a:lnTo>
                  <a:pt x="213" y="1712"/>
                </a:lnTo>
                <a:lnTo>
                  <a:pt x="178" y="1655"/>
                </a:lnTo>
                <a:lnTo>
                  <a:pt x="146" y="1595"/>
                </a:lnTo>
                <a:lnTo>
                  <a:pt x="115" y="1534"/>
                </a:lnTo>
                <a:lnTo>
                  <a:pt x="90" y="1469"/>
                </a:lnTo>
                <a:lnTo>
                  <a:pt x="65" y="1405"/>
                </a:lnTo>
                <a:lnTo>
                  <a:pt x="46" y="1338"/>
                </a:lnTo>
                <a:lnTo>
                  <a:pt x="28" y="1269"/>
                </a:lnTo>
                <a:lnTo>
                  <a:pt x="17" y="1200"/>
                </a:lnTo>
                <a:lnTo>
                  <a:pt x="7" y="1131"/>
                </a:lnTo>
                <a:lnTo>
                  <a:pt x="4" y="1094"/>
                </a:lnTo>
                <a:lnTo>
                  <a:pt x="2" y="1060"/>
                </a:lnTo>
                <a:lnTo>
                  <a:pt x="0" y="1023"/>
                </a:lnTo>
                <a:lnTo>
                  <a:pt x="0" y="987"/>
                </a:lnTo>
                <a:lnTo>
                  <a:pt x="0" y="950"/>
                </a:lnTo>
                <a:lnTo>
                  <a:pt x="2" y="914"/>
                </a:lnTo>
                <a:lnTo>
                  <a:pt x="4" y="878"/>
                </a:lnTo>
                <a:lnTo>
                  <a:pt x="7" y="843"/>
                </a:lnTo>
                <a:lnTo>
                  <a:pt x="17" y="772"/>
                </a:lnTo>
                <a:lnTo>
                  <a:pt x="28" y="703"/>
                </a:lnTo>
                <a:lnTo>
                  <a:pt x="46" y="634"/>
                </a:lnTo>
                <a:lnTo>
                  <a:pt x="65" y="569"/>
                </a:lnTo>
                <a:lnTo>
                  <a:pt x="90" y="503"/>
                </a:lnTo>
                <a:lnTo>
                  <a:pt x="115" y="440"/>
                </a:lnTo>
                <a:lnTo>
                  <a:pt x="146" y="377"/>
                </a:lnTo>
                <a:lnTo>
                  <a:pt x="178" y="317"/>
                </a:lnTo>
                <a:lnTo>
                  <a:pt x="213" y="260"/>
                </a:lnTo>
                <a:lnTo>
                  <a:pt x="251" y="204"/>
                </a:lnTo>
                <a:lnTo>
                  <a:pt x="293" y="148"/>
                </a:lnTo>
                <a:lnTo>
                  <a:pt x="337" y="96"/>
                </a:lnTo>
                <a:lnTo>
                  <a:pt x="384" y="47"/>
                </a:lnTo>
                <a:lnTo>
                  <a:pt x="432" y="0"/>
                </a:lnTo>
                <a:lnTo>
                  <a:pt x="479" y="47"/>
                </a:lnTo>
                <a:lnTo>
                  <a:pt x="526" y="96"/>
                </a:lnTo>
                <a:lnTo>
                  <a:pt x="570" y="148"/>
                </a:lnTo>
                <a:lnTo>
                  <a:pt x="612" y="204"/>
                </a:lnTo>
                <a:lnTo>
                  <a:pt x="650" y="260"/>
                </a:lnTo>
                <a:lnTo>
                  <a:pt x="685" y="317"/>
                </a:lnTo>
                <a:lnTo>
                  <a:pt x="717" y="377"/>
                </a:lnTo>
                <a:lnTo>
                  <a:pt x="748" y="440"/>
                </a:lnTo>
                <a:lnTo>
                  <a:pt x="773" y="503"/>
                </a:lnTo>
                <a:lnTo>
                  <a:pt x="798" y="569"/>
                </a:lnTo>
                <a:lnTo>
                  <a:pt x="817" y="634"/>
                </a:lnTo>
                <a:lnTo>
                  <a:pt x="835" y="703"/>
                </a:lnTo>
                <a:lnTo>
                  <a:pt x="846" y="772"/>
                </a:lnTo>
                <a:lnTo>
                  <a:pt x="856" y="843"/>
                </a:lnTo>
                <a:lnTo>
                  <a:pt x="859" y="878"/>
                </a:lnTo>
                <a:lnTo>
                  <a:pt x="861" y="914"/>
                </a:lnTo>
                <a:lnTo>
                  <a:pt x="863" y="950"/>
                </a:lnTo>
                <a:lnTo>
                  <a:pt x="863" y="987"/>
                </a:lnTo>
                <a:lnTo>
                  <a:pt x="863" y="1023"/>
                </a:lnTo>
                <a:lnTo>
                  <a:pt x="861" y="1060"/>
                </a:lnTo>
                <a:lnTo>
                  <a:pt x="859" y="1094"/>
                </a:lnTo>
                <a:lnTo>
                  <a:pt x="856" y="1131"/>
                </a:lnTo>
                <a:lnTo>
                  <a:pt x="846" y="1200"/>
                </a:lnTo>
                <a:lnTo>
                  <a:pt x="835" y="1269"/>
                </a:lnTo>
                <a:lnTo>
                  <a:pt x="817" y="1338"/>
                </a:lnTo>
                <a:lnTo>
                  <a:pt x="798" y="1405"/>
                </a:lnTo>
                <a:lnTo>
                  <a:pt x="773" y="1469"/>
                </a:lnTo>
                <a:lnTo>
                  <a:pt x="748" y="1534"/>
                </a:lnTo>
                <a:lnTo>
                  <a:pt x="717" y="1595"/>
                </a:lnTo>
                <a:lnTo>
                  <a:pt x="685" y="1655"/>
                </a:lnTo>
                <a:lnTo>
                  <a:pt x="650" y="1712"/>
                </a:lnTo>
                <a:lnTo>
                  <a:pt x="612" y="1770"/>
                </a:lnTo>
                <a:lnTo>
                  <a:pt x="570" y="1824"/>
                </a:lnTo>
                <a:lnTo>
                  <a:pt x="526" y="1876"/>
                </a:lnTo>
                <a:lnTo>
                  <a:pt x="479" y="1925"/>
                </a:lnTo>
                <a:lnTo>
                  <a:pt x="432" y="1972"/>
                </a:lnTo>
              </a:path>
            </a:pathLst>
          </a:custGeom>
          <a:solidFill>
            <a:schemeClr val="accent2"/>
          </a:solidFill>
          <a:ln w="6350" cmpd="sng">
            <a:noFill/>
            <a:prstDash val="solid"/>
            <a:round/>
            <a:headEnd/>
            <a:tailEnd/>
          </a:ln>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 name="Rectangle 13">
            <a:extLst>
              <a:ext uri="{FF2B5EF4-FFF2-40B4-BE49-F238E27FC236}">
                <a16:creationId xmlns:a16="http://schemas.microsoft.com/office/drawing/2014/main" id="{1E7F51C1-2FCB-4BC5-845D-6187E40038A1}"/>
              </a:ext>
            </a:extLst>
          </p:cNvPr>
          <p:cNvSpPr>
            <a:spLocks noChangeArrowheads="1"/>
          </p:cNvSpPr>
          <p:nvPr/>
        </p:nvSpPr>
        <p:spPr bwMode="auto">
          <a:xfrm>
            <a:off x="5636565" y="3242748"/>
            <a:ext cx="949325" cy="246063"/>
          </a:xfrm>
          <a:prstGeom prst="rect">
            <a:avLst/>
          </a:prstGeom>
          <a:noFill/>
          <a:ln w="6350">
            <a:noFill/>
            <a:miter lim="800000"/>
            <a:headEnd/>
            <a:tailEnd/>
          </a:ln>
          <a:effectLst/>
        </p:spPr>
        <p:txBody>
          <a:bodyPr lIns="0" tIns="0" rIns="0" bIns="0" anchor="ctr" anchorCtr="1">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a:ea typeface="+mn-ea"/>
                <a:cs typeface="+mn-cs"/>
              </a:rPr>
              <a:t>Text</a:t>
            </a:r>
          </a:p>
        </p:txBody>
      </p:sp>
      <p:sp>
        <p:nvSpPr>
          <p:cNvPr id="4" name="Footer Placeholder 3">
            <a:extLst>
              <a:ext uri="{FF2B5EF4-FFF2-40B4-BE49-F238E27FC236}">
                <a16:creationId xmlns:a16="http://schemas.microsoft.com/office/drawing/2014/main" id="{B3707941-3FA7-4A4F-94C8-BF08FBBF54C8}"/>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9C4DC0C2-72F7-4711-87BF-08C89D4CE85C}"/>
              </a:ext>
            </a:extLst>
          </p:cNvPr>
          <p:cNvSpPr>
            <a:spLocks noGrp="1"/>
          </p:cNvSpPr>
          <p:nvPr>
            <p:ph type="sldNum" sz="quarter" idx="10"/>
          </p:nvPr>
        </p:nvSpPr>
        <p:spPr/>
        <p:txBody>
          <a:bodyPr/>
          <a:lstStyle/>
          <a:p>
            <a:fld id="{1F90F471-3972-4120-B8B3-0237DE626C35}" type="slidenum">
              <a:rPr lang="en-US" smtClean="0"/>
              <a:pPr/>
              <a:t>268</a:t>
            </a:fld>
            <a:endParaRPr lang="en-US" dirty="0"/>
          </a:p>
        </p:txBody>
      </p:sp>
    </p:spTree>
    <p:extLst>
      <p:ext uri="{BB962C8B-B14F-4D97-AF65-F5344CB8AC3E}">
        <p14:creationId xmlns:p14="http://schemas.microsoft.com/office/powerpoint/2010/main" val="865576505"/>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de-DE" sz="3600" b="1" dirty="0"/>
              <a:t>Interlocking Circles 2</a:t>
            </a:r>
            <a:endParaRPr lang="en-US" sz="3600" b="1" dirty="0"/>
          </a:p>
        </p:txBody>
      </p:sp>
      <p:sp>
        <p:nvSpPr>
          <p:cNvPr id="30" name="Oval 10">
            <a:extLst>
              <a:ext uri="{FF2B5EF4-FFF2-40B4-BE49-F238E27FC236}">
                <a16:creationId xmlns:a16="http://schemas.microsoft.com/office/drawing/2014/main" id="{07612A4A-D05B-488A-841F-24CF768E023A}"/>
              </a:ext>
            </a:extLst>
          </p:cNvPr>
          <p:cNvSpPr>
            <a:spLocks noChangeArrowheads="1"/>
          </p:cNvSpPr>
          <p:nvPr/>
        </p:nvSpPr>
        <p:spPr bwMode="auto">
          <a:xfrm>
            <a:off x="2294463" y="1533939"/>
            <a:ext cx="4535488" cy="4533900"/>
          </a:xfrm>
          <a:prstGeom prst="ellipse">
            <a:avLst/>
          </a:prstGeom>
          <a:pattFill prst="wdUpDiag">
            <a:fgClr>
              <a:srgbClr val="96968C">
                <a:lumMod val="20000"/>
                <a:lumOff val="80000"/>
              </a:srgbClr>
            </a:fgClr>
            <a:bgClr>
              <a:srgbClr val="FFFFFF"/>
            </a:bgClr>
          </a:pattFill>
          <a:ln w="6350">
            <a:noFill/>
            <a:round/>
            <a:headEnd/>
            <a:tailEnd/>
          </a:ln>
          <a:effectLst/>
        </p:spPr>
        <p:txBody>
          <a:bodyPr lIns="72000" tIns="72000" rIns="72000" bIns="72000" anchor="ctr"/>
          <a:lstStyle/>
          <a:p>
            <a:pPr marL="179388" marR="0" lvl="0" indent="-179388" algn="l"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all" spc="0" normalizeH="0" baseline="0" noProof="0" dirty="0">
                <a:ln>
                  <a:noFill/>
                </a:ln>
                <a:solidFill>
                  <a:srgbClr val="000000"/>
                </a:solidFill>
                <a:effectLst/>
                <a:uLnTx/>
                <a:uFillTx/>
                <a:latin typeface="Arial Black"/>
                <a:ea typeface="+mn-ea"/>
                <a:cs typeface="+mn-cs"/>
              </a:rPr>
              <a:t>Text</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p:txBody>
      </p:sp>
      <p:sp>
        <p:nvSpPr>
          <p:cNvPr id="31" name="Oval 11">
            <a:extLst>
              <a:ext uri="{FF2B5EF4-FFF2-40B4-BE49-F238E27FC236}">
                <a16:creationId xmlns:a16="http://schemas.microsoft.com/office/drawing/2014/main" id="{503953C0-4539-46AE-AD3E-C831F78604A9}"/>
              </a:ext>
            </a:extLst>
          </p:cNvPr>
          <p:cNvSpPr>
            <a:spLocks noChangeArrowheads="1"/>
          </p:cNvSpPr>
          <p:nvPr/>
        </p:nvSpPr>
        <p:spPr bwMode="auto">
          <a:xfrm>
            <a:off x="5372626" y="1533939"/>
            <a:ext cx="4535487" cy="4533900"/>
          </a:xfrm>
          <a:prstGeom prst="ellipse">
            <a:avLst/>
          </a:prstGeom>
          <a:pattFill prst="wdUpDiag">
            <a:fgClr>
              <a:srgbClr val="96968C">
                <a:lumMod val="20000"/>
                <a:lumOff val="80000"/>
              </a:srgbClr>
            </a:fgClr>
            <a:bgClr>
              <a:srgbClr val="FFFFFF"/>
            </a:bgClr>
          </a:pattFill>
          <a:ln w="6350">
            <a:noFill/>
            <a:round/>
            <a:headEnd/>
            <a:tailEnd/>
          </a:ln>
          <a:effectLst/>
        </p:spPr>
        <p:txBody>
          <a:bodyPr lIns="1512000" tIns="72000" rIns="72000" bIns="72000" anchor="ctr"/>
          <a:lstStyle/>
          <a:p>
            <a:pPr marL="179388" marR="0" lvl="0" indent="-179388" algn="l"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all" spc="0" normalizeH="0" baseline="0" noProof="0" dirty="0">
                <a:ln>
                  <a:noFill/>
                </a:ln>
                <a:solidFill>
                  <a:srgbClr val="000000"/>
                </a:solidFill>
                <a:effectLst/>
                <a:uLnTx/>
                <a:uFillTx/>
                <a:latin typeface="Arial Black"/>
                <a:ea typeface="+mn-ea"/>
                <a:cs typeface="+mn-cs"/>
              </a:rPr>
              <a:t>Text</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p:txBody>
      </p:sp>
      <p:sp>
        <p:nvSpPr>
          <p:cNvPr id="32" name="Freeform 12" descr="Add text and order accordingly">
            <a:extLst>
              <a:ext uri="{FF2B5EF4-FFF2-40B4-BE49-F238E27FC236}">
                <a16:creationId xmlns:a16="http://schemas.microsoft.com/office/drawing/2014/main" id="{F68544E8-8E60-4A7B-887E-E479CDEA1D9D}"/>
              </a:ext>
            </a:extLst>
          </p:cNvPr>
          <p:cNvSpPr>
            <a:spLocks/>
          </p:cNvSpPr>
          <p:nvPr/>
        </p:nvSpPr>
        <p:spPr bwMode="auto">
          <a:xfrm>
            <a:off x="5372626" y="2140364"/>
            <a:ext cx="1455737" cy="3332163"/>
          </a:xfrm>
          <a:custGeom>
            <a:avLst/>
            <a:gdLst/>
            <a:ahLst/>
            <a:cxnLst>
              <a:cxn ang="0">
                <a:pos x="384" y="1925"/>
              </a:cxn>
              <a:cxn ang="0">
                <a:pos x="293" y="1824"/>
              </a:cxn>
              <a:cxn ang="0">
                <a:pos x="213" y="1712"/>
              </a:cxn>
              <a:cxn ang="0">
                <a:pos x="146" y="1595"/>
              </a:cxn>
              <a:cxn ang="0">
                <a:pos x="90" y="1469"/>
              </a:cxn>
              <a:cxn ang="0">
                <a:pos x="46" y="1338"/>
              </a:cxn>
              <a:cxn ang="0">
                <a:pos x="17" y="1200"/>
              </a:cxn>
              <a:cxn ang="0">
                <a:pos x="4" y="1094"/>
              </a:cxn>
              <a:cxn ang="0">
                <a:pos x="0" y="1023"/>
              </a:cxn>
              <a:cxn ang="0">
                <a:pos x="0" y="950"/>
              </a:cxn>
              <a:cxn ang="0">
                <a:pos x="4" y="878"/>
              </a:cxn>
              <a:cxn ang="0">
                <a:pos x="17" y="772"/>
              </a:cxn>
              <a:cxn ang="0">
                <a:pos x="46" y="634"/>
              </a:cxn>
              <a:cxn ang="0">
                <a:pos x="90" y="503"/>
              </a:cxn>
              <a:cxn ang="0">
                <a:pos x="146" y="377"/>
              </a:cxn>
              <a:cxn ang="0">
                <a:pos x="213" y="260"/>
              </a:cxn>
              <a:cxn ang="0">
                <a:pos x="293" y="148"/>
              </a:cxn>
              <a:cxn ang="0">
                <a:pos x="384" y="47"/>
              </a:cxn>
              <a:cxn ang="0">
                <a:pos x="479" y="47"/>
              </a:cxn>
              <a:cxn ang="0">
                <a:pos x="570" y="148"/>
              </a:cxn>
              <a:cxn ang="0">
                <a:pos x="650" y="260"/>
              </a:cxn>
              <a:cxn ang="0">
                <a:pos x="717" y="377"/>
              </a:cxn>
              <a:cxn ang="0">
                <a:pos x="773" y="503"/>
              </a:cxn>
              <a:cxn ang="0">
                <a:pos x="817" y="634"/>
              </a:cxn>
              <a:cxn ang="0">
                <a:pos x="846" y="772"/>
              </a:cxn>
              <a:cxn ang="0">
                <a:pos x="859" y="878"/>
              </a:cxn>
              <a:cxn ang="0">
                <a:pos x="863" y="950"/>
              </a:cxn>
              <a:cxn ang="0">
                <a:pos x="863" y="1023"/>
              </a:cxn>
              <a:cxn ang="0">
                <a:pos x="859" y="1094"/>
              </a:cxn>
              <a:cxn ang="0">
                <a:pos x="846" y="1200"/>
              </a:cxn>
              <a:cxn ang="0">
                <a:pos x="817" y="1338"/>
              </a:cxn>
              <a:cxn ang="0">
                <a:pos x="773" y="1469"/>
              </a:cxn>
              <a:cxn ang="0">
                <a:pos x="717" y="1595"/>
              </a:cxn>
              <a:cxn ang="0">
                <a:pos x="650" y="1712"/>
              </a:cxn>
              <a:cxn ang="0">
                <a:pos x="570" y="1824"/>
              </a:cxn>
              <a:cxn ang="0">
                <a:pos x="479" y="1925"/>
              </a:cxn>
            </a:cxnLst>
            <a:rect l="0" t="0" r="r" b="b"/>
            <a:pathLst>
              <a:path w="863" h="1972">
                <a:moveTo>
                  <a:pt x="432" y="1972"/>
                </a:moveTo>
                <a:lnTo>
                  <a:pt x="384" y="1925"/>
                </a:lnTo>
                <a:lnTo>
                  <a:pt x="337" y="1876"/>
                </a:lnTo>
                <a:lnTo>
                  <a:pt x="293" y="1824"/>
                </a:lnTo>
                <a:lnTo>
                  <a:pt x="251" y="1770"/>
                </a:lnTo>
                <a:lnTo>
                  <a:pt x="213" y="1712"/>
                </a:lnTo>
                <a:lnTo>
                  <a:pt x="178" y="1655"/>
                </a:lnTo>
                <a:lnTo>
                  <a:pt x="146" y="1595"/>
                </a:lnTo>
                <a:lnTo>
                  <a:pt x="115" y="1534"/>
                </a:lnTo>
                <a:lnTo>
                  <a:pt x="90" y="1469"/>
                </a:lnTo>
                <a:lnTo>
                  <a:pt x="65" y="1405"/>
                </a:lnTo>
                <a:lnTo>
                  <a:pt x="46" y="1338"/>
                </a:lnTo>
                <a:lnTo>
                  <a:pt x="28" y="1269"/>
                </a:lnTo>
                <a:lnTo>
                  <a:pt x="17" y="1200"/>
                </a:lnTo>
                <a:lnTo>
                  <a:pt x="7" y="1131"/>
                </a:lnTo>
                <a:lnTo>
                  <a:pt x="4" y="1094"/>
                </a:lnTo>
                <a:lnTo>
                  <a:pt x="2" y="1060"/>
                </a:lnTo>
                <a:lnTo>
                  <a:pt x="0" y="1023"/>
                </a:lnTo>
                <a:lnTo>
                  <a:pt x="0" y="987"/>
                </a:lnTo>
                <a:lnTo>
                  <a:pt x="0" y="950"/>
                </a:lnTo>
                <a:lnTo>
                  <a:pt x="2" y="914"/>
                </a:lnTo>
                <a:lnTo>
                  <a:pt x="4" y="878"/>
                </a:lnTo>
                <a:lnTo>
                  <a:pt x="7" y="843"/>
                </a:lnTo>
                <a:lnTo>
                  <a:pt x="17" y="772"/>
                </a:lnTo>
                <a:lnTo>
                  <a:pt x="28" y="703"/>
                </a:lnTo>
                <a:lnTo>
                  <a:pt x="46" y="634"/>
                </a:lnTo>
                <a:lnTo>
                  <a:pt x="65" y="569"/>
                </a:lnTo>
                <a:lnTo>
                  <a:pt x="90" y="503"/>
                </a:lnTo>
                <a:lnTo>
                  <a:pt x="115" y="440"/>
                </a:lnTo>
                <a:lnTo>
                  <a:pt x="146" y="377"/>
                </a:lnTo>
                <a:lnTo>
                  <a:pt x="178" y="317"/>
                </a:lnTo>
                <a:lnTo>
                  <a:pt x="213" y="260"/>
                </a:lnTo>
                <a:lnTo>
                  <a:pt x="251" y="204"/>
                </a:lnTo>
                <a:lnTo>
                  <a:pt x="293" y="148"/>
                </a:lnTo>
                <a:lnTo>
                  <a:pt x="337" y="96"/>
                </a:lnTo>
                <a:lnTo>
                  <a:pt x="384" y="47"/>
                </a:lnTo>
                <a:lnTo>
                  <a:pt x="432" y="0"/>
                </a:lnTo>
                <a:lnTo>
                  <a:pt x="479" y="47"/>
                </a:lnTo>
                <a:lnTo>
                  <a:pt x="526" y="96"/>
                </a:lnTo>
                <a:lnTo>
                  <a:pt x="570" y="148"/>
                </a:lnTo>
                <a:lnTo>
                  <a:pt x="612" y="204"/>
                </a:lnTo>
                <a:lnTo>
                  <a:pt x="650" y="260"/>
                </a:lnTo>
                <a:lnTo>
                  <a:pt x="685" y="317"/>
                </a:lnTo>
                <a:lnTo>
                  <a:pt x="717" y="377"/>
                </a:lnTo>
                <a:lnTo>
                  <a:pt x="748" y="440"/>
                </a:lnTo>
                <a:lnTo>
                  <a:pt x="773" y="503"/>
                </a:lnTo>
                <a:lnTo>
                  <a:pt x="798" y="569"/>
                </a:lnTo>
                <a:lnTo>
                  <a:pt x="817" y="634"/>
                </a:lnTo>
                <a:lnTo>
                  <a:pt x="835" y="703"/>
                </a:lnTo>
                <a:lnTo>
                  <a:pt x="846" y="772"/>
                </a:lnTo>
                <a:lnTo>
                  <a:pt x="856" y="843"/>
                </a:lnTo>
                <a:lnTo>
                  <a:pt x="859" y="878"/>
                </a:lnTo>
                <a:lnTo>
                  <a:pt x="861" y="914"/>
                </a:lnTo>
                <a:lnTo>
                  <a:pt x="863" y="950"/>
                </a:lnTo>
                <a:lnTo>
                  <a:pt x="863" y="987"/>
                </a:lnTo>
                <a:lnTo>
                  <a:pt x="863" y="1023"/>
                </a:lnTo>
                <a:lnTo>
                  <a:pt x="861" y="1060"/>
                </a:lnTo>
                <a:lnTo>
                  <a:pt x="859" y="1094"/>
                </a:lnTo>
                <a:lnTo>
                  <a:pt x="856" y="1131"/>
                </a:lnTo>
                <a:lnTo>
                  <a:pt x="846" y="1200"/>
                </a:lnTo>
                <a:lnTo>
                  <a:pt x="835" y="1269"/>
                </a:lnTo>
                <a:lnTo>
                  <a:pt x="817" y="1338"/>
                </a:lnTo>
                <a:lnTo>
                  <a:pt x="798" y="1405"/>
                </a:lnTo>
                <a:lnTo>
                  <a:pt x="773" y="1469"/>
                </a:lnTo>
                <a:lnTo>
                  <a:pt x="748" y="1534"/>
                </a:lnTo>
                <a:lnTo>
                  <a:pt x="717" y="1595"/>
                </a:lnTo>
                <a:lnTo>
                  <a:pt x="685" y="1655"/>
                </a:lnTo>
                <a:lnTo>
                  <a:pt x="650" y="1712"/>
                </a:lnTo>
                <a:lnTo>
                  <a:pt x="612" y="1770"/>
                </a:lnTo>
                <a:lnTo>
                  <a:pt x="570" y="1824"/>
                </a:lnTo>
                <a:lnTo>
                  <a:pt x="526" y="1876"/>
                </a:lnTo>
                <a:lnTo>
                  <a:pt x="479" y="1925"/>
                </a:lnTo>
                <a:lnTo>
                  <a:pt x="432" y="1972"/>
                </a:lnTo>
              </a:path>
            </a:pathLst>
          </a:custGeom>
          <a:solidFill>
            <a:schemeClr val="accent2"/>
          </a:solidFill>
          <a:ln w="6350" cmpd="sng">
            <a:noFill/>
            <a:prstDash val="solid"/>
            <a:round/>
            <a:headEnd/>
            <a:tailEnd/>
          </a:ln>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 name="Rectangle 13">
            <a:extLst>
              <a:ext uri="{FF2B5EF4-FFF2-40B4-BE49-F238E27FC236}">
                <a16:creationId xmlns:a16="http://schemas.microsoft.com/office/drawing/2014/main" id="{DDF219E2-71E1-4AD8-9A73-FE06FB96C322}"/>
              </a:ext>
            </a:extLst>
          </p:cNvPr>
          <p:cNvSpPr>
            <a:spLocks noChangeArrowheads="1"/>
          </p:cNvSpPr>
          <p:nvPr/>
        </p:nvSpPr>
        <p:spPr bwMode="auto">
          <a:xfrm>
            <a:off x="5636565" y="3242748"/>
            <a:ext cx="949325" cy="246063"/>
          </a:xfrm>
          <a:prstGeom prst="rect">
            <a:avLst/>
          </a:prstGeom>
          <a:noFill/>
          <a:ln w="6350">
            <a:noFill/>
            <a:miter lim="800000"/>
            <a:headEnd/>
            <a:tailEnd/>
          </a:ln>
          <a:effectLst/>
        </p:spPr>
        <p:txBody>
          <a:bodyPr lIns="0" tIns="0" rIns="0" bIns="0" anchor="ctr" anchorCtr="1">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a:ea typeface="+mn-ea"/>
                <a:cs typeface="+mn-cs"/>
              </a:rPr>
              <a:t>Text</a:t>
            </a:r>
          </a:p>
        </p:txBody>
      </p:sp>
      <p:sp>
        <p:nvSpPr>
          <p:cNvPr id="4" name="Footer Placeholder 3">
            <a:extLst>
              <a:ext uri="{FF2B5EF4-FFF2-40B4-BE49-F238E27FC236}">
                <a16:creationId xmlns:a16="http://schemas.microsoft.com/office/drawing/2014/main" id="{4A60422A-B6AE-44AF-986A-A064E7D715CD}"/>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599E1F78-00E2-46E8-AE9A-61896F517170}"/>
              </a:ext>
            </a:extLst>
          </p:cNvPr>
          <p:cNvSpPr>
            <a:spLocks noGrp="1"/>
          </p:cNvSpPr>
          <p:nvPr>
            <p:ph type="sldNum" sz="quarter" idx="10"/>
          </p:nvPr>
        </p:nvSpPr>
        <p:spPr/>
        <p:txBody>
          <a:bodyPr/>
          <a:lstStyle/>
          <a:p>
            <a:fld id="{1F90F471-3972-4120-B8B3-0237DE626C35}" type="slidenum">
              <a:rPr lang="en-US" smtClean="0"/>
              <a:pPr/>
              <a:t>269</a:t>
            </a:fld>
            <a:endParaRPr lang="en-US" dirty="0"/>
          </a:p>
        </p:txBody>
      </p:sp>
    </p:spTree>
    <p:extLst>
      <p:ext uri="{BB962C8B-B14F-4D97-AF65-F5344CB8AC3E}">
        <p14:creationId xmlns:p14="http://schemas.microsoft.com/office/powerpoint/2010/main" val="4657504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7B2708-C514-4B38-AA76-39DDD565766D}"/>
              </a:ext>
            </a:extLst>
          </p:cNvPr>
          <p:cNvSpPr>
            <a:spLocks noGrp="1"/>
          </p:cNvSpPr>
          <p:nvPr>
            <p:ph type="ctrTitle"/>
          </p:nvPr>
        </p:nvSpPr>
        <p:spPr/>
        <p:txBody>
          <a:bodyPr/>
          <a:lstStyle/>
          <a:p>
            <a:r>
              <a:rPr lang="en-GB" dirty="0"/>
              <a:t>Presentation title 60pt, long title 48pt, max 3 lines </a:t>
            </a:r>
            <a:endParaRPr lang="en-US" dirty="0"/>
          </a:p>
        </p:txBody>
      </p:sp>
      <p:sp>
        <p:nvSpPr>
          <p:cNvPr id="3" name="Subtitle 2">
            <a:extLst>
              <a:ext uri="{FF2B5EF4-FFF2-40B4-BE49-F238E27FC236}">
                <a16:creationId xmlns:a16="http://schemas.microsoft.com/office/drawing/2014/main" id="{20AAEFB3-925B-49FC-8561-9B4556FFCC08}"/>
              </a:ext>
            </a:extLst>
          </p:cNvPr>
          <p:cNvSpPr>
            <a:spLocks noGrp="1"/>
          </p:cNvSpPr>
          <p:nvPr>
            <p:ph type="subTitle" idx="1"/>
          </p:nvPr>
        </p:nvSpPr>
        <p:spPr/>
        <p:txBody>
          <a:bodyPr/>
          <a:lstStyle/>
          <a:p>
            <a:r>
              <a:rPr lang="en-GB" dirty="0"/>
              <a:t>Place subtitle here in GT Sectra Fine </a:t>
            </a:r>
            <a:r>
              <a:rPr lang="en-GB" dirty="0" err="1"/>
              <a:t>Rg</a:t>
            </a:r>
            <a:r>
              <a:rPr lang="en-GB" dirty="0"/>
              <a:t> 24pt</a:t>
            </a:r>
            <a:endParaRPr lang="en-US" dirty="0"/>
          </a:p>
        </p:txBody>
      </p:sp>
      <p:sp>
        <p:nvSpPr>
          <p:cNvPr id="4" name="Text Placeholder 3">
            <a:extLst>
              <a:ext uri="{FF2B5EF4-FFF2-40B4-BE49-F238E27FC236}">
                <a16:creationId xmlns:a16="http://schemas.microsoft.com/office/drawing/2014/main" id="{B7E1851B-9BED-42AA-BA7C-F8C1F9532EEE}"/>
              </a:ext>
            </a:extLst>
          </p:cNvPr>
          <p:cNvSpPr>
            <a:spLocks noGrp="1"/>
          </p:cNvSpPr>
          <p:nvPr>
            <p:ph type="body" sz="quarter" idx="12"/>
          </p:nvPr>
        </p:nvSpPr>
        <p:spPr/>
        <p:txBody>
          <a:bodyPr/>
          <a:lstStyle/>
          <a:p>
            <a:r>
              <a:rPr lang="en-US" dirty="0"/>
              <a:t>Presenter 14pt</a:t>
            </a:r>
          </a:p>
        </p:txBody>
      </p:sp>
    </p:spTree>
    <p:extLst>
      <p:ext uri="{BB962C8B-B14F-4D97-AF65-F5344CB8AC3E}">
        <p14:creationId xmlns:p14="http://schemas.microsoft.com/office/powerpoint/2010/main" val="3088580758"/>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de-DE" sz="3600" b="1" dirty="0"/>
              <a:t>Interlocking Circles 3</a:t>
            </a:r>
            <a:endParaRPr lang="en-US" sz="3600" b="1" dirty="0"/>
          </a:p>
        </p:txBody>
      </p:sp>
      <p:sp>
        <p:nvSpPr>
          <p:cNvPr id="34" name="Oval 4">
            <a:extLst>
              <a:ext uri="{FF2B5EF4-FFF2-40B4-BE49-F238E27FC236}">
                <a16:creationId xmlns:a16="http://schemas.microsoft.com/office/drawing/2014/main" id="{EF57CD26-05F5-41A6-8254-C01B335B6DF7}"/>
              </a:ext>
            </a:extLst>
          </p:cNvPr>
          <p:cNvSpPr>
            <a:spLocks noChangeArrowheads="1"/>
          </p:cNvSpPr>
          <p:nvPr/>
        </p:nvSpPr>
        <p:spPr bwMode="auto">
          <a:xfrm>
            <a:off x="4656915" y="1515720"/>
            <a:ext cx="2873375" cy="2935287"/>
          </a:xfrm>
          <a:prstGeom prst="ellipse">
            <a:avLst/>
          </a:prstGeom>
          <a:solidFill>
            <a:schemeClr val="accent1">
              <a:lumMod val="20000"/>
              <a:lumOff val="80000"/>
            </a:schemeClr>
          </a:solidFill>
          <a:ln w="6350">
            <a:noFill/>
            <a:round/>
            <a:headEnd/>
            <a:tailEnd/>
          </a:ln>
          <a:effectLst/>
        </p:spPr>
        <p:txBody>
          <a:bodyPr lIns="72000" tIns="72000" rIns="72000" bIns="7200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Arial"/>
                <a:ea typeface="+mn-ea"/>
                <a:cs typeface="+mn-cs"/>
              </a:rPr>
              <a:t>Text</a:t>
            </a:r>
          </a:p>
        </p:txBody>
      </p:sp>
      <p:sp>
        <p:nvSpPr>
          <p:cNvPr id="36" name="Oval 6">
            <a:extLst>
              <a:ext uri="{FF2B5EF4-FFF2-40B4-BE49-F238E27FC236}">
                <a16:creationId xmlns:a16="http://schemas.microsoft.com/office/drawing/2014/main" id="{781B5B6B-9B92-44D6-89E5-B67A6C9526CB}"/>
              </a:ext>
            </a:extLst>
          </p:cNvPr>
          <p:cNvSpPr>
            <a:spLocks noChangeArrowheads="1"/>
          </p:cNvSpPr>
          <p:nvPr/>
        </p:nvSpPr>
        <p:spPr bwMode="auto">
          <a:xfrm>
            <a:off x="5641165" y="3138145"/>
            <a:ext cx="2871787" cy="2935287"/>
          </a:xfrm>
          <a:prstGeom prst="ellipse">
            <a:avLst/>
          </a:prstGeom>
          <a:solidFill>
            <a:schemeClr val="accent2">
              <a:lumMod val="20000"/>
              <a:lumOff val="80000"/>
            </a:schemeClr>
          </a:solidFill>
          <a:ln w="6350">
            <a:noFill/>
            <a:round/>
            <a:headEnd/>
            <a:tailEnd/>
          </a:ln>
          <a:effectLst/>
        </p:spPr>
        <p:txBody>
          <a:bodyPr lIns="72000" tIns="72000" rIns="72000" bIns="7200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Arial"/>
                <a:ea typeface="+mn-ea"/>
                <a:cs typeface="+mn-cs"/>
              </a:rPr>
              <a:t>Text</a:t>
            </a:r>
          </a:p>
        </p:txBody>
      </p:sp>
      <p:sp>
        <p:nvSpPr>
          <p:cNvPr id="35" name="Oval 5">
            <a:extLst>
              <a:ext uri="{FF2B5EF4-FFF2-40B4-BE49-F238E27FC236}">
                <a16:creationId xmlns:a16="http://schemas.microsoft.com/office/drawing/2014/main" id="{CF666563-3F15-4FB4-AD79-99144712AF7F}"/>
              </a:ext>
            </a:extLst>
          </p:cNvPr>
          <p:cNvSpPr>
            <a:spLocks noChangeArrowheads="1"/>
          </p:cNvSpPr>
          <p:nvPr/>
        </p:nvSpPr>
        <p:spPr bwMode="auto">
          <a:xfrm>
            <a:off x="3674252" y="3138145"/>
            <a:ext cx="2871788" cy="2935287"/>
          </a:xfrm>
          <a:prstGeom prst="ellipse">
            <a:avLst/>
          </a:prstGeom>
          <a:solidFill>
            <a:schemeClr val="accent3">
              <a:lumMod val="20000"/>
              <a:lumOff val="80000"/>
            </a:schemeClr>
          </a:solidFill>
          <a:ln w="6350">
            <a:noFill/>
            <a:round/>
            <a:headEnd/>
            <a:tailEnd/>
          </a:ln>
          <a:effectLst/>
        </p:spPr>
        <p:txBody>
          <a:bodyPr lIns="72000" tIns="72000" rIns="72000" bIns="72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Arial"/>
                <a:ea typeface="+mn-ea"/>
                <a:cs typeface="+mn-cs"/>
              </a:rPr>
              <a:t>Text</a:t>
            </a:r>
          </a:p>
        </p:txBody>
      </p:sp>
      <p:sp>
        <p:nvSpPr>
          <p:cNvPr id="37" name="Freeform 7">
            <a:extLst>
              <a:ext uri="{FF2B5EF4-FFF2-40B4-BE49-F238E27FC236}">
                <a16:creationId xmlns:a16="http://schemas.microsoft.com/office/drawing/2014/main" id="{27FC5E77-35AF-455F-BD1E-0737037E6CFE}"/>
              </a:ext>
              <a:ext uri="{C183D7F6-B498-43B3-948B-1728B52AA6E4}">
                <adec:decorative xmlns:adec="http://schemas.microsoft.com/office/drawing/2017/decorative" val="1"/>
              </a:ext>
            </a:extLst>
          </p:cNvPr>
          <p:cNvSpPr>
            <a:spLocks/>
          </p:cNvSpPr>
          <p:nvPr/>
        </p:nvSpPr>
        <p:spPr bwMode="auto">
          <a:xfrm>
            <a:off x="4675965" y="3134970"/>
            <a:ext cx="1855787" cy="1314450"/>
          </a:xfrm>
          <a:custGeom>
            <a:avLst/>
            <a:gdLst/>
            <a:ahLst/>
            <a:cxnLst>
              <a:cxn ang="0">
                <a:pos x="1146" y="783"/>
              </a:cxn>
              <a:cxn ang="0">
                <a:pos x="1079" y="801"/>
              </a:cxn>
              <a:cxn ang="0">
                <a:pos x="1009" y="812"/>
              </a:cxn>
              <a:cxn ang="0">
                <a:pos x="938" y="816"/>
              </a:cxn>
              <a:cxn ang="0">
                <a:pos x="860" y="816"/>
              </a:cxn>
              <a:cxn ang="0">
                <a:pos x="775" y="808"/>
              </a:cxn>
              <a:cxn ang="0">
                <a:pos x="695" y="793"/>
              </a:cxn>
              <a:cxn ang="0">
                <a:pos x="616" y="772"/>
              </a:cxn>
              <a:cxn ang="0">
                <a:pos x="541" y="743"/>
              </a:cxn>
              <a:cxn ang="0">
                <a:pos x="468" y="708"/>
              </a:cxn>
              <a:cxn ang="0">
                <a:pos x="399" y="666"/>
              </a:cxn>
              <a:cxn ang="0">
                <a:pos x="336" y="620"/>
              </a:cxn>
              <a:cxn ang="0">
                <a:pos x="274" y="568"/>
              </a:cxn>
              <a:cxn ang="0">
                <a:pos x="221" y="511"/>
              </a:cxn>
              <a:cxn ang="0">
                <a:pos x="169" y="449"/>
              </a:cxn>
              <a:cxn ang="0">
                <a:pos x="125" y="384"/>
              </a:cxn>
              <a:cxn ang="0">
                <a:pos x="86" y="313"/>
              </a:cxn>
              <a:cxn ang="0">
                <a:pos x="52" y="240"/>
              </a:cxn>
              <a:cxn ang="0">
                <a:pos x="27" y="163"/>
              </a:cxn>
              <a:cxn ang="0">
                <a:pos x="6" y="85"/>
              </a:cxn>
              <a:cxn ang="0">
                <a:pos x="33" y="35"/>
              </a:cxn>
              <a:cxn ang="0">
                <a:pos x="100" y="17"/>
              </a:cxn>
              <a:cxn ang="0">
                <a:pos x="171" y="6"/>
              </a:cxn>
              <a:cxn ang="0">
                <a:pos x="242" y="2"/>
              </a:cxn>
              <a:cxn ang="0">
                <a:pos x="320" y="2"/>
              </a:cxn>
              <a:cxn ang="0">
                <a:pos x="403" y="10"/>
              </a:cxn>
              <a:cxn ang="0">
                <a:pos x="484" y="25"/>
              </a:cxn>
              <a:cxn ang="0">
                <a:pos x="562" y="46"/>
              </a:cxn>
              <a:cxn ang="0">
                <a:pos x="637" y="75"/>
              </a:cxn>
              <a:cxn ang="0">
                <a:pos x="710" y="110"/>
              </a:cxn>
              <a:cxn ang="0">
                <a:pos x="779" y="152"/>
              </a:cxn>
              <a:cxn ang="0">
                <a:pos x="842" y="198"/>
              </a:cxn>
              <a:cxn ang="0">
                <a:pos x="902" y="250"/>
              </a:cxn>
              <a:cxn ang="0">
                <a:pos x="958" y="307"/>
              </a:cxn>
              <a:cxn ang="0">
                <a:pos x="1008" y="369"/>
              </a:cxn>
              <a:cxn ang="0">
                <a:pos x="1054" y="434"/>
              </a:cxn>
              <a:cxn ang="0">
                <a:pos x="1092" y="505"/>
              </a:cxn>
              <a:cxn ang="0">
                <a:pos x="1125" y="578"/>
              </a:cxn>
              <a:cxn ang="0">
                <a:pos x="1151" y="655"/>
              </a:cxn>
              <a:cxn ang="0">
                <a:pos x="1171" y="733"/>
              </a:cxn>
            </a:cxnLst>
            <a:rect l="0" t="0" r="r" b="b"/>
            <a:pathLst>
              <a:path w="1178" h="818">
                <a:moveTo>
                  <a:pt x="1178" y="774"/>
                </a:moveTo>
                <a:lnTo>
                  <a:pt x="1146" y="783"/>
                </a:lnTo>
                <a:lnTo>
                  <a:pt x="1113" y="793"/>
                </a:lnTo>
                <a:lnTo>
                  <a:pt x="1079" y="801"/>
                </a:lnTo>
                <a:lnTo>
                  <a:pt x="1044" y="806"/>
                </a:lnTo>
                <a:lnTo>
                  <a:pt x="1009" y="812"/>
                </a:lnTo>
                <a:lnTo>
                  <a:pt x="973" y="814"/>
                </a:lnTo>
                <a:lnTo>
                  <a:pt x="938" y="816"/>
                </a:lnTo>
                <a:lnTo>
                  <a:pt x="902" y="818"/>
                </a:lnTo>
                <a:lnTo>
                  <a:pt x="860" y="816"/>
                </a:lnTo>
                <a:lnTo>
                  <a:pt x="818" y="814"/>
                </a:lnTo>
                <a:lnTo>
                  <a:pt x="775" y="808"/>
                </a:lnTo>
                <a:lnTo>
                  <a:pt x="735" y="802"/>
                </a:lnTo>
                <a:lnTo>
                  <a:pt x="695" y="793"/>
                </a:lnTo>
                <a:lnTo>
                  <a:pt x="654" y="783"/>
                </a:lnTo>
                <a:lnTo>
                  <a:pt x="616" y="772"/>
                </a:lnTo>
                <a:lnTo>
                  <a:pt x="578" y="758"/>
                </a:lnTo>
                <a:lnTo>
                  <a:pt x="541" y="743"/>
                </a:lnTo>
                <a:lnTo>
                  <a:pt x="505" y="726"/>
                </a:lnTo>
                <a:lnTo>
                  <a:pt x="468" y="708"/>
                </a:lnTo>
                <a:lnTo>
                  <a:pt x="434" y="687"/>
                </a:lnTo>
                <a:lnTo>
                  <a:pt x="399" y="666"/>
                </a:lnTo>
                <a:lnTo>
                  <a:pt x="366" y="643"/>
                </a:lnTo>
                <a:lnTo>
                  <a:pt x="336" y="620"/>
                </a:lnTo>
                <a:lnTo>
                  <a:pt x="305" y="595"/>
                </a:lnTo>
                <a:lnTo>
                  <a:pt x="274" y="568"/>
                </a:lnTo>
                <a:lnTo>
                  <a:pt x="247" y="540"/>
                </a:lnTo>
                <a:lnTo>
                  <a:pt x="221" y="511"/>
                </a:lnTo>
                <a:lnTo>
                  <a:pt x="194" y="480"/>
                </a:lnTo>
                <a:lnTo>
                  <a:pt x="169" y="449"/>
                </a:lnTo>
                <a:lnTo>
                  <a:pt x="146" y="417"/>
                </a:lnTo>
                <a:lnTo>
                  <a:pt x="125" y="384"/>
                </a:lnTo>
                <a:lnTo>
                  <a:pt x="104" y="350"/>
                </a:lnTo>
                <a:lnTo>
                  <a:pt x="86" y="313"/>
                </a:lnTo>
                <a:lnTo>
                  <a:pt x="69" y="278"/>
                </a:lnTo>
                <a:lnTo>
                  <a:pt x="52" y="240"/>
                </a:lnTo>
                <a:lnTo>
                  <a:pt x="38" y="204"/>
                </a:lnTo>
                <a:lnTo>
                  <a:pt x="27" y="163"/>
                </a:lnTo>
                <a:lnTo>
                  <a:pt x="15" y="125"/>
                </a:lnTo>
                <a:lnTo>
                  <a:pt x="6" y="85"/>
                </a:lnTo>
                <a:lnTo>
                  <a:pt x="0" y="44"/>
                </a:lnTo>
                <a:lnTo>
                  <a:pt x="33" y="35"/>
                </a:lnTo>
                <a:lnTo>
                  <a:pt x="65" y="25"/>
                </a:lnTo>
                <a:lnTo>
                  <a:pt x="100" y="17"/>
                </a:lnTo>
                <a:lnTo>
                  <a:pt x="134" y="12"/>
                </a:lnTo>
                <a:lnTo>
                  <a:pt x="171" y="6"/>
                </a:lnTo>
                <a:lnTo>
                  <a:pt x="205" y="4"/>
                </a:lnTo>
                <a:lnTo>
                  <a:pt x="242" y="2"/>
                </a:lnTo>
                <a:lnTo>
                  <a:pt x="278" y="0"/>
                </a:lnTo>
                <a:lnTo>
                  <a:pt x="320" y="2"/>
                </a:lnTo>
                <a:lnTo>
                  <a:pt x="363" y="4"/>
                </a:lnTo>
                <a:lnTo>
                  <a:pt x="403" y="10"/>
                </a:lnTo>
                <a:lnTo>
                  <a:pt x="443" y="16"/>
                </a:lnTo>
                <a:lnTo>
                  <a:pt x="484" y="25"/>
                </a:lnTo>
                <a:lnTo>
                  <a:pt x="524" y="35"/>
                </a:lnTo>
                <a:lnTo>
                  <a:pt x="562" y="46"/>
                </a:lnTo>
                <a:lnTo>
                  <a:pt x="601" y="60"/>
                </a:lnTo>
                <a:lnTo>
                  <a:pt x="637" y="75"/>
                </a:lnTo>
                <a:lnTo>
                  <a:pt x="674" y="92"/>
                </a:lnTo>
                <a:lnTo>
                  <a:pt x="710" y="110"/>
                </a:lnTo>
                <a:lnTo>
                  <a:pt x="745" y="131"/>
                </a:lnTo>
                <a:lnTo>
                  <a:pt x="779" y="152"/>
                </a:lnTo>
                <a:lnTo>
                  <a:pt x="812" y="175"/>
                </a:lnTo>
                <a:lnTo>
                  <a:pt x="842" y="198"/>
                </a:lnTo>
                <a:lnTo>
                  <a:pt x="873" y="223"/>
                </a:lnTo>
                <a:lnTo>
                  <a:pt x="902" y="250"/>
                </a:lnTo>
                <a:lnTo>
                  <a:pt x="931" y="278"/>
                </a:lnTo>
                <a:lnTo>
                  <a:pt x="958" y="307"/>
                </a:lnTo>
                <a:lnTo>
                  <a:pt x="984" y="338"/>
                </a:lnTo>
                <a:lnTo>
                  <a:pt x="1008" y="369"/>
                </a:lnTo>
                <a:lnTo>
                  <a:pt x="1032" y="401"/>
                </a:lnTo>
                <a:lnTo>
                  <a:pt x="1054" y="434"/>
                </a:lnTo>
                <a:lnTo>
                  <a:pt x="1073" y="468"/>
                </a:lnTo>
                <a:lnTo>
                  <a:pt x="1092" y="505"/>
                </a:lnTo>
                <a:lnTo>
                  <a:pt x="1109" y="540"/>
                </a:lnTo>
                <a:lnTo>
                  <a:pt x="1125" y="578"/>
                </a:lnTo>
                <a:lnTo>
                  <a:pt x="1140" y="616"/>
                </a:lnTo>
                <a:lnTo>
                  <a:pt x="1151" y="655"/>
                </a:lnTo>
                <a:lnTo>
                  <a:pt x="1163" y="693"/>
                </a:lnTo>
                <a:lnTo>
                  <a:pt x="1171" y="733"/>
                </a:lnTo>
                <a:lnTo>
                  <a:pt x="1178" y="774"/>
                </a:lnTo>
                <a:close/>
              </a:path>
            </a:pathLst>
          </a:custGeom>
          <a:solidFill>
            <a:schemeClr val="accent1"/>
          </a:solidFill>
          <a:ln w="6350" cmpd="sng">
            <a:noFill/>
            <a:round/>
            <a:headEnd/>
            <a:tailEnd/>
          </a:ln>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 name="Freeform 8">
            <a:extLst>
              <a:ext uri="{FF2B5EF4-FFF2-40B4-BE49-F238E27FC236}">
                <a16:creationId xmlns:a16="http://schemas.microsoft.com/office/drawing/2014/main" id="{5A4A3132-0953-4D13-96CF-403EB3330F90}"/>
              </a:ext>
              <a:ext uri="{C183D7F6-B498-43B3-948B-1728B52AA6E4}">
                <adec:decorative xmlns:adec="http://schemas.microsoft.com/office/drawing/2017/decorative" val="1"/>
              </a:ext>
            </a:extLst>
          </p:cNvPr>
          <p:cNvSpPr>
            <a:spLocks/>
          </p:cNvSpPr>
          <p:nvPr/>
        </p:nvSpPr>
        <p:spPr bwMode="auto">
          <a:xfrm>
            <a:off x="5652277" y="3125445"/>
            <a:ext cx="1873250" cy="1331912"/>
          </a:xfrm>
          <a:custGeom>
            <a:avLst/>
            <a:gdLst/>
            <a:ahLst/>
            <a:cxnLst>
              <a:cxn ang="0">
                <a:pos x="7" y="733"/>
              </a:cxn>
              <a:cxn ang="0">
                <a:pos x="27" y="655"/>
              </a:cxn>
              <a:cxn ang="0">
                <a:pos x="53" y="578"/>
              </a:cxn>
              <a:cxn ang="0">
                <a:pos x="86" y="505"/>
              </a:cxn>
              <a:cxn ang="0">
                <a:pos x="124" y="434"/>
              </a:cxn>
              <a:cxn ang="0">
                <a:pos x="170" y="369"/>
              </a:cxn>
              <a:cxn ang="0">
                <a:pos x="220" y="307"/>
              </a:cxn>
              <a:cxn ang="0">
                <a:pos x="276" y="250"/>
              </a:cxn>
              <a:cxn ang="0">
                <a:pos x="336" y="198"/>
              </a:cxn>
              <a:cxn ang="0">
                <a:pos x="399" y="152"/>
              </a:cxn>
              <a:cxn ang="0">
                <a:pos x="468" y="110"/>
              </a:cxn>
              <a:cxn ang="0">
                <a:pos x="541" y="75"/>
              </a:cxn>
              <a:cxn ang="0">
                <a:pos x="616" y="46"/>
              </a:cxn>
              <a:cxn ang="0">
                <a:pos x="694" y="25"/>
              </a:cxn>
              <a:cxn ang="0">
                <a:pos x="775" y="10"/>
              </a:cxn>
              <a:cxn ang="0">
                <a:pos x="860" y="2"/>
              </a:cxn>
              <a:cxn ang="0">
                <a:pos x="938" y="2"/>
              </a:cxn>
              <a:cxn ang="0">
                <a:pos x="1009" y="6"/>
              </a:cxn>
              <a:cxn ang="0">
                <a:pos x="1078" y="17"/>
              </a:cxn>
              <a:cxn ang="0">
                <a:pos x="1145" y="35"/>
              </a:cxn>
              <a:cxn ang="0">
                <a:pos x="1172" y="85"/>
              </a:cxn>
              <a:cxn ang="0">
                <a:pos x="1151" y="163"/>
              </a:cxn>
              <a:cxn ang="0">
                <a:pos x="1126" y="240"/>
              </a:cxn>
              <a:cxn ang="0">
                <a:pos x="1092" y="313"/>
              </a:cxn>
              <a:cxn ang="0">
                <a:pos x="1053" y="384"/>
              </a:cxn>
              <a:cxn ang="0">
                <a:pos x="1009" y="449"/>
              </a:cxn>
              <a:cxn ang="0">
                <a:pos x="959" y="511"/>
              </a:cxn>
              <a:cxn ang="0">
                <a:pos x="904" y="568"/>
              </a:cxn>
              <a:cxn ang="0">
                <a:pos x="842" y="620"/>
              </a:cxn>
              <a:cxn ang="0">
                <a:pos x="779" y="666"/>
              </a:cxn>
              <a:cxn ang="0">
                <a:pos x="710" y="708"/>
              </a:cxn>
              <a:cxn ang="0">
                <a:pos x="639" y="743"/>
              </a:cxn>
              <a:cxn ang="0">
                <a:pos x="562" y="772"/>
              </a:cxn>
              <a:cxn ang="0">
                <a:pos x="485" y="793"/>
              </a:cxn>
              <a:cxn ang="0">
                <a:pos x="403" y="808"/>
              </a:cxn>
              <a:cxn ang="0">
                <a:pos x="320" y="816"/>
              </a:cxn>
              <a:cxn ang="0">
                <a:pos x="241" y="816"/>
              </a:cxn>
              <a:cxn ang="0">
                <a:pos x="170" y="812"/>
              </a:cxn>
              <a:cxn ang="0">
                <a:pos x="99" y="801"/>
              </a:cxn>
              <a:cxn ang="0">
                <a:pos x="32" y="783"/>
              </a:cxn>
            </a:cxnLst>
            <a:rect l="0" t="0" r="r" b="b"/>
            <a:pathLst>
              <a:path w="1178" h="818">
                <a:moveTo>
                  <a:pt x="0" y="774"/>
                </a:moveTo>
                <a:lnTo>
                  <a:pt x="7" y="733"/>
                </a:lnTo>
                <a:lnTo>
                  <a:pt x="15" y="693"/>
                </a:lnTo>
                <a:lnTo>
                  <a:pt x="27" y="655"/>
                </a:lnTo>
                <a:lnTo>
                  <a:pt x="38" y="614"/>
                </a:lnTo>
                <a:lnTo>
                  <a:pt x="53" y="578"/>
                </a:lnTo>
                <a:lnTo>
                  <a:pt x="69" y="540"/>
                </a:lnTo>
                <a:lnTo>
                  <a:pt x="86" y="505"/>
                </a:lnTo>
                <a:lnTo>
                  <a:pt x="105" y="468"/>
                </a:lnTo>
                <a:lnTo>
                  <a:pt x="124" y="434"/>
                </a:lnTo>
                <a:lnTo>
                  <a:pt x="147" y="401"/>
                </a:lnTo>
                <a:lnTo>
                  <a:pt x="170" y="369"/>
                </a:lnTo>
                <a:lnTo>
                  <a:pt x="194" y="338"/>
                </a:lnTo>
                <a:lnTo>
                  <a:pt x="220" y="307"/>
                </a:lnTo>
                <a:lnTo>
                  <a:pt x="247" y="278"/>
                </a:lnTo>
                <a:lnTo>
                  <a:pt x="276" y="250"/>
                </a:lnTo>
                <a:lnTo>
                  <a:pt x="305" y="223"/>
                </a:lnTo>
                <a:lnTo>
                  <a:pt x="336" y="198"/>
                </a:lnTo>
                <a:lnTo>
                  <a:pt x="366" y="175"/>
                </a:lnTo>
                <a:lnTo>
                  <a:pt x="399" y="152"/>
                </a:lnTo>
                <a:lnTo>
                  <a:pt x="433" y="131"/>
                </a:lnTo>
                <a:lnTo>
                  <a:pt x="468" y="110"/>
                </a:lnTo>
                <a:lnTo>
                  <a:pt x="504" y="92"/>
                </a:lnTo>
                <a:lnTo>
                  <a:pt x="541" y="75"/>
                </a:lnTo>
                <a:lnTo>
                  <a:pt x="577" y="60"/>
                </a:lnTo>
                <a:lnTo>
                  <a:pt x="616" y="46"/>
                </a:lnTo>
                <a:lnTo>
                  <a:pt x="654" y="35"/>
                </a:lnTo>
                <a:lnTo>
                  <a:pt x="694" y="25"/>
                </a:lnTo>
                <a:lnTo>
                  <a:pt x="735" y="16"/>
                </a:lnTo>
                <a:lnTo>
                  <a:pt x="775" y="10"/>
                </a:lnTo>
                <a:lnTo>
                  <a:pt x="817" y="4"/>
                </a:lnTo>
                <a:lnTo>
                  <a:pt x="860" y="2"/>
                </a:lnTo>
                <a:lnTo>
                  <a:pt x="902" y="0"/>
                </a:lnTo>
                <a:lnTo>
                  <a:pt x="938" y="2"/>
                </a:lnTo>
                <a:lnTo>
                  <a:pt x="973" y="4"/>
                </a:lnTo>
                <a:lnTo>
                  <a:pt x="1009" y="6"/>
                </a:lnTo>
                <a:lnTo>
                  <a:pt x="1044" y="12"/>
                </a:lnTo>
                <a:lnTo>
                  <a:pt x="1078" y="17"/>
                </a:lnTo>
                <a:lnTo>
                  <a:pt x="1113" y="25"/>
                </a:lnTo>
                <a:lnTo>
                  <a:pt x="1145" y="35"/>
                </a:lnTo>
                <a:lnTo>
                  <a:pt x="1178" y="44"/>
                </a:lnTo>
                <a:lnTo>
                  <a:pt x="1172" y="85"/>
                </a:lnTo>
                <a:lnTo>
                  <a:pt x="1163" y="125"/>
                </a:lnTo>
                <a:lnTo>
                  <a:pt x="1151" y="163"/>
                </a:lnTo>
                <a:lnTo>
                  <a:pt x="1140" y="202"/>
                </a:lnTo>
                <a:lnTo>
                  <a:pt x="1126" y="240"/>
                </a:lnTo>
                <a:lnTo>
                  <a:pt x="1109" y="277"/>
                </a:lnTo>
                <a:lnTo>
                  <a:pt x="1092" y="313"/>
                </a:lnTo>
                <a:lnTo>
                  <a:pt x="1074" y="350"/>
                </a:lnTo>
                <a:lnTo>
                  <a:pt x="1053" y="384"/>
                </a:lnTo>
                <a:lnTo>
                  <a:pt x="1032" y="417"/>
                </a:lnTo>
                <a:lnTo>
                  <a:pt x="1009" y="449"/>
                </a:lnTo>
                <a:lnTo>
                  <a:pt x="984" y="480"/>
                </a:lnTo>
                <a:lnTo>
                  <a:pt x="959" y="511"/>
                </a:lnTo>
                <a:lnTo>
                  <a:pt x="931" y="540"/>
                </a:lnTo>
                <a:lnTo>
                  <a:pt x="904" y="568"/>
                </a:lnTo>
                <a:lnTo>
                  <a:pt x="873" y="595"/>
                </a:lnTo>
                <a:lnTo>
                  <a:pt x="842" y="620"/>
                </a:lnTo>
                <a:lnTo>
                  <a:pt x="812" y="643"/>
                </a:lnTo>
                <a:lnTo>
                  <a:pt x="779" y="666"/>
                </a:lnTo>
                <a:lnTo>
                  <a:pt x="744" y="687"/>
                </a:lnTo>
                <a:lnTo>
                  <a:pt x="710" y="708"/>
                </a:lnTo>
                <a:lnTo>
                  <a:pt x="675" y="726"/>
                </a:lnTo>
                <a:lnTo>
                  <a:pt x="639" y="743"/>
                </a:lnTo>
                <a:lnTo>
                  <a:pt x="600" y="758"/>
                </a:lnTo>
                <a:lnTo>
                  <a:pt x="562" y="772"/>
                </a:lnTo>
                <a:lnTo>
                  <a:pt x="524" y="783"/>
                </a:lnTo>
                <a:lnTo>
                  <a:pt x="485" y="793"/>
                </a:lnTo>
                <a:lnTo>
                  <a:pt x="445" y="802"/>
                </a:lnTo>
                <a:lnTo>
                  <a:pt x="403" y="808"/>
                </a:lnTo>
                <a:lnTo>
                  <a:pt x="362" y="814"/>
                </a:lnTo>
                <a:lnTo>
                  <a:pt x="320" y="816"/>
                </a:lnTo>
                <a:lnTo>
                  <a:pt x="278" y="818"/>
                </a:lnTo>
                <a:lnTo>
                  <a:pt x="241" y="816"/>
                </a:lnTo>
                <a:lnTo>
                  <a:pt x="205" y="814"/>
                </a:lnTo>
                <a:lnTo>
                  <a:pt x="170" y="812"/>
                </a:lnTo>
                <a:lnTo>
                  <a:pt x="134" y="806"/>
                </a:lnTo>
                <a:lnTo>
                  <a:pt x="99" y="801"/>
                </a:lnTo>
                <a:lnTo>
                  <a:pt x="67" y="793"/>
                </a:lnTo>
                <a:lnTo>
                  <a:pt x="32" y="783"/>
                </a:lnTo>
                <a:lnTo>
                  <a:pt x="0" y="774"/>
                </a:lnTo>
                <a:close/>
              </a:path>
            </a:pathLst>
          </a:custGeom>
          <a:solidFill>
            <a:schemeClr val="accent1"/>
          </a:solidFill>
          <a:ln w="6350" cap="flat" cmpd="sng">
            <a:noFill/>
            <a:prstDash val="solid"/>
            <a:round/>
            <a:headEnd type="none" w="med" len="med"/>
            <a:tailEnd type="none" w="med" len="me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 name="Freeform 9">
            <a:extLst>
              <a:ext uri="{FF2B5EF4-FFF2-40B4-BE49-F238E27FC236}">
                <a16:creationId xmlns:a16="http://schemas.microsoft.com/office/drawing/2014/main" id="{5A8A8D4A-E499-4661-B880-7647BD47E600}"/>
              </a:ext>
              <a:ext uri="{C183D7F6-B498-43B3-948B-1728B52AA6E4}">
                <adec:decorative xmlns:adec="http://schemas.microsoft.com/office/drawing/2017/decorative" val="1"/>
              </a:ext>
            </a:extLst>
          </p:cNvPr>
          <p:cNvSpPr>
            <a:spLocks/>
          </p:cNvSpPr>
          <p:nvPr/>
        </p:nvSpPr>
        <p:spPr bwMode="auto">
          <a:xfrm>
            <a:off x="5634815" y="3542957"/>
            <a:ext cx="917575" cy="2141538"/>
          </a:xfrm>
          <a:custGeom>
            <a:avLst/>
            <a:gdLst/>
            <a:ahLst/>
            <a:cxnLst>
              <a:cxn ang="0">
                <a:pos x="576" y="714"/>
              </a:cxn>
              <a:cxn ang="0">
                <a:pos x="566" y="810"/>
              </a:cxn>
              <a:cxn ang="0">
                <a:pos x="547" y="902"/>
              </a:cxn>
              <a:cxn ang="0">
                <a:pos x="518" y="990"/>
              </a:cxn>
              <a:cxn ang="0">
                <a:pos x="480" y="1075"/>
              </a:cxn>
              <a:cxn ang="0">
                <a:pos x="434" y="1155"/>
              </a:cxn>
              <a:cxn ang="0">
                <a:pos x="382" y="1228"/>
              </a:cxn>
              <a:cxn ang="0">
                <a:pos x="321" y="1297"/>
              </a:cxn>
              <a:cxn ang="0">
                <a:pos x="257" y="1297"/>
              </a:cxn>
              <a:cxn ang="0">
                <a:pos x="196" y="1228"/>
              </a:cxn>
              <a:cxn ang="0">
                <a:pos x="144" y="1155"/>
              </a:cxn>
              <a:cxn ang="0">
                <a:pos x="98" y="1075"/>
              </a:cxn>
              <a:cxn ang="0">
                <a:pos x="60" y="990"/>
              </a:cxn>
              <a:cxn ang="0">
                <a:pos x="31" y="902"/>
              </a:cxn>
              <a:cxn ang="0">
                <a:pos x="12" y="810"/>
              </a:cxn>
              <a:cxn ang="0">
                <a:pos x="2" y="714"/>
              </a:cxn>
              <a:cxn ang="0">
                <a:pos x="2" y="616"/>
              </a:cxn>
              <a:cxn ang="0">
                <a:pos x="12" y="522"/>
              </a:cxn>
              <a:cxn ang="0">
                <a:pos x="31" y="430"/>
              </a:cxn>
              <a:cxn ang="0">
                <a:pos x="60" y="339"/>
              </a:cxn>
              <a:cxn ang="0">
                <a:pos x="98" y="255"/>
              </a:cxn>
              <a:cxn ang="0">
                <a:pos x="144" y="176"/>
              </a:cxn>
              <a:cxn ang="0">
                <a:pos x="196" y="102"/>
              </a:cxn>
              <a:cxn ang="0">
                <a:pos x="257" y="32"/>
              </a:cxn>
              <a:cxn ang="0">
                <a:pos x="321" y="32"/>
              </a:cxn>
              <a:cxn ang="0">
                <a:pos x="382" y="102"/>
              </a:cxn>
              <a:cxn ang="0">
                <a:pos x="434" y="176"/>
              </a:cxn>
              <a:cxn ang="0">
                <a:pos x="480" y="255"/>
              </a:cxn>
              <a:cxn ang="0">
                <a:pos x="518" y="339"/>
              </a:cxn>
              <a:cxn ang="0">
                <a:pos x="547" y="430"/>
              </a:cxn>
              <a:cxn ang="0">
                <a:pos x="566" y="522"/>
              </a:cxn>
              <a:cxn ang="0">
                <a:pos x="576" y="616"/>
              </a:cxn>
            </a:cxnLst>
            <a:rect l="0" t="0" r="r" b="b"/>
            <a:pathLst>
              <a:path w="578" h="1330">
                <a:moveTo>
                  <a:pt x="578" y="666"/>
                </a:moveTo>
                <a:lnTo>
                  <a:pt x="576" y="714"/>
                </a:lnTo>
                <a:lnTo>
                  <a:pt x="572" y="762"/>
                </a:lnTo>
                <a:lnTo>
                  <a:pt x="566" y="810"/>
                </a:lnTo>
                <a:lnTo>
                  <a:pt x="557" y="856"/>
                </a:lnTo>
                <a:lnTo>
                  <a:pt x="547" y="902"/>
                </a:lnTo>
                <a:lnTo>
                  <a:pt x="534" y="946"/>
                </a:lnTo>
                <a:lnTo>
                  <a:pt x="518" y="990"/>
                </a:lnTo>
                <a:lnTo>
                  <a:pt x="499" y="1032"/>
                </a:lnTo>
                <a:lnTo>
                  <a:pt x="480" y="1075"/>
                </a:lnTo>
                <a:lnTo>
                  <a:pt x="459" y="1115"/>
                </a:lnTo>
                <a:lnTo>
                  <a:pt x="434" y="1155"/>
                </a:lnTo>
                <a:lnTo>
                  <a:pt x="409" y="1192"/>
                </a:lnTo>
                <a:lnTo>
                  <a:pt x="382" y="1228"/>
                </a:lnTo>
                <a:lnTo>
                  <a:pt x="353" y="1265"/>
                </a:lnTo>
                <a:lnTo>
                  <a:pt x="321" y="1297"/>
                </a:lnTo>
                <a:lnTo>
                  <a:pt x="290" y="1330"/>
                </a:lnTo>
                <a:lnTo>
                  <a:pt x="257" y="1297"/>
                </a:lnTo>
                <a:lnTo>
                  <a:pt x="227" y="1265"/>
                </a:lnTo>
                <a:lnTo>
                  <a:pt x="196" y="1228"/>
                </a:lnTo>
                <a:lnTo>
                  <a:pt x="169" y="1192"/>
                </a:lnTo>
                <a:lnTo>
                  <a:pt x="144" y="1155"/>
                </a:lnTo>
                <a:lnTo>
                  <a:pt x="119" y="1115"/>
                </a:lnTo>
                <a:lnTo>
                  <a:pt x="98" y="1075"/>
                </a:lnTo>
                <a:lnTo>
                  <a:pt x="79" y="1032"/>
                </a:lnTo>
                <a:lnTo>
                  <a:pt x="60" y="990"/>
                </a:lnTo>
                <a:lnTo>
                  <a:pt x="44" y="946"/>
                </a:lnTo>
                <a:lnTo>
                  <a:pt x="31" y="902"/>
                </a:lnTo>
                <a:lnTo>
                  <a:pt x="21" y="856"/>
                </a:lnTo>
                <a:lnTo>
                  <a:pt x="12" y="810"/>
                </a:lnTo>
                <a:lnTo>
                  <a:pt x="6" y="762"/>
                </a:lnTo>
                <a:lnTo>
                  <a:pt x="2" y="714"/>
                </a:lnTo>
                <a:lnTo>
                  <a:pt x="0" y="666"/>
                </a:lnTo>
                <a:lnTo>
                  <a:pt x="2" y="616"/>
                </a:lnTo>
                <a:lnTo>
                  <a:pt x="6" y="568"/>
                </a:lnTo>
                <a:lnTo>
                  <a:pt x="12" y="522"/>
                </a:lnTo>
                <a:lnTo>
                  <a:pt x="21" y="474"/>
                </a:lnTo>
                <a:lnTo>
                  <a:pt x="31" y="430"/>
                </a:lnTo>
                <a:lnTo>
                  <a:pt x="44" y="384"/>
                </a:lnTo>
                <a:lnTo>
                  <a:pt x="60" y="339"/>
                </a:lnTo>
                <a:lnTo>
                  <a:pt x="79" y="297"/>
                </a:lnTo>
                <a:lnTo>
                  <a:pt x="98" y="255"/>
                </a:lnTo>
                <a:lnTo>
                  <a:pt x="119" y="215"/>
                </a:lnTo>
                <a:lnTo>
                  <a:pt x="144" y="176"/>
                </a:lnTo>
                <a:lnTo>
                  <a:pt x="169" y="138"/>
                </a:lnTo>
                <a:lnTo>
                  <a:pt x="196" y="102"/>
                </a:lnTo>
                <a:lnTo>
                  <a:pt x="227" y="67"/>
                </a:lnTo>
                <a:lnTo>
                  <a:pt x="257" y="32"/>
                </a:lnTo>
                <a:lnTo>
                  <a:pt x="290" y="0"/>
                </a:lnTo>
                <a:lnTo>
                  <a:pt x="321" y="32"/>
                </a:lnTo>
                <a:lnTo>
                  <a:pt x="353" y="67"/>
                </a:lnTo>
                <a:lnTo>
                  <a:pt x="382" y="102"/>
                </a:lnTo>
                <a:lnTo>
                  <a:pt x="409" y="138"/>
                </a:lnTo>
                <a:lnTo>
                  <a:pt x="434" y="176"/>
                </a:lnTo>
                <a:lnTo>
                  <a:pt x="459" y="215"/>
                </a:lnTo>
                <a:lnTo>
                  <a:pt x="480" y="255"/>
                </a:lnTo>
                <a:lnTo>
                  <a:pt x="499" y="297"/>
                </a:lnTo>
                <a:lnTo>
                  <a:pt x="518" y="339"/>
                </a:lnTo>
                <a:lnTo>
                  <a:pt x="534" y="384"/>
                </a:lnTo>
                <a:lnTo>
                  <a:pt x="547" y="430"/>
                </a:lnTo>
                <a:lnTo>
                  <a:pt x="557" y="474"/>
                </a:lnTo>
                <a:lnTo>
                  <a:pt x="566" y="522"/>
                </a:lnTo>
                <a:lnTo>
                  <a:pt x="572" y="568"/>
                </a:lnTo>
                <a:lnTo>
                  <a:pt x="576" y="616"/>
                </a:lnTo>
                <a:lnTo>
                  <a:pt x="578" y="666"/>
                </a:lnTo>
                <a:close/>
              </a:path>
            </a:pathLst>
          </a:custGeom>
          <a:solidFill>
            <a:schemeClr val="accent1"/>
          </a:solidFill>
          <a:ln w="6350" cmpd="sng">
            <a:noFill/>
            <a:round/>
            <a:headEnd/>
            <a:tailEnd/>
          </a:ln>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 name="Freeform 10">
            <a:extLst>
              <a:ext uri="{FF2B5EF4-FFF2-40B4-BE49-F238E27FC236}">
                <a16:creationId xmlns:a16="http://schemas.microsoft.com/office/drawing/2014/main" id="{F86E2465-B2E8-49DA-811A-60239B934023}"/>
              </a:ext>
              <a:ext uri="{C183D7F6-B498-43B3-948B-1728B52AA6E4}">
                <adec:decorative xmlns:adec="http://schemas.microsoft.com/office/drawing/2017/decorative" val="1"/>
              </a:ext>
            </a:extLst>
          </p:cNvPr>
          <p:cNvSpPr>
            <a:spLocks/>
          </p:cNvSpPr>
          <p:nvPr/>
        </p:nvSpPr>
        <p:spPr bwMode="auto">
          <a:xfrm>
            <a:off x="5658627" y="3536607"/>
            <a:ext cx="869950" cy="919163"/>
          </a:xfrm>
          <a:custGeom>
            <a:avLst/>
            <a:gdLst/>
            <a:ahLst/>
            <a:cxnLst>
              <a:cxn ang="0">
                <a:pos x="48" y="339"/>
              </a:cxn>
              <a:cxn ang="0">
                <a:pos x="155" y="142"/>
              </a:cxn>
              <a:cxn ang="0">
                <a:pos x="293" y="15"/>
              </a:cxn>
              <a:cxn ang="0">
                <a:pos x="378" y="111"/>
              </a:cxn>
              <a:cxn ang="0">
                <a:pos x="391" y="128"/>
              </a:cxn>
              <a:cxn ang="0">
                <a:pos x="395" y="136"/>
              </a:cxn>
              <a:cxn ang="0">
                <a:pos x="403" y="148"/>
              </a:cxn>
              <a:cxn ang="0">
                <a:pos x="403" y="148"/>
              </a:cxn>
              <a:cxn ang="0">
                <a:pos x="416" y="165"/>
              </a:cxn>
              <a:cxn ang="0">
                <a:pos x="422" y="176"/>
              </a:cxn>
              <a:cxn ang="0">
                <a:pos x="426" y="180"/>
              </a:cxn>
              <a:cxn ang="0">
                <a:pos x="432" y="192"/>
              </a:cxn>
              <a:cxn ang="0">
                <a:pos x="435" y="196"/>
              </a:cxn>
              <a:cxn ang="0">
                <a:pos x="439" y="203"/>
              </a:cxn>
              <a:cxn ang="0">
                <a:pos x="445" y="213"/>
              </a:cxn>
              <a:cxn ang="0">
                <a:pos x="447" y="215"/>
              </a:cxn>
              <a:cxn ang="0">
                <a:pos x="451" y="222"/>
              </a:cxn>
              <a:cxn ang="0">
                <a:pos x="453" y="226"/>
              </a:cxn>
              <a:cxn ang="0">
                <a:pos x="456" y="232"/>
              </a:cxn>
              <a:cxn ang="0">
                <a:pos x="460" y="242"/>
              </a:cxn>
              <a:cxn ang="0">
                <a:pos x="464" y="247"/>
              </a:cxn>
              <a:cxn ang="0">
                <a:pos x="468" y="255"/>
              </a:cxn>
              <a:cxn ang="0">
                <a:pos x="472" y="263"/>
              </a:cxn>
              <a:cxn ang="0">
                <a:pos x="474" y="268"/>
              </a:cxn>
              <a:cxn ang="0">
                <a:pos x="478" y="274"/>
              </a:cxn>
              <a:cxn ang="0">
                <a:pos x="481" y="282"/>
              </a:cxn>
              <a:cxn ang="0">
                <a:pos x="483" y="290"/>
              </a:cxn>
              <a:cxn ang="0">
                <a:pos x="487" y="295"/>
              </a:cxn>
              <a:cxn ang="0">
                <a:pos x="491" y="303"/>
              </a:cxn>
              <a:cxn ang="0">
                <a:pos x="493" y="311"/>
              </a:cxn>
              <a:cxn ang="0">
                <a:pos x="497" y="316"/>
              </a:cxn>
              <a:cxn ang="0">
                <a:pos x="499" y="324"/>
              </a:cxn>
              <a:cxn ang="0">
                <a:pos x="503" y="330"/>
              </a:cxn>
              <a:cxn ang="0">
                <a:pos x="504" y="338"/>
              </a:cxn>
              <a:cxn ang="0">
                <a:pos x="508" y="345"/>
              </a:cxn>
              <a:cxn ang="0">
                <a:pos x="508" y="349"/>
              </a:cxn>
              <a:cxn ang="0">
                <a:pos x="512" y="359"/>
              </a:cxn>
              <a:cxn ang="0">
                <a:pos x="516" y="366"/>
              </a:cxn>
              <a:cxn ang="0">
                <a:pos x="518" y="372"/>
              </a:cxn>
              <a:cxn ang="0">
                <a:pos x="520" y="384"/>
              </a:cxn>
              <a:cxn ang="0">
                <a:pos x="522" y="387"/>
              </a:cxn>
              <a:cxn ang="0">
                <a:pos x="524" y="395"/>
              </a:cxn>
              <a:cxn ang="0">
                <a:pos x="527" y="405"/>
              </a:cxn>
              <a:cxn ang="0">
                <a:pos x="527" y="407"/>
              </a:cxn>
              <a:cxn ang="0">
                <a:pos x="531" y="416"/>
              </a:cxn>
              <a:cxn ang="0">
                <a:pos x="533" y="424"/>
              </a:cxn>
              <a:cxn ang="0">
                <a:pos x="535" y="430"/>
              </a:cxn>
              <a:cxn ang="0">
                <a:pos x="537" y="441"/>
              </a:cxn>
              <a:cxn ang="0">
                <a:pos x="539" y="445"/>
              </a:cxn>
              <a:cxn ang="0">
                <a:pos x="541" y="455"/>
              </a:cxn>
              <a:cxn ang="0">
                <a:pos x="543" y="464"/>
              </a:cxn>
              <a:cxn ang="0">
                <a:pos x="543" y="468"/>
              </a:cxn>
              <a:cxn ang="0">
                <a:pos x="547" y="478"/>
              </a:cxn>
              <a:cxn ang="0">
                <a:pos x="547" y="485"/>
              </a:cxn>
              <a:cxn ang="0">
                <a:pos x="549" y="487"/>
              </a:cxn>
              <a:cxn ang="0">
                <a:pos x="551" y="501"/>
              </a:cxn>
              <a:cxn ang="0">
                <a:pos x="551" y="506"/>
              </a:cxn>
              <a:cxn ang="0">
                <a:pos x="552" y="514"/>
              </a:cxn>
              <a:cxn ang="0">
                <a:pos x="554" y="526"/>
              </a:cxn>
              <a:cxn ang="0">
                <a:pos x="554" y="526"/>
              </a:cxn>
              <a:cxn ang="0">
                <a:pos x="385" y="564"/>
              </a:cxn>
              <a:cxn ang="0">
                <a:pos x="170" y="564"/>
              </a:cxn>
            </a:cxnLst>
            <a:rect l="0" t="0" r="r" b="b"/>
            <a:pathLst>
              <a:path w="554" h="570">
                <a:moveTo>
                  <a:pt x="0" y="526"/>
                </a:moveTo>
                <a:lnTo>
                  <a:pt x="5" y="487"/>
                </a:lnTo>
                <a:lnTo>
                  <a:pt x="15" y="451"/>
                </a:lnTo>
                <a:lnTo>
                  <a:pt x="25" y="412"/>
                </a:lnTo>
                <a:lnTo>
                  <a:pt x="36" y="376"/>
                </a:lnTo>
                <a:lnTo>
                  <a:pt x="48" y="339"/>
                </a:lnTo>
                <a:lnTo>
                  <a:pt x="63" y="305"/>
                </a:lnTo>
                <a:lnTo>
                  <a:pt x="78" y="270"/>
                </a:lnTo>
                <a:lnTo>
                  <a:pt x="96" y="238"/>
                </a:lnTo>
                <a:lnTo>
                  <a:pt x="115" y="205"/>
                </a:lnTo>
                <a:lnTo>
                  <a:pt x="134" y="173"/>
                </a:lnTo>
                <a:lnTo>
                  <a:pt x="155" y="142"/>
                </a:lnTo>
                <a:lnTo>
                  <a:pt x="176" y="111"/>
                </a:lnTo>
                <a:lnTo>
                  <a:pt x="199" y="82"/>
                </a:lnTo>
                <a:lnTo>
                  <a:pt x="224" y="54"/>
                </a:lnTo>
                <a:lnTo>
                  <a:pt x="251" y="27"/>
                </a:lnTo>
                <a:lnTo>
                  <a:pt x="278" y="0"/>
                </a:lnTo>
                <a:lnTo>
                  <a:pt x="293" y="15"/>
                </a:lnTo>
                <a:lnTo>
                  <a:pt x="307" y="30"/>
                </a:lnTo>
                <a:lnTo>
                  <a:pt x="322" y="46"/>
                </a:lnTo>
                <a:lnTo>
                  <a:pt x="336" y="61"/>
                </a:lnTo>
                <a:lnTo>
                  <a:pt x="351" y="78"/>
                </a:lnTo>
                <a:lnTo>
                  <a:pt x="364" y="94"/>
                </a:lnTo>
                <a:lnTo>
                  <a:pt x="378" y="111"/>
                </a:lnTo>
                <a:lnTo>
                  <a:pt x="389" y="128"/>
                </a:lnTo>
                <a:lnTo>
                  <a:pt x="389" y="128"/>
                </a:lnTo>
                <a:lnTo>
                  <a:pt x="389" y="128"/>
                </a:lnTo>
                <a:lnTo>
                  <a:pt x="389" y="128"/>
                </a:lnTo>
                <a:lnTo>
                  <a:pt x="391" y="128"/>
                </a:lnTo>
                <a:lnTo>
                  <a:pt x="391" y="128"/>
                </a:lnTo>
                <a:lnTo>
                  <a:pt x="391" y="128"/>
                </a:lnTo>
                <a:lnTo>
                  <a:pt x="391" y="128"/>
                </a:lnTo>
                <a:lnTo>
                  <a:pt x="391" y="128"/>
                </a:lnTo>
                <a:lnTo>
                  <a:pt x="393" y="132"/>
                </a:lnTo>
                <a:lnTo>
                  <a:pt x="393" y="134"/>
                </a:lnTo>
                <a:lnTo>
                  <a:pt x="395" y="136"/>
                </a:lnTo>
                <a:lnTo>
                  <a:pt x="397" y="138"/>
                </a:lnTo>
                <a:lnTo>
                  <a:pt x="399" y="140"/>
                </a:lnTo>
                <a:lnTo>
                  <a:pt x="401" y="142"/>
                </a:lnTo>
                <a:lnTo>
                  <a:pt x="401" y="144"/>
                </a:lnTo>
                <a:lnTo>
                  <a:pt x="403" y="146"/>
                </a:lnTo>
                <a:lnTo>
                  <a:pt x="403" y="148"/>
                </a:lnTo>
                <a:lnTo>
                  <a:pt x="403" y="148"/>
                </a:lnTo>
                <a:lnTo>
                  <a:pt x="403" y="148"/>
                </a:lnTo>
                <a:lnTo>
                  <a:pt x="403" y="148"/>
                </a:lnTo>
                <a:lnTo>
                  <a:pt x="403" y="148"/>
                </a:lnTo>
                <a:lnTo>
                  <a:pt x="403" y="148"/>
                </a:lnTo>
                <a:lnTo>
                  <a:pt x="403" y="148"/>
                </a:lnTo>
                <a:lnTo>
                  <a:pt x="403" y="148"/>
                </a:lnTo>
                <a:lnTo>
                  <a:pt x="407" y="151"/>
                </a:lnTo>
                <a:lnTo>
                  <a:pt x="408" y="155"/>
                </a:lnTo>
                <a:lnTo>
                  <a:pt x="410" y="157"/>
                </a:lnTo>
                <a:lnTo>
                  <a:pt x="412" y="161"/>
                </a:lnTo>
                <a:lnTo>
                  <a:pt x="416" y="165"/>
                </a:lnTo>
                <a:lnTo>
                  <a:pt x="418" y="169"/>
                </a:lnTo>
                <a:lnTo>
                  <a:pt x="420" y="173"/>
                </a:lnTo>
                <a:lnTo>
                  <a:pt x="422" y="174"/>
                </a:lnTo>
                <a:lnTo>
                  <a:pt x="422" y="176"/>
                </a:lnTo>
                <a:lnTo>
                  <a:pt x="422" y="176"/>
                </a:lnTo>
                <a:lnTo>
                  <a:pt x="422" y="176"/>
                </a:lnTo>
                <a:lnTo>
                  <a:pt x="424" y="176"/>
                </a:lnTo>
                <a:lnTo>
                  <a:pt x="424" y="176"/>
                </a:lnTo>
                <a:lnTo>
                  <a:pt x="424" y="176"/>
                </a:lnTo>
                <a:lnTo>
                  <a:pt x="424" y="178"/>
                </a:lnTo>
                <a:lnTo>
                  <a:pt x="424" y="178"/>
                </a:lnTo>
                <a:lnTo>
                  <a:pt x="426" y="180"/>
                </a:lnTo>
                <a:lnTo>
                  <a:pt x="426" y="182"/>
                </a:lnTo>
                <a:lnTo>
                  <a:pt x="428" y="184"/>
                </a:lnTo>
                <a:lnTo>
                  <a:pt x="428" y="186"/>
                </a:lnTo>
                <a:lnTo>
                  <a:pt x="430" y="188"/>
                </a:lnTo>
                <a:lnTo>
                  <a:pt x="432" y="190"/>
                </a:lnTo>
                <a:lnTo>
                  <a:pt x="432" y="192"/>
                </a:lnTo>
                <a:lnTo>
                  <a:pt x="433" y="194"/>
                </a:lnTo>
                <a:lnTo>
                  <a:pt x="433" y="194"/>
                </a:lnTo>
                <a:lnTo>
                  <a:pt x="433" y="194"/>
                </a:lnTo>
                <a:lnTo>
                  <a:pt x="433" y="196"/>
                </a:lnTo>
                <a:lnTo>
                  <a:pt x="435" y="196"/>
                </a:lnTo>
                <a:lnTo>
                  <a:pt x="435" y="196"/>
                </a:lnTo>
                <a:lnTo>
                  <a:pt x="435" y="196"/>
                </a:lnTo>
                <a:lnTo>
                  <a:pt x="435" y="197"/>
                </a:lnTo>
                <a:lnTo>
                  <a:pt x="435" y="197"/>
                </a:lnTo>
                <a:lnTo>
                  <a:pt x="437" y="199"/>
                </a:lnTo>
                <a:lnTo>
                  <a:pt x="437" y="201"/>
                </a:lnTo>
                <a:lnTo>
                  <a:pt x="439" y="203"/>
                </a:lnTo>
                <a:lnTo>
                  <a:pt x="439" y="205"/>
                </a:lnTo>
                <a:lnTo>
                  <a:pt x="441" y="205"/>
                </a:lnTo>
                <a:lnTo>
                  <a:pt x="443" y="207"/>
                </a:lnTo>
                <a:lnTo>
                  <a:pt x="443" y="209"/>
                </a:lnTo>
                <a:lnTo>
                  <a:pt x="445" y="211"/>
                </a:lnTo>
                <a:lnTo>
                  <a:pt x="445" y="213"/>
                </a:lnTo>
                <a:lnTo>
                  <a:pt x="445" y="213"/>
                </a:lnTo>
                <a:lnTo>
                  <a:pt x="445" y="213"/>
                </a:lnTo>
                <a:lnTo>
                  <a:pt x="445" y="213"/>
                </a:lnTo>
                <a:lnTo>
                  <a:pt x="445" y="215"/>
                </a:lnTo>
                <a:lnTo>
                  <a:pt x="447" y="215"/>
                </a:lnTo>
                <a:lnTo>
                  <a:pt x="447" y="215"/>
                </a:lnTo>
                <a:lnTo>
                  <a:pt x="447" y="217"/>
                </a:lnTo>
                <a:lnTo>
                  <a:pt x="447" y="217"/>
                </a:lnTo>
                <a:lnTo>
                  <a:pt x="449" y="219"/>
                </a:lnTo>
                <a:lnTo>
                  <a:pt x="449" y="219"/>
                </a:lnTo>
                <a:lnTo>
                  <a:pt x="449" y="220"/>
                </a:lnTo>
                <a:lnTo>
                  <a:pt x="451" y="222"/>
                </a:lnTo>
                <a:lnTo>
                  <a:pt x="451" y="222"/>
                </a:lnTo>
                <a:lnTo>
                  <a:pt x="451" y="224"/>
                </a:lnTo>
                <a:lnTo>
                  <a:pt x="453" y="224"/>
                </a:lnTo>
                <a:lnTo>
                  <a:pt x="453" y="226"/>
                </a:lnTo>
                <a:lnTo>
                  <a:pt x="453" y="226"/>
                </a:lnTo>
                <a:lnTo>
                  <a:pt x="453" y="226"/>
                </a:lnTo>
                <a:lnTo>
                  <a:pt x="453" y="228"/>
                </a:lnTo>
                <a:lnTo>
                  <a:pt x="455" y="228"/>
                </a:lnTo>
                <a:lnTo>
                  <a:pt x="455" y="230"/>
                </a:lnTo>
                <a:lnTo>
                  <a:pt x="455" y="230"/>
                </a:lnTo>
                <a:lnTo>
                  <a:pt x="455" y="232"/>
                </a:lnTo>
                <a:lnTo>
                  <a:pt x="456" y="232"/>
                </a:lnTo>
                <a:lnTo>
                  <a:pt x="456" y="234"/>
                </a:lnTo>
                <a:lnTo>
                  <a:pt x="458" y="236"/>
                </a:lnTo>
                <a:lnTo>
                  <a:pt x="458" y="238"/>
                </a:lnTo>
                <a:lnTo>
                  <a:pt x="458" y="240"/>
                </a:lnTo>
                <a:lnTo>
                  <a:pt x="460" y="240"/>
                </a:lnTo>
                <a:lnTo>
                  <a:pt x="460" y="242"/>
                </a:lnTo>
                <a:lnTo>
                  <a:pt x="462" y="244"/>
                </a:lnTo>
                <a:lnTo>
                  <a:pt x="462" y="244"/>
                </a:lnTo>
                <a:lnTo>
                  <a:pt x="462" y="245"/>
                </a:lnTo>
                <a:lnTo>
                  <a:pt x="462" y="245"/>
                </a:lnTo>
                <a:lnTo>
                  <a:pt x="464" y="247"/>
                </a:lnTo>
                <a:lnTo>
                  <a:pt x="464" y="247"/>
                </a:lnTo>
                <a:lnTo>
                  <a:pt x="464" y="247"/>
                </a:lnTo>
                <a:lnTo>
                  <a:pt x="464" y="249"/>
                </a:lnTo>
                <a:lnTo>
                  <a:pt x="466" y="249"/>
                </a:lnTo>
                <a:lnTo>
                  <a:pt x="466" y="251"/>
                </a:lnTo>
                <a:lnTo>
                  <a:pt x="466" y="253"/>
                </a:lnTo>
                <a:lnTo>
                  <a:pt x="468" y="255"/>
                </a:lnTo>
                <a:lnTo>
                  <a:pt x="468" y="255"/>
                </a:lnTo>
                <a:lnTo>
                  <a:pt x="468" y="257"/>
                </a:lnTo>
                <a:lnTo>
                  <a:pt x="470" y="259"/>
                </a:lnTo>
                <a:lnTo>
                  <a:pt x="470" y="261"/>
                </a:lnTo>
                <a:lnTo>
                  <a:pt x="472" y="261"/>
                </a:lnTo>
                <a:lnTo>
                  <a:pt x="472" y="263"/>
                </a:lnTo>
                <a:lnTo>
                  <a:pt x="472" y="263"/>
                </a:lnTo>
                <a:lnTo>
                  <a:pt x="472" y="265"/>
                </a:lnTo>
                <a:lnTo>
                  <a:pt x="474" y="265"/>
                </a:lnTo>
                <a:lnTo>
                  <a:pt x="474" y="267"/>
                </a:lnTo>
                <a:lnTo>
                  <a:pt x="474" y="267"/>
                </a:lnTo>
                <a:lnTo>
                  <a:pt x="474" y="268"/>
                </a:lnTo>
                <a:lnTo>
                  <a:pt x="476" y="268"/>
                </a:lnTo>
                <a:lnTo>
                  <a:pt x="476" y="270"/>
                </a:lnTo>
                <a:lnTo>
                  <a:pt x="476" y="272"/>
                </a:lnTo>
                <a:lnTo>
                  <a:pt x="476" y="272"/>
                </a:lnTo>
                <a:lnTo>
                  <a:pt x="478" y="274"/>
                </a:lnTo>
                <a:lnTo>
                  <a:pt x="478" y="274"/>
                </a:lnTo>
                <a:lnTo>
                  <a:pt x="478" y="276"/>
                </a:lnTo>
                <a:lnTo>
                  <a:pt x="478" y="276"/>
                </a:lnTo>
                <a:lnTo>
                  <a:pt x="479" y="278"/>
                </a:lnTo>
                <a:lnTo>
                  <a:pt x="479" y="280"/>
                </a:lnTo>
                <a:lnTo>
                  <a:pt x="479" y="280"/>
                </a:lnTo>
                <a:lnTo>
                  <a:pt x="481" y="282"/>
                </a:lnTo>
                <a:lnTo>
                  <a:pt x="481" y="284"/>
                </a:lnTo>
                <a:lnTo>
                  <a:pt x="481" y="284"/>
                </a:lnTo>
                <a:lnTo>
                  <a:pt x="483" y="286"/>
                </a:lnTo>
                <a:lnTo>
                  <a:pt x="483" y="288"/>
                </a:lnTo>
                <a:lnTo>
                  <a:pt x="483" y="288"/>
                </a:lnTo>
                <a:lnTo>
                  <a:pt x="483" y="290"/>
                </a:lnTo>
                <a:lnTo>
                  <a:pt x="485" y="290"/>
                </a:lnTo>
                <a:lnTo>
                  <a:pt x="485" y="292"/>
                </a:lnTo>
                <a:lnTo>
                  <a:pt x="485" y="292"/>
                </a:lnTo>
                <a:lnTo>
                  <a:pt x="485" y="293"/>
                </a:lnTo>
                <a:lnTo>
                  <a:pt x="487" y="293"/>
                </a:lnTo>
                <a:lnTo>
                  <a:pt x="487" y="295"/>
                </a:lnTo>
                <a:lnTo>
                  <a:pt x="487" y="295"/>
                </a:lnTo>
                <a:lnTo>
                  <a:pt x="487" y="297"/>
                </a:lnTo>
                <a:lnTo>
                  <a:pt x="489" y="299"/>
                </a:lnTo>
                <a:lnTo>
                  <a:pt x="489" y="301"/>
                </a:lnTo>
                <a:lnTo>
                  <a:pt x="489" y="303"/>
                </a:lnTo>
                <a:lnTo>
                  <a:pt x="491" y="303"/>
                </a:lnTo>
                <a:lnTo>
                  <a:pt x="491" y="305"/>
                </a:lnTo>
                <a:lnTo>
                  <a:pt x="491" y="307"/>
                </a:lnTo>
                <a:lnTo>
                  <a:pt x="493" y="309"/>
                </a:lnTo>
                <a:lnTo>
                  <a:pt x="493" y="309"/>
                </a:lnTo>
                <a:lnTo>
                  <a:pt x="493" y="311"/>
                </a:lnTo>
                <a:lnTo>
                  <a:pt x="493" y="311"/>
                </a:lnTo>
                <a:lnTo>
                  <a:pt x="495" y="311"/>
                </a:lnTo>
                <a:lnTo>
                  <a:pt x="495" y="313"/>
                </a:lnTo>
                <a:lnTo>
                  <a:pt x="495" y="313"/>
                </a:lnTo>
                <a:lnTo>
                  <a:pt x="495" y="315"/>
                </a:lnTo>
                <a:lnTo>
                  <a:pt x="495" y="315"/>
                </a:lnTo>
                <a:lnTo>
                  <a:pt x="497" y="316"/>
                </a:lnTo>
                <a:lnTo>
                  <a:pt x="497" y="318"/>
                </a:lnTo>
                <a:lnTo>
                  <a:pt x="497" y="318"/>
                </a:lnTo>
                <a:lnTo>
                  <a:pt x="497" y="320"/>
                </a:lnTo>
                <a:lnTo>
                  <a:pt x="499" y="322"/>
                </a:lnTo>
                <a:lnTo>
                  <a:pt x="499" y="324"/>
                </a:lnTo>
                <a:lnTo>
                  <a:pt x="499" y="324"/>
                </a:lnTo>
                <a:lnTo>
                  <a:pt x="501" y="326"/>
                </a:lnTo>
                <a:lnTo>
                  <a:pt x="501" y="326"/>
                </a:lnTo>
                <a:lnTo>
                  <a:pt x="501" y="328"/>
                </a:lnTo>
                <a:lnTo>
                  <a:pt x="501" y="328"/>
                </a:lnTo>
                <a:lnTo>
                  <a:pt x="501" y="330"/>
                </a:lnTo>
                <a:lnTo>
                  <a:pt x="503" y="330"/>
                </a:lnTo>
                <a:lnTo>
                  <a:pt x="503" y="332"/>
                </a:lnTo>
                <a:lnTo>
                  <a:pt x="503" y="332"/>
                </a:lnTo>
                <a:lnTo>
                  <a:pt x="503" y="334"/>
                </a:lnTo>
                <a:lnTo>
                  <a:pt x="503" y="334"/>
                </a:lnTo>
                <a:lnTo>
                  <a:pt x="504" y="336"/>
                </a:lnTo>
                <a:lnTo>
                  <a:pt x="504" y="338"/>
                </a:lnTo>
                <a:lnTo>
                  <a:pt x="504" y="339"/>
                </a:lnTo>
                <a:lnTo>
                  <a:pt x="506" y="339"/>
                </a:lnTo>
                <a:lnTo>
                  <a:pt x="506" y="341"/>
                </a:lnTo>
                <a:lnTo>
                  <a:pt x="506" y="343"/>
                </a:lnTo>
                <a:lnTo>
                  <a:pt x="506" y="345"/>
                </a:lnTo>
                <a:lnTo>
                  <a:pt x="508" y="345"/>
                </a:lnTo>
                <a:lnTo>
                  <a:pt x="508" y="345"/>
                </a:lnTo>
                <a:lnTo>
                  <a:pt x="508" y="347"/>
                </a:lnTo>
                <a:lnTo>
                  <a:pt x="508" y="347"/>
                </a:lnTo>
                <a:lnTo>
                  <a:pt x="508" y="349"/>
                </a:lnTo>
                <a:lnTo>
                  <a:pt x="508" y="349"/>
                </a:lnTo>
                <a:lnTo>
                  <a:pt x="508" y="349"/>
                </a:lnTo>
                <a:lnTo>
                  <a:pt x="510" y="351"/>
                </a:lnTo>
                <a:lnTo>
                  <a:pt x="510" y="353"/>
                </a:lnTo>
                <a:lnTo>
                  <a:pt x="510" y="353"/>
                </a:lnTo>
                <a:lnTo>
                  <a:pt x="512" y="355"/>
                </a:lnTo>
                <a:lnTo>
                  <a:pt x="512" y="357"/>
                </a:lnTo>
                <a:lnTo>
                  <a:pt x="512" y="359"/>
                </a:lnTo>
                <a:lnTo>
                  <a:pt x="514" y="361"/>
                </a:lnTo>
                <a:lnTo>
                  <a:pt x="514" y="363"/>
                </a:lnTo>
                <a:lnTo>
                  <a:pt x="514" y="364"/>
                </a:lnTo>
                <a:lnTo>
                  <a:pt x="514" y="364"/>
                </a:lnTo>
                <a:lnTo>
                  <a:pt x="514" y="366"/>
                </a:lnTo>
                <a:lnTo>
                  <a:pt x="516" y="366"/>
                </a:lnTo>
                <a:lnTo>
                  <a:pt x="516" y="366"/>
                </a:lnTo>
                <a:lnTo>
                  <a:pt x="516" y="368"/>
                </a:lnTo>
                <a:lnTo>
                  <a:pt x="516" y="368"/>
                </a:lnTo>
                <a:lnTo>
                  <a:pt x="516" y="370"/>
                </a:lnTo>
                <a:lnTo>
                  <a:pt x="516" y="370"/>
                </a:lnTo>
                <a:lnTo>
                  <a:pt x="518" y="372"/>
                </a:lnTo>
                <a:lnTo>
                  <a:pt x="518" y="374"/>
                </a:lnTo>
                <a:lnTo>
                  <a:pt x="518" y="376"/>
                </a:lnTo>
                <a:lnTo>
                  <a:pt x="518" y="378"/>
                </a:lnTo>
                <a:lnTo>
                  <a:pt x="520" y="380"/>
                </a:lnTo>
                <a:lnTo>
                  <a:pt x="520" y="382"/>
                </a:lnTo>
                <a:lnTo>
                  <a:pt x="520" y="384"/>
                </a:lnTo>
                <a:lnTo>
                  <a:pt x="522" y="386"/>
                </a:lnTo>
                <a:lnTo>
                  <a:pt x="522" y="386"/>
                </a:lnTo>
                <a:lnTo>
                  <a:pt x="522" y="386"/>
                </a:lnTo>
                <a:lnTo>
                  <a:pt x="522" y="387"/>
                </a:lnTo>
                <a:lnTo>
                  <a:pt x="522" y="387"/>
                </a:lnTo>
                <a:lnTo>
                  <a:pt x="522" y="387"/>
                </a:lnTo>
                <a:lnTo>
                  <a:pt x="522" y="389"/>
                </a:lnTo>
                <a:lnTo>
                  <a:pt x="522" y="389"/>
                </a:lnTo>
                <a:lnTo>
                  <a:pt x="524" y="389"/>
                </a:lnTo>
                <a:lnTo>
                  <a:pt x="524" y="391"/>
                </a:lnTo>
                <a:lnTo>
                  <a:pt x="524" y="393"/>
                </a:lnTo>
                <a:lnTo>
                  <a:pt x="524" y="395"/>
                </a:lnTo>
                <a:lnTo>
                  <a:pt x="526" y="397"/>
                </a:lnTo>
                <a:lnTo>
                  <a:pt x="526" y="399"/>
                </a:lnTo>
                <a:lnTo>
                  <a:pt x="526" y="401"/>
                </a:lnTo>
                <a:lnTo>
                  <a:pt x="527" y="401"/>
                </a:lnTo>
                <a:lnTo>
                  <a:pt x="527" y="403"/>
                </a:lnTo>
                <a:lnTo>
                  <a:pt x="527" y="405"/>
                </a:lnTo>
                <a:lnTo>
                  <a:pt x="527" y="405"/>
                </a:lnTo>
                <a:lnTo>
                  <a:pt x="527" y="405"/>
                </a:lnTo>
                <a:lnTo>
                  <a:pt x="527" y="407"/>
                </a:lnTo>
                <a:lnTo>
                  <a:pt x="527" y="407"/>
                </a:lnTo>
                <a:lnTo>
                  <a:pt x="527" y="407"/>
                </a:lnTo>
                <a:lnTo>
                  <a:pt x="527" y="407"/>
                </a:lnTo>
                <a:lnTo>
                  <a:pt x="527" y="409"/>
                </a:lnTo>
                <a:lnTo>
                  <a:pt x="529" y="411"/>
                </a:lnTo>
                <a:lnTo>
                  <a:pt x="529" y="412"/>
                </a:lnTo>
                <a:lnTo>
                  <a:pt x="529" y="414"/>
                </a:lnTo>
                <a:lnTo>
                  <a:pt x="531" y="416"/>
                </a:lnTo>
                <a:lnTo>
                  <a:pt x="531" y="416"/>
                </a:lnTo>
                <a:lnTo>
                  <a:pt x="531" y="418"/>
                </a:lnTo>
                <a:lnTo>
                  <a:pt x="531" y="420"/>
                </a:lnTo>
                <a:lnTo>
                  <a:pt x="533" y="422"/>
                </a:lnTo>
                <a:lnTo>
                  <a:pt x="533" y="424"/>
                </a:lnTo>
                <a:lnTo>
                  <a:pt x="533" y="424"/>
                </a:lnTo>
                <a:lnTo>
                  <a:pt x="533" y="424"/>
                </a:lnTo>
                <a:lnTo>
                  <a:pt x="533" y="426"/>
                </a:lnTo>
                <a:lnTo>
                  <a:pt x="533" y="426"/>
                </a:lnTo>
                <a:lnTo>
                  <a:pt x="533" y="426"/>
                </a:lnTo>
                <a:lnTo>
                  <a:pt x="533" y="426"/>
                </a:lnTo>
                <a:lnTo>
                  <a:pt x="533" y="428"/>
                </a:lnTo>
                <a:lnTo>
                  <a:pt x="535" y="430"/>
                </a:lnTo>
                <a:lnTo>
                  <a:pt x="535" y="432"/>
                </a:lnTo>
                <a:lnTo>
                  <a:pt x="535" y="434"/>
                </a:lnTo>
                <a:lnTo>
                  <a:pt x="535" y="435"/>
                </a:lnTo>
                <a:lnTo>
                  <a:pt x="537" y="437"/>
                </a:lnTo>
                <a:lnTo>
                  <a:pt x="537" y="439"/>
                </a:lnTo>
                <a:lnTo>
                  <a:pt x="537" y="441"/>
                </a:lnTo>
                <a:lnTo>
                  <a:pt x="539" y="443"/>
                </a:lnTo>
                <a:lnTo>
                  <a:pt x="539" y="443"/>
                </a:lnTo>
                <a:lnTo>
                  <a:pt x="539" y="445"/>
                </a:lnTo>
                <a:lnTo>
                  <a:pt x="539" y="445"/>
                </a:lnTo>
                <a:lnTo>
                  <a:pt x="539" y="445"/>
                </a:lnTo>
                <a:lnTo>
                  <a:pt x="539" y="445"/>
                </a:lnTo>
                <a:lnTo>
                  <a:pt x="539" y="447"/>
                </a:lnTo>
                <a:lnTo>
                  <a:pt x="539" y="447"/>
                </a:lnTo>
                <a:lnTo>
                  <a:pt x="539" y="447"/>
                </a:lnTo>
                <a:lnTo>
                  <a:pt x="539" y="449"/>
                </a:lnTo>
                <a:lnTo>
                  <a:pt x="541" y="451"/>
                </a:lnTo>
                <a:lnTo>
                  <a:pt x="541" y="455"/>
                </a:lnTo>
                <a:lnTo>
                  <a:pt x="541" y="457"/>
                </a:lnTo>
                <a:lnTo>
                  <a:pt x="541" y="458"/>
                </a:lnTo>
                <a:lnTo>
                  <a:pt x="543" y="460"/>
                </a:lnTo>
                <a:lnTo>
                  <a:pt x="543" y="462"/>
                </a:lnTo>
                <a:lnTo>
                  <a:pt x="543" y="464"/>
                </a:lnTo>
                <a:lnTo>
                  <a:pt x="543" y="464"/>
                </a:lnTo>
                <a:lnTo>
                  <a:pt x="543" y="464"/>
                </a:lnTo>
                <a:lnTo>
                  <a:pt x="543" y="466"/>
                </a:lnTo>
                <a:lnTo>
                  <a:pt x="543" y="466"/>
                </a:lnTo>
                <a:lnTo>
                  <a:pt x="543" y="466"/>
                </a:lnTo>
                <a:lnTo>
                  <a:pt x="543" y="466"/>
                </a:lnTo>
                <a:lnTo>
                  <a:pt x="543" y="468"/>
                </a:lnTo>
                <a:lnTo>
                  <a:pt x="545" y="468"/>
                </a:lnTo>
                <a:lnTo>
                  <a:pt x="545" y="470"/>
                </a:lnTo>
                <a:lnTo>
                  <a:pt x="545" y="472"/>
                </a:lnTo>
                <a:lnTo>
                  <a:pt x="545" y="474"/>
                </a:lnTo>
                <a:lnTo>
                  <a:pt x="545" y="476"/>
                </a:lnTo>
                <a:lnTo>
                  <a:pt x="547" y="478"/>
                </a:lnTo>
                <a:lnTo>
                  <a:pt x="547" y="480"/>
                </a:lnTo>
                <a:lnTo>
                  <a:pt x="547" y="482"/>
                </a:lnTo>
                <a:lnTo>
                  <a:pt x="547" y="483"/>
                </a:lnTo>
                <a:lnTo>
                  <a:pt x="547" y="483"/>
                </a:lnTo>
                <a:lnTo>
                  <a:pt x="547" y="483"/>
                </a:lnTo>
                <a:lnTo>
                  <a:pt x="547" y="485"/>
                </a:lnTo>
                <a:lnTo>
                  <a:pt x="547" y="485"/>
                </a:lnTo>
                <a:lnTo>
                  <a:pt x="547" y="485"/>
                </a:lnTo>
                <a:lnTo>
                  <a:pt x="547" y="485"/>
                </a:lnTo>
                <a:lnTo>
                  <a:pt x="549" y="485"/>
                </a:lnTo>
                <a:lnTo>
                  <a:pt x="549" y="485"/>
                </a:lnTo>
                <a:lnTo>
                  <a:pt x="549" y="487"/>
                </a:lnTo>
                <a:lnTo>
                  <a:pt x="549" y="491"/>
                </a:lnTo>
                <a:lnTo>
                  <a:pt x="549" y="493"/>
                </a:lnTo>
                <a:lnTo>
                  <a:pt x="549" y="495"/>
                </a:lnTo>
                <a:lnTo>
                  <a:pt x="551" y="497"/>
                </a:lnTo>
                <a:lnTo>
                  <a:pt x="551" y="499"/>
                </a:lnTo>
                <a:lnTo>
                  <a:pt x="551" y="501"/>
                </a:lnTo>
                <a:lnTo>
                  <a:pt x="551" y="505"/>
                </a:lnTo>
                <a:lnTo>
                  <a:pt x="551" y="505"/>
                </a:lnTo>
                <a:lnTo>
                  <a:pt x="551" y="505"/>
                </a:lnTo>
                <a:lnTo>
                  <a:pt x="551" y="505"/>
                </a:lnTo>
                <a:lnTo>
                  <a:pt x="551" y="505"/>
                </a:lnTo>
                <a:lnTo>
                  <a:pt x="551" y="506"/>
                </a:lnTo>
                <a:lnTo>
                  <a:pt x="552" y="506"/>
                </a:lnTo>
                <a:lnTo>
                  <a:pt x="552" y="506"/>
                </a:lnTo>
                <a:lnTo>
                  <a:pt x="552" y="506"/>
                </a:lnTo>
                <a:lnTo>
                  <a:pt x="552" y="508"/>
                </a:lnTo>
                <a:lnTo>
                  <a:pt x="552" y="512"/>
                </a:lnTo>
                <a:lnTo>
                  <a:pt x="552" y="514"/>
                </a:lnTo>
                <a:lnTo>
                  <a:pt x="552" y="516"/>
                </a:lnTo>
                <a:lnTo>
                  <a:pt x="554" y="518"/>
                </a:lnTo>
                <a:lnTo>
                  <a:pt x="554" y="520"/>
                </a:lnTo>
                <a:lnTo>
                  <a:pt x="554" y="522"/>
                </a:lnTo>
                <a:lnTo>
                  <a:pt x="554" y="524"/>
                </a:lnTo>
                <a:lnTo>
                  <a:pt x="554" y="526"/>
                </a:lnTo>
                <a:lnTo>
                  <a:pt x="554" y="526"/>
                </a:lnTo>
                <a:lnTo>
                  <a:pt x="554" y="526"/>
                </a:lnTo>
                <a:lnTo>
                  <a:pt x="554" y="526"/>
                </a:lnTo>
                <a:lnTo>
                  <a:pt x="554" y="526"/>
                </a:lnTo>
                <a:lnTo>
                  <a:pt x="554" y="526"/>
                </a:lnTo>
                <a:lnTo>
                  <a:pt x="554" y="526"/>
                </a:lnTo>
                <a:lnTo>
                  <a:pt x="554" y="526"/>
                </a:lnTo>
                <a:lnTo>
                  <a:pt x="522" y="535"/>
                </a:lnTo>
                <a:lnTo>
                  <a:pt x="489" y="545"/>
                </a:lnTo>
                <a:lnTo>
                  <a:pt x="455" y="553"/>
                </a:lnTo>
                <a:lnTo>
                  <a:pt x="420" y="558"/>
                </a:lnTo>
                <a:lnTo>
                  <a:pt x="385" y="564"/>
                </a:lnTo>
                <a:lnTo>
                  <a:pt x="349" y="566"/>
                </a:lnTo>
                <a:lnTo>
                  <a:pt x="314" y="568"/>
                </a:lnTo>
                <a:lnTo>
                  <a:pt x="278" y="570"/>
                </a:lnTo>
                <a:lnTo>
                  <a:pt x="241" y="568"/>
                </a:lnTo>
                <a:lnTo>
                  <a:pt x="205" y="566"/>
                </a:lnTo>
                <a:lnTo>
                  <a:pt x="170" y="564"/>
                </a:lnTo>
                <a:lnTo>
                  <a:pt x="134" y="558"/>
                </a:lnTo>
                <a:lnTo>
                  <a:pt x="99" y="553"/>
                </a:lnTo>
                <a:lnTo>
                  <a:pt x="67" y="545"/>
                </a:lnTo>
                <a:lnTo>
                  <a:pt x="32" y="535"/>
                </a:lnTo>
                <a:lnTo>
                  <a:pt x="0" y="526"/>
                </a:lnTo>
                <a:close/>
              </a:path>
            </a:pathLst>
          </a:custGeom>
          <a:solidFill>
            <a:schemeClr val="accent3"/>
          </a:solidFill>
          <a:ln w="6350" cmpd="sng">
            <a:noFill/>
            <a:round/>
            <a:headEnd/>
            <a:tailEnd/>
          </a:ln>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7FC424DA-8B61-4699-9536-74022004BF0C}"/>
              </a:ext>
            </a:extLst>
          </p:cNvPr>
          <p:cNvSpPr>
            <a:spLocks noChangeArrowheads="1"/>
          </p:cNvSpPr>
          <p:nvPr/>
        </p:nvSpPr>
        <p:spPr bwMode="auto">
          <a:xfrm>
            <a:off x="5207777" y="3576295"/>
            <a:ext cx="409575" cy="273050"/>
          </a:xfrm>
          <a:prstGeom prst="rect">
            <a:avLst/>
          </a:prstGeom>
          <a:no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Arial"/>
                <a:ea typeface="+mn-ea"/>
                <a:cs typeface="+mn-cs"/>
              </a:rPr>
              <a:t>Text</a:t>
            </a:r>
          </a:p>
        </p:txBody>
      </p:sp>
      <p:sp>
        <p:nvSpPr>
          <p:cNvPr id="42" name="Rectangle 41">
            <a:extLst>
              <a:ext uri="{FF2B5EF4-FFF2-40B4-BE49-F238E27FC236}">
                <a16:creationId xmlns:a16="http://schemas.microsoft.com/office/drawing/2014/main" id="{B4B9B721-C2CB-4B0E-AFD3-664933CEEBF5}"/>
              </a:ext>
            </a:extLst>
          </p:cNvPr>
          <p:cNvSpPr>
            <a:spLocks noChangeArrowheads="1"/>
          </p:cNvSpPr>
          <p:nvPr/>
        </p:nvSpPr>
        <p:spPr bwMode="auto">
          <a:xfrm>
            <a:off x="6569852" y="3576295"/>
            <a:ext cx="409575" cy="273050"/>
          </a:xfrm>
          <a:prstGeom prst="rect">
            <a:avLst/>
          </a:prstGeom>
          <a:no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a:ea typeface="+mn-ea"/>
                <a:cs typeface="+mn-cs"/>
              </a:rPr>
              <a:t>Text</a:t>
            </a:r>
          </a:p>
        </p:txBody>
      </p:sp>
      <p:sp>
        <p:nvSpPr>
          <p:cNvPr id="43" name="Rectangle 42">
            <a:extLst>
              <a:ext uri="{FF2B5EF4-FFF2-40B4-BE49-F238E27FC236}">
                <a16:creationId xmlns:a16="http://schemas.microsoft.com/office/drawing/2014/main" id="{D43C9F7C-0A8E-4E9B-9140-02DD9A02D110}"/>
              </a:ext>
            </a:extLst>
          </p:cNvPr>
          <p:cNvSpPr>
            <a:spLocks noChangeArrowheads="1"/>
          </p:cNvSpPr>
          <p:nvPr/>
        </p:nvSpPr>
        <p:spPr bwMode="auto">
          <a:xfrm>
            <a:off x="5877702" y="4041432"/>
            <a:ext cx="430213" cy="271463"/>
          </a:xfrm>
          <a:prstGeom prst="rect">
            <a:avLst/>
          </a:prstGeom>
          <a:no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Arial"/>
                <a:ea typeface="+mn-ea"/>
                <a:cs typeface="+mn-cs"/>
              </a:rPr>
              <a:t>Text</a:t>
            </a:r>
          </a:p>
        </p:txBody>
      </p:sp>
      <p:sp>
        <p:nvSpPr>
          <p:cNvPr id="44" name="Rectangle 43">
            <a:extLst>
              <a:ext uri="{FF2B5EF4-FFF2-40B4-BE49-F238E27FC236}">
                <a16:creationId xmlns:a16="http://schemas.microsoft.com/office/drawing/2014/main" id="{DE541C22-91E0-422A-8CAA-4CA1FC4967CC}"/>
              </a:ext>
            </a:extLst>
          </p:cNvPr>
          <p:cNvSpPr>
            <a:spLocks noChangeArrowheads="1"/>
          </p:cNvSpPr>
          <p:nvPr/>
        </p:nvSpPr>
        <p:spPr bwMode="auto">
          <a:xfrm>
            <a:off x="5887227" y="4765332"/>
            <a:ext cx="409575" cy="273050"/>
          </a:xfrm>
          <a:prstGeom prst="rect">
            <a:avLst/>
          </a:prstGeom>
          <a:no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Arial"/>
                <a:ea typeface="+mn-ea"/>
                <a:cs typeface="+mn-cs"/>
              </a:rPr>
              <a:t>Text</a:t>
            </a:r>
          </a:p>
        </p:txBody>
      </p:sp>
      <p:sp>
        <p:nvSpPr>
          <p:cNvPr id="4" name="Footer Placeholder 3">
            <a:extLst>
              <a:ext uri="{FF2B5EF4-FFF2-40B4-BE49-F238E27FC236}">
                <a16:creationId xmlns:a16="http://schemas.microsoft.com/office/drawing/2014/main" id="{432B2033-70CC-458E-AAF7-466A9BD9882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F28AECC0-7501-4176-AD8E-18A9AF6E8743}"/>
              </a:ext>
            </a:extLst>
          </p:cNvPr>
          <p:cNvSpPr>
            <a:spLocks noGrp="1"/>
          </p:cNvSpPr>
          <p:nvPr>
            <p:ph type="sldNum" sz="quarter" idx="10"/>
          </p:nvPr>
        </p:nvSpPr>
        <p:spPr/>
        <p:txBody>
          <a:bodyPr/>
          <a:lstStyle/>
          <a:p>
            <a:fld id="{1F90F471-3972-4120-B8B3-0237DE626C35}" type="slidenum">
              <a:rPr lang="en-US" smtClean="0"/>
              <a:pPr/>
              <a:t>270</a:t>
            </a:fld>
            <a:endParaRPr lang="en-US" dirty="0"/>
          </a:p>
        </p:txBody>
      </p:sp>
    </p:spTree>
    <p:extLst>
      <p:ext uri="{BB962C8B-B14F-4D97-AF65-F5344CB8AC3E}">
        <p14:creationId xmlns:p14="http://schemas.microsoft.com/office/powerpoint/2010/main" val="3231347794"/>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de-DE" sz="3600" b="1" dirty="0"/>
              <a:t>Interlocking Circles 4</a:t>
            </a:r>
            <a:endParaRPr lang="en-US" sz="3600" b="1" dirty="0"/>
          </a:p>
        </p:txBody>
      </p:sp>
      <p:sp>
        <p:nvSpPr>
          <p:cNvPr id="5" name="Oval 15">
            <a:extLst>
              <a:ext uri="{FF2B5EF4-FFF2-40B4-BE49-F238E27FC236}">
                <a16:creationId xmlns:a16="http://schemas.microsoft.com/office/drawing/2014/main" id="{B443DAEB-D5C6-4233-869D-6F00119BDF16}"/>
              </a:ext>
            </a:extLst>
          </p:cNvPr>
          <p:cNvSpPr>
            <a:spLocks noChangeArrowheads="1"/>
          </p:cNvSpPr>
          <p:nvPr/>
        </p:nvSpPr>
        <p:spPr bwMode="auto">
          <a:xfrm rot="5400000">
            <a:off x="4927437" y="1436205"/>
            <a:ext cx="2340000" cy="2340000"/>
          </a:xfrm>
          <a:prstGeom prst="ellipse">
            <a:avLst/>
          </a:prstGeom>
          <a:pattFill prst="wdUpDiag">
            <a:fgClr>
              <a:schemeClr val="tx2">
                <a:lumMod val="20000"/>
                <a:lumOff val="80000"/>
              </a:schemeClr>
            </a:fgClr>
            <a:bgClr>
              <a:schemeClr val="bg1"/>
            </a:bgClr>
          </a:pattFill>
          <a:ln w="6350">
            <a:noFill/>
            <a:round/>
            <a:headEnd/>
            <a:tailEnd/>
          </a:ln>
          <a:effectLst/>
        </p:spPr>
        <p:txBody>
          <a:bodyPr rot="10800000" vert="eaVert" lIns="45720" rIns="45720" anchor="ctr" anchorCtr="1"/>
          <a:lstStyle/>
          <a:p>
            <a:pPr eaLnBrk="0" hangingPunct="0"/>
            <a:r>
              <a:rPr lang="en-US" b="1"/>
              <a:t>Text</a:t>
            </a:r>
          </a:p>
        </p:txBody>
      </p:sp>
      <p:sp>
        <p:nvSpPr>
          <p:cNvPr id="7" name="Oval 18">
            <a:extLst>
              <a:ext uri="{FF2B5EF4-FFF2-40B4-BE49-F238E27FC236}">
                <a16:creationId xmlns:a16="http://schemas.microsoft.com/office/drawing/2014/main" id="{85507E89-352C-40F1-9BF4-8F114B3A4DBA}"/>
              </a:ext>
            </a:extLst>
          </p:cNvPr>
          <p:cNvSpPr>
            <a:spLocks noChangeArrowheads="1"/>
          </p:cNvSpPr>
          <p:nvPr/>
        </p:nvSpPr>
        <p:spPr bwMode="auto">
          <a:xfrm>
            <a:off x="6084750" y="2579205"/>
            <a:ext cx="2340000" cy="2340000"/>
          </a:xfrm>
          <a:prstGeom prst="ellipse">
            <a:avLst/>
          </a:prstGeom>
          <a:solidFill>
            <a:schemeClr val="accent1"/>
          </a:solidFill>
          <a:ln w="6350">
            <a:noFill/>
            <a:round/>
            <a:headEnd/>
            <a:tailEnd/>
          </a:ln>
          <a:effectLst/>
        </p:spPr>
        <p:txBody>
          <a:bodyPr lIns="45720" rIns="45720" anchor="ctr" anchorCtr="1"/>
          <a:lstStyle/>
          <a:p>
            <a:pPr eaLnBrk="0" hangingPunct="0"/>
            <a:r>
              <a:rPr lang="en-US" b="1">
                <a:solidFill>
                  <a:schemeClr val="bg1"/>
                </a:solidFill>
              </a:rPr>
              <a:t>Text</a:t>
            </a:r>
          </a:p>
        </p:txBody>
      </p:sp>
      <p:sp>
        <p:nvSpPr>
          <p:cNvPr id="4" name="Oval 14">
            <a:extLst>
              <a:ext uri="{FF2B5EF4-FFF2-40B4-BE49-F238E27FC236}">
                <a16:creationId xmlns:a16="http://schemas.microsoft.com/office/drawing/2014/main" id="{475AED46-04A8-418F-8AFB-D1230393307E}"/>
              </a:ext>
            </a:extLst>
          </p:cNvPr>
          <p:cNvSpPr>
            <a:spLocks noChangeArrowheads="1"/>
          </p:cNvSpPr>
          <p:nvPr/>
        </p:nvSpPr>
        <p:spPr bwMode="auto">
          <a:xfrm rot="5400000">
            <a:off x="4927437" y="3722205"/>
            <a:ext cx="2340000" cy="2340000"/>
          </a:xfrm>
          <a:prstGeom prst="ellipse">
            <a:avLst/>
          </a:prstGeom>
          <a:pattFill prst="wdUpDiag">
            <a:fgClr>
              <a:schemeClr val="tx2">
                <a:lumMod val="20000"/>
                <a:lumOff val="80000"/>
              </a:schemeClr>
            </a:fgClr>
            <a:bgClr>
              <a:schemeClr val="bg1"/>
            </a:bgClr>
          </a:pattFill>
          <a:ln w="6350">
            <a:noFill/>
            <a:round/>
            <a:headEnd/>
            <a:tailEnd/>
          </a:ln>
          <a:effectLst/>
        </p:spPr>
        <p:txBody>
          <a:bodyPr rot="10800000" vert="eaVert" lIns="45720" rIns="45720" anchor="ctr" anchorCtr="1"/>
          <a:lstStyle/>
          <a:p>
            <a:pPr eaLnBrk="0" hangingPunct="0"/>
            <a:r>
              <a:rPr lang="en-US" b="1"/>
              <a:t>Text</a:t>
            </a:r>
          </a:p>
        </p:txBody>
      </p:sp>
      <p:sp>
        <p:nvSpPr>
          <p:cNvPr id="6" name="Oval 17">
            <a:extLst>
              <a:ext uri="{FF2B5EF4-FFF2-40B4-BE49-F238E27FC236}">
                <a16:creationId xmlns:a16="http://schemas.microsoft.com/office/drawing/2014/main" id="{19748837-81B1-4EC8-BD56-4A39B66BB30B}"/>
              </a:ext>
            </a:extLst>
          </p:cNvPr>
          <p:cNvSpPr>
            <a:spLocks noChangeArrowheads="1"/>
          </p:cNvSpPr>
          <p:nvPr/>
        </p:nvSpPr>
        <p:spPr bwMode="auto">
          <a:xfrm>
            <a:off x="3754689" y="2579205"/>
            <a:ext cx="2340000" cy="2340000"/>
          </a:xfrm>
          <a:prstGeom prst="ellipse">
            <a:avLst/>
          </a:prstGeom>
          <a:solidFill>
            <a:schemeClr val="accent1"/>
          </a:solidFill>
          <a:ln w="6350">
            <a:noFill/>
            <a:round/>
            <a:headEnd/>
            <a:tailEnd/>
          </a:ln>
          <a:effectLst/>
        </p:spPr>
        <p:txBody>
          <a:bodyPr lIns="45720" rIns="45720" anchor="ctr" anchorCtr="1"/>
          <a:lstStyle/>
          <a:p>
            <a:pPr eaLnBrk="0" hangingPunct="0"/>
            <a:r>
              <a:rPr lang="en-US" b="1" dirty="0">
                <a:solidFill>
                  <a:schemeClr val="bg1"/>
                </a:solidFill>
              </a:rPr>
              <a:t>Text</a:t>
            </a:r>
          </a:p>
        </p:txBody>
      </p:sp>
      <p:sp>
        <p:nvSpPr>
          <p:cNvPr id="8" name="Footer Placeholder 7">
            <a:extLst>
              <a:ext uri="{FF2B5EF4-FFF2-40B4-BE49-F238E27FC236}">
                <a16:creationId xmlns:a16="http://schemas.microsoft.com/office/drawing/2014/main" id="{499660A9-9F04-4808-9EA6-6E851D8E5065}"/>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0" name="Slide Number Placeholder 9">
            <a:extLst>
              <a:ext uri="{FF2B5EF4-FFF2-40B4-BE49-F238E27FC236}">
                <a16:creationId xmlns:a16="http://schemas.microsoft.com/office/drawing/2014/main" id="{5C324B61-E316-471C-A558-5BC933F28A1D}"/>
              </a:ext>
            </a:extLst>
          </p:cNvPr>
          <p:cNvSpPr>
            <a:spLocks noGrp="1"/>
          </p:cNvSpPr>
          <p:nvPr>
            <p:ph type="sldNum" sz="quarter" idx="10"/>
          </p:nvPr>
        </p:nvSpPr>
        <p:spPr/>
        <p:txBody>
          <a:bodyPr/>
          <a:lstStyle/>
          <a:p>
            <a:fld id="{1F90F471-3972-4120-B8B3-0237DE626C35}" type="slidenum">
              <a:rPr lang="en-US" smtClean="0"/>
              <a:pPr/>
              <a:t>271</a:t>
            </a:fld>
            <a:endParaRPr lang="en-US" dirty="0"/>
          </a:p>
        </p:txBody>
      </p:sp>
    </p:spTree>
    <p:extLst>
      <p:ext uri="{BB962C8B-B14F-4D97-AF65-F5344CB8AC3E}">
        <p14:creationId xmlns:p14="http://schemas.microsoft.com/office/powerpoint/2010/main" val="624496302"/>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de-DE" sz="3600" b="1" dirty="0"/>
              <a:t>Interlocking Circles 5</a:t>
            </a:r>
            <a:endParaRPr lang="en-US" sz="3600" b="1" dirty="0"/>
          </a:p>
        </p:txBody>
      </p:sp>
      <p:sp>
        <p:nvSpPr>
          <p:cNvPr id="5" name="Freeform 26">
            <a:extLst>
              <a:ext uri="{FF2B5EF4-FFF2-40B4-BE49-F238E27FC236}">
                <a16:creationId xmlns:a16="http://schemas.microsoft.com/office/drawing/2014/main" id="{9A363737-9463-460C-B429-6FDA4F0C232E}"/>
              </a:ext>
              <a:ext uri="{C183D7F6-B498-43B3-948B-1728B52AA6E4}">
                <adec:decorative xmlns:adec="http://schemas.microsoft.com/office/drawing/2017/decorative" val="1"/>
              </a:ext>
            </a:extLst>
          </p:cNvPr>
          <p:cNvSpPr>
            <a:spLocks/>
          </p:cNvSpPr>
          <p:nvPr/>
        </p:nvSpPr>
        <p:spPr bwMode="auto">
          <a:xfrm>
            <a:off x="5011696" y="1679575"/>
            <a:ext cx="2189162" cy="2189163"/>
          </a:xfrm>
          <a:custGeom>
            <a:avLst/>
            <a:gdLst/>
            <a:ahLst/>
            <a:cxnLst>
              <a:cxn ang="0">
                <a:pos x="2" y="637"/>
              </a:cxn>
              <a:cxn ang="0">
                <a:pos x="8" y="584"/>
              </a:cxn>
              <a:cxn ang="0">
                <a:pos x="17" y="533"/>
              </a:cxn>
              <a:cxn ang="0">
                <a:pos x="30" y="485"/>
              </a:cxn>
              <a:cxn ang="0">
                <a:pos x="53" y="422"/>
              </a:cxn>
              <a:cxn ang="0">
                <a:pos x="83" y="361"/>
              </a:cxn>
              <a:cxn ang="0">
                <a:pos x="127" y="291"/>
              </a:cxn>
              <a:cxn ang="0">
                <a:pos x="179" y="226"/>
              </a:cxn>
              <a:cxn ang="0">
                <a:pos x="238" y="168"/>
              </a:cxn>
              <a:cxn ang="0">
                <a:pos x="290" y="128"/>
              </a:cxn>
              <a:cxn ang="0">
                <a:pos x="346" y="92"/>
              </a:cxn>
              <a:cxn ang="0">
                <a:pos x="390" y="69"/>
              </a:cxn>
              <a:cxn ang="0">
                <a:pos x="484" y="31"/>
              </a:cxn>
              <a:cxn ang="0">
                <a:pos x="566" y="11"/>
              </a:cxn>
              <a:cxn ang="0">
                <a:pos x="619" y="4"/>
              </a:cxn>
              <a:cxn ang="0">
                <a:pos x="724" y="1"/>
              </a:cxn>
              <a:cxn ang="0">
                <a:pos x="777" y="5"/>
              </a:cxn>
              <a:cxn ang="0">
                <a:pos x="828" y="15"/>
              </a:cxn>
              <a:cxn ang="0">
                <a:pos x="878" y="27"/>
              </a:cxn>
              <a:cxn ang="0">
                <a:pos x="942" y="48"/>
              </a:cxn>
              <a:cxn ang="0">
                <a:pos x="1003" y="75"/>
              </a:cxn>
              <a:cxn ang="0">
                <a:pos x="1074" y="119"/>
              </a:cxn>
              <a:cxn ang="0">
                <a:pos x="1128" y="158"/>
              </a:cxn>
              <a:cxn ang="0">
                <a:pos x="1199" y="226"/>
              </a:cxn>
              <a:cxn ang="0">
                <a:pos x="1241" y="277"/>
              </a:cxn>
              <a:cxn ang="0">
                <a:pos x="1279" y="333"/>
              </a:cxn>
              <a:cxn ang="0">
                <a:pos x="1303" y="376"/>
              </a:cxn>
              <a:cxn ang="0">
                <a:pos x="1337" y="452"/>
              </a:cxn>
              <a:cxn ang="0">
                <a:pos x="1365" y="551"/>
              </a:cxn>
              <a:cxn ang="0">
                <a:pos x="1373" y="602"/>
              </a:cxn>
              <a:cxn ang="0">
                <a:pos x="1379" y="690"/>
              </a:cxn>
              <a:cxn ang="0">
                <a:pos x="1308" y="694"/>
              </a:cxn>
              <a:cxn ang="0">
                <a:pos x="1256" y="700"/>
              </a:cxn>
              <a:cxn ang="0">
                <a:pos x="1206" y="711"/>
              </a:cxn>
              <a:cxn ang="0">
                <a:pos x="1141" y="731"/>
              </a:cxn>
              <a:cxn ang="0">
                <a:pos x="1080" y="758"/>
              </a:cxn>
              <a:cxn ang="0">
                <a:pos x="1022" y="789"/>
              </a:cxn>
              <a:cxn ang="0">
                <a:pos x="966" y="827"/>
              </a:cxn>
              <a:cxn ang="0">
                <a:pos x="891" y="892"/>
              </a:cxn>
              <a:cxn ang="0">
                <a:pos x="847" y="940"/>
              </a:cxn>
              <a:cxn ang="0">
                <a:pos x="808" y="994"/>
              </a:cxn>
              <a:cxn ang="0">
                <a:pos x="772" y="1050"/>
              </a:cxn>
              <a:cxn ang="0">
                <a:pos x="743" y="1111"/>
              </a:cxn>
              <a:cxn ang="0">
                <a:pos x="711" y="1207"/>
              </a:cxn>
              <a:cxn ang="0">
                <a:pos x="697" y="1274"/>
              </a:cxn>
              <a:cxn ang="0">
                <a:pos x="690" y="1344"/>
              </a:cxn>
              <a:cxn ang="0">
                <a:pos x="688" y="1326"/>
              </a:cxn>
              <a:cxn ang="0">
                <a:pos x="681" y="1274"/>
              </a:cxn>
              <a:cxn ang="0">
                <a:pos x="671" y="1223"/>
              </a:cxn>
              <a:cxn ang="0">
                <a:pos x="658" y="1174"/>
              </a:cxn>
              <a:cxn ang="0">
                <a:pos x="635" y="1111"/>
              </a:cxn>
              <a:cxn ang="0">
                <a:pos x="606" y="1050"/>
              </a:cxn>
              <a:cxn ang="0">
                <a:pos x="562" y="980"/>
              </a:cxn>
              <a:cxn ang="0">
                <a:pos x="510" y="916"/>
              </a:cxn>
              <a:cxn ang="0">
                <a:pos x="451" y="858"/>
              </a:cxn>
              <a:cxn ang="0">
                <a:pos x="399" y="817"/>
              </a:cxn>
              <a:cxn ang="0">
                <a:pos x="343" y="781"/>
              </a:cxn>
              <a:cxn ang="0">
                <a:pos x="298" y="758"/>
              </a:cxn>
              <a:cxn ang="0">
                <a:pos x="204" y="720"/>
              </a:cxn>
              <a:cxn ang="0">
                <a:pos x="122" y="700"/>
              </a:cxn>
              <a:cxn ang="0">
                <a:pos x="70" y="694"/>
              </a:cxn>
            </a:cxnLst>
            <a:rect l="0" t="0" r="r" b="b"/>
            <a:pathLst>
              <a:path w="1379" h="1379">
                <a:moveTo>
                  <a:pt x="0" y="690"/>
                </a:moveTo>
                <a:lnTo>
                  <a:pt x="1" y="654"/>
                </a:lnTo>
                <a:lnTo>
                  <a:pt x="2" y="637"/>
                </a:lnTo>
                <a:lnTo>
                  <a:pt x="4" y="619"/>
                </a:lnTo>
                <a:lnTo>
                  <a:pt x="5" y="602"/>
                </a:lnTo>
                <a:lnTo>
                  <a:pt x="8" y="584"/>
                </a:lnTo>
                <a:lnTo>
                  <a:pt x="10" y="567"/>
                </a:lnTo>
                <a:lnTo>
                  <a:pt x="14" y="551"/>
                </a:lnTo>
                <a:lnTo>
                  <a:pt x="17" y="533"/>
                </a:lnTo>
                <a:lnTo>
                  <a:pt x="21" y="517"/>
                </a:lnTo>
                <a:lnTo>
                  <a:pt x="26" y="501"/>
                </a:lnTo>
                <a:lnTo>
                  <a:pt x="30" y="485"/>
                </a:lnTo>
                <a:lnTo>
                  <a:pt x="41" y="452"/>
                </a:lnTo>
                <a:lnTo>
                  <a:pt x="48" y="436"/>
                </a:lnTo>
                <a:lnTo>
                  <a:pt x="53" y="422"/>
                </a:lnTo>
                <a:lnTo>
                  <a:pt x="68" y="391"/>
                </a:lnTo>
                <a:lnTo>
                  <a:pt x="75" y="376"/>
                </a:lnTo>
                <a:lnTo>
                  <a:pt x="83" y="361"/>
                </a:lnTo>
                <a:lnTo>
                  <a:pt x="99" y="333"/>
                </a:lnTo>
                <a:lnTo>
                  <a:pt x="118" y="304"/>
                </a:lnTo>
                <a:lnTo>
                  <a:pt x="127" y="291"/>
                </a:lnTo>
                <a:lnTo>
                  <a:pt x="137" y="277"/>
                </a:lnTo>
                <a:lnTo>
                  <a:pt x="157" y="250"/>
                </a:lnTo>
                <a:lnTo>
                  <a:pt x="179" y="226"/>
                </a:lnTo>
                <a:lnTo>
                  <a:pt x="202" y="202"/>
                </a:lnTo>
                <a:lnTo>
                  <a:pt x="226" y="179"/>
                </a:lnTo>
                <a:lnTo>
                  <a:pt x="238" y="168"/>
                </a:lnTo>
                <a:lnTo>
                  <a:pt x="250" y="158"/>
                </a:lnTo>
                <a:lnTo>
                  <a:pt x="277" y="137"/>
                </a:lnTo>
                <a:lnTo>
                  <a:pt x="290" y="128"/>
                </a:lnTo>
                <a:lnTo>
                  <a:pt x="304" y="119"/>
                </a:lnTo>
                <a:lnTo>
                  <a:pt x="332" y="100"/>
                </a:lnTo>
                <a:lnTo>
                  <a:pt x="346" y="92"/>
                </a:lnTo>
                <a:lnTo>
                  <a:pt x="360" y="83"/>
                </a:lnTo>
                <a:lnTo>
                  <a:pt x="375" y="75"/>
                </a:lnTo>
                <a:lnTo>
                  <a:pt x="390" y="69"/>
                </a:lnTo>
                <a:lnTo>
                  <a:pt x="421" y="54"/>
                </a:lnTo>
                <a:lnTo>
                  <a:pt x="452" y="42"/>
                </a:lnTo>
                <a:lnTo>
                  <a:pt x="484" y="31"/>
                </a:lnTo>
                <a:lnTo>
                  <a:pt x="517" y="22"/>
                </a:lnTo>
                <a:lnTo>
                  <a:pt x="550" y="15"/>
                </a:lnTo>
                <a:lnTo>
                  <a:pt x="566" y="11"/>
                </a:lnTo>
                <a:lnTo>
                  <a:pt x="584" y="8"/>
                </a:lnTo>
                <a:lnTo>
                  <a:pt x="601" y="5"/>
                </a:lnTo>
                <a:lnTo>
                  <a:pt x="619" y="4"/>
                </a:lnTo>
                <a:lnTo>
                  <a:pt x="654" y="1"/>
                </a:lnTo>
                <a:lnTo>
                  <a:pt x="689" y="0"/>
                </a:lnTo>
                <a:lnTo>
                  <a:pt x="724" y="1"/>
                </a:lnTo>
                <a:lnTo>
                  <a:pt x="743" y="3"/>
                </a:lnTo>
                <a:lnTo>
                  <a:pt x="759" y="4"/>
                </a:lnTo>
                <a:lnTo>
                  <a:pt x="777" y="5"/>
                </a:lnTo>
                <a:lnTo>
                  <a:pt x="794" y="8"/>
                </a:lnTo>
                <a:lnTo>
                  <a:pt x="812" y="11"/>
                </a:lnTo>
                <a:lnTo>
                  <a:pt x="828" y="15"/>
                </a:lnTo>
                <a:lnTo>
                  <a:pt x="845" y="18"/>
                </a:lnTo>
                <a:lnTo>
                  <a:pt x="861" y="22"/>
                </a:lnTo>
                <a:lnTo>
                  <a:pt x="878" y="27"/>
                </a:lnTo>
                <a:lnTo>
                  <a:pt x="894" y="31"/>
                </a:lnTo>
                <a:lnTo>
                  <a:pt x="926" y="42"/>
                </a:lnTo>
                <a:lnTo>
                  <a:pt x="942" y="48"/>
                </a:lnTo>
                <a:lnTo>
                  <a:pt x="957" y="54"/>
                </a:lnTo>
                <a:lnTo>
                  <a:pt x="988" y="69"/>
                </a:lnTo>
                <a:lnTo>
                  <a:pt x="1003" y="75"/>
                </a:lnTo>
                <a:lnTo>
                  <a:pt x="1018" y="83"/>
                </a:lnTo>
                <a:lnTo>
                  <a:pt x="1047" y="100"/>
                </a:lnTo>
                <a:lnTo>
                  <a:pt x="1074" y="119"/>
                </a:lnTo>
                <a:lnTo>
                  <a:pt x="1089" y="128"/>
                </a:lnTo>
                <a:lnTo>
                  <a:pt x="1101" y="137"/>
                </a:lnTo>
                <a:lnTo>
                  <a:pt x="1128" y="158"/>
                </a:lnTo>
                <a:lnTo>
                  <a:pt x="1152" y="179"/>
                </a:lnTo>
                <a:lnTo>
                  <a:pt x="1176" y="202"/>
                </a:lnTo>
                <a:lnTo>
                  <a:pt x="1199" y="226"/>
                </a:lnTo>
                <a:lnTo>
                  <a:pt x="1210" y="238"/>
                </a:lnTo>
                <a:lnTo>
                  <a:pt x="1221" y="250"/>
                </a:lnTo>
                <a:lnTo>
                  <a:pt x="1241" y="277"/>
                </a:lnTo>
                <a:lnTo>
                  <a:pt x="1252" y="291"/>
                </a:lnTo>
                <a:lnTo>
                  <a:pt x="1261" y="304"/>
                </a:lnTo>
                <a:lnTo>
                  <a:pt x="1279" y="333"/>
                </a:lnTo>
                <a:lnTo>
                  <a:pt x="1287" y="346"/>
                </a:lnTo>
                <a:lnTo>
                  <a:pt x="1295" y="361"/>
                </a:lnTo>
                <a:lnTo>
                  <a:pt x="1303" y="376"/>
                </a:lnTo>
                <a:lnTo>
                  <a:pt x="1311" y="391"/>
                </a:lnTo>
                <a:lnTo>
                  <a:pt x="1325" y="422"/>
                </a:lnTo>
                <a:lnTo>
                  <a:pt x="1337" y="452"/>
                </a:lnTo>
                <a:lnTo>
                  <a:pt x="1348" y="485"/>
                </a:lnTo>
                <a:lnTo>
                  <a:pt x="1357" y="517"/>
                </a:lnTo>
                <a:lnTo>
                  <a:pt x="1365" y="551"/>
                </a:lnTo>
                <a:lnTo>
                  <a:pt x="1368" y="567"/>
                </a:lnTo>
                <a:lnTo>
                  <a:pt x="1370" y="584"/>
                </a:lnTo>
                <a:lnTo>
                  <a:pt x="1373" y="602"/>
                </a:lnTo>
                <a:lnTo>
                  <a:pt x="1374" y="619"/>
                </a:lnTo>
                <a:lnTo>
                  <a:pt x="1377" y="654"/>
                </a:lnTo>
                <a:lnTo>
                  <a:pt x="1379" y="690"/>
                </a:lnTo>
                <a:lnTo>
                  <a:pt x="1343" y="691"/>
                </a:lnTo>
                <a:lnTo>
                  <a:pt x="1326" y="692"/>
                </a:lnTo>
                <a:lnTo>
                  <a:pt x="1308" y="694"/>
                </a:lnTo>
                <a:lnTo>
                  <a:pt x="1291" y="695"/>
                </a:lnTo>
                <a:lnTo>
                  <a:pt x="1273" y="698"/>
                </a:lnTo>
                <a:lnTo>
                  <a:pt x="1256" y="700"/>
                </a:lnTo>
                <a:lnTo>
                  <a:pt x="1240" y="704"/>
                </a:lnTo>
                <a:lnTo>
                  <a:pt x="1222" y="707"/>
                </a:lnTo>
                <a:lnTo>
                  <a:pt x="1206" y="711"/>
                </a:lnTo>
                <a:lnTo>
                  <a:pt x="1190" y="716"/>
                </a:lnTo>
                <a:lnTo>
                  <a:pt x="1174" y="720"/>
                </a:lnTo>
                <a:lnTo>
                  <a:pt x="1141" y="731"/>
                </a:lnTo>
                <a:lnTo>
                  <a:pt x="1125" y="738"/>
                </a:lnTo>
                <a:lnTo>
                  <a:pt x="1111" y="743"/>
                </a:lnTo>
                <a:lnTo>
                  <a:pt x="1080" y="758"/>
                </a:lnTo>
                <a:lnTo>
                  <a:pt x="1065" y="765"/>
                </a:lnTo>
                <a:lnTo>
                  <a:pt x="1050" y="773"/>
                </a:lnTo>
                <a:lnTo>
                  <a:pt x="1022" y="789"/>
                </a:lnTo>
                <a:lnTo>
                  <a:pt x="993" y="808"/>
                </a:lnTo>
                <a:lnTo>
                  <a:pt x="980" y="817"/>
                </a:lnTo>
                <a:lnTo>
                  <a:pt x="966" y="827"/>
                </a:lnTo>
                <a:lnTo>
                  <a:pt x="939" y="847"/>
                </a:lnTo>
                <a:lnTo>
                  <a:pt x="915" y="869"/>
                </a:lnTo>
                <a:lnTo>
                  <a:pt x="891" y="892"/>
                </a:lnTo>
                <a:lnTo>
                  <a:pt x="868" y="916"/>
                </a:lnTo>
                <a:lnTo>
                  <a:pt x="857" y="928"/>
                </a:lnTo>
                <a:lnTo>
                  <a:pt x="847" y="940"/>
                </a:lnTo>
                <a:lnTo>
                  <a:pt x="826" y="967"/>
                </a:lnTo>
                <a:lnTo>
                  <a:pt x="817" y="980"/>
                </a:lnTo>
                <a:lnTo>
                  <a:pt x="808" y="994"/>
                </a:lnTo>
                <a:lnTo>
                  <a:pt x="789" y="1022"/>
                </a:lnTo>
                <a:lnTo>
                  <a:pt x="781" y="1036"/>
                </a:lnTo>
                <a:lnTo>
                  <a:pt x="772" y="1050"/>
                </a:lnTo>
                <a:lnTo>
                  <a:pt x="764" y="1065"/>
                </a:lnTo>
                <a:lnTo>
                  <a:pt x="758" y="1080"/>
                </a:lnTo>
                <a:lnTo>
                  <a:pt x="743" y="1111"/>
                </a:lnTo>
                <a:lnTo>
                  <a:pt x="731" y="1142"/>
                </a:lnTo>
                <a:lnTo>
                  <a:pt x="720" y="1174"/>
                </a:lnTo>
                <a:lnTo>
                  <a:pt x="711" y="1207"/>
                </a:lnTo>
                <a:lnTo>
                  <a:pt x="704" y="1240"/>
                </a:lnTo>
                <a:lnTo>
                  <a:pt x="700" y="1256"/>
                </a:lnTo>
                <a:lnTo>
                  <a:pt x="697" y="1274"/>
                </a:lnTo>
                <a:lnTo>
                  <a:pt x="694" y="1291"/>
                </a:lnTo>
                <a:lnTo>
                  <a:pt x="693" y="1309"/>
                </a:lnTo>
                <a:lnTo>
                  <a:pt x="690" y="1344"/>
                </a:lnTo>
                <a:lnTo>
                  <a:pt x="689" y="1379"/>
                </a:lnTo>
                <a:lnTo>
                  <a:pt x="688" y="1344"/>
                </a:lnTo>
                <a:lnTo>
                  <a:pt x="688" y="1326"/>
                </a:lnTo>
                <a:lnTo>
                  <a:pt x="685" y="1309"/>
                </a:lnTo>
                <a:lnTo>
                  <a:pt x="684" y="1291"/>
                </a:lnTo>
                <a:lnTo>
                  <a:pt x="681" y="1274"/>
                </a:lnTo>
                <a:lnTo>
                  <a:pt x="678" y="1256"/>
                </a:lnTo>
                <a:lnTo>
                  <a:pt x="676" y="1240"/>
                </a:lnTo>
                <a:lnTo>
                  <a:pt x="671" y="1223"/>
                </a:lnTo>
                <a:lnTo>
                  <a:pt x="667" y="1207"/>
                </a:lnTo>
                <a:lnTo>
                  <a:pt x="663" y="1190"/>
                </a:lnTo>
                <a:lnTo>
                  <a:pt x="658" y="1174"/>
                </a:lnTo>
                <a:lnTo>
                  <a:pt x="647" y="1142"/>
                </a:lnTo>
                <a:lnTo>
                  <a:pt x="642" y="1126"/>
                </a:lnTo>
                <a:lnTo>
                  <a:pt x="635" y="1111"/>
                </a:lnTo>
                <a:lnTo>
                  <a:pt x="622" y="1080"/>
                </a:lnTo>
                <a:lnTo>
                  <a:pt x="614" y="1065"/>
                </a:lnTo>
                <a:lnTo>
                  <a:pt x="606" y="1050"/>
                </a:lnTo>
                <a:lnTo>
                  <a:pt x="589" y="1022"/>
                </a:lnTo>
                <a:lnTo>
                  <a:pt x="572" y="994"/>
                </a:lnTo>
                <a:lnTo>
                  <a:pt x="562" y="980"/>
                </a:lnTo>
                <a:lnTo>
                  <a:pt x="552" y="967"/>
                </a:lnTo>
                <a:lnTo>
                  <a:pt x="531" y="940"/>
                </a:lnTo>
                <a:lnTo>
                  <a:pt x="510" y="916"/>
                </a:lnTo>
                <a:lnTo>
                  <a:pt x="487" y="892"/>
                </a:lnTo>
                <a:lnTo>
                  <a:pt x="463" y="869"/>
                </a:lnTo>
                <a:lnTo>
                  <a:pt x="451" y="858"/>
                </a:lnTo>
                <a:lnTo>
                  <a:pt x="439" y="847"/>
                </a:lnTo>
                <a:lnTo>
                  <a:pt x="412" y="827"/>
                </a:lnTo>
                <a:lnTo>
                  <a:pt x="399" y="817"/>
                </a:lnTo>
                <a:lnTo>
                  <a:pt x="385" y="808"/>
                </a:lnTo>
                <a:lnTo>
                  <a:pt x="358" y="789"/>
                </a:lnTo>
                <a:lnTo>
                  <a:pt x="343" y="781"/>
                </a:lnTo>
                <a:lnTo>
                  <a:pt x="328" y="773"/>
                </a:lnTo>
                <a:lnTo>
                  <a:pt x="313" y="765"/>
                </a:lnTo>
                <a:lnTo>
                  <a:pt x="298" y="758"/>
                </a:lnTo>
                <a:lnTo>
                  <a:pt x="267" y="743"/>
                </a:lnTo>
                <a:lnTo>
                  <a:pt x="237" y="731"/>
                </a:lnTo>
                <a:lnTo>
                  <a:pt x="204" y="720"/>
                </a:lnTo>
                <a:lnTo>
                  <a:pt x="172" y="711"/>
                </a:lnTo>
                <a:lnTo>
                  <a:pt x="138" y="704"/>
                </a:lnTo>
                <a:lnTo>
                  <a:pt x="122" y="700"/>
                </a:lnTo>
                <a:lnTo>
                  <a:pt x="105" y="698"/>
                </a:lnTo>
                <a:lnTo>
                  <a:pt x="87" y="695"/>
                </a:lnTo>
                <a:lnTo>
                  <a:pt x="70" y="694"/>
                </a:lnTo>
                <a:lnTo>
                  <a:pt x="35" y="691"/>
                </a:lnTo>
                <a:lnTo>
                  <a:pt x="0" y="690"/>
                </a:lnTo>
                <a:close/>
              </a:path>
            </a:pathLst>
          </a:custGeom>
          <a:solidFill>
            <a:schemeClr val="accent1"/>
          </a:solidFill>
          <a:ln w="9525">
            <a:noFill/>
            <a:round/>
            <a:headEnd/>
            <a:tailEnd/>
          </a:ln>
        </p:spPr>
        <p:txBody>
          <a:bodyPr/>
          <a:lstStyle/>
          <a:p>
            <a:endParaRPr lang="en-US"/>
          </a:p>
        </p:txBody>
      </p:sp>
      <p:sp>
        <p:nvSpPr>
          <p:cNvPr id="11" name="Freeform 32">
            <a:extLst>
              <a:ext uri="{FF2B5EF4-FFF2-40B4-BE49-F238E27FC236}">
                <a16:creationId xmlns:a16="http://schemas.microsoft.com/office/drawing/2014/main" id="{9A5E9A77-208E-4093-AF95-3AC2A73C4692}"/>
              </a:ext>
              <a:ext uri="{C183D7F6-B498-43B3-948B-1728B52AA6E4}">
                <adec:decorative xmlns:adec="http://schemas.microsoft.com/office/drawing/2017/decorative" val="1"/>
              </a:ext>
            </a:extLst>
          </p:cNvPr>
          <p:cNvSpPr>
            <a:spLocks/>
          </p:cNvSpPr>
          <p:nvPr/>
        </p:nvSpPr>
        <p:spPr bwMode="auto">
          <a:xfrm>
            <a:off x="6105483" y="2774950"/>
            <a:ext cx="2189163" cy="2189163"/>
          </a:xfrm>
          <a:custGeom>
            <a:avLst/>
            <a:gdLst/>
            <a:ahLst/>
            <a:cxnLst>
              <a:cxn ang="0">
                <a:pos x="743" y="2"/>
              </a:cxn>
              <a:cxn ang="0">
                <a:pos x="795" y="8"/>
              </a:cxn>
              <a:cxn ang="0">
                <a:pos x="846" y="17"/>
              </a:cxn>
              <a:cxn ang="0">
                <a:pos x="894" y="30"/>
              </a:cxn>
              <a:cxn ang="0">
                <a:pos x="957" y="53"/>
              </a:cxn>
              <a:cxn ang="0">
                <a:pos x="1018" y="83"/>
              </a:cxn>
              <a:cxn ang="0">
                <a:pos x="1089" y="127"/>
              </a:cxn>
              <a:cxn ang="0">
                <a:pos x="1153" y="179"/>
              </a:cxn>
              <a:cxn ang="0">
                <a:pos x="1211" y="238"/>
              </a:cxn>
              <a:cxn ang="0">
                <a:pos x="1252" y="290"/>
              </a:cxn>
              <a:cxn ang="0">
                <a:pos x="1287" y="346"/>
              </a:cxn>
              <a:cxn ang="0">
                <a:pos x="1312" y="390"/>
              </a:cxn>
              <a:cxn ang="0">
                <a:pos x="1348" y="484"/>
              </a:cxn>
              <a:cxn ang="0">
                <a:pos x="1368" y="566"/>
              </a:cxn>
              <a:cxn ang="0">
                <a:pos x="1375" y="619"/>
              </a:cxn>
              <a:cxn ang="0">
                <a:pos x="1378" y="724"/>
              </a:cxn>
              <a:cxn ang="0">
                <a:pos x="1374" y="777"/>
              </a:cxn>
              <a:cxn ang="0">
                <a:pos x="1366" y="828"/>
              </a:cxn>
              <a:cxn ang="0">
                <a:pos x="1353" y="878"/>
              </a:cxn>
              <a:cxn ang="0">
                <a:pos x="1332" y="942"/>
              </a:cxn>
              <a:cxn ang="0">
                <a:pos x="1304" y="1003"/>
              </a:cxn>
              <a:cxn ang="0">
                <a:pos x="1262" y="1074"/>
              </a:cxn>
              <a:cxn ang="0">
                <a:pos x="1221" y="1128"/>
              </a:cxn>
              <a:cxn ang="0">
                <a:pos x="1153" y="1199"/>
              </a:cxn>
              <a:cxn ang="0">
                <a:pos x="1102" y="1241"/>
              </a:cxn>
              <a:cxn ang="0">
                <a:pos x="1048" y="1279"/>
              </a:cxn>
              <a:cxn ang="0">
                <a:pos x="1003" y="1303"/>
              </a:cxn>
              <a:cxn ang="0">
                <a:pos x="927" y="1337"/>
              </a:cxn>
              <a:cxn ang="0">
                <a:pos x="828" y="1365"/>
              </a:cxn>
              <a:cxn ang="0">
                <a:pos x="777" y="1373"/>
              </a:cxn>
              <a:cxn ang="0">
                <a:pos x="690" y="1379"/>
              </a:cxn>
              <a:cxn ang="0">
                <a:pos x="685" y="1308"/>
              </a:cxn>
              <a:cxn ang="0">
                <a:pos x="679" y="1256"/>
              </a:cxn>
              <a:cxn ang="0">
                <a:pos x="668" y="1206"/>
              </a:cxn>
              <a:cxn ang="0">
                <a:pos x="648" y="1141"/>
              </a:cxn>
              <a:cxn ang="0">
                <a:pos x="622" y="1080"/>
              </a:cxn>
              <a:cxn ang="0">
                <a:pos x="590" y="1022"/>
              </a:cxn>
              <a:cxn ang="0">
                <a:pos x="552" y="966"/>
              </a:cxn>
              <a:cxn ang="0">
                <a:pos x="487" y="891"/>
              </a:cxn>
              <a:cxn ang="0">
                <a:pos x="439" y="847"/>
              </a:cxn>
              <a:cxn ang="0">
                <a:pos x="385" y="808"/>
              </a:cxn>
              <a:cxn ang="0">
                <a:pos x="329" y="772"/>
              </a:cxn>
              <a:cxn ang="0">
                <a:pos x="268" y="743"/>
              </a:cxn>
              <a:cxn ang="0">
                <a:pos x="172" y="711"/>
              </a:cxn>
              <a:cxn ang="0">
                <a:pos x="105" y="697"/>
              </a:cxn>
              <a:cxn ang="0">
                <a:pos x="35" y="690"/>
              </a:cxn>
              <a:cxn ang="0">
                <a:pos x="54" y="688"/>
              </a:cxn>
              <a:cxn ang="0">
                <a:pos x="105" y="681"/>
              </a:cxn>
              <a:cxn ang="0">
                <a:pos x="156" y="671"/>
              </a:cxn>
              <a:cxn ang="0">
                <a:pos x="205" y="658"/>
              </a:cxn>
              <a:cxn ang="0">
                <a:pos x="268" y="635"/>
              </a:cxn>
              <a:cxn ang="0">
                <a:pos x="329" y="606"/>
              </a:cxn>
              <a:cxn ang="0">
                <a:pos x="400" y="562"/>
              </a:cxn>
              <a:cxn ang="0">
                <a:pos x="463" y="510"/>
              </a:cxn>
              <a:cxn ang="0">
                <a:pos x="521" y="451"/>
              </a:cxn>
              <a:cxn ang="0">
                <a:pos x="563" y="399"/>
              </a:cxn>
              <a:cxn ang="0">
                <a:pos x="598" y="343"/>
              </a:cxn>
              <a:cxn ang="0">
                <a:pos x="622" y="298"/>
              </a:cxn>
              <a:cxn ang="0">
                <a:pos x="659" y="204"/>
              </a:cxn>
              <a:cxn ang="0">
                <a:pos x="679" y="122"/>
              </a:cxn>
              <a:cxn ang="0">
                <a:pos x="685" y="70"/>
              </a:cxn>
            </a:cxnLst>
            <a:rect l="0" t="0" r="r" b="b"/>
            <a:pathLst>
              <a:path w="1379" h="1379">
                <a:moveTo>
                  <a:pt x="690" y="0"/>
                </a:moveTo>
                <a:lnTo>
                  <a:pt x="725" y="1"/>
                </a:lnTo>
                <a:lnTo>
                  <a:pt x="743" y="2"/>
                </a:lnTo>
                <a:lnTo>
                  <a:pt x="760" y="4"/>
                </a:lnTo>
                <a:lnTo>
                  <a:pt x="777" y="5"/>
                </a:lnTo>
                <a:lnTo>
                  <a:pt x="795" y="8"/>
                </a:lnTo>
                <a:lnTo>
                  <a:pt x="812" y="10"/>
                </a:lnTo>
                <a:lnTo>
                  <a:pt x="828" y="14"/>
                </a:lnTo>
                <a:lnTo>
                  <a:pt x="846" y="17"/>
                </a:lnTo>
                <a:lnTo>
                  <a:pt x="862" y="21"/>
                </a:lnTo>
                <a:lnTo>
                  <a:pt x="878" y="26"/>
                </a:lnTo>
                <a:lnTo>
                  <a:pt x="894" y="30"/>
                </a:lnTo>
                <a:lnTo>
                  <a:pt x="927" y="41"/>
                </a:lnTo>
                <a:lnTo>
                  <a:pt x="943" y="48"/>
                </a:lnTo>
                <a:lnTo>
                  <a:pt x="957" y="53"/>
                </a:lnTo>
                <a:lnTo>
                  <a:pt x="988" y="68"/>
                </a:lnTo>
                <a:lnTo>
                  <a:pt x="1003" y="75"/>
                </a:lnTo>
                <a:lnTo>
                  <a:pt x="1018" y="83"/>
                </a:lnTo>
                <a:lnTo>
                  <a:pt x="1048" y="99"/>
                </a:lnTo>
                <a:lnTo>
                  <a:pt x="1075" y="118"/>
                </a:lnTo>
                <a:lnTo>
                  <a:pt x="1089" y="127"/>
                </a:lnTo>
                <a:lnTo>
                  <a:pt x="1102" y="137"/>
                </a:lnTo>
                <a:lnTo>
                  <a:pt x="1129" y="157"/>
                </a:lnTo>
                <a:lnTo>
                  <a:pt x="1153" y="179"/>
                </a:lnTo>
                <a:lnTo>
                  <a:pt x="1177" y="202"/>
                </a:lnTo>
                <a:lnTo>
                  <a:pt x="1200" y="226"/>
                </a:lnTo>
                <a:lnTo>
                  <a:pt x="1211" y="238"/>
                </a:lnTo>
                <a:lnTo>
                  <a:pt x="1221" y="250"/>
                </a:lnTo>
                <a:lnTo>
                  <a:pt x="1242" y="277"/>
                </a:lnTo>
                <a:lnTo>
                  <a:pt x="1252" y="290"/>
                </a:lnTo>
                <a:lnTo>
                  <a:pt x="1262" y="304"/>
                </a:lnTo>
                <a:lnTo>
                  <a:pt x="1279" y="332"/>
                </a:lnTo>
                <a:lnTo>
                  <a:pt x="1287" y="346"/>
                </a:lnTo>
                <a:lnTo>
                  <a:pt x="1296" y="360"/>
                </a:lnTo>
                <a:lnTo>
                  <a:pt x="1304" y="375"/>
                </a:lnTo>
                <a:lnTo>
                  <a:pt x="1312" y="390"/>
                </a:lnTo>
                <a:lnTo>
                  <a:pt x="1325" y="421"/>
                </a:lnTo>
                <a:lnTo>
                  <a:pt x="1337" y="452"/>
                </a:lnTo>
                <a:lnTo>
                  <a:pt x="1348" y="484"/>
                </a:lnTo>
                <a:lnTo>
                  <a:pt x="1357" y="517"/>
                </a:lnTo>
                <a:lnTo>
                  <a:pt x="1366" y="550"/>
                </a:lnTo>
                <a:lnTo>
                  <a:pt x="1368" y="566"/>
                </a:lnTo>
                <a:lnTo>
                  <a:pt x="1371" y="584"/>
                </a:lnTo>
                <a:lnTo>
                  <a:pt x="1374" y="601"/>
                </a:lnTo>
                <a:lnTo>
                  <a:pt x="1375" y="619"/>
                </a:lnTo>
                <a:lnTo>
                  <a:pt x="1378" y="654"/>
                </a:lnTo>
                <a:lnTo>
                  <a:pt x="1379" y="689"/>
                </a:lnTo>
                <a:lnTo>
                  <a:pt x="1378" y="724"/>
                </a:lnTo>
                <a:lnTo>
                  <a:pt x="1378" y="743"/>
                </a:lnTo>
                <a:lnTo>
                  <a:pt x="1375" y="759"/>
                </a:lnTo>
                <a:lnTo>
                  <a:pt x="1374" y="777"/>
                </a:lnTo>
                <a:lnTo>
                  <a:pt x="1371" y="794"/>
                </a:lnTo>
                <a:lnTo>
                  <a:pt x="1368" y="812"/>
                </a:lnTo>
                <a:lnTo>
                  <a:pt x="1366" y="828"/>
                </a:lnTo>
                <a:lnTo>
                  <a:pt x="1361" y="845"/>
                </a:lnTo>
                <a:lnTo>
                  <a:pt x="1357" y="861"/>
                </a:lnTo>
                <a:lnTo>
                  <a:pt x="1353" y="878"/>
                </a:lnTo>
                <a:lnTo>
                  <a:pt x="1348" y="894"/>
                </a:lnTo>
                <a:lnTo>
                  <a:pt x="1337" y="926"/>
                </a:lnTo>
                <a:lnTo>
                  <a:pt x="1332" y="942"/>
                </a:lnTo>
                <a:lnTo>
                  <a:pt x="1325" y="957"/>
                </a:lnTo>
                <a:lnTo>
                  <a:pt x="1312" y="988"/>
                </a:lnTo>
                <a:lnTo>
                  <a:pt x="1304" y="1003"/>
                </a:lnTo>
                <a:lnTo>
                  <a:pt x="1296" y="1018"/>
                </a:lnTo>
                <a:lnTo>
                  <a:pt x="1279" y="1047"/>
                </a:lnTo>
                <a:lnTo>
                  <a:pt x="1262" y="1074"/>
                </a:lnTo>
                <a:lnTo>
                  <a:pt x="1252" y="1089"/>
                </a:lnTo>
                <a:lnTo>
                  <a:pt x="1242" y="1101"/>
                </a:lnTo>
                <a:lnTo>
                  <a:pt x="1221" y="1128"/>
                </a:lnTo>
                <a:lnTo>
                  <a:pt x="1200" y="1152"/>
                </a:lnTo>
                <a:lnTo>
                  <a:pt x="1177" y="1176"/>
                </a:lnTo>
                <a:lnTo>
                  <a:pt x="1153" y="1199"/>
                </a:lnTo>
                <a:lnTo>
                  <a:pt x="1141" y="1210"/>
                </a:lnTo>
                <a:lnTo>
                  <a:pt x="1129" y="1221"/>
                </a:lnTo>
                <a:lnTo>
                  <a:pt x="1102" y="1241"/>
                </a:lnTo>
                <a:lnTo>
                  <a:pt x="1089" y="1252"/>
                </a:lnTo>
                <a:lnTo>
                  <a:pt x="1075" y="1261"/>
                </a:lnTo>
                <a:lnTo>
                  <a:pt x="1048" y="1279"/>
                </a:lnTo>
                <a:lnTo>
                  <a:pt x="1033" y="1287"/>
                </a:lnTo>
                <a:lnTo>
                  <a:pt x="1018" y="1295"/>
                </a:lnTo>
                <a:lnTo>
                  <a:pt x="1003" y="1303"/>
                </a:lnTo>
                <a:lnTo>
                  <a:pt x="988" y="1311"/>
                </a:lnTo>
                <a:lnTo>
                  <a:pt x="957" y="1325"/>
                </a:lnTo>
                <a:lnTo>
                  <a:pt x="927" y="1337"/>
                </a:lnTo>
                <a:lnTo>
                  <a:pt x="894" y="1348"/>
                </a:lnTo>
                <a:lnTo>
                  <a:pt x="862" y="1357"/>
                </a:lnTo>
                <a:lnTo>
                  <a:pt x="828" y="1365"/>
                </a:lnTo>
                <a:lnTo>
                  <a:pt x="812" y="1368"/>
                </a:lnTo>
                <a:lnTo>
                  <a:pt x="795" y="1370"/>
                </a:lnTo>
                <a:lnTo>
                  <a:pt x="777" y="1373"/>
                </a:lnTo>
                <a:lnTo>
                  <a:pt x="760" y="1374"/>
                </a:lnTo>
                <a:lnTo>
                  <a:pt x="725" y="1377"/>
                </a:lnTo>
                <a:lnTo>
                  <a:pt x="690" y="1379"/>
                </a:lnTo>
                <a:lnTo>
                  <a:pt x="688" y="1343"/>
                </a:lnTo>
                <a:lnTo>
                  <a:pt x="688" y="1326"/>
                </a:lnTo>
                <a:lnTo>
                  <a:pt x="685" y="1308"/>
                </a:lnTo>
                <a:lnTo>
                  <a:pt x="684" y="1291"/>
                </a:lnTo>
                <a:lnTo>
                  <a:pt x="681" y="1273"/>
                </a:lnTo>
                <a:lnTo>
                  <a:pt x="679" y="1256"/>
                </a:lnTo>
                <a:lnTo>
                  <a:pt x="676" y="1240"/>
                </a:lnTo>
                <a:lnTo>
                  <a:pt x="672" y="1222"/>
                </a:lnTo>
                <a:lnTo>
                  <a:pt x="668" y="1206"/>
                </a:lnTo>
                <a:lnTo>
                  <a:pt x="664" y="1190"/>
                </a:lnTo>
                <a:lnTo>
                  <a:pt x="659" y="1174"/>
                </a:lnTo>
                <a:lnTo>
                  <a:pt x="648" y="1141"/>
                </a:lnTo>
                <a:lnTo>
                  <a:pt x="642" y="1125"/>
                </a:lnTo>
                <a:lnTo>
                  <a:pt x="636" y="1111"/>
                </a:lnTo>
                <a:lnTo>
                  <a:pt x="622" y="1080"/>
                </a:lnTo>
                <a:lnTo>
                  <a:pt x="614" y="1065"/>
                </a:lnTo>
                <a:lnTo>
                  <a:pt x="606" y="1050"/>
                </a:lnTo>
                <a:lnTo>
                  <a:pt x="590" y="1022"/>
                </a:lnTo>
                <a:lnTo>
                  <a:pt x="572" y="993"/>
                </a:lnTo>
                <a:lnTo>
                  <a:pt x="563" y="980"/>
                </a:lnTo>
                <a:lnTo>
                  <a:pt x="552" y="966"/>
                </a:lnTo>
                <a:lnTo>
                  <a:pt x="532" y="939"/>
                </a:lnTo>
                <a:lnTo>
                  <a:pt x="510" y="915"/>
                </a:lnTo>
                <a:lnTo>
                  <a:pt x="487" y="891"/>
                </a:lnTo>
                <a:lnTo>
                  <a:pt x="463" y="868"/>
                </a:lnTo>
                <a:lnTo>
                  <a:pt x="451" y="857"/>
                </a:lnTo>
                <a:lnTo>
                  <a:pt x="439" y="847"/>
                </a:lnTo>
                <a:lnTo>
                  <a:pt x="412" y="826"/>
                </a:lnTo>
                <a:lnTo>
                  <a:pt x="400" y="817"/>
                </a:lnTo>
                <a:lnTo>
                  <a:pt x="385" y="808"/>
                </a:lnTo>
                <a:lnTo>
                  <a:pt x="358" y="789"/>
                </a:lnTo>
                <a:lnTo>
                  <a:pt x="343" y="781"/>
                </a:lnTo>
                <a:lnTo>
                  <a:pt x="329" y="772"/>
                </a:lnTo>
                <a:lnTo>
                  <a:pt x="314" y="764"/>
                </a:lnTo>
                <a:lnTo>
                  <a:pt x="299" y="758"/>
                </a:lnTo>
                <a:lnTo>
                  <a:pt x="268" y="743"/>
                </a:lnTo>
                <a:lnTo>
                  <a:pt x="237" y="731"/>
                </a:lnTo>
                <a:lnTo>
                  <a:pt x="205" y="720"/>
                </a:lnTo>
                <a:lnTo>
                  <a:pt x="172" y="711"/>
                </a:lnTo>
                <a:lnTo>
                  <a:pt x="139" y="704"/>
                </a:lnTo>
                <a:lnTo>
                  <a:pt x="123" y="700"/>
                </a:lnTo>
                <a:lnTo>
                  <a:pt x="105" y="697"/>
                </a:lnTo>
                <a:lnTo>
                  <a:pt x="88" y="694"/>
                </a:lnTo>
                <a:lnTo>
                  <a:pt x="70" y="693"/>
                </a:lnTo>
                <a:lnTo>
                  <a:pt x="35" y="690"/>
                </a:lnTo>
                <a:lnTo>
                  <a:pt x="0" y="689"/>
                </a:lnTo>
                <a:lnTo>
                  <a:pt x="35" y="688"/>
                </a:lnTo>
                <a:lnTo>
                  <a:pt x="54" y="688"/>
                </a:lnTo>
                <a:lnTo>
                  <a:pt x="70" y="685"/>
                </a:lnTo>
                <a:lnTo>
                  <a:pt x="88" y="684"/>
                </a:lnTo>
                <a:lnTo>
                  <a:pt x="105" y="681"/>
                </a:lnTo>
                <a:lnTo>
                  <a:pt x="123" y="678"/>
                </a:lnTo>
                <a:lnTo>
                  <a:pt x="139" y="676"/>
                </a:lnTo>
                <a:lnTo>
                  <a:pt x="156" y="671"/>
                </a:lnTo>
                <a:lnTo>
                  <a:pt x="172" y="667"/>
                </a:lnTo>
                <a:lnTo>
                  <a:pt x="189" y="663"/>
                </a:lnTo>
                <a:lnTo>
                  <a:pt x="205" y="658"/>
                </a:lnTo>
                <a:lnTo>
                  <a:pt x="237" y="647"/>
                </a:lnTo>
                <a:lnTo>
                  <a:pt x="253" y="642"/>
                </a:lnTo>
                <a:lnTo>
                  <a:pt x="268" y="635"/>
                </a:lnTo>
                <a:lnTo>
                  <a:pt x="299" y="622"/>
                </a:lnTo>
                <a:lnTo>
                  <a:pt x="314" y="614"/>
                </a:lnTo>
                <a:lnTo>
                  <a:pt x="329" y="606"/>
                </a:lnTo>
                <a:lnTo>
                  <a:pt x="358" y="589"/>
                </a:lnTo>
                <a:lnTo>
                  <a:pt x="385" y="572"/>
                </a:lnTo>
                <a:lnTo>
                  <a:pt x="400" y="562"/>
                </a:lnTo>
                <a:lnTo>
                  <a:pt x="412" y="552"/>
                </a:lnTo>
                <a:lnTo>
                  <a:pt x="439" y="531"/>
                </a:lnTo>
                <a:lnTo>
                  <a:pt x="463" y="510"/>
                </a:lnTo>
                <a:lnTo>
                  <a:pt x="487" y="487"/>
                </a:lnTo>
                <a:lnTo>
                  <a:pt x="510" y="463"/>
                </a:lnTo>
                <a:lnTo>
                  <a:pt x="521" y="451"/>
                </a:lnTo>
                <a:lnTo>
                  <a:pt x="532" y="439"/>
                </a:lnTo>
                <a:lnTo>
                  <a:pt x="552" y="412"/>
                </a:lnTo>
                <a:lnTo>
                  <a:pt x="563" y="399"/>
                </a:lnTo>
                <a:lnTo>
                  <a:pt x="572" y="385"/>
                </a:lnTo>
                <a:lnTo>
                  <a:pt x="590" y="358"/>
                </a:lnTo>
                <a:lnTo>
                  <a:pt x="598" y="343"/>
                </a:lnTo>
                <a:lnTo>
                  <a:pt x="606" y="328"/>
                </a:lnTo>
                <a:lnTo>
                  <a:pt x="614" y="313"/>
                </a:lnTo>
                <a:lnTo>
                  <a:pt x="622" y="298"/>
                </a:lnTo>
                <a:lnTo>
                  <a:pt x="636" y="267"/>
                </a:lnTo>
                <a:lnTo>
                  <a:pt x="648" y="237"/>
                </a:lnTo>
                <a:lnTo>
                  <a:pt x="659" y="204"/>
                </a:lnTo>
                <a:lnTo>
                  <a:pt x="668" y="172"/>
                </a:lnTo>
                <a:lnTo>
                  <a:pt x="676" y="138"/>
                </a:lnTo>
                <a:lnTo>
                  <a:pt x="679" y="122"/>
                </a:lnTo>
                <a:lnTo>
                  <a:pt x="681" y="105"/>
                </a:lnTo>
                <a:lnTo>
                  <a:pt x="684" y="87"/>
                </a:lnTo>
                <a:lnTo>
                  <a:pt x="685" y="70"/>
                </a:lnTo>
                <a:lnTo>
                  <a:pt x="688" y="35"/>
                </a:lnTo>
                <a:lnTo>
                  <a:pt x="690" y="0"/>
                </a:lnTo>
                <a:close/>
              </a:path>
            </a:pathLst>
          </a:custGeom>
          <a:pattFill prst="wdUpDiag">
            <a:fgClr>
              <a:schemeClr val="tx2">
                <a:lumMod val="20000"/>
                <a:lumOff val="80000"/>
              </a:schemeClr>
            </a:fgClr>
            <a:bgClr>
              <a:schemeClr val="bg1"/>
            </a:bgClr>
          </a:pattFill>
          <a:ln w="9525">
            <a:noFill/>
            <a:round/>
            <a:headEnd/>
            <a:tailEnd/>
          </a:ln>
        </p:spPr>
        <p:txBody>
          <a:bodyPr/>
          <a:lstStyle/>
          <a:p>
            <a:endParaRPr lang="en-US"/>
          </a:p>
        </p:txBody>
      </p:sp>
      <p:sp>
        <p:nvSpPr>
          <p:cNvPr id="4" name="Freeform 25">
            <a:extLst>
              <a:ext uri="{FF2B5EF4-FFF2-40B4-BE49-F238E27FC236}">
                <a16:creationId xmlns:a16="http://schemas.microsoft.com/office/drawing/2014/main" id="{26365DA0-DC31-4AF9-B067-393F6A1DEEC4}"/>
              </a:ext>
              <a:ext uri="{C183D7F6-B498-43B3-948B-1728B52AA6E4}">
                <adec:decorative xmlns:adec="http://schemas.microsoft.com/office/drawing/2017/decorative" val="1"/>
              </a:ext>
            </a:extLst>
          </p:cNvPr>
          <p:cNvSpPr>
            <a:spLocks/>
          </p:cNvSpPr>
          <p:nvPr/>
        </p:nvSpPr>
        <p:spPr bwMode="auto">
          <a:xfrm>
            <a:off x="5011696" y="3868738"/>
            <a:ext cx="2189162" cy="2189162"/>
          </a:xfrm>
          <a:custGeom>
            <a:avLst/>
            <a:gdLst/>
            <a:ahLst/>
            <a:cxnLst>
              <a:cxn ang="0">
                <a:pos x="692" y="54"/>
              </a:cxn>
              <a:cxn ang="0">
                <a:pos x="697" y="105"/>
              </a:cxn>
              <a:cxn ang="0">
                <a:pos x="707" y="156"/>
              </a:cxn>
              <a:cxn ang="0">
                <a:pos x="720" y="205"/>
              </a:cxn>
              <a:cxn ang="0">
                <a:pos x="743" y="268"/>
              </a:cxn>
              <a:cxn ang="0">
                <a:pos x="772" y="329"/>
              </a:cxn>
              <a:cxn ang="0">
                <a:pos x="817" y="400"/>
              </a:cxn>
              <a:cxn ang="0">
                <a:pos x="868" y="463"/>
              </a:cxn>
              <a:cxn ang="0">
                <a:pos x="927" y="521"/>
              </a:cxn>
              <a:cxn ang="0">
                <a:pos x="980" y="563"/>
              </a:cxn>
              <a:cxn ang="0">
                <a:pos x="1035" y="598"/>
              </a:cxn>
              <a:cxn ang="0">
                <a:pos x="1080" y="622"/>
              </a:cxn>
              <a:cxn ang="0">
                <a:pos x="1174" y="659"/>
              </a:cxn>
              <a:cxn ang="0">
                <a:pos x="1256" y="679"/>
              </a:cxn>
              <a:cxn ang="0">
                <a:pos x="1308" y="685"/>
              </a:cxn>
              <a:cxn ang="0">
                <a:pos x="1377" y="725"/>
              </a:cxn>
              <a:cxn ang="0">
                <a:pos x="1373" y="777"/>
              </a:cxn>
              <a:cxn ang="0">
                <a:pos x="1365" y="828"/>
              </a:cxn>
              <a:cxn ang="0">
                <a:pos x="1353" y="878"/>
              </a:cxn>
              <a:cxn ang="0">
                <a:pos x="1331" y="943"/>
              </a:cxn>
              <a:cxn ang="0">
                <a:pos x="1303" y="1003"/>
              </a:cxn>
              <a:cxn ang="0">
                <a:pos x="1261" y="1075"/>
              </a:cxn>
              <a:cxn ang="0">
                <a:pos x="1221" y="1129"/>
              </a:cxn>
              <a:cxn ang="0">
                <a:pos x="1152" y="1200"/>
              </a:cxn>
              <a:cxn ang="0">
                <a:pos x="1101" y="1242"/>
              </a:cxn>
              <a:cxn ang="0">
                <a:pos x="1047" y="1279"/>
              </a:cxn>
              <a:cxn ang="0">
                <a:pos x="1003" y="1304"/>
              </a:cxn>
              <a:cxn ang="0">
                <a:pos x="926" y="1337"/>
              </a:cxn>
              <a:cxn ang="0">
                <a:pos x="828" y="1366"/>
              </a:cxn>
              <a:cxn ang="0">
                <a:pos x="777" y="1374"/>
              </a:cxn>
              <a:cxn ang="0">
                <a:pos x="689" y="1379"/>
              </a:cxn>
              <a:cxn ang="0">
                <a:pos x="619" y="1375"/>
              </a:cxn>
              <a:cxn ang="0">
                <a:pos x="566" y="1368"/>
              </a:cxn>
              <a:cxn ang="0">
                <a:pos x="517" y="1357"/>
              </a:cxn>
              <a:cxn ang="0">
                <a:pos x="452" y="1337"/>
              </a:cxn>
              <a:cxn ang="0">
                <a:pos x="390" y="1312"/>
              </a:cxn>
              <a:cxn ang="0">
                <a:pos x="332" y="1279"/>
              </a:cxn>
              <a:cxn ang="0">
                <a:pos x="277" y="1242"/>
              </a:cxn>
              <a:cxn ang="0">
                <a:pos x="202" y="1177"/>
              </a:cxn>
              <a:cxn ang="0">
                <a:pos x="157" y="1129"/>
              </a:cxn>
              <a:cxn ang="0">
                <a:pos x="118" y="1075"/>
              </a:cxn>
              <a:cxn ang="0">
                <a:pos x="83" y="1018"/>
              </a:cxn>
              <a:cxn ang="0">
                <a:pos x="53" y="957"/>
              </a:cxn>
              <a:cxn ang="0">
                <a:pos x="21" y="862"/>
              </a:cxn>
              <a:cxn ang="0">
                <a:pos x="8" y="795"/>
              </a:cxn>
              <a:cxn ang="0">
                <a:pos x="1" y="725"/>
              </a:cxn>
              <a:cxn ang="0">
                <a:pos x="53" y="688"/>
              </a:cxn>
              <a:cxn ang="0">
                <a:pos x="105" y="681"/>
              </a:cxn>
              <a:cxn ang="0">
                <a:pos x="156" y="672"/>
              </a:cxn>
              <a:cxn ang="0">
                <a:pos x="204" y="659"/>
              </a:cxn>
              <a:cxn ang="0">
                <a:pos x="267" y="636"/>
              </a:cxn>
              <a:cxn ang="0">
                <a:pos x="328" y="606"/>
              </a:cxn>
              <a:cxn ang="0">
                <a:pos x="399" y="563"/>
              </a:cxn>
              <a:cxn ang="0">
                <a:pos x="463" y="510"/>
              </a:cxn>
              <a:cxn ang="0">
                <a:pos x="521" y="451"/>
              </a:cxn>
              <a:cxn ang="0">
                <a:pos x="562" y="400"/>
              </a:cxn>
              <a:cxn ang="0">
                <a:pos x="597" y="343"/>
              </a:cxn>
              <a:cxn ang="0">
                <a:pos x="622" y="299"/>
              </a:cxn>
              <a:cxn ang="0">
                <a:pos x="658" y="205"/>
              </a:cxn>
              <a:cxn ang="0">
                <a:pos x="678" y="123"/>
              </a:cxn>
              <a:cxn ang="0">
                <a:pos x="685" y="70"/>
              </a:cxn>
            </a:cxnLst>
            <a:rect l="0" t="0" r="r" b="b"/>
            <a:pathLst>
              <a:path w="1379" h="1379">
                <a:moveTo>
                  <a:pt x="689" y="0"/>
                </a:moveTo>
                <a:lnTo>
                  <a:pt x="690" y="35"/>
                </a:lnTo>
                <a:lnTo>
                  <a:pt x="692" y="54"/>
                </a:lnTo>
                <a:lnTo>
                  <a:pt x="693" y="70"/>
                </a:lnTo>
                <a:lnTo>
                  <a:pt x="694" y="88"/>
                </a:lnTo>
                <a:lnTo>
                  <a:pt x="697" y="105"/>
                </a:lnTo>
                <a:lnTo>
                  <a:pt x="700" y="123"/>
                </a:lnTo>
                <a:lnTo>
                  <a:pt x="704" y="139"/>
                </a:lnTo>
                <a:lnTo>
                  <a:pt x="707" y="156"/>
                </a:lnTo>
                <a:lnTo>
                  <a:pt x="711" y="172"/>
                </a:lnTo>
                <a:lnTo>
                  <a:pt x="716" y="189"/>
                </a:lnTo>
                <a:lnTo>
                  <a:pt x="720" y="205"/>
                </a:lnTo>
                <a:lnTo>
                  <a:pt x="731" y="237"/>
                </a:lnTo>
                <a:lnTo>
                  <a:pt x="737" y="253"/>
                </a:lnTo>
                <a:lnTo>
                  <a:pt x="743" y="268"/>
                </a:lnTo>
                <a:lnTo>
                  <a:pt x="758" y="299"/>
                </a:lnTo>
                <a:lnTo>
                  <a:pt x="764" y="314"/>
                </a:lnTo>
                <a:lnTo>
                  <a:pt x="772" y="329"/>
                </a:lnTo>
                <a:lnTo>
                  <a:pt x="789" y="358"/>
                </a:lnTo>
                <a:lnTo>
                  <a:pt x="808" y="385"/>
                </a:lnTo>
                <a:lnTo>
                  <a:pt x="817" y="400"/>
                </a:lnTo>
                <a:lnTo>
                  <a:pt x="826" y="412"/>
                </a:lnTo>
                <a:lnTo>
                  <a:pt x="847" y="439"/>
                </a:lnTo>
                <a:lnTo>
                  <a:pt x="868" y="463"/>
                </a:lnTo>
                <a:lnTo>
                  <a:pt x="891" y="487"/>
                </a:lnTo>
                <a:lnTo>
                  <a:pt x="915" y="510"/>
                </a:lnTo>
                <a:lnTo>
                  <a:pt x="927" y="521"/>
                </a:lnTo>
                <a:lnTo>
                  <a:pt x="939" y="532"/>
                </a:lnTo>
                <a:lnTo>
                  <a:pt x="966" y="552"/>
                </a:lnTo>
                <a:lnTo>
                  <a:pt x="980" y="563"/>
                </a:lnTo>
                <a:lnTo>
                  <a:pt x="993" y="572"/>
                </a:lnTo>
                <a:lnTo>
                  <a:pt x="1022" y="590"/>
                </a:lnTo>
                <a:lnTo>
                  <a:pt x="1035" y="598"/>
                </a:lnTo>
                <a:lnTo>
                  <a:pt x="1050" y="606"/>
                </a:lnTo>
                <a:lnTo>
                  <a:pt x="1065" y="614"/>
                </a:lnTo>
                <a:lnTo>
                  <a:pt x="1080" y="622"/>
                </a:lnTo>
                <a:lnTo>
                  <a:pt x="1111" y="636"/>
                </a:lnTo>
                <a:lnTo>
                  <a:pt x="1141" y="648"/>
                </a:lnTo>
                <a:lnTo>
                  <a:pt x="1174" y="659"/>
                </a:lnTo>
                <a:lnTo>
                  <a:pt x="1206" y="668"/>
                </a:lnTo>
                <a:lnTo>
                  <a:pt x="1240" y="676"/>
                </a:lnTo>
                <a:lnTo>
                  <a:pt x="1256" y="679"/>
                </a:lnTo>
                <a:lnTo>
                  <a:pt x="1273" y="681"/>
                </a:lnTo>
                <a:lnTo>
                  <a:pt x="1291" y="684"/>
                </a:lnTo>
                <a:lnTo>
                  <a:pt x="1308" y="685"/>
                </a:lnTo>
                <a:lnTo>
                  <a:pt x="1343" y="688"/>
                </a:lnTo>
                <a:lnTo>
                  <a:pt x="1379" y="690"/>
                </a:lnTo>
                <a:lnTo>
                  <a:pt x="1377" y="725"/>
                </a:lnTo>
                <a:lnTo>
                  <a:pt x="1377" y="743"/>
                </a:lnTo>
                <a:lnTo>
                  <a:pt x="1374" y="760"/>
                </a:lnTo>
                <a:lnTo>
                  <a:pt x="1373" y="777"/>
                </a:lnTo>
                <a:lnTo>
                  <a:pt x="1370" y="795"/>
                </a:lnTo>
                <a:lnTo>
                  <a:pt x="1368" y="812"/>
                </a:lnTo>
                <a:lnTo>
                  <a:pt x="1365" y="828"/>
                </a:lnTo>
                <a:lnTo>
                  <a:pt x="1361" y="846"/>
                </a:lnTo>
                <a:lnTo>
                  <a:pt x="1357" y="862"/>
                </a:lnTo>
                <a:lnTo>
                  <a:pt x="1353" y="878"/>
                </a:lnTo>
                <a:lnTo>
                  <a:pt x="1348" y="894"/>
                </a:lnTo>
                <a:lnTo>
                  <a:pt x="1337" y="927"/>
                </a:lnTo>
                <a:lnTo>
                  <a:pt x="1331" y="943"/>
                </a:lnTo>
                <a:lnTo>
                  <a:pt x="1325" y="957"/>
                </a:lnTo>
                <a:lnTo>
                  <a:pt x="1311" y="988"/>
                </a:lnTo>
                <a:lnTo>
                  <a:pt x="1303" y="1003"/>
                </a:lnTo>
                <a:lnTo>
                  <a:pt x="1295" y="1018"/>
                </a:lnTo>
                <a:lnTo>
                  <a:pt x="1279" y="1048"/>
                </a:lnTo>
                <a:lnTo>
                  <a:pt x="1261" y="1075"/>
                </a:lnTo>
                <a:lnTo>
                  <a:pt x="1252" y="1089"/>
                </a:lnTo>
                <a:lnTo>
                  <a:pt x="1241" y="1102"/>
                </a:lnTo>
                <a:lnTo>
                  <a:pt x="1221" y="1129"/>
                </a:lnTo>
                <a:lnTo>
                  <a:pt x="1199" y="1153"/>
                </a:lnTo>
                <a:lnTo>
                  <a:pt x="1176" y="1177"/>
                </a:lnTo>
                <a:lnTo>
                  <a:pt x="1152" y="1200"/>
                </a:lnTo>
                <a:lnTo>
                  <a:pt x="1140" y="1211"/>
                </a:lnTo>
                <a:lnTo>
                  <a:pt x="1128" y="1221"/>
                </a:lnTo>
                <a:lnTo>
                  <a:pt x="1101" y="1242"/>
                </a:lnTo>
                <a:lnTo>
                  <a:pt x="1089" y="1252"/>
                </a:lnTo>
                <a:lnTo>
                  <a:pt x="1074" y="1262"/>
                </a:lnTo>
                <a:lnTo>
                  <a:pt x="1047" y="1279"/>
                </a:lnTo>
                <a:lnTo>
                  <a:pt x="1032" y="1287"/>
                </a:lnTo>
                <a:lnTo>
                  <a:pt x="1018" y="1296"/>
                </a:lnTo>
                <a:lnTo>
                  <a:pt x="1003" y="1304"/>
                </a:lnTo>
                <a:lnTo>
                  <a:pt x="988" y="1312"/>
                </a:lnTo>
                <a:lnTo>
                  <a:pt x="957" y="1325"/>
                </a:lnTo>
                <a:lnTo>
                  <a:pt x="926" y="1337"/>
                </a:lnTo>
                <a:lnTo>
                  <a:pt x="894" y="1348"/>
                </a:lnTo>
                <a:lnTo>
                  <a:pt x="861" y="1357"/>
                </a:lnTo>
                <a:lnTo>
                  <a:pt x="828" y="1366"/>
                </a:lnTo>
                <a:lnTo>
                  <a:pt x="812" y="1368"/>
                </a:lnTo>
                <a:lnTo>
                  <a:pt x="794" y="1371"/>
                </a:lnTo>
                <a:lnTo>
                  <a:pt x="777" y="1374"/>
                </a:lnTo>
                <a:lnTo>
                  <a:pt x="759" y="1375"/>
                </a:lnTo>
                <a:lnTo>
                  <a:pt x="724" y="1378"/>
                </a:lnTo>
                <a:lnTo>
                  <a:pt x="689" y="1379"/>
                </a:lnTo>
                <a:lnTo>
                  <a:pt x="654" y="1378"/>
                </a:lnTo>
                <a:lnTo>
                  <a:pt x="636" y="1378"/>
                </a:lnTo>
                <a:lnTo>
                  <a:pt x="619" y="1375"/>
                </a:lnTo>
                <a:lnTo>
                  <a:pt x="601" y="1374"/>
                </a:lnTo>
                <a:lnTo>
                  <a:pt x="584" y="1371"/>
                </a:lnTo>
                <a:lnTo>
                  <a:pt x="566" y="1368"/>
                </a:lnTo>
                <a:lnTo>
                  <a:pt x="550" y="1366"/>
                </a:lnTo>
                <a:lnTo>
                  <a:pt x="533" y="1361"/>
                </a:lnTo>
                <a:lnTo>
                  <a:pt x="517" y="1357"/>
                </a:lnTo>
                <a:lnTo>
                  <a:pt x="500" y="1353"/>
                </a:lnTo>
                <a:lnTo>
                  <a:pt x="484" y="1348"/>
                </a:lnTo>
                <a:lnTo>
                  <a:pt x="452" y="1337"/>
                </a:lnTo>
                <a:lnTo>
                  <a:pt x="436" y="1332"/>
                </a:lnTo>
                <a:lnTo>
                  <a:pt x="421" y="1325"/>
                </a:lnTo>
                <a:lnTo>
                  <a:pt x="390" y="1312"/>
                </a:lnTo>
                <a:lnTo>
                  <a:pt x="375" y="1304"/>
                </a:lnTo>
                <a:lnTo>
                  <a:pt x="360" y="1296"/>
                </a:lnTo>
                <a:lnTo>
                  <a:pt x="332" y="1279"/>
                </a:lnTo>
                <a:lnTo>
                  <a:pt x="304" y="1262"/>
                </a:lnTo>
                <a:lnTo>
                  <a:pt x="290" y="1252"/>
                </a:lnTo>
                <a:lnTo>
                  <a:pt x="277" y="1242"/>
                </a:lnTo>
                <a:lnTo>
                  <a:pt x="250" y="1221"/>
                </a:lnTo>
                <a:lnTo>
                  <a:pt x="226" y="1200"/>
                </a:lnTo>
                <a:lnTo>
                  <a:pt x="202" y="1177"/>
                </a:lnTo>
                <a:lnTo>
                  <a:pt x="179" y="1153"/>
                </a:lnTo>
                <a:lnTo>
                  <a:pt x="168" y="1141"/>
                </a:lnTo>
                <a:lnTo>
                  <a:pt x="157" y="1129"/>
                </a:lnTo>
                <a:lnTo>
                  <a:pt x="137" y="1102"/>
                </a:lnTo>
                <a:lnTo>
                  <a:pt x="127" y="1089"/>
                </a:lnTo>
                <a:lnTo>
                  <a:pt x="118" y="1075"/>
                </a:lnTo>
                <a:lnTo>
                  <a:pt x="99" y="1048"/>
                </a:lnTo>
                <a:lnTo>
                  <a:pt x="91" y="1033"/>
                </a:lnTo>
                <a:lnTo>
                  <a:pt x="83" y="1018"/>
                </a:lnTo>
                <a:lnTo>
                  <a:pt x="75" y="1003"/>
                </a:lnTo>
                <a:lnTo>
                  <a:pt x="68" y="988"/>
                </a:lnTo>
                <a:lnTo>
                  <a:pt x="53" y="957"/>
                </a:lnTo>
                <a:lnTo>
                  <a:pt x="41" y="927"/>
                </a:lnTo>
                <a:lnTo>
                  <a:pt x="30" y="894"/>
                </a:lnTo>
                <a:lnTo>
                  <a:pt x="21" y="862"/>
                </a:lnTo>
                <a:lnTo>
                  <a:pt x="14" y="828"/>
                </a:lnTo>
                <a:lnTo>
                  <a:pt x="10" y="812"/>
                </a:lnTo>
                <a:lnTo>
                  <a:pt x="8" y="795"/>
                </a:lnTo>
                <a:lnTo>
                  <a:pt x="5" y="777"/>
                </a:lnTo>
                <a:lnTo>
                  <a:pt x="4" y="760"/>
                </a:lnTo>
                <a:lnTo>
                  <a:pt x="1" y="725"/>
                </a:lnTo>
                <a:lnTo>
                  <a:pt x="0" y="690"/>
                </a:lnTo>
                <a:lnTo>
                  <a:pt x="35" y="688"/>
                </a:lnTo>
                <a:lnTo>
                  <a:pt x="53" y="688"/>
                </a:lnTo>
                <a:lnTo>
                  <a:pt x="70" y="685"/>
                </a:lnTo>
                <a:lnTo>
                  <a:pt x="87" y="684"/>
                </a:lnTo>
                <a:lnTo>
                  <a:pt x="105" y="681"/>
                </a:lnTo>
                <a:lnTo>
                  <a:pt x="122" y="679"/>
                </a:lnTo>
                <a:lnTo>
                  <a:pt x="138" y="676"/>
                </a:lnTo>
                <a:lnTo>
                  <a:pt x="156" y="672"/>
                </a:lnTo>
                <a:lnTo>
                  <a:pt x="172" y="668"/>
                </a:lnTo>
                <a:lnTo>
                  <a:pt x="188" y="664"/>
                </a:lnTo>
                <a:lnTo>
                  <a:pt x="204" y="659"/>
                </a:lnTo>
                <a:lnTo>
                  <a:pt x="237" y="648"/>
                </a:lnTo>
                <a:lnTo>
                  <a:pt x="253" y="642"/>
                </a:lnTo>
                <a:lnTo>
                  <a:pt x="267" y="636"/>
                </a:lnTo>
                <a:lnTo>
                  <a:pt x="298" y="622"/>
                </a:lnTo>
                <a:lnTo>
                  <a:pt x="313" y="614"/>
                </a:lnTo>
                <a:lnTo>
                  <a:pt x="328" y="606"/>
                </a:lnTo>
                <a:lnTo>
                  <a:pt x="358" y="590"/>
                </a:lnTo>
                <a:lnTo>
                  <a:pt x="385" y="572"/>
                </a:lnTo>
                <a:lnTo>
                  <a:pt x="399" y="563"/>
                </a:lnTo>
                <a:lnTo>
                  <a:pt x="412" y="552"/>
                </a:lnTo>
                <a:lnTo>
                  <a:pt x="439" y="532"/>
                </a:lnTo>
                <a:lnTo>
                  <a:pt x="463" y="510"/>
                </a:lnTo>
                <a:lnTo>
                  <a:pt x="487" y="487"/>
                </a:lnTo>
                <a:lnTo>
                  <a:pt x="510" y="463"/>
                </a:lnTo>
                <a:lnTo>
                  <a:pt x="521" y="451"/>
                </a:lnTo>
                <a:lnTo>
                  <a:pt x="531" y="439"/>
                </a:lnTo>
                <a:lnTo>
                  <a:pt x="552" y="412"/>
                </a:lnTo>
                <a:lnTo>
                  <a:pt x="562" y="400"/>
                </a:lnTo>
                <a:lnTo>
                  <a:pt x="572" y="385"/>
                </a:lnTo>
                <a:lnTo>
                  <a:pt x="589" y="358"/>
                </a:lnTo>
                <a:lnTo>
                  <a:pt x="597" y="343"/>
                </a:lnTo>
                <a:lnTo>
                  <a:pt x="606" y="329"/>
                </a:lnTo>
                <a:lnTo>
                  <a:pt x="614" y="314"/>
                </a:lnTo>
                <a:lnTo>
                  <a:pt x="622" y="299"/>
                </a:lnTo>
                <a:lnTo>
                  <a:pt x="635" y="268"/>
                </a:lnTo>
                <a:lnTo>
                  <a:pt x="647" y="237"/>
                </a:lnTo>
                <a:lnTo>
                  <a:pt x="658" y="205"/>
                </a:lnTo>
                <a:lnTo>
                  <a:pt x="667" y="172"/>
                </a:lnTo>
                <a:lnTo>
                  <a:pt x="676" y="139"/>
                </a:lnTo>
                <a:lnTo>
                  <a:pt x="678" y="123"/>
                </a:lnTo>
                <a:lnTo>
                  <a:pt x="681" y="105"/>
                </a:lnTo>
                <a:lnTo>
                  <a:pt x="684" y="88"/>
                </a:lnTo>
                <a:lnTo>
                  <a:pt x="685" y="70"/>
                </a:lnTo>
                <a:lnTo>
                  <a:pt x="688" y="35"/>
                </a:lnTo>
                <a:lnTo>
                  <a:pt x="689" y="0"/>
                </a:lnTo>
                <a:close/>
              </a:path>
            </a:pathLst>
          </a:custGeom>
          <a:solidFill>
            <a:schemeClr val="accent1"/>
          </a:solidFill>
          <a:ln w="9525">
            <a:noFill/>
            <a:round/>
            <a:headEnd/>
            <a:tailEnd/>
          </a:ln>
        </p:spPr>
        <p:txBody>
          <a:bodyPr/>
          <a:lstStyle/>
          <a:p>
            <a:endParaRPr lang="en-US"/>
          </a:p>
        </p:txBody>
      </p:sp>
      <p:sp>
        <p:nvSpPr>
          <p:cNvPr id="6" name="Freeform 27">
            <a:extLst>
              <a:ext uri="{FF2B5EF4-FFF2-40B4-BE49-F238E27FC236}">
                <a16:creationId xmlns:a16="http://schemas.microsoft.com/office/drawing/2014/main" id="{9204136F-B8E8-4AB8-904E-26E316AD40EC}"/>
              </a:ext>
              <a:ext uri="{C183D7F6-B498-43B3-948B-1728B52AA6E4}">
                <adec:decorative xmlns:adec="http://schemas.microsoft.com/office/drawing/2017/decorative" val="1"/>
              </a:ext>
            </a:extLst>
          </p:cNvPr>
          <p:cNvSpPr>
            <a:spLocks/>
          </p:cNvSpPr>
          <p:nvPr/>
        </p:nvSpPr>
        <p:spPr bwMode="auto">
          <a:xfrm>
            <a:off x="5011696" y="2774950"/>
            <a:ext cx="1093787" cy="1093788"/>
          </a:xfrm>
          <a:custGeom>
            <a:avLst/>
            <a:gdLst/>
            <a:ahLst/>
            <a:cxnLst>
              <a:cxn ang="0">
                <a:pos x="35" y="1"/>
              </a:cxn>
              <a:cxn ang="0">
                <a:pos x="70" y="4"/>
              </a:cxn>
              <a:cxn ang="0">
                <a:pos x="105" y="8"/>
              </a:cxn>
              <a:cxn ang="0">
                <a:pos x="138" y="14"/>
              </a:cxn>
              <a:cxn ang="0">
                <a:pos x="172" y="21"/>
              </a:cxn>
              <a:cxn ang="0">
                <a:pos x="204" y="30"/>
              </a:cxn>
              <a:cxn ang="0">
                <a:pos x="253" y="48"/>
              </a:cxn>
              <a:cxn ang="0">
                <a:pos x="298" y="68"/>
              </a:cxn>
              <a:cxn ang="0">
                <a:pos x="328" y="83"/>
              </a:cxn>
              <a:cxn ang="0">
                <a:pos x="385" y="118"/>
              </a:cxn>
              <a:cxn ang="0">
                <a:pos x="412" y="137"/>
              </a:cxn>
              <a:cxn ang="0">
                <a:pos x="463" y="179"/>
              </a:cxn>
              <a:cxn ang="0">
                <a:pos x="510" y="226"/>
              </a:cxn>
              <a:cxn ang="0">
                <a:pos x="531" y="250"/>
              </a:cxn>
              <a:cxn ang="0">
                <a:pos x="562" y="290"/>
              </a:cxn>
              <a:cxn ang="0">
                <a:pos x="589" y="332"/>
              </a:cxn>
              <a:cxn ang="0">
                <a:pos x="606" y="360"/>
              </a:cxn>
              <a:cxn ang="0">
                <a:pos x="622" y="390"/>
              </a:cxn>
              <a:cxn ang="0">
                <a:pos x="647" y="452"/>
              </a:cxn>
              <a:cxn ang="0">
                <a:pos x="667" y="517"/>
              </a:cxn>
              <a:cxn ang="0">
                <a:pos x="678" y="566"/>
              </a:cxn>
              <a:cxn ang="0">
                <a:pos x="684" y="601"/>
              </a:cxn>
              <a:cxn ang="0">
                <a:pos x="688" y="654"/>
              </a:cxn>
              <a:cxn ang="0">
                <a:pos x="654" y="688"/>
              </a:cxn>
              <a:cxn ang="0">
                <a:pos x="619" y="685"/>
              </a:cxn>
              <a:cxn ang="0">
                <a:pos x="584" y="681"/>
              </a:cxn>
              <a:cxn ang="0">
                <a:pos x="550" y="676"/>
              </a:cxn>
              <a:cxn ang="0">
                <a:pos x="517" y="667"/>
              </a:cxn>
              <a:cxn ang="0">
                <a:pos x="484" y="658"/>
              </a:cxn>
              <a:cxn ang="0">
                <a:pos x="436" y="642"/>
              </a:cxn>
              <a:cxn ang="0">
                <a:pos x="390" y="622"/>
              </a:cxn>
              <a:cxn ang="0">
                <a:pos x="360" y="606"/>
              </a:cxn>
              <a:cxn ang="0">
                <a:pos x="304" y="572"/>
              </a:cxn>
              <a:cxn ang="0">
                <a:pos x="277" y="552"/>
              </a:cxn>
              <a:cxn ang="0">
                <a:pos x="226" y="510"/>
              </a:cxn>
              <a:cxn ang="0">
                <a:pos x="179" y="463"/>
              </a:cxn>
              <a:cxn ang="0">
                <a:pos x="157" y="439"/>
              </a:cxn>
              <a:cxn ang="0">
                <a:pos x="127" y="399"/>
              </a:cxn>
              <a:cxn ang="0">
                <a:pos x="99" y="358"/>
              </a:cxn>
              <a:cxn ang="0">
                <a:pos x="83" y="328"/>
              </a:cxn>
              <a:cxn ang="0">
                <a:pos x="68" y="298"/>
              </a:cxn>
              <a:cxn ang="0">
                <a:pos x="41" y="237"/>
              </a:cxn>
              <a:cxn ang="0">
                <a:pos x="21" y="172"/>
              </a:cxn>
              <a:cxn ang="0">
                <a:pos x="10" y="122"/>
              </a:cxn>
              <a:cxn ang="0">
                <a:pos x="5" y="87"/>
              </a:cxn>
              <a:cxn ang="0">
                <a:pos x="1" y="35"/>
              </a:cxn>
            </a:cxnLst>
            <a:rect l="0" t="0" r="r" b="b"/>
            <a:pathLst>
              <a:path w="689" h="689">
                <a:moveTo>
                  <a:pt x="0" y="0"/>
                </a:moveTo>
                <a:lnTo>
                  <a:pt x="35" y="1"/>
                </a:lnTo>
                <a:lnTo>
                  <a:pt x="53" y="2"/>
                </a:lnTo>
                <a:lnTo>
                  <a:pt x="70" y="4"/>
                </a:lnTo>
                <a:lnTo>
                  <a:pt x="87" y="5"/>
                </a:lnTo>
                <a:lnTo>
                  <a:pt x="105" y="8"/>
                </a:lnTo>
                <a:lnTo>
                  <a:pt x="122" y="10"/>
                </a:lnTo>
                <a:lnTo>
                  <a:pt x="138" y="14"/>
                </a:lnTo>
                <a:lnTo>
                  <a:pt x="156" y="17"/>
                </a:lnTo>
                <a:lnTo>
                  <a:pt x="172" y="21"/>
                </a:lnTo>
                <a:lnTo>
                  <a:pt x="188" y="26"/>
                </a:lnTo>
                <a:lnTo>
                  <a:pt x="204" y="30"/>
                </a:lnTo>
                <a:lnTo>
                  <a:pt x="237" y="41"/>
                </a:lnTo>
                <a:lnTo>
                  <a:pt x="253" y="48"/>
                </a:lnTo>
                <a:lnTo>
                  <a:pt x="267" y="53"/>
                </a:lnTo>
                <a:lnTo>
                  <a:pt x="298" y="68"/>
                </a:lnTo>
                <a:lnTo>
                  <a:pt x="313" y="75"/>
                </a:lnTo>
                <a:lnTo>
                  <a:pt x="328" y="83"/>
                </a:lnTo>
                <a:lnTo>
                  <a:pt x="358" y="99"/>
                </a:lnTo>
                <a:lnTo>
                  <a:pt x="385" y="118"/>
                </a:lnTo>
                <a:lnTo>
                  <a:pt x="399" y="127"/>
                </a:lnTo>
                <a:lnTo>
                  <a:pt x="412" y="137"/>
                </a:lnTo>
                <a:lnTo>
                  <a:pt x="439" y="157"/>
                </a:lnTo>
                <a:lnTo>
                  <a:pt x="463" y="179"/>
                </a:lnTo>
                <a:lnTo>
                  <a:pt x="487" y="202"/>
                </a:lnTo>
                <a:lnTo>
                  <a:pt x="510" y="226"/>
                </a:lnTo>
                <a:lnTo>
                  <a:pt x="521" y="238"/>
                </a:lnTo>
                <a:lnTo>
                  <a:pt x="531" y="250"/>
                </a:lnTo>
                <a:lnTo>
                  <a:pt x="552" y="277"/>
                </a:lnTo>
                <a:lnTo>
                  <a:pt x="562" y="290"/>
                </a:lnTo>
                <a:lnTo>
                  <a:pt x="572" y="304"/>
                </a:lnTo>
                <a:lnTo>
                  <a:pt x="589" y="332"/>
                </a:lnTo>
                <a:lnTo>
                  <a:pt x="597" y="346"/>
                </a:lnTo>
                <a:lnTo>
                  <a:pt x="606" y="360"/>
                </a:lnTo>
                <a:lnTo>
                  <a:pt x="614" y="375"/>
                </a:lnTo>
                <a:lnTo>
                  <a:pt x="622" y="390"/>
                </a:lnTo>
                <a:lnTo>
                  <a:pt x="635" y="421"/>
                </a:lnTo>
                <a:lnTo>
                  <a:pt x="647" y="452"/>
                </a:lnTo>
                <a:lnTo>
                  <a:pt x="658" y="484"/>
                </a:lnTo>
                <a:lnTo>
                  <a:pt x="667" y="517"/>
                </a:lnTo>
                <a:lnTo>
                  <a:pt x="676" y="550"/>
                </a:lnTo>
                <a:lnTo>
                  <a:pt x="678" y="566"/>
                </a:lnTo>
                <a:lnTo>
                  <a:pt x="681" y="584"/>
                </a:lnTo>
                <a:lnTo>
                  <a:pt x="684" y="601"/>
                </a:lnTo>
                <a:lnTo>
                  <a:pt x="685" y="619"/>
                </a:lnTo>
                <a:lnTo>
                  <a:pt x="688" y="654"/>
                </a:lnTo>
                <a:lnTo>
                  <a:pt x="689" y="689"/>
                </a:lnTo>
                <a:lnTo>
                  <a:pt x="654" y="688"/>
                </a:lnTo>
                <a:lnTo>
                  <a:pt x="636" y="688"/>
                </a:lnTo>
                <a:lnTo>
                  <a:pt x="619" y="685"/>
                </a:lnTo>
                <a:lnTo>
                  <a:pt x="601" y="684"/>
                </a:lnTo>
                <a:lnTo>
                  <a:pt x="584" y="681"/>
                </a:lnTo>
                <a:lnTo>
                  <a:pt x="566" y="678"/>
                </a:lnTo>
                <a:lnTo>
                  <a:pt x="550" y="676"/>
                </a:lnTo>
                <a:lnTo>
                  <a:pt x="533" y="671"/>
                </a:lnTo>
                <a:lnTo>
                  <a:pt x="517" y="667"/>
                </a:lnTo>
                <a:lnTo>
                  <a:pt x="500" y="663"/>
                </a:lnTo>
                <a:lnTo>
                  <a:pt x="484" y="658"/>
                </a:lnTo>
                <a:lnTo>
                  <a:pt x="452" y="647"/>
                </a:lnTo>
                <a:lnTo>
                  <a:pt x="436" y="642"/>
                </a:lnTo>
                <a:lnTo>
                  <a:pt x="421" y="635"/>
                </a:lnTo>
                <a:lnTo>
                  <a:pt x="390" y="622"/>
                </a:lnTo>
                <a:lnTo>
                  <a:pt x="375" y="614"/>
                </a:lnTo>
                <a:lnTo>
                  <a:pt x="360" y="606"/>
                </a:lnTo>
                <a:lnTo>
                  <a:pt x="332" y="589"/>
                </a:lnTo>
                <a:lnTo>
                  <a:pt x="304" y="572"/>
                </a:lnTo>
                <a:lnTo>
                  <a:pt x="290" y="562"/>
                </a:lnTo>
                <a:lnTo>
                  <a:pt x="277" y="552"/>
                </a:lnTo>
                <a:lnTo>
                  <a:pt x="250" y="531"/>
                </a:lnTo>
                <a:lnTo>
                  <a:pt x="226" y="510"/>
                </a:lnTo>
                <a:lnTo>
                  <a:pt x="202" y="487"/>
                </a:lnTo>
                <a:lnTo>
                  <a:pt x="179" y="463"/>
                </a:lnTo>
                <a:lnTo>
                  <a:pt x="168" y="451"/>
                </a:lnTo>
                <a:lnTo>
                  <a:pt x="157" y="439"/>
                </a:lnTo>
                <a:lnTo>
                  <a:pt x="137" y="412"/>
                </a:lnTo>
                <a:lnTo>
                  <a:pt x="127" y="399"/>
                </a:lnTo>
                <a:lnTo>
                  <a:pt x="118" y="385"/>
                </a:lnTo>
                <a:lnTo>
                  <a:pt x="99" y="358"/>
                </a:lnTo>
                <a:lnTo>
                  <a:pt x="91" y="343"/>
                </a:lnTo>
                <a:lnTo>
                  <a:pt x="83" y="328"/>
                </a:lnTo>
                <a:lnTo>
                  <a:pt x="75" y="313"/>
                </a:lnTo>
                <a:lnTo>
                  <a:pt x="68" y="298"/>
                </a:lnTo>
                <a:lnTo>
                  <a:pt x="53" y="267"/>
                </a:lnTo>
                <a:lnTo>
                  <a:pt x="41" y="237"/>
                </a:lnTo>
                <a:lnTo>
                  <a:pt x="30" y="204"/>
                </a:lnTo>
                <a:lnTo>
                  <a:pt x="21" y="172"/>
                </a:lnTo>
                <a:lnTo>
                  <a:pt x="14" y="138"/>
                </a:lnTo>
                <a:lnTo>
                  <a:pt x="10" y="122"/>
                </a:lnTo>
                <a:lnTo>
                  <a:pt x="8" y="105"/>
                </a:lnTo>
                <a:lnTo>
                  <a:pt x="5" y="87"/>
                </a:lnTo>
                <a:lnTo>
                  <a:pt x="4" y="70"/>
                </a:lnTo>
                <a:lnTo>
                  <a:pt x="1" y="35"/>
                </a:lnTo>
                <a:lnTo>
                  <a:pt x="0" y="0"/>
                </a:lnTo>
                <a:close/>
              </a:path>
            </a:pathLst>
          </a:custGeom>
          <a:solidFill>
            <a:schemeClr val="accent2"/>
          </a:solidFill>
          <a:ln w="9525">
            <a:noFill/>
            <a:round/>
            <a:headEnd/>
            <a:tailEnd/>
          </a:ln>
        </p:spPr>
        <p:txBody>
          <a:bodyPr/>
          <a:lstStyle/>
          <a:p>
            <a:endParaRPr lang="en-US"/>
          </a:p>
        </p:txBody>
      </p:sp>
      <p:sp>
        <p:nvSpPr>
          <p:cNvPr id="7" name="Freeform 28">
            <a:extLst>
              <a:ext uri="{FF2B5EF4-FFF2-40B4-BE49-F238E27FC236}">
                <a16:creationId xmlns:a16="http://schemas.microsoft.com/office/drawing/2014/main" id="{C93B8CE4-7F04-4AB2-B72C-7F57F35DE1F3}"/>
              </a:ext>
              <a:ext uri="{C183D7F6-B498-43B3-948B-1728B52AA6E4}">
                <adec:decorative xmlns:adec="http://schemas.microsoft.com/office/drawing/2017/decorative" val="1"/>
              </a:ext>
            </a:extLst>
          </p:cNvPr>
          <p:cNvSpPr>
            <a:spLocks/>
          </p:cNvSpPr>
          <p:nvPr/>
        </p:nvSpPr>
        <p:spPr bwMode="auto">
          <a:xfrm>
            <a:off x="5011696" y="3868738"/>
            <a:ext cx="1093787" cy="1095375"/>
          </a:xfrm>
          <a:custGeom>
            <a:avLst/>
            <a:gdLst/>
            <a:ahLst/>
            <a:cxnLst>
              <a:cxn ang="0">
                <a:pos x="688" y="35"/>
              </a:cxn>
              <a:cxn ang="0">
                <a:pos x="685" y="70"/>
              </a:cxn>
              <a:cxn ang="0">
                <a:pos x="681" y="105"/>
              </a:cxn>
              <a:cxn ang="0">
                <a:pos x="676" y="139"/>
              </a:cxn>
              <a:cxn ang="0">
                <a:pos x="667" y="172"/>
              </a:cxn>
              <a:cxn ang="0">
                <a:pos x="658" y="205"/>
              </a:cxn>
              <a:cxn ang="0">
                <a:pos x="642" y="253"/>
              </a:cxn>
              <a:cxn ang="0">
                <a:pos x="622" y="299"/>
              </a:cxn>
              <a:cxn ang="0">
                <a:pos x="606" y="329"/>
              </a:cxn>
              <a:cxn ang="0">
                <a:pos x="572" y="385"/>
              </a:cxn>
              <a:cxn ang="0">
                <a:pos x="552" y="412"/>
              </a:cxn>
              <a:cxn ang="0">
                <a:pos x="510" y="463"/>
              </a:cxn>
              <a:cxn ang="0">
                <a:pos x="463" y="510"/>
              </a:cxn>
              <a:cxn ang="0">
                <a:pos x="439" y="532"/>
              </a:cxn>
              <a:cxn ang="0">
                <a:pos x="399" y="563"/>
              </a:cxn>
              <a:cxn ang="0">
                <a:pos x="358" y="590"/>
              </a:cxn>
              <a:cxn ang="0">
                <a:pos x="328" y="606"/>
              </a:cxn>
              <a:cxn ang="0">
                <a:pos x="298" y="622"/>
              </a:cxn>
              <a:cxn ang="0">
                <a:pos x="237" y="648"/>
              </a:cxn>
              <a:cxn ang="0">
                <a:pos x="172" y="668"/>
              </a:cxn>
              <a:cxn ang="0">
                <a:pos x="122" y="679"/>
              </a:cxn>
              <a:cxn ang="0">
                <a:pos x="87" y="684"/>
              </a:cxn>
              <a:cxn ang="0">
                <a:pos x="35" y="688"/>
              </a:cxn>
              <a:cxn ang="0">
                <a:pos x="1" y="654"/>
              </a:cxn>
              <a:cxn ang="0">
                <a:pos x="4" y="619"/>
              </a:cxn>
              <a:cxn ang="0">
                <a:pos x="8" y="584"/>
              </a:cxn>
              <a:cxn ang="0">
                <a:pos x="14" y="551"/>
              </a:cxn>
              <a:cxn ang="0">
                <a:pos x="21" y="517"/>
              </a:cxn>
              <a:cxn ang="0">
                <a:pos x="30" y="485"/>
              </a:cxn>
              <a:cxn ang="0">
                <a:pos x="48" y="436"/>
              </a:cxn>
              <a:cxn ang="0">
                <a:pos x="68" y="391"/>
              </a:cxn>
              <a:cxn ang="0">
                <a:pos x="83" y="361"/>
              </a:cxn>
              <a:cxn ang="0">
                <a:pos x="118" y="304"/>
              </a:cxn>
              <a:cxn ang="0">
                <a:pos x="137" y="277"/>
              </a:cxn>
              <a:cxn ang="0">
                <a:pos x="179" y="226"/>
              </a:cxn>
              <a:cxn ang="0">
                <a:pos x="226" y="179"/>
              </a:cxn>
              <a:cxn ang="0">
                <a:pos x="250" y="158"/>
              </a:cxn>
              <a:cxn ang="0">
                <a:pos x="290" y="128"/>
              </a:cxn>
              <a:cxn ang="0">
                <a:pos x="332" y="100"/>
              </a:cxn>
              <a:cxn ang="0">
                <a:pos x="360" y="83"/>
              </a:cxn>
              <a:cxn ang="0">
                <a:pos x="390" y="69"/>
              </a:cxn>
              <a:cxn ang="0">
                <a:pos x="452" y="42"/>
              </a:cxn>
              <a:cxn ang="0">
                <a:pos x="517" y="22"/>
              </a:cxn>
              <a:cxn ang="0">
                <a:pos x="566" y="11"/>
              </a:cxn>
              <a:cxn ang="0">
                <a:pos x="601" y="5"/>
              </a:cxn>
              <a:cxn ang="0">
                <a:pos x="654" y="1"/>
              </a:cxn>
            </a:cxnLst>
            <a:rect l="0" t="0" r="r" b="b"/>
            <a:pathLst>
              <a:path w="689" h="690">
                <a:moveTo>
                  <a:pt x="689" y="0"/>
                </a:moveTo>
                <a:lnTo>
                  <a:pt x="688" y="35"/>
                </a:lnTo>
                <a:lnTo>
                  <a:pt x="688" y="54"/>
                </a:lnTo>
                <a:lnTo>
                  <a:pt x="685" y="70"/>
                </a:lnTo>
                <a:lnTo>
                  <a:pt x="684" y="88"/>
                </a:lnTo>
                <a:lnTo>
                  <a:pt x="681" y="105"/>
                </a:lnTo>
                <a:lnTo>
                  <a:pt x="678" y="123"/>
                </a:lnTo>
                <a:lnTo>
                  <a:pt x="676" y="139"/>
                </a:lnTo>
                <a:lnTo>
                  <a:pt x="671" y="156"/>
                </a:lnTo>
                <a:lnTo>
                  <a:pt x="667" y="172"/>
                </a:lnTo>
                <a:lnTo>
                  <a:pt x="663" y="189"/>
                </a:lnTo>
                <a:lnTo>
                  <a:pt x="658" y="205"/>
                </a:lnTo>
                <a:lnTo>
                  <a:pt x="647" y="237"/>
                </a:lnTo>
                <a:lnTo>
                  <a:pt x="642" y="253"/>
                </a:lnTo>
                <a:lnTo>
                  <a:pt x="635" y="268"/>
                </a:lnTo>
                <a:lnTo>
                  <a:pt x="622" y="299"/>
                </a:lnTo>
                <a:lnTo>
                  <a:pt x="614" y="314"/>
                </a:lnTo>
                <a:lnTo>
                  <a:pt x="606" y="329"/>
                </a:lnTo>
                <a:lnTo>
                  <a:pt x="589" y="358"/>
                </a:lnTo>
                <a:lnTo>
                  <a:pt x="572" y="385"/>
                </a:lnTo>
                <a:lnTo>
                  <a:pt x="562" y="400"/>
                </a:lnTo>
                <a:lnTo>
                  <a:pt x="552" y="412"/>
                </a:lnTo>
                <a:lnTo>
                  <a:pt x="531" y="439"/>
                </a:lnTo>
                <a:lnTo>
                  <a:pt x="510" y="463"/>
                </a:lnTo>
                <a:lnTo>
                  <a:pt x="487" y="487"/>
                </a:lnTo>
                <a:lnTo>
                  <a:pt x="463" y="510"/>
                </a:lnTo>
                <a:lnTo>
                  <a:pt x="451" y="521"/>
                </a:lnTo>
                <a:lnTo>
                  <a:pt x="439" y="532"/>
                </a:lnTo>
                <a:lnTo>
                  <a:pt x="412" y="552"/>
                </a:lnTo>
                <a:lnTo>
                  <a:pt x="399" y="563"/>
                </a:lnTo>
                <a:lnTo>
                  <a:pt x="385" y="572"/>
                </a:lnTo>
                <a:lnTo>
                  <a:pt x="358" y="590"/>
                </a:lnTo>
                <a:lnTo>
                  <a:pt x="343" y="598"/>
                </a:lnTo>
                <a:lnTo>
                  <a:pt x="328" y="606"/>
                </a:lnTo>
                <a:lnTo>
                  <a:pt x="313" y="614"/>
                </a:lnTo>
                <a:lnTo>
                  <a:pt x="298" y="622"/>
                </a:lnTo>
                <a:lnTo>
                  <a:pt x="267" y="636"/>
                </a:lnTo>
                <a:lnTo>
                  <a:pt x="237" y="648"/>
                </a:lnTo>
                <a:lnTo>
                  <a:pt x="204" y="659"/>
                </a:lnTo>
                <a:lnTo>
                  <a:pt x="172" y="668"/>
                </a:lnTo>
                <a:lnTo>
                  <a:pt x="138" y="676"/>
                </a:lnTo>
                <a:lnTo>
                  <a:pt x="122" y="679"/>
                </a:lnTo>
                <a:lnTo>
                  <a:pt x="105" y="681"/>
                </a:lnTo>
                <a:lnTo>
                  <a:pt x="87" y="684"/>
                </a:lnTo>
                <a:lnTo>
                  <a:pt x="70" y="685"/>
                </a:lnTo>
                <a:lnTo>
                  <a:pt x="35" y="688"/>
                </a:lnTo>
                <a:lnTo>
                  <a:pt x="0" y="690"/>
                </a:lnTo>
                <a:lnTo>
                  <a:pt x="1" y="654"/>
                </a:lnTo>
                <a:lnTo>
                  <a:pt x="2" y="637"/>
                </a:lnTo>
                <a:lnTo>
                  <a:pt x="4" y="619"/>
                </a:lnTo>
                <a:lnTo>
                  <a:pt x="5" y="602"/>
                </a:lnTo>
                <a:lnTo>
                  <a:pt x="8" y="584"/>
                </a:lnTo>
                <a:lnTo>
                  <a:pt x="10" y="567"/>
                </a:lnTo>
                <a:lnTo>
                  <a:pt x="14" y="551"/>
                </a:lnTo>
                <a:lnTo>
                  <a:pt x="17" y="533"/>
                </a:lnTo>
                <a:lnTo>
                  <a:pt x="21" y="517"/>
                </a:lnTo>
                <a:lnTo>
                  <a:pt x="26" y="501"/>
                </a:lnTo>
                <a:lnTo>
                  <a:pt x="30" y="485"/>
                </a:lnTo>
                <a:lnTo>
                  <a:pt x="41" y="452"/>
                </a:lnTo>
                <a:lnTo>
                  <a:pt x="48" y="436"/>
                </a:lnTo>
                <a:lnTo>
                  <a:pt x="53" y="422"/>
                </a:lnTo>
                <a:lnTo>
                  <a:pt x="68" y="391"/>
                </a:lnTo>
                <a:lnTo>
                  <a:pt x="75" y="376"/>
                </a:lnTo>
                <a:lnTo>
                  <a:pt x="83" y="361"/>
                </a:lnTo>
                <a:lnTo>
                  <a:pt x="99" y="333"/>
                </a:lnTo>
                <a:lnTo>
                  <a:pt x="118" y="304"/>
                </a:lnTo>
                <a:lnTo>
                  <a:pt x="127" y="291"/>
                </a:lnTo>
                <a:lnTo>
                  <a:pt x="137" y="277"/>
                </a:lnTo>
                <a:lnTo>
                  <a:pt x="157" y="250"/>
                </a:lnTo>
                <a:lnTo>
                  <a:pt x="179" y="226"/>
                </a:lnTo>
                <a:lnTo>
                  <a:pt x="202" y="202"/>
                </a:lnTo>
                <a:lnTo>
                  <a:pt x="226" y="179"/>
                </a:lnTo>
                <a:lnTo>
                  <a:pt x="238" y="168"/>
                </a:lnTo>
                <a:lnTo>
                  <a:pt x="250" y="158"/>
                </a:lnTo>
                <a:lnTo>
                  <a:pt x="277" y="137"/>
                </a:lnTo>
                <a:lnTo>
                  <a:pt x="290" y="128"/>
                </a:lnTo>
                <a:lnTo>
                  <a:pt x="304" y="119"/>
                </a:lnTo>
                <a:lnTo>
                  <a:pt x="332" y="100"/>
                </a:lnTo>
                <a:lnTo>
                  <a:pt x="346" y="92"/>
                </a:lnTo>
                <a:lnTo>
                  <a:pt x="360" y="83"/>
                </a:lnTo>
                <a:lnTo>
                  <a:pt x="375" y="75"/>
                </a:lnTo>
                <a:lnTo>
                  <a:pt x="390" y="69"/>
                </a:lnTo>
                <a:lnTo>
                  <a:pt x="421" y="54"/>
                </a:lnTo>
                <a:lnTo>
                  <a:pt x="452" y="42"/>
                </a:lnTo>
                <a:lnTo>
                  <a:pt x="484" y="31"/>
                </a:lnTo>
                <a:lnTo>
                  <a:pt x="517" y="22"/>
                </a:lnTo>
                <a:lnTo>
                  <a:pt x="550" y="15"/>
                </a:lnTo>
                <a:lnTo>
                  <a:pt x="566" y="11"/>
                </a:lnTo>
                <a:lnTo>
                  <a:pt x="584" y="8"/>
                </a:lnTo>
                <a:lnTo>
                  <a:pt x="601" y="5"/>
                </a:lnTo>
                <a:lnTo>
                  <a:pt x="619" y="4"/>
                </a:lnTo>
                <a:lnTo>
                  <a:pt x="654" y="1"/>
                </a:lnTo>
                <a:lnTo>
                  <a:pt x="689" y="0"/>
                </a:lnTo>
                <a:close/>
              </a:path>
            </a:pathLst>
          </a:custGeom>
          <a:solidFill>
            <a:schemeClr val="accent2"/>
          </a:solidFill>
          <a:ln w="9525">
            <a:noFill/>
            <a:round/>
            <a:headEnd/>
            <a:tailEnd/>
          </a:ln>
        </p:spPr>
        <p:txBody>
          <a:bodyPr/>
          <a:lstStyle/>
          <a:p>
            <a:endParaRPr lang="en-US"/>
          </a:p>
        </p:txBody>
      </p:sp>
      <p:sp>
        <p:nvSpPr>
          <p:cNvPr id="8" name="Freeform 29">
            <a:extLst>
              <a:ext uri="{FF2B5EF4-FFF2-40B4-BE49-F238E27FC236}">
                <a16:creationId xmlns:a16="http://schemas.microsoft.com/office/drawing/2014/main" id="{82CFA15F-5279-4D2B-95BA-7F10302A3AAF}"/>
              </a:ext>
              <a:ext uri="{C183D7F6-B498-43B3-948B-1728B52AA6E4}">
                <adec:decorative xmlns:adec="http://schemas.microsoft.com/office/drawing/2017/decorative" val="1"/>
              </a:ext>
            </a:extLst>
          </p:cNvPr>
          <p:cNvSpPr>
            <a:spLocks/>
          </p:cNvSpPr>
          <p:nvPr/>
        </p:nvSpPr>
        <p:spPr bwMode="auto">
          <a:xfrm>
            <a:off x="3916321" y="2774950"/>
            <a:ext cx="2189162" cy="2189163"/>
          </a:xfrm>
          <a:custGeom>
            <a:avLst/>
            <a:gdLst/>
            <a:ahLst/>
            <a:cxnLst>
              <a:cxn ang="0">
                <a:pos x="3" y="636"/>
              </a:cxn>
              <a:cxn ang="0">
                <a:pos x="8" y="584"/>
              </a:cxn>
              <a:cxn ang="0">
                <a:pos x="18" y="533"/>
              </a:cxn>
              <a:cxn ang="0">
                <a:pos x="31" y="484"/>
              </a:cxn>
              <a:cxn ang="0">
                <a:pos x="54" y="421"/>
              </a:cxn>
              <a:cxn ang="0">
                <a:pos x="83" y="360"/>
              </a:cxn>
              <a:cxn ang="0">
                <a:pos x="128" y="290"/>
              </a:cxn>
              <a:cxn ang="0">
                <a:pos x="179" y="226"/>
              </a:cxn>
              <a:cxn ang="0">
                <a:pos x="238" y="168"/>
              </a:cxn>
              <a:cxn ang="0">
                <a:pos x="291" y="127"/>
              </a:cxn>
              <a:cxn ang="0">
                <a:pos x="346" y="91"/>
              </a:cxn>
              <a:cxn ang="0">
                <a:pos x="391" y="68"/>
              </a:cxn>
              <a:cxn ang="0">
                <a:pos x="485" y="30"/>
              </a:cxn>
              <a:cxn ang="0">
                <a:pos x="567" y="10"/>
              </a:cxn>
              <a:cxn ang="0">
                <a:pos x="619" y="4"/>
              </a:cxn>
              <a:cxn ang="0">
                <a:pos x="691" y="35"/>
              </a:cxn>
              <a:cxn ang="0">
                <a:pos x="695" y="87"/>
              </a:cxn>
              <a:cxn ang="0">
                <a:pos x="704" y="138"/>
              </a:cxn>
              <a:cxn ang="0">
                <a:pos x="716" y="188"/>
              </a:cxn>
              <a:cxn ang="0">
                <a:pos x="738" y="253"/>
              </a:cxn>
              <a:cxn ang="0">
                <a:pos x="765" y="313"/>
              </a:cxn>
              <a:cxn ang="0">
                <a:pos x="808" y="385"/>
              </a:cxn>
              <a:cxn ang="0">
                <a:pos x="847" y="439"/>
              </a:cxn>
              <a:cxn ang="0">
                <a:pos x="916" y="510"/>
              </a:cxn>
              <a:cxn ang="0">
                <a:pos x="967" y="552"/>
              </a:cxn>
              <a:cxn ang="0">
                <a:pos x="1022" y="589"/>
              </a:cxn>
              <a:cxn ang="0">
                <a:pos x="1065" y="614"/>
              </a:cxn>
              <a:cxn ang="0">
                <a:pos x="1142" y="647"/>
              </a:cxn>
              <a:cxn ang="0">
                <a:pos x="1240" y="676"/>
              </a:cxn>
              <a:cxn ang="0">
                <a:pos x="1291" y="684"/>
              </a:cxn>
              <a:cxn ang="0">
                <a:pos x="1379" y="689"/>
              </a:cxn>
              <a:cxn ang="0">
                <a:pos x="1309" y="693"/>
              </a:cxn>
              <a:cxn ang="0">
                <a:pos x="1256" y="700"/>
              </a:cxn>
              <a:cxn ang="0">
                <a:pos x="1207" y="711"/>
              </a:cxn>
              <a:cxn ang="0">
                <a:pos x="1142" y="731"/>
              </a:cxn>
              <a:cxn ang="0">
                <a:pos x="1080" y="758"/>
              </a:cxn>
              <a:cxn ang="0">
                <a:pos x="1022" y="789"/>
              </a:cxn>
              <a:cxn ang="0">
                <a:pos x="967" y="826"/>
              </a:cxn>
              <a:cxn ang="0">
                <a:pos x="892" y="891"/>
              </a:cxn>
              <a:cxn ang="0">
                <a:pos x="847" y="939"/>
              </a:cxn>
              <a:cxn ang="0">
                <a:pos x="808" y="993"/>
              </a:cxn>
              <a:cxn ang="0">
                <a:pos x="773" y="1050"/>
              </a:cxn>
              <a:cxn ang="0">
                <a:pos x="743" y="1111"/>
              </a:cxn>
              <a:cxn ang="0">
                <a:pos x="711" y="1206"/>
              </a:cxn>
              <a:cxn ang="0">
                <a:pos x="698" y="1273"/>
              </a:cxn>
              <a:cxn ang="0">
                <a:pos x="691" y="1343"/>
              </a:cxn>
              <a:cxn ang="0">
                <a:pos x="637" y="1377"/>
              </a:cxn>
              <a:cxn ang="0">
                <a:pos x="584" y="1370"/>
              </a:cxn>
              <a:cxn ang="0">
                <a:pos x="533" y="1361"/>
              </a:cxn>
              <a:cxn ang="0">
                <a:pos x="485" y="1348"/>
              </a:cxn>
              <a:cxn ang="0">
                <a:pos x="422" y="1325"/>
              </a:cxn>
              <a:cxn ang="0">
                <a:pos x="361" y="1295"/>
              </a:cxn>
              <a:cxn ang="0">
                <a:pos x="291" y="1252"/>
              </a:cxn>
              <a:cxn ang="0">
                <a:pos x="226" y="1199"/>
              </a:cxn>
              <a:cxn ang="0">
                <a:pos x="168" y="1140"/>
              </a:cxn>
              <a:cxn ang="0">
                <a:pos x="128" y="1089"/>
              </a:cxn>
              <a:cxn ang="0">
                <a:pos x="92" y="1032"/>
              </a:cxn>
              <a:cxn ang="0">
                <a:pos x="69" y="988"/>
              </a:cxn>
              <a:cxn ang="0">
                <a:pos x="31" y="894"/>
              </a:cxn>
              <a:cxn ang="0">
                <a:pos x="11" y="812"/>
              </a:cxn>
              <a:cxn ang="0">
                <a:pos x="4" y="759"/>
              </a:cxn>
            </a:cxnLst>
            <a:rect l="0" t="0" r="r" b="b"/>
            <a:pathLst>
              <a:path w="1379" h="1379">
                <a:moveTo>
                  <a:pt x="0" y="689"/>
                </a:moveTo>
                <a:lnTo>
                  <a:pt x="1" y="654"/>
                </a:lnTo>
                <a:lnTo>
                  <a:pt x="3" y="636"/>
                </a:lnTo>
                <a:lnTo>
                  <a:pt x="4" y="619"/>
                </a:lnTo>
                <a:lnTo>
                  <a:pt x="5" y="601"/>
                </a:lnTo>
                <a:lnTo>
                  <a:pt x="8" y="584"/>
                </a:lnTo>
                <a:lnTo>
                  <a:pt x="11" y="566"/>
                </a:lnTo>
                <a:lnTo>
                  <a:pt x="15" y="550"/>
                </a:lnTo>
                <a:lnTo>
                  <a:pt x="18" y="533"/>
                </a:lnTo>
                <a:lnTo>
                  <a:pt x="22" y="517"/>
                </a:lnTo>
                <a:lnTo>
                  <a:pt x="27" y="500"/>
                </a:lnTo>
                <a:lnTo>
                  <a:pt x="31" y="484"/>
                </a:lnTo>
                <a:lnTo>
                  <a:pt x="42" y="452"/>
                </a:lnTo>
                <a:lnTo>
                  <a:pt x="48" y="436"/>
                </a:lnTo>
                <a:lnTo>
                  <a:pt x="54" y="421"/>
                </a:lnTo>
                <a:lnTo>
                  <a:pt x="69" y="390"/>
                </a:lnTo>
                <a:lnTo>
                  <a:pt x="75" y="375"/>
                </a:lnTo>
                <a:lnTo>
                  <a:pt x="83" y="360"/>
                </a:lnTo>
                <a:lnTo>
                  <a:pt x="100" y="332"/>
                </a:lnTo>
                <a:lnTo>
                  <a:pt x="119" y="304"/>
                </a:lnTo>
                <a:lnTo>
                  <a:pt x="128" y="290"/>
                </a:lnTo>
                <a:lnTo>
                  <a:pt x="137" y="277"/>
                </a:lnTo>
                <a:lnTo>
                  <a:pt x="158" y="250"/>
                </a:lnTo>
                <a:lnTo>
                  <a:pt x="179" y="226"/>
                </a:lnTo>
                <a:lnTo>
                  <a:pt x="202" y="202"/>
                </a:lnTo>
                <a:lnTo>
                  <a:pt x="226" y="179"/>
                </a:lnTo>
                <a:lnTo>
                  <a:pt x="238" y="168"/>
                </a:lnTo>
                <a:lnTo>
                  <a:pt x="250" y="157"/>
                </a:lnTo>
                <a:lnTo>
                  <a:pt x="277" y="137"/>
                </a:lnTo>
                <a:lnTo>
                  <a:pt x="291" y="127"/>
                </a:lnTo>
                <a:lnTo>
                  <a:pt x="304" y="118"/>
                </a:lnTo>
                <a:lnTo>
                  <a:pt x="333" y="99"/>
                </a:lnTo>
                <a:lnTo>
                  <a:pt x="346" y="91"/>
                </a:lnTo>
                <a:lnTo>
                  <a:pt x="361" y="83"/>
                </a:lnTo>
                <a:lnTo>
                  <a:pt x="376" y="75"/>
                </a:lnTo>
                <a:lnTo>
                  <a:pt x="391" y="68"/>
                </a:lnTo>
                <a:lnTo>
                  <a:pt x="422" y="53"/>
                </a:lnTo>
                <a:lnTo>
                  <a:pt x="452" y="41"/>
                </a:lnTo>
                <a:lnTo>
                  <a:pt x="485" y="30"/>
                </a:lnTo>
                <a:lnTo>
                  <a:pt x="517" y="21"/>
                </a:lnTo>
                <a:lnTo>
                  <a:pt x="551" y="14"/>
                </a:lnTo>
                <a:lnTo>
                  <a:pt x="567" y="10"/>
                </a:lnTo>
                <a:lnTo>
                  <a:pt x="584" y="8"/>
                </a:lnTo>
                <a:lnTo>
                  <a:pt x="602" y="5"/>
                </a:lnTo>
                <a:lnTo>
                  <a:pt x="619" y="4"/>
                </a:lnTo>
                <a:lnTo>
                  <a:pt x="654" y="1"/>
                </a:lnTo>
                <a:lnTo>
                  <a:pt x="690" y="0"/>
                </a:lnTo>
                <a:lnTo>
                  <a:pt x="691" y="35"/>
                </a:lnTo>
                <a:lnTo>
                  <a:pt x="692" y="53"/>
                </a:lnTo>
                <a:lnTo>
                  <a:pt x="694" y="70"/>
                </a:lnTo>
                <a:lnTo>
                  <a:pt x="695" y="87"/>
                </a:lnTo>
                <a:lnTo>
                  <a:pt x="698" y="105"/>
                </a:lnTo>
                <a:lnTo>
                  <a:pt x="700" y="122"/>
                </a:lnTo>
                <a:lnTo>
                  <a:pt x="704" y="138"/>
                </a:lnTo>
                <a:lnTo>
                  <a:pt x="707" y="156"/>
                </a:lnTo>
                <a:lnTo>
                  <a:pt x="711" y="172"/>
                </a:lnTo>
                <a:lnTo>
                  <a:pt x="716" y="188"/>
                </a:lnTo>
                <a:lnTo>
                  <a:pt x="720" y="204"/>
                </a:lnTo>
                <a:lnTo>
                  <a:pt x="731" y="237"/>
                </a:lnTo>
                <a:lnTo>
                  <a:pt x="738" y="253"/>
                </a:lnTo>
                <a:lnTo>
                  <a:pt x="743" y="267"/>
                </a:lnTo>
                <a:lnTo>
                  <a:pt x="758" y="298"/>
                </a:lnTo>
                <a:lnTo>
                  <a:pt x="765" y="313"/>
                </a:lnTo>
                <a:lnTo>
                  <a:pt x="773" y="328"/>
                </a:lnTo>
                <a:lnTo>
                  <a:pt x="789" y="358"/>
                </a:lnTo>
                <a:lnTo>
                  <a:pt x="808" y="385"/>
                </a:lnTo>
                <a:lnTo>
                  <a:pt x="817" y="399"/>
                </a:lnTo>
                <a:lnTo>
                  <a:pt x="827" y="412"/>
                </a:lnTo>
                <a:lnTo>
                  <a:pt x="847" y="439"/>
                </a:lnTo>
                <a:lnTo>
                  <a:pt x="869" y="463"/>
                </a:lnTo>
                <a:lnTo>
                  <a:pt x="892" y="487"/>
                </a:lnTo>
                <a:lnTo>
                  <a:pt x="916" y="510"/>
                </a:lnTo>
                <a:lnTo>
                  <a:pt x="928" y="521"/>
                </a:lnTo>
                <a:lnTo>
                  <a:pt x="940" y="531"/>
                </a:lnTo>
                <a:lnTo>
                  <a:pt x="967" y="552"/>
                </a:lnTo>
                <a:lnTo>
                  <a:pt x="980" y="562"/>
                </a:lnTo>
                <a:lnTo>
                  <a:pt x="994" y="572"/>
                </a:lnTo>
                <a:lnTo>
                  <a:pt x="1022" y="589"/>
                </a:lnTo>
                <a:lnTo>
                  <a:pt x="1036" y="597"/>
                </a:lnTo>
                <a:lnTo>
                  <a:pt x="1050" y="606"/>
                </a:lnTo>
                <a:lnTo>
                  <a:pt x="1065" y="614"/>
                </a:lnTo>
                <a:lnTo>
                  <a:pt x="1080" y="622"/>
                </a:lnTo>
                <a:lnTo>
                  <a:pt x="1111" y="635"/>
                </a:lnTo>
                <a:lnTo>
                  <a:pt x="1142" y="647"/>
                </a:lnTo>
                <a:lnTo>
                  <a:pt x="1174" y="658"/>
                </a:lnTo>
                <a:lnTo>
                  <a:pt x="1207" y="667"/>
                </a:lnTo>
                <a:lnTo>
                  <a:pt x="1240" y="676"/>
                </a:lnTo>
                <a:lnTo>
                  <a:pt x="1256" y="678"/>
                </a:lnTo>
                <a:lnTo>
                  <a:pt x="1274" y="681"/>
                </a:lnTo>
                <a:lnTo>
                  <a:pt x="1291" y="684"/>
                </a:lnTo>
                <a:lnTo>
                  <a:pt x="1309" y="685"/>
                </a:lnTo>
                <a:lnTo>
                  <a:pt x="1344" y="688"/>
                </a:lnTo>
                <a:lnTo>
                  <a:pt x="1379" y="689"/>
                </a:lnTo>
                <a:lnTo>
                  <a:pt x="1344" y="690"/>
                </a:lnTo>
                <a:lnTo>
                  <a:pt x="1326" y="692"/>
                </a:lnTo>
                <a:lnTo>
                  <a:pt x="1309" y="693"/>
                </a:lnTo>
                <a:lnTo>
                  <a:pt x="1291" y="694"/>
                </a:lnTo>
                <a:lnTo>
                  <a:pt x="1274" y="697"/>
                </a:lnTo>
                <a:lnTo>
                  <a:pt x="1256" y="700"/>
                </a:lnTo>
                <a:lnTo>
                  <a:pt x="1240" y="704"/>
                </a:lnTo>
                <a:lnTo>
                  <a:pt x="1223" y="707"/>
                </a:lnTo>
                <a:lnTo>
                  <a:pt x="1207" y="711"/>
                </a:lnTo>
                <a:lnTo>
                  <a:pt x="1190" y="716"/>
                </a:lnTo>
                <a:lnTo>
                  <a:pt x="1174" y="720"/>
                </a:lnTo>
                <a:lnTo>
                  <a:pt x="1142" y="731"/>
                </a:lnTo>
                <a:lnTo>
                  <a:pt x="1126" y="737"/>
                </a:lnTo>
                <a:lnTo>
                  <a:pt x="1111" y="743"/>
                </a:lnTo>
                <a:lnTo>
                  <a:pt x="1080" y="758"/>
                </a:lnTo>
                <a:lnTo>
                  <a:pt x="1065" y="764"/>
                </a:lnTo>
                <a:lnTo>
                  <a:pt x="1050" y="772"/>
                </a:lnTo>
                <a:lnTo>
                  <a:pt x="1022" y="789"/>
                </a:lnTo>
                <a:lnTo>
                  <a:pt x="994" y="808"/>
                </a:lnTo>
                <a:lnTo>
                  <a:pt x="980" y="817"/>
                </a:lnTo>
                <a:lnTo>
                  <a:pt x="967" y="826"/>
                </a:lnTo>
                <a:lnTo>
                  <a:pt x="940" y="847"/>
                </a:lnTo>
                <a:lnTo>
                  <a:pt x="916" y="868"/>
                </a:lnTo>
                <a:lnTo>
                  <a:pt x="892" y="891"/>
                </a:lnTo>
                <a:lnTo>
                  <a:pt x="869" y="915"/>
                </a:lnTo>
                <a:lnTo>
                  <a:pt x="858" y="927"/>
                </a:lnTo>
                <a:lnTo>
                  <a:pt x="847" y="939"/>
                </a:lnTo>
                <a:lnTo>
                  <a:pt x="827" y="966"/>
                </a:lnTo>
                <a:lnTo>
                  <a:pt x="817" y="980"/>
                </a:lnTo>
                <a:lnTo>
                  <a:pt x="808" y="993"/>
                </a:lnTo>
                <a:lnTo>
                  <a:pt x="789" y="1022"/>
                </a:lnTo>
                <a:lnTo>
                  <a:pt x="781" y="1035"/>
                </a:lnTo>
                <a:lnTo>
                  <a:pt x="773" y="1050"/>
                </a:lnTo>
                <a:lnTo>
                  <a:pt x="765" y="1065"/>
                </a:lnTo>
                <a:lnTo>
                  <a:pt x="758" y="1080"/>
                </a:lnTo>
                <a:lnTo>
                  <a:pt x="743" y="1111"/>
                </a:lnTo>
                <a:lnTo>
                  <a:pt x="731" y="1141"/>
                </a:lnTo>
                <a:lnTo>
                  <a:pt x="720" y="1174"/>
                </a:lnTo>
                <a:lnTo>
                  <a:pt x="711" y="1206"/>
                </a:lnTo>
                <a:lnTo>
                  <a:pt x="704" y="1240"/>
                </a:lnTo>
                <a:lnTo>
                  <a:pt x="700" y="1256"/>
                </a:lnTo>
                <a:lnTo>
                  <a:pt x="698" y="1273"/>
                </a:lnTo>
                <a:lnTo>
                  <a:pt x="695" y="1291"/>
                </a:lnTo>
                <a:lnTo>
                  <a:pt x="694" y="1308"/>
                </a:lnTo>
                <a:lnTo>
                  <a:pt x="691" y="1343"/>
                </a:lnTo>
                <a:lnTo>
                  <a:pt x="690" y="1379"/>
                </a:lnTo>
                <a:lnTo>
                  <a:pt x="654" y="1377"/>
                </a:lnTo>
                <a:lnTo>
                  <a:pt x="637" y="1377"/>
                </a:lnTo>
                <a:lnTo>
                  <a:pt x="619" y="1374"/>
                </a:lnTo>
                <a:lnTo>
                  <a:pt x="602" y="1373"/>
                </a:lnTo>
                <a:lnTo>
                  <a:pt x="584" y="1370"/>
                </a:lnTo>
                <a:lnTo>
                  <a:pt x="567" y="1368"/>
                </a:lnTo>
                <a:lnTo>
                  <a:pt x="551" y="1365"/>
                </a:lnTo>
                <a:lnTo>
                  <a:pt x="533" y="1361"/>
                </a:lnTo>
                <a:lnTo>
                  <a:pt x="517" y="1357"/>
                </a:lnTo>
                <a:lnTo>
                  <a:pt x="501" y="1353"/>
                </a:lnTo>
                <a:lnTo>
                  <a:pt x="485" y="1348"/>
                </a:lnTo>
                <a:lnTo>
                  <a:pt x="452" y="1337"/>
                </a:lnTo>
                <a:lnTo>
                  <a:pt x="436" y="1331"/>
                </a:lnTo>
                <a:lnTo>
                  <a:pt x="422" y="1325"/>
                </a:lnTo>
                <a:lnTo>
                  <a:pt x="391" y="1311"/>
                </a:lnTo>
                <a:lnTo>
                  <a:pt x="376" y="1303"/>
                </a:lnTo>
                <a:lnTo>
                  <a:pt x="361" y="1295"/>
                </a:lnTo>
                <a:lnTo>
                  <a:pt x="333" y="1279"/>
                </a:lnTo>
                <a:lnTo>
                  <a:pt x="304" y="1261"/>
                </a:lnTo>
                <a:lnTo>
                  <a:pt x="291" y="1252"/>
                </a:lnTo>
                <a:lnTo>
                  <a:pt x="277" y="1241"/>
                </a:lnTo>
                <a:lnTo>
                  <a:pt x="250" y="1221"/>
                </a:lnTo>
                <a:lnTo>
                  <a:pt x="226" y="1199"/>
                </a:lnTo>
                <a:lnTo>
                  <a:pt x="202" y="1176"/>
                </a:lnTo>
                <a:lnTo>
                  <a:pt x="179" y="1152"/>
                </a:lnTo>
                <a:lnTo>
                  <a:pt x="168" y="1140"/>
                </a:lnTo>
                <a:lnTo>
                  <a:pt x="158" y="1128"/>
                </a:lnTo>
                <a:lnTo>
                  <a:pt x="137" y="1101"/>
                </a:lnTo>
                <a:lnTo>
                  <a:pt x="128" y="1089"/>
                </a:lnTo>
                <a:lnTo>
                  <a:pt x="119" y="1074"/>
                </a:lnTo>
                <a:lnTo>
                  <a:pt x="100" y="1047"/>
                </a:lnTo>
                <a:lnTo>
                  <a:pt x="92" y="1032"/>
                </a:lnTo>
                <a:lnTo>
                  <a:pt x="83" y="1018"/>
                </a:lnTo>
                <a:lnTo>
                  <a:pt x="75" y="1003"/>
                </a:lnTo>
                <a:lnTo>
                  <a:pt x="69" y="988"/>
                </a:lnTo>
                <a:lnTo>
                  <a:pt x="54" y="957"/>
                </a:lnTo>
                <a:lnTo>
                  <a:pt x="42" y="926"/>
                </a:lnTo>
                <a:lnTo>
                  <a:pt x="31" y="894"/>
                </a:lnTo>
                <a:lnTo>
                  <a:pt x="22" y="861"/>
                </a:lnTo>
                <a:lnTo>
                  <a:pt x="15" y="828"/>
                </a:lnTo>
                <a:lnTo>
                  <a:pt x="11" y="812"/>
                </a:lnTo>
                <a:lnTo>
                  <a:pt x="8" y="794"/>
                </a:lnTo>
                <a:lnTo>
                  <a:pt x="5" y="777"/>
                </a:lnTo>
                <a:lnTo>
                  <a:pt x="4" y="759"/>
                </a:lnTo>
                <a:lnTo>
                  <a:pt x="1" y="724"/>
                </a:lnTo>
                <a:lnTo>
                  <a:pt x="0" y="689"/>
                </a:lnTo>
                <a:close/>
              </a:path>
            </a:pathLst>
          </a:custGeom>
          <a:pattFill prst="wdUpDiag">
            <a:fgClr>
              <a:schemeClr val="tx2">
                <a:lumMod val="20000"/>
                <a:lumOff val="80000"/>
              </a:schemeClr>
            </a:fgClr>
            <a:bgClr>
              <a:schemeClr val="bg1"/>
            </a:bgClr>
          </a:pattFill>
          <a:ln w="9525">
            <a:noFill/>
            <a:round/>
            <a:headEnd/>
            <a:tailEnd/>
          </a:ln>
        </p:spPr>
        <p:txBody>
          <a:bodyPr/>
          <a:lstStyle/>
          <a:p>
            <a:endParaRPr lang="en-US"/>
          </a:p>
        </p:txBody>
      </p:sp>
      <p:sp>
        <p:nvSpPr>
          <p:cNvPr id="9" name="Freeform 30">
            <a:extLst>
              <a:ext uri="{FF2B5EF4-FFF2-40B4-BE49-F238E27FC236}">
                <a16:creationId xmlns:a16="http://schemas.microsoft.com/office/drawing/2014/main" id="{C1BCF55C-AA1D-482F-8455-DEF0C1859EB0}"/>
              </a:ext>
              <a:ext uri="{C183D7F6-B498-43B3-948B-1728B52AA6E4}">
                <adec:decorative xmlns:adec="http://schemas.microsoft.com/office/drawing/2017/decorative" val="1"/>
              </a:ext>
            </a:extLst>
          </p:cNvPr>
          <p:cNvSpPr>
            <a:spLocks/>
          </p:cNvSpPr>
          <p:nvPr/>
        </p:nvSpPr>
        <p:spPr bwMode="auto">
          <a:xfrm>
            <a:off x="6105483" y="2774950"/>
            <a:ext cx="1095375" cy="1093788"/>
          </a:xfrm>
          <a:custGeom>
            <a:avLst/>
            <a:gdLst/>
            <a:ahLst/>
            <a:cxnLst>
              <a:cxn ang="0">
                <a:pos x="1" y="654"/>
              </a:cxn>
              <a:cxn ang="0">
                <a:pos x="4" y="619"/>
              </a:cxn>
              <a:cxn ang="0">
                <a:pos x="8" y="584"/>
              </a:cxn>
              <a:cxn ang="0">
                <a:pos x="15" y="550"/>
              </a:cxn>
              <a:cxn ang="0">
                <a:pos x="22" y="517"/>
              </a:cxn>
              <a:cxn ang="0">
                <a:pos x="31" y="484"/>
              </a:cxn>
              <a:cxn ang="0">
                <a:pos x="48" y="436"/>
              </a:cxn>
              <a:cxn ang="0">
                <a:pos x="69" y="390"/>
              </a:cxn>
              <a:cxn ang="0">
                <a:pos x="83" y="360"/>
              </a:cxn>
              <a:cxn ang="0">
                <a:pos x="119" y="304"/>
              </a:cxn>
              <a:cxn ang="0">
                <a:pos x="137" y="277"/>
              </a:cxn>
              <a:cxn ang="0">
                <a:pos x="179" y="226"/>
              </a:cxn>
              <a:cxn ang="0">
                <a:pos x="226" y="179"/>
              </a:cxn>
              <a:cxn ang="0">
                <a:pos x="250" y="157"/>
              </a:cxn>
              <a:cxn ang="0">
                <a:pos x="291" y="127"/>
              </a:cxn>
              <a:cxn ang="0">
                <a:pos x="333" y="99"/>
              </a:cxn>
              <a:cxn ang="0">
                <a:pos x="361" y="83"/>
              </a:cxn>
              <a:cxn ang="0">
                <a:pos x="391" y="68"/>
              </a:cxn>
              <a:cxn ang="0">
                <a:pos x="452" y="41"/>
              </a:cxn>
              <a:cxn ang="0">
                <a:pos x="517" y="21"/>
              </a:cxn>
              <a:cxn ang="0">
                <a:pos x="567" y="10"/>
              </a:cxn>
              <a:cxn ang="0">
                <a:pos x="602" y="5"/>
              </a:cxn>
              <a:cxn ang="0">
                <a:pos x="654" y="1"/>
              </a:cxn>
              <a:cxn ang="0">
                <a:pos x="688" y="35"/>
              </a:cxn>
              <a:cxn ang="0">
                <a:pos x="685" y="70"/>
              </a:cxn>
              <a:cxn ang="0">
                <a:pos x="681" y="105"/>
              </a:cxn>
              <a:cxn ang="0">
                <a:pos x="676" y="138"/>
              </a:cxn>
              <a:cxn ang="0">
                <a:pos x="668" y="172"/>
              </a:cxn>
              <a:cxn ang="0">
                <a:pos x="659" y="204"/>
              </a:cxn>
              <a:cxn ang="0">
                <a:pos x="642" y="253"/>
              </a:cxn>
              <a:cxn ang="0">
                <a:pos x="622" y="298"/>
              </a:cxn>
              <a:cxn ang="0">
                <a:pos x="606" y="328"/>
              </a:cxn>
              <a:cxn ang="0">
                <a:pos x="572" y="385"/>
              </a:cxn>
              <a:cxn ang="0">
                <a:pos x="552" y="412"/>
              </a:cxn>
              <a:cxn ang="0">
                <a:pos x="510" y="463"/>
              </a:cxn>
              <a:cxn ang="0">
                <a:pos x="463" y="510"/>
              </a:cxn>
              <a:cxn ang="0">
                <a:pos x="439" y="531"/>
              </a:cxn>
              <a:cxn ang="0">
                <a:pos x="400" y="562"/>
              </a:cxn>
              <a:cxn ang="0">
                <a:pos x="358" y="589"/>
              </a:cxn>
              <a:cxn ang="0">
                <a:pos x="329" y="606"/>
              </a:cxn>
              <a:cxn ang="0">
                <a:pos x="299" y="622"/>
              </a:cxn>
              <a:cxn ang="0">
                <a:pos x="237" y="647"/>
              </a:cxn>
              <a:cxn ang="0">
                <a:pos x="172" y="667"/>
              </a:cxn>
              <a:cxn ang="0">
                <a:pos x="123" y="678"/>
              </a:cxn>
              <a:cxn ang="0">
                <a:pos x="88" y="684"/>
              </a:cxn>
              <a:cxn ang="0">
                <a:pos x="35" y="688"/>
              </a:cxn>
            </a:cxnLst>
            <a:rect l="0" t="0" r="r" b="b"/>
            <a:pathLst>
              <a:path w="690" h="689">
                <a:moveTo>
                  <a:pt x="0" y="689"/>
                </a:moveTo>
                <a:lnTo>
                  <a:pt x="1" y="654"/>
                </a:lnTo>
                <a:lnTo>
                  <a:pt x="3" y="636"/>
                </a:lnTo>
                <a:lnTo>
                  <a:pt x="4" y="619"/>
                </a:lnTo>
                <a:lnTo>
                  <a:pt x="5" y="601"/>
                </a:lnTo>
                <a:lnTo>
                  <a:pt x="8" y="584"/>
                </a:lnTo>
                <a:lnTo>
                  <a:pt x="11" y="566"/>
                </a:lnTo>
                <a:lnTo>
                  <a:pt x="15" y="550"/>
                </a:lnTo>
                <a:lnTo>
                  <a:pt x="18" y="533"/>
                </a:lnTo>
                <a:lnTo>
                  <a:pt x="22" y="517"/>
                </a:lnTo>
                <a:lnTo>
                  <a:pt x="27" y="500"/>
                </a:lnTo>
                <a:lnTo>
                  <a:pt x="31" y="484"/>
                </a:lnTo>
                <a:lnTo>
                  <a:pt x="42" y="452"/>
                </a:lnTo>
                <a:lnTo>
                  <a:pt x="48" y="436"/>
                </a:lnTo>
                <a:lnTo>
                  <a:pt x="54" y="421"/>
                </a:lnTo>
                <a:lnTo>
                  <a:pt x="69" y="390"/>
                </a:lnTo>
                <a:lnTo>
                  <a:pt x="75" y="375"/>
                </a:lnTo>
                <a:lnTo>
                  <a:pt x="83" y="360"/>
                </a:lnTo>
                <a:lnTo>
                  <a:pt x="100" y="332"/>
                </a:lnTo>
                <a:lnTo>
                  <a:pt x="119" y="304"/>
                </a:lnTo>
                <a:lnTo>
                  <a:pt x="128" y="290"/>
                </a:lnTo>
                <a:lnTo>
                  <a:pt x="137" y="277"/>
                </a:lnTo>
                <a:lnTo>
                  <a:pt x="158" y="250"/>
                </a:lnTo>
                <a:lnTo>
                  <a:pt x="179" y="226"/>
                </a:lnTo>
                <a:lnTo>
                  <a:pt x="202" y="202"/>
                </a:lnTo>
                <a:lnTo>
                  <a:pt x="226" y="179"/>
                </a:lnTo>
                <a:lnTo>
                  <a:pt x="238" y="168"/>
                </a:lnTo>
                <a:lnTo>
                  <a:pt x="250" y="157"/>
                </a:lnTo>
                <a:lnTo>
                  <a:pt x="277" y="137"/>
                </a:lnTo>
                <a:lnTo>
                  <a:pt x="291" y="127"/>
                </a:lnTo>
                <a:lnTo>
                  <a:pt x="304" y="118"/>
                </a:lnTo>
                <a:lnTo>
                  <a:pt x="333" y="99"/>
                </a:lnTo>
                <a:lnTo>
                  <a:pt x="346" y="91"/>
                </a:lnTo>
                <a:lnTo>
                  <a:pt x="361" y="83"/>
                </a:lnTo>
                <a:lnTo>
                  <a:pt x="376" y="75"/>
                </a:lnTo>
                <a:lnTo>
                  <a:pt x="391" y="68"/>
                </a:lnTo>
                <a:lnTo>
                  <a:pt x="422" y="53"/>
                </a:lnTo>
                <a:lnTo>
                  <a:pt x="452" y="41"/>
                </a:lnTo>
                <a:lnTo>
                  <a:pt x="485" y="30"/>
                </a:lnTo>
                <a:lnTo>
                  <a:pt x="517" y="21"/>
                </a:lnTo>
                <a:lnTo>
                  <a:pt x="551" y="14"/>
                </a:lnTo>
                <a:lnTo>
                  <a:pt x="567" y="10"/>
                </a:lnTo>
                <a:lnTo>
                  <a:pt x="584" y="8"/>
                </a:lnTo>
                <a:lnTo>
                  <a:pt x="602" y="5"/>
                </a:lnTo>
                <a:lnTo>
                  <a:pt x="619" y="4"/>
                </a:lnTo>
                <a:lnTo>
                  <a:pt x="654" y="1"/>
                </a:lnTo>
                <a:lnTo>
                  <a:pt x="690" y="0"/>
                </a:lnTo>
                <a:lnTo>
                  <a:pt x="688" y="35"/>
                </a:lnTo>
                <a:lnTo>
                  <a:pt x="688" y="53"/>
                </a:lnTo>
                <a:lnTo>
                  <a:pt x="685" y="70"/>
                </a:lnTo>
                <a:lnTo>
                  <a:pt x="684" y="87"/>
                </a:lnTo>
                <a:lnTo>
                  <a:pt x="681" y="105"/>
                </a:lnTo>
                <a:lnTo>
                  <a:pt x="679" y="122"/>
                </a:lnTo>
                <a:lnTo>
                  <a:pt x="676" y="138"/>
                </a:lnTo>
                <a:lnTo>
                  <a:pt x="672" y="156"/>
                </a:lnTo>
                <a:lnTo>
                  <a:pt x="668" y="172"/>
                </a:lnTo>
                <a:lnTo>
                  <a:pt x="664" y="188"/>
                </a:lnTo>
                <a:lnTo>
                  <a:pt x="659" y="204"/>
                </a:lnTo>
                <a:lnTo>
                  <a:pt x="648" y="237"/>
                </a:lnTo>
                <a:lnTo>
                  <a:pt x="642" y="253"/>
                </a:lnTo>
                <a:lnTo>
                  <a:pt x="636" y="267"/>
                </a:lnTo>
                <a:lnTo>
                  <a:pt x="622" y="298"/>
                </a:lnTo>
                <a:lnTo>
                  <a:pt x="614" y="313"/>
                </a:lnTo>
                <a:lnTo>
                  <a:pt x="606" y="328"/>
                </a:lnTo>
                <a:lnTo>
                  <a:pt x="590" y="358"/>
                </a:lnTo>
                <a:lnTo>
                  <a:pt x="572" y="385"/>
                </a:lnTo>
                <a:lnTo>
                  <a:pt x="563" y="399"/>
                </a:lnTo>
                <a:lnTo>
                  <a:pt x="552" y="412"/>
                </a:lnTo>
                <a:lnTo>
                  <a:pt x="532" y="439"/>
                </a:lnTo>
                <a:lnTo>
                  <a:pt x="510" y="463"/>
                </a:lnTo>
                <a:lnTo>
                  <a:pt x="487" y="487"/>
                </a:lnTo>
                <a:lnTo>
                  <a:pt x="463" y="510"/>
                </a:lnTo>
                <a:lnTo>
                  <a:pt x="451" y="521"/>
                </a:lnTo>
                <a:lnTo>
                  <a:pt x="439" y="531"/>
                </a:lnTo>
                <a:lnTo>
                  <a:pt x="412" y="552"/>
                </a:lnTo>
                <a:lnTo>
                  <a:pt x="400" y="562"/>
                </a:lnTo>
                <a:lnTo>
                  <a:pt x="385" y="572"/>
                </a:lnTo>
                <a:lnTo>
                  <a:pt x="358" y="589"/>
                </a:lnTo>
                <a:lnTo>
                  <a:pt x="343" y="597"/>
                </a:lnTo>
                <a:lnTo>
                  <a:pt x="329" y="606"/>
                </a:lnTo>
                <a:lnTo>
                  <a:pt x="314" y="614"/>
                </a:lnTo>
                <a:lnTo>
                  <a:pt x="299" y="622"/>
                </a:lnTo>
                <a:lnTo>
                  <a:pt x="268" y="635"/>
                </a:lnTo>
                <a:lnTo>
                  <a:pt x="237" y="647"/>
                </a:lnTo>
                <a:lnTo>
                  <a:pt x="205" y="658"/>
                </a:lnTo>
                <a:lnTo>
                  <a:pt x="172" y="667"/>
                </a:lnTo>
                <a:lnTo>
                  <a:pt x="139" y="676"/>
                </a:lnTo>
                <a:lnTo>
                  <a:pt x="123" y="678"/>
                </a:lnTo>
                <a:lnTo>
                  <a:pt x="105" y="681"/>
                </a:lnTo>
                <a:lnTo>
                  <a:pt x="88" y="684"/>
                </a:lnTo>
                <a:lnTo>
                  <a:pt x="70" y="685"/>
                </a:lnTo>
                <a:lnTo>
                  <a:pt x="35" y="688"/>
                </a:lnTo>
                <a:lnTo>
                  <a:pt x="0" y="689"/>
                </a:lnTo>
                <a:close/>
              </a:path>
            </a:pathLst>
          </a:custGeom>
          <a:solidFill>
            <a:schemeClr val="accent2"/>
          </a:solidFill>
          <a:ln w="9525">
            <a:noFill/>
            <a:round/>
            <a:headEnd/>
            <a:tailEnd/>
          </a:ln>
        </p:spPr>
        <p:txBody>
          <a:bodyPr/>
          <a:lstStyle/>
          <a:p>
            <a:endParaRPr lang="en-US"/>
          </a:p>
        </p:txBody>
      </p:sp>
      <p:sp>
        <p:nvSpPr>
          <p:cNvPr id="10" name="Freeform 31">
            <a:extLst>
              <a:ext uri="{FF2B5EF4-FFF2-40B4-BE49-F238E27FC236}">
                <a16:creationId xmlns:a16="http://schemas.microsoft.com/office/drawing/2014/main" id="{E6616C1E-4DAD-4469-A025-3006272E8884}"/>
              </a:ext>
              <a:ext uri="{C183D7F6-B498-43B3-948B-1728B52AA6E4}">
                <adec:decorative xmlns:adec="http://schemas.microsoft.com/office/drawing/2017/decorative" val="1"/>
              </a:ext>
            </a:extLst>
          </p:cNvPr>
          <p:cNvSpPr>
            <a:spLocks/>
          </p:cNvSpPr>
          <p:nvPr/>
        </p:nvSpPr>
        <p:spPr bwMode="auto">
          <a:xfrm>
            <a:off x="6105483" y="3868738"/>
            <a:ext cx="1095375" cy="1095375"/>
          </a:xfrm>
          <a:custGeom>
            <a:avLst/>
            <a:gdLst/>
            <a:ahLst/>
            <a:cxnLst>
              <a:cxn ang="0">
                <a:pos x="654" y="688"/>
              </a:cxn>
              <a:cxn ang="0">
                <a:pos x="619" y="685"/>
              </a:cxn>
              <a:cxn ang="0">
                <a:pos x="584" y="681"/>
              </a:cxn>
              <a:cxn ang="0">
                <a:pos x="551" y="676"/>
              </a:cxn>
              <a:cxn ang="0">
                <a:pos x="517" y="668"/>
              </a:cxn>
              <a:cxn ang="0">
                <a:pos x="485" y="659"/>
              </a:cxn>
              <a:cxn ang="0">
                <a:pos x="436" y="642"/>
              </a:cxn>
              <a:cxn ang="0">
                <a:pos x="391" y="622"/>
              </a:cxn>
              <a:cxn ang="0">
                <a:pos x="361" y="606"/>
              </a:cxn>
              <a:cxn ang="0">
                <a:pos x="304" y="572"/>
              </a:cxn>
              <a:cxn ang="0">
                <a:pos x="277" y="552"/>
              </a:cxn>
              <a:cxn ang="0">
                <a:pos x="226" y="510"/>
              </a:cxn>
              <a:cxn ang="0">
                <a:pos x="179" y="463"/>
              </a:cxn>
              <a:cxn ang="0">
                <a:pos x="158" y="439"/>
              </a:cxn>
              <a:cxn ang="0">
                <a:pos x="128" y="400"/>
              </a:cxn>
              <a:cxn ang="0">
                <a:pos x="100" y="358"/>
              </a:cxn>
              <a:cxn ang="0">
                <a:pos x="83" y="329"/>
              </a:cxn>
              <a:cxn ang="0">
                <a:pos x="69" y="299"/>
              </a:cxn>
              <a:cxn ang="0">
                <a:pos x="42" y="237"/>
              </a:cxn>
              <a:cxn ang="0">
                <a:pos x="22" y="172"/>
              </a:cxn>
              <a:cxn ang="0">
                <a:pos x="11" y="123"/>
              </a:cxn>
              <a:cxn ang="0">
                <a:pos x="5" y="88"/>
              </a:cxn>
              <a:cxn ang="0">
                <a:pos x="1" y="35"/>
              </a:cxn>
              <a:cxn ang="0">
                <a:pos x="35" y="1"/>
              </a:cxn>
              <a:cxn ang="0">
                <a:pos x="70" y="4"/>
              </a:cxn>
              <a:cxn ang="0">
                <a:pos x="105" y="8"/>
              </a:cxn>
              <a:cxn ang="0">
                <a:pos x="139" y="15"/>
              </a:cxn>
              <a:cxn ang="0">
                <a:pos x="172" y="22"/>
              </a:cxn>
              <a:cxn ang="0">
                <a:pos x="205" y="31"/>
              </a:cxn>
              <a:cxn ang="0">
                <a:pos x="253" y="48"/>
              </a:cxn>
              <a:cxn ang="0">
                <a:pos x="299" y="69"/>
              </a:cxn>
              <a:cxn ang="0">
                <a:pos x="329" y="83"/>
              </a:cxn>
              <a:cxn ang="0">
                <a:pos x="385" y="119"/>
              </a:cxn>
              <a:cxn ang="0">
                <a:pos x="412" y="137"/>
              </a:cxn>
              <a:cxn ang="0">
                <a:pos x="463" y="179"/>
              </a:cxn>
              <a:cxn ang="0">
                <a:pos x="510" y="226"/>
              </a:cxn>
              <a:cxn ang="0">
                <a:pos x="532" y="250"/>
              </a:cxn>
              <a:cxn ang="0">
                <a:pos x="563" y="291"/>
              </a:cxn>
              <a:cxn ang="0">
                <a:pos x="590" y="333"/>
              </a:cxn>
              <a:cxn ang="0">
                <a:pos x="606" y="361"/>
              </a:cxn>
              <a:cxn ang="0">
                <a:pos x="622" y="391"/>
              </a:cxn>
              <a:cxn ang="0">
                <a:pos x="648" y="452"/>
              </a:cxn>
              <a:cxn ang="0">
                <a:pos x="668" y="517"/>
              </a:cxn>
              <a:cxn ang="0">
                <a:pos x="679" y="567"/>
              </a:cxn>
              <a:cxn ang="0">
                <a:pos x="684" y="602"/>
              </a:cxn>
              <a:cxn ang="0">
                <a:pos x="688" y="654"/>
              </a:cxn>
            </a:cxnLst>
            <a:rect l="0" t="0" r="r" b="b"/>
            <a:pathLst>
              <a:path w="690" h="690">
                <a:moveTo>
                  <a:pt x="690" y="690"/>
                </a:moveTo>
                <a:lnTo>
                  <a:pt x="654" y="688"/>
                </a:lnTo>
                <a:lnTo>
                  <a:pt x="637" y="688"/>
                </a:lnTo>
                <a:lnTo>
                  <a:pt x="619" y="685"/>
                </a:lnTo>
                <a:lnTo>
                  <a:pt x="602" y="684"/>
                </a:lnTo>
                <a:lnTo>
                  <a:pt x="584" y="681"/>
                </a:lnTo>
                <a:lnTo>
                  <a:pt x="567" y="679"/>
                </a:lnTo>
                <a:lnTo>
                  <a:pt x="551" y="676"/>
                </a:lnTo>
                <a:lnTo>
                  <a:pt x="533" y="672"/>
                </a:lnTo>
                <a:lnTo>
                  <a:pt x="517" y="668"/>
                </a:lnTo>
                <a:lnTo>
                  <a:pt x="501" y="664"/>
                </a:lnTo>
                <a:lnTo>
                  <a:pt x="485" y="659"/>
                </a:lnTo>
                <a:lnTo>
                  <a:pt x="452" y="648"/>
                </a:lnTo>
                <a:lnTo>
                  <a:pt x="436" y="642"/>
                </a:lnTo>
                <a:lnTo>
                  <a:pt x="422" y="636"/>
                </a:lnTo>
                <a:lnTo>
                  <a:pt x="391" y="622"/>
                </a:lnTo>
                <a:lnTo>
                  <a:pt x="376" y="614"/>
                </a:lnTo>
                <a:lnTo>
                  <a:pt x="361" y="606"/>
                </a:lnTo>
                <a:lnTo>
                  <a:pt x="333" y="590"/>
                </a:lnTo>
                <a:lnTo>
                  <a:pt x="304" y="572"/>
                </a:lnTo>
                <a:lnTo>
                  <a:pt x="291" y="563"/>
                </a:lnTo>
                <a:lnTo>
                  <a:pt x="277" y="552"/>
                </a:lnTo>
                <a:lnTo>
                  <a:pt x="250" y="532"/>
                </a:lnTo>
                <a:lnTo>
                  <a:pt x="226" y="510"/>
                </a:lnTo>
                <a:lnTo>
                  <a:pt x="202" y="487"/>
                </a:lnTo>
                <a:lnTo>
                  <a:pt x="179" y="463"/>
                </a:lnTo>
                <a:lnTo>
                  <a:pt x="168" y="451"/>
                </a:lnTo>
                <a:lnTo>
                  <a:pt x="158" y="439"/>
                </a:lnTo>
                <a:lnTo>
                  <a:pt x="137" y="412"/>
                </a:lnTo>
                <a:lnTo>
                  <a:pt x="128" y="400"/>
                </a:lnTo>
                <a:lnTo>
                  <a:pt x="119" y="385"/>
                </a:lnTo>
                <a:lnTo>
                  <a:pt x="100" y="358"/>
                </a:lnTo>
                <a:lnTo>
                  <a:pt x="92" y="343"/>
                </a:lnTo>
                <a:lnTo>
                  <a:pt x="83" y="329"/>
                </a:lnTo>
                <a:lnTo>
                  <a:pt x="75" y="314"/>
                </a:lnTo>
                <a:lnTo>
                  <a:pt x="69" y="299"/>
                </a:lnTo>
                <a:lnTo>
                  <a:pt x="54" y="268"/>
                </a:lnTo>
                <a:lnTo>
                  <a:pt x="42" y="237"/>
                </a:lnTo>
                <a:lnTo>
                  <a:pt x="31" y="205"/>
                </a:lnTo>
                <a:lnTo>
                  <a:pt x="22" y="172"/>
                </a:lnTo>
                <a:lnTo>
                  <a:pt x="15" y="139"/>
                </a:lnTo>
                <a:lnTo>
                  <a:pt x="11" y="123"/>
                </a:lnTo>
                <a:lnTo>
                  <a:pt x="8" y="105"/>
                </a:lnTo>
                <a:lnTo>
                  <a:pt x="5" y="88"/>
                </a:lnTo>
                <a:lnTo>
                  <a:pt x="4" y="70"/>
                </a:lnTo>
                <a:lnTo>
                  <a:pt x="1" y="35"/>
                </a:lnTo>
                <a:lnTo>
                  <a:pt x="0" y="0"/>
                </a:lnTo>
                <a:lnTo>
                  <a:pt x="35" y="1"/>
                </a:lnTo>
                <a:lnTo>
                  <a:pt x="54" y="3"/>
                </a:lnTo>
                <a:lnTo>
                  <a:pt x="70" y="4"/>
                </a:lnTo>
                <a:lnTo>
                  <a:pt x="88" y="5"/>
                </a:lnTo>
                <a:lnTo>
                  <a:pt x="105" y="8"/>
                </a:lnTo>
                <a:lnTo>
                  <a:pt x="123" y="11"/>
                </a:lnTo>
                <a:lnTo>
                  <a:pt x="139" y="15"/>
                </a:lnTo>
                <a:lnTo>
                  <a:pt x="156" y="18"/>
                </a:lnTo>
                <a:lnTo>
                  <a:pt x="172" y="22"/>
                </a:lnTo>
                <a:lnTo>
                  <a:pt x="189" y="27"/>
                </a:lnTo>
                <a:lnTo>
                  <a:pt x="205" y="31"/>
                </a:lnTo>
                <a:lnTo>
                  <a:pt x="237" y="42"/>
                </a:lnTo>
                <a:lnTo>
                  <a:pt x="253" y="48"/>
                </a:lnTo>
                <a:lnTo>
                  <a:pt x="268" y="54"/>
                </a:lnTo>
                <a:lnTo>
                  <a:pt x="299" y="69"/>
                </a:lnTo>
                <a:lnTo>
                  <a:pt x="314" y="75"/>
                </a:lnTo>
                <a:lnTo>
                  <a:pt x="329" y="83"/>
                </a:lnTo>
                <a:lnTo>
                  <a:pt x="358" y="100"/>
                </a:lnTo>
                <a:lnTo>
                  <a:pt x="385" y="119"/>
                </a:lnTo>
                <a:lnTo>
                  <a:pt x="400" y="128"/>
                </a:lnTo>
                <a:lnTo>
                  <a:pt x="412" y="137"/>
                </a:lnTo>
                <a:lnTo>
                  <a:pt x="439" y="158"/>
                </a:lnTo>
                <a:lnTo>
                  <a:pt x="463" y="179"/>
                </a:lnTo>
                <a:lnTo>
                  <a:pt x="487" y="202"/>
                </a:lnTo>
                <a:lnTo>
                  <a:pt x="510" y="226"/>
                </a:lnTo>
                <a:lnTo>
                  <a:pt x="521" y="238"/>
                </a:lnTo>
                <a:lnTo>
                  <a:pt x="532" y="250"/>
                </a:lnTo>
                <a:lnTo>
                  <a:pt x="552" y="277"/>
                </a:lnTo>
                <a:lnTo>
                  <a:pt x="563" y="291"/>
                </a:lnTo>
                <a:lnTo>
                  <a:pt x="572" y="304"/>
                </a:lnTo>
                <a:lnTo>
                  <a:pt x="590" y="333"/>
                </a:lnTo>
                <a:lnTo>
                  <a:pt x="598" y="346"/>
                </a:lnTo>
                <a:lnTo>
                  <a:pt x="606" y="361"/>
                </a:lnTo>
                <a:lnTo>
                  <a:pt x="614" y="376"/>
                </a:lnTo>
                <a:lnTo>
                  <a:pt x="622" y="391"/>
                </a:lnTo>
                <a:lnTo>
                  <a:pt x="636" y="422"/>
                </a:lnTo>
                <a:lnTo>
                  <a:pt x="648" y="452"/>
                </a:lnTo>
                <a:lnTo>
                  <a:pt x="659" y="485"/>
                </a:lnTo>
                <a:lnTo>
                  <a:pt x="668" y="517"/>
                </a:lnTo>
                <a:lnTo>
                  <a:pt x="676" y="551"/>
                </a:lnTo>
                <a:lnTo>
                  <a:pt x="679" y="567"/>
                </a:lnTo>
                <a:lnTo>
                  <a:pt x="681" y="584"/>
                </a:lnTo>
                <a:lnTo>
                  <a:pt x="684" y="602"/>
                </a:lnTo>
                <a:lnTo>
                  <a:pt x="685" y="619"/>
                </a:lnTo>
                <a:lnTo>
                  <a:pt x="688" y="654"/>
                </a:lnTo>
                <a:lnTo>
                  <a:pt x="690" y="690"/>
                </a:lnTo>
                <a:close/>
              </a:path>
            </a:pathLst>
          </a:custGeom>
          <a:solidFill>
            <a:schemeClr val="accent2"/>
          </a:solidFill>
          <a:ln w="9525">
            <a:noFill/>
            <a:round/>
            <a:headEnd/>
            <a:tailEnd/>
          </a:ln>
        </p:spPr>
        <p:txBody>
          <a:bodyPr/>
          <a:lstStyle/>
          <a:p>
            <a:endParaRPr lang="en-US"/>
          </a:p>
        </p:txBody>
      </p:sp>
      <p:sp>
        <p:nvSpPr>
          <p:cNvPr id="13" name="Oval 34">
            <a:extLst>
              <a:ext uri="{FF2B5EF4-FFF2-40B4-BE49-F238E27FC236}">
                <a16:creationId xmlns:a16="http://schemas.microsoft.com/office/drawing/2014/main" id="{D413D2AF-9DA4-4CAE-8FC9-8EC3027C7486}"/>
              </a:ext>
            </a:extLst>
          </p:cNvPr>
          <p:cNvSpPr>
            <a:spLocks noChangeArrowheads="1"/>
          </p:cNvSpPr>
          <p:nvPr/>
        </p:nvSpPr>
        <p:spPr bwMode="auto">
          <a:xfrm rot="5400000">
            <a:off x="5012489" y="1678782"/>
            <a:ext cx="2187575" cy="2189162"/>
          </a:xfrm>
          <a:prstGeom prst="ellipse">
            <a:avLst/>
          </a:prstGeom>
          <a:noFill/>
          <a:ln w="6350">
            <a:noFill/>
            <a:round/>
            <a:headEnd/>
            <a:tailEnd/>
          </a:ln>
          <a:effectLst/>
        </p:spPr>
        <p:txBody>
          <a:bodyPr rot="10800000" vert="eaVert" lIns="45720" rIns="45720" anchor="ctr" anchorCtr="1"/>
          <a:lstStyle/>
          <a:p>
            <a:pPr eaLnBrk="0" hangingPunct="0"/>
            <a:r>
              <a:rPr lang="en-US" b="1" dirty="0">
                <a:solidFill>
                  <a:schemeClr val="bg1"/>
                </a:solidFill>
              </a:rPr>
              <a:t>Text</a:t>
            </a:r>
          </a:p>
        </p:txBody>
      </p:sp>
      <p:sp>
        <p:nvSpPr>
          <p:cNvPr id="15" name="Oval 36">
            <a:extLst>
              <a:ext uri="{FF2B5EF4-FFF2-40B4-BE49-F238E27FC236}">
                <a16:creationId xmlns:a16="http://schemas.microsoft.com/office/drawing/2014/main" id="{8E7838D8-E0E3-42B6-A604-316F7190CEE2}"/>
              </a:ext>
            </a:extLst>
          </p:cNvPr>
          <p:cNvSpPr>
            <a:spLocks noChangeArrowheads="1"/>
          </p:cNvSpPr>
          <p:nvPr/>
        </p:nvSpPr>
        <p:spPr bwMode="auto">
          <a:xfrm>
            <a:off x="6105483" y="2774950"/>
            <a:ext cx="2187575" cy="2187575"/>
          </a:xfrm>
          <a:prstGeom prst="ellipse">
            <a:avLst/>
          </a:prstGeom>
          <a:noFill/>
          <a:ln w="6350">
            <a:noFill/>
            <a:round/>
            <a:headEnd/>
            <a:tailEnd/>
          </a:ln>
          <a:effectLst/>
        </p:spPr>
        <p:txBody>
          <a:bodyPr lIns="45720" rIns="45720" anchor="ctr" anchorCtr="1"/>
          <a:lstStyle/>
          <a:p>
            <a:pPr eaLnBrk="0" hangingPunct="0"/>
            <a:r>
              <a:rPr lang="en-US" dirty="0">
                <a:solidFill>
                  <a:schemeClr val="tx1"/>
                </a:solidFill>
              </a:rPr>
              <a:t>Text</a:t>
            </a:r>
          </a:p>
        </p:txBody>
      </p:sp>
      <p:sp>
        <p:nvSpPr>
          <p:cNvPr id="12" name="Oval 33">
            <a:extLst>
              <a:ext uri="{FF2B5EF4-FFF2-40B4-BE49-F238E27FC236}">
                <a16:creationId xmlns:a16="http://schemas.microsoft.com/office/drawing/2014/main" id="{026275E0-8062-42CA-B951-FD73C5631CC4}"/>
              </a:ext>
            </a:extLst>
          </p:cNvPr>
          <p:cNvSpPr>
            <a:spLocks noChangeArrowheads="1"/>
          </p:cNvSpPr>
          <p:nvPr/>
        </p:nvSpPr>
        <p:spPr bwMode="auto">
          <a:xfrm rot="5400000">
            <a:off x="5011696" y="3870325"/>
            <a:ext cx="2187575" cy="2187575"/>
          </a:xfrm>
          <a:prstGeom prst="ellipse">
            <a:avLst/>
          </a:prstGeom>
          <a:noFill/>
          <a:ln w="6350">
            <a:noFill/>
            <a:round/>
            <a:headEnd/>
            <a:tailEnd/>
          </a:ln>
          <a:effectLst/>
        </p:spPr>
        <p:txBody>
          <a:bodyPr rot="10800000" vert="eaVert" lIns="45720" rIns="45720" anchor="ctr" anchorCtr="1"/>
          <a:lstStyle/>
          <a:p>
            <a:pPr eaLnBrk="0" hangingPunct="0"/>
            <a:r>
              <a:rPr lang="en-US" b="1" dirty="0">
                <a:solidFill>
                  <a:schemeClr val="bg1"/>
                </a:solidFill>
              </a:rPr>
              <a:t>Text</a:t>
            </a:r>
          </a:p>
        </p:txBody>
      </p:sp>
      <p:sp>
        <p:nvSpPr>
          <p:cNvPr id="14" name="Oval 35">
            <a:extLst>
              <a:ext uri="{FF2B5EF4-FFF2-40B4-BE49-F238E27FC236}">
                <a16:creationId xmlns:a16="http://schemas.microsoft.com/office/drawing/2014/main" id="{00EC0DF0-E5DD-4F46-827E-B9EBA9710118}"/>
              </a:ext>
            </a:extLst>
          </p:cNvPr>
          <p:cNvSpPr>
            <a:spLocks noChangeArrowheads="1"/>
          </p:cNvSpPr>
          <p:nvPr/>
        </p:nvSpPr>
        <p:spPr bwMode="auto">
          <a:xfrm>
            <a:off x="3916321" y="2774950"/>
            <a:ext cx="2187575" cy="2187575"/>
          </a:xfrm>
          <a:prstGeom prst="ellipse">
            <a:avLst/>
          </a:prstGeom>
          <a:noFill/>
          <a:ln w="6350">
            <a:noFill/>
            <a:round/>
            <a:headEnd/>
            <a:tailEnd/>
          </a:ln>
          <a:effectLst/>
        </p:spPr>
        <p:txBody>
          <a:bodyPr lIns="45720" rIns="45720" anchor="ctr" anchorCtr="1"/>
          <a:lstStyle/>
          <a:p>
            <a:pPr eaLnBrk="0" hangingPunct="0"/>
            <a:r>
              <a:rPr lang="en-US">
                <a:solidFill>
                  <a:schemeClr val="tx1"/>
                </a:solidFill>
              </a:rPr>
              <a:t>Text</a:t>
            </a:r>
          </a:p>
        </p:txBody>
      </p:sp>
      <p:sp>
        <p:nvSpPr>
          <p:cNvPr id="16" name="Footer Placeholder 15">
            <a:extLst>
              <a:ext uri="{FF2B5EF4-FFF2-40B4-BE49-F238E27FC236}">
                <a16:creationId xmlns:a16="http://schemas.microsoft.com/office/drawing/2014/main" id="{03518F67-E7E4-4EFF-ADCD-38A8E19AAF93}"/>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8" name="Slide Number Placeholder 17">
            <a:extLst>
              <a:ext uri="{FF2B5EF4-FFF2-40B4-BE49-F238E27FC236}">
                <a16:creationId xmlns:a16="http://schemas.microsoft.com/office/drawing/2014/main" id="{B1C1146F-7EAF-4BBF-B8E7-91A4DD0DB938}"/>
              </a:ext>
            </a:extLst>
          </p:cNvPr>
          <p:cNvSpPr>
            <a:spLocks noGrp="1"/>
          </p:cNvSpPr>
          <p:nvPr>
            <p:ph type="sldNum" sz="quarter" idx="10"/>
          </p:nvPr>
        </p:nvSpPr>
        <p:spPr/>
        <p:txBody>
          <a:bodyPr/>
          <a:lstStyle/>
          <a:p>
            <a:fld id="{1F90F471-3972-4120-B8B3-0237DE626C35}" type="slidenum">
              <a:rPr lang="en-US" smtClean="0"/>
              <a:pPr/>
              <a:t>272</a:t>
            </a:fld>
            <a:endParaRPr lang="en-US" dirty="0"/>
          </a:p>
        </p:txBody>
      </p:sp>
    </p:spTree>
    <p:extLst>
      <p:ext uri="{BB962C8B-B14F-4D97-AF65-F5344CB8AC3E}">
        <p14:creationId xmlns:p14="http://schemas.microsoft.com/office/powerpoint/2010/main" val="944752703"/>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de-DE" sz="3600" b="1" dirty="0"/>
              <a:t>Interlocking Circles 6</a:t>
            </a:r>
            <a:endParaRPr lang="en-US" sz="3600" b="1" dirty="0"/>
          </a:p>
        </p:txBody>
      </p:sp>
      <p:sp>
        <p:nvSpPr>
          <p:cNvPr id="4" name="Oval 12">
            <a:extLst>
              <a:ext uri="{FF2B5EF4-FFF2-40B4-BE49-F238E27FC236}">
                <a16:creationId xmlns:a16="http://schemas.microsoft.com/office/drawing/2014/main" id="{CCD869E1-FF2C-45D0-9DA5-4F380318BE33}"/>
              </a:ext>
            </a:extLst>
          </p:cNvPr>
          <p:cNvSpPr>
            <a:spLocks noChangeArrowheads="1"/>
          </p:cNvSpPr>
          <p:nvPr/>
        </p:nvSpPr>
        <p:spPr bwMode="auto">
          <a:xfrm>
            <a:off x="5681732" y="3365500"/>
            <a:ext cx="2622550" cy="2692400"/>
          </a:xfrm>
          <a:prstGeom prst="ellipse">
            <a:avLst/>
          </a:prstGeom>
          <a:solidFill>
            <a:schemeClr val="accent4"/>
          </a:solidFill>
          <a:ln w="6350">
            <a:noFill/>
            <a:round/>
            <a:headEnd/>
            <a:tailEnd/>
          </a:ln>
          <a:effectLst/>
        </p:spPr>
        <p:txBody>
          <a:bodyPr wrap="none" lIns="45720" rIns="45720" anchor="ctr" anchorCtr="1"/>
          <a:lstStyle/>
          <a:p>
            <a:pPr eaLnBrk="0" hangingPunct="0"/>
            <a:r>
              <a:rPr lang="en-US" b="1">
                <a:solidFill>
                  <a:schemeClr val="bg1"/>
                </a:solidFill>
              </a:rPr>
              <a:t>Text</a:t>
            </a:r>
          </a:p>
        </p:txBody>
      </p:sp>
      <p:sp>
        <p:nvSpPr>
          <p:cNvPr id="5" name="Oval 13">
            <a:extLst>
              <a:ext uri="{FF2B5EF4-FFF2-40B4-BE49-F238E27FC236}">
                <a16:creationId xmlns:a16="http://schemas.microsoft.com/office/drawing/2014/main" id="{18E82B83-438B-45CE-9A0C-BB34DCB7C149}"/>
              </a:ext>
            </a:extLst>
          </p:cNvPr>
          <p:cNvSpPr>
            <a:spLocks noChangeArrowheads="1"/>
          </p:cNvSpPr>
          <p:nvPr/>
        </p:nvSpPr>
        <p:spPr bwMode="auto">
          <a:xfrm>
            <a:off x="3833882" y="3365500"/>
            <a:ext cx="2622550" cy="2692400"/>
          </a:xfrm>
          <a:prstGeom prst="ellipse">
            <a:avLst/>
          </a:prstGeom>
          <a:solidFill>
            <a:schemeClr val="accent1"/>
          </a:solidFill>
          <a:ln w="6350">
            <a:noFill/>
            <a:round/>
            <a:headEnd/>
            <a:tailEnd/>
          </a:ln>
          <a:effectLst/>
        </p:spPr>
        <p:txBody>
          <a:bodyPr wrap="none" lIns="45720" rIns="45720" anchor="ctr" anchorCtr="1"/>
          <a:lstStyle/>
          <a:p>
            <a:pPr eaLnBrk="0" hangingPunct="0"/>
            <a:r>
              <a:rPr lang="en-US" b="1">
                <a:solidFill>
                  <a:schemeClr val="bg1"/>
                </a:solidFill>
              </a:rPr>
              <a:t>Text</a:t>
            </a:r>
          </a:p>
        </p:txBody>
      </p:sp>
      <p:sp>
        <p:nvSpPr>
          <p:cNvPr id="6" name="Oval 14">
            <a:extLst>
              <a:ext uri="{FF2B5EF4-FFF2-40B4-BE49-F238E27FC236}">
                <a16:creationId xmlns:a16="http://schemas.microsoft.com/office/drawing/2014/main" id="{0F5580C6-F93E-4415-9471-3E0E366CECBF}"/>
              </a:ext>
            </a:extLst>
          </p:cNvPr>
          <p:cNvSpPr>
            <a:spLocks noChangeArrowheads="1"/>
          </p:cNvSpPr>
          <p:nvPr/>
        </p:nvSpPr>
        <p:spPr bwMode="auto">
          <a:xfrm>
            <a:off x="3833882" y="1539875"/>
            <a:ext cx="2622550" cy="2692400"/>
          </a:xfrm>
          <a:prstGeom prst="ellipse">
            <a:avLst/>
          </a:prstGeom>
          <a:solidFill>
            <a:schemeClr val="accent2"/>
          </a:solidFill>
          <a:ln w="6350">
            <a:noFill/>
            <a:round/>
            <a:headEnd/>
            <a:tailEnd/>
          </a:ln>
          <a:effectLst/>
        </p:spPr>
        <p:txBody>
          <a:bodyPr wrap="none" lIns="45720" rIns="45720" anchor="ctr" anchorCtr="1"/>
          <a:lstStyle/>
          <a:p>
            <a:pPr eaLnBrk="0" hangingPunct="0"/>
            <a:r>
              <a:rPr lang="en-US" b="1" dirty="0">
                <a:solidFill>
                  <a:schemeClr val="bg1"/>
                </a:solidFill>
              </a:rPr>
              <a:t>Text</a:t>
            </a:r>
          </a:p>
        </p:txBody>
      </p:sp>
      <p:sp>
        <p:nvSpPr>
          <p:cNvPr id="7" name="Freeform 15">
            <a:extLst>
              <a:ext uri="{FF2B5EF4-FFF2-40B4-BE49-F238E27FC236}">
                <a16:creationId xmlns:a16="http://schemas.microsoft.com/office/drawing/2014/main" id="{A146AEB1-77C9-45F4-9E0D-A502A4804351}"/>
              </a:ext>
            </a:extLst>
          </p:cNvPr>
          <p:cNvSpPr>
            <a:spLocks/>
          </p:cNvSpPr>
          <p:nvPr/>
        </p:nvSpPr>
        <p:spPr bwMode="auto">
          <a:xfrm>
            <a:off x="5703957" y="1497012"/>
            <a:ext cx="2620962" cy="2306638"/>
          </a:xfrm>
          <a:custGeom>
            <a:avLst/>
            <a:gdLst/>
            <a:ahLst/>
            <a:cxnLst>
              <a:cxn ang="0">
                <a:pos x="673" y="683"/>
              </a:cxn>
              <a:cxn ang="0">
                <a:pos x="609" y="640"/>
              </a:cxn>
              <a:cxn ang="0">
                <a:pos x="537" y="611"/>
              </a:cxn>
              <a:cxn ang="0">
                <a:pos x="459" y="596"/>
              </a:cxn>
              <a:cxn ang="0">
                <a:pos x="375" y="596"/>
              </a:cxn>
              <a:cxn ang="0">
                <a:pos x="296" y="611"/>
              </a:cxn>
              <a:cxn ang="0">
                <a:pos x="223" y="642"/>
              </a:cxn>
              <a:cxn ang="0">
                <a:pos x="158" y="686"/>
              </a:cxn>
              <a:cxn ang="0">
                <a:pos x="100" y="681"/>
              </a:cxn>
              <a:cxn ang="0">
                <a:pos x="53" y="615"/>
              </a:cxn>
              <a:cxn ang="0">
                <a:pos x="21" y="539"/>
              </a:cxn>
              <a:cxn ang="0">
                <a:pos x="3" y="457"/>
              </a:cxn>
              <a:cxn ang="0">
                <a:pos x="3" y="371"/>
              </a:cxn>
              <a:cxn ang="0">
                <a:pos x="19" y="290"/>
              </a:cxn>
              <a:cxn ang="0">
                <a:pos x="51" y="217"/>
              </a:cxn>
              <a:cxn ang="0">
                <a:pos x="95" y="151"/>
              </a:cxn>
              <a:cxn ang="0">
                <a:pos x="151" y="94"/>
              </a:cxn>
              <a:cxn ang="0">
                <a:pos x="217" y="50"/>
              </a:cxn>
              <a:cxn ang="0">
                <a:pos x="292" y="19"/>
              </a:cxn>
              <a:cxn ang="0">
                <a:pos x="371" y="1"/>
              </a:cxn>
              <a:cxn ang="0">
                <a:pos x="456" y="1"/>
              </a:cxn>
              <a:cxn ang="0">
                <a:pos x="497" y="9"/>
              </a:cxn>
              <a:cxn ang="0">
                <a:pos x="573" y="32"/>
              </a:cxn>
              <a:cxn ang="0">
                <a:pos x="644" y="70"/>
              </a:cxn>
              <a:cxn ang="0">
                <a:pos x="705" y="122"/>
              </a:cxn>
              <a:cxn ang="0">
                <a:pos x="755" y="182"/>
              </a:cxn>
              <a:cxn ang="0">
                <a:pos x="793" y="252"/>
              </a:cxn>
              <a:cxn ang="0">
                <a:pos x="818" y="330"/>
              </a:cxn>
              <a:cxn ang="0">
                <a:pos x="824" y="371"/>
              </a:cxn>
              <a:cxn ang="0">
                <a:pos x="824" y="456"/>
              </a:cxn>
              <a:cxn ang="0">
                <a:pos x="808" y="536"/>
              </a:cxn>
              <a:cxn ang="0">
                <a:pos x="774" y="611"/>
              </a:cxn>
              <a:cxn ang="0">
                <a:pos x="730" y="678"/>
              </a:cxn>
            </a:cxnLst>
            <a:rect l="0" t="0" r="r" b="b"/>
            <a:pathLst>
              <a:path w="828" h="713">
                <a:moveTo>
                  <a:pt x="702" y="708"/>
                </a:moveTo>
                <a:lnTo>
                  <a:pt x="673" y="683"/>
                </a:lnTo>
                <a:lnTo>
                  <a:pt x="642" y="659"/>
                </a:lnTo>
                <a:lnTo>
                  <a:pt x="609" y="640"/>
                </a:lnTo>
                <a:lnTo>
                  <a:pt x="573" y="624"/>
                </a:lnTo>
                <a:lnTo>
                  <a:pt x="537" y="611"/>
                </a:lnTo>
                <a:lnTo>
                  <a:pt x="499" y="601"/>
                </a:lnTo>
                <a:lnTo>
                  <a:pt x="459" y="596"/>
                </a:lnTo>
                <a:lnTo>
                  <a:pt x="418" y="593"/>
                </a:lnTo>
                <a:lnTo>
                  <a:pt x="375" y="596"/>
                </a:lnTo>
                <a:lnTo>
                  <a:pt x="334" y="602"/>
                </a:lnTo>
                <a:lnTo>
                  <a:pt x="296" y="611"/>
                </a:lnTo>
                <a:lnTo>
                  <a:pt x="258" y="626"/>
                </a:lnTo>
                <a:lnTo>
                  <a:pt x="223" y="642"/>
                </a:lnTo>
                <a:lnTo>
                  <a:pt x="189" y="662"/>
                </a:lnTo>
                <a:lnTo>
                  <a:pt x="158" y="686"/>
                </a:lnTo>
                <a:lnTo>
                  <a:pt x="129" y="712"/>
                </a:lnTo>
                <a:lnTo>
                  <a:pt x="100" y="681"/>
                </a:lnTo>
                <a:lnTo>
                  <a:pt x="75" y="649"/>
                </a:lnTo>
                <a:lnTo>
                  <a:pt x="53" y="615"/>
                </a:lnTo>
                <a:lnTo>
                  <a:pt x="35" y="579"/>
                </a:lnTo>
                <a:lnTo>
                  <a:pt x="21" y="539"/>
                </a:lnTo>
                <a:lnTo>
                  <a:pt x="9" y="498"/>
                </a:lnTo>
                <a:lnTo>
                  <a:pt x="3" y="457"/>
                </a:lnTo>
                <a:lnTo>
                  <a:pt x="0" y="413"/>
                </a:lnTo>
                <a:lnTo>
                  <a:pt x="3" y="371"/>
                </a:lnTo>
                <a:lnTo>
                  <a:pt x="9" y="330"/>
                </a:lnTo>
                <a:lnTo>
                  <a:pt x="19" y="290"/>
                </a:lnTo>
                <a:lnTo>
                  <a:pt x="32" y="252"/>
                </a:lnTo>
                <a:lnTo>
                  <a:pt x="51" y="217"/>
                </a:lnTo>
                <a:lnTo>
                  <a:pt x="72" y="182"/>
                </a:lnTo>
                <a:lnTo>
                  <a:pt x="95" y="151"/>
                </a:lnTo>
                <a:lnTo>
                  <a:pt x="122" y="122"/>
                </a:lnTo>
                <a:lnTo>
                  <a:pt x="151" y="94"/>
                </a:lnTo>
                <a:lnTo>
                  <a:pt x="183" y="70"/>
                </a:lnTo>
                <a:lnTo>
                  <a:pt x="217" y="50"/>
                </a:lnTo>
                <a:lnTo>
                  <a:pt x="254" y="32"/>
                </a:lnTo>
                <a:lnTo>
                  <a:pt x="292" y="19"/>
                </a:lnTo>
                <a:lnTo>
                  <a:pt x="331" y="9"/>
                </a:lnTo>
                <a:lnTo>
                  <a:pt x="371" y="1"/>
                </a:lnTo>
                <a:lnTo>
                  <a:pt x="414" y="0"/>
                </a:lnTo>
                <a:lnTo>
                  <a:pt x="456" y="1"/>
                </a:lnTo>
                <a:lnTo>
                  <a:pt x="477" y="4"/>
                </a:lnTo>
                <a:lnTo>
                  <a:pt x="497" y="9"/>
                </a:lnTo>
                <a:lnTo>
                  <a:pt x="537" y="19"/>
                </a:lnTo>
                <a:lnTo>
                  <a:pt x="573" y="32"/>
                </a:lnTo>
                <a:lnTo>
                  <a:pt x="610" y="50"/>
                </a:lnTo>
                <a:lnTo>
                  <a:pt x="644" y="70"/>
                </a:lnTo>
                <a:lnTo>
                  <a:pt x="676" y="94"/>
                </a:lnTo>
                <a:lnTo>
                  <a:pt x="705" y="122"/>
                </a:lnTo>
                <a:lnTo>
                  <a:pt x="732" y="151"/>
                </a:lnTo>
                <a:lnTo>
                  <a:pt x="755" y="182"/>
                </a:lnTo>
                <a:lnTo>
                  <a:pt x="777" y="217"/>
                </a:lnTo>
                <a:lnTo>
                  <a:pt x="793" y="252"/>
                </a:lnTo>
                <a:lnTo>
                  <a:pt x="808" y="290"/>
                </a:lnTo>
                <a:lnTo>
                  <a:pt x="818" y="330"/>
                </a:lnTo>
                <a:lnTo>
                  <a:pt x="823" y="350"/>
                </a:lnTo>
                <a:lnTo>
                  <a:pt x="824" y="371"/>
                </a:lnTo>
                <a:lnTo>
                  <a:pt x="827" y="413"/>
                </a:lnTo>
                <a:lnTo>
                  <a:pt x="824" y="456"/>
                </a:lnTo>
                <a:lnTo>
                  <a:pt x="818" y="497"/>
                </a:lnTo>
                <a:lnTo>
                  <a:pt x="808" y="536"/>
                </a:lnTo>
                <a:lnTo>
                  <a:pt x="793" y="576"/>
                </a:lnTo>
                <a:lnTo>
                  <a:pt x="774" y="611"/>
                </a:lnTo>
                <a:lnTo>
                  <a:pt x="754" y="646"/>
                </a:lnTo>
                <a:lnTo>
                  <a:pt x="730" y="678"/>
                </a:lnTo>
                <a:lnTo>
                  <a:pt x="702" y="708"/>
                </a:lnTo>
              </a:path>
            </a:pathLst>
          </a:custGeom>
          <a:solidFill>
            <a:schemeClr val="accent3"/>
          </a:solidFill>
          <a:ln w="6350" cap="rnd" cmpd="sng">
            <a:noFill/>
            <a:prstDash val="solid"/>
            <a:round/>
            <a:headEnd/>
            <a:tailEnd/>
          </a:ln>
          <a:effectLst/>
        </p:spPr>
        <p:txBody>
          <a:bodyPr lIns="45720" tIns="504000" rIns="45720" anchor="ctr" anchorCtr="1"/>
          <a:lstStyle/>
          <a:p>
            <a:pPr eaLnBrk="0" hangingPunct="0"/>
            <a:r>
              <a:rPr lang="en-GB" b="1" dirty="0">
                <a:solidFill>
                  <a:schemeClr val="bg1"/>
                </a:solidFill>
              </a:rPr>
              <a:t>Text</a:t>
            </a:r>
          </a:p>
        </p:txBody>
      </p:sp>
      <p:sp>
        <p:nvSpPr>
          <p:cNvPr id="8" name="Footer Placeholder 7">
            <a:extLst>
              <a:ext uri="{FF2B5EF4-FFF2-40B4-BE49-F238E27FC236}">
                <a16:creationId xmlns:a16="http://schemas.microsoft.com/office/drawing/2014/main" id="{17689452-94CD-444C-B1C5-DB056BCA0EF5}"/>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0" name="Slide Number Placeholder 9">
            <a:extLst>
              <a:ext uri="{FF2B5EF4-FFF2-40B4-BE49-F238E27FC236}">
                <a16:creationId xmlns:a16="http://schemas.microsoft.com/office/drawing/2014/main" id="{2AD07EB3-0661-4883-A8E4-D6F9A1158A3B}"/>
              </a:ext>
            </a:extLst>
          </p:cNvPr>
          <p:cNvSpPr>
            <a:spLocks noGrp="1"/>
          </p:cNvSpPr>
          <p:nvPr>
            <p:ph type="sldNum" sz="quarter" idx="10"/>
          </p:nvPr>
        </p:nvSpPr>
        <p:spPr/>
        <p:txBody>
          <a:bodyPr/>
          <a:lstStyle/>
          <a:p>
            <a:fld id="{1F90F471-3972-4120-B8B3-0237DE626C35}" type="slidenum">
              <a:rPr lang="en-US" smtClean="0"/>
              <a:pPr/>
              <a:t>273</a:t>
            </a:fld>
            <a:endParaRPr lang="en-US" dirty="0"/>
          </a:p>
        </p:txBody>
      </p:sp>
    </p:spTree>
    <p:extLst>
      <p:ext uri="{BB962C8B-B14F-4D97-AF65-F5344CB8AC3E}">
        <p14:creationId xmlns:p14="http://schemas.microsoft.com/office/powerpoint/2010/main" val="3140103932"/>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de-DE" sz="3600" b="1" dirty="0"/>
              <a:t>Interlocking Circles 7</a:t>
            </a:r>
            <a:endParaRPr lang="en-US" sz="3600" b="1" dirty="0"/>
          </a:p>
        </p:txBody>
      </p:sp>
      <p:sp>
        <p:nvSpPr>
          <p:cNvPr id="18" name="Oval 6">
            <a:extLst>
              <a:ext uri="{FF2B5EF4-FFF2-40B4-BE49-F238E27FC236}">
                <a16:creationId xmlns:a16="http://schemas.microsoft.com/office/drawing/2014/main" id="{6E693533-EB34-48C7-820C-E9A6A44C9FF2}"/>
              </a:ext>
            </a:extLst>
          </p:cNvPr>
          <p:cNvSpPr>
            <a:spLocks noChangeArrowheads="1"/>
          </p:cNvSpPr>
          <p:nvPr/>
        </p:nvSpPr>
        <p:spPr bwMode="auto">
          <a:xfrm>
            <a:off x="3976204" y="1494252"/>
            <a:ext cx="2545675" cy="2648859"/>
          </a:xfrm>
          <a:prstGeom prst="ellipse">
            <a:avLst/>
          </a:prstGeom>
          <a:solidFill>
            <a:schemeClr val="accent1">
              <a:lumMod val="20000"/>
              <a:lumOff val="80000"/>
            </a:schemeClr>
          </a:solidFill>
          <a:ln w="6350">
            <a:noFill/>
            <a:round/>
            <a:headEnd/>
            <a:tailEnd/>
          </a:ln>
          <a:effectLst/>
        </p:spPr>
        <p:txBody>
          <a:bodyPr wrap="none" lIns="36000" tIns="36000" rIns="360000" b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p:txBody>
      </p:sp>
      <p:sp>
        <p:nvSpPr>
          <p:cNvPr id="20" name="Oval 8">
            <a:extLst>
              <a:ext uri="{FF2B5EF4-FFF2-40B4-BE49-F238E27FC236}">
                <a16:creationId xmlns:a16="http://schemas.microsoft.com/office/drawing/2014/main" id="{DDE791B9-D7D9-4235-8766-CFEDB03E9487}"/>
              </a:ext>
            </a:extLst>
          </p:cNvPr>
          <p:cNvSpPr>
            <a:spLocks noChangeArrowheads="1"/>
          </p:cNvSpPr>
          <p:nvPr/>
        </p:nvSpPr>
        <p:spPr bwMode="auto">
          <a:xfrm>
            <a:off x="5700904" y="1501328"/>
            <a:ext cx="2545675" cy="2648859"/>
          </a:xfrm>
          <a:prstGeom prst="ellipse">
            <a:avLst/>
          </a:prstGeom>
          <a:solidFill>
            <a:schemeClr val="accent3">
              <a:lumMod val="20000"/>
              <a:lumOff val="80000"/>
            </a:schemeClr>
          </a:solidFill>
          <a:ln w="6350">
            <a:noFill/>
            <a:round/>
            <a:headEnd/>
            <a:tailEnd/>
          </a:ln>
          <a:effectLst/>
        </p:spPr>
        <p:txBody>
          <a:bodyPr wrap="none" lIns="648000" tIns="36000" rIns="72000" b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p:txBody>
      </p:sp>
      <p:sp>
        <p:nvSpPr>
          <p:cNvPr id="17" name="Oval 5">
            <a:extLst>
              <a:ext uri="{FF2B5EF4-FFF2-40B4-BE49-F238E27FC236}">
                <a16:creationId xmlns:a16="http://schemas.microsoft.com/office/drawing/2014/main" id="{BCEF15A1-DA87-4A69-B7A9-CA2F98356E75}"/>
              </a:ext>
            </a:extLst>
          </p:cNvPr>
          <p:cNvSpPr>
            <a:spLocks noChangeArrowheads="1"/>
          </p:cNvSpPr>
          <p:nvPr/>
        </p:nvSpPr>
        <p:spPr bwMode="auto">
          <a:xfrm>
            <a:off x="3976204" y="3418980"/>
            <a:ext cx="2545675" cy="2648859"/>
          </a:xfrm>
          <a:prstGeom prst="ellipse">
            <a:avLst/>
          </a:prstGeom>
          <a:solidFill>
            <a:schemeClr val="accent3">
              <a:lumMod val="20000"/>
              <a:lumOff val="80000"/>
            </a:schemeClr>
          </a:solidFill>
          <a:ln w="6350">
            <a:noFill/>
            <a:round/>
            <a:headEnd/>
            <a:tailEnd/>
          </a:ln>
          <a:effectLst/>
        </p:spPr>
        <p:txBody>
          <a:bodyPr wrap="none" lIns="36000" tIns="36000" rIns="360000" b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Arial"/>
                <a:ea typeface="+mn-ea"/>
                <a:cs typeface="+mn-cs"/>
              </a:rPr>
              <a:t>Text</a:t>
            </a:r>
          </a:p>
        </p:txBody>
      </p:sp>
      <p:sp>
        <p:nvSpPr>
          <p:cNvPr id="19" name="Oval 7">
            <a:extLst>
              <a:ext uri="{FF2B5EF4-FFF2-40B4-BE49-F238E27FC236}">
                <a16:creationId xmlns:a16="http://schemas.microsoft.com/office/drawing/2014/main" id="{E251366D-1A82-4181-B0B6-02583E0D0B69}"/>
              </a:ext>
            </a:extLst>
          </p:cNvPr>
          <p:cNvSpPr>
            <a:spLocks noChangeArrowheads="1"/>
          </p:cNvSpPr>
          <p:nvPr/>
        </p:nvSpPr>
        <p:spPr bwMode="auto">
          <a:xfrm>
            <a:off x="5700904" y="3418980"/>
            <a:ext cx="2545675" cy="2648859"/>
          </a:xfrm>
          <a:prstGeom prst="ellipse">
            <a:avLst/>
          </a:prstGeom>
          <a:solidFill>
            <a:schemeClr val="accent1">
              <a:lumMod val="20000"/>
              <a:lumOff val="80000"/>
            </a:schemeClr>
          </a:solidFill>
          <a:ln w="6350">
            <a:noFill/>
            <a:round/>
            <a:headEnd/>
            <a:tailEnd/>
          </a:ln>
          <a:effectLst/>
        </p:spPr>
        <p:txBody>
          <a:bodyPr wrap="none" lIns="648000" tIns="36000" rIns="72000" b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ext</a:t>
            </a:r>
          </a:p>
        </p:txBody>
      </p:sp>
      <p:grpSp>
        <p:nvGrpSpPr>
          <p:cNvPr id="22" name="Group 9">
            <a:extLst>
              <a:ext uri="{FF2B5EF4-FFF2-40B4-BE49-F238E27FC236}">
                <a16:creationId xmlns:a16="http://schemas.microsoft.com/office/drawing/2014/main" id="{76982573-F501-42E2-BA69-F8E1ABF83D2B}"/>
              </a:ext>
              <a:ext uri="{C183D7F6-B498-43B3-948B-1728B52AA6E4}">
                <adec:decorative xmlns:adec="http://schemas.microsoft.com/office/drawing/2017/decorative" val="1"/>
              </a:ext>
            </a:extLst>
          </p:cNvPr>
          <p:cNvGrpSpPr>
            <a:grpSpLocks/>
          </p:cNvGrpSpPr>
          <p:nvPr/>
        </p:nvGrpSpPr>
        <p:grpSpPr bwMode="auto">
          <a:xfrm>
            <a:off x="4369904" y="1854614"/>
            <a:ext cx="3479800" cy="3849688"/>
            <a:chOff x="2345" y="1578"/>
            <a:chExt cx="1598" cy="1632"/>
          </a:xfrm>
          <a:solidFill>
            <a:schemeClr val="accent1"/>
          </a:solidFill>
        </p:grpSpPr>
        <p:sp>
          <p:nvSpPr>
            <p:cNvPr id="23" name="Freeform 10">
              <a:extLst>
                <a:ext uri="{FF2B5EF4-FFF2-40B4-BE49-F238E27FC236}">
                  <a16:creationId xmlns:a16="http://schemas.microsoft.com/office/drawing/2014/main" id="{E7007E7B-0A7A-4326-B891-F6B8F44C5FD2}"/>
                </a:ext>
              </a:extLst>
            </p:cNvPr>
            <p:cNvSpPr>
              <a:spLocks/>
            </p:cNvSpPr>
            <p:nvPr/>
          </p:nvSpPr>
          <p:spPr bwMode="auto">
            <a:xfrm>
              <a:off x="2955" y="1578"/>
              <a:ext cx="378" cy="823"/>
            </a:xfrm>
            <a:custGeom>
              <a:avLst/>
              <a:gdLst/>
              <a:ahLst/>
              <a:cxnLst>
                <a:cxn ang="0">
                  <a:pos x="135" y="0"/>
                </a:cxn>
                <a:cxn ang="0">
                  <a:pos x="165" y="30"/>
                </a:cxn>
                <a:cxn ang="0">
                  <a:pos x="191" y="63"/>
                </a:cxn>
                <a:cxn ang="0">
                  <a:pos x="214" y="99"/>
                </a:cxn>
                <a:cxn ang="0">
                  <a:pos x="233" y="136"/>
                </a:cxn>
                <a:cxn ang="0">
                  <a:pos x="249" y="176"/>
                </a:cxn>
                <a:cxn ang="0">
                  <a:pos x="260" y="218"/>
                </a:cxn>
                <a:cxn ang="0">
                  <a:pos x="267" y="261"/>
                </a:cxn>
                <a:cxn ang="0">
                  <a:pos x="269" y="306"/>
                </a:cxn>
                <a:cxn ang="0">
                  <a:pos x="268" y="327"/>
                </a:cxn>
                <a:cxn ang="0">
                  <a:pos x="266" y="350"/>
                </a:cxn>
                <a:cxn ang="0">
                  <a:pos x="264" y="371"/>
                </a:cxn>
                <a:cxn ang="0">
                  <a:pos x="259" y="393"/>
                </a:cxn>
                <a:cxn ang="0">
                  <a:pos x="248" y="435"/>
                </a:cxn>
                <a:cxn ang="0">
                  <a:pos x="232" y="475"/>
                </a:cxn>
                <a:cxn ang="0">
                  <a:pos x="213" y="513"/>
                </a:cxn>
                <a:cxn ang="0">
                  <a:pos x="190" y="549"/>
                </a:cxn>
                <a:cxn ang="0">
                  <a:pos x="163" y="582"/>
                </a:cxn>
                <a:cxn ang="0">
                  <a:pos x="134" y="612"/>
                </a:cxn>
                <a:cxn ang="0">
                  <a:pos x="104" y="582"/>
                </a:cxn>
                <a:cxn ang="0">
                  <a:pos x="78" y="549"/>
                </a:cxn>
                <a:cxn ang="0">
                  <a:pos x="55" y="513"/>
                </a:cxn>
                <a:cxn ang="0">
                  <a:pos x="36" y="476"/>
                </a:cxn>
                <a:cxn ang="0">
                  <a:pos x="20" y="436"/>
                </a:cxn>
                <a:cxn ang="0">
                  <a:pos x="9" y="394"/>
                </a:cxn>
                <a:cxn ang="0">
                  <a:pos x="3" y="351"/>
                </a:cxn>
                <a:cxn ang="0">
                  <a:pos x="0" y="306"/>
                </a:cxn>
                <a:cxn ang="0">
                  <a:pos x="3" y="262"/>
                </a:cxn>
                <a:cxn ang="0">
                  <a:pos x="10" y="218"/>
                </a:cxn>
                <a:cxn ang="0">
                  <a:pos x="21" y="177"/>
                </a:cxn>
                <a:cxn ang="0">
                  <a:pos x="37" y="137"/>
                </a:cxn>
                <a:cxn ang="0">
                  <a:pos x="56" y="99"/>
                </a:cxn>
                <a:cxn ang="0">
                  <a:pos x="79" y="63"/>
                </a:cxn>
                <a:cxn ang="0">
                  <a:pos x="106" y="30"/>
                </a:cxn>
                <a:cxn ang="0">
                  <a:pos x="135" y="0"/>
                </a:cxn>
              </a:cxnLst>
              <a:rect l="0" t="0" r="r" b="b"/>
              <a:pathLst>
                <a:path w="270" h="613">
                  <a:moveTo>
                    <a:pt x="135" y="0"/>
                  </a:moveTo>
                  <a:lnTo>
                    <a:pt x="165" y="30"/>
                  </a:lnTo>
                  <a:lnTo>
                    <a:pt x="191" y="63"/>
                  </a:lnTo>
                  <a:lnTo>
                    <a:pt x="214" y="99"/>
                  </a:lnTo>
                  <a:lnTo>
                    <a:pt x="233" y="136"/>
                  </a:lnTo>
                  <a:lnTo>
                    <a:pt x="249" y="176"/>
                  </a:lnTo>
                  <a:lnTo>
                    <a:pt x="260" y="218"/>
                  </a:lnTo>
                  <a:lnTo>
                    <a:pt x="267" y="261"/>
                  </a:lnTo>
                  <a:lnTo>
                    <a:pt x="269" y="306"/>
                  </a:lnTo>
                  <a:lnTo>
                    <a:pt x="268" y="327"/>
                  </a:lnTo>
                  <a:lnTo>
                    <a:pt x="266" y="350"/>
                  </a:lnTo>
                  <a:lnTo>
                    <a:pt x="264" y="371"/>
                  </a:lnTo>
                  <a:lnTo>
                    <a:pt x="259" y="393"/>
                  </a:lnTo>
                  <a:lnTo>
                    <a:pt x="248" y="435"/>
                  </a:lnTo>
                  <a:lnTo>
                    <a:pt x="232" y="475"/>
                  </a:lnTo>
                  <a:lnTo>
                    <a:pt x="213" y="513"/>
                  </a:lnTo>
                  <a:lnTo>
                    <a:pt x="190" y="549"/>
                  </a:lnTo>
                  <a:lnTo>
                    <a:pt x="163" y="582"/>
                  </a:lnTo>
                  <a:lnTo>
                    <a:pt x="134" y="612"/>
                  </a:lnTo>
                  <a:lnTo>
                    <a:pt x="104" y="582"/>
                  </a:lnTo>
                  <a:lnTo>
                    <a:pt x="78" y="549"/>
                  </a:lnTo>
                  <a:lnTo>
                    <a:pt x="55" y="513"/>
                  </a:lnTo>
                  <a:lnTo>
                    <a:pt x="36" y="476"/>
                  </a:lnTo>
                  <a:lnTo>
                    <a:pt x="20" y="436"/>
                  </a:lnTo>
                  <a:lnTo>
                    <a:pt x="9" y="394"/>
                  </a:lnTo>
                  <a:lnTo>
                    <a:pt x="3" y="351"/>
                  </a:lnTo>
                  <a:lnTo>
                    <a:pt x="0" y="306"/>
                  </a:lnTo>
                  <a:lnTo>
                    <a:pt x="3" y="262"/>
                  </a:lnTo>
                  <a:lnTo>
                    <a:pt x="10" y="218"/>
                  </a:lnTo>
                  <a:lnTo>
                    <a:pt x="21" y="177"/>
                  </a:lnTo>
                  <a:lnTo>
                    <a:pt x="37" y="137"/>
                  </a:lnTo>
                  <a:lnTo>
                    <a:pt x="56" y="99"/>
                  </a:lnTo>
                  <a:lnTo>
                    <a:pt x="79" y="63"/>
                  </a:lnTo>
                  <a:lnTo>
                    <a:pt x="106" y="30"/>
                  </a:lnTo>
                  <a:lnTo>
                    <a:pt x="135" y="0"/>
                  </a:lnTo>
                </a:path>
              </a:pathLst>
            </a:custGeom>
            <a:grpFill/>
            <a:ln w="6350" cap="rnd" cmpd="sng">
              <a:no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 name="Freeform 11">
              <a:extLst>
                <a:ext uri="{FF2B5EF4-FFF2-40B4-BE49-F238E27FC236}">
                  <a16:creationId xmlns:a16="http://schemas.microsoft.com/office/drawing/2014/main" id="{64463805-5584-4728-B26B-764AC00B4A5F}"/>
                </a:ext>
              </a:extLst>
            </p:cNvPr>
            <p:cNvSpPr>
              <a:spLocks/>
            </p:cNvSpPr>
            <p:nvPr/>
          </p:nvSpPr>
          <p:spPr bwMode="auto">
            <a:xfrm>
              <a:off x="2345" y="2243"/>
              <a:ext cx="806" cy="307"/>
            </a:xfrm>
            <a:custGeom>
              <a:avLst/>
              <a:gdLst/>
              <a:ahLst/>
              <a:cxnLst>
                <a:cxn ang="0">
                  <a:pos x="574" y="111"/>
                </a:cxn>
                <a:cxn ang="0">
                  <a:pos x="545" y="86"/>
                </a:cxn>
                <a:cxn ang="0">
                  <a:pos x="513" y="64"/>
                </a:cxn>
                <a:cxn ang="0">
                  <a:pos x="480" y="45"/>
                </a:cxn>
                <a:cxn ang="0">
                  <a:pos x="445" y="30"/>
                </a:cxn>
                <a:cxn ang="0">
                  <a:pos x="409" y="16"/>
                </a:cxn>
                <a:cxn ang="0">
                  <a:pos x="370" y="7"/>
                </a:cxn>
                <a:cxn ang="0">
                  <a:pos x="330" y="2"/>
                </a:cxn>
                <a:cxn ang="0">
                  <a:pos x="289" y="0"/>
                </a:cxn>
                <a:cxn ang="0">
                  <a:pos x="247" y="2"/>
                </a:cxn>
                <a:cxn ang="0">
                  <a:pos x="207" y="7"/>
                </a:cxn>
                <a:cxn ang="0">
                  <a:pos x="168" y="17"/>
                </a:cxn>
                <a:cxn ang="0">
                  <a:pos x="130" y="31"/>
                </a:cxn>
                <a:cxn ang="0">
                  <a:pos x="94" y="48"/>
                </a:cxn>
                <a:cxn ang="0">
                  <a:pos x="60" y="68"/>
                </a:cxn>
                <a:cxn ang="0">
                  <a:pos x="29" y="90"/>
                </a:cxn>
                <a:cxn ang="0">
                  <a:pos x="0" y="116"/>
                </a:cxn>
                <a:cxn ang="0">
                  <a:pos x="29" y="140"/>
                </a:cxn>
                <a:cxn ang="0">
                  <a:pos x="60" y="163"/>
                </a:cxn>
                <a:cxn ang="0">
                  <a:pos x="94" y="182"/>
                </a:cxn>
                <a:cxn ang="0">
                  <a:pos x="129" y="197"/>
                </a:cxn>
                <a:cxn ang="0">
                  <a:pos x="165" y="210"/>
                </a:cxn>
                <a:cxn ang="0">
                  <a:pos x="204" y="220"/>
                </a:cxn>
                <a:cxn ang="0">
                  <a:pos x="244" y="225"/>
                </a:cxn>
                <a:cxn ang="0">
                  <a:pos x="285" y="228"/>
                </a:cxn>
                <a:cxn ang="0">
                  <a:pos x="326" y="225"/>
                </a:cxn>
                <a:cxn ang="0">
                  <a:pos x="367" y="220"/>
                </a:cxn>
                <a:cxn ang="0">
                  <a:pos x="406" y="210"/>
                </a:cxn>
                <a:cxn ang="0">
                  <a:pos x="444" y="196"/>
                </a:cxn>
                <a:cxn ang="0">
                  <a:pos x="479" y="179"/>
                </a:cxn>
                <a:cxn ang="0">
                  <a:pos x="513" y="159"/>
                </a:cxn>
                <a:cxn ang="0">
                  <a:pos x="545" y="137"/>
                </a:cxn>
                <a:cxn ang="0">
                  <a:pos x="574" y="111"/>
                </a:cxn>
              </a:cxnLst>
              <a:rect l="0" t="0" r="r" b="b"/>
              <a:pathLst>
                <a:path w="575" h="229">
                  <a:moveTo>
                    <a:pt x="574" y="111"/>
                  </a:moveTo>
                  <a:lnTo>
                    <a:pt x="545" y="86"/>
                  </a:lnTo>
                  <a:lnTo>
                    <a:pt x="513" y="64"/>
                  </a:lnTo>
                  <a:lnTo>
                    <a:pt x="480" y="45"/>
                  </a:lnTo>
                  <a:lnTo>
                    <a:pt x="445" y="30"/>
                  </a:lnTo>
                  <a:lnTo>
                    <a:pt x="409" y="16"/>
                  </a:lnTo>
                  <a:lnTo>
                    <a:pt x="370" y="7"/>
                  </a:lnTo>
                  <a:lnTo>
                    <a:pt x="330" y="2"/>
                  </a:lnTo>
                  <a:lnTo>
                    <a:pt x="289" y="0"/>
                  </a:lnTo>
                  <a:lnTo>
                    <a:pt x="247" y="2"/>
                  </a:lnTo>
                  <a:lnTo>
                    <a:pt x="207" y="7"/>
                  </a:lnTo>
                  <a:lnTo>
                    <a:pt x="168" y="17"/>
                  </a:lnTo>
                  <a:lnTo>
                    <a:pt x="130" y="31"/>
                  </a:lnTo>
                  <a:lnTo>
                    <a:pt x="94" y="48"/>
                  </a:lnTo>
                  <a:lnTo>
                    <a:pt x="60" y="68"/>
                  </a:lnTo>
                  <a:lnTo>
                    <a:pt x="29" y="90"/>
                  </a:lnTo>
                  <a:lnTo>
                    <a:pt x="0" y="116"/>
                  </a:lnTo>
                  <a:lnTo>
                    <a:pt x="29" y="140"/>
                  </a:lnTo>
                  <a:lnTo>
                    <a:pt x="60" y="163"/>
                  </a:lnTo>
                  <a:lnTo>
                    <a:pt x="94" y="182"/>
                  </a:lnTo>
                  <a:lnTo>
                    <a:pt x="129" y="197"/>
                  </a:lnTo>
                  <a:lnTo>
                    <a:pt x="165" y="210"/>
                  </a:lnTo>
                  <a:lnTo>
                    <a:pt x="204" y="220"/>
                  </a:lnTo>
                  <a:lnTo>
                    <a:pt x="244" y="225"/>
                  </a:lnTo>
                  <a:lnTo>
                    <a:pt x="285" y="228"/>
                  </a:lnTo>
                  <a:lnTo>
                    <a:pt x="326" y="225"/>
                  </a:lnTo>
                  <a:lnTo>
                    <a:pt x="367" y="220"/>
                  </a:lnTo>
                  <a:lnTo>
                    <a:pt x="406" y="210"/>
                  </a:lnTo>
                  <a:lnTo>
                    <a:pt x="444" y="196"/>
                  </a:lnTo>
                  <a:lnTo>
                    <a:pt x="479" y="179"/>
                  </a:lnTo>
                  <a:lnTo>
                    <a:pt x="513" y="159"/>
                  </a:lnTo>
                  <a:lnTo>
                    <a:pt x="545" y="137"/>
                  </a:lnTo>
                  <a:lnTo>
                    <a:pt x="574" y="111"/>
                  </a:lnTo>
                </a:path>
              </a:pathLst>
            </a:custGeom>
            <a:grpFill/>
            <a:ln w="6350" cap="rnd" cmpd="sng">
              <a:no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 name="Freeform 12">
              <a:extLst>
                <a:ext uri="{FF2B5EF4-FFF2-40B4-BE49-F238E27FC236}">
                  <a16:creationId xmlns:a16="http://schemas.microsoft.com/office/drawing/2014/main" id="{AFD6B55C-7EE9-44DD-B4C4-47A0CD3C9391}"/>
                </a:ext>
              </a:extLst>
            </p:cNvPr>
            <p:cNvSpPr>
              <a:spLocks/>
            </p:cNvSpPr>
            <p:nvPr/>
          </p:nvSpPr>
          <p:spPr bwMode="auto">
            <a:xfrm>
              <a:off x="3141" y="2243"/>
              <a:ext cx="802" cy="307"/>
            </a:xfrm>
            <a:custGeom>
              <a:avLst/>
              <a:gdLst/>
              <a:ahLst/>
              <a:cxnLst>
                <a:cxn ang="0">
                  <a:pos x="571" y="112"/>
                </a:cxn>
                <a:cxn ang="0">
                  <a:pos x="542" y="138"/>
                </a:cxn>
                <a:cxn ang="0">
                  <a:pos x="511" y="160"/>
                </a:cxn>
                <a:cxn ang="0">
                  <a:pos x="477" y="180"/>
                </a:cxn>
                <a:cxn ang="0">
                  <a:pos x="442" y="196"/>
                </a:cxn>
                <a:cxn ang="0">
                  <a:pos x="404" y="210"/>
                </a:cxn>
                <a:cxn ang="0">
                  <a:pos x="365" y="220"/>
                </a:cxn>
                <a:cxn ang="0">
                  <a:pos x="325" y="225"/>
                </a:cxn>
                <a:cxn ang="0">
                  <a:pos x="283" y="228"/>
                </a:cxn>
                <a:cxn ang="0">
                  <a:pos x="243" y="225"/>
                </a:cxn>
                <a:cxn ang="0">
                  <a:pos x="204" y="220"/>
                </a:cxn>
                <a:cxn ang="0">
                  <a:pos x="166" y="210"/>
                </a:cxn>
                <a:cxn ang="0">
                  <a:pos x="128" y="197"/>
                </a:cxn>
                <a:cxn ang="0">
                  <a:pos x="94" y="181"/>
                </a:cxn>
                <a:cxn ang="0">
                  <a:pos x="60" y="162"/>
                </a:cxn>
                <a:cxn ang="0">
                  <a:pos x="29" y="139"/>
                </a:cxn>
                <a:cxn ang="0">
                  <a:pos x="0" y="115"/>
                </a:cxn>
                <a:cxn ang="0">
                  <a:pos x="29" y="90"/>
                </a:cxn>
                <a:cxn ang="0">
                  <a:pos x="61" y="67"/>
                </a:cxn>
                <a:cxn ang="0">
                  <a:pos x="95" y="47"/>
                </a:cxn>
                <a:cxn ang="0">
                  <a:pos x="129" y="31"/>
                </a:cxn>
                <a:cxn ang="0">
                  <a:pos x="168" y="17"/>
                </a:cxn>
                <a:cxn ang="0">
                  <a:pos x="206" y="7"/>
                </a:cxn>
                <a:cxn ang="0">
                  <a:pos x="246" y="2"/>
                </a:cxn>
                <a:cxn ang="0">
                  <a:pos x="287" y="0"/>
                </a:cxn>
                <a:cxn ang="0">
                  <a:pos x="328" y="2"/>
                </a:cxn>
                <a:cxn ang="0">
                  <a:pos x="367" y="7"/>
                </a:cxn>
                <a:cxn ang="0">
                  <a:pos x="406" y="16"/>
                </a:cxn>
                <a:cxn ang="0">
                  <a:pos x="443" y="30"/>
                </a:cxn>
                <a:cxn ang="0">
                  <a:pos x="478" y="45"/>
                </a:cxn>
                <a:cxn ang="0">
                  <a:pos x="511" y="65"/>
                </a:cxn>
                <a:cxn ang="0">
                  <a:pos x="542" y="88"/>
                </a:cxn>
                <a:cxn ang="0">
                  <a:pos x="571" y="112"/>
                </a:cxn>
              </a:cxnLst>
              <a:rect l="0" t="0" r="r" b="b"/>
              <a:pathLst>
                <a:path w="572" h="229">
                  <a:moveTo>
                    <a:pt x="571" y="112"/>
                  </a:moveTo>
                  <a:lnTo>
                    <a:pt x="542" y="138"/>
                  </a:lnTo>
                  <a:lnTo>
                    <a:pt x="511" y="160"/>
                  </a:lnTo>
                  <a:lnTo>
                    <a:pt x="477" y="180"/>
                  </a:lnTo>
                  <a:lnTo>
                    <a:pt x="442" y="196"/>
                  </a:lnTo>
                  <a:lnTo>
                    <a:pt x="404" y="210"/>
                  </a:lnTo>
                  <a:lnTo>
                    <a:pt x="365" y="220"/>
                  </a:lnTo>
                  <a:lnTo>
                    <a:pt x="325" y="225"/>
                  </a:lnTo>
                  <a:lnTo>
                    <a:pt x="283" y="228"/>
                  </a:lnTo>
                  <a:lnTo>
                    <a:pt x="243" y="225"/>
                  </a:lnTo>
                  <a:lnTo>
                    <a:pt x="204" y="220"/>
                  </a:lnTo>
                  <a:lnTo>
                    <a:pt x="166" y="210"/>
                  </a:lnTo>
                  <a:lnTo>
                    <a:pt x="128" y="197"/>
                  </a:lnTo>
                  <a:lnTo>
                    <a:pt x="94" y="181"/>
                  </a:lnTo>
                  <a:lnTo>
                    <a:pt x="60" y="162"/>
                  </a:lnTo>
                  <a:lnTo>
                    <a:pt x="29" y="139"/>
                  </a:lnTo>
                  <a:lnTo>
                    <a:pt x="0" y="115"/>
                  </a:lnTo>
                  <a:lnTo>
                    <a:pt x="29" y="90"/>
                  </a:lnTo>
                  <a:lnTo>
                    <a:pt x="61" y="67"/>
                  </a:lnTo>
                  <a:lnTo>
                    <a:pt x="95" y="47"/>
                  </a:lnTo>
                  <a:lnTo>
                    <a:pt x="129" y="31"/>
                  </a:lnTo>
                  <a:lnTo>
                    <a:pt x="168" y="17"/>
                  </a:lnTo>
                  <a:lnTo>
                    <a:pt x="206" y="7"/>
                  </a:lnTo>
                  <a:lnTo>
                    <a:pt x="246" y="2"/>
                  </a:lnTo>
                  <a:lnTo>
                    <a:pt x="287" y="0"/>
                  </a:lnTo>
                  <a:lnTo>
                    <a:pt x="328" y="2"/>
                  </a:lnTo>
                  <a:lnTo>
                    <a:pt x="367" y="7"/>
                  </a:lnTo>
                  <a:lnTo>
                    <a:pt x="406" y="16"/>
                  </a:lnTo>
                  <a:lnTo>
                    <a:pt x="443" y="30"/>
                  </a:lnTo>
                  <a:lnTo>
                    <a:pt x="478" y="45"/>
                  </a:lnTo>
                  <a:lnTo>
                    <a:pt x="511" y="65"/>
                  </a:lnTo>
                  <a:lnTo>
                    <a:pt x="542" y="88"/>
                  </a:lnTo>
                  <a:lnTo>
                    <a:pt x="571" y="112"/>
                  </a:lnTo>
                </a:path>
              </a:pathLst>
            </a:custGeom>
            <a:grpFill/>
            <a:ln w="6350" cap="rnd" cmpd="sng">
              <a:no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 name="Freeform 13">
              <a:extLst>
                <a:ext uri="{FF2B5EF4-FFF2-40B4-BE49-F238E27FC236}">
                  <a16:creationId xmlns:a16="http://schemas.microsoft.com/office/drawing/2014/main" id="{DE922426-3FB3-4B93-968E-BFDB1EE7CC03}"/>
                </a:ext>
              </a:extLst>
            </p:cNvPr>
            <p:cNvSpPr>
              <a:spLocks/>
            </p:cNvSpPr>
            <p:nvPr/>
          </p:nvSpPr>
          <p:spPr bwMode="auto">
            <a:xfrm>
              <a:off x="2956" y="2389"/>
              <a:ext cx="377" cy="821"/>
            </a:xfrm>
            <a:custGeom>
              <a:avLst/>
              <a:gdLst/>
              <a:ahLst/>
              <a:cxnLst>
                <a:cxn ang="0">
                  <a:pos x="135" y="0"/>
                </a:cxn>
                <a:cxn ang="0">
                  <a:pos x="165" y="29"/>
                </a:cxn>
                <a:cxn ang="0">
                  <a:pos x="191" y="62"/>
                </a:cxn>
                <a:cxn ang="0">
                  <a:pos x="214" y="97"/>
                </a:cxn>
                <a:cxn ang="0">
                  <a:pos x="232" y="136"/>
                </a:cxn>
                <a:cxn ang="0">
                  <a:pos x="248" y="175"/>
                </a:cxn>
                <a:cxn ang="0">
                  <a:pos x="259" y="217"/>
                </a:cxn>
                <a:cxn ang="0">
                  <a:pos x="266" y="259"/>
                </a:cxn>
                <a:cxn ang="0">
                  <a:pos x="268" y="305"/>
                </a:cxn>
                <a:cxn ang="0">
                  <a:pos x="266" y="349"/>
                </a:cxn>
                <a:cxn ang="0">
                  <a:pos x="259" y="392"/>
                </a:cxn>
                <a:cxn ang="0">
                  <a:pos x="248" y="433"/>
                </a:cxn>
                <a:cxn ang="0">
                  <a:pos x="232" y="474"/>
                </a:cxn>
                <a:cxn ang="0">
                  <a:pos x="213" y="512"/>
                </a:cxn>
                <a:cxn ang="0">
                  <a:pos x="189" y="547"/>
                </a:cxn>
                <a:cxn ang="0">
                  <a:pos x="163" y="580"/>
                </a:cxn>
                <a:cxn ang="0">
                  <a:pos x="133" y="610"/>
                </a:cxn>
                <a:cxn ang="0">
                  <a:pos x="104" y="580"/>
                </a:cxn>
                <a:cxn ang="0">
                  <a:pos x="78" y="547"/>
                </a:cxn>
                <a:cxn ang="0">
                  <a:pos x="55" y="512"/>
                </a:cxn>
                <a:cxn ang="0">
                  <a:pos x="36" y="474"/>
                </a:cxn>
                <a:cxn ang="0">
                  <a:pos x="20" y="433"/>
                </a:cxn>
                <a:cxn ang="0">
                  <a:pos x="9" y="392"/>
                </a:cxn>
                <a:cxn ang="0">
                  <a:pos x="3" y="350"/>
                </a:cxn>
                <a:cxn ang="0">
                  <a:pos x="0" y="305"/>
                </a:cxn>
                <a:cxn ang="0">
                  <a:pos x="3" y="260"/>
                </a:cxn>
                <a:cxn ang="0">
                  <a:pos x="10" y="217"/>
                </a:cxn>
                <a:cxn ang="0">
                  <a:pos x="21" y="175"/>
                </a:cxn>
                <a:cxn ang="0">
                  <a:pos x="37" y="136"/>
                </a:cxn>
                <a:cxn ang="0">
                  <a:pos x="56" y="97"/>
                </a:cxn>
                <a:cxn ang="0">
                  <a:pos x="79" y="62"/>
                </a:cxn>
                <a:cxn ang="0">
                  <a:pos x="106" y="29"/>
                </a:cxn>
                <a:cxn ang="0">
                  <a:pos x="135" y="0"/>
                </a:cxn>
              </a:cxnLst>
              <a:rect l="0" t="0" r="r" b="b"/>
              <a:pathLst>
                <a:path w="269" h="611">
                  <a:moveTo>
                    <a:pt x="135" y="0"/>
                  </a:moveTo>
                  <a:lnTo>
                    <a:pt x="165" y="29"/>
                  </a:lnTo>
                  <a:lnTo>
                    <a:pt x="191" y="62"/>
                  </a:lnTo>
                  <a:lnTo>
                    <a:pt x="214" y="97"/>
                  </a:lnTo>
                  <a:lnTo>
                    <a:pt x="232" y="136"/>
                  </a:lnTo>
                  <a:lnTo>
                    <a:pt x="248" y="175"/>
                  </a:lnTo>
                  <a:lnTo>
                    <a:pt x="259" y="217"/>
                  </a:lnTo>
                  <a:lnTo>
                    <a:pt x="266" y="259"/>
                  </a:lnTo>
                  <a:lnTo>
                    <a:pt x="268" y="305"/>
                  </a:lnTo>
                  <a:lnTo>
                    <a:pt x="266" y="349"/>
                  </a:lnTo>
                  <a:lnTo>
                    <a:pt x="259" y="392"/>
                  </a:lnTo>
                  <a:lnTo>
                    <a:pt x="248" y="433"/>
                  </a:lnTo>
                  <a:lnTo>
                    <a:pt x="232" y="474"/>
                  </a:lnTo>
                  <a:lnTo>
                    <a:pt x="213" y="512"/>
                  </a:lnTo>
                  <a:lnTo>
                    <a:pt x="189" y="547"/>
                  </a:lnTo>
                  <a:lnTo>
                    <a:pt x="163" y="580"/>
                  </a:lnTo>
                  <a:lnTo>
                    <a:pt x="133" y="610"/>
                  </a:lnTo>
                  <a:lnTo>
                    <a:pt x="104" y="580"/>
                  </a:lnTo>
                  <a:lnTo>
                    <a:pt x="78" y="547"/>
                  </a:lnTo>
                  <a:lnTo>
                    <a:pt x="55" y="512"/>
                  </a:lnTo>
                  <a:lnTo>
                    <a:pt x="36" y="474"/>
                  </a:lnTo>
                  <a:lnTo>
                    <a:pt x="20" y="433"/>
                  </a:lnTo>
                  <a:lnTo>
                    <a:pt x="9" y="392"/>
                  </a:lnTo>
                  <a:lnTo>
                    <a:pt x="3" y="350"/>
                  </a:lnTo>
                  <a:lnTo>
                    <a:pt x="0" y="305"/>
                  </a:lnTo>
                  <a:lnTo>
                    <a:pt x="3" y="260"/>
                  </a:lnTo>
                  <a:lnTo>
                    <a:pt x="10" y="217"/>
                  </a:lnTo>
                  <a:lnTo>
                    <a:pt x="21" y="175"/>
                  </a:lnTo>
                  <a:lnTo>
                    <a:pt x="37" y="136"/>
                  </a:lnTo>
                  <a:lnTo>
                    <a:pt x="56" y="97"/>
                  </a:lnTo>
                  <a:lnTo>
                    <a:pt x="79" y="62"/>
                  </a:lnTo>
                  <a:lnTo>
                    <a:pt x="106" y="29"/>
                  </a:lnTo>
                  <a:lnTo>
                    <a:pt x="135" y="0"/>
                  </a:lnTo>
                </a:path>
              </a:pathLst>
            </a:custGeom>
            <a:grpFill/>
            <a:ln w="6350" cap="rnd" cmpd="sng">
              <a:no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sp>
        <p:nvSpPr>
          <p:cNvPr id="4" name="Footer Placeholder 3">
            <a:extLst>
              <a:ext uri="{FF2B5EF4-FFF2-40B4-BE49-F238E27FC236}">
                <a16:creationId xmlns:a16="http://schemas.microsoft.com/office/drawing/2014/main" id="{15A57A37-6A3A-4EE4-893C-2048B3D7F166}"/>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F6ECAC31-0F59-41A5-ACA0-70A53B69F755}"/>
              </a:ext>
            </a:extLst>
          </p:cNvPr>
          <p:cNvSpPr>
            <a:spLocks noGrp="1"/>
          </p:cNvSpPr>
          <p:nvPr>
            <p:ph type="sldNum" sz="quarter" idx="10"/>
          </p:nvPr>
        </p:nvSpPr>
        <p:spPr/>
        <p:txBody>
          <a:bodyPr/>
          <a:lstStyle/>
          <a:p>
            <a:fld id="{1F90F471-3972-4120-B8B3-0237DE626C35}" type="slidenum">
              <a:rPr lang="en-US" smtClean="0"/>
              <a:pPr/>
              <a:t>274</a:t>
            </a:fld>
            <a:endParaRPr lang="en-US" dirty="0"/>
          </a:p>
        </p:txBody>
      </p:sp>
    </p:spTree>
    <p:extLst>
      <p:ext uri="{BB962C8B-B14F-4D97-AF65-F5344CB8AC3E}">
        <p14:creationId xmlns:p14="http://schemas.microsoft.com/office/powerpoint/2010/main" val="3947715750"/>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en-US" dirty="0"/>
              <a:t>Circle Illustration 1</a:t>
            </a:r>
            <a:endParaRPr lang="en-US" sz="3600" b="1" dirty="0"/>
          </a:p>
        </p:txBody>
      </p:sp>
      <p:grpSp>
        <p:nvGrpSpPr>
          <p:cNvPr id="19" name="Group 19">
            <a:extLst>
              <a:ext uri="{FF2B5EF4-FFF2-40B4-BE49-F238E27FC236}">
                <a16:creationId xmlns:a16="http://schemas.microsoft.com/office/drawing/2014/main" id="{2B53C577-C77F-44C6-8002-B93D3B008A7B}"/>
              </a:ext>
              <a:ext uri="{C183D7F6-B498-43B3-948B-1728B52AA6E4}">
                <adec:decorative xmlns:adec="http://schemas.microsoft.com/office/drawing/2017/decorative" val="1"/>
              </a:ext>
            </a:extLst>
          </p:cNvPr>
          <p:cNvGrpSpPr/>
          <p:nvPr/>
        </p:nvGrpSpPr>
        <p:grpSpPr bwMode="auto">
          <a:xfrm>
            <a:off x="3894000" y="1651413"/>
            <a:ext cx="4416425" cy="4416426"/>
            <a:chOff x="2373313" y="1676400"/>
            <a:chExt cx="4416425" cy="4416426"/>
          </a:xfrm>
        </p:grpSpPr>
        <p:sp>
          <p:nvSpPr>
            <p:cNvPr id="20" name="Freeform 12">
              <a:extLst>
                <a:ext uri="{FF2B5EF4-FFF2-40B4-BE49-F238E27FC236}">
                  <a16:creationId xmlns:a16="http://schemas.microsoft.com/office/drawing/2014/main" id="{79428EDE-1B19-4C0B-8842-B571B00694E9}"/>
                </a:ext>
              </a:extLst>
            </p:cNvPr>
            <p:cNvSpPr>
              <a:spLocks/>
            </p:cNvSpPr>
            <p:nvPr/>
          </p:nvSpPr>
          <p:spPr bwMode="auto">
            <a:xfrm>
              <a:off x="2373313" y="1676400"/>
              <a:ext cx="4416425" cy="2171700"/>
            </a:xfrm>
            <a:custGeom>
              <a:avLst/>
              <a:gdLst/>
              <a:ahLst/>
              <a:cxnLst>
                <a:cxn ang="0">
                  <a:pos x="354" y="1323"/>
                </a:cxn>
                <a:cxn ang="0">
                  <a:pos x="371" y="1189"/>
                </a:cxn>
                <a:cxn ang="0">
                  <a:pos x="405" y="1059"/>
                </a:cxn>
                <a:cxn ang="0">
                  <a:pos x="456" y="934"/>
                </a:cxn>
                <a:cxn ang="0">
                  <a:pos x="522" y="819"/>
                </a:cxn>
                <a:cxn ang="0">
                  <a:pos x="605" y="711"/>
                </a:cxn>
                <a:cxn ang="0">
                  <a:pos x="683" y="630"/>
                </a:cxn>
                <a:cxn ang="0">
                  <a:pos x="813" y="526"/>
                </a:cxn>
                <a:cxn ang="0">
                  <a:pos x="959" y="445"/>
                </a:cxn>
                <a:cxn ang="0">
                  <a:pos x="1115" y="388"/>
                </a:cxn>
                <a:cxn ang="0">
                  <a:pos x="1278" y="357"/>
                </a:cxn>
                <a:cxn ang="0">
                  <a:pos x="1391" y="351"/>
                </a:cxn>
                <a:cxn ang="0">
                  <a:pos x="1559" y="364"/>
                </a:cxn>
                <a:cxn ang="0">
                  <a:pos x="1720" y="405"/>
                </a:cxn>
                <a:cxn ang="0">
                  <a:pos x="1873" y="469"/>
                </a:cxn>
                <a:cxn ang="0">
                  <a:pos x="2014" y="558"/>
                </a:cxn>
                <a:cxn ang="0">
                  <a:pos x="2138" y="669"/>
                </a:cxn>
                <a:cxn ang="0">
                  <a:pos x="2206" y="745"/>
                </a:cxn>
                <a:cxn ang="0">
                  <a:pos x="2282" y="856"/>
                </a:cxn>
                <a:cxn ang="0">
                  <a:pos x="2344" y="975"/>
                </a:cxn>
                <a:cxn ang="0">
                  <a:pos x="2389" y="1102"/>
                </a:cxn>
                <a:cxn ang="0">
                  <a:pos x="2417" y="1233"/>
                </a:cxn>
                <a:cxn ang="0">
                  <a:pos x="2429" y="1368"/>
                </a:cxn>
                <a:cxn ang="0">
                  <a:pos x="2779" y="1297"/>
                </a:cxn>
                <a:cxn ang="0">
                  <a:pos x="2749" y="1092"/>
                </a:cxn>
                <a:cxn ang="0">
                  <a:pos x="2692" y="897"/>
                </a:cxn>
                <a:cxn ang="0">
                  <a:pos x="2606" y="715"/>
                </a:cxn>
                <a:cxn ang="0">
                  <a:pos x="2498" y="549"/>
                </a:cxn>
                <a:cxn ang="0">
                  <a:pos x="2366" y="400"/>
                </a:cxn>
                <a:cxn ang="0">
                  <a:pos x="2216" y="271"/>
                </a:cxn>
                <a:cxn ang="0">
                  <a:pos x="2048" y="165"/>
                </a:cxn>
                <a:cxn ang="0">
                  <a:pos x="1865" y="82"/>
                </a:cxn>
                <a:cxn ang="0">
                  <a:pos x="1669" y="28"/>
                </a:cxn>
                <a:cxn ang="0">
                  <a:pos x="1462" y="1"/>
                </a:cxn>
                <a:cxn ang="0">
                  <a:pos x="1320" y="1"/>
                </a:cxn>
                <a:cxn ang="0">
                  <a:pos x="1113" y="28"/>
                </a:cxn>
                <a:cxn ang="0">
                  <a:pos x="917" y="82"/>
                </a:cxn>
                <a:cxn ang="0">
                  <a:pos x="734" y="165"/>
                </a:cxn>
                <a:cxn ang="0">
                  <a:pos x="566" y="271"/>
                </a:cxn>
                <a:cxn ang="0">
                  <a:pos x="414" y="400"/>
                </a:cxn>
                <a:cxn ang="0">
                  <a:pos x="284" y="549"/>
                </a:cxn>
                <a:cxn ang="0">
                  <a:pos x="174" y="715"/>
                </a:cxn>
                <a:cxn ang="0">
                  <a:pos x="90" y="897"/>
                </a:cxn>
                <a:cxn ang="0">
                  <a:pos x="32" y="1092"/>
                </a:cxn>
                <a:cxn ang="0">
                  <a:pos x="3" y="1297"/>
                </a:cxn>
              </a:cxnLst>
              <a:rect l="0" t="0" r="r" b="b"/>
              <a:pathLst>
                <a:path w="2782" h="1368">
                  <a:moveTo>
                    <a:pt x="351" y="1368"/>
                  </a:moveTo>
                  <a:lnTo>
                    <a:pt x="351" y="1368"/>
                  </a:lnTo>
                  <a:lnTo>
                    <a:pt x="354" y="1323"/>
                  </a:lnTo>
                  <a:lnTo>
                    <a:pt x="357" y="1278"/>
                  </a:lnTo>
                  <a:lnTo>
                    <a:pt x="363" y="1233"/>
                  </a:lnTo>
                  <a:lnTo>
                    <a:pt x="371" y="1189"/>
                  </a:lnTo>
                  <a:lnTo>
                    <a:pt x="381" y="1144"/>
                  </a:lnTo>
                  <a:lnTo>
                    <a:pt x="392" y="1102"/>
                  </a:lnTo>
                  <a:lnTo>
                    <a:pt x="405" y="1059"/>
                  </a:lnTo>
                  <a:lnTo>
                    <a:pt x="420" y="1017"/>
                  </a:lnTo>
                  <a:lnTo>
                    <a:pt x="437" y="975"/>
                  </a:lnTo>
                  <a:lnTo>
                    <a:pt x="456" y="934"/>
                  </a:lnTo>
                  <a:lnTo>
                    <a:pt x="477" y="895"/>
                  </a:lnTo>
                  <a:lnTo>
                    <a:pt x="498" y="856"/>
                  </a:lnTo>
                  <a:lnTo>
                    <a:pt x="522" y="819"/>
                  </a:lnTo>
                  <a:lnTo>
                    <a:pt x="548" y="781"/>
                  </a:lnTo>
                  <a:lnTo>
                    <a:pt x="575" y="745"/>
                  </a:lnTo>
                  <a:lnTo>
                    <a:pt x="605" y="711"/>
                  </a:lnTo>
                  <a:lnTo>
                    <a:pt x="605" y="711"/>
                  </a:lnTo>
                  <a:lnTo>
                    <a:pt x="642" y="669"/>
                  </a:lnTo>
                  <a:lnTo>
                    <a:pt x="683" y="630"/>
                  </a:lnTo>
                  <a:lnTo>
                    <a:pt x="725" y="592"/>
                  </a:lnTo>
                  <a:lnTo>
                    <a:pt x="768" y="558"/>
                  </a:lnTo>
                  <a:lnTo>
                    <a:pt x="813" y="526"/>
                  </a:lnTo>
                  <a:lnTo>
                    <a:pt x="860" y="496"/>
                  </a:lnTo>
                  <a:lnTo>
                    <a:pt x="909" y="469"/>
                  </a:lnTo>
                  <a:lnTo>
                    <a:pt x="959" y="445"/>
                  </a:lnTo>
                  <a:lnTo>
                    <a:pt x="1010" y="423"/>
                  </a:lnTo>
                  <a:lnTo>
                    <a:pt x="1061" y="405"/>
                  </a:lnTo>
                  <a:lnTo>
                    <a:pt x="1115" y="388"/>
                  </a:lnTo>
                  <a:lnTo>
                    <a:pt x="1169" y="375"/>
                  </a:lnTo>
                  <a:lnTo>
                    <a:pt x="1223" y="364"/>
                  </a:lnTo>
                  <a:lnTo>
                    <a:pt x="1278" y="357"/>
                  </a:lnTo>
                  <a:lnTo>
                    <a:pt x="1334" y="352"/>
                  </a:lnTo>
                  <a:lnTo>
                    <a:pt x="1391" y="351"/>
                  </a:lnTo>
                  <a:lnTo>
                    <a:pt x="1391" y="351"/>
                  </a:lnTo>
                  <a:lnTo>
                    <a:pt x="1447" y="352"/>
                  </a:lnTo>
                  <a:lnTo>
                    <a:pt x="1504" y="357"/>
                  </a:lnTo>
                  <a:lnTo>
                    <a:pt x="1559" y="364"/>
                  </a:lnTo>
                  <a:lnTo>
                    <a:pt x="1613" y="375"/>
                  </a:lnTo>
                  <a:lnTo>
                    <a:pt x="1667" y="388"/>
                  </a:lnTo>
                  <a:lnTo>
                    <a:pt x="1720" y="405"/>
                  </a:lnTo>
                  <a:lnTo>
                    <a:pt x="1772" y="423"/>
                  </a:lnTo>
                  <a:lnTo>
                    <a:pt x="1823" y="445"/>
                  </a:lnTo>
                  <a:lnTo>
                    <a:pt x="1873" y="469"/>
                  </a:lnTo>
                  <a:lnTo>
                    <a:pt x="1921" y="496"/>
                  </a:lnTo>
                  <a:lnTo>
                    <a:pt x="1967" y="526"/>
                  </a:lnTo>
                  <a:lnTo>
                    <a:pt x="2014" y="558"/>
                  </a:lnTo>
                  <a:lnTo>
                    <a:pt x="2057" y="592"/>
                  </a:lnTo>
                  <a:lnTo>
                    <a:pt x="2099" y="630"/>
                  </a:lnTo>
                  <a:lnTo>
                    <a:pt x="2138" y="669"/>
                  </a:lnTo>
                  <a:lnTo>
                    <a:pt x="2177" y="711"/>
                  </a:lnTo>
                  <a:lnTo>
                    <a:pt x="2177" y="711"/>
                  </a:lnTo>
                  <a:lnTo>
                    <a:pt x="2206" y="745"/>
                  </a:lnTo>
                  <a:lnTo>
                    <a:pt x="2233" y="781"/>
                  </a:lnTo>
                  <a:lnTo>
                    <a:pt x="2258" y="819"/>
                  </a:lnTo>
                  <a:lnTo>
                    <a:pt x="2282" y="856"/>
                  </a:lnTo>
                  <a:lnTo>
                    <a:pt x="2305" y="895"/>
                  </a:lnTo>
                  <a:lnTo>
                    <a:pt x="2326" y="934"/>
                  </a:lnTo>
                  <a:lnTo>
                    <a:pt x="2344" y="975"/>
                  </a:lnTo>
                  <a:lnTo>
                    <a:pt x="2360" y="1017"/>
                  </a:lnTo>
                  <a:lnTo>
                    <a:pt x="2375" y="1059"/>
                  </a:lnTo>
                  <a:lnTo>
                    <a:pt x="2389" y="1102"/>
                  </a:lnTo>
                  <a:lnTo>
                    <a:pt x="2401" y="1144"/>
                  </a:lnTo>
                  <a:lnTo>
                    <a:pt x="2410" y="1189"/>
                  </a:lnTo>
                  <a:lnTo>
                    <a:pt x="2417" y="1233"/>
                  </a:lnTo>
                  <a:lnTo>
                    <a:pt x="2423" y="1278"/>
                  </a:lnTo>
                  <a:lnTo>
                    <a:pt x="2428" y="1323"/>
                  </a:lnTo>
                  <a:lnTo>
                    <a:pt x="2429" y="1368"/>
                  </a:lnTo>
                  <a:lnTo>
                    <a:pt x="2782" y="1368"/>
                  </a:lnTo>
                  <a:lnTo>
                    <a:pt x="2782" y="1368"/>
                  </a:lnTo>
                  <a:lnTo>
                    <a:pt x="2779" y="1297"/>
                  </a:lnTo>
                  <a:lnTo>
                    <a:pt x="2773" y="1227"/>
                  </a:lnTo>
                  <a:lnTo>
                    <a:pt x="2762" y="1159"/>
                  </a:lnTo>
                  <a:lnTo>
                    <a:pt x="2749" y="1092"/>
                  </a:lnTo>
                  <a:lnTo>
                    <a:pt x="2732" y="1026"/>
                  </a:lnTo>
                  <a:lnTo>
                    <a:pt x="2714" y="960"/>
                  </a:lnTo>
                  <a:lnTo>
                    <a:pt x="2692" y="897"/>
                  </a:lnTo>
                  <a:lnTo>
                    <a:pt x="2666" y="834"/>
                  </a:lnTo>
                  <a:lnTo>
                    <a:pt x="2638" y="774"/>
                  </a:lnTo>
                  <a:lnTo>
                    <a:pt x="2606" y="715"/>
                  </a:lnTo>
                  <a:lnTo>
                    <a:pt x="2573" y="658"/>
                  </a:lnTo>
                  <a:lnTo>
                    <a:pt x="2536" y="603"/>
                  </a:lnTo>
                  <a:lnTo>
                    <a:pt x="2498" y="549"/>
                  </a:lnTo>
                  <a:lnTo>
                    <a:pt x="2456" y="496"/>
                  </a:lnTo>
                  <a:lnTo>
                    <a:pt x="2413" y="447"/>
                  </a:lnTo>
                  <a:lnTo>
                    <a:pt x="2366" y="400"/>
                  </a:lnTo>
                  <a:lnTo>
                    <a:pt x="2318" y="355"/>
                  </a:lnTo>
                  <a:lnTo>
                    <a:pt x="2269" y="312"/>
                  </a:lnTo>
                  <a:lnTo>
                    <a:pt x="2216" y="271"/>
                  </a:lnTo>
                  <a:lnTo>
                    <a:pt x="2162" y="234"/>
                  </a:lnTo>
                  <a:lnTo>
                    <a:pt x="2105" y="198"/>
                  </a:lnTo>
                  <a:lnTo>
                    <a:pt x="2048" y="165"/>
                  </a:lnTo>
                  <a:lnTo>
                    <a:pt x="1988" y="135"/>
                  </a:lnTo>
                  <a:lnTo>
                    <a:pt x="1927" y="108"/>
                  </a:lnTo>
                  <a:lnTo>
                    <a:pt x="1865" y="82"/>
                  </a:lnTo>
                  <a:lnTo>
                    <a:pt x="1801" y="61"/>
                  </a:lnTo>
                  <a:lnTo>
                    <a:pt x="1735" y="43"/>
                  </a:lnTo>
                  <a:lnTo>
                    <a:pt x="1669" y="28"/>
                  </a:lnTo>
                  <a:lnTo>
                    <a:pt x="1601" y="16"/>
                  </a:lnTo>
                  <a:lnTo>
                    <a:pt x="1532" y="7"/>
                  </a:lnTo>
                  <a:lnTo>
                    <a:pt x="1462" y="1"/>
                  </a:lnTo>
                  <a:lnTo>
                    <a:pt x="1391" y="0"/>
                  </a:lnTo>
                  <a:lnTo>
                    <a:pt x="1391" y="0"/>
                  </a:lnTo>
                  <a:lnTo>
                    <a:pt x="1320" y="1"/>
                  </a:lnTo>
                  <a:lnTo>
                    <a:pt x="1250" y="7"/>
                  </a:lnTo>
                  <a:lnTo>
                    <a:pt x="1181" y="16"/>
                  </a:lnTo>
                  <a:lnTo>
                    <a:pt x="1113" y="28"/>
                  </a:lnTo>
                  <a:lnTo>
                    <a:pt x="1046" y="43"/>
                  </a:lnTo>
                  <a:lnTo>
                    <a:pt x="981" y="61"/>
                  </a:lnTo>
                  <a:lnTo>
                    <a:pt x="917" y="82"/>
                  </a:lnTo>
                  <a:lnTo>
                    <a:pt x="854" y="108"/>
                  </a:lnTo>
                  <a:lnTo>
                    <a:pt x="792" y="135"/>
                  </a:lnTo>
                  <a:lnTo>
                    <a:pt x="734" y="165"/>
                  </a:lnTo>
                  <a:lnTo>
                    <a:pt x="675" y="198"/>
                  </a:lnTo>
                  <a:lnTo>
                    <a:pt x="620" y="234"/>
                  </a:lnTo>
                  <a:lnTo>
                    <a:pt x="566" y="271"/>
                  </a:lnTo>
                  <a:lnTo>
                    <a:pt x="513" y="312"/>
                  </a:lnTo>
                  <a:lnTo>
                    <a:pt x="462" y="355"/>
                  </a:lnTo>
                  <a:lnTo>
                    <a:pt x="414" y="400"/>
                  </a:lnTo>
                  <a:lnTo>
                    <a:pt x="369" y="447"/>
                  </a:lnTo>
                  <a:lnTo>
                    <a:pt x="326" y="496"/>
                  </a:lnTo>
                  <a:lnTo>
                    <a:pt x="284" y="549"/>
                  </a:lnTo>
                  <a:lnTo>
                    <a:pt x="245" y="603"/>
                  </a:lnTo>
                  <a:lnTo>
                    <a:pt x="209" y="658"/>
                  </a:lnTo>
                  <a:lnTo>
                    <a:pt x="174" y="715"/>
                  </a:lnTo>
                  <a:lnTo>
                    <a:pt x="144" y="774"/>
                  </a:lnTo>
                  <a:lnTo>
                    <a:pt x="116" y="834"/>
                  </a:lnTo>
                  <a:lnTo>
                    <a:pt x="90" y="897"/>
                  </a:lnTo>
                  <a:lnTo>
                    <a:pt x="68" y="960"/>
                  </a:lnTo>
                  <a:lnTo>
                    <a:pt x="48" y="1026"/>
                  </a:lnTo>
                  <a:lnTo>
                    <a:pt x="32" y="1092"/>
                  </a:lnTo>
                  <a:lnTo>
                    <a:pt x="18" y="1159"/>
                  </a:lnTo>
                  <a:lnTo>
                    <a:pt x="9" y="1227"/>
                  </a:lnTo>
                  <a:lnTo>
                    <a:pt x="3" y="1297"/>
                  </a:lnTo>
                  <a:lnTo>
                    <a:pt x="0" y="1368"/>
                  </a:lnTo>
                  <a:lnTo>
                    <a:pt x="351" y="1368"/>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2" name="Freeform 13">
              <a:extLst>
                <a:ext uri="{FF2B5EF4-FFF2-40B4-BE49-F238E27FC236}">
                  <a16:creationId xmlns:a16="http://schemas.microsoft.com/office/drawing/2014/main" id="{A2989138-0013-4FFD-ABD6-8066C8F0920D}"/>
                </a:ext>
              </a:extLst>
            </p:cNvPr>
            <p:cNvSpPr>
              <a:spLocks/>
            </p:cNvSpPr>
            <p:nvPr/>
          </p:nvSpPr>
          <p:spPr bwMode="auto">
            <a:xfrm>
              <a:off x="2373313" y="3916363"/>
              <a:ext cx="4416425" cy="2176463"/>
            </a:xfrm>
            <a:custGeom>
              <a:avLst/>
              <a:gdLst/>
              <a:ahLst/>
              <a:cxnLst>
                <a:cxn ang="0">
                  <a:pos x="2428" y="53"/>
                </a:cxn>
                <a:cxn ang="0">
                  <a:pos x="2405" y="206"/>
                </a:cxn>
                <a:cxn ang="0">
                  <a:pos x="2360" y="351"/>
                </a:cxn>
                <a:cxn ang="0">
                  <a:pos x="2297" y="486"/>
                </a:cxn>
                <a:cxn ang="0">
                  <a:pos x="2216" y="609"/>
                </a:cxn>
                <a:cxn ang="0">
                  <a:pos x="2117" y="720"/>
                </a:cxn>
                <a:cxn ang="0">
                  <a:pos x="2005" y="816"/>
                </a:cxn>
                <a:cxn ang="0">
                  <a:pos x="1880" y="896"/>
                </a:cxn>
                <a:cxn ang="0">
                  <a:pos x="1744" y="956"/>
                </a:cxn>
                <a:cxn ang="0">
                  <a:pos x="1597" y="996"/>
                </a:cxn>
                <a:cxn ang="0">
                  <a:pos x="1444" y="1016"/>
                </a:cxn>
                <a:cxn ang="0">
                  <a:pos x="1338" y="1016"/>
                </a:cxn>
                <a:cxn ang="0">
                  <a:pos x="1184" y="996"/>
                </a:cxn>
                <a:cxn ang="0">
                  <a:pos x="1038" y="956"/>
                </a:cxn>
                <a:cxn ang="0">
                  <a:pos x="902" y="896"/>
                </a:cxn>
                <a:cxn ang="0">
                  <a:pos x="776" y="816"/>
                </a:cxn>
                <a:cxn ang="0">
                  <a:pos x="663" y="720"/>
                </a:cxn>
                <a:cxn ang="0">
                  <a:pos x="566" y="609"/>
                </a:cxn>
                <a:cxn ang="0">
                  <a:pos x="483" y="486"/>
                </a:cxn>
                <a:cxn ang="0">
                  <a:pos x="420" y="351"/>
                </a:cxn>
                <a:cxn ang="0">
                  <a:pos x="377" y="206"/>
                </a:cxn>
                <a:cxn ang="0">
                  <a:pos x="354" y="53"/>
                </a:cxn>
                <a:cxn ang="0">
                  <a:pos x="0" y="0"/>
                </a:cxn>
                <a:cxn ang="0">
                  <a:pos x="3" y="72"/>
                </a:cxn>
                <a:cxn ang="0">
                  <a:pos x="32" y="278"/>
                </a:cxn>
                <a:cxn ang="0">
                  <a:pos x="89" y="473"/>
                </a:cxn>
                <a:cxn ang="0">
                  <a:pos x="174" y="654"/>
                </a:cxn>
                <a:cxn ang="0">
                  <a:pos x="282" y="821"/>
                </a:cxn>
                <a:cxn ang="0">
                  <a:pos x="414" y="971"/>
                </a:cxn>
                <a:cxn ang="0">
                  <a:pos x="564" y="1100"/>
                </a:cxn>
                <a:cxn ang="0">
                  <a:pos x="732" y="1206"/>
                </a:cxn>
                <a:cxn ang="0">
                  <a:pos x="917" y="1287"/>
                </a:cxn>
                <a:cxn ang="0">
                  <a:pos x="1113" y="1343"/>
                </a:cxn>
                <a:cxn ang="0">
                  <a:pos x="1319" y="1368"/>
                </a:cxn>
                <a:cxn ang="0">
                  <a:pos x="1462" y="1368"/>
                </a:cxn>
                <a:cxn ang="0">
                  <a:pos x="1669" y="1343"/>
                </a:cxn>
                <a:cxn ang="0">
                  <a:pos x="1865" y="1287"/>
                </a:cxn>
                <a:cxn ang="0">
                  <a:pos x="2048" y="1206"/>
                </a:cxn>
                <a:cxn ang="0">
                  <a:pos x="2216" y="1100"/>
                </a:cxn>
                <a:cxn ang="0">
                  <a:pos x="2368" y="971"/>
                </a:cxn>
                <a:cxn ang="0">
                  <a:pos x="2498" y="821"/>
                </a:cxn>
                <a:cxn ang="0">
                  <a:pos x="2608" y="654"/>
                </a:cxn>
                <a:cxn ang="0">
                  <a:pos x="2692" y="473"/>
                </a:cxn>
                <a:cxn ang="0">
                  <a:pos x="2750" y="278"/>
                </a:cxn>
                <a:cxn ang="0">
                  <a:pos x="2779" y="72"/>
                </a:cxn>
              </a:cxnLst>
              <a:rect l="0" t="0" r="r" b="b"/>
              <a:pathLst>
                <a:path w="2782" h="1371">
                  <a:moveTo>
                    <a:pt x="2429" y="0"/>
                  </a:moveTo>
                  <a:lnTo>
                    <a:pt x="2429" y="0"/>
                  </a:lnTo>
                  <a:lnTo>
                    <a:pt x="2428" y="53"/>
                  </a:lnTo>
                  <a:lnTo>
                    <a:pt x="2422" y="105"/>
                  </a:lnTo>
                  <a:lnTo>
                    <a:pt x="2414" y="156"/>
                  </a:lnTo>
                  <a:lnTo>
                    <a:pt x="2405" y="206"/>
                  </a:lnTo>
                  <a:lnTo>
                    <a:pt x="2392" y="255"/>
                  </a:lnTo>
                  <a:lnTo>
                    <a:pt x="2378" y="303"/>
                  </a:lnTo>
                  <a:lnTo>
                    <a:pt x="2360" y="351"/>
                  </a:lnTo>
                  <a:lnTo>
                    <a:pt x="2342" y="398"/>
                  </a:lnTo>
                  <a:lnTo>
                    <a:pt x="2321" y="443"/>
                  </a:lnTo>
                  <a:lnTo>
                    <a:pt x="2297" y="486"/>
                  </a:lnTo>
                  <a:lnTo>
                    <a:pt x="2272" y="528"/>
                  </a:lnTo>
                  <a:lnTo>
                    <a:pt x="2245" y="570"/>
                  </a:lnTo>
                  <a:lnTo>
                    <a:pt x="2216" y="609"/>
                  </a:lnTo>
                  <a:lnTo>
                    <a:pt x="2185" y="648"/>
                  </a:lnTo>
                  <a:lnTo>
                    <a:pt x="2152" y="684"/>
                  </a:lnTo>
                  <a:lnTo>
                    <a:pt x="2117" y="720"/>
                  </a:lnTo>
                  <a:lnTo>
                    <a:pt x="2081" y="753"/>
                  </a:lnTo>
                  <a:lnTo>
                    <a:pt x="2044" y="786"/>
                  </a:lnTo>
                  <a:lnTo>
                    <a:pt x="2005" y="816"/>
                  </a:lnTo>
                  <a:lnTo>
                    <a:pt x="1964" y="845"/>
                  </a:lnTo>
                  <a:lnTo>
                    <a:pt x="1924" y="870"/>
                  </a:lnTo>
                  <a:lnTo>
                    <a:pt x="1880" y="896"/>
                  </a:lnTo>
                  <a:lnTo>
                    <a:pt x="1835" y="918"/>
                  </a:lnTo>
                  <a:lnTo>
                    <a:pt x="1790" y="938"/>
                  </a:lnTo>
                  <a:lnTo>
                    <a:pt x="1744" y="956"/>
                  </a:lnTo>
                  <a:lnTo>
                    <a:pt x="1696" y="972"/>
                  </a:lnTo>
                  <a:lnTo>
                    <a:pt x="1648" y="986"/>
                  </a:lnTo>
                  <a:lnTo>
                    <a:pt x="1597" y="996"/>
                  </a:lnTo>
                  <a:lnTo>
                    <a:pt x="1547" y="1005"/>
                  </a:lnTo>
                  <a:lnTo>
                    <a:pt x="1496" y="1013"/>
                  </a:lnTo>
                  <a:lnTo>
                    <a:pt x="1444" y="1016"/>
                  </a:lnTo>
                  <a:lnTo>
                    <a:pt x="1391" y="1017"/>
                  </a:lnTo>
                  <a:lnTo>
                    <a:pt x="1391" y="1017"/>
                  </a:lnTo>
                  <a:lnTo>
                    <a:pt x="1338" y="1016"/>
                  </a:lnTo>
                  <a:lnTo>
                    <a:pt x="1286" y="1013"/>
                  </a:lnTo>
                  <a:lnTo>
                    <a:pt x="1235" y="1005"/>
                  </a:lnTo>
                  <a:lnTo>
                    <a:pt x="1184" y="996"/>
                  </a:lnTo>
                  <a:lnTo>
                    <a:pt x="1134" y="986"/>
                  </a:lnTo>
                  <a:lnTo>
                    <a:pt x="1086" y="972"/>
                  </a:lnTo>
                  <a:lnTo>
                    <a:pt x="1038" y="956"/>
                  </a:lnTo>
                  <a:lnTo>
                    <a:pt x="992" y="938"/>
                  </a:lnTo>
                  <a:lnTo>
                    <a:pt x="945" y="918"/>
                  </a:lnTo>
                  <a:lnTo>
                    <a:pt x="902" y="896"/>
                  </a:lnTo>
                  <a:lnTo>
                    <a:pt x="858" y="870"/>
                  </a:lnTo>
                  <a:lnTo>
                    <a:pt x="816" y="845"/>
                  </a:lnTo>
                  <a:lnTo>
                    <a:pt x="776" y="816"/>
                  </a:lnTo>
                  <a:lnTo>
                    <a:pt x="737" y="786"/>
                  </a:lnTo>
                  <a:lnTo>
                    <a:pt x="699" y="753"/>
                  </a:lnTo>
                  <a:lnTo>
                    <a:pt x="663" y="720"/>
                  </a:lnTo>
                  <a:lnTo>
                    <a:pt x="629" y="684"/>
                  </a:lnTo>
                  <a:lnTo>
                    <a:pt x="596" y="648"/>
                  </a:lnTo>
                  <a:lnTo>
                    <a:pt x="566" y="609"/>
                  </a:lnTo>
                  <a:lnTo>
                    <a:pt x="536" y="570"/>
                  </a:lnTo>
                  <a:lnTo>
                    <a:pt x="509" y="528"/>
                  </a:lnTo>
                  <a:lnTo>
                    <a:pt x="483" y="486"/>
                  </a:lnTo>
                  <a:lnTo>
                    <a:pt x="461" y="443"/>
                  </a:lnTo>
                  <a:lnTo>
                    <a:pt x="440" y="398"/>
                  </a:lnTo>
                  <a:lnTo>
                    <a:pt x="420" y="351"/>
                  </a:lnTo>
                  <a:lnTo>
                    <a:pt x="404" y="303"/>
                  </a:lnTo>
                  <a:lnTo>
                    <a:pt x="389" y="255"/>
                  </a:lnTo>
                  <a:lnTo>
                    <a:pt x="377" y="206"/>
                  </a:lnTo>
                  <a:lnTo>
                    <a:pt x="366" y="156"/>
                  </a:lnTo>
                  <a:lnTo>
                    <a:pt x="359" y="105"/>
                  </a:lnTo>
                  <a:lnTo>
                    <a:pt x="354" y="53"/>
                  </a:lnTo>
                  <a:lnTo>
                    <a:pt x="351" y="0"/>
                  </a:lnTo>
                  <a:lnTo>
                    <a:pt x="348" y="0"/>
                  </a:lnTo>
                  <a:lnTo>
                    <a:pt x="0" y="0"/>
                  </a:lnTo>
                  <a:lnTo>
                    <a:pt x="0" y="0"/>
                  </a:lnTo>
                  <a:lnTo>
                    <a:pt x="0" y="0"/>
                  </a:lnTo>
                  <a:lnTo>
                    <a:pt x="3" y="72"/>
                  </a:lnTo>
                  <a:lnTo>
                    <a:pt x="9" y="141"/>
                  </a:lnTo>
                  <a:lnTo>
                    <a:pt x="18" y="210"/>
                  </a:lnTo>
                  <a:lnTo>
                    <a:pt x="32" y="278"/>
                  </a:lnTo>
                  <a:lnTo>
                    <a:pt x="48" y="344"/>
                  </a:lnTo>
                  <a:lnTo>
                    <a:pt x="68" y="408"/>
                  </a:lnTo>
                  <a:lnTo>
                    <a:pt x="89" y="473"/>
                  </a:lnTo>
                  <a:lnTo>
                    <a:pt x="114" y="534"/>
                  </a:lnTo>
                  <a:lnTo>
                    <a:pt x="143" y="596"/>
                  </a:lnTo>
                  <a:lnTo>
                    <a:pt x="174" y="654"/>
                  </a:lnTo>
                  <a:lnTo>
                    <a:pt x="207" y="713"/>
                  </a:lnTo>
                  <a:lnTo>
                    <a:pt x="245" y="768"/>
                  </a:lnTo>
                  <a:lnTo>
                    <a:pt x="282" y="821"/>
                  </a:lnTo>
                  <a:lnTo>
                    <a:pt x="324" y="873"/>
                  </a:lnTo>
                  <a:lnTo>
                    <a:pt x="368" y="923"/>
                  </a:lnTo>
                  <a:lnTo>
                    <a:pt x="414" y="971"/>
                  </a:lnTo>
                  <a:lnTo>
                    <a:pt x="462" y="1016"/>
                  </a:lnTo>
                  <a:lnTo>
                    <a:pt x="512" y="1059"/>
                  </a:lnTo>
                  <a:lnTo>
                    <a:pt x="564" y="1100"/>
                  </a:lnTo>
                  <a:lnTo>
                    <a:pt x="618" y="1137"/>
                  </a:lnTo>
                  <a:lnTo>
                    <a:pt x="675" y="1173"/>
                  </a:lnTo>
                  <a:lnTo>
                    <a:pt x="732" y="1206"/>
                  </a:lnTo>
                  <a:lnTo>
                    <a:pt x="792" y="1236"/>
                  </a:lnTo>
                  <a:lnTo>
                    <a:pt x="854" y="1263"/>
                  </a:lnTo>
                  <a:lnTo>
                    <a:pt x="917" y="1287"/>
                  </a:lnTo>
                  <a:lnTo>
                    <a:pt x="980" y="1310"/>
                  </a:lnTo>
                  <a:lnTo>
                    <a:pt x="1046" y="1328"/>
                  </a:lnTo>
                  <a:lnTo>
                    <a:pt x="1113" y="1343"/>
                  </a:lnTo>
                  <a:lnTo>
                    <a:pt x="1181" y="1355"/>
                  </a:lnTo>
                  <a:lnTo>
                    <a:pt x="1250" y="1364"/>
                  </a:lnTo>
                  <a:lnTo>
                    <a:pt x="1319" y="1368"/>
                  </a:lnTo>
                  <a:lnTo>
                    <a:pt x="1391" y="1371"/>
                  </a:lnTo>
                  <a:lnTo>
                    <a:pt x="1391" y="1371"/>
                  </a:lnTo>
                  <a:lnTo>
                    <a:pt x="1462" y="1368"/>
                  </a:lnTo>
                  <a:lnTo>
                    <a:pt x="1532" y="1364"/>
                  </a:lnTo>
                  <a:lnTo>
                    <a:pt x="1601" y="1355"/>
                  </a:lnTo>
                  <a:lnTo>
                    <a:pt x="1669" y="1343"/>
                  </a:lnTo>
                  <a:lnTo>
                    <a:pt x="1735" y="1328"/>
                  </a:lnTo>
                  <a:lnTo>
                    <a:pt x="1801" y="1310"/>
                  </a:lnTo>
                  <a:lnTo>
                    <a:pt x="1865" y="1287"/>
                  </a:lnTo>
                  <a:lnTo>
                    <a:pt x="1928" y="1263"/>
                  </a:lnTo>
                  <a:lnTo>
                    <a:pt x="1988" y="1236"/>
                  </a:lnTo>
                  <a:lnTo>
                    <a:pt x="2048" y="1206"/>
                  </a:lnTo>
                  <a:lnTo>
                    <a:pt x="2107" y="1173"/>
                  </a:lnTo>
                  <a:lnTo>
                    <a:pt x="2162" y="1137"/>
                  </a:lnTo>
                  <a:lnTo>
                    <a:pt x="2216" y="1100"/>
                  </a:lnTo>
                  <a:lnTo>
                    <a:pt x="2269" y="1059"/>
                  </a:lnTo>
                  <a:lnTo>
                    <a:pt x="2320" y="1016"/>
                  </a:lnTo>
                  <a:lnTo>
                    <a:pt x="2368" y="971"/>
                  </a:lnTo>
                  <a:lnTo>
                    <a:pt x="2413" y="923"/>
                  </a:lnTo>
                  <a:lnTo>
                    <a:pt x="2458" y="873"/>
                  </a:lnTo>
                  <a:lnTo>
                    <a:pt x="2498" y="821"/>
                  </a:lnTo>
                  <a:lnTo>
                    <a:pt x="2537" y="768"/>
                  </a:lnTo>
                  <a:lnTo>
                    <a:pt x="2573" y="713"/>
                  </a:lnTo>
                  <a:lnTo>
                    <a:pt x="2608" y="654"/>
                  </a:lnTo>
                  <a:lnTo>
                    <a:pt x="2638" y="596"/>
                  </a:lnTo>
                  <a:lnTo>
                    <a:pt x="2666" y="534"/>
                  </a:lnTo>
                  <a:lnTo>
                    <a:pt x="2692" y="473"/>
                  </a:lnTo>
                  <a:lnTo>
                    <a:pt x="2714" y="408"/>
                  </a:lnTo>
                  <a:lnTo>
                    <a:pt x="2734" y="344"/>
                  </a:lnTo>
                  <a:lnTo>
                    <a:pt x="2750" y="278"/>
                  </a:lnTo>
                  <a:lnTo>
                    <a:pt x="2762" y="210"/>
                  </a:lnTo>
                  <a:lnTo>
                    <a:pt x="2773" y="141"/>
                  </a:lnTo>
                  <a:lnTo>
                    <a:pt x="2779" y="72"/>
                  </a:lnTo>
                  <a:lnTo>
                    <a:pt x="2782" y="0"/>
                  </a:lnTo>
                  <a:lnTo>
                    <a:pt x="2429" y="0"/>
                  </a:lnTo>
                  <a:close/>
                </a:path>
              </a:pathLst>
            </a:custGeom>
            <a:pattFill prst="wdUpDiag">
              <a:fgClr>
                <a:schemeClr val="tx2">
                  <a:lumMod val="20000"/>
                  <a:lumOff val="80000"/>
                </a:schemeClr>
              </a:fgClr>
              <a:bgClr>
                <a:schemeClr val="bg1"/>
              </a:bgClr>
            </a:patt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3" name="Freeform 8">
              <a:extLst>
                <a:ext uri="{FF2B5EF4-FFF2-40B4-BE49-F238E27FC236}">
                  <a16:creationId xmlns:a16="http://schemas.microsoft.com/office/drawing/2014/main" id="{273C4F51-D296-44A9-840F-6A67749C57EB}"/>
                </a:ext>
              </a:extLst>
            </p:cNvPr>
            <p:cNvSpPr>
              <a:spLocks/>
            </p:cNvSpPr>
            <p:nvPr/>
          </p:nvSpPr>
          <p:spPr bwMode="auto">
            <a:xfrm>
              <a:off x="2997201" y="2300288"/>
              <a:ext cx="3165475" cy="1582738"/>
            </a:xfrm>
            <a:custGeom>
              <a:avLst/>
              <a:gdLst/>
              <a:ahLst/>
              <a:cxnLst>
                <a:cxn ang="0">
                  <a:pos x="351" y="975"/>
                </a:cxn>
                <a:cxn ang="0">
                  <a:pos x="362" y="879"/>
                </a:cxn>
                <a:cxn ang="0">
                  <a:pos x="386" y="789"/>
                </a:cxn>
                <a:cxn ang="0">
                  <a:pos x="422" y="703"/>
                </a:cxn>
                <a:cxn ang="0">
                  <a:pos x="470" y="625"/>
                </a:cxn>
                <a:cxn ang="0">
                  <a:pos x="527" y="555"/>
                </a:cxn>
                <a:cxn ang="0">
                  <a:pos x="594" y="493"/>
                </a:cxn>
                <a:cxn ang="0">
                  <a:pos x="669" y="441"/>
                </a:cxn>
                <a:cxn ang="0">
                  <a:pos x="752" y="400"/>
                </a:cxn>
                <a:cxn ang="0">
                  <a:pos x="839" y="372"/>
                </a:cxn>
                <a:cxn ang="0">
                  <a:pos x="933" y="355"/>
                </a:cxn>
                <a:cxn ang="0">
                  <a:pos x="998" y="352"/>
                </a:cxn>
                <a:cxn ang="0">
                  <a:pos x="1096" y="360"/>
                </a:cxn>
                <a:cxn ang="0">
                  <a:pos x="1190" y="381"/>
                </a:cxn>
                <a:cxn ang="0">
                  <a:pos x="1277" y="415"/>
                </a:cxn>
                <a:cxn ang="0">
                  <a:pos x="1360" y="462"/>
                </a:cxn>
                <a:cxn ang="0">
                  <a:pos x="1432" y="520"/>
                </a:cxn>
                <a:cxn ang="0">
                  <a:pos x="1496" y="586"/>
                </a:cxn>
                <a:cxn ang="0">
                  <a:pos x="1550" y="663"/>
                </a:cxn>
                <a:cxn ang="0">
                  <a:pos x="1594" y="747"/>
                </a:cxn>
                <a:cxn ang="0">
                  <a:pos x="1624" y="837"/>
                </a:cxn>
                <a:cxn ang="0">
                  <a:pos x="1640" y="931"/>
                </a:cxn>
                <a:cxn ang="0">
                  <a:pos x="1643" y="976"/>
                </a:cxn>
                <a:cxn ang="0">
                  <a:pos x="1994" y="975"/>
                </a:cxn>
                <a:cxn ang="0">
                  <a:pos x="1984" y="846"/>
                </a:cxn>
                <a:cxn ang="0">
                  <a:pos x="1955" y="720"/>
                </a:cxn>
                <a:cxn ang="0">
                  <a:pos x="1912" y="598"/>
                </a:cxn>
                <a:cxn ang="0">
                  <a:pos x="1853" y="484"/>
                </a:cxn>
                <a:cxn ang="0">
                  <a:pos x="1780" y="378"/>
                </a:cxn>
                <a:cxn ang="0">
                  <a:pos x="1715" y="304"/>
                </a:cxn>
                <a:cxn ang="0">
                  <a:pos x="1595" y="198"/>
                </a:cxn>
                <a:cxn ang="0">
                  <a:pos x="1460" y="114"/>
                </a:cxn>
                <a:cxn ang="0">
                  <a:pos x="1313" y="51"/>
                </a:cxn>
                <a:cxn ang="0">
                  <a:pos x="1159" y="13"/>
                </a:cxn>
                <a:cxn ang="0">
                  <a:pos x="998" y="0"/>
                </a:cxn>
                <a:cxn ang="0">
                  <a:pos x="890" y="6"/>
                </a:cxn>
                <a:cxn ang="0">
                  <a:pos x="732" y="36"/>
                </a:cxn>
                <a:cxn ang="0">
                  <a:pos x="582" y="90"/>
                </a:cxn>
                <a:cxn ang="0">
                  <a:pos x="444" y="168"/>
                </a:cxn>
                <a:cxn ang="0">
                  <a:pos x="318" y="267"/>
                </a:cxn>
                <a:cxn ang="0">
                  <a:pos x="243" y="345"/>
                </a:cxn>
                <a:cxn ang="0">
                  <a:pos x="165" y="448"/>
                </a:cxn>
                <a:cxn ang="0">
                  <a:pos x="101" y="559"/>
                </a:cxn>
                <a:cxn ang="0">
                  <a:pos x="53" y="679"/>
                </a:cxn>
                <a:cxn ang="0">
                  <a:pos x="20" y="804"/>
                </a:cxn>
                <a:cxn ang="0">
                  <a:pos x="3" y="931"/>
                </a:cxn>
              </a:cxnLst>
              <a:rect l="0" t="0" r="r" b="b"/>
              <a:pathLst>
                <a:path w="1994" h="997">
                  <a:moveTo>
                    <a:pt x="0" y="975"/>
                  </a:moveTo>
                  <a:lnTo>
                    <a:pt x="351" y="975"/>
                  </a:lnTo>
                  <a:lnTo>
                    <a:pt x="351" y="975"/>
                  </a:lnTo>
                  <a:lnTo>
                    <a:pt x="354" y="942"/>
                  </a:lnTo>
                  <a:lnTo>
                    <a:pt x="357" y="910"/>
                  </a:lnTo>
                  <a:lnTo>
                    <a:pt x="362" y="879"/>
                  </a:lnTo>
                  <a:lnTo>
                    <a:pt x="369" y="849"/>
                  </a:lnTo>
                  <a:lnTo>
                    <a:pt x="377" y="819"/>
                  </a:lnTo>
                  <a:lnTo>
                    <a:pt x="386" y="789"/>
                  </a:lnTo>
                  <a:lnTo>
                    <a:pt x="396" y="760"/>
                  </a:lnTo>
                  <a:lnTo>
                    <a:pt x="408" y="732"/>
                  </a:lnTo>
                  <a:lnTo>
                    <a:pt x="422" y="703"/>
                  </a:lnTo>
                  <a:lnTo>
                    <a:pt x="437" y="676"/>
                  </a:lnTo>
                  <a:lnTo>
                    <a:pt x="452" y="651"/>
                  </a:lnTo>
                  <a:lnTo>
                    <a:pt x="470" y="625"/>
                  </a:lnTo>
                  <a:lnTo>
                    <a:pt x="488" y="601"/>
                  </a:lnTo>
                  <a:lnTo>
                    <a:pt x="507" y="577"/>
                  </a:lnTo>
                  <a:lnTo>
                    <a:pt x="527" y="555"/>
                  </a:lnTo>
                  <a:lnTo>
                    <a:pt x="548" y="534"/>
                  </a:lnTo>
                  <a:lnTo>
                    <a:pt x="570" y="513"/>
                  </a:lnTo>
                  <a:lnTo>
                    <a:pt x="594" y="493"/>
                  </a:lnTo>
                  <a:lnTo>
                    <a:pt x="618" y="475"/>
                  </a:lnTo>
                  <a:lnTo>
                    <a:pt x="642" y="457"/>
                  </a:lnTo>
                  <a:lnTo>
                    <a:pt x="669" y="441"/>
                  </a:lnTo>
                  <a:lnTo>
                    <a:pt x="695" y="427"/>
                  </a:lnTo>
                  <a:lnTo>
                    <a:pt x="723" y="412"/>
                  </a:lnTo>
                  <a:lnTo>
                    <a:pt x="752" y="400"/>
                  </a:lnTo>
                  <a:lnTo>
                    <a:pt x="780" y="390"/>
                  </a:lnTo>
                  <a:lnTo>
                    <a:pt x="809" y="379"/>
                  </a:lnTo>
                  <a:lnTo>
                    <a:pt x="839" y="372"/>
                  </a:lnTo>
                  <a:lnTo>
                    <a:pt x="870" y="364"/>
                  </a:lnTo>
                  <a:lnTo>
                    <a:pt x="902" y="358"/>
                  </a:lnTo>
                  <a:lnTo>
                    <a:pt x="933" y="355"/>
                  </a:lnTo>
                  <a:lnTo>
                    <a:pt x="965" y="352"/>
                  </a:lnTo>
                  <a:lnTo>
                    <a:pt x="998" y="352"/>
                  </a:lnTo>
                  <a:lnTo>
                    <a:pt x="998" y="352"/>
                  </a:lnTo>
                  <a:lnTo>
                    <a:pt x="1031" y="352"/>
                  </a:lnTo>
                  <a:lnTo>
                    <a:pt x="1064" y="355"/>
                  </a:lnTo>
                  <a:lnTo>
                    <a:pt x="1096" y="360"/>
                  </a:lnTo>
                  <a:lnTo>
                    <a:pt x="1129" y="364"/>
                  </a:lnTo>
                  <a:lnTo>
                    <a:pt x="1159" y="372"/>
                  </a:lnTo>
                  <a:lnTo>
                    <a:pt x="1190" y="381"/>
                  </a:lnTo>
                  <a:lnTo>
                    <a:pt x="1220" y="391"/>
                  </a:lnTo>
                  <a:lnTo>
                    <a:pt x="1249" y="403"/>
                  </a:lnTo>
                  <a:lnTo>
                    <a:pt x="1277" y="415"/>
                  </a:lnTo>
                  <a:lnTo>
                    <a:pt x="1306" y="430"/>
                  </a:lnTo>
                  <a:lnTo>
                    <a:pt x="1333" y="445"/>
                  </a:lnTo>
                  <a:lnTo>
                    <a:pt x="1360" y="462"/>
                  </a:lnTo>
                  <a:lnTo>
                    <a:pt x="1384" y="480"/>
                  </a:lnTo>
                  <a:lnTo>
                    <a:pt x="1409" y="499"/>
                  </a:lnTo>
                  <a:lnTo>
                    <a:pt x="1432" y="520"/>
                  </a:lnTo>
                  <a:lnTo>
                    <a:pt x="1454" y="541"/>
                  </a:lnTo>
                  <a:lnTo>
                    <a:pt x="1477" y="564"/>
                  </a:lnTo>
                  <a:lnTo>
                    <a:pt x="1496" y="586"/>
                  </a:lnTo>
                  <a:lnTo>
                    <a:pt x="1516" y="612"/>
                  </a:lnTo>
                  <a:lnTo>
                    <a:pt x="1534" y="637"/>
                  </a:lnTo>
                  <a:lnTo>
                    <a:pt x="1550" y="663"/>
                  </a:lnTo>
                  <a:lnTo>
                    <a:pt x="1565" y="690"/>
                  </a:lnTo>
                  <a:lnTo>
                    <a:pt x="1580" y="718"/>
                  </a:lnTo>
                  <a:lnTo>
                    <a:pt x="1594" y="747"/>
                  </a:lnTo>
                  <a:lnTo>
                    <a:pt x="1604" y="775"/>
                  </a:lnTo>
                  <a:lnTo>
                    <a:pt x="1615" y="805"/>
                  </a:lnTo>
                  <a:lnTo>
                    <a:pt x="1624" y="837"/>
                  </a:lnTo>
                  <a:lnTo>
                    <a:pt x="1631" y="868"/>
                  </a:lnTo>
                  <a:lnTo>
                    <a:pt x="1636" y="900"/>
                  </a:lnTo>
                  <a:lnTo>
                    <a:pt x="1640" y="931"/>
                  </a:lnTo>
                  <a:lnTo>
                    <a:pt x="1643" y="964"/>
                  </a:lnTo>
                  <a:lnTo>
                    <a:pt x="1643" y="997"/>
                  </a:lnTo>
                  <a:lnTo>
                    <a:pt x="1643" y="976"/>
                  </a:lnTo>
                  <a:lnTo>
                    <a:pt x="1643" y="975"/>
                  </a:lnTo>
                  <a:lnTo>
                    <a:pt x="1994" y="975"/>
                  </a:lnTo>
                  <a:lnTo>
                    <a:pt x="1994" y="975"/>
                  </a:lnTo>
                  <a:lnTo>
                    <a:pt x="1993" y="931"/>
                  </a:lnTo>
                  <a:lnTo>
                    <a:pt x="1988" y="888"/>
                  </a:lnTo>
                  <a:lnTo>
                    <a:pt x="1984" y="846"/>
                  </a:lnTo>
                  <a:lnTo>
                    <a:pt x="1976" y="804"/>
                  </a:lnTo>
                  <a:lnTo>
                    <a:pt x="1967" y="762"/>
                  </a:lnTo>
                  <a:lnTo>
                    <a:pt x="1955" y="720"/>
                  </a:lnTo>
                  <a:lnTo>
                    <a:pt x="1943" y="679"/>
                  </a:lnTo>
                  <a:lnTo>
                    <a:pt x="1928" y="639"/>
                  </a:lnTo>
                  <a:lnTo>
                    <a:pt x="1912" y="598"/>
                  </a:lnTo>
                  <a:lnTo>
                    <a:pt x="1894" y="559"/>
                  </a:lnTo>
                  <a:lnTo>
                    <a:pt x="1874" y="522"/>
                  </a:lnTo>
                  <a:lnTo>
                    <a:pt x="1853" y="484"/>
                  </a:lnTo>
                  <a:lnTo>
                    <a:pt x="1831" y="448"/>
                  </a:lnTo>
                  <a:lnTo>
                    <a:pt x="1805" y="412"/>
                  </a:lnTo>
                  <a:lnTo>
                    <a:pt x="1780" y="378"/>
                  </a:lnTo>
                  <a:lnTo>
                    <a:pt x="1753" y="345"/>
                  </a:lnTo>
                  <a:lnTo>
                    <a:pt x="1753" y="345"/>
                  </a:lnTo>
                  <a:lnTo>
                    <a:pt x="1715" y="304"/>
                  </a:lnTo>
                  <a:lnTo>
                    <a:pt x="1678" y="267"/>
                  </a:lnTo>
                  <a:lnTo>
                    <a:pt x="1637" y="232"/>
                  </a:lnTo>
                  <a:lnTo>
                    <a:pt x="1595" y="198"/>
                  </a:lnTo>
                  <a:lnTo>
                    <a:pt x="1552" y="168"/>
                  </a:lnTo>
                  <a:lnTo>
                    <a:pt x="1507" y="139"/>
                  </a:lnTo>
                  <a:lnTo>
                    <a:pt x="1460" y="114"/>
                  </a:lnTo>
                  <a:lnTo>
                    <a:pt x="1412" y="90"/>
                  </a:lnTo>
                  <a:lnTo>
                    <a:pt x="1364" y="69"/>
                  </a:lnTo>
                  <a:lnTo>
                    <a:pt x="1313" y="51"/>
                  </a:lnTo>
                  <a:lnTo>
                    <a:pt x="1262" y="36"/>
                  </a:lnTo>
                  <a:lnTo>
                    <a:pt x="1211" y="24"/>
                  </a:lnTo>
                  <a:lnTo>
                    <a:pt x="1159" y="13"/>
                  </a:lnTo>
                  <a:lnTo>
                    <a:pt x="1106" y="6"/>
                  </a:lnTo>
                  <a:lnTo>
                    <a:pt x="1052" y="1"/>
                  </a:lnTo>
                  <a:lnTo>
                    <a:pt x="998" y="0"/>
                  </a:lnTo>
                  <a:lnTo>
                    <a:pt x="998" y="0"/>
                  </a:lnTo>
                  <a:lnTo>
                    <a:pt x="944" y="1"/>
                  </a:lnTo>
                  <a:lnTo>
                    <a:pt x="890" y="6"/>
                  </a:lnTo>
                  <a:lnTo>
                    <a:pt x="837" y="13"/>
                  </a:lnTo>
                  <a:lnTo>
                    <a:pt x="785" y="24"/>
                  </a:lnTo>
                  <a:lnTo>
                    <a:pt x="732" y="36"/>
                  </a:lnTo>
                  <a:lnTo>
                    <a:pt x="681" y="51"/>
                  </a:lnTo>
                  <a:lnTo>
                    <a:pt x="632" y="69"/>
                  </a:lnTo>
                  <a:lnTo>
                    <a:pt x="582" y="90"/>
                  </a:lnTo>
                  <a:lnTo>
                    <a:pt x="536" y="114"/>
                  </a:lnTo>
                  <a:lnTo>
                    <a:pt x="489" y="139"/>
                  </a:lnTo>
                  <a:lnTo>
                    <a:pt x="444" y="168"/>
                  </a:lnTo>
                  <a:lnTo>
                    <a:pt x="401" y="198"/>
                  </a:lnTo>
                  <a:lnTo>
                    <a:pt x="359" y="232"/>
                  </a:lnTo>
                  <a:lnTo>
                    <a:pt x="318" y="267"/>
                  </a:lnTo>
                  <a:lnTo>
                    <a:pt x="279" y="304"/>
                  </a:lnTo>
                  <a:lnTo>
                    <a:pt x="243" y="345"/>
                  </a:lnTo>
                  <a:lnTo>
                    <a:pt x="243" y="345"/>
                  </a:lnTo>
                  <a:lnTo>
                    <a:pt x="215" y="378"/>
                  </a:lnTo>
                  <a:lnTo>
                    <a:pt x="189" y="412"/>
                  </a:lnTo>
                  <a:lnTo>
                    <a:pt x="165" y="448"/>
                  </a:lnTo>
                  <a:lnTo>
                    <a:pt x="141" y="484"/>
                  </a:lnTo>
                  <a:lnTo>
                    <a:pt x="120" y="522"/>
                  </a:lnTo>
                  <a:lnTo>
                    <a:pt x="101" y="559"/>
                  </a:lnTo>
                  <a:lnTo>
                    <a:pt x="83" y="598"/>
                  </a:lnTo>
                  <a:lnTo>
                    <a:pt x="66" y="639"/>
                  </a:lnTo>
                  <a:lnTo>
                    <a:pt x="53" y="679"/>
                  </a:lnTo>
                  <a:lnTo>
                    <a:pt x="39" y="720"/>
                  </a:lnTo>
                  <a:lnTo>
                    <a:pt x="29" y="762"/>
                  </a:lnTo>
                  <a:lnTo>
                    <a:pt x="20" y="804"/>
                  </a:lnTo>
                  <a:lnTo>
                    <a:pt x="12" y="846"/>
                  </a:lnTo>
                  <a:lnTo>
                    <a:pt x="6" y="888"/>
                  </a:lnTo>
                  <a:lnTo>
                    <a:pt x="3" y="931"/>
                  </a:lnTo>
                  <a:lnTo>
                    <a:pt x="0" y="975"/>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4" name="Freeform 10">
              <a:extLst>
                <a:ext uri="{FF2B5EF4-FFF2-40B4-BE49-F238E27FC236}">
                  <a16:creationId xmlns:a16="http://schemas.microsoft.com/office/drawing/2014/main" id="{267E4773-B9E9-4001-A152-2B9D481E0FB1}"/>
                </a:ext>
              </a:extLst>
            </p:cNvPr>
            <p:cNvSpPr>
              <a:spLocks/>
            </p:cNvSpPr>
            <p:nvPr/>
          </p:nvSpPr>
          <p:spPr bwMode="auto">
            <a:xfrm>
              <a:off x="2997201" y="3883025"/>
              <a:ext cx="3165475" cy="1581150"/>
            </a:xfrm>
            <a:custGeom>
              <a:avLst/>
              <a:gdLst/>
              <a:ahLst/>
              <a:cxnLst>
                <a:cxn ang="0">
                  <a:pos x="1643" y="35"/>
                </a:cxn>
                <a:cxn ang="0">
                  <a:pos x="1631" y="131"/>
                </a:cxn>
                <a:cxn ang="0">
                  <a:pos x="1604" y="224"/>
                </a:cxn>
                <a:cxn ang="0">
                  <a:pos x="1565" y="309"/>
                </a:cxn>
                <a:cxn ang="0">
                  <a:pos x="1516" y="387"/>
                </a:cxn>
                <a:cxn ang="0">
                  <a:pos x="1454" y="458"/>
                </a:cxn>
                <a:cxn ang="0">
                  <a:pos x="1384" y="519"/>
                </a:cxn>
                <a:cxn ang="0">
                  <a:pos x="1306" y="569"/>
                </a:cxn>
                <a:cxn ang="0">
                  <a:pos x="1220" y="608"/>
                </a:cxn>
                <a:cxn ang="0">
                  <a:pos x="1129" y="633"/>
                </a:cxn>
                <a:cxn ang="0">
                  <a:pos x="1031" y="647"/>
                </a:cxn>
                <a:cxn ang="0">
                  <a:pos x="965" y="647"/>
                </a:cxn>
                <a:cxn ang="0">
                  <a:pos x="870" y="635"/>
                </a:cxn>
                <a:cxn ang="0">
                  <a:pos x="779" y="609"/>
                </a:cxn>
                <a:cxn ang="0">
                  <a:pos x="695" y="572"/>
                </a:cxn>
                <a:cxn ang="0">
                  <a:pos x="617" y="524"/>
                </a:cxn>
                <a:cxn ang="0">
                  <a:pos x="548" y="464"/>
                </a:cxn>
                <a:cxn ang="0">
                  <a:pos x="486" y="396"/>
                </a:cxn>
                <a:cxn ang="0">
                  <a:pos x="435" y="320"/>
                </a:cxn>
                <a:cxn ang="0">
                  <a:pos x="396" y="237"/>
                </a:cxn>
                <a:cxn ang="0">
                  <a:pos x="368" y="149"/>
                </a:cxn>
                <a:cxn ang="0">
                  <a:pos x="354" y="54"/>
                </a:cxn>
                <a:cxn ang="0">
                  <a:pos x="351" y="21"/>
                </a:cxn>
                <a:cxn ang="0">
                  <a:pos x="3" y="72"/>
                </a:cxn>
                <a:cxn ang="0">
                  <a:pos x="24" y="219"/>
                </a:cxn>
                <a:cxn ang="0">
                  <a:pos x="68" y="359"/>
                </a:cxn>
                <a:cxn ang="0">
                  <a:pos x="128" y="488"/>
                </a:cxn>
                <a:cxn ang="0">
                  <a:pos x="206" y="606"/>
                </a:cxn>
                <a:cxn ang="0">
                  <a:pos x="300" y="711"/>
                </a:cxn>
                <a:cxn ang="0">
                  <a:pos x="408" y="803"/>
                </a:cxn>
                <a:cxn ang="0">
                  <a:pos x="528" y="879"/>
                </a:cxn>
                <a:cxn ang="0">
                  <a:pos x="659" y="938"/>
                </a:cxn>
                <a:cxn ang="0">
                  <a:pos x="800" y="977"/>
                </a:cxn>
                <a:cxn ang="0">
                  <a:pos x="947" y="995"/>
                </a:cxn>
                <a:cxn ang="0">
                  <a:pos x="1048" y="995"/>
                </a:cxn>
                <a:cxn ang="0">
                  <a:pos x="1196" y="977"/>
                </a:cxn>
                <a:cxn ang="0">
                  <a:pos x="1336" y="938"/>
                </a:cxn>
                <a:cxn ang="0">
                  <a:pos x="1466" y="879"/>
                </a:cxn>
                <a:cxn ang="0">
                  <a:pos x="1588" y="803"/>
                </a:cxn>
                <a:cxn ang="0">
                  <a:pos x="1696" y="711"/>
                </a:cxn>
                <a:cxn ang="0">
                  <a:pos x="1789" y="606"/>
                </a:cxn>
                <a:cxn ang="0">
                  <a:pos x="1867" y="488"/>
                </a:cxn>
                <a:cxn ang="0">
                  <a:pos x="1928" y="357"/>
                </a:cxn>
                <a:cxn ang="0">
                  <a:pos x="1970" y="219"/>
                </a:cxn>
                <a:cxn ang="0">
                  <a:pos x="1993" y="72"/>
                </a:cxn>
                <a:cxn ang="0">
                  <a:pos x="1643" y="21"/>
                </a:cxn>
              </a:cxnLst>
              <a:rect l="0" t="0" r="r" b="b"/>
              <a:pathLst>
                <a:path w="1994" h="996">
                  <a:moveTo>
                    <a:pt x="1643" y="0"/>
                  </a:moveTo>
                  <a:lnTo>
                    <a:pt x="1643" y="0"/>
                  </a:lnTo>
                  <a:lnTo>
                    <a:pt x="1643" y="35"/>
                  </a:lnTo>
                  <a:lnTo>
                    <a:pt x="1640" y="66"/>
                  </a:lnTo>
                  <a:lnTo>
                    <a:pt x="1636" y="99"/>
                  </a:lnTo>
                  <a:lnTo>
                    <a:pt x="1631" y="131"/>
                  </a:lnTo>
                  <a:lnTo>
                    <a:pt x="1624" y="162"/>
                  </a:lnTo>
                  <a:lnTo>
                    <a:pt x="1615" y="192"/>
                  </a:lnTo>
                  <a:lnTo>
                    <a:pt x="1604" y="224"/>
                  </a:lnTo>
                  <a:lnTo>
                    <a:pt x="1594" y="252"/>
                  </a:lnTo>
                  <a:lnTo>
                    <a:pt x="1580" y="281"/>
                  </a:lnTo>
                  <a:lnTo>
                    <a:pt x="1565" y="309"/>
                  </a:lnTo>
                  <a:lnTo>
                    <a:pt x="1550" y="336"/>
                  </a:lnTo>
                  <a:lnTo>
                    <a:pt x="1534" y="362"/>
                  </a:lnTo>
                  <a:lnTo>
                    <a:pt x="1516" y="387"/>
                  </a:lnTo>
                  <a:lnTo>
                    <a:pt x="1496" y="411"/>
                  </a:lnTo>
                  <a:lnTo>
                    <a:pt x="1477" y="435"/>
                  </a:lnTo>
                  <a:lnTo>
                    <a:pt x="1454" y="458"/>
                  </a:lnTo>
                  <a:lnTo>
                    <a:pt x="1432" y="479"/>
                  </a:lnTo>
                  <a:lnTo>
                    <a:pt x="1409" y="500"/>
                  </a:lnTo>
                  <a:lnTo>
                    <a:pt x="1384" y="519"/>
                  </a:lnTo>
                  <a:lnTo>
                    <a:pt x="1360" y="537"/>
                  </a:lnTo>
                  <a:lnTo>
                    <a:pt x="1333" y="554"/>
                  </a:lnTo>
                  <a:lnTo>
                    <a:pt x="1306" y="569"/>
                  </a:lnTo>
                  <a:lnTo>
                    <a:pt x="1277" y="584"/>
                  </a:lnTo>
                  <a:lnTo>
                    <a:pt x="1249" y="596"/>
                  </a:lnTo>
                  <a:lnTo>
                    <a:pt x="1220" y="608"/>
                  </a:lnTo>
                  <a:lnTo>
                    <a:pt x="1190" y="618"/>
                  </a:lnTo>
                  <a:lnTo>
                    <a:pt x="1159" y="627"/>
                  </a:lnTo>
                  <a:lnTo>
                    <a:pt x="1129" y="633"/>
                  </a:lnTo>
                  <a:lnTo>
                    <a:pt x="1096" y="639"/>
                  </a:lnTo>
                  <a:lnTo>
                    <a:pt x="1064" y="644"/>
                  </a:lnTo>
                  <a:lnTo>
                    <a:pt x="1031" y="647"/>
                  </a:lnTo>
                  <a:lnTo>
                    <a:pt x="998" y="647"/>
                  </a:lnTo>
                  <a:lnTo>
                    <a:pt x="998" y="647"/>
                  </a:lnTo>
                  <a:lnTo>
                    <a:pt x="965" y="647"/>
                  </a:lnTo>
                  <a:lnTo>
                    <a:pt x="933" y="644"/>
                  </a:lnTo>
                  <a:lnTo>
                    <a:pt x="900" y="639"/>
                  </a:lnTo>
                  <a:lnTo>
                    <a:pt x="870" y="635"/>
                  </a:lnTo>
                  <a:lnTo>
                    <a:pt x="839" y="627"/>
                  </a:lnTo>
                  <a:lnTo>
                    <a:pt x="809" y="618"/>
                  </a:lnTo>
                  <a:lnTo>
                    <a:pt x="779" y="609"/>
                  </a:lnTo>
                  <a:lnTo>
                    <a:pt x="750" y="599"/>
                  </a:lnTo>
                  <a:lnTo>
                    <a:pt x="722" y="585"/>
                  </a:lnTo>
                  <a:lnTo>
                    <a:pt x="695" y="572"/>
                  </a:lnTo>
                  <a:lnTo>
                    <a:pt x="668" y="557"/>
                  </a:lnTo>
                  <a:lnTo>
                    <a:pt x="642" y="540"/>
                  </a:lnTo>
                  <a:lnTo>
                    <a:pt x="617" y="524"/>
                  </a:lnTo>
                  <a:lnTo>
                    <a:pt x="593" y="504"/>
                  </a:lnTo>
                  <a:lnTo>
                    <a:pt x="570" y="485"/>
                  </a:lnTo>
                  <a:lnTo>
                    <a:pt x="548" y="464"/>
                  </a:lnTo>
                  <a:lnTo>
                    <a:pt x="527" y="443"/>
                  </a:lnTo>
                  <a:lnTo>
                    <a:pt x="506" y="420"/>
                  </a:lnTo>
                  <a:lnTo>
                    <a:pt x="486" y="396"/>
                  </a:lnTo>
                  <a:lnTo>
                    <a:pt x="468" y="372"/>
                  </a:lnTo>
                  <a:lnTo>
                    <a:pt x="452" y="347"/>
                  </a:lnTo>
                  <a:lnTo>
                    <a:pt x="435" y="320"/>
                  </a:lnTo>
                  <a:lnTo>
                    <a:pt x="422" y="294"/>
                  </a:lnTo>
                  <a:lnTo>
                    <a:pt x="408" y="266"/>
                  </a:lnTo>
                  <a:lnTo>
                    <a:pt x="396" y="237"/>
                  </a:lnTo>
                  <a:lnTo>
                    <a:pt x="386" y="209"/>
                  </a:lnTo>
                  <a:lnTo>
                    <a:pt x="377" y="179"/>
                  </a:lnTo>
                  <a:lnTo>
                    <a:pt x="368" y="149"/>
                  </a:lnTo>
                  <a:lnTo>
                    <a:pt x="362" y="117"/>
                  </a:lnTo>
                  <a:lnTo>
                    <a:pt x="357" y="86"/>
                  </a:lnTo>
                  <a:lnTo>
                    <a:pt x="354" y="54"/>
                  </a:lnTo>
                  <a:lnTo>
                    <a:pt x="351" y="21"/>
                  </a:lnTo>
                  <a:lnTo>
                    <a:pt x="351" y="21"/>
                  </a:lnTo>
                  <a:lnTo>
                    <a:pt x="351" y="21"/>
                  </a:lnTo>
                  <a:lnTo>
                    <a:pt x="0" y="23"/>
                  </a:lnTo>
                  <a:lnTo>
                    <a:pt x="0" y="23"/>
                  </a:lnTo>
                  <a:lnTo>
                    <a:pt x="3" y="72"/>
                  </a:lnTo>
                  <a:lnTo>
                    <a:pt x="8" y="123"/>
                  </a:lnTo>
                  <a:lnTo>
                    <a:pt x="15" y="171"/>
                  </a:lnTo>
                  <a:lnTo>
                    <a:pt x="24" y="219"/>
                  </a:lnTo>
                  <a:lnTo>
                    <a:pt x="36" y="267"/>
                  </a:lnTo>
                  <a:lnTo>
                    <a:pt x="51" y="312"/>
                  </a:lnTo>
                  <a:lnTo>
                    <a:pt x="68" y="359"/>
                  </a:lnTo>
                  <a:lnTo>
                    <a:pt x="86" y="402"/>
                  </a:lnTo>
                  <a:lnTo>
                    <a:pt x="105" y="446"/>
                  </a:lnTo>
                  <a:lnTo>
                    <a:pt x="128" y="488"/>
                  </a:lnTo>
                  <a:lnTo>
                    <a:pt x="152" y="528"/>
                  </a:lnTo>
                  <a:lnTo>
                    <a:pt x="179" y="567"/>
                  </a:lnTo>
                  <a:lnTo>
                    <a:pt x="206" y="606"/>
                  </a:lnTo>
                  <a:lnTo>
                    <a:pt x="236" y="642"/>
                  </a:lnTo>
                  <a:lnTo>
                    <a:pt x="267" y="678"/>
                  </a:lnTo>
                  <a:lnTo>
                    <a:pt x="300" y="711"/>
                  </a:lnTo>
                  <a:lnTo>
                    <a:pt x="335" y="744"/>
                  </a:lnTo>
                  <a:lnTo>
                    <a:pt x="371" y="774"/>
                  </a:lnTo>
                  <a:lnTo>
                    <a:pt x="408" y="803"/>
                  </a:lnTo>
                  <a:lnTo>
                    <a:pt x="447" y="831"/>
                  </a:lnTo>
                  <a:lnTo>
                    <a:pt x="488" y="855"/>
                  </a:lnTo>
                  <a:lnTo>
                    <a:pt x="528" y="879"/>
                  </a:lnTo>
                  <a:lnTo>
                    <a:pt x="572" y="900"/>
                  </a:lnTo>
                  <a:lnTo>
                    <a:pt x="615" y="920"/>
                  </a:lnTo>
                  <a:lnTo>
                    <a:pt x="659" y="938"/>
                  </a:lnTo>
                  <a:lnTo>
                    <a:pt x="705" y="953"/>
                  </a:lnTo>
                  <a:lnTo>
                    <a:pt x="752" y="966"/>
                  </a:lnTo>
                  <a:lnTo>
                    <a:pt x="800" y="977"/>
                  </a:lnTo>
                  <a:lnTo>
                    <a:pt x="848" y="986"/>
                  </a:lnTo>
                  <a:lnTo>
                    <a:pt x="897" y="992"/>
                  </a:lnTo>
                  <a:lnTo>
                    <a:pt x="947" y="995"/>
                  </a:lnTo>
                  <a:lnTo>
                    <a:pt x="998" y="996"/>
                  </a:lnTo>
                  <a:lnTo>
                    <a:pt x="998" y="996"/>
                  </a:lnTo>
                  <a:lnTo>
                    <a:pt x="1048" y="995"/>
                  </a:lnTo>
                  <a:lnTo>
                    <a:pt x="1099" y="992"/>
                  </a:lnTo>
                  <a:lnTo>
                    <a:pt x="1148" y="986"/>
                  </a:lnTo>
                  <a:lnTo>
                    <a:pt x="1196" y="977"/>
                  </a:lnTo>
                  <a:lnTo>
                    <a:pt x="1244" y="966"/>
                  </a:lnTo>
                  <a:lnTo>
                    <a:pt x="1291" y="953"/>
                  </a:lnTo>
                  <a:lnTo>
                    <a:pt x="1336" y="938"/>
                  </a:lnTo>
                  <a:lnTo>
                    <a:pt x="1381" y="920"/>
                  </a:lnTo>
                  <a:lnTo>
                    <a:pt x="1424" y="900"/>
                  </a:lnTo>
                  <a:lnTo>
                    <a:pt x="1466" y="879"/>
                  </a:lnTo>
                  <a:lnTo>
                    <a:pt x="1508" y="855"/>
                  </a:lnTo>
                  <a:lnTo>
                    <a:pt x="1549" y="830"/>
                  </a:lnTo>
                  <a:lnTo>
                    <a:pt x="1588" y="803"/>
                  </a:lnTo>
                  <a:lnTo>
                    <a:pt x="1625" y="774"/>
                  </a:lnTo>
                  <a:lnTo>
                    <a:pt x="1661" y="744"/>
                  </a:lnTo>
                  <a:lnTo>
                    <a:pt x="1696" y="711"/>
                  </a:lnTo>
                  <a:lnTo>
                    <a:pt x="1729" y="678"/>
                  </a:lnTo>
                  <a:lnTo>
                    <a:pt x="1759" y="642"/>
                  </a:lnTo>
                  <a:lnTo>
                    <a:pt x="1789" y="606"/>
                  </a:lnTo>
                  <a:lnTo>
                    <a:pt x="1817" y="567"/>
                  </a:lnTo>
                  <a:lnTo>
                    <a:pt x="1843" y="528"/>
                  </a:lnTo>
                  <a:lnTo>
                    <a:pt x="1867" y="488"/>
                  </a:lnTo>
                  <a:lnTo>
                    <a:pt x="1889" y="444"/>
                  </a:lnTo>
                  <a:lnTo>
                    <a:pt x="1910" y="402"/>
                  </a:lnTo>
                  <a:lnTo>
                    <a:pt x="1928" y="357"/>
                  </a:lnTo>
                  <a:lnTo>
                    <a:pt x="1945" y="312"/>
                  </a:lnTo>
                  <a:lnTo>
                    <a:pt x="1958" y="266"/>
                  </a:lnTo>
                  <a:lnTo>
                    <a:pt x="1970" y="219"/>
                  </a:lnTo>
                  <a:lnTo>
                    <a:pt x="1981" y="171"/>
                  </a:lnTo>
                  <a:lnTo>
                    <a:pt x="1987" y="122"/>
                  </a:lnTo>
                  <a:lnTo>
                    <a:pt x="1993" y="72"/>
                  </a:lnTo>
                  <a:lnTo>
                    <a:pt x="1994" y="21"/>
                  </a:lnTo>
                  <a:lnTo>
                    <a:pt x="1643" y="21"/>
                  </a:lnTo>
                  <a:lnTo>
                    <a:pt x="1643" y="21"/>
                  </a:lnTo>
                  <a:lnTo>
                    <a:pt x="1643" y="0"/>
                  </a:lnTo>
                  <a:close/>
                </a:path>
              </a:pathLst>
            </a:custGeom>
            <a:pattFill prst="wdUpDiag">
              <a:fgClr>
                <a:schemeClr val="tx2">
                  <a:lumMod val="20000"/>
                  <a:lumOff val="80000"/>
                </a:schemeClr>
              </a:fgClr>
              <a:bgClr>
                <a:schemeClr val="bg1"/>
              </a:bgClr>
            </a:patt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5" name="Freeform 9">
              <a:extLst>
                <a:ext uri="{FF2B5EF4-FFF2-40B4-BE49-F238E27FC236}">
                  <a16:creationId xmlns:a16="http://schemas.microsoft.com/office/drawing/2014/main" id="{69EC98A2-D1AB-4FFA-A01E-512D4AE8DA2D}"/>
                </a:ext>
              </a:extLst>
            </p:cNvPr>
            <p:cNvSpPr>
              <a:spLocks/>
            </p:cNvSpPr>
            <p:nvPr/>
          </p:nvSpPr>
          <p:spPr bwMode="auto">
            <a:xfrm>
              <a:off x="2997201" y="2300288"/>
              <a:ext cx="3165475" cy="1582738"/>
            </a:xfrm>
            <a:custGeom>
              <a:avLst/>
              <a:gdLst/>
              <a:ahLst/>
              <a:cxnLst>
                <a:cxn ang="0">
                  <a:pos x="351" y="975"/>
                </a:cxn>
                <a:cxn ang="0">
                  <a:pos x="362" y="879"/>
                </a:cxn>
                <a:cxn ang="0">
                  <a:pos x="386" y="789"/>
                </a:cxn>
                <a:cxn ang="0">
                  <a:pos x="422" y="703"/>
                </a:cxn>
                <a:cxn ang="0">
                  <a:pos x="470" y="625"/>
                </a:cxn>
                <a:cxn ang="0">
                  <a:pos x="527" y="555"/>
                </a:cxn>
                <a:cxn ang="0">
                  <a:pos x="594" y="493"/>
                </a:cxn>
                <a:cxn ang="0">
                  <a:pos x="669" y="441"/>
                </a:cxn>
                <a:cxn ang="0">
                  <a:pos x="752" y="400"/>
                </a:cxn>
                <a:cxn ang="0">
                  <a:pos x="839" y="372"/>
                </a:cxn>
                <a:cxn ang="0">
                  <a:pos x="933" y="355"/>
                </a:cxn>
                <a:cxn ang="0">
                  <a:pos x="998" y="352"/>
                </a:cxn>
                <a:cxn ang="0">
                  <a:pos x="1096" y="360"/>
                </a:cxn>
                <a:cxn ang="0">
                  <a:pos x="1190" y="381"/>
                </a:cxn>
                <a:cxn ang="0">
                  <a:pos x="1277" y="415"/>
                </a:cxn>
                <a:cxn ang="0">
                  <a:pos x="1360" y="462"/>
                </a:cxn>
                <a:cxn ang="0">
                  <a:pos x="1432" y="520"/>
                </a:cxn>
                <a:cxn ang="0">
                  <a:pos x="1496" y="586"/>
                </a:cxn>
                <a:cxn ang="0">
                  <a:pos x="1550" y="663"/>
                </a:cxn>
                <a:cxn ang="0">
                  <a:pos x="1594" y="747"/>
                </a:cxn>
                <a:cxn ang="0">
                  <a:pos x="1624" y="837"/>
                </a:cxn>
                <a:cxn ang="0">
                  <a:pos x="1640" y="931"/>
                </a:cxn>
                <a:cxn ang="0">
                  <a:pos x="1643" y="976"/>
                </a:cxn>
                <a:cxn ang="0">
                  <a:pos x="1994" y="975"/>
                </a:cxn>
                <a:cxn ang="0">
                  <a:pos x="1984" y="846"/>
                </a:cxn>
                <a:cxn ang="0">
                  <a:pos x="1955" y="720"/>
                </a:cxn>
                <a:cxn ang="0">
                  <a:pos x="1912" y="598"/>
                </a:cxn>
                <a:cxn ang="0">
                  <a:pos x="1853" y="484"/>
                </a:cxn>
                <a:cxn ang="0">
                  <a:pos x="1780" y="378"/>
                </a:cxn>
                <a:cxn ang="0">
                  <a:pos x="1715" y="304"/>
                </a:cxn>
                <a:cxn ang="0">
                  <a:pos x="1595" y="198"/>
                </a:cxn>
                <a:cxn ang="0">
                  <a:pos x="1460" y="114"/>
                </a:cxn>
                <a:cxn ang="0">
                  <a:pos x="1313" y="51"/>
                </a:cxn>
                <a:cxn ang="0">
                  <a:pos x="1159" y="13"/>
                </a:cxn>
                <a:cxn ang="0">
                  <a:pos x="998" y="0"/>
                </a:cxn>
                <a:cxn ang="0">
                  <a:pos x="890" y="6"/>
                </a:cxn>
                <a:cxn ang="0">
                  <a:pos x="732" y="36"/>
                </a:cxn>
                <a:cxn ang="0">
                  <a:pos x="582" y="90"/>
                </a:cxn>
                <a:cxn ang="0">
                  <a:pos x="444" y="168"/>
                </a:cxn>
                <a:cxn ang="0">
                  <a:pos x="318" y="267"/>
                </a:cxn>
                <a:cxn ang="0">
                  <a:pos x="243" y="345"/>
                </a:cxn>
                <a:cxn ang="0">
                  <a:pos x="165" y="448"/>
                </a:cxn>
                <a:cxn ang="0">
                  <a:pos x="101" y="559"/>
                </a:cxn>
                <a:cxn ang="0">
                  <a:pos x="53" y="679"/>
                </a:cxn>
                <a:cxn ang="0">
                  <a:pos x="20" y="804"/>
                </a:cxn>
                <a:cxn ang="0">
                  <a:pos x="3" y="931"/>
                </a:cxn>
              </a:cxnLst>
              <a:rect l="0" t="0" r="r" b="b"/>
              <a:pathLst>
                <a:path w="1994" h="997">
                  <a:moveTo>
                    <a:pt x="0" y="975"/>
                  </a:moveTo>
                  <a:lnTo>
                    <a:pt x="351" y="975"/>
                  </a:lnTo>
                  <a:lnTo>
                    <a:pt x="351" y="975"/>
                  </a:lnTo>
                  <a:lnTo>
                    <a:pt x="354" y="942"/>
                  </a:lnTo>
                  <a:lnTo>
                    <a:pt x="357" y="910"/>
                  </a:lnTo>
                  <a:lnTo>
                    <a:pt x="362" y="879"/>
                  </a:lnTo>
                  <a:lnTo>
                    <a:pt x="369" y="849"/>
                  </a:lnTo>
                  <a:lnTo>
                    <a:pt x="377" y="819"/>
                  </a:lnTo>
                  <a:lnTo>
                    <a:pt x="386" y="789"/>
                  </a:lnTo>
                  <a:lnTo>
                    <a:pt x="396" y="760"/>
                  </a:lnTo>
                  <a:lnTo>
                    <a:pt x="408" y="732"/>
                  </a:lnTo>
                  <a:lnTo>
                    <a:pt x="422" y="703"/>
                  </a:lnTo>
                  <a:lnTo>
                    <a:pt x="437" y="676"/>
                  </a:lnTo>
                  <a:lnTo>
                    <a:pt x="452" y="651"/>
                  </a:lnTo>
                  <a:lnTo>
                    <a:pt x="470" y="625"/>
                  </a:lnTo>
                  <a:lnTo>
                    <a:pt x="488" y="601"/>
                  </a:lnTo>
                  <a:lnTo>
                    <a:pt x="507" y="577"/>
                  </a:lnTo>
                  <a:lnTo>
                    <a:pt x="527" y="555"/>
                  </a:lnTo>
                  <a:lnTo>
                    <a:pt x="548" y="534"/>
                  </a:lnTo>
                  <a:lnTo>
                    <a:pt x="570" y="513"/>
                  </a:lnTo>
                  <a:lnTo>
                    <a:pt x="594" y="493"/>
                  </a:lnTo>
                  <a:lnTo>
                    <a:pt x="618" y="475"/>
                  </a:lnTo>
                  <a:lnTo>
                    <a:pt x="642" y="457"/>
                  </a:lnTo>
                  <a:lnTo>
                    <a:pt x="669" y="441"/>
                  </a:lnTo>
                  <a:lnTo>
                    <a:pt x="695" y="427"/>
                  </a:lnTo>
                  <a:lnTo>
                    <a:pt x="723" y="412"/>
                  </a:lnTo>
                  <a:lnTo>
                    <a:pt x="752" y="400"/>
                  </a:lnTo>
                  <a:lnTo>
                    <a:pt x="780" y="390"/>
                  </a:lnTo>
                  <a:lnTo>
                    <a:pt x="809" y="379"/>
                  </a:lnTo>
                  <a:lnTo>
                    <a:pt x="839" y="372"/>
                  </a:lnTo>
                  <a:lnTo>
                    <a:pt x="870" y="364"/>
                  </a:lnTo>
                  <a:lnTo>
                    <a:pt x="902" y="358"/>
                  </a:lnTo>
                  <a:lnTo>
                    <a:pt x="933" y="355"/>
                  </a:lnTo>
                  <a:lnTo>
                    <a:pt x="965" y="352"/>
                  </a:lnTo>
                  <a:lnTo>
                    <a:pt x="998" y="352"/>
                  </a:lnTo>
                  <a:lnTo>
                    <a:pt x="998" y="352"/>
                  </a:lnTo>
                  <a:lnTo>
                    <a:pt x="1031" y="352"/>
                  </a:lnTo>
                  <a:lnTo>
                    <a:pt x="1064" y="355"/>
                  </a:lnTo>
                  <a:lnTo>
                    <a:pt x="1096" y="360"/>
                  </a:lnTo>
                  <a:lnTo>
                    <a:pt x="1129" y="364"/>
                  </a:lnTo>
                  <a:lnTo>
                    <a:pt x="1159" y="372"/>
                  </a:lnTo>
                  <a:lnTo>
                    <a:pt x="1190" y="381"/>
                  </a:lnTo>
                  <a:lnTo>
                    <a:pt x="1220" y="391"/>
                  </a:lnTo>
                  <a:lnTo>
                    <a:pt x="1249" y="403"/>
                  </a:lnTo>
                  <a:lnTo>
                    <a:pt x="1277" y="415"/>
                  </a:lnTo>
                  <a:lnTo>
                    <a:pt x="1306" y="430"/>
                  </a:lnTo>
                  <a:lnTo>
                    <a:pt x="1333" y="445"/>
                  </a:lnTo>
                  <a:lnTo>
                    <a:pt x="1360" y="462"/>
                  </a:lnTo>
                  <a:lnTo>
                    <a:pt x="1384" y="480"/>
                  </a:lnTo>
                  <a:lnTo>
                    <a:pt x="1409" y="499"/>
                  </a:lnTo>
                  <a:lnTo>
                    <a:pt x="1432" y="520"/>
                  </a:lnTo>
                  <a:lnTo>
                    <a:pt x="1454" y="541"/>
                  </a:lnTo>
                  <a:lnTo>
                    <a:pt x="1477" y="564"/>
                  </a:lnTo>
                  <a:lnTo>
                    <a:pt x="1496" y="586"/>
                  </a:lnTo>
                  <a:lnTo>
                    <a:pt x="1516" y="612"/>
                  </a:lnTo>
                  <a:lnTo>
                    <a:pt x="1534" y="637"/>
                  </a:lnTo>
                  <a:lnTo>
                    <a:pt x="1550" y="663"/>
                  </a:lnTo>
                  <a:lnTo>
                    <a:pt x="1565" y="690"/>
                  </a:lnTo>
                  <a:lnTo>
                    <a:pt x="1580" y="718"/>
                  </a:lnTo>
                  <a:lnTo>
                    <a:pt x="1594" y="747"/>
                  </a:lnTo>
                  <a:lnTo>
                    <a:pt x="1604" y="775"/>
                  </a:lnTo>
                  <a:lnTo>
                    <a:pt x="1615" y="805"/>
                  </a:lnTo>
                  <a:lnTo>
                    <a:pt x="1624" y="837"/>
                  </a:lnTo>
                  <a:lnTo>
                    <a:pt x="1631" y="868"/>
                  </a:lnTo>
                  <a:lnTo>
                    <a:pt x="1636" y="900"/>
                  </a:lnTo>
                  <a:lnTo>
                    <a:pt x="1640" y="931"/>
                  </a:lnTo>
                  <a:lnTo>
                    <a:pt x="1643" y="964"/>
                  </a:lnTo>
                  <a:lnTo>
                    <a:pt x="1643" y="997"/>
                  </a:lnTo>
                  <a:lnTo>
                    <a:pt x="1643" y="976"/>
                  </a:lnTo>
                  <a:lnTo>
                    <a:pt x="1643" y="975"/>
                  </a:lnTo>
                  <a:lnTo>
                    <a:pt x="1994" y="975"/>
                  </a:lnTo>
                  <a:lnTo>
                    <a:pt x="1994" y="975"/>
                  </a:lnTo>
                  <a:lnTo>
                    <a:pt x="1993" y="931"/>
                  </a:lnTo>
                  <a:lnTo>
                    <a:pt x="1988" y="888"/>
                  </a:lnTo>
                  <a:lnTo>
                    <a:pt x="1984" y="846"/>
                  </a:lnTo>
                  <a:lnTo>
                    <a:pt x="1976" y="804"/>
                  </a:lnTo>
                  <a:lnTo>
                    <a:pt x="1967" y="762"/>
                  </a:lnTo>
                  <a:lnTo>
                    <a:pt x="1955" y="720"/>
                  </a:lnTo>
                  <a:lnTo>
                    <a:pt x="1943" y="679"/>
                  </a:lnTo>
                  <a:lnTo>
                    <a:pt x="1928" y="639"/>
                  </a:lnTo>
                  <a:lnTo>
                    <a:pt x="1912" y="598"/>
                  </a:lnTo>
                  <a:lnTo>
                    <a:pt x="1894" y="559"/>
                  </a:lnTo>
                  <a:lnTo>
                    <a:pt x="1874" y="522"/>
                  </a:lnTo>
                  <a:lnTo>
                    <a:pt x="1853" y="484"/>
                  </a:lnTo>
                  <a:lnTo>
                    <a:pt x="1831" y="448"/>
                  </a:lnTo>
                  <a:lnTo>
                    <a:pt x="1805" y="412"/>
                  </a:lnTo>
                  <a:lnTo>
                    <a:pt x="1780" y="378"/>
                  </a:lnTo>
                  <a:lnTo>
                    <a:pt x="1753" y="345"/>
                  </a:lnTo>
                  <a:lnTo>
                    <a:pt x="1753" y="345"/>
                  </a:lnTo>
                  <a:lnTo>
                    <a:pt x="1715" y="304"/>
                  </a:lnTo>
                  <a:lnTo>
                    <a:pt x="1678" y="267"/>
                  </a:lnTo>
                  <a:lnTo>
                    <a:pt x="1637" y="232"/>
                  </a:lnTo>
                  <a:lnTo>
                    <a:pt x="1595" y="198"/>
                  </a:lnTo>
                  <a:lnTo>
                    <a:pt x="1552" y="168"/>
                  </a:lnTo>
                  <a:lnTo>
                    <a:pt x="1507" y="139"/>
                  </a:lnTo>
                  <a:lnTo>
                    <a:pt x="1460" y="114"/>
                  </a:lnTo>
                  <a:lnTo>
                    <a:pt x="1412" y="90"/>
                  </a:lnTo>
                  <a:lnTo>
                    <a:pt x="1364" y="69"/>
                  </a:lnTo>
                  <a:lnTo>
                    <a:pt x="1313" y="51"/>
                  </a:lnTo>
                  <a:lnTo>
                    <a:pt x="1262" y="36"/>
                  </a:lnTo>
                  <a:lnTo>
                    <a:pt x="1211" y="24"/>
                  </a:lnTo>
                  <a:lnTo>
                    <a:pt x="1159" y="13"/>
                  </a:lnTo>
                  <a:lnTo>
                    <a:pt x="1106" y="6"/>
                  </a:lnTo>
                  <a:lnTo>
                    <a:pt x="1052" y="1"/>
                  </a:lnTo>
                  <a:lnTo>
                    <a:pt x="998" y="0"/>
                  </a:lnTo>
                  <a:lnTo>
                    <a:pt x="998" y="0"/>
                  </a:lnTo>
                  <a:lnTo>
                    <a:pt x="944" y="1"/>
                  </a:lnTo>
                  <a:lnTo>
                    <a:pt x="890" y="6"/>
                  </a:lnTo>
                  <a:lnTo>
                    <a:pt x="837" y="13"/>
                  </a:lnTo>
                  <a:lnTo>
                    <a:pt x="785" y="24"/>
                  </a:lnTo>
                  <a:lnTo>
                    <a:pt x="732" y="36"/>
                  </a:lnTo>
                  <a:lnTo>
                    <a:pt x="681" y="51"/>
                  </a:lnTo>
                  <a:lnTo>
                    <a:pt x="632" y="69"/>
                  </a:lnTo>
                  <a:lnTo>
                    <a:pt x="582" y="90"/>
                  </a:lnTo>
                  <a:lnTo>
                    <a:pt x="536" y="114"/>
                  </a:lnTo>
                  <a:lnTo>
                    <a:pt x="489" y="139"/>
                  </a:lnTo>
                  <a:lnTo>
                    <a:pt x="444" y="168"/>
                  </a:lnTo>
                  <a:lnTo>
                    <a:pt x="401" y="198"/>
                  </a:lnTo>
                  <a:lnTo>
                    <a:pt x="359" y="232"/>
                  </a:lnTo>
                  <a:lnTo>
                    <a:pt x="318" y="267"/>
                  </a:lnTo>
                  <a:lnTo>
                    <a:pt x="279" y="304"/>
                  </a:lnTo>
                  <a:lnTo>
                    <a:pt x="243" y="345"/>
                  </a:lnTo>
                  <a:lnTo>
                    <a:pt x="243" y="345"/>
                  </a:lnTo>
                  <a:lnTo>
                    <a:pt x="215" y="378"/>
                  </a:lnTo>
                  <a:lnTo>
                    <a:pt x="189" y="412"/>
                  </a:lnTo>
                  <a:lnTo>
                    <a:pt x="165" y="448"/>
                  </a:lnTo>
                  <a:lnTo>
                    <a:pt x="141" y="484"/>
                  </a:lnTo>
                  <a:lnTo>
                    <a:pt x="120" y="522"/>
                  </a:lnTo>
                  <a:lnTo>
                    <a:pt x="101" y="559"/>
                  </a:lnTo>
                  <a:lnTo>
                    <a:pt x="83" y="598"/>
                  </a:lnTo>
                  <a:lnTo>
                    <a:pt x="66" y="639"/>
                  </a:lnTo>
                  <a:lnTo>
                    <a:pt x="53" y="679"/>
                  </a:lnTo>
                  <a:lnTo>
                    <a:pt x="39" y="720"/>
                  </a:lnTo>
                  <a:lnTo>
                    <a:pt x="29" y="762"/>
                  </a:lnTo>
                  <a:lnTo>
                    <a:pt x="20" y="804"/>
                  </a:lnTo>
                  <a:lnTo>
                    <a:pt x="12" y="846"/>
                  </a:lnTo>
                  <a:lnTo>
                    <a:pt x="6" y="888"/>
                  </a:lnTo>
                  <a:lnTo>
                    <a:pt x="3" y="931"/>
                  </a:lnTo>
                  <a:lnTo>
                    <a:pt x="0" y="975"/>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grpSp>
      <p:sp>
        <p:nvSpPr>
          <p:cNvPr id="28" name="TextBox 27">
            <a:extLst>
              <a:ext uri="{FF2B5EF4-FFF2-40B4-BE49-F238E27FC236}">
                <a16:creationId xmlns:a16="http://schemas.microsoft.com/office/drawing/2014/main" id="{5DE307EE-FDBF-4086-891C-5FCA626C5B99}"/>
              </a:ext>
            </a:extLst>
          </p:cNvPr>
          <p:cNvSpPr txBox="1"/>
          <p:nvPr/>
        </p:nvSpPr>
        <p:spPr bwMode="auto">
          <a:xfrm>
            <a:off x="7770936" y="1892450"/>
            <a:ext cx="2580968"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29" name="Straight Connector 28">
            <a:extLst>
              <a:ext uri="{FF2B5EF4-FFF2-40B4-BE49-F238E27FC236}">
                <a16:creationId xmlns:a16="http://schemas.microsoft.com/office/drawing/2014/main" id="{C7C69363-368E-48D5-A4B0-CB59B31BC84A}"/>
              </a:ext>
              <a:ext uri="{C183D7F6-B498-43B3-948B-1728B52AA6E4}">
                <adec:decorative xmlns:adec="http://schemas.microsoft.com/office/drawing/2017/decorative" val="1"/>
              </a:ext>
            </a:extLst>
          </p:cNvPr>
          <p:cNvCxnSpPr/>
          <p:nvPr/>
        </p:nvCxnSpPr>
        <p:spPr bwMode="auto">
          <a:xfrm flipH="1">
            <a:off x="7385775" y="2288450"/>
            <a:ext cx="2966130"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9404AD5B-D0F9-4FCA-86D5-41AD0AED7212}"/>
              </a:ext>
            </a:extLst>
          </p:cNvPr>
          <p:cNvSpPr txBox="1"/>
          <p:nvPr/>
        </p:nvSpPr>
        <p:spPr bwMode="auto">
          <a:xfrm>
            <a:off x="7791755" y="2977246"/>
            <a:ext cx="2580968"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27" name="Straight Connector 26">
            <a:extLst>
              <a:ext uri="{FF2B5EF4-FFF2-40B4-BE49-F238E27FC236}">
                <a16:creationId xmlns:a16="http://schemas.microsoft.com/office/drawing/2014/main" id="{02C10625-05C6-4A30-9436-25C270766F96}"/>
              </a:ext>
              <a:ext uri="{C183D7F6-B498-43B3-948B-1728B52AA6E4}">
                <adec:decorative xmlns:adec="http://schemas.microsoft.com/office/drawing/2017/decorative" val="1"/>
              </a:ext>
            </a:extLst>
          </p:cNvPr>
          <p:cNvCxnSpPr/>
          <p:nvPr/>
        </p:nvCxnSpPr>
        <p:spPr bwMode="auto">
          <a:xfrm flipH="1">
            <a:off x="7406595" y="3369105"/>
            <a:ext cx="2966130"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73BA4276-AC18-4AAD-BA55-13F5C5BCC77F}"/>
              </a:ext>
            </a:extLst>
          </p:cNvPr>
          <p:cNvSpPr txBox="1"/>
          <p:nvPr/>
        </p:nvSpPr>
        <p:spPr bwMode="auto">
          <a:xfrm>
            <a:off x="7770936" y="3910118"/>
            <a:ext cx="2580968"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33" name="Straight Connector 32">
            <a:extLst>
              <a:ext uri="{FF2B5EF4-FFF2-40B4-BE49-F238E27FC236}">
                <a16:creationId xmlns:a16="http://schemas.microsoft.com/office/drawing/2014/main" id="{7E1FB9C2-E40B-4934-888E-CCEC1909245B}"/>
              </a:ext>
              <a:ext uri="{C183D7F6-B498-43B3-948B-1728B52AA6E4}">
                <adec:decorative xmlns:adec="http://schemas.microsoft.com/office/drawing/2017/decorative" val="1"/>
              </a:ext>
            </a:extLst>
          </p:cNvPr>
          <p:cNvCxnSpPr/>
          <p:nvPr/>
        </p:nvCxnSpPr>
        <p:spPr bwMode="auto">
          <a:xfrm flipH="1">
            <a:off x="7385775" y="4301977"/>
            <a:ext cx="2966130"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6B6B544-620A-4B74-8A53-DB880F789DEA}"/>
              </a:ext>
            </a:extLst>
          </p:cNvPr>
          <p:cNvSpPr txBox="1"/>
          <p:nvPr/>
        </p:nvSpPr>
        <p:spPr bwMode="auto">
          <a:xfrm>
            <a:off x="7791755" y="4990773"/>
            <a:ext cx="2580968"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31" name="Straight Connector 30">
            <a:extLst>
              <a:ext uri="{FF2B5EF4-FFF2-40B4-BE49-F238E27FC236}">
                <a16:creationId xmlns:a16="http://schemas.microsoft.com/office/drawing/2014/main" id="{9473B169-DA90-4F2D-82C3-C26A5AA2D1CF}"/>
              </a:ext>
              <a:ext uri="{C183D7F6-B498-43B3-948B-1728B52AA6E4}">
                <adec:decorative xmlns:adec="http://schemas.microsoft.com/office/drawing/2017/decorative" val="1"/>
              </a:ext>
            </a:extLst>
          </p:cNvPr>
          <p:cNvCxnSpPr/>
          <p:nvPr/>
        </p:nvCxnSpPr>
        <p:spPr bwMode="auto">
          <a:xfrm flipH="1">
            <a:off x="7406595" y="5382632"/>
            <a:ext cx="2966130"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AB280E1B-B4AA-4E8A-ACE9-FDE2EB2D4E7F}"/>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43FB7E7D-A53E-47EC-B9C5-F9851CFF313D}"/>
              </a:ext>
            </a:extLst>
          </p:cNvPr>
          <p:cNvSpPr>
            <a:spLocks noGrp="1"/>
          </p:cNvSpPr>
          <p:nvPr>
            <p:ph type="sldNum" sz="quarter" idx="10"/>
          </p:nvPr>
        </p:nvSpPr>
        <p:spPr/>
        <p:txBody>
          <a:bodyPr/>
          <a:lstStyle/>
          <a:p>
            <a:fld id="{1F90F471-3972-4120-B8B3-0237DE626C35}" type="slidenum">
              <a:rPr lang="en-US" smtClean="0"/>
              <a:pPr/>
              <a:t>275</a:t>
            </a:fld>
            <a:endParaRPr lang="en-US" dirty="0"/>
          </a:p>
        </p:txBody>
      </p:sp>
    </p:spTree>
    <p:extLst>
      <p:ext uri="{BB962C8B-B14F-4D97-AF65-F5344CB8AC3E}">
        <p14:creationId xmlns:p14="http://schemas.microsoft.com/office/powerpoint/2010/main" val="1290398153"/>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en-US" dirty="0"/>
              <a:t>Circle Illustration 2</a:t>
            </a:r>
            <a:endParaRPr lang="en-US" sz="3600" b="1" dirty="0"/>
          </a:p>
        </p:txBody>
      </p:sp>
      <p:grpSp>
        <p:nvGrpSpPr>
          <p:cNvPr id="24" name="Group 34">
            <a:extLst>
              <a:ext uri="{FF2B5EF4-FFF2-40B4-BE49-F238E27FC236}">
                <a16:creationId xmlns:a16="http://schemas.microsoft.com/office/drawing/2014/main" id="{77F7F4BA-A039-40F0-A5E2-0BC489EA159A}"/>
              </a:ext>
              <a:ext uri="{C183D7F6-B498-43B3-948B-1728B52AA6E4}">
                <adec:decorative xmlns:adec="http://schemas.microsoft.com/office/drawing/2017/decorative" val="1"/>
              </a:ext>
            </a:extLst>
          </p:cNvPr>
          <p:cNvGrpSpPr/>
          <p:nvPr/>
        </p:nvGrpSpPr>
        <p:grpSpPr bwMode="auto">
          <a:xfrm>
            <a:off x="3903026" y="1641474"/>
            <a:ext cx="4416425" cy="4416426"/>
            <a:chOff x="2363788" y="1670050"/>
            <a:chExt cx="4416425" cy="4416426"/>
          </a:xfrm>
        </p:grpSpPr>
        <p:sp>
          <p:nvSpPr>
            <p:cNvPr id="25" name="Freeform 6">
              <a:extLst>
                <a:ext uri="{FF2B5EF4-FFF2-40B4-BE49-F238E27FC236}">
                  <a16:creationId xmlns:a16="http://schemas.microsoft.com/office/drawing/2014/main" id="{649BADB6-4690-488B-A7FF-790F393B89A9}"/>
                </a:ext>
              </a:extLst>
            </p:cNvPr>
            <p:cNvSpPr>
              <a:spLocks/>
            </p:cNvSpPr>
            <p:nvPr/>
          </p:nvSpPr>
          <p:spPr bwMode="auto">
            <a:xfrm>
              <a:off x="2676526" y="1670050"/>
              <a:ext cx="3794125" cy="1362075"/>
            </a:xfrm>
            <a:custGeom>
              <a:avLst/>
              <a:gdLst/>
              <a:ahLst/>
              <a:cxnLst>
                <a:cxn ang="0">
                  <a:pos x="1229" y="351"/>
                </a:cxn>
                <a:cxn ang="0">
                  <a:pos x="1334" y="360"/>
                </a:cxn>
                <a:cxn ang="0">
                  <a:pos x="1434" y="380"/>
                </a:cxn>
                <a:cxn ang="0">
                  <a:pos x="1532" y="408"/>
                </a:cxn>
                <a:cxn ang="0">
                  <a:pos x="1625" y="444"/>
                </a:cxn>
                <a:cxn ang="0">
                  <a:pos x="1713" y="491"/>
                </a:cxn>
                <a:cxn ang="0">
                  <a:pos x="1797" y="545"/>
                </a:cxn>
                <a:cxn ang="0">
                  <a:pos x="1875" y="606"/>
                </a:cxn>
                <a:cxn ang="0">
                  <a:pos x="1946" y="674"/>
                </a:cxn>
                <a:cxn ang="0">
                  <a:pos x="2010" y="749"/>
                </a:cxn>
                <a:cxn ang="0">
                  <a:pos x="2069" y="830"/>
                </a:cxn>
                <a:cxn ang="0">
                  <a:pos x="2390" y="683"/>
                </a:cxn>
                <a:cxn ang="0">
                  <a:pos x="2316" y="570"/>
                </a:cxn>
                <a:cxn ang="0">
                  <a:pos x="2234" y="468"/>
                </a:cxn>
                <a:cxn ang="0">
                  <a:pos x="2141" y="372"/>
                </a:cxn>
                <a:cxn ang="0">
                  <a:pos x="2039" y="287"/>
                </a:cxn>
                <a:cxn ang="0">
                  <a:pos x="1931" y="212"/>
                </a:cxn>
                <a:cxn ang="0">
                  <a:pos x="1814" y="146"/>
                </a:cxn>
                <a:cxn ang="0">
                  <a:pos x="1691" y="92"/>
                </a:cxn>
                <a:cxn ang="0">
                  <a:pos x="1562" y="50"/>
                </a:cxn>
                <a:cxn ang="0">
                  <a:pos x="1427" y="20"/>
                </a:cxn>
                <a:cxn ang="0">
                  <a:pos x="1289" y="3"/>
                </a:cxn>
                <a:cxn ang="0">
                  <a:pos x="1194" y="0"/>
                </a:cxn>
                <a:cxn ang="0">
                  <a:pos x="1053" y="8"/>
                </a:cxn>
                <a:cxn ang="0">
                  <a:pos x="916" y="29"/>
                </a:cxn>
                <a:cxn ang="0">
                  <a:pos x="784" y="62"/>
                </a:cxn>
                <a:cxn ang="0">
                  <a:pos x="657" y="108"/>
                </a:cxn>
                <a:cxn ang="0">
                  <a:pos x="537" y="165"/>
                </a:cxn>
                <a:cxn ang="0">
                  <a:pos x="423" y="234"/>
                </a:cxn>
                <a:cxn ang="0">
                  <a:pos x="316" y="312"/>
                </a:cxn>
                <a:cxn ang="0">
                  <a:pos x="217" y="401"/>
                </a:cxn>
                <a:cxn ang="0">
                  <a:pos x="127" y="498"/>
                </a:cxn>
                <a:cxn ang="0">
                  <a:pos x="48" y="603"/>
                </a:cxn>
                <a:cxn ang="0">
                  <a:pos x="304" y="854"/>
                </a:cxn>
                <a:cxn ang="0">
                  <a:pos x="340" y="798"/>
                </a:cxn>
                <a:cxn ang="0">
                  <a:pos x="400" y="720"/>
                </a:cxn>
                <a:cxn ang="0">
                  <a:pos x="468" y="648"/>
                </a:cxn>
                <a:cxn ang="0">
                  <a:pos x="540" y="582"/>
                </a:cxn>
                <a:cxn ang="0">
                  <a:pos x="619" y="524"/>
                </a:cxn>
                <a:cxn ang="0">
                  <a:pos x="705" y="473"/>
                </a:cxn>
                <a:cxn ang="0">
                  <a:pos x="795" y="431"/>
                </a:cxn>
                <a:cxn ang="0">
                  <a:pos x="889" y="396"/>
                </a:cxn>
                <a:cxn ang="0">
                  <a:pos x="987" y="372"/>
                </a:cxn>
                <a:cxn ang="0">
                  <a:pos x="1089" y="356"/>
                </a:cxn>
                <a:cxn ang="0">
                  <a:pos x="1194" y="351"/>
                </a:cxn>
              </a:cxnLst>
              <a:rect l="0" t="0" r="r" b="b"/>
              <a:pathLst>
                <a:path w="2390" h="858">
                  <a:moveTo>
                    <a:pt x="1194" y="351"/>
                  </a:moveTo>
                  <a:lnTo>
                    <a:pt x="1194" y="351"/>
                  </a:lnTo>
                  <a:lnTo>
                    <a:pt x="1229" y="351"/>
                  </a:lnTo>
                  <a:lnTo>
                    <a:pt x="1265" y="353"/>
                  </a:lnTo>
                  <a:lnTo>
                    <a:pt x="1299" y="356"/>
                  </a:lnTo>
                  <a:lnTo>
                    <a:pt x="1334" y="360"/>
                  </a:lnTo>
                  <a:lnTo>
                    <a:pt x="1367" y="366"/>
                  </a:lnTo>
                  <a:lnTo>
                    <a:pt x="1401" y="372"/>
                  </a:lnTo>
                  <a:lnTo>
                    <a:pt x="1434" y="380"/>
                  </a:lnTo>
                  <a:lnTo>
                    <a:pt x="1467" y="387"/>
                  </a:lnTo>
                  <a:lnTo>
                    <a:pt x="1500" y="398"/>
                  </a:lnTo>
                  <a:lnTo>
                    <a:pt x="1532" y="408"/>
                  </a:lnTo>
                  <a:lnTo>
                    <a:pt x="1563" y="419"/>
                  </a:lnTo>
                  <a:lnTo>
                    <a:pt x="1595" y="431"/>
                  </a:lnTo>
                  <a:lnTo>
                    <a:pt x="1625" y="444"/>
                  </a:lnTo>
                  <a:lnTo>
                    <a:pt x="1655" y="459"/>
                  </a:lnTo>
                  <a:lnTo>
                    <a:pt x="1685" y="474"/>
                  </a:lnTo>
                  <a:lnTo>
                    <a:pt x="1713" y="491"/>
                  </a:lnTo>
                  <a:lnTo>
                    <a:pt x="1742" y="507"/>
                  </a:lnTo>
                  <a:lnTo>
                    <a:pt x="1770" y="525"/>
                  </a:lnTo>
                  <a:lnTo>
                    <a:pt x="1797" y="545"/>
                  </a:lnTo>
                  <a:lnTo>
                    <a:pt x="1824" y="564"/>
                  </a:lnTo>
                  <a:lnTo>
                    <a:pt x="1850" y="585"/>
                  </a:lnTo>
                  <a:lnTo>
                    <a:pt x="1875" y="606"/>
                  </a:lnTo>
                  <a:lnTo>
                    <a:pt x="1899" y="627"/>
                  </a:lnTo>
                  <a:lnTo>
                    <a:pt x="1923" y="651"/>
                  </a:lnTo>
                  <a:lnTo>
                    <a:pt x="1946" y="674"/>
                  </a:lnTo>
                  <a:lnTo>
                    <a:pt x="1968" y="698"/>
                  </a:lnTo>
                  <a:lnTo>
                    <a:pt x="1991" y="723"/>
                  </a:lnTo>
                  <a:lnTo>
                    <a:pt x="2010" y="749"/>
                  </a:lnTo>
                  <a:lnTo>
                    <a:pt x="2031" y="776"/>
                  </a:lnTo>
                  <a:lnTo>
                    <a:pt x="2051" y="803"/>
                  </a:lnTo>
                  <a:lnTo>
                    <a:pt x="2069" y="830"/>
                  </a:lnTo>
                  <a:lnTo>
                    <a:pt x="2085" y="858"/>
                  </a:lnTo>
                  <a:lnTo>
                    <a:pt x="2390" y="683"/>
                  </a:lnTo>
                  <a:lnTo>
                    <a:pt x="2390" y="683"/>
                  </a:lnTo>
                  <a:lnTo>
                    <a:pt x="2367" y="644"/>
                  </a:lnTo>
                  <a:lnTo>
                    <a:pt x="2343" y="608"/>
                  </a:lnTo>
                  <a:lnTo>
                    <a:pt x="2316" y="570"/>
                  </a:lnTo>
                  <a:lnTo>
                    <a:pt x="2291" y="536"/>
                  </a:lnTo>
                  <a:lnTo>
                    <a:pt x="2262" y="501"/>
                  </a:lnTo>
                  <a:lnTo>
                    <a:pt x="2234" y="468"/>
                  </a:lnTo>
                  <a:lnTo>
                    <a:pt x="2204" y="435"/>
                  </a:lnTo>
                  <a:lnTo>
                    <a:pt x="2172" y="404"/>
                  </a:lnTo>
                  <a:lnTo>
                    <a:pt x="2141" y="372"/>
                  </a:lnTo>
                  <a:lnTo>
                    <a:pt x="2108" y="344"/>
                  </a:lnTo>
                  <a:lnTo>
                    <a:pt x="2075" y="315"/>
                  </a:lnTo>
                  <a:lnTo>
                    <a:pt x="2039" y="287"/>
                  </a:lnTo>
                  <a:lnTo>
                    <a:pt x="2004" y="261"/>
                  </a:lnTo>
                  <a:lnTo>
                    <a:pt x="1967" y="236"/>
                  </a:lnTo>
                  <a:lnTo>
                    <a:pt x="1931" y="212"/>
                  </a:lnTo>
                  <a:lnTo>
                    <a:pt x="1892" y="188"/>
                  </a:lnTo>
                  <a:lnTo>
                    <a:pt x="1853" y="167"/>
                  </a:lnTo>
                  <a:lnTo>
                    <a:pt x="1814" y="146"/>
                  </a:lnTo>
                  <a:lnTo>
                    <a:pt x="1773" y="126"/>
                  </a:lnTo>
                  <a:lnTo>
                    <a:pt x="1733" y="108"/>
                  </a:lnTo>
                  <a:lnTo>
                    <a:pt x="1691" y="92"/>
                  </a:lnTo>
                  <a:lnTo>
                    <a:pt x="1649" y="77"/>
                  </a:lnTo>
                  <a:lnTo>
                    <a:pt x="1605" y="62"/>
                  </a:lnTo>
                  <a:lnTo>
                    <a:pt x="1562" y="50"/>
                  </a:lnTo>
                  <a:lnTo>
                    <a:pt x="1517" y="38"/>
                  </a:lnTo>
                  <a:lnTo>
                    <a:pt x="1473" y="29"/>
                  </a:lnTo>
                  <a:lnTo>
                    <a:pt x="1427" y="20"/>
                  </a:lnTo>
                  <a:lnTo>
                    <a:pt x="1382" y="14"/>
                  </a:lnTo>
                  <a:lnTo>
                    <a:pt x="1335" y="8"/>
                  </a:lnTo>
                  <a:lnTo>
                    <a:pt x="1289" y="3"/>
                  </a:lnTo>
                  <a:lnTo>
                    <a:pt x="1241" y="2"/>
                  </a:lnTo>
                  <a:lnTo>
                    <a:pt x="1194" y="0"/>
                  </a:lnTo>
                  <a:lnTo>
                    <a:pt x="1194" y="0"/>
                  </a:lnTo>
                  <a:lnTo>
                    <a:pt x="1146" y="2"/>
                  </a:lnTo>
                  <a:lnTo>
                    <a:pt x="1099" y="3"/>
                  </a:lnTo>
                  <a:lnTo>
                    <a:pt x="1053" y="8"/>
                  </a:lnTo>
                  <a:lnTo>
                    <a:pt x="1006" y="12"/>
                  </a:lnTo>
                  <a:lnTo>
                    <a:pt x="961" y="20"/>
                  </a:lnTo>
                  <a:lnTo>
                    <a:pt x="916" y="29"/>
                  </a:lnTo>
                  <a:lnTo>
                    <a:pt x="871" y="38"/>
                  </a:lnTo>
                  <a:lnTo>
                    <a:pt x="828" y="50"/>
                  </a:lnTo>
                  <a:lnTo>
                    <a:pt x="784" y="62"/>
                  </a:lnTo>
                  <a:lnTo>
                    <a:pt x="741" y="75"/>
                  </a:lnTo>
                  <a:lnTo>
                    <a:pt x="699" y="92"/>
                  </a:lnTo>
                  <a:lnTo>
                    <a:pt x="657" y="108"/>
                  </a:lnTo>
                  <a:lnTo>
                    <a:pt x="616" y="126"/>
                  </a:lnTo>
                  <a:lnTo>
                    <a:pt x="576" y="144"/>
                  </a:lnTo>
                  <a:lnTo>
                    <a:pt x="537" y="165"/>
                  </a:lnTo>
                  <a:lnTo>
                    <a:pt x="498" y="186"/>
                  </a:lnTo>
                  <a:lnTo>
                    <a:pt x="460" y="210"/>
                  </a:lnTo>
                  <a:lnTo>
                    <a:pt x="423" y="234"/>
                  </a:lnTo>
                  <a:lnTo>
                    <a:pt x="385" y="258"/>
                  </a:lnTo>
                  <a:lnTo>
                    <a:pt x="351" y="285"/>
                  </a:lnTo>
                  <a:lnTo>
                    <a:pt x="316" y="312"/>
                  </a:lnTo>
                  <a:lnTo>
                    <a:pt x="282" y="341"/>
                  </a:lnTo>
                  <a:lnTo>
                    <a:pt x="249" y="371"/>
                  </a:lnTo>
                  <a:lnTo>
                    <a:pt x="217" y="401"/>
                  </a:lnTo>
                  <a:lnTo>
                    <a:pt x="186" y="432"/>
                  </a:lnTo>
                  <a:lnTo>
                    <a:pt x="157" y="464"/>
                  </a:lnTo>
                  <a:lnTo>
                    <a:pt x="127" y="498"/>
                  </a:lnTo>
                  <a:lnTo>
                    <a:pt x="100" y="531"/>
                  </a:lnTo>
                  <a:lnTo>
                    <a:pt x="73" y="567"/>
                  </a:lnTo>
                  <a:lnTo>
                    <a:pt x="48" y="603"/>
                  </a:lnTo>
                  <a:lnTo>
                    <a:pt x="24" y="639"/>
                  </a:lnTo>
                  <a:lnTo>
                    <a:pt x="0" y="677"/>
                  </a:lnTo>
                  <a:lnTo>
                    <a:pt x="304" y="854"/>
                  </a:lnTo>
                  <a:lnTo>
                    <a:pt x="304" y="854"/>
                  </a:lnTo>
                  <a:lnTo>
                    <a:pt x="322" y="825"/>
                  </a:lnTo>
                  <a:lnTo>
                    <a:pt x="340" y="798"/>
                  </a:lnTo>
                  <a:lnTo>
                    <a:pt x="360" y="771"/>
                  </a:lnTo>
                  <a:lnTo>
                    <a:pt x="379" y="746"/>
                  </a:lnTo>
                  <a:lnTo>
                    <a:pt x="400" y="720"/>
                  </a:lnTo>
                  <a:lnTo>
                    <a:pt x="421" y="695"/>
                  </a:lnTo>
                  <a:lnTo>
                    <a:pt x="444" y="671"/>
                  </a:lnTo>
                  <a:lnTo>
                    <a:pt x="468" y="648"/>
                  </a:lnTo>
                  <a:lnTo>
                    <a:pt x="490" y="626"/>
                  </a:lnTo>
                  <a:lnTo>
                    <a:pt x="516" y="603"/>
                  </a:lnTo>
                  <a:lnTo>
                    <a:pt x="540" y="582"/>
                  </a:lnTo>
                  <a:lnTo>
                    <a:pt x="567" y="563"/>
                  </a:lnTo>
                  <a:lnTo>
                    <a:pt x="592" y="543"/>
                  </a:lnTo>
                  <a:lnTo>
                    <a:pt x="619" y="524"/>
                  </a:lnTo>
                  <a:lnTo>
                    <a:pt x="648" y="506"/>
                  </a:lnTo>
                  <a:lnTo>
                    <a:pt x="676" y="489"/>
                  </a:lnTo>
                  <a:lnTo>
                    <a:pt x="705" y="473"/>
                  </a:lnTo>
                  <a:lnTo>
                    <a:pt x="735" y="458"/>
                  </a:lnTo>
                  <a:lnTo>
                    <a:pt x="765" y="444"/>
                  </a:lnTo>
                  <a:lnTo>
                    <a:pt x="795" y="431"/>
                  </a:lnTo>
                  <a:lnTo>
                    <a:pt x="826" y="419"/>
                  </a:lnTo>
                  <a:lnTo>
                    <a:pt x="856" y="407"/>
                  </a:lnTo>
                  <a:lnTo>
                    <a:pt x="889" y="396"/>
                  </a:lnTo>
                  <a:lnTo>
                    <a:pt x="921" y="387"/>
                  </a:lnTo>
                  <a:lnTo>
                    <a:pt x="954" y="378"/>
                  </a:lnTo>
                  <a:lnTo>
                    <a:pt x="987" y="372"/>
                  </a:lnTo>
                  <a:lnTo>
                    <a:pt x="1021" y="365"/>
                  </a:lnTo>
                  <a:lnTo>
                    <a:pt x="1054" y="360"/>
                  </a:lnTo>
                  <a:lnTo>
                    <a:pt x="1089" y="356"/>
                  </a:lnTo>
                  <a:lnTo>
                    <a:pt x="1123" y="353"/>
                  </a:lnTo>
                  <a:lnTo>
                    <a:pt x="1158" y="351"/>
                  </a:lnTo>
                  <a:lnTo>
                    <a:pt x="1194" y="351"/>
                  </a:lnTo>
                  <a:lnTo>
                    <a:pt x="1194" y="351"/>
                  </a:lnTo>
                  <a:close/>
                </a:path>
              </a:pathLst>
            </a:custGeom>
            <a:pattFill prst="wdUpDiag">
              <a:fgClr>
                <a:schemeClr val="accent1">
                  <a:lumMod val="20000"/>
                  <a:lumOff val="80000"/>
                </a:schemeClr>
              </a:fgClr>
              <a:bgClr>
                <a:schemeClr val="bg1"/>
              </a:bgClr>
            </a:patt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6" name="Freeform 7">
              <a:extLst>
                <a:ext uri="{FF2B5EF4-FFF2-40B4-BE49-F238E27FC236}">
                  <a16:creationId xmlns:a16="http://schemas.microsoft.com/office/drawing/2014/main" id="{A6F61340-C31F-474E-B34A-D3C0A15FFCF1}"/>
                </a:ext>
              </a:extLst>
            </p:cNvPr>
            <p:cNvSpPr>
              <a:spLocks/>
            </p:cNvSpPr>
            <p:nvPr/>
          </p:nvSpPr>
          <p:spPr bwMode="auto">
            <a:xfrm>
              <a:off x="3216276" y="2293938"/>
              <a:ext cx="2713038" cy="1050925"/>
            </a:xfrm>
            <a:custGeom>
              <a:avLst/>
              <a:gdLst/>
              <a:ahLst/>
              <a:cxnLst>
                <a:cxn ang="0">
                  <a:pos x="854" y="0"/>
                </a:cxn>
                <a:cxn ang="0">
                  <a:pos x="786" y="2"/>
                </a:cxn>
                <a:cxn ang="0">
                  <a:pos x="720" y="9"/>
                </a:cxn>
                <a:cxn ang="0">
                  <a:pos x="656" y="20"/>
                </a:cxn>
                <a:cxn ang="0">
                  <a:pos x="593" y="35"/>
                </a:cxn>
                <a:cxn ang="0">
                  <a:pos x="531" y="54"/>
                </a:cxn>
                <a:cxn ang="0">
                  <a:pos x="471" y="77"/>
                </a:cxn>
                <a:cxn ang="0">
                  <a:pos x="413" y="102"/>
                </a:cxn>
                <a:cxn ang="0">
                  <a:pos x="357" y="132"/>
                </a:cxn>
                <a:cxn ang="0">
                  <a:pos x="303" y="165"/>
                </a:cxn>
                <a:cxn ang="0">
                  <a:pos x="252" y="203"/>
                </a:cxn>
                <a:cxn ang="0">
                  <a:pos x="203" y="242"/>
                </a:cxn>
                <a:cxn ang="0">
                  <a:pos x="156" y="284"/>
                </a:cxn>
                <a:cxn ang="0">
                  <a:pos x="113" y="330"/>
                </a:cxn>
                <a:cxn ang="0">
                  <a:pos x="72" y="378"/>
                </a:cxn>
                <a:cxn ang="0">
                  <a:pos x="35" y="428"/>
                </a:cxn>
                <a:cxn ang="0">
                  <a:pos x="0" y="482"/>
                </a:cxn>
                <a:cxn ang="0">
                  <a:pos x="305" y="657"/>
                </a:cxn>
                <a:cxn ang="0">
                  <a:pos x="351" y="591"/>
                </a:cxn>
                <a:cxn ang="0">
                  <a:pos x="407" y="533"/>
                </a:cxn>
                <a:cxn ang="0">
                  <a:pos x="468" y="480"/>
                </a:cxn>
                <a:cxn ang="0">
                  <a:pos x="536" y="437"/>
                </a:cxn>
                <a:cxn ang="0">
                  <a:pos x="608" y="401"/>
                </a:cxn>
                <a:cxn ang="0">
                  <a:pos x="686" y="374"/>
                </a:cxn>
                <a:cxn ang="0">
                  <a:pos x="768" y="357"/>
                </a:cxn>
                <a:cxn ang="0">
                  <a:pos x="854" y="353"/>
                </a:cxn>
                <a:cxn ang="0">
                  <a:pos x="898" y="354"/>
                </a:cxn>
                <a:cxn ang="0">
                  <a:pos x="982" y="365"/>
                </a:cxn>
                <a:cxn ang="0">
                  <a:pos x="1063" y="387"/>
                </a:cxn>
                <a:cxn ang="0">
                  <a:pos x="1138" y="419"/>
                </a:cxn>
                <a:cxn ang="0">
                  <a:pos x="1210" y="459"/>
                </a:cxn>
                <a:cxn ang="0">
                  <a:pos x="1274" y="507"/>
                </a:cxn>
                <a:cxn ang="0">
                  <a:pos x="1333" y="564"/>
                </a:cxn>
                <a:cxn ang="0">
                  <a:pos x="1382" y="627"/>
                </a:cxn>
                <a:cxn ang="0">
                  <a:pos x="1709" y="486"/>
                </a:cxn>
                <a:cxn ang="0">
                  <a:pos x="1693" y="459"/>
                </a:cxn>
                <a:cxn ang="0">
                  <a:pos x="1657" y="407"/>
                </a:cxn>
                <a:cxn ang="0">
                  <a:pos x="1618" y="357"/>
                </a:cxn>
                <a:cxn ang="0">
                  <a:pos x="1576" y="309"/>
                </a:cxn>
                <a:cxn ang="0">
                  <a:pos x="1531" y="266"/>
                </a:cxn>
                <a:cxn ang="0">
                  <a:pos x="1483" y="224"/>
                </a:cxn>
                <a:cxn ang="0">
                  <a:pos x="1432" y="186"/>
                </a:cxn>
                <a:cxn ang="0">
                  <a:pos x="1379" y="150"/>
                </a:cxn>
                <a:cxn ang="0">
                  <a:pos x="1325" y="119"/>
                </a:cxn>
                <a:cxn ang="0">
                  <a:pos x="1267" y="90"/>
                </a:cxn>
                <a:cxn ang="0">
                  <a:pos x="1208" y="65"/>
                </a:cxn>
                <a:cxn ang="0">
                  <a:pos x="1147" y="44"/>
                </a:cxn>
                <a:cxn ang="0">
                  <a:pos x="1085" y="27"/>
                </a:cxn>
                <a:cxn ang="0">
                  <a:pos x="1021" y="14"/>
                </a:cxn>
                <a:cxn ang="0">
                  <a:pos x="955" y="5"/>
                </a:cxn>
                <a:cxn ang="0">
                  <a:pos x="887" y="0"/>
                </a:cxn>
                <a:cxn ang="0">
                  <a:pos x="854" y="0"/>
                </a:cxn>
              </a:cxnLst>
              <a:rect l="0" t="0" r="r" b="b"/>
              <a:pathLst>
                <a:path w="1709" h="662">
                  <a:moveTo>
                    <a:pt x="854" y="0"/>
                  </a:moveTo>
                  <a:lnTo>
                    <a:pt x="854" y="0"/>
                  </a:lnTo>
                  <a:lnTo>
                    <a:pt x="819" y="0"/>
                  </a:lnTo>
                  <a:lnTo>
                    <a:pt x="786" y="2"/>
                  </a:lnTo>
                  <a:lnTo>
                    <a:pt x="753" y="5"/>
                  </a:lnTo>
                  <a:lnTo>
                    <a:pt x="720" y="9"/>
                  </a:lnTo>
                  <a:lnTo>
                    <a:pt x="687" y="14"/>
                  </a:lnTo>
                  <a:lnTo>
                    <a:pt x="656" y="20"/>
                  </a:lnTo>
                  <a:lnTo>
                    <a:pt x="624" y="27"/>
                  </a:lnTo>
                  <a:lnTo>
                    <a:pt x="593" y="35"/>
                  </a:lnTo>
                  <a:lnTo>
                    <a:pt x="561" y="44"/>
                  </a:lnTo>
                  <a:lnTo>
                    <a:pt x="531" y="54"/>
                  </a:lnTo>
                  <a:lnTo>
                    <a:pt x="501" y="65"/>
                  </a:lnTo>
                  <a:lnTo>
                    <a:pt x="471" y="77"/>
                  </a:lnTo>
                  <a:lnTo>
                    <a:pt x="441" y="89"/>
                  </a:lnTo>
                  <a:lnTo>
                    <a:pt x="413" y="102"/>
                  </a:lnTo>
                  <a:lnTo>
                    <a:pt x="384" y="117"/>
                  </a:lnTo>
                  <a:lnTo>
                    <a:pt x="357" y="132"/>
                  </a:lnTo>
                  <a:lnTo>
                    <a:pt x="330" y="149"/>
                  </a:lnTo>
                  <a:lnTo>
                    <a:pt x="303" y="165"/>
                  </a:lnTo>
                  <a:lnTo>
                    <a:pt x="278" y="183"/>
                  </a:lnTo>
                  <a:lnTo>
                    <a:pt x="252" y="203"/>
                  </a:lnTo>
                  <a:lnTo>
                    <a:pt x="227" y="222"/>
                  </a:lnTo>
                  <a:lnTo>
                    <a:pt x="203" y="242"/>
                  </a:lnTo>
                  <a:lnTo>
                    <a:pt x="180" y="263"/>
                  </a:lnTo>
                  <a:lnTo>
                    <a:pt x="156" y="284"/>
                  </a:lnTo>
                  <a:lnTo>
                    <a:pt x="135" y="306"/>
                  </a:lnTo>
                  <a:lnTo>
                    <a:pt x="113" y="330"/>
                  </a:lnTo>
                  <a:lnTo>
                    <a:pt x="93" y="353"/>
                  </a:lnTo>
                  <a:lnTo>
                    <a:pt x="72" y="378"/>
                  </a:lnTo>
                  <a:lnTo>
                    <a:pt x="53" y="402"/>
                  </a:lnTo>
                  <a:lnTo>
                    <a:pt x="35" y="428"/>
                  </a:lnTo>
                  <a:lnTo>
                    <a:pt x="17" y="455"/>
                  </a:lnTo>
                  <a:lnTo>
                    <a:pt x="0" y="482"/>
                  </a:lnTo>
                  <a:lnTo>
                    <a:pt x="305" y="657"/>
                  </a:lnTo>
                  <a:lnTo>
                    <a:pt x="305" y="657"/>
                  </a:lnTo>
                  <a:lnTo>
                    <a:pt x="327" y="623"/>
                  </a:lnTo>
                  <a:lnTo>
                    <a:pt x="351" y="591"/>
                  </a:lnTo>
                  <a:lnTo>
                    <a:pt x="378" y="561"/>
                  </a:lnTo>
                  <a:lnTo>
                    <a:pt x="407" y="533"/>
                  </a:lnTo>
                  <a:lnTo>
                    <a:pt x="437" y="506"/>
                  </a:lnTo>
                  <a:lnTo>
                    <a:pt x="468" y="480"/>
                  </a:lnTo>
                  <a:lnTo>
                    <a:pt x="501" y="458"/>
                  </a:lnTo>
                  <a:lnTo>
                    <a:pt x="536" y="437"/>
                  </a:lnTo>
                  <a:lnTo>
                    <a:pt x="572" y="417"/>
                  </a:lnTo>
                  <a:lnTo>
                    <a:pt x="608" y="401"/>
                  </a:lnTo>
                  <a:lnTo>
                    <a:pt x="647" y="386"/>
                  </a:lnTo>
                  <a:lnTo>
                    <a:pt x="686" y="374"/>
                  </a:lnTo>
                  <a:lnTo>
                    <a:pt x="726" y="365"/>
                  </a:lnTo>
                  <a:lnTo>
                    <a:pt x="768" y="357"/>
                  </a:lnTo>
                  <a:lnTo>
                    <a:pt x="810" y="354"/>
                  </a:lnTo>
                  <a:lnTo>
                    <a:pt x="854" y="353"/>
                  </a:lnTo>
                  <a:lnTo>
                    <a:pt x="854" y="353"/>
                  </a:lnTo>
                  <a:lnTo>
                    <a:pt x="898" y="354"/>
                  </a:lnTo>
                  <a:lnTo>
                    <a:pt x="940" y="357"/>
                  </a:lnTo>
                  <a:lnTo>
                    <a:pt x="982" y="365"/>
                  </a:lnTo>
                  <a:lnTo>
                    <a:pt x="1022" y="375"/>
                  </a:lnTo>
                  <a:lnTo>
                    <a:pt x="1063" y="387"/>
                  </a:lnTo>
                  <a:lnTo>
                    <a:pt x="1100" y="401"/>
                  </a:lnTo>
                  <a:lnTo>
                    <a:pt x="1138" y="419"/>
                  </a:lnTo>
                  <a:lnTo>
                    <a:pt x="1174" y="437"/>
                  </a:lnTo>
                  <a:lnTo>
                    <a:pt x="1210" y="459"/>
                  </a:lnTo>
                  <a:lnTo>
                    <a:pt x="1243" y="482"/>
                  </a:lnTo>
                  <a:lnTo>
                    <a:pt x="1274" y="507"/>
                  </a:lnTo>
                  <a:lnTo>
                    <a:pt x="1304" y="534"/>
                  </a:lnTo>
                  <a:lnTo>
                    <a:pt x="1333" y="564"/>
                  </a:lnTo>
                  <a:lnTo>
                    <a:pt x="1358" y="594"/>
                  </a:lnTo>
                  <a:lnTo>
                    <a:pt x="1382" y="627"/>
                  </a:lnTo>
                  <a:lnTo>
                    <a:pt x="1405" y="662"/>
                  </a:lnTo>
                  <a:lnTo>
                    <a:pt x="1709" y="486"/>
                  </a:lnTo>
                  <a:lnTo>
                    <a:pt x="1709" y="486"/>
                  </a:lnTo>
                  <a:lnTo>
                    <a:pt x="1693" y="459"/>
                  </a:lnTo>
                  <a:lnTo>
                    <a:pt x="1675" y="432"/>
                  </a:lnTo>
                  <a:lnTo>
                    <a:pt x="1657" y="407"/>
                  </a:lnTo>
                  <a:lnTo>
                    <a:pt x="1637" y="381"/>
                  </a:lnTo>
                  <a:lnTo>
                    <a:pt x="1618" y="357"/>
                  </a:lnTo>
                  <a:lnTo>
                    <a:pt x="1597" y="333"/>
                  </a:lnTo>
                  <a:lnTo>
                    <a:pt x="1576" y="309"/>
                  </a:lnTo>
                  <a:lnTo>
                    <a:pt x="1553" y="287"/>
                  </a:lnTo>
                  <a:lnTo>
                    <a:pt x="1531" y="266"/>
                  </a:lnTo>
                  <a:lnTo>
                    <a:pt x="1507" y="245"/>
                  </a:lnTo>
                  <a:lnTo>
                    <a:pt x="1483" y="224"/>
                  </a:lnTo>
                  <a:lnTo>
                    <a:pt x="1457" y="204"/>
                  </a:lnTo>
                  <a:lnTo>
                    <a:pt x="1432" y="186"/>
                  </a:lnTo>
                  <a:lnTo>
                    <a:pt x="1406" y="168"/>
                  </a:lnTo>
                  <a:lnTo>
                    <a:pt x="1379" y="150"/>
                  </a:lnTo>
                  <a:lnTo>
                    <a:pt x="1352" y="134"/>
                  </a:lnTo>
                  <a:lnTo>
                    <a:pt x="1325" y="119"/>
                  </a:lnTo>
                  <a:lnTo>
                    <a:pt x="1297" y="104"/>
                  </a:lnTo>
                  <a:lnTo>
                    <a:pt x="1267" y="90"/>
                  </a:lnTo>
                  <a:lnTo>
                    <a:pt x="1238" y="77"/>
                  </a:lnTo>
                  <a:lnTo>
                    <a:pt x="1208" y="65"/>
                  </a:lnTo>
                  <a:lnTo>
                    <a:pt x="1178" y="54"/>
                  </a:lnTo>
                  <a:lnTo>
                    <a:pt x="1147" y="44"/>
                  </a:lnTo>
                  <a:lnTo>
                    <a:pt x="1117" y="35"/>
                  </a:lnTo>
                  <a:lnTo>
                    <a:pt x="1085" y="27"/>
                  </a:lnTo>
                  <a:lnTo>
                    <a:pt x="1052" y="20"/>
                  </a:lnTo>
                  <a:lnTo>
                    <a:pt x="1021" y="14"/>
                  </a:lnTo>
                  <a:lnTo>
                    <a:pt x="988" y="9"/>
                  </a:lnTo>
                  <a:lnTo>
                    <a:pt x="955" y="5"/>
                  </a:lnTo>
                  <a:lnTo>
                    <a:pt x="922" y="2"/>
                  </a:lnTo>
                  <a:lnTo>
                    <a:pt x="887" y="0"/>
                  </a:lnTo>
                  <a:lnTo>
                    <a:pt x="854" y="0"/>
                  </a:lnTo>
                  <a:lnTo>
                    <a:pt x="854"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7" name="Freeform 8">
              <a:extLst>
                <a:ext uri="{FF2B5EF4-FFF2-40B4-BE49-F238E27FC236}">
                  <a16:creationId xmlns:a16="http://schemas.microsoft.com/office/drawing/2014/main" id="{B82DAD29-5F0A-43D9-8A4A-88C2B43F8DE9}"/>
                </a:ext>
              </a:extLst>
            </p:cNvPr>
            <p:cNvSpPr>
              <a:spLocks/>
            </p:cNvSpPr>
            <p:nvPr/>
          </p:nvSpPr>
          <p:spPr bwMode="auto">
            <a:xfrm>
              <a:off x="2363788" y="2803525"/>
              <a:ext cx="2176463" cy="3282950"/>
            </a:xfrm>
            <a:custGeom>
              <a:avLst/>
              <a:gdLst/>
              <a:ahLst/>
              <a:cxnLst>
                <a:cxn ang="0">
                  <a:pos x="1371" y="1715"/>
                </a:cxn>
                <a:cxn ang="0">
                  <a:pos x="1266" y="1708"/>
                </a:cxn>
                <a:cxn ang="0">
                  <a:pos x="1166" y="1691"/>
                </a:cxn>
                <a:cxn ang="0">
                  <a:pos x="1067" y="1664"/>
                </a:cxn>
                <a:cxn ang="0">
                  <a:pos x="974" y="1628"/>
                </a:cxn>
                <a:cxn ang="0">
                  <a:pos x="885" y="1583"/>
                </a:cxn>
                <a:cxn ang="0">
                  <a:pos x="801" y="1531"/>
                </a:cxn>
                <a:cxn ang="0">
                  <a:pos x="722" y="1471"/>
                </a:cxn>
                <a:cxn ang="0">
                  <a:pos x="650" y="1405"/>
                </a:cxn>
                <a:cxn ang="0">
                  <a:pos x="584" y="1331"/>
                </a:cxn>
                <a:cxn ang="0">
                  <a:pos x="525" y="1252"/>
                </a:cxn>
                <a:cxn ang="0">
                  <a:pos x="474" y="1166"/>
                </a:cxn>
                <a:cxn ang="0">
                  <a:pos x="431" y="1076"/>
                </a:cxn>
                <a:cxn ang="0">
                  <a:pos x="398" y="982"/>
                </a:cxn>
                <a:cxn ang="0">
                  <a:pos x="372" y="883"/>
                </a:cxn>
                <a:cxn ang="0">
                  <a:pos x="357" y="781"/>
                </a:cxn>
                <a:cxn ang="0">
                  <a:pos x="351" y="677"/>
                </a:cxn>
                <a:cxn ang="0">
                  <a:pos x="351" y="642"/>
                </a:cxn>
                <a:cxn ang="0">
                  <a:pos x="356" y="575"/>
                </a:cxn>
                <a:cxn ang="0">
                  <a:pos x="365" y="510"/>
                </a:cxn>
                <a:cxn ang="0">
                  <a:pos x="377" y="446"/>
                </a:cxn>
                <a:cxn ang="0">
                  <a:pos x="393" y="383"/>
                </a:cxn>
                <a:cxn ang="0">
                  <a:pos x="414" y="321"/>
                </a:cxn>
                <a:cxn ang="0">
                  <a:pos x="438" y="261"/>
                </a:cxn>
                <a:cxn ang="0">
                  <a:pos x="465" y="204"/>
                </a:cxn>
                <a:cxn ang="0">
                  <a:pos x="176" y="0"/>
                </a:cxn>
                <a:cxn ang="0">
                  <a:pos x="155" y="38"/>
                </a:cxn>
                <a:cxn ang="0">
                  <a:pos x="117" y="116"/>
                </a:cxn>
                <a:cxn ang="0">
                  <a:pos x="84" y="197"/>
                </a:cxn>
                <a:cxn ang="0">
                  <a:pos x="57" y="279"/>
                </a:cxn>
                <a:cxn ang="0">
                  <a:pos x="35" y="365"/>
                </a:cxn>
                <a:cxn ang="0">
                  <a:pos x="18" y="452"/>
                </a:cxn>
                <a:cxn ang="0">
                  <a:pos x="6" y="540"/>
                </a:cxn>
                <a:cxn ang="0">
                  <a:pos x="0" y="632"/>
                </a:cxn>
                <a:cxn ang="0">
                  <a:pos x="0" y="677"/>
                </a:cxn>
                <a:cxn ang="0">
                  <a:pos x="6" y="818"/>
                </a:cxn>
                <a:cxn ang="0">
                  <a:pos x="27" y="956"/>
                </a:cxn>
                <a:cxn ang="0">
                  <a:pos x="62" y="1088"/>
                </a:cxn>
                <a:cxn ang="0">
                  <a:pos x="107" y="1216"/>
                </a:cxn>
                <a:cxn ang="0">
                  <a:pos x="165" y="1336"/>
                </a:cxn>
                <a:cxn ang="0">
                  <a:pos x="233" y="1450"/>
                </a:cxn>
                <a:cxn ang="0">
                  <a:pos x="312" y="1556"/>
                </a:cxn>
                <a:cxn ang="0">
                  <a:pos x="401" y="1655"/>
                </a:cxn>
                <a:cxn ang="0">
                  <a:pos x="498" y="1745"/>
                </a:cxn>
                <a:cxn ang="0">
                  <a:pos x="603" y="1825"/>
                </a:cxn>
                <a:cxn ang="0">
                  <a:pos x="717" y="1895"/>
                </a:cxn>
                <a:cxn ang="0">
                  <a:pos x="836" y="1954"/>
                </a:cxn>
                <a:cxn ang="0">
                  <a:pos x="963" y="2002"/>
                </a:cxn>
                <a:cxn ang="0">
                  <a:pos x="1094" y="2036"/>
                </a:cxn>
                <a:cxn ang="0">
                  <a:pos x="1230" y="2060"/>
                </a:cxn>
                <a:cxn ang="0">
                  <a:pos x="1371" y="2068"/>
                </a:cxn>
              </a:cxnLst>
              <a:rect l="0" t="0" r="r" b="b"/>
              <a:pathLst>
                <a:path w="1371" h="2068">
                  <a:moveTo>
                    <a:pt x="1371" y="1715"/>
                  </a:moveTo>
                  <a:lnTo>
                    <a:pt x="1371" y="1715"/>
                  </a:lnTo>
                  <a:lnTo>
                    <a:pt x="1319" y="1714"/>
                  </a:lnTo>
                  <a:lnTo>
                    <a:pt x="1266" y="1708"/>
                  </a:lnTo>
                  <a:lnTo>
                    <a:pt x="1215" y="1700"/>
                  </a:lnTo>
                  <a:lnTo>
                    <a:pt x="1166" y="1691"/>
                  </a:lnTo>
                  <a:lnTo>
                    <a:pt x="1116" y="1679"/>
                  </a:lnTo>
                  <a:lnTo>
                    <a:pt x="1067" y="1664"/>
                  </a:lnTo>
                  <a:lnTo>
                    <a:pt x="1020" y="1648"/>
                  </a:lnTo>
                  <a:lnTo>
                    <a:pt x="974" y="1628"/>
                  </a:lnTo>
                  <a:lnTo>
                    <a:pt x="929" y="1607"/>
                  </a:lnTo>
                  <a:lnTo>
                    <a:pt x="885" y="1583"/>
                  </a:lnTo>
                  <a:lnTo>
                    <a:pt x="842" y="1559"/>
                  </a:lnTo>
                  <a:lnTo>
                    <a:pt x="801" y="1531"/>
                  </a:lnTo>
                  <a:lnTo>
                    <a:pt x="761" y="1502"/>
                  </a:lnTo>
                  <a:lnTo>
                    <a:pt x="722" y="1471"/>
                  </a:lnTo>
                  <a:lnTo>
                    <a:pt x="686" y="1439"/>
                  </a:lnTo>
                  <a:lnTo>
                    <a:pt x="650" y="1405"/>
                  </a:lnTo>
                  <a:lnTo>
                    <a:pt x="615" y="1369"/>
                  </a:lnTo>
                  <a:lnTo>
                    <a:pt x="584" y="1331"/>
                  </a:lnTo>
                  <a:lnTo>
                    <a:pt x="554" y="1292"/>
                  </a:lnTo>
                  <a:lnTo>
                    <a:pt x="525" y="1252"/>
                  </a:lnTo>
                  <a:lnTo>
                    <a:pt x="498" y="1210"/>
                  </a:lnTo>
                  <a:lnTo>
                    <a:pt x="474" y="1166"/>
                  </a:lnTo>
                  <a:lnTo>
                    <a:pt x="452" y="1123"/>
                  </a:lnTo>
                  <a:lnTo>
                    <a:pt x="431" y="1076"/>
                  </a:lnTo>
                  <a:lnTo>
                    <a:pt x="413" y="1030"/>
                  </a:lnTo>
                  <a:lnTo>
                    <a:pt x="398" y="982"/>
                  </a:lnTo>
                  <a:lnTo>
                    <a:pt x="383" y="934"/>
                  </a:lnTo>
                  <a:lnTo>
                    <a:pt x="372" y="883"/>
                  </a:lnTo>
                  <a:lnTo>
                    <a:pt x="363" y="833"/>
                  </a:lnTo>
                  <a:lnTo>
                    <a:pt x="357" y="781"/>
                  </a:lnTo>
                  <a:lnTo>
                    <a:pt x="353" y="730"/>
                  </a:lnTo>
                  <a:lnTo>
                    <a:pt x="351" y="677"/>
                  </a:lnTo>
                  <a:lnTo>
                    <a:pt x="351" y="677"/>
                  </a:lnTo>
                  <a:lnTo>
                    <a:pt x="351" y="642"/>
                  </a:lnTo>
                  <a:lnTo>
                    <a:pt x="354" y="609"/>
                  </a:lnTo>
                  <a:lnTo>
                    <a:pt x="356" y="575"/>
                  </a:lnTo>
                  <a:lnTo>
                    <a:pt x="360" y="542"/>
                  </a:lnTo>
                  <a:lnTo>
                    <a:pt x="365" y="510"/>
                  </a:lnTo>
                  <a:lnTo>
                    <a:pt x="371" y="477"/>
                  </a:lnTo>
                  <a:lnTo>
                    <a:pt x="377" y="446"/>
                  </a:lnTo>
                  <a:lnTo>
                    <a:pt x="384" y="414"/>
                  </a:lnTo>
                  <a:lnTo>
                    <a:pt x="393" y="383"/>
                  </a:lnTo>
                  <a:lnTo>
                    <a:pt x="404" y="351"/>
                  </a:lnTo>
                  <a:lnTo>
                    <a:pt x="414" y="321"/>
                  </a:lnTo>
                  <a:lnTo>
                    <a:pt x="425" y="291"/>
                  </a:lnTo>
                  <a:lnTo>
                    <a:pt x="438" y="261"/>
                  </a:lnTo>
                  <a:lnTo>
                    <a:pt x="450" y="233"/>
                  </a:lnTo>
                  <a:lnTo>
                    <a:pt x="465" y="204"/>
                  </a:lnTo>
                  <a:lnTo>
                    <a:pt x="480" y="176"/>
                  </a:lnTo>
                  <a:lnTo>
                    <a:pt x="176" y="0"/>
                  </a:lnTo>
                  <a:lnTo>
                    <a:pt x="176" y="0"/>
                  </a:lnTo>
                  <a:lnTo>
                    <a:pt x="155" y="38"/>
                  </a:lnTo>
                  <a:lnTo>
                    <a:pt x="135" y="77"/>
                  </a:lnTo>
                  <a:lnTo>
                    <a:pt x="117" y="116"/>
                  </a:lnTo>
                  <a:lnTo>
                    <a:pt x="101" y="156"/>
                  </a:lnTo>
                  <a:lnTo>
                    <a:pt x="84" y="197"/>
                  </a:lnTo>
                  <a:lnTo>
                    <a:pt x="71" y="237"/>
                  </a:lnTo>
                  <a:lnTo>
                    <a:pt x="57" y="279"/>
                  </a:lnTo>
                  <a:lnTo>
                    <a:pt x="45" y="321"/>
                  </a:lnTo>
                  <a:lnTo>
                    <a:pt x="35" y="365"/>
                  </a:lnTo>
                  <a:lnTo>
                    <a:pt x="26" y="408"/>
                  </a:lnTo>
                  <a:lnTo>
                    <a:pt x="18" y="452"/>
                  </a:lnTo>
                  <a:lnTo>
                    <a:pt x="11" y="497"/>
                  </a:lnTo>
                  <a:lnTo>
                    <a:pt x="6" y="540"/>
                  </a:lnTo>
                  <a:lnTo>
                    <a:pt x="3" y="585"/>
                  </a:lnTo>
                  <a:lnTo>
                    <a:pt x="0" y="632"/>
                  </a:lnTo>
                  <a:lnTo>
                    <a:pt x="0" y="677"/>
                  </a:lnTo>
                  <a:lnTo>
                    <a:pt x="0" y="677"/>
                  </a:lnTo>
                  <a:lnTo>
                    <a:pt x="2" y="749"/>
                  </a:lnTo>
                  <a:lnTo>
                    <a:pt x="6" y="818"/>
                  </a:lnTo>
                  <a:lnTo>
                    <a:pt x="15" y="887"/>
                  </a:lnTo>
                  <a:lnTo>
                    <a:pt x="27" y="956"/>
                  </a:lnTo>
                  <a:lnTo>
                    <a:pt x="42" y="1022"/>
                  </a:lnTo>
                  <a:lnTo>
                    <a:pt x="62" y="1088"/>
                  </a:lnTo>
                  <a:lnTo>
                    <a:pt x="83" y="1153"/>
                  </a:lnTo>
                  <a:lnTo>
                    <a:pt x="107" y="1216"/>
                  </a:lnTo>
                  <a:lnTo>
                    <a:pt x="134" y="1276"/>
                  </a:lnTo>
                  <a:lnTo>
                    <a:pt x="165" y="1336"/>
                  </a:lnTo>
                  <a:lnTo>
                    <a:pt x="198" y="1394"/>
                  </a:lnTo>
                  <a:lnTo>
                    <a:pt x="233" y="1450"/>
                  </a:lnTo>
                  <a:lnTo>
                    <a:pt x="272" y="1504"/>
                  </a:lnTo>
                  <a:lnTo>
                    <a:pt x="312" y="1556"/>
                  </a:lnTo>
                  <a:lnTo>
                    <a:pt x="356" y="1607"/>
                  </a:lnTo>
                  <a:lnTo>
                    <a:pt x="401" y="1655"/>
                  </a:lnTo>
                  <a:lnTo>
                    <a:pt x="449" y="1700"/>
                  </a:lnTo>
                  <a:lnTo>
                    <a:pt x="498" y="1745"/>
                  </a:lnTo>
                  <a:lnTo>
                    <a:pt x="549" y="1786"/>
                  </a:lnTo>
                  <a:lnTo>
                    <a:pt x="603" y="1825"/>
                  </a:lnTo>
                  <a:lnTo>
                    <a:pt x="659" y="1861"/>
                  </a:lnTo>
                  <a:lnTo>
                    <a:pt x="717" y="1895"/>
                  </a:lnTo>
                  <a:lnTo>
                    <a:pt x="776" y="1925"/>
                  </a:lnTo>
                  <a:lnTo>
                    <a:pt x="836" y="1954"/>
                  </a:lnTo>
                  <a:lnTo>
                    <a:pt x="899" y="1979"/>
                  </a:lnTo>
                  <a:lnTo>
                    <a:pt x="963" y="2002"/>
                  </a:lnTo>
                  <a:lnTo>
                    <a:pt x="1028" y="2021"/>
                  </a:lnTo>
                  <a:lnTo>
                    <a:pt x="1094" y="2036"/>
                  </a:lnTo>
                  <a:lnTo>
                    <a:pt x="1161" y="2050"/>
                  </a:lnTo>
                  <a:lnTo>
                    <a:pt x="1230" y="2060"/>
                  </a:lnTo>
                  <a:lnTo>
                    <a:pt x="1301" y="2066"/>
                  </a:lnTo>
                  <a:lnTo>
                    <a:pt x="1371" y="2068"/>
                  </a:lnTo>
                  <a:lnTo>
                    <a:pt x="1371" y="1715"/>
                  </a:lnTo>
                  <a:close/>
                </a:path>
              </a:pathLst>
            </a:custGeom>
            <a:pattFill prst="wdUpDiag">
              <a:fgClr>
                <a:schemeClr val="accent5">
                  <a:lumMod val="20000"/>
                  <a:lumOff val="80000"/>
                </a:schemeClr>
              </a:fgClr>
              <a:bgClr>
                <a:schemeClr val="bg1"/>
              </a:bgClr>
            </a:patt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8" name="Freeform 9">
              <a:extLst>
                <a:ext uri="{FF2B5EF4-FFF2-40B4-BE49-F238E27FC236}">
                  <a16:creationId xmlns:a16="http://schemas.microsoft.com/office/drawing/2014/main" id="{FF5E7CC1-2873-4417-856C-646CA2BF79AF}"/>
                </a:ext>
              </a:extLst>
            </p:cNvPr>
            <p:cNvSpPr>
              <a:spLocks/>
            </p:cNvSpPr>
            <p:nvPr/>
          </p:nvSpPr>
          <p:spPr bwMode="auto">
            <a:xfrm>
              <a:off x="4608513" y="2811463"/>
              <a:ext cx="2171700" cy="3275013"/>
            </a:xfrm>
            <a:custGeom>
              <a:avLst/>
              <a:gdLst/>
              <a:ahLst/>
              <a:cxnLst>
                <a:cxn ang="0">
                  <a:pos x="891" y="175"/>
                </a:cxn>
                <a:cxn ang="0">
                  <a:pos x="904" y="204"/>
                </a:cxn>
                <a:cxn ang="0">
                  <a:pos x="931" y="261"/>
                </a:cxn>
                <a:cxn ang="0">
                  <a:pos x="955" y="319"/>
                </a:cxn>
                <a:cxn ang="0">
                  <a:pos x="975" y="381"/>
                </a:cxn>
                <a:cxn ang="0">
                  <a:pos x="991" y="442"/>
                </a:cxn>
                <a:cxn ang="0">
                  <a:pos x="1003" y="507"/>
                </a:cxn>
                <a:cxn ang="0">
                  <a:pos x="1011" y="571"/>
                </a:cxn>
                <a:cxn ang="0">
                  <a:pos x="1015" y="637"/>
                </a:cxn>
                <a:cxn ang="0">
                  <a:pos x="1015" y="672"/>
                </a:cxn>
                <a:cxn ang="0">
                  <a:pos x="1011" y="776"/>
                </a:cxn>
                <a:cxn ang="0">
                  <a:pos x="996" y="878"/>
                </a:cxn>
                <a:cxn ang="0">
                  <a:pos x="970" y="977"/>
                </a:cxn>
                <a:cxn ang="0">
                  <a:pos x="936" y="1071"/>
                </a:cxn>
                <a:cxn ang="0">
                  <a:pos x="894" y="1160"/>
                </a:cxn>
                <a:cxn ang="0">
                  <a:pos x="843" y="1245"/>
                </a:cxn>
                <a:cxn ang="0">
                  <a:pos x="784" y="1325"/>
                </a:cxn>
                <a:cxn ang="0">
                  <a:pos x="718" y="1398"/>
                </a:cxn>
                <a:cxn ang="0">
                  <a:pos x="646" y="1466"/>
                </a:cxn>
                <a:cxn ang="0">
                  <a:pos x="568" y="1526"/>
                </a:cxn>
                <a:cxn ang="0">
                  <a:pos x="484" y="1578"/>
                </a:cxn>
                <a:cxn ang="0">
                  <a:pos x="396" y="1622"/>
                </a:cxn>
                <a:cxn ang="0">
                  <a:pos x="303" y="1658"/>
                </a:cxn>
                <a:cxn ang="0">
                  <a:pos x="205" y="1685"/>
                </a:cxn>
                <a:cxn ang="0">
                  <a:pos x="105" y="1703"/>
                </a:cxn>
                <a:cxn ang="0">
                  <a:pos x="0" y="1710"/>
                </a:cxn>
                <a:cxn ang="0">
                  <a:pos x="0" y="2063"/>
                </a:cxn>
                <a:cxn ang="0">
                  <a:pos x="141" y="2054"/>
                </a:cxn>
                <a:cxn ang="0">
                  <a:pos x="276" y="2031"/>
                </a:cxn>
                <a:cxn ang="0">
                  <a:pos x="408" y="1995"/>
                </a:cxn>
                <a:cxn ang="0">
                  <a:pos x="534" y="1947"/>
                </a:cxn>
                <a:cxn ang="0">
                  <a:pos x="652" y="1889"/>
                </a:cxn>
                <a:cxn ang="0">
                  <a:pos x="766" y="1818"/>
                </a:cxn>
                <a:cxn ang="0">
                  <a:pos x="871" y="1739"/>
                </a:cxn>
                <a:cxn ang="0">
                  <a:pos x="967" y="1649"/>
                </a:cxn>
                <a:cxn ang="0">
                  <a:pos x="1056" y="1550"/>
                </a:cxn>
                <a:cxn ang="0">
                  <a:pos x="1135" y="1443"/>
                </a:cxn>
                <a:cxn ang="0">
                  <a:pos x="1203" y="1329"/>
                </a:cxn>
                <a:cxn ang="0">
                  <a:pos x="1261" y="1209"/>
                </a:cxn>
                <a:cxn ang="0">
                  <a:pos x="1306" y="1083"/>
                </a:cxn>
                <a:cxn ang="0">
                  <a:pos x="1341" y="950"/>
                </a:cxn>
                <a:cxn ang="0">
                  <a:pos x="1360" y="813"/>
                </a:cxn>
                <a:cxn ang="0">
                  <a:pos x="1368" y="672"/>
                </a:cxn>
                <a:cxn ang="0">
                  <a:pos x="1366" y="627"/>
                </a:cxn>
                <a:cxn ang="0">
                  <a:pos x="1362" y="537"/>
                </a:cxn>
                <a:cxn ang="0">
                  <a:pos x="1350" y="448"/>
                </a:cxn>
                <a:cxn ang="0">
                  <a:pos x="1333" y="361"/>
                </a:cxn>
                <a:cxn ang="0">
                  <a:pos x="1311" y="277"/>
                </a:cxn>
                <a:cxn ang="0">
                  <a:pos x="1284" y="195"/>
                </a:cxn>
                <a:cxn ang="0">
                  <a:pos x="1251" y="115"/>
                </a:cxn>
                <a:cxn ang="0">
                  <a:pos x="1215" y="37"/>
                </a:cxn>
                <a:cxn ang="0">
                  <a:pos x="1195" y="0"/>
                </a:cxn>
              </a:cxnLst>
              <a:rect l="0" t="0" r="r" b="b"/>
              <a:pathLst>
                <a:path w="1368" h="2063">
                  <a:moveTo>
                    <a:pt x="1195" y="0"/>
                  </a:moveTo>
                  <a:lnTo>
                    <a:pt x="891" y="175"/>
                  </a:lnTo>
                  <a:lnTo>
                    <a:pt x="891" y="175"/>
                  </a:lnTo>
                  <a:lnTo>
                    <a:pt x="904" y="204"/>
                  </a:lnTo>
                  <a:lnTo>
                    <a:pt x="918" y="232"/>
                  </a:lnTo>
                  <a:lnTo>
                    <a:pt x="931" y="261"/>
                  </a:lnTo>
                  <a:lnTo>
                    <a:pt x="943" y="291"/>
                  </a:lnTo>
                  <a:lnTo>
                    <a:pt x="955" y="319"/>
                  </a:lnTo>
                  <a:lnTo>
                    <a:pt x="966" y="349"/>
                  </a:lnTo>
                  <a:lnTo>
                    <a:pt x="975" y="381"/>
                  </a:lnTo>
                  <a:lnTo>
                    <a:pt x="984" y="411"/>
                  </a:lnTo>
                  <a:lnTo>
                    <a:pt x="991" y="442"/>
                  </a:lnTo>
                  <a:lnTo>
                    <a:pt x="997" y="474"/>
                  </a:lnTo>
                  <a:lnTo>
                    <a:pt x="1003" y="507"/>
                  </a:lnTo>
                  <a:lnTo>
                    <a:pt x="1008" y="538"/>
                  </a:lnTo>
                  <a:lnTo>
                    <a:pt x="1011" y="571"/>
                  </a:lnTo>
                  <a:lnTo>
                    <a:pt x="1014" y="604"/>
                  </a:lnTo>
                  <a:lnTo>
                    <a:pt x="1015" y="637"/>
                  </a:lnTo>
                  <a:lnTo>
                    <a:pt x="1015" y="672"/>
                  </a:lnTo>
                  <a:lnTo>
                    <a:pt x="1015" y="672"/>
                  </a:lnTo>
                  <a:lnTo>
                    <a:pt x="1015" y="725"/>
                  </a:lnTo>
                  <a:lnTo>
                    <a:pt x="1011" y="776"/>
                  </a:lnTo>
                  <a:lnTo>
                    <a:pt x="1005" y="828"/>
                  </a:lnTo>
                  <a:lnTo>
                    <a:pt x="996" y="878"/>
                  </a:lnTo>
                  <a:lnTo>
                    <a:pt x="984" y="927"/>
                  </a:lnTo>
                  <a:lnTo>
                    <a:pt x="970" y="977"/>
                  </a:lnTo>
                  <a:lnTo>
                    <a:pt x="954" y="1023"/>
                  </a:lnTo>
                  <a:lnTo>
                    <a:pt x="936" y="1071"/>
                  </a:lnTo>
                  <a:lnTo>
                    <a:pt x="916" y="1116"/>
                  </a:lnTo>
                  <a:lnTo>
                    <a:pt x="894" y="1160"/>
                  </a:lnTo>
                  <a:lnTo>
                    <a:pt x="870" y="1203"/>
                  </a:lnTo>
                  <a:lnTo>
                    <a:pt x="843" y="1245"/>
                  </a:lnTo>
                  <a:lnTo>
                    <a:pt x="814" y="1286"/>
                  </a:lnTo>
                  <a:lnTo>
                    <a:pt x="784" y="1325"/>
                  </a:lnTo>
                  <a:lnTo>
                    <a:pt x="753" y="1362"/>
                  </a:lnTo>
                  <a:lnTo>
                    <a:pt x="718" y="1398"/>
                  </a:lnTo>
                  <a:lnTo>
                    <a:pt x="684" y="1433"/>
                  </a:lnTo>
                  <a:lnTo>
                    <a:pt x="646" y="1466"/>
                  </a:lnTo>
                  <a:lnTo>
                    <a:pt x="609" y="1496"/>
                  </a:lnTo>
                  <a:lnTo>
                    <a:pt x="568" y="1526"/>
                  </a:lnTo>
                  <a:lnTo>
                    <a:pt x="528" y="1553"/>
                  </a:lnTo>
                  <a:lnTo>
                    <a:pt x="484" y="1578"/>
                  </a:lnTo>
                  <a:lnTo>
                    <a:pt x="441" y="1601"/>
                  </a:lnTo>
                  <a:lnTo>
                    <a:pt x="396" y="1622"/>
                  </a:lnTo>
                  <a:lnTo>
                    <a:pt x="349" y="1641"/>
                  </a:lnTo>
                  <a:lnTo>
                    <a:pt x="303" y="1658"/>
                  </a:lnTo>
                  <a:lnTo>
                    <a:pt x="255" y="1673"/>
                  </a:lnTo>
                  <a:lnTo>
                    <a:pt x="205" y="1685"/>
                  </a:lnTo>
                  <a:lnTo>
                    <a:pt x="154" y="1695"/>
                  </a:lnTo>
                  <a:lnTo>
                    <a:pt x="105" y="1703"/>
                  </a:lnTo>
                  <a:lnTo>
                    <a:pt x="52" y="1707"/>
                  </a:lnTo>
                  <a:lnTo>
                    <a:pt x="0" y="1710"/>
                  </a:lnTo>
                  <a:lnTo>
                    <a:pt x="0" y="2063"/>
                  </a:lnTo>
                  <a:lnTo>
                    <a:pt x="0" y="2063"/>
                  </a:lnTo>
                  <a:lnTo>
                    <a:pt x="70" y="2061"/>
                  </a:lnTo>
                  <a:lnTo>
                    <a:pt x="141" y="2054"/>
                  </a:lnTo>
                  <a:lnTo>
                    <a:pt x="208" y="2045"/>
                  </a:lnTo>
                  <a:lnTo>
                    <a:pt x="276" y="2031"/>
                  </a:lnTo>
                  <a:lnTo>
                    <a:pt x="343" y="2015"/>
                  </a:lnTo>
                  <a:lnTo>
                    <a:pt x="408" y="1995"/>
                  </a:lnTo>
                  <a:lnTo>
                    <a:pt x="471" y="1973"/>
                  </a:lnTo>
                  <a:lnTo>
                    <a:pt x="534" y="1947"/>
                  </a:lnTo>
                  <a:lnTo>
                    <a:pt x="594" y="1920"/>
                  </a:lnTo>
                  <a:lnTo>
                    <a:pt x="652" y="1889"/>
                  </a:lnTo>
                  <a:lnTo>
                    <a:pt x="711" y="1854"/>
                  </a:lnTo>
                  <a:lnTo>
                    <a:pt x="766" y="1818"/>
                  </a:lnTo>
                  <a:lnTo>
                    <a:pt x="819" y="1779"/>
                  </a:lnTo>
                  <a:lnTo>
                    <a:pt x="871" y="1739"/>
                  </a:lnTo>
                  <a:lnTo>
                    <a:pt x="921" y="1695"/>
                  </a:lnTo>
                  <a:lnTo>
                    <a:pt x="967" y="1649"/>
                  </a:lnTo>
                  <a:lnTo>
                    <a:pt x="1014" y="1601"/>
                  </a:lnTo>
                  <a:lnTo>
                    <a:pt x="1056" y="1550"/>
                  </a:lnTo>
                  <a:lnTo>
                    <a:pt x="1096" y="1497"/>
                  </a:lnTo>
                  <a:lnTo>
                    <a:pt x="1135" y="1443"/>
                  </a:lnTo>
                  <a:lnTo>
                    <a:pt x="1170" y="1388"/>
                  </a:lnTo>
                  <a:lnTo>
                    <a:pt x="1203" y="1329"/>
                  </a:lnTo>
                  <a:lnTo>
                    <a:pt x="1233" y="1271"/>
                  </a:lnTo>
                  <a:lnTo>
                    <a:pt x="1261" y="1209"/>
                  </a:lnTo>
                  <a:lnTo>
                    <a:pt x="1285" y="1146"/>
                  </a:lnTo>
                  <a:lnTo>
                    <a:pt x="1306" y="1083"/>
                  </a:lnTo>
                  <a:lnTo>
                    <a:pt x="1324" y="1017"/>
                  </a:lnTo>
                  <a:lnTo>
                    <a:pt x="1341" y="950"/>
                  </a:lnTo>
                  <a:lnTo>
                    <a:pt x="1353" y="882"/>
                  </a:lnTo>
                  <a:lnTo>
                    <a:pt x="1360" y="813"/>
                  </a:lnTo>
                  <a:lnTo>
                    <a:pt x="1366" y="744"/>
                  </a:lnTo>
                  <a:lnTo>
                    <a:pt x="1368" y="672"/>
                  </a:lnTo>
                  <a:lnTo>
                    <a:pt x="1368" y="672"/>
                  </a:lnTo>
                  <a:lnTo>
                    <a:pt x="1366" y="627"/>
                  </a:lnTo>
                  <a:lnTo>
                    <a:pt x="1365" y="582"/>
                  </a:lnTo>
                  <a:lnTo>
                    <a:pt x="1362" y="537"/>
                  </a:lnTo>
                  <a:lnTo>
                    <a:pt x="1356" y="492"/>
                  </a:lnTo>
                  <a:lnTo>
                    <a:pt x="1350" y="448"/>
                  </a:lnTo>
                  <a:lnTo>
                    <a:pt x="1342" y="405"/>
                  </a:lnTo>
                  <a:lnTo>
                    <a:pt x="1333" y="361"/>
                  </a:lnTo>
                  <a:lnTo>
                    <a:pt x="1323" y="319"/>
                  </a:lnTo>
                  <a:lnTo>
                    <a:pt x="1311" y="277"/>
                  </a:lnTo>
                  <a:lnTo>
                    <a:pt x="1297" y="235"/>
                  </a:lnTo>
                  <a:lnTo>
                    <a:pt x="1284" y="195"/>
                  </a:lnTo>
                  <a:lnTo>
                    <a:pt x="1269" y="154"/>
                  </a:lnTo>
                  <a:lnTo>
                    <a:pt x="1251" y="115"/>
                  </a:lnTo>
                  <a:lnTo>
                    <a:pt x="1234" y="76"/>
                  </a:lnTo>
                  <a:lnTo>
                    <a:pt x="1215" y="37"/>
                  </a:lnTo>
                  <a:lnTo>
                    <a:pt x="1195" y="0"/>
                  </a:lnTo>
                  <a:lnTo>
                    <a:pt x="1195" y="0"/>
                  </a:lnTo>
                  <a:close/>
                </a:path>
              </a:pathLst>
            </a:custGeom>
            <a:pattFill prst="wdUpDiag">
              <a:fgClr>
                <a:schemeClr val="accent3">
                  <a:lumMod val="20000"/>
                  <a:lumOff val="80000"/>
                </a:schemeClr>
              </a:fgClr>
              <a:bgClr>
                <a:schemeClr val="bg1"/>
              </a:bgClr>
            </a:patt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9" name="Freeform 10">
              <a:extLst>
                <a:ext uri="{FF2B5EF4-FFF2-40B4-BE49-F238E27FC236}">
                  <a16:creationId xmlns:a16="http://schemas.microsoft.com/office/drawing/2014/main" id="{62A6EB4E-9173-4FE4-BC41-2BD59203EEBE}"/>
                </a:ext>
              </a:extLst>
            </p:cNvPr>
            <p:cNvSpPr>
              <a:spLocks/>
            </p:cNvSpPr>
            <p:nvPr/>
          </p:nvSpPr>
          <p:spPr bwMode="auto">
            <a:xfrm>
              <a:off x="2987676" y="3116263"/>
              <a:ext cx="1552575" cy="2343150"/>
            </a:xfrm>
            <a:custGeom>
              <a:avLst/>
              <a:gdLst/>
              <a:ahLst/>
              <a:cxnLst>
                <a:cxn ang="0">
                  <a:pos x="978" y="1127"/>
                </a:cxn>
                <a:cxn ang="0">
                  <a:pos x="914" y="1122"/>
                </a:cxn>
                <a:cxn ang="0">
                  <a:pos x="851" y="1110"/>
                </a:cxn>
                <a:cxn ang="0">
                  <a:pos x="791" y="1094"/>
                </a:cxn>
                <a:cxn ang="0">
                  <a:pos x="734" y="1071"/>
                </a:cxn>
                <a:cxn ang="0">
                  <a:pos x="678" y="1043"/>
                </a:cxn>
                <a:cxn ang="0">
                  <a:pos x="627" y="1010"/>
                </a:cxn>
                <a:cxn ang="0">
                  <a:pos x="579" y="972"/>
                </a:cxn>
                <a:cxn ang="0">
                  <a:pos x="534" y="932"/>
                </a:cxn>
                <a:cxn ang="0">
                  <a:pos x="494" y="885"/>
                </a:cxn>
                <a:cxn ang="0">
                  <a:pos x="458" y="836"/>
                </a:cxn>
                <a:cxn ang="0">
                  <a:pos x="426" y="783"/>
                </a:cxn>
                <a:cxn ang="0">
                  <a:pos x="401" y="728"/>
                </a:cxn>
                <a:cxn ang="0">
                  <a:pos x="380" y="669"/>
                </a:cxn>
                <a:cxn ang="0">
                  <a:pos x="363" y="609"/>
                </a:cxn>
                <a:cxn ang="0">
                  <a:pos x="354" y="546"/>
                </a:cxn>
                <a:cxn ang="0">
                  <a:pos x="351" y="480"/>
                </a:cxn>
                <a:cxn ang="0">
                  <a:pos x="353" y="439"/>
                </a:cxn>
                <a:cxn ang="0">
                  <a:pos x="363" y="360"/>
                </a:cxn>
                <a:cxn ang="0">
                  <a:pos x="383" y="283"/>
                </a:cxn>
                <a:cxn ang="0">
                  <a:pos x="410" y="210"/>
                </a:cxn>
                <a:cxn ang="0">
                  <a:pos x="123" y="0"/>
                </a:cxn>
                <a:cxn ang="0">
                  <a:pos x="108" y="27"/>
                </a:cxn>
                <a:cxn ang="0">
                  <a:pos x="83" y="82"/>
                </a:cxn>
                <a:cxn ang="0">
                  <a:pos x="60" y="139"/>
                </a:cxn>
                <a:cxn ang="0">
                  <a:pos x="41" y="198"/>
                </a:cxn>
                <a:cxn ang="0">
                  <a:pos x="26" y="258"/>
                </a:cxn>
                <a:cxn ang="0">
                  <a:pos x="14" y="319"/>
                </a:cxn>
                <a:cxn ang="0">
                  <a:pos x="5" y="382"/>
                </a:cxn>
                <a:cxn ang="0">
                  <a:pos x="0" y="447"/>
                </a:cxn>
                <a:cxn ang="0">
                  <a:pos x="0" y="480"/>
                </a:cxn>
                <a:cxn ang="0">
                  <a:pos x="5" y="581"/>
                </a:cxn>
                <a:cxn ang="0">
                  <a:pos x="20" y="678"/>
                </a:cxn>
                <a:cxn ang="0">
                  <a:pos x="44" y="773"/>
                </a:cxn>
                <a:cxn ang="0">
                  <a:pos x="77" y="863"/>
                </a:cxn>
                <a:cxn ang="0">
                  <a:pos x="119" y="950"/>
                </a:cxn>
                <a:cxn ang="0">
                  <a:pos x="167" y="1031"/>
                </a:cxn>
                <a:cxn ang="0">
                  <a:pos x="224" y="1107"/>
                </a:cxn>
                <a:cxn ang="0">
                  <a:pos x="287" y="1178"/>
                </a:cxn>
                <a:cxn ang="0">
                  <a:pos x="356" y="1242"/>
                </a:cxn>
                <a:cxn ang="0">
                  <a:pos x="431" y="1299"/>
                </a:cxn>
                <a:cxn ang="0">
                  <a:pos x="512" y="1350"/>
                </a:cxn>
                <a:cxn ang="0">
                  <a:pos x="597" y="1392"/>
                </a:cxn>
                <a:cxn ang="0">
                  <a:pos x="687" y="1427"/>
                </a:cxn>
                <a:cxn ang="0">
                  <a:pos x="780" y="1452"/>
                </a:cxn>
                <a:cxn ang="0">
                  <a:pos x="878" y="1469"/>
                </a:cxn>
                <a:cxn ang="0">
                  <a:pos x="978" y="1476"/>
                </a:cxn>
              </a:cxnLst>
              <a:rect l="0" t="0" r="r" b="b"/>
              <a:pathLst>
                <a:path w="978" h="1476">
                  <a:moveTo>
                    <a:pt x="978" y="1127"/>
                  </a:moveTo>
                  <a:lnTo>
                    <a:pt x="978" y="1127"/>
                  </a:lnTo>
                  <a:lnTo>
                    <a:pt x="945" y="1125"/>
                  </a:lnTo>
                  <a:lnTo>
                    <a:pt x="914" y="1122"/>
                  </a:lnTo>
                  <a:lnTo>
                    <a:pt x="882" y="1116"/>
                  </a:lnTo>
                  <a:lnTo>
                    <a:pt x="851" y="1110"/>
                  </a:lnTo>
                  <a:lnTo>
                    <a:pt x="821" y="1103"/>
                  </a:lnTo>
                  <a:lnTo>
                    <a:pt x="791" y="1094"/>
                  </a:lnTo>
                  <a:lnTo>
                    <a:pt x="762" y="1083"/>
                  </a:lnTo>
                  <a:lnTo>
                    <a:pt x="734" y="1071"/>
                  </a:lnTo>
                  <a:lnTo>
                    <a:pt x="705" y="1058"/>
                  </a:lnTo>
                  <a:lnTo>
                    <a:pt x="678" y="1043"/>
                  </a:lnTo>
                  <a:lnTo>
                    <a:pt x="653" y="1028"/>
                  </a:lnTo>
                  <a:lnTo>
                    <a:pt x="627" y="1010"/>
                  </a:lnTo>
                  <a:lnTo>
                    <a:pt x="602" y="992"/>
                  </a:lnTo>
                  <a:lnTo>
                    <a:pt x="579" y="972"/>
                  </a:lnTo>
                  <a:lnTo>
                    <a:pt x="555" y="953"/>
                  </a:lnTo>
                  <a:lnTo>
                    <a:pt x="534" y="932"/>
                  </a:lnTo>
                  <a:lnTo>
                    <a:pt x="513" y="909"/>
                  </a:lnTo>
                  <a:lnTo>
                    <a:pt x="494" y="885"/>
                  </a:lnTo>
                  <a:lnTo>
                    <a:pt x="476" y="861"/>
                  </a:lnTo>
                  <a:lnTo>
                    <a:pt x="458" y="836"/>
                  </a:lnTo>
                  <a:lnTo>
                    <a:pt x="441" y="810"/>
                  </a:lnTo>
                  <a:lnTo>
                    <a:pt x="426" y="783"/>
                  </a:lnTo>
                  <a:lnTo>
                    <a:pt x="413" y="756"/>
                  </a:lnTo>
                  <a:lnTo>
                    <a:pt x="401" y="728"/>
                  </a:lnTo>
                  <a:lnTo>
                    <a:pt x="389" y="699"/>
                  </a:lnTo>
                  <a:lnTo>
                    <a:pt x="380" y="669"/>
                  </a:lnTo>
                  <a:lnTo>
                    <a:pt x="371" y="639"/>
                  </a:lnTo>
                  <a:lnTo>
                    <a:pt x="363" y="609"/>
                  </a:lnTo>
                  <a:lnTo>
                    <a:pt x="359" y="578"/>
                  </a:lnTo>
                  <a:lnTo>
                    <a:pt x="354" y="546"/>
                  </a:lnTo>
                  <a:lnTo>
                    <a:pt x="353" y="513"/>
                  </a:lnTo>
                  <a:lnTo>
                    <a:pt x="351" y="480"/>
                  </a:lnTo>
                  <a:lnTo>
                    <a:pt x="351" y="480"/>
                  </a:lnTo>
                  <a:lnTo>
                    <a:pt x="353" y="439"/>
                  </a:lnTo>
                  <a:lnTo>
                    <a:pt x="356" y="399"/>
                  </a:lnTo>
                  <a:lnTo>
                    <a:pt x="363" y="360"/>
                  </a:lnTo>
                  <a:lnTo>
                    <a:pt x="371" y="321"/>
                  </a:lnTo>
                  <a:lnTo>
                    <a:pt x="383" y="283"/>
                  </a:lnTo>
                  <a:lnTo>
                    <a:pt x="395" y="246"/>
                  </a:lnTo>
                  <a:lnTo>
                    <a:pt x="410" y="210"/>
                  </a:lnTo>
                  <a:lnTo>
                    <a:pt x="428" y="175"/>
                  </a:lnTo>
                  <a:lnTo>
                    <a:pt x="123" y="0"/>
                  </a:lnTo>
                  <a:lnTo>
                    <a:pt x="123" y="0"/>
                  </a:lnTo>
                  <a:lnTo>
                    <a:pt x="108" y="27"/>
                  </a:lnTo>
                  <a:lnTo>
                    <a:pt x="96" y="54"/>
                  </a:lnTo>
                  <a:lnTo>
                    <a:pt x="83" y="82"/>
                  </a:lnTo>
                  <a:lnTo>
                    <a:pt x="71" y="111"/>
                  </a:lnTo>
                  <a:lnTo>
                    <a:pt x="60" y="139"/>
                  </a:lnTo>
                  <a:lnTo>
                    <a:pt x="50" y="168"/>
                  </a:lnTo>
                  <a:lnTo>
                    <a:pt x="41" y="198"/>
                  </a:lnTo>
                  <a:lnTo>
                    <a:pt x="32" y="228"/>
                  </a:lnTo>
                  <a:lnTo>
                    <a:pt x="26" y="258"/>
                  </a:lnTo>
                  <a:lnTo>
                    <a:pt x="18" y="289"/>
                  </a:lnTo>
                  <a:lnTo>
                    <a:pt x="14" y="319"/>
                  </a:lnTo>
                  <a:lnTo>
                    <a:pt x="9" y="351"/>
                  </a:lnTo>
                  <a:lnTo>
                    <a:pt x="5" y="382"/>
                  </a:lnTo>
                  <a:lnTo>
                    <a:pt x="2" y="415"/>
                  </a:lnTo>
                  <a:lnTo>
                    <a:pt x="0" y="447"/>
                  </a:lnTo>
                  <a:lnTo>
                    <a:pt x="0" y="480"/>
                  </a:lnTo>
                  <a:lnTo>
                    <a:pt x="0" y="480"/>
                  </a:lnTo>
                  <a:lnTo>
                    <a:pt x="2" y="530"/>
                  </a:lnTo>
                  <a:lnTo>
                    <a:pt x="5" y="581"/>
                  </a:lnTo>
                  <a:lnTo>
                    <a:pt x="12" y="629"/>
                  </a:lnTo>
                  <a:lnTo>
                    <a:pt x="20" y="678"/>
                  </a:lnTo>
                  <a:lnTo>
                    <a:pt x="32" y="726"/>
                  </a:lnTo>
                  <a:lnTo>
                    <a:pt x="44" y="773"/>
                  </a:lnTo>
                  <a:lnTo>
                    <a:pt x="60" y="818"/>
                  </a:lnTo>
                  <a:lnTo>
                    <a:pt x="77" y="863"/>
                  </a:lnTo>
                  <a:lnTo>
                    <a:pt x="96" y="906"/>
                  </a:lnTo>
                  <a:lnTo>
                    <a:pt x="119" y="950"/>
                  </a:lnTo>
                  <a:lnTo>
                    <a:pt x="141" y="990"/>
                  </a:lnTo>
                  <a:lnTo>
                    <a:pt x="167" y="1031"/>
                  </a:lnTo>
                  <a:lnTo>
                    <a:pt x="194" y="1070"/>
                  </a:lnTo>
                  <a:lnTo>
                    <a:pt x="224" y="1107"/>
                  </a:lnTo>
                  <a:lnTo>
                    <a:pt x="254" y="1143"/>
                  </a:lnTo>
                  <a:lnTo>
                    <a:pt x="287" y="1178"/>
                  </a:lnTo>
                  <a:lnTo>
                    <a:pt x="320" y="1211"/>
                  </a:lnTo>
                  <a:lnTo>
                    <a:pt x="356" y="1242"/>
                  </a:lnTo>
                  <a:lnTo>
                    <a:pt x="393" y="1272"/>
                  </a:lnTo>
                  <a:lnTo>
                    <a:pt x="431" y="1299"/>
                  </a:lnTo>
                  <a:lnTo>
                    <a:pt x="471" y="1326"/>
                  </a:lnTo>
                  <a:lnTo>
                    <a:pt x="512" y="1350"/>
                  </a:lnTo>
                  <a:lnTo>
                    <a:pt x="554" y="1373"/>
                  </a:lnTo>
                  <a:lnTo>
                    <a:pt x="597" y="1392"/>
                  </a:lnTo>
                  <a:lnTo>
                    <a:pt x="642" y="1410"/>
                  </a:lnTo>
                  <a:lnTo>
                    <a:pt x="687" y="1427"/>
                  </a:lnTo>
                  <a:lnTo>
                    <a:pt x="734" y="1442"/>
                  </a:lnTo>
                  <a:lnTo>
                    <a:pt x="780" y="1452"/>
                  </a:lnTo>
                  <a:lnTo>
                    <a:pt x="828" y="1463"/>
                  </a:lnTo>
                  <a:lnTo>
                    <a:pt x="878" y="1469"/>
                  </a:lnTo>
                  <a:lnTo>
                    <a:pt x="927" y="1475"/>
                  </a:lnTo>
                  <a:lnTo>
                    <a:pt x="978" y="1476"/>
                  </a:lnTo>
                  <a:lnTo>
                    <a:pt x="978" y="1127"/>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0" name="Freeform 11">
              <a:extLst>
                <a:ext uri="{FF2B5EF4-FFF2-40B4-BE49-F238E27FC236}">
                  <a16:creationId xmlns:a16="http://schemas.microsoft.com/office/drawing/2014/main" id="{1754F06A-3BBB-45C3-AB6C-B4FF4DAC53A8}"/>
                </a:ext>
              </a:extLst>
            </p:cNvPr>
            <p:cNvSpPr>
              <a:spLocks/>
            </p:cNvSpPr>
            <p:nvPr/>
          </p:nvSpPr>
          <p:spPr bwMode="auto">
            <a:xfrm>
              <a:off x="4608513" y="3122613"/>
              <a:ext cx="1544638" cy="2336800"/>
            </a:xfrm>
            <a:custGeom>
              <a:avLst/>
              <a:gdLst/>
              <a:ahLst/>
              <a:cxnLst>
                <a:cxn ang="0">
                  <a:pos x="549" y="176"/>
                </a:cxn>
                <a:cxn ang="0">
                  <a:pos x="565" y="210"/>
                </a:cxn>
                <a:cxn ang="0">
                  <a:pos x="594" y="282"/>
                </a:cxn>
                <a:cxn ang="0">
                  <a:pos x="612" y="357"/>
                </a:cxn>
                <a:cxn ang="0">
                  <a:pos x="622" y="437"/>
                </a:cxn>
                <a:cxn ang="0">
                  <a:pos x="622" y="476"/>
                </a:cxn>
                <a:cxn ang="0">
                  <a:pos x="619" y="542"/>
                </a:cxn>
                <a:cxn ang="0">
                  <a:pos x="610" y="604"/>
                </a:cxn>
                <a:cxn ang="0">
                  <a:pos x="595" y="665"/>
                </a:cxn>
                <a:cxn ang="0">
                  <a:pos x="574" y="724"/>
                </a:cxn>
                <a:cxn ang="0">
                  <a:pos x="549" y="779"/>
                </a:cxn>
                <a:cxn ang="0">
                  <a:pos x="517" y="832"/>
                </a:cxn>
                <a:cxn ang="0">
                  <a:pos x="481" y="880"/>
                </a:cxn>
                <a:cxn ang="0">
                  <a:pos x="441" y="926"/>
                </a:cxn>
                <a:cxn ang="0">
                  <a:pos x="397" y="968"/>
                </a:cxn>
                <a:cxn ang="0">
                  <a:pos x="349" y="1004"/>
                </a:cxn>
                <a:cxn ang="0">
                  <a:pos x="298" y="1037"/>
                </a:cxn>
                <a:cxn ang="0">
                  <a:pos x="243" y="1066"/>
                </a:cxn>
                <a:cxn ang="0">
                  <a:pos x="186" y="1088"/>
                </a:cxn>
                <a:cxn ang="0">
                  <a:pos x="126" y="1106"/>
                </a:cxn>
                <a:cxn ang="0">
                  <a:pos x="64" y="1117"/>
                </a:cxn>
                <a:cxn ang="0">
                  <a:pos x="0" y="1123"/>
                </a:cxn>
                <a:cxn ang="0">
                  <a:pos x="0" y="1472"/>
                </a:cxn>
                <a:cxn ang="0">
                  <a:pos x="100" y="1465"/>
                </a:cxn>
                <a:cxn ang="0">
                  <a:pos x="196" y="1448"/>
                </a:cxn>
                <a:cxn ang="0">
                  <a:pos x="291" y="1423"/>
                </a:cxn>
                <a:cxn ang="0">
                  <a:pos x="379" y="1388"/>
                </a:cxn>
                <a:cxn ang="0">
                  <a:pos x="465" y="1345"/>
                </a:cxn>
                <a:cxn ang="0">
                  <a:pos x="546" y="1294"/>
                </a:cxn>
                <a:cxn ang="0">
                  <a:pos x="619" y="1237"/>
                </a:cxn>
                <a:cxn ang="0">
                  <a:pos x="690" y="1172"/>
                </a:cxn>
                <a:cxn ang="0">
                  <a:pos x="751" y="1102"/>
                </a:cxn>
                <a:cxn ang="0">
                  <a:pos x="808" y="1025"/>
                </a:cxn>
                <a:cxn ang="0">
                  <a:pos x="856" y="944"/>
                </a:cxn>
                <a:cxn ang="0">
                  <a:pos x="898" y="859"/>
                </a:cxn>
                <a:cxn ang="0">
                  <a:pos x="930" y="767"/>
                </a:cxn>
                <a:cxn ang="0">
                  <a:pos x="954" y="674"/>
                </a:cxn>
                <a:cxn ang="0">
                  <a:pos x="969" y="575"/>
                </a:cxn>
                <a:cxn ang="0">
                  <a:pos x="973" y="476"/>
                </a:cxn>
                <a:cxn ang="0">
                  <a:pos x="973" y="443"/>
                </a:cxn>
                <a:cxn ang="0">
                  <a:pos x="969" y="380"/>
                </a:cxn>
                <a:cxn ang="0">
                  <a:pos x="961" y="317"/>
                </a:cxn>
                <a:cxn ang="0">
                  <a:pos x="949" y="257"/>
                </a:cxn>
                <a:cxn ang="0">
                  <a:pos x="934" y="197"/>
                </a:cxn>
                <a:cxn ang="0">
                  <a:pos x="916" y="138"/>
                </a:cxn>
                <a:cxn ang="0">
                  <a:pos x="894" y="83"/>
                </a:cxn>
                <a:cxn ang="0">
                  <a:pos x="868" y="27"/>
                </a:cxn>
                <a:cxn ang="0">
                  <a:pos x="853" y="0"/>
                </a:cxn>
              </a:cxnLst>
              <a:rect l="0" t="0" r="r" b="b"/>
              <a:pathLst>
                <a:path w="973" h="1472">
                  <a:moveTo>
                    <a:pt x="853" y="0"/>
                  </a:moveTo>
                  <a:lnTo>
                    <a:pt x="549" y="176"/>
                  </a:lnTo>
                  <a:lnTo>
                    <a:pt x="549" y="176"/>
                  </a:lnTo>
                  <a:lnTo>
                    <a:pt x="565" y="210"/>
                  </a:lnTo>
                  <a:lnTo>
                    <a:pt x="580" y="246"/>
                  </a:lnTo>
                  <a:lnTo>
                    <a:pt x="594" y="282"/>
                  </a:lnTo>
                  <a:lnTo>
                    <a:pt x="604" y="320"/>
                  </a:lnTo>
                  <a:lnTo>
                    <a:pt x="612" y="357"/>
                  </a:lnTo>
                  <a:lnTo>
                    <a:pt x="618" y="396"/>
                  </a:lnTo>
                  <a:lnTo>
                    <a:pt x="622" y="437"/>
                  </a:lnTo>
                  <a:lnTo>
                    <a:pt x="622" y="476"/>
                  </a:lnTo>
                  <a:lnTo>
                    <a:pt x="622" y="476"/>
                  </a:lnTo>
                  <a:lnTo>
                    <a:pt x="622" y="509"/>
                  </a:lnTo>
                  <a:lnTo>
                    <a:pt x="619" y="542"/>
                  </a:lnTo>
                  <a:lnTo>
                    <a:pt x="616" y="574"/>
                  </a:lnTo>
                  <a:lnTo>
                    <a:pt x="610" y="604"/>
                  </a:lnTo>
                  <a:lnTo>
                    <a:pt x="603" y="635"/>
                  </a:lnTo>
                  <a:lnTo>
                    <a:pt x="595" y="665"/>
                  </a:lnTo>
                  <a:lnTo>
                    <a:pt x="585" y="694"/>
                  </a:lnTo>
                  <a:lnTo>
                    <a:pt x="574" y="724"/>
                  </a:lnTo>
                  <a:lnTo>
                    <a:pt x="562" y="751"/>
                  </a:lnTo>
                  <a:lnTo>
                    <a:pt x="549" y="779"/>
                  </a:lnTo>
                  <a:lnTo>
                    <a:pt x="534" y="805"/>
                  </a:lnTo>
                  <a:lnTo>
                    <a:pt x="517" y="832"/>
                  </a:lnTo>
                  <a:lnTo>
                    <a:pt x="499" y="856"/>
                  </a:lnTo>
                  <a:lnTo>
                    <a:pt x="481" y="880"/>
                  </a:lnTo>
                  <a:lnTo>
                    <a:pt x="462" y="904"/>
                  </a:lnTo>
                  <a:lnTo>
                    <a:pt x="441" y="926"/>
                  </a:lnTo>
                  <a:lnTo>
                    <a:pt x="420" y="947"/>
                  </a:lnTo>
                  <a:lnTo>
                    <a:pt x="397" y="968"/>
                  </a:lnTo>
                  <a:lnTo>
                    <a:pt x="373" y="986"/>
                  </a:lnTo>
                  <a:lnTo>
                    <a:pt x="349" y="1004"/>
                  </a:lnTo>
                  <a:lnTo>
                    <a:pt x="324" y="1022"/>
                  </a:lnTo>
                  <a:lnTo>
                    <a:pt x="298" y="1037"/>
                  </a:lnTo>
                  <a:lnTo>
                    <a:pt x="271" y="1052"/>
                  </a:lnTo>
                  <a:lnTo>
                    <a:pt x="243" y="1066"/>
                  </a:lnTo>
                  <a:lnTo>
                    <a:pt x="214" y="1078"/>
                  </a:lnTo>
                  <a:lnTo>
                    <a:pt x="186" y="1088"/>
                  </a:lnTo>
                  <a:lnTo>
                    <a:pt x="156" y="1097"/>
                  </a:lnTo>
                  <a:lnTo>
                    <a:pt x="126" y="1106"/>
                  </a:lnTo>
                  <a:lnTo>
                    <a:pt x="96" y="1112"/>
                  </a:lnTo>
                  <a:lnTo>
                    <a:pt x="64" y="1117"/>
                  </a:lnTo>
                  <a:lnTo>
                    <a:pt x="33" y="1121"/>
                  </a:lnTo>
                  <a:lnTo>
                    <a:pt x="0" y="1123"/>
                  </a:lnTo>
                  <a:lnTo>
                    <a:pt x="0" y="1472"/>
                  </a:lnTo>
                  <a:lnTo>
                    <a:pt x="0" y="1472"/>
                  </a:lnTo>
                  <a:lnTo>
                    <a:pt x="51" y="1469"/>
                  </a:lnTo>
                  <a:lnTo>
                    <a:pt x="100" y="1465"/>
                  </a:lnTo>
                  <a:lnTo>
                    <a:pt x="148" y="1457"/>
                  </a:lnTo>
                  <a:lnTo>
                    <a:pt x="196" y="1448"/>
                  </a:lnTo>
                  <a:lnTo>
                    <a:pt x="244" y="1436"/>
                  </a:lnTo>
                  <a:lnTo>
                    <a:pt x="291" y="1423"/>
                  </a:lnTo>
                  <a:lnTo>
                    <a:pt x="336" y="1406"/>
                  </a:lnTo>
                  <a:lnTo>
                    <a:pt x="379" y="1388"/>
                  </a:lnTo>
                  <a:lnTo>
                    <a:pt x="423" y="1367"/>
                  </a:lnTo>
                  <a:lnTo>
                    <a:pt x="465" y="1345"/>
                  </a:lnTo>
                  <a:lnTo>
                    <a:pt x="505" y="1321"/>
                  </a:lnTo>
                  <a:lnTo>
                    <a:pt x="546" y="1294"/>
                  </a:lnTo>
                  <a:lnTo>
                    <a:pt x="583" y="1267"/>
                  </a:lnTo>
                  <a:lnTo>
                    <a:pt x="619" y="1237"/>
                  </a:lnTo>
                  <a:lnTo>
                    <a:pt x="655" y="1205"/>
                  </a:lnTo>
                  <a:lnTo>
                    <a:pt x="690" y="1172"/>
                  </a:lnTo>
                  <a:lnTo>
                    <a:pt x="721" y="1138"/>
                  </a:lnTo>
                  <a:lnTo>
                    <a:pt x="751" y="1102"/>
                  </a:lnTo>
                  <a:lnTo>
                    <a:pt x="781" y="1064"/>
                  </a:lnTo>
                  <a:lnTo>
                    <a:pt x="808" y="1025"/>
                  </a:lnTo>
                  <a:lnTo>
                    <a:pt x="834" y="986"/>
                  </a:lnTo>
                  <a:lnTo>
                    <a:pt x="856" y="944"/>
                  </a:lnTo>
                  <a:lnTo>
                    <a:pt x="879" y="902"/>
                  </a:lnTo>
                  <a:lnTo>
                    <a:pt x="898" y="859"/>
                  </a:lnTo>
                  <a:lnTo>
                    <a:pt x="915" y="814"/>
                  </a:lnTo>
                  <a:lnTo>
                    <a:pt x="930" y="767"/>
                  </a:lnTo>
                  <a:lnTo>
                    <a:pt x="943" y="721"/>
                  </a:lnTo>
                  <a:lnTo>
                    <a:pt x="954" y="674"/>
                  </a:lnTo>
                  <a:lnTo>
                    <a:pt x="963" y="625"/>
                  </a:lnTo>
                  <a:lnTo>
                    <a:pt x="969" y="575"/>
                  </a:lnTo>
                  <a:lnTo>
                    <a:pt x="973" y="526"/>
                  </a:lnTo>
                  <a:lnTo>
                    <a:pt x="973" y="476"/>
                  </a:lnTo>
                  <a:lnTo>
                    <a:pt x="973" y="476"/>
                  </a:lnTo>
                  <a:lnTo>
                    <a:pt x="973" y="443"/>
                  </a:lnTo>
                  <a:lnTo>
                    <a:pt x="972" y="411"/>
                  </a:lnTo>
                  <a:lnTo>
                    <a:pt x="969" y="380"/>
                  </a:lnTo>
                  <a:lnTo>
                    <a:pt x="966" y="348"/>
                  </a:lnTo>
                  <a:lnTo>
                    <a:pt x="961" y="317"/>
                  </a:lnTo>
                  <a:lnTo>
                    <a:pt x="957" y="287"/>
                  </a:lnTo>
                  <a:lnTo>
                    <a:pt x="949" y="257"/>
                  </a:lnTo>
                  <a:lnTo>
                    <a:pt x="943" y="227"/>
                  </a:lnTo>
                  <a:lnTo>
                    <a:pt x="934" y="197"/>
                  </a:lnTo>
                  <a:lnTo>
                    <a:pt x="925" y="168"/>
                  </a:lnTo>
                  <a:lnTo>
                    <a:pt x="916" y="138"/>
                  </a:lnTo>
                  <a:lnTo>
                    <a:pt x="904" y="110"/>
                  </a:lnTo>
                  <a:lnTo>
                    <a:pt x="894" y="83"/>
                  </a:lnTo>
                  <a:lnTo>
                    <a:pt x="880" y="54"/>
                  </a:lnTo>
                  <a:lnTo>
                    <a:pt x="868" y="27"/>
                  </a:lnTo>
                  <a:lnTo>
                    <a:pt x="853" y="0"/>
                  </a:lnTo>
                  <a:lnTo>
                    <a:pt x="853" y="0"/>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grpSp>
      <p:sp>
        <p:nvSpPr>
          <p:cNvPr id="41" name="TextBox 40">
            <a:extLst>
              <a:ext uri="{FF2B5EF4-FFF2-40B4-BE49-F238E27FC236}">
                <a16:creationId xmlns:a16="http://schemas.microsoft.com/office/drawing/2014/main" id="{1A7D7288-86C4-406F-B1F3-B1CD9BE7ED41}"/>
              </a:ext>
            </a:extLst>
          </p:cNvPr>
          <p:cNvSpPr txBox="1"/>
          <p:nvPr/>
        </p:nvSpPr>
        <p:spPr bwMode="auto">
          <a:xfrm flipH="1">
            <a:off x="1822451" y="4349002"/>
            <a:ext cx="2675529" cy="396000"/>
          </a:xfrm>
          <a:prstGeom prst="rect">
            <a:avLst/>
          </a:prstGeom>
          <a:noFill/>
        </p:spPr>
        <p:txBody>
          <a:bodyPr wrap="square" lIns="0" r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42" name="Straight Connector 41">
            <a:extLst>
              <a:ext uri="{FF2B5EF4-FFF2-40B4-BE49-F238E27FC236}">
                <a16:creationId xmlns:a16="http://schemas.microsoft.com/office/drawing/2014/main" id="{A161C94C-463F-42E6-A43E-2773E5448F12}"/>
              </a:ext>
              <a:ext uri="{C183D7F6-B498-43B3-948B-1728B52AA6E4}">
                <adec:decorative xmlns:adec="http://schemas.microsoft.com/office/drawing/2017/decorative" val="1"/>
              </a:ext>
            </a:extLst>
          </p:cNvPr>
          <p:cNvCxnSpPr/>
          <p:nvPr/>
        </p:nvCxnSpPr>
        <p:spPr bwMode="auto">
          <a:xfrm>
            <a:off x="1822450" y="4745002"/>
            <a:ext cx="3074802"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F9D4AF02-6F3E-466D-92A5-ACBC65A37781}"/>
              </a:ext>
            </a:extLst>
          </p:cNvPr>
          <p:cNvSpPr txBox="1"/>
          <p:nvPr/>
        </p:nvSpPr>
        <p:spPr bwMode="auto">
          <a:xfrm flipH="1">
            <a:off x="1822451" y="5241414"/>
            <a:ext cx="2955592" cy="396000"/>
          </a:xfrm>
          <a:prstGeom prst="rect">
            <a:avLst/>
          </a:prstGeom>
          <a:noFill/>
        </p:spPr>
        <p:txBody>
          <a:bodyPr wrap="square" lIns="0" r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40" name="Straight Connector 39">
            <a:extLst>
              <a:ext uri="{FF2B5EF4-FFF2-40B4-BE49-F238E27FC236}">
                <a16:creationId xmlns:a16="http://schemas.microsoft.com/office/drawing/2014/main" id="{5380F9FC-0A0B-4C97-8C4E-689BE2295E8A}"/>
              </a:ext>
              <a:ext uri="{C183D7F6-B498-43B3-948B-1728B52AA6E4}">
                <adec:decorative xmlns:adec="http://schemas.microsoft.com/office/drawing/2017/decorative" val="1"/>
              </a:ext>
            </a:extLst>
          </p:cNvPr>
          <p:cNvCxnSpPr/>
          <p:nvPr/>
        </p:nvCxnSpPr>
        <p:spPr bwMode="auto">
          <a:xfrm>
            <a:off x="1822450" y="5637414"/>
            <a:ext cx="3396659"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C74163E1-3BE4-42A7-8C9B-C8DBEB87FDCA}"/>
              </a:ext>
            </a:extLst>
          </p:cNvPr>
          <p:cNvSpPr txBox="1"/>
          <p:nvPr/>
        </p:nvSpPr>
        <p:spPr bwMode="auto">
          <a:xfrm>
            <a:off x="7488470" y="1665362"/>
            <a:ext cx="2874728"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34" name="Straight Connector 33">
            <a:extLst>
              <a:ext uri="{FF2B5EF4-FFF2-40B4-BE49-F238E27FC236}">
                <a16:creationId xmlns:a16="http://schemas.microsoft.com/office/drawing/2014/main" id="{9B2A7E37-399B-4215-9EB5-6E389D6519DE}"/>
              </a:ext>
              <a:ext uri="{C183D7F6-B498-43B3-948B-1728B52AA6E4}">
                <adec:decorative xmlns:adec="http://schemas.microsoft.com/office/drawing/2017/decorative" val="1"/>
              </a:ext>
            </a:extLst>
          </p:cNvPr>
          <p:cNvCxnSpPr/>
          <p:nvPr/>
        </p:nvCxnSpPr>
        <p:spPr bwMode="auto">
          <a:xfrm flipH="1">
            <a:off x="7059468" y="2057221"/>
            <a:ext cx="3303728"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CDEE7D65-EA76-46C7-93A0-755E99978792}"/>
              </a:ext>
            </a:extLst>
          </p:cNvPr>
          <p:cNvSpPr txBox="1"/>
          <p:nvPr/>
        </p:nvSpPr>
        <p:spPr bwMode="auto">
          <a:xfrm>
            <a:off x="7645620" y="2441216"/>
            <a:ext cx="2717576"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36" name="Straight Connector 35">
            <a:extLst>
              <a:ext uri="{FF2B5EF4-FFF2-40B4-BE49-F238E27FC236}">
                <a16:creationId xmlns:a16="http://schemas.microsoft.com/office/drawing/2014/main" id="{A16258B2-C990-4A9B-B940-D38AEDBEF4FD}"/>
              </a:ext>
              <a:ext uri="{C183D7F6-B498-43B3-948B-1728B52AA6E4}">
                <adec:decorative xmlns:adec="http://schemas.microsoft.com/office/drawing/2017/decorative" val="1"/>
              </a:ext>
            </a:extLst>
          </p:cNvPr>
          <p:cNvCxnSpPr/>
          <p:nvPr/>
        </p:nvCxnSpPr>
        <p:spPr bwMode="auto">
          <a:xfrm rot="10800000">
            <a:off x="6850769" y="2833075"/>
            <a:ext cx="3512427"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EF4AF0B4-A7F3-4710-8860-6F046E9FC15A}"/>
              </a:ext>
            </a:extLst>
          </p:cNvPr>
          <p:cNvSpPr txBox="1"/>
          <p:nvPr/>
        </p:nvSpPr>
        <p:spPr bwMode="auto">
          <a:xfrm>
            <a:off x="7730605" y="4349002"/>
            <a:ext cx="2632594"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38" name="Straight Connector 37">
            <a:extLst>
              <a:ext uri="{FF2B5EF4-FFF2-40B4-BE49-F238E27FC236}">
                <a16:creationId xmlns:a16="http://schemas.microsoft.com/office/drawing/2014/main" id="{3B350944-8F24-4435-A592-A9C67DD19B9D}"/>
              </a:ext>
              <a:ext uri="{C183D7F6-B498-43B3-948B-1728B52AA6E4}">
                <adec:decorative xmlns:adec="http://schemas.microsoft.com/office/drawing/2017/decorative" val="1"/>
              </a:ext>
            </a:extLst>
          </p:cNvPr>
          <p:cNvCxnSpPr/>
          <p:nvPr/>
        </p:nvCxnSpPr>
        <p:spPr bwMode="auto">
          <a:xfrm flipH="1">
            <a:off x="7337737" y="4745002"/>
            <a:ext cx="3025459"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4F953A29-1D1E-4A5C-BC8B-807CC26A984E}"/>
              </a:ext>
            </a:extLst>
          </p:cNvPr>
          <p:cNvSpPr txBox="1"/>
          <p:nvPr/>
        </p:nvSpPr>
        <p:spPr bwMode="auto">
          <a:xfrm>
            <a:off x="7488470" y="5241414"/>
            <a:ext cx="2874728"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32" name="Straight Connector 31">
            <a:extLst>
              <a:ext uri="{FF2B5EF4-FFF2-40B4-BE49-F238E27FC236}">
                <a16:creationId xmlns:a16="http://schemas.microsoft.com/office/drawing/2014/main" id="{B9584CCE-93A1-4BBA-BEC2-87DB2B07AB4B}"/>
              </a:ext>
              <a:ext uri="{C183D7F6-B498-43B3-948B-1728B52AA6E4}">
                <adec:decorative xmlns:adec="http://schemas.microsoft.com/office/drawing/2017/decorative" val="1"/>
              </a:ext>
            </a:extLst>
          </p:cNvPr>
          <p:cNvCxnSpPr/>
          <p:nvPr/>
        </p:nvCxnSpPr>
        <p:spPr bwMode="auto">
          <a:xfrm flipH="1">
            <a:off x="7059468" y="5637414"/>
            <a:ext cx="3303728"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69C85105-383B-49CE-BFB2-1E05D4587E3B}"/>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FFC23392-6DA7-42C2-89CB-F4CC74CFC596}"/>
              </a:ext>
            </a:extLst>
          </p:cNvPr>
          <p:cNvSpPr>
            <a:spLocks noGrp="1"/>
          </p:cNvSpPr>
          <p:nvPr>
            <p:ph type="sldNum" sz="quarter" idx="10"/>
          </p:nvPr>
        </p:nvSpPr>
        <p:spPr/>
        <p:txBody>
          <a:bodyPr/>
          <a:lstStyle/>
          <a:p>
            <a:fld id="{1F90F471-3972-4120-B8B3-0237DE626C35}" type="slidenum">
              <a:rPr lang="en-US" smtClean="0"/>
              <a:pPr/>
              <a:t>276</a:t>
            </a:fld>
            <a:endParaRPr lang="en-US" dirty="0"/>
          </a:p>
        </p:txBody>
      </p:sp>
    </p:spTree>
    <p:extLst>
      <p:ext uri="{BB962C8B-B14F-4D97-AF65-F5344CB8AC3E}">
        <p14:creationId xmlns:p14="http://schemas.microsoft.com/office/powerpoint/2010/main" val="889502724"/>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en-US" dirty="0"/>
              <a:t>Circle Illustration 3</a:t>
            </a:r>
            <a:endParaRPr lang="en-US" sz="3600" b="1" dirty="0"/>
          </a:p>
        </p:txBody>
      </p:sp>
      <p:grpSp>
        <p:nvGrpSpPr>
          <p:cNvPr id="30" name="Group 35">
            <a:extLst>
              <a:ext uri="{FF2B5EF4-FFF2-40B4-BE49-F238E27FC236}">
                <a16:creationId xmlns:a16="http://schemas.microsoft.com/office/drawing/2014/main" id="{FD437B7F-B0D9-47B6-85EC-60E7AA02157B}"/>
              </a:ext>
              <a:ext uri="{C183D7F6-B498-43B3-948B-1728B52AA6E4}">
                <adec:decorative xmlns:adec="http://schemas.microsoft.com/office/drawing/2017/decorative" val="1"/>
              </a:ext>
            </a:extLst>
          </p:cNvPr>
          <p:cNvGrpSpPr/>
          <p:nvPr/>
        </p:nvGrpSpPr>
        <p:grpSpPr bwMode="auto">
          <a:xfrm>
            <a:off x="3903939" y="1666800"/>
            <a:ext cx="4416426" cy="4416425"/>
            <a:chOff x="2373313" y="1670050"/>
            <a:chExt cx="4416426" cy="4416425"/>
          </a:xfrm>
        </p:grpSpPr>
        <p:sp>
          <p:nvSpPr>
            <p:cNvPr id="31" name="Freeform 6">
              <a:extLst>
                <a:ext uri="{FF2B5EF4-FFF2-40B4-BE49-F238E27FC236}">
                  <a16:creationId xmlns:a16="http://schemas.microsoft.com/office/drawing/2014/main" id="{F3D9C7A4-F09F-48C5-9C8F-94024152CB8E}"/>
                </a:ext>
              </a:extLst>
            </p:cNvPr>
            <p:cNvSpPr>
              <a:spLocks/>
            </p:cNvSpPr>
            <p:nvPr/>
          </p:nvSpPr>
          <p:spPr bwMode="auto">
            <a:xfrm>
              <a:off x="2373313" y="1670050"/>
              <a:ext cx="2170113" cy="2171700"/>
            </a:xfrm>
            <a:custGeom>
              <a:avLst/>
              <a:gdLst/>
              <a:ahLst/>
              <a:cxnLst>
                <a:cxn ang="0">
                  <a:pos x="1367" y="0"/>
                </a:cxn>
                <a:cxn ang="0">
                  <a:pos x="1227" y="11"/>
                </a:cxn>
                <a:cxn ang="0">
                  <a:pos x="1094" y="32"/>
                </a:cxn>
                <a:cxn ang="0">
                  <a:pos x="963" y="68"/>
                </a:cxn>
                <a:cxn ang="0">
                  <a:pos x="839" y="114"/>
                </a:cxn>
                <a:cxn ang="0">
                  <a:pos x="720" y="173"/>
                </a:cxn>
                <a:cxn ang="0">
                  <a:pos x="608" y="242"/>
                </a:cxn>
                <a:cxn ang="0">
                  <a:pos x="503" y="320"/>
                </a:cxn>
                <a:cxn ang="0">
                  <a:pos x="407" y="408"/>
                </a:cxn>
                <a:cxn ang="0">
                  <a:pos x="318" y="504"/>
                </a:cxn>
                <a:cxn ang="0">
                  <a:pos x="240" y="609"/>
                </a:cxn>
                <a:cxn ang="0">
                  <a:pos x="171" y="722"/>
                </a:cxn>
                <a:cxn ang="0">
                  <a:pos x="113" y="840"/>
                </a:cxn>
                <a:cxn ang="0">
                  <a:pos x="66" y="965"/>
                </a:cxn>
                <a:cxn ang="0">
                  <a:pos x="32" y="1095"/>
                </a:cxn>
                <a:cxn ang="0">
                  <a:pos x="9" y="1229"/>
                </a:cxn>
                <a:cxn ang="0">
                  <a:pos x="0" y="1368"/>
                </a:cxn>
                <a:cxn ang="0">
                  <a:pos x="351" y="1368"/>
                </a:cxn>
                <a:cxn ang="0">
                  <a:pos x="357" y="1278"/>
                </a:cxn>
                <a:cxn ang="0">
                  <a:pos x="371" y="1190"/>
                </a:cxn>
                <a:cxn ang="0">
                  <a:pos x="392" y="1103"/>
                </a:cxn>
                <a:cxn ang="0">
                  <a:pos x="420" y="1017"/>
                </a:cxn>
                <a:cxn ang="0">
                  <a:pos x="456" y="935"/>
                </a:cxn>
                <a:cxn ang="0">
                  <a:pos x="498" y="857"/>
                </a:cxn>
                <a:cxn ang="0">
                  <a:pos x="548" y="782"/>
                </a:cxn>
                <a:cxn ang="0">
                  <a:pos x="605" y="711"/>
                </a:cxn>
                <a:cxn ang="0">
                  <a:pos x="641" y="671"/>
                </a:cxn>
                <a:cxn ang="0">
                  <a:pos x="722" y="596"/>
                </a:cxn>
                <a:cxn ang="0">
                  <a:pos x="807" y="530"/>
                </a:cxn>
                <a:cxn ang="0">
                  <a:pos x="900" y="474"/>
                </a:cxn>
                <a:cxn ang="0">
                  <a:pos x="996" y="429"/>
                </a:cxn>
                <a:cxn ang="0">
                  <a:pos x="1098" y="393"/>
                </a:cxn>
                <a:cxn ang="0">
                  <a:pos x="1203" y="368"/>
                </a:cxn>
                <a:cxn ang="0">
                  <a:pos x="1311" y="354"/>
                </a:cxn>
                <a:cxn ang="0">
                  <a:pos x="1367" y="0"/>
                </a:cxn>
              </a:cxnLst>
              <a:rect l="0" t="0" r="r" b="b"/>
              <a:pathLst>
                <a:path w="1367" h="1368">
                  <a:moveTo>
                    <a:pt x="1367" y="0"/>
                  </a:moveTo>
                  <a:lnTo>
                    <a:pt x="1367" y="0"/>
                  </a:lnTo>
                  <a:lnTo>
                    <a:pt x="1296" y="3"/>
                  </a:lnTo>
                  <a:lnTo>
                    <a:pt x="1227" y="11"/>
                  </a:lnTo>
                  <a:lnTo>
                    <a:pt x="1160" y="20"/>
                  </a:lnTo>
                  <a:lnTo>
                    <a:pt x="1094" y="32"/>
                  </a:lnTo>
                  <a:lnTo>
                    <a:pt x="1028" y="48"/>
                  </a:lnTo>
                  <a:lnTo>
                    <a:pt x="963" y="68"/>
                  </a:lnTo>
                  <a:lnTo>
                    <a:pt x="900" y="90"/>
                  </a:lnTo>
                  <a:lnTo>
                    <a:pt x="839" y="114"/>
                  </a:lnTo>
                  <a:lnTo>
                    <a:pt x="779" y="143"/>
                  </a:lnTo>
                  <a:lnTo>
                    <a:pt x="720" y="173"/>
                  </a:lnTo>
                  <a:lnTo>
                    <a:pt x="663" y="206"/>
                  </a:lnTo>
                  <a:lnTo>
                    <a:pt x="608" y="242"/>
                  </a:lnTo>
                  <a:lnTo>
                    <a:pt x="555" y="279"/>
                  </a:lnTo>
                  <a:lnTo>
                    <a:pt x="503" y="320"/>
                  </a:lnTo>
                  <a:lnTo>
                    <a:pt x="455" y="363"/>
                  </a:lnTo>
                  <a:lnTo>
                    <a:pt x="407" y="408"/>
                  </a:lnTo>
                  <a:lnTo>
                    <a:pt x="362" y="455"/>
                  </a:lnTo>
                  <a:lnTo>
                    <a:pt x="318" y="504"/>
                  </a:lnTo>
                  <a:lnTo>
                    <a:pt x="278" y="557"/>
                  </a:lnTo>
                  <a:lnTo>
                    <a:pt x="240" y="609"/>
                  </a:lnTo>
                  <a:lnTo>
                    <a:pt x="204" y="665"/>
                  </a:lnTo>
                  <a:lnTo>
                    <a:pt x="171" y="722"/>
                  </a:lnTo>
                  <a:lnTo>
                    <a:pt x="141" y="780"/>
                  </a:lnTo>
                  <a:lnTo>
                    <a:pt x="113" y="840"/>
                  </a:lnTo>
                  <a:lnTo>
                    <a:pt x="89" y="902"/>
                  </a:lnTo>
                  <a:lnTo>
                    <a:pt x="66" y="965"/>
                  </a:lnTo>
                  <a:lnTo>
                    <a:pt x="47" y="1029"/>
                  </a:lnTo>
                  <a:lnTo>
                    <a:pt x="32" y="1095"/>
                  </a:lnTo>
                  <a:lnTo>
                    <a:pt x="18" y="1161"/>
                  </a:lnTo>
                  <a:lnTo>
                    <a:pt x="9" y="1229"/>
                  </a:lnTo>
                  <a:lnTo>
                    <a:pt x="3" y="1298"/>
                  </a:lnTo>
                  <a:lnTo>
                    <a:pt x="0" y="1368"/>
                  </a:lnTo>
                  <a:lnTo>
                    <a:pt x="351" y="1368"/>
                  </a:lnTo>
                  <a:lnTo>
                    <a:pt x="351" y="1368"/>
                  </a:lnTo>
                  <a:lnTo>
                    <a:pt x="354" y="1323"/>
                  </a:lnTo>
                  <a:lnTo>
                    <a:pt x="357" y="1278"/>
                  </a:lnTo>
                  <a:lnTo>
                    <a:pt x="363" y="1233"/>
                  </a:lnTo>
                  <a:lnTo>
                    <a:pt x="371" y="1190"/>
                  </a:lnTo>
                  <a:lnTo>
                    <a:pt x="381" y="1145"/>
                  </a:lnTo>
                  <a:lnTo>
                    <a:pt x="392" y="1103"/>
                  </a:lnTo>
                  <a:lnTo>
                    <a:pt x="405" y="1059"/>
                  </a:lnTo>
                  <a:lnTo>
                    <a:pt x="420" y="1017"/>
                  </a:lnTo>
                  <a:lnTo>
                    <a:pt x="437" y="975"/>
                  </a:lnTo>
                  <a:lnTo>
                    <a:pt x="456" y="935"/>
                  </a:lnTo>
                  <a:lnTo>
                    <a:pt x="477" y="896"/>
                  </a:lnTo>
                  <a:lnTo>
                    <a:pt x="498" y="857"/>
                  </a:lnTo>
                  <a:lnTo>
                    <a:pt x="522" y="819"/>
                  </a:lnTo>
                  <a:lnTo>
                    <a:pt x="548" y="782"/>
                  </a:lnTo>
                  <a:lnTo>
                    <a:pt x="575" y="746"/>
                  </a:lnTo>
                  <a:lnTo>
                    <a:pt x="605" y="711"/>
                  </a:lnTo>
                  <a:lnTo>
                    <a:pt x="605" y="711"/>
                  </a:lnTo>
                  <a:lnTo>
                    <a:pt x="641" y="671"/>
                  </a:lnTo>
                  <a:lnTo>
                    <a:pt x="680" y="632"/>
                  </a:lnTo>
                  <a:lnTo>
                    <a:pt x="722" y="596"/>
                  </a:lnTo>
                  <a:lnTo>
                    <a:pt x="764" y="561"/>
                  </a:lnTo>
                  <a:lnTo>
                    <a:pt x="807" y="530"/>
                  </a:lnTo>
                  <a:lnTo>
                    <a:pt x="852" y="501"/>
                  </a:lnTo>
                  <a:lnTo>
                    <a:pt x="900" y="474"/>
                  </a:lnTo>
                  <a:lnTo>
                    <a:pt x="948" y="450"/>
                  </a:lnTo>
                  <a:lnTo>
                    <a:pt x="996" y="429"/>
                  </a:lnTo>
                  <a:lnTo>
                    <a:pt x="1047" y="410"/>
                  </a:lnTo>
                  <a:lnTo>
                    <a:pt x="1098" y="393"/>
                  </a:lnTo>
                  <a:lnTo>
                    <a:pt x="1151" y="380"/>
                  </a:lnTo>
                  <a:lnTo>
                    <a:pt x="1203" y="368"/>
                  </a:lnTo>
                  <a:lnTo>
                    <a:pt x="1257" y="360"/>
                  </a:lnTo>
                  <a:lnTo>
                    <a:pt x="1311" y="354"/>
                  </a:lnTo>
                  <a:lnTo>
                    <a:pt x="1367" y="351"/>
                  </a:lnTo>
                  <a:lnTo>
                    <a:pt x="1367" y="0"/>
                  </a:lnTo>
                  <a:close/>
                </a:path>
              </a:pathLst>
            </a:custGeom>
            <a:solidFill>
              <a:schemeClr val="accent1">
                <a:alpha val="2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2" name="Freeform 7">
              <a:extLst>
                <a:ext uri="{FF2B5EF4-FFF2-40B4-BE49-F238E27FC236}">
                  <a16:creationId xmlns:a16="http://schemas.microsoft.com/office/drawing/2014/main" id="{142003C2-D99C-4AA3-9EF3-3832D02F5C7F}"/>
                </a:ext>
              </a:extLst>
            </p:cNvPr>
            <p:cNvSpPr>
              <a:spLocks/>
            </p:cNvSpPr>
            <p:nvPr/>
          </p:nvSpPr>
          <p:spPr bwMode="auto">
            <a:xfrm>
              <a:off x="4610101" y="1670050"/>
              <a:ext cx="2179638" cy="2171700"/>
            </a:xfrm>
            <a:custGeom>
              <a:avLst/>
              <a:gdLst/>
              <a:ahLst/>
              <a:cxnLst>
                <a:cxn ang="0">
                  <a:pos x="0" y="351"/>
                </a:cxn>
                <a:cxn ang="0">
                  <a:pos x="56" y="354"/>
                </a:cxn>
                <a:cxn ang="0">
                  <a:pos x="164" y="368"/>
                </a:cxn>
                <a:cxn ang="0">
                  <a:pos x="270" y="392"/>
                </a:cxn>
                <a:cxn ang="0">
                  <a:pos x="372" y="428"/>
                </a:cxn>
                <a:cxn ang="0">
                  <a:pos x="470" y="473"/>
                </a:cxn>
                <a:cxn ang="0">
                  <a:pos x="563" y="530"/>
                </a:cxn>
                <a:cxn ang="0">
                  <a:pos x="650" y="594"/>
                </a:cxn>
                <a:cxn ang="0">
                  <a:pos x="731" y="669"/>
                </a:cxn>
                <a:cxn ang="0">
                  <a:pos x="768" y="711"/>
                </a:cxn>
                <a:cxn ang="0">
                  <a:pos x="824" y="782"/>
                </a:cxn>
                <a:cxn ang="0">
                  <a:pos x="873" y="857"/>
                </a:cxn>
                <a:cxn ang="0">
                  <a:pos x="917" y="935"/>
                </a:cxn>
                <a:cxn ang="0">
                  <a:pos x="951" y="1017"/>
                </a:cxn>
                <a:cxn ang="0">
                  <a:pos x="980" y="1103"/>
                </a:cxn>
                <a:cxn ang="0">
                  <a:pos x="1001" y="1190"/>
                </a:cxn>
                <a:cxn ang="0">
                  <a:pos x="1014" y="1278"/>
                </a:cxn>
                <a:cxn ang="0">
                  <a:pos x="1020" y="1368"/>
                </a:cxn>
                <a:cxn ang="0">
                  <a:pos x="1373" y="1368"/>
                </a:cxn>
                <a:cxn ang="0">
                  <a:pos x="1364" y="1229"/>
                </a:cxn>
                <a:cxn ang="0">
                  <a:pos x="1341" y="1094"/>
                </a:cxn>
                <a:cxn ang="0">
                  <a:pos x="1305" y="963"/>
                </a:cxn>
                <a:cxn ang="0">
                  <a:pos x="1259" y="839"/>
                </a:cxn>
                <a:cxn ang="0">
                  <a:pos x="1200" y="720"/>
                </a:cxn>
                <a:cxn ang="0">
                  <a:pos x="1131" y="608"/>
                </a:cxn>
                <a:cxn ang="0">
                  <a:pos x="1052" y="503"/>
                </a:cxn>
                <a:cxn ang="0">
                  <a:pos x="963" y="407"/>
                </a:cxn>
                <a:cxn ang="0">
                  <a:pos x="866" y="318"/>
                </a:cxn>
                <a:cxn ang="0">
                  <a:pos x="761" y="239"/>
                </a:cxn>
                <a:cxn ang="0">
                  <a:pos x="648" y="171"/>
                </a:cxn>
                <a:cxn ang="0">
                  <a:pos x="530" y="113"/>
                </a:cxn>
                <a:cxn ang="0">
                  <a:pos x="405" y="66"/>
                </a:cxn>
                <a:cxn ang="0">
                  <a:pos x="275" y="32"/>
                </a:cxn>
                <a:cxn ang="0">
                  <a:pos x="140" y="9"/>
                </a:cxn>
                <a:cxn ang="0">
                  <a:pos x="0" y="0"/>
                </a:cxn>
              </a:cxnLst>
              <a:rect l="0" t="0" r="r" b="b"/>
              <a:pathLst>
                <a:path w="1373" h="1368">
                  <a:moveTo>
                    <a:pt x="0" y="0"/>
                  </a:moveTo>
                  <a:lnTo>
                    <a:pt x="0" y="351"/>
                  </a:lnTo>
                  <a:lnTo>
                    <a:pt x="0" y="351"/>
                  </a:lnTo>
                  <a:lnTo>
                    <a:pt x="56" y="354"/>
                  </a:lnTo>
                  <a:lnTo>
                    <a:pt x="110" y="359"/>
                  </a:lnTo>
                  <a:lnTo>
                    <a:pt x="164" y="368"/>
                  </a:lnTo>
                  <a:lnTo>
                    <a:pt x="218" y="378"/>
                  </a:lnTo>
                  <a:lnTo>
                    <a:pt x="270" y="392"/>
                  </a:lnTo>
                  <a:lnTo>
                    <a:pt x="321" y="408"/>
                  </a:lnTo>
                  <a:lnTo>
                    <a:pt x="372" y="428"/>
                  </a:lnTo>
                  <a:lnTo>
                    <a:pt x="422" y="449"/>
                  </a:lnTo>
                  <a:lnTo>
                    <a:pt x="470" y="473"/>
                  </a:lnTo>
                  <a:lnTo>
                    <a:pt x="518" y="500"/>
                  </a:lnTo>
                  <a:lnTo>
                    <a:pt x="563" y="530"/>
                  </a:lnTo>
                  <a:lnTo>
                    <a:pt x="608" y="561"/>
                  </a:lnTo>
                  <a:lnTo>
                    <a:pt x="650" y="594"/>
                  </a:lnTo>
                  <a:lnTo>
                    <a:pt x="692" y="632"/>
                  </a:lnTo>
                  <a:lnTo>
                    <a:pt x="731" y="669"/>
                  </a:lnTo>
                  <a:lnTo>
                    <a:pt x="768" y="711"/>
                  </a:lnTo>
                  <a:lnTo>
                    <a:pt x="768" y="711"/>
                  </a:lnTo>
                  <a:lnTo>
                    <a:pt x="797" y="746"/>
                  </a:lnTo>
                  <a:lnTo>
                    <a:pt x="824" y="782"/>
                  </a:lnTo>
                  <a:lnTo>
                    <a:pt x="849" y="819"/>
                  </a:lnTo>
                  <a:lnTo>
                    <a:pt x="873" y="857"/>
                  </a:lnTo>
                  <a:lnTo>
                    <a:pt x="896" y="896"/>
                  </a:lnTo>
                  <a:lnTo>
                    <a:pt x="917" y="935"/>
                  </a:lnTo>
                  <a:lnTo>
                    <a:pt x="935" y="975"/>
                  </a:lnTo>
                  <a:lnTo>
                    <a:pt x="951" y="1017"/>
                  </a:lnTo>
                  <a:lnTo>
                    <a:pt x="966" y="1059"/>
                  </a:lnTo>
                  <a:lnTo>
                    <a:pt x="980" y="1103"/>
                  </a:lnTo>
                  <a:lnTo>
                    <a:pt x="992" y="1145"/>
                  </a:lnTo>
                  <a:lnTo>
                    <a:pt x="1001" y="1190"/>
                  </a:lnTo>
                  <a:lnTo>
                    <a:pt x="1008" y="1233"/>
                  </a:lnTo>
                  <a:lnTo>
                    <a:pt x="1014" y="1278"/>
                  </a:lnTo>
                  <a:lnTo>
                    <a:pt x="1019" y="1323"/>
                  </a:lnTo>
                  <a:lnTo>
                    <a:pt x="1020" y="1368"/>
                  </a:lnTo>
                  <a:lnTo>
                    <a:pt x="1373" y="1368"/>
                  </a:lnTo>
                  <a:lnTo>
                    <a:pt x="1373" y="1368"/>
                  </a:lnTo>
                  <a:lnTo>
                    <a:pt x="1370" y="1298"/>
                  </a:lnTo>
                  <a:lnTo>
                    <a:pt x="1364" y="1229"/>
                  </a:lnTo>
                  <a:lnTo>
                    <a:pt x="1353" y="1161"/>
                  </a:lnTo>
                  <a:lnTo>
                    <a:pt x="1341" y="1094"/>
                  </a:lnTo>
                  <a:lnTo>
                    <a:pt x="1325" y="1028"/>
                  </a:lnTo>
                  <a:lnTo>
                    <a:pt x="1305" y="963"/>
                  </a:lnTo>
                  <a:lnTo>
                    <a:pt x="1283" y="900"/>
                  </a:lnTo>
                  <a:lnTo>
                    <a:pt x="1259" y="839"/>
                  </a:lnTo>
                  <a:lnTo>
                    <a:pt x="1230" y="779"/>
                  </a:lnTo>
                  <a:lnTo>
                    <a:pt x="1200" y="720"/>
                  </a:lnTo>
                  <a:lnTo>
                    <a:pt x="1167" y="663"/>
                  </a:lnTo>
                  <a:lnTo>
                    <a:pt x="1131" y="608"/>
                  </a:lnTo>
                  <a:lnTo>
                    <a:pt x="1092" y="554"/>
                  </a:lnTo>
                  <a:lnTo>
                    <a:pt x="1052" y="503"/>
                  </a:lnTo>
                  <a:lnTo>
                    <a:pt x="1008" y="453"/>
                  </a:lnTo>
                  <a:lnTo>
                    <a:pt x="963" y="407"/>
                  </a:lnTo>
                  <a:lnTo>
                    <a:pt x="917" y="362"/>
                  </a:lnTo>
                  <a:lnTo>
                    <a:pt x="866" y="318"/>
                  </a:lnTo>
                  <a:lnTo>
                    <a:pt x="815" y="278"/>
                  </a:lnTo>
                  <a:lnTo>
                    <a:pt x="761" y="239"/>
                  </a:lnTo>
                  <a:lnTo>
                    <a:pt x="707" y="204"/>
                  </a:lnTo>
                  <a:lnTo>
                    <a:pt x="648" y="171"/>
                  </a:lnTo>
                  <a:lnTo>
                    <a:pt x="590" y="140"/>
                  </a:lnTo>
                  <a:lnTo>
                    <a:pt x="530" y="113"/>
                  </a:lnTo>
                  <a:lnTo>
                    <a:pt x="468" y="87"/>
                  </a:lnTo>
                  <a:lnTo>
                    <a:pt x="405" y="66"/>
                  </a:lnTo>
                  <a:lnTo>
                    <a:pt x="341" y="47"/>
                  </a:lnTo>
                  <a:lnTo>
                    <a:pt x="275" y="32"/>
                  </a:lnTo>
                  <a:lnTo>
                    <a:pt x="207" y="18"/>
                  </a:lnTo>
                  <a:lnTo>
                    <a:pt x="140" y="9"/>
                  </a:lnTo>
                  <a:lnTo>
                    <a:pt x="69" y="3"/>
                  </a:lnTo>
                  <a:lnTo>
                    <a:pt x="0" y="0"/>
                  </a:lnTo>
                  <a:lnTo>
                    <a:pt x="0" y="0"/>
                  </a:lnTo>
                  <a:close/>
                </a:path>
              </a:pathLst>
            </a:custGeom>
            <a:solidFill>
              <a:schemeClr val="accent2">
                <a:alpha val="2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3" name="Freeform 8">
              <a:extLst>
                <a:ext uri="{FF2B5EF4-FFF2-40B4-BE49-F238E27FC236}">
                  <a16:creationId xmlns:a16="http://schemas.microsoft.com/office/drawing/2014/main" id="{334BA445-FFA8-4308-BF4D-8FD55AC7FEBA}"/>
                </a:ext>
              </a:extLst>
            </p:cNvPr>
            <p:cNvSpPr>
              <a:spLocks/>
            </p:cNvSpPr>
            <p:nvPr/>
          </p:nvSpPr>
          <p:spPr bwMode="auto">
            <a:xfrm>
              <a:off x="2997201" y="2293938"/>
              <a:ext cx="1546225" cy="1547813"/>
            </a:xfrm>
            <a:custGeom>
              <a:avLst/>
              <a:gdLst/>
              <a:ahLst/>
              <a:cxnLst>
                <a:cxn ang="0">
                  <a:pos x="974" y="0"/>
                </a:cxn>
                <a:cxn ang="0">
                  <a:pos x="869" y="9"/>
                </a:cxn>
                <a:cxn ang="0">
                  <a:pos x="767" y="27"/>
                </a:cxn>
                <a:cxn ang="0">
                  <a:pos x="668" y="57"/>
                </a:cxn>
                <a:cxn ang="0">
                  <a:pos x="572" y="96"/>
                </a:cxn>
                <a:cxn ang="0">
                  <a:pos x="482" y="144"/>
                </a:cxn>
                <a:cxn ang="0">
                  <a:pos x="396" y="203"/>
                </a:cxn>
                <a:cxn ang="0">
                  <a:pos x="315" y="270"/>
                </a:cxn>
                <a:cxn ang="0">
                  <a:pos x="243" y="345"/>
                </a:cxn>
                <a:cxn ang="0">
                  <a:pos x="215" y="378"/>
                </a:cxn>
                <a:cxn ang="0">
                  <a:pos x="165" y="449"/>
                </a:cxn>
                <a:cxn ang="0">
                  <a:pos x="120" y="522"/>
                </a:cxn>
                <a:cxn ang="0">
                  <a:pos x="83" y="599"/>
                </a:cxn>
                <a:cxn ang="0">
                  <a:pos x="53" y="680"/>
                </a:cxn>
                <a:cxn ang="0">
                  <a:pos x="29" y="762"/>
                </a:cxn>
                <a:cxn ang="0">
                  <a:pos x="12" y="846"/>
                </a:cxn>
                <a:cxn ang="0">
                  <a:pos x="3" y="932"/>
                </a:cxn>
                <a:cxn ang="0">
                  <a:pos x="351" y="975"/>
                </a:cxn>
                <a:cxn ang="0">
                  <a:pos x="354" y="944"/>
                </a:cxn>
                <a:cxn ang="0">
                  <a:pos x="362" y="882"/>
                </a:cxn>
                <a:cxn ang="0">
                  <a:pos x="375" y="822"/>
                </a:cxn>
                <a:cxn ang="0">
                  <a:pos x="395" y="765"/>
                </a:cxn>
                <a:cxn ang="0">
                  <a:pos x="419" y="710"/>
                </a:cxn>
                <a:cxn ang="0">
                  <a:pos x="449" y="657"/>
                </a:cxn>
                <a:cxn ang="0">
                  <a:pos x="482" y="609"/>
                </a:cxn>
                <a:cxn ang="0">
                  <a:pos x="519" y="563"/>
                </a:cxn>
                <a:cxn ang="0">
                  <a:pos x="561" y="521"/>
                </a:cxn>
                <a:cxn ang="0">
                  <a:pos x="608" y="483"/>
                </a:cxn>
                <a:cxn ang="0">
                  <a:pos x="656" y="450"/>
                </a:cxn>
                <a:cxn ang="0">
                  <a:pos x="708" y="420"/>
                </a:cxn>
                <a:cxn ang="0">
                  <a:pos x="764" y="396"/>
                </a:cxn>
                <a:cxn ang="0">
                  <a:pos x="821" y="377"/>
                </a:cxn>
                <a:cxn ang="0">
                  <a:pos x="881" y="363"/>
                </a:cxn>
                <a:cxn ang="0">
                  <a:pos x="942" y="354"/>
                </a:cxn>
                <a:cxn ang="0">
                  <a:pos x="974" y="0"/>
                </a:cxn>
              </a:cxnLst>
              <a:rect l="0" t="0" r="r" b="b"/>
              <a:pathLst>
                <a:path w="974" h="975">
                  <a:moveTo>
                    <a:pt x="974" y="0"/>
                  </a:moveTo>
                  <a:lnTo>
                    <a:pt x="974" y="0"/>
                  </a:lnTo>
                  <a:lnTo>
                    <a:pt x="921" y="3"/>
                  </a:lnTo>
                  <a:lnTo>
                    <a:pt x="869" y="9"/>
                  </a:lnTo>
                  <a:lnTo>
                    <a:pt x="818" y="17"/>
                  </a:lnTo>
                  <a:lnTo>
                    <a:pt x="767" y="27"/>
                  </a:lnTo>
                  <a:lnTo>
                    <a:pt x="717" y="41"/>
                  </a:lnTo>
                  <a:lnTo>
                    <a:pt x="668" y="57"/>
                  </a:lnTo>
                  <a:lnTo>
                    <a:pt x="620" y="75"/>
                  </a:lnTo>
                  <a:lnTo>
                    <a:pt x="572" y="96"/>
                  </a:lnTo>
                  <a:lnTo>
                    <a:pt x="527" y="119"/>
                  </a:lnTo>
                  <a:lnTo>
                    <a:pt x="482" y="144"/>
                  </a:lnTo>
                  <a:lnTo>
                    <a:pt x="438" y="173"/>
                  </a:lnTo>
                  <a:lnTo>
                    <a:pt x="396" y="203"/>
                  </a:lnTo>
                  <a:lnTo>
                    <a:pt x="354" y="234"/>
                  </a:lnTo>
                  <a:lnTo>
                    <a:pt x="315" y="270"/>
                  </a:lnTo>
                  <a:lnTo>
                    <a:pt x="279" y="306"/>
                  </a:lnTo>
                  <a:lnTo>
                    <a:pt x="243" y="345"/>
                  </a:lnTo>
                  <a:lnTo>
                    <a:pt x="243" y="345"/>
                  </a:lnTo>
                  <a:lnTo>
                    <a:pt x="215" y="378"/>
                  </a:lnTo>
                  <a:lnTo>
                    <a:pt x="189" y="413"/>
                  </a:lnTo>
                  <a:lnTo>
                    <a:pt x="165" y="449"/>
                  </a:lnTo>
                  <a:lnTo>
                    <a:pt x="141" y="485"/>
                  </a:lnTo>
                  <a:lnTo>
                    <a:pt x="120" y="522"/>
                  </a:lnTo>
                  <a:lnTo>
                    <a:pt x="101" y="560"/>
                  </a:lnTo>
                  <a:lnTo>
                    <a:pt x="83" y="599"/>
                  </a:lnTo>
                  <a:lnTo>
                    <a:pt x="66" y="639"/>
                  </a:lnTo>
                  <a:lnTo>
                    <a:pt x="53" y="680"/>
                  </a:lnTo>
                  <a:lnTo>
                    <a:pt x="39" y="720"/>
                  </a:lnTo>
                  <a:lnTo>
                    <a:pt x="29" y="762"/>
                  </a:lnTo>
                  <a:lnTo>
                    <a:pt x="20" y="804"/>
                  </a:lnTo>
                  <a:lnTo>
                    <a:pt x="12" y="846"/>
                  </a:lnTo>
                  <a:lnTo>
                    <a:pt x="6" y="888"/>
                  </a:lnTo>
                  <a:lnTo>
                    <a:pt x="3" y="932"/>
                  </a:lnTo>
                  <a:lnTo>
                    <a:pt x="0" y="975"/>
                  </a:lnTo>
                  <a:lnTo>
                    <a:pt x="351" y="975"/>
                  </a:lnTo>
                  <a:lnTo>
                    <a:pt x="351" y="975"/>
                  </a:lnTo>
                  <a:lnTo>
                    <a:pt x="354" y="944"/>
                  </a:lnTo>
                  <a:lnTo>
                    <a:pt x="357" y="912"/>
                  </a:lnTo>
                  <a:lnTo>
                    <a:pt x="362" y="882"/>
                  </a:lnTo>
                  <a:lnTo>
                    <a:pt x="368" y="852"/>
                  </a:lnTo>
                  <a:lnTo>
                    <a:pt x="375" y="822"/>
                  </a:lnTo>
                  <a:lnTo>
                    <a:pt x="384" y="794"/>
                  </a:lnTo>
                  <a:lnTo>
                    <a:pt x="395" y="765"/>
                  </a:lnTo>
                  <a:lnTo>
                    <a:pt x="407" y="737"/>
                  </a:lnTo>
                  <a:lnTo>
                    <a:pt x="419" y="710"/>
                  </a:lnTo>
                  <a:lnTo>
                    <a:pt x="434" y="683"/>
                  </a:lnTo>
                  <a:lnTo>
                    <a:pt x="449" y="657"/>
                  </a:lnTo>
                  <a:lnTo>
                    <a:pt x="465" y="633"/>
                  </a:lnTo>
                  <a:lnTo>
                    <a:pt x="482" y="609"/>
                  </a:lnTo>
                  <a:lnTo>
                    <a:pt x="500" y="585"/>
                  </a:lnTo>
                  <a:lnTo>
                    <a:pt x="519" y="563"/>
                  </a:lnTo>
                  <a:lnTo>
                    <a:pt x="540" y="542"/>
                  </a:lnTo>
                  <a:lnTo>
                    <a:pt x="561" y="521"/>
                  </a:lnTo>
                  <a:lnTo>
                    <a:pt x="584" y="501"/>
                  </a:lnTo>
                  <a:lnTo>
                    <a:pt x="608" y="483"/>
                  </a:lnTo>
                  <a:lnTo>
                    <a:pt x="632" y="465"/>
                  </a:lnTo>
                  <a:lnTo>
                    <a:pt x="656" y="450"/>
                  </a:lnTo>
                  <a:lnTo>
                    <a:pt x="681" y="435"/>
                  </a:lnTo>
                  <a:lnTo>
                    <a:pt x="708" y="420"/>
                  </a:lnTo>
                  <a:lnTo>
                    <a:pt x="735" y="408"/>
                  </a:lnTo>
                  <a:lnTo>
                    <a:pt x="764" y="396"/>
                  </a:lnTo>
                  <a:lnTo>
                    <a:pt x="792" y="386"/>
                  </a:lnTo>
                  <a:lnTo>
                    <a:pt x="821" y="377"/>
                  </a:lnTo>
                  <a:lnTo>
                    <a:pt x="851" y="369"/>
                  </a:lnTo>
                  <a:lnTo>
                    <a:pt x="881" y="363"/>
                  </a:lnTo>
                  <a:lnTo>
                    <a:pt x="911" y="359"/>
                  </a:lnTo>
                  <a:lnTo>
                    <a:pt x="942" y="354"/>
                  </a:lnTo>
                  <a:lnTo>
                    <a:pt x="974" y="353"/>
                  </a:lnTo>
                  <a:lnTo>
                    <a:pt x="974"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4" name="Freeform 9">
              <a:extLst>
                <a:ext uri="{FF2B5EF4-FFF2-40B4-BE49-F238E27FC236}">
                  <a16:creationId xmlns:a16="http://schemas.microsoft.com/office/drawing/2014/main" id="{FA324CC0-A5F2-414D-9A46-1AC0BCB6675F}"/>
                </a:ext>
              </a:extLst>
            </p:cNvPr>
            <p:cNvSpPr>
              <a:spLocks/>
            </p:cNvSpPr>
            <p:nvPr/>
          </p:nvSpPr>
          <p:spPr bwMode="auto">
            <a:xfrm>
              <a:off x="4610101" y="2293938"/>
              <a:ext cx="1552575" cy="1584325"/>
            </a:xfrm>
            <a:custGeom>
              <a:avLst/>
              <a:gdLst/>
              <a:ahLst/>
              <a:cxnLst>
                <a:cxn ang="0">
                  <a:pos x="737" y="345"/>
                </a:cxn>
                <a:cxn ang="0">
                  <a:pos x="663" y="269"/>
                </a:cxn>
                <a:cxn ang="0">
                  <a:pos x="582" y="201"/>
                </a:cxn>
                <a:cxn ang="0">
                  <a:pos x="497" y="143"/>
                </a:cxn>
                <a:cxn ang="0">
                  <a:pos x="404" y="95"/>
                </a:cxn>
                <a:cxn ang="0">
                  <a:pos x="308" y="56"/>
                </a:cxn>
                <a:cxn ang="0">
                  <a:pos x="209" y="27"/>
                </a:cxn>
                <a:cxn ang="0">
                  <a:pos x="105" y="8"/>
                </a:cxn>
                <a:cxn ang="0">
                  <a:pos x="0" y="0"/>
                </a:cxn>
                <a:cxn ang="0">
                  <a:pos x="0" y="353"/>
                </a:cxn>
                <a:cxn ang="0">
                  <a:pos x="65" y="357"/>
                </a:cxn>
                <a:cxn ang="0">
                  <a:pos x="126" y="369"/>
                </a:cxn>
                <a:cxn ang="0">
                  <a:pos x="188" y="386"/>
                </a:cxn>
                <a:cxn ang="0">
                  <a:pos x="245" y="408"/>
                </a:cxn>
                <a:cxn ang="0">
                  <a:pos x="300" y="435"/>
                </a:cxn>
                <a:cxn ang="0">
                  <a:pos x="351" y="468"/>
                </a:cxn>
                <a:cxn ang="0">
                  <a:pos x="401" y="506"/>
                </a:cxn>
                <a:cxn ang="0">
                  <a:pos x="444" y="548"/>
                </a:cxn>
                <a:cxn ang="0">
                  <a:pos x="485" y="593"/>
                </a:cxn>
                <a:cxn ang="0">
                  <a:pos x="521" y="642"/>
                </a:cxn>
                <a:cxn ang="0">
                  <a:pos x="552" y="695"/>
                </a:cxn>
                <a:cxn ang="0">
                  <a:pos x="579" y="750"/>
                </a:cxn>
                <a:cxn ang="0">
                  <a:pos x="600" y="809"/>
                </a:cxn>
                <a:cxn ang="0">
                  <a:pos x="615" y="870"/>
                </a:cxn>
                <a:cxn ang="0">
                  <a:pos x="624" y="933"/>
                </a:cxn>
                <a:cxn ang="0">
                  <a:pos x="627" y="998"/>
                </a:cxn>
                <a:cxn ang="0">
                  <a:pos x="627" y="975"/>
                </a:cxn>
                <a:cxn ang="0">
                  <a:pos x="978" y="975"/>
                </a:cxn>
                <a:cxn ang="0">
                  <a:pos x="972" y="888"/>
                </a:cxn>
                <a:cxn ang="0">
                  <a:pos x="960" y="804"/>
                </a:cxn>
                <a:cxn ang="0">
                  <a:pos x="939" y="720"/>
                </a:cxn>
                <a:cxn ang="0">
                  <a:pos x="912" y="639"/>
                </a:cxn>
                <a:cxn ang="0">
                  <a:pos x="878" y="560"/>
                </a:cxn>
                <a:cxn ang="0">
                  <a:pos x="837" y="485"/>
                </a:cxn>
                <a:cxn ang="0">
                  <a:pos x="789" y="413"/>
                </a:cxn>
                <a:cxn ang="0">
                  <a:pos x="737" y="345"/>
                </a:cxn>
              </a:cxnLst>
              <a:rect l="0" t="0" r="r" b="b"/>
              <a:pathLst>
                <a:path w="978" h="998">
                  <a:moveTo>
                    <a:pt x="737" y="345"/>
                  </a:moveTo>
                  <a:lnTo>
                    <a:pt x="737" y="345"/>
                  </a:lnTo>
                  <a:lnTo>
                    <a:pt x="701" y="306"/>
                  </a:lnTo>
                  <a:lnTo>
                    <a:pt x="663" y="269"/>
                  </a:lnTo>
                  <a:lnTo>
                    <a:pt x="624" y="234"/>
                  </a:lnTo>
                  <a:lnTo>
                    <a:pt x="582" y="201"/>
                  </a:lnTo>
                  <a:lnTo>
                    <a:pt x="540" y="171"/>
                  </a:lnTo>
                  <a:lnTo>
                    <a:pt x="497" y="143"/>
                  </a:lnTo>
                  <a:lnTo>
                    <a:pt x="450" y="117"/>
                  </a:lnTo>
                  <a:lnTo>
                    <a:pt x="404" y="95"/>
                  </a:lnTo>
                  <a:lnTo>
                    <a:pt x="357" y="74"/>
                  </a:lnTo>
                  <a:lnTo>
                    <a:pt x="308" y="56"/>
                  </a:lnTo>
                  <a:lnTo>
                    <a:pt x="258" y="39"/>
                  </a:lnTo>
                  <a:lnTo>
                    <a:pt x="209" y="27"/>
                  </a:lnTo>
                  <a:lnTo>
                    <a:pt x="156" y="17"/>
                  </a:lnTo>
                  <a:lnTo>
                    <a:pt x="105" y="8"/>
                  </a:lnTo>
                  <a:lnTo>
                    <a:pt x="53" y="3"/>
                  </a:lnTo>
                  <a:lnTo>
                    <a:pt x="0" y="0"/>
                  </a:lnTo>
                  <a:lnTo>
                    <a:pt x="0" y="353"/>
                  </a:lnTo>
                  <a:lnTo>
                    <a:pt x="0" y="353"/>
                  </a:lnTo>
                  <a:lnTo>
                    <a:pt x="32" y="354"/>
                  </a:lnTo>
                  <a:lnTo>
                    <a:pt x="65" y="357"/>
                  </a:lnTo>
                  <a:lnTo>
                    <a:pt x="96" y="362"/>
                  </a:lnTo>
                  <a:lnTo>
                    <a:pt x="126" y="369"/>
                  </a:lnTo>
                  <a:lnTo>
                    <a:pt x="158" y="377"/>
                  </a:lnTo>
                  <a:lnTo>
                    <a:pt x="188" y="386"/>
                  </a:lnTo>
                  <a:lnTo>
                    <a:pt x="216" y="396"/>
                  </a:lnTo>
                  <a:lnTo>
                    <a:pt x="245" y="408"/>
                  </a:lnTo>
                  <a:lnTo>
                    <a:pt x="273" y="422"/>
                  </a:lnTo>
                  <a:lnTo>
                    <a:pt x="300" y="435"/>
                  </a:lnTo>
                  <a:lnTo>
                    <a:pt x="326" y="452"/>
                  </a:lnTo>
                  <a:lnTo>
                    <a:pt x="351" y="468"/>
                  </a:lnTo>
                  <a:lnTo>
                    <a:pt x="377" y="486"/>
                  </a:lnTo>
                  <a:lnTo>
                    <a:pt x="401" y="506"/>
                  </a:lnTo>
                  <a:lnTo>
                    <a:pt x="423" y="527"/>
                  </a:lnTo>
                  <a:lnTo>
                    <a:pt x="444" y="548"/>
                  </a:lnTo>
                  <a:lnTo>
                    <a:pt x="465" y="570"/>
                  </a:lnTo>
                  <a:lnTo>
                    <a:pt x="485" y="593"/>
                  </a:lnTo>
                  <a:lnTo>
                    <a:pt x="504" y="617"/>
                  </a:lnTo>
                  <a:lnTo>
                    <a:pt x="521" y="642"/>
                  </a:lnTo>
                  <a:lnTo>
                    <a:pt x="537" y="668"/>
                  </a:lnTo>
                  <a:lnTo>
                    <a:pt x="552" y="695"/>
                  </a:lnTo>
                  <a:lnTo>
                    <a:pt x="566" y="723"/>
                  </a:lnTo>
                  <a:lnTo>
                    <a:pt x="579" y="750"/>
                  </a:lnTo>
                  <a:lnTo>
                    <a:pt x="590" y="780"/>
                  </a:lnTo>
                  <a:lnTo>
                    <a:pt x="600" y="809"/>
                  </a:lnTo>
                  <a:lnTo>
                    <a:pt x="608" y="840"/>
                  </a:lnTo>
                  <a:lnTo>
                    <a:pt x="615" y="870"/>
                  </a:lnTo>
                  <a:lnTo>
                    <a:pt x="621" y="902"/>
                  </a:lnTo>
                  <a:lnTo>
                    <a:pt x="624" y="933"/>
                  </a:lnTo>
                  <a:lnTo>
                    <a:pt x="627" y="966"/>
                  </a:lnTo>
                  <a:lnTo>
                    <a:pt x="627" y="998"/>
                  </a:lnTo>
                  <a:lnTo>
                    <a:pt x="627" y="977"/>
                  </a:lnTo>
                  <a:lnTo>
                    <a:pt x="627" y="975"/>
                  </a:lnTo>
                  <a:lnTo>
                    <a:pt x="978" y="975"/>
                  </a:lnTo>
                  <a:lnTo>
                    <a:pt x="978" y="975"/>
                  </a:lnTo>
                  <a:lnTo>
                    <a:pt x="977" y="932"/>
                  </a:lnTo>
                  <a:lnTo>
                    <a:pt x="972" y="888"/>
                  </a:lnTo>
                  <a:lnTo>
                    <a:pt x="968" y="846"/>
                  </a:lnTo>
                  <a:lnTo>
                    <a:pt x="960" y="804"/>
                  </a:lnTo>
                  <a:lnTo>
                    <a:pt x="951" y="762"/>
                  </a:lnTo>
                  <a:lnTo>
                    <a:pt x="939" y="720"/>
                  </a:lnTo>
                  <a:lnTo>
                    <a:pt x="927" y="680"/>
                  </a:lnTo>
                  <a:lnTo>
                    <a:pt x="912" y="639"/>
                  </a:lnTo>
                  <a:lnTo>
                    <a:pt x="896" y="599"/>
                  </a:lnTo>
                  <a:lnTo>
                    <a:pt x="878" y="560"/>
                  </a:lnTo>
                  <a:lnTo>
                    <a:pt x="858" y="522"/>
                  </a:lnTo>
                  <a:lnTo>
                    <a:pt x="837" y="485"/>
                  </a:lnTo>
                  <a:lnTo>
                    <a:pt x="815" y="449"/>
                  </a:lnTo>
                  <a:lnTo>
                    <a:pt x="789" y="413"/>
                  </a:lnTo>
                  <a:lnTo>
                    <a:pt x="764" y="378"/>
                  </a:lnTo>
                  <a:lnTo>
                    <a:pt x="737" y="345"/>
                  </a:lnTo>
                  <a:lnTo>
                    <a:pt x="737" y="345"/>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5" name="Freeform 10">
              <a:extLst>
                <a:ext uri="{FF2B5EF4-FFF2-40B4-BE49-F238E27FC236}">
                  <a16:creationId xmlns:a16="http://schemas.microsoft.com/office/drawing/2014/main" id="{0E3CA20A-BD7B-48EE-BA0E-8AE714EA47A0}"/>
                </a:ext>
              </a:extLst>
            </p:cNvPr>
            <p:cNvSpPr>
              <a:spLocks/>
            </p:cNvSpPr>
            <p:nvPr/>
          </p:nvSpPr>
          <p:spPr bwMode="auto">
            <a:xfrm>
              <a:off x="2997201" y="3911600"/>
              <a:ext cx="1546225" cy="1547813"/>
            </a:xfrm>
            <a:custGeom>
              <a:avLst/>
              <a:gdLst/>
              <a:ahLst/>
              <a:cxnLst>
                <a:cxn ang="0">
                  <a:pos x="974" y="626"/>
                </a:cxn>
                <a:cxn ang="0">
                  <a:pos x="911" y="620"/>
                </a:cxn>
                <a:cxn ang="0">
                  <a:pos x="849" y="609"/>
                </a:cxn>
                <a:cxn ang="0">
                  <a:pos x="791" y="593"/>
                </a:cxn>
                <a:cxn ang="0">
                  <a:pos x="735" y="570"/>
                </a:cxn>
                <a:cxn ang="0">
                  <a:pos x="681" y="543"/>
                </a:cxn>
                <a:cxn ang="0">
                  <a:pos x="630" y="512"/>
                </a:cxn>
                <a:cxn ang="0">
                  <a:pos x="584" y="476"/>
                </a:cxn>
                <a:cxn ang="0">
                  <a:pos x="539" y="435"/>
                </a:cxn>
                <a:cxn ang="0">
                  <a:pos x="500" y="392"/>
                </a:cxn>
                <a:cxn ang="0">
                  <a:pos x="464" y="344"/>
                </a:cxn>
                <a:cxn ang="0">
                  <a:pos x="432" y="293"/>
                </a:cxn>
                <a:cxn ang="0">
                  <a:pos x="405" y="240"/>
                </a:cxn>
                <a:cxn ang="0">
                  <a:pos x="384" y="183"/>
                </a:cxn>
                <a:cxn ang="0">
                  <a:pos x="368" y="125"/>
                </a:cxn>
                <a:cxn ang="0">
                  <a:pos x="357" y="63"/>
                </a:cxn>
                <a:cxn ang="0">
                  <a:pos x="351" y="0"/>
                </a:cxn>
                <a:cxn ang="0">
                  <a:pos x="351" y="0"/>
                </a:cxn>
                <a:cxn ang="0">
                  <a:pos x="0" y="2"/>
                </a:cxn>
                <a:cxn ang="0">
                  <a:pos x="8" y="101"/>
                </a:cxn>
                <a:cxn ang="0">
                  <a:pos x="24" y="195"/>
                </a:cxn>
                <a:cxn ang="0">
                  <a:pos x="50" y="288"/>
                </a:cxn>
                <a:cxn ang="0">
                  <a:pos x="83" y="377"/>
                </a:cxn>
                <a:cxn ang="0">
                  <a:pos x="125" y="461"/>
                </a:cxn>
                <a:cxn ang="0">
                  <a:pos x="174" y="540"/>
                </a:cxn>
                <a:cxn ang="0">
                  <a:pos x="230" y="614"/>
                </a:cxn>
                <a:cxn ang="0">
                  <a:pos x="293" y="683"/>
                </a:cxn>
                <a:cxn ang="0">
                  <a:pos x="362" y="746"/>
                </a:cxn>
                <a:cxn ang="0">
                  <a:pos x="435" y="801"/>
                </a:cxn>
                <a:cxn ang="0">
                  <a:pos x="515" y="851"/>
                </a:cxn>
                <a:cxn ang="0">
                  <a:pos x="599" y="893"/>
                </a:cxn>
                <a:cxn ang="0">
                  <a:pos x="687" y="926"/>
                </a:cxn>
                <a:cxn ang="0">
                  <a:pos x="780" y="951"/>
                </a:cxn>
                <a:cxn ang="0">
                  <a:pos x="875" y="968"/>
                </a:cxn>
                <a:cxn ang="0">
                  <a:pos x="974" y="975"/>
                </a:cxn>
              </a:cxnLst>
              <a:rect l="0" t="0" r="r" b="b"/>
              <a:pathLst>
                <a:path w="974" h="975">
                  <a:moveTo>
                    <a:pt x="974" y="626"/>
                  </a:moveTo>
                  <a:lnTo>
                    <a:pt x="974" y="626"/>
                  </a:lnTo>
                  <a:lnTo>
                    <a:pt x="942" y="624"/>
                  </a:lnTo>
                  <a:lnTo>
                    <a:pt x="911" y="620"/>
                  </a:lnTo>
                  <a:lnTo>
                    <a:pt x="881" y="615"/>
                  </a:lnTo>
                  <a:lnTo>
                    <a:pt x="849" y="609"/>
                  </a:lnTo>
                  <a:lnTo>
                    <a:pt x="821" y="602"/>
                  </a:lnTo>
                  <a:lnTo>
                    <a:pt x="791" y="593"/>
                  </a:lnTo>
                  <a:lnTo>
                    <a:pt x="762" y="582"/>
                  </a:lnTo>
                  <a:lnTo>
                    <a:pt x="735" y="570"/>
                  </a:lnTo>
                  <a:lnTo>
                    <a:pt x="708" y="557"/>
                  </a:lnTo>
                  <a:lnTo>
                    <a:pt x="681" y="543"/>
                  </a:lnTo>
                  <a:lnTo>
                    <a:pt x="656" y="528"/>
                  </a:lnTo>
                  <a:lnTo>
                    <a:pt x="630" y="512"/>
                  </a:lnTo>
                  <a:lnTo>
                    <a:pt x="606" y="494"/>
                  </a:lnTo>
                  <a:lnTo>
                    <a:pt x="584" y="476"/>
                  </a:lnTo>
                  <a:lnTo>
                    <a:pt x="561" y="456"/>
                  </a:lnTo>
                  <a:lnTo>
                    <a:pt x="539" y="435"/>
                  </a:lnTo>
                  <a:lnTo>
                    <a:pt x="519" y="414"/>
                  </a:lnTo>
                  <a:lnTo>
                    <a:pt x="500" y="392"/>
                  </a:lnTo>
                  <a:lnTo>
                    <a:pt x="482" y="368"/>
                  </a:lnTo>
                  <a:lnTo>
                    <a:pt x="464" y="344"/>
                  </a:lnTo>
                  <a:lnTo>
                    <a:pt x="447" y="320"/>
                  </a:lnTo>
                  <a:lnTo>
                    <a:pt x="432" y="293"/>
                  </a:lnTo>
                  <a:lnTo>
                    <a:pt x="419" y="267"/>
                  </a:lnTo>
                  <a:lnTo>
                    <a:pt x="405" y="240"/>
                  </a:lnTo>
                  <a:lnTo>
                    <a:pt x="395" y="212"/>
                  </a:lnTo>
                  <a:lnTo>
                    <a:pt x="384" y="183"/>
                  </a:lnTo>
                  <a:lnTo>
                    <a:pt x="375" y="155"/>
                  </a:lnTo>
                  <a:lnTo>
                    <a:pt x="368" y="125"/>
                  </a:lnTo>
                  <a:lnTo>
                    <a:pt x="362" y="95"/>
                  </a:lnTo>
                  <a:lnTo>
                    <a:pt x="357" y="63"/>
                  </a:lnTo>
                  <a:lnTo>
                    <a:pt x="353" y="32"/>
                  </a:lnTo>
                  <a:lnTo>
                    <a:pt x="351" y="0"/>
                  </a:lnTo>
                  <a:lnTo>
                    <a:pt x="351" y="0"/>
                  </a:lnTo>
                  <a:lnTo>
                    <a:pt x="351" y="0"/>
                  </a:lnTo>
                  <a:lnTo>
                    <a:pt x="0" y="2"/>
                  </a:lnTo>
                  <a:lnTo>
                    <a:pt x="0" y="2"/>
                  </a:lnTo>
                  <a:lnTo>
                    <a:pt x="3" y="51"/>
                  </a:lnTo>
                  <a:lnTo>
                    <a:pt x="8" y="101"/>
                  </a:lnTo>
                  <a:lnTo>
                    <a:pt x="15" y="149"/>
                  </a:lnTo>
                  <a:lnTo>
                    <a:pt x="24" y="195"/>
                  </a:lnTo>
                  <a:lnTo>
                    <a:pt x="36" y="242"/>
                  </a:lnTo>
                  <a:lnTo>
                    <a:pt x="50" y="288"/>
                  </a:lnTo>
                  <a:lnTo>
                    <a:pt x="65" y="332"/>
                  </a:lnTo>
                  <a:lnTo>
                    <a:pt x="83" y="377"/>
                  </a:lnTo>
                  <a:lnTo>
                    <a:pt x="102" y="419"/>
                  </a:lnTo>
                  <a:lnTo>
                    <a:pt x="125" y="461"/>
                  </a:lnTo>
                  <a:lnTo>
                    <a:pt x="149" y="501"/>
                  </a:lnTo>
                  <a:lnTo>
                    <a:pt x="174" y="540"/>
                  </a:lnTo>
                  <a:lnTo>
                    <a:pt x="201" y="578"/>
                  </a:lnTo>
                  <a:lnTo>
                    <a:pt x="230" y="614"/>
                  </a:lnTo>
                  <a:lnTo>
                    <a:pt x="260" y="650"/>
                  </a:lnTo>
                  <a:lnTo>
                    <a:pt x="293" y="683"/>
                  </a:lnTo>
                  <a:lnTo>
                    <a:pt x="326" y="716"/>
                  </a:lnTo>
                  <a:lnTo>
                    <a:pt x="362" y="746"/>
                  </a:lnTo>
                  <a:lnTo>
                    <a:pt x="398" y="774"/>
                  </a:lnTo>
                  <a:lnTo>
                    <a:pt x="435" y="801"/>
                  </a:lnTo>
                  <a:lnTo>
                    <a:pt x="474" y="827"/>
                  </a:lnTo>
                  <a:lnTo>
                    <a:pt x="515" y="851"/>
                  </a:lnTo>
                  <a:lnTo>
                    <a:pt x="557" y="873"/>
                  </a:lnTo>
                  <a:lnTo>
                    <a:pt x="599" y="893"/>
                  </a:lnTo>
                  <a:lnTo>
                    <a:pt x="642" y="911"/>
                  </a:lnTo>
                  <a:lnTo>
                    <a:pt x="687" y="926"/>
                  </a:lnTo>
                  <a:lnTo>
                    <a:pt x="734" y="941"/>
                  </a:lnTo>
                  <a:lnTo>
                    <a:pt x="780" y="951"/>
                  </a:lnTo>
                  <a:lnTo>
                    <a:pt x="827" y="962"/>
                  </a:lnTo>
                  <a:lnTo>
                    <a:pt x="875" y="968"/>
                  </a:lnTo>
                  <a:lnTo>
                    <a:pt x="924" y="972"/>
                  </a:lnTo>
                  <a:lnTo>
                    <a:pt x="974" y="975"/>
                  </a:lnTo>
                  <a:lnTo>
                    <a:pt x="974" y="6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6" name="Freeform 11">
              <a:extLst>
                <a:ext uri="{FF2B5EF4-FFF2-40B4-BE49-F238E27FC236}">
                  <a16:creationId xmlns:a16="http://schemas.microsoft.com/office/drawing/2014/main" id="{10564AFB-6898-4341-8CCA-6B69C16106FA}"/>
                </a:ext>
              </a:extLst>
            </p:cNvPr>
            <p:cNvSpPr>
              <a:spLocks/>
            </p:cNvSpPr>
            <p:nvPr/>
          </p:nvSpPr>
          <p:spPr bwMode="auto">
            <a:xfrm>
              <a:off x="4610101" y="3878263"/>
              <a:ext cx="1552575" cy="1581150"/>
            </a:xfrm>
            <a:custGeom>
              <a:avLst/>
              <a:gdLst/>
              <a:ahLst/>
              <a:cxnLst>
                <a:cxn ang="0">
                  <a:pos x="627" y="21"/>
                </a:cxn>
                <a:cxn ang="0">
                  <a:pos x="627" y="0"/>
                </a:cxn>
                <a:cxn ang="0">
                  <a:pos x="624" y="66"/>
                </a:cxn>
                <a:cxn ang="0">
                  <a:pos x="615" y="129"/>
                </a:cxn>
                <a:cxn ang="0">
                  <a:pos x="600" y="189"/>
                </a:cxn>
                <a:cxn ang="0">
                  <a:pos x="579" y="248"/>
                </a:cxn>
                <a:cxn ang="0">
                  <a:pos x="552" y="305"/>
                </a:cxn>
                <a:cxn ang="0">
                  <a:pos x="521" y="357"/>
                </a:cxn>
                <a:cxn ang="0">
                  <a:pos x="485" y="407"/>
                </a:cxn>
                <a:cxn ang="0">
                  <a:pos x="444" y="452"/>
                </a:cxn>
                <a:cxn ang="0">
                  <a:pos x="401" y="494"/>
                </a:cxn>
                <a:cxn ang="0">
                  <a:pos x="351" y="531"/>
                </a:cxn>
                <a:cxn ang="0">
                  <a:pos x="300" y="563"/>
                </a:cxn>
                <a:cxn ang="0">
                  <a:pos x="245" y="591"/>
                </a:cxn>
                <a:cxn ang="0">
                  <a:pos x="188" y="614"/>
                </a:cxn>
                <a:cxn ang="0">
                  <a:pos x="126" y="630"/>
                </a:cxn>
                <a:cxn ang="0">
                  <a:pos x="65" y="642"/>
                </a:cxn>
                <a:cxn ang="0">
                  <a:pos x="0" y="647"/>
                </a:cxn>
                <a:cxn ang="0">
                  <a:pos x="0" y="996"/>
                </a:cxn>
                <a:cxn ang="0">
                  <a:pos x="99" y="990"/>
                </a:cxn>
                <a:cxn ang="0">
                  <a:pos x="195" y="974"/>
                </a:cxn>
                <a:cxn ang="0">
                  <a:pos x="288" y="948"/>
                </a:cxn>
                <a:cxn ang="0">
                  <a:pos x="377" y="915"/>
                </a:cxn>
                <a:cxn ang="0">
                  <a:pos x="461" y="873"/>
                </a:cxn>
                <a:cxn ang="0">
                  <a:pos x="542" y="825"/>
                </a:cxn>
                <a:cxn ang="0">
                  <a:pos x="615" y="768"/>
                </a:cxn>
                <a:cxn ang="0">
                  <a:pos x="686" y="705"/>
                </a:cxn>
                <a:cxn ang="0">
                  <a:pos x="749" y="636"/>
                </a:cxn>
                <a:cxn ang="0">
                  <a:pos x="804" y="563"/>
                </a:cxn>
                <a:cxn ang="0">
                  <a:pos x="854" y="482"/>
                </a:cxn>
                <a:cxn ang="0">
                  <a:pos x="896" y="398"/>
                </a:cxn>
                <a:cxn ang="0">
                  <a:pos x="930" y="309"/>
                </a:cxn>
                <a:cxn ang="0">
                  <a:pos x="956" y="216"/>
                </a:cxn>
                <a:cxn ang="0">
                  <a:pos x="972" y="120"/>
                </a:cxn>
                <a:cxn ang="0">
                  <a:pos x="978" y="21"/>
                </a:cxn>
              </a:cxnLst>
              <a:rect l="0" t="0" r="r" b="b"/>
              <a:pathLst>
                <a:path w="978" h="996">
                  <a:moveTo>
                    <a:pt x="627" y="21"/>
                  </a:moveTo>
                  <a:lnTo>
                    <a:pt x="627" y="21"/>
                  </a:lnTo>
                  <a:lnTo>
                    <a:pt x="627" y="0"/>
                  </a:lnTo>
                  <a:lnTo>
                    <a:pt x="627" y="0"/>
                  </a:lnTo>
                  <a:lnTo>
                    <a:pt x="627" y="33"/>
                  </a:lnTo>
                  <a:lnTo>
                    <a:pt x="624" y="66"/>
                  </a:lnTo>
                  <a:lnTo>
                    <a:pt x="621" y="98"/>
                  </a:lnTo>
                  <a:lnTo>
                    <a:pt x="615" y="129"/>
                  </a:lnTo>
                  <a:lnTo>
                    <a:pt x="608" y="159"/>
                  </a:lnTo>
                  <a:lnTo>
                    <a:pt x="600" y="189"/>
                  </a:lnTo>
                  <a:lnTo>
                    <a:pt x="590" y="219"/>
                  </a:lnTo>
                  <a:lnTo>
                    <a:pt x="579" y="248"/>
                  </a:lnTo>
                  <a:lnTo>
                    <a:pt x="566" y="276"/>
                  </a:lnTo>
                  <a:lnTo>
                    <a:pt x="552" y="305"/>
                  </a:lnTo>
                  <a:lnTo>
                    <a:pt x="537" y="330"/>
                  </a:lnTo>
                  <a:lnTo>
                    <a:pt x="521" y="357"/>
                  </a:lnTo>
                  <a:lnTo>
                    <a:pt x="504" y="381"/>
                  </a:lnTo>
                  <a:lnTo>
                    <a:pt x="485" y="407"/>
                  </a:lnTo>
                  <a:lnTo>
                    <a:pt x="465" y="429"/>
                  </a:lnTo>
                  <a:lnTo>
                    <a:pt x="444" y="452"/>
                  </a:lnTo>
                  <a:lnTo>
                    <a:pt x="423" y="473"/>
                  </a:lnTo>
                  <a:lnTo>
                    <a:pt x="401" y="494"/>
                  </a:lnTo>
                  <a:lnTo>
                    <a:pt x="377" y="513"/>
                  </a:lnTo>
                  <a:lnTo>
                    <a:pt x="351" y="531"/>
                  </a:lnTo>
                  <a:lnTo>
                    <a:pt x="326" y="548"/>
                  </a:lnTo>
                  <a:lnTo>
                    <a:pt x="300" y="563"/>
                  </a:lnTo>
                  <a:lnTo>
                    <a:pt x="273" y="578"/>
                  </a:lnTo>
                  <a:lnTo>
                    <a:pt x="245" y="591"/>
                  </a:lnTo>
                  <a:lnTo>
                    <a:pt x="216" y="603"/>
                  </a:lnTo>
                  <a:lnTo>
                    <a:pt x="188" y="614"/>
                  </a:lnTo>
                  <a:lnTo>
                    <a:pt x="158" y="623"/>
                  </a:lnTo>
                  <a:lnTo>
                    <a:pt x="126" y="630"/>
                  </a:lnTo>
                  <a:lnTo>
                    <a:pt x="96" y="636"/>
                  </a:lnTo>
                  <a:lnTo>
                    <a:pt x="65" y="642"/>
                  </a:lnTo>
                  <a:lnTo>
                    <a:pt x="32" y="645"/>
                  </a:lnTo>
                  <a:lnTo>
                    <a:pt x="0" y="647"/>
                  </a:lnTo>
                  <a:lnTo>
                    <a:pt x="0" y="996"/>
                  </a:lnTo>
                  <a:lnTo>
                    <a:pt x="0" y="996"/>
                  </a:lnTo>
                  <a:lnTo>
                    <a:pt x="50" y="995"/>
                  </a:lnTo>
                  <a:lnTo>
                    <a:pt x="99" y="990"/>
                  </a:lnTo>
                  <a:lnTo>
                    <a:pt x="147" y="983"/>
                  </a:lnTo>
                  <a:lnTo>
                    <a:pt x="195" y="974"/>
                  </a:lnTo>
                  <a:lnTo>
                    <a:pt x="242" y="962"/>
                  </a:lnTo>
                  <a:lnTo>
                    <a:pt x="288" y="948"/>
                  </a:lnTo>
                  <a:lnTo>
                    <a:pt x="332" y="933"/>
                  </a:lnTo>
                  <a:lnTo>
                    <a:pt x="377" y="915"/>
                  </a:lnTo>
                  <a:lnTo>
                    <a:pt x="419" y="896"/>
                  </a:lnTo>
                  <a:lnTo>
                    <a:pt x="461" y="873"/>
                  </a:lnTo>
                  <a:lnTo>
                    <a:pt x="501" y="849"/>
                  </a:lnTo>
                  <a:lnTo>
                    <a:pt x="542" y="825"/>
                  </a:lnTo>
                  <a:lnTo>
                    <a:pt x="579" y="797"/>
                  </a:lnTo>
                  <a:lnTo>
                    <a:pt x="615" y="768"/>
                  </a:lnTo>
                  <a:lnTo>
                    <a:pt x="651" y="738"/>
                  </a:lnTo>
                  <a:lnTo>
                    <a:pt x="686" y="705"/>
                  </a:lnTo>
                  <a:lnTo>
                    <a:pt x="717" y="672"/>
                  </a:lnTo>
                  <a:lnTo>
                    <a:pt x="749" y="636"/>
                  </a:lnTo>
                  <a:lnTo>
                    <a:pt x="777" y="600"/>
                  </a:lnTo>
                  <a:lnTo>
                    <a:pt x="804" y="563"/>
                  </a:lnTo>
                  <a:lnTo>
                    <a:pt x="830" y="522"/>
                  </a:lnTo>
                  <a:lnTo>
                    <a:pt x="854" y="482"/>
                  </a:lnTo>
                  <a:lnTo>
                    <a:pt x="876" y="441"/>
                  </a:lnTo>
                  <a:lnTo>
                    <a:pt x="896" y="398"/>
                  </a:lnTo>
                  <a:lnTo>
                    <a:pt x="914" y="354"/>
                  </a:lnTo>
                  <a:lnTo>
                    <a:pt x="930" y="309"/>
                  </a:lnTo>
                  <a:lnTo>
                    <a:pt x="944" y="263"/>
                  </a:lnTo>
                  <a:lnTo>
                    <a:pt x="956" y="216"/>
                  </a:lnTo>
                  <a:lnTo>
                    <a:pt x="965" y="168"/>
                  </a:lnTo>
                  <a:lnTo>
                    <a:pt x="972" y="120"/>
                  </a:lnTo>
                  <a:lnTo>
                    <a:pt x="977" y="72"/>
                  </a:lnTo>
                  <a:lnTo>
                    <a:pt x="978" y="21"/>
                  </a:lnTo>
                  <a:lnTo>
                    <a:pt x="627" y="21"/>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7" name="Freeform 12">
              <a:extLst>
                <a:ext uri="{FF2B5EF4-FFF2-40B4-BE49-F238E27FC236}">
                  <a16:creationId xmlns:a16="http://schemas.microsoft.com/office/drawing/2014/main" id="{48CEECE6-AEB7-456C-9A26-C100060F4980}"/>
                </a:ext>
              </a:extLst>
            </p:cNvPr>
            <p:cNvSpPr>
              <a:spLocks/>
            </p:cNvSpPr>
            <p:nvPr/>
          </p:nvSpPr>
          <p:spPr bwMode="auto">
            <a:xfrm>
              <a:off x="2373313" y="3911600"/>
              <a:ext cx="2170113" cy="2174875"/>
            </a:xfrm>
            <a:custGeom>
              <a:avLst/>
              <a:gdLst/>
              <a:ahLst/>
              <a:cxnLst>
                <a:cxn ang="0">
                  <a:pos x="1367" y="1017"/>
                </a:cxn>
                <a:cxn ang="0">
                  <a:pos x="1263" y="1010"/>
                </a:cxn>
                <a:cxn ang="0">
                  <a:pos x="1164" y="993"/>
                </a:cxn>
                <a:cxn ang="0">
                  <a:pos x="1068" y="966"/>
                </a:cxn>
                <a:cxn ang="0">
                  <a:pos x="975" y="932"/>
                </a:cxn>
                <a:cxn ang="0">
                  <a:pos x="888" y="888"/>
                </a:cxn>
                <a:cxn ang="0">
                  <a:pos x="804" y="836"/>
                </a:cxn>
                <a:cxn ang="0">
                  <a:pos x="728" y="777"/>
                </a:cxn>
                <a:cxn ang="0">
                  <a:pos x="656" y="713"/>
                </a:cxn>
                <a:cxn ang="0">
                  <a:pos x="590" y="641"/>
                </a:cxn>
                <a:cxn ang="0">
                  <a:pos x="531" y="563"/>
                </a:cxn>
                <a:cxn ang="0">
                  <a:pos x="480" y="480"/>
                </a:cxn>
                <a:cxn ang="0">
                  <a:pos x="437" y="392"/>
                </a:cxn>
                <a:cxn ang="0">
                  <a:pos x="402" y="300"/>
                </a:cxn>
                <a:cxn ang="0">
                  <a:pos x="375" y="203"/>
                </a:cxn>
                <a:cxn ang="0">
                  <a:pos x="359" y="104"/>
                </a:cxn>
                <a:cxn ang="0">
                  <a:pos x="351" y="0"/>
                </a:cxn>
                <a:cxn ang="0">
                  <a:pos x="0" y="0"/>
                </a:cxn>
                <a:cxn ang="0">
                  <a:pos x="0" y="0"/>
                </a:cxn>
                <a:cxn ang="0">
                  <a:pos x="9" y="140"/>
                </a:cxn>
                <a:cxn ang="0">
                  <a:pos x="30" y="275"/>
                </a:cxn>
                <a:cxn ang="0">
                  <a:pos x="66" y="405"/>
                </a:cxn>
                <a:cxn ang="0">
                  <a:pos x="113" y="530"/>
                </a:cxn>
                <a:cxn ang="0">
                  <a:pos x="171" y="648"/>
                </a:cxn>
                <a:cxn ang="0">
                  <a:pos x="239" y="761"/>
                </a:cxn>
                <a:cxn ang="0">
                  <a:pos x="318" y="866"/>
                </a:cxn>
                <a:cxn ang="0">
                  <a:pos x="405" y="962"/>
                </a:cxn>
                <a:cxn ang="0">
                  <a:pos x="503" y="1050"/>
                </a:cxn>
                <a:cxn ang="0">
                  <a:pos x="608" y="1130"/>
                </a:cxn>
                <a:cxn ang="0">
                  <a:pos x="719" y="1199"/>
                </a:cxn>
                <a:cxn ang="0">
                  <a:pos x="837" y="1257"/>
                </a:cxn>
                <a:cxn ang="0">
                  <a:pos x="963" y="1304"/>
                </a:cxn>
                <a:cxn ang="0">
                  <a:pos x="1092" y="1338"/>
                </a:cxn>
                <a:cxn ang="0">
                  <a:pos x="1227" y="1361"/>
                </a:cxn>
                <a:cxn ang="0">
                  <a:pos x="1367" y="1370"/>
                </a:cxn>
              </a:cxnLst>
              <a:rect l="0" t="0" r="r" b="b"/>
              <a:pathLst>
                <a:path w="1367" h="1370">
                  <a:moveTo>
                    <a:pt x="1367" y="1017"/>
                  </a:moveTo>
                  <a:lnTo>
                    <a:pt x="1367" y="1017"/>
                  </a:lnTo>
                  <a:lnTo>
                    <a:pt x="1314" y="1014"/>
                  </a:lnTo>
                  <a:lnTo>
                    <a:pt x="1263" y="1010"/>
                  </a:lnTo>
                  <a:lnTo>
                    <a:pt x="1214" y="1002"/>
                  </a:lnTo>
                  <a:lnTo>
                    <a:pt x="1164" y="993"/>
                  </a:lnTo>
                  <a:lnTo>
                    <a:pt x="1115" y="981"/>
                  </a:lnTo>
                  <a:lnTo>
                    <a:pt x="1068" y="966"/>
                  </a:lnTo>
                  <a:lnTo>
                    <a:pt x="1022" y="950"/>
                  </a:lnTo>
                  <a:lnTo>
                    <a:pt x="975" y="932"/>
                  </a:lnTo>
                  <a:lnTo>
                    <a:pt x="932" y="911"/>
                  </a:lnTo>
                  <a:lnTo>
                    <a:pt x="888" y="888"/>
                  </a:lnTo>
                  <a:lnTo>
                    <a:pt x="846" y="863"/>
                  </a:lnTo>
                  <a:lnTo>
                    <a:pt x="804" y="836"/>
                  </a:lnTo>
                  <a:lnTo>
                    <a:pt x="765" y="807"/>
                  </a:lnTo>
                  <a:lnTo>
                    <a:pt x="728" y="777"/>
                  </a:lnTo>
                  <a:lnTo>
                    <a:pt x="690" y="746"/>
                  </a:lnTo>
                  <a:lnTo>
                    <a:pt x="656" y="713"/>
                  </a:lnTo>
                  <a:lnTo>
                    <a:pt x="623" y="677"/>
                  </a:lnTo>
                  <a:lnTo>
                    <a:pt x="590" y="641"/>
                  </a:lnTo>
                  <a:lnTo>
                    <a:pt x="560" y="602"/>
                  </a:lnTo>
                  <a:lnTo>
                    <a:pt x="531" y="563"/>
                  </a:lnTo>
                  <a:lnTo>
                    <a:pt x="506" y="522"/>
                  </a:lnTo>
                  <a:lnTo>
                    <a:pt x="480" y="480"/>
                  </a:lnTo>
                  <a:lnTo>
                    <a:pt x="458" y="437"/>
                  </a:lnTo>
                  <a:lnTo>
                    <a:pt x="437" y="392"/>
                  </a:lnTo>
                  <a:lnTo>
                    <a:pt x="419" y="347"/>
                  </a:lnTo>
                  <a:lnTo>
                    <a:pt x="402" y="300"/>
                  </a:lnTo>
                  <a:lnTo>
                    <a:pt x="387" y="252"/>
                  </a:lnTo>
                  <a:lnTo>
                    <a:pt x="375" y="203"/>
                  </a:lnTo>
                  <a:lnTo>
                    <a:pt x="366" y="153"/>
                  </a:lnTo>
                  <a:lnTo>
                    <a:pt x="359" y="104"/>
                  </a:lnTo>
                  <a:lnTo>
                    <a:pt x="354" y="53"/>
                  </a:lnTo>
                  <a:lnTo>
                    <a:pt x="351" y="0"/>
                  </a:lnTo>
                  <a:lnTo>
                    <a:pt x="348" y="0"/>
                  </a:lnTo>
                  <a:lnTo>
                    <a:pt x="0" y="0"/>
                  </a:lnTo>
                  <a:lnTo>
                    <a:pt x="0" y="0"/>
                  </a:lnTo>
                  <a:lnTo>
                    <a:pt x="0" y="0"/>
                  </a:lnTo>
                  <a:lnTo>
                    <a:pt x="3" y="71"/>
                  </a:lnTo>
                  <a:lnTo>
                    <a:pt x="9" y="140"/>
                  </a:lnTo>
                  <a:lnTo>
                    <a:pt x="18" y="207"/>
                  </a:lnTo>
                  <a:lnTo>
                    <a:pt x="30" y="275"/>
                  </a:lnTo>
                  <a:lnTo>
                    <a:pt x="47" y="341"/>
                  </a:lnTo>
                  <a:lnTo>
                    <a:pt x="66" y="405"/>
                  </a:lnTo>
                  <a:lnTo>
                    <a:pt x="87" y="468"/>
                  </a:lnTo>
                  <a:lnTo>
                    <a:pt x="113" y="530"/>
                  </a:lnTo>
                  <a:lnTo>
                    <a:pt x="140" y="590"/>
                  </a:lnTo>
                  <a:lnTo>
                    <a:pt x="171" y="648"/>
                  </a:lnTo>
                  <a:lnTo>
                    <a:pt x="204" y="705"/>
                  </a:lnTo>
                  <a:lnTo>
                    <a:pt x="239" y="761"/>
                  </a:lnTo>
                  <a:lnTo>
                    <a:pt x="278" y="813"/>
                  </a:lnTo>
                  <a:lnTo>
                    <a:pt x="318" y="866"/>
                  </a:lnTo>
                  <a:lnTo>
                    <a:pt x="360" y="915"/>
                  </a:lnTo>
                  <a:lnTo>
                    <a:pt x="405" y="962"/>
                  </a:lnTo>
                  <a:lnTo>
                    <a:pt x="453" y="1008"/>
                  </a:lnTo>
                  <a:lnTo>
                    <a:pt x="503" y="1050"/>
                  </a:lnTo>
                  <a:lnTo>
                    <a:pt x="554" y="1091"/>
                  </a:lnTo>
                  <a:lnTo>
                    <a:pt x="608" y="1130"/>
                  </a:lnTo>
                  <a:lnTo>
                    <a:pt x="662" y="1166"/>
                  </a:lnTo>
                  <a:lnTo>
                    <a:pt x="719" y="1199"/>
                  </a:lnTo>
                  <a:lnTo>
                    <a:pt x="777" y="1229"/>
                  </a:lnTo>
                  <a:lnTo>
                    <a:pt x="837" y="1257"/>
                  </a:lnTo>
                  <a:lnTo>
                    <a:pt x="900" y="1281"/>
                  </a:lnTo>
                  <a:lnTo>
                    <a:pt x="963" y="1304"/>
                  </a:lnTo>
                  <a:lnTo>
                    <a:pt x="1028" y="1323"/>
                  </a:lnTo>
                  <a:lnTo>
                    <a:pt x="1092" y="1338"/>
                  </a:lnTo>
                  <a:lnTo>
                    <a:pt x="1160" y="1352"/>
                  </a:lnTo>
                  <a:lnTo>
                    <a:pt x="1227" y="1361"/>
                  </a:lnTo>
                  <a:lnTo>
                    <a:pt x="1296" y="1367"/>
                  </a:lnTo>
                  <a:lnTo>
                    <a:pt x="1367" y="1370"/>
                  </a:lnTo>
                  <a:lnTo>
                    <a:pt x="1367" y="1017"/>
                  </a:lnTo>
                  <a:close/>
                </a:path>
              </a:pathLst>
            </a:custGeom>
            <a:solidFill>
              <a:schemeClr val="accent5">
                <a:alpha val="2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8" name="Freeform 13">
              <a:extLst>
                <a:ext uri="{FF2B5EF4-FFF2-40B4-BE49-F238E27FC236}">
                  <a16:creationId xmlns:a16="http://schemas.microsoft.com/office/drawing/2014/main" id="{FD3F16B2-531A-4B58-93D9-8BE901D8CEF7}"/>
                </a:ext>
              </a:extLst>
            </p:cNvPr>
            <p:cNvSpPr>
              <a:spLocks/>
            </p:cNvSpPr>
            <p:nvPr/>
          </p:nvSpPr>
          <p:spPr bwMode="auto">
            <a:xfrm>
              <a:off x="4610101" y="3911600"/>
              <a:ext cx="2179638" cy="2174875"/>
            </a:xfrm>
            <a:custGeom>
              <a:avLst/>
              <a:gdLst/>
              <a:ahLst/>
              <a:cxnLst>
                <a:cxn ang="0">
                  <a:pos x="1020" y="0"/>
                </a:cxn>
                <a:cxn ang="0">
                  <a:pos x="1013" y="104"/>
                </a:cxn>
                <a:cxn ang="0">
                  <a:pos x="996" y="204"/>
                </a:cxn>
                <a:cxn ang="0">
                  <a:pos x="969" y="300"/>
                </a:cxn>
                <a:cxn ang="0">
                  <a:pos x="935" y="393"/>
                </a:cxn>
                <a:cxn ang="0">
                  <a:pos x="891" y="482"/>
                </a:cxn>
                <a:cxn ang="0">
                  <a:pos x="839" y="564"/>
                </a:cxn>
                <a:cxn ang="0">
                  <a:pos x="780" y="642"/>
                </a:cxn>
                <a:cxn ang="0">
                  <a:pos x="714" y="714"/>
                </a:cxn>
                <a:cxn ang="0">
                  <a:pos x="642" y="780"/>
                </a:cxn>
                <a:cxn ang="0">
                  <a:pos x="564" y="839"/>
                </a:cxn>
                <a:cxn ang="0">
                  <a:pos x="482" y="890"/>
                </a:cxn>
                <a:cxn ang="0">
                  <a:pos x="393" y="933"/>
                </a:cxn>
                <a:cxn ang="0">
                  <a:pos x="300" y="968"/>
                </a:cxn>
                <a:cxn ang="0">
                  <a:pos x="203" y="993"/>
                </a:cxn>
                <a:cxn ang="0">
                  <a:pos x="104" y="1010"/>
                </a:cxn>
                <a:cxn ang="0">
                  <a:pos x="0" y="1017"/>
                </a:cxn>
                <a:cxn ang="0">
                  <a:pos x="0" y="1370"/>
                </a:cxn>
                <a:cxn ang="0">
                  <a:pos x="140" y="1362"/>
                </a:cxn>
                <a:cxn ang="0">
                  <a:pos x="275" y="1340"/>
                </a:cxn>
                <a:cxn ang="0">
                  <a:pos x="405" y="1305"/>
                </a:cxn>
                <a:cxn ang="0">
                  <a:pos x="530" y="1259"/>
                </a:cxn>
                <a:cxn ang="0">
                  <a:pos x="650" y="1200"/>
                </a:cxn>
                <a:cxn ang="0">
                  <a:pos x="762" y="1131"/>
                </a:cxn>
                <a:cxn ang="0">
                  <a:pos x="867" y="1052"/>
                </a:cxn>
                <a:cxn ang="0">
                  <a:pos x="965" y="965"/>
                </a:cxn>
                <a:cxn ang="0">
                  <a:pos x="1053" y="867"/>
                </a:cxn>
                <a:cxn ang="0">
                  <a:pos x="1131" y="762"/>
                </a:cxn>
                <a:cxn ang="0">
                  <a:pos x="1200" y="650"/>
                </a:cxn>
                <a:cxn ang="0">
                  <a:pos x="1259" y="531"/>
                </a:cxn>
                <a:cxn ang="0">
                  <a:pos x="1307" y="405"/>
                </a:cxn>
                <a:cxn ang="0">
                  <a:pos x="1341" y="275"/>
                </a:cxn>
                <a:cxn ang="0">
                  <a:pos x="1364" y="140"/>
                </a:cxn>
                <a:cxn ang="0">
                  <a:pos x="1373" y="0"/>
                </a:cxn>
              </a:cxnLst>
              <a:rect l="0" t="0" r="r" b="b"/>
              <a:pathLst>
                <a:path w="1373" h="1370">
                  <a:moveTo>
                    <a:pt x="1020" y="0"/>
                  </a:moveTo>
                  <a:lnTo>
                    <a:pt x="1020" y="0"/>
                  </a:lnTo>
                  <a:lnTo>
                    <a:pt x="1019" y="53"/>
                  </a:lnTo>
                  <a:lnTo>
                    <a:pt x="1013" y="104"/>
                  </a:lnTo>
                  <a:lnTo>
                    <a:pt x="1005" y="155"/>
                  </a:lnTo>
                  <a:lnTo>
                    <a:pt x="996" y="204"/>
                  </a:lnTo>
                  <a:lnTo>
                    <a:pt x="984" y="252"/>
                  </a:lnTo>
                  <a:lnTo>
                    <a:pt x="969" y="300"/>
                  </a:lnTo>
                  <a:lnTo>
                    <a:pt x="953" y="347"/>
                  </a:lnTo>
                  <a:lnTo>
                    <a:pt x="935" y="393"/>
                  </a:lnTo>
                  <a:lnTo>
                    <a:pt x="914" y="438"/>
                  </a:lnTo>
                  <a:lnTo>
                    <a:pt x="891" y="482"/>
                  </a:lnTo>
                  <a:lnTo>
                    <a:pt x="866" y="524"/>
                  </a:lnTo>
                  <a:lnTo>
                    <a:pt x="839" y="564"/>
                  </a:lnTo>
                  <a:lnTo>
                    <a:pt x="810" y="605"/>
                  </a:lnTo>
                  <a:lnTo>
                    <a:pt x="780" y="642"/>
                  </a:lnTo>
                  <a:lnTo>
                    <a:pt x="749" y="680"/>
                  </a:lnTo>
                  <a:lnTo>
                    <a:pt x="714" y="714"/>
                  </a:lnTo>
                  <a:lnTo>
                    <a:pt x="680" y="747"/>
                  </a:lnTo>
                  <a:lnTo>
                    <a:pt x="642" y="780"/>
                  </a:lnTo>
                  <a:lnTo>
                    <a:pt x="605" y="810"/>
                  </a:lnTo>
                  <a:lnTo>
                    <a:pt x="564" y="839"/>
                  </a:lnTo>
                  <a:lnTo>
                    <a:pt x="524" y="864"/>
                  </a:lnTo>
                  <a:lnTo>
                    <a:pt x="482" y="890"/>
                  </a:lnTo>
                  <a:lnTo>
                    <a:pt x="438" y="912"/>
                  </a:lnTo>
                  <a:lnTo>
                    <a:pt x="393" y="933"/>
                  </a:lnTo>
                  <a:lnTo>
                    <a:pt x="347" y="951"/>
                  </a:lnTo>
                  <a:lnTo>
                    <a:pt x="300" y="968"/>
                  </a:lnTo>
                  <a:lnTo>
                    <a:pt x="252" y="981"/>
                  </a:lnTo>
                  <a:lnTo>
                    <a:pt x="203" y="993"/>
                  </a:lnTo>
                  <a:lnTo>
                    <a:pt x="153" y="1004"/>
                  </a:lnTo>
                  <a:lnTo>
                    <a:pt x="104" y="1010"/>
                  </a:lnTo>
                  <a:lnTo>
                    <a:pt x="51" y="1016"/>
                  </a:lnTo>
                  <a:lnTo>
                    <a:pt x="0" y="1017"/>
                  </a:lnTo>
                  <a:lnTo>
                    <a:pt x="0" y="1370"/>
                  </a:lnTo>
                  <a:lnTo>
                    <a:pt x="0" y="1370"/>
                  </a:lnTo>
                  <a:lnTo>
                    <a:pt x="71" y="1368"/>
                  </a:lnTo>
                  <a:lnTo>
                    <a:pt x="140" y="1362"/>
                  </a:lnTo>
                  <a:lnTo>
                    <a:pt x="207" y="1352"/>
                  </a:lnTo>
                  <a:lnTo>
                    <a:pt x="275" y="1340"/>
                  </a:lnTo>
                  <a:lnTo>
                    <a:pt x="341" y="1323"/>
                  </a:lnTo>
                  <a:lnTo>
                    <a:pt x="405" y="1305"/>
                  </a:lnTo>
                  <a:lnTo>
                    <a:pt x="468" y="1283"/>
                  </a:lnTo>
                  <a:lnTo>
                    <a:pt x="530" y="1259"/>
                  </a:lnTo>
                  <a:lnTo>
                    <a:pt x="591" y="1230"/>
                  </a:lnTo>
                  <a:lnTo>
                    <a:pt x="650" y="1200"/>
                  </a:lnTo>
                  <a:lnTo>
                    <a:pt x="707" y="1167"/>
                  </a:lnTo>
                  <a:lnTo>
                    <a:pt x="762" y="1131"/>
                  </a:lnTo>
                  <a:lnTo>
                    <a:pt x="816" y="1094"/>
                  </a:lnTo>
                  <a:lnTo>
                    <a:pt x="867" y="1052"/>
                  </a:lnTo>
                  <a:lnTo>
                    <a:pt x="917" y="1010"/>
                  </a:lnTo>
                  <a:lnTo>
                    <a:pt x="965" y="965"/>
                  </a:lnTo>
                  <a:lnTo>
                    <a:pt x="1010" y="917"/>
                  </a:lnTo>
                  <a:lnTo>
                    <a:pt x="1053" y="867"/>
                  </a:lnTo>
                  <a:lnTo>
                    <a:pt x="1094" y="816"/>
                  </a:lnTo>
                  <a:lnTo>
                    <a:pt x="1131" y="762"/>
                  </a:lnTo>
                  <a:lnTo>
                    <a:pt x="1167" y="707"/>
                  </a:lnTo>
                  <a:lnTo>
                    <a:pt x="1200" y="650"/>
                  </a:lnTo>
                  <a:lnTo>
                    <a:pt x="1232" y="591"/>
                  </a:lnTo>
                  <a:lnTo>
                    <a:pt x="1259" y="531"/>
                  </a:lnTo>
                  <a:lnTo>
                    <a:pt x="1284" y="470"/>
                  </a:lnTo>
                  <a:lnTo>
                    <a:pt x="1307" y="405"/>
                  </a:lnTo>
                  <a:lnTo>
                    <a:pt x="1325" y="341"/>
                  </a:lnTo>
                  <a:lnTo>
                    <a:pt x="1341" y="275"/>
                  </a:lnTo>
                  <a:lnTo>
                    <a:pt x="1353" y="209"/>
                  </a:lnTo>
                  <a:lnTo>
                    <a:pt x="1364" y="140"/>
                  </a:lnTo>
                  <a:lnTo>
                    <a:pt x="1370" y="71"/>
                  </a:lnTo>
                  <a:lnTo>
                    <a:pt x="1373" y="0"/>
                  </a:lnTo>
                  <a:lnTo>
                    <a:pt x="1020" y="0"/>
                  </a:lnTo>
                  <a:close/>
                </a:path>
              </a:pathLst>
            </a:custGeom>
            <a:solidFill>
              <a:schemeClr val="accent3">
                <a:alpha val="2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grpSp>
      <p:sp>
        <p:nvSpPr>
          <p:cNvPr id="47" name="TextBox 46">
            <a:extLst>
              <a:ext uri="{FF2B5EF4-FFF2-40B4-BE49-F238E27FC236}">
                <a16:creationId xmlns:a16="http://schemas.microsoft.com/office/drawing/2014/main" id="{4FB081D4-2CEB-46C3-9CD8-E7E5F79491D7}"/>
              </a:ext>
            </a:extLst>
          </p:cNvPr>
          <p:cNvSpPr txBox="1"/>
          <p:nvPr/>
        </p:nvSpPr>
        <p:spPr bwMode="auto">
          <a:xfrm flipH="1">
            <a:off x="1822451" y="1690688"/>
            <a:ext cx="2323947" cy="396000"/>
          </a:xfrm>
          <a:prstGeom prst="rect">
            <a:avLst/>
          </a:prstGeom>
          <a:noFill/>
        </p:spPr>
        <p:txBody>
          <a:bodyPr wrap="square" lIns="0" r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52" name="Straight Connector 51">
            <a:extLst>
              <a:ext uri="{FF2B5EF4-FFF2-40B4-BE49-F238E27FC236}">
                <a16:creationId xmlns:a16="http://schemas.microsoft.com/office/drawing/2014/main" id="{F7F8D445-7787-412D-99BC-211C688A8A04}"/>
              </a:ext>
              <a:ext uri="{C183D7F6-B498-43B3-948B-1728B52AA6E4}">
                <adec:decorative xmlns:adec="http://schemas.microsoft.com/office/drawing/2017/decorative" val="1"/>
              </a:ext>
            </a:extLst>
          </p:cNvPr>
          <p:cNvCxnSpPr/>
          <p:nvPr/>
        </p:nvCxnSpPr>
        <p:spPr bwMode="auto">
          <a:xfrm>
            <a:off x="1822450" y="2082547"/>
            <a:ext cx="3347303"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62D8333-A458-459D-BE86-A590174FAA97}"/>
              </a:ext>
            </a:extLst>
          </p:cNvPr>
          <p:cNvSpPr txBox="1"/>
          <p:nvPr/>
        </p:nvSpPr>
        <p:spPr bwMode="auto">
          <a:xfrm flipH="1">
            <a:off x="1822451" y="2876866"/>
            <a:ext cx="1985688" cy="396000"/>
          </a:xfrm>
          <a:prstGeom prst="rect">
            <a:avLst/>
          </a:prstGeom>
          <a:noFill/>
        </p:spPr>
        <p:txBody>
          <a:bodyPr wrap="square" lIns="0" r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58" name="Straight Connector 57">
            <a:extLst>
              <a:ext uri="{FF2B5EF4-FFF2-40B4-BE49-F238E27FC236}">
                <a16:creationId xmlns:a16="http://schemas.microsoft.com/office/drawing/2014/main" id="{129EA666-BA84-488B-85FA-51418E0C54F9}"/>
              </a:ext>
              <a:ext uri="{C183D7F6-B498-43B3-948B-1728B52AA6E4}">
                <adec:decorative xmlns:adec="http://schemas.microsoft.com/office/drawing/2017/decorative" val="1"/>
              </a:ext>
            </a:extLst>
          </p:cNvPr>
          <p:cNvCxnSpPr/>
          <p:nvPr/>
        </p:nvCxnSpPr>
        <p:spPr bwMode="auto">
          <a:xfrm>
            <a:off x="1822450" y="3272866"/>
            <a:ext cx="2998028"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A7A54440-38EA-4283-B45F-EE26F5B9153E}"/>
              </a:ext>
            </a:extLst>
          </p:cNvPr>
          <p:cNvSpPr txBox="1"/>
          <p:nvPr/>
        </p:nvSpPr>
        <p:spPr bwMode="auto">
          <a:xfrm flipH="1">
            <a:off x="1822451" y="4071326"/>
            <a:ext cx="1985689" cy="396000"/>
          </a:xfrm>
          <a:prstGeom prst="rect">
            <a:avLst/>
          </a:prstGeom>
          <a:noFill/>
        </p:spPr>
        <p:txBody>
          <a:bodyPr wrap="square" lIns="0" r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56" name="Straight Connector 55">
            <a:extLst>
              <a:ext uri="{FF2B5EF4-FFF2-40B4-BE49-F238E27FC236}">
                <a16:creationId xmlns:a16="http://schemas.microsoft.com/office/drawing/2014/main" id="{1EE88EFF-68EC-4FAD-9CB6-7F94BEF5A712}"/>
              </a:ext>
              <a:ext uri="{C183D7F6-B498-43B3-948B-1728B52AA6E4}">
                <adec:decorative xmlns:adec="http://schemas.microsoft.com/office/drawing/2017/decorative" val="1"/>
              </a:ext>
            </a:extLst>
          </p:cNvPr>
          <p:cNvCxnSpPr/>
          <p:nvPr/>
        </p:nvCxnSpPr>
        <p:spPr bwMode="auto">
          <a:xfrm>
            <a:off x="1822450" y="4463185"/>
            <a:ext cx="2860092"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94E87091-19DC-4639-B3EB-33964552C213}"/>
              </a:ext>
            </a:extLst>
          </p:cNvPr>
          <p:cNvSpPr txBox="1"/>
          <p:nvPr/>
        </p:nvSpPr>
        <p:spPr bwMode="auto">
          <a:xfrm flipH="1">
            <a:off x="1822451" y="5261645"/>
            <a:ext cx="2323947" cy="396000"/>
          </a:xfrm>
          <a:prstGeom prst="rect">
            <a:avLst/>
          </a:prstGeom>
          <a:noFill/>
        </p:spPr>
        <p:txBody>
          <a:bodyPr wrap="square" lIns="0" r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54" name="Straight Connector 53">
            <a:extLst>
              <a:ext uri="{FF2B5EF4-FFF2-40B4-BE49-F238E27FC236}">
                <a16:creationId xmlns:a16="http://schemas.microsoft.com/office/drawing/2014/main" id="{A1CE84AF-2088-448F-92B9-0FABE61EB1AA}"/>
              </a:ext>
              <a:ext uri="{C183D7F6-B498-43B3-948B-1728B52AA6E4}">
                <adec:decorative xmlns:adec="http://schemas.microsoft.com/office/drawing/2017/decorative" val="1"/>
              </a:ext>
            </a:extLst>
          </p:cNvPr>
          <p:cNvCxnSpPr/>
          <p:nvPr/>
        </p:nvCxnSpPr>
        <p:spPr bwMode="auto">
          <a:xfrm>
            <a:off x="1822450" y="5653504"/>
            <a:ext cx="3347303"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4776C59B-FDC1-4FC2-96D3-0E574C262E1D}"/>
              </a:ext>
            </a:extLst>
          </p:cNvPr>
          <p:cNvSpPr txBox="1"/>
          <p:nvPr/>
        </p:nvSpPr>
        <p:spPr bwMode="auto">
          <a:xfrm>
            <a:off x="8052661" y="1690688"/>
            <a:ext cx="2310538"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40" name="Straight Connector 39">
            <a:extLst>
              <a:ext uri="{FF2B5EF4-FFF2-40B4-BE49-F238E27FC236}">
                <a16:creationId xmlns:a16="http://schemas.microsoft.com/office/drawing/2014/main" id="{699039B1-FC1B-4DA9-A905-EF2BDDE13174}"/>
              </a:ext>
              <a:ext uri="{C183D7F6-B498-43B3-948B-1728B52AA6E4}">
                <adec:decorative xmlns:adec="http://schemas.microsoft.com/office/drawing/2017/decorative" val="1"/>
              </a:ext>
            </a:extLst>
          </p:cNvPr>
          <p:cNvCxnSpPr/>
          <p:nvPr/>
        </p:nvCxnSpPr>
        <p:spPr bwMode="auto">
          <a:xfrm flipH="1">
            <a:off x="7035211" y="2082547"/>
            <a:ext cx="3327989"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99A0DBA9-0337-41F4-B8FB-937714BF89FE}"/>
              </a:ext>
            </a:extLst>
          </p:cNvPr>
          <p:cNvSpPr txBox="1"/>
          <p:nvPr/>
        </p:nvSpPr>
        <p:spPr bwMode="auto">
          <a:xfrm>
            <a:off x="8391735" y="2876866"/>
            <a:ext cx="1971464"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46" name="Straight Connector 45">
            <a:extLst>
              <a:ext uri="{FF2B5EF4-FFF2-40B4-BE49-F238E27FC236}">
                <a16:creationId xmlns:a16="http://schemas.microsoft.com/office/drawing/2014/main" id="{A905E277-A4A5-4971-B5D0-2E36F29F32F0}"/>
              </a:ext>
              <a:ext uri="{C183D7F6-B498-43B3-948B-1728B52AA6E4}">
                <adec:decorative xmlns:adec="http://schemas.microsoft.com/office/drawing/2017/decorative" val="1"/>
              </a:ext>
            </a:extLst>
          </p:cNvPr>
          <p:cNvCxnSpPr/>
          <p:nvPr/>
        </p:nvCxnSpPr>
        <p:spPr bwMode="auto">
          <a:xfrm flipH="1">
            <a:off x="7410450" y="3272866"/>
            <a:ext cx="2952750"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095F204A-E284-4F72-BF62-F387C61D367D}"/>
              </a:ext>
            </a:extLst>
          </p:cNvPr>
          <p:cNvSpPr txBox="1"/>
          <p:nvPr/>
        </p:nvSpPr>
        <p:spPr bwMode="auto">
          <a:xfrm>
            <a:off x="8391736" y="4071326"/>
            <a:ext cx="1971463"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44" name="Straight Connector 43">
            <a:extLst>
              <a:ext uri="{FF2B5EF4-FFF2-40B4-BE49-F238E27FC236}">
                <a16:creationId xmlns:a16="http://schemas.microsoft.com/office/drawing/2014/main" id="{3C9CDE26-A4B6-4B35-91C7-BD7943B0E749}"/>
              </a:ext>
              <a:ext uri="{C183D7F6-B498-43B3-948B-1728B52AA6E4}">
                <adec:decorative xmlns:adec="http://schemas.microsoft.com/office/drawing/2017/decorative" val="1"/>
              </a:ext>
            </a:extLst>
          </p:cNvPr>
          <p:cNvCxnSpPr/>
          <p:nvPr/>
        </p:nvCxnSpPr>
        <p:spPr bwMode="auto">
          <a:xfrm flipH="1">
            <a:off x="7523597" y="4463185"/>
            <a:ext cx="2839603"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8C3D2363-BC0E-438A-A190-4D7BD45A8AD3}"/>
              </a:ext>
            </a:extLst>
          </p:cNvPr>
          <p:cNvSpPr txBox="1"/>
          <p:nvPr/>
        </p:nvSpPr>
        <p:spPr bwMode="auto">
          <a:xfrm>
            <a:off x="8052661" y="5261645"/>
            <a:ext cx="2310538"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42" name="Straight Connector 41">
            <a:extLst>
              <a:ext uri="{FF2B5EF4-FFF2-40B4-BE49-F238E27FC236}">
                <a16:creationId xmlns:a16="http://schemas.microsoft.com/office/drawing/2014/main" id="{78B42D59-EA19-4ACB-9EA8-BEE06B4E1612}"/>
              </a:ext>
              <a:ext uri="{C183D7F6-B498-43B3-948B-1728B52AA6E4}">
                <adec:decorative xmlns:adec="http://schemas.microsoft.com/office/drawing/2017/decorative" val="1"/>
              </a:ext>
            </a:extLst>
          </p:cNvPr>
          <p:cNvCxnSpPr/>
          <p:nvPr/>
        </p:nvCxnSpPr>
        <p:spPr bwMode="auto">
          <a:xfrm flipH="1">
            <a:off x="7035211" y="5653504"/>
            <a:ext cx="3327989"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2CC52D2F-6D22-41E7-8E39-D8EA7CFEB71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96ECC4C5-4D48-4D0C-A42A-2474FCFEC31B}"/>
              </a:ext>
            </a:extLst>
          </p:cNvPr>
          <p:cNvSpPr>
            <a:spLocks noGrp="1"/>
          </p:cNvSpPr>
          <p:nvPr>
            <p:ph type="sldNum" sz="quarter" idx="10"/>
          </p:nvPr>
        </p:nvSpPr>
        <p:spPr/>
        <p:txBody>
          <a:bodyPr/>
          <a:lstStyle/>
          <a:p>
            <a:fld id="{1F90F471-3972-4120-B8B3-0237DE626C35}" type="slidenum">
              <a:rPr lang="en-US" smtClean="0"/>
              <a:pPr/>
              <a:t>277</a:t>
            </a:fld>
            <a:endParaRPr lang="en-US" dirty="0"/>
          </a:p>
        </p:txBody>
      </p:sp>
    </p:spTree>
    <p:extLst>
      <p:ext uri="{BB962C8B-B14F-4D97-AF65-F5344CB8AC3E}">
        <p14:creationId xmlns:p14="http://schemas.microsoft.com/office/powerpoint/2010/main" val="157611552"/>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en-US" dirty="0"/>
              <a:t>Circle Illustration 4</a:t>
            </a:r>
            <a:endParaRPr lang="en-US" sz="3600" b="1" dirty="0"/>
          </a:p>
        </p:txBody>
      </p:sp>
      <p:grpSp>
        <p:nvGrpSpPr>
          <p:cNvPr id="30" name="Group 35">
            <a:extLst>
              <a:ext uri="{FF2B5EF4-FFF2-40B4-BE49-F238E27FC236}">
                <a16:creationId xmlns:a16="http://schemas.microsoft.com/office/drawing/2014/main" id="{99210B36-1D5B-47DE-A512-A78D099E7E25}"/>
              </a:ext>
              <a:ext uri="{C183D7F6-B498-43B3-948B-1728B52AA6E4}">
                <adec:decorative xmlns:adec="http://schemas.microsoft.com/office/drawing/2017/decorative" val="1"/>
              </a:ext>
            </a:extLst>
          </p:cNvPr>
          <p:cNvGrpSpPr/>
          <p:nvPr/>
        </p:nvGrpSpPr>
        <p:grpSpPr bwMode="auto">
          <a:xfrm>
            <a:off x="3903939" y="1666800"/>
            <a:ext cx="4416426" cy="4416425"/>
            <a:chOff x="2373313" y="1670050"/>
            <a:chExt cx="4416426" cy="4416425"/>
          </a:xfrm>
        </p:grpSpPr>
        <p:sp>
          <p:nvSpPr>
            <p:cNvPr id="31" name="Freeform 6">
              <a:extLst>
                <a:ext uri="{FF2B5EF4-FFF2-40B4-BE49-F238E27FC236}">
                  <a16:creationId xmlns:a16="http://schemas.microsoft.com/office/drawing/2014/main" id="{A7291F12-7BBC-472B-A776-1AF5859339AE}"/>
                </a:ext>
              </a:extLst>
            </p:cNvPr>
            <p:cNvSpPr>
              <a:spLocks/>
            </p:cNvSpPr>
            <p:nvPr/>
          </p:nvSpPr>
          <p:spPr bwMode="auto">
            <a:xfrm>
              <a:off x="2373313" y="1670050"/>
              <a:ext cx="2170113" cy="2171700"/>
            </a:xfrm>
            <a:custGeom>
              <a:avLst/>
              <a:gdLst/>
              <a:ahLst/>
              <a:cxnLst>
                <a:cxn ang="0">
                  <a:pos x="1367" y="0"/>
                </a:cxn>
                <a:cxn ang="0">
                  <a:pos x="1227" y="11"/>
                </a:cxn>
                <a:cxn ang="0">
                  <a:pos x="1094" y="32"/>
                </a:cxn>
                <a:cxn ang="0">
                  <a:pos x="963" y="68"/>
                </a:cxn>
                <a:cxn ang="0">
                  <a:pos x="839" y="114"/>
                </a:cxn>
                <a:cxn ang="0">
                  <a:pos x="720" y="173"/>
                </a:cxn>
                <a:cxn ang="0">
                  <a:pos x="608" y="242"/>
                </a:cxn>
                <a:cxn ang="0">
                  <a:pos x="503" y="320"/>
                </a:cxn>
                <a:cxn ang="0">
                  <a:pos x="407" y="408"/>
                </a:cxn>
                <a:cxn ang="0">
                  <a:pos x="318" y="504"/>
                </a:cxn>
                <a:cxn ang="0">
                  <a:pos x="240" y="609"/>
                </a:cxn>
                <a:cxn ang="0">
                  <a:pos x="171" y="722"/>
                </a:cxn>
                <a:cxn ang="0">
                  <a:pos x="113" y="840"/>
                </a:cxn>
                <a:cxn ang="0">
                  <a:pos x="66" y="965"/>
                </a:cxn>
                <a:cxn ang="0">
                  <a:pos x="32" y="1095"/>
                </a:cxn>
                <a:cxn ang="0">
                  <a:pos x="9" y="1229"/>
                </a:cxn>
                <a:cxn ang="0">
                  <a:pos x="0" y="1368"/>
                </a:cxn>
                <a:cxn ang="0">
                  <a:pos x="351" y="1368"/>
                </a:cxn>
                <a:cxn ang="0">
                  <a:pos x="357" y="1278"/>
                </a:cxn>
                <a:cxn ang="0">
                  <a:pos x="371" y="1190"/>
                </a:cxn>
                <a:cxn ang="0">
                  <a:pos x="392" y="1103"/>
                </a:cxn>
                <a:cxn ang="0">
                  <a:pos x="420" y="1017"/>
                </a:cxn>
                <a:cxn ang="0">
                  <a:pos x="456" y="935"/>
                </a:cxn>
                <a:cxn ang="0">
                  <a:pos x="498" y="857"/>
                </a:cxn>
                <a:cxn ang="0">
                  <a:pos x="548" y="782"/>
                </a:cxn>
                <a:cxn ang="0">
                  <a:pos x="605" y="711"/>
                </a:cxn>
                <a:cxn ang="0">
                  <a:pos x="641" y="671"/>
                </a:cxn>
                <a:cxn ang="0">
                  <a:pos x="722" y="596"/>
                </a:cxn>
                <a:cxn ang="0">
                  <a:pos x="807" y="530"/>
                </a:cxn>
                <a:cxn ang="0">
                  <a:pos x="900" y="474"/>
                </a:cxn>
                <a:cxn ang="0">
                  <a:pos x="996" y="429"/>
                </a:cxn>
                <a:cxn ang="0">
                  <a:pos x="1098" y="393"/>
                </a:cxn>
                <a:cxn ang="0">
                  <a:pos x="1203" y="368"/>
                </a:cxn>
                <a:cxn ang="0">
                  <a:pos x="1311" y="354"/>
                </a:cxn>
                <a:cxn ang="0">
                  <a:pos x="1367" y="0"/>
                </a:cxn>
              </a:cxnLst>
              <a:rect l="0" t="0" r="r" b="b"/>
              <a:pathLst>
                <a:path w="1367" h="1368">
                  <a:moveTo>
                    <a:pt x="1367" y="0"/>
                  </a:moveTo>
                  <a:lnTo>
                    <a:pt x="1367" y="0"/>
                  </a:lnTo>
                  <a:lnTo>
                    <a:pt x="1296" y="3"/>
                  </a:lnTo>
                  <a:lnTo>
                    <a:pt x="1227" y="11"/>
                  </a:lnTo>
                  <a:lnTo>
                    <a:pt x="1160" y="20"/>
                  </a:lnTo>
                  <a:lnTo>
                    <a:pt x="1094" y="32"/>
                  </a:lnTo>
                  <a:lnTo>
                    <a:pt x="1028" y="48"/>
                  </a:lnTo>
                  <a:lnTo>
                    <a:pt x="963" y="68"/>
                  </a:lnTo>
                  <a:lnTo>
                    <a:pt x="900" y="90"/>
                  </a:lnTo>
                  <a:lnTo>
                    <a:pt x="839" y="114"/>
                  </a:lnTo>
                  <a:lnTo>
                    <a:pt x="779" y="143"/>
                  </a:lnTo>
                  <a:lnTo>
                    <a:pt x="720" y="173"/>
                  </a:lnTo>
                  <a:lnTo>
                    <a:pt x="663" y="206"/>
                  </a:lnTo>
                  <a:lnTo>
                    <a:pt x="608" y="242"/>
                  </a:lnTo>
                  <a:lnTo>
                    <a:pt x="555" y="279"/>
                  </a:lnTo>
                  <a:lnTo>
                    <a:pt x="503" y="320"/>
                  </a:lnTo>
                  <a:lnTo>
                    <a:pt x="455" y="363"/>
                  </a:lnTo>
                  <a:lnTo>
                    <a:pt x="407" y="408"/>
                  </a:lnTo>
                  <a:lnTo>
                    <a:pt x="362" y="455"/>
                  </a:lnTo>
                  <a:lnTo>
                    <a:pt x="318" y="504"/>
                  </a:lnTo>
                  <a:lnTo>
                    <a:pt x="278" y="557"/>
                  </a:lnTo>
                  <a:lnTo>
                    <a:pt x="240" y="609"/>
                  </a:lnTo>
                  <a:lnTo>
                    <a:pt x="204" y="665"/>
                  </a:lnTo>
                  <a:lnTo>
                    <a:pt x="171" y="722"/>
                  </a:lnTo>
                  <a:lnTo>
                    <a:pt x="141" y="780"/>
                  </a:lnTo>
                  <a:lnTo>
                    <a:pt x="113" y="840"/>
                  </a:lnTo>
                  <a:lnTo>
                    <a:pt x="89" y="902"/>
                  </a:lnTo>
                  <a:lnTo>
                    <a:pt x="66" y="965"/>
                  </a:lnTo>
                  <a:lnTo>
                    <a:pt x="47" y="1029"/>
                  </a:lnTo>
                  <a:lnTo>
                    <a:pt x="32" y="1095"/>
                  </a:lnTo>
                  <a:lnTo>
                    <a:pt x="18" y="1161"/>
                  </a:lnTo>
                  <a:lnTo>
                    <a:pt x="9" y="1229"/>
                  </a:lnTo>
                  <a:lnTo>
                    <a:pt x="3" y="1298"/>
                  </a:lnTo>
                  <a:lnTo>
                    <a:pt x="0" y="1368"/>
                  </a:lnTo>
                  <a:lnTo>
                    <a:pt x="351" y="1368"/>
                  </a:lnTo>
                  <a:lnTo>
                    <a:pt x="351" y="1368"/>
                  </a:lnTo>
                  <a:lnTo>
                    <a:pt x="354" y="1323"/>
                  </a:lnTo>
                  <a:lnTo>
                    <a:pt x="357" y="1278"/>
                  </a:lnTo>
                  <a:lnTo>
                    <a:pt x="363" y="1233"/>
                  </a:lnTo>
                  <a:lnTo>
                    <a:pt x="371" y="1190"/>
                  </a:lnTo>
                  <a:lnTo>
                    <a:pt x="381" y="1145"/>
                  </a:lnTo>
                  <a:lnTo>
                    <a:pt x="392" y="1103"/>
                  </a:lnTo>
                  <a:lnTo>
                    <a:pt x="405" y="1059"/>
                  </a:lnTo>
                  <a:lnTo>
                    <a:pt x="420" y="1017"/>
                  </a:lnTo>
                  <a:lnTo>
                    <a:pt x="437" y="975"/>
                  </a:lnTo>
                  <a:lnTo>
                    <a:pt x="456" y="935"/>
                  </a:lnTo>
                  <a:lnTo>
                    <a:pt x="477" y="896"/>
                  </a:lnTo>
                  <a:lnTo>
                    <a:pt x="498" y="857"/>
                  </a:lnTo>
                  <a:lnTo>
                    <a:pt x="522" y="819"/>
                  </a:lnTo>
                  <a:lnTo>
                    <a:pt x="548" y="782"/>
                  </a:lnTo>
                  <a:lnTo>
                    <a:pt x="575" y="746"/>
                  </a:lnTo>
                  <a:lnTo>
                    <a:pt x="605" y="711"/>
                  </a:lnTo>
                  <a:lnTo>
                    <a:pt x="605" y="711"/>
                  </a:lnTo>
                  <a:lnTo>
                    <a:pt x="641" y="671"/>
                  </a:lnTo>
                  <a:lnTo>
                    <a:pt x="680" y="632"/>
                  </a:lnTo>
                  <a:lnTo>
                    <a:pt x="722" y="596"/>
                  </a:lnTo>
                  <a:lnTo>
                    <a:pt x="764" y="561"/>
                  </a:lnTo>
                  <a:lnTo>
                    <a:pt x="807" y="530"/>
                  </a:lnTo>
                  <a:lnTo>
                    <a:pt x="852" y="501"/>
                  </a:lnTo>
                  <a:lnTo>
                    <a:pt x="900" y="474"/>
                  </a:lnTo>
                  <a:lnTo>
                    <a:pt x="948" y="450"/>
                  </a:lnTo>
                  <a:lnTo>
                    <a:pt x="996" y="429"/>
                  </a:lnTo>
                  <a:lnTo>
                    <a:pt x="1047" y="410"/>
                  </a:lnTo>
                  <a:lnTo>
                    <a:pt x="1098" y="393"/>
                  </a:lnTo>
                  <a:lnTo>
                    <a:pt x="1151" y="380"/>
                  </a:lnTo>
                  <a:lnTo>
                    <a:pt x="1203" y="368"/>
                  </a:lnTo>
                  <a:lnTo>
                    <a:pt x="1257" y="360"/>
                  </a:lnTo>
                  <a:lnTo>
                    <a:pt x="1311" y="354"/>
                  </a:lnTo>
                  <a:lnTo>
                    <a:pt x="1367" y="351"/>
                  </a:lnTo>
                  <a:lnTo>
                    <a:pt x="1367" y="0"/>
                  </a:lnTo>
                  <a:close/>
                </a:path>
              </a:pathLst>
            </a:custGeom>
            <a:solidFill>
              <a:schemeClr val="tx2">
                <a:lumMod val="20000"/>
                <a:lumOff val="8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2" name="Freeform 7">
              <a:extLst>
                <a:ext uri="{FF2B5EF4-FFF2-40B4-BE49-F238E27FC236}">
                  <a16:creationId xmlns:a16="http://schemas.microsoft.com/office/drawing/2014/main" id="{D4D7708A-42CC-4832-A6EE-8A372569CF33}"/>
                </a:ext>
              </a:extLst>
            </p:cNvPr>
            <p:cNvSpPr>
              <a:spLocks/>
            </p:cNvSpPr>
            <p:nvPr/>
          </p:nvSpPr>
          <p:spPr bwMode="auto">
            <a:xfrm>
              <a:off x="4610101" y="1670050"/>
              <a:ext cx="2179638" cy="2171700"/>
            </a:xfrm>
            <a:custGeom>
              <a:avLst/>
              <a:gdLst/>
              <a:ahLst/>
              <a:cxnLst>
                <a:cxn ang="0">
                  <a:pos x="0" y="351"/>
                </a:cxn>
                <a:cxn ang="0">
                  <a:pos x="56" y="354"/>
                </a:cxn>
                <a:cxn ang="0">
                  <a:pos x="164" y="368"/>
                </a:cxn>
                <a:cxn ang="0">
                  <a:pos x="270" y="392"/>
                </a:cxn>
                <a:cxn ang="0">
                  <a:pos x="372" y="428"/>
                </a:cxn>
                <a:cxn ang="0">
                  <a:pos x="470" y="473"/>
                </a:cxn>
                <a:cxn ang="0">
                  <a:pos x="563" y="530"/>
                </a:cxn>
                <a:cxn ang="0">
                  <a:pos x="650" y="594"/>
                </a:cxn>
                <a:cxn ang="0">
                  <a:pos x="731" y="669"/>
                </a:cxn>
                <a:cxn ang="0">
                  <a:pos x="768" y="711"/>
                </a:cxn>
                <a:cxn ang="0">
                  <a:pos x="824" y="782"/>
                </a:cxn>
                <a:cxn ang="0">
                  <a:pos x="873" y="857"/>
                </a:cxn>
                <a:cxn ang="0">
                  <a:pos x="917" y="935"/>
                </a:cxn>
                <a:cxn ang="0">
                  <a:pos x="951" y="1017"/>
                </a:cxn>
                <a:cxn ang="0">
                  <a:pos x="980" y="1103"/>
                </a:cxn>
                <a:cxn ang="0">
                  <a:pos x="1001" y="1190"/>
                </a:cxn>
                <a:cxn ang="0">
                  <a:pos x="1014" y="1278"/>
                </a:cxn>
                <a:cxn ang="0">
                  <a:pos x="1020" y="1368"/>
                </a:cxn>
                <a:cxn ang="0">
                  <a:pos x="1373" y="1368"/>
                </a:cxn>
                <a:cxn ang="0">
                  <a:pos x="1364" y="1229"/>
                </a:cxn>
                <a:cxn ang="0">
                  <a:pos x="1341" y="1094"/>
                </a:cxn>
                <a:cxn ang="0">
                  <a:pos x="1305" y="963"/>
                </a:cxn>
                <a:cxn ang="0">
                  <a:pos x="1259" y="839"/>
                </a:cxn>
                <a:cxn ang="0">
                  <a:pos x="1200" y="720"/>
                </a:cxn>
                <a:cxn ang="0">
                  <a:pos x="1131" y="608"/>
                </a:cxn>
                <a:cxn ang="0">
                  <a:pos x="1052" y="503"/>
                </a:cxn>
                <a:cxn ang="0">
                  <a:pos x="963" y="407"/>
                </a:cxn>
                <a:cxn ang="0">
                  <a:pos x="866" y="318"/>
                </a:cxn>
                <a:cxn ang="0">
                  <a:pos x="761" y="239"/>
                </a:cxn>
                <a:cxn ang="0">
                  <a:pos x="648" y="171"/>
                </a:cxn>
                <a:cxn ang="0">
                  <a:pos x="530" y="113"/>
                </a:cxn>
                <a:cxn ang="0">
                  <a:pos x="405" y="66"/>
                </a:cxn>
                <a:cxn ang="0">
                  <a:pos x="275" y="32"/>
                </a:cxn>
                <a:cxn ang="0">
                  <a:pos x="140" y="9"/>
                </a:cxn>
                <a:cxn ang="0">
                  <a:pos x="0" y="0"/>
                </a:cxn>
              </a:cxnLst>
              <a:rect l="0" t="0" r="r" b="b"/>
              <a:pathLst>
                <a:path w="1373" h="1368">
                  <a:moveTo>
                    <a:pt x="0" y="0"/>
                  </a:moveTo>
                  <a:lnTo>
                    <a:pt x="0" y="351"/>
                  </a:lnTo>
                  <a:lnTo>
                    <a:pt x="0" y="351"/>
                  </a:lnTo>
                  <a:lnTo>
                    <a:pt x="56" y="354"/>
                  </a:lnTo>
                  <a:lnTo>
                    <a:pt x="110" y="359"/>
                  </a:lnTo>
                  <a:lnTo>
                    <a:pt x="164" y="368"/>
                  </a:lnTo>
                  <a:lnTo>
                    <a:pt x="218" y="378"/>
                  </a:lnTo>
                  <a:lnTo>
                    <a:pt x="270" y="392"/>
                  </a:lnTo>
                  <a:lnTo>
                    <a:pt x="321" y="408"/>
                  </a:lnTo>
                  <a:lnTo>
                    <a:pt x="372" y="428"/>
                  </a:lnTo>
                  <a:lnTo>
                    <a:pt x="422" y="449"/>
                  </a:lnTo>
                  <a:lnTo>
                    <a:pt x="470" y="473"/>
                  </a:lnTo>
                  <a:lnTo>
                    <a:pt x="518" y="500"/>
                  </a:lnTo>
                  <a:lnTo>
                    <a:pt x="563" y="530"/>
                  </a:lnTo>
                  <a:lnTo>
                    <a:pt x="608" y="561"/>
                  </a:lnTo>
                  <a:lnTo>
                    <a:pt x="650" y="594"/>
                  </a:lnTo>
                  <a:lnTo>
                    <a:pt x="692" y="632"/>
                  </a:lnTo>
                  <a:lnTo>
                    <a:pt x="731" y="669"/>
                  </a:lnTo>
                  <a:lnTo>
                    <a:pt x="768" y="711"/>
                  </a:lnTo>
                  <a:lnTo>
                    <a:pt x="768" y="711"/>
                  </a:lnTo>
                  <a:lnTo>
                    <a:pt x="797" y="746"/>
                  </a:lnTo>
                  <a:lnTo>
                    <a:pt x="824" y="782"/>
                  </a:lnTo>
                  <a:lnTo>
                    <a:pt x="849" y="819"/>
                  </a:lnTo>
                  <a:lnTo>
                    <a:pt x="873" y="857"/>
                  </a:lnTo>
                  <a:lnTo>
                    <a:pt x="896" y="896"/>
                  </a:lnTo>
                  <a:lnTo>
                    <a:pt x="917" y="935"/>
                  </a:lnTo>
                  <a:lnTo>
                    <a:pt x="935" y="975"/>
                  </a:lnTo>
                  <a:lnTo>
                    <a:pt x="951" y="1017"/>
                  </a:lnTo>
                  <a:lnTo>
                    <a:pt x="966" y="1059"/>
                  </a:lnTo>
                  <a:lnTo>
                    <a:pt x="980" y="1103"/>
                  </a:lnTo>
                  <a:lnTo>
                    <a:pt x="992" y="1145"/>
                  </a:lnTo>
                  <a:lnTo>
                    <a:pt x="1001" y="1190"/>
                  </a:lnTo>
                  <a:lnTo>
                    <a:pt x="1008" y="1233"/>
                  </a:lnTo>
                  <a:lnTo>
                    <a:pt x="1014" y="1278"/>
                  </a:lnTo>
                  <a:lnTo>
                    <a:pt x="1019" y="1323"/>
                  </a:lnTo>
                  <a:lnTo>
                    <a:pt x="1020" y="1368"/>
                  </a:lnTo>
                  <a:lnTo>
                    <a:pt x="1373" y="1368"/>
                  </a:lnTo>
                  <a:lnTo>
                    <a:pt x="1373" y="1368"/>
                  </a:lnTo>
                  <a:lnTo>
                    <a:pt x="1370" y="1298"/>
                  </a:lnTo>
                  <a:lnTo>
                    <a:pt x="1364" y="1229"/>
                  </a:lnTo>
                  <a:lnTo>
                    <a:pt x="1353" y="1161"/>
                  </a:lnTo>
                  <a:lnTo>
                    <a:pt x="1341" y="1094"/>
                  </a:lnTo>
                  <a:lnTo>
                    <a:pt x="1325" y="1028"/>
                  </a:lnTo>
                  <a:lnTo>
                    <a:pt x="1305" y="963"/>
                  </a:lnTo>
                  <a:lnTo>
                    <a:pt x="1283" y="900"/>
                  </a:lnTo>
                  <a:lnTo>
                    <a:pt x="1259" y="839"/>
                  </a:lnTo>
                  <a:lnTo>
                    <a:pt x="1230" y="779"/>
                  </a:lnTo>
                  <a:lnTo>
                    <a:pt x="1200" y="720"/>
                  </a:lnTo>
                  <a:lnTo>
                    <a:pt x="1167" y="663"/>
                  </a:lnTo>
                  <a:lnTo>
                    <a:pt x="1131" y="608"/>
                  </a:lnTo>
                  <a:lnTo>
                    <a:pt x="1092" y="554"/>
                  </a:lnTo>
                  <a:lnTo>
                    <a:pt x="1052" y="503"/>
                  </a:lnTo>
                  <a:lnTo>
                    <a:pt x="1008" y="453"/>
                  </a:lnTo>
                  <a:lnTo>
                    <a:pt x="963" y="407"/>
                  </a:lnTo>
                  <a:lnTo>
                    <a:pt x="917" y="362"/>
                  </a:lnTo>
                  <a:lnTo>
                    <a:pt x="866" y="318"/>
                  </a:lnTo>
                  <a:lnTo>
                    <a:pt x="815" y="278"/>
                  </a:lnTo>
                  <a:lnTo>
                    <a:pt x="761" y="239"/>
                  </a:lnTo>
                  <a:lnTo>
                    <a:pt x="707" y="204"/>
                  </a:lnTo>
                  <a:lnTo>
                    <a:pt x="648" y="171"/>
                  </a:lnTo>
                  <a:lnTo>
                    <a:pt x="590" y="140"/>
                  </a:lnTo>
                  <a:lnTo>
                    <a:pt x="530" y="113"/>
                  </a:lnTo>
                  <a:lnTo>
                    <a:pt x="468" y="87"/>
                  </a:lnTo>
                  <a:lnTo>
                    <a:pt x="405" y="66"/>
                  </a:lnTo>
                  <a:lnTo>
                    <a:pt x="341" y="47"/>
                  </a:lnTo>
                  <a:lnTo>
                    <a:pt x="275" y="32"/>
                  </a:lnTo>
                  <a:lnTo>
                    <a:pt x="207" y="18"/>
                  </a:lnTo>
                  <a:lnTo>
                    <a:pt x="140" y="9"/>
                  </a:lnTo>
                  <a:lnTo>
                    <a:pt x="69" y="3"/>
                  </a:lnTo>
                  <a:lnTo>
                    <a:pt x="0" y="0"/>
                  </a:lnTo>
                  <a:lnTo>
                    <a:pt x="0" y="0"/>
                  </a:lnTo>
                  <a:close/>
                </a:path>
              </a:pathLst>
            </a:custGeom>
            <a:solidFill>
              <a:schemeClr val="accent3">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3" name="Freeform 8">
              <a:extLst>
                <a:ext uri="{FF2B5EF4-FFF2-40B4-BE49-F238E27FC236}">
                  <a16:creationId xmlns:a16="http://schemas.microsoft.com/office/drawing/2014/main" id="{2D966427-7D39-480B-93A5-D2FAB5984320}"/>
                </a:ext>
              </a:extLst>
            </p:cNvPr>
            <p:cNvSpPr>
              <a:spLocks/>
            </p:cNvSpPr>
            <p:nvPr/>
          </p:nvSpPr>
          <p:spPr bwMode="auto">
            <a:xfrm>
              <a:off x="2997201" y="2293938"/>
              <a:ext cx="1546225" cy="1547813"/>
            </a:xfrm>
            <a:custGeom>
              <a:avLst/>
              <a:gdLst/>
              <a:ahLst/>
              <a:cxnLst>
                <a:cxn ang="0">
                  <a:pos x="974" y="0"/>
                </a:cxn>
                <a:cxn ang="0">
                  <a:pos x="869" y="9"/>
                </a:cxn>
                <a:cxn ang="0">
                  <a:pos x="767" y="27"/>
                </a:cxn>
                <a:cxn ang="0">
                  <a:pos x="668" y="57"/>
                </a:cxn>
                <a:cxn ang="0">
                  <a:pos x="572" y="96"/>
                </a:cxn>
                <a:cxn ang="0">
                  <a:pos x="482" y="144"/>
                </a:cxn>
                <a:cxn ang="0">
                  <a:pos x="396" y="203"/>
                </a:cxn>
                <a:cxn ang="0">
                  <a:pos x="315" y="270"/>
                </a:cxn>
                <a:cxn ang="0">
                  <a:pos x="243" y="345"/>
                </a:cxn>
                <a:cxn ang="0">
                  <a:pos x="215" y="378"/>
                </a:cxn>
                <a:cxn ang="0">
                  <a:pos x="165" y="449"/>
                </a:cxn>
                <a:cxn ang="0">
                  <a:pos x="120" y="522"/>
                </a:cxn>
                <a:cxn ang="0">
                  <a:pos x="83" y="599"/>
                </a:cxn>
                <a:cxn ang="0">
                  <a:pos x="53" y="680"/>
                </a:cxn>
                <a:cxn ang="0">
                  <a:pos x="29" y="762"/>
                </a:cxn>
                <a:cxn ang="0">
                  <a:pos x="12" y="846"/>
                </a:cxn>
                <a:cxn ang="0">
                  <a:pos x="3" y="932"/>
                </a:cxn>
                <a:cxn ang="0">
                  <a:pos x="351" y="975"/>
                </a:cxn>
                <a:cxn ang="0">
                  <a:pos x="354" y="944"/>
                </a:cxn>
                <a:cxn ang="0">
                  <a:pos x="362" y="882"/>
                </a:cxn>
                <a:cxn ang="0">
                  <a:pos x="375" y="822"/>
                </a:cxn>
                <a:cxn ang="0">
                  <a:pos x="395" y="765"/>
                </a:cxn>
                <a:cxn ang="0">
                  <a:pos x="419" y="710"/>
                </a:cxn>
                <a:cxn ang="0">
                  <a:pos x="449" y="657"/>
                </a:cxn>
                <a:cxn ang="0">
                  <a:pos x="482" y="609"/>
                </a:cxn>
                <a:cxn ang="0">
                  <a:pos x="519" y="563"/>
                </a:cxn>
                <a:cxn ang="0">
                  <a:pos x="561" y="521"/>
                </a:cxn>
                <a:cxn ang="0">
                  <a:pos x="608" y="483"/>
                </a:cxn>
                <a:cxn ang="0">
                  <a:pos x="656" y="450"/>
                </a:cxn>
                <a:cxn ang="0">
                  <a:pos x="708" y="420"/>
                </a:cxn>
                <a:cxn ang="0">
                  <a:pos x="764" y="396"/>
                </a:cxn>
                <a:cxn ang="0">
                  <a:pos x="821" y="377"/>
                </a:cxn>
                <a:cxn ang="0">
                  <a:pos x="881" y="363"/>
                </a:cxn>
                <a:cxn ang="0">
                  <a:pos x="942" y="354"/>
                </a:cxn>
                <a:cxn ang="0">
                  <a:pos x="974" y="0"/>
                </a:cxn>
              </a:cxnLst>
              <a:rect l="0" t="0" r="r" b="b"/>
              <a:pathLst>
                <a:path w="974" h="975">
                  <a:moveTo>
                    <a:pt x="974" y="0"/>
                  </a:moveTo>
                  <a:lnTo>
                    <a:pt x="974" y="0"/>
                  </a:lnTo>
                  <a:lnTo>
                    <a:pt x="921" y="3"/>
                  </a:lnTo>
                  <a:lnTo>
                    <a:pt x="869" y="9"/>
                  </a:lnTo>
                  <a:lnTo>
                    <a:pt x="818" y="17"/>
                  </a:lnTo>
                  <a:lnTo>
                    <a:pt x="767" y="27"/>
                  </a:lnTo>
                  <a:lnTo>
                    <a:pt x="717" y="41"/>
                  </a:lnTo>
                  <a:lnTo>
                    <a:pt x="668" y="57"/>
                  </a:lnTo>
                  <a:lnTo>
                    <a:pt x="620" y="75"/>
                  </a:lnTo>
                  <a:lnTo>
                    <a:pt x="572" y="96"/>
                  </a:lnTo>
                  <a:lnTo>
                    <a:pt x="527" y="119"/>
                  </a:lnTo>
                  <a:lnTo>
                    <a:pt x="482" y="144"/>
                  </a:lnTo>
                  <a:lnTo>
                    <a:pt x="438" y="173"/>
                  </a:lnTo>
                  <a:lnTo>
                    <a:pt x="396" y="203"/>
                  </a:lnTo>
                  <a:lnTo>
                    <a:pt x="354" y="234"/>
                  </a:lnTo>
                  <a:lnTo>
                    <a:pt x="315" y="270"/>
                  </a:lnTo>
                  <a:lnTo>
                    <a:pt x="279" y="306"/>
                  </a:lnTo>
                  <a:lnTo>
                    <a:pt x="243" y="345"/>
                  </a:lnTo>
                  <a:lnTo>
                    <a:pt x="243" y="345"/>
                  </a:lnTo>
                  <a:lnTo>
                    <a:pt x="215" y="378"/>
                  </a:lnTo>
                  <a:lnTo>
                    <a:pt x="189" y="413"/>
                  </a:lnTo>
                  <a:lnTo>
                    <a:pt x="165" y="449"/>
                  </a:lnTo>
                  <a:lnTo>
                    <a:pt x="141" y="485"/>
                  </a:lnTo>
                  <a:lnTo>
                    <a:pt x="120" y="522"/>
                  </a:lnTo>
                  <a:lnTo>
                    <a:pt x="101" y="560"/>
                  </a:lnTo>
                  <a:lnTo>
                    <a:pt x="83" y="599"/>
                  </a:lnTo>
                  <a:lnTo>
                    <a:pt x="66" y="639"/>
                  </a:lnTo>
                  <a:lnTo>
                    <a:pt x="53" y="680"/>
                  </a:lnTo>
                  <a:lnTo>
                    <a:pt x="39" y="720"/>
                  </a:lnTo>
                  <a:lnTo>
                    <a:pt x="29" y="762"/>
                  </a:lnTo>
                  <a:lnTo>
                    <a:pt x="20" y="804"/>
                  </a:lnTo>
                  <a:lnTo>
                    <a:pt x="12" y="846"/>
                  </a:lnTo>
                  <a:lnTo>
                    <a:pt x="6" y="888"/>
                  </a:lnTo>
                  <a:lnTo>
                    <a:pt x="3" y="932"/>
                  </a:lnTo>
                  <a:lnTo>
                    <a:pt x="0" y="975"/>
                  </a:lnTo>
                  <a:lnTo>
                    <a:pt x="351" y="975"/>
                  </a:lnTo>
                  <a:lnTo>
                    <a:pt x="351" y="975"/>
                  </a:lnTo>
                  <a:lnTo>
                    <a:pt x="354" y="944"/>
                  </a:lnTo>
                  <a:lnTo>
                    <a:pt x="357" y="912"/>
                  </a:lnTo>
                  <a:lnTo>
                    <a:pt x="362" y="882"/>
                  </a:lnTo>
                  <a:lnTo>
                    <a:pt x="368" y="852"/>
                  </a:lnTo>
                  <a:lnTo>
                    <a:pt x="375" y="822"/>
                  </a:lnTo>
                  <a:lnTo>
                    <a:pt x="384" y="794"/>
                  </a:lnTo>
                  <a:lnTo>
                    <a:pt x="395" y="765"/>
                  </a:lnTo>
                  <a:lnTo>
                    <a:pt x="407" y="737"/>
                  </a:lnTo>
                  <a:lnTo>
                    <a:pt x="419" y="710"/>
                  </a:lnTo>
                  <a:lnTo>
                    <a:pt x="434" y="683"/>
                  </a:lnTo>
                  <a:lnTo>
                    <a:pt x="449" y="657"/>
                  </a:lnTo>
                  <a:lnTo>
                    <a:pt x="465" y="633"/>
                  </a:lnTo>
                  <a:lnTo>
                    <a:pt x="482" y="609"/>
                  </a:lnTo>
                  <a:lnTo>
                    <a:pt x="500" y="585"/>
                  </a:lnTo>
                  <a:lnTo>
                    <a:pt x="519" y="563"/>
                  </a:lnTo>
                  <a:lnTo>
                    <a:pt x="540" y="542"/>
                  </a:lnTo>
                  <a:lnTo>
                    <a:pt x="561" y="521"/>
                  </a:lnTo>
                  <a:lnTo>
                    <a:pt x="584" y="501"/>
                  </a:lnTo>
                  <a:lnTo>
                    <a:pt x="608" y="483"/>
                  </a:lnTo>
                  <a:lnTo>
                    <a:pt x="632" y="465"/>
                  </a:lnTo>
                  <a:lnTo>
                    <a:pt x="656" y="450"/>
                  </a:lnTo>
                  <a:lnTo>
                    <a:pt x="681" y="435"/>
                  </a:lnTo>
                  <a:lnTo>
                    <a:pt x="708" y="420"/>
                  </a:lnTo>
                  <a:lnTo>
                    <a:pt x="735" y="408"/>
                  </a:lnTo>
                  <a:lnTo>
                    <a:pt x="764" y="396"/>
                  </a:lnTo>
                  <a:lnTo>
                    <a:pt x="792" y="386"/>
                  </a:lnTo>
                  <a:lnTo>
                    <a:pt x="821" y="377"/>
                  </a:lnTo>
                  <a:lnTo>
                    <a:pt x="851" y="369"/>
                  </a:lnTo>
                  <a:lnTo>
                    <a:pt x="881" y="363"/>
                  </a:lnTo>
                  <a:lnTo>
                    <a:pt x="911" y="359"/>
                  </a:lnTo>
                  <a:lnTo>
                    <a:pt x="942" y="354"/>
                  </a:lnTo>
                  <a:lnTo>
                    <a:pt x="974" y="353"/>
                  </a:lnTo>
                  <a:lnTo>
                    <a:pt x="974" y="0"/>
                  </a:lnTo>
                  <a:close/>
                </a:path>
              </a:pathLst>
            </a:custGeom>
            <a:solidFill>
              <a:schemeClr val="tx2">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4" name="Freeform 9">
              <a:extLst>
                <a:ext uri="{FF2B5EF4-FFF2-40B4-BE49-F238E27FC236}">
                  <a16:creationId xmlns:a16="http://schemas.microsoft.com/office/drawing/2014/main" id="{2B2E2E11-C044-473D-BB67-974ABA599198}"/>
                </a:ext>
              </a:extLst>
            </p:cNvPr>
            <p:cNvSpPr>
              <a:spLocks/>
            </p:cNvSpPr>
            <p:nvPr/>
          </p:nvSpPr>
          <p:spPr bwMode="auto">
            <a:xfrm>
              <a:off x="4610101" y="2293938"/>
              <a:ext cx="1552575" cy="1584325"/>
            </a:xfrm>
            <a:custGeom>
              <a:avLst/>
              <a:gdLst/>
              <a:ahLst/>
              <a:cxnLst>
                <a:cxn ang="0">
                  <a:pos x="737" y="345"/>
                </a:cxn>
                <a:cxn ang="0">
                  <a:pos x="663" y="269"/>
                </a:cxn>
                <a:cxn ang="0">
                  <a:pos x="582" y="201"/>
                </a:cxn>
                <a:cxn ang="0">
                  <a:pos x="497" y="143"/>
                </a:cxn>
                <a:cxn ang="0">
                  <a:pos x="404" y="95"/>
                </a:cxn>
                <a:cxn ang="0">
                  <a:pos x="308" y="56"/>
                </a:cxn>
                <a:cxn ang="0">
                  <a:pos x="209" y="27"/>
                </a:cxn>
                <a:cxn ang="0">
                  <a:pos x="105" y="8"/>
                </a:cxn>
                <a:cxn ang="0">
                  <a:pos x="0" y="0"/>
                </a:cxn>
                <a:cxn ang="0">
                  <a:pos x="0" y="353"/>
                </a:cxn>
                <a:cxn ang="0">
                  <a:pos x="65" y="357"/>
                </a:cxn>
                <a:cxn ang="0">
                  <a:pos x="126" y="369"/>
                </a:cxn>
                <a:cxn ang="0">
                  <a:pos x="188" y="386"/>
                </a:cxn>
                <a:cxn ang="0">
                  <a:pos x="245" y="408"/>
                </a:cxn>
                <a:cxn ang="0">
                  <a:pos x="300" y="435"/>
                </a:cxn>
                <a:cxn ang="0">
                  <a:pos x="351" y="468"/>
                </a:cxn>
                <a:cxn ang="0">
                  <a:pos x="401" y="506"/>
                </a:cxn>
                <a:cxn ang="0">
                  <a:pos x="444" y="548"/>
                </a:cxn>
                <a:cxn ang="0">
                  <a:pos x="485" y="593"/>
                </a:cxn>
                <a:cxn ang="0">
                  <a:pos x="521" y="642"/>
                </a:cxn>
                <a:cxn ang="0">
                  <a:pos x="552" y="695"/>
                </a:cxn>
                <a:cxn ang="0">
                  <a:pos x="579" y="750"/>
                </a:cxn>
                <a:cxn ang="0">
                  <a:pos x="600" y="809"/>
                </a:cxn>
                <a:cxn ang="0">
                  <a:pos x="615" y="870"/>
                </a:cxn>
                <a:cxn ang="0">
                  <a:pos x="624" y="933"/>
                </a:cxn>
                <a:cxn ang="0">
                  <a:pos x="627" y="998"/>
                </a:cxn>
                <a:cxn ang="0">
                  <a:pos x="627" y="975"/>
                </a:cxn>
                <a:cxn ang="0">
                  <a:pos x="978" y="975"/>
                </a:cxn>
                <a:cxn ang="0">
                  <a:pos x="972" y="888"/>
                </a:cxn>
                <a:cxn ang="0">
                  <a:pos x="960" y="804"/>
                </a:cxn>
                <a:cxn ang="0">
                  <a:pos x="939" y="720"/>
                </a:cxn>
                <a:cxn ang="0">
                  <a:pos x="912" y="639"/>
                </a:cxn>
                <a:cxn ang="0">
                  <a:pos x="878" y="560"/>
                </a:cxn>
                <a:cxn ang="0">
                  <a:pos x="837" y="485"/>
                </a:cxn>
                <a:cxn ang="0">
                  <a:pos x="789" y="413"/>
                </a:cxn>
                <a:cxn ang="0">
                  <a:pos x="737" y="345"/>
                </a:cxn>
              </a:cxnLst>
              <a:rect l="0" t="0" r="r" b="b"/>
              <a:pathLst>
                <a:path w="978" h="998">
                  <a:moveTo>
                    <a:pt x="737" y="345"/>
                  </a:moveTo>
                  <a:lnTo>
                    <a:pt x="737" y="345"/>
                  </a:lnTo>
                  <a:lnTo>
                    <a:pt x="701" y="306"/>
                  </a:lnTo>
                  <a:lnTo>
                    <a:pt x="663" y="269"/>
                  </a:lnTo>
                  <a:lnTo>
                    <a:pt x="624" y="234"/>
                  </a:lnTo>
                  <a:lnTo>
                    <a:pt x="582" y="201"/>
                  </a:lnTo>
                  <a:lnTo>
                    <a:pt x="540" y="171"/>
                  </a:lnTo>
                  <a:lnTo>
                    <a:pt x="497" y="143"/>
                  </a:lnTo>
                  <a:lnTo>
                    <a:pt x="450" y="117"/>
                  </a:lnTo>
                  <a:lnTo>
                    <a:pt x="404" y="95"/>
                  </a:lnTo>
                  <a:lnTo>
                    <a:pt x="357" y="74"/>
                  </a:lnTo>
                  <a:lnTo>
                    <a:pt x="308" y="56"/>
                  </a:lnTo>
                  <a:lnTo>
                    <a:pt x="258" y="39"/>
                  </a:lnTo>
                  <a:lnTo>
                    <a:pt x="209" y="27"/>
                  </a:lnTo>
                  <a:lnTo>
                    <a:pt x="156" y="17"/>
                  </a:lnTo>
                  <a:lnTo>
                    <a:pt x="105" y="8"/>
                  </a:lnTo>
                  <a:lnTo>
                    <a:pt x="53" y="3"/>
                  </a:lnTo>
                  <a:lnTo>
                    <a:pt x="0" y="0"/>
                  </a:lnTo>
                  <a:lnTo>
                    <a:pt x="0" y="353"/>
                  </a:lnTo>
                  <a:lnTo>
                    <a:pt x="0" y="353"/>
                  </a:lnTo>
                  <a:lnTo>
                    <a:pt x="32" y="354"/>
                  </a:lnTo>
                  <a:lnTo>
                    <a:pt x="65" y="357"/>
                  </a:lnTo>
                  <a:lnTo>
                    <a:pt x="96" y="362"/>
                  </a:lnTo>
                  <a:lnTo>
                    <a:pt x="126" y="369"/>
                  </a:lnTo>
                  <a:lnTo>
                    <a:pt x="158" y="377"/>
                  </a:lnTo>
                  <a:lnTo>
                    <a:pt x="188" y="386"/>
                  </a:lnTo>
                  <a:lnTo>
                    <a:pt x="216" y="396"/>
                  </a:lnTo>
                  <a:lnTo>
                    <a:pt x="245" y="408"/>
                  </a:lnTo>
                  <a:lnTo>
                    <a:pt x="273" y="422"/>
                  </a:lnTo>
                  <a:lnTo>
                    <a:pt x="300" y="435"/>
                  </a:lnTo>
                  <a:lnTo>
                    <a:pt x="326" y="452"/>
                  </a:lnTo>
                  <a:lnTo>
                    <a:pt x="351" y="468"/>
                  </a:lnTo>
                  <a:lnTo>
                    <a:pt x="377" y="486"/>
                  </a:lnTo>
                  <a:lnTo>
                    <a:pt x="401" y="506"/>
                  </a:lnTo>
                  <a:lnTo>
                    <a:pt x="423" y="527"/>
                  </a:lnTo>
                  <a:lnTo>
                    <a:pt x="444" y="548"/>
                  </a:lnTo>
                  <a:lnTo>
                    <a:pt x="465" y="570"/>
                  </a:lnTo>
                  <a:lnTo>
                    <a:pt x="485" y="593"/>
                  </a:lnTo>
                  <a:lnTo>
                    <a:pt x="504" y="617"/>
                  </a:lnTo>
                  <a:lnTo>
                    <a:pt x="521" y="642"/>
                  </a:lnTo>
                  <a:lnTo>
                    <a:pt x="537" y="668"/>
                  </a:lnTo>
                  <a:lnTo>
                    <a:pt x="552" y="695"/>
                  </a:lnTo>
                  <a:lnTo>
                    <a:pt x="566" y="723"/>
                  </a:lnTo>
                  <a:lnTo>
                    <a:pt x="579" y="750"/>
                  </a:lnTo>
                  <a:lnTo>
                    <a:pt x="590" y="780"/>
                  </a:lnTo>
                  <a:lnTo>
                    <a:pt x="600" y="809"/>
                  </a:lnTo>
                  <a:lnTo>
                    <a:pt x="608" y="840"/>
                  </a:lnTo>
                  <a:lnTo>
                    <a:pt x="615" y="870"/>
                  </a:lnTo>
                  <a:lnTo>
                    <a:pt x="621" y="902"/>
                  </a:lnTo>
                  <a:lnTo>
                    <a:pt x="624" y="933"/>
                  </a:lnTo>
                  <a:lnTo>
                    <a:pt x="627" y="966"/>
                  </a:lnTo>
                  <a:lnTo>
                    <a:pt x="627" y="998"/>
                  </a:lnTo>
                  <a:lnTo>
                    <a:pt x="627" y="977"/>
                  </a:lnTo>
                  <a:lnTo>
                    <a:pt x="627" y="975"/>
                  </a:lnTo>
                  <a:lnTo>
                    <a:pt x="978" y="975"/>
                  </a:lnTo>
                  <a:lnTo>
                    <a:pt x="978" y="975"/>
                  </a:lnTo>
                  <a:lnTo>
                    <a:pt x="977" y="932"/>
                  </a:lnTo>
                  <a:lnTo>
                    <a:pt x="972" y="888"/>
                  </a:lnTo>
                  <a:lnTo>
                    <a:pt x="968" y="846"/>
                  </a:lnTo>
                  <a:lnTo>
                    <a:pt x="960" y="804"/>
                  </a:lnTo>
                  <a:lnTo>
                    <a:pt x="951" y="762"/>
                  </a:lnTo>
                  <a:lnTo>
                    <a:pt x="939" y="720"/>
                  </a:lnTo>
                  <a:lnTo>
                    <a:pt x="927" y="680"/>
                  </a:lnTo>
                  <a:lnTo>
                    <a:pt x="912" y="639"/>
                  </a:lnTo>
                  <a:lnTo>
                    <a:pt x="896" y="599"/>
                  </a:lnTo>
                  <a:lnTo>
                    <a:pt x="878" y="560"/>
                  </a:lnTo>
                  <a:lnTo>
                    <a:pt x="858" y="522"/>
                  </a:lnTo>
                  <a:lnTo>
                    <a:pt x="837" y="485"/>
                  </a:lnTo>
                  <a:lnTo>
                    <a:pt x="815" y="449"/>
                  </a:lnTo>
                  <a:lnTo>
                    <a:pt x="789" y="413"/>
                  </a:lnTo>
                  <a:lnTo>
                    <a:pt x="764" y="378"/>
                  </a:lnTo>
                  <a:lnTo>
                    <a:pt x="737" y="345"/>
                  </a:lnTo>
                  <a:lnTo>
                    <a:pt x="737" y="345"/>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5" name="Freeform 10">
              <a:extLst>
                <a:ext uri="{FF2B5EF4-FFF2-40B4-BE49-F238E27FC236}">
                  <a16:creationId xmlns:a16="http://schemas.microsoft.com/office/drawing/2014/main" id="{1009C740-0196-4F79-8265-7CEA3B1675B9}"/>
                </a:ext>
              </a:extLst>
            </p:cNvPr>
            <p:cNvSpPr>
              <a:spLocks/>
            </p:cNvSpPr>
            <p:nvPr/>
          </p:nvSpPr>
          <p:spPr bwMode="auto">
            <a:xfrm>
              <a:off x="2997201" y="3911600"/>
              <a:ext cx="1546225" cy="1547813"/>
            </a:xfrm>
            <a:custGeom>
              <a:avLst/>
              <a:gdLst/>
              <a:ahLst/>
              <a:cxnLst>
                <a:cxn ang="0">
                  <a:pos x="974" y="626"/>
                </a:cxn>
                <a:cxn ang="0">
                  <a:pos x="911" y="620"/>
                </a:cxn>
                <a:cxn ang="0">
                  <a:pos x="849" y="609"/>
                </a:cxn>
                <a:cxn ang="0">
                  <a:pos x="791" y="593"/>
                </a:cxn>
                <a:cxn ang="0">
                  <a:pos x="735" y="570"/>
                </a:cxn>
                <a:cxn ang="0">
                  <a:pos x="681" y="543"/>
                </a:cxn>
                <a:cxn ang="0">
                  <a:pos x="630" y="512"/>
                </a:cxn>
                <a:cxn ang="0">
                  <a:pos x="584" y="476"/>
                </a:cxn>
                <a:cxn ang="0">
                  <a:pos x="539" y="435"/>
                </a:cxn>
                <a:cxn ang="0">
                  <a:pos x="500" y="392"/>
                </a:cxn>
                <a:cxn ang="0">
                  <a:pos x="464" y="344"/>
                </a:cxn>
                <a:cxn ang="0">
                  <a:pos x="432" y="293"/>
                </a:cxn>
                <a:cxn ang="0">
                  <a:pos x="405" y="240"/>
                </a:cxn>
                <a:cxn ang="0">
                  <a:pos x="384" y="183"/>
                </a:cxn>
                <a:cxn ang="0">
                  <a:pos x="368" y="125"/>
                </a:cxn>
                <a:cxn ang="0">
                  <a:pos x="357" y="63"/>
                </a:cxn>
                <a:cxn ang="0">
                  <a:pos x="351" y="0"/>
                </a:cxn>
                <a:cxn ang="0">
                  <a:pos x="351" y="0"/>
                </a:cxn>
                <a:cxn ang="0">
                  <a:pos x="0" y="2"/>
                </a:cxn>
                <a:cxn ang="0">
                  <a:pos x="8" y="101"/>
                </a:cxn>
                <a:cxn ang="0">
                  <a:pos x="24" y="195"/>
                </a:cxn>
                <a:cxn ang="0">
                  <a:pos x="50" y="288"/>
                </a:cxn>
                <a:cxn ang="0">
                  <a:pos x="83" y="377"/>
                </a:cxn>
                <a:cxn ang="0">
                  <a:pos x="125" y="461"/>
                </a:cxn>
                <a:cxn ang="0">
                  <a:pos x="174" y="540"/>
                </a:cxn>
                <a:cxn ang="0">
                  <a:pos x="230" y="614"/>
                </a:cxn>
                <a:cxn ang="0">
                  <a:pos x="293" y="683"/>
                </a:cxn>
                <a:cxn ang="0">
                  <a:pos x="362" y="746"/>
                </a:cxn>
                <a:cxn ang="0">
                  <a:pos x="435" y="801"/>
                </a:cxn>
                <a:cxn ang="0">
                  <a:pos x="515" y="851"/>
                </a:cxn>
                <a:cxn ang="0">
                  <a:pos x="599" y="893"/>
                </a:cxn>
                <a:cxn ang="0">
                  <a:pos x="687" y="926"/>
                </a:cxn>
                <a:cxn ang="0">
                  <a:pos x="780" y="951"/>
                </a:cxn>
                <a:cxn ang="0">
                  <a:pos x="875" y="968"/>
                </a:cxn>
                <a:cxn ang="0">
                  <a:pos x="974" y="975"/>
                </a:cxn>
              </a:cxnLst>
              <a:rect l="0" t="0" r="r" b="b"/>
              <a:pathLst>
                <a:path w="974" h="975">
                  <a:moveTo>
                    <a:pt x="974" y="626"/>
                  </a:moveTo>
                  <a:lnTo>
                    <a:pt x="974" y="626"/>
                  </a:lnTo>
                  <a:lnTo>
                    <a:pt x="942" y="624"/>
                  </a:lnTo>
                  <a:lnTo>
                    <a:pt x="911" y="620"/>
                  </a:lnTo>
                  <a:lnTo>
                    <a:pt x="881" y="615"/>
                  </a:lnTo>
                  <a:lnTo>
                    <a:pt x="849" y="609"/>
                  </a:lnTo>
                  <a:lnTo>
                    <a:pt x="821" y="602"/>
                  </a:lnTo>
                  <a:lnTo>
                    <a:pt x="791" y="593"/>
                  </a:lnTo>
                  <a:lnTo>
                    <a:pt x="762" y="582"/>
                  </a:lnTo>
                  <a:lnTo>
                    <a:pt x="735" y="570"/>
                  </a:lnTo>
                  <a:lnTo>
                    <a:pt x="708" y="557"/>
                  </a:lnTo>
                  <a:lnTo>
                    <a:pt x="681" y="543"/>
                  </a:lnTo>
                  <a:lnTo>
                    <a:pt x="656" y="528"/>
                  </a:lnTo>
                  <a:lnTo>
                    <a:pt x="630" y="512"/>
                  </a:lnTo>
                  <a:lnTo>
                    <a:pt x="606" y="494"/>
                  </a:lnTo>
                  <a:lnTo>
                    <a:pt x="584" y="476"/>
                  </a:lnTo>
                  <a:lnTo>
                    <a:pt x="561" y="456"/>
                  </a:lnTo>
                  <a:lnTo>
                    <a:pt x="539" y="435"/>
                  </a:lnTo>
                  <a:lnTo>
                    <a:pt x="519" y="414"/>
                  </a:lnTo>
                  <a:lnTo>
                    <a:pt x="500" y="392"/>
                  </a:lnTo>
                  <a:lnTo>
                    <a:pt x="482" y="368"/>
                  </a:lnTo>
                  <a:lnTo>
                    <a:pt x="464" y="344"/>
                  </a:lnTo>
                  <a:lnTo>
                    <a:pt x="447" y="320"/>
                  </a:lnTo>
                  <a:lnTo>
                    <a:pt x="432" y="293"/>
                  </a:lnTo>
                  <a:lnTo>
                    <a:pt x="419" y="267"/>
                  </a:lnTo>
                  <a:lnTo>
                    <a:pt x="405" y="240"/>
                  </a:lnTo>
                  <a:lnTo>
                    <a:pt x="395" y="212"/>
                  </a:lnTo>
                  <a:lnTo>
                    <a:pt x="384" y="183"/>
                  </a:lnTo>
                  <a:lnTo>
                    <a:pt x="375" y="155"/>
                  </a:lnTo>
                  <a:lnTo>
                    <a:pt x="368" y="125"/>
                  </a:lnTo>
                  <a:lnTo>
                    <a:pt x="362" y="95"/>
                  </a:lnTo>
                  <a:lnTo>
                    <a:pt x="357" y="63"/>
                  </a:lnTo>
                  <a:lnTo>
                    <a:pt x="353" y="32"/>
                  </a:lnTo>
                  <a:lnTo>
                    <a:pt x="351" y="0"/>
                  </a:lnTo>
                  <a:lnTo>
                    <a:pt x="351" y="0"/>
                  </a:lnTo>
                  <a:lnTo>
                    <a:pt x="351" y="0"/>
                  </a:lnTo>
                  <a:lnTo>
                    <a:pt x="0" y="2"/>
                  </a:lnTo>
                  <a:lnTo>
                    <a:pt x="0" y="2"/>
                  </a:lnTo>
                  <a:lnTo>
                    <a:pt x="3" y="51"/>
                  </a:lnTo>
                  <a:lnTo>
                    <a:pt x="8" y="101"/>
                  </a:lnTo>
                  <a:lnTo>
                    <a:pt x="15" y="149"/>
                  </a:lnTo>
                  <a:lnTo>
                    <a:pt x="24" y="195"/>
                  </a:lnTo>
                  <a:lnTo>
                    <a:pt x="36" y="242"/>
                  </a:lnTo>
                  <a:lnTo>
                    <a:pt x="50" y="288"/>
                  </a:lnTo>
                  <a:lnTo>
                    <a:pt x="65" y="332"/>
                  </a:lnTo>
                  <a:lnTo>
                    <a:pt x="83" y="377"/>
                  </a:lnTo>
                  <a:lnTo>
                    <a:pt x="102" y="419"/>
                  </a:lnTo>
                  <a:lnTo>
                    <a:pt x="125" y="461"/>
                  </a:lnTo>
                  <a:lnTo>
                    <a:pt x="149" y="501"/>
                  </a:lnTo>
                  <a:lnTo>
                    <a:pt x="174" y="540"/>
                  </a:lnTo>
                  <a:lnTo>
                    <a:pt x="201" y="578"/>
                  </a:lnTo>
                  <a:lnTo>
                    <a:pt x="230" y="614"/>
                  </a:lnTo>
                  <a:lnTo>
                    <a:pt x="260" y="650"/>
                  </a:lnTo>
                  <a:lnTo>
                    <a:pt x="293" y="683"/>
                  </a:lnTo>
                  <a:lnTo>
                    <a:pt x="326" y="716"/>
                  </a:lnTo>
                  <a:lnTo>
                    <a:pt x="362" y="746"/>
                  </a:lnTo>
                  <a:lnTo>
                    <a:pt x="398" y="774"/>
                  </a:lnTo>
                  <a:lnTo>
                    <a:pt x="435" y="801"/>
                  </a:lnTo>
                  <a:lnTo>
                    <a:pt x="474" y="827"/>
                  </a:lnTo>
                  <a:lnTo>
                    <a:pt x="515" y="851"/>
                  </a:lnTo>
                  <a:lnTo>
                    <a:pt x="557" y="873"/>
                  </a:lnTo>
                  <a:lnTo>
                    <a:pt x="599" y="893"/>
                  </a:lnTo>
                  <a:lnTo>
                    <a:pt x="642" y="911"/>
                  </a:lnTo>
                  <a:lnTo>
                    <a:pt x="687" y="926"/>
                  </a:lnTo>
                  <a:lnTo>
                    <a:pt x="734" y="941"/>
                  </a:lnTo>
                  <a:lnTo>
                    <a:pt x="780" y="951"/>
                  </a:lnTo>
                  <a:lnTo>
                    <a:pt x="827" y="962"/>
                  </a:lnTo>
                  <a:lnTo>
                    <a:pt x="875" y="968"/>
                  </a:lnTo>
                  <a:lnTo>
                    <a:pt x="924" y="972"/>
                  </a:lnTo>
                  <a:lnTo>
                    <a:pt x="974" y="975"/>
                  </a:lnTo>
                  <a:lnTo>
                    <a:pt x="974" y="626"/>
                  </a:lnTo>
                  <a:close/>
                </a:path>
              </a:pathLst>
            </a:custGeom>
            <a:solidFill>
              <a:schemeClr val="tx2">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6" name="Freeform 11">
              <a:extLst>
                <a:ext uri="{FF2B5EF4-FFF2-40B4-BE49-F238E27FC236}">
                  <a16:creationId xmlns:a16="http://schemas.microsoft.com/office/drawing/2014/main" id="{3DAB417F-3EB6-457A-BE5A-97BBC48AE790}"/>
                </a:ext>
              </a:extLst>
            </p:cNvPr>
            <p:cNvSpPr>
              <a:spLocks/>
            </p:cNvSpPr>
            <p:nvPr/>
          </p:nvSpPr>
          <p:spPr bwMode="auto">
            <a:xfrm>
              <a:off x="4610101" y="3878263"/>
              <a:ext cx="1552575" cy="1581150"/>
            </a:xfrm>
            <a:custGeom>
              <a:avLst/>
              <a:gdLst/>
              <a:ahLst/>
              <a:cxnLst>
                <a:cxn ang="0">
                  <a:pos x="627" y="21"/>
                </a:cxn>
                <a:cxn ang="0">
                  <a:pos x="627" y="0"/>
                </a:cxn>
                <a:cxn ang="0">
                  <a:pos x="624" y="66"/>
                </a:cxn>
                <a:cxn ang="0">
                  <a:pos x="615" y="129"/>
                </a:cxn>
                <a:cxn ang="0">
                  <a:pos x="600" y="189"/>
                </a:cxn>
                <a:cxn ang="0">
                  <a:pos x="579" y="248"/>
                </a:cxn>
                <a:cxn ang="0">
                  <a:pos x="552" y="305"/>
                </a:cxn>
                <a:cxn ang="0">
                  <a:pos x="521" y="357"/>
                </a:cxn>
                <a:cxn ang="0">
                  <a:pos x="485" y="407"/>
                </a:cxn>
                <a:cxn ang="0">
                  <a:pos x="444" y="452"/>
                </a:cxn>
                <a:cxn ang="0">
                  <a:pos x="401" y="494"/>
                </a:cxn>
                <a:cxn ang="0">
                  <a:pos x="351" y="531"/>
                </a:cxn>
                <a:cxn ang="0">
                  <a:pos x="300" y="563"/>
                </a:cxn>
                <a:cxn ang="0">
                  <a:pos x="245" y="591"/>
                </a:cxn>
                <a:cxn ang="0">
                  <a:pos x="188" y="614"/>
                </a:cxn>
                <a:cxn ang="0">
                  <a:pos x="126" y="630"/>
                </a:cxn>
                <a:cxn ang="0">
                  <a:pos x="65" y="642"/>
                </a:cxn>
                <a:cxn ang="0">
                  <a:pos x="0" y="647"/>
                </a:cxn>
                <a:cxn ang="0">
                  <a:pos x="0" y="996"/>
                </a:cxn>
                <a:cxn ang="0">
                  <a:pos x="99" y="990"/>
                </a:cxn>
                <a:cxn ang="0">
                  <a:pos x="195" y="974"/>
                </a:cxn>
                <a:cxn ang="0">
                  <a:pos x="288" y="948"/>
                </a:cxn>
                <a:cxn ang="0">
                  <a:pos x="377" y="915"/>
                </a:cxn>
                <a:cxn ang="0">
                  <a:pos x="461" y="873"/>
                </a:cxn>
                <a:cxn ang="0">
                  <a:pos x="542" y="825"/>
                </a:cxn>
                <a:cxn ang="0">
                  <a:pos x="615" y="768"/>
                </a:cxn>
                <a:cxn ang="0">
                  <a:pos x="686" y="705"/>
                </a:cxn>
                <a:cxn ang="0">
                  <a:pos x="749" y="636"/>
                </a:cxn>
                <a:cxn ang="0">
                  <a:pos x="804" y="563"/>
                </a:cxn>
                <a:cxn ang="0">
                  <a:pos x="854" y="482"/>
                </a:cxn>
                <a:cxn ang="0">
                  <a:pos x="896" y="398"/>
                </a:cxn>
                <a:cxn ang="0">
                  <a:pos x="930" y="309"/>
                </a:cxn>
                <a:cxn ang="0">
                  <a:pos x="956" y="216"/>
                </a:cxn>
                <a:cxn ang="0">
                  <a:pos x="972" y="120"/>
                </a:cxn>
                <a:cxn ang="0">
                  <a:pos x="978" y="21"/>
                </a:cxn>
              </a:cxnLst>
              <a:rect l="0" t="0" r="r" b="b"/>
              <a:pathLst>
                <a:path w="978" h="996">
                  <a:moveTo>
                    <a:pt x="627" y="21"/>
                  </a:moveTo>
                  <a:lnTo>
                    <a:pt x="627" y="21"/>
                  </a:lnTo>
                  <a:lnTo>
                    <a:pt x="627" y="0"/>
                  </a:lnTo>
                  <a:lnTo>
                    <a:pt x="627" y="0"/>
                  </a:lnTo>
                  <a:lnTo>
                    <a:pt x="627" y="33"/>
                  </a:lnTo>
                  <a:lnTo>
                    <a:pt x="624" y="66"/>
                  </a:lnTo>
                  <a:lnTo>
                    <a:pt x="621" y="98"/>
                  </a:lnTo>
                  <a:lnTo>
                    <a:pt x="615" y="129"/>
                  </a:lnTo>
                  <a:lnTo>
                    <a:pt x="608" y="159"/>
                  </a:lnTo>
                  <a:lnTo>
                    <a:pt x="600" y="189"/>
                  </a:lnTo>
                  <a:lnTo>
                    <a:pt x="590" y="219"/>
                  </a:lnTo>
                  <a:lnTo>
                    <a:pt x="579" y="248"/>
                  </a:lnTo>
                  <a:lnTo>
                    <a:pt x="566" y="276"/>
                  </a:lnTo>
                  <a:lnTo>
                    <a:pt x="552" y="305"/>
                  </a:lnTo>
                  <a:lnTo>
                    <a:pt x="537" y="330"/>
                  </a:lnTo>
                  <a:lnTo>
                    <a:pt x="521" y="357"/>
                  </a:lnTo>
                  <a:lnTo>
                    <a:pt x="504" y="381"/>
                  </a:lnTo>
                  <a:lnTo>
                    <a:pt x="485" y="407"/>
                  </a:lnTo>
                  <a:lnTo>
                    <a:pt x="465" y="429"/>
                  </a:lnTo>
                  <a:lnTo>
                    <a:pt x="444" y="452"/>
                  </a:lnTo>
                  <a:lnTo>
                    <a:pt x="423" y="473"/>
                  </a:lnTo>
                  <a:lnTo>
                    <a:pt x="401" y="494"/>
                  </a:lnTo>
                  <a:lnTo>
                    <a:pt x="377" y="513"/>
                  </a:lnTo>
                  <a:lnTo>
                    <a:pt x="351" y="531"/>
                  </a:lnTo>
                  <a:lnTo>
                    <a:pt x="326" y="548"/>
                  </a:lnTo>
                  <a:lnTo>
                    <a:pt x="300" y="563"/>
                  </a:lnTo>
                  <a:lnTo>
                    <a:pt x="273" y="578"/>
                  </a:lnTo>
                  <a:lnTo>
                    <a:pt x="245" y="591"/>
                  </a:lnTo>
                  <a:lnTo>
                    <a:pt x="216" y="603"/>
                  </a:lnTo>
                  <a:lnTo>
                    <a:pt x="188" y="614"/>
                  </a:lnTo>
                  <a:lnTo>
                    <a:pt x="158" y="623"/>
                  </a:lnTo>
                  <a:lnTo>
                    <a:pt x="126" y="630"/>
                  </a:lnTo>
                  <a:lnTo>
                    <a:pt x="96" y="636"/>
                  </a:lnTo>
                  <a:lnTo>
                    <a:pt x="65" y="642"/>
                  </a:lnTo>
                  <a:lnTo>
                    <a:pt x="32" y="645"/>
                  </a:lnTo>
                  <a:lnTo>
                    <a:pt x="0" y="647"/>
                  </a:lnTo>
                  <a:lnTo>
                    <a:pt x="0" y="996"/>
                  </a:lnTo>
                  <a:lnTo>
                    <a:pt x="0" y="996"/>
                  </a:lnTo>
                  <a:lnTo>
                    <a:pt x="50" y="995"/>
                  </a:lnTo>
                  <a:lnTo>
                    <a:pt x="99" y="990"/>
                  </a:lnTo>
                  <a:lnTo>
                    <a:pt x="147" y="983"/>
                  </a:lnTo>
                  <a:lnTo>
                    <a:pt x="195" y="974"/>
                  </a:lnTo>
                  <a:lnTo>
                    <a:pt x="242" y="962"/>
                  </a:lnTo>
                  <a:lnTo>
                    <a:pt x="288" y="948"/>
                  </a:lnTo>
                  <a:lnTo>
                    <a:pt x="332" y="933"/>
                  </a:lnTo>
                  <a:lnTo>
                    <a:pt x="377" y="915"/>
                  </a:lnTo>
                  <a:lnTo>
                    <a:pt x="419" y="896"/>
                  </a:lnTo>
                  <a:lnTo>
                    <a:pt x="461" y="873"/>
                  </a:lnTo>
                  <a:lnTo>
                    <a:pt x="501" y="849"/>
                  </a:lnTo>
                  <a:lnTo>
                    <a:pt x="542" y="825"/>
                  </a:lnTo>
                  <a:lnTo>
                    <a:pt x="579" y="797"/>
                  </a:lnTo>
                  <a:lnTo>
                    <a:pt x="615" y="768"/>
                  </a:lnTo>
                  <a:lnTo>
                    <a:pt x="651" y="738"/>
                  </a:lnTo>
                  <a:lnTo>
                    <a:pt x="686" y="705"/>
                  </a:lnTo>
                  <a:lnTo>
                    <a:pt x="717" y="672"/>
                  </a:lnTo>
                  <a:lnTo>
                    <a:pt x="749" y="636"/>
                  </a:lnTo>
                  <a:lnTo>
                    <a:pt x="777" y="600"/>
                  </a:lnTo>
                  <a:lnTo>
                    <a:pt x="804" y="563"/>
                  </a:lnTo>
                  <a:lnTo>
                    <a:pt x="830" y="522"/>
                  </a:lnTo>
                  <a:lnTo>
                    <a:pt x="854" y="482"/>
                  </a:lnTo>
                  <a:lnTo>
                    <a:pt x="876" y="441"/>
                  </a:lnTo>
                  <a:lnTo>
                    <a:pt x="896" y="398"/>
                  </a:lnTo>
                  <a:lnTo>
                    <a:pt x="914" y="354"/>
                  </a:lnTo>
                  <a:lnTo>
                    <a:pt x="930" y="309"/>
                  </a:lnTo>
                  <a:lnTo>
                    <a:pt x="944" y="263"/>
                  </a:lnTo>
                  <a:lnTo>
                    <a:pt x="956" y="216"/>
                  </a:lnTo>
                  <a:lnTo>
                    <a:pt x="965" y="168"/>
                  </a:lnTo>
                  <a:lnTo>
                    <a:pt x="972" y="120"/>
                  </a:lnTo>
                  <a:lnTo>
                    <a:pt x="977" y="72"/>
                  </a:lnTo>
                  <a:lnTo>
                    <a:pt x="978" y="21"/>
                  </a:lnTo>
                  <a:lnTo>
                    <a:pt x="627" y="21"/>
                  </a:lnTo>
                  <a:close/>
                </a:path>
              </a:pathLst>
            </a:custGeom>
            <a:solidFill>
              <a:schemeClr val="tx2">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7" name="Freeform 12">
              <a:extLst>
                <a:ext uri="{FF2B5EF4-FFF2-40B4-BE49-F238E27FC236}">
                  <a16:creationId xmlns:a16="http://schemas.microsoft.com/office/drawing/2014/main" id="{24B71202-9424-416D-AFB8-08B325C0C3B7}"/>
                </a:ext>
              </a:extLst>
            </p:cNvPr>
            <p:cNvSpPr>
              <a:spLocks/>
            </p:cNvSpPr>
            <p:nvPr/>
          </p:nvSpPr>
          <p:spPr bwMode="auto">
            <a:xfrm>
              <a:off x="2373313" y="3911600"/>
              <a:ext cx="2170113" cy="2174875"/>
            </a:xfrm>
            <a:custGeom>
              <a:avLst/>
              <a:gdLst/>
              <a:ahLst/>
              <a:cxnLst>
                <a:cxn ang="0">
                  <a:pos x="1367" y="1017"/>
                </a:cxn>
                <a:cxn ang="0">
                  <a:pos x="1263" y="1010"/>
                </a:cxn>
                <a:cxn ang="0">
                  <a:pos x="1164" y="993"/>
                </a:cxn>
                <a:cxn ang="0">
                  <a:pos x="1068" y="966"/>
                </a:cxn>
                <a:cxn ang="0">
                  <a:pos x="975" y="932"/>
                </a:cxn>
                <a:cxn ang="0">
                  <a:pos x="888" y="888"/>
                </a:cxn>
                <a:cxn ang="0">
                  <a:pos x="804" y="836"/>
                </a:cxn>
                <a:cxn ang="0">
                  <a:pos x="728" y="777"/>
                </a:cxn>
                <a:cxn ang="0">
                  <a:pos x="656" y="713"/>
                </a:cxn>
                <a:cxn ang="0">
                  <a:pos x="590" y="641"/>
                </a:cxn>
                <a:cxn ang="0">
                  <a:pos x="531" y="563"/>
                </a:cxn>
                <a:cxn ang="0">
                  <a:pos x="480" y="480"/>
                </a:cxn>
                <a:cxn ang="0">
                  <a:pos x="437" y="392"/>
                </a:cxn>
                <a:cxn ang="0">
                  <a:pos x="402" y="300"/>
                </a:cxn>
                <a:cxn ang="0">
                  <a:pos x="375" y="203"/>
                </a:cxn>
                <a:cxn ang="0">
                  <a:pos x="359" y="104"/>
                </a:cxn>
                <a:cxn ang="0">
                  <a:pos x="351" y="0"/>
                </a:cxn>
                <a:cxn ang="0">
                  <a:pos x="0" y="0"/>
                </a:cxn>
                <a:cxn ang="0">
                  <a:pos x="0" y="0"/>
                </a:cxn>
                <a:cxn ang="0">
                  <a:pos x="9" y="140"/>
                </a:cxn>
                <a:cxn ang="0">
                  <a:pos x="30" y="275"/>
                </a:cxn>
                <a:cxn ang="0">
                  <a:pos x="66" y="405"/>
                </a:cxn>
                <a:cxn ang="0">
                  <a:pos x="113" y="530"/>
                </a:cxn>
                <a:cxn ang="0">
                  <a:pos x="171" y="648"/>
                </a:cxn>
                <a:cxn ang="0">
                  <a:pos x="239" y="761"/>
                </a:cxn>
                <a:cxn ang="0">
                  <a:pos x="318" y="866"/>
                </a:cxn>
                <a:cxn ang="0">
                  <a:pos x="405" y="962"/>
                </a:cxn>
                <a:cxn ang="0">
                  <a:pos x="503" y="1050"/>
                </a:cxn>
                <a:cxn ang="0">
                  <a:pos x="608" y="1130"/>
                </a:cxn>
                <a:cxn ang="0">
                  <a:pos x="719" y="1199"/>
                </a:cxn>
                <a:cxn ang="0">
                  <a:pos x="837" y="1257"/>
                </a:cxn>
                <a:cxn ang="0">
                  <a:pos x="963" y="1304"/>
                </a:cxn>
                <a:cxn ang="0">
                  <a:pos x="1092" y="1338"/>
                </a:cxn>
                <a:cxn ang="0">
                  <a:pos x="1227" y="1361"/>
                </a:cxn>
                <a:cxn ang="0">
                  <a:pos x="1367" y="1370"/>
                </a:cxn>
              </a:cxnLst>
              <a:rect l="0" t="0" r="r" b="b"/>
              <a:pathLst>
                <a:path w="1367" h="1370">
                  <a:moveTo>
                    <a:pt x="1367" y="1017"/>
                  </a:moveTo>
                  <a:lnTo>
                    <a:pt x="1367" y="1017"/>
                  </a:lnTo>
                  <a:lnTo>
                    <a:pt x="1314" y="1014"/>
                  </a:lnTo>
                  <a:lnTo>
                    <a:pt x="1263" y="1010"/>
                  </a:lnTo>
                  <a:lnTo>
                    <a:pt x="1214" y="1002"/>
                  </a:lnTo>
                  <a:lnTo>
                    <a:pt x="1164" y="993"/>
                  </a:lnTo>
                  <a:lnTo>
                    <a:pt x="1115" y="981"/>
                  </a:lnTo>
                  <a:lnTo>
                    <a:pt x="1068" y="966"/>
                  </a:lnTo>
                  <a:lnTo>
                    <a:pt x="1022" y="950"/>
                  </a:lnTo>
                  <a:lnTo>
                    <a:pt x="975" y="932"/>
                  </a:lnTo>
                  <a:lnTo>
                    <a:pt x="932" y="911"/>
                  </a:lnTo>
                  <a:lnTo>
                    <a:pt x="888" y="888"/>
                  </a:lnTo>
                  <a:lnTo>
                    <a:pt x="846" y="863"/>
                  </a:lnTo>
                  <a:lnTo>
                    <a:pt x="804" y="836"/>
                  </a:lnTo>
                  <a:lnTo>
                    <a:pt x="765" y="807"/>
                  </a:lnTo>
                  <a:lnTo>
                    <a:pt x="728" y="777"/>
                  </a:lnTo>
                  <a:lnTo>
                    <a:pt x="690" y="746"/>
                  </a:lnTo>
                  <a:lnTo>
                    <a:pt x="656" y="713"/>
                  </a:lnTo>
                  <a:lnTo>
                    <a:pt x="623" y="677"/>
                  </a:lnTo>
                  <a:lnTo>
                    <a:pt x="590" y="641"/>
                  </a:lnTo>
                  <a:lnTo>
                    <a:pt x="560" y="602"/>
                  </a:lnTo>
                  <a:lnTo>
                    <a:pt x="531" y="563"/>
                  </a:lnTo>
                  <a:lnTo>
                    <a:pt x="506" y="522"/>
                  </a:lnTo>
                  <a:lnTo>
                    <a:pt x="480" y="480"/>
                  </a:lnTo>
                  <a:lnTo>
                    <a:pt x="458" y="437"/>
                  </a:lnTo>
                  <a:lnTo>
                    <a:pt x="437" y="392"/>
                  </a:lnTo>
                  <a:lnTo>
                    <a:pt x="419" y="347"/>
                  </a:lnTo>
                  <a:lnTo>
                    <a:pt x="402" y="300"/>
                  </a:lnTo>
                  <a:lnTo>
                    <a:pt x="387" y="252"/>
                  </a:lnTo>
                  <a:lnTo>
                    <a:pt x="375" y="203"/>
                  </a:lnTo>
                  <a:lnTo>
                    <a:pt x="366" y="153"/>
                  </a:lnTo>
                  <a:lnTo>
                    <a:pt x="359" y="104"/>
                  </a:lnTo>
                  <a:lnTo>
                    <a:pt x="354" y="53"/>
                  </a:lnTo>
                  <a:lnTo>
                    <a:pt x="351" y="0"/>
                  </a:lnTo>
                  <a:lnTo>
                    <a:pt x="348" y="0"/>
                  </a:lnTo>
                  <a:lnTo>
                    <a:pt x="0" y="0"/>
                  </a:lnTo>
                  <a:lnTo>
                    <a:pt x="0" y="0"/>
                  </a:lnTo>
                  <a:lnTo>
                    <a:pt x="0" y="0"/>
                  </a:lnTo>
                  <a:lnTo>
                    <a:pt x="3" y="71"/>
                  </a:lnTo>
                  <a:lnTo>
                    <a:pt x="9" y="140"/>
                  </a:lnTo>
                  <a:lnTo>
                    <a:pt x="18" y="207"/>
                  </a:lnTo>
                  <a:lnTo>
                    <a:pt x="30" y="275"/>
                  </a:lnTo>
                  <a:lnTo>
                    <a:pt x="47" y="341"/>
                  </a:lnTo>
                  <a:lnTo>
                    <a:pt x="66" y="405"/>
                  </a:lnTo>
                  <a:lnTo>
                    <a:pt x="87" y="468"/>
                  </a:lnTo>
                  <a:lnTo>
                    <a:pt x="113" y="530"/>
                  </a:lnTo>
                  <a:lnTo>
                    <a:pt x="140" y="590"/>
                  </a:lnTo>
                  <a:lnTo>
                    <a:pt x="171" y="648"/>
                  </a:lnTo>
                  <a:lnTo>
                    <a:pt x="204" y="705"/>
                  </a:lnTo>
                  <a:lnTo>
                    <a:pt x="239" y="761"/>
                  </a:lnTo>
                  <a:lnTo>
                    <a:pt x="278" y="813"/>
                  </a:lnTo>
                  <a:lnTo>
                    <a:pt x="318" y="866"/>
                  </a:lnTo>
                  <a:lnTo>
                    <a:pt x="360" y="915"/>
                  </a:lnTo>
                  <a:lnTo>
                    <a:pt x="405" y="962"/>
                  </a:lnTo>
                  <a:lnTo>
                    <a:pt x="453" y="1008"/>
                  </a:lnTo>
                  <a:lnTo>
                    <a:pt x="503" y="1050"/>
                  </a:lnTo>
                  <a:lnTo>
                    <a:pt x="554" y="1091"/>
                  </a:lnTo>
                  <a:lnTo>
                    <a:pt x="608" y="1130"/>
                  </a:lnTo>
                  <a:lnTo>
                    <a:pt x="662" y="1166"/>
                  </a:lnTo>
                  <a:lnTo>
                    <a:pt x="719" y="1199"/>
                  </a:lnTo>
                  <a:lnTo>
                    <a:pt x="777" y="1229"/>
                  </a:lnTo>
                  <a:lnTo>
                    <a:pt x="837" y="1257"/>
                  </a:lnTo>
                  <a:lnTo>
                    <a:pt x="900" y="1281"/>
                  </a:lnTo>
                  <a:lnTo>
                    <a:pt x="963" y="1304"/>
                  </a:lnTo>
                  <a:lnTo>
                    <a:pt x="1028" y="1323"/>
                  </a:lnTo>
                  <a:lnTo>
                    <a:pt x="1092" y="1338"/>
                  </a:lnTo>
                  <a:lnTo>
                    <a:pt x="1160" y="1352"/>
                  </a:lnTo>
                  <a:lnTo>
                    <a:pt x="1227" y="1361"/>
                  </a:lnTo>
                  <a:lnTo>
                    <a:pt x="1296" y="1367"/>
                  </a:lnTo>
                  <a:lnTo>
                    <a:pt x="1367" y="1370"/>
                  </a:lnTo>
                  <a:lnTo>
                    <a:pt x="1367" y="1017"/>
                  </a:lnTo>
                  <a:close/>
                </a:path>
              </a:pathLst>
            </a:custGeom>
            <a:solidFill>
              <a:schemeClr val="tx2">
                <a:lumMod val="20000"/>
                <a:lumOff val="8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8" name="Freeform 13">
              <a:extLst>
                <a:ext uri="{FF2B5EF4-FFF2-40B4-BE49-F238E27FC236}">
                  <a16:creationId xmlns:a16="http://schemas.microsoft.com/office/drawing/2014/main" id="{1EB54D05-E8A4-4A9F-A673-084C162958A5}"/>
                </a:ext>
              </a:extLst>
            </p:cNvPr>
            <p:cNvSpPr>
              <a:spLocks/>
            </p:cNvSpPr>
            <p:nvPr/>
          </p:nvSpPr>
          <p:spPr bwMode="auto">
            <a:xfrm>
              <a:off x="4610101" y="3911600"/>
              <a:ext cx="2179638" cy="2174875"/>
            </a:xfrm>
            <a:custGeom>
              <a:avLst/>
              <a:gdLst/>
              <a:ahLst/>
              <a:cxnLst>
                <a:cxn ang="0">
                  <a:pos x="1020" y="0"/>
                </a:cxn>
                <a:cxn ang="0">
                  <a:pos x="1013" y="104"/>
                </a:cxn>
                <a:cxn ang="0">
                  <a:pos x="996" y="204"/>
                </a:cxn>
                <a:cxn ang="0">
                  <a:pos x="969" y="300"/>
                </a:cxn>
                <a:cxn ang="0">
                  <a:pos x="935" y="393"/>
                </a:cxn>
                <a:cxn ang="0">
                  <a:pos x="891" y="482"/>
                </a:cxn>
                <a:cxn ang="0">
                  <a:pos x="839" y="564"/>
                </a:cxn>
                <a:cxn ang="0">
                  <a:pos x="780" y="642"/>
                </a:cxn>
                <a:cxn ang="0">
                  <a:pos x="714" y="714"/>
                </a:cxn>
                <a:cxn ang="0">
                  <a:pos x="642" y="780"/>
                </a:cxn>
                <a:cxn ang="0">
                  <a:pos x="564" y="839"/>
                </a:cxn>
                <a:cxn ang="0">
                  <a:pos x="482" y="890"/>
                </a:cxn>
                <a:cxn ang="0">
                  <a:pos x="393" y="933"/>
                </a:cxn>
                <a:cxn ang="0">
                  <a:pos x="300" y="968"/>
                </a:cxn>
                <a:cxn ang="0">
                  <a:pos x="203" y="993"/>
                </a:cxn>
                <a:cxn ang="0">
                  <a:pos x="104" y="1010"/>
                </a:cxn>
                <a:cxn ang="0">
                  <a:pos x="0" y="1017"/>
                </a:cxn>
                <a:cxn ang="0">
                  <a:pos x="0" y="1370"/>
                </a:cxn>
                <a:cxn ang="0">
                  <a:pos x="140" y="1362"/>
                </a:cxn>
                <a:cxn ang="0">
                  <a:pos x="275" y="1340"/>
                </a:cxn>
                <a:cxn ang="0">
                  <a:pos x="405" y="1305"/>
                </a:cxn>
                <a:cxn ang="0">
                  <a:pos x="530" y="1259"/>
                </a:cxn>
                <a:cxn ang="0">
                  <a:pos x="650" y="1200"/>
                </a:cxn>
                <a:cxn ang="0">
                  <a:pos x="762" y="1131"/>
                </a:cxn>
                <a:cxn ang="0">
                  <a:pos x="867" y="1052"/>
                </a:cxn>
                <a:cxn ang="0">
                  <a:pos x="965" y="965"/>
                </a:cxn>
                <a:cxn ang="0">
                  <a:pos x="1053" y="867"/>
                </a:cxn>
                <a:cxn ang="0">
                  <a:pos x="1131" y="762"/>
                </a:cxn>
                <a:cxn ang="0">
                  <a:pos x="1200" y="650"/>
                </a:cxn>
                <a:cxn ang="0">
                  <a:pos x="1259" y="531"/>
                </a:cxn>
                <a:cxn ang="0">
                  <a:pos x="1307" y="405"/>
                </a:cxn>
                <a:cxn ang="0">
                  <a:pos x="1341" y="275"/>
                </a:cxn>
                <a:cxn ang="0">
                  <a:pos x="1364" y="140"/>
                </a:cxn>
                <a:cxn ang="0">
                  <a:pos x="1373" y="0"/>
                </a:cxn>
              </a:cxnLst>
              <a:rect l="0" t="0" r="r" b="b"/>
              <a:pathLst>
                <a:path w="1373" h="1370">
                  <a:moveTo>
                    <a:pt x="1020" y="0"/>
                  </a:moveTo>
                  <a:lnTo>
                    <a:pt x="1020" y="0"/>
                  </a:lnTo>
                  <a:lnTo>
                    <a:pt x="1019" y="53"/>
                  </a:lnTo>
                  <a:lnTo>
                    <a:pt x="1013" y="104"/>
                  </a:lnTo>
                  <a:lnTo>
                    <a:pt x="1005" y="155"/>
                  </a:lnTo>
                  <a:lnTo>
                    <a:pt x="996" y="204"/>
                  </a:lnTo>
                  <a:lnTo>
                    <a:pt x="984" y="252"/>
                  </a:lnTo>
                  <a:lnTo>
                    <a:pt x="969" y="300"/>
                  </a:lnTo>
                  <a:lnTo>
                    <a:pt x="953" y="347"/>
                  </a:lnTo>
                  <a:lnTo>
                    <a:pt x="935" y="393"/>
                  </a:lnTo>
                  <a:lnTo>
                    <a:pt x="914" y="438"/>
                  </a:lnTo>
                  <a:lnTo>
                    <a:pt x="891" y="482"/>
                  </a:lnTo>
                  <a:lnTo>
                    <a:pt x="866" y="524"/>
                  </a:lnTo>
                  <a:lnTo>
                    <a:pt x="839" y="564"/>
                  </a:lnTo>
                  <a:lnTo>
                    <a:pt x="810" y="605"/>
                  </a:lnTo>
                  <a:lnTo>
                    <a:pt x="780" y="642"/>
                  </a:lnTo>
                  <a:lnTo>
                    <a:pt x="749" y="680"/>
                  </a:lnTo>
                  <a:lnTo>
                    <a:pt x="714" y="714"/>
                  </a:lnTo>
                  <a:lnTo>
                    <a:pt x="680" y="747"/>
                  </a:lnTo>
                  <a:lnTo>
                    <a:pt x="642" y="780"/>
                  </a:lnTo>
                  <a:lnTo>
                    <a:pt x="605" y="810"/>
                  </a:lnTo>
                  <a:lnTo>
                    <a:pt x="564" y="839"/>
                  </a:lnTo>
                  <a:lnTo>
                    <a:pt x="524" y="864"/>
                  </a:lnTo>
                  <a:lnTo>
                    <a:pt x="482" y="890"/>
                  </a:lnTo>
                  <a:lnTo>
                    <a:pt x="438" y="912"/>
                  </a:lnTo>
                  <a:lnTo>
                    <a:pt x="393" y="933"/>
                  </a:lnTo>
                  <a:lnTo>
                    <a:pt x="347" y="951"/>
                  </a:lnTo>
                  <a:lnTo>
                    <a:pt x="300" y="968"/>
                  </a:lnTo>
                  <a:lnTo>
                    <a:pt x="252" y="981"/>
                  </a:lnTo>
                  <a:lnTo>
                    <a:pt x="203" y="993"/>
                  </a:lnTo>
                  <a:lnTo>
                    <a:pt x="153" y="1004"/>
                  </a:lnTo>
                  <a:lnTo>
                    <a:pt x="104" y="1010"/>
                  </a:lnTo>
                  <a:lnTo>
                    <a:pt x="51" y="1016"/>
                  </a:lnTo>
                  <a:lnTo>
                    <a:pt x="0" y="1017"/>
                  </a:lnTo>
                  <a:lnTo>
                    <a:pt x="0" y="1370"/>
                  </a:lnTo>
                  <a:lnTo>
                    <a:pt x="0" y="1370"/>
                  </a:lnTo>
                  <a:lnTo>
                    <a:pt x="71" y="1368"/>
                  </a:lnTo>
                  <a:lnTo>
                    <a:pt x="140" y="1362"/>
                  </a:lnTo>
                  <a:lnTo>
                    <a:pt x="207" y="1352"/>
                  </a:lnTo>
                  <a:lnTo>
                    <a:pt x="275" y="1340"/>
                  </a:lnTo>
                  <a:lnTo>
                    <a:pt x="341" y="1323"/>
                  </a:lnTo>
                  <a:lnTo>
                    <a:pt x="405" y="1305"/>
                  </a:lnTo>
                  <a:lnTo>
                    <a:pt x="468" y="1283"/>
                  </a:lnTo>
                  <a:lnTo>
                    <a:pt x="530" y="1259"/>
                  </a:lnTo>
                  <a:lnTo>
                    <a:pt x="591" y="1230"/>
                  </a:lnTo>
                  <a:lnTo>
                    <a:pt x="650" y="1200"/>
                  </a:lnTo>
                  <a:lnTo>
                    <a:pt x="707" y="1167"/>
                  </a:lnTo>
                  <a:lnTo>
                    <a:pt x="762" y="1131"/>
                  </a:lnTo>
                  <a:lnTo>
                    <a:pt x="816" y="1094"/>
                  </a:lnTo>
                  <a:lnTo>
                    <a:pt x="867" y="1052"/>
                  </a:lnTo>
                  <a:lnTo>
                    <a:pt x="917" y="1010"/>
                  </a:lnTo>
                  <a:lnTo>
                    <a:pt x="965" y="965"/>
                  </a:lnTo>
                  <a:lnTo>
                    <a:pt x="1010" y="917"/>
                  </a:lnTo>
                  <a:lnTo>
                    <a:pt x="1053" y="867"/>
                  </a:lnTo>
                  <a:lnTo>
                    <a:pt x="1094" y="816"/>
                  </a:lnTo>
                  <a:lnTo>
                    <a:pt x="1131" y="762"/>
                  </a:lnTo>
                  <a:lnTo>
                    <a:pt x="1167" y="707"/>
                  </a:lnTo>
                  <a:lnTo>
                    <a:pt x="1200" y="650"/>
                  </a:lnTo>
                  <a:lnTo>
                    <a:pt x="1232" y="591"/>
                  </a:lnTo>
                  <a:lnTo>
                    <a:pt x="1259" y="531"/>
                  </a:lnTo>
                  <a:lnTo>
                    <a:pt x="1284" y="470"/>
                  </a:lnTo>
                  <a:lnTo>
                    <a:pt x="1307" y="405"/>
                  </a:lnTo>
                  <a:lnTo>
                    <a:pt x="1325" y="341"/>
                  </a:lnTo>
                  <a:lnTo>
                    <a:pt x="1341" y="275"/>
                  </a:lnTo>
                  <a:lnTo>
                    <a:pt x="1353" y="209"/>
                  </a:lnTo>
                  <a:lnTo>
                    <a:pt x="1364" y="140"/>
                  </a:lnTo>
                  <a:lnTo>
                    <a:pt x="1370" y="71"/>
                  </a:lnTo>
                  <a:lnTo>
                    <a:pt x="1373" y="0"/>
                  </a:lnTo>
                  <a:lnTo>
                    <a:pt x="1020" y="0"/>
                  </a:lnTo>
                  <a:close/>
                </a:path>
              </a:pathLst>
            </a:custGeom>
            <a:solidFill>
              <a:schemeClr val="tx2">
                <a:lumMod val="20000"/>
                <a:lumOff val="8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grpSp>
      <p:sp>
        <p:nvSpPr>
          <p:cNvPr id="47" name="TextBox 46">
            <a:extLst>
              <a:ext uri="{FF2B5EF4-FFF2-40B4-BE49-F238E27FC236}">
                <a16:creationId xmlns:a16="http://schemas.microsoft.com/office/drawing/2014/main" id="{A4B5142E-0E43-4E1C-A3FF-6E21D4618232}"/>
              </a:ext>
            </a:extLst>
          </p:cNvPr>
          <p:cNvSpPr txBox="1"/>
          <p:nvPr/>
        </p:nvSpPr>
        <p:spPr bwMode="auto">
          <a:xfrm flipH="1">
            <a:off x="1822451" y="1690688"/>
            <a:ext cx="2323947" cy="396000"/>
          </a:xfrm>
          <a:prstGeom prst="rect">
            <a:avLst/>
          </a:prstGeom>
          <a:noFill/>
        </p:spPr>
        <p:txBody>
          <a:bodyPr wrap="square" lIns="0" r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48" name="Straight Connector 47">
            <a:extLst>
              <a:ext uri="{FF2B5EF4-FFF2-40B4-BE49-F238E27FC236}">
                <a16:creationId xmlns:a16="http://schemas.microsoft.com/office/drawing/2014/main" id="{F6AF55BC-6C9A-4416-AA6C-35CDDFB108F7}"/>
              </a:ext>
              <a:ext uri="{C183D7F6-B498-43B3-948B-1728B52AA6E4}">
                <adec:decorative xmlns:adec="http://schemas.microsoft.com/office/drawing/2017/decorative" val="1"/>
              </a:ext>
            </a:extLst>
          </p:cNvPr>
          <p:cNvCxnSpPr/>
          <p:nvPr/>
        </p:nvCxnSpPr>
        <p:spPr bwMode="auto">
          <a:xfrm>
            <a:off x="1822450" y="2082547"/>
            <a:ext cx="3347303"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78D4929E-9A4F-4CF6-AFD8-CB46BABEFBC1}"/>
              </a:ext>
            </a:extLst>
          </p:cNvPr>
          <p:cNvSpPr txBox="1"/>
          <p:nvPr/>
        </p:nvSpPr>
        <p:spPr bwMode="auto">
          <a:xfrm flipH="1">
            <a:off x="1822451" y="2876866"/>
            <a:ext cx="1985688" cy="396000"/>
          </a:xfrm>
          <a:prstGeom prst="rect">
            <a:avLst/>
          </a:prstGeom>
          <a:noFill/>
        </p:spPr>
        <p:txBody>
          <a:bodyPr wrap="square" lIns="0" r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54" name="Straight Connector 53">
            <a:extLst>
              <a:ext uri="{FF2B5EF4-FFF2-40B4-BE49-F238E27FC236}">
                <a16:creationId xmlns:a16="http://schemas.microsoft.com/office/drawing/2014/main" id="{2FD930C3-7C23-47B2-8162-274BB04F8512}"/>
              </a:ext>
              <a:ext uri="{C183D7F6-B498-43B3-948B-1728B52AA6E4}">
                <adec:decorative xmlns:adec="http://schemas.microsoft.com/office/drawing/2017/decorative" val="1"/>
              </a:ext>
            </a:extLst>
          </p:cNvPr>
          <p:cNvCxnSpPr/>
          <p:nvPr/>
        </p:nvCxnSpPr>
        <p:spPr bwMode="auto">
          <a:xfrm>
            <a:off x="1822450" y="3272866"/>
            <a:ext cx="2998028"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C415742E-CD86-49AC-985F-3AE6CFF4ABC2}"/>
              </a:ext>
            </a:extLst>
          </p:cNvPr>
          <p:cNvSpPr txBox="1"/>
          <p:nvPr/>
        </p:nvSpPr>
        <p:spPr bwMode="auto">
          <a:xfrm flipH="1">
            <a:off x="1822451" y="4071326"/>
            <a:ext cx="1985689" cy="396000"/>
          </a:xfrm>
          <a:prstGeom prst="rect">
            <a:avLst/>
          </a:prstGeom>
          <a:noFill/>
        </p:spPr>
        <p:txBody>
          <a:bodyPr wrap="square" lIns="0" r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52" name="Straight Connector 51">
            <a:extLst>
              <a:ext uri="{FF2B5EF4-FFF2-40B4-BE49-F238E27FC236}">
                <a16:creationId xmlns:a16="http://schemas.microsoft.com/office/drawing/2014/main" id="{2F6594DA-FB4E-478F-895A-F4A41C0D0BC7}"/>
              </a:ext>
              <a:ext uri="{C183D7F6-B498-43B3-948B-1728B52AA6E4}">
                <adec:decorative xmlns:adec="http://schemas.microsoft.com/office/drawing/2017/decorative" val="1"/>
              </a:ext>
            </a:extLst>
          </p:cNvPr>
          <p:cNvCxnSpPr/>
          <p:nvPr/>
        </p:nvCxnSpPr>
        <p:spPr bwMode="auto">
          <a:xfrm>
            <a:off x="1822450" y="4463185"/>
            <a:ext cx="2860092"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DBA1DBF7-635C-4CD0-A18C-4A72A22C116C}"/>
              </a:ext>
            </a:extLst>
          </p:cNvPr>
          <p:cNvSpPr txBox="1"/>
          <p:nvPr/>
        </p:nvSpPr>
        <p:spPr bwMode="auto">
          <a:xfrm flipH="1">
            <a:off x="1822451" y="5261645"/>
            <a:ext cx="2323947" cy="396000"/>
          </a:xfrm>
          <a:prstGeom prst="rect">
            <a:avLst/>
          </a:prstGeom>
          <a:noFill/>
        </p:spPr>
        <p:txBody>
          <a:bodyPr wrap="square" lIns="0" r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50" name="Straight Connector 49">
            <a:extLst>
              <a:ext uri="{FF2B5EF4-FFF2-40B4-BE49-F238E27FC236}">
                <a16:creationId xmlns:a16="http://schemas.microsoft.com/office/drawing/2014/main" id="{20493A14-20DD-4789-A9A0-B7ACA76D8470}"/>
              </a:ext>
              <a:ext uri="{C183D7F6-B498-43B3-948B-1728B52AA6E4}">
                <adec:decorative xmlns:adec="http://schemas.microsoft.com/office/drawing/2017/decorative" val="1"/>
              </a:ext>
            </a:extLst>
          </p:cNvPr>
          <p:cNvCxnSpPr/>
          <p:nvPr/>
        </p:nvCxnSpPr>
        <p:spPr bwMode="auto">
          <a:xfrm>
            <a:off x="1822450" y="5653504"/>
            <a:ext cx="3347303"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2697E593-9B7B-45F1-AE96-DBB43AAC9EB9}"/>
              </a:ext>
            </a:extLst>
          </p:cNvPr>
          <p:cNvSpPr txBox="1"/>
          <p:nvPr/>
        </p:nvSpPr>
        <p:spPr bwMode="auto">
          <a:xfrm>
            <a:off x="8052661" y="1690688"/>
            <a:ext cx="2310538"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40" name="Straight Connector 39">
            <a:extLst>
              <a:ext uri="{FF2B5EF4-FFF2-40B4-BE49-F238E27FC236}">
                <a16:creationId xmlns:a16="http://schemas.microsoft.com/office/drawing/2014/main" id="{125241C3-E26F-437B-9EB1-B6337D1B2092}"/>
              </a:ext>
              <a:ext uri="{C183D7F6-B498-43B3-948B-1728B52AA6E4}">
                <adec:decorative xmlns:adec="http://schemas.microsoft.com/office/drawing/2017/decorative" val="1"/>
              </a:ext>
            </a:extLst>
          </p:cNvPr>
          <p:cNvCxnSpPr/>
          <p:nvPr/>
        </p:nvCxnSpPr>
        <p:spPr bwMode="auto">
          <a:xfrm flipH="1">
            <a:off x="7035211" y="2082547"/>
            <a:ext cx="3327989"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D7360759-847E-4938-96B3-7D1878A9388C}"/>
              </a:ext>
            </a:extLst>
          </p:cNvPr>
          <p:cNvSpPr txBox="1"/>
          <p:nvPr/>
        </p:nvSpPr>
        <p:spPr bwMode="auto">
          <a:xfrm>
            <a:off x="8391735" y="2876866"/>
            <a:ext cx="1971464"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46" name="Straight Connector 45">
            <a:extLst>
              <a:ext uri="{FF2B5EF4-FFF2-40B4-BE49-F238E27FC236}">
                <a16:creationId xmlns:a16="http://schemas.microsoft.com/office/drawing/2014/main" id="{02AA5912-D394-4DFF-8199-8FCDC5B0D841}"/>
              </a:ext>
              <a:ext uri="{C183D7F6-B498-43B3-948B-1728B52AA6E4}">
                <adec:decorative xmlns:adec="http://schemas.microsoft.com/office/drawing/2017/decorative" val="1"/>
              </a:ext>
            </a:extLst>
          </p:cNvPr>
          <p:cNvCxnSpPr/>
          <p:nvPr/>
        </p:nvCxnSpPr>
        <p:spPr bwMode="auto">
          <a:xfrm flipH="1">
            <a:off x="7410450" y="3272866"/>
            <a:ext cx="2952750"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B5C6D477-D341-4A67-8CF9-4397038D4C85}"/>
              </a:ext>
            </a:extLst>
          </p:cNvPr>
          <p:cNvSpPr txBox="1"/>
          <p:nvPr/>
        </p:nvSpPr>
        <p:spPr bwMode="auto">
          <a:xfrm>
            <a:off x="8391736" y="4071326"/>
            <a:ext cx="1971463"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44" name="Straight Connector 43">
            <a:extLst>
              <a:ext uri="{FF2B5EF4-FFF2-40B4-BE49-F238E27FC236}">
                <a16:creationId xmlns:a16="http://schemas.microsoft.com/office/drawing/2014/main" id="{FBB4EDEC-0935-44CC-A3F8-8B17F07987F9}"/>
              </a:ext>
              <a:ext uri="{C183D7F6-B498-43B3-948B-1728B52AA6E4}">
                <adec:decorative xmlns:adec="http://schemas.microsoft.com/office/drawing/2017/decorative" val="1"/>
              </a:ext>
            </a:extLst>
          </p:cNvPr>
          <p:cNvCxnSpPr/>
          <p:nvPr/>
        </p:nvCxnSpPr>
        <p:spPr bwMode="auto">
          <a:xfrm flipH="1">
            <a:off x="7523597" y="4463185"/>
            <a:ext cx="2839603"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FA0103F1-8FE5-46E9-9BC9-62BF411555ED}"/>
              </a:ext>
            </a:extLst>
          </p:cNvPr>
          <p:cNvSpPr txBox="1"/>
          <p:nvPr/>
        </p:nvSpPr>
        <p:spPr bwMode="auto">
          <a:xfrm>
            <a:off x="8052661" y="5261645"/>
            <a:ext cx="2310538"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42" name="Straight Connector 41">
            <a:extLst>
              <a:ext uri="{FF2B5EF4-FFF2-40B4-BE49-F238E27FC236}">
                <a16:creationId xmlns:a16="http://schemas.microsoft.com/office/drawing/2014/main" id="{FB29EB4C-70B9-43F4-9F2D-C910128FE4C5}"/>
              </a:ext>
              <a:ext uri="{C183D7F6-B498-43B3-948B-1728B52AA6E4}">
                <adec:decorative xmlns:adec="http://schemas.microsoft.com/office/drawing/2017/decorative" val="1"/>
              </a:ext>
            </a:extLst>
          </p:cNvPr>
          <p:cNvCxnSpPr/>
          <p:nvPr/>
        </p:nvCxnSpPr>
        <p:spPr bwMode="auto">
          <a:xfrm flipH="1">
            <a:off x="7035211" y="5653504"/>
            <a:ext cx="3327989"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86395388-0581-4ED7-816A-7B9179D39C7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674C7D6A-47F0-48C9-B38B-AD89BB9373FB}"/>
              </a:ext>
            </a:extLst>
          </p:cNvPr>
          <p:cNvSpPr>
            <a:spLocks noGrp="1"/>
          </p:cNvSpPr>
          <p:nvPr>
            <p:ph type="sldNum" sz="quarter" idx="10"/>
          </p:nvPr>
        </p:nvSpPr>
        <p:spPr/>
        <p:txBody>
          <a:bodyPr/>
          <a:lstStyle/>
          <a:p>
            <a:fld id="{1F90F471-3972-4120-B8B3-0237DE626C35}" type="slidenum">
              <a:rPr lang="en-US" smtClean="0"/>
              <a:pPr/>
              <a:t>278</a:t>
            </a:fld>
            <a:endParaRPr lang="en-US" dirty="0"/>
          </a:p>
        </p:txBody>
      </p:sp>
    </p:spTree>
    <p:extLst>
      <p:ext uri="{BB962C8B-B14F-4D97-AF65-F5344CB8AC3E}">
        <p14:creationId xmlns:p14="http://schemas.microsoft.com/office/powerpoint/2010/main" val="1052957150"/>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en-US" dirty="0"/>
              <a:t>Circle Illustration 5</a:t>
            </a:r>
            <a:endParaRPr lang="en-US" sz="3600" b="1" dirty="0"/>
          </a:p>
        </p:txBody>
      </p:sp>
      <p:sp>
        <p:nvSpPr>
          <p:cNvPr id="22" name="TextBox 21">
            <a:extLst>
              <a:ext uri="{FF2B5EF4-FFF2-40B4-BE49-F238E27FC236}">
                <a16:creationId xmlns:a16="http://schemas.microsoft.com/office/drawing/2014/main" id="{2FE28C78-9FA3-443C-97E0-0A551D024866}"/>
              </a:ext>
            </a:extLst>
          </p:cNvPr>
          <p:cNvSpPr txBox="1"/>
          <p:nvPr/>
        </p:nvSpPr>
        <p:spPr bwMode="auto">
          <a:xfrm>
            <a:off x="5089325" y="3438063"/>
            <a:ext cx="2039541" cy="398068"/>
          </a:xfrm>
          <a:prstGeom prst="rect">
            <a:avLst/>
          </a:prstGeom>
          <a:noFill/>
        </p:spPr>
        <p:txBody>
          <a:bodyPr wrap="square" rtlCol="0" anchor="ctr" anchorCtr="0">
            <a:spAutoFit/>
          </a:bodyPr>
          <a:lstStyle/>
          <a:p>
            <a:pPr algn="ctr" fontAlgn="base">
              <a:spcBef>
                <a:spcPct val="0"/>
              </a:spcBef>
              <a:spcAft>
                <a:spcPct val="0"/>
              </a:spcAft>
            </a:pPr>
            <a:r>
              <a:rPr lang="en-GB" b="1" dirty="0">
                <a:latin typeface="+mn-lt"/>
                <a:cs typeface="Arial" charset="0"/>
              </a:rPr>
              <a:t>Title</a:t>
            </a:r>
          </a:p>
        </p:txBody>
      </p:sp>
      <p:grpSp>
        <p:nvGrpSpPr>
          <p:cNvPr id="31" name="Group 30">
            <a:extLst>
              <a:ext uri="{FF2B5EF4-FFF2-40B4-BE49-F238E27FC236}">
                <a16:creationId xmlns:a16="http://schemas.microsoft.com/office/drawing/2014/main" id="{E6167A2C-DF10-426C-80B7-2F4F18E493BB}"/>
              </a:ext>
              <a:ext uri="{C183D7F6-B498-43B3-948B-1728B52AA6E4}">
                <adec:decorative xmlns:adec="http://schemas.microsoft.com/office/drawing/2017/decorative" val="1"/>
              </a:ext>
            </a:extLst>
          </p:cNvPr>
          <p:cNvGrpSpPr/>
          <p:nvPr/>
        </p:nvGrpSpPr>
        <p:grpSpPr>
          <a:xfrm>
            <a:off x="4915256" y="731519"/>
            <a:ext cx="2374138" cy="2389774"/>
            <a:chOff x="4915256" y="731519"/>
            <a:chExt cx="2374138" cy="2389774"/>
          </a:xfrm>
        </p:grpSpPr>
        <p:sp>
          <p:nvSpPr>
            <p:cNvPr id="32" name="Freeform 38">
              <a:extLst>
                <a:ext uri="{FF2B5EF4-FFF2-40B4-BE49-F238E27FC236}">
                  <a16:creationId xmlns:a16="http://schemas.microsoft.com/office/drawing/2014/main" id="{FA80F44C-685A-4E08-BA2B-089181CE6EEA}"/>
                </a:ext>
              </a:extLst>
            </p:cNvPr>
            <p:cNvSpPr>
              <a:spLocks/>
            </p:cNvSpPr>
            <p:nvPr/>
          </p:nvSpPr>
          <p:spPr bwMode="auto">
            <a:xfrm rot="2700000">
              <a:off x="4907438" y="739337"/>
              <a:ext cx="2389774" cy="2374138"/>
            </a:xfrm>
            <a:custGeom>
              <a:avLst/>
              <a:gdLst>
                <a:gd name="T0" fmla="*/ 168 w 387"/>
                <a:gd name="T1" fmla="*/ 387 h 387"/>
                <a:gd name="T2" fmla="*/ 387 w 387"/>
                <a:gd name="T3" fmla="*/ 168 h 387"/>
                <a:gd name="T4" fmla="*/ 387 w 387"/>
                <a:gd name="T5" fmla="*/ 0 h 387"/>
                <a:gd name="T6" fmla="*/ 0 w 387"/>
                <a:gd name="T7" fmla="*/ 387 h 387"/>
                <a:gd name="T8" fmla="*/ 168 w 387"/>
                <a:gd name="T9" fmla="*/ 387 h 387"/>
              </a:gdLst>
              <a:ahLst/>
              <a:cxnLst>
                <a:cxn ang="0">
                  <a:pos x="T0" y="T1"/>
                </a:cxn>
                <a:cxn ang="0">
                  <a:pos x="T2" y="T3"/>
                </a:cxn>
                <a:cxn ang="0">
                  <a:pos x="T4" y="T5"/>
                </a:cxn>
                <a:cxn ang="0">
                  <a:pos x="T6" y="T7"/>
                </a:cxn>
                <a:cxn ang="0">
                  <a:pos x="T8" y="T9"/>
                </a:cxn>
              </a:cxnLst>
              <a:rect l="0" t="0" r="r" b="b"/>
              <a:pathLst>
                <a:path w="387" h="387">
                  <a:moveTo>
                    <a:pt x="168" y="387"/>
                  </a:moveTo>
                  <a:cubicBezTo>
                    <a:pt x="170" y="267"/>
                    <a:pt x="267" y="170"/>
                    <a:pt x="387" y="168"/>
                  </a:cubicBezTo>
                  <a:cubicBezTo>
                    <a:pt x="387" y="0"/>
                    <a:pt x="387" y="0"/>
                    <a:pt x="387" y="0"/>
                  </a:cubicBezTo>
                  <a:cubicBezTo>
                    <a:pt x="174" y="2"/>
                    <a:pt x="2" y="174"/>
                    <a:pt x="0" y="387"/>
                  </a:cubicBezTo>
                  <a:lnTo>
                    <a:pt x="168" y="387"/>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AU">
                <a:solidFill>
                  <a:prstClr val="black"/>
                </a:solidFill>
                <a:cs typeface="Arial" charset="0"/>
              </a:endParaRPr>
            </a:p>
          </p:txBody>
        </p:sp>
        <p:sp>
          <p:nvSpPr>
            <p:cNvPr id="33" name="Freeform 10">
              <a:extLst>
                <a:ext uri="{FF2B5EF4-FFF2-40B4-BE49-F238E27FC236}">
                  <a16:creationId xmlns:a16="http://schemas.microsoft.com/office/drawing/2014/main" id="{8E7925FE-87AC-4E64-BE18-2241F5D77E90}"/>
                </a:ext>
              </a:extLst>
            </p:cNvPr>
            <p:cNvSpPr>
              <a:spLocks/>
            </p:cNvSpPr>
            <p:nvPr>
              <p:custDataLst>
                <p:tags r:id="rId8"/>
              </p:custDataLst>
            </p:nvPr>
          </p:nvSpPr>
          <p:spPr bwMode="auto">
            <a:xfrm>
              <a:off x="5597561" y="2265829"/>
              <a:ext cx="1009528" cy="554732"/>
            </a:xfrm>
            <a:custGeom>
              <a:avLst/>
              <a:gdLst/>
              <a:ahLst/>
              <a:cxnLst>
                <a:cxn ang="0">
                  <a:pos x="104" y="0"/>
                </a:cxn>
                <a:cxn ang="0">
                  <a:pos x="104" y="0"/>
                </a:cxn>
                <a:cxn ang="0">
                  <a:pos x="104" y="105"/>
                </a:cxn>
                <a:cxn ang="0">
                  <a:pos x="0" y="105"/>
                </a:cxn>
                <a:cxn ang="0">
                  <a:pos x="184" y="226"/>
                </a:cxn>
                <a:cxn ang="0">
                  <a:pos x="368" y="105"/>
                </a:cxn>
                <a:cxn ang="0">
                  <a:pos x="272" y="105"/>
                </a:cxn>
                <a:cxn ang="0">
                  <a:pos x="272" y="0"/>
                </a:cxn>
              </a:cxnLst>
              <a:rect l="0" t="0" r="r" b="b"/>
              <a:pathLst>
                <a:path w="369" h="227">
                  <a:moveTo>
                    <a:pt x="104" y="0"/>
                  </a:moveTo>
                  <a:lnTo>
                    <a:pt x="104" y="0"/>
                  </a:lnTo>
                  <a:lnTo>
                    <a:pt x="104" y="105"/>
                  </a:lnTo>
                  <a:lnTo>
                    <a:pt x="0" y="105"/>
                  </a:lnTo>
                  <a:lnTo>
                    <a:pt x="184" y="226"/>
                  </a:lnTo>
                  <a:lnTo>
                    <a:pt x="368" y="105"/>
                  </a:lnTo>
                  <a:lnTo>
                    <a:pt x="272" y="105"/>
                  </a:lnTo>
                  <a:lnTo>
                    <a:pt x="272" y="0"/>
                  </a:lnTo>
                </a:path>
              </a:pathLst>
            </a:custGeom>
            <a:solidFill>
              <a:schemeClr val="accent5"/>
            </a:solidFill>
            <a:ln w="6350" cap="rnd" cmpd="sng">
              <a:noFill/>
              <a:prstDash val="solid"/>
              <a:round/>
              <a:headEnd type="none" w="med" len="med"/>
              <a:tailEnd type="none" w="med" len="med"/>
            </a:ln>
            <a:effectLst/>
          </p:spPr>
          <p:txBody>
            <a:bodyPr lIns="45720" rIns="45720"/>
            <a:lstStyle/>
            <a:p>
              <a:pPr fontAlgn="base">
                <a:spcBef>
                  <a:spcPct val="0"/>
                </a:spcBef>
                <a:spcAft>
                  <a:spcPct val="0"/>
                </a:spcAft>
              </a:pPr>
              <a:endParaRPr lang="de-DE">
                <a:solidFill>
                  <a:prstClr val="black"/>
                </a:solidFill>
                <a:latin typeface="+mn-lt"/>
                <a:cs typeface="Arial" charset="0"/>
              </a:endParaRPr>
            </a:p>
          </p:txBody>
        </p:sp>
      </p:grpSp>
      <p:sp>
        <p:nvSpPr>
          <p:cNvPr id="34" name="Rectangle 33">
            <a:extLst>
              <a:ext uri="{FF2B5EF4-FFF2-40B4-BE49-F238E27FC236}">
                <a16:creationId xmlns:a16="http://schemas.microsoft.com/office/drawing/2014/main" id="{F00CE9AF-A85D-4A88-BC1F-9AE41B17FC76}"/>
              </a:ext>
            </a:extLst>
          </p:cNvPr>
          <p:cNvSpPr/>
          <p:nvPr>
            <p:custDataLst>
              <p:tags r:id="rId1"/>
            </p:custDataLst>
          </p:nvPr>
        </p:nvSpPr>
        <p:spPr bwMode="auto">
          <a:xfrm>
            <a:off x="5113492" y="1349685"/>
            <a:ext cx="1977667" cy="94853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ct val="80000"/>
              </a:lnSpc>
              <a:spcBef>
                <a:spcPct val="0"/>
              </a:spcBef>
              <a:spcAft>
                <a:spcPct val="0"/>
              </a:spcAft>
            </a:pPr>
            <a:r>
              <a:rPr lang="en-GB" b="1" dirty="0">
                <a:solidFill>
                  <a:prstClr val="white"/>
                </a:solidFill>
                <a:latin typeface="+mn-lt"/>
                <a:cs typeface="Arial" charset="0"/>
              </a:rPr>
              <a:t>Text</a:t>
            </a:r>
          </a:p>
        </p:txBody>
      </p:sp>
      <p:grpSp>
        <p:nvGrpSpPr>
          <p:cNvPr id="23" name="Group 22">
            <a:extLst>
              <a:ext uri="{FF2B5EF4-FFF2-40B4-BE49-F238E27FC236}">
                <a16:creationId xmlns:a16="http://schemas.microsoft.com/office/drawing/2014/main" id="{DB35EEC2-BDEE-4B7C-8AA4-98103B643449}"/>
              </a:ext>
              <a:ext uri="{C183D7F6-B498-43B3-948B-1728B52AA6E4}">
                <adec:decorative xmlns:adec="http://schemas.microsoft.com/office/drawing/2017/decorative" val="1"/>
              </a:ext>
            </a:extLst>
          </p:cNvPr>
          <p:cNvGrpSpPr/>
          <p:nvPr/>
        </p:nvGrpSpPr>
        <p:grpSpPr>
          <a:xfrm>
            <a:off x="6634568" y="2450448"/>
            <a:ext cx="2374138" cy="2392381"/>
            <a:chOff x="6634568" y="2450448"/>
            <a:chExt cx="2374138" cy="2392381"/>
          </a:xfrm>
        </p:grpSpPr>
        <p:sp>
          <p:nvSpPr>
            <p:cNvPr id="24" name="Freeform 39">
              <a:extLst>
                <a:ext uri="{FF2B5EF4-FFF2-40B4-BE49-F238E27FC236}">
                  <a16:creationId xmlns:a16="http://schemas.microsoft.com/office/drawing/2014/main" id="{00FF1381-87EB-4479-9534-3FC8E8CEDA8D}"/>
                </a:ext>
              </a:extLst>
            </p:cNvPr>
            <p:cNvSpPr>
              <a:spLocks/>
            </p:cNvSpPr>
            <p:nvPr/>
          </p:nvSpPr>
          <p:spPr bwMode="auto">
            <a:xfrm rot="2700000">
              <a:off x="6625446" y="2459570"/>
              <a:ext cx="2392381" cy="2374138"/>
            </a:xfrm>
            <a:custGeom>
              <a:avLst/>
              <a:gdLst>
                <a:gd name="T0" fmla="*/ 0 w 387"/>
                <a:gd name="T1" fmla="*/ 168 h 387"/>
                <a:gd name="T2" fmla="*/ 218 w 387"/>
                <a:gd name="T3" fmla="*/ 387 h 387"/>
                <a:gd name="T4" fmla="*/ 387 w 387"/>
                <a:gd name="T5" fmla="*/ 387 h 387"/>
                <a:gd name="T6" fmla="*/ 0 w 387"/>
                <a:gd name="T7" fmla="*/ 0 h 387"/>
                <a:gd name="T8" fmla="*/ 0 w 387"/>
                <a:gd name="T9" fmla="*/ 168 h 387"/>
              </a:gdLst>
              <a:ahLst/>
              <a:cxnLst>
                <a:cxn ang="0">
                  <a:pos x="T0" y="T1"/>
                </a:cxn>
                <a:cxn ang="0">
                  <a:pos x="T2" y="T3"/>
                </a:cxn>
                <a:cxn ang="0">
                  <a:pos x="T4" y="T5"/>
                </a:cxn>
                <a:cxn ang="0">
                  <a:pos x="T6" y="T7"/>
                </a:cxn>
                <a:cxn ang="0">
                  <a:pos x="T8" y="T9"/>
                </a:cxn>
              </a:cxnLst>
              <a:rect l="0" t="0" r="r" b="b"/>
              <a:pathLst>
                <a:path w="387" h="387">
                  <a:moveTo>
                    <a:pt x="0" y="168"/>
                  </a:moveTo>
                  <a:cubicBezTo>
                    <a:pt x="120" y="170"/>
                    <a:pt x="216" y="267"/>
                    <a:pt x="218" y="387"/>
                  </a:cubicBezTo>
                  <a:cubicBezTo>
                    <a:pt x="387" y="387"/>
                    <a:pt x="387" y="387"/>
                    <a:pt x="387" y="387"/>
                  </a:cubicBezTo>
                  <a:cubicBezTo>
                    <a:pt x="385" y="174"/>
                    <a:pt x="213" y="2"/>
                    <a:pt x="0" y="0"/>
                  </a:cubicBezTo>
                  <a:lnTo>
                    <a:pt x="0" y="168"/>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AU">
                <a:solidFill>
                  <a:prstClr val="black"/>
                </a:solidFill>
                <a:cs typeface="Arial" charset="0"/>
              </a:endParaRPr>
            </a:p>
          </p:txBody>
        </p:sp>
        <p:sp>
          <p:nvSpPr>
            <p:cNvPr id="25" name="Freeform 8">
              <a:extLst>
                <a:ext uri="{FF2B5EF4-FFF2-40B4-BE49-F238E27FC236}">
                  <a16:creationId xmlns:a16="http://schemas.microsoft.com/office/drawing/2014/main" id="{0CDCBF45-388E-427C-BAD9-0ABB7BE119D6}"/>
                </a:ext>
              </a:extLst>
            </p:cNvPr>
            <p:cNvSpPr>
              <a:spLocks/>
            </p:cNvSpPr>
            <p:nvPr>
              <p:custDataLst>
                <p:tags r:id="rId7"/>
              </p:custDataLst>
            </p:nvPr>
          </p:nvSpPr>
          <p:spPr bwMode="auto">
            <a:xfrm>
              <a:off x="6865634" y="3195030"/>
              <a:ext cx="619929" cy="903218"/>
            </a:xfrm>
            <a:custGeom>
              <a:avLst/>
              <a:gdLst/>
              <a:ahLst/>
              <a:cxnLst>
                <a:cxn ang="0">
                  <a:pos x="225" y="96"/>
                </a:cxn>
                <a:cxn ang="0">
                  <a:pos x="125" y="96"/>
                </a:cxn>
                <a:cxn ang="0">
                  <a:pos x="125" y="0"/>
                </a:cxn>
                <a:cxn ang="0">
                  <a:pos x="0" y="184"/>
                </a:cxn>
                <a:cxn ang="0">
                  <a:pos x="125" y="368"/>
                </a:cxn>
                <a:cxn ang="0">
                  <a:pos x="125" y="264"/>
                </a:cxn>
                <a:cxn ang="0">
                  <a:pos x="225" y="264"/>
                </a:cxn>
              </a:cxnLst>
              <a:rect l="0" t="0" r="r" b="b"/>
              <a:pathLst>
                <a:path w="226" h="369">
                  <a:moveTo>
                    <a:pt x="225" y="96"/>
                  </a:moveTo>
                  <a:lnTo>
                    <a:pt x="125" y="96"/>
                  </a:lnTo>
                  <a:lnTo>
                    <a:pt x="125" y="0"/>
                  </a:lnTo>
                  <a:lnTo>
                    <a:pt x="0" y="184"/>
                  </a:lnTo>
                  <a:lnTo>
                    <a:pt x="125" y="368"/>
                  </a:lnTo>
                  <a:lnTo>
                    <a:pt x="125" y="264"/>
                  </a:lnTo>
                  <a:lnTo>
                    <a:pt x="225" y="264"/>
                  </a:lnTo>
                </a:path>
              </a:pathLst>
            </a:custGeom>
            <a:solidFill>
              <a:schemeClr val="accent3"/>
            </a:solidFill>
            <a:ln w="6350" cap="rnd" cmpd="sng">
              <a:noFill/>
              <a:prstDash val="solid"/>
              <a:round/>
              <a:headEnd type="none" w="med" len="med"/>
              <a:tailEnd type="none" w="med" len="med"/>
            </a:ln>
            <a:effectLst/>
          </p:spPr>
          <p:txBody>
            <a:bodyPr lIns="45720" rIns="45720"/>
            <a:lstStyle/>
            <a:p>
              <a:pPr fontAlgn="base">
                <a:spcBef>
                  <a:spcPct val="0"/>
                </a:spcBef>
                <a:spcAft>
                  <a:spcPct val="0"/>
                </a:spcAft>
              </a:pPr>
              <a:endParaRPr lang="de-DE">
                <a:solidFill>
                  <a:prstClr val="black"/>
                </a:solidFill>
                <a:latin typeface="+mn-lt"/>
                <a:cs typeface="Arial" charset="0"/>
              </a:endParaRPr>
            </a:p>
          </p:txBody>
        </p:sp>
      </p:grpSp>
      <p:sp>
        <p:nvSpPr>
          <p:cNvPr id="30" name="Rectangle 29">
            <a:extLst>
              <a:ext uri="{FF2B5EF4-FFF2-40B4-BE49-F238E27FC236}">
                <a16:creationId xmlns:a16="http://schemas.microsoft.com/office/drawing/2014/main" id="{971F497B-CFB0-403E-B864-0C56554B63A3}"/>
              </a:ext>
            </a:extLst>
          </p:cNvPr>
          <p:cNvSpPr/>
          <p:nvPr>
            <p:custDataLst>
              <p:tags r:id="rId2"/>
            </p:custDataLst>
          </p:nvPr>
        </p:nvSpPr>
        <p:spPr bwMode="auto">
          <a:xfrm rot="5400000">
            <a:off x="6910728" y="3172370"/>
            <a:ext cx="2024536" cy="94853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ct val="80000"/>
              </a:lnSpc>
              <a:spcBef>
                <a:spcPct val="0"/>
              </a:spcBef>
              <a:spcAft>
                <a:spcPct val="0"/>
              </a:spcAft>
            </a:pPr>
            <a:r>
              <a:rPr lang="en-GB" b="1" dirty="0">
                <a:solidFill>
                  <a:prstClr val="white"/>
                </a:solidFill>
                <a:latin typeface="+mn-lt"/>
                <a:cs typeface="Arial" charset="0"/>
              </a:rPr>
              <a:t>Text</a:t>
            </a:r>
          </a:p>
        </p:txBody>
      </p:sp>
      <p:grpSp>
        <p:nvGrpSpPr>
          <p:cNvPr id="36" name="Group 35">
            <a:extLst>
              <a:ext uri="{FF2B5EF4-FFF2-40B4-BE49-F238E27FC236}">
                <a16:creationId xmlns:a16="http://schemas.microsoft.com/office/drawing/2014/main" id="{1750046B-DAE0-4518-80D1-B7941390FB15}"/>
              </a:ext>
              <a:ext uri="{C183D7F6-B498-43B3-948B-1728B52AA6E4}">
                <adec:decorative xmlns:adec="http://schemas.microsoft.com/office/drawing/2017/decorative" val="1"/>
              </a:ext>
            </a:extLst>
          </p:cNvPr>
          <p:cNvGrpSpPr/>
          <p:nvPr/>
        </p:nvGrpSpPr>
        <p:grpSpPr>
          <a:xfrm>
            <a:off x="4915257" y="4169757"/>
            <a:ext cx="2374138" cy="2392381"/>
            <a:chOff x="4915257" y="4169757"/>
            <a:chExt cx="2374138" cy="2392381"/>
          </a:xfrm>
        </p:grpSpPr>
        <p:sp>
          <p:nvSpPr>
            <p:cNvPr id="37" name="Freeform 40">
              <a:extLst>
                <a:ext uri="{FF2B5EF4-FFF2-40B4-BE49-F238E27FC236}">
                  <a16:creationId xmlns:a16="http://schemas.microsoft.com/office/drawing/2014/main" id="{DD824698-CD6F-4EBC-915C-62FF5EFA87D7}"/>
                </a:ext>
              </a:extLst>
            </p:cNvPr>
            <p:cNvSpPr>
              <a:spLocks/>
            </p:cNvSpPr>
            <p:nvPr/>
          </p:nvSpPr>
          <p:spPr bwMode="auto">
            <a:xfrm rot="2700000">
              <a:off x="4906135" y="4178879"/>
              <a:ext cx="2392381" cy="2374138"/>
            </a:xfrm>
            <a:custGeom>
              <a:avLst/>
              <a:gdLst>
                <a:gd name="T0" fmla="*/ 218 w 387"/>
                <a:gd name="T1" fmla="*/ 0 h 387"/>
                <a:gd name="T2" fmla="*/ 0 w 387"/>
                <a:gd name="T3" fmla="*/ 219 h 387"/>
                <a:gd name="T4" fmla="*/ 0 w 387"/>
                <a:gd name="T5" fmla="*/ 387 h 387"/>
                <a:gd name="T6" fmla="*/ 387 w 387"/>
                <a:gd name="T7" fmla="*/ 0 h 387"/>
                <a:gd name="T8" fmla="*/ 218 w 387"/>
                <a:gd name="T9" fmla="*/ 0 h 387"/>
              </a:gdLst>
              <a:ahLst/>
              <a:cxnLst>
                <a:cxn ang="0">
                  <a:pos x="T0" y="T1"/>
                </a:cxn>
                <a:cxn ang="0">
                  <a:pos x="T2" y="T3"/>
                </a:cxn>
                <a:cxn ang="0">
                  <a:pos x="T4" y="T5"/>
                </a:cxn>
                <a:cxn ang="0">
                  <a:pos x="T6" y="T7"/>
                </a:cxn>
                <a:cxn ang="0">
                  <a:pos x="T8" y="T9"/>
                </a:cxn>
              </a:cxnLst>
              <a:rect l="0" t="0" r="r" b="b"/>
              <a:pathLst>
                <a:path w="387" h="387">
                  <a:moveTo>
                    <a:pt x="218" y="0"/>
                  </a:moveTo>
                  <a:cubicBezTo>
                    <a:pt x="216" y="120"/>
                    <a:pt x="120" y="217"/>
                    <a:pt x="0" y="219"/>
                  </a:cubicBezTo>
                  <a:cubicBezTo>
                    <a:pt x="0" y="387"/>
                    <a:pt x="0" y="387"/>
                    <a:pt x="0" y="387"/>
                  </a:cubicBezTo>
                  <a:cubicBezTo>
                    <a:pt x="213" y="385"/>
                    <a:pt x="385" y="213"/>
                    <a:pt x="387" y="0"/>
                  </a:cubicBezTo>
                  <a:lnTo>
                    <a:pt x="218"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AU">
                <a:solidFill>
                  <a:schemeClr val="bg1"/>
                </a:solidFill>
                <a:cs typeface="Arial" charset="0"/>
              </a:endParaRPr>
            </a:p>
          </p:txBody>
        </p:sp>
        <p:sp>
          <p:nvSpPr>
            <p:cNvPr id="38" name="Freeform 7">
              <a:extLst>
                <a:ext uri="{FF2B5EF4-FFF2-40B4-BE49-F238E27FC236}">
                  <a16:creationId xmlns:a16="http://schemas.microsoft.com/office/drawing/2014/main" id="{D6C64FDE-C920-4F06-872F-BAEAF57EBDFF}"/>
                </a:ext>
              </a:extLst>
            </p:cNvPr>
            <p:cNvSpPr>
              <a:spLocks/>
            </p:cNvSpPr>
            <p:nvPr>
              <p:custDataLst>
                <p:tags r:id="rId6"/>
              </p:custDataLst>
            </p:nvPr>
          </p:nvSpPr>
          <p:spPr bwMode="auto">
            <a:xfrm rot="16200000">
              <a:off x="5804612" y="4308006"/>
              <a:ext cx="595426" cy="900847"/>
            </a:xfrm>
            <a:custGeom>
              <a:avLst/>
              <a:gdLst/>
              <a:ahLst/>
              <a:cxnLst>
                <a:cxn ang="0">
                  <a:pos x="0" y="272"/>
                </a:cxn>
                <a:cxn ang="0">
                  <a:pos x="96" y="272"/>
                </a:cxn>
                <a:cxn ang="0">
                  <a:pos x="96" y="368"/>
                </a:cxn>
                <a:cxn ang="0">
                  <a:pos x="216" y="184"/>
                </a:cxn>
                <a:cxn ang="0">
                  <a:pos x="96" y="0"/>
                </a:cxn>
                <a:cxn ang="0">
                  <a:pos x="96" y="96"/>
                </a:cxn>
                <a:cxn ang="0">
                  <a:pos x="0" y="96"/>
                </a:cxn>
              </a:cxnLst>
              <a:rect l="0" t="0" r="r" b="b"/>
              <a:pathLst>
                <a:path w="217" h="369">
                  <a:moveTo>
                    <a:pt x="0" y="272"/>
                  </a:moveTo>
                  <a:lnTo>
                    <a:pt x="96" y="272"/>
                  </a:lnTo>
                  <a:lnTo>
                    <a:pt x="96" y="368"/>
                  </a:lnTo>
                  <a:lnTo>
                    <a:pt x="216" y="184"/>
                  </a:lnTo>
                  <a:lnTo>
                    <a:pt x="96" y="0"/>
                  </a:lnTo>
                  <a:lnTo>
                    <a:pt x="96" y="96"/>
                  </a:lnTo>
                  <a:lnTo>
                    <a:pt x="0" y="96"/>
                  </a:lnTo>
                </a:path>
              </a:pathLst>
            </a:custGeom>
            <a:solidFill>
              <a:schemeClr val="accent2"/>
            </a:solidFill>
            <a:ln w="6350" cap="rnd" cmpd="sng">
              <a:noFill/>
              <a:prstDash val="solid"/>
              <a:round/>
              <a:headEnd type="none" w="med" len="med"/>
              <a:tailEnd type="none" w="med" len="med"/>
            </a:ln>
            <a:effectLst/>
          </p:spPr>
          <p:txBody>
            <a:bodyPr lIns="45720" rIns="45720"/>
            <a:lstStyle/>
            <a:p>
              <a:pPr fontAlgn="base">
                <a:spcBef>
                  <a:spcPct val="0"/>
                </a:spcBef>
                <a:spcAft>
                  <a:spcPct val="0"/>
                </a:spcAft>
              </a:pPr>
              <a:endParaRPr lang="de-DE">
                <a:solidFill>
                  <a:prstClr val="black"/>
                </a:solidFill>
                <a:latin typeface="+mn-lt"/>
                <a:cs typeface="Arial" charset="0"/>
              </a:endParaRPr>
            </a:p>
          </p:txBody>
        </p:sp>
      </p:grpSp>
      <p:sp>
        <p:nvSpPr>
          <p:cNvPr id="35" name="Rectangle 34">
            <a:extLst>
              <a:ext uri="{FF2B5EF4-FFF2-40B4-BE49-F238E27FC236}">
                <a16:creationId xmlns:a16="http://schemas.microsoft.com/office/drawing/2014/main" id="{E5EDDB8A-C60E-46CC-A1B1-B61F031DFEC3}"/>
              </a:ext>
            </a:extLst>
          </p:cNvPr>
          <p:cNvSpPr/>
          <p:nvPr>
            <p:custDataLst>
              <p:tags r:id="rId3"/>
            </p:custDataLst>
          </p:nvPr>
        </p:nvSpPr>
        <p:spPr bwMode="auto">
          <a:xfrm>
            <a:off x="5084990" y="5050475"/>
            <a:ext cx="2034672" cy="94853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ct val="80000"/>
              </a:lnSpc>
              <a:spcBef>
                <a:spcPct val="0"/>
              </a:spcBef>
              <a:spcAft>
                <a:spcPct val="0"/>
              </a:spcAft>
            </a:pPr>
            <a:r>
              <a:rPr lang="en-GB" b="1" dirty="0">
                <a:solidFill>
                  <a:prstClr val="white"/>
                </a:solidFill>
                <a:latin typeface="+mn-lt"/>
                <a:cs typeface="Arial" charset="0"/>
              </a:rPr>
              <a:t>Text</a:t>
            </a:r>
          </a:p>
        </p:txBody>
      </p:sp>
      <p:grpSp>
        <p:nvGrpSpPr>
          <p:cNvPr id="26" name="Group 25">
            <a:extLst>
              <a:ext uri="{FF2B5EF4-FFF2-40B4-BE49-F238E27FC236}">
                <a16:creationId xmlns:a16="http://schemas.microsoft.com/office/drawing/2014/main" id="{D28E850F-C1B7-4202-BB88-931D09E40212}"/>
              </a:ext>
              <a:ext uri="{C183D7F6-B498-43B3-948B-1728B52AA6E4}">
                <adec:decorative xmlns:adec="http://schemas.microsoft.com/office/drawing/2017/decorative" val="1"/>
              </a:ext>
            </a:extLst>
          </p:cNvPr>
          <p:cNvGrpSpPr/>
          <p:nvPr/>
        </p:nvGrpSpPr>
        <p:grpSpPr>
          <a:xfrm>
            <a:off x="3195025" y="2451752"/>
            <a:ext cx="2374138" cy="2389774"/>
            <a:chOff x="3195025" y="2451752"/>
            <a:chExt cx="2374138" cy="2389774"/>
          </a:xfrm>
        </p:grpSpPr>
        <p:sp>
          <p:nvSpPr>
            <p:cNvPr id="27" name="Freeform 41">
              <a:extLst>
                <a:ext uri="{FF2B5EF4-FFF2-40B4-BE49-F238E27FC236}">
                  <a16:creationId xmlns:a16="http://schemas.microsoft.com/office/drawing/2014/main" id="{90EB1C1A-2954-4565-BFE7-1A8FC9A9BCB8}"/>
                </a:ext>
              </a:extLst>
            </p:cNvPr>
            <p:cNvSpPr>
              <a:spLocks/>
            </p:cNvSpPr>
            <p:nvPr/>
          </p:nvSpPr>
          <p:spPr bwMode="auto">
            <a:xfrm rot="2700000">
              <a:off x="3187207" y="2459570"/>
              <a:ext cx="2389774" cy="2374138"/>
            </a:xfrm>
            <a:custGeom>
              <a:avLst/>
              <a:gdLst>
                <a:gd name="T0" fmla="*/ 387 w 387"/>
                <a:gd name="T1" fmla="*/ 219 h 387"/>
                <a:gd name="T2" fmla="*/ 168 w 387"/>
                <a:gd name="T3" fmla="*/ 0 h 387"/>
                <a:gd name="T4" fmla="*/ 0 w 387"/>
                <a:gd name="T5" fmla="*/ 0 h 387"/>
                <a:gd name="T6" fmla="*/ 387 w 387"/>
                <a:gd name="T7" fmla="*/ 387 h 387"/>
                <a:gd name="T8" fmla="*/ 387 w 387"/>
                <a:gd name="T9" fmla="*/ 219 h 387"/>
              </a:gdLst>
              <a:ahLst/>
              <a:cxnLst>
                <a:cxn ang="0">
                  <a:pos x="T0" y="T1"/>
                </a:cxn>
                <a:cxn ang="0">
                  <a:pos x="T2" y="T3"/>
                </a:cxn>
                <a:cxn ang="0">
                  <a:pos x="T4" y="T5"/>
                </a:cxn>
                <a:cxn ang="0">
                  <a:pos x="T6" y="T7"/>
                </a:cxn>
                <a:cxn ang="0">
                  <a:pos x="T8" y="T9"/>
                </a:cxn>
              </a:cxnLst>
              <a:rect l="0" t="0" r="r" b="b"/>
              <a:pathLst>
                <a:path w="387" h="387">
                  <a:moveTo>
                    <a:pt x="387" y="219"/>
                  </a:moveTo>
                  <a:cubicBezTo>
                    <a:pt x="267" y="217"/>
                    <a:pt x="170" y="120"/>
                    <a:pt x="168" y="0"/>
                  </a:cubicBezTo>
                  <a:cubicBezTo>
                    <a:pt x="0" y="0"/>
                    <a:pt x="0" y="0"/>
                    <a:pt x="0" y="0"/>
                  </a:cubicBezTo>
                  <a:cubicBezTo>
                    <a:pt x="2" y="213"/>
                    <a:pt x="174" y="385"/>
                    <a:pt x="387" y="387"/>
                  </a:cubicBezTo>
                  <a:lnTo>
                    <a:pt x="387" y="219"/>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AU">
                <a:solidFill>
                  <a:prstClr val="black"/>
                </a:solidFill>
                <a:cs typeface="Arial" charset="0"/>
              </a:endParaRPr>
            </a:p>
          </p:txBody>
        </p:sp>
        <p:sp>
          <p:nvSpPr>
            <p:cNvPr id="28" name="Freeform 9">
              <a:extLst>
                <a:ext uri="{FF2B5EF4-FFF2-40B4-BE49-F238E27FC236}">
                  <a16:creationId xmlns:a16="http://schemas.microsoft.com/office/drawing/2014/main" id="{FF3EA227-167A-46ED-B713-23392B8DC2D9}"/>
                </a:ext>
              </a:extLst>
            </p:cNvPr>
            <p:cNvSpPr>
              <a:spLocks/>
            </p:cNvSpPr>
            <p:nvPr>
              <p:custDataLst>
                <p:tags r:id="rId5"/>
              </p:custDataLst>
            </p:nvPr>
          </p:nvSpPr>
          <p:spPr bwMode="auto">
            <a:xfrm rot="5400000">
              <a:off x="4477173" y="3365717"/>
              <a:ext cx="1009524" cy="561845"/>
            </a:xfrm>
            <a:custGeom>
              <a:avLst/>
              <a:gdLst/>
              <a:ahLst/>
              <a:cxnLst>
                <a:cxn ang="0">
                  <a:pos x="272" y="229"/>
                </a:cxn>
                <a:cxn ang="0">
                  <a:pos x="272" y="229"/>
                </a:cxn>
                <a:cxn ang="0">
                  <a:pos x="272" y="123"/>
                </a:cxn>
                <a:cxn ang="0">
                  <a:pos x="368" y="123"/>
                </a:cxn>
                <a:cxn ang="0">
                  <a:pos x="184" y="0"/>
                </a:cxn>
                <a:cxn ang="0">
                  <a:pos x="0" y="123"/>
                </a:cxn>
                <a:cxn ang="0">
                  <a:pos x="104" y="123"/>
                </a:cxn>
                <a:cxn ang="0">
                  <a:pos x="104" y="229"/>
                </a:cxn>
              </a:cxnLst>
              <a:rect l="0" t="0" r="r" b="b"/>
              <a:pathLst>
                <a:path w="369" h="230">
                  <a:moveTo>
                    <a:pt x="272" y="229"/>
                  </a:moveTo>
                  <a:lnTo>
                    <a:pt x="272" y="229"/>
                  </a:lnTo>
                  <a:lnTo>
                    <a:pt x="272" y="123"/>
                  </a:lnTo>
                  <a:lnTo>
                    <a:pt x="368" y="123"/>
                  </a:lnTo>
                  <a:lnTo>
                    <a:pt x="184" y="0"/>
                  </a:lnTo>
                  <a:lnTo>
                    <a:pt x="0" y="123"/>
                  </a:lnTo>
                  <a:lnTo>
                    <a:pt x="104" y="123"/>
                  </a:lnTo>
                  <a:lnTo>
                    <a:pt x="104" y="229"/>
                  </a:lnTo>
                </a:path>
              </a:pathLst>
            </a:custGeom>
            <a:solidFill>
              <a:schemeClr val="accent1"/>
            </a:solidFill>
            <a:ln w="6350" cap="rnd" cmpd="sng">
              <a:noFill/>
              <a:prstDash val="solid"/>
              <a:round/>
              <a:headEnd type="none" w="med" len="med"/>
              <a:tailEnd type="none" w="med" len="med"/>
            </a:ln>
            <a:effectLst/>
          </p:spPr>
          <p:txBody>
            <a:bodyPr lIns="45720" rIns="45720"/>
            <a:lstStyle/>
            <a:p>
              <a:pPr fontAlgn="base">
                <a:spcBef>
                  <a:spcPct val="0"/>
                </a:spcBef>
                <a:spcAft>
                  <a:spcPct val="0"/>
                </a:spcAft>
              </a:pPr>
              <a:endParaRPr lang="de-DE">
                <a:solidFill>
                  <a:prstClr val="black"/>
                </a:solidFill>
                <a:latin typeface="+mn-lt"/>
                <a:cs typeface="Arial" charset="0"/>
              </a:endParaRPr>
            </a:p>
          </p:txBody>
        </p:sp>
      </p:grpSp>
      <p:sp>
        <p:nvSpPr>
          <p:cNvPr id="29" name="Rectangle 28">
            <a:extLst>
              <a:ext uri="{FF2B5EF4-FFF2-40B4-BE49-F238E27FC236}">
                <a16:creationId xmlns:a16="http://schemas.microsoft.com/office/drawing/2014/main" id="{8A2AA002-8D97-4FC8-AEF6-EA1E43F77F7F}"/>
              </a:ext>
            </a:extLst>
          </p:cNvPr>
          <p:cNvSpPr/>
          <p:nvPr>
            <p:custDataLst>
              <p:tags r:id="rId4"/>
            </p:custDataLst>
          </p:nvPr>
        </p:nvSpPr>
        <p:spPr bwMode="auto">
          <a:xfrm rot="16200000">
            <a:off x="3034698" y="3172369"/>
            <a:ext cx="2372533" cy="94854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ct val="80000"/>
              </a:lnSpc>
              <a:spcBef>
                <a:spcPct val="0"/>
              </a:spcBef>
              <a:spcAft>
                <a:spcPct val="0"/>
              </a:spcAft>
            </a:pPr>
            <a:r>
              <a:rPr lang="en-GB" b="1" dirty="0">
                <a:solidFill>
                  <a:prstClr val="white"/>
                </a:solidFill>
                <a:latin typeface="+mn-lt"/>
                <a:cs typeface="Arial" charset="0"/>
              </a:rPr>
              <a:t>Text </a:t>
            </a:r>
          </a:p>
        </p:txBody>
      </p:sp>
      <p:sp>
        <p:nvSpPr>
          <p:cNvPr id="4" name="Footer Placeholder 3">
            <a:extLst>
              <a:ext uri="{FF2B5EF4-FFF2-40B4-BE49-F238E27FC236}">
                <a16:creationId xmlns:a16="http://schemas.microsoft.com/office/drawing/2014/main" id="{602EE2CE-311D-416F-9248-710BCCBF8B13}"/>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07E90CC9-7CBD-487D-B7D1-51B01A7332BA}"/>
              </a:ext>
            </a:extLst>
          </p:cNvPr>
          <p:cNvSpPr>
            <a:spLocks noGrp="1"/>
          </p:cNvSpPr>
          <p:nvPr>
            <p:ph type="sldNum" sz="quarter" idx="10"/>
          </p:nvPr>
        </p:nvSpPr>
        <p:spPr/>
        <p:txBody>
          <a:bodyPr/>
          <a:lstStyle/>
          <a:p>
            <a:fld id="{1F90F471-3972-4120-B8B3-0237DE626C35}" type="slidenum">
              <a:rPr lang="en-US" smtClean="0"/>
              <a:pPr/>
              <a:t>279</a:t>
            </a:fld>
            <a:endParaRPr lang="en-US" dirty="0"/>
          </a:p>
        </p:txBody>
      </p:sp>
    </p:spTree>
    <p:extLst>
      <p:ext uri="{BB962C8B-B14F-4D97-AF65-F5344CB8AC3E}">
        <p14:creationId xmlns:p14="http://schemas.microsoft.com/office/powerpoint/2010/main" val="15897128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ll informative images must include a description for screen readers. All informative images must include a description for screen readers. If descriptive information is available in nearby text, it should not be repeated in the alt text for an image.">
            <a:extLst>
              <a:ext uri="{FF2B5EF4-FFF2-40B4-BE49-F238E27FC236}">
                <a16:creationId xmlns:a16="http://schemas.microsoft.com/office/drawing/2014/main" id="{3A8D29D7-7CCD-4A5B-A95F-B364072195A5}"/>
              </a:ext>
            </a:extLst>
          </p:cNvPr>
          <p:cNvPicPr>
            <a:picLocks noGrp="1" noChangeAspect="1"/>
          </p:cNvPicPr>
          <p:nvPr>
            <p:ph type="pic" sz="quarter" idx="10"/>
          </p:nvPr>
        </p:nvPicPr>
        <p:blipFill>
          <a:blip r:embed="rId3"/>
          <a:srcRect l="143" r="143"/>
          <a:stretch>
            <a:fillRect/>
          </a:stretch>
        </p:blipFill>
        <p:spPr/>
      </p:pic>
      <p:sp>
        <p:nvSpPr>
          <p:cNvPr id="3" name="Title 2">
            <a:extLst>
              <a:ext uri="{FF2B5EF4-FFF2-40B4-BE49-F238E27FC236}">
                <a16:creationId xmlns:a16="http://schemas.microsoft.com/office/drawing/2014/main" id="{2272D2F1-10EF-46D5-80A8-596A4B4D571F}"/>
              </a:ext>
            </a:extLst>
          </p:cNvPr>
          <p:cNvSpPr>
            <a:spLocks noGrp="1"/>
          </p:cNvSpPr>
          <p:nvPr>
            <p:ph type="ctrTitle"/>
          </p:nvPr>
        </p:nvSpPr>
        <p:spPr/>
        <p:txBody>
          <a:bodyPr/>
          <a:lstStyle/>
          <a:p>
            <a:r>
              <a:rPr lang="en-GB" dirty="0"/>
              <a:t>Place presentation title here 48pt</a:t>
            </a:r>
            <a:endParaRPr lang="en-US" dirty="0"/>
          </a:p>
        </p:txBody>
      </p:sp>
      <p:sp>
        <p:nvSpPr>
          <p:cNvPr id="4" name="Subtitle 3">
            <a:extLst>
              <a:ext uri="{FF2B5EF4-FFF2-40B4-BE49-F238E27FC236}">
                <a16:creationId xmlns:a16="http://schemas.microsoft.com/office/drawing/2014/main" id="{3779DA44-9013-4D31-B10F-78A68A3CB594}"/>
              </a:ext>
            </a:extLst>
          </p:cNvPr>
          <p:cNvSpPr>
            <a:spLocks noGrp="1"/>
          </p:cNvSpPr>
          <p:nvPr>
            <p:ph type="subTitle" idx="1"/>
          </p:nvPr>
        </p:nvSpPr>
        <p:spPr/>
        <p:txBody>
          <a:bodyPr/>
          <a:lstStyle/>
          <a:p>
            <a:r>
              <a:rPr lang="en-GB" dirty="0"/>
              <a:t>Place subtitle here in GT Sectra Fine </a:t>
            </a:r>
            <a:r>
              <a:rPr lang="en-GB" dirty="0" err="1"/>
              <a:t>Rg</a:t>
            </a:r>
            <a:r>
              <a:rPr lang="en-GB" dirty="0"/>
              <a:t> 24pt</a:t>
            </a:r>
            <a:endParaRPr lang="en-US" dirty="0"/>
          </a:p>
        </p:txBody>
      </p:sp>
      <p:sp>
        <p:nvSpPr>
          <p:cNvPr id="5" name="Text Placeholder 4">
            <a:extLst>
              <a:ext uri="{FF2B5EF4-FFF2-40B4-BE49-F238E27FC236}">
                <a16:creationId xmlns:a16="http://schemas.microsoft.com/office/drawing/2014/main" id="{978B0BAF-8727-4CBF-A8B9-88660DD13F28}"/>
              </a:ext>
            </a:extLst>
          </p:cNvPr>
          <p:cNvSpPr>
            <a:spLocks noGrp="1"/>
          </p:cNvSpPr>
          <p:nvPr>
            <p:ph type="body" sz="quarter" idx="12"/>
          </p:nvPr>
        </p:nvSpPr>
        <p:spPr/>
        <p:txBody>
          <a:bodyPr/>
          <a:lstStyle/>
          <a:p>
            <a:r>
              <a:rPr lang="en-US" dirty="0"/>
              <a:t>Presenter 14pt</a:t>
            </a:r>
          </a:p>
        </p:txBody>
      </p:sp>
      <p:pic>
        <p:nvPicPr>
          <p:cNvPr id="8" name="Graphic 7" descr="Accenture Logo. This option can be marked as decorative.">
            <a:extLst>
              <a:ext uri="{FF2B5EF4-FFF2-40B4-BE49-F238E27FC236}">
                <a16:creationId xmlns:a16="http://schemas.microsoft.com/office/drawing/2014/main" id="{76BE3168-61F2-4FA6-9D03-ECC48391206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2636" y="5607811"/>
            <a:ext cx="641502" cy="704088"/>
          </a:xfrm>
          <a:prstGeom prst="rect">
            <a:avLst/>
          </a:prstGeom>
        </p:spPr>
      </p:pic>
    </p:spTree>
    <p:extLst>
      <p:ext uri="{BB962C8B-B14F-4D97-AF65-F5344CB8AC3E}">
        <p14:creationId xmlns:p14="http://schemas.microsoft.com/office/powerpoint/2010/main" val="842289796"/>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en-US" dirty="0"/>
              <a:t>Circular Segments 1</a:t>
            </a:r>
          </a:p>
        </p:txBody>
      </p:sp>
      <p:grpSp>
        <p:nvGrpSpPr>
          <p:cNvPr id="82" name="Group 82" descr="Segment 1">
            <a:extLst>
              <a:ext uri="{FF2B5EF4-FFF2-40B4-BE49-F238E27FC236}">
                <a16:creationId xmlns:a16="http://schemas.microsoft.com/office/drawing/2014/main" id="{34407C12-C526-4733-9550-123448AEE101}"/>
              </a:ext>
            </a:extLst>
          </p:cNvPr>
          <p:cNvGrpSpPr>
            <a:grpSpLocks/>
          </p:cNvGrpSpPr>
          <p:nvPr/>
        </p:nvGrpSpPr>
        <p:grpSpPr bwMode="auto">
          <a:xfrm>
            <a:off x="2008111" y="1756711"/>
            <a:ext cx="1860552" cy="1860554"/>
            <a:chOff x="376" y="1228"/>
            <a:chExt cx="1172" cy="1172"/>
          </a:xfrm>
        </p:grpSpPr>
        <p:sp>
          <p:nvSpPr>
            <p:cNvPr id="83" name="Freeform 83">
              <a:extLst>
                <a:ext uri="{FF2B5EF4-FFF2-40B4-BE49-F238E27FC236}">
                  <a16:creationId xmlns:a16="http://schemas.microsoft.com/office/drawing/2014/main" id="{6A4ED26C-8E43-40AF-AC50-DC38E16A9784}"/>
                </a:ext>
              </a:extLst>
            </p:cNvPr>
            <p:cNvSpPr>
              <a:spLocks/>
            </p:cNvSpPr>
            <p:nvPr/>
          </p:nvSpPr>
          <p:spPr bwMode="auto">
            <a:xfrm>
              <a:off x="962" y="1228"/>
              <a:ext cx="586" cy="1172"/>
            </a:xfrm>
            <a:custGeom>
              <a:avLst/>
              <a:gdLst/>
              <a:ahLst/>
              <a:cxnLst>
                <a:cxn ang="0">
                  <a:pos x="0" y="0"/>
                </a:cxn>
                <a:cxn ang="0">
                  <a:pos x="83" y="3"/>
                </a:cxn>
                <a:cxn ang="0">
                  <a:pos x="166" y="12"/>
                </a:cxn>
                <a:cxn ang="0">
                  <a:pos x="248" y="27"/>
                </a:cxn>
                <a:cxn ang="0">
                  <a:pos x="329" y="49"/>
                </a:cxn>
                <a:cxn ang="0">
                  <a:pos x="395" y="71"/>
                </a:cxn>
                <a:cxn ang="0">
                  <a:pos x="459" y="97"/>
                </a:cxn>
                <a:cxn ang="0">
                  <a:pos x="534" y="133"/>
                </a:cxn>
                <a:cxn ang="0">
                  <a:pos x="607" y="175"/>
                </a:cxn>
                <a:cxn ang="0">
                  <a:pos x="676" y="222"/>
                </a:cxn>
                <a:cxn ang="0">
                  <a:pos x="741" y="275"/>
                </a:cxn>
                <a:cxn ang="0">
                  <a:pos x="782" y="312"/>
                </a:cxn>
                <a:cxn ang="0">
                  <a:pos x="841" y="372"/>
                </a:cxn>
                <a:cxn ang="0">
                  <a:pos x="894" y="436"/>
                </a:cxn>
                <a:cxn ang="0">
                  <a:pos x="943" y="504"/>
                </a:cxn>
                <a:cxn ang="0">
                  <a:pos x="987" y="575"/>
                </a:cxn>
                <a:cxn ang="0">
                  <a:pos x="1025" y="649"/>
                </a:cxn>
                <a:cxn ang="0">
                  <a:pos x="1058" y="726"/>
                </a:cxn>
                <a:cxn ang="0">
                  <a:pos x="1086" y="804"/>
                </a:cxn>
                <a:cxn ang="0">
                  <a:pos x="1107" y="885"/>
                </a:cxn>
                <a:cxn ang="0">
                  <a:pos x="1123" y="967"/>
                </a:cxn>
                <a:cxn ang="0">
                  <a:pos x="1132" y="1050"/>
                </a:cxn>
                <a:cxn ang="0">
                  <a:pos x="1134" y="1134"/>
                </a:cxn>
                <a:cxn ang="0">
                  <a:pos x="1131" y="1218"/>
                </a:cxn>
                <a:cxn ang="0">
                  <a:pos x="1122" y="1301"/>
                </a:cxn>
                <a:cxn ang="0">
                  <a:pos x="1107" y="1383"/>
                </a:cxn>
                <a:cxn ang="0">
                  <a:pos x="1085" y="1464"/>
                </a:cxn>
                <a:cxn ang="0">
                  <a:pos x="1063" y="1530"/>
                </a:cxn>
                <a:cxn ang="0">
                  <a:pos x="1037" y="1594"/>
                </a:cxn>
                <a:cxn ang="0">
                  <a:pos x="1001" y="1669"/>
                </a:cxn>
                <a:cxn ang="0">
                  <a:pos x="959" y="1741"/>
                </a:cxn>
                <a:cxn ang="0">
                  <a:pos x="912" y="1810"/>
                </a:cxn>
                <a:cxn ang="0">
                  <a:pos x="859" y="1875"/>
                </a:cxn>
                <a:cxn ang="0">
                  <a:pos x="822" y="1917"/>
                </a:cxn>
                <a:cxn ang="0">
                  <a:pos x="762" y="1975"/>
                </a:cxn>
                <a:cxn ang="0">
                  <a:pos x="698" y="2029"/>
                </a:cxn>
                <a:cxn ang="0">
                  <a:pos x="630" y="2077"/>
                </a:cxn>
                <a:cxn ang="0">
                  <a:pos x="558" y="2121"/>
                </a:cxn>
                <a:cxn ang="0">
                  <a:pos x="484" y="2160"/>
                </a:cxn>
                <a:cxn ang="0">
                  <a:pos x="408" y="2193"/>
                </a:cxn>
                <a:cxn ang="0">
                  <a:pos x="329" y="2220"/>
                </a:cxn>
                <a:cxn ang="0">
                  <a:pos x="248" y="2241"/>
                </a:cxn>
                <a:cxn ang="0">
                  <a:pos x="166" y="2257"/>
                </a:cxn>
                <a:cxn ang="0">
                  <a:pos x="83" y="2266"/>
                </a:cxn>
                <a:cxn ang="0">
                  <a:pos x="0" y="2268"/>
                </a:cxn>
              </a:cxnLst>
              <a:rect l="0" t="0" r="r" b="b"/>
              <a:pathLst>
                <a:path w="1134" h="2268">
                  <a:moveTo>
                    <a:pt x="0" y="1134"/>
                  </a:moveTo>
                  <a:lnTo>
                    <a:pt x="0" y="567"/>
                  </a:lnTo>
                  <a:lnTo>
                    <a:pt x="0" y="0"/>
                  </a:lnTo>
                  <a:lnTo>
                    <a:pt x="27" y="0"/>
                  </a:lnTo>
                  <a:lnTo>
                    <a:pt x="55" y="1"/>
                  </a:lnTo>
                  <a:lnTo>
                    <a:pt x="83" y="3"/>
                  </a:lnTo>
                  <a:lnTo>
                    <a:pt x="111" y="5"/>
                  </a:lnTo>
                  <a:lnTo>
                    <a:pt x="138" y="8"/>
                  </a:lnTo>
                  <a:lnTo>
                    <a:pt x="166" y="12"/>
                  </a:lnTo>
                  <a:lnTo>
                    <a:pt x="193" y="16"/>
                  </a:lnTo>
                  <a:lnTo>
                    <a:pt x="221" y="22"/>
                  </a:lnTo>
                  <a:lnTo>
                    <a:pt x="248" y="27"/>
                  </a:lnTo>
                  <a:lnTo>
                    <a:pt x="275" y="34"/>
                  </a:lnTo>
                  <a:lnTo>
                    <a:pt x="302" y="41"/>
                  </a:lnTo>
                  <a:lnTo>
                    <a:pt x="329" y="49"/>
                  </a:lnTo>
                  <a:lnTo>
                    <a:pt x="355" y="57"/>
                  </a:lnTo>
                  <a:lnTo>
                    <a:pt x="381" y="66"/>
                  </a:lnTo>
                  <a:lnTo>
                    <a:pt x="395" y="71"/>
                  </a:lnTo>
                  <a:lnTo>
                    <a:pt x="408" y="76"/>
                  </a:lnTo>
                  <a:lnTo>
                    <a:pt x="433" y="86"/>
                  </a:lnTo>
                  <a:lnTo>
                    <a:pt x="459" y="97"/>
                  </a:lnTo>
                  <a:lnTo>
                    <a:pt x="484" y="109"/>
                  </a:lnTo>
                  <a:lnTo>
                    <a:pt x="509" y="121"/>
                  </a:lnTo>
                  <a:lnTo>
                    <a:pt x="534" y="133"/>
                  </a:lnTo>
                  <a:lnTo>
                    <a:pt x="558" y="147"/>
                  </a:lnTo>
                  <a:lnTo>
                    <a:pt x="584" y="161"/>
                  </a:lnTo>
                  <a:lnTo>
                    <a:pt x="607" y="175"/>
                  </a:lnTo>
                  <a:lnTo>
                    <a:pt x="631" y="190"/>
                  </a:lnTo>
                  <a:lnTo>
                    <a:pt x="654" y="206"/>
                  </a:lnTo>
                  <a:lnTo>
                    <a:pt x="676" y="222"/>
                  </a:lnTo>
                  <a:lnTo>
                    <a:pt x="698" y="239"/>
                  </a:lnTo>
                  <a:lnTo>
                    <a:pt x="720" y="257"/>
                  </a:lnTo>
                  <a:lnTo>
                    <a:pt x="741" y="275"/>
                  </a:lnTo>
                  <a:lnTo>
                    <a:pt x="762" y="293"/>
                  </a:lnTo>
                  <a:lnTo>
                    <a:pt x="772" y="303"/>
                  </a:lnTo>
                  <a:lnTo>
                    <a:pt x="782" y="312"/>
                  </a:lnTo>
                  <a:lnTo>
                    <a:pt x="802" y="332"/>
                  </a:lnTo>
                  <a:lnTo>
                    <a:pt x="822" y="352"/>
                  </a:lnTo>
                  <a:lnTo>
                    <a:pt x="841" y="372"/>
                  </a:lnTo>
                  <a:lnTo>
                    <a:pt x="859" y="393"/>
                  </a:lnTo>
                  <a:lnTo>
                    <a:pt x="877" y="414"/>
                  </a:lnTo>
                  <a:lnTo>
                    <a:pt x="894" y="436"/>
                  </a:lnTo>
                  <a:lnTo>
                    <a:pt x="911" y="458"/>
                  </a:lnTo>
                  <a:lnTo>
                    <a:pt x="928" y="481"/>
                  </a:lnTo>
                  <a:lnTo>
                    <a:pt x="943" y="504"/>
                  </a:lnTo>
                  <a:lnTo>
                    <a:pt x="958" y="527"/>
                  </a:lnTo>
                  <a:lnTo>
                    <a:pt x="973" y="551"/>
                  </a:lnTo>
                  <a:lnTo>
                    <a:pt x="987" y="575"/>
                  </a:lnTo>
                  <a:lnTo>
                    <a:pt x="1000" y="599"/>
                  </a:lnTo>
                  <a:lnTo>
                    <a:pt x="1013" y="624"/>
                  </a:lnTo>
                  <a:lnTo>
                    <a:pt x="1025" y="649"/>
                  </a:lnTo>
                  <a:lnTo>
                    <a:pt x="1037" y="674"/>
                  </a:lnTo>
                  <a:lnTo>
                    <a:pt x="1048" y="700"/>
                  </a:lnTo>
                  <a:lnTo>
                    <a:pt x="1058" y="726"/>
                  </a:lnTo>
                  <a:lnTo>
                    <a:pt x="1068" y="752"/>
                  </a:lnTo>
                  <a:lnTo>
                    <a:pt x="1077" y="778"/>
                  </a:lnTo>
                  <a:lnTo>
                    <a:pt x="1086" y="804"/>
                  </a:lnTo>
                  <a:lnTo>
                    <a:pt x="1094" y="831"/>
                  </a:lnTo>
                  <a:lnTo>
                    <a:pt x="1101" y="858"/>
                  </a:lnTo>
                  <a:lnTo>
                    <a:pt x="1107" y="885"/>
                  </a:lnTo>
                  <a:lnTo>
                    <a:pt x="1113" y="912"/>
                  </a:lnTo>
                  <a:lnTo>
                    <a:pt x="1118" y="940"/>
                  </a:lnTo>
                  <a:lnTo>
                    <a:pt x="1123" y="967"/>
                  </a:lnTo>
                  <a:lnTo>
                    <a:pt x="1126" y="995"/>
                  </a:lnTo>
                  <a:lnTo>
                    <a:pt x="1129" y="1022"/>
                  </a:lnTo>
                  <a:lnTo>
                    <a:pt x="1132" y="1050"/>
                  </a:lnTo>
                  <a:lnTo>
                    <a:pt x="1133" y="1078"/>
                  </a:lnTo>
                  <a:lnTo>
                    <a:pt x="1134" y="1106"/>
                  </a:lnTo>
                  <a:lnTo>
                    <a:pt x="1134" y="1134"/>
                  </a:lnTo>
                  <a:lnTo>
                    <a:pt x="1134" y="1162"/>
                  </a:lnTo>
                  <a:lnTo>
                    <a:pt x="1133" y="1190"/>
                  </a:lnTo>
                  <a:lnTo>
                    <a:pt x="1131" y="1218"/>
                  </a:lnTo>
                  <a:lnTo>
                    <a:pt x="1129" y="1246"/>
                  </a:lnTo>
                  <a:lnTo>
                    <a:pt x="1126" y="1273"/>
                  </a:lnTo>
                  <a:lnTo>
                    <a:pt x="1122" y="1301"/>
                  </a:lnTo>
                  <a:lnTo>
                    <a:pt x="1118" y="1328"/>
                  </a:lnTo>
                  <a:lnTo>
                    <a:pt x="1113" y="1356"/>
                  </a:lnTo>
                  <a:lnTo>
                    <a:pt x="1107" y="1383"/>
                  </a:lnTo>
                  <a:lnTo>
                    <a:pt x="1100" y="1410"/>
                  </a:lnTo>
                  <a:lnTo>
                    <a:pt x="1093" y="1437"/>
                  </a:lnTo>
                  <a:lnTo>
                    <a:pt x="1085" y="1464"/>
                  </a:lnTo>
                  <a:lnTo>
                    <a:pt x="1077" y="1490"/>
                  </a:lnTo>
                  <a:lnTo>
                    <a:pt x="1068" y="1517"/>
                  </a:lnTo>
                  <a:lnTo>
                    <a:pt x="1063" y="1530"/>
                  </a:lnTo>
                  <a:lnTo>
                    <a:pt x="1058" y="1543"/>
                  </a:lnTo>
                  <a:lnTo>
                    <a:pt x="1048" y="1569"/>
                  </a:lnTo>
                  <a:lnTo>
                    <a:pt x="1037" y="1594"/>
                  </a:lnTo>
                  <a:lnTo>
                    <a:pt x="1026" y="1619"/>
                  </a:lnTo>
                  <a:lnTo>
                    <a:pt x="1013" y="1644"/>
                  </a:lnTo>
                  <a:lnTo>
                    <a:pt x="1001" y="1669"/>
                  </a:lnTo>
                  <a:lnTo>
                    <a:pt x="987" y="1694"/>
                  </a:lnTo>
                  <a:lnTo>
                    <a:pt x="973" y="1718"/>
                  </a:lnTo>
                  <a:lnTo>
                    <a:pt x="959" y="1741"/>
                  </a:lnTo>
                  <a:lnTo>
                    <a:pt x="944" y="1765"/>
                  </a:lnTo>
                  <a:lnTo>
                    <a:pt x="928" y="1788"/>
                  </a:lnTo>
                  <a:lnTo>
                    <a:pt x="912" y="1810"/>
                  </a:lnTo>
                  <a:lnTo>
                    <a:pt x="895" y="1832"/>
                  </a:lnTo>
                  <a:lnTo>
                    <a:pt x="877" y="1854"/>
                  </a:lnTo>
                  <a:lnTo>
                    <a:pt x="859" y="1875"/>
                  </a:lnTo>
                  <a:lnTo>
                    <a:pt x="841" y="1896"/>
                  </a:lnTo>
                  <a:lnTo>
                    <a:pt x="831" y="1906"/>
                  </a:lnTo>
                  <a:lnTo>
                    <a:pt x="822" y="1917"/>
                  </a:lnTo>
                  <a:lnTo>
                    <a:pt x="802" y="1936"/>
                  </a:lnTo>
                  <a:lnTo>
                    <a:pt x="782" y="1956"/>
                  </a:lnTo>
                  <a:lnTo>
                    <a:pt x="762" y="1975"/>
                  </a:lnTo>
                  <a:lnTo>
                    <a:pt x="741" y="1993"/>
                  </a:lnTo>
                  <a:lnTo>
                    <a:pt x="720" y="2011"/>
                  </a:lnTo>
                  <a:lnTo>
                    <a:pt x="698" y="2029"/>
                  </a:lnTo>
                  <a:lnTo>
                    <a:pt x="676" y="2045"/>
                  </a:lnTo>
                  <a:lnTo>
                    <a:pt x="653" y="2062"/>
                  </a:lnTo>
                  <a:lnTo>
                    <a:pt x="630" y="2077"/>
                  </a:lnTo>
                  <a:lnTo>
                    <a:pt x="607" y="2093"/>
                  </a:lnTo>
                  <a:lnTo>
                    <a:pt x="583" y="2107"/>
                  </a:lnTo>
                  <a:lnTo>
                    <a:pt x="558" y="2121"/>
                  </a:lnTo>
                  <a:lnTo>
                    <a:pt x="534" y="2135"/>
                  </a:lnTo>
                  <a:lnTo>
                    <a:pt x="509" y="2147"/>
                  </a:lnTo>
                  <a:lnTo>
                    <a:pt x="484" y="2160"/>
                  </a:lnTo>
                  <a:lnTo>
                    <a:pt x="459" y="2171"/>
                  </a:lnTo>
                  <a:lnTo>
                    <a:pt x="433" y="2182"/>
                  </a:lnTo>
                  <a:lnTo>
                    <a:pt x="408" y="2193"/>
                  </a:lnTo>
                  <a:lnTo>
                    <a:pt x="382" y="2202"/>
                  </a:lnTo>
                  <a:lnTo>
                    <a:pt x="355" y="2211"/>
                  </a:lnTo>
                  <a:lnTo>
                    <a:pt x="329" y="2220"/>
                  </a:lnTo>
                  <a:lnTo>
                    <a:pt x="302" y="2228"/>
                  </a:lnTo>
                  <a:lnTo>
                    <a:pt x="275" y="2235"/>
                  </a:lnTo>
                  <a:lnTo>
                    <a:pt x="248" y="2241"/>
                  </a:lnTo>
                  <a:lnTo>
                    <a:pt x="221" y="2247"/>
                  </a:lnTo>
                  <a:lnTo>
                    <a:pt x="194" y="2252"/>
                  </a:lnTo>
                  <a:lnTo>
                    <a:pt x="166" y="2257"/>
                  </a:lnTo>
                  <a:lnTo>
                    <a:pt x="138" y="2260"/>
                  </a:lnTo>
                  <a:lnTo>
                    <a:pt x="111" y="2263"/>
                  </a:lnTo>
                  <a:lnTo>
                    <a:pt x="83" y="2266"/>
                  </a:lnTo>
                  <a:lnTo>
                    <a:pt x="55" y="2267"/>
                  </a:lnTo>
                  <a:lnTo>
                    <a:pt x="27" y="2268"/>
                  </a:lnTo>
                  <a:lnTo>
                    <a:pt x="0" y="2268"/>
                  </a:lnTo>
                  <a:lnTo>
                    <a:pt x="0" y="1701"/>
                  </a:lnTo>
                  <a:lnTo>
                    <a:pt x="0" y="1134"/>
                  </a:lnTo>
                  <a:close/>
                </a:path>
              </a:pathLst>
            </a:custGeom>
            <a:solidFill>
              <a:schemeClr val="accent1"/>
            </a:solidFill>
            <a:ln w="6350" cmpd="sng">
              <a:noFill/>
              <a:round/>
              <a:headEnd/>
              <a:tailEnd/>
            </a:ln>
          </p:spPr>
          <p:txBody>
            <a:bodyPr lIns="45720" rIns="45720" anchor="ctr" anchorCtr="1"/>
            <a:lstStyle/>
            <a:p>
              <a:endParaRPr lang="en-US" sz="1100"/>
            </a:p>
          </p:txBody>
        </p:sp>
        <p:sp>
          <p:nvSpPr>
            <p:cNvPr id="84" name="Freeform 84">
              <a:extLst>
                <a:ext uri="{FF2B5EF4-FFF2-40B4-BE49-F238E27FC236}">
                  <a16:creationId xmlns:a16="http://schemas.microsoft.com/office/drawing/2014/main" id="{D705C48C-E1AF-4177-A774-4969EDFCA1E6}"/>
                </a:ext>
              </a:extLst>
            </p:cNvPr>
            <p:cNvSpPr>
              <a:spLocks/>
            </p:cNvSpPr>
            <p:nvPr/>
          </p:nvSpPr>
          <p:spPr bwMode="auto">
            <a:xfrm>
              <a:off x="376" y="1228"/>
              <a:ext cx="586" cy="1172"/>
            </a:xfrm>
            <a:custGeom>
              <a:avLst/>
              <a:gdLst/>
              <a:ahLst/>
              <a:cxnLst>
                <a:cxn ang="0">
                  <a:pos x="1135" y="2268"/>
                </a:cxn>
                <a:cxn ang="0">
                  <a:pos x="1051" y="2265"/>
                </a:cxn>
                <a:cxn ang="0">
                  <a:pos x="968" y="2256"/>
                </a:cxn>
                <a:cxn ang="0">
                  <a:pos x="886" y="2241"/>
                </a:cxn>
                <a:cxn ang="0">
                  <a:pos x="805" y="2220"/>
                </a:cxn>
                <a:cxn ang="0">
                  <a:pos x="739" y="2197"/>
                </a:cxn>
                <a:cxn ang="0">
                  <a:pos x="675" y="2171"/>
                </a:cxn>
                <a:cxn ang="0">
                  <a:pos x="600" y="2135"/>
                </a:cxn>
                <a:cxn ang="0">
                  <a:pos x="527" y="2093"/>
                </a:cxn>
                <a:cxn ang="0">
                  <a:pos x="458" y="2046"/>
                </a:cxn>
                <a:cxn ang="0">
                  <a:pos x="393" y="1994"/>
                </a:cxn>
                <a:cxn ang="0">
                  <a:pos x="352" y="1956"/>
                </a:cxn>
                <a:cxn ang="0">
                  <a:pos x="293" y="1896"/>
                </a:cxn>
                <a:cxn ang="0">
                  <a:pos x="240" y="1832"/>
                </a:cxn>
                <a:cxn ang="0">
                  <a:pos x="191" y="1765"/>
                </a:cxn>
                <a:cxn ang="0">
                  <a:pos x="147" y="1693"/>
                </a:cxn>
                <a:cxn ang="0">
                  <a:pos x="109" y="1619"/>
                </a:cxn>
                <a:cxn ang="0">
                  <a:pos x="76" y="1543"/>
                </a:cxn>
                <a:cxn ang="0">
                  <a:pos x="48" y="1464"/>
                </a:cxn>
                <a:cxn ang="0">
                  <a:pos x="27" y="1383"/>
                </a:cxn>
                <a:cxn ang="0">
                  <a:pos x="12" y="1301"/>
                </a:cxn>
                <a:cxn ang="0">
                  <a:pos x="2" y="1218"/>
                </a:cxn>
                <a:cxn ang="0">
                  <a:pos x="0" y="1134"/>
                </a:cxn>
                <a:cxn ang="0">
                  <a:pos x="3" y="1050"/>
                </a:cxn>
                <a:cxn ang="0">
                  <a:pos x="12" y="967"/>
                </a:cxn>
                <a:cxn ang="0">
                  <a:pos x="27" y="885"/>
                </a:cxn>
                <a:cxn ang="0">
                  <a:pos x="49" y="805"/>
                </a:cxn>
                <a:cxn ang="0">
                  <a:pos x="71" y="739"/>
                </a:cxn>
                <a:cxn ang="0">
                  <a:pos x="97" y="674"/>
                </a:cxn>
                <a:cxn ang="0">
                  <a:pos x="133" y="599"/>
                </a:cxn>
                <a:cxn ang="0">
                  <a:pos x="175" y="527"/>
                </a:cxn>
                <a:cxn ang="0">
                  <a:pos x="222" y="458"/>
                </a:cxn>
                <a:cxn ang="0">
                  <a:pos x="275" y="393"/>
                </a:cxn>
                <a:cxn ang="0">
                  <a:pos x="312" y="352"/>
                </a:cxn>
                <a:cxn ang="0">
                  <a:pos x="372" y="293"/>
                </a:cxn>
                <a:cxn ang="0">
                  <a:pos x="436" y="240"/>
                </a:cxn>
                <a:cxn ang="0">
                  <a:pos x="504" y="191"/>
                </a:cxn>
                <a:cxn ang="0">
                  <a:pos x="576" y="147"/>
                </a:cxn>
                <a:cxn ang="0">
                  <a:pos x="650" y="109"/>
                </a:cxn>
                <a:cxn ang="0">
                  <a:pos x="726" y="76"/>
                </a:cxn>
                <a:cxn ang="0">
                  <a:pos x="805" y="48"/>
                </a:cxn>
                <a:cxn ang="0">
                  <a:pos x="886" y="27"/>
                </a:cxn>
                <a:cxn ang="0">
                  <a:pos x="968" y="12"/>
                </a:cxn>
                <a:cxn ang="0">
                  <a:pos x="1051" y="2"/>
                </a:cxn>
                <a:cxn ang="0">
                  <a:pos x="1135" y="0"/>
                </a:cxn>
              </a:cxnLst>
              <a:rect l="0" t="0" r="r" b="b"/>
              <a:pathLst>
                <a:path w="1135" h="2268">
                  <a:moveTo>
                    <a:pt x="1135" y="1134"/>
                  </a:moveTo>
                  <a:lnTo>
                    <a:pt x="1135" y="1701"/>
                  </a:lnTo>
                  <a:lnTo>
                    <a:pt x="1135" y="2268"/>
                  </a:lnTo>
                  <a:lnTo>
                    <a:pt x="1107" y="2268"/>
                  </a:lnTo>
                  <a:lnTo>
                    <a:pt x="1079" y="2267"/>
                  </a:lnTo>
                  <a:lnTo>
                    <a:pt x="1051" y="2265"/>
                  </a:lnTo>
                  <a:lnTo>
                    <a:pt x="1023" y="2263"/>
                  </a:lnTo>
                  <a:lnTo>
                    <a:pt x="996" y="2260"/>
                  </a:lnTo>
                  <a:lnTo>
                    <a:pt x="968" y="2256"/>
                  </a:lnTo>
                  <a:lnTo>
                    <a:pt x="941" y="2252"/>
                  </a:lnTo>
                  <a:lnTo>
                    <a:pt x="913" y="2247"/>
                  </a:lnTo>
                  <a:lnTo>
                    <a:pt x="886" y="2241"/>
                  </a:lnTo>
                  <a:lnTo>
                    <a:pt x="859" y="2234"/>
                  </a:lnTo>
                  <a:lnTo>
                    <a:pt x="832" y="2227"/>
                  </a:lnTo>
                  <a:lnTo>
                    <a:pt x="805" y="2220"/>
                  </a:lnTo>
                  <a:lnTo>
                    <a:pt x="779" y="2211"/>
                  </a:lnTo>
                  <a:lnTo>
                    <a:pt x="753" y="2202"/>
                  </a:lnTo>
                  <a:lnTo>
                    <a:pt x="739" y="2197"/>
                  </a:lnTo>
                  <a:lnTo>
                    <a:pt x="726" y="2192"/>
                  </a:lnTo>
                  <a:lnTo>
                    <a:pt x="701" y="2182"/>
                  </a:lnTo>
                  <a:lnTo>
                    <a:pt x="675" y="2171"/>
                  </a:lnTo>
                  <a:lnTo>
                    <a:pt x="650" y="2160"/>
                  </a:lnTo>
                  <a:lnTo>
                    <a:pt x="625" y="2148"/>
                  </a:lnTo>
                  <a:lnTo>
                    <a:pt x="600" y="2135"/>
                  </a:lnTo>
                  <a:lnTo>
                    <a:pt x="576" y="2121"/>
                  </a:lnTo>
                  <a:lnTo>
                    <a:pt x="551" y="2107"/>
                  </a:lnTo>
                  <a:lnTo>
                    <a:pt x="527" y="2093"/>
                  </a:lnTo>
                  <a:lnTo>
                    <a:pt x="503" y="2078"/>
                  </a:lnTo>
                  <a:lnTo>
                    <a:pt x="480" y="2062"/>
                  </a:lnTo>
                  <a:lnTo>
                    <a:pt x="458" y="2046"/>
                  </a:lnTo>
                  <a:lnTo>
                    <a:pt x="436" y="2029"/>
                  </a:lnTo>
                  <a:lnTo>
                    <a:pt x="414" y="2011"/>
                  </a:lnTo>
                  <a:lnTo>
                    <a:pt x="393" y="1994"/>
                  </a:lnTo>
                  <a:lnTo>
                    <a:pt x="372" y="1975"/>
                  </a:lnTo>
                  <a:lnTo>
                    <a:pt x="362" y="1966"/>
                  </a:lnTo>
                  <a:lnTo>
                    <a:pt x="352" y="1956"/>
                  </a:lnTo>
                  <a:lnTo>
                    <a:pt x="332" y="1936"/>
                  </a:lnTo>
                  <a:lnTo>
                    <a:pt x="312" y="1916"/>
                  </a:lnTo>
                  <a:lnTo>
                    <a:pt x="293" y="1896"/>
                  </a:lnTo>
                  <a:lnTo>
                    <a:pt x="275" y="1875"/>
                  </a:lnTo>
                  <a:lnTo>
                    <a:pt x="257" y="1854"/>
                  </a:lnTo>
                  <a:lnTo>
                    <a:pt x="240" y="1832"/>
                  </a:lnTo>
                  <a:lnTo>
                    <a:pt x="223" y="1810"/>
                  </a:lnTo>
                  <a:lnTo>
                    <a:pt x="207" y="1787"/>
                  </a:lnTo>
                  <a:lnTo>
                    <a:pt x="191" y="1765"/>
                  </a:lnTo>
                  <a:lnTo>
                    <a:pt x="176" y="1741"/>
                  </a:lnTo>
                  <a:lnTo>
                    <a:pt x="161" y="1718"/>
                  </a:lnTo>
                  <a:lnTo>
                    <a:pt x="147" y="1693"/>
                  </a:lnTo>
                  <a:lnTo>
                    <a:pt x="134" y="1669"/>
                  </a:lnTo>
                  <a:lnTo>
                    <a:pt x="121" y="1644"/>
                  </a:lnTo>
                  <a:lnTo>
                    <a:pt x="109" y="1619"/>
                  </a:lnTo>
                  <a:lnTo>
                    <a:pt x="97" y="1594"/>
                  </a:lnTo>
                  <a:lnTo>
                    <a:pt x="86" y="1569"/>
                  </a:lnTo>
                  <a:lnTo>
                    <a:pt x="76" y="1543"/>
                  </a:lnTo>
                  <a:lnTo>
                    <a:pt x="66" y="1517"/>
                  </a:lnTo>
                  <a:lnTo>
                    <a:pt x="57" y="1490"/>
                  </a:lnTo>
                  <a:lnTo>
                    <a:pt x="48" y="1464"/>
                  </a:lnTo>
                  <a:lnTo>
                    <a:pt x="41" y="1437"/>
                  </a:lnTo>
                  <a:lnTo>
                    <a:pt x="33" y="1410"/>
                  </a:lnTo>
                  <a:lnTo>
                    <a:pt x="27" y="1383"/>
                  </a:lnTo>
                  <a:lnTo>
                    <a:pt x="21" y="1356"/>
                  </a:lnTo>
                  <a:lnTo>
                    <a:pt x="16" y="1329"/>
                  </a:lnTo>
                  <a:lnTo>
                    <a:pt x="12" y="1301"/>
                  </a:lnTo>
                  <a:lnTo>
                    <a:pt x="8" y="1274"/>
                  </a:lnTo>
                  <a:lnTo>
                    <a:pt x="5" y="1246"/>
                  </a:lnTo>
                  <a:lnTo>
                    <a:pt x="2" y="1218"/>
                  </a:lnTo>
                  <a:lnTo>
                    <a:pt x="1" y="1190"/>
                  </a:lnTo>
                  <a:lnTo>
                    <a:pt x="0" y="1163"/>
                  </a:lnTo>
                  <a:lnTo>
                    <a:pt x="0" y="1134"/>
                  </a:lnTo>
                  <a:lnTo>
                    <a:pt x="0" y="1106"/>
                  </a:lnTo>
                  <a:lnTo>
                    <a:pt x="1" y="1078"/>
                  </a:lnTo>
                  <a:lnTo>
                    <a:pt x="3" y="1050"/>
                  </a:lnTo>
                  <a:lnTo>
                    <a:pt x="5" y="1022"/>
                  </a:lnTo>
                  <a:lnTo>
                    <a:pt x="8" y="995"/>
                  </a:lnTo>
                  <a:lnTo>
                    <a:pt x="12" y="967"/>
                  </a:lnTo>
                  <a:lnTo>
                    <a:pt x="16" y="940"/>
                  </a:lnTo>
                  <a:lnTo>
                    <a:pt x="21" y="912"/>
                  </a:lnTo>
                  <a:lnTo>
                    <a:pt x="27" y="885"/>
                  </a:lnTo>
                  <a:lnTo>
                    <a:pt x="34" y="858"/>
                  </a:lnTo>
                  <a:lnTo>
                    <a:pt x="41" y="831"/>
                  </a:lnTo>
                  <a:lnTo>
                    <a:pt x="49" y="805"/>
                  </a:lnTo>
                  <a:lnTo>
                    <a:pt x="57" y="778"/>
                  </a:lnTo>
                  <a:lnTo>
                    <a:pt x="66" y="752"/>
                  </a:lnTo>
                  <a:lnTo>
                    <a:pt x="71" y="739"/>
                  </a:lnTo>
                  <a:lnTo>
                    <a:pt x="76" y="726"/>
                  </a:lnTo>
                  <a:lnTo>
                    <a:pt x="86" y="700"/>
                  </a:lnTo>
                  <a:lnTo>
                    <a:pt x="97" y="674"/>
                  </a:lnTo>
                  <a:lnTo>
                    <a:pt x="108" y="649"/>
                  </a:lnTo>
                  <a:lnTo>
                    <a:pt x="121" y="624"/>
                  </a:lnTo>
                  <a:lnTo>
                    <a:pt x="133" y="599"/>
                  </a:lnTo>
                  <a:lnTo>
                    <a:pt x="147" y="575"/>
                  </a:lnTo>
                  <a:lnTo>
                    <a:pt x="161" y="551"/>
                  </a:lnTo>
                  <a:lnTo>
                    <a:pt x="175" y="527"/>
                  </a:lnTo>
                  <a:lnTo>
                    <a:pt x="190" y="504"/>
                  </a:lnTo>
                  <a:lnTo>
                    <a:pt x="206" y="481"/>
                  </a:lnTo>
                  <a:lnTo>
                    <a:pt x="222" y="458"/>
                  </a:lnTo>
                  <a:lnTo>
                    <a:pt x="239" y="436"/>
                  </a:lnTo>
                  <a:lnTo>
                    <a:pt x="257" y="414"/>
                  </a:lnTo>
                  <a:lnTo>
                    <a:pt x="275" y="393"/>
                  </a:lnTo>
                  <a:lnTo>
                    <a:pt x="293" y="372"/>
                  </a:lnTo>
                  <a:lnTo>
                    <a:pt x="303" y="362"/>
                  </a:lnTo>
                  <a:lnTo>
                    <a:pt x="312" y="352"/>
                  </a:lnTo>
                  <a:lnTo>
                    <a:pt x="332" y="332"/>
                  </a:lnTo>
                  <a:lnTo>
                    <a:pt x="352" y="312"/>
                  </a:lnTo>
                  <a:lnTo>
                    <a:pt x="372" y="293"/>
                  </a:lnTo>
                  <a:lnTo>
                    <a:pt x="393" y="275"/>
                  </a:lnTo>
                  <a:lnTo>
                    <a:pt x="414" y="257"/>
                  </a:lnTo>
                  <a:lnTo>
                    <a:pt x="436" y="240"/>
                  </a:lnTo>
                  <a:lnTo>
                    <a:pt x="458" y="223"/>
                  </a:lnTo>
                  <a:lnTo>
                    <a:pt x="481" y="207"/>
                  </a:lnTo>
                  <a:lnTo>
                    <a:pt x="504" y="191"/>
                  </a:lnTo>
                  <a:lnTo>
                    <a:pt x="527" y="176"/>
                  </a:lnTo>
                  <a:lnTo>
                    <a:pt x="551" y="161"/>
                  </a:lnTo>
                  <a:lnTo>
                    <a:pt x="576" y="147"/>
                  </a:lnTo>
                  <a:lnTo>
                    <a:pt x="600" y="134"/>
                  </a:lnTo>
                  <a:lnTo>
                    <a:pt x="625" y="121"/>
                  </a:lnTo>
                  <a:lnTo>
                    <a:pt x="650" y="109"/>
                  </a:lnTo>
                  <a:lnTo>
                    <a:pt x="675" y="97"/>
                  </a:lnTo>
                  <a:lnTo>
                    <a:pt x="701" y="86"/>
                  </a:lnTo>
                  <a:lnTo>
                    <a:pt x="726" y="76"/>
                  </a:lnTo>
                  <a:lnTo>
                    <a:pt x="753" y="66"/>
                  </a:lnTo>
                  <a:lnTo>
                    <a:pt x="779" y="57"/>
                  </a:lnTo>
                  <a:lnTo>
                    <a:pt x="805" y="48"/>
                  </a:lnTo>
                  <a:lnTo>
                    <a:pt x="832" y="41"/>
                  </a:lnTo>
                  <a:lnTo>
                    <a:pt x="859" y="33"/>
                  </a:lnTo>
                  <a:lnTo>
                    <a:pt x="886" y="27"/>
                  </a:lnTo>
                  <a:lnTo>
                    <a:pt x="913" y="21"/>
                  </a:lnTo>
                  <a:lnTo>
                    <a:pt x="941" y="16"/>
                  </a:lnTo>
                  <a:lnTo>
                    <a:pt x="968" y="12"/>
                  </a:lnTo>
                  <a:lnTo>
                    <a:pt x="996" y="8"/>
                  </a:lnTo>
                  <a:lnTo>
                    <a:pt x="1023" y="5"/>
                  </a:lnTo>
                  <a:lnTo>
                    <a:pt x="1051" y="2"/>
                  </a:lnTo>
                  <a:lnTo>
                    <a:pt x="1079" y="1"/>
                  </a:lnTo>
                  <a:lnTo>
                    <a:pt x="1107" y="0"/>
                  </a:lnTo>
                  <a:lnTo>
                    <a:pt x="1135" y="0"/>
                  </a:lnTo>
                  <a:lnTo>
                    <a:pt x="1135" y="567"/>
                  </a:lnTo>
                  <a:lnTo>
                    <a:pt x="1135" y="1134"/>
                  </a:lnTo>
                  <a:close/>
                </a:path>
              </a:pathLst>
            </a:custGeom>
            <a:pattFill prst="wdUpDiag">
              <a:fgClr>
                <a:schemeClr val="tx2">
                  <a:lumMod val="20000"/>
                  <a:lumOff val="80000"/>
                </a:schemeClr>
              </a:fgClr>
              <a:bgClr>
                <a:schemeClr val="bg1"/>
              </a:bgClr>
            </a:pattFill>
            <a:ln w="6350" cmpd="sng">
              <a:noFill/>
              <a:round/>
              <a:headEnd/>
              <a:tailEnd/>
            </a:ln>
          </p:spPr>
          <p:txBody>
            <a:bodyPr lIns="45720" rIns="45720" anchor="ctr" anchorCtr="1"/>
            <a:lstStyle/>
            <a:p>
              <a:endParaRPr lang="en-US" sz="1100" dirty="0"/>
            </a:p>
          </p:txBody>
        </p:sp>
        <p:sp>
          <p:nvSpPr>
            <p:cNvPr id="85" name="Text Box 85">
              <a:extLst>
                <a:ext uri="{FF2B5EF4-FFF2-40B4-BE49-F238E27FC236}">
                  <a16:creationId xmlns:a16="http://schemas.microsoft.com/office/drawing/2014/main" id="{4DEEC067-A75A-4727-BA8F-AFC9B7DC08E2}"/>
                </a:ext>
              </a:extLst>
            </p:cNvPr>
            <p:cNvSpPr txBox="1">
              <a:spLocks noChangeArrowheads="1"/>
            </p:cNvSpPr>
            <p:nvPr/>
          </p:nvSpPr>
          <p:spPr bwMode="auto">
            <a:xfrm>
              <a:off x="540" y="1734"/>
              <a:ext cx="259" cy="161"/>
            </a:xfrm>
            <a:prstGeom prst="rect">
              <a:avLst/>
            </a:prstGeom>
            <a:noFill/>
            <a:ln w="6350">
              <a:noFill/>
              <a:miter lim="800000"/>
              <a:headEnd/>
              <a:tailEnd/>
            </a:ln>
            <a:effectLst/>
          </p:spPr>
          <p:txBody>
            <a:bodyPr lIns="45720" rIns="45720" anchor="ctr" anchorCtr="1"/>
            <a:lstStyle/>
            <a:p>
              <a:pPr eaLnBrk="0" hangingPunct="0"/>
              <a:r>
                <a:rPr lang="en-US" sz="1100">
                  <a:solidFill>
                    <a:schemeClr val="tx1"/>
                  </a:solidFill>
                </a:rPr>
                <a:t>Text</a:t>
              </a:r>
            </a:p>
          </p:txBody>
        </p:sp>
        <p:sp>
          <p:nvSpPr>
            <p:cNvPr id="86" name="Text Box 86">
              <a:extLst>
                <a:ext uri="{FF2B5EF4-FFF2-40B4-BE49-F238E27FC236}">
                  <a16:creationId xmlns:a16="http://schemas.microsoft.com/office/drawing/2014/main" id="{B39BB192-04D4-41B6-BFBA-3BADC64DB5D0}"/>
                </a:ext>
              </a:extLst>
            </p:cNvPr>
            <p:cNvSpPr txBox="1">
              <a:spLocks noChangeArrowheads="1"/>
            </p:cNvSpPr>
            <p:nvPr/>
          </p:nvSpPr>
          <p:spPr bwMode="auto">
            <a:xfrm>
              <a:off x="1125" y="1734"/>
              <a:ext cx="259" cy="161"/>
            </a:xfrm>
            <a:prstGeom prst="rect">
              <a:avLst/>
            </a:prstGeom>
            <a:noFill/>
            <a:ln w="6350">
              <a:noFill/>
              <a:miter lim="800000"/>
              <a:headEnd/>
              <a:tailEnd/>
            </a:ln>
            <a:effectLst/>
          </p:spPr>
          <p:txBody>
            <a:bodyPr lIns="45720" rIns="45720" anchor="ctr" anchorCtr="1"/>
            <a:lstStyle/>
            <a:p>
              <a:pPr eaLnBrk="0" hangingPunct="0"/>
              <a:r>
                <a:rPr lang="en-US" sz="1100" b="1" dirty="0">
                  <a:solidFill>
                    <a:schemeClr val="bg1"/>
                  </a:solidFill>
                </a:rPr>
                <a:t>Text</a:t>
              </a:r>
            </a:p>
          </p:txBody>
        </p:sp>
      </p:grpSp>
      <p:grpSp>
        <p:nvGrpSpPr>
          <p:cNvPr id="96" name="Group 96" descr="Segment 2">
            <a:extLst>
              <a:ext uri="{FF2B5EF4-FFF2-40B4-BE49-F238E27FC236}">
                <a16:creationId xmlns:a16="http://schemas.microsoft.com/office/drawing/2014/main" id="{FDD7C189-EEFB-43D1-A25A-0DED66662BB5}"/>
              </a:ext>
            </a:extLst>
          </p:cNvPr>
          <p:cNvGrpSpPr>
            <a:grpSpLocks/>
          </p:cNvGrpSpPr>
          <p:nvPr/>
        </p:nvGrpSpPr>
        <p:grpSpPr bwMode="auto">
          <a:xfrm>
            <a:off x="4129014" y="1756707"/>
            <a:ext cx="1860550" cy="1860550"/>
            <a:chOff x="1812" y="1228"/>
            <a:chExt cx="1172" cy="1172"/>
          </a:xfrm>
        </p:grpSpPr>
        <p:sp>
          <p:nvSpPr>
            <p:cNvPr id="97" name="Freeform 97">
              <a:extLst>
                <a:ext uri="{FF2B5EF4-FFF2-40B4-BE49-F238E27FC236}">
                  <a16:creationId xmlns:a16="http://schemas.microsoft.com/office/drawing/2014/main" id="{AB0DABA0-5C88-4346-BE77-CAA0E55E4DA4}"/>
                </a:ext>
              </a:extLst>
            </p:cNvPr>
            <p:cNvSpPr>
              <a:spLocks/>
            </p:cNvSpPr>
            <p:nvPr/>
          </p:nvSpPr>
          <p:spPr bwMode="auto">
            <a:xfrm>
              <a:off x="2398" y="1228"/>
              <a:ext cx="586" cy="879"/>
            </a:xfrm>
            <a:custGeom>
              <a:avLst/>
              <a:gdLst/>
              <a:ahLst/>
              <a:cxnLst>
                <a:cxn ang="0">
                  <a:pos x="0" y="568"/>
                </a:cxn>
                <a:cxn ang="0">
                  <a:pos x="28" y="0"/>
                </a:cxn>
                <a:cxn ang="0">
                  <a:pos x="84" y="3"/>
                </a:cxn>
                <a:cxn ang="0">
                  <a:pos x="139" y="9"/>
                </a:cxn>
                <a:cxn ang="0">
                  <a:pos x="194" y="17"/>
                </a:cxn>
                <a:cxn ang="0">
                  <a:pos x="249" y="28"/>
                </a:cxn>
                <a:cxn ang="0">
                  <a:pos x="303" y="41"/>
                </a:cxn>
                <a:cxn ang="0">
                  <a:pos x="356" y="57"/>
                </a:cxn>
                <a:cxn ang="0">
                  <a:pos x="395" y="71"/>
                </a:cxn>
                <a:cxn ang="0">
                  <a:pos x="434" y="86"/>
                </a:cxn>
                <a:cxn ang="0">
                  <a:pos x="485" y="109"/>
                </a:cxn>
                <a:cxn ang="0">
                  <a:pos x="535" y="134"/>
                </a:cxn>
                <a:cxn ang="0">
                  <a:pos x="584" y="161"/>
                </a:cxn>
                <a:cxn ang="0">
                  <a:pos x="631" y="191"/>
                </a:cxn>
                <a:cxn ang="0">
                  <a:pos x="677" y="223"/>
                </a:cxn>
                <a:cxn ang="0">
                  <a:pos x="721" y="257"/>
                </a:cxn>
                <a:cxn ang="0">
                  <a:pos x="763" y="294"/>
                </a:cxn>
                <a:cxn ang="0">
                  <a:pos x="783" y="313"/>
                </a:cxn>
                <a:cxn ang="0">
                  <a:pos x="823" y="352"/>
                </a:cxn>
                <a:cxn ang="0">
                  <a:pos x="860" y="393"/>
                </a:cxn>
                <a:cxn ang="0">
                  <a:pos x="895" y="436"/>
                </a:cxn>
                <a:cxn ang="0">
                  <a:pos x="928" y="481"/>
                </a:cxn>
                <a:cxn ang="0">
                  <a:pos x="959" y="527"/>
                </a:cxn>
                <a:cxn ang="0">
                  <a:pos x="988" y="576"/>
                </a:cxn>
                <a:cxn ang="0">
                  <a:pos x="1014" y="625"/>
                </a:cxn>
                <a:cxn ang="0">
                  <a:pos x="1038" y="675"/>
                </a:cxn>
                <a:cxn ang="0">
                  <a:pos x="1059" y="727"/>
                </a:cxn>
                <a:cxn ang="0">
                  <a:pos x="1078" y="779"/>
                </a:cxn>
                <a:cxn ang="0">
                  <a:pos x="1094" y="832"/>
                </a:cxn>
                <a:cxn ang="0">
                  <a:pos x="1108" y="886"/>
                </a:cxn>
                <a:cxn ang="0">
                  <a:pos x="1119" y="941"/>
                </a:cxn>
                <a:cxn ang="0">
                  <a:pos x="1127" y="996"/>
                </a:cxn>
                <a:cxn ang="0">
                  <a:pos x="1132" y="1051"/>
                </a:cxn>
                <a:cxn ang="0">
                  <a:pos x="1135" y="1107"/>
                </a:cxn>
                <a:cxn ang="0">
                  <a:pos x="1135" y="1172"/>
                </a:cxn>
                <a:cxn ang="0">
                  <a:pos x="1130" y="1246"/>
                </a:cxn>
                <a:cxn ang="0">
                  <a:pos x="1123" y="1301"/>
                </a:cxn>
                <a:cxn ang="0">
                  <a:pos x="1113" y="1356"/>
                </a:cxn>
                <a:cxn ang="0">
                  <a:pos x="1096" y="1428"/>
                </a:cxn>
                <a:cxn ang="0">
                  <a:pos x="1086" y="1464"/>
                </a:cxn>
                <a:cxn ang="0">
                  <a:pos x="1063" y="1534"/>
                </a:cxn>
                <a:cxn ang="0">
                  <a:pos x="1034" y="1603"/>
                </a:cxn>
                <a:cxn ang="0">
                  <a:pos x="1001" y="1670"/>
                </a:cxn>
                <a:cxn ang="0">
                  <a:pos x="983" y="1702"/>
                </a:cxn>
                <a:cxn ang="0">
                  <a:pos x="0" y="1135"/>
                </a:cxn>
              </a:cxnLst>
              <a:rect l="0" t="0" r="r" b="b"/>
              <a:pathLst>
                <a:path w="1135" h="1702">
                  <a:moveTo>
                    <a:pt x="0" y="1135"/>
                  </a:moveTo>
                  <a:lnTo>
                    <a:pt x="0" y="568"/>
                  </a:lnTo>
                  <a:lnTo>
                    <a:pt x="0" y="0"/>
                  </a:lnTo>
                  <a:lnTo>
                    <a:pt x="28" y="0"/>
                  </a:lnTo>
                  <a:lnTo>
                    <a:pt x="56" y="1"/>
                  </a:lnTo>
                  <a:lnTo>
                    <a:pt x="84" y="3"/>
                  </a:lnTo>
                  <a:lnTo>
                    <a:pt x="112" y="5"/>
                  </a:lnTo>
                  <a:lnTo>
                    <a:pt x="139" y="9"/>
                  </a:lnTo>
                  <a:lnTo>
                    <a:pt x="167" y="12"/>
                  </a:lnTo>
                  <a:lnTo>
                    <a:pt x="194" y="17"/>
                  </a:lnTo>
                  <a:lnTo>
                    <a:pt x="222" y="22"/>
                  </a:lnTo>
                  <a:lnTo>
                    <a:pt x="249" y="28"/>
                  </a:lnTo>
                  <a:lnTo>
                    <a:pt x="276" y="34"/>
                  </a:lnTo>
                  <a:lnTo>
                    <a:pt x="303" y="41"/>
                  </a:lnTo>
                  <a:lnTo>
                    <a:pt x="329" y="49"/>
                  </a:lnTo>
                  <a:lnTo>
                    <a:pt x="356" y="57"/>
                  </a:lnTo>
                  <a:lnTo>
                    <a:pt x="382" y="66"/>
                  </a:lnTo>
                  <a:lnTo>
                    <a:pt x="395" y="71"/>
                  </a:lnTo>
                  <a:lnTo>
                    <a:pt x="408" y="76"/>
                  </a:lnTo>
                  <a:lnTo>
                    <a:pt x="434" y="86"/>
                  </a:lnTo>
                  <a:lnTo>
                    <a:pt x="460" y="97"/>
                  </a:lnTo>
                  <a:lnTo>
                    <a:pt x="485" y="109"/>
                  </a:lnTo>
                  <a:lnTo>
                    <a:pt x="510" y="121"/>
                  </a:lnTo>
                  <a:lnTo>
                    <a:pt x="535" y="134"/>
                  </a:lnTo>
                  <a:lnTo>
                    <a:pt x="559" y="147"/>
                  </a:lnTo>
                  <a:lnTo>
                    <a:pt x="584" y="161"/>
                  </a:lnTo>
                  <a:lnTo>
                    <a:pt x="608" y="176"/>
                  </a:lnTo>
                  <a:lnTo>
                    <a:pt x="631" y="191"/>
                  </a:lnTo>
                  <a:lnTo>
                    <a:pt x="654" y="207"/>
                  </a:lnTo>
                  <a:lnTo>
                    <a:pt x="677" y="223"/>
                  </a:lnTo>
                  <a:lnTo>
                    <a:pt x="699" y="240"/>
                  </a:lnTo>
                  <a:lnTo>
                    <a:pt x="721" y="257"/>
                  </a:lnTo>
                  <a:lnTo>
                    <a:pt x="742" y="275"/>
                  </a:lnTo>
                  <a:lnTo>
                    <a:pt x="763" y="294"/>
                  </a:lnTo>
                  <a:lnTo>
                    <a:pt x="773" y="303"/>
                  </a:lnTo>
                  <a:lnTo>
                    <a:pt x="783" y="313"/>
                  </a:lnTo>
                  <a:lnTo>
                    <a:pt x="803" y="332"/>
                  </a:lnTo>
                  <a:lnTo>
                    <a:pt x="823" y="352"/>
                  </a:lnTo>
                  <a:lnTo>
                    <a:pt x="842" y="372"/>
                  </a:lnTo>
                  <a:lnTo>
                    <a:pt x="860" y="393"/>
                  </a:lnTo>
                  <a:lnTo>
                    <a:pt x="878" y="415"/>
                  </a:lnTo>
                  <a:lnTo>
                    <a:pt x="895" y="436"/>
                  </a:lnTo>
                  <a:lnTo>
                    <a:pt x="912" y="458"/>
                  </a:lnTo>
                  <a:lnTo>
                    <a:pt x="928" y="481"/>
                  </a:lnTo>
                  <a:lnTo>
                    <a:pt x="944" y="504"/>
                  </a:lnTo>
                  <a:lnTo>
                    <a:pt x="959" y="527"/>
                  </a:lnTo>
                  <a:lnTo>
                    <a:pt x="974" y="551"/>
                  </a:lnTo>
                  <a:lnTo>
                    <a:pt x="988" y="576"/>
                  </a:lnTo>
                  <a:lnTo>
                    <a:pt x="1001" y="600"/>
                  </a:lnTo>
                  <a:lnTo>
                    <a:pt x="1014" y="625"/>
                  </a:lnTo>
                  <a:lnTo>
                    <a:pt x="1026" y="650"/>
                  </a:lnTo>
                  <a:lnTo>
                    <a:pt x="1038" y="675"/>
                  </a:lnTo>
                  <a:lnTo>
                    <a:pt x="1049" y="701"/>
                  </a:lnTo>
                  <a:lnTo>
                    <a:pt x="1059" y="727"/>
                  </a:lnTo>
                  <a:lnTo>
                    <a:pt x="1069" y="753"/>
                  </a:lnTo>
                  <a:lnTo>
                    <a:pt x="1078" y="779"/>
                  </a:lnTo>
                  <a:lnTo>
                    <a:pt x="1086" y="806"/>
                  </a:lnTo>
                  <a:lnTo>
                    <a:pt x="1094" y="832"/>
                  </a:lnTo>
                  <a:lnTo>
                    <a:pt x="1101" y="859"/>
                  </a:lnTo>
                  <a:lnTo>
                    <a:pt x="1108" y="886"/>
                  </a:lnTo>
                  <a:lnTo>
                    <a:pt x="1114" y="914"/>
                  </a:lnTo>
                  <a:lnTo>
                    <a:pt x="1119" y="941"/>
                  </a:lnTo>
                  <a:lnTo>
                    <a:pt x="1123" y="968"/>
                  </a:lnTo>
                  <a:lnTo>
                    <a:pt x="1127" y="996"/>
                  </a:lnTo>
                  <a:lnTo>
                    <a:pt x="1130" y="1024"/>
                  </a:lnTo>
                  <a:lnTo>
                    <a:pt x="1132" y="1051"/>
                  </a:lnTo>
                  <a:lnTo>
                    <a:pt x="1134" y="1079"/>
                  </a:lnTo>
                  <a:lnTo>
                    <a:pt x="1135" y="1107"/>
                  </a:lnTo>
                  <a:lnTo>
                    <a:pt x="1135" y="1135"/>
                  </a:lnTo>
                  <a:lnTo>
                    <a:pt x="1135" y="1172"/>
                  </a:lnTo>
                  <a:lnTo>
                    <a:pt x="1133" y="1209"/>
                  </a:lnTo>
                  <a:lnTo>
                    <a:pt x="1130" y="1246"/>
                  </a:lnTo>
                  <a:lnTo>
                    <a:pt x="1125" y="1283"/>
                  </a:lnTo>
                  <a:lnTo>
                    <a:pt x="1123" y="1301"/>
                  </a:lnTo>
                  <a:lnTo>
                    <a:pt x="1120" y="1320"/>
                  </a:lnTo>
                  <a:lnTo>
                    <a:pt x="1113" y="1356"/>
                  </a:lnTo>
                  <a:lnTo>
                    <a:pt x="1106" y="1392"/>
                  </a:lnTo>
                  <a:lnTo>
                    <a:pt x="1096" y="1428"/>
                  </a:lnTo>
                  <a:lnTo>
                    <a:pt x="1092" y="1446"/>
                  </a:lnTo>
                  <a:lnTo>
                    <a:pt x="1086" y="1464"/>
                  </a:lnTo>
                  <a:lnTo>
                    <a:pt x="1075" y="1499"/>
                  </a:lnTo>
                  <a:lnTo>
                    <a:pt x="1063" y="1534"/>
                  </a:lnTo>
                  <a:lnTo>
                    <a:pt x="1049" y="1569"/>
                  </a:lnTo>
                  <a:lnTo>
                    <a:pt x="1034" y="1603"/>
                  </a:lnTo>
                  <a:lnTo>
                    <a:pt x="1018" y="1637"/>
                  </a:lnTo>
                  <a:lnTo>
                    <a:pt x="1001" y="1670"/>
                  </a:lnTo>
                  <a:lnTo>
                    <a:pt x="992" y="1686"/>
                  </a:lnTo>
                  <a:lnTo>
                    <a:pt x="983" y="1702"/>
                  </a:lnTo>
                  <a:lnTo>
                    <a:pt x="491" y="1418"/>
                  </a:lnTo>
                  <a:lnTo>
                    <a:pt x="0" y="1135"/>
                  </a:lnTo>
                  <a:close/>
                </a:path>
              </a:pathLst>
            </a:custGeom>
            <a:solidFill>
              <a:schemeClr val="accent1"/>
            </a:solidFill>
            <a:ln w="6350" cmpd="sng">
              <a:noFill/>
              <a:round/>
              <a:headEnd/>
              <a:tailEnd/>
            </a:ln>
          </p:spPr>
          <p:txBody>
            <a:bodyPr lIns="45720" rIns="45720" anchor="ctr" anchorCtr="1"/>
            <a:lstStyle/>
            <a:p>
              <a:endParaRPr lang="en-US" sz="1100" b="1"/>
            </a:p>
          </p:txBody>
        </p:sp>
        <p:sp>
          <p:nvSpPr>
            <p:cNvPr id="98" name="Freeform 98">
              <a:extLst>
                <a:ext uri="{FF2B5EF4-FFF2-40B4-BE49-F238E27FC236}">
                  <a16:creationId xmlns:a16="http://schemas.microsoft.com/office/drawing/2014/main" id="{AC7C09CF-9BFD-4576-AD15-7D2179150E99}"/>
                </a:ext>
              </a:extLst>
            </p:cNvPr>
            <p:cNvSpPr>
              <a:spLocks/>
            </p:cNvSpPr>
            <p:nvPr/>
          </p:nvSpPr>
          <p:spPr bwMode="auto">
            <a:xfrm>
              <a:off x="1891" y="1814"/>
              <a:ext cx="1015" cy="586"/>
            </a:xfrm>
            <a:custGeom>
              <a:avLst/>
              <a:gdLst/>
              <a:ahLst/>
              <a:cxnLst>
                <a:cxn ang="0">
                  <a:pos x="1473" y="283"/>
                </a:cxn>
                <a:cxn ang="0">
                  <a:pos x="1951" y="592"/>
                </a:cxn>
                <a:cxn ang="0">
                  <a:pos x="1921" y="639"/>
                </a:cxn>
                <a:cxn ang="0">
                  <a:pos x="1889" y="684"/>
                </a:cxn>
                <a:cxn ang="0">
                  <a:pos x="1854" y="727"/>
                </a:cxn>
                <a:cxn ang="0">
                  <a:pos x="1817" y="769"/>
                </a:cxn>
                <a:cxn ang="0">
                  <a:pos x="1778" y="809"/>
                </a:cxn>
                <a:cxn ang="0">
                  <a:pos x="1738" y="847"/>
                </a:cxn>
                <a:cxn ang="0">
                  <a:pos x="1695" y="883"/>
                </a:cxn>
                <a:cxn ang="0">
                  <a:pos x="1651" y="917"/>
                </a:cxn>
                <a:cxn ang="0">
                  <a:pos x="1606" y="949"/>
                </a:cxn>
                <a:cxn ang="0">
                  <a:pos x="1558" y="978"/>
                </a:cxn>
                <a:cxn ang="0">
                  <a:pos x="1509" y="1006"/>
                </a:cxn>
                <a:cxn ang="0">
                  <a:pos x="1459" y="1030"/>
                </a:cxn>
                <a:cxn ang="0">
                  <a:pos x="1408" y="1052"/>
                </a:cxn>
                <a:cxn ang="0">
                  <a:pos x="1356" y="1072"/>
                </a:cxn>
                <a:cxn ang="0">
                  <a:pos x="1303" y="1089"/>
                </a:cxn>
                <a:cxn ang="0">
                  <a:pos x="1249" y="1103"/>
                </a:cxn>
                <a:cxn ang="0">
                  <a:pos x="1194" y="1115"/>
                </a:cxn>
                <a:cxn ang="0">
                  <a:pos x="1140" y="1124"/>
                </a:cxn>
                <a:cxn ang="0">
                  <a:pos x="1084" y="1130"/>
                </a:cxn>
                <a:cxn ang="0">
                  <a:pos x="1029" y="1134"/>
                </a:cxn>
                <a:cxn ang="0">
                  <a:pos x="973" y="1135"/>
                </a:cxn>
                <a:cxn ang="0">
                  <a:pos x="918" y="1133"/>
                </a:cxn>
                <a:cxn ang="0">
                  <a:pos x="862" y="1128"/>
                </a:cxn>
                <a:cxn ang="0">
                  <a:pos x="807" y="1121"/>
                </a:cxn>
                <a:cxn ang="0">
                  <a:pos x="752" y="1111"/>
                </a:cxn>
                <a:cxn ang="0">
                  <a:pos x="698" y="1099"/>
                </a:cxn>
                <a:cxn ang="0">
                  <a:pos x="644" y="1084"/>
                </a:cxn>
                <a:cxn ang="0">
                  <a:pos x="592" y="1066"/>
                </a:cxn>
                <a:cxn ang="0">
                  <a:pos x="540" y="1045"/>
                </a:cxn>
                <a:cxn ang="0">
                  <a:pos x="489" y="1022"/>
                </a:cxn>
                <a:cxn ang="0">
                  <a:pos x="440" y="997"/>
                </a:cxn>
                <a:cxn ang="0">
                  <a:pos x="383" y="964"/>
                </a:cxn>
                <a:cxn ang="0">
                  <a:pos x="321" y="923"/>
                </a:cxn>
                <a:cxn ang="0">
                  <a:pos x="262" y="877"/>
                </a:cxn>
                <a:cxn ang="0">
                  <a:pos x="234" y="853"/>
                </a:cxn>
                <a:cxn ang="0">
                  <a:pos x="180" y="803"/>
                </a:cxn>
                <a:cxn ang="0">
                  <a:pos x="129" y="749"/>
                </a:cxn>
                <a:cxn ang="0">
                  <a:pos x="105" y="720"/>
                </a:cxn>
                <a:cxn ang="0">
                  <a:pos x="71" y="677"/>
                </a:cxn>
                <a:cxn ang="0">
                  <a:pos x="49" y="646"/>
                </a:cxn>
                <a:cxn ang="0">
                  <a:pos x="19" y="600"/>
                </a:cxn>
                <a:cxn ang="0">
                  <a:pos x="491" y="283"/>
                </a:cxn>
              </a:cxnLst>
              <a:rect l="0" t="0" r="r" b="b"/>
              <a:pathLst>
                <a:path w="1965" h="1135">
                  <a:moveTo>
                    <a:pt x="982" y="0"/>
                  </a:moveTo>
                  <a:lnTo>
                    <a:pt x="1473" y="283"/>
                  </a:lnTo>
                  <a:lnTo>
                    <a:pt x="1965" y="567"/>
                  </a:lnTo>
                  <a:lnTo>
                    <a:pt x="1951" y="592"/>
                  </a:lnTo>
                  <a:lnTo>
                    <a:pt x="1936" y="615"/>
                  </a:lnTo>
                  <a:lnTo>
                    <a:pt x="1921" y="639"/>
                  </a:lnTo>
                  <a:lnTo>
                    <a:pt x="1905" y="662"/>
                  </a:lnTo>
                  <a:lnTo>
                    <a:pt x="1889" y="684"/>
                  </a:lnTo>
                  <a:lnTo>
                    <a:pt x="1871" y="706"/>
                  </a:lnTo>
                  <a:lnTo>
                    <a:pt x="1854" y="727"/>
                  </a:lnTo>
                  <a:lnTo>
                    <a:pt x="1836" y="749"/>
                  </a:lnTo>
                  <a:lnTo>
                    <a:pt x="1817" y="769"/>
                  </a:lnTo>
                  <a:lnTo>
                    <a:pt x="1798" y="790"/>
                  </a:lnTo>
                  <a:lnTo>
                    <a:pt x="1778" y="809"/>
                  </a:lnTo>
                  <a:lnTo>
                    <a:pt x="1758" y="829"/>
                  </a:lnTo>
                  <a:lnTo>
                    <a:pt x="1738" y="847"/>
                  </a:lnTo>
                  <a:lnTo>
                    <a:pt x="1717" y="866"/>
                  </a:lnTo>
                  <a:lnTo>
                    <a:pt x="1695" y="883"/>
                  </a:lnTo>
                  <a:lnTo>
                    <a:pt x="1674" y="901"/>
                  </a:lnTo>
                  <a:lnTo>
                    <a:pt x="1651" y="917"/>
                  </a:lnTo>
                  <a:lnTo>
                    <a:pt x="1629" y="933"/>
                  </a:lnTo>
                  <a:lnTo>
                    <a:pt x="1606" y="949"/>
                  </a:lnTo>
                  <a:lnTo>
                    <a:pt x="1582" y="964"/>
                  </a:lnTo>
                  <a:lnTo>
                    <a:pt x="1558" y="978"/>
                  </a:lnTo>
                  <a:lnTo>
                    <a:pt x="1533" y="992"/>
                  </a:lnTo>
                  <a:lnTo>
                    <a:pt x="1509" y="1006"/>
                  </a:lnTo>
                  <a:lnTo>
                    <a:pt x="1484" y="1018"/>
                  </a:lnTo>
                  <a:lnTo>
                    <a:pt x="1459" y="1030"/>
                  </a:lnTo>
                  <a:lnTo>
                    <a:pt x="1434" y="1042"/>
                  </a:lnTo>
                  <a:lnTo>
                    <a:pt x="1408" y="1052"/>
                  </a:lnTo>
                  <a:lnTo>
                    <a:pt x="1382" y="1063"/>
                  </a:lnTo>
                  <a:lnTo>
                    <a:pt x="1356" y="1072"/>
                  </a:lnTo>
                  <a:lnTo>
                    <a:pt x="1329" y="1081"/>
                  </a:lnTo>
                  <a:lnTo>
                    <a:pt x="1303" y="1089"/>
                  </a:lnTo>
                  <a:lnTo>
                    <a:pt x="1276" y="1096"/>
                  </a:lnTo>
                  <a:lnTo>
                    <a:pt x="1249" y="1103"/>
                  </a:lnTo>
                  <a:lnTo>
                    <a:pt x="1222" y="1109"/>
                  </a:lnTo>
                  <a:lnTo>
                    <a:pt x="1194" y="1115"/>
                  </a:lnTo>
                  <a:lnTo>
                    <a:pt x="1167" y="1120"/>
                  </a:lnTo>
                  <a:lnTo>
                    <a:pt x="1140" y="1124"/>
                  </a:lnTo>
                  <a:lnTo>
                    <a:pt x="1112" y="1127"/>
                  </a:lnTo>
                  <a:lnTo>
                    <a:pt x="1084" y="1130"/>
                  </a:lnTo>
                  <a:lnTo>
                    <a:pt x="1057" y="1132"/>
                  </a:lnTo>
                  <a:lnTo>
                    <a:pt x="1029" y="1134"/>
                  </a:lnTo>
                  <a:lnTo>
                    <a:pt x="1001" y="1135"/>
                  </a:lnTo>
                  <a:lnTo>
                    <a:pt x="973" y="1135"/>
                  </a:lnTo>
                  <a:lnTo>
                    <a:pt x="945" y="1134"/>
                  </a:lnTo>
                  <a:lnTo>
                    <a:pt x="918" y="1133"/>
                  </a:lnTo>
                  <a:lnTo>
                    <a:pt x="890" y="1131"/>
                  </a:lnTo>
                  <a:lnTo>
                    <a:pt x="862" y="1128"/>
                  </a:lnTo>
                  <a:lnTo>
                    <a:pt x="834" y="1125"/>
                  </a:lnTo>
                  <a:lnTo>
                    <a:pt x="807" y="1121"/>
                  </a:lnTo>
                  <a:lnTo>
                    <a:pt x="779" y="1117"/>
                  </a:lnTo>
                  <a:lnTo>
                    <a:pt x="752" y="1111"/>
                  </a:lnTo>
                  <a:lnTo>
                    <a:pt x="725" y="1105"/>
                  </a:lnTo>
                  <a:lnTo>
                    <a:pt x="698" y="1099"/>
                  </a:lnTo>
                  <a:lnTo>
                    <a:pt x="671" y="1092"/>
                  </a:lnTo>
                  <a:lnTo>
                    <a:pt x="644" y="1084"/>
                  </a:lnTo>
                  <a:lnTo>
                    <a:pt x="618" y="1075"/>
                  </a:lnTo>
                  <a:lnTo>
                    <a:pt x="592" y="1066"/>
                  </a:lnTo>
                  <a:lnTo>
                    <a:pt x="566" y="1056"/>
                  </a:lnTo>
                  <a:lnTo>
                    <a:pt x="540" y="1045"/>
                  </a:lnTo>
                  <a:lnTo>
                    <a:pt x="514" y="1034"/>
                  </a:lnTo>
                  <a:lnTo>
                    <a:pt x="489" y="1022"/>
                  </a:lnTo>
                  <a:lnTo>
                    <a:pt x="464" y="1010"/>
                  </a:lnTo>
                  <a:lnTo>
                    <a:pt x="440" y="997"/>
                  </a:lnTo>
                  <a:lnTo>
                    <a:pt x="416" y="983"/>
                  </a:lnTo>
                  <a:lnTo>
                    <a:pt x="383" y="964"/>
                  </a:lnTo>
                  <a:lnTo>
                    <a:pt x="352" y="944"/>
                  </a:lnTo>
                  <a:lnTo>
                    <a:pt x="321" y="923"/>
                  </a:lnTo>
                  <a:lnTo>
                    <a:pt x="291" y="901"/>
                  </a:lnTo>
                  <a:lnTo>
                    <a:pt x="262" y="877"/>
                  </a:lnTo>
                  <a:lnTo>
                    <a:pt x="248" y="866"/>
                  </a:lnTo>
                  <a:lnTo>
                    <a:pt x="234" y="853"/>
                  </a:lnTo>
                  <a:lnTo>
                    <a:pt x="206" y="829"/>
                  </a:lnTo>
                  <a:lnTo>
                    <a:pt x="180" y="803"/>
                  </a:lnTo>
                  <a:lnTo>
                    <a:pt x="154" y="776"/>
                  </a:lnTo>
                  <a:lnTo>
                    <a:pt x="129" y="749"/>
                  </a:lnTo>
                  <a:lnTo>
                    <a:pt x="117" y="735"/>
                  </a:lnTo>
                  <a:lnTo>
                    <a:pt x="105" y="720"/>
                  </a:lnTo>
                  <a:lnTo>
                    <a:pt x="82" y="691"/>
                  </a:lnTo>
                  <a:lnTo>
                    <a:pt x="71" y="677"/>
                  </a:lnTo>
                  <a:lnTo>
                    <a:pt x="60" y="662"/>
                  </a:lnTo>
                  <a:lnTo>
                    <a:pt x="49" y="646"/>
                  </a:lnTo>
                  <a:lnTo>
                    <a:pt x="39" y="631"/>
                  </a:lnTo>
                  <a:lnTo>
                    <a:pt x="19" y="600"/>
                  </a:lnTo>
                  <a:lnTo>
                    <a:pt x="0" y="567"/>
                  </a:lnTo>
                  <a:lnTo>
                    <a:pt x="491" y="283"/>
                  </a:lnTo>
                  <a:lnTo>
                    <a:pt x="982" y="0"/>
                  </a:lnTo>
                  <a:close/>
                </a:path>
              </a:pathLst>
            </a:custGeom>
            <a:solidFill>
              <a:schemeClr val="accent3"/>
            </a:solidFill>
            <a:ln w="6350" cmpd="sng">
              <a:noFill/>
              <a:round/>
              <a:headEnd/>
              <a:tailEnd/>
            </a:ln>
          </p:spPr>
          <p:txBody>
            <a:bodyPr lIns="45720" rIns="45720" anchor="ctr" anchorCtr="1"/>
            <a:lstStyle/>
            <a:p>
              <a:endParaRPr lang="en-US" sz="1100" b="1"/>
            </a:p>
          </p:txBody>
        </p:sp>
        <p:sp>
          <p:nvSpPr>
            <p:cNvPr id="99" name="Freeform 99">
              <a:extLst>
                <a:ext uri="{FF2B5EF4-FFF2-40B4-BE49-F238E27FC236}">
                  <a16:creationId xmlns:a16="http://schemas.microsoft.com/office/drawing/2014/main" id="{192F05D3-D2D3-422E-9030-9530C527E4CE}"/>
                </a:ext>
              </a:extLst>
            </p:cNvPr>
            <p:cNvSpPr>
              <a:spLocks/>
            </p:cNvSpPr>
            <p:nvPr/>
          </p:nvSpPr>
          <p:spPr bwMode="auto">
            <a:xfrm>
              <a:off x="1812" y="1228"/>
              <a:ext cx="586" cy="879"/>
            </a:xfrm>
            <a:custGeom>
              <a:avLst/>
              <a:gdLst/>
              <a:ahLst/>
              <a:cxnLst>
                <a:cxn ang="0">
                  <a:pos x="644" y="1418"/>
                </a:cxn>
                <a:cxn ang="0">
                  <a:pos x="139" y="1678"/>
                </a:cxn>
                <a:cxn ang="0">
                  <a:pos x="113" y="1628"/>
                </a:cxn>
                <a:cxn ang="0">
                  <a:pos x="91" y="1577"/>
                </a:cxn>
                <a:cxn ang="0">
                  <a:pos x="70" y="1526"/>
                </a:cxn>
                <a:cxn ang="0">
                  <a:pos x="52" y="1473"/>
                </a:cxn>
                <a:cxn ang="0">
                  <a:pos x="37" y="1419"/>
                </a:cxn>
                <a:cxn ang="0">
                  <a:pos x="24" y="1365"/>
                </a:cxn>
                <a:cxn ang="0">
                  <a:pos x="14" y="1311"/>
                </a:cxn>
                <a:cxn ang="0">
                  <a:pos x="7" y="1255"/>
                </a:cxn>
                <a:cxn ang="0">
                  <a:pos x="2" y="1200"/>
                </a:cxn>
                <a:cxn ang="0">
                  <a:pos x="0" y="1144"/>
                </a:cxn>
                <a:cxn ang="0">
                  <a:pos x="1" y="1089"/>
                </a:cxn>
                <a:cxn ang="0">
                  <a:pos x="5" y="1033"/>
                </a:cxn>
                <a:cxn ang="0">
                  <a:pos x="11" y="978"/>
                </a:cxn>
                <a:cxn ang="0">
                  <a:pos x="20" y="923"/>
                </a:cxn>
                <a:cxn ang="0">
                  <a:pos x="32" y="868"/>
                </a:cxn>
                <a:cxn ang="0">
                  <a:pos x="47" y="815"/>
                </a:cxn>
                <a:cxn ang="0">
                  <a:pos x="55" y="788"/>
                </a:cxn>
                <a:cxn ang="0">
                  <a:pos x="73" y="736"/>
                </a:cxn>
                <a:cxn ang="0">
                  <a:pos x="94" y="684"/>
                </a:cxn>
                <a:cxn ang="0">
                  <a:pos x="118" y="633"/>
                </a:cxn>
                <a:cxn ang="0">
                  <a:pos x="143" y="584"/>
                </a:cxn>
                <a:cxn ang="0">
                  <a:pos x="172" y="535"/>
                </a:cxn>
                <a:cxn ang="0">
                  <a:pos x="202" y="489"/>
                </a:cxn>
                <a:cxn ang="0">
                  <a:pos x="235" y="444"/>
                </a:cxn>
                <a:cxn ang="0">
                  <a:pos x="270" y="400"/>
                </a:cxn>
                <a:cxn ang="0">
                  <a:pos x="307" y="359"/>
                </a:cxn>
                <a:cxn ang="0">
                  <a:pos x="346" y="319"/>
                </a:cxn>
                <a:cxn ang="0">
                  <a:pos x="387" y="281"/>
                </a:cxn>
                <a:cxn ang="0">
                  <a:pos x="429" y="246"/>
                </a:cxn>
                <a:cxn ang="0">
                  <a:pos x="474" y="212"/>
                </a:cxn>
                <a:cxn ang="0">
                  <a:pos x="520" y="181"/>
                </a:cxn>
                <a:cxn ang="0">
                  <a:pos x="569" y="152"/>
                </a:cxn>
                <a:cxn ang="0">
                  <a:pos x="601" y="134"/>
                </a:cxn>
                <a:cxn ang="0">
                  <a:pos x="651" y="109"/>
                </a:cxn>
                <a:cxn ang="0">
                  <a:pos x="702" y="86"/>
                </a:cxn>
                <a:cxn ang="0">
                  <a:pos x="771" y="60"/>
                </a:cxn>
                <a:cxn ang="0">
                  <a:pos x="842" y="39"/>
                </a:cxn>
                <a:cxn ang="0">
                  <a:pos x="896" y="26"/>
                </a:cxn>
                <a:cxn ang="0">
                  <a:pos x="951" y="15"/>
                </a:cxn>
                <a:cxn ang="0">
                  <a:pos x="1024" y="5"/>
                </a:cxn>
                <a:cxn ang="0">
                  <a:pos x="1080" y="1"/>
                </a:cxn>
                <a:cxn ang="0">
                  <a:pos x="1117" y="0"/>
                </a:cxn>
                <a:cxn ang="0">
                  <a:pos x="1135" y="568"/>
                </a:cxn>
              </a:cxnLst>
              <a:rect l="0" t="0" r="r" b="b"/>
              <a:pathLst>
                <a:path w="1135" h="1702">
                  <a:moveTo>
                    <a:pt x="1135" y="1135"/>
                  </a:moveTo>
                  <a:lnTo>
                    <a:pt x="644" y="1418"/>
                  </a:lnTo>
                  <a:lnTo>
                    <a:pt x="153" y="1702"/>
                  </a:lnTo>
                  <a:lnTo>
                    <a:pt x="139" y="1678"/>
                  </a:lnTo>
                  <a:lnTo>
                    <a:pt x="126" y="1653"/>
                  </a:lnTo>
                  <a:lnTo>
                    <a:pt x="113" y="1628"/>
                  </a:lnTo>
                  <a:lnTo>
                    <a:pt x="102" y="1603"/>
                  </a:lnTo>
                  <a:lnTo>
                    <a:pt x="91" y="1577"/>
                  </a:lnTo>
                  <a:lnTo>
                    <a:pt x="80" y="1552"/>
                  </a:lnTo>
                  <a:lnTo>
                    <a:pt x="70" y="1526"/>
                  </a:lnTo>
                  <a:lnTo>
                    <a:pt x="61" y="1499"/>
                  </a:lnTo>
                  <a:lnTo>
                    <a:pt x="52" y="1473"/>
                  </a:lnTo>
                  <a:lnTo>
                    <a:pt x="44" y="1446"/>
                  </a:lnTo>
                  <a:lnTo>
                    <a:pt x="37" y="1419"/>
                  </a:lnTo>
                  <a:lnTo>
                    <a:pt x="30" y="1392"/>
                  </a:lnTo>
                  <a:lnTo>
                    <a:pt x="24" y="1365"/>
                  </a:lnTo>
                  <a:lnTo>
                    <a:pt x="19" y="1338"/>
                  </a:lnTo>
                  <a:lnTo>
                    <a:pt x="14" y="1311"/>
                  </a:lnTo>
                  <a:lnTo>
                    <a:pt x="10" y="1283"/>
                  </a:lnTo>
                  <a:lnTo>
                    <a:pt x="7" y="1255"/>
                  </a:lnTo>
                  <a:lnTo>
                    <a:pt x="4" y="1228"/>
                  </a:lnTo>
                  <a:lnTo>
                    <a:pt x="2" y="1200"/>
                  </a:lnTo>
                  <a:lnTo>
                    <a:pt x="1" y="1172"/>
                  </a:lnTo>
                  <a:lnTo>
                    <a:pt x="0" y="1144"/>
                  </a:lnTo>
                  <a:lnTo>
                    <a:pt x="1" y="1116"/>
                  </a:lnTo>
                  <a:lnTo>
                    <a:pt x="1" y="1089"/>
                  </a:lnTo>
                  <a:lnTo>
                    <a:pt x="3" y="1061"/>
                  </a:lnTo>
                  <a:lnTo>
                    <a:pt x="5" y="1033"/>
                  </a:lnTo>
                  <a:lnTo>
                    <a:pt x="8" y="1005"/>
                  </a:lnTo>
                  <a:lnTo>
                    <a:pt x="11" y="978"/>
                  </a:lnTo>
                  <a:lnTo>
                    <a:pt x="15" y="950"/>
                  </a:lnTo>
                  <a:lnTo>
                    <a:pt x="20" y="923"/>
                  </a:lnTo>
                  <a:lnTo>
                    <a:pt x="26" y="896"/>
                  </a:lnTo>
                  <a:lnTo>
                    <a:pt x="32" y="868"/>
                  </a:lnTo>
                  <a:lnTo>
                    <a:pt x="39" y="842"/>
                  </a:lnTo>
                  <a:lnTo>
                    <a:pt x="47" y="815"/>
                  </a:lnTo>
                  <a:lnTo>
                    <a:pt x="51" y="801"/>
                  </a:lnTo>
                  <a:lnTo>
                    <a:pt x="55" y="788"/>
                  </a:lnTo>
                  <a:lnTo>
                    <a:pt x="64" y="762"/>
                  </a:lnTo>
                  <a:lnTo>
                    <a:pt x="73" y="736"/>
                  </a:lnTo>
                  <a:lnTo>
                    <a:pt x="83" y="710"/>
                  </a:lnTo>
                  <a:lnTo>
                    <a:pt x="94" y="684"/>
                  </a:lnTo>
                  <a:lnTo>
                    <a:pt x="106" y="659"/>
                  </a:lnTo>
                  <a:lnTo>
                    <a:pt x="118" y="633"/>
                  </a:lnTo>
                  <a:lnTo>
                    <a:pt x="130" y="609"/>
                  </a:lnTo>
                  <a:lnTo>
                    <a:pt x="143" y="584"/>
                  </a:lnTo>
                  <a:lnTo>
                    <a:pt x="157" y="559"/>
                  </a:lnTo>
                  <a:lnTo>
                    <a:pt x="172" y="535"/>
                  </a:lnTo>
                  <a:lnTo>
                    <a:pt x="187" y="512"/>
                  </a:lnTo>
                  <a:lnTo>
                    <a:pt x="202" y="489"/>
                  </a:lnTo>
                  <a:lnTo>
                    <a:pt x="218" y="466"/>
                  </a:lnTo>
                  <a:lnTo>
                    <a:pt x="235" y="444"/>
                  </a:lnTo>
                  <a:lnTo>
                    <a:pt x="252" y="422"/>
                  </a:lnTo>
                  <a:lnTo>
                    <a:pt x="270" y="400"/>
                  </a:lnTo>
                  <a:lnTo>
                    <a:pt x="288" y="379"/>
                  </a:lnTo>
                  <a:lnTo>
                    <a:pt x="307" y="359"/>
                  </a:lnTo>
                  <a:lnTo>
                    <a:pt x="326" y="339"/>
                  </a:lnTo>
                  <a:lnTo>
                    <a:pt x="346" y="319"/>
                  </a:lnTo>
                  <a:lnTo>
                    <a:pt x="366" y="300"/>
                  </a:lnTo>
                  <a:lnTo>
                    <a:pt x="387" y="281"/>
                  </a:lnTo>
                  <a:lnTo>
                    <a:pt x="408" y="263"/>
                  </a:lnTo>
                  <a:lnTo>
                    <a:pt x="429" y="246"/>
                  </a:lnTo>
                  <a:lnTo>
                    <a:pt x="451" y="228"/>
                  </a:lnTo>
                  <a:lnTo>
                    <a:pt x="474" y="212"/>
                  </a:lnTo>
                  <a:lnTo>
                    <a:pt x="497" y="196"/>
                  </a:lnTo>
                  <a:lnTo>
                    <a:pt x="520" y="181"/>
                  </a:lnTo>
                  <a:lnTo>
                    <a:pt x="543" y="166"/>
                  </a:lnTo>
                  <a:lnTo>
                    <a:pt x="569" y="152"/>
                  </a:lnTo>
                  <a:lnTo>
                    <a:pt x="585" y="143"/>
                  </a:lnTo>
                  <a:lnTo>
                    <a:pt x="601" y="134"/>
                  </a:lnTo>
                  <a:lnTo>
                    <a:pt x="634" y="117"/>
                  </a:lnTo>
                  <a:lnTo>
                    <a:pt x="651" y="109"/>
                  </a:lnTo>
                  <a:lnTo>
                    <a:pt x="668" y="101"/>
                  </a:lnTo>
                  <a:lnTo>
                    <a:pt x="702" y="86"/>
                  </a:lnTo>
                  <a:lnTo>
                    <a:pt x="736" y="73"/>
                  </a:lnTo>
                  <a:lnTo>
                    <a:pt x="771" y="60"/>
                  </a:lnTo>
                  <a:lnTo>
                    <a:pt x="806" y="49"/>
                  </a:lnTo>
                  <a:lnTo>
                    <a:pt x="842" y="39"/>
                  </a:lnTo>
                  <a:lnTo>
                    <a:pt x="878" y="30"/>
                  </a:lnTo>
                  <a:lnTo>
                    <a:pt x="896" y="26"/>
                  </a:lnTo>
                  <a:lnTo>
                    <a:pt x="914" y="22"/>
                  </a:lnTo>
                  <a:lnTo>
                    <a:pt x="951" y="15"/>
                  </a:lnTo>
                  <a:lnTo>
                    <a:pt x="987" y="10"/>
                  </a:lnTo>
                  <a:lnTo>
                    <a:pt x="1024" y="5"/>
                  </a:lnTo>
                  <a:lnTo>
                    <a:pt x="1061" y="2"/>
                  </a:lnTo>
                  <a:lnTo>
                    <a:pt x="1080" y="1"/>
                  </a:lnTo>
                  <a:lnTo>
                    <a:pt x="1098" y="1"/>
                  </a:lnTo>
                  <a:lnTo>
                    <a:pt x="1117" y="0"/>
                  </a:lnTo>
                  <a:lnTo>
                    <a:pt x="1135" y="0"/>
                  </a:lnTo>
                  <a:lnTo>
                    <a:pt x="1135" y="568"/>
                  </a:lnTo>
                  <a:lnTo>
                    <a:pt x="1135" y="1135"/>
                  </a:lnTo>
                  <a:close/>
                </a:path>
              </a:pathLst>
            </a:custGeom>
            <a:pattFill prst="wdUpDiag">
              <a:fgClr>
                <a:schemeClr val="tx2">
                  <a:lumMod val="20000"/>
                  <a:lumOff val="80000"/>
                </a:schemeClr>
              </a:fgClr>
              <a:bgClr>
                <a:schemeClr val="bg1"/>
              </a:bgClr>
            </a:pattFill>
            <a:ln w="6350" cmpd="sng">
              <a:noFill/>
              <a:round/>
              <a:headEnd/>
              <a:tailEnd/>
            </a:ln>
          </p:spPr>
          <p:txBody>
            <a:bodyPr lIns="45720" rIns="45720" anchor="ctr" anchorCtr="1"/>
            <a:lstStyle/>
            <a:p>
              <a:endParaRPr lang="en-US" sz="1100" b="1"/>
            </a:p>
          </p:txBody>
        </p:sp>
        <p:sp>
          <p:nvSpPr>
            <p:cNvPr id="100" name="Text Box 100">
              <a:extLst>
                <a:ext uri="{FF2B5EF4-FFF2-40B4-BE49-F238E27FC236}">
                  <a16:creationId xmlns:a16="http://schemas.microsoft.com/office/drawing/2014/main" id="{0F0F0CB8-A37C-4FAF-980B-D17CBB546907}"/>
                </a:ext>
              </a:extLst>
            </p:cNvPr>
            <p:cNvSpPr txBox="1">
              <a:spLocks noChangeArrowheads="1"/>
            </p:cNvSpPr>
            <p:nvPr/>
          </p:nvSpPr>
          <p:spPr bwMode="auto">
            <a:xfrm>
              <a:off x="1976" y="1587"/>
              <a:ext cx="259" cy="161"/>
            </a:xfrm>
            <a:prstGeom prst="rect">
              <a:avLst/>
            </a:prstGeom>
            <a:noFill/>
            <a:ln w="6350">
              <a:noFill/>
              <a:miter lim="800000"/>
              <a:headEnd/>
              <a:tailEnd/>
            </a:ln>
            <a:effectLst/>
          </p:spPr>
          <p:txBody>
            <a:bodyPr lIns="45720" rIns="45720" anchor="ctr" anchorCtr="1"/>
            <a:lstStyle/>
            <a:p>
              <a:pPr eaLnBrk="0" hangingPunct="0"/>
              <a:r>
                <a:rPr lang="en-US" sz="1100" dirty="0">
                  <a:solidFill>
                    <a:schemeClr val="tx1"/>
                  </a:solidFill>
                </a:rPr>
                <a:t>Text</a:t>
              </a:r>
            </a:p>
          </p:txBody>
        </p:sp>
        <p:sp>
          <p:nvSpPr>
            <p:cNvPr id="101" name="Text Box 101">
              <a:extLst>
                <a:ext uri="{FF2B5EF4-FFF2-40B4-BE49-F238E27FC236}">
                  <a16:creationId xmlns:a16="http://schemas.microsoft.com/office/drawing/2014/main" id="{735731AB-2B2A-4265-8556-8BAE1A91F30F}"/>
                </a:ext>
              </a:extLst>
            </p:cNvPr>
            <p:cNvSpPr txBox="1">
              <a:spLocks noChangeArrowheads="1"/>
            </p:cNvSpPr>
            <p:nvPr/>
          </p:nvSpPr>
          <p:spPr bwMode="auto">
            <a:xfrm>
              <a:off x="2269" y="2027"/>
              <a:ext cx="259" cy="161"/>
            </a:xfrm>
            <a:prstGeom prst="rect">
              <a:avLst/>
            </a:prstGeom>
            <a:noFill/>
            <a:ln w="6350">
              <a:noFill/>
              <a:miter lim="800000"/>
              <a:headEnd/>
              <a:tailEnd/>
            </a:ln>
            <a:effectLst/>
          </p:spPr>
          <p:txBody>
            <a:bodyPr lIns="45720" rIns="45720" anchor="ctr" anchorCtr="1"/>
            <a:lstStyle/>
            <a:p>
              <a:pPr eaLnBrk="0" hangingPunct="0"/>
              <a:r>
                <a:rPr lang="en-US" sz="1100" b="1" dirty="0">
                  <a:solidFill>
                    <a:schemeClr val="bg1"/>
                  </a:solidFill>
                </a:rPr>
                <a:t>Text</a:t>
              </a:r>
            </a:p>
          </p:txBody>
        </p:sp>
        <p:sp>
          <p:nvSpPr>
            <p:cNvPr id="102" name="Text Box 102">
              <a:extLst>
                <a:ext uri="{FF2B5EF4-FFF2-40B4-BE49-F238E27FC236}">
                  <a16:creationId xmlns:a16="http://schemas.microsoft.com/office/drawing/2014/main" id="{28375C91-F837-490E-AA40-819B42F8CC08}"/>
                </a:ext>
              </a:extLst>
            </p:cNvPr>
            <p:cNvSpPr txBox="1">
              <a:spLocks noChangeArrowheads="1"/>
            </p:cNvSpPr>
            <p:nvPr/>
          </p:nvSpPr>
          <p:spPr bwMode="auto">
            <a:xfrm>
              <a:off x="2561" y="1587"/>
              <a:ext cx="259" cy="161"/>
            </a:xfrm>
            <a:prstGeom prst="rect">
              <a:avLst/>
            </a:prstGeom>
            <a:noFill/>
            <a:ln w="6350">
              <a:noFill/>
              <a:miter lim="800000"/>
              <a:headEnd/>
              <a:tailEnd/>
            </a:ln>
            <a:effectLst/>
          </p:spPr>
          <p:txBody>
            <a:bodyPr lIns="45720" rIns="45720" anchor="ctr" anchorCtr="1"/>
            <a:lstStyle/>
            <a:p>
              <a:pPr eaLnBrk="0" hangingPunct="0"/>
              <a:r>
                <a:rPr lang="en-US" sz="1100" b="1" dirty="0">
                  <a:solidFill>
                    <a:schemeClr val="bg1"/>
                  </a:solidFill>
                </a:rPr>
                <a:t>Text</a:t>
              </a:r>
            </a:p>
          </p:txBody>
        </p:sp>
      </p:grpSp>
      <p:grpSp>
        <p:nvGrpSpPr>
          <p:cNvPr id="87" name="Group 86" descr="Segment 3">
            <a:extLst>
              <a:ext uri="{FF2B5EF4-FFF2-40B4-BE49-F238E27FC236}">
                <a16:creationId xmlns:a16="http://schemas.microsoft.com/office/drawing/2014/main" id="{A89DB9E6-CEF6-4DA2-BF0F-90FA1BC483E4}"/>
              </a:ext>
            </a:extLst>
          </p:cNvPr>
          <p:cNvGrpSpPr/>
          <p:nvPr/>
        </p:nvGrpSpPr>
        <p:grpSpPr bwMode="auto">
          <a:xfrm>
            <a:off x="6249918" y="1756707"/>
            <a:ext cx="1860550" cy="1860550"/>
            <a:chOff x="4768850" y="1628800"/>
            <a:chExt cx="1860550" cy="1860550"/>
          </a:xfrm>
        </p:grpSpPr>
        <p:sp>
          <p:nvSpPr>
            <p:cNvPr id="88" name="Freeform 88">
              <a:extLst>
                <a:ext uri="{FF2B5EF4-FFF2-40B4-BE49-F238E27FC236}">
                  <a16:creationId xmlns:a16="http://schemas.microsoft.com/office/drawing/2014/main" id="{CBA8E048-0A97-45DC-A103-2AF476A533B0}"/>
                </a:ext>
              </a:extLst>
            </p:cNvPr>
            <p:cNvSpPr>
              <a:spLocks/>
            </p:cNvSpPr>
            <p:nvPr/>
          </p:nvSpPr>
          <p:spPr bwMode="auto">
            <a:xfrm>
              <a:off x="5699125" y="1628800"/>
              <a:ext cx="930275" cy="930275"/>
            </a:xfrm>
            <a:custGeom>
              <a:avLst/>
              <a:gdLst/>
              <a:ahLst/>
              <a:cxnLst>
                <a:cxn ang="0">
                  <a:pos x="0" y="568"/>
                </a:cxn>
                <a:cxn ang="0">
                  <a:pos x="28" y="0"/>
                </a:cxn>
                <a:cxn ang="0">
                  <a:pos x="84" y="3"/>
                </a:cxn>
                <a:cxn ang="0">
                  <a:pos x="139" y="8"/>
                </a:cxn>
                <a:cxn ang="0">
                  <a:pos x="194" y="17"/>
                </a:cxn>
                <a:cxn ang="0">
                  <a:pos x="249" y="28"/>
                </a:cxn>
                <a:cxn ang="0">
                  <a:pos x="303" y="41"/>
                </a:cxn>
                <a:cxn ang="0">
                  <a:pos x="356" y="57"/>
                </a:cxn>
                <a:cxn ang="0">
                  <a:pos x="395" y="71"/>
                </a:cxn>
                <a:cxn ang="0">
                  <a:pos x="434" y="86"/>
                </a:cxn>
                <a:cxn ang="0">
                  <a:pos x="485" y="109"/>
                </a:cxn>
                <a:cxn ang="0">
                  <a:pos x="535" y="134"/>
                </a:cxn>
                <a:cxn ang="0">
                  <a:pos x="584" y="161"/>
                </a:cxn>
                <a:cxn ang="0">
                  <a:pos x="632" y="191"/>
                </a:cxn>
                <a:cxn ang="0">
                  <a:pos x="677" y="223"/>
                </a:cxn>
                <a:cxn ang="0">
                  <a:pos x="721" y="257"/>
                </a:cxn>
                <a:cxn ang="0">
                  <a:pos x="763" y="293"/>
                </a:cxn>
                <a:cxn ang="0">
                  <a:pos x="783" y="312"/>
                </a:cxn>
                <a:cxn ang="0">
                  <a:pos x="823" y="352"/>
                </a:cxn>
                <a:cxn ang="0">
                  <a:pos x="860" y="393"/>
                </a:cxn>
                <a:cxn ang="0">
                  <a:pos x="895" y="436"/>
                </a:cxn>
                <a:cxn ang="0">
                  <a:pos x="928" y="481"/>
                </a:cxn>
                <a:cxn ang="0">
                  <a:pos x="959" y="527"/>
                </a:cxn>
                <a:cxn ang="0">
                  <a:pos x="988" y="576"/>
                </a:cxn>
                <a:cxn ang="0">
                  <a:pos x="1014" y="625"/>
                </a:cxn>
                <a:cxn ang="0">
                  <a:pos x="1038" y="675"/>
                </a:cxn>
                <a:cxn ang="0">
                  <a:pos x="1059" y="727"/>
                </a:cxn>
                <a:cxn ang="0">
                  <a:pos x="1078" y="779"/>
                </a:cxn>
                <a:cxn ang="0">
                  <a:pos x="1094" y="832"/>
                </a:cxn>
                <a:cxn ang="0">
                  <a:pos x="1108" y="886"/>
                </a:cxn>
                <a:cxn ang="0">
                  <a:pos x="1119" y="941"/>
                </a:cxn>
                <a:cxn ang="0">
                  <a:pos x="1127" y="996"/>
                </a:cxn>
                <a:cxn ang="0">
                  <a:pos x="1133" y="1051"/>
                </a:cxn>
                <a:cxn ang="0">
                  <a:pos x="1135" y="1107"/>
                </a:cxn>
                <a:cxn ang="0">
                  <a:pos x="567" y="1135"/>
                </a:cxn>
              </a:cxnLst>
              <a:rect l="0" t="0" r="r" b="b"/>
              <a:pathLst>
                <a:path w="1135" h="1135">
                  <a:moveTo>
                    <a:pt x="0" y="1135"/>
                  </a:moveTo>
                  <a:lnTo>
                    <a:pt x="0" y="568"/>
                  </a:lnTo>
                  <a:lnTo>
                    <a:pt x="0" y="0"/>
                  </a:lnTo>
                  <a:lnTo>
                    <a:pt x="28" y="0"/>
                  </a:lnTo>
                  <a:lnTo>
                    <a:pt x="56" y="1"/>
                  </a:lnTo>
                  <a:lnTo>
                    <a:pt x="84" y="3"/>
                  </a:lnTo>
                  <a:lnTo>
                    <a:pt x="112" y="5"/>
                  </a:lnTo>
                  <a:lnTo>
                    <a:pt x="139" y="8"/>
                  </a:lnTo>
                  <a:lnTo>
                    <a:pt x="167" y="12"/>
                  </a:lnTo>
                  <a:lnTo>
                    <a:pt x="194" y="17"/>
                  </a:lnTo>
                  <a:lnTo>
                    <a:pt x="222" y="22"/>
                  </a:lnTo>
                  <a:lnTo>
                    <a:pt x="249" y="28"/>
                  </a:lnTo>
                  <a:lnTo>
                    <a:pt x="276" y="34"/>
                  </a:lnTo>
                  <a:lnTo>
                    <a:pt x="303" y="41"/>
                  </a:lnTo>
                  <a:lnTo>
                    <a:pt x="330" y="49"/>
                  </a:lnTo>
                  <a:lnTo>
                    <a:pt x="356" y="57"/>
                  </a:lnTo>
                  <a:lnTo>
                    <a:pt x="382" y="66"/>
                  </a:lnTo>
                  <a:lnTo>
                    <a:pt x="395" y="71"/>
                  </a:lnTo>
                  <a:lnTo>
                    <a:pt x="409" y="76"/>
                  </a:lnTo>
                  <a:lnTo>
                    <a:pt x="434" y="86"/>
                  </a:lnTo>
                  <a:lnTo>
                    <a:pt x="460" y="97"/>
                  </a:lnTo>
                  <a:lnTo>
                    <a:pt x="485" y="109"/>
                  </a:lnTo>
                  <a:lnTo>
                    <a:pt x="510" y="121"/>
                  </a:lnTo>
                  <a:lnTo>
                    <a:pt x="535" y="134"/>
                  </a:lnTo>
                  <a:lnTo>
                    <a:pt x="559" y="147"/>
                  </a:lnTo>
                  <a:lnTo>
                    <a:pt x="584" y="161"/>
                  </a:lnTo>
                  <a:lnTo>
                    <a:pt x="608" y="176"/>
                  </a:lnTo>
                  <a:lnTo>
                    <a:pt x="632" y="191"/>
                  </a:lnTo>
                  <a:lnTo>
                    <a:pt x="654" y="206"/>
                  </a:lnTo>
                  <a:lnTo>
                    <a:pt x="677" y="223"/>
                  </a:lnTo>
                  <a:lnTo>
                    <a:pt x="699" y="240"/>
                  </a:lnTo>
                  <a:lnTo>
                    <a:pt x="721" y="257"/>
                  </a:lnTo>
                  <a:lnTo>
                    <a:pt x="742" y="275"/>
                  </a:lnTo>
                  <a:lnTo>
                    <a:pt x="763" y="293"/>
                  </a:lnTo>
                  <a:lnTo>
                    <a:pt x="773" y="303"/>
                  </a:lnTo>
                  <a:lnTo>
                    <a:pt x="783" y="312"/>
                  </a:lnTo>
                  <a:lnTo>
                    <a:pt x="803" y="332"/>
                  </a:lnTo>
                  <a:lnTo>
                    <a:pt x="823" y="352"/>
                  </a:lnTo>
                  <a:lnTo>
                    <a:pt x="842" y="372"/>
                  </a:lnTo>
                  <a:lnTo>
                    <a:pt x="860" y="393"/>
                  </a:lnTo>
                  <a:lnTo>
                    <a:pt x="878" y="414"/>
                  </a:lnTo>
                  <a:lnTo>
                    <a:pt x="895" y="436"/>
                  </a:lnTo>
                  <a:lnTo>
                    <a:pt x="912" y="458"/>
                  </a:lnTo>
                  <a:lnTo>
                    <a:pt x="928" y="481"/>
                  </a:lnTo>
                  <a:lnTo>
                    <a:pt x="944" y="504"/>
                  </a:lnTo>
                  <a:lnTo>
                    <a:pt x="959" y="527"/>
                  </a:lnTo>
                  <a:lnTo>
                    <a:pt x="974" y="551"/>
                  </a:lnTo>
                  <a:lnTo>
                    <a:pt x="988" y="576"/>
                  </a:lnTo>
                  <a:lnTo>
                    <a:pt x="1001" y="600"/>
                  </a:lnTo>
                  <a:lnTo>
                    <a:pt x="1014" y="625"/>
                  </a:lnTo>
                  <a:lnTo>
                    <a:pt x="1026" y="650"/>
                  </a:lnTo>
                  <a:lnTo>
                    <a:pt x="1038" y="675"/>
                  </a:lnTo>
                  <a:lnTo>
                    <a:pt x="1049" y="701"/>
                  </a:lnTo>
                  <a:lnTo>
                    <a:pt x="1059" y="727"/>
                  </a:lnTo>
                  <a:lnTo>
                    <a:pt x="1069" y="753"/>
                  </a:lnTo>
                  <a:lnTo>
                    <a:pt x="1078" y="779"/>
                  </a:lnTo>
                  <a:lnTo>
                    <a:pt x="1087" y="806"/>
                  </a:lnTo>
                  <a:lnTo>
                    <a:pt x="1094" y="832"/>
                  </a:lnTo>
                  <a:lnTo>
                    <a:pt x="1102" y="859"/>
                  </a:lnTo>
                  <a:lnTo>
                    <a:pt x="1108" y="886"/>
                  </a:lnTo>
                  <a:lnTo>
                    <a:pt x="1114" y="913"/>
                  </a:lnTo>
                  <a:lnTo>
                    <a:pt x="1119" y="941"/>
                  </a:lnTo>
                  <a:lnTo>
                    <a:pt x="1123" y="968"/>
                  </a:lnTo>
                  <a:lnTo>
                    <a:pt x="1127" y="996"/>
                  </a:lnTo>
                  <a:lnTo>
                    <a:pt x="1130" y="1023"/>
                  </a:lnTo>
                  <a:lnTo>
                    <a:pt x="1133" y="1051"/>
                  </a:lnTo>
                  <a:lnTo>
                    <a:pt x="1134" y="1079"/>
                  </a:lnTo>
                  <a:lnTo>
                    <a:pt x="1135" y="1107"/>
                  </a:lnTo>
                  <a:lnTo>
                    <a:pt x="1135" y="1135"/>
                  </a:lnTo>
                  <a:lnTo>
                    <a:pt x="567" y="1135"/>
                  </a:lnTo>
                  <a:lnTo>
                    <a:pt x="0" y="1135"/>
                  </a:lnTo>
                  <a:close/>
                </a:path>
              </a:pathLst>
            </a:custGeom>
            <a:solidFill>
              <a:schemeClr val="accent1"/>
            </a:solidFill>
            <a:ln w="6350" cmpd="sng">
              <a:noFill/>
              <a:round/>
              <a:headEnd/>
              <a:tailEnd/>
            </a:ln>
          </p:spPr>
          <p:txBody>
            <a:bodyPr lIns="45720" rIns="45720" anchor="ctr" anchorCtr="1"/>
            <a:lstStyle/>
            <a:p>
              <a:endParaRPr lang="en-US" sz="1100">
                <a:solidFill>
                  <a:schemeClr val="bg1"/>
                </a:solidFill>
              </a:endParaRPr>
            </a:p>
          </p:txBody>
        </p:sp>
        <p:sp>
          <p:nvSpPr>
            <p:cNvPr id="89" name="Freeform 89">
              <a:extLst>
                <a:ext uri="{FF2B5EF4-FFF2-40B4-BE49-F238E27FC236}">
                  <a16:creationId xmlns:a16="http://schemas.microsoft.com/office/drawing/2014/main" id="{DE1A3BA8-9B98-44C4-B545-3BC501AC62D8}"/>
                </a:ext>
              </a:extLst>
            </p:cNvPr>
            <p:cNvSpPr>
              <a:spLocks/>
            </p:cNvSpPr>
            <p:nvPr/>
          </p:nvSpPr>
          <p:spPr bwMode="auto">
            <a:xfrm>
              <a:off x="5699125" y="2559075"/>
              <a:ext cx="930275" cy="930275"/>
            </a:xfrm>
            <a:custGeom>
              <a:avLst/>
              <a:gdLst/>
              <a:ahLst/>
              <a:cxnLst>
                <a:cxn ang="0">
                  <a:pos x="567" y="0"/>
                </a:cxn>
                <a:cxn ang="0">
                  <a:pos x="1135" y="28"/>
                </a:cxn>
                <a:cxn ang="0">
                  <a:pos x="1132" y="83"/>
                </a:cxn>
                <a:cxn ang="0">
                  <a:pos x="1127" y="139"/>
                </a:cxn>
                <a:cxn ang="0">
                  <a:pos x="1119" y="194"/>
                </a:cxn>
                <a:cxn ang="0">
                  <a:pos x="1108" y="248"/>
                </a:cxn>
                <a:cxn ang="0">
                  <a:pos x="1094" y="302"/>
                </a:cxn>
                <a:cxn ang="0">
                  <a:pos x="1078" y="355"/>
                </a:cxn>
                <a:cxn ang="0">
                  <a:pos x="1064" y="395"/>
                </a:cxn>
                <a:cxn ang="0">
                  <a:pos x="1049" y="434"/>
                </a:cxn>
                <a:cxn ang="0">
                  <a:pos x="1027" y="485"/>
                </a:cxn>
                <a:cxn ang="0">
                  <a:pos x="1002" y="534"/>
                </a:cxn>
                <a:cxn ang="0">
                  <a:pos x="974" y="584"/>
                </a:cxn>
                <a:cxn ang="0">
                  <a:pos x="945" y="631"/>
                </a:cxn>
                <a:cxn ang="0">
                  <a:pos x="913" y="676"/>
                </a:cxn>
                <a:cxn ang="0">
                  <a:pos x="878" y="720"/>
                </a:cxn>
                <a:cxn ang="0">
                  <a:pos x="842" y="762"/>
                </a:cxn>
                <a:cxn ang="0">
                  <a:pos x="823" y="783"/>
                </a:cxn>
                <a:cxn ang="0">
                  <a:pos x="783" y="822"/>
                </a:cxn>
                <a:cxn ang="0">
                  <a:pos x="742" y="859"/>
                </a:cxn>
                <a:cxn ang="0">
                  <a:pos x="699" y="895"/>
                </a:cxn>
                <a:cxn ang="0">
                  <a:pos x="654" y="928"/>
                </a:cxn>
                <a:cxn ang="0">
                  <a:pos x="608" y="959"/>
                </a:cxn>
                <a:cxn ang="0">
                  <a:pos x="559" y="987"/>
                </a:cxn>
                <a:cxn ang="0">
                  <a:pos x="510" y="1014"/>
                </a:cxn>
                <a:cxn ang="0">
                  <a:pos x="460" y="1037"/>
                </a:cxn>
                <a:cxn ang="0">
                  <a:pos x="409" y="1059"/>
                </a:cxn>
                <a:cxn ang="0">
                  <a:pos x="356" y="1078"/>
                </a:cxn>
                <a:cxn ang="0">
                  <a:pos x="303" y="1094"/>
                </a:cxn>
                <a:cxn ang="0">
                  <a:pos x="249" y="1107"/>
                </a:cxn>
                <a:cxn ang="0">
                  <a:pos x="194" y="1118"/>
                </a:cxn>
                <a:cxn ang="0">
                  <a:pos x="139" y="1127"/>
                </a:cxn>
                <a:cxn ang="0">
                  <a:pos x="84" y="1132"/>
                </a:cxn>
                <a:cxn ang="0">
                  <a:pos x="28" y="1134"/>
                </a:cxn>
                <a:cxn ang="0">
                  <a:pos x="0" y="567"/>
                </a:cxn>
              </a:cxnLst>
              <a:rect l="0" t="0" r="r" b="b"/>
              <a:pathLst>
                <a:path w="1135" h="1135">
                  <a:moveTo>
                    <a:pt x="0" y="0"/>
                  </a:moveTo>
                  <a:lnTo>
                    <a:pt x="567" y="0"/>
                  </a:lnTo>
                  <a:lnTo>
                    <a:pt x="1135" y="0"/>
                  </a:lnTo>
                  <a:lnTo>
                    <a:pt x="1135" y="28"/>
                  </a:lnTo>
                  <a:lnTo>
                    <a:pt x="1134" y="55"/>
                  </a:lnTo>
                  <a:lnTo>
                    <a:pt x="1132" y="83"/>
                  </a:lnTo>
                  <a:lnTo>
                    <a:pt x="1130" y="111"/>
                  </a:lnTo>
                  <a:lnTo>
                    <a:pt x="1127" y="139"/>
                  </a:lnTo>
                  <a:lnTo>
                    <a:pt x="1123" y="166"/>
                  </a:lnTo>
                  <a:lnTo>
                    <a:pt x="1119" y="194"/>
                  </a:lnTo>
                  <a:lnTo>
                    <a:pt x="1113" y="221"/>
                  </a:lnTo>
                  <a:lnTo>
                    <a:pt x="1108" y="248"/>
                  </a:lnTo>
                  <a:lnTo>
                    <a:pt x="1101" y="275"/>
                  </a:lnTo>
                  <a:lnTo>
                    <a:pt x="1094" y="302"/>
                  </a:lnTo>
                  <a:lnTo>
                    <a:pt x="1086" y="329"/>
                  </a:lnTo>
                  <a:lnTo>
                    <a:pt x="1078" y="355"/>
                  </a:lnTo>
                  <a:lnTo>
                    <a:pt x="1069" y="382"/>
                  </a:lnTo>
                  <a:lnTo>
                    <a:pt x="1064" y="395"/>
                  </a:lnTo>
                  <a:lnTo>
                    <a:pt x="1059" y="408"/>
                  </a:lnTo>
                  <a:lnTo>
                    <a:pt x="1049" y="434"/>
                  </a:lnTo>
                  <a:lnTo>
                    <a:pt x="1038" y="459"/>
                  </a:lnTo>
                  <a:lnTo>
                    <a:pt x="1027" y="485"/>
                  </a:lnTo>
                  <a:lnTo>
                    <a:pt x="1014" y="510"/>
                  </a:lnTo>
                  <a:lnTo>
                    <a:pt x="1002" y="534"/>
                  </a:lnTo>
                  <a:lnTo>
                    <a:pt x="988" y="559"/>
                  </a:lnTo>
                  <a:lnTo>
                    <a:pt x="974" y="584"/>
                  </a:lnTo>
                  <a:lnTo>
                    <a:pt x="960" y="608"/>
                  </a:lnTo>
                  <a:lnTo>
                    <a:pt x="945" y="631"/>
                  </a:lnTo>
                  <a:lnTo>
                    <a:pt x="929" y="654"/>
                  </a:lnTo>
                  <a:lnTo>
                    <a:pt x="913" y="676"/>
                  </a:lnTo>
                  <a:lnTo>
                    <a:pt x="896" y="699"/>
                  </a:lnTo>
                  <a:lnTo>
                    <a:pt x="878" y="720"/>
                  </a:lnTo>
                  <a:lnTo>
                    <a:pt x="860" y="742"/>
                  </a:lnTo>
                  <a:lnTo>
                    <a:pt x="842" y="762"/>
                  </a:lnTo>
                  <a:lnTo>
                    <a:pt x="832" y="773"/>
                  </a:lnTo>
                  <a:lnTo>
                    <a:pt x="823" y="783"/>
                  </a:lnTo>
                  <a:lnTo>
                    <a:pt x="803" y="803"/>
                  </a:lnTo>
                  <a:lnTo>
                    <a:pt x="783" y="822"/>
                  </a:lnTo>
                  <a:lnTo>
                    <a:pt x="763" y="841"/>
                  </a:lnTo>
                  <a:lnTo>
                    <a:pt x="742" y="859"/>
                  </a:lnTo>
                  <a:lnTo>
                    <a:pt x="721" y="877"/>
                  </a:lnTo>
                  <a:lnTo>
                    <a:pt x="699" y="895"/>
                  </a:lnTo>
                  <a:lnTo>
                    <a:pt x="677" y="912"/>
                  </a:lnTo>
                  <a:lnTo>
                    <a:pt x="654" y="928"/>
                  </a:lnTo>
                  <a:lnTo>
                    <a:pt x="631" y="944"/>
                  </a:lnTo>
                  <a:lnTo>
                    <a:pt x="608" y="959"/>
                  </a:lnTo>
                  <a:lnTo>
                    <a:pt x="584" y="973"/>
                  </a:lnTo>
                  <a:lnTo>
                    <a:pt x="559" y="987"/>
                  </a:lnTo>
                  <a:lnTo>
                    <a:pt x="535" y="1001"/>
                  </a:lnTo>
                  <a:lnTo>
                    <a:pt x="510" y="1014"/>
                  </a:lnTo>
                  <a:lnTo>
                    <a:pt x="485" y="1026"/>
                  </a:lnTo>
                  <a:lnTo>
                    <a:pt x="460" y="1037"/>
                  </a:lnTo>
                  <a:lnTo>
                    <a:pt x="434" y="1048"/>
                  </a:lnTo>
                  <a:lnTo>
                    <a:pt x="409" y="1059"/>
                  </a:lnTo>
                  <a:lnTo>
                    <a:pt x="382" y="1068"/>
                  </a:lnTo>
                  <a:lnTo>
                    <a:pt x="356" y="1078"/>
                  </a:lnTo>
                  <a:lnTo>
                    <a:pt x="330" y="1086"/>
                  </a:lnTo>
                  <a:lnTo>
                    <a:pt x="303" y="1094"/>
                  </a:lnTo>
                  <a:lnTo>
                    <a:pt x="276" y="1101"/>
                  </a:lnTo>
                  <a:lnTo>
                    <a:pt x="249" y="1107"/>
                  </a:lnTo>
                  <a:lnTo>
                    <a:pt x="222" y="1113"/>
                  </a:lnTo>
                  <a:lnTo>
                    <a:pt x="194" y="1118"/>
                  </a:lnTo>
                  <a:lnTo>
                    <a:pt x="167" y="1123"/>
                  </a:lnTo>
                  <a:lnTo>
                    <a:pt x="139" y="1127"/>
                  </a:lnTo>
                  <a:lnTo>
                    <a:pt x="112" y="1130"/>
                  </a:lnTo>
                  <a:lnTo>
                    <a:pt x="84" y="1132"/>
                  </a:lnTo>
                  <a:lnTo>
                    <a:pt x="56" y="1134"/>
                  </a:lnTo>
                  <a:lnTo>
                    <a:pt x="28" y="1134"/>
                  </a:lnTo>
                  <a:lnTo>
                    <a:pt x="0" y="1135"/>
                  </a:lnTo>
                  <a:lnTo>
                    <a:pt x="0" y="567"/>
                  </a:lnTo>
                  <a:lnTo>
                    <a:pt x="0" y="0"/>
                  </a:lnTo>
                  <a:close/>
                </a:path>
              </a:pathLst>
            </a:custGeom>
            <a:solidFill>
              <a:schemeClr val="accent3"/>
            </a:solidFill>
            <a:ln w="6350" cmpd="sng">
              <a:noFill/>
              <a:round/>
              <a:headEnd/>
              <a:tailEnd/>
            </a:ln>
          </p:spPr>
          <p:txBody>
            <a:bodyPr lIns="45720" rIns="45720" anchor="ctr" anchorCtr="1"/>
            <a:lstStyle/>
            <a:p>
              <a:endParaRPr lang="en-US" sz="1100"/>
            </a:p>
          </p:txBody>
        </p:sp>
        <p:sp>
          <p:nvSpPr>
            <p:cNvPr id="90" name="Freeform 90">
              <a:extLst>
                <a:ext uri="{FF2B5EF4-FFF2-40B4-BE49-F238E27FC236}">
                  <a16:creationId xmlns:a16="http://schemas.microsoft.com/office/drawing/2014/main" id="{74CA5EB3-9F80-403C-B428-4420211EC686}"/>
                </a:ext>
              </a:extLst>
            </p:cNvPr>
            <p:cNvSpPr>
              <a:spLocks/>
            </p:cNvSpPr>
            <p:nvPr/>
          </p:nvSpPr>
          <p:spPr bwMode="auto">
            <a:xfrm>
              <a:off x="4768850" y="2559075"/>
              <a:ext cx="930275" cy="930275"/>
            </a:xfrm>
            <a:custGeom>
              <a:avLst/>
              <a:gdLst/>
              <a:ahLst/>
              <a:cxnLst>
                <a:cxn ang="0">
                  <a:pos x="1134" y="567"/>
                </a:cxn>
                <a:cxn ang="0">
                  <a:pos x="1107" y="1134"/>
                </a:cxn>
                <a:cxn ang="0">
                  <a:pos x="1051" y="1132"/>
                </a:cxn>
                <a:cxn ang="0">
                  <a:pos x="996" y="1126"/>
                </a:cxn>
                <a:cxn ang="0">
                  <a:pos x="941" y="1118"/>
                </a:cxn>
                <a:cxn ang="0">
                  <a:pos x="886" y="1107"/>
                </a:cxn>
                <a:cxn ang="0">
                  <a:pos x="832" y="1094"/>
                </a:cxn>
                <a:cxn ang="0">
                  <a:pos x="779" y="1077"/>
                </a:cxn>
                <a:cxn ang="0">
                  <a:pos x="739" y="1064"/>
                </a:cxn>
                <a:cxn ang="0">
                  <a:pos x="701" y="1048"/>
                </a:cxn>
                <a:cxn ang="0">
                  <a:pos x="650" y="1026"/>
                </a:cxn>
                <a:cxn ang="0">
                  <a:pos x="600" y="1001"/>
                </a:cxn>
                <a:cxn ang="0">
                  <a:pos x="550" y="974"/>
                </a:cxn>
                <a:cxn ang="0">
                  <a:pos x="503" y="944"/>
                </a:cxn>
                <a:cxn ang="0">
                  <a:pos x="458" y="912"/>
                </a:cxn>
                <a:cxn ang="0">
                  <a:pos x="414" y="878"/>
                </a:cxn>
                <a:cxn ang="0">
                  <a:pos x="372" y="841"/>
                </a:cxn>
                <a:cxn ang="0">
                  <a:pos x="352" y="822"/>
                </a:cxn>
                <a:cxn ang="0">
                  <a:pos x="312" y="783"/>
                </a:cxn>
                <a:cxn ang="0">
                  <a:pos x="275" y="741"/>
                </a:cxn>
                <a:cxn ang="0">
                  <a:pos x="240" y="698"/>
                </a:cxn>
                <a:cxn ang="0">
                  <a:pos x="206" y="654"/>
                </a:cxn>
                <a:cxn ang="0">
                  <a:pos x="176" y="607"/>
                </a:cxn>
                <a:cxn ang="0">
                  <a:pos x="147" y="559"/>
                </a:cxn>
                <a:cxn ang="0">
                  <a:pos x="121" y="510"/>
                </a:cxn>
                <a:cxn ang="0">
                  <a:pos x="97" y="459"/>
                </a:cxn>
                <a:cxn ang="0">
                  <a:pos x="76" y="408"/>
                </a:cxn>
                <a:cxn ang="0">
                  <a:pos x="57" y="356"/>
                </a:cxn>
                <a:cxn ang="0">
                  <a:pos x="40" y="302"/>
                </a:cxn>
                <a:cxn ang="0">
                  <a:pos x="27" y="248"/>
                </a:cxn>
                <a:cxn ang="0">
                  <a:pos x="16" y="194"/>
                </a:cxn>
                <a:cxn ang="0">
                  <a:pos x="8" y="139"/>
                </a:cxn>
                <a:cxn ang="0">
                  <a:pos x="2" y="83"/>
                </a:cxn>
                <a:cxn ang="0">
                  <a:pos x="0" y="28"/>
                </a:cxn>
                <a:cxn ang="0">
                  <a:pos x="567" y="0"/>
                </a:cxn>
              </a:cxnLst>
              <a:rect l="0" t="0" r="r" b="b"/>
              <a:pathLst>
                <a:path w="1134" h="1135">
                  <a:moveTo>
                    <a:pt x="1134" y="0"/>
                  </a:moveTo>
                  <a:lnTo>
                    <a:pt x="1134" y="567"/>
                  </a:lnTo>
                  <a:lnTo>
                    <a:pt x="1134" y="1135"/>
                  </a:lnTo>
                  <a:lnTo>
                    <a:pt x="1107" y="1134"/>
                  </a:lnTo>
                  <a:lnTo>
                    <a:pt x="1079" y="1133"/>
                  </a:lnTo>
                  <a:lnTo>
                    <a:pt x="1051" y="1132"/>
                  </a:lnTo>
                  <a:lnTo>
                    <a:pt x="1023" y="1129"/>
                  </a:lnTo>
                  <a:lnTo>
                    <a:pt x="996" y="1126"/>
                  </a:lnTo>
                  <a:lnTo>
                    <a:pt x="968" y="1122"/>
                  </a:lnTo>
                  <a:lnTo>
                    <a:pt x="941" y="1118"/>
                  </a:lnTo>
                  <a:lnTo>
                    <a:pt x="913" y="1113"/>
                  </a:lnTo>
                  <a:lnTo>
                    <a:pt x="886" y="1107"/>
                  </a:lnTo>
                  <a:lnTo>
                    <a:pt x="859" y="1101"/>
                  </a:lnTo>
                  <a:lnTo>
                    <a:pt x="832" y="1094"/>
                  </a:lnTo>
                  <a:lnTo>
                    <a:pt x="805" y="1086"/>
                  </a:lnTo>
                  <a:lnTo>
                    <a:pt x="779" y="1077"/>
                  </a:lnTo>
                  <a:lnTo>
                    <a:pt x="752" y="1068"/>
                  </a:lnTo>
                  <a:lnTo>
                    <a:pt x="739" y="1064"/>
                  </a:lnTo>
                  <a:lnTo>
                    <a:pt x="726" y="1059"/>
                  </a:lnTo>
                  <a:lnTo>
                    <a:pt x="701" y="1048"/>
                  </a:lnTo>
                  <a:lnTo>
                    <a:pt x="675" y="1037"/>
                  </a:lnTo>
                  <a:lnTo>
                    <a:pt x="650" y="1026"/>
                  </a:lnTo>
                  <a:lnTo>
                    <a:pt x="625" y="1014"/>
                  </a:lnTo>
                  <a:lnTo>
                    <a:pt x="600" y="1001"/>
                  </a:lnTo>
                  <a:lnTo>
                    <a:pt x="575" y="988"/>
                  </a:lnTo>
                  <a:lnTo>
                    <a:pt x="550" y="974"/>
                  </a:lnTo>
                  <a:lnTo>
                    <a:pt x="527" y="959"/>
                  </a:lnTo>
                  <a:lnTo>
                    <a:pt x="503" y="944"/>
                  </a:lnTo>
                  <a:lnTo>
                    <a:pt x="480" y="928"/>
                  </a:lnTo>
                  <a:lnTo>
                    <a:pt x="458" y="912"/>
                  </a:lnTo>
                  <a:lnTo>
                    <a:pt x="436" y="895"/>
                  </a:lnTo>
                  <a:lnTo>
                    <a:pt x="414" y="878"/>
                  </a:lnTo>
                  <a:lnTo>
                    <a:pt x="393" y="860"/>
                  </a:lnTo>
                  <a:lnTo>
                    <a:pt x="372" y="841"/>
                  </a:lnTo>
                  <a:lnTo>
                    <a:pt x="362" y="832"/>
                  </a:lnTo>
                  <a:lnTo>
                    <a:pt x="352" y="822"/>
                  </a:lnTo>
                  <a:lnTo>
                    <a:pt x="332" y="803"/>
                  </a:lnTo>
                  <a:lnTo>
                    <a:pt x="312" y="783"/>
                  </a:lnTo>
                  <a:lnTo>
                    <a:pt x="293" y="762"/>
                  </a:lnTo>
                  <a:lnTo>
                    <a:pt x="275" y="741"/>
                  </a:lnTo>
                  <a:lnTo>
                    <a:pt x="257" y="720"/>
                  </a:lnTo>
                  <a:lnTo>
                    <a:pt x="240" y="698"/>
                  </a:lnTo>
                  <a:lnTo>
                    <a:pt x="223" y="676"/>
                  </a:lnTo>
                  <a:lnTo>
                    <a:pt x="206" y="654"/>
                  </a:lnTo>
                  <a:lnTo>
                    <a:pt x="191" y="631"/>
                  </a:lnTo>
                  <a:lnTo>
                    <a:pt x="176" y="607"/>
                  </a:lnTo>
                  <a:lnTo>
                    <a:pt x="161" y="584"/>
                  </a:lnTo>
                  <a:lnTo>
                    <a:pt x="147" y="559"/>
                  </a:lnTo>
                  <a:lnTo>
                    <a:pt x="134" y="534"/>
                  </a:lnTo>
                  <a:lnTo>
                    <a:pt x="121" y="510"/>
                  </a:lnTo>
                  <a:lnTo>
                    <a:pt x="109" y="485"/>
                  </a:lnTo>
                  <a:lnTo>
                    <a:pt x="97" y="459"/>
                  </a:lnTo>
                  <a:lnTo>
                    <a:pt x="86" y="434"/>
                  </a:lnTo>
                  <a:lnTo>
                    <a:pt x="76" y="408"/>
                  </a:lnTo>
                  <a:lnTo>
                    <a:pt x="66" y="382"/>
                  </a:lnTo>
                  <a:lnTo>
                    <a:pt x="57" y="356"/>
                  </a:lnTo>
                  <a:lnTo>
                    <a:pt x="48" y="329"/>
                  </a:lnTo>
                  <a:lnTo>
                    <a:pt x="40" y="302"/>
                  </a:lnTo>
                  <a:lnTo>
                    <a:pt x="33" y="275"/>
                  </a:lnTo>
                  <a:lnTo>
                    <a:pt x="27" y="248"/>
                  </a:lnTo>
                  <a:lnTo>
                    <a:pt x="21" y="221"/>
                  </a:lnTo>
                  <a:lnTo>
                    <a:pt x="16" y="194"/>
                  </a:lnTo>
                  <a:lnTo>
                    <a:pt x="11" y="166"/>
                  </a:lnTo>
                  <a:lnTo>
                    <a:pt x="8" y="139"/>
                  </a:lnTo>
                  <a:lnTo>
                    <a:pt x="5" y="111"/>
                  </a:lnTo>
                  <a:lnTo>
                    <a:pt x="2" y="83"/>
                  </a:lnTo>
                  <a:lnTo>
                    <a:pt x="1" y="56"/>
                  </a:lnTo>
                  <a:lnTo>
                    <a:pt x="0" y="28"/>
                  </a:lnTo>
                  <a:lnTo>
                    <a:pt x="0" y="0"/>
                  </a:lnTo>
                  <a:lnTo>
                    <a:pt x="567" y="0"/>
                  </a:lnTo>
                  <a:lnTo>
                    <a:pt x="1134" y="0"/>
                  </a:lnTo>
                  <a:close/>
                </a:path>
              </a:pathLst>
            </a:custGeom>
            <a:solidFill>
              <a:schemeClr val="accent2"/>
            </a:solidFill>
            <a:ln w="6350" cmpd="sng">
              <a:noFill/>
              <a:round/>
              <a:headEnd/>
              <a:tailEnd/>
            </a:ln>
          </p:spPr>
          <p:txBody>
            <a:bodyPr lIns="45720" rIns="45720" anchor="ctr" anchorCtr="1"/>
            <a:lstStyle/>
            <a:p>
              <a:endParaRPr lang="en-US" sz="1100"/>
            </a:p>
          </p:txBody>
        </p:sp>
        <p:sp>
          <p:nvSpPr>
            <p:cNvPr id="91" name="Freeform 91">
              <a:extLst>
                <a:ext uri="{FF2B5EF4-FFF2-40B4-BE49-F238E27FC236}">
                  <a16:creationId xmlns:a16="http://schemas.microsoft.com/office/drawing/2014/main" id="{07B807AF-9E8C-439C-87EE-3DAD28181EB8}"/>
                </a:ext>
              </a:extLst>
            </p:cNvPr>
            <p:cNvSpPr>
              <a:spLocks/>
            </p:cNvSpPr>
            <p:nvPr/>
          </p:nvSpPr>
          <p:spPr bwMode="auto">
            <a:xfrm>
              <a:off x="4768850" y="1628800"/>
              <a:ext cx="930275" cy="930275"/>
            </a:xfrm>
            <a:custGeom>
              <a:avLst/>
              <a:gdLst/>
              <a:ahLst/>
              <a:cxnLst>
                <a:cxn ang="0">
                  <a:pos x="567" y="1135"/>
                </a:cxn>
                <a:cxn ang="0">
                  <a:pos x="0" y="1107"/>
                </a:cxn>
                <a:cxn ang="0">
                  <a:pos x="3" y="1051"/>
                </a:cxn>
                <a:cxn ang="0">
                  <a:pos x="8" y="996"/>
                </a:cxn>
                <a:cxn ang="0">
                  <a:pos x="16" y="941"/>
                </a:cxn>
                <a:cxn ang="0">
                  <a:pos x="27" y="886"/>
                </a:cxn>
                <a:cxn ang="0">
                  <a:pos x="41" y="832"/>
                </a:cxn>
                <a:cxn ang="0">
                  <a:pos x="57" y="779"/>
                </a:cxn>
                <a:cxn ang="0">
                  <a:pos x="71" y="740"/>
                </a:cxn>
                <a:cxn ang="0">
                  <a:pos x="86" y="701"/>
                </a:cxn>
                <a:cxn ang="0">
                  <a:pos x="108" y="650"/>
                </a:cxn>
                <a:cxn ang="0">
                  <a:pos x="133" y="600"/>
                </a:cxn>
                <a:cxn ang="0">
                  <a:pos x="161" y="551"/>
                </a:cxn>
                <a:cxn ang="0">
                  <a:pos x="190" y="504"/>
                </a:cxn>
                <a:cxn ang="0">
                  <a:pos x="222" y="458"/>
                </a:cxn>
                <a:cxn ang="0">
                  <a:pos x="257" y="414"/>
                </a:cxn>
                <a:cxn ang="0">
                  <a:pos x="293" y="372"/>
                </a:cxn>
                <a:cxn ang="0">
                  <a:pos x="312" y="352"/>
                </a:cxn>
                <a:cxn ang="0">
                  <a:pos x="352" y="313"/>
                </a:cxn>
                <a:cxn ang="0">
                  <a:pos x="393" y="275"/>
                </a:cxn>
                <a:cxn ang="0">
                  <a:pos x="436" y="240"/>
                </a:cxn>
                <a:cxn ang="0">
                  <a:pos x="481" y="207"/>
                </a:cxn>
                <a:cxn ang="0">
                  <a:pos x="527" y="176"/>
                </a:cxn>
                <a:cxn ang="0">
                  <a:pos x="576" y="147"/>
                </a:cxn>
                <a:cxn ang="0">
                  <a:pos x="625" y="121"/>
                </a:cxn>
                <a:cxn ang="0">
                  <a:pos x="675" y="97"/>
                </a:cxn>
                <a:cxn ang="0">
                  <a:pos x="726" y="76"/>
                </a:cxn>
                <a:cxn ang="0">
                  <a:pos x="779" y="57"/>
                </a:cxn>
                <a:cxn ang="0">
                  <a:pos x="832" y="41"/>
                </a:cxn>
                <a:cxn ang="0">
                  <a:pos x="886" y="27"/>
                </a:cxn>
                <a:cxn ang="0">
                  <a:pos x="940" y="16"/>
                </a:cxn>
                <a:cxn ang="0">
                  <a:pos x="995" y="8"/>
                </a:cxn>
                <a:cxn ang="0">
                  <a:pos x="1051" y="3"/>
                </a:cxn>
                <a:cxn ang="0">
                  <a:pos x="1107" y="0"/>
                </a:cxn>
                <a:cxn ang="0">
                  <a:pos x="1134" y="568"/>
                </a:cxn>
              </a:cxnLst>
              <a:rect l="0" t="0" r="r" b="b"/>
              <a:pathLst>
                <a:path w="1134" h="1135">
                  <a:moveTo>
                    <a:pt x="1134" y="1135"/>
                  </a:moveTo>
                  <a:lnTo>
                    <a:pt x="567" y="1135"/>
                  </a:lnTo>
                  <a:lnTo>
                    <a:pt x="0" y="1135"/>
                  </a:lnTo>
                  <a:lnTo>
                    <a:pt x="0" y="1107"/>
                  </a:lnTo>
                  <a:lnTo>
                    <a:pt x="1" y="1079"/>
                  </a:lnTo>
                  <a:lnTo>
                    <a:pt x="3" y="1051"/>
                  </a:lnTo>
                  <a:lnTo>
                    <a:pt x="5" y="1024"/>
                  </a:lnTo>
                  <a:lnTo>
                    <a:pt x="8" y="996"/>
                  </a:lnTo>
                  <a:lnTo>
                    <a:pt x="12" y="968"/>
                  </a:lnTo>
                  <a:lnTo>
                    <a:pt x="16" y="941"/>
                  </a:lnTo>
                  <a:lnTo>
                    <a:pt x="21" y="914"/>
                  </a:lnTo>
                  <a:lnTo>
                    <a:pt x="27" y="886"/>
                  </a:lnTo>
                  <a:lnTo>
                    <a:pt x="34" y="859"/>
                  </a:lnTo>
                  <a:lnTo>
                    <a:pt x="41" y="832"/>
                  </a:lnTo>
                  <a:lnTo>
                    <a:pt x="49" y="806"/>
                  </a:lnTo>
                  <a:lnTo>
                    <a:pt x="57" y="779"/>
                  </a:lnTo>
                  <a:lnTo>
                    <a:pt x="66" y="753"/>
                  </a:lnTo>
                  <a:lnTo>
                    <a:pt x="71" y="740"/>
                  </a:lnTo>
                  <a:lnTo>
                    <a:pt x="76" y="727"/>
                  </a:lnTo>
                  <a:lnTo>
                    <a:pt x="86" y="701"/>
                  </a:lnTo>
                  <a:lnTo>
                    <a:pt x="97" y="675"/>
                  </a:lnTo>
                  <a:lnTo>
                    <a:pt x="108" y="650"/>
                  </a:lnTo>
                  <a:lnTo>
                    <a:pt x="121" y="625"/>
                  </a:lnTo>
                  <a:lnTo>
                    <a:pt x="133" y="600"/>
                  </a:lnTo>
                  <a:lnTo>
                    <a:pt x="147" y="576"/>
                  </a:lnTo>
                  <a:lnTo>
                    <a:pt x="161" y="551"/>
                  </a:lnTo>
                  <a:lnTo>
                    <a:pt x="175" y="527"/>
                  </a:lnTo>
                  <a:lnTo>
                    <a:pt x="190" y="504"/>
                  </a:lnTo>
                  <a:lnTo>
                    <a:pt x="206" y="481"/>
                  </a:lnTo>
                  <a:lnTo>
                    <a:pt x="222" y="458"/>
                  </a:lnTo>
                  <a:lnTo>
                    <a:pt x="239" y="436"/>
                  </a:lnTo>
                  <a:lnTo>
                    <a:pt x="257" y="414"/>
                  </a:lnTo>
                  <a:lnTo>
                    <a:pt x="275" y="393"/>
                  </a:lnTo>
                  <a:lnTo>
                    <a:pt x="293" y="372"/>
                  </a:lnTo>
                  <a:lnTo>
                    <a:pt x="303" y="362"/>
                  </a:lnTo>
                  <a:lnTo>
                    <a:pt x="312" y="352"/>
                  </a:lnTo>
                  <a:lnTo>
                    <a:pt x="332" y="332"/>
                  </a:lnTo>
                  <a:lnTo>
                    <a:pt x="352" y="313"/>
                  </a:lnTo>
                  <a:lnTo>
                    <a:pt x="372" y="294"/>
                  </a:lnTo>
                  <a:lnTo>
                    <a:pt x="393" y="275"/>
                  </a:lnTo>
                  <a:lnTo>
                    <a:pt x="414" y="257"/>
                  </a:lnTo>
                  <a:lnTo>
                    <a:pt x="436" y="240"/>
                  </a:lnTo>
                  <a:lnTo>
                    <a:pt x="458" y="223"/>
                  </a:lnTo>
                  <a:lnTo>
                    <a:pt x="481" y="207"/>
                  </a:lnTo>
                  <a:lnTo>
                    <a:pt x="504" y="191"/>
                  </a:lnTo>
                  <a:lnTo>
                    <a:pt x="527" y="176"/>
                  </a:lnTo>
                  <a:lnTo>
                    <a:pt x="551" y="161"/>
                  </a:lnTo>
                  <a:lnTo>
                    <a:pt x="576" y="147"/>
                  </a:lnTo>
                  <a:lnTo>
                    <a:pt x="600" y="134"/>
                  </a:lnTo>
                  <a:lnTo>
                    <a:pt x="625" y="121"/>
                  </a:lnTo>
                  <a:lnTo>
                    <a:pt x="650" y="109"/>
                  </a:lnTo>
                  <a:lnTo>
                    <a:pt x="675" y="97"/>
                  </a:lnTo>
                  <a:lnTo>
                    <a:pt x="701" y="86"/>
                  </a:lnTo>
                  <a:lnTo>
                    <a:pt x="726" y="76"/>
                  </a:lnTo>
                  <a:lnTo>
                    <a:pt x="752" y="66"/>
                  </a:lnTo>
                  <a:lnTo>
                    <a:pt x="779" y="57"/>
                  </a:lnTo>
                  <a:lnTo>
                    <a:pt x="805" y="49"/>
                  </a:lnTo>
                  <a:lnTo>
                    <a:pt x="832" y="41"/>
                  </a:lnTo>
                  <a:lnTo>
                    <a:pt x="859" y="34"/>
                  </a:lnTo>
                  <a:lnTo>
                    <a:pt x="886" y="27"/>
                  </a:lnTo>
                  <a:lnTo>
                    <a:pt x="913" y="21"/>
                  </a:lnTo>
                  <a:lnTo>
                    <a:pt x="940" y="16"/>
                  </a:lnTo>
                  <a:lnTo>
                    <a:pt x="968" y="12"/>
                  </a:lnTo>
                  <a:lnTo>
                    <a:pt x="995" y="8"/>
                  </a:lnTo>
                  <a:lnTo>
                    <a:pt x="1023" y="5"/>
                  </a:lnTo>
                  <a:lnTo>
                    <a:pt x="1051" y="3"/>
                  </a:lnTo>
                  <a:lnTo>
                    <a:pt x="1079" y="1"/>
                  </a:lnTo>
                  <a:lnTo>
                    <a:pt x="1107" y="0"/>
                  </a:lnTo>
                  <a:lnTo>
                    <a:pt x="1134" y="0"/>
                  </a:lnTo>
                  <a:lnTo>
                    <a:pt x="1134" y="568"/>
                  </a:lnTo>
                  <a:lnTo>
                    <a:pt x="1134" y="1135"/>
                  </a:lnTo>
                  <a:close/>
                </a:path>
              </a:pathLst>
            </a:custGeom>
            <a:pattFill prst="wdUpDiag">
              <a:fgClr>
                <a:schemeClr val="tx2">
                  <a:lumMod val="20000"/>
                  <a:lumOff val="80000"/>
                </a:schemeClr>
              </a:fgClr>
              <a:bgClr>
                <a:schemeClr val="bg1"/>
              </a:bgClr>
            </a:pattFill>
            <a:ln w="6350" cmpd="sng">
              <a:noFill/>
              <a:round/>
              <a:headEnd/>
              <a:tailEnd/>
            </a:ln>
          </p:spPr>
          <p:txBody>
            <a:bodyPr lIns="45720" rIns="45720" anchor="ctr" anchorCtr="1"/>
            <a:lstStyle/>
            <a:p>
              <a:endParaRPr lang="en-US" sz="1100"/>
            </a:p>
          </p:txBody>
        </p:sp>
        <p:sp>
          <p:nvSpPr>
            <p:cNvPr id="92" name="Text Box 92">
              <a:extLst>
                <a:ext uri="{FF2B5EF4-FFF2-40B4-BE49-F238E27FC236}">
                  <a16:creationId xmlns:a16="http://schemas.microsoft.com/office/drawing/2014/main" id="{6DC2A720-B541-4AC8-88DE-AFAE11975562}"/>
                </a:ext>
              </a:extLst>
            </p:cNvPr>
            <p:cNvSpPr txBox="1">
              <a:spLocks noChangeArrowheads="1"/>
            </p:cNvSpPr>
            <p:nvPr/>
          </p:nvSpPr>
          <p:spPr bwMode="auto">
            <a:xfrm>
              <a:off x="5029200" y="1966938"/>
              <a:ext cx="411163" cy="255588"/>
            </a:xfrm>
            <a:prstGeom prst="rect">
              <a:avLst/>
            </a:prstGeom>
            <a:noFill/>
            <a:ln w="6350">
              <a:noFill/>
              <a:miter lim="800000"/>
              <a:headEnd/>
              <a:tailEnd/>
            </a:ln>
            <a:effectLst/>
          </p:spPr>
          <p:txBody>
            <a:bodyPr lIns="45720" rIns="45720" anchor="ctr" anchorCtr="1"/>
            <a:lstStyle/>
            <a:p>
              <a:pPr eaLnBrk="0" hangingPunct="0"/>
              <a:r>
                <a:rPr lang="en-US" sz="1100">
                  <a:solidFill>
                    <a:schemeClr val="tx1"/>
                  </a:solidFill>
                </a:rPr>
                <a:t>Text</a:t>
              </a:r>
            </a:p>
          </p:txBody>
        </p:sp>
        <p:sp>
          <p:nvSpPr>
            <p:cNvPr id="93" name="Text Box 93">
              <a:extLst>
                <a:ext uri="{FF2B5EF4-FFF2-40B4-BE49-F238E27FC236}">
                  <a16:creationId xmlns:a16="http://schemas.microsoft.com/office/drawing/2014/main" id="{A8262916-DDF3-4A1D-AB6A-0250E3C596B5}"/>
                </a:ext>
              </a:extLst>
            </p:cNvPr>
            <p:cNvSpPr txBox="1">
              <a:spLocks noChangeArrowheads="1"/>
            </p:cNvSpPr>
            <p:nvPr/>
          </p:nvSpPr>
          <p:spPr bwMode="auto">
            <a:xfrm>
              <a:off x="5957888" y="1966938"/>
              <a:ext cx="411163" cy="255588"/>
            </a:xfrm>
            <a:prstGeom prst="rect">
              <a:avLst/>
            </a:prstGeom>
            <a:noFill/>
            <a:ln w="6350">
              <a:noFill/>
              <a:miter lim="800000"/>
              <a:headEnd/>
              <a:tailEnd/>
            </a:ln>
            <a:effectLst/>
          </p:spPr>
          <p:txBody>
            <a:bodyPr lIns="45720" rIns="45720" anchor="ctr" anchorCtr="1"/>
            <a:lstStyle/>
            <a:p>
              <a:pPr eaLnBrk="0" hangingPunct="0"/>
              <a:r>
                <a:rPr lang="en-US" sz="1100" b="1" dirty="0">
                  <a:solidFill>
                    <a:schemeClr val="bg1"/>
                  </a:solidFill>
                </a:rPr>
                <a:t>Text</a:t>
              </a:r>
            </a:p>
          </p:txBody>
        </p:sp>
        <p:sp>
          <p:nvSpPr>
            <p:cNvPr id="94" name="Text Box 94">
              <a:extLst>
                <a:ext uri="{FF2B5EF4-FFF2-40B4-BE49-F238E27FC236}">
                  <a16:creationId xmlns:a16="http://schemas.microsoft.com/office/drawing/2014/main" id="{86A67AA0-3FBA-4148-B4A9-797471C4930D}"/>
                </a:ext>
              </a:extLst>
            </p:cNvPr>
            <p:cNvSpPr txBox="1">
              <a:spLocks noChangeArrowheads="1"/>
            </p:cNvSpPr>
            <p:nvPr/>
          </p:nvSpPr>
          <p:spPr bwMode="auto">
            <a:xfrm>
              <a:off x="5029200" y="2895625"/>
              <a:ext cx="411163" cy="255588"/>
            </a:xfrm>
            <a:prstGeom prst="rect">
              <a:avLst/>
            </a:prstGeom>
            <a:noFill/>
            <a:ln w="6350">
              <a:noFill/>
              <a:miter lim="800000"/>
              <a:headEnd/>
              <a:tailEnd/>
            </a:ln>
            <a:effectLst/>
          </p:spPr>
          <p:txBody>
            <a:bodyPr lIns="45720" rIns="45720" anchor="ctr" anchorCtr="1"/>
            <a:lstStyle/>
            <a:p>
              <a:pPr eaLnBrk="0" hangingPunct="0"/>
              <a:r>
                <a:rPr lang="en-US" sz="1100">
                  <a:solidFill>
                    <a:schemeClr val="bg1"/>
                  </a:solidFill>
                </a:rPr>
                <a:t>Text</a:t>
              </a:r>
            </a:p>
          </p:txBody>
        </p:sp>
        <p:sp>
          <p:nvSpPr>
            <p:cNvPr id="95" name="Text Box 95">
              <a:extLst>
                <a:ext uri="{FF2B5EF4-FFF2-40B4-BE49-F238E27FC236}">
                  <a16:creationId xmlns:a16="http://schemas.microsoft.com/office/drawing/2014/main" id="{E850CDEC-D58D-4E80-98B8-6231382B4AD2}"/>
                </a:ext>
              </a:extLst>
            </p:cNvPr>
            <p:cNvSpPr txBox="1">
              <a:spLocks noChangeArrowheads="1"/>
            </p:cNvSpPr>
            <p:nvPr/>
          </p:nvSpPr>
          <p:spPr bwMode="auto">
            <a:xfrm>
              <a:off x="5957888" y="2895625"/>
              <a:ext cx="411163" cy="255588"/>
            </a:xfrm>
            <a:prstGeom prst="rect">
              <a:avLst/>
            </a:prstGeom>
            <a:noFill/>
            <a:ln w="6350">
              <a:noFill/>
              <a:miter lim="800000"/>
              <a:headEnd/>
              <a:tailEnd/>
            </a:ln>
            <a:effectLst/>
          </p:spPr>
          <p:txBody>
            <a:bodyPr lIns="45720" rIns="45720" anchor="ctr" anchorCtr="1"/>
            <a:lstStyle/>
            <a:p>
              <a:pPr eaLnBrk="0" hangingPunct="0"/>
              <a:r>
                <a:rPr lang="en-US" sz="1100">
                  <a:solidFill>
                    <a:schemeClr val="bg1"/>
                  </a:solidFill>
                </a:rPr>
                <a:t>Text</a:t>
              </a:r>
            </a:p>
          </p:txBody>
        </p:sp>
      </p:grpSp>
      <p:grpSp>
        <p:nvGrpSpPr>
          <p:cNvPr id="103" name="Group 102" descr="Segment 4">
            <a:extLst>
              <a:ext uri="{FF2B5EF4-FFF2-40B4-BE49-F238E27FC236}">
                <a16:creationId xmlns:a16="http://schemas.microsoft.com/office/drawing/2014/main" id="{DC1A2327-30D7-43FF-A3C9-B94360D8A81A}"/>
              </a:ext>
            </a:extLst>
          </p:cNvPr>
          <p:cNvGrpSpPr/>
          <p:nvPr/>
        </p:nvGrpSpPr>
        <p:grpSpPr bwMode="auto">
          <a:xfrm>
            <a:off x="8370822" y="1766232"/>
            <a:ext cx="1841500" cy="1851025"/>
            <a:chOff x="6985000" y="1638325"/>
            <a:chExt cx="1841500" cy="1851025"/>
          </a:xfrm>
        </p:grpSpPr>
        <p:sp>
          <p:nvSpPr>
            <p:cNvPr id="104" name="Freeform 104">
              <a:extLst>
                <a:ext uri="{FF2B5EF4-FFF2-40B4-BE49-F238E27FC236}">
                  <a16:creationId xmlns:a16="http://schemas.microsoft.com/office/drawing/2014/main" id="{C132677B-568A-4740-BE49-00B5AD027685}"/>
                </a:ext>
              </a:extLst>
            </p:cNvPr>
            <p:cNvSpPr>
              <a:spLocks/>
            </p:cNvSpPr>
            <p:nvPr/>
          </p:nvSpPr>
          <p:spPr bwMode="auto">
            <a:xfrm>
              <a:off x="7896225" y="2281262"/>
              <a:ext cx="930275" cy="1039813"/>
            </a:xfrm>
            <a:custGeom>
              <a:avLst/>
              <a:gdLst/>
              <a:ahLst/>
              <a:cxnLst>
                <a:cxn ang="0">
                  <a:pos x="0" y="350"/>
                </a:cxn>
                <a:cxn ang="0">
                  <a:pos x="539" y="175"/>
                </a:cxn>
                <a:cxn ang="0">
                  <a:pos x="1079" y="0"/>
                </a:cxn>
                <a:cxn ang="0">
                  <a:pos x="1087" y="27"/>
                </a:cxn>
                <a:cxn ang="0">
                  <a:pos x="1095" y="53"/>
                </a:cxn>
                <a:cxn ang="0">
                  <a:pos x="1102" y="80"/>
                </a:cxn>
                <a:cxn ang="0">
                  <a:pos x="1108" y="108"/>
                </a:cxn>
                <a:cxn ang="0">
                  <a:pos x="1114" y="135"/>
                </a:cxn>
                <a:cxn ang="0">
                  <a:pos x="1119" y="162"/>
                </a:cxn>
                <a:cxn ang="0">
                  <a:pos x="1123" y="190"/>
                </a:cxn>
                <a:cxn ang="0">
                  <a:pos x="1127" y="217"/>
                </a:cxn>
                <a:cxn ang="0">
                  <a:pos x="1130" y="245"/>
                </a:cxn>
                <a:cxn ang="0">
                  <a:pos x="1132" y="273"/>
                </a:cxn>
                <a:cxn ang="0">
                  <a:pos x="1133" y="300"/>
                </a:cxn>
                <a:cxn ang="0">
                  <a:pos x="1134" y="328"/>
                </a:cxn>
                <a:cxn ang="0">
                  <a:pos x="1134" y="356"/>
                </a:cxn>
                <a:cxn ang="0">
                  <a:pos x="1134" y="384"/>
                </a:cxn>
                <a:cxn ang="0">
                  <a:pos x="1133" y="412"/>
                </a:cxn>
                <a:cxn ang="0">
                  <a:pos x="1131" y="439"/>
                </a:cxn>
                <a:cxn ang="0">
                  <a:pos x="1129" y="467"/>
                </a:cxn>
                <a:cxn ang="0">
                  <a:pos x="1125" y="495"/>
                </a:cxn>
                <a:cxn ang="0">
                  <a:pos x="1122" y="522"/>
                </a:cxn>
                <a:cxn ang="0">
                  <a:pos x="1117" y="550"/>
                </a:cxn>
                <a:cxn ang="0">
                  <a:pos x="1115" y="563"/>
                </a:cxn>
                <a:cxn ang="0">
                  <a:pos x="1112" y="577"/>
                </a:cxn>
                <a:cxn ang="0">
                  <a:pos x="1106" y="604"/>
                </a:cxn>
                <a:cxn ang="0">
                  <a:pos x="1100" y="631"/>
                </a:cxn>
                <a:cxn ang="0">
                  <a:pos x="1092" y="658"/>
                </a:cxn>
                <a:cxn ang="0">
                  <a:pos x="1084" y="685"/>
                </a:cxn>
                <a:cxn ang="0">
                  <a:pos x="1076" y="711"/>
                </a:cxn>
                <a:cxn ang="0">
                  <a:pos x="1067" y="738"/>
                </a:cxn>
                <a:cxn ang="0">
                  <a:pos x="1057" y="764"/>
                </a:cxn>
                <a:cxn ang="0">
                  <a:pos x="1046" y="789"/>
                </a:cxn>
                <a:cxn ang="0">
                  <a:pos x="1035" y="815"/>
                </a:cxn>
                <a:cxn ang="0">
                  <a:pos x="1023" y="840"/>
                </a:cxn>
                <a:cxn ang="0">
                  <a:pos x="1011" y="865"/>
                </a:cxn>
                <a:cxn ang="0">
                  <a:pos x="995" y="895"/>
                </a:cxn>
                <a:cxn ang="0">
                  <a:pos x="987" y="909"/>
                </a:cxn>
                <a:cxn ang="0">
                  <a:pos x="979" y="925"/>
                </a:cxn>
                <a:cxn ang="0">
                  <a:pos x="962" y="953"/>
                </a:cxn>
                <a:cxn ang="0">
                  <a:pos x="943" y="981"/>
                </a:cxn>
                <a:cxn ang="0">
                  <a:pos x="924" y="1009"/>
                </a:cxn>
                <a:cxn ang="0">
                  <a:pos x="905" y="1036"/>
                </a:cxn>
                <a:cxn ang="0">
                  <a:pos x="894" y="1049"/>
                </a:cxn>
                <a:cxn ang="0">
                  <a:pos x="884" y="1062"/>
                </a:cxn>
                <a:cxn ang="0">
                  <a:pos x="863" y="1088"/>
                </a:cxn>
                <a:cxn ang="0">
                  <a:pos x="841" y="1113"/>
                </a:cxn>
                <a:cxn ang="0">
                  <a:pos x="818" y="1137"/>
                </a:cxn>
                <a:cxn ang="0">
                  <a:pos x="795" y="1161"/>
                </a:cxn>
                <a:cxn ang="0">
                  <a:pos x="770" y="1184"/>
                </a:cxn>
                <a:cxn ang="0">
                  <a:pos x="745" y="1206"/>
                </a:cxn>
                <a:cxn ang="0">
                  <a:pos x="720" y="1228"/>
                </a:cxn>
                <a:cxn ang="0">
                  <a:pos x="707" y="1238"/>
                </a:cxn>
                <a:cxn ang="0">
                  <a:pos x="694" y="1249"/>
                </a:cxn>
                <a:cxn ang="0">
                  <a:pos x="667" y="1269"/>
                </a:cxn>
                <a:cxn ang="0">
                  <a:pos x="333" y="809"/>
                </a:cxn>
                <a:cxn ang="0">
                  <a:pos x="0" y="350"/>
                </a:cxn>
              </a:cxnLst>
              <a:rect l="0" t="0" r="r" b="b"/>
              <a:pathLst>
                <a:path w="1134" h="1269">
                  <a:moveTo>
                    <a:pt x="0" y="350"/>
                  </a:moveTo>
                  <a:lnTo>
                    <a:pt x="539" y="175"/>
                  </a:lnTo>
                  <a:lnTo>
                    <a:pt x="1079" y="0"/>
                  </a:lnTo>
                  <a:lnTo>
                    <a:pt x="1087" y="27"/>
                  </a:lnTo>
                  <a:lnTo>
                    <a:pt x="1095" y="53"/>
                  </a:lnTo>
                  <a:lnTo>
                    <a:pt x="1102" y="80"/>
                  </a:lnTo>
                  <a:lnTo>
                    <a:pt x="1108" y="108"/>
                  </a:lnTo>
                  <a:lnTo>
                    <a:pt x="1114" y="135"/>
                  </a:lnTo>
                  <a:lnTo>
                    <a:pt x="1119" y="162"/>
                  </a:lnTo>
                  <a:lnTo>
                    <a:pt x="1123" y="190"/>
                  </a:lnTo>
                  <a:lnTo>
                    <a:pt x="1127" y="217"/>
                  </a:lnTo>
                  <a:lnTo>
                    <a:pt x="1130" y="245"/>
                  </a:lnTo>
                  <a:lnTo>
                    <a:pt x="1132" y="273"/>
                  </a:lnTo>
                  <a:lnTo>
                    <a:pt x="1133" y="300"/>
                  </a:lnTo>
                  <a:lnTo>
                    <a:pt x="1134" y="328"/>
                  </a:lnTo>
                  <a:lnTo>
                    <a:pt x="1134" y="356"/>
                  </a:lnTo>
                  <a:lnTo>
                    <a:pt x="1134" y="384"/>
                  </a:lnTo>
                  <a:lnTo>
                    <a:pt x="1133" y="412"/>
                  </a:lnTo>
                  <a:lnTo>
                    <a:pt x="1131" y="439"/>
                  </a:lnTo>
                  <a:lnTo>
                    <a:pt x="1129" y="467"/>
                  </a:lnTo>
                  <a:lnTo>
                    <a:pt x="1125" y="495"/>
                  </a:lnTo>
                  <a:lnTo>
                    <a:pt x="1122" y="522"/>
                  </a:lnTo>
                  <a:lnTo>
                    <a:pt x="1117" y="550"/>
                  </a:lnTo>
                  <a:lnTo>
                    <a:pt x="1115" y="563"/>
                  </a:lnTo>
                  <a:lnTo>
                    <a:pt x="1112" y="577"/>
                  </a:lnTo>
                  <a:lnTo>
                    <a:pt x="1106" y="604"/>
                  </a:lnTo>
                  <a:lnTo>
                    <a:pt x="1100" y="631"/>
                  </a:lnTo>
                  <a:lnTo>
                    <a:pt x="1092" y="658"/>
                  </a:lnTo>
                  <a:lnTo>
                    <a:pt x="1084" y="685"/>
                  </a:lnTo>
                  <a:lnTo>
                    <a:pt x="1076" y="711"/>
                  </a:lnTo>
                  <a:lnTo>
                    <a:pt x="1067" y="738"/>
                  </a:lnTo>
                  <a:lnTo>
                    <a:pt x="1057" y="764"/>
                  </a:lnTo>
                  <a:lnTo>
                    <a:pt x="1046" y="789"/>
                  </a:lnTo>
                  <a:lnTo>
                    <a:pt x="1035" y="815"/>
                  </a:lnTo>
                  <a:lnTo>
                    <a:pt x="1023" y="840"/>
                  </a:lnTo>
                  <a:lnTo>
                    <a:pt x="1011" y="865"/>
                  </a:lnTo>
                  <a:lnTo>
                    <a:pt x="995" y="895"/>
                  </a:lnTo>
                  <a:lnTo>
                    <a:pt x="987" y="909"/>
                  </a:lnTo>
                  <a:lnTo>
                    <a:pt x="979" y="925"/>
                  </a:lnTo>
                  <a:lnTo>
                    <a:pt x="962" y="953"/>
                  </a:lnTo>
                  <a:lnTo>
                    <a:pt x="943" y="981"/>
                  </a:lnTo>
                  <a:lnTo>
                    <a:pt x="924" y="1009"/>
                  </a:lnTo>
                  <a:lnTo>
                    <a:pt x="905" y="1036"/>
                  </a:lnTo>
                  <a:lnTo>
                    <a:pt x="894" y="1049"/>
                  </a:lnTo>
                  <a:lnTo>
                    <a:pt x="884" y="1062"/>
                  </a:lnTo>
                  <a:lnTo>
                    <a:pt x="863" y="1088"/>
                  </a:lnTo>
                  <a:lnTo>
                    <a:pt x="841" y="1113"/>
                  </a:lnTo>
                  <a:lnTo>
                    <a:pt x="818" y="1137"/>
                  </a:lnTo>
                  <a:lnTo>
                    <a:pt x="795" y="1161"/>
                  </a:lnTo>
                  <a:lnTo>
                    <a:pt x="770" y="1184"/>
                  </a:lnTo>
                  <a:lnTo>
                    <a:pt x="745" y="1206"/>
                  </a:lnTo>
                  <a:lnTo>
                    <a:pt x="720" y="1228"/>
                  </a:lnTo>
                  <a:lnTo>
                    <a:pt x="707" y="1238"/>
                  </a:lnTo>
                  <a:lnTo>
                    <a:pt x="694" y="1249"/>
                  </a:lnTo>
                  <a:lnTo>
                    <a:pt x="667" y="1269"/>
                  </a:lnTo>
                  <a:lnTo>
                    <a:pt x="333" y="809"/>
                  </a:lnTo>
                  <a:lnTo>
                    <a:pt x="0" y="35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05" name="Freeform 105">
              <a:extLst>
                <a:ext uri="{FF2B5EF4-FFF2-40B4-BE49-F238E27FC236}">
                  <a16:creationId xmlns:a16="http://schemas.microsoft.com/office/drawing/2014/main" id="{32557BDC-8CD7-4D5C-8633-2EE695403231}"/>
                </a:ext>
              </a:extLst>
            </p:cNvPr>
            <p:cNvSpPr>
              <a:spLocks/>
            </p:cNvSpPr>
            <p:nvPr/>
          </p:nvSpPr>
          <p:spPr bwMode="auto">
            <a:xfrm>
              <a:off x="7896225" y="1638325"/>
              <a:ext cx="885825" cy="930275"/>
            </a:xfrm>
            <a:custGeom>
              <a:avLst/>
              <a:gdLst/>
              <a:ahLst/>
              <a:cxnLst>
                <a:cxn ang="0">
                  <a:pos x="0" y="1134"/>
                </a:cxn>
                <a:cxn ang="0">
                  <a:pos x="0" y="567"/>
                </a:cxn>
                <a:cxn ang="0">
                  <a:pos x="0" y="0"/>
                </a:cxn>
                <a:cxn ang="0">
                  <a:pos x="27" y="0"/>
                </a:cxn>
                <a:cxn ang="0">
                  <a:pos x="55" y="1"/>
                </a:cxn>
                <a:cxn ang="0">
                  <a:pos x="83" y="3"/>
                </a:cxn>
                <a:cxn ang="0">
                  <a:pos x="111" y="5"/>
                </a:cxn>
                <a:cxn ang="0">
                  <a:pos x="138" y="8"/>
                </a:cxn>
                <a:cxn ang="0">
                  <a:pos x="166" y="12"/>
                </a:cxn>
                <a:cxn ang="0">
                  <a:pos x="193" y="16"/>
                </a:cxn>
                <a:cxn ang="0">
                  <a:pos x="221" y="22"/>
                </a:cxn>
                <a:cxn ang="0">
                  <a:pos x="248" y="27"/>
                </a:cxn>
                <a:cxn ang="0">
                  <a:pos x="275" y="34"/>
                </a:cxn>
                <a:cxn ang="0">
                  <a:pos x="302" y="41"/>
                </a:cxn>
                <a:cxn ang="0">
                  <a:pos x="329" y="49"/>
                </a:cxn>
                <a:cxn ang="0">
                  <a:pos x="355" y="57"/>
                </a:cxn>
                <a:cxn ang="0">
                  <a:pos x="382" y="66"/>
                </a:cxn>
                <a:cxn ang="0">
                  <a:pos x="395" y="71"/>
                </a:cxn>
                <a:cxn ang="0">
                  <a:pos x="408" y="76"/>
                </a:cxn>
                <a:cxn ang="0">
                  <a:pos x="434" y="86"/>
                </a:cxn>
                <a:cxn ang="0">
                  <a:pos x="459" y="97"/>
                </a:cxn>
                <a:cxn ang="0">
                  <a:pos x="484" y="109"/>
                </a:cxn>
                <a:cxn ang="0">
                  <a:pos x="509" y="121"/>
                </a:cxn>
                <a:cxn ang="0">
                  <a:pos x="534" y="134"/>
                </a:cxn>
                <a:cxn ang="0">
                  <a:pos x="559" y="147"/>
                </a:cxn>
                <a:cxn ang="0">
                  <a:pos x="584" y="161"/>
                </a:cxn>
                <a:cxn ang="0">
                  <a:pos x="607" y="175"/>
                </a:cxn>
                <a:cxn ang="0">
                  <a:pos x="631" y="190"/>
                </a:cxn>
                <a:cxn ang="0">
                  <a:pos x="654" y="206"/>
                </a:cxn>
                <a:cxn ang="0">
                  <a:pos x="676" y="222"/>
                </a:cxn>
                <a:cxn ang="0">
                  <a:pos x="698" y="239"/>
                </a:cxn>
                <a:cxn ang="0">
                  <a:pos x="720" y="257"/>
                </a:cxn>
                <a:cxn ang="0">
                  <a:pos x="741" y="275"/>
                </a:cxn>
                <a:cxn ang="0">
                  <a:pos x="762" y="293"/>
                </a:cxn>
                <a:cxn ang="0">
                  <a:pos x="772" y="303"/>
                </a:cxn>
                <a:cxn ang="0">
                  <a:pos x="783" y="312"/>
                </a:cxn>
                <a:cxn ang="0">
                  <a:pos x="802" y="332"/>
                </a:cxn>
                <a:cxn ang="0">
                  <a:pos x="814" y="344"/>
                </a:cxn>
                <a:cxn ang="0">
                  <a:pos x="826" y="356"/>
                </a:cxn>
                <a:cxn ang="0">
                  <a:pos x="837" y="368"/>
                </a:cxn>
                <a:cxn ang="0">
                  <a:pos x="848" y="380"/>
                </a:cxn>
                <a:cxn ang="0">
                  <a:pos x="859" y="393"/>
                </a:cxn>
                <a:cxn ang="0">
                  <a:pos x="870" y="406"/>
                </a:cxn>
                <a:cxn ang="0">
                  <a:pos x="881" y="419"/>
                </a:cxn>
                <a:cxn ang="0">
                  <a:pos x="891" y="432"/>
                </a:cxn>
                <a:cxn ang="0">
                  <a:pos x="901" y="445"/>
                </a:cxn>
                <a:cxn ang="0">
                  <a:pos x="911" y="458"/>
                </a:cxn>
                <a:cxn ang="0">
                  <a:pos x="931" y="485"/>
                </a:cxn>
                <a:cxn ang="0">
                  <a:pos x="950" y="513"/>
                </a:cxn>
                <a:cxn ang="0">
                  <a:pos x="967" y="541"/>
                </a:cxn>
                <a:cxn ang="0">
                  <a:pos x="984" y="571"/>
                </a:cxn>
                <a:cxn ang="0">
                  <a:pos x="1001" y="600"/>
                </a:cxn>
                <a:cxn ang="0">
                  <a:pos x="1016" y="630"/>
                </a:cxn>
                <a:cxn ang="0">
                  <a:pos x="1030" y="660"/>
                </a:cxn>
                <a:cxn ang="0">
                  <a:pos x="1037" y="675"/>
                </a:cxn>
                <a:cxn ang="0">
                  <a:pos x="1044" y="690"/>
                </a:cxn>
                <a:cxn ang="0">
                  <a:pos x="1057" y="721"/>
                </a:cxn>
                <a:cxn ang="0">
                  <a:pos x="1068" y="753"/>
                </a:cxn>
                <a:cxn ang="0">
                  <a:pos x="1079" y="784"/>
                </a:cxn>
                <a:cxn ang="0">
                  <a:pos x="539" y="959"/>
                </a:cxn>
                <a:cxn ang="0">
                  <a:pos x="0" y="1134"/>
                </a:cxn>
              </a:cxnLst>
              <a:rect l="0" t="0" r="r" b="b"/>
              <a:pathLst>
                <a:path w="1079" h="1134">
                  <a:moveTo>
                    <a:pt x="0" y="1134"/>
                  </a:moveTo>
                  <a:lnTo>
                    <a:pt x="0" y="567"/>
                  </a:lnTo>
                  <a:lnTo>
                    <a:pt x="0" y="0"/>
                  </a:lnTo>
                  <a:lnTo>
                    <a:pt x="27" y="0"/>
                  </a:lnTo>
                  <a:lnTo>
                    <a:pt x="55" y="1"/>
                  </a:lnTo>
                  <a:lnTo>
                    <a:pt x="83" y="3"/>
                  </a:lnTo>
                  <a:lnTo>
                    <a:pt x="111" y="5"/>
                  </a:lnTo>
                  <a:lnTo>
                    <a:pt x="138" y="8"/>
                  </a:lnTo>
                  <a:lnTo>
                    <a:pt x="166" y="12"/>
                  </a:lnTo>
                  <a:lnTo>
                    <a:pt x="193" y="16"/>
                  </a:lnTo>
                  <a:lnTo>
                    <a:pt x="221" y="22"/>
                  </a:lnTo>
                  <a:lnTo>
                    <a:pt x="248" y="27"/>
                  </a:lnTo>
                  <a:lnTo>
                    <a:pt x="275" y="34"/>
                  </a:lnTo>
                  <a:lnTo>
                    <a:pt x="302" y="41"/>
                  </a:lnTo>
                  <a:lnTo>
                    <a:pt x="329" y="49"/>
                  </a:lnTo>
                  <a:lnTo>
                    <a:pt x="355" y="57"/>
                  </a:lnTo>
                  <a:lnTo>
                    <a:pt x="382" y="66"/>
                  </a:lnTo>
                  <a:lnTo>
                    <a:pt x="395" y="71"/>
                  </a:lnTo>
                  <a:lnTo>
                    <a:pt x="408" y="76"/>
                  </a:lnTo>
                  <a:lnTo>
                    <a:pt x="434" y="86"/>
                  </a:lnTo>
                  <a:lnTo>
                    <a:pt x="459" y="97"/>
                  </a:lnTo>
                  <a:lnTo>
                    <a:pt x="484" y="109"/>
                  </a:lnTo>
                  <a:lnTo>
                    <a:pt x="509" y="121"/>
                  </a:lnTo>
                  <a:lnTo>
                    <a:pt x="534" y="134"/>
                  </a:lnTo>
                  <a:lnTo>
                    <a:pt x="559" y="147"/>
                  </a:lnTo>
                  <a:lnTo>
                    <a:pt x="584" y="161"/>
                  </a:lnTo>
                  <a:lnTo>
                    <a:pt x="607" y="175"/>
                  </a:lnTo>
                  <a:lnTo>
                    <a:pt x="631" y="190"/>
                  </a:lnTo>
                  <a:lnTo>
                    <a:pt x="654" y="206"/>
                  </a:lnTo>
                  <a:lnTo>
                    <a:pt x="676" y="222"/>
                  </a:lnTo>
                  <a:lnTo>
                    <a:pt x="698" y="239"/>
                  </a:lnTo>
                  <a:lnTo>
                    <a:pt x="720" y="257"/>
                  </a:lnTo>
                  <a:lnTo>
                    <a:pt x="741" y="275"/>
                  </a:lnTo>
                  <a:lnTo>
                    <a:pt x="762" y="293"/>
                  </a:lnTo>
                  <a:lnTo>
                    <a:pt x="772" y="303"/>
                  </a:lnTo>
                  <a:lnTo>
                    <a:pt x="783" y="312"/>
                  </a:lnTo>
                  <a:lnTo>
                    <a:pt x="802" y="332"/>
                  </a:lnTo>
                  <a:lnTo>
                    <a:pt x="814" y="344"/>
                  </a:lnTo>
                  <a:lnTo>
                    <a:pt x="826" y="356"/>
                  </a:lnTo>
                  <a:lnTo>
                    <a:pt x="837" y="368"/>
                  </a:lnTo>
                  <a:lnTo>
                    <a:pt x="848" y="380"/>
                  </a:lnTo>
                  <a:lnTo>
                    <a:pt x="859" y="393"/>
                  </a:lnTo>
                  <a:lnTo>
                    <a:pt x="870" y="406"/>
                  </a:lnTo>
                  <a:lnTo>
                    <a:pt x="881" y="419"/>
                  </a:lnTo>
                  <a:lnTo>
                    <a:pt x="891" y="432"/>
                  </a:lnTo>
                  <a:lnTo>
                    <a:pt x="901" y="445"/>
                  </a:lnTo>
                  <a:lnTo>
                    <a:pt x="911" y="458"/>
                  </a:lnTo>
                  <a:lnTo>
                    <a:pt x="931" y="485"/>
                  </a:lnTo>
                  <a:lnTo>
                    <a:pt x="950" y="513"/>
                  </a:lnTo>
                  <a:lnTo>
                    <a:pt x="967" y="541"/>
                  </a:lnTo>
                  <a:lnTo>
                    <a:pt x="984" y="571"/>
                  </a:lnTo>
                  <a:lnTo>
                    <a:pt x="1001" y="600"/>
                  </a:lnTo>
                  <a:lnTo>
                    <a:pt x="1016" y="630"/>
                  </a:lnTo>
                  <a:lnTo>
                    <a:pt x="1030" y="660"/>
                  </a:lnTo>
                  <a:lnTo>
                    <a:pt x="1037" y="675"/>
                  </a:lnTo>
                  <a:lnTo>
                    <a:pt x="1044" y="690"/>
                  </a:lnTo>
                  <a:lnTo>
                    <a:pt x="1057" y="721"/>
                  </a:lnTo>
                  <a:lnTo>
                    <a:pt x="1068" y="753"/>
                  </a:lnTo>
                  <a:lnTo>
                    <a:pt x="1079" y="784"/>
                  </a:lnTo>
                  <a:lnTo>
                    <a:pt x="539" y="959"/>
                  </a:lnTo>
                  <a:lnTo>
                    <a:pt x="0" y="1134"/>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06" name="Freeform 106">
              <a:extLst>
                <a:ext uri="{FF2B5EF4-FFF2-40B4-BE49-F238E27FC236}">
                  <a16:creationId xmlns:a16="http://schemas.microsoft.com/office/drawing/2014/main" id="{7D69C674-9240-4039-AFCC-710496499E69}"/>
                </a:ext>
              </a:extLst>
            </p:cNvPr>
            <p:cNvSpPr>
              <a:spLocks/>
            </p:cNvSpPr>
            <p:nvPr/>
          </p:nvSpPr>
          <p:spPr bwMode="auto">
            <a:xfrm>
              <a:off x="7358063" y="2559075"/>
              <a:ext cx="1095375" cy="930275"/>
            </a:xfrm>
            <a:custGeom>
              <a:avLst/>
              <a:gdLst/>
              <a:ahLst/>
              <a:cxnLst>
                <a:cxn ang="0">
                  <a:pos x="668" y="0"/>
                </a:cxn>
                <a:cxn ang="0">
                  <a:pos x="1001" y="459"/>
                </a:cxn>
                <a:cxn ang="0">
                  <a:pos x="1335" y="919"/>
                </a:cxn>
                <a:cxn ang="0">
                  <a:pos x="1312" y="935"/>
                </a:cxn>
                <a:cxn ang="0">
                  <a:pos x="1289" y="950"/>
                </a:cxn>
                <a:cxn ang="0">
                  <a:pos x="1266" y="965"/>
                </a:cxn>
                <a:cxn ang="0">
                  <a:pos x="1242" y="980"/>
                </a:cxn>
                <a:cxn ang="0">
                  <a:pos x="1217" y="993"/>
                </a:cxn>
                <a:cxn ang="0">
                  <a:pos x="1192" y="1006"/>
                </a:cxn>
                <a:cxn ang="0">
                  <a:pos x="1167" y="1019"/>
                </a:cxn>
                <a:cxn ang="0">
                  <a:pos x="1142" y="1031"/>
                </a:cxn>
                <a:cxn ang="0">
                  <a:pos x="1117" y="1042"/>
                </a:cxn>
                <a:cxn ang="0">
                  <a:pos x="1091" y="1053"/>
                </a:cxn>
                <a:cxn ang="0">
                  <a:pos x="1065" y="1063"/>
                </a:cxn>
                <a:cxn ang="0">
                  <a:pos x="1039" y="1072"/>
                </a:cxn>
                <a:cxn ang="0">
                  <a:pos x="1013" y="1081"/>
                </a:cxn>
                <a:cxn ang="0">
                  <a:pos x="986" y="1089"/>
                </a:cxn>
                <a:cxn ang="0">
                  <a:pos x="959" y="1097"/>
                </a:cxn>
                <a:cxn ang="0">
                  <a:pos x="932" y="1104"/>
                </a:cxn>
                <a:cxn ang="0">
                  <a:pos x="905" y="1110"/>
                </a:cxn>
                <a:cxn ang="0">
                  <a:pos x="878" y="1115"/>
                </a:cxn>
                <a:cxn ang="0">
                  <a:pos x="851" y="1120"/>
                </a:cxn>
                <a:cxn ang="0">
                  <a:pos x="823" y="1125"/>
                </a:cxn>
                <a:cxn ang="0">
                  <a:pos x="795" y="1128"/>
                </a:cxn>
                <a:cxn ang="0">
                  <a:pos x="768" y="1131"/>
                </a:cxn>
                <a:cxn ang="0">
                  <a:pos x="740" y="1133"/>
                </a:cxn>
                <a:cxn ang="0">
                  <a:pos x="712" y="1135"/>
                </a:cxn>
                <a:cxn ang="0">
                  <a:pos x="684" y="1135"/>
                </a:cxn>
                <a:cxn ang="0">
                  <a:pos x="657" y="1135"/>
                </a:cxn>
                <a:cxn ang="0">
                  <a:pos x="629" y="1135"/>
                </a:cxn>
                <a:cxn ang="0">
                  <a:pos x="601" y="1134"/>
                </a:cxn>
                <a:cxn ang="0">
                  <a:pos x="573" y="1132"/>
                </a:cxn>
                <a:cxn ang="0">
                  <a:pos x="545" y="1129"/>
                </a:cxn>
                <a:cxn ang="0">
                  <a:pos x="518" y="1125"/>
                </a:cxn>
                <a:cxn ang="0">
                  <a:pos x="490" y="1121"/>
                </a:cxn>
                <a:cxn ang="0">
                  <a:pos x="457" y="1115"/>
                </a:cxn>
                <a:cxn ang="0">
                  <a:pos x="425" y="1109"/>
                </a:cxn>
                <a:cxn ang="0">
                  <a:pos x="392" y="1101"/>
                </a:cxn>
                <a:cxn ang="0">
                  <a:pos x="360" y="1093"/>
                </a:cxn>
                <a:cxn ang="0">
                  <a:pos x="328" y="1083"/>
                </a:cxn>
                <a:cxn ang="0">
                  <a:pos x="296" y="1072"/>
                </a:cxn>
                <a:cxn ang="0">
                  <a:pos x="265" y="1061"/>
                </a:cxn>
                <a:cxn ang="0">
                  <a:pos x="234" y="1049"/>
                </a:cxn>
                <a:cxn ang="0">
                  <a:pos x="203" y="1036"/>
                </a:cxn>
                <a:cxn ang="0">
                  <a:pos x="173" y="1021"/>
                </a:cxn>
                <a:cxn ang="0">
                  <a:pos x="158" y="1014"/>
                </a:cxn>
                <a:cxn ang="0">
                  <a:pos x="143" y="1006"/>
                </a:cxn>
                <a:cxn ang="0">
                  <a:pos x="114" y="991"/>
                </a:cxn>
                <a:cxn ang="0">
                  <a:pos x="84" y="974"/>
                </a:cxn>
                <a:cxn ang="0">
                  <a:pos x="55" y="956"/>
                </a:cxn>
                <a:cxn ang="0">
                  <a:pos x="27" y="938"/>
                </a:cxn>
                <a:cxn ang="0">
                  <a:pos x="0" y="919"/>
                </a:cxn>
                <a:cxn ang="0">
                  <a:pos x="334" y="459"/>
                </a:cxn>
                <a:cxn ang="0">
                  <a:pos x="668" y="0"/>
                </a:cxn>
              </a:cxnLst>
              <a:rect l="0" t="0" r="r" b="b"/>
              <a:pathLst>
                <a:path w="1335" h="1135">
                  <a:moveTo>
                    <a:pt x="668" y="0"/>
                  </a:moveTo>
                  <a:lnTo>
                    <a:pt x="1001" y="459"/>
                  </a:lnTo>
                  <a:lnTo>
                    <a:pt x="1335" y="919"/>
                  </a:lnTo>
                  <a:lnTo>
                    <a:pt x="1312" y="935"/>
                  </a:lnTo>
                  <a:lnTo>
                    <a:pt x="1289" y="950"/>
                  </a:lnTo>
                  <a:lnTo>
                    <a:pt x="1266" y="965"/>
                  </a:lnTo>
                  <a:lnTo>
                    <a:pt x="1242" y="980"/>
                  </a:lnTo>
                  <a:lnTo>
                    <a:pt x="1217" y="993"/>
                  </a:lnTo>
                  <a:lnTo>
                    <a:pt x="1192" y="1006"/>
                  </a:lnTo>
                  <a:lnTo>
                    <a:pt x="1167" y="1019"/>
                  </a:lnTo>
                  <a:lnTo>
                    <a:pt x="1142" y="1031"/>
                  </a:lnTo>
                  <a:lnTo>
                    <a:pt x="1117" y="1042"/>
                  </a:lnTo>
                  <a:lnTo>
                    <a:pt x="1091" y="1053"/>
                  </a:lnTo>
                  <a:lnTo>
                    <a:pt x="1065" y="1063"/>
                  </a:lnTo>
                  <a:lnTo>
                    <a:pt x="1039" y="1072"/>
                  </a:lnTo>
                  <a:lnTo>
                    <a:pt x="1013" y="1081"/>
                  </a:lnTo>
                  <a:lnTo>
                    <a:pt x="986" y="1089"/>
                  </a:lnTo>
                  <a:lnTo>
                    <a:pt x="959" y="1097"/>
                  </a:lnTo>
                  <a:lnTo>
                    <a:pt x="932" y="1104"/>
                  </a:lnTo>
                  <a:lnTo>
                    <a:pt x="905" y="1110"/>
                  </a:lnTo>
                  <a:lnTo>
                    <a:pt x="878" y="1115"/>
                  </a:lnTo>
                  <a:lnTo>
                    <a:pt x="851" y="1120"/>
                  </a:lnTo>
                  <a:lnTo>
                    <a:pt x="823" y="1125"/>
                  </a:lnTo>
                  <a:lnTo>
                    <a:pt x="795" y="1128"/>
                  </a:lnTo>
                  <a:lnTo>
                    <a:pt x="768" y="1131"/>
                  </a:lnTo>
                  <a:lnTo>
                    <a:pt x="740" y="1133"/>
                  </a:lnTo>
                  <a:lnTo>
                    <a:pt x="712" y="1135"/>
                  </a:lnTo>
                  <a:lnTo>
                    <a:pt x="684" y="1135"/>
                  </a:lnTo>
                  <a:lnTo>
                    <a:pt x="657" y="1135"/>
                  </a:lnTo>
                  <a:lnTo>
                    <a:pt x="629" y="1135"/>
                  </a:lnTo>
                  <a:lnTo>
                    <a:pt x="601" y="1134"/>
                  </a:lnTo>
                  <a:lnTo>
                    <a:pt x="573" y="1132"/>
                  </a:lnTo>
                  <a:lnTo>
                    <a:pt x="545" y="1129"/>
                  </a:lnTo>
                  <a:lnTo>
                    <a:pt x="518" y="1125"/>
                  </a:lnTo>
                  <a:lnTo>
                    <a:pt x="490" y="1121"/>
                  </a:lnTo>
                  <a:lnTo>
                    <a:pt x="457" y="1115"/>
                  </a:lnTo>
                  <a:lnTo>
                    <a:pt x="425" y="1109"/>
                  </a:lnTo>
                  <a:lnTo>
                    <a:pt x="392" y="1101"/>
                  </a:lnTo>
                  <a:lnTo>
                    <a:pt x="360" y="1093"/>
                  </a:lnTo>
                  <a:lnTo>
                    <a:pt x="328" y="1083"/>
                  </a:lnTo>
                  <a:lnTo>
                    <a:pt x="296" y="1072"/>
                  </a:lnTo>
                  <a:lnTo>
                    <a:pt x="265" y="1061"/>
                  </a:lnTo>
                  <a:lnTo>
                    <a:pt x="234" y="1049"/>
                  </a:lnTo>
                  <a:lnTo>
                    <a:pt x="203" y="1036"/>
                  </a:lnTo>
                  <a:lnTo>
                    <a:pt x="173" y="1021"/>
                  </a:lnTo>
                  <a:lnTo>
                    <a:pt x="158" y="1014"/>
                  </a:lnTo>
                  <a:lnTo>
                    <a:pt x="143" y="1006"/>
                  </a:lnTo>
                  <a:lnTo>
                    <a:pt x="114" y="991"/>
                  </a:lnTo>
                  <a:lnTo>
                    <a:pt x="84" y="974"/>
                  </a:lnTo>
                  <a:lnTo>
                    <a:pt x="55" y="956"/>
                  </a:lnTo>
                  <a:lnTo>
                    <a:pt x="27" y="938"/>
                  </a:lnTo>
                  <a:lnTo>
                    <a:pt x="0" y="919"/>
                  </a:lnTo>
                  <a:lnTo>
                    <a:pt x="334" y="459"/>
                  </a:lnTo>
                  <a:lnTo>
                    <a:pt x="668"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07" name="Freeform 107">
              <a:extLst>
                <a:ext uri="{FF2B5EF4-FFF2-40B4-BE49-F238E27FC236}">
                  <a16:creationId xmlns:a16="http://schemas.microsoft.com/office/drawing/2014/main" id="{46F03E02-F600-442F-8088-D317AE57D1F2}"/>
                </a:ext>
              </a:extLst>
            </p:cNvPr>
            <p:cNvSpPr>
              <a:spLocks/>
            </p:cNvSpPr>
            <p:nvPr/>
          </p:nvSpPr>
          <p:spPr bwMode="auto">
            <a:xfrm>
              <a:off x="6985000" y="2281262"/>
              <a:ext cx="930275" cy="1039813"/>
            </a:xfrm>
            <a:custGeom>
              <a:avLst/>
              <a:gdLst/>
              <a:ahLst/>
              <a:cxnLst>
                <a:cxn ang="0">
                  <a:pos x="1135" y="350"/>
                </a:cxn>
                <a:cxn ang="0">
                  <a:pos x="801" y="809"/>
                </a:cxn>
                <a:cxn ang="0">
                  <a:pos x="467" y="1269"/>
                </a:cxn>
                <a:cxn ang="0">
                  <a:pos x="445" y="1252"/>
                </a:cxn>
                <a:cxn ang="0">
                  <a:pos x="423" y="1235"/>
                </a:cxn>
                <a:cxn ang="0">
                  <a:pos x="401" y="1217"/>
                </a:cxn>
                <a:cxn ang="0">
                  <a:pos x="380" y="1199"/>
                </a:cxn>
                <a:cxn ang="0">
                  <a:pos x="360" y="1180"/>
                </a:cxn>
                <a:cxn ang="0">
                  <a:pos x="340" y="1161"/>
                </a:cxn>
                <a:cxn ang="0">
                  <a:pos x="330" y="1151"/>
                </a:cxn>
                <a:cxn ang="0">
                  <a:pos x="320" y="1141"/>
                </a:cxn>
                <a:cxn ang="0">
                  <a:pos x="301" y="1121"/>
                </a:cxn>
                <a:cxn ang="0">
                  <a:pos x="282" y="1100"/>
                </a:cxn>
                <a:cxn ang="0">
                  <a:pos x="264" y="1079"/>
                </a:cxn>
                <a:cxn ang="0">
                  <a:pos x="247" y="1058"/>
                </a:cxn>
                <a:cxn ang="0">
                  <a:pos x="230" y="1036"/>
                </a:cxn>
                <a:cxn ang="0">
                  <a:pos x="213" y="1013"/>
                </a:cxn>
                <a:cxn ang="0">
                  <a:pos x="197" y="990"/>
                </a:cxn>
                <a:cxn ang="0">
                  <a:pos x="182" y="967"/>
                </a:cxn>
                <a:cxn ang="0">
                  <a:pos x="167" y="944"/>
                </a:cxn>
                <a:cxn ang="0">
                  <a:pos x="153" y="920"/>
                </a:cxn>
                <a:cxn ang="0">
                  <a:pos x="139" y="895"/>
                </a:cxn>
                <a:cxn ang="0">
                  <a:pos x="126" y="870"/>
                </a:cxn>
                <a:cxn ang="0">
                  <a:pos x="113" y="845"/>
                </a:cxn>
                <a:cxn ang="0">
                  <a:pos x="101" y="820"/>
                </a:cxn>
                <a:cxn ang="0">
                  <a:pos x="90" y="795"/>
                </a:cxn>
                <a:cxn ang="0">
                  <a:pos x="79" y="769"/>
                </a:cxn>
                <a:cxn ang="0">
                  <a:pos x="69" y="743"/>
                </a:cxn>
                <a:cxn ang="0">
                  <a:pos x="60" y="717"/>
                </a:cxn>
                <a:cxn ang="0">
                  <a:pos x="51" y="690"/>
                </a:cxn>
                <a:cxn ang="0">
                  <a:pos x="43" y="664"/>
                </a:cxn>
                <a:cxn ang="0">
                  <a:pos x="36" y="637"/>
                </a:cxn>
                <a:cxn ang="0">
                  <a:pos x="29" y="610"/>
                </a:cxn>
                <a:cxn ang="0">
                  <a:pos x="23" y="583"/>
                </a:cxn>
                <a:cxn ang="0">
                  <a:pos x="18" y="555"/>
                </a:cxn>
                <a:cxn ang="0">
                  <a:pos x="14" y="528"/>
                </a:cxn>
                <a:cxn ang="0">
                  <a:pos x="9" y="495"/>
                </a:cxn>
                <a:cxn ang="0">
                  <a:pos x="7" y="478"/>
                </a:cxn>
                <a:cxn ang="0">
                  <a:pos x="5" y="462"/>
                </a:cxn>
                <a:cxn ang="0">
                  <a:pos x="2" y="428"/>
                </a:cxn>
                <a:cxn ang="0">
                  <a:pos x="1" y="395"/>
                </a:cxn>
                <a:cxn ang="0">
                  <a:pos x="0" y="378"/>
                </a:cxn>
                <a:cxn ang="0">
                  <a:pos x="0" y="362"/>
                </a:cxn>
                <a:cxn ang="0">
                  <a:pos x="0" y="328"/>
                </a:cxn>
                <a:cxn ang="0">
                  <a:pos x="0" y="312"/>
                </a:cxn>
                <a:cxn ang="0">
                  <a:pos x="1" y="295"/>
                </a:cxn>
                <a:cxn ang="0">
                  <a:pos x="3" y="262"/>
                </a:cxn>
                <a:cxn ang="0">
                  <a:pos x="6" y="228"/>
                </a:cxn>
                <a:cxn ang="0">
                  <a:pos x="10" y="195"/>
                </a:cxn>
                <a:cxn ang="0">
                  <a:pos x="15" y="162"/>
                </a:cxn>
                <a:cxn ang="0">
                  <a:pos x="18" y="146"/>
                </a:cxn>
                <a:cxn ang="0">
                  <a:pos x="21" y="129"/>
                </a:cxn>
                <a:cxn ang="0">
                  <a:pos x="28" y="97"/>
                </a:cxn>
                <a:cxn ang="0">
                  <a:pos x="36" y="64"/>
                </a:cxn>
                <a:cxn ang="0">
                  <a:pos x="45" y="32"/>
                </a:cxn>
                <a:cxn ang="0">
                  <a:pos x="55" y="0"/>
                </a:cxn>
                <a:cxn ang="0">
                  <a:pos x="595" y="175"/>
                </a:cxn>
                <a:cxn ang="0">
                  <a:pos x="1135" y="350"/>
                </a:cxn>
              </a:cxnLst>
              <a:rect l="0" t="0" r="r" b="b"/>
              <a:pathLst>
                <a:path w="1135" h="1269">
                  <a:moveTo>
                    <a:pt x="1135" y="350"/>
                  </a:moveTo>
                  <a:lnTo>
                    <a:pt x="801" y="809"/>
                  </a:lnTo>
                  <a:lnTo>
                    <a:pt x="467" y="1269"/>
                  </a:lnTo>
                  <a:lnTo>
                    <a:pt x="445" y="1252"/>
                  </a:lnTo>
                  <a:lnTo>
                    <a:pt x="423" y="1235"/>
                  </a:lnTo>
                  <a:lnTo>
                    <a:pt x="401" y="1217"/>
                  </a:lnTo>
                  <a:lnTo>
                    <a:pt x="380" y="1199"/>
                  </a:lnTo>
                  <a:lnTo>
                    <a:pt x="360" y="1180"/>
                  </a:lnTo>
                  <a:lnTo>
                    <a:pt x="340" y="1161"/>
                  </a:lnTo>
                  <a:lnTo>
                    <a:pt x="330" y="1151"/>
                  </a:lnTo>
                  <a:lnTo>
                    <a:pt x="320" y="1141"/>
                  </a:lnTo>
                  <a:lnTo>
                    <a:pt x="301" y="1121"/>
                  </a:lnTo>
                  <a:lnTo>
                    <a:pt x="282" y="1100"/>
                  </a:lnTo>
                  <a:lnTo>
                    <a:pt x="264" y="1079"/>
                  </a:lnTo>
                  <a:lnTo>
                    <a:pt x="247" y="1058"/>
                  </a:lnTo>
                  <a:lnTo>
                    <a:pt x="230" y="1036"/>
                  </a:lnTo>
                  <a:lnTo>
                    <a:pt x="213" y="1013"/>
                  </a:lnTo>
                  <a:lnTo>
                    <a:pt x="197" y="990"/>
                  </a:lnTo>
                  <a:lnTo>
                    <a:pt x="182" y="967"/>
                  </a:lnTo>
                  <a:lnTo>
                    <a:pt x="167" y="944"/>
                  </a:lnTo>
                  <a:lnTo>
                    <a:pt x="153" y="920"/>
                  </a:lnTo>
                  <a:lnTo>
                    <a:pt x="139" y="895"/>
                  </a:lnTo>
                  <a:lnTo>
                    <a:pt x="126" y="870"/>
                  </a:lnTo>
                  <a:lnTo>
                    <a:pt x="113" y="845"/>
                  </a:lnTo>
                  <a:lnTo>
                    <a:pt x="101" y="820"/>
                  </a:lnTo>
                  <a:lnTo>
                    <a:pt x="90" y="795"/>
                  </a:lnTo>
                  <a:lnTo>
                    <a:pt x="79" y="769"/>
                  </a:lnTo>
                  <a:lnTo>
                    <a:pt x="69" y="743"/>
                  </a:lnTo>
                  <a:lnTo>
                    <a:pt x="60" y="717"/>
                  </a:lnTo>
                  <a:lnTo>
                    <a:pt x="51" y="690"/>
                  </a:lnTo>
                  <a:lnTo>
                    <a:pt x="43" y="664"/>
                  </a:lnTo>
                  <a:lnTo>
                    <a:pt x="36" y="637"/>
                  </a:lnTo>
                  <a:lnTo>
                    <a:pt x="29" y="610"/>
                  </a:lnTo>
                  <a:lnTo>
                    <a:pt x="23" y="583"/>
                  </a:lnTo>
                  <a:lnTo>
                    <a:pt x="18" y="555"/>
                  </a:lnTo>
                  <a:lnTo>
                    <a:pt x="14" y="528"/>
                  </a:lnTo>
                  <a:lnTo>
                    <a:pt x="9" y="495"/>
                  </a:lnTo>
                  <a:lnTo>
                    <a:pt x="7" y="478"/>
                  </a:lnTo>
                  <a:lnTo>
                    <a:pt x="5" y="462"/>
                  </a:lnTo>
                  <a:lnTo>
                    <a:pt x="2" y="428"/>
                  </a:lnTo>
                  <a:lnTo>
                    <a:pt x="1" y="395"/>
                  </a:lnTo>
                  <a:lnTo>
                    <a:pt x="0" y="378"/>
                  </a:lnTo>
                  <a:lnTo>
                    <a:pt x="0" y="362"/>
                  </a:lnTo>
                  <a:lnTo>
                    <a:pt x="0" y="328"/>
                  </a:lnTo>
                  <a:lnTo>
                    <a:pt x="0" y="312"/>
                  </a:lnTo>
                  <a:lnTo>
                    <a:pt x="1" y="295"/>
                  </a:lnTo>
                  <a:lnTo>
                    <a:pt x="3" y="262"/>
                  </a:lnTo>
                  <a:lnTo>
                    <a:pt x="6" y="228"/>
                  </a:lnTo>
                  <a:lnTo>
                    <a:pt x="10" y="195"/>
                  </a:lnTo>
                  <a:lnTo>
                    <a:pt x="15" y="162"/>
                  </a:lnTo>
                  <a:lnTo>
                    <a:pt x="18" y="146"/>
                  </a:lnTo>
                  <a:lnTo>
                    <a:pt x="21" y="129"/>
                  </a:lnTo>
                  <a:lnTo>
                    <a:pt x="28" y="97"/>
                  </a:lnTo>
                  <a:lnTo>
                    <a:pt x="36" y="64"/>
                  </a:lnTo>
                  <a:lnTo>
                    <a:pt x="45" y="32"/>
                  </a:lnTo>
                  <a:lnTo>
                    <a:pt x="55" y="0"/>
                  </a:lnTo>
                  <a:lnTo>
                    <a:pt x="595" y="175"/>
                  </a:lnTo>
                  <a:lnTo>
                    <a:pt x="1135" y="35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08" name="Freeform 108">
              <a:extLst>
                <a:ext uri="{FF2B5EF4-FFF2-40B4-BE49-F238E27FC236}">
                  <a16:creationId xmlns:a16="http://schemas.microsoft.com/office/drawing/2014/main" id="{B1EB1A94-82AF-4D0B-A258-20C978F73F56}"/>
                </a:ext>
              </a:extLst>
            </p:cNvPr>
            <p:cNvSpPr>
              <a:spLocks/>
            </p:cNvSpPr>
            <p:nvPr/>
          </p:nvSpPr>
          <p:spPr bwMode="auto">
            <a:xfrm>
              <a:off x="7029450" y="1638325"/>
              <a:ext cx="885825" cy="930275"/>
            </a:xfrm>
            <a:custGeom>
              <a:avLst/>
              <a:gdLst/>
              <a:ahLst/>
              <a:cxnLst>
                <a:cxn ang="0">
                  <a:pos x="1080" y="1134"/>
                </a:cxn>
                <a:cxn ang="0">
                  <a:pos x="540" y="959"/>
                </a:cxn>
                <a:cxn ang="0">
                  <a:pos x="0" y="784"/>
                </a:cxn>
                <a:cxn ang="0">
                  <a:pos x="9" y="758"/>
                </a:cxn>
                <a:cxn ang="0">
                  <a:pos x="19" y="732"/>
                </a:cxn>
                <a:cxn ang="0">
                  <a:pos x="29" y="706"/>
                </a:cxn>
                <a:cxn ang="0">
                  <a:pos x="40" y="680"/>
                </a:cxn>
                <a:cxn ang="0">
                  <a:pos x="51" y="655"/>
                </a:cxn>
                <a:cxn ang="0">
                  <a:pos x="63" y="630"/>
                </a:cxn>
                <a:cxn ang="0">
                  <a:pos x="76" y="605"/>
                </a:cxn>
                <a:cxn ang="0">
                  <a:pos x="89" y="581"/>
                </a:cxn>
                <a:cxn ang="0">
                  <a:pos x="103" y="555"/>
                </a:cxn>
                <a:cxn ang="0">
                  <a:pos x="118" y="532"/>
                </a:cxn>
                <a:cxn ang="0">
                  <a:pos x="133" y="508"/>
                </a:cxn>
                <a:cxn ang="0">
                  <a:pos x="141" y="497"/>
                </a:cxn>
                <a:cxn ang="0">
                  <a:pos x="148" y="485"/>
                </a:cxn>
                <a:cxn ang="0">
                  <a:pos x="165" y="463"/>
                </a:cxn>
                <a:cxn ang="0">
                  <a:pos x="181" y="440"/>
                </a:cxn>
                <a:cxn ang="0">
                  <a:pos x="199" y="419"/>
                </a:cxn>
                <a:cxn ang="0">
                  <a:pos x="216" y="397"/>
                </a:cxn>
                <a:cxn ang="0">
                  <a:pos x="235" y="376"/>
                </a:cxn>
                <a:cxn ang="0">
                  <a:pos x="253" y="356"/>
                </a:cxn>
                <a:cxn ang="0">
                  <a:pos x="273" y="336"/>
                </a:cxn>
                <a:cxn ang="0">
                  <a:pos x="293" y="316"/>
                </a:cxn>
                <a:cxn ang="0">
                  <a:pos x="313" y="297"/>
                </a:cxn>
                <a:cxn ang="0">
                  <a:pos x="334" y="279"/>
                </a:cxn>
                <a:cxn ang="0">
                  <a:pos x="355" y="260"/>
                </a:cxn>
                <a:cxn ang="0">
                  <a:pos x="376" y="243"/>
                </a:cxn>
                <a:cxn ang="0">
                  <a:pos x="398" y="226"/>
                </a:cxn>
                <a:cxn ang="0">
                  <a:pos x="421" y="210"/>
                </a:cxn>
                <a:cxn ang="0">
                  <a:pos x="444" y="194"/>
                </a:cxn>
                <a:cxn ang="0">
                  <a:pos x="467" y="178"/>
                </a:cxn>
                <a:cxn ang="0">
                  <a:pos x="491" y="164"/>
                </a:cxn>
                <a:cxn ang="0">
                  <a:pos x="516" y="150"/>
                </a:cxn>
                <a:cxn ang="0">
                  <a:pos x="540" y="136"/>
                </a:cxn>
                <a:cxn ang="0">
                  <a:pos x="565" y="123"/>
                </a:cxn>
                <a:cxn ang="0">
                  <a:pos x="595" y="109"/>
                </a:cxn>
                <a:cxn ang="0">
                  <a:pos x="625" y="95"/>
                </a:cxn>
                <a:cxn ang="0">
                  <a:pos x="656" y="82"/>
                </a:cxn>
                <a:cxn ang="0">
                  <a:pos x="672" y="76"/>
                </a:cxn>
                <a:cxn ang="0">
                  <a:pos x="687" y="70"/>
                </a:cxn>
                <a:cxn ang="0">
                  <a:pos x="719" y="59"/>
                </a:cxn>
                <a:cxn ang="0">
                  <a:pos x="750" y="49"/>
                </a:cxn>
                <a:cxn ang="0">
                  <a:pos x="783" y="39"/>
                </a:cxn>
                <a:cxn ang="0">
                  <a:pos x="815" y="31"/>
                </a:cxn>
                <a:cxn ang="0">
                  <a:pos x="847" y="24"/>
                </a:cxn>
                <a:cxn ang="0">
                  <a:pos x="864" y="21"/>
                </a:cxn>
                <a:cxn ang="0">
                  <a:pos x="880" y="17"/>
                </a:cxn>
                <a:cxn ang="0">
                  <a:pos x="913" y="12"/>
                </a:cxn>
                <a:cxn ang="0">
                  <a:pos x="946" y="8"/>
                </a:cxn>
                <a:cxn ang="0">
                  <a:pos x="980" y="4"/>
                </a:cxn>
                <a:cxn ang="0">
                  <a:pos x="1013" y="2"/>
                </a:cxn>
                <a:cxn ang="0">
                  <a:pos x="1046" y="0"/>
                </a:cxn>
                <a:cxn ang="0">
                  <a:pos x="1080" y="0"/>
                </a:cxn>
                <a:cxn ang="0">
                  <a:pos x="1080" y="567"/>
                </a:cxn>
                <a:cxn ang="0">
                  <a:pos x="1080" y="1134"/>
                </a:cxn>
              </a:cxnLst>
              <a:rect l="0" t="0" r="r" b="b"/>
              <a:pathLst>
                <a:path w="1080" h="1134">
                  <a:moveTo>
                    <a:pt x="1080" y="1134"/>
                  </a:moveTo>
                  <a:lnTo>
                    <a:pt x="540" y="959"/>
                  </a:lnTo>
                  <a:lnTo>
                    <a:pt x="0" y="784"/>
                  </a:lnTo>
                  <a:lnTo>
                    <a:pt x="9" y="758"/>
                  </a:lnTo>
                  <a:lnTo>
                    <a:pt x="19" y="732"/>
                  </a:lnTo>
                  <a:lnTo>
                    <a:pt x="29" y="706"/>
                  </a:lnTo>
                  <a:lnTo>
                    <a:pt x="40" y="680"/>
                  </a:lnTo>
                  <a:lnTo>
                    <a:pt x="51" y="655"/>
                  </a:lnTo>
                  <a:lnTo>
                    <a:pt x="63" y="630"/>
                  </a:lnTo>
                  <a:lnTo>
                    <a:pt x="76" y="605"/>
                  </a:lnTo>
                  <a:lnTo>
                    <a:pt x="89" y="581"/>
                  </a:lnTo>
                  <a:lnTo>
                    <a:pt x="103" y="555"/>
                  </a:lnTo>
                  <a:lnTo>
                    <a:pt x="118" y="532"/>
                  </a:lnTo>
                  <a:lnTo>
                    <a:pt x="133" y="508"/>
                  </a:lnTo>
                  <a:lnTo>
                    <a:pt x="141" y="497"/>
                  </a:lnTo>
                  <a:lnTo>
                    <a:pt x="148" y="485"/>
                  </a:lnTo>
                  <a:lnTo>
                    <a:pt x="165" y="463"/>
                  </a:lnTo>
                  <a:lnTo>
                    <a:pt x="181" y="440"/>
                  </a:lnTo>
                  <a:lnTo>
                    <a:pt x="199" y="419"/>
                  </a:lnTo>
                  <a:lnTo>
                    <a:pt x="216" y="397"/>
                  </a:lnTo>
                  <a:lnTo>
                    <a:pt x="235" y="376"/>
                  </a:lnTo>
                  <a:lnTo>
                    <a:pt x="253" y="356"/>
                  </a:lnTo>
                  <a:lnTo>
                    <a:pt x="273" y="336"/>
                  </a:lnTo>
                  <a:lnTo>
                    <a:pt x="293" y="316"/>
                  </a:lnTo>
                  <a:lnTo>
                    <a:pt x="313" y="297"/>
                  </a:lnTo>
                  <a:lnTo>
                    <a:pt x="334" y="279"/>
                  </a:lnTo>
                  <a:lnTo>
                    <a:pt x="355" y="260"/>
                  </a:lnTo>
                  <a:lnTo>
                    <a:pt x="376" y="243"/>
                  </a:lnTo>
                  <a:lnTo>
                    <a:pt x="398" y="226"/>
                  </a:lnTo>
                  <a:lnTo>
                    <a:pt x="421" y="210"/>
                  </a:lnTo>
                  <a:lnTo>
                    <a:pt x="444" y="194"/>
                  </a:lnTo>
                  <a:lnTo>
                    <a:pt x="467" y="178"/>
                  </a:lnTo>
                  <a:lnTo>
                    <a:pt x="491" y="164"/>
                  </a:lnTo>
                  <a:lnTo>
                    <a:pt x="516" y="150"/>
                  </a:lnTo>
                  <a:lnTo>
                    <a:pt x="540" y="136"/>
                  </a:lnTo>
                  <a:lnTo>
                    <a:pt x="565" y="123"/>
                  </a:lnTo>
                  <a:lnTo>
                    <a:pt x="595" y="109"/>
                  </a:lnTo>
                  <a:lnTo>
                    <a:pt x="625" y="95"/>
                  </a:lnTo>
                  <a:lnTo>
                    <a:pt x="656" y="82"/>
                  </a:lnTo>
                  <a:lnTo>
                    <a:pt x="672" y="76"/>
                  </a:lnTo>
                  <a:lnTo>
                    <a:pt x="687" y="70"/>
                  </a:lnTo>
                  <a:lnTo>
                    <a:pt x="719" y="59"/>
                  </a:lnTo>
                  <a:lnTo>
                    <a:pt x="750" y="49"/>
                  </a:lnTo>
                  <a:lnTo>
                    <a:pt x="783" y="39"/>
                  </a:lnTo>
                  <a:lnTo>
                    <a:pt x="815" y="31"/>
                  </a:lnTo>
                  <a:lnTo>
                    <a:pt x="847" y="24"/>
                  </a:lnTo>
                  <a:lnTo>
                    <a:pt x="864" y="21"/>
                  </a:lnTo>
                  <a:lnTo>
                    <a:pt x="880" y="17"/>
                  </a:lnTo>
                  <a:lnTo>
                    <a:pt x="913" y="12"/>
                  </a:lnTo>
                  <a:lnTo>
                    <a:pt x="946" y="8"/>
                  </a:lnTo>
                  <a:lnTo>
                    <a:pt x="980" y="4"/>
                  </a:lnTo>
                  <a:lnTo>
                    <a:pt x="1013" y="2"/>
                  </a:lnTo>
                  <a:lnTo>
                    <a:pt x="1046" y="0"/>
                  </a:lnTo>
                  <a:lnTo>
                    <a:pt x="1080" y="0"/>
                  </a:lnTo>
                  <a:lnTo>
                    <a:pt x="1080" y="567"/>
                  </a:lnTo>
                  <a:lnTo>
                    <a:pt x="1080" y="1134"/>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09" name="Text Box 109">
              <a:extLst>
                <a:ext uri="{FF2B5EF4-FFF2-40B4-BE49-F238E27FC236}">
                  <a16:creationId xmlns:a16="http://schemas.microsoft.com/office/drawing/2014/main" id="{7DBF83BA-2BB9-4FA4-8138-BA29FF767AE3}"/>
                </a:ext>
              </a:extLst>
            </p:cNvPr>
            <p:cNvSpPr txBox="1">
              <a:spLocks noChangeArrowheads="1"/>
            </p:cNvSpPr>
            <p:nvPr/>
          </p:nvSpPr>
          <p:spPr bwMode="auto">
            <a:xfrm>
              <a:off x="7265988" y="1976462"/>
              <a:ext cx="411162" cy="255588"/>
            </a:xfrm>
            <a:prstGeom prst="rect">
              <a:avLst/>
            </a:prstGeom>
            <a:noFill/>
            <a:ln w="635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10" name="Text Box 110">
              <a:extLst>
                <a:ext uri="{FF2B5EF4-FFF2-40B4-BE49-F238E27FC236}">
                  <a16:creationId xmlns:a16="http://schemas.microsoft.com/office/drawing/2014/main" id="{F327D7EA-A418-4DED-B31B-3D0AFBDEC278}"/>
                </a:ext>
              </a:extLst>
            </p:cNvPr>
            <p:cNvSpPr txBox="1">
              <a:spLocks noChangeArrowheads="1"/>
            </p:cNvSpPr>
            <p:nvPr/>
          </p:nvSpPr>
          <p:spPr bwMode="auto">
            <a:xfrm>
              <a:off x="7243763" y="2673375"/>
              <a:ext cx="411162" cy="255587"/>
            </a:xfrm>
            <a:prstGeom prst="rect">
              <a:avLst/>
            </a:prstGeom>
            <a:noFill/>
            <a:ln w="635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11" name="Text Box 111">
              <a:extLst>
                <a:ext uri="{FF2B5EF4-FFF2-40B4-BE49-F238E27FC236}">
                  <a16:creationId xmlns:a16="http://schemas.microsoft.com/office/drawing/2014/main" id="{A3B56190-D3E2-4517-A339-C7757943A0FD}"/>
                </a:ext>
              </a:extLst>
            </p:cNvPr>
            <p:cNvSpPr txBox="1">
              <a:spLocks noChangeArrowheads="1"/>
            </p:cNvSpPr>
            <p:nvPr/>
          </p:nvSpPr>
          <p:spPr bwMode="auto">
            <a:xfrm>
              <a:off x="8132763" y="1985987"/>
              <a:ext cx="411162" cy="255588"/>
            </a:xfrm>
            <a:prstGeom prst="rect">
              <a:avLst/>
            </a:prstGeom>
            <a:noFill/>
            <a:ln w="635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12" name="Text Box 112">
              <a:extLst>
                <a:ext uri="{FF2B5EF4-FFF2-40B4-BE49-F238E27FC236}">
                  <a16:creationId xmlns:a16="http://schemas.microsoft.com/office/drawing/2014/main" id="{3A502D26-AAFE-45D3-806F-4E5431F9FD98}"/>
                </a:ext>
              </a:extLst>
            </p:cNvPr>
            <p:cNvSpPr txBox="1">
              <a:spLocks noChangeArrowheads="1"/>
            </p:cNvSpPr>
            <p:nvPr/>
          </p:nvSpPr>
          <p:spPr bwMode="auto">
            <a:xfrm>
              <a:off x="7699375" y="3022625"/>
              <a:ext cx="411163" cy="255587"/>
            </a:xfrm>
            <a:prstGeom prst="rect">
              <a:avLst/>
            </a:prstGeom>
            <a:noFill/>
            <a:ln w="635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13" name="Text Box 113">
              <a:extLst>
                <a:ext uri="{FF2B5EF4-FFF2-40B4-BE49-F238E27FC236}">
                  <a16:creationId xmlns:a16="http://schemas.microsoft.com/office/drawing/2014/main" id="{50978271-A6F6-49B2-BDB5-5DFABAA909BC}"/>
                </a:ext>
              </a:extLst>
            </p:cNvPr>
            <p:cNvSpPr txBox="1">
              <a:spLocks noChangeArrowheads="1"/>
            </p:cNvSpPr>
            <p:nvPr/>
          </p:nvSpPr>
          <p:spPr bwMode="auto">
            <a:xfrm>
              <a:off x="8156575" y="2673375"/>
              <a:ext cx="411163" cy="255587"/>
            </a:xfrm>
            <a:prstGeom prst="rect">
              <a:avLst/>
            </a:prstGeom>
            <a:noFill/>
            <a:ln w="6350">
              <a:noFill/>
              <a:miter lim="800000"/>
              <a:headEnd/>
              <a:tailEnd/>
            </a:ln>
            <a:effectLst/>
          </p:spPr>
          <p:txBody>
            <a:bodyPr lIns="45720" rIns="45720" anchor="ctr" anchorCtr="1"/>
            <a:lstStyle/>
            <a:p>
              <a:pPr eaLnBrk="0" hangingPunct="0"/>
              <a:r>
                <a:rPr lang="en-US" sz="1100" b="1">
                  <a:solidFill>
                    <a:schemeClr val="bg1"/>
                  </a:solidFill>
                </a:rPr>
                <a:t>Text</a:t>
              </a:r>
            </a:p>
          </p:txBody>
        </p:sp>
      </p:grpSp>
      <p:grpSp>
        <p:nvGrpSpPr>
          <p:cNvPr id="114" name="Group 113" descr="Segment 5">
            <a:extLst>
              <a:ext uri="{FF2B5EF4-FFF2-40B4-BE49-F238E27FC236}">
                <a16:creationId xmlns:a16="http://schemas.microsoft.com/office/drawing/2014/main" id="{68545E6E-5EB9-43D7-A8B8-E76B4EC66A97}"/>
              </a:ext>
            </a:extLst>
          </p:cNvPr>
          <p:cNvGrpSpPr/>
          <p:nvPr/>
        </p:nvGrpSpPr>
        <p:grpSpPr bwMode="auto">
          <a:xfrm>
            <a:off x="3052226" y="4150657"/>
            <a:ext cx="1860550" cy="1860550"/>
            <a:chOff x="1443038" y="4022750"/>
            <a:chExt cx="1860550" cy="1860550"/>
          </a:xfrm>
        </p:grpSpPr>
        <p:sp>
          <p:nvSpPr>
            <p:cNvPr id="115" name="Freeform 115">
              <a:extLst>
                <a:ext uri="{FF2B5EF4-FFF2-40B4-BE49-F238E27FC236}">
                  <a16:creationId xmlns:a16="http://schemas.microsoft.com/office/drawing/2014/main" id="{AB4C5167-97C2-4BAC-B22B-EA7703EA268E}"/>
                </a:ext>
              </a:extLst>
            </p:cNvPr>
            <p:cNvSpPr>
              <a:spLocks/>
            </p:cNvSpPr>
            <p:nvPr/>
          </p:nvSpPr>
          <p:spPr bwMode="auto">
            <a:xfrm>
              <a:off x="2373313" y="4022750"/>
              <a:ext cx="806450" cy="930275"/>
            </a:xfrm>
            <a:custGeom>
              <a:avLst/>
              <a:gdLst/>
              <a:ahLst/>
              <a:cxnLst>
                <a:cxn ang="0">
                  <a:pos x="0" y="1135"/>
                </a:cxn>
                <a:cxn ang="0">
                  <a:pos x="0" y="568"/>
                </a:cxn>
                <a:cxn ang="0">
                  <a:pos x="0" y="0"/>
                </a:cxn>
                <a:cxn ang="0">
                  <a:pos x="28" y="0"/>
                </a:cxn>
                <a:cxn ang="0">
                  <a:pos x="56" y="1"/>
                </a:cxn>
                <a:cxn ang="0">
                  <a:pos x="84" y="3"/>
                </a:cxn>
                <a:cxn ang="0">
                  <a:pos x="111" y="5"/>
                </a:cxn>
                <a:cxn ang="0">
                  <a:pos x="139" y="8"/>
                </a:cxn>
                <a:cxn ang="0">
                  <a:pos x="167" y="12"/>
                </a:cxn>
                <a:cxn ang="0">
                  <a:pos x="194" y="17"/>
                </a:cxn>
                <a:cxn ang="0">
                  <a:pos x="221" y="22"/>
                </a:cxn>
                <a:cxn ang="0">
                  <a:pos x="249" y="28"/>
                </a:cxn>
                <a:cxn ang="0">
                  <a:pos x="276" y="34"/>
                </a:cxn>
                <a:cxn ang="0">
                  <a:pos x="303" y="41"/>
                </a:cxn>
                <a:cxn ang="0">
                  <a:pos x="329" y="49"/>
                </a:cxn>
                <a:cxn ang="0">
                  <a:pos x="356" y="57"/>
                </a:cxn>
                <a:cxn ang="0">
                  <a:pos x="382" y="66"/>
                </a:cxn>
                <a:cxn ang="0">
                  <a:pos x="395" y="71"/>
                </a:cxn>
                <a:cxn ang="0">
                  <a:pos x="408" y="76"/>
                </a:cxn>
                <a:cxn ang="0">
                  <a:pos x="434" y="86"/>
                </a:cxn>
                <a:cxn ang="0">
                  <a:pos x="460" y="97"/>
                </a:cxn>
                <a:cxn ang="0">
                  <a:pos x="485" y="109"/>
                </a:cxn>
                <a:cxn ang="0">
                  <a:pos x="510" y="121"/>
                </a:cxn>
                <a:cxn ang="0">
                  <a:pos x="535" y="134"/>
                </a:cxn>
                <a:cxn ang="0">
                  <a:pos x="559" y="147"/>
                </a:cxn>
                <a:cxn ang="0">
                  <a:pos x="584" y="161"/>
                </a:cxn>
                <a:cxn ang="0">
                  <a:pos x="608" y="176"/>
                </a:cxn>
                <a:cxn ang="0">
                  <a:pos x="631" y="191"/>
                </a:cxn>
                <a:cxn ang="0">
                  <a:pos x="654" y="206"/>
                </a:cxn>
                <a:cxn ang="0">
                  <a:pos x="677" y="223"/>
                </a:cxn>
                <a:cxn ang="0">
                  <a:pos x="699" y="239"/>
                </a:cxn>
                <a:cxn ang="0">
                  <a:pos x="721" y="257"/>
                </a:cxn>
                <a:cxn ang="0">
                  <a:pos x="742" y="275"/>
                </a:cxn>
                <a:cxn ang="0">
                  <a:pos x="763" y="293"/>
                </a:cxn>
                <a:cxn ang="0">
                  <a:pos x="773" y="303"/>
                </a:cxn>
                <a:cxn ang="0">
                  <a:pos x="783" y="312"/>
                </a:cxn>
                <a:cxn ang="0">
                  <a:pos x="803" y="332"/>
                </a:cxn>
                <a:cxn ang="0">
                  <a:pos x="829" y="359"/>
                </a:cxn>
                <a:cxn ang="0">
                  <a:pos x="854" y="386"/>
                </a:cxn>
                <a:cxn ang="0">
                  <a:pos x="866" y="400"/>
                </a:cxn>
                <a:cxn ang="0">
                  <a:pos x="878" y="414"/>
                </a:cxn>
                <a:cxn ang="0">
                  <a:pos x="901" y="444"/>
                </a:cxn>
                <a:cxn ang="0">
                  <a:pos x="912" y="458"/>
                </a:cxn>
                <a:cxn ang="0">
                  <a:pos x="923" y="473"/>
                </a:cxn>
                <a:cxn ang="0">
                  <a:pos x="933" y="489"/>
                </a:cxn>
                <a:cxn ang="0">
                  <a:pos x="944" y="504"/>
                </a:cxn>
                <a:cxn ang="0">
                  <a:pos x="964" y="535"/>
                </a:cxn>
                <a:cxn ang="0">
                  <a:pos x="974" y="551"/>
                </a:cxn>
                <a:cxn ang="0">
                  <a:pos x="983" y="568"/>
                </a:cxn>
                <a:cxn ang="0">
                  <a:pos x="491" y="851"/>
                </a:cxn>
                <a:cxn ang="0">
                  <a:pos x="0" y="1135"/>
                </a:cxn>
              </a:cxnLst>
              <a:rect l="0" t="0" r="r" b="b"/>
              <a:pathLst>
                <a:path w="983" h="1135">
                  <a:moveTo>
                    <a:pt x="0" y="1135"/>
                  </a:moveTo>
                  <a:lnTo>
                    <a:pt x="0" y="568"/>
                  </a:lnTo>
                  <a:lnTo>
                    <a:pt x="0" y="0"/>
                  </a:lnTo>
                  <a:lnTo>
                    <a:pt x="28" y="0"/>
                  </a:lnTo>
                  <a:lnTo>
                    <a:pt x="56" y="1"/>
                  </a:lnTo>
                  <a:lnTo>
                    <a:pt x="84" y="3"/>
                  </a:lnTo>
                  <a:lnTo>
                    <a:pt x="111" y="5"/>
                  </a:lnTo>
                  <a:lnTo>
                    <a:pt x="139" y="8"/>
                  </a:lnTo>
                  <a:lnTo>
                    <a:pt x="167" y="12"/>
                  </a:lnTo>
                  <a:lnTo>
                    <a:pt x="194" y="17"/>
                  </a:lnTo>
                  <a:lnTo>
                    <a:pt x="221" y="22"/>
                  </a:lnTo>
                  <a:lnTo>
                    <a:pt x="249" y="28"/>
                  </a:lnTo>
                  <a:lnTo>
                    <a:pt x="276" y="34"/>
                  </a:lnTo>
                  <a:lnTo>
                    <a:pt x="303" y="41"/>
                  </a:lnTo>
                  <a:lnTo>
                    <a:pt x="329" y="49"/>
                  </a:lnTo>
                  <a:lnTo>
                    <a:pt x="356" y="57"/>
                  </a:lnTo>
                  <a:lnTo>
                    <a:pt x="382" y="66"/>
                  </a:lnTo>
                  <a:lnTo>
                    <a:pt x="395" y="71"/>
                  </a:lnTo>
                  <a:lnTo>
                    <a:pt x="408" y="76"/>
                  </a:lnTo>
                  <a:lnTo>
                    <a:pt x="434" y="86"/>
                  </a:lnTo>
                  <a:lnTo>
                    <a:pt x="460" y="97"/>
                  </a:lnTo>
                  <a:lnTo>
                    <a:pt x="485" y="109"/>
                  </a:lnTo>
                  <a:lnTo>
                    <a:pt x="510" y="121"/>
                  </a:lnTo>
                  <a:lnTo>
                    <a:pt x="535" y="134"/>
                  </a:lnTo>
                  <a:lnTo>
                    <a:pt x="559" y="147"/>
                  </a:lnTo>
                  <a:lnTo>
                    <a:pt x="584" y="161"/>
                  </a:lnTo>
                  <a:lnTo>
                    <a:pt x="608" y="176"/>
                  </a:lnTo>
                  <a:lnTo>
                    <a:pt x="631" y="191"/>
                  </a:lnTo>
                  <a:lnTo>
                    <a:pt x="654" y="206"/>
                  </a:lnTo>
                  <a:lnTo>
                    <a:pt x="677" y="223"/>
                  </a:lnTo>
                  <a:lnTo>
                    <a:pt x="699" y="239"/>
                  </a:lnTo>
                  <a:lnTo>
                    <a:pt x="721" y="257"/>
                  </a:lnTo>
                  <a:lnTo>
                    <a:pt x="742" y="275"/>
                  </a:lnTo>
                  <a:lnTo>
                    <a:pt x="763" y="293"/>
                  </a:lnTo>
                  <a:lnTo>
                    <a:pt x="773" y="303"/>
                  </a:lnTo>
                  <a:lnTo>
                    <a:pt x="783" y="312"/>
                  </a:lnTo>
                  <a:lnTo>
                    <a:pt x="803" y="332"/>
                  </a:lnTo>
                  <a:lnTo>
                    <a:pt x="829" y="359"/>
                  </a:lnTo>
                  <a:lnTo>
                    <a:pt x="854" y="386"/>
                  </a:lnTo>
                  <a:lnTo>
                    <a:pt x="866" y="400"/>
                  </a:lnTo>
                  <a:lnTo>
                    <a:pt x="878" y="414"/>
                  </a:lnTo>
                  <a:lnTo>
                    <a:pt x="901" y="444"/>
                  </a:lnTo>
                  <a:lnTo>
                    <a:pt x="912" y="458"/>
                  </a:lnTo>
                  <a:lnTo>
                    <a:pt x="923" y="473"/>
                  </a:lnTo>
                  <a:lnTo>
                    <a:pt x="933" y="489"/>
                  </a:lnTo>
                  <a:lnTo>
                    <a:pt x="944" y="504"/>
                  </a:lnTo>
                  <a:lnTo>
                    <a:pt x="964" y="535"/>
                  </a:lnTo>
                  <a:lnTo>
                    <a:pt x="974" y="551"/>
                  </a:lnTo>
                  <a:lnTo>
                    <a:pt x="983" y="568"/>
                  </a:lnTo>
                  <a:lnTo>
                    <a:pt x="491" y="851"/>
                  </a:lnTo>
                  <a:lnTo>
                    <a:pt x="0" y="1135"/>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16" name="Freeform 116">
              <a:extLst>
                <a:ext uri="{FF2B5EF4-FFF2-40B4-BE49-F238E27FC236}">
                  <a16:creationId xmlns:a16="http://schemas.microsoft.com/office/drawing/2014/main" id="{6604F113-54EA-47D5-B9A0-9792C0122156}"/>
                </a:ext>
              </a:extLst>
            </p:cNvPr>
            <p:cNvSpPr>
              <a:spLocks/>
            </p:cNvSpPr>
            <p:nvPr/>
          </p:nvSpPr>
          <p:spPr bwMode="auto">
            <a:xfrm>
              <a:off x="2373313" y="4487887"/>
              <a:ext cx="930275" cy="930275"/>
            </a:xfrm>
            <a:custGeom>
              <a:avLst/>
              <a:gdLst/>
              <a:ahLst/>
              <a:cxnLst>
                <a:cxn ang="0">
                  <a:pos x="0" y="567"/>
                </a:cxn>
                <a:cxn ang="0">
                  <a:pos x="491" y="283"/>
                </a:cxn>
                <a:cxn ang="0">
                  <a:pos x="983" y="0"/>
                </a:cxn>
                <a:cxn ang="0">
                  <a:pos x="997" y="24"/>
                </a:cxn>
                <a:cxn ang="0">
                  <a:pos x="1010" y="49"/>
                </a:cxn>
                <a:cxn ang="0">
                  <a:pos x="1022" y="74"/>
                </a:cxn>
                <a:cxn ang="0">
                  <a:pos x="1034" y="99"/>
                </a:cxn>
                <a:cxn ang="0">
                  <a:pos x="1045" y="124"/>
                </a:cxn>
                <a:cxn ang="0">
                  <a:pos x="1056" y="150"/>
                </a:cxn>
                <a:cxn ang="0">
                  <a:pos x="1065" y="176"/>
                </a:cxn>
                <a:cxn ang="0">
                  <a:pos x="1075" y="202"/>
                </a:cxn>
                <a:cxn ang="0">
                  <a:pos x="1083" y="229"/>
                </a:cxn>
                <a:cxn ang="0">
                  <a:pos x="1091" y="255"/>
                </a:cxn>
                <a:cxn ang="0">
                  <a:pos x="1099" y="282"/>
                </a:cxn>
                <a:cxn ang="0">
                  <a:pos x="1105" y="309"/>
                </a:cxn>
                <a:cxn ang="0">
                  <a:pos x="1111" y="337"/>
                </a:cxn>
                <a:cxn ang="0">
                  <a:pos x="1116" y="364"/>
                </a:cxn>
                <a:cxn ang="0">
                  <a:pos x="1121" y="391"/>
                </a:cxn>
                <a:cxn ang="0">
                  <a:pos x="1125" y="419"/>
                </a:cxn>
                <a:cxn ang="0">
                  <a:pos x="1128" y="446"/>
                </a:cxn>
                <a:cxn ang="0">
                  <a:pos x="1131" y="474"/>
                </a:cxn>
                <a:cxn ang="0">
                  <a:pos x="1133" y="502"/>
                </a:cxn>
                <a:cxn ang="0">
                  <a:pos x="1134" y="530"/>
                </a:cxn>
                <a:cxn ang="0">
                  <a:pos x="1135" y="557"/>
                </a:cxn>
                <a:cxn ang="0">
                  <a:pos x="1135" y="585"/>
                </a:cxn>
                <a:cxn ang="0">
                  <a:pos x="1134" y="613"/>
                </a:cxn>
                <a:cxn ang="0">
                  <a:pos x="1133" y="641"/>
                </a:cxn>
                <a:cxn ang="0">
                  <a:pos x="1131" y="669"/>
                </a:cxn>
                <a:cxn ang="0">
                  <a:pos x="1128" y="696"/>
                </a:cxn>
                <a:cxn ang="0">
                  <a:pos x="1124" y="724"/>
                </a:cxn>
                <a:cxn ang="0">
                  <a:pos x="1120" y="751"/>
                </a:cxn>
                <a:cxn ang="0">
                  <a:pos x="1115" y="779"/>
                </a:cxn>
                <a:cxn ang="0">
                  <a:pos x="1110" y="806"/>
                </a:cxn>
                <a:cxn ang="0">
                  <a:pos x="1103" y="833"/>
                </a:cxn>
                <a:cxn ang="0">
                  <a:pos x="1096" y="860"/>
                </a:cxn>
                <a:cxn ang="0">
                  <a:pos x="1091" y="878"/>
                </a:cxn>
                <a:cxn ang="0">
                  <a:pos x="1086" y="896"/>
                </a:cxn>
                <a:cxn ang="0">
                  <a:pos x="1075" y="931"/>
                </a:cxn>
                <a:cxn ang="0">
                  <a:pos x="1062" y="966"/>
                </a:cxn>
                <a:cxn ang="0">
                  <a:pos x="1055" y="984"/>
                </a:cxn>
                <a:cxn ang="0">
                  <a:pos x="1049" y="1001"/>
                </a:cxn>
                <a:cxn ang="0">
                  <a:pos x="1034" y="1035"/>
                </a:cxn>
                <a:cxn ang="0">
                  <a:pos x="1018" y="1068"/>
                </a:cxn>
                <a:cxn ang="0">
                  <a:pos x="1010" y="1085"/>
                </a:cxn>
                <a:cxn ang="0">
                  <a:pos x="1001" y="1101"/>
                </a:cxn>
                <a:cxn ang="0">
                  <a:pos x="997" y="1109"/>
                </a:cxn>
                <a:cxn ang="0">
                  <a:pos x="992" y="1118"/>
                </a:cxn>
                <a:cxn ang="0">
                  <a:pos x="983" y="1134"/>
                </a:cxn>
                <a:cxn ang="0">
                  <a:pos x="491" y="850"/>
                </a:cxn>
                <a:cxn ang="0">
                  <a:pos x="0" y="567"/>
                </a:cxn>
              </a:cxnLst>
              <a:rect l="0" t="0" r="r" b="b"/>
              <a:pathLst>
                <a:path w="1135" h="1134">
                  <a:moveTo>
                    <a:pt x="0" y="567"/>
                  </a:moveTo>
                  <a:lnTo>
                    <a:pt x="491" y="283"/>
                  </a:lnTo>
                  <a:lnTo>
                    <a:pt x="983" y="0"/>
                  </a:lnTo>
                  <a:lnTo>
                    <a:pt x="997" y="24"/>
                  </a:lnTo>
                  <a:lnTo>
                    <a:pt x="1010" y="49"/>
                  </a:lnTo>
                  <a:lnTo>
                    <a:pt x="1022" y="74"/>
                  </a:lnTo>
                  <a:lnTo>
                    <a:pt x="1034" y="99"/>
                  </a:lnTo>
                  <a:lnTo>
                    <a:pt x="1045" y="124"/>
                  </a:lnTo>
                  <a:lnTo>
                    <a:pt x="1056" y="150"/>
                  </a:lnTo>
                  <a:lnTo>
                    <a:pt x="1065" y="176"/>
                  </a:lnTo>
                  <a:lnTo>
                    <a:pt x="1075" y="202"/>
                  </a:lnTo>
                  <a:lnTo>
                    <a:pt x="1083" y="229"/>
                  </a:lnTo>
                  <a:lnTo>
                    <a:pt x="1091" y="255"/>
                  </a:lnTo>
                  <a:lnTo>
                    <a:pt x="1099" y="282"/>
                  </a:lnTo>
                  <a:lnTo>
                    <a:pt x="1105" y="309"/>
                  </a:lnTo>
                  <a:lnTo>
                    <a:pt x="1111" y="337"/>
                  </a:lnTo>
                  <a:lnTo>
                    <a:pt x="1116" y="364"/>
                  </a:lnTo>
                  <a:lnTo>
                    <a:pt x="1121" y="391"/>
                  </a:lnTo>
                  <a:lnTo>
                    <a:pt x="1125" y="419"/>
                  </a:lnTo>
                  <a:lnTo>
                    <a:pt x="1128" y="446"/>
                  </a:lnTo>
                  <a:lnTo>
                    <a:pt x="1131" y="474"/>
                  </a:lnTo>
                  <a:lnTo>
                    <a:pt x="1133" y="502"/>
                  </a:lnTo>
                  <a:lnTo>
                    <a:pt x="1134" y="530"/>
                  </a:lnTo>
                  <a:lnTo>
                    <a:pt x="1135" y="557"/>
                  </a:lnTo>
                  <a:lnTo>
                    <a:pt x="1135" y="585"/>
                  </a:lnTo>
                  <a:lnTo>
                    <a:pt x="1134" y="613"/>
                  </a:lnTo>
                  <a:lnTo>
                    <a:pt x="1133" y="641"/>
                  </a:lnTo>
                  <a:lnTo>
                    <a:pt x="1131" y="669"/>
                  </a:lnTo>
                  <a:lnTo>
                    <a:pt x="1128" y="696"/>
                  </a:lnTo>
                  <a:lnTo>
                    <a:pt x="1124" y="724"/>
                  </a:lnTo>
                  <a:lnTo>
                    <a:pt x="1120" y="751"/>
                  </a:lnTo>
                  <a:lnTo>
                    <a:pt x="1115" y="779"/>
                  </a:lnTo>
                  <a:lnTo>
                    <a:pt x="1110" y="806"/>
                  </a:lnTo>
                  <a:lnTo>
                    <a:pt x="1103" y="833"/>
                  </a:lnTo>
                  <a:lnTo>
                    <a:pt x="1096" y="860"/>
                  </a:lnTo>
                  <a:lnTo>
                    <a:pt x="1091" y="878"/>
                  </a:lnTo>
                  <a:lnTo>
                    <a:pt x="1086" y="896"/>
                  </a:lnTo>
                  <a:lnTo>
                    <a:pt x="1075" y="931"/>
                  </a:lnTo>
                  <a:lnTo>
                    <a:pt x="1062" y="966"/>
                  </a:lnTo>
                  <a:lnTo>
                    <a:pt x="1055" y="984"/>
                  </a:lnTo>
                  <a:lnTo>
                    <a:pt x="1049" y="1001"/>
                  </a:lnTo>
                  <a:lnTo>
                    <a:pt x="1034" y="1035"/>
                  </a:lnTo>
                  <a:lnTo>
                    <a:pt x="1018" y="1068"/>
                  </a:lnTo>
                  <a:lnTo>
                    <a:pt x="1010" y="1085"/>
                  </a:lnTo>
                  <a:lnTo>
                    <a:pt x="1001" y="1101"/>
                  </a:lnTo>
                  <a:lnTo>
                    <a:pt x="997" y="1109"/>
                  </a:lnTo>
                  <a:lnTo>
                    <a:pt x="992" y="1118"/>
                  </a:lnTo>
                  <a:lnTo>
                    <a:pt x="983" y="1134"/>
                  </a:lnTo>
                  <a:lnTo>
                    <a:pt x="491" y="850"/>
                  </a:lnTo>
                  <a:lnTo>
                    <a:pt x="0" y="567"/>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17" name="Freeform 117">
              <a:extLst>
                <a:ext uri="{FF2B5EF4-FFF2-40B4-BE49-F238E27FC236}">
                  <a16:creationId xmlns:a16="http://schemas.microsoft.com/office/drawing/2014/main" id="{8F72A7A1-1D4F-4308-A422-C5CC11AFD218}"/>
                </a:ext>
              </a:extLst>
            </p:cNvPr>
            <p:cNvSpPr>
              <a:spLocks/>
            </p:cNvSpPr>
            <p:nvPr/>
          </p:nvSpPr>
          <p:spPr bwMode="auto">
            <a:xfrm>
              <a:off x="2373313" y="4953025"/>
              <a:ext cx="806450" cy="930275"/>
            </a:xfrm>
            <a:custGeom>
              <a:avLst/>
              <a:gdLst/>
              <a:ahLst/>
              <a:cxnLst>
                <a:cxn ang="0">
                  <a:pos x="0" y="0"/>
                </a:cxn>
                <a:cxn ang="0">
                  <a:pos x="491" y="283"/>
                </a:cxn>
                <a:cxn ang="0">
                  <a:pos x="983" y="567"/>
                </a:cxn>
                <a:cxn ang="0">
                  <a:pos x="969" y="592"/>
                </a:cxn>
                <a:cxn ang="0">
                  <a:pos x="954" y="615"/>
                </a:cxn>
                <a:cxn ang="0">
                  <a:pos x="939" y="639"/>
                </a:cxn>
                <a:cxn ang="0">
                  <a:pos x="923" y="661"/>
                </a:cxn>
                <a:cxn ang="0">
                  <a:pos x="906" y="684"/>
                </a:cxn>
                <a:cxn ang="0">
                  <a:pos x="889" y="706"/>
                </a:cxn>
                <a:cxn ang="0">
                  <a:pos x="872" y="727"/>
                </a:cxn>
                <a:cxn ang="0">
                  <a:pos x="854" y="748"/>
                </a:cxn>
                <a:cxn ang="0">
                  <a:pos x="835" y="769"/>
                </a:cxn>
                <a:cxn ang="0">
                  <a:pos x="816" y="789"/>
                </a:cxn>
                <a:cxn ang="0">
                  <a:pos x="796" y="809"/>
                </a:cxn>
                <a:cxn ang="0">
                  <a:pos x="776" y="828"/>
                </a:cxn>
                <a:cxn ang="0">
                  <a:pos x="756" y="847"/>
                </a:cxn>
                <a:cxn ang="0">
                  <a:pos x="735" y="865"/>
                </a:cxn>
                <a:cxn ang="0">
                  <a:pos x="713" y="883"/>
                </a:cxn>
                <a:cxn ang="0">
                  <a:pos x="691" y="900"/>
                </a:cxn>
                <a:cxn ang="0">
                  <a:pos x="669" y="917"/>
                </a:cxn>
                <a:cxn ang="0">
                  <a:pos x="646" y="933"/>
                </a:cxn>
                <a:cxn ang="0">
                  <a:pos x="623" y="949"/>
                </a:cxn>
                <a:cxn ang="0">
                  <a:pos x="600" y="964"/>
                </a:cxn>
                <a:cxn ang="0">
                  <a:pos x="576" y="978"/>
                </a:cxn>
                <a:cxn ang="0">
                  <a:pos x="551" y="992"/>
                </a:cxn>
                <a:cxn ang="0">
                  <a:pos x="527" y="1005"/>
                </a:cxn>
                <a:cxn ang="0">
                  <a:pos x="502" y="1018"/>
                </a:cxn>
                <a:cxn ang="0">
                  <a:pos x="477" y="1030"/>
                </a:cxn>
                <a:cxn ang="0">
                  <a:pos x="451" y="1041"/>
                </a:cxn>
                <a:cxn ang="0">
                  <a:pos x="426" y="1052"/>
                </a:cxn>
                <a:cxn ang="0">
                  <a:pos x="400" y="1062"/>
                </a:cxn>
                <a:cxn ang="0">
                  <a:pos x="374" y="1072"/>
                </a:cxn>
                <a:cxn ang="0">
                  <a:pos x="347" y="1081"/>
                </a:cxn>
                <a:cxn ang="0">
                  <a:pos x="321" y="1089"/>
                </a:cxn>
                <a:cxn ang="0">
                  <a:pos x="294" y="1096"/>
                </a:cxn>
                <a:cxn ang="0">
                  <a:pos x="258" y="1105"/>
                </a:cxn>
                <a:cxn ang="0">
                  <a:pos x="240" y="1109"/>
                </a:cxn>
                <a:cxn ang="0">
                  <a:pos x="221" y="1113"/>
                </a:cxn>
                <a:cxn ang="0">
                  <a:pos x="185" y="1120"/>
                </a:cxn>
                <a:cxn ang="0">
                  <a:pos x="148" y="1125"/>
                </a:cxn>
                <a:cxn ang="0">
                  <a:pos x="111" y="1129"/>
                </a:cxn>
                <a:cxn ang="0">
                  <a:pos x="74" y="1132"/>
                </a:cxn>
                <a:cxn ang="0">
                  <a:pos x="56" y="1133"/>
                </a:cxn>
                <a:cxn ang="0">
                  <a:pos x="37" y="1134"/>
                </a:cxn>
                <a:cxn ang="0">
                  <a:pos x="19" y="1135"/>
                </a:cxn>
                <a:cxn ang="0">
                  <a:pos x="0" y="1135"/>
                </a:cxn>
                <a:cxn ang="0">
                  <a:pos x="0" y="567"/>
                </a:cxn>
                <a:cxn ang="0">
                  <a:pos x="0" y="0"/>
                </a:cxn>
              </a:cxnLst>
              <a:rect l="0" t="0" r="r" b="b"/>
              <a:pathLst>
                <a:path w="983" h="1135">
                  <a:moveTo>
                    <a:pt x="0" y="0"/>
                  </a:moveTo>
                  <a:lnTo>
                    <a:pt x="491" y="283"/>
                  </a:lnTo>
                  <a:lnTo>
                    <a:pt x="983" y="567"/>
                  </a:lnTo>
                  <a:lnTo>
                    <a:pt x="969" y="592"/>
                  </a:lnTo>
                  <a:lnTo>
                    <a:pt x="954" y="615"/>
                  </a:lnTo>
                  <a:lnTo>
                    <a:pt x="939" y="639"/>
                  </a:lnTo>
                  <a:lnTo>
                    <a:pt x="923" y="661"/>
                  </a:lnTo>
                  <a:lnTo>
                    <a:pt x="906" y="684"/>
                  </a:lnTo>
                  <a:lnTo>
                    <a:pt x="889" y="706"/>
                  </a:lnTo>
                  <a:lnTo>
                    <a:pt x="872" y="727"/>
                  </a:lnTo>
                  <a:lnTo>
                    <a:pt x="854" y="748"/>
                  </a:lnTo>
                  <a:lnTo>
                    <a:pt x="835" y="769"/>
                  </a:lnTo>
                  <a:lnTo>
                    <a:pt x="816" y="789"/>
                  </a:lnTo>
                  <a:lnTo>
                    <a:pt x="796" y="809"/>
                  </a:lnTo>
                  <a:lnTo>
                    <a:pt x="776" y="828"/>
                  </a:lnTo>
                  <a:lnTo>
                    <a:pt x="756" y="847"/>
                  </a:lnTo>
                  <a:lnTo>
                    <a:pt x="735" y="865"/>
                  </a:lnTo>
                  <a:lnTo>
                    <a:pt x="713" y="883"/>
                  </a:lnTo>
                  <a:lnTo>
                    <a:pt x="691" y="900"/>
                  </a:lnTo>
                  <a:lnTo>
                    <a:pt x="669" y="917"/>
                  </a:lnTo>
                  <a:lnTo>
                    <a:pt x="646" y="933"/>
                  </a:lnTo>
                  <a:lnTo>
                    <a:pt x="623" y="949"/>
                  </a:lnTo>
                  <a:lnTo>
                    <a:pt x="600" y="964"/>
                  </a:lnTo>
                  <a:lnTo>
                    <a:pt x="576" y="978"/>
                  </a:lnTo>
                  <a:lnTo>
                    <a:pt x="551" y="992"/>
                  </a:lnTo>
                  <a:lnTo>
                    <a:pt x="527" y="1005"/>
                  </a:lnTo>
                  <a:lnTo>
                    <a:pt x="502" y="1018"/>
                  </a:lnTo>
                  <a:lnTo>
                    <a:pt x="477" y="1030"/>
                  </a:lnTo>
                  <a:lnTo>
                    <a:pt x="451" y="1041"/>
                  </a:lnTo>
                  <a:lnTo>
                    <a:pt x="426" y="1052"/>
                  </a:lnTo>
                  <a:lnTo>
                    <a:pt x="400" y="1062"/>
                  </a:lnTo>
                  <a:lnTo>
                    <a:pt x="374" y="1072"/>
                  </a:lnTo>
                  <a:lnTo>
                    <a:pt x="347" y="1081"/>
                  </a:lnTo>
                  <a:lnTo>
                    <a:pt x="321" y="1089"/>
                  </a:lnTo>
                  <a:lnTo>
                    <a:pt x="294" y="1096"/>
                  </a:lnTo>
                  <a:lnTo>
                    <a:pt x="258" y="1105"/>
                  </a:lnTo>
                  <a:lnTo>
                    <a:pt x="240" y="1109"/>
                  </a:lnTo>
                  <a:lnTo>
                    <a:pt x="221" y="1113"/>
                  </a:lnTo>
                  <a:lnTo>
                    <a:pt x="185" y="1120"/>
                  </a:lnTo>
                  <a:lnTo>
                    <a:pt x="148" y="1125"/>
                  </a:lnTo>
                  <a:lnTo>
                    <a:pt x="111" y="1129"/>
                  </a:lnTo>
                  <a:lnTo>
                    <a:pt x="74" y="1132"/>
                  </a:lnTo>
                  <a:lnTo>
                    <a:pt x="56" y="1133"/>
                  </a:lnTo>
                  <a:lnTo>
                    <a:pt x="37" y="1134"/>
                  </a:lnTo>
                  <a:lnTo>
                    <a:pt x="19" y="1135"/>
                  </a:lnTo>
                  <a:lnTo>
                    <a:pt x="0" y="1135"/>
                  </a:lnTo>
                  <a:lnTo>
                    <a:pt x="0" y="567"/>
                  </a:lnTo>
                  <a:lnTo>
                    <a:pt x="0"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18" name="Freeform 118">
              <a:extLst>
                <a:ext uri="{FF2B5EF4-FFF2-40B4-BE49-F238E27FC236}">
                  <a16:creationId xmlns:a16="http://schemas.microsoft.com/office/drawing/2014/main" id="{DCBA7D89-AF05-468B-9396-548CCA7C3C6A}"/>
                </a:ext>
              </a:extLst>
            </p:cNvPr>
            <p:cNvSpPr>
              <a:spLocks/>
            </p:cNvSpPr>
            <p:nvPr/>
          </p:nvSpPr>
          <p:spPr bwMode="auto">
            <a:xfrm>
              <a:off x="1568450" y="4953025"/>
              <a:ext cx="804863" cy="930275"/>
            </a:xfrm>
            <a:custGeom>
              <a:avLst/>
              <a:gdLst/>
              <a:ahLst/>
              <a:cxnLst>
                <a:cxn ang="0">
                  <a:pos x="982" y="0"/>
                </a:cxn>
                <a:cxn ang="0">
                  <a:pos x="982" y="567"/>
                </a:cxn>
                <a:cxn ang="0">
                  <a:pos x="982" y="1135"/>
                </a:cxn>
                <a:cxn ang="0">
                  <a:pos x="954" y="1134"/>
                </a:cxn>
                <a:cxn ang="0">
                  <a:pos x="927" y="1133"/>
                </a:cxn>
                <a:cxn ang="0">
                  <a:pos x="899" y="1132"/>
                </a:cxn>
                <a:cxn ang="0">
                  <a:pos x="871" y="1129"/>
                </a:cxn>
                <a:cxn ang="0">
                  <a:pos x="843" y="1126"/>
                </a:cxn>
                <a:cxn ang="0">
                  <a:pos x="816" y="1122"/>
                </a:cxn>
                <a:cxn ang="0">
                  <a:pos x="788" y="1118"/>
                </a:cxn>
                <a:cxn ang="0">
                  <a:pos x="761" y="1113"/>
                </a:cxn>
                <a:cxn ang="0">
                  <a:pos x="734" y="1107"/>
                </a:cxn>
                <a:cxn ang="0">
                  <a:pos x="707" y="1101"/>
                </a:cxn>
                <a:cxn ang="0">
                  <a:pos x="680" y="1094"/>
                </a:cxn>
                <a:cxn ang="0">
                  <a:pos x="653" y="1086"/>
                </a:cxn>
                <a:cxn ang="0">
                  <a:pos x="627" y="1077"/>
                </a:cxn>
                <a:cxn ang="0">
                  <a:pos x="600" y="1068"/>
                </a:cxn>
                <a:cxn ang="0">
                  <a:pos x="587" y="1064"/>
                </a:cxn>
                <a:cxn ang="0">
                  <a:pos x="574" y="1059"/>
                </a:cxn>
                <a:cxn ang="0">
                  <a:pos x="548" y="1048"/>
                </a:cxn>
                <a:cxn ang="0">
                  <a:pos x="523" y="1037"/>
                </a:cxn>
                <a:cxn ang="0">
                  <a:pos x="498" y="1026"/>
                </a:cxn>
                <a:cxn ang="0">
                  <a:pos x="473" y="1014"/>
                </a:cxn>
                <a:cxn ang="0">
                  <a:pos x="448" y="1001"/>
                </a:cxn>
                <a:cxn ang="0">
                  <a:pos x="423" y="988"/>
                </a:cxn>
                <a:cxn ang="0">
                  <a:pos x="398" y="974"/>
                </a:cxn>
                <a:cxn ang="0">
                  <a:pos x="375" y="959"/>
                </a:cxn>
                <a:cxn ang="0">
                  <a:pos x="351" y="944"/>
                </a:cxn>
                <a:cxn ang="0">
                  <a:pos x="328" y="928"/>
                </a:cxn>
                <a:cxn ang="0">
                  <a:pos x="306" y="912"/>
                </a:cxn>
                <a:cxn ang="0">
                  <a:pos x="284" y="895"/>
                </a:cxn>
                <a:cxn ang="0">
                  <a:pos x="262" y="878"/>
                </a:cxn>
                <a:cxn ang="0">
                  <a:pos x="241" y="860"/>
                </a:cxn>
                <a:cxn ang="0">
                  <a:pos x="220" y="841"/>
                </a:cxn>
                <a:cxn ang="0">
                  <a:pos x="210" y="832"/>
                </a:cxn>
                <a:cxn ang="0">
                  <a:pos x="200" y="822"/>
                </a:cxn>
                <a:cxn ang="0">
                  <a:pos x="180" y="803"/>
                </a:cxn>
                <a:cxn ang="0">
                  <a:pos x="154" y="776"/>
                </a:cxn>
                <a:cxn ang="0">
                  <a:pos x="129" y="748"/>
                </a:cxn>
                <a:cxn ang="0">
                  <a:pos x="117" y="734"/>
                </a:cxn>
                <a:cxn ang="0">
                  <a:pos x="105" y="720"/>
                </a:cxn>
                <a:cxn ang="0">
                  <a:pos x="82" y="691"/>
                </a:cxn>
                <a:cxn ang="0">
                  <a:pos x="71" y="676"/>
                </a:cxn>
                <a:cxn ang="0">
                  <a:pos x="60" y="661"/>
                </a:cxn>
                <a:cxn ang="0">
                  <a:pos x="49" y="646"/>
                </a:cxn>
                <a:cxn ang="0">
                  <a:pos x="39" y="631"/>
                </a:cxn>
                <a:cxn ang="0">
                  <a:pos x="19" y="600"/>
                </a:cxn>
                <a:cxn ang="0">
                  <a:pos x="9" y="584"/>
                </a:cxn>
                <a:cxn ang="0">
                  <a:pos x="0" y="567"/>
                </a:cxn>
                <a:cxn ang="0">
                  <a:pos x="491" y="283"/>
                </a:cxn>
                <a:cxn ang="0">
                  <a:pos x="982" y="0"/>
                </a:cxn>
              </a:cxnLst>
              <a:rect l="0" t="0" r="r" b="b"/>
              <a:pathLst>
                <a:path w="982" h="1135">
                  <a:moveTo>
                    <a:pt x="982" y="0"/>
                  </a:moveTo>
                  <a:lnTo>
                    <a:pt x="982" y="567"/>
                  </a:lnTo>
                  <a:lnTo>
                    <a:pt x="982" y="1135"/>
                  </a:lnTo>
                  <a:lnTo>
                    <a:pt x="954" y="1134"/>
                  </a:lnTo>
                  <a:lnTo>
                    <a:pt x="927" y="1133"/>
                  </a:lnTo>
                  <a:lnTo>
                    <a:pt x="899" y="1132"/>
                  </a:lnTo>
                  <a:lnTo>
                    <a:pt x="871" y="1129"/>
                  </a:lnTo>
                  <a:lnTo>
                    <a:pt x="843" y="1126"/>
                  </a:lnTo>
                  <a:lnTo>
                    <a:pt x="816" y="1122"/>
                  </a:lnTo>
                  <a:lnTo>
                    <a:pt x="788" y="1118"/>
                  </a:lnTo>
                  <a:lnTo>
                    <a:pt x="761" y="1113"/>
                  </a:lnTo>
                  <a:lnTo>
                    <a:pt x="734" y="1107"/>
                  </a:lnTo>
                  <a:lnTo>
                    <a:pt x="707" y="1101"/>
                  </a:lnTo>
                  <a:lnTo>
                    <a:pt x="680" y="1094"/>
                  </a:lnTo>
                  <a:lnTo>
                    <a:pt x="653" y="1086"/>
                  </a:lnTo>
                  <a:lnTo>
                    <a:pt x="627" y="1077"/>
                  </a:lnTo>
                  <a:lnTo>
                    <a:pt x="600" y="1068"/>
                  </a:lnTo>
                  <a:lnTo>
                    <a:pt x="587" y="1064"/>
                  </a:lnTo>
                  <a:lnTo>
                    <a:pt x="574" y="1059"/>
                  </a:lnTo>
                  <a:lnTo>
                    <a:pt x="548" y="1048"/>
                  </a:lnTo>
                  <a:lnTo>
                    <a:pt x="523" y="1037"/>
                  </a:lnTo>
                  <a:lnTo>
                    <a:pt x="498" y="1026"/>
                  </a:lnTo>
                  <a:lnTo>
                    <a:pt x="473" y="1014"/>
                  </a:lnTo>
                  <a:lnTo>
                    <a:pt x="448" y="1001"/>
                  </a:lnTo>
                  <a:lnTo>
                    <a:pt x="423" y="988"/>
                  </a:lnTo>
                  <a:lnTo>
                    <a:pt x="398" y="974"/>
                  </a:lnTo>
                  <a:lnTo>
                    <a:pt x="375" y="959"/>
                  </a:lnTo>
                  <a:lnTo>
                    <a:pt x="351" y="944"/>
                  </a:lnTo>
                  <a:lnTo>
                    <a:pt x="328" y="928"/>
                  </a:lnTo>
                  <a:lnTo>
                    <a:pt x="306" y="912"/>
                  </a:lnTo>
                  <a:lnTo>
                    <a:pt x="284" y="895"/>
                  </a:lnTo>
                  <a:lnTo>
                    <a:pt x="262" y="878"/>
                  </a:lnTo>
                  <a:lnTo>
                    <a:pt x="241" y="860"/>
                  </a:lnTo>
                  <a:lnTo>
                    <a:pt x="220" y="841"/>
                  </a:lnTo>
                  <a:lnTo>
                    <a:pt x="210" y="832"/>
                  </a:lnTo>
                  <a:lnTo>
                    <a:pt x="200" y="822"/>
                  </a:lnTo>
                  <a:lnTo>
                    <a:pt x="180" y="803"/>
                  </a:lnTo>
                  <a:lnTo>
                    <a:pt x="154" y="776"/>
                  </a:lnTo>
                  <a:lnTo>
                    <a:pt x="129" y="748"/>
                  </a:lnTo>
                  <a:lnTo>
                    <a:pt x="117" y="734"/>
                  </a:lnTo>
                  <a:lnTo>
                    <a:pt x="105" y="720"/>
                  </a:lnTo>
                  <a:lnTo>
                    <a:pt x="82" y="691"/>
                  </a:lnTo>
                  <a:lnTo>
                    <a:pt x="71" y="676"/>
                  </a:lnTo>
                  <a:lnTo>
                    <a:pt x="60" y="661"/>
                  </a:lnTo>
                  <a:lnTo>
                    <a:pt x="49" y="646"/>
                  </a:lnTo>
                  <a:lnTo>
                    <a:pt x="39" y="631"/>
                  </a:lnTo>
                  <a:lnTo>
                    <a:pt x="19" y="600"/>
                  </a:lnTo>
                  <a:lnTo>
                    <a:pt x="9" y="584"/>
                  </a:lnTo>
                  <a:lnTo>
                    <a:pt x="0" y="567"/>
                  </a:lnTo>
                  <a:lnTo>
                    <a:pt x="491" y="283"/>
                  </a:lnTo>
                  <a:lnTo>
                    <a:pt x="982"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19" name="Freeform 119">
              <a:extLst>
                <a:ext uri="{FF2B5EF4-FFF2-40B4-BE49-F238E27FC236}">
                  <a16:creationId xmlns:a16="http://schemas.microsoft.com/office/drawing/2014/main" id="{30EB1490-8E9E-42A7-B051-8C841B8F0D1D}"/>
                </a:ext>
              </a:extLst>
            </p:cNvPr>
            <p:cNvSpPr>
              <a:spLocks/>
            </p:cNvSpPr>
            <p:nvPr/>
          </p:nvSpPr>
          <p:spPr bwMode="auto">
            <a:xfrm>
              <a:off x="1443038" y="4487887"/>
              <a:ext cx="930275" cy="930275"/>
            </a:xfrm>
            <a:custGeom>
              <a:avLst/>
              <a:gdLst/>
              <a:ahLst/>
              <a:cxnLst>
                <a:cxn ang="0">
                  <a:pos x="1135" y="567"/>
                </a:cxn>
                <a:cxn ang="0">
                  <a:pos x="644" y="850"/>
                </a:cxn>
                <a:cxn ang="0">
                  <a:pos x="153" y="1134"/>
                </a:cxn>
                <a:cxn ang="0">
                  <a:pos x="139" y="1109"/>
                </a:cxn>
                <a:cxn ang="0">
                  <a:pos x="126" y="1085"/>
                </a:cxn>
                <a:cxn ang="0">
                  <a:pos x="113" y="1060"/>
                </a:cxn>
                <a:cxn ang="0">
                  <a:pos x="102" y="1035"/>
                </a:cxn>
                <a:cxn ang="0">
                  <a:pos x="90" y="1009"/>
                </a:cxn>
                <a:cxn ang="0">
                  <a:pos x="80" y="984"/>
                </a:cxn>
                <a:cxn ang="0">
                  <a:pos x="70" y="958"/>
                </a:cxn>
                <a:cxn ang="0">
                  <a:pos x="61" y="931"/>
                </a:cxn>
                <a:cxn ang="0">
                  <a:pos x="52" y="905"/>
                </a:cxn>
                <a:cxn ang="0">
                  <a:pos x="44" y="878"/>
                </a:cxn>
                <a:cxn ang="0">
                  <a:pos x="37" y="851"/>
                </a:cxn>
                <a:cxn ang="0">
                  <a:pos x="30" y="824"/>
                </a:cxn>
                <a:cxn ang="0">
                  <a:pos x="24" y="797"/>
                </a:cxn>
                <a:cxn ang="0">
                  <a:pos x="19" y="770"/>
                </a:cxn>
                <a:cxn ang="0">
                  <a:pos x="14" y="742"/>
                </a:cxn>
                <a:cxn ang="0">
                  <a:pos x="10" y="715"/>
                </a:cxn>
                <a:cxn ang="0">
                  <a:pos x="7" y="687"/>
                </a:cxn>
                <a:cxn ang="0">
                  <a:pos x="4" y="659"/>
                </a:cxn>
                <a:cxn ang="0">
                  <a:pos x="2" y="632"/>
                </a:cxn>
                <a:cxn ang="0">
                  <a:pos x="1" y="604"/>
                </a:cxn>
                <a:cxn ang="0">
                  <a:pos x="0" y="576"/>
                </a:cxn>
                <a:cxn ang="0">
                  <a:pos x="1" y="548"/>
                </a:cxn>
                <a:cxn ang="0">
                  <a:pos x="1" y="520"/>
                </a:cxn>
                <a:cxn ang="0">
                  <a:pos x="3" y="493"/>
                </a:cxn>
                <a:cxn ang="0">
                  <a:pos x="5" y="465"/>
                </a:cxn>
                <a:cxn ang="0">
                  <a:pos x="8" y="437"/>
                </a:cxn>
                <a:cxn ang="0">
                  <a:pos x="11" y="410"/>
                </a:cxn>
                <a:cxn ang="0">
                  <a:pos x="15" y="382"/>
                </a:cxn>
                <a:cxn ang="0">
                  <a:pos x="20" y="355"/>
                </a:cxn>
                <a:cxn ang="0">
                  <a:pos x="26" y="327"/>
                </a:cxn>
                <a:cxn ang="0">
                  <a:pos x="32" y="300"/>
                </a:cxn>
                <a:cxn ang="0">
                  <a:pos x="39" y="273"/>
                </a:cxn>
                <a:cxn ang="0">
                  <a:pos x="44" y="255"/>
                </a:cxn>
                <a:cxn ang="0">
                  <a:pos x="49" y="238"/>
                </a:cxn>
                <a:cxn ang="0">
                  <a:pos x="61" y="202"/>
                </a:cxn>
                <a:cxn ang="0">
                  <a:pos x="73" y="167"/>
                </a:cxn>
                <a:cxn ang="0">
                  <a:pos x="80" y="150"/>
                </a:cxn>
                <a:cxn ang="0">
                  <a:pos x="87" y="133"/>
                </a:cxn>
                <a:cxn ang="0">
                  <a:pos x="102" y="99"/>
                </a:cxn>
                <a:cxn ang="0">
                  <a:pos x="118" y="65"/>
                </a:cxn>
                <a:cxn ang="0">
                  <a:pos x="126" y="49"/>
                </a:cxn>
                <a:cxn ang="0">
                  <a:pos x="135" y="32"/>
                </a:cxn>
                <a:cxn ang="0">
                  <a:pos x="139" y="24"/>
                </a:cxn>
                <a:cxn ang="0">
                  <a:pos x="143" y="16"/>
                </a:cxn>
                <a:cxn ang="0">
                  <a:pos x="153" y="0"/>
                </a:cxn>
                <a:cxn ang="0">
                  <a:pos x="644" y="283"/>
                </a:cxn>
                <a:cxn ang="0">
                  <a:pos x="1135" y="567"/>
                </a:cxn>
              </a:cxnLst>
              <a:rect l="0" t="0" r="r" b="b"/>
              <a:pathLst>
                <a:path w="1135" h="1134">
                  <a:moveTo>
                    <a:pt x="1135" y="567"/>
                  </a:moveTo>
                  <a:lnTo>
                    <a:pt x="644" y="850"/>
                  </a:lnTo>
                  <a:lnTo>
                    <a:pt x="153" y="1134"/>
                  </a:lnTo>
                  <a:lnTo>
                    <a:pt x="139" y="1109"/>
                  </a:lnTo>
                  <a:lnTo>
                    <a:pt x="126" y="1085"/>
                  </a:lnTo>
                  <a:lnTo>
                    <a:pt x="113" y="1060"/>
                  </a:lnTo>
                  <a:lnTo>
                    <a:pt x="102" y="1035"/>
                  </a:lnTo>
                  <a:lnTo>
                    <a:pt x="90" y="1009"/>
                  </a:lnTo>
                  <a:lnTo>
                    <a:pt x="80" y="984"/>
                  </a:lnTo>
                  <a:lnTo>
                    <a:pt x="70" y="958"/>
                  </a:lnTo>
                  <a:lnTo>
                    <a:pt x="61" y="931"/>
                  </a:lnTo>
                  <a:lnTo>
                    <a:pt x="52" y="905"/>
                  </a:lnTo>
                  <a:lnTo>
                    <a:pt x="44" y="878"/>
                  </a:lnTo>
                  <a:lnTo>
                    <a:pt x="37" y="851"/>
                  </a:lnTo>
                  <a:lnTo>
                    <a:pt x="30" y="824"/>
                  </a:lnTo>
                  <a:lnTo>
                    <a:pt x="24" y="797"/>
                  </a:lnTo>
                  <a:lnTo>
                    <a:pt x="19" y="770"/>
                  </a:lnTo>
                  <a:lnTo>
                    <a:pt x="14" y="742"/>
                  </a:lnTo>
                  <a:lnTo>
                    <a:pt x="10" y="715"/>
                  </a:lnTo>
                  <a:lnTo>
                    <a:pt x="7" y="687"/>
                  </a:lnTo>
                  <a:lnTo>
                    <a:pt x="4" y="659"/>
                  </a:lnTo>
                  <a:lnTo>
                    <a:pt x="2" y="632"/>
                  </a:lnTo>
                  <a:lnTo>
                    <a:pt x="1" y="604"/>
                  </a:lnTo>
                  <a:lnTo>
                    <a:pt x="0" y="576"/>
                  </a:lnTo>
                  <a:lnTo>
                    <a:pt x="1" y="548"/>
                  </a:lnTo>
                  <a:lnTo>
                    <a:pt x="1" y="520"/>
                  </a:lnTo>
                  <a:lnTo>
                    <a:pt x="3" y="493"/>
                  </a:lnTo>
                  <a:lnTo>
                    <a:pt x="5" y="465"/>
                  </a:lnTo>
                  <a:lnTo>
                    <a:pt x="8" y="437"/>
                  </a:lnTo>
                  <a:lnTo>
                    <a:pt x="11" y="410"/>
                  </a:lnTo>
                  <a:lnTo>
                    <a:pt x="15" y="382"/>
                  </a:lnTo>
                  <a:lnTo>
                    <a:pt x="20" y="355"/>
                  </a:lnTo>
                  <a:lnTo>
                    <a:pt x="26" y="327"/>
                  </a:lnTo>
                  <a:lnTo>
                    <a:pt x="32" y="300"/>
                  </a:lnTo>
                  <a:lnTo>
                    <a:pt x="39" y="273"/>
                  </a:lnTo>
                  <a:lnTo>
                    <a:pt x="44" y="255"/>
                  </a:lnTo>
                  <a:lnTo>
                    <a:pt x="49" y="238"/>
                  </a:lnTo>
                  <a:lnTo>
                    <a:pt x="61" y="202"/>
                  </a:lnTo>
                  <a:lnTo>
                    <a:pt x="73" y="167"/>
                  </a:lnTo>
                  <a:lnTo>
                    <a:pt x="80" y="150"/>
                  </a:lnTo>
                  <a:lnTo>
                    <a:pt x="87" y="133"/>
                  </a:lnTo>
                  <a:lnTo>
                    <a:pt x="102" y="99"/>
                  </a:lnTo>
                  <a:lnTo>
                    <a:pt x="118" y="65"/>
                  </a:lnTo>
                  <a:lnTo>
                    <a:pt x="126" y="49"/>
                  </a:lnTo>
                  <a:lnTo>
                    <a:pt x="135" y="32"/>
                  </a:lnTo>
                  <a:lnTo>
                    <a:pt x="139" y="24"/>
                  </a:lnTo>
                  <a:lnTo>
                    <a:pt x="143" y="16"/>
                  </a:lnTo>
                  <a:lnTo>
                    <a:pt x="153" y="0"/>
                  </a:lnTo>
                  <a:lnTo>
                    <a:pt x="644" y="283"/>
                  </a:lnTo>
                  <a:lnTo>
                    <a:pt x="1135" y="567"/>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20" name="Freeform 120">
              <a:extLst>
                <a:ext uri="{FF2B5EF4-FFF2-40B4-BE49-F238E27FC236}">
                  <a16:creationId xmlns:a16="http://schemas.microsoft.com/office/drawing/2014/main" id="{04E98B6F-DA6C-45B4-847C-C90664C0E2FB}"/>
                </a:ext>
              </a:extLst>
            </p:cNvPr>
            <p:cNvSpPr>
              <a:spLocks/>
            </p:cNvSpPr>
            <p:nvPr/>
          </p:nvSpPr>
          <p:spPr bwMode="auto">
            <a:xfrm>
              <a:off x="1568450" y="4022750"/>
              <a:ext cx="804863" cy="930275"/>
            </a:xfrm>
            <a:custGeom>
              <a:avLst/>
              <a:gdLst/>
              <a:ahLst/>
              <a:cxnLst>
                <a:cxn ang="0">
                  <a:pos x="982" y="1135"/>
                </a:cxn>
                <a:cxn ang="0">
                  <a:pos x="491" y="851"/>
                </a:cxn>
                <a:cxn ang="0">
                  <a:pos x="0" y="568"/>
                </a:cxn>
                <a:cxn ang="0">
                  <a:pos x="14" y="543"/>
                </a:cxn>
                <a:cxn ang="0">
                  <a:pos x="28" y="519"/>
                </a:cxn>
                <a:cxn ang="0">
                  <a:pos x="44" y="496"/>
                </a:cxn>
                <a:cxn ang="0">
                  <a:pos x="60" y="473"/>
                </a:cxn>
                <a:cxn ang="0">
                  <a:pos x="76" y="451"/>
                </a:cxn>
                <a:cxn ang="0">
                  <a:pos x="93" y="429"/>
                </a:cxn>
                <a:cxn ang="0">
                  <a:pos x="111" y="407"/>
                </a:cxn>
                <a:cxn ang="0">
                  <a:pos x="129" y="386"/>
                </a:cxn>
                <a:cxn ang="0">
                  <a:pos x="148" y="366"/>
                </a:cxn>
                <a:cxn ang="0">
                  <a:pos x="167" y="345"/>
                </a:cxn>
                <a:cxn ang="0">
                  <a:pos x="186" y="326"/>
                </a:cxn>
                <a:cxn ang="0">
                  <a:pos x="206" y="306"/>
                </a:cxn>
                <a:cxn ang="0">
                  <a:pos x="227" y="288"/>
                </a:cxn>
                <a:cxn ang="0">
                  <a:pos x="248" y="269"/>
                </a:cxn>
                <a:cxn ang="0">
                  <a:pos x="269" y="251"/>
                </a:cxn>
                <a:cxn ang="0">
                  <a:pos x="291" y="234"/>
                </a:cxn>
                <a:cxn ang="0">
                  <a:pos x="313" y="218"/>
                </a:cxn>
                <a:cxn ang="0">
                  <a:pos x="336" y="201"/>
                </a:cxn>
                <a:cxn ang="0">
                  <a:pos x="359" y="186"/>
                </a:cxn>
                <a:cxn ang="0">
                  <a:pos x="383" y="171"/>
                </a:cxn>
                <a:cxn ang="0">
                  <a:pos x="406" y="156"/>
                </a:cxn>
                <a:cxn ang="0">
                  <a:pos x="431" y="142"/>
                </a:cxn>
                <a:cxn ang="0">
                  <a:pos x="456" y="129"/>
                </a:cxn>
                <a:cxn ang="0">
                  <a:pos x="481" y="117"/>
                </a:cxn>
                <a:cxn ang="0">
                  <a:pos x="506" y="105"/>
                </a:cxn>
                <a:cxn ang="0">
                  <a:pos x="531" y="93"/>
                </a:cxn>
                <a:cxn ang="0">
                  <a:pos x="557" y="82"/>
                </a:cxn>
                <a:cxn ang="0">
                  <a:pos x="583" y="72"/>
                </a:cxn>
                <a:cxn ang="0">
                  <a:pos x="609" y="63"/>
                </a:cxn>
                <a:cxn ang="0">
                  <a:pos x="635" y="54"/>
                </a:cxn>
                <a:cxn ang="0">
                  <a:pos x="662" y="46"/>
                </a:cxn>
                <a:cxn ang="0">
                  <a:pos x="689" y="39"/>
                </a:cxn>
                <a:cxn ang="0">
                  <a:pos x="725" y="30"/>
                </a:cxn>
                <a:cxn ang="0">
                  <a:pos x="743" y="26"/>
                </a:cxn>
                <a:cxn ang="0">
                  <a:pos x="761" y="22"/>
                </a:cxn>
                <a:cxn ang="0">
                  <a:pos x="798" y="15"/>
                </a:cxn>
                <a:cxn ang="0">
                  <a:pos x="834" y="10"/>
                </a:cxn>
                <a:cxn ang="0">
                  <a:pos x="871" y="5"/>
                </a:cxn>
                <a:cxn ang="0">
                  <a:pos x="908" y="2"/>
                </a:cxn>
                <a:cxn ang="0">
                  <a:pos x="927" y="1"/>
                </a:cxn>
                <a:cxn ang="0">
                  <a:pos x="945" y="1"/>
                </a:cxn>
                <a:cxn ang="0">
                  <a:pos x="964" y="0"/>
                </a:cxn>
                <a:cxn ang="0">
                  <a:pos x="982" y="0"/>
                </a:cxn>
                <a:cxn ang="0">
                  <a:pos x="982" y="568"/>
                </a:cxn>
                <a:cxn ang="0">
                  <a:pos x="982" y="1135"/>
                </a:cxn>
              </a:cxnLst>
              <a:rect l="0" t="0" r="r" b="b"/>
              <a:pathLst>
                <a:path w="982" h="1135">
                  <a:moveTo>
                    <a:pt x="982" y="1135"/>
                  </a:moveTo>
                  <a:lnTo>
                    <a:pt x="491" y="851"/>
                  </a:lnTo>
                  <a:lnTo>
                    <a:pt x="0" y="568"/>
                  </a:lnTo>
                  <a:lnTo>
                    <a:pt x="14" y="543"/>
                  </a:lnTo>
                  <a:lnTo>
                    <a:pt x="28" y="519"/>
                  </a:lnTo>
                  <a:lnTo>
                    <a:pt x="44" y="496"/>
                  </a:lnTo>
                  <a:lnTo>
                    <a:pt x="60" y="473"/>
                  </a:lnTo>
                  <a:lnTo>
                    <a:pt x="76" y="451"/>
                  </a:lnTo>
                  <a:lnTo>
                    <a:pt x="93" y="429"/>
                  </a:lnTo>
                  <a:lnTo>
                    <a:pt x="111" y="407"/>
                  </a:lnTo>
                  <a:lnTo>
                    <a:pt x="129" y="386"/>
                  </a:lnTo>
                  <a:lnTo>
                    <a:pt x="148" y="366"/>
                  </a:lnTo>
                  <a:lnTo>
                    <a:pt x="167" y="345"/>
                  </a:lnTo>
                  <a:lnTo>
                    <a:pt x="186" y="326"/>
                  </a:lnTo>
                  <a:lnTo>
                    <a:pt x="206" y="306"/>
                  </a:lnTo>
                  <a:lnTo>
                    <a:pt x="227" y="288"/>
                  </a:lnTo>
                  <a:lnTo>
                    <a:pt x="248" y="269"/>
                  </a:lnTo>
                  <a:lnTo>
                    <a:pt x="269" y="251"/>
                  </a:lnTo>
                  <a:lnTo>
                    <a:pt x="291" y="234"/>
                  </a:lnTo>
                  <a:lnTo>
                    <a:pt x="313" y="218"/>
                  </a:lnTo>
                  <a:lnTo>
                    <a:pt x="336" y="201"/>
                  </a:lnTo>
                  <a:lnTo>
                    <a:pt x="359" y="186"/>
                  </a:lnTo>
                  <a:lnTo>
                    <a:pt x="383" y="171"/>
                  </a:lnTo>
                  <a:lnTo>
                    <a:pt x="406" y="156"/>
                  </a:lnTo>
                  <a:lnTo>
                    <a:pt x="431" y="142"/>
                  </a:lnTo>
                  <a:lnTo>
                    <a:pt x="456" y="129"/>
                  </a:lnTo>
                  <a:lnTo>
                    <a:pt x="481" y="117"/>
                  </a:lnTo>
                  <a:lnTo>
                    <a:pt x="506" y="105"/>
                  </a:lnTo>
                  <a:lnTo>
                    <a:pt x="531" y="93"/>
                  </a:lnTo>
                  <a:lnTo>
                    <a:pt x="557" y="82"/>
                  </a:lnTo>
                  <a:lnTo>
                    <a:pt x="583" y="72"/>
                  </a:lnTo>
                  <a:lnTo>
                    <a:pt x="609" y="63"/>
                  </a:lnTo>
                  <a:lnTo>
                    <a:pt x="635" y="54"/>
                  </a:lnTo>
                  <a:lnTo>
                    <a:pt x="662" y="46"/>
                  </a:lnTo>
                  <a:lnTo>
                    <a:pt x="689" y="39"/>
                  </a:lnTo>
                  <a:lnTo>
                    <a:pt x="725" y="30"/>
                  </a:lnTo>
                  <a:lnTo>
                    <a:pt x="743" y="26"/>
                  </a:lnTo>
                  <a:lnTo>
                    <a:pt x="761" y="22"/>
                  </a:lnTo>
                  <a:lnTo>
                    <a:pt x="798" y="15"/>
                  </a:lnTo>
                  <a:lnTo>
                    <a:pt x="834" y="10"/>
                  </a:lnTo>
                  <a:lnTo>
                    <a:pt x="871" y="5"/>
                  </a:lnTo>
                  <a:lnTo>
                    <a:pt x="908" y="2"/>
                  </a:lnTo>
                  <a:lnTo>
                    <a:pt x="927" y="1"/>
                  </a:lnTo>
                  <a:lnTo>
                    <a:pt x="945" y="1"/>
                  </a:lnTo>
                  <a:lnTo>
                    <a:pt x="964" y="0"/>
                  </a:lnTo>
                  <a:lnTo>
                    <a:pt x="982" y="0"/>
                  </a:lnTo>
                  <a:lnTo>
                    <a:pt x="982" y="568"/>
                  </a:lnTo>
                  <a:lnTo>
                    <a:pt x="982" y="1135"/>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21" name="Text Box 121">
              <a:extLst>
                <a:ext uri="{FF2B5EF4-FFF2-40B4-BE49-F238E27FC236}">
                  <a16:creationId xmlns:a16="http://schemas.microsoft.com/office/drawing/2014/main" id="{0F6D58B6-EA54-47A8-8DF3-891CB307B92A}"/>
                </a:ext>
              </a:extLst>
            </p:cNvPr>
            <p:cNvSpPr txBox="1">
              <a:spLocks noChangeArrowheads="1"/>
            </p:cNvSpPr>
            <p:nvPr/>
          </p:nvSpPr>
          <p:spPr bwMode="auto">
            <a:xfrm>
              <a:off x="2633663" y="4824437"/>
              <a:ext cx="411162"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22" name="Text Box 122">
              <a:extLst>
                <a:ext uri="{FF2B5EF4-FFF2-40B4-BE49-F238E27FC236}">
                  <a16:creationId xmlns:a16="http://schemas.microsoft.com/office/drawing/2014/main" id="{4609AF3E-FF5E-4335-A3DC-DE0FC73A575C}"/>
                </a:ext>
              </a:extLst>
            </p:cNvPr>
            <p:cNvSpPr txBox="1">
              <a:spLocks noChangeArrowheads="1"/>
            </p:cNvSpPr>
            <p:nvPr/>
          </p:nvSpPr>
          <p:spPr bwMode="auto">
            <a:xfrm>
              <a:off x="2411413" y="5289575"/>
              <a:ext cx="411162" cy="255587"/>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23" name="Text Box 123">
              <a:extLst>
                <a:ext uri="{FF2B5EF4-FFF2-40B4-BE49-F238E27FC236}">
                  <a16:creationId xmlns:a16="http://schemas.microsoft.com/office/drawing/2014/main" id="{7DE86213-C9F1-433B-9B52-E8057D3DF357}"/>
                </a:ext>
              </a:extLst>
            </p:cNvPr>
            <p:cNvSpPr txBox="1">
              <a:spLocks noChangeArrowheads="1"/>
            </p:cNvSpPr>
            <p:nvPr/>
          </p:nvSpPr>
          <p:spPr bwMode="auto">
            <a:xfrm>
              <a:off x="1892300" y="5289575"/>
              <a:ext cx="411163" cy="255587"/>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24" name="Text Box 124">
              <a:extLst>
                <a:ext uri="{FF2B5EF4-FFF2-40B4-BE49-F238E27FC236}">
                  <a16:creationId xmlns:a16="http://schemas.microsoft.com/office/drawing/2014/main" id="{48FD4F73-2F08-4970-95A1-C51C3EE21988}"/>
                </a:ext>
              </a:extLst>
            </p:cNvPr>
            <p:cNvSpPr txBox="1">
              <a:spLocks noChangeArrowheads="1"/>
            </p:cNvSpPr>
            <p:nvPr/>
          </p:nvSpPr>
          <p:spPr bwMode="auto">
            <a:xfrm>
              <a:off x="1701800" y="4824437"/>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25" name="Text Box 125">
              <a:extLst>
                <a:ext uri="{FF2B5EF4-FFF2-40B4-BE49-F238E27FC236}">
                  <a16:creationId xmlns:a16="http://schemas.microsoft.com/office/drawing/2014/main" id="{1F741FC3-65AD-4D42-869E-03B0999E0131}"/>
                </a:ext>
              </a:extLst>
            </p:cNvPr>
            <p:cNvSpPr txBox="1">
              <a:spLocks noChangeArrowheads="1"/>
            </p:cNvSpPr>
            <p:nvPr/>
          </p:nvSpPr>
          <p:spPr bwMode="auto">
            <a:xfrm>
              <a:off x="2411413" y="4359300"/>
              <a:ext cx="411162" cy="255587"/>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26" name="Text Box 126">
              <a:extLst>
                <a:ext uri="{FF2B5EF4-FFF2-40B4-BE49-F238E27FC236}">
                  <a16:creationId xmlns:a16="http://schemas.microsoft.com/office/drawing/2014/main" id="{6E4531C4-8006-45C3-9A4F-3BAA608DFBBC}"/>
                </a:ext>
              </a:extLst>
            </p:cNvPr>
            <p:cNvSpPr txBox="1">
              <a:spLocks noChangeArrowheads="1"/>
            </p:cNvSpPr>
            <p:nvPr/>
          </p:nvSpPr>
          <p:spPr bwMode="auto">
            <a:xfrm>
              <a:off x="1892300" y="4359300"/>
              <a:ext cx="411163" cy="255587"/>
            </a:xfrm>
            <a:prstGeom prst="rect">
              <a:avLst/>
            </a:prstGeom>
            <a:noFill/>
            <a:ln w="12700">
              <a:noFill/>
              <a:miter lim="800000"/>
              <a:headEnd/>
              <a:tailEnd/>
            </a:ln>
            <a:effectLst/>
          </p:spPr>
          <p:txBody>
            <a:bodyPr lIns="45720" rIns="45720" anchor="ctr" anchorCtr="1"/>
            <a:lstStyle/>
            <a:p>
              <a:pPr eaLnBrk="0" hangingPunct="0"/>
              <a:r>
                <a:rPr lang="en-US" sz="1100" b="1" dirty="0">
                  <a:solidFill>
                    <a:schemeClr val="bg1"/>
                  </a:solidFill>
                </a:rPr>
                <a:t>Text</a:t>
              </a:r>
            </a:p>
          </p:txBody>
        </p:sp>
      </p:grpSp>
      <p:grpSp>
        <p:nvGrpSpPr>
          <p:cNvPr id="144" name="Group 143" descr="Segment 6">
            <a:extLst>
              <a:ext uri="{FF2B5EF4-FFF2-40B4-BE49-F238E27FC236}">
                <a16:creationId xmlns:a16="http://schemas.microsoft.com/office/drawing/2014/main" id="{9B5AB17F-C14B-41E3-A5BD-B9F5BC432F1E}"/>
              </a:ext>
            </a:extLst>
          </p:cNvPr>
          <p:cNvGrpSpPr/>
          <p:nvPr/>
        </p:nvGrpSpPr>
        <p:grpSpPr bwMode="auto">
          <a:xfrm>
            <a:off x="5176462" y="4150657"/>
            <a:ext cx="1860550" cy="1860550"/>
            <a:chOff x="3659188" y="4022750"/>
            <a:chExt cx="1860550" cy="1860550"/>
          </a:xfrm>
        </p:grpSpPr>
        <p:sp>
          <p:nvSpPr>
            <p:cNvPr id="145" name="Freeform 145">
              <a:extLst>
                <a:ext uri="{FF2B5EF4-FFF2-40B4-BE49-F238E27FC236}">
                  <a16:creationId xmlns:a16="http://schemas.microsoft.com/office/drawing/2014/main" id="{5268A659-01C2-466C-88A8-68C0E9D99D99}"/>
                </a:ext>
              </a:extLst>
            </p:cNvPr>
            <p:cNvSpPr>
              <a:spLocks/>
            </p:cNvSpPr>
            <p:nvPr/>
          </p:nvSpPr>
          <p:spPr bwMode="auto">
            <a:xfrm>
              <a:off x="4586288" y="4022750"/>
              <a:ext cx="727075" cy="930275"/>
            </a:xfrm>
            <a:custGeom>
              <a:avLst/>
              <a:gdLst/>
              <a:ahLst/>
              <a:cxnLst>
                <a:cxn ang="0">
                  <a:pos x="0" y="1135"/>
                </a:cxn>
                <a:cxn ang="0">
                  <a:pos x="0" y="568"/>
                </a:cxn>
                <a:cxn ang="0">
                  <a:pos x="0" y="0"/>
                </a:cxn>
                <a:cxn ang="0">
                  <a:pos x="28" y="1"/>
                </a:cxn>
                <a:cxn ang="0">
                  <a:pos x="55" y="2"/>
                </a:cxn>
                <a:cxn ang="0">
                  <a:pos x="83" y="3"/>
                </a:cxn>
                <a:cxn ang="0">
                  <a:pos x="111" y="6"/>
                </a:cxn>
                <a:cxn ang="0">
                  <a:pos x="139" y="9"/>
                </a:cxn>
                <a:cxn ang="0">
                  <a:pos x="166" y="13"/>
                </a:cxn>
                <a:cxn ang="0">
                  <a:pos x="194" y="17"/>
                </a:cxn>
                <a:cxn ang="0">
                  <a:pos x="221" y="22"/>
                </a:cxn>
                <a:cxn ang="0">
                  <a:pos x="248" y="28"/>
                </a:cxn>
                <a:cxn ang="0">
                  <a:pos x="275" y="34"/>
                </a:cxn>
                <a:cxn ang="0">
                  <a:pos x="302" y="42"/>
                </a:cxn>
                <a:cxn ang="0">
                  <a:pos x="329" y="49"/>
                </a:cxn>
                <a:cxn ang="0">
                  <a:pos x="355" y="58"/>
                </a:cxn>
                <a:cxn ang="0">
                  <a:pos x="382" y="67"/>
                </a:cxn>
                <a:cxn ang="0">
                  <a:pos x="395" y="71"/>
                </a:cxn>
                <a:cxn ang="0">
                  <a:pos x="408" y="76"/>
                </a:cxn>
                <a:cxn ang="0">
                  <a:pos x="434" y="87"/>
                </a:cxn>
                <a:cxn ang="0">
                  <a:pos x="459" y="98"/>
                </a:cxn>
                <a:cxn ang="0">
                  <a:pos x="484" y="109"/>
                </a:cxn>
                <a:cxn ang="0">
                  <a:pos x="509" y="121"/>
                </a:cxn>
                <a:cxn ang="0">
                  <a:pos x="534" y="134"/>
                </a:cxn>
                <a:cxn ang="0">
                  <a:pos x="559" y="147"/>
                </a:cxn>
                <a:cxn ang="0">
                  <a:pos x="584" y="161"/>
                </a:cxn>
                <a:cxn ang="0">
                  <a:pos x="607" y="176"/>
                </a:cxn>
                <a:cxn ang="0">
                  <a:pos x="631" y="191"/>
                </a:cxn>
                <a:cxn ang="0">
                  <a:pos x="654" y="207"/>
                </a:cxn>
                <a:cxn ang="0">
                  <a:pos x="676" y="223"/>
                </a:cxn>
                <a:cxn ang="0">
                  <a:pos x="698" y="240"/>
                </a:cxn>
                <a:cxn ang="0">
                  <a:pos x="720" y="257"/>
                </a:cxn>
                <a:cxn ang="0">
                  <a:pos x="741" y="275"/>
                </a:cxn>
                <a:cxn ang="0">
                  <a:pos x="762" y="294"/>
                </a:cxn>
                <a:cxn ang="0">
                  <a:pos x="772" y="303"/>
                </a:cxn>
                <a:cxn ang="0">
                  <a:pos x="783" y="313"/>
                </a:cxn>
                <a:cxn ang="0">
                  <a:pos x="802" y="332"/>
                </a:cxn>
                <a:cxn ang="0">
                  <a:pos x="825" y="355"/>
                </a:cxn>
                <a:cxn ang="0">
                  <a:pos x="846" y="379"/>
                </a:cxn>
                <a:cxn ang="0">
                  <a:pos x="867" y="403"/>
                </a:cxn>
                <a:cxn ang="0">
                  <a:pos x="887" y="427"/>
                </a:cxn>
                <a:cxn ang="0">
                  <a:pos x="443" y="781"/>
                </a:cxn>
                <a:cxn ang="0">
                  <a:pos x="0" y="1135"/>
                </a:cxn>
              </a:cxnLst>
              <a:rect l="0" t="0" r="r" b="b"/>
              <a:pathLst>
                <a:path w="887" h="1135">
                  <a:moveTo>
                    <a:pt x="0" y="1135"/>
                  </a:moveTo>
                  <a:lnTo>
                    <a:pt x="0" y="568"/>
                  </a:lnTo>
                  <a:lnTo>
                    <a:pt x="0" y="0"/>
                  </a:lnTo>
                  <a:lnTo>
                    <a:pt x="28" y="1"/>
                  </a:lnTo>
                  <a:lnTo>
                    <a:pt x="55" y="2"/>
                  </a:lnTo>
                  <a:lnTo>
                    <a:pt x="83" y="3"/>
                  </a:lnTo>
                  <a:lnTo>
                    <a:pt x="111" y="6"/>
                  </a:lnTo>
                  <a:lnTo>
                    <a:pt x="139" y="9"/>
                  </a:lnTo>
                  <a:lnTo>
                    <a:pt x="166" y="13"/>
                  </a:lnTo>
                  <a:lnTo>
                    <a:pt x="194" y="17"/>
                  </a:lnTo>
                  <a:lnTo>
                    <a:pt x="221" y="22"/>
                  </a:lnTo>
                  <a:lnTo>
                    <a:pt x="248" y="28"/>
                  </a:lnTo>
                  <a:lnTo>
                    <a:pt x="275" y="34"/>
                  </a:lnTo>
                  <a:lnTo>
                    <a:pt x="302" y="42"/>
                  </a:lnTo>
                  <a:lnTo>
                    <a:pt x="329" y="49"/>
                  </a:lnTo>
                  <a:lnTo>
                    <a:pt x="355" y="58"/>
                  </a:lnTo>
                  <a:lnTo>
                    <a:pt x="382" y="67"/>
                  </a:lnTo>
                  <a:lnTo>
                    <a:pt x="395" y="71"/>
                  </a:lnTo>
                  <a:lnTo>
                    <a:pt x="408" y="76"/>
                  </a:lnTo>
                  <a:lnTo>
                    <a:pt x="434" y="87"/>
                  </a:lnTo>
                  <a:lnTo>
                    <a:pt x="459" y="98"/>
                  </a:lnTo>
                  <a:lnTo>
                    <a:pt x="484" y="109"/>
                  </a:lnTo>
                  <a:lnTo>
                    <a:pt x="509" y="121"/>
                  </a:lnTo>
                  <a:lnTo>
                    <a:pt x="534" y="134"/>
                  </a:lnTo>
                  <a:lnTo>
                    <a:pt x="559" y="147"/>
                  </a:lnTo>
                  <a:lnTo>
                    <a:pt x="584" y="161"/>
                  </a:lnTo>
                  <a:lnTo>
                    <a:pt x="607" y="176"/>
                  </a:lnTo>
                  <a:lnTo>
                    <a:pt x="631" y="191"/>
                  </a:lnTo>
                  <a:lnTo>
                    <a:pt x="654" y="207"/>
                  </a:lnTo>
                  <a:lnTo>
                    <a:pt x="676" y="223"/>
                  </a:lnTo>
                  <a:lnTo>
                    <a:pt x="698" y="240"/>
                  </a:lnTo>
                  <a:lnTo>
                    <a:pt x="720" y="257"/>
                  </a:lnTo>
                  <a:lnTo>
                    <a:pt x="741" y="275"/>
                  </a:lnTo>
                  <a:lnTo>
                    <a:pt x="762" y="294"/>
                  </a:lnTo>
                  <a:lnTo>
                    <a:pt x="772" y="303"/>
                  </a:lnTo>
                  <a:lnTo>
                    <a:pt x="783" y="313"/>
                  </a:lnTo>
                  <a:lnTo>
                    <a:pt x="802" y="332"/>
                  </a:lnTo>
                  <a:lnTo>
                    <a:pt x="825" y="355"/>
                  </a:lnTo>
                  <a:lnTo>
                    <a:pt x="846" y="379"/>
                  </a:lnTo>
                  <a:lnTo>
                    <a:pt x="867" y="403"/>
                  </a:lnTo>
                  <a:lnTo>
                    <a:pt x="887" y="427"/>
                  </a:lnTo>
                  <a:lnTo>
                    <a:pt x="443" y="781"/>
                  </a:lnTo>
                  <a:lnTo>
                    <a:pt x="0" y="1135"/>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46" name="Freeform 146">
              <a:extLst>
                <a:ext uri="{FF2B5EF4-FFF2-40B4-BE49-F238E27FC236}">
                  <a16:creationId xmlns:a16="http://schemas.microsoft.com/office/drawing/2014/main" id="{6DD7510B-7850-4904-8214-CE972EF86BD7}"/>
                </a:ext>
              </a:extLst>
            </p:cNvPr>
            <p:cNvSpPr>
              <a:spLocks/>
            </p:cNvSpPr>
            <p:nvPr/>
          </p:nvSpPr>
          <p:spPr bwMode="auto">
            <a:xfrm>
              <a:off x="4589463" y="4372000"/>
              <a:ext cx="930275" cy="788987"/>
            </a:xfrm>
            <a:custGeom>
              <a:avLst/>
              <a:gdLst/>
              <a:ahLst/>
              <a:cxnLst>
                <a:cxn ang="0">
                  <a:pos x="0" y="708"/>
                </a:cxn>
                <a:cxn ang="0">
                  <a:pos x="443" y="354"/>
                </a:cxn>
                <a:cxn ang="0">
                  <a:pos x="887" y="0"/>
                </a:cxn>
                <a:cxn ang="0">
                  <a:pos x="904" y="22"/>
                </a:cxn>
                <a:cxn ang="0">
                  <a:pos x="921" y="45"/>
                </a:cxn>
                <a:cxn ang="0">
                  <a:pos x="937" y="67"/>
                </a:cxn>
                <a:cxn ang="0">
                  <a:pos x="952" y="91"/>
                </a:cxn>
                <a:cxn ang="0">
                  <a:pos x="967" y="114"/>
                </a:cxn>
                <a:cxn ang="0">
                  <a:pos x="981" y="138"/>
                </a:cxn>
                <a:cxn ang="0">
                  <a:pos x="995" y="163"/>
                </a:cxn>
                <a:cxn ang="0">
                  <a:pos x="1008" y="188"/>
                </a:cxn>
                <a:cxn ang="0">
                  <a:pos x="1020" y="213"/>
                </a:cxn>
                <a:cxn ang="0">
                  <a:pos x="1032" y="238"/>
                </a:cxn>
                <a:cxn ang="0">
                  <a:pos x="1043" y="263"/>
                </a:cxn>
                <a:cxn ang="0">
                  <a:pos x="1049" y="276"/>
                </a:cxn>
                <a:cxn ang="0">
                  <a:pos x="1054" y="289"/>
                </a:cxn>
                <a:cxn ang="0">
                  <a:pos x="1064" y="315"/>
                </a:cxn>
                <a:cxn ang="0">
                  <a:pos x="1073" y="341"/>
                </a:cxn>
                <a:cxn ang="0">
                  <a:pos x="1082" y="368"/>
                </a:cxn>
                <a:cxn ang="0">
                  <a:pos x="1090" y="394"/>
                </a:cxn>
                <a:cxn ang="0">
                  <a:pos x="1097" y="421"/>
                </a:cxn>
                <a:cxn ang="0">
                  <a:pos x="1104" y="448"/>
                </a:cxn>
                <a:cxn ang="0">
                  <a:pos x="1107" y="462"/>
                </a:cxn>
                <a:cxn ang="0">
                  <a:pos x="1110" y="475"/>
                </a:cxn>
                <a:cxn ang="0">
                  <a:pos x="1116" y="503"/>
                </a:cxn>
                <a:cxn ang="0">
                  <a:pos x="1121" y="530"/>
                </a:cxn>
                <a:cxn ang="0">
                  <a:pos x="1125" y="558"/>
                </a:cxn>
                <a:cxn ang="0">
                  <a:pos x="1128" y="585"/>
                </a:cxn>
                <a:cxn ang="0">
                  <a:pos x="1131" y="613"/>
                </a:cxn>
                <a:cxn ang="0">
                  <a:pos x="1133" y="641"/>
                </a:cxn>
                <a:cxn ang="0">
                  <a:pos x="1134" y="668"/>
                </a:cxn>
                <a:cxn ang="0">
                  <a:pos x="1135" y="696"/>
                </a:cxn>
                <a:cxn ang="0">
                  <a:pos x="1135" y="724"/>
                </a:cxn>
                <a:cxn ang="0">
                  <a:pos x="1134" y="752"/>
                </a:cxn>
                <a:cxn ang="0">
                  <a:pos x="1132" y="780"/>
                </a:cxn>
                <a:cxn ang="0">
                  <a:pos x="1130" y="807"/>
                </a:cxn>
                <a:cxn ang="0">
                  <a:pos x="1127" y="835"/>
                </a:cxn>
                <a:cxn ang="0">
                  <a:pos x="1123" y="867"/>
                </a:cxn>
                <a:cxn ang="0">
                  <a:pos x="1121" y="882"/>
                </a:cxn>
                <a:cxn ang="0">
                  <a:pos x="1118" y="898"/>
                </a:cxn>
                <a:cxn ang="0">
                  <a:pos x="1113" y="929"/>
                </a:cxn>
                <a:cxn ang="0">
                  <a:pos x="1109" y="945"/>
                </a:cxn>
                <a:cxn ang="0">
                  <a:pos x="1106" y="961"/>
                </a:cxn>
                <a:cxn ang="0">
                  <a:pos x="552" y="834"/>
                </a:cxn>
                <a:cxn ang="0">
                  <a:pos x="0" y="708"/>
                </a:cxn>
              </a:cxnLst>
              <a:rect l="0" t="0" r="r" b="b"/>
              <a:pathLst>
                <a:path w="1135" h="961">
                  <a:moveTo>
                    <a:pt x="0" y="708"/>
                  </a:moveTo>
                  <a:lnTo>
                    <a:pt x="443" y="354"/>
                  </a:lnTo>
                  <a:lnTo>
                    <a:pt x="887" y="0"/>
                  </a:lnTo>
                  <a:lnTo>
                    <a:pt x="904" y="22"/>
                  </a:lnTo>
                  <a:lnTo>
                    <a:pt x="921" y="45"/>
                  </a:lnTo>
                  <a:lnTo>
                    <a:pt x="937" y="67"/>
                  </a:lnTo>
                  <a:lnTo>
                    <a:pt x="952" y="91"/>
                  </a:lnTo>
                  <a:lnTo>
                    <a:pt x="967" y="114"/>
                  </a:lnTo>
                  <a:lnTo>
                    <a:pt x="981" y="138"/>
                  </a:lnTo>
                  <a:lnTo>
                    <a:pt x="995" y="163"/>
                  </a:lnTo>
                  <a:lnTo>
                    <a:pt x="1008" y="188"/>
                  </a:lnTo>
                  <a:lnTo>
                    <a:pt x="1020" y="213"/>
                  </a:lnTo>
                  <a:lnTo>
                    <a:pt x="1032" y="238"/>
                  </a:lnTo>
                  <a:lnTo>
                    <a:pt x="1043" y="263"/>
                  </a:lnTo>
                  <a:lnTo>
                    <a:pt x="1049" y="276"/>
                  </a:lnTo>
                  <a:lnTo>
                    <a:pt x="1054" y="289"/>
                  </a:lnTo>
                  <a:lnTo>
                    <a:pt x="1064" y="315"/>
                  </a:lnTo>
                  <a:lnTo>
                    <a:pt x="1073" y="341"/>
                  </a:lnTo>
                  <a:lnTo>
                    <a:pt x="1082" y="368"/>
                  </a:lnTo>
                  <a:lnTo>
                    <a:pt x="1090" y="394"/>
                  </a:lnTo>
                  <a:lnTo>
                    <a:pt x="1097" y="421"/>
                  </a:lnTo>
                  <a:lnTo>
                    <a:pt x="1104" y="448"/>
                  </a:lnTo>
                  <a:lnTo>
                    <a:pt x="1107" y="462"/>
                  </a:lnTo>
                  <a:lnTo>
                    <a:pt x="1110" y="475"/>
                  </a:lnTo>
                  <a:lnTo>
                    <a:pt x="1116" y="503"/>
                  </a:lnTo>
                  <a:lnTo>
                    <a:pt x="1121" y="530"/>
                  </a:lnTo>
                  <a:lnTo>
                    <a:pt x="1125" y="558"/>
                  </a:lnTo>
                  <a:lnTo>
                    <a:pt x="1128" y="585"/>
                  </a:lnTo>
                  <a:lnTo>
                    <a:pt x="1131" y="613"/>
                  </a:lnTo>
                  <a:lnTo>
                    <a:pt x="1133" y="641"/>
                  </a:lnTo>
                  <a:lnTo>
                    <a:pt x="1134" y="668"/>
                  </a:lnTo>
                  <a:lnTo>
                    <a:pt x="1135" y="696"/>
                  </a:lnTo>
                  <a:lnTo>
                    <a:pt x="1135" y="724"/>
                  </a:lnTo>
                  <a:lnTo>
                    <a:pt x="1134" y="752"/>
                  </a:lnTo>
                  <a:lnTo>
                    <a:pt x="1132" y="780"/>
                  </a:lnTo>
                  <a:lnTo>
                    <a:pt x="1130" y="807"/>
                  </a:lnTo>
                  <a:lnTo>
                    <a:pt x="1127" y="835"/>
                  </a:lnTo>
                  <a:lnTo>
                    <a:pt x="1123" y="867"/>
                  </a:lnTo>
                  <a:lnTo>
                    <a:pt x="1121" y="882"/>
                  </a:lnTo>
                  <a:lnTo>
                    <a:pt x="1118" y="898"/>
                  </a:lnTo>
                  <a:lnTo>
                    <a:pt x="1113" y="929"/>
                  </a:lnTo>
                  <a:lnTo>
                    <a:pt x="1109" y="945"/>
                  </a:lnTo>
                  <a:lnTo>
                    <a:pt x="1106" y="961"/>
                  </a:lnTo>
                  <a:lnTo>
                    <a:pt x="552" y="834"/>
                  </a:lnTo>
                  <a:lnTo>
                    <a:pt x="0" y="708"/>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47" name="Freeform 147">
              <a:extLst>
                <a:ext uri="{FF2B5EF4-FFF2-40B4-BE49-F238E27FC236}">
                  <a16:creationId xmlns:a16="http://schemas.microsoft.com/office/drawing/2014/main" id="{4624C649-51D6-4F39-A246-685ECD6AECDB}"/>
                </a:ext>
              </a:extLst>
            </p:cNvPr>
            <p:cNvSpPr>
              <a:spLocks/>
            </p:cNvSpPr>
            <p:nvPr/>
          </p:nvSpPr>
          <p:spPr bwMode="auto">
            <a:xfrm>
              <a:off x="4589463" y="4953025"/>
              <a:ext cx="906462" cy="838200"/>
            </a:xfrm>
            <a:custGeom>
              <a:avLst/>
              <a:gdLst/>
              <a:ahLst/>
              <a:cxnLst>
                <a:cxn ang="0">
                  <a:pos x="0" y="0"/>
                </a:cxn>
                <a:cxn ang="0">
                  <a:pos x="552" y="126"/>
                </a:cxn>
                <a:cxn ang="0">
                  <a:pos x="1106" y="253"/>
                </a:cxn>
                <a:cxn ang="0">
                  <a:pos x="1099" y="280"/>
                </a:cxn>
                <a:cxn ang="0">
                  <a:pos x="1092" y="306"/>
                </a:cxn>
                <a:cxn ang="0">
                  <a:pos x="1084" y="333"/>
                </a:cxn>
                <a:cxn ang="0">
                  <a:pos x="1076" y="360"/>
                </a:cxn>
                <a:cxn ang="0">
                  <a:pos x="1067" y="386"/>
                </a:cxn>
                <a:cxn ang="0">
                  <a:pos x="1057" y="412"/>
                </a:cxn>
                <a:cxn ang="0">
                  <a:pos x="1047" y="438"/>
                </a:cxn>
                <a:cxn ang="0">
                  <a:pos x="1036" y="463"/>
                </a:cxn>
                <a:cxn ang="0">
                  <a:pos x="1024" y="489"/>
                </a:cxn>
                <a:cxn ang="0">
                  <a:pos x="1011" y="514"/>
                </a:cxn>
                <a:cxn ang="0">
                  <a:pos x="999" y="538"/>
                </a:cxn>
                <a:cxn ang="0">
                  <a:pos x="985" y="562"/>
                </a:cxn>
                <a:cxn ang="0">
                  <a:pos x="971" y="587"/>
                </a:cxn>
                <a:cxn ang="0">
                  <a:pos x="956" y="611"/>
                </a:cxn>
                <a:cxn ang="0">
                  <a:pos x="941" y="634"/>
                </a:cxn>
                <a:cxn ang="0">
                  <a:pos x="925" y="657"/>
                </a:cxn>
                <a:cxn ang="0">
                  <a:pos x="909" y="680"/>
                </a:cxn>
                <a:cxn ang="0">
                  <a:pos x="892" y="702"/>
                </a:cxn>
                <a:cxn ang="0">
                  <a:pos x="875" y="724"/>
                </a:cxn>
                <a:cxn ang="0">
                  <a:pos x="857" y="745"/>
                </a:cxn>
                <a:cxn ang="0">
                  <a:pos x="838" y="766"/>
                </a:cxn>
                <a:cxn ang="0">
                  <a:pos x="829" y="776"/>
                </a:cxn>
                <a:cxn ang="0">
                  <a:pos x="819" y="786"/>
                </a:cxn>
                <a:cxn ang="0">
                  <a:pos x="800" y="806"/>
                </a:cxn>
                <a:cxn ang="0">
                  <a:pos x="780" y="825"/>
                </a:cxn>
                <a:cxn ang="0">
                  <a:pos x="759" y="844"/>
                </a:cxn>
                <a:cxn ang="0">
                  <a:pos x="739" y="863"/>
                </a:cxn>
                <a:cxn ang="0">
                  <a:pos x="717" y="880"/>
                </a:cxn>
                <a:cxn ang="0">
                  <a:pos x="695" y="898"/>
                </a:cxn>
                <a:cxn ang="0">
                  <a:pos x="673" y="915"/>
                </a:cxn>
                <a:cxn ang="0">
                  <a:pos x="650" y="931"/>
                </a:cxn>
                <a:cxn ang="0">
                  <a:pos x="627" y="946"/>
                </a:cxn>
                <a:cxn ang="0">
                  <a:pos x="604" y="961"/>
                </a:cxn>
                <a:cxn ang="0">
                  <a:pos x="590" y="970"/>
                </a:cxn>
                <a:cxn ang="0">
                  <a:pos x="577" y="978"/>
                </a:cxn>
                <a:cxn ang="0">
                  <a:pos x="548" y="994"/>
                </a:cxn>
                <a:cxn ang="0">
                  <a:pos x="520" y="1009"/>
                </a:cxn>
                <a:cxn ang="0">
                  <a:pos x="492" y="1023"/>
                </a:cxn>
                <a:cxn ang="0">
                  <a:pos x="246" y="511"/>
                </a:cxn>
                <a:cxn ang="0">
                  <a:pos x="0" y="0"/>
                </a:cxn>
              </a:cxnLst>
              <a:rect l="0" t="0" r="r" b="b"/>
              <a:pathLst>
                <a:path w="1106" h="1023">
                  <a:moveTo>
                    <a:pt x="0" y="0"/>
                  </a:moveTo>
                  <a:lnTo>
                    <a:pt x="552" y="126"/>
                  </a:lnTo>
                  <a:lnTo>
                    <a:pt x="1106" y="253"/>
                  </a:lnTo>
                  <a:lnTo>
                    <a:pt x="1099" y="280"/>
                  </a:lnTo>
                  <a:lnTo>
                    <a:pt x="1092" y="306"/>
                  </a:lnTo>
                  <a:lnTo>
                    <a:pt x="1084" y="333"/>
                  </a:lnTo>
                  <a:lnTo>
                    <a:pt x="1076" y="360"/>
                  </a:lnTo>
                  <a:lnTo>
                    <a:pt x="1067" y="386"/>
                  </a:lnTo>
                  <a:lnTo>
                    <a:pt x="1057" y="412"/>
                  </a:lnTo>
                  <a:lnTo>
                    <a:pt x="1047" y="438"/>
                  </a:lnTo>
                  <a:lnTo>
                    <a:pt x="1036" y="463"/>
                  </a:lnTo>
                  <a:lnTo>
                    <a:pt x="1024" y="489"/>
                  </a:lnTo>
                  <a:lnTo>
                    <a:pt x="1011" y="514"/>
                  </a:lnTo>
                  <a:lnTo>
                    <a:pt x="999" y="538"/>
                  </a:lnTo>
                  <a:lnTo>
                    <a:pt x="985" y="562"/>
                  </a:lnTo>
                  <a:lnTo>
                    <a:pt x="971" y="587"/>
                  </a:lnTo>
                  <a:lnTo>
                    <a:pt x="956" y="611"/>
                  </a:lnTo>
                  <a:lnTo>
                    <a:pt x="941" y="634"/>
                  </a:lnTo>
                  <a:lnTo>
                    <a:pt x="925" y="657"/>
                  </a:lnTo>
                  <a:lnTo>
                    <a:pt x="909" y="680"/>
                  </a:lnTo>
                  <a:lnTo>
                    <a:pt x="892" y="702"/>
                  </a:lnTo>
                  <a:lnTo>
                    <a:pt x="875" y="724"/>
                  </a:lnTo>
                  <a:lnTo>
                    <a:pt x="857" y="745"/>
                  </a:lnTo>
                  <a:lnTo>
                    <a:pt x="838" y="766"/>
                  </a:lnTo>
                  <a:lnTo>
                    <a:pt x="829" y="776"/>
                  </a:lnTo>
                  <a:lnTo>
                    <a:pt x="819" y="786"/>
                  </a:lnTo>
                  <a:lnTo>
                    <a:pt x="800" y="806"/>
                  </a:lnTo>
                  <a:lnTo>
                    <a:pt x="780" y="825"/>
                  </a:lnTo>
                  <a:lnTo>
                    <a:pt x="759" y="844"/>
                  </a:lnTo>
                  <a:lnTo>
                    <a:pt x="739" y="863"/>
                  </a:lnTo>
                  <a:lnTo>
                    <a:pt x="717" y="880"/>
                  </a:lnTo>
                  <a:lnTo>
                    <a:pt x="695" y="898"/>
                  </a:lnTo>
                  <a:lnTo>
                    <a:pt x="673" y="915"/>
                  </a:lnTo>
                  <a:lnTo>
                    <a:pt x="650" y="931"/>
                  </a:lnTo>
                  <a:lnTo>
                    <a:pt x="627" y="946"/>
                  </a:lnTo>
                  <a:lnTo>
                    <a:pt x="604" y="961"/>
                  </a:lnTo>
                  <a:lnTo>
                    <a:pt x="590" y="970"/>
                  </a:lnTo>
                  <a:lnTo>
                    <a:pt x="577" y="978"/>
                  </a:lnTo>
                  <a:lnTo>
                    <a:pt x="548" y="994"/>
                  </a:lnTo>
                  <a:lnTo>
                    <a:pt x="520" y="1009"/>
                  </a:lnTo>
                  <a:lnTo>
                    <a:pt x="492" y="1023"/>
                  </a:lnTo>
                  <a:lnTo>
                    <a:pt x="246" y="511"/>
                  </a:lnTo>
                  <a:lnTo>
                    <a:pt x="0"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48" name="Freeform 148">
              <a:extLst>
                <a:ext uri="{FF2B5EF4-FFF2-40B4-BE49-F238E27FC236}">
                  <a16:creationId xmlns:a16="http://schemas.microsoft.com/office/drawing/2014/main" id="{58F8E6C2-D4F1-4258-83C6-2D39F562B394}"/>
                </a:ext>
              </a:extLst>
            </p:cNvPr>
            <p:cNvSpPr>
              <a:spLocks/>
            </p:cNvSpPr>
            <p:nvPr/>
          </p:nvSpPr>
          <p:spPr bwMode="auto">
            <a:xfrm>
              <a:off x="4186238" y="4953025"/>
              <a:ext cx="806450" cy="930275"/>
            </a:xfrm>
            <a:custGeom>
              <a:avLst/>
              <a:gdLst/>
              <a:ahLst/>
              <a:cxnLst>
                <a:cxn ang="0">
                  <a:pos x="492" y="0"/>
                </a:cxn>
                <a:cxn ang="0">
                  <a:pos x="738" y="511"/>
                </a:cxn>
                <a:cxn ang="0">
                  <a:pos x="984" y="1023"/>
                </a:cxn>
                <a:cxn ang="0">
                  <a:pos x="958" y="1035"/>
                </a:cxn>
                <a:cxn ang="0">
                  <a:pos x="933" y="1046"/>
                </a:cxn>
                <a:cxn ang="0">
                  <a:pos x="907" y="1056"/>
                </a:cxn>
                <a:cxn ang="0">
                  <a:pos x="881" y="1066"/>
                </a:cxn>
                <a:cxn ang="0">
                  <a:pos x="855" y="1075"/>
                </a:cxn>
                <a:cxn ang="0">
                  <a:pos x="828" y="1084"/>
                </a:cxn>
                <a:cxn ang="0">
                  <a:pos x="802" y="1092"/>
                </a:cxn>
                <a:cxn ang="0">
                  <a:pos x="775" y="1099"/>
                </a:cxn>
                <a:cxn ang="0">
                  <a:pos x="748" y="1106"/>
                </a:cxn>
                <a:cxn ang="0">
                  <a:pos x="721" y="1112"/>
                </a:cxn>
                <a:cxn ang="0">
                  <a:pos x="693" y="1117"/>
                </a:cxn>
                <a:cxn ang="0">
                  <a:pos x="666" y="1121"/>
                </a:cxn>
                <a:cxn ang="0">
                  <a:pos x="638" y="1125"/>
                </a:cxn>
                <a:cxn ang="0">
                  <a:pos x="611" y="1129"/>
                </a:cxn>
                <a:cxn ang="0">
                  <a:pos x="583" y="1131"/>
                </a:cxn>
                <a:cxn ang="0">
                  <a:pos x="555" y="1133"/>
                </a:cxn>
                <a:cxn ang="0">
                  <a:pos x="528" y="1134"/>
                </a:cxn>
                <a:cxn ang="0">
                  <a:pos x="500" y="1135"/>
                </a:cxn>
                <a:cxn ang="0">
                  <a:pos x="472" y="1135"/>
                </a:cxn>
                <a:cxn ang="0">
                  <a:pos x="444" y="1134"/>
                </a:cxn>
                <a:cxn ang="0">
                  <a:pos x="416" y="1133"/>
                </a:cxn>
                <a:cxn ang="0">
                  <a:pos x="389" y="1131"/>
                </a:cxn>
                <a:cxn ang="0">
                  <a:pos x="361" y="1128"/>
                </a:cxn>
                <a:cxn ang="0">
                  <a:pos x="333" y="1124"/>
                </a:cxn>
                <a:cxn ang="0">
                  <a:pos x="306" y="1120"/>
                </a:cxn>
                <a:cxn ang="0">
                  <a:pos x="278" y="1115"/>
                </a:cxn>
                <a:cxn ang="0">
                  <a:pos x="251" y="1110"/>
                </a:cxn>
                <a:cxn ang="0">
                  <a:pos x="224" y="1103"/>
                </a:cxn>
                <a:cxn ang="0">
                  <a:pos x="197" y="1096"/>
                </a:cxn>
                <a:cxn ang="0">
                  <a:pos x="170" y="1089"/>
                </a:cxn>
                <a:cxn ang="0">
                  <a:pos x="144" y="1080"/>
                </a:cxn>
                <a:cxn ang="0">
                  <a:pos x="117" y="1071"/>
                </a:cxn>
                <a:cxn ang="0">
                  <a:pos x="87" y="1060"/>
                </a:cxn>
                <a:cxn ang="0">
                  <a:pos x="58" y="1049"/>
                </a:cxn>
                <a:cxn ang="0">
                  <a:pos x="29" y="1036"/>
                </a:cxn>
                <a:cxn ang="0">
                  <a:pos x="14" y="1030"/>
                </a:cxn>
                <a:cxn ang="0">
                  <a:pos x="0" y="1023"/>
                </a:cxn>
                <a:cxn ang="0">
                  <a:pos x="246" y="511"/>
                </a:cxn>
                <a:cxn ang="0">
                  <a:pos x="492" y="0"/>
                </a:cxn>
              </a:cxnLst>
              <a:rect l="0" t="0" r="r" b="b"/>
              <a:pathLst>
                <a:path w="984" h="1135">
                  <a:moveTo>
                    <a:pt x="492" y="0"/>
                  </a:moveTo>
                  <a:lnTo>
                    <a:pt x="738" y="511"/>
                  </a:lnTo>
                  <a:lnTo>
                    <a:pt x="984" y="1023"/>
                  </a:lnTo>
                  <a:lnTo>
                    <a:pt x="958" y="1035"/>
                  </a:lnTo>
                  <a:lnTo>
                    <a:pt x="933" y="1046"/>
                  </a:lnTo>
                  <a:lnTo>
                    <a:pt x="907" y="1056"/>
                  </a:lnTo>
                  <a:lnTo>
                    <a:pt x="881" y="1066"/>
                  </a:lnTo>
                  <a:lnTo>
                    <a:pt x="855" y="1075"/>
                  </a:lnTo>
                  <a:lnTo>
                    <a:pt x="828" y="1084"/>
                  </a:lnTo>
                  <a:lnTo>
                    <a:pt x="802" y="1092"/>
                  </a:lnTo>
                  <a:lnTo>
                    <a:pt x="775" y="1099"/>
                  </a:lnTo>
                  <a:lnTo>
                    <a:pt x="748" y="1106"/>
                  </a:lnTo>
                  <a:lnTo>
                    <a:pt x="721" y="1112"/>
                  </a:lnTo>
                  <a:lnTo>
                    <a:pt x="693" y="1117"/>
                  </a:lnTo>
                  <a:lnTo>
                    <a:pt x="666" y="1121"/>
                  </a:lnTo>
                  <a:lnTo>
                    <a:pt x="638" y="1125"/>
                  </a:lnTo>
                  <a:lnTo>
                    <a:pt x="611" y="1129"/>
                  </a:lnTo>
                  <a:lnTo>
                    <a:pt x="583" y="1131"/>
                  </a:lnTo>
                  <a:lnTo>
                    <a:pt x="555" y="1133"/>
                  </a:lnTo>
                  <a:lnTo>
                    <a:pt x="528" y="1134"/>
                  </a:lnTo>
                  <a:lnTo>
                    <a:pt x="500" y="1135"/>
                  </a:lnTo>
                  <a:lnTo>
                    <a:pt x="472" y="1135"/>
                  </a:lnTo>
                  <a:lnTo>
                    <a:pt x="444" y="1134"/>
                  </a:lnTo>
                  <a:lnTo>
                    <a:pt x="416" y="1133"/>
                  </a:lnTo>
                  <a:lnTo>
                    <a:pt x="389" y="1131"/>
                  </a:lnTo>
                  <a:lnTo>
                    <a:pt x="361" y="1128"/>
                  </a:lnTo>
                  <a:lnTo>
                    <a:pt x="333" y="1124"/>
                  </a:lnTo>
                  <a:lnTo>
                    <a:pt x="306" y="1120"/>
                  </a:lnTo>
                  <a:lnTo>
                    <a:pt x="278" y="1115"/>
                  </a:lnTo>
                  <a:lnTo>
                    <a:pt x="251" y="1110"/>
                  </a:lnTo>
                  <a:lnTo>
                    <a:pt x="224" y="1103"/>
                  </a:lnTo>
                  <a:lnTo>
                    <a:pt x="197" y="1096"/>
                  </a:lnTo>
                  <a:lnTo>
                    <a:pt x="170" y="1089"/>
                  </a:lnTo>
                  <a:lnTo>
                    <a:pt x="144" y="1080"/>
                  </a:lnTo>
                  <a:lnTo>
                    <a:pt x="117" y="1071"/>
                  </a:lnTo>
                  <a:lnTo>
                    <a:pt x="87" y="1060"/>
                  </a:lnTo>
                  <a:lnTo>
                    <a:pt x="58" y="1049"/>
                  </a:lnTo>
                  <a:lnTo>
                    <a:pt x="29" y="1036"/>
                  </a:lnTo>
                  <a:lnTo>
                    <a:pt x="14" y="1030"/>
                  </a:lnTo>
                  <a:lnTo>
                    <a:pt x="0" y="1023"/>
                  </a:lnTo>
                  <a:lnTo>
                    <a:pt x="246" y="511"/>
                  </a:lnTo>
                  <a:lnTo>
                    <a:pt x="492"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49" name="Freeform 149">
              <a:extLst>
                <a:ext uri="{FF2B5EF4-FFF2-40B4-BE49-F238E27FC236}">
                  <a16:creationId xmlns:a16="http://schemas.microsoft.com/office/drawing/2014/main" id="{5BE13EDE-7BC3-472B-9D8B-9AFD38AB2605}"/>
                </a:ext>
              </a:extLst>
            </p:cNvPr>
            <p:cNvSpPr>
              <a:spLocks/>
            </p:cNvSpPr>
            <p:nvPr/>
          </p:nvSpPr>
          <p:spPr bwMode="auto">
            <a:xfrm>
              <a:off x="3683000" y="4953025"/>
              <a:ext cx="906463" cy="838200"/>
            </a:xfrm>
            <a:custGeom>
              <a:avLst/>
              <a:gdLst/>
              <a:ahLst/>
              <a:cxnLst>
                <a:cxn ang="0">
                  <a:pos x="1106" y="0"/>
                </a:cxn>
                <a:cxn ang="0">
                  <a:pos x="860" y="511"/>
                </a:cxn>
                <a:cxn ang="0">
                  <a:pos x="614" y="1023"/>
                </a:cxn>
                <a:cxn ang="0">
                  <a:pos x="589" y="1010"/>
                </a:cxn>
                <a:cxn ang="0">
                  <a:pos x="564" y="997"/>
                </a:cxn>
                <a:cxn ang="0">
                  <a:pos x="540" y="984"/>
                </a:cxn>
                <a:cxn ang="0">
                  <a:pos x="515" y="970"/>
                </a:cxn>
                <a:cxn ang="0">
                  <a:pos x="491" y="955"/>
                </a:cxn>
                <a:cxn ang="0">
                  <a:pos x="468" y="940"/>
                </a:cxn>
                <a:cxn ang="0">
                  <a:pos x="445" y="924"/>
                </a:cxn>
                <a:cxn ang="0">
                  <a:pos x="423" y="907"/>
                </a:cxn>
                <a:cxn ang="0">
                  <a:pos x="401" y="890"/>
                </a:cxn>
                <a:cxn ang="0">
                  <a:pos x="379" y="873"/>
                </a:cxn>
                <a:cxn ang="0">
                  <a:pos x="358" y="854"/>
                </a:cxn>
                <a:cxn ang="0">
                  <a:pos x="338" y="836"/>
                </a:cxn>
                <a:cxn ang="0">
                  <a:pos x="317" y="817"/>
                </a:cxn>
                <a:cxn ang="0">
                  <a:pos x="298" y="797"/>
                </a:cxn>
                <a:cxn ang="0">
                  <a:pos x="278" y="777"/>
                </a:cxn>
                <a:cxn ang="0">
                  <a:pos x="269" y="767"/>
                </a:cxn>
                <a:cxn ang="0">
                  <a:pos x="259" y="757"/>
                </a:cxn>
                <a:cxn ang="0">
                  <a:pos x="241" y="736"/>
                </a:cxn>
                <a:cxn ang="0">
                  <a:pos x="223" y="714"/>
                </a:cxn>
                <a:cxn ang="0">
                  <a:pos x="206" y="693"/>
                </a:cxn>
                <a:cxn ang="0">
                  <a:pos x="189" y="670"/>
                </a:cxn>
                <a:cxn ang="0">
                  <a:pos x="173" y="648"/>
                </a:cxn>
                <a:cxn ang="0">
                  <a:pos x="158" y="625"/>
                </a:cxn>
                <a:cxn ang="0">
                  <a:pos x="150" y="613"/>
                </a:cxn>
                <a:cxn ang="0">
                  <a:pos x="142" y="601"/>
                </a:cxn>
                <a:cxn ang="0">
                  <a:pos x="128" y="578"/>
                </a:cxn>
                <a:cxn ang="0">
                  <a:pos x="114" y="552"/>
                </a:cxn>
                <a:cxn ang="0">
                  <a:pos x="101" y="528"/>
                </a:cxn>
                <a:cxn ang="0">
                  <a:pos x="88" y="503"/>
                </a:cxn>
                <a:cxn ang="0">
                  <a:pos x="76" y="478"/>
                </a:cxn>
                <a:cxn ang="0">
                  <a:pos x="65" y="453"/>
                </a:cxn>
                <a:cxn ang="0">
                  <a:pos x="54" y="427"/>
                </a:cxn>
                <a:cxn ang="0">
                  <a:pos x="44" y="401"/>
                </a:cxn>
                <a:cxn ang="0">
                  <a:pos x="35" y="375"/>
                </a:cxn>
                <a:cxn ang="0">
                  <a:pos x="25" y="345"/>
                </a:cxn>
                <a:cxn ang="0">
                  <a:pos x="15" y="314"/>
                </a:cxn>
                <a:cxn ang="0">
                  <a:pos x="7" y="283"/>
                </a:cxn>
                <a:cxn ang="0">
                  <a:pos x="3" y="268"/>
                </a:cxn>
                <a:cxn ang="0">
                  <a:pos x="0" y="253"/>
                </a:cxn>
                <a:cxn ang="0">
                  <a:pos x="553" y="126"/>
                </a:cxn>
                <a:cxn ang="0">
                  <a:pos x="1106" y="0"/>
                </a:cxn>
              </a:cxnLst>
              <a:rect l="0" t="0" r="r" b="b"/>
              <a:pathLst>
                <a:path w="1106" h="1023">
                  <a:moveTo>
                    <a:pt x="1106" y="0"/>
                  </a:moveTo>
                  <a:lnTo>
                    <a:pt x="860" y="511"/>
                  </a:lnTo>
                  <a:lnTo>
                    <a:pt x="614" y="1023"/>
                  </a:lnTo>
                  <a:lnTo>
                    <a:pt x="589" y="1010"/>
                  </a:lnTo>
                  <a:lnTo>
                    <a:pt x="564" y="997"/>
                  </a:lnTo>
                  <a:lnTo>
                    <a:pt x="540" y="984"/>
                  </a:lnTo>
                  <a:lnTo>
                    <a:pt x="515" y="970"/>
                  </a:lnTo>
                  <a:lnTo>
                    <a:pt x="491" y="955"/>
                  </a:lnTo>
                  <a:lnTo>
                    <a:pt x="468" y="940"/>
                  </a:lnTo>
                  <a:lnTo>
                    <a:pt x="445" y="924"/>
                  </a:lnTo>
                  <a:lnTo>
                    <a:pt x="423" y="907"/>
                  </a:lnTo>
                  <a:lnTo>
                    <a:pt x="401" y="890"/>
                  </a:lnTo>
                  <a:lnTo>
                    <a:pt x="379" y="873"/>
                  </a:lnTo>
                  <a:lnTo>
                    <a:pt x="358" y="854"/>
                  </a:lnTo>
                  <a:lnTo>
                    <a:pt x="338" y="836"/>
                  </a:lnTo>
                  <a:lnTo>
                    <a:pt x="317" y="817"/>
                  </a:lnTo>
                  <a:lnTo>
                    <a:pt x="298" y="797"/>
                  </a:lnTo>
                  <a:lnTo>
                    <a:pt x="278" y="777"/>
                  </a:lnTo>
                  <a:lnTo>
                    <a:pt x="269" y="767"/>
                  </a:lnTo>
                  <a:lnTo>
                    <a:pt x="259" y="757"/>
                  </a:lnTo>
                  <a:lnTo>
                    <a:pt x="241" y="736"/>
                  </a:lnTo>
                  <a:lnTo>
                    <a:pt x="223" y="714"/>
                  </a:lnTo>
                  <a:lnTo>
                    <a:pt x="206" y="693"/>
                  </a:lnTo>
                  <a:lnTo>
                    <a:pt x="189" y="670"/>
                  </a:lnTo>
                  <a:lnTo>
                    <a:pt x="173" y="648"/>
                  </a:lnTo>
                  <a:lnTo>
                    <a:pt x="158" y="625"/>
                  </a:lnTo>
                  <a:lnTo>
                    <a:pt x="150" y="613"/>
                  </a:lnTo>
                  <a:lnTo>
                    <a:pt x="142" y="601"/>
                  </a:lnTo>
                  <a:lnTo>
                    <a:pt x="128" y="578"/>
                  </a:lnTo>
                  <a:lnTo>
                    <a:pt x="114" y="552"/>
                  </a:lnTo>
                  <a:lnTo>
                    <a:pt x="101" y="528"/>
                  </a:lnTo>
                  <a:lnTo>
                    <a:pt x="88" y="503"/>
                  </a:lnTo>
                  <a:lnTo>
                    <a:pt x="76" y="478"/>
                  </a:lnTo>
                  <a:lnTo>
                    <a:pt x="65" y="453"/>
                  </a:lnTo>
                  <a:lnTo>
                    <a:pt x="54" y="427"/>
                  </a:lnTo>
                  <a:lnTo>
                    <a:pt x="44" y="401"/>
                  </a:lnTo>
                  <a:lnTo>
                    <a:pt x="35" y="375"/>
                  </a:lnTo>
                  <a:lnTo>
                    <a:pt x="25" y="345"/>
                  </a:lnTo>
                  <a:lnTo>
                    <a:pt x="15" y="314"/>
                  </a:lnTo>
                  <a:lnTo>
                    <a:pt x="7" y="283"/>
                  </a:lnTo>
                  <a:lnTo>
                    <a:pt x="3" y="268"/>
                  </a:lnTo>
                  <a:lnTo>
                    <a:pt x="0" y="253"/>
                  </a:lnTo>
                  <a:lnTo>
                    <a:pt x="553" y="126"/>
                  </a:lnTo>
                  <a:lnTo>
                    <a:pt x="1106"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50" name="Freeform 150">
              <a:extLst>
                <a:ext uri="{FF2B5EF4-FFF2-40B4-BE49-F238E27FC236}">
                  <a16:creationId xmlns:a16="http://schemas.microsoft.com/office/drawing/2014/main" id="{24335371-AB1D-4209-AF4B-40B45C6AC3D3}"/>
                </a:ext>
              </a:extLst>
            </p:cNvPr>
            <p:cNvSpPr>
              <a:spLocks/>
            </p:cNvSpPr>
            <p:nvPr/>
          </p:nvSpPr>
          <p:spPr bwMode="auto">
            <a:xfrm>
              <a:off x="3659188" y="4372000"/>
              <a:ext cx="930275" cy="788987"/>
            </a:xfrm>
            <a:custGeom>
              <a:avLst/>
              <a:gdLst/>
              <a:ahLst/>
              <a:cxnLst>
                <a:cxn ang="0">
                  <a:pos x="1135" y="708"/>
                </a:cxn>
                <a:cxn ang="0">
                  <a:pos x="582" y="834"/>
                </a:cxn>
                <a:cxn ang="0">
                  <a:pos x="29" y="961"/>
                </a:cxn>
                <a:cxn ang="0">
                  <a:pos x="23" y="933"/>
                </a:cxn>
                <a:cxn ang="0">
                  <a:pos x="17" y="906"/>
                </a:cxn>
                <a:cxn ang="0">
                  <a:pos x="13" y="879"/>
                </a:cxn>
                <a:cxn ang="0">
                  <a:pos x="9" y="851"/>
                </a:cxn>
                <a:cxn ang="0">
                  <a:pos x="6" y="823"/>
                </a:cxn>
                <a:cxn ang="0">
                  <a:pos x="3" y="796"/>
                </a:cxn>
                <a:cxn ang="0">
                  <a:pos x="2" y="768"/>
                </a:cxn>
                <a:cxn ang="0">
                  <a:pos x="1" y="740"/>
                </a:cxn>
                <a:cxn ang="0">
                  <a:pos x="0" y="712"/>
                </a:cxn>
                <a:cxn ang="0">
                  <a:pos x="0" y="684"/>
                </a:cxn>
                <a:cxn ang="0">
                  <a:pos x="1" y="657"/>
                </a:cxn>
                <a:cxn ang="0">
                  <a:pos x="3" y="629"/>
                </a:cxn>
                <a:cxn ang="0">
                  <a:pos x="5" y="601"/>
                </a:cxn>
                <a:cxn ang="0">
                  <a:pos x="8" y="573"/>
                </a:cxn>
                <a:cxn ang="0">
                  <a:pos x="10" y="560"/>
                </a:cxn>
                <a:cxn ang="0">
                  <a:pos x="12" y="546"/>
                </a:cxn>
                <a:cxn ang="0">
                  <a:pos x="16" y="518"/>
                </a:cxn>
                <a:cxn ang="0">
                  <a:pos x="21" y="491"/>
                </a:cxn>
                <a:cxn ang="0">
                  <a:pos x="27" y="464"/>
                </a:cxn>
                <a:cxn ang="0">
                  <a:pos x="33" y="437"/>
                </a:cxn>
                <a:cxn ang="0">
                  <a:pos x="40" y="410"/>
                </a:cxn>
                <a:cxn ang="0">
                  <a:pos x="48" y="383"/>
                </a:cxn>
                <a:cxn ang="0">
                  <a:pos x="56" y="356"/>
                </a:cxn>
                <a:cxn ang="0">
                  <a:pos x="65" y="330"/>
                </a:cxn>
                <a:cxn ang="0">
                  <a:pos x="74" y="304"/>
                </a:cxn>
                <a:cxn ang="0">
                  <a:pos x="84" y="278"/>
                </a:cxn>
                <a:cxn ang="0">
                  <a:pos x="95" y="252"/>
                </a:cxn>
                <a:cxn ang="0">
                  <a:pos x="107" y="227"/>
                </a:cxn>
                <a:cxn ang="0">
                  <a:pos x="119" y="202"/>
                </a:cxn>
                <a:cxn ang="0">
                  <a:pos x="132" y="177"/>
                </a:cxn>
                <a:cxn ang="0">
                  <a:pos x="145" y="153"/>
                </a:cxn>
                <a:cxn ang="0">
                  <a:pos x="159" y="128"/>
                </a:cxn>
                <a:cxn ang="0">
                  <a:pos x="174" y="104"/>
                </a:cxn>
                <a:cxn ang="0">
                  <a:pos x="191" y="77"/>
                </a:cxn>
                <a:cxn ang="0">
                  <a:pos x="209" y="51"/>
                </a:cxn>
                <a:cxn ang="0">
                  <a:pos x="228" y="25"/>
                </a:cxn>
                <a:cxn ang="0">
                  <a:pos x="247" y="0"/>
                </a:cxn>
                <a:cxn ang="0">
                  <a:pos x="691" y="354"/>
                </a:cxn>
                <a:cxn ang="0">
                  <a:pos x="1135" y="708"/>
                </a:cxn>
              </a:cxnLst>
              <a:rect l="0" t="0" r="r" b="b"/>
              <a:pathLst>
                <a:path w="1135" h="961">
                  <a:moveTo>
                    <a:pt x="1135" y="708"/>
                  </a:moveTo>
                  <a:lnTo>
                    <a:pt x="582" y="834"/>
                  </a:lnTo>
                  <a:lnTo>
                    <a:pt x="29" y="961"/>
                  </a:lnTo>
                  <a:lnTo>
                    <a:pt x="23" y="933"/>
                  </a:lnTo>
                  <a:lnTo>
                    <a:pt x="17" y="906"/>
                  </a:lnTo>
                  <a:lnTo>
                    <a:pt x="13" y="879"/>
                  </a:lnTo>
                  <a:lnTo>
                    <a:pt x="9" y="851"/>
                  </a:lnTo>
                  <a:lnTo>
                    <a:pt x="6" y="823"/>
                  </a:lnTo>
                  <a:lnTo>
                    <a:pt x="3" y="796"/>
                  </a:lnTo>
                  <a:lnTo>
                    <a:pt x="2" y="768"/>
                  </a:lnTo>
                  <a:lnTo>
                    <a:pt x="1" y="740"/>
                  </a:lnTo>
                  <a:lnTo>
                    <a:pt x="0" y="712"/>
                  </a:lnTo>
                  <a:lnTo>
                    <a:pt x="0" y="684"/>
                  </a:lnTo>
                  <a:lnTo>
                    <a:pt x="1" y="657"/>
                  </a:lnTo>
                  <a:lnTo>
                    <a:pt x="3" y="629"/>
                  </a:lnTo>
                  <a:lnTo>
                    <a:pt x="5" y="601"/>
                  </a:lnTo>
                  <a:lnTo>
                    <a:pt x="8" y="573"/>
                  </a:lnTo>
                  <a:lnTo>
                    <a:pt x="10" y="560"/>
                  </a:lnTo>
                  <a:lnTo>
                    <a:pt x="12" y="546"/>
                  </a:lnTo>
                  <a:lnTo>
                    <a:pt x="16" y="518"/>
                  </a:lnTo>
                  <a:lnTo>
                    <a:pt x="21" y="491"/>
                  </a:lnTo>
                  <a:lnTo>
                    <a:pt x="27" y="464"/>
                  </a:lnTo>
                  <a:lnTo>
                    <a:pt x="33" y="437"/>
                  </a:lnTo>
                  <a:lnTo>
                    <a:pt x="40" y="410"/>
                  </a:lnTo>
                  <a:lnTo>
                    <a:pt x="48" y="383"/>
                  </a:lnTo>
                  <a:lnTo>
                    <a:pt x="56" y="356"/>
                  </a:lnTo>
                  <a:lnTo>
                    <a:pt x="65" y="330"/>
                  </a:lnTo>
                  <a:lnTo>
                    <a:pt x="74" y="304"/>
                  </a:lnTo>
                  <a:lnTo>
                    <a:pt x="84" y="278"/>
                  </a:lnTo>
                  <a:lnTo>
                    <a:pt x="95" y="252"/>
                  </a:lnTo>
                  <a:lnTo>
                    <a:pt x="107" y="227"/>
                  </a:lnTo>
                  <a:lnTo>
                    <a:pt x="119" y="202"/>
                  </a:lnTo>
                  <a:lnTo>
                    <a:pt x="132" y="177"/>
                  </a:lnTo>
                  <a:lnTo>
                    <a:pt x="145" y="153"/>
                  </a:lnTo>
                  <a:lnTo>
                    <a:pt x="159" y="128"/>
                  </a:lnTo>
                  <a:lnTo>
                    <a:pt x="174" y="104"/>
                  </a:lnTo>
                  <a:lnTo>
                    <a:pt x="191" y="77"/>
                  </a:lnTo>
                  <a:lnTo>
                    <a:pt x="209" y="51"/>
                  </a:lnTo>
                  <a:lnTo>
                    <a:pt x="228" y="25"/>
                  </a:lnTo>
                  <a:lnTo>
                    <a:pt x="247" y="0"/>
                  </a:lnTo>
                  <a:lnTo>
                    <a:pt x="691" y="354"/>
                  </a:lnTo>
                  <a:lnTo>
                    <a:pt x="1135" y="708"/>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51" name="Freeform 151">
              <a:extLst>
                <a:ext uri="{FF2B5EF4-FFF2-40B4-BE49-F238E27FC236}">
                  <a16:creationId xmlns:a16="http://schemas.microsoft.com/office/drawing/2014/main" id="{A0516252-9D61-45FE-9E87-2C328EF2618A}"/>
                </a:ext>
              </a:extLst>
            </p:cNvPr>
            <p:cNvSpPr>
              <a:spLocks/>
            </p:cNvSpPr>
            <p:nvPr/>
          </p:nvSpPr>
          <p:spPr bwMode="auto">
            <a:xfrm>
              <a:off x="3862388" y="4022750"/>
              <a:ext cx="727075" cy="930275"/>
            </a:xfrm>
            <a:custGeom>
              <a:avLst/>
              <a:gdLst/>
              <a:ahLst/>
              <a:cxnLst>
                <a:cxn ang="0">
                  <a:pos x="888" y="1135"/>
                </a:cxn>
                <a:cxn ang="0">
                  <a:pos x="444" y="781"/>
                </a:cxn>
                <a:cxn ang="0">
                  <a:pos x="0" y="427"/>
                </a:cxn>
                <a:cxn ang="0">
                  <a:pos x="18" y="406"/>
                </a:cxn>
                <a:cxn ang="0">
                  <a:pos x="36" y="385"/>
                </a:cxn>
                <a:cxn ang="0">
                  <a:pos x="55" y="364"/>
                </a:cxn>
                <a:cxn ang="0">
                  <a:pos x="74" y="344"/>
                </a:cxn>
                <a:cxn ang="0">
                  <a:pos x="94" y="324"/>
                </a:cxn>
                <a:cxn ang="0">
                  <a:pos x="104" y="314"/>
                </a:cxn>
                <a:cxn ang="0">
                  <a:pos x="114" y="305"/>
                </a:cxn>
                <a:cxn ang="0">
                  <a:pos x="134" y="286"/>
                </a:cxn>
                <a:cxn ang="0">
                  <a:pos x="155" y="268"/>
                </a:cxn>
                <a:cxn ang="0">
                  <a:pos x="177" y="250"/>
                </a:cxn>
                <a:cxn ang="0">
                  <a:pos x="199" y="233"/>
                </a:cxn>
                <a:cxn ang="0">
                  <a:pos x="221" y="217"/>
                </a:cxn>
                <a:cxn ang="0">
                  <a:pos x="244" y="200"/>
                </a:cxn>
                <a:cxn ang="0">
                  <a:pos x="267" y="185"/>
                </a:cxn>
                <a:cxn ang="0">
                  <a:pos x="290" y="170"/>
                </a:cxn>
                <a:cxn ang="0">
                  <a:pos x="314" y="156"/>
                </a:cxn>
                <a:cxn ang="0">
                  <a:pos x="339" y="142"/>
                </a:cxn>
                <a:cxn ang="0">
                  <a:pos x="364" y="129"/>
                </a:cxn>
                <a:cxn ang="0">
                  <a:pos x="389" y="116"/>
                </a:cxn>
                <a:cxn ang="0">
                  <a:pos x="414" y="104"/>
                </a:cxn>
                <a:cxn ang="0">
                  <a:pos x="439" y="93"/>
                </a:cxn>
                <a:cxn ang="0">
                  <a:pos x="465" y="82"/>
                </a:cxn>
                <a:cxn ang="0">
                  <a:pos x="491" y="72"/>
                </a:cxn>
                <a:cxn ang="0">
                  <a:pos x="517" y="62"/>
                </a:cxn>
                <a:cxn ang="0">
                  <a:pos x="543" y="54"/>
                </a:cxn>
                <a:cxn ang="0">
                  <a:pos x="570" y="45"/>
                </a:cxn>
                <a:cxn ang="0">
                  <a:pos x="597" y="38"/>
                </a:cxn>
                <a:cxn ang="0">
                  <a:pos x="624" y="31"/>
                </a:cxn>
                <a:cxn ang="0">
                  <a:pos x="651" y="25"/>
                </a:cxn>
                <a:cxn ang="0">
                  <a:pos x="678" y="20"/>
                </a:cxn>
                <a:cxn ang="0">
                  <a:pos x="706" y="15"/>
                </a:cxn>
                <a:cxn ang="0">
                  <a:pos x="733" y="11"/>
                </a:cxn>
                <a:cxn ang="0">
                  <a:pos x="761" y="8"/>
                </a:cxn>
                <a:cxn ang="0">
                  <a:pos x="777" y="6"/>
                </a:cxn>
                <a:cxn ang="0">
                  <a:pos x="792" y="4"/>
                </a:cxn>
                <a:cxn ang="0">
                  <a:pos x="824" y="2"/>
                </a:cxn>
                <a:cxn ang="0">
                  <a:pos x="856" y="1"/>
                </a:cxn>
                <a:cxn ang="0">
                  <a:pos x="888" y="0"/>
                </a:cxn>
                <a:cxn ang="0">
                  <a:pos x="888" y="568"/>
                </a:cxn>
                <a:cxn ang="0">
                  <a:pos x="888" y="1135"/>
                </a:cxn>
              </a:cxnLst>
              <a:rect l="0" t="0" r="r" b="b"/>
              <a:pathLst>
                <a:path w="888" h="1135">
                  <a:moveTo>
                    <a:pt x="888" y="1135"/>
                  </a:moveTo>
                  <a:lnTo>
                    <a:pt x="444" y="781"/>
                  </a:lnTo>
                  <a:lnTo>
                    <a:pt x="0" y="427"/>
                  </a:lnTo>
                  <a:lnTo>
                    <a:pt x="18" y="406"/>
                  </a:lnTo>
                  <a:lnTo>
                    <a:pt x="36" y="385"/>
                  </a:lnTo>
                  <a:lnTo>
                    <a:pt x="55" y="364"/>
                  </a:lnTo>
                  <a:lnTo>
                    <a:pt x="74" y="344"/>
                  </a:lnTo>
                  <a:lnTo>
                    <a:pt x="94" y="324"/>
                  </a:lnTo>
                  <a:lnTo>
                    <a:pt x="104" y="314"/>
                  </a:lnTo>
                  <a:lnTo>
                    <a:pt x="114" y="305"/>
                  </a:lnTo>
                  <a:lnTo>
                    <a:pt x="134" y="286"/>
                  </a:lnTo>
                  <a:lnTo>
                    <a:pt x="155" y="268"/>
                  </a:lnTo>
                  <a:lnTo>
                    <a:pt x="177" y="250"/>
                  </a:lnTo>
                  <a:lnTo>
                    <a:pt x="199" y="233"/>
                  </a:lnTo>
                  <a:lnTo>
                    <a:pt x="221" y="217"/>
                  </a:lnTo>
                  <a:lnTo>
                    <a:pt x="244" y="200"/>
                  </a:lnTo>
                  <a:lnTo>
                    <a:pt x="267" y="185"/>
                  </a:lnTo>
                  <a:lnTo>
                    <a:pt x="290" y="170"/>
                  </a:lnTo>
                  <a:lnTo>
                    <a:pt x="314" y="156"/>
                  </a:lnTo>
                  <a:lnTo>
                    <a:pt x="339" y="142"/>
                  </a:lnTo>
                  <a:lnTo>
                    <a:pt x="364" y="129"/>
                  </a:lnTo>
                  <a:lnTo>
                    <a:pt x="389" y="116"/>
                  </a:lnTo>
                  <a:lnTo>
                    <a:pt x="414" y="104"/>
                  </a:lnTo>
                  <a:lnTo>
                    <a:pt x="439" y="93"/>
                  </a:lnTo>
                  <a:lnTo>
                    <a:pt x="465" y="82"/>
                  </a:lnTo>
                  <a:lnTo>
                    <a:pt x="491" y="72"/>
                  </a:lnTo>
                  <a:lnTo>
                    <a:pt x="517" y="62"/>
                  </a:lnTo>
                  <a:lnTo>
                    <a:pt x="543" y="54"/>
                  </a:lnTo>
                  <a:lnTo>
                    <a:pt x="570" y="45"/>
                  </a:lnTo>
                  <a:lnTo>
                    <a:pt x="597" y="38"/>
                  </a:lnTo>
                  <a:lnTo>
                    <a:pt x="624" y="31"/>
                  </a:lnTo>
                  <a:lnTo>
                    <a:pt x="651" y="25"/>
                  </a:lnTo>
                  <a:lnTo>
                    <a:pt x="678" y="20"/>
                  </a:lnTo>
                  <a:lnTo>
                    <a:pt x="706" y="15"/>
                  </a:lnTo>
                  <a:lnTo>
                    <a:pt x="733" y="11"/>
                  </a:lnTo>
                  <a:lnTo>
                    <a:pt x="761" y="8"/>
                  </a:lnTo>
                  <a:lnTo>
                    <a:pt x="777" y="6"/>
                  </a:lnTo>
                  <a:lnTo>
                    <a:pt x="792" y="4"/>
                  </a:lnTo>
                  <a:lnTo>
                    <a:pt x="824" y="2"/>
                  </a:lnTo>
                  <a:lnTo>
                    <a:pt x="856" y="1"/>
                  </a:lnTo>
                  <a:lnTo>
                    <a:pt x="888" y="0"/>
                  </a:lnTo>
                  <a:lnTo>
                    <a:pt x="888" y="568"/>
                  </a:lnTo>
                  <a:lnTo>
                    <a:pt x="888" y="1135"/>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52" name="Text Box 152">
              <a:extLst>
                <a:ext uri="{FF2B5EF4-FFF2-40B4-BE49-F238E27FC236}">
                  <a16:creationId xmlns:a16="http://schemas.microsoft.com/office/drawing/2014/main" id="{F9B60B28-C1BD-4762-9213-28564E61CFBA}"/>
                </a:ext>
              </a:extLst>
            </p:cNvPr>
            <p:cNvSpPr txBox="1">
              <a:spLocks noChangeArrowheads="1"/>
            </p:cNvSpPr>
            <p:nvPr/>
          </p:nvSpPr>
          <p:spPr bwMode="auto">
            <a:xfrm>
              <a:off x="4140200" y="4321200"/>
              <a:ext cx="411163" cy="255587"/>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53" name="Text Box 153">
              <a:extLst>
                <a:ext uri="{FF2B5EF4-FFF2-40B4-BE49-F238E27FC236}">
                  <a16:creationId xmlns:a16="http://schemas.microsoft.com/office/drawing/2014/main" id="{CA697680-1F99-47D8-9EBB-589C3AF6018A}"/>
                </a:ext>
              </a:extLst>
            </p:cNvPr>
            <p:cNvSpPr txBox="1">
              <a:spLocks noChangeArrowheads="1"/>
            </p:cNvSpPr>
            <p:nvPr/>
          </p:nvSpPr>
          <p:spPr bwMode="auto">
            <a:xfrm>
              <a:off x="4608513" y="4321200"/>
              <a:ext cx="411162" cy="255587"/>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54" name="Text Box 154">
              <a:extLst>
                <a:ext uri="{FF2B5EF4-FFF2-40B4-BE49-F238E27FC236}">
                  <a16:creationId xmlns:a16="http://schemas.microsoft.com/office/drawing/2014/main" id="{05EB2D0C-841F-4F2B-A4FA-956E064E7141}"/>
                </a:ext>
              </a:extLst>
            </p:cNvPr>
            <p:cNvSpPr txBox="1">
              <a:spLocks noChangeArrowheads="1"/>
            </p:cNvSpPr>
            <p:nvPr/>
          </p:nvSpPr>
          <p:spPr bwMode="auto">
            <a:xfrm>
              <a:off x="4849813" y="4743475"/>
              <a:ext cx="411162" cy="255587"/>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55" name="Text Box 155">
              <a:extLst>
                <a:ext uri="{FF2B5EF4-FFF2-40B4-BE49-F238E27FC236}">
                  <a16:creationId xmlns:a16="http://schemas.microsoft.com/office/drawing/2014/main" id="{1947158E-2B23-437E-B2E3-E717174A0F49}"/>
                </a:ext>
              </a:extLst>
            </p:cNvPr>
            <p:cNvSpPr txBox="1">
              <a:spLocks noChangeArrowheads="1"/>
            </p:cNvSpPr>
            <p:nvPr/>
          </p:nvSpPr>
          <p:spPr bwMode="auto">
            <a:xfrm>
              <a:off x="4837113" y="5224487"/>
              <a:ext cx="411162"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56" name="Text Box 156">
              <a:extLst>
                <a:ext uri="{FF2B5EF4-FFF2-40B4-BE49-F238E27FC236}">
                  <a16:creationId xmlns:a16="http://schemas.microsoft.com/office/drawing/2014/main" id="{9AFA8C46-8797-4BF0-BBCE-23D7C745F166}"/>
                </a:ext>
              </a:extLst>
            </p:cNvPr>
            <p:cNvSpPr txBox="1">
              <a:spLocks noChangeArrowheads="1"/>
            </p:cNvSpPr>
            <p:nvPr/>
          </p:nvSpPr>
          <p:spPr bwMode="auto">
            <a:xfrm>
              <a:off x="4383088" y="5418162"/>
              <a:ext cx="411162"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57" name="Text Box 157">
              <a:extLst>
                <a:ext uri="{FF2B5EF4-FFF2-40B4-BE49-F238E27FC236}">
                  <a16:creationId xmlns:a16="http://schemas.microsoft.com/office/drawing/2014/main" id="{F586F8AA-8F54-4B20-868A-7245E9574B1A}"/>
                </a:ext>
              </a:extLst>
            </p:cNvPr>
            <p:cNvSpPr txBox="1">
              <a:spLocks noChangeArrowheads="1"/>
            </p:cNvSpPr>
            <p:nvPr/>
          </p:nvSpPr>
          <p:spPr bwMode="auto">
            <a:xfrm>
              <a:off x="3930650" y="5224487"/>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58" name="Text Box 158">
              <a:extLst>
                <a:ext uri="{FF2B5EF4-FFF2-40B4-BE49-F238E27FC236}">
                  <a16:creationId xmlns:a16="http://schemas.microsoft.com/office/drawing/2014/main" id="{47318CFE-8FAA-49F9-889F-032D6ACEF6DB}"/>
                </a:ext>
              </a:extLst>
            </p:cNvPr>
            <p:cNvSpPr txBox="1">
              <a:spLocks noChangeArrowheads="1"/>
            </p:cNvSpPr>
            <p:nvPr/>
          </p:nvSpPr>
          <p:spPr bwMode="auto">
            <a:xfrm>
              <a:off x="3917950" y="4743475"/>
              <a:ext cx="411163" cy="255587"/>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grpSp>
      <p:grpSp>
        <p:nvGrpSpPr>
          <p:cNvPr id="127" name="Group 126" descr="Segment 7">
            <a:extLst>
              <a:ext uri="{FF2B5EF4-FFF2-40B4-BE49-F238E27FC236}">
                <a16:creationId xmlns:a16="http://schemas.microsoft.com/office/drawing/2014/main" id="{ABABDAC3-864D-4F32-BA34-6C81545CBB7C}"/>
              </a:ext>
            </a:extLst>
          </p:cNvPr>
          <p:cNvGrpSpPr/>
          <p:nvPr/>
        </p:nvGrpSpPr>
        <p:grpSpPr bwMode="auto">
          <a:xfrm>
            <a:off x="7300698" y="4150657"/>
            <a:ext cx="1860550" cy="1860550"/>
            <a:chOff x="5876925" y="4022750"/>
            <a:chExt cx="1860550" cy="1860550"/>
          </a:xfrm>
        </p:grpSpPr>
        <p:sp>
          <p:nvSpPr>
            <p:cNvPr id="128" name="Freeform 128">
              <a:extLst>
                <a:ext uri="{FF2B5EF4-FFF2-40B4-BE49-F238E27FC236}">
                  <a16:creationId xmlns:a16="http://schemas.microsoft.com/office/drawing/2014/main" id="{5B56EE88-10BF-4D48-9159-4DF36B4234E8}"/>
                </a:ext>
              </a:extLst>
            </p:cNvPr>
            <p:cNvSpPr>
              <a:spLocks/>
            </p:cNvSpPr>
            <p:nvPr/>
          </p:nvSpPr>
          <p:spPr bwMode="auto">
            <a:xfrm>
              <a:off x="6807200" y="4953025"/>
              <a:ext cx="930275" cy="657225"/>
            </a:xfrm>
            <a:custGeom>
              <a:avLst/>
              <a:gdLst/>
              <a:ahLst/>
              <a:cxnLst>
                <a:cxn ang="0">
                  <a:pos x="0" y="0"/>
                </a:cxn>
                <a:cxn ang="0">
                  <a:pos x="599" y="0"/>
                </a:cxn>
                <a:cxn ang="0">
                  <a:pos x="1199" y="0"/>
                </a:cxn>
                <a:cxn ang="0">
                  <a:pos x="1199" y="29"/>
                </a:cxn>
                <a:cxn ang="0">
                  <a:pos x="1198" y="59"/>
                </a:cxn>
                <a:cxn ang="0">
                  <a:pos x="1196" y="88"/>
                </a:cxn>
                <a:cxn ang="0">
                  <a:pos x="1194" y="117"/>
                </a:cxn>
                <a:cxn ang="0">
                  <a:pos x="1190" y="147"/>
                </a:cxn>
                <a:cxn ang="0">
                  <a:pos x="1186" y="176"/>
                </a:cxn>
                <a:cxn ang="0">
                  <a:pos x="1182" y="205"/>
                </a:cxn>
                <a:cxn ang="0">
                  <a:pos x="1176" y="234"/>
                </a:cxn>
                <a:cxn ang="0">
                  <a:pos x="1170" y="262"/>
                </a:cxn>
                <a:cxn ang="0">
                  <a:pos x="1163" y="291"/>
                </a:cxn>
                <a:cxn ang="0">
                  <a:pos x="1156" y="319"/>
                </a:cxn>
                <a:cxn ang="0">
                  <a:pos x="1148" y="348"/>
                </a:cxn>
                <a:cxn ang="0">
                  <a:pos x="1143" y="362"/>
                </a:cxn>
                <a:cxn ang="0">
                  <a:pos x="1139" y="376"/>
                </a:cxn>
                <a:cxn ang="0">
                  <a:pos x="1129" y="404"/>
                </a:cxn>
                <a:cxn ang="0">
                  <a:pos x="1119" y="431"/>
                </a:cxn>
                <a:cxn ang="0">
                  <a:pos x="1108" y="458"/>
                </a:cxn>
                <a:cxn ang="0">
                  <a:pos x="1097" y="485"/>
                </a:cxn>
                <a:cxn ang="0">
                  <a:pos x="1084" y="512"/>
                </a:cxn>
                <a:cxn ang="0">
                  <a:pos x="1072" y="539"/>
                </a:cxn>
                <a:cxn ang="0">
                  <a:pos x="1058" y="565"/>
                </a:cxn>
                <a:cxn ang="0">
                  <a:pos x="1044" y="591"/>
                </a:cxn>
                <a:cxn ang="0">
                  <a:pos x="1029" y="617"/>
                </a:cxn>
                <a:cxn ang="0">
                  <a:pos x="1014" y="642"/>
                </a:cxn>
                <a:cxn ang="0">
                  <a:pos x="998" y="667"/>
                </a:cxn>
                <a:cxn ang="0">
                  <a:pos x="981" y="691"/>
                </a:cxn>
                <a:cxn ang="0">
                  <a:pos x="973" y="703"/>
                </a:cxn>
                <a:cxn ang="0">
                  <a:pos x="964" y="715"/>
                </a:cxn>
                <a:cxn ang="0">
                  <a:pos x="946" y="738"/>
                </a:cxn>
                <a:cxn ang="0">
                  <a:pos x="928" y="761"/>
                </a:cxn>
                <a:cxn ang="0">
                  <a:pos x="909" y="784"/>
                </a:cxn>
                <a:cxn ang="0">
                  <a:pos x="889" y="806"/>
                </a:cxn>
                <a:cxn ang="0">
                  <a:pos x="879" y="816"/>
                </a:cxn>
                <a:cxn ang="0">
                  <a:pos x="869" y="827"/>
                </a:cxn>
                <a:cxn ang="0">
                  <a:pos x="848" y="848"/>
                </a:cxn>
                <a:cxn ang="0">
                  <a:pos x="423" y="423"/>
                </a:cxn>
                <a:cxn ang="0">
                  <a:pos x="0" y="0"/>
                </a:cxn>
              </a:cxnLst>
              <a:rect l="0" t="0" r="r" b="b"/>
              <a:pathLst>
                <a:path w="1199" h="848">
                  <a:moveTo>
                    <a:pt x="0" y="0"/>
                  </a:moveTo>
                  <a:lnTo>
                    <a:pt x="599" y="0"/>
                  </a:lnTo>
                  <a:lnTo>
                    <a:pt x="1199" y="0"/>
                  </a:lnTo>
                  <a:lnTo>
                    <a:pt x="1199" y="29"/>
                  </a:lnTo>
                  <a:lnTo>
                    <a:pt x="1198" y="59"/>
                  </a:lnTo>
                  <a:lnTo>
                    <a:pt x="1196" y="88"/>
                  </a:lnTo>
                  <a:lnTo>
                    <a:pt x="1194" y="117"/>
                  </a:lnTo>
                  <a:lnTo>
                    <a:pt x="1190" y="147"/>
                  </a:lnTo>
                  <a:lnTo>
                    <a:pt x="1186" y="176"/>
                  </a:lnTo>
                  <a:lnTo>
                    <a:pt x="1182" y="205"/>
                  </a:lnTo>
                  <a:lnTo>
                    <a:pt x="1176" y="234"/>
                  </a:lnTo>
                  <a:lnTo>
                    <a:pt x="1170" y="262"/>
                  </a:lnTo>
                  <a:lnTo>
                    <a:pt x="1163" y="291"/>
                  </a:lnTo>
                  <a:lnTo>
                    <a:pt x="1156" y="319"/>
                  </a:lnTo>
                  <a:lnTo>
                    <a:pt x="1148" y="348"/>
                  </a:lnTo>
                  <a:lnTo>
                    <a:pt x="1143" y="362"/>
                  </a:lnTo>
                  <a:lnTo>
                    <a:pt x="1139" y="376"/>
                  </a:lnTo>
                  <a:lnTo>
                    <a:pt x="1129" y="404"/>
                  </a:lnTo>
                  <a:lnTo>
                    <a:pt x="1119" y="431"/>
                  </a:lnTo>
                  <a:lnTo>
                    <a:pt x="1108" y="458"/>
                  </a:lnTo>
                  <a:lnTo>
                    <a:pt x="1097" y="485"/>
                  </a:lnTo>
                  <a:lnTo>
                    <a:pt x="1084" y="512"/>
                  </a:lnTo>
                  <a:lnTo>
                    <a:pt x="1072" y="539"/>
                  </a:lnTo>
                  <a:lnTo>
                    <a:pt x="1058" y="565"/>
                  </a:lnTo>
                  <a:lnTo>
                    <a:pt x="1044" y="591"/>
                  </a:lnTo>
                  <a:lnTo>
                    <a:pt x="1029" y="617"/>
                  </a:lnTo>
                  <a:lnTo>
                    <a:pt x="1014" y="642"/>
                  </a:lnTo>
                  <a:lnTo>
                    <a:pt x="998" y="667"/>
                  </a:lnTo>
                  <a:lnTo>
                    <a:pt x="981" y="691"/>
                  </a:lnTo>
                  <a:lnTo>
                    <a:pt x="973" y="703"/>
                  </a:lnTo>
                  <a:lnTo>
                    <a:pt x="964" y="715"/>
                  </a:lnTo>
                  <a:lnTo>
                    <a:pt x="946" y="738"/>
                  </a:lnTo>
                  <a:lnTo>
                    <a:pt x="928" y="761"/>
                  </a:lnTo>
                  <a:lnTo>
                    <a:pt x="909" y="784"/>
                  </a:lnTo>
                  <a:lnTo>
                    <a:pt x="889" y="806"/>
                  </a:lnTo>
                  <a:lnTo>
                    <a:pt x="879" y="816"/>
                  </a:lnTo>
                  <a:lnTo>
                    <a:pt x="869" y="827"/>
                  </a:lnTo>
                  <a:lnTo>
                    <a:pt x="848" y="848"/>
                  </a:lnTo>
                  <a:lnTo>
                    <a:pt x="423" y="423"/>
                  </a:lnTo>
                  <a:lnTo>
                    <a:pt x="0"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29" name="Freeform 129">
              <a:extLst>
                <a:ext uri="{FF2B5EF4-FFF2-40B4-BE49-F238E27FC236}">
                  <a16:creationId xmlns:a16="http://schemas.microsoft.com/office/drawing/2014/main" id="{004538FD-F5AB-4D39-B9BE-0CDF9667B2C3}"/>
                </a:ext>
              </a:extLst>
            </p:cNvPr>
            <p:cNvSpPr>
              <a:spLocks/>
            </p:cNvSpPr>
            <p:nvPr/>
          </p:nvSpPr>
          <p:spPr bwMode="auto">
            <a:xfrm>
              <a:off x="5876925" y="4295800"/>
              <a:ext cx="930275" cy="657225"/>
            </a:xfrm>
            <a:custGeom>
              <a:avLst/>
              <a:gdLst/>
              <a:ahLst/>
              <a:cxnLst>
                <a:cxn ang="0">
                  <a:pos x="1199" y="848"/>
                </a:cxn>
                <a:cxn ang="0">
                  <a:pos x="600" y="848"/>
                </a:cxn>
                <a:cxn ang="0">
                  <a:pos x="0" y="848"/>
                </a:cxn>
                <a:cxn ang="0">
                  <a:pos x="1" y="819"/>
                </a:cxn>
                <a:cxn ang="0">
                  <a:pos x="2" y="789"/>
                </a:cxn>
                <a:cxn ang="0">
                  <a:pos x="3" y="760"/>
                </a:cxn>
                <a:cxn ang="0">
                  <a:pos x="6" y="730"/>
                </a:cxn>
                <a:cxn ang="0">
                  <a:pos x="9" y="701"/>
                </a:cxn>
                <a:cxn ang="0">
                  <a:pos x="13" y="672"/>
                </a:cxn>
                <a:cxn ang="0">
                  <a:pos x="18" y="643"/>
                </a:cxn>
                <a:cxn ang="0">
                  <a:pos x="23" y="614"/>
                </a:cxn>
                <a:cxn ang="0">
                  <a:pos x="29" y="585"/>
                </a:cxn>
                <a:cxn ang="0">
                  <a:pos x="36" y="557"/>
                </a:cxn>
                <a:cxn ang="0">
                  <a:pos x="44" y="528"/>
                </a:cxn>
                <a:cxn ang="0">
                  <a:pos x="52" y="500"/>
                </a:cxn>
                <a:cxn ang="0">
                  <a:pos x="56" y="486"/>
                </a:cxn>
                <a:cxn ang="0">
                  <a:pos x="61" y="472"/>
                </a:cxn>
                <a:cxn ang="0">
                  <a:pos x="70" y="444"/>
                </a:cxn>
                <a:cxn ang="0">
                  <a:pos x="81" y="417"/>
                </a:cxn>
                <a:cxn ang="0">
                  <a:pos x="91" y="389"/>
                </a:cxn>
                <a:cxn ang="0">
                  <a:pos x="103" y="362"/>
                </a:cxn>
                <a:cxn ang="0">
                  <a:pos x="115" y="336"/>
                </a:cxn>
                <a:cxn ang="0">
                  <a:pos x="128" y="309"/>
                </a:cxn>
                <a:cxn ang="0">
                  <a:pos x="142" y="283"/>
                </a:cxn>
                <a:cxn ang="0">
                  <a:pos x="156" y="257"/>
                </a:cxn>
                <a:cxn ang="0">
                  <a:pos x="170" y="231"/>
                </a:cxn>
                <a:cxn ang="0">
                  <a:pos x="186" y="206"/>
                </a:cxn>
                <a:cxn ang="0">
                  <a:pos x="202" y="181"/>
                </a:cxn>
                <a:cxn ang="0">
                  <a:pos x="218" y="157"/>
                </a:cxn>
                <a:cxn ang="0">
                  <a:pos x="227" y="145"/>
                </a:cxn>
                <a:cxn ang="0">
                  <a:pos x="236" y="133"/>
                </a:cxn>
                <a:cxn ang="0">
                  <a:pos x="253" y="110"/>
                </a:cxn>
                <a:cxn ang="0">
                  <a:pos x="272" y="87"/>
                </a:cxn>
                <a:cxn ang="0">
                  <a:pos x="291" y="64"/>
                </a:cxn>
                <a:cxn ang="0">
                  <a:pos x="310" y="42"/>
                </a:cxn>
                <a:cxn ang="0">
                  <a:pos x="320" y="31"/>
                </a:cxn>
                <a:cxn ang="0">
                  <a:pos x="330" y="21"/>
                </a:cxn>
                <a:cxn ang="0">
                  <a:pos x="351" y="0"/>
                </a:cxn>
                <a:cxn ang="0">
                  <a:pos x="775" y="424"/>
                </a:cxn>
                <a:cxn ang="0">
                  <a:pos x="1199" y="848"/>
                </a:cxn>
              </a:cxnLst>
              <a:rect l="0" t="0" r="r" b="b"/>
              <a:pathLst>
                <a:path w="1199" h="848">
                  <a:moveTo>
                    <a:pt x="1199" y="848"/>
                  </a:moveTo>
                  <a:lnTo>
                    <a:pt x="600" y="848"/>
                  </a:lnTo>
                  <a:lnTo>
                    <a:pt x="0" y="848"/>
                  </a:lnTo>
                  <a:lnTo>
                    <a:pt x="1" y="819"/>
                  </a:lnTo>
                  <a:lnTo>
                    <a:pt x="2" y="789"/>
                  </a:lnTo>
                  <a:lnTo>
                    <a:pt x="3" y="760"/>
                  </a:lnTo>
                  <a:lnTo>
                    <a:pt x="6" y="730"/>
                  </a:lnTo>
                  <a:lnTo>
                    <a:pt x="9" y="701"/>
                  </a:lnTo>
                  <a:lnTo>
                    <a:pt x="13" y="672"/>
                  </a:lnTo>
                  <a:lnTo>
                    <a:pt x="18" y="643"/>
                  </a:lnTo>
                  <a:lnTo>
                    <a:pt x="23" y="614"/>
                  </a:lnTo>
                  <a:lnTo>
                    <a:pt x="29" y="585"/>
                  </a:lnTo>
                  <a:lnTo>
                    <a:pt x="36" y="557"/>
                  </a:lnTo>
                  <a:lnTo>
                    <a:pt x="44" y="528"/>
                  </a:lnTo>
                  <a:lnTo>
                    <a:pt x="52" y="500"/>
                  </a:lnTo>
                  <a:lnTo>
                    <a:pt x="56" y="486"/>
                  </a:lnTo>
                  <a:lnTo>
                    <a:pt x="61" y="472"/>
                  </a:lnTo>
                  <a:lnTo>
                    <a:pt x="70" y="444"/>
                  </a:lnTo>
                  <a:lnTo>
                    <a:pt x="81" y="417"/>
                  </a:lnTo>
                  <a:lnTo>
                    <a:pt x="91" y="389"/>
                  </a:lnTo>
                  <a:lnTo>
                    <a:pt x="103" y="362"/>
                  </a:lnTo>
                  <a:lnTo>
                    <a:pt x="115" y="336"/>
                  </a:lnTo>
                  <a:lnTo>
                    <a:pt x="128" y="309"/>
                  </a:lnTo>
                  <a:lnTo>
                    <a:pt x="142" y="283"/>
                  </a:lnTo>
                  <a:lnTo>
                    <a:pt x="156" y="257"/>
                  </a:lnTo>
                  <a:lnTo>
                    <a:pt x="170" y="231"/>
                  </a:lnTo>
                  <a:lnTo>
                    <a:pt x="186" y="206"/>
                  </a:lnTo>
                  <a:lnTo>
                    <a:pt x="202" y="181"/>
                  </a:lnTo>
                  <a:lnTo>
                    <a:pt x="218" y="157"/>
                  </a:lnTo>
                  <a:lnTo>
                    <a:pt x="227" y="145"/>
                  </a:lnTo>
                  <a:lnTo>
                    <a:pt x="236" y="133"/>
                  </a:lnTo>
                  <a:lnTo>
                    <a:pt x="253" y="110"/>
                  </a:lnTo>
                  <a:lnTo>
                    <a:pt x="272" y="87"/>
                  </a:lnTo>
                  <a:lnTo>
                    <a:pt x="291" y="64"/>
                  </a:lnTo>
                  <a:lnTo>
                    <a:pt x="310" y="42"/>
                  </a:lnTo>
                  <a:lnTo>
                    <a:pt x="320" y="31"/>
                  </a:lnTo>
                  <a:lnTo>
                    <a:pt x="330" y="21"/>
                  </a:lnTo>
                  <a:lnTo>
                    <a:pt x="351" y="0"/>
                  </a:lnTo>
                  <a:lnTo>
                    <a:pt x="775" y="424"/>
                  </a:lnTo>
                  <a:lnTo>
                    <a:pt x="1199" y="848"/>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0" name="Freeform 130">
              <a:extLst>
                <a:ext uri="{FF2B5EF4-FFF2-40B4-BE49-F238E27FC236}">
                  <a16:creationId xmlns:a16="http://schemas.microsoft.com/office/drawing/2014/main" id="{CD9A2930-4043-495F-82A2-09ADEEFD5226}"/>
                </a:ext>
              </a:extLst>
            </p:cNvPr>
            <p:cNvSpPr>
              <a:spLocks/>
            </p:cNvSpPr>
            <p:nvPr/>
          </p:nvSpPr>
          <p:spPr bwMode="auto">
            <a:xfrm>
              <a:off x="6799263" y="4022750"/>
              <a:ext cx="657225" cy="930275"/>
            </a:xfrm>
            <a:custGeom>
              <a:avLst/>
              <a:gdLst/>
              <a:ahLst/>
              <a:cxnLst>
                <a:cxn ang="0">
                  <a:pos x="0" y="1199"/>
                </a:cxn>
                <a:cxn ang="0">
                  <a:pos x="0" y="600"/>
                </a:cxn>
                <a:cxn ang="0">
                  <a:pos x="0" y="0"/>
                </a:cxn>
                <a:cxn ang="0">
                  <a:pos x="30" y="0"/>
                </a:cxn>
                <a:cxn ang="0">
                  <a:pos x="59" y="1"/>
                </a:cxn>
                <a:cxn ang="0">
                  <a:pos x="88" y="3"/>
                </a:cxn>
                <a:cxn ang="0">
                  <a:pos x="118" y="6"/>
                </a:cxn>
                <a:cxn ang="0">
                  <a:pos x="147" y="9"/>
                </a:cxn>
                <a:cxn ang="0">
                  <a:pos x="176" y="13"/>
                </a:cxn>
                <a:cxn ang="0">
                  <a:pos x="205" y="18"/>
                </a:cxn>
                <a:cxn ang="0">
                  <a:pos x="234" y="23"/>
                </a:cxn>
                <a:cxn ang="0">
                  <a:pos x="263" y="29"/>
                </a:cxn>
                <a:cxn ang="0">
                  <a:pos x="291" y="36"/>
                </a:cxn>
                <a:cxn ang="0">
                  <a:pos x="320" y="43"/>
                </a:cxn>
                <a:cxn ang="0">
                  <a:pos x="348" y="52"/>
                </a:cxn>
                <a:cxn ang="0">
                  <a:pos x="362" y="56"/>
                </a:cxn>
                <a:cxn ang="0">
                  <a:pos x="376" y="60"/>
                </a:cxn>
                <a:cxn ang="0">
                  <a:pos x="404" y="70"/>
                </a:cxn>
                <a:cxn ang="0">
                  <a:pos x="431" y="80"/>
                </a:cxn>
                <a:cxn ang="0">
                  <a:pos x="459" y="91"/>
                </a:cxn>
                <a:cxn ang="0">
                  <a:pos x="486" y="103"/>
                </a:cxn>
                <a:cxn ang="0">
                  <a:pos x="513" y="115"/>
                </a:cxn>
                <a:cxn ang="0">
                  <a:pos x="539" y="128"/>
                </a:cxn>
                <a:cxn ang="0">
                  <a:pos x="565" y="141"/>
                </a:cxn>
                <a:cxn ang="0">
                  <a:pos x="591" y="155"/>
                </a:cxn>
                <a:cxn ang="0">
                  <a:pos x="617" y="170"/>
                </a:cxn>
                <a:cxn ang="0">
                  <a:pos x="642" y="185"/>
                </a:cxn>
                <a:cxn ang="0">
                  <a:pos x="667" y="201"/>
                </a:cxn>
                <a:cxn ang="0">
                  <a:pos x="691" y="218"/>
                </a:cxn>
                <a:cxn ang="0">
                  <a:pos x="703" y="227"/>
                </a:cxn>
                <a:cxn ang="0">
                  <a:pos x="715" y="235"/>
                </a:cxn>
                <a:cxn ang="0">
                  <a:pos x="739" y="253"/>
                </a:cxn>
                <a:cxn ang="0">
                  <a:pos x="762" y="271"/>
                </a:cxn>
                <a:cxn ang="0">
                  <a:pos x="784" y="290"/>
                </a:cxn>
                <a:cxn ang="0">
                  <a:pos x="806" y="310"/>
                </a:cxn>
                <a:cxn ang="0">
                  <a:pos x="817" y="320"/>
                </a:cxn>
                <a:cxn ang="0">
                  <a:pos x="827" y="330"/>
                </a:cxn>
                <a:cxn ang="0">
                  <a:pos x="848" y="351"/>
                </a:cxn>
                <a:cxn ang="0">
                  <a:pos x="423" y="775"/>
                </a:cxn>
                <a:cxn ang="0">
                  <a:pos x="0" y="1199"/>
                </a:cxn>
              </a:cxnLst>
              <a:rect l="0" t="0" r="r" b="b"/>
              <a:pathLst>
                <a:path w="848" h="1199">
                  <a:moveTo>
                    <a:pt x="0" y="1199"/>
                  </a:moveTo>
                  <a:lnTo>
                    <a:pt x="0" y="600"/>
                  </a:lnTo>
                  <a:lnTo>
                    <a:pt x="0" y="0"/>
                  </a:lnTo>
                  <a:lnTo>
                    <a:pt x="30" y="0"/>
                  </a:lnTo>
                  <a:lnTo>
                    <a:pt x="59" y="1"/>
                  </a:lnTo>
                  <a:lnTo>
                    <a:pt x="88" y="3"/>
                  </a:lnTo>
                  <a:lnTo>
                    <a:pt x="118" y="6"/>
                  </a:lnTo>
                  <a:lnTo>
                    <a:pt x="147" y="9"/>
                  </a:lnTo>
                  <a:lnTo>
                    <a:pt x="176" y="13"/>
                  </a:lnTo>
                  <a:lnTo>
                    <a:pt x="205" y="18"/>
                  </a:lnTo>
                  <a:lnTo>
                    <a:pt x="234" y="23"/>
                  </a:lnTo>
                  <a:lnTo>
                    <a:pt x="263" y="29"/>
                  </a:lnTo>
                  <a:lnTo>
                    <a:pt x="291" y="36"/>
                  </a:lnTo>
                  <a:lnTo>
                    <a:pt x="320" y="43"/>
                  </a:lnTo>
                  <a:lnTo>
                    <a:pt x="348" y="52"/>
                  </a:lnTo>
                  <a:lnTo>
                    <a:pt x="362" y="56"/>
                  </a:lnTo>
                  <a:lnTo>
                    <a:pt x="376" y="60"/>
                  </a:lnTo>
                  <a:lnTo>
                    <a:pt x="404" y="70"/>
                  </a:lnTo>
                  <a:lnTo>
                    <a:pt x="431" y="80"/>
                  </a:lnTo>
                  <a:lnTo>
                    <a:pt x="459" y="91"/>
                  </a:lnTo>
                  <a:lnTo>
                    <a:pt x="486" y="103"/>
                  </a:lnTo>
                  <a:lnTo>
                    <a:pt x="513" y="115"/>
                  </a:lnTo>
                  <a:lnTo>
                    <a:pt x="539" y="128"/>
                  </a:lnTo>
                  <a:lnTo>
                    <a:pt x="565" y="141"/>
                  </a:lnTo>
                  <a:lnTo>
                    <a:pt x="591" y="155"/>
                  </a:lnTo>
                  <a:lnTo>
                    <a:pt x="617" y="170"/>
                  </a:lnTo>
                  <a:lnTo>
                    <a:pt x="642" y="185"/>
                  </a:lnTo>
                  <a:lnTo>
                    <a:pt x="667" y="201"/>
                  </a:lnTo>
                  <a:lnTo>
                    <a:pt x="691" y="218"/>
                  </a:lnTo>
                  <a:lnTo>
                    <a:pt x="703" y="227"/>
                  </a:lnTo>
                  <a:lnTo>
                    <a:pt x="715" y="235"/>
                  </a:lnTo>
                  <a:lnTo>
                    <a:pt x="739" y="253"/>
                  </a:lnTo>
                  <a:lnTo>
                    <a:pt x="762" y="271"/>
                  </a:lnTo>
                  <a:lnTo>
                    <a:pt x="784" y="290"/>
                  </a:lnTo>
                  <a:lnTo>
                    <a:pt x="806" y="310"/>
                  </a:lnTo>
                  <a:lnTo>
                    <a:pt x="817" y="320"/>
                  </a:lnTo>
                  <a:lnTo>
                    <a:pt x="827" y="330"/>
                  </a:lnTo>
                  <a:lnTo>
                    <a:pt x="848" y="351"/>
                  </a:lnTo>
                  <a:lnTo>
                    <a:pt x="423" y="775"/>
                  </a:lnTo>
                  <a:lnTo>
                    <a:pt x="0" y="1199"/>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1" name="Freeform 131">
              <a:extLst>
                <a:ext uri="{FF2B5EF4-FFF2-40B4-BE49-F238E27FC236}">
                  <a16:creationId xmlns:a16="http://schemas.microsoft.com/office/drawing/2014/main" id="{E41AC9E1-795A-4D45-877D-4AC2C3A90560}"/>
                </a:ext>
              </a:extLst>
            </p:cNvPr>
            <p:cNvSpPr>
              <a:spLocks/>
            </p:cNvSpPr>
            <p:nvPr/>
          </p:nvSpPr>
          <p:spPr bwMode="auto">
            <a:xfrm>
              <a:off x="6807200" y="4295800"/>
              <a:ext cx="930275" cy="657225"/>
            </a:xfrm>
            <a:custGeom>
              <a:avLst/>
              <a:gdLst/>
              <a:ahLst/>
              <a:cxnLst>
                <a:cxn ang="0">
                  <a:pos x="0" y="848"/>
                </a:cxn>
                <a:cxn ang="0">
                  <a:pos x="423" y="424"/>
                </a:cxn>
                <a:cxn ang="0">
                  <a:pos x="848" y="0"/>
                </a:cxn>
                <a:cxn ang="0">
                  <a:pos x="869" y="21"/>
                </a:cxn>
                <a:cxn ang="0">
                  <a:pos x="889" y="42"/>
                </a:cxn>
                <a:cxn ang="0">
                  <a:pos x="909" y="64"/>
                </a:cxn>
                <a:cxn ang="0">
                  <a:pos x="928" y="87"/>
                </a:cxn>
                <a:cxn ang="0">
                  <a:pos x="946" y="110"/>
                </a:cxn>
                <a:cxn ang="0">
                  <a:pos x="964" y="133"/>
                </a:cxn>
                <a:cxn ang="0">
                  <a:pos x="981" y="157"/>
                </a:cxn>
                <a:cxn ang="0">
                  <a:pos x="989" y="169"/>
                </a:cxn>
                <a:cxn ang="0">
                  <a:pos x="997" y="181"/>
                </a:cxn>
                <a:cxn ang="0">
                  <a:pos x="1013" y="206"/>
                </a:cxn>
                <a:cxn ang="0">
                  <a:pos x="1029" y="231"/>
                </a:cxn>
                <a:cxn ang="0">
                  <a:pos x="1044" y="257"/>
                </a:cxn>
                <a:cxn ang="0">
                  <a:pos x="1058" y="283"/>
                </a:cxn>
                <a:cxn ang="0">
                  <a:pos x="1071" y="309"/>
                </a:cxn>
                <a:cxn ang="0">
                  <a:pos x="1084" y="336"/>
                </a:cxn>
                <a:cxn ang="0">
                  <a:pos x="1097" y="362"/>
                </a:cxn>
                <a:cxn ang="0">
                  <a:pos x="1108" y="389"/>
                </a:cxn>
                <a:cxn ang="0">
                  <a:pos x="1119" y="417"/>
                </a:cxn>
                <a:cxn ang="0">
                  <a:pos x="1129" y="444"/>
                </a:cxn>
                <a:cxn ang="0">
                  <a:pos x="1139" y="472"/>
                </a:cxn>
                <a:cxn ang="0">
                  <a:pos x="1148" y="500"/>
                </a:cxn>
                <a:cxn ang="0">
                  <a:pos x="1156" y="528"/>
                </a:cxn>
                <a:cxn ang="0">
                  <a:pos x="1164" y="557"/>
                </a:cxn>
                <a:cxn ang="0">
                  <a:pos x="1171" y="585"/>
                </a:cxn>
                <a:cxn ang="0">
                  <a:pos x="1177" y="614"/>
                </a:cxn>
                <a:cxn ang="0">
                  <a:pos x="1182" y="643"/>
                </a:cxn>
                <a:cxn ang="0">
                  <a:pos x="1187" y="672"/>
                </a:cxn>
                <a:cxn ang="0">
                  <a:pos x="1191" y="701"/>
                </a:cxn>
                <a:cxn ang="0">
                  <a:pos x="1194" y="730"/>
                </a:cxn>
                <a:cxn ang="0">
                  <a:pos x="1197" y="760"/>
                </a:cxn>
                <a:cxn ang="0">
                  <a:pos x="1198" y="789"/>
                </a:cxn>
                <a:cxn ang="0">
                  <a:pos x="1199" y="818"/>
                </a:cxn>
                <a:cxn ang="0">
                  <a:pos x="1199" y="848"/>
                </a:cxn>
                <a:cxn ang="0">
                  <a:pos x="599" y="848"/>
                </a:cxn>
                <a:cxn ang="0">
                  <a:pos x="0" y="848"/>
                </a:cxn>
              </a:cxnLst>
              <a:rect l="0" t="0" r="r" b="b"/>
              <a:pathLst>
                <a:path w="1199" h="848">
                  <a:moveTo>
                    <a:pt x="0" y="848"/>
                  </a:moveTo>
                  <a:lnTo>
                    <a:pt x="423" y="424"/>
                  </a:lnTo>
                  <a:lnTo>
                    <a:pt x="848" y="0"/>
                  </a:lnTo>
                  <a:lnTo>
                    <a:pt x="869" y="21"/>
                  </a:lnTo>
                  <a:lnTo>
                    <a:pt x="889" y="42"/>
                  </a:lnTo>
                  <a:lnTo>
                    <a:pt x="909" y="64"/>
                  </a:lnTo>
                  <a:lnTo>
                    <a:pt x="928" y="87"/>
                  </a:lnTo>
                  <a:lnTo>
                    <a:pt x="946" y="110"/>
                  </a:lnTo>
                  <a:lnTo>
                    <a:pt x="964" y="133"/>
                  </a:lnTo>
                  <a:lnTo>
                    <a:pt x="981" y="157"/>
                  </a:lnTo>
                  <a:lnTo>
                    <a:pt x="989" y="169"/>
                  </a:lnTo>
                  <a:lnTo>
                    <a:pt x="997" y="181"/>
                  </a:lnTo>
                  <a:lnTo>
                    <a:pt x="1013" y="206"/>
                  </a:lnTo>
                  <a:lnTo>
                    <a:pt x="1029" y="231"/>
                  </a:lnTo>
                  <a:lnTo>
                    <a:pt x="1044" y="257"/>
                  </a:lnTo>
                  <a:lnTo>
                    <a:pt x="1058" y="283"/>
                  </a:lnTo>
                  <a:lnTo>
                    <a:pt x="1071" y="309"/>
                  </a:lnTo>
                  <a:lnTo>
                    <a:pt x="1084" y="336"/>
                  </a:lnTo>
                  <a:lnTo>
                    <a:pt x="1097" y="362"/>
                  </a:lnTo>
                  <a:lnTo>
                    <a:pt x="1108" y="389"/>
                  </a:lnTo>
                  <a:lnTo>
                    <a:pt x="1119" y="417"/>
                  </a:lnTo>
                  <a:lnTo>
                    <a:pt x="1129" y="444"/>
                  </a:lnTo>
                  <a:lnTo>
                    <a:pt x="1139" y="472"/>
                  </a:lnTo>
                  <a:lnTo>
                    <a:pt x="1148" y="500"/>
                  </a:lnTo>
                  <a:lnTo>
                    <a:pt x="1156" y="528"/>
                  </a:lnTo>
                  <a:lnTo>
                    <a:pt x="1164" y="557"/>
                  </a:lnTo>
                  <a:lnTo>
                    <a:pt x="1171" y="585"/>
                  </a:lnTo>
                  <a:lnTo>
                    <a:pt x="1177" y="614"/>
                  </a:lnTo>
                  <a:lnTo>
                    <a:pt x="1182" y="643"/>
                  </a:lnTo>
                  <a:lnTo>
                    <a:pt x="1187" y="672"/>
                  </a:lnTo>
                  <a:lnTo>
                    <a:pt x="1191" y="701"/>
                  </a:lnTo>
                  <a:lnTo>
                    <a:pt x="1194" y="730"/>
                  </a:lnTo>
                  <a:lnTo>
                    <a:pt x="1197" y="760"/>
                  </a:lnTo>
                  <a:lnTo>
                    <a:pt x="1198" y="789"/>
                  </a:lnTo>
                  <a:lnTo>
                    <a:pt x="1199" y="818"/>
                  </a:lnTo>
                  <a:lnTo>
                    <a:pt x="1199" y="848"/>
                  </a:lnTo>
                  <a:lnTo>
                    <a:pt x="599" y="848"/>
                  </a:lnTo>
                  <a:lnTo>
                    <a:pt x="0" y="848"/>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2" name="Freeform 132">
              <a:extLst>
                <a:ext uri="{FF2B5EF4-FFF2-40B4-BE49-F238E27FC236}">
                  <a16:creationId xmlns:a16="http://schemas.microsoft.com/office/drawing/2014/main" id="{C4617DC3-41CF-47C8-B5AB-B1BBBA1B767B}"/>
                </a:ext>
              </a:extLst>
            </p:cNvPr>
            <p:cNvSpPr>
              <a:spLocks/>
            </p:cNvSpPr>
            <p:nvPr/>
          </p:nvSpPr>
          <p:spPr bwMode="auto">
            <a:xfrm>
              <a:off x="6807200" y="4953025"/>
              <a:ext cx="657225" cy="930275"/>
            </a:xfrm>
            <a:custGeom>
              <a:avLst/>
              <a:gdLst/>
              <a:ahLst/>
              <a:cxnLst>
                <a:cxn ang="0">
                  <a:pos x="0" y="0"/>
                </a:cxn>
                <a:cxn ang="0">
                  <a:pos x="423" y="423"/>
                </a:cxn>
                <a:cxn ang="0">
                  <a:pos x="848" y="848"/>
                </a:cxn>
                <a:cxn ang="0">
                  <a:pos x="827" y="869"/>
                </a:cxn>
                <a:cxn ang="0">
                  <a:pos x="806" y="889"/>
                </a:cxn>
                <a:cxn ang="0">
                  <a:pos x="784" y="908"/>
                </a:cxn>
                <a:cxn ang="0">
                  <a:pos x="761" y="927"/>
                </a:cxn>
                <a:cxn ang="0">
                  <a:pos x="738" y="945"/>
                </a:cxn>
                <a:cxn ang="0">
                  <a:pos x="715" y="963"/>
                </a:cxn>
                <a:cxn ang="0">
                  <a:pos x="691" y="980"/>
                </a:cxn>
                <a:cxn ang="0">
                  <a:pos x="679" y="989"/>
                </a:cxn>
                <a:cxn ang="0">
                  <a:pos x="667" y="997"/>
                </a:cxn>
                <a:cxn ang="0">
                  <a:pos x="642" y="1013"/>
                </a:cxn>
                <a:cxn ang="0">
                  <a:pos x="617" y="1028"/>
                </a:cxn>
                <a:cxn ang="0">
                  <a:pos x="591" y="1043"/>
                </a:cxn>
                <a:cxn ang="0">
                  <a:pos x="565" y="1057"/>
                </a:cxn>
                <a:cxn ang="0">
                  <a:pos x="539" y="1071"/>
                </a:cxn>
                <a:cxn ang="0">
                  <a:pos x="513" y="1084"/>
                </a:cxn>
                <a:cxn ang="0">
                  <a:pos x="486" y="1096"/>
                </a:cxn>
                <a:cxn ang="0">
                  <a:pos x="459" y="1108"/>
                </a:cxn>
                <a:cxn ang="0">
                  <a:pos x="432" y="1119"/>
                </a:cxn>
                <a:cxn ang="0">
                  <a:pos x="404" y="1129"/>
                </a:cxn>
                <a:cxn ang="0">
                  <a:pos x="376" y="1139"/>
                </a:cxn>
                <a:cxn ang="0">
                  <a:pos x="348" y="1148"/>
                </a:cxn>
                <a:cxn ang="0">
                  <a:pos x="320" y="1156"/>
                </a:cxn>
                <a:cxn ang="0">
                  <a:pos x="292" y="1163"/>
                </a:cxn>
                <a:cxn ang="0">
                  <a:pos x="263" y="1170"/>
                </a:cxn>
                <a:cxn ang="0">
                  <a:pos x="234" y="1176"/>
                </a:cxn>
                <a:cxn ang="0">
                  <a:pos x="205" y="1182"/>
                </a:cxn>
                <a:cxn ang="0">
                  <a:pos x="176" y="1186"/>
                </a:cxn>
                <a:cxn ang="0">
                  <a:pos x="147" y="1190"/>
                </a:cxn>
                <a:cxn ang="0">
                  <a:pos x="118" y="1194"/>
                </a:cxn>
                <a:cxn ang="0">
                  <a:pos x="89" y="1196"/>
                </a:cxn>
                <a:cxn ang="0">
                  <a:pos x="59" y="1198"/>
                </a:cxn>
                <a:cxn ang="0">
                  <a:pos x="30" y="1199"/>
                </a:cxn>
                <a:cxn ang="0">
                  <a:pos x="0" y="1199"/>
                </a:cxn>
                <a:cxn ang="0">
                  <a:pos x="0" y="599"/>
                </a:cxn>
                <a:cxn ang="0">
                  <a:pos x="0" y="0"/>
                </a:cxn>
              </a:cxnLst>
              <a:rect l="0" t="0" r="r" b="b"/>
              <a:pathLst>
                <a:path w="848" h="1199">
                  <a:moveTo>
                    <a:pt x="0" y="0"/>
                  </a:moveTo>
                  <a:lnTo>
                    <a:pt x="423" y="423"/>
                  </a:lnTo>
                  <a:lnTo>
                    <a:pt x="848" y="848"/>
                  </a:lnTo>
                  <a:lnTo>
                    <a:pt x="827" y="869"/>
                  </a:lnTo>
                  <a:lnTo>
                    <a:pt x="806" y="889"/>
                  </a:lnTo>
                  <a:lnTo>
                    <a:pt x="784" y="908"/>
                  </a:lnTo>
                  <a:lnTo>
                    <a:pt x="761" y="927"/>
                  </a:lnTo>
                  <a:lnTo>
                    <a:pt x="738" y="945"/>
                  </a:lnTo>
                  <a:lnTo>
                    <a:pt x="715" y="963"/>
                  </a:lnTo>
                  <a:lnTo>
                    <a:pt x="691" y="980"/>
                  </a:lnTo>
                  <a:lnTo>
                    <a:pt x="679" y="989"/>
                  </a:lnTo>
                  <a:lnTo>
                    <a:pt x="667" y="997"/>
                  </a:lnTo>
                  <a:lnTo>
                    <a:pt x="642" y="1013"/>
                  </a:lnTo>
                  <a:lnTo>
                    <a:pt x="617" y="1028"/>
                  </a:lnTo>
                  <a:lnTo>
                    <a:pt x="591" y="1043"/>
                  </a:lnTo>
                  <a:lnTo>
                    <a:pt x="565" y="1057"/>
                  </a:lnTo>
                  <a:lnTo>
                    <a:pt x="539" y="1071"/>
                  </a:lnTo>
                  <a:lnTo>
                    <a:pt x="513" y="1084"/>
                  </a:lnTo>
                  <a:lnTo>
                    <a:pt x="486" y="1096"/>
                  </a:lnTo>
                  <a:lnTo>
                    <a:pt x="459" y="1108"/>
                  </a:lnTo>
                  <a:lnTo>
                    <a:pt x="432" y="1119"/>
                  </a:lnTo>
                  <a:lnTo>
                    <a:pt x="404" y="1129"/>
                  </a:lnTo>
                  <a:lnTo>
                    <a:pt x="376" y="1139"/>
                  </a:lnTo>
                  <a:lnTo>
                    <a:pt x="348" y="1148"/>
                  </a:lnTo>
                  <a:lnTo>
                    <a:pt x="320" y="1156"/>
                  </a:lnTo>
                  <a:lnTo>
                    <a:pt x="292" y="1163"/>
                  </a:lnTo>
                  <a:lnTo>
                    <a:pt x="263" y="1170"/>
                  </a:lnTo>
                  <a:lnTo>
                    <a:pt x="234" y="1176"/>
                  </a:lnTo>
                  <a:lnTo>
                    <a:pt x="205" y="1182"/>
                  </a:lnTo>
                  <a:lnTo>
                    <a:pt x="176" y="1186"/>
                  </a:lnTo>
                  <a:lnTo>
                    <a:pt x="147" y="1190"/>
                  </a:lnTo>
                  <a:lnTo>
                    <a:pt x="118" y="1194"/>
                  </a:lnTo>
                  <a:lnTo>
                    <a:pt x="89" y="1196"/>
                  </a:lnTo>
                  <a:lnTo>
                    <a:pt x="59" y="1198"/>
                  </a:lnTo>
                  <a:lnTo>
                    <a:pt x="30" y="1199"/>
                  </a:lnTo>
                  <a:lnTo>
                    <a:pt x="0" y="1199"/>
                  </a:lnTo>
                  <a:lnTo>
                    <a:pt x="0" y="599"/>
                  </a:lnTo>
                  <a:lnTo>
                    <a:pt x="0"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3" name="Freeform 133">
              <a:extLst>
                <a:ext uri="{FF2B5EF4-FFF2-40B4-BE49-F238E27FC236}">
                  <a16:creationId xmlns:a16="http://schemas.microsoft.com/office/drawing/2014/main" id="{A47EADDF-327D-4D7F-86E2-4BCA1EA784FC}"/>
                </a:ext>
              </a:extLst>
            </p:cNvPr>
            <p:cNvSpPr>
              <a:spLocks/>
            </p:cNvSpPr>
            <p:nvPr/>
          </p:nvSpPr>
          <p:spPr bwMode="auto">
            <a:xfrm>
              <a:off x="6149975" y="4953025"/>
              <a:ext cx="657225" cy="930275"/>
            </a:xfrm>
            <a:custGeom>
              <a:avLst/>
              <a:gdLst/>
              <a:ahLst/>
              <a:cxnLst>
                <a:cxn ang="0">
                  <a:pos x="848" y="0"/>
                </a:cxn>
                <a:cxn ang="0">
                  <a:pos x="848" y="599"/>
                </a:cxn>
                <a:cxn ang="0">
                  <a:pos x="848" y="1199"/>
                </a:cxn>
                <a:cxn ang="0">
                  <a:pos x="819" y="1199"/>
                </a:cxn>
                <a:cxn ang="0">
                  <a:pos x="790" y="1198"/>
                </a:cxn>
                <a:cxn ang="0">
                  <a:pos x="760" y="1196"/>
                </a:cxn>
                <a:cxn ang="0">
                  <a:pos x="731" y="1193"/>
                </a:cxn>
                <a:cxn ang="0">
                  <a:pos x="702" y="1190"/>
                </a:cxn>
                <a:cxn ang="0">
                  <a:pos x="673" y="1186"/>
                </a:cxn>
                <a:cxn ang="0">
                  <a:pos x="644" y="1181"/>
                </a:cxn>
                <a:cxn ang="0">
                  <a:pos x="615" y="1176"/>
                </a:cxn>
                <a:cxn ang="0">
                  <a:pos x="586" y="1170"/>
                </a:cxn>
                <a:cxn ang="0">
                  <a:pos x="557" y="1163"/>
                </a:cxn>
                <a:cxn ang="0">
                  <a:pos x="529" y="1155"/>
                </a:cxn>
                <a:cxn ang="0">
                  <a:pos x="501" y="1147"/>
                </a:cxn>
                <a:cxn ang="0">
                  <a:pos x="487" y="1143"/>
                </a:cxn>
                <a:cxn ang="0">
                  <a:pos x="473" y="1138"/>
                </a:cxn>
                <a:cxn ang="0">
                  <a:pos x="445" y="1129"/>
                </a:cxn>
                <a:cxn ang="0">
                  <a:pos x="417" y="1119"/>
                </a:cxn>
                <a:cxn ang="0">
                  <a:pos x="390" y="1108"/>
                </a:cxn>
                <a:cxn ang="0">
                  <a:pos x="363" y="1096"/>
                </a:cxn>
                <a:cxn ang="0">
                  <a:pos x="336" y="1084"/>
                </a:cxn>
                <a:cxn ang="0">
                  <a:pos x="310" y="1071"/>
                </a:cxn>
                <a:cxn ang="0">
                  <a:pos x="284" y="1058"/>
                </a:cxn>
                <a:cxn ang="0">
                  <a:pos x="258" y="1044"/>
                </a:cxn>
                <a:cxn ang="0">
                  <a:pos x="231" y="1029"/>
                </a:cxn>
                <a:cxn ang="0">
                  <a:pos x="206" y="1013"/>
                </a:cxn>
                <a:cxn ang="0">
                  <a:pos x="182" y="997"/>
                </a:cxn>
                <a:cxn ang="0">
                  <a:pos x="157" y="981"/>
                </a:cxn>
                <a:cxn ang="0">
                  <a:pos x="145" y="972"/>
                </a:cxn>
                <a:cxn ang="0">
                  <a:pos x="133" y="964"/>
                </a:cxn>
                <a:cxn ang="0">
                  <a:pos x="110" y="946"/>
                </a:cxn>
                <a:cxn ang="0">
                  <a:pos x="87" y="927"/>
                </a:cxn>
                <a:cxn ang="0">
                  <a:pos x="65" y="908"/>
                </a:cxn>
                <a:cxn ang="0">
                  <a:pos x="43" y="889"/>
                </a:cxn>
                <a:cxn ang="0">
                  <a:pos x="32" y="879"/>
                </a:cxn>
                <a:cxn ang="0">
                  <a:pos x="21" y="869"/>
                </a:cxn>
                <a:cxn ang="0">
                  <a:pos x="0" y="848"/>
                </a:cxn>
                <a:cxn ang="0">
                  <a:pos x="424" y="423"/>
                </a:cxn>
                <a:cxn ang="0">
                  <a:pos x="848" y="0"/>
                </a:cxn>
              </a:cxnLst>
              <a:rect l="0" t="0" r="r" b="b"/>
              <a:pathLst>
                <a:path w="848" h="1199">
                  <a:moveTo>
                    <a:pt x="848" y="0"/>
                  </a:moveTo>
                  <a:lnTo>
                    <a:pt x="848" y="599"/>
                  </a:lnTo>
                  <a:lnTo>
                    <a:pt x="848" y="1199"/>
                  </a:lnTo>
                  <a:lnTo>
                    <a:pt x="819" y="1199"/>
                  </a:lnTo>
                  <a:lnTo>
                    <a:pt x="790" y="1198"/>
                  </a:lnTo>
                  <a:lnTo>
                    <a:pt x="760" y="1196"/>
                  </a:lnTo>
                  <a:lnTo>
                    <a:pt x="731" y="1193"/>
                  </a:lnTo>
                  <a:lnTo>
                    <a:pt x="702" y="1190"/>
                  </a:lnTo>
                  <a:lnTo>
                    <a:pt x="673" y="1186"/>
                  </a:lnTo>
                  <a:lnTo>
                    <a:pt x="644" y="1181"/>
                  </a:lnTo>
                  <a:lnTo>
                    <a:pt x="615" y="1176"/>
                  </a:lnTo>
                  <a:lnTo>
                    <a:pt x="586" y="1170"/>
                  </a:lnTo>
                  <a:lnTo>
                    <a:pt x="557" y="1163"/>
                  </a:lnTo>
                  <a:lnTo>
                    <a:pt x="529" y="1155"/>
                  </a:lnTo>
                  <a:lnTo>
                    <a:pt x="501" y="1147"/>
                  </a:lnTo>
                  <a:lnTo>
                    <a:pt x="487" y="1143"/>
                  </a:lnTo>
                  <a:lnTo>
                    <a:pt x="473" y="1138"/>
                  </a:lnTo>
                  <a:lnTo>
                    <a:pt x="445" y="1129"/>
                  </a:lnTo>
                  <a:lnTo>
                    <a:pt x="417" y="1119"/>
                  </a:lnTo>
                  <a:lnTo>
                    <a:pt x="390" y="1108"/>
                  </a:lnTo>
                  <a:lnTo>
                    <a:pt x="363" y="1096"/>
                  </a:lnTo>
                  <a:lnTo>
                    <a:pt x="336" y="1084"/>
                  </a:lnTo>
                  <a:lnTo>
                    <a:pt x="310" y="1071"/>
                  </a:lnTo>
                  <a:lnTo>
                    <a:pt x="284" y="1058"/>
                  </a:lnTo>
                  <a:lnTo>
                    <a:pt x="258" y="1044"/>
                  </a:lnTo>
                  <a:lnTo>
                    <a:pt x="231" y="1029"/>
                  </a:lnTo>
                  <a:lnTo>
                    <a:pt x="206" y="1013"/>
                  </a:lnTo>
                  <a:lnTo>
                    <a:pt x="182" y="997"/>
                  </a:lnTo>
                  <a:lnTo>
                    <a:pt x="157" y="981"/>
                  </a:lnTo>
                  <a:lnTo>
                    <a:pt x="145" y="972"/>
                  </a:lnTo>
                  <a:lnTo>
                    <a:pt x="133" y="964"/>
                  </a:lnTo>
                  <a:lnTo>
                    <a:pt x="110" y="946"/>
                  </a:lnTo>
                  <a:lnTo>
                    <a:pt x="87" y="927"/>
                  </a:lnTo>
                  <a:lnTo>
                    <a:pt x="65" y="908"/>
                  </a:lnTo>
                  <a:lnTo>
                    <a:pt x="43" y="889"/>
                  </a:lnTo>
                  <a:lnTo>
                    <a:pt x="32" y="879"/>
                  </a:lnTo>
                  <a:lnTo>
                    <a:pt x="21" y="869"/>
                  </a:lnTo>
                  <a:lnTo>
                    <a:pt x="0" y="848"/>
                  </a:lnTo>
                  <a:lnTo>
                    <a:pt x="424" y="423"/>
                  </a:lnTo>
                  <a:lnTo>
                    <a:pt x="848"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4" name="Freeform 134">
              <a:extLst>
                <a:ext uri="{FF2B5EF4-FFF2-40B4-BE49-F238E27FC236}">
                  <a16:creationId xmlns:a16="http://schemas.microsoft.com/office/drawing/2014/main" id="{EE715019-B89E-42DE-AF49-D1626F481F9B}"/>
                </a:ext>
              </a:extLst>
            </p:cNvPr>
            <p:cNvSpPr>
              <a:spLocks/>
            </p:cNvSpPr>
            <p:nvPr/>
          </p:nvSpPr>
          <p:spPr bwMode="auto">
            <a:xfrm>
              <a:off x="5876925" y="4953025"/>
              <a:ext cx="930275" cy="657225"/>
            </a:xfrm>
            <a:custGeom>
              <a:avLst/>
              <a:gdLst/>
              <a:ahLst/>
              <a:cxnLst>
                <a:cxn ang="0">
                  <a:pos x="1199" y="0"/>
                </a:cxn>
                <a:cxn ang="0">
                  <a:pos x="775" y="423"/>
                </a:cxn>
                <a:cxn ang="0">
                  <a:pos x="351" y="848"/>
                </a:cxn>
                <a:cxn ang="0">
                  <a:pos x="331" y="827"/>
                </a:cxn>
                <a:cxn ang="0">
                  <a:pos x="311" y="806"/>
                </a:cxn>
                <a:cxn ang="0">
                  <a:pos x="291" y="783"/>
                </a:cxn>
                <a:cxn ang="0">
                  <a:pos x="272" y="761"/>
                </a:cxn>
                <a:cxn ang="0">
                  <a:pos x="254" y="738"/>
                </a:cxn>
                <a:cxn ang="0">
                  <a:pos x="236" y="715"/>
                </a:cxn>
                <a:cxn ang="0">
                  <a:pos x="219" y="691"/>
                </a:cxn>
                <a:cxn ang="0">
                  <a:pos x="210" y="679"/>
                </a:cxn>
                <a:cxn ang="0">
                  <a:pos x="202" y="667"/>
                </a:cxn>
                <a:cxn ang="0">
                  <a:pos x="186" y="642"/>
                </a:cxn>
                <a:cxn ang="0">
                  <a:pos x="171" y="617"/>
                </a:cxn>
                <a:cxn ang="0">
                  <a:pos x="156" y="590"/>
                </a:cxn>
                <a:cxn ang="0">
                  <a:pos x="142" y="565"/>
                </a:cxn>
                <a:cxn ang="0">
                  <a:pos x="128" y="539"/>
                </a:cxn>
                <a:cxn ang="0">
                  <a:pos x="115" y="512"/>
                </a:cxn>
                <a:cxn ang="0">
                  <a:pos x="103" y="485"/>
                </a:cxn>
                <a:cxn ang="0">
                  <a:pos x="91" y="458"/>
                </a:cxn>
                <a:cxn ang="0">
                  <a:pos x="81" y="431"/>
                </a:cxn>
                <a:cxn ang="0">
                  <a:pos x="70" y="404"/>
                </a:cxn>
                <a:cxn ang="0">
                  <a:pos x="61" y="376"/>
                </a:cxn>
                <a:cxn ang="0">
                  <a:pos x="52" y="348"/>
                </a:cxn>
                <a:cxn ang="0">
                  <a:pos x="43" y="320"/>
                </a:cxn>
                <a:cxn ang="0">
                  <a:pos x="36" y="291"/>
                </a:cxn>
                <a:cxn ang="0">
                  <a:pos x="29" y="263"/>
                </a:cxn>
                <a:cxn ang="0">
                  <a:pos x="23" y="234"/>
                </a:cxn>
                <a:cxn ang="0">
                  <a:pos x="17" y="205"/>
                </a:cxn>
                <a:cxn ang="0">
                  <a:pos x="13" y="176"/>
                </a:cxn>
                <a:cxn ang="0">
                  <a:pos x="9" y="147"/>
                </a:cxn>
                <a:cxn ang="0">
                  <a:pos x="6" y="118"/>
                </a:cxn>
                <a:cxn ang="0">
                  <a:pos x="3" y="88"/>
                </a:cxn>
                <a:cxn ang="0">
                  <a:pos x="1" y="59"/>
                </a:cxn>
                <a:cxn ang="0">
                  <a:pos x="0" y="29"/>
                </a:cxn>
                <a:cxn ang="0">
                  <a:pos x="0" y="0"/>
                </a:cxn>
                <a:cxn ang="0">
                  <a:pos x="600" y="0"/>
                </a:cxn>
                <a:cxn ang="0">
                  <a:pos x="1199" y="0"/>
                </a:cxn>
              </a:cxnLst>
              <a:rect l="0" t="0" r="r" b="b"/>
              <a:pathLst>
                <a:path w="1199" h="848">
                  <a:moveTo>
                    <a:pt x="1199" y="0"/>
                  </a:moveTo>
                  <a:lnTo>
                    <a:pt x="775" y="423"/>
                  </a:lnTo>
                  <a:lnTo>
                    <a:pt x="351" y="848"/>
                  </a:lnTo>
                  <a:lnTo>
                    <a:pt x="331" y="827"/>
                  </a:lnTo>
                  <a:lnTo>
                    <a:pt x="311" y="806"/>
                  </a:lnTo>
                  <a:lnTo>
                    <a:pt x="291" y="783"/>
                  </a:lnTo>
                  <a:lnTo>
                    <a:pt x="272" y="761"/>
                  </a:lnTo>
                  <a:lnTo>
                    <a:pt x="254" y="738"/>
                  </a:lnTo>
                  <a:lnTo>
                    <a:pt x="236" y="715"/>
                  </a:lnTo>
                  <a:lnTo>
                    <a:pt x="219" y="691"/>
                  </a:lnTo>
                  <a:lnTo>
                    <a:pt x="210" y="679"/>
                  </a:lnTo>
                  <a:lnTo>
                    <a:pt x="202" y="667"/>
                  </a:lnTo>
                  <a:lnTo>
                    <a:pt x="186" y="642"/>
                  </a:lnTo>
                  <a:lnTo>
                    <a:pt x="171" y="617"/>
                  </a:lnTo>
                  <a:lnTo>
                    <a:pt x="156" y="590"/>
                  </a:lnTo>
                  <a:lnTo>
                    <a:pt x="142" y="565"/>
                  </a:lnTo>
                  <a:lnTo>
                    <a:pt x="128" y="539"/>
                  </a:lnTo>
                  <a:lnTo>
                    <a:pt x="115" y="512"/>
                  </a:lnTo>
                  <a:lnTo>
                    <a:pt x="103" y="485"/>
                  </a:lnTo>
                  <a:lnTo>
                    <a:pt x="91" y="458"/>
                  </a:lnTo>
                  <a:lnTo>
                    <a:pt x="81" y="431"/>
                  </a:lnTo>
                  <a:lnTo>
                    <a:pt x="70" y="404"/>
                  </a:lnTo>
                  <a:lnTo>
                    <a:pt x="61" y="376"/>
                  </a:lnTo>
                  <a:lnTo>
                    <a:pt x="52" y="348"/>
                  </a:lnTo>
                  <a:lnTo>
                    <a:pt x="43" y="320"/>
                  </a:lnTo>
                  <a:lnTo>
                    <a:pt x="36" y="291"/>
                  </a:lnTo>
                  <a:lnTo>
                    <a:pt x="29" y="263"/>
                  </a:lnTo>
                  <a:lnTo>
                    <a:pt x="23" y="234"/>
                  </a:lnTo>
                  <a:lnTo>
                    <a:pt x="17" y="205"/>
                  </a:lnTo>
                  <a:lnTo>
                    <a:pt x="13" y="176"/>
                  </a:lnTo>
                  <a:lnTo>
                    <a:pt x="9" y="147"/>
                  </a:lnTo>
                  <a:lnTo>
                    <a:pt x="6" y="118"/>
                  </a:lnTo>
                  <a:lnTo>
                    <a:pt x="3" y="88"/>
                  </a:lnTo>
                  <a:lnTo>
                    <a:pt x="1" y="59"/>
                  </a:lnTo>
                  <a:lnTo>
                    <a:pt x="0" y="29"/>
                  </a:lnTo>
                  <a:lnTo>
                    <a:pt x="0" y="0"/>
                  </a:lnTo>
                  <a:lnTo>
                    <a:pt x="600" y="0"/>
                  </a:lnTo>
                  <a:lnTo>
                    <a:pt x="1199"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5" name="Freeform 135">
              <a:extLst>
                <a:ext uri="{FF2B5EF4-FFF2-40B4-BE49-F238E27FC236}">
                  <a16:creationId xmlns:a16="http://schemas.microsoft.com/office/drawing/2014/main" id="{05F6EF3C-6499-4C59-BF6E-314677CE3499}"/>
                </a:ext>
              </a:extLst>
            </p:cNvPr>
            <p:cNvSpPr>
              <a:spLocks/>
            </p:cNvSpPr>
            <p:nvPr/>
          </p:nvSpPr>
          <p:spPr bwMode="auto">
            <a:xfrm>
              <a:off x="6149975" y="4022750"/>
              <a:ext cx="657225" cy="930275"/>
            </a:xfrm>
            <a:custGeom>
              <a:avLst/>
              <a:gdLst/>
              <a:ahLst/>
              <a:cxnLst>
                <a:cxn ang="0">
                  <a:pos x="848" y="1199"/>
                </a:cxn>
                <a:cxn ang="0">
                  <a:pos x="424" y="775"/>
                </a:cxn>
                <a:cxn ang="0">
                  <a:pos x="0" y="351"/>
                </a:cxn>
                <a:cxn ang="0">
                  <a:pos x="21" y="330"/>
                </a:cxn>
                <a:cxn ang="0">
                  <a:pos x="43" y="310"/>
                </a:cxn>
                <a:cxn ang="0">
                  <a:pos x="65" y="291"/>
                </a:cxn>
                <a:cxn ang="0">
                  <a:pos x="87" y="272"/>
                </a:cxn>
                <a:cxn ang="0">
                  <a:pos x="110" y="253"/>
                </a:cxn>
                <a:cxn ang="0">
                  <a:pos x="134" y="236"/>
                </a:cxn>
                <a:cxn ang="0">
                  <a:pos x="157" y="218"/>
                </a:cxn>
                <a:cxn ang="0">
                  <a:pos x="170" y="210"/>
                </a:cxn>
                <a:cxn ang="0">
                  <a:pos x="182" y="202"/>
                </a:cxn>
                <a:cxn ang="0">
                  <a:pos x="206" y="186"/>
                </a:cxn>
                <a:cxn ang="0">
                  <a:pos x="231" y="170"/>
                </a:cxn>
                <a:cxn ang="0">
                  <a:pos x="258" y="156"/>
                </a:cxn>
                <a:cxn ang="0">
                  <a:pos x="284" y="141"/>
                </a:cxn>
                <a:cxn ang="0">
                  <a:pos x="310" y="128"/>
                </a:cxn>
                <a:cxn ang="0">
                  <a:pos x="336" y="115"/>
                </a:cxn>
                <a:cxn ang="0">
                  <a:pos x="363" y="103"/>
                </a:cxn>
                <a:cxn ang="0">
                  <a:pos x="390" y="91"/>
                </a:cxn>
                <a:cxn ang="0">
                  <a:pos x="417" y="80"/>
                </a:cxn>
                <a:cxn ang="0">
                  <a:pos x="445" y="70"/>
                </a:cxn>
                <a:cxn ang="0">
                  <a:pos x="472" y="60"/>
                </a:cxn>
                <a:cxn ang="0">
                  <a:pos x="500" y="51"/>
                </a:cxn>
                <a:cxn ang="0">
                  <a:pos x="529" y="43"/>
                </a:cxn>
                <a:cxn ang="0">
                  <a:pos x="557" y="35"/>
                </a:cxn>
                <a:cxn ang="0">
                  <a:pos x="586" y="29"/>
                </a:cxn>
                <a:cxn ang="0">
                  <a:pos x="614" y="23"/>
                </a:cxn>
                <a:cxn ang="0">
                  <a:pos x="643" y="17"/>
                </a:cxn>
                <a:cxn ang="0">
                  <a:pos x="672" y="12"/>
                </a:cxn>
                <a:cxn ang="0">
                  <a:pos x="701" y="8"/>
                </a:cxn>
                <a:cxn ang="0">
                  <a:pos x="731" y="5"/>
                </a:cxn>
                <a:cxn ang="0">
                  <a:pos x="760" y="3"/>
                </a:cxn>
                <a:cxn ang="0">
                  <a:pos x="789" y="1"/>
                </a:cxn>
                <a:cxn ang="0">
                  <a:pos x="819" y="0"/>
                </a:cxn>
                <a:cxn ang="0">
                  <a:pos x="848" y="0"/>
                </a:cxn>
                <a:cxn ang="0">
                  <a:pos x="848" y="600"/>
                </a:cxn>
                <a:cxn ang="0">
                  <a:pos x="848" y="1199"/>
                </a:cxn>
              </a:cxnLst>
              <a:rect l="0" t="0" r="r" b="b"/>
              <a:pathLst>
                <a:path w="848" h="1199">
                  <a:moveTo>
                    <a:pt x="848" y="1199"/>
                  </a:moveTo>
                  <a:lnTo>
                    <a:pt x="424" y="775"/>
                  </a:lnTo>
                  <a:lnTo>
                    <a:pt x="0" y="351"/>
                  </a:lnTo>
                  <a:lnTo>
                    <a:pt x="21" y="330"/>
                  </a:lnTo>
                  <a:lnTo>
                    <a:pt x="43" y="310"/>
                  </a:lnTo>
                  <a:lnTo>
                    <a:pt x="65" y="291"/>
                  </a:lnTo>
                  <a:lnTo>
                    <a:pt x="87" y="272"/>
                  </a:lnTo>
                  <a:lnTo>
                    <a:pt x="110" y="253"/>
                  </a:lnTo>
                  <a:lnTo>
                    <a:pt x="134" y="236"/>
                  </a:lnTo>
                  <a:lnTo>
                    <a:pt x="157" y="218"/>
                  </a:lnTo>
                  <a:lnTo>
                    <a:pt x="170" y="210"/>
                  </a:lnTo>
                  <a:lnTo>
                    <a:pt x="182" y="202"/>
                  </a:lnTo>
                  <a:lnTo>
                    <a:pt x="206" y="186"/>
                  </a:lnTo>
                  <a:lnTo>
                    <a:pt x="231" y="170"/>
                  </a:lnTo>
                  <a:lnTo>
                    <a:pt x="258" y="156"/>
                  </a:lnTo>
                  <a:lnTo>
                    <a:pt x="284" y="141"/>
                  </a:lnTo>
                  <a:lnTo>
                    <a:pt x="310" y="128"/>
                  </a:lnTo>
                  <a:lnTo>
                    <a:pt x="336" y="115"/>
                  </a:lnTo>
                  <a:lnTo>
                    <a:pt x="363" y="103"/>
                  </a:lnTo>
                  <a:lnTo>
                    <a:pt x="390" y="91"/>
                  </a:lnTo>
                  <a:lnTo>
                    <a:pt x="417" y="80"/>
                  </a:lnTo>
                  <a:lnTo>
                    <a:pt x="445" y="70"/>
                  </a:lnTo>
                  <a:lnTo>
                    <a:pt x="472" y="60"/>
                  </a:lnTo>
                  <a:lnTo>
                    <a:pt x="500" y="51"/>
                  </a:lnTo>
                  <a:lnTo>
                    <a:pt x="529" y="43"/>
                  </a:lnTo>
                  <a:lnTo>
                    <a:pt x="557" y="35"/>
                  </a:lnTo>
                  <a:lnTo>
                    <a:pt x="586" y="29"/>
                  </a:lnTo>
                  <a:lnTo>
                    <a:pt x="614" y="23"/>
                  </a:lnTo>
                  <a:lnTo>
                    <a:pt x="643" y="17"/>
                  </a:lnTo>
                  <a:lnTo>
                    <a:pt x="672" y="12"/>
                  </a:lnTo>
                  <a:lnTo>
                    <a:pt x="701" y="8"/>
                  </a:lnTo>
                  <a:lnTo>
                    <a:pt x="731" y="5"/>
                  </a:lnTo>
                  <a:lnTo>
                    <a:pt x="760" y="3"/>
                  </a:lnTo>
                  <a:lnTo>
                    <a:pt x="789" y="1"/>
                  </a:lnTo>
                  <a:lnTo>
                    <a:pt x="819" y="0"/>
                  </a:lnTo>
                  <a:lnTo>
                    <a:pt x="848" y="0"/>
                  </a:lnTo>
                  <a:lnTo>
                    <a:pt x="848" y="600"/>
                  </a:lnTo>
                  <a:lnTo>
                    <a:pt x="848" y="1199"/>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6" name="Text Box 136">
              <a:extLst>
                <a:ext uri="{FF2B5EF4-FFF2-40B4-BE49-F238E27FC236}">
                  <a16:creationId xmlns:a16="http://schemas.microsoft.com/office/drawing/2014/main" id="{4F1D7A8D-9691-4F60-B9D7-6DEA69CD3ECC}"/>
                </a:ext>
              </a:extLst>
            </p:cNvPr>
            <p:cNvSpPr txBox="1">
              <a:spLocks noChangeArrowheads="1"/>
            </p:cNvSpPr>
            <p:nvPr/>
          </p:nvSpPr>
          <p:spPr bwMode="auto">
            <a:xfrm>
              <a:off x="6802438" y="5421338"/>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37" name="Text Box 137">
              <a:extLst>
                <a:ext uri="{FF2B5EF4-FFF2-40B4-BE49-F238E27FC236}">
                  <a16:creationId xmlns:a16="http://schemas.microsoft.com/office/drawing/2014/main" id="{645C4BDE-2140-4A2E-82BF-7790B2B97492}"/>
                </a:ext>
              </a:extLst>
            </p:cNvPr>
            <p:cNvSpPr txBox="1">
              <a:spLocks noChangeArrowheads="1"/>
            </p:cNvSpPr>
            <p:nvPr/>
          </p:nvSpPr>
          <p:spPr bwMode="auto">
            <a:xfrm>
              <a:off x="6388100" y="5421338"/>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38" name="Text Box 138">
              <a:extLst>
                <a:ext uri="{FF2B5EF4-FFF2-40B4-BE49-F238E27FC236}">
                  <a16:creationId xmlns:a16="http://schemas.microsoft.com/office/drawing/2014/main" id="{A3C188A6-31CD-4193-9BAA-892DA03E005A}"/>
                </a:ext>
              </a:extLst>
            </p:cNvPr>
            <p:cNvSpPr txBox="1">
              <a:spLocks noChangeArrowheads="1"/>
            </p:cNvSpPr>
            <p:nvPr/>
          </p:nvSpPr>
          <p:spPr bwMode="auto">
            <a:xfrm>
              <a:off x="7181850" y="4943500"/>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39" name="Text Box 139">
              <a:extLst>
                <a:ext uri="{FF2B5EF4-FFF2-40B4-BE49-F238E27FC236}">
                  <a16:creationId xmlns:a16="http://schemas.microsoft.com/office/drawing/2014/main" id="{0BF4B4EE-9FC6-422E-9E9F-E87674B11BCC}"/>
                </a:ext>
              </a:extLst>
            </p:cNvPr>
            <p:cNvSpPr txBox="1">
              <a:spLocks noChangeArrowheads="1"/>
            </p:cNvSpPr>
            <p:nvPr/>
          </p:nvSpPr>
          <p:spPr bwMode="auto">
            <a:xfrm>
              <a:off x="7181850" y="4681563"/>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40" name="Text Box 140">
              <a:extLst>
                <a:ext uri="{FF2B5EF4-FFF2-40B4-BE49-F238E27FC236}">
                  <a16:creationId xmlns:a16="http://schemas.microsoft.com/office/drawing/2014/main" id="{1D8C3A82-8AB7-4E20-BFE8-CF1709ABE335}"/>
                </a:ext>
              </a:extLst>
            </p:cNvPr>
            <p:cNvSpPr txBox="1">
              <a:spLocks noChangeArrowheads="1"/>
            </p:cNvSpPr>
            <p:nvPr/>
          </p:nvSpPr>
          <p:spPr bwMode="auto">
            <a:xfrm>
              <a:off x="6019800" y="4941913"/>
              <a:ext cx="411163" cy="255588"/>
            </a:xfrm>
            <a:prstGeom prst="rect">
              <a:avLst/>
            </a:prstGeom>
            <a:noFill/>
            <a:ln w="12700">
              <a:noFill/>
              <a:miter lim="800000"/>
              <a:headEnd/>
              <a:tailEnd/>
            </a:ln>
            <a:effectLst/>
          </p:spPr>
          <p:txBody>
            <a:bodyPr lIns="45720" rIns="45720" anchor="ctr" anchorCtr="1"/>
            <a:lstStyle/>
            <a:p>
              <a:pPr eaLnBrk="0" hangingPunct="0"/>
              <a:r>
                <a:rPr lang="en-US" sz="1100" b="1" dirty="0">
                  <a:solidFill>
                    <a:schemeClr val="bg1"/>
                  </a:solidFill>
                </a:rPr>
                <a:t>Text</a:t>
              </a:r>
            </a:p>
          </p:txBody>
        </p:sp>
        <p:sp>
          <p:nvSpPr>
            <p:cNvPr id="141" name="Text Box 141">
              <a:extLst>
                <a:ext uri="{FF2B5EF4-FFF2-40B4-BE49-F238E27FC236}">
                  <a16:creationId xmlns:a16="http://schemas.microsoft.com/office/drawing/2014/main" id="{F1A5C380-2854-4765-B1F4-C610336A5B01}"/>
                </a:ext>
              </a:extLst>
            </p:cNvPr>
            <p:cNvSpPr txBox="1">
              <a:spLocks noChangeArrowheads="1"/>
            </p:cNvSpPr>
            <p:nvPr/>
          </p:nvSpPr>
          <p:spPr bwMode="auto">
            <a:xfrm>
              <a:off x="6842194" y="4221188"/>
              <a:ext cx="411163" cy="255588"/>
            </a:xfrm>
            <a:prstGeom prst="rect">
              <a:avLst/>
            </a:prstGeom>
            <a:noFill/>
            <a:ln w="12700">
              <a:noFill/>
              <a:miter lim="800000"/>
              <a:headEnd/>
              <a:tailEnd/>
            </a:ln>
            <a:effectLst/>
          </p:spPr>
          <p:txBody>
            <a:bodyPr lIns="45720" rIns="45720" anchor="ctr" anchorCtr="1"/>
            <a:lstStyle/>
            <a:p>
              <a:pPr eaLnBrk="0" hangingPunct="0"/>
              <a:r>
                <a:rPr lang="en-US" sz="1100" b="1" dirty="0">
                  <a:solidFill>
                    <a:schemeClr val="bg1"/>
                  </a:solidFill>
                </a:rPr>
                <a:t>Text</a:t>
              </a:r>
            </a:p>
          </p:txBody>
        </p:sp>
        <p:sp>
          <p:nvSpPr>
            <p:cNvPr id="142" name="Text Box 142">
              <a:extLst>
                <a:ext uri="{FF2B5EF4-FFF2-40B4-BE49-F238E27FC236}">
                  <a16:creationId xmlns:a16="http://schemas.microsoft.com/office/drawing/2014/main" id="{BB6312FB-F6E8-4B58-BC8C-0C1DFAE030A4}"/>
                </a:ext>
              </a:extLst>
            </p:cNvPr>
            <p:cNvSpPr txBox="1">
              <a:spLocks noChangeArrowheads="1"/>
            </p:cNvSpPr>
            <p:nvPr/>
          </p:nvSpPr>
          <p:spPr bwMode="auto">
            <a:xfrm>
              <a:off x="6019800" y="4683150"/>
              <a:ext cx="411163" cy="255588"/>
            </a:xfrm>
            <a:prstGeom prst="rect">
              <a:avLst/>
            </a:prstGeom>
            <a:noFill/>
            <a:ln w="12700">
              <a:noFill/>
              <a:miter lim="800000"/>
              <a:headEnd/>
              <a:tailEnd/>
            </a:ln>
            <a:effectLst/>
          </p:spPr>
          <p:txBody>
            <a:bodyPr lIns="45720" rIns="45720" anchor="ctr" anchorCtr="1"/>
            <a:lstStyle/>
            <a:p>
              <a:pPr eaLnBrk="0" hangingPunct="0"/>
              <a:r>
                <a:rPr lang="en-US" sz="1100" b="1" dirty="0">
                  <a:solidFill>
                    <a:schemeClr val="bg1"/>
                  </a:solidFill>
                </a:rPr>
                <a:t>Text</a:t>
              </a:r>
            </a:p>
          </p:txBody>
        </p:sp>
        <p:sp>
          <p:nvSpPr>
            <p:cNvPr id="143" name="Text Box 143">
              <a:extLst>
                <a:ext uri="{FF2B5EF4-FFF2-40B4-BE49-F238E27FC236}">
                  <a16:creationId xmlns:a16="http://schemas.microsoft.com/office/drawing/2014/main" id="{AD4D9394-6219-4055-A1FF-2BE660AB13B7}"/>
                </a:ext>
              </a:extLst>
            </p:cNvPr>
            <p:cNvSpPr txBox="1">
              <a:spLocks noChangeArrowheads="1"/>
            </p:cNvSpPr>
            <p:nvPr/>
          </p:nvSpPr>
          <p:spPr bwMode="auto">
            <a:xfrm>
              <a:off x="6348344" y="4221188"/>
              <a:ext cx="411163" cy="255588"/>
            </a:xfrm>
            <a:prstGeom prst="rect">
              <a:avLst/>
            </a:prstGeom>
            <a:noFill/>
            <a:ln w="12700">
              <a:noFill/>
              <a:miter lim="800000"/>
              <a:headEnd/>
              <a:tailEnd/>
            </a:ln>
            <a:effectLst/>
          </p:spPr>
          <p:txBody>
            <a:bodyPr lIns="45720" rIns="45720" anchor="ctr" anchorCtr="1"/>
            <a:lstStyle/>
            <a:p>
              <a:pPr eaLnBrk="0" hangingPunct="0"/>
              <a:r>
                <a:rPr lang="en-US" sz="1100" b="1" dirty="0">
                  <a:solidFill>
                    <a:schemeClr val="bg1"/>
                  </a:solidFill>
                </a:rPr>
                <a:t>Text</a:t>
              </a:r>
            </a:p>
          </p:txBody>
        </p:sp>
      </p:grpSp>
      <p:sp>
        <p:nvSpPr>
          <p:cNvPr id="4" name="Footer Placeholder 3">
            <a:extLst>
              <a:ext uri="{FF2B5EF4-FFF2-40B4-BE49-F238E27FC236}">
                <a16:creationId xmlns:a16="http://schemas.microsoft.com/office/drawing/2014/main" id="{765A6F83-D74D-42E5-B123-6C7C20A34F3D}"/>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CA1F5F86-D827-4707-9DF9-5860B237B723}"/>
              </a:ext>
            </a:extLst>
          </p:cNvPr>
          <p:cNvSpPr>
            <a:spLocks noGrp="1"/>
          </p:cNvSpPr>
          <p:nvPr>
            <p:ph type="sldNum" sz="quarter" idx="10"/>
          </p:nvPr>
        </p:nvSpPr>
        <p:spPr/>
        <p:txBody>
          <a:bodyPr/>
          <a:lstStyle/>
          <a:p>
            <a:fld id="{1F90F471-3972-4120-B8B3-0237DE626C35}" type="slidenum">
              <a:rPr lang="en-US" smtClean="0"/>
              <a:pPr/>
              <a:t>280</a:t>
            </a:fld>
            <a:endParaRPr lang="en-US" dirty="0"/>
          </a:p>
        </p:txBody>
      </p:sp>
    </p:spTree>
    <p:extLst>
      <p:ext uri="{BB962C8B-B14F-4D97-AF65-F5344CB8AC3E}">
        <p14:creationId xmlns:p14="http://schemas.microsoft.com/office/powerpoint/2010/main" val="3698255272"/>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en-US" dirty="0"/>
              <a:t>Circular Segments 2 – Donuts</a:t>
            </a:r>
          </a:p>
        </p:txBody>
      </p:sp>
      <p:grpSp>
        <p:nvGrpSpPr>
          <p:cNvPr id="82" name="Group 81" descr="Segment 1">
            <a:extLst>
              <a:ext uri="{FF2B5EF4-FFF2-40B4-BE49-F238E27FC236}">
                <a16:creationId xmlns:a16="http://schemas.microsoft.com/office/drawing/2014/main" id="{41A88AE9-5699-4634-A2FE-E99E2584043D}"/>
              </a:ext>
            </a:extLst>
          </p:cNvPr>
          <p:cNvGrpSpPr/>
          <p:nvPr/>
        </p:nvGrpSpPr>
        <p:grpSpPr bwMode="auto">
          <a:xfrm>
            <a:off x="2013453" y="1763713"/>
            <a:ext cx="1860550" cy="1860550"/>
            <a:chOff x="323850" y="1628800"/>
            <a:chExt cx="1860550" cy="1860550"/>
          </a:xfrm>
        </p:grpSpPr>
        <p:sp>
          <p:nvSpPr>
            <p:cNvPr id="83" name="Freeform 83">
              <a:extLst>
                <a:ext uri="{FF2B5EF4-FFF2-40B4-BE49-F238E27FC236}">
                  <a16:creationId xmlns:a16="http://schemas.microsoft.com/office/drawing/2014/main" id="{9DE5C361-3101-4AC3-9938-81E14DA977CF}"/>
                </a:ext>
              </a:extLst>
            </p:cNvPr>
            <p:cNvSpPr>
              <a:spLocks noChangeAspect="1"/>
            </p:cNvSpPr>
            <p:nvPr/>
          </p:nvSpPr>
          <p:spPr bwMode="auto">
            <a:xfrm>
              <a:off x="1254125" y="1628800"/>
              <a:ext cx="930275" cy="1860550"/>
            </a:xfrm>
            <a:custGeom>
              <a:avLst/>
              <a:gdLst/>
              <a:ahLst/>
              <a:cxnLst>
                <a:cxn ang="0">
                  <a:pos x="56" y="2"/>
                </a:cxn>
                <a:cxn ang="0">
                  <a:pos x="166" y="13"/>
                </a:cxn>
                <a:cxn ang="0">
                  <a:pos x="275" y="34"/>
                </a:cxn>
                <a:cxn ang="0">
                  <a:pos x="382" y="67"/>
                </a:cxn>
                <a:cxn ang="0">
                  <a:pos x="459" y="98"/>
                </a:cxn>
                <a:cxn ang="0">
                  <a:pos x="559" y="147"/>
                </a:cxn>
                <a:cxn ang="0">
                  <a:pos x="654" y="207"/>
                </a:cxn>
                <a:cxn ang="0">
                  <a:pos x="742" y="275"/>
                </a:cxn>
                <a:cxn ang="0">
                  <a:pos x="803" y="332"/>
                </a:cxn>
                <a:cxn ang="0">
                  <a:pos x="878" y="415"/>
                </a:cxn>
                <a:cxn ang="0">
                  <a:pos x="944" y="504"/>
                </a:cxn>
                <a:cxn ang="0">
                  <a:pos x="1001" y="601"/>
                </a:cxn>
                <a:cxn ang="0">
                  <a:pos x="1048" y="701"/>
                </a:cxn>
                <a:cxn ang="0">
                  <a:pos x="1086" y="806"/>
                </a:cxn>
                <a:cxn ang="0">
                  <a:pos x="1113" y="914"/>
                </a:cxn>
                <a:cxn ang="0">
                  <a:pos x="1130" y="1024"/>
                </a:cxn>
                <a:cxn ang="0">
                  <a:pos x="1135" y="1135"/>
                </a:cxn>
                <a:cxn ang="0">
                  <a:pos x="1129" y="1246"/>
                </a:cxn>
                <a:cxn ang="0">
                  <a:pos x="1113" y="1356"/>
                </a:cxn>
                <a:cxn ang="0">
                  <a:pos x="1086" y="1464"/>
                </a:cxn>
                <a:cxn ang="0">
                  <a:pos x="1059" y="1543"/>
                </a:cxn>
                <a:cxn ang="0">
                  <a:pos x="1014" y="1645"/>
                </a:cxn>
                <a:cxn ang="0">
                  <a:pos x="959" y="1743"/>
                </a:cxn>
                <a:cxn ang="0">
                  <a:pos x="895" y="1834"/>
                </a:cxn>
                <a:cxn ang="0">
                  <a:pos x="832" y="1908"/>
                </a:cxn>
                <a:cxn ang="0">
                  <a:pos x="762" y="1976"/>
                </a:cxn>
                <a:cxn ang="0">
                  <a:pos x="676" y="2047"/>
                </a:cxn>
                <a:cxn ang="0">
                  <a:pos x="584" y="2109"/>
                </a:cxn>
                <a:cxn ang="0">
                  <a:pos x="485" y="2161"/>
                </a:cxn>
                <a:cxn ang="0">
                  <a:pos x="382" y="2204"/>
                </a:cxn>
                <a:cxn ang="0">
                  <a:pos x="276" y="2236"/>
                </a:cxn>
                <a:cxn ang="0">
                  <a:pos x="167" y="2258"/>
                </a:cxn>
                <a:cxn ang="0">
                  <a:pos x="56" y="2269"/>
                </a:cxn>
                <a:cxn ang="0">
                  <a:pos x="17" y="1475"/>
                </a:cxn>
                <a:cxn ang="0">
                  <a:pos x="60" y="1470"/>
                </a:cxn>
                <a:cxn ang="0">
                  <a:pos x="117" y="1455"/>
                </a:cxn>
                <a:cxn ang="0">
                  <a:pos x="176" y="1426"/>
                </a:cxn>
                <a:cxn ang="0">
                  <a:pos x="229" y="1387"/>
                </a:cxn>
                <a:cxn ang="0">
                  <a:pos x="273" y="1339"/>
                </a:cxn>
                <a:cxn ang="0">
                  <a:pos x="307" y="1283"/>
                </a:cxn>
                <a:cxn ang="0">
                  <a:pos x="325" y="1236"/>
                </a:cxn>
                <a:cxn ang="0">
                  <a:pos x="335" y="1195"/>
                </a:cxn>
                <a:cxn ang="0">
                  <a:pos x="340" y="1135"/>
                </a:cxn>
                <a:cxn ang="0">
                  <a:pos x="336" y="1083"/>
                </a:cxn>
                <a:cxn ang="0">
                  <a:pos x="325" y="1034"/>
                </a:cxn>
                <a:cxn ang="0">
                  <a:pos x="299" y="973"/>
                </a:cxn>
                <a:cxn ang="0">
                  <a:pos x="262" y="919"/>
                </a:cxn>
                <a:cxn ang="0">
                  <a:pos x="216" y="873"/>
                </a:cxn>
                <a:cxn ang="0">
                  <a:pos x="162" y="836"/>
                </a:cxn>
                <a:cxn ang="0">
                  <a:pos x="117" y="816"/>
                </a:cxn>
                <a:cxn ang="0">
                  <a:pos x="69" y="802"/>
                </a:cxn>
                <a:cxn ang="0">
                  <a:pos x="17" y="795"/>
                </a:cxn>
              </a:cxnLst>
              <a:rect l="0" t="0" r="r" b="b"/>
              <a:pathLst>
                <a:path w="1135" h="2270">
                  <a:moveTo>
                    <a:pt x="0" y="795"/>
                  </a:moveTo>
                  <a:lnTo>
                    <a:pt x="0" y="0"/>
                  </a:lnTo>
                  <a:lnTo>
                    <a:pt x="28" y="1"/>
                  </a:lnTo>
                  <a:lnTo>
                    <a:pt x="56" y="2"/>
                  </a:lnTo>
                  <a:lnTo>
                    <a:pt x="83" y="3"/>
                  </a:lnTo>
                  <a:lnTo>
                    <a:pt x="111" y="6"/>
                  </a:lnTo>
                  <a:lnTo>
                    <a:pt x="139" y="9"/>
                  </a:lnTo>
                  <a:lnTo>
                    <a:pt x="166" y="13"/>
                  </a:lnTo>
                  <a:lnTo>
                    <a:pt x="194" y="17"/>
                  </a:lnTo>
                  <a:lnTo>
                    <a:pt x="221" y="22"/>
                  </a:lnTo>
                  <a:lnTo>
                    <a:pt x="248" y="28"/>
                  </a:lnTo>
                  <a:lnTo>
                    <a:pt x="275" y="34"/>
                  </a:lnTo>
                  <a:lnTo>
                    <a:pt x="302" y="41"/>
                  </a:lnTo>
                  <a:lnTo>
                    <a:pt x="329" y="49"/>
                  </a:lnTo>
                  <a:lnTo>
                    <a:pt x="356" y="58"/>
                  </a:lnTo>
                  <a:lnTo>
                    <a:pt x="382" y="67"/>
                  </a:lnTo>
                  <a:lnTo>
                    <a:pt x="395" y="71"/>
                  </a:lnTo>
                  <a:lnTo>
                    <a:pt x="408" y="76"/>
                  </a:lnTo>
                  <a:lnTo>
                    <a:pt x="434" y="87"/>
                  </a:lnTo>
                  <a:lnTo>
                    <a:pt x="459" y="98"/>
                  </a:lnTo>
                  <a:lnTo>
                    <a:pt x="485" y="109"/>
                  </a:lnTo>
                  <a:lnTo>
                    <a:pt x="510" y="121"/>
                  </a:lnTo>
                  <a:lnTo>
                    <a:pt x="535" y="134"/>
                  </a:lnTo>
                  <a:lnTo>
                    <a:pt x="559" y="147"/>
                  </a:lnTo>
                  <a:lnTo>
                    <a:pt x="584" y="161"/>
                  </a:lnTo>
                  <a:lnTo>
                    <a:pt x="608" y="176"/>
                  </a:lnTo>
                  <a:lnTo>
                    <a:pt x="631" y="191"/>
                  </a:lnTo>
                  <a:lnTo>
                    <a:pt x="654" y="207"/>
                  </a:lnTo>
                  <a:lnTo>
                    <a:pt x="677" y="223"/>
                  </a:lnTo>
                  <a:lnTo>
                    <a:pt x="699" y="240"/>
                  </a:lnTo>
                  <a:lnTo>
                    <a:pt x="720" y="257"/>
                  </a:lnTo>
                  <a:lnTo>
                    <a:pt x="742" y="275"/>
                  </a:lnTo>
                  <a:lnTo>
                    <a:pt x="763" y="294"/>
                  </a:lnTo>
                  <a:lnTo>
                    <a:pt x="773" y="303"/>
                  </a:lnTo>
                  <a:lnTo>
                    <a:pt x="783" y="313"/>
                  </a:lnTo>
                  <a:lnTo>
                    <a:pt x="803" y="332"/>
                  </a:lnTo>
                  <a:lnTo>
                    <a:pt x="822" y="352"/>
                  </a:lnTo>
                  <a:lnTo>
                    <a:pt x="841" y="373"/>
                  </a:lnTo>
                  <a:lnTo>
                    <a:pt x="860" y="394"/>
                  </a:lnTo>
                  <a:lnTo>
                    <a:pt x="878" y="415"/>
                  </a:lnTo>
                  <a:lnTo>
                    <a:pt x="895" y="437"/>
                  </a:lnTo>
                  <a:lnTo>
                    <a:pt x="912" y="459"/>
                  </a:lnTo>
                  <a:lnTo>
                    <a:pt x="928" y="481"/>
                  </a:lnTo>
                  <a:lnTo>
                    <a:pt x="944" y="504"/>
                  </a:lnTo>
                  <a:lnTo>
                    <a:pt x="959" y="528"/>
                  </a:lnTo>
                  <a:lnTo>
                    <a:pt x="973" y="551"/>
                  </a:lnTo>
                  <a:lnTo>
                    <a:pt x="987" y="576"/>
                  </a:lnTo>
                  <a:lnTo>
                    <a:pt x="1001" y="601"/>
                  </a:lnTo>
                  <a:lnTo>
                    <a:pt x="1014" y="625"/>
                  </a:lnTo>
                  <a:lnTo>
                    <a:pt x="1026" y="650"/>
                  </a:lnTo>
                  <a:lnTo>
                    <a:pt x="1037" y="676"/>
                  </a:lnTo>
                  <a:lnTo>
                    <a:pt x="1048" y="701"/>
                  </a:lnTo>
                  <a:lnTo>
                    <a:pt x="1059" y="727"/>
                  </a:lnTo>
                  <a:lnTo>
                    <a:pt x="1069" y="753"/>
                  </a:lnTo>
                  <a:lnTo>
                    <a:pt x="1078" y="779"/>
                  </a:lnTo>
                  <a:lnTo>
                    <a:pt x="1086" y="806"/>
                  </a:lnTo>
                  <a:lnTo>
                    <a:pt x="1094" y="833"/>
                  </a:lnTo>
                  <a:lnTo>
                    <a:pt x="1101" y="860"/>
                  </a:lnTo>
                  <a:lnTo>
                    <a:pt x="1108" y="887"/>
                  </a:lnTo>
                  <a:lnTo>
                    <a:pt x="1113" y="914"/>
                  </a:lnTo>
                  <a:lnTo>
                    <a:pt x="1119" y="941"/>
                  </a:lnTo>
                  <a:lnTo>
                    <a:pt x="1123" y="969"/>
                  </a:lnTo>
                  <a:lnTo>
                    <a:pt x="1127" y="996"/>
                  </a:lnTo>
                  <a:lnTo>
                    <a:pt x="1130" y="1024"/>
                  </a:lnTo>
                  <a:lnTo>
                    <a:pt x="1132" y="1052"/>
                  </a:lnTo>
                  <a:lnTo>
                    <a:pt x="1134" y="1079"/>
                  </a:lnTo>
                  <a:lnTo>
                    <a:pt x="1135" y="1107"/>
                  </a:lnTo>
                  <a:lnTo>
                    <a:pt x="1135" y="1135"/>
                  </a:lnTo>
                  <a:lnTo>
                    <a:pt x="1135" y="1163"/>
                  </a:lnTo>
                  <a:lnTo>
                    <a:pt x="1134" y="1191"/>
                  </a:lnTo>
                  <a:lnTo>
                    <a:pt x="1132" y="1219"/>
                  </a:lnTo>
                  <a:lnTo>
                    <a:pt x="1129" y="1246"/>
                  </a:lnTo>
                  <a:lnTo>
                    <a:pt x="1126" y="1274"/>
                  </a:lnTo>
                  <a:lnTo>
                    <a:pt x="1123" y="1302"/>
                  </a:lnTo>
                  <a:lnTo>
                    <a:pt x="1118" y="1329"/>
                  </a:lnTo>
                  <a:lnTo>
                    <a:pt x="1113" y="1356"/>
                  </a:lnTo>
                  <a:lnTo>
                    <a:pt x="1107" y="1384"/>
                  </a:lnTo>
                  <a:lnTo>
                    <a:pt x="1101" y="1411"/>
                  </a:lnTo>
                  <a:lnTo>
                    <a:pt x="1094" y="1438"/>
                  </a:lnTo>
                  <a:lnTo>
                    <a:pt x="1086" y="1464"/>
                  </a:lnTo>
                  <a:lnTo>
                    <a:pt x="1078" y="1491"/>
                  </a:lnTo>
                  <a:lnTo>
                    <a:pt x="1068" y="1517"/>
                  </a:lnTo>
                  <a:lnTo>
                    <a:pt x="1064" y="1530"/>
                  </a:lnTo>
                  <a:lnTo>
                    <a:pt x="1059" y="1543"/>
                  </a:lnTo>
                  <a:lnTo>
                    <a:pt x="1048" y="1569"/>
                  </a:lnTo>
                  <a:lnTo>
                    <a:pt x="1038" y="1595"/>
                  </a:lnTo>
                  <a:lnTo>
                    <a:pt x="1026" y="1620"/>
                  </a:lnTo>
                  <a:lnTo>
                    <a:pt x="1014" y="1645"/>
                  </a:lnTo>
                  <a:lnTo>
                    <a:pt x="1001" y="1670"/>
                  </a:lnTo>
                  <a:lnTo>
                    <a:pt x="988" y="1694"/>
                  </a:lnTo>
                  <a:lnTo>
                    <a:pt x="974" y="1719"/>
                  </a:lnTo>
                  <a:lnTo>
                    <a:pt x="959" y="1743"/>
                  </a:lnTo>
                  <a:lnTo>
                    <a:pt x="944" y="1766"/>
                  </a:lnTo>
                  <a:lnTo>
                    <a:pt x="928" y="1789"/>
                  </a:lnTo>
                  <a:lnTo>
                    <a:pt x="912" y="1812"/>
                  </a:lnTo>
                  <a:lnTo>
                    <a:pt x="895" y="1834"/>
                  </a:lnTo>
                  <a:lnTo>
                    <a:pt x="878" y="1856"/>
                  </a:lnTo>
                  <a:lnTo>
                    <a:pt x="860" y="1877"/>
                  </a:lnTo>
                  <a:lnTo>
                    <a:pt x="841" y="1898"/>
                  </a:lnTo>
                  <a:lnTo>
                    <a:pt x="832" y="1908"/>
                  </a:lnTo>
                  <a:lnTo>
                    <a:pt x="822" y="1918"/>
                  </a:lnTo>
                  <a:lnTo>
                    <a:pt x="803" y="1938"/>
                  </a:lnTo>
                  <a:lnTo>
                    <a:pt x="783" y="1957"/>
                  </a:lnTo>
                  <a:lnTo>
                    <a:pt x="762" y="1976"/>
                  </a:lnTo>
                  <a:lnTo>
                    <a:pt x="742" y="1995"/>
                  </a:lnTo>
                  <a:lnTo>
                    <a:pt x="720" y="2013"/>
                  </a:lnTo>
                  <a:lnTo>
                    <a:pt x="699" y="2030"/>
                  </a:lnTo>
                  <a:lnTo>
                    <a:pt x="676" y="2047"/>
                  </a:lnTo>
                  <a:lnTo>
                    <a:pt x="654" y="2063"/>
                  </a:lnTo>
                  <a:lnTo>
                    <a:pt x="631" y="2079"/>
                  </a:lnTo>
                  <a:lnTo>
                    <a:pt x="608" y="2094"/>
                  </a:lnTo>
                  <a:lnTo>
                    <a:pt x="584" y="2109"/>
                  </a:lnTo>
                  <a:lnTo>
                    <a:pt x="559" y="2123"/>
                  </a:lnTo>
                  <a:lnTo>
                    <a:pt x="534" y="2136"/>
                  </a:lnTo>
                  <a:lnTo>
                    <a:pt x="510" y="2149"/>
                  </a:lnTo>
                  <a:lnTo>
                    <a:pt x="485" y="2161"/>
                  </a:lnTo>
                  <a:lnTo>
                    <a:pt x="459" y="2173"/>
                  </a:lnTo>
                  <a:lnTo>
                    <a:pt x="434" y="2184"/>
                  </a:lnTo>
                  <a:lnTo>
                    <a:pt x="408" y="2194"/>
                  </a:lnTo>
                  <a:lnTo>
                    <a:pt x="382" y="2204"/>
                  </a:lnTo>
                  <a:lnTo>
                    <a:pt x="356" y="2213"/>
                  </a:lnTo>
                  <a:lnTo>
                    <a:pt x="329" y="2221"/>
                  </a:lnTo>
                  <a:lnTo>
                    <a:pt x="302" y="2229"/>
                  </a:lnTo>
                  <a:lnTo>
                    <a:pt x="276" y="2236"/>
                  </a:lnTo>
                  <a:lnTo>
                    <a:pt x="249" y="2243"/>
                  </a:lnTo>
                  <a:lnTo>
                    <a:pt x="221" y="2249"/>
                  </a:lnTo>
                  <a:lnTo>
                    <a:pt x="194" y="2254"/>
                  </a:lnTo>
                  <a:lnTo>
                    <a:pt x="167" y="2258"/>
                  </a:lnTo>
                  <a:lnTo>
                    <a:pt x="139" y="2262"/>
                  </a:lnTo>
                  <a:lnTo>
                    <a:pt x="111" y="2265"/>
                  </a:lnTo>
                  <a:lnTo>
                    <a:pt x="84" y="2267"/>
                  </a:lnTo>
                  <a:lnTo>
                    <a:pt x="56" y="2269"/>
                  </a:lnTo>
                  <a:lnTo>
                    <a:pt x="28" y="2270"/>
                  </a:lnTo>
                  <a:lnTo>
                    <a:pt x="0" y="2270"/>
                  </a:lnTo>
                  <a:lnTo>
                    <a:pt x="0" y="1475"/>
                  </a:lnTo>
                  <a:lnTo>
                    <a:pt x="17" y="1475"/>
                  </a:lnTo>
                  <a:lnTo>
                    <a:pt x="35" y="1474"/>
                  </a:lnTo>
                  <a:lnTo>
                    <a:pt x="43" y="1473"/>
                  </a:lnTo>
                  <a:lnTo>
                    <a:pt x="52" y="1471"/>
                  </a:lnTo>
                  <a:lnTo>
                    <a:pt x="60" y="1470"/>
                  </a:lnTo>
                  <a:lnTo>
                    <a:pt x="69" y="1468"/>
                  </a:lnTo>
                  <a:lnTo>
                    <a:pt x="85" y="1465"/>
                  </a:lnTo>
                  <a:lnTo>
                    <a:pt x="101" y="1460"/>
                  </a:lnTo>
                  <a:lnTo>
                    <a:pt x="117" y="1455"/>
                  </a:lnTo>
                  <a:lnTo>
                    <a:pt x="132" y="1449"/>
                  </a:lnTo>
                  <a:lnTo>
                    <a:pt x="147" y="1442"/>
                  </a:lnTo>
                  <a:lnTo>
                    <a:pt x="162" y="1434"/>
                  </a:lnTo>
                  <a:lnTo>
                    <a:pt x="176" y="1426"/>
                  </a:lnTo>
                  <a:lnTo>
                    <a:pt x="190" y="1417"/>
                  </a:lnTo>
                  <a:lnTo>
                    <a:pt x="203" y="1408"/>
                  </a:lnTo>
                  <a:lnTo>
                    <a:pt x="216" y="1398"/>
                  </a:lnTo>
                  <a:lnTo>
                    <a:pt x="229" y="1387"/>
                  </a:lnTo>
                  <a:lnTo>
                    <a:pt x="240" y="1376"/>
                  </a:lnTo>
                  <a:lnTo>
                    <a:pt x="252" y="1364"/>
                  </a:lnTo>
                  <a:lnTo>
                    <a:pt x="262" y="1352"/>
                  </a:lnTo>
                  <a:lnTo>
                    <a:pt x="273" y="1339"/>
                  </a:lnTo>
                  <a:lnTo>
                    <a:pt x="282" y="1325"/>
                  </a:lnTo>
                  <a:lnTo>
                    <a:pt x="291" y="1312"/>
                  </a:lnTo>
                  <a:lnTo>
                    <a:pt x="299" y="1297"/>
                  </a:lnTo>
                  <a:lnTo>
                    <a:pt x="307" y="1283"/>
                  </a:lnTo>
                  <a:lnTo>
                    <a:pt x="313" y="1268"/>
                  </a:lnTo>
                  <a:lnTo>
                    <a:pt x="317" y="1260"/>
                  </a:lnTo>
                  <a:lnTo>
                    <a:pt x="319" y="1252"/>
                  </a:lnTo>
                  <a:lnTo>
                    <a:pt x="325" y="1236"/>
                  </a:lnTo>
                  <a:lnTo>
                    <a:pt x="327" y="1228"/>
                  </a:lnTo>
                  <a:lnTo>
                    <a:pt x="329" y="1220"/>
                  </a:lnTo>
                  <a:lnTo>
                    <a:pt x="333" y="1204"/>
                  </a:lnTo>
                  <a:lnTo>
                    <a:pt x="335" y="1195"/>
                  </a:lnTo>
                  <a:lnTo>
                    <a:pt x="336" y="1187"/>
                  </a:lnTo>
                  <a:lnTo>
                    <a:pt x="338" y="1170"/>
                  </a:lnTo>
                  <a:lnTo>
                    <a:pt x="340" y="1153"/>
                  </a:lnTo>
                  <a:lnTo>
                    <a:pt x="340" y="1135"/>
                  </a:lnTo>
                  <a:lnTo>
                    <a:pt x="340" y="1118"/>
                  </a:lnTo>
                  <a:lnTo>
                    <a:pt x="338" y="1100"/>
                  </a:lnTo>
                  <a:lnTo>
                    <a:pt x="337" y="1092"/>
                  </a:lnTo>
                  <a:lnTo>
                    <a:pt x="336" y="1083"/>
                  </a:lnTo>
                  <a:lnTo>
                    <a:pt x="335" y="1075"/>
                  </a:lnTo>
                  <a:lnTo>
                    <a:pt x="333" y="1067"/>
                  </a:lnTo>
                  <a:lnTo>
                    <a:pt x="329" y="1050"/>
                  </a:lnTo>
                  <a:lnTo>
                    <a:pt x="325" y="1034"/>
                  </a:lnTo>
                  <a:lnTo>
                    <a:pt x="319" y="1018"/>
                  </a:lnTo>
                  <a:lnTo>
                    <a:pt x="313" y="1003"/>
                  </a:lnTo>
                  <a:lnTo>
                    <a:pt x="307" y="988"/>
                  </a:lnTo>
                  <a:lnTo>
                    <a:pt x="299" y="973"/>
                  </a:lnTo>
                  <a:lnTo>
                    <a:pt x="291" y="959"/>
                  </a:lnTo>
                  <a:lnTo>
                    <a:pt x="282" y="945"/>
                  </a:lnTo>
                  <a:lnTo>
                    <a:pt x="273" y="932"/>
                  </a:lnTo>
                  <a:lnTo>
                    <a:pt x="262" y="919"/>
                  </a:lnTo>
                  <a:lnTo>
                    <a:pt x="252" y="906"/>
                  </a:lnTo>
                  <a:lnTo>
                    <a:pt x="240" y="895"/>
                  </a:lnTo>
                  <a:lnTo>
                    <a:pt x="229" y="883"/>
                  </a:lnTo>
                  <a:lnTo>
                    <a:pt x="216" y="873"/>
                  </a:lnTo>
                  <a:lnTo>
                    <a:pt x="203" y="863"/>
                  </a:lnTo>
                  <a:lnTo>
                    <a:pt x="190" y="853"/>
                  </a:lnTo>
                  <a:lnTo>
                    <a:pt x="176" y="844"/>
                  </a:lnTo>
                  <a:lnTo>
                    <a:pt x="162" y="836"/>
                  </a:lnTo>
                  <a:lnTo>
                    <a:pt x="147" y="829"/>
                  </a:lnTo>
                  <a:lnTo>
                    <a:pt x="132" y="822"/>
                  </a:lnTo>
                  <a:lnTo>
                    <a:pt x="125" y="819"/>
                  </a:lnTo>
                  <a:lnTo>
                    <a:pt x="117" y="816"/>
                  </a:lnTo>
                  <a:lnTo>
                    <a:pt x="101" y="810"/>
                  </a:lnTo>
                  <a:lnTo>
                    <a:pt x="93" y="808"/>
                  </a:lnTo>
                  <a:lnTo>
                    <a:pt x="85" y="806"/>
                  </a:lnTo>
                  <a:lnTo>
                    <a:pt x="69" y="802"/>
                  </a:lnTo>
                  <a:lnTo>
                    <a:pt x="60" y="800"/>
                  </a:lnTo>
                  <a:lnTo>
                    <a:pt x="52" y="799"/>
                  </a:lnTo>
                  <a:lnTo>
                    <a:pt x="35" y="797"/>
                  </a:lnTo>
                  <a:lnTo>
                    <a:pt x="17" y="795"/>
                  </a:lnTo>
                  <a:lnTo>
                    <a:pt x="0" y="795"/>
                  </a:lnTo>
                  <a:close/>
                </a:path>
              </a:pathLst>
            </a:custGeom>
            <a:solidFill>
              <a:schemeClr val="accent3"/>
            </a:solidFill>
            <a:ln w="6350" cmpd="sng">
              <a:noFill/>
              <a:round/>
              <a:headEnd/>
              <a:tailEnd/>
            </a:ln>
          </p:spPr>
          <p:txBody>
            <a:bodyPr lIns="45720" rIns="45720" anchor="ctr" anchorCtr="1"/>
            <a:lstStyle/>
            <a:p>
              <a:endParaRPr lang="en-US" sz="1100"/>
            </a:p>
          </p:txBody>
        </p:sp>
        <p:sp>
          <p:nvSpPr>
            <p:cNvPr id="84" name="Freeform 84">
              <a:extLst>
                <a:ext uri="{FF2B5EF4-FFF2-40B4-BE49-F238E27FC236}">
                  <a16:creationId xmlns:a16="http://schemas.microsoft.com/office/drawing/2014/main" id="{E1002A73-43A4-465A-9E65-56FF04F33F4B}"/>
                </a:ext>
              </a:extLst>
            </p:cNvPr>
            <p:cNvSpPr>
              <a:spLocks noChangeAspect="1"/>
            </p:cNvSpPr>
            <p:nvPr/>
          </p:nvSpPr>
          <p:spPr bwMode="auto">
            <a:xfrm>
              <a:off x="323850" y="1628800"/>
              <a:ext cx="930275" cy="1860550"/>
            </a:xfrm>
            <a:custGeom>
              <a:avLst/>
              <a:gdLst/>
              <a:ahLst/>
              <a:cxnLst>
                <a:cxn ang="0">
                  <a:pos x="1079" y="2269"/>
                </a:cxn>
                <a:cxn ang="0">
                  <a:pos x="969" y="2258"/>
                </a:cxn>
                <a:cxn ang="0">
                  <a:pos x="859" y="2236"/>
                </a:cxn>
                <a:cxn ang="0">
                  <a:pos x="753" y="2204"/>
                </a:cxn>
                <a:cxn ang="0">
                  <a:pos x="675" y="2173"/>
                </a:cxn>
                <a:cxn ang="0">
                  <a:pos x="576" y="2123"/>
                </a:cxn>
                <a:cxn ang="0">
                  <a:pos x="481" y="2064"/>
                </a:cxn>
                <a:cxn ang="0">
                  <a:pos x="393" y="1995"/>
                </a:cxn>
                <a:cxn ang="0">
                  <a:pos x="332" y="1938"/>
                </a:cxn>
                <a:cxn ang="0">
                  <a:pos x="257" y="1855"/>
                </a:cxn>
                <a:cxn ang="0">
                  <a:pos x="191" y="1766"/>
                </a:cxn>
                <a:cxn ang="0">
                  <a:pos x="134" y="1670"/>
                </a:cxn>
                <a:cxn ang="0">
                  <a:pos x="86" y="1569"/>
                </a:cxn>
                <a:cxn ang="0">
                  <a:pos x="49" y="1464"/>
                </a:cxn>
                <a:cxn ang="0">
                  <a:pos x="22" y="1356"/>
                </a:cxn>
                <a:cxn ang="0">
                  <a:pos x="5" y="1246"/>
                </a:cxn>
                <a:cxn ang="0">
                  <a:pos x="0" y="1135"/>
                </a:cxn>
                <a:cxn ang="0">
                  <a:pos x="6" y="1024"/>
                </a:cxn>
                <a:cxn ang="0">
                  <a:pos x="22" y="914"/>
                </a:cxn>
                <a:cxn ang="0">
                  <a:pos x="49" y="806"/>
                </a:cxn>
                <a:cxn ang="0">
                  <a:pos x="76" y="727"/>
                </a:cxn>
                <a:cxn ang="0">
                  <a:pos x="121" y="625"/>
                </a:cxn>
                <a:cxn ang="0">
                  <a:pos x="176" y="527"/>
                </a:cxn>
                <a:cxn ang="0">
                  <a:pos x="240" y="436"/>
                </a:cxn>
                <a:cxn ang="0">
                  <a:pos x="303" y="362"/>
                </a:cxn>
                <a:cxn ang="0">
                  <a:pos x="373" y="294"/>
                </a:cxn>
                <a:cxn ang="0">
                  <a:pos x="459" y="223"/>
                </a:cxn>
                <a:cxn ang="0">
                  <a:pos x="551" y="162"/>
                </a:cxn>
                <a:cxn ang="0">
                  <a:pos x="650" y="109"/>
                </a:cxn>
                <a:cxn ang="0">
                  <a:pos x="753" y="66"/>
                </a:cxn>
                <a:cxn ang="0">
                  <a:pos x="859" y="34"/>
                </a:cxn>
                <a:cxn ang="0">
                  <a:pos x="968" y="12"/>
                </a:cxn>
                <a:cxn ang="0">
                  <a:pos x="1079" y="1"/>
                </a:cxn>
                <a:cxn ang="0">
                  <a:pos x="1117" y="795"/>
                </a:cxn>
                <a:cxn ang="0">
                  <a:pos x="1075" y="800"/>
                </a:cxn>
                <a:cxn ang="0">
                  <a:pos x="1018" y="816"/>
                </a:cxn>
                <a:cxn ang="0">
                  <a:pos x="959" y="844"/>
                </a:cxn>
                <a:cxn ang="0">
                  <a:pos x="906" y="883"/>
                </a:cxn>
                <a:cxn ang="0">
                  <a:pos x="862" y="932"/>
                </a:cxn>
                <a:cxn ang="0">
                  <a:pos x="828" y="988"/>
                </a:cxn>
                <a:cxn ang="0">
                  <a:pos x="810" y="1034"/>
                </a:cxn>
                <a:cxn ang="0">
                  <a:pos x="800" y="1075"/>
                </a:cxn>
                <a:cxn ang="0">
                  <a:pos x="795" y="1135"/>
                </a:cxn>
                <a:cxn ang="0">
                  <a:pos x="799" y="1187"/>
                </a:cxn>
                <a:cxn ang="0">
                  <a:pos x="810" y="1236"/>
                </a:cxn>
                <a:cxn ang="0">
                  <a:pos x="836" y="1297"/>
                </a:cxn>
                <a:cxn ang="0">
                  <a:pos x="872" y="1351"/>
                </a:cxn>
                <a:cxn ang="0">
                  <a:pos x="919" y="1398"/>
                </a:cxn>
                <a:cxn ang="0">
                  <a:pos x="973" y="1434"/>
                </a:cxn>
                <a:cxn ang="0">
                  <a:pos x="1018" y="1455"/>
                </a:cxn>
                <a:cxn ang="0">
                  <a:pos x="1066" y="1468"/>
                </a:cxn>
                <a:cxn ang="0">
                  <a:pos x="1117" y="1475"/>
                </a:cxn>
              </a:cxnLst>
              <a:rect l="0" t="0" r="r" b="b"/>
              <a:pathLst>
                <a:path w="1135" h="2270">
                  <a:moveTo>
                    <a:pt x="1135" y="1475"/>
                  </a:moveTo>
                  <a:lnTo>
                    <a:pt x="1135" y="2270"/>
                  </a:lnTo>
                  <a:lnTo>
                    <a:pt x="1107" y="2270"/>
                  </a:lnTo>
                  <a:lnTo>
                    <a:pt x="1079" y="2269"/>
                  </a:lnTo>
                  <a:lnTo>
                    <a:pt x="1052" y="2267"/>
                  </a:lnTo>
                  <a:lnTo>
                    <a:pt x="1024" y="2265"/>
                  </a:lnTo>
                  <a:lnTo>
                    <a:pt x="996" y="2261"/>
                  </a:lnTo>
                  <a:lnTo>
                    <a:pt x="969" y="2258"/>
                  </a:lnTo>
                  <a:lnTo>
                    <a:pt x="941" y="2253"/>
                  </a:lnTo>
                  <a:lnTo>
                    <a:pt x="914" y="2248"/>
                  </a:lnTo>
                  <a:lnTo>
                    <a:pt x="887" y="2242"/>
                  </a:lnTo>
                  <a:lnTo>
                    <a:pt x="859" y="2236"/>
                  </a:lnTo>
                  <a:lnTo>
                    <a:pt x="833" y="2229"/>
                  </a:lnTo>
                  <a:lnTo>
                    <a:pt x="806" y="2221"/>
                  </a:lnTo>
                  <a:lnTo>
                    <a:pt x="779" y="2213"/>
                  </a:lnTo>
                  <a:lnTo>
                    <a:pt x="753" y="2204"/>
                  </a:lnTo>
                  <a:lnTo>
                    <a:pt x="740" y="2199"/>
                  </a:lnTo>
                  <a:lnTo>
                    <a:pt x="727" y="2194"/>
                  </a:lnTo>
                  <a:lnTo>
                    <a:pt x="701" y="2184"/>
                  </a:lnTo>
                  <a:lnTo>
                    <a:pt x="675" y="2173"/>
                  </a:lnTo>
                  <a:lnTo>
                    <a:pt x="650" y="2161"/>
                  </a:lnTo>
                  <a:lnTo>
                    <a:pt x="625" y="2149"/>
                  </a:lnTo>
                  <a:lnTo>
                    <a:pt x="600" y="2136"/>
                  </a:lnTo>
                  <a:lnTo>
                    <a:pt x="576" y="2123"/>
                  </a:lnTo>
                  <a:lnTo>
                    <a:pt x="551" y="2109"/>
                  </a:lnTo>
                  <a:lnTo>
                    <a:pt x="527" y="2094"/>
                  </a:lnTo>
                  <a:lnTo>
                    <a:pt x="504" y="2079"/>
                  </a:lnTo>
                  <a:lnTo>
                    <a:pt x="481" y="2064"/>
                  </a:lnTo>
                  <a:lnTo>
                    <a:pt x="458" y="2047"/>
                  </a:lnTo>
                  <a:lnTo>
                    <a:pt x="436" y="2030"/>
                  </a:lnTo>
                  <a:lnTo>
                    <a:pt x="415" y="2013"/>
                  </a:lnTo>
                  <a:lnTo>
                    <a:pt x="393" y="1995"/>
                  </a:lnTo>
                  <a:lnTo>
                    <a:pt x="372" y="1977"/>
                  </a:lnTo>
                  <a:lnTo>
                    <a:pt x="362" y="1967"/>
                  </a:lnTo>
                  <a:lnTo>
                    <a:pt x="352" y="1957"/>
                  </a:lnTo>
                  <a:lnTo>
                    <a:pt x="332" y="1938"/>
                  </a:lnTo>
                  <a:lnTo>
                    <a:pt x="313" y="1918"/>
                  </a:lnTo>
                  <a:lnTo>
                    <a:pt x="294" y="1898"/>
                  </a:lnTo>
                  <a:lnTo>
                    <a:pt x="275" y="1877"/>
                  </a:lnTo>
                  <a:lnTo>
                    <a:pt x="257" y="1855"/>
                  </a:lnTo>
                  <a:lnTo>
                    <a:pt x="240" y="1834"/>
                  </a:lnTo>
                  <a:lnTo>
                    <a:pt x="223" y="1812"/>
                  </a:lnTo>
                  <a:lnTo>
                    <a:pt x="207" y="1789"/>
                  </a:lnTo>
                  <a:lnTo>
                    <a:pt x="191" y="1766"/>
                  </a:lnTo>
                  <a:lnTo>
                    <a:pt x="176" y="1743"/>
                  </a:lnTo>
                  <a:lnTo>
                    <a:pt x="162" y="1719"/>
                  </a:lnTo>
                  <a:lnTo>
                    <a:pt x="148" y="1694"/>
                  </a:lnTo>
                  <a:lnTo>
                    <a:pt x="134" y="1670"/>
                  </a:lnTo>
                  <a:lnTo>
                    <a:pt x="121" y="1645"/>
                  </a:lnTo>
                  <a:lnTo>
                    <a:pt x="109" y="1620"/>
                  </a:lnTo>
                  <a:lnTo>
                    <a:pt x="97" y="1595"/>
                  </a:lnTo>
                  <a:lnTo>
                    <a:pt x="86" y="1569"/>
                  </a:lnTo>
                  <a:lnTo>
                    <a:pt x="76" y="1543"/>
                  </a:lnTo>
                  <a:lnTo>
                    <a:pt x="66" y="1517"/>
                  </a:lnTo>
                  <a:lnTo>
                    <a:pt x="57" y="1491"/>
                  </a:lnTo>
                  <a:lnTo>
                    <a:pt x="49" y="1464"/>
                  </a:lnTo>
                  <a:lnTo>
                    <a:pt x="41" y="1438"/>
                  </a:lnTo>
                  <a:lnTo>
                    <a:pt x="34" y="1411"/>
                  </a:lnTo>
                  <a:lnTo>
                    <a:pt x="27" y="1384"/>
                  </a:lnTo>
                  <a:lnTo>
                    <a:pt x="22" y="1356"/>
                  </a:lnTo>
                  <a:lnTo>
                    <a:pt x="16" y="1329"/>
                  </a:lnTo>
                  <a:lnTo>
                    <a:pt x="12" y="1302"/>
                  </a:lnTo>
                  <a:lnTo>
                    <a:pt x="8" y="1274"/>
                  </a:lnTo>
                  <a:lnTo>
                    <a:pt x="5" y="1246"/>
                  </a:lnTo>
                  <a:lnTo>
                    <a:pt x="3" y="1219"/>
                  </a:lnTo>
                  <a:lnTo>
                    <a:pt x="1" y="1191"/>
                  </a:lnTo>
                  <a:lnTo>
                    <a:pt x="0" y="1163"/>
                  </a:lnTo>
                  <a:lnTo>
                    <a:pt x="0" y="1135"/>
                  </a:lnTo>
                  <a:lnTo>
                    <a:pt x="0" y="1107"/>
                  </a:lnTo>
                  <a:lnTo>
                    <a:pt x="1" y="1079"/>
                  </a:lnTo>
                  <a:lnTo>
                    <a:pt x="3" y="1052"/>
                  </a:lnTo>
                  <a:lnTo>
                    <a:pt x="6" y="1024"/>
                  </a:lnTo>
                  <a:lnTo>
                    <a:pt x="9" y="996"/>
                  </a:lnTo>
                  <a:lnTo>
                    <a:pt x="12" y="969"/>
                  </a:lnTo>
                  <a:lnTo>
                    <a:pt x="17" y="941"/>
                  </a:lnTo>
                  <a:lnTo>
                    <a:pt x="22" y="914"/>
                  </a:lnTo>
                  <a:lnTo>
                    <a:pt x="28" y="887"/>
                  </a:lnTo>
                  <a:lnTo>
                    <a:pt x="34" y="860"/>
                  </a:lnTo>
                  <a:lnTo>
                    <a:pt x="41" y="833"/>
                  </a:lnTo>
                  <a:lnTo>
                    <a:pt x="49" y="806"/>
                  </a:lnTo>
                  <a:lnTo>
                    <a:pt x="57" y="779"/>
                  </a:lnTo>
                  <a:lnTo>
                    <a:pt x="66" y="753"/>
                  </a:lnTo>
                  <a:lnTo>
                    <a:pt x="71" y="740"/>
                  </a:lnTo>
                  <a:lnTo>
                    <a:pt x="76" y="727"/>
                  </a:lnTo>
                  <a:lnTo>
                    <a:pt x="86" y="701"/>
                  </a:lnTo>
                  <a:lnTo>
                    <a:pt x="97" y="676"/>
                  </a:lnTo>
                  <a:lnTo>
                    <a:pt x="109" y="650"/>
                  </a:lnTo>
                  <a:lnTo>
                    <a:pt x="121" y="625"/>
                  </a:lnTo>
                  <a:lnTo>
                    <a:pt x="134" y="601"/>
                  </a:lnTo>
                  <a:lnTo>
                    <a:pt x="147" y="576"/>
                  </a:lnTo>
                  <a:lnTo>
                    <a:pt x="161" y="551"/>
                  </a:lnTo>
                  <a:lnTo>
                    <a:pt x="176" y="527"/>
                  </a:lnTo>
                  <a:lnTo>
                    <a:pt x="191" y="504"/>
                  </a:lnTo>
                  <a:lnTo>
                    <a:pt x="207" y="481"/>
                  </a:lnTo>
                  <a:lnTo>
                    <a:pt x="223" y="459"/>
                  </a:lnTo>
                  <a:lnTo>
                    <a:pt x="240" y="436"/>
                  </a:lnTo>
                  <a:lnTo>
                    <a:pt x="257" y="415"/>
                  </a:lnTo>
                  <a:lnTo>
                    <a:pt x="275" y="393"/>
                  </a:lnTo>
                  <a:lnTo>
                    <a:pt x="294" y="373"/>
                  </a:lnTo>
                  <a:lnTo>
                    <a:pt x="303" y="362"/>
                  </a:lnTo>
                  <a:lnTo>
                    <a:pt x="313" y="352"/>
                  </a:lnTo>
                  <a:lnTo>
                    <a:pt x="332" y="332"/>
                  </a:lnTo>
                  <a:lnTo>
                    <a:pt x="352" y="313"/>
                  </a:lnTo>
                  <a:lnTo>
                    <a:pt x="373" y="294"/>
                  </a:lnTo>
                  <a:lnTo>
                    <a:pt x="393" y="275"/>
                  </a:lnTo>
                  <a:lnTo>
                    <a:pt x="415" y="258"/>
                  </a:lnTo>
                  <a:lnTo>
                    <a:pt x="436" y="240"/>
                  </a:lnTo>
                  <a:lnTo>
                    <a:pt x="459" y="223"/>
                  </a:lnTo>
                  <a:lnTo>
                    <a:pt x="481" y="207"/>
                  </a:lnTo>
                  <a:lnTo>
                    <a:pt x="504" y="191"/>
                  </a:lnTo>
                  <a:lnTo>
                    <a:pt x="527" y="176"/>
                  </a:lnTo>
                  <a:lnTo>
                    <a:pt x="551" y="162"/>
                  </a:lnTo>
                  <a:lnTo>
                    <a:pt x="576" y="148"/>
                  </a:lnTo>
                  <a:lnTo>
                    <a:pt x="601" y="134"/>
                  </a:lnTo>
                  <a:lnTo>
                    <a:pt x="625" y="121"/>
                  </a:lnTo>
                  <a:lnTo>
                    <a:pt x="650" y="109"/>
                  </a:lnTo>
                  <a:lnTo>
                    <a:pt x="676" y="98"/>
                  </a:lnTo>
                  <a:lnTo>
                    <a:pt x="701" y="87"/>
                  </a:lnTo>
                  <a:lnTo>
                    <a:pt x="727" y="76"/>
                  </a:lnTo>
                  <a:lnTo>
                    <a:pt x="753" y="66"/>
                  </a:lnTo>
                  <a:lnTo>
                    <a:pt x="779" y="57"/>
                  </a:lnTo>
                  <a:lnTo>
                    <a:pt x="806" y="49"/>
                  </a:lnTo>
                  <a:lnTo>
                    <a:pt x="832" y="41"/>
                  </a:lnTo>
                  <a:lnTo>
                    <a:pt x="859" y="34"/>
                  </a:lnTo>
                  <a:lnTo>
                    <a:pt x="886" y="28"/>
                  </a:lnTo>
                  <a:lnTo>
                    <a:pt x="914" y="22"/>
                  </a:lnTo>
                  <a:lnTo>
                    <a:pt x="941" y="17"/>
                  </a:lnTo>
                  <a:lnTo>
                    <a:pt x="968" y="12"/>
                  </a:lnTo>
                  <a:lnTo>
                    <a:pt x="996" y="8"/>
                  </a:lnTo>
                  <a:lnTo>
                    <a:pt x="1024" y="5"/>
                  </a:lnTo>
                  <a:lnTo>
                    <a:pt x="1051" y="3"/>
                  </a:lnTo>
                  <a:lnTo>
                    <a:pt x="1079" y="1"/>
                  </a:lnTo>
                  <a:lnTo>
                    <a:pt x="1107" y="0"/>
                  </a:lnTo>
                  <a:lnTo>
                    <a:pt x="1135" y="0"/>
                  </a:lnTo>
                  <a:lnTo>
                    <a:pt x="1135" y="795"/>
                  </a:lnTo>
                  <a:lnTo>
                    <a:pt x="1117" y="795"/>
                  </a:lnTo>
                  <a:lnTo>
                    <a:pt x="1100" y="797"/>
                  </a:lnTo>
                  <a:lnTo>
                    <a:pt x="1092" y="798"/>
                  </a:lnTo>
                  <a:lnTo>
                    <a:pt x="1083" y="799"/>
                  </a:lnTo>
                  <a:lnTo>
                    <a:pt x="1075" y="800"/>
                  </a:lnTo>
                  <a:lnTo>
                    <a:pt x="1066" y="802"/>
                  </a:lnTo>
                  <a:lnTo>
                    <a:pt x="1050" y="806"/>
                  </a:lnTo>
                  <a:lnTo>
                    <a:pt x="1034" y="810"/>
                  </a:lnTo>
                  <a:lnTo>
                    <a:pt x="1018" y="816"/>
                  </a:lnTo>
                  <a:lnTo>
                    <a:pt x="1003" y="822"/>
                  </a:lnTo>
                  <a:lnTo>
                    <a:pt x="988" y="829"/>
                  </a:lnTo>
                  <a:lnTo>
                    <a:pt x="973" y="836"/>
                  </a:lnTo>
                  <a:lnTo>
                    <a:pt x="959" y="844"/>
                  </a:lnTo>
                  <a:lnTo>
                    <a:pt x="945" y="853"/>
                  </a:lnTo>
                  <a:lnTo>
                    <a:pt x="931" y="863"/>
                  </a:lnTo>
                  <a:lnTo>
                    <a:pt x="919" y="873"/>
                  </a:lnTo>
                  <a:lnTo>
                    <a:pt x="906" y="883"/>
                  </a:lnTo>
                  <a:lnTo>
                    <a:pt x="894" y="895"/>
                  </a:lnTo>
                  <a:lnTo>
                    <a:pt x="883" y="906"/>
                  </a:lnTo>
                  <a:lnTo>
                    <a:pt x="872" y="919"/>
                  </a:lnTo>
                  <a:lnTo>
                    <a:pt x="862" y="932"/>
                  </a:lnTo>
                  <a:lnTo>
                    <a:pt x="853" y="945"/>
                  </a:lnTo>
                  <a:lnTo>
                    <a:pt x="844" y="959"/>
                  </a:lnTo>
                  <a:lnTo>
                    <a:pt x="836" y="973"/>
                  </a:lnTo>
                  <a:lnTo>
                    <a:pt x="828" y="988"/>
                  </a:lnTo>
                  <a:lnTo>
                    <a:pt x="822" y="1003"/>
                  </a:lnTo>
                  <a:lnTo>
                    <a:pt x="818" y="1010"/>
                  </a:lnTo>
                  <a:lnTo>
                    <a:pt x="815" y="1018"/>
                  </a:lnTo>
                  <a:lnTo>
                    <a:pt x="810" y="1034"/>
                  </a:lnTo>
                  <a:lnTo>
                    <a:pt x="808" y="1042"/>
                  </a:lnTo>
                  <a:lnTo>
                    <a:pt x="806" y="1050"/>
                  </a:lnTo>
                  <a:lnTo>
                    <a:pt x="802" y="1067"/>
                  </a:lnTo>
                  <a:lnTo>
                    <a:pt x="800" y="1075"/>
                  </a:lnTo>
                  <a:lnTo>
                    <a:pt x="799" y="1083"/>
                  </a:lnTo>
                  <a:lnTo>
                    <a:pt x="797" y="1100"/>
                  </a:lnTo>
                  <a:lnTo>
                    <a:pt x="795" y="1118"/>
                  </a:lnTo>
                  <a:lnTo>
                    <a:pt x="795" y="1135"/>
                  </a:lnTo>
                  <a:lnTo>
                    <a:pt x="795" y="1153"/>
                  </a:lnTo>
                  <a:lnTo>
                    <a:pt x="797" y="1170"/>
                  </a:lnTo>
                  <a:lnTo>
                    <a:pt x="798" y="1178"/>
                  </a:lnTo>
                  <a:lnTo>
                    <a:pt x="799" y="1187"/>
                  </a:lnTo>
                  <a:lnTo>
                    <a:pt x="800" y="1195"/>
                  </a:lnTo>
                  <a:lnTo>
                    <a:pt x="802" y="1204"/>
                  </a:lnTo>
                  <a:lnTo>
                    <a:pt x="806" y="1220"/>
                  </a:lnTo>
                  <a:lnTo>
                    <a:pt x="810" y="1236"/>
                  </a:lnTo>
                  <a:lnTo>
                    <a:pt x="815" y="1252"/>
                  </a:lnTo>
                  <a:lnTo>
                    <a:pt x="822" y="1268"/>
                  </a:lnTo>
                  <a:lnTo>
                    <a:pt x="828" y="1283"/>
                  </a:lnTo>
                  <a:lnTo>
                    <a:pt x="836" y="1297"/>
                  </a:lnTo>
                  <a:lnTo>
                    <a:pt x="844" y="1312"/>
                  </a:lnTo>
                  <a:lnTo>
                    <a:pt x="853" y="1325"/>
                  </a:lnTo>
                  <a:lnTo>
                    <a:pt x="862" y="1339"/>
                  </a:lnTo>
                  <a:lnTo>
                    <a:pt x="872" y="1351"/>
                  </a:lnTo>
                  <a:lnTo>
                    <a:pt x="883" y="1364"/>
                  </a:lnTo>
                  <a:lnTo>
                    <a:pt x="894" y="1376"/>
                  </a:lnTo>
                  <a:lnTo>
                    <a:pt x="906" y="1387"/>
                  </a:lnTo>
                  <a:lnTo>
                    <a:pt x="919" y="1398"/>
                  </a:lnTo>
                  <a:lnTo>
                    <a:pt x="931" y="1408"/>
                  </a:lnTo>
                  <a:lnTo>
                    <a:pt x="945" y="1417"/>
                  </a:lnTo>
                  <a:lnTo>
                    <a:pt x="959" y="1426"/>
                  </a:lnTo>
                  <a:lnTo>
                    <a:pt x="973" y="1434"/>
                  </a:lnTo>
                  <a:lnTo>
                    <a:pt x="988" y="1442"/>
                  </a:lnTo>
                  <a:lnTo>
                    <a:pt x="1003" y="1449"/>
                  </a:lnTo>
                  <a:lnTo>
                    <a:pt x="1010" y="1452"/>
                  </a:lnTo>
                  <a:lnTo>
                    <a:pt x="1018" y="1455"/>
                  </a:lnTo>
                  <a:lnTo>
                    <a:pt x="1034" y="1460"/>
                  </a:lnTo>
                  <a:lnTo>
                    <a:pt x="1042" y="1462"/>
                  </a:lnTo>
                  <a:lnTo>
                    <a:pt x="1050" y="1465"/>
                  </a:lnTo>
                  <a:lnTo>
                    <a:pt x="1066" y="1468"/>
                  </a:lnTo>
                  <a:lnTo>
                    <a:pt x="1075" y="1470"/>
                  </a:lnTo>
                  <a:lnTo>
                    <a:pt x="1083" y="1471"/>
                  </a:lnTo>
                  <a:lnTo>
                    <a:pt x="1100" y="1474"/>
                  </a:lnTo>
                  <a:lnTo>
                    <a:pt x="1117" y="1475"/>
                  </a:lnTo>
                  <a:lnTo>
                    <a:pt x="1135" y="1475"/>
                  </a:lnTo>
                  <a:close/>
                </a:path>
              </a:pathLst>
            </a:custGeom>
            <a:solidFill>
              <a:schemeClr val="accent1"/>
            </a:solidFill>
            <a:ln w="6350" cmpd="sng">
              <a:noFill/>
              <a:round/>
              <a:headEnd/>
              <a:tailEnd/>
            </a:ln>
          </p:spPr>
          <p:txBody>
            <a:bodyPr lIns="45720" rIns="45720" anchor="ctr" anchorCtr="1"/>
            <a:lstStyle/>
            <a:p>
              <a:endParaRPr lang="en-US" sz="1100"/>
            </a:p>
          </p:txBody>
        </p:sp>
        <p:sp>
          <p:nvSpPr>
            <p:cNvPr id="85" name="Text Box 85">
              <a:extLst>
                <a:ext uri="{FF2B5EF4-FFF2-40B4-BE49-F238E27FC236}">
                  <a16:creationId xmlns:a16="http://schemas.microsoft.com/office/drawing/2014/main" id="{D18E12D8-0822-4699-87E2-8FD84916EA24}"/>
                </a:ext>
              </a:extLst>
            </p:cNvPr>
            <p:cNvSpPr txBox="1">
              <a:spLocks noChangeArrowheads="1"/>
            </p:cNvSpPr>
            <p:nvPr/>
          </p:nvSpPr>
          <p:spPr bwMode="auto">
            <a:xfrm>
              <a:off x="479743" y="2420645"/>
              <a:ext cx="411163" cy="255588"/>
            </a:xfrm>
            <a:prstGeom prst="rect">
              <a:avLst/>
            </a:prstGeom>
            <a:noFill/>
            <a:ln w="6350">
              <a:noFill/>
              <a:miter lim="800000"/>
              <a:headEnd/>
              <a:tailEnd/>
            </a:ln>
            <a:effectLst/>
          </p:spPr>
          <p:txBody>
            <a:bodyPr lIns="45720" rIns="45720" anchor="ctr" anchorCtr="1"/>
            <a:lstStyle/>
            <a:p>
              <a:pPr eaLnBrk="0" hangingPunct="0"/>
              <a:r>
                <a:rPr lang="en-US" sz="1100" b="1" dirty="0">
                  <a:solidFill>
                    <a:schemeClr val="bg1"/>
                  </a:solidFill>
                </a:rPr>
                <a:t>Text</a:t>
              </a:r>
            </a:p>
          </p:txBody>
        </p:sp>
        <p:sp>
          <p:nvSpPr>
            <p:cNvPr id="86" name="Text Box 86">
              <a:extLst>
                <a:ext uri="{FF2B5EF4-FFF2-40B4-BE49-F238E27FC236}">
                  <a16:creationId xmlns:a16="http://schemas.microsoft.com/office/drawing/2014/main" id="{54AC1175-4AC4-43C4-BDDC-269343BE0A2F}"/>
                </a:ext>
              </a:extLst>
            </p:cNvPr>
            <p:cNvSpPr txBox="1">
              <a:spLocks noChangeArrowheads="1"/>
            </p:cNvSpPr>
            <p:nvPr/>
          </p:nvSpPr>
          <p:spPr bwMode="auto">
            <a:xfrm>
              <a:off x="1617345" y="2420645"/>
              <a:ext cx="411163" cy="255588"/>
            </a:xfrm>
            <a:prstGeom prst="rect">
              <a:avLst/>
            </a:prstGeom>
            <a:noFill/>
            <a:ln w="6350">
              <a:noFill/>
              <a:miter lim="800000"/>
              <a:headEnd/>
              <a:tailEnd/>
            </a:ln>
            <a:effectLst/>
          </p:spPr>
          <p:txBody>
            <a:bodyPr lIns="45720" rIns="45720" anchor="ctr" anchorCtr="1"/>
            <a:lstStyle/>
            <a:p>
              <a:pPr eaLnBrk="0" hangingPunct="0"/>
              <a:r>
                <a:rPr lang="en-US" sz="1100" b="1" dirty="0">
                  <a:solidFill>
                    <a:schemeClr val="bg1"/>
                  </a:solidFill>
                </a:rPr>
                <a:t>Text</a:t>
              </a:r>
            </a:p>
          </p:txBody>
        </p:sp>
      </p:grpSp>
      <p:grpSp>
        <p:nvGrpSpPr>
          <p:cNvPr id="120" name="Group 119" descr="Segment 2">
            <a:extLst>
              <a:ext uri="{FF2B5EF4-FFF2-40B4-BE49-F238E27FC236}">
                <a16:creationId xmlns:a16="http://schemas.microsoft.com/office/drawing/2014/main" id="{5BDEE00C-BF08-475A-B375-881B243ED2DE}"/>
              </a:ext>
            </a:extLst>
          </p:cNvPr>
          <p:cNvGrpSpPr/>
          <p:nvPr/>
        </p:nvGrpSpPr>
        <p:grpSpPr bwMode="auto">
          <a:xfrm>
            <a:off x="4125688" y="1763713"/>
            <a:ext cx="1860550" cy="1860550"/>
            <a:chOff x="2532063" y="1628800"/>
            <a:chExt cx="1860550" cy="1860550"/>
          </a:xfrm>
        </p:grpSpPr>
        <p:sp>
          <p:nvSpPr>
            <p:cNvPr id="121" name="Freeform 121">
              <a:extLst>
                <a:ext uri="{FF2B5EF4-FFF2-40B4-BE49-F238E27FC236}">
                  <a16:creationId xmlns:a16="http://schemas.microsoft.com/office/drawing/2014/main" id="{833D5C64-76C9-4C43-997C-2750FDDA07BB}"/>
                </a:ext>
              </a:extLst>
            </p:cNvPr>
            <p:cNvSpPr>
              <a:spLocks noChangeAspect="1"/>
            </p:cNvSpPr>
            <p:nvPr/>
          </p:nvSpPr>
          <p:spPr bwMode="auto">
            <a:xfrm>
              <a:off x="3462338" y="1628800"/>
              <a:ext cx="930275" cy="1395413"/>
            </a:xfrm>
            <a:custGeom>
              <a:avLst/>
              <a:gdLst/>
              <a:ahLst/>
              <a:cxnLst>
                <a:cxn ang="0">
                  <a:pos x="28" y="1"/>
                </a:cxn>
                <a:cxn ang="0">
                  <a:pos x="111" y="6"/>
                </a:cxn>
                <a:cxn ang="0">
                  <a:pos x="194" y="17"/>
                </a:cxn>
                <a:cxn ang="0">
                  <a:pos x="275" y="34"/>
                </a:cxn>
                <a:cxn ang="0">
                  <a:pos x="356" y="58"/>
                </a:cxn>
                <a:cxn ang="0">
                  <a:pos x="408" y="76"/>
                </a:cxn>
                <a:cxn ang="0">
                  <a:pos x="485" y="109"/>
                </a:cxn>
                <a:cxn ang="0">
                  <a:pos x="559" y="148"/>
                </a:cxn>
                <a:cxn ang="0">
                  <a:pos x="631" y="191"/>
                </a:cxn>
                <a:cxn ang="0">
                  <a:pos x="699" y="240"/>
                </a:cxn>
                <a:cxn ang="0">
                  <a:pos x="762" y="294"/>
                </a:cxn>
                <a:cxn ang="0">
                  <a:pos x="803" y="333"/>
                </a:cxn>
                <a:cxn ang="0">
                  <a:pos x="860" y="394"/>
                </a:cxn>
                <a:cxn ang="0">
                  <a:pos x="912" y="459"/>
                </a:cxn>
                <a:cxn ang="0">
                  <a:pos x="959" y="528"/>
                </a:cxn>
                <a:cxn ang="0">
                  <a:pos x="1001" y="601"/>
                </a:cxn>
                <a:cxn ang="0">
                  <a:pos x="1037" y="676"/>
                </a:cxn>
                <a:cxn ang="0">
                  <a:pos x="1068" y="753"/>
                </a:cxn>
                <a:cxn ang="0">
                  <a:pos x="1094" y="833"/>
                </a:cxn>
                <a:cxn ang="0">
                  <a:pos x="1113" y="914"/>
                </a:cxn>
                <a:cxn ang="0">
                  <a:pos x="1127" y="996"/>
                </a:cxn>
                <a:cxn ang="0">
                  <a:pos x="1134" y="1080"/>
                </a:cxn>
                <a:cxn ang="0">
                  <a:pos x="1134" y="1172"/>
                </a:cxn>
                <a:cxn ang="0">
                  <a:pos x="1125" y="1283"/>
                </a:cxn>
                <a:cxn ang="0">
                  <a:pos x="1113" y="1357"/>
                </a:cxn>
                <a:cxn ang="0">
                  <a:pos x="1091" y="1447"/>
                </a:cxn>
                <a:cxn ang="0">
                  <a:pos x="1062" y="1535"/>
                </a:cxn>
                <a:cxn ang="0">
                  <a:pos x="1018" y="1637"/>
                </a:cxn>
                <a:cxn ang="0">
                  <a:pos x="983" y="1702"/>
                </a:cxn>
                <a:cxn ang="0">
                  <a:pos x="309" y="1276"/>
                </a:cxn>
                <a:cxn ang="0">
                  <a:pos x="322" y="1246"/>
                </a:cxn>
                <a:cxn ang="0">
                  <a:pos x="331" y="1214"/>
                </a:cxn>
                <a:cxn ang="0">
                  <a:pos x="337" y="1181"/>
                </a:cxn>
                <a:cxn ang="0">
                  <a:pos x="340" y="1147"/>
                </a:cxn>
                <a:cxn ang="0">
                  <a:pos x="338" y="1101"/>
                </a:cxn>
                <a:cxn ang="0">
                  <a:pos x="335" y="1075"/>
                </a:cxn>
                <a:cxn ang="0">
                  <a:pos x="325" y="1034"/>
                </a:cxn>
                <a:cxn ang="0">
                  <a:pos x="306" y="988"/>
                </a:cxn>
                <a:cxn ang="0">
                  <a:pos x="282" y="945"/>
                </a:cxn>
                <a:cxn ang="0">
                  <a:pos x="252" y="907"/>
                </a:cxn>
                <a:cxn ang="0">
                  <a:pos x="216" y="873"/>
                </a:cxn>
                <a:cxn ang="0">
                  <a:pos x="176" y="844"/>
                </a:cxn>
                <a:cxn ang="0">
                  <a:pos x="132" y="822"/>
                </a:cxn>
                <a:cxn ang="0">
                  <a:pos x="101" y="810"/>
                </a:cxn>
                <a:cxn ang="0">
                  <a:pos x="69" y="802"/>
                </a:cxn>
                <a:cxn ang="0">
                  <a:pos x="35" y="797"/>
                </a:cxn>
              </a:cxnLst>
              <a:rect l="0" t="0" r="r" b="b"/>
              <a:pathLst>
                <a:path w="1135" h="1702">
                  <a:moveTo>
                    <a:pt x="0" y="795"/>
                  </a:moveTo>
                  <a:lnTo>
                    <a:pt x="0" y="0"/>
                  </a:lnTo>
                  <a:lnTo>
                    <a:pt x="28" y="1"/>
                  </a:lnTo>
                  <a:lnTo>
                    <a:pt x="56" y="2"/>
                  </a:lnTo>
                  <a:lnTo>
                    <a:pt x="83" y="3"/>
                  </a:lnTo>
                  <a:lnTo>
                    <a:pt x="111" y="6"/>
                  </a:lnTo>
                  <a:lnTo>
                    <a:pt x="139" y="9"/>
                  </a:lnTo>
                  <a:lnTo>
                    <a:pt x="166" y="13"/>
                  </a:lnTo>
                  <a:lnTo>
                    <a:pt x="194" y="17"/>
                  </a:lnTo>
                  <a:lnTo>
                    <a:pt x="221" y="22"/>
                  </a:lnTo>
                  <a:lnTo>
                    <a:pt x="248" y="28"/>
                  </a:lnTo>
                  <a:lnTo>
                    <a:pt x="275" y="34"/>
                  </a:lnTo>
                  <a:lnTo>
                    <a:pt x="302" y="42"/>
                  </a:lnTo>
                  <a:lnTo>
                    <a:pt x="329" y="49"/>
                  </a:lnTo>
                  <a:lnTo>
                    <a:pt x="356" y="58"/>
                  </a:lnTo>
                  <a:lnTo>
                    <a:pt x="382" y="67"/>
                  </a:lnTo>
                  <a:lnTo>
                    <a:pt x="395" y="72"/>
                  </a:lnTo>
                  <a:lnTo>
                    <a:pt x="408" y="76"/>
                  </a:lnTo>
                  <a:lnTo>
                    <a:pt x="434" y="87"/>
                  </a:lnTo>
                  <a:lnTo>
                    <a:pt x="459" y="98"/>
                  </a:lnTo>
                  <a:lnTo>
                    <a:pt x="485" y="109"/>
                  </a:lnTo>
                  <a:lnTo>
                    <a:pt x="510" y="121"/>
                  </a:lnTo>
                  <a:lnTo>
                    <a:pt x="534" y="134"/>
                  </a:lnTo>
                  <a:lnTo>
                    <a:pt x="559" y="148"/>
                  </a:lnTo>
                  <a:lnTo>
                    <a:pt x="584" y="161"/>
                  </a:lnTo>
                  <a:lnTo>
                    <a:pt x="608" y="176"/>
                  </a:lnTo>
                  <a:lnTo>
                    <a:pt x="631" y="191"/>
                  </a:lnTo>
                  <a:lnTo>
                    <a:pt x="654" y="207"/>
                  </a:lnTo>
                  <a:lnTo>
                    <a:pt x="677" y="223"/>
                  </a:lnTo>
                  <a:lnTo>
                    <a:pt x="699" y="240"/>
                  </a:lnTo>
                  <a:lnTo>
                    <a:pt x="720" y="257"/>
                  </a:lnTo>
                  <a:lnTo>
                    <a:pt x="742" y="275"/>
                  </a:lnTo>
                  <a:lnTo>
                    <a:pt x="762" y="294"/>
                  </a:lnTo>
                  <a:lnTo>
                    <a:pt x="773" y="303"/>
                  </a:lnTo>
                  <a:lnTo>
                    <a:pt x="783" y="313"/>
                  </a:lnTo>
                  <a:lnTo>
                    <a:pt x="803" y="333"/>
                  </a:lnTo>
                  <a:lnTo>
                    <a:pt x="822" y="352"/>
                  </a:lnTo>
                  <a:lnTo>
                    <a:pt x="841" y="373"/>
                  </a:lnTo>
                  <a:lnTo>
                    <a:pt x="860" y="394"/>
                  </a:lnTo>
                  <a:lnTo>
                    <a:pt x="877" y="415"/>
                  </a:lnTo>
                  <a:lnTo>
                    <a:pt x="895" y="437"/>
                  </a:lnTo>
                  <a:lnTo>
                    <a:pt x="912" y="459"/>
                  </a:lnTo>
                  <a:lnTo>
                    <a:pt x="928" y="481"/>
                  </a:lnTo>
                  <a:lnTo>
                    <a:pt x="944" y="504"/>
                  </a:lnTo>
                  <a:lnTo>
                    <a:pt x="959" y="528"/>
                  </a:lnTo>
                  <a:lnTo>
                    <a:pt x="973" y="551"/>
                  </a:lnTo>
                  <a:lnTo>
                    <a:pt x="987" y="576"/>
                  </a:lnTo>
                  <a:lnTo>
                    <a:pt x="1001" y="601"/>
                  </a:lnTo>
                  <a:lnTo>
                    <a:pt x="1014" y="626"/>
                  </a:lnTo>
                  <a:lnTo>
                    <a:pt x="1026" y="651"/>
                  </a:lnTo>
                  <a:lnTo>
                    <a:pt x="1037" y="676"/>
                  </a:lnTo>
                  <a:lnTo>
                    <a:pt x="1048" y="701"/>
                  </a:lnTo>
                  <a:lnTo>
                    <a:pt x="1059" y="727"/>
                  </a:lnTo>
                  <a:lnTo>
                    <a:pt x="1068" y="753"/>
                  </a:lnTo>
                  <a:lnTo>
                    <a:pt x="1078" y="780"/>
                  </a:lnTo>
                  <a:lnTo>
                    <a:pt x="1086" y="806"/>
                  </a:lnTo>
                  <a:lnTo>
                    <a:pt x="1094" y="833"/>
                  </a:lnTo>
                  <a:lnTo>
                    <a:pt x="1101" y="860"/>
                  </a:lnTo>
                  <a:lnTo>
                    <a:pt x="1107" y="887"/>
                  </a:lnTo>
                  <a:lnTo>
                    <a:pt x="1113" y="914"/>
                  </a:lnTo>
                  <a:lnTo>
                    <a:pt x="1118" y="941"/>
                  </a:lnTo>
                  <a:lnTo>
                    <a:pt x="1123" y="969"/>
                  </a:lnTo>
                  <a:lnTo>
                    <a:pt x="1127" y="996"/>
                  </a:lnTo>
                  <a:lnTo>
                    <a:pt x="1130" y="1024"/>
                  </a:lnTo>
                  <a:lnTo>
                    <a:pt x="1132" y="1052"/>
                  </a:lnTo>
                  <a:lnTo>
                    <a:pt x="1134" y="1080"/>
                  </a:lnTo>
                  <a:lnTo>
                    <a:pt x="1134" y="1107"/>
                  </a:lnTo>
                  <a:lnTo>
                    <a:pt x="1135" y="1135"/>
                  </a:lnTo>
                  <a:lnTo>
                    <a:pt x="1134" y="1172"/>
                  </a:lnTo>
                  <a:lnTo>
                    <a:pt x="1132" y="1209"/>
                  </a:lnTo>
                  <a:lnTo>
                    <a:pt x="1129" y="1246"/>
                  </a:lnTo>
                  <a:lnTo>
                    <a:pt x="1125" y="1283"/>
                  </a:lnTo>
                  <a:lnTo>
                    <a:pt x="1122" y="1302"/>
                  </a:lnTo>
                  <a:lnTo>
                    <a:pt x="1120" y="1320"/>
                  </a:lnTo>
                  <a:lnTo>
                    <a:pt x="1113" y="1357"/>
                  </a:lnTo>
                  <a:lnTo>
                    <a:pt x="1105" y="1393"/>
                  </a:lnTo>
                  <a:lnTo>
                    <a:pt x="1096" y="1429"/>
                  </a:lnTo>
                  <a:lnTo>
                    <a:pt x="1091" y="1447"/>
                  </a:lnTo>
                  <a:lnTo>
                    <a:pt x="1086" y="1464"/>
                  </a:lnTo>
                  <a:lnTo>
                    <a:pt x="1075" y="1500"/>
                  </a:lnTo>
                  <a:lnTo>
                    <a:pt x="1062" y="1535"/>
                  </a:lnTo>
                  <a:lnTo>
                    <a:pt x="1048" y="1569"/>
                  </a:lnTo>
                  <a:lnTo>
                    <a:pt x="1034" y="1603"/>
                  </a:lnTo>
                  <a:lnTo>
                    <a:pt x="1018" y="1637"/>
                  </a:lnTo>
                  <a:lnTo>
                    <a:pt x="1001" y="1670"/>
                  </a:lnTo>
                  <a:lnTo>
                    <a:pt x="992" y="1686"/>
                  </a:lnTo>
                  <a:lnTo>
                    <a:pt x="983" y="1702"/>
                  </a:lnTo>
                  <a:lnTo>
                    <a:pt x="294" y="1305"/>
                  </a:lnTo>
                  <a:lnTo>
                    <a:pt x="305" y="1286"/>
                  </a:lnTo>
                  <a:lnTo>
                    <a:pt x="309" y="1276"/>
                  </a:lnTo>
                  <a:lnTo>
                    <a:pt x="314" y="1266"/>
                  </a:lnTo>
                  <a:lnTo>
                    <a:pt x="318" y="1256"/>
                  </a:lnTo>
                  <a:lnTo>
                    <a:pt x="322" y="1246"/>
                  </a:lnTo>
                  <a:lnTo>
                    <a:pt x="325" y="1235"/>
                  </a:lnTo>
                  <a:lnTo>
                    <a:pt x="328" y="1225"/>
                  </a:lnTo>
                  <a:lnTo>
                    <a:pt x="331" y="1214"/>
                  </a:lnTo>
                  <a:lnTo>
                    <a:pt x="333" y="1203"/>
                  </a:lnTo>
                  <a:lnTo>
                    <a:pt x="335" y="1192"/>
                  </a:lnTo>
                  <a:lnTo>
                    <a:pt x="337" y="1181"/>
                  </a:lnTo>
                  <a:lnTo>
                    <a:pt x="338" y="1170"/>
                  </a:lnTo>
                  <a:lnTo>
                    <a:pt x="339" y="1158"/>
                  </a:lnTo>
                  <a:lnTo>
                    <a:pt x="340" y="1147"/>
                  </a:lnTo>
                  <a:lnTo>
                    <a:pt x="340" y="1135"/>
                  </a:lnTo>
                  <a:lnTo>
                    <a:pt x="340" y="1118"/>
                  </a:lnTo>
                  <a:lnTo>
                    <a:pt x="338" y="1101"/>
                  </a:lnTo>
                  <a:lnTo>
                    <a:pt x="337" y="1092"/>
                  </a:lnTo>
                  <a:lnTo>
                    <a:pt x="336" y="1083"/>
                  </a:lnTo>
                  <a:lnTo>
                    <a:pt x="335" y="1075"/>
                  </a:lnTo>
                  <a:lnTo>
                    <a:pt x="333" y="1067"/>
                  </a:lnTo>
                  <a:lnTo>
                    <a:pt x="329" y="1050"/>
                  </a:lnTo>
                  <a:lnTo>
                    <a:pt x="325" y="1034"/>
                  </a:lnTo>
                  <a:lnTo>
                    <a:pt x="319" y="1018"/>
                  </a:lnTo>
                  <a:lnTo>
                    <a:pt x="313" y="1003"/>
                  </a:lnTo>
                  <a:lnTo>
                    <a:pt x="306" y="988"/>
                  </a:lnTo>
                  <a:lnTo>
                    <a:pt x="299" y="973"/>
                  </a:lnTo>
                  <a:lnTo>
                    <a:pt x="291" y="959"/>
                  </a:lnTo>
                  <a:lnTo>
                    <a:pt x="282" y="945"/>
                  </a:lnTo>
                  <a:lnTo>
                    <a:pt x="272" y="932"/>
                  </a:lnTo>
                  <a:lnTo>
                    <a:pt x="262" y="919"/>
                  </a:lnTo>
                  <a:lnTo>
                    <a:pt x="252" y="907"/>
                  </a:lnTo>
                  <a:lnTo>
                    <a:pt x="240" y="895"/>
                  </a:lnTo>
                  <a:lnTo>
                    <a:pt x="229" y="884"/>
                  </a:lnTo>
                  <a:lnTo>
                    <a:pt x="216" y="873"/>
                  </a:lnTo>
                  <a:lnTo>
                    <a:pt x="203" y="863"/>
                  </a:lnTo>
                  <a:lnTo>
                    <a:pt x="190" y="853"/>
                  </a:lnTo>
                  <a:lnTo>
                    <a:pt x="176" y="844"/>
                  </a:lnTo>
                  <a:lnTo>
                    <a:pt x="162" y="836"/>
                  </a:lnTo>
                  <a:lnTo>
                    <a:pt x="147" y="829"/>
                  </a:lnTo>
                  <a:lnTo>
                    <a:pt x="132" y="822"/>
                  </a:lnTo>
                  <a:lnTo>
                    <a:pt x="125" y="819"/>
                  </a:lnTo>
                  <a:lnTo>
                    <a:pt x="117" y="816"/>
                  </a:lnTo>
                  <a:lnTo>
                    <a:pt x="101" y="810"/>
                  </a:lnTo>
                  <a:lnTo>
                    <a:pt x="93" y="808"/>
                  </a:lnTo>
                  <a:lnTo>
                    <a:pt x="85" y="806"/>
                  </a:lnTo>
                  <a:lnTo>
                    <a:pt x="69" y="802"/>
                  </a:lnTo>
                  <a:lnTo>
                    <a:pt x="60" y="800"/>
                  </a:lnTo>
                  <a:lnTo>
                    <a:pt x="52" y="799"/>
                  </a:lnTo>
                  <a:lnTo>
                    <a:pt x="35" y="797"/>
                  </a:lnTo>
                  <a:lnTo>
                    <a:pt x="17" y="796"/>
                  </a:lnTo>
                  <a:lnTo>
                    <a:pt x="0" y="795"/>
                  </a:lnTo>
                  <a:close/>
                </a:path>
              </a:pathLst>
            </a:custGeom>
            <a:solidFill>
              <a:schemeClr val="accent3"/>
            </a:solidFill>
            <a:ln w="6350" cmpd="sng">
              <a:noFill/>
              <a:round/>
              <a:headEnd/>
              <a:tailEnd/>
            </a:ln>
          </p:spPr>
          <p:txBody>
            <a:bodyPr lIns="45720" rIns="45720" anchor="ctr" anchorCtr="1"/>
            <a:lstStyle/>
            <a:p>
              <a:endParaRPr lang="en-US" sz="1100" dirty="0"/>
            </a:p>
          </p:txBody>
        </p:sp>
        <p:sp>
          <p:nvSpPr>
            <p:cNvPr id="122" name="Freeform 122">
              <a:extLst>
                <a:ext uri="{FF2B5EF4-FFF2-40B4-BE49-F238E27FC236}">
                  <a16:creationId xmlns:a16="http://schemas.microsoft.com/office/drawing/2014/main" id="{118A779C-1C43-4C5F-A1A0-6C6081FDD8A9}"/>
                </a:ext>
              </a:extLst>
            </p:cNvPr>
            <p:cNvSpPr>
              <a:spLocks noChangeAspect="1"/>
            </p:cNvSpPr>
            <p:nvPr/>
          </p:nvSpPr>
          <p:spPr bwMode="auto">
            <a:xfrm>
              <a:off x="2655888" y="2698775"/>
              <a:ext cx="1612900" cy="790575"/>
            </a:xfrm>
            <a:custGeom>
              <a:avLst/>
              <a:gdLst/>
              <a:ahLst/>
              <a:cxnLst>
                <a:cxn ang="0">
                  <a:pos x="352" y="774"/>
                </a:cxn>
                <a:cxn ang="0">
                  <a:pos x="263" y="708"/>
                </a:cxn>
                <a:cxn ang="0">
                  <a:pos x="207" y="659"/>
                </a:cxn>
                <a:cxn ang="0">
                  <a:pos x="130" y="579"/>
                </a:cxn>
                <a:cxn ang="0">
                  <a:pos x="83" y="522"/>
                </a:cxn>
                <a:cxn ang="0">
                  <a:pos x="50" y="477"/>
                </a:cxn>
                <a:cxn ang="0">
                  <a:pos x="0" y="397"/>
                </a:cxn>
                <a:cxn ang="0">
                  <a:pos x="706" y="28"/>
                </a:cxn>
                <a:cxn ang="0">
                  <a:pos x="734" y="62"/>
                </a:cxn>
                <a:cxn ang="0">
                  <a:pos x="757" y="85"/>
                </a:cxn>
                <a:cxn ang="0">
                  <a:pos x="810" y="124"/>
                </a:cxn>
                <a:cxn ang="0">
                  <a:pos x="840" y="139"/>
                </a:cxn>
                <a:cxn ang="0">
                  <a:pos x="871" y="151"/>
                </a:cxn>
                <a:cxn ang="0">
                  <a:pos x="903" y="161"/>
                </a:cxn>
                <a:cxn ang="0">
                  <a:pos x="948" y="169"/>
                </a:cxn>
                <a:cxn ang="0">
                  <a:pos x="1006" y="170"/>
                </a:cxn>
                <a:cxn ang="0">
                  <a:pos x="1052" y="163"/>
                </a:cxn>
                <a:cxn ang="0">
                  <a:pos x="1095" y="151"/>
                </a:cxn>
                <a:cxn ang="0">
                  <a:pos x="1146" y="129"/>
                </a:cxn>
                <a:cxn ang="0">
                  <a:pos x="1183" y="105"/>
                </a:cxn>
                <a:cxn ang="0">
                  <a:pos x="1208" y="85"/>
                </a:cxn>
                <a:cxn ang="0">
                  <a:pos x="1239" y="54"/>
                </a:cxn>
                <a:cxn ang="0">
                  <a:pos x="1260" y="28"/>
                </a:cxn>
                <a:cxn ang="0">
                  <a:pos x="1277" y="0"/>
                </a:cxn>
                <a:cxn ang="0">
                  <a:pos x="1937" y="446"/>
                </a:cxn>
                <a:cxn ang="0">
                  <a:pos x="1889" y="514"/>
                </a:cxn>
                <a:cxn ang="0">
                  <a:pos x="1836" y="579"/>
                </a:cxn>
                <a:cxn ang="0">
                  <a:pos x="1779" y="640"/>
                </a:cxn>
                <a:cxn ang="0">
                  <a:pos x="1717" y="696"/>
                </a:cxn>
                <a:cxn ang="0">
                  <a:pos x="1652" y="748"/>
                </a:cxn>
                <a:cxn ang="0">
                  <a:pos x="1583" y="794"/>
                </a:cxn>
                <a:cxn ang="0">
                  <a:pos x="1509" y="836"/>
                </a:cxn>
                <a:cxn ang="0">
                  <a:pos x="1434" y="872"/>
                </a:cxn>
                <a:cxn ang="0">
                  <a:pos x="1356" y="902"/>
                </a:cxn>
                <a:cxn ang="0">
                  <a:pos x="1276" y="927"/>
                </a:cxn>
                <a:cxn ang="0">
                  <a:pos x="1195" y="945"/>
                </a:cxn>
                <a:cxn ang="0">
                  <a:pos x="1113" y="958"/>
                </a:cxn>
                <a:cxn ang="0">
                  <a:pos x="1029" y="964"/>
                </a:cxn>
                <a:cxn ang="0">
                  <a:pos x="946" y="965"/>
                </a:cxn>
                <a:cxn ang="0">
                  <a:pos x="863" y="959"/>
                </a:cxn>
                <a:cxn ang="0">
                  <a:pos x="780" y="947"/>
                </a:cxn>
                <a:cxn ang="0">
                  <a:pos x="698" y="929"/>
                </a:cxn>
                <a:cxn ang="0">
                  <a:pos x="619" y="905"/>
                </a:cxn>
                <a:cxn ang="0">
                  <a:pos x="541" y="876"/>
                </a:cxn>
                <a:cxn ang="0">
                  <a:pos x="465" y="840"/>
                </a:cxn>
              </a:cxnLst>
              <a:rect l="0" t="0" r="r" b="b"/>
              <a:pathLst>
                <a:path w="1966" h="965">
                  <a:moveTo>
                    <a:pt x="416" y="813"/>
                  </a:moveTo>
                  <a:lnTo>
                    <a:pt x="383" y="794"/>
                  </a:lnTo>
                  <a:lnTo>
                    <a:pt x="352" y="774"/>
                  </a:lnTo>
                  <a:lnTo>
                    <a:pt x="322" y="753"/>
                  </a:lnTo>
                  <a:lnTo>
                    <a:pt x="292" y="731"/>
                  </a:lnTo>
                  <a:lnTo>
                    <a:pt x="263" y="708"/>
                  </a:lnTo>
                  <a:lnTo>
                    <a:pt x="249" y="696"/>
                  </a:lnTo>
                  <a:lnTo>
                    <a:pt x="234" y="684"/>
                  </a:lnTo>
                  <a:lnTo>
                    <a:pt x="207" y="659"/>
                  </a:lnTo>
                  <a:lnTo>
                    <a:pt x="180" y="633"/>
                  </a:lnTo>
                  <a:lnTo>
                    <a:pt x="155" y="606"/>
                  </a:lnTo>
                  <a:lnTo>
                    <a:pt x="130" y="579"/>
                  </a:lnTo>
                  <a:lnTo>
                    <a:pt x="117" y="565"/>
                  </a:lnTo>
                  <a:lnTo>
                    <a:pt x="106" y="551"/>
                  </a:lnTo>
                  <a:lnTo>
                    <a:pt x="83" y="522"/>
                  </a:lnTo>
                  <a:lnTo>
                    <a:pt x="71" y="507"/>
                  </a:lnTo>
                  <a:lnTo>
                    <a:pt x="60" y="492"/>
                  </a:lnTo>
                  <a:lnTo>
                    <a:pt x="50" y="477"/>
                  </a:lnTo>
                  <a:lnTo>
                    <a:pt x="39" y="461"/>
                  </a:lnTo>
                  <a:lnTo>
                    <a:pt x="19" y="430"/>
                  </a:lnTo>
                  <a:lnTo>
                    <a:pt x="0" y="397"/>
                  </a:lnTo>
                  <a:lnTo>
                    <a:pt x="688" y="0"/>
                  </a:lnTo>
                  <a:lnTo>
                    <a:pt x="700" y="19"/>
                  </a:lnTo>
                  <a:lnTo>
                    <a:pt x="706" y="28"/>
                  </a:lnTo>
                  <a:lnTo>
                    <a:pt x="713" y="37"/>
                  </a:lnTo>
                  <a:lnTo>
                    <a:pt x="727" y="54"/>
                  </a:lnTo>
                  <a:lnTo>
                    <a:pt x="734" y="62"/>
                  </a:lnTo>
                  <a:lnTo>
                    <a:pt x="741" y="70"/>
                  </a:lnTo>
                  <a:lnTo>
                    <a:pt x="749" y="78"/>
                  </a:lnTo>
                  <a:lnTo>
                    <a:pt x="757" y="85"/>
                  </a:lnTo>
                  <a:lnTo>
                    <a:pt x="774" y="99"/>
                  </a:lnTo>
                  <a:lnTo>
                    <a:pt x="792" y="112"/>
                  </a:lnTo>
                  <a:lnTo>
                    <a:pt x="810" y="124"/>
                  </a:lnTo>
                  <a:lnTo>
                    <a:pt x="820" y="129"/>
                  </a:lnTo>
                  <a:lnTo>
                    <a:pt x="830" y="134"/>
                  </a:lnTo>
                  <a:lnTo>
                    <a:pt x="840" y="139"/>
                  </a:lnTo>
                  <a:lnTo>
                    <a:pt x="850" y="143"/>
                  </a:lnTo>
                  <a:lnTo>
                    <a:pt x="860" y="148"/>
                  </a:lnTo>
                  <a:lnTo>
                    <a:pt x="871" y="151"/>
                  </a:lnTo>
                  <a:lnTo>
                    <a:pt x="881" y="155"/>
                  </a:lnTo>
                  <a:lnTo>
                    <a:pt x="892" y="158"/>
                  </a:lnTo>
                  <a:lnTo>
                    <a:pt x="903" y="161"/>
                  </a:lnTo>
                  <a:lnTo>
                    <a:pt x="914" y="163"/>
                  </a:lnTo>
                  <a:lnTo>
                    <a:pt x="936" y="167"/>
                  </a:lnTo>
                  <a:lnTo>
                    <a:pt x="948" y="169"/>
                  </a:lnTo>
                  <a:lnTo>
                    <a:pt x="959" y="170"/>
                  </a:lnTo>
                  <a:lnTo>
                    <a:pt x="983" y="170"/>
                  </a:lnTo>
                  <a:lnTo>
                    <a:pt x="1006" y="170"/>
                  </a:lnTo>
                  <a:lnTo>
                    <a:pt x="1018" y="169"/>
                  </a:lnTo>
                  <a:lnTo>
                    <a:pt x="1029" y="167"/>
                  </a:lnTo>
                  <a:lnTo>
                    <a:pt x="1052" y="163"/>
                  </a:lnTo>
                  <a:lnTo>
                    <a:pt x="1063" y="161"/>
                  </a:lnTo>
                  <a:lnTo>
                    <a:pt x="1074" y="158"/>
                  </a:lnTo>
                  <a:lnTo>
                    <a:pt x="1095" y="151"/>
                  </a:lnTo>
                  <a:lnTo>
                    <a:pt x="1116" y="143"/>
                  </a:lnTo>
                  <a:lnTo>
                    <a:pt x="1136" y="134"/>
                  </a:lnTo>
                  <a:lnTo>
                    <a:pt x="1146" y="129"/>
                  </a:lnTo>
                  <a:lnTo>
                    <a:pt x="1155" y="124"/>
                  </a:lnTo>
                  <a:lnTo>
                    <a:pt x="1174" y="112"/>
                  </a:lnTo>
                  <a:lnTo>
                    <a:pt x="1183" y="105"/>
                  </a:lnTo>
                  <a:lnTo>
                    <a:pt x="1192" y="99"/>
                  </a:lnTo>
                  <a:lnTo>
                    <a:pt x="1200" y="92"/>
                  </a:lnTo>
                  <a:lnTo>
                    <a:pt x="1208" y="85"/>
                  </a:lnTo>
                  <a:lnTo>
                    <a:pt x="1217" y="77"/>
                  </a:lnTo>
                  <a:lnTo>
                    <a:pt x="1224" y="70"/>
                  </a:lnTo>
                  <a:lnTo>
                    <a:pt x="1239" y="54"/>
                  </a:lnTo>
                  <a:lnTo>
                    <a:pt x="1246" y="45"/>
                  </a:lnTo>
                  <a:lnTo>
                    <a:pt x="1253" y="37"/>
                  </a:lnTo>
                  <a:lnTo>
                    <a:pt x="1260" y="28"/>
                  </a:lnTo>
                  <a:lnTo>
                    <a:pt x="1266" y="19"/>
                  </a:lnTo>
                  <a:lnTo>
                    <a:pt x="1272" y="10"/>
                  </a:lnTo>
                  <a:lnTo>
                    <a:pt x="1277" y="0"/>
                  </a:lnTo>
                  <a:lnTo>
                    <a:pt x="1966" y="397"/>
                  </a:lnTo>
                  <a:lnTo>
                    <a:pt x="1952" y="422"/>
                  </a:lnTo>
                  <a:lnTo>
                    <a:pt x="1937" y="446"/>
                  </a:lnTo>
                  <a:lnTo>
                    <a:pt x="1921" y="469"/>
                  </a:lnTo>
                  <a:lnTo>
                    <a:pt x="1906" y="492"/>
                  </a:lnTo>
                  <a:lnTo>
                    <a:pt x="1889" y="514"/>
                  </a:lnTo>
                  <a:lnTo>
                    <a:pt x="1872" y="536"/>
                  </a:lnTo>
                  <a:lnTo>
                    <a:pt x="1854" y="558"/>
                  </a:lnTo>
                  <a:lnTo>
                    <a:pt x="1836" y="579"/>
                  </a:lnTo>
                  <a:lnTo>
                    <a:pt x="1818" y="600"/>
                  </a:lnTo>
                  <a:lnTo>
                    <a:pt x="1799" y="620"/>
                  </a:lnTo>
                  <a:lnTo>
                    <a:pt x="1779" y="640"/>
                  </a:lnTo>
                  <a:lnTo>
                    <a:pt x="1759" y="659"/>
                  </a:lnTo>
                  <a:lnTo>
                    <a:pt x="1738" y="678"/>
                  </a:lnTo>
                  <a:lnTo>
                    <a:pt x="1717" y="696"/>
                  </a:lnTo>
                  <a:lnTo>
                    <a:pt x="1696" y="714"/>
                  </a:lnTo>
                  <a:lnTo>
                    <a:pt x="1674" y="731"/>
                  </a:lnTo>
                  <a:lnTo>
                    <a:pt x="1652" y="748"/>
                  </a:lnTo>
                  <a:lnTo>
                    <a:pt x="1629" y="764"/>
                  </a:lnTo>
                  <a:lnTo>
                    <a:pt x="1606" y="779"/>
                  </a:lnTo>
                  <a:lnTo>
                    <a:pt x="1583" y="794"/>
                  </a:lnTo>
                  <a:lnTo>
                    <a:pt x="1559" y="809"/>
                  </a:lnTo>
                  <a:lnTo>
                    <a:pt x="1534" y="823"/>
                  </a:lnTo>
                  <a:lnTo>
                    <a:pt x="1509" y="836"/>
                  </a:lnTo>
                  <a:lnTo>
                    <a:pt x="1485" y="849"/>
                  </a:lnTo>
                  <a:lnTo>
                    <a:pt x="1460" y="861"/>
                  </a:lnTo>
                  <a:lnTo>
                    <a:pt x="1434" y="872"/>
                  </a:lnTo>
                  <a:lnTo>
                    <a:pt x="1409" y="883"/>
                  </a:lnTo>
                  <a:lnTo>
                    <a:pt x="1383" y="893"/>
                  </a:lnTo>
                  <a:lnTo>
                    <a:pt x="1356" y="902"/>
                  </a:lnTo>
                  <a:lnTo>
                    <a:pt x="1330" y="911"/>
                  </a:lnTo>
                  <a:lnTo>
                    <a:pt x="1303" y="919"/>
                  </a:lnTo>
                  <a:lnTo>
                    <a:pt x="1276" y="927"/>
                  </a:lnTo>
                  <a:lnTo>
                    <a:pt x="1249" y="933"/>
                  </a:lnTo>
                  <a:lnTo>
                    <a:pt x="1222" y="940"/>
                  </a:lnTo>
                  <a:lnTo>
                    <a:pt x="1195" y="945"/>
                  </a:lnTo>
                  <a:lnTo>
                    <a:pt x="1168" y="950"/>
                  </a:lnTo>
                  <a:lnTo>
                    <a:pt x="1140" y="954"/>
                  </a:lnTo>
                  <a:lnTo>
                    <a:pt x="1113" y="958"/>
                  </a:lnTo>
                  <a:lnTo>
                    <a:pt x="1085" y="961"/>
                  </a:lnTo>
                  <a:lnTo>
                    <a:pt x="1057" y="963"/>
                  </a:lnTo>
                  <a:lnTo>
                    <a:pt x="1029" y="964"/>
                  </a:lnTo>
                  <a:lnTo>
                    <a:pt x="1002" y="965"/>
                  </a:lnTo>
                  <a:lnTo>
                    <a:pt x="974" y="965"/>
                  </a:lnTo>
                  <a:lnTo>
                    <a:pt x="946" y="965"/>
                  </a:lnTo>
                  <a:lnTo>
                    <a:pt x="918" y="963"/>
                  </a:lnTo>
                  <a:lnTo>
                    <a:pt x="890" y="961"/>
                  </a:lnTo>
                  <a:lnTo>
                    <a:pt x="863" y="959"/>
                  </a:lnTo>
                  <a:lnTo>
                    <a:pt x="835" y="955"/>
                  </a:lnTo>
                  <a:lnTo>
                    <a:pt x="807" y="952"/>
                  </a:lnTo>
                  <a:lnTo>
                    <a:pt x="780" y="947"/>
                  </a:lnTo>
                  <a:lnTo>
                    <a:pt x="753" y="942"/>
                  </a:lnTo>
                  <a:lnTo>
                    <a:pt x="726" y="936"/>
                  </a:lnTo>
                  <a:lnTo>
                    <a:pt x="698" y="929"/>
                  </a:lnTo>
                  <a:lnTo>
                    <a:pt x="672" y="922"/>
                  </a:lnTo>
                  <a:lnTo>
                    <a:pt x="645" y="914"/>
                  </a:lnTo>
                  <a:lnTo>
                    <a:pt x="619" y="905"/>
                  </a:lnTo>
                  <a:lnTo>
                    <a:pt x="592" y="896"/>
                  </a:lnTo>
                  <a:lnTo>
                    <a:pt x="566" y="886"/>
                  </a:lnTo>
                  <a:lnTo>
                    <a:pt x="541" y="876"/>
                  </a:lnTo>
                  <a:lnTo>
                    <a:pt x="515" y="865"/>
                  </a:lnTo>
                  <a:lnTo>
                    <a:pt x="490" y="853"/>
                  </a:lnTo>
                  <a:lnTo>
                    <a:pt x="465" y="840"/>
                  </a:lnTo>
                  <a:lnTo>
                    <a:pt x="440" y="827"/>
                  </a:lnTo>
                  <a:lnTo>
                    <a:pt x="416" y="813"/>
                  </a:lnTo>
                  <a:close/>
                </a:path>
              </a:pathLst>
            </a:custGeom>
            <a:solidFill>
              <a:schemeClr val="accent2"/>
            </a:solidFill>
            <a:ln w="6350" cmpd="sng">
              <a:noFill/>
              <a:round/>
              <a:headEnd/>
              <a:tailEnd/>
            </a:ln>
          </p:spPr>
          <p:txBody>
            <a:bodyPr lIns="45720" rIns="45720" anchor="ctr" anchorCtr="1"/>
            <a:lstStyle/>
            <a:p>
              <a:endParaRPr lang="en-US" sz="1100"/>
            </a:p>
          </p:txBody>
        </p:sp>
        <p:sp>
          <p:nvSpPr>
            <p:cNvPr id="123" name="Freeform 123">
              <a:extLst>
                <a:ext uri="{FF2B5EF4-FFF2-40B4-BE49-F238E27FC236}">
                  <a16:creationId xmlns:a16="http://schemas.microsoft.com/office/drawing/2014/main" id="{EA4FED73-AFAB-4086-A50C-146BCE8FC241}"/>
                </a:ext>
              </a:extLst>
            </p:cNvPr>
            <p:cNvSpPr>
              <a:spLocks noChangeAspect="1"/>
            </p:cNvSpPr>
            <p:nvPr/>
          </p:nvSpPr>
          <p:spPr bwMode="auto">
            <a:xfrm>
              <a:off x="2532063" y="1628800"/>
              <a:ext cx="930275" cy="1395413"/>
            </a:xfrm>
            <a:custGeom>
              <a:avLst/>
              <a:gdLst/>
              <a:ahLst/>
              <a:cxnLst>
                <a:cxn ang="0">
                  <a:pos x="139" y="1678"/>
                </a:cxn>
                <a:cxn ang="0">
                  <a:pos x="101" y="1603"/>
                </a:cxn>
                <a:cxn ang="0">
                  <a:pos x="70" y="1526"/>
                </a:cxn>
                <a:cxn ang="0">
                  <a:pos x="44" y="1447"/>
                </a:cxn>
                <a:cxn ang="0">
                  <a:pos x="24" y="1365"/>
                </a:cxn>
                <a:cxn ang="0">
                  <a:pos x="10" y="1283"/>
                </a:cxn>
                <a:cxn ang="0">
                  <a:pos x="2" y="1200"/>
                </a:cxn>
                <a:cxn ang="0">
                  <a:pos x="0" y="1117"/>
                </a:cxn>
                <a:cxn ang="0">
                  <a:pos x="5" y="1033"/>
                </a:cxn>
                <a:cxn ang="0">
                  <a:pos x="15" y="951"/>
                </a:cxn>
                <a:cxn ang="0">
                  <a:pos x="32" y="869"/>
                </a:cxn>
                <a:cxn ang="0">
                  <a:pos x="51" y="802"/>
                </a:cxn>
                <a:cxn ang="0">
                  <a:pos x="73" y="736"/>
                </a:cxn>
                <a:cxn ang="0">
                  <a:pos x="105" y="659"/>
                </a:cxn>
                <a:cxn ang="0">
                  <a:pos x="143" y="584"/>
                </a:cxn>
                <a:cxn ang="0">
                  <a:pos x="186" y="512"/>
                </a:cxn>
                <a:cxn ang="0">
                  <a:pos x="235" y="444"/>
                </a:cxn>
                <a:cxn ang="0">
                  <a:pos x="288" y="380"/>
                </a:cxn>
                <a:cxn ang="0">
                  <a:pos x="345" y="319"/>
                </a:cxn>
                <a:cxn ang="0">
                  <a:pos x="407" y="263"/>
                </a:cxn>
                <a:cxn ang="0">
                  <a:pos x="473" y="212"/>
                </a:cxn>
                <a:cxn ang="0">
                  <a:pos x="543" y="166"/>
                </a:cxn>
                <a:cxn ang="0">
                  <a:pos x="601" y="134"/>
                </a:cxn>
                <a:cxn ang="0">
                  <a:pos x="667" y="101"/>
                </a:cxn>
                <a:cxn ang="0">
                  <a:pos x="771" y="60"/>
                </a:cxn>
                <a:cxn ang="0">
                  <a:pos x="878" y="30"/>
                </a:cxn>
                <a:cxn ang="0">
                  <a:pos x="950" y="15"/>
                </a:cxn>
                <a:cxn ang="0">
                  <a:pos x="1061" y="3"/>
                </a:cxn>
                <a:cxn ang="0">
                  <a:pos x="1117" y="0"/>
                </a:cxn>
                <a:cxn ang="0">
                  <a:pos x="1117" y="795"/>
                </a:cxn>
                <a:cxn ang="0">
                  <a:pos x="1083" y="799"/>
                </a:cxn>
                <a:cxn ang="0">
                  <a:pos x="1050" y="806"/>
                </a:cxn>
                <a:cxn ang="0">
                  <a:pos x="1003" y="822"/>
                </a:cxn>
                <a:cxn ang="0">
                  <a:pos x="959" y="844"/>
                </a:cxn>
                <a:cxn ang="0">
                  <a:pos x="919" y="873"/>
                </a:cxn>
                <a:cxn ang="0">
                  <a:pos x="883" y="906"/>
                </a:cxn>
                <a:cxn ang="0">
                  <a:pos x="853" y="945"/>
                </a:cxn>
                <a:cxn ang="0">
                  <a:pos x="828" y="988"/>
                </a:cxn>
                <a:cxn ang="0">
                  <a:pos x="815" y="1018"/>
                </a:cxn>
                <a:cxn ang="0">
                  <a:pos x="806" y="1050"/>
                </a:cxn>
                <a:cxn ang="0">
                  <a:pos x="799" y="1083"/>
                </a:cxn>
                <a:cxn ang="0">
                  <a:pos x="795" y="1135"/>
                </a:cxn>
                <a:cxn ang="0">
                  <a:pos x="798" y="1181"/>
                </a:cxn>
                <a:cxn ang="0">
                  <a:pos x="807" y="1225"/>
                </a:cxn>
                <a:cxn ang="0">
                  <a:pos x="821" y="1266"/>
                </a:cxn>
                <a:cxn ang="0">
                  <a:pos x="840" y="1305"/>
                </a:cxn>
              </a:cxnLst>
              <a:rect l="0" t="0" r="r" b="b"/>
              <a:pathLst>
                <a:path w="1135" h="1702">
                  <a:moveTo>
                    <a:pt x="840" y="1305"/>
                  </a:moveTo>
                  <a:lnTo>
                    <a:pt x="152" y="1702"/>
                  </a:lnTo>
                  <a:lnTo>
                    <a:pt x="139" y="1678"/>
                  </a:lnTo>
                  <a:lnTo>
                    <a:pt x="126" y="1653"/>
                  </a:lnTo>
                  <a:lnTo>
                    <a:pt x="113" y="1628"/>
                  </a:lnTo>
                  <a:lnTo>
                    <a:pt x="101" y="1603"/>
                  </a:lnTo>
                  <a:lnTo>
                    <a:pt x="90" y="1578"/>
                  </a:lnTo>
                  <a:lnTo>
                    <a:pt x="80" y="1552"/>
                  </a:lnTo>
                  <a:lnTo>
                    <a:pt x="70" y="1526"/>
                  </a:lnTo>
                  <a:lnTo>
                    <a:pt x="61" y="1500"/>
                  </a:lnTo>
                  <a:lnTo>
                    <a:pt x="52" y="1473"/>
                  </a:lnTo>
                  <a:lnTo>
                    <a:pt x="44" y="1447"/>
                  </a:lnTo>
                  <a:lnTo>
                    <a:pt x="37" y="1420"/>
                  </a:lnTo>
                  <a:lnTo>
                    <a:pt x="30" y="1393"/>
                  </a:lnTo>
                  <a:lnTo>
                    <a:pt x="24" y="1365"/>
                  </a:lnTo>
                  <a:lnTo>
                    <a:pt x="19" y="1338"/>
                  </a:lnTo>
                  <a:lnTo>
                    <a:pt x="14" y="1311"/>
                  </a:lnTo>
                  <a:lnTo>
                    <a:pt x="10" y="1283"/>
                  </a:lnTo>
                  <a:lnTo>
                    <a:pt x="7" y="1256"/>
                  </a:lnTo>
                  <a:lnTo>
                    <a:pt x="4" y="1228"/>
                  </a:lnTo>
                  <a:lnTo>
                    <a:pt x="2" y="1200"/>
                  </a:lnTo>
                  <a:lnTo>
                    <a:pt x="1" y="1172"/>
                  </a:lnTo>
                  <a:lnTo>
                    <a:pt x="0" y="1145"/>
                  </a:lnTo>
                  <a:lnTo>
                    <a:pt x="0" y="1117"/>
                  </a:lnTo>
                  <a:lnTo>
                    <a:pt x="1" y="1089"/>
                  </a:lnTo>
                  <a:lnTo>
                    <a:pt x="2" y="1061"/>
                  </a:lnTo>
                  <a:lnTo>
                    <a:pt x="5" y="1033"/>
                  </a:lnTo>
                  <a:lnTo>
                    <a:pt x="7" y="1006"/>
                  </a:lnTo>
                  <a:lnTo>
                    <a:pt x="11" y="978"/>
                  </a:lnTo>
                  <a:lnTo>
                    <a:pt x="15" y="951"/>
                  </a:lnTo>
                  <a:lnTo>
                    <a:pt x="20" y="923"/>
                  </a:lnTo>
                  <a:lnTo>
                    <a:pt x="26" y="896"/>
                  </a:lnTo>
                  <a:lnTo>
                    <a:pt x="32" y="869"/>
                  </a:lnTo>
                  <a:lnTo>
                    <a:pt x="39" y="842"/>
                  </a:lnTo>
                  <a:lnTo>
                    <a:pt x="47" y="815"/>
                  </a:lnTo>
                  <a:lnTo>
                    <a:pt x="51" y="802"/>
                  </a:lnTo>
                  <a:lnTo>
                    <a:pt x="55" y="788"/>
                  </a:lnTo>
                  <a:lnTo>
                    <a:pt x="64" y="762"/>
                  </a:lnTo>
                  <a:lnTo>
                    <a:pt x="73" y="736"/>
                  </a:lnTo>
                  <a:lnTo>
                    <a:pt x="83" y="710"/>
                  </a:lnTo>
                  <a:lnTo>
                    <a:pt x="94" y="684"/>
                  </a:lnTo>
                  <a:lnTo>
                    <a:pt x="105" y="659"/>
                  </a:lnTo>
                  <a:lnTo>
                    <a:pt x="117" y="634"/>
                  </a:lnTo>
                  <a:lnTo>
                    <a:pt x="130" y="609"/>
                  </a:lnTo>
                  <a:lnTo>
                    <a:pt x="143" y="584"/>
                  </a:lnTo>
                  <a:lnTo>
                    <a:pt x="157" y="559"/>
                  </a:lnTo>
                  <a:lnTo>
                    <a:pt x="171" y="535"/>
                  </a:lnTo>
                  <a:lnTo>
                    <a:pt x="186" y="512"/>
                  </a:lnTo>
                  <a:lnTo>
                    <a:pt x="202" y="489"/>
                  </a:lnTo>
                  <a:lnTo>
                    <a:pt x="218" y="466"/>
                  </a:lnTo>
                  <a:lnTo>
                    <a:pt x="235" y="444"/>
                  </a:lnTo>
                  <a:lnTo>
                    <a:pt x="252" y="422"/>
                  </a:lnTo>
                  <a:lnTo>
                    <a:pt x="270" y="401"/>
                  </a:lnTo>
                  <a:lnTo>
                    <a:pt x="288" y="380"/>
                  </a:lnTo>
                  <a:lnTo>
                    <a:pt x="306" y="359"/>
                  </a:lnTo>
                  <a:lnTo>
                    <a:pt x="326" y="339"/>
                  </a:lnTo>
                  <a:lnTo>
                    <a:pt x="345" y="319"/>
                  </a:lnTo>
                  <a:lnTo>
                    <a:pt x="366" y="300"/>
                  </a:lnTo>
                  <a:lnTo>
                    <a:pt x="386" y="281"/>
                  </a:lnTo>
                  <a:lnTo>
                    <a:pt x="407" y="263"/>
                  </a:lnTo>
                  <a:lnTo>
                    <a:pt x="429" y="246"/>
                  </a:lnTo>
                  <a:lnTo>
                    <a:pt x="451" y="229"/>
                  </a:lnTo>
                  <a:lnTo>
                    <a:pt x="473" y="212"/>
                  </a:lnTo>
                  <a:lnTo>
                    <a:pt x="496" y="196"/>
                  </a:lnTo>
                  <a:lnTo>
                    <a:pt x="520" y="181"/>
                  </a:lnTo>
                  <a:lnTo>
                    <a:pt x="543" y="166"/>
                  </a:lnTo>
                  <a:lnTo>
                    <a:pt x="568" y="152"/>
                  </a:lnTo>
                  <a:lnTo>
                    <a:pt x="584" y="143"/>
                  </a:lnTo>
                  <a:lnTo>
                    <a:pt x="601" y="134"/>
                  </a:lnTo>
                  <a:lnTo>
                    <a:pt x="634" y="117"/>
                  </a:lnTo>
                  <a:lnTo>
                    <a:pt x="650" y="109"/>
                  </a:lnTo>
                  <a:lnTo>
                    <a:pt x="667" y="101"/>
                  </a:lnTo>
                  <a:lnTo>
                    <a:pt x="701" y="87"/>
                  </a:lnTo>
                  <a:lnTo>
                    <a:pt x="736" y="73"/>
                  </a:lnTo>
                  <a:lnTo>
                    <a:pt x="771" y="60"/>
                  </a:lnTo>
                  <a:lnTo>
                    <a:pt x="806" y="49"/>
                  </a:lnTo>
                  <a:lnTo>
                    <a:pt x="842" y="39"/>
                  </a:lnTo>
                  <a:lnTo>
                    <a:pt x="878" y="30"/>
                  </a:lnTo>
                  <a:lnTo>
                    <a:pt x="896" y="26"/>
                  </a:lnTo>
                  <a:lnTo>
                    <a:pt x="914" y="22"/>
                  </a:lnTo>
                  <a:lnTo>
                    <a:pt x="950" y="15"/>
                  </a:lnTo>
                  <a:lnTo>
                    <a:pt x="987" y="10"/>
                  </a:lnTo>
                  <a:lnTo>
                    <a:pt x="1024" y="6"/>
                  </a:lnTo>
                  <a:lnTo>
                    <a:pt x="1061" y="3"/>
                  </a:lnTo>
                  <a:lnTo>
                    <a:pt x="1079" y="2"/>
                  </a:lnTo>
                  <a:lnTo>
                    <a:pt x="1098" y="1"/>
                  </a:lnTo>
                  <a:lnTo>
                    <a:pt x="1117" y="0"/>
                  </a:lnTo>
                  <a:lnTo>
                    <a:pt x="1135" y="0"/>
                  </a:lnTo>
                  <a:lnTo>
                    <a:pt x="1135" y="795"/>
                  </a:lnTo>
                  <a:lnTo>
                    <a:pt x="1117" y="795"/>
                  </a:lnTo>
                  <a:lnTo>
                    <a:pt x="1100" y="797"/>
                  </a:lnTo>
                  <a:lnTo>
                    <a:pt x="1092" y="798"/>
                  </a:lnTo>
                  <a:lnTo>
                    <a:pt x="1083" y="799"/>
                  </a:lnTo>
                  <a:lnTo>
                    <a:pt x="1075" y="800"/>
                  </a:lnTo>
                  <a:lnTo>
                    <a:pt x="1066" y="802"/>
                  </a:lnTo>
                  <a:lnTo>
                    <a:pt x="1050" y="806"/>
                  </a:lnTo>
                  <a:lnTo>
                    <a:pt x="1034" y="810"/>
                  </a:lnTo>
                  <a:lnTo>
                    <a:pt x="1018" y="816"/>
                  </a:lnTo>
                  <a:lnTo>
                    <a:pt x="1003" y="822"/>
                  </a:lnTo>
                  <a:lnTo>
                    <a:pt x="988" y="829"/>
                  </a:lnTo>
                  <a:lnTo>
                    <a:pt x="973" y="836"/>
                  </a:lnTo>
                  <a:lnTo>
                    <a:pt x="959" y="844"/>
                  </a:lnTo>
                  <a:lnTo>
                    <a:pt x="945" y="853"/>
                  </a:lnTo>
                  <a:lnTo>
                    <a:pt x="931" y="863"/>
                  </a:lnTo>
                  <a:lnTo>
                    <a:pt x="919" y="873"/>
                  </a:lnTo>
                  <a:lnTo>
                    <a:pt x="906" y="883"/>
                  </a:lnTo>
                  <a:lnTo>
                    <a:pt x="894" y="895"/>
                  </a:lnTo>
                  <a:lnTo>
                    <a:pt x="883" y="906"/>
                  </a:lnTo>
                  <a:lnTo>
                    <a:pt x="872" y="919"/>
                  </a:lnTo>
                  <a:lnTo>
                    <a:pt x="862" y="932"/>
                  </a:lnTo>
                  <a:lnTo>
                    <a:pt x="853" y="945"/>
                  </a:lnTo>
                  <a:lnTo>
                    <a:pt x="844" y="959"/>
                  </a:lnTo>
                  <a:lnTo>
                    <a:pt x="836" y="973"/>
                  </a:lnTo>
                  <a:lnTo>
                    <a:pt x="828" y="988"/>
                  </a:lnTo>
                  <a:lnTo>
                    <a:pt x="822" y="1003"/>
                  </a:lnTo>
                  <a:lnTo>
                    <a:pt x="818" y="1010"/>
                  </a:lnTo>
                  <a:lnTo>
                    <a:pt x="815" y="1018"/>
                  </a:lnTo>
                  <a:lnTo>
                    <a:pt x="810" y="1034"/>
                  </a:lnTo>
                  <a:lnTo>
                    <a:pt x="808" y="1042"/>
                  </a:lnTo>
                  <a:lnTo>
                    <a:pt x="806" y="1050"/>
                  </a:lnTo>
                  <a:lnTo>
                    <a:pt x="802" y="1067"/>
                  </a:lnTo>
                  <a:lnTo>
                    <a:pt x="800" y="1075"/>
                  </a:lnTo>
                  <a:lnTo>
                    <a:pt x="799" y="1083"/>
                  </a:lnTo>
                  <a:lnTo>
                    <a:pt x="797" y="1100"/>
                  </a:lnTo>
                  <a:lnTo>
                    <a:pt x="795" y="1118"/>
                  </a:lnTo>
                  <a:lnTo>
                    <a:pt x="795" y="1135"/>
                  </a:lnTo>
                  <a:lnTo>
                    <a:pt x="795" y="1147"/>
                  </a:lnTo>
                  <a:lnTo>
                    <a:pt x="796" y="1158"/>
                  </a:lnTo>
                  <a:lnTo>
                    <a:pt x="798" y="1181"/>
                  </a:lnTo>
                  <a:lnTo>
                    <a:pt x="800" y="1192"/>
                  </a:lnTo>
                  <a:lnTo>
                    <a:pt x="802" y="1203"/>
                  </a:lnTo>
                  <a:lnTo>
                    <a:pt x="807" y="1225"/>
                  </a:lnTo>
                  <a:lnTo>
                    <a:pt x="810" y="1235"/>
                  </a:lnTo>
                  <a:lnTo>
                    <a:pt x="813" y="1246"/>
                  </a:lnTo>
                  <a:lnTo>
                    <a:pt x="821" y="1266"/>
                  </a:lnTo>
                  <a:lnTo>
                    <a:pt x="825" y="1276"/>
                  </a:lnTo>
                  <a:lnTo>
                    <a:pt x="830" y="1286"/>
                  </a:lnTo>
                  <a:lnTo>
                    <a:pt x="840" y="1305"/>
                  </a:lnTo>
                  <a:close/>
                </a:path>
              </a:pathLst>
            </a:custGeom>
            <a:solidFill>
              <a:schemeClr val="accent1"/>
            </a:solidFill>
            <a:ln w="6350" cmpd="sng">
              <a:noFill/>
              <a:round/>
              <a:headEnd/>
              <a:tailEnd/>
            </a:ln>
          </p:spPr>
          <p:txBody>
            <a:bodyPr lIns="45720" rIns="45720" anchor="ctr" anchorCtr="1"/>
            <a:lstStyle/>
            <a:p>
              <a:endParaRPr lang="en-US" sz="1100"/>
            </a:p>
          </p:txBody>
        </p:sp>
        <p:sp>
          <p:nvSpPr>
            <p:cNvPr id="124" name="Text Box 124">
              <a:extLst>
                <a:ext uri="{FF2B5EF4-FFF2-40B4-BE49-F238E27FC236}">
                  <a16:creationId xmlns:a16="http://schemas.microsoft.com/office/drawing/2014/main" id="{3133C9B3-C454-443A-BF6C-6377E79D9F29}"/>
                </a:ext>
              </a:extLst>
            </p:cNvPr>
            <p:cNvSpPr txBox="1">
              <a:spLocks noChangeArrowheads="1"/>
            </p:cNvSpPr>
            <p:nvPr/>
          </p:nvSpPr>
          <p:spPr bwMode="auto">
            <a:xfrm>
              <a:off x="3255963" y="2965475"/>
              <a:ext cx="411163" cy="255588"/>
            </a:xfrm>
            <a:prstGeom prst="rect">
              <a:avLst/>
            </a:prstGeom>
            <a:noFill/>
            <a:ln w="635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25" name="Text Box 125">
              <a:extLst>
                <a:ext uri="{FF2B5EF4-FFF2-40B4-BE49-F238E27FC236}">
                  <a16:creationId xmlns:a16="http://schemas.microsoft.com/office/drawing/2014/main" id="{916105F7-26AA-400F-967C-957C7B86A890}"/>
                </a:ext>
              </a:extLst>
            </p:cNvPr>
            <p:cNvSpPr txBox="1">
              <a:spLocks noChangeArrowheads="1"/>
            </p:cNvSpPr>
            <p:nvPr/>
          </p:nvSpPr>
          <p:spPr bwMode="auto">
            <a:xfrm>
              <a:off x="3721101" y="2198713"/>
              <a:ext cx="411163" cy="255588"/>
            </a:xfrm>
            <a:prstGeom prst="rect">
              <a:avLst/>
            </a:prstGeom>
            <a:noFill/>
            <a:ln w="635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26" name="Text Box 126">
              <a:extLst>
                <a:ext uri="{FF2B5EF4-FFF2-40B4-BE49-F238E27FC236}">
                  <a16:creationId xmlns:a16="http://schemas.microsoft.com/office/drawing/2014/main" id="{86A11BCB-4DD5-45C9-BA45-AADF84DB23D0}"/>
                </a:ext>
              </a:extLst>
            </p:cNvPr>
            <p:cNvSpPr txBox="1">
              <a:spLocks noChangeArrowheads="1"/>
            </p:cNvSpPr>
            <p:nvPr/>
          </p:nvSpPr>
          <p:spPr bwMode="auto">
            <a:xfrm>
              <a:off x="2790826" y="2198713"/>
              <a:ext cx="411163" cy="255588"/>
            </a:xfrm>
            <a:prstGeom prst="rect">
              <a:avLst/>
            </a:prstGeom>
            <a:noFill/>
            <a:ln w="6350">
              <a:noFill/>
              <a:miter lim="800000"/>
              <a:headEnd/>
              <a:tailEnd/>
            </a:ln>
            <a:effectLst/>
          </p:spPr>
          <p:txBody>
            <a:bodyPr lIns="45720" rIns="45720" anchor="ctr" anchorCtr="1"/>
            <a:lstStyle/>
            <a:p>
              <a:pPr eaLnBrk="0" hangingPunct="0"/>
              <a:r>
                <a:rPr lang="en-US" sz="1100" b="1" dirty="0">
                  <a:solidFill>
                    <a:schemeClr val="bg1"/>
                  </a:solidFill>
                </a:rPr>
                <a:t>Text</a:t>
              </a:r>
            </a:p>
          </p:txBody>
        </p:sp>
      </p:grpSp>
      <p:grpSp>
        <p:nvGrpSpPr>
          <p:cNvPr id="87" name="Group 86" descr="Segment 3">
            <a:extLst>
              <a:ext uri="{FF2B5EF4-FFF2-40B4-BE49-F238E27FC236}">
                <a16:creationId xmlns:a16="http://schemas.microsoft.com/office/drawing/2014/main" id="{D7CF8ABF-92DD-4867-B95E-12748F10BDE3}"/>
              </a:ext>
            </a:extLst>
          </p:cNvPr>
          <p:cNvGrpSpPr/>
          <p:nvPr/>
        </p:nvGrpSpPr>
        <p:grpSpPr bwMode="auto">
          <a:xfrm>
            <a:off x="6237923" y="1763713"/>
            <a:ext cx="1860550" cy="1860550"/>
            <a:chOff x="4740275" y="1628800"/>
            <a:chExt cx="1860550" cy="1860550"/>
          </a:xfrm>
        </p:grpSpPr>
        <p:sp>
          <p:nvSpPr>
            <p:cNvPr id="88" name="Freeform 88">
              <a:extLst>
                <a:ext uri="{FF2B5EF4-FFF2-40B4-BE49-F238E27FC236}">
                  <a16:creationId xmlns:a16="http://schemas.microsoft.com/office/drawing/2014/main" id="{70CDEBF8-FDCA-4364-A4B6-AD406096CB30}"/>
                </a:ext>
              </a:extLst>
            </p:cNvPr>
            <p:cNvSpPr>
              <a:spLocks noChangeAspect="1"/>
            </p:cNvSpPr>
            <p:nvPr/>
          </p:nvSpPr>
          <p:spPr bwMode="auto">
            <a:xfrm>
              <a:off x="5670550" y="1628800"/>
              <a:ext cx="930275" cy="930275"/>
            </a:xfrm>
            <a:custGeom>
              <a:avLst/>
              <a:gdLst/>
              <a:ahLst/>
              <a:cxnLst>
                <a:cxn ang="0">
                  <a:pos x="0" y="0"/>
                </a:cxn>
                <a:cxn ang="0">
                  <a:pos x="56" y="2"/>
                </a:cxn>
                <a:cxn ang="0">
                  <a:pos x="111" y="6"/>
                </a:cxn>
                <a:cxn ang="0">
                  <a:pos x="167" y="12"/>
                </a:cxn>
                <a:cxn ang="0">
                  <a:pos x="221" y="22"/>
                </a:cxn>
                <a:cxn ang="0">
                  <a:pos x="276" y="34"/>
                </a:cxn>
                <a:cxn ang="0">
                  <a:pos x="329" y="49"/>
                </a:cxn>
                <a:cxn ang="0">
                  <a:pos x="382" y="67"/>
                </a:cxn>
                <a:cxn ang="0">
                  <a:pos x="408" y="76"/>
                </a:cxn>
                <a:cxn ang="0">
                  <a:pos x="460" y="97"/>
                </a:cxn>
                <a:cxn ang="0">
                  <a:pos x="510" y="121"/>
                </a:cxn>
                <a:cxn ang="0">
                  <a:pos x="559" y="147"/>
                </a:cxn>
                <a:cxn ang="0">
                  <a:pos x="608" y="176"/>
                </a:cxn>
                <a:cxn ang="0">
                  <a:pos x="654" y="207"/>
                </a:cxn>
                <a:cxn ang="0">
                  <a:pos x="699" y="240"/>
                </a:cxn>
                <a:cxn ang="0">
                  <a:pos x="742" y="275"/>
                </a:cxn>
                <a:cxn ang="0">
                  <a:pos x="773" y="303"/>
                </a:cxn>
                <a:cxn ang="0">
                  <a:pos x="803" y="332"/>
                </a:cxn>
                <a:cxn ang="0">
                  <a:pos x="841" y="373"/>
                </a:cxn>
                <a:cxn ang="0">
                  <a:pos x="878" y="415"/>
                </a:cxn>
                <a:cxn ang="0">
                  <a:pos x="912" y="459"/>
                </a:cxn>
                <a:cxn ang="0">
                  <a:pos x="944" y="504"/>
                </a:cxn>
                <a:cxn ang="0">
                  <a:pos x="974" y="551"/>
                </a:cxn>
                <a:cxn ang="0">
                  <a:pos x="1001" y="601"/>
                </a:cxn>
                <a:cxn ang="0">
                  <a:pos x="1026" y="650"/>
                </a:cxn>
                <a:cxn ang="0">
                  <a:pos x="1049" y="701"/>
                </a:cxn>
                <a:cxn ang="0">
                  <a:pos x="1069" y="753"/>
                </a:cxn>
                <a:cxn ang="0">
                  <a:pos x="1086" y="806"/>
                </a:cxn>
                <a:cxn ang="0">
                  <a:pos x="1101" y="859"/>
                </a:cxn>
                <a:cxn ang="0">
                  <a:pos x="1114" y="914"/>
                </a:cxn>
                <a:cxn ang="0">
                  <a:pos x="1123" y="969"/>
                </a:cxn>
                <a:cxn ang="0">
                  <a:pos x="1130" y="1024"/>
                </a:cxn>
                <a:cxn ang="0">
                  <a:pos x="1134" y="1079"/>
                </a:cxn>
                <a:cxn ang="0">
                  <a:pos x="1135" y="1135"/>
                </a:cxn>
                <a:cxn ang="0">
                  <a:pos x="340" y="1118"/>
                </a:cxn>
                <a:cxn ang="0">
                  <a:pos x="338" y="1092"/>
                </a:cxn>
                <a:cxn ang="0">
                  <a:pos x="335" y="1075"/>
                </a:cxn>
                <a:cxn ang="0">
                  <a:pos x="330" y="1050"/>
                </a:cxn>
                <a:cxn ang="0">
                  <a:pos x="320" y="1018"/>
                </a:cxn>
                <a:cxn ang="0">
                  <a:pos x="307" y="988"/>
                </a:cxn>
                <a:cxn ang="0">
                  <a:pos x="291" y="959"/>
                </a:cxn>
                <a:cxn ang="0">
                  <a:pos x="273" y="932"/>
                </a:cxn>
                <a:cxn ang="0">
                  <a:pos x="252" y="906"/>
                </a:cxn>
                <a:cxn ang="0">
                  <a:pos x="229" y="883"/>
                </a:cxn>
                <a:cxn ang="0">
                  <a:pos x="204" y="863"/>
                </a:cxn>
                <a:cxn ang="0">
                  <a:pos x="177" y="844"/>
                </a:cxn>
                <a:cxn ang="0">
                  <a:pos x="148" y="828"/>
                </a:cxn>
                <a:cxn ang="0">
                  <a:pos x="125" y="819"/>
                </a:cxn>
                <a:cxn ang="0">
                  <a:pos x="101" y="810"/>
                </a:cxn>
                <a:cxn ang="0">
                  <a:pos x="85" y="806"/>
                </a:cxn>
                <a:cxn ang="0">
                  <a:pos x="60" y="800"/>
                </a:cxn>
                <a:cxn ang="0">
                  <a:pos x="35" y="797"/>
                </a:cxn>
                <a:cxn ang="0">
                  <a:pos x="0" y="795"/>
                </a:cxn>
              </a:cxnLst>
              <a:rect l="0" t="0" r="r" b="b"/>
              <a:pathLst>
                <a:path w="1135" h="1135">
                  <a:moveTo>
                    <a:pt x="0" y="795"/>
                  </a:moveTo>
                  <a:lnTo>
                    <a:pt x="0" y="0"/>
                  </a:lnTo>
                  <a:lnTo>
                    <a:pt x="28" y="1"/>
                  </a:lnTo>
                  <a:lnTo>
                    <a:pt x="56" y="2"/>
                  </a:lnTo>
                  <a:lnTo>
                    <a:pt x="84" y="3"/>
                  </a:lnTo>
                  <a:lnTo>
                    <a:pt x="111" y="6"/>
                  </a:lnTo>
                  <a:lnTo>
                    <a:pt x="139" y="9"/>
                  </a:lnTo>
                  <a:lnTo>
                    <a:pt x="167" y="12"/>
                  </a:lnTo>
                  <a:lnTo>
                    <a:pt x="194" y="17"/>
                  </a:lnTo>
                  <a:lnTo>
                    <a:pt x="221" y="22"/>
                  </a:lnTo>
                  <a:lnTo>
                    <a:pt x="249" y="28"/>
                  </a:lnTo>
                  <a:lnTo>
                    <a:pt x="276" y="34"/>
                  </a:lnTo>
                  <a:lnTo>
                    <a:pt x="303" y="41"/>
                  </a:lnTo>
                  <a:lnTo>
                    <a:pt x="329" y="49"/>
                  </a:lnTo>
                  <a:lnTo>
                    <a:pt x="356" y="58"/>
                  </a:lnTo>
                  <a:lnTo>
                    <a:pt x="382" y="67"/>
                  </a:lnTo>
                  <a:lnTo>
                    <a:pt x="395" y="71"/>
                  </a:lnTo>
                  <a:lnTo>
                    <a:pt x="408" y="76"/>
                  </a:lnTo>
                  <a:lnTo>
                    <a:pt x="434" y="87"/>
                  </a:lnTo>
                  <a:lnTo>
                    <a:pt x="460" y="97"/>
                  </a:lnTo>
                  <a:lnTo>
                    <a:pt x="485" y="109"/>
                  </a:lnTo>
                  <a:lnTo>
                    <a:pt x="510" y="121"/>
                  </a:lnTo>
                  <a:lnTo>
                    <a:pt x="535" y="134"/>
                  </a:lnTo>
                  <a:lnTo>
                    <a:pt x="559" y="147"/>
                  </a:lnTo>
                  <a:lnTo>
                    <a:pt x="584" y="161"/>
                  </a:lnTo>
                  <a:lnTo>
                    <a:pt x="608" y="176"/>
                  </a:lnTo>
                  <a:lnTo>
                    <a:pt x="631" y="191"/>
                  </a:lnTo>
                  <a:lnTo>
                    <a:pt x="654" y="207"/>
                  </a:lnTo>
                  <a:lnTo>
                    <a:pt x="677" y="223"/>
                  </a:lnTo>
                  <a:lnTo>
                    <a:pt x="699" y="240"/>
                  </a:lnTo>
                  <a:lnTo>
                    <a:pt x="721" y="257"/>
                  </a:lnTo>
                  <a:lnTo>
                    <a:pt x="742" y="275"/>
                  </a:lnTo>
                  <a:lnTo>
                    <a:pt x="763" y="294"/>
                  </a:lnTo>
                  <a:lnTo>
                    <a:pt x="773" y="303"/>
                  </a:lnTo>
                  <a:lnTo>
                    <a:pt x="783" y="313"/>
                  </a:lnTo>
                  <a:lnTo>
                    <a:pt x="803" y="332"/>
                  </a:lnTo>
                  <a:lnTo>
                    <a:pt x="822" y="352"/>
                  </a:lnTo>
                  <a:lnTo>
                    <a:pt x="841" y="373"/>
                  </a:lnTo>
                  <a:lnTo>
                    <a:pt x="860" y="393"/>
                  </a:lnTo>
                  <a:lnTo>
                    <a:pt x="878" y="415"/>
                  </a:lnTo>
                  <a:lnTo>
                    <a:pt x="895" y="436"/>
                  </a:lnTo>
                  <a:lnTo>
                    <a:pt x="912" y="459"/>
                  </a:lnTo>
                  <a:lnTo>
                    <a:pt x="928" y="481"/>
                  </a:lnTo>
                  <a:lnTo>
                    <a:pt x="944" y="504"/>
                  </a:lnTo>
                  <a:lnTo>
                    <a:pt x="959" y="528"/>
                  </a:lnTo>
                  <a:lnTo>
                    <a:pt x="974" y="551"/>
                  </a:lnTo>
                  <a:lnTo>
                    <a:pt x="988" y="576"/>
                  </a:lnTo>
                  <a:lnTo>
                    <a:pt x="1001" y="601"/>
                  </a:lnTo>
                  <a:lnTo>
                    <a:pt x="1014" y="625"/>
                  </a:lnTo>
                  <a:lnTo>
                    <a:pt x="1026" y="650"/>
                  </a:lnTo>
                  <a:lnTo>
                    <a:pt x="1038" y="676"/>
                  </a:lnTo>
                  <a:lnTo>
                    <a:pt x="1049" y="701"/>
                  </a:lnTo>
                  <a:lnTo>
                    <a:pt x="1059" y="727"/>
                  </a:lnTo>
                  <a:lnTo>
                    <a:pt x="1069" y="753"/>
                  </a:lnTo>
                  <a:lnTo>
                    <a:pt x="1078" y="779"/>
                  </a:lnTo>
                  <a:lnTo>
                    <a:pt x="1086" y="806"/>
                  </a:lnTo>
                  <a:lnTo>
                    <a:pt x="1094" y="833"/>
                  </a:lnTo>
                  <a:lnTo>
                    <a:pt x="1101" y="859"/>
                  </a:lnTo>
                  <a:lnTo>
                    <a:pt x="1108" y="887"/>
                  </a:lnTo>
                  <a:lnTo>
                    <a:pt x="1114" y="914"/>
                  </a:lnTo>
                  <a:lnTo>
                    <a:pt x="1119" y="941"/>
                  </a:lnTo>
                  <a:lnTo>
                    <a:pt x="1123" y="969"/>
                  </a:lnTo>
                  <a:lnTo>
                    <a:pt x="1127" y="996"/>
                  </a:lnTo>
                  <a:lnTo>
                    <a:pt x="1130" y="1024"/>
                  </a:lnTo>
                  <a:lnTo>
                    <a:pt x="1132" y="1052"/>
                  </a:lnTo>
                  <a:lnTo>
                    <a:pt x="1134" y="1079"/>
                  </a:lnTo>
                  <a:lnTo>
                    <a:pt x="1135" y="1107"/>
                  </a:lnTo>
                  <a:lnTo>
                    <a:pt x="1135" y="1135"/>
                  </a:lnTo>
                  <a:lnTo>
                    <a:pt x="340" y="1135"/>
                  </a:lnTo>
                  <a:lnTo>
                    <a:pt x="340" y="1118"/>
                  </a:lnTo>
                  <a:lnTo>
                    <a:pt x="339" y="1100"/>
                  </a:lnTo>
                  <a:lnTo>
                    <a:pt x="338" y="1092"/>
                  </a:lnTo>
                  <a:lnTo>
                    <a:pt x="336" y="1083"/>
                  </a:lnTo>
                  <a:lnTo>
                    <a:pt x="335" y="1075"/>
                  </a:lnTo>
                  <a:lnTo>
                    <a:pt x="333" y="1067"/>
                  </a:lnTo>
                  <a:lnTo>
                    <a:pt x="330" y="1050"/>
                  </a:lnTo>
                  <a:lnTo>
                    <a:pt x="325" y="1034"/>
                  </a:lnTo>
                  <a:lnTo>
                    <a:pt x="320" y="1018"/>
                  </a:lnTo>
                  <a:lnTo>
                    <a:pt x="314" y="1003"/>
                  </a:lnTo>
                  <a:lnTo>
                    <a:pt x="307" y="988"/>
                  </a:lnTo>
                  <a:lnTo>
                    <a:pt x="299" y="973"/>
                  </a:lnTo>
                  <a:lnTo>
                    <a:pt x="291" y="959"/>
                  </a:lnTo>
                  <a:lnTo>
                    <a:pt x="282" y="945"/>
                  </a:lnTo>
                  <a:lnTo>
                    <a:pt x="273" y="932"/>
                  </a:lnTo>
                  <a:lnTo>
                    <a:pt x="263" y="919"/>
                  </a:lnTo>
                  <a:lnTo>
                    <a:pt x="252" y="906"/>
                  </a:lnTo>
                  <a:lnTo>
                    <a:pt x="241" y="895"/>
                  </a:lnTo>
                  <a:lnTo>
                    <a:pt x="229" y="883"/>
                  </a:lnTo>
                  <a:lnTo>
                    <a:pt x="217" y="873"/>
                  </a:lnTo>
                  <a:lnTo>
                    <a:pt x="204" y="863"/>
                  </a:lnTo>
                  <a:lnTo>
                    <a:pt x="190" y="853"/>
                  </a:lnTo>
                  <a:lnTo>
                    <a:pt x="177" y="844"/>
                  </a:lnTo>
                  <a:lnTo>
                    <a:pt x="162" y="836"/>
                  </a:lnTo>
                  <a:lnTo>
                    <a:pt x="148" y="828"/>
                  </a:lnTo>
                  <a:lnTo>
                    <a:pt x="133" y="822"/>
                  </a:lnTo>
                  <a:lnTo>
                    <a:pt x="125" y="819"/>
                  </a:lnTo>
                  <a:lnTo>
                    <a:pt x="117" y="816"/>
                  </a:lnTo>
                  <a:lnTo>
                    <a:pt x="101" y="810"/>
                  </a:lnTo>
                  <a:lnTo>
                    <a:pt x="93" y="808"/>
                  </a:lnTo>
                  <a:lnTo>
                    <a:pt x="85" y="806"/>
                  </a:lnTo>
                  <a:lnTo>
                    <a:pt x="69" y="802"/>
                  </a:lnTo>
                  <a:lnTo>
                    <a:pt x="60" y="800"/>
                  </a:lnTo>
                  <a:lnTo>
                    <a:pt x="52" y="799"/>
                  </a:lnTo>
                  <a:lnTo>
                    <a:pt x="35" y="797"/>
                  </a:lnTo>
                  <a:lnTo>
                    <a:pt x="18" y="795"/>
                  </a:lnTo>
                  <a:lnTo>
                    <a:pt x="0" y="795"/>
                  </a:lnTo>
                  <a:close/>
                </a:path>
              </a:pathLst>
            </a:custGeom>
            <a:solidFill>
              <a:schemeClr val="accent3"/>
            </a:solidFill>
            <a:ln w="6350" cmpd="sng">
              <a:noFill/>
              <a:round/>
              <a:headEnd/>
              <a:tailEnd/>
            </a:ln>
          </p:spPr>
          <p:txBody>
            <a:bodyPr lIns="45720" rIns="45720" anchor="ctr" anchorCtr="1"/>
            <a:lstStyle/>
            <a:p>
              <a:endParaRPr lang="en-US" sz="1100"/>
            </a:p>
          </p:txBody>
        </p:sp>
        <p:sp>
          <p:nvSpPr>
            <p:cNvPr id="89" name="Freeform 89">
              <a:extLst>
                <a:ext uri="{FF2B5EF4-FFF2-40B4-BE49-F238E27FC236}">
                  <a16:creationId xmlns:a16="http://schemas.microsoft.com/office/drawing/2014/main" id="{FC4B8252-E02C-44CA-BF82-902AA3ACA3B3}"/>
                </a:ext>
              </a:extLst>
            </p:cNvPr>
            <p:cNvSpPr>
              <a:spLocks noChangeAspect="1"/>
            </p:cNvSpPr>
            <p:nvPr/>
          </p:nvSpPr>
          <p:spPr bwMode="auto">
            <a:xfrm>
              <a:off x="5670550" y="2559075"/>
              <a:ext cx="930275" cy="930275"/>
            </a:xfrm>
            <a:custGeom>
              <a:avLst/>
              <a:gdLst/>
              <a:ahLst/>
              <a:cxnLst>
                <a:cxn ang="0">
                  <a:pos x="1135" y="0"/>
                </a:cxn>
                <a:cxn ang="0">
                  <a:pos x="1134" y="56"/>
                </a:cxn>
                <a:cxn ang="0">
                  <a:pos x="1130" y="111"/>
                </a:cxn>
                <a:cxn ang="0">
                  <a:pos x="1123" y="166"/>
                </a:cxn>
                <a:cxn ang="0">
                  <a:pos x="1113" y="221"/>
                </a:cxn>
                <a:cxn ang="0">
                  <a:pos x="1101" y="276"/>
                </a:cxn>
                <a:cxn ang="0">
                  <a:pos x="1086" y="329"/>
                </a:cxn>
                <a:cxn ang="0">
                  <a:pos x="1069" y="382"/>
                </a:cxn>
                <a:cxn ang="0">
                  <a:pos x="1059" y="408"/>
                </a:cxn>
                <a:cxn ang="0">
                  <a:pos x="1038" y="460"/>
                </a:cxn>
                <a:cxn ang="0">
                  <a:pos x="1014" y="510"/>
                </a:cxn>
                <a:cxn ang="0">
                  <a:pos x="988" y="559"/>
                </a:cxn>
                <a:cxn ang="0">
                  <a:pos x="960" y="608"/>
                </a:cxn>
                <a:cxn ang="0">
                  <a:pos x="929" y="654"/>
                </a:cxn>
                <a:cxn ang="0">
                  <a:pos x="896" y="699"/>
                </a:cxn>
                <a:cxn ang="0">
                  <a:pos x="860" y="742"/>
                </a:cxn>
                <a:cxn ang="0">
                  <a:pos x="832" y="773"/>
                </a:cxn>
                <a:cxn ang="0">
                  <a:pos x="803" y="803"/>
                </a:cxn>
                <a:cxn ang="0">
                  <a:pos x="763" y="841"/>
                </a:cxn>
                <a:cxn ang="0">
                  <a:pos x="721" y="878"/>
                </a:cxn>
                <a:cxn ang="0">
                  <a:pos x="677" y="912"/>
                </a:cxn>
                <a:cxn ang="0">
                  <a:pos x="631" y="944"/>
                </a:cxn>
                <a:cxn ang="0">
                  <a:pos x="584" y="974"/>
                </a:cxn>
                <a:cxn ang="0">
                  <a:pos x="535" y="1001"/>
                </a:cxn>
                <a:cxn ang="0">
                  <a:pos x="485" y="1026"/>
                </a:cxn>
                <a:cxn ang="0">
                  <a:pos x="434" y="1049"/>
                </a:cxn>
                <a:cxn ang="0">
                  <a:pos x="382" y="1069"/>
                </a:cxn>
                <a:cxn ang="0">
                  <a:pos x="329" y="1086"/>
                </a:cxn>
                <a:cxn ang="0">
                  <a:pos x="276" y="1101"/>
                </a:cxn>
                <a:cxn ang="0">
                  <a:pos x="222" y="1114"/>
                </a:cxn>
                <a:cxn ang="0">
                  <a:pos x="167" y="1123"/>
                </a:cxn>
                <a:cxn ang="0">
                  <a:pos x="112" y="1130"/>
                </a:cxn>
                <a:cxn ang="0">
                  <a:pos x="56" y="1134"/>
                </a:cxn>
                <a:cxn ang="0">
                  <a:pos x="0" y="1135"/>
                </a:cxn>
                <a:cxn ang="0">
                  <a:pos x="18" y="340"/>
                </a:cxn>
                <a:cxn ang="0">
                  <a:pos x="44" y="338"/>
                </a:cxn>
                <a:cxn ang="0">
                  <a:pos x="60" y="335"/>
                </a:cxn>
                <a:cxn ang="0">
                  <a:pos x="85" y="330"/>
                </a:cxn>
                <a:cxn ang="0">
                  <a:pos x="117" y="320"/>
                </a:cxn>
                <a:cxn ang="0">
                  <a:pos x="148" y="307"/>
                </a:cxn>
                <a:cxn ang="0">
                  <a:pos x="177" y="291"/>
                </a:cxn>
                <a:cxn ang="0">
                  <a:pos x="204" y="273"/>
                </a:cxn>
                <a:cxn ang="0">
                  <a:pos x="229" y="252"/>
                </a:cxn>
                <a:cxn ang="0">
                  <a:pos x="252" y="229"/>
                </a:cxn>
                <a:cxn ang="0">
                  <a:pos x="273" y="204"/>
                </a:cxn>
                <a:cxn ang="0">
                  <a:pos x="291" y="176"/>
                </a:cxn>
                <a:cxn ang="0">
                  <a:pos x="307" y="148"/>
                </a:cxn>
                <a:cxn ang="0">
                  <a:pos x="317" y="125"/>
                </a:cxn>
                <a:cxn ang="0">
                  <a:pos x="325" y="101"/>
                </a:cxn>
                <a:cxn ang="0">
                  <a:pos x="330" y="85"/>
                </a:cxn>
                <a:cxn ang="0">
                  <a:pos x="335" y="60"/>
                </a:cxn>
                <a:cxn ang="0">
                  <a:pos x="339" y="35"/>
                </a:cxn>
                <a:cxn ang="0">
                  <a:pos x="340" y="0"/>
                </a:cxn>
              </a:cxnLst>
              <a:rect l="0" t="0" r="r" b="b"/>
              <a:pathLst>
                <a:path w="1135" h="1135">
                  <a:moveTo>
                    <a:pt x="340" y="0"/>
                  </a:moveTo>
                  <a:lnTo>
                    <a:pt x="1135" y="0"/>
                  </a:lnTo>
                  <a:lnTo>
                    <a:pt x="1135" y="28"/>
                  </a:lnTo>
                  <a:lnTo>
                    <a:pt x="1134" y="56"/>
                  </a:lnTo>
                  <a:lnTo>
                    <a:pt x="1132" y="84"/>
                  </a:lnTo>
                  <a:lnTo>
                    <a:pt x="1130" y="111"/>
                  </a:lnTo>
                  <a:lnTo>
                    <a:pt x="1127" y="139"/>
                  </a:lnTo>
                  <a:lnTo>
                    <a:pt x="1123" y="166"/>
                  </a:lnTo>
                  <a:lnTo>
                    <a:pt x="1118" y="194"/>
                  </a:lnTo>
                  <a:lnTo>
                    <a:pt x="1113" y="221"/>
                  </a:lnTo>
                  <a:lnTo>
                    <a:pt x="1108" y="249"/>
                  </a:lnTo>
                  <a:lnTo>
                    <a:pt x="1101" y="276"/>
                  </a:lnTo>
                  <a:lnTo>
                    <a:pt x="1094" y="302"/>
                  </a:lnTo>
                  <a:lnTo>
                    <a:pt x="1086" y="329"/>
                  </a:lnTo>
                  <a:lnTo>
                    <a:pt x="1078" y="356"/>
                  </a:lnTo>
                  <a:lnTo>
                    <a:pt x="1069" y="382"/>
                  </a:lnTo>
                  <a:lnTo>
                    <a:pt x="1064" y="395"/>
                  </a:lnTo>
                  <a:lnTo>
                    <a:pt x="1059" y="408"/>
                  </a:lnTo>
                  <a:lnTo>
                    <a:pt x="1049" y="434"/>
                  </a:lnTo>
                  <a:lnTo>
                    <a:pt x="1038" y="460"/>
                  </a:lnTo>
                  <a:lnTo>
                    <a:pt x="1026" y="485"/>
                  </a:lnTo>
                  <a:lnTo>
                    <a:pt x="1014" y="510"/>
                  </a:lnTo>
                  <a:lnTo>
                    <a:pt x="1001" y="535"/>
                  </a:lnTo>
                  <a:lnTo>
                    <a:pt x="988" y="559"/>
                  </a:lnTo>
                  <a:lnTo>
                    <a:pt x="974" y="584"/>
                  </a:lnTo>
                  <a:lnTo>
                    <a:pt x="960" y="608"/>
                  </a:lnTo>
                  <a:lnTo>
                    <a:pt x="944" y="631"/>
                  </a:lnTo>
                  <a:lnTo>
                    <a:pt x="929" y="654"/>
                  </a:lnTo>
                  <a:lnTo>
                    <a:pt x="912" y="677"/>
                  </a:lnTo>
                  <a:lnTo>
                    <a:pt x="896" y="699"/>
                  </a:lnTo>
                  <a:lnTo>
                    <a:pt x="878" y="721"/>
                  </a:lnTo>
                  <a:lnTo>
                    <a:pt x="860" y="742"/>
                  </a:lnTo>
                  <a:lnTo>
                    <a:pt x="842" y="763"/>
                  </a:lnTo>
                  <a:lnTo>
                    <a:pt x="832" y="773"/>
                  </a:lnTo>
                  <a:lnTo>
                    <a:pt x="823" y="783"/>
                  </a:lnTo>
                  <a:lnTo>
                    <a:pt x="803" y="803"/>
                  </a:lnTo>
                  <a:lnTo>
                    <a:pt x="783" y="822"/>
                  </a:lnTo>
                  <a:lnTo>
                    <a:pt x="763" y="841"/>
                  </a:lnTo>
                  <a:lnTo>
                    <a:pt x="742" y="860"/>
                  </a:lnTo>
                  <a:lnTo>
                    <a:pt x="721" y="878"/>
                  </a:lnTo>
                  <a:lnTo>
                    <a:pt x="699" y="895"/>
                  </a:lnTo>
                  <a:lnTo>
                    <a:pt x="677" y="912"/>
                  </a:lnTo>
                  <a:lnTo>
                    <a:pt x="654" y="928"/>
                  </a:lnTo>
                  <a:lnTo>
                    <a:pt x="631" y="944"/>
                  </a:lnTo>
                  <a:lnTo>
                    <a:pt x="608" y="959"/>
                  </a:lnTo>
                  <a:lnTo>
                    <a:pt x="584" y="974"/>
                  </a:lnTo>
                  <a:lnTo>
                    <a:pt x="559" y="988"/>
                  </a:lnTo>
                  <a:lnTo>
                    <a:pt x="535" y="1001"/>
                  </a:lnTo>
                  <a:lnTo>
                    <a:pt x="510" y="1014"/>
                  </a:lnTo>
                  <a:lnTo>
                    <a:pt x="485" y="1026"/>
                  </a:lnTo>
                  <a:lnTo>
                    <a:pt x="460" y="1038"/>
                  </a:lnTo>
                  <a:lnTo>
                    <a:pt x="434" y="1049"/>
                  </a:lnTo>
                  <a:lnTo>
                    <a:pt x="408" y="1059"/>
                  </a:lnTo>
                  <a:lnTo>
                    <a:pt x="382" y="1069"/>
                  </a:lnTo>
                  <a:lnTo>
                    <a:pt x="356" y="1078"/>
                  </a:lnTo>
                  <a:lnTo>
                    <a:pt x="329" y="1086"/>
                  </a:lnTo>
                  <a:lnTo>
                    <a:pt x="303" y="1094"/>
                  </a:lnTo>
                  <a:lnTo>
                    <a:pt x="276" y="1101"/>
                  </a:lnTo>
                  <a:lnTo>
                    <a:pt x="249" y="1108"/>
                  </a:lnTo>
                  <a:lnTo>
                    <a:pt x="222" y="1114"/>
                  </a:lnTo>
                  <a:lnTo>
                    <a:pt x="194" y="1119"/>
                  </a:lnTo>
                  <a:lnTo>
                    <a:pt x="167" y="1123"/>
                  </a:lnTo>
                  <a:lnTo>
                    <a:pt x="139" y="1127"/>
                  </a:lnTo>
                  <a:lnTo>
                    <a:pt x="112" y="1130"/>
                  </a:lnTo>
                  <a:lnTo>
                    <a:pt x="84" y="1132"/>
                  </a:lnTo>
                  <a:lnTo>
                    <a:pt x="56" y="1134"/>
                  </a:lnTo>
                  <a:lnTo>
                    <a:pt x="28" y="1135"/>
                  </a:lnTo>
                  <a:lnTo>
                    <a:pt x="0" y="1135"/>
                  </a:lnTo>
                  <a:lnTo>
                    <a:pt x="0" y="340"/>
                  </a:lnTo>
                  <a:lnTo>
                    <a:pt x="18" y="340"/>
                  </a:lnTo>
                  <a:lnTo>
                    <a:pt x="35" y="339"/>
                  </a:lnTo>
                  <a:lnTo>
                    <a:pt x="44" y="338"/>
                  </a:lnTo>
                  <a:lnTo>
                    <a:pt x="52" y="336"/>
                  </a:lnTo>
                  <a:lnTo>
                    <a:pt x="60" y="335"/>
                  </a:lnTo>
                  <a:lnTo>
                    <a:pt x="69" y="333"/>
                  </a:lnTo>
                  <a:lnTo>
                    <a:pt x="85" y="330"/>
                  </a:lnTo>
                  <a:lnTo>
                    <a:pt x="101" y="325"/>
                  </a:lnTo>
                  <a:lnTo>
                    <a:pt x="117" y="320"/>
                  </a:lnTo>
                  <a:lnTo>
                    <a:pt x="133" y="314"/>
                  </a:lnTo>
                  <a:lnTo>
                    <a:pt x="148" y="307"/>
                  </a:lnTo>
                  <a:lnTo>
                    <a:pt x="162" y="299"/>
                  </a:lnTo>
                  <a:lnTo>
                    <a:pt x="177" y="291"/>
                  </a:lnTo>
                  <a:lnTo>
                    <a:pt x="190" y="282"/>
                  </a:lnTo>
                  <a:lnTo>
                    <a:pt x="204" y="273"/>
                  </a:lnTo>
                  <a:lnTo>
                    <a:pt x="217" y="263"/>
                  </a:lnTo>
                  <a:lnTo>
                    <a:pt x="229" y="252"/>
                  </a:lnTo>
                  <a:lnTo>
                    <a:pt x="241" y="241"/>
                  </a:lnTo>
                  <a:lnTo>
                    <a:pt x="252" y="229"/>
                  </a:lnTo>
                  <a:lnTo>
                    <a:pt x="263" y="216"/>
                  </a:lnTo>
                  <a:lnTo>
                    <a:pt x="273" y="204"/>
                  </a:lnTo>
                  <a:lnTo>
                    <a:pt x="282" y="190"/>
                  </a:lnTo>
                  <a:lnTo>
                    <a:pt x="291" y="176"/>
                  </a:lnTo>
                  <a:lnTo>
                    <a:pt x="299" y="162"/>
                  </a:lnTo>
                  <a:lnTo>
                    <a:pt x="307" y="148"/>
                  </a:lnTo>
                  <a:lnTo>
                    <a:pt x="314" y="133"/>
                  </a:lnTo>
                  <a:lnTo>
                    <a:pt x="317" y="125"/>
                  </a:lnTo>
                  <a:lnTo>
                    <a:pt x="320" y="117"/>
                  </a:lnTo>
                  <a:lnTo>
                    <a:pt x="325" y="101"/>
                  </a:lnTo>
                  <a:lnTo>
                    <a:pt x="328" y="93"/>
                  </a:lnTo>
                  <a:lnTo>
                    <a:pt x="330" y="85"/>
                  </a:lnTo>
                  <a:lnTo>
                    <a:pt x="333" y="69"/>
                  </a:lnTo>
                  <a:lnTo>
                    <a:pt x="335" y="60"/>
                  </a:lnTo>
                  <a:lnTo>
                    <a:pt x="336" y="52"/>
                  </a:lnTo>
                  <a:lnTo>
                    <a:pt x="339" y="35"/>
                  </a:lnTo>
                  <a:lnTo>
                    <a:pt x="340" y="18"/>
                  </a:lnTo>
                  <a:lnTo>
                    <a:pt x="340" y="0"/>
                  </a:lnTo>
                  <a:close/>
                </a:path>
              </a:pathLst>
            </a:custGeom>
            <a:solidFill>
              <a:schemeClr val="accent2"/>
            </a:solidFill>
            <a:ln w="6350" cmpd="sng">
              <a:noFill/>
              <a:round/>
              <a:headEnd/>
              <a:tailEnd/>
            </a:ln>
          </p:spPr>
          <p:txBody>
            <a:bodyPr lIns="45720" rIns="45720" anchor="ctr" anchorCtr="1"/>
            <a:lstStyle/>
            <a:p>
              <a:endParaRPr lang="en-US" sz="1100"/>
            </a:p>
          </p:txBody>
        </p:sp>
        <p:sp>
          <p:nvSpPr>
            <p:cNvPr id="90" name="Freeform 90">
              <a:extLst>
                <a:ext uri="{FF2B5EF4-FFF2-40B4-BE49-F238E27FC236}">
                  <a16:creationId xmlns:a16="http://schemas.microsoft.com/office/drawing/2014/main" id="{B711F1CA-40D2-4089-A6D1-9BA82B0C14B4}"/>
                </a:ext>
              </a:extLst>
            </p:cNvPr>
            <p:cNvSpPr>
              <a:spLocks noChangeAspect="1"/>
            </p:cNvSpPr>
            <p:nvPr/>
          </p:nvSpPr>
          <p:spPr bwMode="auto">
            <a:xfrm>
              <a:off x="4740275" y="2559075"/>
              <a:ext cx="930275" cy="930275"/>
            </a:xfrm>
            <a:custGeom>
              <a:avLst/>
              <a:gdLst/>
              <a:ahLst/>
              <a:cxnLst>
                <a:cxn ang="0">
                  <a:pos x="1135" y="1135"/>
                </a:cxn>
                <a:cxn ang="0">
                  <a:pos x="1080" y="1134"/>
                </a:cxn>
                <a:cxn ang="0">
                  <a:pos x="1024" y="1130"/>
                </a:cxn>
                <a:cxn ang="0">
                  <a:pos x="969" y="1123"/>
                </a:cxn>
                <a:cxn ang="0">
                  <a:pos x="914" y="1113"/>
                </a:cxn>
                <a:cxn ang="0">
                  <a:pos x="860" y="1101"/>
                </a:cxn>
                <a:cxn ang="0">
                  <a:pos x="806" y="1086"/>
                </a:cxn>
                <a:cxn ang="0">
                  <a:pos x="753" y="1069"/>
                </a:cxn>
                <a:cxn ang="0">
                  <a:pos x="727" y="1059"/>
                </a:cxn>
                <a:cxn ang="0">
                  <a:pos x="676" y="1038"/>
                </a:cxn>
                <a:cxn ang="0">
                  <a:pos x="625" y="1014"/>
                </a:cxn>
                <a:cxn ang="0">
                  <a:pos x="576" y="988"/>
                </a:cxn>
                <a:cxn ang="0">
                  <a:pos x="528" y="959"/>
                </a:cxn>
                <a:cxn ang="0">
                  <a:pos x="481" y="929"/>
                </a:cxn>
                <a:cxn ang="0">
                  <a:pos x="436" y="895"/>
                </a:cxn>
                <a:cxn ang="0">
                  <a:pos x="393" y="860"/>
                </a:cxn>
                <a:cxn ang="0">
                  <a:pos x="362" y="832"/>
                </a:cxn>
                <a:cxn ang="0">
                  <a:pos x="332" y="803"/>
                </a:cxn>
                <a:cxn ang="0">
                  <a:pos x="294" y="763"/>
                </a:cxn>
                <a:cxn ang="0">
                  <a:pos x="258" y="720"/>
                </a:cxn>
                <a:cxn ang="0">
                  <a:pos x="223" y="677"/>
                </a:cxn>
                <a:cxn ang="0">
                  <a:pos x="191" y="631"/>
                </a:cxn>
                <a:cxn ang="0">
                  <a:pos x="162" y="584"/>
                </a:cxn>
                <a:cxn ang="0">
                  <a:pos x="134" y="535"/>
                </a:cxn>
                <a:cxn ang="0">
                  <a:pos x="109" y="485"/>
                </a:cxn>
                <a:cxn ang="0">
                  <a:pos x="87" y="434"/>
                </a:cxn>
                <a:cxn ang="0">
                  <a:pos x="67" y="382"/>
                </a:cxn>
                <a:cxn ang="0">
                  <a:pos x="49" y="329"/>
                </a:cxn>
                <a:cxn ang="0">
                  <a:pos x="34" y="276"/>
                </a:cxn>
                <a:cxn ang="0">
                  <a:pos x="22" y="221"/>
                </a:cxn>
                <a:cxn ang="0">
                  <a:pos x="12" y="167"/>
                </a:cxn>
                <a:cxn ang="0">
                  <a:pos x="5" y="111"/>
                </a:cxn>
                <a:cxn ang="0">
                  <a:pos x="1" y="56"/>
                </a:cxn>
                <a:cxn ang="0">
                  <a:pos x="0" y="0"/>
                </a:cxn>
                <a:cxn ang="0">
                  <a:pos x="796" y="18"/>
                </a:cxn>
                <a:cxn ang="0">
                  <a:pos x="798" y="43"/>
                </a:cxn>
                <a:cxn ang="0">
                  <a:pos x="800" y="60"/>
                </a:cxn>
                <a:cxn ang="0">
                  <a:pos x="806" y="85"/>
                </a:cxn>
                <a:cxn ang="0">
                  <a:pos x="816" y="117"/>
                </a:cxn>
                <a:cxn ang="0">
                  <a:pos x="829" y="148"/>
                </a:cxn>
                <a:cxn ang="0">
                  <a:pos x="844" y="176"/>
                </a:cxn>
                <a:cxn ang="0">
                  <a:pos x="863" y="204"/>
                </a:cxn>
                <a:cxn ang="0">
                  <a:pos x="883" y="229"/>
                </a:cxn>
                <a:cxn ang="0">
                  <a:pos x="907" y="252"/>
                </a:cxn>
                <a:cxn ang="0">
                  <a:pos x="932" y="273"/>
                </a:cxn>
                <a:cxn ang="0">
                  <a:pos x="959" y="291"/>
                </a:cxn>
                <a:cxn ang="0">
                  <a:pos x="988" y="307"/>
                </a:cxn>
                <a:cxn ang="0">
                  <a:pos x="1011" y="317"/>
                </a:cxn>
                <a:cxn ang="0">
                  <a:pos x="1034" y="325"/>
                </a:cxn>
                <a:cxn ang="0">
                  <a:pos x="1050" y="330"/>
                </a:cxn>
                <a:cxn ang="0">
                  <a:pos x="1075" y="335"/>
                </a:cxn>
                <a:cxn ang="0">
                  <a:pos x="1100" y="339"/>
                </a:cxn>
                <a:cxn ang="0">
                  <a:pos x="1135" y="340"/>
                </a:cxn>
              </a:cxnLst>
              <a:rect l="0" t="0" r="r" b="b"/>
              <a:pathLst>
                <a:path w="1135" h="1135">
                  <a:moveTo>
                    <a:pt x="1135" y="340"/>
                  </a:moveTo>
                  <a:lnTo>
                    <a:pt x="1135" y="1135"/>
                  </a:lnTo>
                  <a:lnTo>
                    <a:pt x="1107" y="1135"/>
                  </a:lnTo>
                  <a:lnTo>
                    <a:pt x="1080" y="1134"/>
                  </a:lnTo>
                  <a:lnTo>
                    <a:pt x="1052" y="1132"/>
                  </a:lnTo>
                  <a:lnTo>
                    <a:pt x="1024" y="1130"/>
                  </a:lnTo>
                  <a:lnTo>
                    <a:pt x="996" y="1126"/>
                  </a:lnTo>
                  <a:lnTo>
                    <a:pt x="969" y="1123"/>
                  </a:lnTo>
                  <a:lnTo>
                    <a:pt x="941" y="1118"/>
                  </a:lnTo>
                  <a:lnTo>
                    <a:pt x="914" y="1113"/>
                  </a:lnTo>
                  <a:lnTo>
                    <a:pt x="887" y="1107"/>
                  </a:lnTo>
                  <a:lnTo>
                    <a:pt x="860" y="1101"/>
                  </a:lnTo>
                  <a:lnTo>
                    <a:pt x="833" y="1094"/>
                  </a:lnTo>
                  <a:lnTo>
                    <a:pt x="806" y="1086"/>
                  </a:lnTo>
                  <a:lnTo>
                    <a:pt x="780" y="1078"/>
                  </a:lnTo>
                  <a:lnTo>
                    <a:pt x="753" y="1069"/>
                  </a:lnTo>
                  <a:lnTo>
                    <a:pt x="740" y="1064"/>
                  </a:lnTo>
                  <a:lnTo>
                    <a:pt x="727" y="1059"/>
                  </a:lnTo>
                  <a:lnTo>
                    <a:pt x="701" y="1049"/>
                  </a:lnTo>
                  <a:lnTo>
                    <a:pt x="676" y="1038"/>
                  </a:lnTo>
                  <a:lnTo>
                    <a:pt x="650" y="1026"/>
                  </a:lnTo>
                  <a:lnTo>
                    <a:pt x="625" y="1014"/>
                  </a:lnTo>
                  <a:lnTo>
                    <a:pt x="601" y="1001"/>
                  </a:lnTo>
                  <a:lnTo>
                    <a:pt x="576" y="988"/>
                  </a:lnTo>
                  <a:lnTo>
                    <a:pt x="551" y="974"/>
                  </a:lnTo>
                  <a:lnTo>
                    <a:pt x="528" y="959"/>
                  </a:lnTo>
                  <a:lnTo>
                    <a:pt x="504" y="944"/>
                  </a:lnTo>
                  <a:lnTo>
                    <a:pt x="481" y="929"/>
                  </a:lnTo>
                  <a:lnTo>
                    <a:pt x="459" y="912"/>
                  </a:lnTo>
                  <a:lnTo>
                    <a:pt x="436" y="895"/>
                  </a:lnTo>
                  <a:lnTo>
                    <a:pt x="415" y="878"/>
                  </a:lnTo>
                  <a:lnTo>
                    <a:pt x="393" y="860"/>
                  </a:lnTo>
                  <a:lnTo>
                    <a:pt x="373" y="842"/>
                  </a:lnTo>
                  <a:lnTo>
                    <a:pt x="362" y="832"/>
                  </a:lnTo>
                  <a:lnTo>
                    <a:pt x="352" y="822"/>
                  </a:lnTo>
                  <a:lnTo>
                    <a:pt x="332" y="803"/>
                  </a:lnTo>
                  <a:lnTo>
                    <a:pt x="313" y="783"/>
                  </a:lnTo>
                  <a:lnTo>
                    <a:pt x="294" y="763"/>
                  </a:lnTo>
                  <a:lnTo>
                    <a:pt x="276" y="742"/>
                  </a:lnTo>
                  <a:lnTo>
                    <a:pt x="258" y="720"/>
                  </a:lnTo>
                  <a:lnTo>
                    <a:pt x="240" y="699"/>
                  </a:lnTo>
                  <a:lnTo>
                    <a:pt x="223" y="677"/>
                  </a:lnTo>
                  <a:lnTo>
                    <a:pt x="207" y="654"/>
                  </a:lnTo>
                  <a:lnTo>
                    <a:pt x="191" y="631"/>
                  </a:lnTo>
                  <a:lnTo>
                    <a:pt x="176" y="608"/>
                  </a:lnTo>
                  <a:lnTo>
                    <a:pt x="162" y="584"/>
                  </a:lnTo>
                  <a:lnTo>
                    <a:pt x="148" y="559"/>
                  </a:lnTo>
                  <a:lnTo>
                    <a:pt x="134" y="535"/>
                  </a:lnTo>
                  <a:lnTo>
                    <a:pt x="122" y="510"/>
                  </a:lnTo>
                  <a:lnTo>
                    <a:pt x="109" y="485"/>
                  </a:lnTo>
                  <a:lnTo>
                    <a:pt x="98" y="460"/>
                  </a:lnTo>
                  <a:lnTo>
                    <a:pt x="87" y="434"/>
                  </a:lnTo>
                  <a:lnTo>
                    <a:pt x="76" y="408"/>
                  </a:lnTo>
                  <a:lnTo>
                    <a:pt x="67" y="382"/>
                  </a:lnTo>
                  <a:lnTo>
                    <a:pt x="58" y="356"/>
                  </a:lnTo>
                  <a:lnTo>
                    <a:pt x="49" y="329"/>
                  </a:lnTo>
                  <a:lnTo>
                    <a:pt x="41" y="303"/>
                  </a:lnTo>
                  <a:lnTo>
                    <a:pt x="34" y="276"/>
                  </a:lnTo>
                  <a:lnTo>
                    <a:pt x="28" y="249"/>
                  </a:lnTo>
                  <a:lnTo>
                    <a:pt x="22" y="221"/>
                  </a:lnTo>
                  <a:lnTo>
                    <a:pt x="17" y="194"/>
                  </a:lnTo>
                  <a:lnTo>
                    <a:pt x="12" y="167"/>
                  </a:lnTo>
                  <a:lnTo>
                    <a:pt x="8" y="139"/>
                  </a:lnTo>
                  <a:lnTo>
                    <a:pt x="5" y="111"/>
                  </a:lnTo>
                  <a:lnTo>
                    <a:pt x="3" y="84"/>
                  </a:lnTo>
                  <a:lnTo>
                    <a:pt x="1" y="56"/>
                  </a:lnTo>
                  <a:lnTo>
                    <a:pt x="1" y="28"/>
                  </a:lnTo>
                  <a:lnTo>
                    <a:pt x="0" y="0"/>
                  </a:lnTo>
                  <a:lnTo>
                    <a:pt x="795" y="0"/>
                  </a:lnTo>
                  <a:lnTo>
                    <a:pt x="796" y="18"/>
                  </a:lnTo>
                  <a:lnTo>
                    <a:pt x="797" y="35"/>
                  </a:lnTo>
                  <a:lnTo>
                    <a:pt x="798" y="43"/>
                  </a:lnTo>
                  <a:lnTo>
                    <a:pt x="799" y="52"/>
                  </a:lnTo>
                  <a:lnTo>
                    <a:pt x="800" y="60"/>
                  </a:lnTo>
                  <a:lnTo>
                    <a:pt x="802" y="69"/>
                  </a:lnTo>
                  <a:lnTo>
                    <a:pt x="806" y="85"/>
                  </a:lnTo>
                  <a:lnTo>
                    <a:pt x="810" y="101"/>
                  </a:lnTo>
                  <a:lnTo>
                    <a:pt x="816" y="117"/>
                  </a:lnTo>
                  <a:lnTo>
                    <a:pt x="822" y="133"/>
                  </a:lnTo>
                  <a:lnTo>
                    <a:pt x="829" y="148"/>
                  </a:lnTo>
                  <a:lnTo>
                    <a:pt x="836" y="162"/>
                  </a:lnTo>
                  <a:lnTo>
                    <a:pt x="844" y="176"/>
                  </a:lnTo>
                  <a:lnTo>
                    <a:pt x="853" y="190"/>
                  </a:lnTo>
                  <a:lnTo>
                    <a:pt x="863" y="204"/>
                  </a:lnTo>
                  <a:lnTo>
                    <a:pt x="873" y="216"/>
                  </a:lnTo>
                  <a:lnTo>
                    <a:pt x="883" y="229"/>
                  </a:lnTo>
                  <a:lnTo>
                    <a:pt x="895" y="241"/>
                  </a:lnTo>
                  <a:lnTo>
                    <a:pt x="907" y="252"/>
                  </a:lnTo>
                  <a:lnTo>
                    <a:pt x="919" y="263"/>
                  </a:lnTo>
                  <a:lnTo>
                    <a:pt x="932" y="273"/>
                  </a:lnTo>
                  <a:lnTo>
                    <a:pt x="945" y="282"/>
                  </a:lnTo>
                  <a:lnTo>
                    <a:pt x="959" y="291"/>
                  </a:lnTo>
                  <a:lnTo>
                    <a:pt x="973" y="299"/>
                  </a:lnTo>
                  <a:lnTo>
                    <a:pt x="988" y="307"/>
                  </a:lnTo>
                  <a:lnTo>
                    <a:pt x="1003" y="314"/>
                  </a:lnTo>
                  <a:lnTo>
                    <a:pt x="1011" y="317"/>
                  </a:lnTo>
                  <a:lnTo>
                    <a:pt x="1018" y="320"/>
                  </a:lnTo>
                  <a:lnTo>
                    <a:pt x="1034" y="325"/>
                  </a:lnTo>
                  <a:lnTo>
                    <a:pt x="1042" y="327"/>
                  </a:lnTo>
                  <a:lnTo>
                    <a:pt x="1050" y="330"/>
                  </a:lnTo>
                  <a:lnTo>
                    <a:pt x="1067" y="333"/>
                  </a:lnTo>
                  <a:lnTo>
                    <a:pt x="1075" y="335"/>
                  </a:lnTo>
                  <a:lnTo>
                    <a:pt x="1083" y="336"/>
                  </a:lnTo>
                  <a:lnTo>
                    <a:pt x="1100" y="339"/>
                  </a:lnTo>
                  <a:lnTo>
                    <a:pt x="1118" y="340"/>
                  </a:lnTo>
                  <a:lnTo>
                    <a:pt x="1135" y="340"/>
                  </a:lnTo>
                  <a:close/>
                </a:path>
              </a:pathLst>
            </a:custGeom>
            <a:solidFill>
              <a:schemeClr val="accent5"/>
            </a:solidFill>
            <a:ln w="6350" cmpd="sng">
              <a:noFill/>
              <a:round/>
              <a:headEnd/>
              <a:tailEnd/>
            </a:ln>
          </p:spPr>
          <p:txBody>
            <a:bodyPr lIns="45720" rIns="45720" anchor="ctr" anchorCtr="1"/>
            <a:lstStyle/>
            <a:p>
              <a:endParaRPr lang="en-US" sz="1100"/>
            </a:p>
          </p:txBody>
        </p:sp>
        <p:sp>
          <p:nvSpPr>
            <p:cNvPr id="91" name="Freeform 91">
              <a:extLst>
                <a:ext uri="{FF2B5EF4-FFF2-40B4-BE49-F238E27FC236}">
                  <a16:creationId xmlns:a16="http://schemas.microsoft.com/office/drawing/2014/main" id="{2260BEA0-55C4-45FF-A93C-FD8C8D34B3B9}"/>
                </a:ext>
              </a:extLst>
            </p:cNvPr>
            <p:cNvSpPr>
              <a:spLocks noChangeAspect="1"/>
            </p:cNvSpPr>
            <p:nvPr/>
          </p:nvSpPr>
          <p:spPr bwMode="auto">
            <a:xfrm>
              <a:off x="4740275" y="1628800"/>
              <a:ext cx="930275" cy="930275"/>
            </a:xfrm>
            <a:custGeom>
              <a:avLst/>
              <a:gdLst/>
              <a:ahLst/>
              <a:cxnLst>
                <a:cxn ang="0">
                  <a:pos x="0" y="1135"/>
                </a:cxn>
                <a:cxn ang="0">
                  <a:pos x="2" y="1080"/>
                </a:cxn>
                <a:cxn ang="0">
                  <a:pos x="6" y="1024"/>
                </a:cxn>
                <a:cxn ang="0">
                  <a:pos x="13" y="969"/>
                </a:cxn>
                <a:cxn ang="0">
                  <a:pos x="22" y="914"/>
                </a:cxn>
                <a:cxn ang="0">
                  <a:pos x="34" y="860"/>
                </a:cxn>
                <a:cxn ang="0">
                  <a:pos x="49" y="806"/>
                </a:cxn>
                <a:cxn ang="0">
                  <a:pos x="67" y="753"/>
                </a:cxn>
                <a:cxn ang="0">
                  <a:pos x="76" y="727"/>
                </a:cxn>
                <a:cxn ang="0">
                  <a:pos x="98" y="676"/>
                </a:cxn>
                <a:cxn ang="0">
                  <a:pos x="121" y="625"/>
                </a:cxn>
                <a:cxn ang="0">
                  <a:pos x="147" y="576"/>
                </a:cxn>
                <a:cxn ang="0">
                  <a:pos x="176" y="527"/>
                </a:cxn>
                <a:cxn ang="0">
                  <a:pos x="207" y="481"/>
                </a:cxn>
                <a:cxn ang="0">
                  <a:pos x="240" y="436"/>
                </a:cxn>
                <a:cxn ang="0">
                  <a:pos x="275" y="393"/>
                </a:cxn>
                <a:cxn ang="0">
                  <a:pos x="303" y="362"/>
                </a:cxn>
                <a:cxn ang="0">
                  <a:pos x="332" y="332"/>
                </a:cxn>
                <a:cxn ang="0">
                  <a:pos x="373" y="294"/>
                </a:cxn>
                <a:cxn ang="0">
                  <a:pos x="415" y="258"/>
                </a:cxn>
                <a:cxn ang="0">
                  <a:pos x="459" y="223"/>
                </a:cxn>
                <a:cxn ang="0">
                  <a:pos x="504" y="191"/>
                </a:cxn>
                <a:cxn ang="0">
                  <a:pos x="551" y="162"/>
                </a:cxn>
                <a:cxn ang="0">
                  <a:pos x="601" y="134"/>
                </a:cxn>
                <a:cxn ang="0">
                  <a:pos x="650" y="109"/>
                </a:cxn>
                <a:cxn ang="0">
                  <a:pos x="701" y="87"/>
                </a:cxn>
                <a:cxn ang="0">
                  <a:pos x="753" y="67"/>
                </a:cxn>
                <a:cxn ang="0">
                  <a:pos x="806" y="49"/>
                </a:cxn>
                <a:cxn ang="0">
                  <a:pos x="860" y="34"/>
                </a:cxn>
                <a:cxn ang="0">
                  <a:pos x="914" y="22"/>
                </a:cxn>
                <a:cxn ang="0">
                  <a:pos x="969" y="12"/>
                </a:cxn>
                <a:cxn ang="0">
                  <a:pos x="1024" y="5"/>
                </a:cxn>
                <a:cxn ang="0">
                  <a:pos x="1079" y="1"/>
                </a:cxn>
                <a:cxn ang="0">
                  <a:pos x="1135" y="0"/>
                </a:cxn>
                <a:cxn ang="0">
                  <a:pos x="1118" y="795"/>
                </a:cxn>
                <a:cxn ang="0">
                  <a:pos x="1092" y="798"/>
                </a:cxn>
                <a:cxn ang="0">
                  <a:pos x="1075" y="800"/>
                </a:cxn>
                <a:cxn ang="0">
                  <a:pos x="1050" y="806"/>
                </a:cxn>
                <a:cxn ang="0">
                  <a:pos x="1018" y="816"/>
                </a:cxn>
                <a:cxn ang="0">
                  <a:pos x="988" y="829"/>
                </a:cxn>
                <a:cxn ang="0">
                  <a:pos x="959" y="844"/>
                </a:cxn>
                <a:cxn ang="0">
                  <a:pos x="932" y="863"/>
                </a:cxn>
                <a:cxn ang="0">
                  <a:pos x="906" y="883"/>
                </a:cxn>
                <a:cxn ang="0">
                  <a:pos x="883" y="906"/>
                </a:cxn>
                <a:cxn ang="0">
                  <a:pos x="863" y="932"/>
                </a:cxn>
                <a:cxn ang="0">
                  <a:pos x="844" y="959"/>
                </a:cxn>
                <a:cxn ang="0">
                  <a:pos x="829" y="988"/>
                </a:cxn>
                <a:cxn ang="0">
                  <a:pos x="819" y="1010"/>
                </a:cxn>
                <a:cxn ang="0">
                  <a:pos x="810" y="1034"/>
                </a:cxn>
                <a:cxn ang="0">
                  <a:pos x="806" y="1050"/>
                </a:cxn>
                <a:cxn ang="0">
                  <a:pos x="800" y="1075"/>
                </a:cxn>
                <a:cxn ang="0">
                  <a:pos x="797" y="1100"/>
                </a:cxn>
                <a:cxn ang="0">
                  <a:pos x="795" y="1135"/>
                </a:cxn>
              </a:cxnLst>
              <a:rect l="0" t="0" r="r" b="b"/>
              <a:pathLst>
                <a:path w="1135" h="1135">
                  <a:moveTo>
                    <a:pt x="795" y="1135"/>
                  </a:moveTo>
                  <a:lnTo>
                    <a:pt x="0" y="1135"/>
                  </a:lnTo>
                  <a:lnTo>
                    <a:pt x="1" y="1107"/>
                  </a:lnTo>
                  <a:lnTo>
                    <a:pt x="2" y="1080"/>
                  </a:lnTo>
                  <a:lnTo>
                    <a:pt x="3" y="1052"/>
                  </a:lnTo>
                  <a:lnTo>
                    <a:pt x="6" y="1024"/>
                  </a:lnTo>
                  <a:lnTo>
                    <a:pt x="9" y="996"/>
                  </a:lnTo>
                  <a:lnTo>
                    <a:pt x="13" y="969"/>
                  </a:lnTo>
                  <a:lnTo>
                    <a:pt x="17" y="941"/>
                  </a:lnTo>
                  <a:lnTo>
                    <a:pt x="22" y="914"/>
                  </a:lnTo>
                  <a:lnTo>
                    <a:pt x="28" y="887"/>
                  </a:lnTo>
                  <a:lnTo>
                    <a:pt x="34" y="860"/>
                  </a:lnTo>
                  <a:lnTo>
                    <a:pt x="41" y="833"/>
                  </a:lnTo>
                  <a:lnTo>
                    <a:pt x="49" y="806"/>
                  </a:lnTo>
                  <a:lnTo>
                    <a:pt x="58" y="780"/>
                  </a:lnTo>
                  <a:lnTo>
                    <a:pt x="67" y="753"/>
                  </a:lnTo>
                  <a:lnTo>
                    <a:pt x="71" y="740"/>
                  </a:lnTo>
                  <a:lnTo>
                    <a:pt x="76" y="727"/>
                  </a:lnTo>
                  <a:lnTo>
                    <a:pt x="87" y="701"/>
                  </a:lnTo>
                  <a:lnTo>
                    <a:pt x="98" y="676"/>
                  </a:lnTo>
                  <a:lnTo>
                    <a:pt x="109" y="650"/>
                  </a:lnTo>
                  <a:lnTo>
                    <a:pt x="121" y="625"/>
                  </a:lnTo>
                  <a:lnTo>
                    <a:pt x="134" y="601"/>
                  </a:lnTo>
                  <a:lnTo>
                    <a:pt x="147" y="576"/>
                  </a:lnTo>
                  <a:lnTo>
                    <a:pt x="161" y="551"/>
                  </a:lnTo>
                  <a:lnTo>
                    <a:pt x="176" y="527"/>
                  </a:lnTo>
                  <a:lnTo>
                    <a:pt x="191" y="504"/>
                  </a:lnTo>
                  <a:lnTo>
                    <a:pt x="207" y="481"/>
                  </a:lnTo>
                  <a:lnTo>
                    <a:pt x="223" y="459"/>
                  </a:lnTo>
                  <a:lnTo>
                    <a:pt x="240" y="436"/>
                  </a:lnTo>
                  <a:lnTo>
                    <a:pt x="257" y="415"/>
                  </a:lnTo>
                  <a:lnTo>
                    <a:pt x="275" y="393"/>
                  </a:lnTo>
                  <a:lnTo>
                    <a:pt x="294" y="373"/>
                  </a:lnTo>
                  <a:lnTo>
                    <a:pt x="303" y="362"/>
                  </a:lnTo>
                  <a:lnTo>
                    <a:pt x="313" y="352"/>
                  </a:lnTo>
                  <a:lnTo>
                    <a:pt x="332" y="332"/>
                  </a:lnTo>
                  <a:lnTo>
                    <a:pt x="352" y="313"/>
                  </a:lnTo>
                  <a:lnTo>
                    <a:pt x="373" y="294"/>
                  </a:lnTo>
                  <a:lnTo>
                    <a:pt x="393" y="276"/>
                  </a:lnTo>
                  <a:lnTo>
                    <a:pt x="415" y="258"/>
                  </a:lnTo>
                  <a:lnTo>
                    <a:pt x="437" y="240"/>
                  </a:lnTo>
                  <a:lnTo>
                    <a:pt x="459" y="223"/>
                  </a:lnTo>
                  <a:lnTo>
                    <a:pt x="481" y="207"/>
                  </a:lnTo>
                  <a:lnTo>
                    <a:pt x="504" y="191"/>
                  </a:lnTo>
                  <a:lnTo>
                    <a:pt x="528" y="176"/>
                  </a:lnTo>
                  <a:lnTo>
                    <a:pt x="551" y="162"/>
                  </a:lnTo>
                  <a:lnTo>
                    <a:pt x="576" y="148"/>
                  </a:lnTo>
                  <a:lnTo>
                    <a:pt x="601" y="134"/>
                  </a:lnTo>
                  <a:lnTo>
                    <a:pt x="625" y="121"/>
                  </a:lnTo>
                  <a:lnTo>
                    <a:pt x="650" y="109"/>
                  </a:lnTo>
                  <a:lnTo>
                    <a:pt x="676" y="98"/>
                  </a:lnTo>
                  <a:lnTo>
                    <a:pt x="701" y="87"/>
                  </a:lnTo>
                  <a:lnTo>
                    <a:pt x="727" y="76"/>
                  </a:lnTo>
                  <a:lnTo>
                    <a:pt x="753" y="67"/>
                  </a:lnTo>
                  <a:lnTo>
                    <a:pt x="779" y="57"/>
                  </a:lnTo>
                  <a:lnTo>
                    <a:pt x="806" y="49"/>
                  </a:lnTo>
                  <a:lnTo>
                    <a:pt x="833" y="41"/>
                  </a:lnTo>
                  <a:lnTo>
                    <a:pt x="860" y="34"/>
                  </a:lnTo>
                  <a:lnTo>
                    <a:pt x="887" y="28"/>
                  </a:lnTo>
                  <a:lnTo>
                    <a:pt x="914" y="22"/>
                  </a:lnTo>
                  <a:lnTo>
                    <a:pt x="941" y="17"/>
                  </a:lnTo>
                  <a:lnTo>
                    <a:pt x="969" y="12"/>
                  </a:lnTo>
                  <a:lnTo>
                    <a:pt x="996" y="8"/>
                  </a:lnTo>
                  <a:lnTo>
                    <a:pt x="1024" y="5"/>
                  </a:lnTo>
                  <a:lnTo>
                    <a:pt x="1052" y="3"/>
                  </a:lnTo>
                  <a:lnTo>
                    <a:pt x="1079" y="1"/>
                  </a:lnTo>
                  <a:lnTo>
                    <a:pt x="1107" y="1"/>
                  </a:lnTo>
                  <a:lnTo>
                    <a:pt x="1135" y="0"/>
                  </a:lnTo>
                  <a:lnTo>
                    <a:pt x="1135" y="795"/>
                  </a:lnTo>
                  <a:lnTo>
                    <a:pt x="1118" y="795"/>
                  </a:lnTo>
                  <a:lnTo>
                    <a:pt x="1100" y="797"/>
                  </a:lnTo>
                  <a:lnTo>
                    <a:pt x="1092" y="798"/>
                  </a:lnTo>
                  <a:lnTo>
                    <a:pt x="1083" y="799"/>
                  </a:lnTo>
                  <a:lnTo>
                    <a:pt x="1075" y="800"/>
                  </a:lnTo>
                  <a:lnTo>
                    <a:pt x="1067" y="802"/>
                  </a:lnTo>
                  <a:lnTo>
                    <a:pt x="1050" y="806"/>
                  </a:lnTo>
                  <a:lnTo>
                    <a:pt x="1034" y="810"/>
                  </a:lnTo>
                  <a:lnTo>
                    <a:pt x="1018" y="816"/>
                  </a:lnTo>
                  <a:lnTo>
                    <a:pt x="1003" y="822"/>
                  </a:lnTo>
                  <a:lnTo>
                    <a:pt x="988" y="829"/>
                  </a:lnTo>
                  <a:lnTo>
                    <a:pt x="973" y="836"/>
                  </a:lnTo>
                  <a:lnTo>
                    <a:pt x="959" y="844"/>
                  </a:lnTo>
                  <a:lnTo>
                    <a:pt x="945" y="853"/>
                  </a:lnTo>
                  <a:lnTo>
                    <a:pt x="932" y="863"/>
                  </a:lnTo>
                  <a:lnTo>
                    <a:pt x="919" y="873"/>
                  </a:lnTo>
                  <a:lnTo>
                    <a:pt x="906" y="883"/>
                  </a:lnTo>
                  <a:lnTo>
                    <a:pt x="895" y="895"/>
                  </a:lnTo>
                  <a:lnTo>
                    <a:pt x="883" y="906"/>
                  </a:lnTo>
                  <a:lnTo>
                    <a:pt x="873" y="919"/>
                  </a:lnTo>
                  <a:lnTo>
                    <a:pt x="863" y="932"/>
                  </a:lnTo>
                  <a:lnTo>
                    <a:pt x="853" y="945"/>
                  </a:lnTo>
                  <a:lnTo>
                    <a:pt x="844" y="959"/>
                  </a:lnTo>
                  <a:lnTo>
                    <a:pt x="836" y="973"/>
                  </a:lnTo>
                  <a:lnTo>
                    <a:pt x="829" y="988"/>
                  </a:lnTo>
                  <a:lnTo>
                    <a:pt x="822" y="1003"/>
                  </a:lnTo>
                  <a:lnTo>
                    <a:pt x="819" y="1010"/>
                  </a:lnTo>
                  <a:lnTo>
                    <a:pt x="816" y="1018"/>
                  </a:lnTo>
                  <a:lnTo>
                    <a:pt x="810" y="1034"/>
                  </a:lnTo>
                  <a:lnTo>
                    <a:pt x="808" y="1042"/>
                  </a:lnTo>
                  <a:lnTo>
                    <a:pt x="806" y="1050"/>
                  </a:lnTo>
                  <a:lnTo>
                    <a:pt x="802" y="1067"/>
                  </a:lnTo>
                  <a:lnTo>
                    <a:pt x="800" y="1075"/>
                  </a:lnTo>
                  <a:lnTo>
                    <a:pt x="799" y="1083"/>
                  </a:lnTo>
                  <a:lnTo>
                    <a:pt x="797" y="1100"/>
                  </a:lnTo>
                  <a:lnTo>
                    <a:pt x="795" y="1118"/>
                  </a:lnTo>
                  <a:lnTo>
                    <a:pt x="795" y="1135"/>
                  </a:lnTo>
                  <a:close/>
                </a:path>
              </a:pathLst>
            </a:custGeom>
            <a:solidFill>
              <a:schemeClr val="accent1"/>
            </a:solidFill>
            <a:ln w="6350" cmpd="sng">
              <a:noFill/>
              <a:round/>
              <a:headEnd/>
              <a:tailEnd/>
            </a:ln>
          </p:spPr>
          <p:txBody>
            <a:bodyPr lIns="45720" rIns="45720" anchor="ctr" anchorCtr="1"/>
            <a:lstStyle/>
            <a:p>
              <a:endParaRPr lang="en-US" sz="1100"/>
            </a:p>
          </p:txBody>
        </p:sp>
        <p:sp>
          <p:nvSpPr>
            <p:cNvPr id="92" name="Text Box 92">
              <a:extLst>
                <a:ext uri="{FF2B5EF4-FFF2-40B4-BE49-F238E27FC236}">
                  <a16:creationId xmlns:a16="http://schemas.microsoft.com/office/drawing/2014/main" id="{C6B0076E-1F45-4905-8B07-1A230EA7B543}"/>
                </a:ext>
              </a:extLst>
            </p:cNvPr>
            <p:cNvSpPr txBox="1">
              <a:spLocks noChangeArrowheads="1"/>
            </p:cNvSpPr>
            <p:nvPr/>
          </p:nvSpPr>
          <p:spPr bwMode="auto">
            <a:xfrm>
              <a:off x="4999038" y="1966938"/>
              <a:ext cx="411163" cy="255588"/>
            </a:xfrm>
            <a:prstGeom prst="rect">
              <a:avLst/>
            </a:prstGeom>
            <a:noFill/>
            <a:ln w="6350">
              <a:noFill/>
              <a:miter lim="800000"/>
              <a:headEnd/>
              <a:tailEnd/>
            </a:ln>
            <a:effectLst/>
          </p:spPr>
          <p:txBody>
            <a:bodyPr lIns="45720" rIns="45720" anchor="ctr" anchorCtr="1"/>
            <a:lstStyle/>
            <a:p>
              <a:pPr eaLnBrk="0" hangingPunct="0"/>
              <a:r>
                <a:rPr lang="en-US" sz="1100" b="1" dirty="0">
                  <a:solidFill>
                    <a:schemeClr val="bg1"/>
                  </a:solidFill>
                </a:rPr>
                <a:t>Text</a:t>
              </a:r>
            </a:p>
          </p:txBody>
        </p:sp>
        <p:sp>
          <p:nvSpPr>
            <p:cNvPr id="93" name="Text Box 93">
              <a:extLst>
                <a:ext uri="{FF2B5EF4-FFF2-40B4-BE49-F238E27FC236}">
                  <a16:creationId xmlns:a16="http://schemas.microsoft.com/office/drawing/2014/main" id="{804B7BC9-824C-4C06-9C69-FC79E45E5AA2}"/>
                </a:ext>
              </a:extLst>
            </p:cNvPr>
            <p:cNvSpPr txBox="1">
              <a:spLocks noChangeArrowheads="1"/>
            </p:cNvSpPr>
            <p:nvPr/>
          </p:nvSpPr>
          <p:spPr bwMode="auto">
            <a:xfrm>
              <a:off x="5929313" y="1966938"/>
              <a:ext cx="411163" cy="255588"/>
            </a:xfrm>
            <a:prstGeom prst="rect">
              <a:avLst/>
            </a:prstGeom>
            <a:noFill/>
            <a:ln w="635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94" name="Text Box 94">
              <a:extLst>
                <a:ext uri="{FF2B5EF4-FFF2-40B4-BE49-F238E27FC236}">
                  <a16:creationId xmlns:a16="http://schemas.microsoft.com/office/drawing/2014/main" id="{5095260B-DB81-4155-BD69-4819B4CFA497}"/>
                </a:ext>
              </a:extLst>
            </p:cNvPr>
            <p:cNvSpPr txBox="1">
              <a:spLocks noChangeArrowheads="1"/>
            </p:cNvSpPr>
            <p:nvPr/>
          </p:nvSpPr>
          <p:spPr bwMode="auto">
            <a:xfrm>
              <a:off x="4999038" y="2895625"/>
              <a:ext cx="411163" cy="255588"/>
            </a:xfrm>
            <a:prstGeom prst="rect">
              <a:avLst/>
            </a:prstGeom>
            <a:noFill/>
            <a:ln w="635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95" name="Text Box 95">
              <a:extLst>
                <a:ext uri="{FF2B5EF4-FFF2-40B4-BE49-F238E27FC236}">
                  <a16:creationId xmlns:a16="http://schemas.microsoft.com/office/drawing/2014/main" id="{F6B796CE-FC2E-447D-8F05-E8410AA78F1C}"/>
                </a:ext>
              </a:extLst>
            </p:cNvPr>
            <p:cNvSpPr txBox="1">
              <a:spLocks noChangeArrowheads="1"/>
            </p:cNvSpPr>
            <p:nvPr/>
          </p:nvSpPr>
          <p:spPr bwMode="auto">
            <a:xfrm>
              <a:off x="5929313" y="2895625"/>
              <a:ext cx="411163" cy="255588"/>
            </a:xfrm>
            <a:prstGeom prst="rect">
              <a:avLst/>
            </a:prstGeom>
            <a:noFill/>
            <a:ln w="6350">
              <a:noFill/>
              <a:miter lim="800000"/>
              <a:headEnd/>
              <a:tailEnd/>
            </a:ln>
            <a:effectLst/>
          </p:spPr>
          <p:txBody>
            <a:bodyPr lIns="45720" rIns="45720" anchor="ctr" anchorCtr="1"/>
            <a:lstStyle/>
            <a:p>
              <a:pPr eaLnBrk="0" hangingPunct="0"/>
              <a:r>
                <a:rPr lang="en-US" sz="1100" b="1" dirty="0">
                  <a:solidFill>
                    <a:schemeClr val="bg1"/>
                  </a:solidFill>
                </a:rPr>
                <a:t>Text</a:t>
              </a:r>
            </a:p>
          </p:txBody>
        </p:sp>
      </p:grpSp>
      <p:grpSp>
        <p:nvGrpSpPr>
          <p:cNvPr id="96" name="Group 95" descr="Segment 4">
            <a:extLst>
              <a:ext uri="{FF2B5EF4-FFF2-40B4-BE49-F238E27FC236}">
                <a16:creationId xmlns:a16="http://schemas.microsoft.com/office/drawing/2014/main" id="{2A4CEB1E-92E8-4B60-B726-D10F83FD4AAB}"/>
              </a:ext>
            </a:extLst>
          </p:cNvPr>
          <p:cNvGrpSpPr/>
          <p:nvPr/>
        </p:nvGrpSpPr>
        <p:grpSpPr bwMode="auto">
          <a:xfrm>
            <a:off x="8350157" y="1763713"/>
            <a:ext cx="1860551" cy="1860550"/>
            <a:chOff x="6948488" y="1628800"/>
            <a:chExt cx="1860551" cy="1860550"/>
          </a:xfrm>
        </p:grpSpPr>
        <p:sp>
          <p:nvSpPr>
            <p:cNvPr id="97" name="Freeform 97">
              <a:extLst>
                <a:ext uri="{FF2B5EF4-FFF2-40B4-BE49-F238E27FC236}">
                  <a16:creationId xmlns:a16="http://schemas.microsoft.com/office/drawing/2014/main" id="{9C53A70E-72FA-4E2C-8EE4-1A58389570D2}"/>
                </a:ext>
              </a:extLst>
            </p:cNvPr>
            <p:cNvSpPr>
              <a:spLocks noChangeAspect="1"/>
            </p:cNvSpPr>
            <p:nvPr/>
          </p:nvSpPr>
          <p:spPr bwMode="auto">
            <a:xfrm>
              <a:off x="7878763" y="1628800"/>
              <a:ext cx="884238" cy="844550"/>
            </a:xfrm>
            <a:custGeom>
              <a:avLst/>
              <a:gdLst/>
              <a:ahLst/>
              <a:cxnLst>
                <a:cxn ang="0">
                  <a:pos x="323" y="1030"/>
                </a:cxn>
                <a:cxn ang="0">
                  <a:pos x="314" y="1005"/>
                </a:cxn>
                <a:cxn ang="0">
                  <a:pos x="303" y="981"/>
                </a:cxn>
                <a:cxn ang="0">
                  <a:pos x="290" y="958"/>
                </a:cxn>
                <a:cxn ang="0">
                  <a:pos x="275" y="936"/>
                </a:cxn>
                <a:cxn ang="0">
                  <a:pos x="259" y="915"/>
                </a:cxn>
                <a:cxn ang="0">
                  <a:pos x="241" y="896"/>
                </a:cxn>
                <a:cxn ang="0">
                  <a:pos x="222" y="878"/>
                </a:cxn>
                <a:cxn ang="0">
                  <a:pos x="202" y="861"/>
                </a:cxn>
                <a:cxn ang="0">
                  <a:pos x="191" y="854"/>
                </a:cxn>
                <a:cxn ang="0">
                  <a:pos x="169" y="840"/>
                </a:cxn>
                <a:cxn ang="0">
                  <a:pos x="145" y="828"/>
                </a:cxn>
                <a:cxn ang="0">
                  <a:pos x="121" y="817"/>
                </a:cxn>
                <a:cxn ang="0">
                  <a:pos x="95" y="809"/>
                </a:cxn>
                <a:cxn ang="0">
                  <a:pos x="69" y="802"/>
                </a:cxn>
                <a:cxn ang="0">
                  <a:pos x="42" y="798"/>
                </a:cxn>
                <a:cxn ang="0">
                  <a:pos x="14" y="795"/>
                </a:cxn>
                <a:cxn ang="0">
                  <a:pos x="0" y="0"/>
                </a:cxn>
                <a:cxn ang="0">
                  <a:pos x="56" y="2"/>
                </a:cxn>
                <a:cxn ang="0">
                  <a:pos x="111" y="6"/>
                </a:cxn>
                <a:cxn ang="0">
                  <a:pos x="166" y="13"/>
                </a:cxn>
                <a:cxn ang="0">
                  <a:pos x="221" y="22"/>
                </a:cxn>
                <a:cxn ang="0">
                  <a:pos x="275" y="34"/>
                </a:cxn>
                <a:cxn ang="0">
                  <a:pos x="329" y="49"/>
                </a:cxn>
                <a:cxn ang="0">
                  <a:pos x="382" y="67"/>
                </a:cxn>
                <a:cxn ang="0">
                  <a:pos x="408" y="76"/>
                </a:cxn>
                <a:cxn ang="0">
                  <a:pos x="459" y="98"/>
                </a:cxn>
                <a:cxn ang="0">
                  <a:pos x="510" y="121"/>
                </a:cxn>
                <a:cxn ang="0">
                  <a:pos x="559" y="147"/>
                </a:cxn>
                <a:cxn ang="0">
                  <a:pos x="608" y="176"/>
                </a:cxn>
                <a:cxn ang="0">
                  <a:pos x="654" y="207"/>
                </a:cxn>
                <a:cxn ang="0">
                  <a:pos x="699" y="240"/>
                </a:cxn>
                <a:cxn ang="0">
                  <a:pos x="742" y="275"/>
                </a:cxn>
                <a:cxn ang="0">
                  <a:pos x="773" y="303"/>
                </a:cxn>
                <a:cxn ang="0">
                  <a:pos x="803" y="332"/>
                </a:cxn>
                <a:cxn ang="0">
                  <a:pos x="826" y="356"/>
                </a:cxn>
                <a:cxn ang="0">
                  <a:pos x="849" y="381"/>
                </a:cxn>
                <a:cxn ang="0">
                  <a:pos x="870" y="406"/>
                </a:cxn>
                <a:cxn ang="0">
                  <a:pos x="891" y="432"/>
                </a:cxn>
                <a:cxn ang="0">
                  <a:pos x="912" y="459"/>
                </a:cxn>
                <a:cxn ang="0">
                  <a:pos x="950" y="514"/>
                </a:cxn>
                <a:cxn ang="0">
                  <a:pos x="985" y="571"/>
                </a:cxn>
                <a:cxn ang="0">
                  <a:pos x="1016" y="630"/>
                </a:cxn>
                <a:cxn ang="0">
                  <a:pos x="1038" y="676"/>
                </a:cxn>
                <a:cxn ang="0">
                  <a:pos x="1057" y="722"/>
                </a:cxn>
                <a:cxn ang="0">
                  <a:pos x="1079" y="785"/>
                </a:cxn>
              </a:cxnLst>
              <a:rect l="0" t="0" r="r" b="b"/>
              <a:pathLst>
                <a:path w="1079" h="1030">
                  <a:moveTo>
                    <a:pt x="1079" y="785"/>
                  </a:moveTo>
                  <a:lnTo>
                    <a:pt x="323" y="1030"/>
                  </a:lnTo>
                  <a:lnTo>
                    <a:pt x="319" y="1017"/>
                  </a:lnTo>
                  <a:lnTo>
                    <a:pt x="314" y="1005"/>
                  </a:lnTo>
                  <a:lnTo>
                    <a:pt x="309" y="993"/>
                  </a:lnTo>
                  <a:lnTo>
                    <a:pt x="303" y="981"/>
                  </a:lnTo>
                  <a:lnTo>
                    <a:pt x="297" y="969"/>
                  </a:lnTo>
                  <a:lnTo>
                    <a:pt x="290" y="958"/>
                  </a:lnTo>
                  <a:lnTo>
                    <a:pt x="283" y="947"/>
                  </a:lnTo>
                  <a:lnTo>
                    <a:pt x="275" y="936"/>
                  </a:lnTo>
                  <a:lnTo>
                    <a:pt x="268" y="925"/>
                  </a:lnTo>
                  <a:lnTo>
                    <a:pt x="259" y="915"/>
                  </a:lnTo>
                  <a:lnTo>
                    <a:pt x="251" y="905"/>
                  </a:lnTo>
                  <a:lnTo>
                    <a:pt x="241" y="896"/>
                  </a:lnTo>
                  <a:lnTo>
                    <a:pt x="232" y="887"/>
                  </a:lnTo>
                  <a:lnTo>
                    <a:pt x="222" y="878"/>
                  </a:lnTo>
                  <a:lnTo>
                    <a:pt x="212" y="869"/>
                  </a:lnTo>
                  <a:lnTo>
                    <a:pt x="202" y="861"/>
                  </a:lnTo>
                  <a:lnTo>
                    <a:pt x="196" y="858"/>
                  </a:lnTo>
                  <a:lnTo>
                    <a:pt x="191" y="854"/>
                  </a:lnTo>
                  <a:lnTo>
                    <a:pt x="180" y="847"/>
                  </a:lnTo>
                  <a:lnTo>
                    <a:pt x="169" y="840"/>
                  </a:lnTo>
                  <a:lnTo>
                    <a:pt x="157" y="833"/>
                  </a:lnTo>
                  <a:lnTo>
                    <a:pt x="145" y="828"/>
                  </a:lnTo>
                  <a:lnTo>
                    <a:pt x="133" y="822"/>
                  </a:lnTo>
                  <a:lnTo>
                    <a:pt x="121" y="817"/>
                  </a:lnTo>
                  <a:lnTo>
                    <a:pt x="108" y="813"/>
                  </a:lnTo>
                  <a:lnTo>
                    <a:pt x="95" y="809"/>
                  </a:lnTo>
                  <a:lnTo>
                    <a:pt x="82" y="805"/>
                  </a:lnTo>
                  <a:lnTo>
                    <a:pt x="69" y="802"/>
                  </a:lnTo>
                  <a:lnTo>
                    <a:pt x="55" y="800"/>
                  </a:lnTo>
                  <a:lnTo>
                    <a:pt x="42" y="798"/>
                  </a:lnTo>
                  <a:lnTo>
                    <a:pt x="28" y="796"/>
                  </a:lnTo>
                  <a:lnTo>
                    <a:pt x="14" y="795"/>
                  </a:lnTo>
                  <a:lnTo>
                    <a:pt x="0" y="795"/>
                  </a:lnTo>
                  <a:lnTo>
                    <a:pt x="0" y="0"/>
                  </a:lnTo>
                  <a:lnTo>
                    <a:pt x="28" y="1"/>
                  </a:lnTo>
                  <a:lnTo>
                    <a:pt x="56" y="2"/>
                  </a:lnTo>
                  <a:lnTo>
                    <a:pt x="83" y="3"/>
                  </a:lnTo>
                  <a:lnTo>
                    <a:pt x="111" y="6"/>
                  </a:lnTo>
                  <a:lnTo>
                    <a:pt x="139" y="9"/>
                  </a:lnTo>
                  <a:lnTo>
                    <a:pt x="166" y="13"/>
                  </a:lnTo>
                  <a:lnTo>
                    <a:pt x="194" y="17"/>
                  </a:lnTo>
                  <a:lnTo>
                    <a:pt x="221" y="22"/>
                  </a:lnTo>
                  <a:lnTo>
                    <a:pt x="248" y="28"/>
                  </a:lnTo>
                  <a:lnTo>
                    <a:pt x="275" y="34"/>
                  </a:lnTo>
                  <a:lnTo>
                    <a:pt x="302" y="42"/>
                  </a:lnTo>
                  <a:lnTo>
                    <a:pt x="329" y="49"/>
                  </a:lnTo>
                  <a:lnTo>
                    <a:pt x="356" y="58"/>
                  </a:lnTo>
                  <a:lnTo>
                    <a:pt x="382" y="67"/>
                  </a:lnTo>
                  <a:lnTo>
                    <a:pt x="395" y="71"/>
                  </a:lnTo>
                  <a:lnTo>
                    <a:pt x="408" y="76"/>
                  </a:lnTo>
                  <a:lnTo>
                    <a:pt x="434" y="87"/>
                  </a:lnTo>
                  <a:lnTo>
                    <a:pt x="459" y="98"/>
                  </a:lnTo>
                  <a:lnTo>
                    <a:pt x="485" y="109"/>
                  </a:lnTo>
                  <a:lnTo>
                    <a:pt x="510" y="121"/>
                  </a:lnTo>
                  <a:lnTo>
                    <a:pt x="535" y="134"/>
                  </a:lnTo>
                  <a:lnTo>
                    <a:pt x="559" y="147"/>
                  </a:lnTo>
                  <a:lnTo>
                    <a:pt x="584" y="161"/>
                  </a:lnTo>
                  <a:lnTo>
                    <a:pt x="608" y="176"/>
                  </a:lnTo>
                  <a:lnTo>
                    <a:pt x="631" y="191"/>
                  </a:lnTo>
                  <a:lnTo>
                    <a:pt x="654" y="207"/>
                  </a:lnTo>
                  <a:lnTo>
                    <a:pt x="677" y="223"/>
                  </a:lnTo>
                  <a:lnTo>
                    <a:pt x="699" y="240"/>
                  </a:lnTo>
                  <a:lnTo>
                    <a:pt x="720" y="257"/>
                  </a:lnTo>
                  <a:lnTo>
                    <a:pt x="742" y="275"/>
                  </a:lnTo>
                  <a:lnTo>
                    <a:pt x="763" y="294"/>
                  </a:lnTo>
                  <a:lnTo>
                    <a:pt x="773" y="303"/>
                  </a:lnTo>
                  <a:lnTo>
                    <a:pt x="783" y="313"/>
                  </a:lnTo>
                  <a:lnTo>
                    <a:pt x="803" y="332"/>
                  </a:lnTo>
                  <a:lnTo>
                    <a:pt x="814" y="344"/>
                  </a:lnTo>
                  <a:lnTo>
                    <a:pt x="826" y="356"/>
                  </a:lnTo>
                  <a:lnTo>
                    <a:pt x="837" y="369"/>
                  </a:lnTo>
                  <a:lnTo>
                    <a:pt x="849" y="381"/>
                  </a:lnTo>
                  <a:lnTo>
                    <a:pt x="860" y="394"/>
                  </a:lnTo>
                  <a:lnTo>
                    <a:pt x="870" y="406"/>
                  </a:lnTo>
                  <a:lnTo>
                    <a:pt x="881" y="419"/>
                  </a:lnTo>
                  <a:lnTo>
                    <a:pt x="891" y="432"/>
                  </a:lnTo>
                  <a:lnTo>
                    <a:pt x="902" y="445"/>
                  </a:lnTo>
                  <a:lnTo>
                    <a:pt x="912" y="459"/>
                  </a:lnTo>
                  <a:lnTo>
                    <a:pt x="931" y="486"/>
                  </a:lnTo>
                  <a:lnTo>
                    <a:pt x="950" y="514"/>
                  </a:lnTo>
                  <a:lnTo>
                    <a:pt x="968" y="542"/>
                  </a:lnTo>
                  <a:lnTo>
                    <a:pt x="985" y="571"/>
                  </a:lnTo>
                  <a:lnTo>
                    <a:pt x="1001" y="601"/>
                  </a:lnTo>
                  <a:lnTo>
                    <a:pt x="1016" y="630"/>
                  </a:lnTo>
                  <a:lnTo>
                    <a:pt x="1031" y="660"/>
                  </a:lnTo>
                  <a:lnTo>
                    <a:pt x="1038" y="676"/>
                  </a:lnTo>
                  <a:lnTo>
                    <a:pt x="1044" y="691"/>
                  </a:lnTo>
                  <a:lnTo>
                    <a:pt x="1057" y="722"/>
                  </a:lnTo>
                  <a:lnTo>
                    <a:pt x="1069" y="753"/>
                  </a:lnTo>
                  <a:lnTo>
                    <a:pt x="1079" y="785"/>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98" name="Freeform 98">
              <a:extLst>
                <a:ext uri="{FF2B5EF4-FFF2-40B4-BE49-F238E27FC236}">
                  <a16:creationId xmlns:a16="http://schemas.microsoft.com/office/drawing/2014/main" id="{05BBDC5A-0BD9-4D45-B7FC-342B9FEE1A4F}"/>
                </a:ext>
              </a:extLst>
            </p:cNvPr>
            <p:cNvSpPr>
              <a:spLocks noChangeAspect="1"/>
            </p:cNvSpPr>
            <p:nvPr/>
          </p:nvSpPr>
          <p:spPr bwMode="auto">
            <a:xfrm>
              <a:off x="8042276" y="2271738"/>
              <a:ext cx="766763" cy="1039813"/>
            </a:xfrm>
            <a:custGeom>
              <a:avLst/>
              <a:gdLst/>
              <a:ahLst/>
              <a:cxnLst>
                <a:cxn ang="0">
                  <a:pos x="879" y="0"/>
                </a:cxn>
                <a:cxn ang="0">
                  <a:pos x="895" y="53"/>
                </a:cxn>
                <a:cxn ang="0">
                  <a:pos x="909" y="107"/>
                </a:cxn>
                <a:cxn ang="0">
                  <a:pos x="919" y="162"/>
                </a:cxn>
                <a:cxn ang="0">
                  <a:pos x="927" y="217"/>
                </a:cxn>
                <a:cxn ang="0">
                  <a:pos x="932" y="272"/>
                </a:cxn>
                <a:cxn ang="0">
                  <a:pos x="935" y="328"/>
                </a:cxn>
                <a:cxn ang="0">
                  <a:pos x="934" y="383"/>
                </a:cxn>
                <a:cxn ang="0">
                  <a:pos x="931" y="439"/>
                </a:cxn>
                <a:cxn ang="0">
                  <a:pos x="926" y="494"/>
                </a:cxn>
                <a:cxn ang="0">
                  <a:pos x="917" y="549"/>
                </a:cxn>
                <a:cxn ang="0">
                  <a:pos x="912" y="577"/>
                </a:cxn>
                <a:cxn ang="0">
                  <a:pos x="900" y="631"/>
                </a:cxn>
                <a:cxn ang="0">
                  <a:pos x="885" y="684"/>
                </a:cxn>
                <a:cxn ang="0">
                  <a:pos x="867" y="737"/>
                </a:cxn>
                <a:cxn ang="0">
                  <a:pos x="847" y="789"/>
                </a:cxn>
                <a:cxn ang="0">
                  <a:pos x="824" y="840"/>
                </a:cxn>
                <a:cxn ang="0">
                  <a:pos x="796" y="894"/>
                </a:cxn>
                <a:cxn ang="0">
                  <a:pos x="779" y="924"/>
                </a:cxn>
                <a:cxn ang="0">
                  <a:pos x="744" y="981"/>
                </a:cxn>
                <a:cxn ang="0">
                  <a:pos x="705" y="1035"/>
                </a:cxn>
                <a:cxn ang="0">
                  <a:pos x="684" y="1062"/>
                </a:cxn>
                <a:cxn ang="0">
                  <a:pos x="641" y="1112"/>
                </a:cxn>
                <a:cxn ang="0">
                  <a:pos x="595" y="1160"/>
                </a:cxn>
                <a:cxn ang="0">
                  <a:pos x="546" y="1206"/>
                </a:cxn>
                <a:cxn ang="0">
                  <a:pos x="507" y="1238"/>
                </a:cxn>
                <a:cxn ang="0">
                  <a:pos x="467" y="1268"/>
                </a:cxn>
                <a:cxn ang="0">
                  <a:pos x="16" y="613"/>
                </a:cxn>
                <a:cxn ang="0">
                  <a:pos x="45" y="587"/>
                </a:cxn>
                <a:cxn ang="0">
                  <a:pos x="70" y="557"/>
                </a:cxn>
                <a:cxn ang="0">
                  <a:pos x="87" y="533"/>
                </a:cxn>
                <a:cxn ang="0">
                  <a:pos x="102" y="507"/>
                </a:cxn>
                <a:cxn ang="0">
                  <a:pos x="115" y="480"/>
                </a:cxn>
                <a:cxn ang="0">
                  <a:pos x="125" y="452"/>
                </a:cxn>
                <a:cxn ang="0">
                  <a:pos x="134" y="412"/>
                </a:cxn>
                <a:cxn ang="0">
                  <a:pos x="139" y="371"/>
                </a:cxn>
                <a:cxn ang="0">
                  <a:pos x="140" y="337"/>
                </a:cxn>
                <a:cxn ang="0">
                  <a:pos x="138" y="310"/>
                </a:cxn>
                <a:cxn ang="0">
                  <a:pos x="133" y="283"/>
                </a:cxn>
                <a:cxn ang="0">
                  <a:pos x="127" y="257"/>
                </a:cxn>
              </a:cxnLst>
              <a:rect l="0" t="0" r="r" b="b"/>
              <a:pathLst>
                <a:path w="935" h="1268">
                  <a:moveTo>
                    <a:pt x="123" y="245"/>
                  </a:moveTo>
                  <a:lnTo>
                    <a:pt x="879" y="0"/>
                  </a:lnTo>
                  <a:lnTo>
                    <a:pt x="888" y="26"/>
                  </a:lnTo>
                  <a:lnTo>
                    <a:pt x="895" y="53"/>
                  </a:lnTo>
                  <a:lnTo>
                    <a:pt x="902" y="80"/>
                  </a:lnTo>
                  <a:lnTo>
                    <a:pt x="909" y="107"/>
                  </a:lnTo>
                  <a:lnTo>
                    <a:pt x="914" y="134"/>
                  </a:lnTo>
                  <a:lnTo>
                    <a:pt x="919" y="162"/>
                  </a:lnTo>
                  <a:lnTo>
                    <a:pt x="923" y="189"/>
                  </a:lnTo>
                  <a:lnTo>
                    <a:pt x="927" y="217"/>
                  </a:lnTo>
                  <a:lnTo>
                    <a:pt x="930" y="244"/>
                  </a:lnTo>
                  <a:lnTo>
                    <a:pt x="932" y="272"/>
                  </a:lnTo>
                  <a:lnTo>
                    <a:pt x="934" y="300"/>
                  </a:lnTo>
                  <a:lnTo>
                    <a:pt x="935" y="328"/>
                  </a:lnTo>
                  <a:lnTo>
                    <a:pt x="935" y="356"/>
                  </a:lnTo>
                  <a:lnTo>
                    <a:pt x="934" y="383"/>
                  </a:lnTo>
                  <a:lnTo>
                    <a:pt x="933" y="411"/>
                  </a:lnTo>
                  <a:lnTo>
                    <a:pt x="931" y="439"/>
                  </a:lnTo>
                  <a:lnTo>
                    <a:pt x="929" y="467"/>
                  </a:lnTo>
                  <a:lnTo>
                    <a:pt x="926" y="494"/>
                  </a:lnTo>
                  <a:lnTo>
                    <a:pt x="922" y="522"/>
                  </a:lnTo>
                  <a:lnTo>
                    <a:pt x="917" y="549"/>
                  </a:lnTo>
                  <a:lnTo>
                    <a:pt x="915" y="563"/>
                  </a:lnTo>
                  <a:lnTo>
                    <a:pt x="912" y="577"/>
                  </a:lnTo>
                  <a:lnTo>
                    <a:pt x="906" y="604"/>
                  </a:lnTo>
                  <a:lnTo>
                    <a:pt x="900" y="631"/>
                  </a:lnTo>
                  <a:lnTo>
                    <a:pt x="893" y="658"/>
                  </a:lnTo>
                  <a:lnTo>
                    <a:pt x="885" y="684"/>
                  </a:lnTo>
                  <a:lnTo>
                    <a:pt x="876" y="711"/>
                  </a:lnTo>
                  <a:lnTo>
                    <a:pt x="867" y="737"/>
                  </a:lnTo>
                  <a:lnTo>
                    <a:pt x="857" y="763"/>
                  </a:lnTo>
                  <a:lnTo>
                    <a:pt x="847" y="789"/>
                  </a:lnTo>
                  <a:lnTo>
                    <a:pt x="836" y="815"/>
                  </a:lnTo>
                  <a:lnTo>
                    <a:pt x="824" y="840"/>
                  </a:lnTo>
                  <a:lnTo>
                    <a:pt x="811" y="865"/>
                  </a:lnTo>
                  <a:lnTo>
                    <a:pt x="796" y="894"/>
                  </a:lnTo>
                  <a:lnTo>
                    <a:pt x="788" y="909"/>
                  </a:lnTo>
                  <a:lnTo>
                    <a:pt x="779" y="924"/>
                  </a:lnTo>
                  <a:lnTo>
                    <a:pt x="762" y="953"/>
                  </a:lnTo>
                  <a:lnTo>
                    <a:pt x="744" y="981"/>
                  </a:lnTo>
                  <a:lnTo>
                    <a:pt x="725" y="1008"/>
                  </a:lnTo>
                  <a:lnTo>
                    <a:pt x="705" y="1035"/>
                  </a:lnTo>
                  <a:lnTo>
                    <a:pt x="695" y="1048"/>
                  </a:lnTo>
                  <a:lnTo>
                    <a:pt x="684" y="1062"/>
                  </a:lnTo>
                  <a:lnTo>
                    <a:pt x="663" y="1087"/>
                  </a:lnTo>
                  <a:lnTo>
                    <a:pt x="641" y="1112"/>
                  </a:lnTo>
                  <a:lnTo>
                    <a:pt x="618" y="1137"/>
                  </a:lnTo>
                  <a:lnTo>
                    <a:pt x="595" y="1160"/>
                  </a:lnTo>
                  <a:lnTo>
                    <a:pt x="571" y="1184"/>
                  </a:lnTo>
                  <a:lnTo>
                    <a:pt x="546" y="1206"/>
                  </a:lnTo>
                  <a:lnTo>
                    <a:pt x="520" y="1227"/>
                  </a:lnTo>
                  <a:lnTo>
                    <a:pt x="507" y="1238"/>
                  </a:lnTo>
                  <a:lnTo>
                    <a:pt x="494" y="1248"/>
                  </a:lnTo>
                  <a:lnTo>
                    <a:pt x="467" y="1268"/>
                  </a:lnTo>
                  <a:lnTo>
                    <a:pt x="0" y="625"/>
                  </a:lnTo>
                  <a:lnTo>
                    <a:pt x="16" y="613"/>
                  </a:lnTo>
                  <a:lnTo>
                    <a:pt x="30" y="600"/>
                  </a:lnTo>
                  <a:lnTo>
                    <a:pt x="45" y="587"/>
                  </a:lnTo>
                  <a:lnTo>
                    <a:pt x="58" y="572"/>
                  </a:lnTo>
                  <a:lnTo>
                    <a:pt x="70" y="557"/>
                  </a:lnTo>
                  <a:lnTo>
                    <a:pt x="82" y="541"/>
                  </a:lnTo>
                  <a:lnTo>
                    <a:pt x="87" y="533"/>
                  </a:lnTo>
                  <a:lnTo>
                    <a:pt x="92" y="524"/>
                  </a:lnTo>
                  <a:lnTo>
                    <a:pt x="102" y="507"/>
                  </a:lnTo>
                  <a:lnTo>
                    <a:pt x="111" y="489"/>
                  </a:lnTo>
                  <a:lnTo>
                    <a:pt x="115" y="480"/>
                  </a:lnTo>
                  <a:lnTo>
                    <a:pt x="118" y="471"/>
                  </a:lnTo>
                  <a:lnTo>
                    <a:pt x="125" y="452"/>
                  </a:lnTo>
                  <a:lnTo>
                    <a:pt x="130" y="432"/>
                  </a:lnTo>
                  <a:lnTo>
                    <a:pt x="134" y="412"/>
                  </a:lnTo>
                  <a:lnTo>
                    <a:pt x="138" y="392"/>
                  </a:lnTo>
                  <a:lnTo>
                    <a:pt x="139" y="371"/>
                  </a:lnTo>
                  <a:lnTo>
                    <a:pt x="140" y="350"/>
                  </a:lnTo>
                  <a:lnTo>
                    <a:pt x="140" y="337"/>
                  </a:lnTo>
                  <a:lnTo>
                    <a:pt x="139" y="323"/>
                  </a:lnTo>
                  <a:lnTo>
                    <a:pt x="138" y="310"/>
                  </a:lnTo>
                  <a:lnTo>
                    <a:pt x="136" y="296"/>
                  </a:lnTo>
                  <a:lnTo>
                    <a:pt x="133" y="283"/>
                  </a:lnTo>
                  <a:lnTo>
                    <a:pt x="131" y="270"/>
                  </a:lnTo>
                  <a:lnTo>
                    <a:pt x="127" y="257"/>
                  </a:lnTo>
                  <a:lnTo>
                    <a:pt x="123" y="245"/>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99" name="Freeform 99">
              <a:extLst>
                <a:ext uri="{FF2B5EF4-FFF2-40B4-BE49-F238E27FC236}">
                  <a16:creationId xmlns:a16="http://schemas.microsoft.com/office/drawing/2014/main" id="{604A6CDF-7E84-4562-A475-E9984E17CE40}"/>
                </a:ext>
              </a:extLst>
            </p:cNvPr>
            <p:cNvSpPr>
              <a:spLocks noChangeAspect="1"/>
            </p:cNvSpPr>
            <p:nvPr/>
          </p:nvSpPr>
          <p:spPr bwMode="auto">
            <a:xfrm>
              <a:off x="7332663" y="2784500"/>
              <a:ext cx="1092200" cy="704850"/>
            </a:xfrm>
            <a:custGeom>
              <a:avLst/>
              <a:gdLst/>
              <a:ahLst/>
              <a:cxnLst>
                <a:cxn ang="0">
                  <a:pos x="1334" y="643"/>
                </a:cxn>
                <a:cxn ang="0">
                  <a:pos x="1289" y="675"/>
                </a:cxn>
                <a:cxn ang="0">
                  <a:pos x="1241" y="704"/>
                </a:cxn>
                <a:cxn ang="0">
                  <a:pos x="1192" y="731"/>
                </a:cxn>
                <a:cxn ang="0">
                  <a:pos x="1142" y="756"/>
                </a:cxn>
                <a:cxn ang="0">
                  <a:pos x="1091" y="778"/>
                </a:cxn>
                <a:cxn ang="0">
                  <a:pos x="1038" y="797"/>
                </a:cxn>
                <a:cxn ang="0">
                  <a:pos x="985" y="814"/>
                </a:cxn>
                <a:cxn ang="0">
                  <a:pos x="932" y="828"/>
                </a:cxn>
                <a:cxn ang="0">
                  <a:pos x="877" y="840"/>
                </a:cxn>
                <a:cxn ang="0">
                  <a:pos x="822" y="849"/>
                </a:cxn>
                <a:cxn ang="0">
                  <a:pos x="767" y="856"/>
                </a:cxn>
                <a:cxn ang="0">
                  <a:pos x="712" y="859"/>
                </a:cxn>
                <a:cxn ang="0">
                  <a:pos x="656" y="860"/>
                </a:cxn>
                <a:cxn ang="0">
                  <a:pos x="600" y="858"/>
                </a:cxn>
                <a:cxn ang="0">
                  <a:pos x="545" y="853"/>
                </a:cxn>
                <a:cxn ang="0">
                  <a:pos x="490" y="846"/>
                </a:cxn>
                <a:cxn ang="0">
                  <a:pos x="424" y="833"/>
                </a:cxn>
                <a:cxn ang="0">
                  <a:pos x="359" y="817"/>
                </a:cxn>
                <a:cxn ang="0">
                  <a:pos x="296" y="797"/>
                </a:cxn>
                <a:cxn ang="0">
                  <a:pos x="233" y="773"/>
                </a:cxn>
                <a:cxn ang="0">
                  <a:pos x="172" y="746"/>
                </a:cxn>
                <a:cxn ang="0">
                  <a:pos x="142" y="731"/>
                </a:cxn>
                <a:cxn ang="0">
                  <a:pos x="83" y="698"/>
                </a:cxn>
                <a:cxn ang="0">
                  <a:pos x="27" y="662"/>
                </a:cxn>
                <a:cxn ang="0">
                  <a:pos x="467" y="0"/>
                </a:cxn>
                <a:cxn ang="0">
                  <a:pos x="489" y="15"/>
                </a:cxn>
                <a:cxn ang="0">
                  <a:pos x="523" y="34"/>
                </a:cxn>
                <a:cxn ang="0">
                  <a:pos x="547" y="44"/>
                </a:cxn>
                <a:cxn ang="0">
                  <a:pos x="573" y="52"/>
                </a:cxn>
                <a:cxn ang="0">
                  <a:pos x="599" y="59"/>
                </a:cxn>
                <a:cxn ang="0">
                  <a:pos x="626" y="63"/>
                </a:cxn>
                <a:cxn ang="0">
                  <a:pos x="653" y="65"/>
                </a:cxn>
                <a:cxn ang="0">
                  <a:pos x="681" y="65"/>
                </a:cxn>
                <a:cxn ang="0">
                  <a:pos x="708" y="63"/>
                </a:cxn>
                <a:cxn ang="0">
                  <a:pos x="735" y="59"/>
                </a:cxn>
                <a:cxn ang="0">
                  <a:pos x="761" y="52"/>
                </a:cxn>
                <a:cxn ang="0">
                  <a:pos x="780" y="46"/>
                </a:cxn>
                <a:cxn ang="0">
                  <a:pos x="799" y="39"/>
                </a:cxn>
                <a:cxn ang="0">
                  <a:pos x="823" y="28"/>
                </a:cxn>
                <a:cxn ang="0">
                  <a:pos x="845" y="15"/>
                </a:cxn>
                <a:cxn ang="0">
                  <a:pos x="867" y="0"/>
                </a:cxn>
              </a:cxnLst>
              <a:rect l="0" t="0" r="r" b="b"/>
              <a:pathLst>
                <a:path w="1334" h="860">
                  <a:moveTo>
                    <a:pt x="867" y="0"/>
                  </a:moveTo>
                  <a:lnTo>
                    <a:pt x="1334" y="643"/>
                  </a:lnTo>
                  <a:lnTo>
                    <a:pt x="1312" y="659"/>
                  </a:lnTo>
                  <a:lnTo>
                    <a:pt x="1289" y="675"/>
                  </a:lnTo>
                  <a:lnTo>
                    <a:pt x="1265" y="690"/>
                  </a:lnTo>
                  <a:lnTo>
                    <a:pt x="1241" y="704"/>
                  </a:lnTo>
                  <a:lnTo>
                    <a:pt x="1216" y="718"/>
                  </a:lnTo>
                  <a:lnTo>
                    <a:pt x="1192" y="731"/>
                  </a:lnTo>
                  <a:lnTo>
                    <a:pt x="1167" y="744"/>
                  </a:lnTo>
                  <a:lnTo>
                    <a:pt x="1142" y="756"/>
                  </a:lnTo>
                  <a:lnTo>
                    <a:pt x="1116" y="767"/>
                  </a:lnTo>
                  <a:lnTo>
                    <a:pt x="1091" y="778"/>
                  </a:lnTo>
                  <a:lnTo>
                    <a:pt x="1065" y="788"/>
                  </a:lnTo>
                  <a:lnTo>
                    <a:pt x="1038" y="797"/>
                  </a:lnTo>
                  <a:lnTo>
                    <a:pt x="1012" y="806"/>
                  </a:lnTo>
                  <a:lnTo>
                    <a:pt x="985" y="814"/>
                  </a:lnTo>
                  <a:lnTo>
                    <a:pt x="959" y="821"/>
                  </a:lnTo>
                  <a:lnTo>
                    <a:pt x="932" y="828"/>
                  </a:lnTo>
                  <a:lnTo>
                    <a:pt x="905" y="835"/>
                  </a:lnTo>
                  <a:lnTo>
                    <a:pt x="877" y="840"/>
                  </a:lnTo>
                  <a:lnTo>
                    <a:pt x="850" y="845"/>
                  </a:lnTo>
                  <a:lnTo>
                    <a:pt x="822" y="849"/>
                  </a:lnTo>
                  <a:lnTo>
                    <a:pt x="795" y="853"/>
                  </a:lnTo>
                  <a:lnTo>
                    <a:pt x="767" y="856"/>
                  </a:lnTo>
                  <a:lnTo>
                    <a:pt x="739" y="858"/>
                  </a:lnTo>
                  <a:lnTo>
                    <a:pt x="712" y="859"/>
                  </a:lnTo>
                  <a:lnTo>
                    <a:pt x="684" y="860"/>
                  </a:lnTo>
                  <a:lnTo>
                    <a:pt x="656" y="860"/>
                  </a:lnTo>
                  <a:lnTo>
                    <a:pt x="628" y="859"/>
                  </a:lnTo>
                  <a:lnTo>
                    <a:pt x="600" y="858"/>
                  </a:lnTo>
                  <a:lnTo>
                    <a:pt x="573" y="856"/>
                  </a:lnTo>
                  <a:lnTo>
                    <a:pt x="545" y="853"/>
                  </a:lnTo>
                  <a:lnTo>
                    <a:pt x="517" y="850"/>
                  </a:lnTo>
                  <a:lnTo>
                    <a:pt x="490" y="846"/>
                  </a:lnTo>
                  <a:lnTo>
                    <a:pt x="457" y="840"/>
                  </a:lnTo>
                  <a:lnTo>
                    <a:pt x="424" y="833"/>
                  </a:lnTo>
                  <a:lnTo>
                    <a:pt x="391" y="826"/>
                  </a:lnTo>
                  <a:lnTo>
                    <a:pt x="359" y="817"/>
                  </a:lnTo>
                  <a:lnTo>
                    <a:pt x="327" y="808"/>
                  </a:lnTo>
                  <a:lnTo>
                    <a:pt x="296" y="797"/>
                  </a:lnTo>
                  <a:lnTo>
                    <a:pt x="264" y="786"/>
                  </a:lnTo>
                  <a:lnTo>
                    <a:pt x="233" y="773"/>
                  </a:lnTo>
                  <a:lnTo>
                    <a:pt x="202" y="760"/>
                  </a:lnTo>
                  <a:lnTo>
                    <a:pt x="172" y="746"/>
                  </a:lnTo>
                  <a:lnTo>
                    <a:pt x="157" y="739"/>
                  </a:lnTo>
                  <a:lnTo>
                    <a:pt x="142" y="731"/>
                  </a:lnTo>
                  <a:lnTo>
                    <a:pt x="113" y="715"/>
                  </a:lnTo>
                  <a:lnTo>
                    <a:pt x="83" y="698"/>
                  </a:lnTo>
                  <a:lnTo>
                    <a:pt x="55" y="681"/>
                  </a:lnTo>
                  <a:lnTo>
                    <a:pt x="27" y="662"/>
                  </a:lnTo>
                  <a:lnTo>
                    <a:pt x="0" y="643"/>
                  </a:lnTo>
                  <a:lnTo>
                    <a:pt x="467" y="0"/>
                  </a:lnTo>
                  <a:lnTo>
                    <a:pt x="478" y="8"/>
                  </a:lnTo>
                  <a:lnTo>
                    <a:pt x="489" y="15"/>
                  </a:lnTo>
                  <a:lnTo>
                    <a:pt x="511" y="28"/>
                  </a:lnTo>
                  <a:lnTo>
                    <a:pt x="523" y="34"/>
                  </a:lnTo>
                  <a:lnTo>
                    <a:pt x="535" y="39"/>
                  </a:lnTo>
                  <a:lnTo>
                    <a:pt x="547" y="44"/>
                  </a:lnTo>
                  <a:lnTo>
                    <a:pt x="560" y="48"/>
                  </a:lnTo>
                  <a:lnTo>
                    <a:pt x="573" y="52"/>
                  </a:lnTo>
                  <a:lnTo>
                    <a:pt x="586" y="56"/>
                  </a:lnTo>
                  <a:lnTo>
                    <a:pt x="599" y="59"/>
                  </a:lnTo>
                  <a:lnTo>
                    <a:pt x="612" y="61"/>
                  </a:lnTo>
                  <a:lnTo>
                    <a:pt x="626" y="63"/>
                  </a:lnTo>
                  <a:lnTo>
                    <a:pt x="639" y="64"/>
                  </a:lnTo>
                  <a:lnTo>
                    <a:pt x="653" y="65"/>
                  </a:lnTo>
                  <a:lnTo>
                    <a:pt x="667" y="65"/>
                  </a:lnTo>
                  <a:lnTo>
                    <a:pt x="681" y="65"/>
                  </a:lnTo>
                  <a:lnTo>
                    <a:pt x="695" y="64"/>
                  </a:lnTo>
                  <a:lnTo>
                    <a:pt x="708" y="63"/>
                  </a:lnTo>
                  <a:lnTo>
                    <a:pt x="722" y="61"/>
                  </a:lnTo>
                  <a:lnTo>
                    <a:pt x="735" y="59"/>
                  </a:lnTo>
                  <a:lnTo>
                    <a:pt x="748" y="56"/>
                  </a:lnTo>
                  <a:lnTo>
                    <a:pt x="761" y="52"/>
                  </a:lnTo>
                  <a:lnTo>
                    <a:pt x="774" y="48"/>
                  </a:lnTo>
                  <a:lnTo>
                    <a:pt x="780" y="46"/>
                  </a:lnTo>
                  <a:lnTo>
                    <a:pt x="787" y="44"/>
                  </a:lnTo>
                  <a:lnTo>
                    <a:pt x="799" y="39"/>
                  </a:lnTo>
                  <a:lnTo>
                    <a:pt x="811" y="34"/>
                  </a:lnTo>
                  <a:lnTo>
                    <a:pt x="823" y="28"/>
                  </a:lnTo>
                  <a:lnTo>
                    <a:pt x="834" y="22"/>
                  </a:lnTo>
                  <a:lnTo>
                    <a:pt x="845" y="15"/>
                  </a:lnTo>
                  <a:lnTo>
                    <a:pt x="856" y="8"/>
                  </a:lnTo>
                  <a:lnTo>
                    <a:pt x="867"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00" name="Freeform 100">
              <a:extLst>
                <a:ext uri="{FF2B5EF4-FFF2-40B4-BE49-F238E27FC236}">
                  <a16:creationId xmlns:a16="http://schemas.microsoft.com/office/drawing/2014/main" id="{686BF759-5C45-4380-8E11-431287D56572}"/>
                </a:ext>
              </a:extLst>
            </p:cNvPr>
            <p:cNvSpPr>
              <a:spLocks noChangeAspect="1"/>
            </p:cNvSpPr>
            <p:nvPr/>
          </p:nvSpPr>
          <p:spPr bwMode="auto">
            <a:xfrm>
              <a:off x="6948488" y="2271738"/>
              <a:ext cx="766763" cy="1039813"/>
            </a:xfrm>
            <a:custGeom>
              <a:avLst/>
              <a:gdLst/>
              <a:ahLst/>
              <a:cxnLst>
                <a:cxn ang="0">
                  <a:pos x="468" y="1268"/>
                </a:cxn>
                <a:cxn ang="0">
                  <a:pos x="423" y="1234"/>
                </a:cxn>
                <a:cxn ang="0">
                  <a:pos x="381" y="1198"/>
                </a:cxn>
                <a:cxn ang="0">
                  <a:pos x="340" y="1160"/>
                </a:cxn>
                <a:cxn ang="0">
                  <a:pos x="320" y="1141"/>
                </a:cxn>
                <a:cxn ang="0">
                  <a:pos x="283" y="1100"/>
                </a:cxn>
                <a:cxn ang="0">
                  <a:pos x="247" y="1057"/>
                </a:cxn>
                <a:cxn ang="0">
                  <a:pos x="213" y="1013"/>
                </a:cxn>
                <a:cxn ang="0">
                  <a:pos x="182" y="967"/>
                </a:cxn>
                <a:cxn ang="0">
                  <a:pos x="153" y="919"/>
                </a:cxn>
                <a:cxn ang="0">
                  <a:pos x="126" y="870"/>
                </a:cxn>
                <a:cxn ang="0">
                  <a:pos x="102" y="820"/>
                </a:cxn>
                <a:cxn ang="0">
                  <a:pos x="80" y="769"/>
                </a:cxn>
                <a:cxn ang="0">
                  <a:pos x="60" y="716"/>
                </a:cxn>
                <a:cxn ang="0">
                  <a:pos x="44" y="663"/>
                </a:cxn>
                <a:cxn ang="0">
                  <a:pos x="30" y="609"/>
                </a:cxn>
                <a:cxn ang="0">
                  <a:pos x="19" y="555"/>
                </a:cxn>
                <a:cxn ang="0">
                  <a:pos x="9" y="494"/>
                </a:cxn>
                <a:cxn ang="0">
                  <a:pos x="6" y="461"/>
                </a:cxn>
                <a:cxn ang="0">
                  <a:pos x="1" y="395"/>
                </a:cxn>
                <a:cxn ang="0">
                  <a:pos x="0" y="361"/>
                </a:cxn>
                <a:cxn ang="0">
                  <a:pos x="1" y="311"/>
                </a:cxn>
                <a:cxn ang="0">
                  <a:pos x="4" y="261"/>
                </a:cxn>
                <a:cxn ang="0">
                  <a:pos x="11" y="195"/>
                </a:cxn>
                <a:cxn ang="0">
                  <a:pos x="19" y="145"/>
                </a:cxn>
                <a:cxn ang="0">
                  <a:pos x="29" y="96"/>
                </a:cxn>
                <a:cxn ang="0">
                  <a:pos x="46" y="32"/>
                </a:cxn>
                <a:cxn ang="0">
                  <a:pos x="811" y="245"/>
                </a:cxn>
                <a:cxn ang="0">
                  <a:pos x="804" y="270"/>
                </a:cxn>
                <a:cxn ang="0">
                  <a:pos x="799" y="296"/>
                </a:cxn>
                <a:cxn ang="0">
                  <a:pos x="796" y="323"/>
                </a:cxn>
                <a:cxn ang="0">
                  <a:pos x="795" y="350"/>
                </a:cxn>
                <a:cxn ang="0">
                  <a:pos x="796" y="382"/>
                </a:cxn>
                <a:cxn ang="0">
                  <a:pos x="800" y="412"/>
                </a:cxn>
                <a:cxn ang="0">
                  <a:pos x="807" y="442"/>
                </a:cxn>
                <a:cxn ang="0">
                  <a:pos x="817" y="471"/>
                </a:cxn>
                <a:cxn ang="0">
                  <a:pos x="829" y="498"/>
                </a:cxn>
                <a:cxn ang="0">
                  <a:pos x="838" y="516"/>
                </a:cxn>
                <a:cxn ang="0">
                  <a:pos x="853" y="541"/>
                </a:cxn>
                <a:cxn ang="0">
                  <a:pos x="877" y="572"/>
                </a:cxn>
                <a:cxn ang="0">
                  <a:pos x="904" y="600"/>
                </a:cxn>
                <a:cxn ang="0">
                  <a:pos x="927" y="619"/>
                </a:cxn>
              </a:cxnLst>
              <a:rect l="0" t="0" r="r" b="b"/>
              <a:pathLst>
                <a:path w="935" h="1268">
                  <a:moveTo>
                    <a:pt x="935" y="625"/>
                  </a:moveTo>
                  <a:lnTo>
                    <a:pt x="468" y="1268"/>
                  </a:lnTo>
                  <a:lnTo>
                    <a:pt x="445" y="1252"/>
                  </a:lnTo>
                  <a:lnTo>
                    <a:pt x="423" y="1234"/>
                  </a:lnTo>
                  <a:lnTo>
                    <a:pt x="402" y="1217"/>
                  </a:lnTo>
                  <a:lnTo>
                    <a:pt x="381" y="1198"/>
                  </a:lnTo>
                  <a:lnTo>
                    <a:pt x="360" y="1180"/>
                  </a:lnTo>
                  <a:lnTo>
                    <a:pt x="340" y="1160"/>
                  </a:lnTo>
                  <a:lnTo>
                    <a:pt x="330" y="1151"/>
                  </a:lnTo>
                  <a:lnTo>
                    <a:pt x="320" y="1141"/>
                  </a:lnTo>
                  <a:lnTo>
                    <a:pt x="301" y="1121"/>
                  </a:lnTo>
                  <a:lnTo>
                    <a:pt x="283" y="1100"/>
                  </a:lnTo>
                  <a:lnTo>
                    <a:pt x="265" y="1079"/>
                  </a:lnTo>
                  <a:lnTo>
                    <a:pt x="247" y="1057"/>
                  </a:lnTo>
                  <a:lnTo>
                    <a:pt x="230" y="1035"/>
                  </a:lnTo>
                  <a:lnTo>
                    <a:pt x="213" y="1013"/>
                  </a:lnTo>
                  <a:lnTo>
                    <a:pt x="197" y="990"/>
                  </a:lnTo>
                  <a:lnTo>
                    <a:pt x="182" y="967"/>
                  </a:lnTo>
                  <a:lnTo>
                    <a:pt x="167" y="943"/>
                  </a:lnTo>
                  <a:lnTo>
                    <a:pt x="153" y="919"/>
                  </a:lnTo>
                  <a:lnTo>
                    <a:pt x="139" y="894"/>
                  </a:lnTo>
                  <a:lnTo>
                    <a:pt x="126" y="870"/>
                  </a:lnTo>
                  <a:lnTo>
                    <a:pt x="114" y="845"/>
                  </a:lnTo>
                  <a:lnTo>
                    <a:pt x="102" y="820"/>
                  </a:lnTo>
                  <a:lnTo>
                    <a:pt x="90" y="794"/>
                  </a:lnTo>
                  <a:lnTo>
                    <a:pt x="80" y="769"/>
                  </a:lnTo>
                  <a:lnTo>
                    <a:pt x="70" y="743"/>
                  </a:lnTo>
                  <a:lnTo>
                    <a:pt x="60" y="716"/>
                  </a:lnTo>
                  <a:lnTo>
                    <a:pt x="52" y="690"/>
                  </a:lnTo>
                  <a:lnTo>
                    <a:pt x="44" y="663"/>
                  </a:lnTo>
                  <a:lnTo>
                    <a:pt x="36" y="637"/>
                  </a:lnTo>
                  <a:lnTo>
                    <a:pt x="30" y="609"/>
                  </a:lnTo>
                  <a:lnTo>
                    <a:pt x="24" y="582"/>
                  </a:lnTo>
                  <a:lnTo>
                    <a:pt x="19" y="555"/>
                  </a:lnTo>
                  <a:lnTo>
                    <a:pt x="14" y="527"/>
                  </a:lnTo>
                  <a:lnTo>
                    <a:pt x="9" y="494"/>
                  </a:lnTo>
                  <a:lnTo>
                    <a:pt x="7" y="478"/>
                  </a:lnTo>
                  <a:lnTo>
                    <a:pt x="6" y="461"/>
                  </a:lnTo>
                  <a:lnTo>
                    <a:pt x="3" y="428"/>
                  </a:lnTo>
                  <a:lnTo>
                    <a:pt x="1" y="395"/>
                  </a:lnTo>
                  <a:lnTo>
                    <a:pt x="0" y="378"/>
                  </a:lnTo>
                  <a:lnTo>
                    <a:pt x="0" y="361"/>
                  </a:lnTo>
                  <a:lnTo>
                    <a:pt x="0" y="328"/>
                  </a:lnTo>
                  <a:lnTo>
                    <a:pt x="1" y="311"/>
                  </a:lnTo>
                  <a:lnTo>
                    <a:pt x="1" y="294"/>
                  </a:lnTo>
                  <a:lnTo>
                    <a:pt x="4" y="261"/>
                  </a:lnTo>
                  <a:lnTo>
                    <a:pt x="7" y="228"/>
                  </a:lnTo>
                  <a:lnTo>
                    <a:pt x="11" y="195"/>
                  </a:lnTo>
                  <a:lnTo>
                    <a:pt x="16" y="162"/>
                  </a:lnTo>
                  <a:lnTo>
                    <a:pt x="19" y="145"/>
                  </a:lnTo>
                  <a:lnTo>
                    <a:pt x="22" y="129"/>
                  </a:lnTo>
                  <a:lnTo>
                    <a:pt x="29" y="96"/>
                  </a:lnTo>
                  <a:lnTo>
                    <a:pt x="37" y="64"/>
                  </a:lnTo>
                  <a:lnTo>
                    <a:pt x="46" y="32"/>
                  </a:lnTo>
                  <a:lnTo>
                    <a:pt x="56" y="0"/>
                  </a:lnTo>
                  <a:lnTo>
                    <a:pt x="811" y="245"/>
                  </a:lnTo>
                  <a:lnTo>
                    <a:pt x="808" y="257"/>
                  </a:lnTo>
                  <a:lnTo>
                    <a:pt x="804" y="270"/>
                  </a:lnTo>
                  <a:lnTo>
                    <a:pt x="801" y="283"/>
                  </a:lnTo>
                  <a:lnTo>
                    <a:pt x="799" y="296"/>
                  </a:lnTo>
                  <a:lnTo>
                    <a:pt x="797" y="310"/>
                  </a:lnTo>
                  <a:lnTo>
                    <a:pt x="796" y="323"/>
                  </a:lnTo>
                  <a:lnTo>
                    <a:pt x="795" y="337"/>
                  </a:lnTo>
                  <a:lnTo>
                    <a:pt x="795" y="350"/>
                  </a:lnTo>
                  <a:lnTo>
                    <a:pt x="795" y="371"/>
                  </a:lnTo>
                  <a:lnTo>
                    <a:pt x="796" y="382"/>
                  </a:lnTo>
                  <a:lnTo>
                    <a:pt x="797" y="392"/>
                  </a:lnTo>
                  <a:lnTo>
                    <a:pt x="800" y="412"/>
                  </a:lnTo>
                  <a:lnTo>
                    <a:pt x="805" y="432"/>
                  </a:lnTo>
                  <a:lnTo>
                    <a:pt x="807" y="442"/>
                  </a:lnTo>
                  <a:lnTo>
                    <a:pt x="810" y="452"/>
                  </a:lnTo>
                  <a:lnTo>
                    <a:pt x="817" y="471"/>
                  </a:lnTo>
                  <a:lnTo>
                    <a:pt x="824" y="489"/>
                  </a:lnTo>
                  <a:lnTo>
                    <a:pt x="829" y="498"/>
                  </a:lnTo>
                  <a:lnTo>
                    <a:pt x="833" y="507"/>
                  </a:lnTo>
                  <a:lnTo>
                    <a:pt x="838" y="516"/>
                  </a:lnTo>
                  <a:lnTo>
                    <a:pt x="843" y="524"/>
                  </a:lnTo>
                  <a:lnTo>
                    <a:pt x="853" y="541"/>
                  </a:lnTo>
                  <a:lnTo>
                    <a:pt x="865" y="557"/>
                  </a:lnTo>
                  <a:lnTo>
                    <a:pt x="877" y="572"/>
                  </a:lnTo>
                  <a:lnTo>
                    <a:pt x="890" y="587"/>
                  </a:lnTo>
                  <a:lnTo>
                    <a:pt x="904" y="600"/>
                  </a:lnTo>
                  <a:lnTo>
                    <a:pt x="919" y="613"/>
                  </a:lnTo>
                  <a:lnTo>
                    <a:pt x="927" y="619"/>
                  </a:lnTo>
                  <a:lnTo>
                    <a:pt x="935" y="625"/>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01" name="Freeform 101">
              <a:extLst>
                <a:ext uri="{FF2B5EF4-FFF2-40B4-BE49-F238E27FC236}">
                  <a16:creationId xmlns:a16="http://schemas.microsoft.com/office/drawing/2014/main" id="{B5CF3F40-F642-4042-842F-1F7F022E45DC}"/>
                </a:ext>
              </a:extLst>
            </p:cNvPr>
            <p:cNvSpPr>
              <a:spLocks noChangeAspect="1"/>
            </p:cNvSpPr>
            <p:nvPr/>
          </p:nvSpPr>
          <p:spPr bwMode="auto">
            <a:xfrm>
              <a:off x="6994526" y="1628800"/>
              <a:ext cx="884238" cy="844550"/>
            </a:xfrm>
            <a:custGeom>
              <a:avLst/>
              <a:gdLst/>
              <a:ahLst/>
              <a:cxnLst>
                <a:cxn ang="0">
                  <a:pos x="0" y="785"/>
                </a:cxn>
                <a:cxn ang="0">
                  <a:pos x="18" y="732"/>
                </a:cxn>
                <a:cxn ang="0">
                  <a:pos x="39" y="681"/>
                </a:cxn>
                <a:cxn ang="0">
                  <a:pos x="63" y="630"/>
                </a:cxn>
                <a:cxn ang="0">
                  <a:pos x="89" y="581"/>
                </a:cxn>
                <a:cxn ang="0">
                  <a:pos x="117" y="532"/>
                </a:cxn>
                <a:cxn ang="0">
                  <a:pos x="140" y="497"/>
                </a:cxn>
                <a:cxn ang="0">
                  <a:pos x="164" y="463"/>
                </a:cxn>
                <a:cxn ang="0">
                  <a:pos x="198" y="419"/>
                </a:cxn>
                <a:cxn ang="0">
                  <a:pos x="234" y="377"/>
                </a:cxn>
                <a:cxn ang="0">
                  <a:pos x="272" y="336"/>
                </a:cxn>
                <a:cxn ang="0">
                  <a:pos x="312" y="298"/>
                </a:cxn>
                <a:cxn ang="0">
                  <a:pos x="354" y="261"/>
                </a:cxn>
                <a:cxn ang="0">
                  <a:pos x="398" y="227"/>
                </a:cxn>
                <a:cxn ang="0">
                  <a:pos x="443" y="194"/>
                </a:cxn>
                <a:cxn ang="0">
                  <a:pos x="490" y="164"/>
                </a:cxn>
                <a:cxn ang="0">
                  <a:pos x="540" y="137"/>
                </a:cxn>
                <a:cxn ang="0">
                  <a:pos x="594" y="109"/>
                </a:cxn>
                <a:cxn ang="0">
                  <a:pos x="656" y="82"/>
                </a:cxn>
                <a:cxn ang="0">
                  <a:pos x="687" y="70"/>
                </a:cxn>
                <a:cxn ang="0">
                  <a:pos x="750" y="49"/>
                </a:cxn>
                <a:cxn ang="0">
                  <a:pos x="814" y="32"/>
                </a:cxn>
                <a:cxn ang="0">
                  <a:pos x="863" y="21"/>
                </a:cxn>
                <a:cxn ang="0">
                  <a:pos x="913" y="13"/>
                </a:cxn>
                <a:cxn ang="0">
                  <a:pos x="979" y="5"/>
                </a:cxn>
                <a:cxn ang="0">
                  <a:pos x="1046" y="1"/>
                </a:cxn>
                <a:cxn ang="0">
                  <a:pos x="1079" y="795"/>
                </a:cxn>
                <a:cxn ang="0">
                  <a:pos x="1051" y="796"/>
                </a:cxn>
                <a:cxn ang="0">
                  <a:pos x="1024" y="800"/>
                </a:cxn>
                <a:cxn ang="0">
                  <a:pos x="997" y="805"/>
                </a:cxn>
                <a:cxn ang="0">
                  <a:pos x="971" y="813"/>
                </a:cxn>
                <a:cxn ang="0">
                  <a:pos x="946" y="822"/>
                </a:cxn>
                <a:cxn ang="0">
                  <a:pos x="922" y="833"/>
                </a:cxn>
                <a:cxn ang="0">
                  <a:pos x="899" y="847"/>
                </a:cxn>
                <a:cxn ang="0">
                  <a:pos x="877" y="861"/>
                </a:cxn>
                <a:cxn ang="0">
                  <a:pos x="857" y="878"/>
                </a:cxn>
                <a:cxn ang="0">
                  <a:pos x="838" y="896"/>
                </a:cxn>
                <a:cxn ang="0">
                  <a:pos x="820" y="915"/>
                </a:cxn>
                <a:cxn ang="0">
                  <a:pos x="804" y="936"/>
                </a:cxn>
                <a:cxn ang="0">
                  <a:pos x="789" y="958"/>
                </a:cxn>
                <a:cxn ang="0">
                  <a:pos x="776" y="981"/>
                </a:cxn>
                <a:cxn ang="0">
                  <a:pos x="768" y="999"/>
                </a:cxn>
                <a:cxn ang="0">
                  <a:pos x="760" y="1017"/>
                </a:cxn>
              </a:cxnLst>
              <a:rect l="0" t="0" r="r" b="b"/>
              <a:pathLst>
                <a:path w="1079" h="1030">
                  <a:moveTo>
                    <a:pt x="756" y="1030"/>
                  </a:moveTo>
                  <a:lnTo>
                    <a:pt x="0" y="785"/>
                  </a:lnTo>
                  <a:lnTo>
                    <a:pt x="9" y="758"/>
                  </a:lnTo>
                  <a:lnTo>
                    <a:pt x="18" y="732"/>
                  </a:lnTo>
                  <a:lnTo>
                    <a:pt x="28" y="706"/>
                  </a:lnTo>
                  <a:lnTo>
                    <a:pt x="39" y="681"/>
                  </a:lnTo>
                  <a:lnTo>
                    <a:pt x="51" y="655"/>
                  </a:lnTo>
                  <a:lnTo>
                    <a:pt x="63" y="630"/>
                  </a:lnTo>
                  <a:lnTo>
                    <a:pt x="76" y="606"/>
                  </a:lnTo>
                  <a:lnTo>
                    <a:pt x="89" y="581"/>
                  </a:lnTo>
                  <a:lnTo>
                    <a:pt x="103" y="556"/>
                  </a:lnTo>
                  <a:lnTo>
                    <a:pt x="117" y="532"/>
                  </a:lnTo>
                  <a:lnTo>
                    <a:pt x="132" y="509"/>
                  </a:lnTo>
                  <a:lnTo>
                    <a:pt x="140" y="497"/>
                  </a:lnTo>
                  <a:lnTo>
                    <a:pt x="148" y="486"/>
                  </a:lnTo>
                  <a:lnTo>
                    <a:pt x="164" y="463"/>
                  </a:lnTo>
                  <a:lnTo>
                    <a:pt x="181" y="441"/>
                  </a:lnTo>
                  <a:lnTo>
                    <a:pt x="198" y="419"/>
                  </a:lnTo>
                  <a:lnTo>
                    <a:pt x="216" y="398"/>
                  </a:lnTo>
                  <a:lnTo>
                    <a:pt x="234" y="377"/>
                  </a:lnTo>
                  <a:lnTo>
                    <a:pt x="253" y="356"/>
                  </a:lnTo>
                  <a:lnTo>
                    <a:pt x="272" y="336"/>
                  </a:lnTo>
                  <a:lnTo>
                    <a:pt x="292" y="317"/>
                  </a:lnTo>
                  <a:lnTo>
                    <a:pt x="312" y="298"/>
                  </a:lnTo>
                  <a:lnTo>
                    <a:pt x="333" y="279"/>
                  </a:lnTo>
                  <a:lnTo>
                    <a:pt x="354" y="261"/>
                  </a:lnTo>
                  <a:lnTo>
                    <a:pt x="376" y="244"/>
                  </a:lnTo>
                  <a:lnTo>
                    <a:pt x="398" y="227"/>
                  </a:lnTo>
                  <a:lnTo>
                    <a:pt x="420" y="210"/>
                  </a:lnTo>
                  <a:lnTo>
                    <a:pt x="443" y="194"/>
                  </a:lnTo>
                  <a:lnTo>
                    <a:pt x="467" y="179"/>
                  </a:lnTo>
                  <a:lnTo>
                    <a:pt x="490" y="164"/>
                  </a:lnTo>
                  <a:lnTo>
                    <a:pt x="515" y="150"/>
                  </a:lnTo>
                  <a:lnTo>
                    <a:pt x="540" y="137"/>
                  </a:lnTo>
                  <a:lnTo>
                    <a:pt x="564" y="124"/>
                  </a:lnTo>
                  <a:lnTo>
                    <a:pt x="594" y="109"/>
                  </a:lnTo>
                  <a:lnTo>
                    <a:pt x="625" y="95"/>
                  </a:lnTo>
                  <a:lnTo>
                    <a:pt x="656" y="82"/>
                  </a:lnTo>
                  <a:lnTo>
                    <a:pt x="671" y="76"/>
                  </a:lnTo>
                  <a:lnTo>
                    <a:pt x="687" y="70"/>
                  </a:lnTo>
                  <a:lnTo>
                    <a:pt x="718" y="59"/>
                  </a:lnTo>
                  <a:lnTo>
                    <a:pt x="750" y="49"/>
                  </a:lnTo>
                  <a:lnTo>
                    <a:pt x="782" y="40"/>
                  </a:lnTo>
                  <a:lnTo>
                    <a:pt x="814" y="32"/>
                  </a:lnTo>
                  <a:lnTo>
                    <a:pt x="847" y="24"/>
                  </a:lnTo>
                  <a:lnTo>
                    <a:pt x="863" y="21"/>
                  </a:lnTo>
                  <a:lnTo>
                    <a:pt x="880" y="18"/>
                  </a:lnTo>
                  <a:lnTo>
                    <a:pt x="913" y="13"/>
                  </a:lnTo>
                  <a:lnTo>
                    <a:pt x="946" y="8"/>
                  </a:lnTo>
                  <a:lnTo>
                    <a:pt x="979" y="5"/>
                  </a:lnTo>
                  <a:lnTo>
                    <a:pt x="1012" y="2"/>
                  </a:lnTo>
                  <a:lnTo>
                    <a:pt x="1046" y="1"/>
                  </a:lnTo>
                  <a:lnTo>
                    <a:pt x="1079" y="0"/>
                  </a:lnTo>
                  <a:lnTo>
                    <a:pt x="1079" y="795"/>
                  </a:lnTo>
                  <a:lnTo>
                    <a:pt x="1065" y="795"/>
                  </a:lnTo>
                  <a:lnTo>
                    <a:pt x="1051" y="796"/>
                  </a:lnTo>
                  <a:lnTo>
                    <a:pt x="1037" y="798"/>
                  </a:lnTo>
                  <a:lnTo>
                    <a:pt x="1024" y="800"/>
                  </a:lnTo>
                  <a:lnTo>
                    <a:pt x="1010" y="802"/>
                  </a:lnTo>
                  <a:lnTo>
                    <a:pt x="997" y="805"/>
                  </a:lnTo>
                  <a:lnTo>
                    <a:pt x="984" y="809"/>
                  </a:lnTo>
                  <a:lnTo>
                    <a:pt x="971" y="813"/>
                  </a:lnTo>
                  <a:lnTo>
                    <a:pt x="958" y="817"/>
                  </a:lnTo>
                  <a:lnTo>
                    <a:pt x="946" y="822"/>
                  </a:lnTo>
                  <a:lnTo>
                    <a:pt x="934" y="828"/>
                  </a:lnTo>
                  <a:lnTo>
                    <a:pt x="922" y="833"/>
                  </a:lnTo>
                  <a:lnTo>
                    <a:pt x="910" y="840"/>
                  </a:lnTo>
                  <a:lnTo>
                    <a:pt x="899" y="847"/>
                  </a:lnTo>
                  <a:lnTo>
                    <a:pt x="888" y="854"/>
                  </a:lnTo>
                  <a:lnTo>
                    <a:pt x="877" y="861"/>
                  </a:lnTo>
                  <a:lnTo>
                    <a:pt x="867" y="869"/>
                  </a:lnTo>
                  <a:lnTo>
                    <a:pt x="857" y="878"/>
                  </a:lnTo>
                  <a:lnTo>
                    <a:pt x="847" y="887"/>
                  </a:lnTo>
                  <a:lnTo>
                    <a:pt x="838" y="896"/>
                  </a:lnTo>
                  <a:lnTo>
                    <a:pt x="829" y="905"/>
                  </a:lnTo>
                  <a:lnTo>
                    <a:pt x="820" y="915"/>
                  </a:lnTo>
                  <a:lnTo>
                    <a:pt x="812" y="925"/>
                  </a:lnTo>
                  <a:lnTo>
                    <a:pt x="804" y="936"/>
                  </a:lnTo>
                  <a:lnTo>
                    <a:pt x="796" y="947"/>
                  </a:lnTo>
                  <a:lnTo>
                    <a:pt x="789" y="958"/>
                  </a:lnTo>
                  <a:lnTo>
                    <a:pt x="782" y="969"/>
                  </a:lnTo>
                  <a:lnTo>
                    <a:pt x="776" y="981"/>
                  </a:lnTo>
                  <a:lnTo>
                    <a:pt x="770" y="993"/>
                  </a:lnTo>
                  <a:lnTo>
                    <a:pt x="768" y="999"/>
                  </a:lnTo>
                  <a:lnTo>
                    <a:pt x="765" y="1005"/>
                  </a:lnTo>
                  <a:lnTo>
                    <a:pt x="760" y="1017"/>
                  </a:lnTo>
                  <a:lnTo>
                    <a:pt x="756" y="103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02" name="Text Box 102">
              <a:extLst>
                <a:ext uri="{FF2B5EF4-FFF2-40B4-BE49-F238E27FC236}">
                  <a16:creationId xmlns:a16="http://schemas.microsoft.com/office/drawing/2014/main" id="{D5E48C2D-C178-43D3-9750-5F2DA7BA81CE}"/>
                </a:ext>
              </a:extLst>
            </p:cNvPr>
            <p:cNvSpPr txBox="1">
              <a:spLocks noChangeArrowheads="1"/>
            </p:cNvSpPr>
            <p:nvPr/>
          </p:nvSpPr>
          <p:spPr bwMode="auto">
            <a:xfrm>
              <a:off x="7231063" y="1924075"/>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03" name="Text Box 103">
              <a:extLst>
                <a:ext uri="{FF2B5EF4-FFF2-40B4-BE49-F238E27FC236}">
                  <a16:creationId xmlns:a16="http://schemas.microsoft.com/office/drawing/2014/main" id="{9478A9CB-2F73-4D50-B0DC-5BBC1B4428CB}"/>
                </a:ext>
              </a:extLst>
            </p:cNvPr>
            <p:cNvSpPr txBox="1">
              <a:spLocks noChangeArrowheads="1"/>
            </p:cNvSpPr>
            <p:nvPr/>
          </p:nvSpPr>
          <p:spPr bwMode="auto">
            <a:xfrm>
              <a:off x="7126288" y="2663850"/>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04" name="Text Box 104">
              <a:extLst>
                <a:ext uri="{FF2B5EF4-FFF2-40B4-BE49-F238E27FC236}">
                  <a16:creationId xmlns:a16="http://schemas.microsoft.com/office/drawing/2014/main" id="{256E000B-48D2-4D60-8BAD-72E71D40F272}"/>
                </a:ext>
              </a:extLst>
            </p:cNvPr>
            <p:cNvSpPr txBox="1">
              <a:spLocks noChangeArrowheads="1"/>
            </p:cNvSpPr>
            <p:nvPr/>
          </p:nvSpPr>
          <p:spPr bwMode="auto">
            <a:xfrm>
              <a:off x="8115301" y="1924075"/>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05" name="Text Box 105">
              <a:extLst>
                <a:ext uri="{FF2B5EF4-FFF2-40B4-BE49-F238E27FC236}">
                  <a16:creationId xmlns:a16="http://schemas.microsoft.com/office/drawing/2014/main" id="{D35ECBE3-561C-453E-9D11-C831E9584727}"/>
                </a:ext>
              </a:extLst>
            </p:cNvPr>
            <p:cNvSpPr txBox="1">
              <a:spLocks noChangeArrowheads="1"/>
            </p:cNvSpPr>
            <p:nvPr/>
          </p:nvSpPr>
          <p:spPr bwMode="auto">
            <a:xfrm>
              <a:off x="7672388" y="3008338"/>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06" name="Text Box 106">
              <a:extLst>
                <a:ext uri="{FF2B5EF4-FFF2-40B4-BE49-F238E27FC236}">
                  <a16:creationId xmlns:a16="http://schemas.microsoft.com/office/drawing/2014/main" id="{A4CACA13-1EC9-4FDB-8D19-8798EA06B7B1}"/>
                </a:ext>
              </a:extLst>
            </p:cNvPr>
            <p:cNvSpPr txBox="1">
              <a:spLocks noChangeArrowheads="1"/>
            </p:cNvSpPr>
            <p:nvPr/>
          </p:nvSpPr>
          <p:spPr bwMode="auto">
            <a:xfrm>
              <a:off x="8220076" y="2663850"/>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grpSp>
      <p:grpSp>
        <p:nvGrpSpPr>
          <p:cNvPr id="107" name="Group 106" descr="Segment 5">
            <a:extLst>
              <a:ext uri="{FF2B5EF4-FFF2-40B4-BE49-F238E27FC236}">
                <a16:creationId xmlns:a16="http://schemas.microsoft.com/office/drawing/2014/main" id="{18CBCD45-2A01-4C2B-ABAA-ECA57FF3C13D}"/>
              </a:ext>
            </a:extLst>
          </p:cNvPr>
          <p:cNvGrpSpPr/>
          <p:nvPr/>
        </p:nvGrpSpPr>
        <p:grpSpPr bwMode="auto">
          <a:xfrm>
            <a:off x="3069227" y="4157663"/>
            <a:ext cx="1860550" cy="1860550"/>
            <a:chOff x="1428750" y="4022750"/>
            <a:chExt cx="1860550" cy="1860550"/>
          </a:xfrm>
        </p:grpSpPr>
        <p:sp>
          <p:nvSpPr>
            <p:cNvPr id="108" name="Freeform 108">
              <a:extLst>
                <a:ext uri="{FF2B5EF4-FFF2-40B4-BE49-F238E27FC236}">
                  <a16:creationId xmlns:a16="http://schemas.microsoft.com/office/drawing/2014/main" id="{7B46EB9E-ABB7-41B9-82CC-3BA79FD7EAC8}"/>
                </a:ext>
              </a:extLst>
            </p:cNvPr>
            <p:cNvSpPr>
              <a:spLocks noChangeAspect="1"/>
            </p:cNvSpPr>
            <p:nvPr/>
          </p:nvSpPr>
          <p:spPr bwMode="auto">
            <a:xfrm>
              <a:off x="2359025" y="4022750"/>
              <a:ext cx="806450" cy="790575"/>
            </a:xfrm>
            <a:custGeom>
              <a:avLst/>
              <a:gdLst/>
              <a:ahLst/>
              <a:cxnLst>
                <a:cxn ang="0">
                  <a:pos x="0" y="0"/>
                </a:cxn>
                <a:cxn ang="0">
                  <a:pos x="56" y="2"/>
                </a:cxn>
                <a:cxn ang="0">
                  <a:pos x="111" y="6"/>
                </a:cxn>
                <a:cxn ang="0">
                  <a:pos x="166" y="12"/>
                </a:cxn>
                <a:cxn ang="0">
                  <a:pos x="221" y="22"/>
                </a:cxn>
                <a:cxn ang="0">
                  <a:pos x="275" y="34"/>
                </a:cxn>
                <a:cxn ang="0">
                  <a:pos x="329" y="49"/>
                </a:cxn>
                <a:cxn ang="0">
                  <a:pos x="382" y="67"/>
                </a:cxn>
                <a:cxn ang="0">
                  <a:pos x="408" y="76"/>
                </a:cxn>
                <a:cxn ang="0">
                  <a:pos x="459" y="98"/>
                </a:cxn>
                <a:cxn ang="0">
                  <a:pos x="510" y="121"/>
                </a:cxn>
                <a:cxn ang="0">
                  <a:pos x="559" y="147"/>
                </a:cxn>
                <a:cxn ang="0">
                  <a:pos x="608" y="176"/>
                </a:cxn>
                <a:cxn ang="0">
                  <a:pos x="654" y="207"/>
                </a:cxn>
                <a:cxn ang="0">
                  <a:pos x="699" y="240"/>
                </a:cxn>
                <a:cxn ang="0">
                  <a:pos x="742" y="275"/>
                </a:cxn>
                <a:cxn ang="0">
                  <a:pos x="773" y="303"/>
                </a:cxn>
                <a:cxn ang="0">
                  <a:pos x="803" y="332"/>
                </a:cxn>
                <a:cxn ang="0">
                  <a:pos x="853" y="387"/>
                </a:cxn>
                <a:cxn ang="0">
                  <a:pos x="877" y="415"/>
                </a:cxn>
                <a:cxn ang="0">
                  <a:pos x="911" y="459"/>
                </a:cxn>
                <a:cxn ang="0">
                  <a:pos x="933" y="489"/>
                </a:cxn>
                <a:cxn ang="0">
                  <a:pos x="964" y="535"/>
                </a:cxn>
                <a:cxn ang="0">
                  <a:pos x="983" y="568"/>
                </a:cxn>
                <a:cxn ang="0">
                  <a:pos x="283" y="946"/>
                </a:cxn>
                <a:cxn ang="0">
                  <a:pos x="270" y="928"/>
                </a:cxn>
                <a:cxn ang="0">
                  <a:pos x="249" y="903"/>
                </a:cxn>
                <a:cxn ang="0">
                  <a:pos x="234" y="888"/>
                </a:cxn>
                <a:cxn ang="0">
                  <a:pos x="209" y="867"/>
                </a:cxn>
                <a:cxn ang="0">
                  <a:pos x="172" y="842"/>
                </a:cxn>
                <a:cxn ang="0">
                  <a:pos x="153" y="831"/>
                </a:cxn>
                <a:cxn ang="0">
                  <a:pos x="133" y="822"/>
                </a:cxn>
                <a:cxn ang="0">
                  <a:pos x="112" y="814"/>
                </a:cxn>
                <a:cxn ang="0">
                  <a:pos x="91" y="807"/>
                </a:cxn>
                <a:cxn ang="0">
                  <a:pos x="69" y="802"/>
                </a:cxn>
                <a:cxn ang="0">
                  <a:pos x="35" y="797"/>
                </a:cxn>
                <a:cxn ang="0">
                  <a:pos x="0" y="795"/>
                </a:cxn>
              </a:cxnLst>
              <a:rect l="0" t="0" r="r" b="b"/>
              <a:pathLst>
                <a:path w="983" h="965">
                  <a:moveTo>
                    <a:pt x="0" y="795"/>
                  </a:moveTo>
                  <a:lnTo>
                    <a:pt x="0" y="0"/>
                  </a:lnTo>
                  <a:lnTo>
                    <a:pt x="28" y="1"/>
                  </a:lnTo>
                  <a:lnTo>
                    <a:pt x="56" y="2"/>
                  </a:lnTo>
                  <a:lnTo>
                    <a:pt x="83" y="3"/>
                  </a:lnTo>
                  <a:lnTo>
                    <a:pt x="111" y="6"/>
                  </a:lnTo>
                  <a:lnTo>
                    <a:pt x="139" y="9"/>
                  </a:lnTo>
                  <a:lnTo>
                    <a:pt x="166" y="12"/>
                  </a:lnTo>
                  <a:lnTo>
                    <a:pt x="194" y="17"/>
                  </a:lnTo>
                  <a:lnTo>
                    <a:pt x="221" y="22"/>
                  </a:lnTo>
                  <a:lnTo>
                    <a:pt x="248" y="28"/>
                  </a:lnTo>
                  <a:lnTo>
                    <a:pt x="275" y="34"/>
                  </a:lnTo>
                  <a:lnTo>
                    <a:pt x="302" y="41"/>
                  </a:lnTo>
                  <a:lnTo>
                    <a:pt x="329" y="49"/>
                  </a:lnTo>
                  <a:lnTo>
                    <a:pt x="356" y="58"/>
                  </a:lnTo>
                  <a:lnTo>
                    <a:pt x="382" y="67"/>
                  </a:lnTo>
                  <a:lnTo>
                    <a:pt x="395" y="71"/>
                  </a:lnTo>
                  <a:lnTo>
                    <a:pt x="408" y="76"/>
                  </a:lnTo>
                  <a:lnTo>
                    <a:pt x="434" y="87"/>
                  </a:lnTo>
                  <a:lnTo>
                    <a:pt x="459" y="98"/>
                  </a:lnTo>
                  <a:lnTo>
                    <a:pt x="485" y="109"/>
                  </a:lnTo>
                  <a:lnTo>
                    <a:pt x="510" y="121"/>
                  </a:lnTo>
                  <a:lnTo>
                    <a:pt x="534" y="134"/>
                  </a:lnTo>
                  <a:lnTo>
                    <a:pt x="559" y="147"/>
                  </a:lnTo>
                  <a:lnTo>
                    <a:pt x="584" y="161"/>
                  </a:lnTo>
                  <a:lnTo>
                    <a:pt x="608" y="176"/>
                  </a:lnTo>
                  <a:lnTo>
                    <a:pt x="631" y="191"/>
                  </a:lnTo>
                  <a:lnTo>
                    <a:pt x="654" y="207"/>
                  </a:lnTo>
                  <a:lnTo>
                    <a:pt x="676" y="223"/>
                  </a:lnTo>
                  <a:lnTo>
                    <a:pt x="699" y="240"/>
                  </a:lnTo>
                  <a:lnTo>
                    <a:pt x="720" y="257"/>
                  </a:lnTo>
                  <a:lnTo>
                    <a:pt x="742" y="275"/>
                  </a:lnTo>
                  <a:lnTo>
                    <a:pt x="762" y="294"/>
                  </a:lnTo>
                  <a:lnTo>
                    <a:pt x="773" y="303"/>
                  </a:lnTo>
                  <a:lnTo>
                    <a:pt x="783" y="313"/>
                  </a:lnTo>
                  <a:lnTo>
                    <a:pt x="803" y="332"/>
                  </a:lnTo>
                  <a:lnTo>
                    <a:pt x="828" y="359"/>
                  </a:lnTo>
                  <a:lnTo>
                    <a:pt x="853" y="387"/>
                  </a:lnTo>
                  <a:lnTo>
                    <a:pt x="865" y="401"/>
                  </a:lnTo>
                  <a:lnTo>
                    <a:pt x="877" y="415"/>
                  </a:lnTo>
                  <a:lnTo>
                    <a:pt x="900" y="444"/>
                  </a:lnTo>
                  <a:lnTo>
                    <a:pt x="911" y="459"/>
                  </a:lnTo>
                  <a:lnTo>
                    <a:pt x="922" y="474"/>
                  </a:lnTo>
                  <a:lnTo>
                    <a:pt x="933" y="489"/>
                  </a:lnTo>
                  <a:lnTo>
                    <a:pt x="943" y="504"/>
                  </a:lnTo>
                  <a:lnTo>
                    <a:pt x="964" y="535"/>
                  </a:lnTo>
                  <a:lnTo>
                    <a:pt x="973" y="551"/>
                  </a:lnTo>
                  <a:lnTo>
                    <a:pt x="983" y="568"/>
                  </a:lnTo>
                  <a:lnTo>
                    <a:pt x="295" y="965"/>
                  </a:lnTo>
                  <a:lnTo>
                    <a:pt x="283" y="946"/>
                  </a:lnTo>
                  <a:lnTo>
                    <a:pt x="277" y="937"/>
                  </a:lnTo>
                  <a:lnTo>
                    <a:pt x="270" y="928"/>
                  </a:lnTo>
                  <a:lnTo>
                    <a:pt x="256" y="912"/>
                  </a:lnTo>
                  <a:lnTo>
                    <a:pt x="249" y="903"/>
                  </a:lnTo>
                  <a:lnTo>
                    <a:pt x="241" y="896"/>
                  </a:lnTo>
                  <a:lnTo>
                    <a:pt x="234" y="888"/>
                  </a:lnTo>
                  <a:lnTo>
                    <a:pt x="226" y="881"/>
                  </a:lnTo>
                  <a:lnTo>
                    <a:pt x="209" y="867"/>
                  </a:lnTo>
                  <a:lnTo>
                    <a:pt x="191" y="854"/>
                  </a:lnTo>
                  <a:lnTo>
                    <a:pt x="172" y="842"/>
                  </a:lnTo>
                  <a:lnTo>
                    <a:pt x="163" y="836"/>
                  </a:lnTo>
                  <a:lnTo>
                    <a:pt x="153" y="831"/>
                  </a:lnTo>
                  <a:lnTo>
                    <a:pt x="143" y="826"/>
                  </a:lnTo>
                  <a:lnTo>
                    <a:pt x="133" y="822"/>
                  </a:lnTo>
                  <a:lnTo>
                    <a:pt x="123" y="818"/>
                  </a:lnTo>
                  <a:lnTo>
                    <a:pt x="112" y="814"/>
                  </a:lnTo>
                  <a:lnTo>
                    <a:pt x="102" y="810"/>
                  </a:lnTo>
                  <a:lnTo>
                    <a:pt x="91" y="807"/>
                  </a:lnTo>
                  <a:lnTo>
                    <a:pt x="80" y="804"/>
                  </a:lnTo>
                  <a:lnTo>
                    <a:pt x="69" y="802"/>
                  </a:lnTo>
                  <a:lnTo>
                    <a:pt x="46" y="798"/>
                  </a:lnTo>
                  <a:lnTo>
                    <a:pt x="35" y="797"/>
                  </a:lnTo>
                  <a:lnTo>
                    <a:pt x="23" y="796"/>
                  </a:lnTo>
                  <a:lnTo>
                    <a:pt x="0" y="795"/>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09" name="Freeform 109">
              <a:extLst>
                <a:ext uri="{FF2B5EF4-FFF2-40B4-BE49-F238E27FC236}">
                  <a16:creationId xmlns:a16="http://schemas.microsoft.com/office/drawing/2014/main" id="{0F686E32-3C64-4721-B69B-79AC392FF777}"/>
                </a:ext>
              </a:extLst>
            </p:cNvPr>
            <p:cNvSpPr>
              <a:spLocks noChangeAspect="1"/>
            </p:cNvSpPr>
            <p:nvPr/>
          </p:nvSpPr>
          <p:spPr bwMode="auto">
            <a:xfrm>
              <a:off x="2600325" y="4487888"/>
              <a:ext cx="688975" cy="930275"/>
            </a:xfrm>
            <a:custGeom>
              <a:avLst/>
              <a:gdLst/>
              <a:ahLst/>
              <a:cxnLst>
                <a:cxn ang="0">
                  <a:pos x="688" y="0"/>
                </a:cxn>
                <a:cxn ang="0">
                  <a:pos x="714" y="49"/>
                </a:cxn>
                <a:cxn ang="0">
                  <a:pos x="739" y="99"/>
                </a:cxn>
                <a:cxn ang="0">
                  <a:pos x="760" y="150"/>
                </a:cxn>
                <a:cxn ang="0">
                  <a:pos x="779" y="203"/>
                </a:cxn>
                <a:cxn ang="0">
                  <a:pos x="796" y="256"/>
                </a:cxn>
                <a:cxn ang="0">
                  <a:pos x="810" y="310"/>
                </a:cxn>
                <a:cxn ang="0">
                  <a:pos x="821" y="364"/>
                </a:cxn>
                <a:cxn ang="0">
                  <a:pos x="830" y="419"/>
                </a:cxn>
                <a:cxn ang="0">
                  <a:pos x="836" y="474"/>
                </a:cxn>
                <a:cxn ang="0">
                  <a:pos x="839" y="530"/>
                </a:cxn>
                <a:cxn ang="0">
                  <a:pos x="840" y="586"/>
                </a:cxn>
                <a:cxn ang="0">
                  <a:pos x="838" y="641"/>
                </a:cxn>
                <a:cxn ang="0">
                  <a:pos x="833" y="697"/>
                </a:cxn>
                <a:cxn ang="0">
                  <a:pos x="825" y="752"/>
                </a:cxn>
                <a:cxn ang="0">
                  <a:pos x="814" y="806"/>
                </a:cxn>
                <a:cxn ang="0">
                  <a:pos x="801" y="861"/>
                </a:cxn>
                <a:cxn ang="0">
                  <a:pos x="791" y="896"/>
                </a:cxn>
                <a:cxn ang="0">
                  <a:pos x="767" y="967"/>
                </a:cxn>
                <a:cxn ang="0">
                  <a:pos x="753" y="1001"/>
                </a:cxn>
                <a:cxn ang="0">
                  <a:pos x="723" y="1069"/>
                </a:cxn>
                <a:cxn ang="0">
                  <a:pos x="706" y="1102"/>
                </a:cxn>
                <a:cxn ang="0">
                  <a:pos x="697" y="1118"/>
                </a:cxn>
                <a:cxn ang="0">
                  <a:pos x="0" y="737"/>
                </a:cxn>
                <a:cxn ang="0">
                  <a:pos x="15" y="708"/>
                </a:cxn>
                <a:cxn ang="0">
                  <a:pos x="23" y="688"/>
                </a:cxn>
                <a:cxn ang="0">
                  <a:pos x="30" y="667"/>
                </a:cxn>
                <a:cxn ang="0">
                  <a:pos x="36" y="646"/>
                </a:cxn>
                <a:cxn ang="0">
                  <a:pos x="40" y="624"/>
                </a:cxn>
                <a:cxn ang="0">
                  <a:pos x="43" y="602"/>
                </a:cxn>
                <a:cxn ang="0">
                  <a:pos x="45" y="579"/>
                </a:cxn>
                <a:cxn ang="0">
                  <a:pos x="45" y="556"/>
                </a:cxn>
                <a:cxn ang="0">
                  <a:pos x="42" y="521"/>
                </a:cxn>
                <a:cxn ang="0">
                  <a:pos x="33" y="478"/>
                </a:cxn>
                <a:cxn ang="0">
                  <a:pos x="27" y="456"/>
                </a:cxn>
                <a:cxn ang="0">
                  <a:pos x="15" y="426"/>
                </a:cxn>
                <a:cxn ang="0">
                  <a:pos x="0" y="397"/>
                </a:cxn>
              </a:cxnLst>
              <a:rect l="0" t="0" r="r" b="b"/>
              <a:pathLst>
                <a:path w="840" h="1134">
                  <a:moveTo>
                    <a:pt x="0" y="397"/>
                  </a:moveTo>
                  <a:lnTo>
                    <a:pt x="688" y="0"/>
                  </a:lnTo>
                  <a:lnTo>
                    <a:pt x="701" y="24"/>
                  </a:lnTo>
                  <a:lnTo>
                    <a:pt x="714" y="49"/>
                  </a:lnTo>
                  <a:lnTo>
                    <a:pt x="727" y="74"/>
                  </a:lnTo>
                  <a:lnTo>
                    <a:pt x="739" y="99"/>
                  </a:lnTo>
                  <a:lnTo>
                    <a:pt x="750" y="125"/>
                  </a:lnTo>
                  <a:lnTo>
                    <a:pt x="760" y="150"/>
                  </a:lnTo>
                  <a:lnTo>
                    <a:pt x="770" y="176"/>
                  </a:lnTo>
                  <a:lnTo>
                    <a:pt x="779" y="203"/>
                  </a:lnTo>
                  <a:lnTo>
                    <a:pt x="788" y="229"/>
                  </a:lnTo>
                  <a:lnTo>
                    <a:pt x="796" y="256"/>
                  </a:lnTo>
                  <a:lnTo>
                    <a:pt x="803" y="283"/>
                  </a:lnTo>
                  <a:lnTo>
                    <a:pt x="810" y="310"/>
                  </a:lnTo>
                  <a:lnTo>
                    <a:pt x="816" y="337"/>
                  </a:lnTo>
                  <a:lnTo>
                    <a:pt x="821" y="364"/>
                  </a:lnTo>
                  <a:lnTo>
                    <a:pt x="826" y="392"/>
                  </a:lnTo>
                  <a:lnTo>
                    <a:pt x="830" y="419"/>
                  </a:lnTo>
                  <a:lnTo>
                    <a:pt x="833" y="447"/>
                  </a:lnTo>
                  <a:lnTo>
                    <a:pt x="836" y="474"/>
                  </a:lnTo>
                  <a:lnTo>
                    <a:pt x="838" y="502"/>
                  </a:lnTo>
                  <a:lnTo>
                    <a:pt x="839" y="530"/>
                  </a:lnTo>
                  <a:lnTo>
                    <a:pt x="840" y="558"/>
                  </a:lnTo>
                  <a:lnTo>
                    <a:pt x="840" y="586"/>
                  </a:lnTo>
                  <a:lnTo>
                    <a:pt x="839" y="613"/>
                  </a:lnTo>
                  <a:lnTo>
                    <a:pt x="838" y="641"/>
                  </a:lnTo>
                  <a:lnTo>
                    <a:pt x="835" y="669"/>
                  </a:lnTo>
                  <a:lnTo>
                    <a:pt x="833" y="697"/>
                  </a:lnTo>
                  <a:lnTo>
                    <a:pt x="829" y="724"/>
                  </a:lnTo>
                  <a:lnTo>
                    <a:pt x="825" y="752"/>
                  </a:lnTo>
                  <a:lnTo>
                    <a:pt x="820" y="779"/>
                  </a:lnTo>
                  <a:lnTo>
                    <a:pt x="814" y="806"/>
                  </a:lnTo>
                  <a:lnTo>
                    <a:pt x="808" y="834"/>
                  </a:lnTo>
                  <a:lnTo>
                    <a:pt x="801" y="861"/>
                  </a:lnTo>
                  <a:lnTo>
                    <a:pt x="796" y="878"/>
                  </a:lnTo>
                  <a:lnTo>
                    <a:pt x="791" y="896"/>
                  </a:lnTo>
                  <a:lnTo>
                    <a:pt x="779" y="932"/>
                  </a:lnTo>
                  <a:lnTo>
                    <a:pt x="767" y="967"/>
                  </a:lnTo>
                  <a:lnTo>
                    <a:pt x="760" y="984"/>
                  </a:lnTo>
                  <a:lnTo>
                    <a:pt x="753" y="1001"/>
                  </a:lnTo>
                  <a:lnTo>
                    <a:pt x="738" y="1035"/>
                  </a:lnTo>
                  <a:lnTo>
                    <a:pt x="723" y="1069"/>
                  </a:lnTo>
                  <a:lnTo>
                    <a:pt x="714" y="1085"/>
                  </a:lnTo>
                  <a:lnTo>
                    <a:pt x="706" y="1102"/>
                  </a:lnTo>
                  <a:lnTo>
                    <a:pt x="701" y="1110"/>
                  </a:lnTo>
                  <a:lnTo>
                    <a:pt x="697" y="1118"/>
                  </a:lnTo>
                  <a:lnTo>
                    <a:pt x="688" y="1134"/>
                  </a:lnTo>
                  <a:lnTo>
                    <a:pt x="0" y="737"/>
                  </a:lnTo>
                  <a:lnTo>
                    <a:pt x="10" y="718"/>
                  </a:lnTo>
                  <a:lnTo>
                    <a:pt x="15" y="708"/>
                  </a:lnTo>
                  <a:lnTo>
                    <a:pt x="19" y="698"/>
                  </a:lnTo>
                  <a:lnTo>
                    <a:pt x="23" y="688"/>
                  </a:lnTo>
                  <a:lnTo>
                    <a:pt x="27" y="678"/>
                  </a:lnTo>
                  <a:lnTo>
                    <a:pt x="30" y="667"/>
                  </a:lnTo>
                  <a:lnTo>
                    <a:pt x="33" y="657"/>
                  </a:lnTo>
                  <a:lnTo>
                    <a:pt x="36" y="646"/>
                  </a:lnTo>
                  <a:lnTo>
                    <a:pt x="38" y="635"/>
                  </a:lnTo>
                  <a:lnTo>
                    <a:pt x="40" y="624"/>
                  </a:lnTo>
                  <a:lnTo>
                    <a:pt x="42" y="613"/>
                  </a:lnTo>
                  <a:lnTo>
                    <a:pt x="43" y="602"/>
                  </a:lnTo>
                  <a:lnTo>
                    <a:pt x="44" y="590"/>
                  </a:lnTo>
                  <a:lnTo>
                    <a:pt x="45" y="579"/>
                  </a:lnTo>
                  <a:lnTo>
                    <a:pt x="45" y="567"/>
                  </a:lnTo>
                  <a:lnTo>
                    <a:pt x="45" y="556"/>
                  </a:lnTo>
                  <a:lnTo>
                    <a:pt x="44" y="544"/>
                  </a:lnTo>
                  <a:lnTo>
                    <a:pt x="42" y="521"/>
                  </a:lnTo>
                  <a:lnTo>
                    <a:pt x="38" y="499"/>
                  </a:lnTo>
                  <a:lnTo>
                    <a:pt x="33" y="478"/>
                  </a:lnTo>
                  <a:lnTo>
                    <a:pt x="30" y="467"/>
                  </a:lnTo>
                  <a:lnTo>
                    <a:pt x="27" y="456"/>
                  </a:lnTo>
                  <a:lnTo>
                    <a:pt x="19" y="436"/>
                  </a:lnTo>
                  <a:lnTo>
                    <a:pt x="15" y="426"/>
                  </a:lnTo>
                  <a:lnTo>
                    <a:pt x="10" y="416"/>
                  </a:lnTo>
                  <a:lnTo>
                    <a:pt x="0" y="397"/>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10" name="Freeform 110">
              <a:extLst>
                <a:ext uri="{FF2B5EF4-FFF2-40B4-BE49-F238E27FC236}">
                  <a16:creationId xmlns:a16="http://schemas.microsoft.com/office/drawing/2014/main" id="{FCFF8A97-7092-426E-BD9B-77F2FBE45BA7}"/>
                </a:ext>
              </a:extLst>
            </p:cNvPr>
            <p:cNvSpPr>
              <a:spLocks noChangeAspect="1"/>
            </p:cNvSpPr>
            <p:nvPr/>
          </p:nvSpPr>
          <p:spPr bwMode="auto">
            <a:xfrm>
              <a:off x="2359025" y="5092725"/>
              <a:ext cx="806450" cy="790575"/>
            </a:xfrm>
            <a:custGeom>
              <a:avLst/>
              <a:gdLst/>
              <a:ahLst/>
              <a:cxnLst>
                <a:cxn ang="0">
                  <a:pos x="983" y="397"/>
                </a:cxn>
                <a:cxn ang="0">
                  <a:pos x="954" y="446"/>
                </a:cxn>
                <a:cxn ang="0">
                  <a:pos x="922" y="492"/>
                </a:cxn>
                <a:cxn ang="0">
                  <a:pos x="889" y="536"/>
                </a:cxn>
                <a:cxn ang="0">
                  <a:pos x="853" y="579"/>
                </a:cxn>
                <a:cxn ang="0">
                  <a:pos x="815" y="620"/>
                </a:cxn>
                <a:cxn ang="0">
                  <a:pos x="776" y="659"/>
                </a:cxn>
                <a:cxn ang="0">
                  <a:pos x="734" y="696"/>
                </a:cxn>
                <a:cxn ang="0">
                  <a:pos x="691" y="731"/>
                </a:cxn>
                <a:cxn ang="0">
                  <a:pos x="646" y="763"/>
                </a:cxn>
                <a:cxn ang="0">
                  <a:pos x="600" y="794"/>
                </a:cxn>
                <a:cxn ang="0">
                  <a:pos x="551" y="822"/>
                </a:cxn>
                <a:cxn ang="0">
                  <a:pos x="502" y="848"/>
                </a:cxn>
                <a:cxn ang="0">
                  <a:pos x="451" y="872"/>
                </a:cxn>
                <a:cxn ang="0">
                  <a:pos x="400" y="893"/>
                </a:cxn>
                <a:cxn ang="0">
                  <a:pos x="347" y="911"/>
                </a:cxn>
                <a:cxn ang="0">
                  <a:pos x="293" y="926"/>
                </a:cxn>
                <a:cxn ang="0">
                  <a:pos x="239" y="939"/>
                </a:cxn>
                <a:cxn ang="0">
                  <a:pos x="185" y="950"/>
                </a:cxn>
                <a:cxn ang="0">
                  <a:pos x="111" y="959"/>
                </a:cxn>
                <a:cxn ang="0">
                  <a:pos x="56" y="964"/>
                </a:cxn>
                <a:cxn ang="0">
                  <a:pos x="19" y="965"/>
                </a:cxn>
                <a:cxn ang="0">
                  <a:pos x="0" y="170"/>
                </a:cxn>
                <a:cxn ang="0">
                  <a:pos x="35" y="168"/>
                </a:cxn>
                <a:cxn ang="0">
                  <a:pos x="69" y="163"/>
                </a:cxn>
                <a:cxn ang="0">
                  <a:pos x="91" y="158"/>
                </a:cxn>
                <a:cxn ang="0">
                  <a:pos x="133" y="143"/>
                </a:cxn>
                <a:cxn ang="0">
                  <a:pos x="163" y="129"/>
                </a:cxn>
                <a:cxn ang="0">
                  <a:pos x="191" y="112"/>
                </a:cxn>
                <a:cxn ang="0">
                  <a:pos x="209" y="99"/>
                </a:cxn>
                <a:cxn ang="0">
                  <a:pos x="226" y="85"/>
                </a:cxn>
                <a:cxn ang="0">
                  <a:pos x="241" y="70"/>
                </a:cxn>
                <a:cxn ang="0">
                  <a:pos x="263" y="45"/>
                </a:cxn>
                <a:cxn ang="0">
                  <a:pos x="277" y="28"/>
                </a:cxn>
                <a:cxn ang="0">
                  <a:pos x="289" y="10"/>
                </a:cxn>
              </a:cxnLst>
              <a:rect l="0" t="0" r="r" b="b"/>
              <a:pathLst>
                <a:path w="983" h="965">
                  <a:moveTo>
                    <a:pt x="295" y="0"/>
                  </a:moveTo>
                  <a:lnTo>
                    <a:pt x="983" y="397"/>
                  </a:lnTo>
                  <a:lnTo>
                    <a:pt x="968" y="422"/>
                  </a:lnTo>
                  <a:lnTo>
                    <a:pt x="954" y="446"/>
                  </a:lnTo>
                  <a:lnTo>
                    <a:pt x="938" y="469"/>
                  </a:lnTo>
                  <a:lnTo>
                    <a:pt x="922" y="492"/>
                  </a:lnTo>
                  <a:lnTo>
                    <a:pt x="906" y="514"/>
                  </a:lnTo>
                  <a:lnTo>
                    <a:pt x="889" y="536"/>
                  </a:lnTo>
                  <a:lnTo>
                    <a:pt x="871" y="558"/>
                  </a:lnTo>
                  <a:lnTo>
                    <a:pt x="853" y="579"/>
                  </a:lnTo>
                  <a:lnTo>
                    <a:pt x="835" y="599"/>
                  </a:lnTo>
                  <a:lnTo>
                    <a:pt x="815" y="620"/>
                  </a:lnTo>
                  <a:lnTo>
                    <a:pt x="796" y="639"/>
                  </a:lnTo>
                  <a:lnTo>
                    <a:pt x="776" y="659"/>
                  </a:lnTo>
                  <a:lnTo>
                    <a:pt x="755" y="677"/>
                  </a:lnTo>
                  <a:lnTo>
                    <a:pt x="734" y="696"/>
                  </a:lnTo>
                  <a:lnTo>
                    <a:pt x="713" y="713"/>
                  </a:lnTo>
                  <a:lnTo>
                    <a:pt x="691" y="731"/>
                  </a:lnTo>
                  <a:lnTo>
                    <a:pt x="669" y="747"/>
                  </a:lnTo>
                  <a:lnTo>
                    <a:pt x="646" y="763"/>
                  </a:lnTo>
                  <a:lnTo>
                    <a:pt x="623" y="779"/>
                  </a:lnTo>
                  <a:lnTo>
                    <a:pt x="600" y="794"/>
                  </a:lnTo>
                  <a:lnTo>
                    <a:pt x="576" y="809"/>
                  </a:lnTo>
                  <a:lnTo>
                    <a:pt x="551" y="822"/>
                  </a:lnTo>
                  <a:lnTo>
                    <a:pt x="526" y="836"/>
                  </a:lnTo>
                  <a:lnTo>
                    <a:pt x="502" y="848"/>
                  </a:lnTo>
                  <a:lnTo>
                    <a:pt x="477" y="860"/>
                  </a:lnTo>
                  <a:lnTo>
                    <a:pt x="451" y="872"/>
                  </a:lnTo>
                  <a:lnTo>
                    <a:pt x="425" y="883"/>
                  </a:lnTo>
                  <a:lnTo>
                    <a:pt x="400" y="893"/>
                  </a:lnTo>
                  <a:lnTo>
                    <a:pt x="373" y="902"/>
                  </a:lnTo>
                  <a:lnTo>
                    <a:pt x="347" y="911"/>
                  </a:lnTo>
                  <a:lnTo>
                    <a:pt x="320" y="919"/>
                  </a:lnTo>
                  <a:lnTo>
                    <a:pt x="293" y="926"/>
                  </a:lnTo>
                  <a:lnTo>
                    <a:pt x="257" y="935"/>
                  </a:lnTo>
                  <a:lnTo>
                    <a:pt x="239" y="939"/>
                  </a:lnTo>
                  <a:lnTo>
                    <a:pt x="221" y="943"/>
                  </a:lnTo>
                  <a:lnTo>
                    <a:pt x="185" y="950"/>
                  </a:lnTo>
                  <a:lnTo>
                    <a:pt x="148" y="955"/>
                  </a:lnTo>
                  <a:lnTo>
                    <a:pt x="111" y="959"/>
                  </a:lnTo>
                  <a:lnTo>
                    <a:pt x="74" y="963"/>
                  </a:lnTo>
                  <a:lnTo>
                    <a:pt x="56" y="964"/>
                  </a:lnTo>
                  <a:lnTo>
                    <a:pt x="37" y="964"/>
                  </a:lnTo>
                  <a:lnTo>
                    <a:pt x="19" y="965"/>
                  </a:lnTo>
                  <a:lnTo>
                    <a:pt x="0" y="965"/>
                  </a:lnTo>
                  <a:lnTo>
                    <a:pt x="0" y="170"/>
                  </a:lnTo>
                  <a:lnTo>
                    <a:pt x="23" y="169"/>
                  </a:lnTo>
                  <a:lnTo>
                    <a:pt x="35" y="168"/>
                  </a:lnTo>
                  <a:lnTo>
                    <a:pt x="46" y="167"/>
                  </a:lnTo>
                  <a:lnTo>
                    <a:pt x="69" y="163"/>
                  </a:lnTo>
                  <a:lnTo>
                    <a:pt x="80" y="161"/>
                  </a:lnTo>
                  <a:lnTo>
                    <a:pt x="91" y="158"/>
                  </a:lnTo>
                  <a:lnTo>
                    <a:pt x="112" y="151"/>
                  </a:lnTo>
                  <a:lnTo>
                    <a:pt x="133" y="143"/>
                  </a:lnTo>
                  <a:lnTo>
                    <a:pt x="153" y="134"/>
                  </a:lnTo>
                  <a:lnTo>
                    <a:pt x="163" y="129"/>
                  </a:lnTo>
                  <a:lnTo>
                    <a:pt x="172" y="123"/>
                  </a:lnTo>
                  <a:lnTo>
                    <a:pt x="191" y="112"/>
                  </a:lnTo>
                  <a:lnTo>
                    <a:pt x="200" y="105"/>
                  </a:lnTo>
                  <a:lnTo>
                    <a:pt x="209" y="99"/>
                  </a:lnTo>
                  <a:lnTo>
                    <a:pt x="217" y="92"/>
                  </a:lnTo>
                  <a:lnTo>
                    <a:pt x="226" y="85"/>
                  </a:lnTo>
                  <a:lnTo>
                    <a:pt x="234" y="77"/>
                  </a:lnTo>
                  <a:lnTo>
                    <a:pt x="241" y="70"/>
                  </a:lnTo>
                  <a:lnTo>
                    <a:pt x="256" y="54"/>
                  </a:lnTo>
                  <a:lnTo>
                    <a:pt x="263" y="45"/>
                  </a:lnTo>
                  <a:lnTo>
                    <a:pt x="270" y="37"/>
                  </a:lnTo>
                  <a:lnTo>
                    <a:pt x="277" y="28"/>
                  </a:lnTo>
                  <a:lnTo>
                    <a:pt x="283" y="19"/>
                  </a:lnTo>
                  <a:lnTo>
                    <a:pt x="289" y="10"/>
                  </a:lnTo>
                  <a:lnTo>
                    <a:pt x="295"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11" name="Freeform 111">
              <a:extLst>
                <a:ext uri="{FF2B5EF4-FFF2-40B4-BE49-F238E27FC236}">
                  <a16:creationId xmlns:a16="http://schemas.microsoft.com/office/drawing/2014/main" id="{4C418024-9F8F-4815-BBF6-D7ACB1E7CBD5}"/>
                </a:ext>
              </a:extLst>
            </p:cNvPr>
            <p:cNvSpPr>
              <a:spLocks noChangeAspect="1"/>
            </p:cNvSpPr>
            <p:nvPr/>
          </p:nvSpPr>
          <p:spPr bwMode="auto">
            <a:xfrm>
              <a:off x="1552575" y="5092725"/>
              <a:ext cx="806450" cy="790575"/>
            </a:xfrm>
            <a:custGeom>
              <a:avLst/>
              <a:gdLst/>
              <a:ahLst/>
              <a:cxnLst>
                <a:cxn ang="0">
                  <a:pos x="155" y="606"/>
                </a:cxn>
                <a:cxn ang="0">
                  <a:pos x="118" y="565"/>
                </a:cxn>
                <a:cxn ang="0">
                  <a:pos x="83" y="521"/>
                </a:cxn>
                <a:cxn ang="0">
                  <a:pos x="61" y="492"/>
                </a:cxn>
                <a:cxn ang="0">
                  <a:pos x="39" y="461"/>
                </a:cxn>
                <a:cxn ang="0">
                  <a:pos x="10" y="414"/>
                </a:cxn>
                <a:cxn ang="0">
                  <a:pos x="688" y="0"/>
                </a:cxn>
                <a:cxn ang="0">
                  <a:pos x="706" y="28"/>
                </a:cxn>
                <a:cxn ang="0">
                  <a:pos x="727" y="54"/>
                </a:cxn>
                <a:cxn ang="0">
                  <a:pos x="741" y="70"/>
                </a:cxn>
                <a:cxn ang="0">
                  <a:pos x="757" y="85"/>
                </a:cxn>
                <a:cxn ang="0">
                  <a:pos x="792" y="112"/>
                </a:cxn>
                <a:cxn ang="0">
                  <a:pos x="820" y="129"/>
                </a:cxn>
                <a:cxn ang="0">
                  <a:pos x="840" y="139"/>
                </a:cxn>
                <a:cxn ang="0">
                  <a:pos x="860" y="147"/>
                </a:cxn>
                <a:cxn ang="0">
                  <a:pos x="881" y="155"/>
                </a:cxn>
                <a:cxn ang="0">
                  <a:pos x="903" y="161"/>
                </a:cxn>
                <a:cxn ang="0">
                  <a:pos x="937" y="167"/>
                </a:cxn>
                <a:cxn ang="0">
                  <a:pos x="960" y="169"/>
                </a:cxn>
                <a:cxn ang="0">
                  <a:pos x="983" y="965"/>
                </a:cxn>
                <a:cxn ang="0">
                  <a:pos x="927" y="964"/>
                </a:cxn>
                <a:cxn ang="0">
                  <a:pos x="872" y="960"/>
                </a:cxn>
                <a:cxn ang="0">
                  <a:pos x="817" y="953"/>
                </a:cxn>
                <a:cxn ang="0">
                  <a:pos x="762" y="943"/>
                </a:cxn>
                <a:cxn ang="0">
                  <a:pos x="708" y="931"/>
                </a:cxn>
                <a:cxn ang="0">
                  <a:pos x="654" y="916"/>
                </a:cxn>
                <a:cxn ang="0">
                  <a:pos x="601" y="899"/>
                </a:cxn>
                <a:cxn ang="0">
                  <a:pos x="575" y="889"/>
                </a:cxn>
                <a:cxn ang="0">
                  <a:pos x="524" y="868"/>
                </a:cxn>
                <a:cxn ang="0">
                  <a:pos x="473" y="844"/>
                </a:cxn>
                <a:cxn ang="0">
                  <a:pos x="424" y="818"/>
                </a:cxn>
                <a:cxn ang="0">
                  <a:pos x="375" y="789"/>
                </a:cxn>
                <a:cxn ang="0">
                  <a:pos x="329" y="759"/>
                </a:cxn>
                <a:cxn ang="0">
                  <a:pos x="284" y="725"/>
                </a:cxn>
                <a:cxn ang="0">
                  <a:pos x="241" y="690"/>
                </a:cxn>
                <a:cxn ang="0">
                  <a:pos x="210" y="662"/>
                </a:cxn>
                <a:cxn ang="0">
                  <a:pos x="180" y="633"/>
                </a:cxn>
              </a:cxnLst>
              <a:rect l="0" t="0" r="r" b="b"/>
              <a:pathLst>
                <a:path w="983" h="965">
                  <a:moveTo>
                    <a:pt x="180" y="633"/>
                  </a:moveTo>
                  <a:lnTo>
                    <a:pt x="155" y="606"/>
                  </a:lnTo>
                  <a:lnTo>
                    <a:pt x="130" y="579"/>
                  </a:lnTo>
                  <a:lnTo>
                    <a:pt x="118" y="565"/>
                  </a:lnTo>
                  <a:lnTo>
                    <a:pt x="106" y="550"/>
                  </a:lnTo>
                  <a:lnTo>
                    <a:pt x="83" y="521"/>
                  </a:lnTo>
                  <a:lnTo>
                    <a:pt x="71" y="507"/>
                  </a:lnTo>
                  <a:lnTo>
                    <a:pt x="61" y="492"/>
                  </a:lnTo>
                  <a:lnTo>
                    <a:pt x="50" y="476"/>
                  </a:lnTo>
                  <a:lnTo>
                    <a:pt x="39" y="461"/>
                  </a:lnTo>
                  <a:lnTo>
                    <a:pt x="19" y="430"/>
                  </a:lnTo>
                  <a:lnTo>
                    <a:pt x="10" y="414"/>
                  </a:lnTo>
                  <a:lnTo>
                    <a:pt x="0" y="397"/>
                  </a:lnTo>
                  <a:lnTo>
                    <a:pt x="688" y="0"/>
                  </a:lnTo>
                  <a:lnTo>
                    <a:pt x="700" y="19"/>
                  </a:lnTo>
                  <a:lnTo>
                    <a:pt x="706" y="28"/>
                  </a:lnTo>
                  <a:lnTo>
                    <a:pt x="713" y="37"/>
                  </a:lnTo>
                  <a:lnTo>
                    <a:pt x="727" y="54"/>
                  </a:lnTo>
                  <a:lnTo>
                    <a:pt x="734" y="62"/>
                  </a:lnTo>
                  <a:lnTo>
                    <a:pt x="741" y="70"/>
                  </a:lnTo>
                  <a:lnTo>
                    <a:pt x="749" y="77"/>
                  </a:lnTo>
                  <a:lnTo>
                    <a:pt x="757" y="85"/>
                  </a:lnTo>
                  <a:lnTo>
                    <a:pt x="774" y="99"/>
                  </a:lnTo>
                  <a:lnTo>
                    <a:pt x="792" y="112"/>
                  </a:lnTo>
                  <a:lnTo>
                    <a:pt x="811" y="123"/>
                  </a:lnTo>
                  <a:lnTo>
                    <a:pt x="820" y="129"/>
                  </a:lnTo>
                  <a:lnTo>
                    <a:pt x="830" y="134"/>
                  </a:lnTo>
                  <a:lnTo>
                    <a:pt x="840" y="139"/>
                  </a:lnTo>
                  <a:lnTo>
                    <a:pt x="850" y="143"/>
                  </a:lnTo>
                  <a:lnTo>
                    <a:pt x="860" y="147"/>
                  </a:lnTo>
                  <a:lnTo>
                    <a:pt x="871" y="151"/>
                  </a:lnTo>
                  <a:lnTo>
                    <a:pt x="881" y="155"/>
                  </a:lnTo>
                  <a:lnTo>
                    <a:pt x="892" y="158"/>
                  </a:lnTo>
                  <a:lnTo>
                    <a:pt x="903" y="161"/>
                  </a:lnTo>
                  <a:lnTo>
                    <a:pt x="914" y="163"/>
                  </a:lnTo>
                  <a:lnTo>
                    <a:pt x="937" y="167"/>
                  </a:lnTo>
                  <a:lnTo>
                    <a:pt x="948" y="168"/>
                  </a:lnTo>
                  <a:lnTo>
                    <a:pt x="960" y="169"/>
                  </a:lnTo>
                  <a:lnTo>
                    <a:pt x="983" y="170"/>
                  </a:lnTo>
                  <a:lnTo>
                    <a:pt x="983" y="965"/>
                  </a:lnTo>
                  <a:lnTo>
                    <a:pt x="955" y="965"/>
                  </a:lnTo>
                  <a:lnTo>
                    <a:pt x="927" y="964"/>
                  </a:lnTo>
                  <a:lnTo>
                    <a:pt x="900" y="962"/>
                  </a:lnTo>
                  <a:lnTo>
                    <a:pt x="872" y="960"/>
                  </a:lnTo>
                  <a:lnTo>
                    <a:pt x="844" y="956"/>
                  </a:lnTo>
                  <a:lnTo>
                    <a:pt x="817" y="953"/>
                  </a:lnTo>
                  <a:lnTo>
                    <a:pt x="789" y="948"/>
                  </a:lnTo>
                  <a:lnTo>
                    <a:pt x="762" y="943"/>
                  </a:lnTo>
                  <a:lnTo>
                    <a:pt x="735" y="937"/>
                  </a:lnTo>
                  <a:lnTo>
                    <a:pt x="708" y="931"/>
                  </a:lnTo>
                  <a:lnTo>
                    <a:pt x="681" y="924"/>
                  </a:lnTo>
                  <a:lnTo>
                    <a:pt x="654" y="916"/>
                  </a:lnTo>
                  <a:lnTo>
                    <a:pt x="627" y="908"/>
                  </a:lnTo>
                  <a:lnTo>
                    <a:pt x="601" y="899"/>
                  </a:lnTo>
                  <a:lnTo>
                    <a:pt x="588" y="894"/>
                  </a:lnTo>
                  <a:lnTo>
                    <a:pt x="575" y="889"/>
                  </a:lnTo>
                  <a:lnTo>
                    <a:pt x="549" y="879"/>
                  </a:lnTo>
                  <a:lnTo>
                    <a:pt x="524" y="868"/>
                  </a:lnTo>
                  <a:lnTo>
                    <a:pt x="498" y="856"/>
                  </a:lnTo>
                  <a:lnTo>
                    <a:pt x="473" y="844"/>
                  </a:lnTo>
                  <a:lnTo>
                    <a:pt x="449" y="831"/>
                  </a:lnTo>
                  <a:lnTo>
                    <a:pt x="424" y="818"/>
                  </a:lnTo>
                  <a:lnTo>
                    <a:pt x="399" y="804"/>
                  </a:lnTo>
                  <a:lnTo>
                    <a:pt x="375" y="789"/>
                  </a:lnTo>
                  <a:lnTo>
                    <a:pt x="352" y="774"/>
                  </a:lnTo>
                  <a:lnTo>
                    <a:pt x="329" y="759"/>
                  </a:lnTo>
                  <a:lnTo>
                    <a:pt x="307" y="742"/>
                  </a:lnTo>
                  <a:lnTo>
                    <a:pt x="284" y="725"/>
                  </a:lnTo>
                  <a:lnTo>
                    <a:pt x="263" y="708"/>
                  </a:lnTo>
                  <a:lnTo>
                    <a:pt x="241" y="690"/>
                  </a:lnTo>
                  <a:lnTo>
                    <a:pt x="221" y="672"/>
                  </a:lnTo>
                  <a:lnTo>
                    <a:pt x="210" y="662"/>
                  </a:lnTo>
                  <a:lnTo>
                    <a:pt x="200" y="652"/>
                  </a:lnTo>
                  <a:lnTo>
                    <a:pt x="180" y="633"/>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12" name="Freeform 112">
              <a:extLst>
                <a:ext uri="{FF2B5EF4-FFF2-40B4-BE49-F238E27FC236}">
                  <a16:creationId xmlns:a16="http://schemas.microsoft.com/office/drawing/2014/main" id="{573CBEE1-23B7-437D-8A81-CF693C899179}"/>
                </a:ext>
              </a:extLst>
            </p:cNvPr>
            <p:cNvSpPr>
              <a:spLocks noChangeAspect="1"/>
            </p:cNvSpPr>
            <p:nvPr/>
          </p:nvSpPr>
          <p:spPr bwMode="auto">
            <a:xfrm>
              <a:off x="1428750" y="4487888"/>
              <a:ext cx="688975" cy="930275"/>
            </a:xfrm>
            <a:custGeom>
              <a:avLst/>
              <a:gdLst/>
              <a:ahLst/>
              <a:cxnLst>
                <a:cxn ang="0">
                  <a:pos x="152" y="1134"/>
                </a:cxn>
                <a:cxn ang="0">
                  <a:pos x="126" y="1085"/>
                </a:cxn>
                <a:cxn ang="0">
                  <a:pos x="101" y="1035"/>
                </a:cxn>
                <a:cxn ang="0">
                  <a:pos x="80" y="984"/>
                </a:cxn>
                <a:cxn ang="0">
                  <a:pos x="61" y="932"/>
                </a:cxn>
                <a:cxn ang="0">
                  <a:pos x="44" y="878"/>
                </a:cxn>
                <a:cxn ang="0">
                  <a:pos x="30" y="825"/>
                </a:cxn>
                <a:cxn ang="0">
                  <a:pos x="19" y="770"/>
                </a:cxn>
                <a:cxn ang="0">
                  <a:pos x="10" y="715"/>
                </a:cxn>
                <a:cxn ang="0">
                  <a:pos x="4" y="660"/>
                </a:cxn>
                <a:cxn ang="0">
                  <a:pos x="1" y="604"/>
                </a:cxn>
                <a:cxn ang="0">
                  <a:pos x="0" y="549"/>
                </a:cxn>
                <a:cxn ang="0">
                  <a:pos x="2" y="493"/>
                </a:cxn>
                <a:cxn ang="0">
                  <a:pos x="7" y="438"/>
                </a:cxn>
                <a:cxn ang="0">
                  <a:pos x="15" y="382"/>
                </a:cxn>
                <a:cxn ang="0">
                  <a:pos x="26" y="328"/>
                </a:cxn>
                <a:cxn ang="0">
                  <a:pos x="39" y="274"/>
                </a:cxn>
                <a:cxn ang="0">
                  <a:pos x="49" y="238"/>
                </a:cxn>
                <a:cxn ang="0">
                  <a:pos x="73" y="168"/>
                </a:cxn>
                <a:cxn ang="0">
                  <a:pos x="87" y="133"/>
                </a:cxn>
                <a:cxn ang="0">
                  <a:pos x="117" y="66"/>
                </a:cxn>
                <a:cxn ang="0">
                  <a:pos x="134" y="33"/>
                </a:cxn>
                <a:cxn ang="0">
                  <a:pos x="143" y="16"/>
                </a:cxn>
                <a:cxn ang="0">
                  <a:pos x="840" y="397"/>
                </a:cxn>
                <a:cxn ang="0">
                  <a:pos x="825" y="426"/>
                </a:cxn>
                <a:cxn ang="0">
                  <a:pos x="817" y="446"/>
                </a:cxn>
                <a:cxn ang="0">
                  <a:pos x="810" y="467"/>
                </a:cxn>
                <a:cxn ang="0">
                  <a:pos x="804" y="488"/>
                </a:cxn>
                <a:cxn ang="0">
                  <a:pos x="800" y="510"/>
                </a:cxn>
                <a:cxn ang="0">
                  <a:pos x="797" y="533"/>
                </a:cxn>
                <a:cxn ang="0">
                  <a:pos x="795" y="556"/>
                </a:cxn>
                <a:cxn ang="0">
                  <a:pos x="795" y="579"/>
                </a:cxn>
                <a:cxn ang="0">
                  <a:pos x="798" y="613"/>
                </a:cxn>
                <a:cxn ang="0">
                  <a:pos x="807" y="657"/>
                </a:cxn>
                <a:cxn ang="0">
                  <a:pos x="813" y="678"/>
                </a:cxn>
                <a:cxn ang="0">
                  <a:pos x="825" y="708"/>
                </a:cxn>
                <a:cxn ang="0">
                  <a:pos x="840" y="737"/>
                </a:cxn>
              </a:cxnLst>
              <a:rect l="0" t="0" r="r" b="b"/>
              <a:pathLst>
                <a:path w="840" h="1134">
                  <a:moveTo>
                    <a:pt x="840" y="737"/>
                  </a:moveTo>
                  <a:lnTo>
                    <a:pt x="152" y="1134"/>
                  </a:lnTo>
                  <a:lnTo>
                    <a:pt x="139" y="1110"/>
                  </a:lnTo>
                  <a:lnTo>
                    <a:pt x="126" y="1085"/>
                  </a:lnTo>
                  <a:lnTo>
                    <a:pt x="113" y="1060"/>
                  </a:lnTo>
                  <a:lnTo>
                    <a:pt x="101" y="1035"/>
                  </a:lnTo>
                  <a:lnTo>
                    <a:pt x="90" y="1010"/>
                  </a:lnTo>
                  <a:lnTo>
                    <a:pt x="80" y="984"/>
                  </a:lnTo>
                  <a:lnTo>
                    <a:pt x="70" y="958"/>
                  </a:lnTo>
                  <a:lnTo>
                    <a:pt x="61" y="932"/>
                  </a:lnTo>
                  <a:lnTo>
                    <a:pt x="52" y="905"/>
                  </a:lnTo>
                  <a:lnTo>
                    <a:pt x="44" y="878"/>
                  </a:lnTo>
                  <a:lnTo>
                    <a:pt x="37" y="852"/>
                  </a:lnTo>
                  <a:lnTo>
                    <a:pt x="30" y="825"/>
                  </a:lnTo>
                  <a:lnTo>
                    <a:pt x="24" y="797"/>
                  </a:lnTo>
                  <a:lnTo>
                    <a:pt x="19" y="770"/>
                  </a:lnTo>
                  <a:lnTo>
                    <a:pt x="14" y="743"/>
                  </a:lnTo>
                  <a:lnTo>
                    <a:pt x="10" y="715"/>
                  </a:lnTo>
                  <a:lnTo>
                    <a:pt x="7" y="687"/>
                  </a:lnTo>
                  <a:lnTo>
                    <a:pt x="4" y="660"/>
                  </a:lnTo>
                  <a:lnTo>
                    <a:pt x="2" y="632"/>
                  </a:lnTo>
                  <a:lnTo>
                    <a:pt x="1" y="604"/>
                  </a:lnTo>
                  <a:lnTo>
                    <a:pt x="0" y="576"/>
                  </a:lnTo>
                  <a:lnTo>
                    <a:pt x="0" y="549"/>
                  </a:lnTo>
                  <a:lnTo>
                    <a:pt x="1" y="521"/>
                  </a:lnTo>
                  <a:lnTo>
                    <a:pt x="2" y="493"/>
                  </a:lnTo>
                  <a:lnTo>
                    <a:pt x="5" y="465"/>
                  </a:lnTo>
                  <a:lnTo>
                    <a:pt x="7" y="438"/>
                  </a:lnTo>
                  <a:lnTo>
                    <a:pt x="11" y="410"/>
                  </a:lnTo>
                  <a:lnTo>
                    <a:pt x="15" y="382"/>
                  </a:lnTo>
                  <a:lnTo>
                    <a:pt x="20" y="355"/>
                  </a:lnTo>
                  <a:lnTo>
                    <a:pt x="26" y="328"/>
                  </a:lnTo>
                  <a:lnTo>
                    <a:pt x="32" y="301"/>
                  </a:lnTo>
                  <a:lnTo>
                    <a:pt x="39" y="274"/>
                  </a:lnTo>
                  <a:lnTo>
                    <a:pt x="44" y="256"/>
                  </a:lnTo>
                  <a:lnTo>
                    <a:pt x="49" y="238"/>
                  </a:lnTo>
                  <a:lnTo>
                    <a:pt x="61" y="203"/>
                  </a:lnTo>
                  <a:lnTo>
                    <a:pt x="73" y="168"/>
                  </a:lnTo>
                  <a:lnTo>
                    <a:pt x="80" y="150"/>
                  </a:lnTo>
                  <a:lnTo>
                    <a:pt x="87" y="133"/>
                  </a:lnTo>
                  <a:lnTo>
                    <a:pt x="101" y="99"/>
                  </a:lnTo>
                  <a:lnTo>
                    <a:pt x="117" y="66"/>
                  </a:lnTo>
                  <a:lnTo>
                    <a:pt x="126" y="49"/>
                  </a:lnTo>
                  <a:lnTo>
                    <a:pt x="134" y="33"/>
                  </a:lnTo>
                  <a:lnTo>
                    <a:pt x="139" y="24"/>
                  </a:lnTo>
                  <a:lnTo>
                    <a:pt x="143" y="16"/>
                  </a:lnTo>
                  <a:lnTo>
                    <a:pt x="152" y="0"/>
                  </a:lnTo>
                  <a:lnTo>
                    <a:pt x="840" y="397"/>
                  </a:lnTo>
                  <a:lnTo>
                    <a:pt x="830" y="416"/>
                  </a:lnTo>
                  <a:lnTo>
                    <a:pt x="825" y="426"/>
                  </a:lnTo>
                  <a:lnTo>
                    <a:pt x="821" y="436"/>
                  </a:lnTo>
                  <a:lnTo>
                    <a:pt x="817" y="446"/>
                  </a:lnTo>
                  <a:lnTo>
                    <a:pt x="813" y="456"/>
                  </a:lnTo>
                  <a:lnTo>
                    <a:pt x="810" y="467"/>
                  </a:lnTo>
                  <a:lnTo>
                    <a:pt x="807" y="478"/>
                  </a:lnTo>
                  <a:lnTo>
                    <a:pt x="804" y="488"/>
                  </a:lnTo>
                  <a:lnTo>
                    <a:pt x="802" y="499"/>
                  </a:lnTo>
                  <a:lnTo>
                    <a:pt x="800" y="510"/>
                  </a:lnTo>
                  <a:lnTo>
                    <a:pt x="798" y="521"/>
                  </a:lnTo>
                  <a:lnTo>
                    <a:pt x="797" y="533"/>
                  </a:lnTo>
                  <a:lnTo>
                    <a:pt x="796" y="544"/>
                  </a:lnTo>
                  <a:lnTo>
                    <a:pt x="795" y="556"/>
                  </a:lnTo>
                  <a:lnTo>
                    <a:pt x="795" y="567"/>
                  </a:lnTo>
                  <a:lnTo>
                    <a:pt x="795" y="579"/>
                  </a:lnTo>
                  <a:lnTo>
                    <a:pt x="796" y="590"/>
                  </a:lnTo>
                  <a:lnTo>
                    <a:pt x="798" y="613"/>
                  </a:lnTo>
                  <a:lnTo>
                    <a:pt x="802" y="635"/>
                  </a:lnTo>
                  <a:lnTo>
                    <a:pt x="807" y="657"/>
                  </a:lnTo>
                  <a:lnTo>
                    <a:pt x="810" y="667"/>
                  </a:lnTo>
                  <a:lnTo>
                    <a:pt x="813" y="678"/>
                  </a:lnTo>
                  <a:lnTo>
                    <a:pt x="821" y="698"/>
                  </a:lnTo>
                  <a:lnTo>
                    <a:pt x="825" y="708"/>
                  </a:lnTo>
                  <a:lnTo>
                    <a:pt x="830" y="718"/>
                  </a:lnTo>
                  <a:lnTo>
                    <a:pt x="840" y="737"/>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13" name="Freeform 113">
              <a:extLst>
                <a:ext uri="{FF2B5EF4-FFF2-40B4-BE49-F238E27FC236}">
                  <a16:creationId xmlns:a16="http://schemas.microsoft.com/office/drawing/2014/main" id="{9D193BCD-892E-4D16-9AF2-9A482102F1F7}"/>
                </a:ext>
              </a:extLst>
            </p:cNvPr>
            <p:cNvSpPr>
              <a:spLocks noChangeAspect="1"/>
            </p:cNvSpPr>
            <p:nvPr/>
          </p:nvSpPr>
          <p:spPr bwMode="auto">
            <a:xfrm>
              <a:off x="1552575" y="4022750"/>
              <a:ext cx="806450" cy="790575"/>
            </a:xfrm>
            <a:custGeom>
              <a:avLst/>
              <a:gdLst/>
              <a:ahLst/>
              <a:cxnLst>
                <a:cxn ang="0">
                  <a:pos x="0" y="568"/>
                </a:cxn>
                <a:cxn ang="0">
                  <a:pos x="29" y="520"/>
                </a:cxn>
                <a:cxn ang="0">
                  <a:pos x="61" y="473"/>
                </a:cxn>
                <a:cxn ang="0">
                  <a:pos x="94" y="429"/>
                </a:cxn>
                <a:cxn ang="0">
                  <a:pos x="130" y="386"/>
                </a:cxn>
                <a:cxn ang="0">
                  <a:pos x="168" y="346"/>
                </a:cxn>
                <a:cxn ang="0">
                  <a:pos x="207" y="306"/>
                </a:cxn>
                <a:cxn ang="0">
                  <a:pos x="249" y="269"/>
                </a:cxn>
                <a:cxn ang="0">
                  <a:pos x="292" y="234"/>
                </a:cxn>
                <a:cxn ang="0">
                  <a:pos x="337" y="202"/>
                </a:cxn>
                <a:cxn ang="0">
                  <a:pos x="383" y="171"/>
                </a:cxn>
                <a:cxn ang="0">
                  <a:pos x="432" y="143"/>
                </a:cxn>
                <a:cxn ang="0">
                  <a:pos x="482" y="117"/>
                </a:cxn>
                <a:cxn ang="0">
                  <a:pos x="532" y="93"/>
                </a:cxn>
                <a:cxn ang="0">
                  <a:pos x="584" y="72"/>
                </a:cxn>
                <a:cxn ang="0">
                  <a:pos x="636" y="54"/>
                </a:cxn>
                <a:cxn ang="0">
                  <a:pos x="690" y="39"/>
                </a:cxn>
                <a:cxn ang="0">
                  <a:pos x="744" y="26"/>
                </a:cxn>
                <a:cxn ang="0">
                  <a:pos x="798" y="15"/>
                </a:cxn>
                <a:cxn ang="0">
                  <a:pos x="872" y="6"/>
                </a:cxn>
                <a:cxn ang="0">
                  <a:pos x="928" y="2"/>
                </a:cxn>
                <a:cxn ang="0">
                  <a:pos x="965" y="0"/>
                </a:cxn>
                <a:cxn ang="0">
                  <a:pos x="983" y="795"/>
                </a:cxn>
                <a:cxn ang="0">
                  <a:pos x="948" y="797"/>
                </a:cxn>
                <a:cxn ang="0">
                  <a:pos x="914" y="802"/>
                </a:cxn>
                <a:cxn ang="0">
                  <a:pos x="892" y="807"/>
                </a:cxn>
                <a:cxn ang="0">
                  <a:pos x="850" y="822"/>
                </a:cxn>
                <a:cxn ang="0">
                  <a:pos x="820" y="836"/>
                </a:cxn>
                <a:cxn ang="0">
                  <a:pos x="792" y="853"/>
                </a:cxn>
                <a:cxn ang="0">
                  <a:pos x="774" y="866"/>
                </a:cxn>
                <a:cxn ang="0">
                  <a:pos x="758" y="880"/>
                </a:cxn>
                <a:cxn ang="0">
                  <a:pos x="742" y="895"/>
                </a:cxn>
                <a:cxn ang="0">
                  <a:pos x="720" y="920"/>
                </a:cxn>
                <a:cxn ang="0">
                  <a:pos x="706" y="937"/>
                </a:cxn>
                <a:cxn ang="0">
                  <a:pos x="694" y="955"/>
                </a:cxn>
              </a:cxnLst>
              <a:rect l="0" t="0" r="r" b="b"/>
              <a:pathLst>
                <a:path w="983" h="965">
                  <a:moveTo>
                    <a:pt x="689" y="965"/>
                  </a:moveTo>
                  <a:lnTo>
                    <a:pt x="0" y="568"/>
                  </a:lnTo>
                  <a:lnTo>
                    <a:pt x="15" y="543"/>
                  </a:lnTo>
                  <a:lnTo>
                    <a:pt x="29" y="520"/>
                  </a:lnTo>
                  <a:lnTo>
                    <a:pt x="45" y="496"/>
                  </a:lnTo>
                  <a:lnTo>
                    <a:pt x="61" y="473"/>
                  </a:lnTo>
                  <a:lnTo>
                    <a:pt x="77" y="451"/>
                  </a:lnTo>
                  <a:lnTo>
                    <a:pt x="94" y="429"/>
                  </a:lnTo>
                  <a:lnTo>
                    <a:pt x="112" y="408"/>
                  </a:lnTo>
                  <a:lnTo>
                    <a:pt x="130" y="386"/>
                  </a:lnTo>
                  <a:lnTo>
                    <a:pt x="148" y="366"/>
                  </a:lnTo>
                  <a:lnTo>
                    <a:pt x="168" y="346"/>
                  </a:lnTo>
                  <a:lnTo>
                    <a:pt x="187" y="326"/>
                  </a:lnTo>
                  <a:lnTo>
                    <a:pt x="207" y="306"/>
                  </a:lnTo>
                  <a:lnTo>
                    <a:pt x="228" y="288"/>
                  </a:lnTo>
                  <a:lnTo>
                    <a:pt x="249" y="269"/>
                  </a:lnTo>
                  <a:lnTo>
                    <a:pt x="270" y="252"/>
                  </a:lnTo>
                  <a:lnTo>
                    <a:pt x="292" y="234"/>
                  </a:lnTo>
                  <a:lnTo>
                    <a:pt x="314" y="218"/>
                  </a:lnTo>
                  <a:lnTo>
                    <a:pt x="337" y="202"/>
                  </a:lnTo>
                  <a:lnTo>
                    <a:pt x="360" y="186"/>
                  </a:lnTo>
                  <a:lnTo>
                    <a:pt x="383" y="171"/>
                  </a:lnTo>
                  <a:lnTo>
                    <a:pt x="407" y="157"/>
                  </a:lnTo>
                  <a:lnTo>
                    <a:pt x="432" y="143"/>
                  </a:lnTo>
                  <a:lnTo>
                    <a:pt x="457" y="129"/>
                  </a:lnTo>
                  <a:lnTo>
                    <a:pt x="482" y="117"/>
                  </a:lnTo>
                  <a:lnTo>
                    <a:pt x="507" y="105"/>
                  </a:lnTo>
                  <a:lnTo>
                    <a:pt x="532" y="93"/>
                  </a:lnTo>
                  <a:lnTo>
                    <a:pt x="558" y="83"/>
                  </a:lnTo>
                  <a:lnTo>
                    <a:pt x="584" y="72"/>
                  </a:lnTo>
                  <a:lnTo>
                    <a:pt x="610" y="63"/>
                  </a:lnTo>
                  <a:lnTo>
                    <a:pt x="636" y="54"/>
                  </a:lnTo>
                  <a:lnTo>
                    <a:pt x="663" y="46"/>
                  </a:lnTo>
                  <a:lnTo>
                    <a:pt x="690" y="39"/>
                  </a:lnTo>
                  <a:lnTo>
                    <a:pt x="726" y="30"/>
                  </a:lnTo>
                  <a:lnTo>
                    <a:pt x="744" y="26"/>
                  </a:lnTo>
                  <a:lnTo>
                    <a:pt x="762" y="22"/>
                  </a:lnTo>
                  <a:lnTo>
                    <a:pt x="798" y="15"/>
                  </a:lnTo>
                  <a:lnTo>
                    <a:pt x="835" y="10"/>
                  </a:lnTo>
                  <a:lnTo>
                    <a:pt x="872" y="6"/>
                  </a:lnTo>
                  <a:lnTo>
                    <a:pt x="909" y="3"/>
                  </a:lnTo>
                  <a:lnTo>
                    <a:pt x="928" y="2"/>
                  </a:lnTo>
                  <a:lnTo>
                    <a:pt x="946" y="1"/>
                  </a:lnTo>
                  <a:lnTo>
                    <a:pt x="965" y="0"/>
                  </a:lnTo>
                  <a:lnTo>
                    <a:pt x="983" y="0"/>
                  </a:lnTo>
                  <a:lnTo>
                    <a:pt x="983" y="795"/>
                  </a:lnTo>
                  <a:lnTo>
                    <a:pt x="960" y="796"/>
                  </a:lnTo>
                  <a:lnTo>
                    <a:pt x="948" y="797"/>
                  </a:lnTo>
                  <a:lnTo>
                    <a:pt x="937" y="798"/>
                  </a:lnTo>
                  <a:lnTo>
                    <a:pt x="914" y="802"/>
                  </a:lnTo>
                  <a:lnTo>
                    <a:pt x="903" y="804"/>
                  </a:lnTo>
                  <a:lnTo>
                    <a:pt x="892" y="807"/>
                  </a:lnTo>
                  <a:lnTo>
                    <a:pt x="871" y="814"/>
                  </a:lnTo>
                  <a:lnTo>
                    <a:pt x="850" y="822"/>
                  </a:lnTo>
                  <a:lnTo>
                    <a:pt x="830" y="831"/>
                  </a:lnTo>
                  <a:lnTo>
                    <a:pt x="820" y="836"/>
                  </a:lnTo>
                  <a:lnTo>
                    <a:pt x="811" y="842"/>
                  </a:lnTo>
                  <a:lnTo>
                    <a:pt x="792" y="853"/>
                  </a:lnTo>
                  <a:lnTo>
                    <a:pt x="783" y="860"/>
                  </a:lnTo>
                  <a:lnTo>
                    <a:pt x="774" y="866"/>
                  </a:lnTo>
                  <a:lnTo>
                    <a:pt x="766" y="873"/>
                  </a:lnTo>
                  <a:lnTo>
                    <a:pt x="758" y="880"/>
                  </a:lnTo>
                  <a:lnTo>
                    <a:pt x="750" y="888"/>
                  </a:lnTo>
                  <a:lnTo>
                    <a:pt x="742" y="895"/>
                  </a:lnTo>
                  <a:lnTo>
                    <a:pt x="727" y="911"/>
                  </a:lnTo>
                  <a:lnTo>
                    <a:pt x="720" y="920"/>
                  </a:lnTo>
                  <a:lnTo>
                    <a:pt x="713" y="928"/>
                  </a:lnTo>
                  <a:lnTo>
                    <a:pt x="706" y="937"/>
                  </a:lnTo>
                  <a:lnTo>
                    <a:pt x="700" y="946"/>
                  </a:lnTo>
                  <a:lnTo>
                    <a:pt x="694" y="955"/>
                  </a:lnTo>
                  <a:lnTo>
                    <a:pt x="689" y="965"/>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14" name="Text Box 114">
              <a:extLst>
                <a:ext uri="{FF2B5EF4-FFF2-40B4-BE49-F238E27FC236}">
                  <a16:creationId xmlns:a16="http://schemas.microsoft.com/office/drawing/2014/main" id="{73022ADC-7D4C-4FC7-8988-1B8129496DEC}"/>
                </a:ext>
              </a:extLst>
            </p:cNvPr>
            <p:cNvSpPr txBox="1">
              <a:spLocks noChangeArrowheads="1"/>
            </p:cNvSpPr>
            <p:nvPr/>
          </p:nvSpPr>
          <p:spPr bwMode="auto">
            <a:xfrm>
              <a:off x="2738438" y="4824438"/>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15" name="Text Box 115">
              <a:extLst>
                <a:ext uri="{FF2B5EF4-FFF2-40B4-BE49-F238E27FC236}">
                  <a16:creationId xmlns:a16="http://schemas.microsoft.com/office/drawing/2014/main" id="{7D8525FA-E3C7-45E7-85FD-0C3FDBAA33F5}"/>
                </a:ext>
              </a:extLst>
            </p:cNvPr>
            <p:cNvSpPr txBox="1">
              <a:spLocks noChangeArrowheads="1"/>
            </p:cNvSpPr>
            <p:nvPr/>
          </p:nvSpPr>
          <p:spPr bwMode="auto">
            <a:xfrm>
              <a:off x="2555875" y="5359425"/>
              <a:ext cx="411163" cy="255588"/>
            </a:xfrm>
            <a:prstGeom prst="rect">
              <a:avLst/>
            </a:prstGeom>
            <a:noFill/>
            <a:ln w="12700">
              <a:noFill/>
              <a:miter lim="800000"/>
              <a:headEnd/>
              <a:tailEnd/>
            </a:ln>
            <a:effectLst/>
          </p:spPr>
          <p:txBody>
            <a:bodyPr lIns="45720" rIns="45720" anchor="ctr" anchorCtr="1"/>
            <a:lstStyle/>
            <a:p>
              <a:pPr eaLnBrk="0" hangingPunct="0"/>
              <a:r>
                <a:rPr lang="en-US" sz="1100" b="1" dirty="0">
                  <a:solidFill>
                    <a:schemeClr val="bg1"/>
                  </a:solidFill>
                </a:rPr>
                <a:t>Text</a:t>
              </a:r>
            </a:p>
          </p:txBody>
        </p:sp>
        <p:sp>
          <p:nvSpPr>
            <p:cNvPr id="116" name="Text Box 116">
              <a:extLst>
                <a:ext uri="{FF2B5EF4-FFF2-40B4-BE49-F238E27FC236}">
                  <a16:creationId xmlns:a16="http://schemas.microsoft.com/office/drawing/2014/main" id="{B8D35E10-8EFC-4B76-9C7A-B3136D91E3BC}"/>
                </a:ext>
              </a:extLst>
            </p:cNvPr>
            <p:cNvSpPr txBox="1">
              <a:spLocks noChangeArrowheads="1"/>
            </p:cNvSpPr>
            <p:nvPr/>
          </p:nvSpPr>
          <p:spPr bwMode="auto">
            <a:xfrm>
              <a:off x="1751013" y="5359425"/>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17" name="Text Box 117">
              <a:extLst>
                <a:ext uri="{FF2B5EF4-FFF2-40B4-BE49-F238E27FC236}">
                  <a16:creationId xmlns:a16="http://schemas.microsoft.com/office/drawing/2014/main" id="{776C0CFF-0DDB-45AE-BA8E-EC394FC90BA9}"/>
                </a:ext>
              </a:extLst>
            </p:cNvPr>
            <p:cNvSpPr txBox="1">
              <a:spLocks noChangeArrowheads="1"/>
            </p:cNvSpPr>
            <p:nvPr/>
          </p:nvSpPr>
          <p:spPr bwMode="auto">
            <a:xfrm>
              <a:off x="1566863" y="4824438"/>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18" name="Text Box 118">
              <a:extLst>
                <a:ext uri="{FF2B5EF4-FFF2-40B4-BE49-F238E27FC236}">
                  <a16:creationId xmlns:a16="http://schemas.microsoft.com/office/drawing/2014/main" id="{858D2787-3B64-470D-B918-67987612D949}"/>
                </a:ext>
              </a:extLst>
            </p:cNvPr>
            <p:cNvSpPr txBox="1">
              <a:spLocks noChangeArrowheads="1"/>
            </p:cNvSpPr>
            <p:nvPr/>
          </p:nvSpPr>
          <p:spPr bwMode="auto">
            <a:xfrm>
              <a:off x="2498725" y="4291038"/>
              <a:ext cx="411163" cy="255588"/>
            </a:xfrm>
            <a:prstGeom prst="rect">
              <a:avLst/>
            </a:prstGeom>
            <a:noFill/>
            <a:ln w="12700">
              <a:noFill/>
              <a:miter lim="800000"/>
              <a:headEnd/>
              <a:tailEnd/>
            </a:ln>
            <a:effectLst/>
          </p:spPr>
          <p:txBody>
            <a:bodyPr lIns="45720" rIns="45720" anchor="ctr" anchorCtr="1"/>
            <a:lstStyle/>
            <a:p>
              <a:pPr eaLnBrk="0" hangingPunct="0"/>
              <a:r>
                <a:rPr lang="en-US" sz="1100" b="1" dirty="0">
                  <a:solidFill>
                    <a:schemeClr val="bg1"/>
                  </a:solidFill>
                </a:rPr>
                <a:t>Text</a:t>
              </a:r>
            </a:p>
          </p:txBody>
        </p:sp>
        <p:sp>
          <p:nvSpPr>
            <p:cNvPr id="119" name="Text Box 119">
              <a:extLst>
                <a:ext uri="{FF2B5EF4-FFF2-40B4-BE49-F238E27FC236}">
                  <a16:creationId xmlns:a16="http://schemas.microsoft.com/office/drawing/2014/main" id="{07C51333-B268-432F-B8D9-5DC5B0EFD770}"/>
                </a:ext>
              </a:extLst>
            </p:cNvPr>
            <p:cNvSpPr txBox="1">
              <a:spLocks noChangeArrowheads="1"/>
            </p:cNvSpPr>
            <p:nvPr/>
          </p:nvSpPr>
          <p:spPr bwMode="auto">
            <a:xfrm>
              <a:off x="1808163" y="4291038"/>
              <a:ext cx="411163" cy="255588"/>
            </a:xfrm>
            <a:prstGeom prst="rect">
              <a:avLst/>
            </a:prstGeom>
            <a:noFill/>
            <a:ln w="12700">
              <a:noFill/>
              <a:miter lim="800000"/>
              <a:headEnd/>
              <a:tailEnd/>
            </a:ln>
            <a:effectLst/>
          </p:spPr>
          <p:txBody>
            <a:bodyPr lIns="45720" rIns="45720" anchor="ctr" anchorCtr="1"/>
            <a:lstStyle/>
            <a:p>
              <a:pPr eaLnBrk="0" hangingPunct="0"/>
              <a:r>
                <a:rPr lang="en-US" sz="1100" b="1" dirty="0">
                  <a:solidFill>
                    <a:schemeClr val="bg1"/>
                  </a:solidFill>
                </a:rPr>
                <a:t>Text</a:t>
              </a:r>
            </a:p>
          </p:txBody>
        </p:sp>
      </p:grpSp>
      <p:grpSp>
        <p:nvGrpSpPr>
          <p:cNvPr id="144" name="Group 143" descr="Segment 6">
            <a:extLst>
              <a:ext uri="{FF2B5EF4-FFF2-40B4-BE49-F238E27FC236}">
                <a16:creationId xmlns:a16="http://schemas.microsoft.com/office/drawing/2014/main" id="{E13F4049-A3AD-4F25-BCA9-930C600B4759}"/>
              </a:ext>
            </a:extLst>
          </p:cNvPr>
          <p:cNvGrpSpPr/>
          <p:nvPr/>
        </p:nvGrpSpPr>
        <p:grpSpPr bwMode="auto">
          <a:xfrm>
            <a:off x="5175460" y="4157663"/>
            <a:ext cx="1860550" cy="1860551"/>
            <a:chOff x="3636963" y="4022750"/>
            <a:chExt cx="1860550" cy="1860551"/>
          </a:xfrm>
        </p:grpSpPr>
        <p:sp>
          <p:nvSpPr>
            <p:cNvPr id="145" name="Freeform 145">
              <a:extLst>
                <a:ext uri="{FF2B5EF4-FFF2-40B4-BE49-F238E27FC236}">
                  <a16:creationId xmlns:a16="http://schemas.microsoft.com/office/drawing/2014/main" id="{B4724BB5-4E40-4004-8AAD-6EEB4F8C7E0C}"/>
                </a:ext>
              </a:extLst>
            </p:cNvPr>
            <p:cNvSpPr>
              <a:spLocks noChangeAspect="1"/>
            </p:cNvSpPr>
            <p:nvPr/>
          </p:nvSpPr>
          <p:spPr bwMode="auto">
            <a:xfrm>
              <a:off x="4567238" y="4022750"/>
              <a:ext cx="727075" cy="757238"/>
            </a:xfrm>
            <a:custGeom>
              <a:avLst/>
              <a:gdLst/>
              <a:ahLst/>
              <a:cxnLst>
                <a:cxn ang="0">
                  <a:pos x="0" y="795"/>
                </a:cxn>
                <a:cxn ang="0">
                  <a:pos x="0" y="0"/>
                </a:cxn>
                <a:cxn ang="0">
                  <a:pos x="28" y="1"/>
                </a:cxn>
                <a:cxn ang="0">
                  <a:pos x="55" y="2"/>
                </a:cxn>
                <a:cxn ang="0">
                  <a:pos x="83" y="3"/>
                </a:cxn>
                <a:cxn ang="0">
                  <a:pos x="111" y="6"/>
                </a:cxn>
                <a:cxn ang="0">
                  <a:pos x="139" y="9"/>
                </a:cxn>
                <a:cxn ang="0">
                  <a:pos x="166" y="13"/>
                </a:cxn>
                <a:cxn ang="0">
                  <a:pos x="194" y="17"/>
                </a:cxn>
                <a:cxn ang="0">
                  <a:pos x="221" y="22"/>
                </a:cxn>
                <a:cxn ang="0">
                  <a:pos x="248" y="28"/>
                </a:cxn>
                <a:cxn ang="0">
                  <a:pos x="275" y="34"/>
                </a:cxn>
                <a:cxn ang="0">
                  <a:pos x="302" y="42"/>
                </a:cxn>
                <a:cxn ang="0">
                  <a:pos x="329" y="49"/>
                </a:cxn>
                <a:cxn ang="0">
                  <a:pos x="355" y="58"/>
                </a:cxn>
                <a:cxn ang="0">
                  <a:pos x="382" y="67"/>
                </a:cxn>
                <a:cxn ang="0">
                  <a:pos x="395" y="71"/>
                </a:cxn>
                <a:cxn ang="0">
                  <a:pos x="408" y="76"/>
                </a:cxn>
                <a:cxn ang="0">
                  <a:pos x="434" y="87"/>
                </a:cxn>
                <a:cxn ang="0">
                  <a:pos x="459" y="98"/>
                </a:cxn>
                <a:cxn ang="0">
                  <a:pos x="484" y="109"/>
                </a:cxn>
                <a:cxn ang="0">
                  <a:pos x="509" y="121"/>
                </a:cxn>
                <a:cxn ang="0">
                  <a:pos x="534" y="134"/>
                </a:cxn>
                <a:cxn ang="0">
                  <a:pos x="559" y="147"/>
                </a:cxn>
                <a:cxn ang="0">
                  <a:pos x="583" y="161"/>
                </a:cxn>
                <a:cxn ang="0">
                  <a:pos x="606" y="176"/>
                </a:cxn>
                <a:cxn ang="0">
                  <a:pos x="630" y="191"/>
                </a:cxn>
                <a:cxn ang="0">
                  <a:pos x="653" y="207"/>
                </a:cxn>
                <a:cxn ang="0">
                  <a:pos x="675" y="223"/>
                </a:cxn>
                <a:cxn ang="0">
                  <a:pos x="697" y="240"/>
                </a:cxn>
                <a:cxn ang="0">
                  <a:pos x="719" y="257"/>
                </a:cxn>
                <a:cxn ang="0">
                  <a:pos x="740" y="275"/>
                </a:cxn>
                <a:cxn ang="0">
                  <a:pos x="761" y="294"/>
                </a:cxn>
                <a:cxn ang="0">
                  <a:pos x="771" y="303"/>
                </a:cxn>
                <a:cxn ang="0">
                  <a:pos x="781" y="313"/>
                </a:cxn>
                <a:cxn ang="0">
                  <a:pos x="801" y="332"/>
                </a:cxn>
                <a:cxn ang="0">
                  <a:pos x="824" y="355"/>
                </a:cxn>
                <a:cxn ang="0">
                  <a:pos x="845" y="379"/>
                </a:cxn>
                <a:cxn ang="0">
                  <a:pos x="866" y="403"/>
                </a:cxn>
                <a:cxn ang="0">
                  <a:pos x="886" y="427"/>
                </a:cxn>
                <a:cxn ang="0">
                  <a:pos x="266" y="923"/>
                </a:cxn>
                <a:cxn ang="0">
                  <a:pos x="254" y="909"/>
                </a:cxn>
                <a:cxn ang="0">
                  <a:pos x="241" y="895"/>
                </a:cxn>
                <a:cxn ang="0">
                  <a:pos x="227" y="882"/>
                </a:cxn>
                <a:cxn ang="0">
                  <a:pos x="213" y="870"/>
                </a:cxn>
                <a:cxn ang="0">
                  <a:pos x="206" y="864"/>
                </a:cxn>
                <a:cxn ang="0">
                  <a:pos x="198" y="859"/>
                </a:cxn>
                <a:cxn ang="0">
                  <a:pos x="190" y="853"/>
                </a:cxn>
                <a:cxn ang="0">
                  <a:pos x="183" y="848"/>
                </a:cxn>
                <a:cxn ang="0">
                  <a:pos x="166" y="839"/>
                </a:cxn>
                <a:cxn ang="0">
                  <a:pos x="150" y="830"/>
                </a:cxn>
                <a:cxn ang="0">
                  <a:pos x="141" y="826"/>
                </a:cxn>
                <a:cxn ang="0">
                  <a:pos x="133" y="822"/>
                </a:cxn>
                <a:cxn ang="0">
                  <a:pos x="115" y="815"/>
                </a:cxn>
                <a:cxn ang="0">
                  <a:pos x="106" y="812"/>
                </a:cxn>
                <a:cxn ang="0">
                  <a:pos x="97" y="809"/>
                </a:cxn>
                <a:cxn ang="0">
                  <a:pos x="78" y="804"/>
                </a:cxn>
                <a:cxn ang="0">
                  <a:pos x="59" y="800"/>
                </a:cxn>
                <a:cxn ang="0">
                  <a:pos x="40" y="797"/>
                </a:cxn>
                <a:cxn ang="0">
                  <a:pos x="20" y="796"/>
                </a:cxn>
                <a:cxn ang="0">
                  <a:pos x="10" y="795"/>
                </a:cxn>
                <a:cxn ang="0">
                  <a:pos x="0" y="795"/>
                </a:cxn>
              </a:cxnLst>
              <a:rect l="0" t="0" r="r" b="b"/>
              <a:pathLst>
                <a:path w="886" h="923">
                  <a:moveTo>
                    <a:pt x="0" y="795"/>
                  </a:moveTo>
                  <a:lnTo>
                    <a:pt x="0" y="0"/>
                  </a:lnTo>
                  <a:lnTo>
                    <a:pt x="28" y="1"/>
                  </a:lnTo>
                  <a:lnTo>
                    <a:pt x="55" y="2"/>
                  </a:lnTo>
                  <a:lnTo>
                    <a:pt x="83" y="3"/>
                  </a:lnTo>
                  <a:lnTo>
                    <a:pt x="111" y="6"/>
                  </a:lnTo>
                  <a:lnTo>
                    <a:pt x="139" y="9"/>
                  </a:lnTo>
                  <a:lnTo>
                    <a:pt x="166" y="13"/>
                  </a:lnTo>
                  <a:lnTo>
                    <a:pt x="194" y="17"/>
                  </a:lnTo>
                  <a:lnTo>
                    <a:pt x="221" y="22"/>
                  </a:lnTo>
                  <a:lnTo>
                    <a:pt x="248" y="28"/>
                  </a:lnTo>
                  <a:lnTo>
                    <a:pt x="275" y="34"/>
                  </a:lnTo>
                  <a:lnTo>
                    <a:pt x="302" y="42"/>
                  </a:lnTo>
                  <a:lnTo>
                    <a:pt x="329" y="49"/>
                  </a:lnTo>
                  <a:lnTo>
                    <a:pt x="355" y="58"/>
                  </a:lnTo>
                  <a:lnTo>
                    <a:pt x="382" y="67"/>
                  </a:lnTo>
                  <a:lnTo>
                    <a:pt x="395" y="71"/>
                  </a:lnTo>
                  <a:lnTo>
                    <a:pt x="408" y="76"/>
                  </a:lnTo>
                  <a:lnTo>
                    <a:pt x="434" y="87"/>
                  </a:lnTo>
                  <a:lnTo>
                    <a:pt x="459" y="98"/>
                  </a:lnTo>
                  <a:lnTo>
                    <a:pt x="484" y="109"/>
                  </a:lnTo>
                  <a:lnTo>
                    <a:pt x="509" y="121"/>
                  </a:lnTo>
                  <a:lnTo>
                    <a:pt x="534" y="134"/>
                  </a:lnTo>
                  <a:lnTo>
                    <a:pt x="559" y="147"/>
                  </a:lnTo>
                  <a:lnTo>
                    <a:pt x="583" y="161"/>
                  </a:lnTo>
                  <a:lnTo>
                    <a:pt x="606" y="176"/>
                  </a:lnTo>
                  <a:lnTo>
                    <a:pt x="630" y="191"/>
                  </a:lnTo>
                  <a:lnTo>
                    <a:pt x="653" y="207"/>
                  </a:lnTo>
                  <a:lnTo>
                    <a:pt x="675" y="223"/>
                  </a:lnTo>
                  <a:lnTo>
                    <a:pt x="697" y="240"/>
                  </a:lnTo>
                  <a:lnTo>
                    <a:pt x="719" y="257"/>
                  </a:lnTo>
                  <a:lnTo>
                    <a:pt x="740" y="275"/>
                  </a:lnTo>
                  <a:lnTo>
                    <a:pt x="761" y="294"/>
                  </a:lnTo>
                  <a:lnTo>
                    <a:pt x="771" y="303"/>
                  </a:lnTo>
                  <a:lnTo>
                    <a:pt x="781" y="313"/>
                  </a:lnTo>
                  <a:lnTo>
                    <a:pt x="801" y="332"/>
                  </a:lnTo>
                  <a:lnTo>
                    <a:pt x="824" y="355"/>
                  </a:lnTo>
                  <a:lnTo>
                    <a:pt x="845" y="379"/>
                  </a:lnTo>
                  <a:lnTo>
                    <a:pt x="866" y="403"/>
                  </a:lnTo>
                  <a:lnTo>
                    <a:pt x="886" y="427"/>
                  </a:lnTo>
                  <a:lnTo>
                    <a:pt x="266" y="923"/>
                  </a:lnTo>
                  <a:lnTo>
                    <a:pt x="254" y="909"/>
                  </a:lnTo>
                  <a:lnTo>
                    <a:pt x="241" y="895"/>
                  </a:lnTo>
                  <a:lnTo>
                    <a:pt x="227" y="882"/>
                  </a:lnTo>
                  <a:lnTo>
                    <a:pt x="213" y="870"/>
                  </a:lnTo>
                  <a:lnTo>
                    <a:pt x="206" y="864"/>
                  </a:lnTo>
                  <a:lnTo>
                    <a:pt x="198" y="859"/>
                  </a:lnTo>
                  <a:lnTo>
                    <a:pt x="190" y="853"/>
                  </a:lnTo>
                  <a:lnTo>
                    <a:pt x="183" y="848"/>
                  </a:lnTo>
                  <a:lnTo>
                    <a:pt x="166" y="839"/>
                  </a:lnTo>
                  <a:lnTo>
                    <a:pt x="150" y="830"/>
                  </a:lnTo>
                  <a:lnTo>
                    <a:pt x="141" y="826"/>
                  </a:lnTo>
                  <a:lnTo>
                    <a:pt x="133" y="822"/>
                  </a:lnTo>
                  <a:lnTo>
                    <a:pt x="115" y="815"/>
                  </a:lnTo>
                  <a:lnTo>
                    <a:pt x="106" y="812"/>
                  </a:lnTo>
                  <a:lnTo>
                    <a:pt x="97" y="809"/>
                  </a:lnTo>
                  <a:lnTo>
                    <a:pt x="78" y="804"/>
                  </a:lnTo>
                  <a:lnTo>
                    <a:pt x="59" y="800"/>
                  </a:lnTo>
                  <a:lnTo>
                    <a:pt x="40" y="797"/>
                  </a:lnTo>
                  <a:lnTo>
                    <a:pt x="20" y="796"/>
                  </a:lnTo>
                  <a:lnTo>
                    <a:pt x="10" y="795"/>
                  </a:lnTo>
                  <a:lnTo>
                    <a:pt x="0" y="795"/>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46" name="Freeform 146">
              <a:extLst>
                <a:ext uri="{FF2B5EF4-FFF2-40B4-BE49-F238E27FC236}">
                  <a16:creationId xmlns:a16="http://schemas.microsoft.com/office/drawing/2014/main" id="{9CA4ACAB-E92A-48F2-83DE-A7D8295A97FB}"/>
                </a:ext>
              </a:extLst>
            </p:cNvPr>
            <p:cNvSpPr>
              <a:spLocks noChangeAspect="1"/>
            </p:cNvSpPr>
            <p:nvPr/>
          </p:nvSpPr>
          <p:spPr bwMode="auto">
            <a:xfrm>
              <a:off x="4786313" y="4372000"/>
              <a:ext cx="711200" cy="788988"/>
            </a:xfrm>
            <a:custGeom>
              <a:avLst/>
              <a:gdLst/>
              <a:ahLst/>
              <a:cxnLst>
                <a:cxn ang="0">
                  <a:pos x="620" y="0"/>
                </a:cxn>
                <a:cxn ang="0">
                  <a:pos x="654" y="45"/>
                </a:cxn>
                <a:cxn ang="0">
                  <a:pos x="685" y="91"/>
                </a:cxn>
                <a:cxn ang="0">
                  <a:pos x="714" y="138"/>
                </a:cxn>
                <a:cxn ang="0">
                  <a:pos x="741" y="188"/>
                </a:cxn>
                <a:cxn ang="0">
                  <a:pos x="765" y="238"/>
                </a:cxn>
                <a:cxn ang="0">
                  <a:pos x="782" y="276"/>
                </a:cxn>
                <a:cxn ang="0">
                  <a:pos x="797" y="315"/>
                </a:cxn>
                <a:cxn ang="0">
                  <a:pos x="815" y="368"/>
                </a:cxn>
                <a:cxn ang="0">
                  <a:pos x="830" y="421"/>
                </a:cxn>
                <a:cxn ang="0">
                  <a:pos x="840" y="462"/>
                </a:cxn>
                <a:cxn ang="0">
                  <a:pos x="849" y="503"/>
                </a:cxn>
                <a:cxn ang="0">
                  <a:pos x="858" y="558"/>
                </a:cxn>
                <a:cxn ang="0">
                  <a:pos x="864" y="613"/>
                </a:cxn>
                <a:cxn ang="0">
                  <a:pos x="867" y="668"/>
                </a:cxn>
                <a:cxn ang="0">
                  <a:pos x="868" y="724"/>
                </a:cxn>
                <a:cxn ang="0">
                  <a:pos x="865" y="780"/>
                </a:cxn>
                <a:cxn ang="0">
                  <a:pos x="860" y="835"/>
                </a:cxn>
                <a:cxn ang="0">
                  <a:pos x="854" y="882"/>
                </a:cxn>
                <a:cxn ang="0">
                  <a:pos x="846" y="929"/>
                </a:cxn>
                <a:cxn ang="0">
                  <a:pos x="839" y="961"/>
                </a:cxn>
                <a:cxn ang="0">
                  <a:pos x="68" y="775"/>
                </a:cxn>
                <a:cxn ang="0">
                  <a:pos x="72" y="747"/>
                </a:cxn>
                <a:cxn ang="0">
                  <a:pos x="74" y="708"/>
                </a:cxn>
                <a:cxn ang="0">
                  <a:pos x="73" y="678"/>
                </a:cxn>
                <a:cxn ang="0">
                  <a:pos x="69" y="649"/>
                </a:cxn>
                <a:cxn ang="0">
                  <a:pos x="63" y="621"/>
                </a:cxn>
                <a:cxn ang="0">
                  <a:pos x="54" y="594"/>
                </a:cxn>
                <a:cxn ang="0">
                  <a:pos x="44" y="568"/>
                </a:cxn>
                <a:cxn ang="0">
                  <a:pos x="31" y="542"/>
                </a:cxn>
                <a:cxn ang="0">
                  <a:pos x="16" y="519"/>
                </a:cxn>
                <a:cxn ang="0">
                  <a:pos x="0" y="496"/>
                </a:cxn>
              </a:cxnLst>
              <a:rect l="0" t="0" r="r" b="b"/>
              <a:pathLst>
                <a:path w="868" h="961">
                  <a:moveTo>
                    <a:pt x="0" y="496"/>
                  </a:moveTo>
                  <a:lnTo>
                    <a:pt x="620" y="0"/>
                  </a:lnTo>
                  <a:lnTo>
                    <a:pt x="637" y="22"/>
                  </a:lnTo>
                  <a:lnTo>
                    <a:pt x="654" y="45"/>
                  </a:lnTo>
                  <a:lnTo>
                    <a:pt x="670" y="67"/>
                  </a:lnTo>
                  <a:lnTo>
                    <a:pt x="685" y="91"/>
                  </a:lnTo>
                  <a:lnTo>
                    <a:pt x="700" y="114"/>
                  </a:lnTo>
                  <a:lnTo>
                    <a:pt x="714" y="138"/>
                  </a:lnTo>
                  <a:lnTo>
                    <a:pt x="728" y="163"/>
                  </a:lnTo>
                  <a:lnTo>
                    <a:pt x="741" y="188"/>
                  </a:lnTo>
                  <a:lnTo>
                    <a:pt x="753" y="213"/>
                  </a:lnTo>
                  <a:lnTo>
                    <a:pt x="765" y="238"/>
                  </a:lnTo>
                  <a:lnTo>
                    <a:pt x="776" y="263"/>
                  </a:lnTo>
                  <a:lnTo>
                    <a:pt x="782" y="276"/>
                  </a:lnTo>
                  <a:lnTo>
                    <a:pt x="787" y="289"/>
                  </a:lnTo>
                  <a:lnTo>
                    <a:pt x="797" y="315"/>
                  </a:lnTo>
                  <a:lnTo>
                    <a:pt x="806" y="341"/>
                  </a:lnTo>
                  <a:lnTo>
                    <a:pt x="815" y="368"/>
                  </a:lnTo>
                  <a:lnTo>
                    <a:pt x="823" y="394"/>
                  </a:lnTo>
                  <a:lnTo>
                    <a:pt x="830" y="421"/>
                  </a:lnTo>
                  <a:lnTo>
                    <a:pt x="837" y="448"/>
                  </a:lnTo>
                  <a:lnTo>
                    <a:pt x="840" y="462"/>
                  </a:lnTo>
                  <a:lnTo>
                    <a:pt x="843" y="475"/>
                  </a:lnTo>
                  <a:lnTo>
                    <a:pt x="849" y="503"/>
                  </a:lnTo>
                  <a:lnTo>
                    <a:pt x="854" y="530"/>
                  </a:lnTo>
                  <a:lnTo>
                    <a:pt x="858" y="558"/>
                  </a:lnTo>
                  <a:lnTo>
                    <a:pt x="861" y="585"/>
                  </a:lnTo>
                  <a:lnTo>
                    <a:pt x="864" y="613"/>
                  </a:lnTo>
                  <a:lnTo>
                    <a:pt x="866" y="641"/>
                  </a:lnTo>
                  <a:lnTo>
                    <a:pt x="867" y="668"/>
                  </a:lnTo>
                  <a:lnTo>
                    <a:pt x="868" y="696"/>
                  </a:lnTo>
                  <a:lnTo>
                    <a:pt x="868" y="724"/>
                  </a:lnTo>
                  <a:lnTo>
                    <a:pt x="867" y="752"/>
                  </a:lnTo>
                  <a:lnTo>
                    <a:pt x="865" y="780"/>
                  </a:lnTo>
                  <a:lnTo>
                    <a:pt x="863" y="807"/>
                  </a:lnTo>
                  <a:lnTo>
                    <a:pt x="860" y="835"/>
                  </a:lnTo>
                  <a:lnTo>
                    <a:pt x="856" y="867"/>
                  </a:lnTo>
                  <a:lnTo>
                    <a:pt x="854" y="882"/>
                  </a:lnTo>
                  <a:lnTo>
                    <a:pt x="851" y="898"/>
                  </a:lnTo>
                  <a:lnTo>
                    <a:pt x="846" y="929"/>
                  </a:lnTo>
                  <a:lnTo>
                    <a:pt x="842" y="945"/>
                  </a:lnTo>
                  <a:lnTo>
                    <a:pt x="839" y="961"/>
                  </a:lnTo>
                  <a:lnTo>
                    <a:pt x="66" y="784"/>
                  </a:lnTo>
                  <a:lnTo>
                    <a:pt x="68" y="775"/>
                  </a:lnTo>
                  <a:lnTo>
                    <a:pt x="69" y="766"/>
                  </a:lnTo>
                  <a:lnTo>
                    <a:pt x="72" y="747"/>
                  </a:lnTo>
                  <a:lnTo>
                    <a:pt x="74" y="728"/>
                  </a:lnTo>
                  <a:lnTo>
                    <a:pt x="74" y="708"/>
                  </a:lnTo>
                  <a:lnTo>
                    <a:pt x="74" y="693"/>
                  </a:lnTo>
                  <a:lnTo>
                    <a:pt x="73" y="678"/>
                  </a:lnTo>
                  <a:lnTo>
                    <a:pt x="71" y="664"/>
                  </a:lnTo>
                  <a:lnTo>
                    <a:pt x="69" y="649"/>
                  </a:lnTo>
                  <a:lnTo>
                    <a:pt x="66" y="635"/>
                  </a:lnTo>
                  <a:lnTo>
                    <a:pt x="63" y="621"/>
                  </a:lnTo>
                  <a:lnTo>
                    <a:pt x="59" y="607"/>
                  </a:lnTo>
                  <a:lnTo>
                    <a:pt x="54" y="594"/>
                  </a:lnTo>
                  <a:lnTo>
                    <a:pt x="49" y="581"/>
                  </a:lnTo>
                  <a:lnTo>
                    <a:pt x="44" y="568"/>
                  </a:lnTo>
                  <a:lnTo>
                    <a:pt x="38" y="555"/>
                  </a:lnTo>
                  <a:lnTo>
                    <a:pt x="31" y="542"/>
                  </a:lnTo>
                  <a:lnTo>
                    <a:pt x="24" y="530"/>
                  </a:lnTo>
                  <a:lnTo>
                    <a:pt x="16" y="519"/>
                  </a:lnTo>
                  <a:lnTo>
                    <a:pt x="8" y="507"/>
                  </a:lnTo>
                  <a:lnTo>
                    <a:pt x="0" y="496"/>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47" name="Freeform 147">
              <a:extLst>
                <a:ext uri="{FF2B5EF4-FFF2-40B4-BE49-F238E27FC236}">
                  <a16:creationId xmlns:a16="http://schemas.microsoft.com/office/drawing/2014/main" id="{748D4A98-F5E6-4390-AA97-370CE337F1A1}"/>
                </a:ext>
              </a:extLst>
            </p:cNvPr>
            <p:cNvSpPr>
              <a:spLocks noChangeAspect="1"/>
            </p:cNvSpPr>
            <p:nvPr/>
          </p:nvSpPr>
          <p:spPr bwMode="auto">
            <a:xfrm>
              <a:off x="4687888" y="5014938"/>
              <a:ext cx="785813" cy="776288"/>
            </a:xfrm>
            <a:custGeom>
              <a:avLst/>
              <a:gdLst/>
              <a:ahLst/>
              <a:cxnLst>
                <a:cxn ang="0">
                  <a:pos x="185" y="0"/>
                </a:cxn>
                <a:cxn ang="0">
                  <a:pos x="958" y="177"/>
                </a:cxn>
                <a:cxn ang="0">
                  <a:pos x="951" y="204"/>
                </a:cxn>
                <a:cxn ang="0">
                  <a:pos x="944" y="230"/>
                </a:cxn>
                <a:cxn ang="0">
                  <a:pos x="936" y="257"/>
                </a:cxn>
                <a:cxn ang="0">
                  <a:pos x="928" y="284"/>
                </a:cxn>
                <a:cxn ang="0">
                  <a:pos x="919" y="310"/>
                </a:cxn>
                <a:cxn ang="0">
                  <a:pos x="909" y="336"/>
                </a:cxn>
                <a:cxn ang="0">
                  <a:pos x="899" y="362"/>
                </a:cxn>
                <a:cxn ang="0">
                  <a:pos x="888" y="387"/>
                </a:cxn>
                <a:cxn ang="0">
                  <a:pos x="876" y="413"/>
                </a:cxn>
                <a:cxn ang="0">
                  <a:pos x="863" y="438"/>
                </a:cxn>
                <a:cxn ang="0">
                  <a:pos x="851" y="462"/>
                </a:cxn>
                <a:cxn ang="0">
                  <a:pos x="837" y="486"/>
                </a:cxn>
                <a:cxn ang="0">
                  <a:pos x="823" y="511"/>
                </a:cxn>
                <a:cxn ang="0">
                  <a:pos x="808" y="535"/>
                </a:cxn>
                <a:cxn ang="0">
                  <a:pos x="793" y="558"/>
                </a:cxn>
                <a:cxn ang="0">
                  <a:pos x="777" y="581"/>
                </a:cxn>
                <a:cxn ang="0">
                  <a:pos x="761" y="604"/>
                </a:cxn>
                <a:cxn ang="0">
                  <a:pos x="744" y="626"/>
                </a:cxn>
                <a:cxn ang="0">
                  <a:pos x="727" y="648"/>
                </a:cxn>
                <a:cxn ang="0">
                  <a:pos x="709" y="669"/>
                </a:cxn>
                <a:cxn ang="0">
                  <a:pos x="690" y="690"/>
                </a:cxn>
                <a:cxn ang="0">
                  <a:pos x="681" y="700"/>
                </a:cxn>
                <a:cxn ang="0">
                  <a:pos x="671" y="710"/>
                </a:cxn>
                <a:cxn ang="0">
                  <a:pos x="652" y="730"/>
                </a:cxn>
                <a:cxn ang="0">
                  <a:pos x="632" y="749"/>
                </a:cxn>
                <a:cxn ang="0">
                  <a:pos x="611" y="768"/>
                </a:cxn>
                <a:cxn ang="0">
                  <a:pos x="591" y="787"/>
                </a:cxn>
                <a:cxn ang="0">
                  <a:pos x="569" y="804"/>
                </a:cxn>
                <a:cxn ang="0">
                  <a:pos x="547" y="822"/>
                </a:cxn>
                <a:cxn ang="0">
                  <a:pos x="525" y="839"/>
                </a:cxn>
                <a:cxn ang="0">
                  <a:pos x="502" y="855"/>
                </a:cxn>
                <a:cxn ang="0">
                  <a:pos x="479" y="870"/>
                </a:cxn>
                <a:cxn ang="0">
                  <a:pos x="456" y="885"/>
                </a:cxn>
                <a:cxn ang="0">
                  <a:pos x="442" y="894"/>
                </a:cxn>
                <a:cxn ang="0">
                  <a:pos x="429" y="902"/>
                </a:cxn>
                <a:cxn ang="0">
                  <a:pos x="401" y="918"/>
                </a:cxn>
                <a:cxn ang="0">
                  <a:pos x="373" y="933"/>
                </a:cxn>
                <a:cxn ang="0">
                  <a:pos x="345" y="947"/>
                </a:cxn>
                <a:cxn ang="0">
                  <a:pos x="0" y="231"/>
                </a:cxn>
                <a:cxn ang="0">
                  <a:pos x="17" y="222"/>
                </a:cxn>
                <a:cxn ang="0">
                  <a:pos x="34" y="212"/>
                </a:cxn>
                <a:cxn ang="0">
                  <a:pos x="50" y="202"/>
                </a:cxn>
                <a:cxn ang="0">
                  <a:pos x="65" y="190"/>
                </a:cxn>
                <a:cxn ang="0">
                  <a:pos x="79" y="178"/>
                </a:cxn>
                <a:cxn ang="0">
                  <a:pos x="93" y="165"/>
                </a:cxn>
                <a:cxn ang="0">
                  <a:pos x="106" y="152"/>
                </a:cxn>
                <a:cxn ang="0">
                  <a:pos x="118" y="137"/>
                </a:cxn>
                <a:cxn ang="0">
                  <a:pos x="130" y="122"/>
                </a:cxn>
                <a:cxn ang="0">
                  <a:pos x="140" y="106"/>
                </a:cxn>
                <a:cxn ang="0">
                  <a:pos x="145" y="98"/>
                </a:cxn>
                <a:cxn ang="0">
                  <a:pos x="150" y="90"/>
                </a:cxn>
                <a:cxn ang="0">
                  <a:pos x="159" y="73"/>
                </a:cxn>
                <a:cxn ang="0">
                  <a:pos x="167" y="55"/>
                </a:cxn>
                <a:cxn ang="0">
                  <a:pos x="174" y="37"/>
                </a:cxn>
                <a:cxn ang="0">
                  <a:pos x="177" y="28"/>
                </a:cxn>
                <a:cxn ang="0">
                  <a:pos x="180" y="19"/>
                </a:cxn>
                <a:cxn ang="0">
                  <a:pos x="185" y="0"/>
                </a:cxn>
              </a:cxnLst>
              <a:rect l="0" t="0" r="r" b="b"/>
              <a:pathLst>
                <a:path w="958" h="947">
                  <a:moveTo>
                    <a:pt x="185" y="0"/>
                  </a:moveTo>
                  <a:lnTo>
                    <a:pt x="958" y="177"/>
                  </a:lnTo>
                  <a:lnTo>
                    <a:pt x="951" y="204"/>
                  </a:lnTo>
                  <a:lnTo>
                    <a:pt x="944" y="230"/>
                  </a:lnTo>
                  <a:lnTo>
                    <a:pt x="936" y="257"/>
                  </a:lnTo>
                  <a:lnTo>
                    <a:pt x="928" y="284"/>
                  </a:lnTo>
                  <a:lnTo>
                    <a:pt x="919" y="310"/>
                  </a:lnTo>
                  <a:lnTo>
                    <a:pt x="909" y="336"/>
                  </a:lnTo>
                  <a:lnTo>
                    <a:pt x="899" y="362"/>
                  </a:lnTo>
                  <a:lnTo>
                    <a:pt x="888" y="387"/>
                  </a:lnTo>
                  <a:lnTo>
                    <a:pt x="876" y="413"/>
                  </a:lnTo>
                  <a:lnTo>
                    <a:pt x="863" y="438"/>
                  </a:lnTo>
                  <a:lnTo>
                    <a:pt x="851" y="462"/>
                  </a:lnTo>
                  <a:lnTo>
                    <a:pt x="837" y="486"/>
                  </a:lnTo>
                  <a:lnTo>
                    <a:pt x="823" y="511"/>
                  </a:lnTo>
                  <a:lnTo>
                    <a:pt x="808" y="535"/>
                  </a:lnTo>
                  <a:lnTo>
                    <a:pt x="793" y="558"/>
                  </a:lnTo>
                  <a:lnTo>
                    <a:pt x="777" y="581"/>
                  </a:lnTo>
                  <a:lnTo>
                    <a:pt x="761" y="604"/>
                  </a:lnTo>
                  <a:lnTo>
                    <a:pt x="744" y="626"/>
                  </a:lnTo>
                  <a:lnTo>
                    <a:pt x="727" y="648"/>
                  </a:lnTo>
                  <a:lnTo>
                    <a:pt x="709" y="669"/>
                  </a:lnTo>
                  <a:lnTo>
                    <a:pt x="690" y="690"/>
                  </a:lnTo>
                  <a:lnTo>
                    <a:pt x="681" y="700"/>
                  </a:lnTo>
                  <a:lnTo>
                    <a:pt x="671" y="710"/>
                  </a:lnTo>
                  <a:lnTo>
                    <a:pt x="652" y="730"/>
                  </a:lnTo>
                  <a:lnTo>
                    <a:pt x="632" y="749"/>
                  </a:lnTo>
                  <a:lnTo>
                    <a:pt x="611" y="768"/>
                  </a:lnTo>
                  <a:lnTo>
                    <a:pt x="591" y="787"/>
                  </a:lnTo>
                  <a:lnTo>
                    <a:pt x="569" y="804"/>
                  </a:lnTo>
                  <a:lnTo>
                    <a:pt x="547" y="822"/>
                  </a:lnTo>
                  <a:lnTo>
                    <a:pt x="525" y="839"/>
                  </a:lnTo>
                  <a:lnTo>
                    <a:pt x="502" y="855"/>
                  </a:lnTo>
                  <a:lnTo>
                    <a:pt x="479" y="870"/>
                  </a:lnTo>
                  <a:lnTo>
                    <a:pt x="456" y="885"/>
                  </a:lnTo>
                  <a:lnTo>
                    <a:pt x="442" y="894"/>
                  </a:lnTo>
                  <a:lnTo>
                    <a:pt x="429" y="902"/>
                  </a:lnTo>
                  <a:lnTo>
                    <a:pt x="401" y="918"/>
                  </a:lnTo>
                  <a:lnTo>
                    <a:pt x="373" y="933"/>
                  </a:lnTo>
                  <a:lnTo>
                    <a:pt x="345" y="947"/>
                  </a:lnTo>
                  <a:lnTo>
                    <a:pt x="0" y="231"/>
                  </a:lnTo>
                  <a:lnTo>
                    <a:pt x="17" y="222"/>
                  </a:lnTo>
                  <a:lnTo>
                    <a:pt x="34" y="212"/>
                  </a:lnTo>
                  <a:lnTo>
                    <a:pt x="50" y="202"/>
                  </a:lnTo>
                  <a:lnTo>
                    <a:pt x="65" y="190"/>
                  </a:lnTo>
                  <a:lnTo>
                    <a:pt x="79" y="178"/>
                  </a:lnTo>
                  <a:lnTo>
                    <a:pt x="93" y="165"/>
                  </a:lnTo>
                  <a:lnTo>
                    <a:pt x="106" y="152"/>
                  </a:lnTo>
                  <a:lnTo>
                    <a:pt x="118" y="137"/>
                  </a:lnTo>
                  <a:lnTo>
                    <a:pt x="130" y="122"/>
                  </a:lnTo>
                  <a:lnTo>
                    <a:pt x="140" y="106"/>
                  </a:lnTo>
                  <a:lnTo>
                    <a:pt x="145" y="98"/>
                  </a:lnTo>
                  <a:lnTo>
                    <a:pt x="150" y="90"/>
                  </a:lnTo>
                  <a:lnTo>
                    <a:pt x="159" y="73"/>
                  </a:lnTo>
                  <a:lnTo>
                    <a:pt x="167" y="55"/>
                  </a:lnTo>
                  <a:lnTo>
                    <a:pt x="174" y="37"/>
                  </a:lnTo>
                  <a:lnTo>
                    <a:pt x="177" y="28"/>
                  </a:lnTo>
                  <a:lnTo>
                    <a:pt x="180" y="19"/>
                  </a:lnTo>
                  <a:lnTo>
                    <a:pt x="185"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48" name="Freeform 148">
              <a:extLst>
                <a:ext uri="{FF2B5EF4-FFF2-40B4-BE49-F238E27FC236}">
                  <a16:creationId xmlns:a16="http://schemas.microsoft.com/office/drawing/2014/main" id="{B1C89753-41C4-4EA4-A394-4D5E755A0329}"/>
                </a:ext>
              </a:extLst>
            </p:cNvPr>
            <p:cNvSpPr>
              <a:spLocks noChangeAspect="1"/>
            </p:cNvSpPr>
            <p:nvPr/>
          </p:nvSpPr>
          <p:spPr bwMode="auto">
            <a:xfrm>
              <a:off x="4164013" y="5205438"/>
              <a:ext cx="806450" cy="677863"/>
            </a:xfrm>
            <a:custGeom>
              <a:avLst/>
              <a:gdLst/>
              <a:ahLst/>
              <a:cxnLst>
                <a:cxn ang="0">
                  <a:pos x="640" y="0"/>
                </a:cxn>
                <a:cxn ang="0">
                  <a:pos x="985" y="716"/>
                </a:cxn>
                <a:cxn ang="0">
                  <a:pos x="959" y="728"/>
                </a:cxn>
                <a:cxn ang="0">
                  <a:pos x="934" y="739"/>
                </a:cxn>
                <a:cxn ang="0">
                  <a:pos x="908" y="749"/>
                </a:cxn>
                <a:cxn ang="0">
                  <a:pos x="882" y="759"/>
                </a:cxn>
                <a:cxn ang="0">
                  <a:pos x="856" y="768"/>
                </a:cxn>
                <a:cxn ang="0">
                  <a:pos x="829" y="777"/>
                </a:cxn>
                <a:cxn ang="0">
                  <a:pos x="803" y="785"/>
                </a:cxn>
                <a:cxn ang="0">
                  <a:pos x="776" y="792"/>
                </a:cxn>
                <a:cxn ang="0">
                  <a:pos x="749" y="799"/>
                </a:cxn>
                <a:cxn ang="0">
                  <a:pos x="722" y="805"/>
                </a:cxn>
                <a:cxn ang="0">
                  <a:pos x="694" y="810"/>
                </a:cxn>
                <a:cxn ang="0">
                  <a:pos x="667" y="814"/>
                </a:cxn>
                <a:cxn ang="0">
                  <a:pos x="639" y="818"/>
                </a:cxn>
                <a:cxn ang="0">
                  <a:pos x="612" y="822"/>
                </a:cxn>
                <a:cxn ang="0">
                  <a:pos x="584" y="824"/>
                </a:cxn>
                <a:cxn ang="0">
                  <a:pos x="556" y="826"/>
                </a:cxn>
                <a:cxn ang="0">
                  <a:pos x="529" y="827"/>
                </a:cxn>
                <a:cxn ang="0">
                  <a:pos x="501" y="828"/>
                </a:cxn>
                <a:cxn ang="0">
                  <a:pos x="472" y="828"/>
                </a:cxn>
                <a:cxn ang="0">
                  <a:pos x="444" y="827"/>
                </a:cxn>
                <a:cxn ang="0">
                  <a:pos x="416" y="826"/>
                </a:cxn>
                <a:cxn ang="0">
                  <a:pos x="389" y="824"/>
                </a:cxn>
                <a:cxn ang="0">
                  <a:pos x="361" y="821"/>
                </a:cxn>
                <a:cxn ang="0">
                  <a:pos x="333" y="817"/>
                </a:cxn>
                <a:cxn ang="0">
                  <a:pos x="306" y="813"/>
                </a:cxn>
                <a:cxn ang="0">
                  <a:pos x="278" y="808"/>
                </a:cxn>
                <a:cxn ang="0">
                  <a:pos x="251" y="803"/>
                </a:cxn>
                <a:cxn ang="0">
                  <a:pos x="224" y="796"/>
                </a:cxn>
                <a:cxn ang="0">
                  <a:pos x="197" y="789"/>
                </a:cxn>
                <a:cxn ang="0">
                  <a:pos x="170" y="782"/>
                </a:cxn>
                <a:cxn ang="0">
                  <a:pos x="144" y="773"/>
                </a:cxn>
                <a:cxn ang="0">
                  <a:pos x="117" y="764"/>
                </a:cxn>
                <a:cxn ang="0">
                  <a:pos x="87" y="753"/>
                </a:cxn>
                <a:cxn ang="0">
                  <a:pos x="58" y="742"/>
                </a:cxn>
                <a:cxn ang="0">
                  <a:pos x="29" y="729"/>
                </a:cxn>
                <a:cxn ang="0">
                  <a:pos x="14" y="723"/>
                </a:cxn>
                <a:cxn ang="0">
                  <a:pos x="0" y="716"/>
                </a:cxn>
                <a:cxn ang="0">
                  <a:pos x="344" y="0"/>
                </a:cxn>
                <a:cxn ang="0">
                  <a:pos x="361" y="7"/>
                </a:cxn>
                <a:cxn ang="0">
                  <a:pos x="370" y="11"/>
                </a:cxn>
                <a:cxn ang="0">
                  <a:pos x="379" y="14"/>
                </a:cxn>
                <a:cxn ang="0">
                  <a:pos x="397" y="20"/>
                </a:cxn>
                <a:cxn ang="0">
                  <a:pos x="415" y="25"/>
                </a:cxn>
                <a:cxn ang="0">
                  <a:pos x="434" y="28"/>
                </a:cxn>
                <a:cxn ang="0">
                  <a:pos x="453" y="31"/>
                </a:cxn>
                <a:cxn ang="0">
                  <a:pos x="472" y="33"/>
                </a:cxn>
                <a:cxn ang="0">
                  <a:pos x="493" y="33"/>
                </a:cxn>
                <a:cxn ang="0">
                  <a:pos x="513" y="33"/>
                </a:cxn>
                <a:cxn ang="0">
                  <a:pos x="522" y="32"/>
                </a:cxn>
                <a:cxn ang="0">
                  <a:pos x="532" y="31"/>
                </a:cxn>
                <a:cxn ang="0">
                  <a:pos x="551" y="28"/>
                </a:cxn>
                <a:cxn ang="0">
                  <a:pos x="570" y="25"/>
                </a:cxn>
                <a:cxn ang="0">
                  <a:pos x="588" y="20"/>
                </a:cxn>
                <a:cxn ang="0">
                  <a:pos x="606" y="14"/>
                </a:cxn>
                <a:cxn ang="0">
                  <a:pos x="615" y="11"/>
                </a:cxn>
                <a:cxn ang="0">
                  <a:pos x="623" y="8"/>
                </a:cxn>
                <a:cxn ang="0">
                  <a:pos x="640" y="0"/>
                </a:cxn>
              </a:cxnLst>
              <a:rect l="0" t="0" r="r" b="b"/>
              <a:pathLst>
                <a:path w="985" h="828">
                  <a:moveTo>
                    <a:pt x="640" y="0"/>
                  </a:moveTo>
                  <a:lnTo>
                    <a:pt x="985" y="716"/>
                  </a:lnTo>
                  <a:lnTo>
                    <a:pt x="959" y="728"/>
                  </a:lnTo>
                  <a:lnTo>
                    <a:pt x="934" y="739"/>
                  </a:lnTo>
                  <a:lnTo>
                    <a:pt x="908" y="749"/>
                  </a:lnTo>
                  <a:lnTo>
                    <a:pt x="882" y="759"/>
                  </a:lnTo>
                  <a:lnTo>
                    <a:pt x="856" y="768"/>
                  </a:lnTo>
                  <a:lnTo>
                    <a:pt x="829" y="777"/>
                  </a:lnTo>
                  <a:lnTo>
                    <a:pt x="803" y="785"/>
                  </a:lnTo>
                  <a:lnTo>
                    <a:pt x="776" y="792"/>
                  </a:lnTo>
                  <a:lnTo>
                    <a:pt x="749" y="799"/>
                  </a:lnTo>
                  <a:lnTo>
                    <a:pt x="722" y="805"/>
                  </a:lnTo>
                  <a:lnTo>
                    <a:pt x="694" y="810"/>
                  </a:lnTo>
                  <a:lnTo>
                    <a:pt x="667" y="814"/>
                  </a:lnTo>
                  <a:lnTo>
                    <a:pt x="639" y="818"/>
                  </a:lnTo>
                  <a:lnTo>
                    <a:pt x="612" y="822"/>
                  </a:lnTo>
                  <a:lnTo>
                    <a:pt x="584" y="824"/>
                  </a:lnTo>
                  <a:lnTo>
                    <a:pt x="556" y="826"/>
                  </a:lnTo>
                  <a:lnTo>
                    <a:pt x="529" y="827"/>
                  </a:lnTo>
                  <a:lnTo>
                    <a:pt x="501" y="828"/>
                  </a:lnTo>
                  <a:lnTo>
                    <a:pt x="472" y="828"/>
                  </a:lnTo>
                  <a:lnTo>
                    <a:pt x="444" y="827"/>
                  </a:lnTo>
                  <a:lnTo>
                    <a:pt x="416" y="826"/>
                  </a:lnTo>
                  <a:lnTo>
                    <a:pt x="389" y="824"/>
                  </a:lnTo>
                  <a:lnTo>
                    <a:pt x="361" y="821"/>
                  </a:lnTo>
                  <a:lnTo>
                    <a:pt x="333" y="817"/>
                  </a:lnTo>
                  <a:lnTo>
                    <a:pt x="306" y="813"/>
                  </a:lnTo>
                  <a:lnTo>
                    <a:pt x="278" y="808"/>
                  </a:lnTo>
                  <a:lnTo>
                    <a:pt x="251" y="803"/>
                  </a:lnTo>
                  <a:lnTo>
                    <a:pt x="224" y="796"/>
                  </a:lnTo>
                  <a:lnTo>
                    <a:pt x="197" y="789"/>
                  </a:lnTo>
                  <a:lnTo>
                    <a:pt x="170" y="782"/>
                  </a:lnTo>
                  <a:lnTo>
                    <a:pt x="144" y="773"/>
                  </a:lnTo>
                  <a:lnTo>
                    <a:pt x="117" y="764"/>
                  </a:lnTo>
                  <a:lnTo>
                    <a:pt x="87" y="753"/>
                  </a:lnTo>
                  <a:lnTo>
                    <a:pt x="58" y="742"/>
                  </a:lnTo>
                  <a:lnTo>
                    <a:pt x="29" y="729"/>
                  </a:lnTo>
                  <a:lnTo>
                    <a:pt x="14" y="723"/>
                  </a:lnTo>
                  <a:lnTo>
                    <a:pt x="0" y="716"/>
                  </a:lnTo>
                  <a:lnTo>
                    <a:pt x="344" y="0"/>
                  </a:lnTo>
                  <a:lnTo>
                    <a:pt x="361" y="7"/>
                  </a:lnTo>
                  <a:lnTo>
                    <a:pt x="370" y="11"/>
                  </a:lnTo>
                  <a:lnTo>
                    <a:pt x="379" y="14"/>
                  </a:lnTo>
                  <a:lnTo>
                    <a:pt x="397" y="20"/>
                  </a:lnTo>
                  <a:lnTo>
                    <a:pt x="415" y="25"/>
                  </a:lnTo>
                  <a:lnTo>
                    <a:pt x="434" y="28"/>
                  </a:lnTo>
                  <a:lnTo>
                    <a:pt x="453" y="31"/>
                  </a:lnTo>
                  <a:lnTo>
                    <a:pt x="472" y="33"/>
                  </a:lnTo>
                  <a:lnTo>
                    <a:pt x="493" y="33"/>
                  </a:lnTo>
                  <a:lnTo>
                    <a:pt x="513" y="33"/>
                  </a:lnTo>
                  <a:lnTo>
                    <a:pt x="522" y="32"/>
                  </a:lnTo>
                  <a:lnTo>
                    <a:pt x="532" y="31"/>
                  </a:lnTo>
                  <a:lnTo>
                    <a:pt x="551" y="28"/>
                  </a:lnTo>
                  <a:lnTo>
                    <a:pt x="570" y="25"/>
                  </a:lnTo>
                  <a:lnTo>
                    <a:pt x="588" y="20"/>
                  </a:lnTo>
                  <a:lnTo>
                    <a:pt x="606" y="14"/>
                  </a:lnTo>
                  <a:lnTo>
                    <a:pt x="615" y="11"/>
                  </a:lnTo>
                  <a:lnTo>
                    <a:pt x="623" y="8"/>
                  </a:lnTo>
                  <a:lnTo>
                    <a:pt x="640"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49" name="Freeform 149">
              <a:extLst>
                <a:ext uri="{FF2B5EF4-FFF2-40B4-BE49-F238E27FC236}">
                  <a16:creationId xmlns:a16="http://schemas.microsoft.com/office/drawing/2014/main" id="{8764F9FC-103A-4456-A257-E5F202A0FEA5}"/>
                </a:ext>
              </a:extLst>
            </p:cNvPr>
            <p:cNvSpPr>
              <a:spLocks noChangeAspect="1"/>
            </p:cNvSpPr>
            <p:nvPr/>
          </p:nvSpPr>
          <p:spPr bwMode="auto">
            <a:xfrm>
              <a:off x="3660776" y="5014938"/>
              <a:ext cx="784225" cy="776288"/>
            </a:xfrm>
            <a:custGeom>
              <a:avLst/>
              <a:gdLst/>
              <a:ahLst/>
              <a:cxnLst>
                <a:cxn ang="0">
                  <a:pos x="957" y="231"/>
                </a:cxn>
                <a:cxn ang="0">
                  <a:pos x="613" y="947"/>
                </a:cxn>
                <a:cxn ang="0">
                  <a:pos x="588" y="934"/>
                </a:cxn>
                <a:cxn ang="0">
                  <a:pos x="563" y="921"/>
                </a:cxn>
                <a:cxn ang="0">
                  <a:pos x="539" y="908"/>
                </a:cxn>
                <a:cxn ang="0">
                  <a:pos x="515" y="894"/>
                </a:cxn>
                <a:cxn ang="0">
                  <a:pos x="491" y="879"/>
                </a:cxn>
                <a:cxn ang="0">
                  <a:pos x="468" y="864"/>
                </a:cxn>
                <a:cxn ang="0">
                  <a:pos x="445" y="848"/>
                </a:cxn>
                <a:cxn ang="0">
                  <a:pos x="423" y="831"/>
                </a:cxn>
                <a:cxn ang="0">
                  <a:pos x="401" y="814"/>
                </a:cxn>
                <a:cxn ang="0">
                  <a:pos x="379" y="797"/>
                </a:cxn>
                <a:cxn ang="0">
                  <a:pos x="358" y="778"/>
                </a:cxn>
                <a:cxn ang="0">
                  <a:pos x="338" y="760"/>
                </a:cxn>
                <a:cxn ang="0">
                  <a:pos x="317" y="741"/>
                </a:cxn>
                <a:cxn ang="0">
                  <a:pos x="298" y="721"/>
                </a:cxn>
                <a:cxn ang="0">
                  <a:pos x="278" y="701"/>
                </a:cxn>
                <a:cxn ang="0">
                  <a:pos x="269" y="691"/>
                </a:cxn>
                <a:cxn ang="0">
                  <a:pos x="259" y="681"/>
                </a:cxn>
                <a:cxn ang="0">
                  <a:pos x="241" y="660"/>
                </a:cxn>
                <a:cxn ang="0">
                  <a:pos x="223" y="638"/>
                </a:cxn>
                <a:cxn ang="0">
                  <a:pos x="206" y="617"/>
                </a:cxn>
                <a:cxn ang="0">
                  <a:pos x="189" y="594"/>
                </a:cxn>
                <a:cxn ang="0">
                  <a:pos x="173" y="572"/>
                </a:cxn>
                <a:cxn ang="0">
                  <a:pos x="158" y="549"/>
                </a:cxn>
                <a:cxn ang="0">
                  <a:pos x="150" y="537"/>
                </a:cxn>
                <a:cxn ang="0">
                  <a:pos x="142" y="525"/>
                </a:cxn>
                <a:cxn ang="0">
                  <a:pos x="128" y="502"/>
                </a:cxn>
                <a:cxn ang="0">
                  <a:pos x="114" y="476"/>
                </a:cxn>
                <a:cxn ang="0">
                  <a:pos x="101" y="452"/>
                </a:cxn>
                <a:cxn ang="0">
                  <a:pos x="88" y="427"/>
                </a:cxn>
                <a:cxn ang="0">
                  <a:pos x="76" y="402"/>
                </a:cxn>
                <a:cxn ang="0">
                  <a:pos x="65" y="377"/>
                </a:cxn>
                <a:cxn ang="0">
                  <a:pos x="54" y="351"/>
                </a:cxn>
                <a:cxn ang="0">
                  <a:pos x="44" y="325"/>
                </a:cxn>
                <a:cxn ang="0">
                  <a:pos x="35" y="299"/>
                </a:cxn>
                <a:cxn ang="0">
                  <a:pos x="25" y="269"/>
                </a:cxn>
                <a:cxn ang="0">
                  <a:pos x="15" y="238"/>
                </a:cxn>
                <a:cxn ang="0">
                  <a:pos x="7" y="207"/>
                </a:cxn>
                <a:cxn ang="0">
                  <a:pos x="3" y="192"/>
                </a:cxn>
                <a:cxn ang="0">
                  <a:pos x="0" y="177"/>
                </a:cxn>
                <a:cxn ang="0">
                  <a:pos x="773" y="0"/>
                </a:cxn>
                <a:cxn ang="0">
                  <a:pos x="778" y="19"/>
                </a:cxn>
                <a:cxn ang="0">
                  <a:pos x="781" y="28"/>
                </a:cxn>
                <a:cxn ang="0">
                  <a:pos x="784" y="37"/>
                </a:cxn>
                <a:cxn ang="0">
                  <a:pos x="791" y="55"/>
                </a:cxn>
                <a:cxn ang="0">
                  <a:pos x="795" y="64"/>
                </a:cxn>
                <a:cxn ang="0">
                  <a:pos x="799" y="73"/>
                </a:cxn>
                <a:cxn ang="0">
                  <a:pos x="808" y="90"/>
                </a:cxn>
                <a:cxn ang="0">
                  <a:pos x="812" y="98"/>
                </a:cxn>
                <a:cxn ang="0">
                  <a:pos x="817" y="106"/>
                </a:cxn>
                <a:cxn ang="0">
                  <a:pos x="828" y="122"/>
                </a:cxn>
                <a:cxn ang="0">
                  <a:pos x="834" y="129"/>
                </a:cxn>
                <a:cxn ang="0">
                  <a:pos x="839" y="137"/>
                </a:cxn>
                <a:cxn ang="0">
                  <a:pos x="852" y="151"/>
                </a:cxn>
                <a:cxn ang="0">
                  <a:pos x="865" y="165"/>
                </a:cxn>
                <a:cxn ang="0">
                  <a:pos x="878" y="178"/>
                </a:cxn>
                <a:cxn ang="0">
                  <a:pos x="893" y="190"/>
                </a:cxn>
                <a:cxn ang="0">
                  <a:pos x="908" y="202"/>
                </a:cxn>
                <a:cxn ang="0">
                  <a:pos x="924" y="212"/>
                </a:cxn>
                <a:cxn ang="0">
                  <a:pos x="932" y="217"/>
                </a:cxn>
                <a:cxn ang="0">
                  <a:pos x="940" y="222"/>
                </a:cxn>
                <a:cxn ang="0">
                  <a:pos x="957" y="231"/>
                </a:cxn>
              </a:cxnLst>
              <a:rect l="0" t="0" r="r" b="b"/>
              <a:pathLst>
                <a:path w="957" h="947">
                  <a:moveTo>
                    <a:pt x="957" y="231"/>
                  </a:moveTo>
                  <a:lnTo>
                    <a:pt x="613" y="947"/>
                  </a:lnTo>
                  <a:lnTo>
                    <a:pt x="588" y="934"/>
                  </a:lnTo>
                  <a:lnTo>
                    <a:pt x="563" y="921"/>
                  </a:lnTo>
                  <a:lnTo>
                    <a:pt x="539" y="908"/>
                  </a:lnTo>
                  <a:lnTo>
                    <a:pt x="515" y="894"/>
                  </a:lnTo>
                  <a:lnTo>
                    <a:pt x="491" y="879"/>
                  </a:lnTo>
                  <a:lnTo>
                    <a:pt x="468" y="864"/>
                  </a:lnTo>
                  <a:lnTo>
                    <a:pt x="445" y="848"/>
                  </a:lnTo>
                  <a:lnTo>
                    <a:pt x="423" y="831"/>
                  </a:lnTo>
                  <a:lnTo>
                    <a:pt x="401" y="814"/>
                  </a:lnTo>
                  <a:lnTo>
                    <a:pt x="379" y="797"/>
                  </a:lnTo>
                  <a:lnTo>
                    <a:pt x="358" y="778"/>
                  </a:lnTo>
                  <a:lnTo>
                    <a:pt x="338" y="760"/>
                  </a:lnTo>
                  <a:lnTo>
                    <a:pt x="317" y="741"/>
                  </a:lnTo>
                  <a:lnTo>
                    <a:pt x="298" y="721"/>
                  </a:lnTo>
                  <a:lnTo>
                    <a:pt x="278" y="701"/>
                  </a:lnTo>
                  <a:lnTo>
                    <a:pt x="269" y="691"/>
                  </a:lnTo>
                  <a:lnTo>
                    <a:pt x="259" y="681"/>
                  </a:lnTo>
                  <a:lnTo>
                    <a:pt x="241" y="660"/>
                  </a:lnTo>
                  <a:lnTo>
                    <a:pt x="223" y="638"/>
                  </a:lnTo>
                  <a:lnTo>
                    <a:pt x="206" y="617"/>
                  </a:lnTo>
                  <a:lnTo>
                    <a:pt x="189" y="594"/>
                  </a:lnTo>
                  <a:lnTo>
                    <a:pt x="173" y="572"/>
                  </a:lnTo>
                  <a:lnTo>
                    <a:pt x="158" y="549"/>
                  </a:lnTo>
                  <a:lnTo>
                    <a:pt x="150" y="537"/>
                  </a:lnTo>
                  <a:lnTo>
                    <a:pt x="142" y="525"/>
                  </a:lnTo>
                  <a:lnTo>
                    <a:pt x="128" y="502"/>
                  </a:lnTo>
                  <a:lnTo>
                    <a:pt x="114" y="476"/>
                  </a:lnTo>
                  <a:lnTo>
                    <a:pt x="101" y="452"/>
                  </a:lnTo>
                  <a:lnTo>
                    <a:pt x="88" y="427"/>
                  </a:lnTo>
                  <a:lnTo>
                    <a:pt x="76" y="402"/>
                  </a:lnTo>
                  <a:lnTo>
                    <a:pt x="65" y="377"/>
                  </a:lnTo>
                  <a:lnTo>
                    <a:pt x="54" y="351"/>
                  </a:lnTo>
                  <a:lnTo>
                    <a:pt x="44" y="325"/>
                  </a:lnTo>
                  <a:lnTo>
                    <a:pt x="35" y="299"/>
                  </a:lnTo>
                  <a:lnTo>
                    <a:pt x="25" y="269"/>
                  </a:lnTo>
                  <a:lnTo>
                    <a:pt x="15" y="238"/>
                  </a:lnTo>
                  <a:lnTo>
                    <a:pt x="7" y="207"/>
                  </a:lnTo>
                  <a:lnTo>
                    <a:pt x="3" y="192"/>
                  </a:lnTo>
                  <a:lnTo>
                    <a:pt x="0" y="177"/>
                  </a:lnTo>
                  <a:lnTo>
                    <a:pt x="773" y="0"/>
                  </a:lnTo>
                  <a:lnTo>
                    <a:pt x="778" y="19"/>
                  </a:lnTo>
                  <a:lnTo>
                    <a:pt x="781" y="28"/>
                  </a:lnTo>
                  <a:lnTo>
                    <a:pt x="784" y="37"/>
                  </a:lnTo>
                  <a:lnTo>
                    <a:pt x="791" y="55"/>
                  </a:lnTo>
                  <a:lnTo>
                    <a:pt x="795" y="64"/>
                  </a:lnTo>
                  <a:lnTo>
                    <a:pt x="799" y="73"/>
                  </a:lnTo>
                  <a:lnTo>
                    <a:pt x="808" y="90"/>
                  </a:lnTo>
                  <a:lnTo>
                    <a:pt x="812" y="98"/>
                  </a:lnTo>
                  <a:lnTo>
                    <a:pt x="817" y="106"/>
                  </a:lnTo>
                  <a:lnTo>
                    <a:pt x="828" y="122"/>
                  </a:lnTo>
                  <a:lnTo>
                    <a:pt x="834" y="129"/>
                  </a:lnTo>
                  <a:lnTo>
                    <a:pt x="839" y="137"/>
                  </a:lnTo>
                  <a:lnTo>
                    <a:pt x="852" y="151"/>
                  </a:lnTo>
                  <a:lnTo>
                    <a:pt x="865" y="165"/>
                  </a:lnTo>
                  <a:lnTo>
                    <a:pt x="878" y="178"/>
                  </a:lnTo>
                  <a:lnTo>
                    <a:pt x="893" y="190"/>
                  </a:lnTo>
                  <a:lnTo>
                    <a:pt x="908" y="202"/>
                  </a:lnTo>
                  <a:lnTo>
                    <a:pt x="924" y="212"/>
                  </a:lnTo>
                  <a:lnTo>
                    <a:pt x="932" y="217"/>
                  </a:lnTo>
                  <a:lnTo>
                    <a:pt x="940" y="222"/>
                  </a:lnTo>
                  <a:lnTo>
                    <a:pt x="957" y="231"/>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50" name="Freeform 150">
              <a:extLst>
                <a:ext uri="{FF2B5EF4-FFF2-40B4-BE49-F238E27FC236}">
                  <a16:creationId xmlns:a16="http://schemas.microsoft.com/office/drawing/2014/main" id="{54E94486-98CD-4509-913D-AF2813861123}"/>
                </a:ext>
              </a:extLst>
            </p:cNvPr>
            <p:cNvSpPr>
              <a:spLocks noChangeAspect="1"/>
            </p:cNvSpPr>
            <p:nvPr/>
          </p:nvSpPr>
          <p:spPr bwMode="auto">
            <a:xfrm>
              <a:off x="3636963" y="4372000"/>
              <a:ext cx="711200" cy="788988"/>
            </a:xfrm>
            <a:custGeom>
              <a:avLst/>
              <a:gdLst/>
              <a:ahLst/>
              <a:cxnLst>
                <a:cxn ang="0">
                  <a:pos x="802" y="784"/>
                </a:cxn>
                <a:cxn ang="0">
                  <a:pos x="29" y="961"/>
                </a:cxn>
                <a:cxn ang="0">
                  <a:pos x="23" y="933"/>
                </a:cxn>
                <a:cxn ang="0">
                  <a:pos x="17" y="906"/>
                </a:cxn>
                <a:cxn ang="0">
                  <a:pos x="13" y="879"/>
                </a:cxn>
                <a:cxn ang="0">
                  <a:pos x="9" y="851"/>
                </a:cxn>
                <a:cxn ang="0">
                  <a:pos x="6" y="823"/>
                </a:cxn>
                <a:cxn ang="0">
                  <a:pos x="3" y="796"/>
                </a:cxn>
                <a:cxn ang="0">
                  <a:pos x="2" y="768"/>
                </a:cxn>
                <a:cxn ang="0">
                  <a:pos x="1" y="740"/>
                </a:cxn>
                <a:cxn ang="0">
                  <a:pos x="0" y="712"/>
                </a:cxn>
                <a:cxn ang="0">
                  <a:pos x="0" y="684"/>
                </a:cxn>
                <a:cxn ang="0">
                  <a:pos x="1" y="657"/>
                </a:cxn>
                <a:cxn ang="0">
                  <a:pos x="3" y="629"/>
                </a:cxn>
                <a:cxn ang="0">
                  <a:pos x="5" y="601"/>
                </a:cxn>
                <a:cxn ang="0">
                  <a:pos x="8" y="573"/>
                </a:cxn>
                <a:cxn ang="0">
                  <a:pos x="10" y="560"/>
                </a:cxn>
                <a:cxn ang="0">
                  <a:pos x="12" y="546"/>
                </a:cxn>
                <a:cxn ang="0">
                  <a:pos x="16" y="518"/>
                </a:cxn>
                <a:cxn ang="0">
                  <a:pos x="21" y="491"/>
                </a:cxn>
                <a:cxn ang="0">
                  <a:pos x="27" y="464"/>
                </a:cxn>
                <a:cxn ang="0">
                  <a:pos x="33" y="437"/>
                </a:cxn>
                <a:cxn ang="0">
                  <a:pos x="40" y="410"/>
                </a:cxn>
                <a:cxn ang="0">
                  <a:pos x="48" y="383"/>
                </a:cxn>
                <a:cxn ang="0">
                  <a:pos x="56" y="356"/>
                </a:cxn>
                <a:cxn ang="0">
                  <a:pos x="65" y="330"/>
                </a:cxn>
                <a:cxn ang="0">
                  <a:pos x="74" y="304"/>
                </a:cxn>
                <a:cxn ang="0">
                  <a:pos x="84" y="278"/>
                </a:cxn>
                <a:cxn ang="0">
                  <a:pos x="95" y="252"/>
                </a:cxn>
                <a:cxn ang="0">
                  <a:pos x="107" y="227"/>
                </a:cxn>
                <a:cxn ang="0">
                  <a:pos x="119" y="202"/>
                </a:cxn>
                <a:cxn ang="0">
                  <a:pos x="132" y="177"/>
                </a:cxn>
                <a:cxn ang="0">
                  <a:pos x="145" y="153"/>
                </a:cxn>
                <a:cxn ang="0">
                  <a:pos x="159" y="128"/>
                </a:cxn>
                <a:cxn ang="0">
                  <a:pos x="174" y="104"/>
                </a:cxn>
                <a:cxn ang="0">
                  <a:pos x="191" y="77"/>
                </a:cxn>
                <a:cxn ang="0">
                  <a:pos x="209" y="51"/>
                </a:cxn>
                <a:cxn ang="0">
                  <a:pos x="228" y="25"/>
                </a:cxn>
                <a:cxn ang="0">
                  <a:pos x="247" y="0"/>
                </a:cxn>
                <a:cxn ang="0">
                  <a:pos x="868" y="496"/>
                </a:cxn>
                <a:cxn ang="0">
                  <a:pos x="859" y="507"/>
                </a:cxn>
                <a:cxn ang="0">
                  <a:pos x="851" y="519"/>
                </a:cxn>
                <a:cxn ang="0">
                  <a:pos x="844" y="531"/>
                </a:cxn>
                <a:cxn ang="0">
                  <a:pos x="837" y="543"/>
                </a:cxn>
                <a:cxn ang="0">
                  <a:pos x="830" y="555"/>
                </a:cxn>
                <a:cxn ang="0">
                  <a:pos x="824" y="568"/>
                </a:cxn>
                <a:cxn ang="0">
                  <a:pos x="819" y="581"/>
                </a:cxn>
                <a:cxn ang="0">
                  <a:pos x="813" y="594"/>
                </a:cxn>
                <a:cxn ang="0">
                  <a:pos x="809" y="608"/>
                </a:cxn>
                <a:cxn ang="0">
                  <a:pos x="805" y="621"/>
                </a:cxn>
                <a:cxn ang="0">
                  <a:pos x="802" y="635"/>
                </a:cxn>
                <a:cxn ang="0">
                  <a:pos x="799" y="649"/>
                </a:cxn>
                <a:cxn ang="0">
                  <a:pos x="797" y="664"/>
                </a:cxn>
                <a:cxn ang="0">
                  <a:pos x="795" y="679"/>
                </a:cxn>
                <a:cxn ang="0">
                  <a:pos x="794" y="693"/>
                </a:cxn>
                <a:cxn ang="0">
                  <a:pos x="794" y="708"/>
                </a:cxn>
                <a:cxn ang="0">
                  <a:pos x="794" y="728"/>
                </a:cxn>
                <a:cxn ang="0">
                  <a:pos x="795" y="737"/>
                </a:cxn>
                <a:cxn ang="0">
                  <a:pos x="796" y="747"/>
                </a:cxn>
                <a:cxn ang="0">
                  <a:pos x="797" y="756"/>
                </a:cxn>
                <a:cxn ang="0">
                  <a:pos x="799" y="765"/>
                </a:cxn>
                <a:cxn ang="0">
                  <a:pos x="802" y="784"/>
                </a:cxn>
              </a:cxnLst>
              <a:rect l="0" t="0" r="r" b="b"/>
              <a:pathLst>
                <a:path w="868" h="961">
                  <a:moveTo>
                    <a:pt x="802" y="784"/>
                  </a:moveTo>
                  <a:lnTo>
                    <a:pt x="29" y="961"/>
                  </a:lnTo>
                  <a:lnTo>
                    <a:pt x="23" y="933"/>
                  </a:lnTo>
                  <a:lnTo>
                    <a:pt x="17" y="906"/>
                  </a:lnTo>
                  <a:lnTo>
                    <a:pt x="13" y="879"/>
                  </a:lnTo>
                  <a:lnTo>
                    <a:pt x="9" y="851"/>
                  </a:lnTo>
                  <a:lnTo>
                    <a:pt x="6" y="823"/>
                  </a:lnTo>
                  <a:lnTo>
                    <a:pt x="3" y="796"/>
                  </a:lnTo>
                  <a:lnTo>
                    <a:pt x="2" y="768"/>
                  </a:lnTo>
                  <a:lnTo>
                    <a:pt x="1" y="740"/>
                  </a:lnTo>
                  <a:lnTo>
                    <a:pt x="0" y="712"/>
                  </a:lnTo>
                  <a:lnTo>
                    <a:pt x="0" y="684"/>
                  </a:lnTo>
                  <a:lnTo>
                    <a:pt x="1" y="657"/>
                  </a:lnTo>
                  <a:lnTo>
                    <a:pt x="3" y="629"/>
                  </a:lnTo>
                  <a:lnTo>
                    <a:pt x="5" y="601"/>
                  </a:lnTo>
                  <a:lnTo>
                    <a:pt x="8" y="573"/>
                  </a:lnTo>
                  <a:lnTo>
                    <a:pt x="10" y="560"/>
                  </a:lnTo>
                  <a:lnTo>
                    <a:pt x="12" y="546"/>
                  </a:lnTo>
                  <a:lnTo>
                    <a:pt x="16" y="518"/>
                  </a:lnTo>
                  <a:lnTo>
                    <a:pt x="21" y="491"/>
                  </a:lnTo>
                  <a:lnTo>
                    <a:pt x="27" y="464"/>
                  </a:lnTo>
                  <a:lnTo>
                    <a:pt x="33" y="437"/>
                  </a:lnTo>
                  <a:lnTo>
                    <a:pt x="40" y="410"/>
                  </a:lnTo>
                  <a:lnTo>
                    <a:pt x="48" y="383"/>
                  </a:lnTo>
                  <a:lnTo>
                    <a:pt x="56" y="356"/>
                  </a:lnTo>
                  <a:lnTo>
                    <a:pt x="65" y="330"/>
                  </a:lnTo>
                  <a:lnTo>
                    <a:pt x="74" y="304"/>
                  </a:lnTo>
                  <a:lnTo>
                    <a:pt x="84" y="278"/>
                  </a:lnTo>
                  <a:lnTo>
                    <a:pt x="95" y="252"/>
                  </a:lnTo>
                  <a:lnTo>
                    <a:pt x="107" y="227"/>
                  </a:lnTo>
                  <a:lnTo>
                    <a:pt x="119" y="202"/>
                  </a:lnTo>
                  <a:lnTo>
                    <a:pt x="132" y="177"/>
                  </a:lnTo>
                  <a:lnTo>
                    <a:pt x="145" y="153"/>
                  </a:lnTo>
                  <a:lnTo>
                    <a:pt x="159" y="128"/>
                  </a:lnTo>
                  <a:lnTo>
                    <a:pt x="174" y="104"/>
                  </a:lnTo>
                  <a:lnTo>
                    <a:pt x="191" y="77"/>
                  </a:lnTo>
                  <a:lnTo>
                    <a:pt x="209" y="51"/>
                  </a:lnTo>
                  <a:lnTo>
                    <a:pt x="228" y="25"/>
                  </a:lnTo>
                  <a:lnTo>
                    <a:pt x="247" y="0"/>
                  </a:lnTo>
                  <a:lnTo>
                    <a:pt x="868" y="496"/>
                  </a:lnTo>
                  <a:lnTo>
                    <a:pt x="859" y="507"/>
                  </a:lnTo>
                  <a:lnTo>
                    <a:pt x="851" y="519"/>
                  </a:lnTo>
                  <a:lnTo>
                    <a:pt x="844" y="531"/>
                  </a:lnTo>
                  <a:lnTo>
                    <a:pt x="837" y="543"/>
                  </a:lnTo>
                  <a:lnTo>
                    <a:pt x="830" y="555"/>
                  </a:lnTo>
                  <a:lnTo>
                    <a:pt x="824" y="568"/>
                  </a:lnTo>
                  <a:lnTo>
                    <a:pt x="819" y="581"/>
                  </a:lnTo>
                  <a:lnTo>
                    <a:pt x="813" y="594"/>
                  </a:lnTo>
                  <a:lnTo>
                    <a:pt x="809" y="608"/>
                  </a:lnTo>
                  <a:lnTo>
                    <a:pt x="805" y="621"/>
                  </a:lnTo>
                  <a:lnTo>
                    <a:pt x="802" y="635"/>
                  </a:lnTo>
                  <a:lnTo>
                    <a:pt x="799" y="649"/>
                  </a:lnTo>
                  <a:lnTo>
                    <a:pt x="797" y="664"/>
                  </a:lnTo>
                  <a:lnTo>
                    <a:pt x="795" y="679"/>
                  </a:lnTo>
                  <a:lnTo>
                    <a:pt x="794" y="693"/>
                  </a:lnTo>
                  <a:lnTo>
                    <a:pt x="794" y="708"/>
                  </a:lnTo>
                  <a:lnTo>
                    <a:pt x="794" y="728"/>
                  </a:lnTo>
                  <a:lnTo>
                    <a:pt x="795" y="737"/>
                  </a:lnTo>
                  <a:lnTo>
                    <a:pt x="796" y="747"/>
                  </a:lnTo>
                  <a:lnTo>
                    <a:pt x="797" y="756"/>
                  </a:lnTo>
                  <a:lnTo>
                    <a:pt x="799" y="765"/>
                  </a:lnTo>
                  <a:lnTo>
                    <a:pt x="802" y="784"/>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51" name="Freeform 151">
              <a:extLst>
                <a:ext uri="{FF2B5EF4-FFF2-40B4-BE49-F238E27FC236}">
                  <a16:creationId xmlns:a16="http://schemas.microsoft.com/office/drawing/2014/main" id="{B05C7133-AE62-4C01-8523-B6A66E266048}"/>
                </a:ext>
              </a:extLst>
            </p:cNvPr>
            <p:cNvSpPr>
              <a:spLocks noChangeAspect="1"/>
            </p:cNvSpPr>
            <p:nvPr/>
          </p:nvSpPr>
          <p:spPr bwMode="auto">
            <a:xfrm>
              <a:off x="3840163" y="4022750"/>
              <a:ext cx="727075" cy="757238"/>
            </a:xfrm>
            <a:custGeom>
              <a:avLst/>
              <a:gdLst/>
              <a:ahLst/>
              <a:cxnLst>
                <a:cxn ang="0">
                  <a:pos x="888" y="0"/>
                </a:cxn>
                <a:cxn ang="0">
                  <a:pos x="888" y="795"/>
                </a:cxn>
                <a:cxn ang="0">
                  <a:pos x="867" y="796"/>
                </a:cxn>
                <a:cxn ang="0">
                  <a:pos x="847" y="797"/>
                </a:cxn>
                <a:cxn ang="0">
                  <a:pos x="828" y="800"/>
                </a:cxn>
                <a:cxn ang="0">
                  <a:pos x="809" y="804"/>
                </a:cxn>
                <a:cxn ang="0">
                  <a:pos x="790" y="809"/>
                </a:cxn>
                <a:cxn ang="0">
                  <a:pos x="781" y="812"/>
                </a:cxn>
                <a:cxn ang="0">
                  <a:pos x="772" y="815"/>
                </a:cxn>
                <a:cxn ang="0">
                  <a:pos x="754" y="822"/>
                </a:cxn>
                <a:cxn ang="0">
                  <a:pos x="745" y="826"/>
                </a:cxn>
                <a:cxn ang="0">
                  <a:pos x="737" y="830"/>
                </a:cxn>
                <a:cxn ang="0">
                  <a:pos x="720" y="839"/>
                </a:cxn>
                <a:cxn ang="0">
                  <a:pos x="712" y="843"/>
                </a:cxn>
                <a:cxn ang="0">
                  <a:pos x="704" y="848"/>
                </a:cxn>
                <a:cxn ang="0">
                  <a:pos x="689" y="859"/>
                </a:cxn>
                <a:cxn ang="0">
                  <a:pos x="674" y="870"/>
                </a:cxn>
                <a:cxn ang="0">
                  <a:pos x="659" y="882"/>
                </a:cxn>
                <a:cxn ang="0">
                  <a:pos x="653" y="889"/>
                </a:cxn>
                <a:cxn ang="0">
                  <a:pos x="646" y="895"/>
                </a:cxn>
                <a:cxn ang="0">
                  <a:pos x="633" y="909"/>
                </a:cxn>
                <a:cxn ang="0">
                  <a:pos x="621" y="923"/>
                </a:cxn>
                <a:cxn ang="0">
                  <a:pos x="0" y="427"/>
                </a:cxn>
                <a:cxn ang="0">
                  <a:pos x="18" y="406"/>
                </a:cxn>
                <a:cxn ang="0">
                  <a:pos x="36" y="385"/>
                </a:cxn>
                <a:cxn ang="0">
                  <a:pos x="55" y="364"/>
                </a:cxn>
                <a:cxn ang="0">
                  <a:pos x="74" y="344"/>
                </a:cxn>
                <a:cxn ang="0">
                  <a:pos x="94" y="324"/>
                </a:cxn>
                <a:cxn ang="0">
                  <a:pos x="104" y="314"/>
                </a:cxn>
                <a:cxn ang="0">
                  <a:pos x="114" y="305"/>
                </a:cxn>
                <a:cxn ang="0">
                  <a:pos x="134" y="286"/>
                </a:cxn>
                <a:cxn ang="0">
                  <a:pos x="155" y="268"/>
                </a:cxn>
                <a:cxn ang="0">
                  <a:pos x="177" y="250"/>
                </a:cxn>
                <a:cxn ang="0">
                  <a:pos x="199" y="233"/>
                </a:cxn>
                <a:cxn ang="0">
                  <a:pos x="221" y="217"/>
                </a:cxn>
                <a:cxn ang="0">
                  <a:pos x="244" y="200"/>
                </a:cxn>
                <a:cxn ang="0">
                  <a:pos x="267" y="185"/>
                </a:cxn>
                <a:cxn ang="0">
                  <a:pos x="290" y="170"/>
                </a:cxn>
                <a:cxn ang="0">
                  <a:pos x="314" y="156"/>
                </a:cxn>
                <a:cxn ang="0">
                  <a:pos x="338" y="142"/>
                </a:cxn>
                <a:cxn ang="0">
                  <a:pos x="363" y="129"/>
                </a:cxn>
                <a:cxn ang="0">
                  <a:pos x="388" y="116"/>
                </a:cxn>
                <a:cxn ang="0">
                  <a:pos x="413" y="104"/>
                </a:cxn>
                <a:cxn ang="0">
                  <a:pos x="438" y="93"/>
                </a:cxn>
                <a:cxn ang="0">
                  <a:pos x="464" y="82"/>
                </a:cxn>
                <a:cxn ang="0">
                  <a:pos x="490" y="72"/>
                </a:cxn>
                <a:cxn ang="0">
                  <a:pos x="516" y="62"/>
                </a:cxn>
                <a:cxn ang="0">
                  <a:pos x="542" y="54"/>
                </a:cxn>
                <a:cxn ang="0">
                  <a:pos x="569" y="45"/>
                </a:cxn>
                <a:cxn ang="0">
                  <a:pos x="596" y="38"/>
                </a:cxn>
                <a:cxn ang="0">
                  <a:pos x="623" y="31"/>
                </a:cxn>
                <a:cxn ang="0">
                  <a:pos x="650" y="25"/>
                </a:cxn>
                <a:cxn ang="0">
                  <a:pos x="677" y="20"/>
                </a:cxn>
                <a:cxn ang="0">
                  <a:pos x="705" y="15"/>
                </a:cxn>
                <a:cxn ang="0">
                  <a:pos x="732" y="11"/>
                </a:cxn>
                <a:cxn ang="0">
                  <a:pos x="760" y="8"/>
                </a:cxn>
                <a:cxn ang="0">
                  <a:pos x="776" y="6"/>
                </a:cxn>
                <a:cxn ang="0">
                  <a:pos x="791" y="4"/>
                </a:cxn>
                <a:cxn ang="0">
                  <a:pos x="823" y="2"/>
                </a:cxn>
                <a:cxn ang="0">
                  <a:pos x="855" y="1"/>
                </a:cxn>
                <a:cxn ang="0">
                  <a:pos x="888" y="0"/>
                </a:cxn>
              </a:cxnLst>
              <a:rect l="0" t="0" r="r" b="b"/>
              <a:pathLst>
                <a:path w="888" h="923">
                  <a:moveTo>
                    <a:pt x="888" y="0"/>
                  </a:moveTo>
                  <a:lnTo>
                    <a:pt x="888" y="795"/>
                  </a:lnTo>
                  <a:lnTo>
                    <a:pt x="867" y="796"/>
                  </a:lnTo>
                  <a:lnTo>
                    <a:pt x="847" y="797"/>
                  </a:lnTo>
                  <a:lnTo>
                    <a:pt x="828" y="800"/>
                  </a:lnTo>
                  <a:lnTo>
                    <a:pt x="809" y="804"/>
                  </a:lnTo>
                  <a:lnTo>
                    <a:pt x="790" y="809"/>
                  </a:lnTo>
                  <a:lnTo>
                    <a:pt x="781" y="812"/>
                  </a:lnTo>
                  <a:lnTo>
                    <a:pt x="772" y="815"/>
                  </a:lnTo>
                  <a:lnTo>
                    <a:pt x="754" y="822"/>
                  </a:lnTo>
                  <a:lnTo>
                    <a:pt x="745" y="826"/>
                  </a:lnTo>
                  <a:lnTo>
                    <a:pt x="737" y="830"/>
                  </a:lnTo>
                  <a:lnTo>
                    <a:pt x="720" y="839"/>
                  </a:lnTo>
                  <a:lnTo>
                    <a:pt x="712" y="843"/>
                  </a:lnTo>
                  <a:lnTo>
                    <a:pt x="704" y="848"/>
                  </a:lnTo>
                  <a:lnTo>
                    <a:pt x="689" y="859"/>
                  </a:lnTo>
                  <a:lnTo>
                    <a:pt x="674" y="870"/>
                  </a:lnTo>
                  <a:lnTo>
                    <a:pt x="659" y="882"/>
                  </a:lnTo>
                  <a:lnTo>
                    <a:pt x="653" y="889"/>
                  </a:lnTo>
                  <a:lnTo>
                    <a:pt x="646" y="895"/>
                  </a:lnTo>
                  <a:lnTo>
                    <a:pt x="633" y="909"/>
                  </a:lnTo>
                  <a:lnTo>
                    <a:pt x="621" y="923"/>
                  </a:lnTo>
                  <a:lnTo>
                    <a:pt x="0" y="427"/>
                  </a:lnTo>
                  <a:lnTo>
                    <a:pt x="18" y="406"/>
                  </a:lnTo>
                  <a:lnTo>
                    <a:pt x="36" y="385"/>
                  </a:lnTo>
                  <a:lnTo>
                    <a:pt x="55" y="364"/>
                  </a:lnTo>
                  <a:lnTo>
                    <a:pt x="74" y="344"/>
                  </a:lnTo>
                  <a:lnTo>
                    <a:pt x="94" y="324"/>
                  </a:lnTo>
                  <a:lnTo>
                    <a:pt x="104" y="314"/>
                  </a:lnTo>
                  <a:lnTo>
                    <a:pt x="114" y="305"/>
                  </a:lnTo>
                  <a:lnTo>
                    <a:pt x="134" y="286"/>
                  </a:lnTo>
                  <a:lnTo>
                    <a:pt x="155" y="268"/>
                  </a:lnTo>
                  <a:lnTo>
                    <a:pt x="177" y="250"/>
                  </a:lnTo>
                  <a:lnTo>
                    <a:pt x="199" y="233"/>
                  </a:lnTo>
                  <a:lnTo>
                    <a:pt x="221" y="217"/>
                  </a:lnTo>
                  <a:lnTo>
                    <a:pt x="244" y="200"/>
                  </a:lnTo>
                  <a:lnTo>
                    <a:pt x="267" y="185"/>
                  </a:lnTo>
                  <a:lnTo>
                    <a:pt x="290" y="170"/>
                  </a:lnTo>
                  <a:lnTo>
                    <a:pt x="314" y="156"/>
                  </a:lnTo>
                  <a:lnTo>
                    <a:pt x="338" y="142"/>
                  </a:lnTo>
                  <a:lnTo>
                    <a:pt x="363" y="129"/>
                  </a:lnTo>
                  <a:lnTo>
                    <a:pt x="388" y="116"/>
                  </a:lnTo>
                  <a:lnTo>
                    <a:pt x="413" y="104"/>
                  </a:lnTo>
                  <a:lnTo>
                    <a:pt x="438" y="93"/>
                  </a:lnTo>
                  <a:lnTo>
                    <a:pt x="464" y="82"/>
                  </a:lnTo>
                  <a:lnTo>
                    <a:pt x="490" y="72"/>
                  </a:lnTo>
                  <a:lnTo>
                    <a:pt x="516" y="62"/>
                  </a:lnTo>
                  <a:lnTo>
                    <a:pt x="542" y="54"/>
                  </a:lnTo>
                  <a:lnTo>
                    <a:pt x="569" y="45"/>
                  </a:lnTo>
                  <a:lnTo>
                    <a:pt x="596" y="38"/>
                  </a:lnTo>
                  <a:lnTo>
                    <a:pt x="623" y="31"/>
                  </a:lnTo>
                  <a:lnTo>
                    <a:pt x="650" y="25"/>
                  </a:lnTo>
                  <a:lnTo>
                    <a:pt x="677" y="20"/>
                  </a:lnTo>
                  <a:lnTo>
                    <a:pt x="705" y="15"/>
                  </a:lnTo>
                  <a:lnTo>
                    <a:pt x="732" y="11"/>
                  </a:lnTo>
                  <a:lnTo>
                    <a:pt x="760" y="8"/>
                  </a:lnTo>
                  <a:lnTo>
                    <a:pt x="776" y="6"/>
                  </a:lnTo>
                  <a:lnTo>
                    <a:pt x="791" y="4"/>
                  </a:lnTo>
                  <a:lnTo>
                    <a:pt x="823" y="2"/>
                  </a:lnTo>
                  <a:lnTo>
                    <a:pt x="855" y="1"/>
                  </a:lnTo>
                  <a:lnTo>
                    <a:pt x="888"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52" name="Text Box 152">
              <a:extLst>
                <a:ext uri="{FF2B5EF4-FFF2-40B4-BE49-F238E27FC236}">
                  <a16:creationId xmlns:a16="http://schemas.microsoft.com/office/drawing/2014/main" id="{62EDD0F7-DCCF-4F72-A2F8-7B9166717204}"/>
                </a:ext>
              </a:extLst>
            </p:cNvPr>
            <p:cNvSpPr txBox="1">
              <a:spLocks noChangeArrowheads="1"/>
            </p:cNvSpPr>
            <p:nvPr/>
          </p:nvSpPr>
          <p:spPr bwMode="auto">
            <a:xfrm>
              <a:off x="4090353" y="4273575"/>
              <a:ext cx="411163" cy="255588"/>
            </a:xfrm>
            <a:prstGeom prst="rect">
              <a:avLst/>
            </a:prstGeom>
            <a:noFill/>
            <a:ln w="12700">
              <a:noFill/>
              <a:miter lim="800000"/>
              <a:headEnd/>
              <a:tailEnd/>
            </a:ln>
            <a:effectLst/>
          </p:spPr>
          <p:txBody>
            <a:bodyPr lIns="45720" rIns="45720" anchor="ctr" anchorCtr="1"/>
            <a:lstStyle/>
            <a:p>
              <a:pPr eaLnBrk="0" hangingPunct="0"/>
              <a:r>
                <a:rPr lang="en-US" sz="1100" b="1" dirty="0">
                  <a:solidFill>
                    <a:schemeClr val="bg1"/>
                  </a:solidFill>
                </a:rPr>
                <a:t>Text</a:t>
              </a:r>
            </a:p>
          </p:txBody>
        </p:sp>
        <p:sp>
          <p:nvSpPr>
            <p:cNvPr id="153" name="Text Box 153">
              <a:extLst>
                <a:ext uri="{FF2B5EF4-FFF2-40B4-BE49-F238E27FC236}">
                  <a16:creationId xmlns:a16="http://schemas.microsoft.com/office/drawing/2014/main" id="{285F410F-80C5-4020-932D-DB97F29479C5}"/>
                </a:ext>
              </a:extLst>
            </p:cNvPr>
            <p:cNvSpPr txBox="1">
              <a:spLocks noChangeArrowheads="1"/>
            </p:cNvSpPr>
            <p:nvPr/>
          </p:nvSpPr>
          <p:spPr bwMode="auto">
            <a:xfrm>
              <a:off x="4655821" y="4273575"/>
              <a:ext cx="411163" cy="255588"/>
            </a:xfrm>
            <a:prstGeom prst="rect">
              <a:avLst/>
            </a:prstGeom>
            <a:noFill/>
            <a:ln w="12700">
              <a:noFill/>
              <a:miter lim="800000"/>
              <a:headEnd/>
              <a:tailEnd/>
            </a:ln>
            <a:effectLst/>
          </p:spPr>
          <p:txBody>
            <a:bodyPr lIns="45720" rIns="45720" anchor="ctr" anchorCtr="1"/>
            <a:lstStyle/>
            <a:p>
              <a:pPr eaLnBrk="0" hangingPunct="0"/>
              <a:r>
                <a:rPr lang="en-US" sz="1100" b="1" dirty="0">
                  <a:solidFill>
                    <a:schemeClr val="bg1"/>
                  </a:solidFill>
                </a:rPr>
                <a:t>Text</a:t>
              </a:r>
            </a:p>
          </p:txBody>
        </p:sp>
        <p:sp>
          <p:nvSpPr>
            <p:cNvPr id="154" name="Text Box 154">
              <a:extLst>
                <a:ext uri="{FF2B5EF4-FFF2-40B4-BE49-F238E27FC236}">
                  <a16:creationId xmlns:a16="http://schemas.microsoft.com/office/drawing/2014/main" id="{A327798F-EEE3-4B15-8CE4-81CC5037F286}"/>
                </a:ext>
              </a:extLst>
            </p:cNvPr>
            <p:cNvSpPr txBox="1">
              <a:spLocks noChangeArrowheads="1"/>
            </p:cNvSpPr>
            <p:nvPr/>
          </p:nvSpPr>
          <p:spPr bwMode="auto">
            <a:xfrm>
              <a:off x="4937126" y="4638700"/>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55" name="Text Box 155">
              <a:extLst>
                <a:ext uri="{FF2B5EF4-FFF2-40B4-BE49-F238E27FC236}">
                  <a16:creationId xmlns:a16="http://schemas.microsoft.com/office/drawing/2014/main" id="{8B65BB8C-6DE3-4F21-999F-4D586F7C5EDB}"/>
                </a:ext>
              </a:extLst>
            </p:cNvPr>
            <p:cNvSpPr txBox="1">
              <a:spLocks noChangeArrowheads="1"/>
            </p:cNvSpPr>
            <p:nvPr/>
          </p:nvSpPr>
          <p:spPr bwMode="auto">
            <a:xfrm>
              <a:off x="4875213" y="5275288"/>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56" name="Text Box 156">
              <a:extLst>
                <a:ext uri="{FF2B5EF4-FFF2-40B4-BE49-F238E27FC236}">
                  <a16:creationId xmlns:a16="http://schemas.microsoft.com/office/drawing/2014/main" id="{4C830E21-DC0D-4181-AD66-B50CBE9C8866}"/>
                </a:ext>
              </a:extLst>
            </p:cNvPr>
            <p:cNvSpPr txBox="1">
              <a:spLocks noChangeArrowheads="1"/>
            </p:cNvSpPr>
            <p:nvPr/>
          </p:nvSpPr>
          <p:spPr bwMode="auto">
            <a:xfrm>
              <a:off x="4360863" y="5416575"/>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57" name="Text Box 157">
              <a:extLst>
                <a:ext uri="{FF2B5EF4-FFF2-40B4-BE49-F238E27FC236}">
                  <a16:creationId xmlns:a16="http://schemas.microsoft.com/office/drawing/2014/main" id="{36731855-9E10-4A52-801E-C515E0F3A440}"/>
                </a:ext>
              </a:extLst>
            </p:cNvPr>
            <p:cNvSpPr txBox="1">
              <a:spLocks noChangeArrowheads="1"/>
            </p:cNvSpPr>
            <p:nvPr/>
          </p:nvSpPr>
          <p:spPr bwMode="auto">
            <a:xfrm>
              <a:off x="3848101" y="5275288"/>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93" name="Text Box 158">
              <a:extLst>
                <a:ext uri="{FF2B5EF4-FFF2-40B4-BE49-F238E27FC236}">
                  <a16:creationId xmlns:a16="http://schemas.microsoft.com/office/drawing/2014/main" id="{CAF8B625-F639-4ABC-BF1E-7D727C1B7F09}"/>
                </a:ext>
              </a:extLst>
            </p:cNvPr>
            <p:cNvSpPr txBox="1">
              <a:spLocks noChangeArrowheads="1"/>
            </p:cNvSpPr>
            <p:nvPr/>
          </p:nvSpPr>
          <p:spPr bwMode="auto">
            <a:xfrm>
              <a:off x="3787776" y="4638700"/>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grpSp>
      <p:grpSp>
        <p:nvGrpSpPr>
          <p:cNvPr id="127" name="Group 126" descr="Segment 7">
            <a:extLst>
              <a:ext uri="{FF2B5EF4-FFF2-40B4-BE49-F238E27FC236}">
                <a16:creationId xmlns:a16="http://schemas.microsoft.com/office/drawing/2014/main" id="{5C6ADBB4-0403-4AD9-8601-AF488BF258A2}"/>
              </a:ext>
            </a:extLst>
          </p:cNvPr>
          <p:cNvGrpSpPr/>
          <p:nvPr/>
        </p:nvGrpSpPr>
        <p:grpSpPr bwMode="auto">
          <a:xfrm>
            <a:off x="7281693" y="4148145"/>
            <a:ext cx="1860552" cy="1860553"/>
            <a:chOff x="5845181" y="4013232"/>
            <a:chExt cx="1860552" cy="1860553"/>
          </a:xfrm>
        </p:grpSpPr>
        <p:sp>
          <p:nvSpPr>
            <p:cNvPr id="128" name="Freeform 128">
              <a:extLst>
                <a:ext uri="{FF2B5EF4-FFF2-40B4-BE49-F238E27FC236}">
                  <a16:creationId xmlns:a16="http://schemas.microsoft.com/office/drawing/2014/main" id="{05EE1DFF-C9BF-404D-81FC-6D38209DA3E0}"/>
                </a:ext>
              </a:extLst>
            </p:cNvPr>
            <p:cNvSpPr>
              <a:spLocks noChangeAspect="1"/>
            </p:cNvSpPr>
            <p:nvPr/>
          </p:nvSpPr>
          <p:spPr bwMode="auto">
            <a:xfrm>
              <a:off x="6767519" y="4013232"/>
              <a:ext cx="657226" cy="742951"/>
            </a:xfrm>
            <a:custGeom>
              <a:avLst/>
              <a:gdLst/>
              <a:ahLst/>
              <a:cxnLst>
                <a:cxn ang="0">
                  <a:pos x="0" y="859"/>
                </a:cxn>
                <a:cxn ang="0">
                  <a:pos x="0" y="429"/>
                </a:cxn>
                <a:cxn ang="0">
                  <a:pos x="0" y="0"/>
                </a:cxn>
                <a:cxn ang="0">
                  <a:pos x="30" y="0"/>
                </a:cxn>
                <a:cxn ang="0">
                  <a:pos x="59" y="1"/>
                </a:cxn>
                <a:cxn ang="0">
                  <a:pos x="88" y="3"/>
                </a:cxn>
                <a:cxn ang="0">
                  <a:pos x="118" y="6"/>
                </a:cxn>
                <a:cxn ang="0">
                  <a:pos x="147" y="9"/>
                </a:cxn>
                <a:cxn ang="0">
                  <a:pos x="176" y="13"/>
                </a:cxn>
                <a:cxn ang="0">
                  <a:pos x="205" y="18"/>
                </a:cxn>
                <a:cxn ang="0">
                  <a:pos x="234" y="23"/>
                </a:cxn>
                <a:cxn ang="0">
                  <a:pos x="263" y="29"/>
                </a:cxn>
                <a:cxn ang="0">
                  <a:pos x="291" y="36"/>
                </a:cxn>
                <a:cxn ang="0">
                  <a:pos x="320" y="43"/>
                </a:cxn>
                <a:cxn ang="0">
                  <a:pos x="348" y="52"/>
                </a:cxn>
                <a:cxn ang="0">
                  <a:pos x="362" y="56"/>
                </a:cxn>
                <a:cxn ang="0">
                  <a:pos x="376" y="60"/>
                </a:cxn>
                <a:cxn ang="0">
                  <a:pos x="404" y="70"/>
                </a:cxn>
                <a:cxn ang="0">
                  <a:pos x="431" y="80"/>
                </a:cxn>
                <a:cxn ang="0">
                  <a:pos x="459" y="91"/>
                </a:cxn>
                <a:cxn ang="0">
                  <a:pos x="486" y="103"/>
                </a:cxn>
                <a:cxn ang="0">
                  <a:pos x="513" y="115"/>
                </a:cxn>
                <a:cxn ang="0">
                  <a:pos x="539" y="128"/>
                </a:cxn>
                <a:cxn ang="0">
                  <a:pos x="565" y="141"/>
                </a:cxn>
                <a:cxn ang="0">
                  <a:pos x="591" y="155"/>
                </a:cxn>
                <a:cxn ang="0">
                  <a:pos x="617" y="170"/>
                </a:cxn>
                <a:cxn ang="0">
                  <a:pos x="642" y="185"/>
                </a:cxn>
                <a:cxn ang="0">
                  <a:pos x="667" y="201"/>
                </a:cxn>
                <a:cxn ang="0">
                  <a:pos x="691" y="218"/>
                </a:cxn>
                <a:cxn ang="0">
                  <a:pos x="703" y="227"/>
                </a:cxn>
                <a:cxn ang="0">
                  <a:pos x="715" y="235"/>
                </a:cxn>
                <a:cxn ang="0">
                  <a:pos x="739" y="253"/>
                </a:cxn>
                <a:cxn ang="0">
                  <a:pos x="762" y="271"/>
                </a:cxn>
                <a:cxn ang="0">
                  <a:pos x="784" y="290"/>
                </a:cxn>
                <a:cxn ang="0">
                  <a:pos x="806" y="310"/>
                </a:cxn>
                <a:cxn ang="0">
                  <a:pos x="817" y="320"/>
                </a:cxn>
                <a:cxn ang="0">
                  <a:pos x="827" y="330"/>
                </a:cxn>
                <a:cxn ang="0">
                  <a:pos x="848" y="351"/>
                </a:cxn>
                <a:cxn ang="0">
                  <a:pos x="241" y="958"/>
                </a:cxn>
                <a:cxn ang="0">
                  <a:pos x="229" y="947"/>
                </a:cxn>
                <a:cxn ang="0">
                  <a:pos x="217" y="936"/>
                </a:cxn>
                <a:cxn ang="0">
                  <a:pos x="204" y="926"/>
                </a:cxn>
                <a:cxn ang="0">
                  <a:pos x="191" y="917"/>
                </a:cxn>
                <a:cxn ang="0">
                  <a:pos x="177" y="908"/>
                </a:cxn>
                <a:cxn ang="0">
                  <a:pos x="162" y="900"/>
                </a:cxn>
                <a:cxn ang="0">
                  <a:pos x="148" y="892"/>
                </a:cxn>
                <a:cxn ang="0">
                  <a:pos x="133" y="885"/>
                </a:cxn>
                <a:cxn ang="0">
                  <a:pos x="125" y="882"/>
                </a:cxn>
                <a:cxn ang="0">
                  <a:pos x="117" y="879"/>
                </a:cxn>
                <a:cxn ang="0">
                  <a:pos x="101" y="874"/>
                </a:cxn>
                <a:cxn ang="0">
                  <a:pos x="93" y="872"/>
                </a:cxn>
                <a:cxn ang="0">
                  <a:pos x="85" y="869"/>
                </a:cxn>
                <a:cxn ang="0">
                  <a:pos x="69" y="866"/>
                </a:cxn>
                <a:cxn ang="0">
                  <a:pos x="61" y="864"/>
                </a:cxn>
                <a:cxn ang="0">
                  <a:pos x="52" y="863"/>
                </a:cxn>
                <a:cxn ang="0">
                  <a:pos x="35" y="861"/>
                </a:cxn>
                <a:cxn ang="0">
                  <a:pos x="18" y="859"/>
                </a:cxn>
                <a:cxn ang="0">
                  <a:pos x="0" y="859"/>
                </a:cxn>
              </a:cxnLst>
              <a:rect l="0" t="0" r="r" b="b"/>
              <a:pathLst>
                <a:path w="848" h="958">
                  <a:moveTo>
                    <a:pt x="0" y="859"/>
                  </a:moveTo>
                  <a:lnTo>
                    <a:pt x="0" y="429"/>
                  </a:lnTo>
                  <a:lnTo>
                    <a:pt x="0" y="0"/>
                  </a:lnTo>
                  <a:lnTo>
                    <a:pt x="30" y="0"/>
                  </a:lnTo>
                  <a:lnTo>
                    <a:pt x="59" y="1"/>
                  </a:lnTo>
                  <a:lnTo>
                    <a:pt x="88" y="3"/>
                  </a:lnTo>
                  <a:lnTo>
                    <a:pt x="118" y="6"/>
                  </a:lnTo>
                  <a:lnTo>
                    <a:pt x="147" y="9"/>
                  </a:lnTo>
                  <a:lnTo>
                    <a:pt x="176" y="13"/>
                  </a:lnTo>
                  <a:lnTo>
                    <a:pt x="205" y="18"/>
                  </a:lnTo>
                  <a:lnTo>
                    <a:pt x="234" y="23"/>
                  </a:lnTo>
                  <a:lnTo>
                    <a:pt x="263" y="29"/>
                  </a:lnTo>
                  <a:lnTo>
                    <a:pt x="291" y="36"/>
                  </a:lnTo>
                  <a:lnTo>
                    <a:pt x="320" y="43"/>
                  </a:lnTo>
                  <a:lnTo>
                    <a:pt x="348" y="52"/>
                  </a:lnTo>
                  <a:lnTo>
                    <a:pt x="362" y="56"/>
                  </a:lnTo>
                  <a:lnTo>
                    <a:pt x="376" y="60"/>
                  </a:lnTo>
                  <a:lnTo>
                    <a:pt x="404" y="70"/>
                  </a:lnTo>
                  <a:lnTo>
                    <a:pt x="431" y="80"/>
                  </a:lnTo>
                  <a:lnTo>
                    <a:pt x="459" y="91"/>
                  </a:lnTo>
                  <a:lnTo>
                    <a:pt x="486" y="103"/>
                  </a:lnTo>
                  <a:lnTo>
                    <a:pt x="513" y="115"/>
                  </a:lnTo>
                  <a:lnTo>
                    <a:pt x="539" y="128"/>
                  </a:lnTo>
                  <a:lnTo>
                    <a:pt x="565" y="141"/>
                  </a:lnTo>
                  <a:lnTo>
                    <a:pt x="591" y="155"/>
                  </a:lnTo>
                  <a:lnTo>
                    <a:pt x="617" y="170"/>
                  </a:lnTo>
                  <a:lnTo>
                    <a:pt x="642" y="185"/>
                  </a:lnTo>
                  <a:lnTo>
                    <a:pt x="667" y="201"/>
                  </a:lnTo>
                  <a:lnTo>
                    <a:pt x="691" y="218"/>
                  </a:lnTo>
                  <a:lnTo>
                    <a:pt x="703" y="227"/>
                  </a:lnTo>
                  <a:lnTo>
                    <a:pt x="715" y="235"/>
                  </a:lnTo>
                  <a:lnTo>
                    <a:pt x="739" y="253"/>
                  </a:lnTo>
                  <a:lnTo>
                    <a:pt x="762" y="271"/>
                  </a:lnTo>
                  <a:lnTo>
                    <a:pt x="784" y="290"/>
                  </a:lnTo>
                  <a:lnTo>
                    <a:pt x="806" y="310"/>
                  </a:lnTo>
                  <a:lnTo>
                    <a:pt x="817" y="320"/>
                  </a:lnTo>
                  <a:lnTo>
                    <a:pt x="827" y="330"/>
                  </a:lnTo>
                  <a:lnTo>
                    <a:pt x="848" y="351"/>
                  </a:lnTo>
                  <a:lnTo>
                    <a:pt x="241" y="958"/>
                  </a:lnTo>
                  <a:lnTo>
                    <a:pt x="229" y="947"/>
                  </a:lnTo>
                  <a:lnTo>
                    <a:pt x="217" y="936"/>
                  </a:lnTo>
                  <a:lnTo>
                    <a:pt x="204" y="926"/>
                  </a:lnTo>
                  <a:lnTo>
                    <a:pt x="191" y="917"/>
                  </a:lnTo>
                  <a:lnTo>
                    <a:pt x="177" y="908"/>
                  </a:lnTo>
                  <a:lnTo>
                    <a:pt x="162" y="900"/>
                  </a:lnTo>
                  <a:lnTo>
                    <a:pt x="148" y="892"/>
                  </a:lnTo>
                  <a:lnTo>
                    <a:pt x="133" y="885"/>
                  </a:lnTo>
                  <a:lnTo>
                    <a:pt x="125" y="882"/>
                  </a:lnTo>
                  <a:lnTo>
                    <a:pt x="117" y="879"/>
                  </a:lnTo>
                  <a:lnTo>
                    <a:pt x="101" y="874"/>
                  </a:lnTo>
                  <a:lnTo>
                    <a:pt x="93" y="872"/>
                  </a:lnTo>
                  <a:lnTo>
                    <a:pt x="85" y="869"/>
                  </a:lnTo>
                  <a:lnTo>
                    <a:pt x="69" y="866"/>
                  </a:lnTo>
                  <a:lnTo>
                    <a:pt x="61" y="864"/>
                  </a:lnTo>
                  <a:lnTo>
                    <a:pt x="52" y="863"/>
                  </a:lnTo>
                  <a:lnTo>
                    <a:pt x="35" y="861"/>
                  </a:lnTo>
                  <a:lnTo>
                    <a:pt x="18" y="859"/>
                  </a:lnTo>
                  <a:lnTo>
                    <a:pt x="0" y="859"/>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29" name="Freeform 129">
              <a:extLst>
                <a:ext uri="{FF2B5EF4-FFF2-40B4-BE49-F238E27FC236}">
                  <a16:creationId xmlns:a16="http://schemas.microsoft.com/office/drawing/2014/main" id="{BBBC136F-D785-496E-889E-E2A4B7CA988E}"/>
                </a:ext>
              </a:extLst>
            </p:cNvPr>
            <p:cNvSpPr>
              <a:spLocks noChangeAspect="1"/>
            </p:cNvSpPr>
            <p:nvPr/>
          </p:nvSpPr>
          <p:spPr bwMode="auto">
            <a:xfrm>
              <a:off x="6962782" y="4286282"/>
              <a:ext cx="742951" cy="657226"/>
            </a:xfrm>
            <a:custGeom>
              <a:avLst/>
              <a:gdLst/>
              <a:ahLst/>
              <a:cxnLst>
                <a:cxn ang="0">
                  <a:pos x="0" y="607"/>
                </a:cxn>
                <a:cxn ang="0">
                  <a:pos x="607" y="0"/>
                </a:cxn>
                <a:cxn ang="0">
                  <a:pos x="628" y="21"/>
                </a:cxn>
                <a:cxn ang="0">
                  <a:pos x="648" y="42"/>
                </a:cxn>
                <a:cxn ang="0">
                  <a:pos x="668" y="64"/>
                </a:cxn>
                <a:cxn ang="0">
                  <a:pos x="687" y="87"/>
                </a:cxn>
                <a:cxn ang="0">
                  <a:pos x="705" y="110"/>
                </a:cxn>
                <a:cxn ang="0">
                  <a:pos x="723" y="133"/>
                </a:cxn>
                <a:cxn ang="0">
                  <a:pos x="740" y="157"/>
                </a:cxn>
                <a:cxn ang="0">
                  <a:pos x="748" y="169"/>
                </a:cxn>
                <a:cxn ang="0">
                  <a:pos x="756" y="181"/>
                </a:cxn>
                <a:cxn ang="0">
                  <a:pos x="772" y="206"/>
                </a:cxn>
                <a:cxn ang="0">
                  <a:pos x="788" y="231"/>
                </a:cxn>
                <a:cxn ang="0">
                  <a:pos x="803" y="257"/>
                </a:cxn>
                <a:cxn ang="0">
                  <a:pos x="817" y="283"/>
                </a:cxn>
                <a:cxn ang="0">
                  <a:pos x="830" y="309"/>
                </a:cxn>
                <a:cxn ang="0">
                  <a:pos x="843" y="336"/>
                </a:cxn>
                <a:cxn ang="0">
                  <a:pos x="856" y="362"/>
                </a:cxn>
                <a:cxn ang="0">
                  <a:pos x="867" y="389"/>
                </a:cxn>
                <a:cxn ang="0">
                  <a:pos x="878" y="417"/>
                </a:cxn>
                <a:cxn ang="0">
                  <a:pos x="888" y="444"/>
                </a:cxn>
                <a:cxn ang="0">
                  <a:pos x="898" y="472"/>
                </a:cxn>
                <a:cxn ang="0">
                  <a:pos x="907" y="500"/>
                </a:cxn>
                <a:cxn ang="0">
                  <a:pos x="915" y="528"/>
                </a:cxn>
                <a:cxn ang="0">
                  <a:pos x="923" y="557"/>
                </a:cxn>
                <a:cxn ang="0">
                  <a:pos x="930" y="585"/>
                </a:cxn>
                <a:cxn ang="0">
                  <a:pos x="936" y="614"/>
                </a:cxn>
                <a:cxn ang="0">
                  <a:pos x="941" y="643"/>
                </a:cxn>
                <a:cxn ang="0">
                  <a:pos x="946" y="672"/>
                </a:cxn>
                <a:cxn ang="0">
                  <a:pos x="950" y="701"/>
                </a:cxn>
                <a:cxn ang="0">
                  <a:pos x="953" y="730"/>
                </a:cxn>
                <a:cxn ang="0">
                  <a:pos x="956" y="760"/>
                </a:cxn>
                <a:cxn ang="0">
                  <a:pos x="957" y="789"/>
                </a:cxn>
                <a:cxn ang="0">
                  <a:pos x="958" y="818"/>
                </a:cxn>
                <a:cxn ang="0">
                  <a:pos x="958" y="848"/>
                </a:cxn>
                <a:cxn ang="0">
                  <a:pos x="529" y="848"/>
                </a:cxn>
                <a:cxn ang="0">
                  <a:pos x="99" y="848"/>
                </a:cxn>
                <a:cxn ang="0">
                  <a:pos x="99" y="830"/>
                </a:cxn>
                <a:cxn ang="0">
                  <a:pos x="98" y="813"/>
                </a:cxn>
                <a:cxn ang="0">
                  <a:pos x="97" y="805"/>
                </a:cxn>
                <a:cxn ang="0">
                  <a:pos x="96" y="796"/>
                </a:cxn>
                <a:cxn ang="0">
                  <a:pos x="94" y="788"/>
                </a:cxn>
                <a:cxn ang="0">
                  <a:pos x="93" y="779"/>
                </a:cxn>
                <a:cxn ang="0">
                  <a:pos x="89" y="763"/>
                </a:cxn>
                <a:cxn ang="0">
                  <a:pos x="84" y="747"/>
                </a:cxn>
                <a:cxn ang="0">
                  <a:pos x="79" y="731"/>
                </a:cxn>
                <a:cxn ang="0">
                  <a:pos x="73" y="716"/>
                </a:cxn>
                <a:cxn ang="0">
                  <a:pos x="66" y="700"/>
                </a:cxn>
                <a:cxn ang="0">
                  <a:pos x="58" y="686"/>
                </a:cxn>
                <a:cxn ang="0">
                  <a:pos x="50" y="672"/>
                </a:cxn>
                <a:cxn ang="0">
                  <a:pos x="41" y="658"/>
                </a:cxn>
                <a:cxn ang="0">
                  <a:pos x="32" y="644"/>
                </a:cxn>
                <a:cxn ang="0">
                  <a:pos x="22" y="632"/>
                </a:cxn>
                <a:cxn ang="0">
                  <a:pos x="11" y="619"/>
                </a:cxn>
                <a:cxn ang="0">
                  <a:pos x="0" y="607"/>
                </a:cxn>
              </a:cxnLst>
              <a:rect l="0" t="0" r="r" b="b"/>
              <a:pathLst>
                <a:path w="958" h="848">
                  <a:moveTo>
                    <a:pt x="0" y="607"/>
                  </a:moveTo>
                  <a:lnTo>
                    <a:pt x="607" y="0"/>
                  </a:lnTo>
                  <a:lnTo>
                    <a:pt x="628" y="21"/>
                  </a:lnTo>
                  <a:lnTo>
                    <a:pt x="648" y="42"/>
                  </a:lnTo>
                  <a:lnTo>
                    <a:pt x="668" y="64"/>
                  </a:lnTo>
                  <a:lnTo>
                    <a:pt x="687" y="87"/>
                  </a:lnTo>
                  <a:lnTo>
                    <a:pt x="705" y="110"/>
                  </a:lnTo>
                  <a:lnTo>
                    <a:pt x="723" y="133"/>
                  </a:lnTo>
                  <a:lnTo>
                    <a:pt x="740" y="157"/>
                  </a:lnTo>
                  <a:lnTo>
                    <a:pt x="748" y="169"/>
                  </a:lnTo>
                  <a:lnTo>
                    <a:pt x="756" y="181"/>
                  </a:lnTo>
                  <a:lnTo>
                    <a:pt x="772" y="206"/>
                  </a:lnTo>
                  <a:lnTo>
                    <a:pt x="788" y="231"/>
                  </a:lnTo>
                  <a:lnTo>
                    <a:pt x="803" y="257"/>
                  </a:lnTo>
                  <a:lnTo>
                    <a:pt x="817" y="283"/>
                  </a:lnTo>
                  <a:lnTo>
                    <a:pt x="830" y="309"/>
                  </a:lnTo>
                  <a:lnTo>
                    <a:pt x="843" y="336"/>
                  </a:lnTo>
                  <a:lnTo>
                    <a:pt x="856" y="362"/>
                  </a:lnTo>
                  <a:lnTo>
                    <a:pt x="867" y="389"/>
                  </a:lnTo>
                  <a:lnTo>
                    <a:pt x="878" y="417"/>
                  </a:lnTo>
                  <a:lnTo>
                    <a:pt x="888" y="444"/>
                  </a:lnTo>
                  <a:lnTo>
                    <a:pt x="898" y="472"/>
                  </a:lnTo>
                  <a:lnTo>
                    <a:pt x="907" y="500"/>
                  </a:lnTo>
                  <a:lnTo>
                    <a:pt x="915" y="528"/>
                  </a:lnTo>
                  <a:lnTo>
                    <a:pt x="923" y="557"/>
                  </a:lnTo>
                  <a:lnTo>
                    <a:pt x="930" y="585"/>
                  </a:lnTo>
                  <a:lnTo>
                    <a:pt x="936" y="614"/>
                  </a:lnTo>
                  <a:lnTo>
                    <a:pt x="941" y="643"/>
                  </a:lnTo>
                  <a:lnTo>
                    <a:pt x="946" y="672"/>
                  </a:lnTo>
                  <a:lnTo>
                    <a:pt x="950" y="701"/>
                  </a:lnTo>
                  <a:lnTo>
                    <a:pt x="953" y="730"/>
                  </a:lnTo>
                  <a:lnTo>
                    <a:pt x="956" y="760"/>
                  </a:lnTo>
                  <a:lnTo>
                    <a:pt x="957" y="789"/>
                  </a:lnTo>
                  <a:lnTo>
                    <a:pt x="958" y="818"/>
                  </a:lnTo>
                  <a:lnTo>
                    <a:pt x="958" y="848"/>
                  </a:lnTo>
                  <a:lnTo>
                    <a:pt x="529" y="848"/>
                  </a:lnTo>
                  <a:lnTo>
                    <a:pt x="99" y="848"/>
                  </a:lnTo>
                  <a:lnTo>
                    <a:pt x="99" y="830"/>
                  </a:lnTo>
                  <a:lnTo>
                    <a:pt x="98" y="813"/>
                  </a:lnTo>
                  <a:lnTo>
                    <a:pt x="97" y="805"/>
                  </a:lnTo>
                  <a:lnTo>
                    <a:pt x="96" y="796"/>
                  </a:lnTo>
                  <a:lnTo>
                    <a:pt x="94" y="788"/>
                  </a:lnTo>
                  <a:lnTo>
                    <a:pt x="93" y="779"/>
                  </a:lnTo>
                  <a:lnTo>
                    <a:pt x="89" y="763"/>
                  </a:lnTo>
                  <a:lnTo>
                    <a:pt x="84" y="747"/>
                  </a:lnTo>
                  <a:lnTo>
                    <a:pt x="79" y="731"/>
                  </a:lnTo>
                  <a:lnTo>
                    <a:pt x="73" y="716"/>
                  </a:lnTo>
                  <a:lnTo>
                    <a:pt x="66" y="700"/>
                  </a:lnTo>
                  <a:lnTo>
                    <a:pt x="58" y="686"/>
                  </a:lnTo>
                  <a:lnTo>
                    <a:pt x="50" y="672"/>
                  </a:lnTo>
                  <a:lnTo>
                    <a:pt x="41" y="658"/>
                  </a:lnTo>
                  <a:lnTo>
                    <a:pt x="32" y="644"/>
                  </a:lnTo>
                  <a:lnTo>
                    <a:pt x="22" y="632"/>
                  </a:lnTo>
                  <a:lnTo>
                    <a:pt x="11" y="619"/>
                  </a:lnTo>
                  <a:lnTo>
                    <a:pt x="0" y="607"/>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0" name="Freeform 130">
              <a:extLst>
                <a:ext uri="{FF2B5EF4-FFF2-40B4-BE49-F238E27FC236}">
                  <a16:creationId xmlns:a16="http://schemas.microsoft.com/office/drawing/2014/main" id="{F28D228C-6E96-4DEC-B0C9-DF4E9B005CCE}"/>
                </a:ext>
              </a:extLst>
            </p:cNvPr>
            <p:cNvSpPr>
              <a:spLocks noChangeAspect="1"/>
            </p:cNvSpPr>
            <p:nvPr/>
          </p:nvSpPr>
          <p:spPr bwMode="auto">
            <a:xfrm>
              <a:off x="6962782" y="4943509"/>
              <a:ext cx="742951" cy="657226"/>
            </a:xfrm>
            <a:custGeom>
              <a:avLst/>
              <a:gdLst/>
              <a:ahLst/>
              <a:cxnLst>
                <a:cxn ang="0">
                  <a:pos x="99" y="0"/>
                </a:cxn>
                <a:cxn ang="0">
                  <a:pos x="529" y="0"/>
                </a:cxn>
                <a:cxn ang="0">
                  <a:pos x="958" y="0"/>
                </a:cxn>
                <a:cxn ang="0">
                  <a:pos x="958" y="29"/>
                </a:cxn>
                <a:cxn ang="0">
                  <a:pos x="957" y="59"/>
                </a:cxn>
                <a:cxn ang="0">
                  <a:pos x="955" y="88"/>
                </a:cxn>
                <a:cxn ang="0">
                  <a:pos x="953" y="117"/>
                </a:cxn>
                <a:cxn ang="0">
                  <a:pos x="949" y="147"/>
                </a:cxn>
                <a:cxn ang="0">
                  <a:pos x="945" y="176"/>
                </a:cxn>
                <a:cxn ang="0">
                  <a:pos x="941" y="205"/>
                </a:cxn>
                <a:cxn ang="0">
                  <a:pos x="935" y="234"/>
                </a:cxn>
                <a:cxn ang="0">
                  <a:pos x="929" y="262"/>
                </a:cxn>
                <a:cxn ang="0">
                  <a:pos x="922" y="291"/>
                </a:cxn>
                <a:cxn ang="0">
                  <a:pos x="915" y="319"/>
                </a:cxn>
                <a:cxn ang="0">
                  <a:pos x="907" y="348"/>
                </a:cxn>
                <a:cxn ang="0">
                  <a:pos x="902" y="362"/>
                </a:cxn>
                <a:cxn ang="0">
                  <a:pos x="898" y="376"/>
                </a:cxn>
                <a:cxn ang="0">
                  <a:pos x="888" y="404"/>
                </a:cxn>
                <a:cxn ang="0">
                  <a:pos x="878" y="431"/>
                </a:cxn>
                <a:cxn ang="0">
                  <a:pos x="867" y="458"/>
                </a:cxn>
                <a:cxn ang="0">
                  <a:pos x="856" y="485"/>
                </a:cxn>
                <a:cxn ang="0">
                  <a:pos x="843" y="512"/>
                </a:cxn>
                <a:cxn ang="0">
                  <a:pos x="831" y="539"/>
                </a:cxn>
                <a:cxn ang="0">
                  <a:pos x="817" y="565"/>
                </a:cxn>
                <a:cxn ang="0">
                  <a:pos x="803" y="591"/>
                </a:cxn>
                <a:cxn ang="0">
                  <a:pos x="788" y="617"/>
                </a:cxn>
                <a:cxn ang="0">
                  <a:pos x="773" y="642"/>
                </a:cxn>
                <a:cxn ang="0">
                  <a:pos x="757" y="667"/>
                </a:cxn>
                <a:cxn ang="0">
                  <a:pos x="740" y="691"/>
                </a:cxn>
                <a:cxn ang="0">
                  <a:pos x="732" y="703"/>
                </a:cxn>
                <a:cxn ang="0">
                  <a:pos x="723" y="715"/>
                </a:cxn>
                <a:cxn ang="0">
                  <a:pos x="705" y="738"/>
                </a:cxn>
                <a:cxn ang="0">
                  <a:pos x="687" y="761"/>
                </a:cxn>
                <a:cxn ang="0">
                  <a:pos x="668" y="784"/>
                </a:cxn>
                <a:cxn ang="0">
                  <a:pos x="648" y="806"/>
                </a:cxn>
                <a:cxn ang="0">
                  <a:pos x="638" y="816"/>
                </a:cxn>
                <a:cxn ang="0">
                  <a:pos x="628" y="827"/>
                </a:cxn>
                <a:cxn ang="0">
                  <a:pos x="607" y="848"/>
                </a:cxn>
                <a:cxn ang="0">
                  <a:pos x="0" y="240"/>
                </a:cxn>
                <a:cxn ang="0">
                  <a:pos x="11" y="229"/>
                </a:cxn>
                <a:cxn ang="0">
                  <a:pos x="22" y="216"/>
                </a:cxn>
                <a:cxn ang="0">
                  <a:pos x="32" y="203"/>
                </a:cxn>
                <a:cxn ang="0">
                  <a:pos x="41" y="190"/>
                </a:cxn>
                <a:cxn ang="0">
                  <a:pos x="50" y="176"/>
                </a:cxn>
                <a:cxn ang="0">
                  <a:pos x="58" y="162"/>
                </a:cxn>
                <a:cxn ang="0">
                  <a:pos x="66" y="147"/>
                </a:cxn>
                <a:cxn ang="0">
                  <a:pos x="73" y="132"/>
                </a:cxn>
                <a:cxn ang="0">
                  <a:pos x="76" y="125"/>
                </a:cxn>
                <a:cxn ang="0">
                  <a:pos x="79" y="117"/>
                </a:cxn>
                <a:cxn ang="0">
                  <a:pos x="84" y="101"/>
                </a:cxn>
                <a:cxn ang="0">
                  <a:pos x="87" y="93"/>
                </a:cxn>
                <a:cxn ang="0">
                  <a:pos x="89" y="85"/>
                </a:cxn>
                <a:cxn ang="0">
                  <a:pos x="93" y="68"/>
                </a:cxn>
                <a:cxn ang="0">
                  <a:pos x="94" y="60"/>
                </a:cxn>
                <a:cxn ang="0">
                  <a:pos x="96" y="52"/>
                </a:cxn>
                <a:cxn ang="0">
                  <a:pos x="98" y="35"/>
                </a:cxn>
                <a:cxn ang="0">
                  <a:pos x="99" y="17"/>
                </a:cxn>
                <a:cxn ang="0">
                  <a:pos x="99" y="0"/>
                </a:cxn>
              </a:cxnLst>
              <a:rect l="0" t="0" r="r" b="b"/>
              <a:pathLst>
                <a:path w="958" h="848">
                  <a:moveTo>
                    <a:pt x="99" y="0"/>
                  </a:moveTo>
                  <a:lnTo>
                    <a:pt x="529" y="0"/>
                  </a:lnTo>
                  <a:lnTo>
                    <a:pt x="958" y="0"/>
                  </a:lnTo>
                  <a:lnTo>
                    <a:pt x="958" y="29"/>
                  </a:lnTo>
                  <a:lnTo>
                    <a:pt x="957" y="59"/>
                  </a:lnTo>
                  <a:lnTo>
                    <a:pt x="955" y="88"/>
                  </a:lnTo>
                  <a:lnTo>
                    <a:pt x="953" y="117"/>
                  </a:lnTo>
                  <a:lnTo>
                    <a:pt x="949" y="147"/>
                  </a:lnTo>
                  <a:lnTo>
                    <a:pt x="945" y="176"/>
                  </a:lnTo>
                  <a:lnTo>
                    <a:pt x="941" y="205"/>
                  </a:lnTo>
                  <a:lnTo>
                    <a:pt x="935" y="234"/>
                  </a:lnTo>
                  <a:lnTo>
                    <a:pt x="929" y="262"/>
                  </a:lnTo>
                  <a:lnTo>
                    <a:pt x="922" y="291"/>
                  </a:lnTo>
                  <a:lnTo>
                    <a:pt x="915" y="319"/>
                  </a:lnTo>
                  <a:lnTo>
                    <a:pt x="907" y="348"/>
                  </a:lnTo>
                  <a:lnTo>
                    <a:pt x="902" y="362"/>
                  </a:lnTo>
                  <a:lnTo>
                    <a:pt x="898" y="376"/>
                  </a:lnTo>
                  <a:lnTo>
                    <a:pt x="888" y="404"/>
                  </a:lnTo>
                  <a:lnTo>
                    <a:pt x="878" y="431"/>
                  </a:lnTo>
                  <a:lnTo>
                    <a:pt x="867" y="458"/>
                  </a:lnTo>
                  <a:lnTo>
                    <a:pt x="856" y="485"/>
                  </a:lnTo>
                  <a:lnTo>
                    <a:pt x="843" y="512"/>
                  </a:lnTo>
                  <a:lnTo>
                    <a:pt x="831" y="539"/>
                  </a:lnTo>
                  <a:lnTo>
                    <a:pt x="817" y="565"/>
                  </a:lnTo>
                  <a:lnTo>
                    <a:pt x="803" y="591"/>
                  </a:lnTo>
                  <a:lnTo>
                    <a:pt x="788" y="617"/>
                  </a:lnTo>
                  <a:lnTo>
                    <a:pt x="773" y="642"/>
                  </a:lnTo>
                  <a:lnTo>
                    <a:pt x="757" y="667"/>
                  </a:lnTo>
                  <a:lnTo>
                    <a:pt x="740" y="691"/>
                  </a:lnTo>
                  <a:lnTo>
                    <a:pt x="732" y="703"/>
                  </a:lnTo>
                  <a:lnTo>
                    <a:pt x="723" y="715"/>
                  </a:lnTo>
                  <a:lnTo>
                    <a:pt x="705" y="738"/>
                  </a:lnTo>
                  <a:lnTo>
                    <a:pt x="687" y="761"/>
                  </a:lnTo>
                  <a:lnTo>
                    <a:pt x="668" y="784"/>
                  </a:lnTo>
                  <a:lnTo>
                    <a:pt x="648" y="806"/>
                  </a:lnTo>
                  <a:lnTo>
                    <a:pt x="638" y="816"/>
                  </a:lnTo>
                  <a:lnTo>
                    <a:pt x="628" y="827"/>
                  </a:lnTo>
                  <a:lnTo>
                    <a:pt x="607" y="848"/>
                  </a:lnTo>
                  <a:lnTo>
                    <a:pt x="0" y="240"/>
                  </a:lnTo>
                  <a:lnTo>
                    <a:pt x="11" y="229"/>
                  </a:lnTo>
                  <a:lnTo>
                    <a:pt x="22" y="216"/>
                  </a:lnTo>
                  <a:lnTo>
                    <a:pt x="32" y="203"/>
                  </a:lnTo>
                  <a:lnTo>
                    <a:pt x="41" y="190"/>
                  </a:lnTo>
                  <a:lnTo>
                    <a:pt x="50" y="176"/>
                  </a:lnTo>
                  <a:lnTo>
                    <a:pt x="58" y="162"/>
                  </a:lnTo>
                  <a:lnTo>
                    <a:pt x="66" y="147"/>
                  </a:lnTo>
                  <a:lnTo>
                    <a:pt x="73" y="132"/>
                  </a:lnTo>
                  <a:lnTo>
                    <a:pt x="76" y="125"/>
                  </a:lnTo>
                  <a:lnTo>
                    <a:pt x="79" y="117"/>
                  </a:lnTo>
                  <a:lnTo>
                    <a:pt x="84" y="101"/>
                  </a:lnTo>
                  <a:lnTo>
                    <a:pt x="87" y="93"/>
                  </a:lnTo>
                  <a:lnTo>
                    <a:pt x="89" y="85"/>
                  </a:lnTo>
                  <a:lnTo>
                    <a:pt x="93" y="68"/>
                  </a:lnTo>
                  <a:lnTo>
                    <a:pt x="94" y="60"/>
                  </a:lnTo>
                  <a:lnTo>
                    <a:pt x="96" y="52"/>
                  </a:lnTo>
                  <a:lnTo>
                    <a:pt x="98" y="35"/>
                  </a:lnTo>
                  <a:lnTo>
                    <a:pt x="99" y="17"/>
                  </a:lnTo>
                  <a:lnTo>
                    <a:pt x="99"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1" name="Freeform 131">
              <a:extLst>
                <a:ext uri="{FF2B5EF4-FFF2-40B4-BE49-F238E27FC236}">
                  <a16:creationId xmlns:a16="http://schemas.microsoft.com/office/drawing/2014/main" id="{67A1C573-A5A8-486D-9EA2-550A76C7F448}"/>
                </a:ext>
              </a:extLst>
            </p:cNvPr>
            <p:cNvSpPr>
              <a:spLocks noChangeAspect="1"/>
            </p:cNvSpPr>
            <p:nvPr/>
          </p:nvSpPr>
          <p:spPr bwMode="auto">
            <a:xfrm>
              <a:off x="6775457" y="5129246"/>
              <a:ext cx="657226" cy="744539"/>
            </a:xfrm>
            <a:custGeom>
              <a:avLst/>
              <a:gdLst/>
              <a:ahLst/>
              <a:cxnLst>
                <a:cxn ang="0">
                  <a:pos x="241" y="0"/>
                </a:cxn>
                <a:cxn ang="0">
                  <a:pos x="848" y="608"/>
                </a:cxn>
                <a:cxn ang="0">
                  <a:pos x="827" y="629"/>
                </a:cxn>
                <a:cxn ang="0">
                  <a:pos x="806" y="649"/>
                </a:cxn>
                <a:cxn ang="0">
                  <a:pos x="784" y="668"/>
                </a:cxn>
                <a:cxn ang="0">
                  <a:pos x="761" y="687"/>
                </a:cxn>
                <a:cxn ang="0">
                  <a:pos x="738" y="705"/>
                </a:cxn>
                <a:cxn ang="0">
                  <a:pos x="715" y="723"/>
                </a:cxn>
                <a:cxn ang="0">
                  <a:pos x="691" y="740"/>
                </a:cxn>
                <a:cxn ang="0">
                  <a:pos x="679" y="749"/>
                </a:cxn>
                <a:cxn ang="0">
                  <a:pos x="667" y="757"/>
                </a:cxn>
                <a:cxn ang="0">
                  <a:pos x="642" y="773"/>
                </a:cxn>
                <a:cxn ang="0">
                  <a:pos x="617" y="788"/>
                </a:cxn>
                <a:cxn ang="0">
                  <a:pos x="591" y="803"/>
                </a:cxn>
                <a:cxn ang="0">
                  <a:pos x="565" y="817"/>
                </a:cxn>
                <a:cxn ang="0">
                  <a:pos x="539" y="831"/>
                </a:cxn>
                <a:cxn ang="0">
                  <a:pos x="513" y="844"/>
                </a:cxn>
                <a:cxn ang="0">
                  <a:pos x="486" y="856"/>
                </a:cxn>
                <a:cxn ang="0">
                  <a:pos x="459" y="868"/>
                </a:cxn>
                <a:cxn ang="0">
                  <a:pos x="432" y="879"/>
                </a:cxn>
                <a:cxn ang="0">
                  <a:pos x="404" y="889"/>
                </a:cxn>
                <a:cxn ang="0">
                  <a:pos x="376" y="899"/>
                </a:cxn>
                <a:cxn ang="0">
                  <a:pos x="348" y="908"/>
                </a:cxn>
                <a:cxn ang="0">
                  <a:pos x="320" y="916"/>
                </a:cxn>
                <a:cxn ang="0">
                  <a:pos x="292" y="923"/>
                </a:cxn>
                <a:cxn ang="0">
                  <a:pos x="263" y="930"/>
                </a:cxn>
                <a:cxn ang="0">
                  <a:pos x="234" y="936"/>
                </a:cxn>
                <a:cxn ang="0">
                  <a:pos x="205" y="942"/>
                </a:cxn>
                <a:cxn ang="0">
                  <a:pos x="176" y="946"/>
                </a:cxn>
                <a:cxn ang="0">
                  <a:pos x="147" y="950"/>
                </a:cxn>
                <a:cxn ang="0">
                  <a:pos x="118" y="954"/>
                </a:cxn>
                <a:cxn ang="0">
                  <a:pos x="89" y="956"/>
                </a:cxn>
                <a:cxn ang="0">
                  <a:pos x="59" y="958"/>
                </a:cxn>
                <a:cxn ang="0">
                  <a:pos x="30" y="959"/>
                </a:cxn>
                <a:cxn ang="0">
                  <a:pos x="0" y="959"/>
                </a:cxn>
                <a:cxn ang="0">
                  <a:pos x="0" y="530"/>
                </a:cxn>
                <a:cxn ang="0">
                  <a:pos x="0" y="100"/>
                </a:cxn>
                <a:cxn ang="0">
                  <a:pos x="18" y="100"/>
                </a:cxn>
                <a:cxn ang="0">
                  <a:pos x="35" y="98"/>
                </a:cxn>
                <a:cxn ang="0">
                  <a:pos x="44" y="97"/>
                </a:cxn>
                <a:cxn ang="0">
                  <a:pos x="52" y="96"/>
                </a:cxn>
                <a:cxn ang="0">
                  <a:pos x="61" y="95"/>
                </a:cxn>
                <a:cxn ang="0">
                  <a:pos x="69" y="93"/>
                </a:cxn>
                <a:cxn ang="0">
                  <a:pos x="85" y="89"/>
                </a:cxn>
                <a:cxn ang="0">
                  <a:pos x="101" y="85"/>
                </a:cxn>
                <a:cxn ang="0">
                  <a:pos x="117" y="79"/>
                </a:cxn>
                <a:cxn ang="0">
                  <a:pos x="133" y="73"/>
                </a:cxn>
                <a:cxn ang="0">
                  <a:pos x="148" y="67"/>
                </a:cxn>
                <a:cxn ang="0">
                  <a:pos x="162" y="59"/>
                </a:cxn>
                <a:cxn ang="0">
                  <a:pos x="177" y="51"/>
                </a:cxn>
                <a:cxn ang="0">
                  <a:pos x="191" y="42"/>
                </a:cxn>
                <a:cxn ang="0">
                  <a:pos x="204" y="33"/>
                </a:cxn>
                <a:cxn ang="0">
                  <a:pos x="217" y="22"/>
                </a:cxn>
                <a:cxn ang="0">
                  <a:pos x="229" y="12"/>
                </a:cxn>
                <a:cxn ang="0">
                  <a:pos x="241" y="0"/>
                </a:cxn>
              </a:cxnLst>
              <a:rect l="0" t="0" r="r" b="b"/>
              <a:pathLst>
                <a:path w="848" h="959">
                  <a:moveTo>
                    <a:pt x="241" y="0"/>
                  </a:moveTo>
                  <a:lnTo>
                    <a:pt x="848" y="608"/>
                  </a:lnTo>
                  <a:lnTo>
                    <a:pt x="827" y="629"/>
                  </a:lnTo>
                  <a:lnTo>
                    <a:pt x="806" y="649"/>
                  </a:lnTo>
                  <a:lnTo>
                    <a:pt x="784" y="668"/>
                  </a:lnTo>
                  <a:lnTo>
                    <a:pt x="761" y="687"/>
                  </a:lnTo>
                  <a:lnTo>
                    <a:pt x="738" y="705"/>
                  </a:lnTo>
                  <a:lnTo>
                    <a:pt x="715" y="723"/>
                  </a:lnTo>
                  <a:lnTo>
                    <a:pt x="691" y="740"/>
                  </a:lnTo>
                  <a:lnTo>
                    <a:pt x="679" y="749"/>
                  </a:lnTo>
                  <a:lnTo>
                    <a:pt x="667" y="757"/>
                  </a:lnTo>
                  <a:lnTo>
                    <a:pt x="642" y="773"/>
                  </a:lnTo>
                  <a:lnTo>
                    <a:pt x="617" y="788"/>
                  </a:lnTo>
                  <a:lnTo>
                    <a:pt x="591" y="803"/>
                  </a:lnTo>
                  <a:lnTo>
                    <a:pt x="565" y="817"/>
                  </a:lnTo>
                  <a:lnTo>
                    <a:pt x="539" y="831"/>
                  </a:lnTo>
                  <a:lnTo>
                    <a:pt x="513" y="844"/>
                  </a:lnTo>
                  <a:lnTo>
                    <a:pt x="486" y="856"/>
                  </a:lnTo>
                  <a:lnTo>
                    <a:pt x="459" y="868"/>
                  </a:lnTo>
                  <a:lnTo>
                    <a:pt x="432" y="879"/>
                  </a:lnTo>
                  <a:lnTo>
                    <a:pt x="404" y="889"/>
                  </a:lnTo>
                  <a:lnTo>
                    <a:pt x="376" y="899"/>
                  </a:lnTo>
                  <a:lnTo>
                    <a:pt x="348" y="908"/>
                  </a:lnTo>
                  <a:lnTo>
                    <a:pt x="320" y="916"/>
                  </a:lnTo>
                  <a:lnTo>
                    <a:pt x="292" y="923"/>
                  </a:lnTo>
                  <a:lnTo>
                    <a:pt x="263" y="930"/>
                  </a:lnTo>
                  <a:lnTo>
                    <a:pt x="234" y="936"/>
                  </a:lnTo>
                  <a:lnTo>
                    <a:pt x="205" y="942"/>
                  </a:lnTo>
                  <a:lnTo>
                    <a:pt x="176" y="946"/>
                  </a:lnTo>
                  <a:lnTo>
                    <a:pt x="147" y="950"/>
                  </a:lnTo>
                  <a:lnTo>
                    <a:pt x="118" y="954"/>
                  </a:lnTo>
                  <a:lnTo>
                    <a:pt x="89" y="956"/>
                  </a:lnTo>
                  <a:lnTo>
                    <a:pt x="59" y="958"/>
                  </a:lnTo>
                  <a:lnTo>
                    <a:pt x="30" y="959"/>
                  </a:lnTo>
                  <a:lnTo>
                    <a:pt x="0" y="959"/>
                  </a:lnTo>
                  <a:lnTo>
                    <a:pt x="0" y="530"/>
                  </a:lnTo>
                  <a:lnTo>
                    <a:pt x="0" y="100"/>
                  </a:lnTo>
                  <a:lnTo>
                    <a:pt x="18" y="100"/>
                  </a:lnTo>
                  <a:lnTo>
                    <a:pt x="35" y="98"/>
                  </a:lnTo>
                  <a:lnTo>
                    <a:pt x="44" y="97"/>
                  </a:lnTo>
                  <a:lnTo>
                    <a:pt x="52" y="96"/>
                  </a:lnTo>
                  <a:lnTo>
                    <a:pt x="61" y="95"/>
                  </a:lnTo>
                  <a:lnTo>
                    <a:pt x="69" y="93"/>
                  </a:lnTo>
                  <a:lnTo>
                    <a:pt x="85" y="89"/>
                  </a:lnTo>
                  <a:lnTo>
                    <a:pt x="101" y="85"/>
                  </a:lnTo>
                  <a:lnTo>
                    <a:pt x="117" y="79"/>
                  </a:lnTo>
                  <a:lnTo>
                    <a:pt x="133" y="73"/>
                  </a:lnTo>
                  <a:lnTo>
                    <a:pt x="148" y="67"/>
                  </a:lnTo>
                  <a:lnTo>
                    <a:pt x="162" y="59"/>
                  </a:lnTo>
                  <a:lnTo>
                    <a:pt x="177" y="51"/>
                  </a:lnTo>
                  <a:lnTo>
                    <a:pt x="191" y="42"/>
                  </a:lnTo>
                  <a:lnTo>
                    <a:pt x="204" y="33"/>
                  </a:lnTo>
                  <a:lnTo>
                    <a:pt x="217" y="22"/>
                  </a:lnTo>
                  <a:lnTo>
                    <a:pt x="229" y="12"/>
                  </a:lnTo>
                  <a:lnTo>
                    <a:pt x="241"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2" name="Freeform 132">
              <a:extLst>
                <a:ext uri="{FF2B5EF4-FFF2-40B4-BE49-F238E27FC236}">
                  <a16:creationId xmlns:a16="http://schemas.microsoft.com/office/drawing/2014/main" id="{418C6D1D-4B5B-44EB-BA3B-9E311EE836EE}"/>
                </a:ext>
              </a:extLst>
            </p:cNvPr>
            <p:cNvSpPr>
              <a:spLocks noChangeAspect="1"/>
            </p:cNvSpPr>
            <p:nvPr/>
          </p:nvSpPr>
          <p:spPr bwMode="auto">
            <a:xfrm>
              <a:off x="6118231" y="5129246"/>
              <a:ext cx="657226" cy="744539"/>
            </a:xfrm>
            <a:custGeom>
              <a:avLst/>
              <a:gdLst/>
              <a:ahLst/>
              <a:cxnLst>
                <a:cxn ang="0">
                  <a:pos x="848" y="100"/>
                </a:cxn>
                <a:cxn ang="0">
                  <a:pos x="848" y="530"/>
                </a:cxn>
                <a:cxn ang="0">
                  <a:pos x="848" y="959"/>
                </a:cxn>
                <a:cxn ang="0">
                  <a:pos x="819" y="959"/>
                </a:cxn>
                <a:cxn ang="0">
                  <a:pos x="790" y="958"/>
                </a:cxn>
                <a:cxn ang="0">
                  <a:pos x="760" y="956"/>
                </a:cxn>
                <a:cxn ang="0">
                  <a:pos x="731" y="953"/>
                </a:cxn>
                <a:cxn ang="0">
                  <a:pos x="702" y="950"/>
                </a:cxn>
                <a:cxn ang="0">
                  <a:pos x="673" y="946"/>
                </a:cxn>
                <a:cxn ang="0">
                  <a:pos x="644" y="941"/>
                </a:cxn>
                <a:cxn ang="0">
                  <a:pos x="615" y="936"/>
                </a:cxn>
                <a:cxn ang="0">
                  <a:pos x="586" y="930"/>
                </a:cxn>
                <a:cxn ang="0">
                  <a:pos x="557" y="923"/>
                </a:cxn>
                <a:cxn ang="0">
                  <a:pos x="529" y="915"/>
                </a:cxn>
                <a:cxn ang="0">
                  <a:pos x="501" y="907"/>
                </a:cxn>
                <a:cxn ang="0">
                  <a:pos x="487" y="903"/>
                </a:cxn>
                <a:cxn ang="0">
                  <a:pos x="473" y="898"/>
                </a:cxn>
                <a:cxn ang="0">
                  <a:pos x="445" y="889"/>
                </a:cxn>
                <a:cxn ang="0">
                  <a:pos x="417" y="879"/>
                </a:cxn>
                <a:cxn ang="0">
                  <a:pos x="390" y="868"/>
                </a:cxn>
                <a:cxn ang="0">
                  <a:pos x="363" y="856"/>
                </a:cxn>
                <a:cxn ang="0">
                  <a:pos x="336" y="844"/>
                </a:cxn>
                <a:cxn ang="0">
                  <a:pos x="310" y="831"/>
                </a:cxn>
                <a:cxn ang="0">
                  <a:pos x="284" y="818"/>
                </a:cxn>
                <a:cxn ang="0">
                  <a:pos x="258" y="804"/>
                </a:cxn>
                <a:cxn ang="0">
                  <a:pos x="231" y="789"/>
                </a:cxn>
                <a:cxn ang="0">
                  <a:pos x="206" y="773"/>
                </a:cxn>
                <a:cxn ang="0">
                  <a:pos x="182" y="757"/>
                </a:cxn>
                <a:cxn ang="0">
                  <a:pos x="157" y="741"/>
                </a:cxn>
                <a:cxn ang="0">
                  <a:pos x="145" y="732"/>
                </a:cxn>
                <a:cxn ang="0">
                  <a:pos x="133" y="724"/>
                </a:cxn>
                <a:cxn ang="0">
                  <a:pos x="110" y="706"/>
                </a:cxn>
                <a:cxn ang="0">
                  <a:pos x="87" y="687"/>
                </a:cxn>
                <a:cxn ang="0">
                  <a:pos x="65" y="668"/>
                </a:cxn>
                <a:cxn ang="0">
                  <a:pos x="43" y="649"/>
                </a:cxn>
                <a:cxn ang="0">
                  <a:pos x="32" y="639"/>
                </a:cxn>
                <a:cxn ang="0">
                  <a:pos x="21" y="629"/>
                </a:cxn>
                <a:cxn ang="0">
                  <a:pos x="0" y="608"/>
                </a:cxn>
                <a:cxn ang="0">
                  <a:pos x="608" y="0"/>
                </a:cxn>
                <a:cxn ang="0">
                  <a:pos x="620" y="12"/>
                </a:cxn>
                <a:cxn ang="0">
                  <a:pos x="632" y="22"/>
                </a:cxn>
                <a:cxn ang="0">
                  <a:pos x="645" y="33"/>
                </a:cxn>
                <a:cxn ang="0">
                  <a:pos x="658" y="42"/>
                </a:cxn>
                <a:cxn ang="0">
                  <a:pos x="672" y="51"/>
                </a:cxn>
                <a:cxn ang="0">
                  <a:pos x="686" y="59"/>
                </a:cxn>
                <a:cxn ang="0">
                  <a:pos x="701" y="67"/>
                </a:cxn>
                <a:cxn ang="0">
                  <a:pos x="716" y="73"/>
                </a:cxn>
                <a:cxn ang="0">
                  <a:pos x="724" y="76"/>
                </a:cxn>
                <a:cxn ang="0">
                  <a:pos x="731" y="79"/>
                </a:cxn>
                <a:cxn ang="0">
                  <a:pos x="747" y="85"/>
                </a:cxn>
                <a:cxn ang="0">
                  <a:pos x="755" y="87"/>
                </a:cxn>
                <a:cxn ang="0">
                  <a:pos x="763" y="89"/>
                </a:cxn>
                <a:cxn ang="0">
                  <a:pos x="780" y="93"/>
                </a:cxn>
                <a:cxn ang="0">
                  <a:pos x="788" y="95"/>
                </a:cxn>
                <a:cxn ang="0">
                  <a:pos x="797" y="96"/>
                </a:cxn>
                <a:cxn ang="0">
                  <a:pos x="814" y="98"/>
                </a:cxn>
                <a:cxn ang="0">
                  <a:pos x="831" y="100"/>
                </a:cxn>
                <a:cxn ang="0">
                  <a:pos x="848" y="100"/>
                </a:cxn>
              </a:cxnLst>
              <a:rect l="0" t="0" r="r" b="b"/>
              <a:pathLst>
                <a:path w="848" h="959">
                  <a:moveTo>
                    <a:pt x="848" y="100"/>
                  </a:moveTo>
                  <a:lnTo>
                    <a:pt x="848" y="530"/>
                  </a:lnTo>
                  <a:lnTo>
                    <a:pt x="848" y="959"/>
                  </a:lnTo>
                  <a:lnTo>
                    <a:pt x="819" y="959"/>
                  </a:lnTo>
                  <a:lnTo>
                    <a:pt x="790" y="958"/>
                  </a:lnTo>
                  <a:lnTo>
                    <a:pt x="760" y="956"/>
                  </a:lnTo>
                  <a:lnTo>
                    <a:pt x="731" y="953"/>
                  </a:lnTo>
                  <a:lnTo>
                    <a:pt x="702" y="950"/>
                  </a:lnTo>
                  <a:lnTo>
                    <a:pt x="673" y="946"/>
                  </a:lnTo>
                  <a:lnTo>
                    <a:pt x="644" y="941"/>
                  </a:lnTo>
                  <a:lnTo>
                    <a:pt x="615" y="936"/>
                  </a:lnTo>
                  <a:lnTo>
                    <a:pt x="586" y="930"/>
                  </a:lnTo>
                  <a:lnTo>
                    <a:pt x="557" y="923"/>
                  </a:lnTo>
                  <a:lnTo>
                    <a:pt x="529" y="915"/>
                  </a:lnTo>
                  <a:lnTo>
                    <a:pt x="501" y="907"/>
                  </a:lnTo>
                  <a:lnTo>
                    <a:pt x="487" y="903"/>
                  </a:lnTo>
                  <a:lnTo>
                    <a:pt x="473" y="898"/>
                  </a:lnTo>
                  <a:lnTo>
                    <a:pt x="445" y="889"/>
                  </a:lnTo>
                  <a:lnTo>
                    <a:pt x="417" y="879"/>
                  </a:lnTo>
                  <a:lnTo>
                    <a:pt x="390" y="868"/>
                  </a:lnTo>
                  <a:lnTo>
                    <a:pt x="363" y="856"/>
                  </a:lnTo>
                  <a:lnTo>
                    <a:pt x="336" y="844"/>
                  </a:lnTo>
                  <a:lnTo>
                    <a:pt x="310" y="831"/>
                  </a:lnTo>
                  <a:lnTo>
                    <a:pt x="284" y="818"/>
                  </a:lnTo>
                  <a:lnTo>
                    <a:pt x="258" y="804"/>
                  </a:lnTo>
                  <a:lnTo>
                    <a:pt x="231" y="789"/>
                  </a:lnTo>
                  <a:lnTo>
                    <a:pt x="206" y="773"/>
                  </a:lnTo>
                  <a:lnTo>
                    <a:pt x="182" y="757"/>
                  </a:lnTo>
                  <a:lnTo>
                    <a:pt x="157" y="741"/>
                  </a:lnTo>
                  <a:lnTo>
                    <a:pt x="145" y="732"/>
                  </a:lnTo>
                  <a:lnTo>
                    <a:pt x="133" y="724"/>
                  </a:lnTo>
                  <a:lnTo>
                    <a:pt x="110" y="706"/>
                  </a:lnTo>
                  <a:lnTo>
                    <a:pt x="87" y="687"/>
                  </a:lnTo>
                  <a:lnTo>
                    <a:pt x="65" y="668"/>
                  </a:lnTo>
                  <a:lnTo>
                    <a:pt x="43" y="649"/>
                  </a:lnTo>
                  <a:lnTo>
                    <a:pt x="32" y="639"/>
                  </a:lnTo>
                  <a:lnTo>
                    <a:pt x="21" y="629"/>
                  </a:lnTo>
                  <a:lnTo>
                    <a:pt x="0" y="608"/>
                  </a:lnTo>
                  <a:lnTo>
                    <a:pt x="608" y="0"/>
                  </a:lnTo>
                  <a:lnTo>
                    <a:pt x="620" y="12"/>
                  </a:lnTo>
                  <a:lnTo>
                    <a:pt x="632" y="22"/>
                  </a:lnTo>
                  <a:lnTo>
                    <a:pt x="645" y="33"/>
                  </a:lnTo>
                  <a:lnTo>
                    <a:pt x="658" y="42"/>
                  </a:lnTo>
                  <a:lnTo>
                    <a:pt x="672" y="51"/>
                  </a:lnTo>
                  <a:lnTo>
                    <a:pt x="686" y="59"/>
                  </a:lnTo>
                  <a:lnTo>
                    <a:pt x="701" y="67"/>
                  </a:lnTo>
                  <a:lnTo>
                    <a:pt x="716" y="73"/>
                  </a:lnTo>
                  <a:lnTo>
                    <a:pt x="724" y="76"/>
                  </a:lnTo>
                  <a:lnTo>
                    <a:pt x="731" y="79"/>
                  </a:lnTo>
                  <a:lnTo>
                    <a:pt x="747" y="85"/>
                  </a:lnTo>
                  <a:lnTo>
                    <a:pt x="755" y="87"/>
                  </a:lnTo>
                  <a:lnTo>
                    <a:pt x="763" y="89"/>
                  </a:lnTo>
                  <a:lnTo>
                    <a:pt x="780" y="93"/>
                  </a:lnTo>
                  <a:lnTo>
                    <a:pt x="788" y="95"/>
                  </a:lnTo>
                  <a:lnTo>
                    <a:pt x="797" y="96"/>
                  </a:lnTo>
                  <a:lnTo>
                    <a:pt x="814" y="98"/>
                  </a:lnTo>
                  <a:lnTo>
                    <a:pt x="831" y="100"/>
                  </a:lnTo>
                  <a:lnTo>
                    <a:pt x="848" y="10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3" name="Freeform 133">
              <a:extLst>
                <a:ext uri="{FF2B5EF4-FFF2-40B4-BE49-F238E27FC236}">
                  <a16:creationId xmlns:a16="http://schemas.microsoft.com/office/drawing/2014/main" id="{6D61E8C5-4DBC-4F10-A0ED-5DBC171D65D8}"/>
                </a:ext>
              </a:extLst>
            </p:cNvPr>
            <p:cNvSpPr>
              <a:spLocks noChangeAspect="1"/>
            </p:cNvSpPr>
            <p:nvPr/>
          </p:nvSpPr>
          <p:spPr bwMode="auto">
            <a:xfrm>
              <a:off x="5845181" y="4943509"/>
              <a:ext cx="744538" cy="657226"/>
            </a:xfrm>
            <a:custGeom>
              <a:avLst/>
              <a:gdLst/>
              <a:ahLst/>
              <a:cxnLst>
                <a:cxn ang="0">
                  <a:pos x="959" y="240"/>
                </a:cxn>
                <a:cxn ang="0">
                  <a:pos x="351" y="848"/>
                </a:cxn>
                <a:cxn ang="0">
                  <a:pos x="331" y="827"/>
                </a:cxn>
                <a:cxn ang="0">
                  <a:pos x="311" y="806"/>
                </a:cxn>
                <a:cxn ang="0">
                  <a:pos x="291" y="783"/>
                </a:cxn>
                <a:cxn ang="0">
                  <a:pos x="272" y="761"/>
                </a:cxn>
                <a:cxn ang="0">
                  <a:pos x="254" y="738"/>
                </a:cxn>
                <a:cxn ang="0">
                  <a:pos x="236" y="715"/>
                </a:cxn>
                <a:cxn ang="0">
                  <a:pos x="219" y="691"/>
                </a:cxn>
                <a:cxn ang="0">
                  <a:pos x="210" y="679"/>
                </a:cxn>
                <a:cxn ang="0">
                  <a:pos x="202" y="667"/>
                </a:cxn>
                <a:cxn ang="0">
                  <a:pos x="186" y="642"/>
                </a:cxn>
                <a:cxn ang="0">
                  <a:pos x="171" y="617"/>
                </a:cxn>
                <a:cxn ang="0">
                  <a:pos x="156" y="590"/>
                </a:cxn>
                <a:cxn ang="0">
                  <a:pos x="142" y="565"/>
                </a:cxn>
                <a:cxn ang="0">
                  <a:pos x="128" y="539"/>
                </a:cxn>
                <a:cxn ang="0">
                  <a:pos x="115" y="512"/>
                </a:cxn>
                <a:cxn ang="0">
                  <a:pos x="103" y="485"/>
                </a:cxn>
                <a:cxn ang="0">
                  <a:pos x="91" y="458"/>
                </a:cxn>
                <a:cxn ang="0">
                  <a:pos x="81" y="431"/>
                </a:cxn>
                <a:cxn ang="0">
                  <a:pos x="70" y="404"/>
                </a:cxn>
                <a:cxn ang="0">
                  <a:pos x="61" y="376"/>
                </a:cxn>
                <a:cxn ang="0">
                  <a:pos x="52" y="348"/>
                </a:cxn>
                <a:cxn ang="0">
                  <a:pos x="43" y="320"/>
                </a:cxn>
                <a:cxn ang="0">
                  <a:pos x="36" y="291"/>
                </a:cxn>
                <a:cxn ang="0">
                  <a:pos x="29" y="263"/>
                </a:cxn>
                <a:cxn ang="0">
                  <a:pos x="23" y="234"/>
                </a:cxn>
                <a:cxn ang="0">
                  <a:pos x="17" y="205"/>
                </a:cxn>
                <a:cxn ang="0">
                  <a:pos x="13" y="176"/>
                </a:cxn>
                <a:cxn ang="0">
                  <a:pos x="9" y="147"/>
                </a:cxn>
                <a:cxn ang="0">
                  <a:pos x="6" y="118"/>
                </a:cxn>
                <a:cxn ang="0">
                  <a:pos x="3" y="88"/>
                </a:cxn>
                <a:cxn ang="0">
                  <a:pos x="1" y="59"/>
                </a:cxn>
                <a:cxn ang="0">
                  <a:pos x="0" y="29"/>
                </a:cxn>
                <a:cxn ang="0">
                  <a:pos x="0" y="0"/>
                </a:cxn>
                <a:cxn ang="0">
                  <a:pos x="429" y="0"/>
                </a:cxn>
                <a:cxn ang="0">
                  <a:pos x="859" y="0"/>
                </a:cxn>
                <a:cxn ang="0">
                  <a:pos x="860" y="17"/>
                </a:cxn>
                <a:cxn ang="0">
                  <a:pos x="861" y="35"/>
                </a:cxn>
                <a:cxn ang="0">
                  <a:pos x="862" y="43"/>
                </a:cxn>
                <a:cxn ang="0">
                  <a:pos x="863" y="52"/>
                </a:cxn>
                <a:cxn ang="0">
                  <a:pos x="864" y="60"/>
                </a:cxn>
                <a:cxn ang="0">
                  <a:pos x="866" y="68"/>
                </a:cxn>
                <a:cxn ang="0">
                  <a:pos x="870" y="85"/>
                </a:cxn>
                <a:cxn ang="0">
                  <a:pos x="874" y="101"/>
                </a:cxn>
                <a:cxn ang="0">
                  <a:pos x="880" y="117"/>
                </a:cxn>
                <a:cxn ang="0">
                  <a:pos x="886" y="132"/>
                </a:cxn>
                <a:cxn ang="0">
                  <a:pos x="893" y="147"/>
                </a:cxn>
                <a:cxn ang="0">
                  <a:pos x="900" y="162"/>
                </a:cxn>
                <a:cxn ang="0">
                  <a:pos x="908" y="176"/>
                </a:cxn>
                <a:cxn ang="0">
                  <a:pos x="917" y="190"/>
                </a:cxn>
                <a:cxn ang="0">
                  <a:pos x="927" y="203"/>
                </a:cxn>
                <a:cxn ang="0">
                  <a:pos x="937" y="216"/>
                </a:cxn>
                <a:cxn ang="0">
                  <a:pos x="948" y="229"/>
                </a:cxn>
                <a:cxn ang="0">
                  <a:pos x="959" y="240"/>
                </a:cxn>
              </a:cxnLst>
              <a:rect l="0" t="0" r="r" b="b"/>
              <a:pathLst>
                <a:path w="959" h="848">
                  <a:moveTo>
                    <a:pt x="959" y="240"/>
                  </a:moveTo>
                  <a:lnTo>
                    <a:pt x="351" y="848"/>
                  </a:lnTo>
                  <a:lnTo>
                    <a:pt x="331" y="827"/>
                  </a:lnTo>
                  <a:lnTo>
                    <a:pt x="311" y="806"/>
                  </a:lnTo>
                  <a:lnTo>
                    <a:pt x="291" y="783"/>
                  </a:lnTo>
                  <a:lnTo>
                    <a:pt x="272" y="761"/>
                  </a:lnTo>
                  <a:lnTo>
                    <a:pt x="254" y="738"/>
                  </a:lnTo>
                  <a:lnTo>
                    <a:pt x="236" y="715"/>
                  </a:lnTo>
                  <a:lnTo>
                    <a:pt x="219" y="691"/>
                  </a:lnTo>
                  <a:lnTo>
                    <a:pt x="210" y="679"/>
                  </a:lnTo>
                  <a:lnTo>
                    <a:pt x="202" y="667"/>
                  </a:lnTo>
                  <a:lnTo>
                    <a:pt x="186" y="642"/>
                  </a:lnTo>
                  <a:lnTo>
                    <a:pt x="171" y="617"/>
                  </a:lnTo>
                  <a:lnTo>
                    <a:pt x="156" y="590"/>
                  </a:lnTo>
                  <a:lnTo>
                    <a:pt x="142" y="565"/>
                  </a:lnTo>
                  <a:lnTo>
                    <a:pt x="128" y="539"/>
                  </a:lnTo>
                  <a:lnTo>
                    <a:pt x="115" y="512"/>
                  </a:lnTo>
                  <a:lnTo>
                    <a:pt x="103" y="485"/>
                  </a:lnTo>
                  <a:lnTo>
                    <a:pt x="91" y="458"/>
                  </a:lnTo>
                  <a:lnTo>
                    <a:pt x="81" y="431"/>
                  </a:lnTo>
                  <a:lnTo>
                    <a:pt x="70" y="404"/>
                  </a:lnTo>
                  <a:lnTo>
                    <a:pt x="61" y="376"/>
                  </a:lnTo>
                  <a:lnTo>
                    <a:pt x="52" y="348"/>
                  </a:lnTo>
                  <a:lnTo>
                    <a:pt x="43" y="320"/>
                  </a:lnTo>
                  <a:lnTo>
                    <a:pt x="36" y="291"/>
                  </a:lnTo>
                  <a:lnTo>
                    <a:pt x="29" y="263"/>
                  </a:lnTo>
                  <a:lnTo>
                    <a:pt x="23" y="234"/>
                  </a:lnTo>
                  <a:lnTo>
                    <a:pt x="17" y="205"/>
                  </a:lnTo>
                  <a:lnTo>
                    <a:pt x="13" y="176"/>
                  </a:lnTo>
                  <a:lnTo>
                    <a:pt x="9" y="147"/>
                  </a:lnTo>
                  <a:lnTo>
                    <a:pt x="6" y="118"/>
                  </a:lnTo>
                  <a:lnTo>
                    <a:pt x="3" y="88"/>
                  </a:lnTo>
                  <a:lnTo>
                    <a:pt x="1" y="59"/>
                  </a:lnTo>
                  <a:lnTo>
                    <a:pt x="0" y="29"/>
                  </a:lnTo>
                  <a:lnTo>
                    <a:pt x="0" y="0"/>
                  </a:lnTo>
                  <a:lnTo>
                    <a:pt x="429" y="0"/>
                  </a:lnTo>
                  <a:lnTo>
                    <a:pt x="859" y="0"/>
                  </a:lnTo>
                  <a:lnTo>
                    <a:pt x="860" y="17"/>
                  </a:lnTo>
                  <a:lnTo>
                    <a:pt x="861" y="35"/>
                  </a:lnTo>
                  <a:lnTo>
                    <a:pt x="862" y="43"/>
                  </a:lnTo>
                  <a:lnTo>
                    <a:pt x="863" y="52"/>
                  </a:lnTo>
                  <a:lnTo>
                    <a:pt x="864" y="60"/>
                  </a:lnTo>
                  <a:lnTo>
                    <a:pt x="866" y="68"/>
                  </a:lnTo>
                  <a:lnTo>
                    <a:pt x="870" y="85"/>
                  </a:lnTo>
                  <a:lnTo>
                    <a:pt x="874" y="101"/>
                  </a:lnTo>
                  <a:lnTo>
                    <a:pt x="880" y="117"/>
                  </a:lnTo>
                  <a:lnTo>
                    <a:pt x="886" y="132"/>
                  </a:lnTo>
                  <a:lnTo>
                    <a:pt x="893" y="147"/>
                  </a:lnTo>
                  <a:lnTo>
                    <a:pt x="900" y="162"/>
                  </a:lnTo>
                  <a:lnTo>
                    <a:pt x="908" y="176"/>
                  </a:lnTo>
                  <a:lnTo>
                    <a:pt x="917" y="190"/>
                  </a:lnTo>
                  <a:lnTo>
                    <a:pt x="927" y="203"/>
                  </a:lnTo>
                  <a:lnTo>
                    <a:pt x="937" y="216"/>
                  </a:lnTo>
                  <a:lnTo>
                    <a:pt x="948" y="229"/>
                  </a:lnTo>
                  <a:lnTo>
                    <a:pt x="959" y="24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4" name="Freeform 134">
              <a:extLst>
                <a:ext uri="{FF2B5EF4-FFF2-40B4-BE49-F238E27FC236}">
                  <a16:creationId xmlns:a16="http://schemas.microsoft.com/office/drawing/2014/main" id="{84C4919A-98BF-4FF9-A9C5-D9DF1DE0C541}"/>
                </a:ext>
              </a:extLst>
            </p:cNvPr>
            <p:cNvSpPr>
              <a:spLocks noChangeAspect="1"/>
            </p:cNvSpPr>
            <p:nvPr/>
          </p:nvSpPr>
          <p:spPr bwMode="auto">
            <a:xfrm>
              <a:off x="5845181" y="4286282"/>
              <a:ext cx="744538" cy="657226"/>
            </a:xfrm>
            <a:custGeom>
              <a:avLst/>
              <a:gdLst/>
              <a:ahLst/>
              <a:cxnLst>
                <a:cxn ang="0">
                  <a:pos x="859" y="848"/>
                </a:cxn>
                <a:cxn ang="0">
                  <a:pos x="429" y="848"/>
                </a:cxn>
                <a:cxn ang="0">
                  <a:pos x="0" y="848"/>
                </a:cxn>
                <a:cxn ang="0">
                  <a:pos x="1" y="819"/>
                </a:cxn>
                <a:cxn ang="0">
                  <a:pos x="2" y="789"/>
                </a:cxn>
                <a:cxn ang="0">
                  <a:pos x="3" y="760"/>
                </a:cxn>
                <a:cxn ang="0">
                  <a:pos x="6" y="730"/>
                </a:cxn>
                <a:cxn ang="0">
                  <a:pos x="9" y="701"/>
                </a:cxn>
                <a:cxn ang="0">
                  <a:pos x="13" y="672"/>
                </a:cxn>
                <a:cxn ang="0">
                  <a:pos x="18" y="643"/>
                </a:cxn>
                <a:cxn ang="0">
                  <a:pos x="23" y="614"/>
                </a:cxn>
                <a:cxn ang="0">
                  <a:pos x="29" y="585"/>
                </a:cxn>
                <a:cxn ang="0">
                  <a:pos x="36" y="557"/>
                </a:cxn>
                <a:cxn ang="0">
                  <a:pos x="44" y="528"/>
                </a:cxn>
                <a:cxn ang="0">
                  <a:pos x="52" y="500"/>
                </a:cxn>
                <a:cxn ang="0">
                  <a:pos x="56" y="486"/>
                </a:cxn>
                <a:cxn ang="0">
                  <a:pos x="61" y="472"/>
                </a:cxn>
                <a:cxn ang="0">
                  <a:pos x="70" y="444"/>
                </a:cxn>
                <a:cxn ang="0">
                  <a:pos x="81" y="417"/>
                </a:cxn>
                <a:cxn ang="0">
                  <a:pos x="91" y="389"/>
                </a:cxn>
                <a:cxn ang="0">
                  <a:pos x="103" y="362"/>
                </a:cxn>
                <a:cxn ang="0">
                  <a:pos x="115" y="336"/>
                </a:cxn>
                <a:cxn ang="0">
                  <a:pos x="128" y="309"/>
                </a:cxn>
                <a:cxn ang="0">
                  <a:pos x="142" y="283"/>
                </a:cxn>
                <a:cxn ang="0">
                  <a:pos x="156" y="257"/>
                </a:cxn>
                <a:cxn ang="0">
                  <a:pos x="170" y="231"/>
                </a:cxn>
                <a:cxn ang="0">
                  <a:pos x="186" y="206"/>
                </a:cxn>
                <a:cxn ang="0">
                  <a:pos x="202" y="181"/>
                </a:cxn>
                <a:cxn ang="0">
                  <a:pos x="218" y="157"/>
                </a:cxn>
                <a:cxn ang="0">
                  <a:pos x="227" y="145"/>
                </a:cxn>
                <a:cxn ang="0">
                  <a:pos x="236" y="133"/>
                </a:cxn>
                <a:cxn ang="0">
                  <a:pos x="253" y="110"/>
                </a:cxn>
                <a:cxn ang="0">
                  <a:pos x="272" y="87"/>
                </a:cxn>
                <a:cxn ang="0">
                  <a:pos x="291" y="64"/>
                </a:cxn>
                <a:cxn ang="0">
                  <a:pos x="310" y="42"/>
                </a:cxn>
                <a:cxn ang="0">
                  <a:pos x="320" y="31"/>
                </a:cxn>
                <a:cxn ang="0">
                  <a:pos x="330" y="21"/>
                </a:cxn>
                <a:cxn ang="0">
                  <a:pos x="351" y="0"/>
                </a:cxn>
                <a:cxn ang="0">
                  <a:pos x="959" y="607"/>
                </a:cxn>
                <a:cxn ang="0">
                  <a:pos x="948" y="619"/>
                </a:cxn>
                <a:cxn ang="0">
                  <a:pos x="937" y="632"/>
                </a:cxn>
                <a:cxn ang="0">
                  <a:pos x="927" y="644"/>
                </a:cxn>
                <a:cxn ang="0">
                  <a:pos x="917" y="658"/>
                </a:cxn>
                <a:cxn ang="0">
                  <a:pos x="908" y="672"/>
                </a:cxn>
                <a:cxn ang="0">
                  <a:pos x="900" y="686"/>
                </a:cxn>
                <a:cxn ang="0">
                  <a:pos x="893" y="700"/>
                </a:cxn>
                <a:cxn ang="0">
                  <a:pos x="886" y="716"/>
                </a:cxn>
                <a:cxn ang="0">
                  <a:pos x="883" y="723"/>
                </a:cxn>
                <a:cxn ang="0">
                  <a:pos x="880" y="731"/>
                </a:cxn>
                <a:cxn ang="0">
                  <a:pos x="874" y="747"/>
                </a:cxn>
                <a:cxn ang="0">
                  <a:pos x="872" y="755"/>
                </a:cxn>
                <a:cxn ang="0">
                  <a:pos x="870" y="763"/>
                </a:cxn>
                <a:cxn ang="0">
                  <a:pos x="866" y="779"/>
                </a:cxn>
                <a:cxn ang="0">
                  <a:pos x="864" y="788"/>
                </a:cxn>
                <a:cxn ang="0">
                  <a:pos x="863" y="796"/>
                </a:cxn>
                <a:cxn ang="0">
                  <a:pos x="861" y="813"/>
                </a:cxn>
                <a:cxn ang="0">
                  <a:pos x="860" y="830"/>
                </a:cxn>
                <a:cxn ang="0">
                  <a:pos x="859" y="848"/>
                </a:cxn>
              </a:cxnLst>
              <a:rect l="0" t="0" r="r" b="b"/>
              <a:pathLst>
                <a:path w="959" h="848">
                  <a:moveTo>
                    <a:pt x="859" y="848"/>
                  </a:moveTo>
                  <a:lnTo>
                    <a:pt x="429" y="848"/>
                  </a:lnTo>
                  <a:lnTo>
                    <a:pt x="0" y="848"/>
                  </a:lnTo>
                  <a:lnTo>
                    <a:pt x="1" y="819"/>
                  </a:lnTo>
                  <a:lnTo>
                    <a:pt x="2" y="789"/>
                  </a:lnTo>
                  <a:lnTo>
                    <a:pt x="3" y="760"/>
                  </a:lnTo>
                  <a:lnTo>
                    <a:pt x="6" y="730"/>
                  </a:lnTo>
                  <a:lnTo>
                    <a:pt x="9" y="701"/>
                  </a:lnTo>
                  <a:lnTo>
                    <a:pt x="13" y="672"/>
                  </a:lnTo>
                  <a:lnTo>
                    <a:pt x="18" y="643"/>
                  </a:lnTo>
                  <a:lnTo>
                    <a:pt x="23" y="614"/>
                  </a:lnTo>
                  <a:lnTo>
                    <a:pt x="29" y="585"/>
                  </a:lnTo>
                  <a:lnTo>
                    <a:pt x="36" y="557"/>
                  </a:lnTo>
                  <a:lnTo>
                    <a:pt x="44" y="528"/>
                  </a:lnTo>
                  <a:lnTo>
                    <a:pt x="52" y="500"/>
                  </a:lnTo>
                  <a:lnTo>
                    <a:pt x="56" y="486"/>
                  </a:lnTo>
                  <a:lnTo>
                    <a:pt x="61" y="472"/>
                  </a:lnTo>
                  <a:lnTo>
                    <a:pt x="70" y="444"/>
                  </a:lnTo>
                  <a:lnTo>
                    <a:pt x="81" y="417"/>
                  </a:lnTo>
                  <a:lnTo>
                    <a:pt x="91" y="389"/>
                  </a:lnTo>
                  <a:lnTo>
                    <a:pt x="103" y="362"/>
                  </a:lnTo>
                  <a:lnTo>
                    <a:pt x="115" y="336"/>
                  </a:lnTo>
                  <a:lnTo>
                    <a:pt x="128" y="309"/>
                  </a:lnTo>
                  <a:lnTo>
                    <a:pt x="142" y="283"/>
                  </a:lnTo>
                  <a:lnTo>
                    <a:pt x="156" y="257"/>
                  </a:lnTo>
                  <a:lnTo>
                    <a:pt x="170" y="231"/>
                  </a:lnTo>
                  <a:lnTo>
                    <a:pt x="186" y="206"/>
                  </a:lnTo>
                  <a:lnTo>
                    <a:pt x="202" y="181"/>
                  </a:lnTo>
                  <a:lnTo>
                    <a:pt x="218" y="157"/>
                  </a:lnTo>
                  <a:lnTo>
                    <a:pt x="227" y="145"/>
                  </a:lnTo>
                  <a:lnTo>
                    <a:pt x="236" y="133"/>
                  </a:lnTo>
                  <a:lnTo>
                    <a:pt x="253" y="110"/>
                  </a:lnTo>
                  <a:lnTo>
                    <a:pt x="272" y="87"/>
                  </a:lnTo>
                  <a:lnTo>
                    <a:pt x="291" y="64"/>
                  </a:lnTo>
                  <a:lnTo>
                    <a:pt x="310" y="42"/>
                  </a:lnTo>
                  <a:lnTo>
                    <a:pt x="320" y="31"/>
                  </a:lnTo>
                  <a:lnTo>
                    <a:pt x="330" y="21"/>
                  </a:lnTo>
                  <a:lnTo>
                    <a:pt x="351" y="0"/>
                  </a:lnTo>
                  <a:lnTo>
                    <a:pt x="959" y="607"/>
                  </a:lnTo>
                  <a:lnTo>
                    <a:pt x="948" y="619"/>
                  </a:lnTo>
                  <a:lnTo>
                    <a:pt x="937" y="632"/>
                  </a:lnTo>
                  <a:lnTo>
                    <a:pt x="927" y="644"/>
                  </a:lnTo>
                  <a:lnTo>
                    <a:pt x="917" y="658"/>
                  </a:lnTo>
                  <a:lnTo>
                    <a:pt x="908" y="672"/>
                  </a:lnTo>
                  <a:lnTo>
                    <a:pt x="900" y="686"/>
                  </a:lnTo>
                  <a:lnTo>
                    <a:pt x="893" y="700"/>
                  </a:lnTo>
                  <a:lnTo>
                    <a:pt x="886" y="716"/>
                  </a:lnTo>
                  <a:lnTo>
                    <a:pt x="883" y="723"/>
                  </a:lnTo>
                  <a:lnTo>
                    <a:pt x="880" y="731"/>
                  </a:lnTo>
                  <a:lnTo>
                    <a:pt x="874" y="747"/>
                  </a:lnTo>
                  <a:lnTo>
                    <a:pt x="872" y="755"/>
                  </a:lnTo>
                  <a:lnTo>
                    <a:pt x="870" y="763"/>
                  </a:lnTo>
                  <a:lnTo>
                    <a:pt x="866" y="779"/>
                  </a:lnTo>
                  <a:lnTo>
                    <a:pt x="864" y="788"/>
                  </a:lnTo>
                  <a:lnTo>
                    <a:pt x="863" y="796"/>
                  </a:lnTo>
                  <a:lnTo>
                    <a:pt x="861" y="813"/>
                  </a:lnTo>
                  <a:lnTo>
                    <a:pt x="860" y="830"/>
                  </a:lnTo>
                  <a:lnTo>
                    <a:pt x="859" y="848"/>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5" name="Freeform 135">
              <a:extLst>
                <a:ext uri="{FF2B5EF4-FFF2-40B4-BE49-F238E27FC236}">
                  <a16:creationId xmlns:a16="http://schemas.microsoft.com/office/drawing/2014/main" id="{2BDA17F5-8E47-424A-9D6F-0D668F3458D0}"/>
                </a:ext>
              </a:extLst>
            </p:cNvPr>
            <p:cNvSpPr>
              <a:spLocks noChangeAspect="1"/>
            </p:cNvSpPr>
            <p:nvPr/>
          </p:nvSpPr>
          <p:spPr bwMode="auto">
            <a:xfrm>
              <a:off x="6118231" y="4013232"/>
              <a:ext cx="657226" cy="742951"/>
            </a:xfrm>
            <a:custGeom>
              <a:avLst/>
              <a:gdLst/>
              <a:ahLst/>
              <a:cxnLst>
                <a:cxn ang="0">
                  <a:pos x="608" y="958"/>
                </a:cxn>
                <a:cxn ang="0">
                  <a:pos x="0" y="351"/>
                </a:cxn>
                <a:cxn ang="0">
                  <a:pos x="21" y="330"/>
                </a:cxn>
                <a:cxn ang="0">
                  <a:pos x="43" y="310"/>
                </a:cxn>
                <a:cxn ang="0">
                  <a:pos x="65" y="291"/>
                </a:cxn>
                <a:cxn ang="0">
                  <a:pos x="87" y="272"/>
                </a:cxn>
                <a:cxn ang="0">
                  <a:pos x="110" y="253"/>
                </a:cxn>
                <a:cxn ang="0">
                  <a:pos x="134" y="236"/>
                </a:cxn>
                <a:cxn ang="0">
                  <a:pos x="157" y="218"/>
                </a:cxn>
                <a:cxn ang="0">
                  <a:pos x="170" y="210"/>
                </a:cxn>
                <a:cxn ang="0">
                  <a:pos x="182" y="202"/>
                </a:cxn>
                <a:cxn ang="0">
                  <a:pos x="206" y="186"/>
                </a:cxn>
                <a:cxn ang="0">
                  <a:pos x="231" y="170"/>
                </a:cxn>
                <a:cxn ang="0">
                  <a:pos x="258" y="156"/>
                </a:cxn>
                <a:cxn ang="0">
                  <a:pos x="284" y="141"/>
                </a:cxn>
                <a:cxn ang="0">
                  <a:pos x="310" y="128"/>
                </a:cxn>
                <a:cxn ang="0">
                  <a:pos x="336" y="115"/>
                </a:cxn>
                <a:cxn ang="0">
                  <a:pos x="363" y="103"/>
                </a:cxn>
                <a:cxn ang="0">
                  <a:pos x="390" y="91"/>
                </a:cxn>
                <a:cxn ang="0">
                  <a:pos x="417" y="80"/>
                </a:cxn>
                <a:cxn ang="0">
                  <a:pos x="445" y="70"/>
                </a:cxn>
                <a:cxn ang="0">
                  <a:pos x="472" y="60"/>
                </a:cxn>
                <a:cxn ang="0">
                  <a:pos x="500" y="51"/>
                </a:cxn>
                <a:cxn ang="0">
                  <a:pos x="529" y="43"/>
                </a:cxn>
                <a:cxn ang="0">
                  <a:pos x="557" y="35"/>
                </a:cxn>
                <a:cxn ang="0">
                  <a:pos x="586" y="29"/>
                </a:cxn>
                <a:cxn ang="0">
                  <a:pos x="614" y="23"/>
                </a:cxn>
                <a:cxn ang="0">
                  <a:pos x="643" y="17"/>
                </a:cxn>
                <a:cxn ang="0">
                  <a:pos x="672" y="12"/>
                </a:cxn>
                <a:cxn ang="0">
                  <a:pos x="701" y="8"/>
                </a:cxn>
                <a:cxn ang="0">
                  <a:pos x="731" y="5"/>
                </a:cxn>
                <a:cxn ang="0">
                  <a:pos x="760" y="3"/>
                </a:cxn>
                <a:cxn ang="0">
                  <a:pos x="789" y="1"/>
                </a:cxn>
                <a:cxn ang="0">
                  <a:pos x="819" y="0"/>
                </a:cxn>
                <a:cxn ang="0">
                  <a:pos x="848" y="0"/>
                </a:cxn>
                <a:cxn ang="0">
                  <a:pos x="848" y="429"/>
                </a:cxn>
                <a:cxn ang="0">
                  <a:pos x="848" y="859"/>
                </a:cxn>
                <a:cxn ang="0">
                  <a:pos x="831" y="859"/>
                </a:cxn>
                <a:cxn ang="0">
                  <a:pos x="814" y="861"/>
                </a:cxn>
                <a:cxn ang="0">
                  <a:pos x="805" y="861"/>
                </a:cxn>
                <a:cxn ang="0">
                  <a:pos x="797" y="863"/>
                </a:cxn>
                <a:cxn ang="0">
                  <a:pos x="788" y="864"/>
                </a:cxn>
                <a:cxn ang="0">
                  <a:pos x="780" y="866"/>
                </a:cxn>
                <a:cxn ang="0">
                  <a:pos x="763" y="869"/>
                </a:cxn>
                <a:cxn ang="0">
                  <a:pos x="747" y="874"/>
                </a:cxn>
                <a:cxn ang="0">
                  <a:pos x="731" y="879"/>
                </a:cxn>
                <a:cxn ang="0">
                  <a:pos x="716" y="885"/>
                </a:cxn>
                <a:cxn ang="0">
                  <a:pos x="701" y="892"/>
                </a:cxn>
                <a:cxn ang="0">
                  <a:pos x="686" y="900"/>
                </a:cxn>
                <a:cxn ang="0">
                  <a:pos x="672" y="908"/>
                </a:cxn>
                <a:cxn ang="0">
                  <a:pos x="658" y="917"/>
                </a:cxn>
                <a:cxn ang="0">
                  <a:pos x="645" y="926"/>
                </a:cxn>
                <a:cxn ang="0">
                  <a:pos x="632" y="936"/>
                </a:cxn>
                <a:cxn ang="0">
                  <a:pos x="620" y="947"/>
                </a:cxn>
                <a:cxn ang="0">
                  <a:pos x="608" y="958"/>
                </a:cxn>
              </a:cxnLst>
              <a:rect l="0" t="0" r="r" b="b"/>
              <a:pathLst>
                <a:path w="848" h="958">
                  <a:moveTo>
                    <a:pt x="608" y="958"/>
                  </a:moveTo>
                  <a:lnTo>
                    <a:pt x="0" y="351"/>
                  </a:lnTo>
                  <a:lnTo>
                    <a:pt x="21" y="330"/>
                  </a:lnTo>
                  <a:lnTo>
                    <a:pt x="43" y="310"/>
                  </a:lnTo>
                  <a:lnTo>
                    <a:pt x="65" y="291"/>
                  </a:lnTo>
                  <a:lnTo>
                    <a:pt x="87" y="272"/>
                  </a:lnTo>
                  <a:lnTo>
                    <a:pt x="110" y="253"/>
                  </a:lnTo>
                  <a:lnTo>
                    <a:pt x="134" y="236"/>
                  </a:lnTo>
                  <a:lnTo>
                    <a:pt x="157" y="218"/>
                  </a:lnTo>
                  <a:lnTo>
                    <a:pt x="170" y="210"/>
                  </a:lnTo>
                  <a:lnTo>
                    <a:pt x="182" y="202"/>
                  </a:lnTo>
                  <a:lnTo>
                    <a:pt x="206" y="186"/>
                  </a:lnTo>
                  <a:lnTo>
                    <a:pt x="231" y="170"/>
                  </a:lnTo>
                  <a:lnTo>
                    <a:pt x="258" y="156"/>
                  </a:lnTo>
                  <a:lnTo>
                    <a:pt x="284" y="141"/>
                  </a:lnTo>
                  <a:lnTo>
                    <a:pt x="310" y="128"/>
                  </a:lnTo>
                  <a:lnTo>
                    <a:pt x="336" y="115"/>
                  </a:lnTo>
                  <a:lnTo>
                    <a:pt x="363" y="103"/>
                  </a:lnTo>
                  <a:lnTo>
                    <a:pt x="390" y="91"/>
                  </a:lnTo>
                  <a:lnTo>
                    <a:pt x="417" y="80"/>
                  </a:lnTo>
                  <a:lnTo>
                    <a:pt x="445" y="70"/>
                  </a:lnTo>
                  <a:lnTo>
                    <a:pt x="472" y="60"/>
                  </a:lnTo>
                  <a:lnTo>
                    <a:pt x="500" y="51"/>
                  </a:lnTo>
                  <a:lnTo>
                    <a:pt x="529" y="43"/>
                  </a:lnTo>
                  <a:lnTo>
                    <a:pt x="557" y="35"/>
                  </a:lnTo>
                  <a:lnTo>
                    <a:pt x="586" y="29"/>
                  </a:lnTo>
                  <a:lnTo>
                    <a:pt x="614" y="23"/>
                  </a:lnTo>
                  <a:lnTo>
                    <a:pt x="643" y="17"/>
                  </a:lnTo>
                  <a:lnTo>
                    <a:pt x="672" y="12"/>
                  </a:lnTo>
                  <a:lnTo>
                    <a:pt x="701" y="8"/>
                  </a:lnTo>
                  <a:lnTo>
                    <a:pt x="731" y="5"/>
                  </a:lnTo>
                  <a:lnTo>
                    <a:pt x="760" y="3"/>
                  </a:lnTo>
                  <a:lnTo>
                    <a:pt x="789" y="1"/>
                  </a:lnTo>
                  <a:lnTo>
                    <a:pt x="819" y="0"/>
                  </a:lnTo>
                  <a:lnTo>
                    <a:pt x="848" y="0"/>
                  </a:lnTo>
                  <a:lnTo>
                    <a:pt x="848" y="429"/>
                  </a:lnTo>
                  <a:lnTo>
                    <a:pt x="848" y="859"/>
                  </a:lnTo>
                  <a:lnTo>
                    <a:pt x="831" y="859"/>
                  </a:lnTo>
                  <a:lnTo>
                    <a:pt x="814" y="861"/>
                  </a:lnTo>
                  <a:lnTo>
                    <a:pt x="805" y="861"/>
                  </a:lnTo>
                  <a:lnTo>
                    <a:pt x="797" y="863"/>
                  </a:lnTo>
                  <a:lnTo>
                    <a:pt x="788" y="864"/>
                  </a:lnTo>
                  <a:lnTo>
                    <a:pt x="780" y="866"/>
                  </a:lnTo>
                  <a:lnTo>
                    <a:pt x="763" y="869"/>
                  </a:lnTo>
                  <a:lnTo>
                    <a:pt x="747" y="874"/>
                  </a:lnTo>
                  <a:lnTo>
                    <a:pt x="731" y="879"/>
                  </a:lnTo>
                  <a:lnTo>
                    <a:pt x="716" y="885"/>
                  </a:lnTo>
                  <a:lnTo>
                    <a:pt x="701" y="892"/>
                  </a:lnTo>
                  <a:lnTo>
                    <a:pt x="686" y="900"/>
                  </a:lnTo>
                  <a:lnTo>
                    <a:pt x="672" y="908"/>
                  </a:lnTo>
                  <a:lnTo>
                    <a:pt x="658" y="917"/>
                  </a:lnTo>
                  <a:lnTo>
                    <a:pt x="645" y="926"/>
                  </a:lnTo>
                  <a:lnTo>
                    <a:pt x="632" y="936"/>
                  </a:lnTo>
                  <a:lnTo>
                    <a:pt x="620" y="947"/>
                  </a:lnTo>
                  <a:lnTo>
                    <a:pt x="608" y="958"/>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6" name="Text Box 136">
              <a:extLst>
                <a:ext uri="{FF2B5EF4-FFF2-40B4-BE49-F238E27FC236}">
                  <a16:creationId xmlns:a16="http://schemas.microsoft.com/office/drawing/2014/main" id="{97B0F497-E3D4-4A88-AF98-F3CB648D6EC1}"/>
                </a:ext>
              </a:extLst>
            </p:cNvPr>
            <p:cNvSpPr txBox="1">
              <a:spLocks noChangeArrowheads="1"/>
            </p:cNvSpPr>
            <p:nvPr/>
          </p:nvSpPr>
          <p:spPr bwMode="auto">
            <a:xfrm>
              <a:off x="6767519" y="5364197"/>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37" name="Text Box 137">
              <a:extLst>
                <a:ext uri="{FF2B5EF4-FFF2-40B4-BE49-F238E27FC236}">
                  <a16:creationId xmlns:a16="http://schemas.microsoft.com/office/drawing/2014/main" id="{499E9CE9-632E-4610-8B4D-75A2102F0CF6}"/>
                </a:ext>
              </a:extLst>
            </p:cNvPr>
            <p:cNvSpPr txBox="1">
              <a:spLocks noChangeArrowheads="1"/>
            </p:cNvSpPr>
            <p:nvPr/>
          </p:nvSpPr>
          <p:spPr bwMode="auto">
            <a:xfrm>
              <a:off x="6356357" y="5364197"/>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38" name="Text Box 138">
              <a:extLst>
                <a:ext uri="{FF2B5EF4-FFF2-40B4-BE49-F238E27FC236}">
                  <a16:creationId xmlns:a16="http://schemas.microsoft.com/office/drawing/2014/main" id="{6CA109A2-2ADF-428F-9ED7-5AC7CB1D4EE3}"/>
                </a:ext>
              </a:extLst>
            </p:cNvPr>
            <p:cNvSpPr txBox="1">
              <a:spLocks noChangeArrowheads="1"/>
            </p:cNvSpPr>
            <p:nvPr/>
          </p:nvSpPr>
          <p:spPr bwMode="auto">
            <a:xfrm>
              <a:off x="7127882" y="4946684"/>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39" name="Text Box 139">
              <a:extLst>
                <a:ext uri="{FF2B5EF4-FFF2-40B4-BE49-F238E27FC236}">
                  <a16:creationId xmlns:a16="http://schemas.microsoft.com/office/drawing/2014/main" id="{8F182814-8F00-400E-A8D7-B4B8FED4C467}"/>
                </a:ext>
              </a:extLst>
            </p:cNvPr>
            <p:cNvSpPr txBox="1">
              <a:spLocks noChangeArrowheads="1"/>
            </p:cNvSpPr>
            <p:nvPr/>
          </p:nvSpPr>
          <p:spPr bwMode="auto">
            <a:xfrm>
              <a:off x="7127882" y="4691096"/>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40" name="Text Box 140">
              <a:extLst>
                <a:ext uri="{FF2B5EF4-FFF2-40B4-BE49-F238E27FC236}">
                  <a16:creationId xmlns:a16="http://schemas.microsoft.com/office/drawing/2014/main" id="{D8F9BA0F-51FF-4E23-AA71-D7D423625D6B}"/>
                </a:ext>
              </a:extLst>
            </p:cNvPr>
            <p:cNvSpPr txBox="1">
              <a:spLocks noChangeArrowheads="1"/>
            </p:cNvSpPr>
            <p:nvPr/>
          </p:nvSpPr>
          <p:spPr bwMode="auto">
            <a:xfrm>
              <a:off x="5997581" y="4946684"/>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41" name="Text Box 141">
              <a:extLst>
                <a:ext uri="{FF2B5EF4-FFF2-40B4-BE49-F238E27FC236}">
                  <a16:creationId xmlns:a16="http://schemas.microsoft.com/office/drawing/2014/main" id="{94844C38-5FFA-4313-8249-FFE48F10B730}"/>
                </a:ext>
              </a:extLst>
            </p:cNvPr>
            <p:cNvSpPr txBox="1">
              <a:spLocks noChangeArrowheads="1"/>
            </p:cNvSpPr>
            <p:nvPr/>
          </p:nvSpPr>
          <p:spPr bwMode="auto">
            <a:xfrm>
              <a:off x="6767519" y="4256120"/>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42" name="Text Box 142">
              <a:extLst>
                <a:ext uri="{FF2B5EF4-FFF2-40B4-BE49-F238E27FC236}">
                  <a16:creationId xmlns:a16="http://schemas.microsoft.com/office/drawing/2014/main" id="{94001D75-80B2-4A1D-9624-F8BB825FB9E4}"/>
                </a:ext>
              </a:extLst>
            </p:cNvPr>
            <p:cNvSpPr txBox="1">
              <a:spLocks noChangeArrowheads="1"/>
            </p:cNvSpPr>
            <p:nvPr/>
          </p:nvSpPr>
          <p:spPr bwMode="auto">
            <a:xfrm>
              <a:off x="5997581" y="4691096"/>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43" name="Text Box 143">
              <a:extLst>
                <a:ext uri="{FF2B5EF4-FFF2-40B4-BE49-F238E27FC236}">
                  <a16:creationId xmlns:a16="http://schemas.microsoft.com/office/drawing/2014/main" id="{3D5811A1-03FB-4451-B52B-08E679A71E72}"/>
                </a:ext>
              </a:extLst>
            </p:cNvPr>
            <p:cNvSpPr txBox="1">
              <a:spLocks noChangeArrowheads="1"/>
            </p:cNvSpPr>
            <p:nvPr/>
          </p:nvSpPr>
          <p:spPr bwMode="auto">
            <a:xfrm>
              <a:off x="6356357" y="4256120"/>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grpSp>
      <p:sp>
        <p:nvSpPr>
          <p:cNvPr id="4" name="Footer Placeholder 3">
            <a:extLst>
              <a:ext uri="{FF2B5EF4-FFF2-40B4-BE49-F238E27FC236}">
                <a16:creationId xmlns:a16="http://schemas.microsoft.com/office/drawing/2014/main" id="{DE4029A0-BA30-4943-B2EA-E27A7A40F7B5}"/>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E5E41E59-8725-4449-B84A-175DC631A1F5}"/>
              </a:ext>
            </a:extLst>
          </p:cNvPr>
          <p:cNvSpPr>
            <a:spLocks noGrp="1"/>
          </p:cNvSpPr>
          <p:nvPr>
            <p:ph type="sldNum" sz="quarter" idx="10"/>
          </p:nvPr>
        </p:nvSpPr>
        <p:spPr/>
        <p:txBody>
          <a:bodyPr/>
          <a:lstStyle/>
          <a:p>
            <a:fld id="{1F90F471-3972-4120-B8B3-0237DE626C35}" type="slidenum">
              <a:rPr lang="en-US" smtClean="0"/>
              <a:pPr/>
              <a:t>281</a:t>
            </a:fld>
            <a:endParaRPr lang="en-US" dirty="0"/>
          </a:p>
        </p:txBody>
      </p:sp>
    </p:spTree>
    <p:extLst>
      <p:ext uri="{BB962C8B-B14F-4D97-AF65-F5344CB8AC3E}">
        <p14:creationId xmlns:p14="http://schemas.microsoft.com/office/powerpoint/2010/main" val="2595813670"/>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en-US" dirty="0"/>
              <a:t>Circular Segments 3 – Separated</a:t>
            </a:r>
          </a:p>
        </p:txBody>
      </p:sp>
      <p:grpSp>
        <p:nvGrpSpPr>
          <p:cNvPr id="21" name="Group 20" descr="Sements insert description here">
            <a:extLst>
              <a:ext uri="{FF2B5EF4-FFF2-40B4-BE49-F238E27FC236}">
                <a16:creationId xmlns:a16="http://schemas.microsoft.com/office/drawing/2014/main" id="{78C121A6-DBEA-44D8-92CD-DF6A4DEC90EB}"/>
              </a:ext>
            </a:extLst>
          </p:cNvPr>
          <p:cNvGrpSpPr/>
          <p:nvPr/>
        </p:nvGrpSpPr>
        <p:grpSpPr>
          <a:xfrm>
            <a:off x="3631976" y="1324750"/>
            <a:ext cx="4930671" cy="4860000"/>
            <a:chOff x="3631976" y="1324750"/>
            <a:chExt cx="4930671" cy="4860000"/>
          </a:xfrm>
        </p:grpSpPr>
        <p:sp>
          <p:nvSpPr>
            <p:cNvPr id="5" name="Freeform 6">
              <a:extLst>
                <a:ext uri="{FF2B5EF4-FFF2-40B4-BE49-F238E27FC236}">
                  <a16:creationId xmlns:a16="http://schemas.microsoft.com/office/drawing/2014/main" id="{22685818-09B2-4F28-80D8-93CEED512F2D}"/>
                </a:ext>
              </a:extLst>
            </p:cNvPr>
            <p:cNvSpPr>
              <a:spLocks/>
            </p:cNvSpPr>
            <p:nvPr/>
          </p:nvSpPr>
          <p:spPr bwMode="auto">
            <a:xfrm>
              <a:off x="5277345" y="4910858"/>
              <a:ext cx="1641745" cy="1273892"/>
            </a:xfrm>
            <a:custGeom>
              <a:avLst/>
              <a:gdLst>
                <a:gd name="T0" fmla="*/ 220 w 443"/>
                <a:gd name="T1" fmla="*/ 21 h 344"/>
                <a:gd name="T2" fmla="*/ 105 w 443"/>
                <a:gd name="T3" fmla="*/ 1 h 344"/>
                <a:gd name="T4" fmla="*/ 0 w 443"/>
                <a:gd name="T5" fmla="*/ 290 h 344"/>
                <a:gd name="T6" fmla="*/ 443 w 443"/>
                <a:gd name="T7" fmla="*/ 290 h 344"/>
                <a:gd name="T8" fmla="*/ 338 w 443"/>
                <a:gd name="T9" fmla="*/ 0 h 344"/>
                <a:gd name="T10" fmla="*/ 220 w 443"/>
                <a:gd name="T11" fmla="*/ 21 h 344"/>
              </a:gdLst>
              <a:ahLst/>
              <a:cxnLst>
                <a:cxn ang="0">
                  <a:pos x="T0" y="T1"/>
                </a:cxn>
                <a:cxn ang="0">
                  <a:pos x="T2" y="T3"/>
                </a:cxn>
                <a:cxn ang="0">
                  <a:pos x="T4" y="T5"/>
                </a:cxn>
                <a:cxn ang="0">
                  <a:pos x="T6" y="T7"/>
                </a:cxn>
                <a:cxn ang="0">
                  <a:pos x="T8" y="T9"/>
                </a:cxn>
                <a:cxn ang="0">
                  <a:pos x="T10" y="T11"/>
                </a:cxn>
              </a:cxnLst>
              <a:rect l="0" t="0" r="r" b="b"/>
              <a:pathLst>
                <a:path w="443" h="344">
                  <a:moveTo>
                    <a:pt x="220" y="21"/>
                  </a:moveTo>
                  <a:cubicBezTo>
                    <a:pt x="179" y="21"/>
                    <a:pt x="141" y="14"/>
                    <a:pt x="105" y="1"/>
                  </a:cubicBezTo>
                  <a:cubicBezTo>
                    <a:pt x="0" y="290"/>
                    <a:pt x="0" y="290"/>
                    <a:pt x="0" y="290"/>
                  </a:cubicBezTo>
                  <a:cubicBezTo>
                    <a:pt x="149" y="344"/>
                    <a:pt x="294" y="344"/>
                    <a:pt x="443" y="290"/>
                  </a:cubicBezTo>
                  <a:cubicBezTo>
                    <a:pt x="338" y="0"/>
                    <a:pt x="338" y="0"/>
                    <a:pt x="338" y="0"/>
                  </a:cubicBezTo>
                  <a:cubicBezTo>
                    <a:pt x="301" y="14"/>
                    <a:pt x="261" y="21"/>
                    <a:pt x="220" y="21"/>
                  </a:cubicBezTo>
                  <a:close/>
                </a:path>
              </a:pathLst>
            </a:custGeom>
            <a:solidFill>
              <a:schemeClr val="accent3"/>
            </a:solidFill>
            <a:ln w="1270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10">
              <a:extLst>
                <a:ext uri="{FF2B5EF4-FFF2-40B4-BE49-F238E27FC236}">
                  <a16:creationId xmlns:a16="http://schemas.microsoft.com/office/drawing/2014/main" id="{DB12C494-392E-4397-9013-B025DCB52291}"/>
                </a:ext>
                <a:ext uri="{C183D7F6-B498-43B3-948B-1728B52AA6E4}">
                  <adec:decorative xmlns:adec="http://schemas.microsoft.com/office/drawing/2017/decorative" val="1"/>
                </a:ext>
              </a:extLst>
            </p:cNvPr>
            <p:cNvSpPr>
              <a:spLocks/>
            </p:cNvSpPr>
            <p:nvPr/>
          </p:nvSpPr>
          <p:spPr bwMode="auto">
            <a:xfrm>
              <a:off x="6100030" y="1324750"/>
              <a:ext cx="1540269" cy="1449664"/>
            </a:xfrm>
            <a:custGeom>
              <a:avLst/>
              <a:gdLst>
                <a:gd name="T0" fmla="*/ 215 w 416"/>
                <a:gd name="T1" fmla="*/ 391 h 391"/>
                <a:gd name="T2" fmla="*/ 416 w 416"/>
                <a:gd name="T3" fmla="*/ 151 h 391"/>
                <a:gd name="T4" fmla="*/ 0 w 416"/>
                <a:gd name="T5" fmla="*/ 0 h 391"/>
                <a:gd name="T6" fmla="*/ 0 w 416"/>
                <a:gd name="T7" fmla="*/ 312 h 391"/>
                <a:gd name="T8" fmla="*/ 215 w 416"/>
                <a:gd name="T9" fmla="*/ 391 h 391"/>
              </a:gdLst>
              <a:ahLst/>
              <a:cxnLst>
                <a:cxn ang="0">
                  <a:pos x="T0" y="T1"/>
                </a:cxn>
                <a:cxn ang="0">
                  <a:pos x="T2" y="T3"/>
                </a:cxn>
                <a:cxn ang="0">
                  <a:pos x="T4" y="T5"/>
                </a:cxn>
                <a:cxn ang="0">
                  <a:pos x="T6" y="T7"/>
                </a:cxn>
                <a:cxn ang="0">
                  <a:pos x="T8" y="T9"/>
                </a:cxn>
              </a:cxnLst>
              <a:rect l="0" t="0" r="r" b="b"/>
              <a:pathLst>
                <a:path w="416" h="391">
                  <a:moveTo>
                    <a:pt x="215" y="391"/>
                  </a:moveTo>
                  <a:cubicBezTo>
                    <a:pt x="416" y="151"/>
                    <a:pt x="416" y="151"/>
                    <a:pt x="416" y="151"/>
                  </a:cubicBezTo>
                  <a:cubicBezTo>
                    <a:pt x="295" y="49"/>
                    <a:pt x="159" y="0"/>
                    <a:pt x="0" y="0"/>
                  </a:cubicBezTo>
                  <a:cubicBezTo>
                    <a:pt x="0" y="312"/>
                    <a:pt x="0" y="312"/>
                    <a:pt x="0" y="312"/>
                  </a:cubicBezTo>
                  <a:cubicBezTo>
                    <a:pt x="82" y="312"/>
                    <a:pt x="157" y="342"/>
                    <a:pt x="215" y="391"/>
                  </a:cubicBezTo>
                  <a:close/>
                </a:path>
              </a:pathLst>
            </a:custGeom>
            <a:solidFill>
              <a:schemeClr val="accent1"/>
            </a:solidFill>
            <a:ln w="1016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 name="Text Box 34">
              <a:extLst>
                <a:ext uri="{FF2B5EF4-FFF2-40B4-BE49-F238E27FC236}">
                  <a16:creationId xmlns:a16="http://schemas.microsoft.com/office/drawing/2014/main" id="{69B3E992-E253-48EC-A7E4-1F4A432CB0FC}"/>
                </a:ext>
              </a:extLst>
            </p:cNvPr>
            <p:cNvSpPr txBox="1">
              <a:spLocks noChangeArrowheads="1"/>
            </p:cNvSpPr>
            <p:nvPr/>
          </p:nvSpPr>
          <p:spPr bwMode="auto">
            <a:xfrm>
              <a:off x="6346708" y="1836397"/>
              <a:ext cx="686437" cy="426370"/>
            </a:xfrm>
            <a:prstGeom prst="rect">
              <a:avLst/>
            </a:prstGeom>
            <a:noFill/>
            <a:ln w="6350">
              <a:noFill/>
              <a:miter lim="800000"/>
              <a:headEnd/>
              <a:tailEnd/>
            </a:ln>
            <a:effectLst/>
          </p:spPr>
          <p:txBody>
            <a:bodyPr lIns="45720" rIns="45720" anchor="ctr" anchorCtr="1"/>
            <a:lstStyle/>
            <a:p>
              <a:pPr eaLnBrk="0" hangingPunct="0">
                <a:spcBef>
                  <a:spcPct val="0"/>
                </a:spcBef>
              </a:pPr>
              <a:r>
                <a:rPr lang="en-US" b="1" dirty="0">
                  <a:solidFill>
                    <a:schemeClr val="bg1"/>
                  </a:solidFill>
                </a:rPr>
                <a:t>Text</a:t>
              </a:r>
            </a:p>
          </p:txBody>
        </p:sp>
        <p:sp>
          <p:nvSpPr>
            <p:cNvPr id="8" name="Freeform 9">
              <a:extLst>
                <a:ext uri="{FF2B5EF4-FFF2-40B4-BE49-F238E27FC236}">
                  <a16:creationId xmlns:a16="http://schemas.microsoft.com/office/drawing/2014/main" id="{366B66DE-C710-4AA9-AEA8-387355A2ACC6}"/>
                </a:ext>
                <a:ext uri="{C183D7F6-B498-43B3-948B-1728B52AA6E4}">
                  <adec:decorative xmlns:adec="http://schemas.microsoft.com/office/drawing/2017/decorative" val="1"/>
                </a:ext>
              </a:extLst>
            </p:cNvPr>
            <p:cNvSpPr>
              <a:spLocks/>
            </p:cNvSpPr>
            <p:nvPr/>
          </p:nvSpPr>
          <p:spPr bwMode="auto">
            <a:xfrm>
              <a:off x="6895533" y="1884683"/>
              <a:ext cx="1567450" cy="1623625"/>
            </a:xfrm>
            <a:custGeom>
              <a:avLst/>
              <a:gdLst>
                <a:gd name="T0" fmla="*/ 115 w 423"/>
                <a:gd name="T1" fmla="*/ 438 h 438"/>
                <a:gd name="T2" fmla="*/ 423 w 423"/>
                <a:gd name="T3" fmla="*/ 384 h 438"/>
                <a:gd name="T4" fmla="*/ 201 w 423"/>
                <a:gd name="T5" fmla="*/ 0 h 438"/>
                <a:gd name="T6" fmla="*/ 0 w 423"/>
                <a:gd name="T7" fmla="*/ 240 h 438"/>
                <a:gd name="T8" fmla="*/ 115 w 423"/>
                <a:gd name="T9" fmla="*/ 438 h 438"/>
              </a:gdLst>
              <a:ahLst/>
              <a:cxnLst>
                <a:cxn ang="0">
                  <a:pos x="T0" y="T1"/>
                </a:cxn>
                <a:cxn ang="0">
                  <a:pos x="T2" y="T3"/>
                </a:cxn>
                <a:cxn ang="0">
                  <a:pos x="T4" y="T5"/>
                </a:cxn>
                <a:cxn ang="0">
                  <a:pos x="T6" y="T7"/>
                </a:cxn>
                <a:cxn ang="0">
                  <a:pos x="T8" y="T9"/>
                </a:cxn>
              </a:cxnLst>
              <a:rect l="0" t="0" r="r" b="b"/>
              <a:pathLst>
                <a:path w="423" h="438">
                  <a:moveTo>
                    <a:pt x="115" y="438"/>
                  </a:moveTo>
                  <a:cubicBezTo>
                    <a:pt x="423" y="384"/>
                    <a:pt x="423" y="384"/>
                    <a:pt x="423" y="384"/>
                  </a:cubicBezTo>
                  <a:cubicBezTo>
                    <a:pt x="395" y="228"/>
                    <a:pt x="323" y="103"/>
                    <a:pt x="201" y="0"/>
                  </a:cubicBezTo>
                  <a:cubicBezTo>
                    <a:pt x="0" y="240"/>
                    <a:pt x="0" y="240"/>
                    <a:pt x="0" y="240"/>
                  </a:cubicBezTo>
                  <a:cubicBezTo>
                    <a:pt x="59" y="290"/>
                    <a:pt x="101" y="359"/>
                    <a:pt x="115" y="438"/>
                  </a:cubicBezTo>
                  <a:close/>
                </a:path>
              </a:pathLst>
            </a:custGeom>
            <a:solidFill>
              <a:schemeClr val="accent1"/>
            </a:solidFill>
            <a:ln w="1016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 name="Text Box 35">
              <a:extLst>
                <a:ext uri="{FF2B5EF4-FFF2-40B4-BE49-F238E27FC236}">
                  <a16:creationId xmlns:a16="http://schemas.microsoft.com/office/drawing/2014/main" id="{06AA2209-C833-4479-9849-9E659CA6CE44}"/>
                </a:ext>
              </a:extLst>
            </p:cNvPr>
            <p:cNvSpPr txBox="1">
              <a:spLocks noChangeArrowheads="1"/>
            </p:cNvSpPr>
            <p:nvPr/>
          </p:nvSpPr>
          <p:spPr bwMode="auto">
            <a:xfrm>
              <a:off x="7336040" y="2649988"/>
              <a:ext cx="686437" cy="424600"/>
            </a:xfrm>
            <a:prstGeom prst="rect">
              <a:avLst/>
            </a:prstGeom>
            <a:noFill/>
            <a:ln w="6350">
              <a:noFill/>
              <a:miter lim="800000"/>
              <a:headEnd/>
              <a:tailEnd/>
            </a:ln>
            <a:effectLst/>
          </p:spPr>
          <p:txBody>
            <a:bodyPr lIns="45720" rIns="45720" anchor="ctr" anchorCtr="1"/>
            <a:lstStyle/>
            <a:p>
              <a:pPr eaLnBrk="0" hangingPunct="0">
                <a:spcBef>
                  <a:spcPct val="0"/>
                </a:spcBef>
              </a:pPr>
              <a:r>
                <a:rPr lang="en-US" b="1" dirty="0">
                  <a:solidFill>
                    <a:schemeClr val="bg1"/>
                  </a:solidFill>
                </a:rPr>
                <a:t>Text</a:t>
              </a:r>
            </a:p>
          </p:txBody>
        </p:sp>
        <p:sp>
          <p:nvSpPr>
            <p:cNvPr id="7" name="Freeform 8">
              <a:extLst>
                <a:ext uri="{FF2B5EF4-FFF2-40B4-BE49-F238E27FC236}">
                  <a16:creationId xmlns:a16="http://schemas.microsoft.com/office/drawing/2014/main" id="{589860AB-0E12-4E6C-B601-587096E92EA1}"/>
                </a:ext>
                <a:ext uri="{C183D7F6-B498-43B3-948B-1728B52AA6E4}">
                  <adec:decorative xmlns:adec="http://schemas.microsoft.com/office/drawing/2017/decorative" val="1"/>
                </a:ext>
              </a:extLst>
            </p:cNvPr>
            <p:cNvSpPr>
              <a:spLocks/>
            </p:cNvSpPr>
            <p:nvPr/>
          </p:nvSpPr>
          <p:spPr bwMode="auto">
            <a:xfrm>
              <a:off x="7181842" y="3308978"/>
              <a:ext cx="1380805" cy="1620000"/>
            </a:xfrm>
            <a:custGeom>
              <a:avLst/>
              <a:gdLst>
                <a:gd name="T0" fmla="*/ 346 w 373"/>
                <a:gd name="T1" fmla="*/ 0 h 437"/>
                <a:gd name="T2" fmla="*/ 38 w 373"/>
                <a:gd name="T3" fmla="*/ 54 h 437"/>
                <a:gd name="T4" fmla="*/ 44 w 373"/>
                <a:gd name="T5" fmla="*/ 115 h 437"/>
                <a:gd name="T6" fmla="*/ 0 w 373"/>
                <a:gd name="T7" fmla="*/ 282 h 437"/>
                <a:gd name="T8" fmla="*/ 269 w 373"/>
                <a:gd name="T9" fmla="*/ 437 h 437"/>
                <a:gd name="T10" fmla="*/ 346 w 373"/>
                <a:gd name="T11" fmla="*/ 0 h 437"/>
              </a:gdLst>
              <a:ahLst/>
              <a:cxnLst>
                <a:cxn ang="0">
                  <a:pos x="T0" y="T1"/>
                </a:cxn>
                <a:cxn ang="0">
                  <a:pos x="T2" y="T3"/>
                </a:cxn>
                <a:cxn ang="0">
                  <a:pos x="T4" y="T5"/>
                </a:cxn>
                <a:cxn ang="0">
                  <a:pos x="T6" y="T7"/>
                </a:cxn>
                <a:cxn ang="0">
                  <a:pos x="T8" y="T9"/>
                </a:cxn>
                <a:cxn ang="0">
                  <a:pos x="T10" y="T11"/>
                </a:cxn>
              </a:cxnLst>
              <a:rect l="0" t="0" r="r" b="b"/>
              <a:pathLst>
                <a:path w="373" h="437">
                  <a:moveTo>
                    <a:pt x="346" y="0"/>
                  </a:moveTo>
                  <a:cubicBezTo>
                    <a:pt x="38" y="54"/>
                    <a:pt x="38" y="54"/>
                    <a:pt x="38" y="54"/>
                  </a:cubicBezTo>
                  <a:cubicBezTo>
                    <a:pt x="42" y="74"/>
                    <a:pt x="44" y="94"/>
                    <a:pt x="44" y="115"/>
                  </a:cubicBezTo>
                  <a:cubicBezTo>
                    <a:pt x="44" y="175"/>
                    <a:pt x="28" y="232"/>
                    <a:pt x="0" y="282"/>
                  </a:cubicBezTo>
                  <a:cubicBezTo>
                    <a:pt x="269" y="437"/>
                    <a:pt x="269" y="437"/>
                    <a:pt x="269" y="437"/>
                  </a:cubicBezTo>
                  <a:cubicBezTo>
                    <a:pt x="348" y="299"/>
                    <a:pt x="373" y="157"/>
                    <a:pt x="346" y="0"/>
                  </a:cubicBezTo>
                  <a:close/>
                </a:path>
              </a:pathLst>
            </a:custGeom>
            <a:solidFill>
              <a:schemeClr val="accent3"/>
            </a:solidFill>
            <a:ln w="1016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 name="Text Box 36">
              <a:extLst>
                <a:ext uri="{FF2B5EF4-FFF2-40B4-BE49-F238E27FC236}">
                  <a16:creationId xmlns:a16="http://schemas.microsoft.com/office/drawing/2014/main" id="{BEF51AB9-8B0F-43E8-8BB1-8407307E5B87}"/>
                </a:ext>
              </a:extLst>
            </p:cNvPr>
            <p:cNvSpPr txBox="1">
              <a:spLocks noChangeArrowheads="1"/>
            </p:cNvSpPr>
            <p:nvPr/>
          </p:nvSpPr>
          <p:spPr bwMode="auto">
            <a:xfrm>
              <a:off x="7529910" y="3878580"/>
              <a:ext cx="684667" cy="426370"/>
            </a:xfrm>
            <a:prstGeom prst="rect">
              <a:avLst/>
            </a:prstGeom>
            <a:noFill/>
            <a:ln w="6350">
              <a:noFill/>
              <a:miter lim="800000"/>
              <a:headEnd/>
              <a:tailEnd/>
            </a:ln>
            <a:effectLst/>
          </p:spPr>
          <p:txBody>
            <a:bodyPr lIns="45720" rIns="45720" anchor="ctr" anchorCtr="1"/>
            <a:lstStyle/>
            <a:p>
              <a:pPr eaLnBrk="0" hangingPunct="0">
                <a:spcBef>
                  <a:spcPct val="0"/>
                </a:spcBef>
              </a:pPr>
              <a:r>
                <a:rPr lang="en-US" b="1" dirty="0">
                  <a:solidFill>
                    <a:schemeClr val="bg1"/>
                  </a:solidFill>
                </a:rPr>
                <a:t>Text</a:t>
              </a:r>
            </a:p>
          </p:txBody>
        </p:sp>
        <p:sp>
          <p:nvSpPr>
            <p:cNvPr id="6" name="Freeform 7">
              <a:extLst>
                <a:ext uri="{FF2B5EF4-FFF2-40B4-BE49-F238E27FC236}">
                  <a16:creationId xmlns:a16="http://schemas.microsoft.com/office/drawing/2014/main" id="{816F4AD1-A70F-4F18-83F9-C3857CB70813}"/>
                </a:ext>
                <a:ext uri="{C183D7F6-B498-43B3-948B-1728B52AA6E4}">
                  <adec:decorative xmlns:adec="http://schemas.microsoft.com/office/drawing/2017/decorative" val="1"/>
                </a:ext>
              </a:extLst>
            </p:cNvPr>
            <p:cNvSpPr>
              <a:spLocks/>
            </p:cNvSpPr>
            <p:nvPr/>
          </p:nvSpPr>
          <p:spPr bwMode="auto">
            <a:xfrm>
              <a:off x="6529493" y="4354549"/>
              <a:ext cx="1648993" cy="1630873"/>
            </a:xfrm>
            <a:custGeom>
              <a:avLst/>
              <a:gdLst>
                <a:gd name="T0" fmla="*/ 176 w 445"/>
                <a:gd name="T1" fmla="*/ 0 h 440"/>
                <a:gd name="T2" fmla="*/ 0 w 445"/>
                <a:gd name="T3" fmla="*/ 150 h 440"/>
                <a:gd name="T4" fmla="*/ 105 w 445"/>
                <a:gd name="T5" fmla="*/ 440 h 440"/>
                <a:gd name="T6" fmla="*/ 445 w 445"/>
                <a:gd name="T7" fmla="*/ 155 h 440"/>
                <a:gd name="T8" fmla="*/ 176 w 445"/>
                <a:gd name="T9" fmla="*/ 0 h 440"/>
              </a:gdLst>
              <a:ahLst/>
              <a:cxnLst>
                <a:cxn ang="0">
                  <a:pos x="T0" y="T1"/>
                </a:cxn>
                <a:cxn ang="0">
                  <a:pos x="T2" y="T3"/>
                </a:cxn>
                <a:cxn ang="0">
                  <a:pos x="T4" y="T5"/>
                </a:cxn>
                <a:cxn ang="0">
                  <a:pos x="T6" y="T7"/>
                </a:cxn>
                <a:cxn ang="0">
                  <a:pos x="T8" y="T9"/>
                </a:cxn>
              </a:cxnLst>
              <a:rect l="0" t="0" r="r" b="b"/>
              <a:pathLst>
                <a:path w="445" h="440">
                  <a:moveTo>
                    <a:pt x="176" y="0"/>
                  </a:moveTo>
                  <a:cubicBezTo>
                    <a:pt x="137" y="68"/>
                    <a:pt x="75" y="122"/>
                    <a:pt x="0" y="150"/>
                  </a:cubicBezTo>
                  <a:cubicBezTo>
                    <a:pt x="105" y="440"/>
                    <a:pt x="105" y="440"/>
                    <a:pt x="105" y="440"/>
                  </a:cubicBezTo>
                  <a:cubicBezTo>
                    <a:pt x="255" y="385"/>
                    <a:pt x="365" y="292"/>
                    <a:pt x="445" y="155"/>
                  </a:cubicBezTo>
                  <a:lnTo>
                    <a:pt x="176" y="0"/>
                  </a:lnTo>
                  <a:close/>
                </a:path>
              </a:pathLst>
            </a:custGeom>
            <a:solidFill>
              <a:schemeClr val="accent3"/>
            </a:solidFill>
            <a:ln w="1016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 name="Text Box 37">
              <a:extLst>
                <a:ext uri="{FF2B5EF4-FFF2-40B4-BE49-F238E27FC236}">
                  <a16:creationId xmlns:a16="http://schemas.microsoft.com/office/drawing/2014/main" id="{B765F60F-FDB8-459E-961D-4801D3298D86}"/>
                </a:ext>
              </a:extLst>
            </p:cNvPr>
            <p:cNvSpPr txBox="1">
              <a:spLocks noChangeArrowheads="1"/>
            </p:cNvSpPr>
            <p:nvPr/>
          </p:nvSpPr>
          <p:spPr bwMode="auto">
            <a:xfrm>
              <a:off x="7011656" y="4957707"/>
              <a:ext cx="684667" cy="426370"/>
            </a:xfrm>
            <a:prstGeom prst="rect">
              <a:avLst/>
            </a:prstGeom>
            <a:noFill/>
            <a:ln w="6350">
              <a:noFill/>
              <a:miter lim="800000"/>
              <a:headEnd/>
              <a:tailEnd/>
            </a:ln>
            <a:effectLst/>
          </p:spPr>
          <p:txBody>
            <a:bodyPr lIns="45720" rIns="45720" anchor="ctr" anchorCtr="1"/>
            <a:lstStyle/>
            <a:p>
              <a:pPr eaLnBrk="0" hangingPunct="0">
                <a:spcBef>
                  <a:spcPct val="0"/>
                </a:spcBef>
              </a:pPr>
              <a:r>
                <a:rPr lang="en-US" b="1" dirty="0">
                  <a:solidFill>
                    <a:schemeClr val="bg1"/>
                  </a:solidFill>
                </a:rPr>
                <a:t>Text</a:t>
              </a:r>
            </a:p>
          </p:txBody>
        </p:sp>
        <p:sp>
          <p:nvSpPr>
            <p:cNvPr id="17" name="Text Box 38">
              <a:extLst>
                <a:ext uri="{FF2B5EF4-FFF2-40B4-BE49-F238E27FC236}">
                  <a16:creationId xmlns:a16="http://schemas.microsoft.com/office/drawing/2014/main" id="{6D599185-E99E-4E8D-8156-73953A2D483F}"/>
                </a:ext>
                <a:ext uri="{C183D7F6-B498-43B3-948B-1728B52AA6E4}">
                  <adec:decorative xmlns:adec="http://schemas.microsoft.com/office/drawing/2017/decorative" val="0"/>
                </a:ext>
              </a:extLst>
            </p:cNvPr>
            <p:cNvSpPr txBox="1">
              <a:spLocks noChangeArrowheads="1"/>
            </p:cNvSpPr>
            <p:nvPr/>
          </p:nvSpPr>
          <p:spPr bwMode="auto">
            <a:xfrm>
              <a:off x="5754999" y="5334619"/>
              <a:ext cx="686437" cy="426370"/>
            </a:xfrm>
            <a:prstGeom prst="rect">
              <a:avLst/>
            </a:prstGeom>
            <a:noFill/>
            <a:ln w="6350">
              <a:noFill/>
              <a:miter lim="800000"/>
              <a:headEnd/>
              <a:tailEnd/>
            </a:ln>
            <a:effectLst/>
          </p:spPr>
          <p:txBody>
            <a:bodyPr lIns="45720" rIns="45720" anchor="ctr" anchorCtr="1"/>
            <a:lstStyle/>
            <a:p>
              <a:pPr eaLnBrk="0" hangingPunct="0">
                <a:spcBef>
                  <a:spcPct val="0"/>
                </a:spcBef>
              </a:pPr>
              <a:r>
                <a:rPr lang="en-US" b="1" dirty="0">
                  <a:solidFill>
                    <a:schemeClr val="bg1"/>
                  </a:solidFill>
                </a:rPr>
                <a:t>Text</a:t>
              </a:r>
            </a:p>
          </p:txBody>
        </p:sp>
        <p:sp>
          <p:nvSpPr>
            <p:cNvPr id="4" name="Freeform 5">
              <a:extLst>
                <a:ext uri="{FF2B5EF4-FFF2-40B4-BE49-F238E27FC236}">
                  <a16:creationId xmlns:a16="http://schemas.microsoft.com/office/drawing/2014/main" id="{89704A50-0FC2-4CEC-99DE-A94E7D322B50}"/>
                </a:ext>
                <a:ext uri="{C183D7F6-B498-43B3-948B-1728B52AA6E4}">
                  <adec:decorative xmlns:adec="http://schemas.microsoft.com/office/drawing/2017/decorative" val="1"/>
                </a:ext>
              </a:extLst>
            </p:cNvPr>
            <p:cNvSpPr>
              <a:spLocks/>
            </p:cNvSpPr>
            <p:nvPr/>
          </p:nvSpPr>
          <p:spPr bwMode="auto">
            <a:xfrm>
              <a:off x="4021573" y="4358173"/>
              <a:ext cx="1645369" cy="1627249"/>
            </a:xfrm>
            <a:custGeom>
              <a:avLst/>
              <a:gdLst>
                <a:gd name="T0" fmla="*/ 265 w 444"/>
                <a:gd name="T1" fmla="*/ 0 h 439"/>
                <a:gd name="T2" fmla="*/ 0 w 444"/>
                <a:gd name="T3" fmla="*/ 154 h 439"/>
                <a:gd name="T4" fmla="*/ 339 w 444"/>
                <a:gd name="T5" fmla="*/ 439 h 439"/>
                <a:gd name="T6" fmla="*/ 444 w 444"/>
                <a:gd name="T7" fmla="*/ 150 h 439"/>
                <a:gd name="T8" fmla="*/ 265 w 444"/>
                <a:gd name="T9" fmla="*/ 0 h 439"/>
              </a:gdLst>
              <a:ahLst/>
              <a:cxnLst>
                <a:cxn ang="0">
                  <a:pos x="T0" y="T1"/>
                </a:cxn>
                <a:cxn ang="0">
                  <a:pos x="T2" y="T3"/>
                </a:cxn>
                <a:cxn ang="0">
                  <a:pos x="T4" y="T5"/>
                </a:cxn>
                <a:cxn ang="0">
                  <a:pos x="T6" y="T7"/>
                </a:cxn>
                <a:cxn ang="0">
                  <a:pos x="T8" y="T9"/>
                </a:cxn>
              </a:cxnLst>
              <a:rect l="0" t="0" r="r" b="b"/>
              <a:pathLst>
                <a:path w="444" h="439">
                  <a:moveTo>
                    <a:pt x="265" y="0"/>
                  </a:moveTo>
                  <a:cubicBezTo>
                    <a:pt x="0" y="154"/>
                    <a:pt x="0" y="154"/>
                    <a:pt x="0" y="154"/>
                  </a:cubicBezTo>
                  <a:cubicBezTo>
                    <a:pt x="79" y="291"/>
                    <a:pt x="190" y="384"/>
                    <a:pt x="339" y="439"/>
                  </a:cubicBezTo>
                  <a:cubicBezTo>
                    <a:pt x="444" y="150"/>
                    <a:pt x="444" y="150"/>
                    <a:pt x="444" y="150"/>
                  </a:cubicBezTo>
                  <a:cubicBezTo>
                    <a:pt x="368" y="123"/>
                    <a:pt x="305" y="69"/>
                    <a:pt x="265" y="0"/>
                  </a:cubicBezTo>
                  <a:close/>
                </a:path>
              </a:pathLst>
            </a:custGeom>
            <a:solidFill>
              <a:schemeClr val="accent2"/>
            </a:solidFill>
            <a:ln w="1016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 name="Text Box 39">
              <a:extLst>
                <a:ext uri="{FF2B5EF4-FFF2-40B4-BE49-F238E27FC236}">
                  <a16:creationId xmlns:a16="http://schemas.microsoft.com/office/drawing/2014/main" id="{7D4F6B41-5682-4842-B0D6-F934421086A7}"/>
                </a:ext>
              </a:extLst>
            </p:cNvPr>
            <p:cNvSpPr txBox="1">
              <a:spLocks noChangeArrowheads="1"/>
            </p:cNvSpPr>
            <p:nvPr/>
          </p:nvSpPr>
          <p:spPr bwMode="auto">
            <a:xfrm>
              <a:off x="4501039" y="4957707"/>
              <a:ext cx="686437" cy="426370"/>
            </a:xfrm>
            <a:prstGeom prst="rect">
              <a:avLst/>
            </a:prstGeom>
            <a:noFill/>
            <a:ln w="6350">
              <a:noFill/>
              <a:miter lim="800000"/>
              <a:headEnd/>
              <a:tailEnd/>
            </a:ln>
            <a:effectLst/>
          </p:spPr>
          <p:txBody>
            <a:bodyPr lIns="45720" rIns="45720" anchor="ctr" anchorCtr="1"/>
            <a:lstStyle/>
            <a:p>
              <a:pPr eaLnBrk="0" hangingPunct="0">
                <a:spcBef>
                  <a:spcPct val="0"/>
                </a:spcBef>
              </a:pPr>
              <a:r>
                <a:rPr lang="en-US" b="1" dirty="0">
                  <a:solidFill>
                    <a:schemeClr val="bg1"/>
                  </a:solidFill>
                </a:rPr>
                <a:t>Text</a:t>
              </a:r>
            </a:p>
          </p:txBody>
        </p:sp>
        <p:sp>
          <p:nvSpPr>
            <p:cNvPr id="11" name="Freeform 12">
              <a:extLst>
                <a:ext uri="{FF2B5EF4-FFF2-40B4-BE49-F238E27FC236}">
                  <a16:creationId xmlns:a16="http://schemas.microsoft.com/office/drawing/2014/main" id="{05D810CC-C309-47C8-A882-D70DE13B175B}"/>
                </a:ext>
                <a:ext uri="{C183D7F6-B498-43B3-948B-1728B52AA6E4}">
                  <adec:decorative xmlns:adec="http://schemas.microsoft.com/office/drawing/2017/decorative" val="1"/>
                </a:ext>
              </a:extLst>
            </p:cNvPr>
            <p:cNvSpPr>
              <a:spLocks/>
            </p:cNvSpPr>
            <p:nvPr/>
          </p:nvSpPr>
          <p:spPr bwMode="auto">
            <a:xfrm>
              <a:off x="3631976" y="3308978"/>
              <a:ext cx="1371745" cy="1620000"/>
            </a:xfrm>
            <a:custGeom>
              <a:avLst/>
              <a:gdLst>
                <a:gd name="T0" fmla="*/ 325 w 370"/>
                <a:gd name="T1" fmla="*/ 115 h 437"/>
                <a:gd name="T2" fmla="*/ 331 w 370"/>
                <a:gd name="T3" fmla="*/ 54 h 437"/>
                <a:gd name="T4" fmla="*/ 28 w 370"/>
                <a:gd name="T5" fmla="*/ 0 h 437"/>
                <a:gd name="T6" fmla="*/ 105 w 370"/>
                <a:gd name="T7" fmla="*/ 437 h 437"/>
                <a:gd name="T8" fmla="*/ 370 w 370"/>
                <a:gd name="T9" fmla="*/ 283 h 437"/>
                <a:gd name="T10" fmla="*/ 325 w 370"/>
                <a:gd name="T11" fmla="*/ 115 h 437"/>
              </a:gdLst>
              <a:ahLst/>
              <a:cxnLst>
                <a:cxn ang="0">
                  <a:pos x="T0" y="T1"/>
                </a:cxn>
                <a:cxn ang="0">
                  <a:pos x="T2" y="T3"/>
                </a:cxn>
                <a:cxn ang="0">
                  <a:pos x="T4" y="T5"/>
                </a:cxn>
                <a:cxn ang="0">
                  <a:pos x="T6" y="T7"/>
                </a:cxn>
                <a:cxn ang="0">
                  <a:pos x="T8" y="T9"/>
                </a:cxn>
                <a:cxn ang="0">
                  <a:pos x="T10" y="T11"/>
                </a:cxn>
              </a:cxnLst>
              <a:rect l="0" t="0" r="r" b="b"/>
              <a:pathLst>
                <a:path w="370" h="437">
                  <a:moveTo>
                    <a:pt x="325" y="115"/>
                  </a:moveTo>
                  <a:cubicBezTo>
                    <a:pt x="325" y="94"/>
                    <a:pt x="327" y="74"/>
                    <a:pt x="331" y="54"/>
                  </a:cubicBezTo>
                  <a:cubicBezTo>
                    <a:pt x="28" y="0"/>
                    <a:pt x="28" y="0"/>
                    <a:pt x="28" y="0"/>
                  </a:cubicBezTo>
                  <a:cubicBezTo>
                    <a:pt x="0" y="157"/>
                    <a:pt x="25" y="299"/>
                    <a:pt x="105" y="437"/>
                  </a:cubicBezTo>
                  <a:cubicBezTo>
                    <a:pt x="370" y="283"/>
                    <a:pt x="370" y="283"/>
                    <a:pt x="370" y="283"/>
                  </a:cubicBezTo>
                  <a:cubicBezTo>
                    <a:pt x="342" y="234"/>
                    <a:pt x="325" y="176"/>
                    <a:pt x="325" y="115"/>
                  </a:cubicBezTo>
                  <a:close/>
                </a:path>
              </a:pathLst>
            </a:custGeom>
            <a:solidFill>
              <a:schemeClr val="accent2"/>
            </a:solidFill>
            <a:ln w="1016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 name="Text Box 40">
              <a:extLst>
                <a:ext uri="{FF2B5EF4-FFF2-40B4-BE49-F238E27FC236}">
                  <a16:creationId xmlns:a16="http://schemas.microsoft.com/office/drawing/2014/main" id="{A7107AD3-828C-43EA-937A-45C8B21E280E}"/>
                </a:ext>
              </a:extLst>
            </p:cNvPr>
            <p:cNvSpPr txBox="1">
              <a:spLocks noChangeArrowheads="1"/>
            </p:cNvSpPr>
            <p:nvPr/>
          </p:nvSpPr>
          <p:spPr bwMode="auto">
            <a:xfrm>
              <a:off x="3975514" y="3878580"/>
              <a:ext cx="684667" cy="426370"/>
            </a:xfrm>
            <a:prstGeom prst="rect">
              <a:avLst/>
            </a:prstGeom>
            <a:noFill/>
            <a:ln w="6350">
              <a:noFill/>
              <a:miter lim="800000"/>
              <a:headEnd/>
              <a:tailEnd/>
            </a:ln>
            <a:effectLst/>
          </p:spPr>
          <p:txBody>
            <a:bodyPr lIns="45720" rIns="45720" anchor="ctr" anchorCtr="1"/>
            <a:lstStyle/>
            <a:p>
              <a:pPr eaLnBrk="0" hangingPunct="0">
                <a:spcBef>
                  <a:spcPct val="0"/>
                </a:spcBef>
              </a:pPr>
              <a:r>
                <a:rPr lang="en-US" b="1" dirty="0">
                  <a:solidFill>
                    <a:schemeClr val="bg1"/>
                  </a:solidFill>
                </a:rPr>
                <a:t>Text</a:t>
              </a:r>
            </a:p>
          </p:txBody>
        </p:sp>
        <p:sp>
          <p:nvSpPr>
            <p:cNvPr id="12" name="Freeform 13">
              <a:extLst>
                <a:ext uri="{FF2B5EF4-FFF2-40B4-BE49-F238E27FC236}">
                  <a16:creationId xmlns:a16="http://schemas.microsoft.com/office/drawing/2014/main" id="{EA6419DA-4B03-488D-ABA4-510B65A0788F}"/>
                </a:ext>
                <a:ext uri="{C183D7F6-B498-43B3-948B-1728B52AA6E4}">
                  <adec:decorative xmlns:adec="http://schemas.microsoft.com/office/drawing/2017/decorative" val="1"/>
                </a:ext>
              </a:extLst>
            </p:cNvPr>
            <p:cNvSpPr>
              <a:spLocks/>
            </p:cNvSpPr>
            <p:nvPr/>
          </p:nvSpPr>
          <p:spPr bwMode="auto">
            <a:xfrm>
              <a:off x="3737076" y="1884683"/>
              <a:ext cx="1558390" cy="1623625"/>
            </a:xfrm>
            <a:custGeom>
              <a:avLst/>
              <a:gdLst>
                <a:gd name="T0" fmla="*/ 421 w 421"/>
                <a:gd name="T1" fmla="*/ 238 h 438"/>
                <a:gd name="T2" fmla="*/ 221 w 421"/>
                <a:gd name="T3" fmla="*/ 0 h 438"/>
                <a:gd name="T4" fmla="*/ 0 w 421"/>
                <a:gd name="T5" fmla="*/ 384 h 438"/>
                <a:gd name="T6" fmla="*/ 303 w 421"/>
                <a:gd name="T7" fmla="*/ 438 h 438"/>
                <a:gd name="T8" fmla="*/ 421 w 421"/>
                <a:gd name="T9" fmla="*/ 238 h 438"/>
              </a:gdLst>
              <a:ahLst/>
              <a:cxnLst>
                <a:cxn ang="0">
                  <a:pos x="T0" y="T1"/>
                </a:cxn>
                <a:cxn ang="0">
                  <a:pos x="T2" y="T3"/>
                </a:cxn>
                <a:cxn ang="0">
                  <a:pos x="T4" y="T5"/>
                </a:cxn>
                <a:cxn ang="0">
                  <a:pos x="T6" y="T7"/>
                </a:cxn>
                <a:cxn ang="0">
                  <a:pos x="T8" y="T9"/>
                </a:cxn>
              </a:cxnLst>
              <a:rect l="0" t="0" r="r" b="b"/>
              <a:pathLst>
                <a:path w="421" h="438">
                  <a:moveTo>
                    <a:pt x="421" y="238"/>
                  </a:moveTo>
                  <a:cubicBezTo>
                    <a:pt x="221" y="0"/>
                    <a:pt x="221" y="0"/>
                    <a:pt x="221" y="0"/>
                  </a:cubicBezTo>
                  <a:cubicBezTo>
                    <a:pt x="100" y="103"/>
                    <a:pt x="27" y="228"/>
                    <a:pt x="0" y="384"/>
                  </a:cubicBezTo>
                  <a:cubicBezTo>
                    <a:pt x="303" y="438"/>
                    <a:pt x="303" y="438"/>
                    <a:pt x="303" y="438"/>
                  </a:cubicBezTo>
                  <a:cubicBezTo>
                    <a:pt x="318" y="358"/>
                    <a:pt x="360" y="287"/>
                    <a:pt x="421" y="238"/>
                  </a:cubicBezTo>
                  <a:close/>
                </a:path>
              </a:pathLst>
            </a:custGeom>
            <a:solidFill>
              <a:schemeClr val="accent5"/>
            </a:solidFill>
            <a:ln w="1016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 name="Text Box 41">
              <a:extLst>
                <a:ext uri="{FF2B5EF4-FFF2-40B4-BE49-F238E27FC236}">
                  <a16:creationId xmlns:a16="http://schemas.microsoft.com/office/drawing/2014/main" id="{2E3E0970-629F-4F84-8C6E-3F0A87F209FE}"/>
                </a:ext>
              </a:extLst>
            </p:cNvPr>
            <p:cNvSpPr txBox="1">
              <a:spLocks noChangeArrowheads="1"/>
            </p:cNvSpPr>
            <p:nvPr/>
          </p:nvSpPr>
          <p:spPr bwMode="auto">
            <a:xfrm>
              <a:off x="4173937" y="2649103"/>
              <a:ext cx="684667" cy="426370"/>
            </a:xfrm>
            <a:prstGeom prst="rect">
              <a:avLst/>
            </a:prstGeom>
            <a:noFill/>
            <a:ln w="6350">
              <a:noFill/>
              <a:miter lim="800000"/>
              <a:headEnd/>
              <a:tailEnd/>
            </a:ln>
            <a:effectLst/>
          </p:spPr>
          <p:txBody>
            <a:bodyPr lIns="45720" rIns="45720" anchor="ctr" anchorCtr="1"/>
            <a:lstStyle/>
            <a:p>
              <a:pPr eaLnBrk="0" hangingPunct="0">
                <a:spcBef>
                  <a:spcPct val="0"/>
                </a:spcBef>
              </a:pPr>
              <a:r>
                <a:rPr lang="en-US" b="1" dirty="0">
                  <a:solidFill>
                    <a:schemeClr val="bg1"/>
                  </a:solidFill>
                </a:rPr>
                <a:t>Text</a:t>
              </a:r>
            </a:p>
          </p:txBody>
        </p:sp>
        <p:sp>
          <p:nvSpPr>
            <p:cNvPr id="10" name="Freeform 11">
              <a:extLst>
                <a:ext uri="{FF2B5EF4-FFF2-40B4-BE49-F238E27FC236}">
                  <a16:creationId xmlns:a16="http://schemas.microsoft.com/office/drawing/2014/main" id="{4DF83E45-94CC-4DD1-AF61-79CE7CFE8B0D}"/>
                </a:ext>
                <a:ext uri="{C183D7F6-B498-43B3-948B-1728B52AA6E4}">
                  <adec:decorative xmlns:adec="http://schemas.microsoft.com/office/drawing/2017/decorative" val="1"/>
                </a:ext>
              </a:extLst>
            </p:cNvPr>
            <p:cNvSpPr>
              <a:spLocks/>
            </p:cNvSpPr>
            <p:nvPr/>
          </p:nvSpPr>
          <p:spPr bwMode="auto">
            <a:xfrm>
              <a:off x="4554325" y="1324750"/>
              <a:ext cx="1545705" cy="1442416"/>
            </a:xfrm>
            <a:custGeom>
              <a:avLst/>
              <a:gdLst>
                <a:gd name="T0" fmla="*/ 415 w 417"/>
                <a:gd name="T1" fmla="*/ 312 h 389"/>
                <a:gd name="T2" fmla="*/ 417 w 417"/>
                <a:gd name="T3" fmla="*/ 312 h 389"/>
                <a:gd name="T4" fmla="*/ 417 w 417"/>
                <a:gd name="T5" fmla="*/ 0 h 389"/>
                <a:gd name="T6" fmla="*/ 0 w 417"/>
                <a:gd name="T7" fmla="*/ 151 h 389"/>
                <a:gd name="T8" fmla="*/ 199 w 417"/>
                <a:gd name="T9" fmla="*/ 389 h 389"/>
                <a:gd name="T10" fmla="*/ 415 w 417"/>
                <a:gd name="T11" fmla="*/ 312 h 389"/>
              </a:gdLst>
              <a:ahLst/>
              <a:cxnLst>
                <a:cxn ang="0">
                  <a:pos x="T0" y="T1"/>
                </a:cxn>
                <a:cxn ang="0">
                  <a:pos x="T2" y="T3"/>
                </a:cxn>
                <a:cxn ang="0">
                  <a:pos x="T4" y="T5"/>
                </a:cxn>
                <a:cxn ang="0">
                  <a:pos x="T6" y="T7"/>
                </a:cxn>
                <a:cxn ang="0">
                  <a:pos x="T8" y="T9"/>
                </a:cxn>
                <a:cxn ang="0">
                  <a:pos x="T10" y="T11"/>
                </a:cxn>
              </a:cxnLst>
              <a:rect l="0" t="0" r="r" b="b"/>
              <a:pathLst>
                <a:path w="417" h="389">
                  <a:moveTo>
                    <a:pt x="415" y="312"/>
                  </a:moveTo>
                  <a:cubicBezTo>
                    <a:pt x="415" y="312"/>
                    <a:pt x="416" y="312"/>
                    <a:pt x="417" y="312"/>
                  </a:cubicBezTo>
                  <a:cubicBezTo>
                    <a:pt x="417" y="0"/>
                    <a:pt x="417" y="0"/>
                    <a:pt x="417" y="0"/>
                  </a:cubicBezTo>
                  <a:cubicBezTo>
                    <a:pt x="258" y="0"/>
                    <a:pt x="122" y="49"/>
                    <a:pt x="0" y="151"/>
                  </a:cubicBezTo>
                  <a:cubicBezTo>
                    <a:pt x="199" y="389"/>
                    <a:pt x="199" y="389"/>
                    <a:pt x="199" y="389"/>
                  </a:cubicBezTo>
                  <a:cubicBezTo>
                    <a:pt x="258" y="341"/>
                    <a:pt x="333" y="312"/>
                    <a:pt x="415" y="312"/>
                  </a:cubicBezTo>
                  <a:close/>
                </a:path>
              </a:pathLst>
            </a:custGeom>
            <a:solidFill>
              <a:schemeClr val="accent5"/>
            </a:solidFill>
            <a:ln w="1016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Text Box 42">
              <a:extLst>
                <a:ext uri="{FF2B5EF4-FFF2-40B4-BE49-F238E27FC236}">
                  <a16:creationId xmlns:a16="http://schemas.microsoft.com/office/drawing/2014/main" id="{A85626EB-A736-45CB-A3C4-C479E6328D37}"/>
                </a:ext>
              </a:extLst>
            </p:cNvPr>
            <p:cNvSpPr txBox="1">
              <a:spLocks noChangeArrowheads="1"/>
            </p:cNvSpPr>
            <p:nvPr/>
          </p:nvSpPr>
          <p:spPr bwMode="auto">
            <a:xfrm>
              <a:off x="5144221" y="1832772"/>
              <a:ext cx="684667" cy="426370"/>
            </a:xfrm>
            <a:prstGeom prst="rect">
              <a:avLst/>
            </a:prstGeom>
            <a:noFill/>
            <a:ln w="6350">
              <a:noFill/>
              <a:miter lim="800000"/>
              <a:headEnd/>
              <a:tailEnd/>
            </a:ln>
            <a:effectLst/>
          </p:spPr>
          <p:txBody>
            <a:bodyPr lIns="45720" rIns="45720" anchor="ctr" anchorCtr="1"/>
            <a:lstStyle/>
            <a:p>
              <a:pPr eaLnBrk="0" hangingPunct="0">
                <a:spcBef>
                  <a:spcPct val="0"/>
                </a:spcBef>
              </a:pPr>
              <a:r>
                <a:rPr lang="en-US" b="1" dirty="0">
                  <a:solidFill>
                    <a:schemeClr val="bg1"/>
                  </a:solidFill>
                </a:rPr>
                <a:t>Text</a:t>
              </a:r>
            </a:p>
          </p:txBody>
        </p:sp>
      </p:grpSp>
      <p:sp>
        <p:nvSpPr>
          <p:cNvPr id="24" name="Footer Placeholder 23">
            <a:extLst>
              <a:ext uri="{FF2B5EF4-FFF2-40B4-BE49-F238E27FC236}">
                <a16:creationId xmlns:a16="http://schemas.microsoft.com/office/drawing/2014/main" id="{40CF8E1D-6951-4C32-9313-F1FC6805BDD5}"/>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5" name="Slide Number Placeholder 24">
            <a:extLst>
              <a:ext uri="{FF2B5EF4-FFF2-40B4-BE49-F238E27FC236}">
                <a16:creationId xmlns:a16="http://schemas.microsoft.com/office/drawing/2014/main" id="{ADB248EF-1242-4A28-8B63-65AA98021CDE}"/>
              </a:ext>
            </a:extLst>
          </p:cNvPr>
          <p:cNvSpPr>
            <a:spLocks noGrp="1"/>
          </p:cNvSpPr>
          <p:nvPr>
            <p:ph type="sldNum" sz="quarter" idx="10"/>
          </p:nvPr>
        </p:nvSpPr>
        <p:spPr/>
        <p:txBody>
          <a:bodyPr/>
          <a:lstStyle/>
          <a:p>
            <a:fld id="{1F90F471-3972-4120-B8B3-0237DE626C35}" type="slidenum">
              <a:rPr lang="en-US" smtClean="0"/>
              <a:pPr/>
              <a:t>282</a:t>
            </a:fld>
            <a:endParaRPr lang="en-US" dirty="0"/>
          </a:p>
        </p:txBody>
      </p:sp>
    </p:spTree>
    <p:extLst>
      <p:ext uri="{BB962C8B-B14F-4D97-AF65-F5344CB8AC3E}">
        <p14:creationId xmlns:p14="http://schemas.microsoft.com/office/powerpoint/2010/main" val="794716915"/>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en-US" dirty="0"/>
              <a:t>Factors</a:t>
            </a:r>
          </a:p>
        </p:txBody>
      </p:sp>
      <p:grpSp>
        <p:nvGrpSpPr>
          <p:cNvPr id="10" name="Group 13" descr="Add text and order accordingly">
            <a:extLst>
              <a:ext uri="{FF2B5EF4-FFF2-40B4-BE49-F238E27FC236}">
                <a16:creationId xmlns:a16="http://schemas.microsoft.com/office/drawing/2014/main" id="{7CEA25CB-B29C-4569-97B5-C7AAD30A378D}"/>
              </a:ext>
            </a:extLst>
          </p:cNvPr>
          <p:cNvGrpSpPr>
            <a:grpSpLocks/>
          </p:cNvGrpSpPr>
          <p:nvPr/>
        </p:nvGrpSpPr>
        <p:grpSpPr bwMode="auto">
          <a:xfrm>
            <a:off x="5105807" y="2708620"/>
            <a:ext cx="1994721" cy="2026499"/>
            <a:chOff x="2712" y="1985"/>
            <a:chExt cx="816" cy="829"/>
          </a:xfrm>
          <a:solidFill>
            <a:schemeClr val="accent3"/>
          </a:solidFill>
        </p:grpSpPr>
        <p:sp>
          <p:nvSpPr>
            <p:cNvPr id="11" name="Oval 14">
              <a:extLst>
                <a:ext uri="{FF2B5EF4-FFF2-40B4-BE49-F238E27FC236}">
                  <a16:creationId xmlns:a16="http://schemas.microsoft.com/office/drawing/2014/main" id="{C6BC790C-8165-43A3-A0E8-B3DA54AE29F8}"/>
                </a:ext>
              </a:extLst>
            </p:cNvPr>
            <p:cNvSpPr>
              <a:spLocks noChangeArrowheads="1"/>
            </p:cNvSpPr>
            <p:nvPr/>
          </p:nvSpPr>
          <p:spPr bwMode="auto">
            <a:xfrm>
              <a:off x="2712" y="1985"/>
              <a:ext cx="816" cy="829"/>
            </a:xfrm>
            <a:prstGeom prst="ellipse">
              <a:avLst/>
            </a:prstGeom>
            <a:grpFill/>
            <a:ln w="6350">
              <a:noFill/>
              <a:round/>
              <a:headEnd/>
              <a:tailEnd/>
            </a:ln>
            <a:effectLst/>
          </p:spPr>
          <p:txBody>
            <a:bodyPr wrap="none" lIns="45720" rIns="45720" anchor="ctr" anchorCtr="1"/>
            <a:lstStyle/>
            <a:p>
              <a:endParaRPr lang="en-US"/>
            </a:p>
          </p:txBody>
        </p:sp>
        <p:sp>
          <p:nvSpPr>
            <p:cNvPr id="12" name="Text Box 15">
              <a:extLst>
                <a:ext uri="{FF2B5EF4-FFF2-40B4-BE49-F238E27FC236}">
                  <a16:creationId xmlns:a16="http://schemas.microsoft.com/office/drawing/2014/main" id="{894D205C-B071-419D-BA24-170BC3E4BAEF}"/>
                </a:ext>
              </a:extLst>
            </p:cNvPr>
            <p:cNvSpPr txBox="1">
              <a:spLocks noChangeArrowheads="1"/>
            </p:cNvSpPr>
            <p:nvPr/>
          </p:nvSpPr>
          <p:spPr bwMode="auto">
            <a:xfrm>
              <a:off x="2990" y="2320"/>
              <a:ext cx="259" cy="161"/>
            </a:xfrm>
            <a:prstGeom prst="rect">
              <a:avLst/>
            </a:prstGeom>
            <a:grpFill/>
            <a:ln w="6350">
              <a:noFill/>
              <a:miter lim="800000"/>
              <a:headEnd/>
              <a:tailEnd/>
            </a:ln>
            <a:effectLst/>
          </p:spPr>
          <p:txBody>
            <a:bodyPr lIns="45720" rIns="45720" anchor="ctr" anchorCtr="1"/>
            <a:lstStyle/>
            <a:p>
              <a:pPr eaLnBrk="0" hangingPunct="0"/>
              <a:r>
                <a:rPr lang="en-US" b="1" dirty="0">
                  <a:solidFill>
                    <a:schemeClr val="bg1"/>
                  </a:solidFill>
                </a:rPr>
                <a:t>Text</a:t>
              </a:r>
            </a:p>
          </p:txBody>
        </p:sp>
      </p:grpSp>
      <p:sp>
        <p:nvSpPr>
          <p:cNvPr id="13" name="AutoShape 16" descr="Add text and order accordingly">
            <a:extLst>
              <a:ext uri="{FF2B5EF4-FFF2-40B4-BE49-F238E27FC236}">
                <a16:creationId xmlns:a16="http://schemas.microsoft.com/office/drawing/2014/main" id="{D7F41139-3DAF-4BA5-89E3-6CB7F2A468CC}"/>
              </a:ext>
            </a:extLst>
          </p:cNvPr>
          <p:cNvSpPr>
            <a:spLocks noChangeArrowheads="1"/>
          </p:cNvSpPr>
          <p:nvPr/>
        </p:nvSpPr>
        <p:spPr bwMode="auto">
          <a:xfrm rot="10800000">
            <a:off x="3756437" y="1376362"/>
            <a:ext cx="4693461" cy="4585903"/>
          </a:xfrm>
          <a:custGeom>
            <a:avLst/>
            <a:gdLst>
              <a:gd name="G0" fmla="+- 5400 0 0"/>
              <a:gd name="G1" fmla="+- 10800 0 0"/>
              <a:gd name="G2" fmla="+- 0 0 10800"/>
              <a:gd name="T0" fmla="*/ 0 256 1"/>
              <a:gd name="T1" fmla="*/ 180 256 1"/>
              <a:gd name="G3" fmla="+- 10800 T0 T1"/>
              <a:gd name="T2" fmla="*/ 0 256 1"/>
              <a:gd name="T3" fmla="*/ 90 256 1"/>
              <a:gd name="G4" fmla="+- 10800 T2 T3"/>
              <a:gd name="G5" fmla="*/ G4 2 1"/>
              <a:gd name="T4" fmla="*/ 90 256 1"/>
              <a:gd name="T5" fmla="*/ 0 256 1"/>
              <a:gd name="G6" fmla="+- 10800 T4 T5"/>
              <a:gd name="G7" fmla="*/ G6 2 1"/>
              <a:gd name="G8" fmla="abs 1080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400"/>
              <a:gd name="G18" fmla="*/ 5400 1 2"/>
              <a:gd name="G19" fmla="+- G18 5400 0"/>
              <a:gd name="G20" fmla="cos G19 10800"/>
              <a:gd name="G21" fmla="sin G19 10800"/>
              <a:gd name="G22" fmla="+- G20 10800 0"/>
              <a:gd name="G23" fmla="+- G21 10800 0"/>
              <a:gd name="G24" fmla="+- 10800 0 G20"/>
              <a:gd name="G25" fmla="+- 5400 10800 0"/>
              <a:gd name="G26" fmla="?: G9 G17 G25"/>
              <a:gd name="G27" fmla="?: G9 0 21600"/>
              <a:gd name="G28" fmla="cos 10800 10800"/>
              <a:gd name="G29" fmla="sin 10800 10800"/>
              <a:gd name="G30" fmla="sin 5400 10800"/>
              <a:gd name="G31" fmla="+- G28 10800 0"/>
              <a:gd name="G32" fmla="+- G29 10800 0"/>
              <a:gd name="G33" fmla="+- G30 10800 0"/>
              <a:gd name="G34" fmla="?: G4 0 G31"/>
              <a:gd name="G35" fmla="?: 10800 G34 0"/>
              <a:gd name="G36" fmla="?: G6 G35 G31"/>
              <a:gd name="G37" fmla="+- 21600 0 G36"/>
              <a:gd name="G38" fmla="?: G4 0 G33"/>
              <a:gd name="G39" fmla="?: 10800 G38 G32"/>
              <a:gd name="G40" fmla="?: G6 G39 0"/>
              <a:gd name="G41" fmla="?: G4 G32 21600"/>
              <a:gd name="G42" fmla="?: G6 G41 G33"/>
              <a:gd name="T12" fmla="*/ 10800 w 21600"/>
              <a:gd name="T13" fmla="*/ 21600 h 21600"/>
              <a:gd name="T14" fmla="*/ 18899 w 21600"/>
              <a:gd name="T15" fmla="*/ 10823 h 21600"/>
              <a:gd name="T16" fmla="*/ 10800 w 21600"/>
              <a:gd name="T17" fmla="*/ 16200 h 21600"/>
              <a:gd name="T18" fmla="*/ 2701 w 21600"/>
              <a:gd name="T19" fmla="*/ 10823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16199" y="10815"/>
                </a:moveTo>
                <a:cubicBezTo>
                  <a:pt x="16191" y="13791"/>
                  <a:pt x="13776" y="16199"/>
                  <a:pt x="10800" y="16200"/>
                </a:cubicBezTo>
                <a:cubicBezTo>
                  <a:pt x="7823" y="16200"/>
                  <a:pt x="5408" y="13791"/>
                  <a:pt x="5400" y="10815"/>
                </a:cubicBezTo>
                <a:lnTo>
                  <a:pt x="0" y="10831"/>
                </a:lnTo>
                <a:cubicBezTo>
                  <a:pt x="17" y="16783"/>
                  <a:pt x="4847" y="21600"/>
                  <a:pt x="10800" y="21600"/>
                </a:cubicBezTo>
                <a:cubicBezTo>
                  <a:pt x="16752" y="21599"/>
                  <a:pt x="21582" y="16783"/>
                  <a:pt x="21599" y="10831"/>
                </a:cubicBezTo>
                <a:close/>
              </a:path>
            </a:pathLst>
          </a:custGeom>
          <a:pattFill prst="wdUpDiag">
            <a:fgClr>
              <a:schemeClr val="tx2">
                <a:lumMod val="20000"/>
                <a:lumOff val="80000"/>
              </a:schemeClr>
            </a:fgClr>
            <a:bgClr>
              <a:schemeClr val="bg1"/>
            </a:bgClr>
          </a:pattFill>
          <a:ln w="9525">
            <a:noFill/>
            <a:miter lim="800000"/>
            <a:headEnd/>
            <a:tailEnd/>
          </a:ln>
          <a:effectLst/>
        </p:spPr>
        <p:txBody>
          <a:bodyPr rot="10800000" wrap="none" lIns="45720" rIns="45720"/>
          <a:lstStyle/>
          <a:p>
            <a:pPr eaLnBrk="0" hangingPunct="0"/>
            <a:endParaRPr lang="en-GB" dirty="0">
              <a:solidFill>
                <a:schemeClr val="tx1"/>
              </a:solidFill>
            </a:endParaRPr>
          </a:p>
          <a:p>
            <a:pPr eaLnBrk="0" hangingPunct="0"/>
            <a:endParaRPr lang="en-GB" dirty="0">
              <a:solidFill>
                <a:schemeClr val="tx1"/>
              </a:solidFill>
            </a:endParaRPr>
          </a:p>
        </p:txBody>
      </p:sp>
      <p:sp>
        <p:nvSpPr>
          <p:cNvPr id="14" name="AutoShape 18">
            <a:extLst>
              <a:ext uri="{FF2B5EF4-FFF2-40B4-BE49-F238E27FC236}">
                <a16:creationId xmlns:a16="http://schemas.microsoft.com/office/drawing/2014/main" id="{DBA19EFC-DF1E-4B26-917A-A5547543A970}"/>
              </a:ext>
            </a:extLst>
          </p:cNvPr>
          <p:cNvSpPr>
            <a:spLocks noChangeArrowheads="1"/>
          </p:cNvSpPr>
          <p:nvPr/>
        </p:nvSpPr>
        <p:spPr bwMode="auto">
          <a:xfrm rot="10800000">
            <a:off x="3756437" y="1483920"/>
            <a:ext cx="4693461" cy="4585903"/>
          </a:xfrm>
          <a:custGeom>
            <a:avLst/>
            <a:gdLst>
              <a:gd name="G0" fmla="+- 5400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400"/>
              <a:gd name="G18" fmla="*/ 5400 1 2"/>
              <a:gd name="G19" fmla="+- G18 5400 0"/>
              <a:gd name="G20" fmla="cos G19 11796480"/>
              <a:gd name="G21" fmla="sin G19 11796480"/>
              <a:gd name="G22" fmla="+- G20 10800 0"/>
              <a:gd name="G23" fmla="+- G21 10800 0"/>
              <a:gd name="G24" fmla="+- 10800 0 G20"/>
              <a:gd name="G25" fmla="+- 5400 10800 0"/>
              <a:gd name="G26" fmla="?: G9 G17 G25"/>
              <a:gd name="G27" fmla="?: G9 0 21600"/>
              <a:gd name="G28" fmla="cos 10800 11796480"/>
              <a:gd name="G29" fmla="sin 10800 11796480"/>
              <a:gd name="G30" fmla="sin 5400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2700 w 21600"/>
              <a:gd name="T15" fmla="*/ 10800 h 21600"/>
              <a:gd name="T16" fmla="*/ 10800 w 21600"/>
              <a:gd name="T17" fmla="*/ 5400 h 21600"/>
              <a:gd name="T18" fmla="*/ 18900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close/>
              </a:path>
            </a:pathLst>
          </a:custGeom>
          <a:solidFill>
            <a:schemeClr val="accent1"/>
          </a:solidFill>
          <a:ln w="9525">
            <a:noFill/>
            <a:miter lim="800000"/>
            <a:headEnd/>
            <a:tailEnd/>
          </a:ln>
          <a:effectLst/>
        </p:spPr>
        <p:txBody>
          <a:bodyPr rot="10800000" wrap="none" lIns="45720" rIns="45720" anchor="b"/>
          <a:lstStyle/>
          <a:p>
            <a:pPr eaLnBrk="0" hangingPunct="0"/>
            <a:r>
              <a:rPr lang="en-GB">
                <a:solidFill>
                  <a:schemeClr val="bg1"/>
                </a:solidFill>
              </a:rPr>
              <a:t>Text</a:t>
            </a:r>
          </a:p>
          <a:p>
            <a:pPr eaLnBrk="0" hangingPunct="0"/>
            <a:endParaRPr lang="en-GB">
              <a:solidFill>
                <a:schemeClr val="tx1"/>
              </a:solidFill>
            </a:endParaRPr>
          </a:p>
        </p:txBody>
      </p:sp>
      <p:sp>
        <p:nvSpPr>
          <p:cNvPr id="4" name="Footer Placeholder 3">
            <a:extLst>
              <a:ext uri="{FF2B5EF4-FFF2-40B4-BE49-F238E27FC236}">
                <a16:creationId xmlns:a16="http://schemas.microsoft.com/office/drawing/2014/main" id="{E9D89F48-C289-4507-8DE4-73E0E249C625}"/>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C03F47A0-B176-491E-ABCF-21095D181DD3}"/>
              </a:ext>
            </a:extLst>
          </p:cNvPr>
          <p:cNvSpPr>
            <a:spLocks noGrp="1"/>
          </p:cNvSpPr>
          <p:nvPr>
            <p:ph type="sldNum" sz="quarter" idx="10"/>
          </p:nvPr>
        </p:nvSpPr>
        <p:spPr/>
        <p:txBody>
          <a:bodyPr/>
          <a:lstStyle/>
          <a:p>
            <a:fld id="{1F90F471-3972-4120-B8B3-0237DE626C35}" type="slidenum">
              <a:rPr lang="en-US" smtClean="0"/>
              <a:pPr/>
              <a:t>283</a:t>
            </a:fld>
            <a:endParaRPr lang="en-US" dirty="0"/>
          </a:p>
        </p:txBody>
      </p:sp>
    </p:spTree>
    <p:extLst>
      <p:ext uri="{BB962C8B-B14F-4D97-AF65-F5344CB8AC3E}">
        <p14:creationId xmlns:p14="http://schemas.microsoft.com/office/powerpoint/2010/main" val="3077287995"/>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en-US" dirty="0"/>
              <a:t>Linked Circles 1</a:t>
            </a:r>
          </a:p>
        </p:txBody>
      </p:sp>
      <p:sp>
        <p:nvSpPr>
          <p:cNvPr id="44" name="Oval 30">
            <a:extLst>
              <a:ext uri="{FF2B5EF4-FFF2-40B4-BE49-F238E27FC236}">
                <a16:creationId xmlns:a16="http://schemas.microsoft.com/office/drawing/2014/main" id="{C3F449DF-AE3F-46B7-8281-9512AE60DE67}"/>
              </a:ext>
            </a:extLst>
          </p:cNvPr>
          <p:cNvSpPr>
            <a:spLocks noChangeArrowheads="1"/>
          </p:cNvSpPr>
          <p:nvPr/>
        </p:nvSpPr>
        <p:spPr bwMode="auto">
          <a:xfrm>
            <a:off x="6595796" y="4772528"/>
            <a:ext cx="1303780" cy="1303778"/>
          </a:xfrm>
          <a:prstGeom prst="ellipse">
            <a:avLst/>
          </a:prstGeom>
          <a:solidFill>
            <a:schemeClr val="accent2"/>
          </a:solidFill>
          <a:ln w="6350">
            <a:noFill/>
            <a:round/>
            <a:headEnd/>
            <a:tailEnd/>
          </a:ln>
          <a:effectLst/>
        </p:spPr>
        <p:txBody>
          <a:bodyPr wrap="none" lIns="45720" rIns="45720" anchor="ctr" anchorCtr="1"/>
          <a:lstStyle/>
          <a:p>
            <a:pPr eaLnBrk="0" hangingPunct="0"/>
            <a:r>
              <a:rPr lang="en-US" b="1">
                <a:solidFill>
                  <a:schemeClr val="bg1"/>
                </a:solidFill>
              </a:rPr>
              <a:t>Text</a:t>
            </a:r>
          </a:p>
        </p:txBody>
      </p:sp>
      <p:sp>
        <p:nvSpPr>
          <p:cNvPr id="31" name="Oval 26">
            <a:extLst>
              <a:ext uri="{FF2B5EF4-FFF2-40B4-BE49-F238E27FC236}">
                <a16:creationId xmlns:a16="http://schemas.microsoft.com/office/drawing/2014/main" id="{8F7FD5B6-4B33-4AB5-9844-67BBE7F78ABE}"/>
              </a:ext>
            </a:extLst>
          </p:cNvPr>
          <p:cNvSpPr>
            <a:spLocks noChangeArrowheads="1"/>
          </p:cNvSpPr>
          <p:nvPr/>
        </p:nvSpPr>
        <p:spPr bwMode="auto">
          <a:xfrm>
            <a:off x="4307842" y="4772528"/>
            <a:ext cx="1303780" cy="1303778"/>
          </a:xfrm>
          <a:prstGeom prst="ellipse">
            <a:avLst/>
          </a:prstGeom>
          <a:solidFill>
            <a:srgbClr val="C766FF"/>
          </a:solidFill>
          <a:ln w="6350">
            <a:noFill/>
            <a:round/>
            <a:headEnd/>
            <a:tailEnd/>
          </a:ln>
          <a:effectLst/>
        </p:spPr>
        <p:txBody>
          <a:bodyPr wrap="none" lIns="45720" rIns="45720" anchor="ctr" anchorCtr="1"/>
          <a:lstStyle/>
          <a:p>
            <a:pPr eaLnBrk="0" hangingPunct="0"/>
            <a:r>
              <a:rPr lang="en-US" b="1">
                <a:solidFill>
                  <a:schemeClr val="bg1"/>
                </a:solidFill>
              </a:rPr>
              <a:t>Text</a:t>
            </a:r>
          </a:p>
        </p:txBody>
      </p:sp>
      <p:grpSp>
        <p:nvGrpSpPr>
          <p:cNvPr id="3" name="Group 2" descr="Linked circles insert text here">
            <a:extLst>
              <a:ext uri="{FF2B5EF4-FFF2-40B4-BE49-F238E27FC236}">
                <a16:creationId xmlns:a16="http://schemas.microsoft.com/office/drawing/2014/main" id="{8333D028-4B85-4610-9791-2CD038DDAC5C}"/>
              </a:ext>
            </a:extLst>
          </p:cNvPr>
          <p:cNvGrpSpPr/>
          <p:nvPr/>
        </p:nvGrpSpPr>
        <p:grpSpPr>
          <a:xfrm>
            <a:off x="3650034" y="1216306"/>
            <a:ext cx="4903967" cy="4219102"/>
            <a:chOff x="3650034" y="1216306"/>
            <a:chExt cx="4903967" cy="4219102"/>
          </a:xfrm>
        </p:grpSpPr>
        <p:sp>
          <p:nvSpPr>
            <p:cNvPr id="18" name="Freeform 20">
              <a:extLst>
                <a:ext uri="{FF2B5EF4-FFF2-40B4-BE49-F238E27FC236}">
                  <a16:creationId xmlns:a16="http://schemas.microsoft.com/office/drawing/2014/main" id="{414DF820-0891-4739-9188-214769AA9621}"/>
                </a:ext>
                <a:ext uri="{C183D7F6-B498-43B3-948B-1728B52AA6E4}">
                  <adec:decorative xmlns:adec="http://schemas.microsoft.com/office/drawing/2017/decorative" val="1"/>
                </a:ext>
              </a:extLst>
            </p:cNvPr>
            <p:cNvSpPr>
              <a:spLocks/>
            </p:cNvSpPr>
            <p:nvPr/>
          </p:nvSpPr>
          <p:spPr bwMode="auto">
            <a:xfrm>
              <a:off x="4316214" y="1894407"/>
              <a:ext cx="3683130" cy="3541001"/>
            </a:xfrm>
            <a:custGeom>
              <a:avLst/>
              <a:gdLst/>
              <a:ahLst/>
              <a:cxnLst>
                <a:cxn ang="0">
                  <a:pos x="0" y="492"/>
                </a:cxn>
                <a:cxn ang="0">
                  <a:pos x="239" y="1261"/>
                </a:cxn>
                <a:cxn ang="0">
                  <a:pos x="992" y="1261"/>
                </a:cxn>
                <a:cxn ang="0">
                  <a:pos x="1246" y="485"/>
                </a:cxn>
                <a:cxn ang="0">
                  <a:pos x="619" y="0"/>
                </a:cxn>
                <a:cxn ang="0">
                  <a:pos x="0" y="492"/>
                </a:cxn>
              </a:cxnLst>
              <a:rect l="0" t="0" r="r" b="b"/>
              <a:pathLst>
                <a:path w="1247" h="1262">
                  <a:moveTo>
                    <a:pt x="0" y="492"/>
                  </a:moveTo>
                  <a:lnTo>
                    <a:pt x="239" y="1261"/>
                  </a:lnTo>
                  <a:lnTo>
                    <a:pt x="992" y="1261"/>
                  </a:lnTo>
                  <a:lnTo>
                    <a:pt x="1246" y="485"/>
                  </a:lnTo>
                  <a:lnTo>
                    <a:pt x="619" y="0"/>
                  </a:lnTo>
                  <a:lnTo>
                    <a:pt x="0" y="492"/>
                  </a:lnTo>
                </a:path>
              </a:pathLst>
            </a:custGeom>
            <a:noFill/>
            <a:ln w="19050" cap="rnd" cmpd="sng">
              <a:solidFill>
                <a:schemeClr val="tx2">
                  <a:lumMod val="60000"/>
                  <a:lumOff val="40000"/>
                </a:schemeClr>
              </a:solidFill>
              <a:prstDash val="sysDot"/>
              <a:round/>
              <a:headEnd/>
              <a:tailEnd/>
            </a:ln>
            <a:effectLst/>
          </p:spPr>
          <p:txBody>
            <a:bodyPr lIns="45720" rIns="45720" anchor="ctr" anchorCtr="1"/>
            <a:lstStyle/>
            <a:p>
              <a:endParaRPr lang="en-US"/>
            </a:p>
          </p:txBody>
        </p:sp>
        <p:grpSp>
          <p:nvGrpSpPr>
            <p:cNvPr id="19" name="Group 18">
              <a:extLst>
                <a:ext uri="{FF2B5EF4-FFF2-40B4-BE49-F238E27FC236}">
                  <a16:creationId xmlns:a16="http://schemas.microsoft.com/office/drawing/2014/main" id="{D674FC28-68E8-4CE0-8D55-53970D715682}"/>
                </a:ext>
                <a:ext uri="{C183D7F6-B498-43B3-948B-1728B52AA6E4}">
                  <adec:decorative xmlns:adec="http://schemas.microsoft.com/office/drawing/2017/decorative" val="1"/>
                </a:ext>
              </a:extLst>
            </p:cNvPr>
            <p:cNvGrpSpPr/>
            <p:nvPr/>
          </p:nvGrpSpPr>
          <p:grpSpPr>
            <a:xfrm>
              <a:off x="4275712" y="1912125"/>
              <a:ext cx="3721102" cy="3500505"/>
              <a:chOff x="4334668" y="2154201"/>
              <a:chExt cx="3493299" cy="3286207"/>
            </a:xfrm>
          </p:grpSpPr>
          <p:sp>
            <p:nvSpPr>
              <p:cNvPr id="20" name="Line 24">
                <a:extLst>
                  <a:ext uri="{FF2B5EF4-FFF2-40B4-BE49-F238E27FC236}">
                    <a16:creationId xmlns:a16="http://schemas.microsoft.com/office/drawing/2014/main" id="{7535F5D0-8835-40EE-BA6D-4AF56E722C35}"/>
                  </a:ext>
                </a:extLst>
              </p:cNvPr>
              <p:cNvSpPr>
                <a:spLocks noChangeShapeType="1"/>
              </p:cNvSpPr>
              <p:nvPr/>
            </p:nvSpPr>
            <p:spPr bwMode="auto">
              <a:xfrm flipV="1">
                <a:off x="4990553" y="2154201"/>
                <a:ext cx="1059872" cy="3286207"/>
              </a:xfrm>
              <a:prstGeom prst="line">
                <a:avLst/>
              </a:prstGeom>
              <a:noFill/>
              <a:ln w="19050" cap="rnd">
                <a:solidFill>
                  <a:schemeClr val="tx2">
                    <a:lumMod val="60000"/>
                    <a:lumOff val="40000"/>
                  </a:schemeClr>
                </a:solidFill>
                <a:prstDash val="sysDot"/>
                <a:round/>
                <a:headEnd type="none" w="sm" len="sm"/>
                <a:tailEnd type="none" w="sm" len="sm"/>
              </a:ln>
              <a:effectLst/>
            </p:spPr>
            <p:txBody>
              <a:bodyPr wrap="none" lIns="45720" rIns="45720" anchor="ctr" anchorCtr="1"/>
              <a:lstStyle/>
              <a:p>
                <a:endParaRPr lang="en-US"/>
              </a:p>
            </p:txBody>
          </p:sp>
          <p:sp>
            <p:nvSpPr>
              <p:cNvPr id="22" name="Line 21">
                <a:extLst>
                  <a:ext uri="{FF2B5EF4-FFF2-40B4-BE49-F238E27FC236}">
                    <a16:creationId xmlns:a16="http://schemas.microsoft.com/office/drawing/2014/main" id="{AEE297FA-66A8-453B-BE58-E6A5EF20AD3F}"/>
                  </a:ext>
                </a:extLst>
              </p:cNvPr>
              <p:cNvSpPr>
                <a:spLocks noChangeShapeType="1"/>
              </p:cNvSpPr>
              <p:nvPr/>
            </p:nvSpPr>
            <p:spPr bwMode="auto">
              <a:xfrm>
                <a:off x="4353679" y="3434942"/>
                <a:ext cx="2728100" cy="2005465"/>
              </a:xfrm>
              <a:prstGeom prst="line">
                <a:avLst/>
              </a:prstGeom>
              <a:noFill/>
              <a:ln w="19050" cap="rnd">
                <a:solidFill>
                  <a:schemeClr val="tx2">
                    <a:lumMod val="60000"/>
                    <a:lumOff val="40000"/>
                  </a:schemeClr>
                </a:solidFill>
                <a:prstDash val="sysDot"/>
                <a:round/>
                <a:headEnd type="none" w="sm" len="sm"/>
                <a:tailEnd type="none" w="sm" len="sm"/>
              </a:ln>
              <a:effectLst/>
            </p:spPr>
            <p:txBody>
              <a:bodyPr wrap="none" lIns="45720" rIns="45720" anchor="ctr" anchorCtr="1"/>
              <a:lstStyle/>
              <a:p>
                <a:endParaRPr lang="en-US"/>
              </a:p>
            </p:txBody>
          </p:sp>
          <p:grpSp>
            <p:nvGrpSpPr>
              <p:cNvPr id="27" name="Group 26">
                <a:extLst>
                  <a:ext uri="{FF2B5EF4-FFF2-40B4-BE49-F238E27FC236}">
                    <a16:creationId xmlns:a16="http://schemas.microsoft.com/office/drawing/2014/main" id="{77131743-8DB8-4B41-96FA-C752D2EFD234}"/>
                  </a:ext>
                </a:extLst>
              </p:cNvPr>
              <p:cNvGrpSpPr/>
              <p:nvPr/>
            </p:nvGrpSpPr>
            <p:grpSpPr>
              <a:xfrm>
                <a:off x="4334668" y="2175586"/>
                <a:ext cx="3493299" cy="3222051"/>
                <a:chOff x="4334668" y="2175586"/>
                <a:chExt cx="3493299" cy="3222051"/>
              </a:xfrm>
            </p:grpSpPr>
            <p:sp>
              <p:nvSpPr>
                <p:cNvPr id="28" name="Line 22">
                  <a:extLst>
                    <a:ext uri="{FF2B5EF4-FFF2-40B4-BE49-F238E27FC236}">
                      <a16:creationId xmlns:a16="http://schemas.microsoft.com/office/drawing/2014/main" id="{E91FA3F8-BB7B-44E4-B7A5-33B694F2CE63}"/>
                    </a:ext>
                  </a:extLst>
                </p:cNvPr>
                <p:cNvSpPr>
                  <a:spLocks noChangeShapeType="1"/>
                </p:cNvSpPr>
                <p:nvPr/>
              </p:nvSpPr>
              <p:spPr bwMode="auto">
                <a:xfrm flipV="1">
                  <a:off x="5014317" y="3351777"/>
                  <a:ext cx="2813650" cy="2045860"/>
                </a:xfrm>
                <a:prstGeom prst="line">
                  <a:avLst/>
                </a:prstGeom>
                <a:noFill/>
                <a:ln w="19050" cap="rnd">
                  <a:solidFill>
                    <a:schemeClr val="tx2">
                      <a:lumMod val="60000"/>
                      <a:lumOff val="40000"/>
                    </a:schemeClr>
                  </a:solidFill>
                  <a:prstDash val="sysDot"/>
                  <a:round/>
                  <a:headEnd type="none" w="sm" len="sm"/>
                  <a:tailEnd type="none" w="sm" len="sm"/>
                </a:ln>
                <a:effectLst/>
              </p:spPr>
              <p:txBody>
                <a:bodyPr wrap="none" lIns="45720" rIns="45720" anchor="ctr" anchorCtr="1"/>
                <a:lstStyle/>
                <a:p>
                  <a:endParaRPr lang="en-US"/>
                </a:p>
              </p:txBody>
            </p:sp>
            <p:sp>
              <p:nvSpPr>
                <p:cNvPr id="29" name="Line 23">
                  <a:extLst>
                    <a:ext uri="{FF2B5EF4-FFF2-40B4-BE49-F238E27FC236}">
                      <a16:creationId xmlns:a16="http://schemas.microsoft.com/office/drawing/2014/main" id="{45431569-96C4-4624-9F6F-F40BD30ED283}"/>
                    </a:ext>
                  </a:extLst>
                </p:cNvPr>
                <p:cNvSpPr>
                  <a:spLocks noChangeShapeType="1"/>
                </p:cNvSpPr>
                <p:nvPr/>
              </p:nvSpPr>
              <p:spPr bwMode="auto">
                <a:xfrm flipH="1" flipV="1">
                  <a:off x="6069435" y="2175586"/>
                  <a:ext cx="1031355" cy="3222051"/>
                </a:xfrm>
                <a:prstGeom prst="line">
                  <a:avLst/>
                </a:prstGeom>
                <a:noFill/>
                <a:ln w="19050" cap="rnd">
                  <a:solidFill>
                    <a:schemeClr val="tx2">
                      <a:lumMod val="60000"/>
                      <a:lumOff val="40000"/>
                    </a:schemeClr>
                  </a:solidFill>
                  <a:prstDash val="sysDot"/>
                  <a:round/>
                  <a:headEnd type="none" w="sm" len="sm"/>
                  <a:tailEnd type="none" w="sm" len="sm"/>
                </a:ln>
                <a:effectLst/>
              </p:spPr>
              <p:txBody>
                <a:bodyPr wrap="none" lIns="45720" rIns="45720" anchor="ctr" anchorCtr="1"/>
                <a:lstStyle/>
                <a:p>
                  <a:endParaRPr lang="en-US"/>
                </a:p>
              </p:txBody>
            </p:sp>
            <p:sp>
              <p:nvSpPr>
                <p:cNvPr id="30" name="Line 25">
                  <a:extLst>
                    <a:ext uri="{FF2B5EF4-FFF2-40B4-BE49-F238E27FC236}">
                      <a16:creationId xmlns:a16="http://schemas.microsoft.com/office/drawing/2014/main" id="{D59BFD22-56A2-425F-B197-F15539897C6F}"/>
                    </a:ext>
                  </a:extLst>
                </p:cNvPr>
                <p:cNvSpPr>
                  <a:spLocks noChangeShapeType="1"/>
                </p:cNvSpPr>
                <p:nvPr/>
              </p:nvSpPr>
              <p:spPr bwMode="auto">
                <a:xfrm>
                  <a:off x="4334668" y="3434942"/>
                  <a:ext cx="3493299" cy="0"/>
                </a:xfrm>
                <a:prstGeom prst="line">
                  <a:avLst/>
                </a:prstGeom>
                <a:noFill/>
                <a:ln w="19050" cap="rnd">
                  <a:solidFill>
                    <a:schemeClr val="tx2">
                      <a:lumMod val="60000"/>
                      <a:lumOff val="40000"/>
                    </a:schemeClr>
                  </a:solidFill>
                  <a:prstDash val="sysDot"/>
                  <a:round/>
                  <a:headEnd type="none" w="sm" len="sm"/>
                  <a:tailEnd type="none" w="sm" len="sm"/>
                </a:ln>
                <a:effectLst/>
              </p:spPr>
              <p:txBody>
                <a:bodyPr wrap="none" lIns="45720" rIns="45720" anchor="ctr" anchorCtr="1"/>
                <a:lstStyle/>
                <a:p>
                  <a:endParaRPr lang="en-US"/>
                </a:p>
              </p:txBody>
            </p:sp>
          </p:grpSp>
        </p:grpSp>
        <p:sp>
          <p:nvSpPr>
            <p:cNvPr id="42" name="Oval 28">
              <a:extLst>
                <a:ext uri="{FF2B5EF4-FFF2-40B4-BE49-F238E27FC236}">
                  <a16:creationId xmlns:a16="http://schemas.microsoft.com/office/drawing/2014/main" id="{D9520CEF-DD52-47B8-BC0E-BB3DD29DAB5D}"/>
                </a:ext>
              </a:extLst>
            </p:cNvPr>
            <p:cNvSpPr>
              <a:spLocks noChangeArrowheads="1"/>
            </p:cNvSpPr>
            <p:nvPr/>
          </p:nvSpPr>
          <p:spPr bwMode="auto">
            <a:xfrm>
              <a:off x="5449282" y="1216306"/>
              <a:ext cx="1303780" cy="1303778"/>
            </a:xfrm>
            <a:prstGeom prst="ellipse">
              <a:avLst/>
            </a:prstGeom>
            <a:solidFill>
              <a:schemeClr val="accent1"/>
            </a:solidFill>
            <a:ln w="6350">
              <a:noFill/>
              <a:round/>
              <a:headEnd/>
              <a:tailEnd/>
            </a:ln>
            <a:effectLst/>
          </p:spPr>
          <p:txBody>
            <a:bodyPr wrap="none" lIns="45720" rIns="45720" anchor="ctr" anchorCtr="1"/>
            <a:lstStyle/>
            <a:p>
              <a:pPr eaLnBrk="0" hangingPunct="0"/>
              <a:r>
                <a:rPr lang="en-US" b="1" dirty="0">
                  <a:solidFill>
                    <a:schemeClr val="bg1"/>
                  </a:solidFill>
                </a:rPr>
                <a:t>Text</a:t>
              </a:r>
            </a:p>
          </p:txBody>
        </p:sp>
        <p:sp>
          <p:nvSpPr>
            <p:cNvPr id="43" name="Oval 29">
              <a:extLst>
                <a:ext uri="{FF2B5EF4-FFF2-40B4-BE49-F238E27FC236}">
                  <a16:creationId xmlns:a16="http://schemas.microsoft.com/office/drawing/2014/main" id="{ED857CA3-ACCD-4497-AFA3-DD1AA3295AC4}"/>
                </a:ext>
              </a:extLst>
            </p:cNvPr>
            <p:cNvSpPr>
              <a:spLocks noChangeArrowheads="1"/>
            </p:cNvSpPr>
            <p:nvPr/>
          </p:nvSpPr>
          <p:spPr bwMode="auto">
            <a:xfrm>
              <a:off x="7250221" y="2628310"/>
              <a:ext cx="1303780" cy="1303778"/>
            </a:xfrm>
            <a:prstGeom prst="ellipse">
              <a:avLst/>
            </a:prstGeom>
            <a:solidFill>
              <a:schemeClr val="accent3"/>
            </a:solidFill>
            <a:ln w="6350">
              <a:noFill/>
              <a:round/>
              <a:headEnd/>
              <a:tailEnd/>
            </a:ln>
            <a:effectLst/>
          </p:spPr>
          <p:txBody>
            <a:bodyPr wrap="none" lIns="45720" rIns="45720" anchor="ctr" anchorCtr="1"/>
            <a:lstStyle/>
            <a:p>
              <a:pPr eaLnBrk="0" hangingPunct="0"/>
              <a:r>
                <a:rPr lang="en-GB" b="1">
                  <a:solidFill>
                    <a:schemeClr val="bg1"/>
                  </a:solidFill>
                </a:rPr>
                <a:t>Text</a:t>
              </a:r>
              <a:endParaRPr lang="en-US" b="1">
                <a:solidFill>
                  <a:schemeClr val="bg1"/>
                </a:solidFill>
              </a:endParaRPr>
            </a:p>
          </p:txBody>
        </p:sp>
        <p:sp>
          <p:nvSpPr>
            <p:cNvPr id="41" name="Oval 27">
              <a:extLst>
                <a:ext uri="{FF2B5EF4-FFF2-40B4-BE49-F238E27FC236}">
                  <a16:creationId xmlns:a16="http://schemas.microsoft.com/office/drawing/2014/main" id="{61602B35-DE32-4D52-A8B3-E72AF88584C6}"/>
                </a:ext>
              </a:extLst>
            </p:cNvPr>
            <p:cNvSpPr>
              <a:spLocks noChangeArrowheads="1"/>
            </p:cNvSpPr>
            <p:nvPr/>
          </p:nvSpPr>
          <p:spPr bwMode="auto">
            <a:xfrm>
              <a:off x="3650034" y="2628310"/>
              <a:ext cx="1303780" cy="1303778"/>
            </a:xfrm>
            <a:prstGeom prst="ellipse">
              <a:avLst/>
            </a:prstGeom>
            <a:solidFill>
              <a:schemeClr val="accent4"/>
            </a:solidFill>
            <a:ln w="6350">
              <a:noFill/>
              <a:round/>
              <a:headEnd/>
              <a:tailEnd/>
            </a:ln>
            <a:effectLst/>
          </p:spPr>
          <p:txBody>
            <a:bodyPr wrap="none" lIns="45720" rIns="45720" anchor="ctr" anchorCtr="1"/>
            <a:lstStyle/>
            <a:p>
              <a:pPr eaLnBrk="0" hangingPunct="0"/>
              <a:r>
                <a:rPr lang="en-US" b="1">
                  <a:solidFill>
                    <a:schemeClr val="bg1"/>
                  </a:solidFill>
                </a:rPr>
                <a:t>Text</a:t>
              </a:r>
            </a:p>
          </p:txBody>
        </p:sp>
      </p:grpSp>
      <p:sp>
        <p:nvSpPr>
          <p:cNvPr id="5" name="Slide Number Placeholder 4">
            <a:extLst>
              <a:ext uri="{FF2B5EF4-FFF2-40B4-BE49-F238E27FC236}">
                <a16:creationId xmlns:a16="http://schemas.microsoft.com/office/drawing/2014/main" id="{A9EBC3B5-2AEA-4C89-AED5-87EDC4DBA42C}"/>
              </a:ext>
            </a:extLst>
          </p:cNvPr>
          <p:cNvSpPr>
            <a:spLocks noGrp="1"/>
          </p:cNvSpPr>
          <p:nvPr>
            <p:ph type="sldNum" sz="quarter" idx="10"/>
          </p:nvPr>
        </p:nvSpPr>
        <p:spPr/>
        <p:txBody>
          <a:bodyPr/>
          <a:lstStyle/>
          <a:p>
            <a:fld id="{1F90F471-3972-4120-B8B3-0237DE626C35}" type="slidenum">
              <a:rPr lang="en-US" smtClean="0"/>
              <a:pPr/>
              <a:t>284</a:t>
            </a:fld>
            <a:endParaRPr lang="en-US" dirty="0"/>
          </a:p>
        </p:txBody>
      </p:sp>
    </p:spTree>
    <p:extLst>
      <p:ext uri="{BB962C8B-B14F-4D97-AF65-F5344CB8AC3E}">
        <p14:creationId xmlns:p14="http://schemas.microsoft.com/office/powerpoint/2010/main" val="1334267472"/>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sz="3600" b="1" dirty="0"/>
              <a:t>Linked Circles 2</a:t>
            </a:r>
          </a:p>
        </p:txBody>
      </p:sp>
      <p:grpSp>
        <p:nvGrpSpPr>
          <p:cNvPr id="3" name="Group 2" descr="Linked cirlces insert text here">
            <a:extLst>
              <a:ext uri="{FF2B5EF4-FFF2-40B4-BE49-F238E27FC236}">
                <a16:creationId xmlns:a16="http://schemas.microsoft.com/office/drawing/2014/main" id="{56FF6E34-AB55-4A36-95E4-25BD14BAFE13}"/>
              </a:ext>
            </a:extLst>
          </p:cNvPr>
          <p:cNvGrpSpPr/>
          <p:nvPr/>
        </p:nvGrpSpPr>
        <p:grpSpPr>
          <a:xfrm>
            <a:off x="3641073" y="1219200"/>
            <a:ext cx="4937421" cy="4838700"/>
            <a:chOff x="3641073" y="1219200"/>
            <a:chExt cx="4937421" cy="4838700"/>
          </a:xfrm>
        </p:grpSpPr>
        <p:cxnSp>
          <p:nvCxnSpPr>
            <p:cNvPr id="26" name="AutoShape 42">
              <a:extLst>
                <a:ext uri="{FF2B5EF4-FFF2-40B4-BE49-F238E27FC236}">
                  <a16:creationId xmlns:a16="http://schemas.microsoft.com/office/drawing/2014/main" id="{0DA09875-CE8A-46C3-B3F9-D12E417DC4E8}"/>
                </a:ext>
                <a:ext uri="{C183D7F6-B498-43B3-948B-1728B52AA6E4}">
                  <adec:decorative xmlns:adec="http://schemas.microsoft.com/office/drawing/2017/decorative" val="1"/>
                </a:ext>
              </a:extLst>
            </p:cNvPr>
            <p:cNvCxnSpPr>
              <a:cxnSpLocks noChangeShapeType="1"/>
            </p:cNvCxnSpPr>
            <p:nvPr>
              <p:custDataLst>
                <p:tags r:id="rId1"/>
              </p:custDataLst>
            </p:nvPr>
          </p:nvCxnSpPr>
          <p:spPr bwMode="auto">
            <a:xfrm flipV="1">
              <a:off x="6158770" y="2278369"/>
              <a:ext cx="0" cy="528299"/>
            </a:xfrm>
            <a:prstGeom prst="straightConnector1">
              <a:avLst/>
            </a:prstGeom>
            <a:noFill/>
            <a:ln w="19050" cap="rnd">
              <a:solidFill>
                <a:schemeClr val="tx2">
                  <a:lumMod val="60000"/>
                  <a:lumOff val="40000"/>
                </a:schemeClr>
              </a:solidFill>
              <a:prstDash val="sysDot"/>
              <a:round/>
              <a:headEnd/>
              <a:tailEnd/>
            </a:ln>
            <a:effectLst/>
          </p:spPr>
        </p:cxnSp>
        <p:sp>
          <p:nvSpPr>
            <p:cNvPr id="28" name="Oval 29">
              <a:extLst>
                <a:ext uri="{FF2B5EF4-FFF2-40B4-BE49-F238E27FC236}">
                  <a16:creationId xmlns:a16="http://schemas.microsoft.com/office/drawing/2014/main" id="{2E014172-98EA-4330-AD5F-9457A29FC88B}"/>
                </a:ext>
              </a:extLst>
            </p:cNvPr>
            <p:cNvSpPr>
              <a:spLocks noChangeArrowheads="1"/>
            </p:cNvSpPr>
            <p:nvPr>
              <p:custDataLst>
                <p:tags r:id="rId2"/>
              </p:custDataLst>
            </p:nvPr>
          </p:nvSpPr>
          <p:spPr bwMode="auto">
            <a:xfrm>
              <a:off x="5481914" y="1219200"/>
              <a:ext cx="1295725" cy="1295725"/>
            </a:xfrm>
            <a:prstGeom prst="ellipse">
              <a:avLst/>
            </a:prstGeom>
            <a:solidFill>
              <a:schemeClr val="accent1"/>
            </a:solidFill>
            <a:ln w="6350">
              <a:noFill/>
              <a:round/>
              <a:headEnd/>
              <a:tailEnd/>
            </a:ln>
            <a:effectLst/>
          </p:spPr>
          <p:txBody>
            <a:bodyPr wrap="none" lIns="72000" tIns="72000" rIns="72000" bIns="72000" anchor="ctr" anchorCtr="1"/>
            <a:lstStyle/>
            <a:p>
              <a:pPr eaLnBrk="0" hangingPunct="0"/>
              <a:r>
                <a:rPr lang="en-GB" b="1">
                  <a:solidFill>
                    <a:schemeClr val="bg1"/>
                  </a:solidFill>
                </a:rPr>
                <a:t>Text</a:t>
              </a:r>
              <a:endParaRPr lang="en-US" b="1">
                <a:solidFill>
                  <a:schemeClr val="bg1"/>
                </a:solidFill>
              </a:endParaRPr>
            </a:p>
          </p:txBody>
        </p:sp>
        <p:cxnSp>
          <p:nvCxnSpPr>
            <p:cNvPr id="27" name="AutoShape 44">
              <a:extLst>
                <a:ext uri="{FF2B5EF4-FFF2-40B4-BE49-F238E27FC236}">
                  <a16:creationId xmlns:a16="http://schemas.microsoft.com/office/drawing/2014/main" id="{3645F07B-8E3B-4683-971B-DF8699F755E0}"/>
                </a:ext>
                <a:ext uri="{C183D7F6-B498-43B3-948B-1728B52AA6E4}">
                  <adec:decorative xmlns:adec="http://schemas.microsoft.com/office/drawing/2017/decorative" val="1"/>
                </a:ext>
              </a:extLst>
            </p:cNvPr>
            <p:cNvCxnSpPr>
              <a:cxnSpLocks noChangeShapeType="1"/>
            </p:cNvCxnSpPr>
            <p:nvPr>
              <p:custDataLst>
                <p:tags r:id="rId3"/>
              </p:custDataLst>
            </p:nvPr>
          </p:nvCxnSpPr>
          <p:spPr bwMode="auto">
            <a:xfrm flipV="1">
              <a:off x="6727590" y="2756488"/>
              <a:ext cx="489372" cy="311419"/>
            </a:xfrm>
            <a:prstGeom prst="straightConnector1">
              <a:avLst/>
            </a:prstGeom>
            <a:noFill/>
            <a:ln w="19050" cap="rnd">
              <a:solidFill>
                <a:schemeClr val="tx2">
                  <a:lumMod val="60000"/>
                  <a:lumOff val="40000"/>
                </a:schemeClr>
              </a:solidFill>
              <a:prstDash val="sysDot"/>
              <a:round/>
              <a:headEnd/>
              <a:tailEnd/>
            </a:ln>
            <a:effectLst/>
          </p:spPr>
        </p:cxnSp>
        <p:sp>
          <p:nvSpPr>
            <p:cNvPr id="29" name="Oval 30">
              <a:extLst>
                <a:ext uri="{FF2B5EF4-FFF2-40B4-BE49-F238E27FC236}">
                  <a16:creationId xmlns:a16="http://schemas.microsoft.com/office/drawing/2014/main" id="{EFC499AC-4636-4856-AB36-4DE95FA583B6}"/>
                </a:ext>
              </a:extLst>
            </p:cNvPr>
            <p:cNvSpPr>
              <a:spLocks noChangeArrowheads="1"/>
            </p:cNvSpPr>
            <p:nvPr>
              <p:custDataLst>
                <p:tags r:id="rId4"/>
              </p:custDataLst>
            </p:nvPr>
          </p:nvSpPr>
          <p:spPr bwMode="auto">
            <a:xfrm>
              <a:off x="7073302" y="1950137"/>
              <a:ext cx="1295725" cy="1295725"/>
            </a:xfrm>
            <a:prstGeom prst="ellipse">
              <a:avLst/>
            </a:prstGeom>
            <a:solidFill>
              <a:schemeClr val="accent1"/>
            </a:solidFill>
            <a:ln w="6350">
              <a:noFill/>
              <a:round/>
              <a:headEnd/>
              <a:tailEnd/>
            </a:ln>
            <a:effectLst/>
          </p:spPr>
          <p:txBody>
            <a:bodyPr wrap="none" lIns="72000" tIns="72000" rIns="72000" bIns="72000" anchor="ctr" anchorCtr="1"/>
            <a:lstStyle/>
            <a:p>
              <a:pPr eaLnBrk="0" hangingPunct="0"/>
              <a:r>
                <a:rPr lang="en-GB" b="1">
                  <a:solidFill>
                    <a:schemeClr val="bg1"/>
                  </a:solidFill>
                </a:rPr>
                <a:t>Text</a:t>
              </a:r>
              <a:endParaRPr lang="en-US" b="1">
                <a:solidFill>
                  <a:schemeClr val="bg1"/>
                </a:solidFill>
              </a:endParaRPr>
            </a:p>
          </p:txBody>
        </p:sp>
        <p:cxnSp>
          <p:nvCxnSpPr>
            <p:cNvPr id="23" name="AutoShape 39">
              <a:extLst>
                <a:ext uri="{FF2B5EF4-FFF2-40B4-BE49-F238E27FC236}">
                  <a16:creationId xmlns:a16="http://schemas.microsoft.com/office/drawing/2014/main" id="{B2BAABA9-743A-4CC9-AD46-A848FAEBBD9B}"/>
                </a:ext>
                <a:ext uri="{C183D7F6-B498-43B3-948B-1728B52AA6E4}">
                  <adec:decorative xmlns:adec="http://schemas.microsoft.com/office/drawing/2017/decorative" val="1"/>
                </a:ext>
              </a:extLst>
            </p:cNvPr>
            <p:cNvCxnSpPr>
              <a:cxnSpLocks noChangeShapeType="1"/>
            </p:cNvCxnSpPr>
            <p:nvPr>
              <p:custDataLst>
                <p:tags r:id="rId5"/>
              </p:custDataLst>
            </p:nvPr>
          </p:nvCxnSpPr>
          <p:spPr bwMode="auto">
            <a:xfrm flipH="1" flipV="1">
              <a:off x="6898375" y="3870510"/>
              <a:ext cx="763718" cy="257662"/>
            </a:xfrm>
            <a:prstGeom prst="straightConnector1">
              <a:avLst/>
            </a:prstGeom>
            <a:noFill/>
            <a:ln w="19050" cap="rnd">
              <a:solidFill>
                <a:schemeClr val="tx2">
                  <a:lumMod val="60000"/>
                  <a:lumOff val="40000"/>
                </a:schemeClr>
              </a:solidFill>
              <a:prstDash val="sysDot"/>
              <a:round/>
              <a:headEnd/>
              <a:tailEnd/>
            </a:ln>
            <a:effectLst/>
          </p:spPr>
        </p:cxnSp>
        <p:sp>
          <p:nvSpPr>
            <p:cNvPr id="30" name="Oval 31">
              <a:extLst>
                <a:ext uri="{FF2B5EF4-FFF2-40B4-BE49-F238E27FC236}">
                  <a16:creationId xmlns:a16="http://schemas.microsoft.com/office/drawing/2014/main" id="{5DF4CB07-B4BD-47C1-B0F0-968711ADEADC}"/>
                </a:ext>
              </a:extLst>
            </p:cNvPr>
            <p:cNvSpPr>
              <a:spLocks noChangeArrowheads="1"/>
            </p:cNvSpPr>
            <p:nvPr>
              <p:custDataLst>
                <p:tags r:id="rId6"/>
              </p:custDataLst>
            </p:nvPr>
          </p:nvSpPr>
          <p:spPr bwMode="auto">
            <a:xfrm>
              <a:off x="7282769" y="3611690"/>
              <a:ext cx="1295725" cy="1295725"/>
            </a:xfrm>
            <a:prstGeom prst="ellipse">
              <a:avLst/>
            </a:prstGeom>
            <a:solidFill>
              <a:schemeClr val="accent1"/>
            </a:solidFill>
            <a:ln w="6350">
              <a:noFill/>
              <a:round/>
              <a:headEnd/>
              <a:tailEnd/>
            </a:ln>
            <a:effectLst/>
          </p:spPr>
          <p:txBody>
            <a:bodyPr wrap="none" lIns="72000" tIns="72000" rIns="72000" bIns="72000" anchor="ctr" anchorCtr="1"/>
            <a:lstStyle/>
            <a:p>
              <a:pPr eaLnBrk="0" hangingPunct="0"/>
              <a:r>
                <a:rPr lang="en-GB" b="1">
                  <a:solidFill>
                    <a:schemeClr val="bg1"/>
                  </a:solidFill>
                </a:rPr>
                <a:t>Text</a:t>
              </a:r>
              <a:endParaRPr lang="en-US" b="1">
                <a:solidFill>
                  <a:schemeClr val="bg1"/>
                </a:solidFill>
              </a:endParaRPr>
            </a:p>
          </p:txBody>
        </p:sp>
        <p:cxnSp>
          <p:nvCxnSpPr>
            <p:cNvPr id="20" name="AutoShape 37">
              <a:extLst>
                <a:ext uri="{FF2B5EF4-FFF2-40B4-BE49-F238E27FC236}">
                  <a16:creationId xmlns:a16="http://schemas.microsoft.com/office/drawing/2014/main" id="{3F97DBAF-AB7A-4022-BC2B-CF49EF06F5BB}"/>
                </a:ext>
                <a:ext uri="{C183D7F6-B498-43B3-948B-1728B52AA6E4}">
                  <adec:decorative xmlns:adec="http://schemas.microsoft.com/office/drawing/2017/decorative" val="1"/>
                </a:ext>
              </a:extLst>
            </p:cNvPr>
            <p:cNvCxnSpPr>
              <a:cxnSpLocks noChangeShapeType="1"/>
            </p:cNvCxnSpPr>
            <p:nvPr>
              <p:custDataLst>
                <p:tags r:id="rId7"/>
              </p:custDataLst>
            </p:nvPr>
          </p:nvCxnSpPr>
          <p:spPr bwMode="auto">
            <a:xfrm flipH="1" flipV="1">
              <a:off x="6397634" y="4402560"/>
              <a:ext cx="285467" cy="696985"/>
            </a:xfrm>
            <a:prstGeom prst="straightConnector1">
              <a:avLst/>
            </a:prstGeom>
            <a:noFill/>
            <a:ln w="19050" cap="rnd">
              <a:solidFill>
                <a:schemeClr val="tx2">
                  <a:lumMod val="60000"/>
                  <a:lumOff val="40000"/>
                </a:schemeClr>
              </a:solidFill>
              <a:prstDash val="sysDot"/>
              <a:round/>
              <a:headEnd/>
              <a:tailEnd/>
            </a:ln>
            <a:effectLst/>
          </p:spPr>
        </p:cxnSp>
        <p:sp>
          <p:nvSpPr>
            <p:cNvPr id="32" name="Oval 33">
              <a:extLst>
                <a:ext uri="{FF2B5EF4-FFF2-40B4-BE49-F238E27FC236}">
                  <a16:creationId xmlns:a16="http://schemas.microsoft.com/office/drawing/2014/main" id="{EBB40334-0055-4863-865C-3B8480F5F087}"/>
                </a:ext>
              </a:extLst>
            </p:cNvPr>
            <p:cNvSpPr>
              <a:spLocks noChangeArrowheads="1"/>
            </p:cNvSpPr>
            <p:nvPr>
              <p:custDataLst>
                <p:tags r:id="rId8"/>
              </p:custDataLst>
            </p:nvPr>
          </p:nvSpPr>
          <p:spPr bwMode="auto">
            <a:xfrm>
              <a:off x="6317925" y="4762175"/>
              <a:ext cx="1295725" cy="1295725"/>
            </a:xfrm>
            <a:prstGeom prst="ellipse">
              <a:avLst/>
            </a:prstGeom>
            <a:solidFill>
              <a:schemeClr val="accent1"/>
            </a:solidFill>
            <a:ln w="6350">
              <a:noFill/>
              <a:round/>
              <a:headEnd/>
              <a:tailEnd/>
            </a:ln>
            <a:effectLst/>
          </p:spPr>
          <p:txBody>
            <a:bodyPr wrap="none" lIns="72000" tIns="72000" rIns="72000" bIns="72000" anchor="ctr" anchorCtr="1"/>
            <a:lstStyle/>
            <a:p>
              <a:pPr eaLnBrk="0" hangingPunct="0"/>
              <a:r>
                <a:rPr lang="en-GB" b="1">
                  <a:solidFill>
                    <a:schemeClr val="bg1"/>
                  </a:solidFill>
                </a:rPr>
                <a:t>Text</a:t>
              </a:r>
              <a:endParaRPr lang="en-US" b="1">
                <a:solidFill>
                  <a:schemeClr val="bg1"/>
                </a:solidFill>
              </a:endParaRPr>
            </a:p>
          </p:txBody>
        </p:sp>
        <p:cxnSp>
          <p:nvCxnSpPr>
            <p:cNvPr id="22" name="AutoShape 38">
              <a:extLst>
                <a:ext uri="{FF2B5EF4-FFF2-40B4-BE49-F238E27FC236}">
                  <a16:creationId xmlns:a16="http://schemas.microsoft.com/office/drawing/2014/main" id="{EAEC8864-EEFD-451F-9536-99081DC278D5}"/>
                </a:ext>
                <a:ext uri="{C183D7F6-B498-43B3-948B-1728B52AA6E4}">
                  <adec:decorative xmlns:adec="http://schemas.microsoft.com/office/drawing/2017/decorative" val="1"/>
                </a:ext>
              </a:extLst>
            </p:cNvPr>
            <p:cNvCxnSpPr>
              <a:cxnSpLocks noChangeShapeType="1"/>
            </p:cNvCxnSpPr>
            <p:nvPr>
              <p:custDataLst>
                <p:tags r:id="rId9"/>
              </p:custDataLst>
            </p:nvPr>
          </p:nvCxnSpPr>
          <p:spPr bwMode="auto">
            <a:xfrm flipV="1">
              <a:off x="5587574" y="4376609"/>
              <a:ext cx="292882" cy="717376"/>
            </a:xfrm>
            <a:prstGeom prst="straightConnector1">
              <a:avLst/>
            </a:prstGeom>
            <a:noFill/>
            <a:ln w="19050" cap="rnd">
              <a:solidFill>
                <a:schemeClr val="tx2">
                  <a:lumMod val="60000"/>
                  <a:lumOff val="40000"/>
                </a:schemeClr>
              </a:solidFill>
              <a:prstDash val="sysDot"/>
              <a:round/>
              <a:headEnd/>
              <a:tailEnd/>
            </a:ln>
            <a:effectLst/>
          </p:spPr>
        </p:cxnSp>
        <p:sp>
          <p:nvSpPr>
            <p:cNvPr id="33" name="Oval 34">
              <a:extLst>
                <a:ext uri="{FF2B5EF4-FFF2-40B4-BE49-F238E27FC236}">
                  <a16:creationId xmlns:a16="http://schemas.microsoft.com/office/drawing/2014/main" id="{60BC0412-383F-49D1-823D-12EB2461B576}"/>
                </a:ext>
              </a:extLst>
            </p:cNvPr>
            <p:cNvSpPr>
              <a:spLocks noChangeArrowheads="1"/>
            </p:cNvSpPr>
            <p:nvPr>
              <p:custDataLst>
                <p:tags r:id="rId10"/>
              </p:custDataLst>
            </p:nvPr>
          </p:nvSpPr>
          <p:spPr bwMode="auto">
            <a:xfrm>
              <a:off x="4644048" y="4762175"/>
              <a:ext cx="1295725" cy="1295725"/>
            </a:xfrm>
            <a:prstGeom prst="ellipse">
              <a:avLst/>
            </a:prstGeom>
            <a:solidFill>
              <a:schemeClr val="accent1"/>
            </a:solidFill>
            <a:ln w="6350">
              <a:noFill/>
              <a:round/>
              <a:headEnd/>
              <a:tailEnd/>
            </a:ln>
            <a:effectLst/>
          </p:spPr>
          <p:txBody>
            <a:bodyPr wrap="none" lIns="72000" tIns="72000" rIns="72000" bIns="72000" anchor="ctr" anchorCtr="1"/>
            <a:lstStyle/>
            <a:p>
              <a:pPr eaLnBrk="0" hangingPunct="0"/>
              <a:r>
                <a:rPr lang="en-GB" b="1">
                  <a:solidFill>
                    <a:schemeClr val="bg1"/>
                  </a:solidFill>
                </a:rPr>
                <a:t>Text</a:t>
              </a:r>
              <a:endParaRPr lang="en-US" b="1">
                <a:solidFill>
                  <a:schemeClr val="bg1"/>
                </a:solidFill>
              </a:endParaRPr>
            </a:p>
          </p:txBody>
        </p:sp>
        <p:cxnSp>
          <p:nvCxnSpPr>
            <p:cNvPr id="24" name="AutoShape 40">
              <a:extLst>
                <a:ext uri="{FF2B5EF4-FFF2-40B4-BE49-F238E27FC236}">
                  <a16:creationId xmlns:a16="http://schemas.microsoft.com/office/drawing/2014/main" id="{757FD050-EF0E-4ED1-9B4B-9AFF3ACEC5CC}"/>
                </a:ext>
                <a:ext uri="{C183D7F6-B498-43B3-948B-1728B52AA6E4}">
                  <adec:decorative xmlns:adec="http://schemas.microsoft.com/office/drawing/2017/decorative" val="1"/>
                </a:ext>
              </a:extLst>
            </p:cNvPr>
            <p:cNvCxnSpPr>
              <a:cxnSpLocks noChangeShapeType="1"/>
            </p:cNvCxnSpPr>
            <p:nvPr>
              <p:custDataLst>
                <p:tags r:id="rId11"/>
              </p:custDataLst>
            </p:nvPr>
          </p:nvCxnSpPr>
          <p:spPr bwMode="auto">
            <a:xfrm flipH="1">
              <a:off x="4703366" y="3877968"/>
              <a:ext cx="630253" cy="257662"/>
            </a:xfrm>
            <a:prstGeom prst="straightConnector1">
              <a:avLst/>
            </a:prstGeom>
            <a:noFill/>
            <a:ln w="19050" cap="rnd">
              <a:solidFill>
                <a:schemeClr val="tx2">
                  <a:lumMod val="60000"/>
                  <a:lumOff val="40000"/>
                </a:schemeClr>
              </a:solidFill>
              <a:prstDash val="sysDot"/>
              <a:round/>
              <a:headEnd/>
              <a:tailEnd/>
            </a:ln>
            <a:effectLst/>
          </p:spPr>
        </p:cxnSp>
        <p:sp>
          <p:nvSpPr>
            <p:cNvPr id="31" name="Oval 32">
              <a:extLst>
                <a:ext uri="{FF2B5EF4-FFF2-40B4-BE49-F238E27FC236}">
                  <a16:creationId xmlns:a16="http://schemas.microsoft.com/office/drawing/2014/main" id="{6327A1D1-C5B9-4775-9090-B107B8D0F0BF}"/>
                </a:ext>
              </a:extLst>
            </p:cNvPr>
            <p:cNvSpPr>
              <a:spLocks noChangeArrowheads="1"/>
            </p:cNvSpPr>
            <p:nvPr>
              <p:custDataLst>
                <p:tags r:id="rId12"/>
              </p:custDataLst>
            </p:nvPr>
          </p:nvSpPr>
          <p:spPr bwMode="auto">
            <a:xfrm>
              <a:off x="3641073" y="3611690"/>
              <a:ext cx="1295725" cy="1295725"/>
            </a:xfrm>
            <a:prstGeom prst="ellipse">
              <a:avLst/>
            </a:prstGeom>
            <a:solidFill>
              <a:schemeClr val="accent1"/>
            </a:solidFill>
            <a:ln w="6350">
              <a:noFill/>
              <a:round/>
              <a:headEnd/>
              <a:tailEnd/>
            </a:ln>
            <a:effectLst/>
          </p:spPr>
          <p:txBody>
            <a:bodyPr wrap="none" lIns="72000" tIns="72000" rIns="72000" bIns="72000" anchor="ctr" anchorCtr="1"/>
            <a:lstStyle/>
            <a:p>
              <a:pPr eaLnBrk="0" hangingPunct="0"/>
              <a:r>
                <a:rPr lang="en-GB" b="1" dirty="0">
                  <a:solidFill>
                    <a:schemeClr val="bg1"/>
                  </a:solidFill>
                </a:rPr>
                <a:t>Text</a:t>
              </a:r>
              <a:endParaRPr lang="en-US" b="1" dirty="0">
                <a:solidFill>
                  <a:schemeClr val="bg1"/>
                </a:solidFill>
              </a:endParaRPr>
            </a:p>
          </p:txBody>
        </p:sp>
        <p:cxnSp>
          <p:nvCxnSpPr>
            <p:cNvPr id="25" name="AutoShape 41">
              <a:extLst>
                <a:ext uri="{FF2B5EF4-FFF2-40B4-BE49-F238E27FC236}">
                  <a16:creationId xmlns:a16="http://schemas.microsoft.com/office/drawing/2014/main" id="{A1CC44E6-362A-4ABC-9790-E06DA66F81F2}"/>
                </a:ext>
                <a:ext uri="{C183D7F6-B498-43B3-948B-1728B52AA6E4}">
                  <adec:decorative xmlns:adec="http://schemas.microsoft.com/office/drawing/2017/decorative" val="1"/>
                </a:ext>
              </a:extLst>
            </p:cNvPr>
            <p:cNvCxnSpPr>
              <a:cxnSpLocks noChangeShapeType="1"/>
              <a:stCxn id="35" idx="1"/>
            </p:cNvCxnSpPr>
            <p:nvPr>
              <p:custDataLst>
                <p:tags r:id="rId13"/>
              </p:custDataLst>
            </p:nvPr>
          </p:nvCxnSpPr>
          <p:spPr bwMode="auto">
            <a:xfrm flipH="1" flipV="1">
              <a:off x="4966589" y="2726830"/>
              <a:ext cx="569080" cy="318833"/>
            </a:xfrm>
            <a:prstGeom prst="straightConnector1">
              <a:avLst/>
            </a:prstGeom>
            <a:noFill/>
            <a:ln w="19050" cap="rnd">
              <a:solidFill>
                <a:schemeClr val="tx2">
                  <a:lumMod val="60000"/>
                  <a:lumOff val="40000"/>
                </a:schemeClr>
              </a:solidFill>
              <a:prstDash val="sysDot"/>
              <a:round/>
              <a:headEnd/>
              <a:tailEnd/>
            </a:ln>
            <a:effectLst/>
          </p:spPr>
        </p:cxnSp>
        <p:sp>
          <p:nvSpPr>
            <p:cNvPr id="34" name="Oval 35">
              <a:extLst>
                <a:ext uri="{FF2B5EF4-FFF2-40B4-BE49-F238E27FC236}">
                  <a16:creationId xmlns:a16="http://schemas.microsoft.com/office/drawing/2014/main" id="{C619874E-D699-4586-AB3E-998091CBA8F3}"/>
                </a:ext>
              </a:extLst>
            </p:cNvPr>
            <p:cNvSpPr>
              <a:spLocks noChangeArrowheads="1"/>
            </p:cNvSpPr>
            <p:nvPr>
              <p:custDataLst>
                <p:tags r:id="rId14"/>
              </p:custDataLst>
            </p:nvPr>
          </p:nvSpPr>
          <p:spPr bwMode="auto">
            <a:xfrm>
              <a:off x="3841271" y="1950137"/>
              <a:ext cx="1295725" cy="1295725"/>
            </a:xfrm>
            <a:prstGeom prst="ellipse">
              <a:avLst/>
            </a:prstGeom>
            <a:solidFill>
              <a:schemeClr val="accent1"/>
            </a:solidFill>
            <a:ln w="6350">
              <a:noFill/>
              <a:round/>
              <a:headEnd/>
              <a:tailEnd/>
            </a:ln>
            <a:effectLst/>
          </p:spPr>
          <p:txBody>
            <a:bodyPr wrap="none" lIns="72000" tIns="72000" rIns="72000" bIns="72000" anchor="ctr" anchorCtr="1"/>
            <a:lstStyle/>
            <a:p>
              <a:pPr eaLnBrk="0" hangingPunct="0"/>
              <a:r>
                <a:rPr lang="en-GB" b="1">
                  <a:solidFill>
                    <a:schemeClr val="bg1"/>
                  </a:solidFill>
                </a:rPr>
                <a:t>Text</a:t>
              </a:r>
              <a:endParaRPr lang="en-US" b="1">
                <a:solidFill>
                  <a:schemeClr val="bg1"/>
                </a:solidFill>
              </a:endParaRPr>
            </a:p>
          </p:txBody>
        </p:sp>
        <p:sp>
          <p:nvSpPr>
            <p:cNvPr id="35" name="Oval 36">
              <a:extLst>
                <a:ext uri="{FF2B5EF4-FFF2-40B4-BE49-F238E27FC236}">
                  <a16:creationId xmlns:a16="http://schemas.microsoft.com/office/drawing/2014/main" id="{D77AC385-DC66-4971-ABA4-88B1C8F7C719}"/>
                </a:ext>
              </a:extLst>
            </p:cNvPr>
            <p:cNvSpPr>
              <a:spLocks noChangeArrowheads="1"/>
            </p:cNvSpPr>
            <p:nvPr>
              <p:custDataLst>
                <p:tags r:id="rId15"/>
              </p:custDataLst>
            </p:nvPr>
          </p:nvSpPr>
          <p:spPr bwMode="auto">
            <a:xfrm>
              <a:off x="5289131" y="2799123"/>
              <a:ext cx="1681291" cy="1681291"/>
            </a:xfrm>
            <a:prstGeom prst="ellipse">
              <a:avLst/>
            </a:prstGeom>
            <a:solidFill>
              <a:schemeClr val="accent3"/>
            </a:solidFill>
            <a:ln w="6350">
              <a:noFill/>
              <a:round/>
              <a:headEnd/>
              <a:tailEnd/>
            </a:ln>
            <a:effectLst/>
          </p:spPr>
          <p:txBody>
            <a:bodyPr wrap="none" lIns="45720" rIns="45720" anchor="ctr" anchorCtr="1"/>
            <a:lstStyle/>
            <a:p>
              <a:pPr algn="ctr">
                <a:lnSpc>
                  <a:spcPct val="85000"/>
                </a:lnSpc>
                <a:spcBef>
                  <a:spcPct val="0"/>
                </a:spcBef>
              </a:pPr>
              <a:r>
                <a:rPr lang="en-GB" dirty="0">
                  <a:solidFill>
                    <a:schemeClr val="bg1"/>
                  </a:solidFill>
                  <a:latin typeface="+mj-lt"/>
                </a:rPr>
                <a:t>Text</a:t>
              </a:r>
              <a:endParaRPr lang="en-US" cap="all" dirty="0">
                <a:solidFill>
                  <a:schemeClr val="bg1"/>
                </a:solidFill>
                <a:latin typeface="+mj-lt"/>
              </a:endParaRPr>
            </a:p>
          </p:txBody>
        </p:sp>
      </p:grpSp>
      <p:sp>
        <p:nvSpPr>
          <p:cNvPr id="4" name="Footer Placeholder 3">
            <a:extLst>
              <a:ext uri="{FF2B5EF4-FFF2-40B4-BE49-F238E27FC236}">
                <a16:creationId xmlns:a16="http://schemas.microsoft.com/office/drawing/2014/main" id="{AC452A93-C467-4B05-A7A0-1674789F909B}"/>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FA215F94-3715-4E9E-928B-421CEF924F0E}"/>
              </a:ext>
            </a:extLst>
          </p:cNvPr>
          <p:cNvSpPr>
            <a:spLocks noGrp="1"/>
          </p:cNvSpPr>
          <p:nvPr>
            <p:ph type="sldNum" sz="quarter" idx="10"/>
          </p:nvPr>
        </p:nvSpPr>
        <p:spPr/>
        <p:txBody>
          <a:bodyPr/>
          <a:lstStyle/>
          <a:p>
            <a:fld id="{1F90F471-3972-4120-B8B3-0237DE626C35}" type="slidenum">
              <a:rPr lang="en-US" smtClean="0"/>
              <a:pPr/>
              <a:t>285</a:t>
            </a:fld>
            <a:endParaRPr lang="en-US" dirty="0"/>
          </a:p>
        </p:txBody>
      </p:sp>
    </p:spTree>
    <p:extLst>
      <p:ext uri="{BB962C8B-B14F-4D97-AF65-F5344CB8AC3E}">
        <p14:creationId xmlns:p14="http://schemas.microsoft.com/office/powerpoint/2010/main" val="3098389786"/>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sz="3600" b="1" dirty="0"/>
              <a:t>Components</a:t>
            </a:r>
          </a:p>
        </p:txBody>
      </p:sp>
      <p:grpSp>
        <p:nvGrpSpPr>
          <p:cNvPr id="10" name="Group 4" descr="Add text and order accordingly">
            <a:extLst>
              <a:ext uri="{FF2B5EF4-FFF2-40B4-BE49-F238E27FC236}">
                <a16:creationId xmlns:a16="http://schemas.microsoft.com/office/drawing/2014/main" id="{D86EBE2E-8132-476F-93A6-6F3B85EBA72A}"/>
              </a:ext>
            </a:extLst>
          </p:cNvPr>
          <p:cNvGrpSpPr>
            <a:grpSpLocks noChangeAspect="1"/>
          </p:cNvGrpSpPr>
          <p:nvPr/>
        </p:nvGrpSpPr>
        <p:grpSpPr bwMode="auto">
          <a:xfrm>
            <a:off x="3581159" y="1281056"/>
            <a:ext cx="4899024" cy="4989513"/>
            <a:chOff x="2517" y="805"/>
            <a:chExt cx="3086" cy="3143"/>
          </a:xfrm>
        </p:grpSpPr>
        <p:sp>
          <p:nvSpPr>
            <p:cNvPr id="11" name="Freeform 5">
              <a:extLst>
                <a:ext uri="{FF2B5EF4-FFF2-40B4-BE49-F238E27FC236}">
                  <a16:creationId xmlns:a16="http://schemas.microsoft.com/office/drawing/2014/main" id="{CEC11F17-9EC5-400F-A5AA-9B83FA165A64}"/>
                </a:ext>
              </a:extLst>
            </p:cNvPr>
            <p:cNvSpPr>
              <a:spLocks/>
            </p:cNvSpPr>
            <p:nvPr/>
          </p:nvSpPr>
          <p:spPr bwMode="auto">
            <a:xfrm>
              <a:off x="3160" y="1100"/>
              <a:ext cx="2443" cy="2848"/>
            </a:xfrm>
            <a:custGeom>
              <a:avLst/>
              <a:gdLst>
                <a:gd name="T0" fmla="*/ 256 w 1011"/>
                <a:gd name="T1" fmla="*/ 1114 h 1178"/>
                <a:gd name="T2" fmla="*/ 256 w 1011"/>
                <a:gd name="T3" fmla="*/ 1113 h 1178"/>
                <a:gd name="T4" fmla="*/ 253 w 1011"/>
                <a:gd name="T5" fmla="*/ 1112 h 1178"/>
                <a:gd name="T6" fmla="*/ 32 w 1011"/>
                <a:gd name="T7" fmla="*/ 769 h 1178"/>
                <a:gd name="T8" fmla="*/ 370 w 1011"/>
                <a:gd name="T9" fmla="*/ 542 h 1178"/>
                <a:gd name="T10" fmla="*/ 370 w 1011"/>
                <a:gd name="T11" fmla="*/ 542 h 1178"/>
                <a:gd name="T12" fmla="*/ 738 w 1011"/>
                <a:gd name="T13" fmla="*/ 292 h 1178"/>
                <a:gd name="T14" fmla="*/ 650 w 1011"/>
                <a:gd name="T15" fmla="*/ 0 h 1178"/>
                <a:gd name="T16" fmla="*/ 957 w 1011"/>
                <a:gd name="T17" fmla="*/ 649 h 1178"/>
                <a:gd name="T18" fmla="*/ 256 w 1011"/>
                <a:gd name="T19" fmla="*/ 1114 h 1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1" h="1178">
                  <a:moveTo>
                    <a:pt x="256" y="1114"/>
                  </a:moveTo>
                  <a:cubicBezTo>
                    <a:pt x="256" y="1113"/>
                    <a:pt x="256" y="1113"/>
                    <a:pt x="256" y="1113"/>
                  </a:cubicBezTo>
                  <a:cubicBezTo>
                    <a:pt x="253" y="1112"/>
                    <a:pt x="253" y="1112"/>
                    <a:pt x="253" y="1112"/>
                  </a:cubicBezTo>
                  <a:cubicBezTo>
                    <a:pt x="99" y="1081"/>
                    <a:pt x="0" y="927"/>
                    <a:pt x="32" y="769"/>
                  </a:cubicBezTo>
                  <a:cubicBezTo>
                    <a:pt x="65" y="612"/>
                    <a:pt x="216" y="510"/>
                    <a:pt x="370" y="542"/>
                  </a:cubicBezTo>
                  <a:cubicBezTo>
                    <a:pt x="370" y="542"/>
                    <a:pt x="370" y="542"/>
                    <a:pt x="370" y="542"/>
                  </a:cubicBezTo>
                  <a:cubicBezTo>
                    <a:pt x="536" y="574"/>
                    <a:pt x="703" y="462"/>
                    <a:pt x="738" y="292"/>
                  </a:cubicBezTo>
                  <a:cubicBezTo>
                    <a:pt x="760" y="184"/>
                    <a:pt x="727" y="75"/>
                    <a:pt x="650" y="0"/>
                  </a:cubicBezTo>
                  <a:cubicBezTo>
                    <a:pt x="885" y="123"/>
                    <a:pt x="1011" y="386"/>
                    <a:pt x="957" y="649"/>
                  </a:cubicBezTo>
                  <a:cubicBezTo>
                    <a:pt x="891" y="970"/>
                    <a:pt x="577" y="1178"/>
                    <a:pt x="256" y="111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a:extLst>
                <a:ext uri="{FF2B5EF4-FFF2-40B4-BE49-F238E27FC236}">
                  <a16:creationId xmlns:a16="http://schemas.microsoft.com/office/drawing/2014/main" id="{7280E095-497F-46F0-B800-E25BFA9BE9B2}"/>
                </a:ext>
              </a:extLst>
            </p:cNvPr>
            <p:cNvSpPr>
              <a:spLocks/>
            </p:cNvSpPr>
            <p:nvPr/>
          </p:nvSpPr>
          <p:spPr bwMode="auto">
            <a:xfrm>
              <a:off x="2517" y="805"/>
              <a:ext cx="2446" cy="2856"/>
            </a:xfrm>
            <a:custGeom>
              <a:avLst/>
              <a:gdLst>
                <a:gd name="T0" fmla="*/ 759 w 1012"/>
                <a:gd name="T1" fmla="*/ 66 h 1181"/>
                <a:gd name="T2" fmla="*/ 979 w 1012"/>
                <a:gd name="T3" fmla="*/ 409 h 1181"/>
                <a:gd name="T4" fmla="*/ 642 w 1012"/>
                <a:gd name="T5" fmla="*/ 637 h 1181"/>
                <a:gd name="T6" fmla="*/ 642 w 1012"/>
                <a:gd name="T7" fmla="*/ 637 h 1181"/>
                <a:gd name="T8" fmla="*/ 273 w 1012"/>
                <a:gd name="T9" fmla="*/ 886 h 1181"/>
                <a:gd name="T10" fmla="*/ 365 w 1012"/>
                <a:gd name="T11" fmla="*/ 1181 h 1181"/>
                <a:gd name="T12" fmla="*/ 54 w 1012"/>
                <a:gd name="T13" fmla="*/ 530 h 1181"/>
                <a:gd name="T14" fmla="*/ 759 w 1012"/>
                <a:gd name="T15" fmla="*/ 66 h 1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2" h="1181">
                  <a:moveTo>
                    <a:pt x="759" y="66"/>
                  </a:moveTo>
                  <a:cubicBezTo>
                    <a:pt x="913" y="98"/>
                    <a:pt x="1012" y="251"/>
                    <a:pt x="979" y="409"/>
                  </a:cubicBezTo>
                  <a:cubicBezTo>
                    <a:pt x="947" y="566"/>
                    <a:pt x="795" y="668"/>
                    <a:pt x="642" y="637"/>
                  </a:cubicBezTo>
                  <a:cubicBezTo>
                    <a:pt x="642" y="637"/>
                    <a:pt x="642" y="637"/>
                    <a:pt x="642" y="637"/>
                  </a:cubicBezTo>
                  <a:cubicBezTo>
                    <a:pt x="475" y="604"/>
                    <a:pt x="308" y="716"/>
                    <a:pt x="273" y="886"/>
                  </a:cubicBezTo>
                  <a:cubicBezTo>
                    <a:pt x="251" y="995"/>
                    <a:pt x="286" y="1106"/>
                    <a:pt x="365" y="1181"/>
                  </a:cubicBezTo>
                  <a:cubicBezTo>
                    <a:pt x="127" y="1058"/>
                    <a:pt x="0" y="795"/>
                    <a:pt x="54" y="530"/>
                  </a:cubicBezTo>
                  <a:cubicBezTo>
                    <a:pt x="120" y="208"/>
                    <a:pt x="437" y="0"/>
                    <a:pt x="759" y="6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3" name="Text Box 17">
            <a:extLst>
              <a:ext uri="{FF2B5EF4-FFF2-40B4-BE49-F238E27FC236}">
                <a16:creationId xmlns:a16="http://schemas.microsoft.com/office/drawing/2014/main" id="{6747DA1C-06A1-4836-A68F-A36051213042}"/>
              </a:ext>
            </a:extLst>
          </p:cNvPr>
          <p:cNvSpPr txBox="1">
            <a:spLocks noChangeArrowheads="1"/>
          </p:cNvSpPr>
          <p:nvPr/>
        </p:nvSpPr>
        <p:spPr bwMode="auto">
          <a:xfrm>
            <a:off x="5326223" y="4700231"/>
            <a:ext cx="1548000" cy="369332"/>
          </a:xfrm>
          <a:prstGeom prst="rect">
            <a:avLst/>
          </a:prstGeom>
          <a:noFill/>
          <a:ln w="6350">
            <a:noFill/>
            <a:miter lim="800000"/>
            <a:headEnd/>
            <a:tailEnd/>
          </a:ln>
          <a:effectLst/>
        </p:spPr>
        <p:txBody>
          <a:bodyPr lIns="45720" rIns="45720" anchor="ctr" anchorCtr="1">
            <a:spAutoFit/>
          </a:bodyPr>
          <a:lstStyle/>
          <a:p>
            <a:pPr algn="ctr" eaLnBrk="0" hangingPunct="0">
              <a:spcBef>
                <a:spcPct val="0"/>
              </a:spcBef>
            </a:pPr>
            <a:r>
              <a:rPr lang="en-US" b="1" dirty="0">
                <a:solidFill>
                  <a:schemeClr val="bg1"/>
                </a:solidFill>
                <a:latin typeface="+mj-lt"/>
              </a:rPr>
              <a:t>Text</a:t>
            </a:r>
          </a:p>
        </p:txBody>
      </p:sp>
      <p:sp>
        <p:nvSpPr>
          <p:cNvPr id="14" name="Text Box 18">
            <a:extLst>
              <a:ext uri="{FF2B5EF4-FFF2-40B4-BE49-F238E27FC236}">
                <a16:creationId xmlns:a16="http://schemas.microsoft.com/office/drawing/2014/main" id="{02A276CF-B70B-483D-B1F2-EBBD94B67F57}"/>
              </a:ext>
            </a:extLst>
          </p:cNvPr>
          <p:cNvSpPr txBox="1">
            <a:spLocks noChangeArrowheads="1"/>
          </p:cNvSpPr>
          <p:nvPr/>
        </p:nvSpPr>
        <p:spPr bwMode="auto">
          <a:xfrm>
            <a:off x="5326223" y="2429981"/>
            <a:ext cx="1548000" cy="369332"/>
          </a:xfrm>
          <a:prstGeom prst="rect">
            <a:avLst/>
          </a:prstGeom>
          <a:noFill/>
          <a:ln w="6350">
            <a:noFill/>
            <a:miter lim="800000"/>
            <a:headEnd/>
            <a:tailEnd/>
          </a:ln>
          <a:effectLst/>
        </p:spPr>
        <p:txBody>
          <a:bodyPr lIns="45720" rIns="45720" anchor="ctr" anchorCtr="1">
            <a:spAutoFit/>
          </a:bodyPr>
          <a:lstStyle/>
          <a:p>
            <a:pPr algn="ctr" eaLnBrk="0" hangingPunct="0">
              <a:spcBef>
                <a:spcPct val="0"/>
              </a:spcBef>
            </a:pPr>
            <a:r>
              <a:rPr lang="en-US" b="1" dirty="0">
                <a:solidFill>
                  <a:schemeClr val="bg1"/>
                </a:solidFill>
                <a:latin typeface="+mj-lt"/>
              </a:rPr>
              <a:t>Text</a:t>
            </a:r>
          </a:p>
        </p:txBody>
      </p:sp>
      <p:sp>
        <p:nvSpPr>
          <p:cNvPr id="4" name="Footer Placeholder 3">
            <a:extLst>
              <a:ext uri="{FF2B5EF4-FFF2-40B4-BE49-F238E27FC236}">
                <a16:creationId xmlns:a16="http://schemas.microsoft.com/office/drawing/2014/main" id="{558E4130-3B37-46B1-ABB8-127EAB02580F}"/>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A73A7794-68D0-405F-B6CD-FF59DDFD9A55}"/>
              </a:ext>
            </a:extLst>
          </p:cNvPr>
          <p:cNvSpPr>
            <a:spLocks noGrp="1"/>
          </p:cNvSpPr>
          <p:nvPr>
            <p:ph type="sldNum" sz="quarter" idx="10"/>
          </p:nvPr>
        </p:nvSpPr>
        <p:spPr/>
        <p:txBody>
          <a:bodyPr/>
          <a:lstStyle/>
          <a:p>
            <a:fld id="{1F90F471-3972-4120-B8B3-0237DE626C35}" type="slidenum">
              <a:rPr lang="en-US" smtClean="0"/>
              <a:pPr/>
              <a:t>286</a:t>
            </a:fld>
            <a:endParaRPr lang="en-US" dirty="0"/>
          </a:p>
        </p:txBody>
      </p:sp>
    </p:spTree>
    <p:extLst>
      <p:ext uri="{BB962C8B-B14F-4D97-AF65-F5344CB8AC3E}">
        <p14:creationId xmlns:p14="http://schemas.microsoft.com/office/powerpoint/2010/main" val="1047170932"/>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sz="3600" b="1" dirty="0"/>
              <a:t>Layers</a:t>
            </a:r>
          </a:p>
        </p:txBody>
      </p:sp>
      <p:sp>
        <p:nvSpPr>
          <p:cNvPr id="4" name="Oval 3">
            <a:extLst>
              <a:ext uri="{FF2B5EF4-FFF2-40B4-BE49-F238E27FC236}">
                <a16:creationId xmlns:a16="http://schemas.microsoft.com/office/drawing/2014/main" id="{50ECBF0B-A87B-4DFF-AFBB-34B630BD978C}"/>
              </a:ext>
            </a:extLst>
          </p:cNvPr>
          <p:cNvSpPr>
            <a:spLocks noChangeAspect="1"/>
          </p:cNvSpPr>
          <p:nvPr/>
        </p:nvSpPr>
        <p:spPr>
          <a:xfrm>
            <a:off x="3748758" y="1376362"/>
            <a:ext cx="4681537" cy="4681537"/>
          </a:xfrm>
          <a:prstGeom prst="ellipse">
            <a:avLst/>
          </a:prstGeom>
          <a:solidFill>
            <a:schemeClr val="accent5">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4284000" rtlCol="0" anchor="t" anchorCtr="0"/>
          <a:lstStyle/>
          <a:p>
            <a:pPr algn="ctr"/>
            <a:r>
              <a:rPr lang="en-GB" b="1" dirty="0">
                <a:solidFill>
                  <a:schemeClr val="tx1"/>
                </a:solidFill>
              </a:rPr>
              <a:t>Text</a:t>
            </a:r>
            <a:endParaRPr lang="en-GB" dirty="0">
              <a:solidFill>
                <a:schemeClr val="tx1"/>
              </a:solidFill>
            </a:endParaRPr>
          </a:p>
        </p:txBody>
      </p:sp>
      <p:sp>
        <p:nvSpPr>
          <p:cNvPr id="5" name="Oval 4">
            <a:extLst>
              <a:ext uri="{FF2B5EF4-FFF2-40B4-BE49-F238E27FC236}">
                <a16:creationId xmlns:a16="http://schemas.microsoft.com/office/drawing/2014/main" id="{D306157A-4FCF-4B73-89D4-708CF04F9346}"/>
              </a:ext>
            </a:extLst>
          </p:cNvPr>
          <p:cNvSpPr>
            <a:spLocks noChangeAspect="1"/>
          </p:cNvSpPr>
          <p:nvPr/>
        </p:nvSpPr>
        <p:spPr>
          <a:xfrm>
            <a:off x="4095539" y="2069923"/>
            <a:ext cx="3987976" cy="3987976"/>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tIns="0" bIns="3600000" rtlCol="0" anchor="t" anchorCtr="0"/>
          <a:lstStyle/>
          <a:p>
            <a:pPr algn="ctr"/>
            <a:r>
              <a:rPr lang="en-GB" b="1" dirty="0">
                <a:solidFill>
                  <a:schemeClr val="tx1"/>
                </a:solidFill>
              </a:rPr>
              <a:t>Text</a:t>
            </a:r>
          </a:p>
          <a:p>
            <a:pPr algn="ctr"/>
            <a:endParaRPr lang="en-GB" dirty="0">
              <a:solidFill>
                <a:schemeClr val="tx1"/>
              </a:solidFill>
            </a:endParaRPr>
          </a:p>
        </p:txBody>
      </p:sp>
      <p:sp>
        <p:nvSpPr>
          <p:cNvPr id="6" name="Oval 5">
            <a:extLst>
              <a:ext uri="{FF2B5EF4-FFF2-40B4-BE49-F238E27FC236}">
                <a16:creationId xmlns:a16="http://schemas.microsoft.com/office/drawing/2014/main" id="{AF4A2EAD-99DA-40C1-9EB5-06993CF9C56D}"/>
              </a:ext>
            </a:extLst>
          </p:cNvPr>
          <p:cNvSpPr>
            <a:spLocks noChangeAspect="1"/>
          </p:cNvSpPr>
          <p:nvPr/>
        </p:nvSpPr>
        <p:spPr>
          <a:xfrm>
            <a:off x="4442319" y="2763484"/>
            <a:ext cx="3294415" cy="3294415"/>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wrap="square" tIns="0" bIns="2880000" rtlCol="0" anchor="t" anchorCtr="0"/>
          <a:lstStyle/>
          <a:p>
            <a:pPr algn="ctr" eaLnBrk="0" hangingPunct="0">
              <a:spcBef>
                <a:spcPct val="0"/>
              </a:spcBef>
            </a:pPr>
            <a:r>
              <a:rPr lang="en-GB" b="1" dirty="0">
                <a:solidFill>
                  <a:schemeClr val="tx1"/>
                </a:solidFill>
              </a:rPr>
              <a:t>Text</a:t>
            </a:r>
          </a:p>
        </p:txBody>
      </p:sp>
      <p:sp>
        <p:nvSpPr>
          <p:cNvPr id="7" name="Oval 6">
            <a:extLst>
              <a:ext uri="{FF2B5EF4-FFF2-40B4-BE49-F238E27FC236}">
                <a16:creationId xmlns:a16="http://schemas.microsoft.com/office/drawing/2014/main" id="{837479FD-2940-4F9B-A2A5-D78DB8FD2FDC}"/>
              </a:ext>
            </a:extLst>
          </p:cNvPr>
          <p:cNvSpPr>
            <a:spLocks noChangeAspect="1"/>
          </p:cNvSpPr>
          <p:nvPr/>
        </p:nvSpPr>
        <p:spPr>
          <a:xfrm>
            <a:off x="4789100" y="3457045"/>
            <a:ext cx="2600854" cy="2600854"/>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tIns="0" bIns="2160000" rtlCol="0" anchor="t" anchorCtr="0"/>
          <a:lstStyle/>
          <a:p>
            <a:pPr algn="ctr"/>
            <a:r>
              <a:rPr lang="en-GB" b="1" dirty="0"/>
              <a:t>Text</a:t>
            </a:r>
          </a:p>
          <a:p>
            <a:pPr algn="ctr"/>
            <a:endParaRPr lang="en-GB" dirty="0"/>
          </a:p>
        </p:txBody>
      </p:sp>
      <p:sp>
        <p:nvSpPr>
          <p:cNvPr id="8" name="Oval 7">
            <a:extLst>
              <a:ext uri="{FF2B5EF4-FFF2-40B4-BE49-F238E27FC236}">
                <a16:creationId xmlns:a16="http://schemas.microsoft.com/office/drawing/2014/main" id="{280682CF-1B4D-4797-B890-0FC9FA8065C2}"/>
              </a:ext>
            </a:extLst>
          </p:cNvPr>
          <p:cNvSpPr>
            <a:spLocks noChangeAspect="1"/>
          </p:cNvSpPr>
          <p:nvPr/>
        </p:nvSpPr>
        <p:spPr>
          <a:xfrm>
            <a:off x="5135880" y="4150606"/>
            <a:ext cx="1907293" cy="1907293"/>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tIns="0" bIns="1440000" rtlCol="0" anchor="t" anchorCtr="0"/>
          <a:lstStyle/>
          <a:p>
            <a:pPr algn="ctr"/>
            <a:r>
              <a:rPr lang="en-GB" b="1" dirty="0"/>
              <a:t>Text</a:t>
            </a:r>
          </a:p>
          <a:p>
            <a:pPr algn="ctr"/>
            <a:endParaRPr lang="en-GB" dirty="0"/>
          </a:p>
        </p:txBody>
      </p:sp>
      <p:sp>
        <p:nvSpPr>
          <p:cNvPr id="9" name="Oval 8">
            <a:extLst>
              <a:ext uri="{FF2B5EF4-FFF2-40B4-BE49-F238E27FC236}">
                <a16:creationId xmlns:a16="http://schemas.microsoft.com/office/drawing/2014/main" id="{5FB3E56F-E121-446B-8316-2A193065399C}"/>
              </a:ext>
            </a:extLst>
          </p:cNvPr>
          <p:cNvSpPr>
            <a:spLocks noChangeAspect="1"/>
          </p:cNvSpPr>
          <p:nvPr/>
        </p:nvSpPr>
        <p:spPr>
          <a:xfrm>
            <a:off x="5482661" y="4844167"/>
            <a:ext cx="1213732" cy="121373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a:r>
              <a:rPr lang="en-GB" b="1" dirty="0"/>
              <a:t>Text</a:t>
            </a:r>
          </a:p>
        </p:txBody>
      </p:sp>
      <p:sp>
        <p:nvSpPr>
          <p:cNvPr id="10" name="Footer Placeholder 9">
            <a:extLst>
              <a:ext uri="{FF2B5EF4-FFF2-40B4-BE49-F238E27FC236}">
                <a16:creationId xmlns:a16="http://schemas.microsoft.com/office/drawing/2014/main" id="{618DE704-F8B5-46A3-A182-85F2AB70EDD3}"/>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2" name="Slide Number Placeholder 11">
            <a:extLst>
              <a:ext uri="{FF2B5EF4-FFF2-40B4-BE49-F238E27FC236}">
                <a16:creationId xmlns:a16="http://schemas.microsoft.com/office/drawing/2014/main" id="{87FC9896-6B91-4D35-BD6B-A3D4EC84F4B2}"/>
              </a:ext>
            </a:extLst>
          </p:cNvPr>
          <p:cNvSpPr>
            <a:spLocks noGrp="1"/>
          </p:cNvSpPr>
          <p:nvPr>
            <p:ph type="sldNum" sz="quarter" idx="10"/>
          </p:nvPr>
        </p:nvSpPr>
        <p:spPr/>
        <p:txBody>
          <a:bodyPr/>
          <a:lstStyle/>
          <a:p>
            <a:fld id="{1F90F471-3972-4120-B8B3-0237DE626C35}" type="slidenum">
              <a:rPr lang="en-US" smtClean="0"/>
              <a:pPr/>
              <a:t>287</a:t>
            </a:fld>
            <a:endParaRPr lang="en-US" dirty="0"/>
          </a:p>
        </p:txBody>
      </p:sp>
    </p:spTree>
    <p:extLst>
      <p:ext uri="{BB962C8B-B14F-4D97-AF65-F5344CB8AC3E}">
        <p14:creationId xmlns:p14="http://schemas.microsoft.com/office/powerpoint/2010/main" val="3940651581"/>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7C4124B-B9D5-4FB9-AA46-3262DD2B40DB}"/>
              </a:ext>
            </a:extLst>
          </p:cNvPr>
          <p:cNvSpPr>
            <a:spLocks noGrp="1"/>
          </p:cNvSpPr>
          <p:nvPr>
            <p:ph type="title"/>
          </p:nvPr>
        </p:nvSpPr>
        <p:spPr/>
        <p:txBody>
          <a:bodyPr/>
          <a:lstStyle/>
          <a:p>
            <a:r>
              <a:rPr lang="en-US" dirty="0"/>
              <a:t>Trees</a:t>
            </a:r>
          </a:p>
        </p:txBody>
      </p:sp>
      <p:sp>
        <p:nvSpPr>
          <p:cNvPr id="9" name="Text Placeholder 8">
            <a:extLst>
              <a:ext uri="{FF2B5EF4-FFF2-40B4-BE49-F238E27FC236}">
                <a16:creationId xmlns:a16="http://schemas.microsoft.com/office/drawing/2014/main" id="{1265ADBE-657A-4DC7-A6A6-2F0E697C4723}"/>
              </a:ext>
            </a:extLst>
          </p:cNvPr>
          <p:cNvSpPr>
            <a:spLocks noGrp="1"/>
          </p:cNvSpPr>
          <p:nvPr>
            <p:ph type="body" sz="quarter" idx="15"/>
          </p:nvPr>
        </p:nvSpPr>
        <p:spPr/>
        <p:txBody>
          <a:bodyPr/>
          <a:lstStyle/>
          <a:p>
            <a:r>
              <a:rPr lang="en-US" dirty="0"/>
              <a:t>Part of </a:t>
            </a:r>
            <a:r>
              <a:rPr lang="en-US" dirty="0">
                <a:hlinkClick r:id="rId2" action="ppaction://hlinksldjump">
                  <a:extLst>
                    <a:ext uri="{A12FA001-AC4F-418D-AE19-62706E023703}">
                      <ahyp:hlinkClr xmlns:ahyp="http://schemas.microsoft.com/office/drawing/2018/hyperlinkcolor" val="tx"/>
                    </a:ext>
                  </a:extLst>
                </a:hlinkClick>
              </a:rPr>
              <a:t>Static Objects</a:t>
            </a:r>
            <a:endParaRPr lang="en-US" dirty="0"/>
          </a:p>
        </p:txBody>
      </p:sp>
      <p:sp>
        <p:nvSpPr>
          <p:cNvPr id="10" name="Freeform: Shape 9" descr="Add text and order accordingly">
            <a:hlinkClick r:id="rId3" action="ppaction://hlinksldjump" tooltip="Return to Index"/>
            <a:extLst>
              <a:ext uri="{FF2B5EF4-FFF2-40B4-BE49-F238E27FC236}">
                <a16:creationId xmlns:a16="http://schemas.microsoft.com/office/drawing/2014/main" id="{0DE3F75C-CF1B-47BB-A358-FF97AF03C85D}"/>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9DC78945-A645-4563-BCA9-927812C9C4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BEE2891-AE3F-4D8A-B562-5662B242B3DF}"/>
              </a:ext>
            </a:extLst>
          </p:cNvPr>
          <p:cNvSpPr>
            <a:spLocks noGrp="1"/>
          </p:cNvSpPr>
          <p:nvPr>
            <p:ph type="sldNum" sz="quarter" idx="17"/>
          </p:nvPr>
        </p:nvSpPr>
        <p:spPr/>
        <p:txBody>
          <a:bodyPr/>
          <a:lstStyle/>
          <a:p>
            <a:fld id="{1F90F471-3972-4120-B8B3-0237DE626C35}" type="slidenum">
              <a:rPr lang="en-US" smtClean="0"/>
              <a:pPr/>
              <a:t>288</a:t>
            </a:fld>
            <a:endParaRPr lang="en-US" dirty="0"/>
          </a:p>
        </p:txBody>
      </p:sp>
    </p:spTree>
    <p:extLst>
      <p:ext uri="{BB962C8B-B14F-4D97-AF65-F5344CB8AC3E}">
        <p14:creationId xmlns:p14="http://schemas.microsoft.com/office/powerpoint/2010/main" val="4038951131"/>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Horizontal Issue Tree – Symmetric</a:t>
            </a:r>
            <a:endParaRPr lang="de-DE" dirty="0"/>
          </a:p>
        </p:txBody>
      </p:sp>
      <p:sp>
        <p:nvSpPr>
          <p:cNvPr id="56" name="TextBox 55">
            <a:extLst>
              <a:ext uri="{FF2B5EF4-FFF2-40B4-BE49-F238E27FC236}">
                <a16:creationId xmlns:a16="http://schemas.microsoft.com/office/drawing/2014/main" id="{1884C4F0-2513-468E-9418-FD6224AC5417}"/>
              </a:ext>
            </a:extLst>
          </p:cNvPr>
          <p:cNvSpPr txBox="1"/>
          <p:nvPr/>
        </p:nvSpPr>
        <p:spPr>
          <a:xfrm>
            <a:off x="1822449" y="3523623"/>
            <a:ext cx="1224165" cy="291085"/>
          </a:xfrm>
          <a:prstGeom prst="rect">
            <a:avLst/>
          </a:prstGeom>
          <a:solidFill>
            <a:schemeClr val="accent2"/>
          </a:solidFill>
          <a:ln>
            <a:noFill/>
          </a:ln>
        </p:spPr>
        <p:txBody>
          <a:bodyPr wrap="square" lIns="71977" tIns="64785" rIns="71977" bIns="45706" rtlCol="0" anchor="ctr">
            <a:noAutofit/>
          </a:bodyPr>
          <a:lstStyle>
            <a:defPPr>
              <a:defRPr lang="en-US"/>
            </a:defPPr>
            <a:lvl1pPr>
              <a:defRPr sz="1400">
                <a:solidFill>
                  <a:schemeClr val="bg1"/>
                </a:solidFill>
              </a:defRPr>
            </a:lvl1pPr>
          </a:lstStyle>
          <a:p>
            <a:pPr>
              <a:lnSpc>
                <a:spcPct val="90000"/>
              </a:lnSpc>
            </a:pPr>
            <a:r>
              <a:rPr lang="en-US" dirty="0">
                <a:solidFill>
                  <a:srgbClr val="FFFFFF"/>
                </a:solidFill>
              </a:rPr>
              <a:t>Insert text</a:t>
            </a:r>
          </a:p>
        </p:txBody>
      </p:sp>
      <p:sp>
        <p:nvSpPr>
          <p:cNvPr id="53" name="Freeform 74">
            <a:extLst>
              <a:ext uri="{FF2B5EF4-FFF2-40B4-BE49-F238E27FC236}">
                <a16:creationId xmlns:a16="http://schemas.microsoft.com/office/drawing/2014/main" id="{6A19F19F-0CBA-4C31-8242-C3090D799929}"/>
              </a:ext>
              <a:ext uri="{C183D7F6-B498-43B3-948B-1728B52AA6E4}">
                <adec:decorative xmlns:adec="http://schemas.microsoft.com/office/drawing/2017/decorative" val="1"/>
              </a:ext>
            </a:extLst>
          </p:cNvPr>
          <p:cNvSpPr/>
          <p:nvPr/>
        </p:nvSpPr>
        <p:spPr>
          <a:xfrm>
            <a:off x="3028600" y="3656210"/>
            <a:ext cx="370526" cy="0"/>
          </a:xfrm>
          <a:custGeom>
            <a:avLst/>
            <a:gdLst>
              <a:gd name="connsiteX0" fmla="*/ 0 w 365760"/>
              <a:gd name="connsiteY0" fmla="*/ 0 h 0"/>
              <a:gd name="connsiteX1" fmla="*/ 365760 w 365760"/>
              <a:gd name="connsiteY1" fmla="*/ 0 h 0"/>
            </a:gdLst>
            <a:ahLst/>
            <a:cxnLst>
              <a:cxn ang="0">
                <a:pos x="connsiteX0" y="connsiteY0"/>
              </a:cxn>
              <a:cxn ang="0">
                <a:pos x="connsiteX1" y="connsiteY1"/>
              </a:cxn>
            </a:cxnLst>
            <a:rect l="l" t="t" r="r" b="b"/>
            <a:pathLst>
              <a:path w="365760">
                <a:moveTo>
                  <a:pt x="0" y="0"/>
                </a:moveTo>
                <a:lnTo>
                  <a:pt x="365760" y="0"/>
                </a:lnTo>
              </a:path>
            </a:pathLst>
          </a:cu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lIns="91411" tIns="45706" rIns="91411" bIns="45706" rtlCol="0" anchor="ctr"/>
          <a:lstStyle/>
          <a:p>
            <a:pPr algn="ctr">
              <a:lnSpc>
                <a:spcPct val="90000"/>
              </a:lnSpc>
            </a:pPr>
            <a:endParaRPr lang="en-US"/>
          </a:p>
        </p:txBody>
      </p:sp>
      <p:cxnSp>
        <p:nvCxnSpPr>
          <p:cNvPr id="50" name="Elbow Connector 71">
            <a:extLst>
              <a:ext uri="{FF2B5EF4-FFF2-40B4-BE49-F238E27FC236}">
                <a16:creationId xmlns:a16="http://schemas.microsoft.com/office/drawing/2014/main" id="{5BCB43C7-A8CD-4CBA-B76E-5408B52AD0E1}"/>
              </a:ext>
              <a:ext uri="{C183D7F6-B498-43B3-948B-1728B52AA6E4}">
                <adec:decorative xmlns:adec="http://schemas.microsoft.com/office/drawing/2017/decorative" val="1"/>
              </a:ext>
            </a:extLst>
          </p:cNvPr>
          <p:cNvCxnSpPr>
            <a:stCxn id="57" idx="1"/>
            <a:endCxn id="58" idx="1"/>
          </p:cNvCxnSpPr>
          <p:nvPr/>
        </p:nvCxnSpPr>
        <p:spPr>
          <a:xfrm rot="10800000" flipV="1">
            <a:off x="3612639" y="2680650"/>
            <a:ext cx="12865" cy="2500413"/>
          </a:xfrm>
          <a:prstGeom prst="bentConnector3">
            <a:avLst>
              <a:gd name="adj1" fmla="val 180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7" name="TextBox 56">
            <a:extLst>
              <a:ext uri="{FF2B5EF4-FFF2-40B4-BE49-F238E27FC236}">
                <a16:creationId xmlns:a16="http://schemas.microsoft.com/office/drawing/2014/main" id="{5C6D34DE-BDAD-412A-B790-35A4208D24A5}"/>
              </a:ext>
            </a:extLst>
          </p:cNvPr>
          <p:cNvSpPr txBox="1"/>
          <p:nvPr/>
        </p:nvSpPr>
        <p:spPr>
          <a:xfrm>
            <a:off x="3612637" y="2535106"/>
            <a:ext cx="1348303" cy="291085"/>
          </a:xfrm>
          <a:prstGeom prst="rect">
            <a:avLst/>
          </a:prstGeom>
          <a:solidFill>
            <a:schemeClr val="accent3"/>
          </a:solidFill>
          <a:ln>
            <a:noFill/>
          </a:ln>
        </p:spPr>
        <p:txBody>
          <a:bodyPr wrap="square" lIns="71977" tIns="64785" rIns="71977" bIns="45706" rtlCol="0" anchor="ctr">
            <a:noAutofit/>
          </a:bodyPr>
          <a:lstStyle>
            <a:defPPr>
              <a:defRPr lang="en-US"/>
            </a:defPPr>
            <a:lvl1pPr>
              <a:defRPr sz="1400">
                <a:solidFill>
                  <a:schemeClr val="bg1"/>
                </a:solidFill>
              </a:defRPr>
            </a:lvl1pPr>
          </a:lstStyle>
          <a:p>
            <a:pPr>
              <a:lnSpc>
                <a:spcPct val="90000"/>
              </a:lnSpc>
            </a:pPr>
            <a:r>
              <a:rPr lang="en-US" dirty="0">
                <a:solidFill>
                  <a:srgbClr val="FFFFFF"/>
                </a:solidFill>
              </a:rPr>
              <a:t>Insert text</a:t>
            </a:r>
          </a:p>
        </p:txBody>
      </p:sp>
      <p:sp>
        <p:nvSpPr>
          <p:cNvPr id="55" name="Freeform 87">
            <a:extLst>
              <a:ext uri="{FF2B5EF4-FFF2-40B4-BE49-F238E27FC236}">
                <a16:creationId xmlns:a16="http://schemas.microsoft.com/office/drawing/2014/main" id="{9069A19C-1B7E-408E-8D53-CBD2249D4A93}"/>
              </a:ext>
              <a:ext uri="{C183D7F6-B498-43B3-948B-1728B52AA6E4}">
                <adec:decorative xmlns:adec="http://schemas.microsoft.com/office/drawing/2017/decorative" val="1"/>
              </a:ext>
            </a:extLst>
          </p:cNvPr>
          <p:cNvSpPr/>
          <p:nvPr/>
        </p:nvSpPr>
        <p:spPr>
          <a:xfrm>
            <a:off x="4958255" y="2679711"/>
            <a:ext cx="336159" cy="45476"/>
          </a:xfrm>
          <a:custGeom>
            <a:avLst/>
            <a:gdLst>
              <a:gd name="connsiteX0" fmla="*/ 0 w 365760"/>
              <a:gd name="connsiteY0" fmla="*/ 0 h 0"/>
              <a:gd name="connsiteX1" fmla="*/ 365760 w 365760"/>
              <a:gd name="connsiteY1" fmla="*/ 0 h 0"/>
            </a:gdLst>
            <a:ahLst/>
            <a:cxnLst>
              <a:cxn ang="0">
                <a:pos x="connsiteX0" y="connsiteY0"/>
              </a:cxn>
              <a:cxn ang="0">
                <a:pos x="connsiteX1" y="connsiteY1"/>
              </a:cxn>
            </a:cxnLst>
            <a:rect l="l" t="t" r="r" b="b"/>
            <a:pathLst>
              <a:path w="365760">
                <a:moveTo>
                  <a:pt x="0" y="0"/>
                </a:moveTo>
                <a:lnTo>
                  <a:pt x="365760" y="0"/>
                </a:lnTo>
              </a:path>
            </a:pathLst>
          </a:cu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lIns="91411" tIns="45706" rIns="91411" bIns="45706" rtlCol="0" anchor="ctr"/>
          <a:lstStyle/>
          <a:p>
            <a:pPr algn="ctr">
              <a:lnSpc>
                <a:spcPct val="90000"/>
              </a:lnSpc>
            </a:pPr>
            <a:endParaRPr lang="en-US"/>
          </a:p>
        </p:txBody>
      </p:sp>
      <p:cxnSp>
        <p:nvCxnSpPr>
          <p:cNvPr id="51" name="Elbow Connector 72">
            <a:extLst>
              <a:ext uri="{FF2B5EF4-FFF2-40B4-BE49-F238E27FC236}">
                <a16:creationId xmlns:a16="http://schemas.microsoft.com/office/drawing/2014/main" id="{BB22CE4C-6D58-4442-B09F-32E03E8803A0}"/>
              </a:ext>
              <a:ext uri="{C183D7F6-B498-43B3-948B-1728B52AA6E4}">
                <adec:decorative xmlns:adec="http://schemas.microsoft.com/office/drawing/2017/decorative" val="1"/>
              </a:ext>
            </a:extLst>
          </p:cNvPr>
          <p:cNvCxnSpPr>
            <a:stCxn id="59" idx="1"/>
            <a:endCxn id="60" idx="1"/>
          </p:cNvCxnSpPr>
          <p:nvPr/>
        </p:nvCxnSpPr>
        <p:spPr>
          <a:xfrm rot="10800000" flipV="1">
            <a:off x="5526967" y="1908798"/>
            <a:ext cx="13607" cy="1206135"/>
          </a:xfrm>
          <a:prstGeom prst="bentConnector3">
            <a:avLst>
              <a:gd name="adj1" fmla="val 180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9" name="TextBox 58">
            <a:extLst>
              <a:ext uri="{FF2B5EF4-FFF2-40B4-BE49-F238E27FC236}">
                <a16:creationId xmlns:a16="http://schemas.microsoft.com/office/drawing/2014/main" id="{1BA99F97-E099-4A78-A78E-13C481CF7913}"/>
              </a:ext>
            </a:extLst>
          </p:cNvPr>
          <p:cNvSpPr txBox="1"/>
          <p:nvPr/>
        </p:nvSpPr>
        <p:spPr>
          <a:xfrm>
            <a:off x="5526967" y="1763148"/>
            <a:ext cx="2137038" cy="291303"/>
          </a:xfrm>
          <a:prstGeom prst="rect">
            <a:avLst/>
          </a:prstGeom>
          <a:solidFill>
            <a:schemeClr val="accent1"/>
          </a:solidFill>
          <a:ln>
            <a:noFill/>
          </a:ln>
        </p:spPr>
        <p:txBody>
          <a:bodyPr wrap="square" lIns="71977" tIns="64785" rIns="71977" bIns="45706" rtlCol="0" anchor="ctr">
            <a:noAutofit/>
          </a:bodyPr>
          <a:lstStyle>
            <a:defPPr>
              <a:defRPr lang="en-US"/>
            </a:defPPr>
            <a:lvl1pPr>
              <a:defRPr sz="1400">
                <a:solidFill>
                  <a:schemeClr val="bg1"/>
                </a:solidFill>
              </a:defRPr>
            </a:lvl1pPr>
          </a:lstStyle>
          <a:p>
            <a:pPr>
              <a:lnSpc>
                <a:spcPct val="90000"/>
              </a:lnSpc>
            </a:pPr>
            <a:r>
              <a:rPr lang="en-US" dirty="0">
                <a:solidFill>
                  <a:srgbClr val="FFFFFF"/>
                </a:solidFill>
              </a:rPr>
              <a:t>Insert text</a:t>
            </a:r>
          </a:p>
        </p:txBody>
      </p:sp>
      <p:cxnSp>
        <p:nvCxnSpPr>
          <p:cNvPr id="67" name="AutoShape 30">
            <a:extLst>
              <a:ext uri="{FF2B5EF4-FFF2-40B4-BE49-F238E27FC236}">
                <a16:creationId xmlns:a16="http://schemas.microsoft.com/office/drawing/2014/main" id="{5175DA3F-C00E-4280-A26D-C7AC2AF961D6}"/>
              </a:ext>
              <a:ext uri="{C183D7F6-B498-43B3-948B-1728B52AA6E4}">
                <adec:decorative xmlns:adec="http://schemas.microsoft.com/office/drawing/2017/decorative" val="1"/>
              </a:ext>
            </a:extLst>
          </p:cNvPr>
          <p:cNvCxnSpPr>
            <a:cxnSpLocks noChangeShapeType="1"/>
            <a:stCxn id="59" idx="3"/>
            <a:endCxn id="64" idx="1"/>
          </p:cNvCxnSpPr>
          <p:nvPr/>
        </p:nvCxnSpPr>
        <p:spPr bwMode="auto">
          <a:xfrm>
            <a:off x="7664006" y="1908799"/>
            <a:ext cx="571845" cy="0"/>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6" name="AutoShape 29">
            <a:extLst>
              <a:ext uri="{FF2B5EF4-FFF2-40B4-BE49-F238E27FC236}">
                <a16:creationId xmlns:a16="http://schemas.microsoft.com/office/drawing/2014/main" id="{1A49B9B8-CFC5-49C2-850E-905EB4AFB46C}"/>
              </a:ext>
              <a:ext uri="{C183D7F6-B498-43B3-948B-1728B52AA6E4}">
                <adec:decorative xmlns:adec="http://schemas.microsoft.com/office/drawing/2017/decorative" val="1"/>
              </a:ext>
            </a:extLst>
          </p:cNvPr>
          <p:cNvCxnSpPr>
            <a:cxnSpLocks noChangeShapeType="1"/>
            <a:stCxn id="59" idx="3"/>
            <a:endCxn id="63" idx="1"/>
          </p:cNvCxnSpPr>
          <p:nvPr/>
        </p:nvCxnSpPr>
        <p:spPr bwMode="auto">
          <a:xfrm flipV="1">
            <a:off x="7664006" y="1524213"/>
            <a:ext cx="571845" cy="38458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8" name="AutoShape 31">
            <a:extLst>
              <a:ext uri="{FF2B5EF4-FFF2-40B4-BE49-F238E27FC236}">
                <a16:creationId xmlns:a16="http://schemas.microsoft.com/office/drawing/2014/main" id="{DBABA56B-F9C4-43A1-A93E-47720401ADEB}"/>
              </a:ext>
              <a:ext uri="{C183D7F6-B498-43B3-948B-1728B52AA6E4}">
                <adec:decorative xmlns:adec="http://schemas.microsoft.com/office/drawing/2017/decorative" val="1"/>
              </a:ext>
            </a:extLst>
          </p:cNvPr>
          <p:cNvCxnSpPr>
            <a:cxnSpLocks noChangeShapeType="1"/>
            <a:stCxn id="59" idx="3"/>
            <a:endCxn id="65" idx="1"/>
          </p:cNvCxnSpPr>
          <p:nvPr/>
        </p:nvCxnSpPr>
        <p:spPr bwMode="auto">
          <a:xfrm>
            <a:off x="7664006" y="1908799"/>
            <a:ext cx="571845" cy="38458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3" name="Rectangle 11">
            <a:extLst>
              <a:ext uri="{FF2B5EF4-FFF2-40B4-BE49-F238E27FC236}">
                <a16:creationId xmlns:a16="http://schemas.microsoft.com/office/drawing/2014/main" id="{DF6852BF-EA61-496B-9138-404FED7F756A}"/>
              </a:ext>
            </a:extLst>
          </p:cNvPr>
          <p:cNvSpPr>
            <a:spLocks noChangeArrowheads="1"/>
          </p:cNvSpPr>
          <p:nvPr/>
        </p:nvSpPr>
        <p:spPr bwMode="auto">
          <a:xfrm>
            <a:off x="8235851" y="1378561"/>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64" name="Rectangle 12">
            <a:extLst>
              <a:ext uri="{FF2B5EF4-FFF2-40B4-BE49-F238E27FC236}">
                <a16:creationId xmlns:a16="http://schemas.microsoft.com/office/drawing/2014/main" id="{912D9DDC-772B-4E07-A626-F7AFD27C2C12}"/>
              </a:ext>
            </a:extLst>
          </p:cNvPr>
          <p:cNvSpPr>
            <a:spLocks noChangeArrowheads="1"/>
          </p:cNvSpPr>
          <p:nvPr/>
        </p:nvSpPr>
        <p:spPr bwMode="auto">
          <a:xfrm>
            <a:off x="8235851" y="1763148"/>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65" name="Rectangle 13">
            <a:extLst>
              <a:ext uri="{FF2B5EF4-FFF2-40B4-BE49-F238E27FC236}">
                <a16:creationId xmlns:a16="http://schemas.microsoft.com/office/drawing/2014/main" id="{5360CC77-A563-4AA4-BE8A-CD447A39EEC3}"/>
              </a:ext>
            </a:extLst>
          </p:cNvPr>
          <p:cNvSpPr>
            <a:spLocks noChangeArrowheads="1"/>
          </p:cNvSpPr>
          <p:nvPr/>
        </p:nvSpPr>
        <p:spPr bwMode="auto">
          <a:xfrm>
            <a:off x="8235851" y="2147735"/>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60" name="TextBox 59">
            <a:extLst>
              <a:ext uri="{FF2B5EF4-FFF2-40B4-BE49-F238E27FC236}">
                <a16:creationId xmlns:a16="http://schemas.microsoft.com/office/drawing/2014/main" id="{4AAB1F1D-01A1-4CB7-82B7-42486D837BE2}"/>
              </a:ext>
            </a:extLst>
          </p:cNvPr>
          <p:cNvSpPr txBox="1"/>
          <p:nvPr/>
        </p:nvSpPr>
        <p:spPr>
          <a:xfrm>
            <a:off x="5526967" y="2969391"/>
            <a:ext cx="2137038" cy="291085"/>
          </a:xfrm>
          <a:prstGeom prst="rect">
            <a:avLst/>
          </a:prstGeom>
          <a:solidFill>
            <a:schemeClr val="accent1"/>
          </a:solidFill>
          <a:ln>
            <a:noFill/>
          </a:ln>
        </p:spPr>
        <p:txBody>
          <a:bodyPr wrap="square" lIns="71977" tIns="64785" rIns="71977" bIns="45706" rtlCol="0" anchor="ctr">
            <a:noAutofit/>
          </a:bodyPr>
          <a:lstStyle>
            <a:defPPr>
              <a:defRPr lang="en-US"/>
            </a:defPPr>
            <a:lvl1pPr>
              <a:defRPr sz="1400">
                <a:solidFill>
                  <a:schemeClr val="bg1"/>
                </a:solidFill>
              </a:defRPr>
            </a:lvl1pPr>
          </a:lstStyle>
          <a:p>
            <a:pPr>
              <a:lnSpc>
                <a:spcPct val="90000"/>
              </a:lnSpc>
            </a:pPr>
            <a:r>
              <a:rPr lang="en-US">
                <a:solidFill>
                  <a:srgbClr val="FFFFFF"/>
                </a:solidFill>
              </a:rPr>
              <a:t>Insert text</a:t>
            </a:r>
          </a:p>
        </p:txBody>
      </p:sp>
      <p:cxnSp>
        <p:nvCxnSpPr>
          <p:cNvPr id="73" name="AutoShape 30">
            <a:extLst>
              <a:ext uri="{FF2B5EF4-FFF2-40B4-BE49-F238E27FC236}">
                <a16:creationId xmlns:a16="http://schemas.microsoft.com/office/drawing/2014/main" id="{DF46BD0F-0292-441A-B1AE-60FB5C9B8E73}"/>
              </a:ext>
              <a:ext uri="{C183D7F6-B498-43B3-948B-1728B52AA6E4}">
                <adec:decorative xmlns:adec="http://schemas.microsoft.com/office/drawing/2017/decorative" val="1"/>
              </a:ext>
            </a:extLst>
          </p:cNvPr>
          <p:cNvCxnSpPr>
            <a:cxnSpLocks noChangeShapeType="1"/>
            <a:stCxn id="60" idx="3"/>
            <a:endCxn id="70" idx="1"/>
          </p:cNvCxnSpPr>
          <p:nvPr/>
        </p:nvCxnSpPr>
        <p:spPr bwMode="auto">
          <a:xfrm>
            <a:off x="7664005" y="3114934"/>
            <a:ext cx="571846" cy="108"/>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2" name="AutoShape 29">
            <a:extLst>
              <a:ext uri="{FF2B5EF4-FFF2-40B4-BE49-F238E27FC236}">
                <a16:creationId xmlns:a16="http://schemas.microsoft.com/office/drawing/2014/main" id="{76AED355-1706-4C58-9463-1FD80E6F82A7}"/>
              </a:ext>
              <a:ext uri="{C183D7F6-B498-43B3-948B-1728B52AA6E4}">
                <adec:decorative xmlns:adec="http://schemas.microsoft.com/office/drawing/2017/decorative" val="1"/>
              </a:ext>
            </a:extLst>
          </p:cNvPr>
          <p:cNvCxnSpPr>
            <a:cxnSpLocks noChangeShapeType="1"/>
            <a:stCxn id="60" idx="3"/>
            <a:endCxn id="69" idx="1"/>
          </p:cNvCxnSpPr>
          <p:nvPr/>
        </p:nvCxnSpPr>
        <p:spPr bwMode="auto">
          <a:xfrm flipV="1">
            <a:off x="7664005" y="2730455"/>
            <a:ext cx="571846" cy="384479"/>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4" name="AutoShape 31">
            <a:extLst>
              <a:ext uri="{FF2B5EF4-FFF2-40B4-BE49-F238E27FC236}">
                <a16:creationId xmlns:a16="http://schemas.microsoft.com/office/drawing/2014/main" id="{4E33F4A2-95C4-46D2-824C-EBD8A68475C6}"/>
              </a:ext>
              <a:ext uri="{C183D7F6-B498-43B3-948B-1728B52AA6E4}">
                <adec:decorative xmlns:adec="http://schemas.microsoft.com/office/drawing/2017/decorative" val="1"/>
              </a:ext>
            </a:extLst>
          </p:cNvPr>
          <p:cNvCxnSpPr>
            <a:cxnSpLocks noChangeShapeType="1"/>
            <a:stCxn id="60" idx="3"/>
            <a:endCxn id="71" idx="1"/>
          </p:cNvCxnSpPr>
          <p:nvPr/>
        </p:nvCxnSpPr>
        <p:spPr bwMode="auto">
          <a:xfrm>
            <a:off x="7664006" y="3114934"/>
            <a:ext cx="571845" cy="384695"/>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9" name="Rectangle 11">
            <a:extLst>
              <a:ext uri="{FF2B5EF4-FFF2-40B4-BE49-F238E27FC236}">
                <a16:creationId xmlns:a16="http://schemas.microsoft.com/office/drawing/2014/main" id="{239A8DE5-2092-4D91-85F6-F611EFD28052}"/>
              </a:ext>
            </a:extLst>
          </p:cNvPr>
          <p:cNvSpPr>
            <a:spLocks noChangeArrowheads="1"/>
          </p:cNvSpPr>
          <p:nvPr/>
        </p:nvSpPr>
        <p:spPr bwMode="auto">
          <a:xfrm>
            <a:off x="8235851" y="2584803"/>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70" name="Rectangle 12">
            <a:extLst>
              <a:ext uri="{FF2B5EF4-FFF2-40B4-BE49-F238E27FC236}">
                <a16:creationId xmlns:a16="http://schemas.microsoft.com/office/drawing/2014/main" id="{141C3353-959A-4287-9AC8-B02ABBE6C496}"/>
              </a:ext>
            </a:extLst>
          </p:cNvPr>
          <p:cNvSpPr>
            <a:spLocks noChangeArrowheads="1"/>
          </p:cNvSpPr>
          <p:nvPr/>
        </p:nvSpPr>
        <p:spPr bwMode="auto">
          <a:xfrm>
            <a:off x="8235851" y="2969390"/>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71" name="Rectangle 13">
            <a:extLst>
              <a:ext uri="{FF2B5EF4-FFF2-40B4-BE49-F238E27FC236}">
                <a16:creationId xmlns:a16="http://schemas.microsoft.com/office/drawing/2014/main" id="{10ECEC4C-CE20-481F-ACB1-EA1EB7201078}"/>
              </a:ext>
            </a:extLst>
          </p:cNvPr>
          <p:cNvSpPr>
            <a:spLocks noChangeArrowheads="1"/>
          </p:cNvSpPr>
          <p:nvPr/>
        </p:nvSpPr>
        <p:spPr bwMode="auto">
          <a:xfrm>
            <a:off x="8235851" y="3353977"/>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58" name="TextBox 57">
            <a:extLst>
              <a:ext uri="{FF2B5EF4-FFF2-40B4-BE49-F238E27FC236}">
                <a16:creationId xmlns:a16="http://schemas.microsoft.com/office/drawing/2014/main" id="{A5439378-9E21-4322-A6D1-70187883AB9C}"/>
              </a:ext>
            </a:extLst>
          </p:cNvPr>
          <p:cNvSpPr txBox="1"/>
          <p:nvPr/>
        </p:nvSpPr>
        <p:spPr>
          <a:xfrm>
            <a:off x="3612637" y="5035516"/>
            <a:ext cx="1348303" cy="291085"/>
          </a:xfrm>
          <a:prstGeom prst="rect">
            <a:avLst/>
          </a:prstGeom>
          <a:solidFill>
            <a:schemeClr val="accent3"/>
          </a:solidFill>
          <a:ln>
            <a:noFill/>
          </a:ln>
        </p:spPr>
        <p:txBody>
          <a:bodyPr wrap="square" lIns="71977" tIns="64785" rIns="71977" bIns="45706" rtlCol="0" anchor="ctr">
            <a:noAutofit/>
          </a:bodyPr>
          <a:lstStyle>
            <a:defPPr>
              <a:defRPr lang="en-US"/>
            </a:defPPr>
            <a:lvl1pPr>
              <a:defRPr sz="1400">
                <a:solidFill>
                  <a:schemeClr val="bg1"/>
                </a:solidFill>
              </a:defRPr>
            </a:lvl1pPr>
          </a:lstStyle>
          <a:p>
            <a:pPr>
              <a:lnSpc>
                <a:spcPct val="90000"/>
              </a:lnSpc>
            </a:pPr>
            <a:r>
              <a:rPr lang="en-US">
                <a:solidFill>
                  <a:srgbClr val="FFFFFF"/>
                </a:solidFill>
              </a:rPr>
              <a:t>Insert text</a:t>
            </a:r>
          </a:p>
        </p:txBody>
      </p:sp>
      <p:sp>
        <p:nvSpPr>
          <p:cNvPr id="54" name="Freeform 75">
            <a:extLst>
              <a:ext uri="{FF2B5EF4-FFF2-40B4-BE49-F238E27FC236}">
                <a16:creationId xmlns:a16="http://schemas.microsoft.com/office/drawing/2014/main" id="{7A5B7B7F-8F87-4E76-AC14-85D4B6CF6447}"/>
              </a:ext>
              <a:ext uri="{C183D7F6-B498-43B3-948B-1728B52AA6E4}">
                <adec:decorative xmlns:adec="http://schemas.microsoft.com/office/drawing/2017/decorative" val="1"/>
              </a:ext>
            </a:extLst>
          </p:cNvPr>
          <p:cNvSpPr/>
          <p:nvPr/>
        </p:nvSpPr>
        <p:spPr>
          <a:xfrm>
            <a:off x="4958254" y="5181059"/>
            <a:ext cx="346457" cy="0"/>
          </a:xfrm>
          <a:custGeom>
            <a:avLst/>
            <a:gdLst>
              <a:gd name="connsiteX0" fmla="*/ 0 w 365760"/>
              <a:gd name="connsiteY0" fmla="*/ 0 h 0"/>
              <a:gd name="connsiteX1" fmla="*/ 365760 w 365760"/>
              <a:gd name="connsiteY1" fmla="*/ 0 h 0"/>
            </a:gdLst>
            <a:ahLst/>
            <a:cxnLst>
              <a:cxn ang="0">
                <a:pos x="connsiteX0" y="connsiteY0"/>
              </a:cxn>
              <a:cxn ang="0">
                <a:pos x="connsiteX1" y="connsiteY1"/>
              </a:cxn>
            </a:cxnLst>
            <a:rect l="l" t="t" r="r" b="b"/>
            <a:pathLst>
              <a:path w="365760">
                <a:moveTo>
                  <a:pt x="0" y="0"/>
                </a:moveTo>
                <a:lnTo>
                  <a:pt x="365760" y="0"/>
                </a:lnTo>
              </a:path>
            </a:pathLst>
          </a:cu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lIns="91411" tIns="45706" rIns="91411" bIns="45706" rtlCol="0" anchor="ctr"/>
          <a:lstStyle/>
          <a:p>
            <a:pPr algn="ctr">
              <a:lnSpc>
                <a:spcPct val="90000"/>
              </a:lnSpc>
            </a:pPr>
            <a:endParaRPr lang="en-US"/>
          </a:p>
        </p:txBody>
      </p:sp>
      <p:cxnSp>
        <p:nvCxnSpPr>
          <p:cNvPr id="52" name="Elbow Connector 73">
            <a:extLst>
              <a:ext uri="{FF2B5EF4-FFF2-40B4-BE49-F238E27FC236}">
                <a16:creationId xmlns:a16="http://schemas.microsoft.com/office/drawing/2014/main" id="{B95AABDA-F548-4DE0-99C1-BA18761DE7AE}"/>
              </a:ext>
              <a:ext uri="{C183D7F6-B498-43B3-948B-1728B52AA6E4}">
                <adec:decorative xmlns:adec="http://schemas.microsoft.com/office/drawing/2017/decorative" val="1"/>
              </a:ext>
            </a:extLst>
          </p:cNvPr>
          <p:cNvCxnSpPr>
            <a:stCxn id="61" idx="1"/>
            <a:endCxn id="62" idx="1"/>
          </p:cNvCxnSpPr>
          <p:nvPr/>
        </p:nvCxnSpPr>
        <p:spPr>
          <a:xfrm rot="10800000" flipV="1">
            <a:off x="5526967" y="4320959"/>
            <a:ext cx="13607" cy="1206024"/>
          </a:xfrm>
          <a:prstGeom prst="bentConnector3">
            <a:avLst>
              <a:gd name="adj1" fmla="val 180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1" name="TextBox 60">
            <a:extLst>
              <a:ext uri="{FF2B5EF4-FFF2-40B4-BE49-F238E27FC236}">
                <a16:creationId xmlns:a16="http://schemas.microsoft.com/office/drawing/2014/main" id="{D3A8038D-B56F-4B29-AD57-9A804DB63DA2}"/>
              </a:ext>
            </a:extLst>
          </p:cNvPr>
          <p:cNvSpPr txBox="1"/>
          <p:nvPr/>
        </p:nvSpPr>
        <p:spPr>
          <a:xfrm>
            <a:off x="5526967" y="4175416"/>
            <a:ext cx="2137038" cy="291085"/>
          </a:xfrm>
          <a:prstGeom prst="rect">
            <a:avLst/>
          </a:prstGeom>
          <a:solidFill>
            <a:schemeClr val="accent1"/>
          </a:solidFill>
          <a:ln>
            <a:noFill/>
          </a:ln>
        </p:spPr>
        <p:txBody>
          <a:bodyPr wrap="square" lIns="71977" tIns="64785" rIns="71977" bIns="45706" rtlCol="0" anchor="ctr">
            <a:noAutofit/>
          </a:bodyPr>
          <a:lstStyle>
            <a:defPPr>
              <a:defRPr lang="en-US"/>
            </a:defPPr>
            <a:lvl1pPr>
              <a:defRPr sz="1400">
                <a:solidFill>
                  <a:schemeClr val="bg1"/>
                </a:solidFill>
              </a:defRPr>
            </a:lvl1pPr>
          </a:lstStyle>
          <a:p>
            <a:pPr>
              <a:lnSpc>
                <a:spcPct val="90000"/>
              </a:lnSpc>
            </a:pPr>
            <a:r>
              <a:rPr lang="en-US">
                <a:solidFill>
                  <a:srgbClr val="FFFFFF"/>
                </a:solidFill>
              </a:rPr>
              <a:t>Insert text</a:t>
            </a:r>
          </a:p>
        </p:txBody>
      </p:sp>
      <p:cxnSp>
        <p:nvCxnSpPr>
          <p:cNvPr id="79" name="AutoShape 30">
            <a:extLst>
              <a:ext uri="{FF2B5EF4-FFF2-40B4-BE49-F238E27FC236}">
                <a16:creationId xmlns:a16="http://schemas.microsoft.com/office/drawing/2014/main" id="{ED7F5EE0-9BB7-472A-B7E7-6F2D6C1CBDED}"/>
              </a:ext>
              <a:ext uri="{C183D7F6-B498-43B3-948B-1728B52AA6E4}">
                <adec:decorative xmlns:adec="http://schemas.microsoft.com/office/drawing/2017/decorative" val="1"/>
              </a:ext>
            </a:extLst>
          </p:cNvPr>
          <p:cNvCxnSpPr>
            <a:cxnSpLocks noChangeShapeType="1"/>
            <a:stCxn id="61" idx="3"/>
            <a:endCxn id="76" idx="1"/>
          </p:cNvCxnSpPr>
          <p:nvPr/>
        </p:nvCxnSpPr>
        <p:spPr bwMode="auto">
          <a:xfrm>
            <a:off x="7664005" y="4320959"/>
            <a:ext cx="571846" cy="325"/>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8" name="AutoShape 29">
            <a:extLst>
              <a:ext uri="{FF2B5EF4-FFF2-40B4-BE49-F238E27FC236}">
                <a16:creationId xmlns:a16="http://schemas.microsoft.com/office/drawing/2014/main" id="{60EB15E4-BC0B-4683-90EE-40B3CE89573C}"/>
              </a:ext>
              <a:ext uri="{C183D7F6-B498-43B3-948B-1728B52AA6E4}">
                <adec:decorative xmlns:adec="http://schemas.microsoft.com/office/drawing/2017/decorative" val="1"/>
              </a:ext>
            </a:extLst>
          </p:cNvPr>
          <p:cNvCxnSpPr>
            <a:cxnSpLocks noChangeShapeType="1"/>
            <a:stCxn id="61" idx="3"/>
            <a:endCxn id="75" idx="1"/>
          </p:cNvCxnSpPr>
          <p:nvPr/>
        </p:nvCxnSpPr>
        <p:spPr bwMode="auto">
          <a:xfrm flipV="1">
            <a:off x="7664005" y="3936698"/>
            <a:ext cx="571846" cy="384261"/>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0" name="AutoShape 31">
            <a:extLst>
              <a:ext uri="{FF2B5EF4-FFF2-40B4-BE49-F238E27FC236}">
                <a16:creationId xmlns:a16="http://schemas.microsoft.com/office/drawing/2014/main" id="{5CBD4A49-42F6-4450-827D-3F367D949674}"/>
              </a:ext>
              <a:ext uri="{C183D7F6-B498-43B3-948B-1728B52AA6E4}">
                <adec:decorative xmlns:adec="http://schemas.microsoft.com/office/drawing/2017/decorative" val="1"/>
              </a:ext>
            </a:extLst>
          </p:cNvPr>
          <p:cNvCxnSpPr>
            <a:cxnSpLocks noChangeShapeType="1"/>
            <a:stCxn id="61" idx="3"/>
            <a:endCxn id="77" idx="1"/>
          </p:cNvCxnSpPr>
          <p:nvPr/>
        </p:nvCxnSpPr>
        <p:spPr bwMode="auto">
          <a:xfrm>
            <a:off x="7664006" y="4320959"/>
            <a:ext cx="571845" cy="384912"/>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5" name="Rectangle 11">
            <a:extLst>
              <a:ext uri="{FF2B5EF4-FFF2-40B4-BE49-F238E27FC236}">
                <a16:creationId xmlns:a16="http://schemas.microsoft.com/office/drawing/2014/main" id="{C8F0318B-632F-42F3-9883-1A0C2FCA185A}"/>
              </a:ext>
            </a:extLst>
          </p:cNvPr>
          <p:cNvSpPr>
            <a:spLocks noChangeArrowheads="1"/>
          </p:cNvSpPr>
          <p:nvPr/>
        </p:nvSpPr>
        <p:spPr bwMode="auto">
          <a:xfrm>
            <a:off x="8235851" y="3791046"/>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76" name="Rectangle 12">
            <a:extLst>
              <a:ext uri="{FF2B5EF4-FFF2-40B4-BE49-F238E27FC236}">
                <a16:creationId xmlns:a16="http://schemas.microsoft.com/office/drawing/2014/main" id="{F730725F-A800-4112-BE99-1CA5853B7A66}"/>
              </a:ext>
            </a:extLst>
          </p:cNvPr>
          <p:cNvSpPr>
            <a:spLocks noChangeArrowheads="1"/>
          </p:cNvSpPr>
          <p:nvPr/>
        </p:nvSpPr>
        <p:spPr bwMode="auto">
          <a:xfrm>
            <a:off x="8235851" y="4175632"/>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77" name="Rectangle 13">
            <a:extLst>
              <a:ext uri="{FF2B5EF4-FFF2-40B4-BE49-F238E27FC236}">
                <a16:creationId xmlns:a16="http://schemas.microsoft.com/office/drawing/2014/main" id="{7DAE269F-7293-4C0D-B686-2DA9EB04C79E}"/>
              </a:ext>
            </a:extLst>
          </p:cNvPr>
          <p:cNvSpPr>
            <a:spLocks noChangeArrowheads="1"/>
          </p:cNvSpPr>
          <p:nvPr/>
        </p:nvSpPr>
        <p:spPr bwMode="auto">
          <a:xfrm>
            <a:off x="8235851" y="4560220"/>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62" name="TextBox 61">
            <a:extLst>
              <a:ext uri="{FF2B5EF4-FFF2-40B4-BE49-F238E27FC236}">
                <a16:creationId xmlns:a16="http://schemas.microsoft.com/office/drawing/2014/main" id="{2647FC6F-51BD-4EC8-A177-A869ED3094B4}"/>
              </a:ext>
            </a:extLst>
          </p:cNvPr>
          <p:cNvSpPr txBox="1"/>
          <p:nvPr/>
        </p:nvSpPr>
        <p:spPr>
          <a:xfrm>
            <a:off x="5526967" y="5381441"/>
            <a:ext cx="2137038" cy="291085"/>
          </a:xfrm>
          <a:prstGeom prst="rect">
            <a:avLst/>
          </a:prstGeom>
          <a:solidFill>
            <a:schemeClr val="accent1"/>
          </a:solidFill>
          <a:ln>
            <a:noFill/>
          </a:ln>
        </p:spPr>
        <p:txBody>
          <a:bodyPr wrap="square" lIns="71977" tIns="64785" rIns="71977" bIns="45706" rtlCol="0" anchor="ctr">
            <a:noAutofit/>
          </a:bodyPr>
          <a:lstStyle>
            <a:defPPr>
              <a:defRPr lang="en-US"/>
            </a:defPPr>
            <a:lvl1pPr>
              <a:defRPr sz="1400">
                <a:solidFill>
                  <a:schemeClr val="bg1"/>
                </a:solidFill>
              </a:defRPr>
            </a:lvl1pPr>
          </a:lstStyle>
          <a:p>
            <a:pPr>
              <a:lnSpc>
                <a:spcPct val="90000"/>
              </a:lnSpc>
            </a:pPr>
            <a:r>
              <a:rPr lang="en-US">
                <a:solidFill>
                  <a:srgbClr val="FFFFFF"/>
                </a:solidFill>
              </a:rPr>
              <a:t>Insert text</a:t>
            </a:r>
          </a:p>
        </p:txBody>
      </p:sp>
      <p:cxnSp>
        <p:nvCxnSpPr>
          <p:cNvPr id="86" name="AutoShape 31">
            <a:extLst>
              <a:ext uri="{FF2B5EF4-FFF2-40B4-BE49-F238E27FC236}">
                <a16:creationId xmlns:a16="http://schemas.microsoft.com/office/drawing/2014/main" id="{3ED0050F-84FB-4228-BF48-DE54CF30D7A5}"/>
              </a:ext>
              <a:ext uri="{C183D7F6-B498-43B3-948B-1728B52AA6E4}">
                <adec:decorative xmlns:adec="http://schemas.microsoft.com/office/drawing/2017/decorative" val="1"/>
              </a:ext>
            </a:extLst>
          </p:cNvPr>
          <p:cNvCxnSpPr>
            <a:cxnSpLocks noChangeShapeType="1"/>
            <a:stCxn id="62" idx="3"/>
            <a:endCxn id="83" idx="1"/>
          </p:cNvCxnSpPr>
          <p:nvPr/>
        </p:nvCxnSpPr>
        <p:spPr bwMode="auto">
          <a:xfrm>
            <a:off x="7664006" y="5526984"/>
            <a:ext cx="571845" cy="385264"/>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4" name="AutoShape 29">
            <a:extLst>
              <a:ext uri="{FF2B5EF4-FFF2-40B4-BE49-F238E27FC236}">
                <a16:creationId xmlns:a16="http://schemas.microsoft.com/office/drawing/2014/main" id="{126C0AF5-36F1-4216-B9A4-662566381890}"/>
              </a:ext>
              <a:ext uri="{C183D7F6-B498-43B3-948B-1728B52AA6E4}">
                <adec:decorative xmlns:adec="http://schemas.microsoft.com/office/drawing/2017/decorative" val="1"/>
              </a:ext>
            </a:extLst>
          </p:cNvPr>
          <p:cNvCxnSpPr>
            <a:cxnSpLocks noChangeShapeType="1"/>
            <a:stCxn id="62" idx="3"/>
            <a:endCxn id="81" idx="1"/>
          </p:cNvCxnSpPr>
          <p:nvPr/>
        </p:nvCxnSpPr>
        <p:spPr bwMode="auto">
          <a:xfrm flipV="1">
            <a:off x="7664005" y="5143075"/>
            <a:ext cx="571846" cy="383909"/>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5" name="AutoShape 30">
            <a:extLst>
              <a:ext uri="{FF2B5EF4-FFF2-40B4-BE49-F238E27FC236}">
                <a16:creationId xmlns:a16="http://schemas.microsoft.com/office/drawing/2014/main" id="{3AA55CAC-2F7F-4E8F-80B5-6664B0D1D01B}"/>
              </a:ext>
              <a:ext uri="{C183D7F6-B498-43B3-948B-1728B52AA6E4}">
                <adec:decorative xmlns:adec="http://schemas.microsoft.com/office/drawing/2017/decorative" val="1"/>
              </a:ext>
            </a:extLst>
          </p:cNvPr>
          <p:cNvCxnSpPr>
            <a:cxnSpLocks noChangeShapeType="1"/>
            <a:stCxn id="62" idx="3"/>
            <a:endCxn id="82" idx="1"/>
          </p:cNvCxnSpPr>
          <p:nvPr/>
        </p:nvCxnSpPr>
        <p:spPr bwMode="auto">
          <a:xfrm>
            <a:off x="7664005" y="5526984"/>
            <a:ext cx="571846" cy="677"/>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81" name="Rectangle 11">
            <a:extLst>
              <a:ext uri="{FF2B5EF4-FFF2-40B4-BE49-F238E27FC236}">
                <a16:creationId xmlns:a16="http://schemas.microsoft.com/office/drawing/2014/main" id="{2A3AFFFC-1A36-42A4-8EEE-972AF1B89072}"/>
              </a:ext>
            </a:extLst>
          </p:cNvPr>
          <p:cNvSpPr>
            <a:spLocks noChangeArrowheads="1"/>
          </p:cNvSpPr>
          <p:nvPr/>
        </p:nvSpPr>
        <p:spPr bwMode="auto">
          <a:xfrm>
            <a:off x="8235851" y="4997423"/>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82" name="Rectangle 12">
            <a:extLst>
              <a:ext uri="{FF2B5EF4-FFF2-40B4-BE49-F238E27FC236}">
                <a16:creationId xmlns:a16="http://schemas.microsoft.com/office/drawing/2014/main" id="{543F68A3-D840-404F-9162-9ACA39E73E69}"/>
              </a:ext>
            </a:extLst>
          </p:cNvPr>
          <p:cNvSpPr>
            <a:spLocks noChangeArrowheads="1"/>
          </p:cNvSpPr>
          <p:nvPr/>
        </p:nvSpPr>
        <p:spPr bwMode="auto">
          <a:xfrm>
            <a:off x="8235851" y="5382009"/>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83" name="Rectangle 13">
            <a:extLst>
              <a:ext uri="{FF2B5EF4-FFF2-40B4-BE49-F238E27FC236}">
                <a16:creationId xmlns:a16="http://schemas.microsoft.com/office/drawing/2014/main" id="{1530963C-B61C-4428-889C-2771BE87A102}"/>
              </a:ext>
            </a:extLst>
          </p:cNvPr>
          <p:cNvSpPr>
            <a:spLocks noChangeArrowheads="1"/>
          </p:cNvSpPr>
          <p:nvPr/>
        </p:nvSpPr>
        <p:spPr bwMode="auto">
          <a:xfrm>
            <a:off x="8235851" y="5766597"/>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4" name="Footer Placeholder 3">
            <a:extLst>
              <a:ext uri="{FF2B5EF4-FFF2-40B4-BE49-F238E27FC236}">
                <a16:creationId xmlns:a16="http://schemas.microsoft.com/office/drawing/2014/main" id="{B699F6A1-F35D-4C49-91C9-B10FB9462796}"/>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A729ACCD-2E6A-4EFB-90FA-574663FEDDC4}"/>
              </a:ext>
            </a:extLst>
          </p:cNvPr>
          <p:cNvSpPr>
            <a:spLocks noGrp="1"/>
          </p:cNvSpPr>
          <p:nvPr>
            <p:ph type="sldNum" sz="quarter" idx="10"/>
          </p:nvPr>
        </p:nvSpPr>
        <p:spPr/>
        <p:txBody>
          <a:bodyPr/>
          <a:lstStyle/>
          <a:p>
            <a:fld id="{1F90F471-3972-4120-B8B3-0237DE626C35}" type="slidenum">
              <a:rPr lang="en-US" smtClean="0"/>
              <a:pPr/>
              <a:t>289</a:t>
            </a:fld>
            <a:endParaRPr lang="en-US" dirty="0"/>
          </a:p>
        </p:txBody>
      </p:sp>
    </p:spTree>
    <p:extLst>
      <p:ext uri="{BB962C8B-B14F-4D97-AF65-F5344CB8AC3E}">
        <p14:creationId xmlns:p14="http://schemas.microsoft.com/office/powerpoint/2010/main" val="4134065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ll informative images must include a description for screen readers. All informative images must include a description for screen readers. If descriptive information is available in nearby text, it should not be repeated in the alt text for an image.">
            <a:extLst>
              <a:ext uri="{FF2B5EF4-FFF2-40B4-BE49-F238E27FC236}">
                <a16:creationId xmlns:a16="http://schemas.microsoft.com/office/drawing/2014/main" id="{FFC49E97-945E-43AE-A0AC-FB67AD7F5C6A}"/>
              </a:ext>
            </a:extLst>
          </p:cNvPr>
          <p:cNvPicPr>
            <a:picLocks noGrp="1" noChangeAspect="1"/>
          </p:cNvPicPr>
          <p:nvPr>
            <p:ph type="pic" sz="quarter" idx="10"/>
          </p:nvPr>
        </p:nvPicPr>
        <p:blipFill>
          <a:blip r:embed="rId3"/>
          <a:srcRect t="5" b="5"/>
          <a:stretch>
            <a:fillRect/>
          </a:stretch>
        </p:blipFill>
        <p:spPr/>
      </p:pic>
      <p:sp>
        <p:nvSpPr>
          <p:cNvPr id="3" name="Title 2">
            <a:extLst>
              <a:ext uri="{FF2B5EF4-FFF2-40B4-BE49-F238E27FC236}">
                <a16:creationId xmlns:a16="http://schemas.microsoft.com/office/drawing/2014/main" id="{EFC0F872-B754-4930-8425-EDAE273623A5}"/>
              </a:ext>
            </a:extLst>
          </p:cNvPr>
          <p:cNvSpPr>
            <a:spLocks noGrp="1"/>
          </p:cNvSpPr>
          <p:nvPr>
            <p:ph type="ctrTitle"/>
          </p:nvPr>
        </p:nvSpPr>
        <p:spPr/>
        <p:txBody>
          <a:bodyPr/>
          <a:lstStyle/>
          <a:p>
            <a:r>
              <a:rPr lang="en-GB" dirty="0"/>
              <a:t>Place presentation title here 48pt</a:t>
            </a:r>
            <a:endParaRPr lang="en-US" dirty="0"/>
          </a:p>
        </p:txBody>
      </p:sp>
      <p:sp>
        <p:nvSpPr>
          <p:cNvPr id="4" name="Subtitle 3">
            <a:extLst>
              <a:ext uri="{FF2B5EF4-FFF2-40B4-BE49-F238E27FC236}">
                <a16:creationId xmlns:a16="http://schemas.microsoft.com/office/drawing/2014/main" id="{21B1E3ED-0AE9-4786-B5B0-FCA8AE0B5123}"/>
              </a:ext>
            </a:extLst>
          </p:cNvPr>
          <p:cNvSpPr>
            <a:spLocks noGrp="1"/>
          </p:cNvSpPr>
          <p:nvPr>
            <p:ph type="subTitle" idx="1"/>
          </p:nvPr>
        </p:nvSpPr>
        <p:spPr/>
        <p:txBody>
          <a:bodyPr/>
          <a:lstStyle/>
          <a:p>
            <a:r>
              <a:rPr lang="en-GB" dirty="0"/>
              <a:t>Place subtitle here in GT Sectra Fine </a:t>
            </a:r>
            <a:r>
              <a:rPr lang="en-GB" dirty="0" err="1"/>
              <a:t>Rg</a:t>
            </a:r>
            <a:r>
              <a:rPr lang="en-GB" dirty="0"/>
              <a:t> 24pt</a:t>
            </a:r>
            <a:endParaRPr lang="en-US" dirty="0"/>
          </a:p>
        </p:txBody>
      </p:sp>
      <p:sp>
        <p:nvSpPr>
          <p:cNvPr id="5" name="Text Placeholder 4">
            <a:extLst>
              <a:ext uri="{FF2B5EF4-FFF2-40B4-BE49-F238E27FC236}">
                <a16:creationId xmlns:a16="http://schemas.microsoft.com/office/drawing/2014/main" id="{D2E2429C-2A0A-4CA3-B2AF-602ACC8E9C0B}"/>
              </a:ext>
            </a:extLst>
          </p:cNvPr>
          <p:cNvSpPr>
            <a:spLocks noGrp="1"/>
          </p:cNvSpPr>
          <p:nvPr>
            <p:ph type="body" sz="quarter" idx="12"/>
          </p:nvPr>
        </p:nvSpPr>
        <p:spPr/>
        <p:txBody>
          <a:bodyPr/>
          <a:lstStyle/>
          <a:p>
            <a:r>
              <a:rPr lang="en-US" dirty="0"/>
              <a:t>Presenter 14pt</a:t>
            </a:r>
          </a:p>
        </p:txBody>
      </p:sp>
      <p:grpSp>
        <p:nvGrpSpPr>
          <p:cNvPr id="8" name="Logo_BL" descr="Accenture Logo. This option can be marked as decorative.">
            <a:extLst>
              <a:ext uri="{FF2B5EF4-FFF2-40B4-BE49-F238E27FC236}">
                <a16:creationId xmlns:a16="http://schemas.microsoft.com/office/drawing/2014/main" id="{EE529E2F-8FA6-4B6B-B29C-649D0965A9E0}"/>
              </a:ext>
            </a:extLst>
          </p:cNvPr>
          <p:cNvGrpSpPr>
            <a:grpSpLocks noChangeAspect="1"/>
          </p:cNvGrpSpPr>
          <p:nvPr/>
        </p:nvGrpSpPr>
        <p:grpSpPr bwMode="auto">
          <a:xfrm>
            <a:off x="381001" y="5815543"/>
            <a:ext cx="1883664" cy="496357"/>
            <a:chOff x="2387" y="1701"/>
            <a:chExt cx="4535" cy="1195"/>
          </a:xfrm>
        </p:grpSpPr>
        <p:sp>
          <p:nvSpPr>
            <p:cNvPr id="9" name="Freeform 5">
              <a:extLst>
                <a:ext uri="{FF2B5EF4-FFF2-40B4-BE49-F238E27FC236}">
                  <a16:creationId xmlns:a16="http://schemas.microsoft.com/office/drawing/2014/main" id="{9459F1A7-1BD7-45FB-8CF2-4AA7BA9B13B1}"/>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066F9659-57CC-4D89-9BF8-E61AEEDDE125}"/>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01609609"/>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Horizontal Issue Tree – Asymmetric</a:t>
            </a:r>
          </a:p>
        </p:txBody>
      </p:sp>
      <p:sp>
        <p:nvSpPr>
          <p:cNvPr id="59" name="Rectangle 9">
            <a:extLst>
              <a:ext uri="{FF2B5EF4-FFF2-40B4-BE49-F238E27FC236}">
                <a16:creationId xmlns:a16="http://schemas.microsoft.com/office/drawing/2014/main" id="{1E324AF6-96D6-4EBA-AC13-B03E31F0C874}"/>
              </a:ext>
            </a:extLst>
          </p:cNvPr>
          <p:cNvSpPr>
            <a:spLocks noChangeArrowheads="1"/>
          </p:cNvSpPr>
          <p:nvPr/>
        </p:nvSpPr>
        <p:spPr bwMode="auto">
          <a:xfrm>
            <a:off x="572587" y="4293096"/>
            <a:ext cx="1260000" cy="295200"/>
          </a:xfrm>
          <a:prstGeom prst="rect">
            <a:avLst/>
          </a:prstGeom>
          <a:solidFill>
            <a:schemeClr val="accent5"/>
          </a:solidFill>
          <a:ln w="6350">
            <a:noFill/>
            <a:miter lim="800000"/>
            <a:headEnd/>
            <a:tailEnd/>
          </a:ln>
          <a:effectLst/>
        </p:spPr>
        <p:txBody>
          <a:bodyPr lIns="72000" tIns="72000" rIns="72000" bIns="72000" anchor="ctr"/>
          <a:lstStyle/>
          <a:p>
            <a:pPr algn="l" eaLnBrk="0" hangingPunct="0"/>
            <a:r>
              <a:rPr lang="en-GB" sz="1200" b="1"/>
              <a:t>Text</a:t>
            </a:r>
            <a:endParaRPr lang="en-US" sz="1200" b="1"/>
          </a:p>
        </p:txBody>
      </p:sp>
      <p:grpSp>
        <p:nvGrpSpPr>
          <p:cNvPr id="3" name="Group 2">
            <a:extLst>
              <a:ext uri="{FF2B5EF4-FFF2-40B4-BE49-F238E27FC236}">
                <a16:creationId xmlns:a16="http://schemas.microsoft.com/office/drawing/2014/main" id="{2F5AADB7-4586-494A-9C42-78CECCE46659}"/>
              </a:ext>
              <a:ext uri="{C183D7F6-B498-43B3-948B-1728B52AA6E4}">
                <adec:decorative xmlns:adec="http://schemas.microsoft.com/office/drawing/2017/decorative" val="1"/>
              </a:ext>
            </a:extLst>
          </p:cNvPr>
          <p:cNvGrpSpPr/>
          <p:nvPr/>
        </p:nvGrpSpPr>
        <p:grpSpPr>
          <a:xfrm>
            <a:off x="1832587" y="3348819"/>
            <a:ext cx="670947" cy="2253457"/>
            <a:chOff x="1832587" y="3348819"/>
            <a:chExt cx="670947" cy="2253457"/>
          </a:xfrm>
        </p:grpSpPr>
        <p:cxnSp>
          <p:nvCxnSpPr>
            <p:cNvPr id="60" name="AutoShape 10">
              <a:extLst>
                <a:ext uri="{FF2B5EF4-FFF2-40B4-BE49-F238E27FC236}">
                  <a16:creationId xmlns:a16="http://schemas.microsoft.com/office/drawing/2014/main" id="{F83D19A2-4525-45D8-AD3A-8BABCAF16D69}"/>
                </a:ext>
              </a:extLst>
            </p:cNvPr>
            <p:cNvCxnSpPr>
              <a:cxnSpLocks noChangeShapeType="1"/>
              <a:stCxn id="59" idx="3"/>
              <a:endCxn id="58" idx="1"/>
            </p:cNvCxnSpPr>
            <p:nvPr/>
          </p:nvCxnSpPr>
          <p:spPr bwMode="auto">
            <a:xfrm>
              <a:off x="1832587" y="4440696"/>
              <a:ext cx="670947" cy="1161580"/>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1" name="AutoShape 11">
              <a:extLst>
                <a:ext uri="{FF2B5EF4-FFF2-40B4-BE49-F238E27FC236}">
                  <a16:creationId xmlns:a16="http://schemas.microsoft.com/office/drawing/2014/main" id="{C3EEE185-2711-4D8B-A6A3-1936A350CB0A}"/>
                </a:ext>
              </a:extLst>
            </p:cNvPr>
            <p:cNvCxnSpPr>
              <a:cxnSpLocks noChangeShapeType="1"/>
              <a:stCxn id="59" idx="3"/>
              <a:endCxn id="57" idx="1"/>
            </p:cNvCxnSpPr>
            <p:nvPr/>
          </p:nvCxnSpPr>
          <p:spPr bwMode="auto">
            <a:xfrm flipV="1">
              <a:off x="1832587" y="3348819"/>
              <a:ext cx="670947" cy="109187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57" name="Rectangle 7">
            <a:extLst>
              <a:ext uri="{FF2B5EF4-FFF2-40B4-BE49-F238E27FC236}">
                <a16:creationId xmlns:a16="http://schemas.microsoft.com/office/drawing/2014/main" id="{41913552-39C6-4032-9F1F-2DE0EFB5DF5C}"/>
              </a:ext>
            </a:extLst>
          </p:cNvPr>
          <p:cNvSpPr>
            <a:spLocks noChangeArrowheads="1"/>
          </p:cNvSpPr>
          <p:nvPr/>
        </p:nvSpPr>
        <p:spPr bwMode="auto">
          <a:xfrm>
            <a:off x="2503534" y="3201219"/>
            <a:ext cx="1350000" cy="295200"/>
          </a:xfrm>
          <a:prstGeom prst="rect">
            <a:avLst/>
          </a:prstGeom>
          <a:solidFill>
            <a:schemeClr val="accent2"/>
          </a:solidFill>
          <a:ln w="6350">
            <a:noFill/>
            <a:miter lim="800000"/>
            <a:headEnd/>
            <a:tailEnd/>
          </a:ln>
          <a:effectLst/>
        </p:spPr>
        <p:txBody>
          <a:bodyPr lIns="72000" tIns="72000" rIns="72000" bIns="72000" anchor="ctr"/>
          <a:lstStyle/>
          <a:p>
            <a:pPr algn="l" eaLnBrk="0" hangingPunct="0"/>
            <a:r>
              <a:rPr lang="en-GB" sz="1200" b="1">
                <a:solidFill>
                  <a:schemeClr val="bg1"/>
                </a:solidFill>
              </a:rPr>
              <a:t>Text</a:t>
            </a:r>
            <a:endParaRPr lang="en-US" sz="1200" b="1">
              <a:solidFill>
                <a:schemeClr val="bg1"/>
              </a:solidFill>
            </a:endParaRPr>
          </a:p>
        </p:txBody>
      </p:sp>
      <p:grpSp>
        <p:nvGrpSpPr>
          <p:cNvPr id="6" name="Group 5">
            <a:extLst>
              <a:ext uri="{FF2B5EF4-FFF2-40B4-BE49-F238E27FC236}">
                <a16:creationId xmlns:a16="http://schemas.microsoft.com/office/drawing/2014/main" id="{E7FFDAD4-3400-46D1-813A-F9E67A80A418}"/>
              </a:ext>
              <a:ext uri="{C183D7F6-B498-43B3-948B-1728B52AA6E4}">
                <adec:decorative xmlns:adec="http://schemas.microsoft.com/office/drawing/2017/decorative" val="1"/>
              </a:ext>
            </a:extLst>
          </p:cNvPr>
          <p:cNvGrpSpPr/>
          <p:nvPr/>
        </p:nvGrpSpPr>
        <p:grpSpPr>
          <a:xfrm>
            <a:off x="3853534" y="2306625"/>
            <a:ext cx="670947" cy="1929570"/>
            <a:chOff x="3853534" y="2306625"/>
            <a:chExt cx="670947" cy="1929570"/>
          </a:xfrm>
        </p:grpSpPr>
        <p:cxnSp>
          <p:nvCxnSpPr>
            <p:cNvPr id="62" name="AutoShape 12">
              <a:extLst>
                <a:ext uri="{FF2B5EF4-FFF2-40B4-BE49-F238E27FC236}">
                  <a16:creationId xmlns:a16="http://schemas.microsoft.com/office/drawing/2014/main" id="{0E734CB0-8FFA-46DC-B279-08472965507C}"/>
                </a:ext>
              </a:extLst>
            </p:cNvPr>
            <p:cNvCxnSpPr>
              <a:cxnSpLocks noChangeShapeType="1"/>
              <a:stCxn id="57" idx="3"/>
              <a:endCxn id="55" idx="1"/>
            </p:cNvCxnSpPr>
            <p:nvPr/>
          </p:nvCxnSpPr>
          <p:spPr bwMode="auto">
            <a:xfrm>
              <a:off x="3853534" y="3348819"/>
              <a:ext cx="670947" cy="887376"/>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4" name="AutoShape 14">
              <a:extLst>
                <a:ext uri="{FF2B5EF4-FFF2-40B4-BE49-F238E27FC236}">
                  <a16:creationId xmlns:a16="http://schemas.microsoft.com/office/drawing/2014/main" id="{6E51ED9A-251A-4AAB-B105-D07D28BB80CE}"/>
                </a:ext>
              </a:extLst>
            </p:cNvPr>
            <p:cNvCxnSpPr>
              <a:cxnSpLocks noChangeShapeType="1"/>
              <a:stCxn id="57" idx="3"/>
              <a:endCxn id="54" idx="1"/>
            </p:cNvCxnSpPr>
            <p:nvPr/>
          </p:nvCxnSpPr>
          <p:spPr bwMode="auto">
            <a:xfrm flipV="1">
              <a:off x="3853534" y="2306625"/>
              <a:ext cx="670947" cy="1042194"/>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54" name="Rectangle 4">
            <a:extLst>
              <a:ext uri="{FF2B5EF4-FFF2-40B4-BE49-F238E27FC236}">
                <a16:creationId xmlns:a16="http://schemas.microsoft.com/office/drawing/2014/main" id="{5A483554-F073-47FE-803F-495B7C6EC344}"/>
              </a:ext>
            </a:extLst>
          </p:cNvPr>
          <p:cNvSpPr>
            <a:spLocks noChangeArrowheads="1"/>
          </p:cNvSpPr>
          <p:nvPr/>
        </p:nvSpPr>
        <p:spPr bwMode="auto">
          <a:xfrm>
            <a:off x="4524481" y="2159025"/>
            <a:ext cx="1800000" cy="295200"/>
          </a:xfrm>
          <a:prstGeom prst="rect">
            <a:avLst/>
          </a:prstGeom>
          <a:solidFill>
            <a:schemeClr val="accent3"/>
          </a:solidFill>
          <a:ln w="6350">
            <a:noFill/>
            <a:miter lim="800000"/>
            <a:headEnd/>
            <a:tailEnd/>
          </a:ln>
          <a:effectLst/>
        </p:spPr>
        <p:txBody>
          <a:bodyPr lIns="72000" tIns="72000" rIns="72000" bIns="72000" anchor="ctr"/>
          <a:lstStyle/>
          <a:p>
            <a:pPr algn="l" eaLnBrk="0" hangingPunct="0"/>
            <a:r>
              <a:rPr lang="en-GB" sz="1200" b="1">
                <a:solidFill>
                  <a:schemeClr val="bg1"/>
                </a:solidFill>
              </a:rPr>
              <a:t>Text</a:t>
            </a:r>
            <a:endParaRPr lang="en-US" sz="1200" b="1">
              <a:solidFill>
                <a:schemeClr val="bg1"/>
              </a:solidFill>
            </a:endParaRPr>
          </a:p>
        </p:txBody>
      </p:sp>
      <p:grpSp>
        <p:nvGrpSpPr>
          <p:cNvPr id="7" name="Group 6">
            <a:extLst>
              <a:ext uri="{FF2B5EF4-FFF2-40B4-BE49-F238E27FC236}">
                <a16:creationId xmlns:a16="http://schemas.microsoft.com/office/drawing/2014/main" id="{5308D402-A24C-451B-A0AE-BCF6DBFEB489}"/>
              </a:ext>
              <a:ext uri="{C183D7F6-B498-43B3-948B-1728B52AA6E4}">
                <adec:decorative xmlns:adec="http://schemas.microsoft.com/office/drawing/2017/decorative" val="1"/>
              </a:ext>
            </a:extLst>
          </p:cNvPr>
          <p:cNvGrpSpPr/>
          <p:nvPr/>
        </p:nvGrpSpPr>
        <p:grpSpPr>
          <a:xfrm>
            <a:off x="6324481" y="1795662"/>
            <a:ext cx="670947" cy="1024557"/>
            <a:chOff x="6324481" y="1795662"/>
            <a:chExt cx="670947" cy="1024557"/>
          </a:xfrm>
        </p:grpSpPr>
        <p:cxnSp>
          <p:nvCxnSpPr>
            <p:cNvPr id="77" name="AutoShape 51">
              <a:extLst>
                <a:ext uri="{FF2B5EF4-FFF2-40B4-BE49-F238E27FC236}">
                  <a16:creationId xmlns:a16="http://schemas.microsoft.com/office/drawing/2014/main" id="{44670D80-31B2-45C8-B5AD-E901C8BC367F}"/>
                </a:ext>
              </a:extLst>
            </p:cNvPr>
            <p:cNvCxnSpPr>
              <a:cxnSpLocks noChangeShapeType="1"/>
              <a:stCxn id="54" idx="3"/>
              <a:endCxn id="65" idx="1"/>
            </p:cNvCxnSpPr>
            <p:nvPr/>
          </p:nvCxnSpPr>
          <p:spPr bwMode="auto">
            <a:xfrm flipV="1">
              <a:off x="6324481" y="1795662"/>
              <a:ext cx="670947" cy="510963"/>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8" name="AutoShape 52">
              <a:extLst>
                <a:ext uri="{FF2B5EF4-FFF2-40B4-BE49-F238E27FC236}">
                  <a16:creationId xmlns:a16="http://schemas.microsoft.com/office/drawing/2014/main" id="{85C1925F-CF8C-4EFB-B0B5-6AE0C21D6BC9}"/>
                </a:ext>
              </a:extLst>
            </p:cNvPr>
            <p:cNvCxnSpPr>
              <a:cxnSpLocks noChangeShapeType="1"/>
              <a:stCxn id="54" idx="3"/>
              <a:endCxn id="66" idx="1"/>
            </p:cNvCxnSpPr>
            <p:nvPr/>
          </p:nvCxnSpPr>
          <p:spPr bwMode="auto">
            <a:xfrm>
              <a:off x="6324481" y="2306625"/>
              <a:ext cx="670947" cy="513594"/>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65" name="Rectangle 27">
            <a:extLst>
              <a:ext uri="{FF2B5EF4-FFF2-40B4-BE49-F238E27FC236}">
                <a16:creationId xmlns:a16="http://schemas.microsoft.com/office/drawing/2014/main" id="{81E7A720-87E3-485A-BBEA-39DDF274020D}"/>
              </a:ext>
            </a:extLst>
          </p:cNvPr>
          <p:cNvSpPr>
            <a:spLocks noChangeArrowheads="1"/>
          </p:cNvSpPr>
          <p:nvPr/>
        </p:nvSpPr>
        <p:spPr bwMode="auto">
          <a:xfrm>
            <a:off x="6995428" y="1648062"/>
            <a:ext cx="1800000" cy="295200"/>
          </a:xfrm>
          <a:prstGeom prst="rect">
            <a:avLst/>
          </a:prstGeom>
          <a:solidFill>
            <a:schemeClr val="accent1"/>
          </a:solidFill>
          <a:ln w="6350">
            <a:noFill/>
            <a:miter lim="800000"/>
            <a:headEnd/>
            <a:tailEnd/>
          </a:ln>
          <a:effectLst/>
        </p:spPr>
        <p:txBody>
          <a:bodyPr lIns="72000" tIns="72000" rIns="72000" bIns="72000" anchor="ctr"/>
          <a:lstStyle/>
          <a:p>
            <a:pPr algn="l" eaLnBrk="0" hangingPunct="0"/>
            <a:r>
              <a:rPr lang="en-GB" sz="1200">
                <a:solidFill>
                  <a:schemeClr val="bg1"/>
                </a:solidFill>
              </a:rPr>
              <a:t>Text</a:t>
            </a:r>
            <a:endParaRPr lang="en-US" sz="1200">
              <a:solidFill>
                <a:schemeClr val="bg1"/>
              </a:solidFill>
            </a:endParaRPr>
          </a:p>
        </p:txBody>
      </p:sp>
      <p:grpSp>
        <p:nvGrpSpPr>
          <p:cNvPr id="8" name="Group 7">
            <a:extLst>
              <a:ext uri="{FF2B5EF4-FFF2-40B4-BE49-F238E27FC236}">
                <a16:creationId xmlns:a16="http://schemas.microsoft.com/office/drawing/2014/main" id="{844FEB30-D969-44A0-BB12-7D31289A8F80}"/>
              </a:ext>
              <a:ext uri="{C183D7F6-B498-43B3-948B-1728B52AA6E4}">
                <adec:decorative xmlns:adec="http://schemas.microsoft.com/office/drawing/2017/decorative" val="1"/>
              </a:ext>
            </a:extLst>
          </p:cNvPr>
          <p:cNvGrpSpPr/>
          <p:nvPr/>
        </p:nvGrpSpPr>
        <p:grpSpPr>
          <a:xfrm>
            <a:off x="8795428" y="1450896"/>
            <a:ext cx="571845" cy="685636"/>
            <a:chOff x="8795428" y="1450896"/>
            <a:chExt cx="571845" cy="685636"/>
          </a:xfrm>
        </p:grpSpPr>
        <p:cxnSp>
          <p:nvCxnSpPr>
            <p:cNvPr id="82" name="AutoShape 29">
              <a:extLst>
                <a:ext uri="{FF2B5EF4-FFF2-40B4-BE49-F238E27FC236}">
                  <a16:creationId xmlns:a16="http://schemas.microsoft.com/office/drawing/2014/main" id="{C3788C2C-3169-4B13-B7F2-1ACC618E01E6}"/>
                </a:ext>
              </a:extLst>
            </p:cNvPr>
            <p:cNvCxnSpPr>
              <a:cxnSpLocks noChangeShapeType="1"/>
              <a:stCxn id="65" idx="3"/>
              <a:endCxn id="79" idx="1"/>
            </p:cNvCxnSpPr>
            <p:nvPr/>
          </p:nvCxnSpPr>
          <p:spPr bwMode="auto">
            <a:xfrm flipV="1">
              <a:off x="8795428" y="1450896"/>
              <a:ext cx="571845" cy="344766"/>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3" name="AutoShape 30">
              <a:extLst>
                <a:ext uri="{FF2B5EF4-FFF2-40B4-BE49-F238E27FC236}">
                  <a16:creationId xmlns:a16="http://schemas.microsoft.com/office/drawing/2014/main" id="{068B24C2-AE31-40AE-8ED7-66B0312594D5}"/>
                </a:ext>
              </a:extLst>
            </p:cNvPr>
            <p:cNvCxnSpPr>
              <a:cxnSpLocks noChangeShapeType="1"/>
              <a:stCxn id="65" idx="3"/>
              <a:endCxn id="80" idx="1"/>
            </p:cNvCxnSpPr>
            <p:nvPr/>
          </p:nvCxnSpPr>
          <p:spPr bwMode="auto">
            <a:xfrm flipV="1">
              <a:off x="8795428" y="1793714"/>
              <a:ext cx="571845" cy="1948"/>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4" name="AutoShape 31">
              <a:extLst>
                <a:ext uri="{FF2B5EF4-FFF2-40B4-BE49-F238E27FC236}">
                  <a16:creationId xmlns:a16="http://schemas.microsoft.com/office/drawing/2014/main" id="{8832F5DB-B7A6-4D21-8DE6-A81A8A3A1B7D}"/>
                </a:ext>
              </a:extLst>
            </p:cNvPr>
            <p:cNvCxnSpPr>
              <a:cxnSpLocks noChangeShapeType="1"/>
              <a:stCxn id="65" idx="3"/>
              <a:endCxn id="81" idx="1"/>
            </p:cNvCxnSpPr>
            <p:nvPr/>
          </p:nvCxnSpPr>
          <p:spPr bwMode="auto">
            <a:xfrm>
              <a:off x="8795428" y="1795662"/>
              <a:ext cx="571845" cy="340870"/>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79" name="Rectangle 11">
            <a:extLst>
              <a:ext uri="{FF2B5EF4-FFF2-40B4-BE49-F238E27FC236}">
                <a16:creationId xmlns:a16="http://schemas.microsoft.com/office/drawing/2014/main" id="{E3C7E696-6C4B-4A05-8317-AA25DAD194B6}"/>
              </a:ext>
            </a:extLst>
          </p:cNvPr>
          <p:cNvSpPr>
            <a:spLocks noChangeArrowheads="1"/>
          </p:cNvSpPr>
          <p:nvPr/>
        </p:nvSpPr>
        <p:spPr bwMode="auto">
          <a:xfrm>
            <a:off x="9367273" y="1305244"/>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80" name="Rectangle 12">
            <a:extLst>
              <a:ext uri="{FF2B5EF4-FFF2-40B4-BE49-F238E27FC236}">
                <a16:creationId xmlns:a16="http://schemas.microsoft.com/office/drawing/2014/main" id="{A300C89A-E62D-4F89-8FB2-09CC3A00FFCD}"/>
              </a:ext>
            </a:extLst>
          </p:cNvPr>
          <p:cNvSpPr>
            <a:spLocks noChangeArrowheads="1"/>
          </p:cNvSpPr>
          <p:nvPr/>
        </p:nvSpPr>
        <p:spPr bwMode="auto">
          <a:xfrm>
            <a:off x="9367273" y="1648062"/>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81" name="Rectangle 13">
            <a:extLst>
              <a:ext uri="{FF2B5EF4-FFF2-40B4-BE49-F238E27FC236}">
                <a16:creationId xmlns:a16="http://schemas.microsoft.com/office/drawing/2014/main" id="{6E250072-80F1-4EE0-AEF7-81796CC89B17}"/>
              </a:ext>
            </a:extLst>
          </p:cNvPr>
          <p:cNvSpPr>
            <a:spLocks noChangeArrowheads="1"/>
          </p:cNvSpPr>
          <p:nvPr/>
        </p:nvSpPr>
        <p:spPr bwMode="auto">
          <a:xfrm>
            <a:off x="9367273" y="1990880"/>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66" name="Rectangle 28">
            <a:extLst>
              <a:ext uri="{FF2B5EF4-FFF2-40B4-BE49-F238E27FC236}">
                <a16:creationId xmlns:a16="http://schemas.microsoft.com/office/drawing/2014/main" id="{3A7112B5-B2D3-4CC2-8024-D2CF9264A5CC}"/>
              </a:ext>
            </a:extLst>
          </p:cNvPr>
          <p:cNvSpPr>
            <a:spLocks noChangeArrowheads="1"/>
          </p:cNvSpPr>
          <p:nvPr/>
        </p:nvSpPr>
        <p:spPr bwMode="auto">
          <a:xfrm>
            <a:off x="6995428" y="2672619"/>
            <a:ext cx="1800000" cy="295200"/>
          </a:xfrm>
          <a:prstGeom prst="rect">
            <a:avLst/>
          </a:prstGeom>
          <a:solidFill>
            <a:schemeClr val="accent1"/>
          </a:solidFill>
          <a:ln w="6350">
            <a:noFill/>
            <a:miter lim="800000"/>
            <a:headEnd/>
            <a:tailEnd/>
          </a:ln>
          <a:effectLst/>
        </p:spPr>
        <p:txBody>
          <a:bodyPr lIns="72000" tIns="72000" rIns="72000" bIns="72000" anchor="ctr"/>
          <a:lstStyle/>
          <a:p>
            <a:pPr algn="l" eaLnBrk="0" hangingPunct="0"/>
            <a:r>
              <a:rPr lang="en-GB" sz="1200">
                <a:solidFill>
                  <a:schemeClr val="bg1"/>
                </a:solidFill>
              </a:rPr>
              <a:t>Text</a:t>
            </a:r>
            <a:endParaRPr lang="en-US" sz="1200">
              <a:solidFill>
                <a:schemeClr val="bg1"/>
              </a:solidFill>
            </a:endParaRPr>
          </a:p>
        </p:txBody>
      </p:sp>
      <p:grpSp>
        <p:nvGrpSpPr>
          <p:cNvPr id="9" name="Group 8">
            <a:extLst>
              <a:ext uri="{FF2B5EF4-FFF2-40B4-BE49-F238E27FC236}">
                <a16:creationId xmlns:a16="http://schemas.microsoft.com/office/drawing/2014/main" id="{F31B6E3B-9090-49D7-86D9-0BE509267927}"/>
              </a:ext>
              <a:ext uri="{C183D7F6-B498-43B3-948B-1728B52AA6E4}">
                <adec:decorative xmlns:adec="http://schemas.microsoft.com/office/drawing/2017/decorative" val="1"/>
              </a:ext>
            </a:extLst>
          </p:cNvPr>
          <p:cNvGrpSpPr/>
          <p:nvPr/>
        </p:nvGrpSpPr>
        <p:grpSpPr>
          <a:xfrm>
            <a:off x="8795428" y="2478992"/>
            <a:ext cx="589619" cy="685994"/>
            <a:chOff x="8795428" y="2478992"/>
            <a:chExt cx="589619" cy="685994"/>
          </a:xfrm>
        </p:grpSpPr>
        <p:cxnSp>
          <p:nvCxnSpPr>
            <p:cNvPr id="88" name="AutoShape 29">
              <a:extLst>
                <a:ext uri="{FF2B5EF4-FFF2-40B4-BE49-F238E27FC236}">
                  <a16:creationId xmlns:a16="http://schemas.microsoft.com/office/drawing/2014/main" id="{BCC6DB5A-158F-45D7-BB32-FD942746347C}"/>
                </a:ext>
              </a:extLst>
            </p:cNvPr>
            <p:cNvCxnSpPr>
              <a:cxnSpLocks noChangeShapeType="1"/>
              <a:stCxn id="66" idx="3"/>
              <a:endCxn id="85" idx="1"/>
            </p:cNvCxnSpPr>
            <p:nvPr/>
          </p:nvCxnSpPr>
          <p:spPr bwMode="auto">
            <a:xfrm flipV="1">
              <a:off x="8795428" y="2478992"/>
              <a:ext cx="589619" cy="34122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9" name="AutoShape 30">
              <a:extLst>
                <a:ext uri="{FF2B5EF4-FFF2-40B4-BE49-F238E27FC236}">
                  <a16:creationId xmlns:a16="http://schemas.microsoft.com/office/drawing/2014/main" id="{33DB31EE-A291-40FA-AA4D-DC1C8C9E15B7}"/>
                </a:ext>
              </a:extLst>
            </p:cNvPr>
            <p:cNvCxnSpPr>
              <a:cxnSpLocks noChangeShapeType="1"/>
              <a:stCxn id="66" idx="3"/>
              <a:endCxn id="86" idx="1"/>
            </p:cNvCxnSpPr>
            <p:nvPr/>
          </p:nvCxnSpPr>
          <p:spPr bwMode="auto">
            <a:xfrm>
              <a:off x="8795428" y="2820219"/>
              <a:ext cx="571845" cy="1949"/>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0" name="AutoShape 31">
              <a:extLst>
                <a:ext uri="{FF2B5EF4-FFF2-40B4-BE49-F238E27FC236}">
                  <a16:creationId xmlns:a16="http://schemas.microsoft.com/office/drawing/2014/main" id="{CAA74236-90F2-4D96-86DA-39A90912B7E0}"/>
                </a:ext>
              </a:extLst>
            </p:cNvPr>
            <p:cNvCxnSpPr>
              <a:cxnSpLocks noChangeShapeType="1"/>
              <a:stCxn id="66" idx="3"/>
              <a:endCxn id="87" idx="1"/>
            </p:cNvCxnSpPr>
            <p:nvPr/>
          </p:nvCxnSpPr>
          <p:spPr bwMode="auto">
            <a:xfrm>
              <a:off x="8795428" y="2820219"/>
              <a:ext cx="571845" cy="34476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85" name="Rectangle 11">
            <a:extLst>
              <a:ext uri="{FF2B5EF4-FFF2-40B4-BE49-F238E27FC236}">
                <a16:creationId xmlns:a16="http://schemas.microsoft.com/office/drawing/2014/main" id="{6031D42B-1B43-470B-86DD-9A6D3EC62986}"/>
              </a:ext>
            </a:extLst>
          </p:cNvPr>
          <p:cNvSpPr>
            <a:spLocks noChangeArrowheads="1"/>
          </p:cNvSpPr>
          <p:nvPr/>
        </p:nvSpPr>
        <p:spPr bwMode="auto">
          <a:xfrm>
            <a:off x="9385047" y="2333340"/>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86" name="Rectangle 12">
            <a:extLst>
              <a:ext uri="{FF2B5EF4-FFF2-40B4-BE49-F238E27FC236}">
                <a16:creationId xmlns:a16="http://schemas.microsoft.com/office/drawing/2014/main" id="{92234F37-AB36-4312-B0BC-5A99EACC8EBC}"/>
              </a:ext>
            </a:extLst>
          </p:cNvPr>
          <p:cNvSpPr>
            <a:spLocks noChangeArrowheads="1"/>
          </p:cNvSpPr>
          <p:nvPr/>
        </p:nvSpPr>
        <p:spPr bwMode="auto">
          <a:xfrm>
            <a:off x="9367273" y="2676516"/>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87" name="Rectangle 13">
            <a:extLst>
              <a:ext uri="{FF2B5EF4-FFF2-40B4-BE49-F238E27FC236}">
                <a16:creationId xmlns:a16="http://schemas.microsoft.com/office/drawing/2014/main" id="{13ACDC2C-0634-4E54-BF29-B0F76314304F}"/>
              </a:ext>
            </a:extLst>
          </p:cNvPr>
          <p:cNvSpPr>
            <a:spLocks noChangeArrowheads="1"/>
          </p:cNvSpPr>
          <p:nvPr/>
        </p:nvSpPr>
        <p:spPr bwMode="auto">
          <a:xfrm>
            <a:off x="9367273" y="3019334"/>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55" name="Rectangle 5">
            <a:extLst>
              <a:ext uri="{FF2B5EF4-FFF2-40B4-BE49-F238E27FC236}">
                <a16:creationId xmlns:a16="http://schemas.microsoft.com/office/drawing/2014/main" id="{EC7D6193-223E-4C39-BBFB-27413F0D6217}"/>
              </a:ext>
            </a:extLst>
          </p:cNvPr>
          <p:cNvSpPr>
            <a:spLocks noChangeArrowheads="1"/>
          </p:cNvSpPr>
          <p:nvPr/>
        </p:nvSpPr>
        <p:spPr bwMode="auto">
          <a:xfrm>
            <a:off x="4524481" y="4088595"/>
            <a:ext cx="1800000" cy="295200"/>
          </a:xfrm>
          <a:prstGeom prst="rect">
            <a:avLst/>
          </a:prstGeom>
          <a:solidFill>
            <a:schemeClr val="accent3"/>
          </a:solidFill>
          <a:ln w="6350">
            <a:noFill/>
            <a:miter lim="800000"/>
            <a:headEnd/>
            <a:tailEnd/>
          </a:ln>
          <a:effectLst/>
        </p:spPr>
        <p:txBody>
          <a:bodyPr lIns="72000" tIns="72000" rIns="72000" bIns="72000" anchor="ctr"/>
          <a:lstStyle/>
          <a:p>
            <a:pPr algn="l" eaLnBrk="0" hangingPunct="0"/>
            <a:r>
              <a:rPr lang="en-GB" sz="1200" b="1">
                <a:solidFill>
                  <a:schemeClr val="bg1"/>
                </a:solidFill>
              </a:rPr>
              <a:t>Text</a:t>
            </a:r>
            <a:endParaRPr lang="en-US" sz="1200" b="1">
              <a:solidFill>
                <a:schemeClr val="bg1"/>
              </a:solidFill>
            </a:endParaRPr>
          </a:p>
        </p:txBody>
      </p:sp>
      <p:grpSp>
        <p:nvGrpSpPr>
          <p:cNvPr id="10" name="Group 9">
            <a:extLst>
              <a:ext uri="{FF2B5EF4-FFF2-40B4-BE49-F238E27FC236}">
                <a16:creationId xmlns:a16="http://schemas.microsoft.com/office/drawing/2014/main" id="{06783974-AF35-491D-866F-E381D26FCC27}"/>
              </a:ext>
              <a:ext uri="{C183D7F6-B498-43B3-948B-1728B52AA6E4}">
                <adec:decorative xmlns:adec="http://schemas.microsoft.com/office/drawing/2017/decorative" val="1"/>
              </a:ext>
            </a:extLst>
          </p:cNvPr>
          <p:cNvGrpSpPr/>
          <p:nvPr/>
        </p:nvGrpSpPr>
        <p:grpSpPr>
          <a:xfrm>
            <a:off x="6324481" y="3850518"/>
            <a:ext cx="670947" cy="1046850"/>
            <a:chOff x="6324481" y="3850518"/>
            <a:chExt cx="670947" cy="1046850"/>
          </a:xfrm>
        </p:grpSpPr>
        <p:cxnSp>
          <p:nvCxnSpPr>
            <p:cNvPr id="69" name="AutoShape 31">
              <a:extLst>
                <a:ext uri="{FF2B5EF4-FFF2-40B4-BE49-F238E27FC236}">
                  <a16:creationId xmlns:a16="http://schemas.microsoft.com/office/drawing/2014/main" id="{F07A4BC4-8792-49A7-94C0-5C7825E25F5D}"/>
                </a:ext>
              </a:extLst>
            </p:cNvPr>
            <p:cNvCxnSpPr>
              <a:cxnSpLocks noChangeShapeType="1"/>
              <a:stCxn id="55" idx="3"/>
              <a:endCxn id="67" idx="1"/>
            </p:cNvCxnSpPr>
            <p:nvPr/>
          </p:nvCxnSpPr>
          <p:spPr bwMode="auto">
            <a:xfrm flipV="1">
              <a:off x="6324481" y="3850518"/>
              <a:ext cx="670947" cy="38567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6" name="AutoShape 50">
              <a:extLst>
                <a:ext uri="{FF2B5EF4-FFF2-40B4-BE49-F238E27FC236}">
                  <a16:creationId xmlns:a16="http://schemas.microsoft.com/office/drawing/2014/main" id="{17C4132E-F6AB-4FCD-B828-8B666526FFE0}"/>
                </a:ext>
              </a:extLst>
            </p:cNvPr>
            <p:cNvCxnSpPr>
              <a:cxnSpLocks noChangeShapeType="1"/>
              <a:stCxn id="55" idx="3"/>
              <a:endCxn id="68" idx="1"/>
            </p:cNvCxnSpPr>
            <p:nvPr/>
          </p:nvCxnSpPr>
          <p:spPr bwMode="auto">
            <a:xfrm>
              <a:off x="6324481" y="4236195"/>
              <a:ext cx="670947" cy="661173"/>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67" name="Rectangle 29">
            <a:extLst>
              <a:ext uri="{FF2B5EF4-FFF2-40B4-BE49-F238E27FC236}">
                <a16:creationId xmlns:a16="http://schemas.microsoft.com/office/drawing/2014/main" id="{46B1809A-31C5-4843-98E9-CB4FAF7CE055}"/>
              </a:ext>
            </a:extLst>
          </p:cNvPr>
          <p:cNvSpPr>
            <a:spLocks noChangeArrowheads="1"/>
          </p:cNvSpPr>
          <p:nvPr/>
        </p:nvSpPr>
        <p:spPr bwMode="auto">
          <a:xfrm>
            <a:off x="6995428" y="3702918"/>
            <a:ext cx="1800000" cy="295200"/>
          </a:xfrm>
          <a:prstGeom prst="rect">
            <a:avLst/>
          </a:prstGeom>
          <a:solidFill>
            <a:schemeClr val="accent1"/>
          </a:solidFill>
          <a:ln w="6350">
            <a:noFill/>
            <a:miter lim="800000"/>
            <a:headEnd/>
            <a:tailEnd/>
          </a:ln>
          <a:effectLst/>
        </p:spPr>
        <p:txBody>
          <a:bodyPr lIns="72000" tIns="72000" rIns="72000" bIns="72000" anchor="ctr"/>
          <a:lstStyle/>
          <a:p>
            <a:pPr algn="l" eaLnBrk="0" hangingPunct="0"/>
            <a:r>
              <a:rPr lang="en-GB" sz="1200">
                <a:solidFill>
                  <a:schemeClr val="bg1"/>
                </a:solidFill>
              </a:rPr>
              <a:t>Text</a:t>
            </a:r>
            <a:endParaRPr lang="en-US" sz="1200">
              <a:solidFill>
                <a:schemeClr val="bg1"/>
              </a:solidFill>
            </a:endParaRPr>
          </a:p>
        </p:txBody>
      </p:sp>
      <p:grpSp>
        <p:nvGrpSpPr>
          <p:cNvPr id="14" name="Group 13">
            <a:extLst>
              <a:ext uri="{FF2B5EF4-FFF2-40B4-BE49-F238E27FC236}">
                <a16:creationId xmlns:a16="http://schemas.microsoft.com/office/drawing/2014/main" id="{0A5DA078-921D-44B8-BD11-6ACC08E18B57}"/>
              </a:ext>
              <a:ext uri="{C183D7F6-B498-43B3-948B-1728B52AA6E4}">
                <adec:decorative xmlns:adec="http://schemas.microsoft.com/office/drawing/2017/decorative" val="1"/>
              </a:ext>
            </a:extLst>
          </p:cNvPr>
          <p:cNvGrpSpPr/>
          <p:nvPr/>
        </p:nvGrpSpPr>
        <p:grpSpPr>
          <a:xfrm>
            <a:off x="8795428" y="3509649"/>
            <a:ext cx="571845" cy="685636"/>
            <a:chOff x="8795428" y="3509649"/>
            <a:chExt cx="571845" cy="685636"/>
          </a:xfrm>
        </p:grpSpPr>
        <p:grpSp>
          <p:nvGrpSpPr>
            <p:cNvPr id="11" name="Group 10">
              <a:extLst>
                <a:ext uri="{FF2B5EF4-FFF2-40B4-BE49-F238E27FC236}">
                  <a16:creationId xmlns:a16="http://schemas.microsoft.com/office/drawing/2014/main" id="{14A114B9-7070-445D-B39B-DEF8DB7C43CC}"/>
                </a:ext>
              </a:extLst>
            </p:cNvPr>
            <p:cNvGrpSpPr/>
            <p:nvPr/>
          </p:nvGrpSpPr>
          <p:grpSpPr>
            <a:xfrm>
              <a:off x="8795428" y="3509649"/>
              <a:ext cx="571845" cy="685636"/>
              <a:chOff x="8795428" y="3509649"/>
              <a:chExt cx="571845" cy="685636"/>
            </a:xfrm>
          </p:grpSpPr>
          <p:cxnSp>
            <p:nvCxnSpPr>
              <p:cNvPr id="94" name="AutoShape 29">
                <a:extLst>
                  <a:ext uri="{FF2B5EF4-FFF2-40B4-BE49-F238E27FC236}">
                    <a16:creationId xmlns:a16="http://schemas.microsoft.com/office/drawing/2014/main" id="{E90C2CB3-4E42-49B1-A6AE-FD72898649EA}"/>
                  </a:ext>
                </a:extLst>
              </p:cNvPr>
              <p:cNvCxnSpPr>
                <a:cxnSpLocks noChangeShapeType="1"/>
                <a:stCxn id="67" idx="3"/>
                <a:endCxn id="91" idx="1"/>
              </p:cNvCxnSpPr>
              <p:nvPr/>
            </p:nvCxnSpPr>
            <p:spPr bwMode="auto">
              <a:xfrm flipV="1">
                <a:off x="8795428" y="3509649"/>
                <a:ext cx="571845" cy="340869"/>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6" name="AutoShape 31">
                <a:extLst>
                  <a:ext uri="{FF2B5EF4-FFF2-40B4-BE49-F238E27FC236}">
                    <a16:creationId xmlns:a16="http://schemas.microsoft.com/office/drawing/2014/main" id="{F791A05A-CE3C-45FA-BCB7-9858AF9247A9}"/>
                  </a:ext>
                </a:extLst>
              </p:cNvPr>
              <p:cNvCxnSpPr>
                <a:cxnSpLocks noChangeShapeType="1"/>
                <a:stCxn id="67" idx="3"/>
                <a:endCxn id="93" idx="1"/>
              </p:cNvCxnSpPr>
              <p:nvPr/>
            </p:nvCxnSpPr>
            <p:spPr bwMode="auto">
              <a:xfrm>
                <a:off x="8795428" y="3850518"/>
                <a:ext cx="571845" cy="34476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cxnSp>
          <p:nvCxnSpPr>
            <p:cNvPr id="95" name="AutoShape 30">
              <a:extLst>
                <a:ext uri="{FF2B5EF4-FFF2-40B4-BE49-F238E27FC236}">
                  <a16:creationId xmlns:a16="http://schemas.microsoft.com/office/drawing/2014/main" id="{8286DD6A-CEB1-4FA7-90AC-FFDC7990F0E8}"/>
                </a:ext>
              </a:extLst>
            </p:cNvPr>
            <p:cNvCxnSpPr>
              <a:cxnSpLocks noChangeShapeType="1"/>
              <a:stCxn id="67" idx="3"/>
              <a:endCxn id="92" idx="1"/>
            </p:cNvCxnSpPr>
            <p:nvPr/>
          </p:nvCxnSpPr>
          <p:spPr bwMode="auto">
            <a:xfrm>
              <a:off x="8795428" y="3850518"/>
              <a:ext cx="571845" cy="1949"/>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91" name="Rectangle 11">
            <a:extLst>
              <a:ext uri="{FF2B5EF4-FFF2-40B4-BE49-F238E27FC236}">
                <a16:creationId xmlns:a16="http://schemas.microsoft.com/office/drawing/2014/main" id="{4547883D-A1EC-4982-9A72-1A0C28615BDC}"/>
              </a:ext>
            </a:extLst>
          </p:cNvPr>
          <p:cNvSpPr>
            <a:spLocks noChangeArrowheads="1"/>
          </p:cNvSpPr>
          <p:nvPr/>
        </p:nvSpPr>
        <p:spPr bwMode="auto">
          <a:xfrm>
            <a:off x="9367273" y="3363997"/>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92" name="Rectangle 12">
            <a:extLst>
              <a:ext uri="{FF2B5EF4-FFF2-40B4-BE49-F238E27FC236}">
                <a16:creationId xmlns:a16="http://schemas.microsoft.com/office/drawing/2014/main" id="{1379EAB5-476B-4C1A-BB57-F3521A2C5469}"/>
              </a:ext>
            </a:extLst>
          </p:cNvPr>
          <p:cNvSpPr>
            <a:spLocks noChangeArrowheads="1"/>
          </p:cNvSpPr>
          <p:nvPr/>
        </p:nvSpPr>
        <p:spPr bwMode="auto">
          <a:xfrm>
            <a:off x="9367273" y="3706815"/>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93" name="Rectangle 13">
            <a:extLst>
              <a:ext uri="{FF2B5EF4-FFF2-40B4-BE49-F238E27FC236}">
                <a16:creationId xmlns:a16="http://schemas.microsoft.com/office/drawing/2014/main" id="{32B70A2A-3969-4E8C-9925-D248C55E6203}"/>
              </a:ext>
            </a:extLst>
          </p:cNvPr>
          <p:cNvSpPr>
            <a:spLocks noChangeArrowheads="1"/>
          </p:cNvSpPr>
          <p:nvPr/>
        </p:nvSpPr>
        <p:spPr bwMode="auto">
          <a:xfrm>
            <a:off x="9367273" y="4049633"/>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58" name="Rectangle 8">
            <a:extLst>
              <a:ext uri="{FF2B5EF4-FFF2-40B4-BE49-F238E27FC236}">
                <a16:creationId xmlns:a16="http://schemas.microsoft.com/office/drawing/2014/main" id="{8F39E8F1-2697-4830-A122-A1F2A258EF7A}"/>
              </a:ext>
            </a:extLst>
          </p:cNvPr>
          <p:cNvSpPr>
            <a:spLocks noChangeArrowheads="1"/>
          </p:cNvSpPr>
          <p:nvPr/>
        </p:nvSpPr>
        <p:spPr bwMode="auto">
          <a:xfrm>
            <a:off x="2503534" y="5454676"/>
            <a:ext cx="1350000" cy="295200"/>
          </a:xfrm>
          <a:prstGeom prst="rect">
            <a:avLst/>
          </a:prstGeom>
          <a:solidFill>
            <a:schemeClr val="accent2"/>
          </a:solidFill>
          <a:ln w="6350">
            <a:noFill/>
            <a:miter lim="800000"/>
            <a:headEnd/>
            <a:tailEnd/>
          </a:ln>
          <a:effectLst/>
        </p:spPr>
        <p:txBody>
          <a:bodyPr lIns="72000" tIns="72000" rIns="72000" bIns="72000" anchor="ctr"/>
          <a:lstStyle/>
          <a:p>
            <a:pPr algn="l" eaLnBrk="0" hangingPunct="0"/>
            <a:r>
              <a:rPr lang="en-GB" sz="1200" b="1">
                <a:solidFill>
                  <a:schemeClr val="bg1"/>
                </a:solidFill>
              </a:rPr>
              <a:t>Text</a:t>
            </a:r>
            <a:endParaRPr lang="en-US" sz="1200" b="1">
              <a:solidFill>
                <a:schemeClr val="bg1"/>
              </a:solidFill>
            </a:endParaRPr>
          </a:p>
        </p:txBody>
      </p:sp>
      <p:cxnSp>
        <p:nvCxnSpPr>
          <p:cNvPr id="63" name="AutoShape 13">
            <a:extLst>
              <a:ext uri="{FF2B5EF4-FFF2-40B4-BE49-F238E27FC236}">
                <a16:creationId xmlns:a16="http://schemas.microsoft.com/office/drawing/2014/main" id="{30C8C14F-C78C-4E72-A2A6-CEE34AA8772F}"/>
              </a:ext>
              <a:ext uri="{C183D7F6-B498-43B3-948B-1728B52AA6E4}">
                <adec:decorative xmlns:adec="http://schemas.microsoft.com/office/drawing/2017/decorative" val="1"/>
              </a:ext>
            </a:extLst>
          </p:cNvPr>
          <p:cNvCxnSpPr>
            <a:cxnSpLocks noChangeShapeType="1"/>
            <a:stCxn id="58" idx="3"/>
            <a:endCxn id="56" idx="1"/>
          </p:cNvCxnSpPr>
          <p:nvPr/>
        </p:nvCxnSpPr>
        <p:spPr bwMode="auto">
          <a:xfrm>
            <a:off x="3853534" y="5602276"/>
            <a:ext cx="670947" cy="0"/>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6" name="Rectangle 6">
            <a:extLst>
              <a:ext uri="{FF2B5EF4-FFF2-40B4-BE49-F238E27FC236}">
                <a16:creationId xmlns:a16="http://schemas.microsoft.com/office/drawing/2014/main" id="{58BE4088-9057-4198-A968-33074FF95A0A}"/>
              </a:ext>
            </a:extLst>
          </p:cNvPr>
          <p:cNvSpPr>
            <a:spLocks noChangeArrowheads="1"/>
          </p:cNvSpPr>
          <p:nvPr/>
        </p:nvSpPr>
        <p:spPr bwMode="auto">
          <a:xfrm>
            <a:off x="4524481" y="5454676"/>
            <a:ext cx="1800000" cy="295200"/>
          </a:xfrm>
          <a:prstGeom prst="rect">
            <a:avLst/>
          </a:prstGeom>
          <a:solidFill>
            <a:schemeClr val="accent3"/>
          </a:solidFill>
          <a:ln w="6350">
            <a:noFill/>
            <a:miter lim="800000"/>
            <a:headEnd/>
            <a:tailEnd/>
          </a:ln>
          <a:effectLst/>
        </p:spPr>
        <p:txBody>
          <a:bodyPr lIns="72000" tIns="72000" rIns="72000" bIns="72000" anchor="ctr"/>
          <a:lstStyle/>
          <a:p>
            <a:pPr algn="l" eaLnBrk="0" hangingPunct="0"/>
            <a:r>
              <a:rPr lang="en-GB" sz="1200" b="1">
                <a:solidFill>
                  <a:schemeClr val="bg1"/>
                </a:solidFill>
              </a:rPr>
              <a:t>Text</a:t>
            </a:r>
            <a:endParaRPr lang="en-US" sz="1200" b="1">
              <a:solidFill>
                <a:schemeClr val="bg1"/>
              </a:solidFill>
            </a:endParaRPr>
          </a:p>
        </p:txBody>
      </p:sp>
      <p:grpSp>
        <p:nvGrpSpPr>
          <p:cNvPr id="16" name="Group 15">
            <a:extLst>
              <a:ext uri="{FF2B5EF4-FFF2-40B4-BE49-F238E27FC236}">
                <a16:creationId xmlns:a16="http://schemas.microsoft.com/office/drawing/2014/main" id="{E017D8CE-7F08-40F7-971F-DD6E01EFD60C}"/>
              </a:ext>
              <a:ext uri="{C183D7F6-B498-43B3-948B-1728B52AA6E4}">
                <adec:decorative xmlns:adec="http://schemas.microsoft.com/office/drawing/2017/decorative" val="1"/>
              </a:ext>
            </a:extLst>
          </p:cNvPr>
          <p:cNvGrpSpPr/>
          <p:nvPr/>
        </p:nvGrpSpPr>
        <p:grpSpPr>
          <a:xfrm>
            <a:off x="6324481" y="5250431"/>
            <a:ext cx="670947" cy="722312"/>
            <a:chOff x="6324481" y="5250431"/>
            <a:chExt cx="670947" cy="722312"/>
          </a:xfrm>
        </p:grpSpPr>
        <p:grpSp>
          <p:nvGrpSpPr>
            <p:cNvPr id="12" name="Group 11">
              <a:extLst>
                <a:ext uri="{FF2B5EF4-FFF2-40B4-BE49-F238E27FC236}">
                  <a16:creationId xmlns:a16="http://schemas.microsoft.com/office/drawing/2014/main" id="{588204B4-94F7-47DF-9C4A-D7A99DF0D92B}"/>
                </a:ext>
              </a:extLst>
            </p:cNvPr>
            <p:cNvGrpSpPr/>
            <p:nvPr/>
          </p:nvGrpSpPr>
          <p:grpSpPr>
            <a:xfrm>
              <a:off x="6324481" y="5250431"/>
              <a:ext cx="670947" cy="722312"/>
              <a:chOff x="6324481" y="5250431"/>
              <a:chExt cx="670947" cy="722312"/>
            </a:xfrm>
          </p:grpSpPr>
          <p:cxnSp>
            <p:nvCxnSpPr>
              <p:cNvPr id="74" name="AutoShape 48">
                <a:extLst>
                  <a:ext uri="{FF2B5EF4-FFF2-40B4-BE49-F238E27FC236}">
                    <a16:creationId xmlns:a16="http://schemas.microsoft.com/office/drawing/2014/main" id="{E7A494D2-8AAB-4C17-ACA3-0A7AFDE06B0E}"/>
                  </a:ext>
                </a:extLst>
              </p:cNvPr>
              <p:cNvCxnSpPr>
                <a:cxnSpLocks noChangeShapeType="1"/>
                <a:stCxn id="56" idx="3"/>
                <a:endCxn id="71" idx="1"/>
              </p:cNvCxnSpPr>
              <p:nvPr/>
            </p:nvCxnSpPr>
            <p:spPr bwMode="auto">
              <a:xfrm flipV="1">
                <a:off x="6324481" y="5250431"/>
                <a:ext cx="670947" cy="351845"/>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5" name="AutoShape 49">
                <a:extLst>
                  <a:ext uri="{FF2B5EF4-FFF2-40B4-BE49-F238E27FC236}">
                    <a16:creationId xmlns:a16="http://schemas.microsoft.com/office/drawing/2014/main" id="{F491C152-CBFB-4BDC-A86F-FBA2A3A711B6}"/>
                  </a:ext>
                </a:extLst>
              </p:cNvPr>
              <p:cNvCxnSpPr>
                <a:cxnSpLocks noChangeShapeType="1"/>
                <a:stCxn id="56" idx="3"/>
                <a:endCxn id="72" idx="1"/>
              </p:cNvCxnSpPr>
              <p:nvPr/>
            </p:nvCxnSpPr>
            <p:spPr bwMode="auto">
              <a:xfrm>
                <a:off x="6324481" y="5602276"/>
                <a:ext cx="670947" cy="37046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cxnSp>
          <p:nvCxnSpPr>
            <p:cNvPr id="73" name="AutoShape 47">
              <a:extLst>
                <a:ext uri="{FF2B5EF4-FFF2-40B4-BE49-F238E27FC236}">
                  <a16:creationId xmlns:a16="http://schemas.microsoft.com/office/drawing/2014/main" id="{22536BAB-1FB0-4775-BF7D-515ADB28A0BE}"/>
                </a:ext>
              </a:extLst>
            </p:cNvPr>
            <p:cNvCxnSpPr>
              <a:cxnSpLocks noChangeShapeType="1"/>
              <a:stCxn id="56" idx="3"/>
              <a:endCxn id="70" idx="1"/>
            </p:cNvCxnSpPr>
            <p:nvPr/>
          </p:nvCxnSpPr>
          <p:spPr bwMode="auto">
            <a:xfrm>
              <a:off x="6324481" y="5602276"/>
              <a:ext cx="670947" cy="9311"/>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68" name="Rectangle 30">
            <a:extLst>
              <a:ext uri="{FF2B5EF4-FFF2-40B4-BE49-F238E27FC236}">
                <a16:creationId xmlns:a16="http://schemas.microsoft.com/office/drawing/2014/main" id="{A51F0537-13CA-46C6-AB51-8CD8CF4D64D8}"/>
              </a:ext>
            </a:extLst>
          </p:cNvPr>
          <p:cNvSpPr>
            <a:spLocks noChangeArrowheads="1"/>
          </p:cNvSpPr>
          <p:nvPr/>
        </p:nvSpPr>
        <p:spPr bwMode="auto">
          <a:xfrm>
            <a:off x="6995428" y="4749768"/>
            <a:ext cx="1800000" cy="295200"/>
          </a:xfrm>
          <a:prstGeom prst="rect">
            <a:avLst/>
          </a:prstGeom>
          <a:solidFill>
            <a:schemeClr val="accent1"/>
          </a:solidFill>
          <a:ln w="6350">
            <a:noFill/>
            <a:miter lim="800000"/>
            <a:headEnd/>
            <a:tailEnd/>
          </a:ln>
          <a:effectLst/>
        </p:spPr>
        <p:txBody>
          <a:bodyPr lIns="72000" tIns="72000" rIns="72000" bIns="72000" anchor="ctr"/>
          <a:lstStyle/>
          <a:p>
            <a:pPr algn="l" eaLnBrk="0" hangingPunct="0"/>
            <a:r>
              <a:rPr lang="en-GB" sz="1200">
                <a:solidFill>
                  <a:schemeClr val="bg1"/>
                </a:solidFill>
              </a:rPr>
              <a:t>Text</a:t>
            </a:r>
            <a:endParaRPr lang="en-US" sz="1200">
              <a:solidFill>
                <a:schemeClr val="bg1"/>
              </a:solidFill>
            </a:endParaRPr>
          </a:p>
        </p:txBody>
      </p:sp>
      <p:sp>
        <p:nvSpPr>
          <p:cNvPr id="71" name="Rectangle 45">
            <a:extLst>
              <a:ext uri="{FF2B5EF4-FFF2-40B4-BE49-F238E27FC236}">
                <a16:creationId xmlns:a16="http://schemas.microsoft.com/office/drawing/2014/main" id="{3568204F-CC38-4214-8225-75F93F87B4BE}"/>
              </a:ext>
            </a:extLst>
          </p:cNvPr>
          <p:cNvSpPr>
            <a:spLocks noChangeArrowheads="1"/>
          </p:cNvSpPr>
          <p:nvPr/>
        </p:nvSpPr>
        <p:spPr bwMode="auto">
          <a:xfrm>
            <a:off x="6995428" y="5102831"/>
            <a:ext cx="1800000" cy="295200"/>
          </a:xfrm>
          <a:prstGeom prst="rect">
            <a:avLst/>
          </a:prstGeom>
          <a:solidFill>
            <a:schemeClr val="accent1"/>
          </a:solidFill>
          <a:ln w="6350">
            <a:noFill/>
            <a:miter lim="800000"/>
            <a:headEnd/>
            <a:tailEnd/>
          </a:ln>
          <a:effectLst/>
        </p:spPr>
        <p:txBody>
          <a:bodyPr lIns="72000" tIns="72000" rIns="72000" bIns="72000" anchor="ctr"/>
          <a:lstStyle/>
          <a:p>
            <a:pPr algn="l" eaLnBrk="0" hangingPunct="0"/>
            <a:r>
              <a:rPr lang="en-GB" sz="1200">
                <a:solidFill>
                  <a:schemeClr val="bg1"/>
                </a:solidFill>
              </a:rPr>
              <a:t>Text</a:t>
            </a:r>
            <a:endParaRPr lang="en-US" sz="1200">
              <a:solidFill>
                <a:schemeClr val="bg1"/>
              </a:solidFill>
            </a:endParaRPr>
          </a:p>
        </p:txBody>
      </p:sp>
      <p:sp>
        <p:nvSpPr>
          <p:cNvPr id="70" name="Rectangle 44">
            <a:extLst>
              <a:ext uri="{FF2B5EF4-FFF2-40B4-BE49-F238E27FC236}">
                <a16:creationId xmlns:a16="http://schemas.microsoft.com/office/drawing/2014/main" id="{F2C1310B-A0C7-4FF8-981E-3B5FB6529E66}"/>
              </a:ext>
            </a:extLst>
          </p:cNvPr>
          <p:cNvSpPr>
            <a:spLocks noChangeArrowheads="1"/>
          </p:cNvSpPr>
          <p:nvPr/>
        </p:nvSpPr>
        <p:spPr bwMode="auto">
          <a:xfrm>
            <a:off x="6995428" y="5463987"/>
            <a:ext cx="1800000" cy="295200"/>
          </a:xfrm>
          <a:prstGeom prst="rect">
            <a:avLst/>
          </a:prstGeom>
          <a:solidFill>
            <a:schemeClr val="accent1"/>
          </a:solidFill>
          <a:ln w="6350">
            <a:noFill/>
            <a:miter lim="800000"/>
            <a:headEnd/>
            <a:tailEnd/>
          </a:ln>
          <a:effectLst/>
        </p:spPr>
        <p:txBody>
          <a:bodyPr lIns="72000" tIns="72000" rIns="72000" bIns="72000" anchor="ctr"/>
          <a:lstStyle/>
          <a:p>
            <a:pPr algn="l" eaLnBrk="0" hangingPunct="0"/>
            <a:r>
              <a:rPr lang="en-GB" sz="1200">
                <a:solidFill>
                  <a:schemeClr val="bg1"/>
                </a:solidFill>
              </a:rPr>
              <a:t>Text</a:t>
            </a:r>
            <a:endParaRPr lang="en-US" sz="1200">
              <a:solidFill>
                <a:schemeClr val="bg1"/>
              </a:solidFill>
            </a:endParaRPr>
          </a:p>
        </p:txBody>
      </p:sp>
      <p:sp>
        <p:nvSpPr>
          <p:cNvPr id="72" name="Rectangle 46">
            <a:extLst>
              <a:ext uri="{FF2B5EF4-FFF2-40B4-BE49-F238E27FC236}">
                <a16:creationId xmlns:a16="http://schemas.microsoft.com/office/drawing/2014/main" id="{124659F8-655E-4358-B837-AE4D9154D5A5}"/>
              </a:ext>
            </a:extLst>
          </p:cNvPr>
          <p:cNvSpPr>
            <a:spLocks noChangeArrowheads="1"/>
          </p:cNvSpPr>
          <p:nvPr/>
        </p:nvSpPr>
        <p:spPr bwMode="auto">
          <a:xfrm>
            <a:off x="6995428" y="5825143"/>
            <a:ext cx="1800000" cy="295200"/>
          </a:xfrm>
          <a:prstGeom prst="rect">
            <a:avLst/>
          </a:prstGeom>
          <a:solidFill>
            <a:schemeClr val="accent1"/>
          </a:solidFill>
          <a:ln w="6350">
            <a:noFill/>
            <a:miter lim="800000"/>
            <a:headEnd/>
            <a:tailEnd/>
          </a:ln>
          <a:effectLst/>
        </p:spPr>
        <p:txBody>
          <a:bodyPr lIns="72000" tIns="72000" rIns="72000" bIns="72000" anchor="ctr"/>
          <a:lstStyle/>
          <a:p>
            <a:pPr algn="l" eaLnBrk="0" hangingPunct="0"/>
            <a:r>
              <a:rPr lang="en-GB" sz="1200">
                <a:solidFill>
                  <a:schemeClr val="bg1"/>
                </a:solidFill>
              </a:rPr>
              <a:t>Text</a:t>
            </a:r>
            <a:endParaRPr lang="en-US" sz="1200">
              <a:solidFill>
                <a:schemeClr val="bg1"/>
              </a:solidFill>
            </a:endParaRPr>
          </a:p>
        </p:txBody>
      </p:sp>
      <p:grpSp>
        <p:nvGrpSpPr>
          <p:cNvPr id="15" name="Group 14">
            <a:extLst>
              <a:ext uri="{FF2B5EF4-FFF2-40B4-BE49-F238E27FC236}">
                <a16:creationId xmlns:a16="http://schemas.microsoft.com/office/drawing/2014/main" id="{70189DF9-C44F-4FF1-8B55-319C1DFB8439}"/>
              </a:ext>
              <a:ext uri="{C183D7F6-B498-43B3-948B-1728B52AA6E4}">
                <adec:decorative xmlns:adec="http://schemas.microsoft.com/office/drawing/2017/decorative" val="1"/>
              </a:ext>
            </a:extLst>
          </p:cNvPr>
          <p:cNvGrpSpPr/>
          <p:nvPr/>
        </p:nvGrpSpPr>
        <p:grpSpPr>
          <a:xfrm>
            <a:off x="8795428" y="4556499"/>
            <a:ext cx="571845" cy="685636"/>
            <a:chOff x="8795428" y="4556499"/>
            <a:chExt cx="571845" cy="685636"/>
          </a:xfrm>
        </p:grpSpPr>
        <p:cxnSp>
          <p:nvCxnSpPr>
            <p:cNvPr id="101" name="AutoShape 30">
              <a:extLst>
                <a:ext uri="{FF2B5EF4-FFF2-40B4-BE49-F238E27FC236}">
                  <a16:creationId xmlns:a16="http://schemas.microsoft.com/office/drawing/2014/main" id="{EA10C915-CD8C-4077-9B1B-C27226A52ACC}"/>
                </a:ext>
              </a:extLst>
            </p:cNvPr>
            <p:cNvCxnSpPr>
              <a:cxnSpLocks noChangeShapeType="1"/>
              <a:stCxn id="68" idx="3"/>
              <a:endCxn id="98" idx="1"/>
            </p:cNvCxnSpPr>
            <p:nvPr/>
          </p:nvCxnSpPr>
          <p:spPr bwMode="auto">
            <a:xfrm>
              <a:off x="8795428" y="4897368"/>
              <a:ext cx="571845" cy="1949"/>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796730D0-FC90-4AE8-A5C3-F08C1BDFB8EA}"/>
                </a:ext>
              </a:extLst>
            </p:cNvPr>
            <p:cNvGrpSpPr/>
            <p:nvPr/>
          </p:nvGrpSpPr>
          <p:grpSpPr>
            <a:xfrm>
              <a:off x="8795428" y="4556499"/>
              <a:ext cx="571845" cy="685636"/>
              <a:chOff x="8795428" y="4556499"/>
              <a:chExt cx="571845" cy="685636"/>
            </a:xfrm>
          </p:grpSpPr>
          <p:cxnSp>
            <p:nvCxnSpPr>
              <p:cNvPr id="100" name="AutoShape 29">
                <a:extLst>
                  <a:ext uri="{FF2B5EF4-FFF2-40B4-BE49-F238E27FC236}">
                    <a16:creationId xmlns:a16="http://schemas.microsoft.com/office/drawing/2014/main" id="{6344A9FE-A0B0-4981-9E58-E3F97816DC3A}"/>
                  </a:ext>
                </a:extLst>
              </p:cNvPr>
              <p:cNvCxnSpPr>
                <a:cxnSpLocks noChangeShapeType="1"/>
                <a:stCxn id="68" idx="3"/>
                <a:endCxn id="97" idx="1"/>
              </p:cNvCxnSpPr>
              <p:nvPr/>
            </p:nvCxnSpPr>
            <p:spPr bwMode="auto">
              <a:xfrm flipV="1">
                <a:off x="8795428" y="4556499"/>
                <a:ext cx="571845" cy="340869"/>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02" name="AutoShape 31">
                <a:extLst>
                  <a:ext uri="{FF2B5EF4-FFF2-40B4-BE49-F238E27FC236}">
                    <a16:creationId xmlns:a16="http://schemas.microsoft.com/office/drawing/2014/main" id="{80B590BC-3B50-48B2-8FDD-8658C9BF4AC1}"/>
                  </a:ext>
                </a:extLst>
              </p:cNvPr>
              <p:cNvCxnSpPr>
                <a:cxnSpLocks noChangeShapeType="1"/>
                <a:stCxn id="68" idx="3"/>
                <a:endCxn id="99" idx="1"/>
              </p:cNvCxnSpPr>
              <p:nvPr/>
            </p:nvCxnSpPr>
            <p:spPr bwMode="auto">
              <a:xfrm>
                <a:off x="8795428" y="4897368"/>
                <a:ext cx="571845" cy="34476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sp>
        <p:nvSpPr>
          <p:cNvPr id="97" name="Rectangle 11">
            <a:extLst>
              <a:ext uri="{FF2B5EF4-FFF2-40B4-BE49-F238E27FC236}">
                <a16:creationId xmlns:a16="http://schemas.microsoft.com/office/drawing/2014/main" id="{B1993A51-4A6C-4DCC-8AA5-0DE7FB344634}"/>
              </a:ext>
            </a:extLst>
          </p:cNvPr>
          <p:cNvSpPr>
            <a:spLocks noChangeArrowheads="1"/>
          </p:cNvSpPr>
          <p:nvPr/>
        </p:nvSpPr>
        <p:spPr bwMode="auto">
          <a:xfrm>
            <a:off x="9367273" y="4410847"/>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98" name="Rectangle 12">
            <a:extLst>
              <a:ext uri="{FF2B5EF4-FFF2-40B4-BE49-F238E27FC236}">
                <a16:creationId xmlns:a16="http://schemas.microsoft.com/office/drawing/2014/main" id="{CF89CFE4-2954-4596-A0CD-3D673C1C4EBB}"/>
              </a:ext>
            </a:extLst>
          </p:cNvPr>
          <p:cNvSpPr>
            <a:spLocks noChangeArrowheads="1"/>
          </p:cNvSpPr>
          <p:nvPr/>
        </p:nvSpPr>
        <p:spPr bwMode="auto">
          <a:xfrm>
            <a:off x="9367273" y="4753665"/>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99" name="Rectangle 13">
            <a:extLst>
              <a:ext uri="{FF2B5EF4-FFF2-40B4-BE49-F238E27FC236}">
                <a16:creationId xmlns:a16="http://schemas.microsoft.com/office/drawing/2014/main" id="{5F8CC131-C946-4F0F-81C5-7B3E85FEC2E6}"/>
              </a:ext>
            </a:extLst>
          </p:cNvPr>
          <p:cNvSpPr>
            <a:spLocks noChangeArrowheads="1"/>
          </p:cNvSpPr>
          <p:nvPr/>
        </p:nvSpPr>
        <p:spPr bwMode="auto">
          <a:xfrm>
            <a:off x="9367273" y="5096483"/>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4" name="Footer Placeholder 3">
            <a:extLst>
              <a:ext uri="{FF2B5EF4-FFF2-40B4-BE49-F238E27FC236}">
                <a16:creationId xmlns:a16="http://schemas.microsoft.com/office/drawing/2014/main" id="{A5B13505-C8F0-4CEA-8E20-CDA29CE73DEB}"/>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0C608204-3613-4DF9-BE9D-D2C24B8D64AC}"/>
              </a:ext>
            </a:extLst>
          </p:cNvPr>
          <p:cNvSpPr>
            <a:spLocks noGrp="1"/>
          </p:cNvSpPr>
          <p:nvPr>
            <p:ph type="sldNum" sz="quarter" idx="10"/>
          </p:nvPr>
        </p:nvSpPr>
        <p:spPr/>
        <p:txBody>
          <a:bodyPr/>
          <a:lstStyle/>
          <a:p>
            <a:fld id="{1F90F471-3972-4120-B8B3-0237DE626C35}" type="slidenum">
              <a:rPr lang="en-US" smtClean="0"/>
              <a:pPr/>
              <a:t>290</a:t>
            </a:fld>
            <a:endParaRPr lang="en-US" dirty="0"/>
          </a:p>
        </p:txBody>
      </p:sp>
    </p:spTree>
    <p:extLst>
      <p:ext uri="{BB962C8B-B14F-4D97-AF65-F5344CB8AC3E}">
        <p14:creationId xmlns:p14="http://schemas.microsoft.com/office/powerpoint/2010/main" val="3626873376"/>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Vertical Issue Tree – Symmetric</a:t>
            </a:r>
          </a:p>
        </p:txBody>
      </p:sp>
      <p:sp>
        <p:nvSpPr>
          <p:cNvPr id="39" name="Rectangle 5">
            <a:extLst>
              <a:ext uri="{FF2B5EF4-FFF2-40B4-BE49-F238E27FC236}">
                <a16:creationId xmlns:a16="http://schemas.microsoft.com/office/drawing/2014/main" id="{61AAFE0B-A639-4DA2-AA4A-71ED0329B1EE}"/>
              </a:ext>
            </a:extLst>
          </p:cNvPr>
          <p:cNvSpPr>
            <a:spLocks noChangeArrowheads="1"/>
          </p:cNvSpPr>
          <p:nvPr/>
        </p:nvSpPr>
        <p:spPr bwMode="auto">
          <a:xfrm>
            <a:off x="5377564" y="1628801"/>
            <a:ext cx="1440000" cy="432000"/>
          </a:xfrm>
          <a:prstGeom prst="rect">
            <a:avLst/>
          </a:prstGeom>
          <a:solidFill>
            <a:schemeClr val="accent2"/>
          </a:solidFill>
          <a:ln w="6350">
            <a:noFill/>
            <a:miter lim="800000"/>
            <a:headEnd/>
            <a:tailEnd/>
          </a:ln>
          <a:effectLst/>
        </p:spPr>
        <p:txBody>
          <a:bodyPr lIns="72000" tIns="72000" rIns="72000" bIns="72000" anchor="ctr"/>
          <a:lstStyle/>
          <a:p>
            <a:pPr algn="ctr" eaLnBrk="0" hangingPunct="0"/>
            <a:r>
              <a:rPr lang="en-GB" sz="1200" b="1">
                <a:solidFill>
                  <a:schemeClr val="bg1"/>
                </a:solidFill>
              </a:rPr>
              <a:t>Text</a:t>
            </a:r>
            <a:endParaRPr lang="en-US" sz="1200" b="1">
              <a:solidFill>
                <a:schemeClr val="bg1"/>
              </a:solidFill>
            </a:endParaRPr>
          </a:p>
        </p:txBody>
      </p:sp>
      <p:grpSp>
        <p:nvGrpSpPr>
          <p:cNvPr id="3" name="Group 2">
            <a:extLst>
              <a:ext uri="{FF2B5EF4-FFF2-40B4-BE49-F238E27FC236}">
                <a16:creationId xmlns:a16="http://schemas.microsoft.com/office/drawing/2014/main" id="{426722E6-243D-4BD6-810B-B1D628E17F8C}"/>
              </a:ext>
              <a:ext uri="{C183D7F6-B498-43B3-948B-1728B52AA6E4}">
                <adec:decorative xmlns:adec="http://schemas.microsoft.com/office/drawing/2017/decorative" val="1"/>
              </a:ext>
            </a:extLst>
          </p:cNvPr>
          <p:cNvGrpSpPr/>
          <p:nvPr/>
        </p:nvGrpSpPr>
        <p:grpSpPr>
          <a:xfrm>
            <a:off x="3577826" y="2060801"/>
            <a:ext cx="5039474" cy="498274"/>
            <a:chOff x="3577826" y="2060801"/>
            <a:chExt cx="5039474" cy="498274"/>
          </a:xfrm>
        </p:grpSpPr>
        <p:cxnSp>
          <p:nvCxnSpPr>
            <p:cNvPr id="41" name="AutoShape 7">
              <a:extLst>
                <a:ext uri="{FF2B5EF4-FFF2-40B4-BE49-F238E27FC236}">
                  <a16:creationId xmlns:a16="http://schemas.microsoft.com/office/drawing/2014/main" id="{CCFD73B1-3C91-4C23-8496-E3FA67D94E6D}"/>
                </a:ext>
              </a:extLst>
            </p:cNvPr>
            <p:cNvCxnSpPr>
              <a:cxnSpLocks noChangeShapeType="1"/>
              <a:stCxn id="39" idx="2"/>
              <a:endCxn id="38" idx="0"/>
            </p:cNvCxnSpPr>
            <p:nvPr/>
          </p:nvCxnSpPr>
          <p:spPr bwMode="auto">
            <a:xfrm rot="5400000">
              <a:off x="4588558" y="1050069"/>
              <a:ext cx="498274" cy="2519738"/>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2" name="AutoShape 8">
              <a:extLst>
                <a:ext uri="{FF2B5EF4-FFF2-40B4-BE49-F238E27FC236}">
                  <a16:creationId xmlns:a16="http://schemas.microsoft.com/office/drawing/2014/main" id="{70244787-BD01-4C48-A513-E18E1D2A3160}"/>
                </a:ext>
              </a:extLst>
            </p:cNvPr>
            <p:cNvCxnSpPr>
              <a:cxnSpLocks noChangeShapeType="1"/>
              <a:stCxn id="39" idx="2"/>
              <a:endCxn id="40" idx="0"/>
            </p:cNvCxnSpPr>
            <p:nvPr/>
          </p:nvCxnSpPr>
          <p:spPr bwMode="auto">
            <a:xfrm rot="16200000" flipH="1">
              <a:off x="7108295" y="1050069"/>
              <a:ext cx="498274" cy="251973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38" name="Rectangle 4">
            <a:extLst>
              <a:ext uri="{FF2B5EF4-FFF2-40B4-BE49-F238E27FC236}">
                <a16:creationId xmlns:a16="http://schemas.microsoft.com/office/drawing/2014/main" id="{2031FC81-1F4C-4ABE-A7F8-E62F8E86E169}"/>
              </a:ext>
            </a:extLst>
          </p:cNvPr>
          <p:cNvSpPr>
            <a:spLocks noChangeArrowheads="1"/>
          </p:cNvSpPr>
          <p:nvPr/>
        </p:nvSpPr>
        <p:spPr bwMode="auto">
          <a:xfrm>
            <a:off x="2857826" y="2559075"/>
            <a:ext cx="1440000" cy="432000"/>
          </a:xfrm>
          <a:prstGeom prst="rect">
            <a:avLst/>
          </a:prstGeom>
          <a:solidFill>
            <a:schemeClr val="accent3"/>
          </a:solidFill>
          <a:ln w="6350">
            <a:noFill/>
            <a:miter lim="800000"/>
            <a:headEnd/>
            <a:tailEnd/>
          </a:ln>
          <a:effectLst/>
        </p:spPr>
        <p:txBody>
          <a:bodyPr lIns="72000" tIns="72000" rIns="72000" bIns="72000" anchor="ctr"/>
          <a:lstStyle/>
          <a:p>
            <a:pPr algn="ctr" eaLnBrk="0" hangingPunct="0"/>
            <a:r>
              <a:rPr lang="en-GB" sz="1200" b="1">
                <a:solidFill>
                  <a:schemeClr val="bg1"/>
                </a:solidFill>
              </a:rPr>
              <a:t>Text</a:t>
            </a:r>
            <a:endParaRPr lang="en-US" sz="1200" b="1">
              <a:solidFill>
                <a:schemeClr val="bg1"/>
              </a:solidFill>
            </a:endParaRPr>
          </a:p>
        </p:txBody>
      </p:sp>
      <p:grpSp>
        <p:nvGrpSpPr>
          <p:cNvPr id="6" name="Group 5">
            <a:extLst>
              <a:ext uri="{FF2B5EF4-FFF2-40B4-BE49-F238E27FC236}">
                <a16:creationId xmlns:a16="http://schemas.microsoft.com/office/drawing/2014/main" id="{1862BABF-24EB-416D-BC3A-E16797541D79}"/>
              </a:ext>
              <a:ext uri="{C183D7F6-B498-43B3-948B-1728B52AA6E4}">
                <adec:decorative xmlns:adec="http://schemas.microsoft.com/office/drawing/2017/decorative" val="1"/>
              </a:ext>
            </a:extLst>
          </p:cNvPr>
          <p:cNvGrpSpPr/>
          <p:nvPr/>
        </p:nvGrpSpPr>
        <p:grpSpPr>
          <a:xfrm>
            <a:off x="2056830" y="2991074"/>
            <a:ext cx="2884851" cy="542726"/>
            <a:chOff x="2056830" y="2991074"/>
            <a:chExt cx="2884851" cy="542726"/>
          </a:xfrm>
        </p:grpSpPr>
        <p:cxnSp>
          <p:nvCxnSpPr>
            <p:cNvPr id="43" name="AutoShape 9">
              <a:extLst>
                <a:ext uri="{FF2B5EF4-FFF2-40B4-BE49-F238E27FC236}">
                  <a16:creationId xmlns:a16="http://schemas.microsoft.com/office/drawing/2014/main" id="{6CAD54FE-52C3-4E5B-9590-C3959ED573A8}"/>
                </a:ext>
              </a:extLst>
            </p:cNvPr>
            <p:cNvCxnSpPr>
              <a:cxnSpLocks noChangeShapeType="1"/>
              <a:stCxn id="38" idx="2"/>
              <a:endCxn id="48" idx="0"/>
            </p:cNvCxnSpPr>
            <p:nvPr/>
          </p:nvCxnSpPr>
          <p:spPr bwMode="auto">
            <a:xfrm rot="5400000">
              <a:off x="2545966" y="2501939"/>
              <a:ext cx="542725" cy="152099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4" name="AutoShape 10">
              <a:extLst>
                <a:ext uri="{FF2B5EF4-FFF2-40B4-BE49-F238E27FC236}">
                  <a16:creationId xmlns:a16="http://schemas.microsoft.com/office/drawing/2014/main" id="{7FE37DA8-9315-4894-95A8-5A5AD82556BD}"/>
                </a:ext>
              </a:extLst>
            </p:cNvPr>
            <p:cNvCxnSpPr>
              <a:cxnSpLocks noChangeShapeType="1"/>
              <a:stCxn id="38" idx="2"/>
              <a:endCxn id="47" idx="0"/>
            </p:cNvCxnSpPr>
            <p:nvPr/>
          </p:nvCxnSpPr>
          <p:spPr bwMode="auto">
            <a:xfrm rot="16200000" flipH="1">
              <a:off x="3988391" y="2580510"/>
              <a:ext cx="542725" cy="1363854"/>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48" name="Rectangle 14">
            <a:extLst>
              <a:ext uri="{FF2B5EF4-FFF2-40B4-BE49-F238E27FC236}">
                <a16:creationId xmlns:a16="http://schemas.microsoft.com/office/drawing/2014/main" id="{688A9A3C-5827-426A-9B92-2C95A173BD41}"/>
              </a:ext>
            </a:extLst>
          </p:cNvPr>
          <p:cNvSpPr>
            <a:spLocks noChangeArrowheads="1"/>
          </p:cNvSpPr>
          <p:nvPr/>
        </p:nvSpPr>
        <p:spPr bwMode="auto">
          <a:xfrm>
            <a:off x="1336829" y="3533800"/>
            <a:ext cx="1440000" cy="432000"/>
          </a:xfrm>
          <a:prstGeom prst="rect">
            <a:avLst/>
          </a:prstGeom>
          <a:solidFill>
            <a:schemeClr val="accent1"/>
          </a:solidFill>
          <a:ln w="6350">
            <a:noFill/>
            <a:miter lim="800000"/>
            <a:headEnd/>
            <a:tailEnd/>
          </a:ln>
          <a:effectLst/>
        </p:spPr>
        <p:txBody>
          <a:bodyPr lIns="72000" tIns="72000" rIns="72000" bIns="72000" anchor="ctr"/>
          <a:lstStyle/>
          <a:p>
            <a:pPr algn="ctr" eaLnBrk="0" hangingPunct="0"/>
            <a:r>
              <a:rPr lang="en-GB" sz="1200" b="1">
                <a:solidFill>
                  <a:schemeClr val="bg1"/>
                </a:solidFill>
              </a:rPr>
              <a:t>Text</a:t>
            </a:r>
            <a:endParaRPr lang="en-US" sz="1200" b="1">
              <a:solidFill>
                <a:schemeClr val="bg1"/>
              </a:solidFill>
            </a:endParaRPr>
          </a:p>
        </p:txBody>
      </p:sp>
      <p:grpSp>
        <p:nvGrpSpPr>
          <p:cNvPr id="8" name="Group 7">
            <a:extLst>
              <a:ext uri="{FF2B5EF4-FFF2-40B4-BE49-F238E27FC236}">
                <a16:creationId xmlns:a16="http://schemas.microsoft.com/office/drawing/2014/main" id="{EF07AE87-5674-4ED6-8301-1C2F37EFCD42}"/>
              </a:ext>
              <a:ext uri="{C183D7F6-B498-43B3-948B-1728B52AA6E4}">
                <adec:decorative xmlns:adec="http://schemas.microsoft.com/office/drawing/2017/decorative" val="1"/>
              </a:ext>
            </a:extLst>
          </p:cNvPr>
          <p:cNvGrpSpPr/>
          <p:nvPr/>
        </p:nvGrpSpPr>
        <p:grpSpPr>
          <a:xfrm>
            <a:off x="896091" y="3965799"/>
            <a:ext cx="2311765" cy="1660100"/>
            <a:chOff x="896091" y="3965799"/>
            <a:chExt cx="2311765" cy="1660100"/>
          </a:xfrm>
        </p:grpSpPr>
        <p:cxnSp>
          <p:nvCxnSpPr>
            <p:cNvPr id="57" name="AutoShape 23">
              <a:extLst>
                <a:ext uri="{FF2B5EF4-FFF2-40B4-BE49-F238E27FC236}">
                  <a16:creationId xmlns:a16="http://schemas.microsoft.com/office/drawing/2014/main" id="{F846FAD2-5A74-4FE9-9E49-B6CDD55441FD}"/>
                </a:ext>
              </a:extLst>
            </p:cNvPr>
            <p:cNvCxnSpPr>
              <a:cxnSpLocks noChangeShapeType="1"/>
              <a:stCxn id="48" idx="2"/>
              <a:endCxn id="51" idx="0"/>
            </p:cNvCxnSpPr>
            <p:nvPr/>
          </p:nvCxnSpPr>
          <p:spPr bwMode="auto">
            <a:xfrm rot="5400000">
              <a:off x="646411" y="4215480"/>
              <a:ext cx="1660099" cy="1160739"/>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8" name="AutoShape 24">
              <a:extLst>
                <a:ext uri="{FF2B5EF4-FFF2-40B4-BE49-F238E27FC236}">
                  <a16:creationId xmlns:a16="http://schemas.microsoft.com/office/drawing/2014/main" id="{8D385AB4-4186-4285-8B68-D0F142AD11CB}"/>
                </a:ext>
              </a:extLst>
            </p:cNvPr>
            <p:cNvCxnSpPr>
              <a:cxnSpLocks noChangeShapeType="1"/>
              <a:stCxn id="48" idx="2"/>
              <a:endCxn id="52" idx="0"/>
            </p:cNvCxnSpPr>
            <p:nvPr/>
          </p:nvCxnSpPr>
          <p:spPr bwMode="auto">
            <a:xfrm>
              <a:off x="2056829" y="3965800"/>
              <a:ext cx="0" cy="1660099"/>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9" name="AutoShape 25">
              <a:extLst>
                <a:ext uri="{FF2B5EF4-FFF2-40B4-BE49-F238E27FC236}">
                  <a16:creationId xmlns:a16="http://schemas.microsoft.com/office/drawing/2014/main" id="{6027C929-32E5-48CF-932E-477ABE95C65C}"/>
                </a:ext>
              </a:extLst>
            </p:cNvPr>
            <p:cNvCxnSpPr>
              <a:cxnSpLocks noChangeShapeType="1"/>
              <a:stCxn id="48" idx="2"/>
              <a:endCxn id="53" idx="0"/>
            </p:cNvCxnSpPr>
            <p:nvPr/>
          </p:nvCxnSpPr>
          <p:spPr bwMode="auto">
            <a:xfrm rot="16200000" flipH="1">
              <a:off x="1802293" y="4220335"/>
              <a:ext cx="1660099" cy="115102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51" name="Rectangle 17">
            <a:extLst>
              <a:ext uri="{FF2B5EF4-FFF2-40B4-BE49-F238E27FC236}">
                <a16:creationId xmlns:a16="http://schemas.microsoft.com/office/drawing/2014/main" id="{7989231D-3A4F-4F2D-99B2-6FD4406BE5AD}"/>
              </a:ext>
            </a:extLst>
          </p:cNvPr>
          <p:cNvSpPr>
            <a:spLocks noChangeArrowheads="1"/>
          </p:cNvSpPr>
          <p:nvPr/>
        </p:nvSpPr>
        <p:spPr bwMode="auto">
          <a:xfrm>
            <a:off x="338090" y="5625899"/>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52" name="Rectangle 18">
            <a:extLst>
              <a:ext uri="{FF2B5EF4-FFF2-40B4-BE49-F238E27FC236}">
                <a16:creationId xmlns:a16="http://schemas.microsoft.com/office/drawing/2014/main" id="{B0057412-1906-496D-85B4-05A36059D79F}"/>
              </a:ext>
            </a:extLst>
          </p:cNvPr>
          <p:cNvSpPr>
            <a:spLocks noChangeArrowheads="1"/>
          </p:cNvSpPr>
          <p:nvPr/>
        </p:nvSpPr>
        <p:spPr bwMode="auto">
          <a:xfrm>
            <a:off x="1498829" y="5625899"/>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53" name="Rectangle 19">
            <a:extLst>
              <a:ext uri="{FF2B5EF4-FFF2-40B4-BE49-F238E27FC236}">
                <a16:creationId xmlns:a16="http://schemas.microsoft.com/office/drawing/2014/main" id="{8CB20EDC-6D13-4006-A9D9-D874301BE603}"/>
              </a:ext>
            </a:extLst>
          </p:cNvPr>
          <p:cNvSpPr>
            <a:spLocks noChangeArrowheads="1"/>
          </p:cNvSpPr>
          <p:nvPr/>
        </p:nvSpPr>
        <p:spPr bwMode="auto">
          <a:xfrm>
            <a:off x="2649856" y="5625899"/>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47" name="Rectangle 13">
            <a:extLst>
              <a:ext uri="{FF2B5EF4-FFF2-40B4-BE49-F238E27FC236}">
                <a16:creationId xmlns:a16="http://schemas.microsoft.com/office/drawing/2014/main" id="{1E139542-F01C-40C2-B600-CE9FFE449A1D}"/>
              </a:ext>
            </a:extLst>
          </p:cNvPr>
          <p:cNvSpPr>
            <a:spLocks noChangeArrowheads="1"/>
          </p:cNvSpPr>
          <p:nvPr/>
        </p:nvSpPr>
        <p:spPr bwMode="auto">
          <a:xfrm>
            <a:off x="4221680" y="3533800"/>
            <a:ext cx="1440000" cy="432000"/>
          </a:xfrm>
          <a:prstGeom prst="rect">
            <a:avLst/>
          </a:prstGeom>
          <a:solidFill>
            <a:schemeClr val="accent1"/>
          </a:solidFill>
          <a:ln w="6350">
            <a:noFill/>
            <a:miter lim="800000"/>
            <a:headEnd/>
            <a:tailEnd/>
          </a:ln>
          <a:effectLst/>
        </p:spPr>
        <p:txBody>
          <a:bodyPr lIns="72000" tIns="72000" rIns="72000" bIns="72000" anchor="ctr"/>
          <a:lstStyle/>
          <a:p>
            <a:pPr algn="ctr" eaLnBrk="0" hangingPunct="0"/>
            <a:r>
              <a:rPr lang="en-GB" sz="1200" b="1">
                <a:solidFill>
                  <a:schemeClr val="bg1"/>
                </a:solidFill>
              </a:rPr>
              <a:t>Text</a:t>
            </a:r>
            <a:endParaRPr lang="en-US" sz="1200" b="1">
              <a:solidFill>
                <a:schemeClr val="bg1"/>
              </a:solidFill>
            </a:endParaRPr>
          </a:p>
        </p:txBody>
      </p:sp>
      <p:grpSp>
        <p:nvGrpSpPr>
          <p:cNvPr id="9" name="Group 8">
            <a:extLst>
              <a:ext uri="{FF2B5EF4-FFF2-40B4-BE49-F238E27FC236}">
                <a16:creationId xmlns:a16="http://schemas.microsoft.com/office/drawing/2014/main" id="{1E195289-9F3E-4D3C-85D2-12065A3A5996}"/>
              </a:ext>
              <a:ext uri="{C183D7F6-B498-43B3-948B-1728B52AA6E4}">
                <adec:decorative xmlns:adec="http://schemas.microsoft.com/office/drawing/2017/decorative" val="1"/>
              </a:ext>
            </a:extLst>
          </p:cNvPr>
          <p:cNvGrpSpPr/>
          <p:nvPr/>
        </p:nvGrpSpPr>
        <p:grpSpPr>
          <a:xfrm>
            <a:off x="4363740" y="3965799"/>
            <a:ext cx="1155883" cy="584002"/>
            <a:chOff x="4363740" y="3965799"/>
            <a:chExt cx="1155883" cy="584002"/>
          </a:xfrm>
        </p:grpSpPr>
        <p:cxnSp>
          <p:nvCxnSpPr>
            <p:cNvPr id="67" name="AutoShape 33">
              <a:extLst>
                <a:ext uri="{FF2B5EF4-FFF2-40B4-BE49-F238E27FC236}">
                  <a16:creationId xmlns:a16="http://schemas.microsoft.com/office/drawing/2014/main" id="{18033C95-F564-4C53-BEB2-F9E6D9266575}"/>
                </a:ext>
              </a:extLst>
            </p:cNvPr>
            <p:cNvCxnSpPr>
              <a:cxnSpLocks noChangeShapeType="1"/>
              <a:stCxn id="47" idx="2"/>
              <a:endCxn id="63" idx="0"/>
            </p:cNvCxnSpPr>
            <p:nvPr/>
          </p:nvCxnSpPr>
          <p:spPr bwMode="auto">
            <a:xfrm rot="5400000">
              <a:off x="4360710" y="3968830"/>
              <a:ext cx="584001" cy="577941"/>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8" name="AutoShape 34">
              <a:extLst>
                <a:ext uri="{FF2B5EF4-FFF2-40B4-BE49-F238E27FC236}">
                  <a16:creationId xmlns:a16="http://schemas.microsoft.com/office/drawing/2014/main" id="{38FAA2AD-59E3-411F-83CC-4B5A2C4C6404}"/>
                </a:ext>
              </a:extLst>
            </p:cNvPr>
            <p:cNvCxnSpPr>
              <a:cxnSpLocks noChangeShapeType="1"/>
              <a:stCxn id="47" idx="2"/>
              <a:endCxn id="64" idx="0"/>
            </p:cNvCxnSpPr>
            <p:nvPr/>
          </p:nvCxnSpPr>
          <p:spPr bwMode="auto">
            <a:xfrm rot="16200000" flipH="1">
              <a:off x="4938651" y="3968829"/>
              <a:ext cx="584001" cy="577942"/>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63" name="Rectangle 29">
            <a:extLst>
              <a:ext uri="{FF2B5EF4-FFF2-40B4-BE49-F238E27FC236}">
                <a16:creationId xmlns:a16="http://schemas.microsoft.com/office/drawing/2014/main" id="{0191A909-9232-4025-8F48-E68CF46384F2}"/>
              </a:ext>
            </a:extLst>
          </p:cNvPr>
          <p:cNvSpPr>
            <a:spLocks noChangeArrowheads="1"/>
          </p:cNvSpPr>
          <p:nvPr/>
        </p:nvSpPr>
        <p:spPr bwMode="auto">
          <a:xfrm>
            <a:off x="3805739" y="4549801"/>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dirty="0"/>
              <a:t>Text</a:t>
            </a:r>
            <a:endParaRPr lang="en-US" sz="1200" dirty="0"/>
          </a:p>
        </p:txBody>
      </p:sp>
      <p:sp>
        <p:nvSpPr>
          <p:cNvPr id="64" name="Rectangle 30">
            <a:extLst>
              <a:ext uri="{FF2B5EF4-FFF2-40B4-BE49-F238E27FC236}">
                <a16:creationId xmlns:a16="http://schemas.microsoft.com/office/drawing/2014/main" id="{1FF565B0-92FC-45B8-A383-15B5AE0194B3}"/>
              </a:ext>
            </a:extLst>
          </p:cNvPr>
          <p:cNvSpPr>
            <a:spLocks noChangeArrowheads="1"/>
          </p:cNvSpPr>
          <p:nvPr/>
        </p:nvSpPr>
        <p:spPr bwMode="auto">
          <a:xfrm>
            <a:off x="4961622" y="4549801"/>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dirty="0"/>
              <a:t>Text</a:t>
            </a:r>
            <a:endParaRPr lang="en-US" sz="1200" dirty="0"/>
          </a:p>
        </p:txBody>
      </p:sp>
      <p:sp>
        <p:nvSpPr>
          <p:cNvPr id="40" name="Rectangle 6">
            <a:extLst>
              <a:ext uri="{FF2B5EF4-FFF2-40B4-BE49-F238E27FC236}">
                <a16:creationId xmlns:a16="http://schemas.microsoft.com/office/drawing/2014/main" id="{8D16DFDC-7D0C-43FD-87C4-ED1EF15EC10E}"/>
              </a:ext>
            </a:extLst>
          </p:cNvPr>
          <p:cNvSpPr>
            <a:spLocks noChangeArrowheads="1"/>
          </p:cNvSpPr>
          <p:nvPr/>
        </p:nvSpPr>
        <p:spPr bwMode="auto">
          <a:xfrm>
            <a:off x="7897301" y="2559075"/>
            <a:ext cx="1440000" cy="432000"/>
          </a:xfrm>
          <a:prstGeom prst="rect">
            <a:avLst/>
          </a:prstGeom>
          <a:solidFill>
            <a:schemeClr val="accent3"/>
          </a:solidFill>
          <a:ln w="6350">
            <a:noFill/>
            <a:miter lim="800000"/>
            <a:headEnd/>
            <a:tailEnd/>
          </a:ln>
          <a:effectLst/>
        </p:spPr>
        <p:txBody>
          <a:bodyPr lIns="72000" tIns="72000" rIns="72000" bIns="72000" anchor="ctr"/>
          <a:lstStyle/>
          <a:p>
            <a:pPr algn="ctr" eaLnBrk="0" hangingPunct="0"/>
            <a:r>
              <a:rPr lang="en-GB" sz="1200" b="1">
                <a:solidFill>
                  <a:schemeClr val="bg1"/>
                </a:solidFill>
              </a:rPr>
              <a:t>Text</a:t>
            </a:r>
            <a:endParaRPr lang="en-US" sz="1200" b="1">
              <a:solidFill>
                <a:schemeClr val="bg1"/>
              </a:solidFill>
            </a:endParaRPr>
          </a:p>
        </p:txBody>
      </p:sp>
      <p:grpSp>
        <p:nvGrpSpPr>
          <p:cNvPr id="7" name="Group 6">
            <a:extLst>
              <a:ext uri="{FF2B5EF4-FFF2-40B4-BE49-F238E27FC236}">
                <a16:creationId xmlns:a16="http://schemas.microsoft.com/office/drawing/2014/main" id="{7A745E4C-9B79-45EC-819F-86DA004B158D}"/>
              </a:ext>
              <a:ext uri="{C183D7F6-B498-43B3-948B-1728B52AA6E4}">
                <adec:decorative xmlns:adec="http://schemas.microsoft.com/office/drawing/2017/decorative" val="1"/>
              </a:ext>
            </a:extLst>
          </p:cNvPr>
          <p:cNvGrpSpPr/>
          <p:nvPr/>
        </p:nvGrpSpPr>
        <p:grpSpPr>
          <a:xfrm>
            <a:off x="7253448" y="2991074"/>
            <a:ext cx="2889706" cy="542725"/>
            <a:chOff x="7253448" y="2991074"/>
            <a:chExt cx="2889706" cy="542725"/>
          </a:xfrm>
        </p:grpSpPr>
        <p:cxnSp>
          <p:nvCxnSpPr>
            <p:cNvPr id="45" name="AutoShape 11">
              <a:extLst>
                <a:ext uri="{FF2B5EF4-FFF2-40B4-BE49-F238E27FC236}">
                  <a16:creationId xmlns:a16="http://schemas.microsoft.com/office/drawing/2014/main" id="{12EDB171-2251-400B-AA2A-4EADA9F99B98}"/>
                </a:ext>
              </a:extLst>
            </p:cNvPr>
            <p:cNvCxnSpPr>
              <a:cxnSpLocks noChangeShapeType="1"/>
              <a:stCxn id="40" idx="2"/>
              <a:endCxn id="50" idx="0"/>
            </p:cNvCxnSpPr>
            <p:nvPr/>
          </p:nvCxnSpPr>
          <p:spPr bwMode="auto">
            <a:xfrm rot="5400000">
              <a:off x="7664012" y="2580510"/>
              <a:ext cx="542725" cy="1363854"/>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6" name="AutoShape 12">
              <a:extLst>
                <a:ext uri="{FF2B5EF4-FFF2-40B4-BE49-F238E27FC236}">
                  <a16:creationId xmlns:a16="http://schemas.microsoft.com/office/drawing/2014/main" id="{03C38283-AD2A-4D44-ABDB-E812C4CC6DDA}"/>
                </a:ext>
              </a:extLst>
            </p:cNvPr>
            <p:cNvCxnSpPr>
              <a:cxnSpLocks noChangeShapeType="1"/>
              <a:stCxn id="40" idx="2"/>
              <a:endCxn id="49" idx="0"/>
            </p:cNvCxnSpPr>
            <p:nvPr/>
          </p:nvCxnSpPr>
          <p:spPr bwMode="auto">
            <a:xfrm rot="16200000" flipH="1">
              <a:off x="9108865" y="2499510"/>
              <a:ext cx="542725" cy="1525853"/>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50" name="Rectangle 16">
            <a:extLst>
              <a:ext uri="{FF2B5EF4-FFF2-40B4-BE49-F238E27FC236}">
                <a16:creationId xmlns:a16="http://schemas.microsoft.com/office/drawing/2014/main" id="{D419B1A1-5378-429B-91A0-0ADD8F925719}"/>
              </a:ext>
            </a:extLst>
          </p:cNvPr>
          <p:cNvSpPr>
            <a:spLocks noChangeArrowheads="1"/>
          </p:cNvSpPr>
          <p:nvPr/>
        </p:nvSpPr>
        <p:spPr bwMode="auto">
          <a:xfrm>
            <a:off x="6533447" y="3533800"/>
            <a:ext cx="1440000" cy="432000"/>
          </a:xfrm>
          <a:prstGeom prst="rect">
            <a:avLst/>
          </a:prstGeom>
          <a:solidFill>
            <a:schemeClr val="accent1"/>
          </a:solidFill>
          <a:ln w="6350">
            <a:noFill/>
            <a:miter lim="800000"/>
            <a:headEnd/>
            <a:tailEnd/>
          </a:ln>
          <a:effectLst/>
        </p:spPr>
        <p:txBody>
          <a:bodyPr lIns="72000" tIns="72000" rIns="72000" bIns="72000" anchor="ctr"/>
          <a:lstStyle/>
          <a:p>
            <a:pPr algn="ctr" eaLnBrk="0" hangingPunct="0"/>
            <a:r>
              <a:rPr lang="en-GB" sz="1200" b="1">
                <a:solidFill>
                  <a:schemeClr val="bg1"/>
                </a:solidFill>
              </a:rPr>
              <a:t>Text</a:t>
            </a:r>
            <a:endParaRPr lang="en-US" sz="1200" b="1">
              <a:solidFill>
                <a:schemeClr val="bg1"/>
              </a:solidFill>
            </a:endParaRPr>
          </a:p>
        </p:txBody>
      </p:sp>
      <p:grpSp>
        <p:nvGrpSpPr>
          <p:cNvPr id="10" name="Group 9">
            <a:extLst>
              <a:ext uri="{FF2B5EF4-FFF2-40B4-BE49-F238E27FC236}">
                <a16:creationId xmlns:a16="http://schemas.microsoft.com/office/drawing/2014/main" id="{2ED3E13E-C2DF-4CEB-8F25-CCB1ED96CE0A}"/>
              </a:ext>
              <a:ext uri="{C183D7F6-B498-43B3-948B-1728B52AA6E4}">
                <adec:decorative xmlns:adec="http://schemas.microsoft.com/office/drawing/2017/decorative" val="1"/>
              </a:ext>
            </a:extLst>
          </p:cNvPr>
          <p:cNvGrpSpPr/>
          <p:nvPr/>
        </p:nvGrpSpPr>
        <p:grpSpPr>
          <a:xfrm>
            <a:off x="6675506" y="3965799"/>
            <a:ext cx="1155882" cy="584001"/>
            <a:chOff x="6675506" y="3965799"/>
            <a:chExt cx="1155882" cy="584001"/>
          </a:xfrm>
        </p:grpSpPr>
        <p:cxnSp>
          <p:nvCxnSpPr>
            <p:cNvPr id="69" name="AutoShape 35">
              <a:extLst>
                <a:ext uri="{FF2B5EF4-FFF2-40B4-BE49-F238E27FC236}">
                  <a16:creationId xmlns:a16="http://schemas.microsoft.com/office/drawing/2014/main" id="{C7A6669C-3469-49D0-9005-F73DBA9B9ACE}"/>
                </a:ext>
              </a:extLst>
            </p:cNvPr>
            <p:cNvCxnSpPr>
              <a:cxnSpLocks noChangeShapeType="1"/>
              <a:stCxn id="50" idx="2"/>
              <a:endCxn id="65" idx="0"/>
            </p:cNvCxnSpPr>
            <p:nvPr/>
          </p:nvCxnSpPr>
          <p:spPr bwMode="auto">
            <a:xfrm rot="5400000">
              <a:off x="6672476" y="3968829"/>
              <a:ext cx="584001" cy="577942"/>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0" name="AutoShape 36">
              <a:extLst>
                <a:ext uri="{FF2B5EF4-FFF2-40B4-BE49-F238E27FC236}">
                  <a16:creationId xmlns:a16="http://schemas.microsoft.com/office/drawing/2014/main" id="{079B42CC-DBDC-41EC-9530-0683CB72CCA8}"/>
                </a:ext>
              </a:extLst>
            </p:cNvPr>
            <p:cNvCxnSpPr>
              <a:cxnSpLocks noChangeShapeType="1"/>
              <a:stCxn id="50" idx="2"/>
              <a:endCxn id="66" idx="0"/>
            </p:cNvCxnSpPr>
            <p:nvPr/>
          </p:nvCxnSpPr>
          <p:spPr bwMode="auto">
            <a:xfrm rot="16200000" flipH="1">
              <a:off x="7250417" y="3968829"/>
              <a:ext cx="584001" cy="577941"/>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65" name="Rectangle 31">
            <a:extLst>
              <a:ext uri="{FF2B5EF4-FFF2-40B4-BE49-F238E27FC236}">
                <a16:creationId xmlns:a16="http://schemas.microsoft.com/office/drawing/2014/main" id="{318E6FA4-5B11-49EE-9D6C-DF6E792DF27D}"/>
              </a:ext>
            </a:extLst>
          </p:cNvPr>
          <p:cNvSpPr>
            <a:spLocks noChangeArrowheads="1"/>
          </p:cNvSpPr>
          <p:nvPr/>
        </p:nvSpPr>
        <p:spPr bwMode="auto">
          <a:xfrm>
            <a:off x="6117505" y="4549801"/>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66" name="Rectangle 32">
            <a:extLst>
              <a:ext uri="{FF2B5EF4-FFF2-40B4-BE49-F238E27FC236}">
                <a16:creationId xmlns:a16="http://schemas.microsoft.com/office/drawing/2014/main" id="{B82DCF94-04DF-4044-B5AF-2EB0191F98DE}"/>
              </a:ext>
            </a:extLst>
          </p:cNvPr>
          <p:cNvSpPr>
            <a:spLocks noChangeArrowheads="1"/>
          </p:cNvSpPr>
          <p:nvPr/>
        </p:nvSpPr>
        <p:spPr bwMode="auto">
          <a:xfrm>
            <a:off x="7273388" y="4549801"/>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49" name="Rectangle 15">
            <a:extLst>
              <a:ext uri="{FF2B5EF4-FFF2-40B4-BE49-F238E27FC236}">
                <a16:creationId xmlns:a16="http://schemas.microsoft.com/office/drawing/2014/main" id="{E852538F-C32E-4B3D-A9B6-4B332CC2CAEE}"/>
              </a:ext>
            </a:extLst>
          </p:cNvPr>
          <p:cNvSpPr>
            <a:spLocks noChangeArrowheads="1"/>
          </p:cNvSpPr>
          <p:nvPr/>
        </p:nvSpPr>
        <p:spPr bwMode="auto">
          <a:xfrm>
            <a:off x="9423154" y="3533800"/>
            <a:ext cx="1440000" cy="432000"/>
          </a:xfrm>
          <a:prstGeom prst="rect">
            <a:avLst/>
          </a:prstGeom>
          <a:solidFill>
            <a:schemeClr val="accent1"/>
          </a:solidFill>
          <a:ln w="6350">
            <a:noFill/>
            <a:miter lim="800000"/>
            <a:headEnd/>
            <a:tailEnd/>
          </a:ln>
          <a:effectLst/>
        </p:spPr>
        <p:txBody>
          <a:bodyPr lIns="72000" tIns="72000" rIns="72000" bIns="72000" anchor="ctr"/>
          <a:lstStyle/>
          <a:p>
            <a:pPr algn="ctr" eaLnBrk="0" hangingPunct="0"/>
            <a:r>
              <a:rPr lang="en-GB" sz="1200" b="1">
                <a:solidFill>
                  <a:schemeClr val="bg1"/>
                </a:solidFill>
              </a:rPr>
              <a:t>Text</a:t>
            </a:r>
            <a:endParaRPr lang="en-US" sz="1200" b="1">
              <a:solidFill>
                <a:schemeClr val="bg1"/>
              </a:solidFill>
            </a:endParaRPr>
          </a:p>
        </p:txBody>
      </p:sp>
      <p:grpSp>
        <p:nvGrpSpPr>
          <p:cNvPr id="11" name="Group 10">
            <a:extLst>
              <a:ext uri="{FF2B5EF4-FFF2-40B4-BE49-F238E27FC236}">
                <a16:creationId xmlns:a16="http://schemas.microsoft.com/office/drawing/2014/main" id="{BACF2ABE-5A98-4AF5-B820-2ACF72BF1550}"/>
              </a:ext>
              <a:ext uri="{C183D7F6-B498-43B3-948B-1728B52AA6E4}">
                <adec:decorative xmlns:adec="http://schemas.microsoft.com/office/drawing/2017/decorative" val="1"/>
              </a:ext>
            </a:extLst>
          </p:cNvPr>
          <p:cNvGrpSpPr/>
          <p:nvPr/>
        </p:nvGrpSpPr>
        <p:grpSpPr>
          <a:xfrm>
            <a:off x="8987271" y="3965800"/>
            <a:ext cx="2311767" cy="1660101"/>
            <a:chOff x="8987271" y="3965800"/>
            <a:chExt cx="2311767" cy="1660101"/>
          </a:xfrm>
        </p:grpSpPr>
        <p:cxnSp>
          <p:nvCxnSpPr>
            <p:cNvPr id="60" name="AutoShape 26">
              <a:extLst>
                <a:ext uri="{FF2B5EF4-FFF2-40B4-BE49-F238E27FC236}">
                  <a16:creationId xmlns:a16="http://schemas.microsoft.com/office/drawing/2014/main" id="{C898B0F7-6D8B-45B6-BEA7-5AD13442C218}"/>
                </a:ext>
              </a:extLst>
            </p:cNvPr>
            <p:cNvCxnSpPr>
              <a:cxnSpLocks noChangeShapeType="1"/>
              <a:stCxn id="49" idx="2"/>
              <a:endCxn id="54" idx="0"/>
            </p:cNvCxnSpPr>
            <p:nvPr/>
          </p:nvCxnSpPr>
          <p:spPr bwMode="auto">
            <a:xfrm rot="5400000">
              <a:off x="8735163" y="4217909"/>
              <a:ext cx="1660100" cy="1155883"/>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1" name="AutoShape 27">
              <a:extLst>
                <a:ext uri="{FF2B5EF4-FFF2-40B4-BE49-F238E27FC236}">
                  <a16:creationId xmlns:a16="http://schemas.microsoft.com/office/drawing/2014/main" id="{02E7177D-C4C9-4410-9F2B-D12F9AF08B55}"/>
                </a:ext>
              </a:extLst>
            </p:cNvPr>
            <p:cNvCxnSpPr>
              <a:cxnSpLocks noChangeShapeType="1"/>
              <a:stCxn id="49" idx="2"/>
              <a:endCxn id="55" idx="0"/>
            </p:cNvCxnSpPr>
            <p:nvPr/>
          </p:nvCxnSpPr>
          <p:spPr bwMode="auto">
            <a:xfrm>
              <a:off x="10143154" y="3965800"/>
              <a:ext cx="0" cy="1660100"/>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2" name="AutoShape 28">
              <a:extLst>
                <a:ext uri="{FF2B5EF4-FFF2-40B4-BE49-F238E27FC236}">
                  <a16:creationId xmlns:a16="http://schemas.microsoft.com/office/drawing/2014/main" id="{3BC3F26F-0A94-4DFF-BF6A-0F90A2E05BC0}"/>
                </a:ext>
              </a:extLst>
            </p:cNvPr>
            <p:cNvCxnSpPr>
              <a:cxnSpLocks noChangeShapeType="1"/>
              <a:stCxn id="49" idx="2"/>
              <a:endCxn id="56" idx="0"/>
            </p:cNvCxnSpPr>
            <p:nvPr/>
          </p:nvCxnSpPr>
          <p:spPr bwMode="auto">
            <a:xfrm rot="16200000" flipH="1">
              <a:off x="9891046" y="4217908"/>
              <a:ext cx="1660100" cy="1155884"/>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54" name="Rectangle 20">
            <a:extLst>
              <a:ext uri="{FF2B5EF4-FFF2-40B4-BE49-F238E27FC236}">
                <a16:creationId xmlns:a16="http://schemas.microsoft.com/office/drawing/2014/main" id="{577969F3-1377-4FF6-80AD-6AA36E31859B}"/>
              </a:ext>
            </a:extLst>
          </p:cNvPr>
          <p:cNvSpPr>
            <a:spLocks noChangeArrowheads="1"/>
          </p:cNvSpPr>
          <p:nvPr/>
        </p:nvSpPr>
        <p:spPr bwMode="auto">
          <a:xfrm>
            <a:off x="8429271" y="5625900"/>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55" name="Rectangle 21">
            <a:extLst>
              <a:ext uri="{FF2B5EF4-FFF2-40B4-BE49-F238E27FC236}">
                <a16:creationId xmlns:a16="http://schemas.microsoft.com/office/drawing/2014/main" id="{F1084B1C-7D03-476E-AFFE-584DB2ECF212}"/>
              </a:ext>
            </a:extLst>
          </p:cNvPr>
          <p:cNvSpPr>
            <a:spLocks noChangeArrowheads="1"/>
          </p:cNvSpPr>
          <p:nvPr/>
        </p:nvSpPr>
        <p:spPr bwMode="auto">
          <a:xfrm>
            <a:off x="9585154" y="5625900"/>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dirty="0"/>
              <a:t>Text</a:t>
            </a:r>
            <a:endParaRPr lang="en-US" sz="1200" dirty="0"/>
          </a:p>
        </p:txBody>
      </p:sp>
      <p:sp>
        <p:nvSpPr>
          <p:cNvPr id="56" name="Rectangle 22">
            <a:extLst>
              <a:ext uri="{FF2B5EF4-FFF2-40B4-BE49-F238E27FC236}">
                <a16:creationId xmlns:a16="http://schemas.microsoft.com/office/drawing/2014/main" id="{5E3F805A-5325-43F6-87DC-7298393A8599}"/>
              </a:ext>
            </a:extLst>
          </p:cNvPr>
          <p:cNvSpPr>
            <a:spLocks noChangeArrowheads="1"/>
          </p:cNvSpPr>
          <p:nvPr/>
        </p:nvSpPr>
        <p:spPr bwMode="auto">
          <a:xfrm>
            <a:off x="10741038" y="5625900"/>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4" name="Footer Placeholder 3">
            <a:extLst>
              <a:ext uri="{FF2B5EF4-FFF2-40B4-BE49-F238E27FC236}">
                <a16:creationId xmlns:a16="http://schemas.microsoft.com/office/drawing/2014/main" id="{BDBA4CF4-ADFD-42AB-8D17-FCCC8A9EDE2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6BE58714-1F1E-49D9-A3DB-FB58E4F067F6}"/>
              </a:ext>
            </a:extLst>
          </p:cNvPr>
          <p:cNvSpPr>
            <a:spLocks noGrp="1"/>
          </p:cNvSpPr>
          <p:nvPr>
            <p:ph type="sldNum" sz="quarter" idx="10"/>
          </p:nvPr>
        </p:nvSpPr>
        <p:spPr/>
        <p:txBody>
          <a:bodyPr/>
          <a:lstStyle/>
          <a:p>
            <a:fld id="{1F90F471-3972-4120-B8B3-0237DE626C35}" type="slidenum">
              <a:rPr lang="en-US" smtClean="0"/>
              <a:pPr/>
              <a:t>291</a:t>
            </a:fld>
            <a:endParaRPr lang="en-US" dirty="0"/>
          </a:p>
        </p:txBody>
      </p:sp>
    </p:spTree>
    <p:extLst>
      <p:ext uri="{BB962C8B-B14F-4D97-AF65-F5344CB8AC3E}">
        <p14:creationId xmlns:p14="http://schemas.microsoft.com/office/powerpoint/2010/main" val="4283489284"/>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Vertical Issue Tree – Asymmetric</a:t>
            </a:r>
          </a:p>
        </p:txBody>
      </p:sp>
      <p:sp>
        <p:nvSpPr>
          <p:cNvPr id="77" name="Rectangle 5">
            <a:extLst>
              <a:ext uri="{FF2B5EF4-FFF2-40B4-BE49-F238E27FC236}">
                <a16:creationId xmlns:a16="http://schemas.microsoft.com/office/drawing/2014/main" id="{73F3BE99-4340-40E8-ABB8-4195823ED61D}"/>
              </a:ext>
            </a:extLst>
          </p:cNvPr>
          <p:cNvSpPr>
            <a:spLocks noChangeArrowheads="1"/>
          </p:cNvSpPr>
          <p:nvPr/>
        </p:nvSpPr>
        <p:spPr bwMode="auto">
          <a:xfrm>
            <a:off x="5251497" y="1628801"/>
            <a:ext cx="1440000" cy="432000"/>
          </a:xfrm>
          <a:prstGeom prst="rect">
            <a:avLst/>
          </a:prstGeom>
          <a:solidFill>
            <a:schemeClr val="accent2"/>
          </a:solidFill>
          <a:ln w="6350">
            <a:noFill/>
            <a:miter lim="800000"/>
            <a:headEnd/>
            <a:tailEnd/>
          </a:ln>
          <a:effectLst/>
        </p:spPr>
        <p:txBody>
          <a:bodyPr lIns="72000" tIns="72000" rIns="72000" bIns="72000" anchor="ctr"/>
          <a:lstStyle/>
          <a:p>
            <a:pPr algn="ctr" eaLnBrk="0" hangingPunct="0"/>
            <a:r>
              <a:rPr lang="en-GB" sz="1200" b="1" dirty="0">
                <a:solidFill>
                  <a:schemeClr val="bg1"/>
                </a:solidFill>
              </a:rPr>
              <a:t>Text</a:t>
            </a:r>
            <a:endParaRPr lang="en-US" sz="1200" b="1" dirty="0">
              <a:solidFill>
                <a:schemeClr val="bg1"/>
              </a:solidFill>
            </a:endParaRPr>
          </a:p>
        </p:txBody>
      </p:sp>
      <p:grpSp>
        <p:nvGrpSpPr>
          <p:cNvPr id="3" name="Group 2">
            <a:extLst>
              <a:ext uri="{FF2B5EF4-FFF2-40B4-BE49-F238E27FC236}">
                <a16:creationId xmlns:a16="http://schemas.microsoft.com/office/drawing/2014/main" id="{303C4BC8-592C-4BE2-9255-CED0DC26E419}"/>
              </a:ext>
              <a:ext uri="{C183D7F6-B498-43B3-948B-1728B52AA6E4}">
                <adec:decorative xmlns:adec="http://schemas.microsoft.com/office/drawing/2017/decorative" val="1"/>
              </a:ext>
            </a:extLst>
          </p:cNvPr>
          <p:cNvGrpSpPr/>
          <p:nvPr/>
        </p:nvGrpSpPr>
        <p:grpSpPr>
          <a:xfrm>
            <a:off x="3210572" y="2060800"/>
            <a:ext cx="5521852" cy="509957"/>
            <a:chOff x="3210572" y="2060800"/>
            <a:chExt cx="5521852" cy="509957"/>
          </a:xfrm>
        </p:grpSpPr>
        <p:cxnSp>
          <p:nvCxnSpPr>
            <p:cNvPr id="44" name="AutoShape 7">
              <a:extLst>
                <a:ext uri="{FF2B5EF4-FFF2-40B4-BE49-F238E27FC236}">
                  <a16:creationId xmlns:a16="http://schemas.microsoft.com/office/drawing/2014/main" id="{8DE4633F-8C50-4BB3-988E-250B06D3A6EB}"/>
                </a:ext>
              </a:extLst>
            </p:cNvPr>
            <p:cNvCxnSpPr>
              <a:cxnSpLocks noChangeShapeType="1"/>
              <a:stCxn id="77" idx="2"/>
              <a:endCxn id="42" idx="0"/>
            </p:cNvCxnSpPr>
            <p:nvPr/>
          </p:nvCxnSpPr>
          <p:spPr bwMode="auto">
            <a:xfrm rot="5400000">
              <a:off x="4336056" y="935316"/>
              <a:ext cx="509957" cy="2760926"/>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5" name="AutoShape 8">
              <a:extLst>
                <a:ext uri="{FF2B5EF4-FFF2-40B4-BE49-F238E27FC236}">
                  <a16:creationId xmlns:a16="http://schemas.microsoft.com/office/drawing/2014/main" id="{F8DCCE3A-A2DC-4130-91EE-53224702997D}"/>
                </a:ext>
              </a:extLst>
            </p:cNvPr>
            <p:cNvCxnSpPr>
              <a:cxnSpLocks noChangeShapeType="1"/>
              <a:stCxn id="77" idx="2"/>
              <a:endCxn id="43" idx="0"/>
            </p:cNvCxnSpPr>
            <p:nvPr/>
          </p:nvCxnSpPr>
          <p:spPr bwMode="auto">
            <a:xfrm rot="16200000" flipH="1">
              <a:off x="7096982" y="935316"/>
              <a:ext cx="509957" cy="2760926"/>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42" name="Rectangle 4">
            <a:extLst>
              <a:ext uri="{FF2B5EF4-FFF2-40B4-BE49-F238E27FC236}">
                <a16:creationId xmlns:a16="http://schemas.microsoft.com/office/drawing/2014/main" id="{C527AB7F-C5FF-4873-9A54-DBC4F186E709}"/>
              </a:ext>
            </a:extLst>
          </p:cNvPr>
          <p:cNvSpPr>
            <a:spLocks noChangeArrowheads="1"/>
          </p:cNvSpPr>
          <p:nvPr/>
        </p:nvSpPr>
        <p:spPr bwMode="auto">
          <a:xfrm>
            <a:off x="2490571" y="2570758"/>
            <a:ext cx="1440000" cy="432000"/>
          </a:xfrm>
          <a:prstGeom prst="rect">
            <a:avLst/>
          </a:prstGeom>
          <a:solidFill>
            <a:schemeClr val="accent3"/>
          </a:solidFill>
          <a:ln w="6350">
            <a:noFill/>
            <a:miter lim="800000"/>
            <a:headEnd/>
            <a:tailEnd/>
          </a:ln>
          <a:effectLst/>
        </p:spPr>
        <p:txBody>
          <a:bodyPr lIns="72000" tIns="72000" rIns="72000" bIns="72000" anchor="ctr"/>
          <a:lstStyle/>
          <a:p>
            <a:pPr algn="ctr" eaLnBrk="0" hangingPunct="0"/>
            <a:r>
              <a:rPr lang="en-GB" sz="1200" b="1" dirty="0">
                <a:solidFill>
                  <a:schemeClr val="bg1"/>
                </a:solidFill>
              </a:rPr>
              <a:t>Text</a:t>
            </a:r>
            <a:endParaRPr lang="en-US" sz="1200" b="1" dirty="0">
              <a:solidFill>
                <a:schemeClr val="bg1"/>
              </a:solidFill>
            </a:endParaRPr>
          </a:p>
        </p:txBody>
      </p:sp>
      <p:grpSp>
        <p:nvGrpSpPr>
          <p:cNvPr id="6" name="Group 5">
            <a:extLst>
              <a:ext uri="{FF2B5EF4-FFF2-40B4-BE49-F238E27FC236}">
                <a16:creationId xmlns:a16="http://schemas.microsoft.com/office/drawing/2014/main" id="{89F2E914-F1CE-4D20-AC26-74B850CC517A}"/>
              </a:ext>
              <a:ext uri="{C183D7F6-B498-43B3-948B-1728B52AA6E4}">
                <adec:decorative xmlns:adec="http://schemas.microsoft.com/office/drawing/2017/decorative" val="1"/>
              </a:ext>
            </a:extLst>
          </p:cNvPr>
          <p:cNvGrpSpPr/>
          <p:nvPr/>
        </p:nvGrpSpPr>
        <p:grpSpPr>
          <a:xfrm>
            <a:off x="1894613" y="3002757"/>
            <a:ext cx="2631917" cy="626864"/>
            <a:chOff x="1894613" y="3002757"/>
            <a:chExt cx="2631917" cy="626864"/>
          </a:xfrm>
        </p:grpSpPr>
        <p:cxnSp>
          <p:nvCxnSpPr>
            <p:cNvPr id="48" name="AutoShape 11">
              <a:extLst>
                <a:ext uri="{FF2B5EF4-FFF2-40B4-BE49-F238E27FC236}">
                  <a16:creationId xmlns:a16="http://schemas.microsoft.com/office/drawing/2014/main" id="{6CC8DC97-88D1-4272-B26B-3AF606B4C579}"/>
                </a:ext>
              </a:extLst>
            </p:cNvPr>
            <p:cNvCxnSpPr>
              <a:cxnSpLocks noChangeShapeType="1"/>
              <a:stCxn id="42" idx="2"/>
              <a:endCxn id="47" idx="0"/>
            </p:cNvCxnSpPr>
            <p:nvPr/>
          </p:nvCxnSpPr>
          <p:spPr bwMode="auto">
            <a:xfrm rot="5400000">
              <a:off x="2239161" y="2658210"/>
              <a:ext cx="626863" cy="1315959"/>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9" name="AutoShape 12">
              <a:extLst>
                <a:ext uri="{FF2B5EF4-FFF2-40B4-BE49-F238E27FC236}">
                  <a16:creationId xmlns:a16="http://schemas.microsoft.com/office/drawing/2014/main" id="{E030CC54-896E-49BD-8830-07BA1D0107DD}"/>
                </a:ext>
              </a:extLst>
            </p:cNvPr>
            <p:cNvCxnSpPr>
              <a:cxnSpLocks noChangeShapeType="1"/>
              <a:stCxn id="42" idx="2"/>
              <a:endCxn id="46" idx="0"/>
            </p:cNvCxnSpPr>
            <p:nvPr/>
          </p:nvCxnSpPr>
          <p:spPr bwMode="auto">
            <a:xfrm rot="16200000" flipH="1">
              <a:off x="3555119" y="2658209"/>
              <a:ext cx="626863" cy="1315959"/>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47" name="Rectangle 10">
            <a:extLst>
              <a:ext uri="{FF2B5EF4-FFF2-40B4-BE49-F238E27FC236}">
                <a16:creationId xmlns:a16="http://schemas.microsoft.com/office/drawing/2014/main" id="{3F33DD64-8107-4AFC-B3A9-E5EC399FB6B7}"/>
              </a:ext>
            </a:extLst>
          </p:cNvPr>
          <p:cNvSpPr>
            <a:spLocks noChangeArrowheads="1"/>
          </p:cNvSpPr>
          <p:nvPr/>
        </p:nvSpPr>
        <p:spPr bwMode="auto">
          <a:xfrm>
            <a:off x="1174612" y="3629621"/>
            <a:ext cx="1440000" cy="432000"/>
          </a:xfrm>
          <a:prstGeom prst="rect">
            <a:avLst/>
          </a:prstGeom>
          <a:solidFill>
            <a:schemeClr val="accent1"/>
          </a:solidFill>
          <a:ln w="6350">
            <a:noFill/>
            <a:miter lim="800000"/>
            <a:headEnd/>
            <a:tailEnd/>
          </a:ln>
          <a:effectLst/>
        </p:spPr>
        <p:txBody>
          <a:bodyPr lIns="72000" tIns="72000" rIns="72000" bIns="72000" anchor="ctr"/>
          <a:lstStyle/>
          <a:p>
            <a:pPr algn="ctr" eaLnBrk="0" hangingPunct="0"/>
            <a:r>
              <a:rPr lang="en-GB" sz="1200" b="1" dirty="0">
                <a:solidFill>
                  <a:schemeClr val="bg1"/>
                </a:solidFill>
              </a:rPr>
              <a:t>Text</a:t>
            </a:r>
            <a:endParaRPr lang="en-US" sz="1200" b="1" dirty="0">
              <a:solidFill>
                <a:schemeClr val="bg1"/>
              </a:solidFill>
            </a:endParaRPr>
          </a:p>
        </p:txBody>
      </p:sp>
      <p:grpSp>
        <p:nvGrpSpPr>
          <p:cNvPr id="12" name="Group 11">
            <a:extLst>
              <a:ext uri="{FF2B5EF4-FFF2-40B4-BE49-F238E27FC236}">
                <a16:creationId xmlns:a16="http://schemas.microsoft.com/office/drawing/2014/main" id="{CC2A3593-4EC0-4FA1-A0AA-B0CF51B773DA}"/>
              </a:ext>
              <a:ext uri="{C183D7F6-B498-43B3-948B-1728B52AA6E4}">
                <adec:decorative xmlns:adec="http://schemas.microsoft.com/office/drawing/2017/decorative" val="1"/>
              </a:ext>
            </a:extLst>
          </p:cNvPr>
          <p:cNvGrpSpPr/>
          <p:nvPr/>
        </p:nvGrpSpPr>
        <p:grpSpPr>
          <a:xfrm>
            <a:off x="846376" y="4061620"/>
            <a:ext cx="2102945" cy="1564280"/>
            <a:chOff x="846376" y="4061620"/>
            <a:chExt cx="2102945" cy="1564280"/>
          </a:xfrm>
        </p:grpSpPr>
        <p:grpSp>
          <p:nvGrpSpPr>
            <p:cNvPr id="7" name="Group 6">
              <a:extLst>
                <a:ext uri="{FF2B5EF4-FFF2-40B4-BE49-F238E27FC236}">
                  <a16:creationId xmlns:a16="http://schemas.microsoft.com/office/drawing/2014/main" id="{6D4CED7F-9498-41CD-AE29-2F5E763D1F53}"/>
                </a:ext>
              </a:extLst>
            </p:cNvPr>
            <p:cNvGrpSpPr/>
            <p:nvPr/>
          </p:nvGrpSpPr>
          <p:grpSpPr>
            <a:xfrm>
              <a:off x="846376" y="4061620"/>
              <a:ext cx="2102945" cy="1564280"/>
              <a:chOff x="846376" y="4061620"/>
              <a:chExt cx="2102945" cy="1564280"/>
            </a:xfrm>
          </p:grpSpPr>
          <p:cxnSp>
            <p:nvCxnSpPr>
              <p:cNvPr id="54" name="AutoShape 18">
                <a:extLst>
                  <a:ext uri="{FF2B5EF4-FFF2-40B4-BE49-F238E27FC236}">
                    <a16:creationId xmlns:a16="http://schemas.microsoft.com/office/drawing/2014/main" id="{C65C0522-E5E0-46F5-900A-BD5AF41DB1DB}"/>
                  </a:ext>
                </a:extLst>
              </p:cNvPr>
              <p:cNvCxnSpPr>
                <a:cxnSpLocks noChangeShapeType="1"/>
                <a:stCxn id="47" idx="2"/>
                <a:endCxn id="51" idx="0"/>
              </p:cNvCxnSpPr>
              <p:nvPr/>
            </p:nvCxnSpPr>
            <p:spPr bwMode="auto">
              <a:xfrm rot="5400000">
                <a:off x="588355" y="4319642"/>
                <a:ext cx="1564279" cy="104823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6" name="AutoShape 20">
                <a:extLst>
                  <a:ext uri="{FF2B5EF4-FFF2-40B4-BE49-F238E27FC236}">
                    <a16:creationId xmlns:a16="http://schemas.microsoft.com/office/drawing/2014/main" id="{20FCBBC8-938B-4299-A79C-93CC78D50054}"/>
                  </a:ext>
                </a:extLst>
              </p:cNvPr>
              <p:cNvCxnSpPr>
                <a:cxnSpLocks noChangeShapeType="1"/>
                <a:stCxn id="47" idx="2"/>
                <a:endCxn id="53" idx="0"/>
              </p:cNvCxnSpPr>
              <p:nvPr/>
            </p:nvCxnSpPr>
            <p:spPr bwMode="auto">
              <a:xfrm rot="16200000" flipH="1">
                <a:off x="1639827" y="4316405"/>
                <a:ext cx="1564279" cy="1054709"/>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cxnSp>
          <p:nvCxnSpPr>
            <p:cNvPr id="55" name="AutoShape 19">
              <a:extLst>
                <a:ext uri="{FF2B5EF4-FFF2-40B4-BE49-F238E27FC236}">
                  <a16:creationId xmlns:a16="http://schemas.microsoft.com/office/drawing/2014/main" id="{209C6F4F-E324-46F3-8711-02F0C0823550}"/>
                </a:ext>
              </a:extLst>
            </p:cNvPr>
            <p:cNvCxnSpPr>
              <a:cxnSpLocks noChangeShapeType="1"/>
              <a:stCxn id="47" idx="2"/>
              <a:endCxn id="52" idx="0"/>
            </p:cNvCxnSpPr>
            <p:nvPr/>
          </p:nvCxnSpPr>
          <p:spPr bwMode="auto">
            <a:xfrm rot="16200000" flipH="1">
              <a:off x="1114091" y="4842142"/>
              <a:ext cx="1564279" cy="3236"/>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51" name="Rectangle 15">
            <a:extLst>
              <a:ext uri="{FF2B5EF4-FFF2-40B4-BE49-F238E27FC236}">
                <a16:creationId xmlns:a16="http://schemas.microsoft.com/office/drawing/2014/main" id="{BB2952FB-18F4-4052-961D-ED43DD368255}"/>
              </a:ext>
            </a:extLst>
          </p:cNvPr>
          <p:cNvSpPr>
            <a:spLocks noChangeArrowheads="1"/>
          </p:cNvSpPr>
          <p:nvPr/>
        </p:nvSpPr>
        <p:spPr bwMode="auto">
          <a:xfrm>
            <a:off x="342375" y="5625900"/>
            <a:ext cx="1008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dirty="0"/>
              <a:t>Text</a:t>
            </a:r>
            <a:endParaRPr lang="en-US" sz="1200" dirty="0"/>
          </a:p>
        </p:txBody>
      </p:sp>
      <p:sp>
        <p:nvSpPr>
          <p:cNvPr id="52" name="Rectangle 16">
            <a:extLst>
              <a:ext uri="{FF2B5EF4-FFF2-40B4-BE49-F238E27FC236}">
                <a16:creationId xmlns:a16="http://schemas.microsoft.com/office/drawing/2014/main" id="{9E2D174F-59B4-424B-8952-EDFD4CF3893B}"/>
              </a:ext>
            </a:extLst>
          </p:cNvPr>
          <p:cNvSpPr>
            <a:spLocks noChangeArrowheads="1"/>
          </p:cNvSpPr>
          <p:nvPr/>
        </p:nvSpPr>
        <p:spPr bwMode="auto">
          <a:xfrm>
            <a:off x="1393848" y="5625900"/>
            <a:ext cx="1008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53" name="Rectangle 17">
            <a:extLst>
              <a:ext uri="{FF2B5EF4-FFF2-40B4-BE49-F238E27FC236}">
                <a16:creationId xmlns:a16="http://schemas.microsoft.com/office/drawing/2014/main" id="{FB815C58-D192-4C9C-97C9-1A8BF001731A}"/>
              </a:ext>
            </a:extLst>
          </p:cNvPr>
          <p:cNvSpPr>
            <a:spLocks noChangeArrowheads="1"/>
          </p:cNvSpPr>
          <p:nvPr/>
        </p:nvSpPr>
        <p:spPr bwMode="auto">
          <a:xfrm>
            <a:off x="2445321" y="5625900"/>
            <a:ext cx="1008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46" name="Rectangle 9">
            <a:extLst>
              <a:ext uri="{FF2B5EF4-FFF2-40B4-BE49-F238E27FC236}">
                <a16:creationId xmlns:a16="http://schemas.microsoft.com/office/drawing/2014/main" id="{1AA090E8-81F5-4120-A868-905384CEB119}"/>
              </a:ext>
            </a:extLst>
          </p:cNvPr>
          <p:cNvSpPr>
            <a:spLocks noChangeArrowheads="1"/>
          </p:cNvSpPr>
          <p:nvPr/>
        </p:nvSpPr>
        <p:spPr bwMode="auto">
          <a:xfrm>
            <a:off x="3806530" y="3629621"/>
            <a:ext cx="1440000" cy="432000"/>
          </a:xfrm>
          <a:prstGeom prst="rect">
            <a:avLst/>
          </a:prstGeom>
          <a:solidFill>
            <a:schemeClr val="accent1"/>
          </a:solidFill>
          <a:ln w="6350">
            <a:noFill/>
            <a:miter lim="800000"/>
            <a:headEnd/>
            <a:tailEnd/>
          </a:ln>
          <a:effectLst/>
        </p:spPr>
        <p:txBody>
          <a:bodyPr lIns="72000" tIns="72000" rIns="72000" bIns="72000" anchor="ctr"/>
          <a:lstStyle/>
          <a:p>
            <a:pPr algn="ctr" eaLnBrk="0" hangingPunct="0"/>
            <a:r>
              <a:rPr lang="en-GB" sz="1200" b="1">
                <a:solidFill>
                  <a:schemeClr val="bg1"/>
                </a:solidFill>
              </a:rPr>
              <a:t>Text</a:t>
            </a:r>
            <a:endParaRPr lang="en-US" sz="1200" b="1">
              <a:solidFill>
                <a:schemeClr val="bg1"/>
              </a:solidFill>
            </a:endParaRPr>
          </a:p>
        </p:txBody>
      </p:sp>
      <p:grpSp>
        <p:nvGrpSpPr>
          <p:cNvPr id="8" name="Group 7">
            <a:extLst>
              <a:ext uri="{FF2B5EF4-FFF2-40B4-BE49-F238E27FC236}">
                <a16:creationId xmlns:a16="http://schemas.microsoft.com/office/drawing/2014/main" id="{893E8E30-6B06-4747-83C7-9B6ADF58F937}"/>
              </a:ext>
              <a:ext uri="{C183D7F6-B498-43B3-948B-1728B52AA6E4}">
                <adec:decorative xmlns:adec="http://schemas.microsoft.com/office/drawing/2017/decorative" val="1"/>
              </a:ext>
            </a:extLst>
          </p:cNvPr>
          <p:cNvGrpSpPr/>
          <p:nvPr/>
        </p:nvGrpSpPr>
        <p:grpSpPr>
          <a:xfrm>
            <a:off x="4000795" y="4061620"/>
            <a:ext cx="1051472" cy="560187"/>
            <a:chOff x="4000795" y="4061620"/>
            <a:chExt cx="1051472" cy="560187"/>
          </a:xfrm>
        </p:grpSpPr>
        <p:cxnSp>
          <p:nvCxnSpPr>
            <p:cNvPr id="61" name="AutoShape 25">
              <a:extLst>
                <a:ext uri="{FF2B5EF4-FFF2-40B4-BE49-F238E27FC236}">
                  <a16:creationId xmlns:a16="http://schemas.microsoft.com/office/drawing/2014/main" id="{C5EC16C6-1DA9-458D-AE80-5D1EBB5FB632}"/>
                </a:ext>
              </a:extLst>
            </p:cNvPr>
            <p:cNvCxnSpPr>
              <a:cxnSpLocks noChangeShapeType="1"/>
              <a:stCxn id="46" idx="2"/>
              <a:endCxn id="57" idx="0"/>
            </p:cNvCxnSpPr>
            <p:nvPr/>
          </p:nvCxnSpPr>
          <p:spPr bwMode="auto">
            <a:xfrm rot="5400000">
              <a:off x="3983569" y="4078846"/>
              <a:ext cx="560187" cy="525736"/>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2" name="AutoShape 26">
              <a:extLst>
                <a:ext uri="{FF2B5EF4-FFF2-40B4-BE49-F238E27FC236}">
                  <a16:creationId xmlns:a16="http://schemas.microsoft.com/office/drawing/2014/main" id="{A7A9AFF4-C091-4341-93EA-23EEC9A295E2}"/>
                </a:ext>
              </a:extLst>
            </p:cNvPr>
            <p:cNvCxnSpPr>
              <a:cxnSpLocks noChangeShapeType="1"/>
              <a:stCxn id="46" idx="2"/>
              <a:endCxn id="58" idx="0"/>
            </p:cNvCxnSpPr>
            <p:nvPr/>
          </p:nvCxnSpPr>
          <p:spPr bwMode="auto">
            <a:xfrm rot="16200000" flipH="1">
              <a:off x="4509305" y="4078845"/>
              <a:ext cx="560187" cy="52573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57" name="Rectangle 21">
            <a:extLst>
              <a:ext uri="{FF2B5EF4-FFF2-40B4-BE49-F238E27FC236}">
                <a16:creationId xmlns:a16="http://schemas.microsoft.com/office/drawing/2014/main" id="{EAA26885-0A97-4EDC-ABA2-7B6A96B045E4}"/>
              </a:ext>
            </a:extLst>
          </p:cNvPr>
          <p:cNvSpPr>
            <a:spLocks noChangeArrowheads="1"/>
          </p:cNvSpPr>
          <p:nvPr/>
        </p:nvSpPr>
        <p:spPr bwMode="auto">
          <a:xfrm>
            <a:off x="3496794" y="4621808"/>
            <a:ext cx="1008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dirty="0"/>
              <a:t>Text</a:t>
            </a:r>
            <a:endParaRPr lang="en-US" sz="1200" dirty="0"/>
          </a:p>
        </p:txBody>
      </p:sp>
      <p:sp>
        <p:nvSpPr>
          <p:cNvPr id="58" name="Rectangle 22">
            <a:extLst>
              <a:ext uri="{FF2B5EF4-FFF2-40B4-BE49-F238E27FC236}">
                <a16:creationId xmlns:a16="http://schemas.microsoft.com/office/drawing/2014/main" id="{8BF41DB8-CDD3-4E6F-91F1-8D3E3E35B771}"/>
              </a:ext>
            </a:extLst>
          </p:cNvPr>
          <p:cNvSpPr>
            <a:spLocks noChangeArrowheads="1"/>
          </p:cNvSpPr>
          <p:nvPr/>
        </p:nvSpPr>
        <p:spPr bwMode="auto">
          <a:xfrm>
            <a:off x="4548267" y="4621808"/>
            <a:ext cx="1008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43" name="Rectangle 6">
            <a:extLst>
              <a:ext uri="{FF2B5EF4-FFF2-40B4-BE49-F238E27FC236}">
                <a16:creationId xmlns:a16="http://schemas.microsoft.com/office/drawing/2014/main" id="{5B3657BB-CC41-4291-88D8-7430311F651A}"/>
              </a:ext>
            </a:extLst>
          </p:cNvPr>
          <p:cNvSpPr>
            <a:spLocks noChangeArrowheads="1"/>
          </p:cNvSpPr>
          <p:nvPr/>
        </p:nvSpPr>
        <p:spPr bwMode="auto">
          <a:xfrm>
            <a:off x="8012423" y="2570758"/>
            <a:ext cx="1440000" cy="432000"/>
          </a:xfrm>
          <a:prstGeom prst="rect">
            <a:avLst/>
          </a:prstGeom>
          <a:solidFill>
            <a:schemeClr val="accent3"/>
          </a:solidFill>
          <a:ln w="6350">
            <a:noFill/>
            <a:miter lim="800000"/>
            <a:headEnd/>
            <a:tailEnd/>
          </a:ln>
          <a:effectLst/>
        </p:spPr>
        <p:txBody>
          <a:bodyPr lIns="72000" tIns="72000" rIns="72000" bIns="72000" anchor="ctr"/>
          <a:lstStyle/>
          <a:p>
            <a:pPr algn="ctr" eaLnBrk="0" hangingPunct="0"/>
            <a:r>
              <a:rPr lang="en-GB" sz="1200" b="1">
                <a:solidFill>
                  <a:schemeClr val="bg1"/>
                </a:solidFill>
              </a:rPr>
              <a:t>Text</a:t>
            </a:r>
            <a:endParaRPr lang="en-US" sz="1200" b="1">
              <a:solidFill>
                <a:schemeClr val="bg1"/>
              </a:solidFill>
            </a:endParaRPr>
          </a:p>
        </p:txBody>
      </p:sp>
      <p:grpSp>
        <p:nvGrpSpPr>
          <p:cNvPr id="13" name="Group 12">
            <a:extLst>
              <a:ext uri="{FF2B5EF4-FFF2-40B4-BE49-F238E27FC236}">
                <a16:creationId xmlns:a16="http://schemas.microsoft.com/office/drawing/2014/main" id="{B4DB7935-7B9E-4A34-A389-F444999F5A0F}"/>
              </a:ext>
              <a:ext uri="{C183D7F6-B498-43B3-948B-1728B52AA6E4}">
                <adec:decorative xmlns:adec="http://schemas.microsoft.com/office/drawing/2017/decorative" val="1"/>
              </a:ext>
            </a:extLst>
          </p:cNvPr>
          <p:cNvGrpSpPr/>
          <p:nvPr/>
        </p:nvGrpSpPr>
        <p:grpSpPr>
          <a:xfrm>
            <a:off x="6629477" y="3002757"/>
            <a:ext cx="4205891" cy="626864"/>
            <a:chOff x="6629477" y="3002757"/>
            <a:chExt cx="4205891" cy="626864"/>
          </a:xfrm>
        </p:grpSpPr>
        <p:cxnSp>
          <p:nvCxnSpPr>
            <p:cNvPr id="50" name="AutoShape 13">
              <a:extLst>
                <a:ext uri="{FF2B5EF4-FFF2-40B4-BE49-F238E27FC236}">
                  <a16:creationId xmlns:a16="http://schemas.microsoft.com/office/drawing/2014/main" id="{F4D97F48-E11B-4950-B9A5-08BC5E92B329}"/>
                </a:ext>
              </a:extLst>
            </p:cNvPr>
            <p:cNvCxnSpPr>
              <a:cxnSpLocks noChangeShapeType="1"/>
              <a:stCxn id="43" idx="2"/>
              <a:endCxn id="66" idx="0"/>
            </p:cNvCxnSpPr>
            <p:nvPr/>
          </p:nvCxnSpPr>
          <p:spPr bwMode="auto">
            <a:xfrm rot="5400000">
              <a:off x="7367519" y="2264716"/>
              <a:ext cx="626863" cy="210294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8" name="AutoShape 32">
              <a:extLst>
                <a:ext uri="{FF2B5EF4-FFF2-40B4-BE49-F238E27FC236}">
                  <a16:creationId xmlns:a16="http://schemas.microsoft.com/office/drawing/2014/main" id="{E21BD49B-9504-471B-8127-7A273AD7DD77}"/>
                </a:ext>
              </a:extLst>
            </p:cNvPr>
            <p:cNvCxnSpPr>
              <a:cxnSpLocks noChangeShapeType="1"/>
              <a:stCxn id="43" idx="2"/>
              <a:endCxn id="67" idx="0"/>
            </p:cNvCxnSpPr>
            <p:nvPr/>
          </p:nvCxnSpPr>
          <p:spPr bwMode="auto">
            <a:xfrm rot="16200000" flipH="1">
              <a:off x="9470464" y="2264717"/>
              <a:ext cx="626863" cy="2102944"/>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8" name="Straight Connector 77">
              <a:extLst>
                <a:ext uri="{FF2B5EF4-FFF2-40B4-BE49-F238E27FC236}">
                  <a16:creationId xmlns:a16="http://schemas.microsoft.com/office/drawing/2014/main" id="{3B9A7B9F-C136-4871-B7E3-39DD26C18497}"/>
                </a:ext>
              </a:extLst>
            </p:cNvPr>
            <p:cNvCxnSpPr>
              <a:stCxn id="43" idx="2"/>
              <a:endCxn id="65" idx="0"/>
            </p:cNvCxnSpPr>
            <p:nvPr/>
          </p:nvCxnSpPr>
          <p:spPr>
            <a:xfrm>
              <a:off x="8732423" y="3002758"/>
              <a:ext cx="0" cy="626863"/>
            </a:xfrm>
            <a:prstGeom prst="line">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66" name="Rectangle 30">
            <a:extLst>
              <a:ext uri="{FF2B5EF4-FFF2-40B4-BE49-F238E27FC236}">
                <a16:creationId xmlns:a16="http://schemas.microsoft.com/office/drawing/2014/main" id="{574CEBF2-5A62-4390-9A24-881E9FBBD537}"/>
              </a:ext>
            </a:extLst>
          </p:cNvPr>
          <p:cNvSpPr>
            <a:spLocks noChangeArrowheads="1"/>
          </p:cNvSpPr>
          <p:nvPr/>
        </p:nvSpPr>
        <p:spPr bwMode="auto">
          <a:xfrm>
            <a:off x="5909476" y="3629621"/>
            <a:ext cx="1440000" cy="432000"/>
          </a:xfrm>
          <a:prstGeom prst="rect">
            <a:avLst/>
          </a:prstGeom>
          <a:solidFill>
            <a:schemeClr val="accent1"/>
          </a:solidFill>
          <a:ln w="6350">
            <a:noFill/>
            <a:miter lim="800000"/>
            <a:headEnd/>
            <a:tailEnd/>
          </a:ln>
          <a:effectLst/>
        </p:spPr>
        <p:txBody>
          <a:bodyPr lIns="72000" tIns="72000" rIns="72000" bIns="72000" anchor="ctr"/>
          <a:lstStyle/>
          <a:p>
            <a:pPr algn="ctr" eaLnBrk="0" hangingPunct="0"/>
            <a:r>
              <a:rPr lang="en-GB" sz="1200" b="1" dirty="0">
                <a:solidFill>
                  <a:schemeClr val="bg1"/>
                </a:solidFill>
              </a:rPr>
              <a:t>Text</a:t>
            </a:r>
            <a:endParaRPr lang="en-US" sz="1200" b="1" dirty="0">
              <a:solidFill>
                <a:schemeClr val="bg1"/>
              </a:solidFill>
            </a:endParaRPr>
          </a:p>
        </p:txBody>
      </p:sp>
      <p:grpSp>
        <p:nvGrpSpPr>
          <p:cNvPr id="9" name="Group 8">
            <a:extLst>
              <a:ext uri="{FF2B5EF4-FFF2-40B4-BE49-F238E27FC236}">
                <a16:creationId xmlns:a16="http://schemas.microsoft.com/office/drawing/2014/main" id="{99094298-144F-4B2E-AADD-5B6B5D636361}"/>
              </a:ext>
              <a:ext uri="{C183D7F6-B498-43B3-948B-1728B52AA6E4}">
                <adec:decorative xmlns:adec="http://schemas.microsoft.com/office/drawing/2017/decorative" val="1"/>
              </a:ext>
            </a:extLst>
          </p:cNvPr>
          <p:cNvGrpSpPr/>
          <p:nvPr/>
        </p:nvGrpSpPr>
        <p:grpSpPr>
          <a:xfrm>
            <a:off x="6103741" y="4061620"/>
            <a:ext cx="1051472" cy="560187"/>
            <a:chOff x="6103741" y="4061620"/>
            <a:chExt cx="1051472" cy="560187"/>
          </a:xfrm>
        </p:grpSpPr>
        <p:cxnSp>
          <p:nvCxnSpPr>
            <p:cNvPr id="63" name="AutoShape 27">
              <a:extLst>
                <a:ext uri="{FF2B5EF4-FFF2-40B4-BE49-F238E27FC236}">
                  <a16:creationId xmlns:a16="http://schemas.microsoft.com/office/drawing/2014/main" id="{0B2867C4-1D99-49A4-BA78-6B781F8AFCAC}"/>
                </a:ext>
              </a:extLst>
            </p:cNvPr>
            <p:cNvCxnSpPr>
              <a:cxnSpLocks noChangeShapeType="1"/>
              <a:stCxn id="66" idx="2"/>
              <a:endCxn id="59" idx="0"/>
            </p:cNvCxnSpPr>
            <p:nvPr/>
          </p:nvCxnSpPr>
          <p:spPr bwMode="auto">
            <a:xfrm rot="5400000">
              <a:off x="6086515" y="4078846"/>
              <a:ext cx="560187" cy="525736"/>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4" name="AutoShape 28">
              <a:extLst>
                <a:ext uri="{FF2B5EF4-FFF2-40B4-BE49-F238E27FC236}">
                  <a16:creationId xmlns:a16="http://schemas.microsoft.com/office/drawing/2014/main" id="{AA40989B-D956-45D0-8219-F8FAA6D3661F}"/>
                </a:ext>
              </a:extLst>
            </p:cNvPr>
            <p:cNvCxnSpPr>
              <a:cxnSpLocks noChangeShapeType="1"/>
              <a:stCxn id="66" idx="2"/>
              <a:endCxn id="60" idx="0"/>
            </p:cNvCxnSpPr>
            <p:nvPr/>
          </p:nvCxnSpPr>
          <p:spPr bwMode="auto">
            <a:xfrm rot="16200000" flipH="1">
              <a:off x="6612251" y="4078845"/>
              <a:ext cx="560187" cy="52573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59" name="Rectangle 23">
            <a:extLst>
              <a:ext uri="{FF2B5EF4-FFF2-40B4-BE49-F238E27FC236}">
                <a16:creationId xmlns:a16="http://schemas.microsoft.com/office/drawing/2014/main" id="{E7736347-FE9F-40EA-9D1D-E992F5CD4BD4}"/>
              </a:ext>
            </a:extLst>
          </p:cNvPr>
          <p:cNvSpPr>
            <a:spLocks noChangeArrowheads="1"/>
          </p:cNvSpPr>
          <p:nvPr/>
        </p:nvSpPr>
        <p:spPr bwMode="auto">
          <a:xfrm>
            <a:off x="5599740" y="4621808"/>
            <a:ext cx="1008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60" name="Rectangle 24">
            <a:extLst>
              <a:ext uri="{FF2B5EF4-FFF2-40B4-BE49-F238E27FC236}">
                <a16:creationId xmlns:a16="http://schemas.microsoft.com/office/drawing/2014/main" id="{64E46B31-3E26-410F-801A-F53DA059826E}"/>
              </a:ext>
            </a:extLst>
          </p:cNvPr>
          <p:cNvSpPr>
            <a:spLocks noChangeArrowheads="1"/>
          </p:cNvSpPr>
          <p:nvPr/>
        </p:nvSpPr>
        <p:spPr bwMode="auto">
          <a:xfrm>
            <a:off x="6651213" y="4621808"/>
            <a:ext cx="1008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65" name="Rectangle 29">
            <a:extLst>
              <a:ext uri="{FF2B5EF4-FFF2-40B4-BE49-F238E27FC236}">
                <a16:creationId xmlns:a16="http://schemas.microsoft.com/office/drawing/2014/main" id="{7F4D3319-F500-44C7-9178-76DC0041726A}"/>
              </a:ext>
            </a:extLst>
          </p:cNvPr>
          <p:cNvSpPr>
            <a:spLocks noChangeArrowheads="1"/>
          </p:cNvSpPr>
          <p:nvPr/>
        </p:nvSpPr>
        <p:spPr bwMode="auto">
          <a:xfrm>
            <a:off x="8012423" y="3629621"/>
            <a:ext cx="1440000" cy="432000"/>
          </a:xfrm>
          <a:prstGeom prst="rect">
            <a:avLst/>
          </a:prstGeom>
          <a:solidFill>
            <a:schemeClr val="accent1"/>
          </a:solidFill>
          <a:ln w="6350">
            <a:noFill/>
            <a:miter lim="800000"/>
            <a:headEnd/>
            <a:tailEnd/>
          </a:ln>
          <a:effectLst/>
        </p:spPr>
        <p:txBody>
          <a:bodyPr lIns="72000" tIns="72000" rIns="72000" bIns="72000" anchor="ctr"/>
          <a:lstStyle/>
          <a:p>
            <a:pPr algn="ctr" eaLnBrk="0" hangingPunct="0"/>
            <a:r>
              <a:rPr lang="en-GB" sz="1200" b="1" dirty="0">
                <a:solidFill>
                  <a:schemeClr val="bg1"/>
                </a:solidFill>
              </a:rPr>
              <a:t>Text</a:t>
            </a:r>
            <a:endParaRPr lang="en-US" sz="1200" b="1" dirty="0">
              <a:solidFill>
                <a:schemeClr val="bg1"/>
              </a:solidFill>
            </a:endParaRPr>
          </a:p>
        </p:txBody>
      </p:sp>
      <p:grpSp>
        <p:nvGrpSpPr>
          <p:cNvPr id="10" name="Group 9">
            <a:extLst>
              <a:ext uri="{FF2B5EF4-FFF2-40B4-BE49-F238E27FC236}">
                <a16:creationId xmlns:a16="http://schemas.microsoft.com/office/drawing/2014/main" id="{33E4E8D7-5C7E-4DF9-B188-2F71AE011E01}"/>
              </a:ext>
              <a:ext uri="{C183D7F6-B498-43B3-948B-1728B52AA6E4}">
                <adec:decorative xmlns:adec="http://schemas.microsoft.com/office/drawing/2017/decorative" val="1"/>
              </a:ext>
            </a:extLst>
          </p:cNvPr>
          <p:cNvGrpSpPr/>
          <p:nvPr/>
        </p:nvGrpSpPr>
        <p:grpSpPr>
          <a:xfrm>
            <a:off x="8206687" y="4061620"/>
            <a:ext cx="1051473" cy="560188"/>
            <a:chOff x="8206687" y="4061620"/>
            <a:chExt cx="1051473" cy="560188"/>
          </a:xfrm>
        </p:grpSpPr>
        <p:cxnSp>
          <p:nvCxnSpPr>
            <p:cNvPr id="73" name="AutoShape 37">
              <a:extLst>
                <a:ext uri="{FF2B5EF4-FFF2-40B4-BE49-F238E27FC236}">
                  <a16:creationId xmlns:a16="http://schemas.microsoft.com/office/drawing/2014/main" id="{9E14C433-816B-40CC-8FDC-C6F2AB453FAE}"/>
                </a:ext>
              </a:extLst>
            </p:cNvPr>
            <p:cNvCxnSpPr>
              <a:cxnSpLocks noChangeShapeType="1"/>
              <a:stCxn id="65" idx="2"/>
              <a:endCxn id="71" idx="0"/>
            </p:cNvCxnSpPr>
            <p:nvPr/>
          </p:nvCxnSpPr>
          <p:spPr bwMode="auto">
            <a:xfrm rot="5400000">
              <a:off x="8189462" y="4078846"/>
              <a:ext cx="560187" cy="52573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4" name="AutoShape 38">
              <a:extLst>
                <a:ext uri="{FF2B5EF4-FFF2-40B4-BE49-F238E27FC236}">
                  <a16:creationId xmlns:a16="http://schemas.microsoft.com/office/drawing/2014/main" id="{CD6E9FCF-3AF0-48BF-A328-393A36200D99}"/>
                </a:ext>
              </a:extLst>
            </p:cNvPr>
            <p:cNvCxnSpPr>
              <a:cxnSpLocks noChangeShapeType="1"/>
              <a:stCxn id="65" idx="2"/>
              <a:endCxn id="72" idx="0"/>
            </p:cNvCxnSpPr>
            <p:nvPr/>
          </p:nvCxnSpPr>
          <p:spPr bwMode="auto">
            <a:xfrm rot="16200000" flipH="1">
              <a:off x="8715198" y="4078846"/>
              <a:ext cx="560187" cy="525736"/>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71" name="Rectangle 35">
            <a:extLst>
              <a:ext uri="{FF2B5EF4-FFF2-40B4-BE49-F238E27FC236}">
                <a16:creationId xmlns:a16="http://schemas.microsoft.com/office/drawing/2014/main" id="{791E1D09-B073-4FFB-A21C-C03569AC057F}"/>
              </a:ext>
            </a:extLst>
          </p:cNvPr>
          <p:cNvSpPr>
            <a:spLocks noChangeArrowheads="1"/>
          </p:cNvSpPr>
          <p:nvPr/>
        </p:nvSpPr>
        <p:spPr bwMode="auto">
          <a:xfrm>
            <a:off x="7702686" y="4621808"/>
            <a:ext cx="1008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dirty="0"/>
              <a:t>Text</a:t>
            </a:r>
            <a:endParaRPr lang="en-US" sz="1200" dirty="0"/>
          </a:p>
        </p:txBody>
      </p:sp>
      <p:sp>
        <p:nvSpPr>
          <p:cNvPr id="72" name="Rectangle 36">
            <a:extLst>
              <a:ext uri="{FF2B5EF4-FFF2-40B4-BE49-F238E27FC236}">
                <a16:creationId xmlns:a16="http://schemas.microsoft.com/office/drawing/2014/main" id="{38DDF97F-2BC0-40B6-B176-955EF233B055}"/>
              </a:ext>
            </a:extLst>
          </p:cNvPr>
          <p:cNvSpPr>
            <a:spLocks noChangeArrowheads="1"/>
          </p:cNvSpPr>
          <p:nvPr/>
        </p:nvSpPr>
        <p:spPr bwMode="auto">
          <a:xfrm>
            <a:off x="8754159" y="4621808"/>
            <a:ext cx="1008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67" name="Rectangle 31">
            <a:extLst>
              <a:ext uri="{FF2B5EF4-FFF2-40B4-BE49-F238E27FC236}">
                <a16:creationId xmlns:a16="http://schemas.microsoft.com/office/drawing/2014/main" id="{10CA247D-EA73-4600-89F3-59C42C84C0A1}"/>
              </a:ext>
            </a:extLst>
          </p:cNvPr>
          <p:cNvSpPr>
            <a:spLocks noChangeArrowheads="1"/>
          </p:cNvSpPr>
          <p:nvPr/>
        </p:nvSpPr>
        <p:spPr bwMode="auto">
          <a:xfrm>
            <a:off x="10115367" y="3629621"/>
            <a:ext cx="1440000" cy="432000"/>
          </a:xfrm>
          <a:prstGeom prst="rect">
            <a:avLst/>
          </a:prstGeom>
          <a:solidFill>
            <a:schemeClr val="accent1"/>
          </a:solidFill>
          <a:ln w="6350">
            <a:noFill/>
            <a:miter lim="800000"/>
            <a:headEnd/>
            <a:tailEnd/>
          </a:ln>
          <a:effectLst/>
        </p:spPr>
        <p:txBody>
          <a:bodyPr lIns="72000" tIns="72000" rIns="72000" bIns="72000" anchor="ctr"/>
          <a:lstStyle/>
          <a:p>
            <a:pPr algn="ctr" eaLnBrk="0" hangingPunct="0"/>
            <a:r>
              <a:rPr lang="en-GB" sz="1200" b="1">
                <a:solidFill>
                  <a:schemeClr val="bg1"/>
                </a:solidFill>
              </a:rPr>
              <a:t>Text</a:t>
            </a:r>
            <a:endParaRPr lang="en-US" sz="1200" b="1">
              <a:solidFill>
                <a:schemeClr val="bg1"/>
              </a:solidFill>
            </a:endParaRPr>
          </a:p>
        </p:txBody>
      </p:sp>
      <p:grpSp>
        <p:nvGrpSpPr>
          <p:cNvPr id="11" name="Group 10">
            <a:extLst>
              <a:ext uri="{FF2B5EF4-FFF2-40B4-BE49-F238E27FC236}">
                <a16:creationId xmlns:a16="http://schemas.microsoft.com/office/drawing/2014/main" id="{887D0C52-7CF2-4072-8E77-56ADE5B926C6}"/>
              </a:ext>
              <a:ext uri="{C183D7F6-B498-43B3-948B-1728B52AA6E4}">
                <adec:decorative xmlns:adec="http://schemas.microsoft.com/office/drawing/2017/decorative" val="1"/>
              </a:ext>
            </a:extLst>
          </p:cNvPr>
          <p:cNvGrpSpPr/>
          <p:nvPr/>
        </p:nvGrpSpPr>
        <p:grpSpPr>
          <a:xfrm>
            <a:off x="10309633" y="4061620"/>
            <a:ext cx="1051469" cy="560188"/>
            <a:chOff x="10309633" y="4061620"/>
            <a:chExt cx="1051469" cy="560188"/>
          </a:xfrm>
        </p:grpSpPr>
        <p:cxnSp>
          <p:nvCxnSpPr>
            <p:cNvPr id="75" name="AutoShape 39">
              <a:extLst>
                <a:ext uri="{FF2B5EF4-FFF2-40B4-BE49-F238E27FC236}">
                  <a16:creationId xmlns:a16="http://schemas.microsoft.com/office/drawing/2014/main" id="{8C4DFA98-218C-41E7-985F-DB71232AA2C4}"/>
                </a:ext>
              </a:extLst>
            </p:cNvPr>
            <p:cNvCxnSpPr>
              <a:cxnSpLocks noChangeShapeType="1"/>
              <a:stCxn id="67" idx="2"/>
              <a:endCxn id="69" idx="0"/>
            </p:cNvCxnSpPr>
            <p:nvPr/>
          </p:nvCxnSpPr>
          <p:spPr bwMode="auto">
            <a:xfrm rot="5400000">
              <a:off x="10292407" y="4078847"/>
              <a:ext cx="560187" cy="525735"/>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6" name="AutoShape 40">
              <a:extLst>
                <a:ext uri="{FF2B5EF4-FFF2-40B4-BE49-F238E27FC236}">
                  <a16:creationId xmlns:a16="http://schemas.microsoft.com/office/drawing/2014/main" id="{F1999842-4EE0-4DA2-96AC-9EE6C798B6FA}"/>
                </a:ext>
              </a:extLst>
            </p:cNvPr>
            <p:cNvCxnSpPr>
              <a:cxnSpLocks noChangeShapeType="1"/>
              <a:stCxn id="67" idx="2"/>
              <a:endCxn id="70" idx="0"/>
            </p:cNvCxnSpPr>
            <p:nvPr/>
          </p:nvCxnSpPr>
          <p:spPr bwMode="auto">
            <a:xfrm rot="16200000" flipH="1">
              <a:off x="10818141" y="4078846"/>
              <a:ext cx="560187" cy="525735"/>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69" name="Rectangle 33">
            <a:extLst>
              <a:ext uri="{FF2B5EF4-FFF2-40B4-BE49-F238E27FC236}">
                <a16:creationId xmlns:a16="http://schemas.microsoft.com/office/drawing/2014/main" id="{DFD8B80F-F8A7-472E-8DFF-AFF0E0FC9723}"/>
              </a:ext>
            </a:extLst>
          </p:cNvPr>
          <p:cNvSpPr>
            <a:spLocks noChangeArrowheads="1"/>
          </p:cNvSpPr>
          <p:nvPr/>
        </p:nvSpPr>
        <p:spPr bwMode="auto">
          <a:xfrm>
            <a:off x="9805632" y="4621808"/>
            <a:ext cx="1008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70" name="Rectangle 34">
            <a:extLst>
              <a:ext uri="{FF2B5EF4-FFF2-40B4-BE49-F238E27FC236}">
                <a16:creationId xmlns:a16="http://schemas.microsoft.com/office/drawing/2014/main" id="{B224DFDC-DB06-46DB-B0FD-98FEE261ADBA}"/>
              </a:ext>
            </a:extLst>
          </p:cNvPr>
          <p:cNvSpPr>
            <a:spLocks noChangeArrowheads="1"/>
          </p:cNvSpPr>
          <p:nvPr/>
        </p:nvSpPr>
        <p:spPr bwMode="auto">
          <a:xfrm>
            <a:off x="10857102" y="4621808"/>
            <a:ext cx="1008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dirty="0"/>
              <a:t>Text</a:t>
            </a:r>
            <a:endParaRPr lang="en-US" sz="1200" dirty="0"/>
          </a:p>
        </p:txBody>
      </p:sp>
      <p:sp>
        <p:nvSpPr>
          <p:cNvPr id="4" name="Footer Placeholder 3">
            <a:extLst>
              <a:ext uri="{FF2B5EF4-FFF2-40B4-BE49-F238E27FC236}">
                <a16:creationId xmlns:a16="http://schemas.microsoft.com/office/drawing/2014/main" id="{295D2E46-1B3F-438B-82E2-78A6DC493CFF}"/>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97D78376-9703-420A-B4F6-33EE4AC4FC20}"/>
              </a:ext>
            </a:extLst>
          </p:cNvPr>
          <p:cNvSpPr>
            <a:spLocks noGrp="1"/>
          </p:cNvSpPr>
          <p:nvPr>
            <p:ph type="sldNum" sz="quarter" idx="10"/>
          </p:nvPr>
        </p:nvSpPr>
        <p:spPr/>
        <p:txBody>
          <a:bodyPr/>
          <a:lstStyle/>
          <a:p>
            <a:fld id="{1F90F471-3972-4120-B8B3-0237DE626C35}" type="slidenum">
              <a:rPr lang="en-US" smtClean="0"/>
              <a:pPr/>
              <a:t>292</a:t>
            </a:fld>
            <a:endParaRPr lang="en-US" dirty="0"/>
          </a:p>
        </p:txBody>
      </p:sp>
    </p:spTree>
    <p:extLst>
      <p:ext uri="{BB962C8B-B14F-4D97-AF65-F5344CB8AC3E}">
        <p14:creationId xmlns:p14="http://schemas.microsoft.com/office/powerpoint/2010/main" val="2207348288"/>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Mapping – Horizontal</a:t>
            </a:r>
          </a:p>
        </p:txBody>
      </p:sp>
      <p:sp>
        <p:nvSpPr>
          <p:cNvPr id="23" name="Rectangle 5">
            <a:extLst>
              <a:ext uri="{FF2B5EF4-FFF2-40B4-BE49-F238E27FC236}">
                <a16:creationId xmlns:a16="http://schemas.microsoft.com/office/drawing/2014/main" id="{BBB0B001-1BF4-4D9B-8827-FF77A89126D4}"/>
              </a:ext>
            </a:extLst>
          </p:cNvPr>
          <p:cNvSpPr>
            <a:spLocks noChangeArrowheads="1"/>
          </p:cNvSpPr>
          <p:nvPr/>
        </p:nvSpPr>
        <p:spPr bwMode="auto">
          <a:xfrm>
            <a:off x="380999" y="1763712"/>
            <a:ext cx="4032825" cy="4294187"/>
          </a:xfrm>
          <a:prstGeom prst="rect">
            <a:avLst/>
          </a:prstGeom>
          <a:solidFill>
            <a:srgbClr val="96968C">
              <a:lumMod val="20000"/>
              <a:lumOff val="80000"/>
            </a:srgb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100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100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100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grpSp>
        <p:nvGrpSpPr>
          <p:cNvPr id="28" name="Group 27">
            <a:extLst>
              <a:ext uri="{FF2B5EF4-FFF2-40B4-BE49-F238E27FC236}">
                <a16:creationId xmlns:a16="http://schemas.microsoft.com/office/drawing/2014/main" id="{A30B466A-2D05-4FE0-80EA-66375885276A}"/>
              </a:ext>
              <a:ext uri="{C183D7F6-B498-43B3-948B-1728B52AA6E4}">
                <adec:decorative xmlns:adec="http://schemas.microsoft.com/office/drawing/2017/decorative" val="1"/>
              </a:ext>
            </a:extLst>
          </p:cNvPr>
          <p:cNvGrpSpPr/>
          <p:nvPr/>
        </p:nvGrpSpPr>
        <p:grpSpPr>
          <a:xfrm>
            <a:off x="4413824" y="2615750"/>
            <a:ext cx="577323" cy="2590112"/>
            <a:chOff x="4413824" y="2615750"/>
            <a:chExt cx="577323" cy="2590112"/>
          </a:xfrm>
        </p:grpSpPr>
        <p:grpSp>
          <p:nvGrpSpPr>
            <p:cNvPr id="3" name="Group 2">
              <a:extLst>
                <a:ext uri="{FF2B5EF4-FFF2-40B4-BE49-F238E27FC236}">
                  <a16:creationId xmlns:a16="http://schemas.microsoft.com/office/drawing/2014/main" id="{81CAB92B-B3E1-435F-ADFF-D5F2D3E7E8F1}"/>
                </a:ext>
              </a:extLst>
            </p:cNvPr>
            <p:cNvGrpSpPr/>
            <p:nvPr/>
          </p:nvGrpSpPr>
          <p:grpSpPr>
            <a:xfrm>
              <a:off x="4413824" y="2615750"/>
              <a:ext cx="577323" cy="2590112"/>
              <a:chOff x="4413824" y="2615750"/>
              <a:chExt cx="577323" cy="2590112"/>
            </a:xfrm>
          </p:grpSpPr>
          <p:cxnSp>
            <p:nvCxnSpPr>
              <p:cNvPr id="16" name="AutoShape 17">
                <a:extLst>
                  <a:ext uri="{FF2B5EF4-FFF2-40B4-BE49-F238E27FC236}">
                    <a16:creationId xmlns:a16="http://schemas.microsoft.com/office/drawing/2014/main" id="{218DC1DC-41EB-4B43-94CF-7D2D04A52DA7}"/>
                  </a:ext>
                </a:extLst>
              </p:cNvPr>
              <p:cNvCxnSpPr>
                <a:cxnSpLocks noChangeShapeType="1"/>
                <a:stCxn id="23" idx="3"/>
                <a:endCxn id="10" idx="1"/>
              </p:cNvCxnSpPr>
              <p:nvPr/>
            </p:nvCxnSpPr>
            <p:spPr bwMode="auto">
              <a:xfrm flipV="1">
                <a:off x="4413824" y="2615750"/>
                <a:ext cx="577323" cy="1295056"/>
              </a:xfrm>
              <a:prstGeom prst="bentConnector3">
                <a:avLst>
                  <a:gd name="adj1" fmla="val 50000"/>
                </a:avLst>
              </a:prstGeom>
              <a:noFill/>
              <a:ln w="12700" cap="rnd" cmpd="sng" algn="ctr">
                <a:solidFill>
                  <a:srgbClr val="96968C">
                    <a:lumMod val="40000"/>
                    <a:lumOff val="60000"/>
                  </a:srgbClr>
                </a:solidFill>
                <a:prstDash val="solid"/>
                <a:headEnd type="none" w="med" len="med"/>
                <a:tailEnd type="triangle" w="med" len="med"/>
              </a:ln>
              <a:effectLst/>
            </p:spPr>
          </p:cxnSp>
          <p:cxnSp>
            <p:nvCxnSpPr>
              <p:cNvPr id="17" name="AutoShape 18">
                <a:extLst>
                  <a:ext uri="{FF2B5EF4-FFF2-40B4-BE49-F238E27FC236}">
                    <a16:creationId xmlns:a16="http://schemas.microsoft.com/office/drawing/2014/main" id="{2B636946-8C9C-4131-99F5-AFCB5699649E}"/>
                  </a:ext>
                </a:extLst>
              </p:cNvPr>
              <p:cNvCxnSpPr>
                <a:cxnSpLocks noChangeShapeType="1"/>
                <a:stCxn id="23" idx="3"/>
                <a:endCxn id="11" idx="1"/>
              </p:cNvCxnSpPr>
              <p:nvPr/>
            </p:nvCxnSpPr>
            <p:spPr bwMode="auto">
              <a:xfrm>
                <a:off x="4413824" y="3910806"/>
                <a:ext cx="577323" cy="1295056"/>
              </a:xfrm>
              <a:prstGeom prst="bentConnector3">
                <a:avLst>
                  <a:gd name="adj1" fmla="val 50000"/>
                </a:avLst>
              </a:prstGeom>
              <a:noFill/>
              <a:ln w="12700" cap="rnd" cmpd="sng" algn="ctr">
                <a:solidFill>
                  <a:srgbClr val="96968C">
                    <a:lumMod val="40000"/>
                    <a:lumOff val="60000"/>
                  </a:srgbClr>
                </a:solidFill>
                <a:prstDash val="solid"/>
                <a:headEnd type="none" w="med" len="med"/>
                <a:tailEnd type="triangle" w="med" len="med"/>
              </a:ln>
              <a:effectLst/>
            </p:spPr>
          </p:cxnSp>
        </p:grpSp>
        <p:cxnSp>
          <p:nvCxnSpPr>
            <p:cNvPr id="12" name="AutoShape 13">
              <a:extLst>
                <a:ext uri="{FF2B5EF4-FFF2-40B4-BE49-F238E27FC236}">
                  <a16:creationId xmlns:a16="http://schemas.microsoft.com/office/drawing/2014/main" id="{E028F950-2D54-42E6-98A0-2BE126623174}"/>
                </a:ext>
              </a:extLst>
            </p:cNvPr>
            <p:cNvCxnSpPr>
              <a:cxnSpLocks noChangeShapeType="1"/>
              <a:stCxn id="23" idx="3"/>
              <a:endCxn id="9" idx="1"/>
            </p:cNvCxnSpPr>
            <p:nvPr/>
          </p:nvCxnSpPr>
          <p:spPr bwMode="auto">
            <a:xfrm>
              <a:off x="4413824" y="3910806"/>
              <a:ext cx="577323" cy="5859"/>
            </a:xfrm>
            <a:prstGeom prst="straightConnector1">
              <a:avLst/>
            </a:prstGeom>
            <a:noFill/>
            <a:ln w="12700" cap="rnd" cmpd="sng" algn="ctr">
              <a:solidFill>
                <a:srgbClr val="96968C">
                  <a:lumMod val="40000"/>
                  <a:lumOff val="60000"/>
                </a:srgbClr>
              </a:solidFill>
              <a:prstDash val="solid"/>
              <a:headEnd type="none" w="med" len="med"/>
              <a:tailEnd type="triangle" w="med" len="med"/>
            </a:ln>
            <a:effectLst/>
          </p:spPr>
        </p:cxnSp>
      </p:grpSp>
      <p:sp>
        <p:nvSpPr>
          <p:cNvPr id="10" name="Rectangle 11">
            <a:extLst>
              <a:ext uri="{FF2B5EF4-FFF2-40B4-BE49-F238E27FC236}">
                <a16:creationId xmlns:a16="http://schemas.microsoft.com/office/drawing/2014/main" id="{3CEEFC7C-3B8E-4496-8BA7-48D3DEB33792}"/>
              </a:ext>
            </a:extLst>
          </p:cNvPr>
          <p:cNvSpPr>
            <a:spLocks noChangeArrowheads="1"/>
          </p:cNvSpPr>
          <p:nvPr/>
        </p:nvSpPr>
        <p:spPr bwMode="auto">
          <a:xfrm>
            <a:off x="4991147" y="1763712"/>
            <a:ext cx="3179139" cy="1704075"/>
          </a:xfrm>
          <a:prstGeom prst="rect">
            <a:avLst/>
          </a:prstGeom>
          <a:solidFill>
            <a:schemeClr val="accent3"/>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600" b="0" i="0" u="none" strike="noStrike" kern="0" cap="none" spc="0" normalizeH="0" baseline="0" noProof="0" dirty="0">
                <a:ln>
                  <a:noFill/>
                </a:ln>
                <a:solidFill>
                  <a:srgbClr val="FFFFFF"/>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600" b="0" i="0" u="none" strike="noStrike" kern="0" cap="none" spc="0" normalizeH="0" baseline="0" noProof="0" dirty="0">
                <a:ln>
                  <a:noFill/>
                </a:ln>
                <a:solidFill>
                  <a:srgbClr val="FFFFFF"/>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600" b="0" i="0" u="none" strike="noStrike" kern="0" cap="none" spc="0" normalizeH="0" baseline="0" noProof="0" dirty="0">
                <a:ln>
                  <a:noFill/>
                </a:ln>
                <a:solidFill>
                  <a:srgbClr val="FFFFFF"/>
                </a:solidFill>
                <a:effectLst/>
                <a:uLnTx/>
                <a:uFillTx/>
                <a:ea typeface="+mn-ea"/>
                <a:cs typeface="+mn-cs"/>
              </a:rPr>
              <a:t>Text</a:t>
            </a:r>
            <a:endParaRPr kumimoji="0" lang="en-US" sz="1600" b="0" i="0" u="none" strike="noStrike" kern="0" cap="none" spc="0" normalizeH="0" baseline="0" noProof="0" dirty="0">
              <a:ln>
                <a:noFill/>
              </a:ln>
              <a:solidFill>
                <a:srgbClr val="FFFFFF"/>
              </a:solidFill>
              <a:effectLst/>
              <a:uLnTx/>
              <a:uFillTx/>
              <a:ea typeface="+mn-ea"/>
              <a:cs typeface="+mn-cs"/>
            </a:endParaRPr>
          </a:p>
        </p:txBody>
      </p:sp>
      <p:sp>
        <p:nvSpPr>
          <p:cNvPr id="9" name="Rectangle 10">
            <a:extLst>
              <a:ext uri="{FF2B5EF4-FFF2-40B4-BE49-F238E27FC236}">
                <a16:creationId xmlns:a16="http://schemas.microsoft.com/office/drawing/2014/main" id="{DCAE402E-8761-4949-BF15-7801F26E0F82}"/>
              </a:ext>
            </a:extLst>
          </p:cNvPr>
          <p:cNvSpPr>
            <a:spLocks noChangeArrowheads="1"/>
          </p:cNvSpPr>
          <p:nvPr/>
        </p:nvSpPr>
        <p:spPr bwMode="auto">
          <a:xfrm>
            <a:off x="4991147" y="3578300"/>
            <a:ext cx="3179139" cy="676730"/>
          </a:xfrm>
          <a:prstGeom prst="rect">
            <a:avLst/>
          </a:prstGeom>
          <a:solidFill>
            <a:schemeClr val="accent3"/>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mj-lt"/>
                <a:ea typeface="+mn-ea"/>
                <a:cs typeface="+mn-cs"/>
              </a:rPr>
              <a:t>Text</a:t>
            </a:r>
            <a:endParaRPr kumimoji="0" lang="en-US" sz="1600" b="1" i="0" u="none" strike="noStrike" kern="0" cap="none" spc="0" normalizeH="0" baseline="0" noProof="0" dirty="0">
              <a:ln>
                <a:noFill/>
              </a:ln>
              <a:solidFill>
                <a:srgbClr val="FFFFFF"/>
              </a:solidFill>
              <a:effectLst/>
              <a:uLnTx/>
              <a:uFillTx/>
              <a:latin typeface="+mj-lt"/>
              <a:ea typeface="+mn-ea"/>
              <a:cs typeface="+mn-cs"/>
            </a:endParaRPr>
          </a:p>
        </p:txBody>
      </p:sp>
      <p:sp>
        <p:nvSpPr>
          <p:cNvPr id="11" name="Rectangle 12">
            <a:extLst>
              <a:ext uri="{FF2B5EF4-FFF2-40B4-BE49-F238E27FC236}">
                <a16:creationId xmlns:a16="http://schemas.microsoft.com/office/drawing/2014/main" id="{BF8CB7FF-955F-4DBB-BEEA-B50EAE1EAC22}"/>
              </a:ext>
            </a:extLst>
          </p:cNvPr>
          <p:cNvSpPr>
            <a:spLocks noChangeArrowheads="1"/>
          </p:cNvSpPr>
          <p:nvPr/>
        </p:nvSpPr>
        <p:spPr bwMode="auto">
          <a:xfrm>
            <a:off x="4991147" y="4353825"/>
            <a:ext cx="3179139" cy="1704074"/>
          </a:xfrm>
          <a:prstGeom prst="rect">
            <a:avLst/>
          </a:prstGeom>
          <a:solidFill>
            <a:schemeClr val="accent3"/>
          </a:solidFill>
          <a:ln w="6350">
            <a:noFill/>
            <a:miter lim="800000"/>
            <a:headEnd/>
            <a:tailEnd/>
          </a:ln>
        </p:spPr>
        <p:txBody>
          <a:bodyPr lIns="180000" tIns="144000" rIns="72000" bIns="72000"/>
          <a:lstStyle/>
          <a:p>
            <a:pPr marL="0" marR="0" lvl="0" indent="-174625" algn="l" defTabSz="914400" rtl="0" eaLnBrk="0" fontAlgn="auto" latinLnBrk="0" hangingPunct="0">
              <a:lnSpc>
                <a:spcPct val="85000"/>
              </a:lnSpc>
              <a:spcBef>
                <a:spcPts val="100"/>
              </a:spcBef>
              <a:spcAft>
                <a:spcPts val="300"/>
              </a:spcAft>
              <a:buClrTx/>
              <a:buSzTx/>
              <a:buFontTx/>
              <a:buChar char="•"/>
              <a:tabLst/>
              <a:defRPr/>
            </a:pPr>
            <a:r>
              <a:rPr kumimoji="0" lang="en-GB" sz="1600" b="1" i="0" u="none" strike="noStrike" kern="0" cap="none" spc="0" normalizeH="0" baseline="0" noProof="0" dirty="0">
                <a:ln>
                  <a:noFill/>
                </a:ln>
                <a:solidFill>
                  <a:srgbClr val="FFFFFF"/>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600" b="0" i="0" u="none" strike="noStrike" kern="0" cap="none" spc="0" normalizeH="0" baseline="0" noProof="0" dirty="0">
                <a:ln>
                  <a:noFill/>
                </a:ln>
                <a:solidFill>
                  <a:srgbClr val="FFFFFF"/>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600" b="0" i="0" u="none" strike="noStrike" kern="0" cap="none" spc="0" normalizeH="0" baseline="0" noProof="0" dirty="0">
                <a:ln>
                  <a:noFill/>
                </a:ln>
                <a:solidFill>
                  <a:srgbClr val="FFFFFF"/>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600" b="0" i="0" u="none" strike="noStrike" kern="0" cap="none" spc="0" normalizeH="0" baseline="0" noProof="0" dirty="0">
                <a:ln>
                  <a:noFill/>
                </a:ln>
                <a:solidFill>
                  <a:srgbClr val="FFFFFF"/>
                </a:solidFill>
                <a:effectLst/>
                <a:uLnTx/>
                <a:uFillTx/>
                <a:ea typeface="+mn-ea"/>
                <a:cs typeface="+mn-cs"/>
              </a:rPr>
              <a:t>Text</a:t>
            </a:r>
            <a:endParaRPr kumimoji="0" lang="en-US" sz="1600" b="0" i="0" u="none" strike="noStrike" kern="0" cap="none" spc="0" normalizeH="0" baseline="0" noProof="0" dirty="0">
              <a:ln>
                <a:noFill/>
              </a:ln>
              <a:solidFill>
                <a:srgbClr val="FFFFFF"/>
              </a:solidFill>
              <a:effectLst/>
              <a:uLnTx/>
              <a:uFillTx/>
              <a:ea typeface="+mn-ea"/>
              <a:cs typeface="+mn-cs"/>
            </a:endParaRPr>
          </a:p>
        </p:txBody>
      </p:sp>
      <p:grpSp>
        <p:nvGrpSpPr>
          <p:cNvPr id="21" name="Group 20">
            <a:extLst>
              <a:ext uri="{FF2B5EF4-FFF2-40B4-BE49-F238E27FC236}">
                <a16:creationId xmlns:a16="http://schemas.microsoft.com/office/drawing/2014/main" id="{68C246A8-F1AA-4AC4-9618-8D7E11461ECD}"/>
              </a:ext>
              <a:ext uri="{C183D7F6-B498-43B3-948B-1728B52AA6E4}">
                <adec:decorative xmlns:adec="http://schemas.microsoft.com/office/drawing/2017/decorative" val="1"/>
              </a:ext>
            </a:extLst>
          </p:cNvPr>
          <p:cNvGrpSpPr/>
          <p:nvPr/>
        </p:nvGrpSpPr>
        <p:grpSpPr>
          <a:xfrm>
            <a:off x="8170286" y="2039537"/>
            <a:ext cx="577323" cy="1158250"/>
            <a:chOff x="8170286" y="2039537"/>
            <a:chExt cx="577323" cy="1158250"/>
          </a:xfrm>
        </p:grpSpPr>
        <p:cxnSp>
          <p:nvCxnSpPr>
            <p:cNvPr id="14" name="AutoShape 15">
              <a:extLst>
                <a:ext uri="{FF2B5EF4-FFF2-40B4-BE49-F238E27FC236}">
                  <a16:creationId xmlns:a16="http://schemas.microsoft.com/office/drawing/2014/main" id="{CE459567-8516-4ACC-BC33-AF3F49AF12CC}"/>
                </a:ext>
              </a:extLst>
            </p:cNvPr>
            <p:cNvCxnSpPr>
              <a:cxnSpLocks noChangeShapeType="1"/>
              <a:stCxn id="10" idx="3"/>
              <a:endCxn id="5" idx="1"/>
            </p:cNvCxnSpPr>
            <p:nvPr/>
          </p:nvCxnSpPr>
          <p:spPr bwMode="auto">
            <a:xfrm>
              <a:off x="8170286" y="2615750"/>
              <a:ext cx="577323" cy="2912"/>
            </a:xfrm>
            <a:prstGeom prst="straightConnector1">
              <a:avLst/>
            </a:prstGeom>
            <a:noFill/>
            <a:ln w="12700" cap="rnd" cmpd="sng" algn="ctr">
              <a:solidFill>
                <a:srgbClr val="96968C">
                  <a:lumMod val="40000"/>
                  <a:lumOff val="60000"/>
                </a:srgbClr>
              </a:solidFill>
              <a:prstDash val="solid"/>
              <a:headEnd type="none" w="med" len="med"/>
              <a:tailEnd type="triangle" w="med" len="med"/>
            </a:ln>
            <a:effectLst/>
          </p:spPr>
        </p:cxnSp>
        <p:cxnSp>
          <p:nvCxnSpPr>
            <p:cNvPr id="18" name="AutoShape 19">
              <a:extLst>
                <a:ext uri="{FF2B5EF4-FFF2-40B4-BE49-F238E27FC236}">
                  <a16:creationId xmlns:a16="http://schemas.microsoft.com/office/drawing/2014/main" id="{5DC6BE48-1FF2-4DC3-A1CB-EED5548A1491}"/>
                </a:ext>
              </a:extLst>
            </p:cNvPr>
            <p:cNvCxnSpPr>
              <a:cxnSpLocks noChangeShapeType="1"/>
              <a:stCxn id="10" idx="3"/>
              <a:endCxn id="4" idx="1"/>
            </p:cNvCxnSpPr>
            <p:nvPr/>
          </p:nvCxnSpPr>
          <p:spPr bwMode="auto">
            <a:xfrm flipV="1">
              <a:off x="8170286" y="2039537"/>
              <a:ext cx="577323" cy="576213"/>
            </a:xfrm>
            <a:prstGeom prst="bentConnector3">
              <a:avLst>
                <a:gd name="adj1" fmla="val 50000"/>
              </a:avLst>
            </a:prstGeom>
            <a:noFill/>
            <a:ln w="12700" cap="rnd" cmpd="sng" algn="ctr">
              <a:solidFill>
                <a:srgbClr val="96968C">
                  <a:lumMod val="40000"/>
                  <a:lumOff val="60000"/>
                </a:srgbClr>
              </a:solidFill>
              <a:prstDash val="solid"/>
              <a:headEnd type="none" w="med" len="med"/>
              <a:tailEnd type="triangle" w="med" len="med"/>
            </a:ln>
            <a:effectLst/>
          </p:spPr>
        </p:cxnSp>
        <p:cxnSp>
          <p:nvCxnSpPr>
            <p:cNvPr id="19" name="AutoShape 20">
              <a:extLst>
                <a:ext uri="{FF2B5EF4-FFF2-40B4-BE49-F238E27FC236}">
                  <a16:creationId xmlns:a16="http://schemas.microsoft.com/office/drawing/2014/main" id="{36F2690E-B6EA-4B39-80E1-4047A4AFD718}"/>
                </a:ext>
              </a:extLst>
            </p:cNvPr>
            <p:cNvCxnSpPr>
              <a:cxnSpLocks noChangeShapeType="1"/>
              <a:stCxn id="10" idx="3"/>
              <a:endCxn id="8" idx="1"/>
            </p:cNvCxnSpPr>
            <p:nvPr/>
          </p:nvCxnSpPr>
          <p:spPr bwMode="auto">
            <a:xfrm>
              <a:off x="8170286" y="2615750"/>
              <a:ext cx="577323" cy="582037"/>
            </a:xfrm>
            <a:prstGeom prst="bentConnector3">
              <a:avLst>
                <a:gd name="adj1" fmla="val 50000"/>
              </a:avLst>
            </a:prstGeom>
            <a:noFill/>
            <a:ln w="12700" cap="rnd" cmpd="sng" algn="ctr">
              <a:solidFill>
                <a:srgbClr val="96968C">
                  <a:lumMod val="40000"/>
                  <a:lumOff val="60000"/>
                </a:srgbClr>
              </a:solidFill>
              <a:prstDash val="solid"/>
              <a:headEnd type="none" w="med" len="med"/>
              <a:tailEnd type="triangle" w="med" len="med"/>
            </a:ln>
            <a:effectLst/>
          </p:spPr>
        </p:cxnSp>
      </p:grpSp>
      <p:sp>
        <p:nvSpPr>
          <p:cNvPr id="4" name="Rectangle 4">
            <a:extLst>
              <a:ext uri="{FF2B5EF4-FFF2-40B4-BE49-F238E27FC236}">
                <a16:creationId xmlns:a16="http://schemas.microsoft.com/office/drawing/2014/main" id="{DAAE0912-57E5-4785-BA4A-261DB55A5948}"/>
              </a:ext>
            </a:extLst>
          </p:cNvPr>
          <p:cNvSpPr>
            <a:spLocks noChangeArrowheads="1"/>
          </p:cNvSpPr>
          <p:nvPr/>
        </p:nvSpPr>
        <p:spPr bwMode="auto">
          <a:xfrm>
            <a:off x="8747609" y="1769537"/>
            <a:ext cx="3062757" cy="540000"/>
          </a:xfrm>
          <a:prstGeom prst="rect">
            <a:avLst/>
          </a:prstGeom>
          <a:solidFill>
            <a:schemeClr val="accent6"/>
          </a:solidFill>
          <a:ln w="6350">
            <a:noFill/>
            <a:miter lim="800000"/>
            <a:headEnd/>
            <a:tailEnd/>
          </a:ln>
          <a:effectLst/>
        </p:spPr>
        <p:txBody>
          <a:bodyPr lIns="144000" tIns="108000" rIns="108000" bIns="108000" anchor="ctr" anchorCtr="0"/>
          <a:lstStyle/>
          <a:p>
            <a:pPr marL="0" marR="0" lvl="0" indent="0" algn="l" defTabSz="914400" rtl="0" eaLnBrk="0" fontAlgn="auto" latinLnBrk="0" hangingPunct="0">
              <a:lnSpc>
                <a:spcPct val="100000"/>
              </a:lnSpc>
              <a:spcBef>
                <a:spcPts val="0"/>
              </a:spcBef>
              <a:spcAft>
                <a:spcPts val="0"/>
              </a:spcAft>
              <a:buClr>
                <a:srgbClr val="000000"/>
              </a:buClr>
              <a:buSzTx/>
              <a:buFontTx/>
              <a:buNone/>
              <a:tabLst/>
              <a:defRPr/>
            </a:pPr>
            <a:r>
              <a:rPr kumimoji="0" lang="en-GB" sz="1600" b="0" i="0" u="none" strike="noStrike" kern="0" cap="none" spc="0" normalizeH="0" baseline="0" noProof="0" dirty="0">
                <a:ln>
                  <a:noFill/>
                </a:ln>
                <a:solidFill>
                  <a:schemeClr val="accent3"/>
                </a:solidFill>
                <a:effectLst/>
                <a:uLnTx/>
                <a:uFillTx/>
                <a:ea typeface="+mn-ea"/>
                <a:cs typeface="+mn-cs"/>
              </a:rPr>
              <a:t>Text</a:t>
            </a:r>
            <a:endParaRPr kumimoji="0" lang="en-US" sz="1600" b="0" i="0" u="none" strike="noStrike" kern="0" cap="none" spc="0" normalizeH="0" baseline="0" noProof="0" dirty="0">
              <a:ln>
                <a:noFill/>
              </a:ln>
              <a:solidFill>
                <a:schemeClr val="accent3"/>
              </a:solidFill>
              <a:effectLst/>
              <a:uLnTx/>
              <a:uFillTx/>
              <a:ea typeface="+mn-ea"/>
              <a:cs typeface="+mn-cs"/>
            </a:endParaRPr>
          </a:p>
        </p:txBody>
      </p:sp>
      <p:sp>
        <p:nvSpPr>
          <p:cNvPr id="5" name="Rectangle 5">
            <a:extLst>
              <a:ext uri="{FF2B5EF4-FFF2-40B4-BE49-F238E27FC236}">
                <a16:creationId xmlns:a16="http://schemas.microsoft.com/office/drawing/2014/main" id="{E8546727-7684-4183-AE33-E28F16A9D33E}"/>
              </a:ext>
            </a:extLst>
          </p:cNvPr>
          <p:cNvSpPr>
            <a:spLocks noChangeArrowheads="1"/>
          </p:cNvSpPr>
          <p:nvPr/>
        </p:nvSpPr>
        <p:spPr bwMode="auto">
          <a:xfrm>
            <a:off x="8747609" y="2348662"/>
            <a:ext cx="3062757" cy="540000"/>
          </a:xfrm>
          <a:prstGeom prst="rect">
            <a:avLst/>
          </a:prstGeom>
          <a:solidFill>
            <a:schemeClr val="accent6"/>
          </a:solidFill>
          <a:ln w="6350">
            <a:noFill/>
            <a:miter lim="800000"/>
            <a:headEnd/>
            <a:tailEnd/>
          </a:ln>
          <a:effectLst/>
        </p:spPr>
        <p:txBody>
          <a:bodyPr lIns="144000" tIns="108000" rIns="108000" bIns="108000" anchor="ctr" anchorCtr="0"/>
          <a:lstStyle/>
          <a:p>
            <a:pPr marL="0" marR="0" lvl="0" indent="0" algn="l" defTabSz="914400" rtl="0" eaLnBrk="0" fontAlgn="auto" latinLnBrk="0" hangingPunct="0">
              <a:lnSpc>
                <a:spcPct val="100000"/>
              </a:lnSpc>
              <a:spcBef>
                <a:spcPts val="0"/>
              </a:spcBef>
              <a:spcAft>
                <a:spcPts val="0"/>
              </a:spcAft>
              <a:buClr>
                <a:srgbClr val="000000"/>
              </a:buClr>
              <a:buSzTx/>
              <a:buFontTx/>
              <a:buNone/>
              <a:tabLst/>
              <a:defRPr/>
            </a:pPr>
            <a:r>
              <a:rPr kumimoji="0" lang="en-GB" sz="1600" b="0" i="0" u="none" strike="noStrike" kern="0" cap="none" spc="0" normalizeH="0" baseline="0" noProof="0" dirty="0">
                <a:ln>
                  <a:noFill/>
                </a:ln>
                <a:solidFill>
                  <a:schemeClr val="accent3"/>
                </a:solidFill>
                <a:effectLst/>
                <a:uLnTx/>
                <a:uFillTx/>
                <a:ea typeface="+mn-ea"/>
                <a:cs typeface="+mn-cs"/>
              </a:rPr>
              <a:t>Text</a:t>
            </a:r>
            <a:endParaRPr kumimoji="0" lang="en-US" sz="1600" b="0" i="0" u="none" strike="noStrike" kern="0" cap="none" spc="0" normalizeH="0" baseline="0" noProof="0" dirty="0">
              <a:ln>
                <a:noFill/>
              </a:ln>
              <a:solidFill>
                <a:schemeClr val="accent3"/>
              </a:solidFill>
              <a:effectLst/>
              <a:uLnTx/>
              <a:uFillTx/>
              <a:ea typeface="+mn-ea"/>
              <a:cs typeface="+mn-cs"/>
            </a:endParaRPr>
          </a:p>
        </p:txBody>
      </p:sp>
      <p:sp>
        <p:nvSpPr>
          <p:cNvPr id="8" name="Rectangle 8">
            <a:extLst>
              <a:ext uri="{FF2B5EF4-FFF2-40B4-BE49-F238E27FC236}">
                <a16:creationId xmlns:a16="http://schemas.microsoft.com/office/drawing/2014/main" id="{E91BC69B-528C-4222-BCE3-DFE6BB3DF622}"/>
              </a:ext>
            </a:extLst>
          </p:cNvPr>
          <p:cNvSpPr>
            <a:spLocks noChangeArrowheads="1"/>
          </p:cNvSpPr>
          <p:nvPr/>
        </p:nvSpPr>
        <p:spPr bwMode="auto">
          <a:xfrm>
            <a:off x="8747609" y="2927787"/>
            <a:ext cx="3062757" cy="540000"/>
          </a:xfrm>
          <a:prstGeom prst="rect">
            <a:avLst/>
          </a:prstGeom>
          <a:solidFill>
            <a:schemeClr val="accent6"/>
          </a:solidFill>
          <a:ln w="6350">
            <a:noFill/>
            <a:miter lim="800000"/>
            <a:headEnd/>
            <a:tailEnd/>
          </a:ln>
          <a:effectLst/>
        </p:spPr>
        <p:txBody>
          <a:bodyPr lIns="144000" tIns="108000" rIns="108000" bIns="108000" anchor="ctr" anchorCtr="0"/>
          <a:lstStyle/>
          <a:p>
            <a:pPr marL="0" marR="0" lvl="0" indent="0" algn="l" defTabSz="914400" rtl="0" eaLnBrk="0" fontAlgn="auto" latinLnBrk="0" hangingPunct="0">
              <a:lnSpc>
                <a:spcPct val="100000"/>
              </a:lnSpc>
              <a:spcBef>
                <a:spcPts val="0"/>
              </a:spcBef>
              <a:spcAft>
                <a:spcPts val="0"/>
              </a:spcAft>
              <a:buClr>
                <a:srgbClr val="000000"/>
              </a:buClr>
              <a:buSzTx/>
              <a:buFontTx/>
              <a:buNone/>
              <a:tabLst/>
              <a:defRPr/>
            </a:pPr>
            <a:r>
              <a:rPr kumimoji="0" lang="en-GB" sz="1600" b="0" i="0" u="none" strike="noStrike" kern="0" cap="none" spc="0" normalizeH="0" baseline="0" noProof="0" dirty="0">
                <a:ln>
                  <a:noFill/>
                </a:ln>
                <a:solidFill>
                  <a:schemeClr val="accent3"/>
                </a:solidFill>
                <a:effectLst/>
                <a:uLnTx/>
                <a:uFillTx/>
                <a:ea typeface="+mn-ea"/>
                <a:cs typeface="+mn-cs"/>
              </a:rPr>
              <a:t>Text</a:t>
            </a:r>
            <a:endParaRPr kumimoji="0" lang="en-US" sz="1600" b="0" i="0" u="none" strike="noStrike" kern="0" cap="none" spc="0" normalizeH="0" baseline="0" noProof="0" dirty="0">
              <a:ln>
                <a:noFill/>
              </a:ln>
              <a:solidFill>
                <a:schemeClr val="accent3"/>
              </a:solidFill>
              <a:effectLst/>
              <a:uLnTx/>
              <a:uFillTx/>
              <a:ea typeface="+mn-ea"/>
              <a:cs typeface="+mn-cs"/>
            </a:endParaRPr>
          </a:p>
        </p:txBody>
      </p:sp>
      <p:cxnSp>
        <p:nvCxnSpPr>
          <p:cNvPr id="15" name="AutoShape 16">
            <a:extLst>
              <a:ext uri="{FF2B5EF4-FFF2-40B4-BE49-F238E27FC236}">
                <a16:creationId xmlns:a16="http://schemas.microsoft.com/office/drawing/2014/main" id="{EA61DF09-A200-42B7-8BE3-E4712D90D118}"/>
              </a:ext>
              <a:ext uri="{C183D7F6-B498-43B3-948B-1728B52AA6E4}">
                <adec:decorative xmlns:adec="http://schemas.microsoft.com/office/drawing/2017/decorative" val="1"/>
              </a:ext>
            </a:extLst>
          </p:cNvPr>
          <p:cNvCxnSpPr>
            <a:cxnSpLocks noChangeShapeType="1"/>
            <a:stCxn id="9" idx="3"/>
            <a:endCxn id="13" idx="1"/>
          </p:cNvCxnSpPr>
          <p:nvPr/>
        </p:nvCxnSpPr>
        <p:spPr bwMode="auto">
          <a:xfrm>
            <a:off x="8170286" y="3916665"/>
            <a:ext cx="577323" cy="0"/>
          </a:xfrm>
          <a:prstGeom prst="straightConnector1">
            <a:avLst/>
          </a:prstGeom>
          <a:noFill/>
          <a:ln w="12700" cap="rnd" cmpd="sng" algn="ctr">
            <a:solidFill>
              <a:srgbClr val="96968C">
                <a:lumMod val="40000"/>
                <a:lumOff val="60000"/>
              </a:srgbClr>
            </a:solidFill>
            <a:prstDash val="solid"/>
            <a:headEnd type="none" w="med" len="med"/>
            <a:tailEnd type="triangle" w="med" len="med"/>
          </a:ln>
          <a:effectLst/>
        </p:spPr>
      </p:cxnSp>
      <p:sp>
        <p:nvSpPr>
          <p:cNvPr id="13" name="Rectangle 14">
            <a:extLst>
              <a:ext uri="{FF2B5EF4-FFF2-40B4-BE49-F238E27FC236}">
                <a16:creationId xmlns:a16="http://schemas.microsoft.com/office/drawing/2014/main" id="{5156A83B-3060-4D15-B75B-47770A28989A}"/>
              </a:ext>
            </a:extLst>
          </p:cNvPr>
          <p:cNvSpPr>
            <a:spLocks noChangeArrowheads="1"/>
          </p:cNvSpPr>
          <p:nvPr/>
        </p:nvSpPr>
        <p:spPr bwMode="auto">
          <a:xfrm>
            <a:off x="8747609" y="3646665"/>
            <a:ext cx="3062757" cy="540000"/>
          </a:xfrm>
          <a:prstGeom prst="rect">
            <a:avLst/>
          </a:prstGeom>
          <a:solidFill>
            <a:schemeClr val="accent6"/>
          </a:solidFill>
          <a:ln w="6350">
            <a:noFill/>
            <a:miter lim="800000"/>
            <a:headEnd/>
            <a:tailEnd/>
          </a:ln>
          <a:effectLst/>
        </p:spPr>
        <p:txBody>
          <a:bodyPr lIns="144000" tIns="108000" rIns="108000" bIns="108000" anchor="ctr" anchorCtr="0"/>
          <a:lstStyle/>
          <a:p>
            <a:pPr marL="0" marR="0" lvl="0" indent="0" algn="l" defTabSz="914400" rtl="0" eaLnBrk="0" fontAlgn="auto" latinLnBrk="0" hangingPunct="0">
              <a:lnSpc>
                <a:spcPct val="100000"/>
              </a:lnSpc>
              <a:spcBef>
                <a:spcPts val="0"/>
              </a:spcBef>
              <a:spcAft>
                <a:spcPts val="0"/>
              </a:spcAft>
              <a:buClr>
                <a:srgbClr val="000000"/>
              </a:buClr>
              <a:buSzTx/>
              <a:buFontTx/>
              <a:buNone/>
              <a:tabLst/>
              <a:defRPr/>
            </a:pPr>
            <a:r>
              <a:rPr kumimoji="0" lang="en-GB" sz="1600" b="0" i="0" u="none" strike="noStrike" kern="0" cap="none" spc="0" normalizeH="0" baseline="0" noProof="0" dirty="0">
                <a:ln>
                  <a:noFill/>
                </a:ln>
                <a:solidFill>
                  <a:schemeClr val="accent3"/>
                </a:solidFill>
                <a:effectLst/>
                <a:uLnTx/>
                <a:uFillTx/>
                <a:ea typeface="+mn-ea"/>
                <a:cs typeface="+mn-cs"/>
              </a:rPr>
              <a:t>Text</a:t>
            </a:r>
            <a:endParaRPr kumimoji="0" lang="en-US" sz="1600" b="0" i="0" u="none" strike="noStrike" kern="0" cap="none" spc="0" normalizeH="0" baseline="0" noProof="0" dirty="0">
              <a:ln>
                <a:noFill/>
              </a:ln>
              <a:solidFill>
                <a:schemeClr val="accent3"/>
              </a:solidFill>
              <a:effectLst/>
              <a:uLnTx/>
              <a:uFillTx/>
              <a:ea typeface="+mn-ea"/>
              <a:cs typeface="+mn-cs"/>
            </a:endParaRPr>
          </a:p>
        </p:txBody>
      </p:sp>
      <p:grpSp>
        <p:nvGrpSpPr>
          <p:cNvPr id="27" name="Group 26">
            <a:extLst>
              <a:ext uri="{FF2B5EF4-FFF2-40B4-BE49-F238E27FC236}">
                <a16:creationId xmlns:a16="http://schemas.microsoft.com/office/drawing/2014/main" id="{3AAB83AE-51D6-4CFD-98D2-F317406BD5A6}"/>
              </a:ext>
              <a:ext uri="{C183D7F6-B498-43B3-948B-1728B52AA6E4}">
                <adec:decorative xmlns:adec="http://schemas.microsoft.com/office/drawing/2017/decorative" val="1"/>
              </a:ext>
            </a:extLst>
          </p:cNvPr>
          <p:cNvGrpSpPr/>
          <p:nvPr/>
        </p:nvGrpSpPr>
        <p:grpSpPr>
          <a:xfrm>
            <a:off x="8170286" y="4827702"/>
            <a:ext cx="577323" cy="816056"/>
            <a:chOff x="8170286" y="4827702"/>
            <a:chExt cx="577323" cy="816056"/>
          </a:xfrm>
        </p:grpSpPr>
        <p:cxnSp>
          <p:nvCxnSpPr>
            <p:cNvPr id="20" name="AutoShape 21">
              <a:extLst>
                <a:ext uri="{FF2B5EF4-FFF2-40B4-BE49-F238E27FC236}">
                  <a16:creationId xmlns:a16="http://schemas.microsoft.com/office/drawing/2014/main" id="{2B311159-9ED6-4218-A893-027E7BD57730}"/>
                </a:ext>
              </a:extLst>
            </p:cNvPr>
            <p:cNvCxnSpPr>
              <a:cxnSpLocks noChangeShapeType="1"/>
              <a:stCxn id="11" idx="3"/>
              <a:endCxn id="7" idx="1"/>
            </p:cNvCxnSpPr>
            <p:nvPr/>
          </p:nvCxnSpPr>
          <p:spPr bwMode="auto">
            <a:xfrm flipV="1">
              <a:off x="8170286" y="4827702"/>
              <a:ext cx="577323" cy="378160"/>
            </a:xfrm>
            <a:prstGeom prst="bentConnector3">
              <a:avLst>
                <a:gd name="adj1" fmla="val 50000"/>
              </a:avLst>
            </a:prstGeom>
            <a:noFill/>
            <a:ln w="12700" cap="rnd" cmpd="sng" algn="ctr">
              <a:solidFill>
                <a:srgbClr val="96968C">
                  <a:lumMod val="40000"/>
                  <a:lumOff val="60000"/>
                </a:srgbClr>
              </a:solidFill>
              <a:prstDash val="solid"/>
              <a:headEnd type="none" w="med" len="med"/>
              <a:tailEnd type="triangle" w="med" len="med"/>
            </a:ln>
            <a:effectLst/>
          </p:spPr>
        </p:cxnSp>
        <p:cxnSp>
          <p:nvCxnSpPr>
            <p:cNvPr id="22" name="AutoShape 22">
              <a:extLst>
                <a:ext uri="{FF2B5EF4-FFF2-40B4-BE49-F238E27FC236}">
                  <a16:creationId xmlns:a16="http://schemas.microsoft.com/office/drawing/2014/main" id="{56234DAF-3926-42D1-8C56-D0F84F473154}"/>
                </a:ext>
              </a:extLst>
            </p:cNvPr>
            <p:cNvCxnSpPr>
              <a:cxnSpLocks noChangeShapeType="1"/>
              <a:stCxn id="11" idx="3"/>
              <a:endCxn id="6" idx="1"/>
            </p:cNvCxnSpPr>
            <p:nvPr/>
          </p:nvCxnSpPr>
          <p:spPr bwMode="auto">
            <a:xfrm>
              <a:off x="8170286" y="5205862"/>
              <a:ext cx="577323" cy="437896"/>
            </a:xfrm>
            <a:prstGeom prst="bentConnector3">
              <a:avLst>
                <a:gd name="adj1" fmla="val 50000"/>
              </a:avLst>
            </a:prstGeom>
            <a:noFill/>
            <a:ln w="12700" cap="rnd" cmpd="sng" algn="ctr">
              <a:solidFill>
                <a:srgbClr val="96968C">
                  <a:lumMod val="40000"/>
                  <a:lumOff val="60000"/>
                </a:srgbClr>
              </a:solidFill>
              <a:prstDash val="solid"/>
              <a:headEnd type="none" w="med" len="med"/>
              <a:tailEnd type="triangle" w="med" len="med"/>
            </a:ln>
            <a:effectLst/>
          </p:spPr>
        </p:cxnSp>
      </p:grpSp>
      <p:sp>
        <p:nvSpPr>
          <p:cNvPr id="7" name="Rectangle 7">
            <a:extLst>
              <a:ext uri="{FF2B5EF4-FFF2-40B4-BE49-F238E27FC236}">
                <a16:creationId xmlns:a16="http://schemas.microsoft.com/office/drawing/2014/main" id="{858DBB03-63F7-4738-B2A9-E6EADEE19FE9}"/>
              </a:ext>
            </a:extLst>
          </p:cNvPr>
          <p:cNvSpPr>
            <a:spLocks noChangeArrowheads="1"/>
          </p:cNvSpPr>
          <p:nvPr/>
        </p:nvSpPr>
        <p:spPr bwMode="auto">
          <a:xfrm>
            <a:off x="8747609" y="4557702"/>
            <a:ext cx="3062757" cy="540000"/>
          </a:xfrm>
          <a:prstGeom prst="rect">
            <a:avLst/>
          </a:prstGeom>
          <a:solidFill>
            <a:schemeClr val="accent6"/>
          </a:solidFill>
          <a:ln w="6350">
            <a:noFill/>
            <a:miter lim="800000"/>
            <a:headEnd/>
            <a:tailEnd/>
          </a:ln>
          <a:effectLst/>
        </p:spPr>
        <p:txBody>
          <a:bodyPr lIns="144000" tIns="108000" rIns="108000" bIns="108000" anchor="ctr" anchorCtr="0"/>
          <a:lstStyle/>
          <a:p>
            <a:pPr marL="0" marR="0" lvl="0" indent="0" algn="l" defTabSz="914400" rtl="0" eaLnBrk="0" fontAlgn="auto" latinLnBrk="0" hangingPunct="0">
              <a:lnSpc>
                <a:spcPct val="100000"/>
              </a:lnSpc>
              <a:spcBef>
                <a:spcPts val="0"/>
              </a:spcBef>
              <a:spcAft>
                <a:spcPts val="0"/>
              </a:spcAft>
              <a:buClr>
                <a:srgbClr val="000000"/>
              </a:buClr>
              <a:buSzTx/>
              <a:buFontTx/>
              <a:buNone/>
              <a:tabLst/>
              <a:defRPr/>
            </a:pPr>
            <a:r>
              <a:rPr kumimoji="0" lang="en-GB" sz="1600" b="0" i="0" u="none" strike="noStrike" kern="0" cap="none" spc="0" normalizeH="0" baseline="0" noProof="0" dirty="0">
                <a:ln>
                  <a:noFill/>
                </a:ln>
                <a:solidFill>
                  <a:schemeClr val="accent3"/>
                </a:solidFill>
                <a:effectLst/>
                <a:uLnTx/>
                <a:uFillTx/>
                <a:ea typeface="+mn-ea"/>
                <a:cs typeface="+mn-cs"/>
              </a:rPr>
              <a:t>Text</a:t>
            </a:r>
            <a:endParaRPr kumimoji="0" lang="en-US" sz="1600" b="0" i="0" u="none" strike="noStrike" kern="0" cap="none" spc="0" normalizeH="0" baseline="0" noProof="0" dirty="0">
              <a:ln>
                <a:noFill/>
              </a:ln>
              <a:solidFill>
                <a:schemeClr val="accent3"/>
              </a:solidFill>
              <a:effectLst/>
              <a:uLnTx/>
              <a:uFillTx/>
              <a:ea typeface="+mn-ea"/>
              <a:cs typeface="+mn-cs"/>
            </a:endParaRPr>
          </a:p>
        </p:txBody>
      </p:sp>
      <p:sp>
        <p:nvSpPr>
          <p:cNvPr id="6" name="Rectangle 6">
            <a:extLst>
              <a:ext uri="{FF2B5EF4-FFF2-40B4-BE49-F238E27FC236}">
                <a16:creationId xmlns:a16="http://schemas.microsoft.com/office/drawing/2014/main" id="{0D39A5A5-80B8-440C-9A35-F0806A73A68A}"/>
              </a:ext>
            </a:extLst>
          </p:cNvPr>
          <p:cNvSpPr>
            <a:spLocks noChangeArrowheads="1"/>
          </p:cNvSpPr>
          <p:nvPr/>
        </p:nvSpPr>
        <p:spPr bwMode="auto">
          <a:xfrm>
            <a:off x="8747609" y="5373758"/>
            <a:ext cx="3062757" cy="540000"/>
          </a:xfrm>
          <a:prstGeom prst="rect">
            <a:avLst/>
          </a:prstGeom>
          <a:solidFill>
            <a:schemeClr val="accent6"/>
          </a:solidFill>
          <a:ln w="6350">
            <a:noFill/>
            <a:miter lim="800000"/>
            <a:headEnd/>
            <a:tailEnd/>
          </a:ln>
          <a:effectLst/>
        </p:spPr>
        <p:txBody>
          <a:bodyPr lIns="144000" tIns="108000" rIns="108000" bIns="108000" anchor="ctr" anchorCtr="0"/>
          <a:lstStyle/>
          <a:p>
            <a:pPr marL="0" marR="0" lvl="0" indent="0" algn="l" defTabSz="914400" rtl="0" eaLnBrk="0" fontAlgn="auto" latinLnBrk="0" hangingPunct="0">
              <a:lnSpc>
                <a:spcPct val="100000"/>
              </a:lnSpc>
              <a:spcBef>
                <a:spcPts val="0"/>
              </a:spcBef>
              <a:spcAft>
                <a:spcPts val="0"/>
              </a:spcAft>
              <a:buClr>
                <a:srgbClr val="000000"/>
              </a:buClr>
              <a:buSzTx/>
              <a:buFontTx/>
              <a:buNone/>
              <a:tabLst/>
              <a:defRPr/>
            </a:pPr>
            <a:r>
              <a:rPr kumimoji="0" lang="en-GB" sz="1600" b="0" i="0" u="none" strike="noStrike" kern="0" cap="none" spc="0" normalizeH="0" baseline="0" noProof="0" dirty="0">
                <a:ln>
                  <a:noFill/>
                </a:ln>
                <a:solidFill>
                  <a:schemeClr val="accent3"/>
                </a:solidFill>
                <a:effectLst/>
                <a:uLnTx/>
                <a:uFillTx/>
                <a:ea typeface="+mn-ea"/>
                <a:cs typeface="+mn-cs"/>
              </a:rPr>
              <a:t>Text</a:t>
            </a:r>
            <a:endParaRPr kumimoji="0" lang="en-US" sz="1600" b="0" i="0" u="none" strike="noStrike" kern="0" cap="none" spc="0" normalizeH="0" baseline="0" noProof="0" dirty="0">
              <a:ln>
                <a:noFill/>
              </a:ln>
              <a:solidFill>
                <a:schemeClr val="accent3"/>
              </a:solidFill>
              <a:effectLst/>
              <a:uLnTx/>
              <a:uFillTx/>
              <a:ea typeface="+mn-ea"/>
              <a:cs typeface="+mn-cs"/>
            </a:endParaRPr>
          </a:p>
        </p:txBody>
      </p:sp>
      <p:sp>
        <p:nvSpPr>
          <p:cNvPr id="25" name="Footer Placeholder 24">
            <a:extLst>
              <a:ext uri="{FF2B5EF4-FFF2-40B4-BE49-F238E27FC236}">
                <a16:creationId xmlns:a16="http://schemas.microsoft.com/office/drawing/2014/main" id="{65FED8AA-C19E-49E0-807D-78F1A635AFB8}"/>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6" name="Slide Number Placeholder 25">
            <a:extLst>
              <a:ext uri="{FF2B5EF4-FFF2-40B4-BE49-F238E27FC236}">
                <a16:creationId xmlns:a16="http://schemas.microsoft.com/office/drawing/2014/main" id="{3DC7D9EF-4B27-46DB-A12B-50645DD7F9F6}"/>
              </a:ext>
            </a:extLst>
          </p:cNvPr>
          <p:cNvSpPr>
            <a:spLocks noGrp="1"/>
          </p:cNvSpPr>
          <p:nvPr>
            <p:ph type="sldNum" sz="quarter" idx="10"/>
          </p:nvPr>
        </p:nvSpPr>
        <p:spPr/>
        <p:txBody>
          <a:bodyPr/>
          <a:lstStyle/>
          <a:p>
            <a:fld id="{1F90F471-3972-4120-B8B3-0237DE626C35}" type="slidenum">
              <a:rPr lang="en-US" smtClean="0"/>
              <a:pPr/>
              <a:t>293</a:t>
            </a:fld>
            <a:endParaRPr lang="en-US" dirty="0"/>
          </a:p>
        </p:txBody>
      </p:sp>
    </p:spTree>
    <p:extLst>
      <p:ext uri="{BB962C8B-B14F-4D97-AF65-F5344CB8AC3E}">
        <p14:creationId xmlns:p14="http://schemas.microsoft.com/office/powerpoint/2010/main" val="2828351946"/>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Comment Text</a:t>
            </a:r>
          </a:p>
        </p:txBody>
      </p:sp>
      <p:sp>
        <p:nvSpPr>
          <p:cNvPr id="33" name="Rectangle 20">
            <a:extLst>
              <a:ext uri="{FF2B5EF4-FFF2-40B4-BE49-F238E27FC236}">
                <a16:creationId xmlns:a16="http://schemas.microsoft.com/office/drawing/2014/main" id="{33702B2D-44E3-41A8-9387-F7008FDB0BC2}"/>
              </a:ext>
            </a:extLst>
          </p:cNvPr>
          <p:cNvSpPr>
            <a:spLocks noChangeArrowheads="1"/>
          </p:cNvSpPr>
          <p:nvPr/>
        </p:nvSpPr>
        <p:spPr bwMode="auto">
          <a:xfrm>
            <a:off x="346286" y="4133850"/>
            <a:ext cx="1690331" cy="558800"/>
          </a:xfrm>
          <a:prstGeom prst="rect">
            <a:avLst/>
          </a:prstGeom>
          <a:solidFill>
            <a:schemeClr val="accent1"/>
          </a:solidFill>
          <a:ln w="6350">
            <a:noFill/>
            <a:miter lim="800000"/>
            <a:headEnd/>
            <a:tailEnd/>
          </a:ln>
          <a:effectLst/>
        </p:spPr>
        <p:txBody>
          <a:bodyPr lIns="144000" tIns="72000" rIns="72000" bIns="72000" anchor="ctr"/>
          <a:lstStyle/>
          <a:p>
            <a:pPr algn="l" eaLnBrk="0" hangingPunct="0"/>
            <a:r>
              <a:rPr lang="en-GB" sz="1400" b="1" dirty="0">
                <a:solidFill>
                  <a:schemeClr val="bg1"/>
                </a:solidFill>
              </a:rPr>
              <a:t>Economic value</a:t>
            </a:r>
          </a:p>
        </p:txBody>
      </p:sp>
      <p:grpSp>
        <p:nvGrpSpPr>
          <p:cNvPr id="3" name="Group 2">
            <a:extLst>
              <a:ext uri="{FF2B5EF4-FFF2-40B4-BE49-F238E27FC236}">
                <a16:creationId xmlns:a16="http://schemas.microsoft.com/office/drawing/2014/main" id="{A5E54D68-89C5-4B2E-9B63-890D09EFBD90}"/>
              </a:ext>
              <a:ext uri="{C183D7F6-B498-43B3-948B-1728B52AA6E4}">
                <adec:decorative xmlns:adec="http://schemas.microsoft.com/office/drawing/2017/decorative" val="1"/>
              </a:ext>
            </a:extLst>
          </p:cNvPr>
          <p:cNvGrpSpPr/>
          <p:nvPr/>
        </p:nvGrpSpPr>
        <p:grpSpPr>
          <a:xfrm>
            <a:off x="2036617" y="2592388"/>
            <a:ext cx="2781069" cy="3186112"/>
            <a:chOff x="2036617" y="2592388"/>
            <a:chExt cx="2781069" cy="3186112"/>
          </a:xfrm>
        </p:grpSpPr>
        <p:cxnSp>
          <p:nvCxnSpPr>
            <p:cNvPr id="34" name="AutoShape 21">
              <a:extLst>
                <a:ext uri="{FF2B5EF4-FFF2-40B4-BE49-F238E27FC236}">
                  <a16:creationId xmlns:a16="http://schemas.microsoft.com/office/drawing/2014/main" id="{530D3205-6142-431E-90EB-1C337200524E}"/>
                </a:ext>
              </a:extLst>
            </p:cNvPr>
            <p:cNvCxnSpPr>
              <a:cxnSpLocks noChangeShapeType="1"/>
              <a:stCxn id="33" idx="3"/>
              <a:endCxn id="48" idx="1"/>
            </p:cNvCxnSpPr>
            <p:nvPr/>
          </p:nvCxnSpPr>
          <p:spPr bwMode="auto">
            <a:xfrm>
              <a:off x="2036617" y="4413250"/>
              <a:ext cx="852055" cy="0"/>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5" name="AutoShape 22">
              <a:extLst>
                <a:ext uri="{FF2B5EF4-FFF2-40B4-BE49-F238E27FC236}">
                  <a16:creationId xmlns:a16="http://schemas.microsoft.com/office/drawing/2014/main" id="{73ACF7E2-05DE-4C46-B52D-2C7EBAD08E0C}"/>
                </a:ext>
              </a:extLst>
            </p:cNvPr>
            <p:cNvCxnSpPr>
              <a:cxnSpLocks noChangeShapeType="1"/>
              <a:stCxn id="48" idx="1"/>
              <a:endCxn id="32" idx="1"/>
            </p:cNvCxnSpPr>
            <p:nvPr/>
          </p:nvCxnSpPr>
          <p:spPr bwMode="auto">
            <a:xfrm rot="10800000">
              <a:off x="2888672" y="2592388"/>
              <a:ext cx="12700" cy="1820863"/>
            </a:xfrm>
            <a:prstGeom prst="bentConnector3">
              <a:avLst>
                <a:gd name="adj1" fmla="val 286363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0" name="AutoShape 27">
              <a:extLst>
                <a:ext uri="{FF2B5EF4-FFF2-40B4-BE49-F238E27FC236}">
                  <a16:creationId xmlns:a16="http://schemas.microsoft.com/office/drawing/2014/main" id="{09D6A03A-9854-4FEE-ACC3-A559161A39F8}"/>
                </a:ext>
              </a:extLst>
            </p:cNvPr>
            <p:cNvCxnSpPr>
              <a:cxnSpLocks noChangeShapeType="1"/>
              <a:stCxn id="48" idx="1"/>
              <a:endCxn id="49" idx="1"/>
            </p:cNvCxnSpPr>
            <p:nvPr/>
          </p:nvCxnSpPr>
          <p:spPr bwMode="auto">
            <a:xfrm rot="10800000" flipH="1" flipV="1">
              <a:off x="2888671" y="4413250"/>
              <a:ext cx="1929015" cy="1365250"/>
            </a:xfrm>
            <a:prstGeom prst="bentConnector3">
              <a:avLst>
                <a:gd name="adj1" fmla="val -18315"/>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32" name="Rectangle 19">
            <a:extLst>
              <a:ext uri="{FF2B5EF4-FFF2-40B4-BE49-F238E27FC236}">
                <a16:creationId xmlns:a16="http://schemas.microsoft.com/office/drawing/2014/main" id="{81DB67F9-AF15-4C3C-A886-2F737A5F7188}"/>
              </a:ext>
            </a:extLst>
          </p:cNvPr>
          <p:cNvSpPr>
            <a:spLocks noChangeArrowheads="1"/>
          </p:cNvSpPr>
          <p:nvPr/>
        </p:nvSpPr>
        <p:spPr bwMode="auto">
          <a:xfrm>
            <a:off x="2888672" y="2312987"/>
            <a:ext cx="1211461" cy="558800"/>
          </a:xfrm>
          <a:prstGeom prst="rect">
            <a:avLst/>
          </a:prstGeom>
          <a:solidFill>
            <a:schemeClr val="accent2"/>
          </a:solidFill>
          <a:ln w="6350">
            <a:noFill/>
            <a:miter lim="800000"/>
            <a:headEnd/>
            <a:tailEnd/>
          </a:ln>
          <a:effectLst/>
        </p:spPr>
        <p:txBody>
          <a:bodyPr lIns="144000" tIns="72000" rIns="72000" bIns="72000" anchor="ctr"/>
          <a:lstStyle/>
          <a:p>
            <a:pPr algn="l" eaLnBrk="0" hangingPunct="0"/>
            <a:r>
              <a:rPr lang="en-GB" sz="1400" b="1" dirty="0">
                <a:solidFill>
                  <a:schemeClr val="bg1"/>
                </a:solidFill>
              </a:rPr>
              <a:t>Revenue</a:t>
            </a:r>
          </a:p>
        </p:txBody>
      </p:sp>
      <p:grpSp>
        <p:nvGrpSpPr>
          <p:cNvPr id="6" name="Group 5">
            <a:extLst>
              <a:ext uri="{FF2B5EF4-FFF2-40B4-BE49-F238E27FC236}">
                <a16:creationId xmlns:a16="http://schemas.microsoft.com/office/drawing/2014/main" id="{BB10CF89-C2ED-447B-9F50-EA071DAEB42D}"/>
              </a:ext>
              <a:ext uri="{C183D7F6-B498-43B3-948B-1728B52AA6E4}">
                <adec:decorative xmlns:adec="http://schemas.microsoft.com/office/drawing/2017/decorative" val="1"/>
              </a:ext>
            </a:extLst>
          </p:cNvPr>
          <p:cNvGrpSpPr/>
          <p:nvPr/>
        </p:nvGrpSpPr>
        <p:grpSpPr>
          <a:xfrm>
            <a:off x="4100133" y="2136775"/>
            <a:ext cx="717554" cy="909637"/>
            <a:chOff x="4100133" y="2136775"/>
            <a:chExt cx="717554" cy="909637"/>
          </a:xfrm>
        </p:grpSpPr>
        <p:cxnSp>
          <p:nvCxnSpPr>
            <p:cNvPr id="38" name="AutoShape 25">
              <a:extLst>
                <a:ext uri="{FF2B5EF4-FFF2-40B4-BE49-F238E27FC236}">
                  <a16:creationId xmlns:a16="http://schemas.microsoft.com/office/drawing/2014/main" id="{0EECBA2B-24FB-48C3-9E0A-E90BAED4E104}"/>
                </a:ext>
              </a:extLst>
            </p:cNvPr>
            <p:cNvCxnSpPr>
              <a:cxnSpLocks noChangeShapeType="1"/>
              <a:stCxn id="32" idx="3"/>
              <a:endCxn id="36" idx="1"/>
            </p:cNvCxnSpPr>
            <p:nvPr/>
          </p:nvCxnSpPr>
          <p:spPr bwMode="auto">
            <a:xfrm flipV="1">
              <a:off x="4100133" y="2136775"/>
              <a:ext cx="717554" cy="455612"/>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9" name="AutoShape 26">
              <a:extLst>
                <a:ext uri="{FF2B5EF4-FFF2-40B4-BE49-F238E27FC236}">
                  <a16:creationId xmlns:a16="http://schemas.microsoft.com/office/drawing/2014/main" id="{B4C4C649-00F2-4142-B71D-066863570E9B}"/>
                </a:ext>
              </a:extLst>
            </p:cNvPr>
            <p:cNvCxnSpPr>
              <a:cxnSpLocks noChangeShapeType="1"/>
              <a:stCxn id="32" idx="3"/>
              <a:endCxn id="37" idx="1"/>
            </p:cNvCxnSpPr>
            <p:nvPr/>
          </p:nvCxnSpPr>
          <p:spPr bwMode="auto">
            <a:xfrm>
              <a:off x="4100133" y="2592387"/>
              <a:ext cx="717554" cy="454025"/>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36" name="Rectangle 23">
            <a:extLst>
              <a:ext uri="{FF2B5EF4-FFF2-40B4-BE49-F238E27FC236}">
                <a16:creationId xmlns:a16="http://schemas.microsoft.com/office/drawing/2014/main" id="{1AB0AF94-EAB1-4B5C-B038-3D88A3D9FF11}"/>
              </a:ext>
            </a:extLst>
          </p:cNvPr>
          <p:cNvSpPr>
            <a:spLocks noChangeArrowheads="1"/>
          </p:cNvSpPr>
          <p:nvPr/>
        </p:nvSpPr>
        <p:spPr bwMode="auto">
          <a:xfrm>
            <a:off x="4817687" y="1857375"/>
            <a:ext cx="1677551" cy="558800"/>
          </a:xfrm>
          <a:prstGeom prst="rect">
            <a:avLst/>
          </a:prstGeom>
          <a:solidFill>
            <a:schemeClr val="accent3"/>
          </a:solidFill>
          <a:ln w="6350">
            <a:noFill/>
            <a:miter lim="800000"/>
            <a:headEnd/>
            <a:tailEnd/>
          </a:ln>
          <a:effectLst/>
        </p:spPr>
        <p:txBody>
          <a:bodyPr lIns="144000" tIns="72000" rIns="72000" bIns="72000" anchor="ctr"/>
          <a:lstStyle/>
          <a:p>
            <a:pPr algn="l" eaLnBrk="0" hangingPunct="0"/>
            <a:r>
              <a:rPr lang="en-GB" sz="1400" b="1" dirty="0">
                <a:solidFill>
                  <a:schemeClr val="bg1"/>
                </a:solidFill>
              </a:rPr>
              <a:t>Price</a:t>
            </a:r>
          </a:p>
        </p:txBody>
      </p:sp>
      <p:sp>
        <p:nvSpPr>
          <p:cNvPr id="46" name="Rectangle 33">
            <a:extLst>
              <a:ext uri="{FF2B5EF4-FFF2-40B4-BE49-F238E27FC236}">
                <a16:creationId xmlns:a16="http://schemas.microsoft.com/office/drawing/2014/main" id="{3C20B429-68BC-474E-B17C-CEAE239F3C80}"/>
              </a:ext>
            </a:extLst>
          </p:cNvPr>
          <p:cNvSpPr>
            <a:spLocks noChangeArrowheads="1"/>
          </p:cNvSpPr>
          <p:nvPr/>
        </p:nvSpPr>
        <p:spPr bwMode="auto">
          <a:xfrm>
            <a:off x="6559938" y="1379497"/>
            <a:ext cx="2616200" cy="215444"/>
          </a:xfrm>
          <a:prstGeom prst="rect">
            <a:avLst/>
          </a:prstGeom>
          <a:noFill/>
          <a:ln w="9525">
            <a:noFill/>
            <a:miter lim="800000"/>
            <a:headEnd/>
            <a:tailEnd/>
          </a:ln>
          <a:effectLst/>
        </p:spPr>
        <p:txBody>
          <a:bodyPr wrap="square" lIns="0" tIns="0" rIns="0" bIns="0" anchor="b">
            <a:spAutoFit/>
          </a:bodyPr>
          <a:lstStyle/>
          <a:p>
            <a:pPr defTabSz="957263">
              <a:buClr>
                <a:srgbClr val="006699"/>
              </a:buClr>
              <a:buSzPct val="100000"/>
            </a:pPr>
            <a:r>
              <a:rPr lang="en-GB" sz="1400" b="1" dirty="0">
                <a:solidFill>
                  <a:schemeClr val="accent3"/>
                </a:solidFill>
                <a:latin typeface="+mj-lt"/>
              </a:rPr>
              <a:t>Heading</a:t>
            </a:r>
          </a:p>
        </p:txBody>
      </p:sp>
      <p:sp>
        <p:nvSpPr>
          <p:cNvPr id="47" name="Rectangle 34">
            <a:extLst>
              <a:ext uri="{FF2B5EF4-FFF2-40B4-BE49-F238E27FC236}">
                <a16:creationId xmlns:a16="http://schemas.microsoft.com/office/drawing/2014/main" id="{ABA2BF52-2A85-407C-A2EE-7192F1A8981B}"/>
              </a:ext>
            </a:extLst>
          </p:cNvPr>
          <p:cNvSpPr>
            <a:spLocks noChangeArrowheads="1"/>
          </p:cNvSpPr>
          <p:nvPr/>
        </p:nvSpPr>
        <p:spPr bwMode="auto">
          <a:xfrm>
            <a:off x="6559938" y="1857375"/>
            <a:ext cx="2616200" cy="558800"/>
          </a:xfrm>
          <a:prstGeom prst="rect">
            <a:avLst/>
          </a:prstGeom>
          <a:solidFill>
            <a:schemeClr val="tx2">
              <a:lumMod val="20000"/>
              <a:lumOff val="80000"/>
            </a:schemeClr>
          </a:solidFill>
          <a:ln w="9525">
            <a:noFill/>
            <a:miter lim="800000"/>
            <a:headEnd/>
            <a:tailEnd/>
          </a:ln>
          <a:effectLst/>
        </p:spPr>
        <p:txBody>
          <a:bodyPr lIns="108000" tIns="72000" rIns="0" bIns="0"/>
          <a:lstStyle/>
          <a:p>
            <a:pPr marL="108000" indent="-108000" defTabSz="957263">
              <a:buClr>
                <a:schemeClr val="tx1"/>
              </a:buClr>
              <a:buSzPct val="100000"/>
              <a:buFontTx/>
              <a:buChar char="•"/>
            </a:pPr>
            <a:r>
              <a:rPr lang="en-GB" sz="1400" dirty="0"/>
              <a:t>Text</a:t>
            </a:r>
          </a:p>
        </p:txBody>
      </p:sp>
      <p:sp>
        <p:nvSpPr>
          <p:cNvPr id="45" name="Rectangle 32">
            <a:extLst>
              <a:ext uri="{FF2B5EF4-FFF2-40B4-BE49-F238E27FC236}">
                <a16:creationId xmlns:a16="http://schemas.microsoft.com/office/drawing/2014/main" id="{24741B7C-99EA-4EAB-B809-2D80C2E095BB}"/>
              </a:ext>
            </a:extLst>
          </p:cNvPr>
          <p:cNvSpPr>
            <a:spLocks noChangeArrowheads="1"/>
          </p:cNvSpPr>
          <p:nvPr/>
        </p:nvSpPr>
        <p:spPr bwMode="auto">
          <a:xfrm>
            <a:off x="9240838" y="1379497"/>
            <a:ext cx="2616200" cy="215444"/>
          </a:xfrm>
          <a:prstGeom prst="rect">
            <a:avLst/>
          </a:prstGeom>
          <a:noFill/>
          <a:ln w="9525">
            <a:noFill/>
            <a:miter lim="800000"/>
            <a:headEnd/>
            <a:tailEnd/>
          </a:ln>
          <a:effectLst/>
        </p:spPr>
        <p:txBody>
          <a:bodyPr wrap="square" lIns="0" tIns="0" rIns="0" bIns="0" anchor="b">
            <a:spAutoFit/>
          </a:bodyPr>
          <a:lstStyle/>
          <a:p>
            <a:pPr defTabSz="957263">
              <a:buClr>
                <a:srgbClr val="006699"/>
              </a:buClr>
              <a:buSzPct val="100000"/>
            </a:pPr>
            <a:r>
              <a:rPr lang="en-GB" sz="1400" b="1" dirty="0">
                <a:solidFill>
                  <a:schemeClr val="accent3"/>
                </a:solidFill>
                <a:latin typeface="+mj-lt"/>
              </a:rPr>
              <a:t>Heading</a:t>
            </a:r>
          </a:p>
        </p:txBody>
      </p:sp>
      <p:sp>
        <p:nvSpPr>
          <p:cNvPr id="50" name="Rectangle 37">
            <a:extLst>
              <a:ext uri="{FF2B5EF4-FFF2-40B4-BE49-F238E27FC236}">
                <a16:creationId xmlns:a16="http://schemas.microsoft.com/office/drawing/2014/main" id="{BB41AF7A-543F-4299-A40E-B9D5434506EB}"/>
              </a:ext>
            </a:extLst>
          </p:cNvPr>
          <p:cNvSpPr>
            <a:spLocks noChangeArrowheads="1"/>
          </p:cNvSpPr>
          <p:nvPr/>
        </p:nvSpPr>
        <p:spPr bwMode="auto">
          <a:xfrm>
            <a:off x="9240838" y="1857375"/>
            <a:ext cx="2616200" cy="558800"/>
          </a:xfrm>
          <a:prstGeom prst="rect">
            <a:avLst/>
          </a:prstGeom>
          <a:solidFill>
            <a:schemeClr val="tx2">
              <a:lumMod val="20000"/>
              <a:lumOff val="80000"/>
            </a:schemeClr>
          </a:solidFill>
          <a:ln w="9525">
            <a:noFill/>
            <a:miter lim="800000"/>
            <a:headEnd/>
            <a:tailEnd/>
          </a:ln>
          <a:effectLst/>
        </p:spPr>
        <p:txBody>
          <a:bodyPr lIns="108000" tIns="72000" rIns="0" bIns="0"/>
          <a:lstStyle/>
          <a:p>
            <a:pPr marL="108000" indent="-108000" defTabSz="957263">
              <a:buClr>
                <a:schemeClr val="tx1"/>
              </a:buClr>
              <a:buSzPct val="100000"/>
              <a:buFontTx/>
              <a:buChar char="•"/>
            </a:pPr>
            <a:r>
              <a:rPr lang="en-GB" sz="1400" dirty="0"/>
              <a:t>Text</a:t>
            </a:r>
          </a:p>
        </p:txBody>
      </p:sp>
      <p:sp>
        <p:nvSpPr>
          <p:cNvPr id="37" name="Rectangle 24">
            <a:extLst>
              <a:ext uri="{FF2B5EF4-FFF2-40B4-BE49-F238E27FC236}">
                <a16:creationId xmlns:a16="http://schemas.microsoft.com/office/drawing/2014/main" id="{D75505A8-D3C5-4672-9374-6386C8525EEC}"/>
              </a:ext>
            </a:extLst>
          </p:cNvPr>
          <p:cNvSpPr>
            <a:spLocks noChangeArrowheads="1"/>
          </p:cNvSpPr>
          <p:nvPr/>
        </p:nvSpPr>
        <p:spPr bwMode="auto">
          <a:xfrm>
            <a:off x="4817687" y="2767012"/>
            <a:ext cx="1677551" cy="558800"/>
          </a:xfrm>
          <a:prstGeom prst="rect">
            <a:avLst/>
          </a:prstGeom>
          <a:solidFill>
            <a:schemeClr val="accent3"/>
          </a:solidFill>
          <a:ln w="6350">
            <a:noFill/>
            <a:miter lim="800000"/>
            <a:headEnd/>
            <a:tailEnd/>
          </a:ln>
          <a:effectLst/>
        </p:spPr>
        <p:txBody>
          <a:bodyPr lIns="144000" tIns="72000" rIns="72000" bIns="72000" anchor="ctr"/>
          <a:lstStyle/>
          <a:p>
            <a:pPr algn="l" eaLnBrk="0" hangingPunct="0"/>
            <a:r>
              <a:rPr lang="en-GB" sz="1400" b="1" dirty="0">
                <a:solidFill>
                  <a:schemeClr val="bg1"/>
                </a:solidFill>
              </a:rPr>
              <a:t>Volume</a:t>
            </a:r>
          </a:p>
        </p:txBody>
      </p:sp>
      <p:sp>
        <p:nvSpPr>
          <p:cNvPr id="51" name="Rectangle 38">
            <a:extLst>
              <a:ext uri="{FF2B5EF4-FFF2-40B4-BE49-F238E27FC236}">
                <a16:creationId xmlns:a16="http://schemas.microsoft.com/office/drawing/2014/main" id="{BFB433DF-358C-468F-9CBB-AEAFA25D0BF7}"/>
              </a:ext>
            </a:extLst>
          </p:cNvPr>
          <p:cNvSpPr>
            <a:spLocks noChangeArrowheads="1"/>
          </p:cNvSpPr>
          <p:nvPr/>
        </p:nvSpPr>
        <p:spPr bwMode="auto">
          <a:xfrm>
            <a:off x="6559938" y="2767012"/>
            <a:ext cx="2616200" cy="558800"/>
          </a:xfrm>
          <a:prstGeom prst="rect">
            <a:avLst/>
          </a:prstGeom>
          <a:solidFill>
            <a:schemeClr val="tx2">
              <a:lumMod val="20000"/>
              <a:lumOff val="80000"/>
            </a:schemeClr>
          </a:solidFill>
          <a:ln w="9525">
            <a:noFill/>
            <a:miter lim="800000"/>
            <a:headEnd/>
            <a:tailEnd/>
          </a:ln>
          <a:effectLst/>
        </p:spPr>
        <p:txBody>
          <a:bodyPr lIns="108000" tIns="72000" rIns="0" bIns="0"/>
          <a:lstStyle/>
          <a:p>
            <a:pPr marL="108000" indent="-108000" defTabSz="957263">
              <a:buClr>
                <a:schemeClr val="tx1"/>
              </a:buClr>
              <a:buSzPct val="100000"/>
              <a:buFontTx/>
              <a:buChar char="•"/>
            </a:pPr>
            <a:r>
              <a:rPr lang="en-GB" sz="1400" dirty="0"/>
              <a:t>Text</a:t>
            </a:r>
          </a:p>
        </p:txBody>
      </p:sp>
      <p:sp>
        <p:nvSpPr>
          <p:cNvPr id="52" name="Rectangle 39">
            <a:extLst>
              <a:ext uri="{FF2B5EF4-FFF2-40B4-BE49-F238E27FC236}">
                <a16:creationId xmlns:a16="http://schemas.microsoft.com/office/drawing/2014/main" id="{B9AEDB6A-D4DE-4B41-8204-EDB9C1201931}"/>
              </a:ext>
            </a:extLst>
          </p:cNvPr>
          <p:cNvSpPr>
            <a:spLocks noChangeArrowheads="1"/>
          </p:cNvSpPr>
          <p:nvPr/>
        </p:nvSpPr>
        <p:spPr bwMode="auto">
          <a:xfrm>
            <a:off x="9240838" y="2767012"/>
            <a:ext cx="2616200" cy="558800"/>
          </a:xfrm>
          <a:prstGeom prst="rect">
            <a:avLst/>
          </a:prstGeom>
          <a:solidFill>
            <a:schemeClr val="tx2">
              <a:lumMod val="20000"/>
              <a:lumOff val="80000"/>
            </a:schemeClr>
          </a:solidFill>
          <a:ln w="9525">
            <a:noFill/>
            <a:miter lim="800000"/>
            <a:headEnd/>
            <a:tailEnd/>
          </a:ln>
          <a:effectLst/>
        </p:spPr>
        <p:txBody>
          <a:bodyPr lIns="108000" tIns="72000" rIns="0" bIns="0"/>
          <a:lstStyle/>
          <a:p>
            <a:pPr marL="108000" indent="-108000" defTabSz="957263">
              <a:buClr>
                <a:schemeClr val="tx1"/>
              </a:buClr>
              <a:buSzPct val="100000"/>
              <a:buFontTx/>
              <a:buChar char="•"/>
            </a:pPr>
            <a:r>
              <a:rPr lang="en-GB" sz="1400" dirty="0"/>
              <a:t>Text</a:t>
            </a:r>
          </a:p>
        </p:txBody>
      </p:sp>
      <p:sp>
        <p:nvSpPr>
          <p:cNvPr id="48" name="Rectangle 35">
            <a:extLst>
              <a:ext uri="{FF2B5EF4-FFF2-40B4-BE49-F238E27FC236}">
                <a16:creationId xmlns:a16="http://schemas.microsoft.com/office/drawing/2014/main" id="{1CF5579C-8968-4865-95F4-9487FD6E6603}"/>
              </a:ext>
            </a:extLst>
          </p:cNvPr>
          <p:cNvSpPr>
            <a:spLocks noChangeArrowheads="1"/>
          </p:cNvSpPr>
          <p:nvPr/>
        </p:nvSpPr>
        <p:spPr bwMode="auto">
          <a:xfrm>
            <a:off x="2888672" y="4133850"/>
            <a:ext cx="1211461" cy="558800"/>
          </a:xfrm>
          <a:prstGeom prst="rect">
            <a:avLst/>
          </a:prstGeom>
          <a:solidFill>
            <a:schemeClr val="accent2"/>
          </a:solidFill>
          <a:ln w="6350">
            <a:noFill/>
            <a:miter lim="800000"/>
            <a:headEnd/>
            <a:tailEnd/>
          </a:ln>
          <a:effectLst/>
        </p:spPr>
        <p:txBody>
          <a:bodyPr lIns="144000" tIns="72000" rIns="72000" bIns="72000" anchor="ctr"/>
          <a:lstStyle/>
          <a:p>
            <a:pPr algn="l" eaLnBrk="0" hangingPunct="0"/>
            <a:r>
              <a:rPr lang="en-GB" sz="1400" b="1" dirty="0">
                <a:solidFill>
                  <a:schemeClr val="bg1"/>
                </a:solidFill>
              </a:rPr>
              <a:t>Costs</a:t>
            </a:r>
          </a:p>
        </p:txBody>
      </p:sp>
      <p:grpSp>
        <p:nvGrpSpPr>
          <p:cNvPr id="7" name="Group 6">
            <a:extLst>
              <a:ext uri="{FF2B5EF4-FFF2-40B4-BE49-F238E27FC236}">
                <a16:creationId xmlns:a16="http://schemas.microsoft.com/office/drawing/2014/main" id="{FD369F91-20A6-4582-AF1E-91BA946D9A6E}"/>
              </a:ext>
              <a:ext uri="{C183D7F6-B498-43B3-948B-1728B52AA6E4}">
                <adec:decorative xmlns:adec="http://schemas.microsoft.com/office/drawing/2017/decorative" val="1"/>
              </a:ext>
            </a:extLst>
          </p:cNvPr>
          <p:cNvGrpSpPr/>
          <p:nvPr/>
        </p:nvGrpSpPr>
        <p:grpSpPr>
          <a:xfrm>
            <a:off x="4100133" y="3957637"/>
            <a:ext cx="717554" cy="909638"/>
            <a:chOff x="4100133" y="3957637"/>
            <a:chExt cx="717554" cy="909638"/>
          </a:xfrm>
        </p:grpSpPr>
        <p:cxnSp>
          <p:nvCxnSpPr>
            <p:cNvPr id="43" name="AutoShape 30">
              <a:extLst>
                <a:ext uri="{FF2B5EF4-FFF2-40B4-BE49-F238E27FC236}">
                  <a16:creationId xmlns:a16="http://schemas.microsoft.com/office/drawing/2014/main" id="{A9F5B729-193C-4228-96EF-C4882A397301}"/>
                </a:ext>
              </a:extLst>
            </p:cNvPr>
            <p:cNvCxnSpPr>
              <a:cxnSpLocks noChangeShapeType="1"/>
              <a:stCxn id="48" idx="3"/>
              <a:endCxn id="41" idx="1"/>
            </p:cNvCxnSpPr>
            <p:nvPr/>
          </p:nvCxnSpPr>
          <p:spPr bwMode="auto">
            <a:xfrm flipV="1">
              <a:off x="4100133" y="3957637"/>
              <a:ext cx="717554" cy="455613"/>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4" name="AutoShape 31">
              <a:extLst>
                <a:ext uri="{FF2B5EF4-FFF2-40B4-BE49-F238E27FC236}">
                  <a16:creationId xmlns:a16="http://schemas.microsoft.com/office/drawing/2014/main" id="{F45DCEEA-CD0D-4925-A12D-8BD0E518DA40}"/>
                </a:ext>
              </a:extLst>
            </p:cNvPr>
            <p:cNvCxnSpPr>
              <a:cxnSpLocks noChangeShapeType="1"/>
              <a:stCxn id="48" idx="3"/>
              <a:endCxn id="42" idx="1"/>
            </p:cNvCxnSpPr>
            <p:nvPr/>
          </p:nvCxnSpPr>
          <p:spPr bwMode="auto">
            <a:xfrm>
              <a:off x="4100133" y="4413250"/>
              <a:ext cx="717554" cy="454025"/>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41" name="Rectangle 28">
            <a:extLst>
              <a:ext uri="{FF2B5EF4-FFF2-40B4-BE49-F238E27FC236}">
                <a16:creationId xmlns:a16="http://schemas.microsoft.com/office/drawing/2014/main" id="{16B77031-716A-4B2A-B281-7C9BF6CA0832}"/>
              </a:ext>
            </a:extLst>
          </p:cNvPr>
          <p:cNvSpPr>
            <a:spLocks noChangeArrowheads="1"/>
          </p:cNvSpPr>
          <p:nvPr/>
        </p:nvSpPr>
        <p:spPr bwMode="auto">
          <a:xfrm>
            <a:off x="4817687" y="3678237"/>
            <a:ext cx="1677551" cy="558800"/>
          </a:xfrm>
          <a:prstGeom prst="rect">
            <a:avLst/>
          </a:prstGeom>
          <a:solidFill>
            <a:schemeClr val="accent3"/>
          </a:solidFill>
          <a:ln w="6350">
            <a:noFill/>
            <a:miter lim="800000"/>
            <a:headEnd/>
            <a:tailEnd/>
          </a:ln>
          <a:effectLst/>
        </p:spPr>
        <p:txBody>
          <a:bodyPr lIns="144000" tIns="72000" rIns="72000" bIns="72000" anchor="ctr"/>
          <a:lstStyle/>
          <a:p>
            <a:pPr algn="l" eaLnBrk="0" hangingPunct="0"/>
            <a:r>
              <a:rPr lang="en-GB" sz="1400" b="1" dirty="0">
                <a:solidFill>
                  <a:schemeClr val="bg1"/>
                </a:solidFill>
              </a:rPr>
              <a:t>Staff</a:t>
            </a:r>
          </a:p>
        </p:txBody>
      </p:sp>
      <p:sp>
        <p:nvSpPr>
          <p:cNvPr id="53" name="Rectangle 40">
            <a:extLst>
              <a:ext uri="{FF2B5EF4-FFF2-40B4-BE49-F238E27FC236}">
                <a16:creationId xmlns:a16="http://schemas.microsoft.com/office/drawing/2014/main" id="{78C69A4B-A634-448A-B225-B557F1A6A09B}"/>
              </a:ext>
            </a:extLst>
          </p:cNvPr>
          <p:cNvSpPr>
            <a:spLocks noChangeArrowheads="1"/>
          </p:cNvSpPr>
          <p:nvPr/>
        </p:nvSpPr>
        <p:spPr bwMode="auto">
          <a:xfrm>
            <a:off x="6559938" y="3678237"/>
            <a:ext cx="2616200" cy="558800"/>
          </a:xfrm>
          <a:prstGeom prst="rect">
            <a:avLst/>
          </a:prstGeom>
          <a:solidFill>
            <a:schemeClr val="tx2">
              <a:lumMod val="20000"/>
              <a:lumOff val="80000"/>
            </a:schemeClr>
          </a:solidFill>
          <a:ln w="9525">
            <a:noFill/>
            <a:miter lim="800000"/>
            <a:headEnd/>
            <a:tailEnd/>
          </a:ln>
          <a:effectLst/>
        </p:spPr>
        <p:txBody>
          <a:bodyPr lIns="108000" tIns="72000" rIns="0" bIns="0"/>
          <a:lstStyle/>
          <a:p>
            <a:pPr marL="108000" indent="-108000" defTabSz="957263">
              <a:buClr>
                <a:schemeClr val="tx1"/>
              </a:buClr>
              <a:buSzPct val="100000"/>
              <a:buFontTx/>
              <a:buChar char="•"/>
            </a:pPr>
            <a:r>
              <a:rPr lang="en-GB" sz="1400" dirty="0"/>
              <a:t>Text</a:t>
            </a:r>
          </a:p>
        </p:txBody>
      </p:sp>
      <p:sp>
        <p:nvSpPr>
          <p:cNvPr id="54" name="Rectangle 41">
            <a:extLst>
              <a:ext uri="{FF2B5EF4-FFF2-40B4-BE49-F238E27FC236}">
                <a16:creationId xmlns:a16="http://schemas.microsoft.com/office/drawing/2014/main" id="{A0731321-8EFE-4B82-803D-B19821A730C6}"/>
              </a:ext>
            </a:extLst>
          </p:cNvPr>
          <p:cNvSpPr>
            <a:spLocks noChangeArrowheads="1"/>
          </p:cNvSpPr>
          <p:nvPr/>
        </p:nvSpPr>
        <p:spPr bwMode="auto">
          <a:xfrm>
            <a:off x="9240838" y="3678237"/>
            <a:ext cx="2616200" cy="558800"/>
          </a:xfrm>
          <a:prstGeom prst="rect">
            <a:avLst/>
          </a:prstGeom>
          <a:solidFill>
            <a:schemeClr val="tx2">
              <a:lumMod val="20000"/>
              <a:lumOff val="80000"/>
            </a:schemeClr>
          </a:solidFill>
          <a:ln w="9525">
            <a:noFill/>
            <a:miter lim="800000"/>
            <a:headEnd/>
            <a:tailEnd/>
          </a:ln>
          <a:effectLst/>
        </p:spPr>
        <p:txBody>
          <a:bodyPr lIns="108000" tIns="72000" rIns="0" bIns="0"/>
          <a:lstStyle/>
          <a:p>
            <a:pPr marL="108000" indent="-108000" defTabSz="957263">
              <a:buClr>
                <a:schemeClr val="tx1"/>
              </a:buClr>
              <a:buSzPct val="100000"/>
              <a:buFontTx/>
              <a:buChar char="•"/>
            </a:pPr>
            <a:r>
              <a:rPr lang="en-GB" sz="1400" dirty="0"/>
              <a:t>Text</a:t>
            </a:r>
          </a:p>
        </p:txBody>
      </p:sp>
      <p:sp>
        <p:nvSpPr>
          <p:cNvPr id="42" name="Rectangle 29">
            <a:extLst>
              <a:ext uri="{FF2B5EF4-FFF2-40B4-BE49-F238E27FC236}">
                <a16:creationId xmlns:a16="http://schemas.microsoft.com/office/drawing/2014/main" id="{B612B9F0-7B2C-4178-B64A-9A07DB929A29}"/>
              </a:ext>
            </a:extLst>
          </p:cNvPr>
          <p:cNvSpPr>
            <a:spLocks noChangeArrowheads="1"/>
          </p:cNvSpPr>
          <p:nvPr/>
        </p:nvSpPr>
        <p:spPr bwMode="auto">
          <a:xfrm>
            <a:off x="4817687" y="4587875"/>
            <a:ext cx="1677551" cy="558800"/>
          </a:xfrm>
          <a:prstGeom prst="rect">
            <a:avLst/>
          </a:prstGeom>
          <a:solidFill>
            <a:schemeClr val="accent3"/>
          </a:solidFill>
          <a:ln w="6350">
            <a:noFill/>
            <a:miter lim="800000"/>
            <a:headEnd/>
            <a:tailEnd/>
          </a:ln>
          <a:effectLst/>
        </p:spPr>
        <p:txBody>
          <a:bodyPr lIns="144000" tIns="72000" rIns="72000" bIns="72000" anchor="ctr"/>
          <a:lstStyle/>
          <a:p>
            <a:pPr algn="l" eaLnBrk="0" hangingPunct="0"/>
            <a:r>
              <a:rPr lang="en-GB" sz="1400" b="1" dirty="0">
                <a:solidFill>
                  <a:schemeClr val="bg1"/>
                </a:solidFill>
              </a:rPr>
              <a:t>Other</a:t>
            </a:r>
          </a:p>
        </p:txBody>
      </p:sp>
      <p:sp>
        <p:nvSpPr>
          <p:cNvPr id="55" name="Rectangle 42">
            <a:extLst>
              <a:ext uri="{FF2B5EF4-FFF2-40B4-BE49-F238E27FC236}">
                <a16:creationId xmlns:a16="http://schemas.microsoft.com/office/drawing/2014/main" id="{1A3CD980-65C2-4788-BA67-BB8F64D6F7F0}"/>
              </a:ext>
            </a:extLst>
          </p:cNvPr>
          <p:cNvSpPr>
            <a:spLocks noChangeArrowheads="1"/>
          </p:cNvSpPr>
          <p:nvPr/>
        </p:nvSpPr>
        <p:spPr bwMode="auto">
          <a:xfrm>
            <a:off x="6559938" y="4587875"/>
            <a:ext cx="2616200" cy="558800"/>
          </a:xfrm>
          <a:prstGeom prst="rect">
            <a:avLst/>
          </a:prstGeom>
          <a:solidFill>
            <a:schemeClr val="tx2">
              <a:lumMod val="20000"/>
              <a:lumOff val="80000"/>
            </a:schemeClr>
          </a:solidFill>
          <a:ln w="9525">
            <a:noFill/>
            <a:miter lim="800000"/>
            <a:headEnd/>
            <a:tailEnd/>
          </a:ln>
          <a:effectLst/>
        </p:spPr>
        <p:txBody>
          <a:bodyPr lIns="108000" tIns="72000" rIns="0" bIns="0"/>
          <a:lstStyle/>
          <a:p>
            <a:pPr marL="108000" indent="-108000" defTabSz="957263">
              <a:buClr>
                <a:schemeClr val="tx1"/>
              </a:buClr>
              <a:buSzPct val="100000"/>
              <a:buFontTx/>
              <a:buChar char="•"/>
            </a:pPr>
            <a:r>
              <a:rPr lang="en-GB" sz="1400" dirty="0"/>
              <a:t>Text</a:t>
            </a:r>
          </a:p>
        </p:txBody>
      </p:sp>
      <p:sp>
        <p:nvSpPr>
          <p:cNvPr id="56" name="Rectangle 43">
            <a:extLst>
              <a:ext uri="{FF2B5EF4-FFF2-40B4-BE49-F238E27FC236}">
                <a16:creationId xmlns:a16="http://schemas.microsoft.com/office/drawing/2014/main" id="{B94932D7-FCDC-4CEB-A6DE-A74A1197637F}"/>
              </a:ext>
            </a:extLst>
          </p:cNvPr>
          <p:cNvSpPr>
            <a:spLocks noChangeArrowheads="1"/>
          </p:cNvSpPr>
          <p:nvPr/>
        </p:nvSpPr>
        <p:spPr bwMode="auto">
          <a:xfrm>
            <a:off x="9240838" y="4587875"/>
            <a:ext cx="2616200" cy="558800"/>
          </a:xfrm>
          <a:prstGeom prst="rect">
            <a:avLst/>
          </a:prstGeom>
          <a:solidFill>
            <a:schemeClr val="tx2">
              <a:lumMod val="20000"/>
              <a:lumOff val="80000"/>
            </a:schemeClr>
          </a:solidFill>
          <a:ln w="9525">
            <a:noFill/>
            <a:miter lim="800000"/>
            <a:headEnd/>
            <a:tailEnd/>
          </a:ln>
          <a:effectLst/>
        </p:spPr>
        <p:txBody>
          <a:bodyPr lIns="108000" tIns="72000" rIns="0" bIns="0"/>
          <a:lstStyle/>
          <a:p>
            <a:pPr marL="108000" indent="-108000" defTabSz="957263">
              <a:buClr>
                <a:schemeClr val="tx1"/>
              </a:buClr>
              <a:buSzPct val="100000"/>
              <a:buFontTx/>
              <a:buChar char="•"/>
            </a:pPr>
            <a:r>
              <a:rPr lang="en-GB" sz="1400" dirty="0"/>
              <a:t>Text</a:t>
            </a:r>
          </a:p>
        </p:txBody>
      </p:sp>
      <p:sp>
        <p:nvSpPr>
          <p:cNvPr id="49" name="Rectangle 36">
            <a:extLst>
              <a:ext uri="{FF2B5EF4-FFF2-40B4-BE49-F238E27FC236}">
                <a16:creationId xmlns:a16="http://schemas.microsoft.com/office/drawing/2014/main" id="{3BB016DD-C339-4496-AADC-3DB4A41F75ED}"/>
              </a:ext>
            </a:extLst>
          </p:cNvPr>
          <p:cNvSpPr>
            <a:spLocks noChangeArrowheads="1"/>
          </p:cNvSpPr>
          <p:nvPr/>
        </p:nvSpPr>
        <p:spPr bwMode="auto">
          <a:xfrm>
            <a:off x="4817687" y="5499100"/>
            <a:ext cx="1677551" cy="558800"/>
          </a:xfrm>
          <a:prstGeom prst="rect">
            <a:avLst/>
          </a:prstGeom>
          <a:solidFill>
            <a:schemeClr val="accent3"/>
          </a:solidFill>
          <a:ln w="6350">
            <a:noFill/>
            <a:miter lim="800000"/>
            <a:headEnd/>
            <a:tailEnd/>
          </a:ln>
          <a:effectLst/>
        </p:spPr>
        <p:txBody>
          <a:bodyPr lIns="144000" tIns="72000" rIns="72000" bIns="72000" anchor="ctr"/>
          <a:lstStyle/>
          <a:p>
            <a:pPr algn="l" eaLnBrk="0" hangingPunct="0"/>
            <a:r>
              <a:rPr lang="en-GB" sz="1400" b="1" dirty="0">
                <a:solidFill>
                  <a:schemeClr val="bg1"/>
                </a:solidFill>
              </a:rPr>
              <a:t>Asset utilization</a:t>
            </a:r>
          </a:p>
        </p:txBody>
      </p:sp>
      <p:sp>
        <p:nvSpPr>
          <p:cNvPr id="57" name="Rectangle 44">
            <a:extLst>
              <a:ext uri="{FF2B5EF4-FFF2-40B4-BE49-F238E27FC236}">
                <a16:creationId xmlns:a16="http://schemas.microsoft.com/office/drawing/2014/main" id="{6EF4EB4F-A188-48C6-8542-E84E6C46E8F7}"/>
              </a:ext>
            </a:extLst>
          </p:cNvPr>
          <p:cNvSpPr>
            <a:spLocks noChangeArrowheads="1"/>
          </p:cNvSpPr>
          <p:nvPr/>
        </p:nvSpPr>
        <p:spPr bwMode="auto">
          <a:xfrm>
            <a:off x="6559938" y="5499100"/>
            <a:ext cx="2616200" cy="558800"/>
          </a:xfrm>
          <a:prstGeom prst="rect">
            <a:avLst/>
          </a:prstGeom>
          <a:solidFill>
            <a:schemeClr val="tx2">
              <a:lumMod val="20000"/>
              <a:lumOff val="80000"/>
            </a:schemeClr>
          </a:solidFill>
          <a:ln w="9525">
            <a:noFill/>
            <a:miter lim="800000"/>
            <a:headEnd/>
            <a:tailEnd/>
          </a:ln>
          <a:effectLst/>
        </p:spPr>
        <p:txBody>
          <a:bodyPr lIns="108000" tIns="72000" rIns="0" bIns="0"/>
          <a:lstStyle/>
          <a:p>
            <a:pPr marL="108000" indent="-108000" defTabSz="957263">
              <a:buClr>
                <a:schemeClr val="tx1"/>
              </a:buClr>
              <a:buSzPct val="100000"/>
              <a:buFontTx/>
              <a:buChar char="•"/>
            </a:pPr>
            <a:r>
              <a:rPr lang="en-GB" sz="1400" dirty="0"/>
              <a:t>Text</a:t>
            </a:r>
          </a:p>
        </p:txBody>
      </p:sp>
      <p:sp>
        <p:nvSpPr>
          <p:cNvPr id="58" name="Rectangle 45">
            <a:extLst>
              <a:ext uri="{FF2B5EF4-FFF2-40B4-BE49-F238E27FC236}">
                <a16:creationId xmlns:a16="http://schemas.microsoft.com/office/drawing/2014/main" id="{DF351CDA-B9FF-408E-BADB-5BB52EF5948D}"/>
              </a:ext>
            </a:extLst>
          </p:cNvPr>
          <p:cNvSpPr>
            <a:spLocks noChangeArrowheads="1"/>
          </p:cNvSpPr>
          <p:nvPr/>
        </p:nvSpPr>
        <p:spPr bwMode="auto">
          <a:xfrm>
            <a:off x="9240838" y="5499100"/>
            <a:ext cx="2616200" cy="558800"/>
          </a:xfrm>
          <a:prstGeom prst="rect">
            <a:avLst/>
          </a:prstGeom>
          <a:solidFill>
            <a:schemeClr val="tx2">
              <a:lumMod val="20000"/>
              <a:lumOff val="80000"/>
            </a:schemeClr>
          </a:solidFill>
          <a:ln w="9525">
            <a:noFill/>
            <a:miter lim="800000"/>
            <a:headEnd/>
            <a:tailEnd/>
          </a:ln>
          <a:effectLst/>
        </p:spPr>
        <p:txBody>
          <a:bodyPr lIns="108000" tIns="72000" rIns="0" bIns="0"/>
          <a:lstStyle/>
          <a:p>
            <a:pPr marL="108000" indent="-108000" defTabSz="957263">
              <a:buClr>
                <a:schemeClr val="tx1"/>
              </a:buClr>
              <a:buSzPct val="100000"/>
              <a:buFontTx/>
              <a:buChar char="•"/>
            </a:pPr>
            <a:r>
              <a:rPr lang="en-GB" sz="1400" dirty="0"/>
              <a:t>Text</a:t>
            </a:r>
          </a:p>
        </p:txBody>
      </p:sp>
      <p:sp>
        <p:nvSpPr>
          <p:cNvPr id="4" name="Footer Placeholder 3">
            <a:extLst>
              <a:ext uri="{FF2B5EF4-FFF2-40B4-BE49-F238E27FC236}">
                <a16:creationId xmlns:a16="http://schemas.microsoft.com/office/drawing/2014/main" id="{3E4F2F03-AF6F-4F59-B230-8C8ED7A68004}"/>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11F402FE-0519-4832-8AAF-D76B5A81FC4D}"/>
              </a:ext>
            </a:extLst>
          </p:cNvPr>
          <p:cNvSpPr>
            <a:spLocks noGrp="1"/>
          </p:cNvSpPr>
          <p:nvPr>
            <p:ph type="sldNum" sz="quarter" idx="10"/>
          </p:nvPr>
        </p:nvSpPr>
        <p:spPr/>
        <p:txBody>
          <a:bodyPr/>
          <a:lstStyle/>
          <a:p>
            <a:fld id="{1F90F471-3972-4120-B8B3-0237DE626C35}" type="slidenum">
              <a:rPr lang="en-US" smtClean="0"/>
              <a:pPr/>
              <a:t>294</a:t>
            </a:fld>
            <a:endParaRPr lang="en-US" dirty="0"/>
          </a:p>
        </p:txBody>
      </p:sp>
    </p:spTree>
    <p:extLst>
      <p:ext uri="{BB962C8B-B14F-4D97-AF65-F5344CB8AC3E}">
        <p14:creationId xmlns:p14="http://schemas.microsoft.com/office/powerpoint/2010/main" val="3129914664"/>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descr="Add text and order accordingly">
            <a:hlinkClick r:id="rId2" action="ppaction://hlinksldjump" tooltip="Return to Index"/>
            <a:extLst>
              <a:ext uri="{FF2B5EF4-FFF2-40B4-BE49-F238E27FC236}">
                <a16:creationId xmlns:a16="http://schemas.microsoft.com/office/drawing/2014/main" id="{0DE3F75C-CF1B-47BB-A358-FF97AF03C85D}"/>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itle 6">
            <a:extLst>
              <a:ext uri="{FF2B5EF4-FFF2-40B4-BE49-F238E27FC236}">
                <a16:creationId xmlns:a16="http://schemas.microsoft.com/office/drawing/2014/main" id="{F7C4124B-B9D5-4FB9-AA46-3262DD2B40DB}"/>
              </a:ext>
            </a:extLst>
          </p:cNvPr>
          <p:cNvSpPr>
            <a:spLocks noGrp="1"/>
          </p:cNvSpPr>
          <p:nvPr>
            <p:ph type="title"/>
          </p:nvPr>
        </p:nvSpPr>
        <p:spPr/>
        <p:txBody>
          <a:bodyPr/>
          <a:lstStyle/>
          <a:p>
            <a:r>
              <a:rPr lang="en-US" dirty="0"/>
              <a:t>Boxes</a:t>
            </a:r>
          </a:p>
        </p:txBody>
      </p:sp>
      <p:sp>
        <p:nvSpPr>
          <p:cNvPr id="9" name="Text Placeholder 8">
            <a:extLst>
              <a:ext uri="{FF2B5EF4-FFF2-40B4-BE49-F238E27FC236}">
                <a16:creationId xmlns:a16="http://schemas.microsoft.com/office/drawing/2014/main" id="{1265ADBE-657A-4DC7-A6A6-2F0E697C4723}"/>
              </a:ext>
            </a:extLst>
          </p:cNvPr>
          <p:cNvSpPr>
            <a:spLocks noGrp="1"/>
          </p:cNvSpPr>
          <p:nvPr>
            <p:ph type="body" sz="quarter" idx="15"/>
          </p:nvPr>
        </p:nvSpPr>
        <p:spPr/>
        <p:txBody>
          <a:bodyPr/>
          <a:lstStyle/>
          <a:p>
            <a:r>
              <a:rPr lang="en-US" dirty="0"/>
              <a:t>Part of </a:t>
            </a:r>
            <a:r>
              <a:rPr lang="en-US" dirty="0">
                <a:hlinkClick r:id="rId3" action="ppaction://hlinksldjump">
                  <a:extLst>
                    <a:ext uri="{A12FA001-AC4F-418D-AE19-62706E023703}">
                      <ahyp:hlinkClr xmlns:ahyp="http://schemas.microsoft.com/office/drawing/2018/hyperlinkcolor" val="tx"/>
                    </a:ext>
                  </a:extLst>
                </a:hlinkClick>
              </a:rPr>
              <a:t>Static Objects</a:t>
            </a:r>
            <a:endParaRPr lang="en-US" dirty="0"/>
          </a:p>
        </p:txBody>
      </p:sp>
      <p:sp>
        <p:nvSpPr>
          <p:cNvPr id="5" name="Footer Placeholder 4">
            <a:extLst>
              <a:ext uri="{FF2B5EF4-FFF2-40B4-BE49-F238E27FC236}">
                <a16:creationId xmlns:a16="http://schemas.microsoft.com/office/drawing/2014/main" id="{9DC78945-A645-4563-BCA9-927812C9C4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BEE2891-AE3F-4D8A-B562-5662B242B3DF}"/>
              </a:ext>
            </a:extLst>
          </p:cNvPr>
          <p:cNvSpPr>
            <a:spLocks noGrp="1"/>
          </p:cNvSpPr>
          <p:nvPr>
            <p:ph type="sldNum" sz="quarter" idx="17"/>
          </p:nvPr>
        </p:nvSpPr>
        <p:spPr/>
        <p:txBody>
          <a:bodyPr/>
          <a:lstStyle/>
          <a:p>
            <a:fld id="{1F90F471-3972-4120-B8B3-0237DE626C35}" type="slidenum">
              <a:rPr lang="en-US" smtClean="0"/>
              <a:pPr/>
              <a:t>295</a:t>
            </a:fld>
            <a:endParaRPr lang="en-US" dirty="0"/>
          </a:p>
        </p:txBody>
      </p:sp>
    </p:spTree>
    <p:extLst>
      <p:ext uri="{BB962C8B-B14F-4D97-AF65-F5344CB8AC3E}">
        <p14:creationId xmlns:p14="http://schemas.microsoft.com/office/powerpoint/2010/main" val="2058974553"/>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Factors 1 </a:t>
            </a:r>
          </a:p>
        </p:txBody>
      </p:sp>
      <p:sp>
        <p:nvSpPr>
          <p:cNvPr id="32" name="Rectangle 21">
            <a:extLst>
              <a:ext uri="{FF2B5EF4-FFF2-40B4-BE49-F238E27FC236}">
                <a16:creationId xmlns:a16="http://schemas.microsoft.com/office/drawing/2014/main" id="{1D8B637C-82F6-4535-9B7C-EA686248D26F}"/>
              </a:ext>
            </a:extLst>
          </p:cNvPr>
          <p:cNvSpPr>
            <a:spLocks noChangeArrowheads="1"/>
          </p:cNvSpPr>
          <p:nvPr/>
        </p:nvSpPr>
        <p:spPr bwMode="auto">
          <a:xfrm>
            <a:off x="1822450" y="1514894"/>
            <a:ext cx="4225979" cy="2221200"/>
          </a:xfrm>
          <a:prstGeom prst="rect">
            <a:avLst/>
          </a:prstGeom>
          <a:solidFill>
            <a:srgbClr val="96968C">
              <a:lumMod val="20000"/>
              <a:lumOff val="80000"/>
            </a:srgb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35" name="Rectangle 24">
            <a:extLst>
              <a:ext uri="{FF2B5EF4-FFF2-40B4-BE49-F238E27FC236}">
                <a16:creationId xmlns:a16="http://schemas.microsoft.com/office/drawing/2014/main" id="{3880DB11-2C08-407F-B295-3BFCB17FFDAF}"/>
              </a:ext>
            </a:extLst>
          </p:cNvPr>
          <p:cNvSpPr>
            <a:spLocks noChangeArrowheads="1"/>
          </p:cNvSpPr>
          <p:nvPr/>
        </p:nvSpPr>
        <p:spPr bwMode="auto">
          <a:xfrm>
            <a:off x="6146309" y="1514894"/>
            <a:ext cx="4226416" cy="2221200"/>
          </a:xfrm>
          <a:prstGeom prst="rect">
            <a:avLst/>
          </a:prstGeom>
          <a:solidFill>
            <a:srgbClr val="96968C">
              <a:lumMod val="20000"/>
              <a:lumOff val="80000"/>
            </a:srgb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33" name="Rectangle 22">
            <a:extLst>
              <a:ext uri="{FF2B5EF4-FFF2-40B4-BE49-F238E27FC236}">
                <a16:creationId xmlns:a16="http://schemas.microsoft.com/office/drawing/2014/main" id="{CDA0FF87-8D8C-44FA-BE56-91A780532A11}"/>
              </a:ext>
            </a:extLst>
          </p:cNvPr>
          <p:cNvSpPr>
            <a:spLocks noChangeArrowheads="1"/>
          </p:cNvSpPr>
          <p:nvPr/>
        </p:nvSpPr>
        <p:spPr bwMode="auto">
          <a:xfrm>
            <a:off x="1822450" y="3836550"/>
            <a:ext cx="4225980" cy="2221350"/>
          </a:xfrm>
          <a:prstGeom prst="rect">
            <a:avLst/>
          </a:prstGeom>
          <a:solidFill>
            <a:srgbClr val="96968C">
              <a:lumMod val="20000"/>
              <a:lumOff val="80000"/>
            </a:srgbClr>
          </a:solidFill>
          <a:ln w="6350">
            <a:noFill/>
            <a:miter lim="800000"/>
            <a:headEnd/>
            <a:tailEnd/>
          </a:ln>
        </p:spPr>
        <p:txBody>
          <a:bodyPr lIns="180000" tIns="144000" rIns="72000" bIns="180000" anchor="b" anchorCtr="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34" name="Rectangle 23">
            <a:extLst>
              <a:ext uri="{FF2B5EF4-FFF2-40B4-BE49-F238E27FC236}">
                <a16:creationId xmlns:a16="http://schemas.microsoft.com/office/drawing/2014/main" id="{6CA4B2C0-413B-48F3-BE8B-4A8FB7099C6A}"/>
              </a:ext>
            </a:extLst>
          </p:cNvPr>
          <p:cNvSpPr>
            <a:spLocks noChangeArrowheads="1"/>
          </p:cNvSpPr>
          <p:nvPr/>
        </p:nvSpPr>
        <p:spPr bwMode="auto">
          <a:xfrm>
            <a:off x="6146309" y="3836550"/>
            <a:ext cx="4226416" cy="2221350"/>
          </a:xfrm>
          <a:prstGeom prst="rect">
            <a:avLst/>
          </a:prstGeom>
          <a:solidFill>
            <a:srgbClr val="96968C">
              <a:lumMod val="20000"/>
              <a:lumOff val="80000"/>
            </a:srgbClr>
          </a:solidFill>
          <a:ln w="6350">
            <a:noFill/>
            <a:miter lim="800000"/>
            <a:headEnd/>
            <a:tailEnd/>
          </a:ln>
        </p:spPr>
        <p:txBody>
          <a:bodyPr lIns="180000" tIns="144000" rIns="72000" bIns="180000" anchor="b" anchorCtr="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36" name="Oval 25">
            <a:extLst>
              <a:ext uri="{FF2B5EF4-FFF2-40B4-BE49-F238E27FC236}">
                <a16:creationId xmlns:a16="http://schemas.microsoft.com/office/drawing/2014/main" id="{2E44C0CB-048B-4274-BB8F-53953796FDE1}"/>
              </a:ext>
            </a:extLst>
          </p:cNvPr>
          <p:cNvSpPr>
            <a:spLocks noChangeArrowheads="1"/>
          </p:cNvSpPr>
          <p:nvPr/>
        </p:nvSpPr>
        <p:spPr bwMode="auto">
          <a:xfrm>
            <a:off x="5007796" y="2721349"/>
            <a:ext cx="2129947" cy="2129946"/>
          </a:xfrm>
          <a:prstGeom prst="ellipse">
            <a:avLst/>
          </a:prstGeom>
          <a:solidFill>
            <a:schemeClr val="accent2"/>
          </a:solidFill>
          <a:ln w="101600">
            <a:solidFill>
              <a:srgbClr val="FFFFFF"/>
            </a:solidFill>
            <a:round/>
            <a:headEnd/>
            <a:tailEnd/>
          </a:ln>
          <a:effectLst/>
        </p:spPr>
        <p:txBody>
          <a:bodyPr lIns="72000" tIns="72000" rIns="72000" bIns="72000" anchor="ctr"/>
          <a:lstStyle/>
          <a:p>
            <a:pPr marL="0" marR="0" lvl="0" indent="-180000" algn="ctr"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none" spc="0" normalizeH="0" baseline="0" noProof="0" dirty="0">
                <a:ln>
                  <a:noFill/>
                </a:ln>
                <a:solidFill>
                  <a:schemeClr val="bg1"/>
                </a:solidFill>
                <a:effectLst/>
                <a:uLnTx/>
                <a:uFillTx/>
                <a:latin typeface="+mj-lt"/>
                <a:ea typeface="+mn-ea"/>
                <a:cs typeface="+mn-cs"/>
              </a:rPr>
              <a:t>Text</a:t>
            </a:r>
          </a:p>
        </p:txBody>
      </p:sp>
      <p:sp>
        <p:nvSpPr>
          <p:cNvPr id="4" name="Footer Placeholder 3">
            <a:extLst>
              <a:ext uri="{FF2B5EF4-FFF2-40B4-BE49-F238E27FC236}">
                <a16:creationId xmlns:a16="http://schemas.microsoft.com/office/drawing/2014/main" id="{ADF4FDB6-5458-4410-A74A-4075CD44937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5A960BB7-BB92-4725-90D1-C7712F6D5F3D}"/>
              </a:ext>
            </a:extLst>
          </p:cNvPr>
          <p:cNvSpPr>
            <a:spLocks noGrp="1"/>
          </p:cNvSpPr>
          <p:nvPr>
            <p:ph type="sldNum" sz="quarter" idx="10"/>
          </p:nvPr>
        </p:nvSpPr>
        <p:spPr/>
        <p:txBody>
          <a:bodyPr/>
          <a:lstStyle/>
          <a:p>
            <a:fld id="{1F90F471-3972-4120-B8B3-0237DE626C35}" type="slidenum">
              <a:rPr lang="en-US" smtClean="0"/>
              <a:pPr/>
              <a:t>296</a:t>
            </a:fld>
            <a:endParaRPr lang="en-US" dirty="0"/>
          </a:p>
        </p:txBody>
      </p:sp>
    </p:spTree>
    <p:extLst>
      <p:ext uri="{BB962C8B-B14F-4D97-AF65-F5344CB8AC3E}">
        <p14:creationId xmlns:p14="http://schemas.microsoft.com/office/powerpoint/2010/main" val="1663855913"/>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Factors 2 </a:t>
            </a:r>
          </a:p>
        </p:txBody>
      </p:sp>
      <p:sp>
        <p:nvSpPr>
          <p:cNvPr id="6" name="Rectangle 12">
            <a:extLst>
              <a:ext uri="{FF2B5EF4-FFF2-40B4-BE49-F238E27FC236}">
                <a16:creationId xmlns:a16="http://schemas.microsoft.com/office/drawing/2014/main" id="{11CF98CC-1F85-4655-B5CF-073846DF3EAD}"/>
              </a:ext>
            </a:extLst>
          </p:cNvPr>
          <p:cNvSpPr>
            <a:spLocks noChangeArrowheads="1"/>
          </p:cNvSpPr>
          <p:nvPr/>
        </p:nvSpPr>
        <p:spPr bwMode="auto">
          <a:xfrm>
            <a:off x="3374082" y="2848092"/>
            <a:ext cx="5442306" cy="1973290"/>
          </a:xfrm>
          <a:prstGeom prst="rect">
            <a:avLst/>
          </a:prstGeom>
          <a:pattFill prst="dkUpDiag">
            <a:fgClr>
              <a:srgbClr val="96968C">
                <a:lumMod val="40000"/>
                <a:lumOff val="60000"/>
              </a:srgbClr>
            </a:fgClr>
            <a:bgClr>
              <a:srgbClr val="FFFFFF"/>
            </a:bgClr>
          </a:pattFill>
          <a:ln w="6350">
            <a:noFill/>
            <a:miter lim="800000"/>
            <a:headEnd/>
            <a:tailEnd/>
          </a:ln>
        </p:spPr>
        <p:txBody>
          <a:bodyPr lIns="180000" tIns="144000" rIns="180000" bIns="72000" anchor="ctr" anchorCtr="0"/>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mj-lt"/>
                <a:ea typeface="+mn-ea"/>
                <a:cs typeface="+mn-cs"/>
              </a:rPr>
              <a:t>Text</a:t>
            </a:r>
          </a:p>
          <a:p>
            <a:pPr marL="0" marR="0" lvl="0" indent="0" algn="ctr" defTabSz="914400" rtl="0" eaLnBrk="0" fontAlgn="auto" latinLnBrk="0" hangingPunct="0">
              <a:lnSpc>
                <a:spcPct val="85000"/>
              </a:lnSpc>
              <a:spcBef>
                <a:spcPts val="100"/>
              </a:spcBef>
              <a:spcAft>
                <a:spcPts val="100"/>
              </a:spcAft>
              <a:buClrTx/>
              <a:buSzTx/>
              <a:buFontTx/>
              <a:buNone/>
              <a:tabLst/>
              <a:defRPr/>
            </a:pPr>
            <a:r>
              <a:rPr kumimoji="0" lang="en-US" sz="1800" b="0" i="0" u="none" strike="noStrike" kern="0" cap="none" spc="0" normalizeH="0" baseline="0" noProof="0" dirty="0">
                <a:ln>
                  <a:noFill/>
                </a:ln>
                <a:solidFill>
                  <a:srgbClr val="000000"/>
                </a:solidFill>
                <a:effectLst/>
                <a:uLnTx/>
                <a:uFillTx/>
                <a:ea typeface="+mn-ea"/>
                <a:cs typeface="+mn-cs"/>
              </a:rPr>
              <a:t>Insert text</a:t>
            </a:r>
          </a:p>
        </p:txBody>
      </p:sp>
      <p:sp>
        <p:nvSpPr>
          <p:cNvPr id="4" name="Rectangle 10">
            <a:extLst>
              <a:ext uri="{FF2B5EF4-FFF2-40B4-BE49-F238E27FC236}">
                <a16:creationId xmlns:a16="http://schemas.microsoft.com/office/drawing/2014/main" id="{731F5AC2-5008-4D90-AC9E-964DABCC1A07}"/>
              </a:ext>
            </a:extLst>
          </p:cNvPr>
          <p:cNvSpPr>
            <a:spLocks noChangeArrowheads="1"/>
          </p:cNvSpPr>
          <p:nvPr/>
        </p:nvSpPr>
        <p:spPr bwMode="auto">
          <a:xfrm>
            <a:off x="3374083" y="1628775"/>
            <a:ext cx="5442304" cy="1137868"/>
          </a:xfrm>
          <a:prstGeom prst="rect">
            <a:avLst/>
          </a:prstGeom>
          <a:solidFill>
            <a:schemeClr val="accent2"/>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ea typeface="+mn-ea"/>
                <a:cs typeface="+mn-cs"/>
              </a:rPr>
              <a:t>Text</a:t>
            </a:r>
          </a:p>
        </p:txBody>
      </p:sp>
      <p:sp>
        <p:nvSpPr>
          <p:cNvPr id="8" name="Rectangle 14">
            <a:extLst>
              <a:ext uri="{FF2B5EF4-FFF2-40B4-BE49-F238E27FC236}">
                <a16:creationId xmlns:a16="http://schemas.microsoft.com/office/drawing/2014/main" id="{786402DD-A79E-48AE-972F-D2E4C962C7AD}"/>
              </a:ext>
            </a:extLst>
          </p:cNvPr>
          <p:cNvSpPr>
            <a:spLocks noChangeArrowheads="1"/>
          </p:cNvSpPr>
          <p:nvPr/>
        </p:nvSpPr>
        <p:spPr bwMode="auto">
          <a:xfrm>
            <a:off x="8910425" y="2848092"/>
            <a:ext cx="1600990" cy="1973290"/>
          </a:xfrm>
          <a:prstGeom prst="rect">
            <a:avLst/>
          </a:prstGeom>
          <a:solidFill>
            <a:schemeClr val="accent2"/>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ea typeface="+mn-ea"/>
                <a:cs typeface="+mn-cs"/>
              </a:rPr>
              <a:t>Text</a:t>
            </a:r>
          </a:p>
        </p:txBody>
      </p:sp>
      <p:sp>
        <p:nvSpPr>
          <p:cNvPr id="5" name="Rectangle 11">
            <a:extLst>
              <a:ext uri="{FF2B5EF4-FFF2-40B4-BE49-F238E27FC236}">
                <a16:creationId xmlns:a16="http://schemas.microsoft.com/office/drawing/2014/main" id="{AEAA9FB9-3B47-4D10-B3D1-7A18B1121936}"/>
              </a:ext>
            </a:extLst>
          </p:cNvPr>
          <p:cNvSpPr>
            <a:spLocks noChangeArrowheads="1"/>
          </p:cNvSpPr>
          <p:nvPr/>
        </p:nvSpPr>
        <p:spPr bwMode="auto">
          <a:xfrm>
            <a:off x="3374083" y="4904364"/>
            <a:ext cx="5442304" cy="1137868"/>
          </a:xfrm>
          <a:prstGeom prst="rect">
            <a:avLst/>
          </a:prstGeom>
          <a:solidFill>
            <a:schemeClr val="accent2"/>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ea typeface="+mn-ea"/>
                <a:cs typeface="+mn-cs"/>
              </a:rPr>
              <a:t>Text</a:t>
            </a:r>
          </a:p>
        </p:txBody>
      </p:sp>
      <p:sp>
        <p:nvSpPr>
          <p:cNvPr id="7" name="Rectangle 13">
            <a:extLst>
              <a:ext uri="{FF2B5EF4-FFF2-40B4-BE49-F238E27FC236}">
                <a16:creationId xmlns:a16="http://schemas.microsoft.com/office/drawing/2014/main" id="{9B7C1776-EED4-43B1-B5ED-D8B00D8C4B0D}"/>
              </a:ext>
            </a:extLst>
          </p:cNvPr>
          <p:cNvSpPr>
            <a:spLocks noChangeArrowheads="1"/>
          </p:cNvSpPr>
          <p:nvPr/>
        </p:nvSpPr>
        <p:spPr bwMode="auto">
          <a:xfrm>
            <a:off x="1679055" y="2848092"/>
            <a:ext cx="1600990" cy="1973290"/>
          </a:xfrm>
          <a:prstGeom prst="rect">
            <a:avLst/>
          </a:prstGeom>
          <a:solidFill>
            <a:schemeClr val="accent2"/>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ea typeface="+mn-ea"/>
                <a:cs typeface="+mn-cs"/>
              </a:rPr>
              <a:t>Text</a:t>
            </a:r>
          </a:p>
        </p:txBody>
      </p:sp>
      <p:sp>
        <p:nvSpPr>
          <p:cNvPr id="9" name="Footer Placeholder 8">
            <a:extLst>
              <a:ext uri="{FF2B5EF4-FFF2-40B4-BE49-F238E27FC236}">
                <a16:creationId xmlns:a16="http://schemas.microsoft.com/office/drawing/2014/main" id="{44F0433A-1C98-4F1C-93D0-7EF51BFBB9FB}"/>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1" name="Slide Number Placeholder 10">
            <a:extLst>
              <a:ext uri="{FF2B5EF4-FFF2-40B4-BE49-F238E27FC236}">
                <a16:creationId xmlns:a16="http://schemas.microsoft.com/office/drawing/2014/main" id="{A652FBD6-C7EE-448E-B16E-E9198B16CBE7}"/>
              </a:ext>
            </a:extLst>
          </p:cNvPr>
          <p:cNvSpPr>
            <a:spLocks noGrp="1"/>
          </p:cNvSpPr>
          <p:nvPr>
            <p:ph type="sldNum" sz="quarter" idx="10"/>
          </p:nvPr>
        </p:nvSpPr>
        <p:spPr/>
        <p:txBody>
          <a:bodyPr/>
          <a:lstStyle/>
          <a:p>
            <a:fld id="{1F90F471-3972-4120-B8B3-0237DE626C35}" type="slidenum">
              <a:rPr lang="en-US" smtClean="0"/>
              <a:pPr/>
              <a:t>297</a:t>
            </a:fld>
            <a:endParaRPr lang="en-US" dirty="0"/>
          </a:p>
        </p:txBody>
      </p:sp>
    </p:spTree>
    <p:extLst>
      <p:ext uri="{BB962C8B-B14F-4D97-AF65-F5344CB8AC3E}">
        <p14:creationId xmlns:p14="http://schemas.microsoft.com/office/powerpoint/2010/main" val="4026689656"/>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Factors 3 </a:t>
            </a:r>
          </a:p>
        </p:txBody>
      </p:sp>
      <p:grpSp>
        <p:nvGrpSpPr>
          <p:cNvPr id="4" name="Group 52">
            <a:extLst>
              <a:ext uri="{FF2B5EF4-FFF2-40B4-BE49-F238E27FC236}">
                <a16:creationId xmlns:a16="http://schemas.microsoft.com/office/drawing/2014/main" id="{FF3419C7-A13A-406C-B415-4A78DCAFEEF6}"/>
              </a:ext>
              <a:ext uri="{C183D7F6-B498-43B3-948B-1728B52AA6E4}">
                <adec:decorative xmlns:adec="http://schemas.microsoft.com/office/drawing/2017/decorative" val="1"/>
              </a:ext>
            </a:extLst>
          </p:cNvPr>
          <p:cNvGrpSpPr>
            <a:grpSpLocks/>
          </p:cNvGrpSpPr>
          <p:nvPr>
            <p:custDataLst>
              <p:tags r:id="rId1"/>
            </p:custDataLst>
          </p:nvPr>
        </p:nvGrpSpPr>
        <p:grpSpPr bwMode="auto">
          <a:xfrm>
            <a:off x="1998074" y="1628776"/>
            <a:ext cx="8197683" cy="4402147"/>
            <a:chOff x="198" y="1207"/>
            <a:chExt cx="5365" cy="2881"/>
          </a:xfrm>
        </p:grpSpPr>
        <p:sp>
          <p:nvSpPr>
            <p:cNvPr id="5" name="Rectangle 53">
              <a:extLst>
                <a:ext uri="{FF2B5EF4-FFF2-40B4-BE49-F238E27FC236}">
                  <a16:creationId xmlns:a16="http://schemas.microsoft.com/office/drawing/2014/main" id="{95CF93EE-E5A6-4E0B-8EFC-F800545DFC5F}"/>
                </a:ext>
              </a:extLst>
            </p:cNvPr>
            <p:cNvSpPr>
              <a:spLocks noChangeArrowheads="1"/>
            </p:cNvSpPr>
            <p:nvPr>
              <p:custDataLst>
                <p:tags r:id="rId7"/>
              </p:custDataLst>
            </p:nvPr>
          </p:nvSpPr>
          <p:spPr bwMode="auto">
            <a:xfrm>
              <a:off x="204" y="1207"/>
              <a:ext cx="5359" cy="2881"/>
            </a:xfrm>
            <a:prstGeom prst="rect">
              <a:avLst/>
            </a:prstGeom>
            <a:solidFill>
              <a:srgbClr val="96968C">
                <a:lumMod val="20000"/>
                <a:lumOff val="80000"/>
              </a:srgbClr>
            </a:solidFill>
            <a:ln w="6350" algn="ctr">
              <a:solidFill>
                <a:srgbClr val="E4E7E7"/>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 name="Line 54">
              <a:extLst>
                <a:ext uri="{FF2B5EF4-FFF2-40B4-BE49-F238E27FC236}">
                  <a16:creationId xmlns:a16="http://schemas.microsoft.com/office/drawing/2014/main" id="{E298B414-3D71-48C5-BC06-F606F45013B9}"/>
                </a:ext>
              </a:extLst>
            </p:cNvPr>
            <p:cNvSpPr>
              <a:spLocks noChangeShapeType="1"/>
            </p:cNvSpPr>
            <p:nvPr>
              <p:custDataLst>
                <p:tags r:id="rId8"/>
              </p:custDataLst>
            </p:nvPr>
          </p:nvSpPr>
          <p:spPr bwMode="auto">
            <a:xfrm>
              <a:off x="198" y="1207"/>
              <a:ext cx="5358" cy="2881"/>
            </a:xfrm>
            <a:prstGeom prst="line">
              <a:avLst/>
            </a:prstGeom>
            <a:noFill/>
            <a:ln w="63500">
              <a:solidFill>
                <a:srgbClr val="FFFFFF"/>
              </a:solidFill>
              <a:round/>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 name="Line 55">
              <a:extLst>
                <a:ext uri="{FF2B5EF4-FFF2-40B4-BE49-F238E27FC236}">
                  <a16:creationId xmlns:a16="http://schemas.microsoft.com/office/drawing/2014/main" id="{7FD09095-A7AF-4348-BB84-34BC9EB87D63}"/>
                </a:ext>
              </a:extLst>
            </p:cNvPr>
            <p:cNvSpPr>
              <a:spLocks noChangeShapeType="1"/>
            </p:cNvSpPr>
            <p:nvPr>
              <p:custDataLst>
                <p:tags r:id="rId9"/>
              </p:custDataLst>
            </p:nvPr>
          </p:nvSpPr>
          <p:spPr bwMode="auto">
            <a:xfrm flipH="1">
              <a:off x="204" y="1207"/>
              <a:ext cx="5359" cy="2881"/>
            </a:xfrm>
            <a:prstGeom prst="line">
              <a:avLst/>
            </a:prstGeom>
            <a:noFill/>
            <a:ln w="63500">
              <a:solidFill>
                <a:srgbClr val="FFFFFF"/>
              </a:solidFill>
              <a:round/>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sp>
        <p:nvSpPr>
          <p:cNvPr id="8" name="Rectangle 40">
            <a:extLst>
              <a:ext uri="{FF2B5EF4-FFF2-40B4-BE49-F238E27FC236}">
                <a16:creationId xmlns:a16="http://schemas.microsoft.com/office/drawing/2014/main" id="{494F74E1-F7DC-4C42-80B7-EF736396E187}"/>
              </a:ext>
            </a:extLst>
          </p:cNvPr>
          <p:cNvSpPr>
            <a:spLocks noChangeArrowheads="1"/>
          </p:cNvSpPr>
          <p:nvPr>
            <p:custDataLst>
              <p:tags r:id="rId2"/>
            </p:custDataLst>
          </p:nvPr>
        </p:nvSpPr>
        <p:spPr bwMode="auto">
          <a:xfrm>
            <a:off x="4381743" y="2929096"/>
            <a:ext cx="3430345" cy="1801504"/>
          </a:xfrm>
          <a:prstGeom prst="rect">
            <a:avLst/>
          </a:prstGeom>
          <a:solidFill>
            <a:schemeClr val="accent2"/>
          </a:solidFill>
          <a:ln w="63500">
            <a:solidFill>
              <a:srgbClr val="FFFFFF"/>
            </a:solidFill>
            <a:miter lim="800000"/>
            <a:headEnd/>
            <a:tailEnd/>
          </a:ln>
        </p:spPr>
        <p:txBody>
          <a:bodyPr lIns="180000" tIns="144000" rIns="180000" bIns="72000" anchor="ctr" anchorCtr="0"/>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mj-lt"/>
                <a:ea typeface="+mn-ea"/>
                <a:cs typeface="+mn-cs"/>
              </a:rPr>
              <a:t>Text</a:t>
            </a:r>
          </a:p>
          <a:p>
            <a:pPr marL="0" marR="0" lvl="0" indent="0" algn="ctr" defTabSz="914400" rtl="0" eaLnBrk="0" fontAlgn="auto" latinLnBrk="0" hangingPunct="0">
              <a:lnSpc>
                <a:spcPct val="85000"/>
              </a:lnSpc>
              <a:spcBef>
                <a:spcPts val="100"/>
              </a:spcBef>
              <a:spcAft>
                <a:spcPts val="100"/>
              </a:spcAft>
              <a:buClrTx/>
              <a:buSzTx/>
              <a:buFontTx/>
              <a:buNone/>
              <a:tabLst/>
              <a:defRPr/>
            </a:pPr>
            <a:r>
              <a:rPr kumimoji="0" lang="en-US" sz="1800" b="0" i="0" u="none" strike="noStrike" kern="0" cap="none" spc="0" normalizeH="0" baseline="0" noProof="0" dirty="0">
                <a:ln>
                  <a:noFill/>
                </a:ln>
                <a:solidFill>
                  <a:srgbClr val="FFFFFF"/>
                </a:solidFill>
                <a:effectLst/>
                <a:uLnTx/>
                <a:uFillTx/>
                <a:ea typeface="+mn-ea"/>
                <a:cs typeface="+mn-cs"/>
              </a:rPr>
              <a:t>Insert text</a:t>
            </a:r>
          </a:p>
        </p:txBody>
      </p:sp>
      <p:sp>
        <p:nvSpPr>
          <p:cNvPr id="9" name="Rectangle 41">
            <a:extLst>
              <a:ext uri="{FF2B5EF4-FFF2-40B4-BE49-F238E27FC236}">
                <a16:creationId xmlns:a16="http://schemas.microsoft.com/office/drawing/2014/main" id="{79CDB695-9882-4659-9B84-9C3F43E384AA}"/>
              </a:ext>
            </a:extLst>
          </p:cNvPr>
          <p:cNvSpPr>
            <a:spLocks noChangeArrowheads="1"/>
          </p:cNvSpPr>
          <p:nvPr>
            <p:custDataLst>
              <p:tags r:id="rId3"/>
            </p:custDataLst>
          </p:nvPr>
        </p:nvSpPr>
        <p:spPr bwMode="auto">
          <a:xfrm>
            <a:off x="8068640" y="3642670"/>
            <a:ext cx="2087538" cy="368246"/>
          </a:xfrm>
          <a:prstGeom prst="rect">
            <a:avLst/>
          </a:prstGeom>
          <a:noFill/>
          <a:ln w="6350">
            <a:noFill/>
            <a:miter lim="800000"/>
            <a:headEnd/>
            <a:tailEnd/>
          </a:ln>
          <a:effectLst/>
        </p:spPr>
        <p:txBody>
          <a:bodyPr wrap="none" lIns="72000" tIns="72000" rIns="72000" bIns="72000" anchor="ctr" anchorCtr="1"/>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j-lt"/>
                <a:ea typeface="+mn-ea"/>
                <a:cs typeface="+mn-cs"/>
              </a:rPr>
              <a:t>Text</a:t>
            </a:r>
          </a:p>
        </p:txBody>
      </p:sp>
      <p:sp>
        <p:nvSpPr>
          <p:cNvPr id="11" name="Rectangle 43">
            <a:extLst>
              <a:ext uri="{FF2B5EF4-FFF2-40B4-BE49-F238E27FC236}">
                <a16:creationId xmlns:a16="http://schemas.microsoft.com/office/drawing/2014/main" id="{6EC1A0CB-DAAD-44C8-B11F-3699C2B6090B}"/>
              </a:ext>
            </a:extLst>
          </p:cNvPr>
          <p:cNvSpPr>
            <a:spLocks noChangeArrowheads="1"/>
          </p:cNvSpPr>
          <p:nvPr>
            <p:custDataLst>
              <p:tags r:id="rId4"/>
            </p:custDataLst>
          </p:nvPr>
        </p:nvSpPr>
        <p:spPr bwMode="auto">
          <a:xfrm>
            <a:off x="4189467" y="5283734"/>
            <a:ext cx="3801142" cy="368246"/>
          </a:xfrm>
          <a:prstGeom prst="rect">
            <a:avLst/>
          </a:prstGeom>
          <a:noFill/>
          <a:ln w="6350">
            <a:noFill/>
            <a:miter lim="800000"/>
            <a:headEnd/>
            <a:tailEnd/>
          </a:ln>
          <a:effectLst/>
        </p:spPr>
        <p:txBody>
          <a:bodyPr wrap="none" lIns="72000" tIns="72000" rIns="72000" bIns="72000" anchor="ctr" anchorCtr="1"/>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j-lt"/>
                <a:ea typeface="+mn-ea"/>
                <a:cs typeface="+mn-cs"/>
              </a:rPr>
              <a:t>Text</a:t>
            </a:r>
          </a:p>
        </p:txBody>
      </p:sp>
      <p:sp>
        <p:nvSpPr>
          <p:cNvPr id="10" name="Rectangle 42">
            <a:extLst>
              <a:ext uri="{FF2B5EF4-FFF2-40B4-BE49-F238E27FC236}">
                <a16:creationId xmlns:a16="http://schemas.microsoft.com/office/drawing/2014/main" id="{1A1DB2A9-247B-4C23-BB87-FEABEE8365E9}"/>
              </a:ext>
            </a:extLst>
          </p:cNvPr>
          <p:cNvSpPr>
            <a:spLocks noChangeArrowheads="1"/>
          </p:cNvSpPr>
          <p:nvPr>
            <p:custDataLst>
              <p:tags r:id="rId5"/>
            </p:custDataLst>
          </p:nvPr>
        </p:nvSpPr>
        <p:spPr bwMode="auto">
          <a:xfrm>
            <a:off x="2263795" y="3642670"/>
            <a:ext cx="1861396" cy="368246"/>
          </a:xfrm>
          <a:prstGeom prst="rect">
            <a:avLst/>
          </a:prstGeom>
          <a:noFill/>
          <a:ln w="6350">
            <a:noFill/>
            <a:miter lim="800000"/>
            <a:headEnd/>
            <a:tailEnd/>
          </a:ln>
          <a:effectLst/>
        </p:spPr>
        <p:txBody>
          <a:bodyPr wrap="none" lIns="72000" tIns="72000" rIns="72000" bIns="72000" anchor="ctr" anchorCtr="1"/>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j-lt"/>
                <a:ea typeface="+mn-ea"/>
                <a:cs typeface="+mn-cs"/>
              </a:rPr>
              <a:t>Text</a:t>
            </a:r>
          </a:p>
        </p:txBody>
      </p:sp>
      <p:sp>
        <p:nvSpPr>
          <p:cNvPr id="12" name="Rectangle 44">
            <a:extLst>
              <a:ext uri="{FF2B5EF4-FFF2-40B4-BE49-F238E27FC236}">
                <a16:creationId xmlns:a16="http://schemas.microsoft.com/office/drawing/2014/main" id="{0691D843-3578-4135-A749-F5E89DC79190}"/>
              </a:ext>
            </a:extLst>
          </p:cNvPr>
          <p:cNvSpPr>
            <a:spLocks noChangeArrowheads="1"/>
          </p:cNvSpPr>
          <p:nvPr>
            <p:custDataLst>
              <p:tags r:id="rId6"/>
            </p:custDataLst>
          </p:nvPr>
        </p:nvSpPr>
        <p:spPr bwMode="auto">
          <a:xfrm>
            <a:off x="3753049" y="1942014"/>
            <a:ext cx="4673978" cy="368247"/>
          </a:xfrm>
          <a:prstGeom prst="rect">
            <a:avLst/>
          </a:prstGeom>
          <a:noFill/>
          <a:ln w="6350">
            <a:noFill/>
            <a:miter lim="800000"/>
            <a:headEnd/>
            <a:tailEnd/>
          </a:ln>
          <a:effectLst/>
        </p:spPr>
        <p:txBody>
          <a:bodyPr wrap="none" lIns="72000" tIns="72000" rIns="72000" bIns="72000" anchor="ctr" anchorCtr="1"/>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j-lt"/>
                <a:ea typeface="+mn-ea"/>
                <a:cs typeface="+mn-cs"/>
              </a:rPr>
              <a:t>Text</a:t>
            </a:r>
          </a:p>
        </p:txBody>
      </p:sp>
      <p:sp>
        <p:nvSpPr>
          <p:cNvPr id="13" name="Footer Placeholder 12">
            <a:extLst>
              <a:ext uri="{FF2B5EF4-FFF2-40B4-BE49-F238E27FC236}">
                <a16:creationId xmlns:a16="http://schemas.microsoft.com/office/drawing/2014/main" id="{F040C3CB-D60D-4D48-B6AA-7E1B0E7BA3E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6" name="Slide Number Placeholder 15">
            <a:extLst>
              <a:ext uri="{FF2B5EF4-FFF2-40B4-BE49-F238E27FC236}">
                <a16:creationId xmlns:a16="http://schemas.microsoft.com/office/drawing/2014/main" id="{88720126-7F8D-4266-94AF-6F340E86F52C}"/>
              </a:ext>
            </a:extLst>
          </p:cNvPr>
          <p:cNvSpPr>
            <a:spLocks noGrp="1"/>
          </p:cNvSpPr>
          <p:nvPr>
            <p:ph type="sldNum" sz="quarter" idx="10"/>
          </p:nvPr>
        </p:nvSpPr>
        <p:spPr/>
        <p:txBody>
          <a:bodyPr/>
          <a:lstStyle/>
          <a:p>
            <a:fld id="{1F90F471-3972-4120-B8B3-0237DE626C35}" type="slidenum">
              <a:rPr lang="en-US" smtClean="0"/>
              <a:pPr/>
              <a:t>298</a:t>
            </a:fld>
            <a:endParaRPr lang="en-US" dirty="0"/>
          </a:p>
        </p:txBody>
      </p:sp>
    </p:spTree>
    <p:extLst>
      <p:ext uri="{BB962C8B-B14F-4D97-AF65-F5344CB8AC3E}">
        <p14:creationId xmlns:p14="http://schemas.microsoft.com/office/powerpoint/2010/main" val="3343375522"/>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Factors 4</a:t>
            </a:r>
          </a:p>
        </p:txBody>
      </p:sp>
      <p:grpSp>
        <p:nvGrpSpPr>
          <p:cNvPr id="4" name="Group 52">
            <a:extLst>
              <a:ext uri="{FF2B5EF4-FFF2-40B4-BE49-F238E27FC236}">
                <a16:creationId xmlns:a16="http://schemas.microsoft.com/office/drawing/2014/main" id="{E6D67DCD-F430-4D9F-9A4E-2346EFCCB65A}"/>
              </a:ext>
              <a:ext uri="{C183D7F6-B498-43B3-948B-1728B52AA6E4}">
                <adec:decorative xmlns:adec="http://schemas.microsoft.com/office/drawing/2017/decorative" val="1"/>
              </a:ext>
            </a:extLst>
          </p:cNvPr>
          <p:cNvGrpSpPr>
            <a:grpSpLocks/>
          </p:cNvGrpSpPr>
          <p:nvPr>
            <p:custDataLst>
              <p:tags r:id="rId1"/>
            </p:custDataLst>
          </p:nvPr>
        </p:nvGrpSpPr>
        <p:grpSpPr bwMode="auto">
          <a:xfrm>
            <a:off x="1998074" y="1628776"/>
            <a:ext cx="8197683" cy="4402147"/>
            <a:chOff x="198" y="1207"/>
            <a:chExt cx="5365" cy="2881"/>
          </a:xfrm>
        </p:grpSpPr>
        <p:sp>
          <p:nvSpPr>
            <p:cNvPr id="5" name="Rectangle 53">
              <a:extLst>
                <a:ext uri="{FF2B5EF4-FFF2-40B4-BE49-F238E27FC236}">
                  <a16:creationId xmlns:a16="http://schemas.microsoft.com/office/drawing/2014/main" id="{02B18709-4BF0-4D22-A6E6-C25DB75C3145}"/>
                </a:ext>
              </a:extLst>
            </p:cNvPr>
            <p:cNvSpPr>
              <a:spLocks noChangeArrowheads="1"/>
            </p:cNvSpPr>
            <p:nvPr>
              <p:custDataLst>
                <p:tags r:id="rId6"/>
              </p:custDataLst>
            </p:nvPr>
          </p:nvSpPr>
          <p:spPr bwMode="auto">
            <a:xfrm>
              <a:off x="204" y="1207"/>
              <a:ext cx="5359" cy="2881"/>
            </a:xfrm>
            <a:prstGeom prst="rect">
              <a:avLst/>
            </a:prstGeom>
            <a:pattFill prst="dkUpDiag">
              <a:fgClr>
                <a:srgbClr val="96968C">
                  <a:lumMod val="40000"/>
                  <a:lumOff val="60000"/>
                </a:srgbClr>
              </a:fgClr>
              <a:bgClr>
                <a:srgbClr val="FFFFFF"/>
              </a:bgClr>
            </a:pattFill>
            <a:ln w="6350" algn="ctr">
              <a:solidFill>
                <a:srgbClr val="E4E7E7"/>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 name="Line 54">
              <a:extLst>
                <a:ext uri="{FF2B5EF4-FFF2-40B4-BE49-F238E27FC236}">
                  <a16:creationId xmlns:a16="http://schemas.microsoft.com/office/drawing/2014/main" id="{C8A8803E-F053-4C68-AC4E-6FF7356C90A9}"/>
                </a:ext>
              </a:extLst>
            </p:cNvPr>
            <p:cNvSpPr>
              <a:spLocks noChangeShapeType="1"/>
            </p:cNvSpPr>
            <p:nvPr>
              <p:custDataLst>
                <p:tags r:id="rId7"/>
              </p:custDataLst>
            </p:nvPr>
          </p:nvSpPr>
          <p:spPr bwMode="auto">
            <a:xfrm>
              <a:off x="198" y="1207"/>
              <a:ext cx="5358" cy="2881"/>
            </a:xfrm>
            <a:prstGeom prst="line">
              <a:avLst/>
            </a:prstGeom>
            <a:noFill/>
            <a:ln w="63500">
              <a:solidFill>
                <a:srgbClr val="FFFFFF"/>
              </a:solidFill>
              <a:round/>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 name="Line 55">
              <a:extLst>
                <a:ext uri="{FF2B5EF4-FFF2-40B4-BE49-F238E27FC236}">
                  <a16:creationId xmlns:a16="http://schemas.microsoft.com/office/drawing/2014/main" id="{F1F60A98-A8B9-4075-8F1A-54B05DFE2198}"/>
                </a:ext>
              </a:extLst>
            </p:cNvPr>
            <p:cNvSpPr>
              <a:spLocks noChangeShapeType="1"/>
            </p:cNvSpPr>
            <p:nvPr>
              <p:custDataLst>
                <p:tags r:id="rId8"/>
              </p:custDataLst>
            </p:nvPr>
          </p:nvSpPr>
          <p:spPr bwMode="auto">
            <a:xfrm flipH="1">
              <a:off x="204" y="1207"/>
              <a:ext cx="5359" cy="2881"/>
            </a:xfrm>
            <a:prstGeom prst="line">
              <a:avLst/>
            </a:prstGeom>
            <a:noFill/>
            <a:ln w="63500">
              <a:solidFill>
                <a:srgbClr val="FFFFFF"/>
              </a:solidFill>
              <a:round/>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sp>
        <p:nvSpPr>
          <p:cNvPr id="12" name="Oval 25">
            <a:extLst>
              <a:ext uri="{FF2B5EF4-FFF2-40B4-BE49-F238E27FC236}">
                <a16:creationId xmlns:a16="http://schemas.microsoft.com/office/drawing/2014/main" id="{AB28DB5E-FCEA-4D33-9D28-3C2093D07BCE}"/>
              </a:ext>
            </a:extLst>
          </p:cNvPr>
          <p:cNvSpPr>
            <a:spLocks noChangeArrowheads="1"/>
          </p:cNvSpPr>
          <p:nvPr/>
        </p:nvSpPr>
        <p:spPr bwMode="auto">
          <a:xfrm>
            <a:off x="5029830" y="2768227"/>
            <a:ext cx="2129947" cy="2129946"/>
          </a:xfrm>
          <a:prstGeom prst="ellipse">
            <a:avLst/>
          </a:prstGeom>
          <a:solidFill>
            <a:schemeClr val="accent2"/>
          </a:solidFill>
          <a:ln w="63500">
            <a:solidFill>
              <a:srgbClr val="FFFFFF"/>
            </a:solidFill>
            <a:miter lim="800000"/>
            <a:headEnd/>
            <a:tailEnd/>
          </a:ln>
        </p:spPr>
        <p:txBody>
          <a:bodyPr lIns="180000" tIns="144000" rIns="180000" bIns="72000" anchor="ctr" anchorCtr="0"/>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spc="0" normalizeH="0" baseline="0" noProof="0" dirty="0">
                <a:ln>
                  <a:noFill/>
                </a:ln>
                <a:solidFill>
                  <a:srgbClr val="FFFFFF"/>
                </a:solidFill>
                <a:effectLst/>
                <a:uLnTx/>
                <a:uFillTx/>
                <a:latin typeface="+mj-lt"/>
                <a:ea typeface="+mn-ea"/>
                <a:cs typeface="+mn-cs"/>
              </a:rPr>
              <a:t>Text</a:t>
            </a:r>
          </a:p>
          <a:p>
            <a:pPr marL="0" marR="0" lvl="0" indent="0" algn="ctr" defTabSz="914400" rtl="0" eaLnBrk="0" fontAlgn="auto" latinLnBrk="0" hangingPunct="0">
              <a:lnSpc>
                <a:spcPct val="85000"/>
              </a:lnSpc>
              <a:spcBef>
                <a:spcPts val="100"/>
              </a:spcBef>
              <a:spcAft>
                <a:spcPts val="100"/>
              </a:spcAft>
              <a:buClrTx/>
              <a:buSzTx/>
              <a:buFontTx/>
              <a:buNone/>
              <a:tabLst/>
              <a:defRPr/>
            </a:pPr>
            <a:r>
              <a:rPr kumimoji="0" lang="en-US" sz="1800" b="0" i="0" u="none" strike="noStrike" kern="0" cap="none" spc="0" normalizeH="0" baseline="0" noProof="0" dirty="0">
                <a:ln>
                  <a:noFill/>
                </a:ln>
                <a:solidFill>
                  <a:srgbClr val="FFFFFF"/>
                </a:solidFill>
                <a:effectLst/>
                <a:uLnTx/>
                <a:uFillTx/>
                <a:ea typeface="+mn-ea"/>
                <a:cs typeface="+mn-cs"/>
              </a:rPr>
              <a:t>Insert text</a:t>
            </a:r>
          </a:p>
        </p:txBody>
      </p:sp>
      <p:sp>
        <p:nvSpPr>
          <p:cNvPr id="8" name="Rectangle 41">
            <a:extLst>
              <a:ext uri="{FF2B5EF4-FFF2-40B4-BE49-F238E27FC236}">
                <a16:creationId xmlns:a16="http://schemas.microsoft.com/office/drawing/2014/main" id="{595EDDA5-E441-4E86-970C-D617DEEAF781}"/>
              </a:ext>
            </a:extLst>
          </p:cNvPr>
          <p:cNvSpPr>
            <a:spLocks noChangeArrowheads="1"/>
          </p:cNvSpPr>
          <p:nvPr>
            <p:custDataLst>
              <p:tags r:id="rId2"/>
            </p:custDataLst>
          </p:nvPr>
        </p:nvSpPr>
        <p:spPr bwMode="auto">
          <a:xfrm>
            <a:off x="8068640" y="3642670"/>
            <a:ext cx="2087538" cy="368246"/>
          </a:xfrm>
          <a:prstGeom prst="rect">
            <a:avLst/>
          </a:prstGeom>
          <a:noFill/>
          <a:ln w="6350">
            <a:noFill/>
            <a:miter lim="800000"/>
            <a:headEnd/>
            <a:tailEnd/>
          </a:ln>
          <a:effectLst/>
        </p:spPr>
        <p:txBody>
          <a:bodyPr wrap="none" lIns="72000" tIns="72000" rIns="72000" bIns="72000" anchor="ctr" anchorCtr="1"/>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1200" spc="0" normalizeH="0" baseline="0" noProof="0" dirty="0">
                <a:ln>
                  <a:noFill/>
                </a:ln>
                <a:solidFill>
                  <a:srgbClr val="000000"/>
                </a:solidFill>
                <a:effectLst/>
                <a:uLnTx/>
                <a:uFillTx/>
                <a:latin typeface="+mj-lt"/>
                <a:ea typeface="+mn-ea"/>
                <a:cs typeface="+mn-cs"/>
              </a:rPr>
              <a:t>Text</a:t>
            </a:r>
          </a:p>
        </p:txBody>
      </p:sp>
      <p:sp>
        <p:nvSpPr>
          <p:cNvPr id="10" name="Rectangle 43">
            <a:extLst>
              <a:ext uri="{FF2B5EF4-FFF2-40B4-BE49-F238E27FC236}">
                <a16:creationId xmlns:a16="http://schemas.microsoft.com/office/drawing/2014/main" id="{A1D4CF05-334F-4CAD-B464-4E3F3BC49748}"/>
              </a:ext>
            </a:extLst>
          </p:cNvPr>
          <p:cNvSpPr>
            <a:spLocks noChangeArrowheads="1"/>
          </p:cNvSpPr>
          <p:nvPr>
            <p:custDataLst>
              <p:tags r:id="rId3"/>
            </p:custDataLst>
          </p:nvPr>
        </p:nvSpPr>
        <p:spPr bwMode="auto">
          <a:xfrm>
            <a:off x="4189467" y="5283734"/>
            <a:ext cx="3801142" cy="368246"/>
          </a:xfrm>
          <a:prstGeom prst="rect">
            <a:avLst/>
          </a:prstGeom>
          <a:noFill/>
          <a:ln w="6350">
            <a:noFill/>
            <a:miter lim="800000"/>
            <a:headEnd/>
            <a:tailEnd/>
          </a:ln>
          <a:effectLst/>
        </p:spPr>
        <p:txBody>
          <a:bodyPr wrap="none" lIns="72000" tIns="72000" rIns="72000" bIns="72000" anchor="ctr" anchorCtr="1"/>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1200" spc="0" normalizeH="0" baseline="0" noProof="0" dirty="0">
                <a:ln>
                  <a:noFill/>
                </a:ln>
                <a:solidFill>
                  <a:srgbClr val="000000"/>
                </a:solidFill>
                <a:effectLst/>
                <a:uLnTx/>
                <a:uFillTx/>
                <a:latin typeface="+mj-lt"/>
                <a:ea typeface="+mn-ea"/>
                <a:cs typeface="+mn-cs"/>
              </a:rPr>
              <a:t>Text</a:t>
            </a:r>
          </a:p>
        </p:txBody>
      </p:sp>
      <p:sp>
        <p:nvSpPr>
          <p:cNvPr id="9" name="Rectangle 42">
            <a:extLst>
              <a:ext uri="{FF2B5EF4-FFF2-40B4-BE49-F238E27FC236}">
                <a16:creationId xmlns:a16="http://schemas.microsoft.com/office/drawing/2014/main" id="{2083123E-68DC-479B-B5DB-B11017F4CB2B}"/>
              </a:ext>
            </a:extLst>
          </p:cNvPr>
          <p:cNvSpPr>
            <a:spLocks noChangeArrowheads="1"/>
          </p:cNvSpPr>
          <p:nvPr>
            <p:custDataLst>
              <p:tags r:id="rId4"/>
            </p:custDataLst>
          </p:nvPr>
        </p:nvSpPr>
        <p:spPr bwMode="auto">
          <a:xfrm>
            <a:off x="2263795" y="3642670"/>
            <a:ext cx="1861396" cy="368246"/>
          </a:xfrm>
          <a:prstGeom prst="rect">
            <a:avLst/>
          </a:prstGeom>
          <a:noFill/>
          <a:ln w="6350">
            <a:noFill/>
            <a:miter lim="800000"/>
            <a:headEnd/>
            <a:tailEnd/>
          </a:ln>
          <a:effectLst/>
        </p:spPr>
        <p:txBody>
          <a:bodyPr wrap="none" lIns="72000" tIns="72000" rIns="72000" bIns="72000" anchor="ctr" anchorCtr="1"/>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1200" spc="0" normalizeH="0" baseline="0" noProof="0" dirty="0">
                <a:ln>
                  <a:noFill/>
                </a:ln>
                <a:solidFill>
                  <a:srgbClr val="000000"/>
                </a:solidFill>
                <a:effectLst/>
                <a:uLnTx/>
                <a:uFillTx/>
                <a:latin typeface="+mj-lt"/>
                <a:ea typeface="+mn-ea"/>
                <a:cs typeface="+mn-cs"/>
              </a:rPr>
              <a:t>Text</a:t>
            </a:r>
          </a:p>
        </p:txBody>
      </p:sp>
      <p:sp>
        <p:nvSpPr>
          <p:cNvPr id="11" name="Rectangle 44">
            <a:extLst>
              <a:ext uri="{FF2B5EF4-FFF2-40B4-BE49-F238E27FC236}">
                <a16:creationId xmlns:a16="http://schemas.microsoft.com/office/drawing/2014/main" id="{42493A08-64FB-42B8-9753-082E8A54487B}"/>
              </a:ext>
            </a:extLst>
          </p:cNvPr>
          <p:cNvSpPr>
            <a:spLocks noChangeArrowheads="1"/>
          </p:cNvSpPr>
          <p:nvPr>
            <p:custDataLst>
              <p:tags r:id="rId5"/>
            </p:custDataLst>
          </p:nvPr>
        </p:nvSpPr>
        <p:spPr bwMode="auto">
          <a:xfrm>
            <a:off x="3753049" y="1942014"/>
            <a:ext cx="4673978" cy="368247"/>
          </a:xfrm>
          <a:prstGeom prst="rect">
            <a:avLst/>
          </a:prstGeom>
          <a:noFill/>
          <a:ln w="6350">
            <a:noFill/>
            <a:miter lim="800000"/>
            <a:headEnd/>
            <a:tailEnd/>
          </a:ln>
          <a:effectLst/>
        </p:spPr>
        <p:txBody>
          <a:bodyPr wrap="none" lIns="72000" tIns="72000" rIns="72000" bIns="72000" anchor="ctr" anchorCtr="1"/>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1200" spc="0" normalizeH="0" baseline="0" noProof="0" dirty="0">
                <a:ln>
                  <a:noFill/>
                </a:ln>
                <a:solidFill>
                  <a:srgbClr val="000000"/>
                </a:solidFill>
                <a:effectLst/>
                <a:uLnTx/>
                <a:uFillTx/>
                <a:latin typeface="+mj-lt"/>
                <a:ea typeface="+mn-ea"/>
                <a:cs typeface="+mn-cs"/>
              </a:rPr>
              <a:t>Text</a:t>
            </a:r>
          </a:p>
        </p:txBody>
      </p:sp>
      <p:sp>
        <p:nvSpPr>
          <p:cNvPr id="13" name="Footer Placeholder 12">
            <a:extLst>
              <a:ext uri="{FF2B5EF4-FFF2-40B4-BE49-F238E27FC236}">
                <a16:creationId xmlns:a16="http://schemas.microsoft.com/office/drawing/2014/main" id="{BA81322D-E744-47A6-AA6E-E3A65FC56D78}"/>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5" name="Slide Number Placeholder 14">
            <a:extLst>
              <a:ext uri="{FF2B5EF4-FFF2-40B4-BE49-F238E27FC236}">
                <a16:creationId xmlns:a16="http://schemas.microsoft.com/office/drawing/2014/main" id="{DBD7D274-D4CB-479C-9DDC-B5C0066CC477}"/>
              </a:ext>
            </a:extLst>
          </p:cNvPr>
          <p:cNvSpPr>
            <a:spLocks noGrp="1"/>
          </p:cNvSpPr>
          <p:nvPr>
            <p:ph type="sldNum" sz="quarter" idx="10"/>
          </p:nvPr>
        </p:nvSpPr>
        <p:spPr/>
        <p:txBody>
          <a:bodyPr/>
          <a:lstStyle/>
          <a:p>
            <a:fld id="{1F90F471-3972-4120-B8B3-0237DE626C35}" type="slidenum">
              <a:rPr lang="en-US" smtClean="0"/>
              <a:pPr/>
              <a:t>299</a:t>
            </a:fld>
            <a:endParaRPr lang="en-US" dirty="0"/>
          </a:p>
        </p:txBody>
      </p:sp>
    </p:spTree>
    <p:extLst>
      <p:ext uri="{BB962C8B-B14F-4D97-AF65-F5344CB8AC3E}">
        <p14:creationId xmlns:p14="http://schemas.microsoft.com/office/powerpoint/2010/main" val="9857743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66FDCC7-C674-D44B-1F0C-02086A3B2AF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4CF13C5C-5CFA-5BA3-85EC-491F6F6D52C3}"/>
              </a:ext>
            </a:extLst>
          </p:cNvPr>
          <p:cNvSpPr>
            <a:spLocks noGrp="1"/>
          </p:cNvSpPr>
          <p:nvPr>
            <p:ph type="sldNum" sz="quarter" idx="10"/>
          </p:nvPr>
        </p:nvSpPr>
        <p:spPr/>
        <p:txBody>
          <a:bodyPr/>
          <a:lstStyle/>
          <a:p>
            <a:fld id="{1F90F471-3972-4120-B8B3-0237DE626C35}" type="slidenum">
              <a:rPr lang="en-US" smtClean="0"/>
              <a:pPr/>
              <a:t>3</a:t>
            </a:fld>
            <a:endParaRPr lang="en-US" dirty="0"/>
          </a:p>
        </p:txBody>
      </p:sp>
    </p:spTree>
    <p:extLst>
      <p:ext uri="{BB962C8B-B14F-4D97-AF65-F5344CB8AC3E}">
        <p14:creationId xmlns:p14="http://schemas.microsoft.com/office/powerpoint/2010/main" val="6075391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C5003-E50F-4920-8113-75188D33974B}"/>
              </a:ext>
            </a:extLst>
          </p:cNvPr>
          <p:cNvSpPr>
            <a:spLocks noGrp="1"/>
          </p:cNvSpPr>
          <p:nvPr>
            <p:ph type="ctrTitle"/>
          </p:nvPr>
        </p:nvSpPr>
        <p:spPr/>
        <p:txBody>
          <a:bodyPr/>
          <a:lstStyle/>
          <a:p>
            <a:r>
              <a:rPr lang="en-GB" dirty="0"/>
              <a:t>Presentation title 60pt, long title 48pt, max 3 lines  </a:t>
            </a:r>
            <a:endParaRPr lang="en-US" dirty="0"/>
          </a:p>
        </p:txBody>
      </p:sp>
      <p:sp>
        <p:nvSpPr>
          <p:cNvPr id="3" name="Subtitle 2">
            <a:extLst>
              <a:ext uri="{FF2B5EF4-FFF2-40B4-BE49-F238E27FC236}">
                <a16:creationId xmlns:a16="http://schemas.microsoft.com/office/drawing/2014/main" id="{E8615DEE-D72A-4564-A7D3-C5B4BDB1F446}"/>
              </a:ext>
            </a:extLst>
          </p:cNvPr>
          <p:cNvSpPr>
            <a:spLocks noGrp="1"/>
          </p:cNvSpPr>
          <p:nvPr>
            <p:ph type="subTitle" idx="1"/>
          </p:nvPr>
        </p:nvSpPr>
        <p:spPr/>
        <p:txBody>
          <a:bodyPr/>
          <a:lstStyle/>
          <a:p>
            <a:r>
              <a:rPr lang="en-GB" dirty="0"/>
              <a:t>Place subtitle here in GT Sectra Fine </a:t>
            </a:r>
            <a:r>
              <a:rPr lang="en-GB" dirty="0" err="1"/>
              <a:t>Rg</a:t>
            </a:r>
            <a:r>
              <a:rPr lang="en-GB" dirty="0"/>
              <a:t> 24pt</a:t>
            </a:r>
            <a:endParaRPr lang="en-US" dirty="0"/>
          </a:p>
        </p:txBody>
      </p:sp>
      <p:sp>
        <p:nvSpPr>
          <p:cNvPr id="4" name="Text Placeholder 3">
            <a:extLst>
              <a:ext uri="{FF2B5EF4-FFF2-40B4-BE49-F238E27FC236}">
                <a16:creationId xmlns:a16="http://schemas.microsoft.com/office/drawing/2014/main" id="{796C3FA9-19FA-4F19-9163-404FA5478B9D}"/>
              </a:ext>
            </a:extLst>
          </p:cNvPr>
          <p:cNvSpPr>
            <a:spLocks noGrp="1"/>
          </p:cNvSpPr>
          <p:nvPr>
            <p:ph type="body" sz="quarter" idx="12"/>
          </p:nvPr>
        </p:nvSpPr>
        <p:spPr/>
        <p:txBody>
          <a:bodyPr/>
          <a:lstStyle/>
          <a:p>
            <a:r>
              <a:rPr lang="en-US" dirty="0"/>
              <a:t>Presenter 14pt</a:t>
            </a:r>
          </a:p>
        </p:txBody>
      </p:sp>
      <p:sp>
        <p:nvSpPr>
          <p:cNvPr id="5" name="Picture Placeholder 4" descr="Add client logo">
            <a:extLst>
              <a:ext uri="{FF2B5EF4-FFF2-40B4-BE49-F238E27FC236}">
                <a16:creationId xmlns:a16="http://schemas.microsoft.com/office/drawing/2014/main" id="{FEDC6390-D96E-40C8-BCA7-D615BC482B35}"/>
              </a:ext>
            </a:extLst>
          </p:cNvPr>
          <p:cNvSpPr>
            <a:spLocks noGrp="1"/>
          </p:cNvSpPr>
          <p:nvPr>
            <p:ph type="pic" sz="quarter" idx="13"/>
          </p:nvPr>
        </p:nvSpPr>
        <p:spPr/>
        <p:txBody>
          <a:bodyPr/>
          <a:lstStyle/>
          <a:p>
            <a:endParaRPr lang="fr-FR"/>
          </a:p>
        </p:txBody>
      </p:sp>
    </p:spTree>
    <p:extLst>
      <p:ext uri="{BB962C8B-B14F-4D97-AF65-F5344CB8AC3E}">
        <p14:creationId xmlns:p14="http://schemas.microsoft.com/office/powerpoint/2010/main" val="3326562633"/>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Factors 5</a:t>
            </a:r>
          </a:p>
        </p:txBody>
      </p:sp>
      <p:sp>
        <p:nvSpPr>
          <p:cNvPr id="6" name="Rectangle 21">
            <a:extLst>
              <a:ext uri="{FF2B5EF4-FFF2-40B4-BE49-F238E27FC236}">
                <a16:creationId xmlns:a16="http://schemas.microsoft.com/office/drawing/2014/main" id="{909D5953-84CF-487F-A74C-AFCB48B0F6CD}"/>
              </a:ext>
            </a:extLst>
          </p:cNvPr>
          <p:cNvSpPr>
            <a:spLocks noChangeArrowheads="1"/>
          </p:cNvSpPr>
          <p:nvPr/>
        </p:nvSpPr>
        <p:spPr bwMode="auto">
          <a:xfrm>
            <a:off x="1822450" y="1514894"/>
            <a:ext cx="4225979" cy="2221200"/>
          </a:xfrm>
          <a:prstGeom prst="rect">
            <a:avLst/>
          </a:prstGeom>
          <a:solidFill>
            <a:srgbClr val="96968C">
              <a:lumMod val="20000"/>
              <a:lumOff val="80000"/>
            </a:srgb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7" name="Rectangle 24">
            <a:extLst>
              <a:ext uri="{FF2B5EF4-FFF2-40B4-BE49-F238E27FC236}">
                <a16:creationId xmlns:a16="http://schemas.microsoft.com/office/drawing/2014/main" id="{8B70ED33-5339-42B5-9583-58D7439B7427}"/>
              </a:ext>
            </a:extLst>
          </p:cNvPr>
          <p:cNvSpPr>
            <a:spLocks noChangeArrowheads="1"/>
          </p:cNvSpPr>
          <p:nvPr/>
        </p:nvSpPr>
        <p:spPr bwMode="auto">
          <a:xfrm>
            <a:off x="6146309" y="1514894"/>
            <a:ext cx="4226416" cy="2221200"/>
          </a:xfrm>
          <a:prstGeom prst="rect">
            <a:avLst/>
          </a:prstGeom>
          <a:solidFill>
            <a:srgbClr val="96968C">
              <a:lumMod val="20000"/>
              <a:lumOff val="80000"/>
            </a:srgb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4" name="Rectangle 22">
            <a:extLst>
              <a:ext uri="{FF2B5EF4-FFF2-40B4-BE49-F238E27FC236}">
                <a16:creationId xmlns:a16="http://schemas.microsoft.com/office/drawing/2014/main" id="{DC3DBE67-9304-44FB-9B32-8A1DE8F0A9BF}"/>
              </a:ext>
            </a:extLst>
          </p:cNvPr>
          <p:cNvSpPr>
            <a:spLocks noChangeArrowheads="1"/>
          </p:cNvSpPr>
          <p:nvPr/>
        </p:nvSpPr>
        <p:spPr bwMode="auto">
          <a:xfrm>
            <a:off x="1822450" y="3836550"/>
            <a:ext cx="4225980" cy="2221350"/>
          </a:xfrm>
          <a:prstGeom prst="rect">
            <a:avLst/>
          </a:prstGeom>
          <a:solidFill>
            <a:srgbClr val="96968C">
              <a:lumMod val="20000"/>
              <a:lumOff val="80000"/>
            </a:srgbClr>
          </a:solidFill>
          <a:ln w="6350">
            <a:noFill/>
            <a:miter lim="800000"/>
            <a:headEnd/>
            <a:tailEnd/>
          </a:ln>
        </p:spPr>
        <p:txBody>
          <a:bodyPr lIns="180000" tIns="144000" rIns="72000" bIns="180000" anchor="b" anchorCtr="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5" name="Rectangle 23">
            <a:extLst>
              <a:ext uri="{FF2B5EF4-FFF2-40B4-BE49-F238E27FC236}">
                <a16:creationId xmlns:a16="http://schemas.microsoft.com/office/drawing/2014/main" id="{6A9C9F97-F6A3-4AF9-AFE7-079ABAFE571A}"/>
              </a:ext>
            </a:extLst>
          </p:cNvPr>
          <p:cNvSpPr>
            <a:spLocks noChangeArrowheads="1"/>
          </p:cNvSpPr>
          <p:nvPr/>
        </p:nvSpPr>
        <p:spPr bwMode="auto">
          <a:xfrm>
            <a:off x="6146309" y="3836550"/>
            <a:ext cx="4226416" cy="2221350"/>
          </a:xfrm>
          <a:prstGeom prst="rect">
            <a:avLst/>
          </a:prstGeom>
          <a:solidFill>
            <a:srgbClr val="96968C">
              <a:lumMod val="20000"/>
              <a:lumOff val="80000"/>
            </a:srgbClr>
          </a:solidFill>
          <a:ln w="6350">
            <a:noFill/>
            <a:miter lim="800000"/>
            <a:headEnd/>
            <a:tailEnd/>
          </a:ln>
        </p:spPr>
        <p:txBody>
          <a:bodyPr lIns="180000" tIns="144000" rIns="72000" bIns="180000" anchor="b" anchorCtr="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8" name="Rectangle 40">
            <a:extLst>
              <a:ext uri="{FF2B5EF4-FFF2-40B4-BE49-F238E27FC236}">
                <a16:creationId xmlns:a16="http://schemas.microsoft.com/office/drawing/2014/main" id="{5426875B-01F0-4E9A-BC8E-B0CB08F401BC}"/>
              </a:ext>
            </a:extLst>
          </p:cNvPr>
          <p:cNvSpPr>
            <a:spLocks noChangeArrowheads="1"/>
          </p:cNvSpPr>
          <p:nvPr>
            <p:custDataLst>
              <p:tags r:id="rId1"/>
            </p:custDataLst>
          </p:nvPr>
        </p:nvSpPr>
        <p:spPr bwMode="auto">
          <a:xfrm>
            <a:off x="4381743" y="2929096"/>
            <a:ext cx="3430345" cy="1801504"/>
          </a:xfrm>
          <a:prstGeom prst="rect">
            <a:avLst/>
          </a:prstGeom>
          <a:solidFill>
            <a:schemeClr val="accent2"/>
          </a:solidFill>
          <a:ln w="101600">
            <a:solidFill>
              <a:srgbClr val="FFFFFF"/>
            </a:solidFill>
            <a:miter lim="800000"/>
            <a:headEnd/>
            <a:tailEnd/>
          </a:ln>
        </p:spPr>
        <p:txBody>
          <a:bodyPr lIns="180000" tIns="144000" rIns="180000" bIns="72000" anchor="ctr" anchorCtr="0"/>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mj-lt"/>
                <a:ea typeface="+mn-ea"/>
                <a:cs typeface="+mn-cs"/>
              </a:rPr>
              <a:t>Text</a:t>
            </a:r>
          </a:p>
          <a:p>
            <a:pPr marL="0" marR="0" lvl="0" indent="0" algn="ctr" defTabSz="914400" rtl="0" eaLnBrk="0" fontAlgn="auto" latinLnBrk="0" hangingPunct="0">
              <a:lnSpc>
                <a:spcPct val="85000"/>
              </a:lnSpc>
              <a:spcBef>
                <a:spcPts val="100"/>
              </a:spcBef>
              <a:spcAft>
                <a:spcPts val="100"/>
              </a:spcAft>
              <a:buClrTx/>
              <a:buSzTx/>
              <a:buFontTx/>
              <a:buNone/>
              <a:tabLst/>
              <a:defRPr/>
            </a:pPr>
            <a:r>
              <a:rPr kumimoji="0" lang="en-US" sz="1800" b="0" i="0" u="none" strike="noStrike" kern="0" cap="none" spc="0" normalizeH="0" baseline="0" noProof="0" dirty="0">
                <a:ln>
                  <a:noFill/>
                </a:ln>
                <a:solidFill>
                  <a:srgbClr val="FFFFFF"/>
                </a:solidFill>
                <a:effectLst/>
                <a:uLnTx/>
                <a:uFillTx/>
                <a:ea typeface="+mn-ea"/>
                <a:cs typeface="+mn-cs"/>
              </a:rPr>
              <a:t>Insert text</a:t>
            </a:r>
          </a:p>
        </p:txBody>
      </p:sp>
      <p:sp>
        <p:nvSpPr>
          <p:cNvPr id="9" name="Footer Placeholder 8">
            <a:extLst>
              <a:ext uri="{FF2B5EF4-FFF2-40B4-BE49-F238E27FC236}">
                <a16:creationId xmlns:a16="http://schemas.microsoft.com/office/drawing/2014/main" id="{C4A81A1F-CD5F-4F95-9EFA-614A94FBEC16}"/>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1" name="Slide Number Placeholder 10">
            <a:extLst>
              <a:ext uri="{FF2B5EF4-FFF2-40B4-BE49-F238E27FC236}">
                <a16:creationId xmlns:a16="http://schemas.microsoft.com/office/drawing/2014/main" id="{912045DB-3E44-439D-B581-CD38BF3584DF}"/>
              </a:ext>
            </a:extLst>
          </p:cNvPr>
          <p:cNvSpPr>
            <a:spLocks noGrp="1"/>
          </p:cNvSpPr>
          <p:nvPr>
            <p:ph type="sldNum" sz="quarter" idx="10"/>
          </p:nvPr>
        </p:nvSpPr>
        <p:spPr/>
        <p:txBody>
          <a:bodyPr/>
          <a:lstStyle/>
          <a:p>
            <a:fld id="{1F90F471-3972-4120-B8B3-0237DE626C35}" type="slidenum">
              <a:rPr lang="en-US" smtClean="0"/>
              <a:pPr/>
              <a:t>300</a:t>
            </a:fld>
            <a:endParaRPr lang="en-US" dirty="0"/>
          </a:p>
        </p:txBody>
      </p:sp>
    </p:spTree>
    <p:extLst>
      <p:ext uri="{BB962C8B-B14F-4D97-AF65-F5344CB8AC3E}">
        <p14:creationId xmlns:p14="http://schemas.microsoft.com/office/powerpoint/2010/main" val="3471387768"/>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Factors 6</a:t>
            </a:r>
          </a:p>
        </p:txBody>
      </p:sp>
      <p:sp>
        <p:nvSpPr>
          <p:cNvPr id="19" name="Rectangle 18">
            <a:extLst>
              <a:ext uri="{FF2B5EF4-FFF2-40B4-BE49-F238E27FC236}">
                <a16:creationId xmlns:a16="http://schemas.microsoft.com/office/drawing/2014/main" id="{397C347D-1AAB-4EA2-8750-644E21F01916}"/>
              </a:ext>
            </a:extLst>
          </p:cNvPr>
          <p:cNvSpPr>
            <a:spLocks noChangeArrowheads="1"/>
          </p:cNvSpPr>
          <p:nvPr/>
        </p:nvSpPr>
        <p:spPr bwMode="auto">
          <a:xfrm>
            <a:off x="1822450" y="1514894"/>
            <a:ext cx="4225979" cy="2221200"/>
          </a:xfrm>
          <a:prstGeom prst="rect">
            <a:avLst/>
          </a:prstGeom>
          <a:pattFill prst="dkUpDiag">
            <a:fgClr>
              <a:schemeClr val="accent2">
                <a:lumMod val="20000"/>
                <a:lumOff val="80000"/>
              </a:schemeClr>
            </a:fgClr>
            <a:bgClr>
              <a:schemeClr val="bg1"/>
            </a:bgClr>
          </a:pattFill>
          <a:ln w="6350">
            <a:noFill/>
            <a:miter lim="800000"/>
            <a:headEnd/>
            <a:tailEnd/>
          </a:ln>
        </p:spPr>
        <p:txBody>
          <a:bodyPr lIns="180000" tIns="144000" rIns="72000" bIns="72000"/>
          <a:lstStyle/>
          <a:p>
            <a:pPr eaLnBrk="0" hangingPunct="0">
              <a:lnSpc>
                <a:spcPct val="85000"/>
              </a:lnSpc>
              <a:spcBef>
                <a:spcPts val="100"/>
              </a:spcBef>
              <a:spcAft>
                <a:spcPts val="300"/>
              </a:spcAft>
            </a:pPr>
            <a:r>
              <a:rPr lang="en-US" sz="1600" b="1" dirty="0">
                <a:latin typeface="+mj-lt"/>
              </a:rPr>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sp>
        <p:nvSpPr>
          <p:cNvPr id="23" name="Rectangle 24">
            <a:extLst>
              <a:ext uri="{FF2B5EF4-FFF2-40B4-BE49-F238E27FC236}">
                <a16:creationId xmlns:a16="http://schemas.microsoft.com/office/drawing/2014/main" id="{BA2DD5BD-E997-4704-9904-F5ED34BC0A64}"/>
              </a:ext>
            </a:extLst>
          </p:cNvPr>
          <p:cNvSpPr>
            <a:spLocks noChangeArrowheads="1"/>
          </p:cNvSpPr>
          <p:nvPr/>
        </p:nvSpPr>
        <p:spPr bwMode="auto">
          <a:xfrm>
            <a:off x="6146309" y="1514894"/>
            <a:ext cx="4226416" cy="2221200"/>
          </a:xfrm>
          <a:prstGeom prst="rect">
            <a:avLst/>
          </a:prstGeom>
          <a:pattFill prst="dkUpDiag">
            <a:fgClr>
              <a:schemeClr val="accent2">
                <a:lumMod val="20000"/>
                <a:lumOff val="80000"/>
              </a:schemeClr>
            </a:fgClr>
            <a:bgClr>
              <a:schemeClr val="bg1"/>
            </a:bgClr>
          </a:pattFill>
          <a:ln w="6350">
            <a:noFill/>
            <a:miter lim="800000"/>
            <a:headEnd/>
            <a:tailEnd/>
          </a:ln>
        </p:spPr>
        <p:txBody>
          <a:bodyPr lIns="180000" tIns="144000" rIns="72000" bIns="72000"/>
          <a:lstStyle/>
          <a:p>
            <a:pPr eaLnBrk="0" hangingPunct="0">
              <a:lnSpc>
                <a:spcPct val="85000"/>
              </a:lnSpc>
              <a:spcBef>
                <a:spcPts val="100"/>
              </a:spcBef>
              <a:spcAft>
                <a:spcPts val="300"/>
              </a:spcAft>
            </a:pPr>
            <a:r>
              <a:rPr lang="en-US" sz="1600" b="1" dirty="0">
                <a:latin typeface="+mj-lt"/>
              </a:rPr>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sp>
        <p:nvSpPr>
          <p:cNvPr id="15" name="Rectangle 22">
            <a:extLst>
              <a:ext uri="{FF2B5EF4-FFF2-40B4-BE49-F238E27FC236}">
                <a16:creationId xmlns:a16="http://schemas.microsoft.com/office/drawing/2014/main" id="{FD684CDC-D703-4A75-A691-0C737D3B2239}"/>
              </a:ext>
            </a:extLst>
          </p:cNvPr>
          <p:cNvSpPr>
            <a:spLocks noChangeArrowheads="1"/>
          </p:cNvSpPr>
          <p:nvPr/>
        </p:nvSpPr>
        <p:spPr bwMode="auto">
          <a:xfrm>
            <a:off x="1822450" y="3836550"/>
            <a:ext cx="4225980" cy="2221350"/>
          </a:xfrm>
          <a:prstGeom prst="rect">
            <a:avLst/>
          </a:prstGeom>
          <a:pattFill prst="dkUpDiag">
            <a:fgClr>
              <a:schemeClr val="accent2">
                <a:lumMod val="20000"/>
                <a:lumOff val="80000"/>
              </a:schemeClr>
            </a:fgClr>
            <a:bgClr>
              <a:schemeClr val="bg1"/>
            </a:bgClr>
          </a:pattFill>
          <a:ln w="6350">
            <a:noFill/>
            <a:miter lim="800000"/>
            <a:headEnd/>
            <a:tailEnd/>
          </a:ln>
        </p:spPr>
        <p:txBody>
          <a:bodyPr lIns="180000" tIns="144000" rIns="72000" bIns="180000" anchor="b" anchorCtr="0"/>
          <a:lstStyle/>
          <a:p>
            <a:pPr eaLnBrk="0" hangingPunct="0">
              <a:lnSpc>
                <a:spcPct val="85000"/>
              </a:lnSpc>
              <a:spcBef>
                <a:spcPts val="100"/>
              </a:spcBef>
              <a:spcAft>
                <a:spcPts val="300"/>
              </a:spcAft>
            </a:pPr>
            <a:r>
              <a:rPr lang="en-US" sz="1600" b="1" dirty="0">
                <a:latin typeface="+mj-lt"/>
              </a:rPr>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sp>
        <p:nvSpPr>
          <p:cNvPr id="17" name="Rectangle 23">
            <a:extLst>
              <a:ext uri="{FF2B5EF4-FFF2-40B4-BE49-F238E27FC236}">
                <a16:creationId xmlns:a16="http://schemas.microsoft.com/office/drawing/2014/main" id="{FE987888-400A-4AB0-90A0-006EB339A758}"/>
              </a:ext>
            </a:extLst>
          </p:cNvPr>
          <p:cNvSpPr>
            <a:spLocks noChangeArrowheads="1"/>
          </p:cNvSpPr>
          <p:nvPr/>
        </p:nvSpPr>
        <p:spPr bwMode="auto">
          <a:xfrm>
            <a:off x="6146309" y="3836550"/>
            <a:ext cx="4226416" cy="2221350"/>
          </a:xfrm>
          <a:prstGeom prst="rect">
            <a:avLst/>
          </a:prstGeom>
          <a:pattFill prst="dkUpDiag">
            <a:fgClr>
              <a:schemeClr val="accent2">
                <a:lumMod val="20000"/>
                <a:lumOff val="80000"/>
              </a:schemeClr>
            </a:fgClr>
            <a:bgClr>
              <a:schemeClr val="bg1"/>
            </a:bgClr>
          </a:pattFill>
          <a:ln w="6350">
            <a:noFill/>
            <a:miter lim="800000"/>
            <a:headEnd/>
            <a:tailEnd/>
          </a:ln>
        </p:spPr>
        <p:txBody>
          <a:bodyPr lIns="180000" tIns="144000" rIns="72000" bIns="180000" anchor="b" anchorCtr="0"/>
          <a:lstStyle/>
          <a:p>
            <a:pPr eaLnBrk="0" hangingPunct="0">
              <a:lnSpc>
                <a:spcPct val="85000"/>
              </a:lnSpc>
              <a:spcBef>
                <a:spcPts val="100"/>
              </a:spcBef>
              <a:spcAft>
                <a:spcPts val="300"/>
              </a:spcAft>
            </a:pPr>
            <a:r>
              <a:rPr lang="en-US" sz="1600" b="1" dirty="0">
                <a:latin typeface="+mj-lt"/>
              </a:rPr>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sp>
        <p:nvSpPr>
          <p:cNvPr id="25" name="Rectangle 40">
            <a:extLst>
              <a:ext uri="{FF2B5EF4-FFF2-40B4-BE49-F238E27FC236}">
                <a16:creationId xmlns:a16="http://schemas.microsoft.com/office/drawing/2014/main" id="{FB814BCA-90F6-4BD4-9790-E67C95F98FEA}"/>
              </a:ext>
            </a:extLst>
          </p:cNvPr>
          <p:cNvSpPr>
            <a:spLocks noChangeArrowheads="1"/>
          </p:cNvSpPr>
          <p:nvPr>
            <p:custDataLst>
              <p:tags r:id="rId1"/>
            </p:custDataLst>
          </p:nvPr>
        </p:nvSpPr>
        <p:spPr bwMode="auto">
          <a:xfrm>
            <a:off x="4381743" y="2929096"/>
            <a:ext cx="3430345" cy="1801504"/>
          </a:xfrm>
          <a:prstGeom prst="rect">
            <a:avLst/>
          </a:prstGeom>
          <a:solidFill>
            <a:schemeClr val="accent2"/>
          </a:solidFill>
          <a:ln w="101600">
            <a:noFill/>
            <a:miter lim="800000"/>
            <a:headEnd/>
            <a:tailEnd/>
          </a:ln>
        </p:spPr>
        <p:txBody>
          <a:bodyPr lIns="180000" tIns="144000" rIns="180000" bIns="72000" anchor="ctr" anchorCtr="0"/>
          <a:lstStyle/>
          <a:p>
            <a:pPr algn="ctr" eaLnBrk="0" hangingPunct="0">
              <a:lnSpc>
                <a:spcPct val="85000"/>
              </a:lnSpc>
              <a:spcBef>
                <a:spcPts val="100"/>
              </a:spcBef>
              <a:spcAft>
                <a:spcPts val="300"/>
              </a:spcAft>
            </a:pPr>
            <a:r>
              <a:rPr lang="en-US" b="1" dirty="0">
                <a:solidFill>
                  <a:schemeClr val="bg1"/>
                </a:solidFill>
                <a:latin typeface="+mj-lt"/>
              </a:rPr>
              <a:t>Text</a:t>
            </a:r>
          </a:p>
          <a:p>
            <a:pPr algn="ctr" eaLnBrk="0" hangingPunct="0">
              <a:lnSpc>
                <a:spcPct val="85000"/>
              </a:lnSpc>
              <a:spcBef>
                <a:spcPts val="100"/>
              </a:spcBef>
              <a:spcAft>
                <a:spcPts val="100"/>
              </a:spcAft>
            </a:pPr>
            <a:r>
              <a:rPr lang="en-US" dirty="0">
                <a:solidFill>
                  <a:schemeClr val="bg1"/>
                </a:solidFill>
              </a:rPr>
              <a:t>Insert text</a:t>
            </a:r>
          </a:p>
        </p:txBody>
      </p:sp>
      <p:sp>
        <p:nvSpPr>
          <p:cNvPr id="4" name="Footer Placeholder 3">
            <a:extLst>
              <a:ext uri="{FF2B5EF4-FFF2-40B4-BE49-F238E27FC236}">
                <a16:creationId xmlns:a16="http://schemas.microsoft.com/office/drawing/2014/main" id="{7C134F4A-F6CE-41EE-90C2-C70700594553}"/>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B1EB0197-C28A-45BB-B950-9E50E1F80B66}"/>
              </a:ext>
            </a:extLst>
          </p:cNvPr>
          <p:cNvSpPr>
            <a:spLocks noGrp="1"/>
          </p:cNvSpPr>
          <p:nvPr>
            <p:ph type="sldNum" sz="quarter" idx="10"/>
          </p:nvPr>
        </p:nvSpPr>
        <p:spPr/>
        <p:txBody>
          <a:bodyPr/>
          <a:lstStyle/>
          <a:p>
            <a:fld id="{1F90F471-3972-4120-B8B3-0237DE626C35}" type="slidenum">
              <a:rPr lang="en-US" smtClean="0"/>
              <a:pPr/>
              <a:t>301</a:t>
            </a:fld>
            <a:endParaRPr lang="en-US" dirty="0"/>
          </a:p>
        </p:txBody>
      </p:sp>
    </p:spTree>
    <p:extLst>
      <p:ext uri="{BB962C8B-B14F-4D97-AF65-F5344CB8AC3E}">
        <p14:creationId xmlns:p14="http://schemas.microsoft.com/office/powerpoint/2010/main" val="3771902882"/>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Factors 7</a:t>
            </a:r>
          </a:p>
        </p:txBody>
      </p:sp>
      <p:grpSp>
        <p:nvGrpSpPr>
          <p:cNvPr id="3" name="Group 2" descr="Left upper square">
            <a:extLst>
              <a:ext uri="{FF2B5EF4-FFF2-40B4-BE49-F238E27FC236}">
                <a16:creationId xmlns:a16="http://schemas.microsoft.com/office/drawing/2014/main" id="{99198977-03FD-4B4E-AB51-9CBDDDA9E2B8}"/>
              </a:ext>
            </a:extLst>
          </p:cNvPr>
          <p:cNvGrpSpPr/>
          <p:nvPr/>
        </p:nvGrpSpPr>
        <p:grpSpPr>
          <a:xfrm>
            <a:off x="1100738" y="1628800"/>
            <a:ext cx="3600000" cy="2074510"/>
            <a:chOff x="1100738" y="1628800"/>
            <a:chExt cx="3600000" cy="2074510"/>
          </a:xfrm>
        </p:grpSpPr>
        <p:sp>
          <p:nvSpPr>
            <p:cNvPr id="18" name="Rectangle 12">
              <a:extLst>
                <a:ext uri="{FF2B5EF4-FFF2-40B4-BE49-F238E27FC236}">
                  <a16:creationId xmlns:a16="http://schemas.microsoft.com/office/drawing/2014/main" id="{DE44DEB3-B680-4BA5-ADB6-2D3600CE2214}"/>
                </a:ext>
              </a:extLst>
            </p:cNvPr>
            <p:cNvSpPr>
              <a:spLocks noChangeArrowheads="1"/>
            </p:cNvSpPr>
            <p:nvPr>
              <p:custDataLst>
                <p:tags r:id="rId9"/>
              </p:custDataLst>
            </p:nvPr>
          </p:nvSpPr>
          <p:spPr bwMode="auto">
            <a:xfrm>
              <a:off x="1100738" y="1628800"/>
              <a:ext cx="3600000" cy="315018"/>
            </a:xfrm>
            <a:prstGeom prst="rect">
              <a:avLst/>
            </a:prstGeom>
            <a:solidFill>
              <a:schemeClr val="accent1"/>
            </a:solidFill>
            <a:ln w="6350">
              <a:noFill/>
              <a:miter lim="800000"/>
              <a:headEnd/>
              <a:tailEnd/>
            </a:ln>
            <a:effectLst/>
          </p:spPr>
          <p:txBody>
            <a:bodyPr wrap="none" lIns="72000" tIns="72000" rIns="72000" bIns="72000" anchor="ctr"/>
            <a:lstStyle/>
            <a:p>
              <a:pPr algn="ctr" eaLnBrk="0" hangingPunct="0">
                <a:lnSpc>
                  <a:spcPct val="85000"/>
                </a:lnSpc>
                <a:spcBef>
                  <a:spcPts val="100"/>
                </a:spcBef>
                <a:spcAft>
                  <a:spcPts val="300"/>
                </a:spcAft>
              </a:pPr>
              <a:r>
                <a:rPr lang="en-US" sz="1600" b="1" dirty="0">
                  <a:solidFill>
                    <a:schemeClr val="bg1"/>
                  </a:solidFill>
                  <a:latin typeface="+mj-lt"/>
                </a:rPr>
                <a:t>Text</a:t>
              </a:r>
            </a:p>
          </p:txBody>
        </p:sp>
        <p:sp>
          <p:nvSpPr>
            <p:cNvPr id="20" name="Rectangle 13">
              <a:extLst>
                <a:ext uri="{FF2B5EF4-FFF2-40B4-BE49-F238E27FC236}">
                  <a16:creationId xmlns:a16="http://schemas.microsoft.com/office/drawing/2014/main" id="{8CEC2E24-2FB9-4ABC-B7BF-A8A85BDBF30F}"/>
                </a:ext>
              </a:extLst>
            </p:cNvPr>
            <p:cNvSpPr>
              <a:spLocks noChangeArrowheads="1"/>
            </p:cNvSpPr>
            <p:nvPr>
              <p:custDataLst>
                <p:tags r:id="rId10"/>
              </p:custDataLst>
            </p:nvPr>
          </p:nvSpPr>
          <p:spPr bwMode="auto">
            <a:xfrm>
              <a:off x="1100738" y="1943818"/>
              <a:ext cx="3600000" cy="1759492"/>
            </a:xfrm>
            <a:prstGeom prst="rect">
              <a:avLst/>
            </a:prstGeom>
            <a:solidFill>
              <a:schemeClr val="tx2">
                <a:lumMod val="20000"/>
                <a:lumOff val="80000"/>
              </a:schemeClr>
            </a:solidFill>
            <a:ln w="6350">
              <a:noFill/>
              <a:miter lim="800000"/>
              <a:headEnd/>
              <a:tailEnd/>
            </a:ln>
          </p:spPr>
          <p:txBody>
            <a:bodyPr lIns="180000" tIns="144000" rIns="144000" bIns="72000"/>
            <a:lstStyle/>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grpSp>
      <p:grpSp>
        <p:nvGrpSpPr>
          <p:cNvPr id="6" name="Group 5" descr="Right upper square">
            <a:extLst>
              <a:ext uri="{FF2B5EF4-FFF2-40B4-BE49-F238E27FC236}">
                <a16:creationId xmlns:a16="http://schemas.microsoft.com/office/drawing/2014/main" id="{F769062A-63C7-486D-9D71-9951BF093DF3}"/>
              </a:ext>
            </a:extLst>
          </p:cNvPr>
          <p:cNvGrpSpPr/>
          <p:nvPr/>
        </p:nvGrpSpPr>
        <p:grpSpPr>
          <a:xfrm>
            <a:off x="7144573" y="1628800"/>
            <a:ext cx="3600000" cy="2074510"/>
            <a:chOff x="7144573" y="1628800"/>
            <a:chExt cx="3600000" cy="2074510"/>
          </a:xfrm>
        </p:grpSpPr>
        <p:sp>
          <p:nvSpPr>
            <p:cNvPr id="24" name="Rectangle 14">
              <a:extLst>
                <a:ext uri="{FF2B5EF4-FFF2-40B4-BE49-F238E27FC236}">
                  <a16:creationId xmlns:a16="http://schemas.microsoft.com/office/drawing/2014/main" id="{25C91059-D86B-4870-B82A-D0C96983A56A}"/>
                </a:ext>
              </a:extLst>
            </p:cNvPr>
            <p:cNvSpPr>
              <a:spLocks noChangeArrowheads="1"/>
            </p:cNvSpPr>
            <p:nvPr>
              <p:custDataLst>
                <p:tags r:id="rId7"/>
              </p:custDataLst>
            </p:nvPr>
          </p:nvSpPr>
          <p:spPr bwMode="auto">
            <a:xfrm>
              <a:off x="7144573" y="1628800"/>
              <a:ext cx="3600000" cy="315018"/>
            </a:xfrm>
            <a:prstGeom prst="rect">
              <a:avLst/>
            </a:prstGeom>
            <a:solidFill>
              <a:schemeClr val="accent1"/>
            </a:solidFill>
            <a:ln w="6350">
              <a:noFill/>
              <a:miter lim="800000"/>
              <a:headEnd/>
              <a:tailEnd/>
            </a:ln>
            <a:effectLst/>
          </p:spPr>
          <p:txBody>
            <a:bodyPr wrap="none" lIns="72000" tIns="72000" rIns="72000" bIns="72000" anchor="ctr"/>
            <a:lstStyle/>
            <a:p>
              <a:pPr algn="ctr" eaLnBrk="0" hangingPunct="0">
                <a:lnSpc>
                  <a:spcPct val="85000"/>
                </a:lnSpc>
                <a:spcBef>
                  <a:spcPts val="100"/>
                </a:spcBef>
                <a:spcAft>
                  <a:spcPts val="300"/>
                </a:spcAft>
              </a:pPr>
              <a:r>
                <a:rPr lang="en-US" sz="1600" b="1" dirty="0">
                  <a:solidFill>
                    <a:schemeClr val="bg1"/>
                  </a:solidFill>
                  <a:latin typeface="+mj-lt"/>
                </a:rPr>
                <a:t>Text</a:t>
              </a:r>
            </a:p>
          </p:txBody>
        </p:sp>
        <p:sp>
          <p:nvSpPr>
            <p:cNvPr id="26" name="Rectangle 15">
              <a:extLst>
                <a:ext uri="{FF2B5EF4-FFF2-40B4-BE49-F238E27FC236}">
                  <a16:creationId xmlns:a16="http://schemas.microsoft.com/office/drawing/2014/main" id="{4303ACB2-9D82-4DCD-9A29-CE0321AE9C11}"/>
                </a:ext>
              </a:extLst>
            </p:cNvPr>
            <p:cNvSpPr>
              <a:spLocks noChangeArrowheads="1"/>
            </p:cNvSpPr>
            <p:nvPr>
              <p:custDataLst>
                <p:tags r:id="rId8"/>
              </p:custDataLst>
            </p:nvPr>
          </p:nvSpPr>
          <p:spPr bwMode="auto">
            <a:xfrm>
              <a:off x="7144573" y="1943818"/>
              <a:ext cx="3600000" cy="1759492"/>
            </a:xfrm>
            <a:prstGeom prst="rect">
              <a:avLst/>
            </a:prstGeom>
            <a:solidFill>
              <a:schemeClr val="tx2">
                <a:lumMod val="20000"/>
                <a:lumOff val="80000"/>
              </a:schemeClr>
            </a:solidFill>
            <a:ln w="6350">
              <a:noFill/>
              <a:miter lim="800000"/>
              <a:headEnd/>
              <a:tailEnd/>
            </a:ln>
          </p:spPr>
          <p:txBody>
            <a:bodyPr lIns="360000" tIns="144000" rIns="144000" bIns="72000"/>
            <a:lstStyle/>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grpSp>
      <p:grpSp>
        <p:nvGrpSpPr>
          <p:cNvPr id="8" name="Group 7" descr="Right down square">
            <a:extLst>
              <a:ext uri="{FF2B5EF4-FFF2-40B4-BE49-F238E27FC236}">
                <a16:creationId xmlns:a16="http://schemas.microsoft.com/office/drawing/2014/main" id="{1A339D92-7BCF-4EB7-B63D-C42B4ED71C0A}"/>
              </a:ext>
            </a:extLst>
          </p:cNvPr>
          <p:cNvGrpSpPr/>
          <p:nvPr/>
        </p:nvGrpSpPr>
        <p:grpSpPr>
          <a:xfrm>
            <a:off x="7144573" y="3979912"/>
            <a:ext cx="3600000" cy="2076046"/>
            <a:chOff x="7144573" y="3979912"/>
            <a:chExt cx="3600000" cy="2076046"/>
          </a:xfrm>
        </p:grpSpPr>
        <p:sp>
          <p:nvSpPr>
            <p:cNvPr id="14" name="Rectangle 18">
              <a:extLst>
                <a:ext uri="{FF2B5EF4-FFF2-40B4-BE49-F238E27FC236}">
                  <a16:creationId xmlns:a16="http://schemas.microsoft.com/office/drawing/2014/main" id="{4F4CD4B5-81EF-464E-A827-EF1DF0E64362}"/>
                </a:ext>
              </a:extLst>
            </p:cNvPr>
            <p:cNvSpPr>
              <a:spLocks noChangeArrowheads="1"/>
            </p:cNvSpPr>
            <p:nvPr>
              <p:custDataLst>
                <p:tags r:id="rId5"/>
              </p:custDataLst>
            </p:nvPr>
          </p:nvSpPr>
          <p:spPr bwMode="auto">
            <a:xfrm>
              <a:off x="7144573" y="3979912"/>
              <a:ext cx="3600000" cy="318091"/>
            </a:xfrm>
            <a:prstGeom prst="rect">
              <a:avLst/>
            </a:prstGeom>
            <a:solidFill>
              <a:schemeClr val="accent1"/>
            </a:solidFill>
            <a:ln w="6350">
              <a:noFill/>
              <a:miter lim="800000"/>
              <a:headEnd/>
              <a:tailEnd/>
            </a:ln>
            <a:effectLst/>
          </p:spPr>
          <p:txBody>
            <a:bodyPr wrap="none" lIns="72000" tIns="72000" rIns="72000" bIns="72000" anchor="ctr"/>
            <a:lstStyle/>
            <a:p>
              <a:pPr algn="ctr" eaLnBrk="0" hangingPunct="0">
                <a:lnSpc>
                  <a:spcPct val="85000"/>
                </a:lnSpc>
                <a:spcBef>
                  <a:spcPts val="100"/>
                </a:spcBef>
                <a:spcAft>
                  <a:spcPts val="300"/>
                </a:spcAft>
              </a:pPr>
              <a:r>
                <a:rPr lang="en-US" sz="1600" b="1" dirty="0">
                  <a:solidFill>
                    <a:schemeClr val="bg1"/>
                  </a:solidFill>
                  <a:latin typeface="+mj-lt"/>
                </a:rPr>
                <a:t>Text</a:t>
              </a:r>
            </a:p>
          </p:txBody>
        </p:sp>
        <p:sp>
          <p:nvSpPr>
            <p:cNvPr id="16" name="Rectangle 11">
              <a:extLst>
                <a:ext uri="{FF2B5EF4-FFF2-40B4-BE49-F238E27FC236}">
                  <a16:creationId xmlns:a16="http://schemas.microsoft.com/office/drawing/2014/main" id="{6998FA10-D9FB-4EA8-A173-055448F3C73C}"/>
                </a:ext>
              </a:extLst>
            </p:cNvPr>
            <p:cNvSpPr>
              <a:spLocks noChangeArrowheads="1"/>
            </p:cNvSpPr>
            <p:nvPr>
              <p:custDataLst>
                <p:tags r:id="rId6"/>
              </p:custDataLst>
            </p:nvPr>
          </p:nvSpPr>
          <p:spPr bwMode="auto">
            <a:xfrm>
              <a:off x="7144573" y="4298003"/>
              <a:ext cx="3600000" cy="1757955"/>
            </a:xfrm>
            <a:prstGeom prst="rect">
              <a:avLst/>
            </a:prstGeom>
            <a:solidFill>
              <a:schemeClr val="tx2">
                <a:lumMod val="20000"/>
                <a:lumOff val="80000"/>
              </a:schemeClr>
            </a:solidFill>
            <a:ln w="6350">
              <a:noFill/>
              <a:miter lim="800000"/>
              <a:headEnd/>
              <a:tailEnd/>
            </a:ln>
          </p:spPr>
          <p:txBody>
            <a:bodyPr lIns="360000" tIns="144000" rIns="144000" bIns="72000"/>
            <a:lstStyle/>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grpSp>
      <p:grpSp>
        <p:nvGrpSpPr>
          <p:cNvPr id="7" name="Group 6" descr="Left down square">
            <a:extLst>
              <a:ext uri="{FF2B5EF4-FFF2-40B4-BE49-F238E27FC236}">
                <a16:creationId xmlns:a16="http://schemas.microsoft.com/office/drawing/2014/main" id="{8FB557E5-1451-43AE-B2EB-D5C6182203BE}"/>
              </a:ext>
            </a:extLst>
          </p:cNvPr>
          <p:cNvGrpSpPr/>
          <p:nvPr/>
        </p:nvGrpSpPr>
        <p:grpSpPr>
          <a:xfrm>
            <a:off x="1100738" y="3979912"/>
            <a:ext cx="3600000" cy="2074510"/>
            <a:chOff x="1100738" y="3979912"/>
            <a:chExt cx="3600000" cy="2074510"/>
          </a:xfrm>
        </p:grpSpPr>
        <p:sp>
          <p:nvSpPr>
            <p:cNvPr id="28" name="Rectangle 16">
              <a:extLst>
                <a:ext uri="{FF2B5EF4-FFF2-40B4-BE49-F238E27FC236}">
                  <a16:creationId xmlns:a16="http://schemas.microsoft.com/office/drawing/2014/main" id="{5102F180-4363-47F5-AB90-4BBC44FF5CFB}"/>
                </a:ext>
              </a:extLst>
            </p:cNvPr>
            <p:cNvSpPr>
              <a:spLocks noChangeArrowheads="1"/>
            </p:cNvSpPr>
            <p:nvPr>
              <p:custDataLst>
                <p:tags r:id="rId3"/>
              </p:custDataLst>
            </p:nvPr>
          </p:nvSpPr>
          <p:spPr bwMode="auto">
            <a:xfrm>
              <a:off x="1100738" y="3979912"/>
              <a:ext cx="3600000" cy="318091"/>
            </a:xfrm>
            <a:prstGeom prst="rect">
              <a:avLst/>
            </a:prstGeom>
            <a:solidFill>
              <a:schemeClr val="accent1"/>
            </a:solidFill>
            <a:ln w="6350">
              <a:noFill/>
              <a:miter lim="800000"/>
              <a:headEnd/>
              <a:tailEnd/>
            </a:ln>
            <a:effectLst/>
          </p:spPr>
          <p:txBody>
            <a:bodyPr wrap="none" lIns="72000" tIns="72000" rIns="72000" bIns="72000" anchor="ctr"/>
            <a:lstStyle/>
            <a:p>
              <a:pPr algn="ctr" eaLnBrk="0" hangingPunct="0">
                <a:lnSpc>
                  <a:spcPct val="85000"/>
                </a:lnSpc>
                <a:spcBef>
                  <a:spcPts val="100"/>
                </a:spcBef>
                <a:spcAft>
                  <a:spcPts val="300"/>
                </a:spcAft>
              </a:pPr>
              <a:r>
                <a:rPr lang="en-US" sz="1600" b="1" dirty="0">
                  <a:solidFill>
                    <a:schemeClr val="bg1"/>
                  </a:solidFill>
                  <a:latin typeface="+mj-lt"/>
                </a:rPr>
                <a:t>Text</a:t>
              </a:r>
            </a:p>
          </p:txBody>
        </p:sp>
        <p:sp>
          <p:nvSpPr>
            <p:cNvPr id="30" name="Rectangle 17">
              <a:extLst>
                <a:ext uri="{FF2B5EF4-FFF2-40B4-BE49-F238E27FC236}">
                  <a16:creationId xmlns:a16="http://schemas.microsoft.com/office/drawing/2014/main" id="{9B256BBE-0849-4E93-B530-1502B27B1121}"/>
                </a:ext>
              </a:extLst>
            </p:cNvPr>
            <p:cNvSpPr>
              <a:spLocks noChangeArrowheads="1"/>
            </p:cNvSpPr>
            <p:nvPr>
              <p:custDataLst>
                <p:tags r:id="rId4"/>
              </p:custDataLst>
            </p:nvPr>
          </p:nvSpPr>
          <p:spPr bwMode="auto">
            <a:xfrm>
              <a:off x="1100738" y="4298003"/>
              <a:ext cx="3600000" cy="1756419"/>
            </a:xfrm>
            <a:prstGeom prst="rect">
              <a:avLst/>
            </a:prstGeom>
            <a:solidFill>
              <a:schemeClr val="tx2">
                <a:lumMod val="20000"/>
                <a:lumOff val="80000"/>
              </a:schemeClr>
            </a:solidFill>
            <a:ln w="6350">
              <a:noFill/>
              <a:miter lim="800000"/>
              <a:headEnd/>
              <a:tailEnd/>
            </a:ln>
          </p:spPr>
          <p:txBody>
            <a:bodyPr lIns="180000" tIns="144000" rIns="144000" bIns="72000"/>
            <a:lstStyle/>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grpSp>
      <p:grpSp>
        <p:nvGrpSpPr>
          <p:cNvPr id="9" name="Group 8" descr="Centered">
            <a:extLst>
              <a:ext uri="{FF2B5EF4-FFF2-40B4-BE49-F238E27FC236}">
                <a16:creationId xmlns:a16="http://schemas.microsoft.com/office/drawing/2014/main" id="{0BF83B0C-561A-4878-96A1-ED9233EFE661}"/>
              </a:ext>
            </a:extLst>
          </p:cNvPr>
          <p:cNvGrpSpPr/>
          <p:nvPr/>
        </p:nvGrpSpPr>
        <p:grpSpPr>
          <a:xfrm>
            <a:off x="4473710" y="2813050"/>
            <a:ext cx="2868971" cy="2088865"/>
            <a:chOff x="4473710" y="2813050"/>
            <a:chExt cx="2868971" cy="2088865"/>
          </a:xfrm>
        </p:grpSpPr>
        <p:sp>
          <p:nvSpPr>
            <p:cNvPr id="32" name="Rectangle 19">
              <a:extLst>
                <a:ext uri="{FF2B5EF4-FFF2-40B4-BE49-F238E27FC236}">
                  <a16:creationId xmlns:a16="http://schemas.microsoft.com/office/drawing/2014/main" id="{153C475F-8BF6-4CBE-9A85-DE224990CE02}"/>
                </a:ext>
              </a:extLst>
            </p:cNvPr>
            <p:cNvSpPr>
              <a:spLocks noChangeArrowheads="1"/>
            </p:cNvSpPr>
            <p:nvPr>
              <p:custDataLst>
                <p:tags r:id="rId1"/>
              </p:custDataLst>
            </p:nvPr>
          </p:nvSpPr>
          <p:spPr bwMode="auto">
            <a:xfrm>
              <a:off x="4473710" y="2813050"/>
              <a:ext cx="2868971" cy="331922"/>
            </a:xfrm>
            <a:prstGeom prst="rect">
              <a:avLst/>
            </a:prstGeom>
            <a:solidFill>
              <a:schemeClr val="accent2"/>
            </a:solidFill>
            <a:ln w="6350">
              <a:noFill/>
              <a:miter lim="800000"/>
              <a:headEnd/>
              <a:tailEnd/>
            </a:ln>
            <a:effectLst/>
          </p:spPr>
          <p:txBody>
            <a:bodyPr wrap="none" lIns="72000" tIns="72000" rIns="72000" bIns="72000" anchor="ctr"/>
            <a:lstStyle/>
            <a:p>
              <a:pPr algn="ctr" eaLnBrk="0" hangingPunct="0">
                <a:lnSpc>
                  <a:spcPct val="85000"/>
                </a:lnSpc>
                <a:spcBef>
                  <a:spcPts val="100"/>
                </a:spcBef>
                <a:spcAft>
                  <a:spcPts val="300"/>
                </a:spcAft>
              </a:pPr>
              <a:r>
                <a:rPr lang="en-US" sz="1600" b="1" dirty="0">
                  <a:solidFill>
                    <a:schemeClr val="bg1"/>
                  </a:solidFill>
                  <a:latin typeface="+mj-lt"/>
                </a:rPr>
                <a:t>Text</a:t>
              </a:r>
            </a:p>
          </p:txBody>
        </p:sp>
        <p:sp>
          <p:nvSpPr>
            <p:cNvPr id="34" name="Rectangle 20">
              <a:extLst>
                <a:ext uri="{FF2B5EF4-FFF2-40B4-BE49-F238E27FC236}">
                  <a16:creationId xmlns:a16="http://schemas.microsoft.com/office/drawing/2014/main" id="{7A835AAD-B50F-4DB0-8622-F4BFE73B0A4F}"/>
                </a:ext>
              </a:extLst>
            </p:cNvPr>
            <p:cNvSpPr>
              <a:spLocks noChangeArrowheads="1"/>
            </p:cNvSpPr>
            <p:nvPr>
              <p:custDataLst>
                <p:tags r:id="rId2"/>
              </p:custDataLst>
            </p:nvPr>
          </p:nvSpPr>
          <p:spPr bwMode="auto">
            <a:xfrm>
              <a:off x="4473710" y="3160863"/>
              <a:ext cx="2868971" cy="1741052"/>
            </a:xfrm>
            <a:prstGeom prst="rect">
              <a:avLst/>
            </a:prstGeom>
            <a:solidFill>
              <a:schemeClr val="accent2"/>
            </a:solidFill>
            <a:ln w="6350">
              <a:noFill/>
              <a:miter lim="800000"/>
              <a:headEnd/>
              <a:tailEnd/>
            </a:ln>
            <a:effectLst/>
          </p:spPr>
          <p:txBody>
            <a:bodyPr wrap="none" lIns="180000" tIns="180000" rIns="72000" bIns="72000"/>
            <a:lstStyle/>
            <a:p>
              <a:pPr marL="174625" indent="-174625" eaLnBrk="0" hangingPunct="0">
                <a:lnSpc>
                  <a:spcPct val="85000"/>
                </a:lnSpc>
                <a:spcBef>
                  <a:spcPts val="100"/>
                </a:spcBef>
                <a:spcAft>
                  <a:spcPts val="100"/>
                </a:spcAft>
                <a:buFontTx/>
                <a:buChar char="•"/>
              </a:pPr>
              <a:r>
                <a:rPr lang="en-US" sz="1600" dirty="0">
                  <a:solidFill>
                    <a:schemeClr val="bg1"/>
                  </a:solidFill>
                </a:rPr>
                <a:t>Text</a:t>
              </a:r>
            </a:p>
            <a:p>
              <a:pPr marL="174625" indent="-174625" eaLnBrk="0" hangingPunct="0">
                <a:lnSpc>
                  <a:spcPct val="85000"/>
                </a:lnSpc>
                <a:spcBef>
                  <a:spcPts val="100"/>
                </a:spcBef>
                <a:spcAft>
                  <a:spcPts val="100"/>
                </a:spcAft>
                <a:buFontTx/>
                <a:buChar char="•"/>
              </a:pPr>
              <a:r>
                <a:rPr lang="en-US" sz="1600" dirty="0">
                  <a:solidFill>
                    <a:schemeClr val="bg1"/>
                  </a:solidFill>
                </a:rPr>
                <a:t>Text</a:t>
              </a:r>
            </a:p>
            <a:p>
              <a:pPr marL="174625" indent="-174625" eaLnBrk="0" hangingPunct="0">
                <a:lnSpc>
                  <a:spcPct val="85000"/>
                </a:lnSpc>
                <a:spcBef>
                  <a:spcPts val="100"/>
                </a:spcBef>
                <a:spcAft>
                  <a:spcPts val="100"/>
                </a:spcAft>
                <a:buFontTx/>
                <a:buChar char="•"/>
              </a:pPr>
              <a:r>
                <a:rPr lang="en-US" sz="1600" dirty="0">
                  <a:solidFill>
                    <a:schemeClr val="bg1"/>
                  </a:solidFill>
                </a:rPr>
                <a:t>Text</a:t>
              </a:r>
            </a:p>
          </p:txBody>
        </p:sp>
      </p:grpSp>
      <p:sp>
        <p:nvSpPr>
          <p:cNvPr id="4" name="Footer Placeholder 3">
            <a:extLst>
              <a:ext uri="{FF2B5EF4-FFF2-40B4-BE49-F238E27FC236}">
                <a16:creationId xmlns:a16="http://schemas.microsoft.com/office/drawing/2014/main" id="{DA2887A1-571A-49AB-880E-F61F63EDA9A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954F2E93-C614-4D4F-9E2E-BCD7B4EA4797}"/>
              </a:ext>
            </a:extLst>
          </p:cNvPr>
          <p:cNvSpPr>
            <a:spLocks noGrp="1"/>
          </p:cNvSpPr>
          <p:nvPr>
            <p:ph type="sldNum" sz="quarter" idx="10"/>
          </p:nvPr>
        </p:nvSpPr>
        <p:spPr/>
        <p:txBody>
          <a:bodyPr/>
          <a:lstStyle/>
          <a:p>
            <a:fld id="{1F90F471-3972-4120-B8B3-0237DE626C35}" type="slidenum">
              <a:rPr lang="en-US" smtClean="0"/>
              <a:pPr/>
              <a:t>302</a:t>
            </a:fld>
            <a:endParaRPr lang="en-US" dirty="0"/>
          </a:p>
        </p:txBody>
      </p:sp>
    </p:spTree>
    <p:extLst>
      <p:ext uri="{BB962C8B-B14F-4D97-AF65-F5344CB8AC3E}">
        <p14:creationId xmlns:p14="http://schemas.microsoft.com/office/powerpoint/2010/main" val="1565514998"/>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Factors 8</a:t>
            </a:r>
          </a:p>
        </p:txBody>
      </p:sp>
      <p:sp>
        <p:nvSpPr>
          <p:cNvPr id="13" name="Rectangle 12">
            <a:extLst>
              <a:ext uri="{FF2B5EF4-FFF2-40B4-BE49-F238E27FC236}">
                <a16:creationId xmlns:a16="http://schemas.microsoft.com/office/drawing/2014/main" id="{5C7FA537-F344-41D1-8CD9-DD155EEE3E69}"/>
              </a:ext>
            </a:extLst>
          </p:cNvPr>
          <p:cNvSpPr>
            <a:spLocks noChangeArrowheads="1"/>
          </p:cNvSpPr>
          <p:nvPr/>
        </p:nvSpPr>
        <p:spPr bwMode="auto">
          <a:xfrm>
            <a:off x="1100738" y="1514894"/>
            <a:ext cx="3600000" cy="2221200"/>
          </a:xfrm>
          <a:prstGeom prst="rect">
            <a:avLst/>
          </a:prstGeom>
          <a:pattFill prst="dkUpDiag">
            <a:fgClr>
              <a:schemeClr val="accent2">
                <a:lumMod val="20000"/>
                <a:lumOff val="80000"/>
              </a:schemeClr>
            </a:fgClr>
            <a:bgClr>
              <a:schemeClr val="bg1"/>
            </a:bgClr>
          </a:pattFill>
          <a:ln w="6350">
            <a:noFill/>
            <a:miter lim="800000"/>
            <a:headEnd/>
            <a:tailEnd/>
          </a:ln>
        </p:spPr>
        <p:txBody>
          <a:bodyPr lIns="180000" tIns="144000" rIns="72000" bIns="72000"/>
          <a:lstStyle/>
          <a:p>
            <a:pPr eaLnBrk="0" hangingPunct="0">
              <a:lnSpc>
                <a:spcPct val="85000"/>
              </a:lnSpc>
              <a:spcBef>
                <a:spcPts val="100"/>
              </a:spcBef>
              <a:spcAft>
                <a:spcPts val="300"/>
              </a:spcAft>
            </a:pPr>
            <a:r>
              <a:rPr lang="en-US" sz="1600" b="1" dirty="0">
                <a:latin typeface="+mj-lt"/>
              </a:rPr>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sp>
        <p:nvSpPr>
          <p:cNvPr id="15" name="Rectangle 24">
            <a:extLst>
              <a:ext uri="{FF2B5EF4-FFF2-40B4-BE49-F238E27FC236}">
                <a16:creationId xmlns:a16="http://schemas.microsoft.com/office/drawing/2014/main" id="{3E64A23E-8974-4733-924D-79AFE0BD468D}"/>
              </a:ext>
            </a:extLst>
          </p:cNvPr>
          <p:cNvSpPr>
            <a:spLocks noChangeArrowheads="1"/>
          </p:cNvSpPr>
          <p:nvPr/>
        </p:nvSpPr>
        <p:spPr bwMode="auto">
          <a:xfrm>
            <a:off x="7144573" y="1514894"/>
            <a:ext cx="3600000" cy="2221200"/>
          </a:xfrm>
          <a:prstGeom prst="rect">
            <a:avLst/>
          </a:prstGeom>
          <a:pattFill prst="dkUpDiag">
            <a:fgClr>
              <a:schemeClr val="accent2">
                <a:lumMod val="20000"/>
                <a:lumOff val="80000"/>
              </a:schemeClr>
            </a:fgClr>
            <a:bgClr>
              <a:schemeClr val="bg1"/>
            </a:bgClr>
          </a:pattFill>
          <a:ln w="6350">
            <a:noFill/>
            <a:miter lim="800000"/>
            <a:headEnd/>
            <a:tailEnd/>
          </a:ln>
        </p:spPr>
        <p:txBody>
          <a:bodyPr lIns="360000" tIns="144000" rIns="72000" bIns="72000"/>
          <a:lstStyle/>
          <a:p>
            <a:pPr eaLnBrk="0" hangingPunct="0">
              <a:lnSpc>
                <a:spcPct val="85000"/>
              </a:lnSpc>
              <a:spcBef>
                <a:spcPts val="100"/>
              </a:spcBef>
              <a:spcAft>
                <a:spcPts val="300"/>
              </a:spcAft>
            </a:pPr>
            <a:r>
              <a:rPr lang="en-US" sz="1600" b="1" dirty="0">
                <a:latin typeface="+mj-lt"/>
              </a:rPr>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sp>
        <p:nvSpPr>
          <p:cNvPr id="11" name="Rectangle 23">
            <a:extLst>
              <a:ext uri="{FF2B5EF4-FFF2-40B4-BE49-F238E27FC236}">
                <a16:creationId xmlns:a16="http://schemas.microsoft.com/office/drawing/2014/main" id="{F8B935C7-AEF0-4E19-BB99-444A2EF535AD}"/>
              </a:ext>
            </a:extLst>
          </p:cNvPr>
          <p:cNvSpPr>
            <a:spLocks noChangeArrowheads="1"/>
          </p:cNvSpPr>
          <p:nvPr/>
        </p:nvSpPr>
        <p:spPr bwMode="auto">
          <a:xfrm>
            <a:off x="7144573" y="3836550"/>
            <a:ext cx="3600000" cy="2221350"/>
          </a:xfrm>
          <a:prstGeom prst="rect">
            <a:avLst/>
          </a:prstGeom>
          <a:pattFill prst="dkUpDiag">
            <a:fgClr>
              <a:schemeClr val="accent2">
                <a:lumMod val="20000"/>
                <a:lumOff val="80000"/>
              </a:schemeClr>
            </a:fgClr>
            <a:bgClr>
              <a:schemeClr val="bg1"/>
            </a:bgClr>
          </a:pattFill>
          <a:ln w="6350">
            <a:noFill/>
            <a:miter lim="800000"/>
            <a:headEnd/>
            <a:tailEnd/>
          </a:ln>
        </p:spPr>
        <p:txBody>
          <a:bodyPr lIns="360000" tIns="144000" rIns="72000" bIns="180000" anchor="t" anchorCtr="0"/>
          <a:lstStyle/>
          <a:p>
            <a:pPr eaLnBrk="0" hangingPunct="0">
              <a:lnSpc>
                <a:spcPct val="85000"/>
              </a:lnSpc>
              <a:spcBef>
                <a:spcPts val="100"/>
              </a:spcBef>
              <a:spcAft>
                <a:spcPts val="300"/>
              </a:spcAft>
            </a:pPr>
            <a:r>
              <a:rPr lang="en-US" sz="1600" b="1" dirty="0">
                <a:latin typeface="+mj-lt"/>
              </a:rPr>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sp>
        <p:nvSpPr>
          <p:cNvPr id="9" name="Rectangle 22">
            <a:extLst>
              <a:ext uri="{FF2B5EF4-FFF2-40B4-BE49-F238E27FC236}">
                <a16:creationId xmlns:a16="http://schemas.microsoft.com/office/drawing/2014/main" id="{A474E46B-1A96-45A6-B8CF-ADF8150176E4}"/>
              </a:ext>
            </a:extLst>
          </p:cNvPr>
          <p:cNvSpPr>
            <a:spLocks noChangeArrowheads="1"/>
          </p:cNvSpPr>
          <p:nvPr/>
        </p:nvSpPr>
        <p:spPr bwMode="auto">
          <a:xfrm>
            <a:off x="1100738" y="3836550"/>
            <a:ext cx="3600000" cy="2221350"/>
          </a:xfrm>
          <a:prstGeom prst="rect">
            <a:avLst/>
          </a:prstGeom>
          <a:pattFill prst="dkUpDiag">
            <a:fgClr>
              <a:schemeClr val="accent2">
                <a:lumMod val="20000"/>
                <a:lumOff val="80000"/>
              </a:schemeClr>
            </a:fgClr>
            <a:bgClr>
              <a:schemeClr val="bg1"/>
            </a:bgClr>
          </a:pattFill>
          <a:ln w="6350">
            <a:noFill/>
            <a:miter lim="800000"/>
            <a:headEnd/>
            <a:tailEnd/>
          </a:ln>
        </p:spPr>
        <p:txBody>
          <a:bodyPr lIns="180000" tIns="144000" rIns="72000" bIns="180000" anchor="t" anchorCtr="0"/>
          <a:lstStyle/>
          <a:p>
            <a:pPr eaLnBrk="0" hangingPunct="0">
              <a:lnSpc>
                <a:spcPct val="85000"/>
              </a:lnSpc>
              <a:spcBef>
                <a:spcPts val="100"/>
              </a:spcBef>
              <a:spcAft>
                <a:spcPts val="300"/>
              </a:spcAft>
            </a:pPr>
            <a:r>
              <a:rPr lang="en-US" sz="1600" b="1" dirty="0">
                <a:latin typeface="+mj-lt"/>
              </a:rPr>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sp>
        <p:nvSpPr>
          <p:cNvPr id="17" name="Rectangle 20">
            <a:extLst>
              <a:ext uri="{FF2B5EF4-FFF2-40B4-BE49-F238E27FC236}">
                <a16:creationId xmlns:a16="http://schemas.microsoft.com/office/drawing/2014/main" id="{DD276CC8-63CA-4005-B577-7BA6A65DF8B9}"/>
              </a:ext>
            </a:extLst>
          </p:cNvPr>
          <p:cNvSpPr>
            <a:spLocks noChangeArrowheads="1"/>
          </p:cNvSpPr>
          <p:nvPr>
            <p:custDataLst>
              <p:tags r:id="rId1"/>
            </p:custDataLst>
          </p:nvPr>
        </p:nvSpPr>
        <p:spPr bwMode="auto">
          <a:xfrm>
            <a:off x="4473710" y="2714107"/>
            <a:ext cx="2868971" cy="2144431"/>
          </a:xfrm>
          <a:prstGeom prst="rect">
            <a:avLst/>
          </a:prstGeom>
          <a:solidFill>
            <a:schemeClr val="accent2"/>
          </a:solidFill>
          <a:ln w="6350">
            <a:noFill/>
            <a:miter lim="800000"/>
            <a:headEnd/>
            <a:tailEnd/>
          </a:ln>
          <a:effectLst/>
        </p:spPr>
        <p:txBody>
          <a:bodyPr wrap="none" lIns="180000" tIns="180000" rIns="72000" bIns="72000"/>
          <a:lstStyle/>
          <a:p>
            <a:pPr eaLnBrk="0" hangingPunct="0">
              <a:lnSpc>
                <a:spcPct val="85000"/>
              </a:lnSpc>
              <a:spcBef>
                <a:spcPts val="100"/>
              </a:spcBef>
              <a:spcAft>
                <a:spcPts val="300"/>
              </a:spcAft>
            </a:pPr>
            <a:r>
              <a:rPr lang="en-US" b="1" dirty="0">
                <a:solidFill>
                  <a:schemeClr val="bg1"/>
                </a:solidFill>
                <a:latin typeface="+mj-lt"/>
              </a:rPr>
              <a:t>Text</a:t>
            </a:r>
          </a:p>
          <a:p>
            <a:pPr marL="174625" indent="-174625" eaLnBrk="0" hangingPunct="0">
              <a:lnSpc>
                <a:spcPct val="85000"/>
              </a:lnSpc>
              <a:spcBef>
                <a:spcPts val="100"/>
              </a:spcBef>
              <a:spcAft>
                <a:spcPts val="100"/>
              </a:spcAft>
              <a:buFontTx/>
              <a:buChar char="•"/>
            </a:pPr>
            <a:r>
              <a:rPr lang="en-US" sz="1600" dirty="0">
                <a:solidFill>
                  <a:schemeClr val="bg1"/>
                </a:solidFill>
              </a:rPr>
              <a:t>Text</a:t>
            </a:r>
          </a:p>
          <a:p>
            <a:pPr marL="174625" indent="-174625" eaLnBrk="0" hangingPunct="0">
              <a:lnSpc>
                <a:spcPct val="85000"/>
              </a:lnSpc>
              <a:spcBef>
                <a:spcPts val="100"/>
              </a:spcBef>
              <a:spcAft>
                <a:spcPts val="100"/>
              </a:spcAft>
              <a:buFontTx/>
              <a:buChar char="•"/>
            </a:pPr>
            <a:r>
              <a:rPr lang="en-US" sz="1600" dirty="0">
                <a:solidFill>
                  <a:schemeClr val="bg1"/>
                </a:solidFill>
              </a:rPr>
              <a:t>Text</a:t>
            </a:r>
          </a:p>
          <a:p>
            <a:pPr marL="174625" indent="-174625" eaLnBrk="0" hangingPunct="0">
              <a:lnSpc>
                <a:spcPct val="85000"/>
              </a:lnSpc>
              <a:spcBef>
                <a:spcPts val="100"/>
              </a:spcBef>
              <a:spcAft>
                <a:spcPts val="100"/>
              </a:spcAft>
              <a:buFontTx/>
              <a:buChar char="•"/>
            </a:pPr>
            <a:r>
              <a:rPr lang="en-US" sz="1600" dirty="0">
                <a:solidFill>
                  <a:schemeClr val="bg1"/>
                </a:solidFill>
              </a:rPr>
              <a:t>Text</a:t>
            </a:r>
          </a:p>
        </p:txBody>
      </p:sp>
      <p:sp>
        <p:nvSpPr>
          <p:cNvPr id="4" name="Footer Placeholder 3">
            <a:extLst>
              <a:ext uri="{FF2B5EF4-FFF2-40B4-BE49-F238E27FC236}">
                <a16:creationId xmlns:a16="http://schemas.microsoft.com/office/drawing/2014/main" id="{022E5B14-CC03-4BEE-BB7C-D2E7F1A4329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DE752FE7-B6BA-449E-B5E5-4ABC5A3DBBD6}"/>
              </a:ext>
            </a:extLst>
          </p:cNvPr>
          <p:cNvSpPr>
            <a:spLocks noGrp="1"/>
          </p:cNvSpPr>
          <p:nvPr>
            <p:ph type="sldNum" sz="quarter" idx="10"/>
          </p:nvPr>
        </p:nvSpPr>
        <p:spPr/>
        <p:txBody>
          <a:bodyPr/>
          <a:lstStyle/>
          <a:p>
            <a:fld id="{1F90F471-3972-4120-B8B3-0237DE626C35}" type="slidenum">
              <a:rPr lang="en-US" smtClean="0"/>
              <a:pPr/>
              <a:t>303</a:t>
            </a:fld>
            <a:endParaRPr lang="en-US" dirty="0"/>
          </a:p>
        </p:txBody>
      </p:sp>
    </p:spTree>
    <p:extLst>
      <p:ext uri="{BB962C8B-B14F-4D97-AF65-F5344CB8AC3E}">
        <p14:creationId xmlns:p14="http://schemas.microsoft.com/office/powerpoint/2010/main" val="576891439"/>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Components 1</a:t>
            </a:r>
          </a:p>
        </p:txBody>
      </p:sp>
      <p:sp>
        <p:nvSpPr>
          <p:cNvPr id="5" name="Freeform 17">
            <a:extLst>
              <a:ext uri="{FF2B5EF4-FFF2-40B4-BE49-F238E27FC236}">
                <a16:creationId xmlns:a16="http://schemas.microsoft.com/office/drawing/2014/main" id="{6E46CBDE-8390-491F-9065-5BE4CA335977}"/>
              </a:ext>
              <a:ext uri="{C183D7F6-B498-43B3-948B-1728B52AA6E4}">
                <adec:decorative xmlns:adec="http://schemas.microsoft.com/office/drawing/2017/decorative" val="0"/>
              </a:ext>
            </a:extLst>
          </p:cNvPr>
          <p:cNvSpPr>
            <a:spLocks/>
          </p:cNvSpPr>
          <p:nvPr/>
        </p:nvSpPr>
        <p:spPr bwMode="auto">
          <a:xfrm>
            <a:off x="381001" y="1798262"/>
            <a:ext cx="5663392" cy="3462711"/>
          </a:xfrm>
          <a:custGeom>
            <a:avLst/>
            <a:gdLst/>
            <a:ahLst/>
            <a:cxnLst>
              <a:cxn ang="0">
                <a:pos x="0" y="0"/>
              </a:cxn>
              <a:cxn ang="0">
                <a:pos x="2053" y="0"/>
              </a:cxn>
              <a:cxn ang="0">
                <a:pos x="2053" y="894"/>
              </a:cxn>
              <a:cxn ang="0">
                <a:pos x="0" y="1788"/>
              </a:cxn>
              <a:cxn ang="0">
                <a:pos x="0" y="0"/>
              </a:cxn>
            </a:cxnLst>
            <a:rect l="0" t="0" r="r" b="b"/>
            <a:pathLst>
              <a:path w="2054" h="1789">
                <a:moveTo>
                  <a:pt x="0" y="0"/>
                </a:moveTo>
                <a:lnTo>
                  <a:pt x="2053" y="0"/>
                </a:lnTo>
                <a:lnTo>
                  <a:pt x="2053" y="894"/>
                </a:lnTo>
                <a:lnTo>
                  <a:pt x="0" y="1788"/>
                </a:lnTo>
                <a:lnTo>
                  <a:pt x="0" y="0"/>
                </a:lnTo>
              </a:path>
            </a:pathLst>
          </a:custGeom>
          <a:solidFill>
            <a:srgbClr val="96968C">
              <a:lumMod val="20000"/>
              <a:lumOff val="80000"/>
            </a:srgb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6" name="Freeform 18">
            <a:extLst>
              <a:ext uri="{FF2B5EF4-FFF2-40B4-BE49-F238E27FC236}">
                <a16:creationId xmlns:a16="http://schemas.microsoft.com/office/drawing/2014/main" id="{E26BE853-DE74-4C8A-9582-AB5A5DC36BFA}"/>
              </a:ext>
              <a:ext uri="{C183D7F6-B498-43B3-948B-1728B52AA6E4}">
                <adec:decorative xmlns:adec="http://schemas.microsoft.com/office/drawing/2017/decorative" val="0"/>
              </a:ext>
            </a:extLst>
          </p:cNvPr>
          <p:cNvSpPr>
            <a:spLocks/>
          </p:cNvSpPr>
          <p:nvPr/>
        </p:nvSpPr>
        <p:spPr bwMode="auto">
          <a:xfrm>
            <a:off x="6146974" y="1798262"/>
            <a:ext cx="5663392" cy="3462711"/>
          </a:xfrm>
          <a:custGeom>
            <a:avLst/>
            <a:gdLst/>
            <a:ahLst/>
            <a:cxnLst>
              <a:cxn ang="0">
                <a:pos x="0" y="0"/>
              </a:cxn>
              <a:cxn ang="0">
                <a:pos x="2061" y="0"/>
              </a:cxn>
              <a:cxn ang="0">
                <a:pos x="2061" y="1788"/>
              </a:cxn>
              <a:cxn ang="0">
                <a:pos x="0" y="894"/>
              </a:cxn>
              <a:cxn ang="0">
                <a:pos x="0" y="0"/>
              </a:cxn>
            </a:cxnLst>
            <a:rect l="0" t="0" r="r" b="b"/>
            <a:pathLst>
              <a:path w="2062" h="1789">
                <a:moveTo>
                  <a:pt x="0" y="0"/>
                </a:moveTo>
                <a:lnTo>
                  <a:pt x="2061" y="0"/>
                </a:lnTo>
                <a:lnTo>
                  <a:pt x="2061" y="1788"/>
                </a:lnTo>
                <a:lnTo>
                  <a:pt x="0" y="894"/>
                </a:lnTo>
                <a:lnTo>
                  <a:pt x="0" y="0"/>
                </a:lnTo>
              </a:path>
            </a:pathLst>
          </a:custGeom>
          <a:solidFill>
            <a:schemeClr val="accent5">
              <a:lumMod val="20000"/>
              <a:lumOff val="80000"/>
            </a:scheme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4" name="Freeform 16">
            <a:extLst>
              <a:ext uri="{FF2B5EF4-FFF2-40B4-BE49-F238E27FC236}">
                <a16:creationId xmlns:a16="http://schemas.microsoft.com/office/drawing/2014/main" id="{E7CC08D2-4F2F-4FAD-A1A8-21BF158BB028}"/>
              </a:ext>
              <a:ext uri="{C183D7F6-B498-43B3-948B-1728B52AA6E4}">
                <adec:decorative xmlns:adec="http://schemas.microsoft.com/office/drawing/2017/decorative" val="1"/>
              </a:ext>
            </a:extLst>
          </p:cNvPr>
          <p:cNvSpPr>
            <a:spLocks/>
          </p:cNvSpPr>
          <p:nvPr/>
        </p:nvSpPr>
        <p:spPr bwMode="auto">
          <a:xfrm>
            <a:off x="381001" y="3612415"/>
            <a:ext cx="11429365" cy="1954614"/>
          </a:xfrm>
          <a:custGeom>
            <a:avLst/>
            <a:gdLst/>
            <a:ahLst/>
            <a:cxnLst>
              <a:cxn ang="0">
                <a:pos x="0" y="1030"/>
              </a:cxn>
              <a:cxn ang="0">
                <a:pos x="0" y="918"/>
              </a:cxn>
              <a:cxn ang="0">
                <a:pos x="2101" y="0"/>
              </a:cxn>
              <a:cxn ang="0">
                <a:pos x="4202" y="918"/>
              </a:cxn>
              <a:cxn ang="0">
                <a:pos x="4202" y="1030"/>
              </a:cxn>
              <a:cxn ang="0">
                <a:pos x="0" y="1030"/>
              </a:cxn>
            </a:cxnLst>
            <a:rect l="0" t="0" r="r" b="b"/>
            <a:pathLst>
              <a:path w="4203" h="1031">
                <a:moveTo>
                  <a:pt x="0" y="1030"/>
                </a:moveTo>
                <a:lnTo>
                  <a:pt x="0" y="918"/>
                </a:lnTo>
                <a:lnTo>
                  <a:pt x="2101" y="0"/>
                </a:lnTo>
                <a:lnTo>
                  <a:pt x="4202" y="918"/>
                </a:lnTo>
                <a:lnTo>
                  <a:pt x="4202" y="1030"/>
                </a:lnTo>
                <a:lnTo>
                  <a:pt x="0" y="1030"/>
                </a:lnTo>
              </a:path>
            </a:pathLst>
          </a:custGeom>
          <a:solidFill>
            <a:schemeClr val="accent1">
              <a:lumMod val="20000"/>
              <a:lumOff val="80000"/>
            </a:schemeClr>
          </a:solidFill>
          <a:ln w="6350" cap="rnd" cmpd="sng">
            <a:noFill/>
            <a:prstDash val="solid"/>
            <a:round/>
            <a:headEnd/>
            <a:tailEnd/>
          </a:ln>
          <a:effectLst/>
        </p:spPr>
        <p:txBody>
          <a:bodyPr lIns="72000" tIns="72000" rIns="72000" bIns="72000"/>
          <a:lstStyle/>
          <a:p>
            <a:pPr marL="0" marR="0" lvl="0" indent="0" algn="l" defTabSz="914400" rtl="0" eaLnBrk="1" fontAlgn="auto" latinLnBrk="0" hangingPunct="1">
              <a:lnSpc>
                <a:spcPct val="100000"/>
              </a:lnSpc>
              <a:spcBef>
                <a:spcPts val="100"/>
              </a:spcBef>
              <a:spcAft>
                <a:spcPts val="10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Rectangle 25">
            <a:extLst>
              <a:ext uri="{FF2B5EF4-FFF2-40B4-BE49-F238E27FC236}">
                <a16:creationId xmlns:a16="http://schemas.microsoft.com/office/drawing/2014/main" id="{5539CC78-6CDA-437F-A90B-A76C53AAFA71}"/>
              </a:ext>
            </a:extLst>
          </p:cNvPr>
          <p:cNvSpPr>
            <a:spLocks noChangeArrowheads="1"/>
          </p:cNvSpPr>
          <p:nvPr/>
        </p:nvSpPr>
        <p:spPr bwMode="auto">
          <a:xfrm>
            <a:off x="1260500" y="5130342"/>
            <a:ext cx="9661815" cy="419006"/>
          </a:xfrm>
          <a:prstGeom prst="rect">
            <a:avLst/>
          </a:prstGeom>
          <a:noFill/>
          <a:ln w="9525">
            <a:noFill/>
            <a:miter lim="800000"/>
            <a:headEnd/>
            <a:tailEnd/>
          </a:ln>
          <a:effectLst/>
        </p:spPr>
        <p:txBody>
          <a:bodyPr wrap="square" lIns="72000" tIns="72000" rIns="72000" bIns="72000" anchor="b">
            <a:spAutoFit/>
          </a:bodyPr>
          <a:lstStyle/>
          <a:p>
            <a:pPr marL="0" marR="0" lvl="0" indent="0" algn="ctr" defTabSz="914400" rtl="0" eaLnBrk="0" fontAlgn="auto" latinLnBrk="0" hangingPunct="0">
              <a:lnSpc>
                <a:spcPct val="100000"/>
              </a:lnSpc>
              <a:spcBef>
                <a:spcPts val="0"/>
              </a:spcBef>
              <a:spcAft>
                <a:spcPts val="0"/>
              </a:spcAft>
              <a:buClr>
                <a:srgbClr val="FFFFFF"/>
              </a:buClr>
              <a:buSzTx/>
              <a:buFontTx/>
              <a:buNone/>
              <a:tabLst/>
              <a:defRPr/>
            </a:pPr>
            <a:r>
              <a:rPr kumimoji="0" lang="en-US" sz="1800" b="0" i="0" u="none" strike="noStrike" kern="0" cap="none" spc="0" normalizeH="0" baseline="0" noProof="0" dirty="0">
                <a:ln>
                  <a:noFill/>
                </a:ln>
                <a:solidFill>
                  <a:srgbClr val="000000"/>
                </a:solidFill>
                <a:effectLst/>
                <a:uLnTx/>
                <a:uFillTx/>
                <a:ea typeface="+mn-ea"/>
                <a:cs typeface="+mn-cs"/>
              </a:rPr>
              <a:t>Insert text</a:t>
            </a:r>
          </a:p>
        </p:txBody>
      </p:sp>
      <p:sp>
        <p:nvSpPr>
          <p:cNvPr id="7" name="Rectangle 22">
            <a:extLst>
              <a:ext uri="{FF2B5EF4-FFF2-40B4-BE49-F238E27FC236}">
                <a16:creationId xmlns:a16="http://schemas.microsoft.com/office/drawing/2014/main" id="{32D97EDD-4932-4E21-AE2A-D8CBC1294772}"/>
              </a:ext>
            </a:extLst>
          </p:cNvPr>
          <p:cNvSpPr>
            <a:spLocks noChangeArrowheads="1"/>
          </p:cNvSpPr>
          <p:nvPr/>
        </p:nvSpPr>
        <p:spPr bwMode="auto">
          <a:xfrm>
            <a:off x="381000" y="5643992"/>
            <a:ext cx="11427791" cy="413907"/>
          </a:xfrm>
          <a:prstGeom prst="rect">
            <a:avLst/>
          </a:prstGeom>
          <a:solidFill>
            <a:schemeClr val="accent1"/>
          </a:solidFill>
          <a:ln w="6350">
            <a:noFill/>
            <a:miter lim="800000"/>
            <a:headEnd/>
            <a:tailEnd/>
          </a:ln>
          <a:effectLst/>
        </p:spPr>
        <p:txBody>
          <a:bodyPr lIns="72000" tIns="72000" rIns="72000" bIns="7200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mj-lt"/>
                <a:ea typeface="+mn-ea"/>
                <a:cs typeface="+mn-cs"/>
              </a:rPr>
              <a:t> Text</a:t>
            </a:r>
          </a:p>
        </p:txBody>
      </p:sp>
      <p:sp>
        <p:nvSpPr>
          <p:cNvPr id="9" name="Oval 25">
            <a:extLst>
              <a:ext uri="{FF2B5EF4-FFF2-40B4-BE49-F238E27FC236}">
                <a16:creationId xmlns:a16="http://schemas.microsoft.com/office/drawing/2014/main" id="{0068E451-A30D-4411-89B4-E3B7D03CE507}"/>
              </a:ext>
            </a:extLst>
          </p:cNvPr>
          <p:cNvSpPr>
            <a:spLocks noChangeArrowheads="1"/>
          </p:cNvSpPr>
          <p:nvPr/>
        </p:nvSpPr>
        <p:spPr bwMode="auto">
          <a:xfrm>
            <a:off x="5039279" y="2794695"/>
            <a:ext cx="2112809" cy="2112808"/>
          </a:xfrm>
          <a:prstGeom prst="ellipse">
            <a:avLst/>
          </a:prstGeom>
          <a:solidFill>
            <a:schemeClr val="accent1"/>
          </a:solidFill>
          <a:ln w="101600">
            <a:solidFill>
              <a:srgbClr val="FFFFFF"/>
            </a:solidFill>
            <a:miter lim="800000"/>
            <a:headEnd/>
            <a:tailEnd/>
          </a:ln>
        </p:spPr>
        <p:txBody>
          <a:bodyPr lIns="180000" tIns="144000" rIns="180000" bIns="72000" anchor="ctr" anchorCtr="0"/>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mj-lt"/>
                <a:ea typeface="+mn-ea"/>
                <a:cs typeface="+mn-cs"/>
              </a:rPr>
              <a:t>Text</a:t>
            </a:r>
          </a:p>
        </p:txBody>
      </p:sp>
      <p:sp>
        <p:nvSpPr>
          <p:cNvPr id="10" name="Footer Placeholder 9">
            <a:extLst>
              <a:ext uri="{FF2B5EF4-FFF2-40B4-BE49-F238E27FC236}">
                <a16:creationId xmlns:a16="http://schemas.microsoft.com/office/drawing/2014/main" id="{DC601A98-CAB3-4C83-A8C9-2D278F69A44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2" name="Slide Number Placeholder 11">
            <a:extLst>
              <a:ext uri="{FF2B5EF4-FFF2-40B4-BE49-F238E27FC236}">
                <a16:creationId xmlns:a16="http://schemas.microsoft.com/office/drawing/2014/main" id="{722BEEA3-0DE2-4706-90FB-C54600F90905}"/>
              </a:ext>
            </a:extLst>
          </p:cNvPr>
          <p:cNvSpPr>
            <a:spLocks noGrp="1"/>
          </p:cNvSpPr>
          <p:nvPr>
            <p:ph type="sldNum" sz="quarter" idx="10"/>
          </p:nvPr>
        </p:nvSpPr>
        <p:spPr/>
        <p:txBody>
          <a:bodyPr/>
          <a:lstStyle/>
          <a:p>
            <a:fld id="{1F90F471-3972-4120-B8B3-0237DE626C35}" type="slidenum">
              <a:rPr lang="en-US" smtClean="0"/>
              <a:pPr/>
              <a:t>304</a:t>
            </a:fld>
            <a:endParaRPr lang="en-US" dirty="0"/>
          </a:p>
        </p:txBody>
      </p:sp>
    </p:spTree>
    <p:extLst>
      <p:ext uri="{BB962C8B-B14F-4D97-AF65-F5344CB8AC3E}">
        <p14:creationId xmlns:p14="http://schemas.microsoft.com/office/powerpoint/2010/main" val="2557382720"/>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Components 2</a:t>
            </a:r>
          </a:p>
        </p:txBody>
      </p:sp>
      <p:sp>
        <p:nvSpPr>
          <p:cNvPr id="5" name="Freeform 17">
            <a:extLst>
              <a:ext uri="{FF2B5EF4-FFF2-40B4-BE49-F238E27FC236}">
                <a16:creationId xmlns:a16="http://schemas.microsoft.com/office/drawing/2014/main" id="{B66BB954-FA55-4E75-8A98-9D114FA4FC24}"/>
              </a:ext>
            </a:extLst>
          </p:cNvPr>
          <p:cNvSpPr>
            <a:spLocks/>
          </p:cNvSpPr>
          <p:nvPr/>
        </p:nvSpPr>
        <p:spPr bwMode="auto">
          <a:xfrm>
            <a:off x="381001" y="1798262"/>
            <a:ext cx="5663392" cy="3462711"/>
          </a:xfrm>
          <a:custGeom>
            <a:avLst/>
            <a:gdLst/>
            <a:ahLst/>
            <a:cxnLst>
              <a:cxn ang="0">
                <a:pos x="0" y="0"/>
              </a:cxn>
              <a:cxn ang="0">
                <a:pos x="2053" y="0"/>
              </a:cxn>
              <a:cxn ang="0">
                <a:pos x="2053" y="894"/>
              </a:cxn>
              <a:cxn ang="0">
                <a:pos x="0" y="1788"/>
              </a:cxn>
              <a:cxn ang="0">
                <a:pos x="0" y="0"/>
              </a:cxn>
            </a:cxnLst>
            <a:rect l="0" t="0" r="r" b="b"/>
            <a:pathLst>
              <a:path w="2054" h="1789">
                <a:moveTo>
                  <a:pt x="0" y="0"/>
                </a:moveTo>
                <a:lnTo>
                  <a:pt x="2053" y="0"/>
                </a:lnTo>
                <a:lnTo>
                  <a:pt x="2053" y="894"/>
                </a:lnTo>
                <a:lnTo>
                  <a:pt x="0" y="1788"/>
                </a:lnTo>
                <a:lnTo>
                  <a:pt x="0" y="0"/>
                </a:lnTo>
              </a:path>
            </a:pathLst>
          </a:custGeom>
          <a:solidFill>
            <a:srgbClr val="96968C">
              <a:lumMod val="20000"/>
              <a:lumOff val="80000"/>
            </a:srgb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6" name="Freeform 18">
            <a:extLst>
              <a:ext uri="{FF2B5EF4-FFF2-40B4-BE49-F238E27FC236}">
                <a16:creationId xmlns:a16="http://schemas.microsoft.com/office/drawing/2014/main" id="{EFCA0593-D959-4BCF-9525-1B25A4B821EC}"/>
              </a:ext>
            </a:extLst>
          </p:cNvPr>
          <p:cNvSpPr>
            <a:spLocks/>
          </p:cNvSpPr>
          <p:nvPr/>
        </p:nvSpPr>
        <p:spPr bwMode="auto">
          <a:xfrm>
            <a:off x="6146974" y="1798262"/>
            <a:ext cx="5663392" cy="3462711"/>
          </a:xfrm>
          <a:custGeom>
            <a:avLst/>
            <a:gdLst/>
            <a:ahLst/>
            <a:cxnLst>
              <a:cxn ang="0">
                <a:pos x="0" y="0"/>
              </a:cxn>
              <a:cxn ang="0">
                <a:pos x="2061" y="0"/>
              </a:cxn>
              <a:cxn ang="0">
                <a:pos x="2061" y="1788"/>
              </a:cxn>
              <a:cxn ang="0">
                <a:pos x="0" y="894"/>
              </a:cxn>
              <a:cxn ang="0">
                <a:pos x="0" y="0"/>
              </a:cxn>
            </a:cxnLst>
            <a:rect l="0" t="0" r="r" b="b"/>
            <a:pathLst>
              <a:path w="2062" h="1789">
                <a:moveTo>
                  <a:pt x="0" y="0"/>
                </a:moveTo>
                <a:lnTo>
                  <a:pt x="2061" y="0"/>
                </a:lnTo>
                <a:lnTo>
                  <a:pt x="2061" y="1788"/>
                </a:lnTo>
                <a:lnTo>
                  <a:pt x="0" y="894"/>
                </a:lnTo>
                <a:lnTo>
                  <a:pt x="0" y="0"/>
                </a:lnTo>
              </a:path>
            </a:pathLst>
          </a:custGeom>
          <a:solidFill>
            <a:srgbClr val="96968C">
              <a:lumMod val="20000"/>
              <a:lumOff val="80000"/>
            </a:srgb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4" name="Freeform 16">
            <a:extLst>
              <a:ext uri="{FF2B5EF4-FFF2-40B4-BE49-F238E27FC236}">
                <a16:creationId xmlns:a16="http://schemas.microsoft.com/office/drawing/2014/main" id="{AB812A3C-25D8-4AEE-B237-1ACF10C18660}"/>
              </a:ext>
              <a:ext uri="{C183D7F6-B498-43B3-948B-1728B52AA6E4}">
                <adec:decorative xmlns:adec="http://schemas.microsoft.com/office/drawing/2017/decorative" val="1"/>
              </a:ext>
            </a:extLst>
          </p:cNvPr>
          <p:cNvSpPr>
            <a:spLocks/>
          </p:cNvSpPr>
          <p:nvPr/>
        </p:nvSpPr>
        <p:spPr bwMode="auto">
          <a:xfrm>
            <a:off x="381001" y="3612415"/>
            <a:ext cx="11429365" cy="1954614"/>
          </a:xfrm>
          <a:custGeom>
            <a:avLst/>
            <a:gdLst/>
            <a:ahLst/>
            <a:cxnLst>
              <a:cxn ang="0">
                <a:pos x="0" y="1030"/>
              </a:cxn>
              <a:cxn ang="0">
                <a:pos x="0" y="918"/>
              </a:cxn>
              <a:cxn ang="0">
                <a:pos x="2101" y="0"/>
              </a:cxn>
              <a:cxn ang="0">
                <a:pos x="4202" y="918"/>
              </a:cxn>
              <a:cxn ang="0">
                <a:pos x="4202" y="1030"/>
              </a:cxn>
              <a:cxn ang="0">
                <a:pos x="0" y="1030"/>
              </a:cxn>
            </a:cxnLst>
            <a:rect l="0" t="0" r="r" b="b"/>
            <a:pathLst>
              <a:path w="4203" h="1031">
                <a:moveTo>
                  <a:pt x="0" y="1030"/>
                </a:moveTo>
                <a:lnTo>
                  <a:pt x="0" y="918"/>
                </a:lnTo>
                <a:lnTo>
                  <a:pt x="2101" y="0"/>
                </a:lnTo>
                <a:lnTo>
                  <a:pt x="4202" y="918"/>
                </a:lnTo>
                <a:lnTo>
                  <a:pt x="4202" y="1030"/>
                </a:lnTo>
                <a:lnTo>
                  <a:pt x="0" y="1030"/>
                </a:lnTo>
              </a:path>
            </a:pathLst>
          </a:custGeom>
          <a:solidFill>
            <a:srgbClr val="96968C">
              <a:lumMod val="20000"/>
              <a:lumOff val="80000"/>
            </a:srgbClr>
          </a:solidFill>
          <a:ln w="6350" cap="rnd" cmpd="sng">
            <a:noFill/>
            <a:prstDash val="solid"/>
            <a:round/>
            <a:headEnd/>
            <a:tailEnd/>
          </a:ln>
          <a:effectLst/>
        </p:spPr>
        <p:txBody>
          <a:bodyPr lIns="72000" tIns="72000" rIns="72000" bIns="72000"/>
          <a:lstStyle/>
          <a:p>
            <a:pPr marL="0" marR="0" lvl="0" indent="0" algn="l" defTabSz="914400" rtl="0" eaLnBrk="1" fontAlgn="auto" latinLnBrk="0" hangingPunct="1">
              <a:lnSpc>
                <a:spcPct val="100000"/>
              </a:lnSpc>
              <a:spcBef>
                <a:spcPts val="100"/>
              </a:spcBef>
              <a:spcAft>
                <a:spcPts val="10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Rectangle 25">
            <a:extLst>
              <a:ext uri="{FF2B5EF4-FFF2-40B4-BE49-F238E27FC236}">
                <a16:creationId xmlns:a16="http://schemas.microsoft.com/office/drawing/2014/main" id="{E8906510-8C02-4F0A-9C7F-85A3AAAD0617}"/>
              </a:ext>
            </a:extLst>
          </p:cNvPr>
          <p:cNvSpPr>
            <a:spLocks noChangeArrowheads="1"/>
          </p:cNvSpPr>
          <p:nvPr/>
        </p:nvSpPr>
        <p:spPr bwMode="auto">
          <a:xfrm>
            <a:off x="1260500" y="5130342"/>
            <a:ext cx="9661815" cy="419006"/>
          </a:xfrm>
          <a:prstGeom prst="rect">
            <a:avLst/>
          </a:prstGeom>
          <a:noFill/>
          <a:ln w="9525">
            <a:noFill/>
            <a:miter lim="800000"/>
            <a:headEnd/>
            <a:tailEnd/>
          </a:ln>
          <a:effectLst/>
        </p:spPr>
        <p:txBody>
          <a:bodyPr wrap="square" lIns="72000" tIns="72000" rIns="72000" bIns="72000" anchor="b">
            <a:spAutoFit/>
          </a:bodyPr>
          <a:lstStyle/>
          <a:p>
            <a:pPr marL="0" marR="0" lvl="0" indent="0" algn="ctr" defTabSz="914400" rtl="0" eaLnBrk="0" fontAlgn="auto" latinLnBrk="0" hangingPunct="0">
              <a:lnSpc>
                <a:spcPct val="100000"/>
              </a:lnSpc>
              <a:spcBef>
                <a:spcPts val="0"/>
              </a:spcBef>
              <a:spcAft>
                <a:spcPts val="0"/>
              </a:spcAft>
              <a:buClr>
                <a:srgbClr val="FFFFFF"/>
              </a:buClr>
              <a:buSzTx/>
              <a:buFontTx/>
              <a:buNone/>
              <a:tabLst/>
              <a:defRPr/>
            </a:pPr>
            <a:r>
              <a:rPr kumimoji="0" lang="en-US" sz="1800" b="0" i="0" u="none" strike="noStrike" kern="0" cap="none" spc="0" normalizeH="0" baseline="0" noProof="0" dirty="0">
                <a:ln>
                  <a:noFill/>
                </a:ln>
                <a:solidFill>
                  <a:srgbClr val="000000"/>
                </a:solidFill>
                <a:effectLst/>
                <a:uLnTx/>
                <a:uFillTx/>
                <a:ea typeface="+mn-ea"/>
                <a:cs typeface="+mn-cs"/>
              </a:rPr>
              <a:t>Insert text</a:t>
            </a:r>
          </a:p>
        </p:txBody>
      </p:sp>
      <p:sp>
        <p:nvSpPr>
          <p:cNvPr id="7" name="Rectangle 22">
            <a:extLst>
              <a:ext uri="{FF2B5EF4-FFF2-40B4-BE49-F238E27FC236}">
                <a16:creationId xmlns:a16="http://schemas.microsoft.com/office/drawing/2014/main" id="{07776AFB-76CE-451A-805B-05F509EC6B8E}"/>
              </a:ext>
            </a:extLst>
          </p:cNvPr>
          <p:cNvSpPr>
            <a:spLocks noChangeArrowheads="1"/>
          </p:cNvSpPr>
          <p:nvPr/>
        </p:nvSpPr>
        <p:spPr bwMode="auto">
          <a:xfrm>
            <a:off x="381000" y="5643992"/>
            <a:ext cx="11427791" cy="413907"/>
          </a:xfrm>
          <a:prstGeom prst="rect">
            <a:avLst/>
          </a:prstGeom>
          <a:solidFill>
            <a:schemeClr val="accent1"/>
          </a:solidFill>
          <a:ln w="6350">
            <a:noFill/>
            <a:miter lim="800000"/>
            <a:headEnd/>
            <a:tailEnd/>
          </a:ln>
          <a:effectLst/>
        </p:spPr>
        <p:txBody>
          <a:bodyPr lIns="72000" tIns="72000" rIns="72000" bIns="7200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mj-lt"/>
                <a:ea typeface="+mn-ea"/>
                <a:cs typeface="+mn-cs"/>
              </a:rPr>
              <a:t> Text</a:t>
            </a:r>
          </a:p>
        </p:txBody>
      </p:sp>
      <p:sp>
        <p:nvSpPr>
          <p:cNvPr id="9" name="Oval 25">
            <a:extLst>
              <a:ext uri="{FF2B5EF4-FFF2-40B4-BE49-F238E27FC236}">
                <a16:creationId xmlns:a16="http://schemas.microsoft.com/office/drawing/2014/main" id="{E3C2C8C8-7B2A-4E15-A775-AD960D82AC62}"/>
              </a:ext>
            </a:extLst>
          </p:cNvPr>
          <p:cNvSpPr>
            <a:spLocks noChangeArrowheads="1"/>
          </p:cNvSpPr>
          <p:nvPr/>
        </p:nvSpPr>
        <p:spPr bwMode="auto">
          <a:xfrm>
            <a:off x="5039279" y="2794695"/>
            <a:ext cx="2112809" cy="2112808"/>
          </a:xfrm>
          <a:prstGeom prst="ellipse">
            <a:avLst/>
          </a:prstGeom>
          <a:solidFill>
            <a:schemeClr val="accent1"/>
          </a:solidFill>
          <a:ln w="101600">
            <a:solidFill>
              <a:srgbClr val="FFFFFF"/>
            </a:solidFill>
            <a:miter lim="800000"/>
            <a:headEnd/>
            <a:tailEnd/>
          </a:ln>
        </p:spPr>
        <p:txBody>
          <a:bodyPr lIns="180000" tIns="144000" rIns="180000" bIns="72000" anchor="ctr" anchorCtr="0"/>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mj-lt"/>
                <a:ea typeface="+mn-ea"/>
                <a:cs typeface="+mn-cs"/>
              </a:rPr>
              <a:t>Text</a:t>
            </a:r>
          </a:p>
        </p:txBody>
      </p:sp>
      <p:sp>
        <p:nvSpPr>
          <p:cNvPr id="10" name="Footer Placeholder 9">
            <a:extLst>
              <a:ext uri="{FF2B5EF4-FFF2-40B4-BE49-F238E27FC236}">
                <a16:creationId xmlns:a16="http://schemas.microsoft.com/office/drawing/2014/main" id="{D8FFC1FE-546B-486E-95B7-732AF39BE04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2" name="Slide Number Placeholder 11">
            <a:extLst>
              <a:ext uri="{FF2B5EF4-FFF2-40B4-BE49-F238E27FC236}">
                <a16:creationId xmlns:a16="http://schemas.microsoft.com/office/drawing/2014/main" id="{7BBDE8CA-7784-43FD-8C2B-C168D7AB2085}"/>
              </a:ext>
            </a:extLst>
          </p:cNvPr>
          <p:cNvSpPr>
            <a:spLocks noGrp="1"/>
          </p:cNvSpPr>
          <p:nvPr>
            <p:ph type="sldNum" sz="quarter" idx="10"/>
          </p:nvPr>
        </p:nvSpPr>
        <p:spPr/>
        <p:txBody>
          <a:bodyPr/>
          <a:lstStyle/>
          <a:p>
            <a:fld id="{1F90F471-3972-4120-B8B3-0237DE626C35}" type="slidenum">
              <a:rPr lang="en-US" smtClean="0"/>
              <a:pPr/>
              <a:t>305</a:t>
            </a:fld>
            <a:endParaRPr lang="en-US" dirty="0"/>
          </a:p>
        </p:txBody>
      </p:sp>
    </p:spTree>
    <p:extLst>
      <p:ext uri="{BB962C8B-B14F-4D97-AF65-F5344CB8AC3E}">
        <p14:creationId xmlns:p14="http://schemas.microsoft.com/office/powerpoint/2010/main" val="3309571342"/>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Components 3</a:t>
            </a:r>
          </a:p>
        </p:txBody>
      </p:sp>
      <p:sp>
        <p:nvSpPr>
          <p:cNvPr id="5" name="Rectangle 17">
            <a:extLst>
              <a:ext uri="{FF2B5EF4-FFF2-40B4-BE49-F238E27FC236}">
                <a16:creationId xmlns:a16="http://schemas.microsoft.com/office/drawing/2014/main" id="{CAD9A2E3-8E97-4B92-834B-45E99B9C6B7E}"/>
              </a:ext>
            </a:extLst>
          </p:cNvPr>
          <p:cNvSpPr>
            <a:spLocks noChangeArrowheads="1"/>
          </p:cNvSpPr>
          <p:nvPr/>
        </p:nvSpPr>
        <p:spPr bwMode="auto">
          <a:xfrm>
            <a:off x="3303588" y="1366838"/>
            <a:ext cx="3867146" cy="1416170"/>
          </a:xfrm>
          <a:prstGeom prst="rect">
            <a:avLst/>
          </a:prstGeom>
          <a:solidFill>
            <a:schemeClr val="accent1">
              <a:lumMod val="20000"/>
              <a:lumOff val="80000"/>
            </a:scheme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6" name="Rectangle 18">
            <a:extLst>
              <a:ext uri="{FF2B5EF4-FFF2-40B4-BE49-F238E27FC236}">
                <a16:creationId xmlns:a16="http://schemas.microsoft.com/office/drawing/2014/main" id="{986635F6-6634-468F-859F-14CDC57DAB8B}"/>
              </a:ext>
            </a:extLst>
          </p:cNvPr>
          <p:cNvSpPr>
            <a:spLocks noChangeArrowheads="1"/>
          </p:cNvSpPr>
          <p:nvPr/>
        </p:nvSpPr>
        <p:spPr bwMode="auto">
          <a:xfrm>
            <a:off x="7170734" y="1366838"/>
            <a:ext cx="1717679" cy="3274892"/>
          </a:xfrm>
          <a:prstGeom prst="rect">
            <a:avLst/>
          </a:prstGeom>
          <a:pattFill prst="dkUpDiag">
            <a:fgClr>
              <a:srgbClr val="96968C">
                <a:lumMod val="20000"/>
                <a:lumOff val="80000"/>
              </a:srgbClr>
            </a:fgClr>
            <a:bgClr>
              <a:srgbClr val="FFFFFF"/>
            </a:bgClr>
          </a:patt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4" name="Rectangle 16">
            <a:extLst>
              <a:ext uri="{FF2B5EF4-FFF2-40B4-BE49-F238E27FC236}">
                <a16:creationId xmlns:a16="http://schemas.microsoft.com/office/drawing/2014/main" id="{4B96585B-A78D-45A7-A7CB-1E7D97D5BCDC}"/>
              </a:ext>
            </a:extLst>
          </p:cNvPr>
          <p:cNvSpPr>
            <a:spLocks noChangeArrowheads="1"/>
          </p:cNvSpPr>
          <p:nvPr/>
        </p:nvSpPr>
        <p:spPr bwMode="auto">
          <a:xfrm>
            <a:off x="5023161" y="4641730"/>
            <a:ext cx="3865252" cy="1416170"/>
          </a:xfrm>
          <a:prstGeom prst="rect">
            <a:avLst/>
          </a:prstGeom>
          <a:solidFill>
            <a:schemeClr val="accent1">
              <a:lumMod val="20000"/>
              <a:lumOff val="80000"/>
            </a:scheme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7" name="Rectangle 19">
            <a:extLst>
              <a:ext uri="{FF2B5EF4-FFF2-40B4-BE49-F238E27FC236}">
                <a16:creationId xmlns:a16="http://schemas.microsoft.com/office/drawing/2014/main" id="{E0F71E76-51B2-4407-AD0A-E6466F05A1F3}"/>
              </a:ext>
            </a:extLst>
          </p:cNvPr>
          <p:cNvSpPr>
            <a:spLocks noChangeArrowheads="1"/>
          </p:cNvSpPr>
          <p:nvPr/>
        </p:nvSpPr>
        <p:spPr bwMode="auto">
          <a:xfrm>
            <a:off x="3303588" y="2783008"/>
            <a:ext cx="1719573" cy="3274892"/>
          </a:xfrm>
          <a:prstGeom prst="rect">
            <a:avLst/>
          </a:prstGeom>
          <a:pattFill prst="dkUpDiag">
            <a:fgClr>
              <a:srgbClr val="96968C">
                <a:lumMod val="20000"/>
                <a:lumOff val="80000"/>
              </a:srgbClr>
            </a:fgClr>
            <a:bgClr>
              <a:srgbClr val="FFFFFF"/>
            </a:bgClr>
          </a:patt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8" name="Rectangle 20">
            <a:extLst>
              <a:ext uri="{FF2B5EF4-FFF2-40B4-BE49-F238E27FC236}">
                <a16:creationId xmlns:a16="http://schemas.microsoft.com/office/drawing/2014/main" id="{898BFE74-66DB-4844-8F2C-54B89564A9B9}"/>
              </a:ext>
            </a:extLst>
          </p:cNvPr>
          <p:cNvSpPr>
            <a:spLocks noChangeArrowheads="1"/>
          </p:cNvSpPr>
          <p:nvPr/>
        </p:nvSpPr>
        <p:spPr bwMode="auto">
          <a:xfrm>
            <a:off x="5023161" y="2783008"/>
            <a:ext cx="2147573" cy="1858723"/>
          </a:xfrm>
          <a:prstGeom prst="rect">
            <a:avLst/>
          </a:prstGeom>
          <a:solidFill>
            <a:schemeClr val="accent2"/>
          </a:solidFill>
          <a:ln w="6350">
            <a:noFill/>
            <a:miter lim="800000"/>
            <a:headEnd/>
            <a:tailEnd/>
          </a:ln>
          <a:effectLst/>
        </p:spPr>
        <p:txBody>
          <a:bodyPr wrap="none" lIns="72000" tIns="72000" rIns="72000" bIns="72000" anchor="ctr" anchorCtr="0"/>
          <a:lstStyle/>
          <a:p>
            <a:pPr marL="0" marR="0" lvl="0" indent="-177800" algn="ctr"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mj-lt"/>
                <a:ea typeface="+mn-ea"/>
                <a:cs typeface="+mn-cs"/>
              </a:rPr>
              <a:t>Text</a:t>
            </a:r>
          </a:p>
        </p:txBody>
      </p:sp>
      <p:sp>
        <p:nvSpPr>
          <p:cNvPr id="9" name="Footer Placeholder 8">
            <a:extLst>
              <a:ext uri="{FF2B5EF4-FFF2-40B4-BE49-F238E27FC236}">
                <a16:creationId xmlns:a16="http://schemas.microsoft.com/office/drawing/2014/main" id="{9B2CABBF-C15B-4D8D-A8EF-9C46C6A434F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1" name="Slide Number Placeholder 10">
            <a:extLst>
              <a:ext uri="{FF2B5EF4-FFF2-40B4-BE49-F238E27FC236}">
                <a16:creationId xmlns:a16="http://schemas.microsoft.com/office/drawing/2014/main" id="{A0D133A5-D736-4E76-9F79-F84FD10F751F}"/>
              </a:ext>
            </a:extLst>
          </p:cNvPr>
          <p:cNvSpPr>
            <a:spLocks noGrp="1"/>
          </p:cNvSpPr>
          <p:nvPr>
            <p:ph type="sldNum" sz="quarter" idx="10"/>
          </p:nvPr>
        </p:nvSpPr>
        <p:spPr/>
        <p:txBody>
          <a:bodyPr/>
          <a:lstStyle/>
          <a:p>
            <a:fld id="{1F90F471-3972-4120-B8B3-0237DE626C35}" type="slidenum">
              <a:rPr lang="en-US" smtClean="0"/>
              <a:pPr/>
              <a:t>306</a:t>
            </a:fld>
            <a:endParaRPr lang="en-US" dirty="0"/>
          </a:p>
        </p:txBody>
      </p:sp>
    </p:spTree>
    <p:extLst>
      <p:ext uri="{BB962C8B-B14F-4D97-AF65-F5344CB8AC3E}">
        <p14:creationId xmlns:p14="http://schemas.microsoft.com/office/powerpoint/2010/main" val="1023809533"/>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Components 4</a:t>
            </a:r>
          </a:p>
        </p:txBody>
      </p:sp>
      <p:sp>
        <p:nvSpPr>
          <p:cNvPr id="5" name="Rectangle 17">
            <a:extLst>
              <a:ext uri="{FF2B5EF4-FFF2-40B4-BE49-F238E27FC236}">
                <a16:creationId xmlns:a16="http://schemas.microsoft.com/office/drawing/2014/main" id="{A1847E77-7CFE-4824-BBEE-52AD02B18DFF}"/>
              </a:ext>
            </a:extLst>
          </p:cNvPr>
          <p:cNvSpPr>
            <a:spLocks noChangeArrowheads="1"/>
          </p:cNvSpPr>
          <p:nvPr/>
        </p:nvSpPr>
        <p:spPr bwMode="auto">
          <a:xfrm>
            <a:off x="3303588" y="1237526"/>
            <a:ext cx="3867146" cy="1416170"/>
          </a:xfrm>
          <a:prstGeom prst="rect">
            <a:avLst/>
          </a:prstGeom>
          <a:solidFill>
            <a:schemeClr val="accent2">
              <a:lumMod val="20000"/>
              <a:lumOff val="80000"/>
            </a:scheme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6" name="Rectangle 18">
            <a:extLst>
              <a:ext uri="{FF2B5EF4-FFF2-40B4-BE49-F238E27FC236}">
                <a16:creationId xmlns:a16="http://schemas.microsoft.com/office/drawing/2014/main" id="{F777C3FC-8112-4289-B90F-B18888344335}"/>
              </a:ext>
            </a:extLst>
          </p:cNvPr>
          <p:cNvSpPr>
            <a:spLocks noChangeArrowheads="1"/>
          </p:cNvSpPr>
          <p:nvPr/>
        </p:nvSpPr>
        <p:spPr bwMode="auto">
          <a:xfrm>
            <a:off x="7305220" y="1237526"/>
            <a:ext cx="1717679" cy="3274892"/>
          </a:xfrm>
          <a:prstGeom prst="rect">
            <a:avLst/>
          </a:prstGeom>
          <a:pattFill prst="dkUpDiag">
            <a:fgClr>
              <a:srgbClr val="96968C">
                <a:lumMod val="20000"/>
                <a:lumOff val="80000"/>
              </a:srgbClr>
            </a:fgClr>
            <a:bgClr>
              <a:srgbClr val="FFFFFF"/>
            </a:bgClr>
          </a:patt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7" name="Rectangle 19">
            <a:extLst>
              <a:ext uri="{FF2B5EF4-FFF2-40B4-BE49-F238E27FC236}">
                <a16:creationId xmlns:a16="http://schemas.microsoft.com/office/drawing/2014/main" id="{0A07E517-D423-49EE-85D9-67B313FEFBAC}"/>
              </a:ext>
            </a:extLst>
          </p:cNvPr>
          <p:cNvSpPr>
            <a:spLocks noChangeArrowheads="1"/>
          </p:cNvSpPr>
          <p:nvPr/>
        </p:nvSpPr>
        <p:spPr bwMode="auto">
          <a:xfrm>
            <a:off x="3330295" y="2783008"/>
            <a:ext cx="1719573" cy="3274892"/>
          </a:xfrm>
          <a:prstGeom prst="rect">
            <a:avLst/>
          </a:prstGeom>
          <a:pattFill prst="dkUpDiag">
            <a:fgClr>
              <a:srgbClr val="96968C">
                <a:lumMod val="20000"/>
                <a:lumOff val="80000"/>
              </a:srgbClr>
            </a:fgClr>
            <a:bgClr>
              <a:srgbClr val="FFFFFF"/>
            </a:bgClr>
          </a:patt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4" name="Rectangle 16">
            <a:extLst>
              <a:ext uri="{FF2B5EF4-FFF2-40B4-BE49-F238E27FC236}">
                <a16:creationId xmlns:a16="http://schemas.microsoft.com/office/drawing/2014/main" id="{8ECDC740-A08A-4527-A644-85389CE96388}"/>
              </a:ext>
            </a:extLst>
          </p:cNvPr>
          <p:cNvSpPr>
            <a:spLocks noChangeArrowheads="1"/>
          </p:cNvSpPr>
          <p:nvPr/>
        </p:nvSpPr>
        <p:spPr bwMode="auto">
          <a:xfrm>
            <a:off x="5184660" y="4641730"/>
            <a:ext cx="3838239" cy="1416170"/>
          </a:xfrm>
          <a:prstGeom prst="rect">
            <a:avLst/>
          </a:prstGeom>
          <a:solidFill>
            <a:schemeClr val="accent2">
              <a:lumMod val="20000"/>
              <a:lumOff val="80000"/>
            </a:scheme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8" name="Rectangle 20">
            <a:extLst>
              <a:ext uri="{FF2B5EF4-FFF2-40B4-BE49-F238E27FC236}">
                <a16:creationId xmlns:a16="http://schemas.microsoft.com/office/drawing/2014/main" id="{B81A1EE8-8BF7-4894-AB55-861257F884D9}"/>
              </a:ext>
            </a:extLst>
          </p:cNvPr>
          <p:cNvSpPr>
            <a:spLocks noChangeArrowheads="1"/>
          </p:cNvSpPr>
          <p:nvPr/>
        </p:nvSpPr>
        <p:spPr bwMode="auto">
          <a:xfrm>
            <a:off x="5184353" y="2783009"/>
            <a:ext cx="1986075" cy="1726670"/>
          </a:xfrm>
          <a:prstGeom prst="rect">
            <a:avLst/>
          </a:prstGeom>
          <a:solidFill>
            <a:schemeClr val="accent2"/>
          </a:solidFill>
          <a:ln w="6350">
            <a:noFill/>
            <a:miter lim="800000"/>
            <a:headEnd/>
            <a:tailEnd/>
          </a:ln>
          <a:effectLst/>
        </p:spPr>
        <p:txBody>
          <a:bodyPr wrap="none" lIns="72000" tIns="72000" rIns="72000" bIns="72000" anchor="ctr" anchorCtr="0"/>
          <a:lstStyle/>
          <a:p>
            <a:pPr marL="0" marR="0" lvl="0" indent="-177800" algn="ctr"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mj-lt"/>
                <a:ea typeface="+mn-ea"/>
                <a:cs typeface="+mn-cs"/>
              </a:rPr>
              <a:t>Text</a:t>
            </a:r>
          </a:p>
        </p:txBody>
      </p:sp>
      <p:sp>
        <p:nvSpPr>
          <p:cNvPr id="9" name="Footer Placeholder 8">
            <a:extLst>
              <a:ext uri="{FF2B5EF4-FFF2-40B4-BE49-F238E27FC236}">
                <a16:creationId xmlns:a16="http://schemas.microsoft.com/office/drawing/2014/main" id="{01691864-432D-467A-9212-74DC1E43B23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1" name="Slide Number Placeholder 10">
            <a:extLst>
              <a:ext uri="{FF2B5EF4-FFF2-40B4-BE49-F238E27FC236}">
                <a16:creationId xmlns:a16="http://schemas.microsoft.com/office/drawing/2014/main" id="{DECDEE5D-05B8-44FD-9C63-E71BA1216BA2}"/>
              </a:ext>
            </a:extLst>
          </p:cNvPr>
          <p:cNvSpPr>
            <a:spLocks noGrp="1"/>
          </p:cNvSpPr>
          <p:nvPr>
            <p:ph type="sldNum" sz="quarter" idx="10"/>
          </p:nvPr>
        </p:nvSpPr>
        <p:spPr/>
        <p:txBody>
          <a:bodyPr/>
          <a:lstStyle/>
          <a:p>
            <a:fld id="{1F90F471-3972-4120-B8B3-0237DE626C35}" type="slidenum">
              <a:rPr lang="en-US" smtClean="0"/>
              <a:pPr/>
              <a:t>307</a:t>
            </a:fld>
            <a:endParaRPr lang="en-US" dirty="0"/>
          </a:p>
        </p:txBody>
      </p:sp>
    </p:spTree>
    <p:extLst>
      <p:ext uri="{BB962C8B-B14F-4D97-AF65-F5344CB8AC3E}">
        <p14:creationId xmlns:p14="http://schemas.microsoft.com/office/powerpoint/2010/main" val="3044356961"/>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Cube 2x2x2</a:t>
            </a:r>
          </a:p>
        </p:txBody>
      </p:sp>
      <p:sp>
        <p:nvSpPr>
          <p:cNvPr id="4" name="Rectangle 10">
            <a:extLst>
              <a:ext uri="{FF2B5EF4-FFF2-40B4-BE49-F238E27FC236}">
                <a16:creationId xmlns:a16="http://schemas.microsoft.com/office/drawing/2014/main" id="{7FC0A935-FD22-4338-B01F-0E9EEFD35430}"/>
              </a:ext>
            </a:extLst>
          </p:cNvPr>
          <p:cNvSpPr>
            <a:spLocks noChangeArrowheads="1"/>
          </p:cNvSpPr>
          <p:nvPr/>
        </p:nvSpPr>
        <p:spPr bwMode="auto">
          <a:xfrm>
            <a:off x="2004936" y="3260750"/>
            <a:ext cx="1584325" cy="391628"/>
          </a:xfrm>
          <a:prstGeom prst="rect">
            <a:avLst/>
          </a:prstGeom>
          <a:noFill/>
          <a:ln w="6350">
            <a:noFill/>
            <a:miter lim="800000"/>
            <a:headEnd/>
            <a:tailEnd/>
          </a:ln>
          <a:effectLst/>
        </p:spPr>
        <p:txBody>
          <a:bodyPr lIns="72000" tIns="72000" rIns="72000" bIns="72000">
            <a:spAutoFit/>
          </a:bodyPr>
          <a:lstStyle/>
          <a:p>
            <a:pPr marL="0" marR="0" lvl="0" indent="0" algn="r" defTabSz="885825" rtl="0" eaLnBrk="0" fontAlgn="auto" latinLnBrk="0" hangingPunct="0">
              <a:lnSpc>
                <a:spcPct val="100000"/>
              </a:lnSpc>
              <a:spcBef>
                <a:spcPts val="0"/>
              </a:spcBef>
              <a:spcAft>
                <a:spcPts val="0"/>
              </a:spcAft>
              <a:buClr>
                <a:srgbClr val="000000"/>
              </a:buClr>
              <a:buSzTx/>
              <a:buFontTx/>
              <a:buNone/>
              <a:tabLst/>
              <a:defRPr/>
            </a:pPr>
            <a:r>
              <a:rPr kumimoji="0" lang="en-US" sz="1600" b="0" i="0" u="none" strike="noStrike" kern="0" cap="none" spc="0" normalizeH="0" baseline="0" noProof="0" dirty="0">
                <a:ln>
                  <a:noFill/>
                </a:ln>
                <a:solidFill>
                  <a:srgbClr val="000000"/>
                </a:solidFill>
                <a:effectLst/>
                <a:uLnTx/>
                <a:uFillTx/>
                <a:ea typeface="+mn-ea"/>
                <a:cs typeface="+mn-cs"/>
              </a:rPr>
              <a:t>Text </a:t>
            </a:r>
          </a:p>
        </p:txBody>
      </p:sp>
      <p:sp>
        <p:nvSpPr>
          <p:cNvPr id="5" name="Rectangle 11">
            <a:extLst>
              <a:ext uri="{FF2B5EF4-FFF2-40B4-BE49-F238E27FC236}">
                <a16:creationId xmlns:a16="http://schemas.microsoft.com/office/drawing/2014/main" id="{E9F449A1-138B-4526-A211-1222184325BE}"/>
              </a:ext>
            </a:extLst>
          </p:cNvPr>
          <p:cNvSpPr>
            <a:spLocks noChangeArrowheads="1"/>
          </p:cNvSpPr>
          <p:nvPr/>
        </p:nvSpPr>
        <p:spPr bwMode="auto">
          <a:xfrm>
            <a:off x="2006522" y="4822850"/>
            <a:ext cx="1574800" cy="391628"/>
          </a:xfrm>
          <a:prstGeom prst="rect">
            <a:avLst/>
          </a:prstGeom>
          <a:noFill/>
          <a:ln w="6350">
            <a:noFill/>
            <a:miter lim="800000"/>
            <a:headEnd/>
            <a:tailEnd/>
          </a:ln>
          <a:effectLst/>
        </p:spPr>
        <p:txBody>
          <a:bodyPr lIns="72000" tIns="72000" rIns="72000" bIns="72000">
            <a:spAutoFit/>
          </a:bodyPr>
          <a:lstStyle/>
          <a:p>
            <a:pPr marL="0" marR="0" lvl="0" indent="0" algn="r" defTabSz="885825" rtl="0" eaLnBrk="0" fontAlgn="auto" latinLnBrk="0" hangingPunct="0">
              <a:lnSpc>
                <a:spcPct val="100000"/>
              </a:lnSpc>
              <a:spcBef>
                <a:spcPts val="0"/>
              </a:spcBef>
              <a:spcAft>
                <a:spcPts val="0"/>
              </a:spcAft>
              <a:buClr>
                <a:srgbClr val="000000"/>
              </a:buClr>
              <a:buSzTx/>
              <a:buFontTx/>
              <a:buNone/>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6" name="Rectangle 12">
            <a:extLst>
              <a:ext uri="{FF2B5EF4-FFF2-40B4-BE49-F238E27FC236}">
                <a16:creationId xmlns:a16="http://schemas.microsoft.com/office/drawing/2014/main" id="{0B1C7E3B-C9F5-4DAB-9CF6-A51D1EBF582B}"/>
              </a:ext>
            </a:extLst>
          </p:cNvPr>
          <p:cNvSpPr>
            <a:spLocks noChangeArrowheads="1"/>
          </p:cNvSpPr>
          <p:nvPr/>
        </p:nvSpPr>
        <p:spPr bwMode="auto">
          <a:xfrm>
            <a:off x="3683000" y="5797575"/>
            <a:ext cx="1741488" cy="391628"/>
          </a:xfrm>
          <a:prstGeom prst="rect">
            <a:avLst/>
          </a:prstGeom>
          <a:noFill/>
          <a:ln w="6350">
            <a:noFill/>
            <a:miter lim="800000"/>
            <a:headEnd/>
            <a:tailEnd/>
          </a:ln>
          <a:effectLst/>
        </p:spPr>
        <p:txBody>
          <a:bodyPr lIns="144000" tIns="72000" rIns="72000" bIns="72000">
            <a:spAutoFit/>
          </a:bodyPr>
          <a:lstStyle/>
          <a:p>
            <a:pPr marL="0" marR="0" lvl="0" indent="0" algn="l" defTabSz="885825" rtl="0" eaLnBrk="0" fontAlgn="auto" latinLnBrk="0" hangingPunct="0">
              <a:lnSpc>
                <a:spcPct val="100000"/>
              </a:lnSpc>
              <a:spcBef>
                <a:spcPts val="0"/>
              </a:spcBef>
              <a:spcAft>
                <a:spcPts val="0"/>
              </a:spcAft>
              <a:buClr>
                <a:srgbClr val="000000"/>
              </a:buClr>
              <a:buSzTx/>
              <a:buFontTx/>
              <a:buNone/>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22" name="Rectangle 27">
            <a:extLst>
              <a:ext uri="{FF2B5EF4-FFF2-40B4-BE49-F238E27FC236}">
                <a16:creationId xmlns:a16="http://schemas.microsoft.com/office/drawing/2014/main" id="{D794550F-BA12-4ACB-AC38-CA8707B70AAE}"/>
              </a:ext>
            </a:extLst>
          </p:cNvPr>
          <p:cNvSpPr>
            <a:spLocks noChangeArrowheads="1"/>
          </p:cNvSpPr>
          <p:nvPr/>
        </p:nvSpPr>
        <p:spPr bwMode="auto">
          <a:xfrm>
            <a:off x="5424488" y="5797575"/>
            <a:ext cx="1776412" cy="391628"/>
          </a:xfrm>
          <a:prstGeom prst="rect">
            <a:avLst/>
          </a:prstGeom>
          <a:noFill/>
          <a:ln w="6350">
            <a:noFill/>
            <a:miter lim="800000"/>
            <a:headEnd/>
            <a:tailEnd/>
          </a:ln>
          <a:effectLst/>
        </p:spPr>
        <p:txBody>
          <a:bodyPr lIns="144000" tIns="72000" rIns="72000" bIns="72000">
            <a:spAutoFit/>
          </a:bodyPr>
          <a:lstStyle/>
          <a:p>
            <a:pPr marL="0" marR="0" lvl="0" indent="0" algn="l" defTabSz="885825" rtl="0" eaLnBrk="0" fontAlgn="auto" latinLnBrk="0" hangingPunct="0">
              <a:lnSpc>
                <a:spcPct val="100000"/>
              </a:lnSpc>
              <a:spcBef>
                <a:spcPts val="0"/>
              </a:spcBef>
              <a:spcAft>
                <a:spcPts val="0"/>
              </a:spcAft>
              <a:buClr>
                <a:srgbClr val="000000"/>
              </a:buClr>
              <a:buSzTx/>
              <a:buFontTx/>
              <a:buNone/>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7" name="Rectangle 13">
            <a:extLst>
              <a:ext uri="{FF2B5EF4-FFF2-40B4-BE49-F238E27FC236}">
                <a16:creationId xmlns:a16="http://schemas.microsoft.com/office/drawing/2014/main" id="{37A853A0-16BE-499A-8C24-86530138D572}"/>
              </a:ext>
            </a:extLst>
          </p:cNvPr>
          <p:cNvSpPr>
            <a:spLocks noChangeArrowheads="1"/>
          </p:cNvSpPr>
          <p:nvPr/>
        </p:nvSpPr>
        <p:spPr bwMode="auto">
          <a:xfrm>
            <a:off x="3683000" y="2649563"/>
            <a:ext cx="1741488" cy="1579563"/>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8" name="Rectangle 14">
            <a:extLst>
              <a:ext uri="{FF2B5EF4-FFF2-40B4-BE49-F238E27FC236}">
                <a16:creationId xmlns:a16="http://schemas.microsoft.com/office/drawing/2014/main" id="{22A1BD04-5A5E-415A-A8E7-4C17007408AE}"/>
              </a:ext>
            </a:extLst>
          </p:cNvPr>
          <p:cNvSpPr>
            <a:spLocks noChangeArrowheads="1"/>
          </p:cNvSpPr>
          <p:nvPr/>
        </p:nvSpPr>
        <p:spPr bwMode="auto">
          <a:xfrm>
            <a:off x="5426076" y="2649563"/>
            <a:ext cx="1774825" cy="1579563"/>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9" name="Rectangle 15">
            <a:extLst>
              <a:ext uri="{FF2B5EF4-FFF2-40B4-BE49-F238E27FC236}">
                <a16:creationId xmlns:a16="http://schemas.microsoft.com/office/drawing/2014/main" id="{C92A60CF-DB7B-4BB9-9367-AA4F5532ED79}"/>
              </a:ext>
            </a:extLst>
          </p:cNvPr>
          <p:cNvSpPr>
            <a:spLocks noChangeArrowheads="1"/>
          </p:cNvSpPr>
          <p:nvPr/>
        </p:nvSpPr>
        <p:spPr bwMode="auto">
          <a:xfrm>
            <a:off x="3683000" y="4219600"/>
            <a:ext cx="1741488" cy="1574800"/>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10" name="Rectangle 16">
            <a:extLst>
              <a:ext uri="{FF2B5EF4-FFF2-40B4-BE49-F238E27FC236}">
                <a16:creationId xmlns:a16="http://schemas.microsoft.com/office/drawing/2014/main" id="{3E08B8A6-51EE-4170-B68B-3DC76D2828C1}"/>
              </a:ext>
            </a:extLst>
          </p:cNvPr>
          <p:cNvSpPr>
            <a:spLocks noChangeArrowheads="1"/>
          </p:cNvSpPr>
          <p:nvPr/>
        </p:nvSpPr>
        <p:spPr bwMode="auto">
          <a:xfrm>
            <a:off x="5426076" y="4219600"/>
            <a:ext cx="1774825" cy="1574800"/>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11" name="Rectangle 17">
            <a:extLst>
              <a:ext uri="{FF2B5EF4-FFF2-40B4-BE49-F238E27FC236}">
                <a16:creationId xmlns:a16="http://schemas.microsoft.com/office/drawing/2014/main" id="{8FFCB17D-74E8-4E3D-B73A-CAEF5D0CDC14}"/>
              </a:ext>
            </a:extLst>
          </p:cNvPr>
          <p:cNvSpPr>
            <a:spLocks noChangeArrowheads="1"/>
          </p:cNvSpPr>
          <p:nvPr/>
        </p:nvSpPr>
        <p:spPr bwMode="auto">
          <a:xfrm rot="18960000">
            <a:off x="7264399" y="5489750"/>
            <a:ext cx="869950" cy="391628"/>
          </a:xfrm>
          <a:prstGeom prst="rect">
            <a:avLst/>
          </a:prstGeom>
          <a:noFill/>
          <a:ln w="6350">
            <a:noFill/>
            <a:miter lim="800000"/>
            <a:headEnd/>
            <a:tailEnd/>
          </a:ln>
          <a:effectLst/>
        </p:spPr>
        <p:txBody>
          <a:bodyPr lIns="72000" tIns="72000" rIns="72000" bIns="72000">
            <a:spAutoFit/>
          </a:bodyPr>
          <a:lstStyle/>
          <a:p>
            <a:pPr marL="0" marR="0" lvl="0" indent="0" algn="l" defTabSz="885825" rtl="0" eaLnBrk="0" fontAlgn="auto" latinLnBrk="0" hangingPunct="0">
              <a:lnSpc>
                <a:spcPct val="100000"/>
              </a:lnSpc>
              <a:spcBef>
                <a:spcPts val="0"/>
              </a:spcBef>
              <a:spcAft>
                <a:spcPts val="0"/>
              </a:spcAft>
              <a:buClr>
                <a:srgbClr val="000000"/>
              </a:buClr>
              <a:buSzTx/>
              <a:buFontTx/>
              <a:buNone/>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12" name="Rectangle 18">
            <a:extLst>
              <a:ext uri="{FF2B5EF4-FFF2-40B4-BE49-F238E27FC236}">
                <a16:creationId xmlns:a16="http://schemas.microsoft.com/office/drawing/2014/main" id="{7F95927B-2BCC-4962-9ADB-6AE5B99CFD02}"/>
              </a:ext>
            </a:extLst>
          </p:cNvPr>
          <p:cNvSpPr>
            <a:spLocks noChangeArrowheads="1"/>
          </p:cNvSpPr>
          <p:nvPr/>
        </p:nvSpPr>
        <p:spPr bwMode="auto">
          <a:xfrm rot="18900000">
            <a:off x="7900987" y="4902375"/>
            <a:ext cx="869950" cy="391628"/>
          </a:xfrm>
          <a:prstGeom prst="rect">
            <a:avLst/>
          </a:prstGeom>
          <a:noFill/>
          <a:ln w="6350">
            <a:noFill/>
            <a:miter lim="800000"/>
            <a:headEnd/>
            <a:tailEnd/>
          </a:ln>
          <a:effectLst/>
        </p:spPr>
        <p:txBody>
          <a:bodyPr lIns="72000" tIns="72000" rIns="72000" bIns="72000">
            <a:spAutoFit/>
          </a:bodyPr>
          <a:lstStyle/>
          <a:p>
            <a:pPr marL="0" marR="0" lvl="0" indent="0" algn="l" defTabSz="885825" rtl="0" eaLnBrk="0" fontAlgn="auto" latinLnBrk="0" hangingPunct="0">
              <a:lnSpc>
                <a:spcPct val="100000"/>
              </a:lnSpc>
              <a:spcBef>
                <a:spcPts val="0"/>
              </a:spcBef>
              <a:spcAft>
                <a:spcPts val="0"/>
              </a:spcAft>
              <a:buClr>
                <a:srgbClr val="000000"/>
              </a:buClr>
              <a:buSzTx/>
              <a:buFontTx/>
              <a:buNone/>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13" name="AutoShape 19">
            <a:extLst>
              <a:ext uri="{FF2B5EF4-FFF2-40B4-BE49-F238E27FC236}">
                <a16:creationId xmlns:a16="http://schemas.microsoft.com/office/drawing/2014/main" id="{C3D04F03-5264-4C68-9218-292A56F18F57}"/>
              </a:ext>
              <a:ext uri="{C183D7F6-B498-43B3-948B-1728B52AA6E4}">
                <adec:decorative xmlns:adec="http://schemas.microsoft.com/office/drawing/2017/decorative" val="1"/>
              </a:ext>
            </a:extLst>
          </p:cNvPr>
          <p:cNvSpPr>
            <a:spLocks noChangeArrowheads="1"/>
          </p:cNvSpPr>
          <p:nvPr/>
        </p:nvSpPr>
        <p:spPr bwMode="auto">
          <a:xfrm>
            <a:off x="3683001" y="2139976"/>
            <a:ext cx="2328863" cy="509587"/>
          </a:xfrm>
          <a:prstGeom prst="parallelogram">
            <a:avLst>
              <a:gd name="adj" fmla="val 110444"/>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 name="AutoShape 20">
            <a:extLst>
              <a:ext uri="{FF2B5EF4-FFF2-40B4-BE49-F238E27FC236}">
                <a16:creationId xmlns:a16="http://schemas.microsoft.com/office/drawing/2014/main" id="{6EFCB935-D58F-4644-8101-DDBAE00FB042}"/>
              </a:ext>
              <a:ext uri="{C183D7F6-B498-43B3-948B-1728B52AA6E4}">
                <adec:decorative xmlns:adec="http://schemas.microsoft.com/office/drawing/2017/decorative" val="1"/>
              </a:ext>
            </a:extLst>
          </p:cNvPr>
          <p:cNvSpPr>
            <a:spLocks noChangeArrowheads="1"/>
          </p:cNvSpPr>
          <p:nvPr/>
        </p:nvSpPr>
        <p:spPr bwMode="auto">
          <a:xfrm>
            <a:off x="5446714" y="2139976"/>
            <a:ext cx="2327275" cy="509587"/>
          </a:xfrm>
          <a:prstGeom prst="parallelogram">
            <a:avLst>
              <a:gd name="adj" fmla="val 110369"/>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 name="AutoShape 21">
            <a:extLst>
              <a:ext uri="{FF2B5EF4-FFF2-40B4-BE49-F238E27FC236}">
                <a16:creationId xmlns:a16="http://schemas.microsoft.com/office/drawing/2014/main" id="{4090DCEC-45F4-4E37-8C9D-CFC09450F7E9}"/>
              </a:ext>
              <a:ext uri="{C183D7F6-B498-43B3-948B-1728B52AA6E4}">
                <adec:decorative xmlns:adec="http://schemas.microsoft.com/office/drawing/2017/decorative" val="1"/>
              </a:ext>
            </a:extLst>
          </p:cNvPr>
          <p:cNvSpPr>
            <a:spLocks noChangeArrowheads="1"/>
          </p:cNvSpPr>
          <p:nvPr/>
        </p:nvSpPr>
        <p:spPr bwMode="auto">
          <a:xfrm>
            <a:off x="4244976" y="1628801"/>
            <a:ext cx="2327275" cy="511175"/>
          </a:xfrm>
          <a:prstGeom prst="parallelogram">
            <a:avLst>
              <a:gd name="adj" fmla="val 110026"/>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 name="AutoShape 22">
            <a:extLst>
              <a:ext uri="{FF2B5EF4-FFF2-40B4-BE49-F238E27FC236}">
                <a16:creationId xmlns:a16="http://schemas.microsoft.com/office/drawing/2014/main" id="{99F42010-A1D5-4E1C-BD76-428E101578A5}"/>
              </a:ext>
              <a:ext uri="{C183D7F6-B498-43B3-948B-1728B52AA6E4}">
                <adec:decorative xmlns:adec="http://schemas.microsoft.com/office/drawing/2017/decorative" val="1"/>
              </a:ext>
            </a:extLst>
          </p:cNvPr>
          <p:cNvSpPr>
            <a:spLocks noChangeArrowheads="1"/>
          </p:cNvSpPr>
          <p:nvPr/>
        </p:nvSpPr>
        <p:spPr bwMode="auto">
          <a:xfrm>
            <a:off x="6007101" y="1628801"/>
            <a:ext cx="2328863" cy="511175"/>
          </a:xfrm>
          <a:prstGeom prst="parallelogram">
            <a:avLst>
              <a:gd name="adj" fmla="val 110101"/>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 name="AutoShape 23">
            <a:extLst>
              <a:ext uri="{FF2B5EF4-FFF2-40B4-BE49-F238E27FC236}">
                <a16:creationId xmlns:a16="http://schemas.microsoft.com/office/drawing/2014/main" id="{755D12B3-4FE0-4C59-8F9A-3C5B74B343A4}"/>
              </a:ext>
              <a:ext uri="{C183D7F6-B498-43B3-948B-1728B52AA6E4}">
                <adec:decorative xmlns:adec="http://schemas.microsoft.com/office/drawing/2017/decorative" val="1"/>
              </a:ext>
            </a:extLst>
          </p:cNvPr>
          <p:cNvSpPr>
            <a:spLocks noChangeArrowheads="1"/>
          </p:cNvSpPr>
          <p:nvPr/>
        </p:nvSpPr>
        <p:spPr bwMode="auto">
          <a:xfrm rot="5400000" flipH="1">
            <a:off x="6442869" y="2898006"/>
            <a:ext cx="2089150" cy="573088"/>
          </a:xfrm>
          <a:prstGeom prst="parallelogram">
            <a:avLst>
              <a:gd name="adj" fmla="val 91136"/>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 name="AutoShape 24">
            <a:extLst>
              <a:ext uri="{FF2B5EF4-FFF2-40B4-BE49-F238E27FC236}">
                <a16:creationId xmlns:a16="http://schemas.microsoft.com/office/drawing/2014/main" id="{846524CB-2674-43AD-B12F-242BEC5DF227}"/>
              </a:ext>
              <a:ext uri="{C183D7F6-B498-43B3-948B-1728B52AA6E4}">
                <adec:decorative xmlns:adec="http://schemas.microsoft.com/office/drawing/2017/decorative" val="1"/>
              </a:ext>
            </a:extLst>
          </p:cNvPr>
          <p:cNvSpPr>
            <a:spLocks noChangeArrowheads="1"/>
          </p:cNvSpPr>
          <p:nvPr/>
        </p:nvSpPr>
        <p:spPr bwMode="auto">
          <a:xfrm rot="5400000" flipH="1">
            <a:off x="7004051" y="2387625"/>
            <a:ext cx="2090737" cy="573088"/>
          </a:xfrm>
          <a:prstGeom prst="parallelogram">
            <a:avLst>
              <a:gd name="adj" fmla="val 91205"/>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 name="AutoShape 25">
            <a:extLst>
              <a:ext uri="{FF2B5EF4-FFF2-40B4-BE49-F238E27FC236}">
                <a16:creationId xmlns:a16="http://schemas.microsoft.com/office/drawing/2014/main" id="{895579E4-E369-4C93-9FFC-05CD74B89992}"/>
              </a:ext>
              <a:ext uri="{C183D7F6-B498-43B3-948B-1728B52AA6E4}">
                <adec:decorative xmlns:adec="http://schemas.microsoft.com/office/drawing/2017/decorative" val="1"/>
              </a:ext>
            </a:extLst>
          </p:cNvPr>
          <p:cNvSpPr>
            <a:spLocks noChangeArrowheads="1"/>
          </p:cNvSpPr>
          <p:nvPr/>
        </p:nvSpPr>
        <p:spPr bwMode="auto">
          <a:xfrm rot="5400000" flipH="1">
            <a:off x="6442075" y="4465662"/>
            <a:ext cx="2090738" cy="573088"/>
          </a:xfrm>
          <a:prstGeom prst="parallelogram">
            <a:avLst>
              <a:gd name="adj" fmla="val 91205"/>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 name="AutoShape 26">
            <a:extLst>
              <a:ext uri="{FF2B5EF4-FFF2-40B4-BE49-F238E27FC236}">
                <a16:creationId xmlns:a16="http://schemas.microsoft.com/office/drawing/2014/main" id="{213D9C47-FF9F-43DE-8BB0-C6512B129BF7}"/>
              </a:ext>
              <a:ext uri="{C183D7F6-B498-43B3-948B-1728B52AA6E4}">
                <adec:decorative xmlns:adec="http://schemas.microsoft.com/office/drawing/2017/decorative" val="1"/>
              </a:ext>
            </a:extLst>
          </p:cNvPr>
          <p:cNvSpPr>
            <a:spLocks noChangeArrowheads="1"/>
          </p:cNvSpPr>
          <p:nvPr/>
        </p:nvSpPr>
        <p:spPr bwMode="auto">
          <a:xfrm rot="5400000" flipH="1">
            <a:off x="7004844" y="3955281"/>
            <a:ext cx="2089150" cy="573088"/>
          </a:xfrm>
          <a:prstGeom prst="parallelogram">
            <a:avLst>
              <a:gd name="adj" fmla="val 91136"/>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 name="Footer Placeholder 24">
            <a:extLst>
              <a:ext uri="{FF2B5EF4-FFF2-40B4-BE49-F238E27FC236}">
                <a16:creationId xmlns:a16="http://schemas.microsoft.com/office/drawing/2014/main" id="{7DC87C4A-B680-4EE8-AE5A-3F5507A45C23}"/>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6" name="Slide Number Placeholder 25">
            <a:extLst>
              <a:ext uri="{FF2B5EF4-FFF2-40B4-BE49-F238E27FC236}">
                <a16:creationId xmlns:a16="http://schemas.microsoft.com/office/drawing/2014/main" id="{5B46A6CF-169C-4B55-A4AF-54FC4E0F5763}"/>
              </a:ext>
            </a:extLst>
          </p:cNvPr>
          <p:cNvSpPr>
            <a:spLocks noGrp="1"/>
          </p:cNvSpPr>
          <p:nvPr>
            <p:ph type="sldNum" sz="quarter" idx="10"/>
          </p:nvPr>
        </p:nvSpPr>
        <p:spPr/>
        <p:txBody>
          <a:bodyPr/>
          <a:lstStyle/>
          <a:p>
            <a:fld id="{1F90F471-3972-4120-B8B3-0237DE626C35}" type="slidenum">
              <a:rPr lang="en-US" smtClean="0"/>
              <a:pPr/>
              <a:t>308</a:t>
            </a:fld>
            <a:endParaRPr lang="en-US" dirty="0"/>
          </a:p>
        </p:txBody>
      </p:sp>
    </p:spTree>
    <p:extLst>
      <p:ext uri="{BB962C8B-B14F-4D97-AF65-F5344CB8AC3E}">
        <p14:creationId xmlns:p14="http://schemas.microsoft.com/office/powerpoint/2010/main" val="881518475"/>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Cube 2x2x4</a:t>
            </a:r>
          </a:p>
        </p:txBody>
      </p:sp>
      <p:sp>
        <p:nvSpPr>
          <p:cNvPr id="13" name="Rectangle 33">
            <a:extLst>
              <a:ext uri="{FF2B5EF4-FFF2-40B4-BE49-F238E27FC236}">
                <a16:creationId xmlns:a16="http://schemas.microsoft.com/office/drawing/2014/main" id="{02F3BC5D-4F5A-42C9-B077-69CAA1B67DC0}"/>
              </a:ext>
            </a:extLst>
          </p:cNvPr>
          <p:cNvSpPr>
            <a:spLocks noChangeArrowheads="1"/>
          </p:cNvSpPr>
          <p:nvPr/>
        </p:nvSpPr>
        <p:spPr bwMode="auto">
          <a:xfrm>
            <a:off x="1992314" y="2899901"/>
            <a:ext cx="1552499" cy="1159016"/>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14" name="Rectangle 34">
            <a:extLst>
              <a:ext uri="{FF2B5EF4-FFF2-40B4-BE49-F238E27FC236}">
                <a16:creationId xmlns:a16="http://schemas.microsoft.com/office/drawing/2014/main" id="{C67C1A5A-09C5-4B3C-A8DC-67CD4F8F3F89}"/>
              </a:ext>
            </a:extLst>
          </p:cNvPr>
          <p:cNvSpPr>
            <a:spLocks noChangeArrowheads="1"/>
          </p:cNvSpPr>
          <p:nvPr/>
        </p:nvSpPr>
        <p:spPr bwMode="auto">
          <a:xfrm>
            <a:off x="1992314" y="4058917"/>
            <a:ext cx="1552499" cy="1151360"/>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6" name="Rectangle 26">
            <a:extLst>
              <a:ext uri="{FF2B5EF4-FFF2-40B4-BE49-F238E27FC236}">
                <a16:creationId xmlns:a16="http://schemas.microsoft.com/office/drawing/2014/main" id="{7762D239-E741-4F42-A4B2-767990A42DED}"/>
              </a:ext>
            </a:extLst>
          </p:cNvPr>
          <p:cNvSpPr>
            <a:spLocks noChangeArrowheads="1"/>
          </p:cNvSpPr>
          <p:nvPr/>
        </p:nvSpPr>
        <p:spPr bwMode="auto">
          <a:xfrm>
            <a:off x="3544813" y="2899901"/>
            <a:ext cx="1552499" cy="1159016"/>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7" name="Rectangle 27">
            <a:extLst>
              <a:ext uri="{FF2B5EF4-FFF2-40B4-BE49-F238E27FC236}">
                <a16:creationId xmlns:a16="http://schemas.microsoft.com/office/drawing/2014/main" id="{EDC25ECB-B62E-4569-8219-1567111F7959}"/>
              </a:ext>
            </a:extLst>
          </p:cNvPr>
          <p:cNvSpPr>
            <a:spLocks noChangeArrowheads="1"/>
          </p:cNvSpPr>
          <p:nvPr/>
        </p:nvSpPr>
        <p:spPr bwMode="auto">
          <a:xfrm>
            <a:off x="3544813" y="4058917"/>
            <a:ext cx="1552499" cy="1151360"/>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9" name="Rectangle 29">
            <a:extLst>
              <a:ext uri="{FF2B5EF4-FFF2-40B4-BE49-F238E27FC236}">
                <a16:creationId xmlns:a16="http://schemas.microsoft.com/office/drawing/2014/main" id="{5DA6CFAD-3A8F-48DD-B861-A87683184E50}"/>
              </a:ext>
            </a:extLst>
          </p:cNvPr>
          <p:cNvSpPr>
            <a:spLocks noChangeArrowheads="1"/>
          </p:cNvSpPr>
          <p:nvPr/>
        </p:nvSpPr>
        <p:spPr bwMode="auto">
          <a:xfrm>
            <a:off x="5097313" y="2899901"/>
            <a:ext cx="1552499" cy="1159016"/>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10" name="Rectangle 30">
            <a:extLst>
              <a:ext uri="{FF2B5EF4-FFF2-40B4-BE49-F238E27FC236}">
                <a16:creationId xmlns:a16="http://schemas.microsoft.com/office/drawing/2014/main" id="{7F1B35E3-B5CD-4157-97F7-95A248944CC9}"/>
              </a:ext>
            </a:extLst>
          </p:cNvPr>
          <p:cNvSpPr>
            <a:spLocks noChangeArrowheads="1"/>
          </p:cNvSpPr>
          <p:nvPr/>
        </p:nvSpPr>
        <p:spPr bwMode="auto">
          <a:xfrm>
            <a:off x="5097313" y="4058917"/>
            <a:ext cx="1552499" cy="1151360"/>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11" name="Rectangle 31">
            <a:extLst>
              <a:ext uri="{FF2B5EF4-FFF2-40B4-BE49-F238E27FC236}">
                <a16:creationId xmlns:a16="http://schemas.microsoft.com/office/drawing/2014/main" id="{1FA002AE-817C-4B7D-8DBA-0B4C1E19F4EC}"/>
              </a:ext>
            </a:extLst>
          </p:cNvPr>
          <p:cNvSpPr>
            <a:spLocks noChangeArrowheads="1"/>
          </p:cNvSpPr>
          <p:nvPr/>
        </p:nvSpPr>
        <p:spPr bwMode="auto">
          <a:xfrm>
            <a:off x="6649812" y="2899901"/>
            <a:ext cx="1554031" cy="1159016"/>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12" name="Rectangle 32">
            <a:extLst>
              <a:ext uri="{FF2B5EF4-FFF2-40B4-BE49-F238E27FC236}">
                <a16:creationId xmlns:a16="http://schemas.microsoft.com/office/drawing/2014/main" id="{A9113C73-CDA1-40B4-BE4D-6776FA6B8DE0}"/>
              </a:ext>
            </a:extLst>
          </p:cNvPr>
          <p:cNvSpPr>
            <a:spLocks noChangeArrowheads="1"/>
          </p:cNvSpPr>
          <p:nvPr/>
        </p:nvSpPr>
        <p:spPr bwMode="auto">
          <a:xfrm>
            <a:off x="6649812" y="4058917"/>
            <a:ext cx="1554031" cy="1151360"/>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28" name="Rectangle 47">
            <a:extLst>
              <a:ext uri="{FF2B5EF4-FFF2-40B4-BE49-F238E27FC236}">
                <a16:creationId xmlns:a16="http://schemas.microsoft.com/office/drawing/2014/main" id="{808BC498-37B2-41A3-BEA0-FAC809C6270C}"/>
              </a:ext>
            </a:extLst>
          </p:cNvPr>
          <p:cNvSpPr>
            <a:spLocks noChangeArrowheads="1"/>
          </p:cNvSpPr>
          <p:nvPr/>
        </p:nvSpPr>
        <p:spPr bwMode="auto">
          <a:xfrm>
            <a:off x="1992314" y="5210278"/>
            <a:ext cx="1552499" cy="360850"/>
          </a:xfrm>
          <a:prstGeom prst="rect">
            <a:avLst/>
          </a:prstGeom>
          <a:noFill/>
          <a:ln w="6350">
            <a:noFill/>
            <a:miter lim="800000"/>
            <a:headEnd/>
            <a:tailEnd/>
          </a:ln>
          <a:effectLst/>
        </p:spPr>
        <p:txBody>
          <a:bodyPr lIns="72000" tIns="72000" rIns="72000" bIns="72000">
            <a:spAutoFit/>
          </a:bodyPr>
          <a:lstStyle/>
          <a:p>
            <a:pPr marL="0" marR="0" lvl="0" indent="0" algn="l" defTabSz="885825"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29" name="Rectangle 48">
            <a:extLst>
              <a:ext uri="{FF2B5EF4-FFF2-40B4-BE49-F238E27FC236}">
                <a16:creationId xmlns:a16="http://schemas.microsoft.com/office/drawing/2014/main" id="{5FBC55FD-CCF5-4DAB-99D2-226272B1511E}"/>
              </a:ext>
            </a:extLst>
          </p:cNvPr>
          <p:cNvSpPr>
            <a:spLocks noChangeArrowheads="1"/>
          </p:cNvSpPr>
          <p:nvPr/>
        </p:nvSpPr>
        <p:spPr bwMode="auto">
          <a:xfrm>
            <a:off x="3544813" y="5210278"/>
            <a:ext cx="1552499" cy="360850"/>
          </a:xfrm>
          <a:prstGeom prst="rect">
            <a:avLst/>
          </a:prstGeom>
          <a:noFill/>
          <a:ln w="6350">
            <a:noFill/>
            <a:miter lim="800000"/>
            <a:headEnd/>
            <a:tailEnd/>
          </a:ln>
          <a:effectLst/>
        </p:spPr>
        <p:txBody>
          <a:bodyPr lIns="72000" tIns="72000" rIns="72000" bIns="72000">
            <a:spAutoFit/>
          </a:bodyPr>
          <a:lstStyle/>
          <a:p>
            <a:pPr marL="0" marR="0" lvl="0" indent="0" algn="l" defTabSz="885825"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Text </a:t>
            </a:r>
          </a:p>
        </p:txBody>
      </p:sp>
      <p:sp>
        <p:nvSpPr>
          <p:cNvPr id="5" name="Rectangle 25">
            <a:extLst>
              <a:ext uri="{FF2B5EF4-FFF2-40B4-BE49-F238E27FC236}">
                <a16:creationId xmlns:a16="http://schemas.microsoft.com/office/drawing/2014/main" id="{9ACB9A2E-4DC4-4CB2-B636-B3BF9C2ABC9A}"/>
              </a:ext>
            </a:extLst>
          </p:cNvPr>
          <p:cNvSpPr>
            <a:spLocks noChangeArrowheads="1"/>
          </p:cNvSpPr>
          <p:nvPr/>
        </p:nvSpPr>
        <p:spPr bwMode="auto">
          <a:xfrm>
            <a:off x="6649812" y="5210278"/>
            <a:ext cx="1554031" cy="360850"/>
          </a:xfrm>
          <a:prstGeom prst="rect">
            <a:avLst/>
          </a:prstGeom>
          <a:noFill/>
          <a:ln w="6350">
            <a:noFill/>
            <a:miter lim="800000"/>
            <a:headEnd/>
            <a:tailEnd/>
          </a:ln>
          <a:effectLst/>
        </p:spPr>
        <p:txBody>
          <a:bodyPr lIns="72000" tIns="72000" rIns="72000" bIns="72000">
            <a:spAutoFit/>
          </a:bodyPr>
          <a:lstStyle/>
          <a:p>
            <a:pPr marL="0" marR="0" lvl="0" indent="0" algn="l" defTabSz="885825"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Text </a:t>
            </a:r>
          </a:p>
        </p:txBody>
      </p:sp>
      <p:sp>
        <p:nvSpPr>
          <p:cNvPr id="4" name="Rectangle 24">
            <a:extLst>
              <a:ext uri="{FF2B5EF4-FFF2-40B4-BE49-F238E27FC236}">
                <a16:creationId xmlns:a16="http://schemas.microsoft.com/office/drawing/2014/main" id="{46CD0D9E-17B4-4470-986F-E244CB81962E}"/>
              </a:ext>
            </a:extLst>
          </p:cNvPr>
          <p:cNvSpPr>
            <a:spLocks noChangeArrowheads="1"/>
          </p:cNvSpPr>
          <p:nvPr/>
        </p:nvSpPr>
        <p:spPr bwMode="auto">
          <a:xfrm>
            <a:off x="5097313" y="5210278"/>
            <a:ext cx="1552499" cy="360850"/>
          </a:xfrm>
          <a:prstGeom prst="rect">
            <a:avLst/>
          </a:prstGeom>
          <a:noFill/>
          <a:ln w="6350">
            <a:noFill/>
            <a:miter lim="800000"/>
            <a:headEnd/>
            <a:tailEnd/>
          </a:ln>
          <a:effectLst/>
        </p:spPr>
        <p:txBody>
          <a:bodyPr lIns="72000" tIns="72000" rIns="72000" bIns="72000">
            <a:spAutoFit/>
          </a:bodyPr>
          <a:lstStyle/>
          <a:p>
            <a:pPr marL="0" marR="0" lvl="0" indent="0" algn="l" defTabSz="885825"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grpSp>
        <p:nvGrpSpPr>
          <p:cNvPr id="3" name="Group 2">
            <a:extLst>
              <a:ext uri="{FF2B5EF4-FFF2-40B4-BE49-F238E27FC236}">
                <a16:creationId xmlns:a16="http://schemas.microsoft.com/office/drawing/2014/main" id="{19880407-F169-4C7E-98F2-46D353EFCEF4}"/>
              </a:ext>
              <a:ext uri="{C183D7F6-B498-43B3-948B-1728B52AA6E4}">
                <adec:decorative xmlns:adec="http://schemas.microsoft.com/office/drawing/2017/decorative" val="1"/>
              </a:ext>
            </a:extLst>
          </p:cNvPr>
          <p:cNvGrpSpPr/>
          <p:nvPr/>
        </p:nvGrpSpPr>
        <p:grpSpPr>
          <a:xfrm>
            <a:off x="1992314" y="1632181"/>
            <a:ext cx="8203444" cy="3585753"/>
            <a:chOff x="1992314" y="1632181"/>
            <a:chExt cx="8203444" cy="3585753"/>
          </a:xfrm>
        </p:grpSpPr>
        <p:sp>
          <p:nvSpPr>
            <p:cNvPr id="8" name="AutoShape 28">
              <a:extLst>
                <a:ext uri="{FF2B5EF4-FFF2-40B4-BE49-F238E27FC236}">
                  <a16:creationId xmlns:a16="http://schemas.microsoft.com/office/drawing/2014/main" id="{46A7A022-BC8A-46EC-9C6D-AC0B4F007A48}"/>
                </a:ext>
              </a:extLst>
            </p:cNvPr>
            <p:cNvSpPr>
              <a:spLocks noChangeArrowheads="1"/>
            </p:cNvSpPr>
            <p:nvPr/>
          </p:nvSpPr>
          <p:spPr bwMode="auto">
            <a:xfrm>
              <a:off x="1992314" y="2266042"/>
              <a:ext cx="2549223" cy="633861"/>
            </a:xfrm>
            <a:prstGeom prst="parallelogram">
              <a:avLst>
                <a:gd name="adj" fmla="val 155991"/>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 name="AutoShape 35">
              <a:extLst>
                <a:ext uri="{FF2B5EF4-FFF2-40B4-BE49-F238E27FC236}">
                  <a16:creationId xmlns:a16="http://schemas.microsoft.com/office/drawing/2014/main" id="{EB9DED46-C684-423A-B63D-ABD035E9A730}"/>
                </a:ext>
                <a:ext uri="{C183D7F6-B498-43B3-948B-1728B52AA6E4}">
                  <adec:decorative xmlns:adec="http://schemas.microsoft.com/office/drawing/2017/decorative" val="1"/>
                </a:ext>
              </a:extLst>
            </p:cNvPr>
            <p:cNvSpPr>
              <a:spLocks noChangeArrowheads="1"/>
            </p:cNvSpPr>
            <p:nvPr/>
          </p:nvSpPr>
          <p:spPr bwMode="auto">
            <a:xfrm>
              <a:off x="3544813" y="2266042"/>
              <a:ext cx="2549223" cy="633861"/>
            </a:xfrm>
            <a:prstGeom prst="parallelogram">
              <a:avLst>
                <a:gd name="adj" fmla="val 155991"/>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 name="AutoShape 36">
              <a:extLst>
                <a:ext uri="{FF2B5EF4-FFF2-40B4-BE49-F238E27FC236}">
                  <a16:creationId xmlns:a16="http://schemas.microsoft.com/office/drawing/2014/main" id="{7BD5B5DB-2A2E-40D1-B8D7-1C90B34672B1}"/>
                </a:ext>
                <a:ext uri="{C183D7F6-B498-43B3-948B-1728B52AA6E4}">
                  <adec:decorative xmlns:adec="http://schemas.microsoft.com/office/drawing/2017/decorative" val="1"/>
                </a:ext>
              </a:extLst>
            </p:cNvPr>
            <p:cNvSpPr>
              <a:spLocks noChangeArrowheads="1"/>
            </p:cNvSpPr>
            <p:nvPr/>
          </p:nvSpPr>
          <p:spPr bwMode="auto">
            <a:xfrm>
              <a:off x="5097313" y="2266042"/>
              <a:ext cx="2549223" cy="633861"/>
            </a:xfrm>
            <a:prstGeom prst="parallelogram">
              <a:avLst>
                <a:gd name="adj" fmla="val 155991"/>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 name="AutoShape 37">
              <a:extLst>
                <a:ext uri="{FF2B5EF4-FFF2-40B4-BE49-F238E27FC236}">
                  <a16:creationId xmlns:a16="http://schemas.microsoft.com/office/drawing/2014/main" id="{CB3FF36E-C619-4321-9384-A58158C17B81}"/>
                </a:ext>
                <a:ext uri="{C183D7F6-B498-43B3-948B-1728B52AA6E4}">
                  <adec:decorative xmlns:adec="http://schemas.microsoft.com/office/drawing/2017/decorative" val="1"/>
                </a:ext>
              </a:extLst>
            </p:cNvPr>
            <p:cNvSpPr>
              <a:spLocks noChangeArrowheads="1"/>
            </p:cNvSpPr>
            <p:nvPr/>
          </p:nvSpPr>
          <p:spPr bwMode="auto">
            <a:xfrm>
              <a:off x="6649812" y="2266042"/>
              <a:ext cx="2549223" cy="633861"/>
            </a:xfrm>
            <a:prstGeom prst="parallelogram">
              <a:avLst>
                <a:gd name="adj" fmla="val 155991"/>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 name="AutoShape 38">
              <a:extLst>
                <a:ext uri="{FF2B5EF4-FFF2-40B4-BE49-F238E27FC236}">
                  <a16:creationId xmlns:a16="http://schemas.microsoft.com/office/drawing/2014/main" id="{E53E18F7-A2FF-474A-8EB9-4138A8F8F0D9}"/>
                </a:ext>
                <a:ext uri="{C183D7F6-B498-43B3-948B-1728B52AA6E4}">
                  <adec:decorative xmlns:adec="http://schemas.microsoft.com/office/drawing/2017/decorative" val="1"/>
                </a:ext>
              </a:extLst>
            </p:cNvPr>
            <p:cNvSpPr>
              <a:spLocks noChangeArrowheads="1"/>
            </p:cNvSpPr>
            <p:nvPr/>
          </p:nvSpPr>
          <p:spPr bwMode="auto">
            <a:xfrm>
              <a:off x="2982913" y="1632181"/>
              <a:ext cx="2547691" cy="633861"/>
            </a:xfrm>
            <a:prstGeom prst="parallelogram">
              <a:avLst>
                <a:gd name="adj" fmla="val 155898"/>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 name="AutoShape 39">
              <a:extLst>
                <a:ext uri="{FF2B5EF4-FFF2-40B4-BE49-F238E27FC236}">
                  <a16:creationId xmlns:a16="http://schemas.microsoft.com/office/drawing/2014/main" id="{E76E421C-F8C7-4E01-854B-48420E05AA83}"/>
                </a:ext>
                <a:ext uri="{C183D7F6-B498-43B3-948B-1728B52AA6E4}">
                  <adec:decorative xmlns:adec="http://schemas.microsoft.com/office/drawing/2017/decorative" val="1"/>
                </a:ext>
              </a:extLst>
            </p:cNvPr>
            <p:cNvSpPr>
              <a:spLocks noChangeArrowheads="1"/>
            </p:cNvSpPr>
            <p:nvPr/>
          </p:nvSpPr>
          <p:spPr bwMode="auto">
            <a:xfrm>
              <a:off x="4535412" y="1632181"/>
              <a:ext cx="2549223" cy="633861"/>
            </a:xfrm>
            <a:prstGeom prst="parallelogram">
              <a:avLst>
                <a:gd name="adj" fmla="val 155991"/>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 name="AutoShape 40">
              <a:extLst>
                <a:ext uri="{FF2B5EF4-FFF2-40B4-BE49-F238E27FC236}">
                  <a16:creationId xmlns:a16="http://schemas.microsoft.com/office/drawing/2014/main" id="{19A89F51-F658-44C9-BF48-840D47AE9352}"/>
                </a:ext>
                <a:ext uri="{C183D7F6-B498-43B3-948B-1728B52AA6E4}">
                  <adec:decorative xmlns:adec="http://schemas.microsoft.com/office/drawing/2017/decorative" val="1"/>
                </a:ext>
              </a:extLst>
            </p:cNvPr>
            <p:cNvSpPr>
              <a:spLocks noChangeArrowheads="1"/>
            </p:cNvSpPr>
            <p:nvPr/>
          </p:nvSpPr>
          <p:spPr bwMode="auto">
            <a:xfrm>
              <a:off x="6087912" y="1632181"/>
              <a:ext cx="2549223" cy="633861"/>
            </a:xfrm>
            <a:prstGeom prst="parallelogram">
              <a:avLst>
                <a:gd name="adj" fmla="val 155991"/>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 name="AutoShape 41">
              <a:extLst>
                <a:ext uri="{FF2B5EF4-FFF2-40B4-BE49-F238E27FC236}">
                  <a16:creationId xmlns:a16="http://schemas.microsoft.com/office/drawing/2014/main" id="{7D84E7C3-7EB3-4573-A599-7FEEE6E51E71}"/>
                </a:ext>
                <a:ext uri="{C183D7F6-B498-43B3-948B-1728B52AA6E4}">
                  <adec:decorative xmlns:adec="http://schemas.microsoft.com/office/drawing/2017/decorative" val="1"/>
                </a:ext>
              </a:extLst>
            </p:cNvPr>
            <p:cNvSpPr>
              <a:spLocks noChangeArrowheads="1"/>
            </p:cNvSpPr>
            <p:nvPr/>
          </p:nvSpPr>
          <p:spPr bwMode="auto">
            <a:xfrm>
              <a:off x="7640411" y="1632181"/>
              <a:ext cx="2549223" cy="633861"/>
            </a:xfrm>
            <a:prstGeom prst="parallelogram">
              <a:avLst>
                <a:gd name="adj" fmla="val 155991"/>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23" name="Group 42">
              <a:extLst>
                <a:ext uri="{FF2B5EF4-FFF2-40B4-BE49-F238E27FC236}">
                  <a16:creationId xmlns:a16="http://schemas.microsoft.com/office/drawing/2014/main" id="{0E00BD06-665E-44BD-BCF3-B29EAE547221}"/>
                </a:ext>
              </a:extLst>
            </p:cNvPr>
            <p:cNvGrpSpPr>
              <a:grpSpLocks/>
            </p:cNvGrpSpPr>
            <p:nvPr/>
          </p:nvGrpSpPr>
          <p:grpSpPr bwMode="auto">
            <a:xfrm>
              <a:off x="8203843" y="1632181"/>
              <a:ext cx="1991915" cy="3585753"/>
              <a:chOff x="4086" y="1319"/>
              <a:chExt cx="1164" cy="2041"/>
            </a:xfrm>
            <a:solidFill>
              <a:srgbClr val="96968C">
                <a:lumMod val="20000"/>
                <a:lumOff val="80000"/>
              </a:srgbClr>
            </a:solidFill>
          </p:grpSpPr>
          <p:sp>
            <p:nvSpPr>
              <p:cNvPr id="24" name="AutoShape 43">
                <a:extLst>
                  <a:ext uri="{FF2B5EF4-FFF2-40B4-BE49-F238E27FC236}">
                    <a16:creationId xmlns:a16="http://schemas.microsoft.com/office/drawing/2014/main" id="{F920C23C-F3FF-48D5-9A23-D480154A193C}"/>
                  </a:ext>
                </a:extLst>
              </p:cNvPr>
              <p:cNvSpPr>
                <a:spLocks noChangeArrowheads="1"/>
              </p:cNvSpPr>
              <p:nvPr/>
            </p:nvSpPr>
            <p:spPr bwMode="auto">
              <a:xfrm rot="5400000" flipH="1">
                <a:off x="3867" y="1899"/>
                <a:ext cx="1020" cy="582"/>
              </a:xfrm>
              <a:prstGeom prst="parallelogram">
                <a:avLst>
                  <a:gd name="adj" fmla="val 61511"/>
                </a:avLst>
              </a:prstGeom>
              <a:grp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 name="AutoShape 44">
                <a:extLst>
                  <a:ext uri="{FF2B5EF4-FFF2-40B4-BE49-F238E27FC236}">
                    <a16:creationId xmlns:a16="http://schemas.microsoft.com/office/drawing/2014/main" id="{13F01934-6730-4548-8AC5-02F44C34739F}"/>
                  </a:ext>
                </a:extLst>
              </p:cNvPr>
              <p:cNvSpPr>
                <a:spLocks noChangeArrowheads="1"/>
              </p:cNvSpPr>
              <p:nvPr/>
            </p:nvSpPr>
            <p:spPr bwMode="auto">
              <a:xfrm rot="5400000" flipH="1">
                <a:off x="3867" y="2559"/>
                <a:ext cx="1020" cy="582"/>
              </a:xfrm>
              <a:prstGeom prst="parallelogram">
                <a:avLst>
                  <a:gd name="adj" fmla="val 61511"/>
                </a:avLst>
              </a:prstGeom>
              <a:grp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 name="AutoShape 45">
                <a:extLst>
                  <a:ext uri="{FF2B5EF4-FFF2-40B4-BE49-F238E27FC236}">
                    <a16:creationId xmlns:a16="http://schemas.microsoft.com/office/drawing/2014/main" id="{505B22E7-0426-4357-9AD3-8B941704A7C5}"/>
                  </a:ext>
                </a:extLst>
              </p:cNvPr>
              <p:cNvSpPr>
                <a:spLocks noChangeArrowheads="1"/>
              </p:cNvSpPr>
              <p:nvPr/>
            </p:nvSpPr>
            <p:spPr bwMode="auto">
              <a:xfrm rot="5400000" flipH="1">
                <a:off x="4449" y="1538"/>
                <a:ext cx="1020" cy="582"/>
              </a:xfrm>
              <a:prstGeom prst="parallelogram">
                <a:avLst>
                  <a:gd name="adj" fmla="val 61511"/>
                </a:avLst>
              </a:prstGeom>
              <a:grp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 name="AutoShape 46">
                <a:extLst>
                  <a:ext uri="{FF2B5EF4-FFF2-40B4-BE49-F238E27FC236}">
                    <a16:creationId xmlns:a16="http://schemas.microsoft.com/office/drawing/2014/main" id="{5B93BE33-8CF2-43E8-9124-5C8C98F8684C}"/>
                  </a:ext>
                </a:extLst>
              </p:cNvPr>
              <p:cNvSpPr>
                <a:spLocks noChangeArrowheads="1"/>
              </p:cNvSpPr>
              <p:nvPr/>
            </p:nvSpPr>
            <p:spPr bwMode="auto">
              <a:xfrm rot="5400000" flipH="1">
                <a:off x="4449" y="2198"/>
                <a:ext cx="1020" cy="582"/>
              </a:xfrm>
              <a:prstGeom prst="parallelogram">
                <a:avLst>
                  <a:gd name="adj" fmla="val 61511"/>
                </a:avLst>
              </a:prstGeom>
              <a:grp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31" name="Footer Placeholder 30">
            <a:extLst>
              <a:ext uri="{FF2B5EF4-FFF2-40B4-BE49-F238E27FC236}">
                <a16:creationId xmlns:a16="http://schemas.microsoft.com/office/drawing/2014/main" id="{B290C132-B2EE-46A5-B6BF-D047B82B3DB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32" name="Slide Number Placeholder 31">
            <a:extLst>
              <a:ext uri="{FF2B5EF4-FFF2-40B4-BE49-F238E27FC236}">
                <a16:creationId xmlns:a16="http://schemas.microsoft.com/office/drawing/2014/main" id="{BC26F2F8-E342-41CB-8749-11418BC9C69B}"/>
              </a:ext>
            </a:extLst>
          </p:cNvPr>
          <p:cNvSpPr>
            <a:spLocks noGrp="1"/>
          </p:cNvSpPr>
          <p:nvPr>
            <p:ph type="sldNum" sz="quarter" idx="10"/>
          </p:nvPr>
        </p:nvSpPr>
        <p:spPr/>
        <p:txBody>
          <a:bodyPr/>
          <a:lstStyle/>
          <a:p>
            <a:fld id="{1F90F471-3972-4120-B8B3-0237DE626C35}" type="slidenum">
              <a:rPr lang="en-US" smtClean="0"/>
              <a:pPr/>
              <a:t>309</a:t>
            </a:fld>
            <a:endParaRPr lang="en-US" dirty="0"/>
          </a:p>
        </p:txBody>
      </p:sp>
    </p:spTree>
    <p:extLst>
      <p:ext uri="{BB962C8B-B14F-4D97-AF65-F5344CB8AC3E}">
        <p14:creationId xmlns:p14="http://schemas.microsoft.com/office/powerpoint/2010/main" val="2751382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636842-0301-4D25-BBC8-5A197807380F}"/>
              </a:ext>
            </a:extLst>
          </p:cNvPr>
          <p:cNvSpPr>
            <a:spLocks noGrp="1"/>
          </p:cNvSpPr>
          <p:nvPr>
            <p:ph type="ctrTitle"/>
          </p:nvPr>
        </p:nvSpPr>
        <p:spPr/>
        <p:txBody>
          <a:bodyPr/>
          <a:lstStyle/>
          <a:p>
            <a:r>
              <a:rPr lang="en-GB" dirty="0"/>
              <a:t>Presentation title 60pt, long title 48pt, max 3 lines   </a:t>
            </a:r>
            <a:endParaRPr lang="en-US" dirty="0"/>
          </a:p>
        </p:txBody>
      </p:sp>
      <p:sp>
        <p:nvSpPr>
          <p:cNvPr id="3" name="Subtitle 2">
            <a:extLst>
              <a:ext uri="{FF2B5EF4-FFF2-40B4-BE49-F238E27FC236}">
                <a16:creationId xmlns:a16="http://schemas.microsoft.com/office/drawing/2014/main" id="{85DBDE44-9A12-4726-9C3E-BD422A03AB14}"/>
              </a:ext>
            </a:extLst>
          </p:cNvPr>
          <p:cNvSpPr>
            <a:spLocks noGrp="1"/>
          </p:cNvSpPr>
          <p:nvPr>
            <p:ph type="subTitle" idx="1"/>
          </p:nvPr>
        </p:nvSpPr>
        <p:spPr/>
        <p:txBody>
          <a:bodyPr/>
          <a:lstStyle/>
          <a:p>
            <a:r>
              <a:rPr lang="en-GB" dirty="0"/>
              <a:t>Place subtitle here in GT Sectra Fine </a:t>
            </a:r>
            <a:r>
              <a:rPr lang="en-GB" dirty="0" err="1"/>
              <a:t>Rg</a:t>
            </a:r>
            <a:r>
              <a:rPr lang="en-GB" dirty="0"/>
              <a:t> 24pt</a:t>
            </a:r>
            <a:endParaRPr lang="en-US" dirty="0"/>
          </a:p>
        </p:txBody>
      </p:sp>
      <p:sp>
        <p:nvSpPr>
          <p:cNvPr id="4" name="Text Placeholder 3">
            <a:extLst>
              <a:ext uri="{FF2B5EF4-FFF2-40B4-BE49-F238E27FC236}">
                <a16:creationId xmlns:a16="http://schemas.microsoft.com/office/drawing/2014/main" id="{357B2EA3-B545-4A1E-98BD-6BA80AD143ED}"/>
              </a:ext>
            </a:extLst>
          </p:cNvPr>
          <p:cNvSpPr>
            <a:spLocks noGrp="1"/>
          </p:cNvSpPr>
          <p:nvPr>
            <p:ph type="body" sz="quarter" idx="12"/>
          </p:nvPr>
        </p:nvSpPr>
        <p:spPr/>
        <p:txBody>
          <a:bodyPr/>
          <a:lstStyle/>
          <a:p>
            <a:r>
              <a:rPr lang="en-US" dirty="0"/>
              <a:t>Presenter 14pt</a:t>
            </a:r>
          </a:p>
        </p:txBody>
      </p:sp>
      <p:sp>
        <p:nvSpPr>
          <p:cNvPr id="5" name="Picture Placeholder 4" descr="Add client logo">
            <a:extLst>
              <a:ext uri="{FF2B5EF4-FFF2-40B4-BE49-F238E27FC236}">
                <a16:creationId xmlns:a16="http://schemas.microsoft.com/office/drawing/2014/main" id="{75495078-8EDD-457B-AF42-B800F5B2A88C}"/>
              </a:ext>
            </a:extLst>
          </p:cNvPr>
          <p:cNvSpPr>
            <a:spLocks noGrp="1"/>
          </p:cNvSpPr>
          <p:nvPr>
            <p:ph type="pic" sz="quarter" idx="13"/>
          </p:nvPr>
        </p:nvSpPr>
        <p:spPr/>
        <p:txBody>
          <a:bodyPr/>
          <a:lstStyle/>
          <a:p>
            <a:endParaRPr lang="fr-FR"/>
          </a:p>
        </p:txBody>
      </p:sp>
    </p:spTree>
    <p:extLst>
      <p:ext uri="{BB962C8B-B14F-4D97-AF65-F5344CB8AC3E}">
        <p14:creationId xmlns:p14="http://schemas.microsoft.com/office/powerpoint/2010/main" val="3962357482"/>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Cube 3x3x4</a:t>
            </a:r>
          </a:p>
        </p:txBody>
      </p:sp>
      <p:sp>
        <p:nvSpPr>
          <p:cNvPr id="4" name="Rectangle 31">
            <a:extLst>
              <a:ext uri="{FF2B5EF4-FFF2-40B4-BE49-F238E27FC236}">
                <a16:creationId xmlns:a16="http://schemas.microsoft.com/office/drawing/2014/main" id="{44924484-3A36-46F8-83E7-65A8C05AD388}"/>
              </a:ext>
            </a:extLst>
          </p:cNvPr>
          <p:cNvSpPr>
            <a:spLocks noChangeArrowheads="1"/>
          </p:cNvSpPr>
          <p:nvPr/>
        </p:nvSpPr>
        <p:spPr bwMode="auto">
          <a:xfrm>
            <a:off x="2002490" y="2654611"/>
            <a:ext cx="6473324" cy="1142621"/>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5" name="Rectangle 32">
            <a:extLst>
              <a:ext uri="{FF2B5EF4-FFF2-40B4-BE49-F238E27FC236}">
                <a16:creationId xmlns:a16="http://schemas.microsoft.com/office/drawing/2014/main" id="{6A53D67C-6DC5-4E48-81D8-32451B661870}"/>
              </a:ext>
            </a:extLst>
          </p:cNvPr>
          <p:cNvSpPr>
            <a:spLocks noChangeArrowheads="1"/>
          </p:cNvSpPr>
          <p:nvPr/>
        </p:nvSpPr>
        <p:spPr bwMode="auto">
          <a:xfrm>
            <a:off x="2002490" y="3768168"/>
            <a:ext cx="6473324" cy="1138032"/>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7" name="Rectangle 34">
            <a:extLst>
              <a:ext uri="{FF2B5EF4-FFF2-40B4-BE49-F238E27FC236}">
                <a16:creationId xmlns:a16="http://schemas.microsoft.com/office/drawing/2014/main" id="{F1F38AED-83E7-4D5B-A026-DA7B8F8F19B2}"/>
              </a:ext>
            </a:extLst>
          </p:cNvPr>
          <p:cNvSpPr>
            <a:spLocks noChangeArrowheads="1"/>
          </p:cNvSpPr>
          <p:nvPr/>
        </p:nvSpPr>
        <p:spPr bwMode="auto">
          <a:xfrm>
            <a:off x="2002490" y="4883256"/>
            <a:ext cx="6473324" cy="1138032"/>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11" name="AutoShape 38">
            <a:extLst>
              <a:ext uri="{FF2B5EF4-FFF2-40B4-BE49-F238E27FC236}">
                <a16:creationId xmlns:a16="http://schemas.microsoft.com/office/drawing/2014/main" id="{534A7724-D816-48F2-A757-F591B6E4650F}"/>
              </a:ext>
            </a:extLst>
          </p:cNvPr>
          <p:cNvSpPr>
            <a:spLocks noChangeArrowheads="1"/>
          </p:cNvSpPr>
          <p:nvPr/>
        </p:nvSpPr>
        <p:spPr bwMode="auto">
          <a:xfrm>
            <a:off x="2002491" y="1611415"/>
            <a:ext cx="3342205" cy="1040137"/>
          </a:xfrm>
          <a:prstGeom prst="parallelogram">
            <a:avLst>
              <a:gd name="adj" fmla="val 165377"/>
            </a:avLst>
          </a:prstGeom>
          <a:solidFill>
            <a:srgbClr val="96968C">
              <a:lumMod val="20000"/>
              <a:lumOff val="80000"/>
            </a:srgbClr>
          </a:solidFill>
          <a:ln w="9525">
            <a:solidFill>
              <a:srgbClr val="FFFFFF"/>
            </a:solidFill>
            <a:miter lim="800000"/>
            <a:headEnd/>
            <a:tailEnd/>
          </a:ln>
          <a:effectLst/>
        </p:spPr>
        <p:txBody>
          <a:bodyPr wrap="none" lIns="72000" tIns="72000" rIns="72000" bIns="72000" anchor="ctr"/>
          <a:lstStyle/>
          <a:p>
            <a:pPr marL="0" marR="0" lvl="0" indent="0" algn="ctr" defTabSz="914400" rtl="0" eaLnBrk="0" fontAlgn="auto" latinLnBrk="0" hangingPunct="0">
              <a:lnSpc>
                <a:spcPct val="100000"/>
              </a:lnSpc>
              <a:spcBef>
                <a:spcPts val="0"/>
              </a:spcBef>
              <a:spcAft>
                <a:spcPts val="0"/>
              </a:spcAft>
              <a:buClr>
                <a:srgbClr val="96968C"/>
              </a:buClr>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12" name="AutoShape 39">
            <a:extLst>
              <a:ext uri="{FF2B5EF4-FFF2-40B4-BE49-F238E27FC236}">
                <a16:creationId xmlns:a16="http://schemas.microsoft.com/office/drawing/2014/main" id="{8438B7CC-24F5-4966-BBD2-ACFB203B3750}"/>
              </a:ext>
            </a:extLst>
          </p:cNvPr>
          <p:cNvSpPr>
            <a:spLocks noChangeArrowheads="1"/>
          </p:cNvSpPr>
          <p:nvPr/>
        </p:nvSpPr>
        <p:spPr bwMode="auto">
          <a:xfrm>
            <a:off x="3620822" y="1611415"/>
            <a:ext cx="3342205" cy="1040137"/>
          </a:xfrm>
          <a:prstGeom prst="parallelogram">
            <a:avLst>
              <a:gd name="adj" fmla="val 165377"/>
            </a:avLst>
          </a:prstGeom>
          <a:solidFill>
            <a:srgbClr val="96968C">
              <a:lumMod val="20000"/>
              <a:lumOff val="80000"/>
            </a:srgbClr>
          </a:solidFill>
          <a:ln w="9525">
            <a:solidFill>
              <a:srgbClr val="FFFFFF"/>
            </a:solidFill>
            <a:miter lim="800000"/>
            <a:headEnd/>
            <a:tailEnd/>
          </a:ln>
          <a:effectLst/>
        </p:spPr>
        <p:txBody>
          <a:bodyPr wrap="none" lIns="72000" tIns="72000" rIns="72000" bIns="72000" anchor="ctr"/>
          <a:lstStyle/>
          <a:p>
            <a:pPr marL="0" marR="0" lvl="0" indent="0" algn="ctr" defTabSz="914400" rtl="0" eaLnBrk="0" fontAlgn="auto" latinLnBrk="0" hangingPunct="0">
              <a:lnSpc>
                <a:spcPct val="100000"/>
              </a:lnSpc>
              <a:spcBef>
                <a:spcPts val="0"/>
              </a:spcBef>
              <a:spcAft>
                <a:spcPts val="0"/>
              </a:spcAft>
              <a:buClr>
                <a:srgbClr val="96968C"/>
              </a:buClr>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10" name="AutoShape 37">
            <a:extLst>
              <a:ext uri="{FF2B5EF4-FFF2-40B4-BE49-F238E27FC236}">
                <a16:creationId xmlns:a16="http://schemas.microsoft.com/office/drawing/2014/main" id="{54B49FDD-ECF0-43CC-82B6-EB26BD373457}"/>
              </a:ext>
            </a:extLst>
          </p:cNvPr>
          <p:cNvSpPr>
            <a:spLocks noChangeArrowheads="1"/>
          </p:cNvSpPr>
          <p:nvPr/>
        </p:nvSpPr>
        <p:spPr bwMode="auto">
          <a:xfrm>
            <a:off x="5239153" y="1611415"/>
            <a:ext cx="3342205" cy="1040137"/>
          </a:xfrm>
          <a:prstGeom prst="parallelogram">
            <a:avLst>
              <a:gd name="adj" fmla="val 165377"/>
            </a:avLst>
          </a:prstGeom>
          <a:solidFill>
            <a:srgbClr val="96968C">
              <a:lumMod val="20000"/>
              <a:lumOff val="80000"/>
            </a:srgbClr>
          </a:solidFill>
          <a:ln w="9525">
            <a:solidFill>
              <a:srgbClr val="FFFFFF"/>
            </a:solidFill>
            <a:miter lim="800000"/>
            <a:headEnd/>
            <a:tailEnd/>
          </a:ln>
          <a:effectLst/>
        </p:spPr>
        <p:txBody>
          <a:bodyPr wrap="none" lIns="72000" tIns="72000" rIns="72000" bIns="72000" anchor="ctr"/>
          <a:lstStyle/>
          <a:p>
            <a:pPr marL="0" marR="0" lvl="0" indent="0" algn="ctr" defTabSz="914400" rtl="0" eaLnBrk="0" fontAlgn="auto" latinLnBrk="0" hangingPunct="0">
              <a:lnSpc>
                <a:spcPct val="100000"/>
              </a:lnSpc>
              <a:spcBef>
                <a:spcPts val="0"/>
              </a:spcBef>
              <a:spcAft>
                <a:spcPts val="0"/>
              </a:spcAft>
              <a:buClr>
                <a:srgbClr val="96968C"/>
              </a:buClr>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6" name="AutoShape 33">
            <a:extLst>
              <a:ext uri="{FF2B5EF4-FFF2-40B4-BE49-F238E27FC236}">
                <a16:creationId xmlns:a16="http://schemas.microsoft.com/office/drawing/2014/main" id="{1B5005CA-7899-4748-A49F-479FB7CB0603}"/>
              </a:ext>
            </a:extLst>
          </p:cNvPr>
          <p:cNvSpPr>
            <a:spLocks noChangeArrowheads="1"/>
          </p:cNvSpPr>
          <p:nvPr/>
        </p:nvSpPr>
        <p:spPr bwMode="auto">
          <a:xfrm>
            <a:off x="6857484" y="1611415"/>
            <a:ext cx="3342205" cy="1040137"/>
          </a:xfrm>
          <a:prstGeom prst="parallelogram">
            <a:avLst>
              <a:gd name="adj" fmla="val 165377"/>
            </a:avLst>
          </a:prstGeom>
          <a:solidFill>
            <a:srgbClr val="96968C">
              <a:lumMod val="20000"/>
              <a:lumOff val="80000"/>
            </a:srgbClr>
          </a:solidFill>
          <a:ln w="9525">
            <a:solidFill>
              <a:srgbClr val="FFFFFF"/>
            </a:solidFill>
            <a:miter lim="800000"/>
            <a:headEnd/>
            <a:tailEnd/>
          </a:ln>
          <a:effectLst/>
        </p:spPr>
        <p:txBody>
          <a:bodyPr wrap="none" lIns="72000" tIns="72000" rIns="72000" bIns="72000" anchor="ctr"/>
          <a:lstStyle/>
          <a:p>
            <a:pPr marL="0" marR="0" lvl="0" indent="0" algn="ctr" defTabSz="914400" rtl="0" eaLnBrk="0" fontAlgn="auto" latinLnBrk="0" hangingPunct="0">
              <a:lnSpc>
                <a:spcPct val="100000"/>
              </a:lnSpc>
              <a:spcBef>
                <a:spcPts val="0"/>
              </a:spcBef>
              <a:spcAft>
                <a:spcPts val="0"/>
              </a:spcAft>
              <a:buClr>
                <a:srgbClr val="96968C"/>
              </a:buClr>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8" name="AutoShape 35">
            <a:extLst>
              <a:ext uri="{FF2B5EF4-FFF2-40B4-BE49-F238E27FC236}">
                <a16:creationId xmlns:a16="http://schemas.microsoft.com/office/drawing/2014/main" id="{CB78BA77-43A9-41FC-B8F6-08CB74A26650}"/>
              </a:ext>
            </a:extLst>
          </p:cNvPr>
          <p:cNvSpPr>
            <a:spLocks noChangeArrowheads="1"/>
          </p:cNvSpPr>
          <p:nvPr/>
        </p:nvSpPr>
        <p:spPr bwMode="auto">
          <a:xfrm rot="5400000" flipH="1">
            <a:off x="6923258" y="3869124"/>
            <a:ext cx="3678719" cy="573605"/>
          </a:xfrm>
          <a:prstGeom prst="parallelogram">
            <a:avLst>
              <a:gd name="adj" fmla="val 60719"/>
            </a:avLst>
          </a:prstGeom>
          <a:solidFill>
            <a:srgbClr val="96968C">
              <a:lumMod val="20000"/>
              <a:lumOff val="80000"/>
            </a:srgbClr>
          </a:solidFill>
          <a:ln w="9525">
            <a:solidFill>
              <a:srgbClr val="FFFFFF"/>
            </a:solidFill>
            <a:miter lim="800000"/>
            <a:headEnd/>
            <a:tailEnd/>
          </a:ln>
          <a:effectLst/>
        </p:spPr>
        <p:txBody>
          <a:bodyPr rot="10800000" vert="eaVert" wrap="none" lIns="72000" tIns="72000" rIns="72000" bIns="72000" anchor="ctr"/>
          <a:lstStyle/>
          <a:p>
            <a:pPr marL="0" marR="0" lvl="0" indent="0" algn="l" defTabSz="914400" rtl="0" eaLnBrk="0" fontAlgn="auto" latinLnBrk="0" hangingPunct="0">
              <a:lnSpc>
                <a:spcPct val="100000"/>
              </a:lnSpc>
              <a:spcBef>
                <a:spcPts val="0"/>
              </a:spcBef>
              <a:spcAft>
                <a:spcPts val="0"/>
              </a:spcAft>
              <a:buClr>
                <a:srgbClr val="96968C"/>
              </a:buClr>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13" name="AutoShape 40">
            <a:extLst>
              <a:ext uri="{FF2B5EF4-FFF2-40B4-BE49-F238E27FC236}">
                <a16:creationId xmlns:a16="http://schemas.microsoft.com/office/drawing/2014/main" id="{E10F6A64-E9A5-462A-BFFA-D0C5B5639C17}"/>
              </a:ext>
            </a:extLst>
          </p:cNvPr>
          <p:cNvSpPr>
            <a:spLocks noChangeArrowheads="1"/>
          </p:cNvSpPr>
          <p:nvPr/>
        </p:nvSpPr>
        <p:spPr bwMode="auto">
          <a:xfrm rot="5400000" flipH="1">
            <a:off x="7496863" y="3511194"/>
            <a:ext cx="3678719" cy="575135"/>
          </a:xfrm>
          <a:prstGeom prst="parallelogram">
            <a:avLst>
              <a:gd name="adj" fmla="val 60972"/>
            </a:avLst>
          </a:prstGeom>
          <a:solidFill>
            <a:srgbClr val="96968C">
              <a:lumMod val="20000"/>
              <a:lumOff val="80000"/>
            </a:srgbClr>
          </a:solidFill>
          <a:ln w="9525">
            <a:solidFill>
              <a:srgbClr val="FFFFFF"/>
            </a:solidFill>
            <a:miter lim="800000"/>
            <a:headEnd/>
            <a:tailEnd/>
          </a:ln>
          <a:effectLst/>
        </p:spPr>
        <p:txBody>
          <a:bodyPr rot="10800000" vert="eaVert" wrap="none" lIns="72000" tIns="72000" rIns="72000" bIns="72000" anchor="ctr"/>
          <a:lstStyle/>
          <a:p>
            <a:pPr marL="0" marR="0" lvl="0" indent="0" algn="l" defTabSz="914400" rtl="0" eaLnBrk="0" fontAlgn="auto" latinLnBrk="0" hangingPunct="0">
              <a:lnSpc>
                <a:spcPct val="100000"/>
              </a:lnSpc>
              <a:spcBef>
                <a:spcPts val="0"/>
              </a:spcBef>
              <a:spcAft>
                <a:spcPts val="0"/>
              </a:spcAft>
              <a:buClr>
                <a:srgbClr val="96968C"/>
              </a:buClr>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9" name="AutoShape 36">
            <a:extLst>
              <a:ext uri="{FF2B5EF4-FFF2-40B4-BE49-F238E27FC236}">
                <a16:creationId xmlns:a16="http://schemas.microsoft.com/office/drawing/2014/main" id="{9F0C461E-B098-4100-895C-DEBAEEEE33C9}"/>
              </a:ext>
            </a:extLst>
          </p:cNvPr>
          <p:cNvSpPr>
            <a:spLocks noChangeArrowheads="1"/>
          </p:cNvSpPr>
          <p:nvPr/>
        </p:nvSpPr>
        <p:spPr bwMode="auto">
          <a:xfrm rot="5400000" flipH="1">
            <a:off x="8084234" y="3165502"/>
            <a:ext cx="3654245" cy="575135"/>
          </a:xfrm>
          <a:prstGeom prst="parallelogram">
            <a:avLst>
              <a:gd name="adj" fmla="val 58419"/>
            </a:avLst>
          </a:prstGeom>
          <a:solidFill>
            <a:srgbClr val="96968C">
              <a:lumMod val="20000"/>
              <a:lumOff val="80000"/>
            </a:srgbClr>
          </a:solidFill>
          <a:ln w="9525">
            <a:solidFill>
              <a:srgbClr val="FFFFFF"/>
            </a:solidFill>
            <a:miter lim="800000"/>
            <a:headEnd/>
            <a:tailEnd/>
          </a:ln>
          <a:effectLst/>
        </p:spPr>
        <p:txBody>
          <a:bodyPr rot="10800000" vert="eaVert" wrap="none" lIns="72000" tIns="72000" rIns="72000" bIns="72000" anchor="ctr"/>
          <a:lstStyle/>
          <a:p>
            <a:pPr marL="0" marR="0" lvl="0" indent="0" algn="l" defTabSz="914400" rtl="0" eaLnBrk="0" fontAlgn="auto" latinLnBrk="0" hangingPunct="0">
              <a:lnSpc>
                <a:spcPct val="100000"/>
              </a:lnSpc>
              <a:spcBef>
                <a:spcPts val="0"/>
              </a:spcBef>
              <a:spcAft>
                <a:spcPts val="0"/>
              </a:spcAft>
              <a:buClr>
                <a:srgbClr val="96968C"/>
              </a:buClr>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14" name="Footer Placeholder 13">
            <a:extLst>
              <a:ext uri="{FF2B5EF4-FFF2-40B4-BE49-F238E27FC236}">
                <a16:creationId xmlns:a16="http://schemas.microsoft.com/office/drawing/2014/main" id="{F4AF2ED3-500A-4309-B3B4-21A22E505DB8}"/>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6" name="Slide Number Placeholder 15">
            <a:extLst>
              <a:ext uri="{FF2B5EF4-FFF2-40B4-BE49-F238E27FC236}">
                <a16:creationId xmlns:a16="http://schemas.microsoft.com/office/drawing/2014/main" id="{E50B1392-7B85-4558-A196-6D0003115787}"/>
              </a:ext>
            </a:extLst>
          </p:cNvPr>
          <p:cNvSpPr>
            <a:spLocks noGrp="1"/>
          </p:cNvSpPr>
          <p:nvPr>
            <p:ph type="sldNum" sz="quarter" idx="10"/>
          </p:nvPr>
        </p:nvSpPr>
        <p:spPr/>
        <p:txBody>
          <a:bodyPr/>
          <a:lstStyle/>
          <a:p>
            <a:fld id="{1F90F471-3972-4120-B8B3-0237DE626C35}" type="slidenum">
              <a:rPr lang="en-US" smtClean="0"/>
              <a:pPr/>
              <a:t>310</a:t>
            </a:fld>
            <a:endParaRPr lang="en-US" dirty="0"/>
          </a:p>
        </p:txBody>
      </p:sp>
    </p:spTree>
    <p:extLst>
      <p:ext uri="{BB962C8B-B14F-4D97-AF65-F5344CB8AC3E}">
        <p14:creationId xmlns:p14="http://schemas.microsoft.com/office/powerpoint/2010/main" val="2692220761"/>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Segmentation</a:t>
            </a:r>
          </a:p>
        </p:txBody>
      </p:sp>
      <p:sp>
        <p:nvSpPr>
          <p:cNvPr id="4" name="AutoShape 16">
            <a:extLst>
              <a:ext uri="{FF2B5EF4-FFF2-40B4-BE49-F238E27FC236}">
                <a16:creationId xmlns:a16="http://schemas.microsoft.com/office/drawing/2014/main" id="{C0A56342-1C16-4636-B413-5C89E3EFFBB4}"/>
              </a:ext>
            </a:extLst>
          </p:cNvPr>
          <p:cNvSpPr>
            <a:spLocks noChangeArrowheads="1"/>
          </p:cNvSpPr>
          <p:nvPr/>
        </p:nvSpPr>
        <p:spPr bwMode="auto">
          <a:xfrm>
            <a:off x="3359150" y="2243127"/>
            <a:ext cx="2732088" cy="1697037"/>
          </a:xfrm>
          <a:prstGeom prst="diamond">
            <a:avLst/>
          </a:prstGeom>
          <a:solidFill>
            <a:schemeClr val="accent2"/>
          </a:solidFill>
          <a:ln w="12700">
            <a:solidFill>
              <a:srgbClr val="FFFFFF"/>
            </a:solidFill>
            <a:miter lim="800000"/>
            <a:headEnd/>
            <a:tailEnd/>
          </a:ln>
          <a:effectLst/>
        </p:spPr>
        <p:txBody>
          <a:bodyPr wrap="none" lIns="72000" tIns="72000" rIns="72000" bIns="7200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mj-lt"/>
                <a:ea typeface="+mn-ea"/>
                <a:cs typeface="+mn-cs"/>
              </a:rPr>
              <a:t>Text</a:t>
            </a:r>
          </a:p>
        </p:txBody>
      </p:sp>
      <p:sp>
        <p:nvSpPr>
          <p:cNvPr id="7" name="AutoShape 19">
            <a:extLst>
              <a:ext uri="{FF2B5EF4-FFF2-40B4-BE49-F238E27FC236}">
                <a16:creationId xmlns:a16="http://schemas.microsoft.com/office/drawing/2014/main" id="{994D67D9-06A9-4273-8DDD-4EB609E3737E}"/>
              </a:ext>
            </a:extLst>
          </p:cNvPr>
          <p:cNvSpPr>
            <a:spLocks noChangeArrowheads="1"/>
          </p:cNvSpPr>
          <p:nvPr/>
        </p:nvSpPr>
        <p:spPr bwMode="auto">
          <a:xfrm>
            <a:off x="4724400" y="1393815"/>
            <a:ext cx="2732088" cy="1697037"/>
          </a:xfrm>
          <a:prstGeom prst="diamond">
            <a:avLst/>
          </a:prstGeom>
          <a:solidFill>
            <a:schemeClr val="accent1"/>
          </a:solidFill>
          <a:ln w="12700">
            <a:solidFill>
              <a:srgbClr val="FFFFFF"/>
            </a:solidFill>
            <a:miter lim="800000"/>
            <a:headEnd/>
            <a:tailEnd/>
          </a:ln>
          <a:effectLst/>
        </p:spPr>
        <p:txBody>
          <a:bodyPr wrap="none" lIns="72000" tIns="72000" rIns="72000" bIns="7200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mj-lt"/>
                <a:ea typeface="+mn-ea"/>
                <a:cs typeface="+mn-cs"/>
              </a:rPr>
              <a:t>Text</a:t>
            </a:r>
          </a:p>
        </p:txBody>
      </p:sp>
      <p:sp>
        <p:nvSpPr>
          <p:cNvPr id="5" name="AutoShape 17">
            <a:extLst>
              <a:ext uri="{FF2B5EF4-FFF2-40B4-BE49-F238E27FC236}">
                <a16:creationId xmlns:a16="http://schemas.microsoft.com/office/drawing/2014/main" id="{E868BA44-86BB-4DDA-8034-BF8219B038D1}"/>
              </a:ext>
            </a:extLst>
          </p:cNvPr>
          <p:cNvSpPr>
            <a:spLocks noChangeArrowheads="1"/>
          </p:cNvSpPr>
          <p:nvPr/>
        </p:nvSpPr>
        <p:spPr bwMode="auto">
          <a:xfrm>
            <a:off x="4724400" y="3090852"/>
            <a:ext cx="2732088" cy="1700212"/>
          </a:xfrm>
          <a:prstGeom prst="diamond">
            <a:avLst/>
          </a:prstGeom>
          <a:solidFill>
            <a:schemeClr val="accent3"/>
          </a:solidFill>
          <a:ln w="12700">
            <a:solidFill>
              <a:srgbClr val="FFFFFF"/>
            </a:solidFill>
            <a:miter lim="800000"/>
            <a:headEnd/>
            <a:tailEnd/>
          </a:ln>
          <a:effectLst/>
        </p:spPr>
        <p:txBody>
          <a:bodyPr wrap="none" lIns="72000" tIns="72000" rIns="72000" bIns="7200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mj-lt"/>
                <a:ea typeface="+mn-ea"/>
                <a:cs typeface="+mn-cs"/>
              </a:rPr>
              <a:t>Text</a:t>
            </a:r>
          </a:p>
        </p:txBody>
      </p:sp>
      <p:sp>
        <p:nvSpPr>
          <p:cNvPr id="6" name="AutoShape 18">
            <a:extLst>
              <a:ext uri="{FF2B5EF4-FFF2-40B4-BE49-F238E27FC236}">
                <a16:creationId xmlns:a16="http://schemas.microsoft.com/office/drawing/2014/main" id="{DE78AEF0-1093-44A7-9E51-91A58C0A8C96}"/>
              </a:ext>
            </a:extLst>
          </p:cNvPr>
          <p:cNvSpPr>
            <a:spLocks noChangeArrowheads="1"/>
          </p:cNvSpPr>
          <p:nvPr/>
        </p:nvSpPr>
        <p:spPr bwMode="auto">
          <a:xfrm>
            <a:off x="6091238" y="2244715"/>
            <a:ext cx="2730500" cy="1698625"/>
          </a:xfrm>
          <a:prstGeom prst="diamond">
            <a:avLst/>
          </a:prstGeom>
          <a:solidFill>
            <a:schemeClr val="accent4"/>
          </a:solidFill>
          <a:ln w="12700">
            <a:solidFill>
              <a:srgbClr val="FFFFFF"/>
            </a:solidFill>
            <a:miter lim="800000"/>
            <a:headEnd/>
            <a:tailEnd/>
          </a:ln>
          <a:effectLst/>
        </p:spPr>
        <p:txBody>
          <a:bodyPr wrap="none" lIns="72000" tIns="72000" rIns="72000" bIns="7200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mj-lt"/>
                <a:ea typeface="+mn-ea"/>
                <a:cs typeface="+mn-cs"/>
              </a:rPr>
              <a:t>Text</a:t>
            </a:r>
          </a:p>
        </p:txBody>
      </p:sp>
      <p:sp>
        <p:nvSpPr>
          <p:cNvPr id="11" name="AutoShape 26">
            <a:extLst>
              <a:ext uri="{FF2B5EF4-FFF2-40B4-BE49-F238E27FC236}">
                <a16:creationId xmlns:a16="http://schemas.microsoft.com/office/drawing/2014/main" id="{A19400F4-B395-4B4A-8E60-9A6DD1AA2912}"/>
              </a:ext>
            </a:extLst>
          </p:cNvPr>
          <p:cNvSpPr>
            <a:spLocks noChangeArrowheads="1"/>
          </p:cNvSpPr>
          <p:nvPr/>
        </p:nvSpPr>
        <p:spPr bwMode="auto">
          <a:xfrm rot="5400000">
            <a:off x="3319463" y="3119427"/>
            <a:ext cx="1444625" cy="1365250"/>
          </a:xfrm>
          <a:prstGeom prst="parallelogram">
            <a:avLst>
              <a:gd name="adj" fmla="val 61999"/>
            </a:avLst>
          </a:prstGeom>
          <a:solidFill>
            <a:srgbClr val="96968C">
              <a:lumMod val="20000"/>
              <a:lumOff val="80000"/>
            </a:srgbClr>
          </a:solidFill>
          <a:ln w="12700">
            <a:solidFill>
              <a:srgbClr val="FFFFFF"/>
            </a:solidFill>
            <a:miter lim="800000"/>
            <a:headEnd/>
            <a:tailEnd/>
          </a:ln>
          <a:effectLst/>
        </p:spPr>
        <p:txBody>
          <a:bodyPr rot="10800000" vert="eaVert" wrap="none"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15" name="AutoShape 34">
            <a:extLst>
              <a:ext uri="{FF2B5EF4-FFF2-40B4-BE49-F238E27FC236}">
                <a16:creationId xmlns:a16="http://schemas.microsoft.com/office/drawing/2014/main" id="{46216DD8-E408-421A-B1D3-C89BA8F7AF39}"/>
              </a:ext>
            </a:extLst>
          </p:cNvPr>
          <p:cNvSpPr>
            <a:spLocks noChangeArrowheads="1"/>
          </p:cNvSpPr>
          <p:nvPr/>
        </p:nvSpPr>
        <p:spPr bwMode="auto">
          <a:xfrm rot="5400000">
            <a:off x="3319463" y="3714740"/>
            <a:ext cx="1444625" cy="1365250"/>
          </a:xfrm>
          <a:prstGeom prst="parallelogram">
            <a:avLst>
              <a:gd name="adj" fmla="val 61999"/>
            </a:avLst>
          </a:prstGeom>
          <a:solidFill>
            <a:srgbClr val="96968C">
              <a:lumMod val="20000"/>
              <a:lumOff val="80000"/>
            </a:srgbClr>
          </a:solidFill>
          <a:ln w="12700">
            <a:solidFill>
              <a:srgbClr val="FFFFFF"/>
            </a:solidFill>
            <a:miter lim="800000"/>
            <a:headEnd/>
            <a:tailEnd/>
          </a:ln>
          <a:effectLst/>
        </p:spPr>
        <p:txBody>
          <a:bodyPr rot="10800000" vert="eaVert" wrap="none"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10" name="AutoShape 24">
            <a:extLst>
              <a:ext uri="{FF2B5EF4-FFF2-40B4-BE49-F238E27FC236}">
                <a16:creationId xmlns:a16="http://schemas.microsoft.com/office/drawing/2014/main" id="{65B89E5D-ADDF-4D3C-86CA-C09C78AC7E83}"/>
              </a:ext>
            </a:extLst>
          </p:cNvPr>
          <p:cNvSpPr>
            <a:spLocks noChangeArrowheads="1"/>
          </p:cNvSpPr>
          <p:nvPr/>
        </p:nvSpPr>
        <p:spPr bwMode="auto">
          <a:xfrm rot="5400000">
            <a:off x="4686300" y="3968740"/>
            <a:ext cx="1444625" cy="1366838"/>
          </a:xfrm>
          <a:prstGeom prst="parallelogram">
            <a:avLst>
              <a:gd name="adj" fmla="val 61927"/>
            </a:avLst>
          </a:prstGeom>
          <a:solidFill>
            <a:srgbClr val="96968C">
              <a:lumMod val="20000"/>
              <a:lumOff val="80000"/>
            </a:srgbClr>
          </a:solidFill>
          <a:ln w="12700">
            <a:solidFill>
              <a:srgbClr val="FFFFFF"/>
            </a:solidFill>
            <a:miter lim="800000"/>
            <a:headEnd/>
            <a:tailEnd/>
          </a:ln>
          <a:effectLst/>
        </p:spPr>
        <p:txBody>
          <a:bodyPr rot="10800000" vert="eaVert"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14" name="AutoShape 32">
            <a:extLst>
              <a:ext uri="{FF2B5EF4-FFF2-40B4-BE49-F238E27FC236}">
                <a16:creationId xmlns:a16="http://schemas.microsoft.com/office/drawing/2014/main" id="{A04A85A8-2150-480E-BB4D-86A16685F6FA}"/>
              </a:ext>
            </a:extLst>
          </p:cNvPr>
          <p:cNvSpPr>
            <a:spLocks noChangeArrowheads="1"/>
          </p:cNvSpPr>
          <p:nvPr/>
        </p:nvSpPr>
        <p:spPr bwMode="auto">
          <a:xfrm rot="5400000">
            <a:off x="4686300" y="4564052"/>
            <a:ext cx="1444625" cy="1366838"/>
          </a:xfrm>
          <a:prstGeom prst="parallelogram">
            <a:avLst>
              <a:gd name="adj" fmla="val 61927"/>
            </a:avLst>
          </a:prstGeom>
          <a:solidFill>
            <a:srgbClr val="96968C">
              <a:lumMod val="20000"/>
              <a:lumOff val="80000"/>
            </a:srgbClr>
          </a:solidFill>
          <a:ln w="6350">
            <a:solidFill>
              <a:srgbClr val="FFFFFF"/>
            </a:solidFill>
            <a:miter lim="800000"/>
            <a:headEnd/>
            <a:tailEnd/>
          </a:ln>
          <a:effectLst/>
        </p:spPr>
        <p:txBody>
          <a:bodyPr rot="10800000" vert="eaVert"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8" name="AutoShape 20">
            <a:extLst>
              <a:ext uri="{FF2B5EF4-FFF2-40B4-BE49-F238E27FC236}">
                <a16:creationId xmlns:a16="http://schemas.microsoft.com/office/drawing/2014/main" id="{4F861005-8EFE-4931-8364-5B413735875C}"/>
              </a:ext>
            </a:extLst>
          </p:cNvPr>
          <p:cNvSpPr>
            <a:spLocks noChangeArrowheads="1"/>
          </p:cNvSpPr>
          <p:nvPr/>
        </p:nvSpPr>
        <p:spPr bwMode="auto">
          <a:xfrm rot="16200000" flipH="1">
            <a:off x="6051550" y="3970327"/>
            <a:ext cx="1444625" cy="1365250"/>
          </a:xfrm>
          <a:prstGeom prst="parallelogram">
            <a:avLst>
              <a:gd name="adj" fmla="val 61999"/>
            </a:avLst>
          </a:prstGeom>
          <a:solidFill>
            <a:srgbClr val="96968C">
              <a:lumMod val="20000"/>
              <a:lumOff val="80000"/>
            </a:srgbClr>
          </a:solidFill>
          <a:ln w="12700">
            <a:solidFill>
              <a:srgbClr val="FFFFFF"/>
            </a:solidFill>
            <a:miter lim="800000"/>
            <a:headEnd/>
            <a:tailEnd/>
          </a:ln>
          <a:effectLst/>
        </p:spPr>
        <p:txBody>
          <a:bodyPr vert="eaVert"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9" name="AutoShape 22">
            <a:extLst>
              <a:ext uri="{FF2B5EF4-FFF2-40B4-BE49-F238E27FC236}">
                <a16:creationId xmlns:a16="http://schemas.microsoft.com/office/drawing/2014/main" id="{3361CB80-D3E5-41F4-89FA-D6930EF5C970}"/>
              </a:ext>
            </a:extLst>
          </p:cNvPr>
          <p:cNvSpPr>
            <a:spLocks noChangeArrowheads="1"/>
          </p:cNvSpPr>
          <p:nvPr/>
        </p:nvSpPr>
        <p:spPr bwMode="auto">
          <a:xfrm rot="16200000" flipH="1">
            <a:off x="7416801" y="3119427"/>
            <a:ext cx="1444625" cy="1365250"/>
          </a:xfrm>
          <a:prstGeom prst="parallelogram">
            <a:avLst>
              <a:gd name="adj" fmla="val 61999"/>
            </a:avLst>
          </a:prstGeom>
          <a:solidFill>
            <a:srgbClr val="96968C">
              <a:lumMod val="20000"/>
              <a:lumOff val="80000"/>
            </a:srgbClr>
          </a:solidFill>
          <a:ln w="12700">
            <a:solidFill>
              <a:srgbClr val="FFFFFF"/>
            </a:solidFill>
            <a:miter lim="800000"/>
            <a:headEnd/>
            <a:tailEnd/>
          </a:ln>
          <a:effectLst/>
        </p:spPr>
        <p:txBody>
          <a:bodyPr vert="eaVert"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12" name="AutoShape 28">
            <a:extLst>
              <a:ext uri="{FF2B5EF4-FFF2-40B4-BE49-F238E27FC236}">
                <a16:creationId xmlns:a16="http://schemas.microsoft.com/office/drawing/2014/main" id="{AD2897D2-0C95-4DE6-A803-87934A11965F}"/>
              </a:ext>
            </a:extLst>
          </p:cNvPr>
          <p:cNvSpPr>
            <a:spLocks noChangeArrowheads="1"/>
          </p:cNvSpPr>
          <p:nvPr/>
        </p:nvSpPr>
        <p:spPr bwMode="auto">
          <a:xfrm rot="16200000" flipH="1">
            <a:off x="6051550" y="4565640"/>
            <a:ext cx="1444625" cy="1365250"/>
          </a:xfrm>
          <a:prstGeom prst="parallelogram">
            <a:avLst>
              <a:gd name="adj" fmla="val 61999"/>
            </a:avLst>
          </a:prstGeom>
          <a:solidFill>
            <a:srgbClr val="96968C">
              <a:lumMod val="20000"/>
              <a:lumOff val="80000"/>
            </a:srgbClr>
          </a:solidFill>
          <a:ln w="6350">
            <a:solidFill>
              <a:srgbClr val="FFFFFF"/>
            </a:solidFill>
            <a:miter lim="800000"/>
            <a:headEnd/>
            <a:tailEnd/>
          </a:ln>
          <a:effectLst/>
        </p:spPr>
        <p:txBody>
          <a:bodyPr vert="eaVert"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13" name="AutoShape 30">
            <a:extLst>
              <a:ext uri="{FF2B5EF4-FFF2-40B4-BE49-F238E27FC236}">
                <a16:creationId xmlns:a16="http://schemas.microsoft.com/office/drawing/2014/main" id="{4BE2E5C1-7CD0-4213-B99B-79D117E1669E}"/>
              </a:ext>
            </a:extLst>
          </p:cNvPr>
          <p:cNvSpPr>
            <a:spLocks noChangeArrowheads="1"/>
          </p:cNvSpPr>
          <p:nvPr/>
        </p:nvSpPr>
        <p:spPr bwMode="auto">
          <a:xfrm rot="16200000" flipH="1">
            <a:off x="7416801" y="3714740"/>
            <a:ext cx="1444625" cy="1365250"/>
          </a:xfrm>
          <a:prstGeom prst="parallelogram">
            <a:avLst>
              <a:gd name="adj" fmla="val 61999"/>
            </a:avLst>
          </a:prstGeom>
          <a:solidFill>
            <a:srgbClr val="96968C">
              <a:lumMod val="20000"/>
              <a:lumOff val="80000"/>
            </a:srgbClr>
          </a:solidFill>
          <a:ln w="12700">
            <a:solidFill>
              <a:srgbClr val="FFFFFF"/>
            </a:solidFill>
            <a:miter lim="800000"/>
            <a:headEnd/>
            <a:tailEnd/>
          </a:ln>
          <a:effectLst/>
        </p:spPr>
        <p:txBody>
          <a:bodyPr vert="eaVert"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16" name="Footer Placeholder 15">
            <a:extLst>
              <a:ext uri="{FF2B5EF4-FFF2-40B4-BE49-F238E27FC236}">
                <a16:creationId xmlns:a16="http://schemas.microsoft.com/office/drawing/2014/main" id="{FB38DC71-7705-4587-A6F5-A6521A635BD5}"/>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8" name="Slide Number Placeholder 17">
            <a:extLst>
              <a:ext uri="{FF2B5EF4-FFF2-40B4-BE49-F238E27FC236}">
                <a16:creationId xmlns:a16="http://schemas.microsoft.com/office/drawing/2014/main" id="{1D75A9E4-73A1-4D7B-BB98-5D274628F364}"/>
              </a:ext>
            </a:extLst>
          </p:cNvPr>
          <p:cNvSpPr>
            <a:spLocks noGrp="1"/>
          </p:cNvSpPr>
          <p:nvPr>
            <p:ph type="sldNum" sz="quarter" idx="10"/>
          </p:nvPr>
        </p:nvSpPr>
        <p:spPr/>
        <p:txBody>
          <a:bodyPr/>
          <a:lstStyle/>
          <a:p>
            <a:fld id="{1F90F471-3972-4120-B8B3-0237DE626C35}" type="slidenum">
              <a:rPr lang="en-US" smtClean="0"/>
              <a:pPr/>
              <a:t>311</a:t>
            </a:fld>
            <a:endParaRPr lang="en-US" dirty="0"/>
          </a:p>
        </p:txBody>
      </p:sp>
    </p:spTree>
    <p:extLst>
      <p:ext uri="{BB962C8B-B14F-4D97-AF65-F5344CB8AC3E}">
        <p14:creationId xmlns:p14="http://schemas.microsoft.com/office/powerpoint/2010/main" val="278180532"/>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fr-FR" dirty="0" err="1"/>
              <a:t>Isometric</a:t>
            </a:r>
            <a:r>
              <a:rPr lang="fr-FR" dirty="0"/>
              <a:t> Cube</a:t>
            </a:r>
            <a:endParaRPr lang="de-DE" dirty="0"/>
          </a:p>
        </p:txBody>
      </p:sp>
      <p:grpSp>
        <p:nvGrpSpPr>
          <p:cNvPr id="4" name="Group 3" descr="Top">
            <a:extLst>
              <a:ext uri="{FF2B5EF4-FFF2-40B4-BE49-F238E27FC236}">
                <a16:creationId xmlns:a16="http://schemas.microsoft.com/office/drawing/2014/main" id="{B429D837-5DD9-4FE5-A41A-10008B52FAA5}"/>
              </a:ext>
            </a:extLst>
          </p:cNvPr>
          <p:cNvGrpSpPr/>
          <p:nvPr/>
        </p:nvGrpSpPr>
        <p:grpSpPr>
          <a:xfrm>
            <a:off x="4358034" y="1638074"/>
            <a:ext cx="3475932" cy="2028597"/>
            <a:chOff x="4358034" y="1638074"/>
            <a:chExt cx="3475932" cy="2028597"/>
          </a:xfrm>
          <a:solidFill>
            <a:schemeClr val="accent1"/>
          </a:solidFill>
        </p:grpSpPr>
        <p:sp>
          <p:nvSpPr>
            <p:cNvPr id="5" name="Diamond 40">
              <a:extLst>
                <a:ext uri="{FF2B5EF4-FFF2-40B4-BE49-F238E27FC236}">
                  <a16:creationId xmlns:a16="http://schemas.microsoft.com/office/drawing/2014/main" id="{1C88E226-EB52-48CF-8D0E-DE62CB0EE310}"/>
                </a:ext>
              </a:extLst>
            </p:cNvPr>
            <p:cNvSpPr/>
            <p:nvPr/>
          </p:nvSpPr>
          <p:spPr bwMode="auto">
            <a:xfrm>
              <a:off x="5227018" y="1891649"/>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6" name="Diamond 41">
              <a:extLst>
                <a:ext uri="{FF2B5EF4-FFF2-40B4-BE49-F238E27FC236}">
                  <a16:creationId xmlns:a16="http://schemas.microsoft.com/office/drawing/2014/main" id="{A1C7403B-5317-4BDD-8772-FCE62797AADA}"/>
                </a:ext>
              </a:extLst>
            </p:cNvPr>
            <p:cNvSpPr/>
            <p:nvPr/>
          </p:nvSpPr>
          <p:spPr bwMode="auto">
            <a:xfrm>
              <a:off x="6096000" y="1891649"/>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7" name="Diamond 42">
              <a:extLst>
                <a:ext uri="{FF2B5EF4-FFF2-40B4-BE49-F238E27FC236}">
                  <a16:creationId xmlns:a16="http://schemas.microsoft.com/office/drawing/2014/main" id="{36585B0F-3BA5-46CD-A4D4-EDCF33F6127A}"/>
                </a:ext>
              </a:extLst>
            </p:cNvPr>
            <p:cNvSpPr/>
            <p:nvPr/>
          </p:nvSpPr>
          <p:spPr bwMode="auto">
            <a:xfrm>
              <a:off x="5661508" y="1638074"/>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8" name="Diamond 43">
              <a:extLst>
                <a:ext uri="{FF2B5EF4-FFF2-40B4-BE49-F238E27FC236}">
                  <a16:creationId xmlns:a16="http://schemas.microsoft.com/office/drawing/2014/main" id="{65E75EE0-ABE5-497A-B07F-DF9A83D2B8A9}"/>
                </a:ext>
              </a:extLst>
            </p:cNvPr>
            <p:cNvSpPr/>
            <p:nvPr/>
          </p:nvSpPr>
          <p:spPr bwMode="auto">
            <a:xfrm>
              <a:off x="5227016" y="2398798"/>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9" name="Diamond 44">
              <a:extLst>
                <a:ext uri="{FF2B5EF4-FFF2-40B4-BE49-F238E27FC236}">
                  <a16:creationId xmlns:a16="http://schemas.microsoft.com/office/drawing/2014/main" id="{15DAD8E0-70ED-4553-9C06-F933D93D34D4}"/>
                </a:ext>
              </a:extLst>
            </p:cNvPr>
            <p:cNvSpPr/>
            <p:nvPr/>
          </p:nvSpPr>
          <p:spPr bwMode="auto">
            <a:xfrm>
              <a:off x="6095998" y="2398798"/>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10" name="Diamond 45">
              <a:extLst>
                <a:ext uri="{FF2B5EF4-FFF2-40B4-BE49-F238E27FC236}">
                  <a16:creationId xmlns:a16="http://schemas.microsoft.com/office/drawing/2014/main" id="{2C9FFAB4-19DF-4866-B9A8-3E8F7EEFBD88}"/>
                </a:ext>
              </a:extLst>
            </p:cNvPr>
            <p:cNvSpPr/>
            <p:nvPr/>
          </p:nvSpPr>
          <p:spPr bwMode="auto">
            <a:xfrm>
              <a:off x="5227016" y="2905947"/>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11" name="Diamond 46">
              <a:extLst>
                <a:ext uri="{FF2B5EF4-FFF2-40B4-BE49-F238E27FC236}">
                  <a16:creationId xmlns:a16="http://schemas.microsoft.com/office/drawing/2014/main" id="{771F7305-7AA0-4167-8D0A-FEED57112161}"/>
                </a:ext>
              </a:extLst>
            </p:cNvPr>
            <p:cNvSpPr/>
            <p:nvPr/>
          </p:nvSpPr>
          <p:spPr bwMode="auto">
            <a:xfrm>
              <a:off x="6095998" y="2905947"/>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12" name="Diamond 47">
              <a:extLst>
                <a:ext uri="{FF2B5EF4-FFF2-40B4-BE49-F238E27FC236}">
                  <a16:creationId xmlns:a16="http://schemas.microsoft.com/office/drawing/2014/main" id="{4E3E9B91-287C-4F8D-8B4A-9B7AD645DC74}"/>
                </a:ext>
              </a:extLst>
            </p:cNvPr>
            <p:cNvSpPr/>
            <p:nvPr/>
          </p:nvSpPr>
          <p:spPr bwMode="auto">
            <a:xfrm>
              <a:off x="4358034" y="2398798"/>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13" name="Diamond 48">
              <a:extLst>
                <a:ext uri="{FF2B5EF4-FFF2-40B4-BE49-F238E27FC236}">
                  <a16:creationId xmlns:a16="http://schemas.microsoft.com/office/drawing/2014/main" id="{8B56740E-600F-4D82-8259-1F31FD065D75}"/>
                </a:ext>
              </a:extLst>
            </p:cNvPr>
            <p:cNvSpPr/>
            <p:nvPr/>
          </p:nvSpPr>
          <p:spPr bwMode="auto">
            <a:xfrm>
              <a:off x="6964982" y="2398798"/>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14" name="Diamond 49">
              <a:extLst>
                <a:ext uri="{FF2B5EF4-FFF2-40B4-BE49-F238E27FC236}">
                  <a16:creationId xmlns:a16="http://schemas.microsoft.com/office/drawing/2014/main" id="{E196B2EB-A7ED-4348-8E78-A4880FA30DDC}"/>
                </a:ext>
              </a:extLst>
            </p:cNvPr>
            <p:cNvSpPr/>
            <p:nvPr/>
          </p:nvSpPr>
          <p:spPr bwMode="auto">
            <a:xfrm>
              <a:off x="5661510" y="2145223"/>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15" name="Diamond 50">
              <a:extLst>
                <a:ext uri="{FF2B5EF4-FFF2-40B4-BE49-F238E27FC236}">
                  <a16:creationId xmlns:a16="http://schemas.microsoft.com/office/drawing/2014/main" id="{9F5DF917-7A4D-4FA2-B944-EA577269310C}"/>
                </a:ext>
              </a:extLst>
            </p:cNvPr>
            <p:cNvSpPr/>
            <p:nvPr/>
          </p:nvSpPr>
          <p:spPr bwMode="auto">
            <a:xfrm>
              <a:off x="4792529" y="2145223"/>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16" name="Diamond 51">
              <a:extLst>
                <a:ext uri="{FF2B5EF4-FFF2-40B4-BE49-F238E27FC236}">
                  <a16:creationId xmlns:a16="http://schemas.microsoft.com/office/drawing/2014/main" id="{9C717E62-E870-4912-8A25-016D666A84F7}"/>
                </a:ext>
              </a:extLst>
            </p:cNvPr>
            <p:cNvSpPr/>
            <p:nvPr/>
          </p:nvSpPr>
          <p:spPr bwMode="auto">
            <a:xfrm>
              <a:off x="6530492" y="2145223"/>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17" name="Diamond 52">
              <a:extLst>
                <a:ext uri="{FF2B5EF4-FFF2-40B4-BE49-F238E27FC236}">
                  <a16:creationId xmlns:a16="http://schemas.microsoft.com/office/drawing/2014/main" id="{4940225D-E90D-4A88-84CF-30D8DBF25153}"/>
                </a:ext>
              </a:extLst>
            </p:cNvPr>
            <p:cNvSpPr/>
            <p:nvPr/>
          </p:nvSpPr>
          <p:spPr bwMode="auto">
            <a:xfrm>
              <a:off x="5661510" y="2652373"/>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18" name="Diamond 53">
              <a:extLst>
                <a:ext uri="{FF2B5EF4-FFF2-40B4-BE49-F238E27FC236}">
                  <a16:creationId xmlns:a16="http://schemas.microsoft.com/office/drawing/2014/main" id="{F1126833-5840-4C2A-BFDE-A0AC5BBC1EE8}"/>
                </a:ext>
              </a:extLst>
            </p:cNvPr>
            <p:cNvSpPr/>
            <p:nvPr/>
          </p:nvSpPr>
          <p:spPr bwMode="auto">
            <a:xfrm>
              <a:off x="4792529" y="2652373"/>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19" name="Diamond 54">
              <a:extLst>
                <a:ext uri="{FF2B5EF4-FFF2-40B4-BE49-F238E27FC236}">
                  <a16:creationId xmlns:a16="http://schemas.microsoft.com/office/drawing/2014/main" id="{1A63D67D-A7DF-448E-B922-2968BDC11849}"/>
                </a:ext>
              </a:extLst>
            </p:cNvPr>
            <p:cNvSpPr/>
            <p:nvPr/>
          </p:nvSpPr>
          <p:spPr bwMode="auto">
            <a:xfrm>
              <a:off x="6530495" y="2652373"/>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20" name="Diamond 55">
              <a:extLst>
                <a:ext uri="{FF2B5EF4-FFF2-40B4-BE49-F238E27FC236}">
                  <a16:creationId xmlns:a16="http://schemas.microsoft.com/office/drawing/2014/main" id="{4EF49238-C2A7-475C-816B-6DD5CA105DEC}"/>
                </a:ext>
              </a:extLst>
            </p:cNvPr>
            <p:cNvSpPr/>
            <p:nvPr/>
          </p:nvSpPr>
          <p:spPr bwMode="auto">
            <a:xfrm>
              <a:off x="5661518" y="3159522"/>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grpSp>
      <p:grpSp>
        <p:nvGrpSpPr>
          <p:cNvPr id="22" name="Group 21" descr="Front">
            <a:extLst>
              <a:ext uri="{FF2B5EF4-FFF2-40B4-BE49-F238E27FC236}">
                <a16:creationId xmlns:a16="http://schemas.microsoft.com/office/drawing/2014/main" id="{15C5D0FA-01A5-4F67-B7A6-2B7A32694C84}"/>
              </a:ext>
            </a:extLst>
          </p:cNvPr>
          <p:cNvGrpSpPr/>
          <p:nvPr/>
        </p:nvGrpSpPr>
        <p:grpSpPr>
          <a:xfrm>
            <a:off x="4329562" y="2606591"/>
            <a:ext cx="1824764" cy="3126665"/>
            <a:chOff x="4329562" y="2606591"/>
            <a:chExt cx="1824764" cy="3126665"/>
          </a:xfrm>
          <a:solidFill>
            <a:srgbClr val="96968C">
              <a:lumMod val="20000"/>
              <a:lumOff val="80000"/>
            </a:srgbClr>
          </a:solidFill>
        </p:grpSpPr>
        <p:sp>
          <p:nvSpPr>
            <p:cNvPr id="23" name="Diamond 24">
              <a:extLst>
                <a:ext uri="{FF2B5EF4-FFF2-40B4-BE49-F238E27FC236}">
                  <a16:creationId xmlns:a16="http://schemas.microsoft.com/office/drawing/2014/main" id="{B2B0A0A4-713E-4A5E-8CA0-696742068560}"/>
                </a:ext>
              </a:extLst>
            </p:cNvPr>
            <p:cNvSpPr/>
            <p:nvPr/>
          </p:nvSpPr>
          <p:spPr bwMode="auto">
            <a:xfrm rot="3600000">
              <a:off x="5029413" y="3286494"/>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24" name="Diamond 25">
              <a:extLst>
                <a:ext uri="{FF2B5EF4-FFF2-40B4-BE49-F238E27FC236}">
                  <a16:creationId xmlns:a16="http://schemas.microsoft.com/office/drawing/2014/main" id="{3B48BEBD-607D-4784-A02B-AD770429953E}"/>
                </a:ext>
              </a:extLst>
            </p:cNvPr>
            <p:cNvSpPr/>
            <p:nvPr/>
          </p:nvSpPr>
          <p:spPr bwMode="auto">
            <a:xfrm rot="3600000">
              <a:off x="5463904" y="4039053"/>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25" name="Diamond 26">
              <a:extLst>
                <a:ext uri="{FF2B5EF4-FFF2-40B4-BE49-F238E27FC236}">
                  <a16:creationId xmlns:a16="http://schemas.microsoft.com/office/drawing/2014/main" id="{3BFFB52D-169F-4D2B-92DC-8E067FDBFEF7}"/>
                </a:ext>
              </a:extLst>
            </p:cNvPr>
            <p:cNvSpPr/>
            <p:nvPr/>
          </p:nvSpPr>
          <p:spPr bwMode="auto">
            <a:xfrm rot="3600000">
              <a:off x="5466259" y="3535986"/>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26" name="Diamond 27">
              <a:extLst>
                <a:ext uri="{FF2B5EF4-FFF2-40B4-BE49-F238E27FC236}">
                  <a16:creationId xmlns:a16="http://schemas.microsoft.com/office/drawing/2014/main" id="{859477AF-9377-4C15-81AC-AB3804D758A7}"/>
                </a:ext>
              </a:extLst>
            </p:cNvPr>
            <p:cNvSpPr/>
            <p:nvPr/>
          </p:nvSpPr>
          <p:spPr bwMode="auto">
            <a:xfrm rot="3600000">
              <a:off x="4590204" y="3540069"/>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27" name="Diamond 28">
              <a:extLst>
                <a:ext uri="{FF2B5EF4-FFF2-40B4-BE49-F238E27FC236}">
                  <a16:creationId xmlns:a16="http://schemas.microsoft.com/office/drawing/2014/main" id="{BFC0D72C-6033-4E9D-BF72-961F0F08855F}"/>
                </a:ext>
              </a:extLst>
            </p:cNvPr>
            <p:cNvSpPr/>
            <p:nvPr/>
          </p:nvSpPr>
          <p:spPr bwMode="auto">
            <a:xfrm rot="3600000">
              <a:off x="5024694" y="4292628"/>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28" name="Diamond 29">
              <a:extLst>
                <a:ext uri="{FF2B5EF4-FFF2-40B4-BE49-F238E27FC236}">
                  <a16:creationId xmlns:a16="http://schemas.microsoft.com/office/drawing/2014/main" id="{793567A9-184A-47E7-AB45-7AE3B980544A}"/>
                </a:ext>
              </a:extLst>
            </p:cNvPr>
            <p:cNvSpPr/>
            <p:nvPr/>
          </p:nvSpPr>
          <p:spPr bwMode="auto">
            <a:xfrm rot="3600000">
              <a:off x="4150998" y="3793644"/>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29" name="Diamond 30">
              <a:extLst>
                <a:ext uri="{FF2B5EF4-FFF2-40B4-BE49-F238E27FC236}">
                  <a16:creationId xmlns:a16="http://schemas.microsoft.com/office/drawing/2014/main" id="{11E5C279-3A7B-4B96-B5F4-04A823DFC389}"/>
                </a:ext>
              </a:extLst>
            </p:cNvPr>
            <p:cNvSpPr/>
            <p:nvPr/>
          </p:nvSpPr>
          <p:spPr bwMode="auto">
            <a:xfrm rot="3600000">
              <a:off x="4585489" y="4546204"/>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30" name="Diamond 31">
              <a:extLst>
                <a:ext uri="{FF2B5EF4-FFF2-40B4-BE49-F238E27FC236}">
                  <a16:creationId xmlns:a16="http://schemas.microsoft.com/office/drawing/2014/main" id="{61B59F0C-6F7E-423D-8EBE-F47D979830CA}"/>
                </a:ext>
              </a:extLst>
            </p:cNvPr>
            <p:cNvSpPr/>
            <p:nvPr/>
          </p:nvSpPr>
          <p:spPr bwMode="auto">
            <a:xfrm rot="3600000">
              <a:off x="4155714" y="2787507"/>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31" name="Diamond 32">
              <a:extLst>
                <a:ext uri="{FF2B5EF4-FFF2-40B4-BE49-F238E27FC236}">
                  <a16:creationId xmlns:a16="http://schemas.microsoft.com/office/drawing/2014/main" id="{F39E36A1-E203-4282-A90C-A1A52F31A9D2}"/>
                </a:ext>
              </a:extLst>
            </p:cNvPr>
            <p:cNvSpPr/>
            <p:nvPr/>
          </p:nvSpPr>
          <p:spPr bwMode="auto">
            <a:xfrm rot="3600000">
              <a:off x="5459187" y="5045189"/>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32" name="Diamond 33">
              <a:extLst>
                <a:ext uri="{FF2B5EF4-FFF2-40B4-BE49-F238E27FC236}">
                  <a16:creationId xmlns:a16="http://schemas.microsoft.com/office/drawing/2014/main" id="{E9C71D48-2E05-45CE-BCA2-6BC86137FCF6}"/>
                </a:ext>
              </a:extLst>
            </p:cNvPr>
            <p:cNvSpPr/>
            <p:nvPr/>
          </p:nvSpPr>
          <p:spPr bwMode="auto">
            <a:xfrm rot="3600000">
              <a:off x="5027055" y="3789563"/>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33" name="Diamond 34">
              <a:extLst>
                <a:ext uri="{FF2B5EF4-FFF2-40B4-BE49-F238E27FC236}">
                  <a16:creationId xmlns:a16="http://schemas.microsoft.com/office/drawing/2014/main" id="{095E226C-0AA9-49C7-8C9B-C074DB4EDCB6}"/>
                </a:ext>
              </a:extLst>
            </p:cNvPr>
            <p:cNvSpPr/>
            <p:nvPr/>
          </p:nvSpPr>
          <p:spPr bwMode="auto">
            <a:xfrm rot="3600000">
              <a:off x="4592565" y="3036998"/>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34" name="Diamond 35">
              <a:extLst>
                <a:ext uri="{FF2B5EF4-FFF2-40B4-BE49-F238E27FC236}">
                  <a16:creationId xmlns:a16="http://schemas.microsoft.com/office/drawing/2014/main" id="{374BDC29-5DC9-4B97-9E8F-42368A1C5AC6}"/>
                </a:ext>
              </a:extLst>
            </p:cNvPr>
            <p:cNvSpPr/>
            <p:nvPr/>
          </p:nvSpPr>
          <p:spPr bwMode="auto">
            <a:xfrm rot="3600000">
              <a:off x="5461544" y="4542118"/>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35" name="Diamond 36">
              <a:extLst>
                <a:ext uri="{FF2B5EF4-FFF2-40B4-BE49-F238E27FC236}">
                  <a16:creationId xmlns:a16="http://schemas.microsoft.com/office/drawing/2014/main" id="{A9500745-0438-4F8B-BBDB-F6A77C10C161}"/>
                </a:ext>
              </a:extLst>
            </p:cNvPr>
            <p:cNvSpPr/>
            <p:nvPr/>
          </p:nvSpPr>
          <p:spPr bwMode="auto">
            <a:xfrm rot="3600000">
              <a:off x="4587848" y="4043134"/>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36" name="Diamond 37">
              <a:extLst>
                <a:ext uri="{FF2B5EF4-FFF2-40B4-BE49-F238E27FC236}">
                  <a16:creationId xmlns:a16="http://schemas.microsoft.com/office/drawing/2014/main" id="{62B5B732-B049-49BB-B83A-ED973CF8C10E}"/>
                </a:ext>
              </a:extLst>
            </p:cNvPr>
            <p:cNvSpPr/>
            <p:nvPr/>
          </p:nvSpPr>
          <p:spPr bwMode="auto">
            <a:xfrm rot="3600000">
              <a:off x="4153361" y="3290575"/>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37" name="Diamond 38">
              <a:extLst>
                <a:ext uri="{FF2B5EF4-FFF2-40B4-BE49-F238E27FC236}">
                  <a16:creationId xmlns:a16="http://schemas.microsoft.com/office/drawing/2014/main" id="{0A60F28D-F4C9-421D-B95F-BC6AE18E6D65}"/>
                </a:ext>
              </a:extLst>
            </p:cNvPr>
            <p:cNvSpPr/>
            <p:nvPr/>
          </p:nvSpPr>
          <p:spPr bwMode="auto">
            <a:xfrm rot="3600000">
              <a:off x="5022342" y="4795697"/>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38" name="Diamond 39">
              <a:extLst>
                <a:ext uri="{FF2B5EF4-FFF2-40B4-BE49-F238E27FC236}">
                  <a16:creationId xmlns:a16="http://schemas.microsoft.com/office/drawing/2014/main" id="{62B7E0B1-778A-409D-BF89-91E6398C74DC}"/>
                </a:ext>
              </a:extLst>
            </p:cNvPr>
            <p:cNvSpPr/>
            <p:nvPr/>
          </p:nvSpPr>
          <p:spPr bwMode="auto">
            <a:xfrm rot="3600000">
              <a:off x="4148646" y="4296704"/>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grpSp>
      <p:grpSp>
        <p:nvGrpSpPr>
          <p:cNvPr id="39" name="Group 38" descr="Side">
            <a:extLst>
              <a:ext uri="{FF2B5EF4-FFF2-40B4-BE49-F238E27FC236}">
                <a16:creationId xmlns:a16="http://schemas.microsoft.com/office/drawing/2014/main" id="{036800F3-8F3A-454D-8BD3-E9A7CD68166D}"/>
              </a:ext>
            </a:extLst>
          </p:cNvPr>
          <p:cNvGrpSpPr/>
          <p:nvPr/>
        </p:nvGrpSpPr>
        <p:grpSpPr>
          <a:xfrm>
            <a:off x="6057317" y="2606582"/>
            <a:ext cx="1824759" cy="3126665"/>
            <a:chOff x="6057317" y="2606582"/>
            <a:chExt cx="1824759" cy="3126665"/>
          </a:xfrm>
          <a:solidFill>
            <a:schemeClr val="accent3"/>
          </a:solidFill>
        </p:grpSpPr>
        <p:sp>
          <p:nvSpPr>
            <p:cNvPr id="40" name="Diamond 8">
              <a:extLst>
                <a:ext uri="{FF2B5EF4-FFF2-40B4-BE49-F238E27FC236}">
                  <a16:creationId xmlns:a16="http://schemas.microsoft.com/office/drawing/2014/main" id="{5C764943-80EE-48C1-B400-DC6D022B0C4B}"/>
                </a:ext>
              </a:extLst>
            </p:cNvPr>
            <p:cNvSpPr/>
            <p:nvPr/>
          </p:nvSpPr>
          <p:spPr bwMode="auto">
            <a:xfrm rot="18000000">
              <a:off x="5878756" y="4039045"/>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41" name="Diamond 9">
              <a:extLst>
                <a:ext uri="{FF2B5EF4-FFF2-40B4-BE49-F238E27FC236}">
                  <a16:creationId xmlns:a16="http://schemas.microsoft.com/office/drawing/2014/main" id="{BCFE75A1-4472-4FE3-9792-50209D092890}"/>
                </a:ext>
              </a:extLst>
            </p:cNvPr>
            <p:cNvSpPr/>
            <p:nvPr/>
          </p:nvSpPr>
          <p:spPr bwMode="auto">
            <a:xfrm rot="18000000">
              <a:off x="6313246" y="3286485"/>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42" name="Diamond 10">
              <a:extLst>
                <a:ext uri="{FF2B5EF4-FFF2-40B4-BE49-F238E27FC236}">
                  <a16:creationId xmlns:a16="http://schemas.microsoft.com/office/drawing/2014/main" id="{9DDFD0D1-0AD2-4B3B-9A61-60DE9174B5BB}"/>
                </a:ext>
              </a:extLst>
            </p:cNvPr>
            <p:cNvSpPr/>
            <p:nvPr/>
          </p:nvSpPr>
          <p:spPr bwMode="auto">
            <a:xfrm rot="18000000">
              <a:off x="5876400" y="3535980"/>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43" name="Diamond 11">
              <a:extLst>
                <a:ext uri="{FF2B5EF4-FFF2-40B4-BE49-F238E27FC236}">
                  <a16:creationId xmlns:a16="http://schemas.microsoft.com/office/drawing/2014/main" id="{4A2D54C1-E8DC-4715-A9C3-3C209897CC83}"/>
                </a:ext>
              </a:extLst>
            </p:cNvPr>
            <p:cNvSpPr/>
            <p:nvPr/>
          </p:nvSpPr>
          <p:spPr bwMode="auto">
            <a:xfrm rot="18000000">
              <a:off x="6317959" y="4292622"/>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44" name="Diamond 12">
              <a:extLst>
                <a:ext uri="{FF2B5EF4-FFF2-40B4-BE49-F238E27FC236}">
                  <a16:creationId xmlns:a16="http://schemas.microsoft.com/office/drawing/2014/main" id="{96CE3CA4-D984-4D75-B8EF-C67C98B61CF2}"/>
                </a:ext>
              </a:extLst>
            </p:cNvPr>
            <p:cNvSpPr/>
            <p:nvPr/>
          </p:nvSpPr>
          <p:spPr bwMode="auto">
            <a:xfrm rot="18000000">
              <a:off x="6752450" y="3540062"/>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45" name="Diamond 13">
              <a:extLst>
                <a:ext uri="{FF2B5EF4-FFF2-40B4-BE49-F238E27FC236}">
                  <a16:creationId xmlns:a16="http://schemas.microsoft.com/office/drawing/2014/main" id="{24FE2898-3013-48BC-9D7B-A141FA3FA7B2}"/>
                </a:ext>
              </a:extLst>
            </p:cNvPr>
            <p:cNvSpPr/>
            <p:nvPr/>
          </p:nvSpPr>
          <p:spPr bwMode="auto">
            <a:xfrm rot="18000000">
              <a:off x="6757164" y="4546197"/>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46" name="Diamond 14">
              <a:extLst>
                <a:ext uri="{FF2B5EF4-FFF2-40B4-BE49-F238E27FC236}">
                  <a16:creationId xmlns:a16="http://schemas.microsoft.com/office/drawing/2014/main" id="{9923E997-7CCB-4F67-83C1-4E6CA53A71A5}"/>
                </a:ext>
              </a:extLst>
            </p:cNvPr>
            <p:cNvSpPr/>
            <p:nvPr/>
          </p:nvSpPr>
          <p:spPr bwMode="auto">
            <a:xfrm rot="18000000">
              <a:off x="7191654" y="3793637"/>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47" name="Diamond 15">
              <a:extLst>
                <a:ext uri="{FF2B5EF4-FFF2-40B4-BE49-F238E27FC236}">
                  <a16:creationId xmlns:a16="http://schemas.microsoft.com/office/drawing/2014/main" id="{E0420ED6-BFD5-4929-BBEA-3122A1107B9A}"/>
                </a:ext>
              </a:extLst>
            </p:cNvPr>
            <p:cNvSpPr/>
            <p:nvPr/>
          </p:nvSpPr>
          <p:spPr bwMode="auto">
            <a:xfrm rot="18000000">
              <a:off x="5883470" y="5045180"/>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48" name="Diamond 16">
              <a:extLst>
                <a:ext uri="{FF2B5EF4-FFF2-40B4-BE49-F238E27FC236}">
                  <a16:creationId xmlns:a16="http://schemas.microsoft.com/office/drawing/2014/main" id="{3CEC0F85-A023-4B36-AD47-CBDCB53B7631}"/>
                </a:ext>
              </a:extLst>
            </p:cNvPr>
            <p:cNvSpPr/>
            <p:nvPr/>
          </p:nvSpPr>
          <p:spPr bwMode="auto">
            <a:xfrm rot="18000000">
              <a:off x="7186945" y="2787499"/>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49" name="Diamond 17">
              <a:extLst>
                <a:ext uri="{FF2B5EF4-FFF2-40B4-BE49-F238E27FC236}">
                  <a16:creationId xmlns:a16="http://schemas.microsoft.com/office/drawing/2014/main" id="{6EDA06A9-628C-4E96-8047-F6D5CBAF1A2A}"/>
                </a:ext>
              </a:extLst>
            </p:cNvPr>
            <p:cNvSpPr/>
            <p:nvPr/>
          </p:nvSpPr>
          <p:spPr bwMode="auto">
            <a:xfrm rot="18000000">
              <a:off x="6315607" y="3789551"/>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50" name="Diamond 18">
              <a:extLst>
                <a:ext uri="{FF2B5EF4-FFF2-40B4-BE49-F238E27FC236}">
                  <a16:creationId xmlns:a16="http://schemas.microsoft.com/office/drawing/2014/main" id="{09D51344-A2F5-487E-9C3D-B02B8212BA04}"/>
                </a:ext>
              </a:extLst>
            </p:cNvPr>
            <p:cNvSpPr/>
            <p:nvPr/>
          </p:nvSpPr>
          <p:spPr bwMode="auto">
            <a:xfrm rot="18000000">
              <a:off x="5881114" y="4542115"/>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51" name="Diamond 19">
              <a:extLst>
                <a:ext uri="{FF2B5EF4-FFF2-40B4-BE49-F238E27FC236}">
                  <a16:creationId xmlns:a16="http://schemas.microsoft.com/office/drawing/2014/main" id="{5D9E9ABA-FEB0-43BB-BFCF-82B3FF7654DC}"/>
                </a:ext>
              </a:extLst>
            </p:cNvPr>
            <p:cNvSpPr/>
            <p:nvPr/>
          </p:nvSpPr>
          <p:spPr bwMode="auto">
            <a:xfrm rot="18000000">
              <a:off x="6750099" y="3036994"/>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52" name="Diamond 20">
              <a:extLst>
                <a:ext uri="{FF2B5EF4-FFF2-40B4-BE49-F238E27FC236}">
                  <a16:creationId xmlns:a16="http://schemas.microsoft.com/office/drawing/2014/main" id="{8A8A242F-257F-4E44-B134-59F1D3213146}"/>
                </a:ext>
              </a:extLst>
            </p:cNvPr>
            <p:cNvSpPr/>
            <p:nvPr/>
          </p:nvSpPr>
          <p:spPr bwMode="auto">
            <a:xfrm rot="18000000">
              <a:off x="6754812" y="4043128"/>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53" name="Diamond 21">
              <a:extLst>
                <a:ext uri="{FF2B5EF4-FFF2-40B4-BE49-F238E27FC236}">
                  <a16:creationId xmlns:a16="http://schemas.microsoft.com/office/drawing/2014/main" id="{19CDE5B8-FE3A-4A28-A544-E4AF2FA0D400}"/>
                </a:ext>
              </a:extLst>
            </p:cNvPr>
            <p:cNvSpPr/>
            <p:nvPr/>
          </p:nvSpPr>
          <p:spPr bwMode="auto">
            <a:xfrm rot="18000000">
              <a:off x="6320322" y="4795689"/>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54" name="Diamond 22">
              <a:extLst>
                <a:ext uri="{FF2B5EF4-FFF2-40B4-BE49-F238E27FC236}">
                  <a16:creationId xmlns:a16="http://schemas.microsoft.com/office/drawing/2014/main" id="{BB3A0D99-C402-488F-8987-E7DBCD5C26A3}"/>
                </a:ext>
              </a:extLst>
            </p:cNvPr>
            <p:cNvSpPr/>
            <p:nvPr/>
          </p:nvSpPr>
          <p:spPr bwMode="auto">
            <a:xfrm rot="18000000">
              <a:off x="7189303" y="3290566"/>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55" name="Diamond 23">
              <a:extLst>
                <a:ext uri="{FF2B5EF4-FFF2-40B4-BE49-F238E27FC236}">
                  <a16:creationId xmlns:a16="http://schemas.microsoft.com/office/drawing/2014/main" id="{A6A87ED9-118B-41A4-84FE-1383F8AF3B38}"/>
                </a:ext>
              </a:extLst>
            </p:cNvPr>
            <p:cNvSpPr/>
            <p:nvPr/>
          </p:nvSpPr>
          <p:spPr bwMode="auto">
            <a:xfrm rot="18000000">
              <a:off x="7194010" y="4296705"/>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grpSp>
      <p:sp>
        <p:nvSpPr>
          <p:cNvPr id="57" name="Footer Placeholder 56">
            <a:extLst>
              <a:ext uri="{FF2B5EF4-FFF2-40B4-BE49-F238E27FC236}">
                <a16:creationId xmlns:a16="http://schemas.microsoft.com/office/drawing/2014/main" id="{A15451A6-E23D-4AC9-B07B-56FF7024E24A}"/>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8" name="Slide Number Placeholder 57">
            <a:extLst>
              <a:ext uri="{FF2B5EF4-FFF2-40B4-BE49-F238E27FC236}">
                <a16:creationId xmlns:a16="http://schemas.microsoft.com/office/drawing/2014/main" id="{0F0D0187-9A42-421C-BB88-6464F2A9D4B5}"/>
              </a:ext>
            </a:extLst>
          </p:cNvPr>
          <p:cNvSpPr>
            <a:spLocks noGrp="1"/>
          </p:cNvSpPr>
          <p:nvPr>
            <p:ph type="sldNum" sz="quarter" idx="10"/>
          </p:nvPr>
        </p:nvSpPr>
        <p:spPr/>
        <p:txBody>
          <a:bodyPr/>
          <a:lstStyle/>
          <a:p>
            <a:fld id="{1F90F471-3972-4120-B8B3-0237DE626C35}" type="slidenum">
              <a:rPr lang="en-US" smtClean="0"/>
              <a:pPr/>
              <a:t>312</a:t>
            </a:fld>
            <a:endParaRPr lang="en-US" dirty="0"/>
          </a:p>
        </p:txBody>
      </p:sp>
    </p:spTree>
    <p:extLst>
      <p:ext uri="{BB962C8B-B14F-4D97-AF65-F5344CB8AC3E}">
        <p14:creationId xmlns:p14="http://schemas.microsoft.com/office/powerpoint/2010/main" val="3818183285"/>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descr="Add text and order accordingly">
            <a:hlinkClick r:id="rId2" action="ppaction://hlinksldjump" tooltip="Return to Index"/>
            <a:extLst>
              <a:ext uri="{FF2B5EF4-FFF2-40B4-BE49-F238E27FC236}">
                <a16:creationId xmlns:a16="http://schemas.microsoft.com/office/drawing/2014/main" id="{0DE3F75C-CF1B-47BB-A358-FF97AF03C85D}"/>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itle 6">
            <a:extLst>
              <a:ext uri="{FF2B5EF4-FFF2-40B4-BE49-F238E27FC236}">
                <a16:creationId xmlns:a16="http://schemas.microsoft.com/office/drawing/2014/main" id="{F7C4124B-B9D5-4FB9-AA46-3262DD2B40DB}"/>
              </a:ext>
            </a:extLst>
          </p:cNvPr>
          <p:cNvSpPr>
            <a:spLocks noGrp="1"/>
          </p:cNvSpPr>
          <p:nvPr>
            <p:ph type="title"/>
          </p:nvPr>
        </p:nvSpPr>
        <p:spPr/>
        <p:txBody>
          <a:bodyPr/>
          <a:lstStyle/>
          <a:p>
            <a:r>
              <a:rPr lang="en-US" dirty="0"/>
              <a:t>Text Objects</a:t>
            </a:r>
          </a:p>
        </p:txBody>
      </p:sp>
      <p:sp>
        <p:nvSpPr>
          <p:cNvPr id="9" name="Text Placeholder 8">
            <a:extLst>
              <a:ext uri="{FF2B5EF4-FFF2-40B4-BE49-F238E27FC236}">
                <a16:creationId xmlns:a16="http://schemas.microsoft.com/office/drawing/2014/main" id="{1265ADBE-657A-4DC7-A6A6-2F0E697C4723}"/>
              </a:ext>
            </a:extLst>
          </p:cNvPr>
          <p:cNvSpPr>
            <a:spLocks noGrp="1"/>
          </p:cNvSpPr>
          <p:nvPr>
            <p:ph type="body" sz="quarter" idx="15"/>
          </p:nvPr>
        </p:nvSpPr>
        <p:spPr/>
        <p:txBody>
          <a:bodyPr/>
          <a:lstStyle/>
          <a:p>
            <a:r>
              <a:rPr lang="en-US" dirty="0"/>
              <a:t>Part of </a:t>
            </a:r>
            <a:r>
              <a:rPr lang="en-US" dirty="0">
                <a:hlinkClick r:id="rId3" action="ppaction://hlinksldjump">
                  <a:extLst>
                    <a:ext uri="{A12FA001-AC4F-418D-AE19-62706E023703}">
                      <ahyp:hlinkClr xmlns:ahyp="http://schemas.microsoft.com/office/drawing/2018/hyperlinkcolor" val="tx"/>
                    </a:ext>
                  </a:extLst>
                </a:hlinkClick>
              </a:rPr>
              <a:t>Static Objects</a:t>
            </a:r>
            <a:endParaRPr lang="en-US" dirty="0"/>
          </a:p>
        </p:txBody>
      </p:sp>
      <p:sp>
        <p:nvSpPr>
          <p:cNvPr id="5" name="Footer Placeholder 4">
            <a:extLst>
              <a:ext uri="{FF2B5EF4-FFF2-40B4-BE49-F238E27FC236}">
                <a16:creationId xmlns:a16="http://schemas.microsoft.com/office/drawing/2014/main" id="{9DC78945-A645-4563-BCA9-927812C9C4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BEE2891-AE3F-4D8A-B562-5662B242B3DF}"/>
              </a:ext>
            </a:extLst>
          </p:cNvPr>
          <p:cNvSpPr>
            <a:spLocks noGrp="1"/>
          </p:cNvSpPr>
          <p:nvPr>
            <p:ph type="sldNum" sz="quarter" idx="17"/>
          </p:nvPr>
        </p:nvSpPr>
        <p:spPr/>
        <p:txBody>
          <a:bodyPr/>
          <a:lstStyle/>
          <a:p>
            <a:fld id="{1F90F471-3972-4120-B8B3-0237DE626C35}" type="slidenum">
              <a:rPr lang="en-US" smtClean="0"/>
              <a:pPr/>
              <a:t>313</a:t>
            </a:fld>
            <a:endParaRPr lang="en-US" dirty="0"/>
          </a:p>
        </p:txBody>
      </p:sp>
    </p:spTree>
    <p:extLst>
      <p:ext uri="{BB962C8B-B14F-4D97-AF65-F5344CB8AC3E}">
        <p14:creationId xmlns:p14="http://schemas.microsoft.com/office/powerpoint/2010/main" val="590898128"/>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Frameworks: Value Chain</a:t>
            </a:r>
            <a:endParaRPr lang="de-DE" dirty="0"/>
          </a:p>
        </p:txBody>
      </p:sp>
      <p:sp>
        <p:nvSpPr>
          <p:cNvPr id="23" name="TextBox 22">
            <a:extLst>
              <a:ext uri="{FF2B5EF4-FFF2-40B4-BE49-F238E27FC236}">
                <a16:creationId xmlns:a16="http://schemas.microsoft.com/office/drawing/2014/main" id="{8339FF2D-001A-4969-8F02-D5E5FD1ADE65}"/>
              </a:ext>
            </a:extLst>
          </p:cNvPr>
          <p:cNvSpPr txBox="1"/>
          <p:nvPr/>
        </p:nvSpPr>
        <p:spPr bwMode="auto">
          <a:xfrm rot="5400000">
            <a:off x="1440911" y="1466374"/>
            <a:ext cx="215444" cy="2407232"/>
          </a:xfrm>
          <a:prstGeom prst="rect">
            <a:avLst/>
          </a:prstGeom>
          <a:noFill/>
        </p:spPr>
        <p:txBody>
          <a:bodyPr vert="vert270" wrap="square" lIns="0" tIns="0" rIns="0" bIns="0" rtlCol="0">
            <a:spAutoFit/>
          </a:bodyPr>
          <a:lstStyle/>
          <a:p>
            <a:pPr algn="r">
              <a:buClr>
                <a:schemeClr val="accent1"/>
              </a:buClr>
              <a:buSzPct val="80000"/>
            </a:pPr>
            <a:r>
              <a:rPr lang="en-US" sz="1400" b="1" dirty="0">
                <a:solidFill>
                  <a:sysClr val="windowText" lastClr="000000"/>
                </a:solidFill>
                <a:latin typeface="+mj-lt"/>
              </a:rPr>
              <a:t>Core process</a:t>
            </a:r>
          </a:p>
        </p:txBody>
      </p:sp>
      <p:sp>
        <p:nvSpPr>
          <p:cNvPr id="25" name="TextBox 24">
            <a:extLst>
              <a:ext uri="{FF2B5EF4-FFF2-40B4-BE49-F238E27FC236}">
                <a16:creationId xmlns:a16="http://schemas.microsoft.com/office/drawing/2014/main" id="{EBB48F42-2277-46F5-A9ED-D9BDF9EDA10A}"/>
              </a:ext>
            </a:extLst>
          </p:cNvPr>
          <p:cNvSpPr txBox="1"/>
          <p:nvPr/>
        </p:nvSpPr>
        <p:spPr bwMode="auto">
          <a:xfrm rot="5400000">
            <a:off x="1440912" y="3580066"/>
            <a:ext cx="215444" cy="2407232"/>
          </a:xfrm>
          <a:prstGeom prst="rect">
            <a:avLst/>
          </a:prstGeom>
          <a:noFill/>
        </p:spPr>
        <p:txBody>
          <a:bodyPr vert="vert270" wrap="square" lIns="0" tIns="0" rIns="0" bIns="0" rtlCol="0">
            <a:spAutoFit/>
          </a:bodyPr>
          <a:lstStyle/>
          <a:p>
            <a:pPr algn="r">
              <a:buClr>
                <a:schemeClr val="accent1"/>
              </a:buClr>
              <a:buSzPct val="80000"/>
            </a:pPr>
            <a:r>
              <a:rPr lang="en-US" sz="1400" b="1" dirty="0">
                <a:solidFill>
                  <a:sysClr val="windowText" lastClr="000000"/>
                </a:solidFill>
                <a:latin typeface="+mj-lt"/>
              </a:rPr>
              <a:t>Support process</a:t>
            </a:r>
          </a:p>
        </p:txBody>
      </p:sp>
      <p:grpSp>
        <p:nvGrpSpPr>
          <p:cNvPr id="7" name="Group 6" descr="Distribution insert text here">
            <a:extLst>
              <a:ext uri="{FF2B5EF4-FFF2-40B4-BE49-F238E27FC236}">
                <a16:creationId xmlns:a16="http://schemas.microsoft.com/office/drawing/2014/main" id="{979BDAE3-0F9C-4C89-A520-4BAA0ABF7AB0}"/>
              </a:ext>
            </a:extLst>
          </p:cNvPr>
          <p:cNvGrpSpPr/>
          <p:nvPr/>
        </p:nvGrpSpPr>
        <p:grpSpPr>
          <a:xfrm>
            <a:off x="3194169" y="1469497"/>
            <a:ext cx="7356406" cy="3982061"/>
            <a:chOff x="3194169" y="1469497"/>
            <a:chExt cx="7356406" cy="3982061"/>
          </a:xfrm>
        </p:grpSpPr>
        <p:sp>
          <p:nvSpPr>
            <p:cNvPr id="27" name="Rectangle 5">
              <a:extLst>
                <a:ext uri="{FF2B5EF4-FFF2-40B4-BE49-F238E27FC236}">
                  <a16:creationId xmlns:a16="http://schemas.microsoft.com/office/drawing/2014/main" id="{26A8B33D-268E-4E6C-9BF8-098A31CDCF1B}"/>
                </a:ext>
              </a:extLst>
            </p:cNvPr>
            <p:cNvSpPr>
              <a:spLocks noChangeArrowheads="1"/>
            </p:cNvSpPr>
            <p:nvPr/>
          </p:nvSpPr>
          <p:spPr bwMode="auto">
            <a:xfrm>
              <a:off x="3200922" y="1469497"/>
              <a:ext cx="6840918" cy="2926154"/>
            </a:xfrm>
            <a:prstGeom prst="rect">
              <a:avLst/>
            </a:prstGeom>
            <a:solidFill>
              <a:schemeClr val="accent1">
                <a:lumMod val="20000"/>
                <a:lumOff val="80000"/>
              </a:schemeClr>
            </a:solidFill>
            <a:ln w="19050" algn="ctr">
              <a:solidFill>
                <a:schemeClr val="bg1"/>
              </a:solidFill>
              <a:miter lim="800000"/>
              <a:headEnd/>
              <a:tailEnd/>
            </a:ln>
            <a:effectLst/>
          </p:spPr>
          <p:txBody>
            <a:bodyPr wrap="none" lIns="90000" tIns="46800" rIns="90000" bIns="46800" anchor="ctr"/>
            <a:lstStyle/>
            <a:p>
              <a:pPr>
                <a:buClr>
                  <a:schemeClr val="tx2"/>
                </a:buClr>
                <a:buSzTx/>
              </a:pPr>
              <a:endParaRPr lang="en-US" sz="1200" dirty="0"/>
            </a:p>
          </p:txBody>
        </p:sp>
        <p:sp>
          <p:nvSpPr>
            <p:cNvPr id="29" name="Freeform 6">
              <a:extLst>
                <a:ext uri="{FF2B5EF4-FFF2-40B4-BE49-F238E27FC236}">
                  <a16:creationId xmlns:a16="http://schemas.microsoft.com/office/drawing/2014/main" id="{AEE50646-8297-4A39-817E-A0F5884F27F0}"/>
                </a:ext>
              </a:extLst>
            </p:cNvPr>
            <p:cNvSpPr>
              <a:spLocks/>
            </p:cNvSpPr>
            <p:nvPr/>
          </p:nvSpPr>
          <p:spPr bwMode="auto">
            <a:xfrm>
              <a:off x="8218496" y="1469497"/>
              <a:ext cx="409690" cy="3652375"/>
            </a:xfrm>
            <a:custGeom>
              <a:avLst/>
              <a:gdLst/>
              <a:ahLst/>
              <a:cxnLst>
                <a:cxn ang="0">
                  <a:pos x="0" y="0"/>
                </a:cxn>
                <a:cxn ang="0">
                  <a:pos x="182" y="1179"/>
                </a:cxn>
                <a:cxn ang="0">
                  <a:pos x="0" y="2404"/>
                </a:cxn>
              </a:cxnLst>
              <a:rect l="0" t="0" r="r" b="b"/>
              <a:pathLst>
                <a:path w="182" h="2404">
                  <a:moveTo>
                    <a:pt x="0" y="0"/>
                  </a:moveTo>
                  <a:lnTo>
                    <a:pt x="182" y="1179"/>
                  </a:lnTo>
                  <a:lnTo>
                    <a:pt x="0" y="2404"/>
                  </a:lnTo>
                </a:path>
              </a:pathLst>
            </a:custGeom>
            <a:noFill/>
            <a:ln w="38100" cap="flat" cmpd="sng">
              <a:solidFill>
                <a:schemeClr val="bg1"/>
              </a:solidFill>
              <a:prstDash val="solid"/>
              <a:round/>
              <a:headEnd/>
              <a:tailEnd/>
            </a:ln>
            <a:effectLst/>
          </p:spPr>
          <p:txBody>
            <a:bodyPr wrap="none" lIns="90000" tIns="46800" rIns="90000" bIns="46800" anchor="ctr"/>
            <a:lstStyle/>
            <a:p>
              <a:endParaRPr lang="en-US" dirty="0"/>
            </a:p>
          </p:txBody>
        </p:sp>
        <p:sp>
          <p:nvSpPr>
            <p:cNvPr id="31" name="Freeform 7">
              <a:extLst>
                <a:ext uri="{FF2B5EF4-FFF2-40B4-BE49-F238E27FC236}">
                  <a16:creationId xmlns:a16="http://schemas.microsoft.com/office/drawing/2014/main" id="{F4B904E1-907D-4C64-BD73-0D029E62BCAF}"/>
                </a:ext>
              </a:extLst>
            </p:cNvPr>
            <p:cNvSpPr>
              <a:spLocks/>
            </p:cNvSpPr>
            <p:nvPr/>
          </p:nvSpPr>
          <p:spPr bwMode="auto">
            <a:xfrm>
              <a:off x="7401366" y="1469497"/>
              <a:ext cx="409690" cy="3652375"/>
            </a:xfrm>
            <a:custGeom>
              <a:avLst/>
              <a:gdLst/>
              <a:ahLst/>
              <a:cxnLst>
                <a:cxn ang="0">
                  <a:pos x="0" y="0"/>
                </a:cxn>
                <a:cxn ang="0">
                  <a:pos x="182" y="1179"/>
                </a:cxn>
                <a:cxn ang="0">
                  <a:pos x="0" y="2404"/>
                </a:cxn>
              </a:cxnLst>
              <a:rect l="0" t="0" r="r" b="b"/>
              <a:pathLst>
                <a:path w="182" h="2404">
                  <a:moveTo>
                    <a:pt x="0" y="0"/>
                  </a:moveTo>
                  <a:lnTo>
                    <a:pt x="182" y="1179"/>
                  </a:lnTo>
                  <a:lnTo>
                    <a:pt x="0" y="2404"/>
                  </a:lnTo>
                </a:path>
              </a:pathLst>
            </a:custGeom>
            <a:noFill/>
            <a:ln w="38100" cap="flat" cmpd="sng">
              <a:solidFill>
                <a:schemeClr val="bg1"/>
              </a:solidFill>
              <a:prstDash val="solid"/>
              <a:round/>
              <a:headEnd/>
              <a:tailEnd/>
            </a:ln>
            <a:effectLst/>
          </p:spPr>
          <p:txBody>
            <a:bodyPr wrap="none" lIns="90000" tIns="46800" rIns="90000" bIns="46800" anchor="ctr"/>
            <a:lstStyle/>
            <a:p>
              <a:endParaRPr lang="en-US" dirty="0"/>
            </a:p>
          </p:txBody>
        </p:sp>
        <p:sp>
          <p:nvSpPr>
            <p:cNvPr id="33" name="Freeform 8">
              <a:extLst>
                <a:ext uri="{FF2B5EF4-FFF2-40B4-BE49-F238E27FC236}">
                  <a16:creationId xmlns:a16="http://schemas.microsoft.com/office/drawing/2014/main" id="{6FD2CE74-F539-47B5-ACE4-B9928DC9C6B0}"/>
                </a:ext>
              </a:extLst>
            </p:cNvPr>
            <p:cNvSpPr>
              <a:spLocks/>
            </p:cNvSpPr>
            <p:nvPr/>
          </p:nvSpPr>
          <p:spPr bwMode="auto">
            <a:xfrm>
              <a:off x="3729917" y="1469497"/>
              <a:ext cx="409690" cy="3652375"/>
            </a:xfrm>
            <a:custGeom>
              <a:avLst/>
              <a:gdLst/>
              <a:ahLst/>
              <a:cxnLst>
                <a:cxn ang="0">
                  <a:pos x="0" y="0"/>
                </a:cxn>
                <a:cxn ang="0">
                  <a:pos x="182" y="1179"/>
                </a:cxn>
                <a:cxn ang="0">
                  <a:pos x="0" y="2404"/>
                </a:cxn>
              </a:cxnLst>
              <a:rect l="0" t="0" r="r" b="b"/>
              <a:pathLst>
                <a:path w="182" h="2404">
                  <a:moveTo>
                    <a:pt x="0" y="0"/>
                  </a:moveTo>
                  <a:lnTo>
                    <a:pt x="182" y="1179"/>
                  </a:lnTo>
                  <a:lnTo>
                    <a:pt x="0" y="2404"/>
                  </a:lnTo>
                </a:path>
              </a:pathLst>
            </a:custGeom>
            <a:noFill/>
            <a:ln w="38100" cap="flat" cmpd="sng">
              <a:solidFill>
                <a:schemeClr val="bg1"/>
              </a:solidFill>
              <a:prstDash val="solid"/>
              <a:round/>
              <a:headEnd/>
              <a:tailEnd/>
            </a:ln>
            <a:effectLst/>
          </p:spPr>
          <p:txBody>
            <a:bodyPr wrap="none" lIns="90000" tIns="46800" rIns="90000" bIns="46800" anchor="ctr"/>
            <a:lstStyle/>
            <a:p>
              <a:endParaRPr lang="en-US" dirty="0"/>
            </a:p>
          </p:txBody>
        </p:sp>
        <p:sp>
          <p:nvSpPr>
            <p:cNvPr id="35" name="Freeform 9">
              <a:extLst>
                <a:ext uri="{FF2B5EF4-FFF2-40B4-BE49-F238E27FC236}">
                  <a16:creationId xmlns:a16="http://schemas.microsoft.com/office/drawing/2014/main" id="{964B4B43-B856-4143-9D39-D158461240CD}"/>
                </a:ext>
              </a:extLst>
            </p:cNvPr>
            <p:cNvSpPr>
              <a:spLocks/>
            </p:cNvSpPr>
            <p:nvPr/>
          </p:nvSpPr>
          <p:spPr bwMode="auto">
            <a:xfrm>
              <a:off x="6687787" y="1469497"/>
              <a:ext cx="409690" cy="3652375"/>
            </a:xfrm>
            <a:custGeom>
              <a:avLst/>
              <a:gdLst/>
              <a:ahLst/>
              <a:cxnLst>
                <a:cxn ang="0">
                  <a:pos x="0" y="0"/>
                </a:cxn>
                <a:cxn ang="0">
                  <a:pos x="182" y="1179"/>
                </a:cxn>
                <a:cxn ang="0">
                  <a:pos x="0" y="2404"/>
                </a:cxn>
              </a:cxnLst>
              <a:rect l="0" t="0" r="r" b="b"/>
              <a:pathLst>
                <a:path w="182" h="2404">
                  <a:moveTo>
                    <a:pt x="0" y="0"/>
                  </a:moveTo>
                  <a:lnTo>
                    <a:pt x="182" y="1179"/>
                  </a:lnTo>
                  <a:lnTo>
                    <a:pt x="0" y="2404"/>
                  </a:lnTo>
                </a:path>
              </a:pathLst>
            </a:custGeom>
            <a:noFill/>
            <a:ln w="38100" cap="flat" cmpd="sng">
              <a:solidFill>
                <a:schemeClr val="bg1"/>
              </a:solidFill>
              <a:prstDash val="solid"/>
              <a:round/>
              <a:headEnd/>
              <a:tailEnd/>
            </a:ln>
            <a:effectLst/>
          </p:spPr>
          <p:txBody>
            <a:bodyPr wrap="none" lIns="90000" tIns="46800" rIns="90000" bIns="46800" anchor="ctr"/>
            <a:lstStyle/>
            <a:p>
              <a:endParaRPr lang="en-US" dirty="0"/>
            </a:p>
          </p:txBody>
        </p:sp>
        <p:sp>
          <p:nvSpPr>
            <p:cNvPr id="37" name="Rectangle 10">
              <a:extLst>
                <a:ext uri="{FF2B5EF4-FFF2-40B4-BE49-F238E27FC236}">
                  <a16:creationId xmlns:a16="http://schemas.microsoft.com/office/drawing/2014/main" id="{B9EBA7B5-F427-4EA7-A1CF-358E2E502E1C}"/>
                </a:ext>
              </a:extLst>
            </p:cNvPr>
            <p:cNvSpPr>
              <a:spLocks noChangeArrowheads="1"/>
            </p:cNvSpPr>
            <p:nvPr/>
          </p:nvSpPr>
          <p:spPr bwMode="auto">
            <a:xfrm>
              <a:off x="3194169" y="3918594"/>
              <a:ext cx="6847671" cy="1514733"/>
            </a:xfrm>
            <a:prstGeom prst="rect">
              <a:avLst/>
            </a:prstGeom>
            <a:solidFill>
              <a:schemeClr val="tx2">
                <a:lumMod val="20000"/>
                <a:lumOff val="80000"/>
              </a:schemeClr>
            </a:solidFill>
            <a:ln w="38100" algn="ctr">
              <a:solidFill>
                <a:schemeClr val="bg1"/>
              </a:solidFill>
              <a:miter lim="800000"/>
              <a:headEnd/>
              <a:tailEnd/>
            </a:ln>
            <a:effectLst/>
          </p:spPr>
          <p:txBody>
            <a:bodyPr wrap="none" lIns="90000" tIns="46800" rIns="90000" bIns="46800" anchor="ctr"/>
            <a:lstStyle/>
            <a:p>
              <a:pPr>
                <a:buClr>
                  <a:schemeClr val="tx2"/>
                </a:buClr>
                <a:buSzTx/>
              </a:pPr>
              <a:endParaRPr lang="en-US" sz="1200" dirty="0"/>
            </a:p>
          </p:txBody>
        </p:sp>
        <p:sp>
          <p:nvSpPr>
            <p:cNvPr id="39" name="Line 12">
              <a:extLst>
                <a:ext uri="{FF2B5EF4-FFF2-40B4-BE49-F238E27FC236}">
                  <a16:creationId xmlns:a16="http://schemas.microsoft.com/office/drawing/2014/main" id="{7D8EEEBA-C4BA-46A8-9DF8-6BCE9C2DA88B}"/>
                </a:ext>
              </a:extLst>
            </p:cNvPr>
            <p:cNvSpPr>
              <a:spLocks noChangeShapeType="1"/>
            </p:cNvSpPr>
            <p:nvPr/>
          </p:nvSpPr>
          <p:spPr bwMode="auto">
            <a:xfrm>
              <a:off x="4139607" y="3253145"/>
              <a:ext cx="2957869" cy="0"/>
            </a:xfrm>
            <a:prstGeom prst="line">
              <a:avLst/>
            </a:prstGeom>
            <a:noFill/>
            <a:ln w="38100">
              <a:solidFill>
                <a:schemeClr val="bg1"/>
              </a:solidFill>
              <a:round/>
              <a:headEnd/>
              <a:tailEnd/>
            </a:ln>
            <a:effectLst/>
          </p:spPr>
          <p:txBody>
            <a:bodyPr wrap="none" lIns="90000" tIns="46800" rIns="90000" bIns="46800" anchor="ctr"/>
            <a:lstStyle/>
            <a:p>
              <a:endParaRPr lang="en-US" dirty="0"/>
            </a:p>
          </p:txBody>
        </p:sp>
        <p:sp>
          <p:nvSpPr>
            <p:cNvPr id="41" name="Line 13">
              <a:extLst>
                <a:ext uri="{FF2B5EF4-FFF2-40B4-BE49-F238E27FC236}">
                  <a16:creationId xmlns:a16="http://schemas.microsoft.com/office/drawing/2014/main" id="{2650FA1D-72B9-49D7-9348-D55C82D616F3}"/>
                </a:ext>
              </a:extLst>
            </p:cNvPr>
            <p:cNvSpPr>
              <a:spLocks noChangeShapeType="1"/>
            </p:cNvSpPr>
            <p:nvPr/>
          </p:nvSpPr>
          <p:spPr bwMode="auto">
            <a:xfrm>
              <a:off x="3216679" y="4214855"/>
              <a:ext cx="6329931" cy="0"/>
            </a:xfrm>
            <a:prstGeom prst="line">
              <a:avLst/>
            </a:prstGeom>
            <a:noFill/>
            <a:ln w="38100">
              <a:solidFill>
                <a:schemeClr val="bg1"/>
              </a:solidFill>
              <a:round/>
              <a:headEnd/>
              <a:tailEnd/>
            </a:ln>
            <a:effectLst/>
          </p:spPr>
          <p:txBody>
            <a:bodyPr wrap="none" lIns="90000" tIns="46800" rIns="90000" bIns="46800" anchor="ctr"/>
            <a:lstStyle/>
            <a:p>
              <a:endParaRPr lang="en-US" dirty="0"/>
            </a:p>
          </p:txBody>
        </p:sp>
        <p:sp>
          <p:nvSpPr>
            <p:cNvPr id="43" name="Line 14">
              <a:extLst>
                <a:ext uri="{FF2B5EF4-FFF2-40B4-BE49-F238E27FC236}">
                  <a16:creationId xmlns:a16="http://schemas.microsoft.com/office/drawing/2014/main" id="{AACE501D-B7A7-4DFF-9EF7-A430A8744798}"/>
                </a:ext>
              </a:extLst>
            </p:cNvPr>
            <p:cNvSpPr>
              <a:spLocks noChangeShapeType="1"/>
            </p:cNvSpPr>
            <p:nvPr/>
          </p:nvSpPr>
          <p:spPr bwMode="auto">
            <a:xfrm>
              <a:off x="3216679" y="4520739"/>
              <a:ext cx="6329931" cy="0"/>
            </a:xfrm>
            <a:prstGeom prst="line">
              <a:avLst/>
            </a:prstGeom>
            <a:noFill/>
            <a:ln w="38100">
              <a:solidFill>
                <a:schemeClr val="bg1"/>
              </a:solidFill>
              <a:round/>
              <a:headEnd/>
              <a:tailEnd/>
            </a:ln>
            <a:effectLst/>
          </p:spPr>
          <p:txBody>
            <a:bodyPr wrap="none" lIns="90000" tIns="46800" rIns="90000" bIns="46800" anchor="ctr"/>
            <a:lstStyle/>
            <a:p>
              <a:endParaRPr lang="en-US" dirty="0"/>
            </a:p>
          </p:txBody>
        </p:sp>
        <p:sp>
          <p:nvSpPr>
            <p:cNvPr id="45" name="Line 15">
              <a:extLst>
                <a:ext uri="{FF2B5EF4-FFF2-40B4-BE49-F238E27FC236}">
                  <a16:creationId xmlns:a16="http://schemas.microsoft.com/office/drawing/2014/main" id="{E9167D3A-3244-416C-84A0-083C071C074D}"/>
                </a:ext>
              </a:extLst>
            </p:cNvPr>
            <p:cNvSpPr>
              <a:spLocks noChangeShapeType="1"/>
            </p:cNvSpPr>
            <p:nvPr/>
          </p:nvSpPr>
          <p:spPr bwMode="auto">
            <a:xfrm>
              <a:off x="3216679" y="4826624"/>
              <a:ext cx="6329931" cy="0"/>
            </a:xfrm>
            <a:prstGeom prst="line">
              <a:avLst/>
            </a:prstGeom>
            <a:noFill/>
            <a:ln w="38100">
              <a:solidFill>
                <a:schemeClr val="bg1"/>
              </a:solidFill>
              <a:round/>
              <a:headEnd/>
              <a:tailEnd/>
            </a:ln>
            <a:effectLst/>
          </p:spPr>
          <p:txBody>
            <a:bodyPr wrap="none" lIns="90000" tIns="46800" rIns="90000" bIns="46800" anchor="ctr"/>
            <a:lstStyle/>
            <a:p>
              <a:endParaRPr lang="en-US" dirty="0"/>
            </a:p>
          </p:txBody>
        </p:sp>
        <p:sp>
          <p:nvSpPr>
            <p:cNvPr id="47" name="Line 16">
              <a:extLst>
                <a:ext uri="{FF2B5EF4-FFF2-40B4-BE49-F238E27FC236}">
                  <a16:creationId xmlns:a16="http://schemas.microsoft.com/office/drawing/2014/main" id="{135E14DF-C310-408E-BE1C-61A3636AD2C1}"/>
                </a:ext>
              </a:extLst>
            </p:cNvPr>
            <p:cNvSpPr>
              <a:spLocks noChangeShapeType="1"/>
            </p:cNvSpPr>
            <p:nvPr/>
          </p:nvSpPr>
          <p:spPr bwMode="auto">
            <a:xfrm>
              <a:off x="3216679" y="5132507"/>
              <a:ext cx="6329931" cy="0"/>
            </a:xfrm>
            <a:prstGeom prst="line">
              <a:avLst/>
            </a:prstGeom>
            <a:noFill/>
            <a:ln w="38100">
              <a:solidFill>
                <a:schemeClr val="bg1"/>
              </a:solidFill>
              <a:round/>
              <a:headEnd/>
              <a:tailEnd/>
            </a:ln>
            <a:effectLst/>
          </p:spPr>
          <p:txBody>
            <a:bodyPr wrap="none" lIns="90000" tIns="46800" rIns="90000" bIns="46800" anchor="ctr"/>
            <a:lstStyle/>
            <a:p>
              <a:endParaRPr lang="en-US" dirty="0"/>
            </a:p>
          </p:txBody>
        </p:sp>
        <p:sp>
          <p:nvSpPr>
            <p:cNvPr id="49" name="AutoShape 17">
              <a:extLst>
                <a:ext uri="{FF2B5EF4-FFF2-40B4-BE49-F238E27FC236}">
                  <a16:creationId xmlns:a16="http://schemas.microsoft.com/office/drawing/2014/main" id="{53371CA2-B66C-4867-B84B-218D782D1BBA}"/>
                </a:ext>
              </a:extLst>
            </p:cNvPr>
            <p:cNvSpPr>
              <a:spLocks noChangeArrowheads="1"/>
            </p:cNvSpPr>
            <p:nvPr/>
          </p:nvSpPr>
          <p:spPr bwMode="auto">
            <a:xfrm>
              <a:off x="9019866" y="1481650"/>
              <a:ext cx="1530709" cy="3960792"/>
            </a:xfrm>
            <a:prstGeom prst="chevron">
              <a:avLst>
                <a:gd name="adj" fmla="val 25000"/>
              </a:avLst>
            </a:prstGeom>
            <a:solidFill>
              <a:schemeClr val="accent3"/>
            </a:solidFill>
            <a:ln w="38100" algn="ctr">
              <a:noFill/>
              <a:miter lim="800000"/>
              <a:headEnd/>
              <a:tailEnd/>
            </a:ln>
            <a:effectLst/>
          </p:spPr>
          <p:txBody>
            <a:bodyPr wrap="none" lIns="90000" tIns="46800" rIns="90000" bIns="46800" anchor="ctr"/>
            <a:lstStyle/>
            <a:p>
              <a:pPr>
                <a:buClr>
                  <a:schemeClr val="tx2"/>
                </a:buClr>
                <a:buSzTx/>
              </a:pPr>
              <a:endParaRPr lang="en-US" sz="1200" dirty="0"/>
            </a:p>
          </p:txBody>
        </p:sp>
        <p:sp>
          <p:nvSpPr>
            <p:cNvPr id="51" name="Line 18">
              <a:extLst>
                <a:ext uri="{FF2B5EF4-FFF2-40B4-BE49-F238E27FC236}">
                  <a16:creationId xmlns:a16="http://schemas.microsoft.com/office/drawing/2014/main" id="{53E1A6F6-A18E-44C6-A0C2-C9B880A898A4}"/>
                </a:ext>
              </a:extLst>
            </p:cNvPr>
            <p:cNvSpPr>
              <a:spLocks noChangeShapeType="1"/>
            </p:cNvSpPr>
            <p:nvPr/>
          </p:nvSpPr>
          <p:spPr bwMode="auto">
            <a:xfrm flipH="1">
              <a:off x="6280347" y="3918594"/>
              <a:ext cx="0" cy="1532964"/>
            </a:xfrm>
            <a:prstGeom prst="line">
              <a:avLst/>
            </a:prstGeom>
            <a:noFill/>
            <a:ln w="19050">
              <a:solidFill>
                <a:schemeClr val="accent2"/>
              </a:solidFill>
              <a:round/>
              <a:headEnd type="triangle" w="med" len="med"/>
              <a:tailEnd type="triangle" w="med" len="med"/>
            </a:ln>
            <a:effectLst/>
          </p:spPr>
          <p:txBody>
            <a:bodyPr wrap="none" lIns="90000" tIns="46800" rIns="90000" bIns="46800" anchor="ctr"/>
            <a:lstStyle/>
            <a:p>
              <a:endParaRPr lang="en-US" dirty="0"/>
            </a:p>
          </p:txBody>
        </p:sp>
        <p:sp>
          <p:nvSpPr>
            <p:cNvPr id="53" name="Freeform 6">
              <a:extLst>
                <a:ext uri="{FF2B5EF4-FFF2-40B4-BE49-F238E27FC236}">
                  <a16:creationId xmlns:a16="http://schemas.microsoft.com/office/drawing/2014/main" id="{0F75173F-FB62-4795-B55F-36F1E1F4444A}"/>
                </a:ext>
              </a:extLst>
            </p:cNvPr>
            <p:cNvSpPr>
              <a:spLocks/>
            </p:cNvSpPr>
            <p:nvPr/>
          </p:nvSpPr>
          <p:spPr bwMode="auto">
            <a:xfrm>
              <a:off x="9002450" y="1469497"/>
              <a:ext cx="409690" cy="3972945"/>
            </a:xfrm>
            <a:custGeom>
              <a:avLst/>
              <a:gdLst/>
              <a:ahLst/>
              <a:cxnLst>
                <a:cxn ang="0">
                  <a:pos x="0" y="0"/>
                </a:cxn>
                <a:cxn ang="0">
                  <a:pos x="182" y="1179"/>
                </a:cxn>
                <a:cxn ang="0">
                  <a:pos x="0" y="2404"/>
                </a:cxn>
              </a:cxnLst>
              <a:rect l="0" t="0" r="r" b="b"/>
              <a:pathLst>
                <a:path w="182" h="2404">
                  <a:moveTo>
                    <a:pt x="0" y="0"/>
                  </a:moveTo>
                  <a:lnTo>
                    <a:pt x="182" y="1179"/>
                  </a:lnTo>
                  <a:lnTo>
                    <a:pt x="0" y="2404"/>
                  </a:lnTo>
                </a:path>
              </a:pathLst>
            </a:custGeom>
            <a:noFill/>
            <a:ln w="38100" cap="flat" cmpd="sng">
              <a:solidFill>
                <a:schemeClr val="bg1"/>
              </a:solidFill>
              <a:prstDash val="solid"/>
              <a:round/>
              <a:headEnd/>
              <a:tailEnd/>
            </a:ln>
            <a:effectLst/>
          </p:spPr>
          <p:txBody>
            <a:bodyPr wrap="none" lIns="90000" tIns="46800" rIns="90000" bIns="46800" anchor="ctr"/>
            <a:lstStyle/>
            <a:p>
              <a:endParaRPr lang="en-US" dirty="0"/>
            </a:p>
          </p:txBody>
        </p:sp>
      </p:grpSp>
      <p:sp>
        <p:nvSpPr>
          <p:cNvPr id="55" name="AutoShape 94">
            <a:extLst>
              <a:ext uri="{FF2B5EF4-FFF2-40B4-BE49-F238E27FC236}">
                <a16:creationId xmlns:a16="http://schemas.microsoft.com/office/drawing/2014/main" id="{DCB53EAC-9427-4914-8206-6B47B1E850CF}"/>
              </a:ext>
            </a:extLst>
          </p:cNvPr>
          <p:cNvSpPr>
            <a:spLocks/>
          </p:cNvSpPr>
          <p:nvPr/>
        </p:nvSpPr>
        <p:spPr bwMode="auto">
          <a:xfrm>
            <a:off x="5577958" y="5847026"/>
            <a:ext cx="2028253" cy="679774"/>
          </a:xfrm>
          <a:prstGeom prst="accentCallout2">
            <a:avLst>
              <a:gd name="adj1" fmla="val 36366"/>
              <a:gd name="adj2" fmla="val -4602"/>
              <a:gd name="adj3" fmla="val 36366"/>
              <a:gd name="adj4" fmla="val -78142"/>
              <a:gd name="adj5" fmla="val -154246"/>
              <a:gd name="adj6" fmla="val -90462"/>
            </a:avLst>
          </a:prstGeom>
          <a:solidFill>
            <a:schemeClr val="bg1">
              <a:lumMod val="95000"/>
            </a:schemeClr>
          </a:solidFill>
          <a:ln w="3175">
            <a:solidFill>
              <a:schemeClr val="accent2">
                <a:lumMod val="50000"/>
              </a:schemeClr>
            </a:solidFill>
            <a:miter lim="800000"/>
            <a:headEnd/>
            <a:tailEnd/>
          </a:ln>
          <a:effectLst/>
        </p:spPr>
        <p:txBody>
          <a:bodyPr wrap="square" lIns="108000" tIns="108000" rIns="72000" bIns="108000" anchor="t" anchorCtr="0">
            <a:spAutoFit/>
          </a:bodyPr>
          <a:lstStyle/>
          <a:p>
            <a:pPr marL="144000">
              <a:spcBef>
                <a:spcPts val="100"/>
              </a:spcBef>
              <a:spcAft>
                <a:spcPts val="100"/>
              </a:spcAft>
              <a:buClr>
                <a:srgbClr val="000000"/>
              </a:buClr>
              <a:buSzPct val="100000"/>
            </a:pPr>
            <a:r>
              <a:rPr lang="en-US" sz="1000" b="1" dirty="0"/>
              <a:t>Draw the supporting processes by dragging </a:t>
            </a:r>
            <a:br>
              <a:rPr lang="en-US" sz="1000" b="1" dirty="0"/>
            </a:br>
            <a:r>
              <a:rPr lang="en-US" sz="1000" b="1" dirty="0"/>
              <a:t>and deleting the lines</a:t>
            </a:r>
          </a:p>
        </p:txBody>
      </p:sp>
      <p:sp>
        <p:nvSpPr>
          <p:cNvPr id="4" name="Footer Placeholder 3">
            <a:extLst>
              <a:ext uri="{FF2B5EF4-FFF2-40B4-BE49-F238E27FC236}">
                <a16:creationId xmlns:a16="http://schemas.microsoft.com/office/drawing/2014/main" id="{B3256EDF-DD6C-4AE7-A0D1-A27CABAC3393}"/>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CC637FC5-90EB-4FFE-BDC2-8F3DEAB83B22}"/>
              </a:ext>
            </a:extLst>
          </p:cNvPr>
          <p:cNvSpPr>
            <a:spLocks noGrp="1"/>
          </p:cNvSpPr>
          <p:nvPr>
            <p:ph type="sldNum" sz="quarter" idx="10"/>
          </p:nvPr>
        </p:nvSpPr>
        <p:spPr/>
        <p:txBody>
          <a:bodyPr/>
          <a:lstStyle/>
          <a:p>
            <a:fld id="{1F90F471-3972-4120-B8B3-0237DE626C35}" type="slidenum">
              <a:rPr lang="en-US" smtClean="0"/>
              <a:pPr/>
              <a:t>314</a:t>
            </a:fld>
            <a:endParaRPr lang="en-US" dirty="0"/>
          </a:p>
        </p:txBody>
      </p:sp>
    </p:spTree>
    <p:extLst>
      <p:ext uri="{BB962C8B-B14F-4D97-AF65-F5344CB8AC3E}">
        <p14:creationId xmlns:p14="http://schemas.microsoft.com/office/powerpoint/2010/main" val="730803198"/>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GB" dirty="0"/>
              <a:t>Consequences/Conclusion 1</a:t>
            </a:r>
            <a:endParaRPr lang="de-DE" dirty="0"/>
          </a:p>
        </p:txBody>
      </p:sp>
      <p:grpSp>
        <p:nvGrpSpPr>
          <p:cNvPr id="3" name="Group 2" descr="Arrows">
            <a:extLst>
              <a:ext uri="{FF2B5EF4-FFF2-40B4-BE49-F238E27FC236}">
                <a16:creationId xmlns:a16="http://schemas.microsoft.com/office/drawing/2014/main" id="{A25AFC19-1FC3-47AF-BC4F-A7177444EA69}"/>
              </a:ext>
            </a:extLst>
          </p:cNvPr>
          <p:cNvGrpSpPr/>
          <p:nvPr/>
        </p:nvGrpSpPr>
        <p:grpSpPr>
          <a:xfrm>
            <a:off x="2819637" y="1628800"/>
            <a:ext cx="1782775" cy="4264363"/>
            <a:chOff x="2819637" y="1628800"/>
            <a:chExt cx="1782775" cy="4264363"/>
          </a:xfrm>
        </p:grpSpPr>
        <p:sp>
          <p:nvSpPr>
            <p:cNvPr id="10" name="AutoShape 4">
              <a:extLst>
                <a:ext uri="{FF2B5EF4-FFF2-40B4-BE49-F238E27FC236}">
                  <a16:creationId xmlns:a16="http://schemas.microsoft.com/office/drawing/2014/main" id="{F3A8B271-2FFF-4783-BED8-C7C8EB5B2BEA}"/>
                </a:ext>
              </a:extLst>
            </p:cNvPr>
            <p:cNvSpPr>
              <a:spLocks noChangeArrowheads="1"/>
            </p:cNvSpPr>
            <p:nvPr/>
          </p:nvSpPr>
          <p:spPr bwMode="auto">
            <a:xfrm rot="16200000" flipH="1">
              <a:off x="2747372" y="4038124"/>
              <a:ext cx="1927304" cy="1782774"/>
            </a:xfrm>
            <a:prstGeom prst="homePlate">
              <a:avLst>
                <a:gd name="adj" fmla="val 33333"/>
              </a:avLst>
            </a:prstGeom>
            <a:solidFill>
              <a:schemeClr val="accent3"/>
            </a:solidFill>
            <a:ln w="6350">
              <a:noFill/>
              <a:miter lim="800000"/>
              <a:headEnd/>
              <a:tailEnd/>
            </a:ln>
            <a:effectLst/>
          </p:spPr>
          <p:txBody>
            <a:bodyPr vert="eaVert" wrap="none" lIns="45720" rIns="45720" anchor="ctr"/>
            <a:lstStyle/>
            <a:p>
              <a:pPr algn="ctr" eaLnBrk="0" hangingPunct="0">
                <a:lnSpc>
                  <a:spcPct val="85000"/>
                </a:lnSpc>
                <a:spcBef>
                  <a:spcPts val="100"/>
                </a:spcBef>
                <a:spcAft>
                  <a:spcPts val="300"/>
                </a:spcAft>
                <a:buClr>
                  <a:schemeClr val="bg1"/>
                </a:buClr>
              </a:pPr>
              <a:endParaRPr lang="en-GB" sz="1600" b="1" dirty="0">
                <a:solidFill>
                  <a:schemeClr val="bg1"/>
                </a:solidFill>
                <a:latin typeface="+mj-lt"/>
              </a:endParaRPr>
            </a:p>
            <a:p>
              <a:pPr algn="ctr" eaLnBrk="0" hangingPunct="0">
                <a:lnSpc>
                  <a:spcPct val="85000"/>
                </a:lnSpc>
                <a:spcBef>
                  <a:spcPts val="100"/>
                </a:spcBef>
                <a:spcAft>
                  <a:spcPts val="300"/>
                </a:spcAft>
                <a:buClr>
                  <a:schemeClr val="bg1"/>
                </a:buClr>
              </a:pPr>
              <a:endParaRPr lang="en-GB" sz="1600" b="1" dirty="0">
                <a:solidFill>
                  <a:schemeClr val="bg1"/>
                </a:solidFill>
                <a:latin typeface="+mj-lt"/>
              </a:endParaRPr>
            </a:p>
            <a:p>
              <a:pPr algn="ctr" eaLnBrk="0" hangingPunct="0">
                <a:lnSpc>
                  <a:spcPct val="85000"/>
                </a:lnSpc>
                <a:spcBef>
                  <a:spcPts val="100"/>
                </a:spcBef>
                <a:spcAft>
                  <a:spcPts val="300"/>
                </a:spcAft>
                <a:buClr>
                  <a:schemeClr val="bg1"/>
                </a:buClr>
              </a:pPr>
              <a:endParaRPr lang="en-GB" sz="1600" b="1" dirty="0">
                <a:solidFill>
                  <a:schemeClr val="bg1"/>
                </a:solidFill>
                <a:latin typeface="+mj-lt"/>
              </a:endParaRPr>
            </a:p>
            <a:p>
              <a:pPr algn="ctr" eaLnBrk="0" hangingPunct="0">
                <a:lnSpc>
                  <a:spcPct val="85000"/>
                </a:lnSpc>
                <a:spcBef>
                  <a:spcPts val="100"/>
                </a:spcBef>
                <a:spcAft>
                  <a:spcPts val="300"/>
                </a:spcAft>
                <a:buClr>
                  <a:schemeClr val="bg1"/>
                </a:buClr>
              </a:pPr>
              <a:r>
                <a:rPr lang="en-GB" sz="1600" b="1" dirty="0">
                  <a:solidFill>
                    <a:schemeClr val="bg1"/>
                  </a:solidFill>
                  <a:latin typeface="+mj-lt"/>
                </a:rPr>
                <a:t>Text</a:t>
              </a:r>
            </a:p>
          </p:txBody>
        </p:sp>
        <p:sp>
          <p:nvSpPr>
            <p:cNvPr id="12" name="AutoShape 5">
              <a:extLst>
                <a:ext uri="{FF2B5EF4-FFF2-40B4-BE49-F238E27FC236}">
                  <a16:creationId xmlns:a16="http://schemas.microsoft.com/office/drawing/2014/main" id="{DFAB909D-E33B-45D6-A2B9-ECE8CF4E66B1}"/>
                </a:ext>
              </a:extLst>
            </p:cNvPr>
            <p:cNvSpPr>
              <a:spLocks noChangeArrowheads="1"/>
            </p:cNvSpPr>
            <p:nvPr/>
          </p:nvSpPr>
          <p:spPr bwMode="auto">
            <a:xfrm rot="16200000" flipH="1">
              <a:off x="2818083" y="2876847"/>
              <a:ext cx="1785883" cy="1782774"/>
            </a:xfrm>
            <a:prstGeom prst="homePlate">
              <a:avLst>
                <a:gd name="adj" fmla="val 33333"/>
              </a:avLst>
            </a:prstGeom>
            <a:solidFill>
              <a:schemeClr val="accent2"/>
            </a:solidFill>
            <a:ln w="6350">
              <a:noFill/>
              <a:miter lim="800000"/>
              <a:headEnd/>
              <a:tailEnd/>
            </a:ln>
            <a:effectLst/>
          </p:spPr>
          <p:txBody>
            <a:bodyPr vert="eaVert" wrap="none" lIns="45720" rIns="45720" anchor="ctr"/>
            <a:lstStyle/>
            <a:p>
              <a:pPr algn="ctr" eaLnBrk="0" hangingPunct="0">
                <a:lnSpc>
                  <a:spcPct val="85000"/>
                </a:lnSpc>
                <a:spcBef>
                  <a:spcPts val="100"/>
                </a:spcBef>
                <a:spcAft>
                  <a:spcPts val="300"/>
                </a:spcAft>
                <a:buClr>
                  <a:schemeClr val="bg1"/>
                </a:buClr>
              </a:pPr>
              <a:endParaRPr lang="en-GB" sz="1600" b="1" dirty="0">
                <a:solidFill>
                  <a:schemeClr val="bg1"/>
                </a:solidFill>
                <a:latin typeface="+mj-lt"/>
              </a:endParaRPr>
            </a:p>
            <a:p>
              <a:pPr algn="ctr" eaLnBrk="0" hangingPunct="0">
                <a:lnSpc>
                  <a:spcPct val="85000"/>
                </a:lnSpc>
                <a:spcBef>
                  <a:spcPts val="100"/>
                </a:spcBef>
                <a:spcAft>
                  <a:spcPts val="300"/>
                </a:spcAft>
                <a:buClr>
                  <a:schemeClr val="bg1"/>
                </a:buClr>
              </a:pPr>
              <a:endParaRPr lang="en-GB" sz="1600" b="1" dirty="0">
                <a:solidFill>
                  <a:schemeClr val="bg1"/>
                </a:solidFill>
                <a:latin typeface="+mj-lt"/>
              </a:endParaRPr>
            </a:p>
            <a:p>
              <a:pPr algn="ctr" eaLnBrk="0" hangingPunct="0">
                <a:lnSpc>
                  <a:spcPct val="85000"/>
                </a:lnSpc>
                <a:spcBef>
                  <a:spcPts val="100"/>
                </a:spcBef>
                <a:spcAft>
                  <a:spcPts val="300"/>
                </a:spcAft>
                <a:buClr>
                  <a:schemeClr val="bg1"/>
                </a:buClr>
              </a:pPr>
              <a:endParaRPr lang="en-GB" sz="1600" b="1" dirty="0">
                <a:solidFill>
                  <a:schemeClr val="bg1"/>
                </a:solidFill>
                <a:latin typeface="+mj-lt"/>
              </a:endParaRPr>
            </a:p>
            <a:p>
              <a:pPr algn="ctr" eaLnBrk="0" hangingPunct="0">
                <a:lnSpc>
                  <a:spcPct val="85000"/>
                </a:lnSpc>
                <a:spcBef>
                  <a:spcPts val="100"/>
                </a:spcBef>
                <a:spcAft>
                  <a:spcPts val="300"/>
                </a:spcAft>
                <a:buClr>
                  <a:schemeClr val="bg1"/>
                </a:buClr>
              </a:pPr>
              <a:r>
                <a:rPr lang="en-GB" sz="1600" b="1" dirty="0">
                  <a:solidFill>
                    <a:schemeClr val="bg1"/>
                  </a:solidFill>
                  <a:latin typeface="+mj-lt"/>
                </a:rPr>
                <a:t>Text</a:t>
              </a:r>
            </a:p>
          </p:txBody>
        </p:sp>
        <p:sp>
          <p:nvSpPr>
            <p:cNvPr id="20" name="AutoShape 9">
              <a:extLst>
                <a:ext uri="{FF2B5EF4-FFF2-40B4-BE49-F238E27FC236}">
                  <a16:creationId xmlns:a16="http://schemas.microsoft.com/office/drawing/2014/main" id="{8DB8C2D4-7DDA-4A6B-A24D-32450F62E8E1}"/>
                </a:ext>
              </a:extLst>
            </p:cNvPr>
            <p:cNvSpPr>
              <a:spLocks noChangeArrowheads="1"/>
            </p:cNvSpPr>
            <p:nvPr/>
          </p:nvSpPr>
          <p:spPr bwMode="auto">
            <a:xfrm rot="16200000" flipH="1">
              <a:off x="2787059" y="1661378"/>
              <a:ext cx="1847930" cy="1782774"/>
            </a:xfrm>
            <a:prstGeom prst="homePlate">
              <a:avLst>
                <a:gd name="adj" fmla="val 33521"/>
              </a:avLst>
            </a:prstGeom>
            <a:solidFill>
              <a:schemeClr val="accent1"/>
            </a:solidFill>
            <a:ln w="6350">
              <a:noFill/>
              <a:miter lim="800000"/>
              <a:headEnd/>
              <a:tailEnd/>
            </a:ln>
            <a:effectLst/>
          </p:spPr>
          <p:txBody>
            <a:bodyPr vert="eaVert" wrap="none" lIns="45720" rIns="45720" anchor="ctr"/>
            <a:lstStyle/>
            <a:p>
              <a:pPr algn="ctr" eaLnBrk="0" hangingPunct="0">
                <a:lnSpc>
                  <a:spcPct val="85000"/>
                </a:lnSpc>
                <a:spcBef>
                  <a:spcPts val="100"/>
                </a:spcBef>
                <a:spcAft>
                  <a:spcPts val="300"/>
                </a:spcAft>
                <a:buClr>
                  <a:schemeClr val="bg1"/>
                </a:buClr>
              </a:pPr>
              <a:r>
                <a:rPr lang="en-GB" sz="1600" b="1" dirty="0">
                  <a:solidFill>
                    <a:schemeClr val="bg1"/>
                  </a:solidFill>
                  <a:latin typeface="+mj-lt"/>
                </a:rPr>
                <a:t>Text</a:t>
              </a:r>
            </a:p>
          </p:txBody>
        </p:sp>
      </p:grpSp>
      <p:grpSp>
        <p:nvGrpSpPr>
          <p:cNvPr id="6" name="Group 5" descr="Rectangles">
            <a:extLst>
              <a:ext uri="{FF2B5EF4-FFF2-40B4-BE49-F238E27FC236}">
                <a16:creationId xmlns:a16="http://schemas.microsoft.com/office/drawing/2014/main" id="{6BA21FD9-5904-4784-9E17-F88A66C7655D}"/>
              </a:ext>
            </a:extLst>
          </p:cNvPr>
          <p:cNvGrpSpPr/>
          <p:nvPr/>
        </p:nvGrpSpPr>
        <p:grpSpPr>
          <a:xfrm>
            <a:off x="4707872" y="1628800"/>
            <a:ext cx="4700497" cy="3684676"/>
            <a:chOff x="4707872" y="1628800"/>
            <a:chExt cx="4700497" cy="3684676"/>
          </a:xfrm>
        </p:grpSpPr>
        <p:sp>
          <p:nvSpPr>
            <p:cNvPr id="14" name="Rectangle 6">
              <a:extLst>
                <a:ext uri="{FF2B5EF4-FFF2-40B4-BE49-F238E27FC236}">
                  <a16:creationId xmlns:a16="http://schemas.microsoft.com/office/drawing/2014/main" id="{35784D08-2156-47BA-B87A-B92899894ACE}"/>
                </a:ext>
              </a:extLst>
            </p:cNvPr>
            <p:cNvSpPr>
              <a:spLocks noChangeArrowheads="1"/>
            </p:cNvSpPr>
            <p:nvPr/>
          </p:nvSpPr>
          <p:spPr bwMode="auto">
            <a:xfrm>
              <a:off x="4707872" y="1628800"/>
              <a:ext cx="4700497" cy="1236403"/>
            </a:xfrm>
            <a:prstGeom prst="rect">
              <a:avLst/>
            </a:prstGeom>
            <a:solidFill>
              <a:schemeClr val="accent1"/>
            </a:solidFill>
            <a:ln w="6350">
              <a:noFill/>
              <a:miter lim="800000"/>
              <a:headEnd/>
              <a:tailEnd/>
            </a:ln>
          </p:spPr>
          <p:txBody>
            <a:bodyPr lIns="252000" tIns="144000" rIns="72000" bIns="72000"/>
            <a:lstStyle/>
            <a:p>
              <a:pPr eaLnBrk="0" hangingPunct="0">
                <a:lnSpc>
                  <a:spcPct val="85000"/>
                </a:lnSpc>
                <a:spcBef>
                  <a:spcPts val="100"/>
                </a:spcBef>
                <a:spcAft>
                  <a:spcPts val="300"/>
                </a:spcAft>
              </a:pPr>
              <a:r>
                <a:rPr lang="en-GB" sz="1400" b="1" dirty="0">
                  <a:solidFill>
                    <a:schemeClr val="bg1"/>
                  </a:solidFill>
                  <a:latin typeface="+mj-lt"/>
                </a:rPr>
                <a:t>Text</a:t>
              </a:r>
            </a:p>
            <a:p>
              <a:pPr marL="174625" indent="-174625" eaLnBrk="0" hangingPunct="0">
                <a:lnSpc>
                  <a:spcPct val="85000"/>
                </a:lnSpc>
                <a:spcBef>
                  <a:spcPts val="100"/>
                </a:spcBef>
                <a:spcAft>
                  <a:spcPts val="100"/>
                </a:spcAft>
                <a:buFontTx/>
                <a:buChar char="•"/>
              </a:pPr>
              <a:r>
                <a:rPr lang="en-GB" sz="1400" dirty="0">
                  <a:solidFill>
                    <a:schemeClr val="bg1"/>
                  </a:solidFill>
                </a:rPr>
                <a:t>Text</a:t>
              </a:r>
            </a:p>
            <a:p>
              <a:pPr marL="174625" indent="-174625" eaLnBrk="0" hangingPunct="0">
                <a:lnSpc>
                  <a:spcPct val="85000"/>
                </a:lnSpc>
                <a:spcBef>
                  <a:spcPts val="100"/>
                </a:spcBef>
                <a:spcAft>
                  <a:spcPts val="100"/>
                </a:spcAft>
                <a:buFontTx/>
                <a:buChar char="•"/>
              </a:pPr>
              <a:r>
                <a:rPr lang="en-GB" sz="1400" dirty="0">
                  <a:solidFill>
                    <a:schemeClr val="bg1"/>
                  </a:solidFill>
                </a:rPr>
                <a:t>Text</a:t>
              </a:r>
            </a:p>
            <a:p>
              <a:pPr marL="174625" indent="-174625" eaLnBrk="0" hangingPunct="0">
                <a:lnSpc>
                  <a:spcPct val="85000"/>
                </a:lnSpc>
                <a:spcBef>
                  <a:spcPts val="100"/>
                </a:spcBef>
                <a:spcAft>
                  <a:spcPts val="100"/>
                </a:spcAft>
                <a:buFontTx/>
                <a:buChar char="•"/>
              </a:pPr>
              <a:r>
                <a:rPr lang="en-GB" sz="1400" dirty="0">
                  <a:solidFill>
                    <a:schemeClr val="bg1"/>
                  </a:solidFill>
                </a:rPr>
                <a:t>Text</a:t>
              </a:r>
            </a:p>
          </p:txBody>
        </p:sp>
        <p:sp>
          <p:nvSpPr>
            <p:cNvPr id="16" name="Rectangle 7">
              <a:extLst>
                <a:ext uri="{FF2B5EF4-FFF2-40B4-BE49-F238E27FC236}">
                  <a16:creationId xmlns:a16="http://schemas.microsoft.com/office/drawing/2014/main" id="{46134D95-A5F5-42E9-BE08-E3D58598103E}"/>
                </a:ext>
              </a:extLst>
            </p:cNvPr>
            <p:cNvSpPr>
              <a:spLocks noChangeArrowheads="1"/>
            </p:cNvSpPr>
            <p:nvPr/>
          </p:nvSpPr>
          <p:spPr bwMode="auto">
            <a:xfrm>
              <a:off x="4707872" y="2865204"/>
              <a:ext cx="4700497" cy="1236403"/>
            </a:xfrm>
            <a:prstGeom prst="rect">
              <a:avLst/>
            </a:prstGeom>
            <a:solidFill>
              <a:schemeClr val="accent2"/>
            </a:solidFill>
            <a:ln w="6350">
              <a:noFill/>
              <a:miter lim="800000"/>
              <a:headEnd/>
              <a:tailEnd/>
            </a:ln>
          </p:spPr>
          <p:txBody>
            <a:bodyPr lIns="252000" tIns="144000" rIns="72000" bIns="72000"/>
            <a:lstStyle/>
            <a:p>
              <a:pPr eaLnBrk="0" hangingPunct="0">
                <a:lnSpc>
                  <a:spcPct val="85000"/>
                </a:lnSpc>
                <a:spcBef>
                  <a:spcPts val="100"/>
                </a:spcBef>
                <a:spcAft>
                  <a:spcPts val="300"/>
                </a:spcAft>
              </a:pPr>
              <a:r>
                <a:rPr lang="en-GB" sz="1400" b="1" dirty="0">
                  <a:solidFill>
                    <a:schemeClr val="bg1"/>
                  </a:solidFill>
                  <a:latin typeface="+mj-lt"/>
                </a:rPr>
                <a:t>Text</a:t>
              </a:r>
            </a:p>
            <a:p>
              <a:pPr marL="174625" indent="-174625" eaLnBrk="0" hangingPunct="0">
                <a:lnSpc>
                  <a:spcPct val="85000"/>
                </a:lnSpc>
                <a:spcBef>
                  <a:spcPts val="100"/>
                </a:spcBef>
                <a:spcAft>
                  <a:spcPts val="100"/>
                </a:spcAft>
                <a:buFontTx/>
                <a:buChar char="•"/>
              </a:pPr>
              <a:r>
                <a:rPr lang="en-GB" sz="1400" dirty="0">
                  <a:solidFill>
                    <a:schemeClr val="bg1"/>
                  </a:solidFill>
                </a:rPr>
                <a:t>Text</a:t>
              </a:r>
            </a:p>
            <a:p>
              <a:pPr marL="174625" indent="-174625" eaLnBrk="0" hangingPunct="0">
                <a:lnSpc>
                  <a:spcPct val="85000"/>
                </a:lnSpc>
                <a:spcBef>
                  <a:spcPts val="100"/>
                </a:spcBef>
                <a:spcAft>
                  <a:spcPts val="100"/>
                </a:spcAft>
                <a:buFontTx/>
                <a:buChar char="•"/>
              </a:pPr>
              <a:r>
                <a:rPr lang="en-GB" sz="1400" dirty="0">
                  <a:solidFill>
                    <a:schemeClr val="bg1"/>
                  </a:solidFill>
                </a:rPr>
                <a:t>Text</a:t>
              </a:r>
            </a:p>
            <a:p>
              <a:pPr marL="174625" indent="-174625" eaLnBrk="0" hangingPunct="0">
                <a:lnSpc>
                  <a:spcPct val="85000"/>
                </a:lnSpc>
                <a:spcBef>
                  <a:spcPts val="100"/>
                </a:spcBef>
                <a:spcAft>
                  <a:spcPts val="100"/>
                </a:spcAft>
                <a:buFontTx/>
                <a:buChar char="•"/>
              </a:pPr>
              <a:r>
                <a:rPr lang="en-GB" sz="1400" dirty="0">
                  <a:solidFill>
                    <a:schemeClr val="bg1"/>
                  </a:solidFill>
                </a:rPr>
                <a:t>Text</a:t>
              </a:r>
            </a:p>
          </p:txBody>
        </p:sp>
        <p:sp>
          <p:nvSpPr>
            <p:cNvPr id="18" name="Rectangle 8">
              <a:extLst>
                <a:ext uri="{FF2B5EF4-FFF2-40B4-BE49-F238E27FC236}">
                  <a16:creationId xmlns:a16="http://schemas.microsoft.com/office/drawing/2014/main" id="{CE5A4277-367B-4835-BABB-ED3959AA78A0}"/>
                </a:ext>
              </a:extLst>
            </p:cNvPr>
            <p:cNvSpPr>
              <a:spLocks noChangeArrowheads="1"/>
            </p:cNvSpPr>
            <p:nvPr/>
          </p:nvSpPr>
          <p:spPr bwMode="auto">
            <a:xfrm>
              <a:off x="4707872" y="4077073"/>
              <a:ext cx="4700497" cy="1236403"/>
            </a:xfrm>
            <a:prstGeom prst="rect">
              <a:avLst/>
            </a:prstGeom>
            <a:solidFill>
              <a:schemeClr val="accent3"/>
            </a:solidFill>
            <a:ln w="6350">
              <a:noFill/>
              <a:miter lim="800000"/>
              <a:headEnd/>
              <a:tailEnd/>
            </a:ln>
          </p:spPr>
          <p:txBody>
            <a:bodyPr lIns="252000" tIns="144000" rIns="72000" bIns="72000"/>
            <a:lstStyle/>
            <a:p>
              <a:pPr eaLnBrk="0" hangingPunct="0">
                <a:lnSpc>
                  <a:spcPct val="85000"/>
                </a:lnSpc>
                <a:spcBef>
                  <a:spcPts val="100"/>
                </a:spcBef>
                <a:spcAft>
                  <a:spcPts val="300"/>
                </a:spcAft>
              </a:pPr>
              <a:r>
                <a:rPr lang="en-GB" sz="1400" b="1" dirty="0">
                  <a:solidFill>
                    <a:schemeClr val="bg1"/>
                  </a:solidFill>
                  <a:latin typeface="+mj-lt"/>
                </a:rPr>
                <a:t>Text</a:t>
              </a:r>
            </a:p>
            <a:p>
              <a:pPr marL="174625" indent="-174625" eaLnBrk="0" hangingPunct="0">
                <a:lnSpc>
                  <a:spcPct val="85000"/>
                </a:lnSpc>
                <a:spcBef>
                  <a:spcPts val="100"/>
                </a:spcBef>
                <a:spcAft>
                  <a:spcPts val="100"/>
                </a:spcAft>
                <a:buFontTx/>
                <a:buChar char="•"/>
              </a:pPr>
              <a:r>
                <a:rPr lang="en-GB" sz="1400" dirty="0">
                  <a:solidFill>
                    <a:schemeClr val="bg1"/>
                  </a:solidFill>
                </a:rPr>
                <a:t>Text</a:t>
              </a:r>
            </a:p>
            <a:p>
              <a:pPr marL="174625" indent="-174625" eaLnBrk="0" hangingPunct="0">
                <a:lnSpc>
                  <a:spcPct val="85000"/>
                </a:lnSpc>
                <a:spcBef>
                  <a:spcPts val="100"/>
                </a:spcBef>
                <a:spcAft>
                  <a:spcPts val="100"/>
                </a:spcAft>
                <a:buFontTx/>
                <a:buChar char="•"/>
              </a:pPr>
              <a:r>
                <a:rPr lang="en-GB" sz="1400" dirty="0">
                  <a:solidFill>
                    <a:schemeClr val="bg1"/>
                  </a:solidFill>
                </a:rPr>
                <a:t>Text</a:t>
              </a:r>
            </a:p>
            <a:p>
              <a:pPr marL="174625" indent="-174625" eaLnBrk="0" hangingPunct="0">
                <a:lnSpc>
                  <a:spcPct val="85000"/>
                </a:lnSpc>
                <a:spcBef>
                  <a:spcPts val="100"/>
                </a:spcBef>
                <a:spcAft>
                  <a:spcPts val="100"/>
                </a:spcAft>
                <a:buFontTx/>
                <a:buChar char="•"/>
              </a:pPr>
              <a:r>
                <a:rPr lang="en-GB" sz="1400" dirty="0">
                  <a:solidFill>
                    <a:schemeClr val="bg1"/>
                  </a:solidFill>
                </a:rPr>
                <a:t>Text</a:t>
              </a:r>
            </a:p>
          </p:txBody>
        </p:sp>
      </p:grpSp>
      <p:sp>
        <p:nvSpPr>
          <p:cNvPr id="4" name="Footer Placeholder 3">
            <a:extLst>
              <a:ext uri="{FF2B5EF4-FFF2-40B4-BE49-F238E27FC236}">
                <a16:creationId xmlns:a16="http://schemas.microsoft.com/office/drawing/2014/main" id="{958239CA-B0E9-4A2D-8E2A-E767A716DB09}"/>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96F6A5F8-56C1-4ECE-A0DB-932A1328AC76}"/>
              </a:ext>
            </a:extLst>
          </p:cNvPr>
          <p:cNvSpPr>
            <a:spLocks noGrp="1"/>
          </p:cNvSpPr>
          <p:nvPr>
            <p:ph type="sldNum" sz="quarter" idx="10"/>
          </p:nvPr>
        </p:nvSpPr>
        <p:spPr/>
        <p:txBody>
          <a:bodyPr/>
          <a:lstStyle/>
          <a:p>
            <a:fld id="{1F90F471-3972-4120-B8B3-0237DE626C35}" type="slidenum">
              <a:rPr lang="en-US" smtClean="0"/>
              <a:pPr/>
              <a:t>315</a:t>
            </a:fld>
            <a:endParaRPr lang="en-US" dirty="0"/>
          </a:p>
        </p:txBody>
      </p:sp>
    </p:spTree>
    <p:extLst>
      <p:ext uri="{BB962C8B-B14F-4D97-AF65-F5344CB8AC3E}">
        <p14:creationId xmlns:p14="http://schemas.microsoft.com/office/powerpoint/2010/main" val="3330835509"/>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GB" dirty="0"/>
              <a:t>Consequences/Conclusion 2</a:t>
            </a:r>
            <a:endParaRPr lang="de-DE" dirty="0"/>
          </a:p>
        </p:txBody>
      </p:sp>
      <p:sp>
        <p:nvSpPr>
          <p:cNvPr id="10" name="Rectangle 4">
            <a:extLst>
              <a:ext uri="{FF2B5EF4-FFF2-40B4-BE49-F238E27FC236}">
                <a16:creationId xmlns:a16="http://schemas.microsoft.com/office/drawing/2014/main" id="{56CAE712-662E-49A0-8C78-FA7CE57BC46D}"/>
              </a:ext>
            </a:extLst>
          </p:cNvPr>
          <p:cNvSpPr>
            <a:spLocks noChangeArrowheads="1"/>
          </p:cNvSpPr>
          <p:nvPr/>
        </p:nvSpPr>
        <p:spPr bwMode="auto">
          <a:xfrm>
            <a:off x="4306584" y="1628800"/>
            <a:ext cx="6056616" cy="1108760"/>
          </a:xfrm>
          <a:prstGeom prst="rect">
            <a:avLst/>
          </a:prstGeom>
          <a:solidFill>
            <a:schemeClr val="tx2">
              <a:lumMod val="20000"/>
              <a:lumOff val="80000"/>
            </a:schemeClr>
          </a:solidFill>
          <a:ln w="6350">
            <a:noFill/>
            <a:miter lim="800000"/>
            <a:headEnd/>
            <a:tailEnd/>
          </a:ln>
        </p:spPr>
        <p:txBody>
          <a:bodyPr lIns="540000" tIns="144000" rIns="72000" bIns="72000"/>
          <a:lstStyle/>
          <a:p>
            <a:pPr eaLnBrk="0" hangingPunct="0">
              <a:lnSpc>
                <a:spcPct val="85000"/>
              </a:lnSpc>
              <a:spcBef>
                <a:spcPts val="100"/>
              </a:spcBef>
              <a:spcAft>
                <a:spcPts val="300"/>
              </a:spcAft>
            </a:pPr>
            <a:r>
              <a:rPr lang="en-GB" sz="1400" b="1" dirty="0">
                <a:latin typeface="+mj-lt"/>
              </a:rPr>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p:txBody>
      </p:sp>
      <p:sp>
        <p:nvSpPr>
          <p:cNvPr id="12" name="AutoShape 5">
            <a:extLst>
              <a:ext uri="{FF2B5EF4-FFF2-40B4-BE49-F238E27FC236}">
                <a16:creationId xmlns:a16="http://schemas.microsoft.com/office/drawing/2014/main" id="{D43DAFFF-2362-42B1-AE7E-21FA789593B3}"/>
              </a:ext>
            </a:extLst>
          </p:cNvPr>
          <p:cNvSpPr>
            <a:spLocks noChangeArrowheads="1"/>
          </p:cNvSpPr>
          <p:nvPr/>
        </p:nvSpPr>
        <p:spPr bwMode="auto">
          <a:xfrm>
            <a:off x="1811338" y="1628800"/>
            <a:ext cx="2788897" cy="1108760"/>
          </a:xfrm>
          <a:prstGeom prst="homePlate">
            <a:avLst>
              <a:gd name="adj" fmla="val 27116"/>
            </a:avLst>
          </a:prstGeom>
          <a:solidFill>
            <a:schemeClr val="accent1"/>
          </a:solidFill>
          <a:ln w="6350">
            <a:noFill/>
            <a:miter lim="800000"/>
            <a:headEnd/>
            <a:tailEnd/>
          </a:ln>
        </p:spPr>
        <p:txBody>
          <a:bodyPr lIns="72000" tIns="144000" rIns="72000" bIns="72000" anchor="ctr" anchorCtr="0"/>
          <a:lstStyle/>
          <a:p>
            <a:pPr algn="ctr" eaLnBrk="0" hangingPunct="0">
              <a:lnSpc>
                <a:spcPct val="85000"/>
              </a:lnSpc>
              <a:spcBef>
                <a:spcPts val="100"/>
              </a:spcBef>
              <a:spcAft>
                <a:spcPts val="300"/>
              </a:spcAft>
            </a:pPr>
            <a:r>
              <a:rPr lang="en-GB" b="1" dirty="0">
                <a:solidFill>
                  <a:schemeClr val="bg1"/>
                </a:solidFill>
                <a:latin typeface="+mj-lt"/>
              </a:rPr>
              <a:t>Text</a:t>
            </a:r>
          </a:p>
        </p:txBody>
      </p:sp>
      <p:sp>
        <p:nvSpPr>
          <p:cNvPr id="14" name="Rectangle 4">
            <a:extLst>
              <a:ext uri="{FF2B5EF4-FFF2-40B4-BE49-F238E27FC236}">
                <a16:creationId xmlns:a16="http://schemas.microsoft.com/office/drawing/2014/main" id="{CB9F6028-0A4C-42FA-8C9A-C781F2592F0D}"/>
              </a:ext>
            </a:extLst>
          </p:cNvPr>
          <p:cNvSpPr>
            <a:spLocks noChangeArrowheads="1"/>
          </p:cNvSpPr>
          <p:nvPr/>
        </p:nvSpPr>
        <p:spPr bwMode="auto">
          <a:xfrm>
            <a:off x="4306584" y="2898840"/>
            <a:ext cx="6056616" cy="1108760"/>
          </a:xfrm>
          <a:prstGeom prst="rect">
            <a:avLst/>
          </a:prstGeom>
          <a:solidFill>
            <a:schemeClr val="tx2">
              <a:lumMod val="20000"/>
              <a:lumOff val="80000"/>
            </a:schemeClr>
          </a:solidFill>
          <a:ln w="6350">
            <a:noFill/>
            <a:miter lim="800000"/>
            <a:headEnd/>
            <a:tailEnd/>
          </a:ln>
        </p:spPr>
        <p:txBody>
          <a:bodyPr lIns="540000" tIns="144000" rIns="72000" bIns="72000"/>
          <a:lstStyle/>
          <a:p>
            <a:pPr eaLnBrk="0" hangingPunct="0">
              <a:lnSpc>
                <a:spcPct val="85000"/>
              </a:lnSpc>
              <a:spcBef>
                <a:spcPts val="100"/>
              </a:spcBef>
              <a:spcAft>
                <a:spcPts val="300"/>
              </a:spcAft>
            </a:pPr>
            <a:r>
              <a:rPr lang="en-GB" sz="1400" b="1" dirty="0">
                <a:latin typeface="+mj-lt"/>
              </a:rPr>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p:txBody>
      </p:sp>
      <p:sp>
        <p:nvSpPr>
          <p:cNvPr id="16" name="AutoShape 5">
            <a:extLst>
              <a:ext uri="{FF2B5EF4-FFF2-40B4-BE49-F238E27FC236}">
                <a16:creationId xmlns:a16="http://schemas.microsoft.com/office/drawing/2014/main" id="{C188B513-D155-4E24-88A0-378AB5C385EB}"/>
              </a:ext>
            </a:extLst>
          </p:cNvPr>
          <p:cNvSpPr>
            <a:spLocks noChangeArrowheads="1"/>
          </p:cNvSpPr>
          <p:nvPr/>
        </p:nvSpPr>
        <p:spPr bwMode="auto">
          <a:xfrm>
            <a:off x="1811338" y="2898840"/>
            <a:ext cx="2788897" cy="1108760"/>
          </a:xfrm>
          <a:prstGeom prst="homePlate">
            <a:avLst>
              <a:gd name="adj" fmla="val 27116"/>
            </a:avLst>
          </a:prstGeom>
          <a:solidFill>
            <a:schemeClr val="accent2"/>
          </a:solidFill>
          <a:ln w="6350">
            <a:noFill/>
            <a:miter lim="800000"/>
            <a:headEnd/>
            <a:tailEnd/>
          </a:ln>
        </p:spPr>
        <p:txBody>
          <a:bodyPr lIns="72000" tIns="144000" rIns="72000" bIns="72000" anchor="ctr" anchorCtr="0"/>
          <a:lstStyle/>
          <a:p>
            <a:pPr algn="ctr" eaLnBrk="0" hangingPunct="0">
              <a:lnSpc>
                <a:spcPct val="85000"/>
              </a:lnSpc>
              <a:spcBef>
                <a:spcPts val="100"/>
              </a:spcBef>
              <a:spcAft>
                <a:spcPts val="300"/>
              </a:spcAft>
            </a:pPr>
            <a:r>
              <a:rPr lang="en-GB" b="1" dirty="0">
                <a:solidFill>
                  <a:schemeClr val="bg1"/>
                </a:solidFill>
                <a:latin typeface="+mj-lt"/>
              </a:rPr>
              <a:t>Text</a:t>
            </a:r>
          </a:p>
        </p:txBody>
      </p:sp>
      <p:sp>
        <p:nvSpPr>
          <p:cNvPr id="18" name="Rectangle 4">
            <a:extLst>
              <a:ext uri="{FF2B5EF4-FFF2-40B4-BE49-F238E27FC236}">
                <a16:creationId xmlns:a16="http://schemas.microsoft.com/office/drawing/2014/main" id="{47C7A34E-B1C3-4A46-9490-4043C544ABF7}"/>
              </a:ext>
            </a:extLst>
          </p:cNvPr>
          <p:cNvSpPr>
            <a:spLocks noChangeArrowheads="1"/>
          </p:cNvSpPr>
          <p:nvPr/>
        </p:nvSpPr>
        <p:spPr bwMode="auto">
          <a:xfrm>
            <a:off x="4306584" y="4168880"/>
            <a:ext cx="6056616" cy="1108760"/>
          </a:xfrm>
          <a:prstGeom prst="rect">
            <a:avLst/>
          </a:prstGeom>
          <a:solidFill>
            <a:schemeClr val="tx2">
              <a:lumMod val="20000"/>
              <a:lumOff val="80000"/>
            </a:schemeClr>
          </a:solidFill>
          <a:ln w="6350">
            <a:noFill/>
            <a:miter lim="800000"/>
            <a:headEnd/>
            <a:tailEnd/>
          </a:ln>
        </p:spPr>
        <p:txBody>
          <a:bodyPr lIns="540000" tIns="144000" rIns="72000" bIns="72000"/>
          <a:lstStyle/>
          <a:p>
            <a:pPr eaLnBrk="0" hangingPunct="0">
              <a:lnSpc>
                <a:spcPct val="85000"/>
              </a:lnSpc>
              <a:spcBef>
                <a:spcPts val="100"/>
              </a:spcBef>
              <a:spcAft>
                <a:spcPts val="300"/>
              </a:spcAft>
            </a:pPr>
            <a:r>
              <a:rPr lang="en-GB" sz="1400" b="1" dirty="0">
                <a:latin typeface="+mj-lt"/>
              </a:rPr>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p:txBody>
      </p:sp>
      <p:sp>
        <p:nvSpPr>
          <p:cNvPr id="20" name="AutoShape 5">
            <a:extLst>
              <a:ext uri="{FF2B5EF4-FFF2-40B4-BE49-F238E27FC236}">
                <a16:creationId xmlns:a16="http://schemas.microsoft.com/office/drawing/2014/main" id="{F729553F-E658-4ED5-9C2E-1BE8ADD24913}"/>
              </a:ext>
            </a:extLst>
          </p:cNvPr>
          <p:cNvSpPr>
            <a:spLocks noChangeArrowheads="1"/>
          </p:cNvSpPr>
          <p:nvPr/>
        </p:nvSpPr>
        <p:spPr bwMode="auto">
          <a:xfrm>
            <a:off x="1811338" y="4168880"/>
            <a:ext cx="2788897" cy="1108760"/>
          </a:xfrm>
          <a:prstGeom prst="homePlate">
            <a:avLst>
              <a:gd name="adj" fmla="val 27116"/>
            </a:avLst>
          </a:prstGeom>
          <a:solidFill>
            <a:schemeClr val="accent3"/>
          </a:solidFill>
          <a:ln w="6350">
            <a:noFill/>
            <a:miter lim="800000"/>
            <a:headEnd/>
            <a:tailEnd/>
          </a:ln>
        </p:spPr>
        <p:txBody>
          <a:bodyPr lIns="72000" tIns="144000" rIns="72000" bIns="72000" anchor="ctr" anchorCtr="0"/>
          <a:lstStyle/>
          <a:p>
            <a:pPr algn="ctr" eaLnBrk="0" hangingPunct="0">
              <a:lnSpc>
                <a:spcPct val="85000"/>
              </a:lnSpc>
              <a:spcBef>
                <a:spcPts val="100"/>
              </a:spcBef>
              <a:spcAft>
                <a:spcPts val="300"/>
              </a:spcAft>
            </a:pPr>
            <a:r>
              <a:rPr lang="en-GB" b="1" dirty="0">
                <a:solidFill>
                  <a:schemeClr val="bg1"/>
                </a:solidFill>
                <a:latin typeface="+mj-lt"/>
              </a:rPr>
              <a:t>Text</a:t>
            </a:r>
          </a:p>
        </p:txBody>
      </p:sp>
      <p:sp>
        <p:nvSpPr>
          <p:cNvPr id="4" name="Footer Placeholder 3">
            <a:extLst>
              <a:ext uri="{FF2B5EF4-FFF2-40B4-BE49-F238E27FC236}">
                <a16:creationId xmlns:a16="http://schemas.microsoft.com/office/drawing/2014/main" id="{D45F392D-0AE0-40A0-8E48-C157A0749B53}"/>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AEA40D2A-FE7E-4E81-BA52-888103E38B10}"/>
              </a:ext>
            </a:extLst>
          </p:cNvPr>
          <p:cNvSpPr>
            <a:spLocks noGrp="1"/>
          </p:cNvSpPr>
          <p:nvPr>
            <p:ph type="sldNum" sz="quarter" idx="10"/>
          </p:nvPr>
        </p:nvSpPr>
        <p:spPr/>
        <p:txBody>
          <a:bodyPr/>
          <a:lstStyle/>
          <a:p>
            <a:fld id="{1F90F471-3972-4120-B8B3-0237DE626C35}" type="slidenum">
              <a:rPr lang="en-US" smtClean="0"/>
              <a:pPr/>
              <a:t>316</a:t>
            </a:fld>
            <a:endParaRPr lang="en-US" dirty="0"/>
          </a:p>
        </p:txBody>
      </p:sp>
    </p:spTree>
    <p:extLst>
      <p:ext uri="{BB962C8B-B14F-4D97-AF65-F5344CB8AC3E}">
        <p14:creationId xmlns:p14="http://schemas.microsoft.com/office/powerpoint/2010/main" val="1772825983"/>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GB" dirty="0"/>
              <a:t>Consequences/Conclusion 3</a:t>
            </a:r>
            <a:endParaRPr lang="de-DE" dirty="0"/>
          </a:p>
        </p:txBody>
      </p:sp>
      <p:sp>
        <p:nvSpPr>
          <p:cNvPr id="25" name="Rectangle 21">
            <a:extLst>
              <a:ext uri="{FF2B5EF4-FFF2-40B4-BE49-F238E27FC236}">
                <a16:creationId xmlns:a16="http://schemas.microsoft.com/office/drawing/2014/main" id="{CB15D32E-8693-4E02-AA5C-53599CC01E69}"/>
              </a:ext>
            </a:extLst>
          </p:cNvPr>
          <p:cNvSpPr>
            <a:spLocks noChangeArrowheads="1"/>
          </p:cNvSpPr>
          <p:nvPr/>
        </p:nvSpPr>
        <p:spPr bwMode="auto">
          <a:xfrm>
            <a:off x="1468438" y="1366838"/>
            <a:ext cx="3672261" cy="3970337"/>
          </a:xfrm>
          <a:prstGeom prst="rect">
            <a:avLst/>
          </a:prstGeom>
          <a:solidFill>
            <a:schemeClr val="tx2">
              <a:lumMod val="20000"/>
              <a:lumOff val="80000"/>
            </a:schemeClr>
          </a:solidFill>
          <a:ln w="6350">
            <a:noFill/>
            <a:miter lim="800000"/>
            <a:headEnd/>
            <a:tailEnd/>
          </a:ln>
        </p:spPr>
        <p:txBody>
          <a:bodyPr lIns="180000" tIns="144000" rIns="72000" bIns="72000"/>
          <a:lstStyle/>
          <a:p>
            <a:pPr eaLnBrk="0" hangingPunct="0">
              <a:lnSpc>
                <a:spcPct val="85000"/>
              </a:lnSpc>
              <a:spcBef>
                <a:spcPts val="100"/>
              </a:spcBef>
              <a:spcAft>
                <a:spcPts val="300"/>
              </a:spcAft>
            </a:pPr>
            <a:r>
              <a:rPr lang="en-US" sz="1600" b="1" dirty="0">
                <a:latin typeface="+mj-lt"/>
              </a:rPr>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sp>
        <p:nvSpPr>
          <p:cNvPr id="26" name="Rectangle 21">
            <a:extLst>
              <a:ext uri="{FF2B5EF4-FFF2-40B4-BE49-F238E27FC236}">
                <a16:creationId xmlns:a16="http://schemas.microsoft.com/office/drawing/2014/main" id="{DC45E1B3-70BD-434F-BB90-1094C110695D}"/>
              </a:ext>
            </a:extLst>
          </p:cNvPr>
          <p:cNvSpPr>
            <a:spLocks noChangeArrowheads="1"/>
          </p:cNvSpPr>
          <p:nvPr/>
        </p:nvSpPr>
        <p:spPr bwMode="auto">
          <a:xfrm>
            <a:off x="7049695" y="1366838"/>
            <a:ext cx="3672000" cy="3970337"/>
          </a:xfrm>
          <a:prstGeom prst="rect">
            <a:avLst/>
          </a:prstGeom>
          <a:solidFill>
            <a:schemeClr val="tx2">
              <a:lumMod val="20000"/>
              <a:lumOff val="80000"/>
            </a:schemeClr>
          </a:solidFill>
          <a:ln w="6350">
            <a:noFill/>
            <a:miter lim="800000"/>
            <a:headEnd/>
            <a:tailEnd/>
          </a:ln>
        </p:spPr>
        <p:txBody>
          <a:bodyPr lIns="540000" tIns="144000" rIns="72000" bIns="72000"/>
          <a:lstStyle/>
          <a:p>
            <a:pPr eaLnBrk="0" hangingPunct="0">
              <a:lnSpc>
                <a:spcPct val="85000"/>
              </a:lnSpc>
              <a:spcBef>
                <a:spcPts val="100"/>
              </a:spcBef>
              <a:spcAft>
                <a:spcPts val="300"/>
              </a:spcAft>
            </a:pPr>
            <a:r>
              <a:rPr lang="en-US" sz="1600" b="1" dirty="0">
                <a:latin typeface="+mj-lt"/>
              </a:rPr>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grpSp>
        <p:nvGrpSpPr>
          <p:cNvPr id="50" name="Group 49" descr="Add text and order accordingly">
            <a:extLst>
              <a:ext uri="{FF2B5EF4-FFF2-40B4-BE49-F238E27FC236}">
                <a16:creationId xmlns:a16="http://schemas.microsoft.com/office/drawing/2014/main" id="{D9E31A60-6A74-40A6-9125-4989F8D4D2EC}"/>
              </a:ext>
            </a:extLst>
          </p:cNvPr>
          <p:cNvGrpSpPr/>
          <p:nvPr/>
        </p:nvGrpSpPr>
        <p:grpSpPr>
          <a:xfrm>
            <a:off x="4672119" y="1886168"/>
            <a:ext cx="2746304" cy="446566"/>
            <a:chOff x="4672119" y="1886168"/>
            <a:chExt cx="2746304" cy="446566"/>
          </a:xfrm>
        </p:grpSpPr>
        <p:sp>
          <p:nvSpPr>
            <p:cNvPr id="28" name="AutoShape 6">
              <a:extLst>
                <a:ext uri="{FF2B5EF4-FFF2-40B4-BE49-F238E27FC236}">
                  <a16:creationId xmlns:a16="http://schemas.microsoft.com/office/drawing/2014/main" id="{CBF35D4F-9280-45D3-B13A-BED495AFC167}"/>
                </a:ext>
              </a:extLst>
            </p:cNvPr>
            <p:cNvSpPr>
              <a:spLocks noChangeArrowheads="1"/>
            </p:cNvSpPr>
            <p:nvPr/>
          </p:nvSpPr>
          <p:spPr bwMode="auto">
            <a:xfrm>
              <a:off x="4932872" y="1898874"/>
              <a:ext cx="2485551" cy="433860"/>
            </a:xfrm>
            <a:prstGeom prst="homePlate">
              <a:avLst>
                <a:gd name="adj" fmla="val 48434"/>
              </a:avLst>
            </a:prstGeom>
            <a:solidFill>
              <a:schemeClr val="accent3"/>
            </a:solidFill>
            <a:ln w="6350">
              <a:noFill/>
              <a:miter lim="800000"/>
              <a:headEnd/>
              <a:tailEnd/>
            </a:ln>
            <a:effectLst/>
          </p:spPr>
          <p:txBody>
            <a:bodyPr wrap="none" lIns="108000" rIns="45720" anchor="ctr" anchorCtr="0"/>
            <a:lstStyle/>
            <a:p>
              <a:pPr eaLnBrk="0" hangingPunct="0">
                <a:spcBef>
                  <a:spcPct val="0"/>
                </a:spcBef>
              </a:pPr>
              <a:r>
                <a:rPr lang="en-GB" sz="1600" b="1" dirty="0">
                  <a:solidFill>
                    <a:schemeClr val="bg1"/>
                  </a:solidFill>
                  <a:latin typeface="+mj-lt"/>
                </a:rPr>
                <a:t>Text</a:t>
              </a:r>
            </a:p>
          </p:txBody>
        </p:sp>
        <p:sp>
          <p:nvSpPr>
            <p:cNvPr id="29" name="Rectangle 12">
              <a:extLst>
                <a:ext uri="{FF2B5EF4-FFF2-40B4-BE49-F238E27FC236}">
                  <a16:creationId xmlns:a16="http://schemas.microsoft.com/office/drawing/2014/main" id="{A51E8732-009A-40CC-BD1C-2DEBDD9B70B3}"/>
                </a:ext>
              </a:extLst>
            </p:cNvPr>
            <p:cNvSpPr>
              <a:spLocks noChangeArrowheads="1"/>
            </p:cNvSpPr>
            <p:nvPr/>
          </p:nvSpPr>
          <p:spPr bwMode="auto">
            <a:xfrm>
              <a:off x="4672119" y="1886168"/>
              <a:ext cx="251404" cy="433860"/>
            </a:xfrm>
            <a:prstGeom prst="rect">
              <a:avLst/>
            </a:prstGeom>
            <a:noFill/>
            <a:ln w="6350">
              <a:noFill/>
              <a:miter lim="800000"/>
              <a:headEnd/>
              <a:tailEnd/>
            </a:ln>
            <a:effectLst/>
          </p:spPr>
          <p:txBody>
            <a:bodyPr wrap="none" lIns="45720" rIns="45720" anchor="ctr"/>
            <a:lstStyle/>
            <a:p>
              <a:pPr eaLnBrk="0" hangingPunct="0">
                <a:spcBef>
                  <a:spcPct val="0"/>
                </a:spcBef>
              </a:pPr>
              <a:r>
                <a:rPr lang="en-GB" b="1" dirty="0">
                  <a:solidFill>
                    <a:schemeClr val="accent3"/>
                  </a:solidFill>
                  <a:latin typeface="+mj-lt"/>
                </a:rPr>
                <a:t>1</a:t>
              </a:r>
            </a:p>
          </p:txBody>
        </p:sp>
      </p:grpSp>
      <p:grpSp>
        <p:nvGrpSpPr>
          <p:cNvPr id="49" name="Group 48" descr="Add text and order accordingly">
            <a:extLst>
              <a:ext uri="{FF2B5EF4-FFF2-40B4-BE49-F238E27FC236}">
                <a16:creationId xmlns:a16="http://schemas.microsoft.com/office/drawing/2014/main" id="{22640B68-4A24-4231-849B-11BDC3AEB6D3}"/>
              </a:ext>
            </a:extLst>
          </p:cNvPr>
          <p:cNvGrpSpPr/>
          <p:nvPr/>
        </p:nvGrpSpPr>
        <p:grpSpPr>
          <a:xfrm>
            <a:off x="4672119" y="2403533"/>
            <a:ext cx="2746304" cy="448380"/>
            <a:chOff x="4672119" y="2403533"/>
            <a:chExt cx="2746304" cy="448380"/>
          </a:xfrm>
        </p:grpSpPr>
        <p:sp>
          <p:nvSpPr>
            <p:cNvPr id="31" name="AutoShape 7">
              <a:extLst>
                <a:ext uri="{FF2B5EF4-FFF2-40B4-BE49-F238E27FC236}">
                  <a16:creationId xmlns:a16="http://schemas.microsoft.com/office/drawing/2014/main" id="{D7035D43-255F-4F09-9652-8A4F959CE5C0}"/>
                </a:ext>
              </a:extLst>
            </p:cNvPr>
            <p:cNvSpPr>
              <a:spLocks noChangeArrowheads="1"/>
            </p:cNvSpPr>
            <p:nvPr/>
          </p:nvSpPr>
          <p:spPr bwMode="auto">
            <a:xfrm>
              <a:off x="4932872" y="2418053"/>
              <a:ext cx="2485551" cy="433860"/>
            </a:xfrm>
            <a:prstGeom prst="homePlate">
              <a:avLst>
                <a:gd name="adj" fmla="val 48434"/>
              </a:avLst>
            </a:prstGeom>
            <a:solidFill>
              <a:schemeClr val="accent2"/>
            </a:solidFill>
            <a:ln w="6350">
              <a:noFill/>
              <a:miter lim="800000"/>
              <a:headEnd/>
              <a:tailEnd/>
            </a:ln>
            <a:effectLst/>
          </p:spPr>
          <p:txBody>
            <a:bodyPr wrap="none" lIns="108000" rIns="45720" anchor="ctr" anchorCtr="0"/>
            <a:lstStyle/>
            <a:p>
              <a:pPr eaLnBrk="0" hangingPunct="0">
                <a:spcBef>
                  <a:spcPct val="0"/>
                </a:spcBef>
              </a:pPr>
              <a:r>
                <a:rPr lang="en-GB" sz="1600" b="1" dirty="0">
                  <a:solidFill>
                    <a:schemeClr val="bg1"/>
                  </a:solidFill>
                  <a:latin typeface="+mj-lt"/>
                </a:rPr>
                <a:t>Text</a:t>
              </a:r>
            </a:p>
          </p:txBody>
        </p:sp>
        <p:sp>
          <p:nvSpPr>
            <p:cNvPr id="32" name="Rectangle 13">
              <a:extLst>
                <a:ext uri="{FF2B5EF4-FFF2-40B4-BE49-F238E27FC236}">
                  <a16:creationId xmlns:a16="http://schemas.microsoft.com/office/drawing/2014/main" id="{B0C2A02E-76C7-48E3-87E8-5DA7E00B2C38}"/>
                </a:ext>
              </a:extLst>
            </p:cNvPr>
            <p:cNvSpPr>
              <a:spLocks noChangeArrowheads="1"/>
            </p:cNvSpPr>
            <p:nvPr/>
          </p:nvSpPr>
          <p:spPr bwMode="auto">
            <a:xfrm>
              <a:off x="4672119" y="2403533"/>
              <a:ext cx="251404" cy="437491"/>
            </a:xfrm>
            <a:prstGeom prst="rect">
              <a:avLst/>
            </a:prstGeom>
            <a:noFill/>
            <a:ln w="6350">
              <a:noFill/>
              <a:miter lim="800000"/>
              <a:headEnd/>
              <a:tailEnd/>
            </a:ln>
            <a:effectLst/>
          </p:spPr>
          <p:txBody>
            <a:bodyPr wrap="none" lIns="45720" rIns="45720" anchor="ctr"/>
            <a:lstStyle/>
            <a:p>
              <a:pPr eaLnBrk="0" hangingPunct="0">
                <a:spcBef>
                  <a:spcPct val="0"/>
                </a:spcBef>
              </a:pPr>
              <a:r>
                <a:rPr lang="en-GB" b="1" dirty="0">
                  <a:solidFill>
                    <a:schemeClr val="accent2"/>
                  </a:solidFill>
                  <a:latin typeface="+mj-lt"/>
                </a:rPr>
                <a:t>2</a:t>
              </a:r>
            </a:p>
          </p:txBody>
        </p:sp>
      </p:grpSp>
      <p:grpSp>
        <p:nvGrpSpPr>
          <p:cNvPr id="48" name="Group 47" descr="Add text and order accordingly">
            <a:extLst>
              <a:ext uri="{FF2B5EF4-FFF2-40B4-BE49-F238E27FC236}">
                <a16:creationId xmlns:a16="http://schemas.microsoft.com/office/drawing/2014/main" id="{BAFF3F22-7114-47DD-9F21-0DBCBB8DAA95}"/>
              </a:ext>
            </a:extLst>
          </p:cNvPr>
          <p:cNvGrpSpPr/>
          <p:nvPr/>
        </p:nvGrpSpPr>
        <p:grpSpPr>
          <a:xfrm>
            <a:off x="4672119" y="2926343"/>
            <a:ext cx="2746304" cy="444751"/>
            <a:chOff x="4672119" y="2926343"/>
            <a:chExt cx="2746304" cy="444751"/>
          </a:xfrm>
        </p:grpSpPr>
        <p:sp>
          <p:nvSpPr>
            <p:cNvPr id="34" name="AutoShape 8">
              <a:extLst>
                <a:ext uri="{FF2B5EF4-FFF2-40B4-BE49-F238E27FC236}">
                  <a16:creationId xmlns:a16="http://schemas.microsoft.com/office/drawing/2014/main" id="{4D0CA77C-2B6A-4E31-854C-9C280582C921}"/>
                </a:ext>
              </a:extLst>
            </p:cNvPr>
            <p:cNvSpPr>
              <a:spLocks noChangeArrowheads="1"/>
            </p:cNvSpPr>
            <p:nvPr/>
          </p:nvSpPr>
          <p:spPr bwMode="auto">
            <a:xfrm>
              <a:off x="4932872" y="2939049"/>
              <a:ext cx="2485551" cy="432045"/>
            </a:xfrm>
            <a:prstGeom prst="homePlate">
              <a:avLst>
                <a:gd name="adj" fmla="val 48637"/>
              </a:avLst>
            </a:prstGeom>
            <a:solidFill>
              <a:schemeClr val="accent1"/>
            </a:solidFill>
            <a:ln w="6350">
              <a:noFill/>
              <a:miter lim="800000"/>
              <a:headEnd/>
              <a:tailEnd/>
            </a:ln>
            <a:effectLst/>
          </p:spPr>
          <p:txBody>
            <a:bodyPr wrap="none" lIns="108000" rIns="45720" anchor="ctr" anchorCtr="0"/>
            <a:lstStyle/>
            <a:p>
              <a:pPr eaLnBrk="0" hangingPunct="0">
                <a:spcBef>
                  <a:spcPct val="0"/>
                </a:spcBef>
              </a:pPr>
              <a:r>
                <a:rPr lang="en-GB" sz="1600" b="1" dirty="0">
                  <a:solidFill>
                    <a:schemeClr val="bg1"/>
                  </a:solidFill>
                  <a:latin typeface="+mj-lt"/>
                </a:rPr>
                <a:t>Text</a:t>
              </a:r>
            </a:p>
          </p:txBody>
        </p:sp>
        <p:sp>
          <p:nvSpPr>
            <p:cNvPr id="35" name="Rectangle 14">
              <a:extLst>
                <a:ext uri="{FF2B5EF4-FFF2-40B4-BE49-F238E27FC236}">
                  <a16:creationId xmlns:a16="http://schemas.microsoft.com/office/drawing/2014/main" id="{5251F1D5-B3C0-4552-A99E-6B0BCC8076FD}"/>
                </a:ext>
              </a:extLst>
            </p:cNvPr>
            <p:cNvSpPr>
              <a:spLocks noChangeArrowheads="1"/>
            </p:cNvSpPr>
            <p:nvPr/>
          </p:nvSpPr>
          <p:spPr bwMode="auto">
            <a:xfrm>
              <a:off x="4672119" y="2926343"/>
              <a:ext cx="251404" cy="433860"/>
            </a:xfrm>
            <a:prstGeom prst="rect">
              <a:avLst/>
            </a:prstGeom>
            <a:noFill/>
            <a:ln w="6350">
              <a:noFill/>
              <a:miter lim="800000"/>
              <a:headEnd/>
              <a:tailEnd/>
            </a:ln>
            <a:effectLst/>
          </p:spPr>
          <p:txBody>
            <a:bodyPr wrap="none" lIns="45720" rIns="45720" anchor="ctr"/>
            <a:lstStyle/>
            <a:p>
              <a:pPr eaLnBrk="0" hangingPunct="0">
                <a:spcBef>
                  <a:spcPct val="0"/>
                </a:spcBef>
              </a:pPr>
              <a:r>
                <a:rPr lang="en-GB" b="1" dirty="0">
                  <a:solidFill>
                    <a:schemeClr val="accent1"/>
                  </a:solidFill>
                  <a:latin typeface="+mj-lt"/>
                </a:rPr>
                <a:t>3</a:t>
              </a:r>
            </a:p>
          </p:txBody>
        </p:sp>
      </p:grpSp>
      <p:grpSp>
        <p:nvGrpSpPr>
          <p:cNvPr id="47" name="Group 46" descr="Add text and order accordingly">
            <a:extLst>
              <a:ext uri="{FF2B5EF4-FFF2-40B4-BE49-F238E27FC236}">
                <a16:creationId xmlns:a16="http://schemas.microsoft.com/office/drawing/2014/main" id="{06BAF1C5-76CA-4EE3-8317-593DE668FAE2}"/>
              </a:ext>
            </a:extLst>
          </p:cNvPr>
          <p:cNvGrpSpPr/>
          <p:nvPr/>
        </p:nvGrpSpPr>
        <p:grpSpPr>
          <a:xfrm>
            <a:off x="4672119" y="3447338"/>
            <a:ext cx="2746304" cy="444750"/>
            <a:chOff x="4672119" y="3447338"/>
            <a:chExt cx="2746304" cy="444750"/>
          </a:xfrm>
        </p:grpSpPr>
        <p:sp>
          <p:nvSpPr>
            <p:cNvPr id="37" name="AutoShape 9">
              <a:extLst>
                <a:ext uri="{FF2B5EF4-FFF2-40B4-BE49-F238E27FC236}">
                  <a16:creationId xmlns:a16="http://schemas.microsoft.com/office/drawing/2014/main" id="{79439C71-CD13-4351-AC61-2577B4F8AB6E}"/>
                </a:ext>
              </a:extLst>
            </p:cNvPr>
            <p:cNvSpPr>
              <a:spLocks noChangeArrowheads="1"/>
            </p:cNvSpPr>
            <p:nvPr/>
          </p:nvSpPr>
          <p:spPr bwMode="auto">
            <a:xfrm>
              <a:off x="4932872" y="3458228"/>
              <a:ext cx="2485551" cy="433860"/>
            </a:xfrm>
            <a:prstGeom prst="homePlate">
              <a:avLst>
                <a:gd name="adj" fmla="val 48434"/>
              </a:avLst>
            </a:prstGeom>
            <a:solidFill>
              <a:schemeClr val="accent5"/>
            </a:solidFill>
            <a:ln w="6350">
              <a:noFill/>
              <a:miter lim="800000"/>
              <a:headEnd/>
              <a:tailEnd/>
            </a:ln>
            <a:effectLst/>
          </p:spPr>
          <p:txBody>
            <a:bodyPr wrap="none" lIns="108000" rIns="45720" anchor="ctr" anchorCtr="0"/>
            <a:lstStyle/>
            <a:p>
              <a:pPr eaLnBrk="0" hangingPunct="0">
                <a:spcBef>
                  <a:spcPct val="0"/>
                </a:spcBef>
              </a:pPr>
              <a:r>
                <a:rPr lang="en-GB" sz="1600" b="1" dirty="0">
                  <a:latin typeface="+mj-lt"/>
                </a:rPr>
                <a:t>Text</a:t>
              </a:r>
            </a:p>
          </p:txBody>
        </p:sp>
        <p:sp>
          <p:nvSpPr>
            <p:cNvPr id="38" name="Rectangle 15">
              <a:extLst>
                <a:ext uri="{FF2B5EF4-FFF2-40B4-BE49-F238E27FC236}">
                  <a16:creationId xmlns:a16="http://schemas.microsoft.com/office/drawing/2014/main" id="{2C7633FF-3FC4-41BF-8534-72976DE7612C}"/>
                </a:ext>
              </a:extLst>
            </p:cNvPr>
            <p:cNvSpPr>
              <a:spLocks noChangeArrowheads="1"/>
            </p:cNvSpPr>
            <p:nvPr/>
          </p:nvSpPr>
          <p:spPr bwMode="auto">
            <a:xfrm>
              <a:off x="4672119" y="3447338"/>
              <a:ext cx="251404" cy="428414"/>
            </a:xfrm>
            <a:prstGeom prst="rect">
              <a:avLst/>
            </a:prstGeom>
            <a:noFill/>
            <a:ln w="6350">
              <a:noFill/>
              <a:miter lim="800000"/>
              <a:headEnd/>
              <a:tailEnd/>
            </a:ln>
            <a:effectLst/>
          </p:spPr>
          <p:txBody>
            <a:bodyPr wrap="none" lIns="45720" rIns="45720" anchor="ctr"/>
            <a:lstStyle/>
            <a:p>
              <a:pPr eaLnBrk="0" hangingPunct="0">
                <a:spcBef>
                  <a:spcPct val="0"/>
                </a:spcBef>
              </a:pPr>
              <a:r>
                <a:rPr lang="en-GB" b="1" dirty="0">
                  <a:solidFill>
                    <a:schemeClr val="accent5"/>
                  </a:solidFill>
                  <a:latin typeface="+mj-lt"/>
                </a:rPr>
                <a:t>4</a:t>
              </a:r>
            </a:p>
          </p:txBody>
        </p:sp>
      </p:grpSp>
      <p:grpSp>
        <p:nvGrpSpPr>
          <p:cNvPr id="46" name="Group 45" descr="Add text and order accordingly">
            <a:extLst>
              <a:ext uri="{FF2B5EF4-FFF2-40B4-BE49-F238E27FC236}">
                <a16:creationId xmlns:a16="http://schemas.microsoft.com/office/drawing/2014/main" id="{139AC475-DED8-43B6-A87B-CFFEC93F3CB1}"/>
              </a:ext>
            </a:extLst>
          </p:cNvPr>
          <p:cNvGrpSpPr/>
          <p:nvPr/>
        </p:nvGrpSpPr>
        <p:grpSpPr>
          <a:xfrm>
            <a:off x="4672119" y="3964702"/>
            <a:ext cx="2746304" cy="446567"/>
            <a:chOff x="4672119" y="3964702"/>
            <a:chExt cx="2746304" cy="446567"/>
          </a:xfrm>
        </p:grpSpPr>
        <p:sp>
          <p:nvSpPr>
            <p:cNvPr id="40" name="AutoShape 10">
              <a:extLst>
                <a:ext uri="{FF2B5EF4-FFF2-40B4-BE49-F238E27FC236}">
                  <a16:creationId xmlns:a16="http://schemas.microsoft.com/office/drawing/2014/main" id="{3376D3F4-8483-45D6-9461-540467CF58ED}"/>
                </a:ext>
              </a:extLst>
            </p:cNvPr>
            <p:cNvSpPr>
              <a:spLocks noChangeArrowheads="1"/>
            </p:cNvSpPr>
            <p:nvPr/>
          </p:nvSpPr>
          <p:spPr bwMode="auto">
            <a:xfrm>
              <a:off x="4932872" y="3979224"/>
              <a:ext cx="2485551" cy="432045"/>
            </a:xfrm>
            <a:prstGeom prst="homePlate">
              <a:avLst>
                <a:gd name="adj" fmla="val 48637"/>
              </a:avLst>
            </a:prstGeom>
            <a:solidFill>
              <a:schemeClr val="accent4"/>
            </a:solidFill>
            <a:ln w="6350">
              <a:noFill/>
              <a:miter lim="800000"/>
              <a:headEnd/>
              <a:tailEnd/>
            </a:ln>
            <a:effectLst/>
          </p:spPr>
          <p:txBody>
            <a:bodyPr wrap="none" lIns="108000" rIns="45720" anchor="ctr" anchorCtr="0"/>
            <a:lstStyle/>
            <a:p>
              <a:pPr eaLnBrk="0" hangingPunct="0">
                <a:spcBef>
                  <a:spcPct val="0"/>
                </a:spcBef>
              </a:pPr>
              <a:r>
                <a:rPr lang="en-GB" sz="1600" b="1" dirty="0">
                  <a:solidFill>
                    <a:schemeClr val="bg1"/>
                  </a:solidFill>
                  <a:latin typeface="+mj-lt"/>
                </a:rPr>
                <a:t>Text</a:t>
              </a:r>
            </a:p>
          </p:txBody>
        </p:sp>
        <p:sp>
          <p:nvSpPr>
            <p:cNvPr id="41" name="Rectangle 16">
              <a:extLst>
                <a:ext uri="{FF2B5EF4-FFF2-40B4-BE49-F238E27FC236}">
                  <a16:creationId xmlns:a16="http://schemas.microsoft.com/office/drawing/2014/main" id="{90E1B97C-8EE1-40D0-9268-06DD0C17F0F9}"/>
                </a:ext>
              </a:extLst>
            </p:cNvPr>
            <p:cNvSpPr>
              <a:spLocks noChangeArrowheads="1"/>
            </p:cNvSpPr>
            <p:nvPr/>
          </p:nvSpPr>
          <p:spPr bwMode="auto">
            <a:xfrm>
              <a:off x="4672119" y="3964702"/>
              <a:ext cx="251404" cy="433860"/>
            </a:xfrm>
            <a:prstGeom prst="rect">
              <a:avLst/>
            </a:prstGeom>
            <a:noFill/>
            <a:ln w="6350">
              <a:noFill/>
              <a:miter lim="800000"/>
              <a:headEnd/>
              <a:tailEnd/>
            </a:ln>
            <a:effectLst/>
          </p:spPr>
          <p:txBody>
            <a:bodyPr wrap="none" lIns="45720" rIns="45720" anchor="ctr"/>
            <a:lstStyle/>
            <a:p>
              <a:pPr eaLnBrk="0" hangingPunct="0">
                <a:spcBef>
                  <a:spcPct val="0"/>
                </a:spcBef>
              </a:pPr>
              <a:r>
                <a:rPr lang="en-GB" b="1" dirty="0">
                  <a:solidFill>
                    <a:schemeClr val="accent6"/>
                  </a:solidFill>
                  <a:latin typeface="+mj-lt"/>
                </a:rPr>
                <a:t>5</a:t>
              </a:r>
            </a:p>
          </p:txBody>
        </p:sp>
      </p:grpSp>
      <p:grpSp>
        <p:nvGrpSpPr>
          <p:cNvPr id="45" name="Group 44" descr="Add text and order accordingly">
            <a:extLst>
              <a:ext uri="{FF2B5EF4-FFF2-40B4-BE49-F238E27FC236}">
                <a16:creationId xmlns:a16="http://schemas.microsoft.com/office/drawing/2014/main" id="{ECAC6274-E27C-4448-A4C5-239F906354A5}"/>
              </a:ext>
            </a:extLst>
          </p:cNvPr>
          <p:cNvGrpSpPr/>
          <p:nvPr/>
        </p:nvGrpSpPr>
        <p:grpSpPr>
          <a:xfrm>
            <a:off x="4672119" y="4483882"/>
            <a:ext cx="2746304" cy="448381"/>
            <a:chOff x="4672119" y="4483882"/>
            <a:chExt cx="2746304" cy="448381"/>
          </a:xfrm>
        </p:grpSpPr>
        <p:sp>
          <p:nvSpPr>
            <p:cNvPr id="43" name="AutoShape 11">
              <a:extLst>
                <a:ext uri="{FF2B5EF4-FFF2-40B4-BE49-F238E27FC236}">
                  <a16:creationId xmlns:a16="http://schemas.microsoft.com/office/drawing/2014/main" id="{6FFA48A5-1BA9-4D5F-98B0-AFBC20A8AB5C}"/>
                </a:ext>
              </a:extLst>
            </p:cNvPr>
            <p:cNvSpPr>
              <a:spLocks noChangeArrowheads="1"/>
            </p:cNvSpPr>
            <p:nvPr/>
          </p:nvSpPr>
          <p:spPr bwMode="auto">
            <a:xfrm>
              <a:off x="4932872" y="4498403"/>
              <a:ext cx="2485551" cy="433860"/>
            </a:xfrm>
            <a:prstGeom prst="homePlate">
              <a:avLst>
                <a:gd name="adj" fmla="val 48434"/>
              </a:avLst>
            </a:prstGeom>
            <a:solidFill>
              <a:schemeClr val="accent4">
                <a:lumMod val="75000"/>
              </a:schemeClr>
            </a:solidFill>
            <a:ln w="6350">
              <a:noFill/>
              <a:miter lim="800000"/>
              <a:headEnd/>
              <a:tailEnd/>
            </a:ln>
            <a:effectLst/>
          </p:spPr>
          <p:txBody>
            <a:bodyPr wrap="none" lIns="108000" rIns="45720" anchor="ctr" anchorCtr="0"/>
            <a:lstStyle/>
            <a:p>
              <a:pPr eaLnBrk="0" hangingPunct="0">
                <a:spcBef>
                  <a:spcPct val="0"/>
                </a:spcBef>
              </a:pPr>
              <a:r>
                <a:rPr lang="en-GB" sz="1600" b="1" dirty="0">
                  <a:solidFill>
                    <a:schemeClr val="bg1"/>
                  </a:solidFill>
                  <a:latin typeface="+mj-lt"/>
                </a:rPr>
                <a:t>Text</a:t>
              </a:r>
            </a:p>
          </p:txBody>
        </p:sp>
        <p:sp>
          <p:nvSpPr>
            <p:cNvPr id="44" name="Rectangle 17">
              <a:extLst>
                <a:ext uri="{FF2B5EF4-FFF2-40B4-BE49-F238E27FC236}">
                  <a16:creationId xmlns:a16="http://schemas.microsoft.com/office/drawing/2014/main" id="{F3EC5219-7824-4311-B4C0-DEBF6E1A6C22}"/>
                </a:ext>
              </a:extLst>
            </p:cNvPr>
            <p:cNvSpPr>
              <a:spLocks noChangeArrowheads="1"/>
            </p:cNvSpPr>
            <p:nvPr/>
          </p:nvSpPr>
          <p:spPr bwMode="auto">
            <a:xfrm>
              <a:off x="4672119" y="4483882"/>
              <a:ext cx="251404" cy="433860"/>
            </a:xfrm>
            <a:prstGeom prst="rect">
              <a:avLst/>
            </a:prstGeom>
            <a:noFill/>
            <a:ln w="6350">
              <a:noFill/>
              <a:miter lim="800000"/>
              <a:headEnd/>
              <a:tailEnd/>
            </a:ln>
            <a:effectLst/>
          </p:spPr>
          <p:txBody>
            <a:bodyPr wrap="none" lIns="45720" rIns="45720" anchor="ctr"/>
            <a:lstStyle/>
            <a:p>
              <a:pPr eaLnBrk="0" hangingPunct="0">
                <a:spcBef>
                  <a:spcPct val="0"/>
                </a:spcBef>
              </a:pPr>
              <a:r>
                <a:rPr lang="en-GB" b="1" dirty="0">
                  <a:solidFill>
                    <a:schemeClr val="accent4"/>
                  </a:solidFill>
                  <a:latin typeface="+mj-lt"/>
                </a:rPr>
                <a:t>6</a:t>
              </a:r>
            </a:p>
          </p:txBody>
        </p:sp>
      </p:grpSp>
      <p:sp>
        <p:nvSpPr>
          <p:cNvPr id="4" name="Footer Placeholder 3">
            <a:extLst>
              <a:ext uri="{FF2B5EF4-FFF2-40B4-BE49-F238E27FC236}">
                <a16:creationId xmlns:a16="http://schemas.microsoft.com/office/drawing/2014/main" id="{EA1DDF90-8809-4563-A86C-E977A1E6C914}"/>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B99E99AB-1861-4A99-96DC-6F40C5A2C10E}"/>
              </a:ext>
            </a:extLst>
          </p:cNvPr>
          <p:cNvSpPr>
            <a:spLocks noGrp="1"/>
          </p:cNvSpPr>
          <p:nvPr>
            <p:ph type="sldNum" sz="quarter" idx="10"/>
          </p:nvPr>
        </p:nvSpPr>
        <p:spPr/>
        <p:txBody>
          <a:bodyPr/>
          <a:lstStyle/>
          <a:p>
            <a:fld id="{1F90F471-3972-4120-B8B3-0237DE626C35}" type="slidenum">
              <a:rPr lang="en-US" smtClean="0"/>
              <a:pPr/>
              <a:t>317</a:t>
            </a:fld>
            <a:endParaRPr lang="en-US" dirty="0"/>
          </a:p>
        </p:txBody>
      </p:sp>
    </p:spTree>
    <p:extLst>
      <p:ext uri="{BB962C8B-B14F-4D97-AF65-F5344CB8AC3E}">
        <p14:creationId xmlns:p14="http://schemas.microsoft.com/office/powerpoint/2010/main" val="1201905775"/>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Consequences/Conclusion 4</a:t>
            </a:r>
          </a:p>
        </p:txBody>
      </p:sp>
      <p:sp>
        <p:nvSpPr>
          <p:cNvPr id="23" name="TextBox 22">
            <a:extLst>
              <a:ext uri="{FF2B5EF4-FFF2-40B4-BE49-F238E27FC236}">
                <a16:creationId xmlns:a16="http://schemas.microsoft.com/office/drawing/2014/main" id="{98BFCF6F-7C62-4E6C-98A3-02514FBECDB6}"/>
              </a:ext>
            </a:extLst>
          </p:cNvPr>
          <p:cNvSpPr txBox="1"/>
          <p:nvPr/>
        </p:nvSpPr>
        <p:spPr>
          <a:xfrm>
            <a:off x="1822450" y="1366838"/>
            <a:ext cx="8540750" cy="419712"/>
          </a:xfrm>
          <a:prstGeom prst="rect">
            <a:avLst/>
          </a:prstGeom>
          <a:solidFill>
            <a:schemeClr val="accent1"/>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13" name="TextBox 12">
            <a:extLst>
              <a:ext uri="{FF2B5EF4-FFF2-40B4-BE49-F238E27FC236}">
                <a16:creationId xmlns:a16="http://schemas.microsoft.com/office/drawing/2014/main" id="{E4E5C6EF-82F0-42FA-A997-773CBC291AC4}"/>
              </a:ext>
            </a:extLst>
          </p:cNvPr>
          <p:cNvSpPr txBox="1"/>
          <p:nvPr/>
        </p:nvSpPr>
        <p:spPr>
          <a:xfrm>
            <a:off x="1828802" y="1854963"/>
            <a:ext cx="4211999" cy="347663"/>
          </a:xfrm>
          <a:prstGeom prst="rect">
            <a:avLst/>
          </a:prstGeom>
          <a:solidFill>
            <a:schemeClr val="accent2"/>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11" name="Rectangle 10">
            <a:extLst>
              <a:ext uri="{FF2B5EF4-FFF2-40B4-BE49-F238E27FC236}">
                <a16:creationId xmlns:a16="http://schemas.microsoft.com/office/drawing/2014/main" id="{2F99918E-6F01-4B7F-94B5-43D3A7FAED1A}"/>
              </a:ext>
            </a:extLst>
          </p:cNvPr>
          <p:cNvSpPr/>
          <p:nvPr/>
        </p:nvSpPr>
        <p:spPr>
          <a:xfrm>
            <a:off x="1822451" y="2202626"/>
            <a:ext cx="4211999" cy="2209801"/>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19" name="TextBox 18">
            <a:extLst>
              <a:ext uri="{FF2B5EF4-FFF2-40B4-BE49-F238E27FC236}">
                <a16:creationId xmlns:a16="http://schemas.microsoft.com/office/drawing/2014/main" id="{402CB00A-4671-47B3-B78F-5207BC8561D9}"/>
              </a:ext>
            </a:extLst>
          </p:cNvPr>
          <p:cNvSpPr txBox="1"/>
          <p:nvPr/>
        </p:nvSpPr>
        <p:spPr>
          <a:xfrm>
            <a:off x="6151200" y="1854964"/>
            <a:ext cx="4211999" cy="347663"/>
          </a:xfrm>
          <a:prstGeom prst="rect">
            <a:avLst/>
          </a:prstGeom>
          <a:solidFill>
            <a:schemeClr val="accent2"/>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17" name="Rectangle 16">
            <a:extLst>
              <a:ext uri="{FF2B5EF4-FFF2-40B4-BE49-F238E27FC236}">
                <a16:creationId xmlns:a16="http://schemas.microsoft.com/office/drawing/2014/main" id="{E9F7CBCA-13BC-4FBB-B42D-989DC662E20C}"/>
              </a:ext>
            </a:extLst>
          </p:cNvPr>
          <p:cNvSpPr/>
          <p:nvPr/>
        </p:nvSpPr>
        <p:spPr>
          <a:xfrm>
            <a:off x="6151201" y="2202626"/>
            <a:ext cx="4211999" cy="2209801"/>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15" name="Arrow: Chevron 14">
            <a:extLst>
              <a:ext uri="{FF2B5EF4-FFF2-40B4-BE49-F238E27FC236}">
                <a16:creationId xmlns:a16="http://schemas.microsoft.com/office/drawing/2014/main" id="{E2759539-75D2-4539-9004-863BBC0D0F1C}"/>
              </a:ext>
              <a:ext uri="{C183D7F6-B498-43B3-948B-1728B52AA6E4}">
                <adec:decorative xmlns:adec="http://schemas.microsoft.com/office/drawing/2017/decorative" val="1"/>
              </a:ext>
            </a:extLst>
          </p:cNvPr>
          <p:cNvSpPr/>
          <p:nvPr/>
        </p:nvSpPr>
        <p:spPr>
          <a:xfrm rot="5400000">
            <a:off x="5807788" y="4483077"/>
            <a:ext cx="570072" cy="783447"/>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25" name="TextBox 24">
            <a:extLst>
              <a:ext uri="{FF2B5EF4-FFF2-40B4-BE49-F238E27FC236}">
                <a16:creationId xmlns:a16="http://schemas.microsoft.com/office/drawing/2014/main" id="{79AD460A-7412-44DF-8EEF-6D87B99ADCC2}"/>
              </a:ext>
            </a:extLst>
          </p:cNvPr>
          <p:cNvSpPr txBox="1"/>
          <p:nvPr/>
        </p:nvSpPr>
        <p:spPr>
          <a:xfrm>
            <a:off x="1822450" y="5337175"/>
            <a:ext cx="8540750" cy="419712"/>
          </a:xfrm>
          <a:prstGeom prst="rect">
            <a:avLst/>
          </a:prstGeom>
          <a:solidFill>
            <a:schemeClr val="accent1"/>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4" name="Footer Placeholder 3">
            <a:extLst>
              <a:ext uri="{FF2B5EF4-FFF2-40B4-BE49-F238E27FC236}">
                <a16:creationId xmlns:a16="http://schemas.microsoft.com/office/drawing/2014/main" id="{A4761BDB-21DB-4474-BBAA-3EA773330D99}"/>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6EC9AD4F-7468-4B84-A158-74C813E069DE}"/>
              </a:ext>
            </a:extLst>
          </p:cNvPr>
          <p:cNvSpPr>
            <a:spLocks noGrp="1"/>
          </p:cNvSpPr>
          <p:nvPr>
            <p:ph type="sldNum" sz="quarter" idx="10"/>
          </p:nvPr>
        </p:nvSpPr>
        <p:spPr/>
        <p:txBody>
          <a:bodyPr/>
          <a:lstStyle/>
          <a:p>
            <a:fld id="{1F90F471-3972-4120-B8B3-0237DE626C35}" type="slidenum">
              <a:rPr lang="en-US" smtClean="0"/>
              <a:pPr/>
              <a:t>318</a:t>
            </a:fld>
            <a:endParaRPr lang="en-US" dirty="0"/>
          </a:p>
        </p:txBody>
      </p:sp>
    </p:spTree>
    <p:extLst>
      <p:ext uri="{BB962C8B-B14F-4D97-AF65-F5344CB8AC3E}">
        <p14:creationId xmlns:p14="http://schemas.microsoft.com/office/powerpoint/2010/main" val="2013198992"/>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GB" dirty="0"/>
              <a:t>Consequences/Conclusion 5</a:t>
            </a:r>
            <a:endParaRPr lang="de-DE" dirty="0"/>
          </a:p>
        </p:txBody>
      </p:sp>
      <p:sp>
        <p:nvSpPr>
          <p:cNvPr id="15" name="TextBox 14">
            <a:extLst>
              <a:ext uri="{FF2B5EF4-FFF2-40B4-BE49-F238E27FC236}">
                <a16:creationId xmlns:a16="http://schemas.microsoft.com/office/drawing/2014/main" id="{F09AC5CE-901E-4351-A7E7-A3E89833D696}"/>
              </a:ext>
            </a:extLst>
          </p:cNvPr>
          <p:cNvSpPr txBox="1"/>
          <p:nvPr/>
        </p:nvSpPr>
        <p:spPr>
          <a:xfrm>
            <a:off x="1822450" y="1366838"/>
            <a:ext cx="8540750" cy="419712"/>
          </a:xfrm>
          <a:prstGeom prst="rect">
            <a:avLst/>
          </a:prstGeom>
          <a:solidFill>
            <a:schemeClr val="accent1"/>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23" name="TextBox 22">
            <a:extLst>
              <a:ext uri="{FF2B5EF4-FFF2-40B4-BE49-F238E27FC236}">
                <a16:creationId xmlns:a16="http://schemas.microsoft.com/office/drawing/2014/main" id="{A935EA6B-7CFB-448F-AC75-06479A52B39B}"/>
              </a:ext>
            </a:extLst>
          </p:cNvPr>
          <p:cNvSpPr txBox="1"/>
          <p:nvPr/>
        </p:nvSpPr>
        <p:spPr>
          <a:xfrm>
            <a:off x="1822451" y="1854964"/>
            <a:ext cx="2795263" cy="347663"/>
          </a:xfrm>
          <a:prstGeom prst="rect">
            <a:avLst/>
          </a:prstGeom>
          <a:solidFill>
            <a:schemeClr val="accent2"/>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19" name="Rectangle 18">
            <a:extLst>
              <a:ext uri="{FF2B5EF4-FFF2-40B4-BE49-F238E27FC236}">
                <a16:creationId xmlns:a16="http://schemas.microsoft.com/office/drawing/2014/main" id="{7EAA5F64-37CA-466D-91E2-13FF50756985}"/>
              </a:ext>
            </a:extLst>
          </p:cNvPr>
          <p:cNvSpPr/>
          <p:nvPr/>
        </p:nvSpPr>
        <p:spPr>
          <a:xfrm>
            <a:off x="1822452" y="2202626"/>
            <a:ext cx="2795263" cy="2209801"/>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27" name="TextBox 26">
            <a:extLst>
              <a:ext uri="{FF2B5EF4-FFF2-40B4-BE49-F238E27FC236}">
                <a16:creationId xmlns:a16="http://schemas.microsoft.com/office/drawing/2014/main" id="{1D50156F-D0C4-4582-B17A-8863A954F694}"/>
              </a:ext>
            </a:extLst>
          </p:cNvPr>
          <p:cNvSpPr txBox="1"/>
          <p:nvPr/>
        </p:nvSpPr>
        <p:spPr>
          <a:xfrm>
            <a:off x="4695195" y="1854964"/>
            <a:ext cx="2795263" cy="347663"/>
          </a:xfrm>
          <a:prstGeom prst="rect">
            <a:avLst/>
          </a:prstGeom>
          <a:solidFill>
            <a:schemeClr val="accent2"/>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25" name="Rectangle 24">
            <a:extLst>
              <a:ext uri="{FF2B5EF4-FFF2-40B4-BE49-F238E27FC236}">
                <a16:creationId xmlns:a16="http://schemas.microsoft.com/office/drawing/2014/main" id="{752DF8EB-B9C4-4182-B511-13DF8B7E214F}"/>
              </a:ext>
            </a:extLst>
          </p:cNvPr>
          <p:cNvSpPr/>
          <p:nvPr/>
        </p:nvSpPr>
        <p:spPr>
          <a:xfrm>
            <a:off x="4695195" y="2202626"/>
            <a:ext cx="2795263" cy="2209801"/>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31" name="TextBox 30">
            <a:extLst>
              <a:ext uri="{FF2B5EF4-FFF2-40B4-BE49-F238E27FC236}">
                <a16:creationId xmlns:a16="http://schemas.microsoft.com/office/drawing/2014/main" id="{C6D4B84B-BC03-4523-AD79-A40F1A890A8D}"/>
              </a:ext>
            </a:extLst>
          </p:cNvPr>
          <p:cNvSpPr txBox="1"/>
          <p:nvPr/>
        </p:nvSpPr>
        <p:spPr>
          <a:xfrm>
            <a:off x="7567938" y="1854964"/>
            <a:ext cx="2795263" cy="347663"/>
          </a:xfrm>
          <a:prstGeom prst="rect">
            <a:avLst/>
          </a:prstGeom>
          <a:solidFill>
            <a:schemeClr val="accent2"/>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29" name="Rectangle 28">
            <a:extLst>
              <a:ext uri="{FF2B5EF4-FFF2-40B4-BE49-F238E27FC236}">
                <a16:creationId xmlns:a16="http://schemas.microsoft.com/office/drawing/2014/main" id="{D2F1D9C5-5303-4819-AC15-6642917DDED0}"/>
              </a:ext>
            </a:extLst>
          </p:cNvPr>
          <p:cNvSpPr/>
          <p:nvPr/>
        </p:nvSpPr>
        <p:spPr>
          <a:xfrm>
            <a:off x="7567938" y="2202626"/>
            <a:ext cx="2795263" cy="2209801"/>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13" name="Arrow: Chevron 12">
            <a:extLst>
              <a:ext uri="{FF2B5EF4-FFF2-40B4-BE49-F238E27FC236}">
                <a16:creationId xmlns:a16="http://schemas.microsoft.com/office/drawing/2014/main" id="{F1D8F3FC-3A1D-4741-B389-9B3830F6BDAF}"/>
              </a:ext>
              <a:ext uri="{C183D7F6-B498-43B3-948B-1728B52AA6E4}">
                <adec:decorative xmlns:adec="http://schemas.microsoft.com/office/drawing/2017/decorative" val="1"/>
              </a:ext>
            </a:extLst>
          </p:cNvPr>
          <p:cNvSpPr/>
          <p:nvPr/>
        </p:nvSpPr>
        <p:spPr>
          <a:xfrm rot="5400000">
            <a:off x="5807788" y="4483077"/>
            <a:ext cx="570072" cy="783447"/>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17" name="TextBox 16">
            <a:extLst>
              <a:ext uri="{FF2B5EF4-FFF2-40B4-BE49-F238E27FC236}">
                <a16:creationId xmlns:a16="http://schemas.microsoft.com/office/drawing/2014/main" id="{B575DD36-EB96-447D-8ACE-E072319E332D}"/>
              </a:ext>
            </a:extLst>
          </p:cNvPr>
          <p:cNvSpPr txBox="1"/>
          <p:nvPr/>
        </p:nvSpPr>
        <p:spPr>
          <a:xfrm>
            <a:off x="1822450" y="5337175"/>
            <a:ext cx="8540750" cy="419712"/>
          </a:xfrm>
          <a:prstGeom prst="rect">
            <a:avLst/>
          </a:prstGeom>
          <a:solidFill>
            <a:schemeClr val="accent1"/>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4" name="Footer Placeholder 3">
            <a:extLst>
              <a:ext uri="{FF2B5EF4-FFF2-40B4-BE49-F238E27FC236}">
                <a16:creationId xmlns:a16="http://schemas.microsoft.com/office/drawing/2014/main" id="{2AFB8305-4AA9-43CE-95A1-9D600EC75706}"/>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1A13B1AE-B8A7-4594-8AC1-32FB0E6AF0B1}"/>
              </a:ext>
            </a:extLst>
          </p:cNvPr>
          <p:cNvSpPr>
            <a:spLocks noGrp="1"/>
          </p:cNvSpPr>
          <p:nvPr>
            <p:ph type="sldNum" sz="quarter" idx="10"/>
          </p:nvPr>
        </p:nvSpPr>
        <p:spPr/>
        <p:txBody>
          <a:bodyPr/>
          <a:lstStyle/>
          <a:p>
            <a:fld id="{1F90F471-3972-4120-B8B3-0237DE626C35}" type="slidenum">
              <a:rPr lang="en-US" smtClean="0"/>
              <a:pPr/>
              <a:t>319</a:t>
            </a:fld>
            <a:endParaRPr lang="en-US" dirty="0"/>
          </a:p>
        </p:txBody>
      </p:sp>
    </p:spTree>
    <p:extLst>
      <p:ext uri="{BB962C8B-B14F-4D97-AF65-F5344CB8AC3E}">
        <p14:creationId xmlns:p14="http://schemas.microsoft.com/office/powerpoint/2010/main" val="29208275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ll informative images must include a description for screen readers. All informative images must include a description for screen readers. If descriptive information is available in nearby text, it should not be repeated in the alt text for an image.">
            <a:extLst>
              <a:ext uri="{FF2B5EF4-FFF2-40B4-BE49-F238E27FC236}">
                <a16:creationId xmlns:a16="http://schemas.microsoft.com/office/drawing/2014/main" id="{8D42C7F9-9135-4FAE-9DE9-3FDB2FB2B93D}"/>
              </a:ext>
            </a:extLst>
          </p:cNvPr>
          <p:cNvPicPr>
            <a:picLocks noGrp="1" noChangeAspect="1"/>
          </p:cNvPicPr>
          <p:nvPr>
            <p:ph type="pic" sz="quarter" idx="10"/>
          </p:nvPr>
        </p:nvPicPr>
        <p:blipFill>
          <a:blip r:embed="rId3"/>
          <a:srcRect l="74" r="74"/>
          <a:stretch>
            <a:fillRect/>
          </a:stretch>
        </p:blipFill>
        <p:spPr/>
      </p:pic>
      <p:sp>
        <p:nvSpPr>
          <p:cNvPr id="3" name="Title 2">
            <a:extLst>
              <a:ext uri="{FF2B5EF4-FFF2-40B4-BE49-F238E27FC236}">
                <a16:creationId xmlns:a16="http://schemas.microsoft.com/office/drawing/2014/main" id="{FF55E828-BC20-4812-B32A-135669810EC7}"/>
              </a:ext>
            </a:extLst>
          </p:cNvPr>
          <p:cNvSpPr>
            <a:spLocks noGrp="1"/>
          </p:cNvSpPr>
          <p:nvPr>
            <p:ph type="ctrTitle"/>
          </p:nvPr>
        </p:nvSpPr>
        <p:spPr/>
        <p:txBody>
          <a:bodyPr/>
          <a:lstStyle/>
          <a:p>
            <a:r>
              <a:rPr lang="en-GB" dirty="0"/>
              <a:t>Place presentation title here 48pt</a:t>
            </a:r>
            <a:endParaRPr lang="en-US" dirty="0"/>
          </a:p>
        </p:txBody>
      </p:sp>
      <p:sp>
        <p:nvSpPr>
          <p:cNvPr id="4" name="Subtitle 3">
            <a:extLst>
              <a:ext uri="{FF2B5EF4-FFF2-40B4-BE49-F238E27FC236}">
                <a16:creationId xmlns:a16="http://schemas.microsoft.com/office/drawing/2014/main" id="{E5CD0697-40D4-48FC-88F7-4D543BB1DCE4}"/>
              </a:ext>
            </a:extLst>
          </p:cNvPr>
          <p:cNvSpPr>
            <a:spLocks noGrp="1"/>
          </p:cNvSpPr>
          <p:nvPr>
            <p:ph type="subTitle" idx="1"/>
          </p:nvPr>
        </p:nvSpPr>
        <p:spPr/>
        <p:txBody>
          <a:bodyPr/>
          <a:lstStyle/>
          <a:p>
            <a:r>
              <a:rPr lang="en-GB" dirty="0"/>
              <a:t>Place subtitle here in GT Sectra Fine </a:t>
            </a:r>
            <a:r>
              <a:rPr lang="en-GB" dirty="0" err="1"/>
              <a:t>Rg</a:t>
            </a:r>
            <a:r>
              <a:rPr lang="en-GB" dirty="0"/>
              <a:t> 24pt</a:t>
            </a:r>
            <a:endParaRPr lang="en-US" dirty="0"/>
          </a:p>
        </p:txBody>
      </p:sp>
      <p:sp>
        <p:nvSpPr>
          <p:cNvPr id="5" name="Text Placeholder 4">
            <a:extLst>
              <a:ext uri="{FF2B5EF4-FFF2-40B4-BE49-F238E27FC236}">
                <a16:creationId xmlns:a16="http://schemas.microsoft.com/office/drawing/2014/main" id="{8FB9C809-EB77-4B14-B8CF-5755BDE8A99C}"/>
              </a:ext>
            </a:extLst>
          </p:cNvPr>
          <p:cNvSpPr>
            <a:spLocks noGrp="1"/>
          </p:cNvSpPr>
          <p:nvPr>
            <p:ph type="body" sz="quarter" idx="12"/>
          </p:nvPr>
        </p:nvSpPr>
        <p:spPr/>
        <p:txBody>
          <a:bodyPr/>
          <a:lstStyle/>
          <a:p>
            <a:r>
              <a:rPr lang="en-US" dirty="0"/>
              <a:t>Presenter 14pt</a:t>
            </a:r>
          </a:p>
        </p:txBody>
      </p:sp>
      <p:sp>
        <p:nvSpPr>
          <p:cNvPr id="6" name="Picture Placeholder 5" descr="Add client logo">
            <a:extLst>
              <a:ext uri="{FF2B5EF4-FFF2-40B4-BE49-F238E27FC236}">
                <a16:creationId xmlns:a16="http://schemas.microsoft.com/office/drawing/2014/main" id="{6DC28C3E-ADBE-454C-B1D0-6939B9E8E8C7}"/>
              </a:ext>
            </a:extLst>
          </p:cNvPr>
          <p:cNvSpPr>
            <a:spLocks noGrp="1"/>
          </p:cNvSpPr>
          <p:nvPr>
            <p:ph type="pic" sz="quarter" idx="13"/>
          </p:nvPr>
        </p:nvSpPr>
        <p:spPr/>
        <p:txBody>
          <a:bodyPr/>
          <a:lstStyle/>
          <a:p>
            <a:endParaRPr lang="fr-FR"/>
          </a:p>
        </p:txBody>
      </p:sp>
      <p:grpSp>
        <p:nvGrpSpPr>
          <p:cNvPr id="9" name="Logo_BL">
            <a:extLst>
              <a:ext uri="{FF2B5EF4-FFF2-40B4-BE49-F238E27FC236}">
                <a16:creationId xmlns:a16="http://schemas.microsoft.com/office/drawing/2014/main" id="{7E0B20CC-440F-4B40-B6CA-024B0CB75109}"/>
              </a:ext>
              <a:ext uri="{C183D7F6-B498-43B3-948B-1728B52AA6E4}">
                <adec:decorative xmlns:adec="http://schemas.microsoft.com/office/drawing/2017/decorative" val="1"/>
              </a:ext>
            </a:extLst>
          </p:cNvPr>
          <p:cNvGrpSpPr>
            <a:grpSpLocks noChangeAspect="1"/>
          </p:cNvGrpSpPr>
          <p:nvPr/>
        </p:nvGrpSpPr>
        <p:grpSpPr bwMode="auto">
          <a:xfrm>
            <a:off x="381001" y="5815543"/>
            <a:ext cx="1883664" cy="496357"/>
            <a:chOff x="2387" y="1701"/>
            <a:chExt cx="4535" cy="1195"/>
          </a:xfrm>
        </p:grpSpPr>
        <p:sp>
          <p:nvSpPr>
            <p:cNvPr id="10" name="Freeform 5">
              <a:extLst>
                <a:ext uri="{FF2B5EF4-FFF2-40B4-BE49-F238E27FC236}">
                  <a16:creationId xmlns:a16="http://schemas.microsoft.com/office/drawing/2014/main" id="{C84BB615-DA28-4947-AE77-070ABDAAADEB}"/>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C973A4A8-3995-46C1-B5D9-D8927FEB29EA}"/>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03623262"/>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Consequences/Conclusion 6</a:t>
            </a:r>
          </a:p>
        </p:txBody>
      </p:sp>
      <p:grpSp>
        <p:nvGrpSpPr>
          <p:cNvPr id="15" name="Group 14" descr="Conclusion 1">
            <a:extLst>
              <a:ext uri="{FF2B5EF4-FFF2-40B4-BE49-F238E27FC236}">
                <a16:creationId xmlns:a16="http://schemas.microsoft.com/office/drawing/2014/main" id="{221C6FE1-9002-4EB4-A642-3F9E5C7A87A3}"/>
              </a:ext>
            </a:extLst>
          </p:cNvPr>
          <p:cNvGrpSpPr/>
          <p:nvPr/>
        </p:nvGrpSpPr>
        <p:grpSpPr>
          <a:xfrm>
            <a:off x="1468438" y="1628800"/>
            <a:ext cx="5587787" cy="1922425"/>
            <a:chOff x="1405187" y="1628800"/>
            <a:chExt cx="5587787" cy="1658955"/>
          </a:xfrm>
        </p:grpSpPr>
        <p:sp>
          <p:nvSpPr>
            <p:cNvPr id="16" name="AutoShape 3">
              <a:extLst>
                <a:ext uri="{FF2B5EF4-FFF2-40B4-BE49-F238E27FC236}">
                  <a16:creationId xmlns:a16="http://schemas.microsoft.com/office/drawing/2014/main" id="{9D5278ED-F36B-4CA7-B647-A8BF4C4499AC}"/>
                </a:ext>
              </a:extLst>
            </p:cNvPr>
            <p:cNvSpPr>
              <a:spLocks noChangeAspect="1" noChangeArrowheads="1"/>
            </p:cNvSpPr>
            <p:nvPr/>
          </p:nvSpPr>
          <p:spPr bwMode="auto">
            <a:xfrm>
              <a:off x="1822450" y="1628800"/>
              <a:ext cx="5170524" cy="1658953"/>
            </a:xfrm>
            <a:prstGeom prst="homePlate">
              <a:avLst>
                <a:gd name="adj" fmla="val 0"/>
              </a:avLst>
            </a:prstGeom>
            <a:solidFill>
              <a:schemeClr val="tx2">
                <a:lumMod val="20000"/>
                <a:lumOff val="80000"/>
              </a:schemeClr>
            </a:solidFill>
            <a:ln w="6350">
              <a:noFill/>
              <a:miter lim="800000"/>
              <a:headEnd/>
              <a:tailEnd/>
            </a:ln>
            <a:effectLst/>
          </p:spPr>
          <p:txBody>
            <a:bodyPr lIns="360000" tIns="180000" rIns="72000" bIns="72000"/>
            <a:lstStyle/>
            <a:p>
              <a:pPr marL="180000" indent="-180000" algn="l" eaLnBrk="0" hangingPunct="0">
                <a:spcBef>
                  <a:spcPts val="100"/>
                </a:spcBef>
                <a:spcAft>
                  <a:spcPts val="100"/>
                </a:spcAft>
                <a:buClr>
                  <a:schemeClr val="tx1"/>
                </a:buClr>
              </a:pPr>
              <a:r>
                <a:rPr lang="en-US" sz="1600" b="1" dirty="0">
                  <a:latin typeface="+mj-lt"/>
                </a:rPr>
                <a:t>Text</a:t>
              </a:r>
            </a:p>
            <a:p>
              <a:pPr marL="177800" indent="-177800" eaLnBrk="0" hangingPunct="0">
                <a:spcBef>
                  <a:spcPts val="100"/>
                </a:spcBef>
                <a:spcAft>
                  <a:spcPts val="100"/>
                </a:spcAft>
                <a:buFontTx/>
                <a:buChar char="•"/>
              </a:pPr>
              <a:r>
                <a:rPr lang="en-US" sz="1600" dirty="0"/>
                <a:t>Text</a:t>
              </a:r>
            </a:p>
            <a:p>
              <a:pPr marL="177800" indent="-177800" eaLnBrk="0" hangingPunct="0">
                <a:spcBef>
                  <a:spcPts val="100"/>
                </a:spcBef>
                <a:spcAft>
                  <a:spcPts val="100"/>
                </a:spcAft>
                <a:buFontTx/>
                <a:buChar char="•"/>
              </a:pPr>
              <a:r>
                <a:rPr lang="en-US" sz="1600" dirty="0"/>
                <a:t>Text</a:t>
              </a:r>
            </a:p>
            <a:p>
              <a:pPr marL="177800" indent="-177800" eaLnBrk="0" hangingPunct="0">
                <a:spcBef>
                  <a:spcPts val="100"/>
                </a:spcBef>
                <a:spcAft>
                  <a:spcPts val="100"/>
                </a:spcAft>
                <a:buFontTx/>
                <a:buChar char="•"/>
              </a:pPr>
              <a:r>
                <a:rPr lang="en-US" sz="1600" dirty="0"/>
                <a:t>Text</a:t>
              </a:r>
            </a:p>
          </p:txBody>
        </p:sp>
        <p:sp>
          <p:nvSpPr>
            <p:cNvPr id="17" name="Rectangle 22">
              <a:extLst>
                <a:ext uri="{FF2B5EF4-FFF2-40B4-BE49-F238E27FC236}">
                  <a16:creationId xmlns:a16="http://schemas.microsoft.com/office/drawing/2014/main" id="{DA9A56F4-9691-42E5-9A02-F34ED26432F3}"/>
                </a:ext>
              </a:extLst>
            </p:cNvPr>
            <p:cNvSpPr>
              <a:spLocks noChangeArrowheads="1"/>
            </p:cNvSpPr>
            <p:nvPr/>
          </p:nvSpPr>
          <p:spPr bwMode="auto">
            <a:xfrm rot="16200000">
              <a:off x="786681" y="2251985"/>
              <a:ext cx="1654276" cy="417264"/>
            </a:xfrm>
            <a:prstGeom prst="rect">
              <a:avLst/>
            </a:prstGeom>
            <a:solidFill>
              <a:schemeClr val="accent3"/>
            </a:solidFill>
            <a:ln w="6350">
              <a:noFill/>
              <a:miter lim="800000"/>
              <a:headEnd/>
              <a:tailEnd/>
            </a:ln>
            <a:effectLst/>
          </p:spPr>
          <p:txBody>
            <a:bodyPr lIns="72000" tIns="108000" rIns="72000" bIns="36000" anchor="ctr"/>
            <a:lstStyle/>
            <a:p>
              <a:pPr algn="ctr" eaLnBrk="0" hangingPunct="0">
                <a:lnSpc>
                  <a:spcPct val="85000"/>
                </a:lnSpc>
                <a:spcBef>
                  <a:spcPts val="100"/>
                </a:spcBef>
                <a:spcAft>
                  <a:spcPts val="300"/>
                </a:spcAft>
              </a:pPr>
              <a:r>
                <a:rPr lang="en-US" sz="1600" b="1" dirty="0">
                  <a:solidFill>
                    <a:schemeClr val="bg1"/>
                  </a:solidFill>
                  <a:latin typeface="+mj-lt"/>
                </a:rPr>
                <a:t> Text</a:t>
              </a:r>
            </a:p>
          </p:txBody>
        </p:sp>
      </p:grpSp>
      <p:sp>
        <p:nvSpPr>
          <p:cNvPr id="23" name="Arrow: Chevron 22">
            <a:extLst>
              <a:ext uri="{FF2B5EF4-FFF2-40B4-BE49-F238E27FC236}">
                <a16:creationId xmlns:a16="http://schemas.microsoft.com/office/drawing/2014/main" id="{A418484F-264A-4F46-8CAF-792A7A0D07E0}"/>
              </a:ext>
              <a:ext uri="{C183D7F6-B498-43B3-948B-1728B52AA6E4}">
                <adec:decorative xmlns:adec="http://schemas.microsoft.com/office/drawing/2017/decorative" val="1"/>
              </a:ext>
            </a:extLst>
          </p:cNvPr>
          <p:cNvSpPr/>
          <p:nvPr/>
        </p:nvSpPr>
        <p:spPr>
          <a:xfrm>
            <a:off x="7233231" y="2348788"/>
            <a:ext cx="351050" cy="482446"/>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grpSp>
        <p:nvGrpSpPr>
          <p:cNvPr id="18" name="Group 17" descr="Conclusion 2">
            <a:extLst>
              <a:ext uri="{FF2B5EF4-FFF2-40B4-BE49-F238E27FC236}">
                <a16:creationId xmlns:a16="http://schemas.microsoft.com/office/drawing/2014/main" id="{0E0B6341-6145-48C2-96CC-3935E8B31F6D}"/>
              </a:ext>
            </a:extLst>
          </p:cNvPr>
          <p:cNvGrpSpPr/>
          <p:nvPr/>
        </p:nvGrpSpPr>
        <p:grpSpPr>
          <a:xfrm>
            <a:off x="1468438" y="3676712"/>
            <a:ext cx="5587787" cy="1922425"/>
            <a:chOff x="1405187" y="1628800"/>
            <a:chExt cx="5587787" cy="1658955"/>
          </a:xfrm>
        </p:grpSpPr>
        <p:sp>
          <p:nvSpPr>
            <p:cNvPr id="19" name="AutoShape 3">
              <a:extLst>
                <a:ext uri="{FF2B5EF4-FFF2-40B4-BE49-F238E27FC236}">
                  <a16:creationId xmlns:a16="http://schemas.microsoft.com/office/drawing/2014/main" id="{19AF23E8-55E4-4A51-B241-DA2E24A8393A}"/>
                </a:ext>
              </a:extLst>
            </p:cNvPr>
            <p:cNvSpPr>
              <a:spLocks noChangeAspect="1" noChangeArrowheads="1"/>
            </p:cNvSpPr>
            <p:nvPr/>
          </p:nvSpPr>
          <p:spPr bwMode="auto">
            <a:xfrm>
              <a:off x="1822450" y="1628800"/>
              <a:ext cx="5170524" cy="1658953"/>
            </a:xfrm>
            <a:prstGeom prst="homePlate">
              <a:avLst>
                <a:gd name="adj" fmla="val 0"/>
              </a:avLst>
            </a:prstGeom>
            <a:solidFill>
              <a:schemeClr val="tx2">
                <a:lumMod val="20000"/>
                <a:lumOff val="80000"/>
              </a:schemeClr>
            </a:solidFill>
            <a:ln w="6350">
              <a:noFill/>
              <a:miter lim="800000"/>
              <a:headEnd/>
              <a:tailEnd/>
            </a:ln>
            <a:effectLst/>
          </p:spPr>
          <p:txBody>
            <a:bodyPr lIns="360000" tIns="180000" rIns="72000" bIns="72000"/>
            <a:lstStyle/>
            <a:p>
              <a:pPr marL="180000" indent="-180000" algn="l" eaLnBrk="0" hangingPunct="0">
                <a:spcBef>
                  <a:spcPts val="100"/>
                </a:spcBef>
                <a:spcAft>
                  <a:spcPts val="100"/>
                </a:spcAft>
                <a:buClr>
                  <a:schemeClr val="tx1"/>
                </a:buClr>
              </a:pPr>
              <a:r>
                <a:rPr lang="en-US" sz="1600" b="1" dirty="0">
                  <a:latin typeface="+mj-lt"/>
                </a:rPr>
                <a:t>Text</a:t>
              </a:r>
            </a:p>
            <a:p>
              <a:pPr marL="177800" indent="-177800" eaLnBrk="0" hangingPunct="0">
                <a:spcBef>
                  <a:spcPts val="100"/>
                </a:spcBef>
                <a:spcAft>
                  <a:spcPts val="100"/>
                </a:spcAft>
                <a:buFontTx/>
                <a:buChar char="•"/>
              </a:pPr>
              <a:r>
                <a:rPr lang="en-US" sz="1600" dirty="0"/>
                <a:t>Text</a:t>
              </a:r>
            </a:p>
            <a:p>
              <a:pPr marL="177800" indent="-177800" eaLnBrk="0" hangingPunct="0">
                <a:spcBef>
                  <a:spcPts val="100"/>
                </a:spcBef>
                <a:spcAft>
                  <a:spcPts val="100"/>
                </a:spcAft>
                <a:buFontTx/>
                <a:buChar char="•"/>
              </a:pPr>
              <a:r>
                <a:rPr lang="en-US" sz="1600" dirty="0"/>
                <a:t>Text</a:t>
              </a:r>
            </a:p>
            <a:p>
              <a:pPr marL="177800" indent="-177800" eaLnBrk="0" hangingPunct="0">
                <a:spcBef>
                  <a:spcPts val="100"/>
                </a:spcBef>
                <a:spcAft>
                  <a:spcPts val="100"/>
                </a:spcAft>
                <a:buFontTx/>
                <a:buChar char="•"/>
              </a:pPr>
              <a:r>
                <a:rPr lang="en-US" sz="1600" dirty="0"/>
                <a:t>Text</a:t>
              </a:r>
            </a:p>
          </p:txBody>
        </p:sp>
        <p:sp>
          <p:nvSpPr>
            <p:cNvPr id="20" name="Rectangle 22">
              <a:extLst>
                <a:ext uri="{FF2B5EF4-FFF2-40B4-BE49-F238E27FC236}">
                  <a16:creationId xmlns:a16="http://schemas.microsoft.com/office/drawing/2014/main" id="{52E43F17-B4E3-4151-AE5D-EE65C2FB63E5}"/>
                </a:ext>
              </a:extLst>
            </p:cNvPr>
            <p:cNvSpPr>
              <a:spLocks noChangeArrowheads="1"/>
            </p:cNvSpPr>
            <p:nvPr/>
          </p:nvSpPr>
          <p:spPr bwMode="auto">
            <a:xfrm rot="16200000">
              <a:off x="786681" y="2251985"/>
              <a:ext cx="1654276" cy="417264"/>
            </a:xfrm>
            <a:prstGeom prst="rect">
              <a:avLst/>
            </a:prstGeom>
            <a:solidFill>
              <a:schemeClr val="accent3"/>
            </a:solidFill>
            <a:ln w="6350">
              <a:noFill/>
              <a:miter lim="800000"/>
              <a:headEnd/>
              <a:tailEnd/>
            </a:ln>
            <a:effectLst/>
          </p:spPr>
          <p:txBody>
            <a:bodyPr lIns="72000" tIns="108000" rIns="72000" bIns="36000" anchor="ctr"/>
            <a:lstStyle/>
            <a:p>
              <a:pPr algn="ctr" eaLnBrk="0" hangingPunct="0">
                <a:lnSpc>
                  <a:spcPct val="85000"/>
                </a:lnSpc>
                <a:spcBef>
                  <a:spcPts val="100"/>
                </a:spcBef>
                <a:spcAft>
                  <a:spcPts val="300"/>
                </a:spcAft>
              </a:pPr>
              <a:r>
                <a:rPr lang="en-US" sz="1600" b="1" dirty="0">
                  <a:solidFill>
                    <a:schemeClr val="bg1"/>
                  </a:solidFill>
                  <a:latin typeface="+mj-lt"/>
                </a:rPr>
                <a:t> Text</a:t>
              </a:r>
            </a:p>
          </p:txBody>
        </p:sp>
      </p:grpSp>
      <p:sp>
        <p:nvSpPr>
          <p:cNvPr id="22" name="Arrow: Chevron 21">
            <a:extLst>
              <a:ext uri="{FF2B5EF4-FFF2-40B4-BE49-F238E27FC236}">
                <a16:creationId xmlns:a16="http://schemas.microsoft.com/office/drawing/2014/main" id="{17D81990-9F84-4167-B211-6BB88DAFF461}"/>
              </a:ext>
              <a:ext uri="{C183D7F6-B498-43B3-948B-1728B52AA6E4}">
                <adec:decorative xmlns:adec="http://schemas.microsoft.com/office/drawing/2017/decorative" val="1"/>
              </a:ext>
            </a:extLst>
          </p:cNvPr>
          <p:cNvSpPr/>
          <p:nvPr/>
        </p:nvSpPr>
        <p:spPr>
          <a:xfrm>
            <a:off x="7233231" y="4396700"/>
            <a:ext cx="351050" cy="482446"/>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14" name="Rectangle 21">
            <a:extLst>
              <a:ext uri="{FF2B5EF4-FFF2-40B4-BE49-F238E27FC236}">
                <a16:creationId xmlns:a16="http://schemas.microsoft.com/office/drawing/2014/main" id="{219B79CC-DB9F-45C6-B8B5-00B3A0F92E5B}"/>
              </a:ext>
            </a:extLst>
          </p:cNvPr>
          <p:cNvSpPr>
            <a:spLocks noChangeArrowheads="1"/>
          </p:cNvSpPr>
          <p:nvPr/>
        </p:nvSpPr>
        <p:spPr bwMode="auto">
          <a:xfrm>
            <a:off x="7761287" y="1628800"/>
            <a:ext cx="2959099" cy="3970337"/>
          </a:xfrm>
          <a:prstGeom prst="rect">
            <a:avLst/>
          </a:prstGeom>
          <a:solidFill>
            <a:schemeClr val="accent1"/>
          </a:solidFill>
          <a:ln w="6350">
            <a:noFill/>
            <a:miter lim="800000"/>
            <a:headEnd/>
            <a:tailEnd/>
          </a:ln>
        </p:spPr>
        <p:txBody>
          <a:bodyPr lIns="252000" tIns="144000" rIns="72000" bIns="72000"/>
          <a:lstStyle/>
          <a:p>
            <a:pPr eaLnBrk="0" hangingPunct="0">
              <a:lnSpc>
                <a:spcPct val="85000"/>
              </a:lnSpc>
              <a:spcBef>
                <a:spcPts val="100"/>
              </a:spcBef>
              <a:spcAft>
                <a:spcPts val="300"/>
              </a:spcAft>
            </a:pPr>
            <a:r>
              <a:rPr lang="en-US" sz="1600" b="1" dirty="0">
                <a:solidFill>
                  <a:schemeClr val="bg1"/>
                </a:solidFill>
                <a:latin typeface="+mj-lt"/>
              </a:rPr>
              <a:t>Text</a:t>
            </a:r>
          </a:p>
          <a:p>
            <a:pPr marL="174625" indent="-174625" eaLnBrk="0" hangingPunct="0">
              <a:lnSpc>
                <a:spcPct val="85000"/>
              </a:lnSpc>
              <a:spcBef>
                <a:spcPts val="100"/>
              </a:spcBef>
              <a:spcAft>
                <a:spcPts val="100"/>
              </a:spcAft>
              <a:buFontTx/>
              <a:buChar char="•"/>
            </a:pPr>
            <a:r>
              <a:rPr lang="en-US" sz="1600" dirty="0">
                <a:solidFill>
                  <a:schemeClr val="bg1"/>
                </a:solidFill>
              </a:rPr>
              <a:t>Text</a:t>
            </a:r>
          </a:p>
          <a:p>
            <a:pPr marL="174625" indent="-174625" eaLnBrk="0" hangingPunct="0">
              <a:lnSpc>
                <a:spcPct val="85000"/>
              </a:lnSpc>
              <a:spcBef>
                <a:spcPts val="100"/>
              </a:spcBef>
              <a:spcAft>
                <a:spcPts val="100"/>
              </a:spcAft>
              <a:buFontTx/>
              <a:buChar char="•"/>
            </a:pPr>
            <a:r>
              <a:rPr lang="en-US" sz="1600" dirty="0">
                <a:solidFill>
                  <a:schemeClr val="bg1"/>
                </a:solidFill>
              </a:rPr>
              <a:t>Text</a:t>
            </a:r>
          </a:p>
        </p:txBody>
      </p:sp>
      <p:sp>
        <p:nvSpPr>
          <p:cNvPr id="4" name="Footer Placeholder 3">
            <a:extLst>
              <a:ext uri="{FF2B5EF4-FFF2-40B4-BE49-F238E27FC236}">
                <a16:creationId xmlns:a16="http://schemas.microsoft.com/office/drawing/2014/main" id="{339ADA5D-4A29-4569-B921-5F5348FF2D93}"/>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41217653-EC05-4741-AA8B-DB66C1699DFA}"/>
              </a:ext>
            </a:extLst>
          </p:cNvPr>
          <p:cNvSpPr>
            <a:spLocks noGrp="1"/>
          </p:cNvSpPr>
          <p:nvPr>
            <p:ph type="sldNum" sz="quarter" idx="10"/>
          </p:nvPr>
        </p:nvSpPr>
        <p:spPr/>
        <p:txBody>
          <a:bodyPr/>
          <a:lstStyle/>
          <a:p>
            <a:fld id="{1F90F471-3972-4120-B8B3-0237DE626C35}" type="slidenum">
              <a:rPr lang="en-US" smtClean="0"/>
              <a:pPr/>
              <a:t>320</a:t>
            </a:fld>
            <a:endParaRPr lang="en-US" dirty="0"/>
          </a:p>
        </p:txBody>
      </p:sp>
    </p:spTree>
    <p:extLst>
      <p:ext uri="{BB962C8B-B14F-4D97-AF65-F5344CB8AC3E}">
        <p14:creationId xmlns:p14="http://schemas.microsoft.com/office/powerpoint/2010/main" val="3479724304"/>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GB" dirty="0"/>
              <a:t>Consequences/Conclusion 7</a:t>
            </a:r>
            <a:endParaRPr lang="de-DE" dirty="0"/>
          </a:p>
        </p:txBody>
      </p:sp>
      <p:grpSp>
        <p:nvGrpSpPr>
          <p:cNvPr id="23" name="Group 22" descr="Rectangle 1">
            <a:extLst>
              <a:ext uri="{FF2B5EF4-FFF2-40B4-BE49-F238E27FC236}">
                <a16:creationId xmlns:a16="http://schemas.microsoft.com/office/drawing/2014/main" id="{D467F3CE-B4CE-4186-993F-CDE759735F9E}"/>
              </a:ext>
            </a:extLst>
          </p:cNvPr>
          <p:cNvGrpSpPr/>
          <p:nvPr/>
        </p:nvGrpSpPr>
        <p:grpSpPr>
          <a:xfrm>
            <a:off x="1468439" y="1628800"/>
            <a:ext cx="5587786" cy="1267917"/>
            <a:chOff x="1468439" y="1628800"/>
            <a:chExt cx="5587786" cy="1267917"/>
          </a:xfrm>
        </p:grpSpPr>
        <p:sp>
          <p:nvSpPr>
            <p:cNvPr id="24" name="AutoShape 3">
              <a:extLst>
                <a:ext uri="{FF2B5EF4-FFF2-40B4-BE49-F238E27FC236}">
                  <a16:creationId xmlns:a16="http://schemas.microsoft.com/office/drawing/2014/main" id="{D9CDC65E-49BC-41B3-B95D-97C31FD281D2}"/>
                </a:ext>
              </a:extLst>
            </p:cNvPr>
            <p:cNvSpPr>
              <a:spLocks noChangeAspect="1" noChangeArrowheads="1"/>
            </p:cNvSpPr>
            <p:nvPr/>
          </p:nvSpPr>
          <p:spPr bwMode="auto">
            <a:xfrm>
              <a:off x="1885701" y="1628800"/>
              <a:ext cx="5170524" cy="1267915"/>
            </a:xfrm>
            <a:prstGeom prst="homePlate">
              <a:avLst>
                <a:gd name="adj" fmla="val 0"/>
              </a:avLst>
            </a:prstGeom>
            <a:solidFill>
              <a:schemeClr val="tx2">
                <a:lumMod val="20000"/>
                <a:lumOff val="80000"/>
              </a:schemeClr>
            </a:solidFill>
            <a:ln w="6350">
              <a:noFill/>
              <a:miter lim="800000"/>
              <a:headEnd/>
              <a:tailEnd/>
            </a:ln>
            <a:effectLst/>
          </p:spPr>
          <p:txBody>
            <a:bodyPr lIns="252000" tIns="144000" rIns="72000" bIns="72000"/>
            <a:lstStyle/>
            <a:p>
              <a:pPr algn="l" eaLnBrk="0" hangingPunct="0">
                <a:spcBef>
                  <a:spcPts val="100"/>
                </a:spcBef>
                <a:spcAft>
                  <a:spcPts val="100"/>
                </a:spcAft>
                <a:buClr>
                  <a:schemeClr val="tx1"/>
                </a:buClr>
              </a:pPr>
              <a:r>
                <a:rPr lang="en-US" sz="1400" b="1" dirty="0">
                  <a:latin typeface="+mj-lt"/>
                </a:rPr>
                <a:t>Text</a:t>
              </a:r>
            </a:p>
            <a:p>
              <a:pPr marL="177800" indent="-177800" eaLnBrk="0" hangingPunct="0">
                <a:spcBef>
                  <a:spcPts val="100"/>
                </a:spcBef>
                <a:spcAft>
                  <a:spcPts val="100"/>
                </a:spcAft>
                <a:buFontTx/>
                <a:buChar char="•"/>
              </a:pPr>
              <a:r>
                <a:rPr lang="en-US" sz="1400" dirty="0"/>
                <a:t>Text</a:t>
              </a:r>
            </a:p>
            <a:p>
              <a:pPr marL="177800" indent="-177800" eaLnBrk="0" hangingPunct="0">
                <a:spcBef>
                  <a:spcPts val="100"/>
                </a:spcBef>
                <a:spcAft>
                  <a:spcPts val="100"/>
                </a:spcAft>
                <a:buFontTx/>
                <a:buChar char="•"/>
              </a:pPr>
              <a:r>
                <a:rPr lang="en-US" sz="1400" dirty="0"/>
                <a:t>Text</a:t>
              </a:r>
            </a:p>
            <a:p>
              <a:pPr marL="177800" indent="-177800" eaLnBrk="0" hangingPunct="0">
                <a:spcBef>
                  <a:spcPts val="100"/>
                </a:spcBef>
                <a:spcAft>
                  <a:spcPts val="100"/>
                </a:spcAft>
                <a:buFontTx/>
                <a:buChar char="•"/>
              </a:pPr>
              <a:r>
                <a:rPr lang="en-US" sz="1400" dirty="0"/>
                <a:t>Text</a:t>
              </a:r>
            </a:p>
          </p:txBody>
        </p:sp>
        <p:sp>
          <p:nvSpPr>
            <p:cNvPr id="25" name="Rectangle 22">
              <a:extLst>
                <a:ext uri="{FF2B5EF4-FFF2-40B4-BE49-F238E27FC236}">
                  <a16:creationId xmlns:a16="http://schemas.microsoft.com/office/drawing/2014/main" id="{0950CE34-C889-4BA5-AE46-125361507684}"/>
                </a:ext>
              </a:extLst>
            </p:cNvPr>
            <p:cNvSpPr>
              <a:spLocks noChangeArrowheads="1"/>
            </p:cNvSpPr>
            <p:nvPr/>
          </p:nvSpPr>
          <p:spPr bwMode="auto">
            <a:xfrm rot="16200000">
              <a:off x="1044900" y="2055915"/>
              <a:ext cx="1264341" cy="417264"/>
            </a:xfrm>
            <a:prstGeom prst="rect">
              <a:avLst/>
            </a:prstGeom>
            <a:solidFill>
              <a:schemeClr val="accent3"/>
            </a:solidFill>
            <a:ln w="6350">
              <a:noFill/>
              <a:miter lim="800000"/>
              <a:headEnd/>
              <a:tailEnd/>
            </a:ln>
            <a:effectLst/>
          </p:spPr>
          <p:txBody>
            <a:bodyPr lIns="72000" tIns="108000" rIns="72000" bIns="36000" anchor="ctr"/>
            <a:lstStyle/>
            <a:p>
              <a:pPr algn="ctr" eaLnBrk="0" hangingPunct="0">
                <a:lnSpc>
                  <a:spcPct val="85000"/>
                </a:lnSpc>
                <a:spcBef>
                  <a:spcPts val="100"/>
                </a:spcBef>
                <a:spcAft>
                  <a:spcPts val="300"/>
                </a:spcAft>
              </a:pPr>
              <a:r>
                <a:rPr lang="en-US" sz="1400" b="1" dirty="0">
                  <a:solidFill>
                    <a:schemeClr val="bg1"/>
                  </a:solidFill>
                  <a:latin typeface="+mj-lt"/>
                </a:rPr>
                <a:t> Text</a:t>
              </a:r>
            </a:p>
          </p:txBody>
        </p:sp>
      </p:grpSp>
      <p:sp>
        <p:nvSpPr>
          <p:cNvPr id="22" name="Arrow: Chevron 21">
            <a:extLst>
              <a:ext uri="{FF2B5EF4-FFF2-40B4-BE49-F238E27FC236}">
                <a16:creationId xmlns:a16="http://schemas.microsoft.com/office/drawing/2014/main" id="{011E8936-20B2-4AAC-95B7-4C92FBE328C7}"/>
              </a:ext>
              <a:ext uri="{C183D7F6-B498-43B3-948B-1728B52AA6E4}">
                <adec:decorative xmlns:adec="http://schemas.microsoft.com/office/drawing/2017/decorative" val="1"/>
              </a:ext>
            </a:extLst>
          </p:cNvPr>
          <p:cNvSpPr/>
          <p:nvPr/>
        </p:nvSpPr>
        <p:spPr>
          <a:xfrm>
            <a:off x="7233231" y="2021535"/>
            <a:ext cx="351050" cy="482446"/>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grpSp>
        <p:nvGrpSpPr>
          <p:cNvPr id="26" name="Group 25" descr="Rectangle 2">
            <a:extLst>
              <a:ext uri="{FF2B5EF4-FFF2-40B4-BE49-F238E27FC236}">
                <a16:creationId xmlns:a16="http://schemas.microsoft.com/office/drawing/2014/main" id="{F4CD45C4-3B62-4D5D-A56D-C171EFF6C6B3}"/>
              </a:ext>
            </a:extLst>
          </p:cNvPr>
          <p:cNvGrpSpPr/>
          <p:nvPr/>
        </p:nvGrpSpPr>
        <p:grpSpPr>
          <a:xfrm>
            <a:off x="1468439" y="2979481"/>
            <a:ext cx="5587786" cy="1267917"/>
            <a:chOff x="1468439" y="2979481"/>
            <a:chExt cx="5587786" cy="1267917"/>
          </a:xfrm>
        </p:grpSpPr>
        <p:sp>
          <p:nvSpPr>
            <p:cNvPr id="27" name="AutoShape 3">
              <a:extLst>
                <a:ext uri="{FF2B5EF4-FFF2-40B4-BE49-F238E27FC236}">
                  <a16:creationId xmlns:a16="http://schemas.microsoft.com/office/drawing/2014/main" id="{9F9A3886-DD68-4B93-8BDE-162A9BE8A110}"/>
                </a:ext>
              </a:extLst>
            </p:cNvPr>
            <p:cNvSpPr>
              <a:spLocks noChangeAspect="1" noChangeArrowheads="1"/>
            </p:cNvSpPr>
            <p:nvPr/>
          </p:nvSpPr>
          <p:spPr bwMode="auto">
            <a:xfrm>
              <a:off x="1885701" y="2979481"/>
              <a:ext cx="5170524" cy="1267915"/>
            </a:xfrm>
            <a:prstGeom prst="homePlate">
              <a:avLst>
                <a:gd name="adj" fmla="val 0"/>
              </a:avLst>
            </a:prstGeom>
            <a:solidFill>
              <a:schemeClr val="tx2">
                <a:lumMod val="20000"/>
                <a:lumOff val="80000"/>
              </a:schemeClr>
            </a:solidFill>
            <a:ln w="6350">
              <a:noFill/>
              <a:miter lim="800000"/>
              <a:headEnd/>
              <a:tailEnd/>
            </a:ln>
            <a:effectLst/>
          </p:spPr>
          <p:txBody>
            <a:bodyPr lIns="252000" tIns="144000" rIns="72000" bIns="72000"/>
            <a:lstStyle/>
            <a:p>
              <a:pPr algn="l" eaLnBrk="0" hangingPunct="0">
                <a:spcBef>
                  <a:spcPts val="100"/>
                </a:spcBef>
                <a:spcAft>
                  <a:spcPts val="100"/>
                </a:spcAft>
                <a:buClr>
                  <a:schemeClr val="tx1"/>
                </a:buClr>
              </a:pPr>
              <a:r>
                <a:rPr lang="en-US" sz="1400" b="1" dirty="0">
                  <a:latin typeface="+mj-lt"/>
                </a:rPr>
                <a:t>Text</a:t>
              </a:r>
            </a:p>
            <a:p>
              <a:pPr marL="177800" indent="-177800" eaLnBrk="0" hangingPunct="0">
                <a:spcBef>
                  <a:spcPts val="100"/>
                </a:spcBef>
                <a:spcAft>
                  <a:spcPts val="100"/>
                </a:spcAft>
                <a:buFontTx/>
                <a:buChar char="•"/>
              </a:pPr>
              <a:r>
                <a:rPr lang="en-US" sz="1400" dirty="0"/>
                <a:t>Text</a:t>
              </a:r>
            </a:p>
            <a:p>
              <a:pPr marL="177800" indent="-177800" eaLnBrk="0" hangingPunct="0">
                <a:spcBef>
                  <a:spcPts val="100"/>
                </a:spcBef>
                <a:spcAft>
                  <a:spcPts val="100"/>
                </a:spcAft>
                <a:buFontTx/>
                <a:buChar char="•"/>
              </a:pPr>
              <a:r>
                <a:rPr lang="en-US" sz="1400" dirty="0"/>
                <a:t>Text</a:t>
              </a:r>
            </a:p>
            <a:p>
              <a:pPr marL="177800" indent="-177800" eaLnBrk="0" hangingPunct="0">
                <a:spcBef>
                  <a:spcPts val="100"/>
                </a:spcBef>
                <a:spcAft>
                  <a:spcPts val="100"/>
                </a:spcAft>
                <a:buFontTx/>
                <a:buChar char="•"/>
              </a:pPr>
              <a:r>
                <a:rPr lang="en-US" sz="1400" dirty="0"/>
                <a:t>Text</a:t>
              </a:r>
            </a:p>
          </p:txBody>
        </p:sp>
        <p:sp>
          <p:nvSpPr>
            <p:cNvPr id="28" name="Rectangle 22">
              <a:extLst>
                <a:ext uri="{FF2B5EF4-FFF2-40B4-BE49-F238E27FC236}">
                  <a16:creationId xmlns:a16="http://schemas.microsoft.com/office/drawing/2014/main" id="{009FD245-D7BD-4C99-B134-36CFF2057717}"/>
                </a:ext>
              </a:extLst>
            </p:cNvPr>
            <p:cNvSpPr>
              <a:spLocks noChangeArrowheads="1"/>
            </p:cNvSpPr>
            <p:nvPr/>
          </p:nvSpPr>
          <p:spPr bwMode="auto">
            <a:xfrm rot="16200000">
              <a:off x="1044900" y="3406596"/>
              <a:ext cx="1264341" cy="417264"/>
            </a:xfrm>
            <a:prstGeom prst="rect">
              <a:avLst/>
            </a:prstGeom>
            <a:solidFill>
              <a:schemeClr val="accent3"/>
            </a:solidFill>
            <a:ln w="6350">
              <a:noFill/>
              <a:miter lim="800000"/>
              <a:headEnd/>
              <a:tailEnd/>
            </a:ln>
            <a:effectLst/>
          </p:spPr>
          <p:txBody>
            <a:bodyPr lIns="72000" tIns="108000" rIns="72000" bIns="36000" anchor="ctr"/>
            <a:lstStyle/>
            <a:p>
              <a:pPr algn="ctr" eaLnBrk="0" hangingPunct="0">
                <a:lnSpc>
                  <a:spcPct val="85000"/>
                </a:lnSpc>
                <a:spcBef>
                  <a:spcPts val="100"/>
                </a:spcBef>
                <a:spcAft>
                  <a:spcPts val="300"/>
                </a:spcAft>
              </a:pPr>
              <a:r>
                <a:rPr lang="en-US" sz="1400" b="1" dirty="0">
                  <a:solidFill>
                    <a:schemeClr val="bg1"/>
                  </a:solidFill>
                  <a:latin typeface="+mj-lt"/>
                </a:rPr>
                <a:t> Text</a:t>
              </a:r>
            </a:p>
          </p:txBody>
        </p:sp>
      </p:grpSp>
      <p:sp>
        <p:nvSpPr>
          <p:cNvPr id="32" name="Arrow: Chevron 31">
            <a:extLst>
              <a:ext uri="{FF2B5EF4-FFF2-40B4-BE49-F238E27FC236}">
                <a16:creationId xmlns:a16="http://schemas.microsoft.com/office/drawing/2014/main" id="{175A1161-2125-43E4-A08B-6A707553A2A0}"/>
              </a:ext>
              <a:ext uri="{C183D7F6-B498-43B3-948B-1728B52AA6E4}">
                <adec:decorative xmlns:adec="http://schemas.microsoft.com/office/drawing/2017/decorative" val="1"/>
              </a:ext>
            </a:extLst>
          </p:cNvPr>
          <p:cNvSpPr/>
          <p:nvPr/>
        </p:nvSpPr>
        <p:spPr>
          <a:xfrm>
            <a:off x="7233231" y="3372216"/>
            <a:ext cx="351050" cy="482446"/>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grpSp>
        <p:nvGrpSpPr>
          <p:cNvPr id="29" name="Group 28" descr="Rectangle 3">
            <a:extLst>
              <a:ext uri="{FF2B5EF4-FFF2-40B4-BE49-F238E27FC236}">
                <a16:creationId xmlns:a16="http://schemas.microsoft.com/office/drawing/2014/main" id="{8AB94137-1BDC-4587-A6F9-D7B2B9905DF7}"/>
              </a:ext>
            </a:extLst>
          </p:cNvPr>
          <p:cNvGrpSpPr/>
          <p:nvPr/>
        </p:nvGrpSpPr>
        <p:grpSpPr>
          <a:xfrm>
            <a:off x="1468439" y="4331220"/>
            <a:ext cx="5587786" cy="1267917"/>
            <a:chOff x="1468439" y="4331220"/>
            <a:chExt cx="5587786" cy="1267917"/>
          </a:xfrm>
        </p:grpSpPr>
        <p:sp>
          <p:nvSpPr>
            <p:cNvPr id="30" name="AutoShape 3">
              <a:extLst>
                <a:ext uri="{FF2B5EF4-FFF2-40B4-BE49-F238E27FC236}">
                  <a16:creationId xmlns:a16="http://schemas.microsoft.com/office/drawing/2014/main" id="{338BA156-09CA-4582-994D-785807437BFE}"/>
                </a:ext>
              </a:extLst>
            </p:cNvPr>
            <p:cNvSpPr>
              <a:spLocks noChangeAspect="1" noChangeArrowheads="1"/>
            </p:cNvSpPr>
            <p:nvPr/>
          </p:nvSpPr>
          <p:spPr bwMode="auto">
            <a:xfrm>
              <a:off x="1885701" y="4331220"/>
              <a:ext cx="5170524" cy="1267915"/>
            </a:xfrm>
            <a:prstGeom prst="homePlate">
              <a:avLst>
                <a:gd name="adj" fmla="val 0"/>
              </a:avLst>
            </a:prstGeom>
            <a:solidFill>
              <a:schemeClr val="tx2">
                <a:lumMod val="20000"/>
                <a:lumOff val="80000"/>
              </a:schemeClr>
            </a:solidFill>
            <a:ln w="6350">
              <a:noFill/>
              <a:miter lim="800000"/>
              <a:headEnd/>
              <a:tailEnd/>
            </a:ln>
            <a:effectLst/>
          </p:spPr>
          <p:txBody>
            <a:bodyPr lIns="252000" tIns="144000" rIns="72000" bIns="72000"/>
            <a:lstStyle/>
            <a:p>
              <a:pPr algn="l" eaLnBrk="0" hangingPunct="0">
                <a:spcBef>
                  <a:spcPts val="100"/>
                </a:spcBef>
                <a:spcAft>
                  <a:spcPts val="100"/>
                </a:spcAft>
                <a:buClr>
                  <a:schemeClr val="tx1"/>
                </a:buClr>
              </a:pPr>
              <a:r>
                <a:rPr lang="en-US" sz="1400" b="1" dirty="0">
                  <a:latin typeface="+mj-lt"/>
                </a:rPr>
                <a:t>Text</a:t>
              </a:r>
            </a:p>
            <a:p>
              <a:pPr marL="177800" indent="-177800" eaLnBrk="0" hangingPunct="0">
                <a:spcBef>
                  <a:spcPts val="100"/>
                </a:spcBef>
                <a:spcAft>
                  <a:spcPts val="100"/>
                </a:spcAft>
                <a:buFontTx/>
                <a:buChar char="•"/>
              </a:pPr>
              <a:r>
                <a:rPr lang="en-US" sz="1400" dirty="0"/>
                <a:t>Text</a:t>
              </a:r>
            </a:p>
            <a:p>
              <a:pPr marL="177800" indent="-177800" eaLnBrk="0" hangingPunct="0">
                <a:spcBef>
                  <a:spcPts val="100"/>
                </a:spcBef>
                <a:spcAft>
                  <a:spcPts val="100"/>
                </a:spcAft>
                <a:buFontTx/>
                <a:buChar char="•"/>
              </a:pPr>
              <a:r>
                <a:rPr lang="en-US" sz="1400" dirty="0"/>
                <a:t>Text</a:t>
              </a:r>
            </a:p>
            <a:p>
              <a:pPr marL="177800" indent="-177800" eaLnBrk="0" hangingPunct="0">
                <a:spcBef>
                  <a:spcPts val="100"/>
                </a:spcBef>
                <a:spcAft>
                  <a:spcPts val="100"/>
                </a:spcAft>
                <a:buFontTx/>
                <a:buChar char="•"/>
              </a:pPr>
              <a:r>
                <a:rPr lang="en-US" sz="1400" dirty="0"/>
                <a:t>Text</a:t>
              </a:r>
            </a:p>
          </p:txBody>
        </p:sp>
        <p:sp>
          <p:nvSpPr>
            <p:cNvPr id="31" name="Rectangle 22">
              <a:extLst>
                <a:ext uri="{FF2B5EF4-FFF2-40B4-BE49-F238E27FC236}">
                  <a16:creationId xmlns:a16="http://schemas.microsoft.com/office/drawing/2014/main" id="{643C1685-F151-4F1F-AB92-8C5BC5E80071}"/>
                </a:ext>
              </a:extLst>
            </p:cNvPr>
            <p:cNvSpPr>
              <a:spLocks noChangeArrowheads="1"/>
            </p:cNvSpPr>
            <p:nvPr/>
          </p:nvSpPr>
          <p:spPr bwMode="auto">
            <a:xfrm rot="16200000">
              <a:off x="1044900" y="4758335"/>
              <a:ext cx="1264341" cy="417264"/>
            </a:xfrm>
            <a:prstGeom prst="rect">
              <a:avLst/>
            </a:prstGeom>
            <a:solidFill>
              <a:schemeClr val="accent3"/>
            </a:solidFill>
            <a:ln w="6350">
              <a:noFill/>
              <a:miter lim="800000"/>
              <a:headEnd/>
              <a:tailEnd/>
            </a:ln>
            <a:effectLst/>
          </p:spPr>
          <p:txBody>
            <a:bodyPr lIns="72000" tIns="108000" rIns="72000" bIns="36000" anchor="ctr"/>
            <a:lstStyle/>
            <a:p>
              <a:pPr algn="ctr" eaLnBrk="0" hangingPunct="0">
                <a:lnSpc>
                  <a:spcPct val="85000"/>
                </a:lnSpc>
                <a:spcBef>
                  <a:spcPts val="100"/>
                </a:spcBef>
                <a:spcAft>
                  <a:spcPts val="300"/>
                </a:spcAft>
              </a:pPr>
              <a:r>
                <a:rPr lang="en-US" sz="1400" b="1" dirty="0">
                  <a:solidFill>
                    <a:schemeClr val="bg1"/>
                  </a:solidFill>
                  <a:latin typeface="+mj-lt"/>
                </a:rPr>
                <a:t> Text</a:t>
              </a:r>
            </a:p>
          </p:txBody>
        </p:sp>
      </p:grpSp>
      <p:sp>
        <p:nvSpPr>
          <p:cNvPr id="20" name="Arrow: Chevron 19">
            <a:extLst>
              <a:ext uri="{FF2B5EF4-FFF2-40B4-BE49-F238E27FC236}">
                <a16:creationId xmlns:a16="http://schemas.microsoft.com/office/drawing/2014/main" id="{658CE841-6938-42DE-9753-0CF1EA1046DE}"/>
              </a:ext>
              <a:ext uri="{C183D7F6-B498-43B3-948B-1728B52AA6E4}">
                <adec:decorative xmlns:adec="http://schemas.microsoft.com/office/drawing/2017/decorative" val="1"/>
              </a:ext>
            </a:extLst>
          </p:cNvPr>
          <p:cNvSpPr/>
          <p:nvPr/>
        </p:nvSpPr>
        <p:spPr>
          <a:xfrm>
            <a:off x="7233231" y="4723955"/>
            <a:ext cx="351050" cy="482446"/>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19" name="Rectangle 21">
            <a:extLst>
              <a:ext uri="{FF2B5EF4-FFF2-40B4-BE49-F238E27FC236}">
                <a16:creationId xmlns:a16="http://schemas.microsoft.com/office/drawing/2014/main" id="{27DEEAB5-3852-4B9B-A983-E0A0CAE4CBC9}"/>
              </a:ext>
            </a:extLst>
          </p:cNvPr>
          <p:cNvSpPr>
            <a:spLocks noChangeArrowheads="1"/>
          </p:cNvSpPr>
          <p:nvPr/>
        </p:nvSpPr>
        <p:spPr bwMode="auto">
          <a:xfrm>
            <a:off x="7761287" y="1628800"/>
            <a:ext cx="2959099" cy="3970337"/>
          </a:xfrm>
          <a:prstGeom prst="rect">
            <a:avLst/>
          </a:prstGeom>
          <a:solidFill>
            <a:schemeClr val="accent1"/>
          </a:solidFill>
          <a:ln w="6350">
            <a:noFill/>
            <a:miter lim="800000"/>
            <a:headEnd/>
            <a:tailEnd/>
          </a:ln>
        </p:spPr>
        <p:txBody>
          <a:bodyPr lIns="252000" tIns="144000" rIns="72000" bIns="72000"/>
          <a:lstStyle/>
          <a:p>
            <a:pPr eaLnBrk="0" hangingPunct="0">
              <a:lnSpc>
                <a:spcPct val="85000"/>
              </a:lnSpc>
              <a:spcBef>
                <a:spcPts val="100"/>
              </a:spcBef>
              <a:spcAft>
                <a:spcPts val="300"/>
              </a:spcAft>
            </a:pPr>
            <a:r>
              <a:rPr lang="en-US" sz="1600" b="1" dirty="0">
                <a:solidFill>
                  <a:schemeClr val="bg1"/>
                </a:solidFill>
                <a:latin typeface="+mj-lt"/>
              </a:rPr>
              <a:t>Text</a:t>
            </a:r>
          </a:p>
          <a:p>
            <a:pPr marL="174625" indent="-174625" eaLnBrk="0" hangingPunct="0">
              <a:lnSpc>
                <a:spcPct val="85000"/>
              </a:lnSpc>
              <a:spcBef>
                <a:spcPts val="100"/>
              </a:spcBef>
              <a:spcAft>
                <a:spcPts val="100"/>
              </a:spcAft>
              <a:buFontTx/>
              <a:buChar char="•"/>
            </a:pPr>
            <a:r>
              <a:rPr lang="en-US" sz="1600" dirty="0">
                <a:solidFill>
                  <a:schemeClr val="bg1"/>
                </a:solidFill>
              </a:rPr>
              <a:t>Text</a:t>
            </a:r>
          </a:p>
          <a:p>
            <a:pPr marL="174625" indent="-174625" eaLnBrk="0" hangingPunct="0">
              <a:lnSpc>
                <a:spcPct val="85000"/>
              </a:lnSpc>
              <a:spcBef>
                <a:spcPts val="100"/>
              </a:spcBef>
              <a:spcAft>
                <a:spcPts val="100"/>
              </a:spcAft>
              <a:buFontTx/>
              <a:buChar char="•"/>
            </a:pPr>
            <a:r>
              <a:rPr lang="en-US" sz="1600" dirty="0">
                <a:solidFill>
                  <a:schemeClr val="bg1"/>
                </a:solidFill>
              </a:rPr>
              <a:t>Text</a:t>
            </a:r>
          </a:p>
        </p:txBody>
      </p:sp>
      <p:sp>
        <p:nvSpPr>
          <p:cNvPr id="4" name="Footer Placeholder 3">
            <a:extLst>
              <a:ext uri="{FF2B5EF4-FFF2-40B4-BE49-F238E27FC236}">
                <a16:creationId xmlns:a16="http://schemas.microsoft.com/office/drawing/2014/main" id="{6854C43C-4591-4D24-B44C-0E005BF0FD85}"/>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C1BE75B7-D073-40C0-A5DE-712056F3AFEB}"/>
              </a:ext>
            </a:extLst>
          </p:cNvPr>
          <p:cNvSpPr>
            <a:spLocks noGrp="1"/>
          </p:cNvSpPr>
          <p:nvPr>
            <p:ph type="sldNum" sz="quarter" idx="10"/>
          </p:nvPr>
        </p:nvSpPr>
        <p:spPr/>
        <p:txBody>
          <a:bodyPr/>
          <a:lstStyle/>
          <a:p>
            <a:fld id="{1F90F471-3972-4120-B8B3-0237DE626C35}" type="slidenum">
              <a:rPr lang="en-US" smtClean="0"/>
              <a:pPr/>
              <a:t>321</a:t>
            </a:fld>
            <a:endParaRPr lang="en-US" dirty="0"/>
          </a:p>
        </p:txBody>
      </p:sp>
    </p:spTree>
    <p:extLst>
      <p:ext uri="{BB962C8B-B14F-4D97-AF65-F5344CB8AC3E}">
        <p14:creationId xmlns:p14="http://schemas.microsoft.com/office/powerpoint/2010/main" val="4245425025"/>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GB" dirty="0"/>
              <a:t>Consequences/Conclusion 8</a:t>
            </a:r>
            <a:endParaRPr lang="de-DE" dirty="0"/>
          </a:p>
        </p:txBody>
      </p:sp>
      <p:sp>
        <p:nvSpPr>
          <p:cNvPr id="4" name="Rectangle 4">
            <a:extLst>
              <a:ext uri="{FF2B5EF4-FFF2-40B4-BE49-F238E27FC236}">
                <a16:creationId xmlns:a16="http://schemas.microsoft.com/office/drawing/2014/main" id="{998093F2-E608-48E4-B34F-4B5A654BC382}"/>
              </a:ext>
            </a:extLst>
          </p:cNvPr>
          <p:cNvSpPr>
            <a:spLocks noChangeArrowheads="1"/>
          </p:cNvSpPr>
          <p:nvPr/>
        </p:nvSpPr>
        <p:spPr bwMode="auto">
          <a:xfrm>
            <a:off x="1822450" y="3500438"/>
            <a:ext cx="8540750" cy="1836737"/>
          </a:xfrm>
          <a:prstGeom prst="rect">
            <a:avLst/>
          </a:prstGeom>
          <a:solidFill>
            <a:schemeClr val="tx2">
              <a:lumMod val="20000"/>
              <a:lumOff val="80000"/>
            </a:schemeClr>
          </a:solidFill>
          <a:ln w="6350">
            <a:noFill/>
            <a:miter lim="800000"/>
            <a:headEnd/>
            <a:tailEnd/>
          </a:ln>
        </p:spPr>
        <p:txBody>
          <a:bodyPr lIns="252000" tIns="468000" rIns="72000" bIns="72000"/>
          <a:lstStyle/>
          <a:p>
            <a:pPr eaLnBrk="0" hangingPunct="0">
              <a:lnSpc>
                <a:spcPct val="85000"/>
              </a:lnSpc>
              <a:spcBef>
                <a:spcPts val="100"/>
              </a:spcBef>
              <a:spcAft>
                <a:spcPts val="300"/>
              </a:spcAft>
            </a:pPr>
            <a:r>
              <a:rPr lang="en-GB" sz="1600" b="1" dirty="0">
                <a:latin typeface="+mj-lt"/>
              </a:rPr>
              <a:t>Text</a:t>
            </a:r>
          </a:p>
          <a:p>
            <a:pPr marL="174625" indent="-174625" eaLnBrk="0" hangingPunct="0">
              <a:lnSpc>
                <a:spcPct val="85000"/>
              </a:lnSpc>
              <a:spcBef>
                <a:spcPts val="100"/>
              </a:spcBef>
              <a:spcAft>
                <a:spcPts val="100"/>
              </a:spcAft>
              <a:buFontTx/>
              <a:buChar char="•"/>
            </a:pPr>
            <a:r>
              <a:rPr lang="en-GB" sz="1600" dirty="0"/>
              <a:t>Text</a:t>
            </a:r>
          </a:p>
          <a:p>
            <a:pPr marL="174625" indent="-174625" eaLnBrk="0" hangingPunct="0">
              <a:lnSpc>
                <a:spcPct val="85000"/>
              </a:lnSpc>
              <a:spcBef>
                <a:spcPts val="100"/>
              </a:spcBef>
              <a:spcAft>
                <a:spcPts val="100"/>
              </a:spcAft>
              <a:buFontTx/>
              <a:buChar char="•"/>
            </a:pPr>
            <a:r>
              <a:rPr lang="en-GB" sz="1600" dirty="0"/>
              <a:t>Text</a:t>
            </a:r>
          </a:p>
          <a:p>
            <a:pPr marL="174625" indent="-174625" eaLnBrk="0" hangingPunct="0">
              <a:lnSpc>
                <a:spcPct val="85000"/>
              </a:lnSpc>
              <a:spcBef>
                <a:spcPts val="100"/>
              </a:spcBef>
              <a:spcAft>
                <a:spcPts val="100"/>
              </a:spcAft>
              <a:buFontTx/>
              <a:buChar char="•"/>
            </a:pPr>
            <a:r>
              <a:rPr lang="en-GB" sz="1600" dirty="0"/>
              <a:t>Text</a:t>
            </a:r>
          </a:p>
        </p:txBody>
      </p:sp>
      <p:sp>
        <p:nvSpPr>
          <p:cNvPr id="5" name="AutoShape 9">
            <a:extLst>
              <a:ext uri="{FF2B5EF4-FFF2-40B4-BE49-F238E27FC236}">
                <a16:creationId xmlns:a16="http://schemas.microsoft.com/office/drawing/2014/main" id="{EC2E9B0B-B31B-4D24-A5DA-EB05D71539B4}"/>
              </a:ext>
            </a:extLst>
          </p:cNvPr>
          <p:cNvSpPr>
            <a:spLocks noChangeArrowheads="1"/>
          </p:cNvSpPr>
          <p:nvPr/>
        </p:nvSpPr>
        <p:spPr bwMode="auto">
          <a:xfrm rot="16200000" flipH="1">
            <a:off x="4732609" y="1906163"/>
            <a:ext cx="2720432" cy="2435535"/>
          </a:xfrm>
          <a:prstGeom prst="homePlate">
            <a:avLst>
              <a:gd name="adj" fmla="val 33521"/>
            </a:avLst>
          </a:prstGeom>
          <a:solidFill>
            <a:schemeClr val="accent2"/>
          </a:solidFill>
          <a:ln w="6350">
            <a:noFill/>
            <a:miter lim="800000"/>
            <a:headEnd/>
            <a:tailEnd/>
          </a:ln>
          <a:effectLst/>
        </p:spPr>
        <p:txBody>
          <a:bodyPr vert="eaVert" wrap="none" lIns="45720" rIns="45720" anchor="ctr"/>
          <a:lstStyle/>
          <a:p>
            <a:pPr algn="ctr" eaLnBrk="0" hangingPunct="0">
              <a:lnSpc>
                <a:spcPct val="85000"/>
              </a:lnSpc>
              <a:spcBef>
                <a:spcPts val="100"/>
              </a:spcBef>
              <a:spcAft>
                <a:spcPts val="300"/>
              </a:spcAft>
              <a:buClr>
                <a:schemeClr val="bg1"/>
              </a:buClr>
            </a:pPr>
            <a:r>
              <a:rPr lang="en-GB" sz="1600" b="1" dirty="0">
                <a:solidFill>
                  <a:schemeClr val="bg1"/>
                </a:solidFill>
                <a:latin typeface="+mj-lt"/>
              </a:rPr>
              <a:t>Text</a:t>
            </a:r>
          </a:p>
          <a:p>
            <a:pPr algn="ctr" eaLnBrk="0" hangingPunct="0">
              <a:lnSpc>
                <a:spcPct val="85000"/>
              </a:lnSpc>
              <a:spcBef>
                <a:spcPts val="100"/>
              </a:spcBef>
              <a:spcAft>
                <a:spcPts val="300"/>
              </a:spcAft>
              <a:buClr>
                <a:schemeClr val="bg1"/>
              </a:buClr>
            </a:pPr>
            <a:r>
              <a:rPr lang="en-US" sz="1600" dirty="0">
                <a:solidFill>
                  <a:schemeClr val="bg1"/>
                </a:solidFill>
              </a:rPr>
              <a:t>Insert text</a:t>
            </a:r>
          </a:p>
        </p:txBody>
      </p:sp>
      <p:sp>
        <p:nvSpPr>
          <p:cNvPr id="6" name="Footer Placeholder 5">
            <a:extLst>
              <a:ext uri="{FF2B5EF4-FFF2-40B4-BE49-F238E27FC236}">
                <a16:creationId xmlns:a16="http://schemas.microsoft.com/office/drawing/2014/main" id="{59E0A5AA-7B50-4AD1-B8C2-83DA9C12C54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8" name="Slide Number Placeholder 7">
            <a:extLst>
              <a:ext uri="{FF2B5EF4-FFF2-40B4-BE49-F238E27FC236}">
                <a16:creationId xmlns:a16="http://schemas.microsoft.com/office/drawing/2014/main" id="{45794F5C-34B3-4577-8FED-529ECD6D62F6}"/>
              </a:ext>
            </a:extLst>
          </p:cNvPr>
          <p:cNvSpPr>
            <a:spLocks noGrp="1"/>
          </p:cNvSpPr>
          <p:nvPr>
            <p:ph type="sldNum" sz="quarter" idx="10"/>
          </p:nvPr>
        </p:nvSpPr>
        <p:spPr/>
        <p:txBody>
          <a:bodyPr/>
          <a:lstStyle/>
          <a:p>
            <a:fld id="{1F90F471-3972-4120-B8B3-0237DE626C35}" type="slidenum">
              <a:rPr lang="en-US" smtClean="0"/>
              <a:pPr/>
              <a:t>322</a:t>
            </a:fld>
            <a:endParaRPr lang="en-US" dirty="0"/>
          </a:p>
        </p:txBody>
      </p:sp>
    </p:spTree>
    <p:extLst>
      <p:ext uri="{BB962C8B-B14F-4D97-AF65-F5344CB8AC3E}">
        <p14:creationId xmlns:p14="http://schemas.microsoft.com/office/powerpoint/2010/main" val="3241668312"/>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GB" dirty="0"/>
              <a:t>Consequences/Conclusion 9</a:t>
            </a:r>
            <a:endParaRPr lang="de-DE" dirty="0"/>
          </a:p>
        </p:txBody>
      </p:sp>
      <p:grpSp>
        <p:nvGrpSpPr>
          <p:cNvPr id="3" name="Group 2" descr="Reason">
            <a:extLst>
              <a:ext uri="{FF2B5EF4-FFF2-40B4-BE49-F238E27FC236}">
                <a16:creationId xmlns:a16="http://schemas.microsoft.com/office/drawing/2014/main" id="{50F7D528-F80F-4BC1-A4EC-FABCF69CADD4}"/>
              </a:ext>
            </a:extLst>
          </p:cNvPr>
          <p:cNvGrpSpPr/>
          <p:nvPr/>
        </p:nvGrpSpPr>
        <p:grpSpPr>
          <a:xfrm>
            <a:off x="1828800" y="1366838"/>
            <a:ext cx="1427690" cy="2643001"/>
            <a:chOff x="1828800" y="1366838"/>
            <a:chExt cx="1427690" cy="2643001"/>
          </a:xfrm>
        </p:grpSpPr>
        <p:sp>
          <p:nvSpPr>
            <p:cNvPr id="27" name="TextBox 26">
              <a:extLst>
                <a:ext uri="{FF2B5EF4-FFF2-40B4-BE49-F238E27FC236}">
                  <a16:creationId xmlns:a16="http://schemas.microsoft.com/office/drawing/2014/main" id="{FCBFBBEA-7E2B-4F83-A73C-C4AB472D75D5}"/>
                </a:ext>
              </a:extLst>
            </p:cNvPr>
            <p:cNvSpPr txBox="1"/>
            <p:nvPr/>
          </p:nvSpPr>
          <p:spPr>
            <a:xfrm>
              <a:off x="1828800" y="1366838"/>
              <a:ext cx="1427690" cy="1279269"/>
            </a:xfrm>
            <a:prstGeom prst="rect">
              <a:avLst/>
            </a:prstGeom>
            <a:solidFill>
              <a:schemeClr val="accent3"/>
            </a:solidFill>
            <a:ln w="19050">
              <a:noFill/>
            </a:ln>
          </p:spPr>
          <p:txBody>
            <a:bodyPr vert="horz" wrap="square" lIns="72000" tIns="36000" rIns="72000" bIns="0" rtlCol="0" anchor="ctr">
              <a:noAutofit/>
            </a:bodyPr>
            <a:lstStyle/>
            <a:p>
              <a:pPr algn="ctr">
                <a:lnSpc>
                  <a:spcPct val="85000"/>
                </a:lnSpc>
              </a:pPr>
              <a:r>
                <a:rPr lang="en-AU" sz="1400" dirty="0">
                  <a:solidFill>
                    <a:schemeClr val="bg1"/>
                  </a:solidFill>
                </a:rPr>
                <a:t>Text</a:t>
              </a:r>
            </a:p>
          </p:txBody>
        </p:sp>
        <p:sp>
          <p:nvSpPr>
            <p:cNvPr id="35" name="TextBox 34">
              <a:extLst>
                <a:ext uri="{FF2B5EF4-FFF2-40B4-BE49-F238E27FC236}">
                  <a16:creationId xmlns:a16="http://schemas.microsoft.com/office/drawing/2014/main" id="{57798AFB-EADE-4644-B08B-A5FA1236ECD7}"/>
                </a:ext>
              </a:extLst>
            </p:cNvPr>
            <p:cNvSpPr txBox="1"/>
            <p:nvPr/>
          </p:nvSpPr>
          <p:spPr>
            <a:xfrm>
              <a:off x="1828800" y="2730570"/>
              <a:ext cx="1427690" cy="1279269"/>
            </a:xfrm>
            <a:prstGeom prst="rect">
              <a:avLst/>
            </a:prstGeom>
            <a:solidFill>
              <a:schemeClr val="accent3"/>
            </a:solidFill>
            <a:ln w="19050">
              <a:noFill/>
            </a:ln>
          </p:spPr>
          <p:txBody>
            <a:bodyPr vert="horz" wrap="square" lIns="72000" tIns="36000" rIns="72000" bIns="0" rtlCol="0" anchor="ctr">
              <a:noAutofit/>
            </a:bodyPr>
            <a:lstStyle/>
            <a:p>
              <a:pPr algn="ctr">
                <a:lnSpc>
                  <a:spcPct val="85000"/>
                </a:lnSpc>
              </a:pPr>
              <a:r>
                <a:rPr lang="en-AU" sz="1400" dirty="0">
                  <a:solidFill>
                    <a:schemeClr val="bg1"/>
                  </a:solidFill>
                </a:rPr>
                <a:t>Text</a:t>
              </a:r>
            </a:p>
          </p:txBody>
        </p:sp>
      </p:grpSp>
      <p:grpSp>
        <p:nvGrpSpPr>
          <p:cNvPr id="6" name="Group 5" descr="Consequence 1">
            <a:extLst>
              <a:ext uri="{FF2B5EF4-FFF2-40B4-BE49-F238E27FC236}">
                <a16:creationId xmlns:a16="http://schemas.microsoft.com/office/drawing/2014/main" id="{38D5CC58-7E0C-49C7-BD06-59391B488F01}"/>
              </a:ext>
            </a:extLst>
          </p:cNvPr>
          <p:cNvGrpSpPr/>
          <p:nvPr/>
        </p:nvGrpSpPr>
        <p:grpSpPr>
          <a:xfrm>
            <a:off x="3342308" y="1366838"/>
            <a:ext cx="7030417" cy="1279269"/>
            <a:chOff x="3342308" y="1366838"/>
            <a:chExt cx="7030417" cy="1279269"/>
          </a:xfrm>
        </p:grpSpPr>
        <p:grpSp>
          <p:nvGrpSpPr>
            <p:cNvPr id="28" name="Group 27">
              <a:extLst>
                <a:ext uri="{FF2B5EF4-FFF2-40B4-BE49-F238E27FC236}">
                  <a16:creationId xmlns:a16="http://schemas.microsoft.com/office/drawing/2014/main" id="{54E82AD6-CC62-44AE-9AB7-D946CDB499D8}"/>
                </a:ext>
              </a:extLst>
            </p:cNvPr>
            <p:cNvGrpSpPr/>
            <p:nvPr/>
          </p:nvGrpSpPr>
          <p:grpSpPr>
            <a:xfrm>
              <a:off x="3342308" y="1366838"/>
              <a:ext cx="2074859" cy="1279268"/>
              <a:chOff x="1822451" y="1854964"/>
              <a:chExt cx="2795264" cy="1949781"/>
            </a:xfrm>
          </p:grpSpPr>
          <p:sp>
            <p:nvSpPr>
              <p:cNvPr id="29" name="Rectangle 28">
                <a:extLst>
                  <a:ext uri="{FF2B5EF4-FFF2-40B4-BE49-F238E27FC236}">
                    <a16:creationId xmlns:a16="http://schemas.microsoft.com/office/drawing/2014/main" id="{5C8E62B8-636E-4AE8-8752-C2EF4F2C3DCE}"/>
                  </a:ext>
                </a:extLst>
              </p:cNvPr>
              <p:cNvSpPr/>
              <p:nvPr/>
            </p:nvSpPr>
            <p:spPr>
              <a:xfrm>
                <a:off x="1822452" y="2202626"/>
                <a:ext cx="2795263" cy="1602119"/>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sz="1400" dirty="0">
                    <a:solidFill>
                      <a:schemeClr val="tx1"/>
                    </a:solidFill>
                  </a:rPr>
                  <a:t>Text</a:t>
                </a:r>
              </a:p>
              <a:p>
                <a:pPr marL="176213" indent="-176213" eaLnBrk="0" hangingPunct="0">
                  <a:spcBef>
                    <a:spcPts val="100"/>
                  </a:spcBef>
                  <a:spcAft>
                    <a:spcPts val="100"/>
                  </a:spcAft>
                  <a:buFontTx/>
                  <a:buChar char="•"/>
                </a:pPr>
                <a:r>
                  <a:rPr lang="en-US" sz="1400" dirty="0">
                    <a:solidFill>
                      <a:schemeClr val="tx1"/>
                    </a:solidFill>
                  </a:rPr>
                  <a:t>Text</a:t>
                </a:r>
              </a:p>
              <a:p>
                <a:pPr marL="176213" indent="-176213" eaLnBrk="0" hangingPunct="0">
                  <a:spcBef>
                    <a:spcPts val="100"/>
                  </a:spcBef>
                  <a:spcAft>
                    <a:spcPts val="100"/>
                  </a:spcAft>
                  <a:buFontTx/>
                  <a:buChar char="•"/>
                </a:pPr>
                <a:r>
                  <a:rPr lang="en-US" sz="1400" dirty="0">
                    <a:solidFill>
                      <a:schemeClr val="tx1"/>
                    </a:solidFill>
                  </a:rPr>
                  <a:t>Text</a:t>
                </a:r>
              </a:p>
            </p:txBody>
          </p:sp>
          <p:sp>
            <p:nvSpPr>
              <p:cNvPr id="30" name="TextBox 29">
                <a:extLst>
                  <a:ext uri="{FF2B5EF4-FFF2-40B4-BE49-F238E27FC236}">
                    <a16:creationId xmlns:a16="http://schemas.microsoft.com/office/drawing/2014/main" id="{870DE1E7-6A82-4A88-B66E-23D9B8FC1BE3}"/>
                  </a:ext>
                </a:extLst>
              </p:cNvPr>
              <p:cNvSpPr txBox="1"/>
              <p:nvPr/>
            </p:nvSpPr>
            <p:spPr>
              <a:xfrm>
                <a:off x="1822451" y="1854964"/>
                <a:ext cx="2795263" cy="347663"/>
              </a:xfrm>
              <a:prstGeom prst="rect">
                <a:avLst/>
              </a:prstGeom>
              <a:solidFill>
                <a:schemeClr val="accent3"/>
              </a:solidFill>
              <a:ln w="19050">
                <a:noFill/>
              </a:ln>
            </p:spPr>
            <p:txBody>
              <a:bodyPr vert="horz" wrap="square" lIns="0" tIns="36000" rIns="0" bIns="0" rtlCol="0" anchor="ctr">
                <a:noAutofit/>
              </a:bodyPr>
              <a:lstStyle/>
              <a:p>
                <a:pPr algn="ctr">
                  <a:lnSpc>
                    <a:spcPct val="85000"/>
                  </a:lnSpc>
                </a:pPr>
                <a:r>
                  <a:rPr lang="en-AU" sz="1400" dirty="0">
                    <a:solidFill>
                      <a:schemeClr val="bg1"/>
                    </a:solidFill>
                  </a:rPr>
                  <a:t>Text</a:t>
                </a:r>
              </a:p>
            </p:txBody>
          </p:sp>
        </p:grpSp>
        <p:grpSp>
          <p:nvGrpSpPr>
            <p:cNvPr id="31" name="Group 30">
              <a:extLst>
                <a:ext uri="{FF2B5EF4-FFF2-40B4-BE49-F238E27FC236}">
                  <a16:creationId xmlns:a16="http://schemas.microsoft.com/office/drawing/2014/main" id="{DB915388-FF50-410A-B5F1-90DFD6619140}"/>
                </a:ext>
              </a:extLst>
            </p:cNvPr>
            <p:cNvGrpSpPr/>
            <p:nvPr/>
          </p:nvGrpSpPr>
          <p:grpSpPr>
            <a:xfrm>
              <a:off x="5514760" y="1366838"/>
              <a:ext cx="2074859" cy="1279268"/>
              <a:chOff x="1822451" y="1854964"/>
              <a:chExt cx="2795264" cy="1949781"/>
            </a:xfrm>
          </p:grpSpPr>
          <p:sp>
            <p:nvSpPr>
              <p:cNvPr id="32" name="Rectangle 31">
                <a:extLst>
                  <a:ext uri="{FF2B5EF4-FFF2-40B4-BE49-F238E27FC236}">
                    <a16:creationId xmlns:a16="http://schemas.microsoft.com/office/drawing/2014/main" id="{8FFFE4CA-390F-42ED-B7CF-164A2538074C}"/>
                  </a:ext>
                </a:extLst>
              </p:cNvPr>
              <p:cNvSpPr/>
              <p:nvPr/>
            </p:nvSpPr>
            <p:spPr>
              <a:xfrm>
                <a:off x="1822452" y="2202626"/>
                <a:ext cx="2795263" cy="1602119"/>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sz="1400" dirty="0">
                    <a:solidFill>
                      <a:schemeClr val="tx1"/>
                    </a:solidFill>
                  </a:rPr>
                  <a:t>Text</a:t>
                </a:r>
              </a:p>
              <a:p>
                <a:pPr marL="176213" indent="-176213" eaLnBrk="0" hangingPunct="0">
                  <a:spcBef>
                    <a:spcPts val="100"/>
                  </a:spcBef>
                  <a:spcAft>
                    <a:spcPts val="100"/>
                  </a:spcAft>
                  <a:buFontTx/>
                  <a:buChar char="•"/>
                </a:pPr>
                <a:r>
                  <a:rPr lang="en-US" sz="1400" dirty="0">
                    <a:solidFill>
                      <a:schemeClr val="tx1"/>
                    </a:solidFill>
                  </a:rPr>
                  <a:t>Text</a:t>
                </a:r>
              </a:p>
              <a:p>
                <a:pPr marL="176213" indent="-176213" eaLnBrk="0" hangingPunct="0">
                  <a:spcBef>
                    <a:spcPts val="100"/>
                  </a:spcBef>
                  <a:spcAft>
                    <a:spcPts val="100"/>
                  </a:spcAft>
                  <a:buFontTx/>
                  <a:buChar char="•"/>
                </a:pPr>
                <a:r>
                  <a:rPr lang="en-US" sz="1400" dirty="0">
                    <a:solidFill>
                      <a:schemeClr val="tx1"/>
                    </a:solidFill>
                  </a:rPr>
                  <a:t>Text</a:t>
                </a:r>
              </a:p>
            </p:txBody>
          </p:sp>
          <p:sp>
            <p:nvSpPr>
              <p:cNvPr id="33" name="TextBox 32">
                <a:extLst>
                  <a:ext uri="{FF2B5EF4-FFF2-40B4-BE49-F238E27FC236}">
                    <a16:creationId xmlns:a16="http://schemas.microsoft.com/office/drawing/2014/main" id="{E3E06A16-0020-47CD-A496-C959AA552D00}"/>
                  </a:ext>
                </a:extLst>
              </p:cNvPr>
              <p:cNvSpPr txBox="1"/>
              <p:nvPr/>
            </p:nvSpPr>
            <p:spPr>
              <a:xfrm>
                <a:off x="1822451" y="1854964"/>
                <a:ext cx="2795263" cy="347663"/>
              </a:xfrm>
              <a:prstGeom prst="rect">
                <a:avLst/>
              </a:prstGeom>
              <a:solidFill>
                <a:schemeClr val="accent3"/>
              </a:solidFill>
              <a:ln w="19050">
                <a:noFill/>
              </a:ln>
            </p:spPr>
            <p:txBody>
              <a:bodyPr vert="horz" wrap="square" lIns="0" tIns="36000" rIns="0" bIns="0" rtlCol="0" anchor="ctr">
                <a:noAutofit/>
              </a:bodyPr>
              <a:lstStyle/>
              <a:p>
                <a:pPr algn="ctr">
                  <a:lnSpc>
                    <a:spcPct val="85000"/>
                  </a:lnSpc>
                </a:pPr>
                <a:r>
                  <a:rPr lang="en-AU" sz="1400" dirty="0">
                    <a:solidFill>
                      <a:schemeClr val="bg1"/>
                    </a:solidFill>
                  </a:rPr>
                  <a:t>Text</a:t>
                </a:r>
              </a:p>
            </p:txBody>
          </p:sp>
        </p:grpSp>
        <p:sp>
          <p:nvSpPr>
            <p:cNvPr id="25" name="Arrow: Chevron 24">
              <a:extLst>
                <a:ext uri="{FF2B5EF4-FFF2-40B4-BE49-F238E27FC236}">
                  <a16:creationId xmlns:a16="http://schemas.microsoft.com/office/drawing/2014/main" id="{C6EA67FD-A385-49C5-B424-D1FE6885502C}"/>
                </a:ext>
              </a:extLst>
            </p:cNvPr>
            <p:cNvSpPr/>
            <p:nvPr/>
          </p:nvSpPr>
          <p:spPr>
            <a:xfrm>
              <a:off x="7736142" y="1839120"/>
              <a:ext cx="260576" cy="358108"/>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600" dirty="0">
                <a:solidFill>
                  <a:schemeClr val="tx1"/>
                </a:solidFill>
              </a:endParaRPr>
            </a:p>
          </p:txBody>
        </p:sp>
        <p:sp>
          <p:nvSpPr>
            <p:cNvPr id="34" name="TextBox 33">
              <a:extLst>
                <a:ext uri="{FF2B5EF4-FFF2-40B4-BE49-F238E27FC236}">
                  <a16:creationId xmlns:a16="http://schemas.microsoft.com/office/drawing/2014/main" id="{1E4A862F-D216-46C2-9C23-0C75D5998C6E}"/>
                </a:ext>
              </a:extLst>
            </p:cNvPr>
            <p:cNvSpPr txBox="1"/>
            <p:nvPr/>
          </p:nvSpPr>
          <p:spPr>
            <a:xfrm>
              <a:off x="8143241" y="1366838"/>
              <a:ext cx="2229484" cy="1279269"/>
            </a:xfrm>
            <a:prstGeom prst="rect">
              <a:avLst/>
            </a:prstGeom>
            <a:solidFill>
              <a:schemeClr val="accent1"/>
            </a:solidFill>
            <a:ln w="19050">
              <a:noFill/>
            </a:ln>
          </p:spPr>
          <p:txBody>
            <a:bodyPr vert="horz" wrap="square" lIns="180000" tIns="36000" rIns="72000" bIns="0" rtlCol="0" anchor="ctr">
              <a:noAutofit/>
            </a:bodyPr>
            <a:lstStyle/>
            <a:p>
              <a:pPr marL="174625" indent="-174625" eaLnBrk="0" hangingPunct="0">
                <a:lnSpc>
                  <a:spcPct val="85000"/>
                </a:lnSpc>
                <a:spcBef>
                  <a:spcPts val="100"/>
                </a:spcBef>
                <a:spcAft>
                  <a:spcPts val="100"/>
                </a:spcAft>
                <a:buFontTx/>
                <a:buChar char="•"/>
              </a:pPr>
              <a:r>
                <a:rPr lang="en-US" sz="1400" dirty="0">
                  <a:solidFill>
                    <a:schemeClr val="bg1"/>
                  </a:solidFill>
                </a:rPr>
                <a:t>Text</a:t>
              </a:r>
            </a:p>
            <a:p>
              <a:pPr marL="174625" indent="-174625" eaLnBrk="0" hangingPunct="0">
                <a:lnSpc>
                  <a:spcPct val="85000"/>
                </a:lnSpc>
                <a:spcBef>
                  <a:spcPts val="100"/>
                </a:spcBef>
                <a:spcAft>
                  <a:spcPts val="100"/>
                </a:spcAft>
                <a:buFontTx/>
                <a:buChar char="•"/>
              </a:pPr>
              <a:r>
                <a:rPr lang="en-US" sz="1400" dirty="0">
                  <a:solidFill>
                    <a:schemeClr val="bg1"/>
                  </a:solidFill>
                </a:rPr>
                <a:t>Text</a:t>
              </a:r>
            </a:p>
            <a:p>
              <a:pPr marL="174625" indent="-174625" eaLnBrk="0" hangingPunct="0">
                <a:lnSpc>
                  <a:spcPct val="85000"/>
                </a:lnSpc>
                <a:spcBef>
                  <a:spcPts val="100"/>
                </a:spcBef>
                <a:spcAft>
                  <a:spcPts val="100"/>
                </a:spcAft>
                <a:buFontTx/>
                <a:buChar char="•"/>
              </a:pPr>
              <a:r>
                <a:rPr lang="en-US" sz="1400" dirty="0">
                  <a:solidFill>
                    <a:schemeClr val="bg1"/>
                  </a:solidFill>
                </a:rPr>
                <a:t>Text</a:t>
              </a:r>
            </a:p>
            <a:p>
              <a:pPr marL="174625" indent="-174625" eaLnBrk="0" hangingPunct="0">
                <a:lnSpc>
                  <a:spcPct val="85000"/>
                </a:lnSpc>
                <a:spcBef>
                  <a:spcPts val="100"/>
                </a:spcBef>
                <a:spcAft>
                  <a:spcPts val="100"/>
                </a:spcAft>
                <a:buFontTx/>
                <a:buChar char="•"/>
              </a:pPr>
              <a:r>
                <a:rPr lang="en-US" sz="1400" dirty="0">
                  <a:solidFill>
                    <a:schemeClr val="bg1"/>
                  </a:solidFill>
                </a:rPr>
                <a:t>Text</a:t>
              </a:r>
            </a:p>
            <a:p>
              <a:pPr eaLnBrk="0" hangingPunct="0">
                <a:lnSpc>
                  <a:spcPct val="85000"/>
                </a:lnSpc>
                <a:spcBef>
                  <a:spcPts val="100"/>
                </a:spcBef>
                <a:spcAft>
                  <a:spcPts val="100"/>
                </a:spcAft>
              </a:pPr>
              <a:endParaRPr lang="en-US" sz="1400" dirty="0">
                <a:solidFill>
                  <a:schemeClr val="bg1"/>
                </a:solidFill>
              </a:endParaRPr>
            </a:p>
          </p:txBody>
        </p:sp>
      </p:grpSp>
      <p:grpSp>
        <p:nvGrpSpPr>
          <p:cNvPr id="7" name="Group 6" descr="Consequence 2">
            <a:extLst>
              <a:ext uri="{FF2B5EF4-FFF2-40B4-BE49-F238E27FC236}">
                <a16:creationId xmlns:a16="http://schemas.microsoft.com/office/drawing/2014/main" id="{584A4F46-EEA5-44A1-B9D6-211B28377A2E}"/>
              </a:ext>
            </a:extLst>
          </p:cNvPr>
          <p:cNvGrpSpPr/>
          <p:nvPr/>
        </p:nvGrpSpPr>
        <p:grpSpPr>
          <a:xfrm>
            <a:off x="3342309" y="2730570"/>
            <a:ext cx="7030416" cy="1279269"/>
            <a:chOff x="3342309" y="2730570"/>
            <a:chExt cx="7030416" cy="1279269"/>
          </a:xfrm>
        </p:grpSpPr>
        <p:sp>
          <p:nvSpPr>
            <p:cNvPr id="36" name="Rectangle 35">
              <a:extLst>
                <a:ext uri="{FF2B5EF4-FFF2-40B4-BE49-F238E27FC236}">
                  <a16:creationId xmlns:a16="http://schemas.microsoft.com/office/drawing/2014/main" id="{B02C028F-76C8-4606-94A6-38597BF62491}"/>
                </a:ext>
              </a:extLst>
            </p:cNvPr>
            <p:cNvSpPr/>
            <p:nvPr/>
          </p:nvSpPr>
          <p:spPr>
            <a:xfrm>
              <a:off x="3342309" y="2730570"/>
              <a:ext cx="2074858" cy="1279268"/>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sz="1400" dirty="0">
                  <a:solidFill>
                    <a:schemeClr val="tx1"/>
                  </a:solidFill>
                </a:rPr>
                <a:t>Text</a:t>
              </a:r>
            </a:p>
            <a:p>
              <a:pPr marL="176213" indent="-176213" eaLnBrk="0" hangingPunct="0">
                <a:spcBef>
                  <a:spcPts val="100"/>
                </a:spcBef>
                <a:spcAft>
                  <a:spcPts val="100"/>
                </a:spcAft>
                <a:buFontTx/>
                <a:buChar char="•"/>
              </a:pPr>
              <a:r>
                <a:rPr lang="en-US" sz="1400" dirty="0">
                  <a:solidFill>
                    <a:schemeClr val="tx1"/>
                  </a:solidFill>
                </a:rPr>
                <a:t>Text</a:t>
              </a:r>
            </a:p>
            <a:p>
              <a:pPr marL="176213" indent="-176213" eaLnBrk="0" hangingPunct="0">
                <a:spcBef>
                  <a:spcPts val="100"/>
                </a:spcBef>
                <a:spcAft>
                  <a:spcPts val="100"/>
                </a:spcAft>
                <a:buFontTx/>
                <a:buChar char="•"/>
              </a:pPr>
              <a:r>
                <a:rPr lang="en-US" sz="1400" dirty="0">
                  <a:solidFill>
                    <a:schemeClr val="tx1"/>
                  </a:solidFill>
                </a:rPr>
                <a:t>Text</a:t>
              </a:r>
            </a:p>
          </p:txBody>
        </p:sp>
        <p:sp>
          <p:nvSpPr>
            <p:cNvPr id="37" name="Rectangle 36">
              <a:extLst>
                <a:ext uri="{FF2B5EF4-FFF2-40B4-BE49-F238E27FC236}">
                  <a16:creationId xmlns:a16="http://schemas.microsoft.com/office/drawing/2014/main" id="{35695938-6C0F-4A40-ADA6-EFA1BA57CDAF}"/>
                </a:ext>
              </a:extLst>
            </p:cNvPr>
            <p:cNvSpPr/>
            <p:nvPr/>
          </p:nvSpPr>
          <p:spPr>
            <a:xfrm>
              <a:off x="5514761" y="2730570"/>
              <a:ext cx="2074858" cy="1279268"/>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sz="1400" dirty="0">
                  <a:solidFill>
                    <a:schemeClr val="tx1"/>
                  </a:solidFill>
                </a:rPr>
                <a:t>Text</a:t>
              </a:r>
            </a:p>
            <a:p>
              <a:pPr marL="176213" indent="-176213" eaLnBrk="0" hangingPunct="0">
                <a:spcBef>
                  <a:spcPts val="100"/>
                </a:spcBef>
                <a:spcAft>
                  <a:spcPts val="100"/>
                </a:spcAft>
                <a:buFontTx/>
                <a:buChar char="•"/>
              </a:pPr>
              <a:r>
                <a:rPr lang="en-US" sz="1400" dirty="0">
                  <a:solidFill>
                    <a:schemeClr val="tx1"/>
                  </a:solidFill>
                </a:rPr>
                <a:t>Text</a:t>
              </a:r>
            </a:p>
            <a:p>
              <a:pPr marL="176213" indent="-176213" eaLnBrk="0" hangingPunct="0">
                <a:spcBef>
                  <a:spcPts val="100"/>
                </a:spcBef>
                <a:spcAft>
                  <a:spcPts val="100"/>
                </a:spcAft>
                <a:buFontTx/>
                <a:buChar char="•"/>
              </a:pPr>
              <a:r>
                <a:rPr lang="en-US" sz="1400" dirty="0">
                  <a:solidFill>
                    <a:schemeClr val="tx1"/>
                  </a:solidFill>
                </a:rPr>
                <a:t>Text</a:t>
              </a:r>
            </a:p>
          </p:txBody>
        </p:sp>
        <p:sp>
          <p:nvSpPr>
            <p:cNvPr id="26" name="Arrow: Chevron 25">
              <a:extLst>
                <a:ext uri="{FF2B5EF4-FFF2-40B4-BE49-F238E27FC236}">
                  <a16:creationId xmlns:a16="http://schemas.microsoft.com/office/drawing/2014/main" id="{DE150BBF-02F1-46D2-8879-45D932BAF61B}"/>
                </a:ext>
              </a:extLst>
            </p:cNvPr>
            <p:cNvSpPr/>
            <p:nvPr/>
          </p:nvSpPr>
          <p:spPr>
            <a:xfrm>
              <a:off x="7736142" y="3227802"/>
              <a:ext cx="260576" cy="358108"/>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600" dirty="0">
                <a:solidFill>
                  <a:schemeClr val="tx1"/>
                </a:solidFill>
              </a:endParaRPr>
            </a:p>
          </p:txBody>
        </p:sp>
        <p:sp>
          <p:nvSpPr>
            <p:cNvPr id="38" name="TextBox 37">
              <a:extLst>
                <a:ext uri="{FF2B5EF4-FFF2-40B4-BE49-F238E27FC236}">
                  <a16:creationId xmlns:a16="http://schemas.microsoft.com/office/drawing/2014/main" id="{72E501E5-8B9E-4B0A-B596-48BCBA39EA48}"/>
                </a:ext>
              </a:extLst>
            </p:cNvPr>
            <p:cNvSpPr txBox="1"/>
            <p:nvPr/>
          </p:nvSpPr>
          <p:spPr>
            <a:xfrm>
              <a:off x="8143241" y="2730570"/>
              <a:ext cx="2229484" cy="1279269"/>
            </a:xfrm>
            <a:prstGeom prst="rect">
              <a:avLst/>
            </a:prstGeom>
            <a:solidFill>
              <a:schemeClr val="accent1"/>
            </a:solidFill>
            <a:ln w="19050">
              <a:noFill/>
            </a:ln>
          </p:spPr>
          <p:txBody>
            <a:bodyPr vert="horz" wrap="square" lIns="180000" tIns="36000" rIns="72000" bIns="0" rtlCol="0" anchor="ctr">
              <a:noAutofit/>
            </a:bodyPr>
            <a:lstStyle/>
            <a:p>
              <a:pPr marL="174625" indent="-174625" eaLnBrk="0" hangingPunct="0">
                <a:lnSpc>
                  <a:spcPct val="85000"/>
                </a:lnSpc>
                <a:spcBef>
                  <a:spcPts val="100"/>
                </a:spcBef>
                <a:spcAft>
                  <a:spcPts val="100"/>
                </a:spcAft>
                <a:buFontTx/>
                <a:buChar char="•"/>
              </a:pPr>
              <a:r>
                <a:rPr lang="en-US" sz="1400" dirty="0">
                  <a:solidFill>
                    <a:schemeClr val="bg1"/>
                  </a:solidFill>
                </a:rPr>
                <a:t>Text</a:t>
              </a:r>
            </a:p>
            <a:p>
              <a:pPr marL="174625" indent="-174625" eaLnBrk="0" hangingPunct="0">
                <a:lnSpc>
                  <a:spcPct val="85000"/>
                </a:lnSpc>
                <a:spcBef>
                  <a:spcPts val="100"/>
                </a:spcBef>
                <a:spcAft>
                  <a:spcPts val="100"/>
                </a:spcAft>
                <a:buFontTx/>
                <a:buChar char="•"/>
              </a:pPr>
              <a:r>
                <a:rPr lang="en-US" sz="1400" dirty="0">
                  <a:solidFill>
                    <a:schemeClr val="bg1"/>
                  </a:solidFill>
                </a:rPr>
                <a:t>Text</a:t>
              </a:r>
            </a:p>
            <a:p>
              <a:pPr marL="174625" indent="-174625" eaLnBrk="0" hangingPunct="0">
                <a:lnSpc>
                  <a:spcPct val="85000"/>
                </a:lnSpc>
                <a:spcBef>
                  <a:spcPts val="100"/>
                </a:spcBef>
                <a:spcAft>
                  <a:spcPts val="100"/>
                </a:spcAft>
                <a:buFontTx/>
                <a:buChar char="•"/>
              </a:pPr>
              <a:r>
                <a:rPr lang="en-US" sz="1400" dirty="0">
                  <a:solidFill>
                    <a:schemeClr val="bg1"/>
                  </a:solidFill>
                </a:rPr>
                <a:t>Text</a:t>
              </a:r>
            </a:p>
            <a:p>
              <a:pPr marL="174625" indent="-174625" eaLnBrk="0" hangingPunct="0">
                <a:lnSpc>
                  <a:spcPct val="85000"/>
                </a:lnSpc>
                <a:spcBef>
                  <a:spcPts val="100"/>
                </a:spcBef>
                <a:spcAft>
                  <a:spcPts val="100"/>
                </a:spcAft>
                <a:buFontTx/>
                <a:buChar char="•"/>
              </a:pPr>
              <a:r>
                <a:rPr lang="en-US" sz="1400" dirty="0">
                  <a:solidFill>
                    <a:schemeClr val="bg1"/>
                  </a:solidFill>
                </a:rPr>
                <a:t>Text</a:t>
              </a:r>
            </a:p>
            <a:p>
              <a:pPr eaLnBrk="0" hangingPunct="0">
                <a:lnSpc>
                  <a:spcPct val="85000"/>
                </a:lnSpc>
                <a:spcBef>
                  <a:spcPts val="100"/>
                </a:spcBef>
                <a:spcAft>
                  <a:spcPts val="100"/>
                </a:spcAft>
              </a:pPr>
              <a:endParaRPr lang="en-US" sz="1400" dirty="0">
                <a:solidFill>
                  <a:schemeClr val="bg1"/>
                </a:solidFill>
              </a:endParaRPr>
            </a:p>
          </p:txBody>
        </p:sp>
      </p:grpSp>
      <p:sp>
        <p:nvSpPr>
          <p:cNvPr id="42" name="Arrow: Chevron 41">
            <a:extLst>
              <a:ext uri="{FF2B5EF4-FFF2-40B4-BE49-F238E27FC236}">
                <a16:creationId xmlns:a16="http://schemas.microsoft.com/office/drawing/2014/main" id="{8008F5F3-EFB2-4FB6-8F2C-7D2C657D3CE4}"/>
              </a:ext>
              <a:ext uri="{C183D7F6-B498-43B3-948B-1728B52AA6E4}">
                <adec:decorative xmlns:adec="http://schemas.microsoft.com/office/drawing/2017/decorative" val="1"/>
              </a:ext>
            </a:extLst>
          </p:cNvPr>
          <p:cNvSpPr/>
          <p:nvPr/>
        </p:nvSpPr>
        <p:spPr>
          <a:xfrm rot="5400000">
            <a:off x="4249449" y="4025059"/>
            <a:ext cx="260576" cy="358108"/>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600" dirty="0">
              <a:solidFill>
                <a:schemeClr val="tx1"/>
              </a:solidFill>
            </a:endParaRPr>
          </a:p>
        </p:txBody>
      </p:sp>
      <p:sp>
        <p:nvSpPr>
          <p:cNvPr id="39" name="TextBox 38">
            <a:extLst>
              <a:ext uri="{FF2B5EF4-FFF2-40B4-BE49-F238E27FC236}">
                <a16:creationId xmlns:a16="http://schemas.microsoft.com/office/drawing/2014/main" id="{0513D9F1-A1AC-4182-AC02-32555694E60B}"/>
              </a:ext>
            </a:extLst>
          </p:cNvPr>
          <p:cNvSpPr txBox="1"/>
          <p:nvPr/>
        </p:nvSpPr>
        <p:spPr>
          <a:xfrm>
            <a:off x="3342308" y="4398389"/>
            <a:ext cx="2074858" cy="938786"/>
          </a:xfrm>
          <a:prstGeom prst="rect">
            <a:avLst/>
          </a:prstGeom>
          <a:solidFill>
            <a:schemeClr val="accent1"/>
          </a:solidFill>
          <a:ln w="19050">
            <a:noFill/>
          </a:ln>
        </p:spPr>
        <p:txBody>
          <a:bodyPr vert="horz" wrap="square" lIns="180000" tIns="36000" rIns="72000" bIns="0" rtlCol="0" anchor="ctr">
            <a:noAutofit/>
          </a:bodyPr>
          <a:lstStyle/>
          <a:p>
            <a:pPr marL="174625" indent="-174625" eaLnBrk="0" hangingPunct="0">
              <a:lnSpc>
                <a:spcPct val="85000"/>
              </a:lnSpc>
              <a:spcBef>
                <a:spcPts val="100"/>
              </a:spcBef>
              <a:spcAft>
                <a:spcPts val="100"/>
              </a:spcAft>
              <a:buFontTx/>
              <a:buChar char="•"/>
            </a:pPr>
            <a:r>
              <a:rPr lang="en-US" sz="1400" dirty="0">
                <a:solidFill>
                  <a:schemeClr val="bg1"/>
                </a:solidFill>
              </a:rPr>
              <a:t>Text</a:t>
            </a:r>
          </a:p>
          <a:p>
            <a:pPr marL="174625" indent="-174625" eaLnBrk="0" hangingPunct="0">
              <a:lnSpc>
                <a:spcPct val="85000"/>
              </a:lnSpc>
              <a:spcBef>
                <a:spcPts val="100"/>
              </a:spcBef>
              <a:spcAft>
                <a:spcPts val="100"/>
              </a:spcAft>
              <a:buFontTx/>
              <a:buChar char="•"/>
            </a:pPr>
            <a:r>
              <a:rPr lang="en-US" sz="1400" dirty="0">
                <a:solidFill>
                  <a:schemeClr val="bg1"/>
                </a:solidFill>
              </a:rPr>
              <a:t>Text</a:t>
            </a:r>
          </a:p>
        </p:txBody>
      </p:sp>
      <p:sp>
        <p:nvSpPr>
          <p:cNvPr id="41" name="Arrow: Chevron 40">
            <a:extLst>
              <a:ext uri="{FF2B5EF4-FFF2-40B4-BE49-F238E27FC236}">
                <a16:creationId xmlns:a16="http://schemas.microsoft.com/office/drawing/2014/main" id="{F4207BB5-911E-4927-B366-084874778885}"/>
              </a:ext>
              <a:ext uri="{C183D7F6-B498-43B3-948B-1728B52AA6E4}">
                <adec:decorative xmlns:adec="http://schemas.microsoft.com/office/drawing/2017/decorative" val="1"/>
              </a:ext>
            </a:extLst>
          </p:cNvPr>
          <p:cNvSpPr/>
          <p:nvPr/>
        </p:nvSpPr>
        <p:spPr>
          <a:xfrm rot="5400000">
            <a:off x="6421900" y="4025059"/>
            <a:ext cx="260576" cy="358108"/>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600" dirty="0">
              <a:solidFill>
                <a:schemeClr val="tx1"/>
              </a:solidFill>
            </a:endParaRPr>
          </a:p>
        </p:txBody>
      </p:sp>
      <p:sp>
        <p:nvSpPr>
          <p:cNvPr id="40" name="TextBox 39">
            <a:extLst>
              <a:ext uri="{FF2B5EF4-FFF2-40B4-BE49-F238E27FC236}">
                <a16:creationId xmlns:a16="http://schemas.microsoft.com/office/drawing/2014/main" id="{966ECD09-680E-4EC6-9610-05644B286D52}"/>
              </a:ext>
            </a:extLst>
          </p:cNvPr>
          <p:cNvSpPr txBox="1"/>
          <p:nvPr/>
        </p:nvSpPr>
        <p:spPr>
          <a:xfrm>
            <a:off x="5514760" y="4398389"/>
            <a:ext cx="2074858" cy="938786"/>
          </a:xfrm>
          <a:prstGeom prst="rect">
            <a:avLst/>
          </a:prstGeom>
          <a:solidFill>
            <a:schemeClr val="accent1"/>
          </a:solidFill>
          <a:ln w="19050">
            <a:noFill/>
          </a:ln>
        </p:spPr>
        <p:txBody>
          <a:bodyPr vert="horz" wrap="square" lIns="180000" tIns="36000" rIns="72000" bIns="0" rtlCol="0" anchor="ctr">
            <a:noAutofit/>
          </a:bodyPr>
          <a:lstStyle/>
          <a:p>
            <a:pPr marL="174625" indent="-174625" eaLnBrk="0" hangingPunct="0">
              <a:lnSpc>
                <a:spcPct val="85000"/>
              </a:lnSpc>
              <a:spcBef>
                <a:spcPts val="100"/>
              </a:spcBef>
              <a:spcAft>
                <a:spcPts val="100"/>
              </a:spcAft>
              <a:buFontTx/>
              <a:buChar char="•"/>
            </a:pPr>
            <a:r>
              <a:rPr lang="en-US" sz="1400" dirty="0">
                <a:solidFill>
                  <a:schemeClr val="bg1"/>
                </a:solidFill>
              </a:rPr>
              <a:t>Text</a:t>
            </a:r>
          </a:p>
          <a:p>
            <a:pPr marL="174625" indent="-174625" eaLnBrk="0" hangingPunct="0">
              <a:lnSpc>
                <a:spcPct val="85000"/>
              </a:lnSpc>
              <a:spcBef>
                <a:spcPts val="100"/>
              </a:spcBef>
              <a:spcAft>
                <a:spcPts val="100"/>
              </a:spcAft>
              <a:buFontTx/>
              <a:buChar char="•"/>
            </a:pPr>
            <a:r>
              <a:rPr lang="en-US" sz="1400" dirty="0">
                <a:solidFill>
                  <a:schemeClr val="bg1"/>
                </a:solidFill>
              </a:rPr>
              <a:t>Text</a:t>
            </a:r>
          </a:p>
        </p:txBody>
      </p:sp>
      <p:sp>
        <p:nvSpPr>
          <p:cNvPr id="4" name="Footer Placeholder 3">
            <a:extLst>
              <a:ext uri="{FF2B5EF4-FFF2-40B4-BE49-F238E27FC236}">
                <a16:creationId xmlns:a16="http://schemas.microsoft.com/office/drawing/2014/main" id="{46CC0350-8B97-4822-B176-DAF66E6F0009}"/>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9917E124-EB52-45EB-ACD0-DDA9EF19CAAC}"/>
              </a:ext>
            </a:extLst>
          </p:cNvPr>
          <p:cNvSpPr>
            <a:spLocks noGrp="1"/>
          </p:cNvSpPr>
          <p:nvPr>
            <p:ph type="sldNum" sz="quarter" idx="10"/>
          </p:nvPr>
        </p:nvSpPr>
        <p:spPr/>
        <p:txBody>
          <a:bodyPr/>
          <a:lstStyle/>
          <a:p>
            <a:fld id="{1F90F471-3972-4120-B8B3-0237DE626C35}" type="slidenum">
              <a:rPr lang="en-US" smtClean="0"/>
              <a:pPr/>
              <a:t>323</a:t>
            </a:fld>
            <a:endParaRPr lang="en-US" dirty="0"/>
          </a:p>
        </p:txBody>
      </p:sp>
    </p:spTree>
    <p:extLst>
      <p:ext uri="{BB962C8B-B14F-4D97-AF65-F5344CB8AC3E}">
        <p14:creationId xmlns:p14="http://schemas.microsoft.com/office/powerpoint/2010/main" val="443226013"/>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GB" dirty="0"/>
              <a:t>Consequences/Conclusion 10</a:t>
            </a:r>
            <a:endParaRPr lang="de-DE" dirty="0"/>
          </a:p>
        </p:txBody>
      </p:sp>
      <p:sp>
        <p:nvSpPr>
          <p:cNvPr id="10" name="AutoShape 5">
            <a:extLst>
              <a:ext uri="{FF2B5EF4-FFF2-40B4-BE49-F238E27FC236}">
                <a16:creationId xmlns:a16="http://schemas.microsoft.com/office/drawing/2014/main" id="{121578A6-C11A-4F55-A744-B49E3BDECA40}"/>
              </a:ext>
            </a:extLst>
          </p:cNvPr>
          <p:cNvSpPr>
            <a:spLocks noChangeArrowheads="1"/>
          </p:cNvSpPr>
          <p:nvPr/>
        </p:nvSpPr>
        <p:spPr bwMode="auto">
          <a:xfrm>
            <a:off x="1811338" y="1628800"/>
            <a:ext cx="2788897" cy="1108760"/>
          </a:xfrm>
          <a:prstGeom prst="homePlate">
            <a:avLst>
              <a:gd name="adj" fmla="val 27116"/>
            </a:avLst>
          </a:prstGeom>
          <a:solidFill>
            <a:schemeClr val="accent1"/>
          </a:solidFill>
          <a:ln w="6350">
            <a:noFill/>
            <a:miter lim="800000"/>
            <a:headEnd/>
            <a:tailEnd/>
          </a:ln>
        </p:spPr>
        <p:txBody>
          <a:bodyPr lIns="72000" tIns="144000" rIns="72000" bIns="72000" anchor="ctr" anchorCtr="0"/>
          <a:lstStyle/>
          <a:p>
            <a:pPr algn="ctr" eaLnBrk="0" hangingPunct="0">
              <a:lnSpc>
                <a:spcPct val="85000"/>
              </a:lnSpc>
              <a:spcBef>
                <a:spcPts val="100"/>
              </a:spcBef>
              <a:spcAft>
                <a:spcPts val="300"/>
              </a:spcAft>
            </a:pPr>
            <a:r>
              <a:rPr lang="en-GB" b="1" dirty="0">
                <a:solidFill>
                  <a:schemeClr val="bg1"/>
                </a:solidFill>
                <a:latin typeface="+mj-lt"/>
              </a:rPr>
              <a:t>Text</a:t>
            </a:r>
          </a:p>
        </p:txBody>
      </p:sp>
      <p:sp>
        <p:nvSpPr>
          <p:cNvPr id="20" name="Freeform: Shape 19">
            <a:extLst>
              <a:ext uri="{FF2B5EF4-FFF2-40B4-BE49-F238E27FC236}">
                <a16:creationId xmlns:a16="http://schemas.microsoft.com/office/drawing/2014/main" id="{6CA374D2-8FDA-4224-A34B-1E7C856E4414}"/>
              </a:ext>
            </a:extLst>
          </p:cNvPr>
          <p:cNvSpPr>
            <a:spLocks noChangeArrowheads="1"/>
          </p:cNvSpPr>
          <p:nvPr/>
        </p:nvSpPr>
        <p:spPr bwMode="auto">
          <a:xfrm>
            <a:off x="4495770" y="1628800"/>
            <a:ext cx="5867430" cy="1108760"/>
          </a:xfrm>
          <a:custGeom>
            <a:avLst/>
            <a:gdLst>
              <a:gd name="connsiteX0" fmla="*/ 0 w 5867430"/>
              <a:gd name="connsiteY0" fmla="*/ 0 h 1108760"/>
              <a:gd name="connsiteX1" fmla="*/ 5867430 w 5867430"/>
              <a:gd name="connsiteY1" fmla="*/ 0 h 1108760"/>
              <a:gd name="connsiteX2" fmla="*/ 5867430 w 5867430"/>
              <a:gd name="connsiteY2" fmla="*/ 1108760 h 1108760"/>
              <a:gd name="connsiteX3" fmla="*/ 0 w 5867430"/>
              <a:gd name="connsiteY3" fmla="*/ 1108760 h 1108760"/>
              <a:gd name="connsiteX4" fmla="*/ 0 w 5867430"/>
              <a:gd name="connsiteY4" fmla="*/ 1095853 h 1108760"/>
              <a:gd name="connsiteX5" fmla="*/ 293651 w 5867430"/>
              <a:gd name="connsiteY5" fmla="*/ 554380 h 1108760"/>
              <a:gd name="connsiteX6" fmla="*/ 0 w 5867430"/>
              <a:gd name="connsiteY6" fmla="*/ 12908 h 1108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7430" h="1108760">
                <a:moveTo>
                  <a:pt x="0" y="0"/>
                </a:moveTo>
                <a:lnTo>
                  <a:pt x="5867430" y="0"/>
                </a:lnTo>
                <a:lnTo>
                  <a:pt x="5867430" y="1108760"/>
                </a:lnTo>
                <a:lnTo>
                  <a:pt x="0" y="1108760"/>
                </a:lnTo>
                <a:lnTo>
                  <a:pt x="0" y="1095853"/>
                </a:lnTo>
                <a:lnTo>
                  <a:pt x="293651" y="554380"/>
                </a:lnTo>
                <a:lnTo>
                  <a:pt x="0" y="12908"/>
                </a:lnTo>
                <a:close/>
              </a:path>
            </a:pathLst>
          </a:custGeom>
          <a:solidFill>
            <a:schemeClr val="tx2">
              <a:lumMod val="20000"/>
              <a:lumOff val="80000"/>
            </a:schemeClr>
          </a:solidFill>
          <a:ln w="6350">
            <a:noFill/>
            <a:miter lim="800000"/>
            <a:headEnd/>
            <a:tailEnd/>
          </a:ln>
        </p:spPr>
        <p:txBody>
          <a:bodyPr wrap="square" lIns="540000" tIns="144000" rIns="72000" bIns="72000">
            <a:noAutofit/>
          </a:bodyPr>
          <a:lstStyle/>
          <a:p>
            <a:pPr eaLnBrk="0" hangingPunct="0">
              <a:lnSpc>
                <a:spcPct val="85000"/>
              </a:lnSpc>
              <a:spcBef>
                <a:spcPts val="100"/>
              </a:spcBef>
              <a:spcAft>
                <a:spcPts val="300"/>
              </a:spcAft>
            </a:pPr>
            <a:r>
              <a:rPr lang="en-GB" sz="1400" b="1" dirty="0">
                <a:latin typeface="+mj-lt"/>
              </a:rPr>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p:txBody>
      </p:sp>
      <p:sp>
        <p:nvSpPr>
          <p:cNvPr id="12" name="AutoShape 5">
            <a:extLst>
              <a:ext uri="{FF2B5EF4-FFF2-40B4-BE49-F238E27FC236}">
                <a16:creationId xmlns:a16="http://schemas.microsoft.com/office/drawing/2014/main" id="{13BCFA20-829C-40A9-8A57-92228C20E0E2}"/>
              </a:ext>
            </a:extLst>
          </p:cNvPr>
          <p:cNvSpPr>
            <a:spLocks noChangeArrowheads="1"/>
          </p:cNvSpPr>
          <p:nvPr/>
        </p:nvSpPr>
        <p:spPr bwMode="auto">
          <a:xfrm>
            <a:off x="1811338" y="2898840"/>
            <a:ext cx="2788897" cy="1108760"/>
          </a:xfrm>
          <a:prstGeom prst="homePlate">
            <a:avLst>
              <a:gd name="adj" fmla="val 27116"/>
            </a:avLst>
          </a:prstGeom>
          <a:solidFill>
            <a:schemeClr val="accent2"/>
          </a:solidFill>
          <a:ln w="6350">
            <a:noFill/>
            <a:miter lim="800000"/>
            <a:headEnd/>
            <a:tailEnd/>
          </a:ln>
        </p:spPr>
        <p:txBody>
          <a:bodyPr lIns="72000" tIns="144000" rIns="72000" bIns="72000" anchor="ctr" anchorCtr="0"/>
          <a:lstStyle/>
          <a:p>
            <a:pPr algn="ctr" eaLnBrk="0" hangingPunct="0">
              <a:lnSpc>
                <a:spcPct val="85000"/>
              </a:lnSpc>
              <a:spcBef>
                <a:spcPts val="100"/>
              </a:spcBef>
              <a:spcAft>
                <a:spcPts val="300"/>
              </a:spcAft>
            </a:pPr>
            <a:r>
              <a:rPr lang="en-GB" b="1" dirty="0">
                <a:solidFill>
                  <a:schemeClr val="bg1"/>
                </a:solidFill>
                <a:latin typeface="+mj-lt"/>
              </a:rPr>
              <a:t>Text</a:t>
            </a:r>
          </a:p>
        </p:txBody>
      </p:sp>
      <p:sp>
        <p:nvSpPr>
          <p:cNvPr id="18" name="Freeform: Shape 17">
            <a:extLst>
              <a:ext uri="{FF2B5EF4-FFF2-40B4-BE49-F238E27FC236}">
                <a16:creationId xmlns:a16="http://schemas.microsoft.com/office/drawing/2014/main" id="{51FBED30-F107-4C14-B768-05F8C5A2F54D}"/>
              </a:ext>
            </a:extLst>
          </p:cNvPr>
          <p:cNvSpPr>
            <a:spLocks noChangeArrowheads="1"/>
          </p:cNvSpPr>
          <p:nvPr/>
        </p:nvSpPr>
        <p:spPr bwMode="auto">
          <a:xfrm>
            <a:off x="4495770" y="2898840"/>
            <a:ext cx="5867430" cy="1108760"/>
          </a:xfrm>
          <a:custGeom>
            <a:avLst/>
            <a:gdLst>
              <a:gd name="connsiteX0" fmla="*/ 0 w 5867430"/>
              <a:gd name="connsiteY0" fmla="*/ 0 h 1108760"/>
              <a:gd name="connsiteX1" fmla="*/ 5867430 w 5867430"/>
              <a:gd name="connsiteY1" fmla="*/ 0 h 1108760"/>
              <a:gd name="connsiteX2" fmla="*/ 5867430 w 5867430"/>
              <a:gd name="connsiteY2" fmla="*/ 1108760 h 1108760"/>
              <a:gd name="connsiteX3" fmla="*/ 0 w 5867430"/>
              <a:gd name="connsiteY3" fmla="*/ 1108760 h 1108760"/>
              <a:gd name="connsiteX4" fmla="*/ 0 w 5867430"/>
              <a:gd name="connsiteY4" fmla="*/ 1095853 h 1108760"/>
              <a:gd name="connsiteX5" fmla="*/ 293651 w 5867430"/>
              <a:gd name="connsiteY5" fmla="*/ 554380 h 1108760"/>
              <a:gd name="connsiteX6" fmla="*/ 0 w 5867430"/>
              <a:gd name="connsiteY6" fmla="*/ 12908 h 1108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7430" h="1108760">
                <a:moveTo>
                  <a:pt x="0" y="0"/>
                </a:moveTo>
                <a:lnTo>
                  <a:pt x="5867430" y="0"/>
                </a:lnTo>
                <a:lnTo>
                  <a:pt x="5867430" y="1108760"/>
                </a:lnTo>
                <a:lnTo>
                  <a:pt x="0" y="1108760"/>
                </a:lnTo>
                <a:lnTo>
                  <a:pt x="0" y="1095853"/>
                </a:lnTo>
                <a:lnTo>
                  <a:pt x="293651" y="554380"/>
                </a:lnTo>
                <a:lnTo>
                  <a:pt x="0" y="12908"/>
                </a:lnTo>
                <a:close/>
              </a:path>
            </a:pathLst>
          </a:custGeom>
          <a:solidFill>
            <a:schemeClr val="tx2">
              <a:lumMod val="20000"/>
              <a:lumOff val="80000"/>
            </a:schemeClr>
          </a:solidFill>
          <a:ln w="6350">
            <a:noFill/>
            <a:miter lim="800000"/>
            <a:headEnd/>
            <a:tailEnd/>
          </a:ln>
        </p:spPr>
        <p:txBody>
          <a:bodyPr wrap="square" lIns="540000" tIns="144000" rIns="72000" bIns="72000">
            <a:noAutofit/>
          </a:bodyPr>
          <a:lstStyle/>
          <a:p>
            <a:pPr eaLnBrk="0" hangingPunct="0">
              <a:lnSpc>
                <a:spcPct val="85000"/>
              </a:lnSpc>
              <a:spcBef>
                <a:spcPts val="100"/>
              </a:spcBef>
              <a:spcAft>
                <a:spcPts val="300"/>
              </a:spcAft>
            </a:pPr>
            <a:r>
              <a:rPr lang="en-GB" sz="1400" b="1" dirty="0">
                <a:latin typeface="+mj-lt"/>
              </a:rPr>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p:txBody>
      </p:sp>
      <p:sp>
        <p:nvSpPr>
          <p:cNvPr id="16" name="AutoShape 5">
            <a:extLst>
              <a:ext uri="{FF2B5EF4-FFF2-40B4-BE49-F238E27FC236}">
                <a16:creationId xmlns:a16="http://schemas.microsoft.com/office/drawing/2014/main" id="{8EBCC211-5A0B-4B17-B596-7CC0751E697A}"/>
              </a:ext>
            </a:extLst>
          </p:cNvPr>
          <p:cNvSpPr>
            <a:spLocks noChangeArrowheads="1"/>
          </p:cNvSpPr>
          <p:nvPr/>
        </p:nvSpPr>
        <p:spPr bwMode="auto">
          <a:xfrm>
            <a:off x="1811338" y="4168880"/>
            <a:ext cx="2788897" cy="1108760"/>
          </a:xfrm>
          <a:prstGeom prst="homePlate">
            <a:avLst>
              <a:gd name="adj" fmla="val 27116"/>
            </a:avLst>
          </a:prstGeom>
          <a:solidFill>
            <a:schemeClr val="accent3"/>
          </a:solidFill>
          <a:ln w="6350">
            <a:noFill/>
            <a:miter lim="800000"/>
            <a:headEnd/>
            <a:tailEnd/>
          </a:ln>
        </p:spPr>
        <p:txBody>
          <a:bodyPr lIns="72000" tIns="144000" rIns="72000" bIns="72000" anchor="ctr" anchorCtr="0"/>
          <a:lstStyle/>
          <a:p>
            <a:pPr algn="ctr" eaLnBrk="0" hangingPunct="0">
              <a:lnSpc>
                <a:spcPct val="85000"/>
              </a:lnSpc>
              <a:spcBef>
                <a:spcPts val="100"/>
              </a:spcBef>
              <a:spcAft>
                <a:spcPts val="300"/>
              </a:spcAft>
            </a:pPr>
            <a:r>
              <a:rPr lang="en-GB" b="1" dirty="0">
                <a:solidFill>
                  <a:schemeClr val="bg1"/>
                </a:solidFill>
                <a:latin typeface="+mj-lt"/>
              </a:rPr>
              <a:t>Text</a:t>
            </a:r>
          </a:p>
        </p:txBody>
      </p:sp>
      <p:sp>
        <p:nvSpPr>
          <p:cNvPr id="14" name="Freeform: Shape 13">
            <a:extLst>
              <a:ext uri="{FF2B5EF4-FFF2-40B4-BE49-F238E27FC236}">
                <a16:creationId xmlns:a16="http://schemas.microsoft.com/office/drawing/2014/main" id="{E5688824-B404-4666-93BD-AC4D2E8AFC4F}"/>
              </a:ext>
            </a:extLst>
          </p:cNvPr>
          <p:cNvSpPr>
            <a:spLocks noChangeArrowheads="1"/>
          </p:cNvSpPr>
          <p:nvPr/>
        </p:nvSpPr>
        <p:spPr bwMode="auto">
          <a:xfrm>
            <a:off x="4495770" y="4168880"/>
            <a:ext cx="5867430" cy="1108760"/>
          </a:xfrm>
          <a:custGeom>
            <a:avLst/>
            <a:gdLst>
              <a:gd name="connsiteX0" fmla="*/ 0 w 5867430"/>
              <a:gd name="connsiteY0" fmla="*/ 0 h 1108760"/>
              <a:gd name="connsiteX1" fmla="*/ 5867430 w 5867430"/>
              <a:gd name="connsiteY1" fmla="*/ 0 h 1108760"/>
              <a:gd name="connsiteX2" fmla="*/ 5867430 w 5867430"/>
              <a:gd name="connsiteY2" fmla="*/ 1108760 h 1108760"/>
              <a:gd name="connsiteX3" fmla="*/ 0 w 5867430"/>
              <a:gd name="connsiteY3" fmla="*/ 1108760 h 1108760"/>
              <a:gd name="connsiteX4" fmla="*/ 0 w 5867430"/>
              <a:gd name="connsiteY4" fmla="*/ 1095853 h 1108760"/>
              <a:gd name="connsiteX5" fmla="*/ 293651 w 5867430"/>
              <a:gd name="connsiteY5" fmla="*/ 554380 h 1108760"/>
              <a:gd name="connsiteX6" fmla="*/ 0 w 5867430"/>
              <a:gd name="connsiteY6" fmla="*/ 12908 h 1108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7430" h="1108760">
                <a:moveTo>
                  <a:pt x="0" y="0"/>
                </a:moveTo>
                <a:lnTo>
                  <a:pt x="5867430" y="0"/>
                </a:lnTo>
                <a:lnTo>
                  <a:pt x="5867430" y="1108760"/>
                </a:lnTo>
                <a:lnTo>
                  <a:pt x="0" y="1108760"/>
                </a:lnTo>
                <a:lnTo>
                  <a:pt x="0" y="1095853"/>
                </a:lnTo>
                <a:lnTo>
                  <a:pt x="293651" y="554380"/>
                </a:lnTo>
                <a:lnTo>
                  <a:pt x="0" y="12908"/>
                </a:lnTo>
                <a:close/>
              </a:path>
            </a:pathLst>
          </a:custGeom>
          <a:solidFill>
            <a:schemeClr val="tx2">
              <a:lumMod val="20000"/>
              <a:lumOff val="80000"/>
            </a:schemeClr>
          </a:solidFill>
          <a:ln w="6350">
            <a:noFill/>
            <a:miter lim="800000"/>
            <a:headEnd/>
            <a:tailEnd/>
          </a:ln>
        </p:spPr>
        <p:txBody>
          <a:bodyPr wrap="square" lIns="540000" tIns="144000" rIns="72000" bIns="72000">
            <a:noAutofit/>
          </a:bodyPr>
          <a:lstStyle/>
          <a:p>
            <a:pPr eaLnBrk="0" hangingPunct="0">
              <a:lnSpc>
                <a:spcPct val="85000"/>
              </a:lnSpc>
              <a:spcBef>
                <a:spcPts val="100"/>
              </a:spcBef>
              <a:spcAft>
                <a:spcPts val="300"/>
              </a:spcAft>
            </a:pPr>
            <a:r>
              <a:rPr lang="en-GB" sz="1400" b="1" dirty="0">
                <a:latin typeface="+mj-lt"/>
              </a:rPr>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p:txBody>
      </p:sp>
      <p:sp>
        <p:nvSpPr>
          <p:cNvPr id="4" name="Footer Placeholder 3">
            <a:extLst>
              <a:ext uri="{FF2B5EF4-FFF2-40B4-BE49-F238E27FC236}">
                <a16:creationId xmlns:a16="http://schemas.microsoft.com/office/drawing/2014/main" id="{76C710EC-3A37-47D6-8C0F-DE7B57B72DD9}"/>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EB23B2DD-60A7-4F3A-8B71-B8017EB249C0}"/>
              </a:ext>
            </a:extLst>
          </p:cNvPr>
          <p:cNvSpPr>
            <a:spLocks noGrp="1"/>
          </p:cNvSpPr>
          <p:nvPr>
            <p:ph type="sldNum" sz="quarter" idx="10"/>
          </p:nvPr>
        </p:nvSpPr>
        <p:spPr/>
        <p:txBody>
          <a:bodyPr/>
          <a:lstStyle/>
          <a:p>
            <a:fld id="{1F90F471-3972-4120-B8B3-0237DE626C35}" type="slidenum">
              <a:rPr lang="en-US" smtClean="0"/>
              <a:pPr/>
              <a:t>324</a:t>
            </a:fld>
            <a:endParaRPr lang="en-US" dirty="0"/>
          </a:p>
        </p:txBody>
      </p:sp>
    </p:spTree>
    <p:extLst>
      <p:ext uri="{BB962C8B-B14F-4D97-AF65-F5344CB8AC3E}">
        <p14:creationId xmlns:p14="http://schemas.microsoft.com/office/powerpoint/2010/main" val="3102867199"/>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GB" dirty="0"/>
              <a:t>Consequences/Conclusion 11</a:t>
            </a:r>
            <a:endParaRPr lang="de-DE" dirty="0"/>
          </a:p>
        </p:txBody>
      </p:sp>
      <p:grpSp>
        <p:nvGrpSpPr>
          <p:cNvPr id="4" name="Group 3" descr="Add text and order accordingly">
            <a:extLst>
              <a:ext uri="{FF2B5EF4-FFF2-40B4-BE49-F238E27FC236}">
                <a16:creationId xmlns:a16="http://schemas.microsoft.com/office/drawing/2014/main" id="{D231AC70-630E-423F-8212-E7B1510E1DCE}"/>
              </a:ext>
            </a:extLst>
          </p:cNvPr>
          <p:cNvGrpSpPr/>
          <p:nvPr/>
        </p:nvGrpSpPr>
        <p:grpSpPr>
          <a:xfrm>
            <a:off x="1822451" y="1763713"/>
            <a:ext cx="2616200" cy="3991425"/>
            <a:chOff x="1822450" y="1793280"/>
            <a:chExt cx="2795267" cy="4264620"/>
          </a:xfrm>
        </p:grpSpPr>
        <p:sp>
          <p:nvSpPr>
            <p:cNvPr id="5" name="Freeform: Shape 4">
              <a:extLst>
                <a:ext uri="{FF2B5EF4-FFF2-40B4-BE49-F238E27FC236}">
                  <a16:creationId xmlns:a16="http://schemas.microsoft.com/office/drawing/2014/main" id="{16822440-2F0A-4875-AA8F-926EA2AE48F8}"/>
                </a:ext>
              </a:extLst>
            </p:cNvPr>
            <p:cNvSpPr/>
            <p:nvPr/>
          </p:nvSpPr>
          <p:spPr>
            <a:xfrm>
              <a:off x="1822450" y="1923344"/>
              <a:ext cx="2795263" cy="4134556"/>
            </a:xfrm>
            <a:custGeom>
              <a:avLst/>
              <a:gdLst>
                <a:gd name="connsiteX0" fmla="*/ 0 w 2795263"/>
                <a:gd name="connsiteY0" fmla="*/ 0 h 4134556"/>
                <a:gd name="connsiteX1" fmla="*/ 2795263 w 2795263"/>
                <a:gd name="connsiteY1" fmla="*/ 0 h 4134556"/>
                <a:gd name="connsiteX2" fmla="*/ 2795263 w 2795263"/>
                <a:gd name="connsiteY2" fmla="*/ 1 h 4134556"/>
                <a:gd name="connsiteX3" fmla="*/ 2 w 2795263"/>
                <a:gd name="connsiteY3" fmla="*/ 1 h 4134556"/>
                <a:gd name="connsiteX4" fmla="*/ 2 w 2795263"/>
                <a:gd name="connsiteY4" fmla="*/ 504601 h 4134556"/>
                <a:gd name="connsiteX5" fmla="*/ 1397635 w 2795263"/>
                <a:gd name="connsiteY5" fmla="*/ 759038 h 4134556"/>
                <a:gd name="connsiteX6" fmla="*/ 2795263 w 2795263"/>
                <a:gd name="connsiteY6" fmla="*/ 504602 h 4134556"/>
                <a:gd name="connsiteX7" fmla="*/ 2795263 w 2795263"/>
                <a:gd name="connsiteY7" fmla="*/ 4134556 h 4134556"/>
                <a:gd name="connsiteX8" fmla="*/ 0 w 2795263"/>
                <a:gd name="connsiteY8" fmla="*/ 4134556 h 4134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5263" h="4134556">
                  <a:moveTo>
                    <a:pt x="0" y="0"/>
                  </a:moveTo>
                  <a:lnTo>
                    <a:pt x="2795263" y="0"/>
                  </a:lnTo>
                  <a:lnTo>
                    <a:pt x="2795263" y="1"/>
                  </a:lnTo>
                  <a:lnTo>
                    <a:pt x="2" y="1"/>
                  </a:lnTo>
                  <a:lnTo>
                    <a:pt x="2" y="504601"/>
                  </a:lnTo>
                  <a:lnTo>
                    <a:pt x="1397635" y="759038"/>
                  </a:lnTo>
                  <a:lnTo>
                    <a:pt x="2795263" y="504602"/>
                  </a:lnTo>
                  <a:lnTo>
                    <a:pt x="2795263" y="4134556"/>
                  </a:lnTo>
                  <a:lnTo>
                    <a:pt x="0" y="4134556"/>
                  </a:lnTo>
                  <a:close/>
                </a:path>
              </a:pathLst>
            </a:custGeom>
            <a:solidFill>
              <a:srgbClr val="96968C">
                <a:lumMod val="20000"/>
                <a:lumOff val="80000"/>
              </a:srgbClr>
            </a:solidFill>
            <a:ln w="9525" cap="flat" cmpd="sng" algn="ctr">
              <a:noFill/>
              <a:prstDash val="solid"/>
            </a:ln>
            <a:effectLst/>
          </p:spPr>
          <p:txBody>
            <a:bodyPr wrap="square" lIns="180000" tIns="864000" rtlCol="0" anchor="t" anchorCtr="0">
              <a:noAutofit/>
            </a:bodyPr>
            <a:lstStyle/>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ea typeface="+mn-ea"/>
                  <a:cs typeface="+mn-cs"/>
                </a:rPr>
                <a:t>Text</a:t>
              </a:r>
            </a:p>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ea typeface="+mn-ea"/>
                  <a:cs typeface="+mn-cs"/>
                </a:rPr>
                <a:t>Text</a:t>
              </a:r>
            </a:p>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ea typeface="+mn-ea"/>
                  <a:cs typeface="+mn-cs"/>
                </a:rPr>
                <a:t>Text</a:t>
              </a:r>
            </a:p>
          </p:txBody>
        </p:sp>
        <p:sp>
          <p:nvSpPr>
            <p:cNvPr id="6" name="AutoShape 9">
              <a:extLst>
                <a:ext uri="{FF2B5EF4-FFF2-40B4-BE49-F238E27FC236}">
                  <a16:creationId xmlns:a16="http://schemas.microsoft.com/office/drawing/2014/main" id="{DA97F31C-1DEE-408E-BFD8-372312132196}"/>
                </a:ext>
              </a:extLst>
            </p:cNvPr>
            <p:cNvSpPr>
              <a:spLocks noChangeArrowheads="1"/>
            </p:cNvSpPr>
            <p:nvPr/>
          </p:nvSpPr>
          <p:spPr bwMode="auto">
            <a:xfrm rot="16200000" flipH="1">
              <a:off x="2840566" y="775166"/>
              <a:ext cx="759037" cy="2795265"/>
            </a:xfrm>
            <a:prstGeom prst="homePlate">
              <a:avLst>
                <a:gd name="adj" fmla="val 33521"/>
              </a:avLst>
            </a:prstGeom>
            <a:solidFill>
              <a:schemeClr val="accent3"/>
            </a:solidFill>
            <a:ln w="6350">
              <a:noFill/>
              <a:miter lim="800000"/>
              <a:headEnd/>
              <a:tailEnd/>
            </a:ln>
            <a:effectLst/>
          </p:spPr>
          <p:txBody>
            <a:bodyPr vert="eaVert" wrap="none" lIns="45720" rIns="45720" anchor="ctr"/>
            <a:lstStyle/>
            <a:p>
              <a:pPr marL="0" marR="0" lvl="0" indent="0" algn="ctr" defTabSz="914400" rtl="0" eaLnBrk="0" fontAlgn="auto" latinLnBrk="0" hangingPunct="0">
                <a:lnSpc>
                  <a:spcPct val="85000"/>
                </a:lnSpc>
                <a:spcBef>
                  <a:spcPts val="100"/>
                </a:spcBef>
                <a:spcAft>
                  <a:spcPts val="300"/>
                </a:spcAft>
                <a:buClr>
                  <a:srgbClr val="FFFFFF"/>
                </a:buClr>
                <a:buSzTx/>
                <a:buFontTx/>
                <a:buNone/>
                <a:tabLst/>
                <a:defRPr/>
              </a:pPr>
              <a:r>
                <a:rPr kumimoji="0" lang="en-GB" sz="1600" b="1" i="0" u="none" strike="noStrike" kern="0" cap="none" spc="0" normalizeH="0" baseline="0" noProof="0" dirty="0">
                  <a:ln>
                    <a:noFill/>
                  </a:ln>
                  <a:solidFill>
                    <a:srgbClr val="FFFFFF"/>
                  </a:solidFill>
                  <a:effectLst/>
                  <a:uLnTx/>
                  <a:uFillTx/>
                  <a:latin typeface="+mj-lt"/>
                  <a:ea typeface="+mn-ea"/>
                  <a:cs typeface="+mn-cs"/>
                </a:rPr>
                <a:t>Text</a:t>
              </a:r>
            </a:p>
          </p:txBody>
        </p:sp>
      </p:grpSp>
      <p:grpSp>
        <p:nvGrpSpPr>
          <p:cNvPr id="7" name="Group 6" descr="Add text and order accordingly">
            <a:extLst>
              <a:ext uri="{FF2B5EF4-FFF2-40B4-BE49-F238E27FC236}">
                <a16:creationId xmlns:a16="http://schemas.microsoft.com/office/drawing/2014/main" id="{C9151DA2-5BF9-45CF-A7D8-EACA07FE8C3A}"/>
              </a:ext>
            </a:extLst>
          </p:cNvPr>
          <p:cNvGrpSpPr/>
          <p:nvPr/>
        </p:nvGrpSpPr>
        <p:grpSpPr>
          <a:xfrm>
            <a:off x="4584919" y="1763713"/>
            <a:ext cx="2616200" cy="3991425"/>
            <a:chOff x="1822450" y="1793280"/>
            <a:chExt cx="2795267" cy="4264620"/>
          </a:xfrm>
        </p:grpSpPr>
        <p:sp>
          <p:nvSpPr>
            <p:cNvPr id="8" name="Freeform: Shape 7">
              <a:extLst>
                <a:ext uri="{FF2B5EF4-FFF2-40B4-BE49-F238E27FC236}">
                  <a16:creationId xmlns:a16="http://schemas.microsoft.com/office/drawing/2014/main" id="{DC585CCF-2137-477E-ADC5-D4E783B19DAA}"/>
                </a:ext>
              </a:extLst>
            </p:cNvPr>
            <p:cNvSpPr/>
            <p:nvPr/>
          </p:nvSpPr>
          <p:spPr>
            <a:xfrm>
              <a:off x="1822450" y="1923344"/>
              <a:ext cx="2795263" cy="4134556"/>
            </a:xfrm>
            <a:custGeom>
              <a:avLst/>
              <a:gdLst>
                <a:gd name="connsiteX0" fmla="*/ 0 w 2795263"/>
                <a:gd name="connsiteY0" fmla="*/ 0 h 4134556"/>
                <a:gd name="connsiteX1" fmla="*/ 2795263 w 2795263"/>
                <a:gd name="connsiteY1" fmla="*/ 0 h 4134556"/>
                <a:gd name="connsiteX2" fmla="*/ 2795263 w 2795263"/>
                <a:gd name="connsiteY2" fmla="*/ 1 h 4134556"/>
                <a:gd name="connsiteX3" fmla="*/ 2 w 2795263"/>
                <a:gd name="connsiteY3" fmla="*/ 1 h 4134556"/>
                <a:gd name="connsiteX4" fmla="*/ 2 w 2795263"/>
                <a:gd name="connsiteY4" fmla="*/ 504601 h 4134556"/>
                <a:gd name="connsiteX5" fmla="*/ 1397635 w 2795263"/>
                <a:gd name="connsiteY5" fmla="*/ 759038 h 4134556"/>
                <a:gd name="connsiteX6" fmla="*/ 2795263 w 2795263"/>
                <a:gd name="connsiteY6" fmla="*/ 504602 h 4134556"/>
                <a:gd name="connsiteX7" fmla="*/ 2795263 w 2795263"/>
                <a:gd name="connsiteY7" fmla="*/ 4134556 h 4134556"/>
                <a:gd name="connsiteX8" fmla="*/ 0 w 2795263"/>
                <a:gd name="connsiteY8" fmla="*/ 4134556 h 4134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5263" h="4134556">
                  <a:moveTo>
                    <a:pt x="0" y="0"/>
                  </a:moveTo>
                  <a:lnTo>
                    <a:pt x="2795263" y="0"/>
                  </a:lnTo>
                  <a:lnTo>
                    <a:pt x="2795263" y="1"/>
                  </a:lnTo>
                  <a:lnTo>
                    <a:pt x="2" y="1"/>
                  </a:lnTo>
                  <a:lnTo>
                    <a:pt x="2" y="504601"/>
                  </a:lnTo>
                  <a:lnTo>
                    <a:pt x="1397635" y="759038"/>
                  </a:lnTo>
                  <a:lnTo>
                    <a:pt x="2795263" y="504602"/>
                  </a:lnTo>
                  <a:lnTo>
                    <a:pt x="2795263" y="4134556"/>
                  </a:lnTo>
                  <a:lnTo>
                    <a:pt x="0" y="4134556"/>
                  </a:lnTo>
                  <a:close/>
                </a:path>
              </a:pathLst>
            </a:custGeom>
            <a:solidFill>
              <a:srgbClr val="96968C">
                <a:lumMod val="20000"/>
                <a:lumOff val="80000"/>
              </a:srgbClr>
            </a:solidFill>
            <a:ln w="9525" cap="flat" cmpd="sng" algn="ctr">
              <a:noFill/>
              <a:prstDash val="solid"/>
            </a:ln>
            <a:effectLst/>
          </p:spPr>
          <p:txBody>
            <a:bodyPr wrap="square" lIns="180000" tIns="864000" rtlCol="0" anchor="t" anchorCtr="0">
              <a:noAutofit/>
            </a:bodyPr>
            <a:lstStyle/>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ea typeface="+mn-ea"/>
                  <a:cs typeface="+mn-cs"/>
                </a:rPr>
                <a:t>Text</a:t>
              </a:r>
            </a:p>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ea typeface="+mn-ea"/>
                  <a:cs typeface="+mn-cs"/>
                </a:rPr>
                <a:t>Text</a:t>
              </a:r>
            </a:p>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ea typeface="+mn-ea"/>
                  <a:cs typeface="+mn-cs"/>
                </a:rPr>
                <a:t>Text</a:t>
              </a:r>
            </a:p>
          </p:txBody>
        </p:sp>
        <p:sp>
          <p:nvSpPr>
            <p:cNvPr id="9" name="AutoShape 9">
              <a:extLst>
                <a:ext uri="{FF2B5EF4-FFF2-40B4-BE49-F238E27FC236}">
                  <a16:creationId xmlns:a16="http://schemas.microsoft.com/office/drawing/2014/main" id="{99802AEA-2D09-4EF3-9418-0EEAD20C52AE}"/>
                </a:ext>
              </a:extLst>
            </p:cNvPr>
            <p:cNvSpPr>
              <a:spLocks noChangeArrowheads="1"/>
            </p:cNvSpPr>
            <p:nvPr/>
          </p:nvSpPr>
          <p:spPr bwMode="auto">
            <a:xfrm rot="16200000" flipH="1">
              <a:off x="2840566" y="775166"/>
              <a:ext cx="759037" cy="2795265"/>
            </a:xfrm>
            <a:prstGeom prst="homePlate">
              <a:avLst>
                <a:gd name="adj" fmla="val 33521"/>
              </a:avLst>
            </a:prstGeom>
            <a:solidFill>
              <a:schemeClr val="accent2"/>
            </a:solidFill>
            <a:ln w="6350">
              <a:noFill/>
              <a:miter lim="800000"/>
              <a:headEnd/>
              <a:tailEnd/>
            </a:ln>
            <a:effectLst/>
          </p:spPr>
          <p:txBody>
            <a:bodyPr vert="eaVert" wrap="none" lIns="45720" rIns="45720" anchor="ctr"/>
            <a:lstStyle/>
            <a:p>
              <a:pPr marL="0" marR="0" lvl="0" indent="0" algn="ctr" defTabSz="914400" rtl="0" eaLnBrk="0" fontAlgn="auto" latinLnBrk="0" hangingPunct="0">
                <a:lnSpc>
                  <a:spcPct val="85000"/>
                </a:lnSpc>
                <a:spcBef>
                  <a:spcPts val="100"/>
                </a:spcBef>
                <a:spcAft>
                  <a:spcPts val="300"/>
                </a:spcAft>
                <a:buClr>
                  <a:srgbClr val="FFFFFF"/>
                </a:buClr>
                <a:buSzTx/>
                <a:buFontTx/>
                <a:buNone/>
                <a:tabLst/>
                <a:defRPr/>
              </a:pPr>
              <a:r>
                <a:rPr kumimoji="0" lang="en-GB" sz="1600" b="1" i="0" u="none" strike="noStrike" kern="0" cap="none" spc="0" normalizeH="0" baseline="0" noProof="0" dirty="0">
                  <a:ln>
                    <a:noFill/>
                  </a:ln>
                  <a:solidFill>
                    <a:srgbClr val="FFFFFF"/>
                  </a:solidFill>
                  <a:effectLst/>
                  <a:uLnTx/>
                  <a:uFillTx/>
                  <a:latin typeface="+mj-lt"/>
                  <a:ea typeface="+mn-ea"/>
                  <a:cs typeface="+mn-cs"/>
                </a:rPr>
                <a:t>Text</a:t>
              </a:r>
            </a:p>
          </p:txBody>
        </p:sp>
      </p:grpSp>
      <p:grpSp>
        <p:nvGrpSpPr>
          <p:cNvPr id="10" name="Group 9" descr="Add text and order accordingly">
            <a:extLst>
              <a:ext uri="{FF2B5EF4-FFF2-40B4-BE49-F238E27FC236}">
                <a16:creationId xmlns:a16="http://schemas.microsoft.com/office/drawing/2014/main" id="{26228C73-C91B-423C-A0E6-0DF9E387C83D}"/>
              </a:ext>
            </a:extLst>
          </p:cNvPr>
          <p:cNvGrpSpPr/>
          <p:nvPr/>
        </p:nvGrpSpPr>
        <p:grpSpPr>
          <a:xfrm>
            <a:off x="7347388" y="1763713"/>
            <a:ext cx="2616200" cy="3991425"/>
            <a:chOff x="1822450" y="1793280"/>
            <a:chExt cx="2795267" cy="4264620"/>
          </a:xfrm>
        </p:grpSpPr>
        <p:sp>
          <p:nvSpPr>
            <p:cNvPr id="11" name="Freeform: Shape 10">
              <a:extLst>
                <a:ext uri="{FF2B5EF4-FFF2-40B4-BE49-F238E27FC236}">
                  <a16:creationId xmlns:a16="http://schemas.microsoft.com/office/drawing/2014/main" id="{A36B3D5C-B848-4C88-A66F-179B40064413}"/>
                </a:ext>
              </a:extLst>
            </p:cNvPr>
            <p:cNvSpPr/>
            <p:nvPr/>
          </p:nvSpPr>
          <p:spPr>
            <a:xfrm>
              <a:off x="1822450" y="1923344"/>
              <a:ext cx="2795263" cy="4134556"/>
            </a:xfrm>
            <a:custGeom>
              <a:avLst/>
              <a:gdLst>
                <a:gd name="connsiteX0" fmla="*/ 0 w 2795263"/>
                <a:gd name="connsiteY0" fmla="*/ 0 h 4134556"/>
                <a:gd name="connsiteX1" fmla="*/ 2795263 w 2795263"/>
                <a:gd name="connsiteY1" fmla="*/ 0 h 4134556"/>
                <a:gd name="connsiteX2" fmla="*/ 2795263 w 2795263"/>
                <a:gd name="connsiteY2" fmla="*/ 1 h 4134556"/>
                <a:gd name="connsiteX3" fmla="*/ 2 w 2795263"/>
                <a:gd name="connsiteY3" fmla="*/ 1 h 4134556"/>
                <a:gd name="connsiteX4" fmla="*/ 2 w 2795263"/>
                <a:gd name="connsiteY4" fmla="*/ 504601 h 4134556"/>
                <a:gd name="connsiteX5" fmla="*/ 1397635 w 2795263"/>
                <a:gd name="connsiteY5" fmla="*/ 759038 h 4134556"/>
                <a:gd name="connsiteX6" fmla="*/ 2795263 w 2795263"/>
                <a:gd name="connsiteY6" fmla="*/ 504602 h 4134556"/>
                <a:gd name="connsiteX7" fmla="*/ 2795263 w 2795263"/>
                <a:gd name="connsiteY7" fmla="*/ 4134556 h 4134556"/>
                <a:gd name="connsiteX8" fmla="*/ 0 w 2795263"/>
                <a:gd name="connsiteY8" fmla="*/ 4134556 h 4134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5263" h="4134556">
                  <a:moveTo>
                    <a:pt x="0" y="0"/>
                  </a:moveTo>
                  <a:lnTo>
                    <a:pt x="2795263" y="0"/>
                  </a:lnTo>
                  <a:lnTo>
                    <a:pt x="2795263" y="1"/>
                  </a:lnTo>
                  <a:lnTo>
                    <a:pt x="2" y="1"/>
                  </a:lnTo>
                  <a:lnTo>
                    <a:pt x="2" y="504601"/>
                  </a:lnTo>
                  <a:lnTo>
                    <a:pt x="1397635" y="759038"/>
                  </a:lnTo>
                  <a:lnTo>
                    <a:pt x="2795263" y="504602"/>
                  </a:lnTo>
                  <a:lnTo>
                    <a:pt x="2795263" y="4134556"/>
                  </a:lnTo>
                  <a:lnTo>
                    <a:pt x="0" y="4134556"/>
                  </a:lnTo>
                  <a:close/>
                </a:path>
              </a:pathLst>
            </a:custGeom>
            <a:solidFill>
              <a:srgbClr val="96968C">
                <a:lumMod val="20000"/>
                <a:lumOff val="80000"/>
              </a:srgbClr>
            </a:solidFill>
            <a:ln w="9525" cap="flat" cmpd="sng" algn="ctr">
              <a:noFill/>
              <a:prstDash val="solid"/>
            </a:ln>
            <a:effectLst/>
          </p:spPr>
          <p:txBody>
            <a:bodyPr wrap="square" lIns="180000" tIns="864000" rtlCol="0" anchor="t" anchorCtr="0">
              <a:noAutofit/>
            </a:bodyPr>
            <a:lstStyle/>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ea typeface="+mn-ea"/>
                  <a:cs typeface="+mn-cs"/>
                </a:rPr>
                <a:t>Text</a:t>
              </a:r>
            </a:p>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ea typeface="+mn-ea"/>
                  <a:cs typeface="+mn-cs"/>
                </a:rPr>
                <a:t>Text</a:t>
              </a:r>
            </a:p>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ea typeface="+mn-ea"/>
                  <a:cs typeface="+mn-cs"/>
                </a:rPr>
                <a:t>Text</a:t>
              </a:r>
            </a:p>
          </p:txBody>
        </p:sp>
        <p:sp>
          <p:nvSpPr>
            <p:cNvPr id="12" name="AutoShape 9">
              <a:extLst>
                <a:ext uri="{FF2B5EF4-FFF2-40B4-BE49-F238E27FC236}">
                  <a16:creationId xmlns:a16="http://schemas.microsoft.com/office/drawing/2014/main" id="{B240E86E-58E2-4728-8741-BA0F15CC9B05}"/>
                </a:ext>
              </a:extLst>
            </p:cNvPr>
            <p:cNvSpPr>
              <a:spLocks noChangeArrowheads="1"/>
            </p:cNvSpPr>
            <p:nvPr/>
          </p:nvSpPr>
          <p:spPr bwMode="auto">
            <a:xfrm rot="16200000" flipH="1">
              <a:off x="2840566" y="775166"/>
              <a:ext cx="759037" cy="2795265"/>
            </a:xfrm>
            <a:prstGeom prst="homePlate">
              <a:avLst>
                <a:gd name="adj" fmla="val 33521"/>
              </a:avLst>
            </a:prstGeom>
            <a:solidFill>
              <a:schemeClr val="accent1"/>
            </a:solidFill>
            <a:ln w="6350">
              <a:noFill/>
              <a:miter lim="800000"/>
              <a:headEnd/>
              <a:tailEnd/>
            </a:ln>
            <a:effectLst/>
          </p:spPr>
          <p:txBody>
            <a:bodyPr vert="eaVert" wrap="none" lIns="45720" rIns="45720" anchor="ctr"/>
            <a:lstStyle/>
            <a:p>
              <a:pPr marL="0" marR="0" lvl="0" indent="0" algn="ctr" defTabSz="914400" rtl="0" eaLnBrk="0" fontAlgn="auto" latinLnBrk="0" hangingPunct="0">
                <a:lnSpc>
                  <a:spcPct val="85000"/>
                </a:lnSpc>
                <a:spcBef>
                  <a:spcPts val="100"/>
                </a:spcBef>
                <a:spcAft>
                  <a:spcPts val="300"/>
                </a:spcAft>
                <a:buClr>
                  <a:srgbClr val="FFFFFF"/>
                </a:buClr>
                <a:buSzTx/>
                <a:buFontTx/>
                <a:buNone/>
                <a:tabLst/>
                <a:defRPr/>
              </a:pPr>
              <a:r>
                <a:rPr kumimoji="0" lang="en-GB" sz="1600" b="1" i="0" u="none" strike="noStrike" kern="0" cap="none" spc="0" normalizeH="0" baseline="0" noProof="0" dirty="0">
                  <a:ln>
                    <a:noFill/>
                  </a:ln>
                  <a:solidFill>
                    <a:srgbClr val="FFFFFF"/>
                  </a:solidFill>
                  <a:effectLst/>
                  <a:uLnTx/>
                  <a:uFillTx/>
                  <a:latin typeface="+mj-lt"/>
                  <a:ea typeface="+mn-ea"/>
                  <a:cs typeface="+mn-cs"/>
                </a:rPr>
                <a:t>Text</a:t>
              </a:r>
            </a:p>
          </p:txBody>
        </p:sp>
      </p:grpSp>
      <p:sp>
        <p:nvSpPr>
          <p:cNvPr id="13" name="Footer Placeholder 12">
            <a:extLst>
              <a:ext uri="{FF2B5EF4-FFF2-40B4-BE49-F238E27FC236}">
                <a16:creationId xmlns:a16="http://schemas.microsoft.com/office/drawing/2014/main" id="{D10612BF-795E-437F-A12E-317F4B0E1829}"/>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5" name="Slide Number Placeholder 14">
            <a:extLst>
              <a:ext uri="{FF2B5EF4-FFF2-40B4-BE49-F238E27FC236}">
                <a16:creationId xmlns:a16="http://schemas.microsoft.com/office/drawing/2014/main" id="{4B91D8CE-440C-4005-9F25-A76A6935CFB1}"/>
              </a:ext>
            </a:extLst>
          </p:cNvPr>
          <p:cNvSpPr>
            <a:spLocks noGrp="1"/>
          </p:cNvSpPr>
          <p:nvPr>
            <p:ph type="sldNum" sz="quarter" idx="10"/>
          </p:nvPr>
        </p:nvSpPr>
        <p:spPr/>
        <p:txBody>
          <a:bodyPr/>
          <a:lstStyle/>
          <a:p>
            <a:fld id="{1F90F471-3972-4120-B8B3-0237DE626C35}" type="slidenum">
              <a:rPr lang="en-US" smtClean="0"/>
              <a:pPr/>
              <a:t>325</a:t>
            </a:fld>
            <a:endParaRPr lang="en-US" dirty="0"/>
          </a:p>
        </p:txBody>
      </p:sp>
    </p:spTree>
    <p:extLst>
      <p:ext uri="{BB962C8B-B14F-4D97-AF65-F5344CB8AC3E}">
        <p14:creationId xmlns:p14="http://schemas.microsoft.com/office/powerpoint/2010/main" val="3978707351"/>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Process with Focus</a:t>
            </a:r>
          </a:p>
        </p:txBody>
      </p:sp>
      <p:sp>
        <p:nvSpPr>
          <p:cNvPr id="16" name="Text Box 11">
            <a:extLst>
              <a:ext uri="{FF2B5EF4-FFF2-40B4-BE49-F238E27FC236}">
                <a16:creationId xmlns:a16="http://schemas.microsoft.com/office/drawing/2014/main" id="{A3048543-5EBE-4F37-B1CD-AC1391FE300A}"/>
              </a:ext>
            </a:extLst>
          </p:cNvPr>
          <p:cNvSpPr txBox="1">
            <a:spLocks noChangeArrowheads="1"/>
          </p:cNvSpPr>
          <p:nvPr>
            <p:custDataLst>
              <p:tags r:id="rId1"/>
            </p:custDataLst>
          </p:nvPr>
        </p:nvSpPr>
        <p:spPr bwMode="auto">
          <a:xfrm>
            <a:off x="1828800" y="1592264"/>
            <a:ext cx="8543924" cy="396875"/>
          </a:xfrm>
          <a:prstGeom prst="rect">
            <a:avLst/>
          </a:prstGeom>
          <a:solidFill>
            <a:schemeClr val="accent1"/>
          </a:solidFill>
          <a:ln w="19050">
            <a:noFill/>
          </a:ln>
        </p:spPr>
        <p:txBody>
          <a:bodyPr vert="horz" wrap="square" lIns="0" tIns="36000" rIns="0" bIns="0" rtlCol="0" anchor="ctr">
            <a:noAutofit/>
          </a:bodyPr>
          <a:lstStyle>
            <a:defPPr>
              <a:defRPr lang="en-US"/>
            </a:defPPr>
            <a:lvl1pPr algn="ctr">
              <a:lnSpc>
                <a:spcPct val="85000"/>
              </a:lnSpc>
              <a:defRPr cap="all">
                <a:solidFill>
                  <a:schemeClr val="bg1"/>
                </a:solidFill>
                <a:latin typeface="+mj-lt"/>
              </a:defRPr>
            </a:lvl1pPr>
          </a:lstStyle>
          <a:p>
            <a:r>
              <a:rPr lang="de-DE" b="1" cap="none" dirty="0"/>
              <a:t>Text</a:t>
            </a:r>
          </a:p>
        </p:txBody>
      </p:sp>
      <p:sp>
        <p:nvSpPr>
          <p:cNvPr id="22" name="Rectangle 4">
            <a:extLst>
              <a:ext uri="{FF2B5EF4-FFF2-40B4-BE49-F238E27FC236}">
                <a16:creationId xmlns:a16="http://schemas.microsoft.com/office/drawing/2014/main" id="{AC5B7E81-4DE9-43FE-9B8F-813DB4E44C92}"/>
              </a:ext>
            </a:extLst>
          </p:cNvPr>
          <p:cNvSpPr>
            <a:spLocks noChangeArrowheads="1"/>
          </p:cNvSpPr>
          <p:nvPr>
            <p:custDataLst>
              <p:tags r:id="rId2"/>
            </p:custDataLst>
          </p:nvPr>
        </p:nvSpPr>
        <p:spPr bwMode="auto">
          <a:xfrm>
            <a:off x="1828799" y="2060575"/>
            <a:ext cx="1647318" cy="431800"/>
          </a:xfrm>
          <a:prstGeom prst="rect">
            <a:avLst/>
          </a:prstGeom>
          <a:solidFill>
            <a:schemeClr val="accent3"/>
          </a:solidFill>
          <a:ln w="19050">
            <a:noFill/>
          </a:ln>
        </p:spPr>
        <p:txBody>
          <a:bodyPr vert="horz" wrap="square" lIns="0" tIns="36000" rIns="0" bIns="0" rtlCol="0" anchor="ctr">
            <a:noAutofit/>
          </a:bodyPr>
          <a:lstStyle/>
          <a:p>
            <a:pPr algn="ctr">
              <a:lnSpc>
                <a:spcPct val="85000"/>
              </a:lnSpc>
            </a:pPr>
            <a:r>
              <a:rPr lang="de-DE" sz="1200" b="1" dirty="0">
                <a:solidFill>
                  <a:schemeClr val="bg1"/>
                </a:solidFill>
                <a:latin typeface="+mj-lt"/>
              </a:rPr>
              <a:t>Text</a:t>
            </a:r>
          </a:p>
        </p:txBody>
      </p:sp>
      <p:cxnSp>
        <p:nvCxnSpPr>
          <p:cNvPr id="23" name="Straight Arrow Connector 22">
            <a:extLst>
              <a:ext uri="{FF2B5EF4-FFF2-40B4-BE49-F238E27FC236}">
                <a16:creationId xmlns:a16="http://schemas.microsoft.com/office/drawing/2014/main" id="{1FFB1556-3900-4059-943A-3CED272C1815}"/>
              </a:ext>
              <a:ext uri="{C183D7F6-B498-43B3-948B-1728B52AA6E4}">
                <adec:decorative xmlns:adec="http://schemas.microsoft.com/office/drawing/2017/decorative" val="1"/>
              </a:ext>
            </a:extLst>
          </p:cNvPr>
          <p:cNvCxnSpPr>
            <a:stCxn id="22" idx="2"/>
          </p:cNvCxnSpPr>
          <p:nvPr/>
        </p:nvCxnSpPr>
        <p:spPr>
          <a:xfrm>
            <a:off x="2652458" y="2492375"/>
            <a:ext cx="0" cy="281372"/>
          </a:xfrm>
          <a:prstGeom prst="straightConnector1">
            <a:avLst/>
          </a:prstGeom>
          <a:ln w="158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4">
            <a:extLst>
              <a:ext uri="{FF2B5EF4-FFF2-40B4-BE49-F238E27FC236}">
                <a16:creationId xmlns:a16="http://schemas.microsoft.com/office/drawing/2014/main" id="{0A1B85A8-622C-4C0F-9387-86223927790F}"/>
              </a:ext>
            </a:extLst>
          </p:cNvPr>
          <p:cNvSpPr>
            <a:spLocks noChangeArrowheads="1"/>
          </p:cNvSpPr>
          <p:nvPr>
            <p:custDataLst>
              <p:tags r:id="rId3"/>
            </p:custDataLst>
          </p:nvPr>
        </p:nvSpPr>
        <p:spPr bwMode="auto">
          <a:xfrm>
            <a:off x="3552951" y="2060575"/>
            <a:ext cx="1647318" cy="431800"/>
          </a:xfrm>
          <a:prstGeom prst="rect">
            <a:avLst/>
          </a:prstGeom>
          <a:pattFill prst="dkDnDiag">
            <a:fgClr>
              <a:schemeClr val="accent3">
                <a:lumMod val="20000"/>
                <a:lumOff val="80000"/>
              </a:schemeClr>
            </a:fgClr>
            <a:bgClr>
              <a:schemeClr val="bg1"/>
            </a:bgClr>
          </a:pattFill>
          <a:ln w="19050">
            <a:noFill/>
          </a:ln>
        </p:spPr>
        <p:txBody>
          <a:bodyPr vert="horz" wrap="square" lIns="0" tIns="36000" rIns="0" bIns="0" rtlCol="0" anchor="ctr">
            <a:noAutofit/>
          </a:bodyPr>
          <a:lstStyle/>
          <a:p>
            <a:pPr algn="ctr">
              <a:lnSpc>
                <a:spcPct val="85000"/>
              </a:lnSpc>
            </a:pPr>
            <a:r>
              <a:rPr lang="de-DE" sz="1200" b="1" dirty="0">
                <a:solidFill>
                  <a:schemeClr val="accent3"/>
                </a:solidFill>
                <a:latin typeface="+mj-lt"/>
              </a:rPr>
              <a:t>Text</a:t>
            </a:r>
          </a:p>
        </p:txBody>
      </p:sp>
      <p:sp>
        <p:nvSpPr>
          <p:cNvPr id="18" name="Rectangle 5">
            <a:extLst>
              <a:ext uri="{FF2B5EF4-FFF2-40B4-BE49-F238E27FC236}">
                <a16:creationId xmlns:a16="http://schemas.microsoft.com/office/drawing/2014/main" id="{F848B201-F425-496E-BBDD-85C685513CB8}"/>
              </a:ext>
            </a:extLst>
          </p:cNvPr>
          <p:cNvSpPr>
            <a:spLocks noChangeArrowheads="1"/>
          </p:cNvSpPr>
          <p:nvPr>
            <p:custDataLst>
              <p:tags r:id="rId4"/>
            </p:custDataLst>
          </p:nvPr>
        </p:nvSpPr>
        <p:spPr bwMode="auto">
          <a:xfrm>
            <a:off x="5277103" y="2060575"/>
            <a:ext cx="1647318" cy="431800"/>
          </a:xfrm>
          <a:prstGeom prst="rect">
            <a:avLst/>
          </a:prstGeom>
          <a:pattFill prst="dkDnDiag">
            <a:fgClr>
              <a:schemeClr val="accent3">
                <a:lumMod val="20000"/>
                <a:lumOff val="80000"/>
              </a:schemeClr>
            </a:fgClr>
            <a:bgClr>
              <a:schemeClr val="bg1"/>
            </a:bgClr>
          </a:pattFill>
          <a:ln w="19050">
            <a:noFill/>
          </a:ln>
        </p:spPr>
        <p:txBody>
          <a:bodyPr vert="horz" wrap="square" lIns="0" tIns="36000" rIns="0" bIns="0" rtlCol="0" anchor="ctr">
            <a:noAutofit/>
          </a:bodyPr>
          <a:lstStyle/>
          <a:p>
            <a:pPr algn="ctr">
              <a:lnSpc>
                <a:spcPct val="85000"/>
              </a:lnSpc>
            </a:pPr>
            <a:r>
              <a:rPr lang="de-DE" sz="1200" b="1" dirty="0">
                <a:solidFill>
                  <a:schemeClr val="accent3"/>
                </a:solidFill>
                <a:latin typeface="+mj-lt"/>
              </a:rPr>
              <a:t>Text</a:t>
            </a:r>
          </a:p>
        </p:txBody>
      </p:sp>
      <p:sp>
        <p:nvSpPr>
          <p:cNvPr id="19" name="Rectangle 6">
            <a:extLst>
              <a:ext uri="{FF2B5EF4-FFF2-40B4-BE49-F238E27FC236}">
                <a16:creationId xmlns:a16="http://schemas.microsoft.com/office/drawing/2014/main" id="{6FD4D2B2-9F52-45C4-BA5B-AD1CFCFE535F}"/>
              </a:ext>
            </a:extLst>
          </p:cNvPr>
          <p:cNvSpPr>
            <a:spLocks noChangeArrowheads="1"/>
          </p:cNvSpPr>
          <p:nvPr>
            <p:custDataLst>
              <p:tags r:id="rId5"/>
            </p:custDataLst>
          </p:nvPr>
        </p:nvSpPr>
        <p:spPr bwMode="auto">
          <a:xfrm>
            <a:off x="7001254" y="2060575"/>
            <a:ext cx="1647318" cy="431800"/>
          </a:xfrm>
          <a:prstGeom prst="rect">
            <a:avLst/>
          </a:prstGeom>
          <a:pattFill prst="dkDnDiag">
            <a:fgClr>
              <a:schemeClr val="accent3">
                <a:lumMod val="20000"/>
                <a:lumOff val="80000"/>
              </a:schemeClr>
            </a:fgClr>
            <a:bgClr>
              <a:schemeClr val="bg1"/>
            </a:bgClr>
          </a:pattFill>
          <a:ln w="19050">
            <a:noFill/>
          </a:ln>
        </p:spPr>
        <p:txBody>
          <a:bodyPr vert="horz" wrap="square" lIns="0" tIns="36000" rIns="0" bIns="0" rtlCol="0" anchor="ctr">
            <a:noAutofit/>
          </a:bodyPr>
          <a:lstStyle/>
          <a:p>
            <a:pPr algn="ctr">
              <a:lnSpc>
                <a:spcPct val="85000"/>
              </a:lnSpc>
            </a:pPr>
            <a:r>
              <a:rPr lang="de-DE" sz="1200" b="1" dirty="0">
                <a:solidFill>
                  <a:schemeClr val="accent3"/>
                </a:solidFill>
                <a:latin typeface="+mj-lt"/>
              </a:rPr>
              <a:t>Text</a:t>
            </a:r>
          </a:p>
        </p:txBody>
      </p:sp>
      <p:sp>
        <p:nvSpPr>
          <p:cNvPr id="20" name="Rectangle 7">
            <a:extLst>
              <a:ext uri="{FF2B5EF4-FFF2-40B4-BE49-F238E27FC236}">
                <a16:creationId xmlns:a16="http://schemas.microsoft.com/office/drawing/2014/main" id="{34C5DF1B-B1C4-4C46-AE76-E61D3F95A3FC}"/>
              </a:ext>
            </a:extLst>
          </p:cNvPr>
          <p:cNvSpPr>
            <a:spLocks noChangeArrowheads="1"/>
          </p:cNvSpPr>
          <p:nvPr>
            <p:custDataLst>
              <p:tags r:id="rId6"/>
            </p:custDataLst>
          </p:nvPr>
        </p:nvSpPr>
        <p:spPr bwMode="auto">
          <a:xfrm>
            <a:off x="8725406" y="2060575"/>
            <a:ext cx="1647318" cy="431800"/>
          </a:xfrm>
          <a:prstGeom prst="rect">
            <a:avLst/>
          </a:prstGeom>
          <a:pattFill prst="dkDnDiag">
            <a:fgClr>
              <a:schemeClr val="accent3">
                <a:lumMod val="20000"/>
                <a:lumOff val="80000"/>
              </a:schemeClr>
            </a:fgClr>
            <a:bgClr>
              <a:schemeClr val="bg1"/>
            </a:bgClr>
          </a:pattFill>
          <a:ln w="19050">
            <a:noFill/>
          </a:ln>
        </p:spPr>
        <p:txBody>
          <a:bodyPr vert="horz" wrap="square" lIns="0" tIns="36000" rIns="0" bIns="0" rtlCol="0" anchor="ctr">
            <a:noAutofit/>
          </a:bodyPr>
          <a:lstStyle/>
          <a:p>
            <a:pPr algn="ctr">
              <a:lnSpc>
                <a:spcPct val="85000"/>
              </a:lnSpc>
            </a:pPr>
            <a:r>
              <a:rPr lang="de-DE" sz="1200" b="1" dirty="0">
                <a:solidFill>
                  <a:schemeClr val="accent3"/>
                </a:solidFill>
                <a:latin typeface="+mj-lt"/>
              </a:rPr>
              <a:t>Text</a:t>
            </a:r>
          </a:p>
        </p:txBody>
      </p:sp>
      <p:sp>
        <p:nvSpPr>
          <p:cNvPr id="15" name="Text Box 9">
            <a:extLst>
              <a:ext uri="{FF2B5EF4-FFF2-40B4-BE49-F238E27FC236}">
                <a16:creationId xmlns:a16="http://schemas.microsoft.com/office/drawing/2014/main" id="{87898F9C-C6EA-4E2E-AA72-0C6F7629E94B}"/>
              </a:ext>
            </a:extLst>
          </p:cNvPr>
          <p:cNvSpPr txBox="1">
            <a:spLocks noChangeArrowheads="1"/>
          </p:cNvSpPr>
          <p:nvPr>
            <p:custDataLst>
              <p:tags r:id="rId7"/>
            </p:custDataLst>
          </p:nvPr>
        </p:nvSpPr>
        <p:spPr bwMode="auto">
          <a:xfrm>
            <a:off x="1828800" y="2773747"/>
            <a:ext cx="8543924" cy="1590291"/>
          </a:xfrm>
          <a:prstGeom prst="rect">
            <a:avLst/>
          </a:prstGeom>
          <a:solidFill>
            <a:schemeClr val="tx2">
              <a:lumMod val="20000"/>
              <a:lumOff val="80000"/>
            </a:schemeClr>
          </a:solidFill>
          <a:ln w="6350">
            <a:noFill/>
            <a:miter lim="800000"/>
            <a:headEnd/>
            <a:tailEnd/>
          </a:ln>
        </p:spPr>
        <p:txBody>
          <a:bodyPr wrap="square" lIns="180000" tIns="144000" rIns="72000" bIns="72000">
            <a:noAutofit/>
          </a:bodyPr>
          <a:lstStyle>
            <a:defPPr>
              <a:defRPr lang="en-US"/>
            </a:defPPr>
            <a:lvl1pPr eaLnBrk="0" hangingPunct="0">
              <a:lnSpc>
                <a:spcPct val="85000"/>
              </a:lnSpc>
              <a:spcBef>
                <a:spcPts val="100"/>
              </a:spcBef>
              <a:spcAft>
                <a:spcPts val="300"/>
              </a:spcAft>
              <a:defRPr sz="1400" b="1" cap="all">
                <a:latin typeface="+mj-lt"/>
              </a:defRPr>
            </a:lvl1pPr>
          </a:lstStyle>
          <a:p>
            <a:r>
              <a:rPr lang="de-DE" cap="none" dirty="0"/>
              <a:t>Text</a:t>
            </a:r>
          </a:p>
          <a:p>
            <a:pPr marL="174625" indent="-174625">
              <a:spcAft>
                <a:spcPts val="100"/>
              </a:spcAft>
              <a:buFontTx/>
              <a:buChar char="•"/>
            </a:pPr>
            <a:r>
              <a:rPr lang="en-GB" b="0" cap="none" dirty="0">
                <a:latin typeface="+mn-lt"/>
              </a:rPr>
              <a:t>Text</a:t>
            </a:r>
          </a:p>
          <a:p>
            <a:pPr marL="174625" indent="-174625">
              <a:spcAft>
                <a:spcPts val="100"/>
              </a:spcAft>
              <a:buFontTx/>
              <a:buChar char="•"/>
            </a:pPr>
            <a:r>
              <a:rPr lang="en-GB" b="0" cap="none" dirty="0">
                <a:latin typeface="+mn-lt"/>
              </a:rPr>
              <a:t>Text</a:t>
            </a:r>
          </a:p>
          <a:p>
            <a:pPr marL="174625" indent="-174625">
              <a:spcAft>
                <a:spcPts val="100"/>
              </a:spcAft>
              <a:buFontTx/>
              <a:buChar char="•"/>
            </a:pPr>
            <a:r>
              <a:rPr lang="en-GB" b="0" cap="none" dirty="0">
                <a:latin typeface="+mn-lt"/>
              </a:rPr>
              <a:t>Text</a:t>
            </a:r>
          </a:p>
        </p:txBody>
      </p:sp>
      <p:sp>
        <p:nvSpPr>
          <p:cNvPr id="14" name="Text Box 8">
            <a:extLst>
              <a:ext uri="{FF2B5EF4-FFF2-40B4-BE49-F238E27FC236}">
                <a16:creationId xmlns:a16="http://schemas.microsoft.com/office/drawing/2014/main" id="{7DFBF730-8E21-4C15-8551-069AB20117DF}"/>
              </a:ext>
            </a:extLst>
          </p:cNvPr>
          <p:cNvSpPr txBox="1">
            <a:spLocks noChangeArrowheads="1"/>
          </p:cNvSpPr>
          <p:nvPr>
            <p:custDataLst>
              <p:tags r:id="rId8"/>
            </p:custDataLst>
          </p:nvPr>
        </p:nvSpPr>
        <p:spPr bwMode="auto">
          <a:xfrm>
            <a:off x="1828800" y="4467609"/>
            <a:ext cx="8543924" cy="1590291"/>
          </a:xfrm>
          <a:prstGeom prst="rect">
            <a:avLst/>
          </a:prstGeom>
          <a:solidFill>
            <a:schemeClr val="tx2">
              <a:lumMod val="40000"/>
              <a:lumOff val="60000"/>
            </a:schemeClr>
          </a:solidFill>
          <a:ln w="6350">
            <a:noFill/>
            <a:miter lim="800000"/>
            <a:headEnd/>
            <a:tailEnd/>
          </a:ln>
        </p:spPr>
        <p:txBody>
          <a:bodyPr wrap="square" lIns="180000" tIns="144000" rIns="72000" bIns="72000">
            <a:noAutofit/>
          </a:bodyPr>
          <a:lstStyle>
            <a:defPPr>
              <a:defRPr lang="en-US"/>
            </a:defPPr>
            <a:lvl1pPr eaLnBrk="0" hangingPunct="0">
              <a:lnSpc>
                <a:spcPct val="85000"/>
              </a:lnSpc>
              <a:spcBef>
                <a:spcPts val="100"/>
              </a:spcBef>
              <a:spcAft>
                <a:spcPts val="300"/>
              </a:spcAft>
              <a:defRPr sz="1400" b="1" cap="all">
                <a:latin typeface="+mj-lt"/>
              </a:defRPr>
            </a:lvl1pPr>
          </a:lstStyle>
          <a:p>
            <a:r>
              <a:rPr lang="de-DE" cap="none" dirty="0"/>
              <a:t>Text</a:t>
            </a:r>
          </a:p>
          <a:p>
            <a:pPr marL="174625" indent="-174625">
              <a:spcAft>
                <a:spcPts val="100"/>
              </a:spcAft>
              <a:buFontTx/>
              <a:buChar char="•"/>
            </a:pPr>
            <a:r>
              <a:rPr lang="en-GB" b="0" cap="none" dirty="0">
                <a:latin typeface="+mn-lt"/>
              </a:rPr>
              <a:t>Text</a:t>
            </a:r>
          </a:p>
          <a:p>
            <a:pPr marL="174625" indent="-174625">
              <a:spcAft>
                <a:spcPts val="100"/>
              </a:spcAft>
              <a:buFontTx/>
              <a:buChar char="•"/>
            </a:pPr>
            <a:r>
              <a:rPr lang="en-GB" b="0" cap="none" dirty="0">
                <a:latin typeface="+mn-lt"/>
              </a:rPr>
              <a:t>Text</a:t>
            </a:r>
          </a:p>
          <a:p>
            <a:pPr marL="174625" indent="-174625">
              <a:spcAft>
                <a:spcPts val="100"/>
              </a:spcAft>
              <a:buFontTx/>
              <a:buChar char="•"/>
            </a:pPr>
            <a:r>
              <a:rPr lang="en-GB" b="0" cap="none" dirty="0">
                <a:latin typeface="+mn-lt"/>
              </a:rPr>
              <a:t>Text</a:t>
            </a:r>
          </a:p>
        </p:txBody>
      </p:sp>
      <p:sp>
        <p:nvSpPr>
          <p:cNvPr id="4" name="Footer Placeholder 3">
            <a:extLst>
              <a:ext uri="{FF2B5EF4-FFF2-40B4-BE49-F238E27FC236}">
                <a16:creationId xmlns:a16="http://schemas.microsoft.com/office/drawing/2014/main" id="{93F84B73-43B1-4C4C-A651-F7EEC9B9F20E}"/>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B8CF2BDB-53D5-4E21-BEA2-20482C8E8A03}"/>
              </a:ext>
            </a:extLst>
          </p:cNvPr>
          <p:cNvSpPr>
            <a:spLocks noGrp="1"/>
          </p:cNvSpPr>
          <p:nvPr>
            <p:ph type="sldNum" sz="quarter" idx="10"/>
          </p:nvPr>
        </p:nvSpPr>
        <p:spPr/>
        <p:txBody>
          <a:bodyPr/>
          <a:lstStyle/>
          <a:p>
            <a:fld id="{1F90F471-3972-4120-B8B3-0237DE626C35}" type="slidenum">
              <a:rPr lang="en-US" smtClean="0"/>
              <a:pPr/>
              <a:t>326</a:t>
            </a:fld>
            <a:endParaRPr lang="en-US" dirty="0"/>
          </a:p>
        </p:txBody>
      </p:sp>
    </p:spTree>
    <p:extLst>
      <p:ext uri="{BB962C8B-B14F-4D97-AF65-F5344CB8AC3E}">
        <p14:creationId xmlns:p14="http://schemas.microsoft.com/office/powerpoint/2010/main" val="1144091827"/>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Things in Common</a:t>
            </a:r>
            <a:endParaRPr lang="de-DE" dirty="0"/>
          </a:p>
        </p:txBody>
      </p:sp>
      <p:grpSp>
        <p:nvGrpSpPr>
          <p:cNvPr id="12" name="Group 11" descr="Add text and order accordingly">
            <a:extLst>
              <a:ext uri="{FF2B5EF4-FFF2-40B4-BE49-F238E27FC236}">
                <a16:creationId xmlns:a16="http://schemas.microsoft.com/office/drawing/2014/main" id="{BEBAECE2-E2DA-4819-A749-7298C3E14FB4}"/>
              </a:ext>
            </a:extLst>
          </p:cNvPr>
          <p:cNvGrpSpPr/>
          <p:nvPr/>
        </p:nvGrpSpPr>
        <p:grpSpPr>
          <a:xfrm>
            <a:off x="1828800" y="1582411"/>
            <a:ext cx="3600000" cy="3754764"/>
            <a:chOff x="1100738" y="1576600"/>
            <a:chExt cx="3600000" cy="4225110"/>
          </a:xfrm>
        </p:grpSpPr>
        <p:sp>
          <p:nvSpPr>
            <p:cNvPr id="13" name="Rectangle 12">
              <a:extLst>
                <a:ext uri="{FF2B5EF4-FFF2-40B4-BE49-F238E27FC236}">
                  <a16:creationId xmlns:a16="http://schemas.microsoft.com/office/drawing/2014/main" id="{4CB0604F-07EE-453D-A59E-F887422E6DAF}"/>
                </a:ext>
              </a:extLst>
            </p:cNvPr>
            <p:cNvSpPr>
              <a:spLocks noChangeArrowheads="1"/>
            </p:cNvSpPr>
            <p:nvPr>
              <p:custDataLst>
                <p:tags r:id="rId3"/>
              </p:custDataLst>
            </p:nvPr>
          </p:nvSpPr>
          <p:spPr bwMode="auto">
            <a:xfrm>
              <a:off x="1100738" y="1576600"/>
              <a:ext cx="3600000" cy="367218"/>
            </a:xfrm>
            <a:prstGeom prst="rect">
              <a:avLst/>
            </a:prstGeom>
            <a:solidFill>
              <a:schemeClr val="accent1"/>
            </a:solidFill>
            <a:ln w="6350">
              <a:noFill/>
              <a:miter lim="800000"/>
              <a:headEnd/>
              <a:tailEnd/>
            </a:ln>
            <a:effectLst/>
          </p:spPr>
          <p:txBody>
            <a:bodyPr wrap="none" lIns="72000" tIns="108000" rIns="72000" bIns="72000" anchor="ctr"/>
            <a:lstStyle/>
            <a:p>
              <a:pPr algn="ctr" eaLnBrk="0" hangingPunct="0">
                <a:lnSpc>
                  <a:spcPct val="85000"/>
                </a:lnSpc>
                <a:spcBef>
                  <a:spcPts val="100"/>
                </a:spcBef>
                <a:spcAft>
                  <a:spcPts val="300"/>
                </a:spcAft>
              </a:pPr>
              <a:r>
                <a:rPr lang="en-US" sz="1600" b="1" dirty="0">
                  <a:solidFill>
                    <a:schemeClr val="bg1"/>
                  </a:solidFill>
                  <a:latin typeface="+mj-lt"/>
                </a:rPr>
                <a:t>Text</a:t>
              </a:r>
            </a:p>
          </p:txBody>
        </p:sp>
        <p:sp>
          <p:nvSpPr>
            <p:cNvPr id="14" name="Rectangle 13">
              <a:extLst>
                <a:ext uri="{FF2B5EF4-FFF2-40B4-BE49-F238E27FC236}">
                  <a16:creationId xmlns:a16="http://schemas.microsoft.com/office/drawing/2014/main" id="{88554F4E-3A33-484F-8342-08B5CFD03761}"/>
                </a:ext>
              </a:extLst>
            </p:cNvPr>
            <p:cNvSpPr>
              <a:spLocks noChangeArrowheads="1"/>
            </p:cNvSpPr>
            <p:nvPr>
              <p:custDataLst>
                <p:tags r:id="rId4"/>
              </p:custDataLst>
            </p:nvPr>
          </p:nvSpPr>
          <p:spPr bwMode="auto">
            <a:xfrm>
              <a:off x="1100738" y="1943818"/>
              <a:ext cx="3600000" cy="3857892"/>
            </a:xfrm>
            <a:prstGeom prst="rect">
              <a:avLst/>
            </a:prstGeom>
            <a:solidFill>
              <a:schemeClr val="tx2">
                <a:lumMod val="20000"/>
                <a:lumOff val="80000"/>
              </a:schemeClr>
            </a:solidFill>
            <a:ln w="6350">
              <a:noFill/>
              <a:miter lim="800000"/>
              <a:headEnd/>
              <a:tailEnd/>
            </a:ln>
          </p:spPr>
          <p:txBody>
            <a:bodyPr lIns="180000" tIns="144000" rIns="144000" bIns="72000"/>
            <a:lstStyle/>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grpSp>
      <p:grpSp>
        <p:nvGrpSpPr>
          <p:cNvPr id="15" name="Group 14" descr="Add text and order accordingly">
            <a:extLst>
              <a:ext uri="{FF2B5EF4-FFF2-40B4-BE49-F238E27FC236}">
                <a16:creationId xmlns:a16="http://schemas.microsoft.com/office/drawing/2014/main" id="{25A72ECF-7015-4E4B-85BB-9B18B22710E4}"/>
              </a:ext>
            </a:extLst>
          </p:cNvPr>
          <p:cNvGrpSpPr/>
          <p:nvPr/>
        </p:nvGrpSpPr>
        <p:grpSpPr>
          <a:xfrm>
            <a:off x="6763200" y="1582411"/>
            <a:ext cx="3600000" cy="3754764"/>
            <a:chOff x="7144573" y="1582411"/>
            <a:chExt cx="3600000" cy="3754764"/>
          </a:xfrm>
        </p:grpSpPr>
        <p:sp>
          <p:nvSpPr>
            <p:cNvPr id="16" name="Rectangle 14">
              <a:extLst>
                <a:ext uri="{FF2B5EF4-FFF2-40B4-BE49-F238E27FC236}">
                  <a16:creationId xmlns:a16="http://schemas.microsoft.com/office/drawing/2014/main" id="{B9B1083A-F27D-4905-9841-4B7220702D7C}"/>
                </a:ext>
              </a:extLst>
            </p:cNvPr>
            <p:cNvSpPr>
              <a:spLocks noChangeArrowheads="1"/>
            </p:cNvSpPr>
            <p:nvPr>
              <p:custDataLst>
                <p:tags r:id="rId1"/>
              </p:custDataLst>
            </p:nvPr>
          </p:nvSpPr>
          <p:spPr bwMode="auto">
            <a:xfrm>
              <a:off x="7144573" y="1582411"/>
              <a:ext cx="3600000" cy="326339"/>
            </a:xfrm>
            <a:prstGeom prst="rect">
              <a:avLst/>
            </a:prstGeom>
            <a:solidFill>
              <a:schemeClr val="accent1"/>
            </a:solidFill>
            <a:ln w="6350">
              <a:noFill/>
              <a:miter lim="800000"/>
              <a:headEnd/>
              <a:tailEnd/>
            </a:ln>
            <a:effectLst/>
          </p:spPr>
          <p:txBody>
            <a:bodyPr wrap="none" lIns="72000" tIns="108000" rIns="72000" bIns="72000" anchor="ctr"/>
            <a:lstStyle/>
            <a:p>
              <a:pPr algn="ctr" eaLnBrk="0" hangingPunct="0">
                <a:lnSpc>
                  <a:spcPct val="85000"/>
                </a:lnSpc>
                <a:spcBef>
                  <a:spcPts val="100"/>
                </a:spcBef>
                <a:spcAft>
                  <a:spcPts val="300"/>
                </a:spcAft>
              </a:pPr>
              <a:r>
                <a:rPr lang="en-US" sz="1600" b="1" dirty="0">
                  <a:solidFill>
                    <a:schemeClr val="bg1"/>
                  </a:solidFill>
                  <a:latin typeface="+mj-lt"/>
                </a:rPr>
                <a:t>Text</a:t>
              </a:r>
            </a:p>
          </p:txBody>
        </p:sp>
        <p:sp>
          <p:nvSpPr>
            <p:cNvPr id="17" name="Rectangle 15">
              <a:extLst>
                <a:ext uri="{FF2B5EF4-FFF2-40B4-BE49-F238E27FC236}">
                  <a16:creationId xmlns:a16="http://schemas.microsoft.com/office/drawing/2014/main" id="{DE5D99C0-CBCD-4291-A8FD-D94A3DC54225}"/>
                </a:ext>
              </a:extLst>
            </p:cNvPr>
            <p:cNvSpPr>
              <a:spLocks noChangeArrowheads="1"/>
            </p:cNvSpPr>
            <p:nvPr>
              <p:custDataLst>
                <p:tags r:id="rId2"/>
              </p:custDataLst>
            </p:nvPr>
          </p:nvSpPr>
          <p:spPr bwMode="auto">
            <a:xfrm>
              <a:off x="7144573" y="1908751"/>
              <a:ext cx="3600000" cy="3428424"/>
            </a:xfrm>
            <a:prstGeom prst="rect">
              <a:avLst/>
            </a:prstGeom>
            <a:solidFill>
              <a:schemeClr val="tx2">
                <a:lumMod val="20000"/>
                <a:lumOff val="80000"/>
              </a:schemeClr>
            </a:solidFill>
            <a:ln w="6350">
              <a:noFill/>
              <a:miter lim="800000"/>
              <a:headEnd/>
              <a:tailEnd/>
            </a:ln>
          </p:spPr>
          <p:txBody>
            <a:bodyPr lIns="360000" tIns="144000" rIns="144000" bIns="72000"/>
            <a:lstStyle/>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grpSp>
      <p:sp>
        <p:nvSpPr>
          <p:cNvPr id="18" name="Oval 25">
            <a:extLst>
              <a:ext uri="{FF2B5EF4-FFF2-40B4-BE49-F238E27FC236}">
                <a16:creationId xmlns:a16="http://schemas.microsoft.com/office/drawing/2014/main" id="{B0B3ECF5-1E08-4D4E-A075-CBD3E476C9F8}"/>
              </a:ext>
            </a:extLst>
          </p:cNvPr>
          <p:cNvSpPr>
            <a:spLocks noChangeArrowheads="1"/>
          </p:cNvSpPr>
          <p:nvPr/>
        </p:nvSpPr>
        <p:spPr bwMode="auto">
          <a:xfrm>
            <a:off x="5031028" y="2418014"/>
            <a:ext cx="2129947" cy="2129946"/>
          </a:xfrm>
          <a:prstGeom prst="ellipse">
            <a:avLst/>
          </a:prstGeom>
          <a:solidFill>
            <a:schemeClr val="accent2"/>
          </a:solidFill>
          <a:ln w="101600">
            <a:solidFill>
              <a:schemeClr val="bg1"/>
            </a:solidFill>
            <a:miter lim="800000"/>
            <a:headEnd/>
            <a:tailEnd/>
          </a:ln>
        </p:spPr>
        <p:txBody>
          <a:bodyPr lIns="180000" tIns="144000" rIns="180000" bIns="72000" anchor="ctr" anchorCtr="0"/>
          <a:lstStyle/>
          <a:p>
            <a:pPr algn="ctr" eaLnBrk="0" hangingPunct="0">
              <a:lnSpc>
                <a:spcPct val="85000"/>
              </a:lnSpc>
              <a:spcBef>
                <a:spcPts val="100"/>
              </a:spcBef>
              <a:spcAft>
                <a:spcPts val="300"/>
              </a:spcAft>
            </a:pPr>
            <a:r>
              <a:rPr lang="en-US" b="1" dirty="0">
                <a:solidFill>
                  <a:schemeClr val="bg1"/>
                </a:solidFill>
                <a:latin typeface="+mj-lt"/>
              </a:rPr>
              <a:t>Text</a:t>
            </a:r>
          </a:p>
        </p:txBody>
      </p:sp>
      <p:sp>
        <p:nvSpPr>
          <p:cNvPr id="4" name="Footer Placeholder 3">
            <a:extLst>
              <a:ext uri="{FF2B5EF4-FFF2-40B4-BE49-F238E27FC236}">
                <a16:creationId xmlns:a16="http://schemas.microsoft.com/office/drawing/2014/main" id="{18136DDD-43B0-48BB-ACCB-C8C0570712C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5E01E71A-93B3-4E71-B804-8D586B3D38E3}"/>
              </a:ext>
            </a:extLst>
          </p:cNvPr>
          <p:cNvSpPr>
            <a:spLocks noGrp="1"/>
          </p:cNvSpPr>
          <p:nvPr>
            <p:ph type="sldNum" sz="quarter" idx="10"/>
          </p:nvPr>
        </p:nvSpPr>
        <p:spPr/>
        <p:txBody>
          <a:bodyPr/>
          <a:lstStyle/>
          <a:p>
            <a:fld id="{1F90F471-3972-4120-B8B3-0237DE626C35}" type="slidenum">
              <a:rPr lang="en-US" smtClean="0"/>
              <a:pPr/>
              <a:t>327</a:t>
            </a:fld>
            <a:endParaRPr lang="en-US" dirty="0"/>
          </a:p>
        </p:txBody>
      </p:sp>
    </p:spTree>
    <p:extLst>
      <p:ext uri="{BB962C8B-B14F-4D97-AF65-F5344CB8AC3E}">
        <p14:creationId xmlns:p14="http://schemas.microsoft.com/office/powerpoint/2010/main" val="2411231802"/>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Press Clippings/Quotes 1</a:t>
            </a:r>
            <a:endParaRPr lang="de-DE" dirty="0"/>
          </a:p>
        </p:txBody>
      </p:sp>
      <p:grpSp>
        <p:nvGrpSpPr>
          <p:cNvPr id="4" name="Group 3" descr="q1">
            <a:extLst>
              <a:ext uri="{FF2B5EF4-FFF2-40B4-BE49-F238E27FC236}">
                <a16:creationId xmlns:a16="http://schemas.microsoft.com/office/drawing/2014/main" id="{C9182B30-6A97-42CA-A4E8-6C5560C0977F}"/>
              </a:ext>
            </a:extLst>
          </p:cNvPr>
          <p:cNvGrpSpPr>
            <a:grpSpLocks/>
          </p:cNvGrpSpPr>
          <p:nvPr/>
        </p:nvGrpSpPr>
        <p:grpSpPr bwMode="auto">
          <a:xfrm>
            <a:off x="4086225" y="1628800"/>
            <a:ext cx="4014788" cy="800100"/>
            <a:chOff x="1749" y="1129"/>
            <a:chExt cx="2739" cy="504"/>
          </a:xfrm>
          <a:solidFill>
            <a:srgbClr val="96968C">
              <a:lumMod val="20000"/>
              <a:lumOff val="80000"/>
            </a:srgbClr>
          </a:solidFill>
        </p:grpSpPr>
        <p:sp>
          <p:nvSpPr>
            <p:cNvPr id="5" name="Freeform 4">
              <a:extLst>
                <a:ext uri="{FF2B5EF4-FFF2-40B4-BE49-F238E27FC236}">
                  <a16:creationId xmlns:a16="http://schemas.microsoft.com/office/drawing/2014/main" id="{99B4678C-26A8-4D9F-99F7-1EF557BD26F9}"/>
                </a:ext>
              </a:extLst>
            </p:cNvPr>
            <p:cNvSpPr>
              <a:spLocks/>
            </p:cNvSpPr>
            <p:nvPr/>
          </p:nvSpPr>
          <p:spPr bwMode="auto">
            <a:xfrm>
              <a:off x="1749" y="1129"/>
              <a:ext cx="2739" cy="504"/>
            </a:xfrm>
            <a:custGeom>
              <a:avLst/>
              <a:gdLst/>
              <a:ahLst/>
              <a:cxnLst>
                <a:cxn ang="0">
                  <a:pos x="0" y="0"/>
                </a:cxn>
                <a:cxn ang="0">
                  <a:pos x="5004" y="1212"/>
                </a:cxn>
                <a:cxn ang="0">
                  <a:pos x="4962" y="1233"/>
                </a:cxn>
                <a:cxn ang="0">
                  <a:pos x="4872" y="1212"/>
                </a:cxn>
                <a:cxn ang="0">
                  <a:pos x="4747" y="1200"/>
                </a:cxn>
                <a:cxn ang="0">
                  <a:pos x="4644" y="1211"/>
                </a:cxn>
                <a:cxn ang="0">
                  <a:pos x="4536" y="1188"/>
                </a:cxn>
                <a:cxn ang="0">
                  <a:pos x="4480" y="1163"/>
                </a:cxn>
                <a:cxn ang="0">
                  <a:pos x="4408" y="1172"/>
                </a:cxn>
                <a:cxn ang="0">
                  <a:pos x="4297" y="1212"/>
                </a:cxn>
                <a:cxn ang="0">
                  <a:pos x="4219" y="1215"/>
                </a:cxn>
                <a:cxn ang="0">
                  <a:pos x="4171" y="1242"/>
                </a:cxn>
                <a:cxn ang="0">
                  <a:pos x="4078" y="1252"/>
                </a:cxn>
                <a:cxn ang="0">
                  <a:pos x="4073" y="1248"/>
                </a:cxn>
                <a:cxn ang="0">
                  <a:pos x="3987" y="1258"/>
                </a:cxn>
                <a:cxn ang="0">
                  <a:pos x="3646" y="1263"/>
                </a:cxn>
                <a:cxn ang="0">
                  <a:pos x="3562" y="1260"/>
                </a:cxn>
                <a:cxn ang="0">
                  <a:pos x="3521" y="1239"/>
                </a:cxn>
                <a:cxn ang="0">
                  <a:pos x="3451" y="1225"/>
                </a:cxn>
                <a:cxn ang="0">
                  <a:pos x="3377" y="1243"/>
                </a:cxn>
                <a:cxn ang="0">
                  <a:pos x="3348" y="1269"/>
                </a:cxn>
                <a:cxn ang="0">
                  <a:pos x="3285" y="1252"/>
                </a:cxn>
                <a:cxn ang="0">
                  <a:pos x="3202" y="1218"/>
                </a:cxn>
                <a:cxn ang="0">
                  <a:pos x="3089" y="1222"/>
                </a:cxn>
                <a:cxn ang="0">
                  <a:pos x="2934" y="1273"/>
                </a:cxn>
                <a:cxn ang="0">
                  <a:pos x="2753" y="1273"/>
                </a:cxn>
                <a:cxn ang="0">
                  <a:pos x="2551" y="1251"/>
                </a:cxn>
                <a:cxn ang="0">
                  <a:pos x="2449" y="1285"/>
                </a:cxn>
                <a:cxn ang="0">
                  <a:pos x="2385" y="1273"/>
                </a:cxn>
                <a:cxn ang="0">
                  <a:pos x="2304" y="1245"/>
                </a:cxn>
                <a:cxn ang="0">
                  <a:pos x="2234" y="1248"/>
                </a:cxn>
                <a:cxn ang="0">
                  <a:pos x="2116" y="1233"/>
                </a:cxn>
                <a:cxn ang="0">
                  <a:pos x="2053" y="1237"/>
                </a:cxn>
                <a:cxn ang="0">
                  <a:pos x="1970" y="1206"/>
                </a:cxn>
                <a:cxn ang="0">
                  <a:pos x="1912" y="1185"/>
                </a:cxn>
                <a:cxn ang="0">
                  <a:pos x="1850" y="1246"/>
                </a:cxn>
                <a:cxn ang="0">
                  <a:pos x="1777" y="1279"/>
                </a:cxn>
                <a:cxn ang="0">
                  <a:pos x="1471" y="1221"/>
                </a:cxn>
                <a:cxn ang="0">
                  <a:pos x="1383" y="1206"/>
                </a:cxn>
                <a:cxn ang="0">
                  <a:pos x="1317" y="1196"/>
                </a:cxn>
                <a:cxn ang="0">
                  <a:pos x="1241" y="1222"/>
                </a:cxn>
                <a:cxn ang="0">
                  <a:pos x="1141" y="1260"/>
                </a:cxn>
                <a:cxn ang="0">
                  <a:pos x="949" y="1267"/>
                </a:cxn>
                <a:cxn ang="0">
                  <a:pos x="851" y="1248"/>
                </a:cxn>
                <a:cxn ang="0">
                  <a:pos x="730" y="1179"/>
                </a:cxn>
                <a:cxn ang="0">
                  <a:pos x="692" y="1185"/>
                </a:cxn>
                <a:cxn ang="0">
                  <a:pos x="608" y="1230"/>
                </a:cxn>
                <a:cxn ang="0">
                  <a:pos x="505" y="1234"/>
                </a:cxn>
                <a:cxn ang="0">
                  <a:pos x="408" y="1214"/>
                </a:cxn>
                <a:cxn ang="0">
                  <a:pos x="334" y="1218"/>
                </a:cxn>
                <a:cxn ang="0">
                  <a:pos x="292" y="1234"/>
                </a:cxn>
                <a:cxn ang="0">
                  <a:pos x="99" y="1200"/>
                </a:cxn>
              </a:cxnLst>
              <a:rect l="0" t="0" r="r" b="b"/>
              <a:pathLst>
                <a:path w="5004" h="1288">
                  <a:moveTo>
                    <a:pt x="0" y="1175"/>
                  </a:moveTo>
                  <a:lnTo>
                    <a:pt x="0" y="0"/>
                  </a:lnTo>
                  <a:lnTo>
                    <a:pt x="5004" y="0"/>
                  </a:lnTo>
                  <a:lnTo>
                    <a:pt x="5004" y="1212"/>
                  </a:lnTo>
                  <a:lnTo>
                    <a:pt x="4986" y="1227"/>
                  </a:lnTo>
                  <a:lnTo>
                    <a:pt x="4962" y="1233"/>
                  </a:lnTo>
                  <a:lnTo>
                    <a:pt x="4924" y="1227"/>
                  </a:lnTo>
                  <a:lnTo>
                    <a:pt x="4872" y="1212"/>
                  </a:lnTo>
                  <a:lnTo>
                    <a:pt x="4810" y="1203"/>
                  </a:lnTo>
                  <a:lnTo>
                    <a:pt x="4747" y="1200"/>
                  </a:lnTo>
                  <a:lnTo>
                    <a:pt x="4694" y="1206"/>
                  </a:lnTo>
                  <a:lnTo>
                    <a:pt x="4644" y="1211"/>
                  </a:lnTo>
                  <a:lnTo>
                    <a:pt x="4588" y="1203"/>
                  </a:lnTo>
                  <a:lnTo>
                    <a:pt x="4536" y="1188"/>
                  </a:lnTo>
                  <a:lnTo>
                    <a:pt x="4497" y="1170"/>
                  </a:lnTo>
                  <a:lnTo>
                    <a:pt x="4480" y="1163"/>
                  </a:lnTo>
                  <a:lnTo>
                    <a:pt x="4458" y="1161"/>
                  </a:lnTo>
                  <a:lnTo>
                    <a:pt x="4408" y="1172"/>
                  </a:lnTo>
                  <a:lnTo>
                    <a:pt x="4326" y="1206"/>
                  </a:lnTo>
                  <a:lnTo>
                    <a:pt x="4297" y="1212"/>
                  </a:lnTo>
                  <a:lnTo>
                    <a:pt x="4257" y="1214"/>
                  </a:lnTo>
                  <a:lnTo>
                    <a:pt x="4219" y="1215"/>
                  </a:lnTo>
                  <a:lnTo>
                    <a:pt x="4192" y="1227"/>
                  </a:lnTo>
                  <a:lnTo>
                    <a:pt x="4171" y="1242"/>
                  </a:lnTo>
                  <a:lnTo>
                    <a:pt x="4145" y="1252"/>
                  </a:lnTo>
                  <a:lnTo>
                    <a:pt x="4078" y="1252"/>
                  </a:lnTo>
                  <a:lnTo>
                    <a:pt x="4065" y="1248"/>
                  </a:lnTo>
                  <a:lnTo>
                    <a:pt x="4073" y="1248"/>
                  </a:lnTo>
                  <a:lnTo>
                    <a:pt x="4061" y="1251"/>
                  </a:lnTo>
                  <a:lnTo>
                    <a:pt x="3987" y="1258"/>
                  </a:lnTo>
                  <a:lnTo>
                    <a:pt x="3757" y="1263"/>
                  </a:lnTo>
                  <a:lnTo>
                    <a:pt x="3646" y="1263"/>
                  </a:lnTo>
                  <a:lnTo>
                    <a:pt x="3599" y="1263"/>
                  </a:lnTo>
                  <a:lnTo>
                    <a:pt x="3562" y="1260"/>
                  </a:lnTo>
                  <a:lnTo>
                    <a:pt x="3534" y="1248"/>
                  </a:lnTo>
                  <a:lnTo>
                    <a:pt x="3521" y="1239"/>
                  </a:lnTo>
                  <a:lnTo>
                    <a:pt x="3501" y="1231"/>
                  </a:lnTo>
                  <a:lnTo>
                    <a:pt x="3451" y="1225"/>
                  </a:lnTo>
                  <a:lnTo>
                    <a:pt x="3399" y="1233"/>
                  </a:lnTo>
                  <a:lnTo>
                    <a:pt x="3377" y="1243"/>
                  </a:lnTo>
                  <a:lnTo>
                    <a:pt x="3361" y="1258"/>
                  </a:lnTo>
                  <a:lnTo>
                    <a:pt x="3348" y="1269"/>
                  </a:lnTo>
                  <a:lnTo>
                    <a:pt x="3329" y="1270"/>
                  </a:lnTo>
                  <a:lnTo>
                    <a:pt x="3285" y="1252"/>
                  </a:lnTo>
                  <a:lnTo>
                    <a:pt x="3231" y="1227"/>
                  </a:lnTo>
                  <a:lnTo>
                    <a:pt x="3202" y="1218"/>
                  </a:lnTo>
                  <a:lnTo>
                    <a:pt x="3172" y="1217"/>
                  </a:lnTo>
                  <a:lnTo>
                    <a:pt x="3089" y="1222"/>
                  </a:lnTo>
                  <a:lnTo>
                    <a:pt x="2988" y="1252"/>
                  </a:lnTo>
                  <a:lnTo>
                    <a:pt x="2934" y="1273"/>
                  </a:lnTo>
                  <a:lnTo>
                    <a:pt x="2900" y="1282"/>
                  </a:lnTo>
                  <a:lnTo>
                    <a:pt x="2753" y="1273"/>
                  </a:lnTo>
                  <a:lnTo>
                    <a:pt x="2588" y="1254"/>
                  </a:lnTo>
                  <a:lnTo>
                    <a:pt x="2551" y="1251"/>
                  </a:lnTo>
                  <a:lnTo>
                    <a:pt x="2519" y="1258"/>
                  </a:lnTo>
                  <a:lnTo>
                    <a:pt x="2449" y="1285"/>
                  </a:lnTo>
                  <a:lnTo>
                    <a:pt x="2416" y="1288"/>
                  </a:lnTo>
                  <a:lnTo>
                    <a:pt x="2385" y="1273"/>
                  </a:lnTo>
                  <a:lnTo>
                    <a:pt x="2348" y="1254"/>
                  </a:lnTo>
                  <a:lnTo>
                    <a:pt x="2304" y="1245"/>
                  </a:lnTo>
                  <a:lnTo>
                    <a:pt x="2264" y="1243"/>
                  </a:lnTo>
                  <a:lnTo>
                    <a:pt x="2234" y="1248"/>
                  </a:lnTo>
                  <a:lnTo>
                    <a:pt x="2171" y="1243"/>
                  </a:lnTo>
                  <a:lnTo>
                    <a:pt x="2116" y="1233"/>
                  </a:lnTo>
                  <a:lnTo>
                    <a:pt x="2094" y="1231"/>
                  </a:lnTo>
                  <a:lnTo>
                    <a:pt x="2053" y="1237"/>
                  </a:lnTo>
                  <a:lnTo>
                    <a:pt x="2013" y="1228"/>
                  </a:lnTo>
                  <a:lnTo>
                    <a:pt x="1970" y="1206"/>
                  </a:lnTo>
                  <a:lnTo>
                    <a:pt x="1929" y="1187"/>
                  </a:lnTo>
                  <a:lnTo>
                    <a:pt x="1912" y="1185"/>
                  </a:lnTo>
                  <a:lnTo>
                    <a:pt x="1899" y="1191"/>
                  </a:lnTo>
                  <a:lnTo>
                    <a:pt x="1850" y="1246"/>
                  </a:lnTo>
                  <a:lnTo>
                    <a:pt x="1818" y="1270"/>
                  </a:lnTo>
                  <a:lnTo>
                    <a:pt x="1777" y="1279"/>
                  </a:lnTo>
                  <a:lnTo>
                    <a:pt x="1512" y="1242"/>
                  </a:lnTo>
                  <a:lnTo>
                    <a:pt x="1471" y="1221"/>
                  </a:lnTo>
                  <a:lnTo>
                    <a:pt x="1436" y="1209"/>
                  </a:lnTo>
                  <a:lnTo>
                    <a:pt x="1383" y="1206"/>
                  </a:lnTo>
                  <a:lnTo>
                    <a:pt x="1340" y="1203"/>
                  </a:lnTo>
                  <a:lnTo>
                    <a:pt x="1317" y="1196"/>
                  </a:lnTo>
                  <a:lnTo>
                    <a:pt x="1291" y="1199"/>
                  </a:lnTo>
                  <a:lnTo>
                    <a:pt x="1241" y="1222"/>
                  </a:lnTo>
                  <a:lnTo>
                    <a:pt x="1182" y="1251"/>
                  </a:lnTo>
                  <a:lnTo>
                    <a:pt x="1141" y="1260"/>
                  </a:lnTo>
                  <a:lnTo>
                    <a:pt x="1052" y="1263"/>
                  </a:lnTo>
                  <a:lnTo>
                    <a:pt x="949" y="1267"/>
                  </a:lnTo>
                  <a:lnTo>
                    <a:pt x="902" y="1263"/>
                  </a:lnTo>
                  <a:lnTo>
                    <a:pt x="851" y="1248"/>
                  </a:lnTo>
                  <a:lnTo>
                    <a:pt x="765" y="1196"/>
                  </a:lnTo>
                  <a:lnTo>
                    <a:pt x="730" y="1179"/>
                  </a:lnTo>
                  <a:lnTo>
                    <a:pt x="712" y="1179"/>
                  </a:lnTo>
                  <a:lnTo>
                    <a:pt x="692" y="1185"/>
                  </a:lnTo>
                  <a:lnTo>
                    <a:pt x="636" y="1220"/>
                  </a:lnTo>
                  <a:lnTo>
                    <a:pt x="608" y="1230"/>
                  </a:lnTo>
                  <a:lnTo>
                    <a:pt x="561" y="1237"/>
                  </a:lnTo>
                  <a:lnTo>
                    <a:pt x="505" y="1234"/>
                  </a:lnTo>
                  <a:lnTo>
                    <a:pt x="454" y="1224"/>
                  </a:lnTo>
                  <a:lnTo>
                    <a:pt x="408" y="1214"/>
                  </a:lnTo>
                  <a:lnTo>
                    <a:pt x="364" y="1212"/>
                  </a:lnTo>
                  <a:lnTo>
                    <a:pt x="334" y="1218"/>
                  </a:lnTo>
                  <a:lnTo>
                    <a:pt x="314" y="1227"/>
                  </a:lnTo>
                  <a:lnTo>
                    <a:pt x="292" y="1234"/>
                  </a:lnTo>
                  <a:lnTo>
                    <a:pt x="251" y="1233"/>
                  </a:lnTo>
                  <a:lnTo>
                    <a:pt x="99" y="1200"/>
                  </a:lnTo>
                  <a:lnTo>
                    <a:pt x="0" y="1175"/>
                  </a:lnTo>
                  <a:close/>
                </a:path>
              </a:pathLst>
            </a:custGeom>
            <a:grpFill/>
            <a:ln w="0">
              <a:solidFill>
                <a:srgbClr val="E4E7E7"/>
              </a:solidFill>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a typeface="+mn-ea"/>
                <a:cs typeface="+mn-cs"/>
              </a:endParaRPr>
            </a:p>
          </p:txBody>
        </p:sp>
        <p:sp>
          <p:nvSpPr>
            <p:cNvPr id="6" name="Rectangle 5">
              <a:extLst>
                <a:ext uri="{FF2B5EF4-FFF2-40B4-BE49-F238E27FC236}">
                  <a16:creationId xmlns:a16="http://schemas.microsoft.com/office/drawing/2014/main" id="{31C6A824-77B8-4694-B240-23FDBD04A305}"/>
                </a:ext>
              </a:extLst>
            </p:cNvPr>
            <p:cNvSpPr>
              <a:spLocks noChangeArrowheads="1"/>
            </p:cNvSpPr>
            <p:nvPr/>
          </p:nvSpPr>
          <p:spPr bwMode="auto">
            <a:xfrm>
              <a:off x="1749" y="1129"/>
              <a:ext cx="2739" cy="242"/>
            </a:xfrm>
            <a:prstGeom prst="rect">
              <a:avLst/>
            </a:prstGeom>
            <a:grpFill/>
            <a:ln w="0">
              <a:solidFill>
                <a:srgbClr val="E4E7E7"/>
              </a:solidFill>
              <a:miter lim="800000"/>
              <a:headEnd/>
              <a:tailEnd/>
            </a:ln>
            <a:effectLst/>
          </p:spPr>
          <p:txBody>
            <a:bodyPr lIns="45720" rIns="45720"/>
            <a:lstStyle/>
            <a:p>
              <a:pPr marL="0" marR="0" lvl="0" indent="0" algn="l" defTabSz="914400" rtl="0" eaLnBrk="0" fontAlgn="auto" latinLnBrk="0" hangingPunct="0">
                <a:lnSpc>
                  <a:spcPct val="100000"/>
                </a:lnSpc>
                <a:spcBef>
                  <a:spcPct val="0"/>
                </a:spcBef>
                <a:spcAft>
                  <a:spcPts val="0"/>
                </a:spcAft>
                <a:buClr>
                  <a:srgbClr val="000000"/>
                </a:buClr>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Quotation...”</a:t>
              </a:r>
            </a:p>
          </p:txBody>
        </p:sp>
        <p:sp>
          <p:nvSpPr>
            <p:cNvPr id="7" name="Text Box 6">
              <a:extLst>
                <a:ext uri="{FF2B5EF4-FFF2-40B4-BE49-F238E27FC236}">
                  <a16:creationId xmlns:a16="http://schemas.microsoft.com/office/drawing/2014/main" id="{8B4A1FB5-174F-473E-97F5-FCB1B163FFBE}"/>
                </a:ext>
              </a:extLst>
            </p:cNvPr>
            <p:cNvSpPr txBox="1">
              <a:spLocks noChangeArrowheads="1"/>
            </p:cNvSpPr>
            <p:nvPr/>
          </p:nvSpPr>
          <p:spPr bwMode="auto">
            <a:xfrm>
              <a:off x="3641" y="1371"/>
              <a:ext cx="847" cy="164"/>
            </a:xfrm>
            <a:prstGeom prst="rect">
              <a:avLst/>
            </a:prstGeom>
            <a:grpFill/>
            <a:ln w="0">
              <a:solidFill>
                <a:srgbClr val="E4E7E7"/>
              </a:solid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 typeface="Wingdings" pitchFamily="2" charset="2"/>
                <a:buNone/>
                <a:tabLst/>
                <a:defRPr/>
              </a:pPr>
              <a:r>
                <a:rPr kumimoji="0" lang="en-US" sz="1400" b="0" i="1" u="none" strike="noStrike" kern="0" cap="none" spc="0" normalizeH="0" baseline="0" noProof="0">
                  <a:ln>
                    <a:noFill/>
                  </a:ln>
                  <a:solidFill>
                    <a:srgbClr val="000000"/>
                  </a:solidFill>
                  <a:effectLst/>
                  <a:uLnTx/>
                  <a:uFillTx/>
                  <a:ea typeface="+mn-ea"/>
                  <a:cs typeface="+mn-cs"/>
                </a:rPr>
                <a:t>Source</a:t>
              </a:r>
            </a:p>
          </p:txBody>
        </p:sp>
      </p:grpSp>
      <p:grpSp>
        <p:nvGrpSpPr>
          <p:cNvPr id="8" name="Group 7" descr="q2">
            <a:extLst>
              <a:ext uri="{FF2B5EF4-FFF2-40B4-BE49-F238E27FC236}">
                <a16:creationId xmlns:a16="http://schemas.microsoft.com/office/drawing/2014/main" id="{D4838A78-5865-4655-A403-C41679DF99C2}"/>
              </a:ext>
            </a:extLst>
          </p:cNvPr>
          <p:cNvGrpSpPr>
            <a:grpSpLocks/>
          </p:cNvGrpSpPr>
          <p:nvPr/>
        </p:nvGrpSpPr>
        <p:grpSpPr bwMode="auto">
          <a:xfrm>
            <a:off x="4086068" y="3138512"/>
            <a:ext cx="4014788" cy="1111250"/>
            <a:chOff x="1749" y="2080"/>
            <a:chExt cx="2739" cy="700"/>
          </a:xfrm>
          <a:solidFill>
            <a:srgbClr val="96968C">
              <a:lumMod val="20000"/>
              <a:lumOff val="80000"/>
            </a:srgbClr>
          </a:solidFill>
        </p:grpSpPr>
        <p:sp>
          <p:nvSpPr>
            <p:cNvPr id="9" name="Freeform 8">
              <a:extLst>
                <a:ext uri="{FF2B5EF4-FFF2-40B4-BE49-F238E27FC236}">
                  <a16:creationId xmlns:a16="http://schemas.microsoft.com/office/drawing/2014/main" id="{446DAA44-F411-4D8F-AF82-2A8D78025A8E}"/>
                </a:ext>
              </a:extLst>
            </p:cNvPr>
            <p:cNvSpPr>
              <a:spLocks/>
            </p:cNvSpPr>
            <p:nvPr/>
          </p:nvSpPr>
          <p:spPr bwMode="auto">
            <a:xfrm>
              <a:off x="1749" y="2080"/>
              <a:ext cx="2739" cy="700"/>
            </a:xfrm>
            <a:custGeom>
              <a:avLst/>
              <a:gdLst/>
              <a:ahLst/>
              <a:cxnLst>
                <a:cxn ang="0">
                  <a:pos x="0" y="0"/>
                </a:cxn>
                <a:cxn ang="0">
                  <a:pos x="5004" y="1212"/>
                </a:cxn>
                <a:cxn ang="0">
                  <a:pos x="4962" y="1233"/>
                </a:cxn>
                <a:cxn ang="0">
                  <a:pos x="4872" y="1212"/>
                </a:cxn>
                <a:cxn ang="0">
                  <a:pos x="4747" y="1200"/>
                </a:cxn>
                <a:cxn ang="0">
                  <a:pos x="4644" y="1211"/>
                </a:cxn>
                <a:cxn ang="0">
                  <a:pos x="4536" y="1188"/>
                </a:cxn>
                <a:cxn ang="0">
                  <a:pos x="4480" y="1163"/>
                </a:cxn>
                <a:cxn ang="0">
                  <a:pos x="4408" y="1172"/>
                </a:cxn>
                <a:cxn ang="0">
                  <a:pos x="4297" y="1212"/>
                </a:cxn>
                <a:cxn ang="0">
                  <a:pos x="4219" y="1215"/>
                </a:cxn>
                <a:cxn ang="0">
                  <a:pos x="4171" y="1242"/>
                </a:cxn>
                <a:cxn ang="0">
                  <a:pos x="4078" y="1252"/>
                </a:cxn>
                <a:cxn ang="0">
                  <a:pos x="4073" y="1248"/>
                </a:cxn>
                <a:cxn ang="0">
                  <a:pos x="3987" y="1258"/>
                </a:cxn>
                <a:cxn ang="0">
                  <a:pos x="3646" y="1263"/>
                </a:cxn>
                <a:cxn ang="0">
                  <a:pos x="3562" y="1260"/>
                </a:cxn>
                <a:cxn ang="0">
                  <a:pos x="3521" y="1239"/>
                </a:cxn>
                <a:cxn ang="0">
                  <a:pos x="3451" y="1225"/>
                </a:cxn>
                <a:cxn ang="0">
                  <a:pos x="3377" y="1243"/>
                </a:cxn>
                <a:cxn ang="0">
                  <a:pos x="3348" y="1269"/>
                </a:cxn>
                <a:cxn ang="0">
                  <a:pos x="3285" y="1252"/>
                </a:cxn>
                <a:cxn ang="0">
                  <a:pos x="3202" y="1218"/>
                </a:cxn>
                <a:cxn ang="0">
                  <a:pos x="3089" y="1222"/>
                </a:cxn>
                <a:cxn ang="0">
                  <a:pos x="2934" y="1273"/>
                </a:cxn>
                <a:cxn ang="0">
                  <a:pos x="2753" y="1273"/>
                </a:cxn>
                <a:cxn ang="0">
                  <a:pos x="2551" y="1251"/>
                </a:cxn>
                <a:cxn ang="0">
                  <a:pos x="2449" y="1285"/>
                </a:cxn>
                <a:cxn ang="0">
                  <a:pos x="2385" y="1273"/>
                </a:cxn>
                <a:cxn ang="0">
                  <a:pos x="2304" y="1245"/>
                </a:cxn>
                <a:cxn ang="0">
                  <a:pos x="2234" y="1248"/>
                </a:cxn>
                <a:cxn ang="0">
                  <a:pos x="2116" y="1233"/>
                </a:cxn>
                <a:cxn ang="0">
                  <a:pos x="2053" y="1237"/>
                </a:cxn>
                <a:cxn ang="0">
                  <a:pos x="1970" y="1206"/>
                </a:cxn>
                <a:cxn ang="0">
                  <a:pos x="1912" y="1185"/>
                </a:cxn>
                <a:cxn ang="0">
                  <a:pos x="1850" y="1246"/>
                </a:cxn>
                <a:cxn ang="0">
                  <a:pos x="1777" y="1279"/>
                </a:cxn>
                <a:cxn ang="0">
                  <a:pos x="1471" y="1221"/>
                </a:cxn>
                <a:cxn ang="0">
                  <a:pos x="1383" y="1206"/>
                </a:cxn>
                <a:cxn ang="0">
                  <a:pos x="1317" y="1196"/>
                </a:cxn>
                <a:cxn ang="0">
                  <a:pos x="1241" y="1222"/>
                </a:cxn>
                <a:cxn ang="0">
                  <a:pos x="1141" y="1260"/>
                </a:cxn>
                <a:cxn ang="0">
                  <a:pos x="949" y="1267"/>
                </a:cxn>
                <a:cxn ang="0">
                  <a:pos x="851" y="1248"/>
                </a:cxn>
                <a:cxn ang="0">
                  <a:pos x="730" y="1179"/>
                </a:cxn>
                <a:cxn ang="0">
                  <a:pos x="692" y="1185"/>
                </a:cxn>
                <a:cxn ang="0">
                  <a:pos x="608" y="1230"/>
                </a:cxn>
                <a:cxn ang="0">
                  <a:pos x="505" y="1234"/>
                </a:cxn>
                <a:cxn ang="0">
                  <a:pos x="408" y="1214"/>
                </a:cxn>
                <a:cxn ang="0">
                  <a:pos x="334" y="1218"/>
                </a:cxn>
                <a:cxn ang="0">
                  <a:pos x="292" y="1234"/>
                </a:cxn>
                <a:cxn ang="0">
                  <a:pos x="99" y="1200"/>
                </a:cxn>
              </a:cxnLst>
              <a:rect l="0" t="0" r="r" b="b"/>
              <a:pathLst>
                <a:path w="5004" h="1288">
                  <a:moveTo>
                    <a:pt x="0" y="1175"/>
                  </a:moveTo>
                  <a:lnTo>
                    <a:pt x="0" y="0"/>
                  </a:lnTo>
                  <a:lnTo>
                    <a:pt x="5004" y="0"/>
                  </a:lnTo>
                  <a:lnTo>
                    <a:pt x="5004" y="1212"/>
                  </a:lnTo>
                  <a:lnTo>
                    <a:pt x="4986" y="1227"/>
                  </a:lnTo>
                  <a:lnTo>
                    <a:pt x="4962" y="1233"/>
                  </a:lnTo>
                  <a:lnTo>
                    <a:pt x="4924" y="1227"/>
                  </a:lnTo>
                  <a:lnTo>
                    <a:pt x="4872" y="1212"/>
                  </a:lnTo>
                  <a:lnTo>
                    <a:pt x="4810" y="1203"/>
                  </a:lnTo>
                  <a:lnTo>
                    <a:pt x="4747" y="1200"/>
                  </a:lnTo>
                  <a:lnTo>
                    <a:pt x="4694" y="1206"/>
                  </a:lnTo>
                  <a:lnTo>
                    <a:pt x="4644" y="1211"/>
                  </a:lnTo>
                  <a:lnTo>
                    <a:pt x="4588" y="1203"/>
                  </a:lnTo>
                  <a:lnTo>
                    <a:pt x="4536" y="1188"/>
                  </a:lnTo>
                  <a:lnTo>
                    <a:pt x="4497" y="1170"/>
                  </a:lnTo>
                  <a:lnTo>
                    <a:pt x="4480" y="1163"/>
                  </a:lnTo>
                  <a:lnTo>
                    <a:pt x="4458" y="1161"/>
                  </a:lnTo>
                  <a:lnTo>
                    <a:pt x="4408" y="1172"/>
                  </a:lnTo>
                  <a:lnTo>
                    <a:pt x="4326" y="1206"/>
                  </a:lnTo>
                  <a:lnTo>
                    <a:pt x="4297" y="1212"/>
                  </a:lnTo>
                  <a:lnTo>
                    <a:pt x="4257" y="1214"/>
                  </a:lnTo>
                  <a:lnTo>
                    <a:pt x="4219" y="1215"/>
                  </a:lnTo>
                  <a:lnTo>
                    <a:pt x="4192" y="1227"/>
                  </a:lnTo>
                  <a:lnTo>
                    <a:pt x="4171" y="1242"/>
                  </a:lnTo>
                  <a:lnTo>
                    <a:pt x="4145" y="1252"/>
                  </a:lnTo>
                  <a:lnTo>
                    <a:pt x="4078" y="1252"/>
                  </a:lnTo>
                  <a:lnTo>
                    <a:pt x="4065" y="1248"/>
                  </a:lnTo>
                  <a:lnTo>
                    <a:pt x="4073" y="1248"/>
                  </a:lnTo>
                  <a:lnTo>
                    <a:pt x="4061" y="1251"/>
                  </a:lnTo>
                  <a:lnTo>
                    <a:pt x="3987" y="1258"/>
                  </a:lnTo>
                  <a:lnTo>
                    <a:pt x="3757" y="1263"/>
                  </a:lnTo>
                  <a:lnTo>
                    <a:pt x="3646" y="1263"/>
                  </a:lnTo>
                  <a:lnTo>
                    <a:pt x="3599" y="1263"/>
                  </a:lnTo>
                  <a:lnTo>
                    <a:pt x="3562" y="1260"/>
                  </a:lnTo>
                  <a:lnTo>
                    <a:pt x="3534" y="1248"/>
                  </a:lnTo>
                  <a:lnTo>
                    <a:pt x="3521" y="1239"/>
                  </a:lnTo>
                  <a:lnTo>
                    <a:pt x="3501" y="1231"/>
                  </a:lnTo>
                  <a:lnTo>
                    <a:pt x="3451" y="1225"/>
                  </a:lnTo>
                  <a:lnTo>
                    <a:pt x="3399" y="1233"/>
                  </a:lnTo>
                  <a:lnTo>
                    <a:pt x="3377" y="1243"/>
                  </a:lnTo>
                  <a:lnTo>
                    <a:pt x="3361" y="1258"/>
                  </a:lnTo>
                  <a:lnTo>
                    <a:pt x="3348" y="1269"/>
                  </a:lnTo>
                  <a:lnTo>
                    <a:pt x="3329" y="1270"/>
                  </a:lnTo>
                  <a:lnTo>
                    <a:pt x="3285" y="1252"/>
                  </a:lnTo>
                  <a:lnTo>
                    <a:pt x="3231" y="1227"/>
                  </a:lnTo>
                  <a:lnTo>
                    <a:pt x="3202" y="1218"/>
                  </a:lnTo>
                  <a:lnTo>
                    <a:pt x="3172" y="1217"/>
                  </a:lnTo>
                  <a:lnTo>
                    <a:pt x="3089" y="1222"/>
                  </a:lnTo>
                  <a:lnTo>
                    <a:pt x="2988" y="1252"/>
                  </a:lnTo>
                  <a:lnTo>
                    <a:pt x="2934" y="1273"/>
                  </a:lnTo>
                  <a:lnTo>
                    <a:pt x="2900" y="1282"/>
                  </a:lnTo>
                  <a:lnTo>
                    <a:pt x="2753" y="1273"/>
                  </a:lnTo>
                  <a:lnTo>
                    <a:pt x="2588" y="1254"/>
                  </a:lnTo>
                  <a:lnTo>
                    <a:pt x="2551" y="1251"/>
                  </a:lnTo>
                  <a:lnTo>
                    <a:pt x="2519" y="1258"/>
                  </a:lnTo>
                  <a:lnTo>
                    <a:pt x="2449" y="1285"/>
                  </a:lnTo>
                  <a:lnTo>
                    <a:pt x="2416" y="1288"/>
                  </a:lnTo>
                  <a:lnTo>
                    <a:pt x="2385" y="1273"/>
                  </a:lnTo>
                  <a:lnTo>
                    <a:pt x="2348" y="1254"/>
                  </a:lnTo>
                  <a:lnTo>
                    <a:pt x="2304" y="1245"/>
                  </a:lnTo>
                  <a:lnTo>
                    <a:pt x="2264" y="1243"/>
                  </a:lnTo>
                  <a:lnTo>
                    <a:pt x="2234" y="1248"/>
                  </a:lnTo>
                  <a:lnTo>
                    <a:pt x="2171" y="1243"/>
                  </a:lnTo>
                  <a:lnTo>
                    <a:pt x="2116" y="1233"/>
                  </a:lnTo>
                  <a:lnTo>
                    <a:pt x="2094" y="1231"/>
                  </a:lnTo>
                  <a:lnTo>
                    <a:pt x="2053" y="1237"/>
                  </a:lnTo>
                  <a:lnTo>
                    <a:pt x="2013" y="1228"/>
                  </a:lnTo>
                  <a:lnTo>
                    <a:pt x="1970" y="1206"/>
                  </a:lnTo>
                  <a:lnTo>
                    <a:pt x="1929" y="1187"/>
                  </a:lnTo>
                  <a:lnTo>
                    <a:pt x="1912" y="1185"/>
                  </a:lnTo>
                  <a:lnTo>
                    <a:pt x="1899" y="1191"/>
                  </a:lnTo>
                  <a:lnTo>
                    <a:pt x="1850" y="1246"/>
                  </a:lnTo>
                  <a:lnTo>
                    <a:pt x="1818" y="1270"/>
                  </a:lnTo>
                  <a:lnTo>
                    <a:pt x="1777" y="1279"/>
                  </a:lnTo>
                  <a:lnTo>
                    <a:pt x="1512" y="1242"/>
                  </a:lnTo>
                  <a:lnTo>
                    <a:pt x="1471" y="1221"/>
                  </a:lnTo>
                  <a:lnTo>
                    <a:pt x="1436" y="1209"/>
                  </a:lnTo>
                  <a:lnTo>
                    <a:pt x="1383" y="1206"/>
                  </a:lnTo>
                  <a:lnTo>
                    <a:pt x="1340" y="1203"/>
                  </a:lnTo>
                  <a:lnTo>
                    <a:pt x="1317" y="1196"/>
                  </a:lnTo>
                  <a:lnTo>
                    <a:pt x="1291" y="1199"/>
                  </a:lnTo>
                  <a:lnTo>
                    <a:pt x="1241" y="1222"/>
                  </a:lnTo>
                  <a:lnTo>
                    <a:pt x="1182" y="1251"/>
                  </a:lnTo>
                  <a:lnTo>
                    <a:pt x="1141" y="1260"/>
                  </a:lnTo>
                  <a:lnTo>
                    <a:pt x="1052" y="1263"/>
                  </a:lnTo>
                  <a:lnTo>
                    <a:pt x="949" y="1267"/>
                  </a:lnTo>
                  <a:lnTo>
                    <a:pt x="902" y="1263"/>
                  </a:lnTo>
                  <a:lnTo>
                    <a:pt x="851" y="1248"/>
                  </a:lnTo>
                  <a:lnTo>
                    <a:pt x="765" y="1196"/>
                  </a:lnTo>
                  <a:lnTo>
                    <a:pt x="730" y="1179"/>
                  </a:lnTo>
                  <a:lnTo>
                    <a:pt x="712" y="1179"/>
                  </a:lnTo>
                  <a:lnTo>
                    <a:pt x="692" y="1185"/>
                  </a:lnTo>
                  <a:lnTo>
                    <a:pt x="636" y="1220"/>
                  </a:lnTo>
                  <a:lnTo>
                    <a:pt x="608" y="1230"/>
                  </a:lnTo>
                  <a:lnTo>
                    <a:pt x="561" y="1237"/>
                  </a:lnTo>
                  <a:lnTo>
                    <a:pt x="505" y="1234"/>
                  </a:lnTo>
                  <a:lnTo>
                    <a:pt x="454" y="1224"/>
                  </a:lnTo>
                  <a:lnTo>
                    <a:pt x="408" y="1214"/>
                  </a:lnTo>
                  <a:lnTo>
                    <a:pt x="364" y="1212"/>
                  </a:lnTo>
                  <a:lnTo>
                    <a:pt x="334" y="1218"/>
                  </a:lnTo>
                  <a:lnTo>
                    <a:pt x="314" y="1227"/>
                  </a:lnTo>
                  <a:lnTo>
                    <a:pt x="292" y="1234"/>
                  </a:lnTo>
                  <a:lnTo>
                    <a:pt x="251" y="1233"/>
                  </a:lnTo>
                  <a:lnTo>
                    <a:pt x="99" y="1200"/>
                  </a:lnTo>
                  <a:lnTo>
                    <a:pt x="0" y="1175"/>
                  </a:lnTo>
                  <a:close/>
                </a:path>
              </a:pathLst>
            </a:custGeom>
            <a:grpFill/>
            <a:ln w="0">
              <a:solidFill>
                <a:srgbClr val="E4E7E7"/>
              </a:solidFill>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a typeface="+mn-ea"/>
                <a:cs typeface="+mn-cs"/>
              </a:endParaRPr>
            </a:p>
          </p:txBody>
        </p:sp>
        <p:sp>
          <p:nvSpPr>
            <p:cNvPr id="10" name="Rectangle 9">
              <a:extLst>
                <a:ext uri="{FF2B5EF4-FFF2-40B4-BE49-F238E27FC236}">
                  <a16:creationId xmlns:a16="http://schemas.microsoft.com/office/drawing/2014/main" id="{F5D13732-998D-432B-B500-6CB703214F67}"/>
                </a:ext>
              </a:extLst>
            </p:cNvPr>
            <p:cNvSpPr>
              <a:spLocks noChangeArrowheads="1"/>
            </p:cNvSpPr>
            <p:nvPr/>
          </p:nvSpPr>
          <p:spPr bwMode="auto">
            <a:xfrm>
              <a:off x="1749" y="2080"/>
              <a:ext cx="2739" cy="416"/>
            </a:xfrm>
            <a:prstGeom prst="rect">
              <a:avLst/>
            </a:prstGeom>
            <a:grpFill/>
            <a:ln w="0">
              <a:solidFill>
                <a:srgbClr val="E4E7E7"/>
              </a:solidFill>
              <a:miter lim="800000"/>
              <a:headEnd/>
              <a:tailEnd/>
            </a:ln>
            <a:effectLst/>
          </p:spPr>
          <p:txBody>
            <a:bodyPr lIns="45720" rIns="45720"/>
            <a:lstStyle/>
            <a:p>
              <a:pPr marL="0" marR="0" lvl="0" indent="0" algn="l" defTabSz="914400" rtl="0" eaLnBrk="0" fontAlgn="auto" latinLnBrk="0" hangingPunct="0">
                <a:lnSpc>
                  <a:spcPct val="100000"/>
                </a:lnSpc>
                <a:spcBef>
                  <a:spcPct val="0"/>
                </a:spcBef>
                <a:spcAft>
                  <a:spcPts val="0"/>
                </a:spcAft>
                <a:buClr>
                  <a:srgbClr val="000000"/>
                </a:buClr>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Quotation...”</a:t>
              </a:r>
            </a:p>
          </p:txBody>
        </p:sp>
        <p:sp>
          <p:nvSpPr>
            <p:cNvPr id="11" name="Text Box 10">
              <a:extLst>
                <a:ext uri="{FF2B5EF4-FFF2-40B4-BE49-F238E27FC236}">
                  <a16:creationId xmlns:a16="http://schemas.microsoft.com/office/drawing/2014/main" id="{677634A4-4985-4E9B-B872-59ED7A0DED88}"/>
                </a:ext>
              </a:extLst>
            </p:cNvPr>
            <p:cNvSpPr txBox="1">
              <a:spLocks noChangeArrowheads="1"/>
            </p:cNvSpPr>
            <p:nvPr/>
          </p:nvSpPr>
          <p:spPr bwMode="auto">
            <a:xfrm>
              <a:off x="3641" y="2496"/>
              <a:ext cx="847" cy="164"/>
            </a:xfrm>
            <a:prstGeom prst="rect">
              <a:avLst/>
            </a:prstGeom>
            <a:grpFill/>
            <a:ln w="0">
              <a:solidFill>
                <a:srgbClr val="E4E7E7"/>
              </a:solid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 typeface="Wingdings" pitchFamily="2" charset="2"/>
                <a:buNone/>
                <a:tabLst/>
                <a:defRPr/>
              </a:pPr>
              <a:r>
                <a:rPr kumimoji="0" lang="en-US" sz="1400" b="0" i="1" u="none" strike="noStrike" kern="0" cap="none" spc="0" normalizeH="0" baseline="0" noProof="0">
                  <a:ln>
                    <a:noFill/>
                  </a:ln>
                  <a:solidFill>
                    <a:srgbClr val="000000"/>
                  </a:solidFill>
                  <a:effectLst/>
                  <a:uLnTx/>
                  <a:uFillTx/>
                  <a:ea typeface="+mn-ea"/>
                  <a:cs typeface="+mn-cs"/>
                </a:rPr>
                <a:t>Source</a:t>
              </a:r>
            </a:p>
          </p:txBody>
        </p:sp>
      </p:grpSp>
      <p:grpSp>
        <p:nvGrpSpPr>
          <p:cNvPr id="12" name="Group 11" descr="q3">
            <a:extLst>
              <a:ext uri="{FF2B5EF4-FFF2-40B4-BE49-F238E27FC236}">
                <a16:creationId xmlns:a16="http://schemas.microsoft.com/office/drawing/2014/main" id="{9F0EB318-4504-4553-8E7D-5B487AA9C2DD}"/>
              </a:ext>
            </a:extLst>
          </p:cNvPr>
          <p:cNvGrpSpPr>
            <a:grpSpLocks/>
          </p:cNvGrpSpPr>
          <p:nvPr/>
        </p:nvGrpSpPr>
        <p:grpSpPr bwMode="auto">
          <a:xfrm>
            <a:off x="4086225" y="4959375"/>
            <a:ext cx="4014788" cy="1035050"/>
            <a:chOff x="1749" y="3227"/>
            <a:chExt cx="2739" cy="652"/>
          </a:xfrm>
          <a:solidFill>
            <a:srgbClr val="96968C">
              <a:lumMod val="20000"/>
              <a:lumOff val="80000"/>
            </a:srgbClr>
          </a:solidFill>
        </p:grpSpPr>
        <p:sp>
          <p:nvSpPr>
            <p:cNvPr id="13" name="Freeform 12">
              <a:extLst>
                <a:ext uri="{FF2B5EF4-FFF2-40B4-BE49-F238E27FC236}">
                  <a16:creationId xmlns:a16="http://schemas.microsoft.com/office/drawing/2014/main" id="{2DFC5A87-AD2C-4B23-9E97-E3121E2638D1}"/>
                </a:ext>
              </a:extLst>
            </p:cNvPr>
            <p:cNvSpPr>
              <a:spLocks/>
            </p:cNvSpPr>
            <p:nvPr/>
          </p:nvSpPr>
          <p:spPr bwMode="auto">
            <a:xfrm>
              <a:off x="1749" y="3227"/>
              <a:ext cx="2739" cy="652"/>
            </a:xfrm>
            <a:custGeom>
              <a:avLst/>
              <a:gdLst/>
              <a:ahLst/>
              <a:cxnLst>
                <a:cxn ang="0">
                  <a:pos x="0" y="0"/>
                </a:cxn>
                <a:cxn ang="0">
                  <a:pos x="5004" y="1212"/>
                </a:cxn>
                <a:cxn ang="0">
                  <a:pos x="4962" y="1233"/>
                </a:cxn>
                <a:cxn ang="0">
                  <a:pos x="4872" y="1212"/>
                </a:cxn>
                <a:cxn ang="0">
                  <a:pos x="4747" y="1200"/>
                </a:cxn>
                <a:cxn ang="0">
                  <a:pos x="4644" y="1211"/>
                </a:cxn>
                <a:cxn ang="0">
                  <a:pos x="4536" y="1188"/>
                </a:cxn>
                <a:cxn ang="0">
                  <a:pos x="4480" y="1163"/>
                </a:cxn>
                <a:cxn ang="0">
                  <a:pos x="4408" y="1172"/>
                </a:cxn>
                <a:cxn ang="0">
                  <a:pos x="4297" y="1212"/>
                </a:cxn>
                <a:cxn ang="0">
                  <a:pos x="4219" y="1215"/>
                </a:cxn>
                <a:cxn ang="0">
                  <a:pos x="4171" y="1242"/>
                </a:cxn>
                <a:cxn ang="0">
                  <a:pos x="4078" y="1252"/>
                </a:cxn>
                <a:cxn ang="0">
                  <a:pos x="4073" y="1248"/>
                </a:cxn>
                <a:cxn ang="0">
                  <a:pos x="3987" y="1258"/>
                </a:cxn>
                <a:cxn ang="0">
                  <a:pos x="3646" y="1263"/>
                </a:cxn>
                <a:cxn ang="0">
                  <a:pos x="3562" y="1260"/>
                </a:cxn>
                <a:cxn ang="0">
                  <a:pos x="3521" y="1239"/>
                </a:cxn>
                <a:cxn ang="0">
                  <a:pos x="3451" y="1225"/>
                </a:cxn>
                <a:cxn ang="0">
                  <a:pos x="3377" y="1243"/>
                </a:cxn>
                <a:cxn ang="0">
                  <a:pos x="3348" y="1269"/>
                </a:cxn>
                <a:cxn ang="0">
                  <a:pos x="3285" y="1252"/>
                </a:cxn>
                <a:cxn ang="0">
                  <a:pos x="3202" y="1218"/>
                </a:cxn>
                <a:cxn ang="0">
                  <a:pos x="3089" y="1222"/>
                </a:cxn>
                <a:cxn ang="0">
                  <a:pos x="2934" y="1273"/>
                </a:cxn>
                <a:cxn ang="0">
                  <a:pos x="2753" y="1273"/>
                </a:cxn>
                <a:cxn ang="0">
                  <a:pos x="2551" y="1251"/>
                </a:cxn>
                <a:cxn ang="0">
                  <a:pos x="2449" y="1285"/>
                </a:cxn>
                <a:cxn ang="0">
                  <a:pos x="2385" y="1273"/>
                </a:cxn>
                <a:cxn ang="0">
                  <a:pos x="2304" y="1245"/>
                </a:cxn>
                <a:cxn ang="0">
                  <a:pos x="2234" y="1248"/>
                </a:cxn>
                <a:cxn ang="0">
                  <a:pos x="2116" y="1233"/>
                </a:cxn>
                <a:cxn ang="0">
                  <a:pos x="2053" y="1237"/>
                </a:cxn>
                <a:cxn ang="0">
                  <a:pos x="1970" y="1206"/>
                </a:cxn>
                <a:cxn ang="0">
                  <a:pos x="1912" y="1185"/>
                </a:cxn>
                <a:cxn ang="0">
                  <a:pos x="1850" y="1246"/>
                </a:cxn>
                <a:cxn ang="0">
                  <a:pos x="1777" y="1279"/>
                </a:cxn>
                <a:cxn ang="0">
                  <a:pos x="1471" y="1221"/>
                </a:cxn>
                <a:cxn ang="0">
                  <a:pos x="1383" y="1206"/>
                </a:cxn>
                <a:cxn ang="0">
                  <a:pos x="1317" y="1196"/>
                </a:cxn>
                <a:cxn ang="0">
                  <a:pos x="1241" y="1222"/>
                </a:cxn>
                <a:cxn ang="0">
                  <a:pos x="1141" y="1260"/>
                </a:cxn>
                <a:cxn ang="0">
                  <a:pos x="949" y="1267"/>
                </a:cxn>
                <a:cxn ang="0">
                  <a:pos x="851" y="1248"/>
                </a:cxn>
                <a:cxn ang="0">
                  <a:pos x="730" y="1179"/>
                </a:cxn>
                <a:cxn ang="0">
                  <a:pos x="692" y="1185"/>
                </a:cxn>
                <a:cxn ang="0">
                  <a:pos x="608" y="1230"/>
                </a:cxn>
                <a:cxn ang="0">
                  <a:pos x="505" y="1234"/>
                </a:cxn>
                <a:cxn ang="0">
                  <a:pos x="408" y="1214"/>
                </a:cxn>
                <a:cxn ang="0">
                  <a:pos x="334" y="1218"/>
                </a:cxn>
                <a:cxn ang="0">
                  <a:pos x="292" y="1234"/>
                </a:cxn>
                <a:cxn ang="0">
                  <a:pos x="99" y="1200"/>
                </a:cxn>
              </a:cxnLst>
              <a:rect l="0" t="0" r="r" b="b"/>
              <a:pathLst>
                <a:path w="5004" h="1288">
                  <a:moveTo>
                    <a:pt x="0" y="1175"/>
                  </a:moveTo>
                  <a:lnTo>
                    <a:pt x="0" y="0"/>
                  </a:lnTo>
                  <a:lnTo>
                    <a:pt x="5004" y="0"/>
                  </a:lnTo>
                  <a:lnTo>
                    <a:pt x="5004" y="1212"/>
                  </a:lnTo>
                  <a:lnTo>
                    <a:pt x="4986" y="1227"/>
                  </a:lnTo>
                  <a:lnTo>
                    <a:pt x="4962" y="1233"/>
                  </a:lnTo>
                  <a:lnTo>
                    <a:pt x="4924" y="1227"/>
                  </a:lnTo>
                  <a:lnTo>
                    <a:pt x="4872" y="1212"/>
                  </a:lnTo>
                  <a:lnTo>
                    <a:pt x="4810" y="1203"/>
                  </a:lnTo>
                  <a:lnTo>
                    <a:pt x="4747" y="1200"/>
                  </a:lnTo>
                  <a:lnTo>
                    <a:pt x="4694" y="1206"/>
                  </a:lnTo>
                  <a:lnTo>
                    <a:pt x="4644" y="1211"/>
                  </a:lnTo>
                  <a:lnTo>
                    <a:pt x="4588" y="1203"/>
                  </a:lnTo>
                  <a:lnTo>
                    <a:pt x="4536" y="1188"/>
                  </a:lnTo>
                  <a:lnTo>
                    <a:pt x="4497" y="1170"/>
                  </a:lnTo>
                  <a:lnTo>
                    <a:pt x="4480" y="1163"/>
                  </a:lnTo>
                  <a:lnTo>
                    <a:pt x="4458" y="1161"/>
                  </a:lnTo>
                  <a:lnTo>
                    <a:pt x="4408" y="1172"/>
                  </a:lnTo>
                  <a:lnTo>
                    <a:pt x="4326" y="1206"/>
                  </a:lnTo>
                  <a:lnTo>
                    <a:pt x="4297" y="1212"/>
                  </a:lnTo>
                  <a:lnTo>
                    <a:pt x="4257" y="1214"/>
                  </a:lnTo>
                  <a:lnTo>
                    <a:pt x="4219" y="1215"/>
                  </a:lnTo>
                  <a:lnTo>
                    <a:pt x="4192" y="1227"/>
                  </a:lnTo>
                  <a:lnTo>
                    <a:pt x="4171" y="1242"/>
                  </a:lnTo>
                  <a:lnTo>
                    <a:pt x="4145" y="1252"/>
                  </a:lnTo>
                  <a:lnTo>
                    <a:pt x="4078" y="1252"/>
                  </a:lnTo>
                  <a:lnTo>
                    <a:pt x="4065" y="1248"/>
                  </a:lnTo>
                  <a:lnTo>
                    <a:pt x="4073" y="1248"/>
                  </a:lnTo>
                  <a:lnTo>
                    <a:pt x="4061" y="1251"/>
                  </a:lnTo>
                  <a:lnTo>
                    <a:pt x="3987" y="1258"/>
                  </a:lnTo>
                  <a:lnTo>
                    <a:pt x="3757" y="1263"/>
                  </a:lnTo>
                  <a:lnTo>
                    <a:pt x="3646" y="1263"/>
                  </a:lnTo>
                  <a:lnTo>
                    <a:pt x="3599" y="1263"/>
                  </a:lnTo>
                  <a:lnTo>
                    <a:pt x="3562" y="1260"/>
                  </a:lnTo>
                  <a:lnTo>
                    <a:pt x="3534" y="1248"/>
                  </a:lnTo>
                  <a:lnTo>
                    <a:pt x="3521" y="1239"/>
                  </a:lnTo>
                  <a:lnTo>
                    <a:pt x="3501" y="1231"/>
                  </a:lnTo>
                  <a:lnTo>
                    <a:pt x="3451" y="1225"/>
                  </a:lnTo>
                  <a:lnTo>
                    <a:pt x="3399" y="1233"/>
                  </a:lnTo>
                  <a:lnTo>
                    <a:pt x="3377" y="1243"/>
                  </a:lnTo>
                  <a:lnTo>
                    <a:pt x="3361" y="1258"/>
                  </a:lnTo>
                  <a:lnTo>
                    <a:pt x="3348" y="1269"/>
                  </a:lnTo>
                  <a:lnTo>
                    <a:pt x="3329" y="1270"/>
                  </a:lnTo>
                  <a:lnTo>
                    <a:pt x="3285" y="1252"/>
                  </a:lnTo>
                  <a:lnTo>
                    <a:pt x="3231" y="1227"/>
                  </a:lnTo>
                  <a:lnTo>
                    <a:pt x="3202" y="1218"/>
                  </a:lnTo>
                  <a:lnTo>
                    <a:pt x="3172" y="1217"/>
                  </a:lnTo>
                  <a:lnTo>
                    <a:pt x="3089" y="1222"/>
                  </a:lnTo>
                  <a:lnTo>
                    <a:pt x="2988" y="1252"/>
                  </a:lnTo>
                  <a:lnTo>
                    <a:pt x="2934" y="1273"/>
                  </a:lnTo>
                  <a:lnTo>
                    <a:pt x="2900" y="1282"/>
                  </a:lnTo>
                  <a:lnTo>
                    <a:pt x="2753" y="1273"/>
                  </a:lnTo>
                  <a:lnTo>
                    <a:pt x="2588" y="1254"/>
                  </a:lnTo>
                  <a:lnTo>
                    <a:pt x="2551" y="1251"/>
                  </a:lnTo>
                  <a:lnTo>
                    <a:pt x="2519" y="1258"/>
                  </a:lnTo>
                  <a:lnTo>
                    <a:pt x="2449" y="1285"/>
                  </a:lnTo>
                  <a:lnTo>
                    <a:pt x="2416" y="1288"/>
                  </a:lnTo>
                  <a:lnTo>
                    <a:pt x="2385" y="1273"/>
                  </a:lnTo>
                  <a:lnTo>
                    <a:pt x="2348" y="1254"/>
                  </a:lnTo>
                  <a:lnTo>
                    <a:pt x="2304" y="1245"/>
                  </a:lnTo>
                  <a:lnTo>
                    <a:pt x="2264" y="1243"/>
                  </a:lnTo>
                  <a:lnTo>
                    <a:pt x="2234" y="1248"/>
                  </a:lnTo>
                  <a:lnTo>
                    <a:pt x="2171" y="1243"/>
                  </a:lnTo>
                  <a:lnTo>
                    <a:pt x="2116" y="1233"/>
                  </a:lnTo>
                  <a:lnTo>
                    <a:pt x="2094" y="1231"/>
                  </a:lnTo>
                  <a:lnTo>
                    <a:pt x="2053" y="1237"/>
                  </a:lnTo>
                  <a:lnTo>
                    <a:pt x="2013" y="1228"/>
                  </a:lnTo>
                  <a:lnTo>
                    <a:pt x="1970" y="1206"/>
                  </a:lnTo>
                  <a:lnTo>
                    <a:pt x="1929" y="1187"/>
                  </a:lnTo>
                  <a:lnTo>
                    <a:pt x="1912" y="1185"/>
                  </a:lnTo>
                  <a:lnTo>
                    <a:pt x="1899" y="1191"/>
                  </a:lnTo>
                  <a:lnTo>
                    <a:pt x="1850" y="1246"/>
                  </a:lnTo>
                  <a:lnTo>
                    <a:pt x="1818" y="1270"/>
                  </a:lnTo>
                  <a:lnTo>
                    <a:pt x="1777" y="1279"/>
                  </a:lnTo>
                  <a:lnTo>
                    <a:pt x="1512" y="1242"/>
                  </a:lnTo>
                  <a:lnTo>
                    <a:pt x="1471" y="1221"/>
                  </a:lnTo>
                  <a:lnTo>
                    <a:pt x="1436" y="1209"/>
                  </a:lnTo>
                  <a:lnTo>
                    <a:pt x="1383" y="1206"/>
                  </a:lnTo>
                  <a:lnTo>
                    <a:pt x="1340" y="1203"/>
                  </a:lnTo>
                  <a:lnTo>
                    <a:pt x="1317" y="1196"/>
                  </a:lnTo>
                  <a:lnTo>
                    <a:pt x="1291" y="1199"/>
                  </a:lnTo>
                  <a:lnTo>
                    <a:pt x="1241" y="1222"/>
                  </a:lnTo>
                  <a:lnTo>
                    <a:pt x="1182" y="1251"/>
                  </a:lnTo>
                  <a:lnTo>
                    <a:pt x="1141" y="1260"/>
                  </a:lnTo>
                  <a:lnTo>
                    <a:pt x="1052" y="1263"/>
                  </a:lnTo>
                  <a:lnTo>
                    <a:pt x="949" y="1267"/>
                  </a:lnTo>
                  <a:lnTo>
                    <a:pt x="902" y="1263"/>
                  </a:lnTo>
                  <a:lnTo>
                    <a:pt x="851" y="1248"/>
                  </a:lnTo>
                  <a:lnTo>
                    <a:pt x="765" y="1196"/>
                  </a:lnTo>
                  <a:lnTo>
                    <a:pt x="730" y="1179"/>
                  </a:lnTo>
                  <a:lnTo>
                    <a:pt x="712" y="1179"/>
                  </a:lnTo>
                  <a:lnTo>
                    <a:pt x="692" y="1185"/>
                  </a:lnTo>
                  <a:lnTo>
                    <a:pt x="636" y="1220"/>
                  </a:lnTo>
                  <a:lnTo>
                    <a:pt x="608" y="1230"/>
                  </a:lnTo>
                  <a:lnTo>
                    <a:pt x="561" y="1237"/>
                  </a:lnTo>
                  <a:lnTo>
                    <a:pt x="505" y="1234"/>
                  </a:lnTo>
                  <a:lnTo>
                    <a:pt x="454" y="1224"/>
                  </a:lnTo>
                  <a:lnTo>
                    <a:pt x="408" y="1214"/>
                  </a:lnTo>
                  <a:lnTo>
                    <a:pt x="364" y="1212"/>
                  </a:lnTo>
                  <a:lnTo>
                    <a:pt x="334" y="1218"/>
                  </a:lnTo>
                  <a:lnTo>
                    <a:pt x="314" y="1227"/>
                  </a:lnTo>
                  <a:lnTo>
                    <a:pt x="292" y="1234"/>
                  </a:lnTo>
                  <a:lnTo>
                    <a:pt x="251" y="1233"/>
                  </a:lnTo>
                  <a:lnTo>
                    <a:pt x="99" y="1200"/>
                  </a:lnTo>
                  <a:lnTo>
                    <a:pt x="0" y="1175"/>
                  </a:lnTo>
                  <a:close/>
                </a:path>
              </a:pathLst>
            </a:custGeom>
            <a:grpFill/>
            <a:ln w="0">
              <a:solidFill>
                <a:srgbClr val="E4E7E7"/>
              </a:solidFill>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a typeface="+mn-ea"/>
                <a:cs typeface="+mn-cs"/>
              </a:endParaRPr>
            </a:p>
          </p:txBody>
        </p:sp>
        <p:sp>
          <p:nvSpPr>
            <p:cNvPr id="14" name="Rectangle 13">
              <a:extLst>
                <a:ext uri="{FF2B5EF4-FFF2-40B4-BE49-F238E27FC236}">
                  <a16:creationId xmlns:a16="http://schemas.microsoft.com/office/drawing/2014/main" id="{3A4EF6E0-B272-42C4-B1FF-7A1D10130F21}"/>
                </a:ext>
              </a:extLst>
            </p:cNvPr>
            <p:cNvSpPr>
              <a:spLocks noChangeArrowheads="1"/>
            </p:cNvSpPr>
            <p:nvPr/>
          </p:nvSpPr>
          <p:spPr bwMode="auto">
            <a:xfrm>
              <a:off x="1749" y="3228"/>
              <a:ext cx="2739" cy="378"/>
            </a:xfrm>
            <a:prstGeom prst="rect">
              <a:avLst/>
            </a:prstGeom>
            <a:grpFill/>
            <a:ln w="0">
              <a:solidFill>
                <a:srgbClr val="E4E7E7"/>
              </a:solidFill>
              <a:miter lim="800000"/>
              <a:headEnd/>
              <a:tailEnd/>
            </a:ln>
            <a:effectLst/>
          </p:spPr>
          <p:txBody>
            <a:bodyPr lIns="45720" rIns="45720"/>
            <a:lstStyle/>
            <a:p>
              <a:pPr marL="0" marR="0" lvl="0" indent="0" algn="l" defTabSz="914400" rtl="0" eaLnBrk="0" fontAlgn="auto" latinLnBrk="0" hangingPunct="0">
                <a:lnSpc>
                  <a:spcPct val="100000"/>
                </a:lnSpc>
                <a:spcBef>
                  <a:spcPct val="0"/>
                </a:spcBef>
                <a:spcAft>
                  <a:spcPts val="0"/>
                </a:spcAft>
                <a:buClr>
                  <a:srgbClr val="000000"/>
                </a:buClr>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Quotation...”</a:t>
              </a:r>
            </a:p>
          </p:txBody>
        </p:sp>
        <p:sp>
          <p:nvSpPr>
            <p:cNvPr id="15" name="Text Box 14">
              <a:extLst>
                <a:ext uri="{FF2B5EF4-FFF2-40B4-BE49-F238E27FC236}">
                  <a16:creationId xmlns:a16="http://schemas.microsoft.com/office/drawing/2014/main" id="{2580E253-D36E-4F72-B2ED-C392EC1C7097}"/>
                </a:ext>
              </a:extLst>
            </p:cNvPr>
            <p:cNvSpPr txBox="1">
              <a:spLocks noChangeArrowheads="1"/>
            </p:cNvSpPr>
            <p:nvPr/>
          </p:nvSpPr>
          <p:spPr bwMode="auto">
            <a:xfrm>
              <a:off x="3641" y="3606"/>
              <a:ext cx="847" cy="164"/>
            </a:xfrm>
            <a:prstGeom prst="rect">
              <a:avLst/>
            </a:prstGeom>
            <a:grpFill/>
            <a:ln w="0">
              <a:solidFill>
                <a:srgbClr val="E4E7E7"/>
              </a:solid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 typeface="Wingdings" pitchFamily="2" charset="2"/>
                <a:buNone/>
                <a:tabLst/>
                <a:defRPr/>
              </a:pPr>
              <a:r>
                <a:rPr kumimoji="0" lang="en-US" sz="1400" b="0" i="1" u="none" strike="noStrike" kern="0" cap="none" spc="0" normalizeH="0" baseline="0" noProof="0">
                  <a:ln>
                    <a:noFill/>
                  </a:ln>
                  <a:solidFill>
                    <a:srgbClr val="000000"/>
                  </a:solidFill>
                  <a:effectLst/>
                  <a:uLnTx/>
                  <a:uFillTx/>
                  <a:ea typeface="+mn-ea"/>
                  <a:cs typeface="+mn-cs"/>
                </a:rPr>
                <a:t>Source</a:t>
              </a:r>
            </a:p>
          </p:txBody>
        </p:sp>
      </p:grpSp>
      <p:sp>
        <p:nvSpPr>
          <p:cNvPr id="16" name="Footer Placeholder 15">
            <a:extLst>
              <a:ext uri="{FF2B5EF4-FFF2-40B4-BE49-F238E27FC236}">
                <a16:creationId xmlns:a16="http://schemas.microsoft.com/office/drawing/2014/main" id="{75070888-9BA1-4DF6-B24D-0B8420FA879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8" name="Slide Number Placeholder 17">
            <a:extLst>
              <a:ext uri="{FF2B5EF4-FFF2-40B4-BE49-F238E27FC236}">
                <a16:creationId xmlns:a16="http://schemas.microsoft.com/office/drawing/2014/main" id="{B891DC72-1E9B-4A1E-A2F6-CEDBBBCC861F}"/>
              </a:ext>
            </a:extLst>
          </p:cNvPr>
          <p:cNvSpPr>
            <a:spLocks noGrp="1"/>
          </p:cNvSpPr>
          <p:nvPr>
            <p:ph type="sldNum" sz="quarter" idx="10"/>
          </p:nvPr>
        </p:nvSpPr>
        <p:spPr/>
        <p:txBody>
          <a:bodyPr/>
          <a:lstStyle/>
          <a:p>
            <a:fld id="{1F90F471-3972-4120-B8B3-0237DE626C35}" type="slidenum">
              <a:rPr lang="en-US" smtClean="0"/>
              <a:pPr/>
              <a:t>328</a:t>
            </a:fld>
            <a:endParaRPr lang="en-US" dirty="0"/>
          </a:p>
        </p:txBody>
      </p:sp>
    </p:spTree>
    <p:extLst>
      <p:ext uri="{BB962C8B-B14F-4D97-AF65-F5344CB8AC3E}">
        <p14:creationId xmlns:p14="http://schemas.microsoft.com/office/powerpoint/2010/main" val="3098175537"/>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Press Clippings/Quotes 2</a:t>
            </a:r>
            <a:endParaRPr lang="de-DE" dirty="0"/>
          </a:p>
        </p:txBody>
      </p:sp>
      <p:grpSp>
        <p:nvGrpSpPr>
          <p:cNvPr id="4" name="Group 3" descr="clipping">
            <a:extLst>
              <a:ext uri="{FF2B5EF4-FFF2-40B4-BE49-F238E27FC236}">
                <a16:creationId xmlns:a16="http://schemas.microsoft.com/office/drawing/2014/main" id="{0DBEEA65-1468-4534-9D29-FCC03149CBF6}"/>
              </a:ext>
            </a:extLst>
          </p:cNvPr>
          <p:cNvGrpSpPr>
            <a:grpSpLocks/>
          </p:cNvGrpSpPr>
          <p:nvPr/>
        </p:nvGrpSpPr>
        <p:grpSpPr bwMode="auto">
          <a:xfrm>
            <a:off x="3455988" y="1591574"/>
            <a:ext cx="5264150" cy="2484437"/>
            <a:chOff x="1390" y="1488"/>
            <a:chExt cx="3593" cy="1565"/>
          </a:xfrm>
        </p:grpSpPr>
        <p:pic>
          <p:nvPicPr>
            <p:cNvPr id="5" name="Picture 4" descr="Newspaper clipping_Small">
              <a:extLst>
                <a:ext uri="{FF2B5EF4-FFF2-40B4-BE49-F238E27FC236}">
                  <a16:creationId xmlns:a16="http://schemas.microsoft.com/office/drawing/2014/main" id="{F0A810A9-E9C2-43BC-A216-417714BDA6DD}"/>
                </a:ext>
              </a:extLst>
            </p:cNvPr>
            <p:cNvPicPr preferRelativeResize="0">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1390" y="1488"/>
              <a:ext cx="3593" cy="1565"/>
            </a:xfrm>
            <a:prstGeom prst="rect">
              <a:avLst/>
            </a:prstGeom>
            <a:noFill/>
            <a:effectLst/>
          </p:spPr>
        </p:pic>
        <p:sp>
          <p:nvSpPr>
            <p:cNvPr id="6" name="Text Box 5">
              <a:extLst>
                <a:ext uri="{FF2B5EF4-FFF2-40B4-BE49-F238E27FC236}">
                  <a16:creationId xmlns:a16="http://schemas.microsoft.com/office/drawing/2014/main" id="{6AA38318-495A-492F-BC66-C6EB0CF991A9}"/>
                </a:ext>
              </a:extLst>
            </p:cNvPr>
            <p:cNvSpPr txBox="1">
              <a:spLocks noChangeArrowheads="1"/>
            </p:cNvSpPr>
            <p:nvPr/>
          </p:nvSpPr>
          <p:spPr bwMode="auto">
            <a:xfrm rot="21296202">
              <a:off x="2722" y="2091"/>
              <a:ext cx="931" cy="180"/>
            </a:xfrm>
            <a:prstGeom prst="rect">
              <a:avLst/>
            </a:prstGeom>
            <a:noFill/>
            <a:ln w="6350">
              <a:noFill/>
              <a:miter lim="800000"/>
              <a:headEnd/>
              <a:tailEnd/>
            </a:ln>
            <a:effectLst/>
          </p:spPr>
          <p:txBody>
            <a:bodyPr lIns="45720" rIns="45720"/>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mj-lt"/>
                  <a:ea typeface="+mn-ea"/>
                  <a:cs typeface="+mn-cs"/>
                </a:rPr>
                <a:t>Text</a:t>
              </a:r>
            </a:p>
          </p:txBody>
        </p:sp>
        <p:sp>
          <p:nvSpPr>
            <p:cNvPr id="7" name="Text Box 6">
              <a:extLst>
                <a:ext uri="{FF2B5EF4-FFF2-40B4-BE49-F238E27FC236}">
                  <a16:creationId xmlns:a16="http://schemas.microsoft.com/office/drawing/2014/main" id="{D0A84D09-46A7-48CB-B288-42EF5A6A2266}"/>
                </a:ext>
              </a:extLst>
            </p:cNvPr>
            <p:cNvSpPr txBox="1">
              <a:spLocks noChangeArrowheads="1"/>
            </p:cNvSpPr>
            <p:nvPr/>
          </p:nvSpPr>
          <p:spPr bwMode="auto">
            <a:xfrm rot="-303798">
              <a:off x="3887" y="2545"/>
              <a:ext cx="670" cy="142"/>
            </a:xfrm>
            <a:prstGeom prst="rect">
              <a:avLst/>
            </a:prstGeom>
            <a:noFill/>
            <a:ln w="6350">
              <a:noFill/>
              <a:miter lim="800000"/>
              <a:headEnd/>
              <a:tailEnd/>
            </a:ln>
            <a:effectLst/>
          </p:spPr>
          <p:txBody>
            <a:bodyPr lIns="45720" rIns="45720"/>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mj-lt"/>
                  <a:ea typeface="+mn-ea"/>
                  <a:cs typeface="+mn-cs"/>
                </a:rPr>
                <a:t>Source</a:t>
              </a:r>
            </a:p>
          </p:txBody>
        </p:sp>
      </p:grpSp>
      <p:sp>
        <p:nvSpPr>
          <p:cNvPr id="8" name="Footer Placeholder 7">
            <a:extLst>
              <a:ext uri="{FF2B5EF4-FFF2-40B4-BE49-F238E27FC236}">
                <a16:creationId xmlns:a16="http://schemas.microsoft.com/office/drawing/2014/main" id="{7B9A9849-35FB-42B9-AFAA-4C3CB9A752A4}"/>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0" name="Slide Number Placeholder 9">
            <a:extLst>
              <a:ext uri="{FF2B5EF4-FFF2-40B4-BE49-F238E27FC236}">
                <a16:creationId xmlns:a16="http://schemas.microsoft.com/office/drawing/2014/main" id="{469C6564-946B-441F-8817-E7713BCA4D14}"/>
              </a:ext>
            </a:extLst>
          </p:cNvPr>
          <p:cNvSpPr>
            <a:spLocks noGrp="1"/>
          </p:cNvSpPr>
          <p:nvPr>
            <p:ph type="sldNum" sz="quarter" idx="10"/>
          </p:nvPr>
        </p:nvSpPr>
        <p:spPr/>
        <p:txBody>
          <a:bodyPr/>
          <a:lstStyle/>
          <a:p>
            <a:fld id="{1F90F471-3972-4120-B8B3-0237DE626C35}" type="slidenum">
              <a:rPr lang="en-US" smtClean="0"/>
              <a:pPr/>
              <a:t>329</a:t>
            </a:fld>
            <a:endParaRPr lang="en-US" dirty="0"/>
          </a:p>
        </p:txBody>
      </p:sp>
    </p:spTree>
    <p:extLst>
      <p:ext uri="{BB962C8B-B14F-4D97-AF65-F5344CB8AC3E}">
        <p14:creationId xmlns:p14="http://schemas.microsoft.com/office/powerpoint/2010/main" val="1142016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ll informative images must include a description for screen readers. All informative images must include a description for screen readers. If descriptive information is available in nearby text, it should not be repeated in the alt text for an image.">
            <a:extLst>
              <a:ext uri="{FF2B5EF4-FFF2-40B4-BE49-F238E27FC236}">
                <a16:creationId xmlns:a16="http://schemas.microsoft.com/office/drawing/2014/main" id="{C352B51E-7686-424D-80D1-A65C01F66947}"/>
              </a:ext>
            </a:extLst>
          </p:cNvPr>
          <p:cNvPicPr>
            <a:picLocks noGrp="1" noChangeAspect="1"/>
          </p:cNvPicPr>
          <p:nvPr>
            <p:ph type="pic" sz="quarter" idx="10"/>
          </p:nvPr>
        </p:nvPicPr>
        <p:blipFill>
          <a:blip r:embed="rId3"/>
          <a:srcRect l="143" r="143"/>
          <a:stretch>
            <a:fillRect/>
          </a:stretch>
        </p:blipFill>
        <p:spPr/>
      </p:pic>
      <p:sp>
        <p:nvSpPr>
          <p:cNvPr id="3" name="Title 2">
            <a:extLst>
              <a:ext uri="{FF2B5EF4-FFF2-40B4-BE49-F238E27FC236}">
                <a16:creationId xmlns:a16="http://schemas.microsoft.com/office/drawing/2014/main" id="{5CC5E765-06D2-4B63-9773-6017E4EE8B41}"/>
              </a:ext>
            </a:extLst>
          </p:cNvPr>
          <p:cNvSpPr>
            <a:spLocks noGrp="1"/>
          </p:cNvSpPr>
          <p:nvPr>
            <p:ph type="ctrTitle"/>
          </p:nvPr>
        </p:nvSpPr>
        <p:spPr/>
        <p:txBody>
          <a:bodyPr/>
          <a:lstStyle/>
          <a:p>
            <a:r>
              <a:rPr lang="en-GB" dirty="0"/>
              <a:t>Place presentation title here 48pt</a:t>
            </a:r>
            <a:endParaRPr lang="en-US" dirty="0"/>
          </a:p>
        </p:txBody>
      </p:sp>
      <p:sp>
        <p:nvSpPr>
          <p:cNvPr id="4" name="Subtitle 3">
            <a:extLst>
              <a:ext uri="{FF2B5EF4-FFF2-40B4-BE49-F238E27FC236}">
                <a16:creationId xmlns:a16="http://schemas.microsoft.com/office/drawing/2014/main" id="{5429B8AD-F201-4F3B-AC52-2B7BD13C322F}"/>
              </a:ext>
            </a:extLst>
          </p:cNvPr>
          <p:cNvSpPr>
            <a:spLocks noGrp="1"/>
          </p:cNvSpPr>
          <p:nvPr>
            <p:ph type="subTitle" idx="1"/>
          </p:nvPr>
        </p:nvSpPr>
        <p:spPr/>
        <p:txBody>
          <a:bodyPr/>
          <a:lstStyle/>
          <a:p>
            <a:r>
              <a:rPr lang="en-GB" dirty="0"/>
              <a:t>Place subtitle here in GT Sectra Fine </a:t>
            </a:r>
            <a:r>
              <a:rPr lang="en-GB" dirty="0" err="1"/>
              <a:t>Rg</a:t>
            </a:r>
            <a:r>
              <a:rPr lang="en-GB" dirty="0"/>
              <a:t> 24pt</a:t>
            </a:r>
            <a:endParaRPr lang="en-US" dirty="0"/>
          </a:p>
        </p:txBody>
      </p:sp>
      <p:sp>
        <p:nvSpPr>
          <p:cNvPr id="5" name="Text Placeholder 4">
            <a:extLst>
              <a:ext uri="{FF2B5EF4-FFF2-40B4-BE49-F238E27FC236}">
                <a16:creationId xmlns:a16="http://schemas.microsoft.com/office/drawing/2014/main" id="{F769FA00-A43D-4BBF-89F9-1E631B348715}"/>
              </a:ext>
            </a:extLst>
          </p:cNvPr>
          <p:cNvSpPr>
            <a:spLocks noGrp="1"/>
          </p:cNvSpPr>
          <p:nvPr>
            <p:ph type="body" sz="quarter" idx="12"/>
          </p:nvPr>
        </p:nvSpPr>
        <p:spPr/>
        <p:txBody>
          <a:bodyPr/>
          <a:lstStyle/>
          <a:p>
            <a:r>
              <a:rPr lang="en-US" dirty="0"/>
              <a:t>Presenter 14pt</a:t>
            </a:r>
          </a:p>
        </p:txBody>
      </p:sp>
      <p:sp>
        <p:nvSpPr>
          <p:cNvPr id="6" name="Picture Placeholder 5" descr="Add client logo">
            <a:extLst>
              <a:ext uri="{FF2B5EF4-FFF2-40B4-BE49-F238E27FC236}">
                <a16:creationId xmlns:a16="http://schemas.microsoft.com/office/drawing/2014/main" id="{32D536D5-3B9F-41A2-BD3A-920DFF40D0A2}"/>
              </a:ext>
            </a:extLst>
          </p:cNvPr>
          <p:cNvSpPr>
            <a:spLocks noGrp="1"/>
          </p:cNvSpPr>
          <p:nvPr>
            <p:ph type="pic" sz="quarter" idx="13"/>
          </p:nvPr>
        </p:nvSpPr>
        <p:spPr/>
        <p:txBody>
          <a:bodyPr/>
          <a:lstStyle/>
          <a:p>
            <a:endParaRPr lang="fr-FR"/>
          </a:p>
        </p:txBody>
      </p:sp>
      <p:pic>
        <p:nvPicPr>
          <p:cNvPr id="9" name="Graphic 8">
            <a:extLst>
              <a:ext uri="{FF2B5EF4-FFF2-40B4-BE49-F238E27FC236}">
                <a16:creationId xmlns:a16="http://schemas.microsoft.com/office/drawing/2014/main" id="{F36E7BFF-9B64-406E-A35A-4BAABBD336A1}"/>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2636" y="382725"/>
            <a:ext cx="641502" cy="704088"/>
          </a:xfrm>
          <a:prstGeom prst="rect">
            <a:avLst/>
          </a:prstGeom>
        </p:spPr>
      </p:pic>
    </p:spTree>
    <p:extLst>
      <p:ext uri="{BB962C8B-B14F-4D97-AF65-F5344CB8AC3E}">
        <p14:creationId xmlns:p14="http://schemas.microsoft.com/office/powerpoint/2010/main" val="246104573"/>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Summary Points 1</a:t>
            </a:r>
            <a:endParaRPr lang="de-DE" dirty="0"/>
          </a:p>
        </p:txBody>
      </p:sp>
      <p:sp>
        <p:nvSpPr>
          <p:cNvPr id="13" name="Rectangle 4">
            <a:extLst>
              <a:ext uri="{FF2B5EF4-FFF2-40B4-BE49-F238E27FC236}">
                <a16:creationId xmlns:a16="http://schemas.microsoft.com/office/drawing/2014/main" id="{421E2A7D-F17D-455D-887C-D23E9A0752A6}"/>
              </a:ext>
              <a:ext uri="{C183D7F6-B498-43B3-948B-1728B52AA6E4}">
                <adec:decorative xmlns:adec="http://schemas.microsoft.com/office/drawing/2017/decorative" val="1"/>
              </a:ext>
            </a:extLst>
          </p:cNvPr>
          <p:cNvSpPr>
            <a:spLocks noChangeArrowheads="1"/>
          </p:cNvSpPr>
          <p:nvPr/>
        </p:nvSpPr>
        <p:spPr bwMode="auto">
          <a:xfrm>
            <a:off x="1828800" y="1360464"/>
            <a:ext cx="2003316" cy="3976712"/>
          </a:xfrm>
          <a:prstGeom prst="rect">
            <a:avLst/>
          </a:prstGeom>
          <a:pattFill prst="dkUpDiag">
            <a:fgClr>
              <a:schemeClr val="accent1">
                <a:lumMod val="20000"/>
                <a:lumOff val="80000"/>
              </a:schemeClr>
            </a:fgClr>
            <a:bgClr>
              <a:schemeClr val="bg1"/>
            </a:bgClr>
          </a:pattFill>
          <a:ln w="6350">
            <a:noFill/>
            <a:miter lim="800000"/>
            <a:headEnd/>
            <a:tailEnd/>
          </a:ln>
          <a:effectLst/>
        </p:spPr>
        <p:txBody>
          <a:bodyPr wrap="none" lIns="45720" rIns="45720"/>
          <a:lstStyle/>
          <a:p>
            <a:endParaRPr lang="en-US"/>
          </a:p>
        </p:txBody>
      </p:sp>
      <p:sp>
        <p:nvSpPr>
          <p:cNvPr id="17" name="AutoShape 5">
            <a:extLst>
              <a:ext uri="{FF2B5EF4-FFF2-40B4-BE49-F238E27FC236}">
                <a16:creationId xmlns:a16="http://schemas.microsoft.com/office/drawing/2014/main" id="{7F7B9592-E16A-4FE1-A5C2-2B55EF68B088}"/>
              </a:ext>
            </a:extLst>
          </p:cNvPr>
          <p:cNvSpPr>
            <a:spLocks noChangeArrowheads="1"/>
          </p:cNvSpPr>
          <p:nvPr/>
        </p:nvSpPr>
        <p:spPr bwMode="auto">
          <a:xfrm>
            <a:off x="2270235" y="1591489"/>
            <a:ext cx="2155715" cy="748373"/>
          </a:xfrm>
          <a:prstGeom prst="homePlate">
            <a:avLst>
              <a:gd name="adj" fmla="val 27116"/>
            </a:avLst>
          </a:prstGeom>
          <a:solidFill>
            <a:schemeClr val="accent3"/>
          </a:solidFill>
          <a:ln w="6350">
            <a:noFill/>
            <a:miter lim="800000"/>
            <a:headEnd/>
            <a:tailEnd/>
          </a:ln>
        </p:spPr>
        <p:txBody>
          <a:bodyPr lIns="72000" tIns="144000" rIns="72000" bIns="72000" anchor="ctr" anchorCtr="0"/>
          <a:lstStyle/>
          <a:p>
            <a:pPr algn="ctr" eaLnBrk="0" hangingPunct="0">
              <a:lnSpc>
                <a:spcPct val="85000"/>
              </a:lnSpc>
              <a:spcBef>
                <a:spcPts val="100"/>
              </a:spcBef>
              <a:spcAft>
                <a:spcPts val="300"/>
              </a:spcAft>
            </a:pPr>
            <a:r>
              <a:rPr lang="en-GB" b="1" cap="all" dirty="0">
                <a:solidFill>
                  <a:schemeClr val="bg1"/>
                </a:solidFill>
                <a:latin typeface="+mj-lt"/>
              </a:rPr>
              <a:t>Part 1</a:t>
            </a:r>
          </a:p>
        </p:txBody>
      </p:sp>
      <p:sp>
        <p:nvSpPr>
          <p:cNvPr id="15" name="Rectangle 4">
            <a:extLst>
              <a:ext uri="{FF2B5EF4-FFF2-40B4-BE49-F238E27FC236}">
                <a16:creationId xmlns:a16="http://schemas.microsoft.com/office/drawing/2014/main" id="{105DA45E-AB8F-455C-A8CB-D4D89E0AB8B3}"/>
              </a:ext>
            </a:extLst>
          </p:cNvPr>
          <p:cNvSpPr>
            <a:spLocks noChangeArrowheads="1"/>
          </p:cNvSpPr>
          <p:nvPr/>
        </p:nvSpPr>
        <p:spPr bwMode="auto">
          <a:xfrm>
            <a:off x="4886435" y="1591489"/>
            <a:ext cx="5486400" cy="748373"/>
          </a:xfrm>
          <a:prstGeom prst="rect">
            <a:avLst/>
          </a:prstGeom>
          <a:noFill/>
          <a:ln w="6350">
            <a:noFill/>
            <a:miter lim="800000"/>
            <a:headEnd/>
            <a:tailEnd/>
          </a:ln>
        </p:spPr>
        <p:txBody>
          <a:bodyPr lIns="0" tIns="72000" rIns="72000" bIns="72000" anchor="ctr" anchorCtr="0"/>
          <a:lstStyle/>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p:txBody>
      </p:sp>
      <p:sp>
        <p:nvSpPr>
          <p:cNvPr id="23" name="AutoShape 5">
            <a:extLst>
              <a:ext uri="{FF2B5EF4-FFF2-40B4-BE49-F238E27FC236}">
                <a16:creationId xmlns:a16="http://schemas.microsoft.com/office/drawing/2014/main" id="{363C5A5D-5D2B-4D09-9668-080971433B5E}"/>
              </a:ext>
            </a:extLst>
          </p:cNvPr>
          <p:cNvSpPr>
            <a:spLocks noChangeArrowheads="1"/>
          </p:cNvSpPr>
          <p:nvPr/>
        </p:nvSpPr>
        <p:spPr bwMode="auto">
          <a:xfrm>
            <a:off x="2270235" y="2502966"/>
            <a:ext cx="2155715" cy="748373"/>
          </a:xfrm>
          <a:prstGeom prst="homePlate">
            <a:avLst>
              <a:gd name="adj" fmla="val 27116"/>
            </a:avLst>
          </a:prstGeom>
          <a:solidFill>
            <a:schemeClr val="accent3"/>
          </a:solidFill>
          <a:ln w="6350">
            <a:noFill/>
            <a:miter lim="800000"/>
            <a:headEnd/>
            <a:tailEnd/>
          </a:ln>
        </p:spPr>
        <p:txBody>
          <a:bodyPr lIns="72000" tIns="144000" rIns="72000" bIns="72000" anchor="ctr" anchorCtr="0"/>
          <a:lstStyle/>
          <a:p>
            <a:pPr algn="ctr" eaLnBrk="0" hangingPunct="0">
              <a:lnSpc>
                <a:spcPct val="85000"/>
              </a:lnSpc>
              <a:spcBef>
                <a:spcPts val="100"/>
              </a:spcBef>
              <a:spcAft>
                <a:spcPts val="300"/>
              </a:spcAft>
            </a:pPr>
            <a:r>
              <a:rPr lang="en-GB" b="1" cap="all" dirty="0">
                <a:solidFill>
                  <a:schemeClr val="bg1"/>
                </a:solidFill>
                <a:latin typeface="+mj-lt"/>
              </a:rPr>
              <a:t>Part 2</a:t>
            </a:r>
          </a:p>
        </p:txBody>
      </p:sp>
      <p:sp>
        <p:nvSpPr>
          <p:cNvPr id="19" name="Rectangle 4">
            <a:extLst>
              <a:ext uri="{FF2B5EF4-FFF2-40B4-BE49-F238E27FC236}">
                <a16:creationId xmlns:a16="http://schemas.microsoft.com/office/drawing/2014/main" id="{37E3B8E3-EBB5-4F82-B31C-D1E25F173088}"/>
              </a:ext>
            </a:extLst>
          </p:cNvPr>
          <p:cNvSpPr>
            <a:spLocks noChangeArrowheads="1"/>
          </p:cNvSpPr>
          <p:nvPr/>
        </p:nvSpPr>
        <p:spPr bwMode="auto">
          <a:xfrm>
            <a:off x="4886435" y="2502966"/>
            <a:ext cx="5486400" cy="748373"/>
          </a:xfrm>
          <a:prstGeom prst="rect">
            <a:avLst/>
          </a:prstGeom>
          <a:noFill/>
          <a:ln w="6350">
            <a:noFill/>
            <a:miter lim="800000"/>
            <a:headEnd/>
            <a:tailEnd/>
          </a:ln>
        </p:spPr>
        <p:txBody>
          <a:bodyPr lIns="0" tIns="72000" rIns="72000" bIns="72000" anchor="ctr" anchorCtr="0"/>
          <a:lstStyle/>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p:txBody>
      </p:sp>
      <p:sp>
        <p:nvSpPr>
          <p:cNvPr id="27" name="AutoShape 5">
            <a:extLst>
              <a:ext uri="{FF2B5EF4-FFF2-40B4-BE49-F238E27FC236}">
                <a16:creationId xmlns:a16="http://schemas.microsoft.com/office/drawing/2014/main" id="{8185A3BF-D18E-4BA2-962D-C622BE145D59}"/>
              </a:ext>
            </a:extLst>
          </p:cNvPr>
          <p:cNvSpPr>
            <a:spLocks noChangeArrowheads="1"/>
          </p:cNvSpPr>
          <p:nvPr/>
        </p:nvSpPr>
        <p:spPr bwMode="auto">
          <a:xfrm>
            <a:off x="2279760" y="3414441"/>
            <a:ext cx="2155715" cy="748373"/>
          </a:xfrm>
          <a:prstGeom prst="homePlate">
            <a:avLst>
              <a:gd name="adj" fmla="val 27116"/>
            </a:avLst>
          </a:prstGeom>
          <a:solidFill>
            <a:schemeClr val="accent3"/>
          </a:solidFill>
          <a:ln w="6350">
            <a:noFill/>
            <a:miter lim="800000"/>
            <a:headEnd/>
            <a:tailEnd/>
          </a:ln>
        </p:spPr>
        <p:txBody>
          <a:bodyPr lIns="72000" tIns="144000" rIns="72000" bIns="72000" anchor="ctr" anchorCtr="0"/>
          <a:lstStyle/>
          <a:p>
            <a:pPr algn="ctr" eaLnBrk="0" hangingPunct="0">
              <a:lnSpc>
                <a:spcPct val="85000"/>
              </a:lnSpc>
              <a:spcBef>
                <a:spcPts val="100"/>
              </a:spcBef>
              <a:spcAft>
                <a:spcPts val="300"/>
              </a:spcAft>
            </a:pPr>
            <a:r>
              <a:rPr lang="en-GB" b="1" cap="all" dirty="0">
                <a:solidFill>
                  <a:schemeClr val="bg1"/>
                </a:solidFill>
                <a:latin typeface="+mj-lt"/>
              </a:rPr>
              <a:t>Part 3</a:t>
            </a:r>
          </a:p>
        </p:txBody>
      </p:sp>
      <p:sp>
        <p:nvSpPr>
          <p:cNvPr id="25" name="Rectangle 4">
            <a:extLst>
              <a:ext uri="{FF2B5EF4-FFF2-40B4-BE49-F238E27FC236}">
                <a16:creationId xmlns:a16="http://schemas.microsoft.com/office/drawing/2014/main" id="{4BA32157-D955-4750-8287-6645ACD7156C}"/>
              </a:ext>
            </a:extLst>
          </p:cNvPr>
          <p:cNvSpPr>
            <a:spLocks noChangeArrowheads="1"/>
          </p:cNvSpPr>
          <p:nvPr/>
        </p:nvSpPr>
        <p:spPr bwMode="auto">
          <a:xfrm>
            <a:off x="4895960" y="3414441"/>
            <a:ext cx="5486400" cy="748373"/>
          </a:xfrm>
          <a:prstGeom prst="rect">
            <a:avLst/>
          </a:prstGeom>
          <a:noFill/>
          <a:ln w="6350">
            <a:noFill/>
            <a:miter lim="800000"/>
            <a:headEnd/>
            <a:tailEnd/>
          </a:ln>
        </p:spPr>
        <p:txBody>
          <a:bodyPr lIns="0" tIns="72000" rIns="72000" bIns="72000" anchor="ctr" anchorCtr="0"/>
          <a:lstStyle/>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p:txBody>
      </p:sp>
      <p:sp>
        <p:nvSpPr>
          <p:cNvPr id="31" name="AutoShape 5">
            <a:extLst>
              <a:ext uri="{FF2B5EF4-FFF2-40B4-BE49-F238E27FC236}">
                <a16:creationId xmlns:a16="http://schemas.microsoft.com/office/drawing/2014/main" id="{B05476E0-51B0-4D5D-8312-B34B0D09C818}"/>
              </a:ext>
            </a:extLst>
          </p:cNvPr>
          <p:cNvSpPr>
            <a:spLocks noChangeArrowheads="1"/>
          </p:cNvSpPr>
          <p:nvPr/>
        </p:nvSpPr>
        <p:spPr bwMode="auto">
          <a:xfrm>
            <a:off x="2279760" y="4325918"/>
            <a:ext cx="2155715" cy="748373"/>
          </a:xfrm>
          <a:prstGeom prst="homePlate">
            <a:avLst>
              <a:gd name="adj" fmla="val 27116"/>
            </a:avLst>
          </a:prstGeom>
          <a:solidFill>
            <a:schemeClr val="accent3"/>
          </a:solidFill>
          <a:ln w="6350">
            <a:noFill/>
            <a:miter lim="800000"/>
            <a:headEnd/>
            <a:tailEnd/>
          </a:ln>
        </p:spPr>
        <p:txBody>
          <a:bodyPr lIns="72000" tIns="144000" rIns="72000" bIns="72000" anchor="ctr" anchorCtr="0"/>
          <a:lstStyle/>
          <a:p>
            <a:pPr algn="ctr" eaLnBrk="0" hangingPunct="0">
              <a:lnSpc>
                <a:spcPct val="85000"/>
              </a:lnSpc>
              <a:spcBef>
                <a:spcPts val="100"/>
              </a:spcBef>
              <a:spcAft>
                <a:spcPts val="300"/>
              </a:spcAft>
            </a:pPr>
            <a:r>
              <a:rPr lang="en-GB" b="1" cap="all" dirty="0">
                <a:solidFill>
                  <a:schemeClr val="bg1"/>
                </a:solidFill>
                <a:latin typeface="+mj-lt"/>
              </a:rPr>
              <a:t>Part 4</a:t>
            </a:r>
          </a:p>
        </p:txBody>
      </p:sp>
      <p:sp>
        <p:nvSpPr>
          <p:cNvPr id="29" name="Rectangle 4">
            <a:extLst>
              <a:ext uri="{FF2B5EF4-FFF2-40B4-BE49-F238E27FC236}">
                <a16:creationId xmlns:a16="http://schemas.microsoft.com/office/drawing/2014/main" id="{A7153B57-60B7-436F-8394-267CA40B6C37}"/>
              </a:ext>
            </a:extLst>
          </p:cNvPr>
          <p:cNvSpPr>
            <a:spLocks noChangeArrowheads="1"/>
          </p:cNvSpPr>
          <p:nvPr/>
        </p:nvSpPr>
        <p:spPr bwMode="auto">
          <a:xfrm>
            <a:off x="4895960" y="4325918"/>
            <a:ext cx="5486400" cy="748373"/>
          </a:xfrm>
          <a:prstGeom prst="rect">
            <a:avLst/>
          </a:prstGeom>
          <a:noFill/>
          <a:ln w="6350">
            <a:noFill/>
            <a:miter lim="800000"/>
            <a:headEnd/>
            <a:tailEnd/>
          </a:ln>
        </p:spPr>
        <p:txBody>
          <a:bodyPr lIns="0" tIns="72000" rIns="72000" bIns="72000" anchor="ctr" anchorCtr="0"/>
          <a:lstStyle/>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p:txBody>
      </p:sp>
      <p:sp>
        <p:nvSpPr>
          <p:cNvPr id="4" name="Footer Placeholder 3">
            <a:extLst>
              <a:ext uri="{FF2B5EF4-FFF2-40B4-BE49-F238E27FC236}">
                <a16:creationId xmlns:a16="http://schemas.microsoft.com/office/drawing/2014/main" id="{5D9BFFFC-AEED-4519-B415-76D77F86F3A8}"/>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B97E9FBD-BD40-456A-B594-EC80AB703C6C}"/>
              </a:ext>
            </a:extLst>
          </p:cNvPr>
          <p:cNvSpPr>
            <a:spLocks noGrp="1"/>
          </p:cNvSpPr>
          <p:nvPr>
            <p:ph type="sldNum" sz="quarter" idx="10"/>
          </p:nvPr>
        </p:nvSpPr>
        <p:spPr/>
        <p:txBody>
          <a:bodyPr/>
          <a:lstStyle/>
          <a:p>
            <a:fld id="{1F90F471-3972-4120-B8B3-0237DE626C35}" type="slidenum">
              <a:rPr lang="en-US" smtClean="0"/>
              <a:pPr/>
              <a:t>330</a:t>
            </a:fld>
            <a:endParaRPr lang="en-US" dirty="0"/>
          </a:p>
        </p:txBody>
      </p:sp>
    </p:spTree>
    <p:extLst>
      <p:ext uri="{BB962C8B-B14F-4D97-AF65-F5344CB8AC3E}">
        <p14:creationId xmlns:p14="http://schemas.microsoft.com/office/powerpoint/2010/main" val="1616787739"/>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Summary Points 2</a:t>
            </a:r>
            <a:endParaRPr lang="de-DE" dirty="0"/>
          </a:p>
        </p:txBody>
      </p:sp>
      <p:grpSp>
        <p:nvGrpSpPr>
          <p:cNvPr id="14" name="Group 13" descr="Summary 1">
            <a:extLst>
              <a:ext uri="{FF2B5EF4-FFF2-40B4-BE49-F238E27FC236}">
                <a16:creationId xmlns:a16="http://schemas.microsoft.com/office/drawing/2014/main" id="{169CB996-EB94-47FB-893F-5DBBABDC57A6}"/>
              </a:ext>
            </a:extLst>
          </p:cNvPr>
          <p:cNvGrpSpPr/>
          <p:nvPr/>
        </p:nvGrpSpPr>
        <p:grpSpPr>
          <a:xfrm>
            <a:off x="1800985" y="1582411"/>
            <a:ext cx="3600000" cy="3754764"/>
            <a:chOff x="1100738" y="1576600"/>
            <a:chExt cx="3600000" cy="4225110"/>
          </a:xfrm>
        </p:grpSpPr>
        <p:sp>
          <p:nvSpPr>
            <p:cNvPr id="15" name="Rectangle 12">
              <a:extLst>
                <a:ext uri="{FF2B5EF4-FFF2-40B4-BE49-F238E27FC236}">
                  <a16:creationId xmlns:a16="http://schemas.microsoft.com/office/drawing/2014/main" id="{0FE5E6BE-498F-46FA-854E-084BB6ADA4BA}"/>
                </a:ext>
              </a:extLst>
            </p:cNvPr>
            <p:cNvSpPr>
              <a:spLocks noChangeArrowheads="1"/>
            </p:cNvSpPr>
            <p:nvPr>
              <p:custDataLst>
                <p:tags r:id="rId3"/>
              </p:custDataLst>
            </p:nvPr>
          </p:nvSpPr>
          <p:spPr bwMode="auto">
            <a:xfrm>
              <a:off x="1100738" y="1576600"/>
              <a:ext cx="3600000" cy="367218"/>
            </a:xfrm>
            <a:prstGeom prst="rect">
              <a:avLst/>
            </a:prstGeom>
            <a:solidFill>
              <a:schemeClr val="accent3"/>
            </a:solidFill>
            <a:ln w="6350">
              <a:noFill/>
              <a:miter lim="800000"/>
              <a:headEnd/>
              <a:tailEnd/>
            </a:ln>
            <a:effectLst/>
          </p:spPr>
          <p:txBody>
            <a:bodyPr wrap="none" lIns="72000" tIns="108000" rIns="72000" bIns="72000" anchor="ctr"/>
            <a:lstStyle/>
            <a:p>
              <a:pPr algn="ctr" eaLnBrk="0" hangingPunct="0">
                <a:lnSpc>
                  <a:spcPct val="85000"/>
                </a:lnSpc>
                <a:spcBef>
                  <a:spcPts val="100"/>
                </a:spcBef>
                <a:spcAft>
                  <a:spcPts val="300"/>
                </a:spcAft>
              </a:pPr>
              <a:r>
                <a:rPr lang="en-US" sz="1600" b="1" dirty="0">
                  <a:solidFill>
                    <a:schemeClr val="bg1"/>
                  </a:solidFill>
                  <a:latin typeface="+mj-lt"/>
                </a:rPr>
                <a:t>Text</a:t>
              </a:r>
            </a:p>
          </p:txBody>
        </p:sp>
        <p:sp>
          <p:nvSpPr>
            <p:cNvPr id="16" name="Rectangle 13">
              <a:extLst>
                <a:ext uri="{FF2B5EF4-FFF2-40B4-BE49-F238E27FC236}">
                  <a16:creationId xmlns:a16="http://schemas.microsoft.com/office/drawing/2014/main" id="{1F0B683A-01D9-41A2-AF8F-23EA8C38217C}"/>
                </a:ext>
              </a:extLst>
            </p:cNvPr>
            <p:cNvSpPr>
              <a:spLocks noChangeArrowheads="1"/>
            </p:cNvSpPr>
            <p:nvPr>
              <p:custDataLst>
                <p:tags r:id="rId4"/>
              </p:custDataLst>
            </p:nvPr>
          </p:nvSpPr>
          <p:spPr bwMode="auto">
            <a:xfrm>
              <a:off x="1100738" y="1943818"/>
              <a:ext cx="3600000" cy="3857892"/>
            </a:xfrm>
            <a:prstGeom prst="rect">
              <a:avLst/>
            </a:prstGeom>
            <a:solidFill>
              <a:schemeClr val="tx2">
                <a:lumMod val="20000"/>
                <a:lumOff val="80000"/>
              </a:schemeClr>
            </a:solidFill>
            <a:ln w="6350">
              <a:noFill/>
              <a:miter lim="800000"/>
              <a:headEnd/>
              <a:tailEnd/>
            </a:ln>
          </p:spPr>
          <p:txBody>
            <a:bodyPr lIns="180000" tIns="144000" rIns="144000" bIns="72000"/>
            <a:lstStyle/>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grpSp>
      <p:grpSp>
        <p:nvGrpSpPr>
          <p:cNvPr id="17" name="Group 16" descr="Summary 2">
            <a:extLst>
              <a:ext uri="{FF2B5EF4-FFF2-40B4-BE49-F238E27FC236}">
                <a16:creationId xmlns:a16="http://schemas.microsoft.com/office/drawing/2014/main" id="{45B4AD1F-6F8F-4232-A8AB-20AA553C085F}"/>
              </a:ext>
            </a:extLst>
          </p:cNvPr>
          <p:cNvGrpSpPr/>
          <p:nvPr/>
        </p:nvGrpSpPr>
        <p:grpSpPr>
          <a:xfrm>
            <a:off x="6772725" y="1582411"/>
            <a:ext cx="3600000" cy="3754764"/>
            <a:chOff x="7144573" y="1582411"/>
            <a:chExt cx="3600000" cy="3754764"/>
          </a:xfrm>
        </p:grpSpPr>
        <p:sp>
          <p:nvSpPr>
            <p:cNvPr id="18" name="Rectangle 14">
              <a:extLst>
                <a:ext uri="{FF2B5EF4-FFF2-40B4-BE49-F238E27FC236}">
                  <a16:creationId xmlns:a16="http://schemas.microsoft.com/office/drawing/2014/main" id="{F32B2610-2493-4F00-80B4-C64E6816FF49}"/>
                </a:ext>
              </a:extLst>
            </p:cNvPr>
            <p:cNvSpPr>
              <a:spLocks noChangeArrowheads="1"/>
            </p:cNvSpPr>
            <p:nvPr>
              <p:custDataLst>
                <p:tags r:id="rId1"/>
              </p:custDataLst>
            </p:nvPr>
          </p:nvSpPr>
          <p:spPr bwMode="auto">
            <a:xfrm>
              <a:off x="7144573" y="1582411"/>
              <a:ext cx="3600000" cy="326339"/>
            </a:xfrm>
            <a:prstGeom prst="rect">
              <a:avLst/>
            </a:prstGeom>
            <a:solidFill>
              <a:schemeClr val="accent1"/>
            </a:solidFill>
            <a:ln w="6350">
              <a:noFill/>
              <a:miter lim="800000"/>
              <a:headEnd/>
              <a:tailEnd/>
            </a:ln>
            <a:effectLst/>
          </p:spPr>
          <p:txBody>
            <a:bodyPr wrap="none" lIns="72000" tIns="108000" rIns="72000" bIns="72000" anchor="ctr"/>
            <a:lstStyle/>
            <a:p>
              <a:pPr algn="ctr" eaLnBrk="0" hangingPunct="0">
                <a:lnSpc>
                  <a:spcPct val="85000"/>
                </a:lnSpc>
                <a:spcBef>
                  <a:spcPts val="100"/>
                </a:spcBef>
                <a:spcAft>
                  <a:spcPts val="300"/>
                </a:spcAft>
              </a:pPr>
              <a:r>
                <a:rPr lang="en-US" sz="1600" b="1" dirty="0">
                  <a:solidFill>
                    <a:schemeClr val="bg1"/>
                  </a:solidFill>
                  <a:latin typeface="+mj-lt"/>
                </a:rPr>
                <a:t>Text</a:t>
              </a:r>
            </a:p>
          </p:txBody>
        </p:sp>
        <p:sp>
          <p:nvSpPr>
            <p:cNvPr id="19" name="Rectangle 15">
              <a:extLst>
                <a:ext uri="{FF2B5EF4-FFF2-40B4-BE49-F238E27FC236}">
                  <a16:creationId xmlns:a16="http://schemas.microsoft.com/office/drawing/2014/main" id="{8994D665-58B0-4748-AFAC-059F83CF0DD7}"/>
                </a:ext>
              </a:extLst>
            </p:cNvPr>
            <p:cNvSpPr>
              <a:spLocks noChangeArrowheads="1"/>
            </p:cNvSpPr>
            <p:nvPr>
              <p:custDataLst>
                <p:tags r:id="rId2"/>
              </p:custDataLst>
            </p:nvPr>
          </p:nvSpPr>
          <p:spPr bwMode="auto">
            <a:xfrm>
              <a:off x="7144573" y="1908751"/>
              <a:ext cx="3600000" cy="3428424"/>
            </a:xfrm>
            <a:prstGeom prst="rect">
              <a:avLst/>
            </a:prstGeom>
            <a:solidFill>
              <a:schemeClr val="tx2">
                <a:lumMod val="20000"/>
                <a:lumOff val="80000"/>
              </a:schemeClr>
            </a:solidFill>
            <a:ln w="6350">
              <a:noFill/>
              <a:miter lim="800000"/>
              <a:headEnd/>
              <a:tailEnd/>
            </a:ln>
          </p:spPr>
          <p:txBody>
            <a:bodyPr lIns="360000" tIns="144000" rIns="144000" bIns="72000"/>
            <a:lstStyle/>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grpSp>
      <p:grpSp>
        <p:nvGrpSpPr>
          <p:cNvPr id="20" name="Group 19">
            <a:extLst>
              <a:ext uri="{FF2B5EF4-FFF2-40B4-BE49-F238E27FC236}">
                <a16:creationId xmlns:a16="http://schemas.microsoft.com/office/drawing/2014/main" id="{FF6539E9-E54D-44F3-8CF5-BBE860DB39CC}"/>
              </a:ext>
              <a:ext uri="{C183D7F6-B498-43B3-948B-1728B52AA6E4}">
                <adec:decorative xmlns:adec="http://schemas.microsoft.com/office/drawing/2017/decorative" val="1"/>
              </a:ext>
            </a:extLst>
          </p:cNvPr>
          <p:cNvGrpSpPr/>
          <p:nvPr/>
        </p:nvGrpSpPr>
        <p:grpSpPr>
          <a:xfrm>
            <a:off x="5428799" y="1908751"/>
            <a:ext cx="1316111" cy="3428426"/>
            <a:chOff x="5428799" y="1908751"/>
            <a:chExt cx="1316111" cy="3428426"/>
          </a:xfrm>
          <a:pattFill prst="dkUpDiag">
            <a:fgClr>
              <a:schemeClr val="tx2"/>
            </a:fgClr>
            <a:bgClr>
              <a:schemeClr val="bg1"/>
            </a:bgClr>
          </a:pattFill>
        </p:grpSpPr>
        <p:sp>
          <p:nvSpPr>
            <p:cNvPr id="22" name="Isosceles Triangle 21">
              <a:extLst>
                <a:ext uri="{FF2B5EF4-FFF2-40B4-BE49-F238E27FC236}">
                  <a16:creationId xmlns:a16="http://schemas.microsoft.com/office/drawing/2014/main" id="{6E49520F-A3FD-4B80-9E84-B96958CF4C6E}"/>
                </a:ext>
              </a:extLst>
            </p:cNvPr>
            <p:cNvSpPr/>
            <p:nvPr/>
          </p:nvSpPr>
          <p:spPr>
            <a:xfrm rot="5400000">
              <a:off x="4048188" y="3289362"/>
              <a:ext cx="3428424" cy="667201"/>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3" name="Isosceles Triangle 22">
              <a:extLst>
                <a:ext uri="{FF2B5EF4-FFF2-40B4-BE49-F238E27FC236}">
                  <a16:creationId xmlns:a16="http://schemas.microsoft.com/office/drawing/2014/main" id="{2E2B116A-5F4A-4A62-88D8-1809C10964E0}"/>
                </a:ext>
              </a:extLst>
            </p:cNvPr>
            <p:cNvSpPr/>
            <p:nvPr/>
          </p:nvSpPr>
          <p:spPr>
            <a:xfrm rot="16200000" flipH="1">
              <a:off x="4697098" y="3289364"/>
              <a:ext cx="3428424" cy="667201"/>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sp>
        <p:nvSpPr>
          <p:cNvPr id="4" name="Footer Placeholder 3">
            <a:extLst>
              <a:ext uri="{FF2B5EF4-FFF2-40B4-BE49-F238E27FC236}">
                <a16:creationId xmlns:a16="http://schemas.microsoft.com/office/drawing/2014/main" id="{CB9B0173-F249-47AF-BC8B-D74B1C85A1AE}"/>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8E0520C7-89F4-406C-802F-F4CDA2928262}"/>
              </a:ext>
            </a:extLst>
          </p:cNvPr>
          <p:cNvSpPr>
            <a:spLocks noGrp="1"/>
          </p:cNvSpPr>
          <p:nvPr>
            <p:ph type="sldNum" sz="quarter" idx="10"/>
          </p:nvPr>
        </p:nvSpPr>
        <p:spPr/>
        <p:txBody>
          <a:bodyPr/>
          <a:lstStyle/>
          <a:p>
            <a:fld id="{1F90F471-3972-4120-B8B3-0237DE626C35}" type="slidenum">
              <a:rPr lang="en-US" smtClean="0"/>
              <a:pPr/>
              <a:t>331</a:t>
            </a:fld>
            <a:endParaRPr lang="en-US" dirty="0"/>
          </a:p>
        </p:txBody>
      </p:sp>
    </p:spTree>
    <p:extLst>
      <p:ext uri="{BB962C8B-B14F-4D97-AF65-F5344CB8AC3E}">
        <p14:creationId xmlns:p14="http://schemas.microsoft.com/office/powerpoint/2010/main" val="1697582413"/>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Summary Points 3</a:t>
            </a:r>
          </a:p>
        </p:txBody>
      </p:sp>
      <p:sp>
        <p:nvSpPr>
          <p:cNvPr id="18" name="TextBox 17">
            <a:extLst>
              <a:ext uri="{FF2B5EF4-FFF2-40B4-BE49-F238E27FC236}">
                <a16:creationId xmlns:a16="http://schemas.microsoft.com/office/drawing/2014/main" id="{4AFA1BDB-8721-41C3-9DAC-275891EF9338}"/>
              </a:ext>
            </a:extLst>
          </p:cNvPr>
          <p:cNvSpPr txBox="1"/>
          <p:nvPr/>
        </p:nvSpPr>
        <p:spPr>
          <a:xfrm>
            <a:off x="1822451" y="1854964"/>
            <a:ext cx="2795263" cy="347663"/>
          </a:xfrm>
          <a:prstGeom prst="rect">
            <a:avLst/>
          </a:prstGeom>
          <a:solidFill>
            <a:schemeClr val="accent3"/>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16" name="Rectangle 15">
            <a:extLst>
              <a:ext uri="{FF2B5EF4-FFF2-40B4-BE49-F238E27FC236}">
                <a16:creationId xmlns:a16="http://schemas.microsoft.com/office/drawing/2014/main" id="{DA02A78B-DAA9-4834-941B-DA7AA913C08C}"/>
              </a:ext>
            </a:extLst>
          </p:cNvPr>
          <p:cNvSpPr/>
          <p:nvPr/>
        </p:nvSpPr>
        <p:spPr>
          <a:xfrm>
            <a:off x="1822452" y="2202626"/>
            <a:ext cx="2795263" cy="2209801"/>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24" name="TextBox 23">
            <a:extLst>
              <a:ext uri="{FF2B5EF4-FFF2-40B4-BE49-F238E27FC236}">
                <a16:creationId xmlns:a16="http://schemas.microsoft.com/office/drawing/2014/main" id="{B97FE8EE-B80A-4024-A6CF-A5B41C526AF9}"/>
              </a:ext>
            </a:extLst>
          </p:cNvPr>
          <p:cNvSpPr txBox="1"/>
          <p:nvPr/>
        </p:nvSpPr>
        <p:spPr>
          <a:xfrm>
            <a:off x="4695195" y="1854964"/>
            <a:ext cx="2795263" cy="347663"/>
          </a:xfrm>
          <a:prstGeom prst="rect">
            <a:avLst/>
          </a:prstGeom>
          <a:solidFill>
            <a:schemeClr val="accent3"/>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20" name="Rectangle 19">
            <a:extLst>
              <a:ext uri="{FF2B5EF4-FFF2-40B4-BE49-F238E27FC236}">
                <a16:creationId xmlns:a16="http://schemas.microsoft.com/office/drawing/2014/main" id="{CE8E185E-FCFF-45FD-B0C4-8B31055AC4E0}"/>
              </a:ext>
            </a:extLst>
          </p:cNvPr>
          <p:cNvSpPr/>
          <p:nvPr/>
        </p:nvSpPr>
        <p:spPr>
          <a:xfrm>
            <a:off x="4695195" y="2202626"/>
            <a:ext cx="2795263" cy="2209801"/>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28" name="TextBox 27">
            <a:extLst>
              <a:ext uri="{FF2B5EF4-FFF2-40B4-BE49-F238E27FC236}">
                <a16:creationId xmlns:a16="http://schemas.microsoft.com/office/drawing/2014/main" id="{63E36FB8-E4A3-4875-B5CC-0DF9440C3F7D}"/>
              </a:ext>
            </a:extLst>
          </p:cNvPr>
          <p:cNvSpPr txBox="1"/>
          <p:nvPr/>
        </p:nvSpPr>
        <p:spPr>
          <a:xfrm>
            <a:off x="7567938" y="1854964"/>
            <a:ext cx="2795263" cy="347663"/>
          </a:xfrm>
          <a:prstGeom prst="rect">
            <a:avLst/>
          </a:prstGeom>
          <a:solidFill>
            <a:schemeClr val="accent3"/>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26" name="Rectangle 25">
            <a:extLst>
              <a:ext uri="{FF2B5EF4-FFF2-40B4-BE49-F238E27FC236}">
                <a16:creationId xmlns:a16="http://schemas.microsoft.com/office/drawing/2014/main" id="{CADF25CC-A20A-43BF-8067-E3AE19E2DFA1}"/>
              </a:ext>
            </a:extLst>
          </p:cNvPr>
          <p:cNvSpPr/>
          <p:nvPr/>
        </p:nvSpPr>
        <p:spPr>
          <a:xfrm>
            <a:off x="7567938" y="2202626"/>
            <a:ext cx="2795263" cy="2209801"/>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12" name="Arrow: Chevron 11">
            <a:extLst>
              <a:ext uri="{FF2B5EF4-FFF2-40B4-BE49-F238E27FC236}">
                <a16:creationId xmlns:a16="http://schemas.microsoft.com/office/drawing/2014/main" id="{99C7484F-4960-473C-AE60-556B6C773A3E}"/>
              </a:ext>
              <a:ext uri="{C183D7F6-B498-43B3-948B-1728B52AA6E4}">
                <adec:decorative xmlns:adec="http://schemas.microsoft.com/office/drawing/2017/decorative" val="1"/>
              </a:ext>
            </a:extLst>
          </p:cNvPr>
          <p:cNvSpPr/>
          <p:nvPr/>
        </p:nvSpPr>
        <p:spPr>
          <a:xfrm rot="5400000">
            <a:off x="5807788" y="4483077"/>
            <a:ext cx="570072" cy="783447"/>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14" name="TextBox 13">
            <a:extLst>
              <a:ext uri="{FF2B5EF4-FFF2-40B4-BE49-F238E27FC236}">
                <a16:creationId xmlns:a16="http://schemas.microsoft.com/office/drawing/2014/main" id="{2AF4611E-0143-42F0-A457-DCCA136AC688}"/>
              </a:ext>
            </a:extLst>
          </p:cNvPr>
          <p:cNvSpPr txBox="1"/>
          <p:nvPr/>
        </p:nvSpPr>
        <p:spPr>
          <a:xfrm>
            <a:off x="1822450" y="5337175"/>
            <a:ext cx="8540750" cy="419712"/>
          </a:xfrm>
          <a:prstGeom prst="rect">
            <a:avLst/>
          </a:prstGeom>
          <a:solidFill>
            <a:schemeClr val="accent1"/>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Summary text</a:t>
            </a:r>
          </a:p>
        </p:txBody>
      </p:sp>
      <p:sp>
        <p:nvSpPr>
          <p:cNvPr id="4" name="Footer Placeholder 3">
            <a:extLst>
              <a:ext uri="{FF2B5EF4-FFF2-40B4-BE49-F238E27FC236}">
                <a16:creationId xmlns:a16="http://schemas.microsoft.com/office/drawing/2014/main" id="{8D7665D3-9D97-4657-B94C-1FEB67918A2E}"/>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DA98D557-7111-4B37-ABAB-6DB3057F64CE}"/>
              </a:ext>
            </a:extLst>
          </p:cNvPr>
          <p:cNvSpPr>
            <a:spLocks noGrp="1"/>
          </p:cNvSpPr>
          <p:nvPr>
            <p:ph type="sldNum" sz="quarter" idx="10"/>
          </p:nvPr>
        </p:nvSpPr>
        <p:spPr/>
        <p:txBody>
          <a:bodyPr/>
          <a:lstStyle/>
          <a:p>
            <a:fld id="{1F90F471-3972-4120-B8B3-0237DE626C35}" type="slidenum">
              <a:rPr lang="en-US" smtClean="0"/>
              <a:pPr/>
              <a:t>332</a:t>
            </a:fld>
            <a:endParaRPr lang="en-US" dirty="0"/>
          </a:p>
        </p:txBody>
      </p:sp>
    </p:spTree>
    <p:extLst>
      <p:ext uri="{BB962C8B-B14F-4D97-AF65-F5344CB8AC3E}">
        <p14:creationId xmlns:p14="http://schemas.microsoft.com/office/powerpoint/2010/main" val="3543264766"/>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Matrix 1</a:t>
            </a:r>
            <a:endParaRPr lang="de-DE" dirty="0"/>
          </a:p>
        </p:txBody>
      </p:sp>
      <p:grpSp>
        <p:nvGrpSpPr>
          <p:cNvPr id="3" name="Group 2" descr="Text 1">
            <a:extLst>
              <a:ext uri="{FF2B5EF4-FFF2-40B4-BE49-F238E27FC236}">
                <a16:creationId xmlns:a16="http://schemas.microsoft.com/office/drawing/2014/main" id="{BE192853-26B1-4BD4-92C7-74C725FF5CBF}"/>
              </a:ext>
            </a:extLst>
          </p:cNvPr>
          <p:cNvGrpSpPr/>
          <p:nvPr/>
        </p:nvGrpSpPr>
        <p:grpSpPr>
          <a:xfrm>
            <a:off x="2283721" y="1366837"/>
            <a:ext cx="950223" cy="3968267"/>
            <a:chOff x="2283721" y="1366837"/>
            <a:chExt cx="950223" cy="3968267"/>
          </a:xfrm>
        </p:grpSpPr>
        <p:sp>
          <p:nvSpPr>
            <p:cNvPr id="25" name="AutoShape 5">
              <a:extLst>
                <a:ext uri="{FF2B5EF4-FFF2-40B4-BE49-F238E27FC236}">
                  <a16:creationId xmlns:a16="http://schemas.microsoft.com/office/drawing/2014/main" id="{BF525466-3080-4152-9A75-42C8CA132141}"/>
                </a:ext>
                <a:ext uri="{C183D7F6-B498-43B3-948B-1728B52AA6E4}">
                  <adec:decorative xmlns:adec="http://schemas.microsoft.com/office/drawing/2017/decorative" val="1"/>
                </a:ext>
              </a:extLst>
            </p:cNvPr>
            <p:cNvSpPr>
              <a:spLocks noChangeArrowheads="1"/>
            </p:cNvSpPr>
            <p:nvPr/>
          </p:nvSpPr>
          <p:spPr bwMode="auto">
            <a:xfrm rot="16200000" flipH="1">
              <a:off x="1116505" y="3222205"/>
              <a:ext cx="3284654" cy="941144"/>
            </a:xfrm>
            <a:prstGeom prst="homePlate">
              <a:avLst>
                <a:gd name="adj" fmla="val 29053"/>
              </a:avLst>
            </a:prstGeom>
            <a:solidFill>
              <a:schemeClr val="tx2">
                <a:lumMod val="20000"/>
                <a:lumOff val="80000"/>
              </a:schemeClr>
            </a:solidFill>
            <a:ln w="6350">
              <a:noFill/>
              <a:miter lim="800000"/>
              <a:headEnd/>
              <a:tailEnd/>
            </a:ln>
            <a:effectLst/>
          </p:spPr>
          <p:txBody>
            <a:bodyPr wrap="none" lIns="45720" rIns="45720" anchor="ctr" anchorCtr="1"/>
            <a:lstStyle/>
            <a:p>
              <a:endParaRPr lang="en-US" dirty="0"/>
            </a:p>
          </p:txBody>
        </p:sp>
        <p:sp>
          <p:nvSpPr>
            <p:cNvPr id="43" name="Rectangle 14">
              <a:extLst>
                <a:ext uri="{FF2B5EF4-FFF2-40B4-BE49-F238E27FC236}">
                  <a16:creationId xmlns:a16="http://schemas.microsoft.com/office/drawing/2014/main" id="{869BA1CE-1374-4B9B-8BAB-0D9217649666}"/>
                </a:ext>
              </a:extLst>
            </p:cNvPr>
            <p:cNvSpPr>
              <a:spLocks noChangeArrowheads="1"/>
            </p:cNvSpPr>
            <p:nvPr/>
          </p:nvSpPr>
          <p:spPr bwMode="auto">
            <a:xfrm>
              <a:off x="2283721" y="1366837"/>
              <a:ext cx="950223" cy="562611"/>
            </a:xfrm>
            <a:prstGeom prst="rect">
              <a:avLst/>
            </a:prstGeom>
            <a:solidFill>
              <a:schemeClr val="tx2">
                <a:lumMod val="20000"/>
                <a:lumOff val="80000"/>
              </a:schemeClr>
            </a:solidFill>
            <a:ln w="6350">
              <a:noFill/>
              <a:miter lim="800000"/>
              <a:headEnd/>
              <a:tailEnd/>
            </a:ln>
            <a:effectLst/>
          </p:spPr>
          <p:txBody>
            <a:bodyPr wrap="none" lIns="45720" rIns="45720" anchor="ctr" anchorCtr="1"/>
            <a:lstStyle/>
            <a:p>
              <a:pPr eaLnBrk="0" hangingPunct="0">
                <a:spcBef>
                  <a:spcPct val="0"/>
                </a:spcBef>
              </a:pPr>
              <a:r>
                <a:rPr lang="en-GB" sz="1200" dirty="0"/>
                <a:t>Text</a:t>
              </a:r>
            </a:p>
          </p:txBody>
        </p:sp>
      </p:grpSp>
      <p:grpSp>
        <p:nvGrpSpPr>
          <p:cNvPr id="6" name="Group 5" descr="Text 2">
            <a:extLst>
              <a:ext uri="{FF2B5EF4-FFF2-40B4-BE49-F238E27FC236}">
                <a16:creationId xmlns:a16="http://schemas.microsoft.com/office/drawing/2014/main" id="{01DEAE3C-B02B-4B52-B284-777EDF21602D}"/>
              </a:ext>
            </a:extLst>
          </p:cNvPr>
          <p:cNvGrpSpPr/>
          <p:nvPr/>
        </p:nvGrpSpPr>
        <p:grpSpPr>
          <a:xfrm>
            <a:off x="3397358" y="1366837"/>
            <a:ext cx="944171" cy="3970336"/>
            <a:chOff x="3397358" y="1366837"/>
            <a:chExt cx="944171" cy="3970336"/>
          </a:xfrm>
        </p:grpSpPr>
        <p:sp>
          <p:nvSpPr>
            <p:cNvPr id="23" name="AutoShape 4">
              <a:extLst>
                <a:ext uri="{FF2B5EF4-FFF2-40B4-BE49-F238E27FC236}">
                  <a16:creationId xmlns:a16="http://schemas.microsoft.com/office/drawing/2014/main" id="{C9941601-19E9-43DD-9D86-1BCD0463130A}"/>
                </a:ext>
                <a:ext uri="{C183D7F6-B498-43B3-948B-1728B52AA6E4}">
                  <adec:decorative xmlns:adec="http://schemas.microsoft.com/office/drawing/2017/decorative" val="1"/>
                </a:ext>
              </a:extLst>
            </p:cNvPr>
            <p:cNvSpPr>
              <a:spLocks noChangeArrowheads="1"/>
            </p:cNvSpPr>
            <p:nvPr/>
          </p:nvSpPr>
          <p:spPr bwMode="auto">
            <a:xfrm rot="16200000" flipH="1">
              <a:off x="2227116" y="3224274"/>
              <a:ext cx="3284654" cy="941144"/>
            </a:xfrm>
            <a:prstGeom prst="homePlate">
              <a:avLst>
                <a:gd name="adj" fmla="val 28958"/>
              </a:avLst>
            </a:prstGeom>
            <a:solidFill>
              <a:schemeClr val="tx2">
                <a:lumMod val="20000"/>
                <a:lumOff val="80000"/>
              </a:schemeClr>
            </a:solidFill>
            <a:ln w="6350">
              <a:noFill/>
              <a:miter lim="800000"/>
              <a:headEnd/>
              <a:tailEnd/>
            </a:ln>
            <a:effectLst/>
          </p:spPr>
          <p:txBody>
            <a:bodyPr wrap="none" lIns="45720" rIns="45720" anchor="ctr" anchorCtr="1"/>
            <a:lstStyle/>
            <a:p>
              <a:endParaRPr lang="en-US" dirty="0"/>
            </a:p>
          </p:txBody>
        </p:sp>
        <p:sp>
          <p:nvSpPr>
            <p:cNvPr id="45" name="Rectangle 15">
              <a:extLst>
                <a:ext uri="{FF2B5EF4-FFF2-40B4-BE49-F238E27FC236}">
                  <a16:creationId xmlns:a16="http://schemas.microsoft.com/office/drawing/2014/main" id="{B6F576BC-D386-42A2-8E34-DACE6F8D186E}"/>
                </a:ext>
              </a:extLst>
            </p:cNvPr>
            <p:cNvSpPr>
              <a:spLocks noChangeArrowheads="1"/>
            </p:cNvSpPr>
            <p:nvPr/>
          </p:nvSpPr>
          <p:spPr bwMode="auto">
            <a:xfrm>
              <a:off x="3397358" y="1366837"/>
              <a:ext cx="944171" cy="562611"/>
            </a:xfrm>
            <a:prstGeom prst="rect">
              <a:avLst/>
            </a:prstGeom>
            <a:solidFill>
              <a:schemeClr val="tx2">
                <a:lumMod val="20000"/>
                <a:lumOff val="80000"/>
              </a:schemeClr>
            </a:solidFill>
            <a:ln w="6350">
              <a:noFill/>
              <a:miter lim="800000"/>
              <a:headEnd/>
              <a:tailEnd/>
            </a:ln>
            <a:effectLst/>
          </p:spPr>
          <p:txBody>
            <a:bodyPr wrap="none" lIns="45720" rIns="45720" anchor="ctr" anchorCtr="1"/>
            <a:lstStyle/>
            <a:p>
              <a:pPr eaLnBrk="0" hangingPunct="0">
                <a:spcBef>
                  <a:spcPct val="0"/>
                </a:spcBef>
              </a:pPr>
              <a:r>
                <a:rPr lang="en-GB" sz="1200" dirty="0"/>
                <a:t>Text</a:t>
              </a:r>
            </a:p>
          </p:txBody>
        </p:sp>
      </p:grpSp>
      <p:grpSp>
        <p:nvGrpSpPr>
          <p:cNvPr id="13" name="Group 12" descr="Text 3">
            <a:extLst>
              <a:ext uri="{FF2B5EF4-FFF2-40B4-BE49-F238E27FC236}">
                <a16:creationId xmlns:a16="http://schemas.microsoft.com/office/drawing/2014/main" id="{F10FA57B-CD2D-4EED-BA6F-7D191DB2418F}"/>
              </a:ext>
            </a:extLst>
          </p:cNvPr>
          <p:cNvGrpSpPr/>
          <p:nvPr/>
        </p:nvGrpSpPr>
        <p:grpSpPr>
          <a:xfrm>
            <a:off x="4504945" y="1366837"/>
            <a:ext cx="945683" cy="3970336"/>
            <a:chOff x="4504945" y="1366837"/>
            <a:chExt cx="945683" cy="3970336"/>
          </a:xfrm>
        </p:grpSpPr>
        <p:sp>
          <p:nvSpPr>
            <p:cNvPr id="27" name="AutoShape 6">
              <a:extLst>
                <a:ext uri="{FF2B5EF4-FFF2-40B4-BE49-F238E27FC236}">
                  <a16:creationId xmlns:a16="http://schemas.microsoft.com/office/drawing/2014/main" id="{0223C6B3-5B74-4548-8E85-0BC226289E1D}"/>
                </a:ext>
                <a:ext uri="{C183D7F6-B498-43B3-948B-1728B52AA6E4}">
                  <adec:decorative xmlns:adec="http://schemas.microsoft.com/office/drawing/2017/decorative" val="1"/>
                </a:ext>
              </a:extLst>
            </p:cNvPr>
            <p:cNvSpPr>
              <a:spLocks noChangeArrowheads="1"/>
            </p:cNvSpPr>
            <p:nvPr/>
          </p:nvSpPr>
          <p:spPr bwMode="auto">
            <a:xfrm rot="16200000" flipH="1">
              <a:off x="3337729" y="3224274"/>
              <a:ext cx="3284654" cy="941144"/>
            </a:xfrm>
            <a:prstGeom prst="homePlate">
              <a:avLst>
                <a:gd name="adj" fmla="val 28864"/>
              </a:avLst>
            </a:prstGeom>
            <a:solidFill>
              <a:schemeClr val="tx2">
                <a:lumMod val="20000"/>
                <a:lumOff val="80000"/>
              </a:schemeClr>
            </a:solidFill>
            <a:ln w="6350">
              <a:noFill/>
              <a:miter lim="800000"/>
              <a:headEnd/>
              <a:tailEnd/>
            </a:ln>
            <a:effectLst/>
          </p:spPr>
          <p:txBody>
            <a:bodyPr wrap="none" lIns="45720" rIns="45720" anchor="ctr" anchorCtr="1"/>
            <a:lstStyle/>
            <a:p>
              <a:endParaRPr lang="en-US" dirty="0"/>
            </a:p>
          </p:txBody>
        </p:sp>
        <p:sp>
          <p:nvSpPr>
            <p:cNvPr id="47" name="Rectangle 16">
              <a:extLst>
                <a:ext uri="{FF2B5EF4-FFF2-40B4-BE49-F238E27FC236}">
                  <a16:creationId xmlns:a16="http://schemas.microsoft.com/office/drawing/2014/main" id="{FF0C9D2C-4913-47C3-A85C-54393A3244EB}"/>
                </a:ext>
              </a:extLst>
            </p:cNvPr>
            <p:cNvSpPr>
              <a:spLocks noChangeArrowheads="1"/>
            </p:cNvSpPr>
            <p:nvPr/>
          </p:nvSpPr>
          <p:spPr bwMode="auto">
            <a:xfrm>
              <a:off x="4504945" y="1366837"/>
              <a:ext cx="944171" cy="562611"/>
            </a:xfrm>
            <a:prstGeom prst="rect">
              <a:avLst/>
            </a:prstGeom>
            <a:solidFill>
              <a:schemeClr val="tx2">
                <a:lumMod val="20000"/>
                <a:lumOff val="80000"/>
              </a:schemeClr>
            </a:solidFill>
            <a:ln w="6350">
              <a:noFill/>
              <a:miter lim="800000"/>
              <a:headEnd/>
              <a:tailEnd/>
            </a:ln>
            <a:effectLst/>
          </p:spPr>
          <p:txBody>
            <a:bodyPr wrap="none" lIns="45720" rIns="45720" anchor="ctr" anchorCtr="1"/>
            <a:lstStyle/>
            <a:p>
              <a:pPr eaLnBrk="0" hangingPunct="0">
                <a:spcBef>
                  <a:spcPct val="0"/>
                </a:spcBef>
              </a:pPr>
              <a:r>
                <a:rPr lang="en-GB" sz="1200" dirty="0"/>
                <a:t>Text</a:t>
              </a:r>
            </a:p>
          </p:txBody>
        </p:sp>
      </p:grpSp>
      <p:grpSp>
        <p:nvGrpSpPr>
          <p:cNvPr id="14" name="Group 13" descr="Text 4">
            <a:extLst>
              <a:ext uri="{FF2B5EF4-FFF2-40B4-BE49-F238E27FC236}">
                <a16:creationId xmlns:a16="http://schemas.microsoft.com/office/drawing/2014/main" id="{41A012AE-4DF6-4690-8D5F-E2E3D9F3AA5F}"/>
              </a:ext>
            </a:extLst>
          </p:cNvPr>
          <p:cNvGrpSpPr/>
          <p:nvPr/>
        </p:nvGrpSpPr>
        <p:grpSpPr>
          <a:xfrm>
            <a:off x="5612528" y="1366837"/>
            <a:ext cx="945684" cy="3970336"/>
            <a:chOff x="5612528" y="1366837"/>
            <a:chExt cx="945684" cy="3970336"/>
          </a:xfrm>
        </p:grpSpPr>
        <p:sp>
          <p:nvSpPr>
            <p:cNvPr id="29" name="AutoShape 7">
              <a:extLst>
                <a:ext uri="{FF2B5EF4-FFF2-40B4-BE49-F238E27FC236}">
                  <a16:creationId xmlns:a16="http://schemas.microsoft.com/office/drawing/2014/main" id="{3E016099-63FA-4177-9A06-BE9512B84788}"/>
                </a:ext>
                <a:ext uri="{C183D7F6-B498-43B3-948B-1728B52AA6E4}">
                  <adec:decorative xmlns:adec="http://schemas.microsoft.com/office/drawing/2017/decorative" val="1"/>
                </a:ext>
              </a:extLst>
            </p:cNvPr>
            <p:cNvSpPr>
              <a:spLocks noChangeArrowheads="1"/>
            </p:cNvSpPr>
            <p:nvPr/>
          </p:nvSpPr>
          <p:spPr bwMode="auto">
            <a:xfrm rot="16200000" flipH="1">
              <a:off x="4445313" y="3224274"/>
              <a:ext cx="3284654" cy="941144"/>
            </a:xfrm>
            <a:prstGeom prst="homePlate">
              <a:avLst>
                <a:gd name="adj" fmla="val 28864"/>
              </a:avLst>
            </a:prstGeom>
            <a:solidFill>
              <a:schemeClr val="tx2">
                <a:lumMod val="20000"/>
                <a:lumOff val="80000"/>
              </a:schemeClr>
            </a:solidFill>
            <a:ln w="6350">
              <a:noFill/>
              <a:miter lim="800000"/>
              <a:headEnd/>
              <a:tailEnd/>
            </a:ln>
            <a:effectLst/>
          </p:spPr>
          <p:txBody>
            <a:bodyPr wrap="none" lIns="45720" rIns="45720" anchor="ctr" anchorCtr="1"/>
            <a:lstStyle/>
            <a:p>
              <a:endParaRPr lang="en-US" dirty="0"/>
            </a:p>
          </p:txBody>
        </p:sp>
        <p:sp>
          <p:nvSpPr>
            <p:cNvPr id="49" name="Rectangle 17">
              <a:extLst>
                <a:ext uri="{FF2B5EF4-FFF2-40B4-BE49-F238E27FC236}">
                  <a16:creationId xmlns:a16="http://schemas.microsoft.com/office/drawing/2014/main" id="{F8BADAD4-94BA-4F0A-84CD-B1279754E911}"/>
                </a:ext>
              </a:extLst>
            </p:cNvPr>
            <p:cNvSpPr>
              <a:spLocks noChangeArrowheads="1"/>
            </p:cNvSpPr>
            <p:nvPr/>
          </p:nvSpPr>
          <p:spPr bwMode="auto">
            <a:xfrm>
              <a:off x="5612528" y="1366837"/>
              <a:ext cx="944171" cy="562611"/>
            </a:xfrm>
            <a:prstGeom prst="rect">
              <a:avLst/>
            </a:prstGeom>
            <a:solidFill>
              <a:schemeClr val="tx2">
                <a:lumMod val="20000"/>
                <a:lumOff val="80000"/>
              </a:schemeClr>
            </a:solidFill>
            <a:ln w="6350">
              <a:noFill/>
              <a:miter lim="800000"/>
              <a:headEnd/>
              <a:tailEnd/>
            </a:ln>
            <a:effectLst/>
          </p:spPr>
          <p:txBody>
            <a:bodyPr wrap="none" lIns="45720" rIns="45720" anchor="ctr" anchorCtr="1"/>
            <a:lstStyle/>
            <a:p>
              <a:pPr eaLnBrk="0" hangingPunct="0">
                <a:spcBef>
                  <a:spcPct val="0"/>
                </a:spcBef>
              </a:pPr>
              <a:r>
                <a:rPr lang="en-GB" sz="1200" dirty="0"/>
                <a:t>Text</a:t>
              </a:r>
            </a:p>
          </p:txBody>
        </p:sp>
      </p:grpSp>
      <p:grpSp>
        <p:nvGrpSpPr>
          <p:cNvPr id="15" name="Group 14" descr="Text 5">
            <a:extLst>
              <a:ext uri="{FF2B5EF4-FFF2-40B4-BE49-F238E27FC236}">
                <a16:creationId xmlns:a16="http://schemas.microsoft.com/office/drawing/2014/main" id="{EE10F9FD-5508-4A12-B295-50D2ED0138E7}"/>
              </a:ext>
            </a:extLst>
          </p:cNvPr>
          <p:cNvGrpSpPr/>
          <p:nvPr/>
        </p:nvGrpSpPr>
        <p:grpSpPr>
          <a:xfrm>
            <a:off x="6720115" y="1366837"/>
            <a:ext cx="947198" cy="3970336"/>
            <a:chOff x="6720115" y="1366837"/>
            <a:chExt cx="947198" cy="3970336"/>
          </a:xfrm>
        </p:grpSpPr>
        <p:sp>
          <p:nvSpPr>
            <p:cNvPr id="31" name="AutoShape 8">
              <a:extLst>
                <a:ext uri="{FF2B5EF4-FFF2-40B4-BE49-F238E27FC236}">
                  <a16:creationId xmlns:a16="http://schemas.microsoft.com/office/drawing/2014/main" id="{FC2DDFEF-DBE2-4A03-A921-9AFE9913F7F6}"/>
                </a:ext>
                <a:ext uri="{C183D7F6-B498-43B3-948B-1728B52AA6E4}">
                  <adec:decorative xmlns:adec="http://schemas.microsoft.com/office/drawing/2017/decorative" val="1"/>
                </a:ext>
              </a:extLst>
            </p:cNvPr>
            <p:cNvSpPr>
              <a:spLocks noChangeArrowheads="1"/>
            </p:cNvSpPr>
            <p:nvPr/>
          </p:nvSpPr>
          <p:spPr bwMode="auto">
            <a:xfrm rot="16200000" flipH="1">
              <a:off x="5552899" y="3224274"/>
              <a:ext cx="3284654" cy="941144"/>
            </a:xfrm>
            <a:prstGeom prst="homePlate">
              <a:avLst>
                <a:gd name="adj" fmla="val 28958"/>
              </a:avLst>
            </a:prstGeom>
            <a:solidFill>
              <a:schemeClr val="tx2">
                <a:lumMod val="20000"/>
                <a:lumOff val="80000"/>
              </a:schemeClr>
            </a:solidFill>
            <a:ln w="6350">
              <a:noFill/>
              <a:miter lim="800000"/>
              <a:headEnd/>
              <a:tailEnd/>
            </a:ln>
            <a:effectLst/>
          </p:spPr>
          <p:txBody>
            <a:bodyPr wrap="none" lIns="45720" rIns="45720" anchor="ctr" anchorCtr="1"/>
            <a:lstStyle/>
            <a:p>
              <a:endParaRPr lang="en-US" dirty="0"/>
            </a:p>
          </p:txBody>
        </p:sp>
        <p:sp>
          <p:nvSpPr>
            <p:cNvPr id="51" name="Rectangle 18">
              <a:extLst>
                <a:ext uri="{FF2B5EF4-FFF2-40B4-BE49-F238E27FC236}">
                  <a16:creationId xmlns:a16="http://schemas.microsoft.com/office/drawing/2014/main" id="{194E5CBE-8555-4F61-B421-5FAB3E87C615}"/>
                </a:ext>
              </a:extLst>
            </p:cNvPr>
            <p:cNvSpPr>
              <a:spLocks noChangeArrowheads="1"/>
            </p:cNvSpPr>
            <p:nvPr/>
          </p:nvSpPr>
          <p:spPr bwMode="auto">
            <a:xfrm>
              <a:off x="6720115" y="1366837"/>
              <a:ext cx="947198" cy="562611"/>
            </a:xfrm>
            <a:prstGeom prst="rect">
              <a:avLst/>
            </a:prstGeom>
            <a:solidFill>
              <a:schemeClr val="tx2">
                <a:lumMod val="20000"/>
                <a:lumOff val="80000"/>
              </a:schemeClr>
            </a:solidFill>
            <a:ln w="6350">
              <a:noFill/>
              <a:miter lim="800000"/>
              <a:headEnd/>
              <a:tailEnd/>
            </a:ln>
            <a:effectLst/>
          </p:spPr>
          <p:txBody>
            <a:bodyPr wrap="none" lIns="45720" rIns="45720" anchor="ctr" anchorCtr="1"/>
            <a:lstStyle/>
            <a:p>
              <a:pPr eaLnBrk="0" hangingPunct="0">
                <a:spcBef>
                  <a:spcPct val="0"/>
                </a:spcBef>
              </a:pPr>
              <a:r>
                <a:rPr lang="en-GB" sz="1200" dirty="0"/>
                <a:t>Text</a:t>
              </a:r>
            </a:p>
          </p:txBody>
        </p:sp>
      </p:grpSp>
      <p:grpSp>
        <p:nvGrpSpPr>
          <p:cNvPr id="10" name="Group 9" descr="Text 6">
            <a:extLst>
              <a:ext uri="{FF2B5EF4-FFF2-40B4-BE49-F238E27FC236}">
                <a16:creationId xmlns:a16="http://schemas.microsoft.com/office/drawing/2014/main" id="{480AF200-CE24-464F-AC33-466A7E9634D5}"/>
              </a:ext>
            </a:extLst>
          </p:cNvPr>
          <p:cNvGrpSpPr/>
          <p:nvPr/>
        </p:nvGrpSpPr>
        <p:grpSpPr>
          <a:xfrm>
            <a:off x="7830725" y="1366837"/>
            <a:ext cx="944171" cy="3970336"/>
            <a:chOff x="7830725" y="1366837"/>
            <a:chExt cx="944171" cy="3970336"/>
          </a:xfrm>
        </p:grpSpPr>
        <p:sp>
          <p:nvSpPr>
            <p:cNvPr id="33" name="AutoShape 9">
              <a:extLst>
                <a:ext uri="{FF2B5EF4-FFF2-40B4-BE49-F238E27FC236}">
                  <a16:creationId xmlns:a16="http://schemas.microsoft.com/office/drawing/2014/main" id="{1E17B669-7871-4629-B4ED-5E1AC0AC552D}"/>
                </a:ext>
                <a:ext uri="{C183D7F6-B498-43B3-948B-1728B52AA6E4}">
                  <adec:decorative xmlns:adec="http://schemas.microsoft.com/office/drawing/2017/decorative" val="1"/>
                </a:ext>
              </a:extLst>
            </p:cNvPr>
            <p:cNvSpPr>
              <a:spLocks noChangeArrowheads="1"/>
            </p:cNvSpPr>
            <p:nvPr/>
          </p:nvSpPr>
          <p:spPr bwMode="auto">
            <a:xfrm rot="16200000" flipH="1">
              <a:off x="6660484" y="3224274"/>
              <a:ext cx="3284654" cy="941144"/>
            </a:xfrm>
            <a:prstGeom prst="homePlate">
              <a:avLst>
                <a:gd name="adj" fmla="val 28958"/>
              </a:avLst>
            </a:prstGeom>
            <a:solidFill>
              <a:schemeClr val="tx2">
                <a:lumMod val="20000"/>
                <a:lumOff val="80000"/>
              </a:schemeClr>
            </a:solidFill>
            <a:ln w="6350">
              <a:noFill/>
              <a:miter lim="800000"/>
              <a:headEnd/>
              <a:tailEnd/>
            </a:ln>
            <a:effectLst/>
          </p:spPr>
          <p:txBody>
            <a:bodyPr wrap="none" lIns="45720" rIns="45720" anchor="ctr" anchorCtr="1"/>
            <a:lstStyle/>
            <a:p>
              <a:endParaRPr lang="en-US" dirty="0"/>
            </a:p>
          </p:txBody>
        </p:sp>
        <p:sp>
          <p:nvSpPr>
            <p:cNvPr id="53" name="Rectangle 19">
              <a:extLst>
                <a:ext uri="{FF2B5EF4-FFF2-40B4-BE49-F238E27FC236}">
                  <a16:creationId xmlns:a16="http://schemas.microsoft.com/office/drawing/2014/main" id="{CC71FE8D-BED5-48AE-B15A-E577FDC96927}"/>
                </a:ext>
              </a:extLst>
            </p:cNvPr>
            <p:cNvSpPr>
              <a:spLocks noChangeArrowheads="1"/>
            </p:cNvSpPr>
            <p:nvPr/>
          </p:nvSpPr>
          <p:spPr bwMode="auto">
            <a:xfrm>
              <a:off x="7830725" y="1366837"/>
              <a:ext cx="944171" cy="562611"/>
            </a:xfrm>
            <a:prstGeom prst="rect">
              <a:avLst/>
            </a:prstGeom>
            <a:solidFill>
              <a:schemeClr val="tx2">
                <a:lumMod val="20000"/>
                <a:lumOff val="80000"/>
              </a:schemeClr>
            </a:solidFill>
            <a:ln w="6350">
              <a:noFill/>
              <a:miter lim="800000"/>
              <a:headEnd/>
              <a:tailEnd/>
            </a:ln>
            <a:effectLst/>
          </p:spPr>
          <p:txBody>
            <a:bodyPr wrap="none" lIns="45720" rIns="45720" anchor="ctr" anchorCtr="1"/>
            <a:lstStyle/>
            <a:p>
              <a:pPr eaLnBrk="0" hangingPunct="0">
                <a:spcBef>
                  <a:spcPct val="0"/>
                </a:spcBef>
              </a:pPr>
              <a:r>
                <a:rPr lang="en-GB" sz="1200" dirty="0"/>
                <a:t>Text</a:t>
              </a:r>
            </a:p>
          </p:txBody>
        </p:sp>
      </p:grpSp>
      <p:grpSp>
        <p:nvGrpSpPr>
          <p:cNvPr id="11" name="Group 10" descr="Text 7">
            <a:extLst>
              <a:ext uri="{FF2B5EF4-FFF2-40B4-BE49-F238E27FC236}">
                <a16:creationId xmlns:a16="http://schemas.microsoft.com/office/drawing/2014/main" id="{8E5444C5-136E-4E8A-970A-272A23D93112}"/>
              </a:ext>
            </a:extLst>
          </p:cNvPr>
          <p:cNvGrpSpPr/>
          <p:nvPr/>
        </p:nvGrpSpPr>
        <p:grpSpPr>
          <a:xfrm>
            <a:off x="8938312" y="1366837"/>
            <a:ext cx="944171" cy="3970336"/>
            <a:chOff x="8938312" y="1366837"/>
            <a:chExt cx="944171" cy="3970336"/>
          </a:xfrm>
        </p:grpSpPr>
        <p:sp>
          <p:nvSpPr>
            <p:cNvPr id="35" name="AutoShape 10">
              <a:extLst>
                <a:ext uri="{FF2B5EF4-FFF2-40B4-BE49-F238E27FC236}">
                  <a16:creationId xmlns:a16="http://schemas.microsoft.com/office/drawing/2014/main" id="{C9667991-A206-4406-815B-EEE351B39DDE}"/>
                </a:ext>
                <a:ext uri="{C183D7F6-B498-43B3-948B-1728B52AA6E4}">
                  <adec:decorative xmlns:adec="http://schemas.microsoft.com/office/drawing/2017/decorative" val="1"/>
                </a:ext>
              </a:extLst>
            </p:cNvPr>
            <p:cNvSpPr>
              <a:spLocks noChangeArrowheads="1"/>
            </p:cNvSpPr>
            <p:nvPr/>
          </p:nvSpPr>
          <p:spPr bwMode="auto">
            <a:xfrm rot="16200000" flipH="1">
              <a:off x="7768070" y="3224274"/>
              <a:ext cx="3284654" cy="941144"/>
            </a:xfrm>
            <a:prstGeom prst="homePlate">
              <a:avLst>
                <a:gd name="adj" fmla="val 28864"/>
              </a:avLst>
            </a:prstGeom>
            <a:solidFill>
              <a:schemeClr val="tx2">
                <a:lumMod val="20000"/>
                <a:lumOff val="80000"/>
              </a:schemeClr>
            </a:solidFill>
            <a:ln w="6350">
              <a:noFill/>
              <a:miter lim="800000"/>
              <a:headEnd/>
              <a:tailEnd/>
            </a:ln>
            <a:effectLst/>
          </p:spPr>
          <p:txBody>
            <a:bodyPr wrap="none" lIns="45720" rIns="45720" anchor="ctr" anchorCtr="1"/>
            <a:lstStyle/>
            <a:p>
              <a:endParaRPr lang="en-US" dirty="0"/>
            </a:p>
          </p:txBody>
        </p:sp>
        <p:sp>
          <p:nvSpPr>
            <p:cNvPr id="55" name="Rectangle 20">
              <a:extLst>
                <a:ext uri="{FF2B5EF4-FFF2-40B4-BE49-F238E27FC236}">
                  <a16:creationId xmlns:a16="http://schemas.microsoft.com/office/drawing/2014/main" id="{660998F1-A69C-4C8A-9EC2-F2C410483244}"/>
                </a:ext>
              </a:extLst>
            </p:cNvPr>
            <p:cNvSpPr>
              <a:spLocks noChangeArrowheads="1"/>
            </p:cNvSpPr>
            <p:nvPr/>
          </p:nvSpPr>
          <p:spPr bwMode="auto">
            <a:xfrm>
              <a:off x="8938312" y="1366837"/>
              <a:ext cx="944171" cy="562611"/>
            </a:xfrm>
            <a:prstGeom prst="rect">
              <a:avLst/>
            </a:prstGeom>
            <a:solidFill>
              <a:schemeClr val="tx2">
                <a:lumMod val="20000"/>
                <a:lumOff val="80000"/>
              </a:schemeClr>
            </a:solidFill>
            <a:ln w="6350">
              <a:noFill/>
              <a:miter lim="800000"/>
              <a:headEnd/>
              <a:tailEnd/>
            </a:ln>
            <a:effectLst/>
          </p:spPr>
          <p:txBody>
            <a:bodyPr wrap="none" lIns="45720" rIns="45720" anchor="ctr" anchorCtr="1"/>
            <a:lstStyle/>
            <a:p>
              <a:pPr eaLnBrk="0" hangingPunct="0">
                <a:spcBef>
                  <a:spcPct val="0"/>
                </a:spcBef>
              </a:pPr>
              <a:r>
                <a:rPr lang="en-GB" sz="1200" dirty="0"/>
                <a:t>Text</a:t>
              </a:r>
            </a:p>
          </p:txBody>
        </p:sp>
      </p:grpSp>
      <p:sp>
        <p:nvSpPr>
          <p:cNvPr id="37" name="AutoShape 11">
            <a:extLst>
              <a:ext uri="{FF2B5EF4-FFF2-40B4-BE49-F238E27FC236}">
                <a16:creationId xmlns:a16="http://schemas.microsoft.com/office/drawing/2014/main" id="{FC42395E-7D5A-4EF7-A9CA-EA540F1A167E}"/>
              </a:ext>
              <a:ext uri="{C183D7F6-B498-43B3-948B-1728B52AA6E4}">
                <adec:decorative xmlns:adec="http://schemas.microsoft.com/office/drawing/2017/decorative" val="0"/>
              </a:ext>
            </a:extLst>
          </p:cNvPr>
          <p:cNvSpPr>
            <a:spLocks noChangeArrowheads="1"/>
          </p:cNvSpPr>
          <p:nvPr/>
        </p:nvSpPr>
        <p:spPr bwMode="auto">
          <a:xfrm>
            <a:off x="1817688" y="2282168"/>
            <a:ext cx="8555037" cy="696507"/>
          </a:xfrm>
          <a:prstGeom prst="homePlate">
            <a:avLst>
              <a:gd name="adj" fmla="val 28859"/>
            </a:avLst>
          </a:prstGeom>
          <a:solidFill>
            <a:schemeClr val="accent3"/>
          </a:solidFill>
          <a:ln w="6350">
            <a:noFill/>
            <a:miter lim="800000"/>
            <a:headEnd/>
            <a:tailEnd/>
          </a:ln>
          <a:effectLst/>
        </p:spPr>
        <p:txBody>
          <a:bodyPr wrap="none" lIns="45720" rIns="45720" anchor="ctr" anchorCtr="1"/>
          <a:lstStyle/>
          <a:p>
            <a:pPr eaLnBrk="0" hangingPunct="0">
              <a:spcBef>
                <a:spcPct val="0"/>
              </a:spcBef>
            </a:pPr>
            <a:r>
              <a:rPr lang="en-GB" b="1" dirty="0">
                <a:solidFill>
                  <a:schemeClr val="bg1"/>
                </a:solidFill>
                <a:latin typeface="+mj-lt"/>
              </a:rPr>
              <a:t>Text</a:t>
            </a:r>
          </a:p>
        </p:txBody>
      </p:sp>
      <p:sp>
        <p:nvSpPr>
          <p:cNvPr id="39" name="AutoShape 12">
            <a:extLst>
              <a:ext uri="{FF2B5EF4-FFF2-40B4-BE49-F238E27FC236}">
                <a16:creationId xmlns:a16="http://schemas.microsoft.com/office/drawing/2014/main" id="{F66FE6F4-C0CA-4E52-B4B1-48F29D3645B0}"/>
              </a:ext>
              <a:ext uri="{C183D7F6-B498-43B3-948B-1728B52AA6E4}">
                <adec:decorative xmlns:adec="http://schemas.microsoft.com/office/drawing/2017/decorative" val="0"/>
              </a:ext>
            </a:extLst>
          </p:cNvPr>
          <p:cNvSpPr>
            <a:spLocks noChangeArrowheads="1"/>
          </p:cNvSpPr>
          <p:nvPr/>
        </p:nvSpPr>
        <p:spPr bwMode="auto">
          <a:xfrm>
            <a:off x="1817688" y="3067479"/>
            <a:ext cx="8555037" cy="696507"/>
          </a:xfrm>
          <a:prstGeom prst="homePlate">
            <a:avLst>
              <a:gd name="adj" fmla="val 28859"/>
            </a:avLst>
          </a:prstGeom>
          <a:solidFill>
            <a:schemeClr val="accent2"/>
          </a:solidFill>
          <a:ln w="6350">
            <a:noFill/>
            <a:miter lim="800000"/>
            <a:headEnd/>
            <a:tailEnd/>
          </a:ln>
          <a:effectLst/>
        </p:spPr>
        <p:txBody>
          <a:bodyPr wrap="none" lIns="45720" rIns="45720" anchor="ctr" anchorCtr="1"/>
          <a:lstStyle/>
          <a:p>
            <a:pPr eaLnBrk="0" hangingPunct="0">
              <a:spcBef>
                <a:spcPct val="0"/>
              </a:spcBef>
            </a:pPr>
            <a:r>
              <a:rPr lang="en-GB" b="1" dirty="0">
                <a:solidFill>
                  <a:schemeClr val="bg1"/>
                </a:solidFill>
                <a:latin typeface="+mj-lt"/>
              </a:rPr>
              <a:t>Text</a:t>
            </a:r>
          </a:p>
        </p:txBody>
      </p:sp>
      <p:sp>
        <p:nvSpPr>
          <p:cNvPr id="41" name="AutoShape 13">
            <a:extLst>
              <a:ext uri="{FF2B5EF4-FFF2-40B4-BE49-F238E27FC236}">
                <a16:creationId xmlns:a16="http://schemas.microsoft.com/office/drawing/2014/main" id="{A32ED77F-6C50-45E6-8D46-9F672D30BC10}"/>
              </a:ext>
              <a:ext uri="{C183D7F6-B498-43B3-948B-1728B52AA6E4}">
                <adec:decorative xmlns:adec="http://schemas.microsoft.com/office/drawing/2017/decorative" val="0"/>
              </a:ext>
            </a:extLst>
          </p:cNvPr>
          <p:cNvSpPr>
            <a:spLocks noChangeArrowheads="1"/>
          </p:cNvSpPr>
          <p:nvPr/>
        </p:nvSpPr>
        <p:spPr bwMode="auto">
          <a:xfrm>
            <a:off x="1817688" y="3852789"/>
            <a:ext cx="8555037" cy="696507"/>
          </a:xfrm>
          <a:prstGeom prst="homePlate">
            <a:avLst>
              <a:gd name="adj" fmla="val 28859"/>
            </a:avLst>
          </a:prstGeom>
          <a:solidFill>
            <a:schemeClr val="accent1"/>
          </a:solidFill>
          <a:ln w="6350">
            <a:noFill/>
            <a:miter lim="800000"/>
            <a:headEnd/>
            <a:tailEnd/>
          </a:ln>
          <a:effectLst/>
        </p:spPr>
        <p:txBody>
          <a:bodyPr wrap="none" lIns="45720" rIns="45720" anchor="ctr" anchorCtr="1"/>
          <a:lstStyle/>
          <a:p>
            <a:pPr eaLnBrk="0" hangingPunct="0">
              <a:spcBef>
                <a:spcPct val="0"/>
              </a:spcBef>
            </a:pPr>
            <a:r>
              <a:rPr lang="en-GB" b="1" dirty="0">
                <a:solidFill>
                  <a:schemeClr val="bg1"/>
                </a:solidFill>
                <a:latin typeface="+mj-lt"/>
              </a:rPr>
              <a:t>Text</a:t>
            </a:r>
          </a:p>
        </p:txBody>
      </p:sp>
      <p:sp>
        <p:nvSpPr>
          <p:cNvPr id="4" name="Footer Placeholder 3">
            <a:extLst>
              <a:ext uri="{FF2B5EF4-FFF2-40B4-BE49-F238E27FC236}">
                <a16:creationId xmlns:a16="http://schemas.microsoft.com/office/drawing/2014/main" id="{7C1215A9-9304-4E9D-83C0-86FBD3112FE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2C906DD8-A5B6-4387-A726-D15C5B1EEB6A}"/>
              </a:ext>
            </a:extLst>
          </p:cNvPr>
          <p:cNvSpPr>
            <a:spLocks noGrp="1"/>
          </p:cNvSpPr>
          <p:nvPr>
            <p:ph type="sldNum" sz="quarter" idx="10"/>
          </p:nvPr>
        </p:nvSpPr>
        <p:spPr/>
        <p:txBody>
          <a:bodyPr/>
          <a:lstStyle/>
          <a:p>
            <a:fld id="{1F90F471-3972-4120-B8B3-0237DE626C35}" type="slidenum">
              <a:rPr lang="en-US" smtClean="0"/>
              <a:pPr/>
              <a:t>333</a:t>
            </a:fld>
            <a:endParaRPr lang="en-US" dirty="0"/>
          </a:p>
        </p:txBody>
      </p:sp>
    </p:spTree>
    <p:extLst>
      <p:ext uri="{BB962C8B-B14F-4D97-AF65-F5344CB8AC3E}">
        <p14:creationId xmlns:p14="http://schemas.microsoft.com/office/powerpoint/2010/main" val="1825542782"/>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Matrix 2</a:t>
            </a:r>
            <a:endParaRPr lang="de-DE" dirty="0"/>
          </a:p>
        </p:txBody>
      </p:sp>
      <p:grpSp>
        <p:nvGrpSpPr>
          <p:cNvPr id="3" name="Group 2" descr="Text 1">
            <a:extLst>
              <a:ext uri="{FF2B5EF4-FFF2-40B4-BE49-F238E27FC236}">
                <a16:creationId xmlns:a16="http://schemas.microsoft.com/office/drawing/2014/main" id="{4E079F91-DB76-41D5-AF7E-BEB5B70AD8D3}"/>
              </a:ext>
            </a:extLst>
          </p:cNvPr>
          <p:cNvGrpSpPr/>
          <p:nvPr/>
        </p:nvGrpSpPr>
        <p:grpSpPr>
          <a:xfrm>
            <a:off x="2283721" y="1366837"/>
            <a:ext cx="950223" cy="3968267"/>
            <a:chOff x="2283721" y="1366837"/>
            <a:chExt cx="950223" cy="3968267"/>
          </a:xfrm>
        </p:grpSpPr>
        <p:sp>
          <p:nvSpPr>
            <p:cNvPr id="5" name="AutoShape 5">
              <a:extLst>
                <a:ext uri="{FF2B5EF4-FFF2-40B4-BE49-F238E27FC236}">
                  <a16:creationId xmlns:a16="http://schemas.microsoft.com/office/drawing/2014/main" id="{BDD5C0F0-BC1A-4E6C-8F76-12538391E985}"/>
                </a:ext>
                <a:ext uri="{C183D7F6-B498-43B3-948B-1728B52AA6E4}">
                  <adec:decorative xmlns:adec="http://schemas.microsoft.com/office/drawing/2017/decorative" val="1"/>
                </a:ext>
              </a:extLst>
            </p:cNvPr>
            <p:cNvSpPr>
              <a:spLocks noChangeArrowheads="1"/>
            </p:cNvSpPr>
            <p:nvPr/>
          </p:nvSpPr>
          <p:spPr bwMode="auto">
            <a:xfrm rot="16200000" flipH="1">
              <a:off x="1116505" y="3222205"/>
              <a:ext cx="3284654" cy="941144"/>
            </a:xfrm>
            <a:prstGeom prst="homePlate">
              <a:avLst>
                <a:gd name="adj" fmla="val 29053"/>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 name="Rectangle 14">
              <a:extLst>
                <a:ext uri="{FF2B5EF4-FFF2-40B4-BE49-F238E27FC236}">
                  <a16:creationId xmlns:a16="http://schemas.microsoft.com/office/drawing/2014/main" id="{8F938053-5B58-4CD0-9221-F1B7AE4CC4C7}"/>
                </a:ext>
              </a:extLst>
            </p:cNvPr>
            <p:cNvSpPr>
              <a:spLocks noChangeArrowheads="1"/>
            </p:cNvSpPr>
            <p:nvPr/>
          </p:nvSpPr>
          <p:spPr bwMode="auto">
            <a:xfrm>
              <a:off x="2283721" y="1366837"/>
              <a:ext cx="950223"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21" name="Group 20" descr="Text 2">
            <a:extLst>
              <a:ext uri="{FF2B5EF4-FFF2-40B4-BE49-F238E27FC236}">
                <a16:creationId xmlns:a16="http://schemas.microsoft.com/office/drawing/2014/main" id="{778A4790-2B56-4945-91E2-ABC89C612E27}"/>
              </a:ext>
            </a:extLst>
          </p:cNvPr>
          <p:cNvGrpSpPr/>
          <p:nvPr/>
        </p:nvGrpSpPr>
        <p:grpSpPr>
          <a:xfrm>
            <a:off x="3397358" y="1366837"/>
            <a:ext cx="944171" cy="3970336"/>
            <a:chOff x="3397358" y="1366837"/>
            <a:chExt cx="944171" cy="3970336"/>
          </a:xfrm>
        </p:grpSpPr>
        <p:sp>
          <p:nvSpPr>
            <p:cNvPr id="4" name="AutoShape 4">
              <a:extLst>
                <a:ext uri="{FF2B5EF4-FFF2-40B4-BE49-F238E27FC236}">
                  <a16:creationId xmlns:a16="http://schemas.microsoft.com/office/drawing/2014/main" id="{2882A903-A85D-43C1-8DDC-996C2A953D06}"/>
                </a:ext>
                <a:ext uri="{C183D7F6-B498-43B3-948B-1728B52AA6E4}">
                  <adec:decorative xmlns:adec="http://schemas.microsoft.com/office/drawing/2017/decorative" val="1"/>
                </a:ext>
              </a:extLst>
            </p:cNvPr>
            <p:cNvSpPr>
              <a:spLocks noChangeArrowheads="1"/>
            </p:cNvSpPr>
            <p:nvPr/>
          </p:nvSpPr>
          <p:spPr bwMode="auto">
            <a:xfrm rot="16200000" flipH="1">
              <a:off x="2227116" y="3224274"/>
              <a:ext cx="3284654" cy="941144"/>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 name="Rectangle 15">
              <a:extLst>
                <a:ext uri="{FF2B5EF4-FFF2-40B4-BE49-F238E27FC236}">
                  <a16:creationId xmlns:a16="http://schemas.microsoft.com/office/drawing/2014/main" id="{FA449AB8-456E-43FE-A13E-B8A548CA1B1D}"/>
                </a:ext>
              </a:extLst>
            </p:cNvPr>
            <p:cNvSpPr>
              <a:spLocks noChangeArrowheads="1"/>
            </p:cNvSpPr>
            <p:nvPr/>
          </p:nvSpPr>
          <p:spPr bwMode="auto">
            <a:xfrm>
              <a:off x="3397358"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26" name="Group 25" descr="text 3">
            <a:extLst>
              <a:ext uri="{FF2B5EF4-FFF2-40B4-BE49-F238E27FC236}">
                <a16:creationId xmlns:a16="http://schemas.microsoft.com/office/drawing/2014/main" id="{D80A1672-6C11-47AB-8077-26E96DA40BD7}"/>
              </a:ext>
            </a:extLst>
          </p:cNvPr>
          <p:cNvGrpSpPr/>
          <p:nvPr/>
        </p:nvGrpSpPr>
        <p:grpSpPr>
          <a:xfrm>
            <a:off x="4504945" y="1366837"/>
            <a:ext cx="945683" cy="3970336"/>
            <a:chOff x="4504945" y="1366837"/>
            <a:chExt cx="945683" cy="3970336"/>
          </a:xfrm>
        </p:grpSpPr>
        <p:sp>
          <p:nvSpPr>
            <p:cNvPr id="6" name="AutoShape 6">
              <a:extLst>
                <a:ext uri="{FF2B5EF4-FFF2-40B4-BE49-F238E27FC236}">
                  <a16:creationId xmlns:a16="http://schemas.microsoft.com/office/drawing/2014/main" id="{71090300-9ED7-43D7-B5BB-985888D25FAE}"/>
                </a:ext>
                <a:ext uri="{C183D7F6-B498-43B3-948B-1728B52AA6E4}">
                  <adec:decorative xmlns:adec="http://schemas.microsoft.com/office/drawing/2017/decorative" val="1"/>
                </a:ext>
              </a:extLst>
            </p:cNvPr>
            <p:cNvSpPr>
              <a:spLocks noChangeArrowheads="1"/>
            </p:cNvSpPr>
            <p:nvPr/>
          </p:nvSpPr>
          <p:spPr bwMode="auto">
            <a:xfrm rot="16200000" flipH="1">
              <a:off x="3337729" y="3224274"/>
              <a:ext cx="3284654" cy="941144"/>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 name="Rectangle 16">
              <a:extLst>
                <a:ext uri="{FF2B5EF4-FFF2-40B4-BE49-F238E27FC236}">
                  <a16:creationId xmlns:a16="http://schemas.microsoft.com/office/drawing/2014/main" id="{69DE6512-AE6D-48AA-AD24-9C5A8C2F1876}"/>
                </a:ext>
              </a:extLst>
            </p:cNvPr>
            <p:cNvSpPr>
              <a:spLocks noChangeArrowheads="1"/>
            </p:cNvSpPr>
            <p:nvPr/>
          </p:nvSpPr>
          <p:spPr bwMode="auto">
            <a:xfrm>
              <a:off x="4504945"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27" name="Group 26" descr="text 4">
            <a:extLst>
              <a:ext uri="{FF2B5EF4-FFF2-40B4-BE49-F238E27FC236}">
                <a16:creationId xmlns:a16="http://schemas.microsoft.com/office/drawing/2014/main" id="{D6EC352A-28B0-4599-8497-7CDF5F1D3D4B}"/>
              </a:ext>
            </a:extLst>
          </p:cNvPr>
          <p:cNvGrpSpPr/>
          <p:nvPr/>
        </p:nvGrpSpPr>
        <p:grpSpPr>
          <a:xfrm>
            <a:off x="5612528" y="1366837"/>
            <a:ext cx="945684" cy="3970336"/>
            <a:chOff x="5612528" y="1366837"/>
            <a:chExt cx="945684" cy="3970336"/>
          </a:xfrm>
        </p:grpSpPr>
        <p:sp>
          <p:nvSpPr>
            <p:cNvPr id="7" name="AutoShape 7">
              <a:extLst>
                <a:ext uri="{FF2B5EF4-FFF2-40B4-BE49-F238E27FC236}">
                  <a16:creationId xmlns:a16="http://schemas.microsoft.com/office/drawing/2014/main" id="{E328A4A0-FCCC-4E64-B1D9-664BA11DE63F}"/>
                </a:ext>
                <a:ext uri="{C183D7F6-B498-43B3-948B-1728B52AA6E4}">
                  <adec:decorative xmlns:adec="http://schemas.microsoft.com/office/drawing/2017/decorative" val="1"/>
                </a:ext>
              </a:extLst>
            </p:cNvPr>
            <p:cNvSpPr>
              <a:spLocks noChangeArrowheads="1"/>
            </p:cNvSpPr>
            <p:nvPr/>
          </p:nvSpPr>
          <p:spPr bwMode="auto">
            <a:xfrm rot="16200000" flipH="1">
              <a:off x="4445313" y="3224274"/>
              <a:ext cx="3284654" cy="941144"/>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 name="Rectangle 17">
              <a:extLst>
                <a:ext uri="{FF2B5EF4-FFF2-40B4-BE49-F238E27FC236}">
                  <a16:creationId xmlns:a16="http://schemas.microsoft.com/office/drawing/2014/main" id="{FA8973CE-17ED-463B-A687-992BD274AE2E}"/>
                </a:ext>
              </a:extLst>
            </p:cNvPr>
            <p:cNvSpPr>
              <a:spLocks noChangeArrowheads="1"/>
            </p:cNvSpPr>
            <p:nvPr/>
          </p:nvSpPr>
          <p:spPr bwMode="auto">
            <a:xfrm>
              <a:off x="5612528"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28" name="Group 27" descr="text 5">
            <a:extLst>
              <a:ext uri="{FF2B5EF4-FFF2-40B4-BE49-F238E27FC236}">
                <a16:creationId xmlns:a16="http://schemas.microsoft.com/office/drawing/2014/main" id="{1E751796-2CC3-41C5-BB8C-EE1C6AA62AC8}"/>
              </a:ext>
            </a:extLst>
          </p:cNvPr>
          <p:cNvGrpSpPr/>
          <p:nvPr/>
        </p:nvGrpSpPr>
        <p:grpSpPr>
          <a:xfrm>
            <a:off x="6720115" y="1366837"/>
            <a:ext cx="947198" cy="3970336"/>
            <a:chOff x="6720115" y="1366837"/>
            <a:chExt cx="947198" cy="3970336"/>
          </a:xfrm>
        </p:grpSpPr>
        <p:sp>
          <p:nvSpPr>
            <p:cNvPr id="8" name="AutoShape 8">
              <a:extLst>
                <a:ext uri="{FF2B5EF4-FFF2-40B4-BE49-F238E27FC236}">
                  <a16:creationId xmlns:a16="http://schemas.microsoft.com/office/drawing/2014/main" id="{D3F72586-1283-409C-B3BD-C812AA37C18B}"/>
                </a:ext>
                <a:ext uri="{C183D7F6-B498-43B3-948B-1728B52AA6E4}">
                  <adec:decorative xmlns:adec="http://schemas.microsoft.com/office/drawing/2017/decorative" val="1"/>
                </a:ext>
              </a:extLst>
            </p:cNvPr>
            <p:cNvSpPr>
              <a:spLocks noChangeArrowheads="1"/>
            </p:cNvSpPr>
            <p:nvPr/>
          </p:nvSpPr>
          <p:spPr bwMode="auto">
            <a:xfrm rot="16200000" flipH="1">
              <a:off x="5552899" y="3224274"/>
              <a:ext cx="3284654" cy="941144"/>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 name="Rectangle 18">
              <a:extLst>
                <a:ext uri="{FF2B5EF4-FFF2-40B4-BE49-F238E27FC236}">
                  <a16:creationId xmlns:a16="http://schemas.microsoft.com/office/drawing/2014/main" id="{BB72E7F7-ECB5-42DC-B8B4-982B8CD1E85F}"/>
                </a:ext>
              </a:extLst>
            </p:cNvPr>
            <p:cNvSpPr>
              <a:spLocks noChangeArrowheads="1"/>
            </p:cNvSpPr>
            <p:nvPr/>
          </p:nvSpPr>
          <p:spPr bwMode="auto">
            <a:xfrm>
              <a:off x="6720115" y="1366837"/>
              <a:ext cx="947198"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29" name="Group 28" descr="text 6">
            <a:extLst>
              <a:ext uri="{FF2B5EF4-FFF2-40B4-BE49-F238E27FC236}">
                <a16:creationId xmlns:a16="http://schemas.microsoft.com/office/drawing/2014/main" id="{B8ADA00E-0461-4EBA-B695-1C68CC99C625}"/>
              </a:ext>
            </a:extLst>
          </p:cNvPr>
          <p:cNvGrpSpPr/>
          <p:nvPr/>
        </p:nvGrpSpPr>
        <p:grpSpPr>
          <a:xfrm>
            <a:off x="7830725" y="1366837"/>
            <a:ext cx="944171" cy="3970336"/>
            <a:chOff x="7830725" y="1366837"/>
            <a:chExt cx="944171" cy="3970336"/>
          </a:xfrm>
        </p:grpSpPr>
        <p:sp>
          <p:nvSpPr>
            <p:cNvPr id="9" name="AutoShape 9">
              <a:extLst>
                <a:ext uri="{FF2B5EF4-FFF2-40B4-BE49-F238E27FC236}">
                  <a16:creationId xmlns:a16="http://schemas.microsoft.com/office/drawing/2014/main" id="{529D0F4E-1B14-4EFC-869F-DE61E6B34973}"/>
                </a:ext>
                <a:ext uri="{C183D7F6-B498-43B3-948B-1728B52AA6E4}">
                  <adec:decorative xmlns:adec="http://schemas.microsoft.com/office/drawing/2017/decorative" val="1"/>
                </a:ext>
              </a:extLst>
            </p:cNvPr>
            <p:cNvSpPr>
              <a:spLocks noChangeArrowheads="1"/>
            </p:cNvSpPr>
            <p:nvPr/>
          </p:nvSpPr>
          <p:spPr bwMode="auto">
            <a:xfrm rot="16200000" flipH="1">
              <a:off x="6660484" y="3224274"/>
              <a:ext cx="3284654" cy="941144"/>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 name="Rectangle 19">
              <a:extLst>
                <a:ext uri="{FF2B5EF4-FFF2-40B4-BE49-F238E27FC236}">
                  <a16:creationId xmlns:a16="http://schemas.microsoft.com/office/drawing/2014/main" id="{E4FA5913-450A-4861-9294-AB605F712D9C}"/>
                </a:ext>
              </a:extLst>
            </p:cNvPr>
            <p:cNvSpPr>
              <a:spLocks noChangeArrowheads="1"/>
            </p:cNvSpPr>
            <p:nvPr/>
          </p:nvSpPr>
          <p:spPr bwMode="auto">
            <a:xfrm>
              <a:off x="7830725"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30" name="Group 29" descr="text 7">
            <a:extLst>
              <a:ext uri="{FF2B5EF4-FFF2-40B4-BE49-F238E27FC236}">
                <a16:creationId xmlns:a16="http://schemas.microsoft.com/office/drawing/2014/main" id="{191D13B6-697C-4B74-81D0-15342895CE53}"/>
              </a:ext>
            </a:extLst>
          </p:cNvPr>
          <p:cNvGrpSpPr/>
          <p:nvPr/>
        </p:nvGrpSpPr>
        <p:grpSpPr>
          <a:xfrm>
            <a:off x="8938312" y="1366837"/>
            <a:ext cx="944171" cy="3970336"/>
            <a:chOff x="8938312" y="1366837"/>
            <a:chExt cx="944171" cy="3970336"/>
          </a:xfrm>
        </p:grpSpPr>
        <p:sp>
          <p:nvSpPr>
            <p:cNvPr id="10" name="AutoShape 10">
              <a:extLst>
                <a:ext uri="{FF2B5EF4-FFF2-40B4-BE49-F238E27FC236}">
                  <a16:creationId xmlns:a16="http://schemas.microsoft.com/office/drawing/2014/main" id="{99FCF155-7358-445E-8362-6AC9D6C61DB4}"/>
                </a:ext>
                <a:ext uri="{C183D7F6-B498-43B3-948B-1728B52AA6E4}">
                  <adec:decorative xmlns:adec="http://schemas.microsoft.com/office/drawing/2017/decorative" val="1"/>
                </a:ext>
              </a:extLst>
            </p:cNvPr>
            <p:cNvSpPr>
              <a:spLocks noChangeArrowheads="1"/>
            </p:cNvSpPr>
            <p:nvPr/>
          </p:nvSpPr>
          <p:spPr bwMode="auto">
            <a:xfrm rot="16200000" flipH="1">
              <a:off x="7768070" y="3224274"/>
              <a:ext cx="3284654" cy="941144"/>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 name="Rectangle 20">
              <a:extLst>
                <a:ext uri="{FF2B5EF4-FFF2-40B4-BE49-F238E27FC236}">
                  <a16:creationId xmlns:a16="http://schemas.microsoft.com/office/drawing/2014/main" id="{0E0FC9EE-7FE3-459E-AA90-926C5FA2F91D}"/>
                </a:ext>
              </a:extLst>
            </p:cNvPr>
            <p:cNvSpPr>
              <a:spLocks noChangeArrowheads="1"/>
            </p:cNvSpPr>
            <p:nvPr/>
          </p:nvSpPr>
          <p:spPr bwMode="auto">
            <a:xfrm>
              <a:off x="8938312"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sp>
        <p:nvSpPr>
          <p:cNvPr id="18" name="AutoShape 11">
            <a:extLst>
              <a:ext uri="{FF2B5EF4-FFF2-40B4-BE49-F238E27FC236}">
                <a16:creationId xmlns:a16="http://schemas.microsoft.com/office/drawing/2014/main" id="{CE331ECB-C8A4-4EFD-A985-1F90A20C7577}"/>
              </a:ext>
            </a:extLst>
          </p:cNvPr>
          <p:cNvSpPr>
            <a:spLocks noChangeArrowheads="1"/>
          </p:cNvSpPr>
          <p:nvPr/>
        </p:nvSpPr>
        <p:spPr bwMode="auto">
          <a:xfrm>
            <a:off x="1817688" y="2282168"/>
            <a:ext cx="8555037" cy="546478"/>
          </a:xfrm>
          <a:prstGeom prst="homePlate">
            <a:avLst>
              <a:gd name="adj" fmla="val 28859"/>
            </a:avLst>
          </a:prstGeom>
          <a:solidFill>
            <a:schemeClr val="accent3"/>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mj-lt"/>
                <a:ea typeface="+mn-ea"/>
                <a:cs typeface="+mn-cs"/>
              </a:rPr>
              <a:t>Text</a:t>
            </a:r>
          </a:p>
        </p:txBody>
      </p:sp>
      <p:sp>
        <p:nvSpPr>
          <p:cNvPr id="19" name="AutoShape 12">
            <a:extLst>
              <a:ext uri="{FF2B5EF4-FFF2-40B4-BE49-F238E27FC236}">
                <a16:creationId xmlns:a16="http://schemas.microsoft.com/office/drawing/2014/main" id="{D98A4A69-2AAE-4E2E-A48A-C4A202BD2B27}"/>
              </a:ext>
            </a:extLst>
          </p:cNvPr>
          <p:cNvSpPr>
            <a:spLocks noChangeArrowheads="1"/>
          </p:cNvSpPr>
          <p:nvPr/>
        </p:nvSpPr>
        <p:spPr bwMode="auto">
          <a:xfrm>
            <a:off x="1817688" y="2908830"/>
            <a:ext cx="8555037" cy="546478"/>
          </a:xfrm>
          <a:prstGeom prst="homePlate">
            <a:avLst>
              <a:gd name="adj" fmla="val 28859"/>
            </a:avLst>
          </a:prstGeom>
          <a:solidFill>
            <a:schemeClr val="accent2"/>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mj-lt"/>
                <a:ea typeface="+mn-ea"/>
                <a:cs typeface="+mn-cs"/>
              </a:rPr>
              <a:t>Text</a:t>
            </a:r>
          </a:p>
        </p:txBody>
      </p:sp>
      <p:sp>
        <p:nvSpPr>
          <p:cNvPr id="20" name="AutoShape 13">
            <a:extLst>
              <a:ext uri="{FF2B5EF4-FFF2-40B4-BE49-F238E27FC236}">
                <a16:creationId xmlns:a16="http://schemas.microsoft.com/office/drawing/2014/main" id="{40762271-0BCB-4C37-9668-9300078E8CED}"/>
              </a:ext>
            </a:extLst>
          </p:cNvPr>
          <p:cNvSpPr>
            <a:spLocks noChangeArrowheads="1"/>
          </p:cNvSpPr>
          <p:nvPr/>
        </p:nvSpPr>
        <p:spPr bwMode="auto">
          <a:xfrm>
            <a:off x="1817688" y="3535492"/>
            <a:ext cx="8555037" cy="546478"/>
          </a:xfrm>
          <a:prstGeom prst="homePlate">
            <a:avLst>
              <a:gd name="adj" fmla="val 28859"/>
            </a:avLst>
          </a:prstGeom>
          <a:solidFill>
            <a:schemeClr val="accent1"/>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mj-lt"/>
                <a:ea typeface="+mn-ea"/>
                <a:cs typeface="+mn-cs"/>
              </a:rPr>
              <a:t>Text</a:t>
            </a:r>
          </a:p>
        </p:txBody>
      </p:sp>
      <p:sp>
        <p:nvSpPr>
          <p:cNvPr id="22" name="AutoShape 13">
            <a:extLst>
              <a:ext uri="{FF2B5EF4-FFF2-40B4-BE49-F238E27FC236}">
                <a16:creationId xmlns:a16="http://schemas.microsoft.com/office/drawing/2014/main" id="{66E3DB13-DE35-499C-A460-89568F307E0A}"/>
              </a:ext>
            </a:extLst>
          </p:cNvPr>
          <p:cNvSpPr>
            <a:spLocks noChangeArrowheads="1"/>
          </p:cNvSpPr>
          <p:nvPr/>
        </p:nvSpPr>
        <p:spPr bwMode="auto">
          <a:xfrm>
            <a:off x="1817688" y="4162155"/>
            <a:ext cx="8555037" cy="546478"/>
          </a:xfrm>
          <a:prstGeom prst="homePlate">
            <a:avLst>
              <a:gd name="adj" fmla="val 28859"/>
            </a:avLst>
          </a:prstGeom>
          <a:solidFill>
            <a:schemeClr val="accent4"/>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mj-lt"/>
                <a:ea typeface="+mn-ea"/>
                <a:cs typeface="+mn-cs"/>
              </a:rPr>
              <a:t>Text</a:t>
            </a:r>
          </a:p>
        </p:txBody>
      </p:sp>
      <p:sp>
        <p:nvSpPr>
          <p:cNvPr id="24" name="Footer Placeholder 23">
            <a:extLst>
              <a:ext uri="{FF2B5EF4-FFF2-40B4-BE49-F238E27FC236}">
                <a16:creationId xmlns:a16="http://schemas.microsoft.com/office/drawing/2014/main" id="{A65502A3-5939-4064-B264-74F15F4E20E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5" name="Slide Number Placeholder 24">
            <a:extLst>
              <a:ext uri="{FF2B5EF4-FFF2-40B4-BE49-F238E27FC236}">
                <a16:creationId xmlns:a16="http://schemas.microsoft.com/office/drawing/2014/main" id="{87DE631F-B18C-413B-AF95-F4FD287E85B2}"/>
              </a:ext>
            </a:extLst>
          </p:cNvPr>
          <p:cNvSpPr>
            <a:spLocks noGrp="1"/>
          </p:cNvSpPr>
          <p:nvPr>
            <p:ph type="sldNum" sz="quarter" idx="10"/>
          </p:nvPr>
        </p:nvSpPr>
        <p:spPr/>
        <p:txBody>
          <a:bodyPr/>
          <a:lstStyle/>
          <a:p>
            <a:fld id="{1F90F471-3972-4120-B8B3-0237DE626C35}" type="slidenum">
              <a:rPr lang="en-US" smtClean="0"/>
              <a:pPr/>
              <a:t>334</a:t>
            </a:fld>
            <a:endParaRPr lang="en-US" dirty="0"/>
          </a:p>
        </p:txBody>
      </p:sp>
    </p:spTree>
    <p:extLst>
      <p:ext uri="{BB962C8B-B14F-4D97-AF65-F5344CB8AC3E}">
        <p14:creationId xmlns:p14="http://schemas.microsoft.com/office/powerpoint/2010/main" val="43154972"/>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a:xfrm>
            <a:off x="381634" y="381633"/>
            <a:ext cx="11430000" cy="800100"/>
          </a:xfrm>
        </p:spPr>
        <p:txBody>
          <a:bodyPr/>
          <a:lstStyle/>
          <a:p>
            <a:r>
              <a:rPr lang="en-US" dirty="0"/>
              <a:t>Matrix 3</a:t>
            </a:r>
            <a:endParaRPr lang="de-DE" dirty="0"/>
          </a:p>
        </p:txBody>
      </p:sp>
      <p:grpSp>
        <p:nvGrpSpPr>
          <p:cNvPr id="3" name="Group 2" descr="text 1">
            <a:extLst>
              <a:ext uri="{FF2B5EF4-FFF2-40B4-BE49-F238E27FC236}">
                <a16:creationId xmlns:a16="http://schemas.microsoft.com/office/drawing/2014/main" id="{8C38ABA0-A576-4704-BECB-31DC41E06E92}"/>
              </a:ext>
            </a:extLst>
          </p:cNvPr>
          <p:cNvGrpSpPr/>
          <p:nvPr/>
        </p:nvGrpSpPr>
        <p:grpSpPr>
          <a:xfrm>
            <a:off x="2126682" y="1893179"/>
            <a:ext cx="620316" cy="3442198"/>
            <a:chOff x="2126682" y="1893179"/>
            <a:chExt cx="620316" cy="3442198"/>
          </a:xfrm>
        </p:grpSpPr>
        <p:sp>
          <p:nvSpPr>
            <p:cNvPr id="6" name="AutoShape 5">
              <a:extLst>
                <a:ext uri="{FF2B5EF4-FFF2-40B4-BE49-F238E27FC236}">
                  <a16:creationId xmlns:a16="http://schemas.microsoft.com/office/drawing/2014/main" id="{C9AC4288-39C4-4849-8BDC-D91C92C2C917}"/>
                </a:ext>
                <a:ext uri="{C183D7F6-B498-43B3-948B-1728B52AA6E4}">
                  <adec:decorative xmlns:adec="http://schemas.microsoft.com/office/drawing/2017/decorative" val="1"/>
                </a:ext>
              </a:extLst>
            </p:cNvPr>
            <p:cNvSpPr>
              <a:spLocks noChangeArrowheads="1"/>
            </p:cNvSpPr>
            <p:nvPr/>
          </p:nvSpPr>
          <p:spPr bwMode="auto">
            <a:xfrm rot="16200000" flipH="1">
              <a:off x="1012234" y="3603577"/>
              <a:ext cx="2849211" cy="614389"/>
            </a:xfrm>
            <a:prstGeom prst="homePlate">
              <a:avLst>
                <a:gd name="adj" fmla="val 29053"/>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8854B83C-CAF8-463C-B4CD-3473DC009B3C}"/>
                </a:ext>
              </a:extLst>
            </p:cNvPr>
            <p:cNvSpPr>
              <a:spLocks noChangeArrowheads="1"/>
            </p:cNvSpPr>
            <p:nvPr/>
          </p:nvSpPr>
          <p:spPr bwMode="auto">
            <a:xfrm>
              <a:off x="2126682" y="1893179"/>
              <a:ext cx="620316" cy="488026"/>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21" name="Group 20" descr="text 2">
            <a:extLst>
              <a:ext uri="{FF2B5EF4-FFF2-40B4-BE49-F238E27FC236}">
                <a16:creationId xmlns:a16="http://schemas.microsoft.com/office/drawing/2014/main" id="{9545CE41-1920-47AA-B5C9-A7A88F7A5B78}"/>
              </a:ext>
            </a:extLst>
          </p:cNvPr>
          <p:cNvGrpSpPr/>
          <p:nvPr/>
        </p:nvGrpSpPr>
        <p:grpSpPr>
          <a:xfrm>
            <a:off x="2853676" y="1893179"/>
            <a:ext cx="616366" cy="3443993"/>
            <a:chOff x="2853676" y="1893179"/>
            <a:chExt cx="616366" cy="3443993"/>
          </a:xfrm>
        </p:grpSpPr>
        <p:sp>
          <p:nvSpPr>
            <p:cNvPr id="5" name="AutoShape 4">
              <a:extLst>
                <a:ext uri="{FF2B5EF4-FFF2-40B4-BE49-F238E27FC236}">
                  <a16:creationId xmlns:a16="http://schemas.microsoft.com/office/drawing/2014/main" id="{48ED6DD8-E37D-4CFC-8F68-ECB37590BE71}"/>
                </a:ext>
                <a:ext uri="{C183D7F6-B498-43B3-948B-1728B52AA6E4}">
                  <adec:decorative xmlns:adec="http://schemas.microsoft.com/office/drawing/2017/decorative" val="1"/>
                </a:ext>
              </a:extLst>
            </p:cNvPr>
            <p:cNvSpPr>
              <a:spLocks noChangeArrowheads="1"/>
            </p:cNvSpPr>
            <p:nvPr/>
          </p:nvSpPr>
          <p:spPr bwMode="auto">
            <a:xfrm rot="16200000" flipH="1">
              <a:off x="1737253" y="3605372"/>
              <a:ext cx="2849211" cy="614389"/>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A468F8F4-2FDA-48C4-B724-A355EAEE3580}"/>
                </a:ext>
              </a:extLst>
            </p:cNvPr>
            <p:cNvSpPr>
              <a:spLocks noChangeArrowheads="1"/>
            </p:cNvSpPr>
            <p:nvPr/>
          </p:nvSpPr>
          <p:spPr bwMode="auto">
            <a:xfrm>
              <a:off x="2853676" y="1893179"/>
              <a:ext cx="616366" cy="488026"/>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27" name="Group 26" descr="text 3">
            <a:extLst>
              <a:ext uri="{FF2B5EF4-FFF2-40B4-BE49-F238E27FC236}">
                <a16:creationId xmlns:a16="http://schemas.microsoft.com/office/drawing/2014/main" id="{F52E3F79-2970-4523-B3A0-9F13F312013B}"/>
              </a:ext>
            </a:extLst>
          </p:cNvPr>
          <p:cNvGrpSpPr/>
          <p:nvPr/>
        </p:nvGrpSpPr>
        <p:grpSpPr>
          <a:xfrm>
            <a:off x="3576722" y="1893179"/>
            <a:ext cx="617352" cy="3443993"/>
            <a:chOff x="3576722" y="1893179"/>
            <a:chExt cx="617352" cy="3443993"/>
          </a:xfrm>
        </p:grpSpPr>
        <p:sp>
          <p:nvSpPr>
            <p:cNvPr id="7" name="AutoShape 6">
              <a:extLst>
                <a:ext uri="{FF2B5EF4-FFF2-40B4-BE49-F238E27FC236}">
                  <a16:creationId xmlns:a16="http://schemas.microsoft.com/office/drawing/2014/main" id="{CF6E26DF-52EE-45C6-9C2F-3B77E84B7FC9}"/>
                </a:ext>
                <a:ext uri="{C183D7F6-B498-43B3-948B-1728B52AA6E4}">
                  <adec:decorative xmlns:adec="http://schemas.microsoft.com/office/drawing/2017/decorative" val="1"/>
                </a:ext>
              </a:extLst>
            </p:cNvPr>
            <p:cNvSpPr>
              <a:spLocks noChangeArrowheads="1"/>
            </p:cNvSpPr>
            <p:nvPr/>
          </p:nvSpPr>
          <p:spPr bwMode="auto">
            <a:xfrm rot="16200000" flipH="1">
              <a:off x="2462274" y="3605372"/>
              <a:ext cx="2849211" cy="614389"/>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D8E74C9B-08CF-4DCD-918A-AD143E784073}"/>
                </a:ext>
              </a:extLst>
            </p:cNvPr>
            <p:cNvSpPr>
              <a:spLocks noChangeArrowheads="1"/>
            </p:cNvSpPr>
            <p:nvPr/>
          </p:nvSpPr>
          <p:spPr bwMode="auto">
            <a:xfrm>
              <a:off x="3576722" y="1893179"/>
              <a:ext cx="616366" cy="488026"/>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28" name="Group 27" descr="text 4">
            <a:extLst>
              <a:ext uri="{FF2B5EF4-FFF2-40B4-BE49-F238E27FC236}">
                <a16:creationId xmlns:a16="http://schemas.microsoft.com/office/drawing/2014/main" id="{40FDEDB7-A42D-487E-9457-2F4A50C389F5}"/>
              </a:ext>
            </a:extLst>
          </p:cNvPr>
          <p:cNvGrpSpPr/>
          <p:nvPr/>
        </p:nvGrpSpPr>
        <p:grpSpPr>
          <a:xfrm>
            <a:off x="4299765" y="1893179"/>
            <a:ext cx="617352" cy="3443993"/>
            <a:chOff x="4299765" y="1893179"/>
            <a:chExt cx="617352" cy="3443993"/>
          </a:xfrm>
        </p:grpSpPr>
        <p:sp>
          <p:nvSpPr>
            <p:cNvPr id="8" name="AutoShape 7">
              <a:extLst>
                <a:ext uri="{FF2B5EF4-FFF2-40B4-BE49-F238E27FC236}">
                  <a16:creationId xmlns:a16="http://schemas.microsoft.com/office/drawing/2014/main" id="{2217006C-B34C-46B3-B177-2015EC14DC57}"/>
                </a:ext>
                <a:ext uri="{C183D7F6-B498-43B3-948B-1728B52AA6E4}">
                  <adec:decorative xmlns:adec="http://schemas.microsoft.com/office/drawing/2017/decorative" val="1"/>
                </a:ext>
              </a:extLst>
            </p:cNvPr>
            <p:cNvSpPr>
              <a:spLocks noChangeArrowheads="1"/>
            </p:cNvSpPr>
            <p:nvPr/>
          </p:nvSpPr>
          <p:spPr bwMode="auto">
            <a:xfrm rot="16200000" flipH="1">
              <a:off x="3185317" y="3605372"/>
              <a:ext cx="2849211" cy="614389"/>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529D88A6-8BF2-4811-953F-E07ED9C734A0}"/>
                </a:ext>
              </a:extLst>
            </p:cNvPr>
            <p:cNvSpPr>
              <a:spLocks noChangeArrowheads="1"/>
            </p:cNvSpPr>
            <p:nvPr/>
          </p:nvSpPr>
          <p:spPr bwMode="auto">
            <a:xfrm>
              <a:off x="4299765" y="1893179"/>
              <a:ext cx="616366" cy="488026"/>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29" name="Group 28" descr="text 5">
            <a:extLst>
              <a:ext uri="{FF2B5EF4-FFF2-40B4-BE49-F238E27FC236}">
                <a16:creationId xmlns:a16="http://schemas.microsoft.com/office/drawing/2014/main" id="{E58CCBD4-E85A-46BD-AC5C-E9D1E2460D41}"/>
              </a:ext>
            </a:extLst>
          </p:cNvPr>
          <p:cNvGrpSpPr/>
          <p:nvPr/>
        </p:nvGrpSpPr>
        <p:grpSpPr>
          <a:xfrm>
            <a:off x="5022810" y="1893179"/>
            <a:ext cx="618342" cy="3443993"/>
            <a:chOff x="5022810" y="1893179"/>
            <a:chExt cx="618342" cy="3443993"/>
          </a:xfrm>
        </p:grpSpPr>
        <p:sp>
          <p:nvSpPr>
            <p:cNvPr id="9" name="AutoShape 8">
              <a:extLst>
                <a:ext uri="{FF2B5EF4-FFF2-40B4-BE49-F238E27FC236}">
                  <a16:creationId xmlns:a16="http://schemas.microsoft.com/office/drawing/2014/main" id="{F9E3BAE3-8156-4AA3-8344-685EFE73DBE2}"/>
                </a:ext>
                <a:ext uri="{C183D7F6-B498-43B3-948B-1728B52AA6E4}">
                  <adec:decorative xmlns:adec="http://schemas.microsoft.com/office/drawing/2017/decorative" val="1"/>
                </a:ext>
              </a:extLst>
            </p:cNvPr>
            <p:cNvSpPr>
              <a:spLocks noChangeArrowheads="1"/>
            </p:cNvSpPr>
            <p:nvPr/>
          </p:nvSpPr>
          <p:spPr bwMode="auto">
            <a:xfrm rot="16200000" flipH="1">
              <a:off x="3908362" y="3605372"/>
              <a:ext cx="2849211" cy="614389"/>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9ACDF61C-EEFE-4CC1-A3C2-6BB0A2C161BC}"/>
                </a:ext>
              </a:extLst>
            </p:cNvPr>
            <p:cNvSpPr>
              <a:spLocks noChangeArrowheads="1"/>
            </p:cNvSpPr>
            <p:nvPr/>
          </p:nvSpPr>
          <p:spPr bwMode="auto">
            <a:xfrm>
              <a:off x="5022810" y="1893179"/>
              <a:ext cx="618342" cy="488026"/>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30" name="Group 29" descr="text 6">
            <a:extLst>
              <a:ext uri="{FF2B5EF4-FFF2-40B4-BE49-F238E27FC236}">
                <a16:creationId xmlns:a16="http://schemas.microsoft.com/office/drawing/2014/main" id="{187A786A-AE34-45CF-837E-09B4FA275BD9}"/>
              </a:ext>
            </a:extLst>
          </p:cNvPr>
          <p:cNvGrpSpPr/>
          <p:nvPr/>
        </p:nvGrpSpPr>
        <p:grpSpPr>
          <a:xfrm>
            <a:off x="5747829" y="1893179"/>
            <a:ext cx="616366" cy="3443993"/>
            <a:chOff x="5747829" y="1893179"/>
            <a:chExt cx="616366" cy="3443993"/>
          </a:xfrm>
        </p:grpSpPr>
        <p:sp>
          <p:nvSpPr>
            <p:cNvPr id="10" name="AutoShape 9">
              <a:extLst>
                <a:ext uri="{FF2B5EF4-FFF2-40B4-BE49-F238E27FC236}">
                  <a16:creationId xmlns:a16="http://schemas.microsoft.com/office/drawing/2014/main" id="{DB0637A8-A965-4E88-80E4-98CEB9D055FD}"/>
                </a:ext>
                <a:ext uri="{C183D7F6-B498-43B3-948B-1728B52AA6E4}">
                  <adec:decorative xmlns:adec="http://schemas.microsoft.com/office/drawing/2017/decorative" val="1"/>
                </a:ext>
              </a:extLst>
            </p:cNvPr>
            <p:cNvSpPr>
              <a:spLocks noChangeArrowheads="1"/>
            </p:cNvSpPr>
            <p:nvPr/>
          </p:nvSpPr>
          <p:spPr bwMode="auto">
            <a:xfrm rot="16200000" flipH="1">
              <a:off x="4631406" y="3605372"/>
              <a:ext cx="2849211" cy="614389"/>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B67DFCD3-9062-4B69-ACA7-51411B76E7CC}"/>
                </a:ext>
              </a:extLst>
            </p:cNvPr>
            <p:cNvSpPr>
              <a:spLocks noChangeArrowheads="1"/>
            </p:cNvSpPr>
            <p:nvPr/>
          </p:nvSpPr>
          <p:spPr bwMode="auto">
            <a:xfrm>
              <a:off x="5747829" y="1893179"/>
              <a:ext cx="616366" cy="488026"/>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31" name="Group 30" descr="text 7">
            <a:extLst>
              <a:ext uri="{FF2B5EF4-FFF2-40B4-BE49-F238E27FC236}">
                <a16:creationId xmlns:a16="http://schemas.microsoft.com/office/drawing/2014/main" id="{29F3D10E-CE97-4891-88A6-3B5562677CD7}"/>
              </a:ext>
            </a:extLst>
          </p:cNvPr>
          <p:cNvGrpSpPr/>
          <p:nvPr/>
        </p:nvGrpSpPr>
        <p:grpSpPr>
          <a:xfrm>
            <a:off x="6470874" y="1893179"/>
            <a:ext cx="616366" cy="3443993"/>
            <a:chOff x="6470874" y="1893179"/>
            <a:chExt cx="616366" cy="3443993"/>
          </a:xfrm>
        </p:grpSpPr>
        <p:sp>
          <p:nvSpPr>
            <p:cNvPr id="11" name="AutoShape 10">
              <a:extLst>
                <a:ext uri="{FF2B5EF4-FFF2-40B4-BE49-F238E27FC236}">
                  <a16:creationId xmlns:a16="http://schemas.microsoft.com/office/drawing/2014/main" id="{B6098648-3EE8-4326-ACDB-78AE04AAA5AC}"/>
                </a:ext>
                <a:ext uri="{C183D7F6-B498-43B3-948B-1728B52AA6E4}">
                  <adec:decorative xmlns:adec="http://schemas.microsoft.com/office/drawing/2017/decorative" val="1"/>
                </a:ext>
              </a:extLst>
            </p:cNvPr>
            <p:cNvSpPr>
              <a:spLocks noChangeArrowheads="1"/>
            </p:cNvSpPr>
            <p:nvPr/>
          </p:nvSpPr>
          <p:spPr bwMode="auto">
            <a:xfrm rot="16200000" flipH="1">
              <a:off x="5354451" y="3605372"/>
              <a:ext cx="2849211" cy="614389"/>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 name="Rectangle 20">
              <a:extLst>
                <a:ext uri="{FF2B5EF4-FFF2-40B4-BE49-F238E27FC236}">
                  <a16:creationId xmlns:a16="http://schemas.microsoft.com/office/drawing/2014/main" id="{B02F21F1-3982-48C8-AE60-33BEE107BBA7}"/>
                </a:ext>
              </a:extLst>
            </p:cNvPr>
            <p:cNvSpPr>
              <a:spLocks noChangeArrowheads="1"/>
            </p:cNvSpPr>
            <p:nvPr/>
          </p:nvSpPr>
          <p:spPr bwMode="auto">
            <a:xfrm>
              <a:off x="6470874" y="1893179"/>
              <a:ext cx="616366" cy="488026"/>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sp>
        <p:nvSpPr>
          <p:cNvPr id="12" name="AutoShape 11">
            <a:extLst>
              <a:ext uri="{FF2B5EF4-FFF2-40B4-BE49-F238E27FC236}">
                <a16:creationId xmlns:a16="http://schemas.microsoft.com/office/drawing/2014/main" id="{BD7700E1-C85F-49B1-97C6-81B97C8C2E5D}"/>
              </a:ext>
            </a:extLst>
          </p:cNvPr>
          <p:cNvSpPr>
            <a:spLocks noChangeArrowheads="1"/>
          </p:cNvSpPr>
          <p:nvPr/>
        </p:nvSpPr>
        <p:spPr bwMode="auto">
          <a:xfrm>
            <a:off x="1822450" y="2687166"/>
            <a:ext cx="5584825" cy="604172"/>
          </a:xfrm>
          <a:prstGeom prst="homePlate">
            <a:avLst>
              <a:gd name="adj" fmla="val 28859"/>
            </a:avLst>
          </a:prstGeom>
          <a:solidFill>
            <a:schemeClr val="accent3"/>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mj-lt"/>
                <a:ea typeface="+mn-ea"/>
                <a:cs typeface="+mn-cs"/>
              </a:rPr>
              <a:t>Text</a:t>
            </a:r>
          </a:p>
        </p:txBody>
      </p:sp>
      <p:sp>
        <p:nvSpPr>
          <p:cNvPr id="13" name="AutoShape 12">
            <a:extLst>
              <a:ext uri="{FF2B5EF4-FFF2-40B4-BE49-F238E27FC236}">
                <a16:creationId xmlns:a16="http://schemas.microsoft.com/office/drawing/2014/main" id="{EA3F77C9-6A50-443F-B073-34E364C0A2F5}"/>
              </a:ext>
            </a:extLst>
          </p:cNvPr>
          <p:cNvSpPr>
            <a:spLocks noChangeArrowheads="1"/>
          </p:cNvSpPr>
          <p:nvPr/>
        </p:nvSpPr>
        <p:spPr bwMode="auto">
          <a:xfrm>
            <a:off x="1822450" y="3368369"/>
            <a:ext cx="5584825" cy="604172"/>
          </a:xfrm>
          <a:prstGeom prst="homePlate">
            <a:avLst>
              <a:gd name="adj" fmla="val 28859"/>
            </a:avLst>
          </a:prstGeom>
          <a:solidFill>
            <a:schemeClr val="accent2"/>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mj-lt"/>
                <a:ea typeface="+mn-ea"/>
                <a:cs typeface="+mn-cs"/>
              </a:rPr>
              <a:t>Text</a:t>
            </a:r>
          </a:p>
        </p:txBody>
      </p:sp>
      <p:sp>
        <p:nvSpPr>
          <p:cNvPr id="14" name="AutoShape 13">
            <a:extLst>
              <a:ext uri="{FF2B5EF4-FFF2-40B4-BE49-F238E27FC236}">
                <a16:creationId xmlns:a16="http://schemas.microsoft.com/office/drawing/2014/main" id="{150B6CA0-FE03-40C5-B5FB-3BDF98F18346}"/>
              </a:ext>
            </a:extLst>
          </p:cNvPr>
          <p:cNvSpPr>
            <a:spLocks noChangeArrowheads="1"/>
          </p:cNvSpPr>
          <p:nvPr/>
        </p:nvSpPr>
        <p:spPr bwMode="auto">
          <a:xfrm>
            <a:off x="1822450" y="4049571"/>
            <a:ext cx="5584825" cy="604172"/>
          </a:xfrm>
          <a:prstGeom prst="homePlate">
            <a:avLst>
              <a:gd name="adj" fmla="val 28859"/>
            </a:avLst>
          </a:prstGeom>
          <a:solidFill>
            <a:schemeClr val="accent1"/>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mj-lt"/>
                <a:ea typeface="+mn-ea"/>
                <a:cs typeface="+mn-cs"/>
              </a:rPr>
              <a:t>Text</a:t>
            </a:r>
          </a:p>
        </p:txBody>
      </p:sp>
      <p:sp>
        <p:nvSpPr>
          <p:cNvPr id="23" name="Rectangle 21">
            <a:extLst>
              <a:ext uri="{FF2B5EF4-FFF2-40B4-BE49-F238E27FC236}">
                <a16:creationId xmlns:a16="http://schemas.microsoft.com/office/drawing/2014/main" id="{F3C26EEF-E99F-477F-8D29-13539F6748C9}"/>
              </a:ext>
            </a:extLst>
          </p:cNvPr>
          <p:cNvSpPr>
            <a:spLocks noChangeArrowheads="1"/>
          </p:cNvSpPr>
          <p:nvPr/>
        </p:nvSpPr>
        <p:spPr bwMode="auto">
          <a:xfrm>
            <a:off x="7759700" y="1893179"/>
            <a:ext cx="2959099" cy="3442199"/>
          </a:xfrm>
          <a:prstGeom prst="rect">
            <a:avLst/>
          </a:prstGeom>
          <a:solidFill>
            <a:schemeClr val="accent4"/>
          </a:solidFill>
          <a:ln w="6350">
            <a:noFill/>
            <a:miter lim="800000"/>
            <a:headEnd/>
            <a:tailEnd/>
          </a:ln>
        </p:spPr>
        <p:txBody>
          <a:bodyPr lIns="252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effectLst/>
                <a:uLnTx/>
                <a:uFillTx/>
                <a:ea typeface="+mn-ea"/>
                <a:cs typeface="+mn-cs"/>
              </a:rPr>
              <a:t>Text</a:t>
            </a:r>
          </a:p>
        </p:txBody>
      </p:sp>
      <p:sp>
        <p:nvSpPr>
          <p:cNvPr id="25" name="Footer Placeholder 24">
            <a:extLst>
              <a:ext uri="{FF2B5EF4-FFF2-40B4-BE49-F238E27FC236}">
                <a16:creationId xmlns:a16="http://schemas.microsoft.com/office/drawing/2014/main" id="{DA3D6FFE-6993-49A9-8434-0CF50B25E7C9}"/>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6" name="Slide Number Placeholder 25">
            <a:extLst>
              <a:ext uri="{FF2B5EF4-FFF2-40B4-BE49-F238E27FC236}">
                <a16:creationId xmlns:a16="http://schemas.microsoft.com/office/drawing/2014/main" id="{197BDF99-F8E5-4682-B87F-2C5E1945ED13}"/>
              </a:ext>
            </a:extLst>
          </p:cNvPr>
          <p:cNvSpPr>
            <a:spLocks noGrp="1"/>
          </p:cNvSpPr>
          <p:nvPr>
            <p:ph type="sldNum" sz="quarter" idx="10"/>
          </p:nvPr>
        </p:nvSpPr>
        <p:spPr/>
        <p:txBody>
          <a:bodyPr/>
          <a:lstStyle/>
          <a:p>
            <a:fld id="{1F90F471-3972-4120-B8B3-0237DE626C35}" type="slidenum">
              <a:rPr lang="en-US" smtClean="0"/>
              <a:pPr/>
              <a:t>335</a:t>
            </a:fld>
            <a:endParaRPr lang="en-US" dirty="0"/>
          </a:p>
        </p:txBody>
      </p:sp>
    </p:spTree>
    <p:extLst>
      <p:ext uri="{BB962C8B-B14F-4D97-AF65-F5344CB8AC3E}">
        <p14:creationId xmlns:p14="http://schemas.microsoft.com/office/powerpoint/2010/main" val="1161075421"/>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GB" dirty="0"/>
              <a:t>Matrix 4</a:t>
            </a:r>
            <a:endParaRPr lang="de-DE" dirty="0"/>
          </a:p>
        </p:txBody>
      </p:sp>
      <p:grpSp>
        <p:nvGrpSpPr>
          <p:cNvPr id="30" name="Group 29" descr="text 1">
            <a:extLst>
              <a:ext uri="{FF2B5EF4-FFF2-40B4-BE49-F238E27FC236}">
                <a16:creationId xmlns:a16="http://schemas.microsoft.com/office/drawing/2014/main" id="{C20087EC-CB53-4FEA-AF21-1002991399EE}"/>
              </a:ext>
            </a:extLst>
          </p:cNvPr>
          <p:cNvGrpSpPr/>
          <p:nvPr/>
        </p:nvGrpSpPr>
        <p:grpSpPr>
          <a:xfrm>
            <a:off x="2142325" y="1893179"/>
            <a:ext cx="620180" cy="3443405"/>
            <a:chOff x="2142325" y="1893179"/>
            <a:chExt cx="620180" cy="3443405"/>
          </a:xfrm>
        </p:grpSpPr>
        <p:sp>
          <p:nvSpPr>
            <p:cNvPr id="6" name="AutoShape 5">
              <a:extLst>
                <a:ext uri="{FF2B5EF4-FFF2-40B4-BE49-F238E27FC236}">
                  <a16:creationId xmlns:a16="http://schemas.microsoft.com/office/drawing/2014/main" id="{F2296BFC-B755-47F9-A080-D7036F162C74}"/>
                </a:ext>
                <a:ext uri="{C183D7F6-B498-43B3-948B-1728B52AA6E4}">
                  <adec:decorative xmlns:adec="http://schemas.microsoft.com/office/drawing/2017/decorative" val="1"/>
                </a:ext>
              </a:extLst>
            </p:cNvPr>
            <p:cNvSpPr>
              <a:spLocks noChangeArrowheads="1"/>
            </p:cNvSpPr>
            <p:nvPr/>
          </p:nvSpPr>
          <p:spPr bwMode="auto">
            <a:xfrm rot="16200000" flipH="1">
              <a:off x="1027310" y="3604351"/>
              <a:ext cx="2850210" cy="614255"/>
            </a:xfrm>
            <a:prstGeom prst="homePlate">
              <a:avLst>
                <a:gd name="adj" fmla="val 29053"/>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 name="Rectangle 14">
              <a:extLst>
                <a:ext uri="{FF2B5EF4-FFF2-40B4-BE49-F238E27FC236}">
                  <a16:creationId xmlns:a16="http://schemas.microsoft.com/office/drawing/2014/main" id="{EFECCE43-110E-446C-9CAF-66F580E6B872}"/>
                </a:ext>
              </a:extLst>
            </p:cNvPr>
            <p:cNvSpPr>
              <a:spLocks noChangeArrowheads="1"/>
            </p:cNvSpPr>
            <p:nvPr/>
          </p:nvSpPr>
          <p:spPr bwMode="auto">
            <a:xfrm>
              <a:off x="2142325" y="1893179"/>
              <a:ext cx="620180" cy="488197"/>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31" name="Group 30" descr="text 2">
            <a:extLst>
              <a:ext uri="{FF2B5EF4-FFF2-40B4-BE49-F238E27FC236}">
                <a16:creationId xmlns:a16="http://schemas.microsoft.com/office/drawing/2014/main" id="{B9F5A886-1CA4-4B70-B037-0BDCF446E79A}"/>
              </a:ext>
            </a:extLst>
          </p:cNvPr>
          <p:cNvGrpSpPr/>
          <p:nvPr/>
        </p:nvGrpSpPr>
        <p:grpSpPr>
          <a:xfrm>
            <a:off x="2869160" y="1893179"/>
            <a:ext cx="616230" cy="3445201"/>
            <a:chOff x="2869160" y="1893179"/>
            <a:chExt cx="616230" cy="3445201"/>
          </a:xfrm>
        </p:grpSpPr>
        <p:sp>
          <p:nvSpPr>
            <p:cNvPr id="5" name="AutoShape 4">
              <a:extLst>
                <a:ext uri="{FF2B5EF4-FFF2-40B4-BE49-F238E27FC236}">
                  <a16:creationId xmlns:a16="http://schemas.microsoft.com/office/drawing/2014/main" id="{5A7595EE-EDBB-42C7-A8A4-0374ED6A13EA}"/>
                </a:ext>
                <a:ext uri="{C183D7F6-B498-43B3-948B-1728B52AA6E4}">
                  <adec:decorative xmlns:adec="http://schemas.microsoft.com/office/drawing/2017/decorative" val="1"/>
                </a:ext>
              </a:extLst>
            </p:cNvPr>
            <p:cNvSpPr>
              <a:spLocks noChangeArrowheads="1"/>
            </p:cNvSpPr>
            <p:nvPr/>
          </p:nvSpPr>
          <p:spPr bwMode="auto">
            <a:xfrm rot="16200000" flipH="1">
              <a:off x="1752170" y="3606147"/>
              <a:ext cx="2850210" cy="614255"/>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 name="Rectangle 15">
              <a:extLst>
                <a:ext uri="{FF2B5EF4-FFF2-40B4-BE49-F238E27FC236}">
                  <a16:creationId xmlns:a16="http://schemas.microsoft.com/office/drawing/2014/main" id="{163BE181-301F-454F-9994-486872C8B5F7}"/>
                </a:ext>
              </a:extLst>
            </p:cNvPr>
            <p:cNvSpPr>
              <a:spLocks noChangeArrowheads="1"/>
            </p:cNvSpPr>
            <p:nvPr/>
          </p:nvSpPr>
          <p:spPr bwMode="auto">
            <a:xfrm>
              <a:off x="2869160" y="1893179"/>
              <a:ext cx="616230" cy="488197"/>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32" name="Group 31" descr="text 3">
            <a:extLst>
              <a:ext uri="{FF2B5EF4-FFF2-40B4-BE49-F238E27FC236}">
                <a16:creationId xmlns:a16="http://schemas.microsoft.com/office/drawing/2014/main" id="{C7802003-6F46-486D-B036-716B2FC03D5F}"/>
              </a:ext>
            </a:extLst>
          </p:cNvPr>
          <p:cNvGrpSpPr/>
          <p:nvPr/>
        </p:nvGrpSpPr>
        <p:grpSpPr>
          <a:xfrm>
            <a:off x="3592047" y="1893179"/>
            <a:ext cx="617217" cy="3445201"/>
            <a:chOff x="3592047" y="1893179"/>
            <a:chExt cx="617217" cy="3445201"/>
          </a:xfrm>
        </p:grpSpPr>
        <p:sp>
          <p:nvSpPr>
            <p:cNvPr id="7" name="AutoShape 6">
              <a:extLst>
                <a:ext uri="{FF2B5EF4-FFF2-40B4-BE49-F238E27FC236}">
                  <a16:creationId xmlns:a16="http://schemas.microsoft.com/office/drawing/2014/main" id="{1C74EC33-D498-4B1C-82F3-8109DCE621DE}"/>
                </a:ext>
                <a:ext uri="{C183D7F6-B498-43B3-948B-1728B52AA6E4}">
                  <adec:decorative xmlns:adec="http://schemas.microsoft.com/office/drawing/2017/decorative" val="1"/>
                </a:ext>
              </a:extLst>
            </p:cNvPr>
            <p:cNvSpPr>
              <a:spLocks noChangeArrowheads="1"/>
            </p:cNvSpPr>
            <p:nvPr/>
          </p:nvSpPr>
          <p:spPr bwMode="auto">
            <a:xfrm rot="16200000" flipH="1">
              <a:off x="2477032" y="3606147"/>
              <a:ext cx="2850210" cy="614255"/>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 name="Rectangle 16">
              <a:extLst>
                <a:ext uri="{FF2B5EF4-FFF2-40B4-BE49-F238E27FC236}">
                  <a16:creationId xmlns:a16="http://schemas.microsoft.com/office/drawing/2014/main" id="{13B48331-64FB-475B-8EE1-AFDECEF72BA6}"/>
                </a:ext>
              </a:extLst>
            </p:cNvPr>
            <p:cNvSpPr>
              <a:spLocks noChangeArrowheads="1"/>
            </p:cNvSpPr>
            <p:nvPr/>
          </p:nvSpPr>
          <p:spPr bwMode="auto">
            <a:xfrm>
              <a:off x="3592047" y="1893179"/>
              <a:ext cx="616230" cy="488197"/>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33" name="Group 32" descr="text 4">
            <a:extLst>
              <a:ext uri="{FF2B5EF4-FFF2-40B4-BE49-F238E27FC236}">
                <a16:creationId xmlns:a16="http://schemas.microsoft.com/office/drawing/2014/main" id="{4D26BA0B-EFDF-4CD4-A31F-A091108F655B}"/>
              </a:ext>
            </a:extLst>
          </p:cNvPr>
          <p:cNvGrpSpPr/>
          <p:nvPr/>
        </p:nvGrpSpPr>
        <p:grpSpPr>
          <a:xfrm>
            <a:off x="4314931" y="1893179"/>
            <a:ext cx="617218" cy="3445201"/>
            <a:chOff x="4314931" y="1893179"/>
            <a:chExt cx="617218" cy="3445201"/>
          </a:xfrm>
        </p:grpSpPr>
        <p:sp>
          <p:nvSpPr>
            <p:cNvPr id="8" name="AutoShape 7">
              <a:extLst>
                <a:ext uri="{FF2B5EF4-FFF2-40B4-BE49-F238E27FC236}">
                  <a16:creationId xmlns:a16="http://schemas.microsoft.com/office/drawing/2014/main" id="{C894B48D-A85B-4DC0-AC1B-DF61434A8E5D}"/>
                </a:ext>
                <a:ext uri="{C183D7F6-B498-43B3-948B-1728B52AA6E4}">
                  <adec:decorative xmlns:adec="http://schemas.microsoft.com/office/drawing/2017/decorative" val="1"/>
                </a:ext>
              </a:extLst>
            </p:cNvPr>
            <p:cNvSpPr>
              <a:spLocks noChangeArrowheads="1"/>
            </p:cNvSpPr>
            <p:nvPr/>
          </p:nvSpPr>
          <p:spPr bwMode="auto">
            <a:xfrm rot="16200000" flipH="1">
              <a:off x="3199917" y="3606147"/>
              <a:ext cx="2850210" cy="614255"/>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 name="Rectangle 17">
              <a:extLst>
                <a:ext uri="{FF2B5EF4-FFF2-40B4-BE49-F238E27FC236}">
                  <a16:creationId xmlns:a16="http://schemas.microsoft.com/office/drawing/2014/main" id="{D103C706-0F62-441A-BC4D-1EB848F26DA0}"/>
                </a:ext>
              </a:extLst>
            </p:cNvPr>
            <p:cNvSpPr>
              <a:spLocks noChangeArrowheads="1"/>
            </p:cNvSpPr>
            <p:nvPr/>
          </p:nvSpPr>
          <p:spPr bwMode="auto">
            <a:xfrm>
              <a:off x="4314931" y="1893179"/>
              <a:ext cx="616230" cy="488197"/>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34" name="Group 33" descr="text 5">
            <a:extLst>
              <a:ext uri="{FF2B5EF4-FFF2-40B4-BE49-F238E27FC236}">
                <a16:creationId xmlns:a16="http://schemas.microsoft.com/office/drawing/2014/main" id="{9FF778EB-1297-4C7F-9C42-6A017C74E60F}"/>
              </a:ext>
            </a:extLst>
          </p:cNvPr>
          <p:cNvGrpSpPr/>
          <p:nvPr/>
        </p:nvGrpSpPr>
        <p:grpSpPr>
          <a:xfrm>
            <a:off x="5037818" y="1893179"/>
            <a:ext cx="618206" cy="3445201"/>
            <a:chOff x="5037818" y="1893179"/>
            <a:chExt cx="618206" cy="3445201"/>
          </a:xfrm>
        </p:grpSpPr>
        <p:sp>
          <p:nvSpPr>
            <p:cNvPr id="9" name="AutoShape 8">
              <a:extLst>
                <a:ext uri="{FF2B5EF4-FFF2-40B4-BE49-F238E27FC236}">
                  <a16:creationId xmlns:a16="http://schemas.microsoft.com/office/drawing/2014/main" id="{B779B423-3B05-45A8-9B65-0D611E14C26E}"/>
                </a:ext>
                <a:ext uri="{C183D7F6-B498-43B3-948B-1728B52AA6E4}">
                  <adec:decorative xmlns:adec="http://schemas.microsoft.com/office/drawing/2017/decorative" val="1"/>
                </a:ext>
              </a:extLst>
            </p:cNvPr>
            <p:cNvSpPr>
              <a:spLocks noChangeArrowheads="1"/>
            </p:cNvSpPr>
            <p:nvPr/>
          </p:nvSpPr>
          <p:spPr bwMode="auto">
            <a:xfrm rot="16200000" flipH="1">
              <a:off x="3922803" y="3606147"/>
              <a:ext cx="2850210" cy="614255"/>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 name="Rectangle 18">
              <a:extLst>
                <a:ext uri="{FF2B5EF4-FFF2-40B4-BE49-F238E27FC236}">
                  <a16:creationId xmlns:a16="http://schemas.microsoft.com/office/drawing/2014/main" id="{4D0919F2-5D1B-4E30-8CEF-B7535E38E073}"/>
                </a:ext>
              </a:extLst>
            </p:cNvPr>
            <p:cNvSpPr>
              <a:spLocks noChangeArrowheads="1"/>
            </p:cNvSpPr>
            <p:nvPr/>
          </p:nvSpPr>
          <p:spPr bwMode="auto">
            <a:xfrm>
              <a:off x="5037818" y="1893179"/>
              <a:ext cx="618206" cy="488197"/>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35" name="Group 34" descr="text 6">
            <a:extLst>
              <a:ext uri="{FF2B5EF4-FFF2-40B4-BE49-F238E27FC236}">
                <a16:creationId xmlns:a16="http://schemas.microsoft.com/office/drawing/2014/main" id="{3268840A-96EA-430E-9FB4-D163FCA02294}"/>
              </a:ext>
            </a:extLst>
          </p:cNvPr>
          <p:cNvGrpSpPr/>
          <p:nvPr/>
        </p:nvGrpSpPr>
        <p:grpSpPr>
          <a:xfrm>
            <a:off x="5762678" y="1893179"/>
            <a:ext cx="616230" cy="3445201"/>
            <a:chOff x="5762678" y="1893179"/>
            <a:chExt cx="616230" cy="3445201"/>
          </a:xfrm>
        </p:grpSpPr>
        <p:sp>
          <p:nvSpPr>
            <p:cNvPr id="10" name="AutoShape 9">
              <a:extLst>
                <a:ext uri="{FF2B5EF4-FFF2-40B4-BE49-F238E27FC236}">
                  <a16:creationId xmlns:a16="http://schemas.microsoft.com/office/drawing/2014/main" id="{5EB62987-31C8-49D7-83B5-C834AE3E8E37}"/>
                </a:ext>
                <a:ext uri="{C183D7F6-B498-43B3-948B-1728B52AA6E4}">
                  <adec:decorative xmlns:adec="http://schemas.microsoft.com/office/drawing/2017/decorative" val="1"/>
                </a:ext>
              </a:extLst>
            </p:cNvPr>
            <p:cNvSpPr>
              <a:spLocks noChangeArrowheads="1"/>
            </p:cNvSpPr>
            <p:nvPr/>
          </p:nvSpPr>
          <p:spPr bwMode="auto">
            <a:xfrm rot="16200000" flipH="1">
              <a:off x="4645688" y="3606147"/>
              <a:ext cx="2850210" cy="614255"/>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 name="Rectangle 19">
              <a:extLst>
                <a:ext uri="{FF2B5EF4-FFF2-40B4-BE49-F238E27FC236}">
                  <a16:creationId xmlns:a16="http://schemas.microsoft.com/office/drawing/2014/main" id="{3634D7F2-619F-4A37-BE05-F284C0735F7C}"/>
                </a:ext>
              </a:extLst>
            </p:cNvPr>
            <p:cNvSpPr>
              <a:spLocks noChangeArrowheads="1"/>
            </p:cNvSpPr>
            <p:nvPr/>
          </p:nvSpPr>
          <p:spPr bwMode="auto">
            <a:xfrm>
              <a:off x="5762678" y="1893179"/>
              <a:ext cx="616230" cy="488197"/>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36" name="Group 35" descr="text 7">
            <a:extLst>
              <a:ext uri="{FF2B5EF4-FFF2-40B4-BE49-F238E27FC236}">
                <a16:creationId xmlns:a16="http://schemas.microsoft.com/office/drawing/2014/main" id="{37309CE4-296C-482E-A007-D4E9CE868806}"/>
              </a:ext>
            </a:extLst>
          </p:cNvPr>
          <p:cNvGrpSpPr/>
          <p:nvPr/>
        </p:nvGrpSpPr>
        <p:grpSpPr>
          <a:xfrm>
            <a:off x="6485564" y="1893179"/>
            <a:ext cx="616230" cy="3445201"/>
            <a:chOff x="6485564" y="1893179"/>
            <a:chExt cx="616230" cy="3445201"/>
          </a:xfrm>
        </p:grpSpPr>
        <p:sp>
          <p:nvSpPr>
            <p:cNvPr id="11" name="AutoShape 10">
              <a:extLst>
                <a:ext uri="{FF2B5EF4-FFF2-40B4-BE49-F238E27FC236}">
                  <a16:creationId xmlns:a16="http://schemas.microsoft.com/office/drawing/2014/main" id="{966C05CB-9CA1-4057-AAA8-FA8EED9C95EF}"/>
                </a:ext>
                <a:ext uri="{C183D7F6-B498-43B3-948B-1728B52AA6E4}">
                  <adec:decorative xmlns:adec="http://schemas.microsoft.com/office/drawing/2017/decorative" val="1"/>
                </a:ext>
              </a:extLst>
            </p:cNvPr>
            <p:cNvSpPr>
              <a:spLocks noChangeArrowheads="1"/>
            </p:cNvSpPr>
            <p:nvPr/>
          </p:nvSpPr>
          <p:spPr bwMode="auto">
            <a:xfrm rot="16200000" flipH="1">
              <a:off x="5368574" y="3606147"/>
              <a:ext cx="2850210" cy="614255"/>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 name="Rectangle 20">
              <a:extLst>
                <a:ext uri="{FF2B5EF4-FFF2-40B4-BE49-F238E27FC236}">
                  <a16:creationId xmlns:a16="http://schemas.microsoft.com/office/drawing/2014/main" id="{70D9A989-5505-4E53-B858-1059BEF52BF7}"/>
                </a:ext>
              </a:extLst>
            </p:cNvPr>
            <p:cNvSpPr>
              <a:spLocks noChangeArrowheads="1"/>
            </p:cNvSpPr>
            <p:nvPr/>
          </p:nvSpPr>
          <p:spPr bwMode="auto">
            <a:xfrm>
              <a:off x="6485564" y="1893179"/>
              <a:ext cx="616230" cy="488197"/>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sp>
        <p:nvSpPr>
          <p:cNvPr id="19" name="AutoShape 11">
            <a:extLst>
              <a:ext uri="{FF2B5EF4-FFF2-40B4-BE49-F238E27FC236}">
                <a16:creationId xmlns:a16="http://schemas.microsoft.com/office/drawing/2014/main" id="{CF545049-35B2-4F19-9EFA-B8C6A7BC5497}"/>
              </a:ext>
            </a:extLst>
          </p:cNvPr>
          <p:cNvSpPr>
            <a:spLocks noChangeArrowheads="1"/>
          </p:cNvSpPr>
          <p:nvPr/>
        </p:nvSpPr>
        <p:spPr bwMode="auto">
          <a:xfrm>
            <a:off x="1838160" y="2687444"/>
            <a:ext cx="5583600" cy="474198"/>
          </a:xfrm>
          <a:prstGeom prst="homePlate">
            <a:avLst>
              <a:gd name="adj" fmla="val 28859"/>
            </a:avLst>
          </a:prstGeom>
          <a:solidFill>
            <a:schemeClr val="accent3"/>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mj-lt"/>
                <a:ea typeface="+mn-ea"/>
                <a:cs typeface="+mn-cs"/>
              </a:rPr>
              <a:t>Text</a:t>
            </a:r>
          </a:p>
        </p:txBody>
      </p:sp>
      <p:sp>
        <p:nvSpPr>
          <p:cNvPr id="20" name="AutoShape 12">
            <a:extLst>
              <a:ext uri="{FF2B5EF4-FFF2-40B4-BE49-F238E27FC236}">
                <a16:creationId xmlns:a16="http://schemas.microsoft.com/office/drawing/2014/main" id="{FEC3A51A-C5C2-4CFF-9B58-B3599BD7E0BA}"/>
              </a:ext>
            </a:extLst>
          </p:cNvPr>
          <p:cNvSpPr>
            <a:spLocks noChangeArrowheads="1"/>
          </p:cNvSpPr>
          <p:nvPr/>
        </p:nvSpPr>
        <p:spPr bwMode="auto">
          <a:xfrm>
            <a:off x="1838160" y="3231220"/>
            <a:ext cx="5583600" cy="474198"/>
          </a:xfrm>
          <a:prstGeom prst="homePlate">
            <a:avLst>
              <a:gd name="adj" fmla="val 28859"/>
            </a:avLst>
          </a:prstGeom>
          <a:solidFill>
            <a:schemeClr val="accent2"/>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mj-lt"/>
                <a:ea typeface="+mn-ea"/>
                <a:cs typeface="+mn-cs"/>
              </a:rPr>
              <a:t>Text</a:t>
            </a:r>
          </a:p>
        </p:txBody>
      </p:sp>
      <p:sp>
        <p:nvSpPr>
          <p:cNvPr id="22" name="AutoShape 13">
            <a:extLst>
              <a:ext uri="{FF2B5EF4-FFF2-40B4-BE49-F238E27FC236}">
                <a16:creationId xmlns:a16="http://schemas.microsoft.com/office/drawing/2014/main" id="{36A95A87-8A73-40F6-90B4-1C2E4D56E601}"/>
              </a:ext>
            </a:extLst>
          </p:cNvPr>
          <p:cNvSpPr>
            <a:spLocks noChangeArrowheads="1"/>
          </p:cNvSpPr>
          <p:nvPr/>
        </p:nvSpPr>
        <p:spPr bwMode="auto">
          <a:xfrm>
            <a:off x="1838160" y="3774997"/>
            <a:ext cx="5583600" cy="474198"/>
          </a:xfrm>
          <a:prstGeom prst="homePlate">
            <a:avLst>
              <a:gd name="adj" fmla="val 28859"/>
            </a:avLst>
          </a:prstGeom>
          <a:solidFill>
            <a:schemeClr val="accent1"/>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mj-lt"/>
                <a:ea typeface="+mn-ea"/>
                <a:cs typeface="+mn-cs"/>
              </a:rPr>
              <a:t>Text</a:t>
            </a:r>
          </a:p>
        </p:txBody>
      </p:sp>
      <p:sp>
        <p:nvSpPr>
          <p:cNvPr id="23" name="AutoShape 13">
            <a:extLst>
              <a:ext uri="{FF2B5EF4-FFF2-40B4-BE49-F238E27FC236}">
                <a16:creationId xmlns:a16="http://schemas.microsoft.com/office/drawing/2014/main" id="{2DD57C88-D32D-4575-A1D1-F017AF88B0B2}"/>
              </a:ext>
            </a:extLst>
          </p:cNvPr>
          <p:cNvSpPr>
            <a:spLocks noChangeArrowheads="1"/>
          </p:cNvSpPr>
          <p:nvPr/>
        </p:nvSpPr>
        <p:spPr bwMode="auto">
          <a:xfrm>
            <a:off x="1838160" y="4318775"/>
            <a:ext cx="5583600" cy="474198"/>
          </a:xfrm>
          <a:prstGeom prst="homePlate">
            <a:avLst>
              <a:gd name="adj" fmla="val 28859"/>
            </a:avLst>
          </a:prstGeom>
          <a:solidFill>
            <a:schemeClr val="accent4"/>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mj-lt"/>
                <a:ea typeface="+mn-ea"/>
                <a:cs typeface="+mn-cs"/>
              </a:rPr>
              <a:t>Text</a:t>
            </a:r>
          </a:p>
        </p:txBody>
      </p:sp>
      <p:sp>
        <p:nvSpPr>
          <p:cNvPr id="24" name="Rectangle 21">
            <a:extLst>
              <a:ext uri="{FF2B5EF4-FFF2-40B4-BE49-F238E27FC236}">
                <a16:creationId xmlns:a16="http://schemas.microsoft.com/office/drawing/2014/main" id="{671FE765-4DCB-4228-8ED0-AD2EB7022932}"/>
              </a:ext>
            </a:extLst>
          </p:cNvPr>
          <p:cNvSpPr>
            <a:spLocks noChangeArrowheads="1"/>
          </p:cNvSpPr>
          <p:nvPr/>
        </p:nvSpPr>
        <p:spPr bwMode="auto">
          <a:xfrm>
            <a:off x="7759700" y="1893179"/>
            <a:ext cx="2959099" cy="3442199"/>
          </a:xfrm>
          <a:prstGeom prst="rect">
            <a:avLst/>
          </a:prstGeom>
          <a:solidFill>
            <a:schemeClr val="accent4"/>
          </a:solidFill>
          <a:ln w="6350">
            <a:noFill/>
            <a:miter lim="800000"/>
            <a:headEnd/>
            <a:tailEnd/>
          </a:ln>
        </p:spPr>
        <p:txBody>
          <a:bodyPr lIns="252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effectLst/>
                <a:uLnTx/>
                <a:uFillTx/>
                <a:ea typeface="+mn-ea"/>
                <a:cs typeface="+mn-cs"/>
              </a:rPr>
              <a:t>Text</a:t>
            </a:r>
          </a:p>
        </p:txBody>
      </p:sp>
      <p:sp>
        <p:nvSpPr>
          <p:cNvPr id="26" name="Footer Placeholder 25">
            <a:extLst>
              <a:ext uri="{FF2B5EF4-FFF2-40B4-BE49-F238E27FC236}">
                <a16:creationId xmlns:a16="http://schemas.microsoft.com/office/drawing/2014/main" id="{79D1B590-5D37-4938-B805-EB000B0637D3}"/>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7" name="Slide Number Placeholder 26">
            <a:extLst>
              <a:ext uri="{FF2B5EF4-FFF2-40B4-BE49-F238E27FC236}">
                <a16:creationId xmlns:a16="http://schemas.microsoft.com/office/drawing/2014/main" id="{1A42693B-F160-4158-B72B-5A97361C1C6C}"/>
              </a:ext>
            </a:extLst>
          </p:cNvPr>
          <p:cNvSpPr>
            <a:spLocks noGrp="1"/>
          </p:cNvSpPr>
          <p:nvPr>
            <p:ph type="sldNum" sz="quarter" idx="10"/>
          </p:nvPr>
        </p:nvSpPr>
        <p:spPr/>
        <p:txBody>
          <a:bodyPr/>
          <a:lstStyle/>
          <a:p>
            <a:fld id="{1F90F471-3972-4120-B8B3-0237DE626C35}" type="slidenum">
              <a:rPr lang="en-US" smtClean="0"/>
              <a:pPr/>
              <a:t>336</a:t>
            </a:fld>
            <a:endParaRPr lang="en-US" dirty="0"/>
          </a:p>
        </p:txBody>
      </p:sp>
    </p:spTree>
    <p:extLst>
      <p:ext uri="{BB962C8B-B14F-4D97-AF65-F5344CB8AC3E}">
        <p14:creationId xmlns:p14="http://schemas.microsoft.com/office/powerpoint/2010/main" val="1179489210"/>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Matrix 5</a:t>
            </a:r>
          </a:p>
        </p:txBody>
      </p:sp>
      <p:sp>
        <p:nvSpPr>
          <p:cNvPr id="5" name="Rectangle 3">
            <a:extLst>
              <a:ext uri="{FF2B5EF4-FFF2-40B4-BE49-F238E27FC236}">
                <a16:creationId xmlns:a16="http://schemas.microsoft.com/office/drawing/2014/main" id="{3374228F-7369-4720-B37F-D1DC6BF02498}"/>
              </a:ext>
            </a:extLst>
          </p:cNvPr>
          <p:cNvSpPr>
            <a:spLocks noChangeArrowheads="1"/>
          </p:cNvSpPr>
          <p:nvPr/>
        </p:nvSpPr>
        <p:spPr bwMode="auto">
          <a:xfrm>
            <a:off x="3251542" y="1366838"/>
            <a:ext cx="1535656" cy="4691062"/>
          </a:xfrm>
          <a:prstGeom prst="rect">
            <a:avLst/>
          </a:prstGeom>
          <a:solidFill>
            <a:srgbClr val="96968C">
              <a:lumMod val="20000"/>
              <a:lumOff val="80000"/>
            </a:srgbClr>
          </a:solidFill>
          <a:ln w="9525">
            <a:noFill/>
            <a:miter lim="800000"/>
            <a:headEnd type="none" w="sm" len="sm"/>
            <a:tailEnd type="none" w="sm" len="sm"/>
          </a:ln>
        </p:spPr>
        <p:txBody>
          <a:bodyPr wrap="none" tIns="82800"/>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1600" b="0" i="0" u="none" strike="noStrike" kern="0" cap="none" spc="0" normalizeH="0" baseline="0" noProof="0" dirty="0">
                <a:ln>
                  <a:noFill/>
                </a:ln>
                <a:solidFill>
                  <a:srgbClr val="000000"/>
                </a:solidFill>
                <a:effectLst/>
                <a:uLnTx/>
                <a:uFillTx/>
                <a:ea typeface="+mn-ea"/>
                <a:cs typeface="+mn-cs"/>
              </a:rPr>
              <a:t>Text</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600" b="0" i="0" u="none" strike="noStrike" kern="0" cap="none" spc="0" normalizeH="0" baseline="0" noProof="0" dirty="0">
              <a:ln>
                <a:noFill/>
              </a:ln>
              <a:solidFill>
                <a:srgbClr val="000000"/>
              </a:solidFill>
              <a:effectLst/>
              <a:uLnTx/>
              <a:uFillTx/>
              <a:ea typeface="+mn-ea"/>
              <a:cs typeface="+mn-cs"/>
            </a:endParaRPr>
          </a:p>
        </p:txBody>
      </p:sp>
      <p:sp>
        <p:nvSpPr>
          <p:cNvPr id="6" name="Rectangle 4">
            <a:extLst>
              <a:ext uri="{FF2B5EF4-FFF2-40B4-BE49-F238E27FC236}">
                <a16:creationId xmlns:a16="http://schemas.microsoft.com/office/drawing/2014/main" id="{82C0DF4A-B88A-4BBC-B5AA-A7601A669DB6}"/>
              </a:ext>
            </a:extLst>
          </p:cNvPr>
          <p:cNvSpPr>
            <a:spLocks noChangeArrowheads="1"/>
          </p:cNvSpPr>
          <p:nvPr/>
        </p:nvSpPr>
        <p:spPr bwMode="auto">
          <a:xfrm>
            <a:off x="4897746" y="1366838"/>
            <a:ext cx="1535656" cy="4691062"/>
          </a:xfrm>
          <a:prstGeom prst="rect">
            <a:avLst/>
          </a:prstGeom>
          <a:solidFill>
            <a:srgbClr val="96968C">
              <a:lumMod val="20000"/>
              <a:lumOff val="80000"/>
            </a:srgbClr>
          </a:solidFill>
          <a:ln w="9525" algn="ctr">
            <a:noFill/>
            <a:miter lim="800000"/>
            <a:headEnd type="none" w="sm" len="sm"/>
            <a:tailEnd type="none" w="sm" len="sm"/>
          </a:ln>
        </p:spPr>
        <p:txBody>
          <a:bodyPr wrap="none" tIns="82800"/>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1600" b="0" i="0" u="none" strike="noStrike" kern="0" cap="none" spc="0" normalizeH="0" baseline="0" noProof="0" dirty="0">
                <a:ln>
                  <a:noFill/>
                </a:ln>
                <a:solidFill>
                  <a:srgbClr val="000000"/>
                </a:solidFill>
                <a:effectLst/>
                <a:uLnTx/>
                <a:uFillTx/>
                <a:ea typeface="+mn-ea"/>
                <a:cs typeface="+mn-cs"/>
              </a:rPr>
              <a:t>Text</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600" b="0" i="0" u="none" strike="noStrike" kern="0" cap="none" spc="0" normalizeH="0" baseline="0" noProof="0" dirty="0">
              <a:ln>
                <a:noFill/>
              </a:ln>
              <a:solidFill>
                <a:srgbClr val="000000"/>
              </a:solidFill>
              <a:effectLst/>
              <a:uLnTx/>
              <a:uFillTx/>
              <a:ea typeface="+mn-ea"/>
              <a:cs typeface="+mn-cs"/>
            </a:endParaRPr>
          </a:p>
        </p:txBody>
      </p:sp>
      <p:sp>
        <p:nvSpPr>
          <p:cNvPr id="4" name="Rectangle 5">
            <a:extLst>
              <a:ext uri="{FF2B5EF4-FFF2-40B4-BE49-F238E27FC236}">
                <a16:creationId xmlns:a16="http://schemas.microsoft.com/office/drawing/2014/main" id="{204C5F71-8239-4135-A13A-68C7DCD2DDF2}"/>
              </a:ext>
            </a:extLst>
          </p:cNvPr>
          <p:cNvSpPr>
            <a:spLocks noChangeArrowheads="1"/>
          </p:cNvSpPr>
          <p:nvPr/>
        </p:nvSpPr>
        <p:spPr bwMode="auto">
          <a:xfrm>
            <a:off x="6543950" y="1366838"/>
            <a:ext cx="1535656" cy="4691062"/>
          </a:xfrm>
          <a:prstGeom prst="rect">
            <a:avLst/>
          </a:prstGeom>
          <a:solidFill>
            <a:srgbClr val="96968C">
              <a:lumMod val="20000"/>
              <a:lumOff val="80000"/>
            </a:srgbClr>
          </a:solidFill>
          <a:ln w="9525" algn="ctr">
            <a:noFill/>
            <a:miter lim="800000"/>
            <a:headEnd type="none" w="sm" len="sm"/>
            <a:tailEnd type="none" w="sm" len="sm"/>
          </a:ln>
        </p:spPr>
        <p:txBody>
          <a:bodyPr wrap="none" tIns="82800"/>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1600" b="0" i="0" u="none" strike="noStrike" kern="0" cap="none" spc="0" normalizeH="0" baseline="0" noProof="0" dirty="0">
                <a:ln>
                  <a:noFill/>
                </a:ln>
                <a:solidFill>
                  <a:srgbClr val="000000"/>
                </a:solidFill>
                <a:effectLst/>
                <a:uLnTx/>
                <a:uFillTx/>
                <a:ea typeface="+mn-ea"/>
                <a:cs typeface="+mn-cs"/>
              </a:rPr>
              <a:t>Text</a:t>
            </a:r>
            <a:endParaRPr kumimoji="0" lang="en-US" sz="1600" b="0" i="0" u="none" strike="noStrike" kern="0" cap="none" spc="0" normalizeH="0" baseline="0" noProof="0" dirty="0">
              <a:ln>
                <a:noFill/>
              </a:ln>
              <a:solidFill>
                <a:srgbClr val="000000"/>
              </a:solidFill>
              <a:effectLst/>
              <a:uLnTx/>
              <a:uFillTx/>
              <a:ea typeface="+mn-ea"/>
              <a:cs typeface="+mn-cs"/>
            </a:endParaRPr>
          </a:p>
        </p:txBody>
      </p:sp>
      <p:sp>
        <p:nvSpPr>
          <p:cNvPr id="7" name="Rectangle 5">
            <a:extLst>
              <a:ext uri="{FF2B5EF4-FFF2-40B4-BE49-F238E27FC236}">
                <a16:creationId xmlns:a16="http://schemas.microsoft.com/office/drawing/2014/main" id="{DC7B8424-2663-4944-BD67-F67842EAC03E}"/>
              </a:ext>
            </a:extLst>
          </p:cNvPr>
          <p:cNvSpPr>
            <a:spLocks noChangeArrowheads="1"/>
          </p:cNvSpPr>
          <p:nvPr/>
        </p:nvSpPr>
        <p:spPr bwMode="auto">
          <a:xfrm>
            <a:off x="8190155" y="1366838"/>
            <a:ext cx="1535656" cy="4691062"/>
          </a:xfrm>
          <a:prstGeom prst="rect">
            <a:avLst/>
          </a:prstGeom>
          <a:solidFill>
            <a:srgbClr val="96968C">
              <a:lumMod val="20000"/>
              <a:lumOff val="80000"/>
            </a:srgbClr>
          </a:solidFill>
          <a:ln w="9525" algn="ctr">
            <a:noFill/>
            <a:miter lim="800000"/>
            <a:headEnd type="none" w="sm" len="sm"/>
            <a:tailEnd type="none" w="sm" len="sm"/>
          </a:ln>
        </p:spPr>
        <p:txBody>
          <a:bodyPr wrap="none" tIns="82800"/>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1600" b="0" i="0" u="none" strike="noStrike" kern="0" cap="none" spc="0" normalizeH="0" baseline="0" noProof="0" dirty="0">
                <a:ln>
                  <a:noFill/>
                </a:ln>
                <a:solidFill>
                  <a:srgbClr val="000000"/>
                </a:solidFill>
                <a:effectLst/>
                <a:uLnTx/>
                <a:uFillTx/>
                <a:ea typeface="+mn-ea"/>
                <a:cs typeface="+mn-cs"/>
              </a:rPr>
              <a:t>Text</a:t>
            </a:r>
            <a:endParaRPr kumimoji="0" lang="en-US" sz="1600" b="0" i="0" u="none" strike="noStrike" kern="0" cap="none" spc="0" normalizeH="0" baseline="0" noProof="0" dirty="0">
              <a:ln>
                <a:noFill/>
              </a:ln>
              <a:solidFill>
                <a:srgbClr val="000000"/>
              </a:solidFill>
              <a:effectLst/>
              <a:uLnTx/>
              <a:uFillTx/>
              <a:ea typeface="+mn-ea"/>
              <a:cs typeface="+mn-cs"/>
            </a:endParaRPr>
          </a:p>
        </p:txBody>
      </p:sp>
      <p:sp>
        <p:nvSpPr>
          <p:cNvPr id="8" name="AutoShape 6">
            <a:extLst>
              <a:ext uri="{FF2B5EF4-FFF2-40B4-BE49-F238E27FC236}">
                <a16:creationId xmlns:a16="http://schemas.microsoft.com/office/drawing/2014/main" id="{FC145102-7BBD-40AA-B372-2D214200CC25}"/>
              </a:ext>
            </a:extLst>
          </p:cNvPr>
          <p:cNvSpPr>
            <a:spLocks noChangeArrowheads="1"/>
          </p:cNvSpPr>
          <p:nvPr/>
        </p:nvSpPr>
        <p:spPr bwMode="auto">
          <a:xfrm>
            <a:off x="1822450" y="1951161"/>
            <a:ext cx="8540750" cy="793611"/>
          </a:xfrm>
          <a:prstGeom prst="homePlate">
            <a:avLst>
              <a:gd name="adj" fmla="val 9946"/>
            </a:avLst>
          </a:prstGeom>
          <a:noFill/>
          <a:ln w="19050">
            <a:solidFill>
              <a:srgbClr val="A100FF"/>
            </a:solidFill>
            <a:miter lim="800000"/>
            <a:headEnd type="none" w="sm" len="sm"/>
            <a:tailEnd type="none" w="sm" len="sm"/>
          </a:ln>
        </p:spPr>
        <p:txBody>
          <a:bodyPr lIns="180000" tIns="46800" rIns="90000" bIns="46800" anchor="ctr"/>
          <a:lstStyle/>
          <a:p>
            <a:pPr marL="0" marR="0" lvl="0" indent="0" algn="l" defTabSz="703263" rtl="0" eaLnBrk="1" fontAlgn="auto" latinLnBrk="0" hangingPunct="1">
              <a:lnSpc>
                <a:spcPct val="100000"/>
              </a:lnSpc>
              <a:spcBef>
                <a:spcPct val="0"/>
              </a:spcBef>
              <a:spcAft>
                <a:spcPts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mj-lt"/>
                <a:ea typeface="+mn-ea"/>
                <a:cs typeface="+mn-cs"/>
              </a:rPr>
              <a:t>Text</a:t>
            </a:r>
          </a:p>
        </p:txBody>
      </p:sp>
      <p:sp>
        <p:nvSpPr>
          <p:cNvPr id="9" name="AutoShape 8">
            <a:extLst>
              <a:ext uri="{FF2B5EF4-FFF2-40B4-BE49-F238E27FC236}">
                <a16:creationId xmlns:a16="http://schemas.microsoft.com/office/drawing/2014/main" id="{1990D9DB-4D0E-4BD4-9DF5-15CFA1230C98}"/>
              </a:ext>
            </a:extLst>
          </p:cNvPr>
          <p:cNvSpPr>
            <a:spLocks noChangeArrowheads="1"/>
          </p:cNvSpPr>
          <p:nvPr/>
        </p:nvSpPr>
        <p:spPr bwMode="auto">
          <a:xfrm>
            <a:off x="1822450" y="2940948"/>
            <a:ext cx="8540750" cy="793611"/>
          </a:xfrm>
          <a:prstGeom prst="homePlate">
            <a:avLst>
              <a:gd name="adj" fmla="val 9946"/>
            </a:avLst>
          </a:prstGeom>
          <a:noFill/>
          <a:ln w="19050">
            <a:solidFill>
              <a:srgbClr val="A100FF"/>
            </a:solidFill>
            <a:miter lim="800000"/>
            <a:headEnd type="none" w="sm" len="sm"/>
            <a:tailEnd type="none" w="sm" len="sm"/>
          </a:ln>
        </p:spPr>
        <p:txBody>
          <a:bodyPr lIns="180000" tIns="46800" rIns="90000" bIns="46800" anchor="ctr"/>
          <a:lstStyle/>
          <a:p>
            <a:pPr marL="0" marR="0" lvl="0" indent="0" algn="l" defTabSz="703263" rtl="0" eaLnBrk="1" fontAlgn="auto" latinLnBrk="0" hangingPunct="1">
              <a:lnSpc>
                <a:spcPct val="100000"/>
              </a:lnSpc>
              <a:spcBef>
                <a:spcPct val="0"/>
              </a:spcBef>
              <a:spcAft>
                <a:spcPts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mj-lt"/>
                <a:ea typeface="+mn-ea"/>
                <a:cs typeface="+mn-cs"/>
              </a:rPr>
              <a:t>Text</a:t>
            </a:r>
          </a:p>
        </p:txBody>
      </p:sp>
      <p:sp>
        <p:nvSpPr>
          <p:cNvPr id="11" name="AutoShape 9">
            <a:extLst>
              <a:ext uri="{FF2B5EF4-FFF2-40B4-BE49-F238E27FC236}">
                <a16:creationId xmlns:a16="http://schemas.microsoft.com/office/drawing/2014/main" id="{2ED4B17B-BBE6-4464-AD75-D1099E6D646C}"/>
              </a:ext>
            </a:extLst>
          </p:cNvPr>
          <p:cNvSpPr>
            <a:spLocks noChangeArrowheads="1"/>
          </p:cNvSpPr>
          <p:nvPr/>
        </p:nvSpPr>
        <p:spPr bwMode="auto">
          <a:xfrm>
            <a:off x="1822450" y="3930735"/>
            <a:ext cx="8540750" cy="793611"/>
          </a:xfrm>
          <a:prstGeom prst="homePlate">
            <a:avLst>
              <a:gd name="adj" fmla="val 9946"/>
            </a:avLst>
          </a:prstGeom>
          <a:noFill/>
          <a:ln w="19050">
            <a:solidFill>
              <a:srgbClr val="A100FF"/>
            </a:solidFill>
            <a:miter lim="800000"/>
            <a:headEnd type="none" w="sm" len="sm"/>
            <a:tailEnd type="none" w="sm" len="sm"/>
          </a:ln>
        </p:spPr>
        <p:txBody>
          <a:bodyPr lIns="180000" tIns="46800" rIns="90000" bIns="46800" anchor="ctr"/>
          <a:lstStyle/>
          <a:p>
            <a:pPr marL="0" marR="0" lvl="0" indent="0" algn="l" defTabSz="703263" rtl="0" eaLnBrk="1" fontAlgn="auto" latinLnBrk="0" hangingPunct="1">
              <a:lnSpc>
                <a:spcPct val="100000"/>
              </a:lnSpc>
              <a:spcBef>
                <a:spcPct val="0"/>
              </a:spcBef>
              <a:spcAft>
                <a:spcPts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mj-lt"/>
                <a:ea typeface="+mn-ea"/>
                <a:cs typeface="+mn-cs"/>
              </a:rPr>
              <a:t>Text</a:t>
            </a:r>
          </a:p>
        </p:txBody>
      </p:sp>
      <p:sp>
        <p:nvSpPr>
          <p:cNvPr id="10" name="AutoShape 9">
            <a:extLst>
              <a:ext uri="{FF2B5EF4-FFF2-40B4-BE49-F238E27FC236}">
                <a16:creationId xmlns:a16="http://schemas.microsoft.com/office/drawing/2014/main" id="{1353D752-857A-4AD4-9E08-B309123D5BAB}"/>
              </a:ext>
            </a:extLst>
          </p:cNvPr>
          <p:cNvSpPr>
            <a:spLocks noChangeArrowheads="1"/>
          </p:cNvSpPr>
          <p:nvPr/>
        </p:nvSpPr>
        <p:spPr bwMode="auto">
          <a:xfrm>
            <a:off x="1822450" y="4920522"/>
            <a:ext cx="8540750" cy="793611"/>
          </a:xfrm>
          <a:prstGeom prst="homePlate">
            <a:avLst>
              <a:gd name="adj" fmla="val 9946"/>
            </a:avLst>
          </a:prstGeom>
          <a:noFill/>
          <a:ln w="19050">
            <a:solidFill>
              <a:srgbClr val="A100FF"/>
            </a:solidFill>
            <a:miter lim="800000"/>
            <a:headEnd type="none" w="sm" len="sm"/>
            <a:tailEnd type="none" w="sm" len="sm"/>
          </a:ln>
        </p:spPr>
        <p:txBody>
          <a:bodyPr lIns="180000" tIns="46800" rIns="90000" bIns="46800" anchor="ctr"/>
          <a:lstStyle/>
          <a:p>
            <a:pPr marL="0" marR="0" lvl="0" indent="0" algn="l" defTabSz="703263" rtl="0" eaLnBrk="1" fontAlgn="auto" latinLnBrk="0" hangingPunct="1">
              <a:lnSpc>
                <a:spcPct val="100000"/>
              </a:lnSpc>
              <a:spcBef>
                <a:spcPct val="0"/>
              </a:spcBef>
              <a:spcAft>
                <a:spcPts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mj-lt"/>
                <a:ea typeface="+mn-ea"/>
                <a:cs typeface="+mn-cs"/>
              </a:rPr>
              <a:t>Text</a:t>
            </a:r>
          </a:p>
        </p:txBody>
      </p:sp>
      <p:sp>
        <p:nvSpPr>
          <p:cNvPr id="12" name="Footer Placeholder 11">
            <a:extLst>
              <a:ext uri="{FF2B5EF4-FFF2-40B4-BE49-F238E27FC236}">
                <a16:creationId xmlns:a16="http://schemas.microsoft.com/office/drawing/2014/main" id="{160FA567-3A37-43A7-978B-875AEA6B42D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4" name="Slide Number Placeholder 13">
            <a:extLst>
              <a:ext uri="{FF2B5EF4-FFF2-40B4-BE49-F238E27FC236}">
                <a16:creationId xmlns:a16="http://schemas.microsoft.com/office/drawing/2014/main" id="{B2D822FA-9C51-41F4-916B-C62227B13478}"/>
              </a:ext>
            </a:extLst>
          </p:cNvPr>
          <p:cNvSpPr>
            <a:spLocks noGrp="1"/>
          </p:cNvSpPr>
          <p:nvPr>
            <p:ph type="sldNum" sz="quarter" idx="10"/>
          </p:nvPr>
        </p:nvSpPr>
        <p:spPr/>
        <p:txBody>
          <a:bodyPr/>
          <a:lstStyle/>
          <a:p>
            <a:fld id="{1F90F471-3972-4120-B8B3-0237DE626C35}" type="slidenum">
              <a:rPr lang="en-US" smtClean="0"/>
              <a:pPr/>
              <a:t>337</a:t>
            </a:fld>
            <a:endParaRPr lang="en-US" dirty="0"/>
          </a:p>
        </p:txBody>
      </p:sp>
    </p:spTree>
    <p:extLst>
      <p:ext uri="{BB962C8B-B14F-4D97-AF65-F5344CB8AC3E}">
        <p14:creationId xmlns:p14="http://schemas.microsoft.com/office/powerpoint/2010/main" val="624432110"/>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Matrix – Transparent 1</a:t>
            </a:r>
            <a:endParaRPr lang="de-DE" dirty="0"/>
          </a:p>
        </p:txBody>
      </p:sp>
      <p:grpSp>
        <p:nvGrpSpPr>
          <p:cNvPr id="3" name="Group 2" descr="text 1">
            <a:extLst>
              <a:ext uri="{FF2B5EF4-FFF2-40B4-BE49-F238E27FC236}">
                <a16:creationId xmlns:a16="http://schemas.microsoft.com/office/drawing/2014/main" id="{60B74962-BC4B-4665-82CB-FC1368C74DD4}"/>
              </a:ext>
            </a:extLst>
          </p:cNvPr>
          <p:cNvGrpSpPr/>
          <p:nvPr/>
        </p:nvGrpSpPr>
        <p:grpSpPr>
          <a:xfrm>
            <a:off x="2126682" y="1893179"/>
            <a:ext cx="620316" cy="3442198"/>
            <a:chOff x="2126682" y="1893179"/>
            <a:chExt cx="620316" cy="3442198"/>
          </a:xfrm>
        </p:grpSpPr>
        <p:sp>
          <p:nvSpPr>
            <p:cNvPr id="6" name="AutoShape 5">
              <a:extLst>
                <a:ext uri="{FF2B5EF4-FFF2-40B4-BE49-F238E27FC236}">
                  <a16:creationId xmlns:a16="http://schemas.microsoft.com/office/drawing/2014/main" id="{C21859C2-EA2F-4A87-BE4C-D0CA1EFE1B24}"/>
                </a:ext>
                <a:ext uri="{C183D7F6-B498-43B3-948B-1728B52AA6E4}">
                  <adec:decorative xmlns:adec="http://schemas.microsoft.com/office/drawing/2017/decorative" val="1"/>
                </a:ext>
              </a:extLst>
            </p:cNvPr>
            <p:cNvSpPr>
              <a:spLocks noChangeArrowheads="1"/>
            </p:cNvSpPr>
            <p:nvPr/>
          </p:nvSpPr>
          <p:spPr bwMode="auto">
            <a:xfrm rot="16200000" flipH="1">
              <a:off x="1012234" y="3603577"/>
              <a:ext cx="2849211" cy="614389"/>
            </a:xfrm>
            <a:prstGeom prst="homePlate">
              <a:avLst>
                <a:gd name="adj" fmla="val 29053"/>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E9808D16-C734-4BBB-86D0-36A6C232D2B5}"/>
                </a:ext>
              </a:extLst>
            </p:cNvPr>
            <p:cNvSpPr>
              <a:spLocks noChangeArrowheads="1"/>
            </p:cNvSpPr>
            <p:nvPr/>
          </p:nvSpPr>
          <p:spPr bwMode="auto">
            <a:xfrm>
              <a:off x="2126682" y="1893179"/>
              <a:ext cx="620316" cy="488026"/>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21" name="Group 20" descr="text 2">
            <a:extLst>
              <a:ext uri="{FF2B5EF4-FFF2-40B4-BE49-F238E27FC236}">
                <a16:creationId xmlns:a16="http://schemas.microsoft.com/office/drawing/2014/main" id="{E45C3BAE-6A87-48CB-9017-751F8997B4D3}"/>
              </a:ext>
            </a:extLst>
          </p:cNvPr>
          <p:cNvGrpSpPr/>
          <p:nvPr/>
        </p:nvGrpSpPr>
        <p:grpSpPr>
          <a:xfrm>
            <a:off x="2853676" y="1893179"/>
            <a:ext cx="616366" cy="3443993"/>
            <a:chOff x="2853676" y="1893179"/>
            <a:chExt cx="616366" cy="3443993"/>
          </a:xfrm>
        </p:grpSpPr>
        <p:sp>
          <p:nvSpPr>
            <p:cNvPr id="5" name="AutoShape 4">
              <a:extLst>
                <a:ext uri="{FF2B5EF4-FFF2-40B4-BE49-F238E27FC236}">
                  <a16:creationId xmlns:a16="http://schemas.microsoft.com/office/drawing/2014/main" id="{1B70211F-8746-4D8D-8D85-ABF8AF52BA25}"/>
                </a:ext>
                <a:ext uri="{C183D7F6-B498-43B3-948B-1728B52AA6E4}">
                  <adec:decorative xmlns:adec="http://schemas.microsoft.com/office/drawing/2017/decorative" val="1"/>
                </a:ext>
              </a:extLst>
            </p:cNvPr>
            <p:cNvSpPr>
              <a:spLocks noChangeArrowheads="1"/>
            </p:cNvSpPr>
            <p:nvPr/>
          </p:nvSpPr>
          <p:spPr bwMode="auto">
            <a:xfrm rot="16200000" flipH="1">
              <a:off x="1737253" y="3605372"/>
              <a:ext cx="2849211" cy="614389"/>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C8537466-65CB-49EA-A420-80370485E824}"/>
                </a:ext>
              </a:extLst>
            </p:cNvPr>
            <p:cNvSpPr>
              <a:spLocks noChangeArrowheads="1"/>
            </p:cNvSpPr>
            <p:nvPr/>
          </p:nvSpPr>
          <p:spPr bwMode="auto">
            <a:xfrm>
              <a:off x="2853676" y="1893179"/>
              <a:ext cx="616366" cy="488026"/>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27" name="Group 26" descr="text 3">
            <a:extLst>
              <a:ext uri="{FF2B5EF4-FFF2-40B4-BE49-F238E27FC236}">
                <a16:creationId xmlns:a16="http://schemas.microsoft.com/office/drawing/2014/main" id="{371AF2CD-1D12-4AB5-9B43-3F32BC9F961A}"/>
              </a:ext>
            </a:extLst>
          </p:cNvPr>
          <p:cNvGrpSpPr/>
          <p:nvPr/>
        </p:nvGrpSpPr>
        <p:grpSpPr>
          <a:xfrm>
            <a:off x="3576722" y="1893179"/>
            <a:ext cx="617352" cy="3443993"/>
            <a:chOff x="3576722" y="1893179"/>
            <a:chExt cx="617352" cy="3443993"/>
          </a:xfrm>
        </p:grpSpPr>
        <p:sp>
          <p:nvSpPr>
            <p:cNvPr id="7" name="AutoShape 6">
              <a:extLst>
                <a:ext uri="{FF2B5EF4-FFF2-40B4-BE49-F238E27FC236}">
                  <a16:creationId xmlns:a16="http://schemas.microsoft.com/office/drawing/2014/main" id="{99C9FD6F-975B-4564-B530-3B39C16D09A4}"/>
                </a:ext>
                <a:ext uri="{C183D7F6-B498-43B3-948B-1728B52AA6E4}">
                  <adec:decorative xmlns:adec="http://schemas.microsoft.com/office/drawing/2017/decorative" val="1"/>
                </a:ext>
              </a:extLst>
            </p:cNvPr>
            <p:cNvSpPr>
              <a:spLocks noChangeArrowheads="1"/>
            </p:cNvSpPr>
            <p:nvPr/>
          </p:nvSpPr>
          <p:spPr bwMode="auto">
            <a:xfrm rot="16200000" flipH="1">
              <a:off x="2462274" y="3605372"/>
              <a:ext cx="2849211" cy="614389"/>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2411C62B-1005-44AF-8888-68BA722DA278}"/>
                </a:ext>
              </a:extLst>
            </p:cNvPr>
            <p:cNvSpPr>
              <a:spLocks noChangeArrowheads="1"/>
            </p:cNvSpPr>
            <p:nvPr/>
          </p:nvSpPr>
          <p:spPr bwMode="auto">
            <a:xfrm>
              <a:off x="3576722" y="1893179"/>
              <a:ext cx="616366" cy="488026"/>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28" name="Group 27" descr="text 4">
            <a:extLst>
              <a:ext uri="{FF2B5EF4-FFF2-40B4-BE49-F238E27FC236}">
                <a16:creationId xmlns:a16="http://schemas.microsoft.com/office/drawing/2014/main" id="{B60C614C-C8A0-4E16-ADE9-10205FFA80B1}"/>
              </a:ext>
            </a:extLst>
          </p:cNvPr>
          <p:cNvGrpSpPr/>
          <p:nvPr/>
        </p:nvGrpSpPr>
        <p:grpSpPr>
          <a:xfrm>
            <a:off x="4299765" y="1893179"/>
            <a:ext cx="617352" cy="3443993"/>
            <a:chOff x="4299765" y="1893179"/>
            <a:chExt cx="617352" cy="3443993"/>
          </a:xfrm>
        </p:grpSpPr>
        <p:sp>
          <p:nvSpPr>
            <p:cNvPr id="8" name="AutoShape 7">
              <a:extLst>
                <a:ext uri="{FF2B5EF4-FFF2-40B4-BE49-F238E27FC236}">
                  <a16:creationId xmlns:a16="http://schemas.microsoft.com/office/drawing/2014/main" id="{4EEE9926-08C5-4E9D-8057-3534C1FB488D}"/>
                </a:ext>
                <a:ext uri="{C183D7F6-B498-43B3-948B-1728B52AA6E4}">
                  <adec:decorative xmlns:adec="http://schemas.microsoft.com/office/drawing/2017/decorative" val="1"/>
                </a:ext>
              </a:extLst>
            </p:cNvPr>
            <p:cNvSpPr>
              <a:spLocks noChangeArrowheads="1"/>
            </p:cNvSpPr>
            <p:nvPr/>
          </p:nvSpPr>
          <p:spPr bwMode="auto">
            <a:xfrm rot="16200000" flipH="1">
              <a:off x="3185317" y="3605372"/>
              <a:ext cx="2849211" cy="614389"/>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AF6E3FB3-87B6-4C7B-BC2C-73B6AAF7DDB9}"/>
                </a:ext>
              </a:extLst>
            </p:cNvPr>
            <p:cNvSpPr>
              <a:spLocks noChangeArrowheads="1"/>
            </p:cNvSpPr>
            <p:nvPr/>
          </p:nvSpPr>
          <p:spPr bwMode="auto">
            <a:xfrm>
              <a:off x="4299765" y="1893179"/>
              <a:ext cx="616366" cy="488026"/>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29" name="Group 28" descr="text 5">
            <a:extLst>
              <a:ext uri="{FF2B5EF4-FFF2-40B4-BE49-F238E27FC236}">
                <a16:creationId xmlns:a16="http://schemas.microsoft.com/office/drawing/2014/main" id="{A3C5F3B8-CA98-4495-B07F-B8575A3B8988}"/>
              </a:ext>
            </a:extLst>
          </p:cNvPr>
          <p:cNvGrpSpPr/>
          <p:nvPr/>
        </p:nvGrpSpPr>
        <p:grpSpPr>
          <a:xfrm>
            <a:off x="5022810" y="1893179"/>
            <a:ext cx="618342" cy="3443993"/>
            <a:chOff x="5022810" y="1893179"/>
            <a:chExt cx="618342" cy="3443993"/>
          </a:xfrm>
        </p:grpSpPr>
        <p:sp>
          <p:nvSpPr>
            <p:cNvPr id="9" name="AutoShape 8">
              <a:extLst>
                <a:ext uri="{FF2B5EF4-FFF2-40B4-BE49-F238E27FC236}">
                  <a16:creationId xmlns:a16="http://schemas.microsoft.com/office/drawing/2014/main" id="{626608EF-92C5-4BF6-AAC7-A0D377D8A9CC}"/>
                </a:ext>
                <a:ext uri="{C183D7F6-B498-43B3-948B-1728B52AA6E4}">
                  <adec:decorative xmlns:adec="http://schemas.microsoft.com/office/drawing/2017/decorative" val="1"/>
                </a:ext>
              </a:extLst>
            </p:cNvPr>
            <p:cNvSpPr>
              <a:spLocks noChangeArrowheads="1"/>
            </p:cNvSpPr>
            <p:nvPr/>
          </p:nvSpPr>
          <p:spPr bwMode="auto">
            <a:xfrm rot="16200000" flipH="1">
              <a:off x="3908362" y="3605372"/>
              <a:ext cx="2849211" cy="614389"/>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678D6B4B-A97F-4DA1-A9B8-E05310C5F2D9}"/>
                </a:ext>
              </a:extLst>
            </p:cNvPr>
            <p:cNvSpPr>
              <a:spLocks noChangeArrowheads="1"/>
            </p:cNvSpPr>
            <p:nvPr/>
          </p:nvSpPr>
          <p:spPr bwMode="auto">
            <a:xfrm>
              <a:off x="5022810" y="1893179"/>
              <a:ext cx="618342" cy="488026"/>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30" name="Group 29" descr="text 6">
            <a:extLst>
              <a:ext uri="{FF2B5EF4-FFF2-40B4-BE49-F238E27FC236}">
                <a16:creationId xmlns:a16="http://schemas.microsoft.com/office/drawing/2014/main" id="{E60A16D1-D438-42CE-A652-11A174E0E107}"/>
              </a:ext>
            </a:extLst>
          </p:cNvPr>
          <p:cNvGrpSpPr/>
          <p:nvPr/>
        </p:nvGrpSpPr>
        <p:grpSpPr>
          <a:xfrm>
            <a:off x="5747829" y="1893179"/>
            <a:ext cx="616366" cy="3443993"/>
            <a:chOff x="5747829" y="1893179"/>
            <a:chExt cx="616366" cy="3443993"/>
          </a:xfrm>
        </p:grpSpPr>
        <p:sp>
          <p:nvSpPr>
            <p:cNvPr id="10" name="AutoShape 9">
              <a:extLst>
                <a:ext uri="{FF2B5EF4-FFF2-40B4-BE49-F238E27FC236}">
                  <a16:creationId xmlns:a16="http://schemas.microsoft.com/office/drawing/2014/main" id="{8A732DDE-7273-4432-8A97-AFE801750B5B}"/>
                </a:ext>
                <a:ext uri="{C183D7F6-B498-43B3-948B-1728B52AA6E4}">
                  <adec:decorative xmlns:adec="http://schemas.microsoft.com/office/drawing/2017/decorative" val="1"/>
                </a:ext>
              </a:extLst>
            </p:cNvPr>
            <p:cNvSpPr>
              <a:spLocks noChangeArrowheads="1"/>
            </p:cNvSpPr>
            <p:nvPr/>
          </p:nvSpPr>
          <p:spPr bwMode="auto">
            <a:xfrm rot="16200000" flipH="1">
              <a:off x="4631406" y="3605372"/>
              <a:ext cx="2849211" cy="614389"/>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1E01E7F5-FEFA-4F3E-AC7A-0F1DD49CF84C}"/>
                </a:ext>
              </a:extLst>
            </p:cNvPr>
            <p:cNvSpPr>
              <a:spLocks noChangeArrowheads="1"/>
            </p:cNvSpPr>
            <p:nvPr/>
          </p:nvSpPr>
          <p:spPr bwMode="auto">
            <a:xfrm>
              <a:off x="5747829" y="1893179"/>
              <a:ext cx="616366" cy="488026"/>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31" name="Group 30" descr="text 7">
            <a:extLst>
              <a:ext uri="{FF2B5EF4-FFF2-40B4-BE49-F238E27FC236}">
                <a16:creationId xmlns:a16="http://schemas.microsoft.com/office/drawing/2014/main" id="{82845382-C84F-41D1-BE92-747C36CB29F8}"/>
              </a:ext>
            </a:extLst>
          </p:cNvPr>
          <p:cNvGrpSpPr/>
          <p:nvPr/>
        </p:nvGrpSpPr>
        <p:grpSpPr>
          <a:xfrm>
            <a:off x="6470874" y="1893179"/>
            <a:ext cx="616366" cy="3443993"/>
            <a:chOff x="6470874" y="1893179"/>
            <a:chExt cx="616366" cy="3443993"/>
          </a:xfrm>
        </p:grpSpPr>
        <p:sp>
          <p:nvSpPr>
            <p:cNvPr id="11" name="AutoShape 10">
              <a:extLst>
                <a:ext uri="{FF2B5EF4-FFF2-40B4-BE49-F238E27FC236}">
                  <a16:creationId xmlns:a16="http://schemas.microsoft.com/office/drawing/2014/main" id="{20ABA118-DA27-46AC-A91F-CD0812F95E45}"/>
                </a:ext>
                <a:ext uri="{C183D7F6-B498-43B3-948B-1728B52AA6E4}">
                  <adec:decorative xmlns:adec="http://schemas.microsoft.com/office/drawing/2017/decorative" val="1"/>
                </a:ext>
              </a:extLst>
            </p:cNvPr>
            <p:cNvSpPr>
              <a:spLocks noChangeArrowheads="1"/>
            </p:cNvSpPr>
            <p:nvPr/>
          </p:nvSpPr>
          <p:spPr bwMode="auto">
            <a:xfrm rot="16200000" flipH="1">
              <a:off x="5354451" y="3605372"/>
              <a:ext cx="2849211" cy="614389"/>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2" name="Rectangle 20">
              <a:extLst>
                <a:ext uri="{FF2B5EF4-FFF2-40B4-BE49-F238E27FC236}">
                  <a16:creationId xmlns:a16="http://schemas.microsoft.com/office/drawing/2014/main" id="{B08A311E-F068-4CBA-BDC0-A1370A07C45D}"/>
                </a:ext>
              </a:extLst>
            </p:cNvPr>
            <p:cNvSpPr>
              <a:spLocks noChangeArrowheads="1"/>
            </p:cNvSpPr>
            <p:nvPr/>
          </p:nvSpPr>
          <p:spPr bwMode="auto">
            <a:xfrm>
              <a:off x="6470874" y="1893179"/>
              <a:ext cx="616366" cy="488026"/>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sp>
        <p:nvSpPr>
          <p:cNvPr id="12" name="AutoShape 11">
            <a:extLst>
              <a:ext uri="{FF2B5EF4-FFF2-40B4-BE49-F238E27FC236}">
                <a16:creationId xmlns:a16="http://schemas.microsoft.com/office/drawing/2014/main" id="{CD29D602-E9F5-4830-B688-D0016C12A857}"/>
              </a:ext>
            </a:extLst>
          </p:cNvPr>
          <p:cNvSpPr>
            <a:spLocks noChangeArrowheads="1"/>
          </p:cNvSpPr>
          <p:nvPr/>
        </p:nvSpPr>
        <p:spPr bwMode="auto">
          <a:xfrm>
            <a:off x="1822450" y="2687166"/>
            <a:ext cx="5584825" cy="604172"/>
          </a:xfrm>
          <a:prstGeom prst="homePlate">
            <a:avLst>
              <a:gd name="adj" fmla="val 28859"/>
            </a:avLst>
          </a:prstGeom>
          <a:solidFill>
            <a:schemeClr val="accent3">
              <a:alpha val="90000"/>
            </a:scheme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mj-lt"/>
                <a:ea typeface="+mn-ea"/>
                <a:cs typeface="+mn-cs"/>
              </a:rPr>
              <a:t>Text</a:t>
            </a:r>
          </a:p>
        </p:txBody>
      </p:sp>
      <p:sp>
        <p:nvSpPr>
          <p:cNvPr id="13" name="AutoShape 12">
            <a:extLst>
              <a:ext uri="{FF2B5EF4-FFF2-40B4-BE49-F238E27FC236}">
                <a16:creationId xmlns:a16="http://schemas.microsoft.com/office/drawing/2014/main" id="{44BC0A60-75A2-4011-9E4A-922F59FD62BF}"/>
              </a:ext>
            </a:extLst>
          </p:cNvPr>
          <p:cNvSpPr>
            <a:spLocks noChangeArrowheads="1"/>
          </p:cNvSpPr>
          <p:nvPr/>
        </p:nvSpPr>
        <p:spPr bwMode="auto">
          <a:xfrm>
            <a:off x="1822450" y="3368369"/>
            <a:ext cx="5584825" cy="604172"/>
          </a:xfrm>
          <a:prstGeom prst="homePlate">
            <a:avLst>
              <a:gd name="adj" fmla="val 28859"/>
            </a:avLst>
          </a:prstGeom>
          <a:solidFill>
            <a:schemeClr val="accent2">
              <a:alpha val="90000"/>
            </a:scheme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mj-lt"/>
                <a:ea typeface="+mn-ea"/>
                <a:cs typeface="+mn-cs"/>
              </a:rPr>
              <a:t>Text</a:t>
            </a:r>
          </a:p>
        </p:txBody>
      </p:sp>
      <p:sp>
        <p:nvSpPr>
          <p:cNvPr id="14" name="AutoShape 13">
            <a:extLst>
              <a:ext uri="{FF2B5EF4-FFF2-40B4-BE49-F238E27FC236}">
                <a16:creationId xmlns:a16="http://schemas.microsoft.com/office/drawing/2014/main" id="{0D4252B3-5AB2-40AD-945E-EA870D679883}"/>
              </a:ext>
            </a:extLst>
          </p:cNvPr>
          <p:cNvSpPr>
            <a:spLocks noChangeArrowheads="1"/>
          </p:cNvSpPr>
          <p:nvPr/>
        </p:nvSpPr>
        <p:spPr bwMode="auto">
          <a:xfrm>
            <a:off x="1822450" y="4049571"/>
            <a:ext cx="5584825" cy="604172"/>
          </a:xfrm>
          <a:prstGeom prst="homePlate">
            <a:avLst>
              <a:gd name="adj" fmla="val 28859"/>
            </a:avLst>
          </a:prstGeom>
          <a:solidFill>
            <a:schemeClr val="accent1">
              <a:alpha val="90000"/>
            </a:scheme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mj-lt"/>
                <a:ea typeface="+mn-ea"/>
                <a:cs typeface="+mn-cs"/>
              </a:rPr>
              <a:t>Text</a:t>
            </a:r>
          </a:p>
        </p:txBody>
      </p:sp>
      <p:sp>
        <p:nvSpPr>
          <p:cNvPr id="23" name="Rectangle 21">
            <a:extLst>
              <a:ext uri="{FF2B5EF4-FFF2-40B4-BE49-F238E27FC236}">
                <a16:creationId xmlns:a16="http://schemas.microsoft.com/office/drawing/2014/main" id="{A6C02E44-A147-4066-B80E-851B5530C802}"/>
              </a:ext>
            </a:extLst>
          </p:cNvPr>
          <p:cNvSpPr>
            <a:spLocks noChangeArrowheads="1"/>
          </p:cNvSpPr>
          <p:nvPr/>
        </p:nvSpPr>
        <p:spPr bwMode="auto">
          <a:xfrm>
            <a:off x="7759700" y="1893179"/>
            <a:ext cx="2959099" cy="3442199"/>
          </a:xfrm>
          <a:prstGeom prst="rect">
            <a:avLst/>
          </a:prstGeom>
          <a:solidFill>
            <a:schemeClr val="accent4"/>
          </a:solidFill>
          <a:ln w="6350">
            <a:noFill/>
            <a:miter lim="800000"/>
            <a:headEnd/>
            <a:tailEnd/>
          </a:ln>
        </p:spPr>
        <p:txBody>
          <a:bodyPr lIns="252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effectLst/>
                <a:uLnTx/>
                <a:uFillTx/>
                <a:latin typeface="+mj-lt"/>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effectLst/>
                <a:uLnTx/>
                <a:uFillTx/>
                <a:ea typeface="+mn-ea"/>
                <a:cs typeface="+mn-cs"/>
              </a:rPr>
              <a:t>Text</a:t>
            </a:r>
          </a:p>
        </p:txBody>
      </p:sp>
      <p:sp>
        <p:nvSpPr>
          <p:cNvPr id="25" name="Footer Placeholder 24">
            <a:extLst>
              <a:ext uri="{FF2B5EF4-FFF2-40B4-BE49-F238E27FC236}">
                <a16:creationId xmlns:a16="http://schemas.microsoft.com/office/drawing/2014/main" id="{A9A00D7E-61DC-45C3-9346-1AC0104820AA}"/>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6" name="Slide Number Placeholder 25">
            <a:extLst>
              <a:ext uri="{FF2B5EF4-FFF2-40B4-BE49-F238E27FC236}">
                <a16:creationId xmlns:a16="http://schemas.microsoft.com/office/drawing/2014/main" id="{EAB2E48C-4953-484A-84CA-69388D270AE3}"/>
              </a:ext>
            </a:extLst>
          </p:cNvPr>
          <p:cNvSpPr>
            <a:spLocks noGrp="1"/>
          </p:cNvSpPr>
          <p:nvPr>
            <p:ph type="sldNum" sz="quarter" idx="10"/>
          </p:nvPr>
        </p:nvSpPr>
        <p:spPr/>
        <p:txBody>
          <a:bodyPr/>
          <a:lstStyle/>
          <a:p>
            <a:fld id="{1F90F471-3972-4120-B8B3-0237DE626C35}" type="slidenum">
              <a:rPr lang="en-US" smtClean="0"/>
              <a:pPr/>
              <a:t>338</a:t>
            </a:fld>
            <a:endParaRPr lang="en-US" dirty="0"/>
          </a:p>
        </p:txBody>
      </p:sp>
    </p:spTree>
    <p:extLst>
      <p:ext uri="{BB962C8B-B14F-4D97-AF65-F5344CB8AC3E}">
        <p14:creationId xmlns:p14="http://schemas.microsoft.com/office/powerpoint/2010/main" val="1909921407"/>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Matrix – Transparent 2</a:t>
            </a:r>
            <a:endParaRPr lang="de-DE" dirty="0"/>
          </a:p>
        </p:txBody>
      </p:sp>
      <p:sp>
        <p:nvSpPr>
          <p:cNvPr id="25" name="Footer Placeholder 24">
            <a:extLst>
              <a:ext uri="{FF2B5EF4-FFF2-40B4-BE49-F238E27FC236}">
                <a16:creationId xmlns:a16="http://schemas.microsoft.com/office/drawing/2014/main" id="{BF645B51-9AF3-458B-8828-0402C0CB313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6" name="Slide Number Placeholder 25">
            <a:extLst>
              <a:ext uri="{FF2B5EF4-FFF2-40B4-BE49-F238E27FC236}">
                <a16:creationId xmlns:a16="http://schemas.microsoft.com/office/drawing/2014/main" id="{B59A9134-72D8-4506-BA05-B8827B7A8E35}"/>
              </a:ext>
            </a:extLst>
          </p:cNvPr>
          <p:cNvSpPr>
            <a:spLocks noGrp="1"/>
          </p:cNvSpPr>
          <p:nvPr>
            <p:ph type="sldNum" sz="quarter" idx="10"/>
          </p:nvPr>
        </p:nvSpPr>
        <p:spPr/>
        <p:txBody>
          <a:bodyPr/>
          <a:lstStyle/>
          <a:p>
            <a:fld id="{1F90F471-3972-4120-B8B3-0237DE626C35}" type="slidenum">
              <a:rPr lang="en-US" smtClean="0"/>
              <a:pPr/>
              <a:t>339</a:t>
            </a:fld>
            <a:endParaRPr lang="en-US" dirty="0"/>
          </a:p>
        </p:txBody>
      </p:sp>
      <p:grpSp>
        <p:nvGrpSpPr>
          <p:cNvPr id="51" name="Group 50" descr="text 1">
            <a:extLst>
              <a:ext uri="{FF2B5EF4-FFF2-40B4-BE49-F238E27FC236}">
                <a16:creationId xmlns:a16="http://schemas.microsoft.com/office/drawing/2014/main" id="{08570F02-17A3-42DB-947A-B8A3E1E3ADD2}"/>
              </a:ext>
            </a:extLst>
          </p:cNvPr>
          <p:cNvGrpSpPr/>
          <p:nvPr/>
        </p:nvGrpSpPr>
        <p:grpSpPr>
          <a:xfrm>
            <a:off x="2142325" y="1893179"/>
            <a:ext cx="620180" cy="3443405"/>
            <a:chOff x="2142325" y="1893179"/>
            <a:chExt cx="620180" cy="3443405"/>
          </a:xfrm>
        </p:grpSpPr>
        <p:sp>
          <p:nvSpPr>
            <p:cNvPr id="52" name="AutoShape 5">
              <a:extLst>
                <a:ext uri="{FF2B5EF4-FFF2-40B4-BE49-F238E27FC236}">
                  <a16:creationId xmlns:a16="http://schemas.microsoft.com/office/drawing/2014/main" id="{113A0526-5616-46B5-9D83-B85AB9466F86}"/>
                </a:ext>
                <a:ext uri="{C183D7F6-B498-43B3-948B-1728B52AA6E4}">
                  <adec:decorative xmlns:adec="http://schemas.microsoft.com/office/drawing/2017/decorative" val="1"/>
                </a:ext>
              </a:extLst>
            </p:cNvPr>
            <p:cNvSpPr>
              <a:spLocks noChangeArrowheads="1"/>
            </p:cNvSpPr>
            <p:nvPr/>
          </p:nvSpPr>
          <p:spPr bwMode="auto">
            <a:xfrm rot="16200000" flipH="1">
              <a:off x="1027310" y="3604351"/>
              <a:ext cx="2850210" cy="614255"/>
            </a:xfrm>
            <a:prstGeom prst="homePlate">
              <a:avLst>
                <a:gd name="adj" fmla="val 29053"/>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3" name="Rectangle 14">
              <a:extLst>
                <a:ext uri="{FF2B5EF4-FFF2-40B4-BE49-F238E27FC236}">
                  <a16:creationId xmlns:a16="http://schemas.microsoft.com/office/drawing/2014/main" id="{E9EAFA1D-9369-40A5-BF78-D500D3555215}"/>
                </a:ext>
              </a:extLst>
            </p:cNvPr>
            <p:cNvSpPr>
              <a:spLocks noChangeArrowheads="1"/>
            </p:cNvSpPr>
            <p:nvPr/>
          </p:nvSpPr>
          <p:spPr bwMode="auto">
            <a:xfrm>
              <a:off x="2142325" y="1893179"/>
              <a:ext cx="620180" cy="488197"/>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54" name="Group 53" descr="text 2">
            <a:extLst>
              <a:ext uri="{FF2B5EF4-FFF2-40B4-BE49-F238E27FC236}">
                <a16:creationId xmlns:a16="http://schemas.microsoft.com/office/drawing/2014/main" id="{59C2A45E-8F18-4D6B-AFBB-DCE3C8C702C3}"/>
              </a:ext>
            </a:extLst>
          </p:cNvPr>
          <p:cNvGrpSpPr/>
          <p:nvPr/>
        </p:nvGrpSpPr>
        <p:grpSpPr>
          <a:xfrm>
            <a:off x="2869160" y="1893179"/>
            <a:ext cx="616230" cy="3445201"/>
            <a:chOff x="2869160" y="1893179"/>
            <a:chExt cx="616230" cy="3445201"/>
          </a:xfrm>
        </p:grpSpPr>
        <p:sp>
          <p:nvSpPr>
            <p:cNvPr id="55" name="AutoShape 4">
              <a:extLst>
                <a:ext uri="{FF2B5EF4-FFF2-40B4-BE49-F238E27FC236}">
                  <a16:creationId xmlns:a16="http://schemas.microsoft.com/office/drawing/2014/main" id="{BD6BB2B9-B630-4A07-8BCD-5BB70D34D4DE}"/>
                </a:ext>
                <a:ext uri="{C183D7F6-B498-43B3-948B-1728B52AA6E4}">
                  <adec:decorative xmlns:adec="http://schemas.microsoft.com/office/drawing/2017/decorative" val="1"/>
                </a:ext>
              </a:extLst>
            </p:cNvPr>
            <p:cNvSpPr>
              <a:spLocks noChangeArrowheads="1"/>
            </p:cNvSpPr>
            <p:nvPr/>
          </p:nvSpPr>
          <p:spPr bwMode="auto">
            <a:xfrm rot="16200000" flipH="1">
              <a:off x="1752170" y="3606147"/>
              <a:ext cx="2850210" cy="614255"/>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 name="Rectangle 15">
              <a:extLst>
                <a:ext uri="{FF2B5EF4-FFF2-40B4-BE49-F238E27FC236}">
                  <a16:creationId xmlns:a16="http://schemas.microsoft.com/office/drawing/2014/main" id="{6A0EDC20-9746-4EA4-8A5D-7C1615A0570D}"/>
                </a:ext>
              </a:extLst>
            </p:cNvPr>
            <p:cNvSpPr>
              <a:spLocks noChangeArrowheads="1"/>
            </p:cNvSpPr>
            <p:nvPr/>
          </p:nvSpPr>
          <p:spPr bwMode="auto">
            <a:xfrm>
              <a:off x="2869160" y="1893179"/>
              <a:ext cx="616230" cy="488197"/>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57" name="Group 56" descr="text 3">
            <a:extLst>
              <a:ext uri="{FF2B5EF4-FFF2-40B4-BE49-F238E27FC236}">
                <a16:creationId xmlns:a16="http://schemas.microsoft.com/office/drawing/2014/main" id="{27FEC283-C831-4B55-9C3F-578537596E56}"/>
              </a:ext>
            </a:extLst>
          </p:cNvPr>
          <p:cNvGrpSpPr/>
          <p:nvPr/>
        </p:nvGrpSpPr>
        <p:grpSpPr>
          <a:xfrm>
            <a:off x="3592047" y="1893179"/>
            <a:ext cx="617217" cy="3445201"/>
            <a:chOff x="3592047" y="1893179"/>
            <a:chExt cx="617217" cy="3445201"/>
          </a:xfrm>
        </p:grpSpPr>
        <p:sp>
          <p:nvSpPr>
            <p:cNvPr id="58" name="AutoShape 6">
              <a:extLst>
                <a:ext uri="{FF2B5EF4-FFF2-40B4-BE49-F238E27FC236}">
                  <a16:creationId xmlns:a16="http://schemas.microsoft.com/office/drawing/2014/main" id="{B6F141D9-D51F-4AB1-A12D-EBFDFD1E7914}"/>
                </a:ext>
                <a:ext uri="{C183D7F6-B498-43B3-948B-1728B52AA6E4}">
                  <adec:decorative xmlns:adec="http://schemas.microsoft.com/office/drawing/2017/decorative" val="1"/>
                </a:ext>
              </a:extLst>
            </p:cNvPr>
            <p:cNvSpPr>
              <a:spLocks noChangeArrowheads="1"/>
            </p:cNvSpPr>
            <p:nvPr/>
          </p:nvSpPr>
          <p:spPr bwMode="auto">
            <a:xfrm rot="16200000" flipH="1">
              <a:off x="2477032" y="3606147"/>
              <a:ext cx="2850210" cy="614255"/>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 name="Rectangle 16">
              <a:extLst>
                <a:ext uri="{FF2B5EF4-FFF2-40B4-BE49-F238E27FC236}">
                  <a16:creationId xmlns:a16="http://schemas.microsoft.com/office/drawing/2014/main" id="{BC0CE20B-50F2-48B4-B6F0-6CFA23BC987F}"/>
                </a:ext>
              </a:extLst>
            </p:cNvPr>
            <p:cNvSpPr>
              <a:spLocks noChangeArrowheads="1"/>
            </p:cNvSpPr>
            <p:nvPr/>
          </p:nvSpPr>
          <p:spPr bwMode="auto">
            <a:xfrm>
              <a:off x="3592047" y="1893179"/>
              <a:ext cx="616230" cy="488197"/>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60" name="Group 59" descr="text 4">
            <a:extLst>
              <a:ext uri="{FF2B5EF4-FFF2-40B4-BE49-F238E27FC236}">
                <a16:creationId xmlns:a16="http://schemas.microsoft.com/office/drawing/2014/main" id="{3BC9B2A1-D62B-4A0E-965D-DF6A1D53507D}"/>
              </a:ext>
            </a:extLst>
          </p:cNvPr>
          <p:cNvGrpSpPr/>
          <p:nvPr/>
        </p:nvGrpSpPr>
        <p:grpSpPr>
          <a:xfrm>
            <a:off x="4314931" y="1893179"/>
            <a:ext cx="617218" cy="3445201"/>
            <a:chOff x="4314931" y="1893179"/>
            <a:chExt cx="617218" cy="3445201"/>
          </a:xfrm>
        </p:grpSpPr>
        <p:sp>
          <p:nvSpPr>
            <p:cNvPr id="61" name="AutoShape 7">
              <a:extLst>
                <a:ext uri="{FF2B5EF4-FFF2-40B4-BE49-F238E27FC236}">
                  <a16:creationId xmlns:a16="http://schemas.microsoft.com/office/drawing/2014/main" id="{B208CC73-A7C3-4C77-ACBF-4DCA946D9C0C}"/>
                </a:ext>
                <a:ext uri="{C183D7F6-B498-43B3-948B-1728B52AA6E4}">
                  <adec:decorative xmlns:adec="http://schemas.microsoft.com/office/drawing/2017/decorative" val="1"/>
                </a:ext>
              </a:extLst>
            </p:cNvPr>
            <p:cNvSpPr>
              <a:spLocks noChangeArrowheads="1"/>
            </p:cNvSpPr>
            <p:nvPr/>
          </p:nvSpPr>
          <p:spPr bwMode="auto">
            <a:xfrm rot="16200000" flipH="1">
              <a:off x="3199917" y="3606147"/>
              <a:ext cx="2850210" cy="614255"/>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 name="Rectangle 17">
              <a:extLst>
                <a:ext uri="{FF2B5EF4-FFF2-40B4-BE49-F238E27FC236}">
                  <a16:creationId xmlns:a16="http://schemas.microsoft.com/office/drawing/2014/main" id="{9DCF271C-A0AD-4D7C-ACEE-6316CA4561B5}"/>
                </a:ext>
              </a:extLst>
            </p:cNvPr>
            <p:cNvSpPr>
              <a:spLocks noChangeArrowheads="1"/>
            </p:cNvSpPr>
            <p:nvPr/>
          </p:nvSpPr>
          <p:spPr bwMode="auto">
            <a:xfrm>
              <a:off x="4314931" y="1893179"/>
              <a:ext cx="616230" cy="488197"/>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63" name="Group 62" descr="text 5">
            <a:extLst>
              <a:ext uri="{FF2B5EF4-FFF2-40B4-BE49-F238E27FC236}">
                <a16:creationId xmlns:a16="http://schemas.microsoft.com/office/drawing/2014/main" id="{34470FBF-6BE7-4D28-85BB-AFB8CCC07327}"/>
              </a:ext>
            </a:extLst>
          </p:cNvPr>
          <p:cNvGrpSpPr/>
          <p:nvPr/>
        </p:nvGrpSpPr>
        <p:grpSpPr>
          <a:xfrm>
            <a:off x="5037818" y="1893179"/>
            <a:ext cx="618206" cy="3445201"/>
            <a:chOff x="5037818" y="1893179"/>
            <a:chExt cx="618206" cy="3445201"/>
          </a:xfrm>
        </p:grpSpPr>
        <p:sp>
          <p:nvSpPr>
            <p:cNvPr id="64" name="AutoShape 8">
              <a:extLst>
                <a:ext uri="{FF2B5EF4-FFF2-40B4-BE49-F238E27FC236}">
                  <a16:creationId xmlns:a16="http://schemas.microsoft.com/office/drawing/2014/main" id="{999072B6-FA24-4073-BF9E-DBF66F670859}"/>
                </a:ext>
                <a:ext uri="{C183D7F6-B498-43B3-948B-1728B52AA6E4}">
                  <adec:decorative xmlns:adec="http://schemas.microsoft.com/office/drawing/2017/decorative" val="1"/>
                </a:ext>
              </a:extLst>
            </p:cNvPr>
            <p:cNvSpPr>
              <a:spLocks noChangeArrowheads="1"/>
            </p:cNvSpPr>
            <p:nvPr/>
          </p:nvSpPr>
          <p:spPr bwMode="auto">
            <a:xfrm rot="16200000" flipH="1">
              <a:off x="3922803" y="3606147"/>
              <a:ext cx="2850210" cy="614255"/>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5" name="Rectangle 18">
              <a:extLst>
                <a:ext uri="{FF2B5EF4-FFF2-40B4-BE49-F238E27FC236}">
                  <a16:creationId xmlns:a16="http://schemas.microsoft.com/office/drawing/2014/main" id="{6A7B9E64-377F-4B7E-B42E-E675C413E9FA}"/>
                </a:ext>
              </a:extLst>
            </p:cNvPr>
            <p:cNvSpPr>
              <a:spLocks noChangeArrowheads="1"/>
            </p:cNvSpPr>
            <p:nvPr/>
          </p:nvSpPr>
          <p:spPr bwMode="auto">
            <a:xfrm>
              <a:off x="5037818" y="1893179"/>
              <a:ext cx="618206" cy="488197"/>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66" name="Group 65" descr="text 6">
            <a:extLst>
              <a:ext uri="{FF2B5EF4-FFF2-40B4-BE49-F238E27FC236}">
                <a16:creationId xmlns:a16="http://schemas.microsoft.com/office/drawing/2014/main" id="{55864D1D-7620-4A69-A01C-A69B8AB56D42}"/>
              </a:ext>
            </a:extLst>
          </p:cNvPr>
          <p:cNvGrpSpPr/>
          <p:nvPr/>
        </p:nvGrpSpPr>
        <p:grpSpPr>
          <a:xfrm>
            <a:off x="5762678" y="1893179"/>
            <a:ext cx="616230" cy="3445201"/>
            <a:chOff x="5762678" y="1893179"/>
            <a:chExt cx="616230" cy="3445201"/>
          </a:xfrm>
        </p:grpSpPr>
        <p:sp>
          <p:nvSpPr>
            <p:cNvPr id="67" name="AutoShape 9">
              <a:extLst>
                <a:ext uri="{FF2B5EF4-FFF2-40B4-BE49-F238E27FC236}">
                  <a16:creationId xmlns:a16="http://schemas.microsoft.com/office/drawing/2014/main" id="{90B65358-4EDC-4C32-8B7F-6450F45ACF08}"/>
                </a:ext>
                <a:ext uri="{C183D7F6-B498-43B3-948B-1728B52AA6E4}">
                  <adec:decorative xmlns:adec="http://schemas.microsoft.com/office/drawing/2017/decorative" val="1"/>
                </a:ext>
              </a:extLst>
            </p:cNvPr>
            <p:cNvSpPr>
              <a:spLocks noChangeArrowheads="1"/>
            </p:cNvSpPr>
            <p:nvPr/>
          </p:nvSpPr>
          <p:spPr bwMode="auto">
            <a:xfrm rot="16200000" flipH="1">
              <a:off x="4645688" y="3606147"/>
              <a:ext cx="2850210" cy="614255"/>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 name="Rectangle 19">
              <a:extLst>
                <a:ext uri="{FF2B5EF4-FFF2-40B4-BE49-F238E27FC236}">
                  <a16:creationId xmlns:a16="http://schemas.microsoft.com/office/drawing/2014/main" id="{36BBE53D-724F-47AE-A9C9-BAC0145A0B82}"/>
                </a:ext>
              </a:extLst>
            </p:cNvPr>
            <p:cNvSpPr>
              <a:spLocks noChangeArrowheads="1"/>
            </p:cNvSpPr>
            <p:nvPr/>
          </p:nvSpPr>
          <p:spPr bwMode="auto">
            <a:xfrm>
              <a:off x="5762678" y="1893179"/>
              <a:ext cx="616230" cy="488197"/>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grpSp>
        <p:nvGrpSpPr>
          <p:cNvPr id="69" name="Group 68" descr="text 7">
            <a:extLst>
              <a:ext uri="{FF2B5EF4-FFF2-40B4-BE49-F238E27FC236}">
                <a16:creationId xmlns:a16="http://schemas.microsoft.com/office/drawing/2014/main" id="{7B52C220-7A63-44D4-B7ED-0D249B8980A6}"/>
              </a:ext>
            </a:extLst>
          </p:cNvPr>
          <p:cNvGrpSpPr/>
          <p:nvPr/>
        </p:nvGrpSpPr>
        <p:grpSpPr>
          <a:xfrm>
            <a:off x="6485564" y="1893179"/>
            <a:ext cx="616230" cy="3445201"/>
            <a:chOff x="6485564" y="1893179"/>
            <a:chExt cx="616230" cy="3445201"/>
          </a:xfrm>
        </p:grpSpPr>
        <p:sp>
          <p:nvSpPr>
            <p:cNvPr id="70" name="AutoShape 10">
              <a:extLst>
                <a:ext uri="{FF2B5EF4-FFF2-40B4-BE49-F238E27FC236}">
                  <a16:creationId xmlns:a16="http://schemas.microsoft.com/office/drawing/2014/main" id="{DF5C7DC5-905C-4D41-B30B-ED121EF3BB69}"/>
                </a:ext>
                <a:ext uri="{C183D7F6-B498-43B3-948B-1728B52AA6E4}">
                  <adec:decorative xmlns:adec="http://schemas.microsoft.com/office/drawing/2017/decorative" val="1"/>
                </a:ext>
              </a:extLst>
            </p:cNvPr>
            <p:cNvSpPr>
              <a:spLocks noChangeArrowheads="1"/>
            </p:cNvSpPr>
            <p:nvPr/>
          </p:nvSpPr>
          <p:spPr bwMode="auto">
            <a:xfrm rot="16200000" flipH="1">
              <a:off x="5368574" y="3606147"/>
              <a:ext cx="2850210" cy="614255"/>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 name="Rectangle 20">
              <a:extLst>
                <a:ext uri="{FF2B5EF4-FFF2-40B4-BE49-F238E27FC236}">
                  <a16:creationId xmlns:a16="http://schemas.microsoft.com/office/drawing/2014/main" id="{E260B389-AEA5-470A-A0FA-E995C1480977}"/>
                </a:ext>
              </a:extLst>
            </p:cNvPr>
            <p:cNvSpPr>
              <a:spLocks noChangeArrowheads="1"/>
            </p:cNvSpPr>
            <p:nvPr/>
          </p:nvSpPr>
          <p:spPr bwMode="auto">
            <a:xfrm>
              <a:off x="6485564" y="1893179"/>
              <a:ext cx="616230" cy="488197"/>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ea typeface="+mn-ea"/>
                  <a:cs typeface="+mn-cs"/>
                </a:rPr>
                <a:t>Text</a:t>
              </a:r>
            </a:p>
          </p:txBody>
        </p:sp>
      </p:grpSp>
      <p:sp>
        <p:nvSpPr>
          <p:cNvPr id="72" name="AutoShape 11">
            <a:extLst>
              <a:ext uri="{FF2B5EF4-FFF2-40B4-BE49-F238E27FC236}">
                <a16:creationId xmlns:a16="http://schemas.microsoft.com/office/drawing/2014/main" id="{9A23DD26-A50B-475B-95A7-5C4A889822C5}"/>
              </a:ext>
            </a:extLst>
          </p:cNvPr>
          <p:cNvSpPr>
            <a:spLocks noChangeArrowheads="1"/>
          </p:cNvSpPr>
          <p:nvPr/>
        </p:nvSpPr>
        <p:spPr bwMode="auto">
          <a:xfrm>
            <a:off x="1838160" y="2687444"/>
            <a:ext cx="5583600" cy="474198"/>
          </a:xfrm>
          <a:prstGeom prst="homePlate">
            <a:avLst>
              <a:gd name="adj" fmla="val 28859"/>
            </a:avLst>
          </a:prstGeom>
          <a:solidFill>
            <a:schemeClr val="accent3"/>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mj-lt"/>
                <a:ea typeface="+mn-ea"/>
                <a:cs typeface="+mn-cs"/>
              </a:rPr>
              <a:t>Text</a:t>
            </a:r>
          </a:p>
        </p:txBody>
      </p:sp>
      <p:sp>
        <p:nvSpPr>
          <p:cNvPr id="73" name="AutoShape 12">
            <a:extLst>
              <a:ext uri="{FF2B5EF4-FFF2-40B4-BE49-F238E27FC236}">
                <a16:creationId xmlns:a16="http://schemas.microsoft.com/office/drawing/2014/main" id="{1AF5735C-F7F9-4861-BEA2-A2AE3A7C2E7B}"/>
              </a:ext>
            </a:extLst>
          </p:cNvPr>
          <p:cNvSpPr>
            <a:spLocks noChangeArrowheads="1"/>
          </p:cNvSpPr>
          <p:nvPr/>
        </p:nvSpPr>
        <p:spPr bwMode="auto">
          <a:xfrm>
            <a:off x="1838160" y="3231220"/>
            <a:ext cx="5583600" cy="474198"/>
          </a:xfrm>
          <a:prstGeom prst="homePlate">
            <a:avLst>
              <a:gd name="adj" fmla="val 28859"/>
            </a:avLst>
          </a:prstGeom>
          <a:solidFill>
            <a:schemeClr val="accent2"/>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mj-lt"/>
                <a:ea typeface="+mn-ea"/>
                <a:cs typeface="+mn-cs"/>
              </a:rPr>
              <a:t>Text</a:t>
            </a:r>
          </a:p>
        </p:txBody>
      </p:sp>
      <p:sp>
        <p:nvSpPr>
          <p:cNvPr id="74" name="AutoShape 13">
            <a:extLst>
              <a:ext uri="{FF2B5EF4-FFF2-40B4-BE49-F238E27FC236}">
                <a16:creationId xmlns:a16="http://schemas.microsoft.com/office/drawing/2014/main" id="{3B944AE2-32B0-4DB5-94DA-242D41A5CBBA}"/>
              </a:ext>
            </a:extLst>
          </p:cNvPr>
          <p:cNvSpPr>
            <a:spLocks noChangeArrowheads="1"/>
          </p:cNvSpPr>
          <p:nvPr/>
        </p:nvSpPr>
        <p:spPr bwMode="auto">
          <a:xfrm>
            <a:off x="1838160" y="3774997"/>
            <a:ext cx="5583600" cy="474198"/>
          </a:xfrm>
          <a:prstGeom prst="homePlate">
            <a:avLst>
              <a:gd name="adj" fmla="val 28859"/>
            </a:avLst>
          </a:prstGeom>
          <a:solidFill>
            <a:schemeClr val="accent1"/>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mj-lt"/>
                <a:ea typeface="+mn-ea"/>
                <a:cs typeface="+mn-cs"/>
              </a:rPr>
              <a:t>Text</a:t>
            </a:r>
          </a:p>
        </p:txBody>
      </p:sp>
      <p:sp>
        <p:nvSpPr>
          <p:cNvPr id="75" name="AutoShape 13">
            <a:extLst>
              <a:ext uri="{FF2B5EF4-FFF2-40B4-BE49-F238E27FC236}">
                <a16:creationId xmlns:a16="http://schemas.microsoft.com/office/drawing/2014/main" id="{85B935CB-52F7-4657-957C-C7E9373F23D6}"/>
              </a:ext>
            </a:extLst>
          </p:cNvPr>
          <p:cNvSpPr>
            <a:spLocks noChangeArrowheads="1"/>
          </p:cNvSpPr>
          <p:nvPr/>
        </p:nvSpPr>
        <p:spPr bwMode="auto">
          <a:xfrm>
            <a:off x="1838160" y="4318775"/>
            <a:ext cx="5583600" cy="474198"/>
          </a:xfrm>
          <a:prstGeom prst="homePlate">
            <a:avLst>
              <a:gd name="adj" fmla="val 28859"/>
            </a:avLst>
          </a:prstGeom>
          <a:solidFill>
            <a:schemeClr val="accent4"/>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mj-lt"/>
                <a:ea typeface="+mn-ea"/>
                <a:cs typeface="+mn-cs"/>
              </a:rPr>
              <a:t>Text</a:t>
            </a:r>
          </a:p>
        </p:txBody>
      </p:sp>
    </p:spTree>
    <p:extLst>
      <p:ext uri="{BB962C8B-B14F-4D97-AF65-F5344CB8AC3E}">
        <p14:creationId xmlns:p14="http://schemas.microsoft.com/office/powerpoint/2010/main" val="32708778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4873A6-5CB4-450A-9BE4-7A68D0EDB4BA}"/>
              </a:ext>
            </a:extLst>
          </p:cNvPr>
          <p:cNvSpPr>
            <a:spLocks noGrp="1"/>
          </p:cNvSpPr>
          <p:nvPr>
            <p:ph type="title"/>
          </p:nvPr>
        </p:nvSpPr>
        <p:spPr/>
        <p:txBody>
          <a:bodyPr/>
          <a:lstStyle/>
          <a:p>
            <a:r>
              <a:rPr lang="en-US" dirty="0"/>
              <a:t>Section title 54pt</a:t>
            </a:r>
          </a:p>
        </p:txBody>
      </p:sp>
      <p:sp>
        <p:nvSpPr>
          <p:cNvPr id="2" name="Text Placeholder 1">
            <a:extLst>
              <a:ext uri="{FF2B5EF4-FFF2-40B4-BE49-F238E27FC236}">
                <a16:creationId xmlns:a16="http://schemas.microsoft.com/office/drawing/2014/main" id="{7D36FE8E-B648-4D50-915B-33624C6AD350}"/>
              </a:ext>
            </a:extLst>
          </p:cNvPr>
          <p:cNvSpPr>
            <a:spLocks noGrp="1"/>
          </p:cNvSpPr>
          <p:nvPr>
            <p:ph type="body" sz="quarter" idx="16"/>
          </p:nvPr>
        </p:nvSpPr>
        <p:spPr/>
        <p:txBody>
          <a:bodyPr/>
          <a:lstStyle/>
          <a:p>
            <a:r>
              <a:rPr lang="en-GB" dirty="0"/>
              <a:t>Place subtitle here in GT Sectra Fine </a:t>
            </a:r>
            <a:r>
              <a:rPr lang="en-GB" dirty="0" err="1"/>
              <a:t>Rg</a:t>
            </a:r>
            <a:r>
              <a:rPr lang="en-GB" dirty="0"/>
              <a:t> 24pt</a:t>
            </a:r>
            <a:endParaRPr lang="en-US" dirty="0"/>
          </a:p>
        </p:txBody>
      </p:sp>
      <p:pic>
        <p:nvPicPr>
          <p:cNvPr id="7" name="Picture Placeholder 7" descr="All informative images must include a description for screen readers. All informative images must include a description for screen readers. If descriptive information is available in nearby text, it should not be repeated in the alt text for an image.">
            <a:extLst>
              <a:ext uri="{FF2B5EF4-FFF2-40B4-BE49-F238E27FC236}">
                <a16:creationId xmlns:a16="http://schemas.microsoft.com/office/drawing/2014/main" id="{CFE04872-E0A6-4CB2-B8EF-6E55EA3BDB64}"/>
              </a:ext>
            </a:extLst>
          </p:cNvPr>
          <p:cNvPicPr>
            <a:picLocks noGrp="1" noChangeAspect="1"/>
          </p:cNvPicPr>
          <p:nvPr>
            <p:ph type="pic" sz="quarter" idx="13"/>
          </p:nvPr>
        </p:nvPicPr>
        <p:blipFill>
          <a:blip r:embed="rId2"/>
          <a:srcRect l="14" r="14"/>
          <a:stretch/>
        </p:blipFill>
        <p:spPr>
          <a:xfrm>
            <a:off x="6858000" y="381000"/>
            <a:ext cx="4953000" cy="5703888"/>
          </a:xfrm>
        </p:spPr>
      </p:pic>
      <p:sp>
        <p:nvSpPr>
          <p:cNvPr id="5" name="Footer Placeholder 4">
            <a:extLst>
              <a:ext uri="{FF2B5EF4-FFF2-40B4-BE49-F238E27FC236}">
                <a16:creationId xmlns:a16="http://schemas.microsoft.com/office/drawing/2014/main" id="{D02988BD-DFA6-4851-A037-89FC1961AD19}"/>
              </a:ext>
            </a:extLst>
          </p:cNvPr>
          <p:cNvSpPr>
            <a:spLocks noGrp="1"/>
          </p:cNvSpPr>
          <p:nvPr>
            <p:ph type="ftr" sz="quarter" idx="18"/>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B466B4D4-E3BE-4C0A-8B9A-E90DDE9F4165}"/>
              </a:ext>
            </a:extLst>
          </p:cNvPr>
          <p:cNvSpPr>
            <a:spLocks noGrp="1"/>
          </p:cNvSpPr>
          <p:nvPr>
            <p:ph type="sldNum" sz="quarter" idx="19"/>
          </p:nvPr>
        </p:nvSpPr>
        <p:spPr/>
        <p:txBody>
          <a:bodyPr/>
          <a:lstStyle/>
          <a:p>
            <a:fld id="{1F90F471-3972-4120-B8B3-0237DE626C35}" type="slidenum">
              <a:rPr lang="en-US" smtClean="0"/>
              <a:pPr/>
              <a:t>34</a:t>
            </a:fld>
            <a:endParaRPr lang="en-US" dirty="0"/>
          </a:p>
        </p:txBody>
      </p:sp>
    </p:spTree>
    <p:extLst>
      <p:ext uri="{BB962C8B-B14F-4D97-AF65-F5344CB8AC3E}">
        <p14:creationId xmlns:p14="http://schemas.microsoft.com/office/powerpoint/2010/main" val="4285223222"/>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descr="Add text and order accordingly">
            <a:hlinkClick r:id="rId2" action="ppaction://hlinksldjump" tooltip="Return to Index"/>
            <a:extLst>
              <a:ext uri="{FF2B5EF4-FFF2-40B4-BE49-F238E27FC236}">
                <a16:creationId xmlns:a16="http://schemas.microsoft.com/office/drawing/2014/main" id="{0DE3F75C-CF1B-47BB-A358-FF97AF03C85D}"/>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itle 6">
            <a:extLst>
              <a:ext uri="{FF2B5EF4-FFF2-40B4-BE49-F238E27FC236}">
                <a16:creationId xmlns:a16="http://schemas.microsoft.com/office/drawing/2014/main" id="{F7C4124B-B9D5-4FB9-AA46-3262DD2B40DB}"/>
              </a:ext>
            </a:extLst>
          </p:cNvPr>
          <p:cNvSpPr>
            <a:spLocks noGrp="1"/>
          </p:cNvSpPr>
          <p:nvPr>
            <p:ph type="title"/>
          </p:nvPr>
        </p:nvSpPr>
        <p:spPr/>
        <p:txBody>
          <a:bodyPr/>
          <a:lstStyle/>
          <a:p>
            <a:r>
              <a:rPr lang="en-US" dirty="0"/>
              <a:t>Other Structures</a:t>
            </a:r>
          </a:p>
        </p:txBody>
      </p:sp>
      <p:sp>
        <p:nvSpPr>
          <p:cNvPr id="9" name="Text Placeholder 8">
            <a:extLst>
              <a:ext uri="{FF2B5EF4-FFF2-40B4-BE49-F238E27FC236}">
                <a16:creationId xmlns:a16="http://schemas.microsoft.com/office/drawing/2014/main" id="{1265ADBE-657A-4DC7-A6A6-2F0E697C4723}"/>
              </a:ext>
            </a:extLst>
          </p:cNvPr>
          <p:cNvSpPr>
            <a:spLocks noGrp="1"/>
          </p:cNvSpPr>
          <p:nvPr>
            <p:ph type="body" sz="quarter" idx="15"/>
          </p:nvPr>
        </p:nvSpPr>
        <p:spPr/>
        <p:txBody>
          <a:bodyPr/>
          <a:lstStyle/>
          <a:p>
            <a:r>
              <a:rPr lang="en-US" dirty="0"/>
              <a:t>Part of </a:t>
            </a:r>
            <a:r>
              <a:rPr lang="en-US" dirty="0">
                <a:hlinkClick r:id="rId3" action="ppaction://hlinksldjump">
                  <a:extLst>
                    <a:ext uri="{A12FA001-AC4F-418D-AE19-62706E023703}">
                      <ahyp:hlinkClr xmlns:ahyp="http://schemas.microsoft.com/office/drawing/2018/hyperlinkcolor" val="tx"/>
                    </a:ext>
                  </a:extLst>
                </a:hlinkClick>
              </a:rPr>
              <a:t>Static Objects</a:t>
            </a:r>
            <a:endParaRPr lang="en-US" dirty="0"/>
          </a:p>
        </p:txBody>
      </p:sp>
      <p:sp>
        <p:nvSpPr>
          <p:cNvPr id="5" name="Footer Placeholder 4">
            <a:extLst>
              <a:ext uri="{FF2B5EF4-FFF2-40B4-BE49-F238E27FC236}">
                <a16:creationId xmlns:a16="http://schemas.microsoft.com/office/drawing/2014/main" id="{9DC78945-A645-4563-BCA9-927812C9C4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BEE2891-AE3F-4D8A-B562-5662B242B3DF}"/>
              </a:ext>
            </a:extLst>
          </p:cNvPr>
          <p:cNvSpPr>
            <a:spLocks noGrp="1"/>
          </p:cNvSpPr>
          <p:nvPr>
            <p:ph type="sldNum" sz="quarter" idx="17"/>
          </p:nvPr>
        </p:nvSpPr>
        <p:spPr/>
        <p:txBody>
          <a:bodyPr/>
          <a:lstStyle/>
          <a:p>
            <a:fld id="{1F90F471-3972-4120-B8B3-0237DE626C35}" type="slidenum">
              <a:rPr lang="en-US" smtClean="0"/>
              <a:pPr/>
              <a:t>340</a:t>
            </a:fld>
            <a:endParaRPr lang="en-US" dirty="0"/>
          </a:p>
        </p:txBody>
      </p:sp>
    </p:spTree>
    <p:extLst>
      <p:ext uri="{BB962C8B-B14F-4D97-AF65-F5344CB8AC3E}">
        <p14:creationId xmlns:p14="http://schemas.microsoft.com/office/powerpoint/2010/main" val="4049723815"/>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Pyramid Components 1</a:t>
            </a:r>
          </a:p>
        </p:txBody>
      </p:sp>
      <p:sp>
        <p:nvSpPr>
          <p:cNvPr id="4" name="AutoShape 9">
            <a:extLst>
              <a:ext uri="{FF2B5EF4-FFF2-40B4-BE49-F238E27FC236}">
                <a16:creationId xmlns:a16="http://schemas.microsoft.com/office/drawing/2014/main" id="{A69B36D2-238D-4D25-ACD9-B8CE70BD4398}"/>
              </a:ext>
              <a:ext uri="{C183D7F6-B498-43B3-948B-1728B52AA6E4}">
                <adec:decorative xmlns:adec="http://schemas.microsoft.com/office/drawing/2017/decorative" val="1"/>
              </a:ext>
            </a:extLst>
          </p:cNvPr>
          <p:cNvSpPr>
            <a:spLocks noChangeArrowheads="1"/>
          </p:cNvSpPr>
          <p:nvPr/>
        </p:nvSpPr>
        <p:spPr bwMode="auto">
          <a:xfrm>
            <a:off x="3792539" y="4237719"/>
            <a:ext cx="4592637" cy="1299458"/>
          </a:xfrm>
          <a:prstGeom prst="triangle">
            <a:avLst>
              <a:gd name="adj" fmla="val 50000"/>
            </a:avLst>
          </a:prstGeom>
          <a:solidFill>
            <a:schemeClr val="accent2"/>
          </a:solidFill>
          <a:ln w="12700">
            <a:solidFill>
              <a:srgbClr val="FFFFFF"/>
            </a:solidFill>
            <a:miter lim="800000"/>
            <a:headEnd/>
            <a:tailEnd/>
          </a:ln>
          <a:effectLst/>
        </p:spPr>
        <p:txBody>
          <a:bodyPr wrap="none" lIns="36000" tIns="36000" rIns="36000" bIns="36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a typeface="+mn-ea"/>
              <a:cs typeface="+mn-cs"/>
            </a:endParaRPr>
          </a:p>
        </p:txBody>
      </p:sp>
      <p:sp>
        <p:nvSpPr>
          <p:cNvPr id="5" name="AutoShape 10">
            <a:extLst>
              <a:ext uri="{FF2B5EF4-FFF2-40B4-BE49-F238E27FC236}">
                <a16:creationId xmlns:a16="http://schemas.microsoft.com/office/drawing/2014/main" id="{15A27469-AB2F-4BC8-95A8-C1AF430BFC08}"/>
              </a:ext>
              <a:ext uri="{C183D7F6-B498-43B3-948B-1728B52AA6E4}">
                <adec:decorative xmlns:adec="http://schemas.microsoft.com/office/drawing/2017/decorative" val="1"/>
              </a:ext>
            </a:extLst>
          </p:cNvPr>
          <p:cNvSpPr>
            <a:spLocks noChangeArrowheads="1"/>
          </p:cNvSpPr>
          <p:nvPr/>
        </p:nvSpPr>
        <p:spPr bwMode="auto">
          <a:xfrm rot="7221808">
            <a:off x="3251255" y="3232984"/>
            <a:ext cx="4556125" cy="1347708"/>
          </a:xfrm>
          <a:prstGeom prst="triangle">
            <a:avLst>
              <a:gd name="adj" fmla="val 50000"/>
            </a:avLst>
          </a:prstGeom>
          <a:solidFill>
            <a:schemeClr val="accent2">
              <a:lumMod val="40000"/>
              <a:lumOff val="60000"/>
            </a:schemeClr>
          </a:solidFill>
          <a:ln w="12700">
            <a:solidFill>
              <a:srgbClr val="FFFFFF"/>
            </a:solidFill>
            <a:miter lim="800000"/>
            <a:headEnd/>
            <a:tailEnd/>
          </a:ln>
          <a:effectLst/>
        </p:spPr>
        <p:txBody>
          <a:bodyPr rot="10800000" vert="eaVert" wrap="none" lIns="36000" tIns="36000" rIns="36000" b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a typeface="+mn-ea"/>
              <a:cs typeface="+mn-cs"/>
            </a:endParaRPr>
          </a:p>
        </p:txBody>
      </p:sp>
      <p:sp>
        <p:nvSpPr>
          <p:cNvPr id="6" name="AutoShape 11">
            <a:extLst>
              <a:ext uri="{FF2B5EF4-FFF2-40B4-BE49-F238E27FC236}">
                <a16:creationId xmlns:a16="http://schemas.microsoft.com/office/drawing/2014/main" id="{47B72FB3-6BF5-4FD5-A9AE-CF91FAB182B7}"/>
              </a:ext>
              <a:ext uri="{C183D7F6-B498-43B3-948B-1728B52AA6E4}">
                <adec:decorative xmlns:adec="http://schemas.microsoft.com/office/drawing/2017/decorative" val="1"/>
              </a:ext>
            </a:extLst>
          </p:cNvPr>
          <p:cNvSpPr>
            <a:spLocks noChangeArrowheads="1"/>
          </p:cNvSpPr>
          <p:nvPr/>
        </p:nvSpPr>
        <p:spPr bwMode="auto">
          <a:xfrm rot="14378192" flipH="1">
            <a:off x="4406433" y="3249028"/>
            <a:ext cx="4532061" cy="1329659"/>
          </a:xfrm>
          <a:prstGeom prst="triangle">
            <a:avLst>
              <a:gd name="adj" fmla="val 50000"/>
            </a:avLst>
          </a:prstGeom>
          <a:solidFill>
            <a:schemeClr val="accent2">
              <a:lumMod val="40000"/>
              <a:lumOff val="60000"/>
            </a:schemeClr>
          </a:solidFill>
          <a:ln w="12700">
            <a:solidFill>
              <a:srgbClr val="FFFFFF"/>
            </a:solidFill>
            <a:miter lim="800000"/>
            <a:headEnd/>
            <a:tailEnd/>
          </a:ln>
          <a:effectLst/>
        </p:spPr>
        <p:txBody>
          <a:bodyPr wrap="none" lIns="36000" tIns="36000" rIns="36000" bIns="36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a typeface="+mn-ea"/>
              <a:cs typeface="+mn-cs"/>
            </a:endParaRPr>
          </a:p>
        </p:txBody>
      </p:sp>
      <p:sp>
        <p:nvSpPr>
          <p:cNvPr id="8" name="Text Box 13">
            <a:extLst>
              <a:ext uri="{FF2B5EF4-FFF2-40B4-BE49-F238E27FC236}">
                <a16:creationId xmlns:a16="http://schemas.microsoft.com/office/drawing/2014/main" id="{77C4CBE0-5F02-4485-A1B6-FD5D8C63AD68}"/>
              </a:ext>
            </a:extLst>
          </p:cNvPr>
          <p:cNvSpPr txBox="1">
            <a:spLocks noChangeArrowheads="1"/>
          </p:cNvSpPr>
          <p:nvPr/>
        </p:nvSpPr>
        <p:spPr bwMode="auto">
          <a:xfrm>
            <a:off x="3792539" y="2791871"/>
            <a:ext cx="744047" cy="364971"/>
          </a:xfrm>
          <a:prstGeom prst="rect">
            <a:avLst/>
          </a:prstGeom>
          <a:noFill/>
          <a:ln w="12700">
            <a:noFill/>
            <a:miter lim="800000"/>
            <a:headEnd/>
            <a:tailEnd/>
          </a:ln>
          <a:effectLst/>
        </p:spPr>
        <p:txBody>
          <a:bodyPr lIns="45720" rIns="4572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00000"/>
                </a:solidFill>
                <a:effectLst/>
                <a:uLnTx/>
                <a:uFillTx/>
                <a:ea typeface="+mn-ea"/>
                <a:cs typeface="+mn-cs"/>
              </a:rPr>
              <a:t>Text</a:t>
            </a:r>
          </a:p>
        </p:txBody>
      </p:sp>
      <p:sp>
        <p:nvSpPr>
          <p:cNvPr id="7" name="Text Box 12">
            <a:extLst>
              <a:ext uri="{FF2B5EF4-FFF2-40B4-BE49-F238E27FC236}">
                <a16:creationId xmlns:a16="http://schemas.microsoft.com/office/drawing/2014/main" id="{946DB9C1-BC51-4435-A005-B35B6D9E2D70}"/>
              </a:ext>
            </a:extLst>
          </p:cNvPr>
          <p:cNvSpPr txBox="1">
            <a:spLocks noChangeArrowheads="1"/>
          </p:cNvSpPr>
          <p:nvPr/>
        </p:nvSpPr>
        <p:spPr bwMode="auto">
          <a:xfrm>
            <a:off x="7641129" y="2791871"/>
            <a:ext cx="744047" cy="364971"/>
          </a:xfrm>
          <a:prstGeom prst="rect">
            <a:avLst/>
          </a:prstGeom>
          <a:noFill/>
          <a:ln w="12700">
            <a:noFill/>
            <a:miter lim="800000"/>
            <a:headEnd/>
            <a:tailEnd/>
          </a:ln>
          <a:effectLst/>
        </p:spPr>
        <p:txBody>
          <a:bodyPr lIns="45720" rIns="4572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00000"/>
                </a:solidFill>
                <a:effectLst/>
                <a:uLnTx/>
                <a:uFillTx/>
                <a:ea typeface="+mn-ea"/>
                <a:cs typeface="+mn-cs"/>
              </a:rPr>
              <a:t>Text</a:t>
            </a:r>
          </a:p>
        </p:txBody>
      </p:sp>
      <p:sp>
        <p:nvSpPr>
          <p:cNvPr id="9" name="Text Box 14">
            <a:extLst>
              <a:ext uri="{FF2B5EF4-FFF2-40B4-BE49-F238E27FC236}">
                <a16:creationId xmlns:a16="http://schemas.microsoft.com/office/drawing/2014/main" id="{2F809C66-10D0-4AFB-979F-689D98DEB800}"/>
              </a:ext>
            </a:extLst>
          </p:cNvPr>
          <p:cNvSpPr txBox="1">
            <a:spLocks noChangeArrowheads="1"/>
          </p:cNvSpPr>
          <p:nvPr/>
        </p:nvSpPr>
        <p:spPr bwMode="auto">
          <a:xfrm>
            <a:off x="5723853" y="5819930"/>
            <a:ext cx="744047" cy="364971"/>
          </a:xfrm>
          <a:prstGeom prst="rect">
            <a:avLst/>
          </a:prstGeom>
          <a:noFill/>
          <a:ln w="12700">
            <a:noFill/>
            <a:miter lim="800000"/>
            <a:headEnd/>
            <a:tailEnd/>
          </a:ln>
          <a:effectLst/>
        </p:spPr>
        <p:txBody>
          <a:bodyPr lIns="45720" rIns="4572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800" b="0" i="0" u="none" strike="noStrike" kern="0" cap="none" spc="0" normalizeH="0" baseline="0" noProof="0">
                <a:ln>
                  <a:noFill/>
                </a:ln>
                <a:solidFill>
                  <a:srgbClr val="000000"/>
                </a:solidFill>
                <a:effectLst/>
                <a:uLnTx/>
                <a:uFillTx/>
                <a:ea typeface="+mn-ea"/>
                <a:cs typeface="+mn-cs"/>
              </a:rPr>
              <a:t>Text</a:t>
            </a:r>
          </a:p>
        </p:txBody>
      </p:sp>
      <p:sp>
        <p:nvSpPr>
          <p:cNvPr id="10" name="Footer Placeholder 9">
            <a:extLst>
              <a:ext uri="{FF2B5EF4-FFF2-40B4-BE49-F238E27FC236}">
                <a16:creationId xmlns:a16="http://schemas.microsoft.com/office/drawing/2014/main" id="{B190D432-511F-4868-BB2D-6F6A0DA327CD}"/>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1" name="Slide Number Placeholder 10">
            <a:extLst>
              <a:ext uri="{FF2B5EF4-FFF2-40B4-BE49-F238E27FC236}">
                <a16:creationId xmlns:a16="http://schemas.microsoft.com/office/drawing/2014/main" id="{2AA045AB-FEB7-4222-B619-2077E9904893}"/>
              </a:ext>
            </a:extLst>
          </p:cNvPr>
          <p:cNvSpPr>
            <a:spLocks noGrp="1"/>
          </p:cNvSpPr>
          <p:nvPr>
            <p:ph type="sldNum" sz="quarter" idx="10"/>
          </p:nvPr>
        </p:nvSpPr>
        <p:spPr/>
        <p:txBody>
          <a:bodyPr/>
          <a:lstStyle/>
          <a:p>
            <a:fld id="{1F90F471-3972-4120-B8B3-0237DE626C35}" type="slidenum">
              <a:rPr lang="en-US" smtClean="0"/>
              <a:pPr/>
              <a:t>341</a:t>
            </a:fld>
            <a:endParaRPr lang="en-US" dirty="0"/>
          </a:p>
        </p:txBody>
      </p:sp>
    </p:spTree>
    <p:extLst>
      <p:ext uri="{BB962C8B-B14F-4D97-AF65-F5344CB8AC3E}">
        <p14:creationId xmlns:p14="http://schemas.microsoft.com/office/powerpoint/2010/main" val="2106091829"/>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Stacked Pyramid – 3 Layers</a:t>
            </a:r>
          </a:p>
        </p:txBody>
      </p:sp>
      <p:grpSp>
        <p:nvGrpSpPr>
          <p:cNvPr id="3" name="Group 2" descr="Pyramid">
            <a:extLst>
              <a:ext uri="{FF2B5EF4-FFF2-40B4-BE49-F238E27FC236}">
                <a16:creationId xmlns:a16="http://schemas.microsoft.com/office/drawing/2014/main" id="{507472DA-C56D-4B5B-9824-C19CCE90F6E5}"/>
              </a:ext>
            </a:extLst>
          </p:cNvPr>
          <p:cNvGrpSpPr/>
          <p:nvPr/>
        </p:nvGrpSpPr>
        <p:grpSpPr>
          <a:xfrm>
            <a:off x="3530315" y="1628801"/>
            <a:ext cx="5131371" cy="4422775"/>
            <a:chOff x="3530315" y="1628801"/>
            <a:chExt cx="5131371" cy="4422775"/>
          </a:xfrm>
        </p:grpSpPr>
        <p:sp>
          <p:nvSpPr>
            <p:cNvPr id="5" name="Trapezoid 4">
              <a:extLst>
                <a:ext uri="{FF2B5EF4-FFF2-40B4-BE49-F238E27FC236}">
                  <a16:creationId xmlns:a16="http://schemas.microsoft.com/office/drawing/2014/main" id="{D0B96084-4796-4159-B832-0A41ED190252}"/>
                </a:ext>
              </a:extLst>
            </p:cNvPr>
            <p:cNvSpPr/>
            <p:nvPr/>
          </p:nvSpPr>
          <p:spPr bwMode="auto">
            <a:xfrm>
              <a:off x="5240772" y="1628801"/>
              <a:ext cx="1710457" cy="1474258"/>
            </a:xfrm>
            <a:prstGeom prst="trapezoid">
              <a:avLst>
                <a:gd name="adj" fmla="val 58011"/>
              </a:avLst>
            </a:prstGeom>
            <a:solidFill>
              <a:schemeClr val="accent3"/>
            </a:solidFill>
            <a:ln w="25400" cap="flat" cmpd="sng" algn="ctr">
              <a:noFill/>
              <a:prstDash val="solid"/>
            </a:ln>
            <a:effectLst/>
          </p:spPr>
          <p:txBody>
            <a:bodyPr lIns="36000" tIns="72000" rIns="36000" bIns="7200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0" cap="none" spc="0" normalizeH="0" baseline="0" noProof="0" dirty="0">
                  <a:ln>
                    <a:noFill/>
                  </a:ln>
                  <a:solidFill>
                    <a:srgbClr val="FFFFFF"/>
                  </a:solidFill>
                  <a:effectLst/>
                  <a:uLnTx/>
                  <a:uFillTx/>
                  <a:latin typeface="+mj-lt"/>
                  <a:ea typeface="+mn-ea"/>
                  <a:cs typeface="+mn-cs"/>
                </a:rPr>
                <a:t>Text</a:t>
              </a:r>
            </a:p>
          </p:txBody>
        </p:sp>
        <p:sp>
          <p:nvSpPr>
            <p:cNvPr id="6" name="Trapezoid 5">
              <a:extLst>
                <a:ext uri="{FF2B5EF4-FFF2-40B4-BE49-F238E27FC236}">
                  <a16:creationId xmlns:a16="http://schemas.microsoft.com/office/drawing/2014/main" id="{8C63B1F5-F74D-46FA-B363-A43259969ECB}"/>
                </a:ext>
              </a:extLst>
            </p:cNvPr>
            <p:cNvSpPr/>
            <p:nvPr/>
          </p:nvSpPr>
          <p:spPr bwMode="auto">
            <a:xfrm>
              <a:off x="4385543" y="3103059"/>
              <a:ext cx="3420914" cy="1474258"/>
            </a:xfrm>
            <a:prstGeom prst="trapezoid">
              <a:avLst>
                <a:gd name="adj" fmla="val 58011"/>
              </a:avLst>
            </a:prstGeom>
            <a:solidFill>
              <a:schemeClr val="accent2"/>
            </a:solidFill>
            <a:ln w="25400" cap="flat" cmpd="sng" algn="ctr">
              <a:noFill/>
              <a:prstDash val="solid"/>
            </a:ln>
            <a:effectLst/>
          </p:spPr>
          <p:txBody>
            <a:bodyPr lIns="36000" tIns="72000" rIns="36000" bIns="7200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0" cap="none" spc="0" normalizeH="0" baseline="0" noProof="0" dirty="0">
                  <a:ln>
                    <a:noFill/>
                  </a:ln>
                  <a:solidFill>
                    <a:srgbClr val="FFFFFF"/>
                  </a:solidFill>
                  <a:effectLst/>
                  <a:uLnTx/>
                  <a:uFillTx/>
                  <a:latin typeface="+mj-lt"/>
                  <a:ea typeface="+mn-ea"/>
                  <a:cs typeface="+mn-cs"/>
                </a:rPr>
                <a:t>Text</a:t>
              </a:r>
            </a:p>
          </p:txBody>
        </p:sp>
        <p:sp>
          <p:nvSpPr>
            <p:cNvPr id="7" name="Trapezoid 6">
              <a:extLst>
                <a:ext uri="{FF2B5EF4-FFF2-40B4-BE49-F238E27FC236}">
                  <a16:creationId xmlns:a16="http://schemas.microsoft.com/office/drawing/2014/main" id="{A54934F1-10D2-4D1A-9F6D-6BA4A0819739}"/>
                </a:ext>
              </a:extLst>
            </p:cNvPr>
            <p:cNvSpPr/>
            <p:nvPr/>
          </p:nvSpPr>
          <p:spPr bwMode="auto">
            <a:xfrm>
              <a:off x="3530315" y="4577318"/>
              <a:ext cx="5131371" cy="1474258"/>
            </a:xfrm>
            <a:prstGeom prst="trapezoid">
              <a:avLst>
                <a:gd name="adj" fmla="val 58011"/>
              </a:avLst>
            </a:prstGeom>
            <a:solidFill>
              <a:schemeClr val="accent1"/>
            </a:solidFill>
            <a:ln w="25400" cap="flat" cmpd="sng" algn="ctr">
              <a:noFill/>
              <a:prstDash val="solid"/>
            </a:ln>
            <a:effectLst/>
          </p:spPr>
          <p:txBody>
            <a:bodyPr lIns="36000" tIns="72000" rIns="36000" bIns="7200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0" cap="none" spc="0" normalizeH="0" baseline="0" noProof="0" dirty="0">
                  <a:ln>
                    <a:noFill/>
                  </a:ln>
                  <a:solidFill>
                    <a:srgbClr val="FFFFFF"/>
                  </a:solidFill>
                  <a:effectLst/>
                  <a:uLnTx/>
                  <a:uFillTx/>
                  <a:latin typeface="+mj-lt"/>
                  <a:ea typeface="+mn-ea"/>
                  <a:cs typeface="+mn-cs"/>
                </a:rPr>
                <a:t>Text</a:t>
              </a:r>
            </a:p>
          </p:txBody>
        </p:sp>
      </p:grpSp>
      <p:sp>
        <p:nvSpPr>
          <p:cNvPr id="8" name="Footer Placeholder 7">
            <a:extLst>
              <a:ext uri="{FF2B5EF4-FFF2-40B4-BE49-F238E27FC236}">
                <a16:creationId xmlns:a16="http://schemas.microsoft.com/office/drawing/2014/main" id="{8B438B08-D796-4009-9051-2B472879DCBF}"/>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0" name="Slide Number Placeholder 9">
            <a:extLst>
              <a:ext uri="{FF2B5EF4-FFF2-40B4-BE49-F238E27FC236}">
                <a16:creationId xmlns:a16="http://schemas.microsoft.com/office/drawing/2014/main" id="{97B974D5-BF18-4378-9373-AC5E5FB42295}"/>
              </a:ext>
            </a:extLst>
          </p:cNvPr>
          <p:cNvSpPr>
            <a:spLocks noGrp="1"/>
          </p:cNvSpPr>
          <p:nvPr>
            <p:ph type="sldNum" sz="quarter" idx="10"/>
          </p:nvPr>
        </p:nvSpPr>
        <p:spPr/>
        <p:txBody>
          <a:bodyPr/>
          <a:lstStyle/>
          <a:p>
            <a:fld id="{1F90F471-3972-4120-B8B3-0237DE626C35}" type="slidenum">
              <a:rPr lang="en-US" smtClean="0"/>
              <a:pPr/>
              <a:t>342</a:t>
            </a:fld>
            <a:endParaRPr lang="en-US" dirty="0"/>
          </a:p>
        </p:txBody>
      </p:sp>
    </p:spTree>
    <p:extLst>
      <p:ext uri="{BB962C8B-B14F-4D97-AF65-F5344CB8AC3E}">
        <p14:creationId xmlns:p14="http://schemas.microsoft.com/office/powerpoint/2010/main" val="33492534"/>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Stacked Pyramid – 4 Layers</a:t>
            </a:r>
          </a:p>
        </p:txBody>
      </p:sp>
      <p:grpSp>
        <p:nvGrpSpPr>
          <p:cNvPr id="4" name="Group 3" descr="Pyramid">
            <a:extLst>
              <a:ext uri="{FF2B5EF4-FFF2-40B4-BE49-F238E27FC236}">
                <a16:creationId xmlns:a16="http://schemas.microsoft.com/office/drawing/2014/main" id="{D957A1E4-4FF7-4197-B855-A2F14512FF7F}"/>
              </a:ext>
            </a:extLst>
          </p:cNvPr>
          <p:cNvGrpSpPr/>
          <p:nvPr/>
        </p:nvGrpSpPr>
        <p:grpSpPr>
          <a:xfrm>
            <a:off x="3526631" y="1628800"/>
            <a:ext cx="5138738" cy="4429124"/>
            <a:chOff x="3526631" y="1628800"/>
            <a:chExt cx="5138738" cy="4429124"/>
          </a:xfrm>
        </p:grpSpPr>
        <p:sp>
          <p:nvSpPr>
            <p:cNvPr id="5" name="Trapezoid 4">
              <a:extLst>
                <a:ext uri="{FF2B5EF4-FFF2-40B4-BE49-F238E27FC236}">
                  <a16:creationId xmlns:a16="http://schemas.microsoft.com/office/drawing/2014/main" id="{80F2FD35-D85D-4C62-B027-9806B985318A}"/>
                </a:ext>
              </a:extLst>
            </p:cNvPr>
            <p:cNvSpPr/>
            <p:nvPr/>
          </p:nvSpPr>
          <p:spPr bwMode="auto">
            <a:xfrm>
              <a:off x="5453657" y="1628800"/>
              <a:ext cx="1284684" cy="1107281"/>
            </a:xfrm>
            <a:prstGeom prst="trapezoid">
              <a:avLst>
                <a:gd name="adj" fmla="val 58011"/>
              </a:avLst>
            </a:prstGeom>
            <a:solidFill>
              <a:schemeClr val="accent3"/>
            </a:solidFill>
            <a:ln w="25400" cap="flat" cmpd="sng" algn="ctr">
              <a:noFill/>
              <a:prstDash val="solid"/>
            </a:ln>
            <a:effectLst/>
          </p:spPr>
          <p:txBody>
            <a:bodyPr lIns="36000" tIns="72000" rIns="36000" bIns="7200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FFFFFF"/>
                  </a:solidFill>
                  <a:effectLst/>
                  <a:uLnTx/>
                  <a:uFillTx/>
                  <a:latin typeface="+mj-lt"/>
                  <a:ea typeface="+mn-ea"/>
                  <a:cs typeface="+mn-cs"/>
                </a:rPr>
                <a:t>Text</a:t>
              </a:r>
              <a:endParaRPr kumimoji="0" lang="de-DE" sz="1400" b="1" i="0" u="none" strike="noStrike" kern="0" cap="none" spc="0" normalizeH="0" baseline="0" noProof="0" dirty="0">
                <a:ln>
                  <a:noFill/>
                </a:ln>
                <a:solidFill>
                  <a:srgbClr val="FFFFFF"/>
                </a:solidFill>
                <a:effectLst/>
                <a:uLnTx/>
                <a:uFillTx/>
                <a:latin typeface="+mj-lt"/>
                <a:ea typeface="+mn-ea"/>
                <a:cs typeface="+mn-cs"/>
              </a:endParaRPr>
            </a:p>
          </p:txBody>
        </p:sp>
        <p:sp>
          <p:nvSpPr>
            <p:cNvPr id="6" name="Trapezoid 5">
              <a:extLst>
                <a:ext uri="{FF2B5EF4-FFF2-40B4-BE49-F238E27FC236}">
                  <a16:creationId xmlns:a16="http://schemas.microsoft.com/office/drawing/2014/main" id="{97C4729F-30F2-4745-8D05-832D80493311}"/>
                </a:ext>
              </a:extLst>
            </p:cNvPr>
            <p:cNvSpPr/>
            <p:nvPr/>
          </p:nvSpPr>
          <p:spPr bwMode="auto">
            <a:xfrm>
              <a:off x="4811315" y="2736081"/>
              <a:ext cx="2569369" cy="1107281"/>
            </a:xfrm>
            <a:prstGeom prst="trapezoid">
              <a:avLst>
                <a:gd name="adj" fmla="val 58011"/>
              </a:avLst>
            </a:prstGeom>
            <a:solidFill>
              <a:schemeClr val="accent2"/>
            </a:solidFill>
            <a:ln w="25400" cap="flat" cmpd="sng" algn="ctr">
              <a:noFill/>
              <a:prstDash val="solid"/>
            </a:ln>
            <a:effectLst/>
          </p:spPr>
          <p:txBody>
            <a:bodyPr lIns="36000" tIns="72000" rIns="36000" bIns="7200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a:ln>
                    <a:noFill/>
                  </a:ln>
                  <a:solidFill>
                    <a:srgbClr val="FFFFFF"/>
                  </a:solidFill>
                  <a:effectLst/>
                  <a:uLnTx/>
                  <a:uFillTx/>
                  <a:latin typeface="+mj-lt"/>
                  <a:ea typeface="+mn-ea"/>
                  <a:cs typeface="+mn-cs"/>
                </a:rPr>
                <a:t>Text</a:t>
              </a:r>
            </a:p>
          </p:txBody>
        </p:sp>
        <p:sp>
          <p:nvSpPr>
            <p:cNvPr id="7" name="Trapezoid 6">
              <a:extLst>
                <a:ext uri="{FF2B5EF4-FFF2-40B4-BE49-F238E27FC236}">
                  <a16:creationId xmlns:a16="http://schemas.microsoft.com/office/drawing/2014/main" id="{D5A42758-BB71-4C64-AA11-64CA090A4B51}"/>
                </a:ext>
              </a:extLst>
            </p:cNvPr>
            <p:cNvSpPr/>
            <p:nvPr/>
          </p:nvSpPr>
          <p:spPr bwMode="auto">
            <a:xfrm>
              <a:off x="4168973" y="3843362"/>
              <a:ext cx="3854053" cy="1107281"/>
            </a:xfrm>
            <a:prstGeom prst="trapezoid">
              <a:avLst>
                <a:gd name="adj" fmla="val 58011"/>
              </a:avLst>
            </a:prstGeom>
            <a:solidFill>
              <a:schemeClr val="accent1"/>
            </a:solidFill>
            <a:ln w="25400" cap="flat" cmpd="sng" algn="ctr">
              <a:noFill/>
              <a:prstDash val="solid"/>
            </a:ln>
            <a:effectLst/>
          </p:spPr>
          <p:txBody>
            <a:bodyPr lIns="36000" tIns="72000" rIns="36000" bIns="7200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a:ln>
                    <a:noFill/>
                  </a:ln>
                  <a:solidFill>
                    <a:srgbClr val="FFFFFF"/>
                  </a:solidFill>
                  <a:effectLst/>
                  <a:uLnTx/>
                  <a:uFillTx/>
                  <a:latin typeface="+mj-lt"/>
                  <a:ea typeface="+mn-ea"/>
                  <a:cs typeface="+mn-cs"/>
                </a:rPr>
                <a:t>Text</a:t>
              </a:r>
            </a:p>
          </p:txBody>
        </p:sp>
        <p:sp>
          <p:nvSpPr>
            <p:cNvPr id="8" name="Trapezoid 7">
              <a:extLst>
                <a:ext uri="{FF2B5EF4-FFF2-40B4-BE49-F238E27FC236}">
                  <a16:creationId xmlns:a16="http://schemas.microsoft.com/office/drawing/2014/main" id="{DD9EB736-2636-4B04-994F-E52669DCFC30}"/>
                </a:ext>
              </a:extLst>
            </p:cNvPr>
            <p:cNvSpPr/>
            <p:nvPr/>
          </p:nvSpPr>
          <p:spPr bwMode="auto">
            <a:xfrm>
              <a:off x="3526631" y="4950643"/>
              <a:ext cx="5138738" cy="1107281"/>
            </a:xfrm>
            <a:prstGeom prst="trapezoid">
              <a:avLst>
                <a:gd name="adj" fmla="val 58011"/>
              </a:avLst>
            </a:prstGeom>
            <a:solidFill>
              <a:schemeClr val="accent4"/>
            </a:solidFill>
            <a:ln w="25400" cap="flat" cmpd="sng" algn="ctr">
              <a:noFill/>
              <a:prstDash val="solid"/>
            </a:ln>
            <a:effectLst/>
          </p:spPr>
          <p:txBody>
            <a:bodyPr lIns="36000" tIns="72000" rIns="36000" bIns="7200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a:ln>
                    <a:noFill/>
                  </a:ln>
                  <a:solidFill>
                    <a:srgbClr val="FFFFFF"/>
                  </a:solidFill>
                  <a:effectLst/>
                  <a:uLnTx/>
                  <a:uFillTx/>
                  <a:latin typeface="+mj-lt"/>
                  <a:ea typeface="+mn-ea"/>
                  <a:cs typeface="+mn-cs"/>
                </a:rPr>
                <a:t>Text</a:t>
              </a:r>
            </a:p>
          </p:txBody>
        </p:sp>
      </p:grpSp>
      <p:sp>
        <p:nvSpPr>
          <p:cNvPr id="9" name="Footer Placeholder 8">
            <a:extLst>
              <a:ext uri="{FF2B5EF4-FFF2-40B4-BE49-F238E27FC236}">
                <a16:creationId xmlns:a16="http://schemas.microsoft.com/office/drawing/2014/main" id="{C0E0E2E4-A2D3-4EB1-B7E6-040E2EBF0A09}"/>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1" name="Slide Number Placeholder 10">
            <a:extLst>
              <a:ext uri="{FF2B5EF4-FFF2-40B4-BE49-F238E27FC236}">
                <a16:creationId xmlns:a16="http://schemas.microsoft.com/office/drawing/2014/main" id="{38A9850C-3279-407B-88B9-3F55D2EE316D}"/>
              </a:ext>
            </a:extLst>
          </p:cNvPr>
          <p:cNvSpPr>
            <a:spLocks noGrp="1"/>
          </p:cNvSpPr>
          <p:nvPr>
            <p:ph type="sldNum" sz="quarter" idx="10"/>
          </p:nvPr>
        </p:nvSpPr>
        <p:spPr/>
        <p:txBody>
          <a:bodyPr/>
          <a:lstStyle/>
          <a:p>
            <a:fld id="{1F90F471-3972-4120-B8B3-0237DE626C35}" type="slidenum">
              <a:rPr lang="en-US" smtClean="0"/>
              <a:pPr/>
              <a:t>343</a:t>
            </a:fld>
            <a:endParaRPr lang="en-US" dirty="0"/>
          </a:p>
        </p:txBody>
      </p:sp>
    </p:spTree>
    <p:extLst>
      <p:ext uri="{BB962C8B-B14F-4D97-AF65-F5344CB8AC3E}">
        <p14:creationId xmlns:p14="http://schemas.microsoft.com/office/powerpoint/2010/main" val="2118427948"/>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Pyramid/Factors</a:t>
            </a:r>
          </a:p>
        </p:txBody>
      </p:sp>
      <p:sp>
        <p:nvSpPr>
          <p:cNvPr id="27" name="Freeform 27">
            <a:extLst>
              <a:ext uri="{FF2B5EF4-FFF2-40B4-BE49-F238E27FC236}">
                <a16:creationId xmlns:a16="http://schemas.microsoft.com/office/drawing/2014/main" id="{714CA666-61A1-4331-9933-C51D489DC27D}"/>
              </a:ext>
              <a:ext uri="{C183D7F6-B498-43B3-948B-1728B52AA6E4}">
                <adec:decorative xmlns:adec="http://schemas.microsoft.com/office/drawing/2017/decorative" val="1"/>
              </a:ext>
            </a:extLst>
          </p:cNvPr>
          <p:cNvSpPr>
            <a:spLocks/>
          </p:cNvSpPr>
          <p:nvPr/>
        </p:nvSpPr>
        <p:spPr bwMode="auto">
          <a:xfrm>
            <a:off x="5158222" y="1393815"/>
            <a:ext cx="1866900" cy="1008062"/>
          </a:xfrm>
          <a:custGeom>
            <a:avLst/>
            <a:gdLst/>
            <a:ahLst/>
            <a:cxnLst>
              <a:cxn ang="0">
                <a:pos x="416" y="0"/>
              </a:cxn>
              <a:cxn ang="0">
                <a:pos x="0" y="589"/>
              </a:cxn>
              <a:cxn ang="0">
                <a:pos x="833" y="589"/>
              </a:cxn>
              <a:cxn ang="0">
                <a:pos x="416" y="0"/>
              </a:cxn>
            </a:cxnLst>
            <a:rect l="0" t="0" r="r" b="b"/>
            <a:pathLst>
              <a:path w="834" h="590">
                <a:moveTo>
                  <a:pt x="416" y="0"/>
                </a:moveTo>
                <a:lnTo>
                  <a:pt x="0" y="589"/>
                </a:lnTo>
                <a:lnTo>
                  <a:pt x="833" y="589"/>
                </a:lnTo>
                <a:lnTo>
                  <a:pt x="416" y="0"/>
                </a:lnTo>
              </a:path>
            </a:pathLst>
          </a:custGeom>
          <a:solidFill>
            <a:schemeClr val="accent3"/>
          </a:solidFill>
          <a:ln w="6350" cap="rnd" cmpd="sng">
            <a:noFill/>
            <a:prstDash val="solid"/>
            <a:round/>
            <a:headEnd type="none" w="sm" len="sm"/>
            <a:tailEnd type="none" w="sm" len="sm"/>
          </a:ln>
          <a:effectLst/>
        </p:spPr>
        <p:txBody>
          <a:bodyPr lIns="45720" rIns="45720" anchor="ctr" anchorCtr="1"/>
          <a:lstStyle/>
          <a:p>
            <a:pPr algn="ctr"/>
            <a:endParaRPr lang="de-DE" dirty="0">
              <a:solidFill>
                <a:schemeClr val="bg1"/>
              </a:solidFill>
            </a:endParaRPr>
          </a:p>
        </p:txBody>
      </p:sp>
      <p:sp>
        <p:nvSpPr>
          <p:cNvPr id="37" name="Rectangle 32">
            <a:extLst>
              <a:ext uri="{FF2B5EF4-FFF2-40B4-BE49-F238E27FC236}">
                <a16:creationId xmlns:a16="http://schemas.microsoft.com/office/drawing/2014/main" id="{660430E8-3A27-4E5E-BF8E-3971B2BD4595}"/>
              </a:ext>
            </a:extLst>
          </p:cNvPr>
          <p:cNvSpPr>
            <a:spLocks noChangeArrowheads="1"/>
          </p:cNvSpPr>
          <p:nvPr/>
        </p:nvSpPr>
        <p:spPr bwMode="auto">
          <a:xfrm>
            <a:off x="5830888" y="1706553"/>
            <a:ext cx="555625" cy="384175"/>
          </a:xfrm>
          <a:prstGeom prst="rect">
            <a:avLst/>
          </a:prstGeom>
          <a:noFill/>
          <a:ln w="6350">
            <a:noFill/>
            <a:miter lim="800000"/>
            <a:headEnd/>
            <a:tailEnd/>
          </a:ln>
          <a:effectLst/>
        </p:spPr>
        <p:txBody>
          <a:bodyPr wrap="none" lIns="45720" rIns="45720" anchor="ctr" anchorCtr="1"/>
          <a:lstStyle/>
          <a:p>
            <a:pPr algn="ctr" eaLnBrk="0" hangingPunct="0"/>
            <a:r>
              <a:rPr lang="en-GB" sz="1400" b="1" dirty="0">
                <a:solidFill>
                  <a:schemeClr val="bg1"/>
                </a:solidFill>
              </a:rPr>
              <a:t>Text</a:t>
            </a:r>
          </a:p>
        </p:txBody>
      </p:sp>
      <p:sp>
        <p:nvSpPr>
          <p:cNvPr id="35" name="Rectangle 31">
            <a:extLst>
              <a:ext uri="{FF2B5EF4-FFF2-40B4-BE49-F238E27FC236}">
                <a16:creationId xmlns:a16="http://schemas.microsoft.com/office/drawing/2014/main" id="{B36A1F43-2565-47E9-96E8-84B93ED5A1B2}"/>
              </a:ext>
            </a:extLst>
          </p:cNvPr>
          <p:cNvSpPr>
            <a:spLocks noChangeArrowheads="1"/>
          </p:cNvSpPr>
          <p:nvPr/>
        </p:nvSpPr>
        <p:spPr bwMode="auto">
          <a:xfrm>
            <a:off x="5158222" y="2393940"/>
            <a:ext cx="1866900" cy="266700"/>
          </a:xfrm>
          <a:prstGeom prst="rect">
            <a:avLst/>
          </a:prstGeom>
          <a:solidFill>
            <a:schemeClr val="accent3">
              <a:lumMod val="75000"/>
            </a:schemeClr>
          </a:solidFill>
          <a:ln w="6350">
            <a:noFill/>
            <a:miter lim="800000"/>
            <a:headEnd/>
            <a:tailEnd/>
          </a:ln>
          <a:effectLst/>
        </p:spPr>
        <p:txBody>
          <a:bodyPr wrap="none" lIns="45720" rIns="45720" anchor="ctr" anchorCtr="1"/>
          <a:lstStyle/>
          <a:p>
            <a:pPr algn="ctr" eaLnBrk="0" hangingPunct="0"/>
            <a:r>
              <a:rPr lang="en-US" sz="1400">
                <a:solidFill>
                  <a:schemeClr val="bg1"/>
                </a:solidFill>
              </a:rPr>
              <a:t>Text</a:t>
            </a:r>
          </a:p>
        </p:txBody>
      </p:sp>
      <p:sp>
        <p:nvSpPr>
          <p:cNvPr id="39" name="Freeform 33">
            <a:extLst>
              <a:ext uri="{FF2B5EF4-FFF2-40B4-BE49-F238E27FC236}">
                <a16:creationId xmlns:a16="http://schemas.microsoft.com/office/drawing/2014/main" id="{F72E1EA6-0407-4EF2-924E-3FCF8F441695}"/>
              </a:ext>
              <a:ext uri="{C183D7F6-B498-43B3-948B-1728B52AA6E4}">
                <adec:decorative xmlns:adec="http://schemas.microsoft.com/office/drawing/2017/decorative" val="1"/>
              </a:ext>
            </a:extLst>
          </p:cNvPr>
          <p:cNvSpPr>
            <a:spLocks/>
          </p:cNvSpPr>
          <p:nvPr/>
        </p:nvSpPr>
        <p:spPr bwMode="auto">
          <a:xfrm>
            <a:off x="4146985" y="2652702"/>
            <a:ext cx="1763713" cy="852488"/>
          </a:xfrm>
          <a:custGeom>
            <a:avLst/>
            <a:gdLst/>
            <a:ahLst/>
            <a:cxnLst>
              <a:cxn ang="0">
                <a:pos x="337" y="0"/>
              </a:cxn>
              <a:cxn ang="0">
                <a:pos x="0" y="488"/>
              </a:cxn>
              <a:cxn ang="0">
                <a:pos x="788" y="488"/>
              </a:cxn>
              <a:cxn ang="0">
                <a:pos x="788" y="0"/>
              </a:cxn>
              <a:cxn ang="0">
                <a:pos x="337" y="0"/>
              </a:cxn>
            </a:cxnLst>
            <a:rect l="0" t="0" r="r" b="b"/>
            <a:pathLst>
              <a:path w="789" h="489">
                <a:moveTo>
                  <a:pt x="337" y="0"/>
                </a:moveTo>
                <a:lnTo>
                  <a:pt x="0" y="488"/>
                </a:lnTo>
                <a:lnTo>
                  <a:pt x="788" y="488"/>
                </a:lnTo>
                <a:lnTo>
                  <a:pt x="788" y="0"/>
                </a:lnTo>
                <a:lnTo>
                  <a:pt x="337" y="0"/>
                </a:lnTo>
              </a:path>
            </a:pathLst>
          </a:custGeom>
          <a:solidFill>
            <a:schemeClr val="accent2"/>
          </a:solidFill>
          <a:ln w="6350" cap="rnd" cmpd="sng">
            <a:noFill/>
            <a:prstDash val="solid"/>
            <a:round/>
            <a:headEnd type="none" w="sm" len="sm"/>
            <a:tailEnd type="none" w="sm" len="sm"/>
          </a:ln>
          <a:effectLst/>
        </p:spPr>
        <p:txBody>
          <a:bodyPr lIns="45720" rIns="45720" anchor="ctr" anchorCtr="1"/>
          <a:lstStyle/>
          <a:p>
            <a:pPr algn="ctr"/>
            <a:endParaRPr lang="de-DE">
              <a:solidFill>
                <a:schemeClr val="bg1"/>
              </a:solidFill>
            </a:endParaRPr>
          </a:p>
        </p:txBody>
      </p:sp>
      <p:sp>
        <p:nvSpPr>
          <p:cNvPr id="43" name="Rectangle 35">
            <a:extLst>
              <a:ext uri="{FF2B5EF4-FFF2-40B4-BE49-F238E27FC236}">
                <a16:creationId xmlns:a16="http://schemas.microsoft.com/office/drawing/2014/main" id="{0011A80E-AD61-4B00-83CD-120E0F7B2C62}"/>
              </a:ext>
            </a:extLst>
          </p:cNvPr>
          <p:cNvSpPr>
            <a:spLocks noChangeArrowheads="1"/>
          </p:cNvSpPr>
          <p:nvPr/>
        </p:nvSpPr>
        <p:spPr bwMode="auto">
          <a:xfrm>
            <a:off x="4768057" y="2870191"/>
            <a:ext cx="555625" cy="382587"/>
          </a:xfrm>
          <a:prstGeom prst="rect">
            <a:avLst/>
          </a:prstGeom>
          <a:noFill/>
          <a:ln w="6350">
            <a:noFill/>
            <a:miter lim="800000"/>
            <a:headEnd/>
            <a:tailEnd/>
          </a:ln>
          <a:effectLst/>
        </p:spPr>
        <p:txBody>
          <a:bodyPr wrap="none" lIns="45720" rIns="45720" anchor="ctr" anchorCtr="1"/>
          <a:lstStyle/>
          <a:p>
            <a:pPr algn="ctr" eaLnBrk="0" hangingPunct="0"/>
            <a:r>
              <a:rPr lang="en-GB" sz="1400" b="1" dirty="0">
                <a:solidFill>
                  <a:schemeClr val="bg1"/>
                </a:solidFill>
              </a:rPr>
              <a:t>Text</a:t>
            </a:r>
          </a:p>
        </p:txBody>
      </p:sp>
      <p:sp>
        <p:nvSpPr>
          <p:cNvPr id="41" name="Freeform 34">
            <a:extLst>
              <a:ext uri="{FF2B5EF4-FFF2-40B4-BE49-F238E27FC236}">
                <a16:creationId xmlns:a16="http://schemas.microsoft.com/office/drawing/2014/main" id="{C3B9A971-EB2E-400C-95B9-F590D0D53D6C}"/>
              </a:ext>
              <a:ext uri="{C183D7F6-B498-43B3-948B-1728B52AA6E4}">
                <adec:decorative xmlns:adec="http://schemas.microsoft.com/office/drawing/2017/decorative" val="1"/>
              </a:ext>
            </a:extLst>
          </p:cNvPr>
          <p:cNvSpPr>
            <a:spLocks/>
          </p:cNvSpPr>
          <p:nvPr/>
        </p:nvSpPr>
        <p:spPr bwMode="auto">
          <a:xfrm>
            <a:off x="6271059" y="2652702"/>
            <a:ext cx="1765300" cy="852488"/>
          </a:xfrm>
          <a:custGeom>
            <a:avLst/>
            <a:gdLst/>
            <a:ahLst/>
            <a:cxnLst>
              <a:cxn ang="0">
                <a:pos x="451" y="0"/>
              </a:cxn>
              <a:cxn ang="0">
                <a:pos x="787" y="488"/>
              </a:cxn>
              <a:cxn ang="0">
                <a:pos x="0" y="488"/>
              </a:cxn>
              <a:cxn ang="0">
                <a:pos x="0" y="0"/>
              </a:cxn>
              <a:cxn ang="0">
                <a:pos x="451" y="0"/>
              </a:cxn>
            </a:cxnLst>
            <a:rect l="0" t="0" r="r" b="b"/>
            <a:pathLst>
              <a:path w="788" h="489">
                <a:moveTo>
                  <a:pt x="451" y="0"/>
                </a:moveTo>
                <a:lnTo>
                  <a:pt x="787" y="488"/>
                </a:lnTo>
                <a:lnTo>
                  <a:pt x="0" y="488"/>
                </a:lnTo>
                <a:lnTo>
                  <a:pt x="0" y="0"/>
                </a:lnTo>
                <a:lnTo>
                  <a:pt x="451" y="0"/>
                </a:lnTo>
              </a:path>
            </a:pathLst>
          </a:custGeom>
          <a:solidFill>
            <a:schemeClr val="accent2"/>
          </a:solidFill>
          <a:ln w="6350" cap="rnd" cmpd="sng">
            <a:noFill/>
            <a:prstDash val="solid"/>
            <a:round/>
            <a:headEnd type="none" w="sm" len="sm"/>
            <a:tailEnd type="none" w="sm" len="sm"/>
          </a:ln>
          <a:effectLst/>
        </p:spPr>
        <p:txBody>
          <a:bodyPr lIns="45720" rIns="45720" anchor="ctr" anchorCtr="1"/>
          <a:lstStyle/>
          <a:p>
            <a:pPr algn="ctr"/>
            <a:endParaRPr lang="de-DE">
              <a:solidFill>
                <a:schemeClr val="bg1"/>
              </a:solidFill>
            </a:endParaRPr>
          </a:p>
        </p:txBody>
      </p:sp>
      <p:sp>
        <p:nvSpPr>
          <p:cNvPr id="45" name="Rectangle 36">
            <a:extLst>
              <a:ext uri="{FF2B5EF4-FFF2-40B4-BE49-F238E27FC236}">
                <a16:creationId xmlns:a16="http://schemas.microsoft.com/office/drawing/2014/main" id="{3A5C98A9-C59C-47FA-A682-FB6600DC5F6F}"/>
              </a:ext>
            </a:extLst>
          </p:cNvPr>
          <p:cNvSpPr>
            <a:spLocks noChangeArrowheads="1"/>
          </p:cNvSpPr>
          <p:nvPr/>
        </p:nvSpPr>
        <p:spPr bwMode="auto">
          <a:xfrm>
            <a:off x="6892925" y="2870191"/>
            <a:ext cx="555625" cy="382587"/>
          </a:xfrm>
          <a:prstGeom prst="rect">
            <a:avLst/>
          </a:prstGeom>
          <a:noFill/>
          <a:ln w="6350">
            <a:noFill/>
            <a:miter lim="800000"/>
            <a:headEnd/>
            <a:tailEnd/>
          </a:ln>
          <a:effectLst/>
        </p:spPr>
        <p:txBody>
          <a:bodyPr wrap="none" lIns="45720" rIns="45720" anchor="ctr" anchorCtr="1"/>
          <a:lstStyle/>
          <a:p>
            <a:pPr algn="ctr" eaLnBrk="0" hangingPunct="0"/>
            <a:r>
              <a:rPr lang="en-GB" sz="1400" b="1" dirty="0">
                <a:solidFill>
                  <a:schemeClr val="bg1"/>
                </a:solidFill>
              </a:rPr>
              <a:t>Text</a:t>
            </a:r>
          </a:p>
        </p:txBody>
      </p:sp>
      <p:sp>
        <p:nvSpPr>
          <p:cNvPr id="33" name="Rectangle 30">
            <a:extLst>
              <a:ext uri="{FF2B5EF4-FFF2-40B4-BE49-F238E27FC236}">
                <a16:creationId xmlns:a16="http://schemas.microsoft.com/office/drawing/2014/main" id="{717FD3C3-5B90-4AE9-8178-3F95B71A58B9}"/>
              </a:ext>
            </a:extLst>
          </p:cNvPr>
          <p:cNvSpPr>
            <a:spLocks noChangeArrowheads="1"/>
          </p:cNvSpPr>
          <p:nvPr/>
        </p:nvSpPr>
        <p:spPr bwMode="auto">
          <a:xfrm>
            <a:off x="4146985" y="3497253"/>
            <a:ext cx="3889375" cy="252413"/>
          </a:xfrm>
          <a:prstGeom prst="rect">
            <a:avLst/>
          </a:prstGeom>
          <a:solidFill>
            <a:schemeClr val="accent2">
              <a:lumMod val="75000"/>
            </a:schemeClr>
          </a:solidFill>
          <a:ln w="6350">
            <a:noFill/>
            <a:miter lim="800000"/>
            <a:headEnd/>
            <a:tailEnd/>
          </a:ln>
          <a:effectLst/>
        </p:spPr>
        <p:txBody>
          <a:bodyPr wrap="none" lIns="45720" rIns="45720" anchor="ctr" anchorCtr="1"/>
          <a:lstStyle/>
          <a:p>
            <a:pPr algn="ctr" eaLnBrk="0" hangingPunct="0"/>
            <a:r>
              <a:rPr lang="en-US" sz="1400" dirty="0">
                <a:solidFill>
                  <a:schemeClr val="bg1"/>
                </a:solidFill>
              </a:rPr>
              <a:t>Text</a:t>
            </a:r>
          </a:p>
        </p:txBody>
      </p:sp>
      <p:sp>
        <p:nvSpPr>
          <p:cNvPr id="49" name="Freeform 38">
            <a:extLst>
              <a:ext uri="{FF2B5EF4-FFF2-40B4-BE49-F238E27FC236}">
                <a16:creationId xmlns:a16="http://schemas.microsoft.com/office/drawing/2014/main" id="{52CBE3CD-774F-4FD2-AF0C-71A54AEEC2B3}"/>
              </a:ext>
              <a:ext uri="{C183D7F6-B498-43B3-948B-1728B52AA6E4}">
                <adec:decorative xmlns:adec="http://schemas.microsoft.com/office/drawing/2017/decorative" val="1"/>
              </a:ext>
            </a:extLst>
          </p:cNvPr>
          <p:cNvSpPr>
            <a:spLocks/>
          </p:cNvSpPr>
          <p:nvPr/>
        </p:nvSpPr>
        <p:spPr bwMode="auto">
          <a:xfrm>
            <a:off x="3224647" y="3740140"/>
            <a:ext cx="1771650" cy="850900"/>
          </a:xfrm>
          <a:custGeom>
            <a:avLst/>
            <a:gdLst/>
            <a:ahLst/>
            <a:cxnLst>
              <a:cxn ang="0">
                <a:pos x="336" y="0"/>
              </a:cxn>
              <a:cxn ang="0">
                <a:pos x="0" y="486"/>
              </a:cxn>
              <a:cxn ang="0">
                <a:pos x="788" y="486"/>
              </a:cxn>
              <a:cxn ang="0">
                <a:pos x="788" y="0"/>
              </a:cxn>
              <a:cxn ang="0">
                <a:pos x="336" y="0"/>
              </a:cxn>
            </a:cxnLst>
            <a:rect l="0" t="0" r="r" b="b"/>
            <a:pathLst>
              <a:path w="789" h="487">
                <a:moveTo>
                  <a:pt x="336" y="0"/>
                </a:moveTo>
                <a:lnTo>
                  <a:pt x="0" y="486"/>
                </a:lnTo>
                <a:lnTo>
                  <a:pt x="788" y="486"/>
                </a:lnTo>
                <a:lnTo>
                  <a:pt x="788" y="0"/>
                </a:lnTo>
                <a:lnTo>
                  <a:pt x="336" y="0"/>
                </a:lnTo>
              </a:path>
            </a:pathLst>
          </a:custGeom>
          <a:solidFill>
            <a:schemeClr val="accent1"/>
          </a:solidFill>
          <a:ln w="6350" cap="rnd" cmpd="sng">
            <a:noFill/>
            <a:prstDash val="solid"/>
            <a:round/>
            <a:headEnd type="none" w="sm" len="sm"/>
            <a:tailEnd type="none" w="sm" len="sm"/>
          </a:ln>
          <a:effectLst/>
        </p:spPr>
        <p:txBody>
          <a:bodyPr lIns="45720" rIns="45720" anchor="ctr" anchorCtr="1"/>
          <a:lstStyle/>
          <a:p>
            <a:pPr algn="ctr"/>
            <a:endParaRPr lang="de-DE">
              <a:solidFill>
                <a:schemeClr val="bg1"/>
              </a:solidFill>
            </a:endParaRPr>
          </a:p>
        </p:txBody>
      </p:sp>
      <p:sp>
        <p:nvSpPr>
          <p:cNvPr id="53" name="Rectangle 40">
            <a:extLst>
              <a:ext uri="{FF2B5EF4-FFF2-40B4-BE49-F238E27FC236}">
                <a16:creationId xmlns:a16="http://schemas.microsoft.com/office/drawing/2014/main" id="{4B10B4B7-56E1-43C4-A32C-624F07078C94}"/>
              </a:ext>
            </a:extLst>
          </p:cNvPr>
          <p:cNvSpPr>
            <a:spLocks noChangeArrowheads="1"/>
          </p:cNvSpPr>
          <p:nvPr/>
        </p:nvSpPr>
        <p:spPr bwMode="auto">
          <a:xfrm>
            <a:off x="3832226" y="3970328"/>
            <a:ext cx="555625" cy="384175"/>
          </a:xfrm>
          <a:prstGeom prst="rect">
            <a:avLst/>
          </a:prstGeom>
          <a:noFill/>
          <a:ln w="6350">
            <a:noFill/>
            <a:miter lim="800000"/>
            <a:headEnd/>
            <a:tailEnd/>
          </a:ln>
          <a:effectLst/>
        </p:spPr>
        <p:txBody>
          <a:bodyPr wrap="none" lIns="45720" rIns="45720" anchor="ctr" anchorCtr="1"/>
          <a:lstStyle/>
          <a:p>
            <a:pPr algn="ctr" eaLnBrk="0" hangingPunct="0"/>
            <a:r>
              <a:rPr lang="en-GB" sz="1400" b="1" dirty="0">
                <a:solidFill>
                  <a:schemeClr val="bg1"/>
                </a:solidFill>
              </a:rPr>
              <a:t>Text</a:t>
            </a:r>
          </a:p>
        </p:txBody>
      </p:sp>
      <p:sp>
        <p:nvSpPr>
          <p:cNvPr id="51" name="Rectangle 39">
            <a:extLst>
              <a:ext uri="{FF2B5EF4-FFF2-40B4-BE49-F238E27FC236}">
                <a16:creationId xmlns:a16="http://schemas.microsoft.com/office/drawing/2014/main" id="{5E2327DB-44DF-490B-8A39-35B48B7F5DD2}"/>
              </a:ext>
            </a:extLst>
          </p:cNvPr>
          <p:cNvSpPr>
            <a:spLocks noChangeArrowheads="1"/>
          </p:cNvSpPr>
          <p:nvPr/>
        </p:nvSpPr>
        <p:spPr bwMode="auto">
          <a:xfrm>
            <a:off x="5378450" y="3740140"/>
            <a:ext cx="1435100" cy="850900"/>
          </a:xfrm>
          <a:prstGeom prst="rect">
            <a:avLst/>
          </a:prstGeom>
          <a:solidFill>
            <a:schemeClr val="accent1"/>
          </a:solidFill>
          <a:ln w="6350">
            <a:noFill/>
            <a:miter lim="800000"/>
            <a:headEnd/>
            <a:tailEnd/>
          </a:ln>
          <a:effectLst/>
        </p:spPr>
        <p:txBody>
          <a:bodyPr wrap="none" lIns="45720" rIns="45720" anchor="ctr" anchorCtr="1"/>
          <a:lstStyle/>
          <a:p>
            <a:pPr algn="ctr" eaLnBrk="0" hangingPunct="0"/>
            <a:r>
              <a:rPr lang="en-GB" sz="1400" b="1" dirty="0">
                <a:solidFill>
                  <a:schemeClr val="bg1"/>
                </a:solidFill>
              </a:rPr>
              <a:t>Text</a:t>
            </a:r>
          </a:p>
        </p:txBody>
      </p:sp>
      <p:sp>
        <p:nvSpPr>
          <p:cNvPr id="47" name="Freeform 37">
            <a:extLst>
              <a:ext uri="{FF2B5EF4-FFF2-40B4-BE49-F238E27FC236}">
                <a16:creationId xmlns:a16="http://schemas.microsoft.com/office/drawing/2014/main" id="{7FBF6344-4687-4B68-8098-8822C0581DEA}"/>
              </a:ext>
              <a:ext uri="{C183D7F6-B498-43B3-948B-1728B52AA6E4}">
                <adec:decorative xmlns:adec="http://schemas.microsoft.com/office/drawing/2017/decorative" val="1"/>
              </a:ext>
            </a:extLst>
          </p:cNvPr>
          <p:cNvSpPr>
            <a:spLocks/>
          </p:cNvSpPr>
          <p:nvPr/>
        </p:nvSpPr>
        <p:spPr bwMode="auto">
          <a:xfrm>
            <a:off x="7191810" y="3743315"/>
            <a:ext cx="1768475" cy="850900"/>
          </a:xfrm>
          <a:custGeom>
            <a:avLst/>
            <a:gdLst/>
            <a:ahLst/>
            <a:cxnLst>
              <a:cxn ang="0">
                <a:pos x="450" y="0"/>
              </a:cxn>
              <a:cxn ang="0">
                <a:pos x="785" y="486"/>
              </a:cxn>
              <a:cxn ang="0">
                <a:pos x="0" y="486"/>
              </a:cxn>
              <a:cxn ang="0">
                <a:pos x="0" y="0"/>
              </a:cxn>
              <a:cxn ang="0">
                <a:pos x="450" y="0"/>
              </a:cxn>
            </a:cxnLst>
            <a:rect l="0" t="0" r="r" b="b"/>
            <a:pathLst>
              <a:path w="786" h="487">
                <a:moveTo>
                  <a:pt x="450" y="0"/>
                </a:moveTo>
                <a:lnTo>
                  <a:pt x="785" y="486"/>
                </a:lnTo>
                <a:lnTo>
                  <a:pt x="0" y="486"/>
                </a:lnTo>
                <a:lnTo>
                  <a:pt x="0" y="0"/>
                </a:lnTo>
                <a:lnTo>
                  <a:pt x="450" y="0"/>
                </a:lnTo>
              </a:path>
            </a:pathLst>
          </a:custGeom>
          <a:solidFill>
            <a:schemeClr val="accent1"/>
          </a:solidFill>
          <a:ln w="6350" cap="rnd" cmpd="sng">
            <a:noFill/>
            <a:prstDash val="solid"/>
            <a:round/>
            <a:headEnd type="none" w="sm" len="sm"/>
            <a:tailEnd type="none" w="sm" len="sm"/>
          </a:ln>
          <a:effectLst/>
        </p:spPr>
        <p:txBody>
          <a:bodyPr lIns="45720" rIns="45720" anchor="ctr" anchorCtr="1"/>
          <a:lstStyle/>
          <a:p>
            <a:pPr algn="ctr"/>
            <a:endParaRPr lang="de-DE">
              <a:solidFill>
                <a:schemeClr val="bg1"/>
              </a:solidFill>
            </a:endParaRPr>
          </a:p>
        </p:txBody>
      </p:sp>
      <p:sp>
        <p:nvSpPr>
          <p:cNvPr id="55" name="Rectangle 41">
            <a:extLst>
              <a:ext uri="{FF2B5EF4-FFF2-40B4-BE49-F238E27FC236}">
                <a16:creationId xmlns:a16="http://schemas.microsoft.com/office/drawing/2014/main" id="{D1EC0E43-CAED-4215-97A8-AD7440F68365}"/>
              </a:ext>
            </a:extLst>
          </p:cNvPr>
          <p:cNvSpPr>
            <a:spLocks noChangeArrowheads="1"/>
          </p:cNvSpPr>
          <p:nvPr/>
        </p:nvSpPr>
        <p:spPr bwMode="auto">
          <a:xfrm>
            <a:off x="7780773" y="3973503"/>
            <a:ext cx="555625" cy="384175"/>
          </a:xfrm>
          <a:prstGeom prst="rect">
            <a:avLst/>
          </a:prstGeom>
          <a:noFill/>
          <a:ln w="6350">
            <a:noFill/>
            <a:miter lim="800000"/>
            <a:headEnd/>
            <a:tailEnd/>
          </a:ln>
          <a:effectLst/>
        </p:spPr>
        <p:txBody>
          <a:bodyPr wrap="none" lIns="45720" rIns="45720" anchor="ctr" anchorCtr="1"/>
          <a:lstStyle/>
          <a:p>
            <a:pPr algn="ctr" eaLnBrk="0" hangingPunct="0"/>
            <a:r>
              <a:rPr lang="en-GB" sz="1400" b="1" dirty="0">
                <a:solidFill>
                  <a:schemeClr val="bg1"/>
                </a:solidFill>
              </a:rPr>
              <a:t>Text</a:t>
            </a:r>
          </a:p>
        </p:txBody>
      </p:sp>
      <p:sp>
        <p:nvSpPr>
          <p:cNvPr id="31" name="Rectangle 29">
            <a:extLst>
              <a:ext uri="{FF2B5EF4-FFF2-40B4-BE49-F238E27FC236}">
                <a16:creationId xmlns:a16="http://schemas.microsoft.com/office/drawing/2014/main" id="{8DC53EB0-BEAB-4243-A8D7-3CA6E3B6B262}"/>
              </a:ext>
            </a:extLst>
          </p:cNvPr>
          <p:cNvSpPr>
            <a:spLocks noChangeArrowheads="1"/>
          </p:cNvSpPr>
          <p:nvPr/>
        </p:nvSpPr>
        <p:spPr bwMode="auto">
          <a:xfrm>
            <a:off x="3224648" y="4586277"/>
            <a:ext cx="5735637" cy="266700"/>
          </a:xfrm>
          <a:prstGeom prst="rect">
            <a:avLst/>
          </a:prstGeom>
          <a:solidFill>
            <a:schemeClr val="accent1">
              <a:lumMod val="75000"/>
            </a:schemeClr>
          </a:solidFill>
          <a:ln w="6350">
            <a:noFill/>
            <a:miter lim="800000"/>
            <a:headEnd/>
            <a:tailEnd/>
          </a:ln>
          <a:effectLst/>
        </p:spPr>
        <p:txBody>
          <a:bodyPr wrap="none" lIns="45720" rIns="45720" anchor="ctr" anchorCtr="1"/>
          <a:lstStyle/>
          <a:p>
            <a:pPr algn="ctr" eaLnBrk="0" hangingPunct="0"/>
            <a:r>
              <a:rPr lang="en-US" sz="1400" dirty="0">
                <a:solidFill>
                  <a:schemeClr val="bg1"/>
                </a:solidFill>
              </a:rPr>
              <a:t>Text</a:t>
            </a:r>
          </a:p>
        </p:txBody>
      </p:sp>
      <p:sp>
        <p:nvSpPr>
          <p:cNvPr id="57" name="Freeform 42">
            <a:extLst>
              <a:ext uri="{FF2B5EF4-FFF2-40B4-BE49-F238E27FC236}">
                <a16:creationId xmlns:a16="http://schemas.microsoft.com/office/drawing/2014/main" id="{2EBA470B-8A52-40F9-9D1F-82DA00CBEF60}"/>
              </a:ext>
              <a:ext uri="{C183D7F6-B498-43B3-948B-1728B52AA6E4}">
                <adec:decorative xmlns:adec="http://schemas.microsoft.com/office/drawing/2017/decorative" val="1"/>
              </a:ext>
            </a:extLst>
          </p:cNvPr>
          <p:cNvSpPr>
            <a:spLocks/>
          </p:cNvSpPr>
          <p:nvPr/>
        </p:nvSpPr>
        <p:spPr bwMode="auto">
          <a:xfrm>
            <a:off x="2243573" y="4845040"/>
            <a:ext cx="1766887" cy="850900"/>
          </a:xfrm>
          <a:custGeom>
            <a:avLst/>
            <a:gdLst/>
            <a:ahLst/>
            <a:cxnLst>
              <a:cxn ang="0">
                <a:pos x="336" y="0"/>
              </a:cxn>
              <a:cxn ang="0">
                <a:pos x="0" y="487"/>
              </a:cxn>
              <a:cxn ang="0">
                <a:pos x="788" y="487"/>
              </a:cxn>
              <a:cxn ang="0">
                <a:pos x="788" y="0"/>
              </a:cxn>
              <a:cxn ang="0">
                <a:pos x="336" y="0"/>
              </a:cxn>
            </a:cxnLst>
            <a:rect l="0" t="0" r="r" b="b"/>
            <a:pathLst>
              <a:path w="789" h="488">
                <a:moveTo>
                  <a:pt x="336" y="0"/>
                </a:moveTo>
                <a:lnTo>
                  <a:pt x="0" y="487"/>
                </a:lnTo>
                <a:lnTo>
                  <a:pt x="788" y="487"/>
                </a:lnTo>
                <a:lnTo>
                  <a:pt x="788" y="0"/>
                </a:lnTo>
                <a:lnTo>
                  <a:pt x="336" y="0"/>
                </a:lnTo>
              </a:path>
            </a:pathLst>
          </a:custGeom>
          <a:solidFill>
            <a:schemeClr val="accent4"/>
          </a:solidFill>
          <a:ln w="6350" cap="rnd" cmpd="sng">
            <a:noFill/>
            <a:prstDash val="solid"/>
            <a:round/>
            <a:headEnd type="none" w="sm" len="sm"/>
            <a:tailEnd type="none" w="sm" len="sm"/>
          </a:ln>
          <a:effectLst/>
        </p:spPr>
        <p:txBody>
          <a:bodyPr lIns="45720" rIns="45720" anchor="ctr" anchorCtr="1"/>
          <a:lstStyle/>
          <a:p>
            <a:pPr algn="ctr"/>
            <a:endParaRPr lang="de-DE">
              <a:solidFill>
                <a:schemeClr val="bg1"/>
              </a:solidFill>
            </a:endParaRPr>
          </a:p>
        </p:txBody>
      </p:sp>
      <p:sp>
        <p:nvSpPr>
          <p:cNvPr id="65" name="Rectangle 40">
            <a:extLst>
              <a:ext uri="{FF2B5EF4-FFF2-40B4-BE49-F238E27FC236}">
                <a16:creationId xmlns:a16="http://schemas.microsoft.com/office/drawing/2014/main" id="{1AE8B957-5316-4821-9650-C637A79BD1A2}"/>
              </a:ext>
            </a:extLst>
          </p:cNvPr>
          <p:cNvSpPr>
            <a:spLocks noChangeArrowheads="1"/>
          </p:cNvSpPr>
          <p:nvPr/>
        </p:nvSpPr>
        <p:spPr bwMode="auto">
          <a:xfrm>
            <a:off x="3015097" y="5086002"/>
            <a:ext cx="555625" cy="384175"/>
          </a:xfrm>
          <a:prstGeom prst="rect">
            <a:avLst/>
          </a:prstGeom>
          <a:noFill/>
          <a:ln w="6350">
            <a:noFill/>
            <a:miter lim="800000"/>
            <a:headEnd/>
            <a:tailEnd/>
          </a:ln>
          <a:effectLst/>
        </p:spPr>
        <p:txBody>
          <a:bodyPr wrap="none" lIns="45720" rIns="45720" anchor="ctr" anchorCtr="1"/>
          <a:lstStyle/>
          <a:p>
            <a:pPr algn="ctr" eaLnBrk="0" hangingPunct="0"/>
            <a:r>
              <a:rPr lang="en-GB" sz="1400" b="1" dirty="0">
                <a:solidFill>
                  <a:schemeClr val="bg1"/>
                </a:solidFill>
              </a:rPr>
              <a:t>Text</a:t>
            </a:r>
          </a:p>
        </p:txBody>
      </p:sp>
      <p:sp>
        <p:nvSpPr>
          <p:cNvPr id="61" name="Rectangle 46">
            <a:extLst>
              <a:ext uri="{FF2B5EF4-FFF2-40B4-BE49-F238E27FC236}">
                <a16:creationId xmlns:a16="http://schemas.microsoft.com/office/drawing/2014/main" id="{E6361240-66E1-4AE9-9AB0-B6BBE59BF96C}"/>
              </a:ext>
            </a:extLst>
          </p:cNvPr>
          <p:cNvSpPr>
            <a:spLocks noChangeArrowheads="1"/>
          </p:cNvSpPr>
          <p:nvPr/>
        </p:nvSpPr>
        <p:spPr bwMode="auto">
          <a:xfrm>
            <a:off x="4442259" y="4845040"/>
            <a:ext cx="1435100" cy="850900"/>
          </a:xfrm>
          <a:prstGeom prst="rect">
            <a:avLst/>
          </a:prstGeom>
          <a:solidFill>
            <a:schemeClr val="accent4"/>
          </a:solidFill>
          <a:ln w="6350">
            <a:noFill/>
            <a:miter lim="800000"/>
            <a:headEnd/>
            <a:tailEnd/>
          </a:ln>
          <a:effectLst/>
        </p:spPr>
        <p:txBody>
          <a:bodyPr wrap="none" lIns="45720" rIns="45720" anchor="ctr" anchorCtr="1"/>
          <a:lstStyle/>
          <a:p>
            <a:pPr algn="ctr" eaLnBrk="0" hangingPunct="0"/>
            <a:r>
              <a:rPr lang="en-GB" sz="1400" b="1" dirty="0">
                <a:solidFill>
                  <a:schemeClr val="bg1"/>
                </a:solidFill>
              </a:rPr>
              <a:t>Text</a:t>
            </a:r>
          </a:p>
        </p:txBody>
      </p:sp>
      <p:sp>
        <p:nvSpPr>
          <p:cNvPr id="63" name="Rectangle 47">
            <a:extLst>
              <a:ext uri="{FF2B5EF4-FFF2-40B4-BE49-F238E27FC236}">
                <a16:creationId xmlns:a16="http://schemas.microsoft.com/office/drawing/2014/main" id="{B42D54AD-14DB-4F40-B5C0-2CE363F9B7B0}"/>
              </a:ext>
            </a:extLst>
          </p:cNvPr>
          <p:cNvSpPr>
            <a:spLocks noChangeArrowheads="1"/>
          </p:cNvSpPr>
          <p:nvPr/>
        </p:nvSpPr>
        <p:spPr bwMode="auto">
          <a:xfrm>
            <a:off x="6271059" y="4838688"/>
            <a:ext cx="1436687" cy="850900"/>
          </a:xfrm>
          <a:prstGeom prst="rect">
            <a:avLst/>
          </a:prstGeom>
          <a:solidFill>
            <a:schemeClr val="accent4"/>
          </a:solidFill>
          <a:ln w="6350">
            <a:noFill/>
            <a:miter lim="800000"/>
            <a:headEnd/>
            <a:tailEnd/>
          </a:ln>
          <a:effectLst/>
        </p:spPr>
        <p:txBody>
          <a:bodyPr wrap="none" lIns="45720" rIns="45720" anchor="ctr" anchorCtr="1"/>
          <a:lstStyle/>
          <a:p>
            <a:pPr algn="ctr" eaLnBrk="0" hangingPunct="0"/>
            <a:r>
              <a:rPr lang="en-GB" sz="1400" b="1">
                <a:solidFill>
                  <a:schemeClr val="bg1"/>
                </a:solidFill>
              </a:rPr>
              <a:t>Text</a:t>
            </a:r>
          </a:p>
        </p:txBody>
      </p:sp>
      <p:sp>
        <p:nvSpPr>
          <p:cNvPr id="59" name="Freeform 43">
            <a:extLst>
              <a:ext uri="{FF2B5EF4-FFF2-40B4-BE49-F238E27FC236}">
                <a16:creationId xmlns:a16="http://schemas.microsoft.com/office/drawing/2014/main" id="{F327F75D-2847-470C-AE4B-8D0FFB42FDF5}"/>
              </a:ext>
              <a:ext uri="{C183D7F6-B498-43B3-948B-1728B52AA6E4}">
                <adec:decorative xmlns:adec="http://schemas.microsoft.com/office/drawing/2017/decorative" val="1"/>
              </a:ext>
            </a:extLst>
          </p:cNvPr>
          <p:cNvSpPr>
            <a:spLocks/>
          </p:cNvSpPr>
          <p:nvPr/>
        </p:nvSpPr>
        <p:spPr bwMode="auto">
          <a:xfrm>
            <a:off x="8176059" y="4852977"/>
            <a:ext cx="1765300" cy="850900"/>
          </a:xfrm>
          <a:custGeom>
            <a:avLst/>
            <a:gdLst/>
            <a:ahLst/>
            <a:cxnLst>
              <a:cxn ang="0">
                <a:pos x="451" y="0"/>
              </a:cxn>
              <a:cxn ang="0">
                <a:pos x="787" y="487"/>
              </a:cxn>
              <a:cxn ang="0">
                <a:pos x="0" y="487"/>
              </a:cxn>
              <a:cxn ang="0">
                <a:pos x="0" y="0"/>
              </a:cxn>
              <a:cxn ang="0">
                <a:pos x="451" y="0"/>
              </a:cxn>
            </a:cxnLst>
            <a:rect l="0" t="0" r="r" b="b"/>
            <a:pathLst>
              <a:path w="788" h="488">
                <a:moveTo>
                  <a:pt x="451" y="0"/>
                </a:moveTo>
                <a:lnTo>
                  <a:pt x="787" y="487"/>
                </a:lnTo>
                <a:lnTo>
                  <a:pt x="0" y="487"/>
                </a:lnTo>
                <a:lnTo>
                  <a:pt x="0" y="0"/>
                </a:lnTo>
                <a:lnTo>
                  <a:pt x="451" y="0"/>
                </a:lnTo>
              </a:path>
            </a:pathLst>
          </a:custGeom>
          <a:solidFill>
            <a:schemeClr val="accent4"/>
          </a:solidFill>
          <a:ln w="6350" cap="rnd" cmpd="sng">
            <a:noFill/>
            <a:prstDash val="solid"/>
            <a:round/>
            <a:headEnd type="none" w="sm" len="sm"/>
            <a:tailEnd type="none" w="sm" len="sm"/>
          </a:ln>
          <a:effectLst/>
        </p:spPr>
        <p:txBody>
          <a:bodyPr lIns="45720" rIns="45720" anchor="ctr" anchorCtr="1"/>
          <a:lstStyle/>
          <a:p>
            <a:pPr algn="ctr"/>
            <a:endParaRPr lang="de-DE">
              <a:solidFill>
                <a:schemeClr val="bg1"/>
              </a:solidFill>
            </a:endParaRPr>
          </a:p>
        </p:txBody>
      </p:sp>
      <p:sp>
        <p:nvSpPr>
          <p:cNvPr id="67" name="Rectangle 41">
            <a:extLst>
              <a:ext uri="{FF2B5EF4-FFF2-40B4-BE49-F238E27FC236}">
                <a16:creationId xmlns:a16="http://schemas.microsoft.com/office/drawing/2014/main" id="{9A6617F4-57F9-4304-A016-3B5DA2A8C45E}"/>
              </a:ext>
            </a:extLst>
          </p:cNvPr>
          <p:cNvSpPr>
            <a:spLocks noChangeArrowheads="1"/>
          </p:cNvSpPr>
          <p:nvPr/>
        </p:nvSpPr>
        <p:spPr bwMode="auto">
          <a:xfrm>
            <a:off x="8503084" y="5089177"/>
            <a:ext cx="555625" cy="384175"/>
          </a:xfrm>
          <a:prstGeom prst="rect">
            <a:avLst/>
          </a:prstGeom>
          <a:noFill/>
          <a:ln w="6350">
            <a:noFill/>
            <a:miter lim="800000"/>
            <a:headEnd/>
            <a:tailEnd/>
          </a:ln>
          <a:effectLst/>
        </p:spPr>
        <p:txBody>
          <a:bodyPr wrap="none" lIns="45720" rIns="45720" anchor="ctr" anchorCtr="1"/>
          <a:lstStyle/>
          <a:p>
            <a:pPr algn="ctr" eaLnBrk="0" hangingPunct="0"/>
            <a:r>
              <a:rPr lang="en-GB" sz="1400" b="1" dirty="0">
                <a:solidFill>
                  <a:schemeClr val="bg1"/>
                </a:solidFill>
              </a:rPr>
              <a:t>Text</a:t>
            </a:r>
          </a:p>
        </p:txBody>
      </p:sp>
      <p:sp>
        <p:nvSpPr>
          <p:cNvPr id="29" name="Rectangle 28">
            <a:extLst>
              <a:ext uri="{FF2B5EF4-FFF2-40B4-BE49-F238E27FC236}">
                <a16:creationId xmlns:a16="http://schemas.microsoft.com/office/drawing/2014/main" id="{AE030C02-CCF0-4FC3-80D1-0BC3BCE52B7C}"/>
              </a:ext>
            </a:extLst>
          </p:cNvPr>
          <p:cNvSpPr>
            <a:spLocks noChangeArrowheads="1"/>
          </p:cNvSpPr>
          <p:nvPr/>
        </p:nvSpPr>
        <p:spPr bwMode="auto">
          <a:xfrm>
            <a:off x="2243573" y="5694353"/>
            <a:ext cx="7697787" cy="269875"/>
          </a:xfrm>
          <a:prstGeom prst="rect">
            <a:avLst/>
          </a:prstGeom>
          <a:solidFill>
            <a:schemeClr val="accent5">
              <a:lumMod val="75000"/>
            </a:schemeClr>
          </a:solidFill>
          <a:ln w="6350">
            <a:noFill/>
            <a:miter lim="800000"/>
            <a:headEnd/>
            <a:tailEnd/>
          </a:ln>
          <a:effectLst/>
        </p:spPr>
        <p:txBody>
          <a:bodyPr wrap="none" lIns="45720" rIns="45720" anchor="ctr" anchorCtr="1"/>
          <a:lstStyle/>
          <a:p>
            <a:pPr algn="ctr" eaLnBrk="0" hangingPunct="0"/>
            <a:r>
              <a:rPr lang="en-US" sz="1400">
                <a:solidFill>
                  <a:schemeClr val="bg1"/>
                </a:solidFill>
              </a:rPr>
              <a:t>Text</a:t>
            </a:r>
          </a:p>
        </p:txBody>
      </p:sp>
      <p:sp>
        <p:nvSpPr>
          <p:cNvPr id="4" name="Footer Placeholder 3">
            <a:extLst>
              <a:ext uri="{FF2B5EF4-FFF2-40B4-BE49-F238E27FC236}">
                <a16:creationId xmlns:a16="http://schemas.microsoft.com/office/drawing/2014/main" id="{B3D7C7BC-F98B-42E0-872A-A428C33600C9}"/>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D62EA4BE-47F0-426A-9D8F-AFCB14910FE1}"/>
              </a:ext>
            </a:extLst>
          </p:cNvPr>
          <p:cNvSpPr>
            <a:spLocks noGrp="1"/>
          </p:cNvSpPr>
          <p:nvPr>
            <p:ph type="sldNum" sz="quarter" idx="10"/>
          </p:nvPr>
        </p:nvSpPr>
        <p:spPr/>
        <p:txBody>
          <a:bodyPr/>
          <a:lstStyle/>
          <a:p>
            <a:fld id="{1F90F471-3972-4120-B8B3-0237DE626C35}" type="slidenum">
              <a:rPr lang="en-US" smtClean="0"/>
              <a:pPr/>
              <a:t>344</a:t>
            </a:fld>
            <a:endParaRPr lang="en-US" dirty="0"/>
          </a:p>
        </p:txBody>
      </p:sp>
    </p:spTree>
    <p:extLst>
      <p:ext uri="{BB962C8B-B14F-4D97-AF65-F5344CB8AC3E}">
        <p14:creationId xmlns:p14="http://schemas.microsoft.com/office/powerpoint/2010/main" val="776410596"/>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Time Range</a:t>
            </a:r>
          </a:p>
        </p:txBody>
      </p:sp>
      <p:sp>
        <p:nvSpPr>
          <p:cNvPr id="127" name="Line 12">
            <a:extLst>
              <a:ext uri="{FF2B5EF4-FFF2-40B4-BE49-F238E27FC236}">
                <a16:creationId xmlns:a16="http://schemas.microsoft.com/office/drawing/2014/main" id="{1BCCA3EC-0621-4D3B-8880-DB960885270A}"/>
              </a:ext>
              <a:ext uri="{C183D7F6-B498-43B3-948B-1728B52AA6E4}">
                <adec:decorative xmlns:adec="http://schemas.microsoft.com/office/drawing/2017/decorative" val="1"/>
              </a:ext>
            </a:extLst>
          </p:cNvPr>
          <p:cNvSpPr>
            <a:spLocks noChangeShapeType="1"/>
          </p:cNvSpPr>
          <p:nvPr/>
        </p:nvSpPr>
        <p:spPr bwMode="auto">
          <a:xfrm flipV="1">
            <a:off x="4499258" y="1592263"/>
            <a:ext cx="882650" cy="3833812"/>
          </a:xfrm>
          <a:prstGeom prst="line">
            <a:avLst/>
          </a:prstGeom>
          <a:noFill/>
          <a:ln w="9525">
            <a:solidFill>
              <a:schemeClr val="tx1"/>
            </a:solidFill>
            <a:round/>
            <a:headEnd/>
            <a:tailEnd/>
          </a:ln>
        </p:spPr>
        <p:txBody>
          <a:bodyPr lIns="0" tIns="0" rIns="0" bIns="0">
            <a:spAutoFit/>
          </a:bodyPr>
          <a:lstStyle/>
          <a:p>
            <a:endParaRPr lang="en-US" dirty="0"/>
          </a:p>
        </p:txBody>
      </p:sp>
      <p:sp>
        <p:nvSpPr>
          <p:cNvPr id="129" name="Line 13">
            <a:extLst>
              <a:ext uri="{FF2B5EF4-FFF2-40B4-BE49-F238E27FC236}">
                <a16:creationId xmlns:a16="http://schemas.microsoft.com/office/drawing/2014/main" id="{038C4CB5-9DA8-4F1A-ACC9-61DC533689B7}"/>
              </a:ext>
              <a:ext uri="{C183D7F6-B498-43B3-948B-1728B52AA6E4}">
                <adec:decorative xmlns:adec="http://schemas.microsoft.com/office/drawing/2017/decorative" val="1"/>
              </a:ext>
            </a:extLst>
          </p:cNvPr>
          <p:cNvSpPr>
            <a:spLocks noChangeShapeType="1"/>
          </p:cNvSpPr>
          <p:nvPr/>
        </p:nvSpPr>
        <p:spPr bwMode="auto">
          <a:xfrm flipV="1">
            <a:off x="6286500" y="1592263"/>
            <a:ext cx="0" cy="3833812"/>
          </a:xfrm>
          <a:prstGeom prst="line">
            <a:avLst/>
          </a:prstGeom>
          <a:noFill/>
          <a:ln w="9525">
            <a:solidFill>
              <a:schemeClr val="tx1"/>
            </a:solidFill>
            <a:round/>
            <a:headEnd/>
            <a:tailEnd/>
          </a:ln>
        </p:spPr>
        <p:txBody>
          <a:bodyPr lIns="0" tIns="0" rIns="0" bIns="0">
            <a:spAutoFit/>
          </a:bodyPr>
          <a:lstStyle/>
          <a:p>
            <a:endParaRPr lang="en-US" dirty="0"/>
          </a:p>
        </p:txBody>
      </p:sp>
      <p:sp>
        <p:nvSpPr>
          <p:cNvPr id="131" name="Line 14">
            <a:extLst>
              <a:ext uri="{FF2B5EF4-FFF2-40B4-BE49-F238E27FC236}">
                <a16:creationId xmlns:a16="http://schemas.microsoft.com/office/drawing/2014/main" id="{D1C531F5-DF49-4195-A15E-D29754B55E75}"/>
              </a:ext>
              <a:ext uri="{C183D7F6-B498-43B3-948B-1728B52AA6E4}">
                <adec:decorative xmlns:adec="http://schemas.microsoft.com/office/drawing/2017/decorative" val="1"/>
              </a:ext>
            </a:extLst>
          </p:cNvPr>
          <p:cNvSpPr>
            <a:spLocks noChangeShapeType="1"/>
          </p:cNvSpPr>
          <p:nvPr/>
        </p:nvSpPr>
        <p:spPr bwMode="auto">
          <a:xfrm flipH="1" flipV="1">
            <a:off x="7167563" y="1592263"/>
            <a:ext cx="882650" cy="3833812"/>
          </a:xfrm>
          <a:prstGeom prst="line">
            <a:avLst/>
          </a:prstGeom>
          <a:noFill/>
          <a:ln w="9525">
            <a:solidFill>
              <a:schemeClr val="tx1"/>
            </a:solidFill>
            <a:round/>
            <a:headEnd/>
            <a:tailEnd/>
          </a:ln>
        </p:spPr>
        <p:txBody>
          <a:bodyPr lIns="0" tIns="0" rIns="0" bIns="0">
            <a:spAutoFit/>
          </a:bodyPr>
          <a:lstStyle/>
          <a:p>
            <a:endParaRPr lang="en-US" dirty="0"/>
          </a:p>
        </p:txBody>
      </p:sp>
      <p:sp>
        <p:nvSpPr>
          <p:cNvPr id="121" name="Text Box 8">
            <a:extLst>
              <a:ext uri="{FF2B5EF4-FFF2-40B4-BE49-F238E27FC236}">
                <a16:creationId xmlns:a16="http://schemas.microsoft.com/office/drawing/2014/main" id="{0CDD1391-8216-467E-B7AA-C5E5F9FC147F}"/>
              </a:ext>
            </a:extLst>
          </p:cNvPr>
          <p:cNvSpPr txBox="1">
            <a:spLocks noChangeArrowheads="1"/>
          </p:cNvSpPr>
          <p:nvPr/>
        </p:nvSpPr>
        <p:spPr bwMode="auto">
          <a:xfrm rot="17744959">
            <a:off x="3473292" y="2010653"/>
            <a:ext cx="1236662" cy="308670"/>
          </a:xfrm>
          <a:prstGeom prst="rect">
            <a:avLst/>
          </a:prstGeom>
          <a:solidFill>
            <a:schemeClr val="accent4"/>
          </a:solidFill>
          <a:ln w="9525" algn="ctr">
            <a:noFill/>
            <a:miter lim="800000"/>
            <a:headEnd/>
            <a:tailEnd/>
          </a:ln>
        </p:spPr>
        <p:txBody>
          <a:bodyPr lIns="0" tIns="0" rIns="0" bIns="0" anchor="ctr" anchorCtr="0">
            <a:noAutofit/>
          </a:bodyPr>
          <a:lstStyle/>
          <a:p>
            <a:pPr algn="ctr">
              <a:spcBef>
                <a:spcPct val="0"/>
              </a:spcBef>
              <a:buClrTx/>
              <a:buFontTx/>
              <a:buNone/>
            </a:pPr>
            <a:r>
              <a:rPr lang="de-DE" sz="1200" b="1" dirty="0"/>
              <a:t>Long term</a:t>
            </a:r>
          </a:p>
        </p:txBody>
      </p:sp>
      <p:sp>
        <p:nvSpPr>
          <p:cNvPr id="177" name="Freeform 43">
            <a:extLst>
              <a:ext uri="{FF2B5EF4-FFF2-40B4-BE49-F238E27FC236}">
                <a16:creationId xmlns:a16="http://schemas.microsoft.com/office/drawing/2014/main" id="{ACBB7350-222B-4B1B-8A6E-01E669534A61}"/>
              </a:ext>
              <a:ext uri="{C183D7F6-B498-43B3-948B-1728B52AA6E4}">
                <adec:decorative xmlns:adec="http://schemas.microsoft.com/office/drawing/2017/decorative" val="1"/>
              </a:ext>
            </a:extLst>
          </p:cNvPr>
          <p:cNvSpPr>
            <a:spLocks/>
          </p:cNvSpPr>
          <p:nvPr/>
        </p:nvSpPr>
        <p:spPr bwMode="auto">
          <a:xfrm>
            <a:off x="4017963" y="1660526"/>
            <a:ext cx="1322387" cy="1138238"/>
          </a:xfrm>
          <a:custGeom>
            <a:avLst/>
            <a:gdLst>
              <a:gd name="T0" fmla="*/ 363 w 907"/>
              <a:gd name="T1" fmla="*/ 0 h 726"/>
              <a:gd name="T2" fmla="*/ 0 w 907"/>
              <a:gd name="T3" fmla="*/ 726 h 726"/>
              <a:gd name="T4" fmla="*/ 726 w 907"/>
              <a:gd name="T5" fmla="*/ 726 h 726"/>
              <a:gd name="T6" fmla="*/ 907 w 907"/>
              <a:gd name="T7" fmla="*/ 0 h 726"/>
              <a:gd name="T8" fmla="*/ 363 w 907"/>
              <a:gd name="T9" fmla="*/ 0 h 726"/>
              <a:gd name="T10" fmla="*/ 0 60000 65536"/>
              <a:gd name="T11" fmla="*/ 0 60000 65536"/>
              <a:gd name="T12" fmla="*/ 0 60000 65536"/>
              <a:gd name="T13" fmla="*/ 0 60000 65536"/>
              <a:gd name="T14" fmla="*/ 0 60000 65536"/>
              <a:gd name="T15" fmla="*/ 0 w 907"/>
              <a:gd name="T16" fmla="*/ 0 h 726"/>
              <a:gd name="T17" fmla="*/ 907 w 907"/>
              <a:gd name="T18" fmla="*/ 726 h 726"/>
            </a:gdLst>
            <a:ahLst/>
            <a:cxnLst>
              <a:cxn ang="T10">
                <a:pos x="T0" y="T1"/>
              </a:cxn>
              <a:cxn ang="T11">
                <a:pos x="T2" y="T3"/>
              </a:cxn>
              <a:cxn ang="T12">
                <a:pos x="T4" y="T5"/>
              </a:cxn>
              <a:cxn ang="T13">
                <a:pos x="T6" y="T7"/>
              </a:cxn>
              <a:cxn ang="T14">
                <a:pos x="T8" y="T9"/>
              </a:cxn>
            </a:cxnLst>
            <a:rect l="T15" t="T16" r="T17" b="T18"/>
            <a:pathLst>
              <a:path w="907" h="726">
                <a:moveTo>
                  <a:pt x="363" y="0"/>
                </a:moveTo>
                <a:lnTo>
                  <a:pt x="0" y="726"/>
                </a:lnTo>
                <a:lnTo>
                  <a:pt x="726" y="726"/>
                </a:lnTo>
                <a:lnTo>
                  <a:pt x="907" y="0"/>
                </a:lnTo>
                <a:lnTo>
                  <a:pt x="363" y="0"/>
                </a:lnTo>
                <a:close/>
              </a:path>
            </a:pathLst>
          </a:custGeom>
          <a:solidFill>
            <a:schemeClr val="accent4"/>
          </a:solidFill>
          <a:ln w="9525" cap="flat" cmpd="sng">
            <a:noFill/>
            <a:prstDash val="solid"/>
            <a:round/>
            <a:headEnd type="none" w="med" len="med"/>
            <a:tailEnd type="none" w="med" len="med"/>
          </a:ln>
        </p:spPr>
        <p:txBody>
          <a:bodyPr wrap="none" anchor="ctr"/>
          <a:lstStyle/>
          <a:p>
            <a:pPr algn="ctr"/>
            <a:endParaRPr lang="en-US" dirty="0"/>
          </a:p>
        </p:txBody>
      </p:sp>
      <p:sp>
        <p:nvSpPr>
          <p:cNvPr id="189" name="Text Box 49">
            <a:extLst>
              <a:ext uri="{FF2B5EF4-FFF2-40B4-BE49-F238E27FC236}">
                <a16:creationId xmlns:a16="http://schemas.microsoft.com/office/drawing/2014/main" id="{38860940-977A-41BF-A9F6-1C82051AA055}"/>
              </a:ext>
            </a:extLst>
          </p:cNvPr>
          <p:cNvSpPr txBox="1">
            <a:spLocks noChangeArrowheads="1"/>
          </p:cNvSpPr>
          <p:nvPr/>
        </p:nvSpPr>
        <p:spPr bwMode="auto">
          <a:xfrm flipH="1">
            <a:off x="4206874" y="1767055"/>
            <a:ext cx="1006475" cy="925180"/>
          </a:xfrm>
          <a:prstGeom prst="rect">
            <a:avLst/>
          </a:prstGeom>
          <a:noFill/>
          <a:ln w="9525">
            <a:noFill/>
            <a:miter lim="800000"/>
            <a:headEnd/>
            <a:tailEnd/>
          </a:ln>
        </p:spPr>
        <p:txBody>
          <a:bodyPr lIns="0" rIns="0" anchor="ctr"/>
          <a:lstStyle/>
          <a:p>
            <a:pPr algn="ctr">
              <a:lnSpc>
                <a:spcPct val="90000"/>
              </a:lnSpc>
              <a:spcBef>
                <a:spcPct val="0"/>
              </a:spcBef>
              <a:buClrTx/>
              <a:buFontTx/>
              <a:buNone/>
            </a:pPr>
            <a:r>
              <a:rPr lang="de-DE" sz="1000" dirty="0">
                <a:solidFill>
                  <a:schemeClr val="bg1"/>
                </a:solidFill>
              </a:rPr>
              <a:t>Text</a:t>
            </a:r>
          </a:p>
        </p:txBody>
      </p:sp>
      <p:sp>
        <p:nvSpPr>
          <p:cNvPr id="175" name="Freeform 42">
            <a:extLst>
              <a:ext uri="{FF2B5EF4-FFF2-40B4-BE49-F238E27FC236}">
                <a16:creationId xmlns:a16="http://schemas.microsoft.com/office/drawing/2014/main" id="{844F1210-015D-432D-923A-8B0E3BA8D9B1}"/>
              </a:ext>
              <a:ext uri="{C183D7F6-B498-43B3-948B-1728B52AA6E4}">
                <adec:decorative xmlns:adec="http://schemas.microsoft.com/office/drawing/2017/decorative" val="1"/>
              </a:ext>
            </a:extLst>
          </p:cNvPr>
          <p:cNvSpPr>
            <a:spLocks/>
          </p:cNvSpPr>
          <p:nvPr/>
        </p:nvSpPr>
        <p:spPr bwMode="auto">
          <a:xfrm>
            <a:off x="5183188" y="1660526"/>
            <a:ext cx="1039812" cy="1139825"/>
          </a:xfrm>
          <a:custGeom>
            <a:avLst/>
            <a:gdLst>
              <a:gd name="T0" fmla="*/ 181 w 748"/>
              <a:gd name="T1" fmla="*/ 0 h 727"/>
              <a:gd name="T2" fmla="*/ 748 w 748"/>
              <a:gd name="T3" fmla="*/ 1 h 727"/>
              <a:gd name="T4" fmla="*/ 748 w 748"/>
              <a:gd name="T5" fmla="*/ 727 h 727"/>
              <a:gd name="T6" fmla="*/ 0 w 748"/>
              <a:gd name="T7" fmla="*/ 727 h 727"/>
              <a:gd name="T8" fmla="*/ 181 w 748"/>
              <a:gd name="T9" fmla="*/ 0 h 727"/>
              <a:gd name="T10" fmla="*/ 0 60000 65536"/>
              <a:gd name="T11" fmla="*/ 0 60000 65536"/>
              <a:gd name="T12" fmla="*/ 0 60000 65536"/>
              <a:gd name="T13" fmla="*/ 0 60000 65536"/>
              <a:gd name="T14" fmla="*/ 0 60000 65536"/>
              <a:gd name="T15" fmla="*/ 0 w 748"/>
              <a:gd name="T16" fmla="*/ 0 h 727"/>
              <a:gd name="T17" fmla="*/ 748 w 748"/>
              <a:gd name="T18" fmla="*/ 727 h 727"/>
            </a:gdLst>
            <a:ahLst/>
            <a:cxnLst>
              <a:cxn ang="T10">
                <a:pos x="T0" y="T1"/>
              </a:cxn>
              <a:cxn ang="T11">
                <a:pos x="T2" y="T3"/>
              </a:cxn>
              <a:cxn ang="T12">
                <a:pos x="T4" y="T5"/>
              </a:cxn>
              <a:cxn ang="T13">
                <a:pos x="T6" y="T7"/>
              </a:cxn>
              <a:cxn ang="T14">
                <a:pos x="T8" y="T9"/>
              </a:cxn>
            </a:cxnLst>
            <a:rect l="T15" t="T16" r="T17" b="T18"/>
            <a:pathLst>
              <a:path w="748" h="727">
                <a:moveTo>
                  <a:pt x="181" y="0"/>
                </a:moveTo>
                <a:lnTo>
                  <a:pt x="748" y="1"/>
                </a:lnTo>
                <a:lnTo>
                  <a:pt x="748" y="727"/>
                </a:lnTo>
                <a:lnTo>
                  <a:pt x="0" y="727"/>
                </a:lnTo>
                <a:lnTo>
                  <a:pt x="181" y="0"/>
                </a:lnTo>
                <a:close/>
              </a:path>
            </a:pathLst>
          </a:custGeom>
          <a:solidFill>
            <a:schemeClr val="accent4"/>
          </a:solidFill>
          <a:ln w="9525" cap="flat" cmpd="sng">
            <a:noFill/>
            <a:prstDash val="solid"/>
            <a:round/>
            <a:headEnd type="none" w="med" len="med"/>
            <a:tailEnd type="none" w="med" len="med"/>
          </a:ln>
        </p:spPr>
        <p:txBody>
          <a:bodyPr wrap="none" anchor="ctr"/>
          <a:lstStyle/>
          <a:p>
            <a:pPr algn="ctr"/>
            <a:endParaRPr lang="en-US" dirty="0"/>
          </a:p>
        </p:txBody>
      </p:sp>
      <p:sp>
        <p:nvSpPr>
          <p:cNvPr id="187" name="Text Box 48">
            <a:extLst>
              <a:ext uri="{FF2B5EF4-FFF2-40B4-BE49-F238E27FC236}">
                <a16:creationId xmlns:a16="http://schemas.microsoft.com/office/drawing/2014/main" id="{4B0E942F-7DC1-416F-A147-48CE686E2FD5}"/>
              </a:ext>
            </a:extLst>
          </p:cNvPr>
          <p:cNvSpPr txBox="1">
            <a:spLocks noChangeArrowheads="1"/>
          </p:cNvSpPr>
          <p:nvPr/>
        </p:nvSpPr>
        <p:spPr bwMode="auto">
          <a:xfrm flipH="1">
            <a:off x="5340350" y="1767055"/>
            <a:ext cx="882650" cy="925180"/>
          </a:xfrm>
          <a:prstGeom prst="rect">
            <a:avLst/>
          </a:prstGeom>
          <a:noFill/>
          <a:ln w="9525">
            <a:noFill/>
            <a:miter lim="800000"/>
            <a:headEnd/>
            <a:tailEnd/>
          </a:ln>
        </p:spPr>
        <p:txBody>
          <a:bodyPr lIns="0" tIns="0" rIns="0" bIns="0" anchor="ctr"/>
          <a:lstStyle/>
          <a:p>
            <a:pPr algn="ctr">
              <a:lnSpc>
                <a:spcPct val="90000"/>
              </a:lnSpc>
              <a:spcBef>
                <a:spcPct val="0"/>
              </a:spcBef>
              <a:buClrTx/>
              <a:buFontTx/>
              <a:buNone/>
            </a:pPr>
            <a:r>
              <a:rPr lang="de-DE" sz="1000" dirty="0">
                <a:solidFill>
                  <a:schemeClr val="bg1"/>
                </a:solidFill>
              </a:rPr>
              <a:t>Text</a:t>
            </a:r>
          </a:p>
        </p:txBody>
      </p:sp>
      <p:sp>
        <p:nvSpPr>
          <p:cNvPr id="141" name="Freeform 20">
            <a:extLst>
              <a:ext uri="{FF2B5EF4-FFF2-40B4-BE49-F238E27FC236}">
                <a16:creationId xmlns:a16="http://schemas.microsoft.com/office/drawing/2014/main" id="{7E426F3A-BE35-4FE0-B462-CAEBDD13E73A}"/>
              </a:ext>
              <a:ext uri="{C183D7F6-B498-43B3-948B-1728B52AA6E4}">
                <adec:decorative xmlns:adec="http://schemas.microsoft.com/office/drawing/2017/decorative" val="1"/>
              </a:ext>
            </a:extLst>
          </p:cNvPr>
          <p:cNvSpPr>
            <a:spLocks/>
          </p:cNvSpPr>
          <p:nvPr/>
        </p:nvSpPr>
        <p:spPr bwMode="auto">
          <a:xfrm flipH="1">
            <a:off x="6348413" y="1662113"/>
            <a:ext cx="1039812" cy="1139825"/>
          </a:xfrm>
          <a:custGeom>
            <a:avLst/>
            <a:gdLst>
              <a:gd name="T0" fmla="*/ 181 w 748"/>
              <a:gd name="T1" fmla="*/ 0 h 727"/>
              <a:gd name="T2" fmla="*/ 748 w 748"/>
              <a:gd name="T3" fmla="*/ 1 h 727"/>
              <a:gd name="T4" fmla="*/ 748 w 748"/>
              <a:gd name="T5" fmla="*/ 727 h 727"/>
              <a:gd name="T6" fmla="*/ 0 w 748"/>
              <a:gd name="T7" fmla="*/ 727 h 727"/>
              <a:gd name="T8" fmla="*/ 181 w 748"/>
              <a:gd name="T9" fmla="*/ 0 h 727"/>
              <a:gd name="T10" fmla="*/ 0 60000 65536"/>
              <a:gd name="T11" fmla="*/ 0 60000 65536"/>
              <a:gd name="T12" fmla="*/ 0 60000 65536"/>
              <a:gd name="T13" fmla="*/ 0 60000 65536"/>
              <a:gd name="T14" fmla="*/ 0 60000 65536"/>
              <a:gd name="T15" fmla="*/ 0 w 748"/>
              <a:gd name="T16" fmla="*/ 0 h 727"/>
              <a:gd name="T17" fmla="*/ 748 w 748"/>
              <a:gd name="T18" fmla="*/ 727 h 727"/>
            </a:gdLst>
            <a:ahLst/>
            <a:cxnLst>
              <a:cxn ang="T10">
                <a:pos x="T0" y="T1"/>
              </a:cxn>
              <a:cxn ang="T11">
                <a:pos x="T2" y="T3"/>
              </a:cxn>
              <a:cxn ang="T12">
                <a:pos x="T4" y="T5"/>
              </a:cxn>
              <a:cxn ang="T13">
                <a:pos x="T6" y="T7"/>
              </a:cxn>
              <a:cxn ang="T14">
                <a:pos x="T8" y="T9"/>
              </a:cxn>
            </a:cxnLst>
            <a:rect l="T15" t="T16" r="T17" b="T18"/>
            <a:pathLst>
              <a:path w="748" h="727">
                <a:moveTo>
                  <a:pt x="181" y="0"/>
                </a:moveTo>
                <a:lnTo>
                  <a:pt x="748" y="1"/>
                </a:lnTo>
                <a:lnTo>
                  <a:pt x="748" y="727"/>
                </a:lnTo>
                <a:lnTo>
                  <a:pt x="0" y="727"/>
                </a:lnTo>
                <a:lnTo>
                  <a:pt x="181" y="0"/>
                </a:lnTo>
                <a:close/>
              </a:path>
            </a:pathLst>
          </a:custGeom>
          <a:solidFill>
            <a:schemeClr val="accent4"/>
          </a:solidFill>
          <a:ln w="9525" cap="flat" cmpd="sng">
            <a:noFill/>
            <a:prstDash val="solid"/>
            <a:round/>
            <a:headEnd type="none" w="med" len="med"/>
            <a:tailEnd type="none" w="med" len="med"/>
          </a:ln>
        </p:spPr>
        <p:txBody>
          <a:bodyPr wrap="none" anchor="ctr"/>
          <a:lstStyle/>
          <a:p>
            <a:pPr algn="ctr"/>
            <a:endParaRPr lang="en-US" dirty="0"/>
          </a:p>
        </p:txBody>
      </p:sp>
      <p:sp>
        <p:nvSpPr>
          <p:cNvPr id="153" name="Text Box 26">
            <a:extLst>
              <a:ext uri="{FF2B5EF4-FFF2-40B4-BE49-F238E27FC236}">
                <a16:creationId xmlns:a16="http://schemas.microsoft.com/office/drawing/2014/main" id="{BF112E61-B22F-4BC4-A502-EA8FFD7AEA32}"/>
              </a:ext>
            </a:extLst>
          </p:cNvPr>
          <p:cNvSpPr txBox="1">
            <a:spLocks noChangeArrowheads="1"/>
          </p:cNvSpPr>
          <p:nvPr/>
        </p:nvSpPr>
        <p:spPr bwMode="auto">
          <a:xfrm>
            <a:off x="6348413" y="1768643"/>
            <a:ext cx="882650" cy="925178"/>
          </a:xfrm>
          <a:prstGeom prst="rect">
            <a:avLst/>
          </a:prstGeom>
          <a:noFill/>
          <a:ln w="9525">
            <a:noFill/>
            <a:miter lim="800000"/>
            <a:headEnd/>
            <a:tailEnd/>
          </a:ln>
        </p:spPr>
        <p:txBody>
          <a:bodyPr lIns="0" tIns="0" rIns="0" bIns="0" anchor="ctr"/>
          <a:lstStyle/>
          <a:p>
            <a:pPr algn="ctr">
              <a:lnSpc>
                <a:spcPct val="90000"/>
              </a:lnSpc>
              <a:spcBef>
                <a:spcPct val="0"/>
              </a:spcBef>
              <a:buClrTx/>
              <a:buFontTx/>
              <a:buNone/>
            </a:pPr>
            <a:r>
              <a:rPr lang="de-DE" sz="1000" dirty="0">
                <a:solidFill>
                  <a:schemeClr val="bg1"/>
                </a:solidFill>
              </a:rPr>
              <a:t>Text</a:t>
            </a:r>
          </a:p>
        </p:txBody>
      </p:sp>
      <p:sp>
        <p:nvSpPr>
          <p:cNvPr id="143" name="Freeform 21">
            <a:extLst>
              <a:ext uri="{FF2B5EF4-FFF2-40B4-BE49-F238E27FC236}">
                <a16:creationId xmlns:a16="http://schemas.microsoft.com/office/drawing/2014/main" id="{9C0E74EE-261E-4C07-A1A1-5DB18E6854A0}"/>
              </a:ext>
              <a:ext uri="{C183D7F6-B498-43B3-948B-1728B52AA6E4}">
                <adec:decorative xmlns:adec="http://schemas.microsoft.com/office/drawing/2017/decorative" val="1"/>
              </a:ext>
            </a:extLst>
          </p:cNvPr>
          <p:cNvSpPr>
            <a:spLocks/>
          </p:cNvSpPr>
          <p:nvPr/>
        </p:nvSpPr>
        <p:spPr bwMode="auto">
          <a:xfrm flipH="1">
            <a:off x="7231063" y="1662113"/>
            <a:ext cx="1322387" cy="1138237"/>
          </a:xfrm>
          <a:custGeom>
            <a:avLst/>
            <a:gdLst>
              <a:gd name="T0" fmla="*/ 363 w 907"/>
              <a:gd name="T1" fmla="*/ 0 h 726"/>
              <a:gd name="T2" fmla="*/ 0 w 907"/>
              <a:gd name="T3" fmla="*/ 726 h 726"/>
              <a:gd name="T4" fmla="*/ 726 w 907"/>
              <a:gd name="T5" fmla="*/ 726 h 726"/>
              <a:gd name="T6" fmla="*/ 907 w 907"/>
              <a:gd name="T7" fmla="*/ 0 h 726"/>
              <a:gd name="T8" fmla="*/ 363 w 907"/>
              <a:gd name="T9" fmla="*/ 0 h 726"/>
              <a:gd name="T10" fmla="*/ 0 60000 65536"/>
              <a:gd name="T11" fmla="*/ 0 60000 65536"/>
              <a:gd name="T12" fmla="*/ 0 60000 65536"/>
              <a:gd name="T13" fmla="*/ 0 60000 65536"/>
              <a:gd name="T14" fmla="*/ 0 60000 65536"/>
              <a:gd name="T15" fmla="*/ 0 w 907"/>
              <a:gd name="T16" fmla="*/ 0 h 726"/>
              <a:gd name="T17" fmla="*/ 907 w 907"/>
              <a:gd name="T18" fmla="*/ 726 h 726"/>
            </a:gdLst>
            <a:ahLst/>
            <a:cxnLst>
              <a:cxn ang="T10">
                <a:pos x="T0" y="T1"/>
              </a:cxn>
              <a:cxn ang="T11">
                <a:pos x="T2" y="T3"/>
              </a:cxn>
              <a:cxn ang="T12">
                <a:pos x="T4" y="T5"/>
              </a:cxn>
              <a:cxn ang="T13">
                <a:pos x="T6" y="T7"/>
              </a:cxn>
              <a:cxn ang="T14">
                <a:pos x="T8" y="T9"/>
              </a:cxn>
            </a:cxnLst>
            <a:rect l="T15" t="T16" r="T17" b="T18"/>
            <a:pathLst>
              <a:path w="907" h="726">
                <a:moveTo>
                  <a:pt x="363" y="0"/>
                </a:moveTo>
                <a:lnTo>
                  <a:pt x="0" y="726"/>
                </a:lnTo>
                <a:lnTo>
                  <a:pt x="726" y="726"/>
                </a:lnTo>
                <a:lnTo>
                  <a:pt x="907" y="0"/>
                </a:lnTo>
                <a:lnTo>
                  <a:pt x="363" y="0"/>
                </a:lnTo>
                <a:close/>
              </a:path>
            </a:pathLst>
          </a:custGeom>
          <a:solidFill>
            <a:schemeClr val="accent4"/>
          </a:solidFill>
          <a:ln w="9525" cap="flat" cmpd="sng">
            <a:noFill/>
            <a:prstDash val="solid"/>
            <a:round/>
            <a:headEnd type="none" w="med" len="med"/>
            <a:tailEnd type="none" w="med" len="med"/>
          </a:ln>
        </p:spPr>
        <p:txBody>
          <a:bodyPr wrap="none" anchor="ctr"/>
          <a:lstStyle/>
          <a:p>
            <a:pPr algn="ctr"/>
            <a:endParaRPr lang="en-US" dirty="0"/>
          </a:p>
        </p:txBody>
      </p:sp>
      <p:sp>
        <p:nvSpPr>
          <p:cNvPr id="155" name="Text Box 27">
            <a:extLst>
              <a:ext uri="{FF2B5EF4-FFF2-40B4-BE49-F238E27FC236}">
                <a16:creationId xmlns:a16="http://schemas.microsoft.com/office/drawing/2014/main" id="{ACCE045E-B235-4D5F-8DB4-3D67C5AC7EA5}"/>
              </a:ext>
            </a:extLst>
          </p:cNvPr>
          <p:cNvSpPr txBox="1">
            <a:spLocks noChangeArrowheads="1"/>
          </p:cNvSpPr>
          <p:nvPr/>
        </p:nvSpPr>
        <p:spPr bwMode="auto">
          <a:xfrm>
            <a:off x="7358063" y="1768643"/>
            <a:ext cx="1006475" cy="925178"/>
          </a:xfrm>
          <a:prstGeom prst="rect">
            <a:avLst/>
          </a:prstGeom>
          <a:noFill/>
          <a:ln w="9525">
            <a:noFill/>
            <a:miter lim="800000"/>
            <a:headEnd/>
            <a:tailEnd/>
          </a:ln>
        </p:spPr>
        <p:txBody>
          <a:bodyPr lIns="0" tIns="0" rIns="0" bIns="0" anchor="ctr"/>
          <a:lstStyle/>
          <a:p>
            <a:pPr algn="ctr">
              <a:lnSpc>
                <a:spcPct val="90000"/>
              </a:lnSpc>
              <a:spcBef>
                <a:spcPct val="0"/>
              </a:spcBef>
              <a:buClrTx/>
              <a:buFontTx/>
              <a:buNone/>
            </a:pPr>
            <a:r>
              <a:rPr lang="de-DE" sz="1000" dirty="0">
                <a:solidFill>
                  <a:schemeClr val="bg1"/>
                </a:solidFill>
              </a:rPr>
              <a:t>Text</a:t>
            </a:r>
          </a:p>
        </p:txBody>
      </p:sp>
      <p:sp>
        <p:nvSpPr>
          <p:cNvPr id="125" name="Line 11">
            <a:extLst>
              <a:ext uri="{FF2B5EF4-FFF2-40B4-BE49-F238E27FC236}">
                <a16:creationId xmlns:a16="http://schemas.microsoft.com/office/drawing/2014/main" id="{65517892-3C84-4A46-87D1-A67D9112F652}"/>
              </a:ext>
              <a:ext uri="{C183D7F6-B498-43B3-948B-1728B52AA6E4}">
                <adec:decorative xmlns:adec="http://schemas.microsoft.com/office/drawing/2017/decorative" val="1"/>
              </a:ext>
            </a:extLst>
          </p:cNvPr>
          <p:cNvSpPr>
            <a:spLocks noChangeShapeType="1"/>
          </p:cNvSpPr>
          <p:nvPr/>
        </p:nvSpPr>
        <p:spPr bwMode="auto">
          <a:xfrm>
            <a:off x="3935413" y="2868613"/>
            <a:ext cx="4699000" cy="0"/>
          </a:xfrm>
          <a:prstGeom prst="line">
            <a:avLst/>
          </a:prstGeom>
          <a:noFill/>
          <a:ln w="9525">
            <a:solidFill>
              <a:schemeClr val="tx1"/>
            </a:solidFill>
            <a:prstDash val="sysDot"/>
            <a:round/>
            <a:headEnd/>
            <a:tailEnd/>
          </a:ln>
        </p:spPr>
        <p:txBody>
          <a:bodyPr lIns="0" tIns="0" rIns="0" bIns="0">
            <a:spAutoFit/>
          </a:bodyPr>
          <a:lstStyle/>
          <a:p>
            <a:endParaRPr lang="en-US" dirty="0"/>
          </a:p>
        </p:txBody>
      </p:sp>
      <p:sp>
        <p:nvSpPr>
          <p:cNvPr id="119" name="Text Box 7">
            <a:extLst>
              <a:ext uri="{FF2B5EF4-FFF2-40B4-BE49-F238E27FC236}">
                <a16:creationId xmlns:a16="http://schemas.microsoft.com/office/drawing/2014/main" id="{51DA14AC-9091-4CA7-ABA4-C0126DEF4031}"/>
              </a:ext>
            </a:extLst>
          </p:cNvPr>
          <p:cNvSpPr txBox="1">
            <a:spLocks noChangeArrowheads="1"/>
          </p:cNvSpPr>
          <p:nvPr/>
        </p:nvSpPr>
        <p:spPr bwMode="auto">
          <a:xfrm rot="-3896924">
            <a:off x="2891667" y="3272385"/>
            <a:ext cx="1239518" cy="326886"/>
          </a:xfrm>
          <a:prstGeom prst="rect">
            <a:avLst/>
          </a:prstGeom>
          <a:solidFill>
            <a:schemeClr val="accent2"/>
          </a:solidFill>
          <a:ln w="9525" algn="ctr">
            <a:noFill/>
            <a:miter lim="800000"/>
            <a:headEnd/>
            <a:tailEnd/>
          </a:ln>
        </p:spPr>
        <p:txBody>
          <a:bodyPr wrap="square" lIns="0" tIns="0" rIns="0" bIns="0" anchor="ctr" anchorCtr="0">
            <a:noAutofit/>
          </a:bodyPr>
          <a:lstStyle/>
          <a:p>
            <a:pPr algn="ctr">
              <a:spcBef>
                <a:spcPct val="0"/>
              </a:spcBef>
              <a:buClrTx/>
              <a:buFontTx/>
              <a:buNone/>
            </a:pPr>
            <a:r>
              <a:rPr lang="de-DE" sz="1200" b="1" dirty="0">
                <a:solidFill>
                  <a:schemeClr val="bg1"/>
                </a:solidFill>
              </a:rPr>
              <a:t>Mid term </a:t>
            </a:r>
          </a:p>
        </p:txBody>
      </p:sp>
      <p:sp>
        <p:nvSpPr>
          <p:cNvPr id="171" name="Freeform 40">
            <a:extLst>
              <a:ext uri="{FF2B5EF4-FFF2-40B4-BE49-F238E27FC236}">
                <a16:creationId xmlns:a16="http://schemas.microsoft.com/office/drawing/2014/main" id="{4EFBCA3C-500D-4DA7-83D5-5A8DB6D62D41}"/>
              </a:ext>
              <a:ext uri="{C183D7F6-B498-43B3-948B-1728B52AA6E4}">
                <adec:decorative xmlns:adec="http://schemas.microsoft.com/office/drawing/2017/decorative" val="1"/>
              </a:ext>
            </a:extLst>
          </p:cNvPr>
          <p:cNvSpPr>
            <a:spLocks/>
          </p:cNvSpPr>
          <p:nvPr/>
        </p:nvSpPr>
        <p:spPr bwMode="auto">
          <a:xfrm flipH="1">
            <a:off x="3443288" y="2940051"/>
            <a:ext cx="1582737" cy="1138238"/>
          </a:xfrm>
          <a:custGeom>
            <a:avLst/>
            <a:gdLst>
              <a:gd name="T0" fmla="*/ 763 w 1138"/>
              <a:gd name="T1" fmla="*/ 1 h 727"/>
              <a:gd name="T2" fmla="*/ 1138 w 1138"/>
              <a:gd name="T3" fmla="*/ 727 h 727"/>
              <a:gd name="T4" fmla="*/ 195 w 1138"/>
              <a:gd name="T5" fmla="*/ 727 h 727"/>
              <a:gd name="T6" fmla="*/ 0 w 1138"/>
              <a:gd name="T7" fmla="*/ 0 h 727"/>
              <a:gd name="T8" fmla="*/ 763 w 1138"/>
              <a:gd name="T9" fmla="*/ 1 h 727"/>
              <a:gd name="T10" fmla="*/ 0 60000 65536"/>
              <a:gd name="T11" fmla="*/ 0 60000 65536"/>
              <a:gd name="T12" fmla="*/ 0 60000 65536"/>
              <a:gd name="T13" fmla="*/ 0 60000 65536"/>
              <a:gd name="T14" fmla="*/ 0 60000 65536"/>
              <a:gd name="T15" fmla="*/ 0 w 1138"/>
              <a:gd name="T16" fmla="*/ 0 h 727"/>
              <a:gd name="T17" fmla="*/ 1138 w 1138"/>
              <a:gd name="T18" fmla="*/ 727 h 727"/>
            </a:gdLst>
            <a:ahLst/>
            <a:cxnLst>
              <a:cxn ang="T10">
                <a:pos x="T0" y="T1"/>
              </a:cxn>
              <a:cxn ang="T11">
                <a:pos x="T2" y="T3"/>
              </a:cxn>
              <a:cxn ang="T12">
                <a:pos x="T4" y="T5"/>
              </a:cxn>
              <a:cxn ang="T13">
                <a:pos x="T6" y="T7"/>
              </a:cxn>
              <a:cxn ang="T14">
                <a:pos x="T8" y="T9"/>
              </a:cxn>
            </a:cxnLst>
            <a:rect l="T15" t="T16" r="T17" b="T18"/>
            <a:pathLst>
              <a:path w="1138" h="727">
                <a:moveTo>
                  <a:pt x="763" y="1"/>
                </a:moveTo>
                <a:lnTo>
                  <a:pt x="1138" y="727"/>
                </a:lnTo>
                <a:lnTo>
                  <a:pt x="195" y="727"/>
                </a:lnTo>
                <a:lnTo>
                  <a:pt x="0" y="0"/>
                </a:lnTo>
                <a:lnTo>
                  <a:pt x="763" y="1"/>
                </a:lnTo>
                <a:close/>
              </a:path>
            </a:pathLst>
          </a:custGeom>
          <a:solidFill>
            <a:schemeClr val="accent2"/>
          </a:solidFill>
          <a:ln w="9525" cap="flat" cmpd="sng">
            <a:noFill/>
            <a:prstDash val="solid"/>
            <a:round/>
            <a:headEnd type="none" w="med" len="med"/>
            <a:tailEnd type="none" w="med" len="med"/>
          </a:ln>
        </p:spPr>
        <p:txBody>
          <a:bodyPr wrap="none" anchor="ctr"/>
          <a:lstStyle/>
          <a:p>
            <a:pPr algn="ctr"/>
            <a:endParaRPr lang="en-US" dirty="0"/>
          </a:p>
        </p:txBody>
      </p:sp>
      <p:sp>
        <p:nvSpPr>
          <p:cNvPr id="185" name="Text Box 47">
            <a:extLst>
              <a:ext uri="{FF2B5EF4-FFF2-40B4-BE49-F238E27FC236}">
                <a16:creationId xmlns:a16="http://schemas.microsoft.com/office/drawing/2014/main" id="{1410FC83-FEC4-4FBB-8D5C-78ADD46F8A7A}"/>
              </a:ext>
            </a:extLst>
          </p:cNvPr>
          <p:cNvSpPr txBox="1">
            <a:spLocks noChangeArrowheads="1"/>
          </p:cNvSpPr>
          <p:nvPr/>
        </p:nvSpPr>
        <p:spPr bwMode="auto">
          <a:xfrm flipH="1">
            <a:off x="3763963" y="2940051"/>
            <a:ext cx="1135062" cy="1135063"/>
          </a:xfrm>
          <a:prstGeom prst="rect">
            <a:avLst/>
          </a:prstGeom>
          <a:noFill/>
          <a:ln w="9525">
            <a:noFill/>
            <a:miter lim="800000"/>
            <a:headEnd/>
            <a:tailEnd/>
          </a:ln>
        </p:spPr>
        <p:txBody>
          <a:bodyPr lIns="0" rIns="0" anchor="ctr"/>
          <a:lstStyle/>
          <a:p>
            <a:pPr algn="ctr">
              <a:lnSpc>
                <a:spcPct val="90000"/>
              </a:lnSpc>
              <a:spcBef>
                <a:spcPct val="0"/>
              </a:spcBef>
              <a:buClrTx/>
              <a:buFontTx/>
              <a:buNone/>
            </a:pPr>
            <a:r>
              <a:rPr lang="de-DE" sz="1000" dirty="0">
                <a:solidFill>
                  <a:schemeClr val="bg1"/>
                </a:solidFill>
              </a:rPr>
              <a:t> Text</a:t>
            </a:r>
          </a:p>
        </p:txBody>
      </p:sp>
      <p:sp>
        <p:nvSpPr>
          <p:cNvPr id="173" name="Freeform 41">
            <a:extLst>
              <a:ext uri="{FF2B5EF4-FFF2-40B4-BE49-F238E27FC236}">
                <a16:creationId xmlns:a16="http://schemas.microsoft.com/office/drawing/2014/main" id="{3A00E217-089C-4CFA-985B-614D3BCF45DB}"/>
              </a:ext>
              <a:ext uri="{C183D7F6-B498-43B3-948B-1728B52AA6E4}">
                <adec:decorative xmlns:adec="http://schemas.microsoft.com/office/drawing/2017/decorative" val="1"/>
              </a:ext>
            </a:extLst>
          </p:cNvPr>
          <p:cNvSpPr>
            <a:spLocks/>
          </p:cNvSpPr>
          <p:nvPr/>
        </p:nvSpPr>
        <p:spPr bwMode="auto">
          <a:xfrm>
            <a:off x="4900613" y="2940051"/>
            <a:ext cx="1322387" cy="1138238"/>
          </a:xfrm>
          <a:custGeom>
            <a:avLst/>
            <a:gdLst>
              <a:gd name="T0" fmla="*/ 187 w 952"/>
              <a:gd name="T1" fmla="*/ 0 h 727"/>
              <a:gd name="T2" fmla="*/ 952 w 952"/>
              <a:gd name="T3" fmla="*/ 1 h 727"/>
              <a:gd name="T4" fmla="*/ 952 w 952"/>
              <a:gd name="T5" fmla="*/ 727 h 727"/>
              <a:gd name="T6" fmla="*/ 0 w 952"/>
              <a:gd name="T7" fmla="*/ 727 h 727"/>
              <a:gd name="T8" fmla="*/ 187 w 952"/>
              <a:gd name="T9" fmla="*/ 0 h 727"/>
              <a:gd name="T10" fmla="*/ 0 60000 65536"/>
              <a:gd name="T11" fmla="*/ 0 60000 65536"/>
              <a:gd name="T12" fmla="*/ 0 60000 65536"/>
              <a:gd name="T13" fmla="*/ 0 60000 65536"/>
              <a:gd name="T14" fmla="*/ 0 60000 65536"/>
              <a:gd name="T15" fmla="*/ 0 w 952"/>
              <a:gd name="T16" fmla="*/ 0 h 727"/>
              <a:gd name="T17" fmla="*/ 952 w 952"/>
              <a:gd name="T18" fmla="*/ 727 h 727"/>
            </a:gdLst>
            <a:ahLst/>
            <a:cxnLst>
              <a:cxn ang="T10">
                <a:pos x="T0" y="T1"/>
              </a:cxn>
              <a:cxn ang="T11">
                <a:pos x="T2" y="T3"/>
              </a:cxn>
              <a:cxn ang="T12">
                <a:pos x="T4" y="T5"/>
              </a:cxn>
              <a:cxn ang="T13">
                <a:pos x="T6" y="T7"/>
              </a:cxn>
              <a:cxn ang="T14">
                <a:pos x="T8" y="T9"/>
              </a:cxn>
            </a:cxnLst>
            <a:rect l="T15" t="T16" r="T17" b="T18"/>
            <a:pathLst>
              <a:path w="952" h="727">
                <a:moveTo>
                  <a:pt x="187" y="0"/>
                </a:moveTo>
                <a:lnTo>
                  <a:pt x="952" y="1"/>
                </a:lnTo>
                <a:lnTo>
                  <a:pt x="952" y="727"/>
                </a:lnTo>
                <a:lnTo>
                  <a:pt x="0" y="727"/>
                </a:lnTo>
                <a:lnTo>
                  <a:pt x="187" y="0"/>
                </a:lnTo>
                <a:close/>
              </a:path>
            </a:pathLst>
          </a:custGeom>
          <a:solidFill>
            <a:schemeClr val="accent2"/>
          </a:solidFill>
          <a:ln w="9525" cap="flat" cmpd="sng">
            <a:noFill/>
            <a:prstDash val="solid"/>
            <a:round/>
            <a:headEnd type="none" w="med" len="med"/>
            <a:tailEnd type="none" w="med" len="med"/>
          </a:ln>
        </p:spPr>
        <p:txBody>
          <a:bodyPr wrap="none" anchor="ctr"/>
          <a:lstStyle/>
          <a:p>
            <a:pPr algn="ctr"/>
            <a:endParaRPr lang="en-US" dirty="0"/>
          </a:p>
        </p:txBody>
      </p:sp>
      <p:sp>
        <p:nvSpPr>
          <p:cNvPr id="183" name="Text Box 46">
            <a:extLst>
              <a:ext uri="{FF2B5EF4-FFF2-40B4-BE49-F238E27FC236}">
                <a16:creationId xmlns:a16="http://schemas.microsoft.com/office/drawing/2014/main" id="{12109C10-F345-4308-B910-6B4799DD5BB7}"/>
              </a:ext>
            </a:extLst>
          </p:cNvPr>
          <p:cNvSpPr txBox="1">
            <a:spLocks noChangeArrowheads="1"/>
          </p:cNvSpPr>
          <p:nvPr/>
        </p:nvSpPr>
        <p:spPr bwMode="auto">
          <a:xfrm flipH="1">
            <a:off x="5026025" y="2940051"/>
            <a:ext cx="1196975" cy="1135063"/>
          </a:xfrm>
          <a:prstGeom prst="rect">
            <a:avLst/>
          </a:prstGeom>
          <a:noFill/>
          <a:ln w="9525">
            <a:noFill/>
            <a:miter lim="800000"/>
            <a:headEnd/>
            <a:tailEnd/>
          </a:ln>
        </p:spPr>
        <p:txBody>
          <a:bodyPr lIns="0" rIns="0" anchor="ctr"/>
          <a:lstStyle/>
          <a:p>
            <a:pPr algn="ctr">
              <a:lnSpc>
                <a:spcPct val="90000"/>
              </a:lnSpc>
              <a:spcBef>
                <a:spcPct val="0"/>
              </a:spcBef>
              <a:buClrTx/>
              <a:buFontTx/>
              <a:buNone/>
            </a:pPr>
            <a:r>
              <a:rPr lang="de-DE" sz="1000" dirty="0">
                <a:solidFill>
                  <a:schemeClr val="bg1"/>
                </a:solidFill>
              </a:rPr>
              <a:t> Text</a:t>
            </a:r>
          </a:p>
        </p:txBody>
      </p:sp>
      <p:sp>
        <p:nvSpPr>
          <p:cNvPr id="139" name="Freeform 19">
            <a:extLst>
              <a:ext uri="{FF2B5EF4-FFF2-40B4-BE49-F238E27FC236}">
                <a16:creationId xmlns:a16="http://schemas.microsoft.com/office/drawing/2014/main" id="{BDD8B49A-6B78-4884-9651-2042A6788E83}"/>
              </a:ext>
              <a:ext uri="{C183D7F6-B498-43B3-948B-1728B52AA6E4}">
                <adec:decorative xmlns:adec="http://schemas.microsoft.com/office/drawing/2017/decorative" val="1"/>
              </a:ext>
            </a:extLst>
          </p:cNvPr>
          <p:cNvSpPr>
            <a:spLocks/>
          </p:cNvSpPr>
          <p:nvPr/>
        </p:nvSpPr>
        <p:spPr bwMode="auto">
          <a:xfrm flipH="1">
            <a:off x="6348413" y="2941638"/>
            <a:ext cx="1322387" cy="1138237"/>
          </a:xfrm>
          <a:custGeom>
            <a:avLst/>
            <a:gdLst>
              <a:gd name="T0" fmla="*/ 187 w 952"/>
              <a:gd name="T1" fmla="*/ 0 h 727"/>
              <a:gd name="T2" fmla="*/ 952 w 952"/>
              <a:gd name="T3" fmla="*/ 1 h 727"/>
              <a:gd name="T4" fmla="*/ 952 w 952"/>
              <a:gd name="T5" fmla="*/ 727 h 727"/>
              <a:gd name="T6" fmla="*/ 0 w 952"/>
              <a:gd name="T7" fmla="*/ 727 h 727"/>
              <a:gd name="T8" fmla="*/ 187 w 952"/>
              <a:gd name="T9" fmla="*/ 0 h 727"/>
              <a:gd name="T10" fmla="*/ 0 60000 65536"/>
              <a:gd name="T11" fmla="*/ 0 60000 65536"/>
              <a:gd name="T12" fmla="*/ 0 60000 65536"/>
              <a:gd name="T13" fmla="*/ 0 60000 65536"/>
              <a:gd name="T14" fmla="*/ 0 60000 65536"/>
              <a:gd name="T15" fmla="*/ 0 w 952"/>
              <a:gd name="T16" fmla="*/ 0 h 727"/>
              <a:gd name="T17" fmla="*/ 952 w 952"/>
              <a:gd name="T18" fmla="*/ 727 h 727"/>
            </a:gdLst>
            <a:ahLst/>
            <a:cxnLst>
              <a:cxn ang="T10">
                <a:pos x="T0" y="T1"/>
              </a:cxn>
              <a:cxn ang="T11">
                <a:pos x="T2" y="T3"/>
              </a:cxn>
              <a:cxn ang="T12">
                <a:pos x="T4" y="T5"/>
              </a:cxn>
              <a:cxn ang="T13">
                <a:pos x="T6" y="T7"/>
              </a:cxn>
              <a:cxn ang="T14">
                <a:pos x="T8" y="T9"/>
              </a:cxn>
            </a:cxnLst>
            <a:rect l="T15" t="T16" r="T17" b="T18"/>
            <a:pathLst>
              <a:path w="952" h="727">
                <a:moveTo>
                  <a:pt x="187" y="0"/>
                </a:moveTo>
                <a:lnTo>
                  <a:pt x="952" y="1"/>
                </a:lnTo>
                <a:lnTo>
                  <a:pt x="952" y="727"/>
                </a:lnTo>
                <a:lnTo>
                  <a:pt x="0" y="727"/>
                </a:lnTo>
                <a:lnTo>
                  <a:pt x="187" y="0"/>
                </a:lnTo>
                <a:close/>
              </a:path>
            </a:pathLst>
          </a:custGeom>
          <a:solidFill>
            <a:schemeClr val="accent2"/>
          </a:solidFill>
          <a:ln w="9525" cap="flat" cmpd="sng">
            <a:noFill/>
            <a:prstDash val="solid"/>
            <a:round/>
            <a:headEnd type="none" w="med" len="med"/>
            <a:tailEnd type="none" w="med" len="med"/>
          </a:ln>
        </p:spPr>
        <p:txBody>
          <a:bodyPr wrap="none" anchor="ctr"/>
          <a:lstStyle/>
          <a:p>
            <a:pPr algn="ctr"/>
            <a:endParaRPr lang="en-US" dirty="0"/>
          </a:p>
        </p:txBody>
      </p:sp>
      <p:sp>
        <p:nvSpPr>
          <p:cNvPr id="149" name="Text Box 24">
            <a:extLst>
              <a:ext uri="{FF2B5EF4-FFF2-40B4-BE49-F238E27FC236}">
                <a16:creationId xmlns:a16="http://schemas.microsoft.com/office/drawing/2014/main" id="{E8FCDA29-1877-44DC-BD4E-0DF809FF76D0}"/>
              </a:ext>
            </a:extLst>
          </p:cNvPr>
          <p:cNvSpPr txBox="1">
            <a:spLocks noChangeArrowheads="1"/>
          </p:cNvSpPr>
          <p:nvPr/>
        </p:nvSpPr>
        <p:spPr bwMode="auto">
          <a:xfrm>
            <a:off x="6348413" y="2941638"/>
            <a:ext cx="1196975" cy="1135062"/>
          </a:xfrm>
          <a:prstGeom prst="rect">
            <a:avLst/>
          </a:prstGeom>
          <a:noFill/>
          <a:ln w="9525">
            <a:noFill/>
            <a:miter lim="800000"/>
            <a:headEnd/>
            <a:tailEnd/>
          </a:ln>
        </p:spPr>
        <p:txBody>
          <a:bodyPr lIns="0" rIns="0" anchor="ctr"/>
          <a:lstStyle>
            <a:defPPr>
              <a:defRPr lang="en-US"/>
            </a:defPPr>
            <a:lvl1pPr algn="ctr">
              <a:lnSpc>
                <a:spcPct val="90000"/>
              </a:lnSpc>
              <a:spcBef>
                <a:spcPct val="0"/>
              </a:spcBef>
              <a:buClrTx/>
              <a:buFontTx/>
              <a:buNone/>
              <a:defRPr sz="1000">
                <a:solidFill>
                  <a:schemeClr val="bg1"/>
                </a:solidFill>
              </a:defRPr>
            </a:lvl1pPr>
          </a:lstStyle>
          <a:p>
            <a:r>
              <a:rPr lang="de-DE" dirty="0"/>
              <a:t> Text</a:t>
            </a:r>
          </a:p>
        </p:txBody>
      </p:sp>
      <p:sp>
        <p:nvSpPr>
          <p:cNvPr id="137" name="Freeform 18">
            <a:extLst>
              <a:ext uri="{FF2B5EF4-FFF2-40B4-BE49-F238E27FC236}">
                <a16:creationId xmlns:a16="http://schemas.microsoft.com/office/drawing/2014/main" id="{D5D3F7CD-0D3F-411B-AFB9-662AE112D1A6}"/>
              </a:ext>
              <a:ext uri="{C183D7F6-B498-43B3-948B-1728B52AA6E4}">
                <adec:decorative xmlns:adec="http://schemas.microsoft.com/office/drawing/2017/decorative" val="1"/>
              </a:ext>
            </a:extLst>
          </p:cNvPr>
          <p:cNvSpPr>
            <a:spLocks/>
          </p:cNvSpPr>
          <p:nvPr/>
        </p:nvSpPr>
        <p:spPr bwMode="auto">
          <a:xfrm>
            <a:off x="7545388" y="2941638"/>
            <a:ext cx="1582737" cy="1138237"/>
          </a:xfrm>
          <a:custGeom>
            <a:avLst/>
            <a:gdLst>
              <a:gd name="T0" fmla="*/ 763 w 1138"/>
              <a:gd name="T1" fmla="*/ 1 h 727"/>
              <a:gd name="T2" fmla="*/ 1138 w 1138"/>
              <a:gd name="T3" fmla="*/ 727 h 727"/>
              <a:gd name="T4" fmla="*/ 195 w 1138"/>
              <a:gd name="T5" fmla="*/ 727 h 727"/>
              <a:gd name="T6" fmla="*/ 0 w 1138"/>
              <a:gd name="T7" fmla="*/ 0 h 727"/>
              <a:gd name="T8" fmla="*/ 763 w 1138"/>
              <a:gd name="T9" fmla="*/ 1 h 727"/>
              <a:gd name="T10" fmla="*/ 0 60000 65536"/>
              <a:gd name="T11" fmla="*/ 0 60000 65536"/>
              <a:gd name="T12" fmla="*/ 0 60000 65536"/>
              <a:gd name="T13" fmla="*/ 0 60000 65536"/>
              <a:gd name="T14" fmla="*/ 0 60000 65536"/>
              <a:gd name="T15" fmla="*/ 0 w 1138"/>
              <a:gd name="T16" fmla="*/ 0 h 727"/>
              <a:gd name="T17" fmla="*/ 1138 w 1138"/>
              <a:gd name="T18" fmla="*/ 727 h 727"/>
            </a:gdLst>
            <a:ahLst/>
            <a:cxnLst>
              <a:cxn ang="T10">
                <a:pos x="T0" y="T1"/>
              </a:cxn>
              <a:cxn ang="T11">
                <a:pos x="T2" y="T3"/>
              </a:cxn>
              <a:cxn ang="T12">
                <a:pos x="T4" y="T5"/>
              </a:cxn>
              <a:cxn ang="T13">
                <a:pos x="T6" y="T7"/>
              </a:cxn>
              <a:cxn ang="T14">
                <a:pos x="T8" y="T9"/>
              </a:cxn>
            </a:cxnLst>
            <a:rect l="T15" t="T16" r="T17" b="T18"/>
            <a:pathLst>
              <a:path w="1138" h="727">
                <a:moveTo>
                  <a:pt x="763" y="1"/>
                </a:moveTo>
                <a:lnTo>
                  <a:pt x="1138" y="727"/>
                </a:lnTo>
                <a:lnTo>
                  <a:pt x="195" y="727"/>
                </a:lnTo>
                <a:lnTo>
                  <a:pt x="0" y="0"/>
                </a:lnTo>
                <a:lnTo>
                  <a:pt x="763" y="1"/>
                </a:lnTo>
                <a:close/>
              </a:path>
            </a:pathLst>
          </a:custGeom>
          <a:solidFill>
            <a:schemeClr val="accent2"/>
          </a:solidFill>
          <a:ln w="9525" cap="flat" cmpd="sng">
            <a:noFill/>
            <a:prstDash val="solid"/>
            <a:round/>
            <a:headEnd type="none" w="med" len="med"/>
            <a:tailEnd type="none" w="med" len="med"/>
          </a:ln>
        </p:spPr>
        <p:txBody>
          <a:bodyPr wrap="none" anchor="ctr"/>
          <a:lstStyle/>
          <a:p>
            <a:pPr algn="ctr"/>
            <a:endParaRPr lang="en-US" dirty="0"/>
          </a:p>
        </p:txBody>
      </p:sp>
      <p:sp>
        <p:nvSpPr>
          <p:cNvPr id="151" name="Text Box 25">
            <a:extLst>
              <a:ext uri="{FF2B5EF4-FFF2-40B4-BE49-F238E27FC236}">
                <a16:creationId xmlns:a16="http://schemas.microsoft.com/office/drawing/2014/main" id="{EA5DEE05-9A54-4072-8249-B17E38B8C702}"/>
              </a:ext>
            </a:extLst>
          </p:cNvPr>
          <p:cNvSpPr txBox="1">
            <a:spLocks noChangeArrowheads="1"/>
          </p:cNvSpPr>
          <p:nvPr/>
        </p:nvSpPr>
        <p:spPr bwMode="auto">
          <a:xfrm>
            <a:off x="7672388" y="2941638"/>
            <a:ext cx="1135062" cy="1135062"/>
          </a:xfrm>
          <a:prstGeom prst="rect">
            <a:avLst/>
          </a:prstGeom>
          <a:noFill/>
          <a:ln w="9525">
            <a:noFill/>
            <a:miter lim="800000"/>
            <a:headEnd/>
            <a:tailEnd/>
          </a:ln>
        </p:spPr>
        <p:txBody>
          <a:bodyPr lIns="0" rIns="0" anchor="ctr"/>
          <a:lstStyle/>
          <a:p>
            <a:pPr algn="ctr">
              <a:lnSpc>
                <a:spcPct val="90000"/>
              </a:lnSpc>
              <a:spcBef>
                <a:spcPct val="0"/>
              </a:spcBef>
              <a:buClrTx/>
              <a:buFontTx/>
              <a:buNone/>
            </a:pPr>
            <a:r>
              <a:rPr lang="de-DE" sz="1000" dirty="0">
                <a:solidFill>
                  <a:schemeClr val="bg1"/>
                </a:solidFill>
              </a:rPr>
              <a:t> Text</a:t>
            </a:r>
          </a:p>
        </p:txBody>
      </p:sp>
      <p:sp>
        <p:nvSpPr>
          <p:cNvPr id="123" name="Line 10">
            <a:extLst>
              <a:ext uri="{FF2B5EF4-FFF2-40B4-BE49-F238E27FC236}">
                <a16:creationId xmlns:a16="http://schemas.microsoft.com/office/drawing/2014/main" id="{19D4020F-231D-4A44-8A4A-E63E264476ED}"/>
              </a:ext>
              <a:ext uri="{C183D7F6-B498-43B3-948B-1728B52AA6E4}">
                <adec:decorative xmlns:adec="http://schemas.microsoft.com/office/drawing/2017/decorative" val="1"/>
              </a:ext>
            </a:extLst>
          </p:cNvPr>
          <p:cNvSpPr>
            <a:spLocks noChangeShapeType="1"/>
          </p:cNvSpPr>
          <p:nvPr/>
        </p:nvSpPr>
        <p:spPr bwMode="auto">
          <a:xfrm flipV="1">
            <a:off x="3352800" y="4148138"/>
            <a:ext cx="5862638" cy="0"/>
          </a:xfrm>
          <a:prstGeom prst="line">
            <a:avLst/>
          </a:prstGeom>
          <a:noFill/>
          <a:ln w="9525">
            <a:solidFill>
              <a:schemeClr val="tx1"/>
            </a:solidFill>
            <a:prstDash val="sysDot"/>
            <a:round/>
            <a:headEnd/>
            <a:tailEnd/>
          </a:ln>
        </p:spPr>
        <p:txBody>
          <a:bodyPr lIns="0" tIns="0" rIns="0" bIns="0">
            <a:spAutoFit/>
          </a:bodyPr>
          <a:lstStyle/>
          <a:p>
            <a:endParaRPr lang="en-US" dirty="0"/>
          </a:p>
        </p:txBody>
      </p:sp>
      <p:sp>
        <p:nvSpPr>
          <p:cNvPr id="117" name="Text Box 6">
            <a:extLst>
              <a:ext uri="{FF2B5EF4-FFF2-40B4-BE49-F238E27FC236}">
                <a16:creationId xmlns:a16="http://schemas.microsoft.com/office/drawing/2014/main" id="{DDFB4220-0816-4BE5-837C-C61D36897B69}"/>
              </a:ext>
            </a:extLst>
          </p:cNvPr>
          <p:cNvSpPr txBox="1">
            <a:spLocks noChangeArrowheads="1"/>
          </p:cNvSpPr>
          <p:nvPr/>
        </p:nvSpPr>
        <p:spPr bwMode="auto">
          <a:xfrm rot="17741707">
            <a:off x="2290832" y="4538347"/>
            <a:ext cx="1256771" cy="351801"/>
          </a:xfrm>
          <a:prstGeom prst="rect">
            <a:avLst/>
          </a:prstGeom>
          <a:solidFill>
            <a:schemeClr val="accent3"/>
          </a:solidFill>
          <a:ln w="9525">
            <a:noFill/>
            <a:miter lim="800000"/>
            <a:headEnd/>
            <a:tailEnd/>
          </a:ln>
        </p:spPr>
        <p:txBody>
          <a:bodyPr wrap="square" lIns="0" tIns="0" rIns="0" bIns="0" anchor="ctr" anchorCtr="0">
            <a:noAutofit/>
          </a:bodyPr>
          <a:lstStyle/>
          <a:p>
            <a:pPr algn="ctr">
              <a:spcBef>
                <a:spcPct val="0"/>
              </a:spcBef>
              <a:buClrTx/>
              <a:buFontTx/>
              <a:buNone/>
            </a:pPr>
            <a:r>
              <a:rPr lang="de-DE" sz="1200" b="1" dirty="0">
                <a:solidFill>
                  <a:schemeClr val="bg1"/>
                </a:solidFill>
              </a:rPr>
              <a:t>Short term</a:t>
            </a:r>
          </a:p>
        </p:txBody>
      </p:sp>
      <p:sp>
        <p:nvSpPr>
          <p:cNvPr id="167" name="Freeform 38">
            <a:extLst>
              <a:ext uri="{FF2B5EF4-FFF2-40B4-BE49-F238E27FC236}">
                <a16:creationId xmlns:a16="http://schemas.microsoft.com/office/drawing/2014/main" id="{1A21815F-EE0F-4967-93E3-D4166B5AFF33}"/>
              </a:ext>
              <a:ext uri="{C183D7F6-B498-43B3-948B-1728B52AA6E4}">
                <adec:decorative xmlns:adec="http://schemas.microsoft.com/office/drawing/2017/decorative" val="1"/>
              </a:ext>
            </a:extLst>
          </p:cNvPr>
          <p:cNvSpPr>
            <a:spLocks/>
          </p:cNvSpPr>
          <p:nvPr/>
        </p:nvSpPr>
        <p:spPr bwMode="auto">
          <a:xfrm>
            <a:off x="2865438" y="4216401"/>
            <a:ext cx="1876425" cy="1138238"/>
          </a:xfrm>
          <a:custGeom>
            <a:avLst/>
            <a:gdLst>
              <a:gd name="T0" fmla="*/ 380 w 1350"/>
              <a:gd name="T1" fmla="*/ 0 h 726"/>
              <a:gd name="T2" fmla="*/ 0 w 1350"/>
              <a:gd name="T3" fmla="*/ 726 h 726"/>
              <a:gd name="T4" fmla="*/ 1160 w 1350"/>
              <a:gd name="T5" fmla="*/ 726 h 726"/>
              <a:gd name="T6" fmla="*/ 1350 w 1350"/>
              <a:gd name="T7" fmla="*/ 0 h 726"/>
              <a:gd name="T8" fmla="*/ 380 w 1350"/>
              <a:gd name="T9" fmla="*/ 0 h 726"/>
              <a:gd name="T10" fmla="*/ 0 60000 65536"/>
              <a:gd name="T11" fmla="*/ 0 60000 65536"/>
              <a:gd name="T12" fmla="*/ 0 60000 65536"/>
              <a:gd name="T13" fmla="*/ 0 60000 65536"/>
              <a:gd name="T14" fmla="*/ 0 60000 65536"/>
              <a:gd name="T15" fmla="*/ 0 w 1350"/>
              <a:gd name="T16" fmla="*/ 0 h 726"/>
              <a:gd name="T17" fmla="*/ 1350 w 1350"/>
              <a:gd name="T18" fmla="*/ 726 h 726"/>
            </a:gdLst>
            <a:ahLst/>
            <a:cxnLst>
              <a:cxn ang="T10">
                <a:pos x="T0" y="T1"/>
              </a:cxn>
              <a:cxn ang="T11">
                <a:pos x="T2" y="T3"/>
              </a:cxn>
              <a:cxn ang="T12">
                <a:pos x="T4" y="T5"/>
              </a:cxn>
              <a:cxn ang="T13">
                <a:pos x="T6" y="T7"/>
              </a:cxn>
              <a:cxn ang="T14">
                <a:pos x="T8" y="T9"/>
              </a:cxn>
            </a:cxnLst>
            <a:rect l="T15" t="T16" r="T17" b="T18"/>
            <a:pathLst>
              <a:path w="1350" h="726">
                <a:moveTo>
                  <a:pt x="380" y="0"/>
                </a:moveTo>
                <a:lnTo>
                  <a:pt x="0" y="726"/>
                </a:lnTo>
                <a:lnTo>
                  <a:pt x="1160" y="726"/>
                </a:lnTo>
                <a:lnTo>
                  <a:pt x="1350" y="0"/>
                </a:lnTo>
                <a:lnTo>
                  <a:pt x="380" y="0"/>
                </a:lnTo>
                <a:close/>
              </a:path>
            </a:pathLst>
          </a:custGeom>
          <a:solidFill>
            <a:schemeClr val="accent3"/>
          </a:solidFill>
          <a:ln w="9525" cap="flat" cmpd="sng">
            <a:noFill/>
            <a:prstDash val="solid"/>
            <a:round/>
            <a:headEnd type="none" w="med" len="med"/>
            <a:tailEnd type="none" w="med" len="med"/>
          </a:ln>
        </p:spPr>
        <p:txBody>
          <a:bodyPr wrap="none" anchor="ctr"/>
          <a:lstStyle/>
          <a:p>
            <a:pPr algn="ctr"/>
            <a:endParaRPr lang="en-US" dirty="0"/>
          </a:p>
        </p:txBody>
      </p:sp>
      <p:sp>
        <p:nvSpPr>
          <p:cNvPr id="181" name="Text Box 45">
            <a:extLst>
              <a:ext uri="{FF2B5EF4-FFF2-40B4-BE49-F238E27FC236}">
                <a16:creationId xmlns:a16="http://schemas.microsoft.com/office/drawing/2014/main" id="{2685583A-0F88-4FD0-BA67-EE695BA24416}"/>
              </a:ext>
            </a:extLst>
          </p:cNvPr>
          <p:cNvSpPr txBox="1">
            <a:spLocks noChangeArrowheads="1"/>
          </p:cNvSpPr>
          <p:nvPr/>
        </p:nvSpPr>
        <p:spPr bwMode="auto">
          <a:xfrm flipH="1">
            <a:off x="3228975" y="4216401"/>
            <a:ext cx="1385887" cy="1138238"/>
          </a:xfrm>
          <a:prstGeom prst="rect">
            <a:avLst/>
          </a:prstGeom>
          <a:noFill/>
          <a:ln w="9525">
            <a:noFill/>
            <a:miter lim="800000"/>
            <a:headEnd/>
            <a:tailEnd/>
          </a:ln>
        </p:spPr>
        <p:txBody>
          <a:bodyPr lIns="0" rIns="0" anchor="ctr"/>
          <a:lstStyle/>
          <a:p>
            <a:pPr algn="ctr">
              <a:lnSpc>
                <a:spcPct val="90000"/>
              </a:lnSpc>
              <a:spcBef>
                <a:spcPct val="0"/>
              </a:spcBef>
              <a:buClrTx/>
              <a:buFontTx/>
              <a:buNone/>
            </a:pPr>
            <a:r>
              <a:rPr lang="de-DE" sz="1000" dirty="0">
                <a:solidFill>
                  <a:schemeClr val="bg1"/>
                </a:solidFill>
              </a:rPr>
              <a:t> Text</a:t>
            </a:r>
          </a:p>
        </p:txBody>
      </p:sp>
      <p:sp>
        <p:nvSpPr>
          <p:cNvPr id="169" name="Freeform 39">
            <a:extLst>
              <a:ext uri="{FF2B5EF4-FFF2-40B4-BE49-F238E27FC236}">
                <a16:creationId xmlns:a16="http://schemas.microsoft.com/office/drawing/2014/main" id="{90A4C2AB-ADA7-4ED6-9325-637B1C77EA22}"/>
              </a:ext>
              <a:ext uri="{C183D7F6-B498-43B3-948B-1728B52AA6E4}">
                <adec:decorative xmlns:adec="http://schemas.microsoft.com/office/drawing/2017/decorative" val="1"/>
              </a:ext>
            </a:extLst>
          </p:cNvPr>
          <p:cNvSpPr>
            <a:spLocks/>
          </p:cNvSpPr>
          <p:nvPr/>
        </p:nvSpPr>
        <p:spPr bwMode="auto">
          <a:xfrm>
            <a:off x="4616450" y="4216401"/>
            <a:ext cx="1606550" cy="1138238"/>
          </a:xfrm>
          <a:custGeom>
            <a:avLst/>
            <a:gdLst>
              <a:gd name="T0" fmla="*/ 186 w 1156"/>
              <a:gd name="T1" fmla="*/ 0 h 726"/>
              <a:gd name="T2" fmla="*/ 1156 w 1156"/>
              <a:gd name="T3" fmla="*/ 0 h 726"/>
              <a:gd name="T4" fmla="*/ 1156 w 1156"/>
              <a:gd name="T5" fmla="*/ 726 h 726"/>
              <a:gd name="T6" fmla="*/ 0 w 1156"/>
              <a:gd name="T7" fmla="*/ 726 h 726"/>
              <a:gd name="T8" fmla="*/ 186 w 1156"/>
              <a:gd name="T9" fmla="*/ 0 h 726"/>
              <a:gd name="T10" fmla="*/ 0 60000 65536"/>
              <a:gd name="T11" fmla="*/ 0 60000 65536"/>
              <a:gd name="T12" fmla="*/ 0 60000 65536"/>
              <a:gd name="T13" fmla="*/ 0 60000 65536"/>
              <a:gd name="T14" fmla="*/ 0 60000 65536"/>
              <a:gd name="T15" fmla="*/ 0 w 1156"/>
              <a:gd name="T16" fmla="*/ 0 h 726"/>
              <a:gd name="T17" fmla="*/ 1156 w 1156"/>
              <a:gd name="T18" fmla="*/ 726 h 726"/>
            </a:gdLst>
            <a:ahLst/>
            <a:cxnLst>
              <a:cxn ang="T10">
                <a:pos x="T0" y="T1"/>
              </a:cxn>
              <a:cxn ang="T11">
                <a:pos x="T2" y="T3"/>
              </a:cxn>
              <a:cxn ang="T12">
                <a:pos x="T4" y="T5"/>
              </a:cxn>
              <a:cxn ang="T13">
                <a:pos x="T6" y="T7"/>
              </a:cxn>
              <a:cxn ang="T14">
                <a:pos x="T8" y="T9"/>
              </a:cxn>
            </a:cxnLst>
            <a:rect l="T15" t="T16" r="T17" b="T18"/>
            <a:pathLst>
              <a:path w="1156" h="726">
                <a:moveTo>
                  <a:pt x="186" y="0"/>
                </a:moveTo>
                <a:lnTo>
                  <a:pt x="1156" y="0"/>
                </a:lnTo>
                <a:lnTo>
                  <a:pt x="1156" y="726"/>
                </a:lnTo>
                <a:lnTo>
                  <a:pt x="0" y="726"/>
                </a:lnTo>
                <a:lnTo>
                  <a:pt x="186" y="0"/>
                </a:lnTo>
                <a:close/>
              </a:path>
            </a:pathLst>
          </a:custGeom>
          <a:solidFill>
            <a:schemeClr val="accent3"/>
          </a:solidFill>
          <a:ln w="9525" cap="flat" cmpd="sng">
            <a:noFill/>
            <a:prstDash val="solid"/>
            <a:round/>
            <a:headEnd type="none" w="med" len="med"/>
            <a:tailEnd type="none" w="med" len="med"/>
          </a:ln>
        </p:spPr>
        <p:txBody>
          <a:bodyPr wrap="none" anchor="ctr"/>
          <a:lstStyle/>
          <a:p>
            <a:pPr algn="ctr"/>
            <a:endParaRPr lang="en-US" dirty="0"/>
          </a:p>
        </p:txBody>
      </p:sp>
      <p:sp>
        <p:nvSpPr>
          <p:cNvPr id="179" name="Text Box 44">
            <a:extLst>
              <a:ext uri="{FF2B5EF4-FFF2-40B4-BE49-F238E27FC236}">
                <a16:creationId xmlns:a16="http://schemas.microsoft.com/office/drawing/2014/main" id="{F9BFA711-5BAF-44A8-BC5E-A0D19A435D14}"/>
              </a:ext>
            </a:extLst>
          </p:cNvPr>
          <p:cNvSpPr txBox="1">
            <a:spLocks noChangeArrowheads="1"/>
          </p:cNvSpPr>
          <p:nvPr/>
        </p:nvSpPr>
        <p:spPr bwMode="auto">
          <a:xfrm flipH="1">
            <a:off x="4775200" y="4216401"/>
            <a:ext cx="1447800" cy="1138238"/>
          </a:xfrm>
          <a:prstGeom prst="rect">
            <a:avLst/>
          </a:prstGeom>
          <a:noFill/>
          <a:ln w="9525">
            <a:noFill/>
            <a:miter lim="800000"/>
            <a:headEnd/>
            <a:tailEnd/>
          </a:ln>
        </p:spPr>
        <p:txBody>
          <a:bodyPr lIns="0" rIns="0" anchor="ctr"/>
          <a:lstStyle/>
          <a:p>
            <a:pPr algn="ctr">
              <a:lnSpc>
                <a:spcPct val="90000"/>
              </a:lnSpc>
              <a:spcBef>
                <a:spcPct val="0"/>
              </a:spcBef>
              <a:buClrTx/>
              <a:buFontTx/>
              <a:buNone/>
            </a:pPr>
            <a:r>
              <a:rPr lang="de-DE" sz="1000" dirty="0">
                <a:solidFill>
                  <a:schemeClr val="bg1"/>
                </a:solidFill>
              </a:rPr>
              <a:t> Text</a:t>
            </a:r>
          </a:p>
        </p:txBody>
      </p:sp>
      <p:sp>
        <p:nvSpPr>
          <p:cNvPr id="135" name="Freeform 17">
            <a:extLst>
              <a:ext uri="{FF2B5EF4-FFF2-40B4-BE49-F238E27FC236}">
                <a16:creationId xmlns:a16="http://schemas.microsoft.com/office/drawing/2014/main" id="{56DF3597-AA59-48F3-9306-0D5A74A558E0}"/>
              </a:ext>
              <a:ext uri="{C183D7F6-B498-43B3-948B-1728B52AA6E4}">
                <adec:decorative xmlns:adec="http://schemas.microsoft.com/office/drawing/2017/decorative" val="1"/>
              </a:ext>
            </a:extLst>
          </p:cNvPr>
          <p:cNvSpPr>
            <a:spLocks/>
          </p:cNvSpPr>
          <p:nvPr/>
        </p:nvSpPr>
        <p:spPr bwMode="auto">
          <a:xfrm flipH="1">
            <a:off x="6348413" y="4217988"/>
            <a:ext cx="1606550" cy="1138237"/>
          </a:xfrm>
          <a:custGeom>
            <a:avLst/>
            <a:gdLst>
              <a:gd name="T0" fmla="*/ 186 w 1156"/>
              <a:gd name="T1" fmla="*/ 0 h 726"/>
              <a:gd name="T2" fmla="*/ 1156 w 1156"/>
              <a:gd name="T3" fmla="*/ 0 h 726"/>
              <a:gd name="T4" fmla="*/ 1156 w 1156"/>
              <a:gd name="T5" fmla="*/ 726 h 726"/>
              <a:gd name="T6" fmla="*/ 0 w 1156"/>
              <a:gd name="T7" fmla="*/ 726 h 726"/>
              <a:gd name="T8" fmla="*/ 186 w 1156"/>
              <a:gd name="T9" fmla="*/ 0 h 726"/>
              <a:gd name="T10" fmla="*/ 0 60000 65536"/>
              <a:gd name="T11" fmla="*/ 0 60000 65536"/>
              <a:gd name="T12" fmla="*/ 0 60000 65536"/>
              <a:gd name="T13" fmla="*/ 0 60000 65536"/>
              <a:gd name="T14" fmla="*/ 0 60000 65536"/>
              <a:gd name="T15" fmla="*/ 0 w 1156"/>
              <a:gd name="T16" fmla="*/ 0 h 726"/>
              <a:gd name="T17" fmla="*/ 1156 w 1156"/>
              <a:gd name="T18" fmla="*/ 726 h 726"/>
            </a:gdLst>
            <a:ahLst/>
            <a:cxnLst>
              <a:cxn ang="T10">
                <a:pos x="T0" y="T1"/>
              </a:cxn>
              <a:cxn ang="T11">
                <a:pos x="T2" y="T3"/>
              </a:cxn>
              <a:cxn ang="T12">
                <a:pos x="T4" y="T5"/>
              </a:cxn>
              <a:cxn ang="T13">
                <a:pos x="T6" y="T7"/>
              </a:cxn>
              <a:cxn ang="T14">
                <a:pos x="T8" y="T9"/>
              </a:cxn>
            </a:cxnLst>
            <a:rect l="T15" t="T16" r="T17" b="T18"/>
            <a:pathLst>
              <a:path w="1156" h="726">
                <a:moveTo>
                  <a:pt x="186" y="0"/>
                </a:moveTo>
                <a:lnTo>
                  <a:pt x="1156" y="0"/>
                </a:lnTo>
                <a:lnTo>
                  <a:pt x="1156" y="726"/>
                </a:lnTo>
                <a:lnTo>
                  <a:pt x="0" y="726"/>
                </a:lnTo>
                <a:lnTo>
                  <a:pt x="186" y="0"/>
                </a:lnTo>
                <a:close/>
              </a:path>
            </a:pathLst>
          </a:custGeom>
          <a:solidFill>
            <a:schemeClr val="accent3"/>
          </a:solidFill>
          <a:ln w="9525" cap="flat" cmpd="sng">
            <a:noFill/>
            <a:prstDash val="solid"/>
            <a:round/>
            <a:headEnd type="none" w="med" len="med"/>
            <a:tailEnd type="none" w="med" len="med"/>
          </a:ln>
        </p:spPr>
        <p:txBody>
          <a:bodyPr wrap="none" anchor="ctr"/>
          <a:lstStyle/>
          <a:p>
            <a:pPr algn="ctr"/>
            <a:endParaRPr lang="en-US" dirty="0"/>
          </a:p>
        </p:txBody>
      </p:sp>
      <p:sp>
        <p:nvSpPr>
          <p:cNvPr id="145" name="Text Box 22">
            <a:extLst>
              <a:ext uri="{FF2B5EF4-FFF2-40B4-BE49-F238E27FC236}">
                <a16:creationId xmlns:a16="http://schemas.microsoft.com/office/drawing/2014/main" id="{BD365895-42F4-41CF-9661-0A119505F92F}"/>
              </a:ext>
            </a:extLst>
          </p:cNvPr>
          <p:cNvSpPr txBox="1">
            <a:spLocks noChangeArrowheads="1"/>
          </p:cNvSpPr>
          <p:nvPr/>
        </p:nvSpPr>
        <p:spPr bwMode="auto">
          <a:xfrm>
            <a:off x="6348413" y="4217988"/>
            <a:ext cx="1447800" cy="1138237"/>
          </a:xfrm>
          <a:prstGeom prst="rect">
            <a:avLst/>
          </a:prstGeom>
          <a:noFill/>
          <a:ln w="9525">
            <a:noFill/>
            <a:miter lim="800000"/>
            <a:headEnd/>
            <a:tailEnd/>
          </a:ln>
        </p:spPr>
        <p:txBody>
          <a:bodyPr lIns="0" rIns="0" anchor="ctr"/>
          <a:lstStyle/>
          <a:p>
            <a:pPr algn="ctr">
              <a:lnSpc>
                <a:spcPct val="90000"/>
              </a:lnSpc>
              <a:spcBef>
                <a:spcPct val="0"/>
              </a:spcBef>
              <a:buClrTx/>
              <a:buFontTx/>
              <a:buNone/>
            </a:pPr>
            <a:r>
              <a:rPr lang="de-DE" sz="1000" dirty="0">
                <a:solidFill>
                  <a:schemeClr val="bg1"/>
                </a:solidFill>
              </a:rPr>
              <a:t> Text</a:t>
            </a:r>
          </a:p>
        </p:txBody>
      </p:sp>
      <p:sp>
        <p:nvSpPr>
          <p:cNvPr id="133" name="Freeform 16">
            <a:extLst>
              <a:ext uri="{FF2B5EF4-FFF2-40B4-BE49-F238E27FC236}">
                <a16:creationId xmlns:a16="http://schemas.microsoft.com/office/drawing/2014/main" id="{75657B13-3080-4A14-B606-D299F3052646}"/>
              </a:ext>
              <a:ext uri="{C183D7F6-B498-43B3-948B-1728B52AA6E4}">
                <adec:decorative xmlns:adec="http://schemas.microsoft.com/office/drawing/2017/decorative" val="1"/>
              </a:ext>
            </a:extLst>
          </p:cNvPr>
          <p:cNvSpPr>
            <a:spLocks/>
          </p:cNvSpPr>
          <p:nvPr/>
        </p:nvSpPr>
        <p:spPr bwMode="auto">
          <a:xfrm flipH="1">
            <a:off x="7829550" y="4217988"/>
            <a:ext cx="1876425" cy="1138237"/>
          </a:xfrm>
          <a:custGeom>
            <a:avLst/>
            <a:gdLst>
              <a:gd name="T0" fmla="*/ 380 w 1350"/>
              <a:gd name="T1" fmla="*/ 0 h 726"/>
              <a:gd name="T2" fmla="*/ 0 w 1350"/>
              <a:gd name="T3" fmla="*/ 726 h 726"/>
              <a:gd name="T4" fmla="*/ 1160 w 1350"/>
              <a:gd name="T5" fmla="*/ 726 h 726"/>
              <a:gd name="T6" fmla="*/ 1350 w 1350"/>
              <a:gd name="T7" fmla="*/ 0 h 726"/>
              <a:gd name="T8" fmla="*/ 380 w 1350"/>
              <a:gd name="T9" fmla="*/ 0 h 726"/>
              <a:gd name="T10" fmla="*/ 0 60000 65536"/>
              <a:gd name="T11" fmla="*/ 0 60000 65536"/>
              <a:gd name="T12" fmla="*/ 0 60000 65536"/>
              <a:gd name="T13" fmla="*/ 0 60000 65536"/>
              <a:gd name="T14" fmla="*/ 0 60000 65536"/>
              <a:gd name="T15" fmla="*/ 0 w 1350"/>
              <a:gd name="T16" fmla="*/ 0 h 726"/>
              <a:gd name="T17" fmla="*/ 1350 w 1350"/>
              <a:gd name="T18" fmla="*/ 726 h 726"/>
            </a:gdLst>
            <a:ahLst/>
            <a:cxnLst>
              <a:cxn ang="T10">
                <a:pos x="T0" y="T1"/>
              </a:cxn>
              <a:cxn ang="T11">
                <a:pos x="T2" y="T3"/>
              </a:cxn>
              <a:cxn ang="T12">
                <a:pos x="T4" y="T5"/>
              </a:cxn>
              <a:cxn ang="T13">
                <a:pos x="T6" y="T7"/>
              </a:cxn>
              <a:cxn ang="T14">
                <a:pos x="T8" y="T9"/>
              </a:cxn>
            </a:cxnLst>
            <a:rect l="T15" t="T16" r="T17" b="T18"/>
            <a:pathLst>
              <a:path w="1350" h="726">
                <a:moveTo>
                  <a:pt x="380" y="0"/>
                </a:moveTo>
                <a:lnTo>
                  <a:pt x="0" y="726"/>
                </a:lnTo>
                <a:lnTo>
                  <a:pt x="1160" y="726"/>
                </a:lnTo>
                <a:lnTo>
                  <a:pt x="1350" y="0"/>
                </a:lnTo>
                <a:lnTo>
                  <a:pt x="380" y="0"/>
                </a:lnTo>
                <a:close/>
              </a:path>
            </a:pathLst>
          </a:custGeom>
          <a:solidFill>
            <a:schemeClr val="accent3"/>
          </a:solidFill>
          <a:ln w="9525" cap="flat" cmpd="sng">
            <a:noFill/>
            <a:prstDash val="solid"/>
            <a:round/>
            <a:headEnd type="none" w="med" len="med"/>
            <a:tailEnd type="none" w="med" len="med"/>
          </a:ln>
        </p:spPr>
        <p:txBody>
          <a:bodyPr wrap="none" anchor="ctr"/>
          <a:lstStyle/>
          <a:p>
            <a:pPr algn="ctr"/>
            <a:endParaRPr lang="en-US" dirty="0"/>
          </a:p>
        </p:txBody>
      </p:sp>
      <p:sp>
        <p:nvSpPr>
          <p:cNvPr id="147" name="Text Box 23">
            <a:extLst>
              <a:ext uri="{FF2B5EF4-FFF2-40B4-BE49-F238E27FC236}">
                <a16:creationId xmlns:a16="http://schemas.microsoft.com/office/drawing/2014/main" id="{875F85EC-8A38-44D3-A618-A7612B0D1128}"/>
              </a:ext>
            </a:extLst>
          </p:cNvPr>
          <p:cNvSpPr txBox="1">
            <a:spLocks noChangeArrowheads="1"/>
          </p:cNvSpPr>
          <p:nvPr/>
        </p:nvSpPr>
        <p:spPr bwMode="auto">
          <a:xfrm>
            <a:off x="7956550" y="4217988"/>
            <a:ext cx="1385887" cy="1138237"/>
          </a:xfrm>
          <a:prstGeom prst="rect">
            <a:avLst/>
          </a:prstGeom>
          <a:noFill/>
          <a:ln w="9525">
            <a:noFill/>
            <a:miter lim="800000"/>
            <a:headEnd/>
            <a:tailEnd/>
          </a:ln>
        </p:spPr>
        <p:txBody>
          <a:bodyPr lIns="0" rIns="0" anchor="ctr"/>
          <a:lstStyle/>
          <a:p>
            <a:pPr algn="ctr">
              <a:lnSpc>
                <a:spcPct val="90000"/>
              </a:lnSpc>
              <a:spcBef>
                <a:spcPct val="0"/>
              </a:spcBef>
              <a:buClrTx/>
              <a:buFontTx/>
              <a:buNone/>
            </a:pPr>
            <a:r>
              <a:rPr lang="de-DE" sz="1000" dirty="0">
                <a:solidFill>
                  <a:schemeClr val="bg1"/>
                </a:solidFill>
              </a:rPr>
              <a:t> Text</a:t>
            </a:r>
          </a:p>
        </p:txBody>
      </p:sp>
      <p:sp>
        <p:nvSpPr>
          <p:cNvPr id="165" name="Rectangle 33">
            <a:extLst>
              <a:ext uri="{FF2B5EF4-FFF2-40B4-BE49-F238E27FC236}">
                <a16:creationId xmlns:a16="http://schemas.microsoft.com/office/drawing/2014/main" id="{962879B9-2826-4B32-8930-9A0183F8AEEE}"/>
              </a:ext>
            </a:extLst>
          </p:cNvPr>
          <p:cNvSpPr>
            <a:spLocks noChangeArrowheads="1"/>
          </p:cNvSpPr>
          <p:nvPr/>
        </p:nvSpPr>
        <p:spPr bwMode="auto">
          <a:xfrm>
            <a:off x="2865437" y="5438407"/>
            <a:ext cx="6840537" cy="408356"/>
          </a:xfrm>
          <a:prstGeom prst="rect">
            <a:avLst/>
          </a:prstGeom>
          <a:solidFill>
            <a:schemeClr val="accent5">
              <a:lumMod val="75000"/>
            </a:schemeClr>
          </a:solidFill>
          <a:ln w="9525" algn="ctr">
            <a:noFill/>
            <a:miter lim="800000"/>
            <a:headEnd/>
            <a:tailEnd/>
          </a:ln>
        </p:spPr>
        <p:txBody>
          <a:bodyPr wrap="none" lIns="0" tIns="0" rIns="0" bIns="0" anchor="ctr"/>
          <a:lstStyle/>
          <a:p>
            <a:pPr algn="ctr" defTabSz="762000" eaLnBrk="0" hangingPunct="0">
              <a:spcBef>
                <a:spcPct val="30000"/>
              </a:spcBef>
              <a:buSzPct val="115000"/>
            </a:pPr>
            <a:r>
              <a:rPr lang="de-DE" sz="1200" b="1" dirty="0">
                <a:solidFill>
                  <a:schemeClr val="bg1"/>
                </a:solidFill>
                <a:latin typeface="+mj-lt"/>
              </a:rPr>
              <a:t>Text</a:t>
            </a:r>
          </a:p>
        </p:txBody>
      </p:sp>
      <p:sp>
        <p:nvSpPr>
          <p:cNvPr id="157" name="Text Box 28">
            <a:extLst>
              <a:ext uri="{FF2B5EF4-FFF2-40B4-BE49-F238E27FC236}">
                <a16:creationId xmlns:a16="http://schemas.microsoft.com/office/drawing/2014/main" id="{87BF5427-DDEF-45AF-A858-B61915FED70A}"/>
              </a:ext>
            </a:extLst>
          </p:cNvPr>
          <p:cNvSpPr txBox="1">
            <a:spLocks noChangeArrowheads="1"/>
          </p:cNvSpPr>
          <p:nvPr/>
        </p:nvSpPr>
        <p:spPr bwMode="auto">
          <a:xfrm>
            <a:off x="2805906" y="5926893"/>
            <a:ext cx="1525588" cy="184666"/>
          </a:xfrm>
          <a:prstGeom prst="rect">
            <a:avLst/>
          </a:prstGeom>
          <a:noFill/>
          <a:ln w="9525">
            <a:noFill/>
            <a:miter lim="800000"/>
            <a:headEnd/>
            <a:tailEnd/>
          </a:ln>
        </p:spPr>
        <p:txBody>
          <a:bodyPr lIns="0" tIns="0" rIns="0" bIns="0">
            <a:spAutoFit/>
          </a:bodyPr>
          <a:lstStyle/>
          <a:p>
            <a:pPr algn="ctr">
              <a:spcBef>
                <a:spcPct val="0"/>
              </a:spcBef>
              <a:buClrTx/>
              <a:buFontTx/>
              <a:buNone/>
            </a:pPr>
            <a:r>
              <a:rPr lang="de-DE" sz="1200" b="1" dirty="0"/>
              <a:t>Text</a:t>
            </a:r>
          </a:p>
        </p:txBody>
      </p:sp>
      <p:sp>
        <p:nvSpPr>
          <p:cNvPr id="159" name="Text Box 29">
            <a:extLst>
              <a:ext uri="{FF2B5EF4-FFF2-40B4-BE49-F238E27FC236}">
                <a16:creationId xmlns:a16="http://schemas.microsoft.com/office/drawing/2014/main" id="{0CAE58C6-F235-4B64-9A06-69D3EBD8FD42}"/>
              </a:ext>
            </a:extLst>
          </p:cNvPr>
          <p:cNvSpPr txBox="1">
            <a:spLocks noChangeArrowheads="1"/>
          </p:cNvSpPr>
          <p:nvPr/>
        </p:nvSpPr>
        <p:spPr bwMode="auto">
          <a:xfrm>
            <a:off x="4697414" y="5918200"/>
            <a:ext cx="1271587" cy="184666"/>
          </a:xfrm>
          <a:prstGeom prst="rect">
            <a:avLst/>
          </a:prstGeom>
          <a:noFill/>
          <a:ln w="9525">
            <a:noFill/>
            <a:miter lim="800000"/>
            <a:headEnd/>
            <a:tailEnd/>
          </a:ln>
        </p:spPr>
        <p:txBody>
          <a:bodyPr lIns="0" tIns="0" rIns="0" bIns="0">
            <a:spAutoFit/>
          </a:bodyPr>
          <a:lstStyle/>
          <a:p>
            <a:pPr algn="ctr">
              <a:spcBef>
                <a:spcPct val="0"/>
              </a:spcBef>
              <a:buClrTx/>
              <a:buFontTx/>
              <a:buNone/>
            </a:pPr>
            <a:r>
              <a:rPr lang="de-DE" sz="1200" b="1" dirty="0"/>
              <a:t>Text</a:t>
            </a:r>
          </a:p>
        </p:txBody>
      </p:sp>
      <p:sp>
        <p:nvSpPr>
          <p:cNvPr id="161" name="Text Box 30">
            <a:extLst>
              <a:ext uri="{FF2B5EF4-FFF2-40B4-BE49-F238E27FC236}">
                <a16:creationId xmlns:a16="http://schemas.microsoft.com/office/drawing/2014/main" id="{FA28937B-297E-45E8-A583-E065B0BA6562}"/>
              </a:ext>
            </a:extLst>
          </p:cNvPr>
          <p:cNvSpPr txBox="1">
            <a:spLocks noChangeArrowheads="1"/>
          </p:cNvSpPr>
          <p:nvPr/>
        </p:nvSpPr>
        <p:spPr bwMode="auto">
          <a:xfrm>
            <a:off x="6477000" y="5918200"/>
            <a:ext cx="1271588" cy="184666"/>
          </a:xfrm>
          <a:prstGeom prst="rect">
            <a:avLst/>
          </a:prstGeom>
          <a:noFill/>
          <a:ln w="9525">
            <a:noFill/>
            <a:miter lim="800000"/>
            <a:headEnd/>
            <a:tailEnd/>
          </a:ln>
        </p:spPr>
        <p:txBody>
          <a:bodyPr lIns="0" tIns="0" rIns="0" bIns="0">
            <a:spAutoFit/>
          </a:bodyPr>
          <a:lstStyle/>
          <a:p>
            <a:pPr algn="ctr">
              <a:spcBef>
                <a:spcPct val="0"/>
              </a:spcBef>
              <a:buClrTx/>
              <a:buFontTx/>
              <a:buNone/>
            </a:pPr>
            <a:r>
              <a:rPr lang="de-DE" sz="1200" b="1" dirty="0"/>
              <a:t>Text</a:t>
            </a:r>
          </a:p>
        </p:txBody>
      </p:sp>
      <p:sp>
        <p:nvSpPr>
          <p:cNvPr id="163" name="Text Box 31">
            <a:extLst>
              <a:ext uri="{FF2B5EF4-FFF2-40B4-BE49-F238E27FC236}">
                <a16:creationId xmlns:a16="http://schemas.microsoft.com/office/drawing/2014/main" id="{169D3007-4922-45B5-ACBA-AC4D8211E701}"/>
              </a:ext>
            </a:extLst>
          </p:cNvPr>
          <p:cNvSpPr txBox="1">
            <a:spLocks noChangeArrowheads="1"/>
          </p:cNvSpPr>
          <p:nvPr/>
        </p:nvSpPr>
        <p:spPr bwMode="auto">
          <a:xfrm>
            <a:off x="8320089" y="5918200"/>
            <a:ext cx="1463675" cy="184666"/>
          </a:xfrm>
          <a:prstGeom prst="rect">
            <a:avLst/>
          </a:prstGeom>
          <a:noFill/>
          <a:ln w="9525">
            <a:noFill/>
            <a:miter lim="800000"/>
            <a:headEnd/>
            <a:tailEnd/>
          </a:ln>
        </p:spPr>
        <p:txBody>
          <a:bodyPr lIns="0" tIns="0" rIns="0" bIns="0">
            <a:spAutoFit/>
          </a:bodyPr>
          <a:lstStyle/>
          <a:p>
            <a:pPr algn="ctr">
              <a:spcBef>
                <a:spcPct val="0"/>
              </a:spcBef>
              <a:buClrTx/>
              <a:buFontTx/>
              <a:buNone/>
            </a:pPr>
            <a:r>
              <a:rPr lang="de-DE" sz="1200" b="1" dirty="0"/>
              <a:t>Text</a:t>
            </a:r>
          </a:p>
        </p:txBody>
      </p:sp>
      <p:sp>
        <p:nvSpPr>
          <p:cNvPr id="4" name="Footer Placeholder 3">
            <a:extLst>
              <a:ext uri="{FF2B5EF4-FFF2-40B4-BE49-F238E27FC236}">
                <a16:creationId xmlns:a16="http://schemas.microsoft.com/office/drawing/2014/main" id="{BB2DE7C1-19DE-40CC-A51E-91777FADEB15}"/>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EF6652CB-9C78-46F3-AE7C-978261A42E1F}"/>
              </a:ext>
            </a:extLst>
          </p:cNvPr>
          <p:cNvSpPr>
            <a:spLocks noGrp="1"/>
          </p:cNvSpPr>
          <p:nvPr>
            <p:ph type="sldNum" sz="quarter" idx="10"/>
          </p:nvPr>
        </p:nvSpPr>
        <p:spPr/>
        <p:txBody>
          <a:bodyPr/>
          <a:lstStyle/>
          <a:p>
            <a:fld id="{1F90F471-3972-4120-B8B3-0237DE626C35}" type="slidenum">
              <a:rPr lang="en-US" smtClean="0"/>
              <a:pPr/>
              <a:t>345</a:t>
            </a:fld>
            <a:endParaRPr lang="en-US" dirty="0"/>
          </a:p>
        </p:txBody>
      </p:sp>
    </p:spTree>
    <p:extLst>
      <p:ext uri="{BB962C8B-B14F-4D97-AF65-F5344CB8AC3E}">
        <p14:creationId xmlns:p14="http://schemas.microsoft.com/office/powerpoint/2010/main" val="927870690"/>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Factors – Hexagonal 1</a:t>
            </a:r>
          </a:p>
        </p:txBody>
      </p:sp>
      <p:grpSp>
        <p:nvGrpSpPr>
          <p:cNvPr id="3" name="Group 2" descr="Hexagonal">
            <a:extLst>
              <a:ext uri="{FF2B5EF4-FFF2-40B4-BE49-F238E27FC236}">
                <a16:creationId xmlns:a16="http://schemas.microsoft.com/office/drawing/2014/main" id="{668A38FA-AFF1-4C9F-9851-A07D91559911}"/>
              </a:ext>
            </a:extLst>
          </p:cNvPr>
          <p:cNvGrpSpPr/>
          <p:nvPr/>
        </p:nvGrpSpPr>
        <p:grpSpPr>
          <a:xfrm>
            <a:off x="3799742" y="1628775"/>
            <a:ext cx="4653117" cy="4247984"/>
            <a:chOff x="3799742" y="1628775"/>
            <a:chExt cx="4653117" cy="4247984"/>
          </a:xfrm>
        </p:grpSpPr>
        <p:sp>
          <p:nvSpPr>
            <p:cNvPr id="5" name="Freeform 2">
              <a:extLst>
                <a:ext uri="{FF2B5EF4-FFF2-40B4-BE49-F238E27FC236}">
                  <a16:creationId xmlns:a16="http://schemas.microsoft.com/office/drawing/2014/main" id="{33E612A5-ABE2-462C-9426-38D6607C0AEE}"/>
                </a:ext>
                <a:ext uri="{C183D7F6-B498-43B3-948B-1728B52AA6E4}">
                  <adec:decorative xmlns:adec="http://schemas.microsoft.com/office/drawing/2017/decorative" val="1"/>
                </a:ext>
              </a:extLst>
            </p:cNvPr>
            <p:cNvSpPr>
              <a:spLocks/>
            </p:cNvSpPr>
            <p:nvPr/>
          </p:nvSpPr>
          <p:spPr bwMode="auto">
            <a:xfrm flipH="1">
              <a:off x="6618851" y="1683388"/>
              <a:ext cx="1834008" cy="1992626"/>
            </a:xfrm>
            <a:custGeom>
              <a:avLst/>
              <a:gdLst/>
              <a:ahLst/>
              <a:cxnLst>
                <a:cxn ang="0">
                  <a:pos x="694" y="0"/>
                </a:cxn>
                <a:cxn ang="0">
                  <a:pos x="0" y="830"/>
                </a:cxn>
                <a:cxn ang="0">
                  <a:pos x="897" y="830"/>
                </a:cxn>
                <a:cxn ang="0">
                  <a:pos x="1140" y="531"/>
                </a:cxn>
                <a:cxn ang="0">
                  <a:pos x="694" y="0"/>
                </a:cxn>
              </a:cxnLst>
              <a:rect l="0" t="0" r="r" b="b"/>
              <a:pathLst>
                <a:path w="1141" h="831">
                  <a:moveTo>
                    <a:pt x="694" y="0"/>
                  </a:moveTo>
                  <a:lnTo>
                    <a:pt x="0" y="830"/>
                  </a:lnTo>
                  <a:lnTo>
                    <a:pt x="897" y="830"/>
                  </a:lnTo>
                  <a:lnTo>
                    <a:pt x="1140" y="531"/>
                  </a:lnTo>
                  <a:lnTo>
                    <a:pt x="694" y="0"/>
                  </a:lnTo>
                </a:path>
              </a:pathLst>
            </a:custGeom>
            <a:pattFill prst="dkUpDiag">
              <a:fgClr>
                <a:srgbClr val="96968C">
                  <a:lumMod val="40000"/>
                  <a:lumOff val="60000"/>
                </a:srgbClr>
              </a:fgClr>
              <a:bgClr>
                <a:srgbClr val="FFFFFF"/>
              </a:bgClr>
            </a:pattFill>
            <a:ln w="6350" cap="rnd" cmpd="sng">
              <a:noFill/>
              <a:prstDash val="solid"/>
              <a:round/>
              <a:headEnd/>
              <a:tailEnd/>
            </a:ln>
            <a:effectLst/>
          </p:spPr>
          <p:txBody>
            <a:bodyPr lIns="72000" tIns="72000" rIns="72000" b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15" name="Rectangle 13">
              <a:extLst>
                <a:ext uri="{FF2B5EF4-FFF2-40B4-BE49-F238E27FC236}">
                  <a16:creationId xmlns:a16="http://schemas.microsoft.com/office/drawing/2014/main" id="{9FFEC005-7ED6-4813-B445-19765B4E6F6F}"/>
                </a:ext>
              </a:extLst>
            </p:cNvPr>
            <p:cNvSpPr>
              <a:spLocks noChangeArrowheads="1"/>
            </p:cNvSpPr>
            <p:nvPr/>
          </p:nvSpPr>
          <p:spPr bwMode="auto">
            <a:xfrm>
              <a:off x="7289249" y="2809591"/>
              <a:ext cx="493212" cy="436902"/>
            </a:xfrm>
            <a:prstGeom prst="rect">
              <a:avLst/>
            </a:prstGeom>
            <a:noFill/>
            <a:ln w="6350">
              <a:noFill/>
              <a:miter lim="800000"/>
              <a:headEnd/>
              <a:tailEnd/>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ea typeface="+mn-ea"/>
                  <a:cs typeface="+mn-cs"/>
                </a:rPr>
                <a:t>Text</a:t>
              </a:r>
            </a:p>
          </p:txBody>
        </p:sp>
        <p:sp>
          <p:nvSpPr>
            <p:cNvPr id="6" name="Freeform 3">
              <a:extLst>
                <a:ext uri="{FF2B5EF4-FFF2-40B4-BE49-F238E27FC236}">
                  <a16:creationId xmlns:a16="http://schemas.microsoft.com/office/drawing/2014/main" id="{178C3691-B42C-4E43-8355-75FE0FB704F1}"/>
                </a:ext>
                <a:ext uri="{C183D7F6-B498-43B3-948B-1728B52AA6E4}">
                  <adec:decorative xmlns:adec="http://schemas.microsoft.com/office/drawing/2017/decorative" val="1"/>
                </a:ext>
              </a:extLst>
            </p:cNvPr>
            <p:cNvSpPr>
              <a:spLocks/>
            </p:cNvSpPr>
            <p:nvPr/>
          </p:nvSpPr>
          <p:spPr bwMode="auto">
            <a:xfrm flipH="1" flipV="1">
              <a:off x="6618851" y="3828044"/>
              <a:ext cx="1834008" cy="1991150"/>
            </a:xfrm>
            <a:custGeom>
              <a:avLst/>
              <a:gdLst/>
              <a:ahLst/>
              <a:cxnLst>
                <a:cxn ang="0">
                  <a:pos x="694" y="0"/>
                </a:cxn>
                <a:cxn ang="0">
                  <a:pos x="0" y="830"/>
                </a:cxn>
                <a:cxn ang="0">
                  <a:pos x="897" y="830"/>
                </a:cxn>
                <a:cxn ang="0">
                  <a:pos x="1140" y="531"/>
                </a:cxn>
                <a:cxn ang="0">
                  <a:pos x="694" y="0"/>
                </a:cxn>
              </a:cxnLst>
              <a:rect l="0" t="0" r="r" b="b"/>
              <a:pathLst>
                <a:path w="1141" h="831">
                  <a:moveTo>
                    <a:pt x="694" y="0"/>
                  </a:moveTo>
                  <a:lnTo>
                    <a:pt x="0" y="830"/>
                  </a:lnTo>
                  <a:lnTo>
                    <a:pt x="897" y="830"/>
                  </a:lnTo>
                  <a:lnTo>
                    <a:pt x="1140" y="531"/>
                  </a:lnTo>
                  <a:lnTo>
                    <a:pt x="694" y="0"/>
                  </a:lnTo>
                </a:path>
              </a:pathLst>
            </a:custGeom>
            <a:pattFill prst="dkUpDiag">
              <a:fgClr>
                <a:srgbClr val="96968C">
                  <a:lumMod val="40000"/>
                  <a:lumOff val="60000"/>
                </a:srgbClr>
              </a:fgClr>
              <a:bgClr>
                <a:srgbClr val="FFFFFF"/>
              </a:bgClr>
            </a:pattFill>
            <a:ln w="6350" cap="rnd" cmpd="sng">
              <a:noFill/>
              <a:prstDash val="solid"/>
              <a:round/>
              <a:headEnd/>
              <a:tailEnd/>
            </a:ln>
            <a:effectLst/>
          </p:spPr>
          <p:txBody>
            <a:bodyPr lIns="72000" tIns="72000" rIns="72000" b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17" name="Rectangle 15">
              <a:extLst>
                <a:ext uri="{FF2B5EF4-FFF2-40B4-BE49-F238E27FC236}">
                  <a16:creationId xmlns:a16="http://schemas.microsoft.com/office/drawing/2014/main" id="{DC4CA8E9-0A86-443D-847D-D83A297CBB8C}"/>
                </a:ext>
              </a:extLst>
            </p:cNvPr>
            <p:cNvSpPr>
              <a:spLocks noChangeArrowheads="1"/>
            </p:cNvSpPr>
            <p:nvPr/>
          </p:nvSpPr>
          <p:spPr bwMode="auto">
            <a:xfrm>
              <a:off x="7289249" y="4183765"/>
              <a:ext cx="493212" cy="436902"/>
            </a:xfrm>
            <a:prstGeom prst="rect">
              <a:avLst/>
            </a:prstGeom>
            <a:noFill/>
            <a:ln w="6350">
              <a:noFill/>
              <a:miter lim="800000"/>
              <a:headEnd/>
              <a:tailEnd/>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000000"/>
                  </a:solidFill>
                  <a:effectLst/>
                  <a:uLnTx/>
                  <a:uFillTx/>
                  <a:ea typeface="+mn-ea"/>
                  <a:cs typeface="+mn-cs"/>
                </a:rPr>
                <a:t>Text</a:t>
              </a:r>
            </a:p>
          </p:txBody>
        </p:sp>
        <p:sp>
          <p:nvSpPr>
            <p:cNvPr id="10" name="Freeform 8">
              <a:extLst>
                <a:ext uri="{FF2B5EF4-FFF2-40B4-BE49-F238E27FC236}">
                  <a16:creationId xmlns:a16="http://schemas.microsoft.com/office/drawing/2014/main" id="{1A2B1898-9D88-4991-8B2A-BB9733C078AC}"/>
                </a:ext>
                <a:ext uri="{C183D7F6-B498-43B3-948B-1728B52AA6E4}">
                  <adec:decorative xmlns:adec="http://schemas.microsoft.com/office/drawing/2017/decorative" val="1"/>
                </a:ext>
              </a:extLst>
            </p:cNvPr>
            <p:cNvSpPr>
              <a:spLocks/>
            </p:cNvSpPr>
            <p:nvPr/>
          </p:nvSpPr>
          <p:spPr bwMode="auto">
            <a:xfrm>
              <a:off x="4996409" y="4601478"/>
              <a:ext cx="2258461" cy="1275281"/>
            </a:xfrm>
            <a:custGeom>
              <a:avLst/>
              <a:gdLst/>
              <a:ahLst/>
              <a:cxnLst>
                <a:cxn ang="0">
                  <a:pos x="0" y="531"/>
                </a:cxn>
                <a:cxn ang="0">
                  <a:pos x="441" y="0"/>
                </a:cxn>
                <a:cxn ang="0">
                  <a:pos x="958" y="0"/>
                </a:cxn>
                <a:cxn ang="0">
                  <a:pos x="1405" y="531"/>
                </a:cxn>
                <a:cxn ang="0">
                  <a:pos x="0" y="531"/>
                </a:cxn>
              </a:cxnLst>
              <a:rect l="0" t="0" r="r" b="b"/>
              <a:pathLst>
                <a:path w="1406" h="532">
                  <a:moveTo>
                    <a:pt x="0" y="531"/>
                  </a:moveTo>
                  <a:lnTo>
                    <a:pt x="441" y="0"/>
                  </a:lnTo>
                  <a:lnTo>
                    <a:pt x="958" y="0"/>
                  </a:lnTo>
                  <a:lnTo>
                    <a:pt x="1405" y="531"/>
                  </a:lnTo>
                  <a:lnTo>
                    <a:pt x="0" y="531"/>
                  </a:lnTo>
                </a:path>
              </a:pathLst>
            </a:custGeom>
            <a:pattFill prst="dkUpDiag">
              <a:fgClr>
                <a:srgbClr val="96968C">
                  <a:lumMod val="40000"/>
                  <a:lumOff val="60000"/>
                </a:srgbClr>
              </a:fgClr>
              <a:bgClr>
                <a:srgbClr val="FFFFFF"/>
              </a:bgClr>
            </a:pattFill>
            <a:ln w="6350" cap="rnd" cmpd="sng">
              <a:noFill/>
              <a:prstDash val="solid"/>
              <a:round/>
              <a:headEnd/>
              <a:tailEnd/>
            </a:ln>
            <a:effectLst/>
          </p:spPr>
          <p:txBody>
            <a:bodyPr lIns="72000" tIns="72000" rIns="72000" b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13" name="Rectangle 11">
              <a:extLst>
                <a:ext uri="{FF2B5EF4-FFF2-40B4-BE49-F238E27FC236}">
                  <a16:creationId xmlns:a16="http://schemas.microsoft.com/office/drawing/2014/main" id="{85D2DD6C-1C79-44F7-821E-127943AE6495}"/>
                </a:ext>
              </a:extLst>
            </p:cNvPr>
            <p:cNvSpPr>
              <a:spLocks noChangeArrowheads="1"/>
            </p:cNvSpPr>
            <p:nvPr/>
          </p:nvSpPr>
          <p:spPr bwMode="auto">
            <a:xfrm>
              <a:off x="5866472" y="4915870"/>
              <a:ext cx="490567" cy="436902"/>
            </a:xfrm>
            <a:prstGeom prst="rect">
              <a:avLst/>
            </a:prstGeom>
            <a:noFill/>
            <a:ln w="6350">
              <a:noFill/>
              <a:miter lim="800000"/>
              <a:headEnd/>
              <a:tailEnd/>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000000"/>
                  </a:solidFill>
                  <a:effectLst/>
                  <a:uLnTx/>
                  <a:uFillTx/>
                  <a:ea typeface="+mn-ea"/>
                  <a:cs typeface="+mn-cs"/>
                </a:rPr>
                <a:t>Text</a:t>
              </a:r>
            </a:p>
          </p:txBody>
        </p:sp>
        <p:sp>
          <p:nvSpPr>
            <p:cNvPr id="7" name="Freeform 4">
              <a:extLst>
                <a:ext uri="{FF2B5EF4-FFF2-40B4-BE49-F238E27FC236}">
                  <a16:creationId xmlns:a16="http://schemas.microsoft.com/office/drawing/2014/main" id="{1708F7D9-BBD6-4CE8-837E-676C986CDDF5}"/>
                </a:ext>
                <a:ext uri="{C183D7F6-B498-43B3-948B-1728B52AA6E4}">
                  <adec:decorative xmlns:adec="http://schemas.microsoft.com/office/drawing/2017/decorative" val="1"/>
                </a:ext>
              </a:extLst>
            </p:cNvPr>
            <p:cNvSpPr>
              <a:spLocks/>
            </p:cNvSpPr>
            <p:nvPr/>
          </p:nvSpPr>
          <p:spPr bwMode="auto">
            <a:xfrm flipV="1">
              <a:off x="3799742" y="3828044"/>
              <a:ext cx="1832685" cy="1991150"/>
            </a:xfrm>
            <a:custGeom>
              <a:avLst/>
              <a:gdLst/>
              <a:ahLst/>
              <a:cxnLst>
                <a:cxn ang="0">
                  <a:pos x="694" y="0"/>
                </a:cxn>
                <a:cxn ang="0">
                  <a:pos x="0" y="830"/>
                </a:cxn>
                <a:cxn ang="0">
                  <a:pos x="897" y="830"/>
                </a:cxn>
                <a:cxn ang="0">
                  <a:pos x="1140" y="531"/>
                </a:cxn>
                <a:cxn ang="0">
                  <a:pos x="694" y="0"/>
                </a:cxn>
              </a:cxnLst>
              <a:rect l="0" t="0" r="r" b="b"/>
              <a:pathLst>
                <a:path w="1141" h="831">
                  <a:moveTo>
                    <a:pt x="694" y="0"/>
                  </a:moveTo>
                  <a:lnTo>
                    <a:pt x="0" y="830"/>
                  </a:lnTo>
                  <a:lnTo>
                    <a:pt x="897" y="830"/>
                  </a:lnTo>
                  <a:lnTo>
                    <a:pt x="1140" y="531"/>
                  </a:lnTo>
                  <a:lnTo>
                    <a:pt x="694" y="0"/>
                  </a:lnTo>
                </a:path>
              </a:pathLst>
            </a:custGeom>
            <a:pattFill prst="dkUpDiag">
              <a:fgClr>
                <a:srgbClr val="96968C">
                  <a:lumMod val="40000"/>
                  <a:lumOff val="60000"/>
                </a:srgbClr>
              </a:fgClr>
              <a:bgClr>
                <a:srgbClr val="FFFFFF"/>
              </a:bgClr>
            </a:pattFill>
            <a:ln w="6350" cap="rnd" cmpd="sng">
              <a:noFill/>
              <a:prstDash val="solid"/>
              <a:round/>
              <a:headEnd/>
              <a:tailEnd/>
            </a:ln>
            <a:effectLst/>
          </p:spPr>
          <p:txBody>
            <a:bodyPr lIns="72000" tIns="72000" rIns="72000" b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16" name="Rectangle 14">
              <a:extLst>
                <a:ext uri="{FF2B5EF4-FFF2-40B4-BE49-F238E27FC236}">
                  <a16:creationId xmlns:a16="http://schemas.microsoft.com/office/drawing/2014/main" id="{743722C9-CCE1-4072-BE81-5F006C6DDDA0}"/>
                </a:ext>
              </a:extLst>
            </p:cNvPr>
            <p:cNvSpPr>
              <a:spLocks noChangeArrowheads="1"/>
            </p:cNvSpPr>
            <p:nvPr/>
          </p:nvSpPr>
          <p:spPr bwMode="auto">
            <a:xfrm>
              <a:off x="4470140" y="4183765"/>
              <a:ext cx="493212" cy="436902"/>
            </a:xfrm>
            <a:prstGeom prst="rect">
              <a:avLst/>
            </a:prstGeom>
            <a:noFill/>
            <a:ln w="6350">
              <a:noFill/>
              <a:miter lim="800000"/>
              <a:headEnd/>
              <a:tailEnd/>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000000"/>
                  </a:solidFill>
                  <a:effectLst/>
                  <a:uLnTx/>
                  <a:uFillTx/>
                  <a:ea typeface="+mn-ea"/>
                  <a:cs typeface="+mn-cs"/>
                </a:rPr>
                <a:t>Text</a:t>
              </a:r>
            </a:p>
          </p:txBody>
        </p:sp>
        <p:sp>
          <p:nvSpPr>
            <p:cNvPr id="11" name="Freeform 9">
              <a:extLst>
                <a:ext uri="{FF2B5EF4-FFF2-40B4-BE49-F238E27FC236}">
                  <a16:creationId xmlns:a16="http://schemas.microsoft.com/office/drawing/2014/main" id="{7E8B61CD-4436-4BC1-A420-04DDC3169AC9}"/>
                </a:ext>
                <a:ext uri="{C183D7F6-B498-43B3-948B-1728B52AA6E4}">
                  <adec:decorative xmlns:adec="http://schemas.microsoft.com/office/drawing/2017/decorative" val="1"/>
                </a:ext>
              </a:extLst>
            </p:cNvPr>
            <p:cNvSpPr>
              <a:spLocks/>
            </p:cNvSpPr>
            <p:nvPr/>
          </p:nvSpPr>
          <p:spPr bwMode="auto">
            <a:xfrm>
              <a:off x="3799742" y="1683388"/>
              <a:ext cx="1832685" cy="1992626"/>
            </a:xfrm>
            <a:custGeom>
              <a:avLst/>
              <a:gdLst/>
              <a:ahLst/>
              <a:cxnLst>
                <a:cxn ang="0">
                  <a:pos x="694" y="0"/>
                </a:cxn>
                <a:cxn ang="0">
                  <a:pos x="0" y="830"/>
                </a:cxn>
                <a:cxn ang="0">
                  <a:pos x="897" y="830"/>
                </a:cxn>
                <a:cxn ang="0">
                  <a:pos x="1140" y="531"/>
                </a:cxn>
                <a:cxn ang="0">
                  <a:pos x="694" y="0"/>
                </a:cxn>
              </a:cxnLst>
              <a:rect l="0" t="0" r="r" b="b"/>
              <a:pathLst>
                <a:path w="1141" h="831">
                  <a:moveTo>
                    <a:pt x="694" y="0"/>
                  </a:moveTo>
                  <a:lnTo>
                    <a:pt x="0" y="830"/>
                  </a:lnTo>
                  <a:lnTo>
                    <a:pt x="897" y="830"/>
                  </a:lnTo>
                  <a:lnTo>
                    <a:pt x="1140" y="531"/>
                  </a:lnTo>
                  <a:lnTo>
                    <a:pt x="694" y="0"/>
                  </a:lnTo>
                </a:path>
              </a:pathLst>
            </a:custGeom>
            <a:pattFill prst="dkUpDiag">
              <a:fgClr>
                <a:srgbClr val="96968C">
                  <a:lumMod val="40000"/>
                  <a:lumOff val="60000"/>
                </a:srgbClr>
              </a:fgClr>
              <a:bgClr>
                <a:srgbClr val="FFFFFF"/>
              </a:bgClr>
            </a:pattFill>
            <a:ln w="6350" cap="rnd" cmpd="sng">
              <a:noFill/>
              <a:prstDash val="solid"/>
              <a:round/>
              <a:headEnd/>
              <a:tailEnd/>
            </a:ln>
            <a:effectLst/>
          </p:spPr>
          <p:txBody>
            <a:bodyPr lIns="72000" tIns="72000" rIns="72000" b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14" name="Rectangle 12">
              <a:extLst>
                <a:ext uri="{FF2B5EF4-FFF2-40B4-BE49-F238E27FC236}">
                  <a16:creationId xmlns:a16="http://schemas.microsoft.com/office/drawing/2014/main" id="{F1B692DD-D4B6-4066-89A6-75B6120892E6}"/>
                </a:ext>
              </a:extLst>
            </p:cNvPr>
            <p:cNvSpPr>
              <a:spLocks noChangeArrowheads="1"/>
            </p:cNvSpPr>
            <p:nvPr/>
          </p:nvSpPr>
          <p:spPr bwMode="auto">
            <a:xfrm>
              <a:off x="4470140" y="2809591"/>
              <a:ext cx="493212" cy="436902"/>
            </a:xfrm>
            <a:prstGeom prst="rect">
              <a:avLst/>
            </a:prstGeom>
            <a:noFill/>
            <a:ln w="6350">
              <a:noFill/>
              <a:miter lim="800000"/>
              <a:headEnd/>
              <a:tailEnd/>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000000"/>
                  </a:solidFill>
                  <a:effectLst/>
                  <a:uLnTx/>
                  <a:uFillTx/>
                  <a:ea typeface="+mn-ea"/>
                  <a:cs typeface="+mn-cs"/>
                </a:rPr>
                <a:t>Text</a:t>
              </a:r>
            </a:p>
          </p:txBody>
        </p:sp>
        <p:sp>
          <p:nvSpPr>
            <p:cNvPr id="9" name="Freeform 7">
              <a:extLst>
                <a:ext uri="{FF2B5EF4-FFF2-40B4-BE49-F238E27FC236}">
                  <a16:creationId xmlns:a16="http://schemas.microsoft.com/office/drawing/2014/main" id="{94E725ED-4887-4C91-98AE-B75C4DEA8C51}"/>
                </a:ext>
                <a:ext uri="{C183D7F6-B498-43B3-948B-1728B52AA6E4}">
                  <adec:decorative xmlns:adec="http://schemas.microsoft.com/office/drawing/2017/decorative" val="1"/>
                </a:ext>
              </a:extLst>
            </p:cNvPr>
            <p:cNvSpPr>
              <a:spLocks/>
            </p:cNvSpPr>
            <p:nvPr/>
          </p:nvSpPr>
          <p:spPr bwMode="auto">
            <a:xfrm>
              <a:off x="4996409" y="1628775"/>
              <a:ext cx="2258461" cy="1275281"/>
            </a:xfrm>
            <a:custGeom>
              <a:avLst/>
              <a:gdLst/>
              <a:ahLst/>
              <a:cxnLst>
                <a:cxn ang="0">
                  <a:pos x="0" y="0"/>
                </a:cxn>
                <a:cxn ang="0">
                  <a:pos x="441" y="531"/>
                </a:cxn>
                <a:cxn ang="0">
                  <a:pos x="958" y="531"/>
                </a:cxn>
                <a:cxn ang="0">
                  <a:pos x="1405" y="0"/>
                </a:cxn>
                <a:cxn ang="0">
                  <a:pos x="0" y="0"/>
                </a:cxn>
              </a:cxnLst>
              <a:rect l="0" t="0" r="r" b="b"/>
              <a:pathLst>
                <a:path w="1406" h="532">
                  <a:moveTo>
                    <a:pt x="0" y="0"/>
                  </a:moveTo>
                  <a:lnTo>
                    <a:pt x="441" y="531"/>
                  </a:lnTo>
                  <a:lnTo>
                    <a:pt x="958" y="531"/>
                  </a:lnTo>
                  <a:lnTo>
                    <a:pt x="1405" y="0"/>
                  </a:lnTo>
                  <a:lnTo>
                    <a:pt x="0" y="0"/>
                  </a:lnTo>
                </a:path>
              </a:pathLst>
            </a:custGeom>
            <a:pattFill prst="dkUpDiag">
              <a:fgClr>
                <a:srgbClr val="96968C">
                  <a:lumMod val="40000"/>
                  <a:lumOff val="60000"/>
                </a:srgbClr>
              </a:fgClr>
              <a:bgClr>
                <a:srgbClr val="FFFFFF"/>
              </a:bgClr>
            </a:pattFill>
            <a:ln w="6350" cap="rnd" cmpd="sng">
              <a:noFill/>
              <a:prstDash val="solid"/>
              <a:round/>
              <a:headEnd/>
              <a:tailEnd/>
            </a:ln>
            <a:effectLst/>
          </p:spPr>
          <p:txBody>
            <a:bodyPr lIns="72000" tIns="72000" rIns="72000" b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12" name="Rectangle 10">
              <a:extLst>
                <a:ext uri="{FF2B5EF4-FFF2-40B4-BE49-F238E27FC236}">
                  <a16:creationId xmlns:a16="http://schemas.microsoft.com/office/drawing/2014/main" id="{7CE54B55-F271-4DE7-A4B0-291A640CA708}"/>
                </a:ext>
              </a:extLst>
            </p:cNvPr>
            <p:cNvSpPr>
              <a:spLocks noChangeArrowheads="1"/>
            </p:cNvSpPr>
            <p:nvPr/>
          </p:nvSpPr>
          <p:spPr bwMode="auto">
            <a:xfrm>
              <a:off x="5866472" y="2049441"/>
              <a:ext cx="490567" cy="432474"/>
            </a:xfrm>
            <a:prstGeom prst="rect">
              <a:avLst/>
            </a:prstGeom>
            <a:noFill/>
            <a:ln w="6350">
              <a:noFill/>
              <a:miter lim="800000"/>
              <a:headEnd/>
              <a:tailEnd/>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000000"/>
                  </a:solidFill>
                  <a:effectLst/>
                  <a:uLnTx/>
                  <a:uFillTx/>
                  <a:ea typeface="+mn-ea"/>
                  <a:cs typeface="+mn-cs"/>
                </a:rPr>
                <a:t>Text</a:t>
              </a:r>
            </a:p>
          </p:txBody>
        </p:sp>
        <p:sp>
          <p:nvSpPr>
            <p:cNvPr id="8" name="AutoShape 5">
              <a:extLst>
                <a:ext uri="{FF2B5EF4-FFF2-40B4-BE49-F238E27FC236}">
                  <a16:creationId xmlns:a16="http://schemas.microsoft.com/office/drawing/2014/main" id="{251EE555-F7CE-4D98-9B8C-D0D5BCC9E25F}"/>
                </a:ext>
              </a:extLst>
            </p:cNvPr>
            <p:cNvSpPr>
              <a:spLocks noChangeArrowheads="1"/>
            </p:cNvSpPr>
            <p:nvPr/>
          </p:nvSpPr>
          <p:spPr bwMode="auto">
            <a:xfrm>
              <a:off x="5319046" y="3026565"/>
              <a:ext cx="1603930" cy="1450927"/>
            </a:xfrm>
            <a:prstGeom prst="hexagon">
              <a:avLst>
                <a:gd name="adj" fmla="val 29593"/>
                <a:gd name="vf" fmla="val 115470"/>
              </a:avLst>
            </a:prstGeom>
            <a:solidFill>
              <a:schemeClr val="accent2"/>
            </a:solidFill>
            <a:ln w="6350">
              <a:noFill/>
              <a:miter lim="800000"/>
              <a:headEnd/>
              <a:tailEnd/>
            </a:ln>
            <a:effectLst/>
          </p:spPr>
          <p:txBody>
            <a:bodyPr wrap="none" lIns="72000" tIns="72000" rIns="72000" bIns="7200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mj-lt"/>
                  <a:ea typeface="+mn-ea"/>
                  <a:cs typeface="+mn-cs"/>
                </a:rPr>
                <a:t>Text</a:t>
              </a:r>
            </a:p>
          </p:txBody>
        </p:sp>
      </p:grpSp>
      <p:sp>
        <p:nvSpPr>
          <p:cNvPr id="18" name="Footer Placeholder 17">
            <a:extLst>
              <a:ext uri="{FF2B5EF4-FFF2-40B4-BE49-F238E27FC236}">
                <a16:creationId xmlns:a16="http://schemas.microsoft.com/office/drawing/2014/main" id="{7F6303D8-0EB4-4D80-A29D-B35AB193AD35}"/>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0" name="Slide Number Placeholder 19">
            <a:extLst>
              <a:ext uri="{FF2B5EF4-FFF2-40B4-BE49-F238E27FC236}">
                <a16:creationId xmlns:a16="http://schemas.microsoft.com/office/drawing/2014/main" id="{EF991AEA-2F55-4DBD-AB6B-D708D08CAE9C}"/>
              </a:ext>
            </a:extLst>
          </p:cNvPr>
          <p:cNvSpPr>
            <a:spLocks noGrp="1"/>
          </p:cNvSpPr>
          <p:nvPr>
            <p:ph type="sldNum" sz="quarter" idx="10"/>
          </p:nvPr>
        </p:nvSpPr>
        <p:spPr/>
        <p:txBody>
          <a:bodyPr/>
          <a:lstStyle/>
          <a:p>
            <a:fld id="{1F90F471-3972-4120-B8B3-0237DE626C35}" type="slidenum">
              <a:rPr lang="en-US" smtClean="0"/>
              <a:pPr/>
              <a:t>346</a:t>
            </a:fld>
            <a:endParaRPr lang="en-US" dirty="0"/>
          </a:p>
        </p:txBody>
      </p:sp>
    </p:spTree>
    <p:extLst>
      <p:ext uri="{BB962C8B-B14F-4D97-AF65-F5344CB8AC3E}">
        <p14:creationId xmlns:p14="http://schemas.microsoft.com/office/powerpoint/2010/main" val="4078591250"/>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Factors – Hexagonal 2</a:t>
            </a:r>
          </a:p>
        </p:txBody>
      </p:sp>
      <p:sp>
        <p:nvSpPr>
          <p:cNvPr id="4" name="AutoShape 4">
            <a:extLst>
              <a:ext uri="{FF2B5EF4-FFF2-40B4-BE49-F238E27FC236}">
                <a16:creationId xmlns:a16="http://schemas.microsoft.com/office/drawing/2014/main" id="{551372D5-8FE7-4CCC-9FF8-97861D128A6A}"/>
              </a:ext>
            </a:extLst>
          </p:cNvPr>
          <p:cNvSpPr>
            <a:spLocks noChangeArrowheads="1"/>
          </p:cNvSpPr>
          <p:nvPr/>
        </p:nvSpPr>
        <p:spPr bwMode="auto">
          <a:xfrm>
            <a:off x="5312198" y="3218779"/>
            <a:ext cx="1575891" cy="1388866"/>
          </a:xfrm>
          <a:prstGeom prst="hexagon">
            <a:avLst>
              <a:gd name="adj" fmla="val 27042"/>
              <a:gd name="vf" fmla="val 115470"/>
            </a:avLst>
          </a:prstGeom>
          <a:solidFill>
            <a:schemeClr val="accent2"/>
          </a:solidFill>
          <a:ln w="19050">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mj-lt"/>
                <a:ea typeface="+mn-ea"/>
                <a:cs typeface="+mn-cs"/>
              </a:rPr>
              <a:t>Text</a:t>
            </a:r>
            <a:endParaRPr kumimoji="0" lang="en-US" sz="1400" b="0" i="0" u="none" strike="noStrike" kern="0" cap="none" spc="0" normalizeH="0" baseline="0" noProof="0" dirty="0">
              <a:ln>
                <a:noFill/>
              </a:ln>
              <a:solidFill>
                <a:srgbClr val="FFFFFF"/>
              </a:solidFill>
              <a:effectLst/>
              <a:uLnTx/>
              <a:uFillTx/>
              <a:latin typeface="+mj-lt"/>
              <a:ea typeface="+mn-ea"/>
              <a:cs typeface="+mn-cs"/>
            </a:endParaRPr>
          </a:p>
        </p:txBody>
      </p:sp>
      <p:sp>
        <p:nvSpPr>
          <p:cNvPr id="5" name="AutoShape 4">
            <a:extLst>
              <a:ext uri="{FF2B5EF4-FFF2-40B4-BE49-F238E27FC236}">
                <a16:creationId xmlns:a16="http://schemas.microsoft.com/office/drawing/2014/main" id="{FF12D5BB-F391-4008-8BF3-C1BA6C221B06}"/>
              </a:ext>
            </a:extLst>
          </p:cNvPr>
          <p:cNvSpPr>
            <a:spLocks noChangeArrowheads="1"/>
          </p:cNvSpPr>
          <p:nvPr/>
        </p:nvSpPr>
        <p:spPr bwMode="auto">
          <a:xfrm>
            <a:off x="5312198" y="1628800"/>
            <a:ext cx="1575891" cy="1388866"/>
          </a:xfrm>
          <a:prstGeom prst="hexagon">
            <a:avLst>
              <a:gd name="adj" fmla="val 27042"/>
              <a:gd name="vf" fmla="val 115470"/>
            </a:avLst>
          </a:prstGeom>
          <a:solidFill>
            <a:schemeClr val="accent5"/>
          </a:solidFill>
          <a:ln w="19050">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ea typeface="+mn-ea"/>
                <a:cs typeface="+mn-cs"/>
              </a:rPr>
              <a:t>Text</a:t>
            </a:r>
          </a:p>
        </p:txBody>
      </p:sp>
      <p:sp>
        <p:nvSpPr>
          <p:cNvPr id="10" name="AutoShape 4">
            <a:extLst>
              <a:ext uri="{FF2B5EF4-FFF2-40B4-BE49-F238E27FC236}">
                <a16:creationId xmlns:a16="http://schemas.microsoft.com/office/drawing/2014/main" id="{C0189774-F145-4A6B-B8FE-6DAB5C3A041F}"/>
              </a:ext>
            </a:extLst>
          </p:cNvPr>
          <p:cNvSpPr>
            <a:spLocks noChangeArrowheads="1"/>
          </p:cNvSpPr>
          <p:nvPr/>
        </p:nvSpPr>
        <p:spPr bwMode="auto">
          <a:xfrm>
            <a:off x="6681978" y="2435620"/>
            <a:ext cx="1575891" cy="1388866"/>
          </a:xfrm>
          <a:prstGeom prst="hexagon">
            <a:avLst>
              <a:gd name="adj" fmla="val 27042"/>
              <a:gd name="vf" fmla="val 115470"/>
            </a:avLst>
          </a:prstGeom>
          <a:solidFill>
            <a:schemeClr val="accent5"/>
          </a:solidFill>
          <a:ln w="19050">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ea typeface="+mn-ea"/>
                <a:cs typeface="+mn-cs"/>
              </a:rPr>
              <a:t>Text</a:t>
            </a:r>
          </a:p>
        </p:txBody>
      </p:sp>
      <p:sp>
        <p:nvSpPr>
          <p:cNvPr id="9" name="AutoShape 4">
            <a:extLst>
              <a:ext uri="{FF2B5EF4-FFF2-40B4-BE49-F238E27FC236}">
                <a16:creationId xmlns:a16="http://schemas.microsoft.com/office/drawing/2014/main" id="{F45429E6-B021-4EB4-BAA4-59846BE5146D}"/>
              </a:ext>
            </a:extLst>
          </p:cNvPr>
          <p:cNvSpPr>
            <a:spLocks noChangeArrowheads="1"/>
          </p:cNvSpPr>
          <p:nvPr/>
        </p:nvSpPr>
        <p:spPr bwMode="auto">
          <a:xfrm>
            <a:off x="6681978" y="4009037"/>
            <a:ext cx="1575891" cy="1388866"/>
          </a:xfrm>
          <a:prstGeom prst="hexagon">
            <a:avLst>
              <a:gd name="adj" fmla="val 27042"/>
              <a:gd name="vf" fmla="val 115470"/>
            </a:avLst>
          </a:prstGeom>
          <a:solidFill>
            <a:schemeClr val="accent5"/>
          </a:solidFill>
          <a:ln w="19050">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ea typeface="+mn-ea"/>
                <a:cs typeface="+mn-cs"/>
              </a:rPr>
              <a:t>Text</a:t>
            </a:r>
          </a:p>
        </p:txBody>
      </p:sp>
      <p:sp>
        <p:nvSpPr>
          <p:cNvPr id="8" name="AutoShape 4">
            <a:extLst>
              <a:ext uri="{FF2B5EF4-FFF2-40B4-BE49-F238E27FC236}">
                <a16:creationId xmlns:a16="http://schemas.microsoft.com/office/drawing/2014/main" id="{D3977937-B2FB-4325-8E6D-C5BF1221B1FB}"/>
              </a:ext>
            </a:extLst>
          </p:cNvPr>
          <p:cNvSpPr>
            <a:spLocks noChangeArrowheads="1"/>
          </p:cNvSpPr>
          <p:nvPr/>
        </p:nvSpPr>
        <p:spPr bwMode="auto">
          <a:xfrm>
            <a:off x="5312198" y="4808759"/>
            <a:ext cx="1575891" cy="1388866"/>
          </a:xfrm>
          <a:prstGeom prst="hexagon">
            <a:avLst>
              <a:gd name="adj" fmla="val 27042"/>
              <a:gd name="vf" fmla="val 115470"/>
            </a:avLst>
          </a:prstGeom>
          <a:solidFill>
            <a:schemeClr val="accent5"/>
          </a:solidFill>
          <a:ln w="19050">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ea typeface="+mn-ea"/>
                <a:cs typeface="+mn-cs"/>
              </a:rPr>
              <a:t>Text</a:t>
            </a:r>
          </a:p>
        </p:txBody>
      </p:sp>
      <p:sp>
        <p:nvSpPr>
          <p:cNvPr id="7" name="AutoShape 4">
            <a:extLst>
              <a:ext uri="{FF2B5EF4-FFF2-40B4-BE49-F238E27FC236}">
                <a16:creationId xmlns:a16="http://schemas.microsoft.com/office/drawing/2014/main" id="{5296D58A-BB7C-454E-84A5-FBAC1E74EE41}"/>
              </a:ext>
            </a:extLst>
          </p:cNvPr>
          <p:cNvSpPr>
            <a:spLocks noChangeArrowheads="1"/>
          </p:cNvSpPr>
          <p:nvPr/>
        </p:nvSpPr>
        <p:spPr bwMode="auto">
          <a:xfrm>
            <a:off x="3908042" y="4009037"/>
            <a:ext cx="1575891" cy="1388866"/>
          </a:xfrm>
          <a:prstGeom prst="hexagon">
            <a:avLst>
              <a:gd name="adj" fmla="val 27042"/>
              <a:gd name="vf" fmla="val 115470"/>
            </a:avLst>
          </a:prstGeom>
          <a:solidFill>
            <a:schemeClr val="accent5"/>
          </a:solidFill>
          <a:ln w="19050">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ea typeface="+mn-ea"/>
                <a:cs typeface="+mn-cs"/>
              </a:rPr>
              <a:t>Text</a:t>
            </a:r>
          </a:p>
        </p:txBody>
      </p:sp>
      <p:sp>
        <p:nvSpPr>
          <p:cNvPr id="6" name="AutoShape 4">
            <a:extLst>
              <a:ext uri="{FF2B5EF4-FFF2-40B4-BE49-F238E27FC236}">
                <a16:creationId xmlns:a16="http://schemas.microsoft.com/office/drawing/2014/main" id="{2F076D56-9488-4E26-80FE-7304E331DF6D}"/>
              </a:ext>
            </a:extLst>
          </p:cNvPr>
          <p:cNvSpPr>
            <a:spLocks noChangeArrowheads="1"/>
          </p:cNvSpPr>
          <p:nvPr/>
        </p:nvSpPr>
        <p:spPr bwMode="auto">
          <a:xfrm>
            <a:off x="3908042" y="2435620"/>
            <a:ext cx="1575891" cy="1388866"/>
          </a:xfrm>
          <a:prstGeom prst="hexagon">
            <a:avLst>
              <a:gd name="adj" fmla="val 27042"/>
              <a:gd name="vf" fmla="val 115470"/>
            </a:avLst>
          </a:prstGeom>
          <a:solidFill>
            <a:schemeClr val="accent5"/>
          </a:solidFill>
          <a:ln w="19050">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ea typeface="+mn-ea"/>
                <a:cs typeface="+mn-cs"/>
              </a:rPr>
              <a:t>Text</a:t>
            </a:r>
          </a:p>
        </p:txBody>
      </p:sp>
      <p:sp>
        <p:nvSpPr>
          <p:cNvPr id="11" name="Footer Placeholder 10">
            <a:extLst>
              <a:ext uri="{FF2B5EF4-FFF2-40B4-BE49-F238E27FC236}">
                <a16:creationId xmlns:a16="http://schemas.microsoft.com/office/drawing/2014/main" id="{B828F9DE-DFE9-4B12-B2F2-EE886BDBD06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3" name="Slide Number Placeholder 12">
            <a:extLst>
              <a:ext uri="{FF2B5EF4-FFF2-40B4-BE49-F238E27FC236}">
                <a16:creationId xmlns:a16="http://schemas.microsoft.com/office/drawing/2014/main" id="{EAD7CC3D-07C4-4A91-A9B2-739022597107}"/>
              </a:ext>
            </a:extLst>
          </p:cNvPr>
          <p:cNvSpPr>
            <a:spLocks noGrp="1"/>
          </p:cNvSpPr>
          <p:nvPr>
            <p:ph type="sldNum" sz="quarter" idx="10"/>
          </p:nvPr>
        </p:nvSpPr>
        <p:spPr/>
        <p:txBody>
          <a:bodyPr/>
          <a:lstStyle/>
          <a:p>
            <a:fld id="{1F90F471-3972-4120-B8B3-0237DE626C35}" type="slidenum">
              <a:rPr lang="en-US" smtClean="0"/>
              <a:pPr/>
              <a:t>347</a:t>
            </a:fld>
            <a:endParaRPr lang="en-US" dirty="0"/>
          </a:p>
        </p:txBody>
      </p:sp>
    </p:spTree>
    <p:extLst>
      <p:ext uri="{BB962C8B-B14F-4D97-AF65-F5344CB8AC3E}">
        <p14:creationId xmlns:p14="http://schemas.microsoft.com/office/powerpoint/2010/main" val="834467418"/>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Pillars 1</a:t>
            </a:r>
          </a:p>
        </p:txBody>
      </p:sp>
      <p:sp>
        <p:nvSpPr>
          <p:cNvPr id="23" name="Isosceles Triangle 22">
            <a:extLst>
              <a:ext uri="{FF2B5EF4-FFF2-40B4-BE49-F238E27FC236}">
                <a16:creationId xmlns:a16="http://schemas.microsoft.com/office/drawing/2014/main" id="{3190B476-3EE3-440B-B898-39FE3CE77EE3}"/>
              </a:ext>
              <a:ext uri="{C183D7F6-B498-43B3-948B-1728B52AA6E4}">
                <adec:decorative xmlns:adec="http://schemas.microsoft.com/office/drawing/2017/decorative" val="1"/>
              </a:ext>
            </a:extLst>
          </p:cNvPr>
          <p:cNvSpPr/>
          <p:nvPr/>
        </p:nvSpPr>
        <p:spPr>
          <a:xfrm>
            <a:off x="1817689" y="1423452"/>
            <a:ext cx="8694200" cy="1236323"/>
          </a:xfrm>
          <a:prstGeom prst="triangle">
            <a:avLst>
              <a:gd name="adj" fmla="val 49700"/>
            </a:avLst>
          </a:prstGeom>
          <a:pattFill prst="dkUpDiag">
            <a:fgClr>
              <a:schemeClr val="accent3">
                <a:lumMod val="40000"/>
                <a:lumOff val="60000"/>
              </a:schemeClr>
            </a:fgClr>
            <a:bgClr>
              <a:schemeClr val="bg1"/>
            </a:bgClr>
          </a:pattFill>
          <a:ln w="222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b="1" dirty="0">
              <a:solidFill>
                <a:schemeClr val="tx1"/>
              </a:solidFill>
            </a:endParaRPr>
          </a:p>
        </p:txBody>
      </p:sp>
      <p:sp>
        <p:nvSpPr>
          <p:cNvPr id="24" name="TextBox 23">
            <a:extLst>
              <a:ext uri="{FF2B5EF4-FFF2-40B4-BE49-F238E27FC236}">
                <a16:creationId xmlns:a16="http://schemas.microsoft.com/office/drawing/2014/main" id="{0962D508-892A-4143-A44E-91A66829B57C}"/>
              </a:ext>
            </a:extLst>
          </p:cNvPr>
          <p:cNvSpPr txBox="1"/>
          <p:nvPr/>
        </p:nvSpPr>
        <p:spPr>
          <a:xfrm>
            <a:off x="3932460" y="1927293"/>
            <a:ext cx="4507293" cy="612176"/>
          </a:xfrm>
          <a:prstGeom prst="rect">
            <a:avLst/>
          </a:prstGeom>
          <a:noFill/>
          <a:ln>
            <a:noFill/>
          </a:ln>
        </p:spPr>
        <p:txBody>
          <a:bodyPr wrap="square" lIns="0" tIns="0" rIns="0" bIns="0" anchor="ctr" anchorCtr="0">
            <a:noAutofit/>
          </a:bodyPr>
          <a:lstStyle/>
          <a:p>
            <a:pPr algn="ctr">
              <a:lnSpc>
                <a:spcPct val="90000"/>
              </a:lnSpc>
            </a:pPr>
            <a:r>
              <a:rPr lang="en-US" b="1" dirty="0">
                <a:solidFill>
                  <a:schemeClr val="accent3"/>
                </a:solidFill>
                <a:latin typeface="+mj-lt"/>
              </a:rPr>
              <a:t>Text</a:t>
            </a:r>
          </a:p>
        </p:txBody>
      </p:sp>
      <p:sp>
        <p:nvSpPr>
          <p:cNvPr id="26" name="TextBox 25">
            <a:extLst>
              <a:ext uri="{FF2B5EF4-FFF2-40B4-BE49-F238E27FC236}">
                <a16:creationId xmlns:a16="http://schemas.microsoft.com/office/drawing/2014/main" id="{AAA673D1-784A-4B9C-B9F1-5ED2F26E912E}"/>
              </a:ext>
            </a:extLst>
          </p:cNvPr>
          <p:cNvSpPr txBox="1"/>
          <p:nvPr/>
        </p:nvSpPr>
        <p:spPr>
          <a:xfrm>
            <a:off x="1817687" y="2875320"/>
            <a:ext cx="2814292" cy="2246309"/>
          </a:xfrm>
          <a:prstGeom prst="rect">
            <a:avLst/>
          </a:prstGeom>
          <a:solidFill>
            <a:schemeClr val="tx2">
              <a:lumMod val="20000"/>
              <a:lumOff val="80000"/>
            </a:schemeClr>
          </a:solidFill>
          <a:ln>
            <a:noFill/>
          </a:ln>
        </p:spPr>
        <p:txBody>
          <a:bodyPr wrap="square" lIns="180000" tIns="144000" rIns="36000">
            <a:noAutofit/>
          </a:bodyPr>
          <a:lstStyle/>
          <a:p>
            <a:pPr>
              <a:lnSpc>
                <a:spcPct val="80000"/>
              </a:lnSpc>
              <a:defRPr/>
            </a:pPr>
            <a:r>
              <a:rPr lang="en-US" sz="1600" b="1" dirty="0">
                <a:latin typeface="+mj-lt"/>
              </a:rPr>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p:txBody>
      </p:sp>
      <p:sp>
        <p:nvSpPr>
          <p:cNvPr id="27" name="TextBox 26">
            <a:extLst>
              <a:ext uri="{FF2B5EF4-FFF2-40B4-BE49-F238E27FC236}">
                <a16:creationId xmlns:a16="http://schemas.microsoft.com/office/drawing/2014/main" id="{545877D7-8F1F-4C75-B2CA-5F1C037C4163}"/>
              </a:ext>
            </a:extLst>
          </p:cNvPr>
          <p:cNvSpPr txBox="1"/>
          <p:nvPr/>
        </p:nvSpPr>
        <p:spPr>
          <a:xfrm>
            <a:off x="4757641" y="2875320"/>
            <a:ext cx="2814292" cy="2246309"/>
          </a:xfrm>
          <a:prstGeom prst="rect">
            <a:avLst/>
          </a:prstGeom>
          <a:solidFill>
            <a:schemeClr val="tx2">
              <a:lumMod val="20000"/>
              <a:lumOff val="80000"/>
            </a:schemeClr>
          </a:solidFill>
          <a:ln>
            <a:noFill/>
          </a:ln>
        </p:spPr>
        <p:txBody>
          <a:bodyPr wrap="square" lIns="180000" tIns="144000" rIns="36000">
            <a:noAutofit/>
          </a:bodyPr>
          <a:lstStyle/>
          <a:p>
            <a:pPr>
              <a:lnSpc>
                <a:spcPct val="80000"/>
              </a:lnSpc>
              <a:defRPr/>
            </a:pPr>
            <a:r>
              <a:rPr lang="en-US" sz="1600" b="1" dirty="0">
                <a:latin typeface="+mj-lt"/>
              </a:rPr>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p:txBody>
      </p:sp>
      <p:sp>
        <p:nvSpPr>
          <p:cNvPr id="28" name="TextBox 27">
            <a:extLst>
              <a:ext uri="{FF2B5EF4-FFF2-40B4-BE49-F238E27FC236}">
                <a16:creationId xmlns:a16="http://schemas.microsoft.com/office/drawing/2014/main" id="{84D23350-C80D-4653-BBFC-E16DD5556EFD}"/>
              </a:ext>
            </a:extLst>
          </p:cNvPr>
          <p:cNvSpPr txBox="1"/>
          <p:nvPr/>
        </p:nvSpPr>
        <p:spPr>
          <a:xfrm>
            <a:off x="7697596" y="2875320"/>
            <a:ext cx="2814292" cy="2246309"/>
          </a:xfrm>
          <a:prstGeom prst="rect">
            <a:avLst/>
          </a:prstGeom>
          <a:solidFill>
            <a:schemeClr val="tx2">
              <a:lumMod val="20000"/>
              <a:lumOff val="80000"/>
            </a:schemeClr>
          </a:solidFill>
          <a:ln>
            <a:noFill/>
          </a:ln>
        </p:spPr>
        <p:txBody>
          <a:bodyPr wrap="square" lIns="180000" tIns="144000" rIns="36000">
            <a:noAutofit/>
          </a:bodyPr>
          <a:lstStyle/>
          <a:p>
            <a:pPr>
              <a:lnSpc>
                <a:spcPct val="80000"/>
              </a:lnSpc>
              <a:defRPr/>
            </a:pPr>
            <a:r>
              <a:rPr lang="en-US" sz="1600" b="1" dirty="0">
                <a:latin typeface="+mj-lt"/>
              </a:rPr>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p:txBody>
      </p:sp>
      <p:sp>
        <p:nvSpPr>
          <p:cNvPr id="29" name="TextBox 28">
            <a:extLst>
              <a:ext uri="{FF2B5EF4-FFF2-40B4-BE49-F238E27FC236}">
                <a16:creationId xmlns:a16="http://schemas.microsoft.com/office/drawing/2014/main" id="{E74E7ED7-2A17-40F8-83FC-C60002F3C4C2}"/>
              </a:ext>
            </a:extLst>
          </p:cNvPr>
          <p:cNvSpPr txBox="1"/>
          <p:nvPr/>
        </p:nvSpPr>
        <p:spPr>
          <a:xfrm>
            <a:off x="1817689" y="5337175"/>
            <a:ext cx="8694200" cy="419712"/>
          </a:xfrm>
          <a:prstGeom prst="rect">
            <a:avLst/>
          </a:prstGeom>
          <a:solidFill>
            <a:schemeClr val="accent1"/>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4" name="Footer Placeholder 3">
            <a:extLst>
              <a:ext uri="{FF2B5EF4-FFF2-40B4-BE49-F238E27FC236}">
                <a16:creationId xmlns:a16="http://schemas.microsoft.com/office/drawing/2014/main" id="{109F07D5-B658-4176-8B27-07E816EEA4C6}"/>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A3346981-4829-4E48-88D3-2D55DE4FB81B}"/>
              </a:ext>
            </a:extLst>
          </p:cNvPr>
          <p:cNvSpPr>
            <a:spLocks noGrp="1"/>
          </p:cNvSpPr>
          <p:nvPr>
            <p:ph type="sldNum" sz="quarter" idx="10"/>
          </p:nvPr>
        </p:nvSpPr>
        <p:spPr/>
        <p:txBody>
          <a:bodyPr/>
          <a:lstStyle/>
          <a:p>
            <a:fld id="{1F90F471-3972-4120-B8B3-0237DE626C35}" type="slidenum">
              <a:rPr lang="en-US" smtClean="0"/>
              <a:pPr/>
              <a:t>348</a:t>
            </a:fld>
            <a:endParaRPr lang="en-US" dirty="0"/>
          </a:p>
        </p:txBody>
      </p:sp>
    </p:spTree>
    <p:extLst>
      <p:ext uri="{BB962C8B-B14F-4D97-AF65-F5344CB8AC3E}">
        <p14:creationId xmlns:p14="http://schemas.microsoft.com/office/powerpoint/2010/main" val="396470708"/>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Pillars 2</a:t>
            </a:r>
          </a:p>
        </p:txBody>
      </p:sp>
      <p:sp>
        <p:nvSpPr>
          <p:cNvPr id="23" name="Isosceles Triangle 22">
            <a:extLst>
              <a:ext uri="{FF2B5EF4-FFF2-40B4-BE49-F238E27FC236}">
                <a16:creationId xmlns:a16="http://schemas.microsoft.com/office/drawing/2014/main" id="{3BAE4C9D-0540-47DD-BA14-86DAB3444243}"/>
              </a:ext>
              <a:ext uri="{C183D7F6-B498-43B3-948B-1728B52AA6E4}">
                <adec:decorative xmlns:adec="http://schemas.microsoft.com/office/drawing/2017/decorative" val="1"/>
              </a:ext>
            </a:extLst>
          </p:cNvPr>
          <p:cNvSpPr/>
          <p:nvPr/>
        </p:nvSpPr>
        <p:spPr>
          <a:xfrm>
            <a:off x="1817689" y="1423452"/>
            <a:ext cx="8694200" cy="1236323"/>
          </a:xfrm>
          <a:prstGeom prst="triangle">
            <a:avLst>
              <a:gd name="adj" fmla="val 49700"/>
            </a:avLst>
          </a:prstGeom>
          <a:pattFill prst="dkUpDiag">
            <a:fgClr>
              <a:schemeClr val="accent3">
                <a:lumMod val="40000"/>
                <a:lumOff val="60000"/>
              </a:schemeClr>
            </a:fgClr>
            <a:bgClr>
              <a:schemeClr val="bg1"/>
            </a:bgClr>
          </a:pattFill>
          <a:ln w="222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b="1" dirty="0">
              <a:solidFill>
                <a:schemeClr val="tx1"/>
              </a:solidFill>
            </a:endParaRPr>
          </a:p>
        </p:txBody>
      </p:sp>
      <p:sp>
        <p:nvSpPr>
          <p:cNvPr id="24" name="TextBox 23">
            <a:extLst>
              <a:ext uri="{FF2B5EF4-FFF2-40B4-BE49-F238E27FC236}">
                <a16:creationId xmlns:a16="http://schemas.microsoft.com/office/drawing/2014/main" id="{79346199-08D6-4251-B959-2A3D6D0009E9}"/>
              </a:ext>
            </a:extLst>
          </p:cNvPr>
          <p:cNvSpPr txBox="1"/>
          <p:nvPr/>
        </p:nvSpPr>
        <p:spPr>
          <a:xfrm>
            <a:off x="3932460" y="1927293"/>
            <a:ext cx="4507293" cy="612176"/>
          </a:xfrm>
          <a:prstGeom prst="rect">
            <a:avLst/>
          </a:prstGeom>
          <a:noFill/>
          <a:ln>
            <a:noFill/>
          </a:ln>
        </p:spPr>
        <p:txBody>
          <a:bodyPr wrap="square" lIns="0" tIns="0" rIns="0" bIns="0" anchor="ctr" anchorCtr="0">
            <a:noAutofit/>
          </a:bodyPr>
          <a:lstStyle/>
          <a:p>
            <a:pPr algn="ctr">
              <a:lnSpc>
                <a:spcPct val="90000"/>
              </a:lnSpc>
            </a:pPr>
            <a:r>
              <a:rPr lang="en-US" b="1" dirty="0">
                <a:solidFill>
                  <a:schemeClr val="accent3"/>
                </a:solidFill>
                <a:latin typeface="+mj-lt"/>
              </a:rPr>
              <a:t>Text</a:t>
            </a:r>
          </a:p>
        </p:txBody>
      </p:sp>
      <p:sp>
        <p:nvSpPr>
          <p:cNvPr id="25" name="TextBox 24">
            <a:extLst>
              <a:ext uri="{FF2B5EF4-FFF2-40B4-BE49-F238E27FC236}">
                <a16:creationId xmlns:a16="http://schemas.microsoft.com/office/drawing/2014/main" id="{400D8056-536E-439B-8E32-FF839B454F6B}"/>
              </a:ext>
            </a:extLst>
          </p:cNvPr>
          <p:cNvSpPr txBox="1"/>
          <p:nvPr/>
        </p:nvSpPr>
        <p:spPr>
          <a:xfrm>
            <a:off x="1817688" y="2875320"/>
            <a:ext cx="2103120" cy="2246309"/>
          </a:xfrm>
          <a:prstGeom prst="rect">
            <a:avLst/>
          </a:prstGeom>
          <a:solidFill>
            <a:schemeClr val="tx2">
              <a:lumMod val="20000"/>
              <a:lumOff val="80000"/>
            </a:schemeClr>
          </a:solidFill>
          <a:ln>
            <a:noFill/>
          </a:ln>
        </p:spPr>
        <p:txBody>
          <a:bodyPr wrap="square" lIns="180000" tIns="144000" rIns="36000">
            <a:noAutofit/>
          </a:bodyPr>
          <a:lstStyle/>
          <a:p>
            <a:pPr>
              <a:lnSpc>
                <a:spcPct val="80000"/>
              </a:lnSpc>
              <a:defRPr/>
            </a:pPr>
            <a:r>
              <a:rPr lang="en-US" sz="1600" b="1" dirty="0">
                <a:latin typeface="+mj-lt"/>
              </a:rPr>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p:txBody>
      </p:sp>
      <p:sp>
        <p:nvSpPr>
          <p:cNvPr id="26" name="TextBox 25">
            <a:extLst>
              <a:ext uri="{FF2B5EF4-FFF2-40B4-BE49-F238E27FC236}">
                <a16:creationId xmlns:a16="http://schemas.microsoft.com/office/drawing/2014/main" id="{291BFBCA-6A75-40A8-81DB-DA06C65E7E2C}"/>
              </a:ext>
            </a:extLst>
          </p:cNvPr>
          <p:cNvSpPr txBox="1"/>
          <p:nvPr/>
        </p:nvSpPr>
        <p:spPr>
          <a:xfrm>
            <a:off x="4014715" y="2875320"/>
            <a:ext cx="2103120" cy="2246309"/>
          </a:xfrm>
          <a:prstGeom prst="rect">
            <a:avLst/>
          </a:prstGeom>
          <a:solidFill>
            <a:schemeClr val="tx2">
              <a:lumMod val="20000"/>
              <a:lumOff val="80000"/>
            </a:schemeClr>
          </a:solidFill>
          <a:ln>
            <a:noFill/>
          </a:ln>
        </p:spPr>
        <p:txBody>
          <a:bodyPr wrap="square" lIns="180000" tIns="144000" rIns="36000">
            <a:noAutofit/>
          </a:bodyPr>
          <a:lstStyle/>
          <a:p>
            <a:pPr>
              <a:lnSpc>
                <a:spcPct val="80000"/>
              </a:lnSpc>
              <a:defRPr/>
            </a:pPr>
            <a:r>
              <a:rPr lang="en-US" sz="1600" b="1" dirty="0">
                <a:latin typeface="+mj-lt"/>
              </a:rPr>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p:txBody>
      </p:sp>
      <p:sp>
        <p:nvSpPr>
          <p:cNvPr id="27" name="TextBox 26">
            <a:extLst>
              <a:ext uri="{FF2B5EF4-FFF2-40B4-BE49-F238E27FC236}">
                <a16:creationId xmlns:a16="http://schemas.microsoft.com/office/drawing/2014/main" id="{6627CAF5-4F9D-4640-B918-53B82169C455}"/>
              </a:ext>
            </a:extLst>
          </p:cNvPr>
          <p:cNvSpPr txBox="1"/>
          <p:nvPr/>
        </p:nvSpPr>
        <p:spPr>
          <a:xfrm>
            <a:off x="6211742" y="2875320"/>
            <a:ext cx="2103120" cy="2246309"/>
          </a:xfrm>
          <a:prstGeom prst="rect">
            <a:avLst/>
          </a:prstGeom>
          <a:solidFill>
            <a:schemeClr val="tx2">
              <a:lumMod val="20000"/>
              <a:lumOff val="80000"/>
            </a:schemeClr>
          </a:solidFill>
          <a:ln>
            <a:noFill/>
          </a:ln>
        </p:spPr>
        <p:txBody>
          <a:bodyPr wrap="square" lIns="180000" tIns="144000" rIns="36000">
            <a:noAutofit/>
          </a:bodyPr>
          <a:lstStyle/>
          <a:p>
            <a:pPr>
              <a:lnSpc>
                <a:spcPct val="80000"/>
              </a:lnSpc>
              <a:defRPr/>
            </a:pPr>
            <a:r>
              <a:rPr lang="en-US" sz="1600" b="1" dirty="0">
                <a:latin typeface="+mj-lt"/>
              </a:rPr>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p:txBody>
      </p:sp>
      <p:sp>
        <p:nvSpPr>
          <p:cNvPr id="28" name="TextBox 27">
            <a:extLst>
              <a:ext uri="{FF2B5EF4-FFF2-40B4-BE49-F238E27FC236}">
                <a16:creationId xmlns:a16="http://schemas.microsoft.com/office/drawing/2014/main" id="{94FA5707-039D-433F-8787-53E69BA82F6E}"/>
              </a:ext>
            </a:extLst>
          </p:cNvPr>
          <p:cNvSpPr txBox="1"/>
          <p:nvPr/>
        </p:nvSpPr>
        <p:spPr>
          <a:xfrm>
            <a:off x="8408769" y="2875320"/>
            <a:ext cx="2103120" cy="2246309"/>
          </a:xfrm>
          <a:prstGeom prst="rect">
            <a:avLst/>
          </a:prstGeom>
          <a:solidFill>
            <a:schemeClr val="tx2">
              <a:lumMod val="20000"/>
              <a:lumOff val="80000"/>
            </a:schemeClr>
          </a:solidFill>
          <a:ln>
            <a:noFill/>
          </a:ln>
        </p:spPr>
        <p:txBody>
          <a:bodyPr wrap="square" lIns="180000" tIns="144000" rIns="36000">
            <a:noAutofit/>
          </a:bodyPr>
          <a:lstStyle/>
          <a:p>
            <a:pPr>
              <a:lnSpc>
                <a:spcPct val="80000"/>
              </a:lnSpc>
              <a:defRPr/>
            </a:pPr>
            <a:r>
              <a:rPr lang="en-US" sz="1600" b="1" dirty="0">
                <a:latin typeface="+mj-lt"/>
              </a:rPr>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p:txBody>
      </p:sp>
      <p:sp>
        <p:nvSpPr>
          <p:cNvPr id="29" name="TextBox 28">
            <a:extLst>
              <a:ext uri="{FF2B5EF4-FFF2-40B4-BE49-F238E27FC236}">
                <a16:creationId xmlns:a16="http://schemas.microsoft.com/office/drawing/2014/main" id="{6D84BE8F-CD3A-448E-AD88-08E968B9821C}"/>
              </a:ext>
            </a:extLst>
          </p:cNvPr>
          <p:cNvSpPr txBox="1"/>
          <p:nvPr/>
        </p:nvSpPr>
        <p:spPr>
          <a:xfrm>
            <a:off x="1817689" y="5337175"/>
            <a:ext cx="8694200" cy="419712"/>
          </a:xfrm>
          <a:prstGeom prst="rect">
            <a:avLst/>
          </a:prstGeom>
          <a:solidFill>
            <a:schemeClr val="accent1"/>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4" name="Footer Placeholder 3">
            <a:extLst>
              <a:ext uri="{FF2B5EF4-FFF2-40B4-BE49-F238E27FC236}">
                <a16:creationId xmlns:a16="http://schemas.microsoft.com/office/drawing/2014/main" id="{7E0BBA71-6D01-4A22-A0E4-DF19158D3F65}"/>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699CBAB5-5203-40A9-91DA-BA1C436FC325}"/>
              </a:ext>
            </a:extLst>
          </p:cNvPr>
          <p:cNvSpPr>
            <a:spLocks noGrp="1"/>
          </p:cNvSpPr>
          <p:nvPr>
            <p:ph type="sldNum" sz="quarter" idx="10"/>
          </p:nvPr>
        </p:nvSpPr>
        <p:spPr/>
        <p:txBody>
          <a:bodyPr/>
          <a:lstStyle/>
          <a:p>
            <a:fld id="{1F90F471-3972-4120-B8B3-0237DE626C35}" type="slidenum">
              <a:rPr lang="en-US" smtClean="0"/>
              <a:pPr/>
              <a:t>349</a:t>
            </a:fld>
            <a:endParaRPr lang="en-US" dirty="0"/>
          </a:p>
        </p:txBody>
      </p:sp>
    </p:spTree>
    <p:extLst>
      <p:ext uri="{BB962C8B-B14F-4D97-AF65-F5344CB8AC3E}">
        <p14:creationId xmlns:p14="http://schemas.microsoft.com/office/powerpoint/2010/main" val="1420426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F8572B-5296-4AD5-8817-98272B6384A6}"/>
              </a:ext>
            </a:extLst>
          </p:cNvPr>
          <p:cNvSpPr>
            <a:spLocks noGrp="1"/>
          </p:cNvSpPr>
          <p:nvPr>
            <p:ph type="title"/>
          </p:nvPr>
        </p:nvSpPr>
        <p:spPr/>
        <p:txBody>
          <a:bodyPr/>
          <a:lstStyle/>
          <a:p>
            <a:r>
              <a:rPr lang="en-US" dirty="0"/>
              <a:t>Section title 54pt</a:t>
            </a:r>
          </a:p>
        </p:txBody>
      </p:sp>
      <p:sp>
        <p:nvSpPr>
          <p:cNvPr id="4" name="Text Placeholder 3">
            <a:extLst>
              <a:ext uri="{FF2B5EF4-FFF2-40B4-BE49-F238E27FC236}">
                <a16:creationId xmlns:a16="http://schemas.microsoft.com/office/drawing/2014/main" id="{58733344-BE60-49A5-B17A-6B3BE45C7453}"/>
              </a:ext>
            </a:extLst>
          </p:cNvPr>
          <p:cNvSpPr>
            <a:spLocks noGrp="1"/>
          </p:cNvSpPr>
          <p:nvPr>
            <p:ph type="body" sz="quarter" idx="16"/>
          </p:nvPr>
        </p:nvSpPr>
        <p:spPr/>
        <p:txBody>
          <a:bodyPr/>
          <a:lstStyle/>
          <a:p>
            <a:r>
              <a:rPr lang="en-GB" dirty="0"/>
              <a:t>Place subtitle here in GT Sectra Fine </a:t>
            </a:r>
            <a:r>
              <a:rPr lang="en-GB" dirty="0" err="1"/>
              <a:t>Rg</a:t>
            </a:r>
            <a:r>
              <a:rPr lang="en-GB" dirty="0"/>
              <a:t> 24pt</a:t>
            </a:r>
            <a:endParaRPr lang="en-US" dirty="0"/>
          </a:p>
        </p:txBody>
      </p:sp>
      <p:pic>
        <p:nvPicPr>
          <p:cNvPr id="7" name="Picture Placeholder 7" descr="All informative images must include a description for screen readers. All informative images must include a description for screen readers. If descriptive information is available in nearby text, it should not be repeated in the alt text for an image.">
            <a:extLst>
              <a:ext uri="{FF2B5EF4-FFF2-40B4-BE49-F238E27FC236}">
                <a16:creationId xmlns:a16="http://schemas.microsoft.com/office/drawing/2014/main" id="{F1EA50F1-3A15-4669-8F70-A7C98264F6CD}"/>
              </a:ext>
            </a:extLst>
          </p:cNvPr>
          <p:cNvPicPr>
            <a:picLocks noGrp="1" noChangeAspect="1"/>
          </p:cNvPicPr>
          <p:nvPr>
            <p:ph type="pic" sz="quarter" idx="13"/>
          </p:nvPr>
        </p:nvPicPr>
        <p:blipFill rotWithShape="1">
          <a:blip r:embed="rId3"/>
          <a:srcRect l="14" r="14"/>
          <a:stretch/>
        </p:blipFill>
        <p:spPr>
          <a:xfrm>
            <a:off x="6858000" y="381000"/>
            <a:ext cx="4953000" cy="5703888"/>
          </a:xfrm>
        </p:spPr>
      </p:pic>
      <p:sp>
        <p:nvSpPr>
          <p:cNvPr id="5" name="Footer Placeholder 4">
            <a:extLst>
              <a:ext uri="{FF2B5EF4-FFF2-40B4-BE49-F238E27FC236}">
                <a16:creationId xmlns:a16="http://schemas.microsoft.com/office/drawing/2014/main" id="{2AF051EA-736C-4477-8B54-9FCA63F1A8FE}"/>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5D03F60A-32DE-4F24-9D47-DF23280AB6C6}"/>
              </a:ext>
            </a:extLst>
          </p:cNvPr>
          <p:cNvSpPr>
            <a:spLocks noGrp="1"/>
          </p:cNvSpPr>
          <p:nvPr>
            <p:ph type="sldNum" sz="quarter" idx="18"/>
          </p:nvPr>
        </p:nvSpPr>
        <p:spPr/>
        <p:txBody>
          <a:bodyPr/>
          <a:lstStyle/>
          <a:p>
            <a:fld id="{1F90F471-3972-4120-B8B3-0237DE626C35}" type="slidenum">
              <a:rPr lang="en-US" smtClean="0"/>
              <a:pPr/>
              <a:t>35</a:t>
            </a:fld>
            <a:endParaRPr lang="en-US" dirty="0"/>
          </a:p>
        </p:txBody>
      </p:sp>
    </p:spTree>
    <p:extLst>
      <p:ext uri="{BB962C8B-B14F-4D97-AF65-F5344CB8AC3E}">
        <p14:creationId xmlns:p14="http://schemas.microsoft.com/office/powerpoint/2010/main" val="3452782320"/>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descr="Add text and order accordingly">
            <a:hlinkClick r:id="rId2" action="ppaction://hlinksldjump" tooltip="Return to Index"/>
            <a:extLst>
              <a:ext uri="{FF2B5EF4-FFF2-40B4-BE49-F238E27FC236}">
                <a16:creationId xmlns:a16="http://schemas.microsoft.com/office/drawing/2014/main" id="{7F1FB234-68F0-4CF3-B471-EDBA28C0B908}"/>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Title 3">
            <a:extLst>
              <a:ext uri="{FF2B5EF4-FFF2-40B4-BE49-F238E27FC236}">
                <a16:creationId xmlns:a16="http://schemas.microsoft.com/office/drawing/2014/main" id="{64E5B9E6-D552-48C5-824D-E60A4F821B04}"/>
              </a:ext>
            </a:extLst>
          </p:cNvPr>
          <p:cNvSpPr>
            <a:spLocks noGrp="1"/>
          </p:cNvSpPr>
          <p:nvPr>
            <p:ph type="title"/>
          </p:nvPr>
        </p:nvSpPr>
        <p:spPr/>
        <p:txBody>
          <a:bodyPr/>
          <a:lstStyle/>
          <a:p>
            <a:r>
              <a:rPr lang="en-US" dirty="0"/>
              <a:t>Standard Visuals</a:t>
            </a:r>
          </a:p>
        </p:txBody>
      </p:sp>
      <p:sp>
        <p:nvSpPr>
          <p:cNvPr id="2" name="Text Placeholder 1">
            <a:extLst>
              <a:ext uri="{FF2B5EF4-FFF2-40B4-BE49-F238E27FC236}">
                <a16:creationId xmlns:a16="http://schemas.microsoft.com/office/drawing/2014/main" id="{14A22E63-A672-45C2-BA93-140939E871CE}"/>
              </a:ext>
            </a:extLst>
          </p:cNvPr>
          <p:cNvSpPr>
            <a:spLocks noGrp="1"/>
          </p:cNvSpPr>
          <p:nvPr>
            <p:ph type="body" sz="quarter" idx="16"/>
          </p:nvPr>
        </p:nvSpPr>
        <p:spPr>
          <a:xfrm>
            <a:off x="1142998" y="4610099"/>
            <a:ext cx="9752800" cy="1474215"/>
          </a:xfrm>
        </p:spPr>
        <p:txBody>
          <a:bodyPr numCol="2"/>
          <a:lstStyle/>
          <a:p>
            <a:r>
              <a:rPr lang="en-US" dirty="0">
                <a:hlinkClick r:id="rId3" action="ppaction://hlinksldjump">
                  <a:extLst>
                    <a:ext uri="{A12FA001-AC4F-418D-AE19-62706E023703}">
                      <ahyp:hlinkClr xmlns:ahyp="http://schemas.microsoft.com/office/drawing/2018/hyperlinkcolor" val="tx"/>
                    </a:ext>
                  </a:extLst>
                </a:hlinkClick>
              </a:rPr>
              <a:t>Maps</a:t>
            </a:r>
            <a:endParaRPr lang="en-US" dirty="0"/>
          </a:p>
          <a:p>
            <a:r>
              <a:rPr lang="en-US" dirty="0">
                <a:hlinkClick r:id="rId4" action="ppaction://hlinksldjump">
                  <a:extLst>
                    <a:ext uri="{A12FA001-AC4F-418D-AE19-62706E023703}">
                      <ahyp:hlinkClr xmlns:ahyp="http://schemas.microsoft.com/office/drawing/2018/hyperlinkcolor" val="tx"/>
                    </a:ext>
                  </a:extLst>
                </a:hlinkClick>
              </a:rPr>
              <a:t>Project Management</a:t>
            </a:r>
            <a:endParaRPr lang="en-US" dirty="0"/>
          </a:p>
          <a:p>
            <a:r>
              <a:rPr lang="en-US" dirty="0">
                <a:hlinkClick r:id="rId5" action="ppaction://hlinksldjump">
                  <a:extLst>
                    <a:ext uri="{A12FA001-AC4F-418D-AE19-62706E023703}">
                      <ahyp:hlinkClr xmlns:ahyp="http://schemas.microsoft.com/office/drawing/2018/hyperlinkcolor" val="tx"/>
                    </a:ext>
                  </a:extLst>
                </a:hlinkClick>
              </a:rPr>
              <a:t>AMC Way Approach, Assets </a:t>
            </a:r>
            <a:br>
              <a:rPr lang="en-US" dirty="0">
                <a:hlinkClick r:id="rId5" action="ppaction://hlinksldjump">
                  <a:extLst>
                    <a:ext uri="{A12FA001-AC4F-418D-AE19-62706E023703}">
                      <ahyp:hlinkClr xmlns:ahyp="http://schemas.microsoft.com/office/drawing/2018/hyperlinkcolor" val="tx"/>
                    </a:ext>
                  </a:extLst>
                </a:hlinkClick>
              </a:rPr>
            </a:br>
            <a:r>
              <a:rPr lang="en-US" dirty="0">
                <a:hlinkClick r:id="rId5" action="ppaction://hlinksldjump">
                  <a:extLst>
                    <a:ext uri="{A12FA001-AC4F-418D-AE19-62706E023703}">
                      <ahyp:hlinkClr xmlns:ahyp="http://schemas.microsoft.com/office/drawing/2018/hyperlinkcolor" val="tx"/>
                    </a:ext>
                  </a:extLst>
                </a:hlinkClick>
              </a:rPr>
              <a:t>and Workplans Teams and People</a:t>
            </a:r>
            <a:endParaRPr lang="en-US" dirty="0"/>
          </a:p>
          <a:p>
            <a:r>
              <a:rPr lang="en-US" dirty="0">
                <a:hlinkClick r:id="rId6" action="ppaction://hlinksldjump">
                  <a:extLst>
                    <a:ext uri="{A12FA001-AC4F-418D-AE19-62706E023703}">
                      <ahyp:hlinkClr xmlns:ahyp="http://schemas.microsoft.com/office/drawing/2018/hyperlinkcolor" val="tx"/>
                    </a:ext>
                  </a:extLst>
                </a:hlinkClick>
              </a:rPr>
              <a:t>Evaluation</a:t>
            </a:r>
            <a:endParaRPr lang="en-US" dirty="0"/>
          </a:p>
          <a:p>
            <a:r>
              <a:rPr lang="en-US" dirty="0">
                <a:hlinkClick r:id="rId7" action="ppaction://hlinksldjump">
                  <a:extLst>
                    <a:ext uri="{A12FA001-AC4F-418D-AE19-62706E023703}">
                      <ahyp:hlinkClr xmlns:ahyp="http://schemas.microsoft.com/office/drawing/2018/hyperlinkcolor" val="tx"/>
                    </a:ext>
                  </a:extLst>
                </a:hlinkClick>
              </a:rPr>
              <a:t>Illustrative Graphs and Frameworks</a:t>
            </a:r>
            <a:endParaRPr lang="en-US" dirty="0"/>
          </a:p>
          <a:p>
            <a:r>
              <a:rPr lang="en-US" dirty="0">
                <a:hlinkClick r:id="rId8" action="ppaction://hlinksldjump">
                  <a:extLst>
                    <a:ext uri="{A12FA001-AC4F-418D-AE19-62706E023703}">
                      <ahyp:hlinkClr xmlns:ahyp="http://schemas.microsoft.com/office/drawing/2018/hyperlinkcolor" val="tx"/>
                    </a:ext>
                  </a:extLst>
                </a:hlinkClick>
              </a:rPr>
              <a:t>Useful Objects</a:t>
            </a:r>
            <a:endParaRPr lang="en-US" dirty="0"/>
          </a:p>
        </p:txBody>
      </p:sp>
      <p:sp>
        <p:nvSpPr>
          <p:cNvPr id="5" name="Footer Placeholder 4">
            <a:extLst>
              <a:ext uri="{FF2B5EF4-FFF2-40B4-BE49-F238E27FC236}">
                <a16:creationId xmlns:a16="http://schemas.microsoft.com/office/drawing/2014/main" id="{66739FAD-9146-4526-8212-A89B05AAB9FD}"/>
              </a:ext>
            </a:extLst>
          </p:cNvPr>
          <p:cNvSpPr>
            <a:spLocks noGrp="1"/>
          </p:cNvSpPr>
          <p:nvPr>
            <p:ph type="ftr" sz="quarter" idx="18"/>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03186AE4-1B64-4DEA-AB86-F8FF234B71C8}"/>
              </a:ext>
            </a:extLst>
          </p:cNvPr>
          <p:cNvSpPr>
            <a:spLocks noGrp="1"/>
          </p:cNvSpPr>
          <p:nvPr>
            <p:ph type="sldNum" sz="quarter" idx="19"/>
          </p:nvPr>
        </p:nvSpPr>
        <p:spPr/>
        <p:txBody>
          <a:bodyPr/>
          <a:lstStyle/>
          <a:p>
            <a:fld id="{1F90F471-3972-4120-B8B3-0237DE626C35}" type="slidenum">
              <a:rPr lang="en-US" smtClean="0"/>
              <a:pPr/>
              <a:t>350</a:t>
            </a:fld>
            <a:endParaRPr lang="en-US" dirty="0"/>
          </a:p>
        </p:txBody>
      </p:sp>
    </p:spTree>
    <p:extLst>
      <p:ext uri="{BB962C8B-B14F-4D97-AF65-F5344CB8AC3E}">
        <p14:creationId xmlns:p14="http://schemas.microsoft.com/office/powerpoint/2010/main" val="600275877"/>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descr="Add text and order accordingly">
            <a:hlinkClick r:id="rId2" action="ppaction://hlinksldjump" tooltip="Return to Index"/>
            <a:extLst>
              <a:ext uri="{FF2B5EF4-FFF2-40B4-BE49-F238E27FC236}">
                <a16:creationId xmlns:a16="http://schemas.microsoft.com/office/drawing/2014/main" id="{0DE3F75C-CF1B-47BB-A358-FF97AF03C85D}"/>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itle 6">
            <a:extLst>
              <a:ext uri="{FF2B5EF4-FFF2-40B4-BE49-F238E27FC236}">
                <a16:creationId xmlns:a16="http://schemas.microsoft.com/office/drawing/2014/main" id="{F7C4124B-B9D5-4FB9-AA46-3262DD2B40DB}"/>
              </a:ext>
            </a:extLst>
          </p:cNvPr>
          <p:cNvSpPr>
            <a:spLocks noGrp="1"/>
          </p:cNvSpPr>
          <p:nvPr>
            <p:ph type="title"/>
          </p:nvPr>
        </p:nvSpPr>
        <p:spPr/>
        <p:txBody>
          <a:bodyPr/>
          <a:lstStyle/>
          <a:p>
            <a:r>
              <a:rPr lang="en-US" dirty="0"/>
              <a:t>Maps</a:t>
            </a:r>
          </a:p>
        </p:txBody>
      </p:sp>
      <p:sp>
        <p:nvSpPr>
          <p:cNvPr id="9" name="Text Placeholder 8">
            <a:extLst>
              <a:ext uri="{FF2B5EF4-FFF2-40B4-BE49-F238E27FC236}">
                <a16:creationId xmlns:a16="http://schemas.microsoft.com/office/drawing/2014/main" id="{1265ADBE-657A-4DC7-A6A6-2F0E697C4723}"/>
              </a:ext>
            </a:extLst>
          </p:cNvPr>
          <p:cNvSpPr>
            <a:spLocks noGrp="1"/>
          </p:cNvSpPr>
          <p:nvPr>
            <p:ph type="body" sz="quarter" idx="15"/>
          </p:nvPr>
        </p:nvSpPr>
        <p:spPr/>
        <p:txBody>
          <a:bodyPr/>
          <a:lstStyle/>
          <a:p>
            <a:r>
              <a:rPr lang="en-US" dirty="0"/>
              <a:t>Part of </a:t>
            </a:r>
            <a:br>
              <a:rPr lang="en-US" dirty="0"/>
            </a:br>
            <a:r>
              <a:rPr lang="en-US" dirty="0">
                <a:hlinkClick r:id="rId3" action="ppaction://hlinksldjump">
                  <a:extLst>
                    <a:ext uri="{A12FA001-AC4F-418D-AE19-62706E023703}">
                      <ahyp:hlinkClr xmlns:ahyp="http://schemas.microsoft.com/office/drawing/2018/hyperlinkcolor" val="tx"/>
                    </a:ext>
                  </a:extLst>
                </a:hlinkClick>
              </a:rPr>
              <a:t>Standard Visuals</a:t>
            </a:r>
            <a:endParaRPr lang="en-US" dirty="0"/>
          </a:p>
        </p:txBody>
      </p:sp>
      <p:sp>
        <p:nvSpPr>
          <p:cNvPr id="5" name="Footer Placeholder 4">
            <a:extLst>
              <a:ext uri="{FF2B5EF4-FFF2-40B4-BE49-F238E27FC236}">
                <a16:creationId xmlns:a16="http://schemas.microsoft.com/office/drawing/2014/main" id="{9DC78945-A645-4563-BCA9-927812C9C4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BEE2891-AE3F-4D8A-B562-5662B242B3DF}"/>
              </a:ext>
            </a:extLst>
          </p:cNvPr>
          <p:cNvSpPr>
            <a:spLocks noGrp="1"/>
          </p:cNvSpPr>
          <p:nvPr>
            <p:ph type="sldNum" sz="quarter" idx="17"/>
          </p:nvPr>
        </p:nvSpPr>
        <p:spPr/>
        <p:txBody>
          <a:bodyPr/>
          <a:lstStyle/>
          <a:p>
            <a:fld id="{1F90F471-3972-4120-B8B3-0237DE626C35}" type="slidenum">
              <a:rPr lang="en-US" smtClean="0"/>
              <a:pPr/>
              <a:t>351</a:t>
            </a:fld>
            <a:endParaRPr lang="en-US" dirty="0"/>
          </a:p>
        </p:txBody>
      </p:sp>
    </p:spTree>
    <p:extLst>
      <p:ext uri="{BB962C8B-B14F-4D97-AF65-F5344CB8AC3E}">
        <p14:creationId xmlns:p14="http://schemas.microsoft.com/office/powerpoint/2010/main" val="3235602159"/>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World 1</a:t>
            </a:r>
            <a:endParaRPr lang="de-DE" dirty="0"/>
          </a:p>
        </p:txBody>
      </p:sp>
      <p:sp>
        <p:nvSpPr>
          <p:cNvPr id="3" name="TextBox 2">
            <a:extLst>
              <a:ext uri="{FF2B5EF4-FFF2-40B4-BE49-F238E27FC236}">
                <a16:creationId xmlns:a16="http://schemas.microsoft.com/office/drawing/2014/main" id="{E7FF9FD1-48BD-41EA-954F-BF4E93CBFE71}"/>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ea typeface="+mn-ea"/>
                <a:cs typeface="+mn-cs"/>
              </a:rPr>
              <a:t>Ungroup map to select and shade one or more countries</a:t>
            </a:r>
            <a:endParaRPr kumimoji="0" lang="de-DE" sz="1600" b="0" i="0" u="none" strike="noStrike" kern="1200" cap="none" spc="0" normalizeH="0" baseline="0" noProof="0" dirty="0">
              <a:ln>
                <a:noFill/>
              </a:ln>
              <a:solidFill>
                <a:srgbClr val="000000"/>
              </a:solidFill>
              <a:effectLst/>
              <a:uLnTx/>
              <a:uFillTx/>
              <a:ea typeface="+mn-ea"/>
              <a:cs typeface="+mn-cs"/>
            </a:endParaRPr>
          </a:p>
        </p:txBody>
      </p:sp>
      <p:sp>
        <p:nvSpPr>
          <p:cNvPr id="5" name="Footer Placeholder 4">
            <a:extLst>
              <a:ext uri="{FF2B5EF4-FFF2-40B4-BE49-F238E27FC236}">
                <a16:creationId xmlns:a16="http://schemas.microsoft.com/office/drawing/2014/main" id="{430C274F-AE17-4883-A6F5-34E5A33C4395}"/>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3C382A38-DFFB-4B2C-B446-A701C4D41D34}"/>
              </a:ext>
            </a:extLst>
          </p:cNvPr>
          <p:cNvSpPr>
            <a:spLocks noGrp="1"/>
          </p:cNvSpPr>
          <p:nvPr>
            <p:ph type="sldNum" sz="quarter" idx="10"/>
          </p:nvPr>
        </p:nvSpPr>
        <p:spPr/>
        <p:txBody>
          <a:bodyPr/>
          <a:lstStyle/>
          <a:p>
            <a:fld id="{1F90F471-3972-4120-B8B3-0237DE626C35}" type="slidenum">
              <a:rPr lang="en-US" smtClean="0"/>
              <a:pPr/>
              <a:t>352</a:t>
            </a:fld>
            <a:endParaRPr lang="en-US" dirty="0"/>
          </a:p>
        </p:txBody>
      </p:sp>
      <p:grpSp>
        <p:nvGrpSpPr>
          <p:cNvPr id="402" name="Group 401">
            <a:extLst>
              <a:ext uri="{FF2B5EF4-FFF2-40B4-BE49-F238E27FC236}">
                <a16:creationId xmlns:a16="http://schemas.microsoft.com/office/drawing/2014/main" id="{E66EEF95-9C3D-4466-9577-253E8ADE2B88}"/>
              </a:ext>
            </a:extLst>
          </p:cNvPr>
          <p:cNvGrpSpPr>
            <a:grpSpLocks noChangeAspect="1"/>
          </p:cNvGrpSpPr>
          <p:nvPr/>
        </p:nvGrpSpPr>
        <p:grpSpPr>
          <a:xfrm>
            <a:off x="1524000" y="1479969"/>
            <a:ext cx="9144000" cy="4865390"/>
            <a:chOff x="1524000" y="1479969"/>
            <a:chExt cx="9144000" cy="4865390"/>
          </a:xfrm>
        </p:grpSpPr>
        <p:grpSp>
          <p:nvGrpSpPr>
            <p:cNvPr id="403" name="World_Map1">
              <a:extLst>
                <a:ext uri="{FF2B5EF4-FFF2-40B4-BE49-F238E27FC236}">
                  <a16:creationId xmlns:a16="http://schemas.microsoft.com/office/drawing/2014/main" id="{2E9B79C7-F1E3-4C16-890C-E9729AEAB688}"/>
                </a:ext>
              </a:extLst>
            </p:cNvPr>
            <p:cNvGrpSpPr>
              <a:grpSpLocks noChangeAspect="1"/>
            </p:cNvGrpSpPr>
            <p:nvPr/>
          </p:nvGrpSpPr>
          <p:grpSpPr>
            <a:xfrm>
              <a:off x="1524000" y="1479969"/>
              <a:ext cx="9144000" cy="4865390"/>
              <a:chOff x="1524000" y="1479969"/>
              <a:chExt cx="9144000" cy="4865390"/>
            </a:xfrm>
          </p:grpSpPr>
          <p:grpSp>
            <p:nvGrpSpPr>
              <p:cNvPr id="405" name="Graphic 7">
                <a:extLst>
                  <a:ext uri="{FF2B5EF4-FFF2-40B4-BE49-F238E27FC236}">
                    <a16:creationId xmlns:a16="http://schemas.microsoft.com/office/drawing/2014/main" id="{5F7EA909-C636-4221-AD7A-D7069FC2F8B6}"/>
                  </a:ext>
                </a:extLst>
              </p:cNvPr>
              <p:cNvGrpSpPr/>
              <p:nvPr/>
            </p:nvGrpSpPr>
            <p:grpSpPr>
              <a:xfrm>
                <a:off x="3038587" y="1549852"/>
                <a:ext cx="7624189" cy="4785424"/>
                <a:chOff x="3038587" y="1549852"/>
                <a:chExt cx="7624189" cy="4785424"/>
              </a:xfrm>
              <a:solidFill>
                <a:srgbClr val="D6D6D2"/>
              </a:solidFill>
            </p:grpSpPr>
            <p:sp>
              <p:nvSpPr>
                <p:cNvPr id="545" name="Freeform: Shape 544">
                  <a:extLst>
                    <a:ext uri="{FF2B5EF4-FFF2-40B4-BE49-F238E27FC236}">
                      <a16:creationId xmlns:a16="http://schemas.microsoft.com/office/drawing/2014/main" id="{55AF648F-1826-4BB0-85F4-FF4720A12CED}"/>
                    </a:ext>
                  </a:extLst>
                </p:cNvPr>
                <p:cNvSpPr/>
                <p:nvPr/>
              </p:nvSpPr>
              <p:spPr>
                <a:xfrm>
                  <a:off x="6569246" y="4995763"/>
                  <a:ext cx="193026" cy="208111"/>
                </a:xfrm>
                <a:custGeom>
                  <a:avLst/>
                  <a:gdLst>
                    <a:gd name="connsiteX0" fmla="*/ 150387 w 193026"/>
                    <a:gd name="connsiteY0" fmla="*/ 208112 h 208111"/>
                    <a:gd name="connsiteX1" fmla="*/ 148146 w 193026"/>
                    <a:gd name="connsiteY1" fmla="*/ 206335 h 208111"/>
                    <a:gd name="connsiteX2" fmla="*/ 145074 w 193026"/>
                    <a:gd name="connsiteY2" fmla="*/ 205178 h 208111"/>
                    <a:gd name="connsiteX3" fmla="*/ 141178 w 193026"/>
                    <a:gd name="connsiteY3" fmla="*/ 204648 h 208111"/>
                    <a:gd name="connsiteX4" fmla="*/ 136109 w 193026"/>
                    <a:gd name="connsiteY4" fmla="*/ 204876 h 208111"/>
                    <a:gd name="connsiteX5" fmla="*/ 129866 w 193026"/>
                    <a:gd name="connsiteY5" fmla="*/ 205838 h 208111"/>
                    <a:gd name="connsiteX6" fmla="*/ 123175 w 193026"/>
                    <a:gd name="connsiteY6" fmla="*/ 204664 h 208111"/>
                    <a:gd name="connsiteX7" fmla="*/ 116036 w 193026"/>
                    <a:gd name="connsiteY7" fmla="*/ 201331 h 208111"/>
                    <a:gd name="connsiteX8" fmla="*/ 110095 w 193026"/>
                    <a:gd name="connsiteY8" fmla="*/ 200149 h 208111"/>
                    <a:gd name="connsiteX9" fmla="*/ 103013 w 193026"/>
                    <a:gd name="connsiteY9" fmla="*/ 201608 h 208111"/>
                    <a:gd name="connsiteX10" fmla="*/ 102703 w 193026"/>
                    <a:gd name="connsiteY10" fmla="*/ 201641 h 208111"/>
                    <a:gd name="connsiteX11" fmla="*/ 101473 w 193026"/>
                    <a:gd name="connsiteY11" fmla="*/ 200516 h 208111"/>
                    <a:gd name="connsiteX12" fmla="*/ 99533 w 193026"/>
                    <a:gd name="connsiteY12" fmla="*/ 198079 h 208111"/>
                    <a:gd name="connsiteX13" fmla="*/ 96298 w 193026"/>
                    <a:gd name="connsiteY13" fmla="*/ 197656 h 208111"/>
                    <a:gd name="connsiteX14" fmla="*/ 95417 w 193026"/>
                    <a:gd name="connsiteY14" fmla="*/ 197085 h 208111"/>
                    <a:gd name="connsiteX15" fmla="*/ 94700 w 193026"/>
                    <a:gd name="connsiteY15" fmla="*/ 196188 h 208111"/>
                    <a:gd name="connsiteX16" fmla="*/ 94227 w 193026"/>
                    <a:gd name="connsiteY16" fmla="*/ 195031 h 208111"/>
                    <a:gd name="connsiteX17" fmla="*/ 94040 w 193026"/>
                    <a:gd name="connsiteY17" fmla="*/ 193744 h 208111"/>
                    <a:gd name="connsiteX18" fmla="*/ 94586 w 193026"/>
                    <a:gd name="connsiteY18" fmla="*/ 189758 h 208111"/>
                    <a:gd name="connsiteX19" fmla="*/ 94285 w 193026"/>
                    <a:gd name="connsiteY19" fmla="*/ 189302 h 208111"/>
                    <a:gd name="connsiteX20" fmla="*/ 93420 w 193026"/>
                    <a:gd name="connsiteY20" fmla="*/ 188829 h 208111"/>
                    <a:gd name="connsiteX21" fmla="*/ 91636 w 193026"/>
                    <a:gd name="connsiteY21" fmla="*/ 188348 h 208111"/>
                    <a:gd name="connsiteX22" fmla="*/ 87390 w 193026"/>
                    <a:gd name="connsiteY22" fmla="*/ 186531 h 208111"/>
                    <a:gd name="connsiteX23" fmla="*/ 82036 w 193026"/>
                    <a:gd name="connsiteY23" fmla="*/ 184771 h 208111"/>
                    <a:gd name="connsiteX24" fmla="*/ 73348 w 193026"/>
                    <a:gd name="connsiteY24" fmla="*/ 182864 h 208111"/>
                    <a:gd name="connsiteX25" fmla="*/ 69974 w 193026"/>
                    <a:gd name="connsiteY25" fmla="*/ 182358 h 208111"/>
                    <a:gd name="connsiteX26" fmla="*/ 69200 w 193026"/>
                    <a:gd name="connsiteY26" fmla="*/ 181772 h 208111"/>
                    <a:gd name="connsiteX27" fmla="*/ 68205 w 193026"/>
                    <a:gd name="connsiteY27" fmla="*/ 180297 h 208111"/>
                    <a:gd name="connsiteX28" fmla="*/ 66543 w 193026"/>
                    <a:gd name="connsiteY28" fmla="*/ 175725 h 208111"/>
                    <a:gd name="connsiteX29" fmla="*/ 64986 w 193026"/>
                    <a:gd name="connsiteY29" fmla="*/ 172701 h 208111"/>
                    <a:gd name="connsiteX30" fmla="*/ 61237 w 193026"/>
                    <a:gd name="connsiteY30" fmla="*/ 168039 h 208111"/>
                    <a:gd name="connsiteX31" fmla="*/ 60650 w 193026"/>
                    <a:gd name="connsiteY31" fmla="*/ 166581 h 208111"/>
                    <a:gd name="connsiteX32" fmla="*/ 60838 w 193026"/>
                    <a:gd name="connsiteY32" fmla="*/ 162889 h 208111"/>
                    <a:gd name="connsiteX33" fmla="*/ 61107 w 193026"/>
                    <a:gd name="connsiteY33" fmla="*/ 159898 h 208111"/>
                    <a:gd name="connsiteX34" fmla="*/ 61514 w 193026"/>
                    <a:gd name="connsiteY34" fmla="*/ 157363 h 208111"/>
                    <a:gd name="connsiteX35" fmla="*/ 61335 w 193026"/>
                    <a:gd name="connsiteY35" fmla="*/ 154992 h 208111"/>
                    <a:gd name="connsiteX36" fmla="*/ 61278 w 193026"/>
                    <a:gd name="connsiteY36" fmla="*/ 152050 h 208111"/>
                    <a:gd name="connsiteX37" fmla="*/ 61392 w 193026"/>
                    <a:gd name="connsiteY37" fmla="*/ 150069 h 208111"/>
                    <a:gd name="connsiteX38" fmla="*/ 60895 w 193026"/>
                    <a:gd name="connsiteY38" fmla="*/ 149214 h 208111"/>
                    <a:gd name="connsiteX39" fmla="*/ 59534 w 193026"/>
                    <a:gd name="connsiteY39" fmla="*/ 148611 h 208111"/>
                    <a:gd name="connsiteX40" fmla="*/ 55671 w 193026"/>
                    <a:gd name="connsiteY40" fmla="*/ 148350 h 208111"/>
                    <a:gd name="connsiteX41" fmla="*/ 51001 w 193026"/>
                    <a:gd name="connsiteY41" fmla="*/ 148464 h 208111"/>
                    <a:gd name="connsiteX42" fmla="*/ 50855 w 193026"/>
                    <a:gd name="connsiteY42" fmla="*/ 145465 h 208111"/>
                    <a:gd name="connsiteX43" fmla="*/ 50415 w 193026"/>
                    <a:gd name="connsiteY43" fmla="*/ 140836 h 208111"/>
                    <a:gd name="connsiteX44" fmla="*/ 49534 w 193026"/>
                    <a:gd name="connsiteY44" fmla="*/ 138179 h 208111"/>
                    <a:gd name="connsiteX45" fmla="*/ 48467 w 193026"/>
                    <a:gd name="connsiteY45" fmla="*/ 136793 h 208111"/>
                    <a:gd name="connsiteX46" fmla="*/ 46315 w 193026"/>
                    <a:gd name="connsiteY46" fmla="*/ 135351 h 208111"/>
                    <a:gd name="connsiteX47" fmla="*/ 41988 w 193026"/>
                    <a:gd name="connsiteY47" fmla="*/ 133371 h 208111"/>
                    <a:gd name="connsiteX48" fmla="*/ 36063 w 193026"/>
                    <a:gd name="connsiteY48" fmla="*/ 130363 h 208111"/>
                    <a:gd name="connsiteX49" fmla="*/ 31010 w 193026"/>
                    <a:gd name="connsiteY49" fmla="*/ 125922 h 208111"/>
                    <a:gd name="connsiteX50" fmla="*/ 25216 w 193026"/>
                    <a:gd name="connsiteY50" fmla="*/ 120396 h 208111"/>
                    <a:gd name="connsiteX51" fmla="*/ 23406 w 193026"/>
                    <a:gd name="connsiteY51" fmla="*/ 119443 h 208111"/>
                    <a:gd name="connsiteX52" fmla="*/ 21279 w 193026"/>
                    <a:gd name="connsiteY52" fmla="*/ 114251 h 208111"/>
                    <a:gd name="connsiteX53" fmla="*/ 18020 w 193026"/>
                    <a:gd name="connsiteY53" fmla="*/ 105368 h 208111"/>
                    <a:gd name="connsiteX54" fmla="*/ 18231 w 193026"/>
                    <a:gd name="connsiteY54" fmla="*/ 102410 h 208111"/>
                    <a:gd name="connsiteX55" fmla="*/ 17742 w 193026"/>
                    <a:gd name="connsiteY55" fmla="*/ 100967 h 208111"/>
                    <a:gd name="connsiteX56" fmla="*/ 14564 w 193026"/>
                    <a:gd name="connsiteY56" fmla="*/ 96607 h 208111"/>
                    <a:gd name="connsiteX57" fmla="*/ 13879 w 193026"/>
                    <a:gd name="connsiteY57" fmla="*/ 94349 h 208111"/>
                    <a:gd name="connsiteX58" fmla="*/ 13317 w 193026"/>
                    <a:gd name="connsiteY58" fmla="*/ 92060 h 208111"/>
                    <a:gd name="connsiteX59" fmla="*/ 8281 w 193026"/>
                    <a:gd name="connsiteY59" fmla="*/ 85686 h 208111"/>
                    <a:gd name="connsiteX60" fmla="*/ 6577 w 193026"/>
                    <a:gd name="connsiteY60" fmla="*/ 82899 h 208111"/>
                    <a:gd name="connsiteX61" fmla="*/ 5273 w 193026"/>
                    <a:gd name="connsiteY61" fmla="*/ 79338 h 208111"/>
                    <a:gd name="connsiteX62" fmla="*/ 3977 w 193026"/>
                    <a:gd name="connsiteY62" fmla="*/ 76477 h 208111"/>
                    <a:gd name="connsiteX63" fmla="*/ 2877 w 193026"/>
                    <a:gd name="connsiteY63" fmla="*/ 75320 h 208111"/>
                    <a:gd name="connsiteX64" fmla="*/ 1443 w 193026"/>
                    <a:gd name="connsiteY64" fmla="*/ 73380 h 208111"/>
                    <a:gd name="connsiteX65" fmla="*/ 449 w 193026"/>
                    <a:gd name="connsiteY65" fmla="*/ 71172 h 208111"/>
                    <a:gd name="connsiteX66" fmla="*/ 0 w 193026"/>
                    <a:gd name="connsiteY66" fmla="*/ 69517 h 208111"/>
                    <a:gd name="connsiteX67" fmla="*/ 359 w 193026"/>
                    <a:gd name="connsiteY67" fmla="*/ 67300 h 208111"/>
                    <a:gd name="connsiteX68" fmla="*/ 856 w 193026"/>
                    <a:gd name="connsiteY68" fmla="*/ 65785 h 208111"/>
                    <a:gd name="connsiteX69" fmla="*/ 5640 w 193026"/>
                    <a:gd name="connsiteY69" fmla="*/ 67366 h 208111"/>
                    <a:gd name="connsiteX70" fmla="*/ 8256 w 193026"/>
                    <a:gd name="connsiteY70" fmla="*/ 67504 h 208111"/>
                    <a:gd name="connsiteX71" fmla="*/ 10310 w 193026"/>
                    <a:gd name="connsiteY71" fmla="*/ 66730 h 208111"/>
                    <a:gd name="connsiteX72" fmla="*/ 12844 w 193026"/>
                    <a:gd name="connsiteY72" fmla="*/ 67765 h 208111"/>
                    <a:gd name="connsiteX73" fmla="*/ 15851 w 193026"/>
                    <a:gd name="connsiteY73" fmla="*/ 70642 h 208111"/>
                    <a:gd name="connsiteX74" fmla="*/ 19144 w 193026"/>
                    <a:gd name="connsiteY74" fmla="*/ 71204 h 208111"/>
                    <a:gd name="connsiteX75" fmla="*/ 22697 w 193026"/>
                    <a:gd name="connsiteY75" fmla="*/ 69403 h 208111"/>
                    <a:gd name="connsiteX76" fmla="*/ 27505 w 193026"/>
                    <a:gd name="connsiteY76" fmla="*/ 69941 h 208111"/>
                    <a:gd name="connsiteX77" fmla="*/ 33569 w 193026"/>
                    <a:gd name="connsiteY77" fmla="*/ 72810 h 208111"/>
                    <a:gd name="connsiteX78" fmla="*/ 38589 w 193026"/>
                    <a:gd name="connsiteY78" fmla="*/ 73388 h 208111"/>
                    <a:gd name="connsiteX79" fmla="*/ 44555 w 193026"/>
                    <a:gd name="connsiteY79" fmla="*/ 70846 h 208111"/>
                    <a:gd name="connsiteX80" fmla="*/ 49885 w 193026"/>
                    <a:gd name="connsiteY80" fmla="*/ 63796 h 208111"/>
                    <a:gd name="connsiteX81" fmla="*/ 54913 w 193026"/>
                    <a:gd name="connsiteY81" fmla="*/ 57154 h 208111"/>
                    <a:gd name="connsiteX82" fmla="*/ 59844 w 193026"/>
                    <a:gd name="connsiteY82" fmla="*/ 49502 h 208111"/>
                    <a:gd name="connsiteX83" fmla="*/ 62810 w 193026"/>
                    <a:gd name="connsiteY83" fmla="*/ 43324 h 208111"/>
                    <a:gd name="connsiteX84" fmla="*/ 67162 w 193026"/>
                    <a:gd name="connsiteY84" fmla="*/ 38296 h 208111"/>
                    <a:gd name="connsiteX85" fmla="*/ 72908 w 193026"/>
                    <a:gd name="connsiteY85" fmla="*/ 34424 h 208111"/>
                    <a:gd name="connsiteX86" fmla="*/ 78759 w 193026"/>
                    <a:gd name="connsiteY86" fmla="*/ 31156 h 208111"/>
                    <a:gd name="connsiteX87" fmla="*/ 87716 w 193026"/>
                    <a:gd name="connsiteY87" fmla="*/ 27147 h 208111"/>
                    <a:gd name="connsiteX88" fmla="*/ 87708 w 193026"/>
                    <a:gd name="connsiteY88" fmla="*/ 27155 h 208111"/>
                    <a:gd name="connsiteX89" fmla="*/ 89492 w 193026"/>
                    <a:gd name="connsiteY89" fmla="*/ 23862 h 208111"/>
                    <a:gd name="connsiteX90" fmla="*/ 90104 w 193026"/>
                    <a:gd name="connsiteY90" fmla="*/ 20252 h 208111"/>
                    <a:gd name="connsiteX91" fmla="*/ 90104 w 193026"/>
                    <a:gd name="connsiteY91" fmla="*/ 15248 h 208111"/>
                    <a:gd name="connsiteX92" fmla="*/ 90560 w 193026"/>
                    <a:gd name="connsiteY92" fmla="*/ 12004 h 208111"/>
                    <a:gd name="connsiteX93" fmla="*/ 91489 w 193026"/>
                    <a:gd name="connsiteY93" fmla="*/ 10529 h 208111"/>
                    <a:gd name="connsiteX94" fmla="*/ 92981 w 193026"/>
                    <a:gd name="connsiteY94" fmla="*/ 9380 h 208111"/>
                    <a:gd name="connsiteX95" fmla="*/ 94904 w 193026"/>
                    <a:gd name="connsiteY95" fmla="*/ 7881 h 208111"/>
                    <a:gd name="connsiteX96" fmla="*/ 100788 w 193026"/>
                    <a:gd name="connsiteY96" fmla="*/ 4083 h 208111"/>
                    <a:gd name="connsiteX97" fmla="*/ 105735 w 193026"/>
                    <a:gd name="connsiteY97" fmla="*/ 1646 h 208111"/>
                    <a:gd name="connsiteX98" fmla="*/ 111741 w 193026"/>
                    <a:gd name="connsiteY98" fmla="*/ 57 h 208111"/>
                    <a:gd name="connsiteX99" fmla="*/ 118326 w 193026"/>
                    <a:gd name="connsiteY99" fmla="*/ 33 h 208111"/>
                    <a:gd name="connsiteX100" fmla="*/ 124667 w 193026"/>
                    <a:gd name="connsiteY100" fmla="*/ 16 h 208111"/>
                    <a:gd name="connsiteX101" fmla="*/ 128277 w 193026"/>
                    <a:gd name="connsiteY101" fmla="*/ 0 h 208111"/>
                    <a:gd name="connsiteX102" fmla="*/ 128326 w 193026"/>
                    <a:gd name="connsiteY102" fmla="*/ 4825 h 208111"/>
                    <a:gd name="connsiteX103" fmla="*/ 128611 w 193026"/>
                    <a:gd name="connsiteY103" fmla="*/ 10236 h 208111"/>
                    <a:gd name="connsiteX104" fmla="*/ 129312 w 193026"/>
                    <a:gd name="connsiteY104" fmla="*/ 10758 h 208111"/>
                    <a:gd name="connsiteX105" fmla="*/ 134080 w 193026"/>
                    <a:gd name="connsiteY105" fmla="*/ 10872 h 208111"/>
                    <a:gd name="connsiteX106" fmla="*/ 141740 w 193026"/>
                    <a:gd name="connsiteY106" fmla="*/ 11255 h 208111"/>
                    <a:gd name="connsiteX107" fmla="*/ 149108 w 193026"/>
                    <a:gd name="connsiteY107" fmla="*/ 11621 h 208111"/>
                    <a:gd name="connsiteX108" fmla="*/ 153818 w 193026"/>
                    <a:gd name="connsiteY108" fmla="*/ 15558 h 208111"/>
                    <a:gd name="connsiteX109" fmla="*/ 155408 w 193026"/>
                    <a:gd name="connsiteY109" fmla="*/ 16389 h 208111"/>
                    <a:gd name="connsiteX110" fmla="*/ 160306 w 193026"/>
                    <a:gd name="connsiteY110" fmla="*/ 17441 h 208111"/>
                    <a:gd name="connsiteX111" fmla="*/ 166556 w 193026"/>
                    <a:gd name="connsiteY111" fmla="*/ 24009 h 208111"/>
                    <a:gd name="connsiteX112" fmla="*/ 174095 w 193026"/>
                    <a:gd name="connsiteY112" fmla="*/ 24612 h 208111"/>
                    <a:gd name="connsiteX113" fmla="*/ 179262 w 193026"/>
                    <a:gd name="connsiteY113" fmla="*/ 26658 h 208111"/>
                    <a:gd name="connsiteX114" fmla="*/ 183826 w 193026"/>
                    <a:gd name="connsiteY114" fmla="*/ 28907 h 208111"/>
                    <a:gd name="connsiteX115" fmla="*/ 186450 w 193026"/>
                    <a:gd name="connsiteY115" fmla="*/ 31605 h 208111"/>
                    <a:gd name="connsiteX116" fmla="*/ 188153 w 193026"/>
                    <a:gd name="connsiteY116" fmla="*/ 32224 h 208111"/>
                    <a:gd name="connsiteX117" fmla="*/ 190451 w 193026"/>
                    <a:gd name="connsiteY117" fmla="*/ 32420 h 208111"/>
                    <a:gd name="connsiteX118" fmla="*/ 191568 w 193026"/>
                    <a:gd name="connsiteY118" fmla="*/ 32672 h 208111"/>
                    <a:gd name="connsiteX119" fmla="*/ 191323 w 193026"/>
                    <a:gd name="connsiteY119" fmla="*/ 34612 h 208111"/>
                    <a:gd name="connsiteX120" fmla="*/ 189783 w 193026"/>
                    <a:gd name="connsiteY120" fmla="*/ 37913 h 208111"/>
                    <a:gd name="connsiteX121" fmla="*/ 189995 w 193026"/>
                    <a:gd name="connsiteY121" fmla="*/ 42631 h 208111"/>
                    <a:gd name="connsiteX122" fmla="*/ 192098 w 193026"/>
                    <a:gd name="connsiteY122" fmla="*/ 49184 h 208111"/>
                    <a:gd name="connsiteX123" fmla="*/ 192383 w 193026"/>
                    <a:gd name="connsiteY123" fmla="*/ 54872 h 208111"/>
                    <a:gd name="connsiteX124" fmla="*/ 191739 w 193026"/>
                    <a:gd name="connsiteY124" fmla="*/ 64913 h 208111"/>
                    <a:gd name="connsiteX125" fmla="*/ 191755 w 193026"/>
                    <a:gd name="connsiteY125" fmla="*/ 74668 h 208111"/>
                    <a:gd name="connsiteX126" fmla="*/ 191983 w 193026"/>
                    <a:gd name="connsiteY126" fmla="*/ 78148 h 208111"/>
                    <a:gd name="connsiteX127" fmla="*/ 192326 w 193026"/>
                    <a:gd name="connsiteY127" fmla="*/ 80446 h 208111"/>
                    <a:gd name="connsiteX128" fmla="*/ 192774 w 193026"/>
                    <a:gd name="connsiteY128" fmla="*/ 81717 h 208111"/>
                    <a:gd name="connsiteX129" fmla="*/ 192684 w 193026"/>
                    <a:gd name="connsiteY129" fmla="*/ 83160 h 208111"/>
                    <a:gd name="connsiteX130" fmla="*/ 191429 w 193026"/>
                    <a:gd name="connsiteY130" fmla="*/ 87243 h 208111"/>
                    <a:gd name="connsiteX131" fmla="*/ 190419 w 193026"/>
                    <a:gd name="connsiteY131" fmla="*/ 91562 h 208111"/>
                    <a:gd name="connsiteX132" fmla="*/ 190386 w 193026"/>
                    <a:gd name="connsiteY132" fmla="*/ 93290 h 208111"/>
                    <a:gd name="connsiteX133" fmla="*/ 189995 w 193026"/>
                    <a:gd name="connsiteY133" fmla="*/ 94496 h 208111"/>
                    <a:gd name="connsiteX134" fmla="*/ 189253 w 193026"/>
                    <a:gd name="connsiteY134" fmla="*/ 95580 h 208111"/>
                    <a:gd name="connsiteX135" fmla="*/ 185961 w 193026"/>
                    <a:gd name="connsiteY135" fmla="*/ 97569 h 208111"/>
                    <a:gd name="connsiteX136" fmla="*/ 185398 w 193026"/>
                    <a:gd name="connsiteY136" fmla="*/ 98807 h 208111"/>
                    <a:gd name="connsiteX137" fmla="*/ 185406 w 193026"/>
                    <a:gd name="connsiteY137" fmla="*/ 101040 h 208111"/>
                    <a:gd name="connsiteX138" fmla="*/ 185830 w 193026"/>
                    <a:gd name="connsiteY138" fmla="*/ 102907 h 208111"/>
                    <a:gd name="connsiteX139" fmla="*/ 187053 w 193026"/>
                    <a:gd name="connsiteY139" fmla="*/ 103599 h 208111"/>
                    <a:gd name="connsiteX140" fmla="*/ 188544 w 193026"/>
                    <a:gd name="connsiteY140" fmla="*/ 104651 h 208111"/>
                    <a:gd name="connsiteX141" fmla="*/ 189131 w 193026"/>
                    <a:gd name="connsiteY141" fmla="*/ 106061 h 208111"/>
                    <a:gd name="connsiteX142" fmla="*/ 189131 w 193026"/>
                    <a:gd name="connsiteY142" fmla="*/ 107544 h 208111"/>
                    <a:gd name="connsiteX143" fmla="*/ 188667 w 193026"/>
                    <a:gd name="connsiteY143" fmla="*/ 110290 h 208111"/>
                    <a:gd name="connsiteX144" fmla="*/ 187354 w 193026"/>
                    <a:gd name="connsiteY144" fmla="*/ 114830 h 208111"/>
                    <a:gd name="connsiteX145" fmla="*/ 188659 w 193026"/>
                    <a:gd name="connsiteY145" fmla="*/ 120046 h 208111"/>
                    <a:gd name="connsiteX146" fmla="*/ 190133 w 193026"/>
                    <a:gd name="connsiteY146" fmla="*/ 123436 h 208111"/>
                    <a:gd name="connsiteX147" fmla="*/ 192179 w 193026"/>
                    <a:gd name="connsiteY147" fmla="*/ 127356 h 208111"/>
                    <a:gd name="connsiteX148" fmla="*/ 193027 w 193026"/>
                    <a:gd name="connsiteY148" fmla="*/ 129785 h 208111"/>
                    <a:gd name="connsiteX149" fmla="*/ 192978 w 193026"/>
                    <a:gd name="connsiteY149" fmla="*/ 131512 h 208111"/>
                    <a:gd name="connsiteX150" fmla="*/ 192676 w 193026"/>
                    <a:gd name="connsiteY150" fmla="*/ 133199 h 208111"/>
                    <a:gd name="connsiteX151" fmla="*/ 189628 w 193026"/>
                    <a:gd name="connsiteY151" fmla="*/ 140379 h 208111"/>
                    <a:gd name="connsiteX152" fmla="*/ 187419 w 193026"/>
                    <a:gd name="connsiteY152" fmla="*/ 144837 h 208111"/>
                    <a:gd name="connsiteX153" fmla="*/ 184730 w 193026"/>
                    <a:gd name="connsiteY153" fmla="*/ 149621 h 208111"/>
                    <a:gd name="connsiteX154" fmla="*/ 181177 w 193026"/>
                    <a:gd name="connsiteY154" fmla="*/ 152612 h 208111"/>
                    <a:gd name="connsiteX155" fmla="*/ 180273 w 193026"/>
                    <a:gd name="connsiteY155" fmla="*/ 154055 h 208111"/>
                    <a:gd name="connsiteX156" fmla="*/ 179905 w 193026"/>
                    <a:gd name="connsiteY156" fmla="*/ 155709 h 208111"/>
                    <a:gd name="connsiteX157" fmla="*/ 180028 w 193026"/>
                    <a:gd name="connsiteY157" fmla="*/ 159303 h 208111"/>
                    <a:gd name="connsiteX158" fmla="*/ 179873 w 193026"/>
                    <a:gd name="connsiteY158" fmla="*/ 163052 h 208111"/>
                    <a:gd name="connsiteX159" fmla="*/ 176825 w 193026"/>
                    <a:gd name="connsiteY159" fmla="*/ 168822 h 208111"/>
                    <a:gd name="connsiteX160" fmla="*/ 178716 w 193026"/>
                    <a:gd name="connsiteY160" fmla="*/ 173801 h 208111"/>
                    <a:gd name="connsiteX161" fmla="*/ 178284 w 193026"/>
                    <a:gd name="connsiteY161" fmla="*/ 174250 h 208111"/>
                    <a:gd name="connsiteX162" fmla="*/ 177257 w 193026"/>
                    <a:gd name="connsiteY162" fmla="*/ 174967 h 208111"/>
                    <a:gd name="connsiteX163" fmla="*/ 172880 w 193026"/>
                    <a:gd name="connsiteY163" fmla="*/ 180566 h 208111"/>
                    <a:gd name="connsiteX164" fmla="*/ 168455 w 193026"/>
                    <a:gd name="connsiteY164" fmla="*/ 186238 h 208111"/>
                    <a:gd name="connsiteX165" fmla="*/ 165228 w 193026"/>
                    <a:gd name="connsiteY165" fmla="*/ 190378 h 208111"/>
                    <a:gd name="connsiteX166" fmla="*/ 161561 w 193026"/>
                    <a:gd name="connsiteY166" fmla="*/ 195096 h 208111"/>
                    <a:gd name="connsiteX167" fmla="*/ 157429 w 193026"/>
                    <a:gd name="connsiteY167" fmla="*/ 200386 h 208111"/>
                    <a:gd name="connsiteX168" fmla="*/ 153908 w 193026"/>
                    <a:gd name="connsiteY168" fmla="*/ 204901 h 208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193026" h="208111">
                      <a:moveTo>
                        <a:pt x="150387" y="208112"/>
                      </a:moveTo>
                      <a:lnTo>
                        <a:pt x="148146" y="206335"/>
                      </a:lnTo>
                      <a:lnTo>
                        <a:pt x="145074" y="205178"/>
                      </a:lnTo>
                      <a:lnTo>
                        <a:pt x="141178" y="204648"/>
                      </a:lnTo>
                      <a:lnTo>
                        <a:pt x="136109" y="204876"/>
                      </a:lnTo>
                      <a:lnTo>
                        <a:pt x="129866" y="205838"/>
                      </a:lnTo>
                      <a:lnTo>
                        <a:pt x="123175" y="204664"/>
                      </a:lnTo>
                      <a:lnTo>
                        <a:pt x="116036" y="201331"/>
                      </a:lnTo>
                      <a:lnTo>
                        <a:pt x="110095" y="200149"/>
                      </a:lnTo>
                      <a:lnTo>
                        <a:pt x="103013" y="201608"/>
                      </a:lnTo>
                      <a:lnTo>
                        <a:pt x="102703" y="201641"/>
                      </a:lnTo>
                      <a:lnTo>
                        <a:pt x="101473" y="200516"/>
                      </a:lnTo>
                      <a:lnTo>
                        <a:pt x="99533" y="198079"/>
                      </a:lnTo>
                      <a:lnTo>
                        <a:pt x="96298" y="197656"/>
                      </a:lnTo>
                      <a:lnTo>
                        <a:pt x="95417" y="197085"/>
                      </a:lnTo>
                      <a:lnTo>
                        <a:pt x="94700" y="196188"/>
                      </a:lnTo>
                      <a:lnTo>
                        <a:pt x="94227" y="195031"/>
                      </a:lnTo>
                      <a:lnTo>
                        <a:pt x="94040" y="193744"/>
                      </a:lnTo>
                      <a:lnTo>
                        <a:pt x="94586" y="189758"/>
                      </a:lnTo>
                      <a:lnTo>
                        <a:pt x="94285" y="189302"/>
                      </a:lnTo>
                      <a:lnTo>
                        <a:pt x="93420" y="188829"/>
                      </a:lnTo>
                      <a:lnTo>
                        <a:pt x="91636" y="188348"/>
                      </a:lnTo>
                      <a:lnTo>
                        <a:pt x="87390" y="186531"/>
                      </a:lnTo>
                      <a:lnTo>
                        <a:pt x="82036" y="184771"/>
                      </a:lnTo>
                      <a:lnTo>
                        <a:pt x="73348" y="182864"/>
                      </a:lnTo>
                      <a:lnTo>
                        <a:pt x="69974" y="182358"/>
                      </a:lnTo>
                      <a:lnTo>
                        <a:pt x="69200" y="181772"/>
                      </a:lnTo>
                      <a:lnTo>
                        <a:pt x="68205" y="180297"/>
                      </a:lnTo>
                      <a:lnTo>
                        <a:pt x="66543" y="175725"/>
                      </a:lnTo>
                      <a:lnTo>
                        <a:pt x="64986" y="172701"/>
                      </a:lnTo>
                      <a:lnTo>
                        <a:pt x="61237" y="168039"/>
                      </a:lnTo>
                      <a:lnTo>
                        <a:pt x="60650" y="166581"/>
                      </a:lnTo>
                      <a:lnTo>
                        <a:pt x="60838" y="162889"/>
                      </a:lnTo>
                      <a:lnTo>
                        <a:pt x="61107" y="159898"/>
                      </a:lnTo>
                      <a:lnTo>
                        <a:pt x="61514" y="157363"/>
                      </a:lnTo>
                      <a:lnTo>
                        <a:pt x="61335" y="154992"/>
                      </a:lnTo>
                      <a:lnTo>
                        <a:pt x="61278" y="152050"/>
                      </a:lnTo>
                      <a:lnTo>
                        <a:pt x="61392" y="150069"/>
                      </a:lnTo>
                      <a:lnTo>
                        <a:pt x="60895" y="149214"/>
                      </a:lnTo>
                      <a:lnTo>
                        <a:pt x="59534" y="148611"/>
                      </a:lnTo>
                      <a:lnTo>
                        <a:pt x="55671" y="148350"/>
                      </a:lnTo>
                      <a:lnTo>
                        <a:pt x="51001" y="148464"/>
                      </a:lnTo>
                      <a:lnTo>
                        <a:pt x="50855" y="145465"/>
                      </a:lnTo>
                      <a:lnTo>
                        <a:pt x="50415" y="140836"/>
                      </a:lnTo>
                      <a:lnTo>
                        <a:pt x="49534" y="138179"/>
                      </a:lnTo>
                      <a:lnTo>
                        <a:pt x="48467" y="136793"/>
                      </a:lnTo>
                      <a:lnTo>
                        <a:pt x="46315" y="135351"/>
                      </a:lnTo>
                      <a:lnTo>
                        <a:pt x="41988" y="133371"/>
                      </a:lnTo>
                      <a:lnTo>
                        <a:pt x="36063" y="130363"/>
                      </a:lnTo>
                      <a:lnTo>
                        <a:pt x="31010" y="125922"/>
                      </a:lnTo>
                      <a:lnTo>
                        <a:pt x="25216" y="120396"/>
                      </a:lnTo>
                      <a:lnTo>
                        <a:pt x="23406" y="119443"/>
                      </a:lnTo>
                      <a:lnTo>
                        <a:pt x="21279" y="114251"/>
                      </a:lnTo>
                      <a:lnTo>
                        <a:pt x="18020" y="105368"/>
                      </a:lnTo>
                      <a:lnTo>
                        <a:pt x="18231" y="102410"/>
                      </a:lnTo>
                      <a:lnTo>
                        <a:pt x="17742" y="100967"/>
                      </a:lnTo>
                      <a:lnTo>
                        <a:pt x="14564" y="96607"/>
                      </a:lnTo>
                      <a:lnTo>
                        <a:pt x="13879" y="94349"/>
                      </a:lnTo>
                      <a:lnTo>
                        <a:pt x="13317" y="92060"/>
                      </a:lnTo>
                      <a:lnTo>
                        <a:pt x="8281" y="85686"/>
                      </a:lnTo>
                      <a:lnTo>
                        <a:pt x="6577" y="82899"/>
                      </a:lnTo>
                      <a:lnTo>
                        <a:pt x="5273" y="79338"/>
                      </a:lnTo>
                      <a:lnTo>
                        <a:pt x="3977" y="76477"/>
                      </a:lnTo>
                      <a:lnTo>
                        <a:pt x="2877" y="75320"/>
                      </a:lnTo>
                      <a:lnTo>
                        <a:pt x="1443" y="73380"/>
                      </a:lnTo>
                      <a:lnTo>
                        <a:pt x="449" y="71172"/>
                      </a:lnTo>
                      <a:lnTo>
                        <a:pt x="0" y="69517"/>
                      </a:lnTo>
                      <a:lnTo>
                        <a:pt x="359" y="67300"/>
                      </a:lnTo>
                      <a:lnTo>
                        <a:pt x="856" y="65785"/>
                      </a:lnTo>
                      <a:lnTo>
                        <a:pt x="5640" y="67366"/>
                      </a:lnTo>
                      <a:lnTo>
                        <a:pt x="8256" y="67504"/>
                      </a:lnTo>
                      <a:lnTo>
                        <a:pt x="10310" y="66730"/>
                      </a:lnTo>
                      <a:lnTo>
                        <a:pt x="12844" y="67765"/>
                      </a:lnTo>
                      <a:lnTo>
                        <a:pt x="15851" y="70642"/>
                      </a:lnTo>
                      <a:lnTo>
                        <a:pt x="19144" y="71204"/>
                      </a:lnTo>
                      <a:lnTo>
                        <a:pt x="22697" y="69403"/>
                      </a:lnTo>
                      <a:lnTo>
                        <a:pt x="27505" y="69941"/>
                      </a:lnTo>
                      <a:lnTo>
                        <a:pt x="33569" y="72810"/>
                      </a:lnTo>
                      <a:lnTo>
                        <a:pt x="38589" y="73388"/>
                      </a:lnTo>
                      <a:lnTo>
                        <a:pt x="44555" y="70846"/>
                      </a:lnTo>
                      <a:lnTo>
                        <a:pt x="49885" y="63796"/>
                      </a:lnTo>
                      <a:lnTo>
                        <a:pt x="54913" y="57154"/>
                      </a:lnTo>
                      <a:lnTo>
                        <a:pt x="59844" y="49502"/>
                      </a:lnTo>
                      <a:lnTo>
                        <a:pt x="62810" y="43324"/>
                      </a:lnTo>
                      <a:lnTo>
                        <a:pt x="67162" y="38296"/>
                      </a:lnTo>
                      <a:lnTo>
                        <a:pt x="72908" y="34424"/>
                      </a:lnTo>
                      <a:lnTo>
                        <a:pt x="78759" y="31156"/>
                      </a:lnTo>
                      <a:lnTo>
                        <a:pt x="87716" y="27147"/>
                      </a:lnTo>
                      <a:lnTo>
                        <a:pt x="87708" y="27155"/>
                      </a:lnTo>
                      <a:lnTo>
                        <a:pt x="89492" y="23862"/>
                      </a:lnTo>
                      <a:lnTo>
                        <a:pt x="90104" y="20252"/>
                      </a:lnTo>
                      <a:lnTo>
                        <a:pt x="90104" y="15248"/>
                      </a:lnTo>
                      <a:lnTo>
                        <a:pt x="90560" y="12004"/>
                      </a:lnTo>
                      <a:lnTo>
                        <a:pt x="91489" y="10529"/>
                      </a:lnTo>
                      <a:lnTo>
                        <a:pt x="92981" y="9380"/>
                      </a:lnTo>
                      <a:lnTo>
                        <a:pt x="94904" y="7881"/>
                      </a:lnTo>
                      <a:lnTo>
                        <a:pt x="100788" y="4083"/>
                      </a:lnTo>
                      <a:lnTo>
                        <a:pt x="105735" y="1646"/>
                      </a:lnTo>
                      <a:lnTo>
                        <a:pt x="111741" y="57"/>
                      </a:lnTo>
                      <a:lnTo>
                        <a:pt x="118326" y="33"/>
                      </a:lnTo>
                      <a:lnTo>
                        <a:pt x="124667" y="16"/>
                      </a:lnTo>
                      <a:lnTo>
                        <a:pt x="128277" y="0"/>
                      </a:lnTo>
                      <a:lnTo>
                        <a:pt x="128326" y="4825"/>
                      </a:lnTo>
                      <a:lnTo>
                        <a:pt x="128611" y="10236"/>
                      </a:lnTo>
                      <a:lnTo>
                        <a:pt x="129312" y="10758"/>
                      </a:lnTo>
                      <a:lnTo>
                        <a:pt x="134080" y="10872"/>
                      </a:lnTo>
                      <a:lnTo>
                        <a:pt x="141740" y="11255"/>
                      </a:lnTo>
                      <a:lnTo>
                        <a:pt x="149108" y="11621"/>
                      </a:lnTo>
                      <a:lnTo>
                        <a:pt x="153818" y="15558"/>
                      </a:lnTo>
                      <a:lnTo>
                        <a:pt x="155408" y="16389"/>
                      </a:lnTo>
                      <a:lnTo>
                        <a:pt x="160306" y="17441"/>
                      </a:lnTo>
                      <a:lnTo>
                        <a:pt x="166556" y="24009"/>
                      </a:lnTo>
                      <a:lnTo>
                        <a:pt x="174095" y="24612"/>
                      </a:lnTo>
                      <a:lnTo>
                        <a:pt x="179262" y="26658"/>
                      </a:lnTo>
                      <a:lnTo>
                        <a:pt x="183826" y="28907"/>
                      </a:lnTo>
                      <a:lnTo>
                        <a:pt x="186450" y="31605"/>
                      </a:lnTo>
                      <a:lnTo>
                        <a:pt x="188153" y="32224"/>
                      </a:lnTo>
                      <a:lnTo>
                        <a:pt x="190451" y="32420"/>
                      </a:lnTo>
                      <a:lnTo>
                        <a:pt x="191568" y="32672"/>
                      </a:lnTo>
                      <a:lnTo>
                        <a:pt x="191323" y="34612"/>
                      </a:lnTo>
                      <a:lnTo>
                        <a:pt x="189783" y="37913"/>
                      </a:lnTo>
                      <a:lnTo>
                        <a:pt x="189995" y="42631"/>
                      </a:lnTo>
                      <a:lnTo>
                        <a:pt x="192098" y="49184"/>
                      </a:lnTo>
                      <a:lnTo>
                        <a:pt x="192383" y="54872"/>
                      </a:lnTo>
                      <a:lnTo>
                        <a:pt x="191739" y="64913"/>
                      </a:lnTo>
                      <a:lnTo>
                        <a:pt x="191755" y="74668"/>
                      </a:lnTo>
                      <a:lnTo>
                        <a:pt x="191983" y="78148"/>
                      </a:lnTo>
                      <a:lnTo>
                        <a:pt x="192326" y="80446"/>
                      </a:lnTo>
                      <a:lnTo>
                        <a:pt x="192774" y="81717"/>
                      </a:lnTo>
                      <a:lnTo>
                        <a:pt x="192684" y="83160"/>
                      </a:lnTo>
                      <a:lnTo>
                        <a:pt x="191429" y="87243"/>
                      </a:lnTo>
                      <a:lnTo>
                        <a:pt x="190419" y="91562"/>
                      </a:lnTo>
                      <a:lnTo>
                        <a:pt x="190386" y="93290"/>
                      </a:lnTo>
                      <a:lnTo>
                        <a:pt x="189995" y="94496"/>
                      </a:lnTo>
                      <a:lnTo>
                        <a:pt x="189253" y="95580"/>
                      </a:lnTo>
                      <a:lnTo>
                        <a:pt x="185961" y="97569"/>
                      </a:lnTo>
                      <a:lnTo>
                        <a:pt x="185398" y="98807"/>
                      </a:lnTo>
                      <a:lnTo>
                        <a:pt x="185406" y="101040"/>
                      </a:lnTo>
                      <a:lnTo>
                        <a:pt x="185830" y="102907"/>
                      </a:lnTo>
                      <a:lnTo>
                        <a:pt x="187053" y="103599"/>
                      </a:lnTo>
                      <a:lnTo>
                        <a:pt x="188544" y="104651"/>
                      </a:lnTo>
                      <a:lnTo>
                        <a:pt x="189131" y="106061"/>
                      </a:lnTo>
                      <a:lnTo>
                        <a:pt x="189131" y="107544"/>
                      </a:lnTo>
                      <a:lnTo>
                        <a:pt x="188667" y="110290"/>
                      </a:lnTo>
                      <a:lnTo>
                        <a:pt x="187354" y="114830"/>
                      </a:lnTo>
                      <a:lnTo>
                        <a:pt x="188659" y="120046"/>
                      </a:lnTo>
                      <a:lnTo>
                        <a:pt x="190133" y="123436"/>
                      </a:lnTo>
                      <a:lnTo>
                        <a:pt x="192179" y="127356"/>
                      </a:lnTo>
                      <a:lnTo>
                        <a:pt x="193027" y="129785"/>
                      </a:lnTo>
                      <a:lnTo>
                        <a:pt x="192978" y="131512"/>
                      </a:lnTo>
                      <a:lnTo>
                        <a:pt x="192676" y="133199"/>
                      </a:lnTo>
                      <a:lnTo>
                        <a:pt x="189628" y="140379"/>
                      </a:lnTo>
                      <a:lnTo>
                        <a:pt x="187419" y="144837"/>
                      </a:lnTo>
                      <a:lnTo>
                        <a:pt x="184730" y="149621"/>
                      </a:lnTo>
                      <a:lnTo>
                        <a:pt x="181177" y="152612"/>
                      </a:lnTo>
                      <a:lnTo>
                        <a:pt x="180273" y="154055"/>
                      </a:lnTo>
                      <a:lnTo>
                        <a:pt x="179905" y="155709"/>
                      </a:lnTo>
                      <a:lnTo>
                        <a:pt x="180028" y="159303"/>
                      </a:lnTo>
                      <a:lnTo>
                        <a:pt x="179873" y="163052"/>
                      </a:lnTo>
                      <a:lnTo>
                        <a:pt x="176825" y="168822"/>
                      </a:lnTo>
                      <a:lnTo>
                        <a:pt x="178716" y="173801"/>
                      </a:lnTo>
                      <a:lnTo>
                        <a:pt x="178284" y="174250"/>
                      </a:lnTo>
                      <a:lnTo>
                        <a:pt x="177257" y="174967"/>
                      </a:lnTo>
                      <a:lnTo>
                        <a:pt x="172880" y="180566"/>
                      </a:lnTo>
                      <a:lnTo>
                        <a:pt x="168455" y="186238"/>
                      </a:lnTo>
                      <a:lnTo>
                        <a:pt x="165228" y="190378"/>
                      </a:lnTo>
                      <a:lnTo>
                        <a:pt x="161561" y="195096"/>
                      </a:lnTo>
                      <a:lnTo>
                        <a:pt x="157429" y="200386"/>
                      </a:lnTo>
                      <a:lnTo>
                        <a:pt x="153908" y="204901"/>
                      </a:lnTo>
                      <a:close/>
                    </a:path>
                  </a:pathLst>
                </a:custGeom>
                <a:solidFill>
                  <a:srgbClr val="D6D6D2"/>
                </a:solidFill>
                <a:ln w="6112" cap="rnd">
                  <a:solidFill>
                    <a:srgbClr val="FFFFFF"/>
                  </a:solidFill>
                  <a:prstDash val="solid"/>
                  <a:round/>
                </a:ln>
              </p:spPr>
              <p:txBody>
                <a:bodyPr rtlCol="0" anchor="ctr"/>
                <a:lstStyle/>
                <a:p>
                  <a:endParaRPr lang="en-US"/>
                </a:p>
              </p:txBody>
            </p:sp>
            <p:sp>
              <p:nvSpPr>
                <p:cNvPr id="546" name="Freeform: Shape 545">
                  <a:extLst>
                    <a:ext uri="{FF2B5EF4-FFF2-40B4-BE49-F238E27FC236}">
                      <a16:creationId xmlns:a16="http://schemas.microsoft.com/office/drawing/2014/main" id="{927E6F5A-7D98-4B4C-B2CA-A6C4CA7B87BA}"/>
                    </a:ext>
                  </a:extLst>
                </p:cNvPr>
                <p:cNvSpPr/>
                <p:nvPr/>
              </p:nvSpPr>
              <p:spPr>
                <a:xfrm>
                  <a:off x="6488752" y="4770235"/>
                  <a:ext cx="289763" cy="298915"/>
                </a:xfrm>
                <a:custGeom>
                  <a:avLst/>
                  <a:gdLst>
                    <a:gd name="connsiteX0" fmla="*/ 271362 w 289763"/>
                    <a:gd name="connsiteY0" fmla="*/ 36552 h 298915"/>
                    <a:gd name="connsiteX1" fmla="*/ 271459 w 289763"/>
                    <a:gd name="connsiteY1" fmla="*/ 37350 h 298915"/>
                    <a:gd name="connsiteX2" fmla="*/ 272136 w 289763"/>
                    <a:gd name="connsiteY2" fmla="*/ 38866 h 298915"/>
                    <a:gd name="connsiteX3" fmla="*/ 272853 w 289763"/>
                    <a:gd name="connsiteY3" fmla="*/ 39958 h 298915"/>
                    <a:gd name="connsiteX4" fmla="*/ 272910 w 289763"/>
                    <a:gd name="connsiteY4" fmla="*/ 41555 h 298915"/>
                    <a:gd name="connsiteX5" fmla="*/ 273252 w 289763"/>
                    <a:gd name="connsiteY5" fmla="*/ 43047 h 298915"/>
                    <a:gd name="connsiteX6" fmla="*/ 274295 w 289763"/>
                    <a:gd name="connsiteY6" fmla="*/ 43414 h 298915"/>
                    <a:gd name="connsiteX7" fmla="*/ 275151 w 289763"/>
                    <a:gd name="connsiteY7" fmla="*/ 43512 h 298915"/>
                    <a:gd name="connsiteX8" fmla="*/ 275950 w 289763"/>
                    <a:gd name="connsiteY8" fmla="*/ 42436 h 298915"/>
                    <a:gd name="connsiteX9" fmla="*/ 277026 w 289763"/>
                    <a:gd name="connsiteY9" fmla="*/ 42468 h 298915"/>
                    <a:gd name="connsiteX10" fmla="*/ 278207 w 289763"/>
                    <a:gd name="connsiteY10" fmla="*/ 43145 h 298915"/>
                    <a:gd name="connsiteX11" fmla="*/ 278631 w 289763"/>
                    <a:gd name="connsiteY11" fmla="*/ 44856 h 298915"/>
                    <a:gd name="connsiteX12" fmla="*/ 279560 w 289763"/>
                    <a:gd name="connsiteY12" fmla="*/ 47171 h 298915"/>
                    <a:gd name="connsiteX13" fmla="*/ 281051 w 289763"/>
                    <a:gd name="connsiteY13" fmla="*/ 48744 h 298915"/>
                    <a:gd name="connsiteX14" fmla="*/ 282062 w 289763"/>
                    <a:gd name="connsiteY14" fmla="*/ 50260 h 298915"/>
                    <a:gd name="connsiteX15" fmla="*/ 281711 w 289763"/>
                    <a:gd name="connsiteY15" fmla="*/ 53022 h 298915"/>
                    <a:gd name="connsiteX16" fmla="*/ 281084 w 289763"/>
                    <a:gd name="connsiteY16" fmla="*/ 55565 h 298915"/>
                    <a:gd name="connsiteX17" fmla="*/ 283114 w 289763"/>
                    <a:gd name="connsiteY17" fmla="*/ 58067 h 298915"/>
                    <a:gd name="connsiteX18" fmla="*/ 285754 w 289763"/>
                    <a:gd name="connsiteY18" fmla="*/ 60447 h 298915"/>
                    <a:gd name="connsiteX19" fmla="*/ 286471 w 289763"/>
                    <a:gd name="connsiteY19" fmla="*/ 61490 h 298915"/>
                    <a:gd name="connsiteX20" fmla="*/ 286683 w 289763"/>
                    <a:gd name="connsiteY20" fmla="*/ 65027 h 298915"/>
                    <a:gd name="connsiteX21" fmla="*/ 287083 w 289763"/>
                    <a:gd name="connsiteY21" fmla="*/ 66225 h 298915"/>
                    <a:gd name="connsiteX22" fmla="*/ 288883 w 289763"/>
                    <a:gd name="connsiteY22" fmla="*/ 69159 h 298915"/>
                    <a:gd name="connsiteX23" fmla="*/ 289764 w 289763"/>
                    <a:gd name="connsiteY23" fmla="*/ 71115 h 298915"/>
                    <a:gd name="connsiteX24" fmla="*/ 289699 w 289763"/>
                    <a:gd name="connsiteY24" fmla="*/ 72239 h 298915"/>
                    <a:gd name="connsiteX25" fmla="*/ 284874 w 289763"/>
                    <a:gd name="connsiteY25" fmla="*/ 78066 h 298915"/>
                    <a:gd name="connsiteX26" fmla="*/ 283358 w 289763"/>
                    <a:gd name="connsiteY26" fmla="*/ 78620 h 298915"/>
                    <a:gd name="connsiteX27" fmla="*/ 281907 w 289763"/>
                    <a:gd name="connsiteY27" fmla="*/ 78955 h 298915"/>
                    <a:gd name="connsiteX28" fmla="*/ 280620 w 289763"/>
                    <a:gd name="connsiteY28" fmla="*/ 80153 h 298915"/>
                    <a:gd name="connsiteX29" fmla="*/ 279829 w 289763"/>
                    <a:gd name="connsiteY29" fmla="*/ 81391 h 298915"/>
                    <a:gd name="connsiteX30" fmla="*/ 280123 w 289763"/>
                    <a:gd name="connsiteY30" fmla="*/ 82043 h 298915"/>
                    <a:gd name="connsiteX31" fmla="*/ 280620 w 289763"/>
                    <a:gd name="connsiteY31" fmla="*/ 84048 h 298915"/>
                    <a:gd name="connsiteX32" fmla="*/ 281752 w 289763"/>
                    <a:gd name="connsiteY32" fmla="*/ 87194 h 298915"/>
                    <a:gd name="connsiteX33" fmla="*/ 282771 w 289763"/>
                    <a:gd name="connsiteY33" fmla="*/ 89378 h 298915"/>
                    <a:gd name="connsiteX34" fmla="*/ 281923 w 289763"/>
                    <a:gd name="connsiteY34" fmla="*/ 92133 h 298915"/>
                    <a:gd name="connsiteX35" fmla="*/ 280008 w 289763"/>
                    <a:gd name="connsiteY35" fmla="*/ 96819 h 298915"/>
                    <a:gd name="connsiteX36" fmla="*/ 279120 w 289763"/>
                    <a:gd name="connsiteY36" fmla="*/ 97234 h 298915"/>
                    <a:gd name="connsiteX37" fmla="*/ 278965 w 289763"/>
                    <a:gd name="connsiteY37" fmla="*/ 100788 h 298915"/>
                    <a:gd name="connsiteX38" fmla="*/ 279560 w 289763"/>
                    <a:gd name="connsiteY38" fmla="*/ 102084 h 298915"/>
                    <a:gd name="connsiteX39" fmla="*/ 280497 w 289763"/>
                    <a:gd name="connsiteY39" fmla="*/ 103086 h 298915"/>
                    <a:gd name="connsiteX40" fmla="*/ 280889 w 289763"/>
                    <a:gd name="connsiteY40" fmla="*/ 105498 h 298915"/>
                    <a:gd name="connsiteX41" fmla="*/ 280921 w 289763"/>
                    <a:gd name="connsiteY41" fmla="*/ 108807 h 298915"/>
                    <a:gd name="connsiteX42" fmla="*/ 280815 w 289763"/>
                    <a:gd name="connsiteY42" fmla="*/ 111464 h 298915"/>
                    <a:gd name="connsiteX43" fmla="*/ 279609 w 289763"/>
                    <a:gd name="connsiteY43" fmla="*/ 118261 h 298915"/>
                    <a:gd name="connsiteX44" fmla="*/ 281785 w 289763"/>
                    <a:gd name="connsiteY44" fmla="*/ 124186 h 298915"/>
                    <a:gd name="connsiteX45" fmla="*/ 282535 w 289763"/>
                    <a:gd name="connsiteY45" fmla="*/ 124846 h 298915"/>
                    <a:gd name="connsiteX46" fmla="*/ 285542 w 289763"/>
                    <a:gd name="connsiteY46" fmla="*/ 124878 h 298915"/>
                    <a:gd name="connsiteX47" fmla="*/ 286064 w 289763"/>
                    <a:gd name="connsiteY47" fmla="*/ 125384 h 298915"/>
                    <a:gd name="connsiteX48" fmla="*/ 285330 w 289763"/>
                    <a:gd name="connsiteY48" fmla="*/ 127071 h 298915"/>
                    <a:gd name="connsiteX49" fmla="*/ 284034 w 289763"/>
                    <a:gd name="connsiteY49" fmla="*/ 128798 h 298915"/>
                    <a:gd name="connsiteX50" fmla="*/ 283219 w 289763"/>
                    <a:gd name="connsiteY50" fmla="*/ 129687 h 298915"/>
                    <a:gd name="connsiteX51" fmla="*/ 279389 w 289763"/>
                    <a:gd name="connsiteY51" fmla="*/ 131716 h 298915"/>
                    <a:gd name="connsiteX52" fmla="*/ 273888 w 289763"/>
                    <a:gd name="connsiteY52" fmla="*/ 133949 h 298915"/>
                    <a:gd name="connsiteX53" fmla="*/ 272739 w 289763"/>
                    <a:gd name="connsiteY53" fmla="*/ 136101 h 298915"/>
                    <a:gd name="connsiteX54" fmla="*/ 272005 w 289763"/>
                    <a:gd name="connsiteY54" fmla="*/ 139230 h 298915"/>
                    <a:gd name="connsiteX55" fmla="*/ 272625 w 289763"/>
                    <a:gd name="connsiteY55" fmla="*/ 141056 h 298915"/>
                    <a:gd name="connsiteX56" fmla="*/ 273350 w 289763"/>
                    <a:gd name="connsiteY56" fmla="*/ 142115 h 298915"/>
                    <a:gd name="connsiteX57" fmla="*/ 273114 w 289763"/>
                    <a:gd name="connsiteY57" fmla="*/ 144837 h 298915"/>
                    <a:gd name="connsiteX58" fmla="*/ 272641 w 289763"/>
                    <a:gd name="connsiteY58" fmla="*/ 147706 h 298915"/>
                    <a:gd name="connsiteX59" fmla="*/ 272796 w 289763"/>
                    <a:gd name="connsiteY59" fmla="*/ 149980 h 298915"/>
                    <a:gd name="connsiteX60" fmla="*/ 272543 w 289763"/>
                    <a:gd name="connsiteY60" fmla="*/ 151976 h 298915"/>
                    <a:gd name="connsiteX61" fmla="*/ 271834 w 289763"/>
                    <a:gd name="connsiteY61" fmla="*/ 152962 h 298915"/>
                    <a:gd name="connsiteX62" fmla="*/ 270864 w 289763"/>
                    <a:gd name="connsiteY62" fmla="*/ 155986 h 298915"/>
                    <a:gd name="connsiteX63" fmla="*/ 269683 w 289763"/>
                    <a:gd name="connsiteY63" fmla="*/ 159018 h 298915"/>
                    <a:gd name="connsiteX64" fmla="*/ 268737 w 289763"/>
                    <a:gd name="connsiteY64" fmla="*/ 160403 h 298915"/>
                    <a:gd name="connsiteX65" fmla="*/ 267368 w 289763"/>
                    <a:gd name="connsiteY65" fmla="*/ 161854 h 298915"/>
                    <a:gd name="connsiteX66" fmla="*/ 265176 w 289763"/>
                    <a:gd name="connsiteY66" fmla="*/ 163068 h 298915"/>
                    <a:gd name="connsiteX67" fmla="*/ 265225 w 289763"/>
                    <a:gd name="connsiteY67" fmla="*/ 163679 h 298915"/>
                    <a:gd name="connsiteX68" fmla="*/ 267694 w 289763"/>
                    <a:gd name="connsiteY68" fmla="*/ 165073 h 298915"/>
                    <a:gd name="connsiteX69" fmla="*/ 268330 w 289763"/>
                    <a:gd name="connsiteY69" fmla="*/ 166051 h 298915"/>
                    <a:gd name="connsiteX70" fmla="*/ 268558 w 289763"/>
                    <a:gd name="connsiteY70" fmla="*/ 166719 h 298915"/>
                    <a:gd name="connsiteX71" fmla="*/ 268036 w 289763"/>
                    <a:gd name="connsiteY71" fmla="*/ 167355 h 298915"/>
                    <a:gd name="connsiteX72" fmla="*/ 267531 w 289763"/>
                    <a:gd name="connsiteY72" fmla="*/ 168251 h 298915"/>
                    <a:gd name="connsiteX73" fmla="*/ 268672 w 289763"/>
                    <a:gd name="connsiteY73" fmla="*/ 169172 h 298915"/>
                    <a:gd name="connsiteX74" fmla="*/ 270057 w 289763"/>
                    <a:gd name="connsiteY74" fmla="*/ 169963 h 298915"/>
                    <a:gd name="connsiteX75" fmla="*/ 271370 w 289763"/>
                    <a:gd name="connsiteY75" fmla="*/ 171976 h 298915"/>
                    <a:gd name="connsiteX76" fmla="*/ 272543 w 289763"/>
                    <a:gd name="connsiteY76" fmla="*/ 174812 h 298915"/>
                    <a:gd name="connsiteX77" fmla="*/ 272886 w 289763"/>
                    <a:gd name="connsiteY77" fmla="*/ 175798 h 298915"/>
                    <a:gd name="connsiteX78" fmla="*/ 273163 w 289763"/>
                    <a:gd name="connsiteY78" fmla="*/ 176189 h 298915"/>
                    <a:gd name="connsiteX79" fmla="*/ 273587 w 289763"/>
                    <a:gd name="connsiteY79" fmla="*/ 176238 h 298915"/>
                    <a:gd name="connsiteX80" fmla="*/ 274401 w 289763"/>
                    <a:gd name="connsiteY80" fmla="*/ 175814 h 298915"/>
                    <a:gd name="connsiteX81" fmla="*/ 275925 w 289763"/>
                    <a:gd name="connsiteY81" fmla="*/ 174266 h 298915"/>
                    <a:gd name="connsiteX82" fmla="*/ 277026 w 289763"/>
                    <a:gd name="connsiteY82" fmla="*/ 173712 h 298915"/>
                    <a:gd name="connsiteX83" fmla="*/ 278354 w 289763"/>
                    <a:gd name="connsiteY83" fmla="*/ 175912 h 298915"/>
                    <a:gd name="connsiteX84" fmla="*/ 273024 w 289763"/>
                    <a:gd name="connsiteY84" fmla="*/ 178096 h 298915"/>
                    <a:gd name="connsiteX85" fmla="*/ 270237 w 289763"/>
                    <a:gd name="connsiteY85" fmla="*/ 179229 h 298915"/>
                    <a:gd name="connsiteX86" fmla="*/ 262266 w 289763"/>
                    <a:gd name="connsiteY86" fmla="*/ 182489 h 298915"/>
                    <a:gd name="connsiteX87" fmla="*/ 255315 w 289763"/>
                    <a:gd name="connsiteY87" fmla="*/ 185333 h 298915"/>
                    <a:gd name="connsiteX88" fmla="*/ 253505 w 289763"/>
                    <a:gd name="connsiteY88" fmla="*/ 185871 h 298915"/>
                    <a:gd name="connsiteX89" fmla="*/ 249895 w 289763"/>
                    <a:gd name="connsiteY89" fmla="*/ 187265 h 298915"/>
                    <a:gd name="connsiteX90" fmla="*/ 248110 w 289763"/>
                    <a:gd name="connsiteY90" fmla="*/ 188120 h 298915"/>
                    <a:gd name="connsiteX91" fmla="*/ 241827 w 289763"/>
                    <a:gd name="connsiteY91" fmla="*/ 190598 h 298915"/>
                    <a:gd name="connsiteX92" fmla="*/ 239203 w 289763"/>
                    <a:gd name="connsiteY92" fmla="*/ 191837 h 298915"/>
                    <a:gd name="connsiteX93" fmla="*/ 237092 w 289763"/>
                    <a:gd name="connsiteY93" fmla="*/ 193067 h 298915"/>
                    <a:gd name="connsiteX94" fmla="*/ 231892 w 289763"/>
                    <a:gd name="connsiteY94" fmla="*/ 194909 h 298915"/>
                    <a:gd name="connsiteX95" fmla="*/ 227003 w 289763"/>
                    <a:gd name="connsiteY95" fmla="*/ 196629 h 298915"/>
                    <a:gd name="connsiteX96" fmla="*/ 221648 w 289763"/>
                    <a:gd name="connsiteY96" fmla="*/ 198422 h 298915"/>
                    <a:gd name="connsiteX97" fmla="*/ 215642 w 289763"/>
                    <a:gd name="connsiteY97" fmla="*/ 200418 h 298915"/>
                    <a:gd name="connsiteX98" fmla="*/ 212284 w 289763"/>
                    <a:gd name="connsiteY98" fmla="*/ 201861 h 298915"/>
                    <a:gd name="connsiteX99" fmla="*/ 210002 w 289763"/>
                    <a:gd name="connsiteY99" fmla="*/ 203108 h 298915"/>
                    <a:gd name="connsiteX100" fmla="*/ 204697 w 289763"/>
                    <a:gd name="connsiteY100" fmla="*/ 205642 h 298915"/>
                    <a:gd name="connsiteX101" fmla="*/ 204436 w 289763"/>
                    <a:gd name="connsiteY101" fmla="*/ 206262 h 298915"/>
                    <a:gd name="connsiteX102" fmla="*/ 204526 w 289763"/>
                    <a:gd name="connsiteY102" fmla="*/ 207965 h 298915"/>
                    <a:gd name="connsiteX103" fmla="*/ 205202 w 289763"/>
                    <a:gd name="connsiteY103" fmla="*/ 211526 h 298915"/>
                    <a:gd name="connsiteX104" fmla="*/ 206522 w 289763"/>
                    <a:gd name="connsiteY104" fmla="*/ 214729 h 298915"/>
                    <a:gd name="connsiteX105" fmla="*/ 207639 w 289763"/>
                    <a:gd name="connsiteY105" fmla="*/ 216595 h 298915"/>
                    <a:gd name="connsiteX106" fmla="*/ 208364 w 289763"/>
                    <a:gd name="connsiteY106" fmla="*/ 221355 h 298915"/>
                    <a:gd name="connsiteX107" fmla="*/ 208772 w 289763"/>
                    <a:gd name="connsiteY107" fmla="*/ 225528 h 298915"/>
                    <a:gd name="connsiteX108" fmla="*/ 205161 w 289763"/>
                    <a:gd name="connsiteY108" fmla="*/ 225544 h 298915"/>
                    <a:gd name="connsiteX109" fmla="*/ 198821 w 289763"/>
                    <a:gd name="connsiteY109" fmla="*/ 225560 h 298915"/>
                    <a:gd name="connsiteX110" fmla="*/ 192236 w 289763"/>
                    <a:gd name="connsiteY110" fmla="*/ 225585 h 298915"/>
                    <a:gd name="connsiteX111" fmla="*/ 186230 w 289763"/>
                    <a:gd name="connsiteY111" fmla="*/ 227174 h 298915"/>
                    <a:gd name="connsiteX112" fmla="*/ 181282 w 289763"/>
                    <a:gd name="connsiteY112" fmla="*/ 229611 h 298915"/>
                    <a:gd name="connsiteX113" fmla="*/ 175398 w 289763"/>
                    <a:gd name="connsiteY113" fmla="*/ 233408 h 298915"/>
                    <a:gd name="connsiteX114" fmla="*/ 173475 w 289763"/>
                    <a:gd name="connsiteY114" fmla="*/ 234908 h 298915"/>
                    <a:gd name="connsiteX115" fmla="*/ 171984 w 289763"/>
                    <a:gd name="connsiteY115" fmla="*/ 236057 h 298915"/>
                    <a:gd name="connsiteX116" fmla="*/ 171055 w 289763"/>
                    <a:gd name="connsiteY116" fmla="*/ 237532 h 298915"/>
                    <a:gd name="connsiteX117" fmla="*/ 170598 w 289763"/>
                    <a:gd name="connsiteY117" fmla="*/ 240776 h 298915"/>
                    <a:gd name="connsiteX118" fmla="*/ 170598 w 289763"/>
                    <a:gd name="connsiteY118" fmla="*/ 245780 h 298915"/>
                    <a:gd name="connsiteX119" fmla="*/ 169987 w 289763"/>
                    <a:gd name="connsiteY119" fmla="*/ 249390 h 298915"/>
                    <a:gd name="connsiteX120" fmla="*/ 168202 w 289763"/>
                    <a:gd name="connsiteY120" fmla="*/ 252682 h 298915"/>
                    <a:gd name="connsiteX121" fmla="*/ 168210 w 289763"/>
                    <a:gd name="connsiteY121" fmla="*/ 252674 h 298915"/>
                    <a:gd name="connsiteX122" fmla="*/ 159254 w 289763"/>
                    <a:gd name="connsiteY122" fmla="*/ 256684 h 298915"/>
                    <a:gd name="connsiteX123" fmla="*/ 153402 w 289763"/>
                    <a:gd name="connsiteY123" fmla="*/ 259952 h 298915"/>
                    <a:gd name="connsiteX124" fmla="*/ 147657 w 289763"/>
                    <a:gd name="connsiteY124" fmla="*/ 263823 h 298915"/>
                    <a:gd name="connsiteX125" fmla="*/ 143305 w 289763"/>
                    <a:gd name="connsiteY125" fmla="*/ 268852 h 298915"/>
                    <a:gd name="connsiteX126" fmla="*/ 140338 w 289763"/>
                    <a:gd name="connsiteY126" fmla="*/ 275029 h 298915"/>
                    <a:gd name="connsiteX127" fmla="*/ 135408 w 289763"/>
                    <a:gd name="connsiteY127" fmla="*/ 282682 h 298915"/>
                    <a:gd name="connsiteX128" fmla="*/ 130379 w 289763"/>
                    <a:gd name="connsiteY128" fmla="*/ 289324 h 298915"/>
                    <a:gd name="connsiteX129" fmla="*/ 125049 w 289763"/>
                    <a:gd name="connsiteY129" fmla="*/ 296373 h 298915"/>
                    <a:gd name="connsiteX130" fmla="*/ 119084 w 289763"/>
                    <a:gd name="connsiteY130" fmla="*/ 298916 h 298915"/>
                    <a:gd name="connsiteX131" fmla="*/ 114063 w 289763"/>
                    <a:gd name="connsiteY131" fmla="*/ 298337 h 298915"/>
                    <a:gd name="connsiteX132" fmla="*/ 108000 w 289763"/>
                    <a:gd name="connsiteY132" fmla="*/ 295469 h 298915"/>
                    <a:gd name="connsiteX133" fmla="*/ 103192 w 289763"/>
                    <a:gd name="connsiteY133" fmla="*/ 294931 h 298915"/>
                    <a:gd name="connsiteX134" fmla="*/ 99639 w 289763"/>
                    <a:gd name="connsiteY134" fmla="*/ 296732 h 298915"/>
                    <a:gd name="connsiteX135" fmla="*/ 96346 w 289763"/>
                    <a:gd name="connsiteY135" fmla="*/ 296169 h 298915"/>
                    <a:gd name="connsiteX136" fmla="*/ 93339 w 289763"/>
                    <a:gd name="connsiteY136" fmla="*/ 293293 h 298915"/>
                    <a:gd name="connsiteX137" fmla="*/ 90804 w 289763"/>
                    <a:gd name="connsiteY137" fmla="*/ 292258 h 298915"/>
                    <a:gd name="connsiteX138" fmla="*/ 88750 w 289763"/>
                    <a:gd name="connsiteY138" fmla="*/ 293032 h 298915"/>
                    <a:gd name="connsiteX139" fmla="*/ 86134 w 289763"/>
                    <a:gd name="connsiteY139" fmla="*/ 292893 h 298915"/>
                    <a:gd name="connsiteX140" fmla="*/ 81351 w 289763"/>
                    <a:gd name="connsiteY140" fmla="*/ 291312 h 298915"/>
                    <a:gd name="connsiteX141" fmla="*/ 77219 w 289763"/>
                    <a:gd name="connsiteY141" fmla="*/ 286430 h 298915"/>
                    <a:gd name="connsiteX142" fmla="*/ 74986 w 289763"/>
                    <a:gd name="connsiteY142" fmla="*/ 284409 h 298915"/>
                    <a:gd name="connsiteX143" fmla="*/ 73258 w 289763"/>
                    <a:gd name="connsiteY143" fmla="*/ 283643 h 298915"/>
                    <a:gd name="connsiteX144" fmla="*/ 68303 w 289763"/>
                    <a:gd name="connsiteY144" fmla="*/ 282853 h 298915"/>
                    <a:gd name="connsiteX145" fmla="*/ 56959 w 289763"/>
                    <a:gd name="connsiteY145" fmla="*/ 281736 h 298915"/>
                    <a:gd name="connsiteX146" fmla="*/ 55760 w 289763"/>
                    <a:gd name="connsiteY146" fmla="*/ 281989 h 298915"/>
                    <a:gd name="connsiteX147" fmla="*/ 51050 w 289763"/>
                    <a:gd name="connsiteY147" fmla="*/ 282951 h 298915"/>
                    <a:gd name="connsiteX148" fmla="*/ 45149 w 289763"/>
                    <a:gd name="connsiteY148" fmla="*/ 284157 h 298915"/>
                    <a:gd name="connsiteX149" fmla="*/ 40089 w 289763"/>
                    <a:gd name="connsiteY149" fmla="*/ 285363 h 298915"/>
                    <a:gd name="connsiteX150" fmla="*/ 34775 w 289763"/>
                    <a:gd name="connsiteY150" fmla="*/ 286618 h 298915"/>
                    <a:gd name="connsiteX151" fmla="*/ 29836 w 289763"/>
                    <a:gd name="connsiteY151" fmla="*/ 281533 h 298915"/>
                    <a:gd name="connsiteX152" fmla="*/ 24237 w 289763"/>
                    <a:gd name="connsiteY152" fmla="*/ 275746 h 298915"/>
                    <a:gd name="connsiteX153" fmla="*/ 18443 w 289763"/>
                    <a:gd name="connsiteY153" fmla="*/ 269300 h 298915"/>
                    <a:gd name="connsiteX154" fmla="*/ 14067 w 289763"/>
                    <a:gd name="connsiteY154" fmla="*/ 264247 h 298915"/>
                    <a:gd name="connsiteX155" fmla="*/ 11923 w 289763"/>
                    <a:gd name="connsiteY155" fmla="*/ 261338 h 298915"/>
                    <a:gd name="connsiteX156" fmla="*/ 8093 w 289763"/>
                    <a:gd name="connsiteY156" fmla="*/ 257499 h 298915"/>
                    <a:gd name="connsiteX157" fmla="*/ 5338 w 289763"/>
                    <a:gd name="connsiteY157" fmla="*/ 255624 h 298915"/>
                    <a:gd name="connsiteX158" fmla="*/ 4262 w 289763"/>
                    <a:gd name="connsiteY158" fmla="*/ 254679 h 298915"/>
                    <a:gd name="connsiteX159" fmla="*/ 1524 w 289763"/>
                    <a:gd name="connsiteY159" fmla="*/ 244451 h 298915"/>
                    <a:gd name="connsiteX160" fmla="*/ 24 w 289763"/>
                    <a:gd name="connsiteY160" fmla="*/ 235071 h 298915"/>
                    <a:gd name="connsiteX161" fmla="*/ 24 w 289763"/>
                    <a:gd name="connsiteY161" fmla="*/ 228005 h 298915"/>
                    <a:gd name="connsiteX162" fmla="*/ 16 w 289763"/>
                    <a:gd name="connsiteY162" fmla="*/ 218225 h 298915"/>
                    <a:gd name="connsiteX163" fmla="*/ 16 w 289763"/>
                    <a:gd name="connsiteY163" fmla="*/ 208454 h 298915"/>
                    <a:gd name="connsiteX164" fmla="*/ 16 w 289763"/>
                    <a:gd name="connsiteY164" fmla="*/ 198666 h 298915"/>
                    <a:gd name="connsiteX165" fmla="*/ 8 w 289763"/>
                    <a:gd name="connsiteY165" fmla="*/ 188895 h 298915"/>
                    <a:gd name="connsiteX166" fmla="*/ 8 w 289763"/>
                    <a:gd name="connsiteY166" fmla="*/ 179156 h 298915"/>
                    <a:gd name="connsiteX167" fmla="*/ 0 w 289763"/>
                    <a:gd name="connsiteY167" fmla="*/ 169400 h 298915"/>
                    <a:gd name="connsiteX168" fmla="*/ 0 w 289763"/>
                    <a:gd name="connsiteY168" fmla="*/ 159645 h 298915"/>
                    <a:gd name="connsiteX169" fmla="*/ 0 w 289763"/>
                    <a:gd name="connsiteY169" fmla="*/ 149914 h 298915"/>
                    <a:gd name="connsiteX170" fmla="*/ 0 w 289763"/>
                    <a:gd name="connsiteY170" fmla="*/ 145179 h 298915"/>
                    <a:gd name="connsiteX171" fmla="*/ 5729 w 289763"/>
                    <a:gd name="connsiteY171" fmla="*/ 145179 h 298915"/>
                    <a:gd name="connsiteX172" fmla="*/ 12200 w 289763"/>
                    <a:gd name="connsiteY172" fmla="*/ 145179 h 298915"/>
                    <a:gd name="connsiteX173" fmla="*/ 18981 w 289763"/>
                    <a:gd name="connsiteY173" fmla="*/ 145179 h 298915"/>
                    <a:gd name="connsiteX174" fmla="*/ 26356 w 289763"/>
                    <a:gd name="connsiteY174" fmla="*/ 145179 h 298915"/>
                    <a:gd name="connsiteX175" fmla="*/ 33732 w 289763"/>
                    <a:gd name="connsiteY175" fmla="*/ 145179 h 298915"/>
                    <a:gd name="connsiteX176" fmla="*/ 41099 w 289763"/>
                    <a:gd name="connsiteY176" fmla="*/ 145179 h 298915"/>
                    <a:gd name="connsiteX177" fmla="*/ 46242 w 289763"/>
                    <a:gd name="connsiteY177" fmla="*/ 145179 h 298915"/>
                    <a:gd name="connsiteX178" fmla="*/ 47586 w 289763"/>
                    <a:gd name="connsiteY178" fmla="*/ 145098 h 298915"/>
                    <a:gd name="connsiteX179" fmla="*/ 49216 w 289763"/>
                    <a:gd name="connsiteY179" fmla="*/ 144796 h 298915"/>
                    <a:gd name="connsiteX180" fmla="*/ 49338 w 289763"/>
                    <a:gd name="connsiteY180" fmla="*/ 143851 h 298915"/>
                    <a:gd name="connsiteX181" fmla="*/ 47211 w 289763"/>
                    <a:gd name="connsiteY181" fmla="*/ 139051 h 298915"/>
                    <a:gd name="connsiteX182" fmla="*/ 47317 w 289763"/>
                    <a:gd name="connsiteY182" fmla="*/ 137372 h 298915"/>
                    <a:gd name="connsiteX183" fmla="*/ 47880 w 289763"/>
                    <a:gd name="connsiteY183" fmla="*/ 134128 h 298915"/>
                    <a:gd name="connsiteX184" fmla="*/ 48760 w 289763"/>
                    <a:gd name="connsiteY184" fmla="*/ 131333 h 298915"/>
                    <a:gd name="connsiteX185" fmla="*/ 49917 w 289763"/>
                    <a:gd name="connsiteY185" fmla="*/ 127649 h 298915"/>
                    <a:gd name="connsiteX186" fmla="*/ 50047 w 289763"/>
                    <a:gd name="connsiteY186" fmla="*/ 125473 h 298915"/>
                    <a:gd name="connsiteX187" fmla="*/ 49110 w 289763"/>
                    <a:gd name="connsiteY187" fmla="*/ 118424 h 298915"/>
                    <a:gd name="connsiteX188" fmla="*/ 49200 w 289763"/>
                    <a:gd name="connsiteY188" fmla="*/ 114479 h 298915"/>
                    <a:gd name="connsiteX189" fmla="*/ 49477 w 289763"/>
                    <a:gd name="connsiteY189" fmla="*/ 110404 h 298915"/>
                    <a:gd name="connsiteX190" fmla="*/ 49730 w 289763"/>
                    <a:gd name="connsiteY190" fmla="*/ 106533 h 298915"/>
                    <a:gd name="connsiteX191" fmla="*/ 49420 w 289763"/>
                    <a:gd name="connsiteY191" fmla="*/ 103836 h 298915"/>
                    <a:gd name="connsiteX192" fmla="*/ 49803 w 289763"/>
                    <a:gd name="connsiteY192" fmla="*/ 102361 h 298915"/>
                    <a:gd name="connsiteX193" fmla="*/ 50496 w 289763"/>
                    <a:gd name="connsiteY193" fmla="*/ 100258 h 298915"/>
                    <a:gd name="connsiteX194" fmla="*/ 50862 w 289763"/>
                    <a:gd name="connsiteY194" fmla="*/ 97878 h 298915"/>
                    <a:gd name="connsiteX195" fmla="*/ 51286 w 289763"/>
                    <a:gd name="connsiteY195" fmla="*/ 96868 h 298915"/>
                    <a:gd name="connsiteX196" fmla="*/ 51164 w 289763"/>
                    <a:gd name="connsiteY196" fmla="*/ 95923 h 298915"/>
                    <a:gd name="connsiteX197" fmla="*/ 50765 w 289763"/>
                    <a:gd name="connsiteY197" fmla="*/ 94146 h 298915"/>
                    <a:gd name="connsiteX198" fmla="*/ 50382 w 289763"/>
                    <a:gd name="connsiteY198" fmla="*/ 90201 h 298915"/>
                    <a:gd name="connsiteX199" fmla="*/ 49843 w 289763"/>
                    <a:gd name="connsiteY199" fmla="*/ 84692 h 298915"/>
                    <a:gd name="connsiteX200" fmla="*/ 49298 w 289763"/>
                    <a:gd name="connsiteY200" fmla="*/ 80740 h 298915"/>
                    <a:gd name="connsiteX201" fmla="*/ 50202 w 289763"/>
                    <a:gd name="connsiteY201" fmla="*/ 80960 h 298915"/>
                    <a:gd name="connsiteX202" fmla="*/ 52068 w 289763"/>
                    <a:gd name="connsiteY202" fmla="*/ 81326 h 298915"/>
                    <a:gd name="connsiteX203" fmla="*/ 52981 w 289763"/>
                    <a:gd name="connsiteY203" fmla="*/ 83274 h 298915"/>
                    <a:gd name="connsiteX204" fmla="*/ 53527 w 289763"/>
                    <a:gd name="connsiteY204" fmla="*/ 85401 h 298915"/>
                    <a:gd name="connsiteX205" fmla="*/ 54774 w 289763"/>
                    <a:gd name="connsiteY205" fmla="*/ 85523 h 298915"/>
                    <a:gd name="connsiteX206" fmla="*/ 58058 w 289763"/>
                    <a:gd name="connsiteY206" fmla="*/ 86778 h 298915"/>
                    <a:gd name="connsiteX207" fmla="*/ 59199 w 289763"/>
                    <a:gd name="connsiteY207" fmla="*/ 88539 h 298915"/>
                    <a:gd name="connsiteX208" fmla="*/ 59965 w 289763"/>
                    <a:gd name="connsiteY208" fmla="*/ 92328 h 298915"/>
                    <a:gd name="connsiteX209" fmla="*/ 59501 w 289763"/>
                    <a:gd name="connsiteY209" fmla="*/ 94268 h 298915"/>
                    <a:gd name="connsiteX210" fmla="*/ 58441 w 289763"/>
                    <a:gd name="connsiteY210" fmla="*/ 95833 h 298915"/>
                    <a:gd name="connsiteX211" fmla="*/ 59501 w 289763"/>
                    <a:gd name="connsiteY211" fmla="*/ 97218 h 298915"/>
                    <a:gd name="connsiteX212" fmla="*/ 61701 w 289763"/>
                    <a:gd name="connsiteY212" fmla="*/ 98147 h 298915"/>
                    <a:gd name="connsiteX213" fmla="*/ 62989 w 289763"/>
                    <a:gd name="connsiteY213" fmla="*/ 97862 h 298915"/>
                    <a:gd name="connsiteX214" fmla="*/ 66714 w 289763"/>
                    <a:gd name="connsiteY214" fmla="*/ 95279 h 298915"/>
                    <a:gd name="connsiteX215" fmla="*/ 68197 w 289763"/>
                    <a:gd name="connsiteY215" fmla="*/ 94822 h 298915"/>
                    <a:gd name="connsiteX216" fmla="*/ 70136 w 289763"/>
                    <a:gd name="connsiteY216" fmla="*/ 94325 h 298915"/>
                    <a:gd name="connsiteX217" fmla="*/ 71881 w 289763"/>
                    <a:gd name="connsiteY217" fmla="*/ 93657 h 298915"/>
                    <a:gd name="connsiteX218" fmla="*/ 76819 w 289763"/>
                    <a:gd name="connsiteY218" fmla="*/ 92475 h 298915"/>
                    <a:gd name="connsiteX219" fmla="*/ 79517 w 289763"/>
                    <a:gd name="connsiteY219" fmla="*/ 91954 h 298915"/>
                    <a:gd name="connsiteX220" fmla="*/ 81033 w 289763"/>
                    <a:gd name="connsiteY220" fmla="*/ 91024 h 298915"/>
                    <a:gd name="connsiteX221" fmla="*/ 82100 w 289763"/>
                    <a:gd name="connsiteY221" fmla="*/ 91024 h 298915"/>
                    <a:gd name="connsiteX222" fmla="*/ 82850 w 289763"/>
                    <a:gd name="connsiteY222" fmla="*/ 91766 h 298915"/>
                    <a:gd name="connsiteX223" fmla="*/ 82165 w 289763"/>
                    <a:gd name="connsiteY223" fmla="*/ 94455 h 298915"/>
                    <a:gd name="connsiteX224" fmla="*/ 81946 w 289763"/>
                    <a:gd name="connsiteY224" fmla="*/ 96860 h 298915"/>
                    <a:gd name="connsiteX225" fmla="*/ 82891 w 289763"/>
                    <a:gd name="connsiteY225" fmla="*/ 101350 h 298915"/>
                    <a:gd name="connsiteX226" fmla="*/ 83600 w 289763"/>
                    <a:gd name="connsiteY226" fmla="*/ 103453 h 298915"/>
                    <a:gd name="connsiteX227" fmla="*/ 85189 w 289763"/>
                    <a:gd name="connsiteY227" fmla="*/ 104977 h 298915"/>
                    <a:gd name="connsiteX228" fmla="*/ 86338 w 289763"/>
                    <a:gd name="connsiteY228" fmla="*/ 105767 h 298915"/>
                    <a:gd name="connsiteX229" fmla="*/ 87626 w 289763"/>
                    <a:gd name="connsiteY229" fmla="*/ 107389 h 298915"/>
                    <a:gd name="connsiteX230" fmla="*/ 90283 w 289763"/>
                    <a:gd name="connsiteY230" fmla="*/ 107112 h 298915"/>
                    <a:gd name="connsiteX231" fmla="*/ 96134 w 289763"/>
                    <a:gd name="connsiteY231" fmla="*/ 109410 h 298915"/>
                    <a:gd name="connsiteX232" fmla="*/ 97911 w 289763"/>
                    <a:gd name="connsiteY232" fmla="*/ 110478 h 298915"/>
                    <a:gd name="connsiteX233" fmla="*/ 100380 w 289763"/>
                    <a:gd name="connsiteY233" fmla="*/ 111529 h 298915"/>
                    <a:gd name="connsiteX234" fmla="*/ 102132 w 289763"/>
                    <a:gd name="connsiteY234" fmla="*/ 111920 h 298915"/>
                    <a:gd name="connsiteX235" fmla="*/ 108163 w 289763"/>
                    <a:gd name="connsiteY235" fmla="*/ 112727 h 298915"/>
                    <a:gd name="connsiteX236" fmla="*/ 110388 w 289763"/>
                    <a:gd name="connsiteY236" fmla="*/ 113273 h 298915"/>
                    <a:gd name="connsiteX237" fmla="*/ 114528 w 289763"/>
                    <a:gd name="connsiteY237" fmla="*/ 114007 h 298915"/>
                    <a:gd name="connsiteX238" fmla="*/ 117829 w 289763"/>
                    <a:gd name="connsiteY238" fmla="*/ 114121 h 298915"/>
                    <a:gd name="connsiteX239" fmla="*/ 120176 w 289763"/>
                    <a:gd name="connsiteY239" fmla="*/ 113803 h 298915"/>
                    <a:gd name="connsiteX240" fmla="*/ 121830 w 289763"/>
                    <a:gd name="connsiteY240" fmla="*/ 113143 h 298915"/>
                    <a:gd name="connsiteX241" fmla="*/ 122832 w 289763"/>
                    <a:gd name="connsiteY241" fmla="*/ 112417 h 298915"/>
                    <a:gd name="connsiteX242" fmla="*/ 123289 w 289763"/>
                    <a:gd name="connsiteY242" fmla="*/ 111790 h 298915"/>
                    <a:gd name="connsiteX243" fmla="*/ 123966 w 289763"/>
                    <a:gd name="connsiteY243" fmla="*/ 109549 h 298915"/>
                    <a:gd name="connsiteX244" fmla="*/ 125204 w 289763"/>
                    <a:gd name="connsiteY244" fmla="*/ 104683 h 298915"/>
                    <a:gd name="connsiteX245" fmla="*/ 125685 w 289763"/>
                    <a:gd name="connsiteY245" fmla="*/ 103233 h 298915"/>
                    <a:gd name="connsiteX246" fmla="*/ 126907 w 289763"/>
                    <a:gd name="connsiteY246" fmla="*/ 102565 h 298915"/>
                    <a:gd name="connsiteX247" fmla="*/ 128480 w 289763"/>
                    <a:gd name="connsiteY247" fmla="*/ 102124 h 298915"/>
                    <a:gd name="connsiteX248" fmla="*/ 129409 w 289763"/>
                    <a:gd name="connsiteY248" fmla="*/ 102907 h 298915"/>
                    <a:gd name="connsiteX249" fmla="*/ 130437 w 289763"/>
                    <a:gd name="connsiteY249" fmla="*/ 108310 h 298915"/>
                    <a:gd name="connsiteX250" fmla="*/ 135057 w 289763"/>
                    <a:gd name="connsiteY250" fmla="*/ 113176 h 298915"/>
                    <a:gd name="connsiteX251" fmla="*/ 136614 w 289763"/>
                    <a:gd name="connsiteY251" fmla="*/ 117267 h 298915"/>
                    <a:gd name="connsiteX252" fmla="*/ 137771 w 289763"/>
                    <a:gd name="connsiteY252" fmla="*/ 120771 h 298915"/>
                    <a:gd name="connsiteX253" fmla="*/ 138773 w 289763"/>
                    <a:gd name="connsiteY253" fmla="*/ 121724 h 298915"/>
                    <a:gd name="connsiteX254" fmla="*/ 140526 w 289763"/>
                    <a:gd name="connsiteY254" fmla="*/ 122939 h 298915"/>
                    <a:gd name="connsiteX255" fmla="*/ 143313 w 289763"/>
                    <a:gd name="connsiteY255" fmla="*/ 123346 h 298915"/>
                    <a:gd name="connsiteX256" fmla="*/ 145807 w 289763"/>
                    <a:gd name="connsiteY256" fmla="*/ 123485 h 298915"/>
                    <a:gd name="connsiteX257" fmla="*/ 151047 w 289763"/>
                    <a:gd name="connsiteY257" fmla="*/ 126003 h 298915"/>
                    <a:gd name="connsiteX258" fmla="*/ 155228 w 289763"/>
                    <a:gd name="connsiteY258" fmla="*/ 128016 h 298915"/>
                    <a:gd name="connsiteX259" fmla="*/ 158210 w 289763"/>
                    <a:gd name="connsiteY259" fmla="*/ 129450 h 298915"/>
                    <a:gd name="connsiteX260" fmla="*/ 159571 w 289763"/>
                    <a:gd name="connsiteY260" fmla="*/ 130542 h 298915"/>
                    <a:gd name="connsiteX261" fmla="*/ 160541 w 289763"/>
                    <a:gd name="connsiteY261" fmla="*/ 132344 h 298915"/>
                    <a:gd name="connsiteX262" fmla="*/ 161104 w 289763"/>
                    <a:gd name="connsiteY262" fmla="*/ 133729 h 298915"/>
                    <a:gd name="connsiteX263" fmla="*/ 162025 w 289763"/>
                    <a:gd name="connsiteY263" fmla="*/ 137339 h 298915"/>
                    <a:gd name="connsiteX264" fmla="*/ 163003 w 289763"/>
                    <a:gd name="connsiteY264" fmla="*/ 140192 h 298915"/>
                    <a:gd name="connsiteX265" fmla="*/ 164608 w 289763"/>
                    <a:gd name="connsiteY265" fmla="*/ 140738 h 298915"/>
                    <a:gd name="connsiteX266" fmla="*/ 166026 w 289763"/>
                    <a:gd name="connsiteY266" fmla="*/ 140942 h 298915"/>
                    <a:gd name="connsiteX267" fmla="*/ 167444 w 289763"/>
                    <a:gd name="connsiteY267" fmla="*/ 142889 h 298915"/>
                    <a:gd name="connsiteX268" fmla="*/ 168512 w 289763"/>
                    <a:gd name="connsiteY268" fmla="*/ 144609 h 298915"/>
                    <a:gd name="connsiteX269" fmla="*/ 170639 w 289763"/>
                    <a:gd name="connsiteY269" fmla="*/ 148765 h 298915"/>
                    <a:gd name="connsiteX270" fmla="*/ 172195 w 289763"/>
                    <a:gd name="connsiteY270" fmla="*/ 151658 h 298915"/>
                    <a:gd name="connsiteX271" fmla="*/ 172717 w 289763"/>
                    <a:gd name="connsiteY271" fmla="*/ 154470 h 298915"/>
                    <a:gd name="connsiteX272" fmla="*/ 174502 w 289763"/>
                    <a:gd name="connsiteY272" fmla="*/ 156345 h 298915"/>
                    <a:gd name="connsiteX273" fmla="*/ 176914 w 289763"/>
                    <a:gd name="connsiteY273" fmla="*/ 157143 h 298915"/>
                    <a:gd name="connsiteX274" fmla="*/ 179147 w 289763"/>
                    <a:gd name="connsiteY274" fmla="*/ 157241 h 298915"/>
                    <a:gd name="connsiteX275" fmla="*/ 180435 w 289763"/>
                    <a:gd name="connsiteY275" fmla="*/ 156410 h 298915"/>
                    <a:gd name="connsiteX276" fmla="*/ 183613 w 289763"/>
                    <a:gd name="connsiteY276" fmla="*/ 154943 h 298915"/>
                    <a:gd name="connsiteX277" fmla="*/ 186083 w 289763"/>
                    <a:gd name="connsiteY277" fmla="*/ 153280 h 298915"/>
                    <a:gd name="connsiteX278" fmla="*/ 187884 w 289763"/>
                    <a:gd name="connsiteY278" fmla="*/ 152702 h 298915"/>
                    <a:gd name="connsiteX279" fmla="*/ 188952 w 289763"/>
                    <a:gd name="connsiteY279" fmla="*/ 153068 h 298915"/>
                    <a:gd name="connsiteX280" fmla="*/ 189775 w 289763"/>
                    <a:gd name="connsiteY280" fmla="*/ 154201 h 298915"/>
                    <a:gd name="connsiteX281" fmla="*/ 190199 w 289763"/>
                    <a:gd name="connsiteY281" fmla="*/ 156475 h 298915"/>
                    <a:gd name="connsiteX282" fmla="*/ 190312 w 289763"/>
                    <a:gd name="connsiteY282" fmla="*/ 157722 h 298915"/>
                    <a:gd name="connsiteX283" fmla="*/ 192073 w 289763"/>
                    <a:gd name="connsiteY283" fmla="*/ 158920 h 298915"/>
                    <a:gd name="connsiteX284" fmla="*/ 193377 w 289763"/>
                    <a:gd name="connsiteY284" fmla="*/ 158439 h 298915"/>
                    <a:gd name="connsiteX285" fmla="*/ 193866 w 289763"/>
                    <a:gd name="connsiteY285" fmla="*/ 157070 h 298915"/>
                    <a:gd name="connsiteX286" fmla="*/ 193898 w 289763"/>
                    <a:gd name="connsiteY286" fmla="*/ 156369 h 298915"/>
                    <a:gd name="connsiteX287" fmla="*/ 193890 w 289763"/>
                    <a:gd name="connsiteY287" fmla="*/ 150232 h 298915"/>
                    <a:gd name="connsiteX288" fmla="*/ 193882 w 289763"/>
                    <a:gd name="connsiteY288" fmla="*/ 144919 h 298915"/>
                    <a:gd name="connsiteX289" fmla="*/ 193874 w 289763"/>
                    <a:gd name="connsiteY289" fmla="*/ 139907 h 298915"/>
                    <a:gd name="connsiteX290" fmla="*/ 193874 w 289763"/>
                    <a:gd name="connsiteY290" fmla="*/ 133811 h 298915"/>
                    <a:gd name="connsiteX291" fmla="*/ 193866 w 289763"/>
                    <a:gd name="connsiteY291" fmla="*/ 128505 h 298915"/>
                    <a:gd name="connsiteX292" fmla="*/ 193866 w 289763"/>
                    <a:gd name="connsiteY292" fmla="*/ 124121 h 298915"/>
                    <a:gd name="connsiteX293" fmla="*/ 193858 w 289763"/>
                    <a:gd name="connsiteY293" fmla="*/ 119557 h 298915"/>
                    <a:gd name="connsiteX294" fmla="*/ 192741 w 289763"/>
                    <a:gd name="connsiteY294" fmla="*/ 119817 h 298915"/>
                    <a:gd name="connsiteX295" fmla="*/ 191307 w 289763"/>
                    <a:gd name="connsiteY295" fmla="*/ 120861 h 298915"/>
                    <a:gd name="connsiteX296" fmla="*/ 188030 w 289763"/>
                    <a:gd name="connsiteY296" fmla="*/ 120983 h 298915"/>
                    <a:gd name="connsiteX297" fmla="*/ 186743 w 289763"/>
                    <a:gd name="connsiteY297" fmla="*/ 121765 h 298915"/>
                    <a:gd name="connsiteX298" fmla="*/ 186344 w 289763"/>
                    <a:gd name="connsiteY298" fmla="*/ 122939 h 298915"/>
                    <a:gd name="connsiteX299" fmla="*/ 186596 w 289763"/>
                    <a:gd name="connsiteY299" fmla="*/ 124479 h 298915"/>
                    <a:gd name="connsiteX300" fmla="*/ 186669 w 289763"/>
                    <a:gd name="connsiteY300" fmla="*/ 126549 h 298915"/>
                    <a:gd name="connsiteX301" fmla="*/ 186180 w 289763"/>
                    <a:gd name="connsiteY301" fmla="*/ 127527 h 298915"/>
                    <a:gd name="connsiteX302" fmla="*/ 184746 w 289763"/>
                    <a:gd name="connsiteY302" fmla="*/ 127910 h 298915"/>
                    <a:gd name="connsiteX303" fmla="*/ 182668 w 289763"/>
                    <a:gd name="connsiteY303" fmla="*/ 127111 h 298915"/>
                    <a:gd name="connsiteX304" fmla="*/ 178895 w 289763"/>
                    <a:gd name="connsiteY304" fmla="*/ 126060 h 298915"/>
                    <a:gd name="connsiteX305" fmla="*/ 175741 w 289763"/>
                    <a:gd name="connsiteY305" fmla="*/ 125416 h 298915"/>
                    <a:gd name="connsiteX306" fmla="*/ 173483 w 289763"/>
                    <a:gd name="connsiteY306" fmla="*/ 122662 h 298915"/>
                    <a:gd name="connsiteX307" fmla="*/ 170427 w 289763"/>
                    <a:gd name="connsiteY307" fmla="*/ 118505 h 298915"/>
                    <a:gd name="connsiteX308" fmla="*/ 168422 w 289763"/>
                    <a:gd name="connsiteY308" fmla="*/ 116411 h 298915"/>
                    <a:gd name="connsiteX309" fmla="*/ 163590 w 289763"/>
                    <a:gd name="connsiteY309" fmla="*/ 112075 h 298915"/>
                    <a:gd name="connsiteX310" fmla="*/ 162774 w 289763"/>
                    <a:gd name="connsiteY310" fmla="*/ 111203 h 298915"/>
                    <a:gd name="connsiteX311" fmla="*/ 161307 w 289763"/>
                    <a:gd name="connsiteY311" fmla="*/ 109174 h 298915"/>
                    <a:gd name="connsiteX312" fmla="*/ 160044 w 289763"/>
                    <a:gd name="connsiteY312" fmla="*/ 105727 h 298915"/>
                    <a:gd name="connsiteX313" fmla="*/ 159433 w 289763"/>
                    <a:gd name="connsiteY313" fmla="*/ 103453 h 298915"/>
                    <a:gd name="connsiteX314" fmla="*/ 158855 w 289763"/>
                    <a:gd name="connsiteY314" fmla="*/ 101750 h 298915"/>
                    <a:gd name="connsiteX315" fmla="*/ 158203 w 289763"/>
                    <a:gd name="connsiteY315" fmla="*/ 99207 h 298915"/>
                    <a:gd name="connsiteX316" fmla="*/ 159368 w 289763"/>
                    <a:gd name="connsiteY316" fmla="*/ 95319 h 298915"/>
                    <a:gd name="connsiteX317" fmla="*/ 161006 w 289763"/>
                    <a:gd name="connsiteY317" fmla="*/ 87927 h 298915"/>
                    <a:gd name="connsiteX318" fmla="*/ 162196 w 289763"/>
                    <a:gd name="connsiteY318" fmla="*/ 82598 h 298915"/>
                    <a:gd name="connsiteX319" fmla="*/ 162848 w 289763"/>
                    <a:gd name="connsiteY319" fmla="*/ 78645 h 298915"/>
                    <a:gd name="connsiteX320" fmla="*/ 165187 w 289763"/>
                    <a:gd name="connsiteY320" fmla="*/ 74627 h 298915"/>
                    <a:gd name="connsiteX321" fmla="*/ 165341 w 289763"/>
                    <a:gd name="connsiteY321" fmla="*/ 71025 h 298915"/>
                    <a:gd name="connsiteX322" fmla="*/ 164404 w 289763"/>
                    <a:gd name="connsiteY322" fmla="*/ 66421 h 298915"/>
                    <a:gd name="connsiteX323" fmla="*/ 164649 w 289763"/>
                    <a:gd name="connsiteY323" fmla="*/ 63853 h 298915"/>
                    <a:gd name="connsiteX324" fmla="*/ 164812 w 289763"/>
                    <a:gd name="connsiteY324" fmla="*/ 57407 h 298915"/>
                    <a:gd name="connsiteX325" fmla="*/ 164943 w 289763"/>
                    <a:gd name="connsiteY325" fmla="*/ 51971 h 298915"/>
                    <a:gd name="connsiteX326" fmla="*/ 164975 w 289763"/>
                    <a:gd name="connsiteY326" fmla="*/ 49330 h 298915"/>
                    <a:gd name="connsiteX327" fmla="*/ 164323 w 289763"/>
                    <a:gd name="connsiteY327" fmla="*/ 44734 h 298915"/>
                    <a:gd name="connsiteX328" fmla="*/ 162742 w 289763"/>
                    <a:gd name="connsiteY328" fmla="*/ 39649 h 298915"/>
                    <a:gd name="connsiteX329" fmla="*/ 159262 w 289763"/>
                    <a:gd name="connsiteY329" fmla="*/ 32558 h 298915"/>
                    <a:gd name="connsiteX330" fmla="*/ 159278 w 289763"/>
                    <a:gd name="connsiteY330" fmla="*/ 31043 h 298915"/>
                    <a:gd name="connsiteX331" fmla="*/ 161357 w 289763"/>
                    <a:gd name="connsiteY331" fmla="*/ 29380 h 298915"/>
                    <a:gd name="connsiteX332" fmla="*/ 164641 w 289763"/>
                    <a:gd name="connsiteY332" fmla="*/ 26454 h 298915"/>
                    <a:gd name="connsiteX333" fmla="*/ 166238 w 289763"/>
                    <a:gd name="connsiteY333" fmla="*/ 24718 h 298915"/>
                    <a:gd name="connsiteX334" fmla="*/ 168161 w 289763"/>
                    <a:gd name="connsiteY334" fmla="*/ 22241 h 298915"/>
                    <a:gd name="connsiteX335" fmla="*/ 169025 w 289763"/>
                    <a:gd name="connsiteY335" fmla="*/ 20994 h 298915"/>
                    <a:gd name="connsiteX336" fmla="*/ 170908 w 289763"/>
                    <a:gd name="connsiteY336" fmla="*/ 17824 h 298915"/>
                    <a:gd name="connsiteX337" fmla="*/ 172106 w 289763"/>
                    <a:gd name="connsiteY337" fmla="*/ 15265 h 298915"/>
                    <a:gd name="connsiteX338" fmla="*/ 172513 w 289763"/>
                    <a:gd name="connsiteY338" fmla="*/ 11939 h 298915"/>
                    <a:gd name="connsiteX339" fmla="*/ 171625 w 289763"/>
                    <a:gd name="connsiteY339" fmla="*/ 8785 h 298915"/>
                    <a:gd name="connsiteX340" fmla="*/ 173459 w 289763"/>
                    <a:gd name="connsiteY340" fmla="*/ 8166 h 298915"/>
                    <a:gd name="connsiteX341" fmla="*/ 179498 w 289763"/>
                    <a:gd name="connsiteY341" fmla="*/ 7041 h 298915"/>
                    <a:gd name="connsiteX342" fmla="*/ 186140 w 289763"/>
                    <a:gd name="connsiteY342" fmla="*/ 5811 h 298915"/>
                    <a:gd name="connsiteX343" fmla="*/ 193149 w 289763"/>
                    <a:gd name="connsiteY343" fmla="*/ 4515 h 298915"/>
                    <a:gd name="connsiteX344" fmla="*/ 200223 w 289763"/>
                    <a:gd name="connsiteY344" fmla="*/ 3211 h 298915"/>
                    <a:gd name="connsiteX345" fmla="*/ 207068 w 289763"/>
                    <a:gd name="connsiteY345" fmla="*/ 1940 h 298915"/>
                    <a:gd name="connsiteX346" fmla="*/ 213278 w 289763"/>
                    <a:gd name="connsiteY346" fmla="*/ 791 h 298915"/>
                    <a:gd name="connsiteX347" fmla="*/ 217582 w 289763"/>
                    <a:gd name="connsiteY347" fmla="*/ 0 h 298915"/>
                    <a:gd name="connsiteX348" fmla="*/ 218217 w 289763"/>
                    <a:gd name="connsiteY348" fmla="*/ 2168 h 298915"/>
                    <a:gd name="connsiteX349" fmla="*/ 219545 w 289763"/>
                    <a:gd name="connsiteY349" fmla="*/ 5778 h 298915"/>
                    <a:gd name="connsiteX350" fmla="*/ 221069 w 289763"/>
                    <a:gd name="connsiteY350" fmla="*/ 8427 h 298915"/>
                    <a:gd name="connsiteX351" fmla="*/ 222960 w 289763"/>
                    <a:gd name="connsiteY351" fmla="*/ 10749 h 298915"/>
                    <a:gd name="connsiteX352" fmla="*/ 224574 w 289763"/>
                    <a:gd name="connsiteY352" fmla="*/ 12159 h 298915"/>
                    <a:gd name="connsiteX353" fmla="*/ 225642 w 289763"/>
                    <a:gd name="connsiteY353" fmla="*/ 12583 h 298915"/>
                    <a:gd name="connsiteX354" fmla="*/ 232446 w 289763"/>
                    <a:gd name="connsiteY354" fmla="*/ 12436 h 298915"/>
                    <a:gd name="connsiteX355" fmla="*/ 234891 w 289763"/>
                    <a:gd name="connsiteY355" fmla="*/ 13855 h 298915"/>
                    <a:gd name="connsiteX356" fmla="*/ 237002 w 289763"/>
                    <a:gd name="connsiteY356" fmla="*/ 15639 h 298915"/>
                    <a:gd name="connsiteX357" fmla="*/ 237548 w 289763"/>
                    <a:gd name="connsiteY357" fmla="*/ 18418 h 298915"/>
                    <a:gd name="connsiteX358" fmla="*/ 238942 w 289763"/>
                    <a:gd name="connsiteY358" fmla="*/ 20154 h 298915"/>
                    <a:gd name="connsiteX359" fmla="*/ 240449 w 289763"/>
                    <a:gd name="connsiteY359" fmla="*/ 21515 h 298915"/>
                    <a:gd name="connsiteX360" fmla="*/ 241102 w 289763"/>
                    <a:gd name="connsiteY360" fmla="*/ 21695 h 298915"/>
                    <a:gd name="connsiteX361" fmla="*/ 242218 w 289763"/>
                    <a:gd name="connsiteY361" fmla="*/ 21360 h 298915"/>
                    <a:gd name="connsiteX362" fmla="*/ 244035 w 289763"/>
                    <a:gd name="connsiteY362" fmla="*/ 21328 h 298915"/>
                    <a:gd name="connsiteX363" fmla="*/ 245723 w 289763"/>
                    <a:gd name="connsiteY363" fmla="*/ 21923 h 298915"/>
                    <a:gd name="connsiteX364" fmla="*/ 246537 w 289763"/>
                    <a:gd name="connsiteY364" fmla="*/ 22526 h 298915"/>
                    <a:gd name="connsiteX365" fmla="*/ 246611 w 289763"/>
                    <a:gd name="connsiteY365" fmla="*/ 24857 h 298915"/>
                    <a:gd name="connsiteX366" fmla="*/ 247132 w 289763"/>
                    <a:gd name="connsiteY366" fmla="*/ 25892 h 298915"/>
                    <a:gd name="connsiteX367" fmla="*/ 249430 w 289763"/>
                    <a:gd name="connsiteY367" fmla="*/ 26307 h 298915"/>
                    <a:gd name="connsiteX368" fmla="*/ 251770 w 289763"/>
                    <a:gd name="connsiteY368" fmla="*/ 26495 h 298915"/>
                    <a:gd name="connsiteX369" fmla="*/ 254019 w 289763"/>
                    <a:gd name="connsiteY369" fmla="*/ 28060 h 298915"/>
                    <a:gd name="connsiteX370" fmla="*/ 256472 w 289763"/>
                    <a:gd name="connsiteY370" fmla="*/ 28337 h 298915"/>
                    <a:gd name="connsiteX371" fmla="*/ 259292 w 289763"/>
                    <a:gd name="connsiteY371" fmla="*/ 28989 h 298915"/>
                    <a:gd name="connsiteX372" fmla="*/ 260628 w 289763"/>
                    <a:gd name="connsiteY372" fmla="*/ 30676 h 298915"/>
                    <a:gd name="connsiteX373" fmla="*/ 263636 w 289763"/>
                    <a:gd name="connsiteY373" fmla="*/ 32428 h 298915"/>
                    <a:gd name="connsiteX374" fmla="*/ 267319 w 289763"/>
                    <a:gd name="connsiteY374" fmla="*/ 33976 h 298915"/>
                    <a:gd name="connsiteX375" fmla="*/ 269960 w 289763"/>
                    <a:gd name="connsiteY375" fmla="*/ 35745 h 29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Lst>
                  <a:rect l="l" t="t" r="r" b="b"/>
                  <a:pathLst>
                    <a:path w="289763" h="298915">
                      <a:moveTo>
                        <a:pt x="271362" y="36552"/>
                      </a:moveTo>
                      <a:lnTo>
                        <a:pt x="271459" y="37350"/>
                      </a:lnTo>
                      <a:lnTo>
                        <a:pt x="272136" y="38866"/>
                      </a:lnTo>
                      <a:lnTo>
                        <a:pt x="272853" y="39958"/>
                      </a:lnTo>
                      <a:lnTo>
                        <a:pt x="272910" y="41555"/>
                      </a:lnTo>
                      <a:lnTo>
                        <a:pt x="273252" y="43047"/>
                      </a:lnTo>
                      <a:lnTo>
                        <a:pt x="274295" y="43414"/>
                      </a:lnTo>
                      <a:lnTo>
                        <a:pt x="275151" y="43512"/>
                      </a:lnTo>
                      <a:lnTo>
                        <a:pt x="275950" y="42436"/>
                      </a:lnTo>
                      <a:lnTo>
                        <a:pt x="277026" y="42468"/>
                      </a:lnTo>
                      <a:lnTo>
                        <a:pt x="278207" y="43145"/>
                      </a:lnTo>
                      <a:lnTo>
                        <a:pt x="278631" y="44856"/>
                      </a:lnTo>
                      <a:lnTo>
                        <a:pt x="279560" y="47171"/>
                      </a:lnTo>
                      <a:lnTo>
                        <a:pt x="281051" y="48744"/>
                      </a:lnTo>
                      <a:lnTo>
                        <a:pt x="282062" y="50260"/>
                      </a:lnTo>
                      <a:lnTo>
                        <a:pt x="281711" y="53022"/>
                      </a:lnTo>
                      <a:lnTo>
                        <a:pt x="281084" y="55565"/>
                      </a:lnTo>
                      <a:lnTo>
                        <a:pt x="283114" y="58067"/>
                      </a:lnTo>
                      <a:lnTo>
                        <a:pt x="285754" y="60447"/>
                      </a:lnTo>
                      <a:lnTo>
                        <a:pt x="286471" y="61490"/>
                      </a:lnTo>
                      <a:lnTo>
                        <a:pt x="286683" y="65027"/>
                      </a:lnTo>
                      <a:lnTo>
                        <a:pt x="287083" y="66225"/>
                      </a:lnTo>
                      <a:lnTo>
                        <a:pt x="288883" y="69159"/>
                      </a:lnTo>
                      <a:lnTo>
                        <a:pt x="289764" y="71115"/>
                      </a:lnTo>
                      <a:lnTo>
                        <a:pt x="289699" y="72239"/>
                      </a:lnTo>
                      <a:lnTo>
                        <a:pt x="284874" y="78066"/>
                      </a:lnTo>
                      <a:lnTo>
                        <a:pt x="283358" y="78620"/>
                      </a:lnTo>
                      <a:lnTo>
                        <a:pt x="281907" y="78955"/>
                      </a:lnTo>
                      <a:lnTo>
                        <a:pt x="280620" y="80153"/>
                      </a:lnTo>
                      <a:lnTo>
                        <a:pt x="279829" y="81391"/>
                      </a:lnTo>
                      <a:lnTo>
                        <a:pt x="280123" y="82043"/>
                      </a:lnTo>
                      <a:lnTo>
                        <a:pt x="280620" y="84048"/>
                      </a:lnTo>
                      <a:lnTo>
                        <a:pt x="281752" y="87194"/>
                      </a:lnTo>
                      <a:lnTo>
                        <a:pt x="282771" y="89378"/>
                      </a:lnTo>
                      <a:lnTo>
                        <a:pt x="281923" y="92133"/>
                      </a:lnTo>
                      <a:lnTo>
                        <a:pt x="280008" y="96819"/>
                      </a:lnTo>
                      <a:lnTo>
                        <a:pt x="279120" y="97234"/>
                      </a:lnTo>
                      <a:lnTo>
                        <a:pt x="278965" y="100788"/>
                      </a:lnTo>
                      <a:lnTo>
                        <a:pt x="279560" y="102084"/>
                      </a:lnTo>
                      <a:lnTo>
                        <a:pt x="280497" y="103086"/>
                      </a:lnTo>
                      <a:lnTo>
                        <a:pt x="280889" y="105498"/>
                      </a:lnTo>
                      <a:lnTo>
                        <a:pt x="280921" y="108807"/>
                      </a:lnTo>
                      <a:lnTo>
                        <a:pt x="280815" y="111464"/>
                      </a:lnTo>
                      <a:lnTo>
                        <a:pt x="279609" y="118261"/>
                      </a:lnTo>
                      <a:lnTo>
                        <a:pt x="281785" y="124186"/>
                      </a:lnTo>
                      <a:lnTo>
                        <a:pt x="282535" y="124846"/>
                      </a:lnTo>
                      <a:lnTo>
                        <a:pt x="285542" y="124878"/>
                      </a:lnTo>
                      <a:lnTo>
                        <a:pt x="286064" y="125384"/>
                      </a:lnTo>
                      <a:lnTo>
                        <a:pt x="285330" y="127071"/>
                      </a:lnTo>
                      <a:lnTo>
                        <a:pt x="284034" y="128798"/>
                      </a:lnTo>
                      <a:lnTo>
                        <a:pt x="283219" y="129687"/>
                      </a:lnTo>
                      <a:lnTo>
                        <a:pt x="279389" y="131716"/>
                      </a:lnTo>
                      <a:lnTo>
                        <a:pt x="273888" y="133949"/>
                      </a:lnTo>
                      <a:lnTo>
                        <a:pt x="272739" y="136101"/>
                      </a:lnTo>
                      <a:lnTo>
                        <a:pt x="272005" y="139230"/>
                      </a:lnTo>
                      <a:lnTo>
                        <a:pt x="272625" y="141056"/>
                      </a:lnTo>
                      <a:lnTo>
                        <a:pt x="273350" y="142115"/>
                      </a:lnTo>
                      <a:lnTo>
                        <a:pt x="273114" y="144837"/>
                      </a:lnTo>
                      <a:lnTo>
                        <a:pt x="272641" y="147706"/>
                      </a:lnTo>
                      <a:lnTo>
                        <a:pt x="272796" y="149980"/>
                      </a:lnTo>
                      <a:lnTo>
                        <a:pt x="272543" y="151976"/>
                      </a:lnTo>
                      <a:lnTo>
                        <a:pt x="271834" y="152962"/>
                      </a:lnTo>
                      <a:lnTo>
                        <a:pt x="270864" y="155986"/>
                      </a:lnTo>
                      <a:lnTo>
                        <a:pt x="269683" y="159018"/>
                      </a:lnTo>
                      <a:lnTo>
                        <a:pt x="268737" y="160403"/>
                      </a:lnTo>
                      <a:lnTo>
                        <a:pt x="267368" y="161854"/>
                      </a:lnTo>
                      <a:lnTo>
                        <a:pt x="265176" y="163068"/>
                      </a:lnTo>
                      <a:lnTo>
                        <a:pt x="265225" y="163679"/>
                      </a:lnTo>
                      <a:lnTo>
                        <a:pt x="267694" y="165073"/>
                      </a:lnTo>
                      <a:lnTo>
                        <a:pt x="268330" y="166051"/>
                      </a:lnTo>
                      <a:lnTo>
                        <a:pt x="268558" y="166719"/>
                      </a:lnTo>
                      <a:lnTo>
                        <a:pt x="268036" y="167355"/>
                      </a:lnTo>
                      <a:lnTo>
                        <a:pt x="267531" y="168251"/>
                      </a:lnTo>
                      <a:lnTo>
                        <a:pt x="268672" y="169172"/>
                      </a:lnTo>
                      <a:lnTo>
                        <a:pt x="270057" y="169963"/>
                      </a:lnTo>
                      <a:lnTo>
                        <a:pt x="271370" y="171976"/>
                      </a:lnTo>
                      <a:lnTo>
                        <a:pt x="272543" y="174812"/>
                      </a:lnTo>
                      <a:lnTo>
                        <a:pt x="272886" y="175798"/>
                      </a:lnTo>
                      <a:lnTo>
                        <a:pt x="273163" y="176189"/>
                      </a:lnTo>
                      <a:lnTo>
                        <a:pt x="273587" y="176238"/>
                      </a:lnTo>
                      <a:lnTo>
                        <a:pt x="274401" y="175814"/>
                      </a:lnTo>
                      <a:lnTo>
                        <a:pt x="275925" y="174266"/>
                      </a:lnTo>
                      <a:lnTo>
                        <a:pt x="277026" y="173712"/>
                      </a:lnTo>
                      <a:lnTo>
                        <a:pt x="278354" y="175912"/>
                      </a:lnTo>
                      <a:lnTo>
                        <a:pt x="273024" y="178096"/>
                      </a:lnTo>
                      <a:lnTo>
                        <a:pt x="270237" y="179229"/>
                      </a:lnTo>
                      <a:lnTo>
                        <a:pt x="262266" y="182489"/>
                      </a:lnTo>
                      <a:lnTo>
                        <a:pt x="255315" y="185333"/>
                      </a:lnTo>
                      <a:lnTo>
                        <a:pt x="253505" y="185871"/>
                      </a:lnTo>
                      <a:lnTo>
                        <a:pt x="249895" y="187265"/>
                      </a:lnTo>
                      <a:lnTo>
                        <a:pt x="248110" y="188120"/>
                      </a:lnTo>
                      <a:lnTo>
                        <a:pt x="241827" y="190598"/>
                      </a:lnTo>
                      <a:lnTo>
                        <a:pt x="239203" y="191837"/>
                      </a:lnTo>
                      <a:lnTo>
                        <a:pt x="237092" y="193067"/>
                      </a:lnTo>
                      <a:lnTo>
                        <a:pt x="231892" y="194909"/>
                      </a:lnTo>
                      <a:lnTo>
                        <a:pt x="227003" y="196629"/>
                      </a:lnTo>
                      <a:lnTo>
                        <a:pt x="221648" y="198422"/>
                      </a:lnTo>
                      <a:lnTo>
                        <a:pt x="215642" y="200418"/>
                      </a:lnTo>
                      <a:lnTo>
                        <a:pt x="212284" y="201861"/>
                      </a:lnTo>
                      <a:lnTo>
                        <a:pt x="210002" y="203108"/>
                      </a:lnTo>
                      <a:lnTo>
                        <a:pt x="204697" y="205642"/>
                      </a:lnTo>
                      <a:lnTo>
                        <a:pt x="204436" y="206262"/>
                      </a:lnTo>
                      <a:lnTo>
                        <a:pt x="204526" y="207965"/>
                      </a:lnTo>
                      <a:lnTo>
                        <a:pt x="205202" y="211526"/>
                      </a:lnTo>
                      <a:lnTo>
                        <a:pt x="206522" y="214729"/>
                      </a:lnTo>
                      <a:lnTo>
                        <a:pt x="207639" y="216595"/>
                      </a:lnTo>
                      <a:lnTo>
                        <a:pt x="208364" y="221355"/>
                      </a:lnTo>
                      <a:lnTo>
                        <a:pt x="208772" y="225528"/>
                      </a:lnTo>
                      <a:lnTo>
                        <a:pt x="205161" y="225544"/>
                      </a:lnTo>
                      <a:lnTo>
                        <a:pt x="198821" y="225560"/>
                      </a:lnTo>
                      <a:lnTo>
                        <a:pt x="192236" y="225585"/>
                      </a:lnTo>
                      <a:lnTo>
                        <a:pt x="186230" y="227174"/>
                      </a:lnTo>
                      <a:lnTo>
                        <a:pt x="181282" y="229611"/>
                      </a:lnTo>
                      <a:lnTo>
                        <a:pt x="175398" y="233408"/>
                      </a:lnTo>
                      <a:lnTo>
                        <a:pt x="173475" y="234908"/>
                      </a:lnTo>
                      <a:lnTo>
                        <a:pt x="171984" y="236057"/>
                      </a:lnTo>
                      <a:lnTo>
                        <a:pt x="171055" y="237532"/>
                      </a:lnTo>
                      <a:lnTo>
                        <a:pt x="170598" y="240776"/>
                      </a:lnTo>
                      <a:lnTo>
                        <a:pt x="170598" y="245780"/>
                      </a:lnTo>
                      <a:lnTo>
                        <a:pt x="169987" y="249390"/>
                      </a:lnTo>
                      <a:lnTo>
                        <a:pt x="168202" y="252682"/>
                      </a:lnTo>
                      <a:lnTo>
                        <a:pt x="168210" y="252674"/>
                      </a:lnTo>
                      <a:lnTo>
                        <a:pt x="159254" y="256684"/>
                      </a:lnTo>
                      <a:lnTo>
                        <a:pt x="153402" y="259952"/>
                      </a:lnTo>
                      <a:lnTo>
                        <a:pt x="147657" y="263823"/>
                      </a:lnTo>
                      <a:lnTo>
                        <a:pt x="143305" y="268852"/>
                      </a:lnTo>
                      <a:lnTo>
                        <a:pt x="140338" y="275029"/>
                      </a:lnTo>
                      <a:lnTo>
                        <a:pt x="135408" y="282682"/>
                      </a:lnTo>
                      <a:lnTo>
                        <a:pt x="130379" y="289324"/>
                      </a:lnTo>
                      <a:lnTo>
                        <a:pt x="125049" y="296373"/>
                      </a:lnTo>
                      <a:lnTo>
                        <a:pt x="119084" y="298916"/>
                      </a:lnTo>
                      <a:lnTo>
                        <a:pt x="114063" y="298337"/>
                      </a:lnTo>
                      <a:lnTo>
                        <a:pt x="108000" y="295469"/>
                      </a:lnTo>
                      <a:lnTo>
                        <a:pt x="103192" y="294931"/>
                      </a:lnTo>
                      <a:lnTo>
                        <a:pt x="99639" y="296732"/>
                      </a:lnTo>
                      <a:lnTo>
                        <a:pt x="96346" y="296169"/>
                      </a:lnTo>
                      <a:lnTo>
                        <a:pt x="93339" y="293293"/>
                      </a:lnTo>
                      <a:lnTo>
                        <a:pt x="90804" y="292258"/>
                      </a:lnTo>
                      <a:lnTo>
                        <a:pt x="88750" y="293032"/>
                      </a:lnTo>
                      <a:lnTo>
                        <a:pt x="86134" y="292893"/>
                      </a:lnTo>
                      <a:lnTo>
                        <a:pt x="81351" y="291312"/>
                      </a:lnTo>
                      <a:lnTo>
                        <a:pt x="77219" y="286430"/>
                      </a:lnTo>
                      <a:lnTo>
                        <a:pt x="74986" y="284409"/>
                      </a:lnTo>
                      <a:lnTo>
                        <a:pt x="73258" y="283643"/>
                      </a:lnTo>
                      <a:lnTo>
                        <a:pt x="68303" y="282853"/>
                      </a:lnTo>
                      <a:lnTo>
                        <a:pt x="56959" y="281736"/>
                      </a:lnTo>
                      <a:lnTo>
                        <a:pt x="55760" y="281989"/>
                      </a:lnTo>
                      <a:lnTo>
                        <a:pt x="51050" y="282951"/>
                      </a:lnTo>
                      <a:lnTo>
                        <a:pt x="45149" y="284157"/>
                      </a:lnTo>
                      <a:lnTo>
                        <a:pt x="40089" y="285363"/>
                      </a:lnTo>
                      <a:lnTo>
                        <a:pt x="34775" y="286618"/>
                      </a:lnTo>
                      <a:lnTo>
                        <a:pt x="29836" y="281533"/>
                      </a:lnTo>
                      <a:lnTo>
                        <a:pt x="24237" y="275746"/>
                      </a:lnTo>
                      <a:lnTo>
                        <a:pt x="18443" y="269300"/>
                      </a:lnTo>
                      <a:lnTo>
                        <a:pt x="14067" y="264247"/>
                      </a:lnTo>
                      <a:lnTo>
                        <a:pt x="11923" y="261338"/>
                      </a:lnTo>
                      <a:lnTo>
                        <a:pt x="8093" y="257499"/>
                      </a:lnTo>
                      <a:lnTo>
                        <a:pt x="5338" y="255624"/>
                      </a:lnTo>
                      <a:lnTo>
                        <a:pt x="4262" y="254679"/>
                      </a:lnTo>
                      <a:lnTo>
                        <a:pt x="1524" y="244451"/>
                      </a:lnTo>
                      <a:lnTo>
                        <a:pt x="24" y="235071"/>
                      </a:lnTo>
                      <a:lnTo>
                        <a:pt x="24" y="228005"/>
                      </a:lnTo>
                      <a:lnTo>
                        <a:pt x="16" y="218225"/>
                      </a:lnTo>
                      <a:lnTo>
                        <a:pt x="16" y="208454"/>
                      </a:lnTo>
                      <a:lnTo>
                        <a:pt x="16" y="198666"/>
                      </a:lnTo>
                      <a:lnTo>
                        <a:pt x="8" y="188895"/>
                      </a:lnTo>
                      <a:lnTo>
                        <a:pt x="8" y="179156"/>
                      </a:lnTo>
                      <a:lnTo>
                        <a:pt x="0" y="169400"/>
                      </a:lnTo>
                      <a:lnTo>
                        <a:pt x="0" y="159645"/>
                      </a:lnTo>
                      <a:lnTo>
                        <a:pt x="0" y="149914"/>
                      </a:lnTo>
                      <a:lnTo>
                        <a:pt x="0" y="145179"/>
                      </a:lnTo>
                      <a:lnTo>
                        <a:pt x="5729" y="145179"/>
                      </a:lnTo>
                      <a:lnTo>
                        <a:pt x="12200" y="145179"/>
                      </a:lnTo>
                      <a:lnTo>
                        <a:pt x="18981" y="145179"/>
                      </a:lnTo>
                      <a:lnTo>
                        <a:pt x="26356" y="145179"/>
                      </a:lnTo>
                      <a:lnTo>
                        <a:pt x="33732" y="145179"/>
                      </a:lnTo>
                      <a:lnTo>
                        <a:pt x="41099" y="145179"/>
                      </a:lnTo>
                      <a:lnTo>
                        <a:pt x="46242" y="145179"/>
                      </a:lnTo>
                      <a:lnTo>
                        <a:pt x="47586" y="145098"/>
                      </a:lnTo>
                      <a:lnTo>
                        <a:pt x="49216" y="144796"/>
                      </a:lnTo>
                      <a:lnTo>
                        <a:pt x="49338" y="143851"/>
                      </a:lnTo>
                      <a:lnTo>
                        <a:pt x="47211" y="139051"/>
                      </a:lnTo>
                      <a:lnTo>
                        <a:pt x="47317" y="137372"/>
                      </a:lnTo>
                      <a:lnTo>
                        <a:pt x="47880" y="134128"/>
                      </a:lnTo>
                      <a:lnTo>
                        <a:pt x="48760" y="131333"/>
                      </a:lnTo>
                      <a:lnTo>
                        <a:pt x="49917" y="127649"/>
                      </a:lnTo>
                      <a:lnTo>
                        <a:pt x="50047" y="125473"/>
                      </a:lnTo>
                      <a:lnTo>
                        <a:pt x="49110" y="118424"/>
                      </a:lnTo>
                      <a:lnTo>
                        <a:pt x="49200" y="114479"/>
                      </a:lnTo>
                      <a:lnTo>
                        <a:pt x="49477" y="110404"/>
                      </a:lnTo>
                      <a:lnTo>
                        <a:pt x="49730" y="106533"/>
                      </a:lnTo>
                      <a:lnTo>
                        <a:pt x="49420" y="103836"/>
                      </a:lnTo>
                      <a:lnTo>
                        <a:pt x="49803" y="102361"/>
                      </a:lnTo>
                      <a:lnTo>
                        <a:pt x="50496" y="100258"/>
                      </a:lnTo>
                      <a:lnTo>
                        <a:pt x="50862" y="97878"/>
                      </a:lnTo>
                      <a:lnTo>
                        <a:pt x="51286" y="96868"/>
                      </a:lnTo>
                      <a:lnTo>
                        <a:pt x="51164" y="95923"/>
                      </a:lnTo>
                      <a:lnTo>
                        <a:pt x="50765" y="94146"/>
                      </a:lnTo>
                      <a:lnTo>
                        <a:pt x="50382" y="90201"/>
                      </a:lnTo>
                      <a:lnTo>
                        <a:pt x="49843" y="84692"/>
                      </a:lnTo>
                      <a:lnTo>
                        <a:pt x="49298" y="80740"/>
                      </a:lnTo>
                      <a:lnTo>
                        <a:pt x="50202" y="80960"/>
                      </a:lnTo>
                      <a:lnTo>
                        <a:pt x="52068" y="81326"/>
                      </a:lnTo>
                      <a:lnTo>
                        <a:pt x="52981" y="83274"/>
                      </a:lnTo>
                      <a:lnTo>
                        <a:pt x="53527" y="85401"/>
                      </a:lnTo>
                      <a:lnTo>
                        <a:pt x="54774" y="85523"/>
                      </a:lnTo>
                      <a:lnTo>
                        <a:pt x="58058" y="86778"/>
                      </a:lnTo>
                      <a:lnTo>
                        <a:pt x="59199" y="88539"/>
                      </a:lnTo>
                      <a:lnTo>
                        <a:pt x="59965" y="92328"/>
                      </a:lnTo>
                      <a:lnTo>
                        <a:pt x="59501" y="94268"/>
                      </a:lnTo>
                      <a:lnTo>
                        <a:pt x="58441" y="95833"/>
                      </a:lnTo>
                      <a:lnTo>
                        <a:pt x="59501" y="97218"/>
                      </a:lnTo>
                      <a:lnTo>
                        <a:pt x="61701" y="98147"/>
                      </a:lnTo>
                      <a:lnTo>
                        <a:pt x="62989" y="97862"/>
                      </a:lnTo>
                      <a:lnTo>
                        <a:pt x="66714" y="95279"/>
                      </a:lnTo>
                      <a:lnTo>
                        <a:pt x="68197" y="94822"/>
                      </a:lnTo>
                      <a:lnTo>
                        <a:pt x="70136" y="94325"/>
                      </a:lnTo>
                      <a:lnTo>
                        <a:pt x="71881" y="93657"/>
                      </a:lnTo>
                      <a:lnTo>
                        <a:pt x="76819" y="92475"/>
                      </a:lnTo>
                      <a:lnTo>
                        <a:pt x="79517" y="91954"/>
                      </a:lnTo>
                      <a:lnTo>
                        <a:pt x="81033" y="91024"/>
                      </a:lnTo>
                      <a:lnTo>
                        <a:pt x="82100" y="91024"/>
                      </a:lnTo>
                      <a:lnTo>
                        <a:pt x="82850" y="91766"/>
                      </a:lnTo>
                      <a:lnTo>
                        <a:pt x="82165" y="94455"/>
                      </a:lnTo>
                      <a:lnTo>
                        <a:pt x="81946" y="96860"/>
                      </a:lnTo>
                      <a:lnTo>
                        <a:pt x="82891" y="101350"/>
                      </a:lnTo>
                      <a:lnTo>
                        <a:pt x="83600" y="103453"/>
                      </a:lnTo>
                      <a:lnTo>
                        <a:pt x="85189" y="104977"/>
                      </a:lnTo>
                      <a:lnTo>
                        <a:pt x="86338" y="105767"/>
                      </a:lnTo>
                      <a:lnTo>
                        <a:pt x="87626" y="107389"/>
                      </a:lnTo>
                      <a:lnTo>
                        <a:pt x="90283" y="107112"/>
                      </a:lnTo>
                      <a:lnTo>
                        <a:pt x="96134" y="109410"/>
                      </a:lnTo>
                      <a:lnTo>
                        <a:pt x="97911" y="110478"/>
                      </a:lnTo>
                      <a:lnTo>
                        <a:pt x="100380" y="111529"/>
                      </a:lnTo>
                      <a:lnTo>
                        <a:pt x="102132" y="111920"/>
                      </a:lnTo>
                      <a:lnTo>
                        <a:pt x="108163" y="112727"/>
                      </a:lnTo>
                      <a:lnTo>
                        <a:pt x="110388" y="113273"/>
                      </a:lnTo>
                      <a:lnTo>
                        <a:pt x="114528" y="114007"/>
                      </a:lnTo>
                      <a:lnTo>
                        <a:pt x="117829" y="114121"/>
                      </a:lnTo>
                      <a:lnTo>
                        <a:pt x="120176" y="113803"/>
                      </a:lnTo>
                      <a:lnTo>
                        <a:pt x="121830" y="113143"/>
                      </a:lnTo>
                      <a:lnTo>
                        <a:pt x="122832" y="112417"/>
                      </a:lnTo>
                      <a:lnTo>
                        <a:pt x="123289" y="111790"/>
                      </a:lnTo>
                      <a:lnTo>
                        <a:pt x="123966" y="109549"/>
                      </a:lnTo>
                      <a:lnTo>
                        <a:pt x="125204" y="104683"/>
                      </a:lnTo>
                      <a:lnTo>
                        <a:pt x="125685" y="103233"/>
                      </a:lnTo>
                      <a:lnTo>
                        <a:pt x="126907" y="102565"/>
                      </a:lnTo>
                      <a:lnTo>
                        <a:pt x="128480" y="102124"/>
                      </a:lnTo>
                      <a:lnTo>
                        <a:pt x="129409" y="102907"/>
                      </a:lnTo>
                      <a:lnTo>
                        <a:pt x="130437" y="108310"/>
                      </a:lnTo>
                      <a:lnTo>
                        <a:pt x="135057" y="113176"/>
                      </a:lnTo>
                      <a:lnTo>
                        <a:pt x="136614" y="117267"/>
                      </a:lnTo>
                      <a:lnTo>
                        <a:pt x="137771" y="120771"/>
                      </a:lnTo>
                      <a:lnTo>
                        <a:pt x="138773" y="121724"/>
                      </a:lnTo>
                      <a:lnTo>
                        <a:pt x="140526" y="122939"/>
                      </a:lnTo>
                      <a:lnTo>
                        <a:pt x="143313" y="123346"/>
                      </a:lnTo>
                      <a:lnTo>
                        <a:pt x="145807" y="123485"/>
                      </a:lnTo>
                      <a:lnTo>
                        <a:pt x="151047" y="126003"/>
                      </a:lnTo>
                      <a:lnTo>
                        <a:pt x="155228" y="128016"/>
                      </a:lnTo>
                      <a:lnTo>
                        <a:pt x="158210" y="129450"/>
                      </a:lnTo>
                      <a:lnTo>
                        <a:pt x="159571" y="130542"/>
                      </a:lnTo>
                      <a:lnTo>
                        <a:pt x="160541" y="132344"/>
                      </a:lnTo>
                      <a:lnTo>
                        <a:pt x="161104" y="133729"/>
                      </a:lnTo>
                      <a:lnTo>
                        <a:pt x="162025" y="137339"/>
                      </a:lnTo>
                      <a:lnTo>
                        <a:pt x="163003" y="140192"/>
                      </a:lnTo>
                      <a:lnTo>
                        <a:pt x="164608" y="140738"/>
                      </a:lnTo>
                      <a:lnTo>
                        <a:pt x="166026" y="140942"/>
                      </a:lnTo>
                      <a:lnTo>
                        <a:pt x="167444" y="142889"/>
                      </a:lnTo>
                      <a:lnTo>
                        <a:pt x="168512" y="144609"/>
                      </a:lnTo>
                      <a:lnTo>
                        <a:pt x="170639" y="148765"/>
                      </a:lnTo>
                      <a:lnTo>
                        <a:pt x="172195" y="151658"/>
                      </a:lnTo>
                      <a:lnTo>
                        <a:pt x="172717" y="154470"/>
                      </a:lnTo>
                      <a:lnTo>
                        <a:pt x="174502" y="156345"/>
                      </a:lnTo>
                      <a:lnTo>
                        <a:pt x="176914" y="157143"/>
                      </a:lnTo>
                      <a:lnTo>
                        <a:pt x="179147" y="157241"/>
                      </a:lnTo>
                      <a:lnTo>
                        <a:pt x="180435" y="156410"/>
                      </a:lnTo>
                      <a:lnTo>
                        <a:pt x="183613" y="154943"/>
                      </a:lnTo>
                      <a:lnTo>
                        <a:pt x="186083" y="153280"/>
                      </a:lnTo>
                      <a:lnTo>
                        <a:pt x="187884" y="152702"/>
                      </a:lnTo>
                      <a:lnTo>
                        <a:pt x="188952" y="153068"/>
                      </a:lnTo>
                      <a:lnTo>
                        <a:pt x="189775" y="154201"/>
                      </a:lnTo>
                      <a:lnTo>
                        <a:pt x="190199" y="156475"/>
                      </a:lnTo>
                      <a:lnTo>
                        <a:pt x="190312" y="157722"/>
                      </a:lnTo>
                      <a:lnTo>
                        <a:pt x="192073" y="158920"/>
                      </a:lnTo>
                      <a:lnTo>
                        <a:pt x="193377" y="158439"/>
                      </a:lnTo>
                      <a:lnTo>
                        <a:pt x="193866" y="157070"/>
                      </a:lnTo>
                      <a:lnTo>
                        <a:pt x="193898" y="156369"/>
                      </a:lnTo>
                      <a:lnTo>
                        <a:pt x="193890" y="150232"/>
                      </a:lnTo>
                      <a:lnTo>
                        <a:pt x="193882" y="144919"/>
                      </a:lnTo>
                      <a:lnTo>
                        <a:pt x="193874" y="139907"/>
                      </a:lnTo>
                      <a:lnTo>
                        <a:pt x="193874" y="133811"/>
                      </a:lnTo>
                      <a:lnTo>
                        <a:pt x="193866" y="128505"/>
                      </a:lnTo>
                      <a:lnTo>
                        <a:pt x="193866" y="124121"/>
                      </a:lnTo>
                      <a:lnTo>
                        <a:pt x="193858" y="119557"/>
                      </a:lnTo>
                      <a:lnTo>
                        <a:pt x="192741" y="119817"/>
                      </a:lnTo>
                      <a:lnTo>
                        <a:pt x="191307" y="120861"/>
                      </a:lnTo>
                      <a:lnTo>
                        <a:pt x="188030" y="120983"/>
                      </a:lnTo>
                      <a:lnTo>
                        <a:pt x="186743" y="121765"/>
                      </a:lnTo>
                      <a:lnTo>
                        <a:pt x="186344" y="122939"/>
                      </a:lnTo>
                      <a:lnTo>
                        <a:pt x="186596" y="124479"/>
                      </a:lnTo>
                      <a:lnTo>
                        <a:pt x="186669" y="126549"/>
                      </a:lnTo>
                      <a:lnTo>
                        <a:pt x="186180" y="127527"/>
                      </a:lnTo>
                      <a:lnTo>
                        <a:pt x="184746" y="127910"/>
                      </a:lnTo>
                      <a:lnTo>
                        <a:pt x="182668" y="127111"/>
                      </a:lnTo>
                      <a:lnTo>
                        <a:pt x="178895" y="126060"/>
                      </a:lnTo>
                      <a:lnTo>
                        <a:pt x="175741" y="125416"/>
                      </a:lnTo>
                      <a:lnTo>
                        <a:pt x="173483" y="122662"/>
                      </a:lnTo>
                      <a:lnTo>
                        <a:pt x="170427" y="118505"/>
                      </a:lnTo>
                      <a:lnTo>
                        <a:pt x="168422" y="116411"/>
                      </a:lnTo>
                      <a:lnTo>
                        <a:pt x="163590" y="112075"/>
                      </a:lnTo>
                      <a:lnTo>
                        <a:pt x="162774" y="111203"/>
                      </a:lnTo>
                      <a:lnTo>
                        <a:pt x="161307" y="109174"/>
                      </a:lnTo>
                      <a:lnTo>
                        <a:pt x="160044" y="105727"/>
                      </a:lnTo>
                      <a:lnTo>
                        <a:pt x="159433" y="103453"/>
                      </a:lnTo>
                      <a:lnTo>
                        <a:pt x="158855" y="101750"/>
                      </a:lnTo>
                      <a:lnTo>
                        <a:pt x="158203" y="99207"/>
                      </a:lnTo>
                      <a:lnTo>
                        <a:pt x="159368" y="95319"/>
                      </a:lnTo>
                      <a:lnTo>
                        <a:pt x="161006" y="87927"/>
                      </a:lnTo>
                      <a:lnTo>
                        <a:pt x="162196" y="82598"/>
                      </a:lnTo>
                      <a:lnTo>
                        <a:pt x="162848" y="78645"/>
                      </a:lnTo>
                      <a:lnTo>
                        <a:pt x="165187" y="74627"/>
                      </a:lnTo>
                      <a:lnTo>
                        <a:pt x="165341" y="71025"/>
                      </a:lnTo>
                      <a:lnTo>
                        <a:pt x="164404" y="66421"/>
                      </a:lnTo>
                      <a:lnTo>
                        <a:pt x="164649" y="63853"/>
                      </a:lnTo>
                      <a:lnTo>
                        <a:pt x="164812" y="57407"/>
                      </a:lnTo>
                      <a:lnTo>
                        <a:pt x="164943" y="51971"/>
                      </a:lnTo>
                      <a:lnTo>
                        <a:pt x="164975" y="49330"/>
                      </a:lnTo>
                      <a:lnTo>
                        <a:pt x="164323" y="44734"/>
                      </a:lnTo>
                      <a:lnTo>
                        <a:pt x="162742" y="39649"/>
                      </a:lnTo>
                      <a:lnTo>
                        <a:pt x="159262" y="32558"/>
                      </a:lnTo>
                      <a:lnTo>
                        <a:pt x="159278" y="31043"/>
                      </a:lnTo>
                      <a:lnTo>
                        <a:pt x="161357" y="29380"/>
                      </a:lnTo>
                      <a:lnTo>
                        <a:pt x="164641" y="26454"/>
                      </a:lnTo>
                      <a:lnTo>
                        <a:pt x="166238" y="24718"/>
                      </a:lnTo>
                      <a:lnTo>
                        <a:pt x="168161" y="22241"/>
                      </a:lnTo>
                      <a:lnTo>
                        <a:pt x="169025" y="20994"/>
                      </a:lnTo>
                      <a:lnTo>
                        <a:pt x="170908" y="17824"/>
                      </a:lnTo>
                      <a:lnTo>
                        <a:pt x="172106" y="15265"/>
                      </a:lnTo>
                      <a:lnTo>
                        <a:pt x="172513" y="11939"/>
                      </a:lnTo>
                      <a:lnTo>
                        <a:pt x="171625" y="8785"/>
                      </a:lnTo>
                      <a:lnTo>
                        <a:pt x="173459" y="8166"/>
                      </a:lnTo>
                      <a:lnTo>
                        <a:pt x="179498" y="7041"/>
                      </a:lnTo>
                      <a:lnTo>
                        <a:pt x="186140" y="5811"/>
                      </a:lnTo>
                      <a:lnTo>
                        <a:pt x="193149" y="4515"/>
                      </a:lnTo>
                      <a:lnTo>
                        <a:pt x="200223" y="3211"/>
                      </a:lnTo>
                      <a:lnTo>
                        <a:pt x="207068" y="1940"/>
                      </a:lnTo>
                      <a:lnTo>
                        <a:pt x="213278" y="791"/>
                      </a:lnTo>
                      <a:lnTo>
                        <a:pt x="217582" y="0"/>
                      </a:lnTo>
                      <a:lnTo>
                        <a:pt x="218217" y="2168"/>
                      </a:lnTo>
                      <a:lnTo>
                        <a:pt x="219545" y="5778"/>
                      </a:lnTo>
                      <a:lnTo>
                        <a:pt x="221069" y="8427"/>
                      </a:lnTo>
                      <a:lnTo>
                        <a:pt x="222960" y="10749"/>
                      </a:lnTo>
                      <a:lnTo>
                        <a:pt x="224574" y="12159"/>
                      </a:lnTo>
                      <a:lnTo>
                        <a:pt x="225642" y="12583"/>
                      </a:lnTo>
                      <a:lnTo>
                        <a:pt x="232446" y="12436"/>
                      </a:lnTo>
                      <a:lnTo>
                        <a:pt x="234891" y="13855"/>
                      </a:lnTo>
                      <a:lnTo>
                        <a:pt x="237002" y="15639"/>
                      </a:lnTo>
                      <a:lnTo>
                        <a:pt x="237548" y="18418"/>
                      </a:lnTo>
                      <a:lnTo>
                        <a:pt x="238942" y="20154"/>
                      </a:lnTo>
                      <a:lnTo>
                        <a:pt x="240449" y="21515"/>
                      </a:lnTo>
                      <a:lnTo>
                        <a:pt x="241102" y="21695"/>
                      </a:lnTo>
                      <a:lnTo>
                        <a:pt x="242218" y="21360"/>
                      </a:lnTo>
                      <a:lnTo>
                        <a:pt x="244035" y="21328"/>
                      </a:lnTo>
                      <a:lnTo>
                        <a:pt x="245723" y="21923"/>
                      </a:lnTo>
                      <a:lnTo>
                        <a:pt x="246537" y="22526"/>
                      </a:lnTo>
                      <a:lnTo>
                        <a:pt x="246611" y="24857"/>
                      </a:lnTo>
                      <a:lnTo>
                        <a:pt x="247132" y="25892"/>
                      </a:lnTo>
                      <a:lnTo>
                        <a:pt x="249430" y="26307"/>
                      </a:lnTo>
                      <a:lnTo>
                        <a:pt x="251770" y="26495"/>
                      </a:lnTo>
                      <a:lnTo>
                        <a:pt x="254019" y="28060"/>
                      </a:lnTo>
                      <a:lnTo>
                        <a:pt x="256472" y="28337"/>
                      </a:lnTo>
                      <a:lnTo>
                        <a:pt x="259292" y="28989"/>
                      </a:lnTo>
                      <a:lnTo>
                        <a:pt x="260628" y="30676"/>
                      </a:lnTo>
                      <a:lnTo>
                        <a:pt x="263636" y="32428"/>
                      </a:lnTo>
                      <a:lnTo>
                        <a:pt x="267319" y="33976"/>
                      </a:lnTo>
                      <a:lnTo>
                        <a:pt x="269960" y="35745"/>
                      </a:lnTo>
                      <a:close/>
                    </a:path>
                  </a:pathLst>
                </a:custGeom>
                <a:solidFill>
                  <a:srgbClr val="D6D6D2"/>
                </a:solidFill>
                <a:ln w="6112" cap="rnd">
                  <a:solidFill>
                    <a:srgbClr val="FFFFFF"/>
                  </a:solidFill>
                  <a:prstDash val="solid"/>
                  <a:round/>
                </a:ln>
              </p:spPr>
              <p:txBody>
                <a:bodyPr rtlCol="0" anchor="ctr"/>
                <a:lstStyle/>
                <a:p>
                  <a:endParaRPr lang="en-US"/>
                </a:p>
              </p:txBody>
            </p:sp>
            <p:sp>
              <p:nvSpPr>
                <p:cNvPr id="547" name="Freeform: Shape 546">
                  <a:extLst>
                    <a:ext uri="{FF2B5EF4-FFF2-40B4-BE49-F238E27FC236}">
                      <a16:creationId xmlns:a16="http://schemas.microsoft.com/office/drawing/2014/main" id="{1B4E0A22-61EE-4BAB-8373-DDCD2E7D2DA0}"/>
                    </a:ext>
                  </a:extLst>
                </p:cNvPr>
                <p:cNvSpPr/>
                <p:nvPr/>
              </p:nvSpPr>
              <p:spPr>
                <a:xfrm>
                  <a:off x="6351567" y="5195920"/>
                  <a:ext cx="407722" cy="403273"/>
                </a:xfrm>
                <a:custGeom>
                  <a:avLst/>
                  <a:gdLst>
                    <a:gd name="connsiteX0" fmla="*/ 340854 w 407722"/>
                    <a:gd name="connsiteY0" fmla="*/ 4507 h 403273"/>
                    <a:gd name="connsiteX1" fmla="*/ 347546 w 407722"/>
                    <a:gd name="connsiteY1" fmla="*/ 5688 h 403273"/>
                    <a:gd name="connsiteX2" fmla="*/ 353788 w 407722"/>
                    <a:gd name="connsiteY2" fmla="*/ 4727 h 403273"/>
                    <a:gd name="connsiteX3" fmla="*/ 358857 w 407722"/>
                    <a:gd name="connsiteY3" fmla="*/ 4499 h 403273"/>
                    <a:gd name="connsiteX4" fmla="*/ 362761 w 407722"/>
                    <a:gd name="connsiteY4" fmla="*/ 5028 h 403273"/>
                    <a:gd name="connsiteX5" fmla="*/ 365833 w 407722"/>
                    <a:gd name="connsiteY5" fmla="*/ 6186 h 403273"/>
                    <a:gd name="connsiteX6" fmla="*/ 368075 w 407722"/>
                    <a:gd name="connsiteY6" fmla="*/ 7962 h 403273"/>
                    <a:gd name="connsiteX7" fmla="*/ 368213 w 407722"/>
                    <a:gd name="connsiteY7" fmla="*/ 9592 h 403273"/>
                    <a:gd name="connsiteX8" fmla="*/ 368384 w 407722"/>
                    <a:gd name="connsiteY8" fmla="*/ 10350 h 403273"/>
                    <a:gd name="connsiteX9" fmla="*/ 369566 w 407722"/>
                    <a:gd name="connsiteY9" fmla="*/ 14670 h 403273"/>
                    <a:gd name="connsiteX10" fmla="*/ 371343 w 407722"/>
                    <a:gd name="connsiteY10" fmla="*/ 21132 h 403273"/>
                    <a:gd name="connsiteX11" fmla="*/ 372516 w 407722"/>
                    <a:gd name="connsiteY11" fmla="*/ 27106 h 403273"/>
                    <a:gd name="connsiteX12" fmla="*/ 374138 w 407722"/>
                    <a:gd name="connsiteY12" fmla="*/ 35313 h 403273"/>
                    <a:gd name="connsiteX13" fmla="*/ 374081 w 407722"/>
                    <a:gd name="connsiteY13" fmla="*/ 39868 h 403273"/>
                    <a:gd name="connsiteX14" fmla="*/ 374472 w 407722"/>
                    <a:gd name="connsiteY14" fmla="*/ 41645 h 403273"/>
                    <a:gd name="connsiteX15" fmla="*/ 375931 w 407722"/>
                    <a:gd name="connsiteY15" fmla="*/ 43854 h 403273"/>
                    <a:gd name="connsiteX16" fmla="*/ 377699 w 407722"/>
                    <a:gd name="connsiteY16" fmla="*/ 47643 h 403273"/>
                    <a:gd name="connsiteX17" fmla="*/ 378303 w 407722"/>
                    <a:gd name="connsiteY17" fmla="*/ 49803 h 403273"/>
                    <a:gd name="connsiteX18" fmla="*/ 378897 w 407722"/>
                    <a:gd name="connsiteY18" fmla="*/ 51409 h 403273"/>
                    <a:gd name="connsiteX19" fmla="*/ 380772 w 407722"/>
                    <a:gd name="connsiteY19" fmla="*/ 54457 h 403273"/>
                    <a:gd name="connsiteX20" fmla="*/ 382239 w 407722"/>
                    <a:gd name="connsiteY20" fmla="*/ 59086 h 403273"/>
                    <a:gd name="connsiteX21" fmla="*/ 383461 w 407722"/>
                    <a:gd name="connsiteY21" fmla="*/ 65222 h 403273"/>
                    <a:gd name="connsiteX22" fmla="*/ 384521 w 407722"/>
                    <a:gd name="connsiteY22" fmla="*/ 68164 h 403273"/>
                    <a:gd name="connsiteX23" fmla="*/ 384912 w 407722"/>
                    <a:gd name="connsiteY23" fmla="*/ 69615 h 403273"/>
                    <a:gd name="connsiteX24" fmla="*/ 385393 w 407722"/>
                    <a:gd name="connsiteY24" fmla="*/ 72256 h 403273"/>
                    <a:gd name="connsiteX25" fmla="*/ 385328 w 407722"/>
                    <a:gd name="connsiteY25" fmla="*/ 77830 h 403273"/>
                    <a:gd name="connsiteX26" fmla="*/ 385360 w 407722"/>
                    <a:gd name="connsiteY26" fmla="*/ 84276 h 403273"/>
                    <a:gd name="connsiteX27" fmla="*/ 385393 w 407722"/>
                    <a:gd name="connsiteY27" fmla="*/ 91505 h 403273"/>
                    <a:gd name="connsiteX28" fmla="*/ 385425 w 407722"/>
                    <a:gd name="connsiteY28" fmla="*/ 97463 h 403273"/>
                    <a:gd name="connsiteX29" fmla="*/ 385238 w 407722"/>
                    <a:gd name="connsiteY29" fmla="*/ 100478 h 403273"/>
                    <a:gd name="connsiteX30" fmla="*/ 385376 w 407722"/>
                    <a:gd name="connsiteY30" fmla="*/ 109060 h 403273"/>
                    <a:gd name="connsiteX31" fmla="*/ 383779 w 407722"/>
                    <a:gd name="connsiteY31" fmla="*/ 113534 h 403273"/>
                    <a:gd name="connsiteX32" fmla="*/ 383975 w 407722"/>
                    <a:gd name="connsiteY32" fmla="*/ 117046 h 403273"/>
                    <a:gd name="connsiteX33" fmla="*/ 384472 w 407722"/>
                    <a:gd name="connsiteY33" fmla="*/ 119320 h 403273"/>
                    <a:gd name="connsiteX34" fmla="*/ 383811 w 407722"/>
                    <a:gd name="connsiteY34" fmla="*/ 119671 h 403273"/>
                    <a:gd name="connsiteX35" fmla="*/ 382573 w 407722"/>
                    <a:gd name="connsiteY35" fmla="*/ 120078 h 403273"/>
                    <a:gd name="connsiteX36" fmla="*/ 376844 w 407722"/>
                    <a:gd name="connsiteY36" fmla="*/ 116476 h 403273"/>
                    <a:gd name="connsiteX37" fmla="*/ 371245 w 407722"/>
                    <a:gd name="connsiteY37" fmla="*/ 112670 h 403273"/>
                    <a:gd name="connsiteX38" fmla="*/ 370438 w 407722"/>
                    <a:gd name="connsiteY38" fmla="*/ 112548 h 403273"/>
                    <a:gd name="connsiteX39" fmla="*/ 369264 w 407722"/>
                    <a:gd name="connsiteY39" fmla="*/ 112955 h 403273"/>
                    <a:gd name="connsiteX40" fmla="*/ 366086 w 407722"/>
                    <a:gd name="connsiteY40" fmla="*/ 115718 h 403273"/>
                    <a:gd name="connsiteX41" fmla="*/ 363136 w 407722"/>
                    <a:gd name="connsiteY41" fmla="*/ 120037 h 403273"/>
                    <a:gd name="connsiteX42" fmla="*/ 361775 w 407722"/>
                    <a:gd name="connsiteY42" fmla="*/ 123729 h 403273"/>
                    <a:gd name="connsiteX43" fmla="*/ 359591 w 407722"/>
                    <a:gd name="connsiteY43" fmla="*/ 127560 h 403273"/>
                    <a:gd name="connsiteX44" fmla="*/ 356070 w 407722"/>
                    <a:gd name="connsiteY44" fmla="*/ 133705 h 403273"/>
                    <a:gd name="connsiteX45" fmla="*/ 355711 w 407722"/>
                    <a:gd name="connsiteY45" fmla="*/ 135041 h 403273"/>
                    <a:gd name="connsiteX46" fmla="*/ 355662 w 407722"/>
                    <a:gd name="connsiteY46" fmla="*/ 140013 h 403273"/>
                    <a:gd name="connsiteX47" fmla="*/ 355834 w 407722"/>
                    <a:gd name="connsiteY47" fmla="*/ 144780 h 403273"/>
                    <a:gd name="connsiteX48" fmla="*/ 356135 w 407722"/>
                    <a:gd name="connsiteY48" fmla="*/ 145440 h 403273"/>
                    <a:gd name="connsiteX49" fmla="*/ 358034 w 407722"/>
                    <a:gd name="connsiteY49" fmla="*/ 145660 h 403273"/>
                    <a:gd name="connsiteX50" fmla="*/ 359403 w 407722"/>
                    <a:gd name="connsiteY50" fmla="*/ 149564 h 403273"/>
                    <a:gd name="connsiteX51" fmla="*/ 362500 w 407722"/>
                    <a:gd name="connsiteY51" fmla="*/ 155798 h 403273"/>
                    <a:gd name="connsiteX52" fmla="*/ 367732 w 407722"/>
                    <a:gd name="connsiteY52" fmla="*/ 159784 h 403273"/>
                    <a:gd name="connsiteX53" fmla="*/ 372581 w 407722"/>
                    <a:gd name="connsiteY53" fmla="*/ 161593 h 403273"/>
                    <a:gd name="connsiteX54" fmla="*/ 379354 w 407722"/>
                    <a:gd name="connsiteY54" fmla="*/ 162049 h 403273"/>
                    <a:gd name="connsiteX55" fmla="*/ 384708 w 407722"/>
                    <a:gd name="connsiteY55" fmla="*/ 161927 h 403273"/>
                    <a:gd name="connsiteX56" fmla="*/ 384398 w 407722"/>
                    <a:gd name="connsiteY56" fmla="*/ 157730 h 403273"/>
                    <a:gd name="connsiteX57" fmla="*/ 384920 w 407722"/>
                    <a:gd name="connsiteY57" fmla="*/ 150982 h 403273"/>
                    <a:gd name="connsiteX58" fmla="*/ 385605 w 407722"/>
                    <a:gd name="connsiteY58" fmla="*/ 146451 h 403273"/>
                    <a:gd name="connsiteX59" fmla="*/ 386354 w 407722"/>
                    <a:gd name="connsiteY59" fmla="*/ 146255 h 403273"/>
                    <a:gd name="connsiteX60" fmla="*/ 387764 w 407722"/>
                    <a:gd name="connsiteY60" fmla="*/ 146695 h 403273"/>
                    <a:gd name="connsiteX61" fmla="*/ 388538 w 407722"/>
                    <a:gd name="connsiteY61" fmla="*/ 147144 h 403273"/>
                    <a:gd name="connsiteX62" fmla="*/ 390690 w 407722"/>
                    <a:gd name="connsiteY62" fmla="*/ 146972 h 403273"/>
                    <a:gd name="connsiteX63" fmla="*/ 394512 w 407722"/>
                    <a:gd name="connsiteY63" fmla="*/ 147852 h 403273"/>
                    <a:gd name="connsiteX64" fmla="*/ 397593 w 407722"/>
                    <a:gd name="connsiteY64" fmla="*/ 147755 h 403273"/>
                    <a:gd name="connsiteX65" fmla="*/ 400356 w 407722"/>
                    <a:gd name="connsiteY65" fmla="*/ 147665 h 403273"/>
                    <a:gd name="connsiteX66" fmla="*/ 405009 w 407722"/>
                    <a:gd name="connsiteY66" fmla="*/ 147510 h 403273"/>
                    <a:gd name="connsiteX67" fmla="*/ 407723 w 407722"/>
                    <a:gd name="connsiteY67" fmla="*/ 147461 h 403273"/>
                    <a:gd name="connsiteX68" fmla="*/ 406802 w 407722"/>
                    <a:gd name="connsiteY68" fmla="*/ 154772 h 403273"/>
                    <a:gd name="connsiteX69" fmla="*/ 403249 w 407722"/>
                    <a:gd name="connsiteY69" fmla="*/ 166214 h 403273"/>
                    <a:gd name="connsiteX70" fmla="*/ 402051 w 407722"/>
                    <a:gd name="connsiteY70" fmla="*/ 171479 h 403273"/>
                    <a:gd name="connsiteX71" fmla="*/ 399011 w 407722"/>
                    <a:gd name="connsiteY71" fmla="*/ 190305 h 403273"/>
                    <a:gd name="connsiteX72" fmla="*/ 395058 w 407722"/>
                    <a:gd name="connsiteY72" fmla="*/ 199815 h 403273"/>
                    <a:gd name="connsiteX73" fmla="*/ 392850 w 407722"/>
                    <a:gd name="connsiteY73" fmla="*/ 203735 h 403273"/>
                    <a:gd name="connsiteX74" fmla="*/ 386428 w 407722"/>
                    <a:gd name="connsiteY74" fmla="*/ 210695 h 403273"/>
                    <a:gd name="connsiteX75" fmla="*/ 384643 w 407722"/>
                    <a:gd name="connsiteY75" fmla="*/ 212105 h 403273"/>
                    <a:gd name="connsiteX76" fmla="*/ 383070 w 407722"/>
                    <a:gd name="connsiteY76" fmla="*/ 213002 h 403273"/>
                    <a:gd name="connsiteX77" fmla="*/ 380258 w 407722"/>
                    <a:gd name="connsiteY77" fmla="*/ 213817 h 403273"/>
                    <a:gd name="connsiteX78" fmla="*/ 369264 w 407722"/>
                    <a:gd name="connsiteY78" fmla="*/ 227899 h 403273"/>
                    <a:gd name="connsiteX79" fmla="*/ 365165 w 407722"/>
                    <a:gd name="connsiteY79" fmla="*/ 234720 h 403273"/>
                    <a:gd name="connsiteX80" fmla="*/ 361530 w 407722"/>
                    <a:gd name="connsiteY80" fmla="*/ 244663 h 403273"/>
                    <a:gd name="connsiteX81" fmla="*/ 357920 w 407722"/>
                    <a:gd name="connsiteY81" fmla="*/ 250124 h 403273"/>
                    <a:gd name="connsiteX82" fmla="*/ 352614 w 407722"/>
                    <a:gd name="connsiteY82" fmla="*/ 261794 h 403273"/>
                    <a:gd name="connsiteX83" fmla="*/ 347871 w 407722"/>
                    <a:gd name="connsiteY83" fmla="*/ 270799 h 403273"/>
                    <a:gd name="connsiteX84" fmla="*/ 343315 w 407722"/>
                    <a:gd name="connsiteY84" fmla="*/ 279039 h 403273"/>
                    <a:gd name="connsiteX85" fmla="*/ 335443 w 407722"/>
                    <a:gd name="connsiteY85" fmla="*/ 290399 h 403273"/>
                    <a:gd name="connsiteX86" fmla="*/ 331938 w 407722"/>
                    <a:gd name="connsiteY86" fmla="*/ 293684 h 403273"/>
                    <a:gd name="connsiteX87" fmla="*/ 329575 w 407722"/>
                    <a:gd name="connsiteY87" fmla="*/ 295192 h 403273"/>
                    <a:gd name="connsiteX88" fmla="*/ 323324 w 407722"/>
                    <a:gd name="connsiteY88" fmla="*/ 301801 h 403273"/>
                    <a:gd name="connsiteX89" fmla="*/ 314514 w 407722"/>
                    <a:gd name="connsiteY89" fmla="*/ 312445 h 403273"/>
                    <a:gd name="connsiteX90" fmla="*/ 307775 w 407722"/>
                    <a:gd name="connsiteY90" fmla="*/ 321874 h 403273"/>
                    <a:gd name="connsiteX91" fmla="*/ 297694 w 407722"/>
                    <a:gd name="connsiteY91" fmla="*/ 332599 h 403273"/>
                    <a:gd name="connsiteX92" fmla="*/ 291850 w 407722"/>
                    <a:gd name="connsiteY92" fmla="*/ 337301 h 403273"/>
                    <a:gd name="connsiteX93" fmla="*/ 283089 w 407722"/>
                    <a:gd name="connsiteY93" fmla="*/ 346567 h 403273"/>
                    <a:gd name="connsiteX94" fmla="*/ 280644 w 407722"/>
                    <a:gd name="connsiteY94" fmla="*/ 347953 h 403273"/>
                    <a:gd name="connsiteX95" fmla="*/ 270767 w 407722"/>
                    <a:gd name="connsiteY95" fmla="*/ 356575 h 403273"/>
                    <a:gd name="connsiteX96" fmla="*/ 263668 w 407722"/>
                    <a:gd name="connsiteY96" fmla="*/ 361815 h 403273"/>
                    <a:gd name="connsiteX97" fmla="*/ 252161 w 407722"/>
                    <a:gd name="connsiteY97" fmla="*/ 367903 h 403273"/>
                    <a:gd name="connsiteX98" fmla="*/ 247589 w 407722"/>
                    <a:gd name="connsiteY98" fmla="*/ 369607 h 403273"/>
                    <a:gd name="connsiteX99" fmla="*/ 236677 w 407722"/>
                    <a:gd name="connsiteY99" fmla="*/ 368026 h 403273"/>
                    <a:gd name="connsiteX100" fmla="*/ 232113 w 407722"/>
                    <a:gd name="connsiteY100" fmla="*/ 368873 h 403273"/>
                    <a:gd name="connsiteX101" fmla="*/ 228306 w 407722"/>
                    <a:gd name="connsiteY101" fmla="*/ 372549 h 403273"/>
                    <a:gd name="connsiteX102" fmla="*/ 227956 w 407722"/>
                    <a:gd name="connsiteY102" fmla="*/ 377830 h 403273"/>
                    <a:gd name="connsiteX103" fmla="*/ 226367 w 407722"/>
                    <a:gd name="connsiteY103" fmla="*/ 378620 h 403273"/>
                    <a:gd name="connsiteX104" fmla="*/ 223963 w 407722"/>
                    <a:gd name="connsiteY104" fmla="*/ 378392 h 403273"/>
                    <a:gd name="connsiteX105" fmla="*/ 216335 w 407722"/>
                    <a:gd name="connsiteY105" fmla="*/ 376183 h 403273"/>
                    <a:gd name="connsiteX106" fmla="*/ 212202 w 407722"/>
                    <a:gd name="connsiteY106" fmla="*/ 376607 h 403273"/>
                    <a:gd name="connsiteX107" fmla="*/ 209774 w 407722"/>
                    <a:gd name="connsiteY107" fmla="*/ 379427 h 403273"/>
                    <a:gd name="connsiteX108" fmla="*/ 207835 w 407722"/>
                    <a:gd name="connsiteY108" fmla="*/ 382997 h 403273"/>
                    <a:gd name="connsiteX109" fmla="*/ 202089 w 407722"/>
                    <a:gd name="connsiteY109" fmla="*/ 383184 h 403273"/>
                    <a:gd name="connsiteX110" fmla="*/ 191861 w 407722"/>
                    <a:gd name="connsiteY110" fmla="*/ 379484 h 403273"/>
                    <a:gd name="connsiteX111" fmla="*/ 179824 w 407722"/>
                    <a:gd name="connsiteY111" fmla="*/ 377235 h 403273"/>
                    <a:gd name="connsiteX112" fmla="*/ 177036 w 407722"/>
                    <a:gd name="connsiteY112" fmla="*/ 376982 h 403273"/>
                    <a:gd name="connsiteX113" fmla="*/ 171202 w 407722"/>
                    <a:gd name="connsiteY113" fmla="*/ 379729 h 403273"/>
                    <a:gd name="connsiteX114" fmla="*/ 169164 w 407722"/>
                    <a:gd name="connsiteY114" fmla="*/ 380128 h 403273"/>
                    <a:gd name="connsiteX115" fmla="*/ 160664 w 407722"/>
                    <a:gd name="connsiteY115" fmla="*/ 379550 h 403273"/>
                    <a:gd name="connsiteX116" fmla="*/ 155953 w 407722"/>
                    <a:gd name="connsiteY116" fmla="*/ 377805 h 403273"/>
                    <a:gd name="connsiteX117" fmla="*/ 151447 w 407722"/>
                    <a:gd name="connsiteY117" fmla="*/ 377805 h 403273"/>
                    <a:gd name="connsiteX118" fmla="*/ 147983 w 407722"/>
                    <a:gd name="connsiteY118" fmla="*/ 379240 h 403273"/>
                    <a:gd name="connsiteX119" fmla="*/ 143794 w 407722"/>
                    <a:gd name="connsiteY119" fmla="*/ 379745 h 403273"/>
                    <a:gd name="connsiteX120" fmla="*/ 132465 w 407722"/>
                    <a:gd name="connsiteY120" fmla="*/ 389688 h 403273"/>
                    <a:gd name="connsiteX121" fmla="*/ 126622 w 407722"/>
                    <a:gd name="connsiteY121" fmla="*/ 389712 h 403273"/>
                    <a:gd name="connsiteX122" fmla="*/ 121577 w 407722"/>
                    <a:gd name="connsiteY122" fmla="*/ 390869 h 403273"/>
                    <a:gd name="connsiteX123" fmla="*/ 119067 w 407722"/>
                    <a:gd name="connsiteY123" fmla="*/ 390829 h 403273"/>
                    <a:gd name="connsiteX124" fmla="*/ 114390 w 407722"/>
                    <a:gd name="connsiteY124" fmla="*/ 389427 h 403273"/>
                    <a:gd name="connsiteX125" fmla="*/ 112646 w 407722"/>
                    <a:gd name="connsiteY125" fmla="*/ 389533 h 403273"/>
                    <a:gd name="connsiteX126" fmla="*/ 109981 w 407722"/>
                    <a:gd name="connsiteY126" fmla="*/ 390152 h 403273"/>
                    <a:gd name="connsiteX127" fmla="*/ 107307 w 407722"/>
                    <a:gd name="connsiteY127" fmla="*/ 391913 h 403273"/>
                    <a:gd name="connsiteX128" fmla="*/ 101244 w 407722"/>
                    <a:gd name="connsiteY128" fmla="*/ 392670 h 403273"/>
                    <a:gd name="connsiteX129" fmla="*/ 98881 w 407722"/>
                    <a:gd name="connsiteY129" fmla="*/ 394162 h 403273"/>
                    <a:gd name="connsiteX130" fmla="*/ 88604 w 407722"/>
                    <a:gd name="connsiteY130" fmla="*/ 403273 h 403273"/>
                    <a:gd name="connsiteX131" fmla="*/ 86265 w 407722"/>
                    <a:gd name="connsiteY131" fmla="*/ 402898 h 403273"/>
                    <a:gd name="connsiteX132" fmla="*/ 84374 w 407722"/>
                    <a:gd name="connsiteY132" fmla="*/ 402303 h 403273"/>
                    <a:gd name="connsiteX133" fmla="*/ 79044 w 407722"/>
                    <a:gd name="connsiteY133" fmla="*/ 402198 h 403273"/>
                    <a:gd name="connsiteX134" fmla="*/ 73013 w 407722"/>
                    <a:gd name="connsiteY134" fmla="*/ 397348 h 403273"/>
                    <a:gd name="connsiteX135" fmla="*/ 70699 w 407722"/>
                    <a:gd name="connsiteY135" fmla="*/ 397650 h 403273"/>
                    <a:gd name="connsiteX136" fmla="*/ 71327 w 407722"/>
                    <a:gd name="connsiteY136" fmla="*/ 396199 h 403273"/>
                    <a:gd name="connsiteX137" fmla="*/ 71498 w 407722"/>
                    <a:gd name="connsiteY137" fmla="*/ 393632 h 403273"/>
                    <a:gd name="connsiteX138" fmla="*/ 70234 w 407722"/>
                    <a:gd name="connsiteY138" fmla="*/ 391807 h 403273"/>
                    <a:gd name="connsiteX139" fmla="*/ 69370 w 407722"/>
                    <a:gd name="connsiteY139" fmla="*/ 390992 h 403273"/>
                    <a:gd name="connsiteX140" fmla="*/ 67007 w 407722"/>
                    <a:gd name="connsiteY140" fmla="*/ 391146 h 403273"/>
                    <a:gd name="connsiteX141" fmla="*/ 65744 w 407722"/>
                    <a:gd name="connsiteY141" fmla="*/ 388954 h 403273"/>
                    <a:gd name="connsiteX142" fmla="*/ 62125 w 407722"/>
                    <a:gd name="connsiteY142" fmla="*/ 388751 h 403273"/>
                    <a:gd name="connsiteX143" fmla="*/ 60878 w 407722"/>
                    <a:gd name="connsiteY143" fmla="*/ 389305 h 403273"/>
                    <a:gd name="connsiteX144" fmla="*/ 59126 w 407722"/>
                    <a:gd name="connsiteY144" fmla="*/ 389411 h 403273"/>
                    <a:gd name="connsiteX145" fmla="*/ 58971 w 407722"/>
                    <a:gd name="connsiteY145" fmla="*/ 387202 h 403273"/>
                    <a:gd name="connsiteX146" fmla="*/ 59110 w 407722"/>
                    <a:gd name="connsiteY146" fmla="*/ 385800 h 403273"/>
                    <a:gd name="connsiteX147" fmla="*/ 59004 w 407722"/>
                    <a:gd name="connsiteY147" fmla="*/ 383649 h 403273"/>
                    <a:gd name="connsiteX148" fmla="*/ 58572 w 407722"/>
                    <a:gd name="connsiteY148" fmla="*/ 381025 h 403273"/>
                    <a:gd name="connsiteX149" fmla="*/ 57154 w 407722"/>
                    <a:gd name="connsiteY149" fmla="*/ 380177 h 403273"/>
                    <a:gd name="connsiteX150" fmla="*/ 56078 w 407722"/>
                    <a:gd name="connsiteY150" fmla="*/ 379835 h 403273"/>
                    <a:gd name="connsiteX151" fmla="*/ 53511 w 407722"/>
                    <a:gd name="connsiteY151" fmla="*/ 380006 h 403273"/>
                    <a:gd name="connsiteX152" fmla="*/ 51751 w 407722"/>
                    <a:gd name="connsiteY152" fmla="*/ 380291 h 403273"/>
                    <a:gd name="connsiteX153" fmla="*/ 50911 w 407722"/>
                    <a:gd name="connsiteY153" fmla="*/ 381057 h 403273"/>
                    <a:gd name="connsiteX154" fmla="*/ 49966 w 407722"/>
                    <a:gd name="connsiteY154" fmla="*/ 382980 h 403273"/>
                    <a:gd name="connsiteX155" fmla="*/ 49949 w 407722"/>
                    <a:gd name="connsiteY155" fmla="*/ 388848 h 403273"/>
                    <a:gd name="connsiteX156" fmla="*/ 48678 w 407722"/>
                    <a:gd name="connsiteY156" fmla="*/ 387169 h 403273"/>
                    <a:gd name="connsiteX157" fmla="*/ 47236 w 407722"/>
                    <a:gd name="connsiteY157" fmla="*/ 383649 h 403273"/>
                    <a:gd name="connsiteX158" fmla="*/ 46771 w 407722"/>
                    <a:gd name="connsiteY158" fmla="*/ 379908 h 403273"/>
                    <a:gd name="connsiteX159" fmla="*/ 47285 w 407722"/>
                    <a:gd name="connsiteY159" fmla="*/ 375483 h 403273"/>
                    <a:gd name="connsiteX160" fmla="*/ 50031 w 407722"/>
                    <a:gd name="connsiteY160" fmla="*/ 373796 h 403273"/>
                    <a:gd name="connsiteX161" fmla="*/ 49819 w 407722"/>
                    <a:gd name="connsiteY161" fmla="*/ 370813 h 403273"/>
                    <a:gd name="connsiteX162" fmla="*/ 49233 w 407722"/>
                    <a:gd name="connsiteY162" fmla="*/ 368229 h 403273"/>
                    <a:gd name="connsiteX163" fmla="*/ 46177 w 407722"/>
                    <a:gd name="connsiteY163" fmla="*/ 361604 h 403273"/>
                    <a:gd name="connsiteX164" fmla="*/ 44978 w 407722"/>
                    <a:gd name="connsiteY164" fmla="*/ 358580 h 403273"/>
                    <a:gd name="connsiteX165" fmla="*/ 42387 w 407722"/>
                    <a:gd name="connsiteY165" fmla="*/ 356535 h 403273"/>
                    <a:gd name="connsiteX166" fmla="*/ 40366 w 407722"/>
                    <a:gd name="connsiteY166" fmla="*/ 351588 h 403273"/>
                    <a:gd name="connsiteX167" fmla="*/ 38320 w 407722"/>
                    <a:gd name="connsiteY167" fmla="*/ 349803 h 403273"/>
                    <a:gd name="connsiteX168" fmla="*/ 37472 w 407722"/>
                    <a:gd name="connsiteY168" fmla="*/ 346339 h 403273"/>
                    <a:gd name="connsiteX169" fmla="*/ 35484 w 407722"/>
                    <a:gd name="connsiteY169" fmla="*/ 343585 h 403273"/>
                    <a:gd name="connsiteX170" fmla="*/ 34807 w 407722"/>
                    <a:gd name="connsiteY170" fmla="*/ 339216 h 403273"/>
                    <a:gd name="connsiteX171" fmla="*/ 35916 w 407722"/>
                    <a:gd name="connsiteY171" fmla="*/ 336714 h 403273"/>
                    <a:gd name="connsiteX172" fmla="*/ 37644 w 407722"/>
                    <a:gd name="connsiteY172" fmla="*/ 335345 h 403273"/>
                    <a:gd name="connsiteX173" fmla="*/ 39412 w 407722"/>
                    <a:gd name="connsiteY173" fmla="*/ 337521 h 403273"/>
                    <a:gd name="connsiteX174" fmla="*/ 41604 w 407722"/>
                    <a:gd name="connsiteY174" fmla="*/ 336674 h 403273"/>
                    <a:gd name="connsiteX175" fmla="*/ 44734 w 407722"/>
                    <a:gd name="connsiteY175" fmla="*/ 333520 h 403273"/>
                    <a:gd name="connsiteX176" fmla="*/ 46584 w 407722"/>
                    <a:gd name="connsiteY176" fmla="*/ 328736 h 403273"/>
                    <a:gd name="connsiteX177" fmla="*/ 46706 w 407722"/>
                    <a:gd name="connsiteY177" fmla="*/ 321091 h 403273"/>
                    <a:gd name="connsiteX178" fmla="*/ 46225 w 407722"/>
                    <a:gd name="connsiteY178" fmla="*/ 316316 h 403273"/>
                    <a:gd name="connsiteX179" fmla="*/ 43740 w 407722"/>
                    <a:gd name="connsiteY179" fmla="*/ 304010 h 403273"/>
                    <a:gd name="connsiteX180" fmla="*/ 42566 w 407722"/>
                    <a:gd name="connsiteY180" fmla="*/ 301190 h 403273"/>
                    <a:gd name="connsiteX181" fmla="*/ 36983 w 407722"/>
                    <a:gd name="connsiteY181" fmla="*/ 292388 h 403273"/>
                    <a:gd name="connsiteX182" fmla="*/ 30504 w 407722"/>
                    <a:gd name="connsiteY182" fmla="*/ 280644 h 403273"/>
                    <a:gd name="connsiteX183" fmla="*/ 22314 w 407722"/>
                    <a:gd name="connsiteY183" fmla="*/ 262153 h 403273"/>
                    <a:gd name="connsiteX184" fmla="*/ 18394 w 407722"/>
                    <a:gd name="connsiteY184" fmla="*/ 251061 h 403273"/>
                    <a:gd name="connsiteX185" fmla="*/ 12461 w 407722"/>
                    <a:gd name="connsiteY185" fmla="*/ 228747 h 403273"/>
                    <a:gd name="connsiteX186" fmla="*/ 7237 w 407722"/>
                    <a:gd name="connsiteY186" fmla="*/ 216147 h 403273"/>
                    <a:gd name="connsiteX187" fmla="*/ 823 w 407722"/>
                    <a:gd name="connsiteY187" fmla="*/ 204420 h 403273"/>
                    <a:gd name="connsiteX188" fmla="*/ 0 w 407722"/>
                    <a:gd name="connsiteY188" fmla="*/ 203654 h 403273"/>
                    <a:gd name="connsiteX189" fmla="*/ 978 w 407722"/>
                    <a:gd name="connsiteY189" fmla="*/ 202211 h 403273"/>
                    <a:gd name="connsiteX190" fmla="*/ 4425 w 407722"/>
                    <a:gd name="connsiteY190" fmla="*/ 199514 h 403273"/>
                    <a:gd name="connsiteX191" fmla="*/ 5998 w 407722"/>
                    <a:gd name="connsiteY191" fmla="*/ 198772 h 403273"/>
                    <a:gd name="connsiteX192" fmla="*/ 6830 w 407722"/>
                    <a:gd name="connsiteY192" fmla="*/ 199114 h 403273"/>
                    <a:gd name="connsiteX193" fmla="*/ 7644 w 407722"/>
                    <a:gd name="connsiteY193" fmla="*/ 198364 h 403273"/>
                    <a:gd name="connsiteX194" fmla="*/ 8435 w 407722"/>
                    <a:gd name="connsiteY194" fmla="*/ 196539 h 403273"/>
                    <a:gd name="connsiteX195" fmla="*/ 8606 w 407722"/>
                    <a:gd name="connsiteY195" fmla="*/ 194811 h 403273"/>
                    <a:gd name="connsiteX196" fmla="*/ 8989 w 407722"/>
                    <a:gd name="connsiteY196" fmla="*/ 192383 h 403273"/>
                    <a:gd name="connsiteX197" fmla="*/ 9771 w 407722"/>
                    <a:gd name="connsiteY197" fmla="*/ 190932 h 403273"/>
                    <a:gd name="connsiteX198" fmla="*/ 10619 w 407722"/>
                    <a:gd name="connsiteY198" fmla="*/ 188039 h 403273"/>
                    <a:gd name="connsiteX199" fmla="*/ 12053 w 407722"/>
                    <a:gd name="connsiteY199" fmla="*/ 186189 h 403273"/>
                    <a:gd name="connsiteX200" fmla="*/ 15101 w 407722"/>
                    <a:gd name="connsiteY200" fmla="*/ 184966 h 403273"/>
                    <a:gd name="connsiteX201" fmla="*/ 17408 w 407722"/>
                    <a:gd name="connsiteY201" fmla="*/ 186588 h 403273"/>
                    <a:gd name="connsiteX202" fmla="*/ 18378 w 407722"/>
                    <a:gd name="connsiteY202" fmla="*/ 188185 h 403273"/>
                    <a:gd name="connsiteX203" fmla="*/ 18785 w 407722"/>
                    <a:gd name="connsiteY203" fmla="*/ 190288 h 403273"/>
                    <a:gd name="connsiteX204" fmla="*/ 19804 w 407722"/>
                    <a:gd name="connsiteY204" fmla="*/ 191307 h 403273"/>
                    <a:gd name="connsiteX205" fmla="*/ 21442 w 407722"/>
                    <a:gd name="connsiteY205" fmla="*/ 191242 h 403273"/>
                    <a:gd name="connsiteX206" fmla="*/ 22607 w 407722"/>
                    <a:gd name="connsiteY206" fmla="*/ 192537 h 403273"/>
                    <a:gd name="connsiteX207" fmla="*/ 23276 w 407722"/>
                    <a:gd name="connsiteY207" fmla="*/ 195202 h 403273"/>
                    <a:gd name="connsiteX208" fmla="*/ 23137 w 407722"/>
                    <a:gd name="connsiteY208" fmla="*/ 197142 h 403273"/>
                    <a:gd name="connsiteX209" fmla="*/ 22208 w 407722"/>
                    <a:gd name="connsiteY209" fmla="*/ 198332 h 403273"/>
                    <a:gd name="connsiteX210" fmla="*/ 22347 w 407722"/>
                    <a:gd name="connsiteY210" fmla="*/ 199913 h 403273"/>
                    <a:gd name="connsiteX211" fmla="*/ 23536 w 407722"/>
                    <a:gd name="connsiteY211" fmla="*/ 201869 h 403273"/>
                    <a:gd name="connsiteX212" fmla="*/ 24033 w 407722"/>
                    <a:gd name="connsiteY212" fmla="*/ 203735 h 403273"/>
                    <a:gd name="connsiteX213" fmla="*/ 24832 w 407722"/>
                    <a:gd name="connsiteY213" fmla="*/ 206196 h 403273"/>
                    <a:gd name="connsiteX214" fmla="*/ 29021 w 407722"/>
                    <a:gd name="connsiteY214" fmla="*/ 207631 h 403273"/>
                    <a:gd name="connsiteX215" fmla="*/ 31067 w 407722"/>
                    <a:gd name="connsiteY215" fmla="*/ 208438 h 403273"/>
                    <a:gd name="connsiteX216" fmla="*/ 34604 w 407722"/>
                    <a:gd name="connsiteY216" fmla="*/ 208715 h 403273"/>
                    <a:gd name="connsiteX217" fmla="*/ 37945 w 407722"/>
                    <a:gd name="connsiteY217" fmla="*/ 209815 h 403273"/>
                    <a:gd name="connsiteX218" fmla="*/ 41083 w 407722"/>
                    <a:gd name="connsiteY218" fmla="*/ 211738 h 403273"/>
                    <a:gd name="connsiteX219" fmla="*/ 46242 w 407722"/>
                    <a:gd name="connsiteY219" fmla="*/ 212195 h 403273"/>
                    <a:gd name="connsiteX220" fmla="*/ 53429 w 407722"/>
                    <a:gd name="connsiteY220" fmla="*/ 211217 h 403273"/>
                    <a:gd name="connsiteX221" fmla="*/ 59338 w 407722"/>
                    <a:gd name="connsiteY221" fmla="*/ 211665 h 403273"/>
                    <a:gd name="connsiteX222" fmla="*/ 63984 w 407722"/>
                    <a:gd name="connsiteY222" fmla="*/ 213539 h 403273"/>
                    <a:gd name="connsiteX223" fmla="*/ 67349 w 407722"/>
                    <a:gd name="connsiteY223" fmla="*/ 213882 h 403273"/>
                    <a:gd name="connsiteX224" fmla="*/ 69436 w 407722"/>
                    <a:gd name="connsiteY224" fmla="*/ 212700 h 403273"/>
                    <a:gd name="connsiteX225" fmla="*/ 70332 w 407722"/>
                    <a:gd name="connsiteY225" fmla="*/ 210980 h 403273"/>
                    <a:gd name="connsiteX226" fmla="*/ 70055 w 407722"/>
                    <a:gd name="connsiteY226" fmla="*/ 208731 h 403273"/>
                    <a:gd name="connsiteX227" fmla="*/ 71090 w 407722"/>
                    <a:gd name="connsiteY227" fmla="*/ 207321 h 403273"/>
                    <a:gd name="connsiteX228" fmla="*/ 73437 w 407722"/>
                    <a:gd name="connsiteY228" fmla="*/ 206710 h 403273"/>
                    <a:gd name="connsiteX229" fmla="*/ 75311 w 407722"/>
                    <a:gd name="connsiteY229" fmla="*/ 205039 h 403273"/>
                    <a:gd name="connsiteX230" fmla="*/ 76722 w 407722"/>
                    <a:gd name="connsiteY230" fmla="*/ 202260 h 403273"/>
                    <a:gd name="connsiteX231" fmla="*/ 79981 w 407722"/>
                    <a:gd name="connsiteY231" fmla="*/ 200003 h 403273"/>
                    <a:gd name="connsiteX232" fmla="*/ 85100 w 407722"/>
                    <a:gd name="connsiteY232" fmla="*/ 198275 h 403273"/>
                    <a:gd name="connsiteX233" fmla="*/ 87642 w 407722"/>
                    <a:gd name="connsiteY233" fmla="*/ 198332 h 403273"/>
                    <a:gd name="connsiteX234" fmla="*/ 87642 w 407722"/>
                    <a:gd name="connsiteY234" fmla="*/ 193841 h 403273"/>
                    <a:gd name="connsiteX235" fmla="*/ 87642 w 407722"/>
                    <a:gd name="connsiteY235" fmla="*/ 179694 h 403273"/>
                    <a:gd name="connsiteX236" fmla="*/ 87642 w 407722"/>
                    <a:gd name="connsiteY236" fmla="*/ 165578 h 403273"/>
                    <a:gd name="connsiteX237" fmla="*/ 87642 w 407722"/>
                    <a:gd name="connsiteY237" fmla="*/ 151479 h 403273"/>
                    <a:gd name="connsiteX238" fmla="*/ 87642 w 407722"/>
                    <a:gd name="connsiteY238" fmla="*/ 137413 h 403273"/>
                    <a:gd name="connsiteX239" fmla="*/ 87642 w 407722"/>
                    <a:gd name="connsiteY239" fmla="*/ 123362 h 403273"/>
                    <a:gd name="connsiteX240" fmla="*/ 87642 w 407722"/>
                    <a:gd name="connsiteY240" fmla="*/ 109337 h 403273"/>
                    <a:gd name="connsiteX241" fmla="*/ 87642 w 407722"/>
                    <a:gd name="connsiteY241" fmla="*/ 95352 h 403273"/>
                    <a:gd name="connsiteX242" fmla="*/ 87642 w 407722"/>
                    <a:gd name="connsiteY242" fmla="*/ 82157 h 403273"/>
                    <a:gd name="connsiteX243" fmla="*/ 88832 w 407722"/>
                    <a:gd name="connsiteY243" fmla="*/ 83103 h 403273"/>
                    <a:gd name="connsiteX244" fmla="*/ 96689 w 407722"/>
                    <a:gd name="connsiteY244" fmla="*/ 90095 h 403273"/>
                    <a:gd name="connsiteX245" fmla="*/ 98807 w 407722"/>
                    <a:gd name="connsiteY245" fmla="*/ 93771 h 403273"/>
                    <a:gd name="connsiteX246" fmla="*/ 99867 w 407722"/>
                    <a:gd name="connsiteY246" fmla="*/ 96102 h 403273"/>
                    <a:gd name="connsiteX247" fmla="*/ 103241 w 407722"/>
                    <a:gd name="connsiteY247" fmla="*/ 104602 h 403273"/>
                    <a:gd name="connsiteX248" fmla="*/ 105759 w 407722"/>
                    <a:gd name="connsiteY248" fmla="*/ 112214 h 403273"/>
                    <a:gd name="connsiteX249" fmla="*/ 107804 w 407722"/>
                    <a:gd name="connsiteY249" fmla="*/ 117967 h 403273"/>
                    <a:gd name="connsiteX250" fmla="*/ 107968 w 407722"/>
                    <a:gd name="connsiteY250" fmla="*/ 120592 h 403273"/>
                    <a:gd name="connsiteX251" fmla="*/ 108245 w 407722"/>
                    <a:gd name="connsiteY251" fmla="*/ 123159 h 403273"/>
                    <a:gd name="connsiteX252" fmla="*/ 108538 w 407722"/>
                    <a:gd name="connsiteY252" fmla="*/ 124430 h 403273"/>
                    <a:gd name="connsiteX253" fmla="*/ 108359 w 407722"/>
                    <a:gd name="connsiteY253" fmla="*/ 125832 h 403273"/>
                    <a:gd name="connsiteX254" fmla="*/ 106916 w 407722"/>
                    <a:gd name="connsiteY254" fmla="*/ 128953 h 403273"/>
                    <a:gd name="connsiteX255" fmla="*/ 105433 w 407722"/>
                    <a:gd name="connsiteY255" fmla="*/ 131349 h 403273"/>
                    <a:gd name="connsiteX256" fmla="*/ 103681 w 407722"/>
                    <a:gd name="connsiteY256" fmla="*/ 134634 h 403273"/>
                    <a:gd name="connsiteX257" fmla="*/ 103510 w 407722"/>
                    <a:gd name="connsiteY257" fmla="*/ 138961 h 403273"/>
                    <a:gd name="connsiteX258" fmla="*/ 104039 w 407722"/>
                    <a:gd name="connsiteY258" fmla="*/ 144055 h 403273"/>
                    <a:gd name="connsiteX259" fmla="*/ 105123 w 407722"/>
                    <a:gd name="connsiteY259" fmla="*/ 146597 h 403273"/>
                    <a:gd name="connsiteX260" fmla="*/ 106484 w 407722"/>
                    <a:gd name="connsiteY260" fmla="*/ 147437 h 403273"/>
                    <a:gd name="connsiteX261" fmla="*/ 109728 w 407722"/>
                    <a:gd name="connsiteY261" fmla="*/ 146165 h 403273"/>
                    <a:gd name="connsiteX262" fmla="*/ 111790 w 407722"/>
                    <a:gd name="connsiteY262" fmla="*/ 146557 h 403273"/>
                    <a:gd name="connsiteX263" fmla="*/ 114683 w 407722"/>
                    <a:gd name="connsiteY263" fmla="*/ 147527 h 403273"/>
                    <a:gd name="connsiteX264" fmla="*/ 124210 w 407722"/>
                    <a:gd name="connsiteY264" fmla="*/ 146940 h 403273"/>
                    <a:gd name="connsiteX265" fmla="*/ 125367 w 407722"/>
                    <a:gd name="connsiteY265" fmla="*/ 147241 h 403273"/>
                    <a:gd name="connsiteX266" fmla="*/ 128961 w 407722"/>
                    <a:gd name="connsiteY266" fmla="*/ 147600 h 403273"/>
                    <a:gd name="connsiteX267" fmla="*/ 130151 w 407722"/>
                    <a:gd name="connsiteY267" fmla="*/ 147184 h 403273"/>
                    <a:gd name="connsiteX268" fmla="*/ 131227 w 407722"/>
                    <a:gd name="connsiteY268" fmla="*/ 146100 h 403273"/>
                    <a:gd name="connsiteX269" fmla="*/ 132474 w 407722"/>
                    <a:gd name="connsiteY269" fmla="*/ 143044 h 403273"/>
                    <a:gd name="connsiteX270" fmla="*/ 133590 w 407722"/>
                    <a:gd name="connsiteY270" fmla="*/ 142034 h 403273"/>
                    <a:gd name="connsiteX271" fmla="*/ 135612 w 407722"/>
                    <a:gd name="connsiteY271" fmla="*/ 141528 h 403273"/>
                    <a:gd name="connsiteX272" fmla="*/ 137991 w 407722"/>
                    <a:gd name="connsiteY272" fmla="*/ 140705 h 403273"/>
                    <a:gd name="connsiteX273" fmla="*/ 139980 w 407722"/>
                    <a:gd name="connsiteY273" fmla="*/ 138937 h 403273"/>
                    <a:gd name="connsiteX274" fmla="*/ 143117 w 407722"/>
                    <a:gd name="connsiteY274" fmla="*/ 132890 h 403273"/>
                    <a:gd name="connsiteX275" fmla="*/ 149401 w 407722"/>
                    <a:gd name="connsiteY275" fmla="*/ 127535 h 403273"/>
                    <a:gd name="connsiteX276" fmla="*/ 151332 w 407722"/>
                    <a:gd name="connsiteY276" fmla="*/ 126256 h 403273"/>
                    <a:gd name="connsiteX277" fmla="*/ 152538 w 407722"/>
                    <a:gd name="connsiteY277" fmla="*/ 124813 h 403273"/>
                    <a:gd name="connsiteX278" fmla="*/ 153598 w 407722"/>
                    <a:gd name="connsiteY278" fmla="*/ 122873 h 403273"/>
                    <a:gd name="connsiteX279" fmla="*/ 155806 w 407722"/>
                    <a:gd name="connsiteY279" fmla="*/ 116134 h 403273"/>
                    <a:gd name="connsiteX280" fmla="*/ 157469 w 407722"/>
                    <a:gd name="connsiteY280" fmla="*/ 110519 h 403273"/>
                    <a:gd name="connsiteX281" fmla="*/ 158031 w 407722"/>
                    <a:gd name="connsiteY281" fmla="*/ 107878 h 403273"/>
                    <a:gd name="connsiteX282" fmla="*/ 159515 w 407722"/>
                    <a:gd name="connsiteY282" fmla="*/ 103559 h 403273"/>
                    <a:gd name="connsiteX283" fmla="*/ 161316 w 407722"/>
                    <a:gd name="connsiteY283" fmla="*/ 100804 h 403273"/>
                    <a:gd name="connsiteX284" fmla="*/ 163084 w 407722"/>
                    <a:gd name="connsiteY284" fmla="*/ 99337 h 403273"/>
                    <a:gd name="connsiteX285" fmla="*/ 163948 w 407722"/>
                    <a:gd name="connsiteY285" fmla="*/ 98970 h 403273"/>
                    <a:gd name="connsiteX286" fmla="*/ 166214 w 407722"/>
                    <a:gd name="connsiteY286" fmla="*/ 98229 h 403273"/>
                    <a:gd name="connsiteX287" fmla="*/ 169115 w 407722"/>
                    <a:gd name="connsiteY287" fmla="*/ 97536 h 403273"/>
                    <a:gd name="connsiteX288" fmla="*/ 172180 w 407722"/>
                    <a:gd name="connsiteY288" fmla="*/ 98318 h 403273"/>
                    <a:gd name="connsiteX289" fmla="*/ 175448 w 407722"/>
                    <a:gd name="connsiteY289" fmla="*/ 99989 h 403273"/>
                    <a:gd name="connsiteX290" fmla="*/ 179155 w 407722"/>
                    <a:gd name="connsiteY290" fmla="*/ 102801 h 403273"/>
                    <a:gd name="connsiteX291" fmla="*/ 182945 w 407722"/>
                    <a:gd name="connsiteY291" fmla="*/ 106289 h 403273"/>
                    <a:gd name="connsiteX292" fmla="*/ 184689 w 407722"/>
                    <a:gd name="connsiteY292" fmla="*/ 108074 h 403273"/>
                    <a:gd name="connsiteX293" fmla="*/ 186563 w 407722"/>
                    <a:gd name="connsiteY293" fmla="*/ 108856 h 403273"/>
                    <a:gd name="connsiteX294" fmla="*/ 189897 w 407722"/>
                    <a:gd name="connsiteY294" fmla="*/ 109133 h 403273"/>
                    <a:gd name="connsiteX295" fmla="*/ 192106 w 407722"/>
                    <a:gd name="connsiteY295" fmla="*/ 109068 h 403273"/>
                    <a:gd name="connsiteX296" fmla="*/ 195520 w 407722"/>
                    <a:gd name="connsiteY296" fmla="*/ 112532 h 403273"/>
                    <a:gd name="connsiteX297" fmla="*/ 197248 w 407722"/>
                    <a:gd name="connsiteY297" fmla="*/ 112744 h 403273"/>
                    <a:gd name="connsiteX298" fmla="*/ 201111 w 407722"/>
                    <a:gd name="connsiteY298" fmla="*/ 113803 h 403273"/>
                    <a:gd name="connsiteX299" fmla="*/ 205878 w 407722"/>
                    <a:gd name="connsiteY299" fmla="*/ 114879 h 403273"/>
                    <a:gd name="connsiteX300" fmla="*/ 208878 w 407722"/>
                    <a:gd name="connsiteY300" fmla="*/ 114756 h 403273"/>
                    <a:gd name="connsiteX301" fmla="*/ 212097 w 407722"/>
                    <a:gd name="connsiteY301" fmla="*/ 112890 h 403273"/>
                    <a:gd name="connsiteX302" fmla="*/ 214419 w 407722"/>
                    <a:gd name="connsiteY302" fmla="*/ 112800 h 403273"/>
                    <a:gd name="connsiteX303" fmla="*/ 217418 w 407722"/>
                    <a:gd name="connsiteY303" fmla="*/ 112955 h 403273"/>
                    <a:gd name="connsiteX304" fmla="*/ 220711 w 407722"/>
                    <a:gd name="connsiteY304" fmla="*/ 112450 h 403273"/>
                    <a:gd name="connsiteX305" fmla="*/ 223131 w 407722"/>
                    <a:gd name="connsiteY305" fmla="*/ 111643 h 403273"/>
                    <a:gd name="connsiteX306" fmla="*/ 224982 w 407722"/>
                    <a:gd name="connsiteY306" fmla="*/ 110013 h 403273"/>
                    <a:gd name="connsiteX307" fmla="*/ 226611 w 407722"/>
                    <a:gd name="connsiteY307" fmla="*/ 108237 h 403273"/>
                    <a:gd name="connsiteX308" fmla="*/ 228478 w 407722"/>
                    <a:gd name="connsiteY308" fmla="*/ 102939 h 403273"/>
                    <a:gd name="connsiteX309" fmla="*/ 229561 w 407722"/>
                    <a:gd name="connsiteY309" fmla="*/ 98677 h 403273"/>
                    <a:gd name="connsiteX310" fmla="*/ 231224 w 407722"/>
                    <a:gd name="connsiteY310" fmla="*/ 93771 h 403273"/>
                    <a:gd name="connsiteX311" fmla="*/ 233278 w 407722"/>
                    <a:gd name="connsiteY311" fmla="*/ 87137 h 403273"/>
                    <a:gd name="connsiteX312" fmla="*/ 234003 w 407722"/>
                    <a:gd name="connsiteY312" fmla="*/ 82524 h 403273"/>
                    <a:gd name="connsiteX313" fmla="*/ 234753 w 407722"/>
                    <a:gd name="connsiteY313" fmla="*/ 81253 h 403273"/>
                    <a:gd name="connsiteX314" fmla="*/ 237720 w 407722"/>
                    <a:gd name="connsiteY314" fmla="*/ 79835 h 403273"/>
                    <a:gd name="connsiteX315" fmla="*/ 240181 w 407722"/>
                    <a:gd name="connsiteY315" fmla="*/ 78865 h 403273"/>
                    <a:gd name="connsiteX316" fmla="*/ 246790 w 407722"/>
                    <a:gd name="connsiteY316" fmla="*/ 77056 h 403273"/>
                    <a:gd name="connsiteX317" fmla="*/ 248143 w 407722"/>
                    <a:gd name="connsiteY317" fmla="*/ 76078 h 403273"/>
                    <a:gd name="connsiteX318" fmla="*/ 249374 w 407722"/>
                    <a:gd name="connsiteY318" fmla="*/ 73894 h 403273"/>
                    <a:gd name="connsiteX319" fmla="*/ 252259 w 407722"/>
                    <a:gd name="connsiteY319" fmla="*/ 70210 h 403273"/>
                    <a:gd name="connsiteX320" fmla="*/ 255820 w 407722"/>
                    <a:gd name="connsiteY320" fmla="*/ 67121 h 403273"/>
                    <a:gd name="connsiteX321" fmla="*/ 257654 w 407722"/>
                    <a:gd name="connsiteY321" fmla="*/ 65369 h 403273"/>
                    <a:gd name="connsiteX322" fmla="*/ 261011 w 407722"/>
                    <a:gd name="connsiteY322" fmla="*/ 50431 h 403273"/>
                    <a:gd name="connsiteX323" fmla="*/ 261419 w 407722"/>
                    <a:gd name="connsiteY323" fmla="*/ 48581 h 403273"/>
                    <a:gd name="connsiteX324" fmla="*/ 263864 w 407722"/>
                    <a:gd name="connsiteY324" fmla="*/ 44620 h 403273"/>
                    <a:gd name="connsiteX325" fmla="*/ 265380 w 407722"/>
                    <a:gd name="connsiteY325" fmla="*/ 42957 h 403273"/>
                    <a:gd name="connsiteX326" fmla="*/ 266341 w 407722"/>
                    <a:gd name="connsiteY326" fmla="*/ 42925 h 403273"/>
                    <a:gd name="connsiteX327" fmla="*/ 267735 w 407722"/>
                    <a:gd name="connsiteY327" fmla="*/ 41882 h 403273"/>
                    <a:gd name="connsiteX328" fmla="*/ 269520 w 407722"/>
                    <a:gd name="connsiteY328" fmla="*/ 39820 h 403273"/>
                    <a:gd name="connsiteX329" fmla="*/ 271647 w 407722"/>
                    <a:gd name="connsiteY329" fmla="*/ 38557 h 403273"/>
                    <a:gd name="connsiteX330" fmla="*/ 274124 w 407722"/>
                    <a:gd name="connsiteY330" fmla="*/ 38076 h 403273"/>
                    <a:gd name="connsiteX331" fmla="*/ 275722 w 407722"/>
                    <a:gd name="connsiteY331" fmla="*/ 36715 h 403273"/>
                    <a:gd name="connsiteX332" fmla="*/ 276447 w 407722"/>
                    <a:gd name="connsiteY332" fmla="*/ 34473 h 403273"/>
                    <a:gd name="connsiteX333" fmla="*/ 277727 w 407722"/>
                    <a:gd name="connsiteY333" fmla="*/ 33373 h 403273"/>
                    <a:gd name="connsiteX334" fmla="*/ 279528 w 407722"/>
                    <a:gd name="connsiteY334" fmla="*/ 33438 h 403273"/>
                    <a:gd name="connsiteX335" fmla="*/ 280562 w 407722"/>
                    <a:gd name="connsiteY335" fmla="*/ 32721 h 403273"/>
                    <a:gd name="connsiteX336" fmla="*/ 280815 w 407722"/>
                    <a:gd name="connsiteY336" fmla="*/ 31230 h 403273"/>
                    <a:gd name="connsiteX337" fmla="*/ 281899 w 407722"/>
                    <a:gd name="connsiteY337" fmla="*/ 29950 h 403273"/>
                    <a:gd name="connsiteX338" fmla="*/ 283839 w 407722"/>
                    <a:gd name="connsiteY338" fmla="*/ 28891 h 403273"/>
                    <a:gd name="connsiteX339" fmla="*/ 284849 w 407722"/>
                    <a:gd name="connsiteY339" fmla="*/ 27636 h 403273"/>
                    <a:gd name="connsiteX340" fmla="*/ 284947 w 407722"/>
                    <a:gd name="connsiteY340" fmla="*/ 26185 h 403273"/>
                    <a:gd name="connsiteX341" fmla="*/ 287245 w 407722"/>
                    <a:gd name="connsiteY341" fmla="*/ 22648 h 403273"/>
                    <a:gd name="connsiteX342" fmla="*/ 291768 w 407722"/>
                    <a:gd name="connsiteY342" fmla="*/ 17041 h 403273"/>
                    <a:gd name="connsiteX343" fmla="*/ 296023 w 407722"/>
                    <a:gd name="connsiteY343" fmla="*/ 13920 h 403273"/>
                    <a:gd name="connsiteX344" fmla="*/ 300016 w 407722"/>
                    <a:gd name="connsiteY344" fmla="*/ 13276 h 403273"/>
                    <a:gd name="connsiteX345" fmla="*/ 303797 w 407722"/>
                    <a:gd name="connsiteY345" fmla="*/ 12119 h 403273"/>
                    <a:gd name="connsiteX346" fmla="*/ 307375 w 407722"/>
                    <a:gd name="connsiteY346" fmla="*/ 10415 h 403273"/>
                    <a:gd name="connsiteX347" fmla="*/ 309999 w 407722"/>
                    <a:gd name="connsiteY347" fmla="*/ 7742 h 403273"/>
                    <a:gd name="connsiteX348" fmla="*/ 311679 w 407722"/>
                    <a:gd name="connsiteY348" fmla="*/ 4124 h 403273"/>
                    <a:gd name="connsiteX349" fmla="*/ 314572 w 407722"/>
                    <a:gd name="connsiteY349" fmla="*/ 2103 h 403273"/>
                    <a:gd name="connsiteX350" fmla="*/ 320398 w 407722"/>
                    <a:gd name="connsiteY350" fmla="*/ 1492 h 403273"/>
                    <a:gd name="connsiteX351" fmla="*/ 320708 w 407722"/>
                    <a:gd name="connsiteY351" fmla="*/ 1459 h 403273"/>
                    <a:gd name="connsiteX352" fmla="*/ 327790 w 407722"/>
                    <a:gd name="connsiteY352" fmla="*/ 0 h 403273"/>
                    <a:gd name="connsiteX353" fmla="*/ 333732 w 407722"/>
                    <a:gd name="connsiteY353" fmla="*/ 1190 h 403273"/>
                    <a:gd name="connsiteX354" fmla="*/ 340854 w 407722"/>
                    <a:gd name="connsiteY354" fmla="*/ 4507 h 403273"/>
                    <a:gd name="connsiteX355" fmla="*/ 282323 w 407722"/>
                    <a:gd name="connsiteY355" fmla="*/ 212936 h 403273"/>
                    <a:gd name="connsiteX356" fmla="*/ 279968 w 407722"/>
                    <a:gd name="connsiteY356" fmla="*/ 213914 h 403273"/>
                    <a:gd name="connsiteX357" fmla="*/ 278101 w 407722"/>
                    <a:gd name="connsiteY357" fmla="*/ 217329 h 403273"/>
                    <a:gd name="connsiteX358" fmla="*/ 276357 w 407722"/>
                    <a:gd name="connsiteY358" fmla="*/ 220524 h 403273"/>
                    <a:gd name="connsiteX359" fmla="*/ 274793 w 407722"/>
                    <a:gd name="connsiteY359" fmla="*/ 223384 h 403273"/>
                    <a:gd name="connsiteX360" fmla="*/ 273912 w 407722"/>
                    <a:gd name="connsiteY360" fmla="*/ 224680 h 403273"/>
                    <a:gd name="connsiteX361" fmla="*/ 273081 w 407722"/>
                    <a:gd name="connsiteY361" fmla="*/ 225519 h 403273"/>
                    <a:gd name="connsiteX362" fmla="*/ 272250 w 407722"/>
                    <a:gd name="connsiteY362" fmla="*/ 227353 h 403273"/>
                    <a:gd name="connsiteX363" fmla="*/ 270571 w 407722"/>
                    <a:gd name="connsiteY363" fmla="*/ 230409 h 403273"/>
                    <a:gd name="connsiteX364" fmla="*/ 269031 w 407722"/>
                    <a:gd name="connsiteY364" fmla="*/ 232455 h 403273"/>
                    <a:gd name="connsiteX365" fmla="*/ 266863 w 407722"/>
                    <a:gd name="connsiteY365" fmla="*/ 233571 h 403273"/>
                    <a:gd name="connsiteX366" fmla="*/ 264084 w 407722"/>
                    <a:gd name="connsiteY366" fmla="*/ 235030 h 403273"/>
                    <a:gd name="connsiteX367" fmla="*/ 263130 w 407722"/>
                    <a:gd name="connsiteY367" fmla="*/ 235870 h 403273"/>
                    <a:gd name="connsiteX368" fmla="*/ 263000 w 407722"/>
                    <a:gd name="connsiteY368" fmla="*/ 237100 h 403273"/>
                    <a:gd name="connsiteX369" fmla="*/ 263986 w 407722"/>
                    <a:gd name="connsiteY369" fmla="*/ 239969 h 403273"/>
                    <a:gd name="connsiteX370" fmla="*/ 264956 w 407722"/>
                    <a:gd name="connsiteY370" fmla="*/ 242756 h 403273"/>
                    <a:gd name="connsiteX371" fmla="*/ 266504 w 407722"/>
                    <a:gd name="connsiteY371" fmla="*/ 245992 h 403273"/>
                    <a:gd name="connsiteX372" fmla="*/ 267662 w 407722"/>
                    <a:gd name="connsiteY372" fmla="*/ 248363 h 403273"/>
                    <a:gd name="connsiteX373" fmla="*/ 269471 w 407722"/>
                    <a:gd name="connsiteY373" fmla="*/ 251256 h 403273"/>
                    <a:gd name="connsiteX374" fmla="*/ 270538 w 407722"/>
                    <a:gd name="connsiteY374" fmla="*/ 252960 h 403273"/>
                    <a:gd name="connsiteX375" fmla="*/ 270392 w 407722"/>
                    <a:gd name="connsiteY375" fmla="*/ 255812 h 403273"/>
                    <a:gd name="connsiteX376" fmla="*/ 270750 w 407722"/>
                    <a:gd name="connsiteY376" fmla="*/ 256839 h 403273"/>
                    <a:gd name="connsiteX377" fmla="*/ 271354 w 407722"/>
                    <a:gd name="connsiteY377" fmla="*/ 258021 h 403273"/>
                    <a:gd name="connsiteX378" fmla="*/ 271851 w 407722"/>
                    <a:gd name="connsiteY378" fmla="*/ 258322 h 403273"/>
                    <a:gd name="connsiteX379" fmla="*/ 272421 w 407722"/>
                    <a:gd name="connsiteY379" fmla="*/ 258738 h 403273"/>
                    <a:gd name="connsiteX380" fmla="*/ 273920 w 407722"/>
                    <a:gd name="connsiteY380" fmla="*/ 259569 h 403273"/>
                    <a:gd name="connsiteX381" fmla="*/ 274279 w 407722"/>
                    <a:gd name="connsiteY381" fmla="*/ 260107 h 403273"/>
                    <a:gd name="connsiteX382" fmla="*/ 275339 w 407722"/>
                    <a:gd name="connsiteY382" fmla="*/ 261077 h 403273"/>
                    <a:gd name="connsiteX383" fmla="*/ 276341 w 407722"/>
                    <a:gd name="connsiteY383" fmla="*/ 262853 h 403273"/>
                    <a:gd name="connsiteX384" fmla="*/ 278248 w 407722"/>
                    <a:gd name="connsiteY384" fmla="*/ 265307 h 403273"/>
                    <a:gd name="connsiteX385" fmla="*/ 280391 w 407722"/>
                    <a:gd name="connsiteY385" fmla="*/ 267165 h 403273"/>
                    <a:gd name="connsiteX386" fmla="*/ 284083 w 407722"/>
                    <a:gd name="connsiteY386" fmla="*/ 267939 h 403273"/>
                    <a:gd name="connsiteX387" fmla="*/ 286968 w 407722"/>
                    <a:gd name="connsiteY387" fmla="*/ 268517 h 403273"/>
                    <a:gd name="connsiteX388" fmla="*/ 287930 w 407722"/>
                    <a:gd name="connsiteY388" fmla="*/ 268159 h 403273"/>
                    <a:gd name="connsiteX389" fmla="*/ 288900 w 407722"/>
                    <a:gd name="connsiteY389" fmla="*/ 266659 h 403273"/>
                    <a:gd name="connsiteX390" fmla="*/ 289706 w 407722"/>
                    <a:gd name="connsiteY390" fmla="*/ 264752 h 403273"/>
                    <a:gd name="connsiteX391" fmla="*/ 289959 w 407722"/>
                    <a:gd name="connsiteY391" fmla="*/ 262332 h 403273"/>
                    <a:gd name="connsiteX392" fmla="*/ 290880 w 407722"/>
                    <a:gd name="connsiteY392" fmla="*/ 261052 h 403273"/>
                    <a:gd name="connsiteX393" fmla="*/ 294344 w 407722"/>
                    <a:gd name="connsiteY393" fmla="*/ 254891 h 403273"/>
                    <a:gd name="connsiteX394" fmla="*/ 296235 w 407722"/>
                    <a:gd name="connsiteY394" fmla="*/ 252617 h 403273"/>
                    <a:gd name="connsiteX395" fmla="*/ 297400 w 407722"/>
                    <a:gd name="connsiteY395" fmla="*/ 252454 h 403273"/>
                    <a:gd name="connsiteX396" fmla="*/ 298908 w 407722"/>
                    <a:gd name="connsiteY396" fmla="*/ 252014 h 403273"/>
                    <a:gd name="connsiteX397" fmla="*/ 300815 w 407722"/>
                    <a:gd name="connsiteY397" fmla="*/ 251827 h 403273"/>
                    <a:gd name="connsiteX398" fmla="*/ 302241 w 407722"/>
                    <a:gd name="connsiteY398" fmla="*/ 252014 h 403273"/>
                    <a:gd name="connsiteX399" fmla="*/ 302559 w 407722"/>
                    <a:gd name="connsiteY399" fmla="*/ 251941 h 403273"/>
                    <a:gd name="connsiteX400" fmla="*/ 304792 w 407722"/>
                    <a:gd name="connsiteY400" fmla="*/ 251142 h 403273"/>
                    <a:gd name="connsiteX401" fmla="*/ 308859 w 407722"/>
                    <a:gd name="connsiteY401" fmla="*/ 249097 h 403273"/>
                    <a:gd name="connsiteX402" fmla="*/ 310709 w 407722"/>
                    <a:gd name="connsiteY402" fmla="*/ 247858 h 403273"/>
                    <a:gd name="connsiteX403" fmla="*/ 312037 w 407722"/>
                    <a:gd name="connsiteY403" fmla="*/ 246839 h 403273"/>
                    <a:gd name="connsiteX404" fmla="*/ 313748 w 407722"/>
                    <a:gd name="connsiteY404" fmla="*/ 245274 h 403273"/>
                    <a:gd name="connsiteX405" fmla="*/ 314343 w 407722"/>
                    <a:gd name="connsiteY405" fmla="*/ 241501 h 403273"/>
                    <a:gd name="connsiteX406" fmla="*/ 314841 w 407722"/>
                    <a:gd name="connsiteY406" fmla="*/ 238282 h 403273"/>
                    <a:gd name="connsiteX407" fmla="*/ 316152 w 407722"/>
                    <a:gd name="connsiteY407" fmla="*/ 236709 h 403273"/>
                    <a:gd name="connsiteX408" fmla="*/ 317497 w 407722"/>
                    <a:gd name="connsiteY408" fmla="*/ 235658 h 403273"/>
                    <a:gd name="connsiteX409" fmla="*/ 318598 w 407722"/>
                    <a:gd name="connsiteY409" fmla="*/ 233995 h 403273"/>
                    <a:gd name="connsiteX410" fmla="*/ 319967 w 407722"/>
                    <a:gd name="connsiteY410" fmla="*/ 230002 h 403273"/>
                    <a:gd name="connsiteX411" fmla="*/ 320912 w 407722"/>
                    <a:gd name="connsiteY411" fmla="*/ 226090 h 403273"/>
                    <a:gd name="connsiteX412" fmla="*/ 321010 w 407722"/>
                    <a:gd name="connsiteY412" fmla="*/ 224493 h 403273"/>
                    <a:gd name="connsiteX413" fmla="*/ 320521 w 407722"/>
                    <a:gd name="connsiteY413" fmla="*/ 222846 h 403273"/>
                    <a:gd name="connsiteX414" fmla="*/ 319657 w 407722"/>
                    <a:gd name="connsiteY414" fmla="*/ 221102 h 403273"/>
                    <a:gd name="connsiteX415" fmla="*/ 318801 w 407722"/>
                    <a:gd name="connsiteY415" fmla="*/ 218739 h 403273"/>
                    <a:gd name="connsiteX416" fmla="*/ 317766 w 407722"/>
                    <a:gd name="connsiteY416" fmla="*/ 218372 h 403273"/>
                    <a:gd name="connsiteX417" fmla="*/ 315745 w 407722"/>
                    <a:gd name="connsiteY417" fmla="*/ 217052 h 403273"/>
                    <a:gd name="connsiteX418" fmla="*/ 312770 w 407722"/>
                    <a:gd name="connsiteY418" fmla="*/ 214403 h 403273"/>
                    <a:gd name="connsiteX419" fmla="*/ 310179 w 407722"/>
                    <a:gd name="connsiteY419" fmla="*/ 212081 h 403273"/>
                    <a:gd name="connsiteX420" fmla="*/ 307766 w 407722"/>
                    <a:gd name="connsiteY420" fmla="*/ 208731 h 403273"/>
                    <a:gd name="connsiteX421" fmla="*/ 306772 w 407722"/>
                    <a:gd name="connsiteY421" fmla="*/ 208185 h 403273"/>
                    <a:gd name="connsiteX422" fmla="*/ 304425 w 407722"/>
                    <a:gd name="connsiteY422" fmla="*/ 205911 h 403273"/>
                    <a:gd name="connsiteX423" fmla="*/ 303423 w 407722"/>
                    <a:gd name="connsiteY423" fmla="*/ 204599 h 403273"/>
                    <a:gd name="connsiteX424" fmla="*/ 302706 w 407722"/>
                    <a:gd name="connsiteY424" fmla="*/ 203051 h 403273"/>
                    <a:gd name="connsiteX425" fmla="*/ 302037 w 407722"/>
                    <a:gd name="connsiteY425" fmla="*/ 202537 h 403273"/>
                    <a:gd name="connsiteX426" fmla="*/ 300994 w 407722"/>
                    <a:gd name="connsiteY426" fmla="*/ 202936 h 403273"/>
                    <a:gd name="connsiteX427" fmla="*/ 298231 w 407722"/>
                    <a:gd name="connsiteY427" fmla="*/ 203629 h 403273"/>
                    <a:gd name="connsiteX428" fmla="*/ 292290 w 407722"/>
                    <a:gd name="connsiteY428" fmla="*/ 206351 h 403273"/>
                    <a:gd name="connsiteX429" fmla="*/ 288631 w 407722"/>
                    <a:gd name="connsiteY429" fmla="*/ 208869 h 403273"/>
                    <a:gd name="connsiteX430" fmla="*/ 285534 w 407722"/>
                    <a:gd name="connsiteY430" fmla="*/ 211852 h 403273"/>
                    <a:gd name="connsiteX431" fmla="*/ 282323 w 407722"/>
                    <a:gd name="connsiteY431" fmla="*/ 212936 h 403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Lst>
                  <a:rect l="l" t="t" r="r" b="b"/>
                  <a:pathLst>
                    <a:path w="407722" h="403273">
                      <a:moveTo>
                        <a:pt x="340854" y="4507"/>
                      </a:moveTo>
                      <a:lnTo>
                        <a:pt x="347546" y="5688"/>
                      </a:lnTo>
                      <a:lnTo>
                        <a:pt x="353788" y="4727"/>
                      </a:lnTo>
                      <a:lnTo>
                        <a:pt x="358857" y="4499"/>
                      </a:lnTo>
                      <a:lnTo>
                        <a:pt x="362761" y="5028"/>
                      </a:lnTo>
                      <a:lnTo>
                        <a:pt x="365833" y="6186"/>
                      </a:lnTo>
                      <a:lnTo>
                        <a:pt x="368075" y="7962"/>
                      </a:lnTo>
                      <a:lnTo>
                        <a:pt x="368213" y="9592"/>
                      </a:lnTo>
                      <a:lnTo>
                        <a:pt x="368384" y="10350"/>
                      </a:lnTo>
                      <a:lnTo>
                        <a:pt x="369566" y="14670"/>
                      </a:lnTo>
                      <a:lnTo>
                        <a:pt x="371343" y="21132"/>
                      </a:lnTo>
                      <a:lnTo>
                        <a:pt x="372516" y="27106"/>
                      </a:lnTo>
                      <a:lnTo>
                        <a:pt x="374138" y="35313"/>
                      </a:lnTo>
                      <a:lnTo>
                        <a:pt x="374081" y="39868"/>
                      </a:lnTo>
                      <a:lnTo>
                        <a:pt x="374472" y="41645"/>
                      </a:lnTo>
                      <a:lnTo>
                        <a:pt x="375931" y="43854"/>
                      </a:lnTo>
                      <a:lnTo>
                        <a:pt x="377699" y="47643"/>
                      </a:lnTo>
                      <a:lnTo>
                        <a:pt x="378303" y="49803"/>
                      </a:lnTo>
                      <a:lnTo>
                        <a:pt x="378897" y="51409"/>
                      </a:lnTo>
                      <a:lnTo>
                        <a:pt x="380772" y="54457"/>
                      </a:lnTo>
                      <a:lnTo>
                        <a:pt x="382239" y="59086"/>
                      </a:lnTo>
                      <a:lnTo>
                        <a:pt x="383461" y="65222"/>
                      </a:lnTo>
                      <a:lnTo>
                        <a:pt x="384521" y="68164"/>
                      </a:lnTo>
                      <a:lnTo>
                        <a:pt x="384912" y="69615"/>
                      </a:lnTo>
                      <a:lnTo>
                        <a:pt x="385393" y="72256"/>
                      </a:lnTo>
                      <a:lnTo>
                        <a:pt x="385328" y="77830"/>
                      </a:lnTo>
                      <a:lnTo>
                        <a:pt x="385360" y="84276"/>
                      </a:lnTo>
                      <a:lnTo>
                        <a:pt x="385393" y="91505"/>
                      </a:lnTo>
                      <a:lnTo>
                        <a:pt x="385425" y="97463"/>
                      </a:lnTo>
                      <a:lnTo>
                        <a:pt x="385238" y="100478"/>
                      </a:lnTo>
                      <a:lnTo>
                        <a:pt x="385376" y="109060"/>
                      </a:lnTo>
                      <a:lnTo>
                        <a:pt x="383779" y="113534"/>
                      </a:lnTo>
                      <a:lnTo>
                        <a:pt x="383975" y="117046"/>
                      </a:lnTo>
                      <a:lnTo>
                        <a:pt x="384472" y="119320"/>
                      </a:lnTo>
                      <a:lnTo>
                        <a:pt x="383811" y="119671"/>
                      </a:lnTo>
                      <a:lnTo>
                        <a:pt x="382573" y="120078"/>
                      </a:lnTo>
                      <a:lnTo>
                        <a:pt x="376844" y="116476"/>
                      </a:lnTo>
                      <a:lnTo>
                        <a:pt x="371245" y="112670"/>
                      </a:lnTo>
                      <a:lnTo>
                        <a:pt x="370438" y="112548"/>
                      </a:lnTo>
                      <a:lnTo>
                        <a:pt x="369264" y="112955"/>
                      </a:lnTo>
                      <a:lnTo>
                        <a:pt x="366086" y="115718"/>
                      </a:lnTo>
                      <a:lnTo>
                        <a:pt x="363136" y="120037"/>
                      </a:lnTo>
                      <a:lnTo>
                        <a:pt x="361775" y="123729"/>
                      </a:lnTo>
                      <a:lnTo>
                        <a:pt x="359591" y="127560"/>
                      </a:lnTo>
                      <a:lnTo>
                        <a:pt x="356070" y="133705"/>
                      </a:lnTo>
                      <a:lnTo>
                        <a:pt x="355711" y="135041"/>
                      </a:lnTo>
                      <a:lnTo>
                        <a:pt x="355662" y="140013"/>
                      </a:lnTo>
                      <a:lnTo>
                        <a:pt x="355834" y="144780"/>
                      </a:lnTo>
                      <a:lnTo>
                        <a:pt x="356135" y="145440"/>
                      </a:lnTo>
                      <a:lnTo>
                        <a:pt x="358034" y="145660"/>
                      </a:lnTo>
                      <a:lnTo>
                        <a:pt x="359403" y="149564"/>
                      </a:lnTo>
                      <a:lnTo>
                        <a:pt x="362500" y="155798"/>
                      </a:lnTo>
                      <a:lnTo>
                        <a:pt x="367732" y="159784"/>
                      </a:lnTo>
                      <a:lnTo>
                        <a:pt x="372581" y="161593"/>
                      </a:lnTo>
                      <a:lnTo>
                        <a:pt x="379354" y="162049"/>
                      </a:lnTo>
                      <a:lnTo>
                        <a:pt x="384708" y="161927"/>
                      </a:lnTo>
                      <a:lnTo>
                        <a:pt x="384398" y="157730"/>
                      </a:lnTo>
                      <a:lnTo>
                        <a:pt x="384920" y="150982"/>
                      </a:lnTo>
                      <a:lnTo>
                        <a:pt x="385605" y="146451"/>
                      </a:lnTo>
                      <a:lnTo>
                        <a:pt x="386354" y="146255"/>
                      </a:lnTo>
                      <a:lnTo>
                        <a:pt x="387764" y="146695"/>
                      </a:lnTo>
                      <a:lnTo>
                        <a:pt x="388538" y="147144"/>
                      </a:lnTo>
                      <a:lnTo>
                        <a:pt x="390690" y="146972"/>
                      </a:lnTo>
                      <a:lnTo>
                        <a:pt x="394512" y="147852"/>
                      </a:lnTo>
                      <a:lnTo>
                        <a:pt x="397593" y="147755"/>
                      </a:lnTo>
                      <a:lnTo>
                        <a:pt x="400356" y="147665"/>
                      </a:lnTo>
                      <a:lnTo>
                        <a:pt x="405009" y="147510"/>
                      </a:lnTo>
                      <a:lnTo>
                        <a:pt x="407723" y="147461"/>
                      </a:lnTo>
                      <a:lnTo>
                        <a:pt x="406802" y="154772"/>
                      </a:lnTo>
                      <a:lnTo>
                        <a:pt x="403249" y="166214"/>
                      </a:lnTo>
                      <a:lnTo>
                        <a:pt x="402051" y="171479"/>
                      </a:lnTo>
                      <a:lnTo>
                        <a:pt x="399011" y="190305"/>
                      </a:lnTo>
                      <a:lnTo>
                        <a:pt x="395058" y="199815"/>
                      </a:lnTo>
                      <a:lnTo>
                        <a:pt x="392850" y="203735"/>
                      </a:lnTo>
                      <a:lnTo>
                        <a:pt x="386428" y="210695"/>
                      </a:lnTo>
                      <a:lnTo>
                        <a:pt x="384643" y="212105"/>
                      </a:lnTo>
                      <a:lnTo>
                        <a:pt x="383070" y="213002"/>
                      </a:lnTo>
                      <a:lnTo>
                        <a:pt x="380258" y="213817"/>
                      </a:lnTo>
                      <a:lnTo>
                        <a:pt x="369264" y="227899"/>
                      </a:lnTo>
                      <a:lnTo>
                        <a:pt x="365165" y="234720"/>
                      </a:lnTo>
                      <a:lnTo>
                        <a:pt x="361530" y="244663"/>
                      </a:lnTo>
                      <a:lnTo>
                        <a:pt x="357920" y="250124"/>
                      </a:lnTo>
                      <a:lnTo>
                        <a:pt x="352614" y="261794"/>
                      </a:lnTo>
                      <a:lnTo>
                        <a:pt x="347871" y="270799"/>
                      </a:lnTo>
                      <a:lnTo>
                        <a:pt x="343315" y="279039"/>
                      </a:lnTo>
                      <a:lnTo>
                        <a:pt x="335443" y="290399"/>
                      </a:lnTo>
                      <a:lnTo>
                        <a:pt x="331938" y="293684"/>
                      </a:lnTo>
                      <a:lnTo>
                        <a:pt x="329575" y="295192"/>
                      </a:lnTo>
                      <a:lnTo>
                        <a:pt x="323324" y="301801"/>
                      </a:lnTo>
                      <a:lnTo>
                        <a:pt x="314514" y="312445"/>
                      </a:lnTo>
                      <a:lnTo>
                        <a:pt x="307775" y="321874"/>
                      </a:lnTo>
                      <a:lnTo>
                        <a:pt x="297694" y="332599"/>
                      </a:lnTo>
                      <a:lnTo>
                        <a:pt x="291850" y="337301"/>
                      </a:lnTo>
                      <a:lnTo>
                        <a:pt x="283089" y="346567"/>
                      </a:lnTo>
                      <a:lnTo>
                        <a:pt x="280644" y="347953"/>
                      </a:lnTo>
                      <a:lnTo>
                        <a:pt x="270767" y="356575"/>
                      </a:lnTo>
                      <a:lnTo>
                        <a:pt x="263668" y="361815"/>
                      </a:lnTo>
                      <a:lnTo>
                        <a:pt x="252161" y="367903"/>
                      </a:lnTo>
                      <a:lnTo>
                        <a:pt x="247589" y="369607"/>
                      </a:lnTo>
                      <a:lnTo>
                        <a:pt x="236677" y="368026"/>
                      </a:lnTo>
                      <a:lnTo>
                        <a:pt x="232113" y="368873"/>
                      </a:lnTo>
                      <a:lnTo>
                        <a:pt x="228306" y="372549"/>
                      </a:lnTo>
                      <a:lnTo>
                        <a:pt x="227956" y="377830"/>
                      </a:lnTo>
                      <a:lnTo>
                        <a:pt x="226367" y="378620"/>
                      </a:lnTo>
                      <a:lnTo>
                        <a:pt x="223963" y="378392"/>
                      </a:lnTo>
                      <a:lnTo>
                        <a:pt x="216335" y="376183"/>
                      </a:lnTo>
                      <a:lnTo>
                        <a:pt x="212202" y="376607"/>
                      </a:lnTo>
                      <a:lnTo>
                        <a:pt x="209774" y="379427"/>
                      </a:lnTo>
                      <a:lnTo>
                        <a:pt x="207835" y="382997"/>
                      </a:lnTo>
                      <a:lnTo>
                        <a:pt x="202089" y="383184"/>
                      </a:lnTo>
                      <a:lnTo>
                        <a:pt x="191861" y="379484"/>
                      </a:lnTo>
                      <a:lnTo>
                        <a:pt x="179824" y="377235"/>
                      </a:lnTo>
                      <a:lnTo>
                        <a:pt x="177036" y="376982"/>
                      </a:lnTo>
                      <a:lnTo>
                        <a:pt x="171202" y="379729"/>
                      </a:lnTo>
                      <a:lnTo>
                        <a:pt x="169164" y="380128"/>
                      </a:lnTo>
                      <a:lnTo>
                        <a:pt x="160664" y="379550"/>
                      </a:lnTo>
                      <a:lnTo>
                        <a:pt x="155953" y="377805"/>
                      </a:lnTo>
                      <a:lnTo>
                        <a:pt x="151447" y="377805"/>
                      </a:lnTo>
                      <a:lnTo>
                        <a:pt x="147983" y="379240"/>
                      </a:lnTo>
                      <a:lnTo>
                        <a:pt x="143794" y="379745"/>
                      </a:lnTo>
                      <a:lnTo>
                        <a:pt x="132465" y="389688"/>
                      </a:lnTo>
                      <a:lnTo>
                        <a:pt x="126622" y="389712"/>
                      </a:lnTo>
                      <a:lnTo>
                        <a:pt x="121577" y="390869"/>
                      </a:lnTo>
                      <a:lnTo>
                        <a:pt x="119067" y="390829"/>
                      </a:lnTo>
                      <a:lnTo>
                        <a:pt x="114390" y="389427"/>
                      </a:lnTo>
                      <a:lnTo>
                        <a:pt x="112646" y="389533"/>
                      </a:lnTo>
                      <a:lnTo>
                        <a:pt x="109981" y="390152"/>
                      </a:lnTo>
                      <a:lnTo>
                        <a:pt x="107307" y="391913"/>
                      </a:lnTo>
                      <a:lnTo>
                        <a:pt x="101244" y="392670"/>
                      </a:lnTo>
                      <a:lnTo>
                        <a:pt x="98881" y="394162"/>
                      </a:lnTo>
                      <a:lnTo>
                        <a:pt x="88604" y="403273"/>
                      </a:lnTo>
                      <a:lnTo>
                        <a:pt x="86265" y="402898"/>
                      </a:lnTo>
                      <a:lnTo>
                        <a:pt x="84374" y="402303"/>
                      </a:lnTo>
                      <a:lnTo>
                        <a:pt x="79044" y="402198"/>
                      </a:lnTo>
                      <a:lnTo>
                        <a:pt x="73013" y="397348"/>
                      </a:lnTo>
                      <a:lnTo>
                        <a:pt x="70699" y="397650"/>
                      </a:lnTo>
                      <a:lnTo>
                        <a:pt x="71327" y="396199"/>
                      </a:lnTo>
                      <a:lnTo>
                        <a:pt x="71498" y="393632"/>
                      </a:lnTo>
                      <a:lnTo>
                        <a:pt x="70234" y="391807"/>
                      </a:lnTo>
                      <a:lnTo>
                        <a:pt x="69370" y="390992"/>
                      </a:lnTo>
                      <a:lnTo>
                        <a:pt x="67007" y="391146"/>
                      </a:lnTo>
                      <a:lnTo>
                        <a:pt x="65744" y="388954"/>
                      </a:lnTo>
                      <a:lnTo>
                        <a:pt x="62125" y="388751"/>
                      </a:lnTo>
                      <a:lnTo>
                        <a:pt x="60878" y="389305"/>
                      </a:lnTo>
                      <a:lnTo>
                        <a:pt x="59126" y="389411"/>
                      </a:lnTo>
                      <a:lnTo>
                        <a:pt x="58971" y="387202"/>
                      </a:lnTo>
                      <a:lnTo>
                        <a:pt x="59110" y="385800"/>
                      </a:lnTo>
                      <a:lnTo>
                        <a:pt x="59004" y="383649"/>
                      </a:lnTo>
                      <a:lnTo>
                        <a:pt x="58572" y="381025"/>
                      </a:lnTo>
                      <a:lnTo>
                        <a:pt x="57154" y="380177"/>
                      </a:lnTo>
                      <a:lnTo>
                        <a:pt x="56078" y="379835"/>
                      </a:lnTo>
                      <a:lnTo>
                        <a:pt x="53511" y="380006"/>
                      </a:lnTo>
                      <a:lnTo>
                        <a:pt x="51751" y="380291"/>
                      </a:lnTo>
                      <a:lnTo>
                        <a:pt x="50911" y="381057"/>
                      </a:lnTo>
                      <a:lnTo>
                        <a:pt x="49966" y="382980"/>
                      </a:lnTo>
                      <a:lnTo>
                        <a:pt x="49949" y="388848"/>
                      </a:lnTo>
                      <a:lnTo>
                        <a:pt x="48678" y="387169"/>
                      </a:lnTo>
                      <a:lnTo>
                        <a:pt x="47236" y="383649"/>
                      </a:lnTo>
                      <a:lnTo>
                        <a:pt x="46771" y="379908"/>
                      </a:lnTo>
                      <a:lnTo>
                        <a:pt x="47285" y="375483"/>
                      </a:lnTo>
                      <a:lnTo>
                        <a:pt x="50031" y="373796"/>
                      </a:lnTo>
                      <a:lnTo>
                        <a:pt x="49819" y="370813"/>
                      </a:lnTo>
                      <a:lnTo>
                        <a:pt x="49233" y="368229"/>
                      </a:lnTo>
                      <a:lnTo>
                        <a:pt x="46177" y="361604"/>
                      </a:lnTo>
                      <a:lnTo>
                        <a:pt x="44978" y="358580"/>
                      </a:lnTo>
                      <a:lnTo>
                        <a:pt x="42387" y="356535"/>
                      </a:lnTo>
                      <a:lnTo>
                        <a:pt x="40366" y="351588"/>
                      </a:lnTo>
                      <a:lnTo>
                        <a:pt x="38320" y="349803"/>
                      </a:lnTo>
                      <a:lnTo>
                        <a:pt x="37472" y="346339"/>
                      </a:lnTo>
                      <a:lnTo>
                        <a:pt x="35484" y="343585"/>
                      </a:lnTo>
                      <a:lnTo>
                        <a:pt x="34807" y="339216"/>
                      </a:lnTo>
                      <a:lnTo>
                        <a:pt x="35916" y="336714"/>
                      </a:lnTo>
                      <a:lnTo>
                        <a:pt x="37644" y="335345"/>
                      </a:lnTo>
                      <a:lnTo>
                        <a:pt x="39412" y="337521"/>
                      </a:lnTo>
                      <a:lnTo>
                        <a:pt x="41604" y="336674"/>
                      </a:lnTo>
                      <a:lnTo>
                        <a:pt x="44734" y="333520"/>
                      </a:lnTo>
                      <a:lnTo>
                        <a:pt x="46584" y="328736"/>
                      </a:lnTo>
                      <a:lnTo>
                        <a:pt x="46706" y="321091"/>
                      </a:lnTo>
                      <a:lnTo>
                        <a:pt x="46225" y="316316"/>
                      </a:lnTo>
                      <a:lnTo>
                        <a:pt x="43740" y="304010"/>
                      </a:lnTo>
                      <a:lnTo>
                        <a:pt x="42566" y="301190"/>
                      </a:lnTo>
                      <a:lnTo>
                        <a:pt x="36983" y="292388"/>
                      </a:lnTo>
                      <a:lnTo>
                        <a:pt x="30504" y="280644"/>
                      </a:lnTo>
                      <a:lnTo>
                        <a:pt x="22314" y="262153"/>
                      </a:lnTo>
                      <a:lnTo>
                        <a:pt x="18394" y="251061"/>
                      </a:lnTo>
                      <a:lnTo>
                        <a:pt x="12461" y="228747"/>
                      </a:lnTo>
                      <a:lnTo>
                        <a:pt x="7237" y="216147"/>
                      </a:lnTo>
                      <a:lnTo>
                        <a:pt x="823" y="204420"/>
                      </a:lnTo>
                      <a:lnTo>
                        <a:pt x="0" y="203654"/>
                      </a:lnTo>
                      <a:lnTo>
                        <a:pt x="978" y="202211"/>
                      </a:lnTo>
                      <a:lnTo>
                        <a:pt x="4425" y="199514"/>
                      </a:lnTo>
                      <a:lnTo>
                        <a:pt x="5998" y="198772"/>
                      </a:lnTo>
                      <a:lnTo>
                        <a:pt x="6830" y="199114"/>
                      </a:lnTo>
                      <a:lnTo>
                        <a:pt x="7644" y="198364"/>
                      </a:lnTo>
                      <a:lnTo>
                        <a:pt x="8435" y="196539"/>
                      </a:lnTo>
                      <a:lnTo>
                        <a:pt x="8606" y="194811"/>
                      </a:lnTo>
                      <a:lnTo>
                        <a:pt x="8989" y="192383"/>
                      </a:lnTo>
                      <a:lnTo>
                        <a:pt x="9771" y="190932"/>
                      </a:lnTo>
                      <a:lnTo>
                        <a:pt x="10619" y="188039"/>
                      </a:lnTo>
                      <a:lnTo>
                        <a:pt x="12053" y="186189"/>
                      </a:lnTo>
                      <a:lnTo>
                        <a:pt x="15101" y="184966"/>
                      </a:lnTo>
                      <a:lnTo>
                        <a:pt x="17408" y="186588"/>
                      </a:lnTo>
                      <a:lnTo>
                        <a:pt x="18378" y="188185"/>
                      </a:lnTo>
                      <a:lnTo>
                        <a:pt x="18785" y="190288"/>
                      </a:lnTo>
                      <a:lnTo>
                        <a:pt x="19804" y="191307"/>
                      </a:lnTo>
                      <a:lnTo>
                        <a:pt x="21442" y="191242"/>
                      </a:lnTo>
                      <a:lnTo>
                        <a:pt x="22607" y="192537"/>
                      </a:lnTo>
                      <a:lnTo>
                        <a:pt x="23276" y="195202"/>
                      </a:lnTo>
                      <a:lnTo>
                        <a:pt x="23137" y="197142"/>
                      </a:lnTo>
                      <a:lnTo>
                        <a:pt x="22208" y="198332"/>
                      </a:lnTo>
                      <a:lnTo>
                        <a:pt x="22347" y="199913"/>
                      </a:lnTo>
                      <a:lnTo>
                        <a:pt x="23536" y="201869"/>
                      </a:lnTo>
                      <a:lnTo>
                        <a:pt x="24033" y="203735"/>
                      </a:lnTo>
                      <a:lnTo>
                        <a:pt x="24832" y="206196"/>
                      </a:lnTo>
                      <a:lnTo>
                        <a:pt x="29021" y="207631"/>
                      </a:lnTo>
                      <a:lnTo>
                        <a:pt x="31067" y="208438"/>
                      </a:lnTo>
                      <a:lnTo>
                        <a:pt x="34604" y="208715"/>
                      </a:lnTo>
                      <a:lnTo>
                        <a:pt x="37945" y="209815"/>
                      </a:lnTo>
                      <a:lnTo>
                        <a:pt x="41083" y="211738"/>
                      </a:lnTo>
                      <a:lnTo>
                        <a:pt x="46242" y="212195"/>
                      </a:lnTo>
                      <a:lnTo>
                        <a:pt x="53429" y="211217"/>
                      </a:lnTo>
                      <a:lnTo>
                        <a:pt x="59338" y="211665"/>
                      </a:lnTo>
                      <a:lnTo>
                        <a:pt x="63984" y="213539"/>
                      </a:lnTo>
                      <a:lnTo>
                        <a:pt x="67349" y="213882"/>
                      </a:lnTo>
                      <a:lnTo>
                        <a:pt x="69436" y="212700"/>
                      </a:lnTo>
                      <a:lnTo>
                        <a:pt x="70332" y="210980"/>
                      </a:lnTo>
                      <a:lnTo>
                        <a:pt x="70055" y="208731"/>
                      </a:lnTo>
                      <a:lnTo>
                        <a:pt x="71090" y="207321"/>
                      </a:lnTo>
                      <a:lnTo>
                        <a:pt x="73437" y="206710"/>
                      </a:lnTo>
                      <a:lnTo>
                        <a:pt x="75311" y="205039"/>
                      </a:lnTo>
                      <a:lnTo>
                        <a:pt x="76722" y="202260"/>
                      </a:lnTo>
                      <a:lnTo>
                        <a:pt x="79981" y="200003"/>
                      </a:lnTo>
                      <a:lnTo>
                        <a:pt x="85100" y="198275"/>
                      </a:lnTo>
                      <a:lnTo>
                        <a:pt x="87642" y="198332"/>
                      </a:lnTo>
                      <a:lnTo>
                        <a:pt x="87642" y="193841"/>
                      </a:lnTo>
                      <a:lnTo>
                        <a:pt x="87642" y="179694"/>
                      </a:lnTo>
                      <a:lnTo>
                        <a:pt x="87642" y="165578"/>
                      </a:lnTo>
                      <a:lnTo>
                        <a:pt x="87642" y="151479"/>
                      </a:lnTo>
                      <a:lnTo>
                        <a:pt x="87642" y="137413"/>
                      </a:lnTo>
                      <a:lnTo>
                        <a:pt x="87642" y="123362"/>
                      </a:lnTo>
                      <a:lnTo>
                        <a:pt x="87642" y="109337"/>
                      </a:lnTo>
                      <a:lnTo>
                        <a:pt x="87642" y="95352"/>
                      </a:lnTo>
                      <a:lnTo>
                        <a:pt x="87642" y="82157"/>
                      </a:lnTo>
                      <a:lnTo>
                        <a:pt x="88832" y="83103"/>
                      </a:lnTo>
                      <a:lnTo>
                        <a:pt x="96689" y="90095"/>
                      </a:lnTo>
                      <a:lnTo>
                        <a:pt x="98807" y="93771"/>
                      </a:lnTo>
                      <a:lnTo>
                        <a:pt x="99867" y="96102"/>
                      </a:lnTo>
                      <a:lnTo>
                        <a:pt x="103241" y="104602"/>
                      </a:lnTo>
                      <a:lnTo>
                        <a:pt x="105759" y="112214"/>
                      </a:lnTo>
                      <a:lnTo>
                        <a:pt x="107804" y="117967"/>
                      </a:lnTo>
                      <a:lnTo>
                        <a:pt x="107968" y="120592"/>
                      </a:lnTo>
                      <a:lnTo>
                        <a:pt x="108245" y="123159"/>
                      </a:lnTo>
                      <a:lnTo>
                        <a:pt x="108538" y="124430"/>
                      </a:lnTo>
                      <a:lnTo>
                        <a:pt x="108359" y="125832"/>
                      </a:lnTo>
                      <a:lnTo>
                        <a:pt x="106916" y="128953"/>
                      </a:lnTo>
                      <a:lnTo>
                        <a:pt x="105433" y="131349"/>
                      </a:lnTo>
                      <a:lnTo>
                        <a:pt x="103681" y="134634"/>
                      </a:lnTo>
                      <a:lnTo>
                        <a:pt x="103510" y="138961"/>
                      </a:lnTo>
                      <a:lnTo>
                        <a:pt x="104039" y="144055"/>
                      </a:lnTo>
                      <a:lnTo>
                        <a:pt x="105123" y="146597"/>
                      </a:lnTo>
                      <a:lnTo>
                        <a:pt x="106484" y="147437"/>
                      </a:lnTo>
                      <a:lnTo>
                        <a:pt x="109728" y="146165"/>
                      </a:lnTo>
                      <a:lnTo>
                        <a:pt x="111790" y="146557"/>
                      </a:lnTo>
                      <a:lnTo>
                        <a:pt x="114683" y="147527"/>
                      </a:lnTo>
                      <a:lnTo>
                        <a:pt x="124210" y="146940"/>
                      </a:lnTo>
                      <a:lnTo>
                        <a:pt x="125367" y="147241"/>
                      </a:lnTo>
                      <a:lnTo>
                        <a:pt x="128961" y="147600"/>
                      </a:lnTo>
                      <a:lnTo>
                        <a:pt x="130151" y="147184"/>
                      </a:lnTo>
                      <a:lnTo>
                        <a:pt x="131227" y="146100"/>
                      </a:lnTo>
                      <a:lnTo>
                        <a:pt x="132474" y="143044"/>
                      </a:lnTo>
                      <a:lnTo>
                        <a:pt x="133590" y="142034"/>
                      </a:lnTo>
                      <a:lnTo>
                        <a:pt x="135612" y="141528"/>
                      </a:lnTo>
                      <a:lnTo>
                        <a:pt x="137991" y="140705"/>
                      </a:lnTo>
                      <a:lnTo>
                        <a:pt x="139980" y="138937"/>
                      </a:lnTo>
                      <a:lnTo>
                        <a:pt x="143117" y="132890"/>
                      </a:lnTo>
                      <a:lnTo>
                        <a:pt x="149401" y="127535"/>
                      </a:lnTo>
                      <a:lnTo>
                        <a:pt x="151332" y="126256"/>
                      </a:lnTo>
                      <a:lnTo>
                        <a:pt x="152538" y="124813"/>
                      </a:lnTo>
                      <a:lnTo>
                        <a:pt x="153598" y="122873"/>
                      </a:lnTo>
                      <a:lnTo>
                        <a:pt x="155806" y="116134"/>
                      </a:lnTo>
                      <a:lnTo>
                        <a:pt x="157469" y="110519"/>
                      </a:lnTo>
                      <a:lnTo>
                        <a:pt x="158031" y="107878"/>
                      </a:lnTo>
                      <a:lnTo>
                        <a:pt x="159515" y="103559"/>
                      </a:lnTo>
                      <a:lnTo>
                        <a:pt x="161316" y="100804"/>
                      </a:lnTo>
                      <a:lnTo>
                        <a:pt x="163084" y="99337"/>
                      </a:lnTo>
                      <a:lnTo>
                        <a:pt x="163948" y="98970"/>
                      </a:lnTo>
                      <a:lnTo>
                        <a:pt x="166214" y="98229"/>
                      </a:lnTo>
                      <a:lnTo>
                        <a:pt x="169115" y="97536"/>
                      </a:lnTo>
                      <a:lnTo>
                        <a:pt x="172180" y="98318"/>
                      </a:lnTo>
                      <a:lnTo>
                        <a:pt x="175448" y="99989"/>
                      </a:lnTo>
                      <a:lnTo>
                        <a:pt x="179155" y="102801"/>
                      </a:lnTo>
                      <a:lnTo>
                        <a:pt x="182945" y="106289"/>
                      </a:lnTo>
                      <a:lnTo>
                        <a:pt x="184689" y="108074"/>
                      </a:lnTo>
                      <a:lnTo>
                        <a:pt x="186563" y="108856"/>
                      </a:lnTo>
                      <a:lnTo>
                        <a:pt x="189897" y="109133"/>
                      </a:lnTo>
                      <a:lnTo>
                        <a:pt x="192106" y="109068"/>
                      </a:lnTo>
                      <a:lnTo>
                        <a:pt x="195520" y="112532"/>
                      </a:lnTo>
                      <a:lnTo>
                        <a:pt x="197248" y="112744"/>
                      </a:lnTo>
                      <a:lnTo>
                        <a:pt x="201111" y="113803"/>
                      </a:lnTo>
                      <a:lnTo>
                        <a:pt x="205878" y="114879"/>
                      </a:lnTo>
                      <a:lnTo>
                        <a:pt x="208878" y="114756"/>
                      </a:lnTo>
                      <a:lnTo>
                        <a:pt x="212097" y="112890"/>
                      </a:lnTo>
                      <a:lnTo>
                        <a:pt x="214419" y="112800"/>
                      </a:lnTo>
                      <a:lnTo>
                        <a:pt x="217418" y="112955"/>
                      </a:lnTo>
                      <a:lnTo>
                        <a:pt x="220711" y="112450"/>
                      </a:lnTo>
                      <a:lnTo>
                        <a:pt x="223131" y="111643"/>
                      </a:lnTo>
                      <a:lnTo>
                        <a:pt x="224982" y="110013"/>
                      </a:lnTo>
                      <a:lnTo>
                        <a:pt x="226611" y="108237"/>
                      </a:lnTo>
                      <a:lnTo>
                        <a:pt x="228478" y="102939"/>
                      </a:lnTo>
                      <a:lnTo>
                        <a:pt x="229561" y="98677"/>
                      </a:lnTo>
                      <a:lnTo>
                        <a:pt x="231224" y="93771"/>
                      </a:lnTo>
                      <a:lnTo>
                        <a:pt x="233278" y="87137"/>
                      </a:lnTo>
                      <a:lnTo>
                        <a:pt x="234003" y="82524"/>
                      </a:lnTo>
                      <a:lnTo>
                        <a:pt x="234753" y="81253"/>
                      </a:lnTo>
                      <a:lnTo>
                        <a:pt x="237720" y="79835"/>
                      </a:lnTo>
                      <a:lnTo>
                        <a:pt x="240181" y="78865"/>
                      </a:lnTo>
                      <a:lnTo>
                        <a:pt x="246790" y="77056"/>
                      </a:lnTo>
                      <a:lnTo>
                        <a:pt x="248143" y="76078"/>
                      </a:lnTo>
                      <a:lnTo>
                        <a:pt x="249374" y="73894"/>
                      </a:lnTo>
                      <a:lnTo>
                        <a:pt x="252259" y="70210"/>
                      </a:lnTo>
                      <a:lnTo>
                        <a:pt x="255820" y="67121"/>
                      </a:lnTo>
                      <a:lnTo>
                        <a:pt x="257654" y="65369"/>
                      </a:lnTo>
                      <a:lnTo>
                        <a:pt x="261011" y="50431"/>
                      </a:lnTo>
                      <a:lnTo>
                        <a:pt x="261419" y="48581"/>
                      </a:lnTo>
                      <a:lnTo>
                        <a:pt x="263864" y="44620"/>
                      </a:lnTo>
                      <a:lnTo>
                        <a:pt x="265380" y="42957"/>
                      </a:lnTo>
                      <a:lnTo>
                        <a:pt x="266341" y="42925"/>
                      </a:lnTo>
                      <a:lnTo>
                        <a:pt x="267735" y="41882"/>
                      </a:lnTo>
                      <a:lnTo>
                        <a:pt x="269520" y="39820"/>
                      </a:lnTo>
                      <a:lnTo>
                        <a:pt x="271647" y="38557"/>
                      </a:lnTo>
                      <a:lnTo>
                        <a:pt x="274124" y="38076"/>
                      </a:lnTo>
                      <a:lnTo>
                        <a:pt x="275722" y="36715"/>
                      </a:lnTo>
                      <a:lnTo>
                        <a:pt x="276447" y="34473"/>
                      </a:lnTo>
                      <a:lnTo>
                        <a:pt x="277727" y="33373"/>
                      </a:lnTo>
                      <a:lnTo>
                        <a:pt x="279528" y="33438"/>
                      </a:lnTo>
                      <a:lnTo>
                        <a:pt x="280562" y="32721"/>
                      </a:lnTo>
                      <a:lnTo>
                        <a:pt x="280815" y="31230"/>
                      </a:lnTo>
                      <a:lnTo>
                        <a:pt x="281899" y="29950"/>
                      </a:lnTo>
                      <a:lnTo>
                        <a:pt x="283839" y="28891"/>
                      </a:lnTo>
                      <a:lnTo>
                        <a:pt x="284849" y="27636"/>
                      </a:lnTo>
                      <a:lnTo>
                        <a:pt x="284947" y="26185"/>
                      </a:lnTo>
                      <a:lnTo>
                        <a:pt x="287245" y="22648"/>
                      </a:lnTo>
                      <a:lnTo>
                        <a:pt x="291768" y="17041"/>
                      </a:lnTo>
                      <a:lnTo>
                        <a:pt x="296023" y="13920"/>
                      </a:lnTo>
                      <a:lnTo>
                        <a:pt x="300016" y="13276"/>
                      </a:lnTo>
                      <a:lnTo>
                        <a:pt x="303797" y="12119"/>
                      </a:lnTo>
                      <a:lnTo>
                        <a:pt x="307375" y="10415"/>
                      </a:lnTo>
                      <a:lnTo>
                        <a:pt x="309999" y="7742"/>
                      </a:lnTo>
                      <a:lnTo>
                        <a:pt x="311679" y="4124"/>
                      </a:lnTo>
                      <a:lnTo>
                        <a:pt x="314572" y="2103"/>
                      </a:lnTo>
                      <a:lnTo>
                        <a:pt x="320398" y="1492"/>
                      </a:lnTo>
                      <a:lnTo>
                        <a:pt x="320708" y="1459"/>
                      </a:lnTo>
                      <a:lnTo>
                        <a:pt x="327790" y="0"/>
                      </a:lnTo>
                      <a:lnTo>
                        <a:pt x="333732" y="1190"/>
                      </a:lnTo>
                      <a:lnTo>
                        <a:pt x="340854" y="4507"/>
                      </a:lnTo>
                      <a:close/>
                      <a:moveTo>
                        <a:pt x="282323" y="212936"/>
                      </a:moveTo>
                      <a:lnTo>
                        <a:pt x="279968" y="213914"/>
                      </a:lnTo>
                      <a:lnTo>
                        <a:pt x="278101" y="217329"/>
                      </a:lnTo>
                      <a:lnTo>
                        <a:pt x="276357" y="220524"/>
                      </a:lnTo>
                      <a:lnTo>
                        <a:pt x="274793" y="223384"/>
                      </a:lnTo>
                      <a:lnTo>
                        <a:pt x="273912" y="224680"/>
                      </a:lnTo>
                      <a:lnTo>
                        <a:pt x="273081" y="225519"/>
                      </a:lnTo>
                      <a:lnTo>
                        <a:pt x="272250" y="227353"/>
                      </a:lnTo>
                      <a:lnTo>
                        <a:pt x="270571" y="230409"/>
                      </a:lnTo>
                      <a:lnTo>
                        <a:pt x="269031" y="232455"/>
                      </a:lnTo>
                      <a:lnTo>
                        <a:pt x="266863" y="233571"/>
                      </a:lnTo>
                      <a:lnTo>
                        <a:pt x="264084" y="235030"/>
                      </a:lnTo>
                      <a:lnTo>
                        <a:pt x="263130" y="235870"/>
                      </a:lnTo>
                      <a:lnTo>
                        <a:pt x="263000" y="237100"/>
                      </a:lnTo>
                      <a:lnTo>
                        <a:pt x="263986" y="239969"/>
                      </a:lnTo>
                      <a:lnTo>
                        <a:pt x="264956" y="242756"/>
                      </a:lnTo>
                      <a:lnTo>
                        <a:pt x="266504" y="245992"/>
                      </a:lnTo>
                      <a:lnTo>
                        <a:pt x="267662" y="248363"/>
                      </a:lnTo>
                      <a:lnTo>
                        <a:pt x="269471" y="251256"/>
                      </a:lnTo>
                      <a:lnTo>
                        <a:pt x="270538" y="252960"/>
                      </a:lnTo>
                      <a:lnTo>
                        <a:pt x="270392" y="255812"/>
                      </a:lnTo>
                      <a:lnTo>
                        <a:pt x="270750" y="256839"/>
                      </a:lnTo>
                      <a:lnTo>
                        <a:pt x="271354" y="258021"/>
                      </a:lnTo>
                      <a:lnTo>
                        <a:pt x="271851" y="258322"/>
                      </a:lnTo>
                      <a:lnTo>
                        <a:pt x="272421" y="258738"/>
                      </a:lnTo>
                      <a:lnTo>
                        <a:pt x="273920" y="259569"/>
                      </a:lnTo>
                      <a:lnTo>
                        <a:pt x="274279" y="260107"/>
                      </a:lnTo>
                      <a:lnTo>
                        <a:pt x="275339" y="261077"/>
                      </a:lnTo>
                      <a:lnTo>
                        <a:pt x="276341" y="262853"/>
                      </a:lnTo>
                      <a:lnTo>
                        <a:pt x="278248" y="265307"/>
                      </a:lnTo>
                      <a:lnTo>
                        <a:pt x="280391" y="267165"/>
                      </a:lnTo>
                      <a:lnTo>
                        <a:pt x="284083" y="267939"/>
                      </a:lnTo>
                      <a:lnTo>
                        <a:pt x="286968" y="268517"/>
                      </a:lnTo>
                      <a:lnTo>
                        <a:pt x="287930" y="268159"/>
                      </a:lnTo>
                      <a:lnTo>
                        <a:pt x="288900" y="266659"/>
                      </a:lnTo>
                      <a:lnTo>
                        <a:pt x="289706" y="264752"/>
                      </a:lnTo>
                      <a:lnTo>
                        <a:pt x="289959" y="262332"/>
                      </a:lnTo>
                      <a:lnTo>
                        <a:pt x="290880" y="261052"/>
                      </a:lnTo>
                      <a:lnTo>
                        <a:pt x="294344" y="254891"/>
                      </a:lnTo>
                      <a:lnTo>
                        <a:pt x="296235" y="252617"/>
                      </a:lnTo>
                      <a:lnTo>
                        <a:pt x="297400" y="252454"/>
                      </a:lnTo>
                      <a:lnTo>
                        <a:pt x="298908" y="252014"/>
                      </a:lnTo>
                      <a:lnTo>
                        <a:pt x="300815" y="251827"/>
                      </a:lnTo>
                      <a:lnTo>
                        <a:pt x="302241" y="252014"/>
                      </a:lnTo>
                      <a:lnTo>
                        <a:pt x="302559" y="251941"/>
                      </a:lnTo>
                      <a:lnTo>
                        <a:pt x="304792" y="251142"/>
                      </a:lnTo>
                      <a:lnTo>
                        <a:pt x="308859" y="249097"/>
                      </a:lnTo>
                      <a:lnTo>
                        <a:pt x="310709" y="247858"/>
                      </a:lnTo>
                      <a:lnTo>
                        <a:pt x="312037" y="246839"/>
                      </a:lnTo>
                      <a:lnTo>
                        <a:pt x="313748" y="245274"/>
                      </a:lnTo>
                      <a:lnTo>
                        <a:pt x="314343" y="241501"/>
                      </a:lnTo>
                      <a:lnTo>
                        <a:pt x="314841" y="238282"/>
                      </a:lnTo>
                      <a:lnTo>
                        <a:pt x="316152" y="236709"/>
                      </a:lnTo>
                      <a:lnTo>
                        <a:pt x="317497" y="235658"/>
                      </a:lnTo>
                      <a:lnTo>
                        <a:pt x="318598" y="233995"/>
                      </a:lnTo>
                      <a:lnTo>
                        <a:pt x="319967" y="230002"/>
                      </a:lnTo>
                      <a:lnTo>
                        <a:pt x="320912" y="226090"/>
                      </a:lnTo>
                      <a:lnTo>
                        <a:pt x="321010" y="224493"/>
                      </a:lnTo>
                      <a:lnTo>
                        <a:pt x="320521" y="222846"/>
                      </a:lnTo>
                      <a:lnTo>
                        <a:pt x="319657" y="221102"/>
                      </a:lnTo>
                      <a:lnTo>
                        <a:pt x="318801" y="218739"/>
                      </a:lnTo>
                      <a:lnTo>
                        <a:pt x="317766" y="218372"/>
                      </a:lnTo>
                      <a:lnTo>
                        <a:pt x="315745" y="217052"/>
                      </a:lnTo>
                      <a:lnTo>
                        <a:pt x="312770" y="214403"/>
                      </a:lnTo>
                      <a:lnTo>
                        <a:pt x="310179" y="212081"/>
                      </a:lnTo>
                      <a:lnTo>
                        <a:pt x="307766" y="208731"/>
                      </a:lnTo>
                      <a:lnTo>
                        <a:pt x="306772" y="208185"/>
                      </a:lnTo>
                      <a:lnTo>
                        <a:pt x="304425" y="205911"/>
                      </a:lnTo>
                      <a:lnTo>
                        <a:pt x="303423" y="204599"/>
                      </a:lnTo>
                      <a:lnTo>
                        <a:pt x="302706" y="203051"/>
                      </a:lnTo>
                      <a:lnTo>
                        <a:pt x="302037" y="202537"/>
                      </a:lnTo>
                      <a:lnTo>
                        <a:pt x="300994" y="202936"/>
                      </a:lnTo>
                      <a:lnTo>
                        <a:pt x="298231" y="203629"/>
                      </a:lnTo>
                      <a:lnTo>
                        <a:pt x="292290" y="206351"/>
                      </a:lnTo>
                      <a:lnTo>
                        <a:pt x="288631" y="208869"/>
                      </a:lnTo>
                      <a:lnTo>
                        <a:pt x="285534" y="211852"/>
                      </a:lnTo>
                      <a:lnTo>
                        <a:pt x="282323" y="212936"/>
                      </a:lnTo>
                      <a:close/>
                    </a:path>
                  </a:pathLst>
                </a:custGeom>
                <a:solidFill>
                  <a:srgbClr val="D6D6D2"/>
                </a:solidFill>
                <a:ln w="6112" cap="rnd">
                  <a:solidFill>
                    <a:srgbClr val="FFFFFF"/>
                  </a:solidFill>
                  <a:prstDash val="solid"/>
                  <a:round/>
                </a:ln>
              </p:spPr>
              <p:txBody>
                <a:bodyPr rtlCol="0" anchor="ctr"/>
                <a:lstStyle/>
                <a:p>
                  <a:endParaRPr lang="en-US"/>
                </a:p>
              </p:txBody>
            </p:sp>
            <p:sp>
              <p:nvSpPr>
                <p:cNvPr id="548" name="Freeform: Shape 547">
                  <a:extLst>
                    <a:ext uri="{FF2B5EF4-FFF2-40B4-BE49-F238E27FC236}">
                      <a16:creationId xmlns:a16="http://schemas.microsoft.com/office/drawing/2014/main" id="{CE26508A-D19B-47CE-800E-EF91469FC8C2}"/>
                    </a:ext>
                  </a:extLst>
                </p:cNvPr>
                <p:cNvSpPr/>
                <p:nvPr/>
              </p:nvSpPr>
              <p:spPr>
                <a:xfrm>
                  <a:off x="7001687" y="3950503"/>
                  <a:ext cx="293936" cy="203751"/>
                </a:xfrm>
                <a:custGeom>
                  <a:avLst/>
                  <a:gdLst>
                    <a:gd name="connsiteX0" fmla="*/ 275396 w 293936"/>
                    <a:gd name="connsiteY0" fmla="*/ 194127 h 203751"/>
                    <a:gd name="connsiteX1" fmla="*/ 276928 w 293936"/>
                    <a:gd name="connsiteY1" fmla="*/ 194485 h 203751"/>
                    <a:gd name="connsiteX2" fmla="*/ 279251 w 293936"/>
                    <a:gd name="connsiteY2" fmla="*/ 193442 h 203751"/>
                    <a:gd name="connsiteX3" fmla="*/ 285909 w 293936"/>
                    <a:gd name="connsiteY3" fmla="*/ 193303 h 203751"/>
                    <a:gd name="connsiteX4" fmla="*/ 293937 w 293936"/>
                    <a:gd name="connsiteY4" fmla="*/ 196677 h 203751"/>
                    <a:gd name="connsiteX5" fmla="*/ 292429 w 293936"/>
                    <a:gd name="connsiteY5" fmla="*/ 197558 h 203751"/>
                    <a:gd name="connsiteX6" fmla="*/ 291524 w 293936"/>
                    <a:gd name="connsiteY6" fmla="*/ 198780 h 203751"/>
                    <a:gd name="connsiteX7" fmla="*/ 287987 w 293936"/>
                    <a:gd name="connsiteY7" fmla="*/ 199889 h 203751"/>
                    <a:gd name="connsiteX8" fmla="*/ 284467 w 293936"/>
                    <a:gd name="connsiteY8" fmla="*/ 202488 h 203751"/>
                    <a:gd name="connsiteX9" fmla="*/ 274280 w 293936"/>
                    <a:gd name="connsiteY9" fmla="*/ 203752 h 203751"/>
                    <a:gd name="connsiteX10" fmla="*/ 271289 w 293936"/>
                    <a:gd name="connsiteY10" fmla="*/ 203051 h 203751"/>
                    <a:gd name="connsiteX11" fmla="*/ 268835 w 293936"/>
                    <a:gd name="connsiteY11" fmla="*/ 200532 h 203751"/>
                    <a:gd name="connsiteX12" fmla="*/ 264288 w 293936"/>
                    <a:gd name="connsiteY12" fmla="*/ 197264 h 203751"/>
                    <a:gd name="connsiteX13" fmla="*/ 266089 w 293936"/>
                    <a:gd name="connsiteY13" fmla="*/ 195186 h 203751"/>
                    <a:gd name="connsiteX14" fmla="*/ 266472 w 293936"/>
                    <a:gd name="connsiteY14" fmla="*/ 194233 h 203751"/>
                    <a:gd name="connsiteX15" fmla="*/ 267132 w 293936"/>
                    <a:gd name="connsiteY15" fmla="*/ 193312 h 203751"/>
                    <a:gd name="connsiteX16" fmla="*/ 269716 w 293936"/>
                    <a:gd name="connsiteY16" fmla="*/ 191731 h 203751"/>
                    <a:gd name="connsiteX17" fmla="*/ 272274 w 293936"/>
                    <a:gd name="connsiteY17" fmla="*/ 191983 h 203751"/>
                    <a:gd name="connsiteX18" fmla="*/ 275396 w 293936"/>
                    <a:gd name="connsiteY18" fmla="*/ 194127 h 203751"/>
                    <a:gd name="connsiteX19" fmla="*/ 254076 w 293936"/>
                    <a:gd name="connsiteY19" fmla="*/ 59933 h 203751"/>
                    <a:gd name="connsiteX20" fmla="*/ 255584 w 293936"/>
                    <a:gd name="connsiteY20" fmla="*/ 63967 h 203751"/>
                    <a:gd name="connsiteX21" fmla="*/ 257092 w 293936"/>
                    <a:gd name="connsiteY21" fmla="*/ 68001 h 203751"/>
                    <a:gd name="connsiteX22" fmla="*/ 258599 w 293936"/>
                    <a:gd name="connsiteY22" fmla="*/ 72035 h 203751"/>
                    <a:gd name="connsiteX23" fmla="*/ 246098 w 293936"/>
                    <a:gd name="connsiteY23" fmla="*/ 77471 h 203751"/>
                    <a:gd name="connsiteX24" fmla="*/ 242805 w 293936"/>
                    <a:gd name="connsiteY24" fmla="*/ 79884 h 203751"/>
                    <a:gd name="connsiteX25" fmla="*/ 239806 w 293936"/>
                    <a:gd name="connsiteY25" fmla="*/ 82875 h 203751"/>
                    <a:gd name="connsiteX26" fmla="*/ 237565 w 293936"/>
                    <a:gd name="connsiteY26" fmla="*/ 86607 h 203751"/>
                    <a:gd name="connsiteX27" fmla="*/ 236000 w 293936"/>
                    <a:gd name="connsiteY27" fmla="*/ 93160 h 203751"/>
                    <a:gd name="connsiteX28" fmla="*/ 237190 w 293936"/>
                    <a:gd name="connsiteY28" fmla="*/ 99142 h 203751"/>
                    <a:gd name="connsiteX29" fmla="*/ 237067 w 293936"/>
                    <a:gd name="connsiteY29" fmla="*/ 102352 h 203751"/>
                    <a:gd name="connsiteX30" fmla="*/ 233840 w 293936"/>
                    <a:gd name="connsiteY30" fmla="*/ 104480 h 203751"/>
                    <a:gd name="connsiteX31" fmla="*/ 230825 w 293936"/>
                    <a:gd name="connsiteY31" fmla="*/ 106012 h 203751"/>
                    <a:gd name="connsiteX32" fmla="*/ 227476 w 293936"/>
                    <a:gd name="connsiteY32" fmla="*/ 108343 h 203751"/>
                    <a:gd name="connsiteX33" fmla="*/ 225446 w 293936"/>
                    <a:gd name="connsiteY33" fmla="*/ 108921 h 203751"/>
                    <a:gd name="connsiteX34" fmla="*/ 223775 w 293936"/>
                    <a:gd name="connsiteY34" fmla="*/ 110787 h 203751"/>
                    <a:gd name="connsiteX35" fmla="*/ 221844 w 293936"/>
                    <a:gd name="connsiteY35" fmla="*/ 112075 h 203751"/>
                    <a:gd name="connsiteX36" fmla="*/ 214884 w 293936"/>
                    <a:gd name="connsiteY36" fmla="*/ 115449 h 203751"/>
                    <a:gd name="connsiteX37" fmla="*/ 207256 w 293936"/>
                    <a:gd name="connsiteY37" fmla="*/ 118057 h 203751"/>
                    <a:gd name="connsiteX38" fmla="*/ 195154 w 293936"/>
                    <a:gd name="connsiteY38" fmla="*/ 121178 h 203751"/>
                    <a:gd name="connsiteX39" fmla="*/ 190476 w 293936"/>
                    <a:gd name="connsiteY39" fmla="*/ 124569 h 203751"/>
                    <a:gd name="connsiteX40" fmla="*/ 186222 w 293936"/>
                    <a:gd name="connsiteY40" fmla="*/ 126883 h 203751"/>
                    <a:gd name="connsiteX41" fmla="*/ 179759 w 293936"/>
                    <a:gd name="connsiteY41" fmla="*/ 127576 h 203751"/>
                    <a:gd name="connsiteX42" fmla="*/ 170892 w 293936"/>
                    <a:gd name="connsiteY42" fmla="*/ 130795 h 203751"/>
                    <a:gd name="connsiteX43" fmla="*/ 165961 w 293936"/>
                    <a:gd name="connsiteY43" fmla="*/ 133370 h 203751"/>
                    <a:gd name="connsiteX44" fmla="*/ 159833 w 293936"/>
                    <a:gd name="connsiteY44" fmla="*/ 137568 h 203751"/>
                    <a:gd name="connsiteX45" fmla="*/ 158472 w 293936"/>
                    <a:gd name="connsiteY45" fmla="*/ 138896 h 203751"/>
                    <a:gd name="connsiteX46" fmla="*/ 157396 w 293936"/>
                    <a:gd name="connsiteY46" fmla="*/ 141976 h 203751"/>
                    <a:gd name="connsiteX47" fmla="*/ 155521 w 293936"/>
                    <a:gd name="connsiteY47" fmla="*/ 144641 h 203751"/>
                    <a:gd name="connsiteX48" fmla="*/ 151838 w 293936"/>
                    <a:gd name="connsiteY48" fmla="*/ 149010 h 203751"/>
                    <a:gd name="connsiteX49" fmla="*/ 149059 w 293936"/>
                    <a:gd name="connsiteY49" fmla="*/ 151251 h 203751"/>
                    <a:gd name="connsiteX50" fmla="*/ 147209 w 293936"/>
                    <a:gd name="connsiteY50" fmla="*/ 151373 h 203751"/>
                    <a:gd name="connsiteX51" fmla="*/ 143623 w 293936"/>
                    <a:gd name="connsiteY51" fmla="*/ 152596 h 203751"/>
                    <a:gd name="connsiteX52" fmla="*/ 139377 w 293936"/>
                    <a:gd name="connsiteY52" fmla="*/ 152848 h 203751"/>
                    <a:gd name="connsiteX53" fmla="*/ 132238 w 293936"/>
                    <a:gd name="connsiteY53" fmla="*/ 151316 h 203751"/>
                    <a:gd name="connsiteX54" fmla="*/ 130396 w 293936"/>
                    <a:gd name="connsiteY54" fmla="*/ 152384 h 203751"/>
                    <a:gd name="connsiteX55" fmla="*/ 128888 w 293936"/>
                    <a:gd name="connsiteY55" fmla="*/ 154079 h 203751"/>
                    <a:gd name="connsiteX56" fmla="*/ 123387 w 293936"/>
                    <a:gd name="connsiteY56" fmla="*/ 157070 h 203751"/>
                    <a:gd name="connsiteX57" fmla="*/ 117780 w 293936"/>
                    <a:gd name="connsiteY57" fmla="*/ 163043 h 203751"/>
                    <a:gd name="connsiteX58" fmla="*/ 113689 w 293936"/>
                    <a:gd name="connsiteY58" fmla="*/ 164633 h 203751"/>
                    <a:gd name="connsiteX59" fmla="*/ 107071 w 293936"/>
                    <a:gd name="connsiteY59" fmla="*/ 166515 h 203751"/>
                    <a:gd name="connsiteX60" fmla="*/ 102442 w 293936"/>
                    <a:gd name="connsiteY60" fmla="*/ 169001 h 203751"/>
                    <a:gd name="connsiteX61" fmla="*/ 99329 w 293936"/>
                    <a:gd name="connsiteY61" fmla="*/ 169995 h 203751"/>
                    <a:gd name="connsiteX62" fmla="*/ 95328 w 293936"/>
                    <a:gd name="connsiteY62" fmla="*/ 170517 h 203751"/>
                    <a:gd name="connsiteX63" fmla="*/ 87912 w 293936"/>
                    <a:gd name="connsiteY63" fmla="*/ 170264 h 203751"/>
                    <a:gd name="connsiteX64" fmla="*/ 80894 w 293936"/>
                    <a:gd name="connsiteY64" fmla="*/ 171153 h 203751"/>
                    <a:gd name="connsiteX65" fmla="*/ 74375 w 293936"/>
                    <a:gd name="connsiteY65" fmla="*/ 172848 h 203751"/>
                    <a:gd name="connsiteX66" fmla="*/ 71327 w 293936"/>
                    <a:gd name="connsiteY66" fmla="*/ 176042 h 203751"/>
                    <a:gd name="connsiteX67" fmla="*/ 67839 w 293936"/>
                    <a:gd name="connsiteY67" fmla="*/ 181095 h 203751"/>
                    <a:gd name="connsiteX68" fmla="*/ 62142 w 293936"/>
                    <a:gd name="connsiteY68" fmla="*/ 183181 h 203751"/>
                    <a:gd name="connsiteX69" fmla="*/ 60797 w 293936"/>
                    <a:gd name="connsiteY69" fmla="*/ 184991 h 203751"/>
                    <a:gd name="connsiteX70" fmla="*/ 59037 w 293936"/>
                    <a:gd name="connsiteY70" fmla="*/ 188715 h 203751"/>
                    <a:gd name="connsiteX71" fmla="*/ 55345 w 293936"/>
                    <a:gd name="connsiteY71" fmla="*/ 189677 h 203751"/>
                    <a:gd name="connsiteX72" fmla="*/ 52012 w 293936"/>
                    <a:gd name="connsiteY72" fmla="*/ 190296 h 203751"/>
                    <a:gd name="connsiteX73" fmla="*/ 48597 w 293936"/>
                    <a:gd name="connsiteY73" fmla="*/ 188674 h 203751"/>
                    <a:gd name="connsiteX74" fmla="*/ 42167 w 293936"/>
                    <a:gd name="connsiteY74" fmla="*/ 193165 h 203751"/>
                    <a:gd name="connsiteX75" fmla="*/ 39730 w 293936"/>
                    <a:gd name="connsiteY75" fmla="*/ 193907 h 203751"/>
                    <a:gd name="connsiteX76" fmla="*/ 36047 w 293936"/>
                    <a:gd name="connsiteY76" fmla="*/ 194086 h 203751"/>
                    <a:gd name="connsiteX77" fmla="*/ 33422 w 293936"/>
                    <a:gd name="connsiteY77" fmla="*/ 195023 h 203751"/>
                    <a:gd name="connsiteX78" fmla="*/ 31539 w 293936"/>
                    <a:gd name="connsiteY78" fmla="*/ 194754 h 203751"/>
                    <a:gd name="connsiteX79" fmla="*/ 29201 w 293936"/>
                    <a:gd name="connsiteY79" fmla="*/ 193010 h 203751"/>
                    <a:gd name="connsiteX80" fmla="*/ 24221 w 293936"/>
                    <a:gd name="connsiteY80" fmla="*/ 190883 h 203751"/>
                    <a:gd name="connsiteX81" fmla="*/ 20578 w 293936"/>
                    <a:gd name="connsiteY81" fmla="*/ 192260 h 203751"/>
                    <a:gd name="connsiteX82" fmla="*/ 20277 w 293936"/>
                    <a:gd name="connsiteY82" fmla="*/ 188014 h 203751"/>
                    <a:gd name="connsiteX83" fmla="*/ 14238 w 293936"/>
                    <a:gd name="connsiteY83" fmla="*/ 175032 h 203751"/>
                    <a:gd name="connsiteX84" fmla="*/ 15493 w 293936"/>
                    <a:gd name="connsiteY84" fmla="*/ 163720 h 203751"/>
                    <a:gd name="connsiteX85" fmla="*/ 15485 w 293936"/>
                    <a:gd name="connsiteY85" fmla="*/ 162123 h 203751"/>
                    <a:gd name="connsiteX86" fmla="*/ 14295 w 293936"/>
                    <a:gd name="connsiteY86" fmla="*/ 157070 h 203751"/>
                    <a:gd name="connsiteX87" fmla="*/ 10693 w 293936"/>
                    <a:gd name="connsiteY87" fmla="*/ 152449 h 203751"/>
                    <a:gd name="connsiteX88" fmla="*/ 10798 w 293936"/>
                    <a:gd name="connsiteY88" fmla="*/ 146589 h 203751"/>
                    <a:gd name="connsiteX89" fmla="*/ 9601 w 293936"/>
                    <a:gd name="connsiteY89" fmla="*/ 142392 h 203751"/>
                    <a:gd name="connsiteX90" fmla="*/ 8647 w 293936"/>
                    <a:gd name="connsiteY90" fmla="*/ 138089 h 203751"/>
                    <a:gd name="connsiteX91" fmla="*/ 8957 w 293936"/>
                    <a:gd name="connsiteY91" fmla="*/ 136940 h 203751"/>
                    <a:gd name="connsiteX92" fmla="*/ 9022 w 293936"/>
                    <a:gd name="connsiteY92" fmla="*/ 135905 h 203751"/>
                    <a:gd name="connsiteX93" fmla="*/ 7172 w 293936"/>
                    <a:gd name="connsiteY93" fmla="*/ 129263 h 203751"/>
                    <a:gd name="connsiteX94" fmla="*/ 6553 w 293936"/>
                    <a:gd name="connsiteY94" fmla="*/ 127918 h 203751"/>
                    <a:gd name="connsiteX95" fmla="*/ 6333 w 293936"/>
                    <a:gd name="connsiteY95" fmla="*/ 126525 h 203751"/>
                    <a:gd name="connsiteX96" fmla="*/ 6936 w 293936"/>
                    <a:gd name="connsiteY96" fmla="*/ 125457 h 203751"/>
                    <a:gd name="connsiteX97" fmla="*/ 6919 w 293936"/>
                    <a:gd name="connsiteY97" fmla="*/ 124226 h 203751"/>
                    <a:gd name="connsiteX98" fmla="*/ 5933 w 293936"/>
                    <a:gd name="connsiteY98" fmla="*/ 122181 h 203751"/>
                    <a:gd name="connsiteX99" fmla="*/ 4906 w 293936"/>
                    <a:gd name="connsiteY99" fmla="*/ 118301 h 203751"/>
                    <a:gd name="connsiteX100" fmla="*/ 0 w 293936"/>
                    <a:gd name="connsiteY100" fmla="*/ 115262 h 203751"/>
                    <a:gd name="connsiteX101" fmla="*/ 994 w 293936"/>
                    <a:gd name="connsiteY101" fmla="*/ 112409 h 203751"/>
                    <a:gd name="connsiteX102" fmla="*/ 1948 w 293936"/>
                    <a:gd name="connsiteY102" fmla="*/ 113412 h 203751"/>
                    <a:gd name="connsiteX103" fmla="*/ 3236 w 293936"/>
                    <a:gd name="connsiteY103" fmla="*/ 114259 h 203751"/>
                    <a:gd name="connsiteX104" fmla="*/ 3504 w 293936"/>
                    <a:gd name="connsiteY104" fmla="*/ 112409 h 203751"/>
                    <a:gd name="connsiteX105" fmla="*/ 3521 w 293936"/>
                    <a:gd name="connsiteY105" fmla="*/ 111032 h 203751"/>
                    <a:gd name="connsiteX106" fmla="*/ 1467 w 293936"/>
                    <a:gd name="connsiteY106" fmla="*/ 102401 h 203751"/>
                    <a:gd name="connsiteX107" fmla="*/ 4507 w 293936"/>
                    <a:gd name="connsiteY107" fmla="*/ 90878 h 203751"/>
                    <a:gd name="connsiteX108" fmla="*/ 3513 w 293936"/>
                    <a:gd name="connsiteY108" fmla="*/ 80503 h 203751"/>
                    <a:gd name="connsiteX109" fmla="*/ 8142 w 293936"/>
                    <a:gd name="connsiteY109" fmla="*/ 76306 h 203751"/>
                    <a:gd name="connsiteX110" fmla="*/ 9315 w 293936"/>
                    <a:gd name="connsiteY110" fmla="*/ 75043 h 203751"/>
                    <a:gd name="connsiteX111" fmla="*/ 9992 w 293936"/>
                    <a:gd name="connsiteY111" fmla="*/ 73934 h 203751"/>
                    <a:gd name="connsiteX112" fmla="*/ 11084 w 293936"/>
                    <a:gd name="connsiteY112" fmla="*/ 71563 h 203751"/>
                    <a:gd name="connsiteX113" fmla="*/ 12583 w 293936"/>
                    <a:gd name="connsiteY113" fmla="*/ 70789 h 203751"/>
                    <a:gd name="connsiteX114" fmla="*/ 13105 w 293936"/>
                    <a:gd name="connsiteY114" fmla="*/ 68295 h 203751"/>
                    <a:gd name="connsiteX115" fmla="*/ 13064 w 293936"/>
                    <a:gd name="connsiteY115" fmla="*/ 67048 h 203751"/>
                    <a:gd name="connsiteX116" fmla="*/ 12094 w 293936"/>
                    <a:gd name="connsiteY116" fmla="*/ 65980 h 203751"/>
                    <a:gd name="connsiteX117" fmla="*/ 11377 w 293936"/>
                    <a:gd name="connsiteY117" fmla="*/ 63071 h 203751"/>
                    <a:gd name="connsiteX118" fmla="*/ 11614 w 293936"/>
                    <a:gd name="connsiteY118" fmla="*/ 59379 h 203751"/>
                    <a:gd name="connsiteX119" fmla="*/ 11850 w 293936"/>
                    <a:gd name="connsiteY119" fmla="*/ 57839 h 203751"/>
                    <a:gd name="connsiteX120" fmla="*/ 12347 w 293936"/>
                    <a:gd name="connsiteY120" fmla="*/ 55019 h 203751"/>
                    <a:gd name="connsiteX121" fmla="*/ 13969 w 293936"/>
                    <a:gd name="connsiteY121" fmla="*/ 53976 h 203751"/>
                    <a:gd name="connsiteX122" fmla="*/ 14360 w 293936"/>
                    <a:gd name="connsiteY122" fmla="*/ 53136 h 203751"/>
                    <a:gd name="connsiteX123" fmla="*/ 13105 w 293936"/>
                    <a:gd name="connsiteY123" fmla="*/ 51351 h 203751"/>
                    <a:gd name="connsiteX124" fmla="*/ 13219 w 293936"/>
                    <a:gd name="connsiteY124" fmla="*/ 50284 h 203751"/>
                    <a:gd name="connsiteX125" fmla="*/ 15982 w 293936"/>
                    <a:gd name="connsiteY125" fmla="*/ 47301 h 203751"/>
                    <a:gd name="connsiteX126" fmla="*/ 17074 w 293936"/>
                    <a:gd name="connsiteY126" fmla="*/ 46405 h 203751"/>
                    <a:gd name="connsiteX127" fmla="*/ 18859 w 293936"/>
                    <a:gd name="connsiteY127" fmla="*/ 45484 h 203751"/>
                    <a:gd name="connsiteX128" fmla="*/ 20260 w 293936"/>
                    <a:gd name="connsiteY128" fmla="*/ 45492 h 203751"/>
                    <a:gd name="connsiteX129" fmla="*/ 21866 w 293936"/>
                    <a:gd name="connsiteY129" fmla="*/ 46022 h 203751"/>
                    <a:gd name="connsiteX130" fmla="*/ 23309 w 293936"/>
                    <a:gd name="connsiteY130" fmla="*/ 46853 h 203751"/>
                    <a:gd name="connsiteX131" fmla="*/ 24702 w 293936"/>
                    <a:gd name="connsiteY131" fmla="*/ 48377 h 203751"/>
                    <a:gd name="connsiteX132" fmla="*/ 26185 w 293936"/>
                    <a:gd name="connsiteY132" fmla="*/ 50104 h 203751"/>
                    <a:gd name="connsiteX133" fmla="*/ 28435 w 293936"/>
                    <a:gd name="connsiteY133" fmla="*/ 50757 h 203751"/>
                    <a:gd name="connsiteX134" fmla="*/ 29983 w 293936"/>
                    <a:gd name="connsiteY134" fmla="*/ 50585 h 203751"/>
                    <a:gd name="connsiteX135" fmla="*/ 31230 w 293936"/>
                    <a:gd name="connsiteY135" fmla="*/ 51351 h 203751"/>
                    <a:gd name="connsiteX136" fmla="*/ 32290 w 293936"/>
                    <a:gd name="connsiteY136" fmla="*/ 50928 h 203751"/>
                    <a:gd name="connsiteX137" fmla="*/ 33487 w 293936"/>
                    <a:gd name="connsiteY137" fmla="*/ 50039 h 203751"/>
                    <a:gd name="connsiteX138" fmla="*/ 35419 w 293936"/>
                    <a:gd name="connsiteY138" fmla="*/ 50096 h 203751"/>
                    <a:gd name="connsiteX139" fmla="*/ 37147 w 293936"/>
                    <a:gd name="connsiteY139" fmla="*/ 49078 h 203751"/>
                    <a:gd name="connsiteX140" fmla="*/ 42077 w 293936"/>
                    <a:gd name="connsiteY140" fmla="*/ 48589 h 203751"/>
                    <a:gd name="connsiteX141" fmla="*/ 46837 w 293936"/>
                    <a:gd name="connsiteY141" fmla="*/ 48898 h 203751"/>
                    <a:gd name="connsiteX142" fmla="*/ 51808 w 293936"/>
                    <a:gd name="connsiteY142" fmla="*/ 48059 h 203751"/>
                    <a:gd name="connsiteX143" fmla="*/ 56747 w 293936"/>
                    <a:gd name="connsiteY143" fmla="*/ 48124 h 203751"/>
                    <a:gd name="connsiteX144" fmla="*/ 61751 w 293936"/>
                    <a:gd name="connsiteY144" fmla="*/ 48189 h 203751"/>
                    <a:gd name="connsiteX145" fmla="*/ 62867 w 293936"/>
                    <a:gd name="connsiteY145" fmla="*/ 48312 h 203751"/>
                    <a:gd name="connsiteX146" fmla="*/ 63951 w 293936"/>
                    <a:gd name="connsiteY146" fmla="*/ 48841 h 203751"/>
                    <a:gd name="connsiteX147" fmla="*/ 68172 w 293936"/>
                    <a:gd name="connsiteY147" fmla="*/ 51482 h 203751"/>
                    <a:gd name="connsiteX148" fmla="*/ 71367 w 293936"/>
                    <a:gd name="connsiteY148" fmla="*/ 52028 h 203751"/>
                    <a:gd name="connsiteX149" fmla="*/ 77798 w 293936"/>
                    <a:gd name="connsiteY149" fmla="*/ 52745 h 203751"/>
                    <a:gd name="connsiteX150" fmla="*/ 84644 w 293936"/>
                    <a:gd name="connsiteY150" fmla="*/ 53519 h 203751"/>
                    <a:gd name="connsiteX151" fmla="*/ 90584 w 293936"/>
                    <a:gd name="connsiteY151" fmla="*/ 54187 h 203751"/>
                    <a:gd name="connsiteX152" fmla="*/ 95629 w 293936"/>
                    <a:gd name="connsiteY152" fmla="*/ 53560 h 203751"/>
                    <a:gd name="connsiteX153" fmla="*/ 99818 w 293936"/>
                    <a:gd name="connsiteY153" fmla="*/ 53047 h 203751"/>
                    <a:gd name="connsiteX154" fmla="*/ 100951 w 293936"/>
                    <a:gd name="connsiteY154" fmla="*/ 53136 h 203751"/>
                    <a:gd name="connsiteX155" fmla="*/ 102206 w 293936"/>
                    <a:gd name="connsiteY155" fmla="*/ 54774 h 203751"/>
                    <a:gd name="connsiteX156" fmla="*/ 104724 w 293936"/>
                    <a:gd name="connsiteY156" fmla="*/ 58849 h 203751"/>
                    <a:gd name="connsiteX157" fmla="*/ 107096 w 293936"/>
                    <a:gd name="connsiteY157" fmla="*/ 62696 h 203751"/>
                    <a:gd name="connsiteX158" fmla="*/ 111260 w 293936"/>
                    <a:gd name="connsiteY158" fmla="*/ 62900 h 203751"/>
                    <a:gd name="connsiteX159" fmla="*/ 113934 w 293936"/>
                    <a:gd name="connsiteY159" fmla="*/ 61449 h 203751"/>
                    <a:gd name="connsiteX160" fmla="*/ 116867 w 293936"/>
                    <a:gd name="connsiteY160" fmla="*/ 59412 h 203751"/>
                    <a:gd name="connsiteX161" fmla="*/ 118660 w 293936"/>
                    <a:gd name="connsiteY161" fmla="*/ 57839 h 203751"/>
                    <a:gd name="connsiteX162" fmla="*/ 120730 w 293936"/>
                    <a:gd name="connsiteY162" fmla="*/ 51579 h 203751"/>
                    <a:gd name="connsiteX163" fmla="*/ 122075 w 293936"/>
                    <a:gd name="connsiteY163" fmla="*/ 47521 h 203751"/>
                    <a:gd name="connsiteX164" fmla="*/ 125155 w 293936"/>
                    <a:gd name="connsiteY164" fmla="*/ 42973 h 203751"/>
                    <a:gd name="connsiteX165" fmla="*/ 127739 w 293936"/>
                    <a:gd name="connsiteY165" fmla="*/ 39159 h 203751"/>
                    <a:gd name="connsiteX166" fmla="*/ 131154 w 293936"/>
                    <a:gd name="connsiteY166" fmla="*/ 34107 h 203751"/>
                    <a:gd name="connsiteX167" fmla="*/ 133037 w 293936"/>
                    <a:gd name="connsiteY167" fmla="*/ 31311 h 203751"/>
                    <a:gd name="connsiteX168" fmla="*/ 136761 w 293936"/>
                    <a:gd name="connsiteY168" fmla="*/ 25786 h 203751"/>
                    <a:gd name="connsiteX169" fmla="*/ 140330 w 293936"/>
                    <a:gd name="connsiteY169" fmla="*/ 23634 h 203751"/>
                    <a:gd name="connsiteX170" fmla="*/ 147209 w 293936"/>
                    <a:gd name="connsiteY170" fmla="*/ 19478 h 203751"/>
                    <a:gd name="connsiteX171" fmla="*/ 153957 w 293936"/>
                    <a:gd name="connsiteY171" fmla="*/ 15403 h 203751"/>
                    <a:gd name="connsiteX172" fmla="*/ 158349 w 293936"/>
                    <a:gd name="connsiteY172" fmla="*/ 12738 h 203751"/>
                    <a:gd name="connsiteX173" fmla="*/ 162074 w 293936"/>
                    <a:gd name="connsiteY173" fmla="*/ 11524 h 203751"/>
                    <a:gd name="connsiteX174" fmla="*/ 168349 w 293936"/>
                    <a:gd name="connsiteY174" fmla="*/ 10480 h 203751"/>
                    <a:gd name="connsiteX175" fmla="*/ 175708 w 293936"/>
                    <a:gd name="connsiteY175" fmla="*/ 9258 h 203751"/>
                    <a:gd name="connsiteX176" fmla="*/ 183076 w 293936"/>
                    <a:gd name="connsiteY176" fmla="*/ 8036 h 203751"/>
                    <a:gd name="connsiteX177" fmla="*/ 190924 w 293936"/>
                    <a:gd name="connsiteY177" fmla="*/ 6723 h 203751"/>
                    <a:gd name="connsiteX178" fmla="*/ 199677 w 293936"/>
                    <a:gd name="connsiteY178" fmla="*/ 5256 h 203751"/>
                    <a:gd name="connsiteX179" fmla="*/ 205667 w 293936"/>
                    <a:gd name="connsiteY179" fmla="*/ 4254 h 203751"/>
                    <a:gd name="connsiteX180" fmla="*/ 213311 w 293936"/>
                    <a:gd name="connsiteY180" fmla="*/ 2975 h 203751"/>
                    <a:gd name="connsiteX181" fmla="*/ 219676 w 293936"/>
                    <a:gd name="connsiteY181" fmla="*/ 1915 h 203751"/>
                    <a:gd name="connsiteX182" fmla="*/ 225324 w 293936"/>
                    <a:gd name="connsiteY182" fmla="*/ 970 h 203751"/>
                    <a:gd name="connsiteX183" fmla="*/ 231143 w 293936"/>
                    <a:gd name="connsiteY183" fmla="*/ 0 h 203751"/>
                    <a:gd name="connsiteX184" fmla="*/ 232251 w 293936"/>
                    <a:gd name="connsiteY184" fmla="*/ 3072 h 203751"/>
                    <a:gd name="connsiteX185" fmla="*/ 233351 w 293936"/>
                    <a:gd name="connsiteY185" fmla="*/ 6145 h 203751"/>
                    <a:gd name="connsiteX186" fmla="*/ 234435 w 293936"/>
                    <a:gd name="connsiteY186" fmla="*/ 9217 h 203751"/>
                    <a:gd name="connsiteX187" fmla="*/ 235544 w 293936"/>
                    <a:gd name="connsiteY187" fmla="*/ 12290 h 203751"/>
                    <a:gd name="connsiteX188" fmla="*/ 236644 w 293936"/>
                    <a:gd name="connsiteY188" fmla="*/ 15354 h 203751"/>
                    <a:gd name="connsiteX189" fmla="*/ 237744 w 293936"/>
                    <a:gd name="connsiteY189" fmla="*/ 18418 h 203751"/>
                    <a:gd name="connsiteX190" fmla="*/ 238844 w 293936"/>
                    <a:gd name="connsiteY190" fmla="*/ 21483 h 203751"/>
                    <a:gd name="connsiteX191" fmla="*/ 239945 w 293936"/>
                    <a:gd name="connsiteY191" fmla="*/ 24547 h 203751"/>
                    <a:gd name="connsiteX192" fmla="*/ 241045 w 293936"/>
                    <a:gd name="connsiteY192" fmla="*/ 27620 h 203751"/>
                    <a:gd name="connsiteX193" fmla="*/ 242137 w 293936"/>
                    <a:gd name="connsiteY193" fmla="*/ 30676 h 203751"/>
                    <a:gd name="connsiteX194" fmla="*/ 243237 w 293936"/>
                    <a:gd name="connsiteY194" fmla="*/ 33740 h 203751"/>
                    <a:gd name="connsiteX195" fmla="*/ 244345 w 293936"/>
                    <a:gd name="connsiteY195" fmla="*/ 36804 h 203751"/>
                    <a:gd name="connsiteX196" fmla="*/ 245446 w 293936"/>
                    <a:gd name="connsiteY196" fmla="*/ 39868 h 203751"/>
                    <a:gd name="connsiteX197" fmla="*/ 246538 w 293936"/>
                    <a:gd name="connsiteY197" fmla="*/ 42933 h 203751"/>
                    <a:gd name="connsiteX198" fmla="*/ 247638 w 293936"/>
                    <a:gd name="connsiteY198" fmla="*/ 45989 h 203751"/>
                    <a:gd name="connsiteX199" fmla="*/ 248738 w 293936"/>
                    <a:gd name="connsiteY199" fmla="*/ 49053 h 203751"/>
                    <a:gd name="connsiteX200" fmla="*/ 249814 w 293936"/>
                    <a:gd name="connsiteY200" fmla="*/ 52036 h 203751"/>
                    <a:gd name="connsiteX201" fmla="*/ 251591 w 293936"/>
                    <a:gd name="connsiteY201" fmla="*/ 53038 h 203751"/>
                    <a:gd name="connsiteX202" fmla="*/ 252642 w 293936"/>
                    <a:gd name="connsiteY202" fmla="*/ 55858 h 203751"/>
                    <a:gd name="connsiteX203" fmla="*/ 254076 w 293936"/>
                    <a:gd name="connsiteY203" fmla="*/ 59933 h 203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293936" h="203751">
                      <a:moveTo>
                        <a:pt x="275396" y="194127"/>
                      </a:moveTo>
                      <a:lnTo>
                        <a:pt x="276928" y="194485"/>
                      </a:lnTo>
                      <a:lnTo>
                        <a:pt x="279251" y="193442"/>
                      </a:lnTo>
                      <a:lnTo>
                        <a:pt x="285909" y="193303"/>
                      </a:lnTo>
                      <a:lnTo>
                        <a:pt x="293937" y="196677"/>
                      </a:lnTo>
                      <a:lnTo>
                        <a:pt x="292429" y="197558"/>
                      </a:lnTo>
                      <a:lnTo>
                        <a:pt x="291524" y="198780"/>
                      </a:lnTo>
                      <a:lnTo>
                        <a:pt x="287987" y="199889"/>
                      </a:lnTo>
                      <a:lnTo>
                        <a:pt x="284467" y="202488"/>
                      </a:lnTo>
                      <a:lnTo>
                        <a:pt x="274280" y="203752"/>
                      </a:lnTo>
                      <a:lnTo>
                        <a:pt x="271289" y="203051"/>
                      </a:lnTo>
                      <a:lnTo>
                        <a:pt x="268835" y="200532"/>
                      </a:lnTo>
                      <a:lnTo>
                        <a:pt x="264288" y="197264"/>
                      </a:lnTo>
                      <a:lnTo>
                        <a:pt x="266089" y="195186"/>
                      </a:lnTo>
                      <a:lnTo>
                        <a:pt x="266472" y="194233"/>
                      </a:lnTo>
                      <a:lnTo>
                        <a:pt x="267132" y="193312"/>
                      </a:lnTo>
                      <a:lnTo>
                        <a:pt x="269716" y="191731"/>
                      </a:lnTo>
                      <a:lnTo>
                        <a:pt x="272274" y="191983"/>
                      </a:lnTo>
                      <a:lnTo>
                        <a:pt x="275396" y="194127"/>
                      </a:lnTo>
                      <a:close/>
                      <a:moveTo>
                        <a:pt x="254076" y="59933"/>
                      </a:moveTo>
                      <a:lnTo>
                        <a:pt x="255584" y="63967"/>
                      </a:lnTo>
                      <a:lnTo>
                        <a:pt x="257092" y="68001"/>
                      </a:lnTo>
                      <a:lnTo>
                        <a:pt x="258599" y="72035"/>
                      </a:lnTo>
                      <a:lnTo>
                        <a:pt x="246098" y="77471"/>
                      </a:lnTo>
                      <a:lnTo>
                        <a:pt x="242805" y="79884"/>
                      </a:lnTo>
                      <a:lnTo>
                        <a:pt x="239806" y="82875"/>
                      </a:lnTo>
                      <a:lnTo>
                        <a:pt x="237565" y="86607"/>
                      </a:lnTo>
                      <a:lnTo>
                        <a:pt x="236000" y="93160"/>
                      </a:lnTo>
                      <a:lnTo>
                        <a:pt x="237190" y="99142"/>
                      </a:lnTo>
                      <a:lnTo>
                        <a:pt x="237067" y="102352"/>
                      </a:lnTo>
                      <a:lnTo>
                        <a:pt x="233840" y="104480"/>
                      </a:lnTo>
                      <a:lnTo>
                        <a:pt x="230825" y="106012"/>
                      </a:lnTo>
                      <a:lnTo>
                        <a:pt x="227476" y="108343"/>
                      </a:lnTo>
                      <a:lnTo>
                        <a:pt x="225446" y="108921"/>
                      </a:lnTo>
                      <a:lnTo>
                        <a:pt x="223775" y="110787"/>
                      </a:lnTo>
                      <a:lnTo>
                        <a:pt x="221844" y="112075"/>
                      </a:lnTo>
                      <a:lnTo>
                        <a:pt x="214884" y="115449"/>
                      </a:lnTo>
                      <a:lnTo>
                        <a:pt x="207256" y="118057"/>
                      </a:lnTo>
                      <a:lnTo>
                        <a:pt x="195154" y="121178"/>
                      </a:lnTo>
                      <a:lnTo>
                        <a:pt x="190476" y="124569"/>
                      </a:lnTo>
                      <a:lnTo>
                        <a:pt x="186222" y="126883"/>
                      </a:lnTo>
                      <a:lnTo>
                        <a:pt x="179759" y="127576"/>
                      </a:lnTo>
                      <a:lnTo>
                        <a:pt x="170892" y="130795"/>
                      </a:lnTo>
                      <a:lnTo>
                        <a:pt x="165961" y="133370"/>
                      </a:lnTo>
                      <a:lnTo>
                        <a:pt x="159833" y="137568"/>
                      </a:lnTo>
                      <a:lnTo>
                        <a:pt x="158472" y="138896"/>
                      </a:lnTo>
                      <a:lnTo>
                        <a:pt x="157396" y="141976"/>
                      </a:lnTo>
                      <a:lnTo>
                        <a:pt x="155521" y="144641"/>
                      </a:lnTo>
                      <a:lnTo>
                        <a:pt x="151838" y="149010"/>
                      </a:lnTo>
                      <a:lnTo>
                        <a:pt x="149059" y="151251"/>
                      </a:lnTo>
                      <a:lnTo>
                        <a:pt x="147209" y="151373"/>
                      </a:lnTo>
                      <a:lnTo>
                        <a:pt x="143623" y="152596"/>
                      </a:lnTo>
                      <a:lnTo>
                        <a:pt x="139377" y="152848"/>
                      </a:lnTo>
                      <a:lnTo>
                        <a:pt x="132238" y="151316"/>
                      </a:lnTo>
                      <a:lnTo>
                        <a:pt x="130396" y="152384"/>
                      </a:lnTo>
                      <a:lnTo>
                        <a:pt x="128888" y="154079"/>
                      </a:lnTo>
                      <a:lnTo>
                        <a:pt x="123387" y="157070"/>
                      </a:lnTo>
                      <a:lnTo>
                        <a:pt x="117780" y="163043"/>
                      </a:lnTo>
                      <a:lnTo>
                        <a:pt x="113689" y="164633"/>
                      </a:lnTo>
                      <a:lnTo>
                        <a:pt x="107071" y="166515"/>
                      </a:lnTo>
                      <a:lnTo>
                        <a:pt x="102442" y="169001"/>
                      </a:lnTo>
                      <a:lnTo>
                        <a:pt x="99329" y="169995"/>
                      </a:lnTo>
                      <a:lnTo>
                        <a:pt x="95328" y="170517"/>
                      </a:lnTo>
                      <a:lnTo>
                        <a:pt x="87912" y="170264"/>
                      </a:lnTo>
                      <a:lnTo>
                        <a:pt x="80894" y="171153"/>
                      </a:lnTo>
                      <a:lnTo>
                        <a:pt x="74375" y="172848"/>
                      </a:lnTo>
                      <a:lnTo>
                        <a:pt x="71327" y="176042"/>
                      </a:lnTo>
                      <a:lnTo>
                        <a:pt x="67839" y="181095"/>
                      </a:lnTo>
                      <a:lnTo>
                        <a:pt x="62142" y="183181"/>
                      </a:lnTo>
                      <a:lnTo>
                        <a:pt x="60797" y="184991"/>
                      </a:lnTo>
                      <a:lnTo>
                        <a:pt x="59037" y="188715"/>
                      </a:lnTo>
                      <a:lnTo>
                        <a:pt x="55345" y="189677"/>
                      </a:lnTo>
                      <a:lnTo>
                        <a:pt x="52012" y="190296"/>
                      </a:lnTo>
                      <a:lnTo>
                        <a:pt x="48597" y="188674"/>
                      </a:lnTo>
                      <a:lnTo>
                        <a:pt x="42167" y="193165"/>
                      </a:lnTo>
                      <a:lnTo>
                        <a:pt x="39730" y="193907"/>
                      </a:lnTo>
                      <a:lnTo>
                        <a:pt x="36047" y="194086"/>
                      </a:lnTo>
                      <a:lnTo>
                        <a:pt x="33422" y="195023"/>
                      </a:lnTo>
                      <a:lnTo>
                        <a:pt x="31539" y="194754"/>
                      </a:lnTo>
                      <a:lnTo>
                        <a:pt x="29201" y="193010"/>
                      </a:lnTo>
                      <a:lnTo>
                        <a:pt x="24221" y="190883"/>
                      </a:lnTo>
                      <a:lnTo>
                        <a:pt x="20578" y="192260"/>
                      </a:lnTo>
                      <a:lnTo>
                        <a:pt x="20277" y="188014"/>
                      </a:lnTo>
                      <a:lnTo>
                        <a:pt x="14238" y="175032"/>
                      </a:lnTo>
                      <a:lnTo>
                        <a:pt x="15493" y="163720"/>
                      </a:lnTo>
                      <a:lnTo>
                        <a:pt x="15485" y="162123"/>
                      </a:lnTo>
                      <a:lnTo>
                        <a:pt x="14295" y="157070"/>
                      </a:lnTo>
                      <a:lnTo>
                        <a:pt x="10693" y="152449"/>
                      </a:lnTo>
                      <a:lnTo>
                        <a:pt x="10798" y="146589"/>
                      </a:lnTo>
                      <a:lnTo>
                        <a:pt x="9601" y="142392"/>
                      </a:lnTo>
                      <a:lnTo>
                        <a:pt x="8647" y="138089"/>
                      </a:lnTo>
                      <a:lnTo>
                        <a:pt x="8957" y="136940"/>
                      </a:lnTo>
                      <a:lnTo>
                        <a:pt x="9022" y="135905"/>
                      </a:lnTo>
                      <a:lnTo>
                        <a:pt x="7172" y="129263"/>
                      </a:lnTo>
                      <a:lnTo>
                        <a:pt x="6553" y="127918"/>
                      </a:lnTo>
                      <a:lnTo>
                        <a:pt x="6333" y="126525"/>
                      </a:lnTo>
                      <a:lnTo>
                        <a:pt x="6936" y="125457"/>
                      </a:lnTo>
                      <a:lnTo>
                        <a:pt x="6919" y="124226"/>
                      </a:lnTo>
                      <a:lnTo>
                        <a:pt x="5933" y="122181"/>
                      </a:lnTo>
                      <a:lnTo>
                        <a:pt x="4906" y="118301"/>
                      </a:lnTo>
                      <a:lnTo>
                        <a:pt x="0" y="115262"/>
                      </a:lnTo>
                      <a:lnTo>
                        <a:pt x="994" y="112409"/>
                      </a:lnTo>
                      <a:lnTo>
                        <a:pt x="1948" y="113412"/>
                      </a:lnTo>
                      <a:lnTo>
                        <a:pt x="3236" y="114259"/>
                      </a:lnTo>
                      <a:lnTo>
                        <a:pt x="3504" y="112409"/>
                      </a:lnTo>
                      <a:lnTo>
                        <a:pt x="3521" y="111032"/>
                      </a:lnTo>
                      <a:lnTo>
                        <a:pt x="1467" y="102401"/>
                      </a:lnTo>
                      <a:lnTo>
                        <a:pt x="4507" y="90878"/>
                      </a:lnTo>
                      <a:lnTo>
                        <a:pt x="3513" y="80503"/>
                      </a:lnTo>
                      <a:lnTo>
                        <a:pt x="8142" y="76306"/>
                      </a:lnTo>
                      <a:lnTo>
                        <a:pt x="9315" y="75043"/>
                      </a:lnTo>
                      <a:lnTo>
                        <a:pt x="9992" y="73934"/>
                      </a:lnTo>
                      <a:lnTo>
                        <a:pt x="11084" y="71563"/>
                      </a:lnTo>
                      <a:lnTo>
                        <a:pt x="12583" y="70789"/>
                      </a:lnTo>
                      <a:lnTo>
                        <a:pt x="13105" y="68295"/>
                      </a:lnTo>
                      <a:lnTo>
                        <a:pt x="13064" y="67048"/>
                      </a:lnTo>
                      <a:lnTo>
                        <a:pt x="12094" y="65980"/>
                      </a:lnTo>
                      <a:lnTo>
                        <a:pt x="11377" y="63071"/>
                      </a:lnTo>
                      <a:lnTo>
                        <a:pt x="11614" y="59379"/>
                      </a:lnTo>
                      <a:lnTo>
                        <a:pt x="11850" y="57839"/>
                      </a:lnTo>
                      <a:lnTo>
                        <a:pt x="12347" y="55019"/>
                      </a:lnTo>
                      <a:lnTo>
                        <a:pt x="13969" y="53976"/>
                      </a:lnTo>
                      <a:lnTo>
                        <a:pt x="14360" y="53136"/>
                      </a:lnTo>
                      <a:lnTo>
                        <a:pt x="13105" y="51351"/>
                      </a:lnTo>
                      <a:lnTo>
                        <a:pt x="13219" y="50284"/>
                      </a:lnTo>
                      <a:lnTo>
                        <a:pt x="15982" y="47301"/>
                      </a:lnTo>
                      <a:lnTo>
                        <a:pt x="17074" y="46405"/>
                      </a:lnTo>
                      <a:lnTo>
                        <a:pt x="18859" y="45484"/>
                      </a:lnTo>
                      <a:lnTo>
                        <a:pt x="20260" y="45492"/>
                      </a:lnTo>
                      <a:lnTo>
                        <a:pt x="21866" y="46022"/>
                      </a:lnTo>
                      <a:lnTo>
                        <a:pt x="23309" y="46853"/>
                      </a:lnTo>
                      <a:lnTo>
                        <a:pt x="24702" y="48377"/>
                      </a:lnTo>
                      <a:lnTo>
                        <a:pt x="26185" y="50104"/>
                      </a:lnTo>
                      <a:lnTo>
                        <a:pt x="28435" y="50757"/>
                      </a:lnTo>
                      <a:lnTo>
                        <a:pt x="29983" y="50585"/>
                      </a:lnTo>
                      <a:lnTo>
                        <a:pt x="31230" y="51351"/>
                      </a:lnTo>
                      <a:lnTo>
                        <a:pt x="32290" y="50928"/>
                      </a:lnTo>
                      <a:lnTo>
                        <a:pt x="33487" y="50039"/>
                      </a:lnTo>
                      <a:lnTo>
                        <a:pt x="35419" y="50096"/>
                      </a:lnTo>
                      <a:lnTo>
                        <a:pt x="37147" y="49078"/>
                      </a:lnTo>
                      <a:lnTo>
                        <a:pt x="42077" y="48589"/>
                      </a:lnTo>
                      <a:lnTo>
                        <a:pt x="46837" y="48898"/>
                      </a:lnTo>
                      <a:lnTo>
                        <a:pt x="51808" y="48059"/>
                      </a:lnTo>
                      <a:lnTo>
                        <a:pt x="56747" y="48124"/>
                      </a:lnTo>
                      <a:lnTo>
                        <a:pt x="61751" y="48189"/>
                      </a:lnTo>
                      <a:lnTo>
                        <a:pt x="62867" y="48312"/>
                      </a:lnTo>
                      <a:lnTo>
                        <a:pt x="63951" y="48841"/>
                      </a:lnTo>
                      <a:lnTo>
                        <a:pt x="68172" y="51482"/>
                      </a:lnTo>
                      <a:lnTo>
                        <a:pt x="71367" y="52028"/>
                      </a:lnTo>
                      <a:lnTo>
                        <a:pt x="77798" y="52745"/>
                      </a:lnTo>
                      <a:lnTo>
                        <a:pt x="84644" y="53519"/>
                      </a:lnTo>
                      <a:lnTo>
                        <a:pt x="90584" y="54187"/>
                      </a:lnTo>
                      <a:lnTo>
                        <a:pt x="95629" y="53560"/>
                      </a:lnTo>
                      <a:lnTo>
                        <a:pt x="99818" y="53047"/>
                      </a:lnTo>
                      <a:lnTo>
                        <a:pt x="100951" y="53136"/>
                      </a:lnTo>
                      <a:lnTo>
                        <a:pt x="102206" y="54774"/>
                      </a:lnTo>
                      <a:lnTo>
                        <a:pt x="104724" y="58849"/>
                      </a:lnTo>
                      <a:lnTo>
                        <a:pt x="107096" y="62696"/>
                      </a:lnTo>
                      <a:lnTo>
                        <a:pt x="111260" y="62900"/>
                      </a:lnTo>
                      <a:lnTo>
                        <a:pt x="113934" y="61449"/>
                      </a:lnTo>
                      <a:lnTo>
                        <a:pt x="116867" y="59412"/>
                      </a:lnTo>
                      <a:lnTo>
                        <a:pt x="118660" y="57839"/>
                      </a:lnTo>
                      <a:lnTo>
                        <a:pt x="120730" y="51579"/>
                      </a:lnTo>
                      <a:lnTo>
                        <a:pt x="122075" y="47521"/>
                      </a:lnTo>
                      <a:lnTo>
                        <a:pt x="125155" y="42973"/>
                      </a:lnTo>
                      <a:lnTo>
                        <a:pt x="127739" y="39159"/>
                      </a:lnTo>
                      <a:lnTo>
                        <a:pt x="131154" y="34107"/>
                      </a:lnTo>
                      <a:lnTo>
                        <a:pt x="133037" y="31311"/>
                      </a:lnTo>
                      <a:lnTo>
                        <a:pt x="136761" y="25786"/>
                      </a:lnTo>
                      <a:lnTo>
                        <a:pt x="140330" y="23634"/>
                      </a:lnTo>
                      <a:lnTo>
                        <a:pt x="147209" y="19478"/>
                      </a:lnTo>
                      <a:lnTo>
                        <a:pt x="153957" y="15403"/>
                      </a:lnTo>
                      <a:lnTo>
                        <a:pt x="158349" y="12738"/>
                      </a:lnTo>
                      <a:lnTo>
                        <a:pt x="162074" y="11524"/>
                      </a:lnTo>
                      <a:lnTo>
                        <a:pt x="168349" y="10480"/>
                      </a:lnTo>
                      <a:lnTo>
                        <a:pt x="175708" y="9258"/>
                      </a:lnTo>
                      <a:lnTo>
                        <a:pt x="183076" y="8036"/>
                      </a:lnTo>
                      <a:lnTo>
                        <a:pt x="190924" y="6723"/>
                      </a:lnTo>
                      <a:lnTo>
                        <a:pt x="199677" y="5256"/>
                      </a:lnTo>
                      <a:lnTo>
                        <a:pt x="205667" y="4254"/>
                      </a:lnTo>
                      <a:lnTo>
                        <a:pt x="213311" y="2975"/>
                      </a:lnTo>
                      <a:lnTo>
                        <a:pt x="219676" y="1915"/>
                      </a:lnTo>
                      <a:lnTo>
                        <a:pt x="225324" y="970"/>
                      </a:lnTo>
                      <a:lnTo>
                        <a:pt x="231143" y="0"/>
                      </a:lnTo>
                      <a:lnTo>
                        <a:pt x="232251" y="3072"/>
                      </a:lnTo>
                      <a:lnTo>
                        <a:pt x="233351" y="6145"/>
                      </a:lnTo>
                      <a:lnTo>
                        <a:pt x="234435" y="9217"/>
                      </a:lnTo>
                      <a:lnTo>
                        <a:pt x="235544" y="12290"/>
                      </a:lnTo>
                      <a:lnTo>
                        <a:pt x="236644" y="15354"/>
                      </a:lnTo>
                      <a:lnTo>
                        <a:pt x="237744" y="18418"/>
                      </a:lnTo>
                      <a:lnTo>
                        <a:pt x="238844" y="21483"/>
                      </a:lnTo>
                      <a:lnTo>
                        <a:pt x="239945" y="24547"/>
                      </a:lnTo>
                      <a:lnTo>
                        <a:pt x="241045" y="27620"/>
                      </a:lnTo>
                      <a:lnTo>
                        <a:pt x="242137" y="30676"/>
                      </a:lnTo>
                      <a:lnTo>
                        <a:pt x="243237" y="33740"/>
                      </a:lnTo>
                      <a:lnTo>
                        <a:pt x="244345" y="36804"/>
                      </a:lnTo>
                      <a:lnTo>
                        <a:pt x="245446" y="39868"/>
                      </a:lnTo>
                      <a:lnTo>
                        <a:pt x="246538" y="42933"/>
                      </a:lnTo>
                      <a:lnTo>
                        <a:pt x="247638" y="45989"/>
                      </a:lnTo>
                      <a:lnTo>
                        <a:pt x="248738" y="49053"/>
                      </a:lnTo>
                      <a:lnTo>
                        <a:pt x="249814" y="52036"/>
                      </a:lnTo>
                      <a:lnTo>
                        <a:pt x="251591" y="53038"/>
                      </a:lnTo>
                      <a:lnTo>
                        <a:pt x="252642" y="55858"/>
                      </a:lnTo>
                      <a:lnTo>
                        <a:pt x="254076" y="59933"/>
                      </a:lnTo>
                      <a:close/>
                    </a:path>
                  </a:pathLst>
                </a:custGeom>
                <a:solidFill>
                  <a:srgbClr val="D6D6D2"/>
                </a:solidFill>
                <a:ln w="8150" cap="flat">
                  <a:noFill/>
                  <a:prstDash val="solid"/>
                  <a:miter/>
                </a:ln>
              </p:spPr>
              <p:txBody>
                <a:bodyPr rtlCol="0" anchor="ctr"/>
                <a:lstStyle/>
                <a:p>
                  <a:endParaRPr lang="en-US"/>
                </a:p>
              </p:txBody>
            </p:sp>
            <p:sp>
              <p:nvSpPr>
                <p:cNvPr id="549" name="Freeform: Shape 548">
                  <a:extLst>
                    <a:ext uri="{FF2B5EF4-FFF2-40B4-BE49-F238E27FC236}">
                      <a16:creationId xmlns:a16="http://schemas.microsoft.com/office/drawing/2014/main" id="{F00845F5-D0D3-4794-AA18-F0679D27BE40}"/>
                    </a:ext>
                  </a:extLst>
                </p:cNvPr>
                <p:cNvSpPr/>
                <p:nvPr/>
              </p:nvSpPr>
              <p:spPr>
                <a:xfrm>
                  <a:off x="10073843" y="4965095"/>
                  <a:ext cx="16740" cy="30431"/>
                </a:xfrm>
                <a:custGeom>
                  <a:avLst/>
                  <a:gdLst>
                    <a:gd name="connsiteX0" fmla="*/ 5469 w 16740"/>
                    <a:gd name="connsiteY0" fmla="*/ 5803 h 30431"/>
                    <a:gd name="connsiteX1" fmla="*/ 7049 w 16740"/>
                    <a:gd name="connsiteY1" fmla="*/ 15876 h 30431"/>
                    <a:gd name="connsiteX2" fmla="*/ 8916 w 16740"/>
                    <a:gd name="connsiteY2" fmla="*/ 15851 h 30431"/>
                    <a:gd name="connsiteX3" fmla="*/ 9862 w 16740"/>
                    <a:gd name="connsiteY3" fmla="*/ 15313 h 30431"/>
                    <a:gd name="connsiteX4" fmla="*/ 10953 w 16740"/>
                    <a:gd name="connsiteY4" fmla="*/ 12966 h 30431"/>
                    <a:gd name="connsiteX5" fmla="*/ 11451 w 16740"/>
                    <a:gd name="connsiteY5" fmla="*/ 9250 h 30431"/>
                    <a:gd name="connsiteX6" fmla="*/ 12421 w 16740"/>
                    <a:gd name="connsiteY6" fmla="*/ 8728 h 30431"/>
                    <a:gd name="connsiteX7" fmla="*/ 13626 w 16740"/>
                    <a:gd name="connsiteY7" fmla="*/ 9120 h 30431"/>
                    <a:gd name="connsiteX8" fmla="*/ 13105 w 16740"/>
                    <a:gd name="connsiteY8" fmla="*/ 10310 h 30431"/>
                    <a:gd name="connsiteX9" fmla="*/ 13463 w 16740"/>
                    <a:gd name="connsiteY9" fmla="*/ 13268 h 30431"/>
                    <a:gd name="connsiteX10" fmla="*/ 14409 w 16740"/>
                    <a:gd name="connsiteY10" fmla="*/ 14914 h 30431"/>
                    <a:gd name="connsiteX11" fmla="*/ 15028 w 16740"/>
                    <a:gd name="connsiteY11" fmla="*/ 15216 h 30431"/>
                    <a:gd name="connsiteX12" fmla="*/ 16267 w 16740"/>
                    <a:gd name="connsiteY12" fmla="*/ 22958 h 30431"/>
                    <a:gd name="connsiteX13" fmla="*/ 16740 w 16740"/>
                    <a:gd name="connsiteY13" fmla="*/ 24580 h 30431"/>
                    <a:gd name="connsiteX14" fmla="*/ 16715 w 16740"/>
                    <a:gd name="connsiteY14" fmla="*/ 25876 h 30431"/>
                    <a:gd name="connsiteX15" fmla="*/ 14083 w 16740"/>
                    <a:gd name="connsiteY15" fmla="*/ 28785 h 30431"/>
                    <a:gd name="connsiteX16" fmla="*/ 10187 w 16740"/>
                    <a:gd name="connsiteY16" fmla="*/ 28687 h 30431"/>
                    <a:gd name="connsiteX17" fmla="*/ 7441 w 16740"/>
                    <a:gd name="connsiteY17" fmla="*/ 30431 h 30431"/>
                    <a:gd name="connsiteX18" fmla="*/ 5762 w 16740"/>
                    <a:gd name="connsiteY18" fmla="*/ 30309 h 30431"/>
                    <a:gd name="connsiteX19" fmla="*/ 5778 w 16740"/>
                    <a:gd name="connsiteY19" fmla="*/ 28345 h 30431"/>
                    <a:gd name="connsiteX20" fmla="*/ 4287 w 16740"/>
                    <a:gd name="connsiteY20" fmla="*/ 26788 h 30431"/>
                    <a:gd name="connsiteX21" fmla="*/ 2608 w 16740"/>
                    <a:gd name="connsiteY21" fmla="*/ 23447 h 30431"/>
                    <a:gd name="connsiteX22" fmla="*/ 3015 w 16740"/>
                    <a:gd name="connsiteY22" fmla="*/ 17522 h 30431"/>
                    <a:gd name="connsiteX23" fmla="*/ 25 w 16740"/>
                    <a:gd name="connsiteY23" fmla="*/ 6504 h 30431"/>
                    <a:gd name="connsiteX24" fmla="*/ 0 w 16740"/>
                    <a:gd name="connsiteY24" fmla="*/ 3749 h 30431"/>
                    <a:gd name="connsiteX25" fmla="*/ 1027 w 16740"/>
                    <a:gd name="connsiteY25" fmla="*/ 171 h 30431"/>
                    <a:gd name="connsiteX26" fmla="*/ 2029 w 16740"/>
                    <a:gd name="connsiteY26" fmla="*/ 0 h 30431"/>
                    <a:gd name="connsiteX27" fmla="*/ 3382 w 16740"/>
                    <a:gd name="connsiteY27" fmla="*/ 2999 h 30431"/>
                    <a:gd name="connsiteX28" fmla="*/ 5469 w 16740"/>
                    <a:gd name="connsiteY28" fmla="*/ 5803 h 3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6740" h="30431">
                      <a:moveTo>
                        <a:pt x="5469" y="5803"/>
                      </a:moveTo>
                      <a:lnTo>
                        <a:pt x="7049" y="15876"/>
                      </a:lnTo>
                      <a:lnTo>
                        <a:pt x="8916" y="15851"/>
                      </a:lnTo>
                      <a:lnTo>
                        <a:pt x="9862" y="15313"/>
                      </a:lnTo>
                      <a:lnTo>
                        <a:pt x="10953" y="12966"/>
                      </a:lnTo>
                      <a:lnTo>
                        <a:pt x="11451" y="9250"/>
                      </a:lnTo>
                      <a:lnTo>
                        <a:pt x="12421" y="8728"/>
                      </a:lnTo>
                      <a:lnTo>
                        <a:pt x="13626" y="9120"/>
                      </a:lnTo>
                      <a:lnTo>
                        <a:pt x="13105" y="10310"/>
                      </a:lnTo>
                      <a:lnTo>
                        <a:pt x="13463" y="13268"/>
                      </a:lnTo>
                      <a:lnTo>
                        <a:pt x="14409" y="14914"/>
                      </a:lnTo>
                      <a:lnTo>
                        <a:pt x="15028" y="15216"/>
                      </a:lnTo>
                      <a:lnTo>
                        <a:pt x="16267" y="22958"/>
                      </a:lnTo>
                      <a:lnTo>
                        <a:pt x="16740" y="24580"/>
                      </a:lnTo>
                      <a:lnTo>
                        <a:pt x="16715" y="25876"/>
                      </a:lnTo>
                      <a:lnTo>
                        <a:pt x="14083" y="28785"/>
                      </a:lnTo>
                      <a:lnTo>
                        <a:pt x="10187" y="28687"/>
                      </a:lnTo>
                      <a:lnTo>
                        <a:pt x="7441" y="30431"/>
                      </a:lnTo>
                      <a:lnTo>
                        <a:pt x="5762" y="30309"/>
                      </a:lnTo>
                      <a:lnTo>
                        <a:pt x="5778" y="28345"/>
                      </a:lnTo>
                      <a:lnTo>
                        <a:pt x="4287" y="26788"/>
                      </a:lnTo>
                      <a:lnTo>
                        <a:pt x="2608" y="23447"/>
                      </a:lnTo>
                      <a:lnTo>
                        <a:pt x="3015" y="17522"/>
                      </a:lnTo>
                      <a:lnTo>
                        <a:pt x="25" y="6504"/>
                      </a:lnTo>
                      <a:lnTo>
                        <a:pt x="0" y="3749"/>
                      </a:lnTo>
                      <a:lnTo>
                        <a:pt x="1027" y="171"/>
                      </a:lnTo>
                      <a:lnTo>
                        <a:pt x="2029" y="0"/>
                      </a:lnTo>
                      <a:lnTo>
                        <a:pt x="3382" y="2999"/>
                      </a:lnTo>
                      <a:lnTo>
                        <a:pt x="5469" y="5803"/>
                      </a:lnTo>
                      <a:close/>
                    </a:path>
                  </a:pathLst>
                </a:custGeom>
                <a:solidFill>
                  <a:srgbClr val="D6D6D2"/>
                </a:solidFill>
                <a:ln w="8150" cap="flat">
                  <a:noFill/>
                  <a:prstDash val="solid"/>
                  <a:miter/>
                </a:ln>
              </p:spPr>
              <p:txBody>
                <a:bodyPr rtlCol="0" anchor="ctr"/>
                <a:lstStyle/>
                <a:p>
                  <a:endParaRPr lang="en-US"/>
                </a:p>
              </p:txBody>
            </p:sp>
            <p:sp>
              <p:nvSpPr>
                <p:cNvPr id="550" name="Freeform: Shape 549">
                  <a:extLst>
                    <a:ext uri="{FF2B5EF4-FFF2-40B4-BE49-F238E27FC236}">
                      <a16:creationId xmlns:a16="http://schemas.microsoft.com/office/drawing/2014/main" id="{FBA9E50E-7A77-482A-8355-443136FF843A}"/>
                    </a:ext>
                  </a:extLst>
                </p:cNvPr>
                <p:cNvSpPr/>
                <p:nvPr/>
              </p:nvSpPr>
              <p:spPr>
                <a:xfrm>
                  <a:off x="8476610" y="3815714"/>
                  <a:ext cx="181478" cy="451299"/>
                </a:xfrm>
                <a:custGeom>
                  <a:avLst/>
                  <a:gdLst>
                    <a:gd name="connsiteX0" fmla="*/ 90657 w 181478"/>
                    <a:gd name="connsiteY0" fmla="*/ 11752 h 451299"/>
                    <a:gd name="connsiteX1" fmla="*/ 92166 w 181478"/>
                    <a:gd name="connsiteY1" fmla="*/ 13203 h 451299"/>
                    <a:gd name="connsiteX2" fmla="*/ 93648 w 181478"/>
                    <a:gd name="connsiteY2" fmla="*/ 13137 h 451299"/>
                    <a:gd name="connsiteX3" fmla="*/ 95132 w 181478"/>
                    <a:gd name="connsiteY3" fmla="*/ 12746 h 451299"/>
                    <a:gd name="connsiteX4" fmla="*/ 96085 w 181478"/>
                    <a:gd name="connsiteY4" fmla="*/ 11589 h 451299"/>
                    <a:gd name="connsiteX5" fmla="*/ 97764 w 181478"/>
                    <a:gd name="connsiteY5" fmla="*/ 11565 h 451299"/>
                    <a:gd name="connsiteX6" fmla="*/ 99736 w 181478"/>
                    <a:gd name="connsiteY6" fmla="*/ 11736 h 451299"/>
                    <a:gd name="connsiteX7" fmla="*/ 100617 w 181478"/>
                    <a:gd name="connsiteY7" fmla="*/ 12200 h 451299"/>
                    <a:gd name="connsiteX8" fmla="*/ 102247 w 181478"/>
                    <a:gd name="connsiteY8" fmla="*/ 14873 h 451299"/>
                    <a:gd name="connsiteX9" fmla="*/ 102980 w 181478"/>
                    <a:gd name="connsiteY9" fmla="*/ 15240 h 451299"/>
                    <a:gd name="connsiteX10" fmla="*/ 104447 w 181478"/>
                    <a:gd name="connsiteY10" fmla="*/ 15052 h 451299"/>
                    <a:gd name="connsiteX11" fmla="*/ 107242 w 181478"/>
                    <a:gd name="connsiteY11" fmla="*/ 14099 h 451299"/>
                    <a:gd name="connsiteX12" fmla="*/ 109492 w 181478"/>
                    <a:gd name="connsiteY12" fmla="*/ 13651 h 451299"/>
                    <a:gd name="connsiteX13" fmla="*/ 111537 w 181478"/>
                    <a:gd name="connsiteY13" fmla="*/ 14710 h 451299"/>
                    <a:gd name="connsiteX14" fmla="*/ 115424 w 181478"/>
                    <a:gd name="connsiteY14" fmla="*/ 17677 h 451299"/>
                    <a:gd name="connsiteX15" fmla="*/ 114325 w 181478"/>
                    <a:gd name="connsiteY15" fmla="*/ 19796 h 451299"/>
                    <a:gd name="connsiteX16" fmla="*/ 113461 w 181478"/>
                    <a:gd name="connsiteY16" fmla="*/ 22077 h 451299"/>
                    <a:gd name="connsiteX17" fmla="*/ 111773 w 181478"/>
                    <a:gd name="connsiteY17" fmla="*/ 23683 h 451299"/>
                    <a:gd name="connsiteX18" fmla="*/ 110510 w 181478"/>
                    <a:gd name="connsiteY18" fmla="*/ 24091 h 451299"/>
                    <a:gd name="connsiteX19" fmla="*/ 109712 w 181478"/>
                    <a:gd name="connsiteY19" fmla="*/ 26324 h 451299"/>
                    <a:gd name="connsiteX20" fmla="*/ 109361 w 181478"/>
                    <a:gd name="connsiteY20" fmla="*/ 29624 h 451299"/>
                    <a:gd name="connsiteX21" fmla="*/ 109801 w 181478"/>
                    <a:gd name="connsiteY21" fmla="*/ 31295 h 451299"/>
                    <a:gd name="connsiteX22" fmla="*/ 110779 w 181478"/>
                    <a:gd name="connsiteY22" fmla="*/ 31825 h 451299"/>
                    <a:gd name="connsiteX23" fmla="*/ 111847 w 181478"/>
                    <a:gd name="connsiteY23" fmla="*/ 32941 h 451299"/>
                    <a:gd name="connsiteX24" fmla="*/ 112295 w 181478"/>
                    <a:gd name="connsiteY24" fmla="*/ 34408 h 451299"/>
                    <a:gd name="connsiteX25" fmla="*/ 112450 w 181478"/>
                    <a:gd name="connsiteY25" fmla="*/ 37676 h 451299"/>
                    <a:gd name="connsiteX26" fmla="*/ 112385 w 181478"/>
                    <a:gd name="connsiteY26" fmla="*/ 41344 h 451299"/>
                    <a:gd name="connsiteX27" fmla="*/ 112531 w 181478"/>
                    <a:gd name="connsiteY27" fmla="*/ 42566 h 451299"/>
                    <a:gd name="connsiteX28" fmla="*/ 113379 w 181478"/>
                    <a:gd name="connsiteY28" fmla="*/ 42338 h 451299"/>
                    <a:gd name="connsiteX29" fmla="*/ 114178 w 181478"/>
                    <a:gd name="connsiteY29" fmla="*/ 41906 h 451299"/>
                    <a:gd name="connsiteX30" fmla="*/ 115775 w 181478"/>
                    <a:gd name="connsiteY30" fmla="*/ 42476 h 451299"/>
                    <a:gd name="connsiteX31" fmla="*/ 117764 w 181478"/>
                    <a:gd name="connsiteY31" fmla="*/ 43430 h 451299"/>
                    <a:gd name="connsiteX32" fmla="*/ 119027 w 181478"/>
                    <a:gd name="connsiteY32" fmla="*/ 44400 h 451299"/>
                    <a:gd name="connsiteX33" fmla="*/ 120160 w 181478"/>
                    <a:gd name="connsiteY33" fmla="*/ 44286 h 451299"/>
                    <a:gd name="connsiteX34" fmla="*/ 121040 w 181478"/>
                    <a:gd name="connsiteY34" fmla="*/ 45231 h 451299"/>
                    <a:gd name="connsiteX35" fmla="*/ 121374 w 181478"/>
                    <a:gd name="connsiteY35" fmla="*/ 47048 h 451299"/>
                    <a:gd name="connsiteX36" fmla="*/ 122401 w 181478"/>
                    <a:gd name="connsiteY36" fmla="*/ 48303 h 451299"/>
                    <a:gd name="connsiteX37" fmla="*/ 125302 w 181478"/>
                    <a:gd name="connsiteY37" fmla="*/ 50700 h 451299"/>
                    <a:gd name="connsiteX38" fmla="*/ 127617 w 181478"/>
                    <a:gd name="connsiteY38" fmla="*/ 50895 h 451299"/>
                    <a:gd name="connsiteX39" fmla="*/ 129580 w 181478"/>
                    <a:gd name="connsiteY39" fmla="*/ 54049 h 451299"/>
                    <a:gd name="connsiteX40" fmla="*/ 131626 w 181478"/>
                    <a:gd name="connsiteY40" fmla="*/ 53014 h 451299"/>
                    <a:gd name="connsiteX41" fmla="*/ 132563 w 181478"/>
                    <a:gd name="connsiteY41" fmla="*/ 54375 h 451299"/>
                    <a:gd name="connsiteX42" fmla="*/ 136769 w 181478"/>
                    <a:gd name="connsiteY42" fmla="*/ 53894 h 451299"/>
                    <a:gd name="connsiteX43" fmla="*/ 139702 w 181478"/>
                    <a:gd name="connsiteY43" fmla="*/ 52615 h 451299"/>
                    <a:gd name="connsiteX44" fmla="*/ 140762 w 181478"/>
                    <a:gd name="connsiteY44" fmla="*/ 52924 h 451299"/>
                    <a:gd name="connsiteX45" fmla="*/ 143394 w 181478"/>
                    <a:gd name="connsiteY45" fmla="*/ 55557 h 451299"/>
                    <a:gd name="connsiteX46" fmla="*/ 144992 w 181478"/>
                    <a:gd name="connsiteY46" fmla="*/ 57187 h 451299"/>
                    <a:gd name="connsiteX47" fmla="*/ 143827 w 181478"/>
                    <a:gd name="connsiteY47" fmla="*/ 57464 h 451299"/>
                    <a:gd name="connsiteX48" fmla="*/ 140933 w 181478"/>
                    <a:gd name="connsiteY48" fmla="*/ 57513 h 451299"/>
                    <a:gd name="connsiteX49" fmla="*/ 138407 w 181478"/>
                    <a:gd name="connsiteY49" fmla="*/ 60349 h 451299"/>
                    <a:gd name="connsiteX50" fmla="*/ 136655 w 181478"/>
                    <a:gd name="connsiteY50" fmla="*/ 61514 h 451299"/>
                    <a:gd name="connsiteX51" fmla="*/ 133933 w 181478"/>
                    <a:gd name="connsiteY51" fmla="*/ 62508 h 451299"/>
                    <a:gd name="connsiteX52" fmla="*/ 131031 w 181478"/>
                    <a:gd name="connsiteY52" fmla="*/ 64098 h 451299"/>
                    <a:gd name="connsiteX53" fmla="*/ 130184 w 181478"/>
                    <a:gd name="connsiteY53" fmla="*/ 66909 h 451299"/>
                    <a:gd name="connsiteX54" fmla="*/ 130127 w 181478"/>
                    <a:gd name="connsiteY54" fmla="*/ 68947 h 451299"/>
                    <a:gd name="connsiteX55" fmla="*/ 129646 w 181478"/>
                    <a:gd name="connsiteY55" fmla="*/ 71212 h 451299"/>
                    <a:gd name="connsiteX56" fmla="*/ 124944 w 181478"/>
                    <a:gd name="connsiteY56" fmla="*/ 74513 h 451299"/>
                    <a:gd name="connsiteX57" fmla="*/ 123631 w 181478"/>
                    <a:gd name="connsiteY57" fmla="*/ 74171 h 451299"/>
                    <a:gd name="connsiteX58" fmla="*/ 122719 w 181478"/>
                    <a:gd name="connsiteY58" fmla="*/ 72948 h 451299"/>
                    <a:gd name="connsiteX59" fmla="*/ 121341 w 181478"/>
                    <a:gd name="connsiteY59" fmla="*/ 73193 h 451299"/>
                    <a:gd name="connsiteX60" fmla="*/ 120396 w 181478"/>
                    <a:gd name="connsiteY60" fmla="*/ 73804 h 451299"/>
                    <a:gd name="connsiteX61" fmla="*/ 119287 w 181478"/>
                    <a:gd name="connsiteY61" fmla="*/ 73722 h 451299"/>
                    <a:gd name="connsiteX62" fmla="*/ 118041 w 181478"/>
                    <a:gd name="connsiteY62" fmla="*/ 74472 h 451299"/>
                    <a:gd name="connsiteX63" fmla="*/ 116419 w 181478"/>
                    <a:gd name="connsiteY63" fmla="*/ 74236 h 451299"/>
                    <a:gd name="connsiteX64" fmla="*/ 114919 w 181478"/>
                    <a:gd name="connsiteY64" fmla="*/ 73201 h 451299"/>
                    <a:gd name="connsiteX65" fmla="*/ 114048 w 181478"/>
                    <a:gd name="connsiteY65" fmla="*/ 72924 h 451299"/>
                    <a:gd name="connsiteX66" fmla="*/ 113012 w 181478"/>
                    <a:gd name="connsiteY66" fmla="*/ 72916 h 451299"/>
                    <a:gd name="connsiteX67" fmla="*/ 112817 w 181478"/>
                    <a:gd name="connsiteY67" fmla="*/ 74146 h 451299"/>
                    <a:gd name="connsiteX68" fmla="*/ 114349 w 181478"/>
                    <a:gd name="connsiteY68" fmla="*/ 78922 h 451299"/>
                    <a:gd name="connsiteX69" fmla="*/ 114756 w 181478"/>
                    <a:gd name="connsiteY69" fmla="*/ 81123 h 451299"/>
                    <a:gd name="connsiteX70" fmla="*/ 109720 w 181478"/>
                    <a:gd name="connsiteY70" fmla="*/ 87577 h 451299"/>
                    <a:gd name="connsiteX71" fmla="*/ 110274 w 181478"/>
                    <a:gd name="connsiteY71" fmla="*/ 91733 h 451299"/>
                    <a:gd name="connsiteX72" fmla="*/ 108905 w 181478"/>
                    <a:gd name="connsiteY72" fmla="*/ 94928 h 451299"/>
                    <a:gd name="connsiteX73" fmla="*/ 105865 w 181478"/>
                    <a:gd name="connsiteY73" fmla="*/ 97487 h 451299"/>
                    <a:gd name="connsiteX74" fmla="*/ 100176 w 181478"/>
                    <a:gd name="connsiteY74" fmla="*/ 104097 h 451299"/>
                    <a:gd name="connsiteX75" fmla="*/ 97601 w 181478"/>
                    <a:gd name="connsiteY75" fmla="*/ 104243 h 451299"/>
                    <a:gd name="connsiteX76" fmla="*/ 95670 w 181478"/>
                    <a:gd name="connsiteY76" fmla="*/ 105743 h 451299"/>
                    <a:gd name="connsiteX77" fmla="*/ 91456 w 181478"/>
                    <a:gd name="connsiteY77" fmla="*/ 116590 h 451299"/>
                    <a:gd name="connsiteX78" fmla="*/ 91407 w 181478"/>
                    <a:gd name="connsiteY78" fmla="*/ 120306 h 451299"/>
                    <a:gd name="connsiteX79" fmla="*/ 90747 w 181478"/>
                    <a:gd name="connsiteY79" fmla="*/ 123020 h 451299"/>
                    <a:gd name="connsiteX80" fmla="*/ 90886 w 181478"/>
                    <a:gd name="connsiteY80" fmla="*/ 125628 h 451299"/>
                    <a:gd name="connsiteX81" fmla="*/ 89036 w 181478"/>
                    <a:gd name="connsiteY81" fmla="*/ 130754 h 451299"/>
                    <a:gd name="connsiteX82" fmla="*/ 87121 w 181478"/>
                    <a:gd name="connsiteY82" fmla="*/ 132922 h 451299"/>
                    <a:gd name="connsiteX83" fmla="*/ 86688 w 181478"/>
                    <a:gd name="connsiteY83" fmla="*/ 135726 h 451299"/>
                    <a:gd name="connsiteX84" fmla="*/ 89419 w 181478"/>
                    <a:gd name="connsiteY84" fmla="*/ 141479 h 451299"/>
                    <a:gd name="connsiteX85" fmla="*/ 89720 w 181478"/>
                    <a:gd name="connsiteY85" fmla="*/ 142498 h 451299"/>
                    <a:gd name="connsiteX86" fmla="*/ 91301 w 181478"/>
                    <a:gd name="connsiteY86" fmla="*/ 145579 h 451299"/>
                    <a:gd name="connsiteX87" fmla="*/ 92075 w 181478"/>
                    <a:gd name="connsiteY87" fmla="*/ 147787 h 451299"/>
                    <a:gd name="connsiteX88" fmla="*/ 93290 w 181478"/>
                    <a:gd name="connsiteY88" fmla="*/ 149988 h 451299"/>
                    <a:gd name="connsiteX89" fmla="*/ 97691 w 181478"/>
                    <a:gd name="connsiteY89" fmla="*/ 155709 h 451299"/>
                    <a:gd name="connsiteX90" fmla="*/ 99647 w 181478"/>
                    <a:gd name="connsiteY90" fmla="*/ 157453 h 451299"/>
                    <a:gd name="connsiteX91" fmla="*/ 102002 w 181478"/>
                    <a:gd name="connsiteY91" fmla="*/ 158643 h 451299"/>
                    <a:gd name="connsiteX92" fmla="*/ 106272 w 181478"/>
                    <a:gd name="connsiteY92" fmla="*/ 163785 h 451299"/>
                    <a:gd name="connsiteX93" fmla="*/ 108432 w 181478"/>
                    <a:gd name="connsiteY93" fmla="*/ 167061 h 451299"/>
                    <a:gd name="connsiteX94" fmla="*/ 107454 w 181478"/>
                    <a:gd name="connsiteY94" fmla="*/ 169294 h 451299"/>
                    <a:gd name="connsiteX95" fmla="*/ 107943 w 181478"/>
                    <a:gd name="connsiteY95" fmla="*/ 174021 h 451299"/>
                    <a:gd name="connsiteX96" fmla="*/ 104887 w 181478"/>
                    <a:gd name="connsiteY96" fmla="*/ 172628 h 451299"/>
                    <a:gd name="connsiteX97" fmla="*/ 105246 w 181478"/>
                    <a:gd name="connsiteY97" fmla="*/ 173190 h 451299"/>
                    <a:gd name="connsiteX98" fmla="*/ 108872 w 181478"/>
                    <a:gd name="connsiteY98" fmla="*/ 175765 h 451299"/>
                    <a:gd name="connsiteX99" fmla="*/ 114308 w 181478"/>
                    <a:gd name="connsiteY99" fmla="*/ 184828 h 451299"/>
                    <a:gd name="connsiteX100" fmla="*/ 119035 w 181478"/>
                    <a:gd name="connsiteY100" fmla="*/ 189286 h 451299"/>
                    <a:gd name="connsiteX101" fmla="*/ 123843 w 181478"/>
                    <a:gd name="connsiteY101" fmla="*/ 194363 h 451299"/>
                    <a:gd name="connsiteX102" fmla="*/ 125343 w 181478"/>
                    <a:gd name="connsiteY102" fmla="*/ 199188 h 451299"/>
                    <a:gd name="connsiteX103" fmla="*/ 129670 w 181478"/>
                    <a:gd name="connsiteY103" fmla="*/ 202374 h 451299"/>
                    <a:gd name="connsiteX104" fmla="*/ 134487 w 181478"/>
                    <a:gd name="connsiteY104" fmla="*/ 206995 h 451299"/>
                    <a:gd name="connsiteX105" fmla="*/ 134283 w 181478"/>
                    <a:gd name="connsiteY105" fmla="*/ 208030 h 451299"/>
                    <a:gd name="connsiteX106" fmla="*/ 135595 w 181478"/>
                    <a:gd name="connsiteY106" fmla="*/ 209269 h 451299"/>
                    <a:gd name="connsiteX107" fmla="*/ 138830 w 181478"/>
                    <a:gd name="connsiteY107" fmla="*/ 211722 h 451299"/>
                    <a:gd name="connsiteX108" fmla="*/ 140778 w 181478"/>
                    <a:gd name="connsiteY108" fmla="*/ 214305 h 451299"/>
                    <a:gd name="connsiteX109" fmla="*/ 141544 w 181478"/>
                    <a:gd name="connsiteY109" fmla="*/ 216775 h 451299"/>
                    <a:gd name="connsiteX110" fmla="*/ 142734 w 181478"/>
                    <a:gd name="connsiteY110" fmla="*/ 217166 h 451299"/>
                    <a:gd name="connsiteX111" fmla="*/ 144079 w 181478"/>
                    <a:gd name="connsiteY111" fmla="*/ 216563 h 451299"/>
                    <a:gd name="connsiteX112" fmla="*/ 145432 w 181478"/>
                    <a:gd name="connsiteY112" fmla="*/ 216327 h 451299"/>
                    <a:gd name="connsiteX113" fmla="*/ 146385 w 181478"/>
                    <a:gd name="connsiteY113" fmla="*/ 216506 h 451299"/>
                    <a:gd name="connsiteX114" fmla="*/ 147844 w 181478"/>
                    <a:gd name="connsiteY114" fmla="*/ 219203 h 451299"/>
                    <a:gd name="connsiteX115" fmla="*/ 149874 w 181478"/>
                    <a:gd name="connsiteY115" fmla="*/ 221624 h 451299"/>
                    <a:gd name="connsiteX116" fmla="*/ 150843 w 181478"/>
                    <a:gd name="connsiteY116" fmla="*/ 223841 h 451299"/>
                    <a:gd name="connsiteX117" fmla="*/ 151642 w 181478"/>
                    <a:gd name="connsiteY117" fmla="*/ 223547 h 451299"/>
                    <a:gd name="connsiteX118" fmla="*/ 152294 w 181478"/>
                    <a:gd name="connsiteY118" fmla="*/ 223881 h 451299"/>
                    <a:gd name="connsiteX119" fmla="*/ 152465 w 181478"/>
                    <a:gd name="connsiteY119" fmla="*/ 225739 h 451299"/>
                    <a:gd name="connsiteX120" fmla="*/ 152750 w 181478"/>
                    <a:gd name="connsiteY120" fmla="*/ 226962 h 451299"/>
                    <a:gd name="connsiteX121" fmla="*/ 155456 w 181478"/>
                    <a:gd name="connsiteY121" fmla="*/ 230515 h 451299"/>
                    <a:gd name="connsiteX122" fmla="*/ 156752 w 181478"/>
                    <a:gd name="connsiteY122" fmla="*/ 233873 h 451299"/>
                    <a:gd name="connsiteX123" fmla="*/ 159987 w 181478"/>
                    <a:gd name="connsiteY123" fmla="*/ 239309 h 451299"/>
                    <a:gd name="connsiteX124" fmla="*/ 162383 w 181478"/>
                    <a:gd name="connsiteY124" fmla="*/ 242389 h 451299"/>
                    <a:gd name="connsiteX125" fmla="*/ 164079 w 181478"/>
                    <a:gd name="connsiteY125" fmla="*/ 244125 h 451299"/>
                    <a:gd name="connsiteX126" fmla="*/ 166026 w 181478"/>
                    <a:gd name="connsiteY126" fmla="*/ 245608 h 451299"/>
                    <a:gd name="connsiteX127" fmla="*/ 167925 w 181478"/>
                    <a:gd name="connsiteY127" fmla="*/ 251623 h 451299"/>
                    <a:gd name="connsiteX128" fmla="*/ 168960 w 181478"/>
                    <a:gd name="connsiteY128" fmla="*/ 257075 h 451299"/>
                    <a:gd name="connsiteX129" fmla="*/ 171006 w 181478"/>
                    <a:gd name="connsiteY129" fmla="*/ 263122 h 451299"/>
                    <a:gd name="connsiteX130" fmla="*/ 172554 w 181478"/>
                    <a:gd name="connsiteY130" fmla="*/ 265763 h 451299"/>
                    <a:gd name="connsiteX131" fmla="*/ 172611 w 181478"/>
                    <a:gd name="connsiteY131" fmla="*/ 270742 h 451299"/>
                    <a:gd name="connsiteX132" fmla="*/ 173850 w 181478"/>
                    <a:gd name="connsiteY132" fmla="*/ 275868 h 451299"/>
                    <a:gd name="connsiteX133" fmla="*/ 175195 w 181478"/>
                    <a:gd name="connsiteY133" fmla="*/ 279324 h 451299"/>
                    <a:gd name="connsiteX134" fmla="*/ 175594 w 181478"/>
                    <a:gd name="connsiteY134" fmla="*/ 282853 h 451299"/>
                    <a:gd name="connsiteX135" fmla="*/ 176002 w 181478"/>
                    <a:gd name="connsiteY135" fmla="*/ 284605 h 451299"/>
                    <a:gd name="connsiteX136" fmla="*/ 176507 w 181478"/>
                    <a:gd name="connsiteY136" fmla="*/ 285925 h 451299"/>
                    <a:gd name="connsiteX137" fmla="*/ 177974 w 181478"/>
                    <a:gd name="connsiteY137" fmla="*/ 291907 h 451299"/>
                    <a:gd name="connsiteX138" fmla="*/ 177591 w 181478"/>
                    <a:gd name="connsiteY138" fmla="*/ 294686 h 451299"/>
                    <a:gd name="connsiteX139" fmla="*/ 176580 w 181478"/>
                    <a:gd name="connsiteY139" fmla="*/ 291956 h 451299"/>
                    <a:gd name="connsiteX140" fmla="*/ 176703 w 181478"/>
                    <a:gd name="connsiteY140" fmla="*/ 299975 h 451299"/>
                    <a:gd name="connsiteX141" fmla="*/ 177591 w 181478"/>
                    <a:gd name="connsiteY141" fmla="*/ 304221 h 451299"/>
                    <a:gd name="connsiteX142" fmla="*/ 177183 w 181478"/>
                    <a:gd name="connsiteY142" fmla="*/ 309429 h 451299"/>
                    <a:gd name="connsiteX143" fmla="*/ 178121 w 181478"/>
                    <a:gd name="connsiteY143" fmla="*/ 311254 h 451299"/>
                    <a:gd name="connsiteX144" fmla="*/ 179783 w 181478"/>
                    <a:gd name="connsiteY144" fmla="*/ 317122 h 451299"/>
                    <a:gd name="connsiteX145" fmla="*/ 180965 w 181478"/>
                    <a:gd name="connsiteY145" fmla="*/ 319233 h 451299"/>
                    <a:gd name="connsiteX146" fmla="*/ 180867 w 181478"/>
                    <a:gd name="connsiteY146" fmla="*/ 326413 h 451299"/>
                    <a:gd name="connsiteX147" fmla="*/ 181478 w 181478"/>
                    <a:gd name="connsiteY147" fmla="*/ 330032 h 451299"/>
                    <a:gd name="connsiteX148" fmla="*/ 179913 w 181478"/>
                    <a:gd name="connsiteY148" fmla="*/ 327872 h 451299"/>
                    <a:gd name="connsiteX149" fmla="*/ 178764 w 181478"/>
                    <a:gd name="connsiteY149" fmla="*/ 325419 h 451299"/>
                    <a:gd name="connsiteX150" fmla="*/ 177240 w 181478"/>
                    <a:gd name="connsiteY150" fmla="*/ 326715 h 451299"/>
                    <a:gd name="connsiteX151" fmla="*/ 175863 w 181478"/>
                    <a:gd name="connsiteY151" fmla="*/ 328638 h 451299"/>
                    <a:gd name="connsiteX152" fmla="*/ 177990 w 181478"/>
                    <a:gd name="connsiteY152" fmla="*/ 336348 h 451299"/>
                    <a:gd name="connsiteX153" fmla="*/ 175569 w 181478"/>
                    <a:gd name="connsiteY153" fmla="*/ 335614 h 451299"/>
                    <a:gd name="connsiteX154" fmla="*/ 175781 w 181478"/>
                    <a:gd name="connsiteY154" fmla="*/ 345981 h 451299"/>
                    <a:gd name="connsiteX155" fmla="*/ 176784 w 181478"/>
                    <a:gd name="connsiteY155" fmla="*/ 348409 h 451299"/>
                    <a:gd name="connsiteX156" fmla="*/ 176865 w 181478"/>
                    <a:gd name="connsiteY156" fmla="*/ 349567 h 451299"/>
                    <a:gd name="connsiteX157" fmla="*/ 176572 w 181478"/>
                    <a:gd name="connsiteY157" fmla="*/ 350952 h 451299"/>
                    <a:gd name="connsiteX158" fmla="*/ 175904 w 181478"/>
                    <a:gd name="connsiteY158" fmla="*/ 349436 h 451299"/>
                    <a:gd name="connsiteX159" fmla="*/ 175757 w 181478"/>
                    <a:gd name="connsiteY159" fmla="*/ 347880 h 451299"/>
                    <a:gd name="connsiteX160" fmla="*/ 175374 w 181478"/>
                    <a:gd name="connsiteY160" fmla="*/ 348222 h 451299"/>
                    <a:gd name="connsiteX161" fmla="*/ 175398 w 181478"/>
                    <a:gd name="connsiteY161" fmla="*/ 349029 h 451299"/>
                    <a:gd name="connsiteX162" fmla="*/ 174584 w 181478"/>
                    <a:gd name="connsiteY162" fmla="*/ 350854 h 451299"/>
                    <a:gd name="connsiteX163" fmla="*/ 174347 w 181478"/>
                    <a:gd name="connsiteY163" fmla="*/ 353128 h 451299"/>
                    <a:gd name="connsiteX164" fmla="*/ 175211 w 181478"/>
                    <a:gd name="connsiteY164" fmla="*/ 355043 h 451299"/>
                    <a:gd name="connsiteX165" fmla="*/ 175366 w 181478"/>
                    <a:gd name="connsiteY165" fmla="*/ 356518 h 451299"/>
                    <a:gd name="connsiteX166" fmla="*/ 174738 w 181478"/>
                    <a:gd name="connsiteY166" fmla="*/ 358344 h 451299"/>
                    <a:gd name="connsiteX167" fmla="*/ 173728 w 181478"/>
                    <a:gd name="connsiteY167" fmla="*/ 360267 h 451299"/>
                    <a:gd name="connsiteX168" fmla="*/ 171421 w 181478"/>
                    <a:gd name="connsiteY168" fmla="*/ 360520 h 451299"/>
                    <a:gd name="connsiteX169" fmla="*/ 170900 w 181478"/>
                    <a:gd name="connsiteY169" fmla="*/ 364285 h 451299"/>
                    <a:gd name="connsiteX170" fmla="*/ 170109 w 181478"/>
                    <a:gd name="connsiteY170" fmla="*/ 368270 h 451299"/>
                    <a:gd name="connsiteX171" fmla="*/ 165994 w 181478"/>
                    <a:gd name="connsiteY171" fmla="*/ 368906 h 451299"/>
                    <a:gd name="connsiteX172" fmla="*/ 163011 w 181478"/>
                    <a:gd name="connsiteY172" fmla="*/ 372418 h 451299"/>
                    <a:gd name="connsiteX173" fmla="*/ 159311 w 181478"/>
                    <a:gd name="connsiteY173" fmla="*/ 373730 h 451299"/>
                    <a:gd name="connsiteX174" fmla="*/ 156027 w 181478"/>
                    <a:gd name="connsiteY174" fmla="*/ 377210 h 451299"/>
                    <a:gd name="connsiteX175" fmla="*/ 152384 w 181478"/>
                    <a:gd name="connsiteY175" fmla="*/ 380429 h 451299"/>
                    <a:gd name="connsiteX176" fmla="*/ 150012 w 181478"/>
                    <a:gd name="connsiteY176" fmla="*/ 380845 h 451299"/>
                    <a:gd name="connsiteX177" fmla="*/ 147991 w 181478"/>
                    <a:gd name="connsiteY177" fmla="*/ 381538 h 451299"/>
                    <a:gd name="connsiteX178" fmla="*/ 145676 w 181478"/>
                    <a:gd name="connsiteY178" fmla="*/ 386884 h 451299"/>
                    <a:gd name="connsiteX179" fmla="*/ 141805 w 181478"/>
                    <a:gd name="connsiteY179" fmla="*/ 387495 h 451299"/>
                    <a:gd name="connsiteX180" fmla="*/ 134837 w 181478"/>
                    <a:gd name="connsiteY180" fmla="*/ 391864 h 451299"/>
                    <a:gd name="connsiteX181" fmla="*/ 132506 w 181478"/>
                    <a:gd name="connsiteY181" fmla="*/ 393966 h 451299"/>
                    <a:gd name="connsiteX182" fmla="*/ 130371 w 181478"/>
                    <a:gd name="connsiteY182" fmla="*/ 394789 h 451299"/>
                    <a:gd name="connsiteX183" fmla="*/ 127331 w 181478"/>
                    <a:gd name="connsiteY183" fmla="*/ 396615 h 451299"/>
                    <a:gd name="connsiteX184" fmla="*/ 126671 w 181478"/>
                    <a:gd name="connsiteY184" fmla="*/ 395955 h 451299"/>
                    <a:gd name="connsiteX185" fmla="*/ 125677 w 181478"/>
                    <a:gd name="connsiteY185" fmla="*/ 394414 h 451299"/>
                    <a:gd name="connsiteX186" fmla="*/ 123044 w 181478"/>
                    <a:gd name="connsiteY186" fmla="*/ 393599 h 451299"/>
                    <a:gd name="connsiteX187" fmla="*/ 121749 w 181478"/>
                    <a:gd name="connsiteY187" fmla="*/ 391847 h 451299"/>
                    <a:gd name="connsiteX188" fmla="*/ 121382 w 181478"/>
                    <a:gd name="connsiteY188" fmla="*/ 389598 h 451299"/>
                    <a:gd name="connsiteX189" fmla="*/ 121023 w 181478"/>
                    <a:gd name="connsiteY189" fmla="*/ 388710 h 451299"/>
                    <a:gd name="connsiteX190" fmla="*/ 120461 w 181478"/>
                    <a:gd name="connsiteY190" fmla="*/ 389981 h 451299"/>
                    <a:gd name="connsiteX191" fmla="*/ 120021 w 181478"/>
                    <a:gd name="connsiteY191" fmla="*/ 395344 h 451299"/>
                    <a:gd name="connsiteX192" fmla="*/ 119556 w 181478"/>
                    <a:gd name="connsiteY192" fmla="*/ 396566 h 451299"/>
                    <a:gd name="connsiteX193" fmla="*/ 118432 w 181478"/>
                    <a:gd name="connsiteY193" fmla="*/ 397088 h 451299"/>
                    <a:gd name="connsiteX194" fmla="*/ 116215 w 181478"/>
                    <a:gd name="connsiteY194" fmla="*/ 395555 h 451299"/>
                    <a:gd name="connsiteX195" fmla="*/ 114096 w 181478"/>
                    <a:gd name="connsiteY195" fmla="*/ 392467 h 451299"/>
                    <a:gd name="connsiteX196" fmla="*/ 111089 w 181478"/>
                    <a:gd name="connsiteY196" fmla="*/ 394602 h 451299"/>
                    <a:gd name="connsiteX197" fmla="*/ 112002 w 181478"/>
                    <a:gd name="connsiteY197" fmla="*/ 394863 h 451299"/>
                    <a:gd name="connsiteX198" fmla="*/ 113379 w 181478"/>
                    <a:gd name="connsiteY198" fmla="*/ 394691 h 451299"/>
                    <a:gd name="connsiteX199" fmla="*/ 114431 w 181478"/>
                    <a:gd name="connsiteY199" fmla="*/ 395221 h 451299"/>
                    <a:gd name="connsiteX200" fmla="*/ 115335 w 181478"/>
                    <a:gd name="connsiteY200" fmla="*/ 397275 h 451299"/>
                    <a:gd name="connsiteX201" fmla="*/ 115303 w 181478"/>
                    <a:gd name="connsiteY201" fmla="*/ 398400 h 451299"/>
                    <a:gd name="connsiteX202" fmla="*/ 114829 w 181478"/>
                    <a:gd name="connsiteY202" fmla="*/ 399703 h 451299"/>
                    <a:gd name="connsiteX203" fmla="*/ 112010 w 181478"/>
                    <a:gd name="connsiteY203" fmla="*/ 399907 h 451299"/>
                    <a:gd name="connsiteX204" fmla="*/ 108237 w 181478"/>
                    <a:gd name="connsiteY204" fmla="*/ 399451 h 451299"/>
                    <a:gd name="connsiteX205" fmla="*/ 107560 w 181478"/>
                    <a:gd name="connsiteY205" fmla="*/ 399622 h 451299"/>
                    <a:gd name="connsiteX206" fmla="*/ 110983 w 181478"/>
                    <a:gd name="connsiteY206" fmla="*/ 401627 h 451299"/>
                    <a:gd name="connsiteX207" fmla="*/ 114129 w 181478"/>
                    <a:gd name="connsiteY207" fmla="*/ 402792 h 451299"/>
                    <a:gd name="connsiteX208" fmla="*/ 115522 w 181478"/>
                    <a:gd name="connsiteY208" fmla="*/ 404064 h 451299"/>
                    <a:gd name="connsiteX209" fmla="*/ 115522 w 181478"/>
                    <a:gd name="connsiteY209" fmla="*/ 405107 h 451299"/>
                    <a:gd name="connsiteX210" fmla="*/ 113762 w 181478"/>
                    <a:gd name="connsiteY210" fmla="*/ 406802 h 451299"/>
                    <a:gd name="connsiteX211" fmla="*/ 112401 w 181478"/>
                    <a:gd name="connsiteY211" fmla="*/ 408872 h 451299"/>
                    <a:gd name="connsiteX212" fmla="*/ 112368 w 181478"/>
                    <a:gd name="connsiteY212" fmla="*/ 410160 h 451299"/>
                    <a:gd name="connsiteX213" fmla="*/ 112336 w 181478"/>
                    <a:gd name="connsiteY213" fmla="*/ 411594 h 451299"/>
                    <a:gd name="connsiteX214" fmla="*/ 110812 w 181478"/>
                    <a:gd name="connsiteY214" fmla="*/ 412833 h 451299"/>
                    <a:gd name="connsiteX215" fmla="*/ 109867 w 181478"/>
                    <a:gd name="connsiteY215" fmla="*/ 412588 h 451299"/>
                    <a:gd name="connsiteX216" fmla="*/ 107177 w 181478"/>
                    <a:gd name="connsiteY216" fmla="*/ 410429 h 451299"/>
                    <a:gd name="connsiteX217" fmla="*/ 99435 w 181478"/>
                    <a:gd name="connsiteY217" fmla="*/ 401920 h 451299"/>
                    <a:gd name="connsiteX218" fmla="*/ 100600 w 181478"/>
                    <a:gd name="connsiteY218" fmla="*/ 404325 h 451299"/>
                    <a:gd name="connsiteX219" fmla="*/ 108628 w 181478"/>
                    <a:gd name="connsiteY219" fmla="*/ 414006 h 451299"/>
                    <a:gd name="connsiteX220" fmla="*/ 110046 w 181478"/>
                    <a:gd name="connsiteY220" fmla="*/ 417185 h 451299"/>
                    <a:gd name="connsiteX221" fmla="*/ 110250 w 181478"/>
                    <a:gd name="connsiteY221" fmla="*/ 419434 h 451299"/>
                    <a:gd name="connsiteX222" fmla="*/ 109418 w 181478"/>
                    <a:gd name="connsiteY222" fmla="*/ 420567 h 451299"/>
                    <a:gd name="connsiteX223" fmla="*/ 108049 w 181478"/>
                    <a:gd name="connsiteY223" fmla="*/ 421895 h 451299"/>
                    <a:gd name="connsiteX224" fmla="*/ 105425 w 181478"/>
                    <a:gd name="connsiteY224" fmla="*/ 421993 h 451299"/>
                    <a:gd name="connsiteX225" fmla="*/ 101106 w 181478"/>
                    <a:gd name="connsiteY225" fmla="*/ 418399 h 451299"/>
                    <a:gd name="connsiteX226" fmla="*/ 94203 w 181478"/>
                    <a:gd name="connsiteY226" fmla="*/ 409760 h 451299"/>
                    <a:gd name="connsiteX227" fmla="*/ 91848 w 181478"/>
                    <a:gd name="connsiteY227" fmla="*/ 408587 h 451299"/>
                    <a:gd name="connsiteX228" fmla="*/ 98832 w 181478"/>
                    <a:gd name="connsiteY228" fmla="*/ 418456 h 451299"/>
                    <a:gd name="connsiteX229" fmla="*/ 99981 w 181478"/>
                    <a:gd name="connsiteY229" fmla="*/ 420844 h 451299"/>
                    <a:gd name="connsiteX230" fmla="*/ 101162 w 181478"/>
                    <a:gd name="connsiteY230" fmla="*/ 423607 h 451299"/>
                    <a:gd name="connsiteX231" fmla="*/ 100820 w 181478"/>
                    <a:gd name="connsiteY231" fmla="*/ 425253 h 451299"/>
                    <a:gd name="connsiteX232" fmla="*/ 100225 w 181478"/>
                    <a:gd name="connsiteY232" fmla="*/ 426793 h 451299"/>
                    <a:gd name="connsiteX233" fmla="*/ 83673 w 181478"/>
                    <a:gd name="connsiteY233" fmla="*/ 435937 h 451299"/>
                    <a:gd name="connsiteX234" fmla="*/ 81196 w 181478"/>
                    <a:gd name="connsiteY234" fmla="*/ 439874 h 451299"/>
                    <a:gd name="connsiteX235" fmla="*/ 79240 w 181478"/>
                    <a:gd name="connsiteY235" fmla="*/ 444731 h 451299"/>
                    <a:gd name="connsiteX236" fmla="*/ 75996 w 181478"/>
                    <a:gd name="connsiteY236" fmla="*/ 447445 h 451299"/>
                    <a:gd name="connsiteX237" fmla="*/ 74089 w 181478"/>
                    <a:gd name="connsiteY237" fmla="*/ 449914 h 451299"/>
                    <a:gd name="connsiteX238" fmla="*/ 68572 w 181478"/>
                    <a:gd name="connsiteY238" fmla="*/ 451300 h 451299"/>
                    <a:gd name="connsiteX239" fmla="*/ 65564 w 181478"/>
                    <a:gd name="connsiteY239" fmla="*/ 450868 h 451299"/>
                    <a:gd name="connsiteX240" fmla="*/ 68678 w 181478"/>
                    <a:gd name="connsiteY240" fmla="*/ 446377 h 451299"/>
                    <a:gd name="connsiteX241" fmla="*/ 66754 w 181478"/>
                    <a:gd name="connsiteY241" fmla="*/ 444715 h 451299"/>
                    <a:gd name="connsiteX242" fmla="*/ 66657 w 181478"/>
                    <a:gd name="connsiteY242" fmla="*/ 433166 h 451299"/>
                    <a:gd name="connsiteX243" fmla="*/ 67414 w 181478"/>
                    <a:gd name="connsiteY243" fmla="*/ 420485 h 451299"/>
                    <a:gd name="connsiteX244" fmla="*/ 68857 w 181478"/>
                    <a:gd name="connsiteY244" fmla="*/ 414145 h 451299"/>
                    <a:gd name="connsiteX245" fmla="*/ 70952 w 181478"/>
                    <a:gd name="connsiteY245" fmla="*/ 412572 h 451299"/>
                    <a:gd name="connsiteX246" fmla="*/ 73551 w 181478"/>
                    <a:gd name="connsiteY246" fmla="*/ 411594 h 451299"/>
                    <a:gd name="connsiteX247" fmla="*/ 73608 w 181478"/>
                    <a:gd name="connsiteY247" fmla="*/ 410249 h 451299"/>
                    <a:gd name="connsiteX248" fmla="*/ 73356 w 181478"/>
                    <a:gd name="connsiteY248" fmla="*/ 408733 h 451299"/>
                    <a:gd name="connsiteX249" fmla="*/ 71946 w 181478"/>
                    <a:gd name="connsiteY249" fmla="*/ 406566 h 451299"/>
                    <a:gd name="connsiteX250" fmla="*/ 70414 w 181478"/>
                    <a:gd name="connsiteY250" fmla="*/ 405563 h 451299"/>
                    <a:gd name="connsiteX251" fmla="*/ 68124 w 181478"/>
                    <a:gd name="connsiteY251" fmla="*/ 405131 h 451299"/>
                    <a:gd name="connsiteX252" fmla="*/ 66347 w 181478"/>
                    <a:gd name="connsiteY252" fmla="*/ 402475 h 451299"/>
                    <a:gd name="connsiteX253" fmla="*/ 65002 w 181478"/>
                    <a:gd name="connsiteY253" fmla="*/ 402589 h 451299"/>
                    <a:gd name="connsiteX254" fmla="*/ 62916 w 181478"/>
                    <a:gd name="connsiteY254" fmla="*/ 403469 h 451299"/>
                    <a:gd name="connsiteX255" fmla="*/ 61661 w 181478"/>
                    <a:gd name="connsiteY255" fmla="*/ 402328 h 451299"/>
                    <a:gd name="connsiteX256" fmla="*/ 61196 w 181478"/>
                    <a:gd name="connsiteY256" fmla="*/ 400543 h 451299"/>
                    <a:gd name="connsiteX257" fmla="*/ 59265 w 181478"/>
                    <a:gd name="connsiteY257" fmla="*/ 398334 h 451299"/>
                    <a:gd name="connsiteX258" fmla="*/ 57048 w 181478"/>
                    <a:gd name="connsiteY258" fmla="*/ 396183 h 451299"/>
                    <a:gd name="connsiteX259" fmla="*/ 58050 w 181478"/>
                    <a:gd name="connsiteY259" fmla="*/ 395841 h 451299"/>
                    <a:gd name="connsiteX260" fmla="*/ 59216 w 181478"/>
                    <a:gd name="connsiteY260" fmla="*/ 394602 h 451299"/>
                    <a:gd name="connsiteX261" fmla="*/ 60463 w 181478"/>
                    <a:gd name="connsiteY261" fmla="*/ 393021 h 451299"/>
                    <a:gd name="connsiteX262" fmla="*/ 63568 w 181478"/>
                    <a:gd name="connsiteY262" fmla="*/ 392801 h 451299"/>
                    <a:gd name="connsiteX263" fmla="*/ 66698 w 181478"/>
                    <a:gd name="connsiteY263" fmla="*/ 392874 h 451299"/>
                    <a:gd name="connsiteX264" fmla="*/ 67570 w 181478"/>
                    <a:gd name="connsiteY264" fmla="*/ 392467 h 451299"/>
                    <a:gd name="connsiteX265" fmla="*/ 68816 w 181478"/>
                    <a:gd name="connsiteY265" fmla="*/ 390780 h 451299"/>
                    <a:gd name="connsiteX266" fmla="*/ 70870 w 181478"/>
                    <a:gd name="connsiteY266" fmla="*/ 388612 h 451299"/>
                    <a:gd name="connsiteX267" fmla="*/ 72418 w 181478"/>
                    <a:gd name="connsiteY267" fmla="*/ 387414 h 451299"/>
                    <a:gd name="connsiteX268" fmla="*/ 72777 w 181478"/>
                    <a:gd name="connsiteY268" fmla="*/ 386444 h 451299"/>
                    <a:gd name="connsiteX269" fmla="*/ 72158 w 181478"/>
                    <a:gd name="connsiteY269" fmla="*/ 384162 h 451299"/>
                    <a:gd name="connsiteX270" fmla="*/ 71816 w 181478"/>
                    <a:gd name="connsiteY270" fmla="*/ 381823 h 451299"/>
                    <a:gd name="connsiteX271" fmla="*/ 72402 w 181478"/>
                    <a:gd name="connsiteY271" fmla="*/ 381082 h 451299"/>
                    <a:gd name="connsiteX272" fmla="*/ 75230 w 181478"/>
                    <a:gd name="connsiteY272" fmla="*/ 381497 h 451299"/>
                    <a:gd name="connsiteX273" fmla="*/ 78319 w 181478"/>
                    <a:gd name="connsiteY273" fmla="*/ 382589 h 451299"/>
                    <a:gd name="connsiteX274" fmla="*/ 79068 w 181478"/>
                    <a:gd name="connsiteY274" fmla="*/ 383078 h 451299"/>
                    <a:gd name="connsiteX275" fmla="*/ 80862 w 181478"/>
                    <a:gd name="connsiteY275" fmla="*/ 380209 h 451299"/>
                    <a:gd name="connsiteX276" fmla="*/ 81343 w 181478"/>
                    <a:gd name="connsiteY276" fmla="*/ 379859 h 451299"/>
                    <a:gd name="connsiteX277" fmla="*/ 82508 w 181478"/>
                    <a:gd name="connsiteY277" fmla="*/ 379867 h 451299"/>
                    <a:gd name="connsiteX278" fmla="*/ 85580 w 181478"/>
                    <a:gd name="connsiteY278" fmla="*/ 379346 h 451299"/>
                    <a:gd name="connsiteX279" fmla="*/ 88588 w 181478"/>
                    <a:gd name="connsiteY279" fmla="*/ 378588 h 451299"/>
                    <a:gd name="connsiteX280" fmla="*/ 89997 w 181478"/>
                    <a:gd name="connsiteY280" fmla="*/ 378710 h 451299"/>
                    <a:gd name="connsiteX281" fmla="*/ 91391 w 181478"/>
                    <a:gd name="connsiteY281" fmla="*/ 380633 h 451299"/>
                    <a:gd name="connsiteX282" fmla="*/ 92451 w 181478"/>
                    <a:gd name="connsiteY282" fmla="*/ 382524 h 451299"/>
                    <a:gd name="connsiteX283" fmla="*/ 92980 w 181478"/>
                    <a:gd name="connsiteY283" fmla="*/ 382687 h 451299"/>
                    <a:gd name="connsiteX284" fmla="*/ 94545 w 181478"/>
                    <a:gd name="connsiteY284" fmla="*/ 381880 h 451299"/>
                    <a:gd name="connsiteX285" fmla="*/ 95832 w 181478"/>
                    <a:gd name="connsiteY285" fmla="*/ 382891 h 451299"/>
                    <a:gd name="connsiteX286" fmla="*/ 98522 w 181478"/>
                    <a:gd name="connsiteY286" fmla="*/ 384537 h 451299"/>
                    <a:gd name="connsiteX287" fmla="*/ 100136 w 181478"/>
                    <a:gd name="connsiteY287" fmla="*/ 384610 h 451299"/>
                    <a:gd name="connsiteX288" fmla="*/ 99329 w 181478"/>
                    <a:gd name="connsiteY288" fmla="*/ 380772 h 451299"/>
                    <a:gd name="connsiteX289" fmla="*/ 100225 w 181478"/>
                    <a:gd name="connsiteY289" fmla="*/ 378042 h 451299"/>
                    <a:gd name="connsiteX290" fmla="*/ 100054 w 181478"/>
                    <a:gd name="connsiteY290" fmla="*/ 377292 h 451299"/>
                    <a:gd name="connsiteX291" fmla="*/ 98538 w 181478"/>
                    <a:gd name="connsiteY291" fmla="*/ 376037 h 451299"/>
                    <a:gd name="connsiteX292" fmla="*/ 93371 w 181478"/>
                    <a:gd name="connsiteY292" fmla="*/ 371008 h 451299"/>
                    <a:gd name="connsiteX293" fmla="*/ 92491 w 181478"/>
                    <a:gd name="connsiteY293" fmla="*/ 369517 h 451299"/>
                    <a:gd name="connsiteX294" fmla="*/ 92622 w 181478"/>
                    <a:gd name="connsiteY294" fmla="*/ 367154 h 451299"/>
                    <a:gd name="connsiteX295" fmla="*/ 92451 w 181478"/>
                    <a:gd name="connsiteY295" fmla="*/ 363682 h 451299"/>
                    <a:gd name="connsiteX296" fmla="*/ 91986 w 181478"/>
                    <a:gd name="connsiteY296" fmla="*/ 361498 h 451299"/>
                    <a:gd name="connsiteX297" fmla="*/ 92068 w 181478"/>
                    <a:gd name="connsiteY297" fmla="*/ 360226 h 451299"/>
                    <a:gd name="connsiteX298" fmla="*/ 92393 w 181478"/>
                    <a:gd name="connsiteY298" fmla="*/ 359208 h 451299"/>
                    <a:gd name="connsiteX299" fmla="*/ 93330 w 181478"/>
                    <a:gd name="connsiteY299" fmla="*/ 358808 h 451299"/>
                    <a:gd name="connsiteX300" fmla="*/ 94252 w 181478"/>
                    <a:gd name="connsiteY300" fmla="*/ 358670 h 451299"/>
                    <a:gd name="connsiteX301" fmla="*/ 94985 w 181478"/>
                    <a:gd name="connsiteY301" fmla="*/ 357773 h 451299"/>
                    <a:gd name="connsiteX302" fmla="*/ 96224 w 181478"/>
                    <a:gd name="connsiteY302" fmla="*/ 355491 h 451299"/>
                    <a:gd name="connsiteX303" fmla="*/ 98620 w 181478"/>
                    <a:gd name="connsiteY303" fmla="*/ 355695 h 451299"/>
                    <a:gd name="connsiteX304" fmla="*/ 102002 w 181478"/>
                    <a:gd name="connsiteY304" fmla="*/ 356999 h 451299"/>
                    <a:gd name="connsiteX305" fmla="*/ 104504 w 181478"/>
                    <a:gd name="connsiteY305" fmla="*/ 357798 h 451299"/>
                    <a:gd name="connsiteX306" fmla="*/ 105979 w 181478"/>
                    <a:gd name="connsiteY306" fmla="*/ 357643 h 451299"/>
                    <a:gd name="connsiteX307" fmla="*/ 106305 w 181478"/>
                    <a:gd name="connsiteY307" fmla="*/ 357309 h 451299"/>
                    <a:gd name="connsiteX308" fmla="*/ 106256 w 181478"/>
                    <a:gd name="connsiteY308" fmla="*/ 356086 h 451299"/>
                    <a:gd name="connsiteX309" fmla="*/ 106428 w 181478"/>
                    <a:gd name="connsiteY309" fmla="*/ 350838 h 451299"/>
                    <a:gd name="connsiteX310" fmla="*/ 106330 w 181478"/>
                    <a:gd name="connsiteY310" fmla="*/ 349721 h 451299"/>
                    <a:gd name="connsiteX311" fmla="*/ 108457 w 181478"/>
                    <a:gd name="connsiteY311" fmla="*/ 349216 h 451299"/>
                    <a:gd name="connsiteX312" fmla="*/ 111717 w 181478"/>
                    <a:gd name="connsiteY312" fmla="*/ 349102 h 451299"/>
                    <a:gd name="connsiteX313" fmla="*/ 113428 w 181478"/>
                    <a:gd name="connsiteY313" fmla="*/ 348800 h 451299"/>
                    <a:gd name="connsiteX314" fmla="*/ 115025 w 181478"/>
                    <a:gd name="connsiteY314" fmla="*/ 346584 h 451299"/>
                    <a:gd name="connsiteX315" fmla="*/ 119141 w 181478"/>
                    <a:gd name="connsiteY315" fmla="*/ 345826 h 451299"/>
                    <a:gd name="connsiteX316" fmla="*/ 122116 w 181478"/>
                    <a:gd name="connsiteY316" fmla="*/ 342851 h 451299"/>
                    <a:gd name="connsiteX317" fmla="*/ 124813 w 181478"/>
                    <a:gd name="connsiteY317" fmla="*/ 339787 h 451299"/>
                    <a:gd name="connsiteX318" fmla="*/ 126117 w 181478"/>
                    <a:gd name="connsiteY318" fmla="*/ 338972 h 451299"/>
                    <a:gd name="connsiteX319" fmla="*/ 127796 w 181478"/>
                    <a:gd name="connsiteY319" fmla="*/ 338434 h 451299"/>
                    <a:gd name="connsiteX320" fmla="*/ 129043 w 181478"/>
                    <a:gd name="connsiteY320" fmla="*/ 338515 h 451299"/>
                    <a:gd name="connsiteX321" fmla="*/ 130616 w 181478"/>
                    <a:gd name="connsiteY321" fmla="*/ 340284 h 451299"/>
                    <a:gd name="connsiteX322" fmla="*/ 131920 w 181478"/>
                    <a:gd name="connsiteY322" fmla="*/ 339216 h 451299"/>
                    <a:gd name="connsiteX323" fmla="*/ 133419 w 181478"/>
                    <a:gd name="connsiteY323" fmla="*/ 337130 h 451299"/>
                    <a:gd name="connsiteX324" fmla="*/ 134201 w 181478"/>
                    <a:gd name="connsiteY324" fmla="*/ 335093 h 451299"/>
                    <a:gd name="connsiteX325" fmla="*/ 134634 w 181478"/>
                    <a:gd name="connsiteY325" fmla="*/ 331816 h 451299"/>
                    <a:gd name="connsiteX326" fmla="*/ 134348 w 181478"/>
                    <a:gd name="connsiteY326" fmla="*/ 326796 h 451299"/>
                    <a:gd name="connsiteX327" fmla="*/ 133541 w 181478"/>
                    <a:gd name="connsiteY327" fmla="*/ 322852 h 451299"/>
                    <a:gd name="connsiteX328" fmla="*/ 132800 w 181478"/>
                    <a:gd name="connsiteY328" fmla="*/ 319901 h 451299"/>
                    <a:gd name="connsiteX329" fmla="*/ 132645 w 181478"/>
                    <a:gd name="connsiteY329" fmla="*/ 316951 h 451299"/>
                    <a:gd name="connsiteX330" fmla="*/ 134381 w 181478"/>
                    <a:gd name="connsiteY330" fmla="*/ 311035 h 451299"/>
                    <a:gd name="connsiteX331" fmla="*/ 135872 w 181478"/>
                    <a:gd name="connsiteY331" fmla="*/ 304588 h 451299"/>
                    <a:gd name="connsiteX332" fmla="*/ 135595 w 181478"/>
                    <a:gd name="connsiteY332" fmla="*/ 302045 h 451299"/>
                    <a:gd name="connsiteX333" fmla="*/ 133973 w 181478"/>
                    <a:gd name="connsiteY333" fmla="*/ 298019 h 451299"/>
                    <a:gd name="connsiteX334" fmla="*/ 132327 w 181478"/>
                    <a:gd name="connsiteY334" fmla="*/ 293113 h 451299"/>
                    <a:gd name="connsiteX335" fmla="*/ 130518 w 181478"/>
                    <a:gd name="connsiteY335" fmla="*/ 287726 h 451299"/>
                    <a:gd name="connsiteX336" fmla="*/ 129842 w 181478"/>
                    <a:gd name="connsiteY336" fmla="*/ 286919 h 451299"/>
                    <a:gd name="connsiteX337" fmla="*/ 129353 w 181478"/>
                    <a:gd name="connsiteY337" fmla="*/ 285420 h 451299"/>
                    <a:gd name="connsiteX338" fmla="*/ 129076 w 181478"/>
                    <a:gd name="connsiteY338" fmla="*/ 283660 h 451299"/>
                    <a:gd name="connsiteX339" fmla="*/ 129801 w 181478"/>
                    <a:gd name="connsiteY339" fmla="*/ 278150 h 451299"/>
                    <a:gd name="connsiteX340" fmla="*/ 129907 w 181478"/>
                    <a:gd name="connsiteY340" fmla="*/ 276300 h 451299"/>
                    <a:gd name="connsiteX341" fmla="*/ 131985 w 181478"/>
                    <a:gd name="connsiteY341" fmla="*/ 273790 h 451299"/>
                    <a:gd name="connsiteX342" fmla="*/ 133101 w 181478"/>
                    <a:gd name="connsiteY342" fmla="*/ 270913 h 451299"/>
                    <a:gd name="connsiteX343" fmla="*/ 134144 w 181478"/>
                    <a:gd name="connsiteY343" fmla="*/ 267743 h 451299"/>
                    <a:gd name="connsiteX344" fmla="*/ 133753 w 181478"/>
                    <a:gd name="connsiteY344" fmla="*/ 266064 h 451299"/>
                    <a:gd name="connsiteX345" fmla="*/ 133607 w 181478"/>
                    <a:gd name="connsiteY345" fmla="*/ 262650 h 451299"/>
                    <a:gd name="connsiteX346" fmla="*/ 133867 w 181478"/>
                    <a:gd name="connsiteY346" fmla="*/ 260987 h 451299"/>
                    <a:gd name="connsiteX347" fmla="*/ 133370 w 181478"/>
                    <a:gd name="connsiteY347" fmla="*/ 259642 h 451299"/>
                    <a:gd name="connsiteX348" fmla="*/ 132775 w 181478"/>
                    <a:gd name="connsiteY348" fmla="*/ 257686 h 451299"/>
                    <a:gd name="connsiteX349" fmla="*/ 133166 w 181478"/>
                    <a:gd name="connsiteY349" fmla="*/ 256423 h 451299"/>
                    <a:gd name="connsiteX350" fmla="*/ 134625 w 181478"/>
                    <a:gd name="connsiteY350" fmla="*/ 255339 h 451299"/>
                    <a:gd name="connsiteX351" fmla="*/ 135481 w 181478"/>
                    <a:gd name="connsiteY351" fmla="*/ 253473 h 451299"/>
                    <a:gd name="connsiteX352" fmla="*/ 136581 w 181478"/>
                    <a:gd name="connsiteY352" fmla="*/ 251297 h 451299"/>
                    <a:gd name="connsiteX353" fmla="*/ 137062 w 181478"/>
                    <a:gd name="connsiteY353" fmla="*/ 249308 h 451299"/>
                    <a:gd name="connsiteX354" fmla="*/ 136280 w 181478"/>
                    <a:gd name="connsiteY354" fmla="*/ 247638 h 451299"/>
                    <a:gd name="connsiteX355" fmla="*/ 134854 w 181478"/>
                    <a:gd name="connsiteY355" fmla="*/ 245152 h 451299"/>
                    <a:gd name="connsiteX356" fmla="*/ 132262 w 181478"/>
                    <a:gd name="connsiteY356" fmla="*/ 242887 h 451299"/>
                    <a:gd name="connsiteX357" fmla="*/ 129271 w 181478"/>
                    <a:gd name="connsiteY357" fmla="*/ 240002 h 451299"/>
                    <a:gd name="connsiteX358" fmla="*/ 127796 w 181478"/>
                    <a:gd name="connsiteY358" fmla="*/ 238225 h 451299"/>
                    <a:gd name="connsiteX359" fmla="*/ 126630 w 181478"/>
                    <a:gd name="connsiteY359" fmla="*/ 236416 h 451299"/>
                    <a:gd name="connsiteX360" fmla="*/ 125555 w 181478"/>
                    <a:gd name="connsiteY360" fmla="*/ 234305 h 451299"/>
                    <a:gd name="connsiteX361" fmla="*/ 124976 w 181478"/>
                    <a:gd name="connsiteY361" fmla="*/ 232618 h 451299"/>
                    <a:gd name="connsiteX362" fmla="*/ 125538 w 181478"/>
                    <a:gd name="connsiteY362" fmla="*/ 231518 h 451299"/>
                    <a:gd name="connsiteX363" fmla="*/ 129801 w 181478"/>
                    <a:gd name="connsiteY363" fmla="*/ 228983 h 451299"/>
                    <a:gd name="connsiteX364" fmla="*/ 130575 w 181478"/>
                    <a:gd name="connsiteY364" fmla="*/ 228070 h 451299"/>
                    <a:gd name="connsiteX365" fmla="*/ 131023 w 181478"/>
                    <a:gd name="connsiteY365" fmla="*/ 226652 h 451299"/>
                    <a:gd name="connsiteX366" fmla="*/ 130689 w 181478"/>
                    <a:gd name="connsiteY366" fmla="*/ 225275 h 451299"/>
                    <a:gd name="connsiteX367" fmla="*/ 129532 w 181478"/>
                    <a:gd name="connsiteY367" fmla="*/ 224533 h 451299"/>
                    <a:gd name="connsiteX368" fmla="*/ 128212 w 181478"/>
                    <a:gd name="connsiteY368" fmla="*/ 224020 h 451299"/>
                    <a:gd name="connsiteX369" fmla="*/ 126247 w 181478"/>
                    <a:gd name="connsiteY369" fmla="*/ 222431 h 451299"/>
                    <a:gd name="connsiteX370" fmla="*/ 122588 w 181478"/>
                    <a:gd name="connsiteY370" fmla="*/ 218046 h 451299"/>
                    <a:gd name="connsiteX371" fmla="*/ 120901 w 181478"/>
                    <a:gd name="connsiteY371" fmla="*/ 217068 h 451299"/>
                    <a:gd name="connsiteX372" fmla="*/ 119133 w 181478"/>
                    <a:gd name="connsiteY372" fmla="*/ 215805 h 451299"/>
                    <a:gd name="connsiteX373" fmla="*/ 118203 w 181478"/>
                    <a:gd name="connsiteY373" fmla="*/ 214485 h 451299"/>
                    <a:gd name="connsiteX374" fmla="*/ 117160 w 181478"/>
                    <a:gd name="connsiteY374" fmla="*/ 210842 h 451299"/>
                    <a:gd name="connsiteX375" fmla="*/ 116704 w 181478"/>
                    <a:gd name="connsiteY375" fmla="*/ 210516 h 451299"/>
                    <a:gd name="connsiteX376" fmla="*/ 115686 w 181478"/>
                    <a:gd name="connsiteY376" fmla="*/ 211616 h 451299"/>
                    <a:gd name="connsiteX377" fmla="*/ 114398 w 181478"/>
                    <a:gd name="connsiteY377" fmla="*/ 212773 h 451299"/>
                    <a:gd name="connsiteX378" fmla="*/ 113314 w 181478"/>
                    <a:gd name="connsiteY378" fmla="*/ 212577 h 451299"/>
                    <a:gd name="connsiteX379" fmla="*/ 112336 w 181478"/>
                    <a:gd name="connsiteY379" fmla="*/ 211551 h 451299"/>
                    <a:gd name="connsiteX380" fmla="*/ 111863 w 181478"/>
                    <a:gd name="connsiteY380" fmla="*/ 210165 h 451299"/>
                    <a:gd name="connsiteX381" fmla="*/ 110771 w 181478"/>
                    <a:gd name="connsiteY381" fmla="*/ 208266 h 451299"/>
                    <a:gd name="connsiteX382" fmla="*/ 109598 w 181478"/>
                    <a:gd name="connsiteY382" fmla="*/ 206726 h 451299"/>
                    <a:gd name="connsiteX383" fmla="*/ 109280 w 181478"/>
                    <a:gd name="connsiteY383" fmla="*/ 201510 h 451299"/>
                    <a:gd name="connsiteX384" fmla="*/ 109092 w 181478"/>
                    <a:gd name="connsiteY384" fmla="*/ 199815 h 451299"/>
                    <a:gd name="connsiteX385" fmla="*/ 108505 w 181478"/>
                    <a:gd name="connsiteY385" fmla="*/ 197443 h 451299"/>
                    <a:gd name="connsiteX386" fmla="*/ 107592 w 181478"/>
                    <a:gd name="connsiteY386" fmla="*/ 196596 h 451299"/>
                    <a:gd name="connsiteX387" fmla="*/ 106623 w 181478"/>
                    <a:gd name="connsiteY387" fmla="*/ 195960 h 451299"/>
                    <a:gd name="connsiteX388" fmla="*/ 104333 w 181478"/>
                    <a:gd name="connsiteY388" fmla="*/ 191641 h 451299"/>
                    <a:gd name="connsiteX389" fmla="*/ 102744 w 181478"/>
                    <a:gd name="connsiteY389" fmla="*/ 189400 h 451299"/>
                    <a:gd name="connsiteX390" fmla="*/ 96215 w 181478"/>
                    <a:gd name="connsiteY390" fmla="*/ 183320 h 451299"/>
                    <a:gd name="connsiteX391" fmla="*/ 95409 w 181478"/>
                    <a:gd name="connsiteY391" fmla="*/ 182350 h 451299"/>
                    <a:gd name="connsiteX392" fmla="*/ 93640 w 181478"/>
                    <a:gd name="connsiteY392" fmla="*/ 179848 h 451299"/>
                    <a:gd name="connsiteX393" fmla="*/ 90584 w 181478"/>
                    <a:gd name="connsiteY393" fmla="*/ 176303 h 451299"/>
                    <a:gd name="connsiteX394" fmla="*/ 88400 w 181478"/>
                    <a:gd name="connsiteY394" fmla="*/ 173435 h 451299"/>
                    <a:gd name="connsiteX395" fmla="*/ 86811 w 181478"/>
                    <a:gd name="connsiteY395" fmla="*/ 170476 h 451299"/>
                    <a:gd name="connsiteX396" fmla="*/ 86069 w 181478"/>
                    <a:gd name="connsiteY396" fmla="*/ 167909 h 451299"/>
                    <a:gd name="connsiteX397" fmla="*/ 85849 w 181478"/>
                    <a:gd name="connsiteY397" fmla="*/ 165896 h 451299"/>
                    <a:gd name="connsiteX398" fmla="*/ 84113 w 181478"/>
                    <a:gd name="connsiteY398" fmla="*/ 163019 h 451299"/>
                    <a:gd name="connsiteX399" fmla="*/ 82614 w 181478"/>
                    <a:gd name="connsiteY399" fmla="*/ 160664 h 451299"/>
                    <a:gd name="connsiteX400" fmla="*/ 81171 w 181478"/>
                    <a:gd name="connsiteY400" fmla="*/ 159898 h 451299"/>
                    <a:gd name="connsiteX401" fmla="*/ 79517 w 181478"/>
                    <a:gd name="connsiteY401" fmla="*/ 159580 h 451299"/>
                    <a:gd name="connsiteX402" fmla="*/ 78017 w 181478"/>
                    <a:gd name="connsiteY402" fmla="*/ 158178 h 451299"/>
                    <a:gd name="connsiteX403" fmla="*/ 75287 w 181478"/>
                    <a:gd name="connsiteY403" fmla="*/ 155000 h 451299"/>
                    <a:gd name="connsiteX404" fmla="*/ 74089 w 181478"/>
                    <a:gd name="connsiteY404" fmla="*/ 152954 h 451299"/>
                    <a:gd name="connsiteX405" fmla="*/ 73372 w 181478"/>
                    <a:gd name="connsiteY405" fmla="*/ 151585 h 451299"/>
                    <a:gd name="connsiteX406" fmla="*/ 73405 w 181478"/>
                    <a:gd name="connsiteY406" fmla="*/ 150167 h 451299"/>
                    <a:gd name="connsiteX407" fmla="*/ 74065 w 181478"/>
                    <a:gd name="connsiteY407" fmla="*/ 147803 h 451299"/>
                    <a:gd name="connsiteX408" fmla="*/ 74855 w 181478"/>
                    <a:gd name="connsiteY408" fmla="*/ 146459 h 451299"/>
                    <a:gd name="connsiteX409" fmla="*/ 74888 w 181478"/>
                    <a:gd name="connsiteY409" fmla="*/ 145408 h 451299"/>
                    <a:gd name="connsiteX410" fmla="*/ 74106 w 181478"/>
                    <a:gd name="connsiteY410" fmla="*/ 144552 h 451299"/>
                    <a:gd name="connsiteX411" fmla="*/ 71082 w 181478"/>
                    <a:gd name="connsiteY411" fmla="*/ 143028 h 451299"/>
                    <a:gd name="connsiteX412" fmla="*/ 64211 w 181478"/>
                    <a:gd name="connsiteY412" fmla="*/ 140721 h 451299"/>
                    <a:gd name="connsiteX413" fmla="*/ 61661 w 181478"/>
                    <a:gd name="connsiteY413" fmla="*/ 138961 h 451299"/>
                    <a:gd name="connsiteX414" fmla="*/ 59297 w 181478"/>
                    <a:gd name="connsiteY414" fmla="*/ 136704 h 451299"/>
                    <a:gd name="connsiteX415" fmla="*/ 57504 w 181478"/>
                    <a:gd name="connsiteY415" fmla="*/ 135171 h 451299"/>
                    <a:gd name="connsiteX416" fmla="*/ 49143 w 181478"/>
                    <a:gd name="connsiteY416" fmla="*/ 128644 h 451299"/>
                    <a:gd name="connsiteX417" fmla="*/ 46608 w 181478"/>
                    <a:gd name="connsiteY417" fmla="*/ 127560 h 451299"/>
                    <a:gd name="connsiteX418" fmla="*/ 44416 w 181478"/>
                    <a:gd name="connsiteY418" fmla="*/ 126402 h 451299"/>
                    <a:gd name="connsiteX419" fmla="*/ 43756 w 181478"/>
                    <a:gd name="connsiteY419" fmla="*/ 125278 h 451299"/>
                    <a:gd name="connsiteX420" fmla="*/ 43878 w 181478"/>
                    <a:gd name="connsiteY420" fmla="*/ 124202 h 451299"/>
                    <a:gd name="connsiteX421" fmla="*/ 44758 w 181478"/>
                    <a:gd name="connsiteY421" fmla="*/ 123403 h 451299"/>
                    <a:gd name="connsiteX422" fmla="*/ 47122 w 181478"/>
                    <a:gd name="connsiteY422" fmla="*/ 121724 h 451299"/>
                    <a:gd name="connsiteX423" fmla="*/ 47994 w 181478"/>
                    <a:gd name="connsiteY423" fmla="*/ 119809 h 451299"/>
                    <a:gd name="connsiteX424" fmla="*/ 47725 w 181478"/>
                    <a:gd name="connsiteY424" fmla="*/ 117291 h 451299"/>
                    <a:gd name="connsiteX425" fmla="*/ 46779 w 181478"/>
                    <a:gd name="connsiteY425" fmla="*/ 114756 h 451299"/>
                    <a:gd name="connsiteX426" fmla="*/ 47244 w 181478"/>
                    <a:gd name="connsiteY426" fmla="*/ 113868 h 451299"/>
                    <a:gd name="connsiteX427" fmla="*/ 48002 w 181478"/>
                    <a:gd name="connsiteY427" fmla="*/ 113770 h 451299"/>
                    <a:gd name="connsiteX428" fmla="*/ 49591 w 181478"/>
                    <a:gd name="connsiteY428" fmla="*/ 113697 h 451299"/>
                    <a:gd name="connsiteX429" fmla="*/ 52884 w 181478"/>
                    <a:gd name="connsiteY429" fmla="*/ 113550 h 451299"/>
                    <a:gd name="connsiteX430" fmla="*/ 59990 w 181478"/>
                    <a:gd name="connsiteY430" fmla="*/ 115865 h 451299"/>
                    <a:gd name="connsiteX431" fmla="*/ 61017 w 181478"/>
                    <a:gd name="connsiteY431" fmla="*/ 115612 h 451299"/>
                    <a:gd name="connsiteX432" fmla="*/ 64872 w 181478"/>
                    <a:gd name="connsiteY432" fmla="*/ 111415 h 451299"/>
                    <a:gd name="connsiteX433" fmla="*/ 66330 w 181478"/>
                    <a:gd name="connsiteY433" fmla="*/ 108905 h 451299"/>
                    <a:gd name="connsiteX434" fmla="*/ 66665 w 181478"/>
                    <a:gd name="connsiteY434" fmla="*/ 106810 h 451299"/>
                    <a:gd name="connsiteX435" fmla="*/ 67423 w 181478"/>
                    <a:gd name="connsiteY435" fmla="*/ 105474 h 451299"/>
                    <a:gd name="connsiteX436" fmla="*/ 69460 w 181478"/>
                    <a:gd name="connsiteY436" fmla="*/ 103282 h 451299"/>
                    <a:gd name="connsiteX437" fmla="*/ 69493 w 181478"/>
                    <a:gd name="connsiteY437" fmla="*/ 101285 h 451299"/>
                    <a:gd name="connsiteX438" fmla="*/ 68490 w 181478"/>
                    <a:gd name="connsiteY438" fmla="*/ 98620 h 451299"/>
                    <a:gd name="connsiteX439" fmla="*/ 67472 w 181478"/>
                    <a:gd name="connsiteY439" fmla="*/ 97593 h 451299"/>
                    <a:gd name="connsiteX440" fmla="*/ 66608 w 181478"/>
                    <a:gd name="connsiteY440" fmla="*/ 97153 h 451299"/>
                    <a:gd name="connsiteX441" fmla="*/ 63780 w 181478"/>
                    <a:gd name="connsiteY441" fmla="*/ 97503 h 451299"/>
                    <a:gd name="connsiteX442" fmla="*/ 63242 w 181478"/>
                    <a:gd name="connsiteY442" fmla="*/ 96900 h 451299"/>
                    <a:gd name="connsiteX443" fmla="*/ 62867 w 181478"/>
                    <a:gd name="connsiteY443" fmla="*/ 94912 h 451299"/>
                    <a:gd name="connsiteX444" fmla="*/ 62729 w 181478"/>
                    <a:gd name="connsiteY444" fmla="*/ 93689 h 451299"/>
                    <a:gd name="connsiteX445" fmla="*/ 61807 w 181478"/>
                    <a:gd name="connsiteY445" fmla="*/ 92271 h 451299"/>
                    <a:gd name="connsiteX446" fmla="*/ 58759 w 181478"/>
                    <a:gd name="connsiteY446" fmla="*/ 91065 h 451299"/>
                    <a:gd name="connsiteX447" fmla="*/ 56184 w 181478"/>
                    <a:gd name="connsiteY447" fmla="*/ 90723 h 451299"/>
                    <a:gd name="connsiteX448" fmla="*/ 55573 w 181478"/>
                    <a:gd name="connsiteY448" fmla="*/ 90209 h 451299"/>
                    <a:gd name="connsiteX449" fmla="*/ 56567 w 181478"/>
                    <a:gd name="connsiteY449" fmla="*/ 88840 h 451299"/>
                    <a:gd name="connsiteX450" fmla="*/ 58327 w 181478"/>
                    <a:gd name="connsiteY450" fmla="*/ 87479 h 451299"/>
                    <a:gd name="connsiteX451" fmla="*/ 59673 w 181478"/>
                    <a:gd name="connsiteY451" fmla="*/ 86697 h 451299"/>
                    <a:gd name="connsiteX452" fmla="*/ 60724 w 181478"/>
                    <a:gd name="connsiteY452" fmla="*/ 85295 h 451299"/>
                    <a:gd name="connsiteX453" fmla="*/ 60919 w 181478"/>
                    <a:gd name="connsiteY453" fmla="*/ 83861 h 451299"/>
                    <a:gd name="connsiteX454" fmla="*/ 59607 w 181478"/>
                    <a:gd name="connsiteY454" fmla="*/ 82581 h 451299"/>
                    <a:gd name="connsiteX455" fmla="*/ 57896 w 181478"/>
                    <a:gd name="connsiteY455" fmla="*/ 81163 h 451299"/>
                    <a:gd name="connsiteX456" fmla="*/ 55125 w 181478"/>
                    <a:gd name="connsiteY456" fmla="*/ 78466 h 451299"/>
                    <a:gd name="connsiteX457" fmla="*/ 51294 w 181478"/>
                    <a:gd name="connsiteY457" fmla="*/ 75589 h 451299"/>
                    <a:gd name="connsiteX458" fmla="*/ 48964 w 181478"/>
                    <a:gd name="connsiteY458" fmla="*/ 74603 h 451299"/>
                    <a:gd name="connsiteX459" fmla="*/ 47749 w 181478"/>
                    <a:gd name="connsiteY459" fmla="*/ 74733 h 451299"/>
                    <a:gd name="connsiteX460" fmla="*/ 43519 w 181478"/>
                    <a:gd name="connsiteY460" fmla="*/ 77211 h 451299"/>
                    <a:gd name="connsiteX461" fmla="*/ 41262 w 181478"/>
                    <a:gd name="connsiteY461" fmla="*/ 78816 h 451299"/>
                    <a:gd name="connsiteX462" fmla="*/ 39371 w 181478"/>
                    <a:gd name="connsiteY462" fmla="*/ 81685 h 451299"/>
                    <a:gd name="connsiteX463" fmla="*/ 37407 w 181478"/>
                    <a:gd name="connsiteY463" fmla="*/ 82296 h 451299"/>
                    <a:gd name="connsiteX464" fmla="*/ 35419 w 181478"/>
                    <a:gd name="connsiteY464" fmla="*/ 81033 h 451299"/>
                    <a:gd name="connsiteX465" fmla="*/ 33161 w 181478"/>
                    <a:gd name="connsiteY465" fmla="*/ 79737 h 451299"/>
                    <a:gd name="connsiteX466" fmla="*/ 26886 w 181478"/>
                    <a:gd name="connsiteY466" fmla="*/ 77862 h 451299"/>
                    <a:gd name="connsiteX467" fmla="*/ 24254 w 181478"/>
                    <a:gd name="connsiteY467" fmla="*/ 76281 h 451299"/>
                    <a:gd name="connsiteX468" fmla="*/ 18777 w 181478"/>
                    <a:gd name="connsiteY468" fmla="*/ 66649 h 451299"/>
                    <a:gd name="connsiteX469" fmla="*/ 17970 w 181478"/>
                    <a:gd name="connsiteY469" fmla="*/ 64692 h 451299"/>
                    <a:gd name="connsiteX470" fmla="*/ 18484 w 181478"/>
                    <a:gd name="connsiteY470" fmla="*/ 62468 h 451299"/>
                    <a:gd name="connsiteX471" fmla="*/ 18858 w 181478"/>
                    <a:gd name="connsiteY471" fmla="*/ 59289 h 451299"/>
                    <a:gd name="connsiteX472" fmla="*/ 19404 w 181478"/>
                    <a:gd name="connsiteY472" fmla="*/ 57236 h 451299"/>
                    <a:gd name="connsiteX473" fmla="*/ 20374 w 181478"/>
                    <a:gd name="connsiteY473" fmla="*/ 55263 h 451299"/>
                    <a:gd name="connsiteX474" fmla="*/ 20635 w 181478"/>
                    <a:gd name="connsiteY474" fmla="*/ 53511 h 451299"/>
                    <a:gd name="connsiteX475" fmla="*/ 20399 w 181478"/>
                    <a:gd name="connsiteY475" fmla="*/ 51800 h 451299"/>
                    <a:gd name="connsiteX476" fmla="*/ 19608 w 181478"/>
                    <a:gd name="connsiteY476" fmla="*/ 50822 h 451299"/>
                    <a:gd name="connsiteX477" fmla="*/ 18581 w 181478"/>
                    <a:gd name="connsiteY477" fmla="*/ 50528 h 451299"/>
                    <a:gd name="connsiteX478" fmla="*/ 17807 w 181478"/>
                    <a:gd name="connsiteY478" fmla="*/ 50145 h 451299"/>
                    <a:gd name="connsiteX479" fmla="*/ 17082 w 181478"/>
                    <a:gd name="connsiteY479" fmla="*/ 47888 h 451299"/>
                    <a:gd name="connsiteX480" fmla="*/ 16642 w 181478"/>
                    <a:gd name="connsiteY480" fmla="*/ 48181 h 451299"/>
                    <a:gd name="connsiteX481" fmla="*/ 15965 w 181478"/>
                    <a:gd name="connsiteY481" fmla="*/ 50919 h 451299"/>
                    <a:gd name="connsiteX482" fmla="*/ 15158 w 181478"/>
                    <a:gd name="connsiteY482" fmla="*/ 51906 h 451299"/>
                    <a:gd name="connsiteX483" fmla="*/ 14082 w 181478"/>
                    <a:gd name="connsiteY483" fmla="*/ 52403 h 451299"/>
                    <a:gd name="connsiteX484" fmla="*/ 13251 w 181478"/>
                    <a:gd name="connsiteY484" fmla="*/ 51971 h 451299"/>
                    <a:gd name="connsiteX485" fmla="*/ 12722 w 181478"/>
                    <a:gd name="connsiteY485" fmla="*/ 50871 h 451299"/>
                    <a:gd name="connsiteX486" fmla="*/ 12494 w 181478"/>
                    <a:gd name="connsiteY486" fmla="*/ 49013 h 451299"/>
                    <a:gd name="connsiteX487" fmla="*/ 11964 w 181478"/>
                    <a:gd name="connsiteY487" fmla="*/ 46519 h 451299"/>
                    <a:gd name="connsiteX488" fmla="*/ 11287 w 181478"/>
                    <a:gd name="connsiteY488" fmla="*/ 44880 h 451299"/>
                    <a:gd name="connsiteX489" fmla="*/ 8932 w 181478"/>
                    <a:gd name="connsiteY489" fmla="*/ 43226 h 451299"/>
                    <a:gd name="connsiteX490" fmla="*/ 7815 w 181478"/>
                    <a:gd name="connsiteY490" fmla="*/ 41067 h 451299"/>
                    <a:gd name="connsiteX491" fmla="*/ 4311 w 181478"/>
                    <a:gd name="connsiteY491" fmla="*/ 36372 h 451299"/>
                    <a:gd name="connsiteX492" fmla="*/ 1385 w 181478"/>
                    <a:gd name="connsiteY492" fmla="*/ 33080 h 451299"/>
                    <a:gd name="connsiteX493" fmla="*/ 0 w 181478"/>
                    <a:gd name="connsiteY493" fmla="*/ 30121 h 451299"/>
                    <a:gd name="connsiteX494" fmla="*/ 1198 w 181478"/>
                    <a:gd name="connsiteY494" fmla="*/ 29021 h 451299"/>
                    <a:gd name="connsiteX495" fmla="*/ 2714 w 181478"/>
                    <a:gd name="connsiteY495" fmla="*/ 27424 h 451299"/>
                    <a:gd name="connsiteX496" fmla="*/ 4336 w 181478"/>
                    <a:gd name="connsiteY496" fmla="*/ 24930 h 451299"/>
                    <a:gd name="connsiteX497" fmla="*/ 6161 w 181478"/>
                    <a:gd name="connsiteY497" fmla="*/ 21800 h 451299"/>
                    <a:gd name="connsiteX498" fmla="*/ 6919 w 181478"/>
                    <a:gd name="connsiteY498" fmla="*/ 19885 h 451299"/>
                    <a:gd name="connsiteX499" fmla="*/ 7449 w 181478"/>
                    <a:gd name="connsiteY499" fmla="*/ 19111 h 451299"/>
                    <a:gd name="connsiteX500" fmla="*/ 8516 w 181478"/>
                    <a:gd name="connsiteY500" fmla="*/ 18541 h 451299"/>
                    <a:gd name="connsiteX501" fmla="*/ 9674 w 181478"/>
                    <a:gd name="connsiteY501" fmla="*/ 18858 h 451299"/>
                    <a:gd name="connsiteX502" fmla="*/ 11687 w 181478"/>
                    <a:gd name="connsiteY502" fmla="*/ 20122 h 451299"/>
                    <a:gd name="connsiteX503" fmla="*/ 14727 w 181478"/>
                    <a:gd name="connsiteY503" fmla="*/ 21743 h 451299"/>
                    <a:gd name="connsiteX504" fmla="*/ 17432 w 181478"/>
                    <a:gd name="connsiteY504" fmla="*/ 23642 h 451299"/>
                    <a:gd name="connsiteX505" fmla="*/ 18524 w 181478"/>
                    <a:gd name="connsiteY505" fmla="*/ 25566 h 451299"/>
                    <a:gd name="connsiteX506" fmla="*/ 20040 w 181478"/>
                    <a:gd name="connsiteY506" fmla="*/ 27408 h 451299"/>
                    <a:gd name="connsiteX507" fmla="*/ 21198 w 181478"/>
                    <a:gd name="connsiteY507" fmla="*/ 27962 h 451299"/>
                    <a:gd name="connsiteX508" fmla="*/ 21792 w 181478"/>
                    <a:gd name="connsiteY508" fmla="*/ 27815 h 451299"/>
                    <a:gd name="connsiteX509" fmla="*/ 23528 w 181478"/>
                    <a:gd name="connsiteY509" fmla="*/ 26438 h 451299"/>
                    <a:gd name="connsiteX510" fmla="*/ 25036 w 181478"/>
                    <a:gd name="connsiteY510" fmla="*/ 25044 h 451299"/>
                    <a:gd name="connsiteX511" fmla="*/ 25068 w 181478"/>
                    <a:gd name="connsiteY511" fmla="*/ 23471 h 451299"/>
                    <a:gd name="connsiteX512" fmla="*/ 26454 w 181478"/>
                    <a:gd name="connsiteY512" fmla="*/ 22053 h 451299"/>
                    <a:gd name="connsiteX513" fmla="*/ 28263 w 181478"/>
                    <a:gd name="connsiteY513" fmla="*/ 19714 h 451299"/>
                    <a:gd name="connsiteX514" fmla="*/ 29111 w 181478"/>
                    <a:gd name="connsiteY514" fmla="*/ 18125 h 451299"/>
                    <a:gd name="connsiteX515" fmla="*/ 29763 w 181478"/>
                    <a:gd name="connsiteY515" fmla="*/ 17954 h 451299"/>
                    <a:gd name="connsiteX516" fmla="*/ 30496 w 181478"/>
                    <a:gd name="connsiteY516" fmla="*/ 18426 h 451299"/>
                    <a:gd name="connsiteX517" fmla="*/ 33349 w 181478"/>
                    <a:gd name="connsiteY517" fmla="*/ 23325 h 451299"/>
                    <a:gd name="connsiteX518" fmla="*/ 33895 w 181478"/>
                    <a:gd name="connsiteY518" fmla="*/ 23618 h 451299"/>
                    <a:gd name="connsiteX519" fmla="*/ 34702 w 181478"/>
                    <a:gd name="connsiteY519" fmla="*/ 22884 h 451299"/>
                    <a:gd name="connsiteX520" fmla="*/ 35826 w 181478"/>
                    <a:gd name="connsiteY520" fmla="*/ 19054 h 451299"/>
                    <a:gd name="connsiteX521" fmla="*/ 37049 w 181478"/>
                    <a:gd name="connsiteY521" fmla="*/ 17571 h 451299"/>
                    <a:gd name="connsiteX522" fmla="*/ 37472 w 181478"/>
                    <a:gd name="connsiteY522" fmla="*/ 17937 h 451299"/>
                    <a:gd name="connsiteX523" fmla="*/ 44367 w 181478"/>
                    <a:gd name="connsiteY523" fmla="*/ 25158 h 451299"/>
                    <a:gd name="connsiteX524" fmla="*/ 45019 w 181478"/>
                    <a:gd name="connsiteY524" fmla="*/ 25101 h 451299"/>
                    <a:gd name="connsiteX525" fmla="*/ 45761 w 181478"/>
                    <a:gd name="connsiteY525" fmla="*/ 24775 h 451299"/>
                    <a:gd name="connsiteX526" fmla="*/ 46250 w 181478"/>
                    <a:gd name="connsiteY526" fmla="*/ 23667 h 451299"/>
                    <a:gd name="connsiteX527" fmla="*/ 46787 w 181478"/>
                    <a:gd name="connsiteY527" fmla="*/ 21173 h 451299"/>
                    <a:gd name="connsiteX528" fmla="*/ 47806 w 181478"/>
                    <a:gd name="connsiteY528" fmla="*/ 18492 h 451299"/>
                    <a:gd name="connsiteX529" fmla="*/ 50015 w 181478"/>
                    <a:gd name="connsiteY529" fmla="*/ 17000 h 451299"/>
                    <a:gd name="connsiteX530" fmla="*/ 51743 w 181478"/>
                    <a:gd name="connsiteY530" fmla="*/ 16715 h 451299"/>
                    <a:gd name="connsiteX531" fmla="*/ 52378 w 181478"/>
                    <a:gd name="connsiteY531" fmla="*/ 17986 h 451299"/>
                    <a:gd name="connsiteX532" fmla="*/ 53870 w 181478"/>
                    <a:gd name="connsiteY532" fmla="*/ 19747 h 451299"/>
                    <a:gd name="connsiteX533" fmla="*/ 55695 w 181478"/>
                    <a:gd name="connsiteY533" fmla="*/ 20000 h 451299"/>
                    <a:gd name="connsiteX534" fmla="*/ 59550 w 181478"/>
                    <a:gd name="connsiteY534" fmla="*/ 16878 h 451299"/>
                    <a:gd name="connsiteX535" fmla="*/ 60797 w 181478"/>
                    <a:gd name="connsiteY535" fmla="*/ 16381 h 451299"/>
                    <a:gd name="connsiteX536" fmla="*/ 62142 w 181478"/>
                    <a:gd name="connsiteY536" fmla="*/ 16430 h 451299"/>
                    <a:gd name="connsiteX537" fmla="*/ 63519 w 181478"/>
                    <a:gd name="connsiteY537" fmla="*/ 16299 h 451299"/>
                    <a:gd name="connsiteX538" fmla="*/ 64831 w 181478"/>
                    <a:gd name="connsiteY538" fmla="*/ 15110 h 451299"/>
                    <a:gd name="connsiteX539" fmla="*/ 66208 w 181478"/>
                    <a:gd name="connsiteY539" fmla="*/ 13529 h 451299"/>
                    <a:gd name="connsiteX540" fmla="*/ 66681 w 181478"/>
                    <a:gd name="connsiteY540" fmla="*/ 10423 h 451299"/>
                    <a:gd name="connsiteX541" fmla="*/ 66975 w 181478"/>
                    <a:gd name="connsiteY541" fmla="*/ 7636 h 451299"/>
                    <a:gd name="connsiteX542" fmla="*/ 67928 w 181478"/>
                    <a:gd name="connsiteY542" fmla="*/ 6512 h 451299"/>
                    <a:gd name="connsiteX543" fmla="*/ 69052 w 181478"/>
                    <a:gd name="connsiteY543" fmla="*/ 5754 h 451299"/>
                    <a:gd name="connsiteX544" fmla="*/ 71180 w 181478"/>
                    <a:gd name="connsiteY544" fmla="*/ 4702 h 451299"/>
                    <a:gd name="connsiteX545" fmla="*/ 75972 w 181478"/>
                    <a:gd name="connsiteY545" fmla="*/ 1997 h 451299"/>
                    <a:gd name="connsiteX546" fmla="*/ 77202 w 181478"/>
                    <a:gd name="connsiteY546" fmla="*/ 717 h 451299"/>
                    <a:gd name="connsiteX547" fmla="*/ 78107 w 181478"/>
                    <a:gd name="connsiteY547" fmla="*/ 0 h 451299"/>
                    <a:gd name="connsiteX548" fmla="*/ 79973 w 181478"/>
                    <a:gd name="connsiteY548" fmla="*/ 1173 h 451299"/>
                    <a:gd name="connsiteX549" fmla="*/ 82198 w 181478"/>
                    <a:gd name="connsiteY549" fmla="*/ 3431 h 451299"/>
                    <a:gd name="connsiteX550" fmla="*/ 83543 w 181478"/>
                    <a:gd name="connsiteY550" fmla="*/ 5134 h 451299"/>
                    <a:gd name="connsiteX551" fmla="*/ 84439 w 181478"/>
                    <a:gd name="connsiteY551" fmla="*/ 6968 h 451299"/>
                    <a:gd name="connsiteX552" fmla="*/ 84863 w 181478"/>
                    <a:gd name="connsiteY552" fmla="*/ 8500 h 451299"/>
                    <a:gd name="connsiteX553" fmla="*/ 88424 w 181478"/>
                    <a:gd name="connsiteY553" fmla="*/ 9837 h 451299"/>
                    <a:gd name="connsiteX554" fmla="*/ 90657 w 181478"/>
                    <a:gd name="connsiteY554" fmla="*/ 11752 h 451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Lst>
                  <a:rect l="l" t="t" r="r" b="b"/>
                  <a:pathLst>
                    <a:path w="181478" h="451299">
                      <a:moveTo>
                        <a:pt x="90657" y="11752"/>
                      </a:moveTo>
                      <a:lnTo>
                        <a:pt x="92166" y="13203"/>
                      </a:lnTo>
                      <a:lnTo>
                        <a:pt x="93648" y="13137"/>
                      </a:lnTo>
                      <a:lnTo>
                        <a:pt x="95132" y="12746"/>
                      </a:lnTo>
                      <a:lnTo>
                        <a:pt x="96085" y="11589"/>
                      </a:lnTo>
                      <a:lnTo>
                        <a:pt x="97764" y="11565"/>
                      </a:lnTo>
                      <a:lnTo>
                        <a:pt x="99736" y="11736"/>
                      </a:lnTo>
                      <a:lnTo>
                        <a:pt x="100617" y="12200"/>
                      </a:lnTo>
                      <a:lnTo>
                        <a:pt x="102247" y="14873"/>
                      </a:lnTo>
                      <a:lnTo>
                        <a:pt x="102980" y="15240"/>
                      </a:lnTo>
                      <a:lnTo>
                        <a:pt x="104447" y="15052"/>
                      </a:lnTo>
                      <a:lnTo>
                        <a:pt x="107242" y="14099"/>
                      </a:lnTo>
                      <a:lnTo>
                        <a:pt x="109492" y="13651"/>
                      </a:lnTo>
                      <a:lnTo>
                        <a:pt x="111537" y="14710"/>
                      </a:lnTo>
                      <a:lnTo>
                        <a:pt x="115424" y="17677"/>
                      </a:lnTo>
                      <a:lnTo>
                        <a:pt x="114325" y="19796"/>
                      </a:lnTo>
                      <a:lnTo>
                        <a:pt x="113461" y="22077"/>
                      </a:lnTo>
                      <a:lnTo>
                        <a:pt x="111773" y="23683"/>
                      </a:lnTo>
                      <a:lnTo>
                        <a:pt x="110510" y="24091"/>
                      </a:lnTo>
                      <a:lnTo>
                        <a:pt x="109712" y="26324"/>
                      </a:lnTo>
                      <a:lnTo>
                        <a:pt x="109361" y="29624"/>
                      </a:lnTo>
                      <a:lnTo>
                        <a:pt x="109801" y="31295"/>
                      </a:lnTo>
                      <a:lnTo>
                        <a:pt x="110779" y="31825"/>
                      </a:lnTo>
                      <a:lnTo>
                        <a:pt x="111847" y="32941"/>
                      </a:lnTo>
                      <a:lnTo>
                        <a:pt x="112295" y="34408"/>
                      </a:lnTo>
                      <a:lnTo>
                        <a:pt x="112450" y="37676"/>
                      </a:lnTo>
                      <a:lnTo>
                        <a:pt x="112385" y="41344"/>
                      </a:lnTo>
                      <a:lnTo>
                        <a:pt x="112531" y="42566"/>
                      </a:lnTo>
                      <a:lnTo>
                        <a:pt x="113379" y="42338"/>
                      </a:lnTo>
                      <a:lnTo>
                        <a:pt x="114178" y="41906"/>
                      </a:lnTo>
                      <a:lnTo>
                        <a:pt x="115775" y="42476"/>
                      </a:lnTo>
                      <a:lnTo>
                        <a:pt x="117764" y="43430"/>
                      </a:lnTo>
                      <a:lnTo>
                        <a:pt x="119027" y="44400"/>
                      </a:lnTo>
                      <a:lnTo>
                        <a:pt x="120160" y="44286"/>
                      </a:lnTo>
                      <a:lnTo>
                        <a:pt x="121040" y="45231"/>
                      </a:lnTo>
                      <a:lnTo>
                        <a:pt x="121374" y="47048"/>
                      </a:lnTo>
                      <a:lnTo>
                        <a:pt x="122401" y="48303"/>
                      </a:lnTo>
                      <a:lnTo>
                        <a:pt x="125302" y="50700"/>
                      </a:lnTo>
                      <a:lnTo>
                        <a:pt x="127617" y="50895"/>
                      </a:lnTo>
                      <a:lnTo>
                        <a:pt x="129580" y="54049"/>
                      </a:lnTo>
                      <a:lnTo>
                        <a:pt x="131626" y="53014"/>
                      </a:lnTo>
                      <a:lnTo>
                        <a:pt x="132563" y="54375"/>
                      </a:lnTo>
                      <a:lnTo>
                        <a:pt x="136769" y="53894"/>
                      </a:lnTo>
                      <a:lnTo>
                        <a:pt x="139702" y="52615"/>
                      </a:lnTo>
                      <a:lnTo>
                        <a:pt x="140762" y="52924"/>
                      </a:lnTo>
                      <a:lnTo>
                        <a:pt x="143394" y="55557"/>
                      </a:lnTo>
                      <a:lnTo>
                        <a:pt x="144992" y="57187"/>
                      </a:lnTo>
                      <a:lnTo>
                        <a:pt x="143827" y="57464"/>
                      </a:lnTo>
                      <a:lnTo>
                        <a:pt x="140933" y="57513"/>
                      </a:lnTo>
                      <a:lnTo>
                        <a:pt x="138407" y="60349"/>
                      </a:lnTo>
                      <a:lnTo>
                        <a:pt x="136655" y="61514"/>
                      </a:lnTo>
                      <a:lnTo>
                        <a:pt x="133933" y="62508"/>
                      </a:lnTo>
                      <a:lnTo>
                        <a:pt x="131031" y="64098"/>
                      </a:lnTo>
                      <a:lnTo>
                        <a:pt x="130184" y="66909"/>
                      </a:lnTo>
                      <a:lnTo>
                        <a:pt x="130127" y="68947"/>
                      </a:lnTo>
                      <a:lnTo>
                        <a:pt x="129646" y="71212"/>
                      </a:lnTo>
                      <a:lnTo>
                        <a:pt x="124944" y="74513"/>
                      </a:lnTo>
                      <a:lnTo>
                        <a:pt x="123631" y="74171"/>
                      </a:lnTo>
                      <a:lnTo>
                        <a:pt x="122719" y="72948"/>
                      </a:lnTo>
                      <a:lnTo>
                        <a:pt x="121341" y="73193"/>
                      </a:lnTo>
                      <a:lnTo>
                        <a:pt x="120396" y="73804"/>
                      </a:lnTo>
                      <a:lnTo>
                        <a:pt x="119287" y="73722"/>
                      </a:lnTo>
                      <a:lnTo>
                        <a:pt x="118041" y="74472"/>
                      </a:lnTo>
                      <a:lnTo>
                        <a:pt x="116419" y="74236"/>
                      </a:lnTo>
                      <a:lnTo>
                        <a:pt x="114919" y="73201"/>
                      </a:lnTo>
                      <a:lnTo>
                        <a:pt x="114048" y="72924"/>
                      </a:lnTo>
                      <a:lnTo>
                        <a:pt x="113012" y="72916"/>
                      </a:lnTo>
                      <a:lnTo>
                        <a:pt x="112817" y="74146"/>
                      </a:lnTo>
                      <a:lnTo>
                        <a:pt x="114349" y="78922"/>
                      </a:lnTo>
                      <a:lnTo>
                        <a:pt x="114756" y="81123"/>
                      </a:lnTo>
                      <a:lnTo>
                        <a:pt x="109720" y="87577"/>
                      </a:lnTo>
                      <a:lnTo>
                        <a:pt x="110274" y="91733"/>
                      </a:lnTo>
                      <a:lnTo>
                        <a:pt x="108905" y="94928"/>
                      </a:lnTo>
                      <a:lnTo>
                        <a:pt x="105865" y="97487"/>
                      </a:lnTo>
                      <a:lnTo>
                        <a:pt x="100176" y="104097"/>
                      </a:lnTo>
                      <a:lnTo>
                        <a:pt x="97601" y="104243"/>
                      </a:lnTo>
                      <a:lnTo>
                        <a:pt x="95670" y="105743"/>
                      </a:lnTo>
                      <a:lnTo>
                        <a:pt x="91456" y="116590"/>
                      </a:lnTo>
                      <a:lnTo>
                        <a:pt x="91407" y="120306"/>
                      </a:lnTo>
                      <a:lnTo>
                        <a:pt x="90747" y="123020"/>
                      </a:lnTo>
                      <a:lnTo>
                        <a:pt x="90886" y="125628"/>
                      </a:lnTo>
                      <a:lnTo>
                        <a:pt x="89036" y="130754"/>
                      </a:lnTo>
                      <a:lnTo>
                        <a:pt x="87121" y="132922"/>
                      </a:lnTo>
                      <a:lnTo>
                        <a:pt x="86688" y="135726"/>
                      </a:lnTo>
                      <a:lnTo>
                        <a:pt x="89419" y="141479"/>
                      </a:lnTo>
                      <a:lnTo>
                        <a:pt x="89720" y="142498"/>
                      </a:lnTo>
                      <a:lnTo>
                        <a:pt x="91301" y="145579"/>
                      </a:lnTo>
                      <a:lnTo>
                        <a:pt x="92075" y="147787"/>
                      </a:lnTo>
                      <a:lnTo>
                        <a:pt x="93290" y="149988"/>
                      </a:lnTo>
                      <a:lnTo>
                        <a:pt x="97691" y="155709"/>
                      </a:lnTo>
                      <a:lnTo>
                        <a:pt x="99647" y="157453"/>
                      </a:lnTo>
                      <a:lnTo>
                        <a:pt x="102002" y="158643"/>
                      </a:lnTo>
                      <a:lnTo>
                        <a:pt x="106272" y="163785"/>
                      </a:lnTo>
                      <a:lnTo>
                        <a:pt x="108432" y="167061"/>
                      </a:lnTo>
                      <a:lnTo>
                        <a:pt x="107454" y="169294"/>
                      </a:lnTo>
                      <a:lnTo>
                        <a:pt x="107943" y="174021"/>
                      </a:lnTo>
                      <a:lnTo>
                        <a:pt x="104887" y="172628"/>
                      </a:lnTo>
                      <a:lnTo>
                        <a:pt x="105246" y="173190"/>
                      </a:lnTo>
                      <a:lnTo>
                        <a:pt x="108872" y="175765"/>
                      </a:lnTo>
                      <a:lnTo>
                        <a:pt x="114308" y="184828"/>
                      </a:lnTo>
                      <a:lnTo>
                        <a:pt x="119035" y="189286"/>
                      </a:lnTo>
                      <a:lnTo>
                        <a:pt x="123843" y="194363"/>
                      </a:lnTo>
                      <a:lnTo>
                        <a:pt x="125343" y="199188"/>
                      </a:lnTo>
                      <a:lnTo>
                        <a:pt x="129670" y="202374"/>
                      </a:lnTo>
                      <a:lnTo>
                        <a:pt x="134487" y="206995"/>
                      </a:lnTo>
                      <a:lnTo>
                        <a:pt x="134283" y="208030"/>
                      </a:lnTo>
                      <a:lnTo>
                        <a:pt x="135595" y="209269"/>
                      </a:lnTo>
                      <a:lnTo>
                        <a:pt x="138830" y="211722"/>
                      </a:lnTo>
                      <a:lnTo>
                        <a:pt x="140778" y="214305"/>
                      </a:lnTo>
                      <a:lnTo>
                        <a:pt x="141544" y="216775"/>
                      </a:lnTo>
                      <a:lnTo>
                        <a:pt x="142734" y="217166"/>
                      </a:lnTo>
                      <a:lnTo>
                        <a:pt x="144079" y="216563"/>
                      </a:lnTo>
                      <a:lnTo>
                        <a:pt x="145432" y="216327"/>
                      </a:lnTo>
                      <a:lnTo>
                        <a:pt x="146385" y="216506"/>
                      </a:lnTo>
                      <a:lnTo>
                        <a:pt x="147844" y="219203"/>
                      </a:lnTo>
                      <a:lnTo>
                        <a:pt x="149874" y="221624"/>
                      </a:lnTo>
                      <a:lnTo>
                        <a:pt x="150843" y="223841"/>
                      </a:lnTo>
                      <a:lnTo>
                        <a:pt x="151642" y="223547"/>
                      </a:lnTo>
                      <a:lnTo>
                        <a:pt x="152294" y="223881"/>
                      </a:lnTo>
                      <a:lnTo>
                        <a:pt x="152465" y="225739"/>
                      </a:lnTo>
                      <a:lnTo>
                        <a:pt x="152750" y="226962"/>
                      </a:lnTo>
                      <a:lnTo>
                        <a:pt x="155456" y="230515"/>
                      </a:lnTo>
                      <a:lnTo>
                        <a:pt x="156752" y="233873"/>
                      </a:lnTo>
                      <a:lnTo>
                        <a:pt x="159987" y="239309"/>
                      </a:lnTo>
                      <a:lnTo>
                        <a:pt x="162383" y="242389"/>
                      </a:lnTo>
                      <a:lnTo>
                        <a:pt x="164079" y="244125"/>
                      </a:lnTo>
                      <a:lnTo>
                        <a:pt x="166026" y="245608"/>
                      </a:lnTo>
                      <a:lnTo>
                        <a:pt x="167925" y="251623"/>
                      </a:lnTo>
                      <a:lnTo>
                        <a:pt x="168960" y="257075"/>
                      </a:lnTo>
                      <a:lnTo>
                        <a:pt x="171006" y="263122"/>
                      </a:lnTo>
                      <a:lnTo>
                        <a:pt x="172554" y="265763"/>
                      </a:lnTo>
                      <a:lnTo>
                        <a:pt x="172611" y="270742"/>
                      </a:lnTo>
                      <a:lnTo>
                        <a:pt x="173850" y="275868"/>
                      </a:lnTo>
                      <a:lnTo>
                        <a:pt x="175195" y="279324"/>
                      </a:lnTo>
                      <a:lnTo>
                        <a:pt x="175594" y="282853"/>
                      </a:lnTo>
                      <a:lnTo>
                        <a:pt x="176002" y="284605"/>
                      </a:lnTo>
                      <a:lnTo>
                        <a:pt x="176507" y="285925"/>
                      </a:lnTo>
                      <a:lnTo>
                        <a:pt x="177974" y="291907"/>
                      </a:lnTo>
                      <a:lnTo>
                        <a:pt x="177591" y="294686"/>
                      </a:lnTo>
                      <a:lnTo>
                        <a:pt x="176580" y="291956"/>
                      </a:lnTo>
                      <a:lnTo>
                        <a:pt x="176703" y="299975"/>
                      </a:lnTo>
                      <a:lnTo>
                        <a:pt x="177591" y="304221"/>
                      </a:lnTo>
                      <a:lnTo>
                        <a:pt x="177183" y="309429"/>
                      </a:lnTo>
                      <a:lnTo>
                        <a:pt x="178121" y="311254"/>
                      </a:lnTo>
                      <a:lnTo>
                        <a:pt x="179783" y="317122"/>
                      </a:lnTo>
                      <a:lnTo>
                        <a:pt x="180965" y="319233"/>
                      </a:lnTo>
                      <a:lnTo>
                        <a:pt x="180867" y="326413"/>
                      </a:lnTo>
                      <a:lnTo>
                        <a:pt x="181478" y="330032"/>
                      </a:lnTo>
                      <a:lnTo>
                        <a:pt x="179913" y="327872"/>
                      </a:lnTo>
                      <a:lnTo>
                        <a:pt x="178764" y="325419"/>
                      </a:lnTo>
                      <a:lnTo>
                        <a:pt x="177240" y="326715"/>
                      </a:lnTo>
                      <a:lnTo>
                        <a:pt x="175863" y="328638"/>
                      </a:lnTo>
                      <a:lnTo>
                        <a:pt x="177990" y="336348"/>
                      </a:lnTo>
                      <a:lnTo>
                        <a:pt x="175569" y="335614"/>
                      </a:lnTo>
                      <a:lnTo>
                        <a:pt x="175781" y="345981"/>
                      </a:lnTo>
                      <a:lnTo>
                        <a:pt x="176784" y="348409"/>
                      </a:lnTo>
                      <a:lnTo>
                        <a:pt x="176865" y="349567"/>
                      </a:lnTo>
                      <a:lnTo>
                        <a:pt x="176572" y="350952"/>
                      </a:lnTo>
                      <a:lnTo>
                        <a:pt x="175904" y="349436"/>
                      </a:lnTo>
                      <a:lnTo>
                        <a:pt x="175757" y="347880"/>
                      </a:lnTo>
                      <a:lnTo>
                        <a:pt x="175374" y="348222"/>
                      </a:lnTo>
                      <a:lnTo>
                        <a:pt x="175398" y="349029"/>
                      </a:lnTo>
                      <a:lnTo>
                        <a:pt x="174584" y="350854"/>
                      </a:lnTo>
                      <a:lnTo>
                        <a:pt x="174347" y="353128"/>
                      </a:lnTo>
                      <a:lnTo>
                        <a:pt x="175211" y="355043"/>
                      </a:lnTo>
                      <a:lnTo>
                        <a:pt x="175366" y="356518"/>
                      </a:lnTo>
                      <a:lnTo>
                        <a:pt x="174738" y="358344"/>
                      </a:lnTo>
                      <a:lnTo>
                        <a:pt x="173728" y="360267"/>
                      </a:lnTo>
                      <a:lnTo>
                        <a:pt x="171421" y="360520"/>
                      </a:lnTo>
                      <a:lnTo>
                        <a:pt x="170900" y="364285"/>
                      </a:lnTo>
                      <a:lnTo>
                        <a:pt x="170109" y="368270"/>
                      </a:lnTo>
                      <a:lnTo>
                        <a:pt x="165994" y="368906"/>
                      </a:lnTo>
                      <a:lnTo>
                        <a:pt x="163011" y="372418"/>
                      </a:lnTo>
                      <a:lnTo>
                        <a:pt x="159311" y="373730"/>
                      </a:lnTo>
                      <a:lnTo>
                        <a:pt x="156027" y="377210"/>
                      </a:lnTo>
                      <a:lnTo>
                        <a:pt x="152384" y="380429"/>
                      </a:lnTo>
                      <a:lnTo>
                        <a:pt x="150012" y="380845"/>
                      </a:lnTo>
                      <a:lnTo>
                        <a:pt x="147991" y="381538"/>
                      </a:lnTo>
                      <a:lnTo>
                        <a:pt x="145676" y="386884"/>
                      </a:lnTo>
                      <a:lnTo>
                        <a:pt x="141805" y="387495"/>
                      </a:lnTo>
                      <a:lnTo>
                        <a:pt x="134837" y="391864"/>
                      </a:lnTo>
                      <a:lnTo>
                        <a:pt x="132506" y="393966"/>
                      </a:lnTo>
                      <a:lnTo>
                        <a:pt x="130371" y="394789"/>
                      </a:lnTo>
                      <a:lnTo>
                        <a:pt x="127331" y="396615"/>
                      </a:lnTo>
                      <a:lnTo>
                        <a:pt x="126671" y="395955"/>
                      </a:lnTo>
                      <a:lnTo>
                        <a:pt x="125677" y="394414"/>
                      </a:lnTo>
                      <a:lnTo>
                        <a:pt x="123044" y="393599"/>
                      </a:lnTo>
                      <a:lnTo>
                        <a:pt x="121749" y="391847"/>
                      </a:lnTo>
                      <a:lnTo>
                        <a:pt x="121382" y="389598"/>
                      </a:lnTo>
                      <a:lnTo>
                        <a:pt x="121023" y="388710"/>
                      </a:lnTo>
                      <a:lnTo>
                        <a:pt x="120461" y="389981"/>
                      </a:lnTo>
                      <a:lnTo>
                        <a:pt x="120021" y="395344"/>
                      </a:lnTo>
                      <a:lnTo>
                        <a:pt x="119556" y="396566"/>
                      </a:lnTo>
                      <a:lnTo>
                        <a:pt x="118432" y="397088"/>
                      </a:lnTo>
                      <a:lnTo>
                        <a:pt x="116215" y="395555"/>
                      </a:lnTo>
                      <a:lnTo>
                        <a:pt x="114096" y="392467"/>
                      </a:lnTo>
                      <a:lnTo>
                        <a:pt x="111089" y="394602"/>
                      </a:lnTo>
                      <a:lnTo>
                        <a:pt x="112002" y="394863"/>
                      </a:lnTo>
                      <a:lnTo>
                        <a:pt x="113379" y="394691"/>
                      </a:lnTo>
                      <a:lnTo>
                        <a:pt x="114431" y="395221"/>
                      </a:lnTo>
                      <a:lnTo>
                        <a:pt x="115335" y="397275"/>
                      </a:lnTo>
                      <a:lnTo>
                        <a:pt x="115303" y="398400"/>
                      </a:lnTo>
                      <a:lnTo>
                        <a:pt x="114829" y="399703"/>
                      </a:lnTo>
                      <a:lnTo>
                        <a:pt x="112010" y="399907"/>
                      </a:lnTo>
                      <a:lnTo>
                        <a:pt x="108237" y="399451"/>
                      </a:lnTo>
                      <a:lnTo>
                        <a:pt x="107560" y="399622"/>
                      </a:lnTo>
                      <a:lnTo>
                        <a:pt x="110983" y="401627"/>
                      </a:lnTo>
                      <a:lnTo>
                        <a:pt x="114129" y="402792"/>
                      </a:lnTo>
                      <a:lnTo>
                        <a:pt x="115522" y="404064"/>
                      </a:lnTo>
                      <a:lnTo>
                        <a:pt x="115522" y="405107"/>
                      </a:lnTo>
                      <a:lnTo>
                        <a:pt x="113762" y="406802"/>
                      </a:lnTo>
                      <a:lnTo>
                        <a:pt x="112401" y="408872"/>
                      </a:lnTo>
                      <a:lnTo>
                        <a:pt x="112368" y="410160"/>
                      </a:lnTo>
                      <a:lnTo>
                        <a:pt x="112336" y="411594"/>
                      </a:lnTo>
                      <a:lnTo>
                        <a:pt x="110812" y="412833"/>
                      </a:lnTo>
                      <a:lnTo>
                        <a:pt x="109867" y="412588"/>
                      </a:lnTo>
                      <a:lnTo>
                        <a:pt x="107177" y="410429"/>
                      </a:lnTo>
                      <a:lnTo>
                        <a:pt x="99435" y="401920"/>
                      </a:lnTo>
                      <a:lnTo>
                        <a:pt x="100600" y="404325"/>
                      </a:lnTo>
                      <a:lnTo>
                        <a:pt x="108628" y="414006"/>
                      </a:lnTo>
                      <a:lnTo>
                        <a:pt x="110046" y="417185"/>
                      </a:lnTo>
                      <a:lnTo>
                        <a:pt x="110250" y="419434"/>
                      </a:lnTo>
                      <a:lnTo>
                        <a:pt x="109418" y="420567"/>
                      </a:lnTo>
                      <a:lnTo>
                        <a:pt x="108049" y="421895"/>
                      </a:lnTo>
                      <a:lnTo>
                        <a:pt x="105425" y="421993"/>
                      </a:lnTo>
                      <a:lnTo>
                        <a:pt x="101106" y="418399"/>
                      </a:lnTo>
                      <a:lnTo>
                        <a:pt x="94203" y="409760"/>
                      </a:lnTo>
                      <a:lnTo>
                        <a:pt x="91848" y="408587"/>
                      </a:lnTo>
                      <a:lnTo>
                        <a:pt x="98832" y="418456"/>
                      </a:lnTo>
                      <a:lnTo>
                        <a:pt x="99981" y="420844"/>
                      </a:lnTo>
                      <a:lnTo>
                        <a:pt x="101162" y="423607"/>
                      </a:lnTo>
                      <a:lnTo>
                        <a:pt x="100820" y="425253"/>
                      </a:lnTo>
                      <a:lnTo>
                        <a:pt x="100225" y="426793"/>
                      </a:lnTo>
                      <a:lnTo>
                        <a:pt x="83673" y="435937"/>
                      </a:lnTo>
                      <a:lnTo>
                        <a:pt x="81196" y="439874"/>
                      </a:lnTo>
                      <a:lnTo>
                        <a:pt x="79240" y="444731"/>
                      </a:lnTo>
                      <a:lnTo>
                        <a:pt x="75996" y="447445"/>
                      </a:lnTo>
                      <a:lnTo>
                        <a:pt x="74089" y="449914"/>
                      </a:lnTo>
                      <a:lnTo>
                        <a:pt x="68572" y="451300"/>
                      </a:lnTo>
                      <a:lnTo>
                        <a:pt x="65564" y="450868"/>
                      </a:lnTo>
                      <a:lnTo>
                        <a:pt x="68678" y="446377"/>
                      </a:lnTo>
                      <a:lnTo>
                        <a:pt x="66754" y="444715"/>
                      </a:lnTo>
                      <a:lnTo>
                        <a:pt x="66657" y="433166"/>
                      </a:lnTo>
                      <a:lnTo>
                        <a:pt x="67414" y="420485"/>
                      </a:lnTo>
                      <a:lnTo>
                        <a:pt x="68857" y="414145"/>
                      </a:lnTo>
                      <a:lnTo>
                        <a:pt x="70952" y="412572"/>
                      </a:lnTo>
                      <a:lnTo>
                        <a:pt x="73551" y="411594"/>
                      </a:lnTo>
                      <a:lnTo>
                        <a:pt x="73608" y="410249"/>
                      </a:lnTo>
                      <a:lnTo>
                        <a:pt x="73356" y="408733"/>
                      </a:lnTo>
                      <a:lnTo>
                        <a:pt x="71946" y="406566"/>
                      </a:lnTo>
                      <a:lnTo>
                        <a:pt x="70414" y="405563"/>
                      </a:lnTo>
                      <a:lnTo>
                        <a:pt x="68124" y="405131"/>
                      </a:lnTo>
                      <a:lnTo>
                        <a:pt x="66347" y="402475"/>
                      </a:lnTo>
                      <a:lnTo>
                        <a:pt x="65002" y="402589"/>
                      </a:lnTo>
                      <a:lnTo>
                        <a:pt x="62916" y="403469"/>
                      </a:lnTo>
                      <a:lnTo>
                        <a:pt x="61661" y="402328"/>
                      </a:lnTo>
                      <a:lnTo>
                        <a:pt x="61196" y="400543"/>
                      </a:lnTo>
                      <a:lnTo>
                        <a:pt x="59265" y="398334"/>
                      </a:lnTo>
                      <a:lnTo>
                        <a:pt x="57048" y="396183"/>
                      </a:lnTo>
                      <a:lnTo>
                        <a:pt x="58050" y="395841"/>
                      </a:lnTo>
                      <a:lnTo>
                        <a:pt x="59216" y="394602"/>
                      </a:lnTo>
                      <a:lnTo>
                        <a:pt x="60463" y="393021"/>
                      </a:lnTo>
                      <a:lnTo>
                        <a:pt x="63568" y="392801"/>
                      </a:lnTo>
                      <a:lnTo>
                        <a:pt x="66698" y="392874"/>
                      </a:lnTo>
                      <a:lnTo>
                        <a:pt x="67570" y="392467"/>
                      </a:lnTo>
                      <a:lnTo>
                        <a:pt x="68816" y="390780"/>
                      </a:lnTo>
                      <a:lnTo>
                        <a:pt x="70870" y="388612"/>
                      </a:lnTo>
                      <a:lnTo>
                        <a:pt x="72418" y="387414"/>
                      </a:lnTo>
                      <a:lnTo>
                        <a:pt x="72777" y="386444"/>
                      </a:lnTo>
                      <a:lnTo>
                        <a:pt x="72158" y="384162"/>
                      </a:lnTo>
                      <a:lnTo>
                        <a:pt x="71816" y="381823"/>
                      </a:lnTo>
                      <a:lnTo>
                        <a:pt x="72402" y="381082"/>
                      </a:lnTo>
                      <a:lnTo>
                        <a:pt x="75230" y="381497"/>
                      </a:lnTo>
                      <a:lnTo>
                        <a:pt x="78319" y="382589"/>
                      </a:lnTo>
                      <a:lnTo>
                        <a:pt x="79068" y="383078"/>
                      </a:lnTo>
                      <a:lnTo>
                        <a:pt x="80862" y="380209"/>
                      </a:lnTo>
                      <a:lnTo>
                        <a:pt x="81343" y="379859"/>
                      </a:lnTo>
                      <a:lnTo>
                        <a:pt x="82508" y="379867"/>
                      </a:lnTo>
                      <a:lnTo>
                        <a:pt x="85580" y="379346"/>
                      </a:lnTo>
                      <a:lnTo>
                        <a:pt x="88588" y="378588"/>
                      </a:lnTo>
                      <a:lnTo>
                        <a:pt x="89997" y="378710"/>
                      </a:lnTo>
                      <a:lnTo>
                        <a:pt x="91391" y="380633"/>
                      </a:lnTo>
                      <a:lnTo>
                        <a:pt x="92451" y="382524"/>
                      </a:lnTo>
                      <a:lnTo>
                        <a:pt x="92980" y="382687"/>
                      </a:lnTo>
                      <a:lnTo>
                        <a:pt x="94545" y="381880"/>
                      </a:lnTo>
                      <a:lnTo>
                        <a:pt x="95832" y="382891"/>
                      </a:lnTo>
                      <a:lnTo>
                        <a:pt x="98522" y="384537"/>
                      </a:lnTo>
                      <a:lnTo>
                        <a:pt x="100136" y="384610"/>
                      </a:lnTo>
                      <a:lnTo>
                        <a:pt x="99329" y="380772"/>
                      </a:lnTo>
                      <a:lnTo>
                        <a:pt x="100225" y="378042"/>
                      </a:lnTo>
                      <a:lnTo>
                        <a:pt x="100054" y="377292"/>
                      </a:lnTo>
                      <a:lnTo>
                        <a:pt x="98538" y="376037"/>
                      </a:lnTo>
                      <a:lnTo>
                        <a:pt x="93371" y="371008"/>
                      </a:lnTo>
                      <a:lnTo>
                        <a:pt x="92491" y="369517"/>
                      </a:lnTo>
                      <a:lnTo>
                        <a:pt x="92622" y="367154"/>
                      </a:lnTo>
                      <a:lnTo>
                        <a:pt x="92451" y="363682"/>
                      </a:lnTo>
                      <a:lnTo>
                        <a:pt x="91986" y="361498"/>
                      </a:lnTo>
                      <a:lnTo>
                        <a:pt x="92068" y="360226"/>
                      </a:lnTo>
                      <a:lnTo>
                        <a:pt x="92393" y="359208"/>
                      </a:lnTo>
                      <a:lnTo>
                        <a:pt x="93330" y="358808"/>
                      </a:lnTo>
                      <a:lnTo>
                        <a:pt x="94252" y="358670"/>
                      </a:lnTo>
                      <a:lnTo>
                        <a:pt x="94985" y="357773"/>
                      </a:lnTo>
                      <a:lnTo>
                        <a:pt x="96224" y="355491"/>
                      </a:lnTo>
                      <a:lnTo>
                        <a:pt x="98620" y="355695"/>
                      </a:lnTo>
                      <a:lnTo>
                        <a:pt x="102002" y="356999"/>
                      </a:lnTo>
                      <a:lnTo>
                        <a:pt x="104504" y="357798"/>
                      </a:lnTo>
                      <a:lnTo>
                        <a:pt x="105979" y="357643"/>
                      </a:lnTo>
                      <a:lnTo>
                        <a:pt x="106305" y="357309"/>
                      </a:lnTo>
                      <a:lnTo>
                        <a:pt x="106256" y="356086"/>
                      </a:lnTo>
                      <a:lnTo>
                        <a:pt x="106428" y="350838"/>
                      </a:lnTo>
                      <a:lnTo>
                        <a:pt x="106330" y="349721"/>
                      </a:lnTo>
                      <a:lnTo>
                        <a:pt x="108457" y="349216"/>
                      </a:lnTo>
                      <a:lnTo>
                        <a:pt x="111717" y="349102"/>
                      </a:lnTo>
                      <a:lnTo>
                        <a:pt x="113428" y="348800"/>
                      </a:lnTo>
                      <a:lnTo>
                        <a:pt x="115025" y="346584"/>
                      </a:lnTo>
                      <a:lnTo>
                        <a:pt x="119141" y="345826"/>
                      </a:lnTo>
                      <a:lnTo>
                        <a:pt x="122116" y="342851"/>
                      </a:lnTo>
                      <a:lnTo>
                        <a:pt x="124813" y="339787"/>
                      </a:lnTo>
                      <a:lnTo>
                        <a:pt x="126117" y="338972"/>
                      </a:lnTo>
                      <a:lnTo>
                        <a:pt x="127796" y="338434"/>
                      </a:lnTo>
                      <a:lnTo>
                        <a:pt x="129043" y="338515"/>
                      </a:lnTo>
                      <a:lnTo>
                        <a:pt x="130616" y="340284"/>
                      </a:lnTo>
                      <a:lnTo>
                        <a:pt x="131920" y="339216"/>
                      </a:lnTo>
                      <a:lnTo>
                        <a:pt x="133419" y="337130"/>
                      </a:lnTo>
                      <a:lnTo>
                        <a:pt x="134201" y="335093"/>
                      </a:lnTo>
                      <a:lnTo>
                        <a:pt x="134634" y="331816"/>
                      </a:lnTo>
                      <a:lnTo>
                        <a:pt x="134348" y="326796"/>
                      </a:lnTo>
                      <a:lnTo>
                        <a:pt x="133541" y="322852"/>
                      </a:lnTo>
                      <a:lnTo>
                        <a:pt x="132800" y="319901"/>
                      </a:lnTo>
                      <a:lnTo>
                        <a:pt x="132645" y="316951"/>
                      </a:lnTo>
                      <a:lnTo>
                        <a:pt x="134381" y="311035"/>
                      </a:lnTo>
                      <a:lnTo>
                        <a:pt x="135872" y="304588"/>
                      </a:lnTo>
                      <a:lnTo>
                        <a:pt x="135595" y="302045"/>
                      </a:lnTo>
                      <a:lnTo>
                        <a:pt x="133973" y="298019"/>
                      </a:lnTo>
                      <a:lnTo>
                        <a:pt x="132327" y="293113"/>
                      </a:lnTo>
                      <a:lnTo>
                        <a:pt x="130518" y="287726"/>
                      </a:lnTo>
                      <a:lnTo>
                        <a:pt x="129842" y="286919"/>
                      </a:lnTo>
                      <a:lnTo>
                        <a:pt x="129353" y="285420"/>
                      </a:lnTo>
                      <a:lnTo>
                        <a:pt x="129076" y="283660"/>
                      </a:lnTo>
                      <a:lnTo>
                        <a:pt x="129801" y="278150"/>
                      </a:lnTo>
                      <a:lnTo>
                        <a:pt x="129907" y="276300"/>
                      </a:lnTo>
                      <a:lnTo>
                        <a:pt x="131985" y="273790"/>
                      </a:lnTo>
                      <a:lnTo>
                        <a:pt x="133101" y="270913"/>
                      </a:lnTo>
                      <a:lnTo>
                        <a:pt x="134144" y="267743"/>
                      </a:lnTo>
                      <a:lnTo>
                        <a:pt x="133753" y="266064"/>
                      </a:lnTo>
                      <a:lnTo>
                        <a:pt x="133607" y="262650"/>
                      </a:lnTo>
                      <a:lnTo>
                        <a:pt x="133867" y="260987"/>
                      </a:lnTo>
                      <a:lnTo>
                        <a:pt x="133370" y="259642"/>
                      </a:lnTo>
                      <a:lnTo>
                        <a:pt x="132775" y="257686"/>
                      </a:lnTo>
                      <a:lnTo>
                        <a:pt x="133166" y="256423"/>
                      </a:lnTo>
                      <a:lnTo>
                        <a:pt x="134625" y="255339"/>
                      </a:lnTo>
                      <a:lnTo>
                        <a:pt x="135481" y="253473"/>
                      </a:lnTo>
                      <a:lnTo>
                        <a:pt x="136581" y="251297"/>
                      </a:lnTo>
                      <a:lnTo>
                        <a:pt x="137062" y="249308"/>
                      </a:lnTo>
                      <a:lnTo>
                        <a:pt x="136280" y="247638"/>
                      </a:lnTo>
                      <a:lnTo>
                        <a:pt x="134854" y="245152"/>
                      </a:lnTo>
                      <a:lnTo>
                        <a:pt x="132262" y="242887"/>
                      </a:lnTo>
                      <a:lnTo>
                        <a:pt x="129271" y="240002"/>
                      </a:lnTo>
                      <a:lnTo>
                        <a:pt x="127796" y="238225"/>
                      </a:lnTo>
                      <a:lnTo>
                        <a:pt x="126630" y="236416"/>
                      </a:lnTo>
                      <a:lnTo>
                        <a:pt x="125555" y="234305"/>
                      </a:lnTo>
                      <a:lnTo>
                        <a:pt x="124976" y="232618"/>
                      </a:lnTo>
                      <a:lnTo>
                        <a:pt x="125538" y="231518"/>
                      </a:lnTo>
                      <a:lnTo>
                        <a:pt x="129801" y="228983"/>
                      </a:lnTo>
                      <a:lnTo>
                        <a:pt x="130575" y="228070"/>
                      </a:lnTo>
                      <a:lnTo>
                        <a:pt x="131023" y="226652"/>
                      </a:lnTo>
                      <a:lnTo>
                        <a:pt x="130689" y="225275"/>
                      </a:lnTo>
                      <a:lnTo>
                        <a:pt x="129532" y="224533"/>
                      </a:lnTo>
                      <a:lnTo>
                        <a:pt x="128212" y="224020"/>
                      </a:lnTo>
                      <a:lnTo>
                        <a:pt x="126247" y="222431"/>
                      </a:lnTo>
                      <a:lnTo>
                        <a:pt x="122588" y="218046"/>
                      </a:lnTo>
                      <a:lnTo>
                        <a:pt x="120901" y="217068"/>
                      </a:lnTo>
                      <a:lnTo>
                        <a:pt x="119133" y="215805"/>
                      </a:lnTo>
                      <a:lnTo>
                        <a:pt x="118203" y="214485"/>
                      </a:lnTo>
                      <a:lnTo>
                        <a:pt x="117160" y="210842"/>
                      </a:lnTo>
                      <a:lnTo>
                        <a:pt x="116704" y="210516"/>
                      </a:lnTo>
                      <a:lnTo>
                        <a:pt x="115686" y="211616"/>
                      </a:lnTo>
                      <a:lnTo>
                        <a:pt x="114398" y="212773"/>
                      </a:lnTo>
                      <a:lnTo>
                        <a:pt x="113314" y="212577"/>
                      </a:lnTo>
                      <a:lnTo>
                        <a:pt x="112336" y="211551"/>
                      </a:lnTo>
                      <a:lnTo>
                        <a:pt x="111863" y="210165"/>
                      </a:lnTo>
                      <a:lnTo>
                        <a:pt x="110771" y="208266"/>
                      </a:lnTo>
                      <a:lnTo>
                        <a:pt x="109598" y="206726"/>
                      </a:lnTo>
                      <a:lnTo>
                        <a:pt x="109280" y="201510"/>
                      </a:lnTo>
                      <a:lnTo>
                        <a:pt x="109092" y="199815"/>
                      </a:lnTo>
                      <a:lnTo>
                        <a:pt x="108505" y="197443"/>
                      </a:lnTo>
                      <a:lnTo>
                        <a:pt x="107592" y="196596"/>
                      </a:lnTo>
                      <a:lnTo>
                        <a:pt x="106623" y="195960"/>
                      </a:lnTo>
                      <a:lnTo>
                        <a:pt x="104333" y="191641"/>
                      </a:lnTo>
                      <a:lnTo>
                        <a:pt x="102744" y="189400"/>
                      </a:lnTo>
                      <a:lnTo>
                        <a:pt x="96215" y="183320"/>
                      </a:lnTo>
                      <a:lnTo>
                        <a:pt x="95409" y="182350"/>
                      </a:lnTo>
                      <a:lnTo>
                        <a:pt x="93640" y="179848"/>
                      </a:lnTo>
                      <a:lnTo>
                        <a:pt x="90584" y="176303"/>
                      </a:lnTo>
                      <a:lnTo>
                        <a:pt x="88400" y="173435"/>
                      </a:lnTo>
                      <a:lnTo>
                        <a:pt x="86811" y="170476"/>
                      </a:lnTo>
                      <a:lnTo>
                        <a:pt x="86069" y="167909"/>
                      </a:lnTo>
                      <a:lnTo>
                        <a:pt x="85849" y="165896"/>
                      </a:lnTo>
                      <a:lnTo>
                        <a:pt x="84113" y="163019"/>
                      </a:lnTo>
                      <a:lnTo>
                        <a:pt x="82614" y="160664"/>
                      </a:lnTo>
                      <a:lnTo>
                        <a:pt x="81171" y="159898"/>
                      </a:lnTo>
                      <a:lnTo>
                        <a:pt x="79517" y="159580"/>
                      </a:lnTo>
                      <a:lnTo>
                        <a:pt x="78017" y="158178"/>
                      </a:lnTo>
                      <a:lnTo>
                        <a:pt x="75287" y="155000"/>
                      </a:lnTo>
                      <a:lnTo>
                        <a:pt x="74089" y="152954"/>
                      </a:lnTo>
                      <a:lnTo>
                        <a:pt x="73372" y="151585"/>
                      </a:lnTo>
                      <a:lnTo>
                        <a:pt x="73405" y="150167"/>
                      </a:lnTo>
                      <a:lnTo>
                        <a:pt x="74065" y="147803"/>
                      </a:lnTo>
                      <a:lnTo>
                        <a:pt x="74855" y="146459"/>
                      </a:lnTo>
                      <a:lnTo>
                        <a:pt x="74888" y="145408"/>
                      </a:lnTo>
                      <a:lnTo>
                        <a:pt x="74106" y="144552"/>
                      </a:lnTo>
                      <a:lnTo>
                        <a:pt x="71082" y="143028"/>
                      </a:lnTo>
                      <a:lnTo>
                        <a:pt x="64211" y="140721"/>
                      </a:lnTo>
                      <a:lnTo>
                        <a:pt x="61661" y="138961"/>
                      </a:lnTo>
                      <a:lnTo>
                        <a:pt x="59297" y="136704"/>
                      </a:lnTo>
                      <a:lnTo>
                        <a:pt x="57504" y="135171"/>
                      </a:lnTo>
                      <a:lnTo>
                        <a:pt x="49143" y="128644"/>
                      </a:lnTo>
                      <a:lnTo>
                        <a:pt x="46608" y="127560"/>
                      </a:lnTo>
                      <a:lnTo>
                        <a:pt x="44416" y="126402"/>
                      </a:lnTo>
                      <a:lnTo>
                        <a:pt x="43756" y="125278"/>
                      </a:lnTo>
                      <a:lnTo>
                        <a:pt x="43878" y="124202"/>
                      </a:lnTo>
                      <a:lnTo>
                        <a:pt x="44758" y="123403"/>
                      </a:lnTo>
                      <a:lnTo>
                        <a:pt x="47122" y="121724"/>
                      </a:lnTo>
                      <a:lnTo>
                        <a:pt x="47994" y="119809"/>
                      </a:lnTo>
                      <a:lnTo>
                        <a:pt x="47725" y="117291"/>
                      </a:lnTo>
                      <a:lnTo>
                        <a:pt x="46779" y="114756"/>
                      </a:lnTo>
                      <a:lnTo>
                        <a:pt x="47244" y="113868"/>
                      </a:lnTo>
                      <a:lnTo>
                        <a:pt x="48002" y="113770"/>
                      </a:lnTo>
                      <a:lnTo>
                        <a:pt x="49591" y="113697"/>
                      </a:lnTo>
                      <a:lnTo>
                        <a:pt x="52884" y="113550"/>
                      </a:lnTo>
                      <a:lnTo>
                        <a:pt x="59990" y="115865"/>
                      </a:lnTo>
                      <a:lnTo>
                        <a:pt x="61017" y="115612"/>
                      </a:lnTo>
                      <a:lnTo>
                        <a:pt x="64872" y="111415"/>
                      </a:lnTo>
                      <a:lnTo>
                        <a:pt x="66330" y="108905"/>
                      </a:lnTo>
                      <a:lnTo>
                        <a:pt x="66665" y="106810"/>
                      </a:lnTo>
                      <a:lnTo>
                        <a:pt x="67423" y="105474"/>
                      </a:lnTo>
                      <a:lnTo>
                        <a:pt x="69460" y="103282"/>
                      </a:lnTo>
                      <a:lnTo>
                        <a:pt x="69493" y="101285"/>
                      </a:lnTo>
                      <a:lnTo>
                        <a:pt x="68490" y="98620"/>
                      </a:lnTo>
                      <a:lnTo>
                        <a:pt x="67472" y="97593"/>
                      </a:lnTo>
                      <a:lnTo>
                        <a:pt x="66608" y="97153"/>
                      </a:lnTo>
                      <a:lnTo>
                        <a:pt x="63780" y="97503"/>
                      </a:lnTo>
                      <a:lnTo>
                        <a:pt x="63242" y="96900"/>
                      </a:lnTo>
                      <a:lnTo>
                        <a:pt x="62867" y="94912"/>
                      </a:lnTo>
                      <a:lnTo>
                        <a:pt x="62729" y="93689"/>
                      </a:lnTo>
                      <a:lnTo>
                        <a:pt x="61807" y="92271"/>
                      </a:lnTo>
                      <a:lnTo>
                        <a:pt x="58759" y="91065"/>
                      </a:lnTo>
                      <a:lnTo>
                        <a:pt x="56184" y="90723"/>
                      </a:lnTo>
                      <a:lnTo>
                        <a:pt x="55573" y="90209"/>
                      </a:lnTo>
                      <a:lnTo>
                        <a:pt x="56567" y="88840"/>
                      </a:lnTo>
                      <a:lnTo>
                        <a:pt x="58327" y="87479"/>
                      </a:lnTo>
                      <a:lnTo>
                        <a:pt x="59673" y="86697"/>
                      </a:lnTo>
                      <a:lnTo>
                        <a:pt x="60724" y="85295"/>
                      </a:lnTo>
                      <a:lnTo>
                        <a:pt x="60919" y="83861"/>
                      </a:lnTo>
                      <a:lnTo>
                        <a:pt x="59607" y="82581"/>
                      </a:lnTo>
                      <a:lnTo>
                        <a:pt x="57896" y="81163"/>
                      </a:lnTo>
                      <a:lnTo>
                        <a:pt x="55125" y="78466"/>
                      </a:lnTo>
                      <a:lnTo>
                        <a:pt x="51294" y="75589"/>
                      </a:lnTo>
                      <a:lnTo>
                        <a:pt x="48964" y="74603"/>
                      </a:lnTo>
                      <a:lnTo>
                        <a:pt x="47749" y="74733"/>
                      </a:lnTo>
                      <a:lnTo>
                        <a:pt x="43519" y="77211"/>
                      </a:lnTo>
                      <a:lnTo>
                        <a:pt x="41262" y="78816"/>
                      </a:lnTo>
                      <a:lnTo>
                        <a:pt x="39371" y="81685"/>
                      </a:lnTo>
                      <a:lnTo>
                        <a:pt x="37407" y="82296"/>
                      </a:lnTo>
                      <a:lnTo>
                        <a:pt x="35419" y="81033"/>
                      </a:lnTo>
                      <a:lnTo>
                        <a:pt x="33161" y="79737"/>
                      </a:lnTo>
                      <a:lnTo>
                        <a:pt x="26886" y="77862"/>
                      </a:lnTo>
                      <a:lnTo>
                        <a:pt x="24254" y="76281"/>
                      </a:lnTo>
                      <a:lnTo>
                        <a:pt x="18777" y="66649"/>
                      </a:lnTo>
                      <a:lnTo>
                        <a:pt x="17970" y="64692"/>
                      </a:lnTo>
                      <a:lnTo>
                        <a:pt x="18484" y="62468"/>
                      </a:lnTo>
                      <a:lnTo>
                        <a:pt x="18858" y="59289"/>
                      </a:lnTo>
                      <a:lnTo>
                        <a:pt x="19404" y="57236"/>
                      </a:lnTo>
                      <a:lnTo>
                        <a:pt x="20374" y="55263"/>
                      </a:lnTo>
                      <a:lnTo>
                        <a:pt x="20635" y="53511"/>
                      </a:lnTo>
                      <a:lnTo>
                        <a:pt x="20399" y="51800"/>
                      </a:lnTo>
                      <a:lnTo>
                        <a:pt x="19608" y="50822"/>
                      </a:lnTo>
                      <a:lnTo>
                        <a:pt x="18581" y="50528"/>
                      </a:lnTo>
                      <a:lnTo>
                        <a:pt x="17807" y="50145"/>
                      </a:lnTo>
                      <a:lnTo>
                        <a:pt x="17082" y="47888"/>
                      </a:lnTo>
                      <a:lnTo>
                        <a:pt x="16642" y="48181"/>
                      </a:lnTo>
                      <a:lnTo>
                        <a:pt x="15965" y="50919"/>
                      </a:lnTo>
                      <a:lnTo>
                        <a:pt x="15158" y="51906"/>
                      </a:lnTo>
                      <a:lnTo>
                        <a:pt x="14082" y="52403"/>
                      </a:lnTo>
                      <a:lnTo>
                        <a:pt x="13251" y="51971"/>
                      </a:lnTo>
                      <a:lnTo>
                        <a:pt x="12722" y="50871"/>
                      </a:lnTo>
                      <a:lnTo>
                        <a:pt x="12494" y="49013"/>
                      </a:lnTo>
                      <a:lnTo>
                        <a:pt x="11964" y="46519"/>
                      </a:lnTo>
                      <a:lnTo>
                        <a:pt x="11287" y="44880"/>
                      </a:lnTo>
                      <a:lnTo>
                        <a:pt x="8932" y="43226"/>
                      </a:lnTo>
                      <a:lnTo>
                        <a:pt x="7815" y="41067"/>
                      </a:lnTo>
                      <a:lnTo>
                        <a:pt x="4311" y="36372"/>
                      </a:lnTo>
                      <a:lnTo>
                        <a:pt x="1385" y="33080"/>
                      </a:lnTo>
                      <a:lnTo>
                        <a:pt x="0" y="30121"/>
                      </a:lnTo>
                      <a:lnTo>
                        <a:pt x="1198" y="29021"/>
                      </a:lnTo>
                      <a:lnTo>
                        <a:pt x="2714" y="27424"/>
                      </a:lnTo>
                      <a:lnTo>
                        <a:pt x="4336" y="24930"/>
                      </a:lnTo>
                      <a:lnTo>
                        <a:pt x="6161" y="21800"/>
                      </a:lnTo>
                      <a:lnTo>
                        <a:pt x="6919" y="19885"/>
                      </a:lnTo>
                      <a:lnTo>
                        <a:pt x="7449" y="19111"/>
                      </a:lnTo>
                      <a:lnTo>
                        <a:pt x="8516" y="18541"/>
                      </a:lnTo>
                      <a:lnTo>
                        <a:pt x="9674" y="18858"/>
                      </a:lnTo>
                      <a:lnTo>
                        <a:pt x="11687" y="20122"/>
                      </a:lnTo>
                      <a:lnTo>
                        <a:pt x="14727" y="21743"/>
                      </a:lnTo>
                      <a:lnTo>
                        <a:pt x="17432" y="23642"/>
                      </a:lnTo>
                      <a:lnTo>
                        <a:pt x="18524" y="25566"/>
                      </a:lnTo>
                      <a:lnTo>
                        <a:pt x="20040" y="27408"/>
                      </a:lnTo>
                      <a:lnTo>
                        <a:pt x="21198" y="27962"/>
                      </a:lnTo>
                      <a:lnTo>
                        <a:pt x="21792" y="27815"/>
                      </a:lnTo>
                      <a:lnTo>
                        <a:pt x="23528" y="26438"/>
                      </a:lnTo>
                      <a:lnTo>
                        <a:pt x="25036" y="25044"/>
                      </a:lnTo>
                      <a:lnTo>
                        <a:pt x="25068" y="23471"/>
                      </a:lnTo>
                      <a:lnTo>
                        <a:pt x="26454" y="22053"/>
                      </a:lnTo>
                      <a:lnTo>
                        <a:pt x="28263" y="19714"/>
                      </a:lnTo>
                      <a:lnTo>
                        <a:pt x="29111" y="18125"/>
                      </a:lnTo>
                      <a:lnTo>
                        <a:pt x="29763" y="17954"/>
                      </a:lnTo>
                      <a:lnTo>
                        <a:pt x="30496" y="18426"/>
                      </a:lnTo>
                      <a:lnTo>
                        <a:pt x="33349" y="23325"/>
                      </a:lnTo>
                      <a:lnTo>
                        <a:pt x="33895" y="23618"/>
                      </a:lnTo>
                      <a:lnTo>
                        <a:pt x="34702" y="22884"/>
                      </a:lnTo>
                      <a:lnTo>
                        <a:pt x="35826" y="19054"/>
                      </a:lnTo>
                      <a:lnTo>
                        <a:pt x="37049" y="17571"/>
                      </a:lnTo>
                      <a:lnTo>
                        <a:pt x="37472" y="17937"/>
                      </a:lnTo>
                      <a:lnTo>
                        <a:pt x="44367" y="25158"/>
                      </a:lnTo>
                      <a:lnTo>
                        <a:pt x="45019" y="25101"/>
                      </a:lnTo>
                      <a:lnTo>
                        <a:pt x="45761" y="24775"/>
                      </a:lnTo>
                      <a:lnTo>
                        <a:pt x="46250" y="23667"/>
                      </a:lnTo>
                      <a:lnTo>
                        <a:pt x="46787" y="21173"/>
                      </a:lnTo>
                      <a:lnTo>
                        <a:pt x="47806" y="18492"/>
                      </a:lnTo>
                      <a:lnTo>
                        <a:pt x="50015" y="17000"/>
                      </a:lnTo>
                      <a:lnTo>
                        <a:pt x="51743" y="16715"/>
                      </a:lnTo>
                      <a:lnTo>
                        <a:pt x="52378" y="17986"/>
                      </a:lnTo>
                      <a:lnTo>
                        <a:pt x="53870" y="19747"/>
                      </a:lnTo>
                      <a:lnTo>
                        <a:pt x="55695" y="20000"/>
                      </a:lnTo>
                      <a:lnTo>
                        <a:pt x="59550" y="16878"/>
                      </a:lnTo>
                      <a:lnTo>
                        <a:pt x="60797" y="16381"/>
                      </a:lnTo>
                      <a:lnTo>
                        <a:pt x="62142" y="16430"/>
                      </a:lnTo>
                      <a:lnTo>
                        <a:pt x="63519" y="16299"/>
                      </a:lnTo>
                      <a:lnTo>
                        <a:pt x="64831" y="15110"/>
                      </a:lnTo>
                      <a:lnTo>
                        <a:pt x="66208" y="13529"/>
                      </a:lnTo>
                      <a:lnTo>
                        <a:pt x="66681" y="10423"/>
                      </a:lnTo>
                      <a:lnTo>
                        <a:pt x="66975" y="7636"/>
                      </a:lnTo>
                      <a:lnTo>
                        <a:pt x="67928" y="6512"/>
                      </a:lnTo>
                      <a:lnTo>
                        <a:pt x="69052" y="5754"/>
                      </a:lnTo>
                      <a:lnTo>
                        <a:pt x="71180" y="4702"/>
                      </a:lnTo>
                      <a:lnTo>
                        <a:pt x="75972" y="1997"/>
                      </a:lnTo>
                      <a:lnTo>
                        <a:pt x="77202" y="717"/>
                      </a:lnTo>
                      <a:lnTo>
                        <a:pt x="78107" y="0"/>
                      </a:lnTo>
                      <a:lnTo>
                        <a:pt x="79973" y="1173"/>
                      </a:lnTo>
                      <a:lnTo>
                        <a:pt x="82198" y="3431"/>
                      </a:lnTo>
                      <a:lnTo>
                        <a:pt x="83543" y="5134"/>
                      </a:lnTo>
                      <a:lnTo>
                        <a:pt x="84439" y="6968"/>
                      </a:lnTo>
                      <a:lnTo>
                        <a:pt x="84863" y="8500"/>
                      </a:lnTo>
                      <a:lnTo>
                        <a:pt x="88424" y="9837"/>
                      </a:lnTo>
                      <a:lnTo>
                        <a:pt x="90657" y="11752"/>
                      </a:lnTo>
                      <a:close/>
                    </a:path>
                  </a:pathLst>
                </a:custGeom>
                <a:solidFill>
                  <a:srgbClr val="D6D6D2"/>
                </a:solidFill>
                <a:ln w="6112" cap="rnd">
                  <a:solidFill>
                    <a:srgbClr val="FFFFFF"/>
                  </a:solidFill>
                  <a:prstDash val="solid"/>
                  <a:round/>
                </a:ln>
              </p:spPr>
              <p:txBody>
                <a:bodyPr rtlCol="0" anchor="ctr"/>
                <a:lstStyle/>
                <a:p>
                  <a:endParaRPr lang="en-US"/>
                </a:p>
              </p:txBody>
            </p:sp>
            <p:sp>
              <p:nvSpPr>
                <p:cNvPr id="551" name="Freeform: Shape 550">
                  <a:extLst>
                    <a:ext uri="{FF2B5EF4-FFF2-40B4-BE49-F238E27FC236}">
                      <a16:creationId xmlns:a16="http://schemas.microsoft.com/office/drawing/2014/main" id="{D322301F-6ED9-4F29-A882-C60640271677}"/>
                    </a:ext>
                  </a:extLst>
                </p:cNvPr>
                <p:cNvSpPr/>
                <p:nvPr/>
              </p:nvSpPr>
              <p:spPr>
                <a:xfrm>
                  <a:off x="4123944" y="4158533"/>
                  <a:ext cx="335744" cy="345377"/>
                </a:xfrm>
                <a:custGeom>
                  <a:avLst/>
                  <a:gdLst>
                    <a:gd name="connsiteX0" fmla="*/ 89419 w 335744"/>
                    <a:gd name="connsiteY0" fmla="*/ 15183 h 345377"/>
                    <a:gd name="connsiteX1" fmla="*/ 90674 w 335744"/>
                    <a:gd name="connsiteY1" fmla="*/ 18573 h 345377"/>
                    <a:gd name="connsiteX2" fmla="*/ 92662 w 335744"/>
                    <a:gd name="connsiteY2" fmla="*/ 21116 h 345377"/>
                    <a:gd name="connsiteX3" fmla="*/ 94194 w 335744"/>
                    <a:gd name="connsiteY3" fmla="*/ 20945 h 345377"/>
                    <a:gd name="connsiteX4" fmla="*/ 95287 w 335744"/>
                    <a:gd name="connsiteY4" fmla="*/ 20521 h 345377"/>
                    <a:gd name="connsiteX5" fmla="*/ 102556 w 335744"/>
                    <a:gd name="connsiteY5" fmla="*/ 19951 h 345377"/>
                    <a:gd name="connsiteX6" fmla="*/ 106973 w 335744"/>
                    <a:gd name="connsiteY6" fmla="*/ 21686 h 345377"/>
                    <a:gd name="connsiteX7" fmla="*/ 112589 w 335744"/>
                    <a:gd name="connsiteY7" fmla="*/ 22566 h 345377"/>
                    <a:gd name="connsiteX8" fmla="*/ 117845 w 335744"/>
                    <a:gd name="connsiteY8" fmla="*/ 26267 h 345377"/>
                    <a:gd name="connsiteX9" fmla="*/ 123240 w 335744"/>
                    <a:gd name="connsiteY9" fmla="*/ 30757 h 345377"/>
                    <a:gd name="connsiteX10" fmla="*/ 124617 w 335744"/>
                    <a:gd name="connsiteY10" fmla="*/ 34025 h 345377"/>
                    <a:gd name="connsiteX11" fmla="*/ 125074 w 335744"/>
                    <a:gd name="connsiteY11" fmla="*/ 37155 h 345377"/>
                    <a:gd name="connsiteX12" fmla="*/ 126378 w 335744"/>
                    <a:gd name="connsiteY12" fmla="*/ 39249 h 345377"/>
                    <a:gd name="connsiteX13" fmla="*/ 125074 w 335744"/>
                    <a:gd name="connsiteY13" fmla="*/ 41401 h 345377"/>
                    <a:gd name="connsiteX14" fmla="*/ 125775 w 335744"/>
                    <a:gd name="connsiteY14" fmla="*/ 45003 h 345377"/>
                    <a:gd name="connsiteX15" fmla="*/ 127315 w 335744"/>
                    <a:gd name="connsiteY15" fmla="*/ 48637 h 345377"/>
                    <a:gd name="connsiteX16" fmla="*/ 129654 w 335744"/>
                    <a:gd name="connsiteY16" fmla="*/ 50944 h 345377"/>
                    <a:gd name="connsiteX17" fmla="*/ 136304 w 335744"/>
                    <a:gd name="connsiteY17" fmla="*/ 51572 h 345377"/>
                    <a:gd name="connsiteX18" fmla="*/ 143501 w 335744"/>
                    <a:gd name="connsiteY18" fmla="*/ 50015 h 345377"/>
                    <a:gd name="connsiteX19" fmla="*/ 154617 w 335744"/>
                    <a:gd name="connsiteY19" fmla="*/ 48605 h 345377"/>
                    <a:gd name="connsiteX20" fmla="*/ 158195 w 335744"/>
                    <a:gd name="connsiteY20" fmla="*/ 47391 h 345377"/>
                    <a:gd name="connsiteX21" fmla="*/ 176588 w 335744"/>
                    <a:gd name="connsiteY21" fmla="*/ 46739 h 345377"/>
                    <a:gd name="connsiteX22" fmla="*/ 180101 w 335744"/>
                    <a:gd name="connsiteY22" fmla="*/ 48466 h 345377"/>
                    <a:gd name="connsiteX23" fmla="*/ 180435 w 335744"/>
                    <a:gd name="connsiteY23" fmla="*/ 50210 h 345377"/>
                    <a:gd name="connsiteX24" fmla="*/ 180476 w 335744"/>
                    <a:gd name="connsiteY24" fmla="*/ 51539 h 345377"/>
                    <a:gd name="connsiteX25" fmla="*/ 186393 w 335744"/>
                    <a:gd name="connsiteY25" fmla="*/ 58034 h 345377"/>
                    <a:gd name="connsiteX26" fmla="*/ 191258 w 335744"/>
                    <a:gd name="connsiteY26" fmla="*/ 58914 h 345377"/>
                    <a:gd name="connsiteX27" fmla="*/ 195382 w 335744"/>
                    <a:gd name="connsiteY27" fmla="*/ 61001 h 345377"/>
                    <a:gd name="connsiteX28" fmla="*/ 199644 w 335744"/>
                    <a:gd name="connsiteY28" fmla="*/ 62117 h 345377"/>
                    <a:gd name="connsiteX29" fmla="*/ 204314 w 335744"/>
                    <a:gd name="connsiteY29" fmla="*/ 63690 h 345377"/>
                    <a:gd name="connsiteX30" fmla="*/ 206938 w 335744"/>
                    <a:gd name="connsiteY30" fmla="*/ 63494 h 345377"/>
                    <a:gd name="connsiteX31" fmla="*/ 208902 w 335744"/>
                    <a:gd name="connsiteY31" fmla="*/ 62949 h 345377"/>
                    <a:gd name="connsiteX32" fmla="*/ 211225 w 335744"/>
                    <a:gd name="connsiteY32" fmla="*/ 62851 h 345377"/>
                    <a:gd name="connsiteX33" fmla="*/ 227646 w 335744"/>
                    <a:gd name="connsiteY33" fmla="*/ 51995 h 345377"/>
                    <a:gd name="connsiteX34" fmla="*/ 236440 w 335744"/>
                    <a:gd name="connsiteY34" fmla="*/ 52272 h 345377"/>
                    <a:gd name="connsiteX35" fmla="*/ 237801 w 335744"/>
                    <a:gd name="connsiteY35" fmla="*/ 51572 h 345377"/>
                    <a:gd name="connsiteX36" fmla="*/ 238966 w 335744"/>
                    <a:gd name="connsiteY36" fmla="*/ 50618 h 345377"/>
                    <a:gd name="connsiteX37" fmla="*/ 235731 w 335744"/>
                    <a:gd name="connsiteY37" fmla="*/ 48964 h 345377"/>
                    <a:gd name="connsiteX38" fmla="*/ 228404 w 335744"/>
                    <a:gd name="connsiteY38" fmla="*/ 48320 h 345377"/>
                    <a:gd name="connsiteX39" fmla="*/ 226179 w 335744"/>
                    <a:gd name="connsiteY39" fmla="*/ 49428 h 345377"/>
                    <a:gd name="connsiteX40" fmla="*/ 224924 w 335744"/>
                    <a:gd name="connsiteY40" fmla="*/ 46633 h 345377"/>
                    <a:gd name="connsiteX41" fmla="*/ 227312 w 335744"/>
                    <a:gd name="connsiteY41" fmla="*/ 46706 h 345377"/>
                    <a:gd name="connsiteX42" fmla="*/ 235454 w 335744"/>
                    <a:gd name="connsiteY42" fmla="*/ 45761 h 345377"/>
                    <a:gd name="connsiteX43" fmla="*/ 244793 w 335744"/>
                    <a:gd name="connsiteY43" fmla="*/ 46380 h 345377"/>
                    <a:gd name="connsiteX44" fmla="*/ 252405 w 335744"/>
                    <a:gd name="connsiteY44" fmla="*/ 44392 h 345377"/>
                    <a:gd name="connsiteX45" fmla="*/ 256236 w 335744"/>
                    <a:gd name="connsiteY45" fmla="*/ 44058 h 345377"/>
                    <a:gd name="connsiteX46" fmla="*/ 258436 w 335744"/>
                    <a:gd name="connsiteY46" fmla="*/ 44448 h 345377"/>
                    <a:gd name="connsiteX47" fmla="*/ 264499 w 335744"/>
                    <a:gd name="connsiteY47" fmla="*/ 43153 h 345377"/>
                    <a:gd name="connsiteX48" fmla="*/ 275909 w 335744"/>
                    <a:gd name="connsiteY48" fmla="*/ 44669 h 345377"/>
                    <a:gd name="connsiteX49" fmla="*/ 284906 w 335744"/>
                    <a:gd name="connsiteY49" fmla="*/ 43422 h 345377"/>
                    <a:gd name="connsiteX50" fmla="*/ 283863 w 335744"/>
                    <a:gd name="connsiteY50" fmla="*/ 45215 h 345377"/>
                    <a:gd name="connsiteX51" fmla="*/ 280913 w 335744"/>
                    <a:gd name="connsiteY51" fmla="*/ 46307 h 345377"/>
                    <a:gd name="connsiteX52" fmla="*/ 276146 w 335744"/>
                    <a:gd name="connsiteY52" fmla="*/ 46649 h 345377"/>
                    <a:gd name="connsiteX53" fmla="*/ 272495 w 335744"/>
                    <a:gd name="connsiteY53" fmla="*/ 49273 h 345377"/>
                    <a:gd name="connsiteX54" fmla="*/ 264711 w 335744"/>
                    <a:gd name="connsiteY54" fmla="*/ 48784 h 345377"/>
                    <a:gd name="connsiteX55" fmla="*/ 259259 w 335744"/>
                    <a:gd name="connsiteY55" fmla="*/ 49738 h 345377"/>
                    <a:gd name="connsiteX56" fmla="*/ 261012 w 335744"/>
                    <a:gd name="connsiteY56" fmla="*/ 50471 h 345377"/>
                    <a:gd name="connsiteX57" fmla="*/ 261012 w 335744"/>
                    <a:gd name="connsiteY57" fmla="*/ 53177 h 345377"/>
                    <a:gd name="connsiteX58" fmla="*/ 261753 w 335744"/>
                    <a:gd name="connsiteY58" fmla="*/ 53715 h 345377"/>
                    <a:gd name="connsiteX59" fmla="*/ 262544 w 335744"/>
                    <a:gd name="connsiteY59" fmla="*/ 53739 h 345377"/>
                    <a:gd name="connsiteX60" fmla="*/ 264402 w 335744"/>
                    <a:gd name="connsiteY60" fmla="*/ 55736 h 345377"/>
                    <a:gd name="connsiteX61" fmla="*/ 264907 w 335744"/>
                    <a:gd name="connsiteY61" fmla="*/ 57040 h 345377"/>
                    <a:gd name="connsiteX62" fmla="*/ 265510 w 335744"/>
                    <a:gd name="connsiteY62" fmla="*/ 59795 h 345377"/>
                    <a:gd name="connsiteX63" fmla="*/ 264679 w 335744"/>
                    <a:gd name="connsiteY63" fmla="*/ 62769 h 345377"/>
                    <a:gd name="connsiteX64" fmla="*/ 263546 w 335744"/>
                    <a:gd name="connsiteY64" fmla="*/ 64098 h 345377"/>
                    <a:gd name="connsiteX65" fmla="*/ 265763 w 335744"/>
                    <a:gd name="connsiteY65" fmla="*/ 63658 h 345377"/>
                    <a:gd name="connsiteX66" fmla="*/ 267018 w 335744"/>
                    <a:gd name="connsiteY66" fmla="*/ 62264 h 345377"/>
                    <a:gd name="connsiteX67" fmla="*/ 266839 w 335744"/>
                    <a:gd name="connsiteY67" fmla="*/ 60862 h 345377"/>
                    <a:gd name="connsiteX68" fmla="*/ 267018 w 335744"/>
                    <a:gd name="connsiteY68" fmla="*/ 59240 h 345377"/>
                    <a:gd name="connsiteX69" fmla="*/ 268265 w 335744"/>
                    <a:gd name="connsiteY69" fmla="*/ 59746 h 345377"/>
                    <a:gd name="connsiteX70" fmla="*/ 269137 w 335744"/>
                    <a:gd name="connsiteY70" fmla="*/ 60479 h 345377"/>
                    <a:gd name="connsiteX71" fmla="*/ 271965 w 335744"/>
                    <a:gd name="connsiteY71" fmla="*/ 68262 h 345377"/>
                    <a:gd name="connsiteX72" fmla="*/ 273961 w 335744"/>
                    <a:gd name="connsiteY72" fmla="*/ 72345 h 345377"/>
                    <a:gd name="connsiteX73" fmla="*/ 274467 w 335744"/>
                    <a:gd name="connsiteY73" fmla="*/ 72182 h 345377"/>
                    <a:gd name="connsiteX74" fmla="*/ 274948 w 335744"/>
                    <a:gd name="connsiteY74" fmla="*/ 72035 h 345377"/>
                    <a:gd name="connsiteX75" fmla="*/ 275542 w 335744"/>
                    <a:gd name="connsiteY75" fmla="*/ 71253 h 345377"/>
                    <a:gd name="connsiteX76" fmla="*/ 276423 w 335744"/>
                    <a:gd name="connsiteY76" fmla="*/ 69338 h 345377"/>
                    <a:gd name="connsiteX77" fmla="*/ 277189 w 335744"/>
                    <a:gd name="connsiteY77" fmla="*/ 70552 h 345377"/>
                    <a:gd name="connsiteX78" fmla="*/ 277653 w 335744"/>
                    <a:gd name="connsiteY78" fmla="*/ 71017 h 345377"/>
                    <a:gd name="connsiteX79" fmla="*/ 278110 w 335744"/>
                    <a:gd name="connsiteY79" fmla="*/ 71163 h 345377"/>
                    <a:gd name="connsiteX80" fmla="*/ 277686 w 335744"/>
                    <a:gd name="connsiteY80" fmla="*/ 69419 h 345377"/>
                    <a:gd name="connsiteX81" fmla="*/ 278256 w 335744"/>
                    <a:gd name="connsiteY81" fmla="*/ 67195 h 345377"/>
                    <a:gd name="connsiteX82" fmla="*/ 278069 w 335744"/>
                    <a:gd name="connsiteY82" fmla="*/ 66412 h 345377"/>
                    <a:gd name="connsiteX83" fmla="*/ 278949 w 335744"/>
                    <a:gd name="connsiteY83" fmla="*/ 66241 h 345377"/>
                    <a:gd name="connsiteX84" fmla="*/ 280000 w 335744"/>
                    <a:gd name="connsiteY84" fmla="*/ 66543 h 345377"/>
                    <a:gd name="connsiteX85" fmla="*/ 281508 w 335744"/>
                    <a:gd name="connsiteY85" fmla="*/ 67162 h 345377"/>
                    <a:gd name="connsiteX86" fmla="*/ 284189 w 335744"/>
                    <a:gd name="connsiteY86" fmla="*/ 69713 h 345377"/>
                    <a:gd name="connsiteX87" fmla="*/ 285958 w 335744"/>
                    <a:gd name="connsiteY87" fmla="*/ 72361 h 345377"/>
                    <a:gd name="connsiteX88" fmla="*/ 286104 w 335744"/>
                    <a:gd name="connsiteY88" fmla="*/ 73845 h 345377"/>
                    <a:gd name="connsiteX89" fmla="*/ 286748 w 335744"/>
                    <a:gd name="connsiteY89" fmla="*/ 74676 h 345377"/>
                    <a:gd name="connsiteX90" fmla="*/ 287906 w 335744"/>
                    <a:gd name="connsiteY90" fmla="*/ 75556 h 345377"/>
                    <a:gd name="connsiteX91" fmla="*/ 288468 w 335744"/>
                    <a:gd name="connsiteY91" fmla="*/ 76917 h 345377"/>
                    <a:gd name="connsiteX92" fmla="*/ 288574 w 335744"/>
                    <a:gd name="connsiteY92" fmla="*/ 74774 h 345377"/>
                    <a:gd name="connsiteX93" fmla="*/ 287889 w 335744"/>
                    <a:gd name="connsiteY93" fmla="*/ 73209 h 345377"/>
                    <a:gd name="connsiteX94" fmla="*/ 287718 w 335744"/>
                    <a:gd name="connsiteY94" fmla="*/ 71416 h 345377"/>
                    <a:gd name="connsiteX95" fmla="*/ 291206 w 335744"/>
                    <a:gd name="connsiteY95" fmla="*/ 71335 h 345377"/>
                    <a:gd name="connsiteX96" fmla="*/ 292111 w 335744"/>
                    <a:gd name="connsiteY96" fmla="*/ 68979 h 345377"/>
                    <a:gd name="connsiteX97" fmla="*/ 294010 w 335744"/>
                    <a:gd name="connsiteY97" fmla="*/ 70397 h 345377"/>
                    <a:gd name="connsiteX98" fmla="*/ 299046 w 335744"/>
                    <a:gd name="connsiteY98" fmla="*/ 76860 h 345377"/>
                    <a:gd name="connsiteX99" fmla="*/ 300904 w 335744"/>
                    <a:gd name="connsiteY99" fmla="*/ 77928 h 345377"/>
                    <a:gd name="connsiteX100" fmla="*/ 306389 w 335744"/>
                    <a:gd name="connsiteY100" fmla="*/ 79166 h 345377"/>
                    <a:gd name="connsiteX101" fmla="*/ 309837 w 335744"/>
                    <a:gd name="connsiteY101" fmla="*/ 82280 h 345377"/>
                    <a:gd name="connsiteX102" fmla="*/ 311866 w 335744"/>
                    <a:gd name="connsiteY102" fmla="*/ 85067 h 345377"/>
                    <a:gd name="connsiteX103" fmla="*/ 310660 w 335744"/>
                    <a:gd name="connsiteY103" fmla="*/ 87993 h 345377"/>
                    <a:gd name="connsiteX104" fmla="*/ 307432 w 335744"/>
                    <a:gd name="connsiteY104" fmla="*/ 89451 h 345377"/>
                    <a:gd name="connsiteX105" fmla="*/ 306145 w 335744"/>
                    <a:gd name="connsiteY105" fmla="*/ 91277 h 345377"/>
                    <a:gd name="connsiteX106" fmla="*/ 305403 w 335744"/>
                    <a:gd name="connsiteY106" fmla="*/ 93070 h 345377"/>
                    <a:gd name="connsiteX107" fmla="*/ 305395 w 335744"/>
                    <a:gd name="connsiteY107" fmla="*/ 94871 h 345377"/>
                    <a:gd name="connsiteX108" fmla="*/ 304417 w 335744"/>
                    <a:gd name="connsiteY108" fmla="*/ 96957 h 345377"/>
                    <a:gd name="connsiteX109" fmla="*/ 304270 w 335744"/>
                    <a:gd name="connsiteY109" fmla="*/ 97699 h 345377"/>
                    <a:gd name="connsiteX110" fmla="*/ 303684 w 335744"/>
                    <a:gd name="connsiteY110" fmla="*/ 100649 h 345377"/>
                    <a:gd name="connsiteX111" fmla="*/ 302355 w 335744"/>
                    <a:gd name="connsiteY111" fmla="*/ 104202 h 345377"/>
                    <a:gd name="connsiteX112" fmla="*/ 300587 w 335744"/>
                    <a:gd name="connsiteY112" fmla="*/ 107968 h 345377"/>
                    <a:gd name="connsiteX113" fmla="*/ 291377 w 335744"/>
                    <a:gd name="connsiteY113" fmla="*/ 108049 h 345377"/>
                    <a:gd name="connsiteX114" fmla="*/ 293651 w 335744"/>
                    <a:gd name="connsiteY114" fmla="*/ 109598 h 345377"/>
                    <a:gd name="connsiteX115" fmla="*/ 295746 w 335744"/>
                    <a:gd name="connsiteY115" fmla="*/ 110722 h 345377"/>
                    <a:gd name="connsiteX116" fmla="*/ 299177 w 335744"/>
                    <a:gd name="connsiteY116" fmla="*/ 113681 h 345377"/>
                    <a:gd name="connsiteX117" fmla="*/ 301907 w 335744"/>
                    <a:gd name="connsiteY117" fmla="*/ 111358 h 345377"/>
                    <a:gd name="connsiteX118" fmla="*/ 305819 w 335744"/>
                    <a:gd name="connsiteY118" fmla="*/ 111187 h 345377"/>
                    <a:gd name="connsiteX119" fmla="*/ 310056 w 335744"/>
                    <a:gd name="connsiteY119" fmla="*/ 108611 h 345377"/>
                    <a:gd name="connsiteX120" fmla="*/ 311646 w 335744"/>
                    <a:gd name="connsiteY120" fmla="*/ 108204 h 345377"/>
                    <a:gd name="connsiteX121" fmla="*/ 319575 w 335744"/>
                    <a:gd name="connsiteY121" fmla="*/ 109557 h 345377"/>
                    <a:gd name="connsiteX122" fmla="*/ 321482 w 335744"/>
                    <a:gd name="connsiteY122" fmla="*/ 107666 h 345377"/>
                    <a:gd name="connsiteX123" fmla="*/ 323072 w 335744"/>
                    <a:gd name="connsiteY123" fmla="*/ 107104 h 345377"/>
                    <a:gd name="connsiteX124" fmla="*/ 327350 w 335744"/>
                    <a:gd name="connsiteY124" fmla="*/ 107454 h 345377"/>
                    <a:gd name="connsiteX125" fmla="*/ 331066 w 335744"/>
                    <a:gd name="connsiteY125" fmla="*/ 109492 h 345377"/>
                    <a:gd name="connsiteX126" fmla="*/ 335679 w 335744"/>
                    <a:gd name="connsiteY126" fmla="*/ 116818 h 345377"/>
                    <a:gd name="connsiteX127" fmla="*/ 335744 w 335744"/>
                    <a:gd name="connsiteY127" fmla="*/ 117625 h 345377"/>
                    <a:gd name="connsiteX128" fmla="*/ 335239 w 335744"/>
                    <a:gd name="connsiteY128" fmla="*/ 118538 h 345377"/>
                    <a:gd name="connsiteX129" fmla="*/ 332370 w 335744"/>
                    <a:gd name="connsiteY129" fmla="*/ 120249 h 345377"/>
                    <a:gd name="connsiteX130" fmla="*/ 331727 w 335744"/>
                    <a:gd name="connsiteY130" fmla="*/ 121146 h 345377"/>
                    <a:gd name="connsiteX131" fmla="*/ 330700 w 335744"/>
                    <a:gd name="connsiteY131" fmla="*/ 124406 h 345377"/>
                    <a:gd name="connsiteX132" fmla="*/ 327090 w 335744"/>
                    <a:gd name="connsiteY132" fmla="*/ 126191 h 345377"/>
                    <a:gd name="connsiteX133" fmla="*/ 324588 w 335744"/>
                    <a:gd name="connsiteY133" fmla="*/ 128440 h 345377"/>
                    <a:gd name="connsiteX134" fmla="*/ 322901 w 335744"/>
                    <a:gd name="connsiteY134" fmla="*/ 130404 h 345377"/>
                    <a:gd name="connsiteX135" fmla="*/ 322061 w 335744"/>
                    <a:gd name="connsiteY135" fmla="*/ 131203 h 345377"/>
                    <a:gd name="connsiteX136" fmla="*/ 318761 w 335744"/>
                    <a:gd name="connsiteY136" fmla="*/ 131635 h 345377"/>
                    <a:gd name="connsiteX137" fmla="*/ 317701 w 335744"/>
                    <a:gd name="connsiteY137" fmla="*/ 132873 h 345377"/>
                    <a:gd name="connsiteX138" fmla="*/ 316364 w 335744"/>
                    <a:gd name="connsiteY138" fmla="*/ 136589 h 345377"/>
                    <a:gd name="connsiteX139" fmla="*/ 315387 w 335744"/>
                    <a:gd name="connsiteY139" fmla="*/ 138146 h 345377"/>
                    <a:gd name="connsiteX140" fmla="*/ 313675 w 335744"/>
                    <a:gd name="connsiteY140" fmla="*/ 139972 h 345377"/>
                    <a:gd name="connsiteX141" fmla="*/ 313659 w 335744"/>
                    <a:gd name="connsiteY141" fmla="*/ 141088 h 345377"/>
                    <a:gd name="connsiteX142" fmla="*/ 316030 w 335744"/>
                    <a:gd name="connsiteY142" fmla="*/ 145163 h 345377"/>
                    <a:gd name="connsiteX143" fmla="*/ 316454 w 335744"/>
                    <a:gd name="connsiteY143" fmla="*/ 146442 h 345377"/>
                    <a:gd name="connsiteX144" fmla="*/ 315721 w 335744"/>
                    <a:gd name="connsiteY144" fmla="*/ 148366 h 345377"/>
                    <a:gd name="connsiteX145" fmla="*/ 315786 w 335744"/>
                    <a:gd name="connsiteY145" fmla="*/ 149735 h 345377"/>
                    <a:gd name="connsiteX146" fmla="*/ 317025 w 335744"/>
                    <a:gd name="connsiteY146" fmla="*/ 151389 h 345377"/>
                    <a:gd name="connsiteX147" fmla="*/ 318516 w 335744"/>
                    <a:gd name="connsiteY147" fmla="*/ 151756 h 345377"/>
                    <a:gd name="connsiteX148" fmla="*/ 319967 w 335744"/>
                    <a:gd name="connsiteY148" fmla="*/ 151071 h 345377"/>
                    <a:gd name="connsiteX149" fmla="*/ 321768 w 335744"/>
                    <a:gd name="connsiteY149" fmla="*/ 151137 h 345377"/>
                    <a:gd name="connsiteX150" fmla="*/ 322941 w 335744"/>
                    <a:gd name="connsiteY150" fmla="*/ 151577 h 345377"/>
                    <a:gd name="connsiteX151" fmla="*/ 323430 w 335744"/>
                    <a:gd name="connsiteY151" fmla="*/ 152066 h 345377"/>
                    <a:gd name="connsiteX152" fmla="*/ 323512 w 335744"/>
                    <a:gd name="connsiteY152" fmla="*/ 153321 h 345377"/>
                    <a:gd name="connsiteX153" fmla="*/ 322770 w 335744"/>
                    <a:gd name="connsiteY153" fmla="*/ 156002 h 345377"/>
                    <a:gd name="connsiteX154" fmla="*/ 321703 w 335744"/>
                    <a:gd name="connsiteY154" fmla="*/ 157730 h 345377"/>
                    <a:gd name="connsiteX155" fmla="*/ 316968 w 335744"/>
                    <a:gd name="connsiteY155" fmla="*/ 160378 h 345377"/>
                    <a:gd name="connsiteX156" fmla="*/ 314857 w 335744"/>
                    <a:gd name="connsiteY156" fmla="*/ 161911 h 345377"/>
                    <a:gd name="connsiteX157" fmla="*/ 313691 w 335744"/>
                    <a:gd name="connsiteY157" fmla="*/ 163052 h 345377"/>
                    <a:gd name="connsiteX158" fmla="*/ 311141 w 335744"/>
                    <a:gd name="connsiteY158" fmla="*/ 162441 h 345377"/>
                    <a:gd name="connsiteX159" fmla="*/ 309837 w 335744"/>
                    <a:gd name="connsiteY159" fmla="*/ 162481 h 345377"/>
                    <a:gd name="connsiteX160" fmla="*/ 308834 w 335744"/>
                    <a:gd name="connsiteY160" fmla="*/ 163353 h 345377"/>
                    <a:gd name="connsiteX161" fmla="*/ 308231 w 335744"/>
                    <a:gd name="connsiteY161" fmla="*/ 164103 h 345377"/>
                    <a:gd name="connsiteX162" fmla="*/ 306520 w 335744"/>
                    <a:gd name="connsiteY162" fmla="*/ 164290 h 345377"/>
                    <a:gd name="connsiteX163" fmla="*/ 304099 w 335744"/>
                    <a:gd name="connsiteY163" fmla="*/ 164747 h 345377"/>
                    <a:gd name="connsiteX164" fmla="*/ 303080 w 335744"/>
                    <a:gd name="connsiteY164" fmla="*/ 165252 h 345377"/>
                    <a:gd name="connsiteX165" fmla="*/ 302298 w 335744"/>
                    <a:gd name="connsiteY165" fmla="*/ 166564 h 345377"/>
                    <a:gd name="connsiteX166" fmla="*/ 301646 w 335744"/>
                    <a:gd name="connsiteY166" fmla="*/ 168439 h 345377"/>
                    <a:gd name="connsiteX167" fmla="*/ 302192 w 335744"/>
                    <a:gd name="connsiteY167" fmla="*/ 170696 h 345377"/>
                    <a:gd name="connsiteX168" fmla="*/ 302942 w 335744"/>
                    <a:gd name="connsiteY168" fmla="*/ 172709 h 345377"/>
                    <a:gd name="connsiteX169" fmla="*/ 302917 w 335744"/>
                    <a:gd name="connsiteY169" fmla="*/ 174551 h 345377"/>
                    <a:gd name="connsiteX170" fmla="*/ 303504 w 335744"/>
                    <a:gd name="connsiteY170" fmla="*/ 179677 h 345377"/>
                    <a:gd name="connsiteX171" fmla="*/ 302738 w 335744"/>
                    <a:gd name="connsiteY171" fmla="*/ 180875 h 345377"/>
                    <a:gd name="connsiteX172" fmla="*/ 301116 w 335744"/>
                    <a:gd name="connsiteY172" fmla="*/ 182236 h 345377"/>
                    <a:gd name="connsiteX173" fmla="*/ 299177 w 335744"/>
                    <a:gd name="connsiteY173" fmla="*/ 184624 h 345377"/>
                    <a:gd name="connsiteX174" fmla="*/ 297001 w 335744"/>
                    <a:gd name="connsiteY174" fmla="*/ 187949 h 345377"/>
                    <a:gd name="connsiteX175" fmla="*/ 297343 w 335744"/>
                    <a:gd name="connsiteY175" fmla="*/ 188903 h 345377"/>
                    <a:gd name="connsiteX176" fmla="*/ 302542 w 335744"/>
                    <a:gd name="connsiteY176" fmla="*/ 195887 h 345377"/>
                    <a:gd name="connsiteX177" fmla="*/ 307832 w 335744"/>
                    <a:gd name="connsiteY177" fmla="*/ 202993 h 345377"/>
                    <a:gd name="connsiteX178" fmla="*/ 313088 w 335744"/>
                    <a:gd name="connsiteY178" fmla="*/ 210059 h 345377"/>
                    <a:gd name="connsiteX179" fmla="*/ 313838 w 335744"/>
                    <a:gd name="connsiteY179" fmla="*/ 210369 h 345377"/>
                    <a:gd name="connsiteX180" fmla="*/ 314832 w 335744"/>
                    <a:gd name="connsiteY180" fmla="*/ 211184 h 345377"/>
                    <a:gd name="connsiteX181" fmla="*/ 315745 w 335744"/>
                    <a:gd name="connsiteY181" fmla="*/ 213661 h 345377"/>
                    <a:gd name="connsiteX182" fmla="*/ 316495 w 335744"/>
                    <a:gd name="connsiteY182" fmla="*/ 216286 h 345377"/>
                    <a:gd name="connsiteX183" fmla="*/ 316511 w 335744"/>
                    <a:gd name="connsiteY183" fmla="*/ 217647 h 345377"/>
                    <a:gd name="connsiteX184" fmla="*/ 315924 w 335744"/>
                    <a:gd name="connsiteY184" fmla="*/ 219342 h 345377"/>
                    <a:gd name="connsiteX185" fmla="*/ 314645 w 335744"/>
                    <a:gd name="connsiteY185" fmla="*/ 221306 h 345377"/>
                    <a:gd name="connsiteX186" fmla="*/ 313096 w 335744"/>
                    <a:gd name="connsiteY186" fmla="*/ 222895 h 345377"/>
                    <a:gd name="connsiteX187" fmla="*/ 310823 w 335744"/>
                    <a:gd name="connsiteY187" fmla="*/ 224248 h 345377"/>
                    <a:gd name="connsiteX188" fmla="*/ 309013 w 335744"/>
                    <a:gd name="connsiteY188" fmla="*/ 225519 h 345377"/>
                    <a:gd name="connsiteX189" fmla="*/ 307522 w 335744"/>
                    <a:gd name="connsiteY189" fmla="*/ 228885 h 345377"/>
                    <a:gd name="connsiteX190" fmla="*/ 306617 w 335744"/>
                    <a:gd name="connsiteY190" fmla="*/ 230067 h 345377"/>
                    <a:gd name="connsiteX191" fmla="*/ 305786 w 335744"/>
                    <a:gd name="connsiteY191" fmla="*/ 230548 h 345377"/>
                    <a:gd name="connsiteX192" fmla="*/ 304140 w 335744"/>
                    <a:gd name="connsiteY192" fmla="*/ 230980 h 345377"/>
                    <a:gd name="connsiteX193" fmla="*/ 301483 w 335744"/>
                    <a:gd name="connsiteY193" fmla="*/ 230882 h 345377"/>
                    <a:gd name="connsiteX194" fmla="*/ 299731 w 335744"/>
                    <a:gd name="connsiteY194" fmla="*/ 230621 h 345377"/>
                    <a:gd name="connsiteX195" fmla="*/ 297563 w 335744"/>
                    <a:gd name="connsiteY195" fmla="*/ 233139 h 345377"/>
                    <a:gd name="connsiteX196" fmla="*/ 294792 w 335744"/>
                    <a:gd name="connsiteY196" fmla="*/ 234060 h 345377"/>
                    <a:gd name="connsiteX197" fmla="*/ 292934 w 335744"/>
                    <a:gd name="connsiteY197" fmla="*/ 237499 h 345377"/>
                    <a:gd name="connsiteX198" fmla="*/ 286325 w 335744"/>
                    <a:gd name="connsiteY198" fmla="*/ 240213 h 345377"/>
                    <a:gd name="connsiteX199" fmla="*/ 279854 w 335744"/>
                    <a:gd name="connsiteY199" fmla="*/ 242340 h 345377"/>
                    <a:gd name="connsiteX200" fmla="*/ 278085 w 335744"/>
                    <a:gd name="connsiteY200" fmla="*/ 243180 h 345377"/>
                    <a:gd name="connsiteX201" fmla="*/ 271696 w 335744"/>
                    <a:gd name="connsiteY201" fmla="*/ 241428 h 345377"/>
                    <a:gd name="connsiteX202" fmla="*/ 270164 w 335744"/>
                    <a:gd name="connsiteY202" fmla="*/ 241974 h 345377"/>
                    <a:gd name="connsiteX203" fmla="*/ 268387 w 335744"/>
                    <a:gd name="connsiteY203" fmla="*/ 243595 h 345377"/>
                    <a:gd name="connsiteX204" fmla="*/ 266757 w 335744"/>
                    <a:gd name="connsiteY204" fmla="*/ 244859 h 345377"/>
                    <a:gd name="connsiteX205" fmla="*/ 265380 w 335744"/>
                    <a:gd name="connsiteY205" fmla="*/ 244932 h 345377"/>
                    <a:gd name="connsiteX206" fmla="*/ 264214 w 335744"/>
                    <a:gd name="connsiteY206" fmla="*/ 245592 h 345377"/>
                    <a:gd name="connsiteX207" fmla="*/ 263522 w 335744"/>
                    <a:gd name="connsiteY207" fmla="*/ 247915 h 345377"/>
                    <a:gd name="connsiteX208" fmla="*/ 262910 w 335744"/>
                    <a:gd name="connsiteY208" fmla="*/ 255934 h 345377"/>
                    <a:gd name="connsiteX209" fmla="*/ 260620 w 335744"/>
                    <a:gd name="connsiteY209" fmla="*/ 258314 h 345377"/>
                    <a:gd name="connsiteX210" fmla="*/ 257857 w 335744"/>
                    <a:gd name="connsiteY210" fmla="*/ 258306 h 345377"/>
                    <a:gd name="connsiteX211" fmla="*/ 255959 w 335744"/>
                    <a:gd name="connsiteY211" fmla="*/ 255535 h 345377"/>
                    <a:gd name="connsiteX212" fmla="*/ 253701 w 335744"/>
                    <a:gd name="connsiteY212" fmla="*/ 253432 h 345377"/>
                    <a:gd name="connsiteX213" fmla="*/ 249773 w 335744"/>
                    <a:gd name="connsiteY213" fmla="*/ 248469 h 345377"/>
                    <a:gd name="connsiteX214" fmla="*/ 248681 w 335744"/>
                    <a:gd name="connsiteY214" fmla="*/ 247817 h 345377"/>
                    <a:gd name="connsiteX215" fmla="*/ 247662 w 335744"/>
                    <a:gd name="connsiteY215" fmla="*/ 247850 h 345377"/>
                    <a:gd name="connsiteX216" fmla="*/ 244019 w 335744"/>
                    <a:gd name="connsiteY216" fmla="*/ 249325 h 345377"/>
                    <a:gd name="connsiteX217" fmla="*/ 242292 w 335744"/>
                    <a:gd name="connsiteY217" fmla="*/ 248689 h 345377"/>
                    <a:gd name="connsiteX218" fmla="*/ 240898 w 335744"/>
                    <a:gd name="connsiteY218" fmla="*/ 247907 h 345377"/>
                    <a:gd name="connsiteX219" fmla="*/ 238567 w 335744"/>
                    <a:gd name="connsiteY219" fmla="*/ 248159 h 345377"/>
                    <a:gd name="connsiteX220" fmla="*/ 234403 w 335744"/>
                    <a:gd name="connsiteY220" fmla="*/ 248216 h 345377"/>
                    <a:gd name="connsiteX221" fmla="*/ 231754 w 335744"/>
                    <a:gd name="connsiteY221" fmla="*/ 248265 h 345377"/>
                    <a:gd name="connsiteX222" fmla="*/ 230466 w 335744"/>
                    <a:gd name="connsiteY222" fmla="*/ 246904 h 345377"/>
                    <a:gd name="connsiteX223" fmla="*/ 229268 w 335744"/>
                    <a:gd name="connsiteY223" fmla="*/ 244125 h 345377"/>
                    <a:gd name="connsiteX224" fmla="*/ 228461 w 335744"/>
                    <a:gd name="connsiteY224" fmla="*/ 243131 h 345377"/>
                    <a:gd name="connsiteX225" fmla="*/ 227516 w 335744"/>
                    <a:gd name="connsiteY225" fmla="*/ 242332 h 345377"/>
                    <a:gd name="connsiteX226" fmla="*/ 225943 w 335744"/>
                    <a:gd name="connsiteY226" fmla="*/ 241933 h 345377"/>
                    <a:gd name="connsiteX227" fmla="*/ 219252 w 335744"/>
                    <a:gd name="connsiteY227" fmla="*/ 241941 h 345377"/>
                    <a:gd name="connsiteX228" fmla="*/ 217989 w 335744"/>
                    <a:gd name="connsiteY228" fmla="*/ 241941 h 345377"/>
                    <a:gd name="connsiteX229" fmla="*/ 217068 w 335744"/>
                    <a:gd name="connsiteY229" fmla="*/ 241411 h 345377"/>
                    <a:gd name="connsiteX230" fmla="*/ 215780 w 335744"/>
                    <a:gd name="connsiteY230" fmla="*/ 239023 h 345377"/>
                    <a:gd name="connsiteX231" fmla="*/ 214370 w 335744"/>
                    <a:gd name="connsiteY231" fmla="*/ 237907 h 345377"/>
                    <a:gd name="connsiteX232" fmla="*/ 212724 w 335744"/>
                    <a:gd name="connsiteY232" fmla="*/ 237858 h 345377"/>
                    <a:gd name="connsiteX233" fmla="*/ 211999 w 335744"/>
                    <a:gd name="connsiteY233" fmla="*/ 239170 h 345377"/>
                    <a:gd name="connsiteX234" fmla="*/ 214859 w 335744"/>
                    <a:gd name="connsiteY234" fmla="*/ 243457 h 345377"/>
                    <a:gd name="connsiteX235" fmla="*/ 215699 w 335744"/>
                    <a:gd name="connsiteY235" fmla="*/ 245780 h 345377"/>
                    <a:gd name="connsiteX236" fmla="*/ 218201 w 335744"/>
                    <a:gd name="connsiteY236" fmla="*/ 249137 h 345377"/>
                    <a:gd name="connsiteX237" fmla="*/ 225462 w 335744"/>
                    <a:gd name="connsiteY237" fmla="*/ 256244 h 345377"/>
                    <a:gd name="connsiteX238" fmla="*/ 226807 w 335744"/>
                    <a:gd name="connsiteY238" fmla="*/ 258501 h 345377"/>
                    <a:gd name="connsiteX239" fmla="*/ 226660 w 335744"/>
                    <a:gd name="connsiteY239" fmla="*/ 261386 h 345377"/>
                    <a:gd name="connsiteX240" fmla="*/ 226620 w 335744"/>
                    <a:gd name="connsiteY240" fmla="*/ 265795 h 345377"/>
                    <a:gd name="connsiteX241" fmla="*/ 226864 w 335744"/>
                    <a:gd name="connsiteY241" fmla="*/ 269976 h 345377"/>
                    <a:gd name="connsiteX242" fmla="*/ 228730 w 335744"/>
                    <a:gd name="connsiteY242" fmla="*/ 275958 h 345377"/>
                    <a:gd name="connsiteX243" fmla="*/ 231355 w 335744"/>
                    <a:gd name="connsiteY243" fmla="*/ 282046 h 345377"/>
                    <a:gd name="connsiteX244" fmla="*/ 232072 w 335744"/>
                    <a:gd name="connsiteY244" fmla="*/ 285933 h 345377"/>
                    <a:gd name="connsiteX245" fmla="*/ 231583 w 335744"/>
                    <a:gd name="connsiteY245" fmla="*/ 288810 h 345377"/>
                    <a:gd name="connsiteX246" fmla="*/ 231086 w 335744"/>
                    <a:gd name="connsiteY246" fmla="*/ 290334 h 345377"/>
                    <a:gd name="connsiteX247" fmla="*/ 231135 w 335744"/>
                    <a:gd name="connsiteY247" fmla="*/ 291011 h 345377"/>
                    <a:gd name="connsiteX248" fmla="*/ 231672 w 335744"/>
                    <a:gd name="connsiteY248" fmla="*/ 291630 h 345377"/>
                    <a:gd name="connsiteX249" fmla="*/ 234174 w 335744"/>
                    <a:gd name="connsiteY249" fmla="*/ 292510 h 345377"/>
                    <a:gd name="connsiteX250" fmla="*/ 239431 w 335744"/>
                    <a:gd name="connsiteY250" fmla="*/ 293064 h 345377"/>
                    <a:gd name="connsiteX251" fmla="*/ 242601 w 335744"/>
                    <a:gd name="connsiteY251" fmla="*/ 293064 h 345377"/>
                    <a:gd name="connsiteX252" fmla="*/ 247450 w 335744"/>
                    <a:gd name="connsiteY252" fmla="*/ 293724 h 345377"/>
                    <a:gd name="connsiteX253" fmla="*/ 247809 w 335744"/>
                    <a:gd name="connsiteY253" fmla="*/ 295868 h 345377"/>
                    <a:gd name="connsiteX254" fmla="*/ 247328 w 335744"/>
                    <a:gd name="connsiteY254" fmla="*/ 299405 h 345377"/>
                    <a:gd name="connsiteX255" fmla="*/ 246374 w 335744"/>
                    <a:gd name="connsiteY255" fmla="*/ 301410 h 345377"/>
                    <a:gd name="connsiteX256" fmla="*/ 245600 w 335744"/>
                    <a:gd name="connsiteY256" fmla="*/ 301996 h 345377"/>
                    <a:gd name="connsiteX257" fmla="*/ 242960 w 335744"/>
                    <a:gd name="connsiteY257" fmla="*/ 302461 h 345377"/>
                    <a:gd name="connsiteX258" fmla="*/ 240189 w 335744"/>
                    <a:gd name="connsiteY258" fmla="*/ 304621 h 345377"/>
                    <a:gd name="connsiteX259" fmla="*/ 236155 w 335744"/>
                    <a:gd name="connsiteY259" fmla="*/ 306764 h 345377"/>
                    <a:gd name="connsiteX260" fmla="*/ 233857 w 335744"/>
                    <a:gd name="connsiteY260" fmla="*/ 307057 h 345377"/>
                    <a:gd name="connsiteX261" fmla="*/ 232903 w 335744"/>
                    <a:gd name="connsiteY261" fmla="*/ 307473 h 345377"/>
                    <a:gd name="connsiteX262" fmla="*/ 232088 w 335744"/>
                    <a:gd name="connsiteY262" fmla="*/ 308117 h 345377"/>
                    <a:gd name="connsiteX263" fmla="*/ 231420 w 335744"/>
                    <a:gd name="connsiteY263" fmla="*/ 308932 h 345377"/>
                    <a:gd name="connsiteX264" fmla="*/ 230629 w 335744"/>
                    <a:gd name="connsiteY264" fmla="*/ 312941 h 345377"/>
                    <a:gd name="connsiteX265" fmla="*/ 229439 w 335744"/>
                    <a:gd name="connsiteY265" fmla="*/ 317473 h 345377"/>
                    <a:gd name="connsiteX266" fmla="*/ 227206 w 335744"/>
                    <a:gd name="connsiteY266" fmla="*/ 320170 h 345377"/>
                    <a:gd name="connsiteX267" fmla="*/ 224753 w 335744"/>
                    <a:gd name="connsiteY267" fmla="*/ 322387 h 345377"/>
                    <a:gd name="connsiteX268" fmla="*/ 222243 w 335744"/>
                    <a:gd name="connsiteY268" fmla="*/ 322640 h 345377"/>
                    <a:gd name="connsiteX269" fmla="*/ 220238 w 335744"/>
                    <a:gd name="connsiteY269" fmla="*/ 322460 h 345377"/>
                    <a:gd name="connsiteX270" fmla="*/ 219236 w 335744"/>
                    <a:gd name="connsiteY270" fmla="*/ 323120 h 345377"/>
                    <a:gd name="connsiteX271" fmla="*/ 217793 w 335744"/>
                    <a:gd name="connsiteY271" fmla="*/ 324946 h 345377"/>
                    <a:gd name="connsiteX272" fmla="*/ 215732 w 335744"/>
                    <a:gd name="connsiteY272" fmla="*/ 327228 h 345377"/>
                    <a:gd name="connsiteX273" fmla="*/ 214142 w 335744"/>
                    <a:gd name="connsiteY273" fmla="*/ 328442 h 345377"/>
                    <a:gd name="connsiteX274" fmla="*/ 211999 w 335744"/>
                    <a:gd name="connsiteY274" fmla="*/ 328328 h 345377"/>
                    <a:gd name="connsiteX275" fmla="*/ 209717 w 335744"/>
                    <a:gd name="connsiteY275" fmla="*/ 329445 h 345377"/>
                    <a:gd name="connsiteX276" fmla="*/ 206832 w 335744"/>
                    <a:gd name="connsiteY276" fmla="*/ 331287 h 345377"/>
                    <a:gd name="connsiteX277" fmla="*/ 204917 w 335744"/>
                    <a:gd name="connsiteY277" fmla="*/ 332794 h 345377"/>
                    <a:gd name="connsiteX278" fmla="*/ 203287 w 335744"/>
                    <a:gd name="connsiteY278" fmla="*/ 335370 h 345377"/>
                    <a:gd name="connsiteX279" fmla="*/ 200940 w 335744"/>
                    <a:gd name="connsiteY279" fmla="*/ 338075 h 345377"/>
                    <a:gd name="connsiteX280" fmla="*/ 198544 w 335744"/>
                    <a:gd name="connsiteY280" fmla="*/ 339966 h 345377"/>
                    <a:gd name="connsiteX281" fmla="*/ 197395 w 335744"/>
                    <a:gd name="connsiteY281" fmla="*/ 342305 h 345377"/>
                    <a:gd name="connsiteX282" fmla="*/ 195748 w 335744"/>
                    <a:gd name="connsiteY282" fmla="*/ 345280 h 345377"/>
                    <a:gd name="connsiteX283" fmla="*/ 193703 w 335744"/>
                    <a:gd name="connsiteY283" fmla="*/ 345377 h 345377"/>
                    <a:gd name="connsiteX284" fmla="*/ 193540 w 335744"/>
                    <a:gd name="connsiteY284" fmla="*/ 343593 h 345377"/>
                    <a:gd name="connsiteX285" fmla="*/ 194526 w 335744"/>
                    <a:gd name="connsiteY285" fmla="*/ 340716 h 345377"/>
                    <a:gd name="connsiteX286" fmla="*/ 193458 w 335744"/>
                    <a:gd name="connsiteY286" fmla="*/ 338246 h 345377"/>
                    <a:gd name="connsiteX287" fmla="*/ 191502 w 335744"/>
                    <a:gd name="connsiteY287" fmla="*/ 336918 h 345377"/>
                    <a:gd name="connsiteX288" fmla="*/ 190590 w 335744"/>
                    <a:gd name="connsiteY288" fmla="*/ 336527 h 345377"/>
                    <a:gd name="connsiteX289" fmla="*/ 189677 w 335744"/>
                    <a:gd name="connsiteY289" fmla="*/ 336698 h 345377"/>
                    <a:gd name="connsiteX290" fmla="*/ 187362 w 335744"/>
                    <a:gd name="connsiteY290" fmla="*/ 337912 h 345377"/>
                    <a:gd name="connsiteX291" fmla="*/ 184526 w 335744"/>
                    <a:gd name="connsiteY291" fmla="*/ 340137 h 345377"/>
                    <a:gd name="connsiteX292" fmla="*/ 182774 w 335744"/>
                    <a:gd name="connsiteY292" fmla="*/ 341726 h 345377"/>
                    <a:gd name="connsiteX293" fmla="*/ 181193 w 335744"/>
                    <a:gd name="connsiteY293" fmla="*/ 342460 h 345377"/>
                    <a:gd name="connsiteX294" fmla="*/ 177941 w 335744"/>
                    <a:gd name="connsiteY294" fmla="*/ 343128 h 345377"/>
                    <a:gd name="connsiteX295" fmla="*/ 175203 w 335744"/>
                    <a:gd name="connsiteY295" fmla="*/ 343462 h 345377"/>
                    <a:gd name="connsiteX296" fmla="*/ 174078 w 335744"/>
                    <a:gd name="connsiteY296" fmla="*/ 343006 h 345377"/>
                    <a:gd name="connsiteX297" fmla="*/ 172041 w 335744"/>
                    <a:gd name="connsiteY297" fmla="*/ 341368 h 345377"/>
                    <a:gd name="connsiteX298" fmla="*/ 167330 w 335744"/>
                    <a:gd name="connsiteY298" fmla="*/ 336274 h 345377"/>
                    <a:gd name="connsiteX299" fmla="*/ 160957 w 335744"/>
                    <a:gd name="connsiteY299" fmla="*/ 329363 h 345377"/>
                    <a:gd name="connsiteX300" fmla="*/ 160476 w 335744"/>
                    <a:gd name="connsiteY300" fmla="*/ 327358 h 345377"/>
                    <a:gd name="connsiteX301" fmla="*/ 160745 w 335744"/>
                    <a:gd name="connsiteY301" fmla="*/ 325313 h 345377"/>
                    <a:gd name="connsiteX302" fmla="*/ 159588 w 335744"/>
                    <a:gd name="connsiteY302" fmla="*/ 322322 h 345377"/>
                    <a:gd name="connsiteX303" fmla="*/ 158912 w 335744"/>
                    <a:gd name="connsiteY303" fmla="*/ 319144 h 345377"/>
                    <a:gd name="connsiteX304" fmla="*/ 158341 w 335744"/>
                    <a:gd name="connsiteY304" fmla="*/ 318043 h 345377"/>
                    <a:gd name="connsiteX305" fmla="*/ 158170 w 335744"/>
                    <a:gd name="connsiteY305" fmla="*/ 315664 h 345377"/>
                    <a:gd name="connsiteX306" fmla="*/ 156793 w 335744"/>
                    <a:gd name="connsiteY306" fmla="*/ 311377 h 345377"/>
                    <a:gd name="connsiteX307" fmla="*/ 155660 w 335744"/>
                    <a:gd name="connsiteY307" fmla="*/ 307873 h 345377"/>
                    <a:gd name="connsiteX308" fmla="*/ 154617 w 335744"/>
                    <a:gd name="connsiteY308" fmla="*/ 306088 h 345377"/>
                    <a:gd name="connsiteX309" fmla="*/ 155057 w 335744"/>
                    <a:gd name="connsiteY309" fmla="*/ 304572 h 345377"/>
                    <a:gd name="connsiteX310" fmla="*/ 154617 w 335744"/>
                    <a:gd name="connsiteY310" fmla="*/ 303056 h 345377"/>
                    <a:gd name="connsiteX311" fmla="*/ 153769 w 335744"/>
                    <a:gd name="connsiteY311" fmla="*/ 301817 h 345377"/>
                    <a:gd name="connsiteX312" fmla="*/ 152539 w 335744"/>
                    <a:gd name="connsiteY312" fmla="*/ 297832 h 345377"/>
                    <a:gd name="connsiteX313" fmla="*/ 152979 w 335744"/>
                    <a:gd name="connsiteY313" fmla="*/ 296120 h 345377"/>
                    <a:gd name="connsiteX314" fmla="*/ 152645 w 335744"/>
                    <a:gd name="connsiteY314" fmla="*/ 294409 h 345377"/>
                    <a:gd name="connsiteX315" fmla="*/ 151609 w 335744"/>
                    <a:gd name="connsiteY315" fmla="*/ 293227 h 345377"/>
                    <a:gd name="connsiteX316" fmla="*/ 150126 w 335744"/>
                    <a:gd name="connsiteY316" fmla="*/ 291964 h 345377"/>
                    <a:gd name="connsiteX317" fmla="*/ 148154 w 335744"/>
                    <a:gd name="connsiteY317" fmla="*/ 289316 h 345377"/>
                    <a:gd name="connsiteX318" fmla="*/ 145807 w 335744"/>
                    <a:gd name="connsiteY318" fmla="*/ 286805 h 345377"/>
                    <a:gd name="connsiteX319" fmla="*/ 144601 w 335744"/>
                    <a:gd name="connsiteY319" fmla="*/ 285819 h 345377"/>
                    <a:gd name="connsiteX320" fmla="*/ 143778 w 335744"/>
                    <a:gd name="connsiteY320" fmla="*/ 285428 h 345377"/>
                    <a:gd name="connsiteX321" fmla="*/ 143069 w 335744"/>
                    <a:gd name="connsiteY321" fmla="*/ 283048 h 345377"/>
                    <a:gd name="connsiteX322" fmla="*/ 142523 w 335744"/>
                    <a:gd name="connsiteY322" fmla="*/ 282323 h 345377"/>
                    <a:gd name="connsiteX323" fmla="*/ 141325 w 335744"/>
                    <a:gd name="connsiteY323" fmla="*/ 282127 h 345377"/>
                    <a:gd name="connsiteX324" fmla="*/ 138863 w 335744"/>
                    <a:gd name="connsiteY324" fmla="*/ 281133 h 345377"/>
                    <a:gd name="connsiteX325" fmla="*/ 136557 w 335744"/>
                    <a:gd name="connsiteY325" fmla="*/ 282323 h 345377"/>
                    <a:gd name="connsiteX326" fmla="*/ 136508 w 335744"/>
                    <a:gd name="connsiteY326" fmla="*/ 280473 h 345377"/>
                    <a:gd name="connsiteX327" fmla="*/ 137168 w 335744"/>
                    <a:gd name="connsiteY327" fmla="*/ 279356 h 345377"/>
                    <a:gd name="connsiteX328" fmla="*/ 145098 w 335744"/>
                    <a:gd name="connsiteY328" fmla="*/ 270530 h 345377"/>
                    <a:gd name="connsiteX329" fmla="*/ 149099 w 335744"/>
                    <a:gd name="connsiteY329" fmla="*/ 266472 h 345377"/>
                    <a:gd name="connsiteX330" fmla="*/ 149531 w 335744"/>
                    <a:gd name="connsiteY330" fmla="*/ 265869 h 345377"/>
                    <a:gd name="connsiteX331" fmla="*/ 149873 w 335744"/>
                    <a:gd name="connsiteY331" fmla="*/ 264931 h 345377"/>
                    <a:gd name="connsiteX332" fmla="*/ 150151 w 335744"/>
                    <a:gd name="connsiteY332" fmla="*/ 263684 h 345377"/>
                    <a:gd name="connsiteX333" fmla="*/ 149246 w 335744"/>
                    <a:gd name="connsiteY333" fmla="*/ 262242 h 345377"/>
                    <a:gd name="connsiteX334" fmla="*/ 145505 w 335744"/>
                    <a:gd name="connsiteY334" fmla="*/ 255429 h 345377"/>
                    <a:gd name="connsiteX335" fmla="*/ 144201 w 335744"/>
                    <a:gd name="connsiteY335" fmla="*/ 254149 h 345377"/>
                    <a:gd name="connsiteX336" fmla="*/ 142930 w 335744"/>
                    <a:gd name="connsiteY336" fmla="*/ 253106 h 345377"/>
                    <a:gd name="connsiteX337" fmla="*/ 141463 w 335744"/>
                    <a:gd name="connsiteY337" fmla="*/ 250246 h 345377"/>
                    <a:gd name="connsiteX338" fmla="*/ 139711 w 335744"/>
                    <a:gd name="connsiteY338" fmla="*/ 243587 h 345377"/>
                    <a:gd name="connsiteX339" fmla="*/ 138448 w 335744"/>
                    <a:gd name="connsiteY339" fmla="*/ 240238 h 345377"/>
                    <a:gd name="connsiteX340" fmla="*/ 138065 w 335744"/>
                    <a:gd name="connsiteY340" fmla="*/ 237679 h 345377"/>
                    <a:gd name="connsiteX341" fmla="*/ 138146 w 335744"/>
                    <a:gd name="connsiteY341" fmla="*/ 234777 h 345377"/>
                    <a:gd name="connsiteX342" fmla="*/ 137681 w 335744"/>
                    <a:gd name="connsiteY342" fmla="*/ 232544 h 345377"/>
                    <a:gd name="connsiteX343" fmla="*/ 136663 w 335744"/>
                    <a:gd name="connsiteY343" fmla="*/ 230996 h 345377"/>
                    <a:gd name="connsiteX344" fmla="*/ 136663 w 335744"/>
                    <a:gd name="connsiteY344" fmla="*/ 226245 h 345377"/>
                    <a:gd name="connsiteX345" fmla="*/ 137681 w 335744"/>
                    <a:gd name="connsiteY345" fmla="*/ 218282 h 345377"/>
                    <a:gd name="connsiteX346" fmla="*/ 137934 w 335744"/>
                    <a:gd name="connsiteY346" fmla="*/ 212227 h 345377"/>
                    <a:gd name="connsiteX347" fmla="*/ 137421 w 335744"/>
                    <a:gd name="connsiteY347" fmla="*/ 208087 h 345377"/>
                    <a:gd name="connsiteX348" fmla="*/ 138325 w 335744"/>
                    <a:gd name="connsiteY348" fmla="*/ 204933 h 345377"/>
                    <a:gd name="connsiteX349" fmla="*/ 140656 w 335744"/>
                    <a:gd name="connsiteY349" fmla="*/ 202773 h 345377"/>
                    <a:gd name="connsiteX350" fmla="*/ 141952 w 335744"/>
                    <a:gd name="connsiteY350" fmla="*/ 199432 h 345377"/>
                    <a:gd name="connsiteX351" fmla="*/ 142221 w 335744"/>
                    <a:gd name="connsiteY351" fmla="*/ 194909 h 345377"/>
                    <a:gd name="connsiteX352" fmla="*/ 143615 w 335744"/>
                    <a:gd name="connsiteY352" fmla="*/ 191193 h 345377"/>
                    <a:gd name="connsiteX353" fmla="*/ 146133 w 335744"/>
                    <a:gd name="connsiteY353" fmla="*/ 188291 h 345377"/>
                    <a:gd name="connsiteX354" fmla="*/ 146989 w 335744"/>
                    <a:gd name="connsiteY354" fmla="*/ 185423 h 345377"/>
                    <a:gd name="connsiteX355" fmla="*/ 146190 w 335744"/>
                    <a:gd name="connsiteY355" fmla="*/ 182595 h 345377"/>
                    <a:gd name="connsiteX356" fmla="*/ 145929 w 335744"/>
                    <a:gd name="connsiteY356" fmla="*/ 180769 h 345377"/>
                    <a:gd name="connsiteX357" fmla="*/ 143794 w 335744"/>
                    <a:gd name="connsiteY357" fmla="*/ 178919 h 345377"/>
                    <a:gd name="connsiteX358" fmla="*/ 139849 w 335744"/>
                    <a:gd name="connsiteY358" fmla="*/ 177623 h 345377"/>
                    <a:gd name="connsiteX359" fmla="*/ 136573 w 335744"/>
                    <a:gd name="connsiteY359" fmla="*/ 177477 h 345377"/>
                    <a:gd name="connsiteX360" fmla="*/ 134601 w 335744"/>
                    <a:gd name="connsiteY360" fmla="*/ 178919 h 345377"/>
                    <a:gd name="connsiteX361" fmla="*/ 129532 w 335744"/>
                    <a:gd name="connsiteY361" fmla="*/ 180256 h 345377"/>
                    <a:gd name="connsiteX362" fmla="*/ 121382 w 335744"/>
                    <a:gd name="connsiteY362" fmla="*/ 181478 h 345377"/>
                    <a:gd name="connsiteX363" fmla="*/ 114821 w 335744"/>
                    <a:gd name="connsiteY363" fmla="*/ 181470 h 345377"/>
                    <a:gd name="connsiteX364" fmla="*/ 109842 w 335744"/>
                    <a:gd name="connsiteY364" fmla="*/ 180231 h 345377"/>
                    <a:gd name="connsiteX365" fmla="*/ 106052 w 335744"/>
                    <a:gd name="connsiteY365" fmla="*/ 180647 h 345377"/>
                    <a:gd name="connsiteX366" fmla="*/ 103453 w 335744"/>
                    <a:gd name="connsiteY366" fmla="*/ 182717 h 345377"/>
                    <a:gd name="connsiteX367" fmla="*/ 101627 w 335744"/>
                    <a:gd name="connsiteY367" fmla="*/ 183181 h 345377"/>
                    <a:gd name="connsiteX368" fmla="*/ 100568 w 335744"/>
                    <a:gd name="connsiteY368" fmla="*/ 182041 h 345377"/>
                    <a:gd name="connsiteX369" fmla="*/ 99419 w 335744"/>
                    <a:gd name="connsiteY369" fmla="*/ 181731 h 345377"/>
                    <a:gd name="connsiteX370" fmla="*/ 97683 w 335744"/>
                    <a:gd name="connsiteY370" fmla="*/ 182448 h 345377"/>
                    <a:gd name="connsiteX371" fmla="*/ 97381 w 335744"/>
                    <a:gd name="connsiteY371" fmla="*/ 182122 h 345377"/>
                    <a:gd name="connsiteX372" fmla="*/ 93526 w 335744"/>
                    <a:gd name="connsiteY372" fmla="*/ 176515 h 345377"/>
                    <a:gd name="connsiteX373" fmla="*/ 89948 w 335744"/>
                    <a:gd name="connsiteY373" fmla="*/ 171315 h 345377"/>
                    <a:gd name="connsiteX374" fmla="*/ 85857 w 335744"/>
                    <a:gd name="connsiteY374" fmla="*/ 165138 h 345377"/>
                    <a:gd name="connsiteX375" fmla="*/ 81123 w 335744"/>
                    <a:gd name="connsiteY375" fmla="*/ 157999 h 345377"/>
                    <a:gd name="connsiteX376" fmla="*/ 80275 w 335744"/>
                    <a:gd name="connsiteY376" fmla="*/ 157526 h 345377"/>
                    <a:gd name="connsiteX377" fmla="*/ 78816 w 335744"/>
                    <a:gd name="connsiteY377" fmla="*/ 157575 h 345377"/>
                    <a:gd name="connsiteX378" fmla="*/ 76876 w 335744"/>
                    <a:gd name="connsiteY378" fmla="*/ 157697 h 345377"/>
                    <a:gd name="connsiteX379" fmla="*/ 73869 w 335744"/>
                    <a:gd name="connsiteY379" fmla="*/ 156956 h 345377"/>
                    <a:gd name="connsiteX380" fmla="*/ 71807 w 335744"/>
                    <a:gd name="connsiteY380" fmla="*/ 155921 h 345377"/>
                    <a:gd name="connsiteX381" fmla="*/ 70194 w 335744"/>
                    <a:gd name="connsiteY381" fmla="*/ 154918 h 345377"/>
                    <a:gd name="connsiteX382" fmla="*/ 67227 w 335744"/>
                    <a:gd name="connsiteY382" fmla="*/ 153647 h 345377"/>
                    <a:gd name="connsiteX383" fmla="*/ 65190 w 335744"/>
                    <a:gd name="connsiteY383" fmla="*/ 153435 h 345377"/>
                    <a:gd name="connsiteX384" fmla="*/ 63364 w 335744"/>
                    <a:gd name="connsiteY384" fmla="*/ 153802 h 345377"/>
                    <a:gd name="connsiteX385" fmla="*/ 58336 w 335744"/>
                    <a:gd name="connsiteY385" fmla="*/ 156304 h 345377"/>
                    <a:gd name="connsiteX386" fmla="*/ 55475 w 335744"/>
                    <a:gd name="connsiteY386" fmla="*/ 156540 h 345377"/>
                    <a:gd name="connsiteX387" fmla="*/ 53267 w 335744"/>
                    <a:gd name="connsiteY387" fmla="*/ 156589 h 345377"/>
                    <a:gd name="connsiteX388" fmla="*/ 47334 w 335744"/>
                    <a:gd name="connsiteY388" fmla="*/ 155350 h 345377"/>
                    <a:gd name="connsiteX389" fmla="*/ 43267 w 335744"/>
                    <a:gd name="connsiteY389" fmla="*/ 155155 h 345377"/>
                    <a:gd name="connsiteX390" fmla="*/ 38540 w 335744"/>
                    <a:gd name="connsiteY390" fmla="*/ 155970 h 345377"/>
                    <a:gd name="connsiteX391" fmla="*/ 36519 w 335744"/>
                    <a:gd name="connsiteY391" fmla="*/ 156434 h 345377"/>
                    <a:gd name="connsiteX392" fmla="*/ 33691 w 335744"/>
                    <a:gd name="connsiteY392" fmla="*/ 155163 h 345377"/>
                    <a:gd name="connsiteX393" fmla="*/ 31768 w 335744"/>
                    <a:gd name="connsiteY393" fmla="*/ 153231 h 345377"/>
                    <a:gd name="connsiteX394" fmla="*/ 29967 w 335744"/>
                    <a:gd name="connsiteY394" fmla="*/ 148643 h 345377"/>
                    <a:gd name="connsiteX395" fmla="*/ 28703 w 335744"/>
                    <a:gd name="connsiteY395" fmla="*/ 145016 h 345377"/>
                    <a:gd name="connsiteX396" fmla="*/ 26503 w 335744"/>
                    <a:gd name="connsiteY396" fmla="*/ 144283 h 345377"/>
                    <a:gd name="connsiteX397" fmla="*/ 24066 w 335744"/>
                    <a:gd name="connsiteY397" fmla="*/ 143672 h 345377"/>
                    <a:gd name="connsiteX398" fmla="*/ 22868 w 335744"/>
                    <a:gd name="connsiteY398" fmla="*/ 142474 h 345377"/>
                    <a:gd name="connsiteX399" fmla="*/ 22151 w 335744"/>
                    <a:gd name="connsiteY399" fmla="*/ 140387 h 345377"/>
                    <a:gd name="connsiteX400" fmla="*/ 21980 w 335744"/>
                    <a:gd name="connsiteY400" fmla="*/ 137714 h 345377"/>
                    <a:gd name="connsiteX401" fmla="*/ 22232 w 335744"/>
                    <a:gd name="connsiteY401" fmla="*/ 133362 h 345377"/>
                    <a:gd name="connsiteX402" fmla="*/ 22469 w 335744"/>
                    <a:gd name="connsiteY402" fmla="*/ 131806 h 345377"/>
                    <a:gd name="connsiteX403" fmla="*/ 22803 w 335744"/>
                    <a:gd name="connsiteY403" fmla="*/ 127103 h 345377"/>
                    <a:gd name="connsiteX404" fmla="*/ 24156 w 335744"/>
                    <a:gd name="connsiteY404" fmla="*/ 124650 h 345377"/>
                    <a:gd name="connsiteX405" fmla="*/ 25003 w 335744"/>
                    <a:gd name="connsiteY405" fmla="*/ 123452 h 345377"/>
                    <a:gd name="connsiteX406" fmla="*/ 24840 w 335744"/>
                    <a:gd name="connsiteY406" fmla="*/ 121488 h 345377"/>
                    <a:gd name="connsiteX407" fmla="*/ 24188 w 335744"/>
                    <a:gd name="connsiteY407" fmla="*/ 117438 h 345377"/>
                    <a:gd name="connsiteX408" fmla="*/ 23536 w 335744"/>
                    <a:gd name="connsiteY408" fmla="*/ 114585 h 345377"/>
                    <a:gd name="connsiteX409" fmla="*/ 20831 w 335744"/>
                    <a:gd name="connsiteY409" fmla="*/ 111342 h 345377"/>
                    <a:gd name="connsiteX410" fmla="*/ 17367 w 335744"/>
                    <a:gd name="connsiteY410" fmla="*/ 107202 h 345377"/>
                    <a:gd name="connsiteX411" fmla="*/ 15876 w 335744"/>
                    <a:gd name="connsiteY411" fmla="*/ 100551 h 345377"/>
                    <a:gd name="connsiteX412" fmla="*/ 14115 w 335744"/>
                    <a:gd name="connsiteY412" fmla="*/ 92695 h 345377"/>
                    <a:gd name="connsiteX413" fmla="*/ 12738 w 335744"/>
                    <a:gd name="connsiteY413" fmla="*/ 91905 h 345377"/>
                    <a:gd name="connsiteX414" fmla="*/ 11442 w 335744"/>
                    <a:gd name="connsiteY414" fmla="*/ 92296 h 345377"/>
                    <a:gd name="connsiteX415" fmla="*/ 10057 w 335744"/>
                    <a:gd name="connsiteY415" fmla="*/ 91905 h 345377"/>
                    <a:gd name="connsiteX416" fmla="*/ 8842 w 335744"/>
                    <a:gd name="connsiteY416" fmla="*/ 88742 h 345377"/>
                    <a:gd name="connsiteX417" fmla="*/ 7628 w 335744"/>
                    <a:gd name="connsiteY417" fmla="*/ 88156 h 345377"/>
                    <a:gd name="connsiteX418" fmla="*/ 5680 w 335744"/>
                    <a:gd name="connsiteY418" fmla="*/ 89256 h 345377"/>
                    <a:gd name="connsiteX419" fmla="*/ 4287 w 335744"/>
                    <a:gd name="connsiteY419" fmla="*/ 90120 h 345377"/>
                    <a:gd name="connsiteX420" fmla="*/ 725 w 335744"/>
                    <a:gd name="connsiteY420" fmla="*/ 90918 h 345377"/>
                    <a:gd name="connsiteX421" fmla="*/ 0 w 335744"/>
                    <a:gd name="connsiteY421" fmla="*/ 90120 h 345377"/>
                    <a:gd name="connsiteX422" fmla="*/ 244 w 335744"/>
                    <a:gd name="connsiteY422" fmla="*/ 89133 h 345377"/>
                    <a:gd name="connsiteX423" fmla="*/ 1752 w 335744"/>
                    <a:gd name="connsiteY423" fmla="*/ 86265 h 345377"/>
                    <a:gd name="connsiteX424" fmla="*/ 3529 w 335744"/>
                    <a:gd name="connsiteY424" fmla="*/ 82606 h 345377"/>
                    <a:gd name="connsiteX425" fmla="*/ 5583 w 335744"/>
                    <a:gd name="connsiteY425" fmla="*/ 79256 h 345377"/>
                    <a:gd name="connsiteX426" fmla="*/ 7498 w 335744"/>
                    <a:gd name="connsiteY426" fmla="*/ 75833 h 345377"/>
                    <a:gd name="connsiteX427" fmla="*/ 8924 w 335744"/>
                    <a:gd name="connsiteY427" fmla="*/ 72190 h 345377"/>
                    <a:gd name="connsiteX428" fmla="*/ 9902 w 335744"/>
                    <a:gd name="connsiteY428" fmla="*/ 64929 h 345377"/>
                    <a:gd name="connsiteX429" fmla="*/ 10570 w 335744"/>
                    <a:gd name="connsiteY429" fmla="*/ 59925 h 345377"/>
                    <a:gd name="connsiteX430" fmla="*/ 12331 w 335744"/>
                    <a:gd name="connsiteY430" fmla="*/ 51001 h 345377"/>
                    <a:gd name="connsiteX431" fmla="*/ 15558 w 335744"/>
                    <a:gd name="connsiteY431" fmla="*/ 43878 h 345377"/>
                    <a:gd name="connsiteX432" fmla="*/ 16772 w 335744"/>
                    <a:gd name="connsiteY432" fmla="*/ 40594 h 345377"/>
                    <a:gd name="connsiteX433" fmla="*/ 19698 w 335744"/>
                    <a:gd name="connsiteY433" fmla="*/ 36323 h 345377"/>
                    <a:gd name="connsiteX434" fmla="*/ 21043 w 335744"/>
                    <a:gd name="connsiteY434" fmla="*/ 34009 h 345377"/>
                    <a:gd name="connsiteX435" fmla="*/ 22827 w 335744"/>
                    <a:gd name="connsiteY435" fmla="*/ 32175 h 345377"/>
                    <a:gd name="connsiteX436" fmla="*/ 27733 w 335744"/>
                    <a:gd name="connsiteY436" fmla="*/ 29697 h 345377"/>
                    <a:gd name="connsiteX437" fmla="*/ 33593 w 335744"/>
                    <a:gd name="connsiteY437" fmla="*/ 17440 h 345377"/>
                    <a:gd name="connsiteX438" fmla="*/ 34938 w 335744"/>
                    <a:gd name="connsiteY438" fmla="*/ 15484 h 345377"/>
                    <a:gd name="connsiteX439" fmla="*/ 40855 w 335744"/>
                    <a:gd name="connsiteY439" fmla="*/ 13659 h 345377"/>
                    <a:gd name="connsiteX440" fmla="*/ 45402 w 335744"/>
                    <a:gd name="connsiteY440" fmla="*/ 12233 h 345377"/>
                    <a:gd name="connsiteX441" fmla="*/ 48776 w 335744"/>
                    <a:gd name="connsiteY441" fmla="*/ 10733 h 345377"/>
                    <a:gd name="connsiteX442" fmla="*/ 49885 w 335744"/>
                    <a:gd name="connsiteY442" fmla="*/ 9934 h 345377"/>
                    <a:gd name="connsiteX443" fmla="*/ 50773 w 335744"/>
                    <a:gd name="connsiteY443" fmla="*/ 9568 h 345377"/>
                    <a:gd name="connsiteX444" fmla="*/ 50039 w 335744"/>
                    <a:gd name="connsiteY444" fmla="*/ 10986 h 345377"/>
                    <a:gd name="connsiteX445" fmla="*/ 48426 w 335744"/>
                    <a:gd name="connsiteY445" fmla="*/ 12795 h 345377"/>
                    <a:gd name="connsiteX446" fmla="*/ 46592 w 335744"/>
                    <a:gd name="connsiteY446" fmla="*/ 13895 h 345377"/>
                    <a:gd name="connsiteX447" fmla="*/ 37163 w 335744"/>
                    <a:gd name="connsiteY447" fmla="*/ 16658 h 345377"/>
                    <a:gd name="connsiteX448" fmla="*/ 36201 w 335744"/>
                    <a:gd name="connsiteY448" fmla="*/ 17245 h 345377"/>
                    <a:gd name="connsiteX449" fmla="*/ 34970 w 335744"/>
                    <a:gd name="connsiteY449" fmla="*/ 18394 h 345377"/>
                    <a:gd name="connsiteX450" fmla="*/ 34962 w 335744"/>
                    <a:gd name="connsiteY450" fmla="*/ 21034 h 345377"/>
                    <a:gd name="connsiteX451" fmla="*/ 35215 w 335744"/>
                    <a:gd name="connsiteY451" fmla="*/ 23096 h 345377"/>
                    <a:gd name="connsiteX452" fmla="*/ 37994 w 335744"/>
                    <a:gd name="connsiteY452" fmla="*/ 29877 h 345377"/>
                    <a:gd name="connsiteX453" fmla="*/ 39078 w 335744"/>
                    <a:gd name="connsiteY453" fmla="*/ 31548 h 345377"/>
                    <a:gd name="connsiteX454" fmla="*/ 42794 w 335744"/>
                    <a:gd name="connsiteY454" fmla="*/ 35223 h 345377"/>
                    <a:gd name="connsiteX455" fmla="*/ 41947 w 335744"/>
                    <a:gd name="connsiteY455" fmla="*/ 35728 h 345377"/>
                    <a:gd name="connsiteX456" fmla="*/ 40586 w 335744"/>
                    <a:gd name="connsiteY456" fmla="*/ 35794 h 345377"/>
                    <a:gd name="connsiteX457" fmla="*/ 41588 w 335744"/>
                    <a:gd name="connsiteY457" fmla="*/ 40602 h 345377"/>
                    <a:gd name="connsiteX458" fmla="*/ 43870 w 335744"/>
                    <a:gd name="connsiteY458" fmla="*/ 43903 h 345377"/>
                    <a:gd name="connsiteX459" fmla="*/ 43976 w 335744"/>
                    <a:gd name="connsiteY459" fmla="*/ 45981 h 345377"/>
                    <a:gd name="connsiteX460" fmla="*/ 42224 w 335744"/>
                    <a:gd name="connsiteY460" fmla="*/ 52435 h 345377"/>
                    <a:gd name="connsiteX461" fmla="*/ 39029 w 335744"/>
                    <a:gd name="connsiteY461" fmla="*/ 56290 h 345377"/>
                    <a:gd name="connsiteX462" fmla="*/ 36772 w 335744"/>
                    <a:gd name="connsiteY462" fmla="*/ 60789 h 345377"/>
                    <a:gd name="connsiteX463" fmla="*/ 35011 w 335744"/>
                    <a:gd name="connsiteY463" fmla="*/ 62573 h 345377"/>
                    <a:gd name="connsiteX464" fmla="*/ 31116 w 335744"/>
                    <a:gd name="connsiteY464" fmla="*/ 71400 h 345377"/>
                    <a:gd name="connsiteX465" fmla="*/ 34082 w 335744"/>
                    <a:gd name="connsiteY465" fmla="*/ 76648 h 345377"/>
                    <a:gd name="connsiteX466" fmla="*/ 34506 w 335744"/>
                    <a:gd name="connsiteY466" fmla="*/ 79313 h 345377"/>
                    <a:gd name="connsiteX467" fmla="*/ 37065 w 335744"/>
                    <a:gd name="connsiteY467" fmla="*/ 83103 h 345377"/>
                    <a:gd name="connsiteX468" fmla="*/ 38736 w 335744"/>
                    <a:gd name="connsiteY468" fmla="*/ 84342 h 345377"/>
                    <a:gd name="connsiteX469" fmla="*/ 39852 w 335744"/>
                    <a:gd name="connsiteY469" fmla="*/ 85874 h 345377"/>
                    <a:gd name="connsiteX470" fmla="*/ 39339 w 335744"/>
                    <a:gd name="connsiteY470" fmla="*/ 88449 h 345377"/>
                    <a:gd name="connsiteX471" fmla="*/ 40357 w 335744"/>
                    <a:gd name="connsiteY471" fmla="*/ 91953 h 345377"/>
                    <a:gd name="connsiteX472" fmla="*/ 41678 w 335744"/>
                    <a:gd name="connsiteY472" fmla="*/ 93803 h 345377"/>
                    <a:gd name="connsiteX473" fmla="*/ 43348 w 335744"/>
                    <a:gd name="connsiteY473" fmla="*/ 94537 h 345377"/>
                    <a:gd name="connsiteX474" fmla="*/ 45402 w 335744"/>
                    <a:gd name="connsiteY474" fmla="*/ 94529 h 345377"/>
                    <a:gd name="connsiteX475" fmla="*/ 51327 w 335744"/>
                    <a:gd name="connsiteY475" fmla="*/ 92198 h 345377"/>
                    <a:gd name="connsiteX476" fmla="*/ 52729 w 335744"/>
                    <a:gd name="connsiteY476" fmla="*/ 91147 h 345377"/>
                    <a:gd name="connsiteX477" fmla="*/ 53617 w 335744"/>
                    <a:gd name="connsiteY477" fmla="*/ 89280 h 345377"/>
                    <a:gd name="connsiteX478" fmla="*/ 56584 w 335744"/>
                    <a:gd name="connsiteY478" fmla="*/ 85491 h 345377"/>
                    <a:gd name="connsiteX479" fmla="*/ 56771 w 335744"/>
                    <a:gd name="connsiteY479" fmla="*/ 80585 h 345377"/>
                    <a:gd name="connsiteX480" fmla="*/ 57407 w 335744"/>
                    <a:gd name="connsiteY480" fmla="*/ 74700 h 345377"/>
                    <a:gd name="connsiteX481" fmla="*/ 56689 w 335744"/>
                    <a:gd name="connsiteY481" fmla="*/ 70862 h 345377"/>
                    <a:gd name="connsiteX482" fmla="*/ 53584 w 335744"/>
                    <a:gd name="connsiteY482" fmla="*/ 65385 h 345377"/>
                    <a:gd name="connsiteX483" fmla="*/ 52215 w 335744"/>
                    <a:gd name="connsiteY483" fmla="*/ 61490 h 345377"/>
                    <a:gd name="connsiteX484" fmla="*/ 49126 w 335744"/>
                    <a:gd name="connsiteY484" fmla="*/ 57871 h 345377"/>
                    <a:gd name="connsiteX485" fmla="*/ 47244 w 335744"/>
                    <a:gd name="connsiteY485" fmla="*/ 51661 h 345377"/>
                    <a:gd name="connsiteX486" fmla="*/ 46470 w 335744"/>
                    <a:gd name="connsiteY486" fmla="*/ 49738 h 345377"/>
                    <a:gd name="connsiteX487" fmla="*/ 45883 w 335744"/>
                    <a:gd name="connsiteY487" fmla="*/ 47056 h 345377"/>
                    <a:gd name="connsiteX488" fmla="*/ 45215 w 335744"/>
                    <a:gd name="connsiteY488" fmla="*/ 42322 h 345377"/>
                    <a:gd name="connsiteX489" fmla="*/ 47285 w 335744"/>
                    <a:gd name="connsiteY489" fmla="*/ 40594 h 345377"/>
                    <a:gd name="connsiteX490" fmla="*/ 47073 w 335744"/>
                    <a:gd name="connsiteY490" fmla="*/ 36715 h 345377"/>
                    <a:gd name="connsiteX491" fmla="*/ 52166 w 335744"/>
                    <a:gd name="connsiteY491" fmla="*/ 35647 h 345377"/>
                    <a:gd name="connsiteX492" fmla="*/ 63177 w 335744"/>
                    <a:gd name="connsiteY492" fmla="*/ 29331 h 345377"/>
                    <a:gd name="connsiteX493" fmla="*/ 69990 w 335744"/>
                    <a:gd name="connsiteY493" fmla="*/ 27733 h 345377"/>
                    <a:gd name="connsiteX494" fmla="*/ 77756 w 335744"/>
                    <a:gd name="connsiteY494" fmla="*/ 24359 h 345377"/>
                    <a:gd name="connsiteX495" fmla="*/ 79558 w 335744"/>
                    <a:gd name="connsiteY495" fmla="*/ 22689 h 345377"/>
                    <a:gd name="connsiteX496" fmla="*/ 81114 w 335744"/>
                    <a:gd name="connsiteY496" fmla="*/ 19918 h 345377"/>
                    <a:gd name="connsiteX497" fmla="*/ 82320 w 335744"/>
                    <a:gd name="connsiteY497" fmla="*/ 19600 h 345377"/>
                    <a:gd name="connsiteX498" fmla="*/ 86371 w 335744"/>
                    <a:gd name="connsiteY498" fmla="*/ 22200 h 345377"/>
                    <a:gd name="connsiteX499" fmla="*/ 88367 w 335744"/>
                    <a:gd name="connsiteY499" fmla="*/ 21303 h 345377"/>
                    <a:gd name="connsiteX500" fmla="*/ 89158 w 335744"/>
                    <a:gd name="connsiteY500" fmla="*/ 19274 h 345377"/>
                    <a:gd name="connsiteX501" fmla="*/ 88058 w 335744"/>
                    <a:gd name="connsiteY501" fmla="*/ 15322 h 345377"/>
                    <a:gd name="connsiteX502" fmla="*/ 85735 w 335744"/>
                    <a:gd name="connsiteY502" fmla="*/ 15322 h 345377"/>
                    <a:gd name="connsiteX503" fmla="*/ 78751 w 335744"/>
                    <a:gd name="connsiteY503" fmla="*/ 16756 h 345377"/>
                    <a:gd name="connsiteX504" fmla="*/ 78074 w 335744"/>
                    <a:gd name="connsiteY504" fmla="*/ 15061 h 345377"/>
                    <a:gd name="connsiteX505" fmla="*/ 78074 w 335744"/>
                    <a:gd name="connsiteY505" fmla="*/ 13569 h 345377"/>
                    <a:gd name="connsiteX506" fmla="*/ 76428 w 335744"/>
                    <a:gd name="connsiteY506" fmla="*/ 8851 h 345377"/>
                    <a:gd name="connsiteX507" fmla="*/ 77447 w 335744"/>
                    <a:gd name="connsiteY507" fmla="*/ 5289 h 345377"/>
                    <a:gd name="connsiteX508" fmla="*/ 78498 w 335744"/>
                    <a:gd name="connsiteY508" fmla="*/ 2412 h 345377"/>
                    <a:gd name="connsiteX509" fmla="*/ 80503 w 335744"/>
                    <a:gd name="connsiteY509" fmla="*/ 1255 h 345377"/>
                    <a:gd name="connsiteX510" fmla="*/ 83429 w 335744"/>
                    <a:gd name="connsiteY510" fmla="*/ 0 h 345377"/>
                    <a:gd name="connsiteX511" fmla="*/ 85646 w 335744"/>
                    <a:gd name="connsiteY511" fmla="*/ 1915 h 345377"/>
                    <a:gd name="connsiteX512" fmla="*/ 86998 w 335744"/>
                    <a:gd name="connsiteY512" fmla="*/ 3749 h 345377"/>
                    <a:gd name="connsiteX513" fmla="*/ 87724 w 335744"/>
                    <a:gd name="connsiteY513" fmla="*/ 5517 h 345377"/>
                    <a:gd name="connsiteX514" fmla="*/ 88221 w 335744"/>
                    <a:gd name="connsiteY514" fmla="*/ 10326 h 345377"/>
                    <a:gd name="connsiteX515" fmla="*/ 89419 w 335744"/>
                    <a:gd name="connsiteY515" fmla="*/ 15183 h 345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Lst>
                  <a:rect l="l" t="t" r="r" b="b"/>
                  <a:pathLst>
                    <a:path w="335744" h="345377">
                      <a:moveTo>
                        <a:pt x="89419" y="15183"/>
                      </a:moveTo>
                      <a:lnTo>
                        <a:pt x="90674" y="18573"/>
                      </a:lnTo>
                      <a:lnTo>
                        <a:pt x="92662" y="21116"/>
                      </a:lnTo>
                      <a:lnTo>
                        <a:pt x="94194" y="20945"/>
                      </a:lnTo>
                      <a:lnTo>
                        <a:pt x="95287" y="20521"/>
                      </a:lnTo>
                      <a:lnTo>
                        <a:pt x="102556" y="19951"/>
                      </a:lnTo>
                      <a:lnTo>
                        <a:pt x="106973" y="21686"/>
                      </a:lnTo>
                      <a:lnTo>
                        <a:pt x="112589" y="22566"/>
                      </a:lnTo>
                      <a:lnTo>
                        <a:pt x="117845" y="26267"/>
                      </a:lnTo>
                      <a:lnTo>
                        <a:pt x="123240" y="30757"/>
                      </a:lnTo>
                      <a:lnTo>
                        <a:pt x="124617" y="34025"/>
                      </a:lnTo>
                      <a:lnTo>
                        <a:pt x="125074" y="37155"/>
                      </a:lnTo>
                      <a:lnTo>
                        <a:pt x="126378" y="39249"/>
                      </a:lnTo>
                      <a:lnTo>
                        <a:pt x="125074" y="41401"/>
                      </a:lnTo>
                      <a:lnTo>
                        <a:pt x="125775" y="45003"/>
                      </a:lnTo>
                      <a:lnTo>
                        <a:pt x="127315" y="48637"/>
                      </a:lnTo>
                      <a:lnTo>
                        <a:pt x="129654" y="50944"/>
                      </a:lnTo>
                      <a:lnTo>
                        <a:pt x="136304" y="51572"/>
                      </a:lnTo>
                      <a:lnTo>
                        <a:pt x="143501" y="50015"/>
                      </a:lnTo>
                      <a:lnTo>
                        <a:pt x="154617" y="48605"/>
                      </a:lnTo>
                      <a:lnTo>
                        <a:pt x="158195" y="47391"/>
                      </a:lnTo>
                      <a:lnTo>
                        <a:pt x="176588" y="46739"/>
                      </a:lnTo>
                      <a:lnTo>
                        <a:pt x="180101" y="48466"/>
                      </a:lnTo>
                      <a:lnTo>
                        <a:pt x="180435" y="50210"/>
                      </a:lnTo>
                      <a:lnTo>
                        <a:pt x="180476" y="51539"/>
                      </a:lnTo>
                      <a:lnTo>
                        <a:pt x="186393" y="58034"/>
                      </a:lnTo>
                      <a:lnTo>
                        <a:pt x="191258" y="58914"/>
                      </a:lnTo>
                      <a:lnTo>
                        <a:pt x="195382" y="61001"/>
                      </a:lnTo>
                      <a:lnTo>
                        <a:pt x="199644" y="62117"/>
                      </a:lnTo>
                      <a:lnTo>
                        <a:pt x="204314" y="63690"/>
                      </a:lnTo>
                      <a:lnTo>
                        <a:pt x="206938" y="63494"/>
                      </a:lnTo>
                      <a:lnTo>
                        <a:pt x="208902" y="62949"/>
                      </a:lnTo>
                      <a:lnTo>
                        <a:pt x="211225" y="62851"/>
                      </a:lnTo>
                      <a:lnTo>
                        <a:pt x="227646" y="51995"/>
                      </a:lnTo>
                      <a:lnTo>
                        <a:pt x="236440" y="52272"/>
                      </a:lnTo>
                      <a:lnTo>
                        <a:pt x="237801" y="51572"/>
                      </a:lnTo>
                      <a:lnTo>
                        <a:pt x="238966" y="50618"/>
                      </a:lnTo>
                      <a:lnTo>
                        <a:pt x="235731" y="48964"/>
                      </a:lnTo>
                      <a:lnTo>
                        <a:pt x="228404" y="48320"/>
                      </a:lnTo>
                      <a:lnTo>
                        <a:pt x="226179" y="49428"/>
                      </a:lnTo>
                      <a:lnTo>
                        <a:pt x="224924" y="46633"/>
                      </a:lnTo>
                      <a:lnTo>
                        <a:pt x="227312" y="46706"/>
                      </a:lnTo>
                      <a:lnTo>
                        <a:pt x="235454" y="45761"/>
                      </a:lnTo>
                      <a:lnTo>
                        <a:pt x="244793" y="46380"/>
                      </a:lnTo>
                      <a:lnTo>
                        <a:pt x="252405" y="44392"/>
                      </a:lnTo>
                      <a:lnTo>
                        <a:pt x="256236" y="44058"/>
                      </a:lnTo>
                      <a:lnTo>
                        <a:pt x="258436" y="44448"/>
                      </a:lnTo>
                      <a:lnTo>
                        <a:pt x="264499" y="43153"/>
                      </a:lnTo>
                      <a:lnTo>
                        <a:pt x="275909" y="44669"/>
                      </a:lnTo>
                      <a:lnTo>
                        <a:pt x="284906" y="43422"/>
                      </a:lnTo>
                      <a:lnTo>
                        <a:pt x="283863" y="45215"/>
                      </a:lnTo>
                      <a:lnTo>
                        <a:pt x="280913" y="46307"/>
                      </a:lnTo>
                      <a:lnTo>
                        <a:pt x="276146" y="46649"/>
                      </a:lnTo>
                      <a:lnTo>
                        <a:pt x="272495" y="49273"/>
                      </a:lnTo>
                      <a:lnTo>
                        <a:pt x="264711" y="48784"/>
                      </a:lnTo>
                      <a:lnTo>
                        <a:pt x="259259" y="49738"/>
                      </a:lnTo>
                      <a:lnTo>
                        <a:pt x="261012" y="50471"/>
                      </a:lnTo>
                      <a:lnTo>
                        <a:pt x="261012" y="53177"/>
                      </a:lnTo>
                      <a:lnTo>
                        <a:pt x="261753" y="53715"/>
                      </a:lnTo>
                      <a:lnTo>
                        <a:pt x="262544" y="53739"/>
                      </a:lnTo>
                      <a:lnTo>
                        <a:pt x="264402" y="55736"/>
                      </a:lnTo>
                      <a:lnTo>
                        <a:pt x="264907" y="57040"/>
                      </a:lnTo>
                      <a:lnTo>
                        <a:pt x="265510" y="59795"/>
                      </a:lnTo>
                      <a:lnTo>
                        <a:pt x="264679" y="62769"/>
                      </a:lnTo>
                      <a:lnTo>
                        <a:pt x="263546" y="64098"/>
                      </a:lnTo>
                      <a:lnTo>
                        <a:pt x="265763" y="63658"/>
                      </a:lnTo>
                      <a:lnTo>
                        <a:pt x="267018" y="62264"/>
                      </a:lnTo>
                      <a:lnTo>
                        <a:pt x="266839" y="60862"/>
                      </a:lnTo>
                      <a:lnTo>
                        <a:pt x="267018" y="59240"/>
                      </a:lnTo>
                      <a:lnTo>
                        <a:pt x="268265" y="59746"/>
                      </a:lnTo>
                      <a:lnTo>
                        <a:pt x="269137" y="60479"/>
                      </a:lnTo>
                      <a:lnTo>
                        <a:pt x="271965" y="68262"/>
                      </a:lnTo>
                      <a:lnTo>
                        <a:pt x="273961" y="72345"/>
                      </a:lnTo>
                      <a:lnTo>
                        <a:pt x="274467" y="72182"/>
                      </a:lnTo>
                      <a:lnTo>
                        <a:pt x="274948" y="72035"/>
                      </a:lnTo>
                      <a:lnTo>
                        <a:pt x="275542" y="71253"/>
                      </a:lnTo>
                      <a:lnTo>
                        <a:pt x="276423" y="69338"/>
                      </a:lnTo>
                      <a:lnTo>
                        <a:pt x="277189" y="70552"/>
                      </a:lnTo>
                      <a:lnTo>
                        <a:pt x="277653" y="71017"/>
                      </a:lnTo>
                      <a:lnTo>
                        <a:pt x="278110" y="71163"/>
                      </a:lnTo>
                      <a:lnTo>
                        <a:pt x="277686" y="69419"/>
                      </a:lnTo>
                      <a:lnTo>
                        <a:pt x="278256" y="67195"/>
                      </a:lnTo>
                      <a:lnTo>
                        <a:pt x="278069" y="66412"/>
                      </a:lnTo>
                      <a:lnTo>
                        <a:pt x="278949" y="66241"/>
                      </a:lnTo>
                      <a:lnTo>
                        <a:pt x="280000" y="66543"/>
                      </a:lnTo>
                      <a:lnTo>
                        <a:pt x="281508" y="67162"/>
                      </a:lnTo>
                      <a:lnTo>
                        <a:pt x="284189" y="69713"/>
                      </a:lnTo>
                      <a:lnTo>
                        <a:pt x="285958" y="72361"/>
                      </a:lnTo>
                      <a:lnTo>
                        <a:pt x="286104" y="73845"/>
                      </a:lnTo>
                      <a:lnTo>
                        <a:pt x="286748" y="74676"/>
                      </a:lnTo>
                      <a:lnTo>
                        <a:pt x="287906" y="75556"/>
                      </a:lnTo>
                      <a:lnTo>
                        <a:pt x="288468" y="76917"/>
                      </a:lnTo>
                      <a:lnTo>
                        <a:pt x="288574" y="74774"/>
                      </a:lnTo>
                      <a:lnTo>
                        <a:pt x="287889" y="73209"/>
                      </a:lnTo>
                      <a:lnTo>
                        <a:pt x="287718" y="71416"/>
                      </a:lnTo>
                      <a:lnTo>
                        <a:pt x="291206" y="71335"/>
                      </a:lnTo>
                      <a:lnTo>
                        <a:pt x="292111" y="68979"/>
                      </a:lnTo>
                      <a:lnTo>
                        <a:pt x="294010" y="70397"/>
                      </a:lnTo>
                      <a:lnTo>
                        <a:pt x="299046" y="76860"/>
                      </a:lnTo>
                      <a:lnTo>
                        <a:pt x="300904" y="77928"/>
                      </a:lnTo>
                      <a:lnTo>
                        <a:pt x="306389" y="79166"/>
                      </a:lnTo>
                      <a:lnTo>
                        <a:pt x="309837" y="82280"/>
                      </a:lnTo>
                      <a:lnTo>
                        <a:pt x="311866" y="85067"/>
                      </a:lnTo>
                      <a:lnTo>
                        <a:pt x="310660" y="87993"/>
                      </a:lnTo>
                      <a:lnTo>
                        <a:pt x="307432" y="89451"/>
                      </a:lnTo>
                      <a:lnTo>
                        <a:pt x="306145" y="91277"/>
                      </a:lnTo>
                      <a:lnTo>
                        <a:pt x="305403" y="93070"/>
                      </a:lnTo>
                      <a:lnTo>
                        <a:pt x="305395" y="94871"/>
                      </a:lnTo>
                      <a:lnTo>
                        <a:pt x="304417" y="96957"/>
                      </a:lnTo>
                      <a:lnTo>
                        <a:pt x="304270" y="97699"/>
                      </a:lnTo>
                      <a:lnTo>
                        <a:pt x="303684" y="100649"/>
                      </a:lnTo>
                      <a:lnTo>
                        <a:pt x="302355" y="104202"/>
                      </a:lnTo>
                      <a:lnTo>
                        <a:pt x="300587" y="107968"/>
                      </a:lnTo>
                      <a:lnTo>
                        <a:pt x="291377" y="108049"/>
                      </a:lnTo>
                      <a:lnTo>
                        <a:pt x="293651" y="109598"/>
                      </a:lnTo>
                      <a:lnTo>
                        <a:pt x="295746" y="110722"/>
                      </a:lnTo>
                      <a:lnTo>
                        <a:pt x="299177" y="113681"/>
                      </a:lnTo>
                      <a:lnTo>
                        <a:pt x="301907" y="111358"/>
                      </a:lnTo>
                      <a:lnTo>
                        <a:pt x="305819" y="111187"/>
                      </a:lnTo>
                      <a:lnTo>
                        <a:pt x="310056" y="108611"/>
                      </a:lnTo>
                      <a:lnTo>
                        <a:pt x="311646" y="108204"/>
                      </a:lnTo>
                      <a:lnTo>
                        <a:pt x="319575" y="109557"/>
                      </a:lnTo>
                      <a:lnTo>
                        <a:pt x="321482" y="107666"/>
                      </a:lnTo>
                      <a:lnTo>
                        <a:pt x="323072" y="107104"/>
                      </a:lnTo>
                      <a:lnTo>
                        <a:pt x="327350" y="107454"/>
                      </a:lnTo>
                      <a:lnTo>
                        <a:pt x="331066" y="109492"/>
                      </a:lnTo>
                      <a:lnTo>
                        <a:pt x="335679" y="116818"/>
                      </a:lnTo>
                      <a:lnTo>
                        <a:pt x="335744" y="117625"/>
                      </a:lnTo>
                      <a:lnTo>
                        <a:pt x="335239" y="118538"/>
                      </a:lnTo>
                      <a:lnTo>
                        <a:pt x="332370" y="120249"/>
                      </a:lnTo>
                      <a:lnTo>
                        <a:pt x="331727" y="121146"/>
                      </a:lnTo>
                      <a:lnTo>
                        <a:pt x="330700" y="124406"/>
                      </a:lnTo>
                      <a:lnTo>
                        <a:pt x="327090" y="126191"/>
                      </a:lnTo>
                      <a:lnTo>
                        <a:pt x="324588" y="128440"/>
                      </a:lnTo>
                      <a:lnTo>
                        <a:pt x="322901" y="130404"/>
                      </a:lnTo>
                      <a:lnTo>
                        <a:pt x="322061" y="131203"/>
                      </a:lnTo>
                      <a:lnTo>
                        <a:pt x="318761" y="131635"/>
                      </a:lnTo>
                      <a:lnTo>
                        <a:pt x="317701" y="132873"/>
                      </a:lnTo>
                      <a:lnTo>
                        <a:pt x="316364" y="136589"/>
                      </a:lnTo>
                      <a:lnTo>
                        <a:pt x="315387" y="138146"/>
                      </a:lnTo>
                      <a:lnTo>
                        <a:pt x="313675" y="139972"/>
                      </a:lnTo>
                      <a:lnTo>
                        <a:pt x="313659" y="141088"/>
                      </a:lnTo>
                      <a:lnTo>
                        <a:pt x="316030" y="145163"/>
                      </a:lnTo>
                      <a:lnTo>
                        <a:pt x="316454" y="146442"/>
                      </a:lnTo>
                      <a:lnTo>
                        <a:pt x="315721" y="148366"/>
                      </a:lnTo>
                      <a:lnTo>
                        <a:pt x="315786" y="149735"/>
                      </a:lnTo>
                      <a:lnTo>
                        <a:pt x="317025" y="151389"/>
                      </a:lnTo>
                      <a:lnTo>
                        <a:pt x="318516" y="151756"/>
                      </a:lnTo>
                      <a:lnTo>
                        <a:pt x="319967" y="151071"/>
                      </a:lnTo>
                      <a:lnTo>
                        <a:pt x="321768" y="151137"/>
                      </a:lnTo>
                      <a:lnTo>
                        <a:pt x="322941" y="151577"/>
                      </a:lnTo>
                      <a:lnTo>
                        <a:pt x="323430" y="152066"/>
                      </a:lnTo>
                      <a:lnTo>
                        <a:pt x="323512" y="153321"/>
                      </a:lnTo>
                      <a:lnTo>
                        <a:pt x="322770" y="156002"/>
                      </a:lnTo>
                      <a:lnTo>
                        <a:pt x="321703" y="157730"/>
                      </a:lnTo>
                      <a:lnTo>
                        <a:pt x="316968" y="160378"/>
                      </a:lnTo>
                      <a:lnTo>
                        <a:pt x="314857" y="161911"/>
                      </a:lnTo>
                      <a:lnTo>
                        <a:pt x="313691" y="163052"/>
                      </a:lnTo>
                      <a:lnTo>
                        <a:pt x="311141" y="162441"/>
                      </a:lnTo>
                      <a:lnTo>
                        <a:pt x="309837" y="162481"/>
                      </a:lnTo>
                      <a:lnTo>
                        <a:pt x="308834" y="163353"/>
                      </a:lnTo>
                      <a:lnTo>
                        <a:pt x="308231" y="164103"/>
                      </a:lnTo>
                      <a:lnTo>
                        <a:pt x="306520" y="164290"/>
                      </a:lnTo>
                      <a:lnTo>
                        <a:pt x="304099" y="164747"/>
                      </a:lnTo>
                      <a:lnTo>
                        <a:pt x="303080" y="165252"/>
                      </a:lnTo>
                      <a:lnTo>
                        <a:pt x="302298" y="166564"/>
                      </a:lnTo>
                      <a:lnTo>
                        <a:pt x="301646" y="168439"/>
                      </a:lnTo>
                      <a:lnTo>
                        <a:pt x="302192" y="170696"/>
                      </a:lnTo>
                      <a:lnTo>
                        <a:pt x="302942" y="172709"/>
                      </a:lnTo>
                      <a:lnTo>
                        <a:pt x="302917" y="174551"/>
                      </a:lnTo>
                      <a:lnTo>
                        <a:pt x="303504" y="179677"/>
                      </a:lnTo>
                      <a:lnTo>
                        <a:pt x="302738" y="180875"/>
                      </a:lnTo>
                      <a:lnTo>
                        <a:pt x="301116" y="182236"/>
                      </a:lnTo>
                      <a:lnTo>
                        <a:pt x="299177" y="184624"/>
                      </a:lnTo>
                      <a:lnTo>
                        <a:pt x="297001" y="187949"/>
                      </a:lnTo>
                      <a:lnTo>
                        <a:pt x="297343" y="188903"/>
                      </a:lnTo>
                      <a:lnTo>
                        <a:pt x="302542" y="195887"/>
                      </a:lnTo>
                      <a:lnTo>
                        <a:pt x="307832" y="202993"/>
                      </a:lnTo>
                      <a:lnTo>
                        <a:pt x="313088" y="210059"/>
                      </a:lnTo>
                      <a:lnTo>
                        <a:pt x="313838" y="210369"/>
                      </a:lnTo>
                      <a:lnTo>
                        <a:pt x="314832" y="211184"/>
                      </a:lnTo>
                      <a:lnTo>
                        <a:pt x="315745" y="213661"/>
                      </a:lnTo>
                      <a:lnTo>
                        <a:pt x="316495" y="216286"/>
                      </a:lnTo>
                      <a:lnTo>
                        <a:pt x="316511" y="217647"/>
                      </a:lnTo>
                      <a:lnTo>
                        <a:pt x="315924" y="219342"/>
                      </a:lnTo>
                      <a:lnTo>
                        <a:pt x="314645" y="221306"/>
                      </a:lnTo>
                      <a:lnTo>
                        <a:pt x="313096" y="222895"/>
                      </a:lnTo>
                      <a:lnTo>
                        <a:pt x="310823" y="224248"/>
                      </a:lnTo>
                      <a:lnTo>
                        <a:pt x="309013" y="225519"/>
                      </a:lnTo>
                      <a:lnTo>
                        <a:pt x="307522" y="228885"/>
                      </a:lnTo>
                      <a:lnTo>
                        <a:pt x="306617" y="230067"/>
                      </a:lnTo>
                      <a:lnTo>
                        <a:pt x="305786" y="230548"/>
                      </a:lnTo>
                      <a:lnTo>
                        <a:pt x="304140" y="230980"/>
                      </a:lnTo>
                      <a:lnTo>
                        <a:pt x="301483" y="230882"/>
                      </a:lnTo>
                      <a:lnTo>
                        <a:pt x="299731" y="230621"/>
                      </a:lnTo>
                      <a:lnTo>
                        <a:pt x="297563" y="233139"/>
                      </a:lnTo>
                      <a:lnTo>
                        <a:pt x="294792" y="234060"/>
                      </a:lnTo>
                      <a:lnTo>
                        <a:pt x="292934" y="237499"/>
                      </a:lnTo>
                      <a:lnTo>
                        <a:pt x="286325" y="240213"/>
                      </a:lnTo>
                      <a:lnTo>
                        <a:pt x="279854" y="242340"/>
                      </a:lnTo>
                      <a:lnTo>
                        <a:pt x="278085" y="243180"/>
                      </a:lnTo>
                      <a:lnTo>
                        <a:pt x="271696" y="241428"/>
                      </a:lnTo>
                      <a:lnTo>
                        <a:pt x="270164" y="241974"/>
                      </a:lnTo>
                      <a:lnTo>
                        <a:pt x="268387" y="243595"/>
                      </a:lnTo>
                      <a:lnTo>
                        <a:pt x="266757" y="244859"/>
                      </a:lnTo>
                      <a:lnTo>
                        <a:pt x="265380" y="244932"/>
                      </a:lnTo>
                      <a:lnTo>
                        <a:pt x="264214" y="245592"/>
                      </a:lnTo>
                      <a:lnTo>
                        <a:pt x="263522" y="247915"/>
                      </a:lnTo>
                      <a:lnTo>
                        <a:pt x="262910" y="255934"/>
                      </a:lnTo>
                      <a:lnTo>
                        <a:pt x="260620" y="258314"/>
                      </a:lnTo>
                      <a:lnTo>
                        <a:pt x="257857" y="258306"/>
                      </a:lnTo>
                      <a:lnTo>
                        <a:pt x="255959" y="255535"/>
                      </a:lnTo>
                      <a:lnTo>
                        <a:pt x="253701" y="253432"/>
                      </a:lnTo>
                      <a:lnTo>
                        <a:pt x="249773" y="248469"/>
                      </a:lnTo>
                      <a:lnTo>
                        <a:pt x="248681" y="247817"/>
                      </a:lnTo>
                      <a:lnTo>
                        <a:pt x="247662" y="247850"/>
                      </a:lnTo>
                      <a:lnTo>
                        <a:pt x="244019" y="249325"/>
                      </a:lnTo>
                      <a:lnTo>
                        <a:pt x="242292" y="248689"/>
                      </a:lnTo>
                      <a:lnTo>
                        <a:pt x="240898" y="247907"/>
                      </a:lnTo>
                      <a:lnTo>
                        <a:pt x="238567" y="248159"/>
                      </a:lnTo>
                      <a:lnTo>
                        <a:pt x="234403" y="248216"/>
                      </a:lnTo>
                      <a:lnTo>
                        <a:pt x="231754" y="248265"/>
                      </a:lnTo>
                      <a:lnTo>
                        <a:pt x="230466" y="246904"/>
                      </a:lnTo>
                      <a:lnTo>
                        <a:pt x="229268" y="244125"/>
                      </a:lnTo>
                      <a:lnTo>
                        <a:pt x="228461" y="243131"/>
                      </a:lnTo>
                      <a:lnTo>
                        <a:pt x="227516" y="242332"/>
                      </a:lnTo>
                      <a:lnTo>
                        <a:pt x="225943" y="241933"/>
                      </a:lnTo>
                      <a:lnTo>
                        <a:pt x="219252" y="241941"/>
                      </a:lnTo>
                      <a:lnTo>
                        <a:pt x="217989" y="241941"/>
                      </a:lnTo>
                      <a:lnTo>
                        <a:pt x="217068" y="241411"/>
                      </a:lnTo>
                      <a:lnTo>
                        <a:pt x="215780" y="239023"/>
                      </a:lnTo>
                      <a:lnTo>
                        <a:pt x="214370" y="237907"/>
                      </a:lnTo>
                      <a:lnTo>
                        <a:pt x="212724" y="237858"/>
                      </a:lnTo>
                      <a:lnTo>
                        <a:pt x="211999" y="239170"/>
                      </a:lnTo>
                      <a:lnTo>
                        <a:pt x="214859" y="243457"/>
                      </a:lnTo>
                      <a:lnTo>
                        <a:pt x="215699" y="245780"/>
                      </a:lnTo>
                      <a:lnTo>
                        <a:pt x="218201" y="249137"/>
                      </a:lnTo>
                      <a:lnTo>
                        <a:pt x="225462" y="256244"/>
                      </a:lnTo>
                      <a:lnTo>
                        <a:pt x="226807" y="258501"/>
                      </a:lnTo>
                      <a:lnTo>
                        <a:pt x="226660" y="261386"/>
                      </a:lnTo>
                      <a:lnTo>
                        <a:pt x="226620" y="265795"/>
                      </a:lnTo>
                      <a:lnTo>
                        <a:pt x="226864" y="269976"/>
                      </a:lnTo>
                      <a:lnTo>
                        <a:pt x="228730" y="275958"/>
                      </a:lnTo>
                      <a:lnTo>
                        <a:pt x="231355" y="282046"/>
                      </a:lnTo>
                      <a:lnTo>
                        <a:pt x="232072" y="285933"/>
                      </a:lnTo>
                      <a:lnTo>
                        <a:pt x="231583" y="288810"/>
                      </a:lnTo>
                      <a:lnTo>
                        <a:pt x="231086" y="290334"/>
                      </a:lnTo>
                      <a:lnTo>
                        <a:pt x="231135" y="291011"/>
                      </a:lnTo>
                      <a:lnTo>
                        <a:pt x="231672" y="291630"/>
                      </a:lnTo>
                      <a:lnTo>
                        <a:pt x="234174" y="292510"/>
                      </a:lnTo>
                      <a:lnTo>
                        <a:pt x="239431" y="293064"/>
                      </a:lnTo>
                      <a:lnTo>
                        <a:pt x="242601" y="293064"/>
                      </a:lnTo>
                      <a:lnTo>
                        <a:pt x="247450" y="293724"/>
                      </a:lnTo>
                      <a:lnTo>
                        <a:pt x="247809" y="295868"/>
                      </a:lnTo>
                      <a:lnTo>
                        <a:pt x="247328" y="299405"/>
                      </a:lnTo>
                      <a:lnTo>
                        <a:pt x="246374" y="301410"/>
                      </a:lnTo>
                      <a:lnTo>
                        <a:pt x="245600" y="301996"/>
                      </a:lnTo>
                      <a:lnTo>
                        <a:pt x="242960" y="302461"/>
                      </a:lnTo>
                      <a:lnTo>
                        <a:pt x="240189" y="304621"/>
                      </a:lnTo>
                      <a:lnTo>
                        <a:pt x="236155" y="306764"/>
                      </a:lnTo>
                      <a:lnTo>
                        <a:pt x="233857" y="307057"/>
                      </a:lnTo>
                      <a:lnTo>
                        <a:pt x="232903" y="307473"/>
                      </a:lnTo>
                      <a:lnTo>
                        <a:pt x="232088" y="308117"/>
                      </a:lnTo>
                      <a:lnTo>
                        <a:pt x="231420" y="308932"/>
                      </a:lnTo>
                      <a:lnTo>
                        <a:pt x="230629" y="312941"/>
                      </a:lnTo>
                      <a:lnTo>
                        <a:pt x="229439" y="317473"/>
                      </a:lnTo>
                      <a:lnTo>
                        <a:pt x="227206" y="320170"/>
                      </a:lnTo>
                      <a:lnTo>
                        <a:pt x="224753" y="322387"/>
                      </a:lnTo>
                      <a:lnTo>
                        <a:pt x="222243" y="322640"/>
                      </a:lnTo>
                      <a:lnTo>
                        <a:pt x="220238" y="322460"/>
                      </a:lnTo>
                      <a:lnTo>
                        <a:pt x="219236" y="323120"/>
                      </a:lnTo>
                      <a:lnTo>
                        <a:pt x="217793" y="324946"/>
                      </a:lnTo>
                      <a:lnTo>
                        <a:pt x="215732" y="327228"/>
                      </a:lnTo>
                      <a:lnTo>
                        <a:pt x="214142" y="328442"/>
                      </a:lnTo>
                      <a:lnTo>
                        <a:pt x="211999" y="328328"/>
                      </a:lnTo>
                      <a:lnTo>
                        <a:pt x="209717" y="329445"/>
                      </a:lnTo>
                      <a:lnTo>
                        <a:pt x="206832" y="331287"/>
                      </a:lnTo>
                      <a:lnTo>
                        <a:pt x="204917" y="332794"/>
                      </a:lnTo>
                      <a:lnTo>
                        <a:pt x="203287" y="335370"/>
                      </a:lnTo>
                      <a:lnTo>
                        <a:pt x="200940" y="338075"/>
                      </a:lnTo>
                      <a:lnTo>
                        <a:pt x="198544" y="339966"/>
                      </a:lnTo>
                      <a:lnTo>
                        <a:pt x="197395" y="342305"/>
                      </a:lnTo>
                      <a:lnTo>
                        <a:pt x="195748" y="345280"/>
                      </a:lnTo>
                      <a:lnTo>
                        <a:pt x="193703" y="345377"/>
                      </a:lnTo>
                      <a:lnTo>
                        <a:pt x="193540" y="343593"/>
                      </a:lnTo>
                      <a:lnTo>
                        <a:pt x="194526" y="340716"/>
                      </a:lnTo>
                      <a:lnTo>
                        <a:pt x="193458" y="338246"/>
                      </a:lnTo>
                      <a:lnTo>
                        <a:pt x="191502" y="336918"/>
                      </a:lnTo>
                      <a:lnTo>
                        <a:pt x="190590" y="336527"/>
                      </a:lnTo>
                      <a:lnTo>
                        <a:pt x="189677" y="336698"/>
                      </a:lnTo>
                      <a:lnTo>
                        <a:pt x="187362" y="337912"/>
                      </a:lnTo>
                      <a:lnTo>
                        <a:pt x="184526" y="340137"/>
                      </a:lnTo>
                      <a:lnTo>
                        <a:pt x="182774" y="341726"/>
                      </a:lnTo>
                      <a:lnTo>
                        <a:pt x="181193" y="342460"/>
                      </a:lnTo>
                      <a:lnTo>
                        <a:pt x="177941" y="343128"/>
                      </a:lnTo>
                      <a:lnTo>
                        <a:pt x="175203" y="343462"/>
                      </a:lnTo>
                      <a:lnTo>
                        <a:pt x="174078" y="343006"/>
                      </a:lnTo>
                      <a:lnTo>
                        <a:pt x="172041" y="341368"/>
                      </a:lnTo>
                      <a:lnTo>
                        <a:pt x="167330" y="336274"/>
                      </a:lnTo>
                      <a:lnTo>
                        <a:pt x="160957" y="329363"/>
                      </a:lnTo>
                      <a:lnTo>
                        <a:pt x="160476" y="327358"/>
                      </a:lnTo>
                      <a:lnTo>
                        <a:pt x="160745" y="325313"/>
                      </a:lnTo>
                      <a:lnTo>
                        <a:pt x="159588" y="322322"/>
                      </a:lnTo>
                      <a:lnTo>
                        <a:pt x="158912" y="319144"/>
                      </a:lnTo>
                      <a:lnTo>
                        <a:pt x="158341" y="318043"/>
                      </a:lnTo>
                      <a:lnTo>
                        <a:pt x="158170" y="315664"/>
                      </a:lnTo>
                      <a:lnTo>
                        <a:pt x="156793" y="311377"/>
                      </a:lnTo>
                      <a:lnTo>
                        <a:pt x="155660" y="307873"/>
                      </a:lnTo>
                      <a:lnTo>
                        <a:pt x="154617" y="306088"/>
                      </a:lnTo>
                      <a:lnTo>
                        <a:pt x="155057" y="304572"/>
                      </a:lnTo>
                      <a:lnTo>
                        <a:pt x="154617" y="303056"/>
                      </a:lnTo>
                      <a:lnTo>
                        <a:pt x="153769" y="301817"/>
                      </a:lnTo>
                      <a:lnTo>
                        <a:pt x="152539" y="297832"/>
                      </a:lnTo>
                      <a:lnTo>
                        <a:pt x="152979" y="296120"/>
                      </a:lnTo>
                      <a:lnTo>
                        <a:pt x="152645" y="294409"/>
                      </a:lnTo>
                      <a:lnTo>
                        <a:pt x="151609" y="293227"/>
                      </a:lnTo>
                      <a:lnTo>
                        <a:pt x="150126" y="291964"/>
                      </a:lnTo>
                      <a:lnTo>
                        <a:pt x="148154" y="289316"/>
                      </a:lnTo>
                      <a:lnTo>
                        <a:pt x="145807" y="286805"/>
                      </a:lnTo>
                      <a:lnTo>
                        <a:pt x="144601" y="285819"/>
                      </a:lnTo>
                      <a:lnTo>
                        <a:pt x="143778" y="285428"/>
                      </a:lnTo>
                      <a:lnTo>
                        <a:pt x="143069" y="283048"/>
                      </a:lnTo>
                      <a:lnTo>
                        <a:pt x="142523" y="282323"/>
                      </a:lnTo>
                      <a:lnTo>
                        <a:pt x="141325" y="282127"/>
                      </a:lnTo>
                      <a:lnTo>
                        <a:pt x="138863" y="281133"/>
                      </a:lnTo>
                      <a:lnTo>
                        <a:pt x="136557" y="282323"/>
                      </a:lnTo>
                      <a:lnTo>
                        <a:pt x="136508" y="280473"/>
                      </a:lnTo>
                      <a:lnTo>
                        <a:pt x="137168" y="279356"/>
                      </a:lnTo>
                      <a:lnTo>
                        <a:pt x="145098" y="270530"/>
                      </a:lnTo>
                      <a:lnTo>
                        <a:pt x="149099" y="266472"/>
                      </a:lnTo>
                      <a:lnTo>
                        <a:pt x="149531" y="265869"/>
                      </a:lnTo>
                      <a:lnTo>
                        <a:pt x="149873" y="264931"/>
                      </a:lnTo>
                      <a:lnTo>
                        <a:pt x="150151" y="263684"/>
                      </a:lnTo>
                      <a:lnTo>
                        <a:pt x="149246" y="262242"/>
                      </a:lnTo>
                      <a:lnTo>
                        <a:pt x="145505" y="255429"/>
                      </a:lnTo>
                      <a:lnTo>
                        <a:pt x="144201" y="254149"/>
                      </a:lnTo>
                      <a:lnTo>
                        <a:pt x="142930" y="253106"/>
                      </a:lnTo>
                      <a:lnTo>
                        <a:pt x="141463" y="250246"/>
                      </a:lnTo>
                      <a:lnTo>
                        <a:pt x="139711" y="243587"/>
                      </a:lnTo>
                      <a:lnTo>
                        <a:pt x="138448" y="240238"/>
                      </a:lnTo>
                      <a:lnTo>
                        <a:pt x="138065" y="237679"/>
                      </a:lnTo>
                      <a:lnTo>
                        <a:pt x="138146" y="234777"/>
                      </a:lnTo>
                      <a:lnTo>
                        <a:pt x="137681" y="232544"/>
                      </a:lnTo>
                      <a:lnTo>
                        <a:pt x="136663" y="230996"/>
                      </a:lnTo>
                      <a:lnTo>
                        <a:pt x="136663" y="226245"/>
                      </a:lnTo>
                      <a:lnTo>
                        <a:pt x="137681" y="218282"/>
                      </a:lnTo>
                      <a:lnTo>
                        <a:pt x="137934" y="212227"/>
                      </a:lnTo>
                      <a:lnTo>
                        <a:pt x="137421" y="208087"/>
                      </a:lnTo>
                      <a:lnTo>
                        <a:pt x="138325" y="204933"/>
                      </a:lnTo>
                      <a:lnTo>
                        <a:pt x="140656" y="202773"/>
                      </a:lnTo>
                      <a:lnTo>
                        <a:pt x="141952" y="199432"/>
                      </a:lnTo>
                      <a:lnTo>
                        <a:pt x="142221" y="194909"/>
                      </a:lnTo>
                      <a:lnTo>
                        <a:pt x="143615" y="191193"/>
                      </a:lnTo>
                      <a:lnTo>
                        <a:pt x="146133" y="188291"/>
                      </a:lnTo>
                      <a:lnTo>
                        <a:pt x="146989" y="185423"/>
                      </a:lnTo>
                      <a:lnTo>
                        <a:pt x="146190" y="182595"/>
                      </a:lnTo>
                      <a:lnTo>
                        <a:pt x="145929" y="180769"/>
                      </a:lnTo>
                      <a:lnTo>
                        <a:pt x="143794" y="178919"/>
                      </a:lnTo>
                      <a:lnTo>
                        <a:pt x="139849" y="177623"/>
                      </a:lnTo>
                      <a:lnTo>
                        <a:pt x="136573" y="177477"/>
                      </a:lnTo>
                      <a:lnTo>
                        <a:pt x="134601" y="178919"/>
                      </a:lnTo>
                      <a:lnTo>
                        <a:pt x="129532" y="180256"/>
                      </a:lnTo>
                      <a:lnTo>
                        <a:pt x="121382" y="181478"/>
                      </a:lnTo>
                      <a:lnTo>
                        <a:pt x="114821" y="181470"/>
                      </a:lnTo>
                      <a:lnTo>
                        <a:pt x="109842" y="180231"/>
                      </a:lnTo>
                      <a:lnTo>
                        <a:pt x="106052" y="180647"/>
                      </a:lnTo>
                      <a:lnTo>
                        <a:pt x="103453" y="182717"/>
                      </a:lnTo>
                      <a:lnTo>
                        <a:pt x="101627" y="183181"/>
                      </a:lnTo>
                      <a:lnTo>
                        <a:pt x="100568" y="182041"/>
                      </a:lnTo>
                      <a:lnTo>
                        <a:pt x="99419" y="181731"/>
                      </a:lnTo>
                      <a:lnTo>
                        <a:pt x="97683" y="182448"/>
                      </a:lnTo>
                      <a:lnTo>
                        <a:pt x="97381" y="182122"/>
                      </a:lnTo>
                      <a:lnTo>
                        <a:pt x="93526" y="176515"/>
                      </a:lnTo>
                      <a:lnTo>
                        <a:pt x="89948" y="171315"/>
                      </a:lnTo>
                      <a:lnTo>
                        <a:pt x="85857" y="165138"/>
                      </a:lnTo>
                      <a:lnTo>
                        <a:pt x="81123" y="157999"/>
                      </a:lnTo>
                      <a:lnTo>
                        <a:pt x="80275" y="157526"/>
                      </a:lnTo>
                      <a:lnTo>
                        <a:pt x="78816" y="157575"/>
                      </a:lnTo>
                      <a:lnTo>
                        <a:pt x="76876" y="157697"/>
                      </a:lnTo>
                      <a:lnTo>
                        <a:pt x="73869" y="156956"/>
                      </a:lnTo>
                      <a:lnTo>
                        <a:pt x="71807" y="155921"/>
                      </a:lnTo>
                      <a:lnTo>
                        <a:pt x="70194" y="154918"/>
                      </a:lnTo>
                      <a:lnTo>
                        <a:pt x="67227" y="153647"/>
                      </a:lnTo>
                      <a:lnTo>
                        <a:pt x="65190" y="153435"/>
                      </a:lnTo>
                      <a:lnTo>
                        <a:pt x="63364" y="153802"/>
                      </a:lnTo>
                      <a:lnTo>
                        <a:pt x="58336" y="156304"/>
                      </a:lnTo>
                      <a:lnTo>
                        <a:pt x="55475" y="156540"/>
                      </a:lnTo>
                      <a:lnTo>
                        <a:pt x="53267" y="156589"/>
                      </a:lnTo>
                      <a:lnTo>
                        <a:pt x="47334" y="155350"/>
                      </a:lnTo>
                      <a:lnTo>
                        <a:pt x="43267" y="155155"/>
                      </a:lnTo>
                      <a:lnTo>
                        <a:pt x="38540" y="155970"/>
                      </a:lnTo>
                      <a:lnTo>
                        <a:pt x="36519" y="156434"/>
                      </a:lnTo>
                      <a:lnTo>
                        <a:pt x="33691" y="155163"/>
                      </a:lnTo>
                      <a:lnTo>
                        <a:pt x="31768" y="153231"/>
                      </a:lnTo>
                      <a:lnTo>
                        <a:pt x="29967" y="148643"/>
                      </a:lnTo>
                      <a:lnTo>
                        <a:pt x="28703" y="145016"/>
                      </a:lnTo>
                      <a:lnTo>
                        <a:pt x="26503" y="144283"/>
                      </a:lnTo>
                      <a:lnTo>
                        <a:pt x="24066" y="143672"/>
                      </a:lnTo>
                      <a:lnTo>
                        <a:pt x="22868" y="142474"/>
                      </a:lnTo>
                      <a:lnTo>
                        <a:pt x="22151" y="140387"/>
                      </a:lnTo>
                      <a:lnTo>
                        <a:pt x="21980" y="137714"/>
                      </a:lnTo>
                      <a:lnTo>
                        <a:pt x="22232" y="133362"/>
                      </a:lnTo>
                      <a:lnTo>
                        <a:pt x="22469" y="131806"/>
                      </a:lnTo>
                      <a:lnTo>
                        <a:pt x="22803" y="127103"/>
                      </a:lnTo>
                      <a:lnTo>
                        <a:pt x="24156" y="124650"/>
                      </a:lnTo>
                      <a:lnTo>
                        <a:pt x="25003" y="123452"/>
                      </a:lnTo>
                      <a:lnTo>
                        <a:pt x="24840" y="121488"/>
                      </a:lnTo>
                      <a:lnTo>
                        <a:pt x="24188" y="117438"/>
                      </a:lnTo>
                      <a:lnTo>
                        <a:pt x="23536" y="114585"/>
                      </a:lnTo>
                      <a:lnTo>
                        <a:pt x="20831" y="111342"/>
                      </a:lnTo>
                      <a:lnTo>
                        <a:pt x="17367" y="107202"/>
                      </a:lnTo>
                      <a:lnTo>
                        <a:pt x="15876" y="100551"/>
                      </a:lnTo>
                      <a:lnTo>
                        <a:pt x="14115" y="92695"/>
                      </a:lnTo>
                      <a:lnTo>
                        <a:pt x="12738" y="91905"/>
                      </a:lnTo>
                      <a:lnTo>
                        <a:pt x="11442" y="92296"/>
                      </a:lnTo>
                      <a:lnTo>
                        <a:pt x="10057" y="91905"/>
                      </a:lnTo>
                      <a:lnTo>
                        <a:pt x="8842" y="88742"/>
                      </a:lnTo>
                      <a:lnTo>
                        <a:pt x="7628" y="88156"/>
                      </a:lnTo>
                      <a:lnTo>
                        <a:pt x="5680" y="89256"/>
                      </a:lnTo>
                      <a:lnTo>
                        <a:pt x="4287" y="90120"/>
                      </a:lnTo>
                      <a:lnTo>
                        <a:pt x="725" y="90918"/>
                      </a:lnTo>
                      <a:lnTo>
                        <a:pt x="0" y="90120"/>
                      </a:lnTo>
                      <a:lnTo>
                        <a:pt x="244" y="89133"/>
                      </a:lnTo>
                      <a:lnTo>
                        <a:pt x="1752" y="86265"/>
                      </a:lnTo>
                      <a:lnTo>
                        <a:pt x="3529" y="82606"/>
                      </a:lnTo>
                      <a:lnTo>
                        <a:pt x="5583" y="79256"/>
                      </a:lnTo>
                      <a:lnTo>
                        <a:pt x="7498" y="75833"/>
                      </a:lnTo>
                      <a:lnTo>
                        <a:pt x="8924" y="72190"/>
                      </a:lnTo>
                      <a:lnTo>
                        <a:pt x="9902" y="64929"/>
                      </a:lnTo>
                      <a:lnTo>
                        <a:pt x="10570" y="59925"/>
                      </a:lnTo>
                      <a:lnTo>
                        <a:pt x="12331" y="51001"/>
                      </a:lnTo>
                      <a:lnTo>
                        <a:pt x="15558" y="43878"/>
                      </a:lnTo>
                      <a:lnTo>
                        <a:pt x="16772" y="40594"/>
                      </a:lnTo>
                      <a:lnTo>
                        <a:pt x="19698" y="36323"/>
                      </a:lnTo>
                      <a:lnTo>
                        <a:pt x="21043" y="34009"/>
                      </a:lnTo>
                      <a:lnTo>
                        <a:pt x="22827" y="32175"/>
                      </a:lnTo>
                      <a:lnTo>
                        <a:pt x="27733" y="29697"/>
                      </a:lnTo>
                      <a:lnTo>
                        <a:pt x="33593" y="17440"/>
                      </a:lnTo>
                      <a:lnTo>
                        <a:pt x="34938" y="15484"/>
                      </a:lnTo>
                      <a:lnTo>
                        <a:pt x="40855" y="13659"/>
                      </a:lnTo>
                      <a:lnTo>
                        <a:pt x="45402" y="12233"/>
                      </a:lnTo>
                      <a:lnTo>
                        <a:pt x="48776" y="10733"/>
                      </a:lnTo>
                      <a:lnTo>
                        <a:pt x="49885" y="9934"/>
                      </a:lnTo>
                      <a:lnTo>
                        <a:pt x="50773" y="9568"/>
                      </a:lnTo>
                      <a:lnTo>
                        <a:pt x="50039" y="10986"/>
                      </a:lnTo>
                      <a:lnTo>
                        <a:pt x="48426" y="12795"/>
                      </a:lnTo>
                      <a:lnTo>
                        <a:pt x="46592" y="13895"/>
                      </a:lnTo>
                      <a:lnTo>
                        <a:pt x="37163" y="16658"/>
                      </a:lnTo>
                      <a:lnTo>
                        <a:pt x="36201" y="17245"/>
                      </a:lnTo>
                      <a:lnTo>
                        <a:pt x="34970" y="18394"/>
                      </a:lnTo>
                      <a:lnTo>
                        <a:pt x="34962" y="21034"/>
                      </a:lnTo>
                      <a:lnTo>
                        <a:pt x="35215" y="23096"/>
                      </a:lnTo>
                      <a:lnTo>
                        <a:pt x="37994" y="29877"/>
                      </a:lnTo>
                      <a:lnTo>
                        <a:pt x="39078" y="31548"/>
                      </a:lnTo>
                      <a:lnTo>
                        <a:pt x="42794" y="35223"/>
                      </a:lnTo>
                      <a:lnTo>
                        <a:pt x="41947" y="35728"/>
                      </a:lnTo>
                      <a:lnTo>
                        <a:pt x="40586" y="35794"/>
                      </a:lnTo>
                      <a:lnTo>
                        <a:pt x="41588" y="40602"/>
                      </a:lnTo>
                      <a:lnTo>
                        <a:pt x="43870" y="43903"/>
                      </a:lnTo>
                      <a:lnTo>
                        <a:pt x="43976" y="45981"/>
                      </a:lnTo>
                      <a:lnTo>
                        <a:pt x="42224" y="52435"/>
                      </a:lnTo>
                      <a:lnTo>
                        <a:pt x="39029" y="56290"/>
                      </a:lnTo>
                      <a:lnTo>
                        <a:pt x="36772" y="60789"/>
                      </a:lnTo>
                      <a:lnTo>
                        <a:pt x="35011" y="62573"/>
                      </a:lnTo>
                      <a:lnTo>
                        <a:pt x="31116" y="71400"/>
                      </a:lnTo>
                      <a:lnTo>
                        <a:pt x="34082" y="76648"/>
                      </a:lnTo>
                      <a:lnTo>
                        <a:pt x="34506" y="79313"/>
                      </a:lnTo>
                      <a:lnTo>
                        <a:pt x="37065" y="83103"/>
                      </a:lnTo>
                      <a:lnTo>
                        <a:pt x="38736" y="84342"/>
                      </a:lnTo>
                      <a:lnTo>
                        <a:pt x="39852" y="85874"/>
                      </a:lnTo>
                      <a:lnTo>
                        <a:pt x="39339" y="88449"/>
                      </a:lnTo>
                      <a:lnTo>
                        <a:pt x="40357" y="91953"/>
                      </a:lnTo>
                      <a:lnTo>
                        <a:pt x="41678" y="93803"/>
                      </a:lnTo>
                      <a:lnTo>
                        <a:pt x="43348" y="94537"/>
                      </a:lnTo>
                      <a:lnTo>
                        <a:pt x="45402" y="94529"/>
                      </a:lnTo>
                      <a:lnTo>
                        <a:pt x="51327" y="92198"/>
                      </a:lnTo>
                      <a:lnTo>
                        <a:pt x="52729" y="91147"/>
                      </a:lnTo>
                      <a:lnTo>
                        <a:pt x="53617" y="89280"/>
                      </a:lnTo>
                      <a:lnTo>
                        <a:pt x="56584" y="85491"/>
                      </a:lnTo>
                      <a:lnTo>
                        <a:pt x="56771" y="80585"/>
                      </a:lnTo>
                      <a:lnTo>
                        <a:pt x="57407" y="74700"/>
                      </a:lnTo>
                      <a:lnTo>
                        <a:pt x="56689" y="70862"/>
                      </a:lnTo>
                      <a:lnTo>
                        <a:pt x="53584" y="65385"/>
                      </a:lnTo>
                      <a:lnTo>
                        <a:pt x="52215" y="61490"/>
                      </a:lnTo>
                      <a:lnTo>
                        <a:pt x="49126" y="57871"/>
                      </a:lnTo>
                      <a:lnTo>
                        <a:pt x="47244" y="51661"/>
                      </a:lnTo>
                      <a:lnTo>
                        <a:pt x="46470" y="49738"/>
                      </a:lnTo>
                      <a:lnTo>
                        <a:pt x="45883" y="47056"/>
                      </a:lnTo>
                      <a:lnTo>
                        <a:pt x="45215" y="42322"/>
                      </a:lnTo>
                      <a:lnTo>
                        <a:pt x="47285" y="40594"/>
                      </a:lnTo>
                      <a:lnTo>
                        <a:pt x="47073" y="36715"/>
                      </a:lnTo>
                      <a:lnTo>
                        <a:pt x="52166" y="35647"/>
                      </a:lnTo>
                      <a:lnTo>
                        <a:pt x="63177" y="29331"/>
                      </a:lnTo>
                      <a:lnTo>
                        <a:pt x="69990" y="27733"/>
                      </a:lnTo>
                      <a:lnTo>
                        <a:pt x="77756" y="24359"/>
                      </a:lnTo>
                      <a:lnTo>
                        <a:pt x="79558" y="22689"/>
                      </a:lnTo>
                      <a:lnTo>
                        <a:pt x="81114" y="19918"/>
                      </a:lnTo>
                      <a:lnTo>
                        <a:pt x="82320" y="19600"/>
                      </a:lnTo>
                      <a:lnTo>
                        <a:pt x="86371" y="22200"/>
                      </a:lnTo>
                      <a:lnTo>
                        <a:pt x="88367" y="21303"/>
                      </a:lnTo>
                      <a:lnTo>
                        <a:pt x="89158" y="19274"/>
                      </a:lnTo>
                      <a:lnTo>
                        <a:pt x="88058" y="15322"/>
                      </a:lnTo>
                      <a:lnTo>
                        <a:pt x="85735" y="15322"/>
                      </a:lnTo>
                      <a:lnTo>
                        <a:pt x="78751" y="16756"/>
                      </a:lnTo>
                      <a:lnTo>
                        <a:pt x="78074" y="15061"/>
                      </a:lnTo>
                      <a:lnTo>
                        <a:pt x="78074" y="13569"/>
                      </a:lnTo>
                      <a:lnTo>
                        <a:pt x="76428" y="8851"/>
                      </a:lnTo>
                      <a:lnTo>
                        <a:pt x="77447" y="5289"/>
                      </a:lnTo>
                      <a:lnTo>
                        <a:pt x="78498" y="2412"/>
                      </a:lnTo>
                      <a:lnTo>
                        <a:pt x="80503" y="1255"/>
                      </a:lnTo>
                      <a:lnTo>
                        <a:pt x="83429" y="0"/>
                      </a:lnTo>
                      <a:lnTo>
                        <a:pt x="85646" y="1915"/>
                      </a:lnTo>
                      <a:lnTo>
                        <a:pt x="86998" y="3749"/>
                      </a:lnTo>
                      <a:lnTo>
                        <a:pt x="87724" y="5517"/>
                      </a:lnTo>
                      <a:lnTo>
                        <a:pt x="88221" y="10326"/>
                      </a:lnTo>
                      <a:lnTo>
                        <a:pt x="89419" y="15183"/>
                      </a:lnTo>
                      <a:close/>
                    </a:path>
                  </a:pathLst>
                </a:custGeom>
                <a:solidFill>
                  <a:srgbClr val="D6D6D2"/>
                </a:solidFill>
                <a:ln w="6112" cap="rnd">
                  <a:solidFill>
                    <a:srgbClr val="FFFFFF"/>
                  </a:solidFill>
                  <a:prstDash val="solid"/>
                  <a:round/>
                </a:ln>
              </p:spPr>
              <p:txBody>
                <a:bodyPr rtlCol="0" anchor="ctr"/>
                <a:lstStyle/>
                <a:p>
                  <a:endParaRPr lang="en-US"/>
                </a:p>
              </p:txBody>
            </p:sp>
            <p:sp>
              <p:nvSpPr>
                <p:cNvPr id="552" name="Freeform: Shape 551">
                  <a:extLst>
                    <a:ext uri="{FF2B5EF4-FFF2-40B4-BE49-F238E27FC236}">
                      <a16:creationId xmlns:a16="http://schemas.microsoft.com/office/drawing/2014/main" id="{F10CA973-7E36-4A47-AA4E-635BF3A916E8}"/>
                    </a:ext>
                  </a:extLst>
                </p:cNvPr>
                <p:cNvSpPr/>
                <p:nvPr/>
              </p:nvSpPr>
              <p:spPr>
                <a:xfrm>
                  <a:off x="7332061" y="3083925"/>
                  <a:ext cx="425546" cy="286960"/>
                </a:xfrm>
                <a:custGeom>
                  <a:avLst/>
                  <a:gdLst>
                    <a:gd name="connsiteX0" fmla="*/ 149067 w 425546"/>
                    <a:gd name="connsiteY0" fmla="*/ 72117 h 286960"/>
                    <a:gd name="connsiteX1" fmla="*/ 151096 w 425546"/>
                    <a:gd name="connsiteY1" fmla="*/ 72215 h 286960"/>
                    <a:gd name="connsiteX2" fmla="*/ 155212 w 425546"/>
                    <a:gd name="connsiteY2" fmla="*/ 71514 h 286960"/>
                    <a:gd name="connsiteX3" fmla="*/ 160697 w 425546"/>
                    <a:gd name="connsiteY3" fmla="*/ 70577 h 286960"/>
                    <a:gd name="connsiteX4" fmla="*/ 165049 w 425546"/>
                    <a:gd name="connsiteY4" fmla="*/ 69835 h 286960"/>
                    <a:gd name="connsiteX5" fmla="*/ 170297 w 425546"/>
                    <a:gd name="connsiteY5" fmla="*/ 68939 h 286960"/>
                    <a:gd name="connsiteX6" fmla="*/ 175292 w 425546"/>
                    <a:gd name="connsiteY6" fmla="*/ 68083 h 286960"/>
                    <a:gd name="connsiteX7" fmla="*/ 179245 w 425546"/>
                    <a:gd name="connsiteY7" fmla="*/ 67406 h 286960"/>
                    <a:gd name="connsiteX8" fmla="*/ 185146 w 425546"/>
                    <a:gd name="connsiteY8" fmla="*/ 67912 h 286960"/>
                    <a:gd name="connsiteX9" fmla="*/ 190965 w 425546"/>
                    <a:gd name="connsiteY9" fmla="*/ 68417 h 286960"/>
                    <a:gd name="connsiteX10" fmla="*/ 195145 w 425546"/>
                    <a:gd name="connsiteY10" fmla="*/ 68784 h 286960"/>
                    <a:gd name="connsiteX11" fmla="*/ 199245 w 425546"/>
                    <a:gd name="connsiteY11" fmla="*/ 69142 h 286960"/>
                    <a:gd name="connsiteX12" fmla="*/ 204094 w 425546"/>
                    <a:gd name="connsiteY12" fmla="*/ 69558 h 286960"/>
                    <a:gd name="connsiteX13" fmla="*/ 206816 w 425546"/>
                    <a:gd name="connsiteY13" fmla="*/ 69794 h 286960"/>
                    <a:gd name="connsiteX14" fmla="*/ 209913 w 425546"/>
                    <a:gd name="connsiteY14" fmla="*/ 70071 h 286960"/>
                    <a:gd name="connsiteX15" fmla="*/ 211225 w 425546"/>
                    <a:gd name="connsiteY15" fmla="*/ 69354 h 286960"/>
                    <a:gd name="connsiteX16" fmla="*/ 213906 w 425546"/>
                    <a:gd name="connsiteY16" fmla="*/ 67904 h 286960"/>
                    <a:gd name="connsiteX17" fmla="*/ 216433 w 425546"/>
                    <a:gd name="connsiteY17" fmla="*/ 66534 h 286960"/>
                    <a:gd name="connsiteX18" fmla="*/ 219056 w 425546"/>
                    <a:gd name="connsiteY18" fmla="*/ 65108 h 286960"/>
                    <a:gd name="connsiteX19" fmla="*/ 221379 w 425546"/>
                    <a:gd name="connsiteY19" fmla="*/ 64399 h 286960"/>
                    <a:gd name="connsiteX20" fmla="*/ 223808 w 425546"/>
                    <a:gd name="connsiteY20" fmla="*/ 66673 h 286960"/>
                    <a:gd name="connsiteX21" fmla="*/ 225829 w 425546"/>
                    <a:gd name="connsiteY21" fmla="*/ 69289 h 286960"/>
                    <a:gd name="connsiteX22" fmla="*/ 227964 w 425546"/>
                    <a:gd name="connsiteY22" fmla="*/ 72044 h 286960"/>
                    <a:gd name="connsiteX23" fmla="*/ 230442 w 425546"/>
                    <a:gd name="connsiteY23" fmla="*/ 74709 h 286960"/>
                    <a:gd name="connsiteX24" fmla="*/ 232814 w 425546"/>
                    <a:gd name="connsiteY24" fmla="*/ 76290 h 286960"/>
                    <a:gd name="connsiteX25" fmla="*/ 236041 w 425546"/>
                    <a:gd name="connsiteY25" fmla="*/ 78425 h 286960"/>
                    <a:gd name="connsiteX26" fmla="*/ 237899 w 425546"/>
                    <a:gd name="connsiteY26" fmla="*/ 82076 h 286960"/>
                    <a:gd name="connsiteX27" fmla="*/ 240360 w 425546"/>
                    <a:gd name="connsiteY27" fmla="*/ 86941 h 286960"/>
                    <a:gd name="connsiteX28" fmla="*/ 241982 w 425546"/>
                    <a:gd name="connsiteY28" fmla="*/ 90144 h 286960"/>
                    <a:gd name="connsiteX29" fmla="*/ 243652 w 425546"/>
                    <a:gd name="connsiteY29" fmla="*/ 93428 h 286960"/>
                    <a:gd name="connsiteX30" fmla="*/ 246081 w 425546"/>
                    <a:gd name="connsiteY30" fmla="*/ 92133 h 286960"/>
                    <a:gd name="connsiteX31" fmla="*/ 248681 w 425546"/>
                    <a:gd name="connsiteY31" fmla="*/ 90747 h 286960"/>
                    <a:gd name="connsiteX32" fmla="*/ 251020 w 425546"/>
                    <a:gd name="connsiteY32" fmla="*/ 89500 h 286960"/>
                    <a:gd name="connsiteX33" fmla="*/ 250735 w 425546"/>
                    <a:gd name="connsiteY33" fmla="*/ 93559 h 286960"/>
                    <a:gd name="connsiteX34" fmla="*/ 250482 w 425546"/>
                    <a:gd name="connsiteY34" fmla="*/ 97251 h 286960"/>
                    <a:gd name="connsiteX35" fmla="*/ 250091 w 425546"/>
                    <a:gd name="connsiteY35" fmla="*/ 102817 h 286960"/>
                    <a:gd name="connsiteX36" fmla="*/ 249773 w 425546"/>
                    <a:gd name="connsiteY36" fmla="*/ 107389 h 286960"/>
                    <a:gd name="connsiteX37" fmla="*/ 248925 w 425546"/>
                    <a:gd name="connsiteY37" fmla="*/ 112825 h 286960"/>
                    <a:gd name="connsiteX38" fmla="*/ 248860 w 425546"/>
                    <a:gd name="connsiteY38" fmla="*/ 116965 h 286960"/>
                    <a:gd name="connsiteX39" fmla="*/ 248820 w 425546"/>
                    <a:gd name="connsiteY39" fmla="*/ 120600 h 286960"/>
                    <a:gd name="connsiteX40" fmla="*/ 248770 w 425546"/>
                    <a:gd name="connsiteY40" fmla="*/ 123485 h 286960"/>
                    <a:gd name="connsiteX41" fmla="*/ 253326 w 425546"/>
                    <a:gd name="connsiteY41" fmla="*/ 123615 h 286960"/>
                    <a:gd name="connsiteX42" fmla="*/ 256692 w 425546"/>
                    <a:gd name="connsiteY42" fmla="*/ 123713 h 286960"/>
                    <a:gd name="connsiteX43" fmla="*/ 260914 w 425546"/>
                    <a:gd name="connsiteY43" fmla="*/ 123835 h 286960"/>
                    <a:gd name="connsiteX44" fmla="*/ 261321 w 425546"/>
                    <a:gd name="connsiteY44" fmla="*/ 127454 h 286960"/>
                    <a:gd name="connsiteX45" fmla="*/ 261883 w 425546"/>
                    <a:gd name="connsiteY45" fmla="*/ 132539 h 286960"/>
                    <a:gd name="connsiteX46" fmla="*/ 262747 w 425546"/>
                    <a:gd name="connsiteY46" fmla="*/ 137144 h 286960"/>
                    <a:gd name="connsiteX47" fmla="*/ 263456 w 425546"/>
                    <a:gd name="connsiteY47" fmla="*/ 141007 h 286960"/>
                    <a:gd name="connsiteX48" fmla="*/ 264548 w 425546"/>
                    <a:gd name="connsiteY48" fmla="*/ 145994 h 286960"/>
                    <a:gd name="connsiteX49" fmla="*/ 265127 w 425546"/>
                    <a:gd name="connsiteY49" fmla="*/ 148659 h 286960"/>
                    <a:gd name="connsiteX50" fmla="*/ 266146 w 425546"/>
                    <a:gd name="connsiteY50" fmla="*/ 151789 h 286960"/>
                    <a:gd name="connsiteX51" fmla="*/ 267132 w 425546"/>
                    <a:gd name="connsiteY51" fmla="*/ 152539 h 286960"/>
                    <a:gd name="connsiteX52" fmla="*/ 268729 w 425546"/>
                    <a:gd name="connsiteY52" fmla="*/ 153036 h 286960"/>
                    <a:gd name="connsiteX53" fmla="*/ 274304 w 425546"/>
                    <a:gd name="connsiteY53" fmla="*/ 152669 h 286960"/>
                    <a:gd name="connsiteX54" fmla="*/ 278924 w 425546"/>
                    <a:gd name="connsiteY54" fmla="*/ 152359 h 286960"/>
                    <a:gd name="connsiteX55" fmla="*/ 282560 w 425546"/>
                    <a:gd name="connsiteY55" fmla="*/ 152123 h 286960"/>
                    <a:gd name="connsiteX56" fmla="*/ 286430 w 425546"/>
                    <a:gd name="connsiteY56" fmla="*/ 151854 h 286960"/>
                    <a:gd name="connsiteX57" fmla="*/ 291565 w 425546"/>
                    <a:gd name="connsiteY57" fmla="*/ 151512 h 286960"/>
                    <a:gd name="connsiteX58" fmla="*/ 293309 w 425546"/>
                    <a:gd name="connsiteY58" fmla="*/ 152310 h 286960"/>
                    <a:gd name="connsiteX59" fmla="*/ 294816 w 425546"/>
                    <a:gd name="connsiteY59" fmla="*/ 151756 h 286960"/>
                    <a:gd name="connsiteX60" fmla="*/ 296552 w 425546"/>
                    <a:gd name="connsiteY60" fmla="*/ 151202 h 286960"/>
                    <a:gd name="connsiteX61" fmla="*/ 297938 w 425546"/>
                    <a:gd name="connsiteY61" fmla="*/ 153468 h 286960"/>
                    <a:gd name="connsiteX62" fmla="*/ 298639 w 425546"/>
                    <a:gd name="connsiteY62" fmla="*/ 154617 h 286960"/>
                    <a:gd name="connsiteX63" fmla="*/ 299625 w 425546"/>
                    <a:gd name="connsiteY63" fmla="*/ 155815 h 286960"/>
                    <a:gd name="connsiteX64" fmla="*/ 300953 w 425546"/>
                    <a:gd name="connsiteY64" fmla="*/ 156931 h 286960"/>
                    <a:gd name="connsiteX65" fmla="*/ 300391 w 425546"/>
                    <a:gd name="connsiteY65" fmla="*/ 159262 h 286960"/>
                    <a:gd name="connsiteX66" fmla="*/ 299568 w 425546"/>
                    <a:gd name="connsiteY66" fmla="*/ 162669 h 286960"/>
                    <a:gd name="connsiteX67" fmla="*/ 299332 w 425546"/>
                    <a:gd name="connsiteY67" fmla="*/ 164413 h 286960"/>
                    <a:gd name="connsiteX68" fmla="*/ 300937 w 425546"/>
                    <a:gd name="connsiteY68" fmla="*/ 166295 h 286960"/>
                    <a:gd name="connsiteX69" fmla="*/ 302127 w 425546"/>
                    <a:gd name="connsiteY69" fmla="*/ 167395 h 286960"/>
                    <a:gd name="connsiteX70" fmla="*/ 305387 w 425546"/>
                    <a:gd name="connsiteY70" fmla="*/ 169620 h 286960"/>
                    <a:gd name="connsiteX71" fmla="*/ 308443 w 425546"/>
                    <a:gd name="connsiteY71" fmla="*/ 170867 h 286960"/>
                    <a:gd name="connsiteX72" fmla="*/ 310439 w 425546"/>
                    <a:gd name="connsiteY72" fmla="*/ 171234 h 286960"/>
                    <a:gd name="connsiteX73" fmla="*/ 312355 w 425546"/>
                    <a:gd name="connsiteY73" fmla="*/ 170761 h 286960"/>
                    <a:gd name="connsiteX74" fmla="*/ 313039 w 425546"/>
                    <a:gd name="connsiteY74" fmla="*/ 169482 h 286960"/>
                    <a:gd name="connsiteX75" fmla="*/ 312868 w 425546"/>
                    <a:gd name="connsiteY75" fmla="*/ 167738 h 286960"/>
                    <a:gd name="connsiteX76" fmla="*/ 311956 w 425546"/>
                    <a:gd name="connsiteY76" fmla="*/ 165904 h 286960"/>
                    <a:gd name="connsiteX77" fmla="*/ 312029 w 425546"/>
                    <a:gd name="connsiteY77" fmla="*/ 163712 h 286960"/>
                    <a:gd name="connsiteX78" fmla="*/ 312640 w 425546"/>
                    <a:gd name="connsiteY78" fmla="*/ 162114 h 286960"/>
                    <a:gd name="connsiteX79" fmla="*/ 314588 w 425546"/>
                    <a:gd name="connsiteY79" fmla="*/ 159205 h 286960"/>
                    <a:gd name="connsiteX80" fmla="*/ 316438 w 425546"/>
                    <a:gd name="connsiteY80" fmla="*/ 156467 h 286960"/>
                    <a:gd name="connsiteX81" fmla="*/ 319266 w 425546"/>
                    <a:gd name="connsiteY81" fmla="*/ 153671 h 286960"/>
                    <a:gd name="connsiteX82" fmla="*/ 322623 w 425546"/>
                    <a:gd name="connsiteY82" fmla="*/ 150892 h 286960"/>
                    <a:gd name="connsiteX83" fmla="*/ 324041 w 425546"/>
                    <a:gd name="connsiteY83" fmla="*/ 148879 h 286960"/>
                    <a:gd name="connsiteX84" fmla="*/ 324563 w 425546"/>
                    <a:gd name="connsiteY84" fmla="*/ 145359 h 286960"/>
                    <a:gd name="connsiteX85" fmla="*/ 326763 w 425546"/>
                    <a:gd name="connsiteY85" fmla="*/ 143354 h 286960"/>
                    <a:gd name="connsiteX86" fmla="*/ 329143 w 425546"/>
                    <a:gd name="connsiteY86" fmla="*/ 142164 h 286960"/>
                    <a:gd name="connsiteX87" fmla="*/ 332094 w 425546"/>
                    <a:gd name="connsiteY87" fmla="*/ 141121 h 286960"/>
                    <a:gd name="connsiteX88" fmla="*/ 332900 w 425546"/>
                    <a:gd name="connsiteY88" fmla="*/ 139369 h 286960"/>
                    <a:gd name="connsiteX89" fmla="*/ 336975 w 425546"/>
                    <a:gd name="connsiteY89" fmla="*/ 136386 h 286960"/>
                    <a:gd name="connsiteX90" fmla="*/ 339428 w 425546"/>
                    <a:gd name="connsiteY90" fmla="*/ 134902 h 286960"/>
                    <a:gd name="connsiteX91" fmla="*/ 342501 w 425546"/>
                    <a:gd name="connsiteY91" fmla="*/ 134047 h 286960"/>
                    <a:gd name="connsiteX92" fmla="*/ 346771 w 425546"/>
                    <a:gd name="connsiteY92" fmla="*/ 132099 h 286960"/>
                    <a:gd name="connsiteX93" fmla="*/ 350129 w 425546"/>
                    <a:gd name="connsiteY93" fmla="*/ 129817 h 286960"/>
                    <a:gd name="connsiteX94" fmla="*/ 353364 w 425546"/>
                    <a:gd name="connsiteY94" fmla="*/ 125514 h 286960"/>
                    <a:gd name="connsiteX95" fmla="*/ 355907 w 425546"/>
                    <a:gd name="connsiteY95" fmla="*/ 122694 h 286960"/>
                    <a:gd name="connsiteX96" fmla="*/ 358075 w 425546"/>
                    <a:gd name="connsiteY96" fmla="*/ 120958 h 286960"/>
                    <a:gd name="connsiteX97" fmla="*/ 359884 w 425546"/>
                    <a:gd name="connsiteY97" fmla="*/ 120909 h 286960"/>
                    <a:gd name="connsiteX98" fmla="*/ 361155 w 425546"/>
                    <a:gd name="connsiteY98" fmla="*/ 122311 h 286960"/>
                    <a:gd name="connsiteX99" fmla="*/ 362247 w 425546"/>
                    <a:gd name="connsiteY99" fmla="*/ 122425 h 286960"/>
                    <a:gd name="connsiteX100" fmla="*/ 362973 w 425546"/>
                    <a:gd name="connsiteY100" fmla="*/ 121781 h 286960"/>
                    <a:gd name="connsiteX101" fmla="*/ 364179 w 425546"/>
                    <a:gd name="connsiteY101" fmla="*/ 119964 h 286960"/>
                    <a:gd name="connsiteX102" fmla="*/ 365491 w 425546"/>
                    <a:gd name="connsiteY102" fmla="*/ 117861 h 286960"/>
                    <a:gd name="connsiteX103" fmla="*/ 366714 w 425546"/>
                    <a:gd name="connsiteY103" fmla="*/ 116981 h 286960"/>
                    <a:gd name="connsiteX104" fmla="*/ 369093 w 425546"/>
                    <a:gd name="connsiteY104" fmla="*/ 116533 h 286960"/>
                    <a:gd name="connsiteX105" fmla="*/ 371237 w 425546"/>
                    <a:gd name="connsiteY105" fmla="*/ 115107 h 286960"/>
                    <a:gd name="connsiteX106" fmla="*/ 372035 w 425546"/>
                    <a:gd name="connsiteY106" fmla="*/ 114487 h 286960"/>
                    <a:gd name="connsiteX107" fmla="*/ 373453 w 425546"/>
                    <a:gd name="connsiteY107" fmla="*/ 113868 h 286960"/>
                    <a:gd name="connsiteX108" fmla="*/ 375784 w 425546"/>
                    <a:gd name="connsiteY108" fmla="*/ 115058 h 286960"/>
                    <a:gd name="connsiteX109" fmla="*/ 377838 w 425546"/>
                    <a:gd name="connsiteY109" fmla="*/ 116557 h 286960"/>
                    <a:gd name="connsiteX110" fmla="*/ 378327 w 425546"/>
                    <a:gd name="connsiteY110" fmla="*/ 117250 h 286960"/>
                    <a:gd name="connsiteX111" fmla="*/ 378221 w 425546"/>
                    <a:gd name="connsiteY111" fmla="*/ 118057 h 286960"/>
                    <a:gd name="connsiteX112" fmla="*/ 373356 w 425546"/>
                    <a:gd name="connsiteY112" fmla="*/ 120983 h 286960"/>
                    <a:gd name="connsiteX113" fmla="*/ 370332 w 425546"/>
                    <a:gd name="connsiteY113" fmla="*/ 122344 h 286960"/>
                    <a:gd name="connsiteX114" fmla="*/ 368995 w 425546"/>
                    <a:gd name="connsiteY114" fmla="*/ 122588 h 286960"/>
                    <a:gd name="connsiteX115" fmla="*/ 368629 w 425546"/>
                    <a:gd name="connsiteY115" fmla="*/ 122971 h 286960"/>
                    <a:gd name="connsiteX116" fmla="*/ 367683 w 425546"/>
                    <a:gd name="connsiteY116" fmla="*/ 126305 h 286960"/>
                    <a:gd name="connsiteX117" fmla="*/ 365809 w 425546"/>
                    <a:gd name="connsiteY117" fmla="*/ 126908 h 286960"/>
                    <a:gd name="connsiteX118" fmla="*/ 363413 w 425546"/>
                    <a:gd name="connsiteY118" fmla="*/ 127926 h 286960"/>
                    <a:gd name="connsiteX119" fmla="*/ 361726 w 425546"/>
                    <a:gd name="connsiteY119" fmla="*/ 129458 h 286960"/>
                    <a:gd name="connsiteX120" fmla="*/ 359036 w 425546"/>
                    <a:gd name="connsiteY120" fmla="*/ 133093 h 286960"/>
                    <a:gd name="connsiteX121" fmla="*/ 352248 w 425546"/>
                    <a:gd name="connsiteY121" fmla="*/ 138358 h 286960"/>
                    <a:gd name="connsiteX122" fmla="*/ 352150 w 425546"/>
                    <a:gd name="connsiteY122" fmla="*/ 139434 h 286960"/>
                    <a:gd name="connsiteX123" fmla="*/ 352737 w 425546"/>
                    <a:gd name="connsiteY123" fmla="*/ 140306 h 286960"/>
                    <a:gd name="connsiteX124" fmla="*/ 354945 w 425546"/>
                    <a:gd name="connsiteY124" fmla="*/ 140909 h 286960"/>
                    <a:gd name="connsiteX125" fmla="*/ 357863 w 425546"/>
                    <a:gd name="connsiteY125" fmla="*/ 142531 h 286960"/>
                    <a:gd name="connsiteX126" fmla="*/ 359436 w 425546"/>
                    <a:gd name="connsiteY126" fmla="*/ 143794 h 286960"/>
                    <a:gd name="connsiteX127" fmla="*/ 363763 w 425546"/>
                    <a:gd name="connsiteY127" fmla="*/ 142156 h 286960"/>
                    <a:gd name="connsiteX128" fmla="*/ 364831 w 425546"/>
                    <a:gd name="connsiteY128" fmla="*/ 142514 h 286960"/>
                    <a:gd name="connsiteX129" fmla="*/ 365964 w 425546"/>
                    <a:gd name="connsiteY129" fmla="*/ 144209 h 286960"/>
                    <a:gd name="connsiteX130" fmla="*/ 367153 w 425546"/>
                    <a:gd name="connsiteY130" fmla="*/ 148928 h 286960"/>
                    <a:gd name="connsiteX131" fmla="*/ 369093 w 425546"/>
                    <a:gd name="connsiteY131" fmla="*/ 150208 h 286960"/>
                    <a:gd name="connsiteX132" fmla="*/ 371628 w 425546"/>
                    <a:gd name="connsiteY132" fmla="*/ 151202 h 286960"/>
                    <a:gd name="connsiteX133" fmla="*/ 373200 w 425546"/>
                    <a:gd name="connsiteY133" fmla="*/ 151528 h 286960"/>
                    <a:gd name="connsiteX134" fmla="*/ 375303 w 425546"/>
                    <a:gd name="connsiteY134" fmla="*/ 152685 h 286960"/>
                    <a:gd name="connsiteX135" fmla="*/ 378099 w 425546"/>
                    <a:gd name="connsiteY135" fmla="*/ 153117 h 286960"/>
                    <a:gd name="connsiteX136" fmla="*/ 379965 w 425546"/>
                    <a:gd name="connsiteY136" fmla="*/ 152685 h 286960"/>
                    <a:gd name="connsiteX137" fmla="*/ 382304 w 425546"/>
                    <a:gd name="connsiteY137" fmla="*/ 153679 h 286960"/>
                    <a:gd name="connsiteX138" fmla="*/ 382679 w 425546"/>
                    <a:gd name="connsiteY138" fmla="*/ 153248 h 286960"/>
                    <a:gd name="connsiteX139" fmla="*/ 382989 w 425546"/>
                    <a:gd name="connsiteY139" fmla="*/ 146214 h 286960"/>
                    <a:gd name="connsiteX140" fmla="*/ 384953 w 425546"/>
                    <a:gd name="connsiteY140" fmla="*/ 147396 h 286960"/>
                    <a:gd name="connsiteX141" fmla="*/ 386086 w 425546"/>
                    <a:gd name="connsiteY141" fmla="*/ 147372 h 286960"/>
                    <a:gd name="connsiteX142" fmla="*/ 387079 w 425546"/>
                    <a:gd name="connsiteY142" fmla="*/ 146516 h 286960"/>
                    <a:gd name="connsiteX143" fmla="*/ 387585 w 425546"/>
                    <a:gd name="connsiteY143" fmla="*/ 145350 h 286960"/>
                    <a:gd name="connsiteX144" fmla="*/ 387919 w 425546"/>
                    <a:gd name="connsiteY144" fmla="*/ 143020 h 286960"/>
                    <a:gd name="connsiteX145" fmla="*/ 387487 w 425546"/>
                    <a:gd name="connsiteY145" fmla="*/ 140697 h 286960"/>
                    <a:gd name="connsiteX146" fmla="*/ 388359 w 425546"/>
                    <a:gd name="connsiteY146" fmla="*/ 139646 h 286960"/>
                    <a:gd name="connsiteX147" fmla="*/ 389036 w 425546"/>
                    <a:gd name="connsiteY147" fmla="*/ 139409 h 286960"/>
                    <a:gd name="connsiteX148" fmla="*/ 389541 w 425546"/>
                    <a:gd name="connsiteY148" fmla="*/ 139686 h 286960"/>
                    <a:gd name="connsiteX149" fmla="*/ 389843 w 425546"/>
                    <a:gd name="connsiteY149" fmla="*/ 140289 h 286960"/>
                    <a:gd name="connsiteX150" fmla="*/ 389924 w 425546"/>
                    <a:gd name="connsiteY150" fmla="*/ 142400 h 286960"/>
                    <a:gd name="connsiteX151" fmla="*/ 391342 w 425546"/>
                    <a:gd name="connsiteY151" fmla="*/ 143289 h 286960"/>
                    <a:gd name="connsiteX152" fmla="*/ 392198 w 425546"/>
                    <a:gd name="connsiteY152" fmla="*/ 143794 h 286960"/>
                    <a:gd name="connsiteX153" fmla="*/ 393037 w 425546"/>
                    <a:gd name="connsiteY153" fmla="*/ 145579 h 286960"/>
                    <a:gd name="connsiteX154" fmla="*/ 393836 w 425546"/>
                    <a:gd name="connsiteY154" fmla="*/ 147274 h 286960"/>
                    <a:gd name="connsiteX155" fmla="*/ 394341 w 425546"/>
                    <a:gd name="connsiteY155" fmla="*/ 151251 h 286960"/>
                    <a:gd name="connsiteX156" fmla="*/ 396330 w 425546"/>
                    <a:gd name="connsiteY156" fmla="*/ 151520 h 286960"/>
                    <a:gd name="connsiteX157" fmla="*/ 398652 w 425546"/>
                    <a:gd name="connsiteY157" fmla="*/ 152286 h 286960"/>
                    <a:gd name="connsiteX158" fmla="*/ 400217 w 425546"/>
                    <a:gd name="connsiteY158" fmla="*/ 151544 h 286960"/>
                    <a:gd name="connsiteX159" fmla="*/ 401423 w 425546"/>
                    <a:gd name="connsiteY159" fmla="*/ 151984 h 286960"/>
                    <a:gd name="connsiteX160" fmla="*/ 401830 w 425546"/>
                    <a:gd name="connsiteY160" fmla="*/ 153867 h 286960"/>
                    <a:gd name="connsiteX161" fmla="*/ 401830 w 425546"/>
                    <a:gd name="connsiteY161" fmla="*/ 155627 h 286960"/>
                    <a:gd name="connsiteX162" fmla="*/ 401994 w 425546"/>
                    <a:gd name="connsiteY162" fmla="*/ 157021 h 286960"/>
                    <a:gd name="connsiteX163" fmla="*/ 402637 w 425546"/>
                    <a:gd name="connsiteY163" fmla="*/ 157420 h 286960"/>
                    <a:gd name="connsiteX164" fmla="*/ 404667 w 425546"/>
                    <a:gd name="connsiteY164" fmla="*/ 156540 h 286960"/>
                    <a:gd name="connsiteX165" fmla="*/ 406386 w 425546"/>
                    <a:gd name="connsiteY165" fmla="*/ 156426 h 286960"/>
                    <a:gd name="connsiteX166" fmla="*/ 407943 w 425546"/>
                    <a:gd name="connsiteY166" fmla="*/ 157257 h 286960"/>
                    <a:gd name="connsiteX167" fmla="*/ 409899 w 425546"/>
                    <a:gd name="connsiteY167" fmla="*/ 158537 h 286960"/>
                    <a:gd name="connsiteX168" fmla="*/ 412743 w 425546"/>
                    <a:gd name="connsiteY168" fmla="*/ 161878 h 286960"/>
                    <a:gd name="connsiteX169" fmla="*/ 413681 w 425546"/>
                    <a:gd name="connsiteY169" fmla="*/ 162351 h 286960"/>
                    <a:gd name="connsiteX170" fmla="*/ 417951 w 425546"/>
                    <a:gd name="connsiteY170" fmla="*/ 162612 h 286960"/>
                    <a:gd name="connsiteX171" fmla="*/ 418839 w 425546"/>
                    <a:gd name="connsiteY171" fmla="*/ 163288 h 286960"/>
                    <a:gd name="connsiteX172" fmla="*/ 420314 w 425546"/>
                    <a:gd name="connsiteY172" fmla="*/ 163288 h 286960"/>
                    <a:gd name="connsiteX173" fmla="*/ 421895 w 425546"/>
                    <a:gd name="connsiteY173" fmla="*/ 162685 h 286960"/>
                    <a:gd name="connsiteX174" fmla="*/ 425424 w 425546"/>
                    <a:gd name="connsiteY174" fmla="*/ 163761 h 286960"/>
                    <a:gd name="connsiteX175" fmla="*/ 425546 w 425546"/>
                    <a:gd name="connsiteY175" fmla="*/ 164372 h 286960"/>
                    <a:gd name="connsiteX176" fmla="*/ 424960 w 425546"/>
                    <a:gd name="connsiteY176" fmla="*/ 165211 h 286960"/>
                    <a:gd name="connsiteX177" fmla="*/ 416549 w 425546"/>
                    <a:gd name="connsiteY177" fmla="*/ 169832 h 286960"/>
                    <a:gd name="connsiteX178" fmla="*/ 415921 w 425546"/>
                    <a:gd name="connsiteY178" fmla="*/ 171250 h 286960"/>
                    <a:gd name="connsiteX179" fmla="*/ 414210 w 425546"/>
                    <a:gd name="connsiteY179" fmla="*/ 173060 h 286960"/>
                    <a:gd name="connsiteX180" fmla="*/ 412344 w 425546"/>
                    <a:gd name="connsiteY180" fmla="*/ 174078 h 286960"/>
                    <a:gd name="connsiteX181" fmla="*/ 411439 w 425546"/>
                    <a:gd name="connsiteY181" fmla="*/ 174119 h 286960"/>
                    <a:gd name="connsiteX182" fmla="*/ 407323 w 425546"/>
                    <a:gd name="connsiteY182" fmla="*/ 172293 h 286960"/>
                    <a:gd name="connsiteX183" fmla="*/ 406851 w 425546"/>
                    <a:gd name="connsiteY183" fmla="*/ 172734 h 286960"/>
                    <a:gd name="connsiteX184" fmla="*/ 406509 w 425546"/>
                    <a:gd name="connsiteY184" fmla="*/ 173467 h 286960"/>
                    <a:gd name="connsiteX185" fmla="*/ 406525 w 425546"/>
                    <a:gd name="connsiteY185" fmla="*/ 174282 h 286960"/>
                    <a:gd name="connsiteX186" fmla="*/ 407421 w 425546"/>
                    <a:gd name="connsiteY186" fmla="*/ 176205 h 286960"/>
                    <a:gd name="connsiteX187" fmla="*/ 407006 w 425546"/>
                    <a:gd name="connsiteY187" fmla="*/ 177420 h 286960"/>
                    <a:gd name="connsiteX188" fmla="*/ 406223 w 425546"/>
                    <a:gd name="connsiteY188" fmla="*/ 178292 h 286960"/>
                    <a:gd name="connsiteX189" fmla="*/ 403648 w 425546"/>
                    <a:gd name="connsiteY189" fmla="*/ 177517 h 286960"/>
                    <a:gd name="connsiteX190" fmla="*/ 403167 w 425546"/>
                    <a:gd name="connsiteY190" fmla="*/ 177028 h 286960"/>
                    <a:gd name="connsiteX191" fmla="*/ 403126 w 425546"/>
                    <a:gd name="connsiteY191" fmla="*/ 176491 h 286960"/>
                    <a:gd name="connsiteX192" fmla="*/ 402140 w 425546"/>
                    <a:gd name="connsiteY192" fmla="*/ 176491 h 286960"/>
                    <a:gd name="connsiteX193" fmla="*/ 400608 w 425546"/>
                    <a:gd name="connsiteY193" fmla="*/ 177028 h 286960"/>
                    <a:gd name="connsiteX194" fmla="*/ 397675 w 425546"/>
                    <a:gd name="connsiteY194" fmla="*/ 180353 h 286960"/>
                    <a:gd name="connsiteX195" fmla="*/ 396639 w 425546"/>
                    <a:gd name="connsiteY195" fmla="*/ 182098 h 286960"/>
                    <a:gd name="connsiteX196" fmla="*/ 396248 w 425546"/>
                    <a:gd name="connsiteY196" fmla="*/ 183141 h 286960"/>
                    <a:gd name="connsiteX197" fmla="*/ 394944 w 425546"/>
                    <a:gd name="connsiteY197" fmla="*/ 183736 h 286960"/>
                    <a:gd name="connsiteX198" fmla="*/ 393518 w 425546"/>
                    <a:gd name="connsiteY198" fmla="*/ 183964 h 286960"/>
                    <a:gd name="connsiteX199" fmla="*/ 391717 w 425546"/>
                    <a:gd name="connsiteY199" fmla="*/ 185537 h 286960"/>
                    <a:gd name="connsiteX200" fmla="*/ 389728 w 425546"/>
                    <a:gd name="connsiteY200" fmla="*/ 186751 h 286960"/>
                    <a:gd name="connsiteX201" fmla="*/ 389093 w 425546"/>
                    <a:gd name="connsiteY201" fmla="*/ 185855 h 286960"/>
                    <a:gd name="connsiteX202" fmla="*/ 388693 w 425546"/>
                    <a:gd name="connsiteY202" fmla="*/ 184860 h 286960"/>
                    <a:gd name="connsiteX203" fmla="*/ 388172 w 425546"/>
                    <a:gd name="connsiteY203" fmla="*/ 184551 h 286960"/>
                    <a:gd name="connsiteX204" fmla="*/ 386958 w 425546"/>
                    <a:gd name="connsiteY204" fmla="*/ 184779 h 286960"/>
                    <a:gd name="connsiteX205" fmla="*/ 385458 w 425546"/>
                    <a:gd name="connsiteY205" fmla="*/ 184820 h 286960"/>
                    <a:gd name="connsiteX206" fmla="*/ 383909 w 425546"/>
                    <a:gd name="connsiteY206" fmla="*/ 183703 h 286960"/>
                    <a:gd name="connsiteX207" fmla="*/ 381888 w 425546"/>
                    <a:gd name="connsiteY207" fmla="*/ 182570 h 286960"/>
                    <a:gd name="connsiteX208" fmla="*/ 380112 w 425546"/>
                    <a:gd name="connsiteY208" fmla="*/ 182179 h 286960"/>
                    <a:gd name="connsiteX209" fmla="*/ 374896 w 425546"/>
                    <a:gd name="connsiteY209" fmla="*/ 182709 h 286960"/>
                    <a:gd name="connsiteX210" fmla="*/ 372321 w 425546"/>
                    <a:gd name="connsiteY210" fmla="*/ 183263 h 286960"/>
                    <a:gd name="connsiteX211" fmla="*/ 371514 w 425546"/>
                    <a:gd name="connsiteY211" fmla="*/ 183801 h 286960"/>
                    <a:gd name="connsiteX212" fmla="*/ 370063 w 425546"/>
                    <a:gd name="connsiteY212" fmla="*/ 183948 h 286960"/>
                    <a:gd name="connsiteX213" fmla="*/ 363951 w 425546"/>
                    <a:gd name="connsiteY213" fmla="*/ 185089 h 286960"/>
                    <a:gd name="connsiteX214" fmla="*/ 362695 w 425546"/>
                    <a:gd name="connsiteY214" fmla="*/ 184648 h 286960"/>
                    <a:gd name="connsiteX215" fmla="*/ 361783 w 425546"/>
                    <a:gd name="connsiteY215" fmla="*/ 182847 h 286960"/>
                    <a:gd name="connsiteX216" fmla="*/ 360984 w 425546"/>
                    <a:gd name="connsiteY216" fmla="*/ 180900 h 286960"/>
                    <a:gd name="connsiteX217" fmla="*/ 359411 w 425546"/>
                    <a:gd name="connsiteY217" fmla="*/ 180191 h 286960"/>
                    <a:gd name="connsiteX218" fmla="*/ 357635 w 425546"/>
                    <a:gd name="connsiteY218" fmla="*/ 179645 h 286960"/>
                    <a:gd name="connsiteX219" fmla="*/ 356966 w 425546"/>
                    <a:gd name="connsiteY219" fmla="*/ 178870 h 286960"/>
                    <a:gd name="connsiteX220" fmla="*/ 356917 w 425546"/>
                    <a:gd name="connsiteY220" fmla="*/ 177925 h 286960"/>
                    <a:gd name="connsiteX221" fmla="*/ 357097 w 425546"/>
                    <a:gd name="connsiteY221" fmla="*/ 176996 h 286960"/>
                    <a:gd name="connsiteX222" fmla="*/ 357244 w 425546"/>
                    <a:gd name="connsiteY222" fmla="*/ 176515 h 286960"/>
                    <a:gd name="connsiteX223" fmla="*/ 361359 w 425546"/>
                    <a:gd name="connsiteY223" fmla="*/ 172799 h 286960"/>
                    <a:gd name="connsiteX224" fmla="*/ 365076 w 425546"/>
                    <a:gd name="connsiteY224" fmla="*/ 169449 h 286960"/>
                    <a:gd name="connsiteX225" fmla="*/ 365409 w 425546"/>
                    <a:gd name="connsiteY225" fmla="*/ 169180 h 286960"/>
                    <a:gd name="connsiteX226" fmla="*/ 365752 w 425546"/>
                    <a:gd name="connsiteY226" fmla="*/ 168545 h 286960"/>
                    <a:gd name="connsiteX227" fmla="*/ 366379 w 425546"/>
                    <a:gd name="connsiteY227" fmla="*/ 167387 h 286960"/>
                    <a:gd name="connsiteX228" fmla="*/ 366379 w 425546"/>
                    <a:gd name="connsiteY228" fmla="*/ 166776 h 286960"/>
                    <a:gd name="connsiteX229" fmla="*/ 363608 w 425546"/>
                    <a:gd name="connsiteY229" fmla="*/ 165456 h 286960"/>
                    <a:gd name="connsiteX230" fmla="*/ 363486 w 425546"/>
                    <a:gd name="connsiteY230" fmla="*/ 164836 h 286960"/>
                    <a:gd name="connsiteX231" fmla="*/ 364048 w 425546"/>
                    <a:gd name="connsiteY231" fmla="*/ 164201 h 286960"/>
                    <a:gd name="connsiteX232" fmla="*/ 364048 w 425546"/>
                    <a:gd name="connsiteY232" fmla="*/ 163361 h 286960"/>
                    <a:gd name="connsiteX233" fmla="*/ 362085 w 425546"/>
                    <a:gd name="connsiteY233" fmla="*/ 160916 h 286960"/>
                    <a:gd name="connsiteX234" fmla="*/ 358694 w 425546"/>
                    <a:gd name="connsiteY234" fmla="*/ 157102 h 286960"/>
                    <a:gd name="connsiteX235" fmla="*/ 357716 w 425546"/>
                    <a:gd name="connsiteY235" fmla="*/ 156703 h 286960"/>
                    <a:gd name="connsiteX236" fmla="*/ 356991 w 425546"/>
                    <a:gd name="connsiteY236" fmla="*/ 156964 h 286960"/>
                    <a:gd name="connsiteX237" fmla="*/ 355654 w 425546"/>
                    <a:gd name="connsiteY237" fmla="*/ 160664 h 286960"/>
                    <a:gd name="connsiteX238" fmla="*/ 354986 w 425546"/>
                    <a:gd name="connsiteY238" fmla="*/ 161601 h 286960"/>
                    <a:gd name="connsiteX239" fmla="*/ 351123 w 425546"/>
                    <a:gd name="connsiteY239" fmla="*/ 164030 h 286960"/>
                    <a:gd name="connsiteX240" fmla="*/ 347888 w 425546"/>
                    <a:gd name="connsiteY240" fmla="*/ 165700 h 286960"/>
                    <a:gd name="connsiteX241" fmla="*/ 342126 w 425546"/>
                    <a:gd name="connsiteY241" fmla="*/ 168675 h 286960"/>
                    <a:gd name="connsiteX242" fmla="*/ 340626 w 425546"/>
                    <a:gd name="connsiteY242" fmla="*/ 169604 h 286960"/>
                    <a:gd name="connsiteX243" fmla="*/ 339583 w 425546"/>
                    <a:gd name="connsiteY243" fmla="*/ 169433 h 286960"/>
                    <a:gd name="connsiteX244" fmla="*/ 338523 w 425546"/>
                    <a:gd name="connsiteY244" fmla="*/ 168846 h 286960"/>
                    <a:gd name="connsiteX245" fmla="*/ 335296 w 425546"/>
                    <a:gd name="connsiteY245" fmla="*/ 165847 h 286960"/>
                    <a:gd name="connsiteX246" fmla="*/ 333202 w 425546"/>
                    <a:gd name="connsiteY246" fmla="*/ 164828 h 286960"/>
                    <a:gd name="connsiteX247" fmla="*/ 331792 w 425546"/>
                    <a:gd name="connsiteY247" fmla="*/ 165847 h 286960"/>
                    <a:gd name="connsiteX248" fmla="*/ 330602 w 425546"/>
                    <a:gd name="connsiteY248" fmla="*/ 167322 h 286960"/>
                    <a:gd name="connsiteX249" fmla="*/ 330716 w 425546"/>
                    <a:gd name="connsiteY249" fmla="*/ 170362 h 286960"/>
                    <a:gd name="connsiteX250" fmla="*/ 329380 w 425546"/>
                    <a:gd name="connsiteY250" fmla="*/ 171967 h 286960"/>
                    <a:gd name="connsiteX251" fmla="*/ 328051 w 425546"/>
                    <a:gd name="connsiteY251" fmla="*/ 172676 h 286960"/>
                    <a:gd name="connsiteX252" fmla="*/ 330480 w 425546"/>
                    <a:gd name="connsiteY252" fmla="*/ 180810 h 286960"/>
                    <a:gd name="connsiteX253" fmla="*/ 330235 w 425546"/>
                    <a:gd name="connsiteY253" fmla="*/ 181853 h 286960"/>
                    <a:gd name="connsiteX254" fmla="*/ 328377 w 425546"/>
                    <a:gd name="connsiteY254" fmla="*/ 182138 h 286960"/>
                    <a:gd name="connsiteX255" fmla="*/ 329746 w 425546"/>
                    <a:gd name="connsiteY255" fmla="*/ 185195 h 286960"/>
                    <a:gd name="connsiteX256" fmla="*/ 328589 w 425546"/>
                    <a:gd name="connsiteY256" fmla="*/ 185553 h 286960"/>
                    <a:gd name="connsiteX257" fmla="*/ 325671 w 425546"/>
                    <a:gd name="connsiteY257" fmla="*/ 184836 h 286960"/>
                    <a:gd name="connsiteX258" fmla="*/ 321743 w 425546"/>
                    <a:gd name="connsiteY258" fmla="*/ 184363 h 286960"/>
                    <a:gd name="connsiteX259" fmla="*/ 314319 w 425546"/>
                    <a:gd name="connsiteY259" fmla="*/ 185724 h 286960"/>
                    <a:gd name="connsiteX260" fmla="*/ 313781 w 425546"/>
                    <a:gd name="connsiteY260" fmla="*/ 186254 h 286960"/>
                    <a:gd name="connsiteX261" fmla="*/ 313577 w 425546"/>
                    <a:gd name="connsiteY261" fmla="*/ 186922 h 286960"/>
                    <a:gd name="connsiteX262" fmla="*/ 314017 w 425546"/>
                    <a:gd name="connsiteY262" fmla="*/ 187534 h 286960"/>
                    <a:gd name="connsiteX263" fmla="*/ 317603 w 425546"/>
                    <a:gd name="connsiteY263" fmla="*/ 187607 h 286960"/>
                    <a:gd name="connsiteX264" fmla="*/ 321132 w 425546"/>
                    <a:gd name="connsiteY264" fmla="*/ 187297 h 286960"/>
                    <a:gd name="connsiteX265" fmla="*/ 322110 w 425546"/>
                    <a:gd name="connsiteY265" fmla="*/ 187859 h 286960"/>
                    <a:gd name="connsiteX266" fmla="*/ 322257 w 425546"/>
                    <a:gd name="connsiteY266" fmla="*/ 188870 h 286960"/>
                    <a:gd name="connsiteX267" fmla="*/ 321841 w 425546"/>
                    <a:gd name="connsiteY267" fmla="*/ 189506 h 286960"/>
                    <a:gd name="connsiteX268" fmla="*/ 320676 w 425546"/>
                    <a:gd name="connsiteY268" fmla="*/ 189612 h 286960"/>
                    <a:gd name="connsiteX269" fmla="*/ 318109 w 425546"/>
                    <a:gd name="connsiteY269" fmla="*/ 190223 h 286960"/>
                    <a:gd name="connsiteX270" fmla="*/ 317807 w 425546"/>
                    <a:gd name="connsiteY270" fmla="*/ 190859 h 286960"/>
                    <a:gd name="connsiteX271" fmla="*/ 317717 w 425546"/>
                    <a:gd name="connsiteY271" fmla="*/ 191478 h 286960"/>
                    <a:gd name="connsiteX272" fmla="*/ 318581 w 425546"/>
                    <a:gd name="connsiteY272" fmla="*/ 193263 h 286960"/>
                    <a:gd name="connsiteX273" fmla="*/ 319567 w 425546"/>
                    <a:gd name="connsiteY273" fmla="*/ 194396 h 286960"/>
                    <a:gd name="connsiteX274" fmla="*/ 319682 w 425546"/>
                    <a:gd name="connsiteY274" fmla="*/ 195064 h 286960"/>
                    <a:gd name="connsiteX275" fmla="*/ 319282 w 425546"/>
                    <a:gd name="connsiteY275" fmla="*/ 195626 h 286960"/>
                    <a:gd name="connsiteX276" fmla="*/ 318785 w 425546"/>
                    <a:gd name="connsiteY276" fmla="*/ 195846 h 286960"/>
                    <a:gd name="connsiteX277" fmla="*/ 317929 w 425546"/>
                    <a:gd name="connsiteY277" fmla="*/ 195007 h 286960"/>
                    <a:gd name="connsiteX278" fmla="*/ 317432 w 425546"/>
                    <a:gd name="connsiteY278" fmla="*/ 195178 h 286960"/>
                    <a:gd name="connsiteX279" fmla="*/ 317187 w 425546"/>
                    <a:gd name="connsiteY279" fmla="*/ 195936 h 286960"/>
                    <a:gd name="connsiteX280" fmla="*/ 316943 w 425546"/>
                    <a:gd name="connsiteY280" fmla="*/ 196824 h 286960"/>
                    <a:gd name="connsiteX281" fmla="*/ 316381 w 425546"/>
                    <a:gd name="connsiteY281" fmla="*/ 197484 h 286960"/>
                    <a:gd name="connsiteX282" fmla="*/ 315183 w 425546"/>
                    <a:gd name="connsiteY282" fmla="*/ 197142 h 286960"/>
                    <a:gd name="connsiteX283" fmla="*/ 313993 w 425546"/>
                    <a:gd name="connsiteY283" fmla="*/ 197395 h 286960"/>
                    <a:gd name="connsiteX284" fmla="*/ 313276 w 425546"/>
                    <a:gd name="connsiteY284" fmla="*/ 200622 h 286960"/>
                    <a:gd name="connsiteX285" fmla="*/ 312681 w 425546"/>
                    <a:gd name="connsiteY285" fmla="*/ 204289 h 286960"/>
                    <a:gd name="connsiteX286" fmla="*/ 310709 w 425546"/>
                    <a:gd name="connsiteY286" fmla="*/ 206726 h 286960"/>
                    <a:gd name="connsiteX287" fmla="*/ 309633 w 425546"/>
                    <a:gd name="connsiteY287" fmla="*/ 207614 h 286960"/>
                    <a:gd name="connsiteX288" fmla="*/ 308043 w 425546"/>
                    <a:gd name="connsiteY288" fmla="*/ 207875 h 286960"/>
                    <a:gd name="connsiteX289" fmla="*/ 305664 w 425546"/>
                    <a:gd name="connsiteY289" fmla="*/ 207574 h 286960"/>
                    <a:gd name="connsiteX290" fmla="*/ 304221 w 425546"/>
                    <a:gd name="connsiteY290" fmla="*/ 207223 h 286960"/>
                    <a:gd name="connsiteX291" fmla="*/ 300057 w 425546"/>
                    <a:gd name="connsiteY291" fmla="*/ 206685 h 286960"/>
                    <a:gd name="connsiteX292" fmla="*/ 295868 w 425546"/>
                    <a:gd name="connsiteY292" fmla="*/ 205683 h 286960"/>
                    <a:gd name="connsiteX293" fmla="*/ 291173 w 425546"/>
                    <a:gd name="connsiteY293" fmla="*/ 204746 h 286960"/>
                    <a:gd name="connsiteX294" fmla="*/ 286797 w 425546"/>
                    <a:gd name="connsiteY294" fmla="*/ 206897 h 286960"/>
                    <a:gd name="connsiteX295" fmla="*/ 285542 w 425546"/>
                    <a:gd name="connsiteY295" fmla="*/ 208209 h 286960"/>
                    <a:gd name="connsiteX296" fmla="*/ 284735 w 425546"/>
                    <a:gd name="connsiteY296" fmla="*/ 209440 h 286960"/>
                    <a:gd name="connsiteX297" fmla="*/ 283904 w 425546"/>
                    <a:gd name="connsiteY297" fmla="*/ 210010 h 286960"/>
                    <a:gd name="connsiteX298" fmla="*/ 282005 w 425546"/>
                    <a:gd name="connsiteY298" fmla="*/ 217557 h 286960"/>
                    <a:gd name="connsiteX299" fmla="*/ 282201 w 425546"/>
                    <a:gd name="connsiteY299" fmla="*/ 218413 h 286960"/>
                    <a:gd name="connsiteX300" fmla="*/ 283260 w 425546"/>
                    <a:gd name="connsiteY300" fmla="*/ 219089 h 286960"/>
                    <a:gd name="connsiteX301" fmla="*/ 288623 w 425546"/>
                    <a:gd name="connsiteY301" fmla="*/ 220654 h 286960"/>
                    <a:gd name="connsiteX302" fmla="*/ 289414 w 425546"/>
                    <a:gd name="connsiteY302" fmla="*/ 221306 h 286960"/>
                    <a:gd name="connsiteX303" fmla="*/ 289886 w 425546"/>
                    <a:gd name="connsiteY303" fmla="*/ 222048 h 286960"/>
                    <a:gd name="connsiteX304" fmla="*/ 290114 w 425546"/>
                    <a:gd name="connsiteY304" fmla="*/ 225446 h 286960"/>
                    <a:gd name="connsiteX305" fmla="*/ 290563 w 425546"/>
                    <a:gd name="connsiteY305" fmla="*/ 225911 h 286960"/>
                    <a:gd name="connsiteX306" fmla="*/ 292404 w 425546"/>
                    <a:gd name="connsiteY306" fmla="*/ 226326 h 286960"/>
                    <a:gd name="connsiteX307" fmla="*/ 295061 w 425546"/>
                    <a:gd name="connsiteY307" fmla="*/ 226302 h 286960"/>
                    <a:gd name="connsiteX308" fmla="*/ 297147 w 425546"/>
                    <a:gd name="connsiteY308" fmla="*/ 225968 h 286960"/>
                    <a:gd name="connsiteX309" fmla="*/ 299250 w 425546"/>
                    <a:gd name="connsiteY309" fmla="*/ 226285 h 286960"/>
                    <a:gd name="connsiteX310" fmla="*/ 300717 w 425546"/>
                    <a:gd name="connsiteY310" fmla="*/ 227011 h 286960"/>
                    <a:gd name="connsiteX311" fmla="*/ 301442 w 425546"/>
                    <a:gd name="connsiteY311" fmla="*/ 228168 h 286960"/>
                    <a:gd name="connsiteX312" fmla="*/ 301834 w 425546"/>
                    <a:gd name="connsiteY312" fmla="*/ 229415 h 286960"/>
                    <a:gd name="connsiteX313" fmla="*/ 299340 w 425546"/>
                    <a:gd name="connsiteY313" fmla="*/ 236864 h 286960"/>
                    <a:gd name="connsiteX314" fmla="*/ 299535 w 425546"/>
                    <a:gd name="connsiteY314" fmla="*/ 239561 h 286960"/>
                    <a:gd name="connsiteX315" fmla="*/ 300310 w 425546"/>
                    <a:gd name="connsiteY315" fmla="*/ 243441 h 286960"/>
                    <a:gd name="connsiteX316" fmla="*/ 301728 w 425546"/>
                    <a:gd name="connsiteY316" fmla="*/ 246480 h 286960"/>
                    <a:gd name="connsiteX317" fmla="*/ 304384 w 425546"/>
                    <a:gd name="connsiteY317" fmla="*/ 249455 h 286960"/>
                    <a:gd name="connsiteX318" fmla="*/ 306414 w 425546"/>
                    <a:gd name="connsiteY318" fmla="*/ 251354 h 286960"/>
                    <a:gd name="connsiteX319" fmla="*/ 306846 w 425546"/>
                    <a:gd name="connsiteY319" fmla="*/ 252250 h 286960"/>
                    <a:gd name="connsiteX320" fmla="*/ 306943 w 425546"/>
                    <a:gd name="connsiteY320" fmla="*/ 253636 h 286960"/>
                    <a:gd name="connsiteX321" fmla="*/ 306617 w 425546"/>
                    <a:gd name="connsiteY321" fmla="*/ 255404 h 286960"/>
                    <a:gd name="connsiteX322" fmla="*/ 305435 w 425546"/>
                    <a:gd name="connsiteY322" fmla="*/ 258208 h 286960"/>
                    <a:gd name="connsiteX323" fmla="*/ 304018 w 425546"/>
                    <a:gd name="connsiteY323" fmla="*/ 260661 h 286960"/>
                    <a:gd name="connsiteX324" fmla="*/ 302461 w 425546"/>
                    <a:gd name="connsiteY324" fmla="*/ 261704 h 286960"/>
                    <a:gd name="connsiteX325" fmla="*/ 300317 w 425546"/>
                    <a:gd name="connsiteY325" fmla="*/ 264817 h 286960"/>
                    <a:gd name="connsiteX326" fmla="*/ 298427 w 425546"/>
                    <a:gd name="connsiteY326" fmla="*/ 268648 h 286960"/>
                    <a:gd name="connsiteX327" fmla="*/ 294768 w 425546"/>
                    <a:gd name="connsiteY327" fmla="*/ 273668 h 286960"/>
                    <a:gd name="connsiteX328" fmla="*/ 293554 w 425546"/>
                    <a:gd name="connsiteY328" fmla="*/ 276463 h 286960"/>
                    <a:gd name="connsiteX329" fmla="*/ 293146 w 425546"/>
                    <a:gd name="connsiteY329" fmla="*/ 284540 h 286960"/>
                    <a:gd name="connsiteX330" fmla="*/ 292184 w 425546"/>
                    <a:gd name="connsiteY330" fmla="*/ 286960 h 286960"/>
                    <a:gd name="connsiteX331" fmla="*/ 292029 w 425546"/>
                    <a:gd name="connsiteY331" fmla="*/ 286047 h 286960"/>
                    <a:gd name="connsiteX332" fmla="*/ 290709 w 425546"/>
                    <a:gd name="connsiteY332" fmla="*/ 285135 h 286960"/>
                    <a:gd name="connsiteX333" fmla="*/ 288419 w 425546"/>
                    <a:gd name="connsiteY333" fmla="*/ 285298 h 286960"/>
                    <a:gd name="connsiteX334" fmla="*/ 286903 w 425546"/>
                    <a:gd name="connsiteY334" fmla="*/ 284858 h 286960"/>
                    <a:gd name="connsiteX335" fmla="*/ 286186 w 425546"/>
                    <a:gd name="connsiteY335" fmla="*/ 283822 h 286960"/>
                    <a:gd name="connsiteX336" fmla="*/ 284304 w 425546"/>
                    <a:gd name="connsiteY336" fmla="*/ 284116 h 286960"/>
                    <a:gd name="connsiteX337" fmla="*/ 281288 w 425546"/>
                    <a:gd name="connsiteY337" fmla="*/ 285730 h 286960"/>
                    <a:gd name="connsiteX338" fmla="*/ 278199 w 425546"/>
                    <a:gd name="connsiteY338" fmla="*/ 284874 h 286960"/>
                    <a:gd name="connsiteX339" fmla="*/ 275061 w 425546"/>
                    <a:gd name="connsiteY339" fmla="*/ 281549 h 286960"/>
                    <a:gd name="connsiteX340" fmla="*/ 269079 w 425546"/>
                    <a:gd name="connsiteY340" fmla="*/ 280334 h 286960"/>
                    <a:gd name="connsiteX341" fmla="*/ 261509 w 425546"/>
                    <a:gd name="connsiteY341" fmla="*/ 281100 h 286960"/>
                    <a:gd name="connsiteX342" fmla="*/ 261215 w 425546"/>
                    <a:gd name="connsiteY342" fmla="*/ 277417 h 286960"/>
                    <a:gd name="connsiteX343" fmla="*/ 261240 w 425546"/>
                    <a:gd name="connsiteY343" fmla="*/ 272731 h 286960"/>
                    <a:gd name="connsiteX344" fmla="*/ 261590 w 425546"/>
                    <a:gd name="connsiteY344" fmla="*/ 266496 h 286960"/>
                    <a:gd name="connsiteX345" fmla="*/ 264157 w 425546"/>
                    <a:gd name="connsiteY345" fmla="*/ 261598 h 286960"/>
                    <a:gd name="connsiteX346" fmla="*/ 264084 w 425546"/>
                    <a:gd name="connsiteY346" fmla="*/ 260661 h 286960"/>
                    <a:gd name="connsiteX347" fmla="*/ 263579 w 425546"/>
                    <a:gd name="connsiteY347" fmla="*/ 259765 h 286960"/>
                    <a:gd name="connsiteX348" fmla="*/ 262788 w 425546"/>
                    <a:gd name="connsiteY348" fmla="*/ 258958 h 286960"/>
                    <a:gd name="connsiteX349" fmla="*/ 258208 w 425546"/>
                    <a:gd name="connsiteY349" fmla="*/ 257613 h 286960"/>
                    <a:gd name="connsiteX350" fmla="*/ 256855 w 425546"/>
                    <a:gd name="connsiteY350" fmla="*/ 256904 h 286960"/>
                    <a:gd name="connsiteX351" fmla="*/ 255087 w 425546"/>
                    <a:gd name="connsiteY351" fmla="*/ 255372 h 286960"/>
                    <a:gd name="connsiteX352" fmla="*/ 252837 w 425546"/>
                    <a:gd name="connsiteY352" fmla="*/ 253742 h 286960"/>
                    <a:gd name="connsiteX353" fmla="*/ 250906 w 425546"/>
                    <a:gd name="connsiteY353" fmla="*/ 252625 h 286960"/>
                    <a:gd name="connsiteX354" fmla="*/ 247833 w 425546"/>
                    <a:gd name="connsiteY354" fmla="*/ 251142 h 286960"/>
                    <a:gd name="connsiteX355" fmla="*/ 244997 w 425546"/>
                    <a:gd name="connsiteY355" fmla="*/ 250311 h 286960"/>
                    <a:gd name="connsiteX356" fmla="*/ 243343 w 425546"/>
                    <a:gd name="connsiteY356" fmla="*/ 250946 h 286960"/>
                    <a:gd name="connsiteX357" fmla="*/ 241811 w 425546"/>
                    <a:gd name="connsiteY357" fmla="*/ 251737 h 286960"/>
                    <a:gd name="connsiteX358" fmla="*/ 240393 w 425546"/>
                    <a:gd name="connsiteY358" fmla="*/ 251762 h 286960"/>
                    <a:gd name="connsiteX359" fmla="*/ 238942 w 425546"/>
                    <a:gd name="connsiteY359" fmla="*/ 251330 h 286960"/>
                    <a:gd name="connsiteX360" fmla="*/ 233653 w 425546"/>
                    <a:gd name="connsiteY360" fmla="*/ 247630 h 286960"/>
                    <a:gd name="connsiteX361" fmla="*/ 225650 w 425546"/>
                    <a:gd name="connsiteY361" fmla="*/ 241232 h 286960"/>
                    <a:gd name="connsiteX362" fmla="*/ 219301 w 425546"/>
                    <a:gd name="connsiteY362" fmla="*/ 236758 h 286960"/>
                    <a:gd name="connsiteX363" fmla="*/ 215324 w 425546"/>
                    <a:gd name="connsiteY363" fmla="*/ 234623 h 286960"/>
                    <a:gd name="connsiteX364" fmla="*/ 214379 w 425546"/>
                    <a:gd name="connsiteY364" fmla="*/ 233938 h 286960"/>
                    <a:gd name="connsiteX365" fmla="*/ 212154 w 425546"/>
                    <a:gd name="connsiteY365" fmla="*/ 231925 h 286960"/>
                    <a:gd name="connsiteX366" fmla="*/ 206653 w 425546"/>
                    <a:gd name="connsiteY366" fmla="*/ 226497 h 286960"/>
                    <a:gd name="connsiteX367" fmla="*/ 203002 w 425546"/>
                    <a:gd name="connsiteY367" fmla="*/ 227296 h 286960"/>
                    <a:gd name="connsiteX368" fmla="*/ 197778 w 425546"/>
                    <a:gd name="connsiteY368" fmla="*/ 223759 h 286960"/>
                    <a:gd name="connsiteX369" fmla="*/ 193100 w 425546"/>
                    <a:gd name="connsiteY369" fmla="*/ 220312 h 286960"/>
                    <a:gd name="connsiteX370" fmla="*/ 192032 w 425546"/>
                    <a:gd name="connsiteY370" fmla="*/ 219383 h 286960"/>
                    <a:gd name="connsiteX371" fmla="*/ 186702 w 425546"/>
                    <a:gd name="connsiteY371" fmla="*/ 213009 h 286960"/>
                    <a:gd name="connsiteX372" fmla="*/ 181405 w 425546"/>
                    <a:gd name="connsiteY372" fmla="*/ 208878 h 286960"/>
                    <a:gd name="connsiteX373" fmla="*/ 175602 w 425546"/>
                    <a:gd name="connsiteY373" fmla="*/ 204346 h 286960"/>
                    <a:gd name="connsiteX374" fmla="*/ 171845 w 425546"/>
                    <a:gd name="connsiteY374" fmla="*/ 201518 h 286960"/>
                    <a:gd name="connsiteX375" fmla="*/ 165505 w 425546"/>
                    <a:gd name="connsiteY375" fmla="*/ 196726 h 286960"/>
                    <a:gd name="connsiteX376" fmla="*/ 162383 w 425546"/>
                    <a:gd name="connsiteY376" fmla="*/ 193825 h 286960"/>
                    <a:gd name="connsiteX377" fmla="*/ 161340 w 425546"/>
                    <a:gd name="connsiteY377" fmla="*/ 192757 h 286960"/>
                    <a:gd name="connsiteX378" fmla="*/ 160305 w 425546"/>
                    <a:gd name="connsiteY378" fmla="*/ 190704 h 286960"/>
                    <a:gd name="connsiteX379" fmla="*/ 158659 w 425546"/>
                    <a:gd name="connsiteY379" fmla="*/ 180663 h 286960"/>
                    <a:gd name="connsiteX380" fmla="*/ 156760 w 425546"/>
                    <a:gd name="connsiteY380" fmla="*/ 176059 h 286960"/>
                    <a:gd name="connsiteX381" fmla="*/ 154038 w 425546"/>
                    <a:gd name="connsiteY381" fmla="*/ 173557 h 286960"/>
                    <a:gd name="connsiteX382" fmla="*/ 151724 w 425546"/>
                    <a:gd name="connsiteY382" fmla="*/ 168716 h 286960"/>
                    <a:gd name="connsiteX383" fmla="*/ 149809 w 425546"/>
                    <a:gd name="connsiteY383" fmla="*/ 161544 h 286960"/>
                    <a:gd name="connsiteX384" fmla="*/ 148211 w 425546"/>
                    <a:gd name="connsiteY384" fmla="*/ 156874 h 286960"/>
                    <a:gd name="connsiteX385" fmla="*/ 146964 w 425546"/>
                    <a:gd name="connsiteY385" fmla="*/ 154723 h 286960"/>
                    <a:gd name="connsiteX386" fmla="*/ 144405 w 425546"/>
                    <a:gd name="connsiteY386" fmla="*/ 152343 h 286960"/>
                    <a:gd name="connsiteX387" fmla="*/ 140559 w 425546"/>
                    <a:gd name="connsiteY387" fmla="*/ 149735 h 286960"/>
                    <a:gd name="connsiteX388" fmla="*/ 136899 w 425546"/>
                    <a:gd name="connsiteY388" fmla="*/ 148496 h 286960"/>
                    <a:gd name="connsiteX389" fmla="*/ 135579 w 425546"/>
                    <a:gd name="connsiteY389" fmla="*/ 148545 h 286960"/>
                    <a:gd name="connsiteX390" fmla="*/ 134927 w 425546"/>
                    <a:gd name="connsiteY390" fmla="*/ 148871 h 286960"/>
                    <a:gd name="connsiteX391" fmla="*/ 134177 w 425546"/>
                    <a:gd name="connsiteY391" fmla="*/ 149319 h 286960"/>
                    <a:gd name="connsiteX392" fmla="*/ 132727 w 425546"/>
                    <a:gd name="connsiteY392" fmla="*/ 151267 h 286960"/>
                    <a:gd name="connsiteX393" fmla="*/ 130575 w 425546"/>
                    <a:gd name="connsiteY393" fmla="*/ 151463 h 286960"/>
                    <a:gd name="connsiteX394" fmla="*/ 129010 w 425546"/>
                    <a:gd name="connsiteY394" fmla="*/ 151422 h 286960"/>
                    <a:gd name="connsiteX395" fmla="*/ 127535 w 425546"/>
                    <a:gd name="connsiteY395" fmla="*/ 150729 h 286960"/>
                    <a:gd name="connsiteX396" fmla="*/ 122914 w 425546"/>
                    <a:gd name="connsiteY396" fmla="*/ 150110 h 286960"/>
                    <a:gd name="connsiteX397" fmla="*/ 121276 w 425546"/>
                    <a:gd name="connsiteY397" fmla="*/ 149433 h 286960"/>
                    <a:gd name="connsiteX398" fmla="*/ 118489 w 425546"/>
                    <a:gd name="connsiteY398" fmla="*/ 149531 h 286960"/>
                    <a:gd name="connsiteX399" fmla="*/ 112507 w 425546"/>
                    <a:gd name="connsiteY399" fmla="*/ 150542 h 286960"/>
                    <a:gd name="connsiteX400" fmla="*/ 111057 w 425546"/>
                    <a:gd name="connsiteY400" fmla="*/ 150363 h 286960"/>
                    <a:gd name="connsiteX401" fmla="*/ 104732 w 425546"/>
                    <a:gd name="connsiteY401" fmla="*/ 146002 h 286960"/>
                    <a:gd name="connsiteX402" fmla="*/ 101994 w 425546"/>
                    <a:gd name="connsiteY402" fmla="*/ 144283 h 286960"/>
                    <a:gd name="connsiteX403" fmla="*/ 101440 w 425546"/>
                    <a:gd name="connsiteY403" fmla="*/ 143321 h 286960"/>
                    <a:gd name="connsiteX404" fmla="*/ 101480 w 425546"/>
                    <a:gd name="connsiteY404" fmla="*/ 141650 h 286960"/>
                    <a:gd name="connsiteX405" fmla="*/ 102401 w 425546"/>
                    <a:gd name="connsiteY405" fmla="*/ 139287 h 286960"/>
                    <a:gd name="connsiteX406" fmla="*/ 103200 w 425546"/>
                    <a:gd name="connsiteY406" fmla="*/ 137608 h 286960"/>
                    <a:gd name="connsiteX407" fmla="*/ 102850 w 425546"/>
                    <a:gd name="connsiteY407" fmla="*/ 135872 h 286960"/>
                    <a:gd name="connsiteX408" fmla="*/ 101652 w 425546"/>
                    <a:gd name="connsiteY408" fmla="*/ 133965 h 286960"/>
                    <a:gd name="connsiteX409" fmla="*/ 101652 w 425546"/>
                    <a:gd name="connsiteY409" fmla="*/ 131936 h 286960"/>
                    <a:gd name="connsiteX410" fmla="*/ 102475 w 425546"/>
                    <a:gd name="connsiteY410" fmla="*/ 130803 h 286960"/>
                    <a:gd name="connsiteX411" fmla="*/ 104153 w 425546"/>
                    <a:gd name="connsiteY411" fmla="*/ 131162 h 286960"/>
                    <a:gd name="connsiteX412" fmla="*/ 104757 w 425546"/>
                    <a:gd name="connsiteY412" fmla="*/ 130453 h 286960"/>
                    <a:gd name="connsiteX413" fmla="*/ 104536 w 425546"/>
                    <a:gd name="connsiteY413" fmla="*/ 129377 h 286960"/>
                    <a:gd name="connsiteX414" fmla="*/ 103648 w 425546"/>
                    <a:gd name="connsiteY414" fmla="*/ 128603 h 286960"/>
                    <a:gd name="connsiteX415" fmla="*/ 102434 w 425546"/>
                    <a:gd name="connsiteY415" fmla="*/ 126875 h 286960"/>
                    <a:gd name="connsiteX416" fmla="*/ 98864 w 425546"/>
                    <a:gd name="connsiteY416" fmla="*/ 125261 h 286960"/>
                    <a:gd name="connsiteX417" fmla="*/ 98359 w 425546"/>
                    <a:gd name="connsiteY417" fmla="*/ 124609 h 286960"/>
                    <a:gd name="connsiteX418" fmla="*/ 98538 w 425546"/>
                    <a:gd name="connsiteY418" fmla="*/ 123860 h 286960"/>
                    <a:gd name="connsiteX419" fmla="*/ 99150 w 425546"/>
                    <a:gd name="connsiteY419" fmla="*/ 123053 h 286960"/>
                    <a:gd name="connsiteX420" fmla="*/ 99272 w 425546"/>
                    <a:gd name="connsiteY420" fmla="*/ 121358 h 286960"/>
                    <a:gd name="connsiteX421" fmla="*/ 99337 w 425546"/>
                    <a:gd name="connsiteY421" fmla="*/ 119165 h 286960"/>
                    <a:gd name="connsiteX422" fmla="*/ 99818 w 425546"/>
                    <a:gd name="connsiteY422" fmla="*/ 118033 h 286960"/>
                    <a:gd name="connsiteX423" fmla="*/ 99948 w 425546"/>
                    <a:gd name="connsiteY423" fmla="*/ 117136 h 286960"/>
                    <a:gd name="connsiteX424" fmla="*/ 99435 w 425546"/>
                    <a:gd name="connsiteY424" fmla="*/ 116411 h 286960"/>
                    <a:gd name="connsiteX425" fmla="*/ 98237 w 425546"/>
                    <a:gd name="connsiteY425" fmla="*/ 115579 h 286960"/>
                    <a:gd name="connsiteX426" fmla="*/ 96289 w 425546"/>
                    <a:gd name="connsiteY426" fmla="*/ 113542 h 286960"/>
                    <a:gd name="connsiteX427" fmla="*/ 93925 w 425546"/>
                    <a:gd name="connsiteY427" fmla="*/ 113322 h 286960"/>
                    <a:gd name="connsiteX428" fmla="*/ 86199 w 425546"/>
                    <a:gd name="connsiteY428" fmla="*/ 113387 h 286960"/>
                    <a:gd name="connsiteX429" fmla="*/ 83795 w 425546"/>
                    <a:gd name="connsiteY429" fmla="*/ 112572 h 286960"/>
                    <a:gd name="connsiteX430" fmla="*/ 81872 w 425546"/>
                    <a:gd name="connsiteY430" fmla="*/ 111439 h 286960"/>
                    <a:gd name="connsiteX431" fmla="*/ 79949 w 425546"/>
                    <a:gd name="connsiteY431" fmla="*/ 107120 h 286960"/>
                    <a:gd name="connsiteX432" fmla="*/ 78979 w 425546"/>
                    <a:gd name="connsiteY432" fmla="*/ 106093 h 286960"/>
                    <a:gd name="connsiteX433" fmla="*/ 78075 w 425546"/>
                    <a:gd name="connsiteY433" fmla="*/ 105669 h 286960"/>
                    <a:gd name="connsiteX434" fmla="*/ 75906 w 425546"/>
                    <a:gd name="connsiteY434" fmla="*/ 105515 h 286960"/>
                    <a:gd name="connsiteX435" fmla="*/ 73307 w 425546"/>
                    <a:gd name="connsiteY435" fmla="*/ 105091 h 286960"/>
                    <a:gd name="connsiteX436" fmla="*/ 71970 w 425546"/>
                    <a:gd name="connsiteY436" fmla="*/ 104365 h 286960"/>
                    <a:gd name="connsiteX437" fmla="*/ 68327 w 425546"/>
                    <a:gd name="connsiteY437" fmla="*/ 100413 h 286960"/>
                    <a:gd name="connsiteX438" fmla="*/ 64831 w 425546"/>
                    <a:gd name="connsiteY438" fmla="*/ 96876 h 286960"/>
                    <a:gd name="connsiteX439" fmla="*/ 63421 w 425546"/>
                    <a:gd name="connsiteY439" fmla="*/ 100209 h 286960"/>
                    <a:gd name="connsiteX440" fmla="*/ 62052 w 425546"/>
                    <a:gd name="connsiteY440" fmla="*/ 100869 h 286960"/>
                    <a:gd name="connsiteX441" fmla="*/ 58972 w 425546"/>
                    <a:gd name="connsiteY441" fmla="*/ 100559 h 286960"/>
                    <a:gd name="connsiteX442" fmla="*/ 56657 w 425546"/>
                    <a:gd name="connsiteY442" fmla="*/ 99997 h 286960"/>
                    <a:gd name="connsiteX443" fmla="*/ 55337 w 425546"/>
                    <a:gd name="connsiteY443" fmla="*/ 100755 h 286960"/>
                    <a:gd name="connsiteX444" fmla="*/ 53976 w 425546"/>
                    <a:gd name="connsiteY444" fmla="*/ 102067 h 286960"/>
                    <a:gd name="connsiteX445" fmla="*/ 54236 w 425546"/>
                    <a:gd name="connsiteY445" fmla="*/ 102931 h 286960"/>
                    <a:gd name="connsiteX446" fmla="*/ 55280 w 425546"/>
                    <a:gd name="connsiteY446" fmla="*/ 103852 h 286960"/>
                    <a:gd name="connsiteX447" fmla="*/ 57374 w 425546"/>
                    <a:gd name="connsiteY447" fmla="*/ 105547 h 286960"/>
                    <a:gd name="connsiteX448" fmla="*/ 60585 w 425546"/>
                    <a:gd name="connsiteY448" fmla="*/ 109704 h 286960"/>
                    <a:gd name="connsiteX449" fmla="*/ 62052 w 425546"/>
                    <a:gd name="connsiteY449" fmla="*/ 111994 h 286960"/>
                    <a:gd name="connsiteX450" fmla="*/ 62264 w 425546"/>
                    <a:gd name="connsiteY450" fmla="*/ 112800 h 286960"/>
                    <a:gd name="connsiteX451" fmla="*/ 61995 w 425546"/>
                    <a:gd name="connsiteY451" fmla="*/ 113395 h 286960"/>
                    <a:gd name="connsiteX452" fmla="*/ 61563 w 425546"/>
                    <a:gd name="connsiteY452" fmla="*/ 113664 h 286960"/>
                    <a:gd name="connsiteX453" fmla="*/ 60919 w 425546"/>
                    <a:gd name="connsiteY453" fmla="*/ 113648 h 286960"/>
                    <a:gd name="connsiteX454" fmla="*/ 60071 w 425546"/>
                    <a:gd name="connsiteY454" fmla="*/ 113640 h 286960"/>
                    <a:gd name="connsiteX455" fmla="*/ 59575 w 425546"/>
                    <a:gd name="connsiteY455" fmla="*/ 112955 h 286960"/>
                    <a:gd name="connsiteX456" fmla="*/ 59403 w 425546"/>
                    <a:gd name="connsiteY456" fmla="*/ 111774 h 286960"/>
                    <a:gd name="connsiteX457" fmla="*/ 58327 w 425546"/>
                    <a:gd name="connsiteY457" fmla="*/ 109981 h 286960"/>
                    <a:gd name="connsiteX458" fmla="*/ 57227 w 425546"/>
                    <a:gd name="connsiteY458" fmla="*/ 108946 h 286960"/>
                    <a:gd name="connsiteX459" fmla="*/ 56021 w 425546"/>
                    <a:gd name="connsiteY459" fmla="*/ 108294 h 286960"/>
                    <a:gd name="connsiteX460" fmla="*/ 54318 w 425546"/>
                    <a:gd name="connsiteY460" fmla="*/ 107813 h 286960"/>
                    <a:gd name="connsiteX461" fmla="*/ 52085 w 425546"/>
                    <a:gd name="connsiteY461" fmla="*/ 106957 h 286960"/>
                    <a:gd name="connsiteX462" fmla="*/ 50936 w 425546"/>
                    <a:gd name="connsiteY462" fmla="*/ 106916 h 286960"/>
                    <a:gd name="connsiteX463" fmla="*/ 49803 w 425546"/>
                    <a:gd name="connsiteY463" fmla="*/ 107919 h 286960"/>
                    <a:gd name="connsiteX464" fmla="*/ 48858 w 425546"/>
                    <a:gd name="connsiteY464" fmla="*/ 109255 h 286960"/>
                    <a:gd name="connsiteX465" fmla="*/ 48320 w 425546"/>
                    <a:gd name="connsiteY465" fmla="*/ 112173 h 286960"/>
                    <a:gd name="connsiteX466" fmla="*/ 46649 w 425546"/>
                    <a:gd name="connsiteY466" fmla="*/ 115751 h 286960"/>
                    <a:gd name="connsiteX467" fmla="*/ 45606 w 425546"/>
                    <a:gd name="connsiteY467" fmla="*/ 117169 h 286960"/>
                    <a:gd name="connsiteX468" fmla="*/ 42427 w 425546"/>
                    <a:gd name="connsiteY468" fmla="*/ 118033 h 286960"/>
                    <a:gd name="connsiteX469" fmla="*/ 34873 w 425546"/>
                    <a:gd name="connsiteY469" fmla="*/ 118326 h 286960"/>
                    <a:gd name="connsiteX470" fmla="*/ 32623 w 425546"/>
                    <a:gd name="connsiteY470" fmla="*/ 119442 h 286960"/>
                    <a:gd name="connsiteX471" fmla="*/ 31091 w 425546"/>
                    <a:gd name="connsiteY471" fmla="*/ 120795 h 286960"/>
                    <a:gd name="connsiteX472" fmla="*/ 28223 w 425546"/>
                    <a:gd name="connsiteY472" fmla="*/ 125172 h 286960"/>
                    <a:gd name="connsiteX473" fmla="*/ 26250 w 425546"/>
                    <a:gd name="connsiteY473" fmla="*/ 126622 h 286960"/>
                    <a:gd name="connsiteX474" fmla="*/ 24522 w 425546"/>
                    <a:gd name="connsiteY474" fmla="*/ 128619 h 286960"/>
                    <a:gd name="connsiteX475" fmla="*/ 25028 w 425546"/>
                    <a:gd name="connsiteY475" fmla="*/ 135041 h 286960"/>
                    <a:gd name="connsiteX476" fmla="*/ 25851 w 425546"/>
                    <a:gd name="connsiteY476" fmla="*/ 142531 h 286960"/>
                    <a:gd name="connsiteX477" fmla="*/ 27318 w 425546"/>
                    <a:gd name="connsiteY477" fmla="*/ 144601 h 286960"/>
                    <a:gd name="connsiteX478" fmla="*/ 28231 w 425546"/>
                    <a:gd name="connsiteY478" fmla="*/ 145228 h 286960"/>
                    <a:gd name="connsiteX479" fmla="*/ 28361 w 425546"/>
                    <a:gd name="connsiteY479" fmla="*/ 145962 h 286960"/>
                    <a:gd name="connsiteX480" fmla="*/ 27766 w 425546"/>
                    <a:gd name="connsiteY480" fmla="*/ 146606 h 286960"/>
                    <a:gd name="connsiteX481" fmla="*/ 27008 w 425546"/>
                    <a:gd name="connsiteY481" fmla="*/ 147429 h 286960"/>
                    <a:gd name="connsiteX482" fmla="*/ 25851 w 425546"/>
                    <a:gd name="connsiteY482" fmla="*/ 148928 h 286960"/>
                    <a:gd name="connsiteX483" fmla="*/ 24555 w 425546"/>
                    <a:gd name="connsiteY483" fmla="*/ 148871 h 286960"/>
                    <a:gd name="connsiteX484" fmla="*/ 21964 w 425546"/>
                    <a:gd name="connsiteY484" fmla="*/ 148496 h 286960"/>
                    <a:gd name="connsiteX485" fmla="*/ 19796 w 425546"/>
                    <a:gd name="connsiteY485" fmla="*/ 148097 h 286960"/>
                    <a:gd name="connsiteX486" fmla="*/ 12502 w 425546"/>
                    <a:gd name="connsiteY486" fmla="*/ 147665 h 286960"/>
                    <a:gd name="connsiteX487" fmla="*/ 6609 w 425546"/>
                    <a:gd name="connsiteY487" fmla="*/ 147306 h 286960"/>
                    <a:gd name="connsiteX488" fmla="*/ 41 w 425546"/>
                    <a:gd name="connsiteY488" fmla="*/ 146923 h 286960"/>
                    <a:gd name="connsiteX489" fmla="*/ 32 w 425546"/>
                    <a:gd name="connsiteY489" fmla="*/ 139067 h 286960"/>
                    <a:gd name="connsiteX490" fmla="*/ 32 w 425546"/>
                    <a:gd name="connsiteY490" fmla="*/ 131203 h 286960"/>
                    <a:gd name="connsiteX491" fmla="*/ 32 w 425546"/>
                    <a:gd name="connsiteY491" fmla="*/ 123322 h 286960"/>
                    <a:gd name="connsiteX492" fmla="*/ 32 w 425546"/>
                    <a:gd name="connsiteY492" fmla="*/ 115433 h 286960"/>
                    <a:gd name="connsiteX493" fmla="*/ 32 w 425546"/>
                    <a:gd name="connsiteY493" fmla="*/ 107528 h 286960"/>
                    <a:gd name="connsiteX494" fmla="*/ 24 w 425546"/>
                    <a:gd name="connsiteY494" fmla="*/ 99606 h 286960"/>
                    <a:gd name="connsiteX495" fmla="*/ 24 w 425546"/>
                    <a:gd name="connsiteY495" fmla="*/ 91676 h 286960"/>
                    <a:gd name="connsiteX496" fmla="*/ 24 w 425546"/>
                    <a:gd name="connsiteY496" fmla="*/ 83738 h 286960"/>
                    <a:gd name="connsiteX497" fmla="*/ 16 w 425546"/>
                    <a:gd name="connsiteY497" fmla="*/ 75784 h 286960"/>
                    <a:gd name="connsiteX498" fmla="*/ 16 w 425546"/>
                    <a:gd name="connsiteY498" fmla="*/ 67822 h 286960"/>
                    <a:gd name="connsiteX499" fmla="*/ 16 w 425546"/>
                    <a:gd name="connsiteY499" fmla="*/ 59844 h 286960"/>
                    <a:gd name="connsiteX500" fmla="*/ 8 w 425546"/>
                    <a:gd name="connsiteY500" fmla="*/ 51857 h 286960"/>
                    <a:gd name="connsiteX501" fmla="*/ 8 w 425546"/>
                    <a:gd name="connsiteY501" fmla="*/ 43854 h 286960"/>
                    <a:gd name="connsiteX502" fmla="*/ 8 w 425546"/>
                    <a:gd name="connsiteY502" fmla="*/ 35769 h 286960"/>
                    <a:gd name="connsiteX503" fmla="*/ 0 w 425546"/>
                    <a:gd name="connsiteY503" fmla="*/ 27734 h 286960"/>
                    <a:gd name="connsiteX504" fmla="*/ 0 w 425546"/>
                    <a:gd name="connsiteY504" fmla="*/ 19690 h 286960"/>
                    <a:gd name="connsiteX505" fmla="*/ 3088 w 425546"/>
                    <a:gd name="connsiteY505" fmla="*/ 18687 h 286960"/>
                    <a:gd name="connsiteX506" fmla="*/ 6992 w 425546"/>
                    <a:gd name="connsiteY506" fmla="*/ 17432 h 286960"/>
                    <a:gd name="connsiteX507" fmla="*/ 10741 w 425546"/>
                    <a:gd name="connsiteY507" fmla="*/ 16218 h 286960"/>
                    <a:gd name="connsiteX508" fmla="*/ 15199 w 425546"/>
                    <a:gd name="connsiteY508" fmla="*/ 14784 h 286960"/>
                    <a:gd name="connsiteX509" fmla="*/ 20236 w 425546"/>
                    <a:gd name="connsiteY509" fmla="*/ 13162 h 286960"/>
                    <a:gd name="connsiteX510" fmla="*/ 24531 w 425546"/>
                    <a:gd name="connsiteY510" fmla="*/ 11776 h 286960"/>
                    <a:gd name="connsiteX511" fmla="*/ 29657 w 425546"/>
                    <a:gd name="connsiteY511" fmla="*/ 10114 h 286960"/>
                    <a:gd name="connsiteX512" fmla="*/ 33560 w 425546"/>
                    <a:gd name="connsiteY512" fmla="*/ 8851 h 286960"/>
                    <a:gd name="connsiteX513" fmla="*/ 37236 w 425546"/>
                    <a:gd name="connsiteY513" fmla="*/ 7661 h 286960"/>
                    <a:gd name="connsiteX514" fmla="*/ 41922 w 425546"/>
                    <a:gd name="connsiteY514" fmla="*/ 6259 h 286960"/>
                    <a:gd name="connsiteX515" fmla="*/ 49224 w 425546"/>
                    <a:gd name="connsiteY515" fmla="*/ 4067 h 286960"/>
                    <a:gd name="connsiteX516" fmla="*/ 53283 w 425546"/>
                    <a:gd name="connsiteY516" fmla="*/ 2844 h 286960"/>
                    <a:gd name="connsiteX517" fmla="*/ 57415 w 425546"/>
                    <a:gd name="connsiteY517" fmla="*/ 1614 h 286960"/>
                    <a:gd name="connsiteX518" fmla="*/ 61335 w 425546"/>
                    <a:gd name="connsiteY518" fmla="*/ 432 h 286960"/>
                    <a:gd name="connsiteX519" fmla="*/ 63951 w 425546"/>
                    <a:gd name="connsiteY519" fmla="*/ 0 h 286960"/>
                    <a:gd name="connsiteX520" fmla="*/ 66779 w 425546"/>
                    <a:gd name="connsiteY520" fmla="*/ 1679 h 286960"/>
                    <a:gd name="connsiteX521" fmla="*/ 70202 w 425546"/>
                    <a:gd name="connsiteY521" fmla="*/ 4001 h 286960"/>
                    <a:gd name="connsiteX522" fmla="*/ 73625 w 425546"/>
                    <a:gd name="connsiteY522" fmla="*/ 6316 h 286960"/>
                    <a:gd name="connsiteX523" fmla="*/ 77064 w 425546"/>
                    <a:gd name="connsiteY523" fmla="*/ 8622 h 286960"/>
                    <a:gd name="connsiteX524" fmla="*/ 80487 w 425546"/>
                    <a:gd name="connsiteY524" fmla="*/ 10937 h 286960"/>
                    <a:gd name="connsiteX525" fmla="*/ 83910 w 425546"/>
                    <a:gd name="connsiteY525" fmla="*/ 13251 h 286960"/>
                    <a:gd name="connsiteX526" fmla="*/ 87341 w 425546"/>
                    <a:gd name="connsiteY526" fmla="*/ 15558 h 286960"/>
                    <a:gd name="connsiteX527" fmla="*/ 90764 w 425546"/>
                    <a:gd name="connsiteY527" fmla="*/ 17872 h 286960"/>
                    <a:gd name="connsiteX528" fmla="*/ 94187 w 425546"/>
                    <a:gd name="connsiteY528" fmla="*/ 20179 h 286960"/>
                    <a:gd name="connsiteX529" fmla="*/ 97617 w 425546"/>
                    <a:gd name="connsiteY529" fmla="*/ 22485 h 286960"/>
                    <a:gd name="connsiteX530" fmla="*/ 101048 w 425546"/>
                    <a:gd name="connsiteY530" fmla="*/ 24791 h 286960"/>
                    <a:gd name="connsiteX531" fmla="*/ 104471 w 425546"/>
                    <a:gd name="connsiteY531" fmla="*/ 27098 h 286960"/>
                    <a:gd name="connsiteX532" fmla="*/ 107902 w 425546"/>
                    <a:gd name="connsiteY532" fmla="*/ 29404 h 286960"/>
                    <a:gd name="connsiteX533" fmla="*/ 111334 w 425546"/>
                    <a:gd name="connsiteY533" fmla="*/ 31702 h 286960"/>
                    <a:gd name="connsiteX534" fmla="*/ 114756 w 425546"/>
                    <a:gd name="connsiteY534" fmla="*/ 34009 h 286960"/>
                    <a:gd name="connsiteX535" fmla="*/ 118179 w 425546"/>
                    <a:gd name="connsiteY535" fmla="*/ 36307 h 286960"/>
                    <a:gd name="connsiteX536" fmla="*/ 121602 w 425546"/>
                    <a:gd name="connsiteY536" fmla="*/ 38605 h 286960"/>
                    <a:gd name="connsiteX537" fmla="*/ 124797 w 425546"/>
                    <a:gd name="connsiteY537" fmla="*/ 40749 h 286960"/>
                    <a:gd name="connsiteX538" fmla="*/ 126223 w 425546"/>
                    <a:gd name="connsiteY538" fmla="*/ 42330 h 286960"/>
                    <a:gd name="connsiteX539" fmla="*/ 127022 w 425546"/>
                    <a:gd name="connsiteY539" fmla="*/ 45834 h 286960"/>
                    <a:gd name="connsiteX540" fmla="*/ 128595 w 425546"/>
                    <a:gd name="connsiteY540" fmla="*/ 48613 h 286960"/>
                    <a:gd name="connsiteX541" fmla="*/ 131349 w 425546"/>
                    <a:gd name="connsiteY541" fmla="*/ 51620 h 286960"/>
                    <a:gd name="connsiteX542" fmla="*/ 134161 w 425546"/>
                    <a:gd name="connsiteY542" fmla="*/ 54693 h 286960"/>
                    <a:gd name="connsiteX543" fmla="*/ 137649 w 425546"/>
                    <a:gd name="connsiteY543" fmla="*/ 58751 h 286960"/>
                    <a:gd name="connsiteX544" fmla="*/ 140085 w 425546"/>
                    <a:gd name="connsiteY544" fmla="*/ 61571 h 286960"/>
                    <a:gd name="connsiteX545" fmla="*/ 142555 w 425546"/>
                    <a:gd name="connsiteY545" fmla="*/ 64448 h 286960"/>
                    <a:gd name="connsiteX546" fmla="*/ 146630 w 425546"/>
                    <a:gd name="connsiteY546" fmla="*/ 69175 h 286960"/>
                    <a:gd name="connsiteX547" fmla="*/ 149067 w 425546"/>
                    <a:gd name="connsiteY547" fmla="*/ 72117 h 286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Lst>
                  <a:rect l="l" t="t" r="r" b="b"/>
                  <a:pathLst>
                    <a:path w="425546" h="286960">
                      <a:moveTo>
                        <a:pt x="149067" y="72117"/>
                      </a:moveTo>
                      <a:lnTo>
                        <a:pt x="151096" y="72215"/>
                      </a:lnTo>
                      <a:lnTo>
                        <a:pt x="155212" y="71514"/>
                      </a:lnTo>
                      <a:lnTo>
                        <a:pt x="160697" y="70577"/>
                      </a:lnTo>
                      <a:lnTo>
                        <a:pt x="165049" y="69835"/>
                      </a:lnTo>
                      <a:lnTo>
                        <a:pt x="170297" y="68939"/>
                      </a:lnTo>
                      <a:lnTo>
                        <a:pt x="175292" y="68083"/>
                      </a:lnTo>
                      <a:lnTo>
                        <a:pt x="179245" y="67406"/>
                      </a:lnTo>
                      <a:lnTo>
                        <a:pt x="185146" y="67912"/>
                      </a:lnTo>
                      <a:lnTo>
                        <a:pt x="190965" y="68417"/>
                      </a:lnTo>
                      <a:lnTo>
                        <a:pt x="195145" y="68784"/>
                      </a:lnTo>
                      <a:lnTo>
                        <a:pt x="199245" y="69142"/>
                      </a:lnTo>
                      <a:lnTo>
                        <a:pt x="204094" y="69558"/>
                      </a:lnTo>
                      <a:lnTo>
                        <a:pt x="206816" y="69794"/>
                      </a:lnTo>
                      <a:lnTo>
                        <a:pt x="209913" y="70071"/>
                      </a:lnTo>
                      <a:lnTo>
                        <a:pt x="211225" y="69354"/>
                      </a:lnTo>
                      <a:lnTo>
                        <a:pt x="213906" y="67904"/>
                      </a:lnTo>
                      <a:lnTo>
                        <a:pt x="216433" y="66534"/>
                      </a:lnTo>
                      <a:lnTo>
                        <a:pt x="219056" y="65108"/>
                      </a:lnTo>
                      <a:lnTo>
                        <a:pt x="221379" y="64399"/>
                      </a:lnTo>
                      <a:lnTo>
                        <a:pt x="223808" y="66673"/>
                      </a:lnTo>
                      <a:lnTo>
                        <a:pt x="225829" y="69289"/>
                      </a:lnTo>
                      <a:lnTo>
                        <a:pt x="227964" y="72044"/>
                      </a:lnTo>
                      <a:lnTo>
                        <a:pt x="230442" y="74709"/>
                      </a:lnTo>
                      <a:lnTo>
                        <a:pt x="232814" y="76290"/>
                      </a:lnTo>
                      <a:lnTo>
                        <a:pt x="236041" y="78425"/>
                      </a:lnTo>
                      <a:lnTo>
                        <a:pt x="237899" y="82076"/>
                      </a:lnTo>
                      <a:lnTo>
                        <a:pt x="240360" y="86941"/>
                      </a:lnTo>
                      <a:lnTo>
                        <a:pt x="241982" y="90144"/>
                      </a:lnTo>
                      <a:lnTo>
                        <a:pt x="243652" y="93428"/>
                      </a:lnTo>
                      <a:lnTo>
                        <a:pt x="246081" y="92133"/>
                      </a:lnTo>
                      <a:lnTo>
                        <a:pt x="248681" y="90747"/>
                      </a:lnTo>
                      <a:lnTo>
                        <a:pt x="251020" y="89500"/>
                      </a:lnTo>
                      <a:lnTo>
                        <a:pt x="250735" y="93559"/>
                      </a:lnTo>
                      <a:lnTo>
                        <a:pt x="250482" y="97251"/>
                      </a:lnTo>
                      <a:lnTo>
                        <a:pt x="250091" y="102817"/>
                      </a:lnTo>
                      <a:lnTo>
                        <a:pt x="249773" y="107389"/>
                      </a:lnTo>
                      <a:lnTo>
                        <a:pt x="248925" y="112825"/>
                      </a:lnTo>
                      <a:lnTo>
                        <a:pt x="248860" y="116965"/>
                      </a:lnTo>
                      <a:lnTo>
                        <a:pt x="248820" y="120600"/>
                      </a:lnTo>
                      <a:lnTo>
                        <a:pt x="248770" y="123485"/>
                      </a:lnTo>
                      <a:lnTo>
                        <a:pt x="253326" y="123615"/>
                      </a:lnTo>
                      <a:lnTo>
                        <a:pt x="256692" y="123713"/>
                      </a:lnTo>
                      <a:lnTo>
                        <a:pt x="260914" y="123835"/>
                      </a:lnTo>
                      <a:lnTo>
                        <a:pt x="261321" y="127454"/>
                      </a:lnTo>
                      <a:lnTo>
                        <a:pt x="261883" y="132539"/>
                      </a:lnTo>
                      <a:lnTo>
                        <a:pt x="262747" y="137144"/>
                      </a:lnTo>
                      <a:lnTo>
                        <a:pt x="263456" y="141007"/>
                      </a:lnTo>
                      <a:lnTo>
                        <a:pt x="264548" y="145994"/>
                      </a:lnTo>
                      <a:lnTo>
                        <a:pt x="265127" y="148659"/>
                      </a:lnTo>
                      <a:lnTo>
                        <a:pt x="266146" y="151789"/>
                      </a:lnTo>
                      <a:lnTo>
                        <a:pt x="267132" y="152539"/>
                      </a:lnTo>
                      <a:lnTo>
                        <a:pt x="268729" y="153036"/>
                      </a:lnTo>
                      <a:lnTo>
                        <a:pt x="274304" y="152669"/>
                      </a:lnTo>
                      <a:lnTo>
                        <a:pt x="278924" y="152359"/>
                      </a:lnTo>
                      <a:lnTo>
                        <a:pt x="282560" y="152123"/>
                      </a:lnTo>
                      <a:lnTo>
                        <a:pt x="286430" y="151854"/>
                      </a:lnTo>
                      <a:lnTo>
                        <a:pt x="291565" y="151512"/>
                      </a:lnTo>
                      <a:lnTo>
                        <a:pt x="293309" y="152310"/>
                      </a:lnTo>
                      <a:lnTo>
                        <a:pt x="294816" y="151756"/>
                      </a:lnTo>
                      <a:lnTo>
                        <a:pt x="296552" y="151202"/>
                      </a:lnTo>
                      <a:lnTo>
                        <a:pt x="297938" y="153468"/>
                      </a:lnTo>
                      <a:lnTo>
                        <a:pt x="298639" y="154617"/>
                      </a:lnTo>
                      <a:lnTo>
                        <a:pt x="299625" y="155815"/>
                      </a:lnTo>
                      <a:lnTo>
                        <a:pt x="300953" y="156931"/>
                      </a:lnTo>
                      <a:lnTo>
                        <a:pt x="300391" y="159262"/>
                      </a:lnTo>
                      <a:lnTo>
                        <a:pt x="299568" y="162669"/>
                      </a:lnTo>
                      <a:lnTo>
                        <a:pt x="299332" y="164413"/>
                      </a:lnTo>
                      <a:lnTo>
                        <a:pt x="300937" y="166295"/>
                      </a:lnTo>
                      <a:lnTo>
                        <a:pt x="302127" y="167395"/>
                      </a:lnTo>
                      <a:lnTo>
                        <a:pt x="305387" y="169620"/>
                      </a:lnTo>
                      <a:lnTo>
                        <a:pt x="308443" y="170867"/>
                      </a:lnTo>
                      <a:lnTo>
                        <a:pt x="310439" y="171234"/>
                      </a:lnTo>
                      <a:lnTo>
                        <a:pt x="312355" y="170761"/>
                      </a:lnTo>
                      <a:lnTo>
                        <a:pt x="313039" y="169482"/>
                      </a:lnTo>
                      <a:lnTo>
                        <a:pt x="312868" y="167738"/>
                      </a:lnTo>
                      <a:lnTo>
                        <a:pt x="311956" y="165904"/>
                      </a:lnTo>
                      <a:lnTo>
                        <a:pt x="312029" y="163712"/>
                      </a:lnTo>
                      <a:lnTo>
                        <a:pt x="312640" y="162114"/>
                      </a:lnTo>
                      <a:lnTo>
                        <a:pt x="314588" y="159205"/>
                      </a:lnTo>
                      <a:lnTo>
                        <a:pt x="316438" y="156467"/>
                      </a:lnTo>
                      <a:lnTo>
                        <a:pt x="319266" y="153671"/>
                      </a:lnTo>
                      <a:lnTo>
                        <a:pt x="322623" y="150892"/>
                      </a:lnTo>
                      <a:lnTo>
                        <a:pt x="324041" y="148879"/>
                      </a:lnTo>
                      <a:lnTo>
                        <a:pt x="324563" y="145359"/>
                      </a:lnTo>
                      <a:lnTo>
                        <a:pt x="326763" y="143354"/>
                      </a:lnTo>
                      <a:lnTo>
                        <a:pt x="329143" y="142164"/>
                      </a:lnTo>
                      <a:lnTo>
                        <a:pt x="332094" y="141121"/>
                      </a:lnTo>
                      <a:lnTo>
                        <a:pt x="332900" y="139369"/>
                      </a:lnTo>
                      <a:lnTo>
                        <a:pt x="336975" y="136386"/>
                      </a:lnTo>
                      <a:lnTo>
                        <a:pt x="339428" y="134902"/>
                      </a:lnTo>
                      <a:lnTo>
                        <a:pt x="342501" y="134047"/>
                      </a:lnTo>
                      <a:lnTo>
                        <a:pt x="346771" y="132099"/>
                      </a:lnTo>
                      <a:lnTo>
                        <a:pt x="350129" y="129817"/>
                      </a:lnTo>
                      <a:lnTo>
                        <a:pt x="353364" y="125514"/>
                      </a:lnTo>
                      <a:lnTo>
                        <a:pt x="355907" y="122694"/>
                      </a:lnTo>
                      <a:lnTo>
                        <a:pt x="358075" y="120958"/>
                      </a:lnTo>
                      <a:lnTo>
                        <a:pt x="359884" y="120909"/>
                      </a:lnTo>
                      <a:lnTo>
                        <a:pt x="361155" y="122311"/>
                      </a:lnTo>
                      <a:lnTo>
                        <a:pt x="362247" y="122425"/>
                      </a:lnTo>
                      <a:lnTo>
                        <a:pt x="362973" y="121781"/>
                      </a:lnTo>
                      <a:lnTo>
                        <a:pt x="364179" y="119964"/>
                      </a:lnTo>
                      <a:lnTo>
                        <a:pt x="365491" y="117861"/>
                      </a:lnTo>
                      <a:lnTo>
                        <a:pt x="366714" y="116981"/>
                      </a:lnTo>
                      <a:lnTo>
                        <a:pt x="369093" y="116533"/>
                      </a:lnTo>
                      <a:lnTo>
                        <a:pt x="371237" y="115107"/>
                      </a:lnTo>
                      <a:lnTo>
                        <a:pt x="372035" y="114487"/>
                      </a:lnTo>
                      <a:lnTo>
                        <a:pt x="373453" y="113868"/>
                      </a:lnTo>
                      <a:lnTo>
                        <a:pt x="375784" y="115058"/>
                      </a:lnTo>
                      <a:lnTo>
                        <a:pt x="377838" y="116557"/>
                      </a:lnTo>
                      <a:lnTo>
                        <a:pt x="378327" y="117250"/>
                      </a:lnTo>
                      <a:lnTo>
                        <a:pt x="378221" y="118057"/>
                      </a:lnTo>
                      <a:lnTo>
                        <a:pt x="373356" y="120983"/>
                      </a:lnTo>
                      <a:lnTo>
                        <a:pt x="370332" y="122344"/>
                      </a:lnTo>
                      <a:lnTo>
                        <a:pt x="368995" y="122588"/>
                      </a:lnTo>
                      <a:lnTo>
                        <a:pt x="368629" y="122971"/>
                      </a:lnTo>
                      <a:lnTo>
                        <a:pt x="367683" y="126305"/>
                      </a:lnTo>
                      <a:lnTo>
                        <a:pt x="365809" y="126908"/>
                      </a:lnTo>
                      <a:lnTo>
                        <a:pt x="363413" y="127926"/>
                      </a:lnTo>
                      <a:lnTo>
                        <a:pt x="361726" y="129458"/>
                      </a:lnTo>
                      <a:lnTo>
                        <a:pt x="359036" y="133093"/>
                      </a:lnTo>
                      <a:lnTo>
                        <a:pt x="352248" y="138358"/>
                      </a:lnTo>
                      <a:lnTo>
                        <a:pt x="352150" y="139434"/>
                      </a:lnTo>
                      <a:lnTo>
                        <a:pt x="352737" y="140306"/>
                      </a:lnTo>
                      <a:lnTo>
                        <a:pt x="354945" y="140909"/>
                      </a:lnTo>
                      <a:lnTo>
                        <a:pt x="357863" y="142531"/>
                      </a:lnTo>
                      <a:lnTo>
                        <a:pt x="359436" y="143794"/>
                      </a:lnTo>
                      <a:lnTo>
                        <a:pt x="363763" y="142156"/>
                      </a:lnTo>
                      <a:lnTo>
                        <a:pt x="364831" y="142514"/>
                      </a:lnTo>
                      <a:lnTo>
                        <a:pt x="365964" y="144209"/>
                      </a:lnTo>
                      <a:lnTo>
                        <a:pt x="367153" y="148928"/>
                      </a:lnTo>
                      <a:lnTo>
                        <a:pt x="369093" y="150208"/>
                      </a:lnTo>
                      <a:lnTo>
                        <a:pt x="371628" y="151202"/>
                      </a:lnTo>
                      <a:lnTo>
                        <a:pt x="373200" y="151528"/>
                      </a:lnTo>
                      <a:lnTo>
                        <a:pt x="375303" y="152685"/>
                      </a:lnTo>
                      <a:lnTo>
                        <a:pt x="378099" y="153117"/>
                      </a:lnTo>
                      <a:lnTo>
                        <a:pt x="379965" y="152685"/>
                      </a:lnTo>
                      <a:lnTo>
                        <a:pt x="382304" y="153679"/>
                      </a:lnTo>
                      <a:lnTo>
                        <a:pt x="382679" y="153248"/>
                      </a:lnTo>
                      <a:lnTo>
                        <a:pt x="382989" y="146214"/>
                      </a:lnTo>
                      <a:lnTo>
                        <a:pt x="384953" y="147396"/>
                      </a:lnTo>
                      <a:lnTo>
                        <a:pt x="386086" y="147372"/>
                      </a:lnTo>
                      <a:lnTo>
                        <a:pt x="387079" y="146516"/>
                      </a:lnTo>
                      <a:lnTo>
                        <a:pt x="387585" y="145350"/>
                      </a:lnTo>
                      <a:lnTo>
                        <a:pt x="387919" y="143020"/>
                      </a:lnTo>
                      <a:lnTo>
                        <a:pt x="387487" y="140697"/>
                      </a:lnTo>
                      <a:lnTo>
                        <a:pt x="388359" y="139646"/>
                      </a:lnTo>
                      <a:lnTo>
                        <a:pt x="389036" y="139409"/>
                      </a:lnTo>
                      <a:lnTo>
                        <a:pt x="389541" y="139686"/>
                      </a:lnTo>
                      <a:lnTo>
                        <a:pt x="389843" y="140289"/>
                      </a:lnTo>
                      <a:lnTo>
                        <a:pt x="389924" y="142400"/>
                      </a:lnTo>
                      <a:lnTo>
                        <a:pt x="391342" y="143289"/>
                      </a:lnTo>
                      <a:lnTo>
                        <a:pt x="392198" y="143794"/>
                      </a:lnTo>
                      <a:lnTo>
                        <a:pt x="393037" y="145579"/>
                      </a:lnTo>
                      <a:lnTo>
                        <a:pt x="393836" y="147274"/>
                      </a:lnTo>
                      <a:lnTo>
                        <a:pt x="394341" y="151251"/>
                      </a:lnTo>
                      <a:lnTo>
                        <a:pt x="396330" y="151520"/>
                      </a:lnTo>
                      <a:lnTo>
                        <a:pt x="398652" y="152286"/>
                      </a:lnTo>
                      <a:lnTo>
                        <a:pt x="400217" y="151544"/>
                      </a:lnTo>
                      <a:lnTo>
                        <a:pt x="401423" y="151984"/>
                      </a:lnTo>
                      <a:lnTo>
                        <a:pt x="401830" y="153867"/>
                      </a:lnTo>
                      <a:lnTo>
                        <a:pt x="401830" y="155627"/>
                      </a:lnTo>
                      <a:lnTo>
                        <a:pt x="401994" y="157021"/>
                      </a:lnTo>
                      <a:lnTo>
                        <a:pt x="402637" y="157420"/>
                      </a:lnTo>
                      <a:lnTo>
                        <a:pt x="404667" y="156540"/>
                      </a:lnTo>
                      <a:lnTo>
                        <a:pt x="406386" y="156426"/>
                      </a:lnTo>
                      <a:lnTo>
                        <a:pt x="407943" y="157257"/>
                      </a:lnTo>
                      <a:lnTo>
                        <a:pt x="409899" y="158537"/>
                      </a:lnTo>
                      <a:lnTo>
                        <a:pt x="412743" y="161878"/>
                      </a:lnTo>
                      <a:lnTo>
                        <a:pt x="413681" y="162351"/>
                      </a:lnTo>
                      <a:lnTo>
                        <a:pt x="417951" y="162612"/>
                      </a:lnTo>
                      <a:lnTo>
                        <a:pt x="418839" y="163288"/>
                      </a:lnTo>
                      <a:lnTo>
                        <a:pt x="420314" y="163288"/>
                      </a:lnTo>
                      <a:lnTo>
                        <a:pt x="421895" y="162685"/>
                      </a:lnTo>
                      <a:lnTo>
                        <a:pt x="425424" y="163761"/>
                      </a:lnTo>
                      <a:lnTo>
                        <a:pt x="425546" y="164372"/>
                      </a:lnTo>
                      <a:lnTo>
                        <a:pt x="424960" y="165211"/>
                      </a:lnTo>
                      <a:lnTo>
                        <a:pt x="416549" y="169832"/>
                      </a:lnTo>
                      <a:lnTo>
                        <a:pt x="415921" y="171250"/>
                      </a:lnTo>
                      <a:lnTo>
                        <a:pt x="414210" y="173060"/>
                      </a:lnTo>
                      <a:lnTo>
                        <a:pt x="412344" y="174078"/>
                      </a:lnTo>
                      <a:lnTo>
                        <a:pt x="411439" y="174119"/>
                      </a:lnTo>
                      <a:lnTo>
                        <a:pt x="407323" y="172293"/>
                      </a:lnTo>
                      <a:lnTo>
                        <a:pt x="406851" y="172734"/>
                      </a:lnTo>
                      <a:lnTo>
                        <a:pt x="406509" y="173467"/>
                      </a:lnTo>
                      <a:lnTo>
                        <a:pt x="406525" y="174282"/>
                      </a:lnTo>
                      <a:lnTo>
                        <a:pt x="407421" y="176205"/>
                      </a:lnTo>
                      <a:lnTo>
                        <a:pt x="407006" y="177420"/>
                      </a:lnTo>
                      <a:lnTo>
                        <a:pt x="406223" y="178292"/>
                      </a:lnTo>
                      <a:lnTo>
                        <a:pt x="403648" y="177517"/>
                      </a:lnTo>
                      <a:lnTo>
                        <a:pt x="403167" y="177028"/>
                      </a:lnTo>
                      <a:lnTo>
                        <a:pt x="403126" y="176491"/>
                      </a:lnTo>
                      <a:lnTo>
                        <a:pt x="402140" y="176491"/>
                      </a:lnTo>
                      <a:lnTo>
                        <a:pt x="400608" y="177028"/>
                      </a:lnTo>
                      <a:lnTo>
                        <a:pt x="397675" y="180353"/>
                      </a:lnTo>
                      <a:lnTo>
                        <a:pt x="396639" y="182098"/>
                      </a:lnTo>
                      <a:lnTo>
                        <a:pt x="396248" y="183141"/>
                      </a:lnTo>
                      <a:lnTo>
                        <a:pt x="394944" y="183736"/>
                      </a:lnTo>
                      <a:lnTo>
                        <a:pt x="393518" y="183964"/>
                      </a:lnTo>
                      <a:lnTo>
                        <a:pt x="391717" y="185537"/>
                      </a:lnTo>
                      <a:lnTo>
                        <a:pt x="389728" y="186751"/>
                      </a:lnTo>
                      <a:lnTo>
                        <a:pt x="389093" y="185855"/>
                      </a:lnTo>
                      <a:lnTo>
                        <a:pt x="388693" y="184860"/>
                      </a:lnTo>
                      <a:lnTo>
                        <a:pt x="388172" y="184551"/>
                      </a:lnTo>
                      <a:lnTo>
                        <a:pt x="386958" y="184779"/>
                      </a:lnTo>
                      <a:lnTo>
                        <a:pt x="385458" y="184820"/>
                      </a:lnTo>
                      <a:lnTo>
                        <a:pt x="383909" y="183703"/>
                      </a:lnTo>
                      <a:lnTo>
                        <a:pt x="381888" y="182570"/>
                      </a:lnTo>
                      <a:lnTo>
                        <a:pt x="380112" y="182179"/>
                      </a:lnTo>
                      <a:lnTo>
                        <a:pt x="374896" y="182709"/>
                      </a:lnTo>
                      <a:lnTo>
                        <a:pt x="372321" y="183263"/>
                      </a:lnTo>
                      <a:lnTo>
                        <a:pt x="371514" y="183801"/>
                      </a:lnTo>
                      <a:lnTo>
                        <a:pt x="370063" y="183948"/>
                      </a:lnTo>
                      <a:lnTo>
                        <a:pt x="363951" y="185089"/>
                      </a:lnTo>
                      <a:lnTo>
                        <a:pt x="362695" y="184648"/>
                      </a:lnTo>
                      <a:lnTo>
                        <a:pt x="361783" y="182847"/>
                      </a:lnTo>
                      <a:lnTo>
                        <a:pt x="360984" y="180900"/>
                      </a:lnTo>
                      <a:lnTo>
                        <a:pt x="359411" y="180191"/>
                      </a:lnTo>
                      <a:lnTo>
                        <a:pt x="357635" y="179645"/>
                      </a:lnTo>
                      <a:lnTo>
                        <a:pt x="356966" y="178870"/>
                      </a:lnTo>
                      <a:lnTo>
                        <a:pt x="356917" y="177925"/>
                      </a:lnTo>
                      <a:lnTo>
                        <a:pt x="357097" y="176996"/>
                      </a:lnTo>
                      <a:lnTo>
                        <a:pt x="357244" y="176515"/>
                      </a:lnTo>
                      <a:lnTo>
                        <a:pt x="361359" y="172799"/>
                      </a:lnTo>
                      <a:lnTo>
                        <a:pt x="365076" y="169449"/>
                      </a:lnTo>
                      <a:lnTo>
                        <a:pt x="365409" y="169180"/>
                      </a:lnTo>
                      <a:lnTo>
                        <a:pt x="365752" y="168545"/>
                      </a:lnTo>
                      <a:lnTo>
                        <a:pt x="366379" y="167387"/>
                      </a:lnTo>
                      <a:lnTo>
                        <a:pt x="366379" y="166776"/>
                      </a:lnTo>
                      <a:lnTo>
                        <a:pt x="363608" y="165456"/>
                      </a:lnTo>
                      <a:lnTo>
                        <a:pt x="363486" y="164836"/>
                      </a:lnTo>
                      <a:lnTo>
                        <a:pt x="364048" y="164201"/>
                      </a:lnTo>
                      <a:lnTo>
                        <a:pt x="364048" y="163361"/>
                      </a:lnTo>
                      <a:lnTo>
                        <a:pt x="362085" y="160916"/>
                      </a:lnTo>
                      <a:lnTo>
                        <a:pt x="358694" y="157102"/>
                      </a:lnTo>
                      <a:lnTo>
                        <a:pt x="357716" y="156703"/>
                      </a:lnTo>
                      <a:lnTo>
                        <a:pt x="356991" y="156964"/>
                      </a:lnTo>
                      <a:lnTo>
                        <a:pt x="355654" y="160664"/>
                      </a:lnTo>
                      <a:lnTo>
                        <a:pt x="354986" y="161601"/>
                      </a:lnTo>
                      <a:lnTo>
                        <a:pt x="351123" y="164030"/>
                      </a:lnTo>
                      <a:lnTo>
                        <a:pt x="347888" y="165700"/>
                      </a:lnTo>
                      <a:lnTo>
                        <a:pt x="342126" y="168675"/>
                      </a:lnTo>
                      <a:lnTo>
                        <a:pt x="340626" y="169604"/>
                      </a:lnTo>
                      <a:lnTo>
                        <a:pt x="339583" y="169433"/>
                      </a:lnTo>
                      <a:lnTo>
                        <a:pt x="338523" y="168846"/>
                      </a:lnTo>
                      <a:lnTo>
                        <a:pt x="335296" y="165847"/>
                      </a:lnTo>
                      <a:lnTo>
                        <a:pt x="333202" y="164828"/>
                      </a:lnTo>
                      <a:lnTo>
                        <a:pt x="331792" y="165847"/>
                      </a:lnTo>
                      <a:lnTo>
                        <a:pt x="330602" y="167322"/>
                      </a:lnTo>
                      <a:lnTo>
                        <a:pt x="330716" y="170362"/>
                      </a:lnTo>
                      <a:lnTo>
                        <a:pt x="329380" y="171967"/>
                      </a:lnTo>
                      <a:lnTo>
                        <a:pt x="328051" y="172676"/>
                      </a:lnTo>
                      <a:lnTo>
                        <a:pt x="330480" y="180810"/>
                      </a:lnTo>
                      <a:lnTo>
                        <a:pt x="330235" y="181853"/>
                      </a:lnTo>
                      <a:lnTo>
                        <a:pt x="328377" y="182138"/>
                      </a:lnTo>
                      <a:lnTo>
                        <a:pt x="329746" y="185195"/>
                      </a:lnTo>
                      <a:lnTo>
                        <a:pt x="328589" y="185553"/>
                      </a:lnTo>
                      <a:lnTo>
                        <a:pt x="325671" y="184836"/>
                      </a:lnTo>
                      <a:lnTo>
                        <a:pt x="321743" y="184363"/>
                      </a:lnTo>
                      <a:lnTo>
                        <a:pt x="314319" y="185724"/>
                      </a:lnTo>
                      <a:lnTo>
                        <a:pt x="313781" y="186254"/>
                      </a:lnTo>
                      <a:lnTo>
                        <a:pt x="313577" y="186922"/>
                      </a:lnTo>
                      <a:lnTo>
                        <a:pt x="314017" y="187534"/>
                      </a:lnTo>
                      <a:lnTo>
                        <a:pt x="317603" y="187607"/>
                      </a:lnTo>
                      <a:lnTo>
                        <a:pt x="321132" y="187297"/>
                      </a:lnTo>
                      <a:lnTo>
                        <a:pt x="322110" y="187859"/>
                      </a:lnTo>
                      <a:lnTo>
                        <a:pt x="322257" y="188870"/>
                      </a:lnTo>
                      <a:lnTo>
                        <a:pt x="321841" y="189506"/>
                      </a:lnTo>
                      <a:lnTo>
                        <a:pt x="320676" y="189612"/>
                      </a:lnTo>
                      <a:lnTo>
                        <a:pt x="318109" y="190223"/>
                      </a:lnTo>
                      <a:lnTo>
                        <a:pt x="317807" y="190859"/>
                      </a:lnTo>
                      <a:lnTo>
                        <a:pt x="317717" y="191478"/>
                      </a:lnTo>
                      <a:lnTo>
                        <a:pt x="318581" y="193263"/>
                      </a:lnTo>
                      <a:lnTo>
                        <a:pt x="319567" y="194396"/>
                      </a:lnTo>
                      <a:lnTo>
                        <a:pt x="319682" y="195064"/>
                      </a:lnTo>
                      <a:lnTo>
                        <a:pt x="319282" y="195626"/>
                      </a:lnTo>
                      <a:lnTo>
                        <a:pt x="318785" y="195846"/>
                      </a:lnTo>
                      <a:lnTo>
                        <a:pt x="317929" y="195007"/>
                      </a:lnTo>
                      <a:lnTo>
                        <a:pt x="317432" y="195178"/>
                      </a:lnTo>
                      <a:lnTo>
                        <a:pt x="317187" y="195936"/>
                      </a:lnTo>
                      <a:lnTo>
                        <a:pt x="316943" y="196824"/>
                      </a:lnTo>
                      <a:lnTo>
                        <a:pt x="316381" y="197484"/>
                      </a:lnTo>
                      <a:lnTo>
                        <a:pt x="315183" y="197142"/>
                      </a:lnTo>
                      <a:lnTo>
                        <a:pt x="313993" y="197395"/>
                      </a:lnTo>
                      <a:lnTo>
                        <a:pt x="313276" y="200622"/>
                      </a:lnTo>
                      <a:lnTo>
                        <a:pt x="312681" y="204289"/>
                      </a:lnTo>
                      <a:lnTo>
                        <a:pt x="310709" y="206726"/>
                      </a:lnTo>
                      <a:lnTo>
                        <a:pt x="309633" y="207614"/>
                      </a:lnTo>
                      <a:lnTo>
                        <a:pt x="308043" y="207875"/>
                      </a:lnTo>
                      <a:lnTo>
                        <a:pt x="305664" y="207574"/>
                      </a:lnTo>
                      <a:lnTo>
                        <a:pt x="304221" y="207223"/>
                      </a:lnTo>
                      <a:lnTo>
                        <a:pt x="300057" y="206685"/>
                      </a:lnTo>
                      <a:lnTo>
                        <a:pt x="295868" y="205683"/>
                      </a:lnTo>
                      <a:lnTo>
                        <a:pt x="291173" y="204746"/>
                      </a:lnTo>
                      <a:lnTo>
                        <a:pt x="286797" y="206897"/>
                      </a:lnTo>
                      <a:lnTo>
                        <a:pt x="285542" y="208209"/>
                      </a:lnTo>
                      <a:lnTo>
                        <a:pt x="284735" y="209440"/>
                      </a:lnTo>
                      <a:lnTo>
                        <a:pt x="283904" y="210010"/>
                      </a:lnTo>
                      <a:lnTo>
                        <a:pt x="282005" y="217557"/>
                      </a:lnTo>
                      <a:lnTo>
                        <a:pt x="282201" y="218413"/>
                      </a:lnTo>
                      <a:lnTo>
                        <a:pt x="283260" y="219089"/>
                      </a:lnTo>
                      <a:lnTo>
                        <a:pt x="288623" y="220654"/>
                      </a:lnTo>
                      <a:lnTo>
                        <a:pt x="289414" y="221306"/>
                      </a:lnTo>
                      <a:lnTo>
                        <a:pt x="289886" y="222048"/>
                      </a:lnTo>
                      <a:lnTo>
                        <a:pt x="290114" y="225446"/>
                      </a:lnTo>
                      <a:lnTo>
                        <a:pt x="290563" y="225911"/>
                      </a:lnTo>
                      <a:lnTo>
                        <a:pt x="292404" y="226326"/>
                      </a:lnTo>
                      <a:lnTo>
                        <a:pt x="295061" y="226302"/>
                      </a:lnTo>
                      <a:lnTo>
                        <a:pt x="297147" y="225968"/>
                      </a:lnTo>
                      <a:lnTo>
                        <a:pt x="299250" y="226285"/>
                      </a:lnTo>
                      <a:lnTo>
                        <a:pt x="300717" y="227011"/>
                      </a:lnTo>
                      <a:lnTo>
                        <a:pt x="301442" y="228168"/>
                      </a:lnTo>
                      <a:lnTo>
                        <a:pt x="301834" y="229415"/>
                      </a:lnTo>
                      <a:lnTo>
                        <a:pt x="299340" y="236864"/>
                      </a:lnTo>
                      <a:lnTo>
                        <a:pt x="299535" y="239561"/>
                      </a:lnTo>
                      <a:lnTo>
                        <a:pt x="300310" y="243441"/>
                      </a:lnTo>
                      <a:lnTo>
                        <a:pt x="301728" y="246480"/>
                      </a:lnTo>
                      <a:lnTo>
                        <a:pt x="304384" y="249455"/>
                      </a:lnTo>
                      <a:lnTo>
                        <a:pt x="306414" y="251354"/>
                      </a:lnTo>
                      <a:lnTo>
                        <a:pt x="306846" y="252250"/>
                      </a:lnTo>
                      <a:lnTo>
                        <a:pt x="306943" y="253636"/>
                      </a:lnTo>
                      <a:lnTo>
                        <a:pt x="306617" y="255404"/>
                      </a:lnTo>
                      <a:lnTo>
                        <a:pt x="305435" y="258208"/>
                      </a:lnTo>
                      <a:lnTo>
                        <a:pt x="304018" y="260661"/>
                      </a:lnTo>
                      <a:lnTo>
                        <a:pt x="302461" y="261704"/>
                      </a:lnTo>
                      <a:lnTo>
                        <a:pt x="300317" y="264817"/>
                      </a:lnTo>
                      <a:lnTo>
                        <a:pt x="298427" y="268648"/>
                      </a:lnTo>
                      <a:lnTo>
                        <a:pt x="294768" y="273668"/>
                      </a:lnTo>
                      <a:lnTo>
                        <a:pt x="293554" y="276463"/>
                      </a:lnTo>
                      <a:lnTo>
                        <a:pt x="293146" y="284540"/>
                      </a:lnTo>
                      <a:lnTo>
                        <a:pt x="292184" y="286960"/>
                      </a:lnTo>
                      <a:lnTo>
                        <a:pt x="292029" y="286047"/>
                      </a:lnTo>
                      <a:lnTo>
                        <a:pt x="290709" y="285135"/>
                      </a:lnTo>
                      <a:lnTo>
                        <a:pt x="288419" y="285298"/>
                      </a:lnTo>
                      <a:lnTo>
                        <a:pt x="286903" y="284858"/>
                      </a:lnTo>
                      <a:lnTo>
                        <a:pt x="286186" y="283822"/>
                      </a:lnTo>
                      <a:lnTo>
                        <a:pt x="284304" y="284116"/>
                      </a:lnTo>
                      <a:lnTo>
                        <a:pt x="281288" y="285730"/>
                      </a:lnTo>
                      <a:lnTo>
                        <a:pt x="278199" y="284874"/>
                      </a:lnTo>
                      <a:lnTo>
                        <a:pt x="275061" y="281549"/>
                      </a:lnTo>
                      <a:lnTo>
                        <a:pt x="269079" y="280334"/>
                      </a:lnTo>
                      <a:lnTo>
                        <a:pt x="261509" y="281100"/>
                      </a:lnTo>
                      <a:lnTo>
                        <a:pt x="261215" y="277417"/>
                      </a:lnTo>
                      <a:lnTo>
                        <a:pt x="261240" y="272731"/>
                      </a:lnTo>
                      <a:lnTo>
                        <a:pt x="261590" y="266496"/>
                      </a:lnTo>
                      <a:lnTo>
                        <a:pt x="264157" y="261598"/>
                      </a:lnTo>
                      <a:lnTo>
                        <a:pt x="264084" y="260661"/>
                      </a:lnTo>
                      <a:lnTo>
                        <a:pt x="263579" y="259765"/>
                      </a:lnTo>
                      <a:lnTo>
                        <a:pt x="262788" y="258958"/>
                      </a:lnTo>
                      <a:lnTo>
                        <a:pt x="258208" y="257613"/>
                      </a:lnTo>
                      <a:lnTo>
                        <a:pt x="256855" y="256904"/>
                      </a:lnTo>
                      <a:lnTo>
                        <a:pt x="255087" y="255372"/>
                      </a:lnTo>
                      <a:lnTo>
                        <a:pt x="252837" y="253742"/>
                      </a:lnTo>
                      <a:lnTo>
                        <a:pt x="250906" y="252625"/>
                      </a:lnTo>
                      <a:lnTo>
                        <a:pt x="247833" y="251142"/>
                      </a:lnTo>
                      <a:lnTo>
                        <a:pt x="244997" y="250311"/>
                      </a:lnTo>
                      <a:lnTo>
                        <a:pt x="243343" y="250946"/>
                      </a:lnTo>
                      <a:lnTo>
                        <a:pt x="241811" y="251737"/>
                      </a:lnTo>
                      <a:lnTo>
                        <a:pt x="240393" y="251762"/>
                      </a:lnTo>
                      <a:lnTo>
                        <a:pt x="238942" y="251330"/>
                      </a:lnTo>
                      <a:lnTo>
                        <a:pt x="233653" y="247630"/>
                      </a:lnTo>
                      <a:lnTo>
                        <a:pt x="225650" y="241232"/>
                      </a:lnTo>
                      <a:lnTo>
                        <a:pt x="219301" y="236758"/>
                      </a:lnTo>
                      <a:lnTo>
                        <a:pt x="215324" y="234623"/>
                      </a:lnTo>
                      <a:lnTo>
                        <a:pt x="214379" y="233938"/>
                      </a:lnTo>
                      <a:lnTo>
                        <a:pt x="212154" y="231925"/>
                      </a:lnTo>
                      <a:lnTo>
                        <a:pt x="206653" y="226497"/>
                      </a:lnTo>
                      <a:lnTo>
                        <a:pt x="203002" y="227296"/>
                      </a:lnTo>
                      <a:lnTo>
                        <a:pt x="197778" y="223759"/>
                      </a:lnTo>
                      <a:lnTo>
                        <a:pt x="193100" y="220312"/>
                      </a:lnTo>
                      <a:lnTo>
                        <a:pt x="192032" y="219383"/>
                      </a:lnTo>
                      <a:lnTo>
                        <a:pt x="186702" y="213009"/>
                      </a:lnTo>
                      <a:lnTo>
                        <a:pt x="181405" y="208878"/>
                      </a:lnTo>
                      <a:lnTo>
                        <a:pt x="175602" y="204346"/>
                      </a:lnTo>
                      <a:lnTo>
                        <a:pt x="171845" y="201518"/>
                      </a:lnTo>
                      <a:lnTo>
                        <a:pt x="165505" y="196726"/>
                      </a:lnTo>
                      <a:lnTo>
                        <a:pt x="162383" y="193825"/>
                      </a:lnTo>
                      <a:lnTo>
                        <a:pt x="161340" y="192757"/>
                      </a:lnTo>
                      <a:lnTo>
                        <a:pt x="160305" y="190704"/>
                      </a:lnTo>
                      <a:lnTo>
                        <a:pt x="158659" y="180663"/>
                      </a:lnTo>
                      <a:lnTo>
                        <a:pt x="156760" y="176059"/>
                      </a:lnTo>
                      <a:lnTo>
                        <a:pt x="154038" y="173557"/>
                      </a:lnTo>
                      <a:lnTo>
                        <a:pt x="151724" y="168716"/>
                      </a:lnTo>
                      <a:lnTo>
                        <a:pt x="149809" y="161544"/>
                      </a:lnTo>
                      <a:lnTo>
                        <a:pt x="148211" y="156874"/>
                      </a:lnTo>
                      <a:lnTo>
                        <a:pt x="146964" y="154723"/>
                      </a:lnTo>
                      <a:lnTo>
                        <a:pt x="144405" y="152343"/>
                      </a:lnTo>
                      <a:lnTo>
                        <a:pt x="140559" y="149735"/>
                      </a:lnTo>
                      <a:lnTo>
                        <a:pt x="136899" y="148496"/>
                      </a:lnTo>
                      <a:lnTo>
                        <a:pt x="135579" y="148545"/>
                      </a:lnTo>
                      <a:lnTo>
                        <a:pt x="134927" y="148871"/>
                      </a:lnTo>
                      <a:lnTo>
                        <a:pt x="134177" y="149319"/>
                      </a:lnTo>
                      <a:lnTo>
                        <a:pt x="132727" y="151267"/>
                      </a:lnTo>
                      <a:lnTo>
                        <a:pt x="130575" y="151463"/>
                      </a:lnTo>
                      <a:lnTo>
                        <a:pt x="129010" y="151422"/>
                      </a:lnTo>
                      <a:lnTo>
                        <a:pt x="127535" y="150729"/>
                      </a:lnTo>
                      <a:lnTo>
                        <a:pt x="122914" y="150110"/>
                      </a:lnTo>
                      <a:lnTo>
                        <a:pt x="121276" y="149433"/>
                      </a:lnTo>
                      <a:lnTo>
                        <a:pt x="118489" y="149531"/>
                      </a:lnTo>
                      <a:lnTo>
                        <a:pt x="112507" y="150542"/>
                      </a:lnTo>
                      <a:lnTo>
                        <a:pt x="111057" y="150363"/>
                      </a:lnTo>
                      <a:lnTo>
                        <a:pt x="104732" y="146002"/>
                      </a:lnTo>
                      <a:lnTo>
                        <a:pt x="101994" y="144283"/>
                      </a:lnTo>
                      <a:lnTo>
                        <a:pt x="101440" y="143321"/>
                      </a:lnTo>
                      <a:lnTo>
                        <a:pt x="101480" y="141650"/>
                      </a:lnTo>
                      <a:lnTo>
                        <a:pt x="102401" y="139287"/>
                      </a:lnTo>
                      <a:lnTo>
                        <a:pt x="103200" y="137608"/>
                      </a:lnTo>
                      <a:lnTo>
                        <a:pt x="102850" y="135872"/>
                      </a:lnTo>
                      <a:lnTo>
                        <a:pt x="101652" y="133965"/>
                      </a:lnTo>
                      <a:lnTo>
                        <a:pt x="101652" y="131936"/>
                      </a:lnTo>
                      <a:lnTo>
                        <a:pt x="102475" y="130803"/>
                      </a:lnTo>
                      <a:lnTo>
                        <a:pt x="104153" y="131162"/>
                      </a:lnTo>
                      <a:lnTo>
                        <a:pt x="104757" y="130453"/>
                      </a:lnTo>
                      <a:lnTo>
                        <a:pt x="104536" y="129377"/>
                      </a:lnTo>
                      <a:lnTo>
                        <a:pt x="103648" y="128603"/>
                      </a:lnTo>
                      <a:lnTo>
                        <a:pt x="102434" y="126875"/>
                      </a:lnTo>
                      <a:lnTo>
                        <a:pt x="98864" y="125261"/>
                      </a:lnTo>
                      <a:lnTo>
                        <a:pt x="98359" y="124609"/>
                      </a:lnTo>
                      <a:lnTo>
                        <a:pt x="98538" y="123860"/>
                      </a:lnTo>
                      <a:lnTo>
                        <a:pt x="99150" y="123053"/>
                      </a:lnTo>
                      <a:lnTo>
                        <a:pt x="99272" y="121358"/>
                      </a:lnTo>
                      <a:lnTo>
                        <a:pt x="99337" y="119165"/>
                      </a:lnTo>
                      <a:lnTo>
                        <a:pt x="99818" y="118033"/>
                      </a:lnTo>
                      <a:lnTo>
                        <a:pt x="99948" y="117136"/>
                      </a:lnTo>
                      <a:lnTo>
                        <a:pt x="99435" y="116411"/>
                      </a:lnTo>
                      <a:lnTo>
                        <a:pt x="98237" y="115579"/>
                      </a:lnTo>
                      <a:lnTo>
                        <a:pt x="96289" y="113542"/>
                      </a:lnTo>
                      <a:lnTo>
                        <a:pt x="93925" y="113322"/>
                      </a:lnTo>
                      <a:lnTo>
                        <a:pt x="86199" y="113387"/>
                      </a:lnTo>
                      <a:lnTo>
                        <a:pt x="83795" y="112572"/>
                      </a:lnTo>
                      <a:lnTo>
                        <a:pt x="81872" y="111439"/>
                      </a:lnTo>
                      <a:lnTo>
                        <a:pt x="79949" y="107120"/>
                      </a:lnTo>
                      <a:lnTo>
                        <a:pt x="78979" y="106093"/>
                      </a:lnTo>
                      <a:lnTo>
                        <a:pt x="78075" y="105669"/>
                      </a:lnTo>
                      <a:lnTo>
                        <a:pt x="75906" y="105515"/>
                      </a:lnTo>
                      <a:lnTo>
                        <a:pt x="73307" y="105091"/>
                      </a:lnTo>
                      <a:lnTo>
                        <a:pt x="71970" y="104365"/>
                      </a:lnTo>
                      <a:lnTo>
                        <a:pt x="68327" y="100413"/>
                      </a:lnTo>
                      <a:lnTo>
                        <a:pt x="64831" y="96876"/>
                      </a:lnTo>
                      <a:lnTo>
                        <a:pt x="63421" y="100209"/>
                      </a:lnTo>
                      <a:lnTo>
                        <a:pt x="62052" y="100869"/>
                      </a:lnTo>
                      <a:lnTo>
                        <a:pt x="58972" y="100559"/>
                      </a:lnTo>
                      <a:lnTo>
                        <a:pt x="56657" y="99997"/>
                      </a:lnTo>
                      <a:lnTo>
                        <a:pt x="55337" y="100755"/>
                      </a:lnTo>
                      <a:lnTo>
                        <a:pt x="53976" y="102067"/>
                      </a:lnTo>
                      <a:lnTo>
                        <a:pt x="54236" y="102931"/>
                      </a:lnTo>
                      <a:lnTo>
                        <a:pt x="55280" y="103852"/>
                      </a:lnTo>
                      <a:lnTo>
                        <a:pt x="57374" y="105547"/>
                      </a:lnTo>
                      <a:lnTo>
                        <a:pt x="60585" y="109704"/>
                      </a:lnTo>
                      <a:lnTo>
                        <a:pt x="62052" y="111994"/>
                      </a:lnTo>
                      <a:lnTo>
                        <a:pt x="62264" y="112800"/>
                      </a:lnTo>
                      <a:lnTo>
                        <a:pt x="61995" y="113395"/>
                      </a:lnTo>
                      <a:lnTo>
                        <a:pt x="61563" y="113664"/>
                      </a:lnTo>
                      <a:lnTo>
                        <a:pt x="60919" y="113648"/>
                      </a:lnTo>
                      <a:lnTo>
                        <a:pt x="60071" y="113640"/>
                      </a:lnTo>
                      <a:lnTo>
                        <a:pt x="59575" y="112955"/>
                      </a:lnTo>
                      <a:lnTo>
                        <a:pt x="59403" y="111774"/>
                      </a:lnTo>
                      <a:lnTo>
                        <a:pt x="58327" y="109981"/>
                      </a:lnTo>
                      <a:lnTo>
                        <a:pt x="57227" y="108946"/>
                      </a:lnTo>
                      <a:lnTo>
                        <a:pt x="56021" y="108294"/>
                      </a:lnTo>
                      <a:lnTo>
                        <a:pt x="54318" y="107813"/>
                      </a:lnTo>
                      <a:lnTo>
                        <a:pt x="52085" y="106957"/>
                      </a:lnTo>
                      <a:lnTo>
                        <a:pt x="50936" y="106916"/>
                      </a:lnTo>
                      <a:lnTo>
                        <a:pt x="49803" y="107919"/>
                      </a:lnTo>
                      <a:lnTo>
                        <a:pt x="48858" y="109255"/>
                      </a:lnTo>
                      <a:lnTo>
                        <a:pt x="48320" y="112173"/>
                      </a:lnTo>
                      <a:lnTo>
                        <a:pt x="46649" y="115751"/>
                      </a:lnTo>
                      <a:lnTo>
                        <a:pt x="45606" y="117169"/>
                      </a:lnTo>
                      <a:lnTo>
                        <a:pt x="42427" y="118033"/>
                      </a:lnTo>
                      <a:lnTo>
                        <a:pt x="34873" y="118326"/>
                      </a:lnTo>
                      <a:lnTo>
                        <a:pt x="32623" y="119442"/>
                      </a:lnTo>
                      <a:lnTo>
                        <a:pt x="31091" y="120795"/>
                      </a:lnTo>
                      <a:lnTo>
                        <a:pt x="28223" y="125172"/>
                      </a:lnTo>
                      <a:lnTo>
                        <a:pt x="26250" y="126622"/>
                      </a:lnTo>
                      <a:lnTo>
                        <a:pt x="24522" y="128619"/>
                      </a:lnTo>
                      <a:lnTo>
                        <a:pt x="25028" y="135041"/>
                      </a:lnTo>
                      <a:lnTo>
                        <a:pt x="25851" y="142531"/>
                      </a:lnTo>
                      <a:lnTo>
                        <a:pt x="27318" y="144601"/>
                      </a:lnTo>
                      <a:lnTo>
                        <a:pt x="28231" y="145228"/>
                      </a:lnTo>
                      <a:lnTo>
                        <a:pt x="28361" y="145962"/>
                      </a:lnTo>
                      <a:lnTo>
                        <a:pt x="27766" y="146606"/>
                      </a:lnTo>
                      <a:lnTo>
                        <a:pt x="27008" y="147429"/>
                      </a:lnTo>
                      <a:lnTo>
                        <a:pt x="25851" y="148928"/>
                      </a:lnTo>
                      <a:lnTo>
                        <a:pt x="24555" y="148871"/>
                      </a:lnTo>
                      <a:lnTo>
                        <a:pt x="21964" y="148496"/>
                      </a:lnTo>
                      <a:lnTo>
                        <a:pt x="19796" y="148097"/>
                      </a:lnTo>
                      <a:lnTo>
                        <a:pt x="12502" y="147665"/>
                      </a:lnTo>
                      <a:lnTo>
                        <a:pt x="6609" y="147306"/>
                      </a:lnTo>
                      <a:lnTo>
                        <a:pt x="41" y="146923"/>
                      </a:lnTo>
                      <a:lnTo>
                        <a:pt x="32" y="139067"/>
                      </a:lnTo>
                      <a:lnTo>
                        <a:pt x="32" y="131203"/>
                      </a:lnTo>
                      <a:lnTo>
                        <a:pt x="32" y="123322"/>
                      </a:lnTo>
                      <a:lnTo>
                        <a:pt x="32" y="115433"/>
                      </a:lnTo>
                      <a:lnTo>
                        <a:pt x="32" y="107528"/>
                      </a:lnTo>
                      <a:lnTo>
                        <a:pt x="24" y="99606"/>
                      </a:lnTo>
                      <a:lnTo>
                        <a:pt x="24" y="91676"/>
                      </a:lnTo>
                      <a:lnTo>
                        <a:pt x="24" y="83738"/>
                      </a:lnTo>
                      <a:lnTo>
                        <a:pt x="16" y="75784"/>
                      </a:lnTo>
                      <a:lnTo>
                        <a:pt x="16" y="67822"/>
                      </a:lnTo>
                      <a:lnTo>
                        <a:pt x="16" y="59844"/>
                      </a:lnTo>
                      <a:lnTo>
                        <a:pt x="8" y="51857"/>
                      </a:lnTo>
                      <a:lnTo>
                        <a:pt x="8" y="43854"/>
                      </a:lnTo>
                      <a:lnTo>
                        <a:pt x="8" y="35769"/>
                      </a:lnTo>
                      <a:lnTo>
                        <a:pt x="0" y="27734"/>
                      </a:lnTo>
                      <a:lnTo>
                        <a:pt x="0" y="19690"/>
                      </a:lnTo>
                      <a:lnTo>
                        <a:pt x="3088" y="18687"/>
                      </a:lnTo>
                      <a:lnTo>
                        <a:pt x="6992" y="17432"/>
                      </a:lnTo>
                      <a:lnTo>
                        <a:pt x="10741" y="16218"/>
                      </a:lnTo>
                      <a:lnTo>
                        <a:pt x="15199" y="14784"/>
                      </a:lnTo>
                      <a:lnTo>
                        <a:pt x="20236" y="13162"/>
                      </a:lnTo>
                      <a:lnTo>
                        <a:pt x="24531" y="11776"/>
                      </a:lnTo>
                      <a:lnTo>
                        <a:pt x="29657" y="10114"/>
                      </a:lnTo>
                      <a:lnTo>
                        <a:pt x="33560" y="8851"/>
                      </a:lnTo>
                      <a:lnTo>
                        <a:pt x="37236" y="7661"/>
                      </a:lnTo>
                      <a:lnTo>
                        <a:pt x="41922" y="6259"/>
                      </a:lnTo>
                      <a:lnTo>
                        <a:pt x="49224" y="4067"/>
                      </a:lnTo>
                      <a:lnTo>
                        <a:pt x="53283" y="2844"/>
                      </a:lnTo>
                      <a:lnTo>
                        <a:pt x="57415" y="1614"/>
                      </a:lnTo>
                      <a:lnTo>
                        <a:pt x="61335" y="432"/>
                      </a:lnTo>
                      <a:lnTo>
                        <a:pt x="63951" y="0"/>
                      </a:lnTo>
                      <a:lnTo>
                        <a:pt x="66779" y="1679"/>
                      </a:lnTo>
                      <a:lnTo>
                        <a:pt x="70202" y="4001"/>
                      </a:lnTo>
                      <a:lnTo>
                        <a:pt x="73625" y="6316"/>
                      </a:lnTo>
                      <a:lnTo>
                        <a:pt x="77064" y="8622"/>
                      </a:lnTo>
                      <a:lnTo>
                        <a:pt x="80487" y="10937"/>
                      </a:lnTo>
                      <a:lnTo>
                        <a:pt x="83910" y="13251"/>
                      </a:lnTo>
                      <a:lnTo>
                        <a:pt x="87341" y="15558"/>
                      </a:lnTo>
                      <a:lnTo>
                        <a:pt x="90764" y="17872"/>
                      </a:lnTo>
                      <a:lnTo>
                        <a:pt x="94187" y="20179"/>
                      </a:lnTo>
                      <a:lnTo>
                        <a:pt x="97617" y="22485"/>
                      </a:lnTo>
                      <a:lnTo>
                        <a:pt x="101048" y="24791"/>
                      </a:lnTo>
                      <a:lnTo>
                        <a:pt x="104471" y="27098"/>
                      </a:lnTo>
                      <a:lnTo>
                        <a:pt x="107902" y="29404"/>
                      </a:lnTo>
                      <a:lnTo>
                        <a:pt x="111334" y="31702"/>
                      </a:lnTo>
                      <a:lnTo>
                        <a:pt x="114756" y="34009"/>
                      </a:lnTo>
                      <a:lnTo>
                        <a:pt x="118179" y="36307"/>
                      </a:lnTo>
                      <a:lnTo>
                        <a:pt x="121602" y="38605"/>
                      </a:lnTo>
                      <a:lnTo>
                        <a:pt x="124797" y="40749"/>
                      </a:lnTo>
                      <a:lnTo>
                        <a:pt x="126223" y="42330"/>
                      </a:lnTo>
                      <a:lnTo>
                        <a:pt x="127022" y="45834"/>
                      </a:lnTo>
                      <a:lnTo>
                        <a:pt x="128595" y="48613"/>
                      </a:lnTo>
                      <a:lnTo>
                        <a:pt x="131349" y="51620"/>
                      </a:lnTo>
                      <a:lnTo>
                        <a:pt x="134161" y="54693"/>
                      </a:lnTo>
                      <a:lnTo>
                        <a:pt x="137649" y="58751"/>
                      </a:lnTo>
                      <a:lnTo>
                        <a:pt x="140085" y="61571"/>
                      </a:lnTo>
                      <a:lnTo>
                        <a:pt x="142555" y="64448"/>
                      </a:lnTo>
                      <a:lnTo>
                        <a:pt x="146630" y="69175"/>
                      </a:lnTo>
                      <a:lnTo>
                        <a:pt x="149067" y="72117"/>
                      </a:lnTo>
                      <a:close/>
                    </a:path>
                  </a:pathLst>
                </a:custGeom>
                <a:solidFill>
                  <a:srgbClr val="D6D6D2"/>
                </a:solidFill>
                <a:ln w="6112" cap="rnd">
                  <a:solidFill>
                    <a:srgbClr val="FFFFFF"/>
                  </a:solidFill>
                  <a:prstDash val="solid"/>
                  <a:round/>
                </a:ln>
              </p:spPr>
              <p:txBody>
                <a:bodyPr rtlCol="0" anchor="ctr"/>
                <a:lstStyle/>
                <a:p>
                  <a:endParaRPr lang="en-US"/>
                </a:p>
              </p:txBody>
            </p:sp>
            <p:sp>
              <p:nvSpPr>
                <p:cNvPr id="553" name="Freeform: Shape 552">
                  <a:extLst>
                    <a:ext uri="{FF2B5EF4-FFF2-40B4-BE49-F238E27FC236}">
                      <a16:creationId xmlns:a16="http://schemas.microsoft.com/office/drawing/2014/main" id="{AD506BC3-9492-44DB-B7E9-C715BD210933}"/>
                    </a:ext>
                  </a:extLst>
                </p:cNvPr>
                <p:cNvSpPr/>
                <p:nvPr/>
              </p:nvSpPr>
              <p:spPr>
                <a:xfrm>
                  <a:off x="4494235" y="5447022"/>
                  <a:ext cx="131756" cy="156972"/>
                </a:xfrm>
                <a:custGeom>
                  <a:avLst/>
                  <a:gdLst>
                    <a:gd name="connsiteX0" fmla="*/ 125685 w 131756"/>
                    <a:gd name="connsiteY0" fmla="*/ 117935 h 156972"/>
                    <a:gd name="connsiteX1" fmla="*/ 124463 w 131756"/>
                    <a:gd name="connsiteY1" fmla="*/ 119141 h 156972"/>
                    <a:gd name="connsiteX2" fmla="*/ 123159 w 131756"/>
                    <a:gd name="connsiteY2" fmla="*/ 121431 h 156972"/>
                    <a:gd name="connsiteX3" fmla="*/ 121618 w 131756"/>
                    <a:gd name="connsiteY3" fmla="*/ 126948 h 156972"/>
                    <a:gd name="connsiteX4" fmla="*/ 116452 w 131756"/>
                    <a:gd name="connsiteY4" fmla="*/ 134544 h 156972"/>
                    <a:gd name="connsiteX5" fmla="*/ 115400 w 131756"/>
                    <a:gd name="connsiteY5" fmla="*/ 138831 h 156972"/>
                    <a:gd name="connsiteX6" fmla="*/ 109818 w 131756"/>
                    <a:gd name="connsiteY6" fmla="*/ 143313 h 156972"/>
                    <a:gd name="connsiteX7" fmla="*/ 105889 w 131756"/>
                    <a:gd name="connsiteY7" fmla="*/ 148374 h 156972"/>
                    <a:gd name="connsiteX8" fmla="*/ 103322 w 131756"/>
                    <a:gd name="connsiteY8" fmla="*/ 148244 h 156972"/>
                    <a:gd name="connsiteX9" fmla="*/ 101016 w 131756"/>
                    <a:gd name="connsiteY9" fmla="*/ 150403 h 156972"/>
                    <a:gd name="connsiteX10" fmla="*/ 87691 w 131756"/>
                    <a:gd name="connsiteY10" fmla="*/ 156972 h 156972"/>
                    <a:gd name="connsiteX11" fmla="*/ 82907 w 131756"/>
                    <a:gd name="connsiteY11" fmla="*/ 155749 h 156972"/>
                    <a:gd name="connsiteX12" fmla="*/ 79370 w 131756"/>
                    <a:gd name="connsiteY12" fmla="*/ 155766 h 156972"/>
                    <a:gd name="connsiteX13" fmla="*/ 76078 w 131756"/>
                    <a:gd name="connsiteY13" fmla="*/ 152865 h 156972"/>
                    <a:gd name="connsiteX14" fmla="*/ 68572 w 131756"/>
                    <a:gd name="connsiteY14" fmla="*/ 151813 h 156972"/>
                    <a:gd name="connsiteX15" fmla="*/ 63861 w 131756"/>
                    <a:gd name="connsiteY15" fmla="*/ 152970 h 156972"/>
                    <a:gd name="connsiteX16" fmla="*/ 57545 w 131756"/>
                    <a:gd name="connsiteY16" fmla="*/ 156165 h 156972"/>
                    <a:gd name="connsiteX17" fmla="*/ 55638 w 131756"/>
                    <a:gd name="connsiteY17" fmla="*/ 156116 h 156972"/>
                    <a:gd name="connsiteX18" fmla="*/ 54269 w 131756"/>
                    <a:gd name="connsiteY18" fmla="*/ 155953 h 156972"/>
                    <a:gd name="connsiteX19" fmla="*/ 50846 w 131756"/>
                    <a:gd name="connsiteY19" fmla="*/ 154625 h 156972"/>
                    <a:gd name="connsiteX20" fmla="*/ 48980 w 131756"/>
                    <a:gd name="connsiteY20" fmla="*/ 151805 h 156972"/>
                    <a:gd name="connsiteX21" fmla="*/ 39257 w 131756"/>
                    <a:gd name="connsiteY21" fmla="*/ 148562 h 156972"/>
                    <a:gd name="connsiteX22" fmla="*/ 31433 w 131756"/>
                    <a:gd name="connsiteY22" fmla="*/ 141194 h 156972"/>
                    <a:gd name="connsiteX23" fmla="*/ 22183 w 131756"/>
                    <a:gd name="connsiteY23" fmla="*/ 141047 h 156972"/>
                    <a:gd name="connsiteX24" fmla="*/ 15101 w 131756"/>
                    <a:gd name="connsiteY24" fmla="*/ 142017 h 156972"/>
                    <a:gd name="connsiteX25" fmla="*/ 14009 w 131756"/>
                    <a:gd name="connsiteY25" fmla="*/ 141039 h 156972"/>
                    <a:gd name="connsiteX26" fmla="*/ 13292 w 131756"/>
                    <a:gd name="connsiteY26" fmla="*/ 139165 h 156972"/>
                    <a:gd name="connsiteX27" fmla="*/ 11825 w 131756"/>
                    <a:gd name="connsiteY27" fmla="*/ 136426 h 156972"/>
                    <a:gd name="connsiteX28" fmla="*/ 5729 w 131756"/>
                    <a:gd name="connsiteY28" fmla="*/ 129948 h 156972"/>
                    <a:gd name="connsiteX29" fmla="*/ 937 w 131756"/>
                    <a:gd name="connsiteY29" fmla="*/ 123493 h 156972"/>
                    <a:gd name="connsiteX30" fmla="*/ 0 w 131756"/>
                    <a:gd name="connsiteY30" fmla="*/ 117177 h 156972"/>
                    <a:gd name="connsiteX31" fmla="*/ 668 w 131756"/>
                    <a:gd name="connsiteY31" fmla="*/ 110315 h 156972"/>
                    <a:gd name="connsiteX32" fmla="*/ 2094 w 131756"/>
                    <a:gd name="connsiteY32" fmla="*/ 102206 h 156972"/>
                    <a:gd name="connsiteX33" fmla="*/ 1850 w 131756"/>
                    <a:gd name="connsiteY33" fmla="*/ 99663 h 156972"/>
                    <a:gd name="connsiteX34" fmla="*/ 3618 w 131756"/>
                    <a:gd name="connsiteY34" fmla="*/ 98212 h 156972"/>
                    <a:gd name="connsiteX35" fmla="*/ 5371 w 131756"/>
                    <a:gd name="connsiteY35" fmla="*/ 97919 h 156972"/>
                    <a:gd name="connsiteX36" fmla="*/ 7058 w 131756"/>
                    <a:gd name="connsiteY36" fmla="*/ 95825 h 156972"/>
                    <a:gd name="connsiteX37" fmla="*/ 8565 w 131756"/>
                    <a:gd name="connsiteY37" fmla="*/ 92662 h 156972"/>
                    <a:gd name="connsiteX38" fmla="*/ 8826 w 131756"/>
                    <a:gd name="connsiteY38" fmla="*/ 90250 h 156972"/>
                    <a:gd name="connsiteX39" fmla="*/ 7644 w 131756"/>
                    <a:gd name="connsiteY39" fmla="*/ 85825 h 156972"/>
                    <a:gd name="connsiteX40" fmla="*/ 6838 w 131756"/>
                    <a:gd name="connsiteY40" fmla="*/ 79607 h 156972"/>
                    <a:gd name="connsiteX41" fmla="*/ 5876 w 131756"/>
                    <a:gd name="connsiteY41" fmla="*/ 76534 h 156972"/>
                    <a:gd name="connsiteX42" fmla="*/ 7815 w 131756"/>
                    <a:gd name="connsiteY42" fmla="*/ 71669 h 156972"/>
                    <a:gd name="connsiteX43" fmla="*/ 7897 w 131756"/>
                    <a:gd name="connsiteY43" fmla="*/ 69297 h 156972"/>
                    <a:gd name="connsiteX44" fmla="*/ 6781 w 131756"/>
                    <a:gd name="connsiteY44" fmla="*/ 67219 h 156972"/>
                    <a:gd name="connsiteX45" fmla="*/ 6471 w 131756"/>
                    <a:gd name="connsiteY45" fmla="*/ 65100 h 156972"/>
                    <a:gd name="connsiteX46" fmla="*/ 6984 w 131756"/>
                    <a:gd name="connsiteY46" fmla="*/ 62900 h 156972"/>
                    <a:gd name="connsiteX47" fmla="*/ 6878 w 131756"/>
                    <a:gd name="connsiteY47" fmla="*/ 60797 h 156972"/>
                    <a:gd name="connsiteX48" fmla="*/ 6177 w 131756"/>
                    <a:gd name="connsiteY48" fmla="*/ 58784 h 156972"/>
                    <a:gd name="connsiteX49" fmla="*/ 6707 w 131756"/>
                    <a:gd name="connsiteY49" fmla="*/ 57105 h 156972"/>
                    <a:gd name="connsiteX50" fmla="*/ 8484 w 131756"/>
                    <a:gd name="connsiteY50" fmla="*/ 55785 h 156972"/>
                    <a:gd name="connsiteX51" fmla="*/ 9812 w 131756"/>
                    <a:gd name="connsiteY51" fmla="*/ 53756 h 156972"/>
                    <a:gd name="connsiteX52" fmla="*/ 10692 w 131756"/>
                    <a:gd name="connsiteY52" fmla="*/ 51034 h 156972"/>
                    <a:gd name="connsiteX53" fmla="*/ 11141 w 131756"/>
                    <a:gd name="connsiteY53" fmla="*/ 48956 h 156972"/>
                    <a:gd name="connsiteX54" fmla="*/ 11165 w 131756"/>
                    <a:gd name="connsiteY54" fmla="*/ 47521 h 156972"/>
                    <a:gd name="connsiteX55" fmla="*/ 10619 w 131756"/>
                    <a:gd name="connsiteY55" fmla="*/ 46168 h 156972"/>
                    <a:gd name="connsiteX56" fmla="*/ 9527 w 131756"/>
                    <a:gd name="connsiteY56" fmla="*/ 44881 h 156972"/>
                    <a:gd name="connsiteX57" fmla="*/ 10032 w 131756"/>
                    <a:gd name="connsiteY57" fmla="*/ 42362 h 156972"/>
                    <a:gd name="connsiteX58" fmla="*/ 12143 w 131756"/>
                    <a:gd name="connsiteY58" fmla="*/ 38573 h 156972"/>
                    <a:gd name="connsiteX59" fmla="*/ 13504 w 131756"/>
                    <a:gd name="connsiteY59" fmla="*/ 35215 h 156972"/>
                    <a:gd name="connsiteX60" fmla="*/ 14124 w 131756"/>
                    <a:gd name="connsiteY60" fmla="*/ 32273 h 156972"/>
                    <a:gd name="connsiteX61" fmla="*/ 14091 w 131756"/>
                    <a:gd name="connsiteY61" fmla="*/ 29918 h 156972"/>
                    <a:gd name="connsiteX62" fmla="*/ 13390 w 131756"/>
                    <a:gd name="connsiteY62" fmla="*/ 28117 h 156972"/>
                    <a:gd name="connsiteX63" fmla="*/ 13683 w 131756"/>
                    <a:gd name="connsiteY63" fmla="*/ 26886 h 156972"/>
                    <a:gd name="connsiteX64" fmla="*/ 14979 w 131756"/>
                    <a:gd name="connsiteY64" fmla="*/ 26250 h 156972"/>
                    <a:gd name="connsiteX65" fmla="*/ 15558 w 131756"/>
                    <a:gd name="connsiteY65" fmla="*/ 24360 h 156972"/>
                    <a:gd name="connsiteX66" fmla="*/ 15362 w 131756"/>
                    <a:gd name="connsiteY66" fmla="*/ 19641 h 156972"/>
                    <a:gd name="connsiteX67" fmla="*/ 14026 w 131756"/>
                    <a:gd name="connsiteY67" fmla="*/ 15745 h 156972"/>
                    <a:gd name="connsiteX68" fmla="*/ 15052 w 131756"/>
                    <a:gd name="connsiteY68" fmla="*/ 12648 h 156972"/>
                    <a:gd name="connsiteX69" fmla="*/ 17986 w 131756"/>
                    <a:gd name="connsiteY69" fmla="*/ 9103 h 156972"/>
                    <a:gd name="connsiteX70" fmla="*/ 19527 w 131756"/>
                    <a:gd name="connsiteY70" fmla="*/ 6218 h 156972"/>
                    <a:gd name="connsiteX71" fmla="*/ 19649 w 131756"/>
                    <a:gd name="connsiteY71" fmla="*/ 4034 h 156972"/>
                    <a:gd name="connsiteX72" fmla="*/ 20562 w 131756"/>
                    <a:gd name="connsiteY72" fmla="*/ 2787 h 156972"/>
                    <a:gd name="connsiteX73" fmla="*/ 21972 w 131756"/>
                    <a:gd name="connsiteY73" fmla="*/ 5134 h 156972"/>
                    <a:gd name="connsiteX74" fmla="*/ 26144 w 131756"/>
                    <a:gd name="connsiteY74" fmla="*/ 5770 h 156972"/>
                    <a:gd name="connsiteX75" fmla="*/ 30350 w 131756"/>
                    <a:gd name="connsiteY75" fmla="*/ 5843 h 156972"/>
                    <a:gd name="connsiteX76" fmla="*/ 31034 w 131756"/>
                    <a:gd name="connsiteY76" fmla="*/ 5256 h 156972"/>
                    <a:gd name="connsiteX77" fmla="*/ 32680 w 131756"/>
                    <a:gd name="connsiteY77" fmla="*/ 1386 h 156972"/>
                    <a:gd name="connsiteX78" fmla="*/ 34856 w 131756"/>
                    <a:gd name="connsiteY78" fmla="*/ 277 h 156972"/>
                    <a:gd name="connsiteX79" fmla="*/ 37220 w 131756"/>
                    <a:gd name="connsiteY79" fmla="*/ 0 h 156972"/>
                    <a:gd name="connsiteX80" fmla="*/ 39811 w 131756"/>
                    <a:gd name="connsiteY80" fmla="*/ 196 h 156972"/>
                    <a:gd name="connsiteX81" fmla="*/ 42566 w 131756"/>
                    <a:gd name="connsiteY81" fmla="*/ 2747 h 156972"/>
                    <a:gd name="connsiteX82" fmla="*/ 50373 w 131756"/>
                    <a:gd name="connsiteY82" fmla="*/ 11124 h 156972"/>
                    <a:gd name="connsiteX83" fmla="*/ 56095 w 131756"/>
                    <a:gd name="connsiteY83" fmla="*/ 16943 h 156972"/>
                    <a:gd name="connsiteX84" fmla="*/ 57847 w 131756"/>
                    <a:gd name="connsiteY84" fmla="*/ 19698 h 156972"/>
                    <a:gd name="connsiteX85" fmla="*/ 59354 w 131756"/>
                    <a:gd name="connsiteY85" fmla="*/ 21752 h 156972"/>
                    <a:gd name="connsiteX86" fmla="*/ 60496 w 131756"/>
                    <a:gd name="connsiteY86" fmla="*/ 23667 h 156972"/>
                    <a:gd name="connsiteX87" fmla="*/ 60007 w 131756"/>
                    <a:gd name="connsiteY87" fmla="*/ 28654 h 156972"/>
                    <a:gd name="connsiteX88" fmla="*/ 60080 w 131756"/>
                    <a:gd name="connsiteY88" fmla="*/ 30847 h 156972"/>
                    <a:gd name="connsiteX89" fmla="*/ 60349 w 131756"/>
                    <a:gd name="connsiteY89" fmla="*/ 31466 h 156972"/>
                    <a:gd name="connsiteX90" fmla="*/ 61661 w 131756"/>
                    <a:gd name="connsiteY90" fmla="*/ 31523 h 156972"/>
                    <a:gd name="connsiteX91" fmla="*/ 63600 w 131756"/>
                    <a:gd name="connsiteY91" fmla="*/ 31165 h 156972"/>
                    <a:gd name="connsiteX92" fmla="*/ 65239 w 131756"/>
                    <a:gd name="connsiteY92" fmla="*/ 30097 h 156972"/>
                    <a:gd name="connsiteX93" fmla="*/ 66510 w 131756"/>
                    <a:gd name="connsiteY93" fmla="*/ 28508 h 156972"/>
                    <a:gd name="connsiteX94" fmla="*/ 67757 w 131756"/>
                    <a:gd name="connsiteY94" fmla="*/ 27179 h 156972"/>
                    <a:gd name="connsiteX95" fmla="*/ 68767 w 131756"/>
                    <a:gd name="connsiteY95" fmla="*/ 26487 h 156972"/>
                    <a:gd name="connsiteX96" fmla="*/ 69134 w 131756"/>
                    <a:gd name="connsiteY96" fmla="*/ 25444 h 156972"/>
                    <a:gd name="connsiteX97" fmla="*/ 69721 w 131756"/>
                    <a:gd name="connsiteY97" fmla="*/ 24343 h 156972"/>
                    <a:gd name="connsiteX98" fmla="*/ 70308 w 131756"/>
                    <a:gd name="connsiteY98" fmla="*/ 24107 h 156972"/>
                    <a:gd name="connsiteX99" fmla="*/ 71449 w 131756"/>
                    <a:gd name="connsiteY99" fmla="*/ 24914 h 156972"/>
                    <a:gd name="connsiteX100" fmla="*/ 74122 w 131756"/>
                    <a:gd name="connsiteY100" fmla="*/ 27766 h 156972"/>
                    <a:gd name="connsiteX101" fmla="*/ 76192 w 131756"/>
                    <a:gd name="connsiteY101" fmla="*/ 30399 h 156972"/>
                    <a:gd name="connsiteX102" fmla="*/ 76697 w 131756"/>
                    <a:gd name="connsiteY102" fmla="*/ 31922 h 156972"/>
                    <a:gd name="connsiteX103" fmla="*/ 77496 w 131756"/>
                    <a:gd name="connsiteY103" fmla="*/ 33487 h 156972"/>
                    <a:gd name="connsiteX104" fmla="*/ 78351 w 131756"/>
                    <a:gd name="connsiteY104" fmla="*/ 34856 h 156972"/>
                    <a:gd name="connsiteX105" fmla="*/ 78955 w 131756"/>
                    <a:gd name="connsiteY105" fmla="*/ 36193 h 156972"/>
                    <a:gd name="connsiteX106" fmla="*/ 80968 w 131756"/>
                    <a:gd name="connsiteY106" fmla="*/ 37937 h 156972"/>
                    <a:gd name="connsiteX107" fmla="*/ 83013 w 131756"/>
                    <a:gd name="connsiteY107" fmla="*/ 39045 h 156972"/>
                    <a:gd name="connsiteX108" fmla="*/ 84374 w 131756"/>
                    <a:gd name="connsiteY108" fmla="*/ 37921 h 156972"/>
                    <a:gd name="connsiteX109" fmla="*/ 87846 w 131756"/>
                    <a:gd name="connsiteY109" fmla="*/ 41547 h 156972"/>
                    <a:gd name="connsiteX110" fmla="*/ 95498 w 131756"/>
                    <a:gd name="connsiteY110" fmla="*/ 44571 h 156972"/>
                    <a:gd name="connsiteX111" fmla="*/ 96908 w 131756"/>
                    <a:gd name="connsiteY111" fmla="*/ 46421 h 156972"/>
                    <a:gd name="connsiteX112" fmla="*/ 98229 w 131756"/>
                    <a:gd name="connsiteY112" fmla="*/ 49021 h 156972"/>
                    <a:gd name="connsiteX113" fmla="*/ 100902 w 131756"/>
                    <a:gd name="connsiteY113" fmla="*/ 52973 h 156972"/>
                    <a:gd name="connsiteX114" fmla="*/ 104602 w 131756"/>
                    <a:gd name="connsiteY114" fmla="*/ 56551 h 156972"/>
                    <a:gd name="connsiteX115" fmla="*/ 107585 w 131756"/>
                    <a:gd name="connsiteY115" fmla="*/ 58042 h 156972"/>
                    <a:gd name="connsiteX116" fmla="*/ 110437 w 131756"/>
                    <a:gd name="connsiteY116" fmla="*/ 58906 h 156972"/>
                    <a:gd name="connsiteX117" fmla="*/ 112042 w 131756"/>
                    <a:gd name="connsiteY117" fmla="*/ 59697 h 156972"/>
                    <a:gd name="connsiteX118" fmla="*/ 113134 w 131756"/>
                    <a:gd name="connsiteY118" fmla="*/ 61066 h 156972"/>
                    <a:gd name="connsiteX119" fmla="*/ 114878 w 131756"/>
                    <a:gd name="connsiteY119" fmla="*/ 62517 h 156972"/>
                    <a:gd name="connsiteX120" fmla="*/ 115979 w 131756"/>
                    <a:gd name="connsiteY120" fmla="*/ 63071 h 156972"/>
                    <a:gd name="connsiteX121" fmla="*/ 116354 w 131756"/>
                    <a:gd name="connsiteY121" fmla="*/ 64391 h 156972"/>
                    <a:gd name="connsiteX122" fmla="*/ 117486 w 131756"/>
                    <a:gd name="connsiteY122" fmla="*/ 67268 h 156972"/>
                    <a:gd name="connsiteX123" fmla="*/ 118668 w 131756"/>
                    <a:gd name="connsiteY123" fmla="*/ 70927 h 156972"/>
                    <a:gd name="connsiteX124" fmla="*/ 119948 w 131756"/>
                    <a:gd name="connsiteY124" fmla="*/ 74301 h 156972"/>
                    <a:gd name="connsiteX125" fmla="*/ 122735 w 131756"/>
                    <a:gd name="connsiteY125" fmla="*/ 77553 h 156972"/>
                    <a:gd name="connsiteX126" fmla="*/ 125873 w 131756"/>
                    <a:gd name="connsiteY126" fmla="*/ 80096 h 156972"/>
                    <a:gd name="connsiteX127" fmla="*/ 129140 w 131756"/>
                    <a:gd name="connsiteY127" fmla="*/ 81530 h 156972"/>
                    <a:gd name="connsiteX128" fmla="*/ 130974 w 131756"/>
                    <a:gd name="connsiteY128" fmla="*/ 83307 h 156972"/>
                    <a:gd name="connsiteX129" fmla="*/ 131757 w 131756"/>
                    <a:gd name="connsiteY129" fmla="*/ 85148 h 156972"/>
                    <a:gd name="connsiteX130" fmla="*/ 129564 w 131756"/>
                    <a:gd name="connsiteY130" fmla="*/ 87895 h 156972"/>
                    <a:gd name="connsiteX131" fmla="*/ 127185 w 131756"/>
                    <a:gd name="connsiteY131" fmla="*/ 91342 h 156972"/>
                    <a:gd name="connsiteX132" fmla="*/ 125074 w 131756"/>
                    <a:gd name="connsiteY132" fmla="*/ 94056 h 156972"/>
                    <a:gd name="connsiteX133" fmla="*/ 122898 w 131756"/>
                    <a:gd name="connsiteY133" fmla="*/ 95947 h 156972"/>
                    <a:gd name="connsiteX134" fmla="*/ 122181 w 131756"/>
                    <a:gd name="connsiteY134" fmla="*/ 97259 h 156972"/>
                    <a:gd name="connsiteX135" fmla="*/ 121692 w 131756"/>
                    <a:gd name="connsiteY135" fmla="*/ 99288 h 156972"/>
                    <a:gd name="connsiteX136" fmla="*/ 121724 w 131756"/>
                    <a:gd name="connsiteY136" fmla="*/ 110021 h 156972"/>
                    <a:gd name="connsiteX137" fmla="*/ 121545 w 131756"/>
                    <a:gd name="connsiteY137" fmla="*/ 114031 h 156972"/>
                    <a:gd name="connsiteX138" fmla="*/ 121692 w 131756"/>
                    <a:gd name="connsiteY138" fmla="*/ 115107 h 156972"/>
                    <a:gd name="connsiteX139" fmla="*/ 122009 w 131756"/>
                    <a:gd name="connsiteY139" fmla="*/ 115808 h 156972"/>
                    <a:gd name="connsiteX140" fmla="*/ 123379 w 131756"/>
                    <a:gd name="connsiteY140" fmla="*/ 116875 h 156972"/>
                    <a:gd name="connsiteX141" fmla="*/ 125017 w 131756"/>
                    <a:gd name="connsiteY141" fmla="*/ 117780 h 156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31756" h="156972">
                      <a:moveTo>
                        <a:pt x="125685" y="117935"/>
                      </a:moveTo>
                      <a:lnTo>
                        <a:pt x="124463" y="119141"/>
                      </a:lnTo>
                      <a:lnTo>
                        <a:pt x="123159" y="121431"/>
                      </a:lnTo>
                      <a:lnTo>
                        <a:pt x="121618" y="126948"/>
                      </a:lnTo>
                      <a:lnTo>
                        <a:pt x="116452" y="134544"/>
                      </a:lnTo>
                      <a:lnTo>
                        <a:pt x="115400" y="138831"/>
                      </a:lnTo>
                      <a:lnTo>
                        <a:pt x="109818" y="143313"/>
                      </a:lnTo>
                      <a:lnTo>
                        <a:pt x="105889" y="148374"/>
                      </a:lnTo>
                      <a:lnTo>
                        <a:pt x="103322" y="148244"/>
                      </a:lnTo>
                      <a:lnTo>
                        <a:pt x="101016" y="150403"/>
                      </a:lnTo>
                      <a:lnTo>
                        <a:pt x="87691" y="156972"/>
                      </a:lnTo>
                      <a:lnTo>
                        <a:pt x="82907" y="155749"/>
                      </a:lnTo>
                      <a:lnTo>
                        <a:pt x="79370" y="155766"/>
                      </a:lnTo>
                      <a:lnTo>
                        <a:pt x="76078" y="152865"/>
                      </a:lnTo>
                      <a:lnTo>
                        <a:pt x="68572" y="151813"/>
                      </a:lnTo>
                      <a:lnTo>
                        <a:pt x="63861" y="152970"/>
                      </a:lnTo>
                      <a:lnTo>
                        <a:pt x="57545" y="156165"/>
                      </a:lnTo>
                      <a:lnTo>
                        <a:pt x="55638" y="156116"/>
                      </a:lnTo>
                      <a:lnTo>
                        <a:pt x="54269" y="155953"/>
                      </a:lnTo>
                      <a:lnTo>
                        <a:pt x="50846" y="154625"/>
                      </a:lnTo>
                      <a:lnTo>
                        <a:pt x="48980" y="151805"/>
                      </a:lnTo>
                      <a:lnTo>
                        <a:pt x="39257" y="148562"/>
                      </a:lnTo>
                      <a:lnTo>
                        <a:pt x="31433" y="141194"/>
                      </a:lnTo>
                      <a:lnTo>
                        <a:pt x="22183" y="141047"/>
                      </a:lnTo>
                      <a:lnTo>
                        <a:pt x="15101" y="142017"/>
                      </a:lnTo>
                      <a:lnTo>
                        <a:pt x="14009" y="141039"/>
                      </a:lnTo>
                      <a:lnTo>
                        <a:pt x="13292" y="139165"/>
                      </a:lnTo>
                      <a:lnTo>
                        <a:pt x="11825" y="136426"/>
                      </a:lnTo>
                      <a:lnTo>
                        <a:pt x="5729" y="129948"/>
                      </a:lnTo>
                      <a:lnTo>
                        <a:pt x="937" y="123493"/>
                      </a:lnTo>
                      <a:lnTo>
                        <a:pt x="0" y="117177"/>
                      </a:lnTo>
                      <a:lnTo>
                        <a:pt x="668" y="110315"/>
                      </a:lnTo>
                      <a:lnTo>
                        <a:pt x="2094" y="102206"/>
                      </a:lnTo>
                      <a:lnTo>
                        <a:pt x="1850" y="99663"/>
                      </a:lnTo>
                      <a:lnTo>
                        <a:pt x="3618" y="98212"/>
                      </a:lnTo>
                      <a:lnTo>
                        <a:pt x="5371" y="97919"/>
                      </a:lnTo>
                      <a:lnTo>
                        <a:pt x="7058" y="95825"/>
                      </a:lnTo>
                      <a:lnTo>
                        <a:pt x="8565" y="92662"/>
                      </a:lnTo>
                      <a:lnTo>
                        <a:pt x="8826" y="90250"/>
                      </a:lnTo>
                      <a:lnTo>
                        <a:pt x="7644" y="85825"/>
                      </a:lnTo>
                      <a:lnTo>
                        <a:pt x="6838" y="79607"/>
                      </a:lnTo>
                      <a:lnTo>
                        <a:pt x="5876" y="76534"/>
                      </a:lnTo>
                      <a:lnTo>
                        <a:pt x="7815" y="71669"/>
                      </a:lnTo>
                      <a:lnTo>
                        <a:pt x="7897" y="69297"/>
                      </a:lnTo>
                      <a:lnTo>
                        <a:pt x="6781" y="67219"/>
                      </a:lnTo>
                      <a:lnTo>
                        <a:pt x="6471" y="65100"/>
                      </a:lnTo>
                      <a:lnTo>
                        <a:pt x="6984" y="62900"/>
                      </a:lnTo>
                      <a:lnTo>
                        <a:pt x="6878" y="60797"/>
                      </a:lnTo>
                      <a:lnTo>
                        <a:pt x="6177" y="58784"/>
                      </a:lnTo>
                      <a:lnTo>
                        <a:pt x="6707" y="57105"/>
                      </a:lnTo>
                      <a:lnTo>
                        <a:pt x="8484" y="55785"/>
                      </a:lnTo>
                      <a:lnTo>
                        <a:pt x="9812" y="53756"/>
                      </a:lnTo>
                      <a:lnTo>
                        <a:pt x="10692" y="51034"/>
                      </a:lnTo>
                      <a:lnTo>
                        <a:pt x="11141" y="48956"/>
                      </a:lnTo>
                      <a:lnTo>
                        <a:pt x="11165" y="47521"/>
                      </a:lnTo>
                      <a:lnTo>
                        <a:pt x="10619" y="46168"/>
                      </a:lnTo>
                      <a:lnTo>
                        <a:pt x="9527" y="44881"/>
                      </a:lnTo>
                      <a:lnTo>
                        <a:pt x="10032" y="42362"/>
                      </a:lnTo>
                      <a:lnTo>
                        <a:pt x="12143" y="38573"/>
                      </a:lnTo>
                      <a:lnTo>
                        <a:pt x="13504" y="35215"/>
                      </a:lnTo>
                      <a:lnTo>
                        <a:pt x="14124" y="32273"/>
                      </a:lnTo>
                      <a:lnTo>
                        <a:pt x="14091" y="29918"/>
                      </a:lnTo>
                      <a:lnTo>
                        <a:pt x="13390" y="28117"/>
                      </a:lnTo>
                      <a:lnTo>
                        <a:pt x="13683" y="26886"/>
                      </a:lnTo>
                      <a:lnTo>
                        <a:pt x="14979" y="26250"/>
                      </a:lnTo>
                      <a:lnTo>
                        <a:pt x="15558" y="24360"/>
                      </a:lnTo>
                      <a:lnTo>
                        <a:pt x="15362" y="19641"/>
                      </a:lnTo>
                      <a:lnTo>
                        <a:pt x="14026" y="15745"/>
                      </a:lnTo>
                      <a:lnTo>
                        <a:pt x="15052" y="12648"/>
                      </a:lnTo>
                      <a:lnTo>
                        <a:pt x="17986" y="9103"/>
                      </a:lnTo>
                      <a:lnTo>
                        <a:pt x="19527" y="6218"/>
                      </a:lnTo>
                      <a:lnTo>
                        <a:pt x="19649" y="4034"/>
                      </a:lnTo>
                      <a:lnTo>
                        <a:pt x="20562" y="2787"/>
                      </a:lnTo>
                      <a:lnTo>
                        <a:pt x="21972" y="5134"/>
                      </a:lnTo>
                      <a:lnTo>
                        <a:pt x="26144" y="5770"/>
                      </a:lnTo>
                      <a:lnTo>
                        <a:pt x="30350" y="5843"/>
                      </a:lnTo>
                      <a:lnTo>
                        <a:pt x="31034" y="5256"/>
                      </a:lnTo>
                      <a:lnTo>
                        <a:pt x="32680" y="1386"/>
                      </a:lnTo>
                      <a:lnTo>
                        <a:pt x="34856" y="277"/>
                      </a:lnTo>
                      <a:lnTo>
                        <a:pt x="37220" y="0"/>
                      </a:lnTo>
                      <a:lnTo>
                        <a:pt x="39811" y="196"/>
                      </a:lnTo>
                      <a:lnTo>
                        <a:pt x="42566" y="2747"/>
                      </a:lnTo>
                      <a:lnTo>
                        <a:pt x="50373" y="11124"/>
                      </a:lnTo>
                      <a:lnTo>
                        <a:pt x="56095" y="16943"/>
                      </a:lnTo>
                      <a:lnTo>
                        <a:pt x="57847" y="19698"/>
                      </a:lnTo>
                      <a:lnTo>
                        <a:pt x="59354" y="21752"/>
                      </a:lnTo>
                      <a:lnTo>
                        <a:pt x="60496" y="23667"/>
                      </a:lnTo>
                      <a:lnTo>
                        <a:pt x="60007" y="28654"/>
                      </a:lnTo>
                      <a:lnTo>
                        <a:pt x="60080" y="30847"/>
                      </a:lnTo>
                      <a:lnTo>
                        <a:pt x="60349" y="31466"/>
                      </a:lnTo>
                      <a:lnTo>
                        <a:pt x="61661" y="31523"/>
                      </a:lnTo>
                      <a:lnTo>
                        <a:pt x="63600" y="31165"/>
                      </a:lnTo>
                      <a:lnTo>
                        <a:pt x="65239" y="30097"/>
                      </a:lnTo>
                      <a:lnTo>
                        <a:pt x="66510" y="28508"/>
                      </a:lnTo>
                      <a:lnTo>
                        <a:pt x="67757" y="27179"/>
                      </a:lnTo>
                      <a:lnTo>
                        <a:pt x="68767" y="26487"/>
                      </a:lnTo>
                      <a:lnTo>
                        <a:pt x="69134" y="25444"/>
                      </a:lnTo>
                      <a:lnTo>
                        <a:pt x="69721" y="24343"/>
                      </a:lnTo>
                      <a:lnTo>
                        <a:pt x="70308" y="24107"/>
                      </a:lnTo>
                      <a:lnTo>
                        <a:pt x="71449" y="24914"/>
                      </a:lnTo>
                      <a:lnTo>
                        <a:pt x="74122" y="27766"/>
                      </a:lnTo>
                      <a:lnTo>
                        <a:pt x="76192" y="30399"/>
                      </a:lnTo>
                      <a:lnTo>
                        <a:pt x="76697" y="31922"/>
                      </a:lnTo>
                      <a:lnTo>
                        <a:pt x="77496" y="33487"/>
                      </a:lnTo>
                      <a:lnTo>
                        <a:pt x="78351" y="34856"/>
                      </a:lnTo>
                      <a:lnTo>
                        <a:pt x="78955" y="36193"/>
                      </a:lnTo>
                      <a:lnTo>
                        <a:pt x="80968" y="37937"/>
                      </a:lnTo>
                      <a:lnTo>
                        <a:pt x="83013" y="39045"/>
                      </a:lnTo>
                      <a:lnTo>
                        <a:pt x="84374" y="37921"/>
                      </a:lnTo>
                      <a:lnTo>
                        <a:pt x="87846" y="41547"/>
                      </a:lnTo>
                      <a:lnTo>
                        <a:pt x="95498" y="44571"/>
                      </a:lnTo>
                      <a:lnTo>
                        <a:pt x="96908" y="46421"/>
                      </a:lnTo>
                      <a:lnTo>
                        <a:pt x="98229" y="49021"/>
                      </a:lnTo>
                      <a:lnTo>
                        <a:pt x="100902" y="52973"/>
                      </a:lnTo>
                      <a:lnTo>
                        <a:pt x="104602" y="56551"/>
                      </a:lnTo>
                      <a:lnTo>
                        <a:pt x="107585" y="58042"/>
                      </a:lnTo>
                      <a:lnTo>
                        <a:pt x="110437" y="58906"/>
                      </a:lnTo>
                      <a:lnTo>
                        <a:pt x="112042" y="59697"/>
                      </a:lnTo>
                      <a:lnTo>
                        <a:pt x="113134" y="61066"/>
                      </a:lnTo>
                      <a:lnTo>
                        <a:pt x="114878" y="62517"/>
                      </a:lnTo>
                      <a:lnTo>
                        <a:pt x="115979" y="63071"/>
                      </a:lnTo>
                      <a:lnTo>
                        <a:pt x="116354" y="64391"/>
                      </a:lnTo>
                      <a:lnTo>
                        <a:pt x="117486" y="67268"/>
                      </a:lnTo>
                      <a:lnTo>
                        <a:pt x="118668" y="70927"/>
                      </a:lnTo>
                      <a:lnTo>
                        <a:pt x="119948" y="74301"/>
                      </a:lnTo>
                      <a:lnTo>
                        <a:pt x="122735" y="77553"/>
                      </a:lnTo>
                      <a:lnTo>
                        <a:pt x="125873" y="80096"/>
                      </a:lnTo>
                      <a:lnTo>
                        <a:pt x="129140" y="81530"/>
                      </a:lnTo>
                      <a:lnTo>
                        <a:pt x="130974" y="83307"/>
                      </a:lnTo>
                      <a:lnTo>
                        <a:pt x="131757" y="85148"/>
                      </a:lnTo>
                      <a:lnTo>
                        <a:pt x="129564" y="87895"/>
                      </a:lnTo>
                      <a:lnTo>
                        <a:pt x="127185" y="91342"/>
                      </a:lnTo>
                      <a:lnTo>
                        <a:pt x="125074" y="94056"/>
                      </a:lnTo>
                      <a:lnTo>
                        <a:pt x="122898" y="95947"/>
                      </a:lnTo>
                      <a:lnTo>
                        <a:pt x="122181" y="97259"/>
                      </a:lnTo>
                      <a:lnTo>
                        <a:pt x="121692" y="99288"/>
                      </a:lnTo>
                      <a:lnTo>
                        <a:pt x="121724" y="110021"/>
                      </a:lnTo>
                      <a:lnTo>
                        <a:pt x="121545" y="114031"/>
                      </a:lnTo>
                      <a:lnTo>
                        <a:pt x="121692" y="115107"/>
                      </a:lnTo>
                      <a:lnTo>
                        <a:pt x="122009" y="115808"/>
                      </a:lnTo>
                      <a:lnTo>
                        <a:pt x="123379" y="116875"/>
                      </a:lnTo>
                      <a:lnTo>
                        <a:pt x="125017" y="117780"/>
                      </a:lnTo>
                      <a:close/>
                    </a:path>
                  </a:pathLst>
                </a:custGeom>
                <a:solidFill>
                  <a:srgbClr val="D6D6D2"/>
                </a:solidFill>
                <a:ln w="6112" cap="rnd">
                  <a:solidFill>
                    <a:srgbClr val="FFFFFF"/>
                  </a:solidFill>
                  <a:prstDash val="solid"/>
                  <a:round/>
                </a:ln>
              </p:spPr>
              <p:txBody>
                <a:bodyPr rtlCol="0" anchor="ctr"/>
                <a:lstStyle/>
                <a:p>
                  <a:endParaRPr lang="en-US"/>
                </a:p>
              </p:txBody>
            </p:sp>
            <p:sp>
              <p:nvSpPr>
                <p:cNvPr id="554" name="Freeform: Shape 553">
                  <a:extLst>
                    <a:ext uri="{FF2B5EF4-FFF2-40B4-BE49-F238E27FC236}">
                      <a16:creationId xmlns:a16="http://schemas.microsoft.com/office/drawing/2014/main" id="{A87755B3-FD88-4985-BE01-9E3E6BB7DE9D}"/>
                    </a:ext>
                  </a:extLst>
                </p:cNvPr>
                <p:cNvSpPr/>
                <p:nvPr/>
              </p:nvSpPr>
              <p:spPr>
                <a:xfrm>
                  <a:off x="6492557" y="2838081"/>
                  <a:ext cx="446344" cy="286829"/>
                </a:xfrm>
                <a:custGeom>
                  <a:avLst/>
                  <a:gdLst>
                    <a:gd name="connsiteX0" fmla="*/ 280750 w 446344"/>
                    <a:gd name="connsiteY0" fmla="*/ 742 h 286829"/>
                    <a:gd name="connsiteX1" fmla="*/ 284752 w 446344"/>
                    <a:gd name="connsiteY1" fmla="*/ 791 h 286829"/>
                    <a:gd name="connsiteX2" fmla="*/ 287775 w 446344"/>
                    <a:gd name="connsiteY2" fmla="*/ 334 h 286829"/>
                    <a:gd name="connsiteX3" fmla="*/ 289853 w 446344"/>
                    <a:gd name="connsiteY3" fmla="*/ 1418 h 286829"/>
                    <a:gd name="connsiteX4" fmla="*/ 292405 w 446344"/>
                    <a:gd name="connsiteY4" fmla="*/ 3798 h 286829"/>
                    <a:gd name="connsiteX5" fmla="*/ 294719 w 446344"/>
                    <a:gd name="connsiteY5" fmla="*/ 7343 h 286829"/>
                    <a:gd name="connsiteX6" fmla="*/ 297147 w 446344"/>
                    <a:gd name="connsiteY6" fmla="*/ 13887 h 286829"/>
                    <a:gd name="connsiteX7" fmla="*/ 304213 w 446344"/>
                    <a:gd name="connsiteY7" fmla="*/ 21263 h 286829"/>
                    <a:gd name="connsiteX8" fmla="*/ 304327 w 446344"/>
                    <a:gd name="connsiteY8" fmla="*/ 22705 h 286829"/>
                    <a:gd name="connsiteX9" fmla="*/ 303757 w 446344"/>
                    <a:gd name="connsiteY9" fmla="*/ 23626 h 286829"/>
                    <a:gd name="connsiteX10" fmla="*/ 300277 w 446344"/>
                    <a:gd name="connsiteY10" fmla="*/ 24523 h 286829"/>
                    <a:gd name="connsiteX11" fmla="*/ 297343 w 446344"/>
                    <a:gd name="connsiteY11" fmla="*/ 25012 h 286829"/>
                    <a:gd name="connsiteX12" fmla="*/ 297205 w 446344"/>
                    <a:gd name="connsiteY12" fmla="*/ 26275 h 286829"/>
                    <a:gd name="connsiteX13" fmla="*/ 297979 w 446344"/>
                    <a:gd name="connsiteY13" fmla="*/ 27644 h 286829"/>
                    <a:gd name="connsiteX14" fmla="*/ 299324 w 446344"/>
                    <a:gd name="connsiteY14" fmla="*/ 29641 h 286829"/>
                    <a:gd name="connsiteX15" fmla="*/ 299536 w 446344"/>
                    <a:gd name="connsiteY15" fmla="*/ 32216 h 286829"/>
                    <a:gd name="connsiteX16" fmla="*/ 299454 w 446344"/>
                    <a:gd name="connsiteY16" fmla="*/ 34587 h 286829"/>
                    <a:gd name="connsiteX17" fmla="*/ 300032 w 446344"/>
                    <a:gd name="connsiteY17" fmla="*/ 36674 h 286829"/>
                    <a:gd name="connsiteX18" fmla="*/ 301157 w 446344"/>
                    <a:gd name="connsiteY18" fmla="*/ 37521 h 286829"/>
                    <a:gd name="connsiteX19" fmla="*/ 301296 w 446344"/>
                    <a:gd name="connsiteY19" fmla="*/ 38573 h 286829"/>
                    <a:gd name="connsiteX20" fmla="*/ 300000 w 446344"/>
                    <a:gd name="connsiteY20" fmla="*/ 39860 h 286829"/>
                    <a:gd name="connsiteX21" fmla="*/ 299641 w 446344"/>
                    <a:gd name="connsiteY21" fmla="*/ 40651 h 286829"/>
                    <a:gd name="connsiteX22" fmla="*/ 300146 w 446344"/>
                    <a:gd name="connsiteY22" fmla="*/ 41075 h 286829"/>
                    <a:gd name="connsiteX23" fmla="*/ 306520 w 446344"/>
                    <a:gd name="connsiteY23" fmla="*/ 41327 h 286829"/>
                    <a:gd name="connsiteX24" fmla="*/ 309633 w 446344"/>
                    <a:gd name="connsiteY24" fmla="*/ 42574 h 286829"/>
                    <a:gd name="connsiteX25" fmla="*/ 312004 w 446344"/>
                    <a:gd name="connsiteY25" fmla="*/ 43715 h 286829"/>
                    <a:gd name="connsiteX26" fmla="*/ 313194 w 446344"/>
                    <a:gd name="connsiteY26" fmla="*/ 43813 h 286829"/>
                    <a:gd name="connsiteX27" fmla="*/ 315884 w 446344"/>
                    <a:gd name="connsiteY27" fmla="*/ 43088 h 286829"/>
                    <a:gd name="connsiteX28" fmla="*/ 318907 w 446344"/>
                    <a:gd name="connsiteY28" fmla="*/ 42623 h 286829"/>
                    <a:gd name="connsiteX29" fmla="*/ 320733 w 446344"/>
                    <a:gd name="connsiteY29" fmla="*/ 42566 h 286829"/>
                    <a:gd name="connsiteX30" fmla="*/ 321450 w 446344"/>
                    <a:gd name="connsiteY30" fmla="*/ 43405 h 286829"/>
                    <a:gd name="connsiteX31" fmla="*/ 322004 w 446344"/>
                    <a:gd name="connsiteY31" fmla="*/ 45606 h 286829"/>
                    <a:gd name="connsiteX32" fmla="*/ 323063 w 446344"/>
                    <a:gd name="connsiteY32" fmla="*/ 47806 h 286829"/>
                    <a:gd name="connsiteX33" fmla="*/ 324058 w 446344"/>
                    <a:gd name="connsiteY33" fmla="*/ 48442 h 286829"/>
                    <a:gd name="connsiteX34" fmla="*/ 325818 w 446344"/>
                    <a:gd name="connsiteY34" fmla="*/ 48336 h 286829"/>
                    <a:gd name="connsiteX35" fmla="*/ 326886 w 446344"/>
                    <a:gd name="connsiteY35" fmla="*/ 48442 h 286829"/>
                    <a:gd name="connsiteX36" fmla="*/ 327448 w 446344"/>
                    <a:gd name="connsiteY36" fmla="*/ 49281 h 286829"/>
                    <a:gd name="connsiteX37" fmla="*/ 326813 w 446344"/>
                    <a:gd name="connsiteY37" fmla="*/ 50536 h 286829"/>
                    <a:gd name="connsiteX38" fmla="*/ 326951 w 446344"/>
                    <a:gd name="connsiteY38" fmla="*/ 51897 h 286829"/>
                    <a:gd name="connsiteX39" fmla="*/ 327733 w 446344"/>
                    <a:gd name="connsiteY39" fmla="*/ 53576 h 286829"/>
                    <a:gd name="connsiteX40" fmla="*/ 328654 w 446344"/>
                    <a:gd name="connsiteY40" fmla="*/ 57439 h 286829"/>
                    <a:gd name="connsiteX41" fmla="*/ 329502 w 446344"/>
                    <a:gd name="connsiteY41" fmla="*/ 58588 h 286829"/>
                    <a:gd name="connsiteX42" fmla="*/ 330056 w 446344"/>
                    <a:gd name="connsiteY42" fmla="*/ 60047 h 286829"/>
                    <a:gd name="connsiteX43" fmla="*/ 330056 w 446344"/>
                    <a:gd name="connsiteY43" fmla="*/ 61726 h 286829"/>
                    <a:gd name="connsiteX44" fmla="*/ 329355 w 446344"/>
                    <a:gd name="connsiteY44" fmla="*/ 63185 h 286829"/>
                    <a:gd name="connsiteX45" fmla="*/ 328858 w 446344"/>
                    <a:gd name="connsiteY45" fmla="*/ 64334 h 286829"/>
                    <a:gd name="connsiteX46" fmla="*/ 329355 w 446344"/>
                    <a:gd name="connsiteY46" fmla="*/ 66942 h 286829"/>
                    <a:gd name="connsiteX47" fmla="*/ 331254 w 446344"/>
                    <a:gd name="connsiteY47" fmla="*/ 69868 h 286829"/>
                    <a:gd name="connsiteX48" fmla="*/ 332672 w 446344"/>
                    <a:gd name="connsiteY48" fmla="*/ 70593 h 286829"/>
                    <a:gd name="connsiteX49" fmla="*/ 333805 w 446344"/>
                    <a:gd name="connsiteY49" fmla="*/ 73201 h 286829"/>
                    <a:gd name="connsiteX50" fmla="*/ 335851 w 446344"/>
                    <a:gd name="connsiteY50" fmla="*/ 74032 h 286829"/>
                    <a:gd name="connsiteX51" fmla="*/ 338890 w 446344"/>
                    <a:gd name="connsiteY51" fmla="*/ 71840 h 286829"/>
                    <a:gd name="connsiteX52" fmla="*/ 341221 w 446344"/>
                    <a:gd name="connsiteY52" fmla="*/ 70691 h 286829"/>
                    <a:gd name="connsiteX53" fmla="*/ 344131 w 446344"/>
                    <a:gd name="connsiteY53" fmla="*/ 71335 h 286829"/>
                    <a:gd name="connsiteX54" fmla="*/ 346820 w 446344"/>
                    <a:gd name="connsiteY54" fmla="*/ 71742 h 286829"/>
                    <a:gd name="connsiteX55" fmla="*/ 348637 w 446344"/>
                    <a:gd name="connsiteY55" fmla="*/ 73233 h 286829"/>
                    <a:gd name="connsiteX56" fmla="*/ 349982 w 446344"/>
                    <a:gd name="connsiteY56" fmla="*/ 75279 h 286829"/>
                    <a:gd name="connsiteX57" fmla="*/ 351531 w 446344"/>
                    <a:gd name="connsiteY57" fmla="*/ 76420 h 286829"/>
                    <a:gd name="connsiteX58" fmla="*/ 353079 w 446344"/>
                    <a:gd name="connsiteY58" fmla="*/ 75825 h 286829"/>
                    <a:gd name="connsiteX59" fmla="*/ 356331 w 446344"/>
                    <a:gd name="connsiteY59" fmla="*/ 76420 h 286829"/>
                    <a:gd name="connsiteX60" fmla="*/ 357822 w 446344"/>
                    <a:gd name="connsiteY60" fmla="*/ 78091 h 286829"/>
                    <a:gd name="connsiteX61" fmla="*/ 359306 w 446344"/>
                    <a:gd name="connsiteY61" fmla="*/ 79020 h 286829"/>
                    <a:gd name="connsiteX62" fmla="*/ 361204 w 446344"/>
                    <a:gd name="connsiteY62" fmla="*/ 77667 h 286829"/>
                    <a:gd name="connsiteX63" fmla="*/ 362761 w 446344"/>
                    <a:gd name="connsiteY63" fmla="*/ 75996 h 286829"/>
                    <a:gd name="connsiteX64" fmla="*/ 368441 w 446344"/>
                    <a:gd name="connsiteY64" fmla="*/ 74252 h 286829"/>
                    <a:gd name="connsiteX65" fmla="*/ 371986 w 446344"/>
                    <a:gd name="connsiteY65" fmla="*/ 73820 h 286829"/>
                    <a:gd name="connsiteX66" fmla="*/ 372973 w 446344"/>
                    <a:gd name="connsiteY66" fmla="*/ 73478 h 286829"/>
                    <a:gd name="connsiteX67" fmla="*/ 375059 w 446344"/>
                    <a:gd name="connsiteY67" fmla="*/ 72231 h 286829"/>
                    <a:gd name="connsiteX68" fmla="*/ 377243 w 446344"/>
                    <a:gd name="connsiteY68" fmla="*/ 71400 h 286829"/>
                    <a:gd name="connsiteX69" fmla="*/ 379223 w 446344"/>
                    <a:gd name="connsiteY69" fmla="*/ 71628 h 286829"/>
                    <a:gd name="connsiteX70" fmla="*/ 381163 w 446344"/>
                    <a:gd name="connsiteY70" fmla="*/ 74211 h 286829"/>
                    <a:gd name="connsiteX71" fmla="*/ 383176 w 446344"/>
                    <a:gd name="connsiteY71" fmla="*/ 75996 h 286829"/>
                    <a:gd name="connsiteX72" fmla="*/ 383738 w 446344"/>
                    <a:gd name="connsiteY72" fmla="*/ 78808 h 286829"/>
                    <a:gd name="connsiteX73" fmla="*/ 386200 w 446344"/>
                    <a:gd name="connsiteY73" fmla="*/ 82679 h 286829"/>
                    <a:gd name="connsiteX74" fmla="*/ 392304 w 446344"/>
                    <a:gd name="connsiteY74" fmla="*/ 87952 h 286829"/>
                    <a:gd name="connsiteX75" fmla="*/ 394700 w 446344"/>
                    <a:gd name="connsiteY75" fmla="*/ 89565 h 286829"/>
                    <a:gd name="connsiteX76" fmla="*/ 396330 w 446344"/>
                    <a:gd name="connsiteY76" fmla="*/ 89280 h 286829"/>
                    <a:gd name="connsiteX77" fmla="*/ 397177 w 446344"/>
                    <a:gd name="connsiteY77" fmla="*/ 88865 h 286829"/>
                    <a:gd name="connsiteX78" fmla="*/ 397577 w 446344"/>
                    <a:gd name="connsiteY78" fmla="*/ 88310 h 286829"/>
                    <a:gd name="connsiteX79" fmla="*/ 397943 w 446344"/>
                    <a:gd name="connsiteY79" fmla="*/ 85727 h 286829"/>
                    <a:gd name="connsiteX80" fmla="*/ 398718 w 446344"/>
                    <a:gd name="connsiteY80" fmla="*/ 84782 h 286829"/>
                    <a:gd name="connsiteX81" fmla="*/ 399956 w 446344"/>
                    <a:gd name="connsiteY81" fmla="*/ 84749 h 286829"/>
                    <a:gd name="connsiteX82" fmla="*/ 404732 w 446344"/>
                    <a:gd name="connsiteY82" fmla="*/ 87968 h 286829"/>
                    <a:gd name="connsiteX83" fmla="*/ 407234 w 446344"/>
                    <a:gd name="connsiteY83" fmla="*/ 88310 h 286829"/>
                    <a:gd name="connsiteX84" fmla="*/ 409598 w 446344"/>
                    <a:gd name="connsiteY84" fmla="*/ 88368 h 286829"/>
                    <a:gd name="connsiteX85" fmla="*/ 412809 w 446344"/>
                    <a:gd name="connsiteY85" fmla="*/ 90869 h 286829"/>
                    <a:gd name="connsiteX86" fmla="*/ 416329 w 446344"/>
                    <a:gd name="connsiteY86" fmla="*/ 93045 h 286829"/>
                    <a:gd name="connsiteX87" fmla="*/ 419035 w 446344"/>
                    <a:gd name="connsiteY87" fmla="*/ 93266 h 286829"/>
                    <a:gd name="connsiteX88" fmla="*/ 421203 w 446344"/>
                    <a:gd name="connsiteY88" fmla="*/ 92418 h 286829"/>
                    <a:gd name="connsiteX89" fmla="*/ 422686 w 446344"/>
                    <a:gd name="connsiteY89" fmla="*/ 91904 h 286829"/>
                    <a:gd name="connsiteX90" fmla="*/ 423615 w 446344"/>
                    <a:gd name="connsiteY90" fmla="*/ 92736 h 286829"/>
                    <a:gd name="connsiteX91" fmla="*/ 424463 w 446344"/>
                    <a:gd name="connsiteY91" fmla="*/ 94602 h 286829"/>
                    <a:gd name="connsiteX92" fmla="*/ 425872 w 446344"/>
                    <a:gd name="connsiteY92" fmla="*/ 96053 h 286829"/>
                    <a:gd name="connsiteX93" fmla="*/ 427494 w 446344"/>
                    <a:gd name="connsiteY93" fmla="*/ 96468 h 286829"/>
                    <a:gd name="connsiteX94" fmla="*/ 429833 w 446344"/>
                    <a:gd name="connsiteY94" fmla="*/ 96566 h 286829"/>
                    <a:gd name="connsiteX95" fmla="*/ 433900 w 446344"/>
                    <a:gd name="connsiteY95" fmla="*/ 99378 h 286829"/>
                    <a:gd name="connsiteX96" fmla="*/ 437722 w 446344"/>
                    <a:gd name="connsiteY96" fmla="*/ 102230 h 286829"/>
                    <a:gd name="connsiteX97" fmla="*/ 440102 w 446344"/>
                    <a:gd name="connsiteY97" fmla="*/ 102393 h 286829"/>
                    <a:gd name="connsiteX98" fmla="*/ 442139 w 446344"/>
                    <a:gd name="connsiteY98" fmla="*/ 101546 h 286829"/>
                    <a:gd name="connsiteX99" fmla="*/ 443924 w 446344"/>
                    <a:gd name="connsiteY99" fmla="*/ 101334 h 286829"/>
                    <a:gd name="connsiteX100" fmla="*/ 445163 w 446344"/>
                    <a:gd name="connsiteY100" fmla="*/ 102059 h 286829"/>
                    <a:gd name="connsiteX101" fmla="*/ 445513 w 446344"/>
                    <a:gd name="connsiteY101" fmla="*/ 103298 h 286829"/>
                    <a:gd name="connsiteX102" fmla="*/ 444601 w 446344"/>
                    <a:gd name="connsiteY102" fmla="*/ 104952 h 286829"/>
                    <a:gd name="connsiteX103" fmla="*/ 444601 w 446344"/>
                    <a:gd name="connsiteY103" fmla="*/ 107332 h 286829"/>
                    <a:gd name="connsiteX104" fmla="*/ 446296 w 446344"/>
                    <a:gd name="connsiteY104" fmla="*/ 109606 h 286829"/>
                    <a:gd name="connsiteX105" fmla="*/ 446345 w 446344"/>
                    <a:gd name="connsiteY105" fmla="*/ 111839 h 286829"/>
                    <a:gd name="connsiteX106" fmla="*/ 445856 w 446344"/>
                    <a:gd name="connsiteY106" fmla="*/ 113860 h 286829"/>
                    <a:gd name="connsiteX107" fmla="*/ 444902 w 446344"/>
                    <a:gd name="connsiteY107" fmla="*/ 115718 h 286829"/>
                    <a:gd name="connsiteX108" fmla="*/ 442580 w 446344"/>
                    <a:gd name="connsiteY108" fmla="*/ 118261 h 286829"/>
                    <a:gd name="connsiteX109" fmla="*/ 440428 w 446344"/>
                    <a:gd name="connsiteY109" fmla="*/ 120640 h 286829"/>
                    <a:gd name="connsiteX110" fmla="*/ 437201 w 446344"/>
                    <a:gd name="connsiteY110" fmla="*/ 121635 h 286829"/>
                    <a:gd name="connsiteX111" fmla="*/ 435383 w 446344"/>
                    <a:gd name="connsiteY111" fmla="*/ 122670 h 286829"/>
                    <a:gd name="connsiteX112" fmla="*/ 435864 w 446344"/>
                    <a:gd name="connsiteY112" fmla="*/ 124414 h 286829"/>
                    <a:gd name="connsiteX113" fmla="*/ 437054 w 446344"/>
                    <a:gd name="connsiteY113" fmla="*/ 126044 h 286829"/>
                    <a:gd name="connsiteX114" fmla="*/ 439792 w 446344"/>
                    <a:gd name="connsiteY114" fmla="*/ 127364 h 286829"/>
                    <a:gd name="connsiteX115" fmla="*/ 442897 w 446344"/>
                    <a:gd name="connsiteY115" fmla="*/ 128326 h 286829"/>
                    <a:gd name="connsiteX116" fmla="*/ 443256 w 446344"/>
                    <a:gd name="connsiteY116" fmla="*/ 129385 h 286829"/>
                    <a:gd name="connsiteX117" fmla="*/ 442783 w 446344"/>
                    <a:gd name="connsiteY117" fmla="*/ 129915 h 286829"/>
                    <a:gd name="connsiteX118" fmla="*/ 440794 w 446344"/>
                    <a:gd name="connsiteY118" fmla="*/ 130404 h 286829"/>
                    <a:gd name="connsiteX119" fmla="*/ 438032 w 446344"/>
                    <a:gd name="connsiteY119" fmla="*/ 129899 h 286829"/>
                    <a:gd name="connsiteX120" fmla="*/ 437111 w 446344"/>
                    <a:gd name="connsiteY120" fmla="*/ 130828 h 286829"/>
                    <a:gd name="connsiteX121" fmla="*/ 435848 w 446344"/>
                    <a:gd name="connsiteY121" fmla="*/ 132368 h 286829"/>
                    <a:gd name="connsiteX122" fmla="*/ 435000 w 446344"/>
                    <a:gd name="connsiteY122" fmla="*/ 135139 h 286829"/>
                    <a:gd name="connsiteX123" fmla="*/ 434364 w 446344"/>
                    <a:gd name="connsiteY123" fmla="*/ 137706 h 286829"/>
                    <a:gd name="connsiteX124" fmla="*/ 437355 w 446344"/>
                    <a:gd name="connsiteY124" fmla="*/ 138407 h 286829"/>
                    <a:gd name="connsiteX125" fmla="*/ 439100 w 446344"/>
                    <a:gd name="connsiteY125" fmla="*/ 139450 h 286829"/>
                    <a:gd name="connsiteX126" fmla="*/ 439637 w 446344"/>
                    <a:gd name="connsiteY126" fmla="*/ 141561 h 286829"/>
                    <a:gd name="connsiteX127" fmla="*/ 440265 w 446344"/>
                    <a:gd name="connsiteY127" fmla="*/ 143908 h 286829"/>
                    <a:gd name="connsiteX128" fmla="*/ 440436 w 446344"/>
                    <a:gd name="connsiteY128" fmla="*/ 146011 h 286829"/>
                    <a:gd name="connsiteX129" fmla="*/ 439442 w 446344"/>
                    <a:gd name="connsiteY129" fmla="*/ 147037 h 286829"/>
                    <a:gd name="connsiteX130" fmla="*/ 439385 w 446344"/>
                    <a:gd name="connsiteY130" fmla="*/ 148081 h 286829"/>
                    <a:gd name="connsiteX131" fmla="*/ 439857 w 446344"/>
                    <a:gd name="connsiteY131" fmla="*/ 148594 h 286829"/>
                    <a:gd name="connsiteX132" fmla="*/ 441137 w 446344"/>
                    <a:gd name="connsiteY132" fmla="*/ 148830 h 286829"/>
                    <a:gd name="connsiteX133" fmla="*/ 442131 w 446344"/>
                    <a:gd name="connsiteY133" fmla="*/ 149295 h 286829"/>
                    <a:gd name="connsiteX134" fmla="*/ 442205 w 446344"/>
                    <a:gd name="connsiteY134" fmla="*/ 150403 h 286829"/>
                    <a:gd name="connsiteX135" fmla="*/ 440322 w 446344"/>
                    <a:gd name="connsiteY135" fmla="*/ 152905 h 286829"/>
                    <a:gd name="connsiteX136" fmla="*/ 438561 w 446344"/>
                    <a:gd name="connsiteY136" fmla="*/ 157681 h 286829"/>
                    <a:gd name="connsiteX137" fmla="*/ 437608 w 446344"/>
                    <a:gd name="connsiteY137" fmla="*/ 160232 h 286829"/>
                    <a:gd name="connsiteX138" fmla="*/ 437690 w 446344"/>
                    <a:gd name="connsiteY138" fmla="*/ 162986 h 286829"/>
                    <a:gd name="connsiteX139" fmla="*/ 436630 w 446344"/>
                    <a:gd name="connsiteY139" fmla="*/ 164519 h 286829"/>
                    <a:gd name="connsiteX140" fmla="*/ 434715 w 446344"/>
                    <a:gd name="connsiteY140" fmla="*/ 164649 h 286829"/>
                    <a:gd name="connsiteX141" fmla="*/ 428081 w 446344"/>
                    <a:gd name="connsiteY141" fmla="*/ 164910 h 286829"/>
                    <a:gd name="connsiteX142" fmla="*/ 422311 w 446344"/>
                    <a:gd name="connsiteY142" fmla="*/ 164779 h 286829"/>
                    <a:gd name="connsiteX143" fmla="*/ 419817 w 446344"/>
                    <a:gd name="connsiteY143" fmla="*/ 164380 h 286829"/>
                    <a:gd name="connsiteX144" fmla="*/ 415913 w 446344"/>
                    <a:gd name="connsiteY144" fmla="*/ 164144 h 286829"/>
                    <a:gd name="connsiteX145" fmla="*/ 413974 w 446344"/>
                    <a:gd name="connsiteY145" fmla="*/ 164796 h 286829"/>
                    <a:gd name="connsiteX146" fmla="*/ 411415 w 446344"/>
                    <a:gd name="connsiteY146" fmla="*/ 169205 h 286829"/>
                    <a:gd name="connsiteX147" fmla="*/ 409467 w 446344"/>
                    <a:gd name="connsiteY147" fmla="*/ 170932 h 286829"/>
                    <a:gd name="connsiteX148" fmla="*/ 406256 w 446344"/>
                    <a:gd name="connsiteY148" fmla="*/ 172481 h 286829"/>
                    <a:gd name="connsiteX149" fmla="*/ 402727 w 446344"/>
                    <a:gd name="connsiteY149" fmla="*/ 172929 h 286829"/>
                    <a:gd name="connsiteX150" fmla="*/ 400706 w 446344"/>
                    <a:gd name="connsiteY150" fmla="*/ 174747 h 286829"/>
                    <a:gd name="connsiteX151" fmla="*/ 400005 w 446344"/>
                    <a:gd name="connsiteY151" fmla="*/ 177591 h 286829"/>
                    <a:gd name="connsiteX152" fmla="*/ 399940 w 446344"/>
                    <a:gd name="connsiteY152" fmla="*/ 180117 h 286829"/>
                    <a:gd name="connsiteX153" fmla="*/ 399614 w 446344"/>
                    <a:gd name="connsiteY153" fmla="*/ 181372 h 286829"/>
                    <a:gd name="connsiteX154" fmla="*/ 398848 w 446344"/>
                    <a:gd name="connsiteY154" fmla="*/ 182481 h 286829"/>
                    <a:gd name="connsiteX155" fmla="*/ 398563 w 446344"/>
                    <a:gd name="connsiteY155" fmla="*/ 183263 h 286829"/>
                    <a:gd name="connsiteX156" fmla="*/ 398734 w 446344"/>
                    <a:gd name="connsiteY156" fmla="*/ 184127 h 286829"/>
                    <a:gd name="connsiteX157" fmla="*/ 399557 w 446344"/>
                    <a:gd name="connsiteY157" fmla="*/ 184445 h 286829"/>
                    <a:gd name="connsiteX158" fmla="*/ 400535 w 446344"/>
                    <a:gd name="connsiteY158" fmla="*/ 184836 h 286829"/>
                    <a:gd name="connsiteX159" fmla="*/ 400535 w 446344"/>
                    <a:gd name="connsiteY159" fmla="*/ 185472 h 286829"/>
                    <a:gd name="connsiteX160" fmla="*/ 400160 w 446344"/>
                    <a:gd name="connsiteY160" fmla="*/ 186262 h 286829"/>
                    <a:gd name="connsiteX161" fmla="*/ 399060 w 446344"/>
                    <a:gd name="connsiteY161" fmla="*/ 187126 h 286829"/>
                    <a:gd name="connsiteX162" fmla="*/ 398554 w 446344"/>
                    <a:gd name="connsiteY162" fmla="*/ 188463 h 286829"/>
                    <a:gd name="connsiteX163" fmla="*/ 398685 w 446344"/>
                    <a:gd name="connsiteY163" fmla="*/ 189881 h 286829"/>
                    <a:gd name="connsiteX164" fmla="*/ 398881 w 446344"/>
                    <a:gd name="connsiteY164" fmla="*/ 191445 h 286829"/>
                    <a:gd name="connsiteX165" fmla="*/ 397992 w 446344"/>
                    <a:gd name="connsiteY165" fmla="*/ 191845 h 286829"/>
                    <a:gd name="connsiteX166" fmla="*/ 389329 w 446344"/>
                    <a:gd name="connsiteY166" fmla="*/ 191291 h 286829"/>
                    <a:gd name="connsiteX167" fmla="*/ 382247 w 446344"/>
                    <a:gd name="connsiteY167" fmla="*/ 192048 h 286829"/>
                    <a:gd name="connsiteX168" fmla="*/ 377210 w 446344"/>
                    <a:gd name="connsiteY168" fmla="*/ 197664 h 286829"/>
                    <a:gd name="connsiteX169" fmla="*/ 374203 w 446344"/>
                    <a:gd name="connsiteY169" fmla="*/ 197647 h 286829"/>
                    <a:gd name="connsiteX170" fmla="*/ 369957 w 446344"/>
                    <a:gd name="connsiteY170" fmla="*/ 199106 h 286829"/>
                    <a:gd name="connsiteX171" fmla="*/ 367089 w 446344"/>
                    <a:gd name="connsiteY171" fmla="*/ 200923 h 286829"/>
                    <a:gd name="connsiteX172" fmla="*/ 363682 w 446344"/>
                    <a:gd name="connsiteY172" fmla="*/ 204860 h 286829"/>
                    <a:gd name="connsiteX173" fmla="*/ 361057 w 446344"/>
                    <a:gd name="connsiteY173" fmla="*/ 203099 h 286829"/>
                    <a:gd name="connsiteX174" fmla="*/ 357839 w 446344"/>
                    <a:gd name="connsiteY174" fmla="*/ 203148 h 286829"/>
                    <a:gd name="connsiteX175" fmla="*/ 354693 w 446344"/>
                    <a:gd name="connsiteY175" fmla="*/ 204208 h 286829"/>
                    <a:gd name="connsiteX176" fmla="*/ 350903 w 446344"/>
                    <a:gd name="connsiteY176" fmla="*/ 206840 h 286829"/>
                    <a:gd name="connsiteX177" fmla="*/ 348792 w 446344"/>
                    <a:gd name="connsiteY177" fmla="*/ 207305 h 286829"/>
                    <a:gd name="connsiteX178" fmla="*/ 344587 w 446344"/>
                    <a:gd name="connsiteY178" fmla="*/ 206547 h 286829"/>
                    <a:gd name="connsiteX179" fmla="*/ 339673 w 446344"/>
                    <a:gd name="connsiteY179" fmla="*/ 208063 h 286829"/>
                    <a:gd name="connsiteX180" fmla="*/ 329078 w 446344"/>
                    <a:gd name="connsiteY180" fmla="*/ 216677 h 286829"/>
                    <a:gd name="connsiteX181" fmla="*/ 325525 w 446344"/>
                    <a:gd name="connsiteY181" fmla="*/ 222960 h 286829"/>
                    <a:gd name="connsiteX182" fmla="*/ 324229 w 446344"/>
                    <a:gd name="connsiteY182" fmla="*/ 224191 h 286829"/>
                    <a:gd name="connsiteX183" fmla="*/ 322436 w 446344"/>
                    <a:gd name="connsiteY183" fmla="*/ 225723 h 286829"/>
                    <a:gd name="connsiteX184" fmla="*/ 320529 w 446344"/>
                    <a:gd name="connsiteY184" fmla="*/ 226497 h 286829"/>
                    <a:gd name="connsiteX185" fmla="*/ 319518 w 446344"/>
                    <a:gd name="connsiteY185" fmla="*/ 226432 h 286829"/>
                    <a:gd name="connsiteX186" fmla="*/ 324555 w 446344"/>
                    <a:gd name="connsiteY186" fmla="*/ 221966 h 286829"/>
                    <a:gd name="connsiteX187" fmla="*/ 326095 w 446344"/>
                    <a:gd name="connsiteY187" fmla="*/ 220295 h 286829"/>
                    <a:gd name="connsiteX188" fmla="*/ 326372 w 446344"/>
                    <a:gd name="connsiteY188" fmla="*/ 219065 h 286829"/>
                    <a:gd name="connsiteX189" fmla="*/ 326397 w 446344"/>
                    <a:gd name="connsiteY189" fmla="*/ 217068 h 286829"/>
                    <a:gd name="connsiteX190" fmla="*/ 324865 w 446344"/>
                    <a:gd name="connsiteY190" fmla="*/ 214591 h 286829"/>
                    <a:gd name="connsiteX191" fmla="*/ 320733 w 446344"/>
                    <a:gd name="connsiteY191" fmla="*/ 220727 h 286829"/>
                    <a:gd name="connsiteX192" fmla="*/ 318394 w 446344"/>
                    <a:gd name="connsiteY192" fmla="*/ 221616 h 286829"/>
                    <a:gd name="connsiteX193" fmla="*/ 315419 w 446344"/>
                    <a:gd name="connsiteY193" fmla="*/ 223466 h 286829"/>
                    <a:gd name="connsiteX194" fmla="*/ 315272 w 446344"/>
                    <a:gd name="connsiteY194" fmla="*/ 227573 h 286829"/>
                    <a:gd name="connsiteX195" fmla="*/ 315607 w 446344"/>
                    <a:gd name="connsiteY195" fmla="*/ 230621 h 286829"/>
                    <a:gd name="connsiteX196" fmla="*/ 316821 w 446344"/>
                    <a:gd name="connsiteY196" fmla="*/ 234460 h 286829"/>
                    <a:gd name="connsiteX197" fmla="*/ 319706 w 446344"/>
                    <a:gd name="connsiteY197" fmla="*/ 240735 h 286829"/>
                    <a:gd name="connsiteX198" fmla="*/ 325590 w 446344"/>
                    <a:gd name="connsiteY198" fmla="*/ 249683 h 286829"/>
                    <a:gd name="connsiteX199" fmla="*/ 328418 w 446344"/>
                    <a:gd name="connsiteY199" fmla="*/ 252960 h 286829"/>
                    <a:gd name="connsiteX200" fmla="*/ 330488 w 446344"/>
                    <a:gd name="connsiteY200" fmla="*/ 254272 h 286829"/>
                    <a:gd name="connsiteX201" fmla="*/ 332990 w 446344"/>
                    <a:gd name="connsiteY201" fmla="*/ 254459 h 286829"/>
                    <a:gd name="connsiteX202" fmla="*/ 337774 w 446344"/>
                    <a:gd name="connsiteY202" fmla="*/ 251704 h 286829"/>
                    <a:gd name="connsiteX203" fmla="*/ 339811 w 446344"/>
                    <a:gd name="connsiteY203" fmla="*/ 251273 h 286829"/>
                    <a:gd name="connsiteX204" fmla="*/ 344277 w 446344"/>
                    <a:gd name="connsiteY204" fmla="*/ 252324 h 286829"/>
                    <a:gd name="connsiteX205" fmla="*/ 345858 w 446344"/>
                    <a:gd name="connsiteY205" fmla="*/ 250474 h 286829"/>
                    <a:gd name="connsiteX206" fmla="*/ 348173 w 446344"/>
                    <a:gd name="connsiteY206" fmla="*/ 249455 h 286829"/>
                    <a:gd name="connsiteX207" fmla="*/ 351147 w 446344"/>
                    <a:gd name="connsiteY207" fmla="*/ 249325 h 286829"/>
                    <a:gd name="connsiteX208" fmla="*/ 354530 w 446344"/>
                    <a:gd name="connsiteY208" fmla="*/ 250148 h 286829"/>
                    <a:gd name="connsiteX209" fmla="*/ 358205 w 446344"/>
                    <a:gd name="connsiteY209" fmla="*/ 251550 h 286829"/>
                    <a:gd name="connsiteX210" fmla="*/ 356690 w 446344"/>
                    <a:gd name="connsiteY210" fmla="*/ 254704 h 286829"/>
                    <a:gd name="connsiteX211" fmla="*/ 355125 w 446344"/>
                    <a:gd name="connsiteY211" fmla="*/ 257214 h 286829"/>
                    <a:gd name="connsiteX212" fmla="*/ 354571 w 446344"/>
                    <a:gd name="connsiteY212" fmla="*/ 259993 h 286829"/>
                    <a:gd name="connsiteX213" fmla="*/ 353707 w 446344"/>
                    <a:gd name="connsiteY213" fmla="*/ 263073 h 286829"/>
                    <a:gd name="connsiteX214" fmla="*/ 349648 w 446344"/>
                    <a:gd name="connsiteY214" fmla="*/ 264459 h 286829"/>
                    <a:gd name="connsiteX215" fmla="*/ 345313 w 446344"/>
                    <a:gd name="connsiteY215" fmla="*/ 264288 h 286829"/>
                    <a:gd name="connsiteX216" fmla="*/ 340732 w 446344"/>
                    <a:gd name="connsiteY216" fmla="*/ 265176 h 286829"/>
                    <a:gd name="connsiteX217" fmla="*/ 339086 w 446344"/>
                    <a:gd name="connsiteY217" fmla="*/ 263986 h 286829"/>
                    <a:gd name="connsiteX218" fmla="*/ 337994 w 446344"/>
                    <a:gd name="connsiteY218" fmla="*/ 262886 h 286829"/>
                    <a:gd name="connsiteX219" fmla="*/ 335965 w 446344"/>
                    <a:gd name="connsiteY219" fmla="*/ 261794 h 286829"/>
                    <a:gd name="connsiteX220" fmla="*/ 333275 w 446344"/>
                    <a:gd name="connsiteY220" fmla="*/ 261191 h 286829"/>
                    <a:gd name="connsiteX221" fmla="*/ 330871 w 446344"/>
                    <a:gd name="connsiteY221" fmla="*/ 261924 h 286829"/>
                    <a:gd name="connsiteX222" fmla="*/ 328027 w 446344"/>
                    <a:gd name="connsiteY222" fmla="*/ 266138 h 286829"/>
                    <a:gd name="connsiteX223" fmla="*/ 322982 w 446344"/>
                    <a:gd name="connsiteY223" fmla="*/ 269023 h 286829"/>
                    <a:gd name="connsiteX224" fmla="*/ 321320 w 446344"/>
                    <a:gd name="connsiteY224" fmla="*/ 272307 h 286829"/>
                    <a:gd name="connsiteX225" fmla="*/ 316373 w 446344"/>
                    <a:gd name="connsiteY225" fmla="*/ 271574 h 286829"/>
                    <a:gd name="connsiteX226" fmla="*/ 312135 w 446344"/>
                    <a:gd name="connsiteY226" fmla="*/ 272160 h 286829"/>
                    <a:gd name="connsiteX227" fmla="*/ 305998 w 446344"/>
                    <a:gd name="connsiteY227" fmla="*/ 275151 h 286829"/>
                    <a:gd name="connsiteX228" fmla="*/ 301336 w 446344"/>
                    <a:gd name="connsiteY228" fmla="*/ 281557 h 286829"/>
                    <a:gd name="connsiteX229" fmla="*/ 296186 w 446344"/>
                    <a:gd name="connsiteY229" fmla="*/ 285567 h 286829"/>
                    <a:gd name="connsiteX230" fmla="*/ 292119 w 446344"/>
                    <a:gd name="connsiteY230" fmla="*/ 286830 h 286829"/>
                    <a:gd name="connsiteX231" fmla="*/ 288289 w 446344"/>
                    <a:gd name="connsiteY231" fmla="*/ 286430 h 286829"/>
                    <a:gd name="connsiteX232" fmla="*/ 285811 w 446344"/>
                    <a:gd name="connsiteY232" fmla="*/ 285232 h 286829"/>
                    <a:gd name="connsiteX233" fmla="*/ 280718 w 446344"/>
                    <a:gd name="connsiteY233" fmla="*/ 281019 h 286829"/>
                    <a:gd name="connsiteX234" fmla="*/ 281019 w 446344"/>
                    <a:gd name="connsiteY234" fmla="*/ 279511 h 286829"/>
                    <a:gd name="connsiteX235" fmla="*/ 281728 w 446344"/>
                    <a:gd name="connsiteY235" fmla="*/ 278753 h 286829"/>
                    <a:gd name="connsiteX236" fmla="*/ 282690 w 446344"/>
                    <a:gd name="connsiteY236" fmla="*/ 276586 h 286829"/>
                    <a:gd name="connsiteX237" fmla="*/ 284727 w 446344"/>
                    <a:gd name="connsiteY237" fmla="*/ 268623 h 286829"/>
                    <a:gd name="connsiteX238" fmla="*/ 284450 w 446344"/>
                    <a:gd name="connsiteY238" fmla="*/ 266040 h 286829"/>
                    <a:gd name="connsiteX239" fmla="*/ 283309 w 446344"/>
                    <a:gd name="connsiteY239" fmla="*/ 261965 h 286829"/>
                    <a:gd name="connsiteX240" fmla="*/ 279275 w 446344"/>
                    <a:gd name="connsiteY240" fmla="*/ 258803 h 286829"/>
                    <a:gd name="connsiteX241" fmla="*/ 276031 w 446344"/>
                    <a:gd name="connsiteY241" fmla="*/ 259398 h 286829"/>
                    <a:gd name="connsiteX242" fmla="*/ 274174 w 446344"/>
                    <a:gd name="connsiteY242" fmla="*/ 258558 h 286829"/>
                    <a:gd name="connsiteX243" fmla="*/ 267532 w 446344"/>
                    <a:gd name="connsiteY243" fmla="*/ 253163 h 286829"/>
                    <a:gd name="connsiteX244" fmla="*/ 263905 w 446344"/>
                    <a:gd name="connsiteY244" fmla="*/ 252780 h 286829"/>
                    <a:gd name="connsiteX245" fmla="*/ 259912 w 446344"/>
                    <a:gd name="connsiteY245" fmla="*/ 253872 h 286829"/>
                    <a:gd name="connsiteX246" fmla="*/ 258436 w 446344"/>
                    <a:gd name="connsiteY246" fmla="*/ 253090 h 286829"/>
                    <a:gd name="connsiteX247" fmla="*/ 257336 w 446344"/>
                    <a:gd name="connsiteY247" fmla="*/ 251207 h 286829"/>
                    <a:gd name="connsiteX248" fmla="*/ 265282 w 446344"/>
                    <a:gd name="connsiteY248" fmla="*/ 244549 h 286829"/>
                    <a:gd name="connsiteX249" fmla="*/ 273073 w 446344"/>
                    <a:gd name="connsiteY249" fmla="*/ 239048 h 286829"/>
                    <a:gd name="connsiteX250" fmla="*/ 276488 w 446344"/>
                    <a:gd name="connsiteY250" fmla="*/ 238486 h 286829"/>
                    <a:gd name="connsiteX251" fmla="*/ 281109 w 446344"/>
                    <a:gd name="connsiteY251" fmla="*/ 235918 h 286829"/>
                    <a:gd name="connsiteX252" fmla="*/ 286031 w 446344"/>
                    <a:gd name="connsiteY252" fmla="*/ 232064 h 286829"/>
                    <a:gd name="connsiteX253" fmla="*/ 285330 w 446344"/>
                    <a:gd name="connsiteY253" fmla="*/ 229032 h 286829"/>
                    <a:gd name="connsiteX254" fmla="*/ 284271 w 446344"/>
                    <a:gd name="connsiteY254" fmla="*/ 226799 h 286829"/>
                    <a:gd name="connsiteX255" fmla="*/ 281915 w 446344"/>
                    <a:gd name="connsiteY255" fmla="*/ 227410 h 286829"/>
                    <a:gd name="connsiteX256" fmla="*/ 280204 w 446344"/>
                    <a:gd name="connsiteY256" fmla="*/ 228160 h 286829"/>
                    <a:gd name="connsiteX257" fmla="*/ 276072 w 446344"/>
                    <a:gd name="connsiteY257" fmla="*/ 225756 h 286829"/>
                    <a:gd name="connsiteX258" fmla="*/ 274548 w 446344"/>
                    <a:gd name="connsiteY258" fmla="*/ 223987 h 286829"/>
                    <a:gd name="connsiteX259" fmla="*/ 268086 w 446344"/>
                    <a:gd name="connsiteY259" fmla="*/ 225821 h 286829"/>
                    <a:gd name="connsiteX260" fmla="*/ 264500 w 446344"/>
                    <a:gd name="connsiteY260" fmla="*/ 225552 h 286829"/>
                    <a:gd name="connsiteX261" fmla="*/ 256562 w 446344"/>
                    <a:gd name="connsiteY261" fmla="*/ 227239 h 286829"/>
                    <a:gd name="connsiteX262" fmla="*/ 252919 w 446344"/>
                    <a:gd name="connsiteY262" fmla="*/ 225593 h 286829"/>
                    <a:gd name="connsiteX263" fmla="*/ 245617 w 446344"/>
                    <a:gd name="connsiteY263" fmla="*/ 220972 h 286829"/>
                    <a:gd name="connsiteX264" fmla="*/ 242878 w 446344"/>
                    <a:gd name="connsiteY264" fmla="*/ 220043 h 286829"/>
                    <a:gd name="connsiteX265" fmla="*/ 240547 w 446344"/>
                    <a:gd name="connsiteY265" fmla="*/ 220238 h 286829"/>
                    <a:gd name="connsiteX266" fmla="*/ 239276 w 446344"/>
                    <a:gd name="connsiteY266" fmla="*/ 218714 h 286829"/>
                    <a:gd name="connsiteX267" fmla="*/ 240825 w 446344"/>
                    <a:gd name="connsiteY267" fmla="*/ 217956 h 286829"/>
                    <a:gd name="connsiteX268" fmla="*/ 242650 w 446344"/>
                    <a:gd name="connsiteY268" fmla="*/ 217867 h 286829"/>
                    <a:gd name="connsiteX269" fmla="*/ 244525 w 446344"/>
                    <a:gd name="connsiteY269" fmla="*/ 217313 h 286829"/>
                    <a:gd name="connsiteX270" fmla="*/ 245046 w 446344"/>
                    <a:gd name="connsiteY270" fmla="*/ 216506 h 286829"/>
                    <a:gd name="connsiteX271" fmla="*/ 244932 w 446344"/>
                    <a:gd name="connsiteY271" fmla="*/ 214990 h 286829"/>
                    <a:gd name="connsiteX272" fmla="*/ 241142 w 446344"/>
                    <a:gd name="connsiteY272" fmla="*/ 213841 h 286829"/>
                    <a:gd name="connsiteX273" fmla="*/ 237614 w 446344"/>
                    <a:gd name="connsiteY273" fmla="*/ 213507 h 286829"/>
                    <a:gd name="connsiteX274" fmla="*/ 235389 w 446344"/>
                    <a:gd name="connsiteY274" fmla="*/ 212146 h 286829"/>
                    <a:gd name="connsiteX275" fmla="*/ 233677 w 446344"/>
                    <a:gd name="connsiteY275" fmla="*/ 210589 h 286829"/>
                    <a:gd name="connsiteX276" fmla="*/ 237671 w 446344"/>
                    <a:gd name="connsiteY276" fmla="*/ 210565 h 286829"/>
                    <a:gd name="connsiteX277" fmla="*/ 241689 w 446344"/>
                    <a:gd name="connsiteY277" fmla="*/ 211746 h 286829"/>
                    <a:gd name="connsiteX278" fmla="*/ 247980 w 446344"/>
                    <a:gd name="connsiteY278" fmla="*/ 212178 h 286829"/>
                    <a:gd name="connsiteX279" fmla="*/ 253668 w 446344"/>
                    <a:gd name="connsiteY279" fmla="*/ 213401 h 286829"/>
                    <a:gd name="connsiteX280" fmla="*/ 255103 w 446344"/>
                    <a:gd name="connsiteY280" fmla="*/ 211885 h 286829"/>
                    <a:gd name="connsiteX281" fmla="*/ 258412 w 446344"/>
                    <a:gd name="connsiteY281" fmla="*/ 209252 h 286829"/>
                    <a:gd name="connsiteX282" fmla="*/ 259047 w 446344"/>
                    <a:gd name="connsiteY282" fmla="*/ 208413 h 286829"/>
                    <a:gd name="connsiteX283" fmla="*/ 253489 w 446344"/>
                    <a:gd name="connsiteY283" fmla="*/ 210214 h 286829"/>
                    <a:gd name="connsiteX284" fmla="*/ 247858 w 446344"/>
                    <a:gd name="connsiteY284" fmla="*/ 209065 h 286829"/>
                    <a:gd name="connsiteX285" fmla="*/ 245812 w 446344"/>
                    <a:gd name="connsiteY285" fmla="*/ 207460 h 286829"/>
                    <a:gd name="connsiteX286" fmla="*/ 244068 w 446344"/>
                    <a:gd name="connsiteY286" fmla="*/ 205096 h 286829"/>
                    <a:gd name="connsiteX287" fmla="*/ 243351 w 446344"/>
                    <a:gd name="connsiteY287" fmla="*/ 202415 h 286829"/>
                    <a:gd name="connsiteX288" fmla="*/ 243815 w 446344"/>
                    <a:gd name="connsiteY288" fmla="*/ 199905 h 286829"/>
                    <a:gd name="connsiteX289" fmla="*/ 243213 w 446344"/>
                    <a:gd name="connsiteY289" fmla="*/ 195382 h 286829"/>
                    <a:gd name="connsiteX290" fmla="*/ 241354 w 446344"/>
                    <a:gd name="connsiteY290" fmla="*/ 191356 h 286829"/>
                    <a:gd name="connsiteX291" fmla="*/ 240702 w 446344"/>
                    <a:gd name="connsiteY291" fmla="*/ 189139 h 286829"/>
                    <a:gd name="connsiteX292" fmla="*/ 238738 w 446344"/>
                    <a:gd name="connsiteY292" fmla="*/ 187159 h 286829"/>
                    <a:gd name="connsiteX293" fmla="*/ 240662 w 446344"/>
                    <a:gd name="connsiteY293" fmla="*/ 191641 h 286829"/>
                    <a:gd name="connsiteX294" fmla="*/ 241379 w 446344"/>
                    <a:gd name="connsiteY294" fmla="*/ 194624 h 286829"/>
                    <a:gd name="connsiteX295" fmla="*/ 242544 w 446344"/>
                    <a:gd name="connsiteY295" fmla="*/ 197370 h 286829"/>
                    <a:gd name="connsiteX296" fmla="*/ 242275 w 446344"/>
                    <a:gd name="connsiteY296" fmla="*/ 204640 h 286829"/>
                    <a:gd name="connsiteX297" fmla="*/ 241558 w 446344"/>
                    <a:gd name="connsiteY297" fmla="*/ 207199 h 286829"/>
                    <a:gd name="connsiteX298" fmla="*/ 239244 w 446344"/>
                    <a:gd name="connsiteY298" fmla="*/ 207843 h 286829"/>
                    <a:gd name="connsiteX299" fmla="*/ 236212 w 446344"/>
                    <a:gd name="connsiteY299" fmla="*/ 207460 h 286829"/>
                    <a:gd name="connsiteX300" fmla="*/ 233115 w 446344"/>
                    <a:gd name="connsiteY300" fmla="*/ 206661 h 286829"/>
                    <a:gd name="connsiteX301" fmla="*/ 233889 w 446344"/>
                    <a:gd name="connsiteY301" fmla="*/ 202668 h 286829"/>
                    <a:gd name="connsiteX302" fmla="*/ 232243 w 446344"/>
                    <a:gd name="connsiteY302" fmla="*/ 204045 h 286829"/>
                    <a:gd name="connsiteX303" fmla="*/ 229912 w 446344"/>
                    <a:gd name="connsiteY303" fmla="*/ 207940 h 286829"/>
                    <a:gd name="connsiteX304" fmla="*/ 227858 w 446344"/>
                    <a:gd name="connsiteY304" fmla="*/ 208527 h 286829"/>
                    <a:gd name="connsiteX305" fmla="*/ 223311 w 446344"/>
                    <a:gd name="connsiteY305" fmla="*/ 208103 h 286829"/>
                    <a:gd name="connsiteX306" fmla="*/ 214860 w 446344"/>
                    <a:gd name="connsiteY306" fmla="*/ 210671 h 286829"/>
                    <a:gd name="connsiteX307" fmla="*/ 214281 w 446344"/>
                    <a:gd name="connsiteY307" fmla="*/ 213474 h 286829"/>
                    <a:gd name="connsiteX308" fmla="*/ 213018 w 446344"/>
                    <a:gd name="connsiteY308" fmla="*/ 217264 h 286829"/>
                    <a:gd name="connsiteX309" fmla="*/ 211787 w 446344"/>
                    <a:gd name="connsiteY309" fmla="*/ 219472 h 286829"/>
                    <a:gd name="connsiteX310" fmla="*/ 211412 w 446344"/>
                    <a:gd name="connsiteY310" fmla="*/ 220801 h 286829"/>
                    <a:gd name="connsiteX311" fmla="*/ 207818 w 446344"/>
                    <a:gd name="connsiteY311" fmla="*/ 226497 h 286829"/>
                    <a:gd name="connsiteX312" fmla="*/ 207346 w 446344"/>
                    <a:gd name="connsiteY312" fmla="*/ 227035 h 286829"/>
                    <a:gd name="connsiteX313" fmla="*/ 200549 w 446344"/>
                    <a:gd name="connsiteY313" fmla="*/ 234924 h 286829"/>
                    <a:gd name="connsiteX314" fmla="*/ 199693 w 446344"/>
                    <a:gd name="connsiteY314" fmla="*/ 235519 h 286829"/>
                    <a:gd name="connsiteX315" fmla="*/ 195292 w 446344"/>
                    <a:gd name="connsiteY315" fmla="*/ 237353 h 286829"/>
                    <a:gd name="connsiteX316" fmla="*/ 192692 w 446344"/>
                    <a:gd name="connsiteY316" fmla="*/ 238958 h 286829"/>
                    <a:gd name="connsiteX317" fmla="*/ 190688 w 446344"/>
                    <a:gd name="connsiteY317" fmla="*/ 239675 h 286829"/>
                    <a:gd name="connsiteX318" fmla="*/ 187321 w 446344"/>
                    <a:gd name="connsiteY318" fmla="*/ 238877 h 286829"/>
                    <a:gd name="connsiteX319" fmla="*/ 185912 w 446344"/>
                    <a:gd name="connsiteY319" fmla="*/ 240010 h 286829"/>
                    <a:gd name="connsiteX320" fmla="*/ 185252 w 446344"/>
                    <a:gd name="connsiteY320" fmla="*/ 241420 h 286829"/>
                    <a:gd name="connsiteX321" fmla="*/ 185235 w 446344"/>
                    <a:gd name="connsiteY321" fmla="*/ 244321 h 286829"/>
                    <a:gd name="connsiteX322" fmla="*/ 186955 w 446344"/>
                    <a:gd name="connsiteY322" fmla="*/ 246407 h 286829"/>
                    <a:gd name="connsiteX323" fmla="*/ 188349 w 446344"/>
                    <a:gd name="connsiteY323" fmla="*/ 253359 h 286829"/>
                    <a:gd name="connsiteX324" fmla="*/ 187835 w 446344"/>
                    <a:gd name="connsiteY324" fmla="*/ 256285 h 286829"/>
                    <a:gd name="connsiteX325" fmla="*/ 186507 w 446344"/>
                    <a:gd name="connsiteY325" fmla="*/ 254386 h 286829"/>
                    <a:gd name="connsiteX326" fmla="*/ 184412 w 446344"/>
                    <a:gd name="connsiteY326" fmla="*/ 252389 h 286829"/>
                    <a:gd name="connsiteX327" fmla="*/ 180346 w 446344"/>
                    <a:gd name="connsiteY327" fmla="*/ 250669 h 286829"/>
                    <a:gd name="connsiteX328" fmla="*/ 175879 w 446344"/>
                    <a:gd name="connsiteY328" fmla="*/ 251256 h 286829"/>
                    <a:gd name="connsiteX329" fmla="*/ 171006 w 446344"/>
                    <a:gd name="connsiteY329" fmla="*/ 254157 h 286829"/>
                    <a:gd name="connsiteX330" fmla="*/ 167705 w 446344"/>
                    <a:gd name="connsiteY330" fmla="*/ 255233 h 286829"/>
                    <a:gd name="connsiteX331" fmla="*/ 165969 w 446344"/>
                    <a:gd name="connsiteY331" fmla="*/ 254492 h 286829"/>
                    <a:gd name="connsiteX332" fmla="*/ 164910 w 446344"/>
                    <a:gd name="connsiteY332" fmla="*/ 254532 h 286829"/>
                    <a:gd name="connsiteX333" fmla="*/ 164535 w 446344"/>
                    <a:gd name="connsiteY333" fmla="*/ 255364 h 286829"/>
                    <a:gd name="connsiteX334" fmla="*/ 164625 w 446344"/>
                    <a:gd name="connsiteY334" fmla="*/ 256040 h 286829"/>
                    <a:gd name="connsiteX335" fmla="*/ 165154 w 446344"/>
                    <a:gd name="connsiteY335" fmla="*/ 256562 h 286829"/>
                    <a:gd name="connsiteX336" fmla="*/ 165073 w 446344"/>
                    <a:gd name="connsiteY336" fmla="*/ 256945 h 286829"/>
                    <a:gd name="connsiteX337" fmla="*/ 164388 w 446344"/>
                    <a:gd name="connsiteY337" fmla="*/ 257181 h 286829"/>
                    <a:gd name="connsiteX338" fmla="*/ 156719 w 446344"/>
                    <a:gd name="connsiteY338" fmla="*/ 255144 h 286829"/>
                    <a:gd name="connsiteX339" fmla="*/ 153402 w 446344"/>
                    <a:gd name="connsiteY339" fmla="*/ 253212 h 286829"/>
                    <a:gd name="connsiteX340" fmla="*/ 150794 w 446344"/>
                    <a:gd name="connsiteY340" fmla="*/ 249577 h 286829"/>
                    <a:gd name="connsiteX341" fmla="*/ 152099 w 446344"/>
                    <a:gd name="connsiteY341" fmla="*/ 248404 h 286829"/>
                    <a:gd name="connsiteX342" fmla="*/ 153223 w 446344"/>
                    <a:gd name="connsiteY342" fmla="*/ 247882 h 286829"/>
                    <a:gd name="connsiteX343" fmla="*/ 157217 w 446344"/>
                    <a:gd name="connsiteY343" fmla="*/ 247581 h 286829"/>
                    <a:gd name="connsiteX344" fmla="*/ 157901 w 446344"/>
                    <a:gd name="connsiteY344" fmla="*/ 247214 h 286829"/>
                    <a:gd name="connsiteX345" fmla="*/ 157975 w 446344"/>
                    <a:gd name="connsiteY345" fmla="*/ 246366 h 286829"/>
                    <a:gd name="connsiteX346" fmla="*/ 158260 w 446344"/>
                    <a:gd name="connsiteY346" fmla="*/ 245282 h 286829"/>
                    <a:gd name="connsiteX347" fmla="*/ 158162 w 446344"/>
                    <a:gd name="connsiteY347" fmla="*/ 243677 h 286829"/>
                    <a:gd name="connsiteX348" fmla="*/ 157714 w 446344"/>
                    <a:gd name="connsiteY348" fmla="*/ 241990 h 286829"/>
                    <a:gd name="connsiteX349" fmla="*/ 159474 w 446344"/>
                    <a:gd name="connsiteY349" fmla="*/ 239521 h 286829"/>
                    <a:gd name="connsiteX350" fmla="*/ 162082 w 446344"/>
                    <a:gd name="connsiteY350" fmla="*/ 237475 h 286829"/>
                    <a:gd name="connsiteX351" fmla="*/ 163614 w 446344"/>
                    <a:gd name="connsiteY351" fmla="*/ 235421 h 286829"/>
                    <a:gd name="connsiteX352" fmla="*/ 163842 w 446344"/>
                    <a:gd name="connsiteY352" fmla="*/ 232414 h 286829"/>
                    <a:gd name="connsiteX353" fmla="*/ 166589 w 446344"/>
                    <a:gd name="connsiteY353" fmla="*/ 230947 h 286829"/>
                    <a:gd name="connsiteX354" fmla="*/ 169034 w 446344"/>
                    <a:gd name="connsiteY354" fmla="*/ 228429 h 286829"/>
                    <a:gd name="connsiteX355" fmla="*/ 169629 w 446344"/>
                    <a:gd name="connsiteY355" fmla="*/ 225682 h 286829"/>
                    <a:gd name="connsiteX356" fmla="*/ 170476 w 446344"/>
                    <a:gd name="connsiteY356" fmla="*/ 223963 h 286829"/>
                    <a:gd name="connsiteX357" fmla="*/ 168936 w 446344"/>
                    <a:gd name="connsiteY357" fmla="*/ 220002 h 286829"/>
                    <a:gd name="connsiteX358" fmla="*/ 168610 w 446344"/>
                    <a:gd name="connsiteY358" fmla="*/ 217394 h 286829"/>
                    <a:gd name="connsiteX359" fmla="*/ 168528 w 446344"/>
                    <a:gd name="connsiteY359" fmla="*/ 215194 h 286829"/>
                    <a:gd name="connsiteX360" fmla="*/ 169302 w 446344"/>
                    <a:gd name="connsiteY360" fmla="*/ 213979 h 286829"/>
                    <a:gd name="connsiteX361" fmla="*/ 171568 w 446344"/>
                    <a:gd name="connsiteY361" fmla="*/ 212610 h 286829"/>
                    <a:gd name="connsiteX362" fmla="*/ 173956 w 446344"/>
                    <a:gd name="connsiteY362" fmla="*/ 211551 h 286829"/>
                    <a:gd name="connsiteX363" fmla="*/ 174942 w 446344"/>
                    <a:gd name="connsiteY363" fmla="*/ 211657 h 286829"/>
                    <a:gd name="connsiteX364" fmla="*/ 175301 w 446344"/>
                    <a:gd name="connsiteY364" fmla="*/ 212333 h 286829"/>
                    <a:gd name="connsiteX365" fmla="*/ 175407 w 446344"/>
                    <a:gd name="connsiteY365" fmla="*/ 216783 h 286829"/>
                    <a:gd name="connsiteX366" fmla="*/ 175888 w 446344"/>
                    <a:gd name="connsiteY366" fmla="*/ 216872 h 286829"/>
                    <a:gd name="connsiteX367" fmla="*/ 176654 w 446344"/>
                    <a:gd name="connsiteY367" fmla="*/ 216318 h 286829"/>
                    <a:gd name="connsiteX368" fmla="*/ 177900 w 446344"/>
                    <a:gd name="connsiteY368" fmla="*/ 213702 h 286829"/>
                    <a:gd name="connsiteX369" fmla="*/ 178748 w 446344"/>
                    <a:gd name="connsiteY369" fmla="*/ 214468 h 286829"/>
                    <a:gd name="connsiteX370" fmla="*/ 180069 w 446344"/>
                    <a:gd name="connsiteY370" fmla="*/ 214754 h 286829"/>
                    <a:gd name="connsiteX371" fmla="*/ 181054 w 446344"/>
                    <a:gd name="connsiteY371" fmla="*/ 214077 h 286829"/>
                    <a:gd name="connsiteX372" fmla="*/ 181698 w 446344"/>
                    <a:gd name="connsiteY372" fmla="*/ 214150 h 286829"/>
                    <a:gd name="connsiteX373" fmla="*/ 182513 w 446344"/>
                    <a:gd name="connsiteY373" fmla="*/ 214827 h 286829"/>
                    <a:gd name="connsiteX374" fmla="*/ 184094 w 446344"/>
                    <a:gd name="connsiteY374" fmla="*/ 215780 h 286829"/>
                    <a:gd name="connsiteX375" fmla="*/ 185586 w 446344"/>
                    <a:gd name="connsiteY375" fmla="*/ 216098 h 286829"/>
                    <a:gd name="connsiteX376" fmla="*/ 186808 w 446344"/>
                    <a:gd name="connsiteY376" fmla="*/ 215463 h 286829"/>
                    <a:gd name="connsiteX377" fmla="*/ 187860 w 446344"/>
                    <a:gd name="connsiteY377" fmla="*/ 214330 h 286829"/>
                    <a:gd name="connsiteX378" fmla="*/ 188976 w 446344"/>
                    <a:gd name="connsiteY378" fmla="*/ 214721 h 286829"/>
                    <a:gd name="connsiteX379" fmla="*/ 191119 w 446344"/>
                    <a:gd name="connsiteY379" fmla="*/ 217810 h 286829"/>
                    <a:gd name="connsiteX380" fmla="*/ 192122 w 446344"/>
                    <a:gd name="connsiteY380" fmla="*/ 217467 h 286829"/>
                    <a:gd name="connsiteX381" fmla="*/ 197012 w 446344"/>
                    <a:gd name="connsiteY381" fmla="*/ 216840 h 286829"/>
                    <a:gd name="connsiteX382" fmla="*/ 197811 w 446344"/>
                    <a:gd name="connsiteY382" fmla="*/ 216000 h 286829"/>
                    <a:gd name="connsiteX383" fmla="*/ 198397 w 446344"/>
                    <a:gd name="connsiteY383" fmla="*/ 215234 h 286829"/>
                    <a:gd name="connsiteX384" fmla="*/ 193263 w 446344"/>
                    <a:gd name="connsiteY384" fmla="*/ 211135 h 286829"/>
                    <a:gd name="connsiteX385" fmla="*/ 193524 w 446344"/>
                    <a:gd name="connsiteY385" fmla="*/ 208079 h 286829"/>
                    <a:gd name="connsiteX386" fmla="*/ 193711 w 446344"/>
                    <a:gd name="connsiteY386" fmla="*/ 204566 h 286829"/>
                    <a:gd name="connsiteX387" fmla="*/ 193108 w 446344"/>
                    <a:gd name="connsiteY387" fmla="*/ 202480 h 286829"/>
                    <a:gd name="connsiteX388" fmla="*/ 192106 w 446344"/>
                    <a:gd name="connsiteY388" fmla="*/ 200834 h 286829"/>
                    <a:gd name="connsiteX389" fmla="*/ 188186 w 446344"/>
                    <a:gd name="connsiteY389" fmla="*/ 198910 h 286829"/>
                    <a:gd name="connsiteX390" fmla="*/ 185162 w 446344"/>
                    <a:gd name="connsiteY390" fmla="*/ 196922 h 286829"/>
                    <a:gd name="connsiteX391" fmla="*/ 184526 w 446344"/>
                    <a:gd name="connsiteY391" fmla="*/ 196025 h 286829"/>
                    <a:gd name="connsiteX392" fmla="*/ 184445 w 446344"/>
                    <a:gd name="connsiteY392" fmla="*/ 194860 h 286829"/>
                    <a:gd name="connsiteX393" fmla="*/ 184315 w 446344"/>
                    <a:gd name="connsiteY393" fmla="*/ 193051 h 286829"/>
                    <a:gd name="connsiteX394" fmla="*/ 183116 w 446344"/>
                    <a:gd name="connsiteY394" fmla="*/ 191502 h 286829"/>
                    <a:gd name="connsiteX395" fmla="*/ 183010 w 446344"/>
                    <a:gd name="connsiteY395" fmla="*/ 190182 h 286829"/>
                    <a:gd name="connsiteX396" fmla="*/ 183776 w 446344"/>
                    <a:gd name="connsiteY396" fmla="*/ 188137 h 286829"/>
                    <a:gd name="connsiteX397" fmla="*/ 183964 w 446344"/>
                    <a:gd name="connsiteY397" fmla="*/ 185944 h 286829"/>
                    <a:gd name="connsiteX398" fmla="*/ 183703 w 446344"/>
                    <a:gd name="connsiteY398" fmla="*/ 185089 h 286829"/>
                    <a:gd name="connsiteX399" fmla="*/ 183002 w 446344"/>
                    <a:gd name="connsiteY399" fmla="*/ 184388 h 286829"/>
                    <a:gd name="connsiteX400" fmla="*/ 181641 w 446344"/>
                    <a:gd name="connsiteY400" fmla="*/ 184314 h 286829"/>
                    <a:gd name="connsiteX401" fmla="*/ 179840 w 446344"/>
                    <a:gd name="connsiteY401" fmla="*/ 183059 h 286829"/>
                    <a:gd name="connsiteX402" fmla="*/ 178610 w 446344"/>
                    <a:gd name="connsiteY402" fmla="*/ 181356 h 286829"/>
                    <a:gd name="connsiteX403" fmla="*/ 175309 w 446344"/>
                    <a:gd name="connsiteY403" fmla="*/ 178903 h 286829"/>
                    <a:gd name="connsiteX404" fmla="*/ 174299 w 446344"/>
                    <a:gd name="connsiteY404" fmla="*/ 178504 h 286829"/>
                    <a:gd name="connsiteX405" fmla="*/ 173687 w 446344"/>
                    <a:gd name="connsiteY405" fmla="*/ 177289 h 286829"/>
                    <a:gd name="connsiteX406" fmla="*/ 173386 w 446344"/>
                    <a:gd name="connsiteY406" fmla="*/ 175839 h 286829"/>
                    <a:gd name="connsiteX407" fmla="*/ 174087 w 446344"/>
                    <a:gd name="connsiteY407" fmla="*/ 174029 h 286829"/>
                    <a:gd name="connsiteX408" fmla="*/ 174950 w 446344"/>
                    <a:gd name="connsiteY408" fmla="*/ 171242 h 286829"/>
                    <a:gd name="connsiteX409" fmla="*/ 175561 w 446344"/>
                    <a:gd name="connsiteY409" fmla="*/ 168642 h 286829"/>
                    <a:gd name="connsiteX410" fmla="*/ 175578 w 446344"/>
                    <a:gd name="connsiteY410" fmla="*/ 167086 h 286829"/>
                    <a:gd name="connsiteX411" fmla="*/ 175162 w 446344"/>
                    <a:gd name="connsiteY411" fmla="*/ 163231 h 286829"/>
                    <a:gd name="connsiteX412" fmla="*/ 173442 w 446344"/>
                    <a:gd name="connsiteY412" fmla="*/ 160281 h 286829"/>
                    <a:gd name="connsiteX413" fmla="*/ 172636 w 446344"/>
                    <a:gd name="connsiteY413" fmla="*/ 159890 h 286829"/>
                    <a:gd name="connsiteX414" fmla="*/ 171250 w 446344"/>
                    <a:gd name="connsiteY414" fmla="*/ 160721 h 286829"/>
                    <a:gd name="connsiteX415" fmla="*/ 169670 w 446344"/>
                    <a:gd name="connsiteY415" fmla="*/ 161405 h 286829"/>
                    <a:gd name="connsiteX416" fmla="*/ 168430 w 446344"/>
                    <a:gd name="connsiteY416" fmla="*/ 160762 h 286829"/>
                    <a:gd name="connsiteX417" fmla="*/ 166996 w 446344"/>
                    <a:gd name="connsiteY417" fmla="*/ 159164 h 286829"/>
                    <a:gd name="connsiteX418" fmla="*/ 164722 w 446344"/>
                    <a:gd name="connsiteY418" fmla="*/ 154714 h 286829"/>
                    <a:gd name="connsiteX419" fmla="*/ 160460 w 446344"/>
                    <a:gd name="connsiteY419" fmla="*/ 153826 h 286829"/>
                    <a:gd name="connsiteX420" fmla="*/ 158700 w 446344"/>
                    <a:gd name="connsiteY420" fmla="*/ 153614 h 286829"/>
                    <a:gd name="connsiteX421" fmla="*/ 157021 w 446344"/>
                    <a:gd name="connsiteY421" fmla="*/ 155766 h 286829"/>
                    <a:gd name="connsiteX422" fmla="*/ 156507 w 446344"/>
                    <a:gd name="connsiteY422" fmla="*/ 155114 h 286829"/>
                    <a:gd name="connsiteX423" fmla="*/ 156035 w 446344"/>
                    <a:gd name="connsiteY423" fmla="*/ 153745 h 286829"/>
                    <a:gd name="connsiteX424" fmla="*/ 155146 w 446344"/>
                    <a:gd name="connsiteY424" fmla="*/ 153190 h 286829"/>
                    <a:gd name="connsiteX425" fmla="*/ 153981 w 446344"/>
                    <a:gd name="connsiteY425" fmla="*/ 153826 h 286829"/>
                    <a:gd name="connsiteX426" fmla="*/ 153639 w 446344"/>
                    <a:gd name="connsiteY426" fmla="*/ 153215 h 286829"/>
                    <a:gd name="connsiteX427" fmla="*/ 154144 w 446344"/>
                    <a:gd name="connsiteY427" fmla="*/ 151357 h 286829"/>
                    <a:gd name="connsiteX428" fmla="*/ 152759 w 446344"/>
                    <a:gd name="connsiteY428" fmla="*/ 150436 h 286829"/>
                    <a:gd name="connsiteX429" fmla="*/ 149474 w 446344"/>
                    <a:gd name="connsiteY429" fmla="*/ 150403 h 286829"/>
                    <a:gd name="connsiteX430" fmla="*/ 147730 w 446344"/>
                    <a:gd name="connsiteY430" fmla="*/ 149727 h 286829"/>
                    <a:gd name="connsiteX431" fmla="*/ 147518 w 446344"/>
                    <a:gd name="connsiteY431" fmla="*/ 148333 h 286829"/>
                    <a:gd name="connsiteX432" fmla="*/ 146491 w 446344"/>
                    <a:gd name="connsiteY432" fmla="*/ 147420 h 286829"/>
                    <a:gd name="connsiteX433" fmla="*/ 144633 w 446344"/>
                    <a:gd name="connsiteY433" fmla="*/ 146980 h 286829"/>
                    <a:gd name="connsiteX434" fmla="*/ 142816 w 446344"/>
                    <a:gd name="connsiteY434" fmla="*/ 145839 h 286829"/>
                    <a:gd name="connsiteX435" fmla="*/ 141064 w 446344"/>
                    <a:gd name="connsiteY435" fmla="*/ 144006 h 286829"/>
                    <a:gd name="connsiteX436" fmla="*/ 138447 w 446344"/>
                    <a:gd name="connsiteY436" fmla="*/ 142808 h 286829"/>
                    <a:gd name="connsiteX437" fmla="*/ 134952 w 446344"/>
                    <a:gd name="connsiteY437" fmla="*/ 142262 h 286829"/>
                    <a:gd name="connsiteX438" fmla="*/ 134666 w 446344"/>
                    <a:gd name="connsiteY438" fmla="*/ 142066 h 286829"/>
                    <a:gd name="connsiteX439" fmla="*/ 134357 w 446344"/>
                    <a:gd name="connsiteY439" fmla="*/ 141797 h 286829"/>
                    <a:gd name="connsiteX440" fmla="*/ 132107 w 446344"/>
                    <a:gd name="connsiteY440" fmla="*/ 143052 h 286829"/>
                    <a:gd name="connsiteX441" fmla="*/ 130754 w 446344"/>
                    <a:gd name="connsiteY441" fmla="*/ 144038 h 286829"/>
                    <a:gd name="connsiteX442" fmla="*/ 129092 w 446344"/>
                    <a:gd name="connsiteY442" fmla="*/ 143427 h 286829"/>
                    <a:gd name="connsiteX443" fmla="*/ 126402 w 446344"/>
                    <a:gd name="connsiteY443" fmla="*/ 145628 h 286829"/>
                    <a:gd name="connsiteX444" fmla="*/ 120942 w 446344"/>
                    <a:gd name="connsiteY444" fmla="*/ 145742 h 286829"/>
                    <a:gd name="connsiteX445" fmla="*/ 118269 w 446344"/>
                    <a:gd name="connsiteY445" fmla="*/ 145603 h 286829"/>
                    <a:gd name="connsiteX446" fmla="*/ 116941 w 446344"/>
                    <a:gd name="connsiteY446" fmla="*/ 145057 h 286829"/>
                    <a:gd name="connsiteX447" fmla="*/ 111815 w 446344"/>
                    <a:gd name="connsiteY447" fmla="*/ 148398 h 286829"/>
                    <a:gd name="connsiteX448" fmla="*/ 111276 w 446344"/>
                    <a:gd name="connsiteY448" fmla="*/ 149637 h 286829"/>
                    <a:gd name="connsiteX449" fmla="*/ 110127 w 446344"/>
                    <a:gd name="connsiteY449" fmla="*/ 150045 h 286829"/>
                    <a:gd name="connsiteX450" fmla="*/ 106900 w 446344"/>
                    <a:gd name="connsiteY450" fmla="*/ 150713 h 286829"/>
                    <a:gd name="connsiteX451" fmla="*/ 103510 w 446344"/>
                    <a:gd name="connsiteY451" fmla="*/ 151658 h 286829"/>
                    <a:gd name="connsiteX452" fmla="*/ 102801 w 446344"/>
                    <a:gd name="connsiteY452" fmla="*/ 154902 h 286829"/>
                    <a:gd name="connsiteX453" fmla="*/ 101790 w 446344"/>
                    <a:gd name="connsiteY453" fmla="*/ 156654 h 286829"/>
                    <a:gd name="connsiteX454" fmla="*/ 99965 w 446344"/>
                    <a:gd name="connsiteY454" fmla="*/ 159229 h 286829"/>
                    <a:gd name="connsiteX455" fmla="*/ 93665 w 446344"/>
                    <a:gd name="connsiteY455" fmla="*/ 160126 h 286829"/>
                    <a:gd name="connsiteX456" fmla="*/ 88221 w 446344"/>
                    <a:gd name="connsiteY456" fmla="*/ 161381 h 286829"/>
                    <a:gd name="connsiteX457" fmla="*/ 82638 w 446344"/>
                    <a:gd name="connsiteY457" fmla="*/ 162163 h 286829"/>
                    <a:gd name="connsiteX458" fmla="*/ 75336 w 446344"/>
                    <a:gd name="connsiteY458" fmla="*/ 165309 h 286829"/>
                    <a:gd name="connsiteX459" fmla="*/ 72957 w 446344"/>
                    <a:gd name="connsiteY459" fmla="*/ 168080 h 286829"/>
                    <a:gd name="connsiteX460" fmla="*/ 70609 w 446344"/>
                    <a:gd name="connsiteY460" fmla="*/ 168854 h 286829"/>
                    <a:gd name="connsiteX461" fmla="*/ 68474 w 446344"/>
                    <a:gd name="connsiteY461" fmla="*/ 169082 h 286829"/>
                    <a:gd name="connsiteX462" fmla="*/ 67097 w 446344"/>
                    <a:gd name="connsiteY462" fmla="*/ 167534 h 286829"/>
                    <a:gd name="connsiteX463" fmla="*/ 62468 w 446344"/>
                    <a:gd name="connsiteY463" fmla="*/ 163394 h 286829"/>
                    <a:gd name="connsiteX464" fmla="*/ 60675 w 446344"/>
                    <a:gd name="connsiteY464" fmla="*/ 161438 h 286829"/>
                    <a:gd name="connsiteX465" fmla="*/ 58327 w 446344"/>
                    <a:gd name="connsiteY465" fmla="*/ 160859 h 286829"/>
                    <a:gd name="connsiteX466" fmla="*/ 55777 w 446344"/>
                    <a:gd name="connsiteY466" fmla="*/ 161185 h 286829"/>
                    <a:gd name="connsiteX467" fmla="*/ 53324 w 446344"/>
                    <a:gd name="connsiteY467" fmla="*/ 162147 h 286829"/>
                    <a:gd name="connsiteX468" fmla="*/ 50740 w 446344"/>
                    <a:gd name="connsiteY468" fmla="*/ 162326 h 286829"/>
                    <a:gd name="connsiteX469" fmla="*/ 47815 w 446344"/>
                    <a:gd name="connsiteY469" fmla="*/ 160941 h 286829"/>
                    <a:gd name="connsiteX470" fmla="*/ 47505 w 446344"/>
                    <a:gd name="connsiteY470" fmla="*/ 161071 h 286829"/>
                    <a:gd name="connsiteX471" fmla="*/ 46372 w 446344"/>
                    <a:gd name="connsiteY471" fmla="*/ 161259 h 286829"/>
                    <a:gd name="connsiteX472" fmla="*/ 39102 w 446344"/>
                    <a:gd name="connsiteY472" fmla="*/ 159580 h 286829"/>
                    <a:gd name="connsiteX473" fmla="*/ 38442 w 446344"/>
                    <a:gd name="connsiteY473" fmla="*/ 159303 h 286829"/>
                    <a:gd name="connsiteX474" fmla="*/ 38116 w 446344"/>
                    <a:gd name="connsiteY474" fmla="*/ 159238 h 286829"/>
                    <a:gd name="connsiteX475" fmla="*/ 37122 w 446344"/>
                    <a:gd name="connsiteY475" fmla="*/ 159107 h 286829"/>
                    <a:gd name="connsiteX476" fmla="*/ 31654 w 446344"/>
                    <a:gd name="connsiteY476" fmla="*/ 159319 h 286829"/>
                    <a:gd name="connsiteX477" fmla="*/ 26560 w 446344"/>
                    <a:gd name="connsiteY477" fmla="*/ 155929 h 286829"/>
                    <a:gd name="connsiteX478" fmla="*/ 24987 w 446344"/>
                    <a:gd name="connsiteY478" fmla="*/ 155823 h 286829"/>
                    <a:gd name="connsiteX479" fmla="*/ 23781 w 446344"/>
                    <a:gd name="connsiteY479" fmla="*/ 157192 h 286829"/>
                    <a:gd name="connsiteX480" fmla="*/ 22893 w 446344"/>
                    <a:gd name="connsiteY480" fmla="*/ 158724 h 286829"/>
                    <a:gd name="connsiteX481" fmla="*/ 19364 w 446344"/>
                    <a:gd name="connsiteY481" fmla="*/ 160248 h 286829"/>
                    <a:gd name="connsiteX482" fmla="*/ 18476 w 446344"/>
                    <a:gd name="connsiteY482" fmla="*/ 160851 h 286829"/>
                    <a:gd name="connsiteX483" fmla="*/ 17970 w 446344"/>
                    <a:gd name="connsiteY483" fmla="*/ 160387 h 286829"/>
                    <a:gd name="connsiteX484" fmla="*/ 17734 w 446344"/>
                    <a:gd name="connsiteY484" fmla="*/ 159066 h 286829"/>
                    <a:gd name="connsiteX485" fmla="*/ 17995 w 446344"/>
                    <a:gd name="connsiteY485" fmla="*/ 157901 h 286829"/>
                    <a:gd name="connsiteX486" fmla="*/ 17481 w 446344"/>
                    <a:gd name="connsiteY486" fmla="*/ 156801 h 286829"/>
                    <a:gd name="connsiteX487" fmla="*/ 16145 w 446344"/>
                    <a:gd name="connsiteY487" fmla="*/ 155546 h 286829"/>
                    <a:gd name="connsiteX488" fmla="*/ 15818 w 446344"/>
                    <a:gd name="connsiteY488" fmla="*/ 155032 h 286829"/>
                    <a:gd name="connsiteX489" fmla="*/ 14140 w 446344"/>
                    <a:gd name="connsiteY489" fmla="*/ 155122 h 286829"/>
                    <a:gd name="connsiteX490" fmla="*/ 13684 w 446344"/>
                    <a:gd name="connsiteY490" fmla="*/ 155244 h 286829"/>
                    <a:gd name="connsiteX491" fmla="*/ 13512 w 446344"/>
                    <a:gd name="connsiteY491" fmla="*/ 155220 h 286829"/>
                    <a:gd name="connsiteX492" fmla="*/ 11182 w 446344"/>
                    <a:gd name="connsiteY492" fmla="*/ 154152 h 286829"/>
                    <a:gd name="connsiteX493" fmla="*/ 9641 w 446344"/>
                    <a:gd name="connsiteY493" fmla="*/ 151593 h 286829"/>
                    <a:gd name="connsiteX494" fmla="*/ 7253 w 446344"/>
                    <a:gd name="connsiteY494" fmla="*/ 150232 h 286829"/>
                    <a:gd name="connsiteX495" fmla="*/ 5428 w 446344"/>
                    <a:gd name="connsiteY495" fmla="*/ 149776 h 286829"/>
                    <a:gd name="connsiteX496" fmla="*/ 4588 w 446344"/>
                    <a:gd name="connsiteY496" fmla="*/ 148676 h 286829"/>
                    <a:gd name="connsiteX497" fmla="*/ 4058 w 446344"/>
                    <a:gd name="connsiteY497" fmla="*/ 147209 h 286829"/>
                    <a:gd name="connsiteX498" fmla="*/ 3488 w 446344"/>
                    <a:gd name="connsiteY498" fmla="*/ 146108 h 286829"/>
                    <a:gd name="connsiteX499" fmla="*/ 3423 w 446344"/>
                    <a:gd name="connsiteY499" fmla="*/ 146002 h 286829"/>
                    <a:gd name="connsiteX500" fmla="*/ 3024 w 446344"/>
                    <a:gd name="connsiteY500" fmla="*/ 144324 h 286829"/>
                    <a:gd name="connsiteX501" fmla="*/ 2469 w 446344"/>
                    <a:gd name="connsiteY501" fmla="*/ 144152 h 286829"/>
                    <a:gd name="connsiteX502" fmla="*/ 2372 w 446344"/>
                    <a:gd name="connsiteY502" fmla="*/ 144104 h 286829"/>
                    <a:gd name="connsiteX503" fmla="*/ 0 w 446344"/>
                    <a:gd name="connsiteY503" fmla="*/ 144397 h 286829"/>
                    <a:gd name="connsiteX504" fmla="*/ 277 w 446344"/>
                    <a:gd name="connsiteY504" fmla="*/ 138521 h 286829"/>
                    <a:gd name="connsiteX505" fmla="*/ 4058 w 446344"/>
                    <a:gd name="connsiteY505" fmla="*/ 134291 h 286829"/>
                    <a:gd name="connsiteX506" fmla="*/ 4980 w 446344"/>
                    <a:gd name="connsiteY506" fmla="*/ 132148 h 286829"/>
                    <a:gd name="connsiteX507" fmla="*/ 6397 w 446344"/>
                    <a:gd name="connsiteY507" fmla="*/ 127519 h 286829"/>
                    <a:gd name="connsiteX508" fmla="*/ 7449 w 446344"/>
                    <a:gd name="connsiteY508" fmla="*/ 125343 h 286829"/>
                    <a:gd name="connsiteX509" fmla="*/ 8720 w 446344"/>
                    <a:gd name="connsiteY509" fmla="*/ 123550 h 286829"/>
                    <a:gd name="connsiteX510" fmla="*/ 9731 w 446344"/>
                    <a:gd name="connsiteY510" fmla="*/ 121806 h 286829"/>
                    <a:gd name="connsiteX511" fmla="*/ 10089 w 446344"/>
                    <a:gd name="connsiteY511" fmla="*/ 120315 h 286829"/>
                    <a:gd name="connsiteX512" fmla="*/ 11116 w 446344"/>
                    <a:gd name="connsiteY512" fmla="*/ 120143 h 286829"/>
                    <a:gd name="connsiteX513" fmla="*/ 14124 w 446344"/>
                    <a:gd name="connsiteY513" fmla="*/ 121488 h 286829"/>
                    <a:gd name="connsiteX514" fmla="*/ 16813 w 446344"/>
                    <a:gd name="connsiteY514" fmla="*/ 122181 h 286829"/>
                    <a:gd name="connsiteX515" fmla="*/ 17563 w 446344"/>
                    <a:gd name="connsiteY515" fmla="*/ 121521 h 286829"/>
                    <a:gd name="connsiteX516" fmla="*/ 17864 w 446344"/>
                    <a:gd name="connsiteY516" fmla="*/ 120657 h 286829"/>
                    <a:gd name="connsiteX517" fmla="*/ 17742 w 446344"/>
                    <a:gd name="connsiteY517" fmla="*/ 119988 h 286829"/>
                    <a:gd name="connsiteX518" fmla="*/ 15582 w 446344"/>
                    <a:gd name="connsiteY518" fmla="*/ 117992 h 286829"/>
                    <a:gd name="connsiteX519" fmla="*/ 14221 w 446344"/>
                    <a:gd name="connsiteY519" fmla="*/ 116729 h 286829"/>
                    <a:gd name="connsiteX520" fmla="*/ 14148 w 446344"/>
                    <a:gd name="connsiteY520" fmla="*/ 115946 h 286829"/>
                    <a:gd name="connsiteX521" fmla="*/ 14645 w 446344"/>
                    <a:gd name="connsiteY521" fmla="*/ 114202 h 286829"/>
                    <a:gd name="connsiteX522" fmla="*/ 14890 w 446344"/>
                    <a:gd name="connsiteY522" fmla="*/ 112238 h 286829"/>
                    <a:gd name="connsiteX523" fmla="*/ 14588 w 446344"/>
                    <a:gd name="connsiteY523" fmla="*/ 110119 h 286829"/>
                    <a:gd name="connsiteX524" fmla="*/ 13113 w 446344"/>
                    <a:gd name="connsiteY524" fmla="*/ 105409 h 286829"/>
                    <a:gd name="connsiteX525" fmla="*/ 12836 w 446344"/>
                    <a:gd name="connsiteY525" fmla="*/ 103396 h 286829"/>
                    <a:gd name="connsiteX526" fmla="*/ 14238 w 446344"/>
                    <a:gd name="connsiteY526" fmla="*/ 100951 h 286829"/>
                    <a:gd name="connsiteX527" fmla="*/ 18818 w 446344"/>
                    <a:gd name="connsiteY527" fmla="*/ 95132 h 286829"/>
                    <a:gd name="connsiteX528" fmla="*/ 20350 w 446344"/>
                    <a:gd name="connsiteY528" fmla="*/ 92939 h 286829"/>
                    <a:gd name="connsiteX529" fmla="*/ 22445 w 446344"/>
                    <a:gd name="connsiteY529" fmla="*/ 90299 h 286829"/>
                    <a:gd name="connsiteX530" fmla="*/ 28092 w 446344"/>
                    <a:gd name="connsiteY530" fmla="*/ 83967 h 286829"/>
                    <a:gd name="connsiteX531" fmla="*/ 31670 w 446344"/>
                    <a:gd name="connsiteY531" fmla="*/ 80275 h 286829"/>
                    <a:gd name="connsiteX532" fmla="*/ 34082 w 446344"/>
                    <a:gd name="connsiteY532" fmla="*/ 78237 h 286829"/>
                    <a:gd name="connsiteX533" fmla="*/ 37644 w 446344"/>
                    <a:gd name="connsiteY533" fmla="*/ 74684 h 286829"/>
                    <a:gd name="connsiteX534" fmla="*/ 39184 w 446344"/>
                    <a:gd name="connsiteY534" fmla="*/ 72842 h 286829"/>
                    <a:gd name="connsiteX535" fmla="*/ 45655 w 446344"/>
                    <a:gd name="connsiteY535" fmla="*/ 71644 h 286829"/>
                    <a:gd name="connsiteX536" fmla="*/ 46462 w 446344"/>
                    <a:gd name="connsiteY536" fmla="*/ 69925 h 286829"/>
                    <a:gd name="connsiteX537" fmla="*/ 47643 w 446344"/>
                    <a:gd name="connsiteY537" fmla="*/ 68050 h 286829"/>
                    <a:gd name="connsiteX538" fmla="*/ 48573 w 446344"/>
                    <a:gd name="connsiteY538" fmla="*/ 67243 h 286829"/>
                    <a:gd name="connsiteX539" fmla="*/ 48694 w 446344"/>
                    <a:gd name="connsiteY539" fmla="*/ 64073 h 286829"/>
                    <a:gd name="connsiteX540" fmla="*/ 47497 w 446344"/>
                    <a:gd name="connsiteY540" fmla="*/ 60194 h 286829"/>
                    <a:gd name="connsiteX541" fmla="*/ 46535 w 446344"/>
                    <a:gd name="connsiteY541" fmla="*/ 58833 h 286829"/>
                    <a:gd name="connsiteX542" fmla="*/ 45810 w 446344"/>
                    <a:gd name="connsiteY542" fmla="*/ 57896 h 286829"/>
                    <a:gd name="connsiteX543" fmla="*/ 46282 w 446344"/>
                    <a:gd name="connsiteY543" fmla="*/ 57024 h 286829"/>
                    <a:gd name="connsiteX544" fmla="*/ 47000 w 446344"/>
                    <a:gd name="connsiteY544" fmla="*/ 56771 h 286829"/>
                    <a:gd name="connsiteX545" fmla="*/ 47872 w 446344"/>
                    <a:gd name="connsiteY545" fmla="*/ 56649 h 286829"/>
                    <a:gd name="connsiteX546" fmla="*/ 48972 w 446344"/>
                    <a:gd name="connsiteY546" fmla="*/ 55720 h 286829"/>
                    <a:gd name="connsiteX547" fmla="*/ 48727 w 446344"/>
                    <a:gd name="connsiteY547" fmla="*/ 54701 h 286829"/>
                    <a:gd name="connsiteX548" fmla="*/ 45997 w 446344"/>
                    <a:gd name="connsiteY548" fmla="*/ 52215 h 286829"/>
                    <a:gd name="connsiteX549" fmla="*/ 44807 w 446344"/>
                    <a:gd name="connsiteY549" fmla="*/ 50300 h 286829"/>
                    <a:gd name="connsiteX550" fmla="*/ 42966 w 446344"/>
                    <a:gd name="connsiteY550" fmla="*/ 45386 h 286829"/>
                    <a:gd name="connsiteX551" fmla="*/ 39200 w 446344"/>
                    <a:gd name="connsiteY551" fmla="*/ 40276 h 286829"/>
                    <a:gd name="connsiteX552" fmla="*/ 38018 w 446344"/>
                    <a:gd name="connsiteY552" fmla="*/ 38613 h 286829"/>
                    <a:gd name="connsiteX553" fmla="*/ 37847 w 446344"/>
                    <a:gd name="connsiteY553" fmla="*/ 37057 h 286829"/>
                    <a:gd name="connsiteX554" fmla="*/ 38385 w 446344"/>
                    <a:gd name="connsiteY554" fmla="*/ 35492 h 286829"/>
                    <a:gd name="connsiteX555" fmla="*/ 37872 w 446344"/>
                    <a:gd name="connsiteY555" fmla="*/ 33495 h 286829"/>
                    <a:gd name="connsiteX556" fmla="*/ 36551 w 446344"/>
                    <a:gd name="connsiteY556" fmla="*/ 30953 h 286829"/>
                    <a:gd name="connsiteX557" fmla="*/ 36755 w 446344"/>
                    <a:gd name="connsiteY557" fmla="*/ 30676 h 286829"/>
                    <a:gd name="connsiteX558" fmla="*/ 36625 w 446344"/>
                    <a:gd name="connsiteY558" fmla="*/ 27538 h 286829"/>
                    <a:gd name="connsiteX559" fmla="*/ 37570 w 446344"/>
                    <a:gd name="connsiteY559" fmla="*/ 26861 h 286829"/>
                    <a:gd name="connsiteX560" fmla="*/ 39062 w 446344"/>
                    <a:gd name="connsiteY560" fmla="*/ 26405 h 286829"/>
                    <a:gd name="connsiteX561" fmla="*/ 41165 w 446344"/>
                    <a:gd name="connsiteY561" fmla="*/ 26560 h 286829"/>
                    <a:gd name="connsiteX562" fmla="*/ 42966 w 446344"/>
                    <a:gd name="connsiteY562" fmla="*/ 27041 h 286829"/>
                    <a:gd name="connsiteX563" fmla="*/ 45125 w 446344"/>
                    <a:gd name="connsiteY563" fmla="*/ 28483 h 286829"/>
                    <a:gd name="connsiteX564" fmla="*/ 45801 w 446344"/>
                    <a:gd name="connsiteY564" fmla="*/ 28247 h 286829"/>
                    <a:gd name="connsiteX565" fmla="*/ 49485 w 446344"/>
                    <a:gd name="connsiteY565" fmla="*/ 25533 h 286829"/>
                    <a:gd name="connsiteX566" fmla="*/ 53283 w 446344"/>
                    <a:gd name="connsiteY566" fmla="*/ 21466 h 286829"/>
                    <a:gd name="connsiteX567" fmla="*/ 54375 w 446344"/>
                    <a:gd name="connsiteY567" fmla="*/ 19111 h 286829"/>
                    <a:gd name="connsiteX568" fmla="*/ 55312 w 446344"/>
                    <a:gd name="connsiteY568" fmla="*/ 18035 h 286829"/>
                    <a:gd name="connsiteX569" fmla="*/ 58621 w 446344"/>
                    <a:gd name="connsiteY569" fmla="*/ 17457 h 286829"/>
                    <a:gd name="connsiteX570" fmla="*/ 61498 w 446344"/>
                    <a:gd name="connsiteY570" fmla="*/ 17220 h 286829"/>
                    <a:gd name="connsiteX571" fmla="*/ 63340 w 446344"/>
                    <a:gd name="connsiteY571" fmla="*/ 17261 h 286829"/>
                    <a:gd name="connsiteX572" fmla="*/ 67838 w 446344"/>
                    <a:gd name="connsiteY572" fmla="*/ 16862 h 286829"/>
                    <a:gd name="connsiteX573" fmla="*/ 70495 w 446344"/>
                    <a:gd name="connsiteY573" fmla="*/ 16422 h 286829"/>
                    <a:gd name="connsiteX574" fmla="*/ 72793 w 446344"/>
                    <a:gd name="connsiteY574" fmla="*/ 15696 h 286829"/>
                    <a:gd name="connsiteX575" fmla="*/ 77773 w 446344"/>
                    <a:gd name="connsiteY575" fmla="*/ 15427 h 286829"/>
                    <a:gd name="connsiteX576" fmla="*/ 85531 w 446344"/>
                    <a:gd name="connsiteY576" fmla="*/ 15916 h 286829"/>
                    <a:gd name="connsiteX577" fmla="*/ 90625 w 446344"/>
                    <a:gd name="connsiteY577" fmla="*/ 15949 h 286829"/>
                    <a:gd name="connsiteX578" fmla="*/ 94089 w 446344"/>
                    <a:gd name="connsiteY578" fmla="*/ 16324 h 286829"/>
                    <a:gd name="connsiteX579" fmla="*/ 102565 w 446344"/>
                    <a:gd name="connsiteY579" fmla="*/ 18492 h 286829"/>
                    <a:gd name="connsiteX580" fmla="*/ 105727 w 446344"/>
                    <a:gd name="connsiteY580" fmla="*/ 18883 h 286829"/>
                    <a:gd name="connsiteX581" fmla="*/ 107194 w 446344"/>
                    <a:gd name="connsiteY581" fmla="*/ 20024 h 286829"/>
                    <a:gd name="connsiteX582" fmla="*/ 110005 w 446344"/>
                    <a:gd name="connsiteY582" fmla="*/ 20456 h 286829"/>
                    <a:gd name="connsiteX583" fmla="*/ 115131 w 446344"/>
                    <a:gd name="connsiteY583" fmla="*/ 21613 h 286829"/>
                    <a:gd name="connsiteX584" fmla="*/ 119581 w 446344"/>
                    <a:gd name="connsiteY584" fmla="*/ 22232 h 286829"/>
                    <a:gd name="connsiteX585" fmla="*/ 122588 w 446344"/>
                    <a:gd name="connsiteY585" fmla="*/ 21980 h 286829"/>
                    <a:gd name="connsiteX586" fmla="*/ 124275 w 446344"/>
                    <a:gd name="connsiteY586" fmla="*/ 22306 h 286829"/>
                    <a:gd name="connsiteX587" fmla="*/ 127453 w 446344"/>
                    <a:gd name="connsiteY587" fmla="*/ 27424 h 286829"/>
                    <a:gd name="connsiteX588" fmla="*/ 128106 w 446344"/>
                    <a:gd name="connsiteY588" fmla="*/ 28019 h 286829"/>
                    <a:gd name="connsiteX589" fmla="*/ 129377 w 446344"/>
                    <a:gd name="connsiteY589" fmla="*/ 28141 h 286829"/>
                    <a:gd name="connsiteX590" fmla="*/ 131969 w 446344"/>
                    <a:gd name="connsiteY590" fmla="*/ 27701 h 286829"/>
                    <a:gd name="connsiteX591" fmla="*/ 135669 w 446344"/>
                    <a:gd name="connsiteY591" fmla="*/ 27864 h 286829"/>
                    <a:gd name="connsiteX592" fmla="*/ 137869 w 446344"/>
                    <a:gd name="connsiteY592" fmla="*/ 28940 h 286829"/>
                    <a:gd name="connsiteX593" fmla="*/ 137543 w 446344"/>
                    <a:gd name="connsiteY593" fmla="*/ 31988 h 286829"/>
                    <a:gd name="connsiteX594" fmla="*/ 138114 w 446344"/>
                    <a:gd name="connsiteY594" fmla="*/ 32428 h 286829"/>
                    <a:gd name="connsiteX595" fmla="*/ 139140 w 446344"/>
                    <a:gd name="connsiteY595" fmla="*/ 32257 h 286829"/>
                    <a:gd name="connsiteX596" fmla="*/ 140322 w 446344"/>
                    <a:gd name="connsiteY596" fmla="*/ 30537 h 286829"/>
                    <a:gd name="connsiteX597" fmla="*/ 141308 w 446344"/>
                    <a:gd name="connsiteY597" fmla="*/ 28752 h 286829"/>
                    <a:gd name="connsiteX598" fmla="*/ 142050 w 446344"/>
                    <a:gd name="connsiteY598" fmla="*/ 28198 h 286829"/>
                    <a:gd name="connsiteX599" fmla="*/ 145831 w 446344"/>
                    <a:gd name="connsiteY599" fmla="*/ 29404 h 286829"/>
                    <a:gd name="connsiteX600" fmla="*/ 147551 w 446344"/>
                    <a:gd name="connsiteY600" fmla="*/ 29209 h 286829"/>
                    <a:gd name="connsiteX601" fmla="*/ 149148 w 446344"/>
                    <a:gd name="connsiteY601" fmla="*/ 27848 h 286829"/>
                    <a:gd name="connsiteX602" fmla="*/ 150118 w 446344"/>
                    <a:gd name="connsiteY602" fmla="*/ 27619 h 286829"/>
                    <a:gd name="connsiteX603" fmla="*/ 152791 w 446344"/>
                    <a:gd name="connsiteY603" fmla="*/ 28581 h 286829"/>
                    <a:gd name="connsiteX604" fmla="*/ 156092 w 446344"/>
                    <a:gd name="connsiteY604" fmla="*/ 29258 h 286829"/>
                    <a:gd name="connsiteX605" fmla="*/ 158741 w 446344"/>
                    <a:gd name="connsiteY605" fmla="*/ 29306 h 286829"/>
                    <a:gd name="connsiteX606" fmla="*/ 160411 w 446344"/>
                    <a:gd name="connsiteY606" fmla="*/ 30032 h 286829"/>
                    <a:gd name="connsiteX607" fmla="*/ 161617 w 446344"/>
                    <a:gd name="connsiteY607" fmla="*/ 33210 h 286829"/>
                    <a:gd name="connsiteX608" fmla="*/ 162669 w 446344"/>
                    <a:gd name="connsiteY608" fmla="*/ 33862 h 286829"/>
                    <a:gd name="connsiteX609" fmla="*/ 163688 w 446344"/>
                    <a:gd name="connsiteY609" fmla="*/ 34066 h 286829"/>
                    <a:gd name="connsiteX610" fmla="*/ 165220 w 446344"/>
                    <a:gd name="connsiteY610" fmla="*/ 31222 h 286829"/>
                    <a:gd name="connsiteX611" fmla="*/ 166613 w 446344"/>
                    <a:gd name="connsiteY611" fmla="*/ 30113 h 286829"/>
                    <a:gd name="connsiteX612" fmla="*/ 168545 w 446344"/>
                    <a:gd name="connsiteY612" fmla="*/ 29298 h 286829"/>
                    <a:gd name="connsiteX613" fmla="*/ 169791 w 446344"/>
                    <a:gd name="connsiteY613" fmla="*/ 28956 h 286829"/>
                    <a:gd name="connsiteX614" fmla="*/ 170663 w 446344"/>
                    <a:gd name="connsiteY614" fmla="*/ 27945 h 286829"/>
                    <a:gd name="connsiteX615" fmla="*/ 171853 w 446344"/>
                    <a:gd name="connsiteY615" fmla="*/ 26959 h 286829"/>
                    <a:gd name="connsiteX616" fmla="*/ 172872 w 446344"/>
                    <a:gd name="connsiteY616" fmla="*/ 26886 h 286829"/>
                    <a:gd name="connsiteX617" fmla="*/ 173712 w 446344"/>
                    <a:gd name="connsiteY617" fmla="*/ 27269 h 286829"/>
                    <a:gd name="connsiteX618" fmla="*/ 174665 w 446344"/>
                    <a:gd name="connsiteY618" fmla="*/ 28630 h 286829"/>
                    <a:gd name="connsiteX619" fmla="*/ 176067 w 446344"/>
                    <a:gd name="connsiteY619" fmla="*/ 31711 h 286829"/>
                    <a:gd name="connsiteX620" fmla="*/ 177754 w 446344"/>
                    <a:gd name="connsiteY620" fmla="*/ 34816 h 286829"/>
                    <a:gd name="connsiteX621" fmla="*/ 178935 w 446344"/>
                    <a:gd name="connsiteY621" fmla="*/ 35940 h 286829"/>
                    <a:gd name="connsiteX622" fmla="*/ 182000 w 446344"/>
                    <a:gd name="connsiteY622" fmla="*/ 34987 h 286829"/>
                    <a:gd name="connsiteX623" fmla="*/ 184062 w 446344"/>
                    <a:gd name="connsiteY623" fmla="*/ 34017 h 286829"/>
                    <a:gd name="connsiteX624" fmla="*/ 187868 w 446344"/>
                    <a:gd name="connsiteY624" fmla="*/ 33830 h 286829"/>
                    <a:gd name="connsiteX625" fmla="*/ 192896 w 446344"/>
                    <a:gd name="connsiteY625" fmla="*/ 33153 h 286829"/>
                    <a:gd name="connsiteX626" fmla="*/ 196743 w 446344"/>
                    <a:gd name="connsiteY626" fmla="*/ 32273 h 286829"/>
                    <a:gd name="connsiteX627" fmla="*/ 199147 w 446344"/>
                    <a:gd name="connsiteY627" fmla="*/ 32428 h 286829"/>
                    <a:gd name="connsiteX628" fmla="*/ 200606 w 446344"/>
                    <a:gd name="connsiteY628" fmla="*/ 33414 h 286829"/>
                    <a:gd name="connsiteX629" fmla="*/ 202814 w 446344"/>
                    <a:gd name="connsiteY629" fmla="*/ 35313 h 286829"/>
                    <a:gd name="connsiteX630" fmla="*/ 203418 w 446344"/>
                    <a:gd name="connsiteY630" fmla="*/ 38043 h 286829"/>
                    <a:gd name="connsiteX631" fmla="*/ 206303 w 446344"/>
                    <a:gd name="connsiteY631" fmla="*/ 39926 h 286829"/>
                    <a:gd name="connsiteX632" fmla="*/ 208658 w 446344"/>
                    <a:gd name="connsiteY632" fmla="*/ 40268 h 286829"/>
                    <a:gd name="connsiteX633" fmla="*/ 209465 w 446344"/>
                    <a:gd name="connsiteY633" fmla="*/ 38304 h 286829"/>
                    <a:gd name="connsiteX634" fmla="*/ 210842 w 446344"/>
                    <a:gd name="connsiteY634" fmla="*/ 36935 h 286829"/>
                    <a:gd name="connsiteX635" fmla="*/ 210337 w 446344"/>
                    <a:gd name="connsiteY635" fmla="*/ 35060 h 286829"/>
                    <a:gd name="connsiteX636" fmla="*/ 210100 w 446344"/>
                    <a:gd name="connsiteY636" fmla="*/ 32672 h 286829"/>
                    <a:gd name="connsiteX637" fmla="*/ 209065 w 446344"/>
                    <a:gd name="connsiteY637" fmla="*/ 30447 h 286829"/>
                    <a:gd name="connsiteX638" fmla="*/ 208372 w 446344"/>
                    <a:gd name="connsiteY638" fmla="*/ 28051 h 286829"/>
                    <a:gd name="connsiteX639" fmla="*/ 209636 w 446344"/>
                    <a:gd name="connsiteY639" fmla="*/ 24637 h 286829"/>
                    <a:gd name="connsiteX640" fmla="*/ 211013 w 446344"/>
                    <a:gd name="connsiteY640" fmla="*/ 21629 h 286829"/>
                    <a:gd name="connsiteX641" fmla="*/ 211714 w 446344"/>
                    <a:gd name="connsiteY641" fmla="*/ 19999 h 286829"/>
                    <a:gd name="connsiteX642" fmla="*/ 213890 w 446344"/>
                    <a:gd name="connsiteY642" fmla="*/ 17000 h 286829"/>
                    <a:gd name="connsiteX643" fmla="*/ 216139 w 446344"/>
                    <a:gd name="connsiteY643" fmla="*/ 14849 h 286829"/>
                    <a:gd name="connsiteX644" fmla="*/ 219481 w 446344"/>
                    <a:gd name="connsiteY644" fmla="*/ 11401 h 286829"/>
                    <a:gd name="connsiteX645" fmla="*/ 221917 w 446344"/>
                    <a:gd name="connsiteY645" fmla="*/ 10261 h 286829"/>
                    <a:gd name="connsiteX646" fmla="*/ 224134 w 446344"/>
                    <a:gd name="connsiteY646" fmla="*/ 10774 h 286829"/>
                    <a:gd name="connsiteX647" fmla="*/ 225356 w 446344"/>
                    <a:gd name="connsiteY647" fmla="*/ 11247 h 286829"/>
                    <a:gd name="connsiteX648" fmla="*/ 228535 w 446344"/>
                    <a:gd name="connsiteY648" fmla="*/ 9201 h 286829"/>
                    <a:gd name="connsiteX649" fmla="*/ 234182 w 446344"/>
                    <a:gd name="connsiteY649" fmla="*/ 9103 h 286829"/>
                    <a:gd name="connsiteX650" fmla="*/ 238893 w 446344"/>
                    <a:gd name="connsiteY650" fmla="*/ 9364 h 286829"/>
                    <a:gd name="connsiteX651" fmla="*/ 239366 w 446344"/>
                    <a:gd name="connsiteY651" fmla="*/ 9429 h 286829"/>
                    <a:gd name="connsiteX652" fmla="*/ 241672 w 446344"/>
                    <a:gd name="connsiteY652" fmla="*/ 10481 h 286829"/>
                    <a:gd name="connsiteX653" fmla="*/ 244101 w 446344"/>
                    <a:gd name="connsiteY653" fmla="*/ 11385 h 286829"/>
                    <a:gd name="connsiteX654" fmla="*/ 245788 w 446344"/>
                    <a:gd name="connsiteY654" fmla="*/ 11442 h 286829"/>
                    <a:gd name="connsiteX655" fmla="*/ 247793 w 446344"/>
                    <a:gd name="connsiteY655" fmla="*/ 11238 h 286829"/>
                    <a:gd name="connsiteX656" fmla="*/ 250132 w 446344"/>
                    <a:gd name="connsiteY656" fmla="*/ 10040 h 286829"/>
                    <a:gd name="connsiteX657" fmla="*/ 251770 w 446344"/>
                    <a:gd name="connsiteY657" fmla="*/ 8891 h 286829"/>
                    <a:gd name="connsiteX658" fmla="*/ 253758 w 446344"/>
                    <a:gd name="connsiteY658" fmla="*/ 3024 h 286829"/>
                    <a:gd name="connsiteX659" fmla="*/ 254467 w 446344"/>
                    <a:gd name="connsiteY659" fmla="*/ 2176 h 286829"/>
                    <a:gd name="connsiteX660" fmla="*/ 255551 w 446344"/>
                    <a:gd name="connsiteY660" fmla="*/ 1720 h 286829"/>
                    <a:gd name="connsiteX661" fmla="*/ 257352 w 446344"/>
                    <a:gd name="connsiteY661" fmla="*/ 1671 h 286829"/>
                    <a:gd name="connsiteX662" fmla="*/ 260767 w 446344"/>
                    <a:gd name="connsiteY662" fmla="*/ 2763 h 286829"/>
                    <a:gd name="connsiteX663" fmla="*/ 264752 w 446344"/>
                    <a:gd name="connsiteY663" fmla="*/ 3749 h 286829"/>
                    <a:gd name="connsiteX664" fmla="*/ 267067 w 446344"/>
                    <a:gd name="connsiteY664" fmla="*/ 3610 h 286829"/>
                    <a:gd name="connsiteX665" fmla="*/ 273236 w 446344"/>
                    <a:gd name="connsiteY665" fmla="*/ 489 h 286829"/>
                    <a:gd name="connsiteX666" fmla="*/ 276675 w 446344"/>
                    <a:gd name="connsiteY666" fmla="*/ 0 h 286829"/>
                    <a:gd name="connsiteX667" fmla="*/ 280750 w 446344"/>
                    <a:gd name="connsiteY667" fmla="*/ 742 h 28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Lst>
                  <a:rect l="l" t="t" r="r" b="b"/>
                  <a:pathLst>
                    <a:path w="446344" h="286829">
                      <a:moveTo>
                        <a:pt x="280750" y="742"/>
                      </a:moveTo>
                      <a:lnTo>
                        <a:pt x="284752" y="791"/>
                      </a:lnTo>
                      <a:lnTo>
                        <a:pt x="287775" y="334"/>
                      </a:lnTo>
                      <a:lnTo>
                        <a:pt x="289853" y="1418"/>
                      </a:lnTo>
                      <a:lnTo>
                        <a:pt x="292405" y="3798"/>
                      </a:lnTo>
                      <a:lnTo>
                        <a:pt x="294719" y="7343"/>
                      </a:lnTo>
                      <a:lnTo>
                        <a:pt x="297147" y="13887"/>
                      </a:lnTo>
                      <a:lnTo>
                        <a:pt x="304213" y="21263"/>
                      </a:lnTo>
                      <a:lnTo>
                        <a:pt x="304327" y="22705"/>
                      </a:lnTo>
                      <a:lnTo>
                        <a:pt x="303757" y="23626"/>
                      </a:lnTo>
                      <a:lnTo>
                        <a:pt x="300277" y="24523"/>
                      </a:lnTo>
                      <a:lnTo>
                        <a:pt x="297343" y="25012"/>
                      </a:lnTo>
                      <a:lnTo>
                        <a:pt x="297205" y="26275"/>
                      </a:lnTo>
                      <a:lnTo>
                        <a:pt x="297979" y="27644"/>
                      </a:lnTo>
                      <a:lnTo>
                        <a:pt x="299324" y="29641"/>
                      </a:lnTo>
                      <a:lnTo>
                        <a:pt x="299536" y="32216"/>
                      </a:lnTo>
                      <a:lnTo>
                        <a:pt x="299454" y="34587"/>
                      </a:lnTo>
                      <a:lnTo>
                        <a:pt x="300032" y="36674"/>
                      </a:lnTo>
                      <a:lnTo>
                        <a:pt x="301157" y="37521"/>
                      </a:lnTo>
                      <a:lnTo>
                        <a:pt x="301296" y="38573"/>
                      </a:lnTo>
                      <a:lnTo>
                        <a:pt x="300000" y="39860"/>
                      </a:lnTo>
                      <a:lnTo>
                        <a:pt x="299641" y="40651"/>
                      </a:lnTo>
                      <a:lnTo>
                        <a:pt x="300146" y="41075"/>
                      </a:lnTo>
                      <a:lnTo>
                        <a:pt x="306520" y="41327"/>
                      </a:lnTo>
                      <a:lnTo>
                        <a:pt x="309633" y="42574"/>
                      </a:lnTo>
                      <a:lnTo>
                        <a:pt x="312004" y="43715"/>
                      </a:lnTo>
                      <a:lnTo>
                        <a:pt x="313194" y="43813"/>
                      </a:lnTo>
                      <a:lnTo>
                        <a:pt x="315884" y="43088"/>
                      </a:lnTo>
                      <a:lnTo>
                        <a:pt x="318907" y="42623"/>
                      </a:lnTo>
                      <a:lnTo>
                        <a:pt x="320733" y="42566"/>
                      </a:lnTo>
                      <a:lnTo>
                        <a:pt x="321450" y="43405"/>
                      </a:lnTo>
                      <a:lnTo>
                        <a:pt x="322004" y="45606"/>
                      </a:lnTo>
                      <a:lnTo>
                        <a:pt x="323063" y="47806"/>
                      </a:lnTo>
                      <a:lnTo>
                        <a:pt x="324058" y="48442"/>
                      </a:lnTo>
                      <a:lnTo>
                        <a:pt x="325818" y="48336"/>
                      </a:lnTo>
                      <a:lnTo>
                        <a:pt x="326886" y="48442"/>
                      </a:lnTo>
                      <a:lnTo>
                        <a:pt x="327448" y="49281"/>
                      </a:lnTo>
                      <a:lnTo>
                        <a:pt x="326813" y="50536"/>
                      </a:lnTo>
                      <a:lnTo>
                        <a:pt x="326951" y="51897"/>
                      </a:lnTo>
                      <a:lnTo>
                        <a:pt x="327733" y="53576"/>
                      </a:lnTo>
                      <a:lnTo>
                        <a:pt x="328654" y="57439"/>
                      </a:lnTo>
                      <a:lnTo>
                        <a:pt x="329502" y="58588"/>
                      </a:lnTo>
                      <a:lnTo>
                        <a:pt x="330056" y="60047"/>
                      </a:lnTo>
                      <a:lnTo>
                        <a:pt x="330056" y="61726"/>
                      </a:lnTo>
                      <a:lnTo>
                        <a:pt x="329355" y="63185"/>
                      </a:lnTo>
                      <a:lnTo>
                        <a:pt x="328858" y="64334"/>
                      </a:lnTo>
                      <a:lnTo>
                        <a:pt x="329355" y="66942"/>
                      </a:lnTo>
                      <a:lnTo>
                        <a:pt x="331254" y="69868"/>
                      </a:lnTo>
                      <a:lnTo>
                        <a:pt x="332672" y="70593"/>
                      </a:lnTo>
                      <a:lnTo>
                        <a:pt x="333805" y="73201"/>
                      </a:lnTo>
                      <a:lnTo>
                        <a:pt x="335851" y="74032"/>
                      </a:lnTo>
                      <a:lnTo>
                        <a:pt x="338890" y="71840"/>
                      </a:lnTo>
                      <a:lnTo>
                        <a:pt x="341221" y="70691"/>
                      </a:lnTo>
                      <a:lnTo>
                        <a:pt x="344131" y="71335"/>
                      </a:lnTo>
                      <a:lnTo>
                        <a:pt x="346820" y="71742"/>
                      </a:lnTo>
                      <a:lnTo>
                        <a:pt x="348637" y="73233"/>
                      </a:lnTo>
                      <a:lnTo>
                        <a:pt x="349982" y="75279"/>
                      </a:lnTo>
                      <a:lnTo>
                        <a:pt x="351531" y="76420"/>
                      </a:lnTo>
                      <a:lnTo>
                        <a:pt x="353079" y="75825"/>
                      </a:lnTo>
                      <a:lnTo>
                        <a:pt x="356331" y="76420"/>
                      </a:lnTo>
                      <a:lnTo>
                        <a:pt x="357822" y="78091"/>
                      </a:lnTo>
                      <a:lnTo>
                        <a:pt x="359306" y="79020"/>
                      </a:lnTo>
                      <a:lnTo>
                        <a:pt x="361204" y="77667"/>
                      </a:lnTo>
                      <a:lnTo>
                        <a:pt x="362761" y="75996"/>
                      </a:lnTo>
                      <a:lnTo>
                        <a:pt x="368441" y="74252"/>
                      </a:lnTo>
                      <a:lnTo>
                        <a:pt x="371986" y="73820"/>
                      </a:lnTo>
                      <a:lnTo>
                        <a:pt x="372973" y="73478"/>
                      </a:lnTo>
                      <a:lnTo>
                        <a:pt x="375059" y="72231"/>
                      </a:lnTo>
                      <a:lnTo>
                        <a:pt x="377243" y="71400"/>
                      </a:lnTo>
                      <a:lnTo>
                        <a:pt x="379223" y="71628"/>
                      </a:lnTo>
                      <a:lnTo>
                        <a:pt x="381163" y="74211"/>
                      </a:lnTo>
                      <a:lnTo>
                        <a:pt x="383176" y="75996"/>
                      </a:lnTo>
                      <a:lnTo>
                        <a:pt x="383738" y="78808"/>
                      </a:lnTo>
                      <a:lnTo>
                        <a:pt x="386200" y="82679"/>
                      </a:lnTo>
                      <a:lnTo>
                        <a:pt x="392304" y="87952"/>
                      </a:lnTo>
                      <a:lnTo>
                        <a:pt x="394700" y="89565"/>
                      </a:lnTo>
                      <a:lnTo>
                        <a:pt x="396330" y="89280"/>
                      </a:lnTo>
                      <a:lnTo>
                        <a:pt x="397177" y="88865"/>
                      </a:lnTo>
                      <a:lnTo>
                        <a:pt x="397577" y="88310"/>
                      </a:lnTo>
                      <a:lnTo>
                        <a:pt x="397943" y="85727"/>
                      </a:lnTo>
                      <a:lnTo>
                        <a:pt x="398718" y="84782"/>
                      </a:lnTo>
                      <a:lnTo>
                        <a:pt x="399956" y="84749"/>
                      </a:lnTo>
                      <a:lnTo>
                        <a:pt x="404732" y="87968"/>
                      </a:lnTo>
                      <a:lnTo>
                        <a:pt x="407234" y="88310"/>
                      </a:lnTo>
                      <a:lnTo>
                        <a:pt x="409598" y="88368"/>
                      </a:lnTo>
                      <a:lnTo>
                        <a:pt x="412809" y="90869"/>
                      </a:lnTo>
                      <a:lnTo>
                        <a:pt x="416329" y="93045"/>
                      </a:lnTo>
                      <a:lnTo>
                        <a:pt x="419035" y="93266"/>
                      </a:lnTo>
                      <a:lnTo>
                        <a:pt x="421203" y="92418"/>
                      </a:lnTo>
                      <a:lnTo>
                        <a:pt x="422686" y="91904"/>
                      </a:lnTo>
                      <a:lnTo>
                        <a:pt x="423615" y="92736"/>
                      </a:lnTo>
                      <a:lnTo>
                        <a:pt x="424463" y="94602"/>
                      </a:lnTo>
                      <a:lnTo>
                        <a:pt x="425872" y="96053"/>
                      </a:lnTo>
                      <a:lnTo>
                        <a:pt x="427494" y="96468"/>
                      </a:lnTo>
                      <a:lnTo>
                        <a:pt x="429833" y="96566"/>
                      </a:lnTo>
                      <a:lnTo>
                        <a:pt x="433900" y="99378"/>
                      </a:lnTo>
                      <a:lnTo>
                        <a:pt x="437722" y="102230"/>
                      </a:lnTo>
                      <a:lnTo>
                        <a:pt x="440102" y="102393"/>
                      </a:lnTo>
                      <a:lnTo>
                        <a:pt x="442139" y="101546"/>
                      </a:lnTo>
                      <a:lnTo>
                        <a:pt x="443924" y="101334"/>
                      </a:lnTo>
                      <a:lnTo>
                        <a:pt x="445163" y="102059"/>
                      </a:lnTo>
                      <a:lnTo>
                        <a:pt x="445513" y="103298"/>
                      </a:lnTo>
                      <a:lnTo>
                        <a:pt x="444601" y="104952"/>
                      </a:lnTo>
                      <a:lnTo>
                        <a:pt x="444601" y="107332"/>
                      </a:lnTo>
                      <a:lnTo>
                        <a:pt x="446296" y="109606"/>
                      </a:lnTo>
                      <a:lnTo>
                        <a:pt x="446345" y="111839"/>
                      </a:lnTo>
                      <a:lnTo>
                        <a:pt x="445856" y="113860"/>
                      </a:lnTo>
                      <a:lnTo>
                        <a:pt x="444902" y="115718"/>
                      </a:lnTo>
                      <a:lnTo>
                        <a:pt x="442580" y="118261"/>
                      </a:lnTo>
                      <a:lnTo>
                        <a:pt x="440428" y="120640"/>
                      </a:lnTo>
                      <a:lnTo>
                        <a:pt x="437201" y="121635"/>
                      </a:lnTo>
                      <a:lnTo>
                        <a:pt x="435383" y="122670"/>
                      </a:lnTo>
                      <a:lnTo>
                        <a:pt x="435864" y="124414"/>
                      </a:lnTo>
                      <a:lnTo>
                        <a:pt x="437054" y="126044"/>
                      </a:lnTo>
                      <a:lnTo>
                        <a:pt x="439792" y="127364"/>
                      </a:lnTo>
                      <a:lnTo>
                        <a:pt x="442897" y="128326"/>
                      </a:lnTo>
                      <a:lnTo>
                        <a:pt x="443256" y="129385"/>
                      </a:lnTo>
                      <a:lnTo>
                        <a:pt x="442783" y="129915"/>
                      </a:lnTo>
                      <a:lnTo>
                        <a:pt x="440794" y="130404"/>
                      </a:lnTo>
                      <a:lnTo>
                        <a:pt x="438032" y="129899"/>
                      </a:lnTo>
                      <a:lnTo>
                        <a:pt x="437111" y="130828"/>
                      </a:lnTo>
                      <a:lnTo>
                        <a:pt x="435848" y="132368"/>
                      </a:lnTo>
                      <a:lnTo>
                        <a:pt x="435000" y="135139"/>
                      </a:lnTo>
                      <a:lnTo>
                        <a:pt x="434364" y="137706"/>
                      </a:lnTo>
                      <a:lnTo>
                        <a:pt x="437355" y="138407"/>
                      </a:lnTo>
                      <a:lnTo>
                        <a:pt x="439100" y="139450"/>
                      </a:lnTo>
                      <a:lnTo>
                        <a:pt x="439637" y="141561"/>
                      </a:lnTo>
                      <a:lnTo>
                        <a:pt x="440265" y="143908"/>
                      </a:lnTo>
                      <a:lnTo>
                        <a:pt x="440436" y="146011"/>
                      </a:lnTo>
                      <a:lnTo>
                        <a:pt x="439442" y="147037"/>
                      </a:lnTo>
                      <a:lnTo>
                        <a:pt x="439385" y="148081"/>
                      </a:lnTo>
                      <a:lnTo>
                        <a:pt x="439857" y="148594"/>
                      </a:lnTo>
                      <a:lnTo>
                        <a:pt x="441137" y="148830"/>
                      </a:lnTo>
                      <a:lnTo>
                        <a:pt x="442131" y="149295"/>
                      </a:lnTo>
                      <a:lnTo>
                        <a:pt x="442205" y="150403"/>
                      </a:lnTo>
                      <a:lnTo>
                        <a:pt x="440322" y="152905"/>
                      </a:lnTo>
                      <a:lnTo>
                        <a:pt x="438561" y="157681"/>
                      </a:lnTo>
                      <a:lnTo>
                        <a:pt x="437608" y="160232"/>
                      </a:lnTo>
                      <a:lnTo>
                        <a:pt x="437690" y="162986"/>
                      </a:lnTo>
                      <a:lnTo>
                        <a:pt x="436630" y="164519"/>
                      </a:lnTo>
                      <a:lnTo>
                        <a:pt x="434715" y="164649"/>
                      </a:lnTo>
                      <a:lnTo>
                        <a:pt x="428081" y="164910"/>
                      </a:lnTo>
                      <a:lnTo>
                        <a:pt x="422311" y="164779"/>
                      </a:lnTo>
                      <a:lnTo>
                        <a:pt x="419817" y="164380"/>
                      </a:lnTo>
                      <a:lnTo>
                        <a:pt x="415913" y="164144"/>
                      </a:lnTo>
                      <a:lnTo>
                        <a:pt x="413974" y="164796"/>
                      </a:lnTo>
                      <a:lnTo>
                        <a:pt x="411415" y="169205"/>
                      </a:lnTo>
                      <a:lnTo>
                        <a:pt x="409467" y="170932"/>
                      </a:lnTo>
                      <a:lnTo>
                        <a:pt x="406256" y="172481"/>
                      </a:lnTo>
                      <a:lnTo>
                        <a:pt x="402727" y="172929"/>
                      </a:lnTo>
                      <a:lnTo>
                        <a:pt x="400706" y="174747"/>
                      </a:lnTo>
                      <a:lnTo>
                        <a:pt x="400005" y="177591"/>
                      </a:lnTo>
                      <a:lnTo>
                        <a:pt x="399940" y="180117"/>
                      </a:lnTo>
                      <a:lnTo>
                        <a:pt x="399614" y="181372"/>
                      </a:lnTo>
                      <a:lnTo>
                        <a:pt x="398848" y="182481"/>
                      </a:lnTo>
                      <a:lnTo>
                        <a:pt x="398563" y="183263"/>
                      </a:lnTo>
                      <a:lnTo>
                        <a:pt x="398734" y="184127"/>
                      </a:lnTo>
                      <a:lnTo>
                        <a:pt x="399557" y="184445"/>
                      </a:lnTo>
                      <a:lnTo>
                        <a:pt x="400535" y="184836"/>
                      </a:lnTo>
                      <a:lnTo>
                        <a:pt x="400535" y="185472"/>
                      </a:lnTo>
                      <a:lnTo>
                        <a:pt x="400160" y="186262"/>
                      </a:lnTo>
                      <a:lnTo>
                        <a:pt x="399060" y="187126"/>
                      </a:lnTo>
                      <a:lnTo>
                        <a:pt x="398554" y="188463"/>
                      </a:lnTo>
                      <a:lnTo>
                        <a:pt x="398685" y="189881"/>
                      </a:lnTo>
                      <a:lnTo>
                        <a:pt x="398881" y="191445"/>
                      </a:lnTo>
                      <a:lnTo>
                        <a:pt x="397992" y="191845"/>
                      </a:lnTo>
                      <a:lnTo>
                        <a:pt x="389329" y="191291"/>
                      </a:lnTo>
                      <a:lnTo>
                        <a:pt x="382247" y="192048"/>
                      </a:lnTo>
                      <a:lnTo>
                        <a:pt x="377210" y="197664"/>
                      </a:lnTo>
                      <a:lnTo>
                        <a:pt x="374203" y="197647"/>
                      </a:lnTo>
                      <a:lnTo>
                        <a:pt x="369957" y="199106"/>
                      </a:lnTo>
                      <a:lnTo>
                        <a:pt x="367089" y="200923"/>
                      </a:lnTo>
                      <a:lnTo>
                        <a:pt x="363682" y="204860"/>
                      </a:lnTo>
                      <a:lnTo>
                        <a:pt x="361057" y="203099"/>
                      </a:lnTo>
                      <a:lnTo>
                        <a:pt x="357839" y="203148"/>
                      </a:lnTo>
                      <a:lnTo>
                        <a:pt x="354693" y="204208"/>
                      </a:lnTo>
                      <a:lnTo>
                        <a:pt x="350903" y="206840"/>
                      </a:lnTo>
                      <a:lnTo>
                        <a:pt x="348792" y="207305"/>
                      </a:lnTo>
                      <a:lnTo>
                        <a:pt x="344587" y="206547"/>
                      </a:lnTo>
                      <a:lnTo>
                        <a:pt x="339673" y="208063"/>
                      </a:lnTo>
                      <a:lnTo>
                        <a:pt x="329078" y="216677"/>
                      </a:lnTo>
                      <a:lnTo>
                        <a:pt x="325525" y="222960"/>
                      </a:lnTo>
                      <a:lnTo>
                        <a:pt x="324229" y="224191"/>
                      </a:lnTo>
                      <a:lnTo>
                        <a:pt x="322436" y="225723"/>
                      </a:lnTo>
                      <a:lnTo>
                        <a:pt x="320529" y="226497"/>
                      </a:lnTo>
                      <a:lnTo>
                        <a:pt x="319518" y="226432"/>
                      </a:lnTo>
                      <a:lnTo>
                        <a:pt x="324555" y="221966"/>
                      </a:lnTo>
                      <a:lnTo>
                        <a:pt x="326095" y="220295"/>
                      </a:lnTo>
                      <a:lnTo>
                        <a:pt x="326372" y="219065"/>
                      </a:lnTo>
                      <a:lnTo>
                        <a:pt x="326397" y="217068"/>
                      </a:lnTo>
                      <a:lnTo>
                        <a:pt x="324865" y="214591"/>
                      </a:lnTo>
                      <a:lnTo>
                        <a:pt x="320733" y="220727"/>
                      </a:lnTo>
                      <a:lnTo>
                        <a:pt x="318394" y="221616"/>
                      </a:lnTo>
                      <a:lnTo>
                        <a:pt x="315419" y="223466"/>
                      </a:lnTo>
                      <a:lnTo>
                        <a:pt x="315272" y="227573"/>
                      </a:lnTo>
                      <a:lnTo>
                        <a:pt x="315607" y="230621"/>
                      </a:lnTo>
                      <a:lnTo>
                        <a:pt x="316821" y="234460"/>
                      </a:lnTo>
                      <a:lnTo>
                        <a:pt x="319706" y="240735"/>
                      </a:lnTo>
                      <a:lnTo>
                        <a:pt x="325590" y="249683"/>
                      </a:lnTo>
                      <a:lnTo>
                        <a:pt x="328418" y="252960"/>
                      </a:lnTo>
                      <a:lnTo>
                        <a:pt x="330488" y="254272"/>
                      </a:lnTo>
                      <a:lnTo>
                        <a:pt x="332990" y="254459"/>
                      </a:lnTo>
                      <a:lnTo>
                        <a:pt x="337774" y="251704"/>
                      </a:lnTo>
                      <a:lnTo>
                        <a:pt x="339811" y="251273"/>
                      </a:lnTo>
                      <a:lnTo>
                        <a:pt x="344277" y="252324"/>
                      </a:lnTo>
                      <a:lnTo>
                        <a:pt x="345858" y="250474"/>
                      </a:lnTo>
                      <a:lnTo>
                        <a:pt x="348173" y="249455"/>
                      </a:lnTo>
                      <a:lnTo>
                        <a:pt x="351147" y="249325"/>
                      </a:lnTo>
                      <a:lnTo>
                        <a:pt x="354530" y="250148"/>
                      </a:lnTo>
                      <a:lnTo>
                        <a:pt x="358205" y="251550"/>
                      </a:lnTo>
                      <a:lnTo>
                        <a:pt x="356690" y="254704"/>
                      </a:lnTo>
                      <a:lnTo>
                        <a:pt x="355125" y="257214"/>
                      </a:lnTo>
                      <a:lnTo>
                        <a:pt x="354571" y="259993"/>
                      </a:lnTo>
                      <a:lnTo>
                        <a:pt x="353707" y="263073"/>
                      </a:lnTo>
                      <a:lnTo>
                        <a:pt x="349648" y="264459"/>
                      </a:lnTo>
                      <a:lnTo>
                        <a:pt x="345313" y="264288"/>
                      </a:lnTo>
                      <a:lnTo>
                        <a:pt x="340732" y="265176"/>
                      </a:lnTo>
                      <a:lnTo>
                        <a:pt x="339086" y="263986"/>
                      </a:lnTo>
                      <a:lnTo>
                        <a:pt x="337994" y="262886"/>
                      </a:lnTo>
                      <a:lnTo>
                        <a:pt x="335965" y="261794"/>
                      </a:lnTo>
                      <a:lnTo>
                        <a:pt x="333275" y="261191"/>
                      </a:lnTo>
                      <a:lnTo>
                        <a:pt x="330871" y="261924"/>
                      </a:lnTo>
                      <a:lnTo>
                        <a:pt x="328027" y="266138"/>
                      </a:lnTo>
                      <a:lnTo>
                        <a:pt x="322982" y="269023"/>
                      </a:lnTo>
                      <a:lnTo>
                        <a:pt x="321320" y="272307"/>
                      </a:lnTo>
                      <a:lnTo>
                        <a:pt x="316373" y="271574"/>
                      </a:lnTo>
                      <a:lnTo>
                        <a:pt x="312135" y="272160"/>
                      </a:lnTo>
                      <a:lnTo>
                        <a:pt x="305998" y="275151"/>
                      </a:lnTo>
                      <a:lnTo>
                        <a:pt x="301336" y="281557"/>
                      </a:lnTo>
                      <a:lnTo>
                        <a:pt x="296186" y="285567"/>
                      </a:lnTo>
                      <a:lnTo>
                        <a:pt x="292119" y="286830"/>
                      </a:lnTo>
                      <a:lnTo>
                        <a:pt x="288289" y="286430"/>
                      </a:lnTo>
                      <a:lnTo>
                        <a:pt x="285811" y="285232"/>
                      </a:lnTo>
                      <a:lnTo>
                        <a:pt x="280718" y="281019"/>
                      </a:lnTo>
                      <a:lnTo>
                        <a:pt x="281019" y="279511"/>
                      </a:lnTo>
                      <a:lnTo>
                        <a:pt x="281728" y="278753"/>
                      </a:lnTo>
                      <a:lnTo>
                        <a:pt x="282690" y="276586"/>
                      </a:lnTo>
                      <a:lnTo>
                        <a:pt x="284727" y="268623"/>
                      </a:lnTo>
                      <a:lnTo>
                        <a:pt x="284450" y="266040"/>
                      </a:lnTo>
                      <a:lnTo>
                        <a:pt x="283309" y="261965"/>
                      </a:lnTo>
                      <a:lnTo>
                        <a:pt x="279275" y="258803"/>
                      </a:lnTo>
                      <a:lnTo>
                        <a:pt x="276031" y="259398"/>
                      </a:lnTo>
                      <a:lnTo>
                        <a:pt x="274174" y="258558"/>
                      </a:lnTo>
                      <a:lnTo>
                        <a:pt x="267532" y="253163"/>
                      </a:lnTo>
                      <a:lnTo>
                        <a:pt x="263905" y="252780"/>
                      </a:lnTo>
                      <a:lnTo>
                        <a:pt x="259912" y="253872"/>
                      </a:lnTo>
                      <a:lnTo>
                        <a:pt x="258436" y="253090"/>
                      </a:lnTo>
                      <a:lnTo>
                        <a:pt x="257336" y="251207"/>
                      </a:lnTo>
                      <a:lnTo>
                        <a:pt x="265282" y="244549"/>
                      </a:lnTo>
                      <a:lnTo>
                        <a:pt x="273073" y="239048"/>
                      </a:lnTo>
                      <a:lnTo>
                        <a:pt x="276488" y="238486"/>
                      </a:lnTo>
                      <a:lnTo>
                        <a:pt x="281109" y="235918"/>
                      </a:lnTo>
                      <a:lnTo>
                        <a:pt x="286031" y="232064"/>
                      </a:lnTo>
                      <a:lnTo>
                        <a:pt x="285330" y="229032"/>
                      </a:lnTo>
                      <a:lnTo>
                        <a:pt x="284271" y="226799"/>
                      </a:lnTo>
                      <a:lnTo>
                        <a:pt x="281915" y="227410"/>
                      </a:lnTo>
                      <a:lnTo>
                        <a:pt x="280204" y="228160"/>
                      </a:lnTo>
                      <a:lnTo>
                        <a:pt x="276072" y="225756"/>
                      </a:lnTo>
                      <a:lnTo>
                        <a:pt x="274548" y="223987"/>
                      </a:lnTo>
                      <a:lnTo>
                        <a:pt x="268086" y="225821"/>
                      </a:lnTo>
                      <a:lnTo>
                        <a:pt x="264500" y="225552"/>
                      </a:lnTo>
                      <a:lnTo>
                        <a:pt x="256562" y="227239"/>
                      </a:lnTo>
                      <a:lnTo>
                        <a:pt x="252919" y="225593"/>
                      </a:lnTo>
                      <a:lnTo>
                        <a:pt x="245617" y="220972"/>
                      </a:lnTo>
                      <a:lnTo>
                        <a:pt x="242878" y="220043"/>
                      </a:lnTo>
                      <a:lnTo>
                        <a:pt x="240547" y="220238"/>
                      </a:lnTo>
                      <a:lnTo>
                        <a:pt x="239276" y="218714"/>
                      </a:lnTo>
                      <a:lnTo>
                        <a:pt x="240825" y="217956"/>
                      </a:lnTo>
                      <a:lnTo>
                        <a:pt x="242650" y="217867"/>
                      </a:lnTo>
                      <a:lnTo>
                        <a:pt x="244525" y="217313"/>
                      </a:lnTo>
                      <a:lnTo>
                        <a:pt x="245046" y="216506"/>
                      </a:lnTo>
                      <a:lnTo>
                        <a:pt x="244932" y="214990"/>
                      </a:lnTo>
                      <a:lnTo>
                        <a:pt x="241142" y="213841"/>
                      </a:lnTo>
                      <a:lnTo>
                        <a:pt x="237614" y="213507"/>
                      </a:lnTo>
                      <a:lnTo>
                        <a:pt x="235389" y="212146"/>
                      </a:lnTo>
                      <a:lnTo>
                        <a:pt x="233677" y="210589"/>
                      </a:lnTo>
                      <a:lnTo>
                        <a:pt x="237671" y="210565"/>
                      </a:lnTo>
                      <a:lnTo>
                        <a:pt x="241689" y="211746"/>
                      </a:lnTo>
                      <a:lnTo>
                        <a:pt x="247980" y="212178"/>
                      </a:lnTo>
                      <a:lnTo>
                        <a:pt x="253668" y="213401"/>
                      </a:lnTo>
                      <a:lnTo>
                        <a:pt x="255103" y="211885"/>
                      </a:lnTo>
                      <a:lnTo>
                        <a:pt x="258412" y="209252"/>
                      </a:lnTo>
                      <a:lnTo>
                        <a:pt x="259047" y="208413"/>
                      </a:lnTo>
                      <a:lnTo>
                        <a:pt x="253489" y="210214"/>
                      </a:lnTo>
                      <a:lnTo>
                        <a:pt x="247858" y="209065"/>
                      </a:lnTo>
                      <a:lnTo>
                        <a:pt x="245812" y="207460"/>
                      </a:lnTo>
                      <a:lnTo>
                        <a:pt x="244068" y="205096"/>
                      </a:lnTo>
                      <a:lnTo>
                        <a:pt x="243351" y="202415"/>
                      </a:lnTo>
                      <a:lnTo>
                        <a:pt x="243815" y="199905"/>
                      </a:lnTo>
                      <a:lnTo>
                        <a:pt x="243213" y="195382"/>
                      </a:lnTo>
                      <a:lnTo>
                        <a:pt x="241354" y="191356"/>
                      </a:lnTo>
                      <a:lnTo>
                        <a:pt x="240702" y="189139"/>
                      </a:lnTo>
                      <a:lnTo>
                        <a:pt x="238738" y="187159"/>
                      </a:lnTo>
                      <a:lnTo>
                        <a:pt x="240662" y="191641"/>
                      </a:lnTo>
                      <a:lnTo>
                        <a:pt x="241379" y="194624"/>
                      </a:lnTo>
                      <a:lnTo>
                        <a:pt x="242544" y="197370"/>
                      </a:lnTo>
                      <a:lnTo>
                        <a:pt x="242275" y="204640"/>
                      </a:lnTo>
                      <a:lnTo>
                        <a:pt x="241558" y="207199"/>
                      </a:lnTo>
                      <a:lnTo>
                        <a:pt x="239244" y="207843"/>
                      </a:lnTo>
                      <a:lnTo>
                        <a:pt x="236212" y="207460"/>
                      </a:lnTo>
                      <a:lnTo>
                        <a:pt x="233115" y="206661"/>
                      </a:lnTo>
                      <a:lnTo>
                        <a:pt x="233889" y="202668"/>
                      </a:lnTo>
                      <a:lnTo>
                        <a:pt x="232243" y="204045"/>
                      </a:lnTo>
                      <a:lnTo>
                        <a:pt x="229912" y="207940"/>
                      </a:lnTo>
                      <a:lnTo>
                        <a:pt x="227858" y="208527"/>
                      </a:lnTo>
                      <a:lnTo>
                        <a:pt x="223311" y="208103"/>
                      </a:lnTo>
                      <a:lnTo>
                        <a:pt x="214860" y="210671"/>
                      </a:lnTo>
                      <a:lnTo>
                        <a:pt x="214281" y="213474"/>
                      </a:lnTo>
                      <a:lnTo>
                        <a:pt x="213018" y="217264"/>
                      </a:lnTo>
                      <a:lnTo>
                        <a:pt x="211787" y="219472"/>
                      </a:lnTo>
                      <a:lnTo>
                        <a:pt x="211412" y="220801"/>
                      </a:lnTo>
                      <a:lnTo>
                        <a:pt x="207818" y="226497"/>
                      </a:lnTo>
                      <a:lnTo>
                        <a:pt x="207346" y="227035"/>
                      </a:lnTo>
                      <a:lnTo>
                        <a:pt x="200549" y="234924"/>
                      </a:lnTo>
                      <a:lnTo>
                        <a:pt x="199693" y="235519"/>
                      </a:lnTo>
                      <a:lnTo>
                        <a:pt x="195292" y="237353"/>
                      </a:lnTo>
                      <a:lnTo>
                        <a:pt x="192692" y="238958"/>
                      </a:lnTo>
                      <a:lnTo>
                        <a:pt x="190688" y="239675"/>
                      </a:lnTo>
                      <a:lnTo>
                        <a:pt x="187321" y="238877"/>
                      </a:lnTo>
                      <a:lnTo>
                        <a:pt x="185912" y="240010"/>
                      </a:lnTo>
                      <a:lnTo>
                        <a:pt x="185252" y="241420"/>
                      </a:lnTo>
                      <a:lnTo>
                        <a:pt x="185235" y="244321"/>
                      </a:lnTo>
                      <a:lnTo>
                        <a:pt x="186955" y="246407"/>
                      </a:lnTo>
                      <a:lnTo>
                        <a:pt x="188349" y="253359"/>
                      </a:lnTo>
                      <a:lnTo>
                        <a:pt x="187835" y="256285"/>
                      </a:lnTo>
                      <a:lnTo>
                        <a:pt x="186507" y="254386"/>
                      </a:lnTo>
                      <a:lnTo>
                        <a:pt x="184412" y="252389"/>
                      </a:lnTo>
                      <a:lnTo>
                        <a:pt x="180346" y="250669"/>
                      </a:lnTo>
                      <a:lnTo>
                        <a:pt x="175879" y="251256"/>
                      </a:lnTo>
                      <a:lnTo>
                        <a:pt x="171006" y="254157"/>
                      </a:lnTo>
                      <a:lnTo>
                        <a:pt x="167705" y="255233"/>
                      </a:lnTo>
                      <a:lnTo>
                        <a:pt x="165969" y="254492"/>
                      </a:lnTo>
                      <a:lnTo>
                        <a:pt x="164910" y="254532"/>
                      </a:lnTo>
                      <a:lnTo>
                        <a:pt x="164535" y="255364"/>
                      </a:lnTo>
                      <a:lnTo>
                        <a:pt x="164625" y="256040"/>
                      </a:lnTo>
                      <a:lnTo>
                        <a:pt x="165154" y="256562"/>
                      </a:lnTo>
                      <a:lnTo>
                        <a:pt x="165073" y="256945"/>
                      </a:lnTo>
                      <a:lnTo>
                        <a:pt x="164388" y="257181"/>
                      </a:lnTo>
                      <a:lnTo>
                        <a:pt x="156719" y="255144"/>
                      </a:lnTo>
                      <a:lnTo>
                        <a:pt x="153402" y="253212"/>
                      </a:lnTo>
                      <a:lnTo>
                        <a:pt x="150794" y="249577"/>
                      </a:lnTo>
                      <a:lnTo>
                        <a:pt x="152099" y="248404"/>
                      </a:lnTo>
                      <a:lnTo>
                        <a:pt x="153223" y="247882"/>
                      </a:lnTo>
                      <a:lnTo>
                        <a:pt x="157217" y="247581"/>
                      </a:lnTo>
                      <a:lnTo>
                        <a:pt x="157901" y="247214"/>
                      </a:lnTo>
                      <a:lnTo>
                        <a:pt x="157975" y="246366"/>
                      </a:lnTo>
                      <a:lnTo>
                        <a:pt x="158260" y="245282"/>
                      </a:lnTo>
                      <a:lnTo>
                        <a:pt x="158162" y="243677"/>
                      </a:lnTo>
                      <a:lnTo>
                        <a:pt x="157714" y="241990"/>
                      </a:lnTo>
                      <a:lnTo>
                        <a:pt x="159474" y="239521"/>
                      </a:lnTo>
                      <a:lnTo>
                        <a:pt x="162082" y="237475"/>
                      </a:lnTo>
                      <a:lnTo>
                        <a:pt x="163614" y="235421"/>
                      </a:lnTo>
                      <a:lnTo>
                        <a:pt x="163842" y="232414"/>
                      </a:lnTo>
                      <a:lnTo>
                        <a:pt x="166589" y="230947"/>
                      </a:lnTo>
                      <a:lnTo>
                        <a:pt x="169034" y="228429"/>
                      </a:lnTo>
                      <a:lnTo>
                        <a:pt x="169629" y="225682"/>
                      </a:lnTo>
                      <a:lnTo>
                        <a:pt x="170476" y="223963"/>
                      </a:lnTo>
                      <a:lnTo>
                        <a:pt x="168936" y="220002"/>
                      </a:lnTo>
                      <a:lnTo>
                        <a:pt x="168610" y="217394"/>
                      </a:lnTo>
                      <a:lnTo>
                        <a:pt x="168528" y="215194"/>
                      </a:lnTo>
                      <a:lnTo>
                        <a:pt x="169302" y="213979"/>
                      </a:lnTo>
                      <a:lnTo>
                        <a:pt x="171568" y="212610"/>
                      </a:lnTo>
                      <a:lnTo>
                        <a:pt x="173956" y="211551"/>
                      </a:lnTo>
                      <a:lnTo>
                        <a:pt x="174942" y="211657"/>
                      </a:lnTo>
                      <a:lnTo>
                        <a:pt x="175301" y="212333"/>
                      </a:lnTo>
                      <a:lnTo>
                        <a:pt x="175407" y="216783"/>
                      </a:lnTo>
                      <a:lnTo>
                        <a:pt x="175888" y="216872"/>
                      </a:lnTo>
                      <a:lnTo>
                        <a:pt x="176654" y="216318"/>
                      </a:lnTo>
                      <a:lnTo>
                        <a:pt x="177900" y="213702"/>
                      </a:lnTo>
                      <a:lnTo>
                        <a:pt x="178748" y="214468"/>
                      </a:lnTo>
                      <a:lnTo>
                        <a:pt x="180069" y="214754"/>
                      </a:lnTo>
                      <a:lnTo>
                        <a:pt x="181054" y="214077"/>
                      </a:lnTo>
                      <a:lnTo>
                        <a:pt x="181698" y="214150"/>
                      </a:lnTo>
                      <a:lnTo>
                        <a:pt x="182513" y="214827"/>
                      </a:lnTo>
                      <a:lnTo>
                        <a:pt x="184094" y="215780"/>
                      </a:lnTo>
                      <a:lnTo>
                        <a:pt x="185586" y="216098"/>
                      </a:lnTo>
                      <a:lnTo>
                        <a:pt x="186808" y="215463"/>
                      </a:lnTo>
                      <a:lnTo>
                        <a:pt x="187860" y="214330"/>
                      </a:lnTo>
                      <a:lnTo>
                        <a:pt x="188976" y="214721"/>
                      </a:lnTo>
                      <a:lnTo>
                        <a:pt x="191119" y="217810"/>
                      </a:lnTo>
                      <a:lnTo>
                        <a:pt x="192122" y="217467"/>
                      </a:lnTo>
                      <a:lnTo>
                        <a:pt x="197012" y="216840"/>
                      </a:lnTo>
                      <a:lnTo>
                        <a:pt x="197811" y="216000"/>
                      </a:lnTo>
                      <a:lnTo>
                        <a:pt x="198397" y="215234"/>
                      </a:lnTo>
                      <a:lnTo>
                        <a:pt x="193263" y="211135"/>
                      </a:lnTo>
                      <a:lnTo>
                        <a:pt x="193524" y="208079"/>
                      </a:lnTo>
                      <a:lnTo>
                        <a:pt x="193711" y="204566"/>
                      </a:lnTo>
                      <a:lnTo>
                        <a:pt x="193108" y="202480"/>
                      </a:lnTo>
                      <a:lnTo>
                        <a:pt x="192106" y="200834"/>
                      </a:lnTo>
                      <a:lnTo>
                        <a:pt x="188186" y="198910"/>
                      </a:lnTo>
                      <a:lnTo>
                        <a:pt x="185162" y="196922"/>
                      </a:lnTo>
                      <a:lnTo>
                        <a:pt x="184526" y="196025"/>
                      </a:lnTo>
                      <a:lnTo>
                        <a:pt x="184445" y="194860"/>
                      </a:lnTo>
                      <a:lnTo>
                        <a:pt x="184315" y="193051"/>
                      </a:lnTo>
                      <a:lnTo>
                        <a:pt x="183116" y="191502"/>
                      </a:lnTo>
                      <a:lnTo>
                        <a:pt x="183010" y="190182"/>
                      </a:lnTo>
                      <a:lnTo>
                        <a:pt x="183776" y="188137"/>
                      </a:lnTo>
                      <a:lnTo>
                        <a:pt x="183964" y="185944"/>
                      </a:lnTo>
                      <a:lnTo>
                        <a:pt x="183703" y="185089"/>
                      </a:lnTo>
                      <a:lnTo>
                        <a:pt x="183002" y="184388"/>
                      </a:lnTo>
                      <a:lnTo>
                        <a:pt x="181641" y="184314"/>
                      </a:lnTo>
                      <a:lnTo>
                        <a:pt x="179840" y="183059"/>
                      </a:lnTo>
                      <a:lnTo>
                        <a:pt x="178610" y="181356"/>
                      </a:lnTo>
                      <a:lnTo>
                        <a:pt x="175309" y="178903"/>
                      </a:lnTo>
                      <a:lnTo>
                        <a:pt x="174299" y="178504"/>
                      </a:lnTo>
                      <a:lnTo>
                        <a:pt x="173687" y="177289"/>
                      </a:lnTo>
                      <a:lnTo>
                        <a:pt x="173386" y="175839"/>
                      </a:lnTo>
                      <a:lnTo>
                        <a:pt x="174087" y="174029"/>
                      </a:lnTo>
                      <a:lnTo>
                        <a:pt x="174950" y="171242"/>
                      </a:lnTo>
                      <a:lnTo>
                        <a:pt x="175561" y="168642"/>
                      </a:lnTo>
                      <a:lnTo>
                        <a:pt x="175578" y="167086"/>
                      </a:lnTo>
                      <a:lnTo>
                        <a:pt x="175162" y="163231"/>
                      </a:lnTo>
                      <a:lnTo>
                        <a:pt x="173442" y="160281"/>
                      </a:lnTo>
                      <a:lnTo>
                        <a:pt x="172636" y="159890"/>
                      </a:lnTo>
                      <a:lnTo>
                        <a:pt x="171250" y="160721"/>
                      </a:lnTo>
                      <a:lnTo>
                        <a:pt x="169670" y="161405"/>
                      </a:lnTo>
                      <a:lnTo>
                        <a:pt x="168430" y="160762"/>
                      </a:lnTo>
                      <a:lnTo>
                        <a:pt x="166996" y="159164"/>
                      </a:lnTo>
                      <a:lnTo>
                        <a:pt x="164722" y="154714"/>
                      </a:lnTo>
                      <a:lnTo>
                        <a:pt x="160460" y="153826"/>
                      </a:lnTo>
                      <a:lnTo>
                        <a:pt x="158700" y="153614"/>
                      </a:lnTo>
                      <a:lnTo>
                        <a:pt x="157021" y="155766"/>
                      </a:lnTo>
                      <a:lnTo>
                        <a:pt x="156507" y="155114"/>
                      </a:lnTo>
                      <a:lnTo>
                        <a:pt x="156035" y="153745"/>
                      </a:lnTo>
                      <a:lnTo>
                        <a:pt x="155146" y="153190"/>
                      </a:lnTo>
                      <a:lnTo>
                        <a:pt x="153981" y="153826"/>
                      </a:lnTo>
                      <a:lnTo>
                        <a:pt x="153639" y="153215"/>
                      </a:lnTo>
                      <a:lnTo>
                        <a:pt x="154144" y="151357"/>
                      </a:lnTo>
                      <a:lnTo>
                        <a:pt x="152759" y="150436"/>
                      </a:lnTo>
                      <a:lnTo>
                        <a:pt x="149474" y="150403"/>
                      </a:lnTo>
                      <a:lnTo>
                        <a:pt x="147730" y="149727"/>
                      </a:lnTo>
                      <a:lnTo>
                        <a:pt x="147518" y="148333"/>
                      </a:lnTo>
                      <a:lnTo>
                        <a:pt x="146491" y="147420"/>
                      </a:lnTo>
                      <a:lnTo>
                        <a:pt x="144633" y="146980"/>
                      </a:lnTo>
                      <a:lnTo>
                        <a:pt x="142816" y="145839"/>
                      </a:lnTo>
                      <a:lnTo>
                        <a:pt x="141064" y="144006"/>
                      </a:lnTo>
                      <a:lnTo>
                        <a:pt x="138447" y="142808"/>
                      </a:lnTo>
                      <a:lnTo>
                        <a:pt x="134952" y="142262"/>
                      </a:lnTo>
                      <a:lnTo>
                        <a:pt x="134666" y="142066"/>
                      </a:lnTo>
                      <a:lnTo>
                        <a:pt x="134357" y="141797"/>
                      </a:lnTo>
                      <a:lnTo>
                        <a:pt x="132107" y="143052"/>
                      </a:lnTo>
                      <a:lnTo>
                        <a:pt x="130754" y="144038"/>
                      </a:lnTo>
                      <a:lnTo>
                        <a:pt x="129092" y="143427"/>
                      </a:lnTo>
                      <a:lnTo>
                        <a:pt x="126402" y="145628"/>
                      </a:lnTo>
                      <a:lnTo>
                        <a:pt x="120942" y="145742"/>
                      </a:lnTo>
                      <a:lnTo>
                        <a:pt x="118269" y="145603"/>
                      </a:lnTo>
                      <a:lnTo>
                        <a:pt x="116941" y="145057"/>
                      </a:lnTo>
                      <a:lnTo>
                        <a:pt x="111815" y="148398"/>
                      </a:lnTo>
                      <a:lnTo>
                        <a:pt x="111276" y="149637"/>
                      </a:lnTo>
                      <a:lnTo>
                        <a:pt x="110127" y="150045"/>
                      </a:lnTo>
                      <a:lnTo>
                        <a:pt x="106900" y="150713"/>
                      </a:lnTo>
                      <a:lnTo>
                        <a:pt x="103510" y="151658"/>
                      </a:lnTo>
                      <a:lnTo>
                        <a:pt x="102801" y="154902"/>
                      </a:lnTo>
                      <a:lnTo>
                        <a:pt x="101790" y="156654"/>
                      </a:lnTo>
                      <a:lnTo>
                        <a:pt x="99965" y="159229"/>
                      </a:lnTo>
                      <a:lnTo>
                        <a:pt x="93665" y="160126"/>
                      </a:lnTo>
                      <a:lnTo>
                        <a:pt x="88221" y="161381"/>
                      </a:lnTo>
                      <a:lnTo>
                        <a:pt x="82638" y="162163"/>
                      </a:lnTo>
                      <a:lnTo>
                        <a:pt x="75336" y="165309"/>
                      </a:lnTo>
                      <a:lnTo>
                        <a:pt x="72957" y="168080"/>
                      </a:lnTo>
                      <a:lnTo>
                        <a:pt x="70609" y="168854"/>
                      </a:lnTo>
                      <a:lnTo>
                        <a:pt x="68474" y="169082"/>
                      </a:lnTo>
                      <a:lnTo>
                        <a:pt x="67097" y="167534"/>
                      </a:lnTo>
                      <a:lnTo>
                        <a:pt x="62468" y="163394"/>
                      </a:lnTo>
                      <a:lnTo>
                        <a:pt x="60675" y="161438"/>
                      </a:lnTo>
                      <a:lnTo>
                        <a:pt x="58327" y="160859"/>
                      </a:lnTo>
                      <a:lnTo>
                        <a:pt x="55777" y="161185"/>
                      </a:lnTo>
                      <a:lnTo>
                        <a:pt x="53324" y="162147"/>
                      </a:lnTo>
                      <a:lnTo>
                        <a:pt x="50740" y="162326"/>
                      </a:lnTo>
                      <a:lnTo>
                        <a:pt x="47815" y="160941"/>
                      </a:lnTo>
                      <a:lnTo>
                        <a:pt x="47505" y="161071"/>
                      </a:lnTo>
                      <a:lnTo>
                        <a:pt x="46372" y="161259"/>
                      </a:lnTo>
                      <a:lnTo>
                        <a:pt x="39102" y="159580"/>
                      </a:lnTo>
                      <a:lnTo>
                        <a:pt x="38442" y="159303"/>
                      </a:lnTo>
                      <a:lnTo>
                        <a:pt x="38116" y="159238"/>
                      </a:lnTo>
                      <a:lnTo>
                        <a:pt x="37122" y="159107"/>
                      </a:lnTo>
                      <a:lnTo>
                        <a:pt x="31654" y="159319"/>
                      </a:lnTo>
                      <a:lnTo>
                        <a:pt x="26560" y="155929"/>
                      </a:lnTo>
                      <a:lnTo>
                        <a:pt x="24987" y="155823"/>
                      </a:lnTo>
                      <a:lnTo>
                        <a:pt x="23781" y="157192"/>
                      </a:lnTo>
                      <a:lnTo>
                        <a:pt x="22893" y="158724"/>
                      </a:lnTo>
                      <a:lnTo>
                        <a:pt x="19364" y="160248"/>
                      </a:lnTo>
                      <a:lnTo>
                        <a:pt x="18476" y="160851"/>
                      </a:lnTo>
                      <a:lnTo>
                        <a:pt x="17970" y="160387"/>
                      </a:lnTo>
                      <a:lnTo>
                        <a:pt x="17734" y="159066"/>
                      </a:lnTo>
                      <a:lnTo>
                        <a:pt x="17995" y="157901"/>
                      </a:lnTo>
                      <a:lnTo>
                        <a:pt x="17481" y="156801"/>
                      </a:lnTo>
                      <a:lnTo>
                        <a:pt x="16145" y="155546"/>
                      </a:lnTo>
                      <a:lnTo>
                        <a:pt x="15818" y="155032"/>
                      </a:lnTo>
                      <a:lnTo>
                        <a:pt x="14140" y="155122"/>
                      </a:lnTo>
                      <a:lnTo>
                        <a:pt x="13684" y="155244"/>
                      </a:lnTo>
                      <a:lnTo>
                        <a:pt x="13512" y="155220"/>
                      </a:lnTo>
                      <a:lnTo>
                        <a:pt x="11182" y="154152"/>
                      </a:lnTo>
                      <a:lnTo>
                        <a:pt x="9641" y="151593"/>
                      </a:lnTo>
                      <a:lnTo>
                        <a:pt x="7253" y="150232"/>
                      </a:lnTo>
                      <a:lnTo>
                        <a:pt x="5428" y="149776"/>
                      </a:lnTo>
                      <a:lnTo>
                        <a:pt x="4588" y="148676"/>
                      </a:lnTo>
                      <a:lnTo>
                        <a:pt x="4058" y="147209"/>
                      </a:lnTo>
                      <a:lnTo>
                        <a:pt x="3488" y="146108"/>
                      </a:lnTo>
                      <a:lnTo>
                        <a:pt x="3423" y="146002"/>
                      </a:lnTo>
                      <a:lnTo>
                        <a:pt x="3024" y="144324"/>
                      </a:lnTo>
                      <a:lnTo>
                        <a:pt x="2469" y="144152"/>
                      </a:lnTo>
                      <a:lnTo>
                        <a:pt x="2372" y="144104"/>
                      </a:lnTo>
                      <a:lnTo>
                        <a:pt x="0" y="144397"/>
                      </a:lnTo>
                      <a:lnTo>
                        <a:pt x="277" y="138521"/>
                      </a:lnTo>
                      <a:lnTo>
                        <a:pt x="4058" y="134291"/>
                      </a:lnTo>
                      <a:lnTo>
                        <a:pt x="4980" y="132148"/>
                      </a:lnTo>
                      <a:lnTo>
                        <a:pt x="6397" y="127519"/>
                      </a:lnTo>
                      <a:lnTo>
                        <a:pt x="7449" y="125343"/>
                      </a:lnTo>
                      <a:lnTo>
                        <a:pt x="8720" y="123550"/>
                      </a:lnTo>
                      <a:lnTo>
                        <a:pt x="9731" y="121806"/>
                      </a:lnTo>
                      <a:lnTo>
                        <a:pt x="10089" y="120315"/>
                      </a:lnTo>
                      <a:lnTo>
                        <a:pt x="11116" y="120143"/>
                      </a:lnTo>
                      <a:lnTo>
                        <a:pt x="14124" y="121488"/>
                      </a:lnTo>
                      <a:lnTo>
                        <a:pt x="16813" y="122181"/>
                      </a:lnTo>
                      <a:lnTo>
                        <a:pt x="17563" y="121521"/>
                      </a:lnTo>
                      <a:lnTo>
                        <a:pt x="17864" y="120657"/>
                      </a:lnTo>
                      <a:lnTo>
                        <a:pt x="17742" y="119988"/>
                      </a:lnTo>
                      <a:lnTo>
                        <a:pt x="15582" y="117992"/>
                      </a:lnTo>
                      <a:lnTo>
                        <a:pt x="14221" y="116729"/>
                      </a:lnTo>
                      <a:lnTo>
                        <a:pt x="14148" y="115946"/>
                      </a:lnTo>
                      <a:lnTo>
                        <a:pt x="14645" y="114202"/>
                      </a:lnTo>
                      <a:lnTo>
                        <a:pt x="14890" y="112238"/>
                      </a:lnTo>
                      <a:lnTo>
                        <a:pt x="14588" y="110119"/>
                      </a:lnTo>
                      <a:lnTo>
                        <a:pt x="13113" y="105409"/>
                      </a:lnTo>
                      <a:lnTo>
                        <a:pt x="12836" y="103396"/>
                      </a:lnTo>
                      <a:lnTo>
                        <a:pt x="14238" y="100951"/>
                      </a:lnTo>
                      <a:lnTo>
                        <a:pt x="18818" y="95132"/>
                      </a:lnTo>
                      <a:lnTo>
                        <a:pt x="20350" y="92939"/>
                      </a:lnTo>
                      <a:lnTo>
                        <a:pt x="22445" y="90299"/>
                      </a:lnTo>
                      <a:lnTo>
                        <a:pt x="28092" y="83967"/>
                      </a:lnTo>
                      <a:lnTo>
                        <a:pt x="31670" y="80275"/>
                      </a:lnTo>
                      <a:lnTo>
                        <a:pt x="34082" y="78237"/>
                      </a:lnTo>
                      <a:lnTo>
                        <a:pt x="37644" y="74684"/>
                      </a:lnTo>
                      <a:lnTo>
                        <a:pt x="39184" y="72842"/>
                      </a:lnTo>
                      <a:lnTo>
                        <a:pt x="45655" y="71644"/>
                      </a:lnTo>
                      <a:lnTo>
                        <a:pt x="46462" y="69925"/>
                      </a:lnTo>
                      <a:lnTo>
                        <a:pt x="47643" y="68050"/>
                      </a:lnTo>
                      <a:lnTo>
                        <a:pt x="48573" y="67243"/>
                      </a:lnTo>
                      <a:lnTo>
                        <a:pt x="48694" y="64073"/>
                      </a:lnTo>
                      <a:lnTo>
                        <a:pt x="47497" y="60194"/>
                      </a:lnTo>
                      <a:lnTo>
                        <a:pt x="46535" y="58833"/>
                      </a:lnTo>
                      <a:lnTo>
                        <a:pt x="45810" y="57896"/>
                      </a:lnTo>
                      <a:lnTo>
                        <a:pt x="46282" y="57024"/>
                      </a:lnTo>
                      <a:lnTo>
                        <a:pt x="47000" y="56771"/>
                      </a:lnTo>
                      <a:lnTo>
                        <a:pt x="47872" y="56649"/>
                      </a:lnTo>
                      <a:lnTo>
                        <a:pt x="48972" y="55720"/>
                      </a:lnTo>
                      <a:lnTo>
                        <a:pt x="48727" y="54701"/>
                      </a:lnTo>
                      <a:lnTo>
                        <a:pt x="45997" y="52215"/>
                      </a:lnTo>
                      <a:lnTo>
                        <a:pt x="44807" y="50300"/>
                      </a:lnTo>
                      <a:lnTo>
                        <a:pt x="42966" y="45386"/>
                      </a:lnTo>
                      <a:lnTo>
                        <a:pt x="39200" y="40276"/>
                      </a:lnTo>
                      <a:lnTo>
                        <a:pt x="38018" y="38613"/>
                      </a:lnTo>
                      <a:lnTo>
                        <a:pt x="37847" y="37057"/>
                      </a:lnTo>
                      <a:lnTo>
                        <a:pt x="38385" y="35492"/>
                      </a:lnTo>
                      <a:lnTo>
                        <a:pt x="37872" y="33495"/>
                      </a:lnTo>
                      <a:lnTo>
                        <a:pt x="36551" y="30953"/>
                      </a:lnTo>
                      <a:lnTo>
                        <a:pt x="36755" y="30676"/>
                      </a:lnTo>
                      <a:lnTo>
                        <a:pt x="36625" y="27538"/>
                      </a:lnTo>
                      <a:lnTo>
                        <a:pt x="37570" y="26861"/>
                      </a:lnTo>
                      <a:lnTo>
                        <a:pt x="39062" y="26405"/>
                      </a:lnTo>
                      <a:lnTo>
                        <a:pt x="41165" y="26560"/>
                      </a:lnTo>
                      <a:lnTo>
                        <a:pt x="42966" y="27041"/>
                      </a:lnTo>
                      <a:lnTo>
                        <a:pt x="45125" y="28483"/>
                      </a:lnTo>
                      <a:lnTo>
                        <a:pt x="45801" y="28247"/>
                      </a:lnTo>
                      <a:lnTo>
                        <a:pt x="49485" y="25533"/>
                      </a:lnTo>
                      <a:lnTo>
                        <a:pt x="53283" y="21466"/>
                      </a:lnTo>
                      <a:lnTo>
                        <a:pt x="54375" y="19111"/>
                      </a:lnTo>
                      <a:lnTo>
                        <a:pt x="55312" y="18035"/>
                      </a:lnTo>
                      <a:lnTo>
                        <a:pt x="58621" y="17457"/>
                      </a:lnTo>
                      <a:lnTo>
                        <a:pt x="61498" y="17220"/>
                      </a:lnTo>
                      <a:lnTo>
                        <a:pt x="63340" y="17261"/>
                      </a:lnTo>
                      <a:lnTo>
                        <a:pt x="67838" y="16862"/>
                      </a:lnTo>
                      <a:lnTo>
                        <a:pt x="70495" y="16422"/>
                      </a:lnTo>
                      <a:lnTo>
                        <a:pt x="72793" y="15696"/>
                      </a:lnTo>
                      <a:lnTo>
                        <a:pt x="77773" y="15427"/>
                      </a:lnTo>
                      <a:lnTo>
                        <a:pt x="85531" y="15916"/>
                      </a:lnTo>
                      <a:lnTo>
                        <a:pt x="90625" y="15949"/>
                      </a:lnTo>
                      <a:lnTo>
                        <a:pt x="94089" y="16324"/>
                      </a:lnTo>
                      <a:lnTo>
                        <a:pt x="102565" y="18492"/>
                      </a:lnTo>
                      <a:lnTo>
                        <a:pt x="105727" y="18883"/>
                      </a:lnTo>
                      <a:lnTo>
                        <a:pt x="107194" y="20024"/>
                      </a:lnTo>
                      <a:lnTo>
                        <a:pt x="110005" y="20456"/>
                      </a:lnTo>
                      <a:lnTo>
                        <a:pt x="115131" y="21613"/>
                      </a:lnTo>
                      <a:lnTo>
                        <a:pt x="119581" y="22232"/>
                      </a:lnTo>
                      <a:lnTo>
                        <a:pt x="122588" y="21980"/>
                      </a:lnTo>
                      <a:lnTo>
                        <a:pt x="124275" y="22306"/>
                      </a:lnTo>
                      <a:lnTo>
                        <a:pt x="127453" y="27424"/>
                      </a:lnTo>
                      <a:lnTo>
                        <a:pt x="128106" y="28019"/>
                      </a:lnTo>
                      <a:lnTo>
                        <a:pt x="129377" y="28141"/>
                      </a:lnTo>
                      <a:lnTo>
                        <a:pt x="131969" y="27701"/>
                      </a:lnTo>
                      <a:lnTo>
                        <a:pt x="135669" y="27864"/>
                      </a:lnTo>
                      <a:lnTo>
                        <a:pt x="137869" y="28940"/>
                      </a:lnTo>
                      <a:lnTo>
                        <a:pt x="137543" y="31988"/>
                      </a:lnTo>
                      <a:lnTo>
                        <a:pt x="138114" y="32428"/>
                      </a:lnTo>
                      <a:lnTo>
                        <a:pt x="139140" y="32257"/>
                      </a:lnTo>
                      <a:lnTo>
                        <a:pt x="140322" y="30537"/>
                      </a:lnTo>
                      <a:lnTo>
                        <a:pt x="141308" y="28752"/>
                      </a:lnTo>
                      <a:lnTo>
                        <a:pt x="142050" y="28198"/>
                      </a:lnTo>
                      <a:lnTo>
                        <a:pt x="145831" y="29404"/>
                      </a:lnTo>
                      <a:lnTo>
                        <a:pt x="147551" y="29209"/>
                      </a:lnTo>
                      <a:lnTo>
                        <a:pt x="149148" y="27848"/>
                      </a:lnTo>
                      <a:lnTo>
                        <a:pt x="150118" y="27619"/>
                      </a:lnTo>
                      <a:lnTo>
                        <a:pt x="152791" y="28581"/>
                      </a:lnTo>
                      <a:lnTo>
                        <a:pt x="156092" y="29258"/>
                      </a:lnTo>
                      <a:lnTo>
                        <a:pt x="158741" y="29306"/>
                      </a:lnTo>
                      <a:lnTo>
                        <a:pt x="160411" y="30032"/>
                      </a:lnTo>
                      <a:lnTo>
                        <a:pt x="161617" y="33210"/>
                      </a:lnTo>
                      <a:lnTo>
                        <a:pt x="162669" y="33862"/>
                      </a:lnTo>
                      <a:lnTo>
                        <a:pt x="163688" y="34066"/>
                      </a:lnTo>
                      <a:lnTo>
                        <a:pt x="165220" y="31222"/>
                      </a:lnTo>
                      <a:lnTo>
                        <a:pt x="166613" y="30113"/>
                      </a:lnTo>
                      <a:lnTo>
                        <a:pt x="168545" y="29298"/>
                      </a:lnTo>
                      <a:lnTo>
                        <a:pt x="169791" y="28956"/>
                      </a:lnTo>
                      <a:lnTo>
                        <a:pt x="170663" y="27945"/>
                      </a:lnTo>
                      <a:lnTo>
                        <a:pt x="171853" y="26959"/>
                      </a:lnTo>
                      <a:lnTo>
                        <a:pt x="172872" y="26886"/>
                      </a:lnTo>
                      <a:lnTo>
                        <a:pt x="173712" y="27269"/>
                      </a:lnTo>
                      <a:lnTo>
                        <a:pt x="174665" y="28630"/>
                      </a:lnTo>
                      <a:lnTo>
                        <a:pt x="176067" y="31711"/>
                      </a:lnTo>
                      <a:lnTo>
                        <a:pt x="177754" y="34816"/>
                      </a:lnTo>
                      <a:lnTo>
                        <a:pt x="178935" y="35940"/>
                      </a:lnTo>
                      <a:lnTo>
                        <a:pt x="182000" y="34987"/>
                      </a:lnTo>
                      <a:lnTo>
                        <a:pt x="184062" y="34017"/>
                      </a:lnTo>
                      <a:lnTo>
                        <a:pt x="187868" y="33830"/>
                      </a:lnTo>
                      <a:lnTo>
                        <a:pt x="192896" y="33153"/>
                      </a:lnTo>
                      <a:lnTo>
                        <a:pt x="196743" y="32273"/>
                      </a:lnTo>
                      <a:lnTo>
                        <a:pt x="199147" y="32428"/>
                      </a:lnTo>
                      <a:lnTo>
                        <a:pt x="200606" y="33414"/>
                      </a:lnTo>
                      <a:lnTo>
                        <a:pt x="202814" y="35313"/>
                      </a:lnTo>
                      <a:lnTo>
                        <a:pt x="203418" y="38043"/>
                      </a:lnTo>
                      <a:lnTo>
                        <a:pt x="206303" y="39926"/>
                      </a:lnTo>
                      <a:lnTo>
                        <a:pt x="208658" y="40268"/>
                      </a:lnTo>
                      <a:lnTo>
                        <a:pt x="209465" y="38304"/>
                      </a:lnTo>
                      <a:lnTo>
                        <a:pt x="210842" y="36935"/>
                      </a:lnTo>
                      <a:lnTo>
                        <a:pt x="210337" y="35060"/>
                      </a:lnTo>
                      <a:lnTo>
                        <a:pt x="210100" y="32672"/>
                      </a:lnTo>
                      <a:lnTo>
                        <a:pt x="209065" y="30447"/>
                      </a:lnTo>
                      <a:lnTo>
                        <a:pt x="208372" y="28051"/>
                      </a:lnTo>
                      <a:lnTo>
                        <a:pt x="209636" y="24637"/>
                      </a:lnTo>
                      <a:lnTo>
                        <a:pt x="211013" y="21629"/>
                      </a:lnTo>
                      <a:lnTo>
                        <a:pt x="211714" y="19999"/>
                      </a:lnTo>
                      <a:lnTo>
                        <a:pt x="213890" y="17000"/>
                      </a:lnTo>
                      <a:lnTo>
                        <a:pt x="216139" y="14849"/>
                      </a:lnTo>
                      <a:lnTo>
                        <a:pt x="219481" y="11401"/>
                      </a:lnTo>
                      <a:lnTo>
                        <a:pt x="221917" y="10261"/>
                      </a:lnTo>
                      <a:lnTo>
                        <a:pt x="224134" y="10774"/>
                      </a:lnTo>
                      <a:lnTo>
                        <a:pt x="225356" y="11247"/>
                      </a:lnTo>
                      <a:lnTo>
                        <a:pt x="228535" y="9201"/>
                      </a:lnTo>
                      <a:lnTo>
                        <a:pt x="234182" y="9103"/>
                      </a:lnTo>
                      <a:lnTo>
                        <a:pt x="238893" y="9364"/>
                      </a:lnTo>
                      <a:lnTo>
                        <a:pt x="239366" y="9429"/>
                      </a:lnTo>
                      <a:lnTo>
                        <a:pt x="241672" y="10481"/>
                      </a:lnTo>
                      <a:lnTo>
                        <a:pt x="244101" y="11385"/>
                      </a:lnTo>
                      <a:lnTo>
                        <a:pt x="245788" y="11442"/>
                      </a:lnTo>
                      <a:lnTo>
                        <a:pt x="247793" y="11238"/>
                      </a:lnTo>
                      <a:lnTo>
                        <a:pt x="250132" y="10040"/>
                      </a:lnTo>
                      <a:lnTo>
                        <a:pt x="251770" y="8891"/>
                      </a:lnTo>
                      <a:lnTo>
                        <a:pt x="253758" y="3024"/>
                      </a:lnTo>
                      <a:lnTo>
                        <a:pt x="254467" y="2176"/>
                      </a:lnTo>
                      <a:lnTo>
                        <a:pt x="255551" y="1720"/>
                      </a:lnTo>
                      <a:lnTo>
                        <a:pt x="257352" y="1671"/>
                      </a:lnTo>
                      <a:lnTo>
                        <a:pt x="260767" y="2763"/>
                      </a:lnTo>
                      <a:lnTo>
                        <a:pt x="264752" y="3749"/>
                      </a:lnTo>
                      <a:lnTo>
                        <a:pt x="267067" y="3610"/>
                      </a:lnTo>
                      <a:lnTo>
                        <a:pt x="273236" y="489"/>
                      </a:lnTo>
                      <a:lnTo>
                        <a:pt x="276675" y="0"/>
                      </a:lnTo>
                      <a:lnTo>
                        <a:pt x="280750" y="742"/>
                      </a:lnTo>
                      <a:close/>
                    </a:path>
                  </a:pathLst>
                </a:custGeom>
                <a:solidFill>
                  <a:srgbClr val="D6D6D2"/>
                </a:solidFill>
                <a:ln w="6112" cap="rnd">
                  <a:solidFill>
                    <a:srgbClr val="FFFFFF"/>
                  </a:solidFill>
                  <a:prstDash val="solid"/>
                  <a:round/>
                </a:ln>
              </p:spPr>
              <p:txBody>
                <a:bodyPr rtlCol="0" anchor="ctr"/>
                <a:lstStyle/>
                <a:p>
                  <a:endParaRPr lang="en-US"/>
                </a:p>
              </p:txBody>
            </p:sp>
            <p:sp>
              <p:nvSpPr>
                <p:cNvPr id="555" name="Freeform: Shape 554">
                  <a:extLst>
                    <a:ext uri="{FF2B5EF4-FFF2-40B4-BE49-F238E27FC236}">
                      <a16:creationId xmlns:a16="http://schemas.microsoft.com/office/drawing/2014/main" id="{E9EF05EA-8552-4053-A487-A58DD2DBA934}"/>
                    </a:ext>
                  </a:extLst>
                </p:cNvPr>
                <p:cNvSpPr/>
                <p:nvPr/>
              </p:nvSpPr>
              <p:spPr>
                <a:xfrm>
                  <a:off x="6676831" y="4398102"/>
                  <a:ext cx="134340" cy="170402"/>
                </a:xfrm>
                <a:custGeom>
                  <a:avLst/>
                  <a:gdLst>
                    <a:gd name="connsiteX0" fmla="*/ 107666 w 134340"/>
                    <a:gd name="connsiteY0" fmla="*/ 156410 h 170402"/>
                    <a:gd name="connsiteX1" fmla="*/ 104960 w 134340"/>
                    <a:gd name="connsiteY1" fmla="*/ 156410 h 170402"/>
                    <a:gd name="connsiteX2" fmla="*/ 100559 w 134340"/>
                    <a:gd name="connsiteY2" fmla="*/ 156410 h 170402"/>
                    <a:gd name="connsiteX3" fmla="*/ 96150 w 134340"/>
                    <a:gd name="connsiteY3" fmla="*/ 156410 h 170402"/>
                    <a:gd name="connsiteX4" fmla="*/ 91733 w 134340"/>
                    <a:gd name="connsiteY4" fmla="*/ 156410 h 170402"/>
                    <a:gd name="connsiteX5" fmla="*/ 87333 w 134340"/>
                    <a:gd name="connsiteY5" fmla="*/ 156410 h 170402"/>
                    <a:gd name="connsiteX6" fmla="*/ 82923 w 134340"/>
                    <a:gd name="connsiteY6" fmla="*/ 156410 h 170402"/>
                    <a:gd name="connsiteX7" fmla="*/ 78506 w 134340"/>
                    <a:gd name="connsiteY7" fmla="*/ 156410 h 170402"/>
                    <a:gd name="connsiteX8" fmla="*/ 74105 w 134340"/>
                    <a:gd name="connsiteY8" fmla="*/ 156410 h 170402"/>
                    <a:gd name="connsiteX9" fmla="*/ 69697 w 134340"/>
                    <a:gd name="connsiteY9" fmla="*/ 156410 h 170402"/>
                    <a:gd name="connsiteX10" fmla="*/ 65287 w 134340"/>
                    <a:gd name="connsiteY10" fmla="*/ 156410 h 170402"/>
                    <a:gd name="connsiteX11" fmla="*/ 60870 w 134340"/>
                    <a:gd name="connsiteY11" fmla="*/ 156410 h 170402"/>
                    <a:gd name="connsiteX12" fmla="*/ 56469 w 134340"/>
                    <a:gd name="connsiteY12" fmla="*/ 156410 h 170402"/>
                    <a:gd name="connsiteX13" fmla="*/ 52060 w 134340"/>
                    <a:gd name="connsiteY13" fmla="*/ 156410 h 170402"/>
                    <a:gd name="connsiteX14" fmla="*/ 47643 w 134340"/>
                    <a:gd name="connsiteY14" fmla="*/ 156410 h 170402"/>
                    <a:gd name="connsiteX15" fmla="*/ 43242 w 134340"/>
                    <a:gd name="connsiteY15" fmla="*/ 156410 h 170402"/>
                    <a:gd name="connsiteX16" fmla="*/ 38825 w 134340"/>
                    <a:gd name="connsiteY16" fmla="*/ 156410 h 170402"/>
                    <a:gd name="connsiteX17" fmla="*/ 34424 w 134340"/>
                    <a:gd name="connsiteY17" fmla="*/ 156410 h 170402"/>
                    <a:gd name="connsiteX18" fmla="*/ 31824 w 134340"/>
                    <a:gd name="connsiteY18" fmla="*/ 156410 h 170402"/>
                    <a:gd name="connsiteX19" fmla="*/ 31287 w 134340"/>
                    <a:gd name="connsiteY19" fmla="*/ 156304 h 170402"/>
                    <a:gd name="connsiteX20" fmla="*/ 30936 w 134340"/>
                    <a:gd name="connsiteY20" fmla="*/ 156190 h 170402"/>
                    <a:gd name="connsiteX21" fmla="*/ 29266 w 134340"/>
                    <a:gd name="connsiteY21" fmla="*/ 156556 h 170402"/>
                    <a:gd name="connsiteX22" fmla="*/ 27546 w 134340"/>
                    <a:gd name="connsiteY22" fmla="*/ 157877 h 170402"/>
                    <a:gd name="connsiteX23" fmla="*/ 25721 w 134340"/>
                    <a:gd name="connsiteY23" fmla="*/ 158431 h 170402"/>
                    <a:gd name="connsiteX24" fmla="*/ 23764 w 134340"/>
                    <a:gd name="connsiteY24" fmla="*/ 158219 h 170402"/>
                    <a:gd name="connsiteX25" fmla="*/ 23512 w 134340"/>
                    <a:gd name="connsiteY25" fmla="*/ 158349 h 170402"/>
                    <a:gd name="connsiteX26" fmla="*/ 22518 w 134340"/>
                    <a:gd name="connsiteY26" fmla="*/ 158308 h 170402"/>
                    <a:gd name="connsiteX27" fmla="*/ 21083 w 134340"/>
                    <a:gd name="connsiteY27" fmla="*/ 158227 h 170402"/>
                    <a:gd name="connsiteX28" fmla="*/ 19795 w 134340"/>
                    <a:gd name="connsiteY28" fmla="*/ 158569 h 170402"/>
                    <a:gd name="connsiteX29" fmla="*/ 18809 w 134340"/>
                    <a:gd name="connsiteY29" fmla="*/ 159727 h 170402"/>
                    <a:gd name="connsiteX30" fmla="*/ 17807 w 134340"/>
                    <a:gd name="connsiteY30" fmla="*/ 161691 h 170402"/>
                    <a:gd name="connsiteX31" fmla="*/ 15998 w 134340"/>
                    <a:gd name="connsiteY31" fmla="*/ 163956 h 170402"/>
                    <a:gd name="connsiteX32" fmla="*/ 14596 w 134340"/>
                    <a:gd name="connsiteY32" fmla="*/ 165961 h 170402"/>
                    <a:gd name="connsiteX33" fmla="*/ 13382 w 134340"/>
                    <a:gd name="connsiteY33" fmla="*/ 167379 h 170402"/>
                    <a:gd name="connsiteX34" fmla="*/ 10627 w 134340"/>
                    <a:gd name="connsiteY34" fmla="*/ 169726 h 170402"/>
                    <a:gd name="connsiteX35" fmla="*/ 9136 w 134340"/>
                    <a:gd name="connsiteY35" fmla="*/ 170403 h 170402"/>
                    <a:gd name="connsiteX36" fmla="*/ 8386 w 134340"/>
                    <a:gd name="connsiteY36" fmla="*/ 170305 h 170402"/>
                    <a:gd name="connsiteX37" fmla="*/ 7929 w 134340"/>
                    <a:gd name="connsiteY37" fmla="*/ 169873 h 170402"/>
                    <a:gd name="connsiteX38" fmla="*/ 7066 w 134340"/>
                    <a:gd name="connsiteY38" fmla="*/ 166866 h 170402"/>
                    <a:gd name="connsiteX39" fmla="*/ 6536 w 134340"/>
                    <a:gd name="connsiteY39" fmla="*/ 166385 h 170402"/>
                    <a:gd name="connsiteX40" fmla="*/ 1190 w 134340"/>
                    <a:gd name="connsiteY40" fmla="*/ 167933 h 170402"/>
                    <a:gd name="connsiteX41" fmla="*/ 375 w 134340"/>
                    <a:gd name="connsiteY41" fmla="*/ 167958 h 170402"/>
                    <a:gd name="connsiteX42" fmla="*/ 440 w 134340"/>
                    <a:gd name="connsiteY42" fmla="*/ 167037 h 170402"/>
                    <a:gd name="connsiteX43" fmla="*/ 49 w 134340"/>
                    <a:gd name="connsiteY43" fmla="*/ 159971 h 170402"/>
                    <a:gd name="connsiteX44" fmla="*/ 0 w 134340"/>
                    <a:gd name="connsiteY44" fmla="*/ 155668 h 170402"/>
                    <a:gd name="connsiteX45" fmla="*/ 692 w 134340"/>
                    <a:gd name="connsiteY45" fmla="*/ 152962 h 170402"/>
                    <a:gd name="connsiteX46" fmla="*/ 1100 w 134340"/>
                    <a:gd name="connsiteY46" fmla="*/ 149841 h 170402"/>
                    <a:gd name="connsiteX47" fmla="*/ 1149 w 134340"/>
                    <a:gd name="connsiteY47" fmla="*/ 147095 h 170402"/>
                    <a:gd name="connsiteX48" fmla="*/ 2127 w 134340"/>
                    <a:gd name="connsiteY48" fmla="*/ 142433 h 170402"/>
                    <a:gd name="connsiteX49" fmla="*/ 1760 w 134340"/>
                    <a:gd name="connsiteY49" fmla="*/ 139621 h 170402"/>
                    <a:gd name="connsiteX50" fmla="*/ 3040 w 134340"/>
                    <a:gd name="connsiteY50" fmla="*/ 129801 h 170402"/>
                    <a:gd name="connsiteX51" fmla="*/ 3374 w 134340"/>
                    <a:gd name="connsiteY51" fmla="*/ 128203 h 170402"/>
                    <a:gd name="connsiteX52" fmla="*/ 3863 w 134340"/>
                    <a:gd name="connsiteY52" fmla="*/ 123452 h 170402"/>
                    <a:gd name="connsiteX53" fmla="*/ 4661 w 134340"/>
                    <a:gd name="connsiteY53" fmla="*/ 121993 h 170402"/>
                    <a:gd name="connsiteX54" fmla="*/ 5362 w 134340"/>
                    <a:gd name="connsiteY54" fmla="*/ 121423 h 170402"/>
                    <a:gd name="connsiteX55" fmla="*/ 6267 w 134340"/>
                    <a:gd name="connsiteY55" fmla="*/ 118505 h 170402"/>
                    <a:gd name="connsiteX56" fmla="*/ 8027 w 134340"/>
                    <a:gd name="connsiteY56" fmla="*/ 113860 h 170402"/>
                    <a:gd name="connsiteX57" fmla="*/ 9234 w 134340"/>
                    <a:gd name="connsiteY57" fmla="*/ 111456 h 170402"/>
                    <a:gd name="connsiteX58" fmla="*/ 8972 w 134340"/>
                    <a:gd name="connsiteY58" fmla="*/ 106224 h 170402"/>
                    <a:gd name="connsiteX59" fmla="*/ 9176 w 134340"/>
                    <a:gd name="connsiteY59" fmla="*/ 102662 h 170402"/>
                    <a:gd name="connsiteX60" fmla="*/ 9453 w 134340"/>
                    <a:gd name="connsiteY60" fmla="*/ 101872 h 170402"/>
                    <a:gd name="connsiteX61" fmla="*/ 12037 w 134340"/>
                    <a:gd name="connsiteY61" fmla="*/ 100543 h 170402"/>
                    <a:gd name="connsiteX62" fmla="*/ 15403 w 134340"/>
                    <a:gd name="connsiteY62" fmla="*/ 97259 h 170402"/>
                    <a:gd name="connsiteX63" fmla="*/ 16821 w 134340"/>
                    <a:gd name="connsiteY63" fmla="*/ 93380 h 170402"/>
                    <a:gd name="connsiteX64" fmla="*/ 18826 w 134340"/>
                    <a:gd name="connsiteY64" fmla="*/ 90910 h 170402"/>
                    <a:gd name="connsiteX65" fmla="*/ 22730 w 134340"/>
                    <a:gd name="connsiteY65" fmla="*/ 89305 h 170402"/>
                    <a:gd name="connsiteX66" fmla="*/ 22738 w 134340"/>
                    <a:gd name="connsiteY66" fmla="*/ 89297 h 170402"/>
                    <a:gd name="connsiteX67" fmla="*/ 34245 w 134340"/>
                    <a:gd name="connsiteY67" fmla="*/ 76013 h 170402"/>
                    <a:gd name="connsiteX68" fmla="*/ 39608 w 134340"/>
                    <a:gd name="connsiteY68" fmla="*/ 68849 h 170402"/>
                    <a:gd name="connsiteX69" fmla="*/ 41930 w 134340"/>
                    <a:gd name="connsiteY69" fmla="*/ 65181 h 170402"/>
                    <a:gd name="connsiteX70" fmla="*/ 42020 w 134340"/>
                    <a:gd name="connsiteY70" fmla="*/ 63869 h 170402"/>
                    <a:gd name="connsiteX71" fmla="*/ 42460 w 134340"/>
                    <a:gd name="connsiteY71" fmla="*/ 62134 h 170402"/>
                    <a:gd name="connsiteX72" fmla="*/ 41531 w 134340"/>
                    <a:gd name="connsiteY72" fmla="*/ 60789 h 170402"/>
                    <a:gd name="connsiteX73" fmla="*/ 40414 w 134340"/>
                    <a:gd name="connsiteY73" fmla="*/ 59566 h 170402"/>
                    <a:gd name="connsiteX74" fmla="*/ 40048 w 134340"/>
                    <a:gd name="connsiteY74" fmla="*/ 58425 h 170402"/>
                    <a:gd name="connsiteX75" fmla="*/ 39086 w 134340"/>
                    <a:gd name="connsiteY75" fmla="*/ 57871 h 170402"/>
                    <a:gd name="connsiteX76" fmla="*/ 37700 w 134340"/>
                    <a:gd name="connsiteY76" fmla="*/ 57888 h 170402"/>
                    <a:gd name="connsiteX77" fmla="*/ 36796 w 134340"/>
                    <a:gd name="connsiteY77" fmla="*/ 57064 h 170402"/>
                    <a:gd name="connsiteX78" fmla="*/ 35753 w 134340"/>
                    <a:gd name="connsiteY78" fmla="*/ 55451 h 170402"/>
                    <a:gd name="connsiteX79" fmla="*/ 34718 w 134340"/>
                    <a:gd name="connsiteY79" fmla="*/ 54440 h 170402"/>
                    <a:gd name="connsiteX80" fmla="*/ 31458 w 134340"/>
                    <a:gd name="connsiteY80" fmla="*/ 54522 h 170402"/>
                    <a:gd name="connsiteX81" fmla="*/ 28931 w 134340"/>
                    <a:gd name="connsiteY81" fmla="*/ 52876 h 170402"/>
                    <a:gd name="connsiteX82" fmla="*/ 28964 w 134340"/>
                    <a:gd name="connsiteY82" fmla="*/ 50634 h 170402"/>
                    <a:gd name="connsiteX83" fmla="*/ 29950 w 134340"/>
                    <a:gd name="connsiteY83" fmla="*/ 46209 h 170402"/>
                    <a:gd name="connsiteX84" fmla="*/ 31865 w 134340"/>
                    <a:gd name="connsiteY84" fmla="*/ 41148 h 170402"/>
                    <a:gd name="connsiteX85" fmla="*/ 31963 w 134340"/>
                    <a:gd name="connsiteY85" fmla="*/ 39746 h 170402"/>
                    <a:gd name="connsiteX86" fmla="*/ 31694 w 134340"/>
                    <a:gd name="connsiteY86" fmla="*/ 38548 h 170402"/>
                    <a:gd name="connsiteX87" fmla="*/ 31246 w 134340"/>
                    <a:gd name="connsiteY87" fmla="*/ 37538 h 170402"/>
                    <a:gd name="connsiteX88" fmla="*/ 30374 w 134340"/>
                    <a:gd name="connsiteY88" fmla="*/ 36519 h 170402"/>
                    <a:gd name="connsiteX89" fmla="*/ 29559 w 134340"/>
                    <a:gd name="connsiteY89" fmla="*/ 35313 h 170402"/>
                    <a:gd name="connsiteX90" fmla="*/ 30194 w 134340"/>
                    <a:gd name="connsiteY90" fmla="*/ 31670 h 170402"/>
                    <a:gd name="connsiteX91" fmla="*/ 31401 w 134340"/>
                    <a:gd name="connsiteY91" fmla="*/ 28092 h 170402"/>
                    <a:gd name="connsiteX92" fmla="*/ 32379 w 134340"/>
                    <a:gd name="connsiteY92" fmla="*/ 26316 h 170402"/>
                    <a:gd name="connsiteX93" fmla="*/ 33349 w 134340"/>
                    <a:gd name="connsiteY93" fmla="*/ 24311 h 170402"/>
                    <a:gd name="connsiteX94" fmla="*/ 33071 w 134340"/>
                    <a:gd name="connsiteY94" fmla="*/ 22664 h 170402"/>
                    <a:gd name="connsiteX95" fmla="*/ 31670 w 134340"/>
                    <a:gd name="connsiteY95" fmla="*/ 21866 h 170402"/>
                    <a:gd name="connsiteX96" fmla="*/ 32395 w 134340"/>
                    <a:gd name="connsiteY96" fmla="*/ 20260 h 170402"/>
                    <a:gd name="connsiteX97" fmla="*/ 33919 w 134340"/>
                    <a:gd name="connsiteY97" fmla="*/ 17563 h 170402"/>
                    <a:gd name="connsiteX98" fmla="*/ 36861 w 134340"/>
                    <a:gd name="connsiteY98" fmla="*/ 14841 h 170402"/>
                    <a:gd name="connsiteX99" fmla="*/ 39436 w 134340"/>
                    <a:gd name="connsiteY99" fmla="*/ 13023 h 170402"/>
                    <a:gd name="connsiteX100" fmla="*/ 41172 w 134340"/>
                    <a:gd name="connsiteY100" fmla="*/ 13015 h 170402"/>
                    <a:gd name="connsiteX101" fmla="*/ 44530 w 134340"/>
                    <a:gd name="connsiteY101" fmla="*/ 14458 h 170402"/>
                    <a:gd name="connsiteX102" fmla="*/ 47570 w 134340"/>
                    <a:gd name="connsiteY102" fmla="*/ 16169 h 170402"/>
                    <a:gd name="connsiteX103" fmla="*/ 49241 w 134340"/>
                    <a:gd name="connsiteY103" fmla="*/ 16267 h 170402"/>
                    <a:gd name="connsiteX104" fmla="*/ 51270 w 134340"/>
                    <a:gd name="connsiteY104" fmla="*/ 15541 h 170402"/>
                    <a:gd name="connsiteX105" fmla="*/ 55467 w 134340"/>
                    <a:gd name="connsiteY105" fmla="*/ 12518 h 170402"/>
                    <a:gd name="connsiteX106" fmla="*/ 56469 w 134340"/>
                    <a:gd name="connsiteY106" fmla="*/ 13480 h 170402"/>
                    <a:gd name="connsiteX107" fmla="*/ 57700 w 134340"/>
                    <a:gd name="connsiteY107" fmla="*/ 15322 h 170402"/>
                    <a:gd name="connsiteX108" fmla="*/ 59028 w 134340"/>
                    <a:gd name="connsiteY108" fmla="*/ 18361 h 170402"/>
                    <a:gd name="connsiteX109" fmla="*/ 61669 w 134340"/>
                    <a:gd name="connsiteY109" fmla="*/ 19747 h 170402"/>
                    <a:gd name="connsiteX110" fmla="*/ 62932 w 134340"/>
                    <a:gd name="connsiteY110" fmla="*/ 20708 h 170402"/>
                    <a:gd name="connsiteX111" fmla="*/ 63845 w 134340"/>
                    <a:gd name="connsiteY111" fmla="*/ 20994 h 170402"/>
                    <a:gd name="connsiteX112" fmla="*/ 64342 w 134340"/>
                    <a:gd name="connsiteY112" fmla="*/ 20741 h 170402"/>
                    <a:gd name="connsiteX113" fmla="*/ 65345 w 134340"/>
                    <a:gd name="connsiteY113" fmla="*/ 18353 h 170402"/>
                    <a:gd name="connsiteX114" fmla="*/ 66567 w 134340"/>
                    <a:gd name="connsiteY114" fmla="*/ 17049 h 170402"/>
                    <a:gd name="connsiteX115" fmla="*/ 68800 w 134340"/>
                    <a:gd name="connsiteY115" fmla="*/ 15403 h 170402"/>
                    <a:gd name="connsiteX116" fmla="*/ 73731 w 134340"/>
                    <a:gd name="connsiteY116" fmla="*/ 14091 h 170402"/>
                    <a:gd name="connsiteX117" fmla="*/ 77259 w 134340"/>
                    <a:gd name="connsiteY117" fmla="*/ 13700 h 170402"/>
                    <a:gd name="connsiteX118" fmla="*/ 78759 w 134340"/>
                    <a:gd name="connsiteY118" fmla="*/ 13406 h 170402"/>
                    <a:gd name="connsiteX119" fmla="*/ 81261 w 134340"/>
                    <a:gd name="connsiteY119" fmla="*/ 12640 h 170402"/>
                    <a:gd name="connsiteX120" fmla="*/ 85214 w 134340"/>
                    <a:gd name="connsiteY120" fmla="*/ 10187 h 170402"/>
                    <a:gd name="connsiteX121" fmla="*/ 89093 w 134340"/>
                    <a:gd name="connsiteY121" fmla="*/ 13349 h 170402"/>
                    <a:gd name="connsiteX122" fmla="*/ 93323 w 134340"/>
                    <a:gd name="connsiteY122" fmla="*/ 13961 h 170402"/>
                    <a:gd name="connsiteX123" fmla="*/ 97414 w 134340"/>
                    <a:gd name="connsiteY123" fmla="*/ 13936 h 170402"/>
                    <a:gd name="connsiteX124" fmla="*/ 98652 w 134340"/>
                    <a:gd name="connsiteY124" fmla="*/ 12974 h 170402"/>
                    <a:gd name="connsiteX125" fmla="*/ 99370 w 134340"/>
                    <a:gd name="connsiteY125" fmla="*/ 12241 h 170402"/>
                    <a:gd name="connsiteX126" fmla="*/ 103664 w 134340"/>
                    <a:gd name="connsiteY126" fmla="*/ 7033 h 170402"/>
                    <a:gd name="connsiteX127" fmla="*/ 109483 w 134340"/>
                    <a:gd name="connsiteY127" fmla="*/ 0 h 170402"/>
                    <a:gd name="connsiteX128" fmla="*/ 113355 w 134340"/>
                    <a:gd name="connsiteY128" fmla="*/ 9918 h 170402"/>
                    <a:gd name="connsiteX129" fmla="*/ 114683 w 134340"/>
                    <a:gd name="connsiteY129" fmla="*/ 10505 h 170402"/>
                    <a:gd name="connsiteX130" fmla="*/ 114495 w 134340"/>
                    <a:gd name="connsiteY130" fmla="*/ 11361 h 170402"/>
                    <a:gd name="connsiteX131" fmla="*/ 114169 w 134340"/>
                    <a:gd name="connsiteY131" fmla="*/ 12200 h 170402"/>
                    <a:gd name="connsiteX132" fmla="*/ 116696 w 134340"/>
                    <a:gd name="connsiteY132" fmla="*/ 14596 h 170402"/>
                    <a:gd name="connsiteX133" fmla="*/ 119826 w 134340"/>
                    <a:gd name="connsiteY133" fmla="*/ 15843 h 170402"/>
                    <a:gd name="connsiteX134" fmla="*/ 120925 w 134340"/>
                    <a:gd name="connsiteY134" fmla="*/ 17065 h 170402"/>
                    <a:gd name="connsiteX135" fmla="*/ 121031 w 134340"/>
                    <a:gd name="connsiteY135" fmla="*/ 18394 h 170402"/>
                    <a:gd name="connsiteX136" fmla="*/ 119980 w 134340"/>
                    <a:gd name="connsiteY136" fmla="*/ 24197 h 170402"/>
                    <a:gd name="connsiteX137" fmla="*/ 120176 w 134340"/>
                    <a:gd name="connsiteY137" fmla="*/ 25851 h 170402"/>
                    <a:gd name="connsiteX138" fmla="*/ 121186 w 134340"/>
                    <a:gd name="connsiteY138" fmla="*/ 31670 h 170402"/>
                    <a:gd name="connsiteX139" fmla="*/ 123028 w 134340"/>
                    <a:gd name="connsiteY139" fmla="*/ 32974 h 170402"/>
                    <a:gd name="connsiteX140" fmla="*/ 124682 w 134340"/>
                    <a:gd name="connsiteY140" fmla="*/ 38817 h 170402"/>
                    <a:gd name="connsiteX141" fmla="*/ 128016 w 134340"/>
                    <a:gd name="connsiteY141" fmla="*/ 41295 h 170402"/>
                    <a:gd name="connsiteX142" fmla="*/ 128489 w 134340"/>
                    <a:gd name="connsiteY142" fmla="*/ 42012 h 170402"/>
                    <a:gd name="connsiteX143" fmla="*/ 129255 w 134340"/>
                    <a:gd name="connsiteY143" fmla="*/ 44848 h 170402"/>
                    <a:gd name="connsiteX144" fmla="*/ 130273 w 134340"/>
                    <a:gd name="connsiteY144" fmla="*/ 47953 h 170402"/>
                    <a:gd name="connsiteX145" fmla="*/ 131080 w 134340"/>
                    <a:gd name="connsiteY145" fmla="*/ 48670 h 170402"/>
                    <a:gd name="connsiteX146" fmla="*/ 131561 w 134340"/>
                    <a:gd name="connsiteY146" fmla="*/ 48858 h 170402"/>
                    <a:gd name="connsiteX147" fmla="*/ 132547 w 134340"/>
                    <a:gd name="connsiteY147" fmla="*/ 52150 h 170402"/>
                    <a:gd name="connsiteX148" fmla="*/ 131977 w 134340"/>
                    <a:gd name="connsiteY148" fmla="*/ 54000 h 170402"/>
                    <a:gd name="connsiteX149" fmla="*/ 132751 w 134340"/>
                    <a:gd name="connsiteY149" fmla="*/ 59624 h 170402"/>
                    <a:gd name="connsiteX150" fmla="*/ 133990 w 134340"/>
                    <a:gd name="connsiteY150" fmla="*/ 64652 h 170402"/>
                    <a:gd name="connsiteX151" fmla="*/ 134324 w 134340"/>
                    <a:gd name="connsiteY151" fmla="*/ 70650 h 170402"/>
                    <a:gd name="connsiteX152" fmla="*/ 134340 w 134340"/>
                    <a:gd name="connsiteY152" fmla="*/ 73299 h 170402"/>
                    <a:gd name="connsiteX153" fmla="*/ 134291 w 134340"/>
                    <a:gd name="connsiteY153" fmla="*/ 74912 h 170402"/>
                    <a:gd name="connsiteX154" fmla="*/ 134022 w 134340"/>
                    <a:gd name="connsiteY154" fmla="*/ 77194 h 170402"/>
                    <a:gd name="connsiteX155" fmla="*/ 133419 w 134340"/>
                    <a:gd name="connsiteY155" fmla="*/ 78515 h 170402"/>
                    <a:gd name="connsiteX156" fmla="*/ 132360 w 134340"/>
                    <a:gd name="connsiteY156" fmla="*/ 79794 h 170402"/>
                    <a:gd name="connsiteX157" fmla="*/ 131178 w 134340"/>
                    <a:gd name="connsiteY157" fmla="*/ 81815 h 170402"/>
                    <a:gd name="connsiteX158" fmla="*/ 130151 w 134340"/>
                    <a:gd name="connsiteY158" fmla="*/ 83983 h 170402"/>
                    <a:gd name="connsiteX159" fmla="*/ 129507 w 134340"/>
                    <a:gd name="connsiteY159" fmla="*/ 85042 h 170402"/>
                    <a:gd name="connsiteX160" fmla="*/ 130013 w 134340"/>
                    <a:gd name="connsiteY160" fmla="*/ 88286 h 170402"/>
                    <a:gd name="connsiteX161" fmla="*/ 129882 w 134340"/>
                    <a:gd name="connsiteY161" fmla="*/ 89142 h 170402"/>
                    <a:gd name="connsiteX162" fmla="*/ 129605 w 134340"/>
                    <a:gd name="connsiteY162" fmla="*/ 89549 h 170402"/>
                    <a:gd name="connsiteX163" fmla="*/ 128097 w 134340"/>
                    <a:gd name="connsiteY163" fmla="*/ 90046 h 170402"/>
                    <a:gd name="connsiteX164" fmla="*/ 126174 w 134340"/>
                    <a:gd name="connsiteY164" fmla="*/ 90910 h 170402"/>
                    <a:gd name="connsiteX165" fmla="*/ 125000 w 134340"/>
                    <a:gd name="connsiteY165" fmla="*/ 91774 h 170402"/>
                    <a:gd name="connsiteX166" fmla="*/ 123346 w 134340"/>
                    <a:gd name="connsiteY166" fmla="*/ 93420 h 170402"/>
                    <a:gd name="connsiteX167" fmla="*/ 122018 w 134340"/>
                    <a:gd name="connsiteY167" fmla="*/ 95197 h 170402"/>
                    <a:gd name="connsiteX168" fmla="*/ 120265 w 134340"/>
                    <a:gd name="connsiteY168" fmla="*/ 100437 h 170402"/>
                    <a:gd name="connsiteX169" fmla="*/ 117331 w 134340"/>
                    <a:gd name="connsiteY169" fmla="*/ 104504 h 170402"/>
                    <a:gd name="connsiteX170" fmla="*/ 116835 w 134340"/>
                    <a:gd name="connsiteY170" fmla="*/ 105857 h 170402"/>
                    <a:gd name="connsiteX171" fmla="*/ 114063 w 134340"/>
                    <a:gd name="connsiteY171" fmla="*/ 108285 h 170402"/>
                    <a:gd name="connsiteX172" fmla="*/ 112849 w 134340"/>
                    <a:gd name="connsiteY172" fmla="*/ 111276 h 170402"/>
                    <a:gd name="connsiteX173" fmla="*/ 112067 w 134340"/>
                    <a:gd name="connsiteY173" fmla="*/ 114952 h 170402"/>
                    <a:gd name="connsiteX174" fmla="*/ 111007 w 134340"/>
                    <a:gd name="connsiteY174" fmla="*/ 117584 h 170402"/>
                    <a:gd name="connsiteX175" fmla="*/ 108668 w 134340"/>
                    <a:gd name="connsiteY175" fmla="*/ 121203 h 170402"/>
                    <a:gd name="connsiteX176" fmla="*/ 108122 w 134340"/>
                    <a:gd name="connsiteY176" fmla="*/ 126916 h 170402"/>
                    <a:gd name="connsiteX177" fmla="*/ 108204 w 134340"/>
                    <a:gd name="connsiteY177" fmla="*/ 138317 h 170402"/>
                    <a:gd name="connsiteX178" fmla="*/ 107592 w 134340"/>
                    <a:gd name="connsiteY178" fmla="*/ 151300 h 17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134340" h="170402">
                      <a:moveTo>
                        <a:pt x="107666" y="156410"/>
                      </a:moveTo>
                      <a:lnTo>
                        <a:pt x="104960" y="156410"/>
                      </a:lnTo>
                      <a:lnTo>
                        <a:pt x="100559" y="156410"/>
                      </a:lnTo>
                      <a:lnTo>
                        <a:pt x="96150" y="156410"/>
                      </a:lnTo>
                      <a:lnTo>
                        <a:pt x="91733" y="156410"/>
                      </a:lnTo>
                      <a:lnTo>
                        <a:pt x="87333" y="156410"/>
                      </a:lnTo>
                      <a:lnTo>
                        <a:pt x="82923" y="156410"/>
                      </a:lnTo>
                      <a:lnTo>
                        <a:pt x="78506" y="156410"/>
                      </a:lnTo>
                      <a:lnTo>
                        <a:pt x="74105" y="156410"/>
                      </a:lnTo>
                      <a:lnTo>
                        <a:pt x="69697" y="156410"/>
                      </a:lnTo>
                      <a:lnTo>
                        <a:pt x="65287" y="156410"/>
                      </a:lnTo>
                      <a:lnTo>
                        <a:pt x="60870" y="156410"/>
                      </a:lnTo>
                      <a:lnTo>
                        <a:pt x="56469" y="156410"/>
                      </a:lnTo>
                      <a:lnTo>
                        <a:pt x="52060" y="156410"/>
                      </a:lnTo>
                      <a:lnTo>
                        <a:pt x="47643" y="156410"/>
                      </a:lnTo>
                      <a:lnTo>
                        <a:pt x="43242" y="156410"/>
                      </a:lnTo>
                      <a:lnTo>
                        <a:pt x="38825" y="156410"/>
                      </a:lnTo>
                      <a:lnTo>
                        <a:pt x="34424" y="156410"/>
                      </a:lnTo>
                      <a:lnTo>
                        <a:pt x="31824" y="156410"/>
                      </a:lnTo>
                      <a:lnTo>
                        <a:pt x="31287" y="156304"/>
                      </a:lnTo>
                      <a:lnTo>
                        <a:pt x="30936" y="156190"/>
                      </a:lnTo>
                      <a:lnTo>
                        <a:pt x="29266" y="156556"/>
                      </a:lnTo>
                      <a:lnTo>
                        <a:pt x="27546" y="157877"/>
                      </a:lnTo>
                      <a:lnTo>
                        <a:pt x="25721" y="158431"/>
                      </a:lnTo>
                      <a:lnTo>
                        <a:pt x="23764" y="158219"/>
                      </a:lnTo>
                      <a:lnTo>
                        <a:pt x="23512" y="158349"/>
                      </a:lnTo>
                      <a:lnTo>
                        <a:pt x="22518" y="158308"/>
                      </a:lnTo>
                      <a:lnTo>
                        <a:pt x="21083" y="158227"/>
                      </a:lnTo>
                      <a:lnTo>
                        <a:pt x="19795" y="158569"/>
                      </a:lnTo>
                      <a:lnTo>
                        <a:pt x="18809" y="159727"/>
                      </a:lnTo>
                      <a:lnTo>
                        <a:pt x="17807" y="161691"/>
                      </a:lnTo>
                      <a:lnTo>
                        <a:pt x="15998" y="163956"/>
                      </a:lnTo>
                      <a:lnTo>
                        <a:pt x="14596" y="165961"/>
                      </a:lnTo>
                      <a:lnTo>
                        <a:pt x="13382" y="167379"/>
                      </a:lnTo>
                      <a:lnTo>
                        <a:pt x="10627" y="169726"/>
                      </a:lnTo>
                      <a:lnTo>
                        <a:pt x="9136" y="170403"/>
                      </a:lnTo>
                      <a:lnTo>
                        <a:pt x="8386" y="170305"/>
                      </a:lnTo>
                      <a:lnTo>
                        <a:pt x="7929" y="169873"/>
                      </a:lnTo>
                      <a:lnTo>
                        <a:pt x="7066" y="166866"/>
                      </a:lnTo>
                      <a:lnTo>
                        <a:pt x="6536" y="166385"/>
                      </a:lnTo>
                      <a:lnTo>
                        <a:pt x="1190" y="167933"/>
                      </a:lnTo>
                      <a:lnTo>
                        <a:pt x="375" y="167958"/>
                      </a:lnTo>
                      <a:lnTo>
                        <a:pt x="440" y="167037"/>
                      </a:lnTo>
                      <a:lnTo>
                        <a:pt x="49" y="159971"/>
                      </a:lnTo>
                      <a:lnTo>
                        <a:pt x="0" y="155668"/>
                      </a:lnTo>
                      <a:lnTo>
                        <a:pt x="692" y="152962"/>
                      </a:lnTo>
                      <a:lnTo>
                        <a:pt x="1100" y="149841"/>
                      </a:lnTo>
                      <a:lnTo>
                        <a:pt x="1149" y="147095"/>
                      </a:lnTo>
                      <a:lnTo>
                        <a:pt x="2127" y="142433"/>
                      </a:lnTo>
                      <a:lnTo>
                        <a:pt x="1760" y="139621"/>
                      </a:lnTo>
                      <a:lnTo>
                        <a:pt x="3040" y="129801"/>
                      </a:lnTo>
                      <a:lnTo>
                        <a:pt x="3374" y="128203"/>
                      </a:lnTo>
                      <a:lnTo>
                        <a:pt x="3863" y="123452"/>
                      </a:lnTo>
                      <a:lnTo>
                        <a:pt x="4661" y="121993"/>
                      </a:lnTo>
                      <a:lnTo>
                        <a:pt x="5362" y="121423"/>
                      </a:lnTo>
                      <a:lnTo>
                        <a:pt x="6267" y="118505"/>
                      </a:lnTo>
                      <a:lnTo>
                        <a:pt x="8027" y="113860"/>
                      </a:lnTo>
                      <a:lnTo>
                        <a:pt x="9234" y="111456"/>
                      </a:lnTo>
                      <a:lnTo>
                        <a:pt x="8972" y="106224"/>
                      </a:lnTo>
                      <a:lnTo>
                        <a:pt x="9176" y="102662"/>
                      </a:lnTo>
                      <a:lnTo>
                        <a:pt x="9453" y="101872"/>
                      </a:lnTo>
                      <a:lnTo>
                        <a:pt x="12037" y="100543"/>
                      </a:lnTo>
                      <a:lnTo>
                        <a:pt x="15403" y="97259"/>
                      </a:lnTo>
                      <a:lnTo>
                        <a:pt x="16821" y="93380"/>
                      </a:lnTo>
                      <a:lnTo>
                        <a:pt x="18826" y="90910"/>
                      </a:lnTo>
                      <a:lnTo>
                        <a:pt x="22730" y="89305"/>
                      </a:lnTo>
                      <a:lnTo>
                        <a:pt x="22738" y="89297"/>
                      </a:lnTo>
                      <a:lnTo>
                        <a:pt x="34245" y="76013"/>
                      </a:lnTo>
                      <a:lnTo>
                        <a:pt x="39608" y="68849"/>
                      </a:lnTo>
                      <a:lnTo>
                        <a:pt x="41930" y="65181"/>
                      </a:lnTo>
                      <a:lnTo>
                        <a:pt x="42020" y="63869"/>
                      </a:lnTo>
                      <a:lnTo>
                        <a:pt x="42460" y="62134"/>
                      </a:lnTo>
                      <a:lnTo>
                        <a:pt x="41531" y="60789"/>
                      </a:lnTo>
                      <a:lnTo>
                        <a:pt x="40414" y="59566"/>
                      </a:lnTo>
                      <a:lnTo>
                        <a:pt x="40048" y="58425"/>
                      </a:lnTo>
                      <a:lnTo>
                        <a:pt x="39086" y="57871"/>
                      </a:lnTo>
                      <a:lnTo>
                        <a:pt x="37700" y="57888"/>
                      </a:lnTo>
                      <a:lnTo>
                        <a:pt x="36796" y="57064"/>
                      </a:lnTo>
                      <a:lnTo>
                        <a:pt x="35753" y="55451"/>
                      </a:lnTo>
                      <a:lnTo>
                        <a:pt x="34718" y="54440"/>
                      </a:lnTo>
                      <a:lnTo>
                        <a:pt x="31458" y="54522"/>
                      </a:lnTo>
                      <a:lnTo>
                        <a:pt x="28931" y="52876"/>
                      </a:lnTo>
                      <a:lnTo>
                        <a:pt x="28964" y="50634"/>
                      </a:lnTo>
                      <a:lnTo>
                        <a:pt x="29950" y="46209"/>
                      </a:lnTo>
                      <a:lnTo>
                        <a:pt x="31865" y="41148"/>
                      </a:lnTo>
                      <a:lnTo>
                        <a:pt x="31963" y="39746"/>
                      </a:lnTo>
                      <a:lnTo>
                        <a:pt x="31694" y="38548"/>
                      </a:lnTo>
                      <a:lnTo>
                        <a:pt x="31246" y="37538"/>
                      </a:lnTo>
                      <a:lnTo>
                        <a:pt x="30374" y="36519"/>
                      </a:lnTo>
                      <a:lnTo>
                        <a:pt x="29559" y="35313"/>
                      </a:lnTo>
                      <a:lnTo>
                        <a:pt x="30194" y="31670"/>
                      </a:lnTo>
                      <a:lnTo>
                        <a:pt x="31401" y="28092"/>
                      </a:lnTo>
                      <a:lnTo>
                        <a:pt x="32379" y="26316"/>
                      </a:lnTo>
                      <a:lnTo>
                        <a:pt x="33349" y="24311"/>
                      </a:lnTo>
                      <a:lnTo>
                        <a:pt x="33071" y="22664"/>
                      </a:lnTo>
                      <a:lnTo>
                        <a:pt x="31670" y="21866"/>
                      </a:lnTo>
                      <a:lnTo>
                        <a:pt x="32395" y="20260"/>
                      </a:lnTo>
                      <a:lnTo>
                        <a:pt x="33919" y="17563"/>
                      </a:lnTo>
                      <a:lnTo>
                        <a:pt x="36861" y="14841"/>
                      </a:lnTo>
                      <a:lnTo>
                        <a:pt x="39436" y="13023"/>
                      </a:lnTo>
                      <a:lnTo>
                        <a:pt x="41172" y="13015"/>
                      </a:lnTo>
                      <a:lnTo>
                        <a:pt x="44530" y="14458"/>
                      </a:lnTo>
                      <a:lnTo>
                        <a:pt x="47570" y="16169"/>
                      </a:lnTo>
                      <a:lnTo>
                        <a:pt x="49241" y="16267"/>
                      </a:lnTo>
                      <a:lnTo>
                        <a:pt x="51270" y="15541"/>
                      </a:lnTo>
                      <a:lnTo>
                        <a:pt x="55467" y="12518"/>
                      </a:lnTo>
                      <a:lnTo>
                        <a:pt x="56469" y="13480"/>
                      </a:lnTo>
                      <a:lnTo>
                        <a:pt x="57700" y="15322"/>
                      </a:lnTo>
                      <a:lnTo>
                        <a:pt x="59028" y="18361"/>
                      </a:lnTo>
                      <a:lnTo>
                        <a:pt x="61669" y="19747"/>
                      </a:lnTo>
                      <a:lnTo>
                        <a:pt x="62932" y="20708"/>
                      </a:lnTo>
                      <a:lnTo>
                        <a:pt x="63845" y="20994"/>
                      </a:lnTo>
                      <a:lnTo>
                        <a:pt x="64342" y="20741"/>
                      </a:lnTo>
                      <a:lnTo>
                        <a:pt x="65345" y="18353"/>
                      </a:lnTo>
                      <a:lnTo>
                        <a:pt x="66567" y="17049"/>
                      </a:lnTo>
                      <a:lnTo>
                        <a:pt x="68800" y="15403"/>
                      </a:lnTo>
                      <a:lnTo>
                        <a:pt x="73731" y="14091"/>
                      </a:lnTo>
                      <a:lnTo>
                        <a:pt x="77259" y="13700"/>
                      </a:lnTo>
                      <a:lnTo>
                        <a:pt x="78759" y="13406"/>
                      </a:lnTo>
                      <a:lnTo>
                        <a:pt x="81261" y="12640"/>
                      </a:lnTo>
                      <a:lnTo>
                        <a:pt x="85214" y="10187"/>
                      </a:lnTo>
                      <a:lnTo>
                        <a:pt x="89093" y="13349"/>
                      </a:lnTo>
                      <a:lnTo>
                        <a:pt x="93323" y="13961"/>
                      </a:lnTo>
                      <a:lnTo>
                        <a:pt x="97414" y="13936"/>
                      </a:lnTo>
                      <a:lnTo>
                        <a:pt x="98652" y="12974"/>
                      </a:lnTo>
                      <a:lnTo>
                        <a:pt x="99370" y="12241"/>
                      </a:lnTo>
                      <a:lnTo>
                        <a:pt x="103664" y="7033"/>
                      </a:lnTo>
                      <a:lnTo>
                        <a:pt x="109483" y="0"/>
                      </a:lnTo>
                      <a:lnTo>
                        <a:pt x="113355" y="9918"/>
                      </a:lnTo>
                      <a:lnTo>
                        <a:pt x="114683" y="10505"/>
                      </a:lnTo>
                      <a:lnTo>
                        <a:pt x="114495" y="11361"/>
                      </a:lnTo>
                      <a:lnTo>
                        <a:pt x="114169" y="12200"/>
                      </a:lnTo>
                      <a:lnTo>
                        <a:pt x="116696" y="14596"/>
                      </a:lnTo>
                      <a:lnTo>
                        <a:pt x="119826" y="15843"/>
                      </a:lnTo>
                      <a:lnTo>
                        <a:pt x="120925" y="17065"/>
                      </a:lnTo>
                      <a:lnTo>
                        <a:pt x="121031" y="18394"/>
                      </a:lnTo>
                      <a:lnTo>
                        <a:pt x="119980" y="24197"/>
                      </a:lnTo>
                      <a:lnTo>
                        <a:pt x="120176" y="25851"/>
                      </a:lnTo>
                      <a:lnTo>
                        <a:pt x="121186" y="31670"/>
                      </a:lnTo>
                      <a:lnTo>
                        <a:pt x="123028" y="32974"/>
                      </a:lnTo>
                      <a:lnTo>
                        <a:pt x="124682" y="38817"/>
                      </a:lnTo>
                      <a:lnTo>
                        <a:pt x="128016" y="41295"/>
                      </a:lnTo>
                      <a:lnTo>
                        <a:pt x="128489" y="42012"/>
                      </a:lnTo>
                      <a:lnTo>
                        <a:pt x="129255" y="44848"/>
                      </a:lnTo>
                      <a:lnTo>
                        <a:pt x="130273" y="47953"/>
                      </a:lnTo>
                      <a:lnTo>
                        <a:pt x="131080" y="48670"/>
                      </a:lnTo>
                      <a:lnTo>
                        <a:pt x="131561" y="48858"/>
                      </a:lnTo>
                      <a:lnTo>
                        <a:pt x="132547" y="52150"/>
                      </a:lnTo>
                      <a:lnTo>
                        <a:pt x="131977" y="54000"/>
                      </a:lnTo>
                      <a:lnTo>
                        <a:pt x="132751" y="59624"/>
                      </a:lnTo>
                      <a:lnTo>
                        <a:pt x="133990" y="64652"/>
                      </a:lnTo>
                      <a:lnTo>
                        <a:pt x="134324" y="70650"/>
                      </a:lnTo>
                      <a:lnTo>
                        <a:pt x="134340" y="73299"/>
                      </a:lnTo>
                      <a:lnTo>
                        <a:pt x="134291" y="74912"/>
                      </a:lnTo>
                      <a:lnTo>
                        <a:pt x="134022" y="77194"/>
                      </a:lnTo>
                      <a:lnTo>
                        <a:pt x="133419" y="78515"/>
                      </a:lnTo>
                      <a:lnTo>
                        <a:pt x="132360" y="79794"/>
                      </a:lnTo>
                      <a:lnTo>
                        <a:pt x="131178" y="81815"/>
                      </a:lnTo>
                      <a:lnTo>
                        <a:pt x="130151" y="83983"/>
                      </a:lnTo>
                      <a:lnTo>
                        <a:pt x="129507" y="85042"/>
                      </a:lnTo>
                      <a:lnTo>
                        <a:pt x="130013" y="88286"/>
                      </a:lnTo>
                      <a:lnTo>
                        <a:pt x="129882" y="89142"/>
                      </a:lnTo>
                      <a:lnTo>
                        <a:pt x="129605" y="89549"/>
                      </a:lnTo>
                      <a:lnTo>
                        <a:pt x="128097" y="90046"/>
                      </a:lnTo>
                      <a:lnTo>
                        <a:pt x="126174" y="90910"/>
                      </a:lnTo>
                      <a:lnTo>
                        <a:pt x="125000" y="91774"/>
                      </a:lnTo>
                      <a:lnTo>
                        <a:pt x="123346" y="93420"/>
                      </a:lnTo>
                      <a:lnTo>
                        <a:pt x="122018" y="95197"/>
                      </a:lnTo>
                      <a:lnTo>
                        <a:pt x="120265" y="100437"/>
                      </a:lnTo>
                      <a:lnTo>
                        <a:pt x="117331" y="104504"/>
                      </a:lnTo>
                      <a:lnTo>
                        <a:pt x="116835" y="105857"/>
                      </a:lnTo>
                      <a:lnTo>
                        <a:pt x="114063" y="108285"/>
                      </a:lnTo>
                      <a:lnTo>
                        <a:pt x="112849" y="111276"/>
                      </a:lnTo>
                      <a:lnTo>
                        <a:pt x="112067" y="114952"/>
                      </a:lnTo>
                      <a:lnTo>
                        <a:pt x="111007" y="117584"/>
                      </a:lnTo>
                      <a:lnTo>
                        <a:pt x="108668" y="121203"/>
                      </a:lnTo>
                      <a:lnTo>
                        <a:pt x="108122" y="126916"/>
                      </a:lnTo>
                      <a:lnTo>
                        <a:pt x="108204" y="138317"/>
                      </a:lnTo>
                      <a:lnTo>
                        <a:pt x="107592" y="151300"/>
                      </a:lnTo>
                      <a:close/>
                    </a:path>
                  </a:pathLst>
                </a:custGeom>
                <a:solidFill>
                  <a:srgbClr val="D6D6D2"/>
                </a:solidFill>
                <a:ln w="6112" cap="rnd">
                  <a:solidFill>
                    <a:srgbClr val="FFFFFF"/>
                  </a:solidFill>
                  <a:prstDash val="solid"/>
                  <a:round/>
                </a:ln>
              </p:spPr>
              <p:txBody>
                <a:bodyPr rtlCol="0" anchor="ctr"/>
                <a:lstStyle/>
                <a:p>
                  <a:endParaRPr lang="en-US"/>
                </a:p>
              </p:txBody>
            </p:sp>
            <p:sp>
              <p:nvSpPr>
                <p:cNvPr id="556" name="Freeform: Shape 555">
                  <a:extLst>
                    <a:ext uri="{FF2B5EF4-FFF2-40B4-BE49-F238E27FC236}">
                      <a16:creationId xmlns:a16="http://schemas.microsoft.com/office/drawing/2014/main" id="{4A0EE007-E5A9-4A10-865A-B77F5B2D282E}"/>
                    </a:ext>
                  </a:extLst>
                </p:cNvPr>
                <p:cNvSpPr/>
                <p:nvPr/>
              </p:nvSpPr>
              <p:spPr>
                <a:xfrm>
                  <a:off x="6670849" y="4554341"/>
                  <a:ext cx="276316" cy="322207"/>
                </a:xfrm>
                <a:custGeom>
                  <a:avLst/>
                  <a:gdLst>
                    <a:gd name="connsiteX0" fmla="*/ 37269 w 276316"/>
                    <a:gd name="connsiteY0" fmla="*/ 65 h 322207"/>
                    <a:gd name="connsiteX1" fmla="*/ 37798 w 276316"/>
                    <a:gd name="connsiteY1" fmla="*/ 171 h 322207"/>
                    <a:gd name="connsiteX2" fmla="*/ 40398 w 276316"/>
                    <a:gd name="connsiteY2" fmla="*/ 171 h 322207"/>
                    <a:gd name="connsiteX3" fmla="*/ 44799 w 276316"/>
                    <a:gd name="connsiteY3" fmla="*/ 171 h 322207"/>
                    <a:gd name="connsiteX4" fmla="*/ 49216 w 276316"/>
                    <a:gd name="connsiteY4" fmla="*/ 171 h 322207"/>
                    <a:gd name="connsiteX5" fmla="*/ 53617 w 276316"/>
                    <a:gd name="connsiteY5" fmla="*/ 171 h 322207"/>
                    <a:gd name="connsiteX6" fmla="*/ 58034 w 276316"/>
                    <a:gd name="connsiteY6" fmla="*/ 171 h 322207"/>
                    <a:gd name="connsiteX7" fmla="*/ 62443 w 276316"/>
                    <a:gd name="connsiteY7" fmla="*/ 171 h 322207"/>
                    <a:gd name="connsiteX8" fmla="*/ 66844 w 276316"/>
                    <a:gd name="connsiteY8" fmla="*/ 171 h 322207"/>
                    <a:gd name="connsiteX9" fmla="*/ 71261 w 276316"/>
                    <a:gd name="connsiteY9" fmla="*/ 171 h 322207"/>
                    <a:gd name="connsiteX10" fmla="*/ 75670 w 276316"/>
                    <a:gd name="connsiteY10" fmla="*/ 171 h 322207"/>
                    <a:gd name="connsiteX11" fmla="*/ 80079 w 276316"/>
                    <a:gd name="connsiteY11" fmla="*/ 171 h 322207"/>
                    <a:gd name="connsiteX12" fmla="*/ 84480 w 276316"/>
                    <a:gd name="connsiteY12" fmla="*/ 171 h 322207"/>
                    <a:gd name="connsiteX13" fmla="*/ 88897 w 276316"/>
                    <a:gd name="connsiteY13" fmla="*/ 171 h 322207"/>
                    <a:gd name="connsiteX14" fmla="*/ 93306 w 276316"/>
                    <a:gd name="connsiteY14" fmla="*/ 171 h 322207"/>
                    <a:gd name="connsiteX15" fmla="*/ 97707 w 276316"/>
                    <a:gd name="connsiteY15" fmla="*/ 171 h 322207"/>
                    <a:gd name="connsiteX16" fmla="*/ 102124 w 276316"/>
                    <a:gd name="connsiteY16" fmla="*/ 171 h 322207"/>
                    <a:gd name="connsiteX17" fmla="*/ 106533 w 276316"/>
                    <a:gd name="connsiteY17" fmla="*/ 171 h 322207"/>
                    <a:gd name="connsiteX18" fmla="*/ 110934 w 276316"/>
                    <a:gd name="connsiteY18" fmla="*/ 171 h 322207"/>
                    <a:gd name="connsiteX19" fmla="*/ 113640 w 276316"/>
                    <a:gd name="connsiteY19" fmla="*/ 171 h 322207"/>
                    <a:gd name="connsiteX20" fmla="*/ 115539 w 276316"/>
                    <a:gd name="connsiteY20" fmla="*/ 171 h 322207"/>
                    <a:gd name="connsiteX21" fmla="*/ 117324 w 276316"/>
                    <a:gd name="connsiteY21" fmla="*/ 1304 h 322207"/>
                    <a:gd name="connsiteX22" fmla="*/ 119312 w 276316"/>
                    <a:gd name="connsiteY22" fmla="*/ 2641 h 322207"/>
                    <a:gd name="connsiteX23" fmla="*/ 124593 w 276316"/>
                    <a:gd name="connsiteY23" fmla="*/ 6210 h 322207"/>
                    <a:gd name="connsiteX24" fmla="*/ 129874 w 276316"/>
                    <a:gd name="connsiteY24" fmla="*/ 9780 h 322207"/>
                    <a:gd name="connsiteX25" fmla="*/ 135155 w 276316"/>
                    <a:gd name="connsiteY25" fmla="*/ 13349 h 322207"/>
                    <a:gd name="connsiteX26" fmla="*/ 140436 w 276316"/>
                    <a:gd name="connsiteY26" fmla="*/ 16911 h 322207"/>
                    <a:gd name="connsiteX27" fmla="*/ 145725 w 276316"/>
                    <a:gd name="connsiteY27" fmla="*/ 20472 h 322207"/>
                    <a:gd name="connsiteX28" fmla="*/ 151006 w 276316"/>
                    <a:gd name="connsiteY28" fmla="*/ 24034 h 322207"/>
                    <a:gd name="connsiteX29" fmla="*/ 156295 w 276316"/>
                    <a:gd name="connsiteY29" fmla="*/ 27603 h 322207"/>
                    <a:gd name="connsiteX30" fmla="*/ 161577 w 276316"/>
                    <a:gd name="connsiteY30" fmla="*/ 31173 h 322207"/>
                    <a:gd name="connsiteX31" fmla="*/ 166858 w 276316"/>
                    <a:gd name="connsiteY31" fmla="*/ 34734 h 322207"/>
                    <a:gd name="connsiteX32" fmla="*/ 172130 w 276316"/>
                    <a:gd name="connsiteY32" fmla="*/ 38304 h 322207"/>
                    <a:gd name="connsiteX33" fmla="*/ 177428 w 276316"/>
                    <a:gd name="connsiteY33" fmla="*/ 41865 h 322207"/>
                    <a:gd name="connsiteX34" fmla="*/ 182709 w 276316"/>
                    <a:gd name="connsiteY34" fmla="*/ 45435 h 322207"/>
                    <a:gd name="connsiteX35" fmla="*/ 187990 w 276316"/>
                    <a:gd name="connsiteY35" fmla="*/ 49004 h 322207"/>
                    <a:gd name="connsiteX36" fmla="*/ 193271 w 276316"/>
                    <a:gd name="connsiteY36" fmla="*/ 52574 h 322207"/>
                    <a:gd name="connsiteX37" fmla="*/ 198552 w 276316"/>
                    <a:gd name="connsiteY37" fmla="*/ 56144 h 322207"/>
                    <a:gd name="connsiteX38" fmla="*/ 203833 w 276316"/>
                    <a:gd name="connsiteY38" fmla="*/ 59713 h 322207"/>
                    <a:gd name="connsiteX39" fmla="*/ 206359 w 276316"/>
                    <a:gd name="connsiteY39" fmla="*/ 61408 h 322207"/>
                    <a:gd name="connsiteX40" fmla="*/ 206751 w 276316"/>
                    <a:gd name="connsiteY40" fmla="*/ 62150 h 322207"/>
                    <a:gd name="connsiteX41" fmla="*/ 207190 w 276316"/>
                    <a:gd name="connsiteY41" fmla="*/ 65394 h 322207"/>
                    <a:gd name="connsiteX42" fmla="*/ 207460 w 276316"/>
                    <a:gd name="connsiteY42" fmla="*/ 67423 h 322207"/>
                    <a:gd name="connsiteX43" fmla="*/ 207305 w 276316"/>
                    <a:gd name="connsiteY43" fmla="*/ 69216 h 322207"/>
                    <a:gd name="connsiteX44" fmla="*/ 205911 w 276316"/>
                    <a:gd name="connsiteY44" fmla="*/ 72256 h 322207"/>
                    <a:gd name="connsiteX45" fmla="*/ 205487 w 276316"/>
                    <a:gd name="connsiteY45" fmla="*/ 73837 h 322207"/>
                    <a:gd name="connsiteX46" fmla="*/ 205479 w 276316"/>
                    <a:gd name="connsiteY46" fmla="*/ 74937 h 322207"/>
                    <a:gd name="connsiteX47" fmla="*/ 205822 w 276316"/>
                    <a:gd name="connsiteY47" fmla="*/ 75385 h 322207"/>
                    <a:gd name="connsiteX48" fmla="*/ 207011 w 276316"/>
                    <a:gd name="connsiteY48" fmla="*/ 75540 h 322207"/>
                    <a:gd name="connsiteX49" fmla="*/ 208038 w 276316"/>
                    <a:gd name="connsiteY49" fmla="*/ 76257 h 322207"/>
                    <a:gd name="connsiteX50" fmla="*/ 208413 w 276316"/>
                    <a:gd name="connsiteY50" fmla="*/ 76828 h 322207"/>
                    <a:gd name="connsiteX51" fmla="*/ 209187 w 276316"/>
                    <a:gd name="connsiteY51" fmla="*/ 79109 h 322207"/>
                    <a:gd name="connsiteX52" fmla="*/ 210173 w 276316"/>
                    <a:gd name="connsiteY52" fmla="*/ 80259 h 322207"/>
                    <a:gd name="connsiteX53" fmla="*/ 212398 w 276316"/>
                    <a:gd name="connsiteY53" fmla="*/ 82198 h 322207"/>
                    <a:gd name="connsiteX54" fmla="*/ 216204 w 276316"/>
                    <a:gd name="connsiteY54" fmla="*/ 85515 h 322207"/>
                    <a:gd name="connsiteX55" fmla="*/ 220018 w 276316"/>
                    <a:gd name="connsiteY55" fmla="*/ 88824 h 322207"/>
                    <a:gd name="connsiteX56" fmla="*/ 223824 w 276316"/>
                    <a:gd name="connsiteY56" fmla="*/ 92133 h 322207"/>
                    <a:gd name="connsiteX57" fmla="*/ 227638 w 276316"/>
                    <a:gd name="connsiteY57" fmla="*/ 95450 h 322207"/>
                    <a:gd name="connsiteX58" fmla="*/ 231452 w 276316"/>
                    <a:gd name="connsiteY58" fmla="*/ 98767 h 322207"/>
                    <a:gd name="connsiteX59" fmla="*/ 235258 w 276316"/>
                    <a:gd name="connsiteY59" fmla="*/ 102075 h 322207"/>
                    <a:gd name="connsiteX60" fmla="*/ 239064 w 276316"/>
                    <a:gd name="connsiteY60" fmla="*/ 105384 h 322207"/>
                    <a:gd name="connsiteX61" fmla="*/ 242878 w 276316"/>
                    <a:gd name="connsiteY61" fmla="*/ 108701 h 322207"/>
                    <a:gd name="connsiteX62" fmla="*/ 244728 w 276316"/>
                    <a:gd name="connsiteY62" fmla="*/ 110307 h 322207"/>
                    <a:gd name="connsiteX63" fmla="*/ 245511 w 276316"/>
                    <a:gd name="connsiteY63" fmla="*/ 110763 h 322207"/>
                    <a:gd name="connsiteX64" fmla="*/ 245022 w 276316"/>
                    <a:gd name="connsiteY64" fmla="*/ 113289 h 322207"/>
                    <a:gd name="connsiteX65" fmla="*/ 243074 w 276316"/>
                    <a:gd name="connsiteY65" fmla="*/ 119410 h 322207"/>
                    <a:gd name="connsiteX66" fmla="*/ 242960 w 276316"/>
                    <a:gd name="connsiteY66" fmla="*/ 121961 h 322207"/>
                    <a:gd name="connsiteX67" fmla="*/ 242194 w 276316"/>
                    <a:gd name="connsiteY67" fmla="*/ 124952 h 322207"/>
                    <a:gd name="connsiteX68" fmla="*/ 241460 w 276316"/>
                    <a:gd name="connsiteY68" fmla="*/ 126940 h 322207"/>
                    <a:gd name="connsiteX69" fmla="*/ 239472 w 276316"/>
                    <a:gd name="connsiteY69" fmla="*/ 135547 h 322207"/>
                    <a:gd name="connsiteX70" fmla="*/ 237809 w 276316"/>
                    <a:gd name="connsiteY70" fmla="*/ 138774 h 322207"/>
                    <a:gd name="connsiteX71" fmla="*/ 235535 w 276316"/>
                    <a:gd name="connsiteY71" fmla="*/ 146320 h 322207"/>
                    <a:gd name="connsiteX72" fmla="*/ 235169 w 276316"/>
                    <a:gd name="connsiteY72" fmla="*/ 152098 h 322207"/>
                    <a:gd name="connsiteX73" fmla="*/ 236415 w 276316"/>
                    <a:gd name="connsiteY73" fmla="*/ 156149 h 322207"/>
                    <a:gd name="connsiteX74" fmla="*/ 236888 w 276316"/>
                    <a:gd name="connsiteY74" fmla="*/ 159955 h 322207"/>
                    <a:gd name="connsiteX75" fmla="*/ 239553 w 276316"/>
                    <a:gd name="connsiteY75" fmla="*/ 163671 h 322207"/>
                    <a:gd name="connsiteX76" fmla="*/ 241680 w 276316"/>
                    <a:gd name="connsiteY76" fmla="*/ 164983 h 322207"/>
                    <a:gd name="connsiteX77" fmla="*/ 243139 w 276316"/>
                    <a:gd name="connsiteY77" fmla="*/ 166687 h 322207"/>
                    <a:gd name="connsiteX78" fmla="*/ 245682 w 276316"/>
                    <a:gd name="connsiteY78" fmla="*/ 170574 h 322207"/>
                    <a:gd name="connsiteX79" fmla="*/ 247141 w 276316"/>
                    <a:gd name="connsiteY79" fmla="*/ 174478 h 322207"/>
                    <a:gd name="connsiteX80" fmla="*/ 251729 w 276316"/>
                    <a:gd name="connsiteY80" fmla="*/ 176385 h 322207"/>
                    <a:gd name="connsiteX81" fmla="*/ 253562 w 276316"/>
                    <a:gd name="connsiteY81" fmla="*/ 180761 h 322207"/>
                    <a:gd name="connsiteX82" fmla="*/ 252902 w 276316"/>
                    <a:gd name="connsiteY82" fmla="*/ 183768 h 322207"/>
                    <a:gd name="connsiteX83" fmla="*/ 250767 w 276316"/>
                    <a:gd name="connsiteY83" fmla="*/ 186254 h 322207"/>
                    <a:gd name="connsiteX84" fmla="*/ 248779 w 276316"/>
                    <a:gd name="connsiteY84" fmla="*/ 190296 h 322207"/>
                    <a:gd name="connsiteX85" fmla="*/ 247173 w 276316"/>
                    <a:gd name="connsiteY85" fmla="*/ 195594 h 322207"/>
                    <a:gd name="connsiteX86" fmla="*/ 247141 w 276316"/>
                    <a:gd name="connsiteY86" fmla="*/ 203719 h 322207"/>
                    <a:gd name="connsiteX87" fmla="*/ 248216 w 276316"/>
                    <a:gd name="connsiteY87" fmla="*/ 202480 h 322207"/>
                    <a:gd name="connsiteX88" fmla="*/ 250637 w 276316"/>
                    <a:gd name="connsiteY88" fmla="*/ 204477 h 322207"/>
                    <a:gd name="connsiteX89" fmla="*/ 250954 w 276316"/>
                    <a:gd name="connsiteY89" fmla="*/ 210443 h 322207"/>
                    <a:gd name="connsiteX90" fmla="*/ 248452 w 276316"/>
                    <a:gd name="connsiteY90" fmla="*/ 217402 h 322207"/>
                    <a:gd name="connsiteX91" fmla="*/ 247671 w 276316"/>
                    <a:gd name="connsiteY91" fmla="*/ 220654 h 322207"/>
                    <a:gd name="connsiteX92" fmla="*/ 247548 w 276316"/>
                    <a:gd name="connsiteY92" fmla="*/ 223449 h 322207"/>
                    <a:gd name="connsiteX93" fmla="*/ 249374 w 276316"/>
                    <a:gd name="connsiteY93" fmla="*/ 231795 h 322207"/>
                    <a:gd name="connsiteX94" fmla="*/ 252120 w 276316"/>
                    <a:gd name="connsiteY94" fmla="*/ 236041 h 322207"/>
                    <a:gd name="connsiteX95" fmla="*/ 251924 w 276316"/>
                    <a:gd name="connsiteY95" fmla="*/ 237377 h 322207"/>
                    <a:gd name="connsiteX96" fmla="*/ 251216 w 276316"/>
                    <a:gd name="connsiteY96" fmla="*/ 238486 h 322207"/>
                    <a:gd name="connsiteX97" fmla="*/ 255926 w 276316"/>
                    <a:gd name="connsiteY97" fmla="*/ 246008 h 322207"/>
                    <a:gd name="connsiteX98" fmla="*/ 255527 w 276316"/>
                    <a:gd name="connsiteY98" fmla="*/ 252552 h 322207"/>
                    <a:gd name="connsiteX99" fmla="*/ 257295 w 276316"/>
                    <a:gd name="connsiteY99" fmla="*/ 257638 h 322207"/>
                    <a:gd name="connsiteX100" fmla="*/ 258070 w 276316"/>
                    <a:gd name="connsiteY100" fmla="*/ 262063 h 322207"/>
                    <a:gd name="connsiteX101" fmla="*/ 259235 w 276316"/>
                    <a:gd name="connsiteY101" fmla="*/ 265445 h 322207"/>
                    <a:gd name="connsiteX102" fmla="*/ 259463 w 276316"/>
                    <a:gd name="connsiteY102" fmla="*/ 267784 h 322207"/>
                    <a:gd name="connsiteX103" fmla="*/ 258004 w 276316"/>
                    <a:gd name="connsiteY103" fmla="*/ 270368 h 322207"/>
                    <a:gd name="connsiteX104" fmla="*/ 261444 w 276316"/>
                    <a:gd name="connsiteY104" fmla="*/ 271019 h 322207"/>
                    <a:gd name="connsiteX105" fmla="*/ 263465 w 276316"/>
                    <a:gd name="connsiteY105" fmla="*/ 273138 h 322207"/>
                    <a:gd name="connsiteX106" fmla="*/ 264418 w 276316"/>
                    <a:gd name="connsiteY106" fmla="*/ 275159 h 322207"/>
                    <a:gd name="connsiteX107" fmla="*/ 266895 w 276316"/>
                    <a:gd name="connsiteY107" fmla="*/ 275078 h 322207"/>
                    <a:gd name="connsiteX108" fmla="*/ 268240 w 276316"/>
                    <a:gd name="connsiteY108" fmla="*/ 276472 h 322207"/>
                    <a:gd name="connsiteX109" fmla="*/ 270180 w 276316"/>
                    <a:gd name="connsiteY109" fmla="*/ 277612 h 322207"/>
                    <a:gd name="connsiteX110" fmla="*/ 274450 w 276316"/>
                    <a:gd name="connsiteY110" fmla="*/ 281027 h 322207"/>
                    <a:gd name="connsiteX111" fmla="*/ 275616 w 276316"/>
                    <a:gd name="connsiteY111" fmla="*/ 282739 h 322207"/>
                    <a:gd name="connsiteX112" fmla="*/ 276048 w 276316"/>
                    <a:gd name="connsiteY112" fmla="*/ 283725 h 322207"/>
                    <a:gd name="connsiteX113" fmla="*/ 276316 w 276316"/>
                    <a:gd name="connsiteY113" fmla="*/ 284377 h 322207"/>
                    <a:gd name="connsiteX114" fmla="*/ 273431 w 276316"/>
                    <a:gd name="connsiteY114" fmla="*/ 286993 h 322207"/>
                    <a:gd name="connsiteX115" fmla="*/ 268933 w 276316"/>
                    <a:gd name="connsiteY115" fmla="*/ 291100 h 322207"/>
                    <a:gd name="connsiteX116" fmla="*/ 264532 w 276316"/>
                    <a:gd name="connsiteY116" fmla="*/ 295135 h 322207"/>
                    <a:gd name="connsiteX117" fmla="*/ 260278 w 276316"/>
                    <a:gd name="connsiteY117" fmla="*/ 297897 h 322207"/>
                    <a:gd name="connsiteX118" fmla="*/ 257230 w 276316"/>
                    <a:gd name="connsiteY118" fmla="*/ 299185 h 322207"/>
                    <a:gd name="connsiteX119" fmla="*/ 253995 w 276316"/>
                    <a:gd name="connsiteY119" fmla="*/ 299894 h 322207"/>
                    <a:gd name="connsiteX120" fmla="*/ 250914 w 276316"/>
                    <a:gd name="connsiteY120" fmla="*/ 301589 h 322207"/>
                    <a:gd name="connsiteX121" fmla="*/ 247996 w 276316"/>
                    <a:gd name="connsiteY121" fmla="*/ 304246 h 322207"/>
                    <a:gd name="connsiteX122" fmla="*/ 244264 w 276316"/>
                    <a:gd name="connsiteY122" fmla="*/ 305591 h 322207"/>
                    <a:gd name="connsiteX123" fmla="*/ 239708 w 276316"/>
                    <a:gd name="connsiteY123" fmla="*/ 305599 h 322207"/>
                    <a:gd name="connsiteX124" fmla="*/ 234924 w 276316"/>
                    <a:gd name="connsiteY124" fmla="*/ 307465 h 322207"/>
                    <a:gd name="connsiteX125" fmla="*/ 230181 w 276316"/>
                    <a:gd name="connsiteY125" fmla="*/ 310986 h 322207"/>
                    <a:gd name="connsiteX126" fmla="*/ 227418 w 276316"/>
                    <a:gd name="connsiteY126" fmla="*/ 313048 h 322207"/>
                    <a:gd name="connsiteX127" fmla="*/ 223025 w 276316"/>
                    <a:gd name="connsiteY127" fmla="*/ 309959 h 322207"/>
                    <a:gd name="connsiteX128" fmla="*/ 219586 w 276316"/>
                    <a:gd name="connsiteY128" fmla="*/ 308973 h 322207"/>
                    <a:gd name="connsiteX129" fmla="*/ 215650 w 276316"/>
                    <a:gd name="connsiteY129" fmla="*/ 309079 h 322207"/>
                    <a:gd name="connsiteX130" fmla="*/ 213238 w 276316"/>
                    <a:gd name="connsiteY130" fmla="*/ 309470 h 322207"/>
                    <a:gd name="connsiteX131" fmla="*/ 212374 w 276316"/>
                    <a:gd name="connsiteY131" fmla="*/ 310122 h 322207"/>
                    <a:gd name="connsiteX132" fmla="*/ 211624 w 276316"/>
                    <a:gd name="connsiteY132" fmla="*/ 312013 h 322207"/>
                    <a:gd name="connsiteX133" fmla="*/ 210988 w 276316"/>
                    <a:gd name="connsiteY133" fmla="*/ 315126 h 322207"/>
                    <a:gd name="connsiteX134" fmla="*/ 208397 w 276316"/>
                    <a:gd name="connsiteY134" fmla="*/ 318109 h 322207"/>
                    <a:gd name="connsiteX135" fmla="*/ 203849 w 276316"/>
                    <a:gd name="connsiteY135" fmla="*/ 320961 h 322207"/>
                    <a:gd name="connsiteX136" fmla="*/ 199668 w 276316"/>
                    <a:gd name="connsiteY136" fmla="*/ 322037 h 322207"/>
                    <a:gd name="connsiteX137" fmla="*/ 195830 w 276316"/>
                    <a:gd name="connsiteY137" fmla="*/ 321311 h 322207"/>
                    <a:gd name="connsiteX138" fmla="*/ 193238 w 276316"/>
                    <a:gd name="connsiteY138" fmla="*/ 320121 h 322207"/>
                    <a:gd name="connsiteX139" fmla="*/ 191893 w 276316"/>
                    <a:gd name="connsiteY139" fmla="*/ 318459 h 322207"/>
                    <a:gd name="connsiteX140" fmla="*/ 189897 w 276316"/>
                    <a:gd name="connsiteY140" fmla="*/ 317693 h 322207"/>
                    <a:gd name="connsiteX141" fmla="*/ 187264 w 276316"/>
                    <a:gd name="connsiteY141" fmla="*/ 317815 h 322207"/>
                    <a:gd name="connsiteX142" fmla="*/ 184738 w 276316"/>
                    <a:gd name="connsiteY142" fmla="*/ 318997 h 322207"/>
                    <a:gd name="connsiteX143" fmla="*/ 182317 w 276316"/>
                    <a:gd name="connsiteY143" fmla="*/ 321238 h 322207"/>
                    <a:gd name="connsiteX144" fmla="*/ 178479 w 276316"/>
                    <a:gd name="connsiteY144" fmla="*/ 322208 h 322207"/>
                    <a:gd name="connsiteX145" fmla="*/ 173198 w 276316"/>
                    <a:gd name="connsiteY145" fmla="*/ 321906 h 322207"/>
                    <a:gd name="connsiteX146" fmla="*/ 170362 w 276316"/>
                    <a:gd name="connsiteY146" fmla="*/ 320822 h 322207"/>
                    <a:gd name="connsiteX147" fmla="*/ 169963 w 276316"/>
                    <a:gd name="connsiteY147" fmla="*/ 318972 h 322207"/>
                    <a:gd name="connsiteX148" fmla="*/ 167648 w 276316"/>
                    <a:gd name="connsiteY148" fmla="*/ 316788 h 322207"/>
                    <a:gd name="connsiteX149" fmla="*/ 163410 w 276316"/>
                    <a:gd name="connsiteY149" fmla="*/ 314286 h 322207"/>
                    <a:gd name="connsiteX150" fmla="*/ 160289 w 276316"/>
                    <a:gd name="connsiteY150" fmla="*/ 314229 h 322207"/>
                    <a:gd name="connsiteX151" fmla="*/ 158276 w 276316"/>
                    <a:gd name="connsiteY151" fmla="*/ 316625 h 322207"/>
                    <a:gd name="connsiteX152" fmla="*/ 156450 w 276316"/>
                    <a:gd name="connsiteY152" fmla="*/ 318141 h 322207"/>
                    <a:gd name="connsiteX153" fmla="*/ 154804 w 276316"/>
                    <a:gd name="connsiteY153" fmla="*/ 318752 h 322207"/>
                    <a:gd name="connsiteX154" fmla="*/ 153313 w 276316"/>
                    <a:gd name="connsiteY154" fmla="*/ 318826 h 322207"/>
                    <a:gd name="connsiteX155" fmla="*/ 152001 w 276316"/>
                    <a:gd name="connsiteY155" fmla="*/ 318361 h 322207"/>
                    <a:gd name="connsiteX156" fmla="*/ 151177 w 276316"/>
                    <a:gd name="connsiteY156" fmla="*/ 318166 h 322207"/>
                    <a:gd name="connsiteX157" fmla="*/ 145318 w 276316"/>
                    <a:gd name="connsiteY157" fmla="*/ 317921 h 322207"/>
                    <a:gd name="connsiteX158" fmla="*/ 139792 w 276316"/>
                    <a:gd name="connsiteY158" fmla="*/ 318027 h 322207"/>
                    <a:gd name="connsiteX159" fmla="*/ 139621 w 276316"/>
                    <a:gd name="connsiteY159" fmla="*/ 316984 h 322207"/>
                    <a:gd name="connsiteX160" fmla="*/ 139238 w 276316"/>
                    <a:gd name="connsiteY160" fmla="*/ 314547 h 322207"/>
                    <a:gd name="connsiteX161" fmla="*/ 138081 w 276316"/>
                    <a:gd name="connsiteY161" fmla="*/ 312445 h 322207"/>
                    <a:gd name="connsiteX162" fmla="*/ 137087 w 276316"/>
                    <a:gd name="connsiteY162" fmla="*/ 311190 h 322207"/>
                    <a:gd name="connsiteX163" fmla="*/ 135856 w 276316"/>
                    <a:gd name="connsiteY163" fmla="*/ 310847 h 322207"/>
                    <a:gd name="connsiteX164" fmla="*/ 135179 w 276316"/>
                    <a:gd name="connsiteY164" fmla="*/ 310872 h 322207"/>
                    <a:gd name="connsiteX165" fmla="*/ 134650 w 276316"/>
                    <a:gd name="connsiteY165" fmla="*/ 309902 h 322207"/>
                    <a:gd name="connsiteX166" fmla="*/ 134006 w 276316"/>
                    <a:gd name="connsiteY166" fmla="*/ 307742 h 322207"/>
                    <a:gd name="connsiteX167" fmla="*/ 133077 w 276316"/>
                    <a:gd name="connsiteY167" fmla="*/ 305908 h 322207"/>
                    <a:gd name="connsiteX168" fmla="*/ 131830 w 276316"/>
                    <a:gd name="connsiteY168" fmla="*/ 304384 h 322207"/>
                    <a:gd name="connsiteX169" fmla="*/ 131072 w 276316"/>
                    <a:gd name="connsiteY169" fmla="*/ 302966 h 322207"/>
                    <a:gd name="connsiteX170" fmla="*/ 130827 w 276316"/>
                    <a:gd name="connsiteY170" fmla="*/ 301671 h 322207"/>
                    <a:gd name="connsiteX171" fmla="*/ 131031 w 276316"/>
                    <a:gd name="connsiteY171" fmla="*/ 300236 h 322207"/>
                    <a:gd name="connsiteX172" fmla="*/ 132180 w 276316"/>
                    <a:gd name="connsiteY172" fmla="*/ 296683 h 322207"/>
                    <a:gd name="connsiteX173" fmla="*/ 132539 w 276316"/>
                    <a:gd name="connsiteY173" fmla="*/ 294271 h 322207"/>
                    <a:gd name="connsiteX174" fmla="*/ 132417 w 276316"/>
                    <a:gd name="connsiteY174" fmla="*/ 291769 h 322207"/>
                    <a:gd name="connsiteX175" fmla="*/ 131789 w 276316"/>
                    <a:gd name="connsiteY175" fmla="*/ 289226 h 322207"/>
                    <a:gd name="connsiteX176" fmla="*/ 130477 w 276316"/>
                    <a:gd name="connsiteY176" fmla="*/ 286186 h 322207"/>
                    <a:gd name="connsiteX177" fmla="*/ 130624 w 276316"/>
                    <a:gd name="connsiteY177" fmla="*/ 285322 h 322207"/>
                    <a:gd name="connsiteX178" fmla="*/ 130184 w 276316"/>
                    <a:gd name="connsiteY178" fmla="*/ 283244 h 322207"/>
                    <a:gd name="connsiteX179" fmla="*/ 130135 w 276316"/>
                    <a:gd name="connsiteY179" fmla="*/ 281801 h 322207"/>
                    <a:gd name="connsiteX180" fmla="*/ 130387 w 276316"/>
                    <a:gd name="connsiteY180" fmla="*/ 279992 h 322207"/>
                    <a:gd name="connsiteX181" fmla="*/ 130143 w 276316"/>
                    <a:gd name="connsiteY181" fmla="*/ 277612 h 322207"/>
                    <a:gd name="connsiteX182" fmla="*/ 129002 w 276316"/>
                    <a:gd name="connsiteY182" fmla="*/ 272543 h 322207"/>
                    <a:gd name="connsiteX183" fmla="*/ 129002 w 276316"/>
                    <a:gd name="connsiteY183" fmla="*/ 271256 h 322207"/>
                    <a:gd name="connsiteX184" fmla="*/ 127812 w 276316"/>
                    <a:gd name="connsiteY184" fmla="*/ 268803 h 322207"/>
                    <a:gd name="connsiteX185" fmla="*/ 124137 w 276316"/>
                    <a:gd name="connsiteY185" fmla="*/ 262992 h 322207"/>
                    <a:gd name="connsiteX186" fmla="*/ 123966 w 276316"/>
                    <a:gd name="connsiteY186" fmla="*/ 262234 h 322207"/>
                    <a:gd name="connsiteX187" fmla="*/ 118203 w 276316"/>
                    <a:gd name="connsiteY187" fmla="*/ 256391 h 322207"/>
                    <a:gd name="connsiteX188" fmla="*/ 115905 w 276316"/>
                    <a:gd name="connsiteY188" fmla="*/ 255127 h 322207"/>
                    <a:gd name="connsiteX189" fmla="*/ 115074 w 276316"/>
                    <a:gd name="connsiteY189" fmla="*/ 256228 h 322207"/>
                    <a:gd name="connsiteX190" fmla="*/ 114756 w 276316"/>
                    <a:gd name="connsiteY190" fmla="*/ 257230 h 322207"/>
                    <a:gd name="connsiteX191" fmla="*/ 115001 w 276316"/>
                    <a:gd name="connsiteY191" fmla="*/ 259104 h 322207"/>
                    <a:gd name="connsiteX192" fmla="*/ 114854 w 276316"/>
                    <a:gd name="connsiteY192" fmla="*/ 260025 h 322207"/>
                    <a:gd name="connsiteX193" fmla="*/ 114618 w 276316"/>
                    <a:gd name="connsiteY193" fmla="*/ 260457 h 322207"/>
                    <a:gd name="connsiteX194" fmla="*/ 113249 w 276316"/>
                    <a:gd name="connsiteY194" fmla="*/ 260392 h 322207"/>
                    <a:gd name="connsiteX195" fmla="*/ 112385 w 276316"/>
                    <a:gd name="connsiteY195" fmla="*/ 260172 h 322207"/>
                    <a:gd name="connsiteX196" fmla="*/ 110200 w 276316"/>
                    <a:gd name="connsiteY196" fmla="*/ 258599 h 322207"/>
                    <a:gd name="connsiteX197" fmla="*/ 108505 w 276316"/>
                    <a:gd name="connsiteY197" fmla="*/ 258216 h 322207"/>
                    <a:gd name="connsiteX198" fmla="*/ 104276 w 276316"/>
                    <a:gd name="connsiteY198" fmla="*/ 258501 h 322207"/>
                    <a:gd name="connsiteX199" fmla="*/ 102792 w 276316"/>
                    <a:gd name="connsiteY199" fmla="*/ 258868 h 322207"/>
                    <a:gd name="connsiteX200" fmla="*/ 101635 w 276316"/>
                    <a:gd name="connsiteY200" fmla="*/ 258518 h 322207"/>
                    <a:gd name="connsiteX201" fmla="*/ 99402 w 276316"/>
                    <a:gd name="connsiteY201" fmla="*/ 255836 h 322207"/>
                    <a:gd name="connsiteX202" fmla="*/ 96786 w 276316"/>
                    <a:gd name="connsiteY202" fmla="*/ 255282 h 322207"/>
                    <a:gd name="connsiteX203" fmla="*/ 94431 w 276316"/>
                    <a:gd name="connsiteY203" fmla="*/ 255136 h 322207"/>
                    <a:gd name="connsiteX204" fmla="*/ 90551 w 276316"/>
                    <a:gd name="connsiteY204" fmla="*/ 252096 h 322207"/>
                    <a:gd name="connsiteX205" fmla="*/ 89647 w 276316"/>
                    <a:gd name="connsiteY205" fmla="*/ 252234 h 322207"/>
                    <a:gd name="connsiteX206" fmla="*/ 89207 w 276316"/>
                    <a:gd name="connsiteY206" fmla="*/ 252471 h 322207"/>
                    <a:gd name="connsiteX207" fmla="*/ 87805 w 276316"/>
                    <a:gd name="connsiteY207" fmla="*/ 251664 h 322207"/>
                    <a:gd name="connsiteX208" fmla="*/ 85165 w 276316"/>
                    <a:gd name="connsiteY208" fmla="*/ 249895 h 322207"/>
                    <a:gd name="connsiteX209" fmla="*/ 81481 w 276316"/>
                    <a:gd name="connsiteY209" fmla="*/ 248347 h 322207"/>
                    <a:gd name="connsiteX210" fmla="*/ 78474 w 276316"/>
                    <a:gd name="connsiteY210" fmla="*/ 246595 h 322207"/>
                    <a:gd name="connsiteX211" fmla="*/ 77137 w 276316"/>
                    <a:gd name="connsiteY211" fmla="*/ 244908 h 322207"/>
                    <a:gd name="connsiteX212" fmla="*/ 74318 w 276316"/>
                    <a:gd name="connsiteY212" fmla="*/ 244256 h 322207"/>
                    <a:gd name="connsiteX213" fmla="*/ 71864 w 276316"/>
                    <a:gd name="connsiteY213" fmla="*/ 243979 h 322207"/>
                    <a:gd name="connsiteX214" fmla="*/ 69615 w 276316"/>
                    <a:gd name="connsiteY214" fmla="*/ 242414 h 322207"/>
                    <a:gd name="connsiteX215" fmla="*/ 67276 w 276316"/>
                    <a:gd name="connsiteY215" fmla="*/ 242235 h 322207"/>
                    <a:gd name="connsiteX216" fmla="*/ 64978 w 276316"/>
                    <a:gd name="connsiteY216" fmla="*/ 241819 h 322207"/>
                    <a:gd name="connsiteX217" fmla="*/ 64464 w 276316"/>
                    <a:gd name="connsiteY217" fmla="*/ 240784 h 322207"/>
                    <a:gd name="connsiteX218" fmla="*/ 64391 w 276316"/>
                    <a:gd name="connsiteY218" fmla="*/ 238453 h 322207"/>
                    <a:gd name="connsiteX219" fmla="*/ 63568 w 276316"/>
                    <a:gd name="connsiteY219" fmla="*/ 237850 h 322207"/>
                    <a:gd name="connsiteX220" fmla="*/ 61881 w 276316"/>
                    <a:gd name="connsiteY220" fmla="*/ 237255 h 322207"/>
                    <a:gd name="connsiteX221" fmla="*/ 60063 w 276316"/>
                    <a:gd name="connsiteY221" fmla="*/ 237288 h 322207"/>
                    <a:gd name="connsiteX222" fmla="*/ 58947 w 276316"/>
                    <a:gd name="connsiteY222" fmla="*/ 237622 h 322207"/>
                    <a:gd name="connsiteX223" fmla="*/ 58295 w 276316"/>
                    <a:gd name="connsiteY223" fmla="*/ 237451 h 322207"/>
                    <a:gd name="connsiteX224" fmla="*/ 56779 w 276316"/>
                    <a:gd name="connsiteY224" fmla="*/ 236090 h 322207"/>
                    <a:gd name="connsiteX225" fmla="*/ 55385 w 276316"/>
                    <a:gd name="connsiteY225" fmla="*/ 234354 h 322207"/>
                    <a:gd name="connsiteX226" fmla="*/ 54848 w 276316"/>
                    <a:gd name="connsiteY226" fmla="*/ 231567 h 322207"/>
                    <a:gd name="connsiteX227" fmla="*/ 52729 w 276316"/>
                    <a:gd name="connsiteY227" fmla="*/ 229782 h 322207"/>
                    <a:gd name="connsiteX228" fmla="*/ 50284 w 276316"/>
                    <a:gd name="connsiteY228" fmla="*/ 228364 h 322207"/>
                    <a:gd name="connsiteX229" fmla="*/ 43479 w 276316"/>
                    <a:gd name="connsiteY229" fmla="*/ 228519 h 322207"/>
                    <a:gd name="connsiteX230" fmla="*/ 42411 w 276316"/>
                    <a:gd name="connsiteY230" fmla="*/ 228087 h 322207"/>
                    <a:gd name="connsiteX231" fmla="*/ 40797 w 276316"/>
                    <a:gd name="connsiteY231" fmla="*/ 226677 h 322207"/>
                    <a:gd name="connsiteX232" fmla="*/ 38915 w 276316"/>
                    <a:gd name="connsiteY232" fmla="*/ 224354 h 322207"/>
                    <a:gd name="connsiteX233" fmla="*/ 37383 w 276316"/>
                    <a:gd name="connsiteY233" fmla="*/ 221705 h 322207"/>
                    <a:gd name="connsiteX234" fmla="*/ 36055 w 276316"/>
                    <a:gd name="connsiteY234" fmla="*/ 218103 h 322207"/>
                    <a:gd name="connsiteX235" fmla="*/ 35419 w 276316"/>
                    <a:gd name="connsiteY235" fmla="*/ 215927 h 322207"/>
                    <a:gd name="connsiteX236" fmla="*/ 34661 w 276316"/>
                    <a:gd name="connsiteY236" fmla="*/ 213246 h 322207"/>
                    <a:gd name="connsiteX237" fmla="*/ 32998 w 276316"/>
                    <a:gd name="connsiteY237" fmla="*/ 209220 h 322207"/>
                    <a:gd name="connsiteX238" fmla="*/ 30651 w 276316"/>
                    <a:gd name="connsiteY238" fmla="*/ 203548 h 322207"/>
                    <a:gd name="connsiteX239" fmla="*/ 28833 w 276316"/>
                    <a:gd name="connsiteY239" fmla="*/ 198902 h 322207"/>
                    <a:gd name="connsiteX240" fmla="*/ 26870 w 276316"/>
                    <a:gd name="connsiteY240" fmla="*/ 193882 h 322207"/>
                    <a:gd name="connsiteX241" fmla="*/ 26071 w 276316"/>
                    <a:gd name="connsiteY241" fmla="*/ 190223 h 322207"/>
                    <a:gd name="connsiteX242" fmla="*/ 24547 w 276316"/>
                    <a:gd name="connsiteY242" fmla="*/ 186164 h 322207"/>
                    <a:gd name="connsiteX243" fmla="*/ 22045 w 276316"/>
                    <a:gd name="connsiteY243" fmla="*/ 181177 h 322207"/>
                    <a:gd name="connsiteX244" fmla="*/ 20790 w 276316"/>
                    <a:gd name="connsiteY244" fmla="*/ 179245 h 322207"/>
                    <a:gd name="connsiteX245" fmla="*/ 19413 w 276316"/>
                    <a:gd name="connsiteY245" fmla="*/ 177501 h 322207"/>
                    <a:gd name="connsiteX246" fmla="*/ 15835 w 276316"/>
                    <a:gd name="connsiteY246" fmla="*/ 174135 h 322207"/>
                    <a:gd name="connsiteX247" fmla="*/ 11776 w 276316"/>
                    <a:gd name="connsiteY247" fmla="*/ 170794 h 322207"/>
                    <a:gd name="connsiteX248" fmla="*/ 9576 w 276316"/>
                    <a:gd name="connsiteY248" fmla="*/ 168545 h 322207"/>
                    <a:gd name="connsiteX249" fmla="*/ 6626 w 276316"/>
                    <a:gd name="connsiteY249" fmla="*/ 161862 h 322207"/>
                    <a:gd name="connsiteX250" fmla="*/ 5395 w 276316"/>
                    <a:gd name="connsiteY250" fmla="*/ 159441 h 322207"/>
                    <a:gd name="connsiteX251" fmla="*/ 4539 w 276316"/>
                    <a:gd name="connsiteY251" fmla="*/ 155187 h 322207"/>
                    <a:gd name="connsiteX252" fmla="*/ 3887 w 276316"/>
                    <a:gd name="connsiteY252" fmla="*/ 150770 h 322207"/>
                    <a:gd name="connsiteX253" fmla="*/ 4164 w 276316"/>
                    <a:gd name="connsiteY253" fmla="*/ 148985 h 322207"/>
                    <a:gd name="connsiteX254" fmla="*/ 6772 w 276316"/>
                    <a:gd name="connsiteY254" fmla="*/ 143297 h 322207"/>
                    <a:gd name="connsiteX255" fmla="*/ 7033 w 276316"/>
                    <a:gd name="connsiteY255" fmla="*/ 141699 h 322207"/>
                    <a:gd name="connsiteX256" fmla="*/ 6715 w 276316"/>
                    <a:gd name="connsiteY256" fmla="*/ 139540 h 322207"/>
                    <a:gd name="connsiteX257" fmla="*/ 5436 w 276316"/>
                    <a:gd name="connsiteY257" fmla="*/ 135000 h 322207"/>
                    <a:gd name="connsiteX258" fmla="*/ 4474 w 276316"/>
                    <a:gd name="connsiteY258" fmla="*/ 132050 h 322207"/>
                    <a:gd name="connsiteX259" fmla="*/ 3798 w 276316"/>
                    <a:gd name="connsiteY259" fmla="*/ 129508 h 322207"/>
                    <a:gd name="connsiteX260" fmla="*/ 2396 w 276316"/>
                    <a:gd name="connsiteY260" fmla="*/ 125286 h 322207"/>
                    <a:gd name="connsiteX261" fmla="*/ 489 w 276316"/>
                    <a:gd name="connsiteY261" fmla="*/ 119499 h 322207"/>
                    <a:gd name="connsiteX262" fmla="*/ 0 w 276316"/>
                    <a:gd name="connsiteY262" fmla="*/ 116965 h 322207"/>
                    <a:gd name="connsiteX263" fmla="*/ 57 w 276316"/>
                    <a:gd name="connsiteY263" fmla="*/ 115074 h 322207"/>
                    <a:gd name="connsiteX264" fmla="*/ 1100 w 276316"/>
                    <a:gd name="connsiteY264" fmla="*/ 110070 h 322207"/>
                    <a:gd name="connsiteX265" fmla="*/ 2013 w 276316"/>
                    <a:gd name="connsiteY265" fmla="*/ 104912 h 322207"/>
                    <a:gd name="connsiteX266" fmla="*/ 1980 w 276316"/>
                    <a:gd name="connsiteY266" fmla="*/ 103485 h 322207"/>
                    <a:gd name="connsiteX267" fmla="*/ 9780 w 276316"/>
                    <a:gd name="connsiteY267" fmla="*/ 103681 h 322207"/>
                    <a:gd name="connsiteX268" fmla="*/ 11067 w 276316"/>
                    <a:gd name="connsiteY268" fmla="*/ 102548 h 322207"/>
                    <a:gd name="connsiteX269" fmla="*/ 15468 w 276316"/>
                    <a:gd name="connsiteY269" fmla="*/ 99231 h 322207"/>
                    <a:gd name="connsiteX270" fmla="*/ 20423 w 276316"/>
                    <a:gd name="connsiteY270" fmla="*/ 92581 h 322207"/>
                    <a:gd name="connsiteX271" fmla="*/ 21409 w 276316"/>
                    <a:gd name="connsiteY271" fmla="*/ 89802 h 322207"/>
                    <a:gd name="connsiteX272" fmla="*/ 23438 w 276316"/>
                    <a:gd name="connsiteY272" fmla="*/ 85548 h 322207"/>
                    <a:gd name="connsiteX273" fmla="*/ 25419 w 276316"/>
                    <a:gd name="connsiteY273" fmla="*/ 83413 h 322207"/>
                    <a:gd name="connsiteX274" fmla="*/ 26177 w 276316"/>
                    <a:gd name="connsiteY274" fmla="*/ 81945 h 322207"/>
                    <a:gd name="connsiteX275" fmla="*/ 26690 w 276316"/>
                    <a:gd name="connsiteY275" fmla="*/ 79647 h 322207"/>
                    <a:gd name="connsiteX276" fmla="*/ 27318 w 276316"/>
                    <a:gd name="connsiteY276" fmla="*/ 77700 h 322207"/>
                    <a:gd name="connsiteX277" fmla="*/ 29909 w 276316"/>
                    <a:gd name="connsiteY277" fmla="*/ 74807 h 322207"/>
                    <a:gd name="connsiteX278" fmla="*/ 32452 w 276316"/>
                    <a:gd name="connsiteY278" fmla="*/ 72598 h 322207"/>
                    <a:gd name="connsiteX279" fmla="*/ 32273 w 276316"/>
                    <a:gd name="connsiteY279" fmla="*/ 71701 h 322207"/>
                    <a:gd name="connsiteX280" fmla="*/ 31930 w 276316"/>
                    <a:gd name="connsiteY280" fmla="*/ 71033 h 322207"/>
                    <a:gd name="connsiteX281" fmla="*/ 32297 w 276316"/>
                    <a:gd name="connsiteY281" fmla="*/ 70463 h 322207"/>
                    <a:gd name="connsiteX282" fmla="*/ 33691 w 276316"/>
                    <a:gd name="connsiteY282" fmla="*/ 69330 h 322207"/>
                    <a:gd name="connsiteX283" fmla="*/ 36372 w 276316"/>
                    <a:gd name="connsiteY283" fmla="*/ 68279 h 322207"/>
                    <a:gd name="connsiteX284" fmla="*/ 36902 w 276316"/>
                    <a:gd name="connsiteY284" fmla="*/ 66070 h 322207"/>
                    <a:gd name="connsiteX285" fmla="*/ 36894 w 276316"/>
                    <a:gd name="connsiteY285" fmla="*/ 63535 h 322207"/>
                    <a:gd name="connsiteX286" fmla="*/ 36453 w 276316"/>
                    <a:gd name="connsiteY286" fmla="*/ 62134 h 322207"/>
                    <a:gd name="connsiteX287" fmla="*/ 36535 w 276316"/>
                    <a:gd name="connsiteY287" fmla="*/ 60512 h 322207"/>
                    <a:gd name="connsiteX288" fmla="*/ 36120 w 276316"/>
                    <a:gd name="connsiteY288" fmla="*/ 59599 h 322207"/>
                    <a:gd name="connsiteX289" fmla="*/ 34367 w 276316"/>
                    <a:gd name="connsiteY289" fmla="*/ 59379 h 322207"/>
                    <a:gd name="connsiteX290" fmla="*/ 31759 w 276316"/>
                    <a:gd name="connsiteY290" fmla="*/ 58116 h 322207"/>
                    <a:gd name="connsiteX291" fmla="*/ 29543 w 276316"/>
                    <a:gd name="connsiteY291" fmla="*/ 57602 h 322207"/>
                    <a:gd name="connsiteX292" fmla="*/ 28067 w 276316"/>
                    <a:gd name="connsiteY292" fmla="*/ 56869 h 322207"/>
                    <a:gd name="connsiteX293" fmla="*/ 27530 w 276316"/>
                    <a:gd name="connsiteY293" fmla="*/ 56306 h 322207"/>
                    <a:gd name="connsiteX294" fmla="*/ 27301 w 276316"/>
                    <a:gd name="connsiteY294" fmla="*/ 54791 h 322207"/>
                    <a:gd name="connsiteX295" fmla="*/ 27725 w 276316"/>
                    <a:gd name="connsiteY295" fmla="*/ 53144 h 322207"/>
                    <a:gd name="connsiteX296" fmla="*/ 27954 w 276316"/>
                    <a:gd name="connsiteY296" fmla="*/ 52672 h 322207"/>
                    <a:gd name="connsiteX297" fmla="*/ 28508 w 276316"/>
                    <a:gd name="connsiteY297" fmla="*/ 50895 h 322207"/>
                    <a:gd name="connsiteX298" fmla="*/ 27554 w 276316"/>
                    <a:gd name="connsiteY298" fmla="*/ 49852 h 322207"/>
                    <a:gd name="connsiteX299" fmla="*/ 27301 w 276316"/>
                    <a:gd name="connsiteY299" fmla="*/ 49322 h 322207"/>
                    <a:gd name="connsiteX300" fmla="*/ 27742 w 276316"/>
                    <a:gd name="connsiteY300" fmla="*/ 48483 h 322207"/>
                    <a:gd name="connsiteX301" fmla="*/ 30015 w 276316"/>
                    <a:gd name="connsiteY301" fmla="*/ 42876 h 322207"/>
                    <a:gd name="connsiteX302" fmla="*/ 30513 w 276316"/>
                    <a:gd name="connsiteY302" fmla="*/ 42085 h 322207"/>
                    <a:gd name="connsiteX303" fmla="*/ 31491 w 276316"/>
                    <a:gd name="connsiteY303" fmla="*/ 41996 h 322207"/>
                    <a:gd name="connsiteX304" fmla="*/ 33071 w 276316"/>
                    <a:gd name="connsiteY304" fmla="*/ 41295 h 322207"/>
                    <a:gd name="connsiteX305" fmla="*/ 34506 w 276316"/>
                    <a:gd name="connsiteY305" fmla="*/ 40985 h 322207"/>
                    <a:gd name="connsiteX306" fmla="*/ 35696 w 276316"/>
                    <a:gd name="connsiteY306" fmla="*/ 41230 h 322207"/>
                    <a:gd name="connsiteX307" fmla="*/ 36568 w 276316"/>
                    <a:gd name="connsiteY307" fmla="*/ 40969 h 322207"/>
                    <a:gd name="connsiteX308" fmla="*/ 37342 w 276316"/>
                    <a:gd name="connsiteY308" fmla="*/ 40244 h 322207"/>
                    <a:gd name="connsiteX309" fmla="*/ 37986 w 276316"/>
                    <a:gd name="connsiteY309" fmla="*/ 38059 h 322207"/>
                    <a:gd name="connsiteX310" fmla="*/ 38524 w 276316"/>
                    <a:gd name="connsiteY310" fmla="*/ 34400 h 322207"/>
                    <a:gd name="connsiteX311" fmla="*/ 38230 w 276316"/>
                    <a:gd name="connsiteY311" fmla="*/ 31426 h 322207"/>
                    <a:gd name="connsiteX312" fmla="*/ 37089 w 276316"/>
                    <a:gd name="connsiteY312" fmla="*/ 29135 h 322207"/>
                    <a:gd name="connsiteX313" fmla="*/ 36780 w 276316"/>
                    <a:gd name="connsiteY313" fmla="*/ 25623 h 322207"/>
                    <a:gd name="connsiteX314" fmla="*/ 37301 w 276316"/>
                    <a:gd name="connsiteY314" fmla="*/ 20928 h 322207"/>
                    <a:gd name="connsiteX315" fmla="*/ 36926 w 276316"/>
                    <a:gd name="connsiteY315" fmla="*/ 17025 h 322207"/>
                    <a:gd name="connsiteX316" fmla="*/ 35679 w 276316"/>
                    <a:gd name="connsiteY316" fmla="*/ 13887 h 322207"/>
                    <a:gd name="connsiteX317" fmla="*/ 34408 w 276316"/>
                    <a:gd name="connsiteY317" fmla="*/ 12029 h 322207"/>
                    <a:gd name="connsiteX318" fmla="*/ 32460 w 276316"/>
                    <a:gd name="connsiteY318" fmla="*/ 11157 h 322207"/>
                    <a:gd name="connsiteX319" fmla="*/ 29380 w 276316"/>
                    <a:gd name="connsiteY319" fmla="*/ 6389 h 322207"/>
                    <a:gd name="connsiteX320" fmla="*/ 28450 w 276316"/>
                    <a:gd name="connsiteY320" fmla="*/ 4083 h 322207"/>
                    <a:gd name="connsiteX321" fmla="*/ 28622 w 276316"/>
                    <a:gd name="connsiteY321" fmla="*/ 2641 h 322207"/>
                    <a:gd name="connsiteX322" fmla="*/ 29437 w 276316"/>
                    <a:gd name="connsiteY322" fmla="*/ 2160 h 322207"/>
                    <a:gd name="connsiteX323" fmla="*/ 29681 w 276316"/>
                    <a:gd name="connsiteY323" fmla="*/ 2021 h 322207"/>
                    <a:gd name="connsiteX324" fmla="*/ 31637 w 276316"/>
                    <a:gd name="connsiteY324" fmla="*/ 2233 h 322207"/>
                    <a:gd name="connsiteX325" fmla="*/ 33471 w 276316"/>
                    <a:gd name="connsiteY325" fmla="*/ 1679 h 322207"/>
                    <a:gd name="connsiteX326" fmla="*/ 35190 w 276316"/>
                    <a:gd name="connsiteY326" fmla="*/ 367 h 322207"/>
                    <a:gd name="connsiteX327" fmla="*/ 36861 w 276316"/>
                    <a:gd name="connsiteY327" fmla="*/ 0 h 322207"/>
                    <a:gd name="connsiteX328" fmla="*/ 37269 w 276316"/>
                    <a:gd name="connsiteY328" fmla="*/ 65 h 322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Lst>
                  <a:rect l="l" t="t" r="r" b="b"/>
                  <a:pathLst>
                    <a:path w="276316" h="322207">
                      <a:moveTo>
                        <a:pt x="37269" y="65"/>
                      </a:moveTo>
                      <a:lnTo>
                        <a:pt x="37798" y="171"/>
                      </a:lnTo>
                      <a:lnTo>
                        <a:pt x="40398" y="171"/>
                      </a:lnTo>
                      <a:lnTo>
                        <a:pt x="44799" y="171"/>
                      </a:lnTo>
                      <a:lnTo>
                        <a:pt x="49216" y="171"/>
                      </a:lnTo>
                      <a:lnTo>
                        <a:pt x="53617" y="171"/>
                      </a:lnTo>
                      <a:lnTo>
                        <a:pt x="58034" y="171"/>
                      </a:lnTo>
                      <a:lnTo>
                        <a:pt x="62443" y="171"/>
                      </a:lnTo>
                      <a:lnTo>
                        <a:pt x="66844" y="171"/>
                      </a:lnTo>
                      <a:lnTo>
                        <a:pt x="71261" y="171"/>
                      </a:lnTo>
                      <a:lnTo>
                        <a:pt x="75670" y="171"/>
                      </a:lnTo>
                      <a:lnTo>
                        <a:pt x="80079" y="171"/>
                      </a:lnTo>
                      <a:lnTo>
                        <a:pt x="84480" y="171"/>
                      </a:lnTo>
                      <a:lnTo>
                        <a:pt x="88897" y="171"/>
                      </a:lnTo>
                      <a:lnTo>
                        <a:pt x="93306" y="171"/>
                      </a:lnTo>
                      <a:lnTo>
                        <a:pt x="97707" y="171"/>
                      </a:lnTo>
                      <a:lnTo>
                        <a:pt x="102124" y="171"/>
                      </a:lnTo>
                      <a:lnTo>
                        <a:pt x="106533" y="171"/>
                      </a:lnTo>
                      <a:lnTo>
                        <a:pt x="110934" y="171"/>
                      </a:lnTo>
                      <a:lnTo>
                        <a:pt x="113640" y="171"/>
                      </a:lnTo>
                      <a:lnTo>
                        <a:pt x="115539" y="171"/>
                      </a:lnTo>
                      <a:lnTo>
                        <a:pt x="117324" y="1304"/>
                      </a:lnTo>
                      <a:lnTo>
                        <a:pt x="119312" y="2641"/>
                      </a:lnTo>
                      <a:lnTo>
                        <a:pt x="124593" y="6210"/>
                      </a:lnTo>
                      <a:lnTo>
                        <a:pt x="129874" y="9780"/>
                      </a:lnTo>
                      <a:lnTo>
                        <a:pt x="135155" y="13349"/>
                      </a:lnTo>
                      <a:lnTo>
                        <a:pt x="140436" y="16911"/>
                      </a:lnTo>
                      <a:lnTo>
                        <a:pt x="145725" y="20472"/>
                      </a:lnTo>
                      <a:lnTo>
                        <a:pt x="151006" y="24034"/>
                      </a:lnTo>
                      <a:lnTo>
                        <a:pt x="156295" y="27603"/>
                      </a:lnTo>
                      <a:lnTo>
                        <a:pt x="161577" y="31173"/>
                      </a:lnTo>
                      <a:lnTo>
                        <a:pt x="166858" y="34734"/>
                      </a:lnTo>
                      <a:lnTo>
                        <a:pt x="172130" y="38304"/>
                      </a:lnTo>
                      <a:lnTo>
                        <a:pt x="177428" y="41865"/>
                      </a:lnTo>
                      <a:lnTo>
                        <a:pt x="182709" y="45435"/>
                      </a:lnTo>
                      <a:lnTo>
                        <a:pt x="187990" y="49004"/>
                      </a:lnTo>
                      <a:lnTo>
                        <a:pt x="193271" y="52574"/>
                      </a:lnTo>
                      <a:lnTo>
                        <a:pt x="198552" y="56144"/>
                      </a:lnTo>
                      <a:lnTo>
                        <a:pt x="203833" y="59713"/>
                      </a:lnTo>
                      <a:lnTo>
                        <a:pt x="206359" y="61408"/>
                      </a:lnTo>
                      <a:lnTo>
                        <a:pt x="206751" y="62150"/>
                      </a:lnTo>
                      <a:lnTo>
                        <a:pt x="207190" y="65394"/>
                      </a:lnTo>
                      <a:lnTo>
                        <a:pt x="207460" y="67423"/>
                      </a:lnTo>
                      <a:lnTo>
                        <a:pt x="207305" y="69216"/>
                      </a:lnTo>
                      <a:lnTo>
                        <a:pt x="205911" y="72256"/>
                      </a:lnTo>
                      <a:lnTo>
                        <a:pt x="205487" y="73837"/>
                      </a:lnTo>
                      <a:lnTo>
                        <a:pt x="205479" y="74937"/>
                      </a:lnTo>
                      <a:lnTo>
                        <a:pt x="205822" y="75385"/>
                      </a:lnTo>
                      <a:lnTo>
                        <a:pt x="207011" y="75540"/>
                      </a:lnTo>
                      <a:lnTo>
                        <a:pt x="208038" y="76257"/>
                      </a:lnTo>
                      <a:lnTo>
                        <a:pt x="208413" y="76828"/>
                      </a:lnTo>
                      <a:lnTo>
                        <a:pt x="209187" y="79109"/>
                      </a:lnTo>
                      <a:lnTo>
                        <a:pt x="210173" y="80259"/>
                      </a:lnTo>
                      <a:lnTo>
                        <a:pt x="212398" y="82198"/>
                      </a:lnTo>
                      <a:lnTo>
                        <a:pt x="216204" y="85515"/>
                      </a:lnTo>
                      <a:lnTo>
                        <a:pt x="220018" y="88824"/>
                      </a:lnTo>
                      <a:lnTo>
                        <a:pt x="223824" y="92133"/>
                      </a:lnTo>
                      <a:lnTo>
                        <a:pt x="227638" y="95450"/>
                      </a:lnTo>
                      <a:lnTo>
                        <a:pt x="231452" y="98767"/>
                      </a:lnTo>
                      <a:lnTo>
                        <a:pt x="235258" y="102075"/>
                      </a:lnTo>
                      <a:lnTo>
                        <a:pt x="239064" y="105384"/>
                      </a:lnTo>
                      <a:lnTo>
                        <a:pt x="242878" y="108701"/>
                      </a:lnTo>
                      <a:lnTo>
                        <a:pt x="244728" y="110307"/>
                      </a:lnTo>
                      <a:lnTo>
                        <a:pt x="245511" y="110763"/>
                      </a:lnTo>
                      <a:lnTo>
                        <a:pt x="245022" y="113289"/>
                      </a:lnTo>
                      <a:lnTo>
                        <a:pt x="243074" y="119410"/>
                      </a:lnTo>
                      <a:lnTo>
                        <a:pt x="242960" y="121961"/>
                      </a:lnTo>
                      <a:lnTo>
                        <a:pt x="242194" y="124952"/>
                      </a:lnTo>
                      <a:lnTo>
                        <a:pt x="241460" y="126940"/>
                      </a:lnTo>
                      <a:lnTo>
                        <a:pt x="239472" y="135547"/>
                      </a:lnTo>
                      <a:lnTo>
                        <a:pt x="237809" y="138774"/>
                      </a:lnTo>
                      <a:lnTo>
                        <a:pt x="235535" y="146320"/>
                      </a:lnTo>
                      <a:lnTo>
                        <a:pt x="235169" y="152098"/>
                      </a:lnTo>
                      <a:lnTo>
                        <a:pt x="236415" y="156149"/>
                      </a:lnTo>
                      <a:lnTo>
                        <a:pt x="236888" y="159955"/>
                      </a:lnTo>
                      <a:lnTo>
                        <a:pt x="239553" y="163671"/>
                      </a:lnTo>
                      <a:lnTo>
                        <a:pt x="241680" y="164983"/>
                      </a:lnTo>
                      <a:lnTo>
                        <a:pt x="243139" y="166687"/>
                      </a:lnTo>
                      <a:lnTo>
                        <a:pt x="245682" y="170574"/>
                      </a:lnTo>
                      <a:lnTo>
                        <a:pt x="247141" y="174478"/>
                      </a:lnTo>
                      <a:lnTo>
                        <a:pt x="251729" y="176385"/>
                      </a:lnTo>
                      <a:lnTo>
                        <a:pt x="253562" y="180761"/>
                      </a:lnTo>
                      <a:lnTo>
                        <a:pt x="252902" y="183768"/>
                      </a:lnTo>
                      <a:lnTo>
                        <a:pt x="250767" y="186254"/>
                      </a:lnTo>
                      <a:lnTo>
                        <a:pt x="248779" y="190296"/>
                      </a:lnTo>
                      <a:lnTo>
                        <a:pt x="247173" y="195594"/>
                      </a:lnTo>
                      <a:lnTo>
                        <a:pt x="247141" y="203719"/>
                      </a:lnTo>
                      <a:lnTo>
                        <a:pt x="248216" y="202480"/>
                      </a:lnTo>
                      <a:lnTo>
                        <a:pt x="250637" y="204477"/>
                      </a:lnTo>
                      <a:lnTo>
                        <a:pt x="250954" y="210443"/>
                      </a:lnTo>
                      <a:lnTo>
                        <a:pt x="248452" y="217402"/>
                      </a:lnTo>
                      <a:lnTo>
                        <a:pt x="247671" y="220654"/>
                      </a:lnTo>
                      <a:lnTo>
                        <a:pt x="247548" y="223449"/>
                      </a:lnTo>
                      <a:lnTo>
                        <a:pt x="249374" y="231795"/>
                      </a:lnTo>
                      <a:lnTo>
                        <a:pt x="252120" y="236041"/>
                      </a:lnTo>
                      <a:lnTo>
                        <a:pt x="251924" y="237377"/>
                      </a:lnTo>
                      <a:lnTo>
                        <a:pt x="251216" y="238486"/>
                      </a:lnTo>
                      <a:lnTo>
                        <a:pt x="255926" y="246008"/>
                      </a:lnTo>
                      <a:lnTo>
                        <a:pt x="255527" y="252552"/>
                      </a:lnTo>
                      <a:lnTo>
                        <a:pt x="257295" y="257638"/>
                      </a:lnTo>
                      <a:lnTo>
                        <a:pt x="258070" y="262063"/>
                      </a:lnTo>
                      <a:lnTo>
                        <a:pt x="259235" y="265445"/>
                      </a:lnTo>
                      <a:lnTo>
                        <a:pt x="259463" y="267784"/>
                      </a:lnTo>
                      <a:lnTo>
                        <a:pt x="258004" y="270368"/>
                      </a:lnTo>
                      <a:lnTo>
                        <a:pt x="261444" y="271019"/>
                      </a:lnTo>
                      <a:lnTo>
                        <a:pt x="263465" y="273138"/>
                      </a:lnTo>
                      <a:lnTo>
                        <a:pt x="264418" y="275159"/>
                      </a:lnTo>
                      <a:lnTo>
                        <a:pt x="266895" y="275078"/>
                      </a:lnTo>
                      <a:lnTo>
                        <a:pt x="268240" y="276472"/>
                      </a:lnTo>
                      <a:lnTo>
                        <a:pt x="270180" y="277612"/>
                      </a:lnTo>
                      <a:lnTo>
                        <a:pt x="274450" y="281027"/>
                      </a:lnTo>
                      <a:lnTo>
                        <a:pt x="275616" y="282739"/>
                      </a:lnTo>
                      <a:lnTo>
                        <a:pt x="276048" y="283725"/>
                      </a:lnTo>
                      <a:lnTo>
                        <a:pt x="276316" y="284377"/>
                      </a:lnTo>
                      <a:lnTo>
                        <a:pt x="273431" y="286993"/>
                      </a:lnTo>
                      <a:lnTo>
                        <a:pt x="268933" y="291100"/>
                      </a:lnTo>
                      <a:lnTo>
                        <a:pt x="264532" y="295135"/>
                      </a:lnTo>
                      <a:lnTo>
                        <a:pt x="260278" y="297897"/>
                      </a:lnTo>
                      <a:lnTo>
                        <a:pt x="257230" y="299185"/>
                      </a:lnTo>
                      <a:lnTo>
                        <a:pt x="253995" y="299894"/>
                      </a:lnTo>
                      <a:lnTo>
                        <a:pt x="250914" y="301589"/>
                      </a:lnTo>
                      <a:lnTo>
                        <a:pt x="247996" y="304246"/>
                      </a:lnTo>
                      <a:lnTo>
                        <a:pt x="244264" y="305591"/>
                      </a:lnTo>
                      <a:lnTo>
                        <a:pt x="239708" y="305599"/>
                      </a:lnTo>
                      <a:lnTo>
                        <a:pt x="234924" y="307465"/>
                      </a:lnTo>
                      <a:lnTo>
                        <a:pt x="230181" y="310986"/>
                      </a:lnTo>
                      <a:lnTo>
                        <a:pt x="227418" y="313048"/>
                      </a:lnTo>
                      <a:lnTo>
                        <a:pt x="223025" y="309959"/>
                      </a:lnTo>
                      <a:lnTo>
                        <a:pt x="219586" y="308973"/>
                      </a:lnTo>
                      <a:lnTo>
                        <a:pt x="215650" y="309079"/>
                      </a:lnTo>
                      <a:lnTo>
                        <a:pt x="213238" y="309470"/>
                      </a:lnTo>
                      <a:lnTo>
                        <a:pt x="212374" y="310122"/>
                      </a:lnTo>
                      <a:lnTo>
                        <a:pt x="211624" y="312013"/>
                      </a:lnTo>
                      <a:lnTo>
                        <a:pt x="210988" y="315126"/>
                      </a:lnTo>
                      <a:lnTo>
                        <a:pt x="208397" y="318109"/>
                      </a:lnTo>
                      <a:lnTo>
                        <a:pt x="203849" y="320961"/>
                      </a:lnTo>
                      <a:lnTo>
                        <a:pt x="199668" y="322037"/>
                      </a:lnTo>
                      <a:lnTo>
                        <a:pt x="195830" y="321311"/>
                      </a:lnTo>
                      <a:lnTo>
                        <a:pt x="193238" y="320121"/>
                      </a:lnTo>
                      <a:lnTo>
                        <a:pt x="191893" y="318459"/>
                      </a:lnTo>
                      <a:lnTo>
                        <a:pt x="189897" y="317693"/>
                      </a:lnTo>
                      <a:lnTo>
                        <a:pt x="187264" y="317815"/>
                      </a:lnTo>
                      <a:lnTo>
                        <a:pt x="184738" y="318997"/>
                      </a:lnTo>
                      <a:lnTo>
                        <a:pt x="182317" y="321238"/>
                      </a:lnTo>
                      <a:lnTo>
                        <a:pt x="178479" y="322208"/>
                      </a:lnTo>
                      <a:lnTo>
                        <a:pt x="173198" y="321906"/>
                      </a:lnTo>
                      <a:lnTo>
                        <a:pt x="170362" y="320822"/>
                      </a:lnTo>
                      <a:lnTo>
                        <a:pt x="169963" y="318972"/>
                      </a:lnTo>
                      <a:lnTo>
                        <a:pt x="167648" y="316788"/>
                      </a:lnTo>
                      <a:lnTo>
                        <a:pt x="163410" y="314286"/>
                      </a:lnTo>
                      <a:lnTo>
                        <a:pt x="160289" y="314229"/>
                      </a:lnTo>
                      <a:lnTo>
                        <a:pt x="158276" y="316625"/>
                      </a:lnTo>
                      <a:lnTo>
                        <a:pt x="156450" y="318141"/>
                      </a:lnTo>
                      <a:lnTo>
                        <a:pt x="154804" y="318752"/>
                      </a:lnTo>
                      <a:lnTo>
                        <a:pt x="153313" y="318826"/>
                      </a:lnTo>
                      <a:lnTo>
                        <a:pt x="152001" y="318361"/>
                      </a:lnTo>
                      <a:lnTo>
                        <a:pt x="151177" y="318166"/>
                      </a:lnTo>
                      <a:lnTo>
                        <a:pt x="145318" y="317921"/>
                      </a:lnTo>
                      <a:lnTo>
                        <a:pt x="139792" y="318027"/>
                      </a:lnTo>
                      <a:lnTo>
                        <a:pt x="139621" y="316984"/>
                      </a:lnTo>
                      <a:lnTo>
                        <a:pt x="139238" y="314547"/>
                      </a:lnTo>
                      <a:lnTo>
                        <a:pt x="138081" y="312445"/>
                      </a:lnTo>
                      <a:lnTo>
                        <a:pt x="137087" y="311190"/>
                      </a:lnTo>
                      <a:lnTo>
                        <a:pt x="135856" y="310847"/>
                      </a:lnTo>
                      <a:lnTo>
                        <a:pt x="135179" y="310872"/>
                      </a:lnTo>
                      <a:lnTo>
                        <a:pt x="134650" y="309902"/>
                      </a:lnTo>
                      <a:lnTo>
                        <a:pt x="134006" y="307742"/>
                      </a:lnTo>
                      <a:lnTo>
                        <a:pt x="133077" y="305908"/>
                      </a:lnTo>
                      <a:lnTo>
                        <a:pt x="131830" y="304384"/>
                      </a:lnTo>
                      <a:lnTo>
                        <a:pt x="131072" y="302966"/>
                      </a:lnTo>
                      <a:lnTo>
                        <a:pt x="130827" y="301671"/>
                      </a:lnTo>
                      <a:lnTo>
                        <a:pt x="131031" y="300236"/>
                      </a:lnTo>
                      <a:lnTo>
                        <a:pt x="132180" y="296683"/>
                      </a:lnTo>
                      <a:lnTo>
                        <a:pt x="132539" y="294271"/>
                      </a:lnTo>
                      <a:lnTo>
                        <a:pt x="132417" y="291769"/>
                      </a:lnTo>
                      <a:lnTo>
                        <a:pt x="131789" y="289226"/>
                      </a:lnTo>
                      <a:lnTo>
                        <a:pt x="130477" y="286186"/>
                      </a:lnTo>
                      <a:lnTo>
                        <a:pt x="130624" y="285322"/>
                      </a:lnTo>
                      <a:lnTo>
                        <a:pt x="130184" y="283244"/>
                      </a:lnTo>
                      <a:lnTo>
                        <a:pt x="130135" y="281801"/>
                      </a:lnTo>
                      <a:lnTo>
                        <a:pt x="130387" y="279992"/>
                      </a:lnTo>
                      <a:lnTo>
                        <a:pt x="130143" y="277612"/>
                      </a:lnTo>
                      <a:lnTo>
                        <a:pt x="129002" y="272543"/>
                      </a:lnTo>
                      <a:lnTo>
                        <a:pt x="129002" y="271256"/>
                      </a:lnTo>
                      <a:lnTo>
                        <a:pt x="127812" y="268803"/>
                      </a:lnTo>
                      <a:lnTo>
                        <a:pt x="124137" y="262992"/>
                      </a:lnTo>
                      <a:lnTo>
                        <a:pt x="123966" y="262234"/>
                      </a:lnTo>
                      <a:lnTo>
                        <a:pt x="118203" y="256391"/>
                      </a:lnTo>
                      <a:lnTo>
                        <a:pt x="115905" y="255127"/>
                      </a:lnTo>
                      <a:lnTo>
                        <a:pt x="115074" y="256228"/>
                      </a:lnTo>
                      <a:lnTo>
                        <a:pt x="114756" y="257230"/>
                      </a:lnTo>
                      <a:lnTo>
                        <a:pt x="115001" y="259104"/>
                      </a:lnTo>
                      <a:lnTo>
                        <a:pt x="114854" y="260025"/>
                      </a:lnTo>
                      <a:lnTo>
                        <a:pt x="114618" y="260457"/>
                      </a:lnTo>
                      <a:lnTo>
                        <a:pt x="113249" y="260392"/>
                      </a:lnTo>
                      <a:lnTo>
                        <a:pt x="112385" y="260172"/>
                      </a:lnTo>
                      <a:lnTo>
                        <a:pt x="110200" y="258599"/>
                      </a:lnTo>
                      <a:lnTo>
                        <a:pt x="108505" y="258216"/>
                      </a:lnTo>
                      <a:lnTo>
                        <a:pt x="104276" y="258501"/>
                      </a:lnTo>
                      <a:lnTo>
                        <a:pt x="102792" y="258868"/>
                      </a:lnTo>
                      <a:lnTo>
                        <a:pt x="101635" y="258518"/>
                      </a:lnTo>
                      <a:lnTo>
                        <a:pt x="99402" y="255836"/>
                      </a:lnTo>
                      <a:lnTo>
                        <a:pt x="96786" y="255282"/>
                      </a:lnTo>
                      <a:lnTo>
                        <a:pt x="94431" y="255136"/>
                      </a:lnTo>
                      <a:lnTo>
                        <a:pt x="90551" y="252096"/>
                      </a:lnTo>
                      <a:lnTo>
                        <a:pt x="89647" y="252234"/>
                      </a:lnTo>
                      <a:lnTo>
                        <a:pt x="89207" y="252471"/>
                      </a:lnTo>
                      <a:lnTo>
                        <a:pt x="87805" y="251664"/>
                      </a:lnTo>
                      <a:lnTo>
                        <a:pt x="85165" y="249895"/>
                      </a:lnTo>
                      <a:lnTo>
                        <a:pt x="81481" y="248347"/>
                      </a:lnTo>
                      <a:lnTo>
                        <a:pt x="78474" y="246595"/>
                      </a:lnTo>
                      <a:lnTo>
                        <a:pt x="77137" y="244908"/>
                      </a:lnTo>
                      <a:lnTo>
                        <a:pt x="74318" y="244256"/>
                      </a:lnTo>
                      <a:lnTo>
                        <a:pt x="71864" y="243979"/>
                      </a:lnTo>
                      <a:lnTo>
                        <a:pt x="69615" y="242414"/>
                      </a:lnTo>
                      <a:lnTo>
                        <a:pt x="67276" y="242235"/>
                      </a:lnTo>
                      <a:lnTo>
                        <a:pt x="64978" y="241819"/>
                      </a:lnTo>
                      <a:lnTo>
                        <a:pt x="64464" y="240784"/>
                      </a:lnTo>
                      <a:lnTo>
                        <a:pt x="64391" y="238453"/>
                      </a:lnTo>
                      <a:lnTo>
                        <a:pt x="63568" y="237850"/>
                      </a:lnTo>
                      <a:lnTo>
                        <a:pt x="61881" y="237255"/>
                      </a:lnTo>
                      <a:lnTo>
                        <a:pt x="60063" y="237288"/>
                      </a:lnTo>
                      <a:lnTo>
                        <a:pt x="58947" y="237622"/>
                      </a:lnTo>
                      <a:lnTo>
                        <a:pt x="58295" y="237451"/>
                      </a:lnTo>
                      <a:lnTo>
                        <a:pt x="56779" y="236090"/>
                      </a:lnTo>
                      <a:lnTo>
                        <a:pt x="55385" y="234354"/>
                      </a:lnTo>
                      <a:lnTo>
                        <a:pt x="54848" y="231567"/>
                      </a:lnTo>
                      <a:lnTo>
                        <a:pt x="52729" y="229782"/>
                      </a:lnTo>
                      <a:lnTo>
                        <a:pt x="50284" y="228364"/>
                      </a:lnTo>
                      <a:lnTo>
                        <a:pt x="43479" y="228519"/>
                      </a:lnTo>
                      <a:lnTo>
                        <a:pt x="42411" y="228087"/>
                      </a:lnTo>
                      <a:lnTo>
                        <a:pt x="40797" y="226677"/>
                      </a:lnTo>
                      <a:lnTo>
                        <a:pt x="38915" y="224354"/>
                      </a:lnTo>
                      <a:lnTo>
                        <a:pt x="37383" y="221705"/>
                      </a:lnTo>
                      <a:lnTo>
                        <a:pt x="36055" y="218103"/>
                      </a:lnTo>
                      <a:lnTo>
                        <a:pt x="35419" y="215927"/>
                      </a:lnTo>
                      <a:lnTo>
                        <a:pt x="34661" y="213246"/>
                      </a:lnTo>
                      <a:lnTo>
                        <a:pt x="32998" y="209220"/>
                      </a:lnTo>
                      <a:lnTo>
                        <a:pt x="30651" y="203548"/>
                      </a:lnTo>
                      <a:lnTo>
                        <a:pt x="28833" y="198902"/>
                      </a:lnTo>
                      <a:lnTo>
                        <a:pt x="26870" y="193882"/>
                      </a:lnTo>
                      <a:lnTo>
                        <a:pt x="26071" y="190223"/>
                      </a:lnTo>
                      <a:lnTo>
                        <a:pt x="24547" y="186164"/>
                      </a:lnTo>
                      <a:lnTo>
                        <a:pt x="22045" y="181177"/>
                      </a:lnTo>
                      <a:lnTo>
                        <a:pt x="20790" y="179245"/>
                      </a:lnTo>
                      <a:lnTo>
                        <a:pt x="19413" y="177501"/>
                      </a:lnTo>
                      <a:lnTo>
                        <a:pt x="15835" y="174135"/>
                      </a:lnTo>
                      <a:lnTo>
                        <a:pt x="11776" y="170794"/>
                      </a:lnTo>
                      <a:lnTo>
                        <a:pt x="9576" y="168545"/>
                      </a:lnTo>
                      <a:lnTo>
                        <a:pt x="6626" y="161862"/>
                      </a:lnTo>
                      <a:lnTo>
                        <a:pt x="5395" y="159441"/>
                      </a:lnTo>
                      <a:lnTo>
                        <a:pt x="4539" y="155187"/>
                      </a:lnTo>
                      <a:lnTo>
                        <a:pt x="3887" y="150770"/>
                      </a:lnTo>
                      <a:lnTo>
                        <a:pt x="4164" y="148985"/>
                      </a:lnTo>
                      <a:lnTo>
                        <a:pt x="6772" y="143297"/>
                      </a:lnTo>
                      <a:lnTo>
                        <a:pt x="7033" y="141699"/>
                      </a:lnTo>
                      <a:lnTo>
                        <a:pt x="6715" y="139540"/>
                      </a:lnTo>
                      <a:lnTo>
                        <a:pt x="5436" y="135000"/>
                      </a:lnTo>
                      <a:lnTo>
                        <a:pt x="4474" y="132050"/>
                      </a:lnTo>
                      <a:lnTo>
                        <a:pt x="3798" y="129508"/>
                      </a:lnTo>
                      <a:lnTo>
                        <a:pt x="2396" y="125286"/>
                      </a:lnTo>
                      <a:lnTo>
                        <a:pt x="489" y="119499"/>
                      </a:lnTo>
                      <a:lnTo>
                        <a:pt x="0" y="116965"/>
                      </a:lnTo>
                      <a:lnTo>
                        <a:pt x="57" y="115074"/>
                      </a:lnTo>
                      <a:lnTo>
                        <a:pt x="1100" y="110070"/>
                      </a:lnTo>
                      <a:lnTo>
                        <a:pt x="2013" y="104912"/>
                      </a:lnTo>
                      <a:lnTo>
                        <a:pt x="1980" y="103485"/>
                      </a:lnTo>
                      <a:lnTo>
                        <a:pt x="9780" y="103681"/>
                      </a:lnTo>
                      <a:lnTo>
                        <a:pt x="11067" y="102548"/>
                      </a:lnTo>
                      <a:lnTo>
                        <a:pt x="15468" y="99231"/>
                      </a:lnTo>
                      <a:lnTo>
                        <a:pt x="20423" y="92581"/>
                      </a:lnTo>
                      <a:lnTo>
                        <a:pt x="21409" y="89802"/>
                      </a:lnTo>
                      <a:lnTo>
                        <a:pt x="23438" y="85548"/>
                      </a:lnTo>
                      <a:lnTo>
                        <a:pt x="25419" y="83413"/>
                      </a:lnTo>
                      <a:lnTo>
                        <a:pt x="26177" y="81945"/>
                      </a:lnTo>
                      <a:lnTo>
                        <a:pt x="26690" y="79647"/>
                      </a:lnTo>
                      <a:lnTo>
                        <a:pt x="27318" y="77700"/>
                      </a:lnTo>
                      <a:lnTo>
                        <a:pt x="29909" y="74807"/>
                      </a:lnTo>
                      <a:lnTo>
                        <a:pt x="32452" y="72598"/>
                      </a:lnTo>
                      <a:lnTo>
                        <a:pt x="32273" y="71701"/>
                      </a:lnTo>
                      <a:lnTo>
                        <a:pt x="31930" y="71033"/>
                      </a:lnTo>
                      <a:lnTo>
                        <a:pt x="32297" y="70463"/>
                      </a:lnTo>
                      <a:lnTo>
                        <a:pt x="33691" y="69330"/>
                      </a:lnTo>
                      <a:lnTo>
                        <a:pt x="36372" y="68279"/>
                      </a:lnTo>
                      <a:lnTo>
                        <a:pt x="36902" y="66070"/>
                      </a:lnTo>
                      <a:lnTo>
                        <a:pt x="36894" y="63535"/>
                      </a:lnTo>
                      <a:lnTo>
                        <a:pt x="36453" y="62134"/>
                      </a:lnTo>
                      <a:lnTo>
                        <a:pt x="36535" y="60512"/>
                      </a:lnTo>
                      <a:lnTo>
                        <a:pt x="36120" y="59599"/>
                      </a:lnTo>
                      <a:lnTo>
                        <a:pt x="34367" y="59379"/>
                      </a:lnTo>
                      <a:lnTo>
                        <a:pt x="31759" y="58116"/>
                      </a:lnTo>
                      <a:lnTo>
                        <a:pt x="29543" y="57602"/>
                      </a:lnTo>
                      <a:lnTo>
                        <a:pt x="28067" y="56869"/>
                      </a:lnTo>
                      <a:lnTo>
                        <a:pt x="27530" y="56306"/>
                      </a:lnTo>
                      <a:lnTo>
                        <a:pt x="27301" y="54791"/>
                      </a:lnTo>
                      <a:lnTo>
                        <a:pt x="27725" y="53144"/>
                      </a:lnTo>
                      <a:lnTo>
                        <a:pt x="27954" y="52672"/>
                      </a:lnTo>
                      <a:lnTo>
                        <a:pt x="28508" y="50895"/>
                      </a:lnTo>
                      <a:lnTo>
                        <a:pt x="27554" y="49852"/>
                      </a:lnTo>
                      <a:lnTo>
                        <a:pt x="27301" y="49322"/>
                      </a:lnTo>
                      <a:lnTo>
                        <a:pt x="27742" y="48483"/>
                      </a:lnTo>
                      <a:lnTo>
                        <a:pt x="30015" y="42876"/>
                      </a:lnTo>
                      <a:lnTo>
                        <a:pt x="30513" y="42085"/>
                      </a:lnTo>
                      <a:lnTo>
                        <a:pt x="31491" y="41996"/>
                      </a:lnTo>
                      <a:lnTo>
                        <a:pt x="33071" y="41295"/>
                      </a:lnTo>
                      <a:lnTo>
                        <a:pt x="34506" y="40985"/>
                      </a:lnTo>
                      <a:lnTo>
                        <a:pt x="35696" y="41230"/>
                      </a:lnTo>
                      <a:lnTo>
                        <a:pt x="36568" y="40969"/>
                      </a:lnTo>
                      <a:lnTo>
                        <a:pt x="37342" y="40244"/>
                      </a:lnTo>
                      <a:lnTo>
                        <a:pt x="37986" y="38059"/>
                      </a:lnTo>
                      <a:lnTo>
                        <a:pt x="38524" y="34400"/>
                      </a:lnTo>
                      <a:lnTo>
                        <a:pt x="38230" y="31426"/>
                      </a:lnTo>
                      <a:lnTo>
                        <a:pt x="37089" y="29135"/>
                      </a:lnTo>
                      <a:lnTo>
                        <a:pt x="36780" y="25623"/>
                      </a:lnTo>
                      <a:lnTo>
                        <a:pt x="37301" y="20928"/>
                      </a:lnTo>
                      <a:lnTo>
                        <a:pt x="36926" y="17025"/>
                      </a:lnTo>
                      <a:lnTo>
                        <a:pt x="35679" y="13887"/>
                      </a:lnTo>
                      <a:lnTo>
                        <a:pt x="34408" y="12029"/>
                      </a:lnTo>
                      <a:lnTo>
                        <a:pt x="32460" y="11157"/>
                      </a:lnTo>
                      <a:lnTo>
                        <a:pt x="29380" y="6389"/>
                      </a:lnTo>
                      <a:lnTo>
                        <a:pt x="28450" y="4083"/>
                      </a:lnTo>
                      <a:lnTo>
                        <a:pt x="28622" y="2641"/>
                      </a:lnTo>
                      <a:lnTo>
                        <a:pt x="29437" y="2160"/>
                      </a:lnTo>
                      <a:lnTo>
                        <a:pt x="29681" y="2021"/>
                      </a:lnTo>
                      <a:lnTo>
                        <a:pt x="31637" y="2233"/>
                      </a:lnTo>
                      <a:lnTo>
                        <a:pt x="33471" y="1679"/>
                      </a:lnTo>
                      <a:lnTo>
                        <a:pt x="35190" y="367"/>
                      </a:lnTo>
                      <a:lnTo>
                        <a:pt x="36861" y="0"/>
                      </a:lnTo>
                      <a:lnTo>
                        <a:pt x="37269" y="65"/>
                      </a:lnTo>
                      <a:close/>
                    </a:path>
                  </a:pathLst>
                </a:custGeom>
                <a:solidFill>
                  <a:srgbClr val="D6D6D2"/>
                </a:solidFill>
                <a:ln w="6112" cap="rnd">
                  <a:solidFill>
                    <a:srgbClr val="FFFFFF"/>
                  </a:solidFill>
                  <a:prstDash val="solid"/>
                  <a:round/>
                </a:ln>
              </p:spPr>
              <p:txBody>
                <a:bodyPr rtlCol="0" anchor="ctr"/>
                <a:lstStyle/>
                <a:p>
                  <a:endParaRPr lang="en-US"/>
                </a:p>
              </p:txBody>
            </p:sp>
            <p:sp>
              <p:nvSpPr>
                <p:cNvPr id="557" name="Freeform: Shape 556">
                  <a:extLst>
                    <a:ext uri="{FF2B5EF4-FFF2-40B4-BE49-F238E27FC236}">
                      <a16:creationId xmlns:a16="http://schemas.microsoft.com/office/drawing/2014/main" id="{565DA3F2-86F3-49A9-93CE-F70030A9147F}"/>
                    </a:ext>
                  </a:extLst>
                </p:cNvPr>
                <p:cNvSpPr/>
                <p:nvPr/>
              </p:nvSpPr>
              <p:spPr>
                <a:xfrm>
                  <a:off x="8921699" y="3755227"/>
                  <a:ext cx="46029" cy="104732"/>
                </a:xfrm>
                <a:custGeom>
                  <a:avLst/>
                  <a:gdLst>
                    <a:gd name="connsiteX0" fmla="*/ 23219 w 46029"/>
                    <a:gd name="connsiteY0" fmla="*/ 83111 h 104732"/>
                    <a:gd name="connsiteX1" fmla="*/ 21686 w 46029"/>
                    <a:gd name="connsiteY1" fmla="*/ 86754 h 104732"/>
                    <a:gd name="connsiteX2" fmla="*/ 20455 w 46029"/>
                    <a:gd name="connsiteY2" fmla="*/ 90617 h 104732"/>
                    <a:gd name="connsiteX3" fmla="*/ 19958 w 46029"/>
                    <a:gd name="connsiteY3" fmla="*/ 94252 h 104732"/>
                    <a:gd name="connsiteX4" fmla="*/ 19991 w 46029"/>
                    <a:gd name="connsiteY4" fmla="*/ 98000 h 104732"/>
                    <a:gd name="connsiteX5" fmla="*/ 19633 w 46029"/>
                    <a:gd name="connsiteY5" fmla="*/ 101391 h 104732"/>
                    <a:gd name="connsiteX6" fmla="*/ 19029 w 46029"/>
                    <a:gd name="connsiteY6" fmla="*/ 104732 h 104732"/>
                    <a:gd name="connsiteX7" fmla="*/ 16625 w 46029"/>
                    <a:gd name="connsiteY7" fmla="*/ 103779 h 104732"/>
                    <a:gd name="connsiteX8" fmla="*/ 15329 w 46029"/>
                    <a:gd name="connsiteY8" fmla="*/ 101383 h 104732"/>
                    <a:gd name="connsiteX9" fmla="*/ 15020 w 46029"/>
                    <a:gd name="connsiteY9" fmla="*/ 97455 h 104732"/>
                    <a:gd name="connsiteX10" fmla="*/ 13276 w 46029"/>
                    <a:gd name="connsiteY10" fmla="*/ 92695 h 104732"/>
                    <a:gd name="connsiteX11" fmla="*/ 12624 w 46029"/>
                    <a:gd name="connsiteY11" fmla="*/ 91334 h 104732"/>
                    <a:gd name="connsiteX12" fmla="*/ 10097 w 46029"/>
                    <a:gd name="connsiteY12" fmla="*/ 88669 h 104732"/>
                    <a:gd name="connsiteX13" fmla="*/ 7823 w 46029"/>
                    <a:gd name="connsiteY13" fmla="*/ 87341 h 104732"/>
                    <a:gd name="connsiteX14" fmla="*/ 6047 w 46029"/>
                    <a:gd name="connsiteY14" fmla="*/ 85376 h 104732"/>
                    <a:gd name="connsiteX15" fmla="*/ 6275 w 46029"/>
                    <a:gd name="connsiteY15" fmla="*/ 85540 h 104732"/>
                    <a:gd name="connsiteX16" fmla="*/ 4963 w 46029"/>
                    <a:gd name="connsiteY16" fmla="*/ 82891 h 104732"/>
                    <a:gd name="connsiteX17" fmla="*/ 3977 w 46029"/>
                    <a:gd name="connsiteY17" fmla="*/ 80071 h 104732"/>
                    <a:gd name="connsiteX18" fmla="*/ 1923 w 46029"/>
                    <a:gd name="connsiteY18" fmla="*/ 72060 h 104732"/>
                    <a:gd name="connsiteX19" fmla="*/ 1222 w 46029"/>
                    <a:gd name="connsiteY19" fmla="*/ 70120 h 104732"/>
                    <a:gd name="connsiteX20" fmla="*/ 269 w 46029"/>
                    <a:gd name="connsiteY20" fmla="*/ 68360 h 104732"/>
                    <a:gd name="connsiteX21" fmla="*/ 0 w 46029"/>
                    <a:gd name="connsiteY21" fmla="*/ 66608 h 104732"/>
                    <a:gd name="connsiteX22" fmla="*/ 326 w 46029"/>
                    <a:gd name="connsiteY22" fmla="*/ 64660 h 104732"/>
                    <a:gd name="connsiteX23" fmla="*/ 1206 w 46029"/>
                    <a:gd name="connsiteY23" fmla="*/ 61759 h 104732"/>
                    <a:gd name="connsiteX24" fmla="*/ 1744 w 46029"/>
                    <a:gd name="connsiteY24" fmla="*/ 58833 h 104732"/>
                    <a:gd name="connsiteX25" fmla="*/ 1304 w 46029"/>
                    <a:gd name="connsiteY25" fmla="*/ 54848 h 104732"/>
                    <a:gd name="connsiteX26" fmla="*/ 1475 w 46029"/>
                    <a:gd name="connsiteY26" fmla="*/ 50903 h 104732"/>
                    <a:gd name="connsiteX27" fmla="*/ 2135 w 46029"/>
                    <a:gd name="connsiteY27" fmla="*/ 49151 h 104732"/>
                    <a:gd name="connsiteX28" fmla="*/ 13830 w 46029"/>
                    <a:gd name="connsiteY28" fmla="*/ 25060 h 104732"/>
                    <a:gd name="connsiteX29" fmla="*/ 16992 w 46029"/>
                    <a:gd name="connsiteY29" fmla="*/ 19926 h 104732"/>
                    <a:gd name="connsiteX30" fmla="*/ 18940 w 46029"/>
                    <a:gd name="connsiteY30" fmla="*/ 17400 h 104732"/>
                    <a:gd name="connsiteX31" fmla="*/ 20561 w 46029"/>
                    <a:gd name="connsiteY31" fmla="*/ 14555 h 104732"/>
                    <a:gd name="connsiteX32" fmla="*/ 22110 w 46029"/>
                    <a:gd name="connsiteY32" fmla="*/ 10953 h 104732"/>
                    <a:gd name="connsiteX33" fmla="*/ 24009 w 46029"/>
                    <a:gd name="connsiteY33" fmla="*/ 7669 h 104732"/>
                    <a:gd name="connsiteX34" fmla="*/ 25362 w 46029"/>
                    <a:gd name="connsiteY34" fmla="*/ 6650 h 104732"/>
                    <a:gd name="connsiteX35" fmla="*/ 32053 w 46029"/>
                    <a:gd name="connsiteY35" fmla="*/ 3700 h 104732"/>
                    <a:gd name="connsiteX36" fmla="*/ 34147 w 46029"/>
                    <a:gd name="connsiteY36" fmla="*/ 872 h 104732"/>
                    <a:gd name="connsiteX37" fmla="*/ 35818 w 46029"/>
                    <a:gd name="connsiteY37" fmla="*/ 0 h 104732"/>
                    <a:gd name="connsiteX38" fmla="*/ 37708 w 46029"/>
                    <a:gd name="connsiteY38" fmla="*/ 49 h 104732"/>
                    <a:gd name="connsiteX39" fmla="*/ 38939 w 46029"/>
                    <a:gd name="connsiteY39" fmla="*/ 1402 h 104732"/>
                    <a:gd name="connsiteX40" fmla="*/ 40031 w 46029"/>
                    <a:gd name="connsiteY40" fmla="*/ 2999 h 104732"/>
                    <a:gd name="connsiteX41" fmla="*/ 41180 w 46029"/>
                    <a:gd name="connsiteY41" fmla="*/ 3863 h 104732"/>
                    <a:gd name="connsiteX42" fmla="*/ 44139 w 46029"/>
                    <a:gd name="connsiteY42" fmla="*/ 5419 h 104732"/>
                    <a:gd name="connsiteX43" fmla="*/ 45434 w 46029"/>
                    <a:gd name="connsiteY43" fmla="*/ 6927 h 104732"/>
                    <a:gd name="connsiteX44" fmla="*/ 46029 w 46029"/>
                    <a:gd name="connsiteY44" fmla="*/ 9527 h 104732"/>
                    <a:gd name="connsiteX45" fmla="*/ 44229 w 46029"/>
                    <a:gd name="connsiteY45" fmla="*/ 11988 h 104732"/>
                    <a:gd name="connsiteX46" fmla="*/ 43332 w 46029"/>
                    <a:gd name="connsiteY46" fmla="*/ 14213 h 104732"/>
                    <a:gd name="connsiteX47" fmla="*/ 43161 w 46029"/>
                    <a:gd name="connsiteY47" fmla="*/ 16666 h 104732"/>
                    <a:gd name="connsiteX48" fmla="*/ 43479 w 46029"/>
                    <a:gd name="connsiteY48" fmla="*/ 19983 h 104732"/>
                    <a:gd name="connsiteX49" fmla="*/ 43519 w 46029"/>
                    <a:gd name="connsiteY49" fmla="*/ 23308 h 104732"/>
                    <a:gd name="connsiteX50" fmla="*/ 41278 w 46029"/>
                    <a:gd name="connsiteY50" fmla="*/ 31116 h 104732"/>
                    <a:gd name="connsiteX51" fmla="*/ 38858 w 46029"/>
                    <a:gd name="connsiteY51" fmla="*/ 35973 h 104732"/>
                    <a:gd name="connsiteX52" fmla="*/ 38206 w 46029"/>
                    <a:gd name="connsiteY52" fmla="*/ 38393 h 104732"/>
                    <a:gd name="connsiteX53" fmla="*/ 37472 w 46029"/>
                    <a:gd name="connsiteY53" fmla="*/ 44400 h 104732"/>
                    <a:gd name="connsiteX54" fmla="*/ 36046 w 46029"/>
                    <a:gd name="connsiteY54" fmla="*/ 50414 h 104732"/>
                    <a:gd name="connsiteX55" fmla="*/ 34840 w 46029"/>
                    <a:gd name="connsiteY55" fmla="*/ 58050 h 104732"/>
                    <a:gd name="connsiteX56" fmla="*/ 32860 w 46029"/>
                    <a:gd name="connsiteY56" fmla="*/ 65899 h 104732"/>
                    <a:gd name="connsiteX57" fmla="*/ 31735 w 46029"/>
                    <a:gd name="connsiteY57" fmla="*/ 69183 h 104732"/>
                    <a:gd name="connsiteX58" fmla="*/ 30341 w 46029"/>
                    <a:gd name="connsiteY58" fmla="*/ 72321 h 104732"/>
                    <a:gd name="connsiteX59" fmla="*/ 27008 w 46029"/>
                    <a:gd name="connsiteY59" fmla="*/ 78254 h 104732"/>
                    <a:gd name="connsiteX60" fmla="*/ 23219 w 46029"/>
                    <a:gd name="connsiteY60" fmla="*/ 83111 h 104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6029" h="104732">
                      <a:moveTo>
                        <a:pt x="23219" y="83111"/>
                      </a:moveTo>
                      <a:lnTo>
                        <a:pt x="21686" y="86754"/>
                      </a:lnTo>
                      <a:lnTo>
                        <a:pt x="20455" y="90617"/>
                      </a:lnTo>
                      <a:lnTo>
                        <a:pt x="19958" y="94252"/>
                      </a:lnTo>
                      <a:lnTo>
                        <a:pt x="19991" y="98000"/>
                      </a:lnTo>
                      <a:lnTo>
                        <a:pt x="19633" y="101391"/>
                      </a:lnTo>
                      <a:lnTo>
                        <a:pt x="19029" y="104732"/>
                      </a:lnTo>
                      <a:lnTo>
                        <a:pt x="16625" y="103779"/>
                      </a:lnTo>
                      <a:lnTo>
                        <a:pt x="15329" y="101383"/>
                      </a:lnTo>
                      <a:lnTo>
                        <a:pt x="15020" y="97455"/>
                      </a:lnTo>
                      <a:lnTo>
                        <a:pt x="13276" y="92695"/>
                      </a:lnTo>
                      <a:lnTo>
                        <a:pt x="12624" y="91334"/>
                      </a:lnTo>
                      <a:lnTo>
                        <a:pt x="10097" y="88669"/>
                      </a:lnTo>
                      <a:lnTo>
                        <a:pt x="7823" y="87341"/>
                      </a:lnTo>
                      <a:lnTo>
                        <a:pt x="6047" y="85376"/>
                      </a:lnTo>
                      <a:lnTo>
                        <a:pt x="6275" y="85540"/>
                      </a:lnTo>
                      <a:lnTo>
                        <a:pt x="4963" y="82891"/>
                      </a:lnTo>
                      <a:lnTo>
                        <a:pt x="3977" y="80071"/>
                      </a:lnTo>
                      <a:lnTo>
                        <a:pt x="1923" y="72060"/>
                      </a:lnTo>
                      <a:lnTo>
                        <a:pt x="1222" y="70120"/>
                      </a:lnTo>
                      <a:lnTo>
                        <a:pt x="269" y="68360"/>
                      </a:lnTo>
                      <a:lnTo>
                        <a:pt x="0" y="66608"/>
                      </a:lnTo>
                      <a:lnTo>
                        <a:pt x="326" y="64660"/>
                      </a:lnTo>
                      <a:lnTo>
                        <a:pt x="1206" y="61759"/>
                      </a:lnTo>
                      <a:lnTo>
                        <a:pt x="1744" y="58833"/>
                      </a:lnTo>
                      <a:lnTo>
                        <a:pt x="1304" y="54848"/>
                      </a:lnTo>
                      <a:lnTo>
                        <a:pt x="1475" y="50903"/>
                      </a:lnTo>
                      <a:lnTo>
                        <a:pt x="2135" y="49151"/>
                      </a:lnTo>
                      <a:lnTo>
                        <a:pt x="13830" y="25060"/>
                      </a:lnTo>
                      <a:lnTo>
                        <a:pt x="16992" y="19926"/>
                      </a:lnTo>
                      <a:lnTo>
                        <a:pt x="18940" y="17400"/>
                      </a:lnTo>
                      <a:lnTo>
                        <a:pt x="20561" y="14555"/>
                      </a:lnTo>
                      <a:lnTo>
                        <a:pt x="22110" y="10953"/>
                      </a:lnTo>
                      <a:lnTo>
                        <a:pt x="24009" y="7669"/>
                      </a:lnTo>
                      <a:lnTo>
                        <a:pt x="25362" y="6650"/>
                      </a:lnTo>
                      <a:lnTo>
                        <a:pt x="32053" y="3700"/>
                      </a:lnTo>
                      <a:lnTo>
                        <a:pt x="34147" y="872"/>
                      </a:lnTo>
                      <a:lnTo>
                        <a:pt x="35818" y="0"/>
                      </a:lnTo>
                      <a:lnTo>
                        <a:pt x="37708" y="49"/>
                      </a:lnTo>
                      <a:lnTo>
                        <a:pt x="38939" y="1402"/>
                      </a:lnTo>
                      <a:lnTo>
                        <a:pt x="40031" y="2999"/>
                      </a:lnTo>
                      <a:lnTo>
                        <a:pt x="41180" y="3863"/>
                      </a:lnTo>
                      <a:lnTo>
                        <a:pt x="44139" y="5419"/>
                      </a:lnTo>
                      <a:lnTo>
                        <a:pt x="45434" y="6927"/>
                      </a:lnTo>
                      <a:lnTo>
                        <a:pt x="46029" y="9527"/>
                      </a:lnTo>
                      <a:lnTo>
                        <a:pt x="44229" y="11988"/>
                      </a:lnTo>
                      <a:lnTo>
                        <a:pt x="43332" y="14213"/>
                      </a:lnTo>
                      <a:lnTo>
                        <a:pt x="43161" y="16666"/>
                      </a:lnTo>
                      <a:lnTo>
                        <a:pt x="43479" y="19983"/>
                      </a:lnTo>
                      <a:lnTo>
                        <a:pt x="43519" y="23308"/>
                      </a:lnTo>
                      <a:lnTo>
                        <a:pt x="41278" y="31116"/>
                      </a:lnTo>
                      <a:lnTo>
                        <a:pt x="38858" y="35973"/>
                      </a:lnTo>
                      <a:lnTo>
                        <a:pt x="38206" y="38393"/>
                      </a:lnTo>
                      <a:lnTo>
                        <a:pt x="37472" y="44400"/>
                      </a:lnTo>
                      <a:lnTo>
                        <a:pt x="36046" y="50414"/>
                      </a:lnTo>
                      <a:lnTo>
                        <a:pt x="34840" y="58050"/>
                      </a:lnTo>
                      <a:lnTo>
                        <a:pt x="32860" y="65899"/>
                      </a:lnTo>
                      <a:lnTo>
                        <a:pt x="31735" y="69183"/>
                      </a:lnTo>
                      <a:lnTo>
                        <a:pt x="30341" y="72321"/>
                      </a:lnTo>
                      <a:lnTo>
                        <a:pt x="27008" y="78254"/>
                      </a:lnTo>
                      <a:lnTo>
                        <a:pt x="23219" y="83111"/>
                      </a:lnTo>
                      <a:close/>
                    </a:path>
                  </a:pathLst>
                </a:custGeom>
                <a:solidFill>
                  <a:srgbClr val="D6D6D2"/>
                </a:solidFill>
                <a:ln w="8150" cap="flat">
                  <a:noFill/>
                  <a:prstDash val="solid"/>
                  <a:miter/>
                </a:ln>
              </p:spPr>
              <p:txBody>
                <a:bodyPr rtlCol="0" anchor="ctr"/>
                <a:lstStyle/>
                <a:p>
                  <a:endParaRPr lang="en-US"/>
                </a:p>
              </p:txBody>
            </p:sp>
            <p:sp>
              <p:nvSpPr>
                <p:cNvPr id="558" name="Freeform: Shape 557">
                  <a:extLst>
                    <a:ext uri="{FF2B5EF4-FFF2-40B4-BE49-F238E27FC236}">
                      <a16:creationId xmlns:a16="http://schemas.microsoft.com/office/drawing/2014/main" id="{BF68DE4B-5369-4A8D-81B0-8A7062521D3D}"/>
                    </a:ext>
                  </a:extLst>
                </p:cNvPr>
                <p:cNvSpPr/>
                <p:nvPr/>
              </p:nvSpPr>
              <p:spPr>
                <a:xfrm>
                  <a:off x="6589458" y="3204370"/>
                  <a:ext cx="465741" cy="210980"/>
                </a:xfrm>
                <a:custGeom>
                  <a:avLst/>
                  <a:gdLst>
                    <a:gd name="connsiteX0" fmla="*/ 225071 w 465741"/>
                    <a:gd name="connsiteY0" fmla="*/ 4670 h 210980"/>
                    <a:gd name="connsiteX1" fmla="*/ 225275 w 465741"/>
                    <a:gd name="connsiteY1" fmla="*/ 6927 h 210980"/>
                    <a:gd name="connsiteX2" fmla="*/ 227434 w 465741"/>
                    <a:gd name="connsiteY2" fmla="*/ 10252 h 210980"/>
                    <a:gd name="connsiteX3" fmla="*/ 229643 w 465741"/>
                    <a:gd name="connsiteY3" fmla="*/ 12510 h 210980"/>
                    <a:gd name="connsiteX4" fmla="*/ 236098 w 465741"/>
                    <a:gd name="connsiteY4" fmla="*/ 15745 h 210980"/>
                    <a:gd name="connsiteX5" fmla="*/ 245070 w 465741"/>
                    <a:gd name="connsiteY5" fmla="*/ 13015 h 210980"/>
                    <a:gd name="connsiteX6" fmla="*/ 246521 w 465741"/>
                    <a:gd name="connsiteY6" fmla="*/ 13317 h 210980"/>
                    <a:gd name="connsiteX7" fmla="*/ 248355 w 465741"/>
                    <a:gd name="connsiteY7" fmla="*/ 14083 h 210980"/>
                    <a:gd name="connsiteX8" fmla="*/ 251517 w 465741"/>
                    <a:gd name="connsiteY8" fmla="*/ 22852 h 210980"/>
                    <a:gd name="connsiteX9" fmla="*/ 253978 w 465741"/>
                    <a:gd name="connsiteY9" fmla="*/ 25941 h 210980"/>
                    <a:gd name="connsiteX10" fmla="*/ 257132 w 465741"/>
                    <a:gd name="connsiteY10" fmla="*/ 28051 h 210980"/>
                    <a:gd name="connsiteX11" fmla="*/ 259716 w 465741"/>
                    <a:gd name="connsiteY11" fmla="*/ 28467 h 210980"/>
                    <a:gd name="connsiteX12" fmla="*/ 261631 w 465741"/>
                    <a:gd name="connsiteY12" fmla="*/ 26275 h 210980"/>
                    <a:gd name="connsiteX13" fmla="*/ 263114 w 465741"/>
                    <a:gd name="connsiteY13" fmla="*/ 25386 h 210980"/>
                    <a:gd name="connsiteX14" fmla="*/ 266350 w 465741"/>
                    <a:gd name="connsiteY14" fmla="*/ 25012 h 210980"/>
                    <a:gd name="connsiteX15" fmla="*/ 271663 w 465741"/>
                    <a:gd name="connsiteY15" fmla="*/ 28027 h 210980"/>
                    <a:gd name="connsiteX16" fmla="*/ 273513 w 465741"/>
                    <a:gd name="connsiteY16" fmla="*/ 31140 h 210980"/>
                    <a:gd name="connsiteX17" fmla="*/ 282551 w 465741"/>
                    <a:gd name="connsiteY17" fmla="*/ 33536 h 210980"/>
                    <a:gd name="connsiteX18" fmla="*/ 290856 w 465741"/>
                    <a:gd name="connsiteY18" fmla="*/ 34734 h 210980"/>
                    <a:gd name="connsiteX19" fmla="*/ 294433 w 465741"/>
                    <a:gd name="connsiteY19" fmla="*/ 37367 h 210980"/>
                    <a:gd name="connsiteX20" fmla="*/ 306112 w 465741"/>
                    <a:gd name="connsiteY20" fmla="*/ 39999 h 210980"/>
                    <a:gd name="connsiteX21" fmla="*/ 310480 w 465741"/>
                    <a:gd name="connsiteY21" fmla="*/ 39591 h 210980"/>
                    <a:gd name="connsiteX22" fmla="*/ 317807 w 465741"/>
                    <a:gd name="connsiteY22" fmla="*/ 36829 h 210980"/>
                    <a:gd name="connsiteX23" fmla="*/ 332044 w 465741"/>
                    <a:gd name="connsiteY23" fmla="*/ 33797 h 210980"/>
                    <a:gd name="connsiteX24" fmla="*/ 341498 w 465741"/>
                    <a:gd name="connsiteY24" fmla="*/ 38035 h 210980"/>
                    <a:gd name="connsiteX25" fmla="*/ 344057 w 465741"/>
                    <a:gd name="connsiteY25" fmla="*/ 38573 h 210980"/>
                    <a:gd name="connsiteX26" fmla="*/ 346274 w 465741"/>
                    <a:gd name="connsiteY26" fmla="*/ 38214 h 210980"/>
                    <a:gd name="connsiteX27" fmla="*/ 349444 w 465741"/>
                    <a:gd name="connsiteY27" fmla="*/ 39380 h 210980"/>
                    <a:gd name="connsiteX28" fmla="*/ 352843 w 465741"/>
                    <a:gd name="connsiteY28" fmla="*/ 38752 h 210980"/>
                    <a:gd name="connsiteX29" fmla="*/ 363315 w 465741"/>
                    <a:gd name="connsiteY29" fmla="*/ 33772 h 210980"/>
                    <a:gd name="connsiteX30" fmla="*/ 366583 w 465741"/>
                    <a:gd name="connsiteY30" fmla="*/ 30945 h 210980"/>
                    <a:gd name="connsiteX31" fmla="*/ 370063 w 465741"/>
                    <a:gd name="connsiteY31" fmla="*/ 30219 h 210980"/>
                    <a:gd name="connsiteX32" fmla="*/ 373135 w 465741"/>
                    <a:gd name="connsiteY32" fmla="*/ 28524 h 210980"/>
                    <a:gd name="connsiteX33" fmla="*/ 381350 w 465741"/>
                    <a:gd name="connsiteY33" fmla="*/ 22966 h 210980"/>
                    <a:gd name="connsiteX34" fmla="*/ 383714 w 465741"/>
                    <a:gd name="connsiteY34" fmla="*/ 19747 h 210980"/>
                    <a:gd name="connsiteX35" fmla="*/ 385360 w 465741"/>
                    <a:gd name="connsiteY35" fmla="*/ 20448 h 210980"/>
                    <a:gd name="connsiteX36" fmla="*/ 388465 w 465741"/>
                    <a:gd name="connsiteY36" fmla="*/ 21320 h 210980"/>
                    <a:gd name="connsiteX37" fmla="*/ 390388 w 465741"/>
                    <a:gd name="connsiteY37" fmla="*/ 22387 h 210980"/>
                    <a:gd name="connsiteX38" fmla="*/ 391489 w 465741"/>
                    <a:gd name="connsiteY38" fmla="*/ 22664 h 210980"/>
                    <a:gd name="connsiteX39" fmla="*/ 394031 w 465741"/>
                    <a:gd name="connsiteY39" fmla="*/ 20497 h 210980"/>
                    <a:gd name="connsiteX40" fmla="*/ 397805 w 465741"/>
                    <a:gd name="connsiteY40" fmla="*/ 20554 h 210980"/>
                    <a:gd name="connsiteX41" fmla="*/ 401105 w 465741"/>
                    <a:gd name="connsiteY41" fmla="*/ 20798 h 210980"/>
                    <a:gd name="connsiteX42" fmla="*/ 402817 w 465741"/>
                    <a:gd name="connsiteY42" fmla="*/ 21206 h 210980"/>
                    <a:gd name="connsiteX43" fmla="*/ 404903 w 465741"/>
                    <a:gd name="connsiteY43" fmla="*/ 21923 h 210980"/>
                    <a:gd name="connsiteX44" fmla="*/ 407446 w 465741"/>
                    <a:gd name="connsiteY44" fmla="*/ 22404 h 210980"/>
                    <a:gd name="connsiteX45" fmla="*/ 408465 w 465741"/>
                    <a:gd name="connsiteY45" fmla="*/ 21369 h 210980"/>
                    <a:gd name="connsiteX46" fmla="*/ 409956 w 465741"/>
                    <a:gd name="connsiteY46" fmla="*/ 18313 h 210980"/>
                    <a:gd name="connsiteX47" fmla="*/ 410518 w 465741"/>
                    <a:gd name="connsiteY47" fmla="*/ 17921 h 210980"/>
                    <a:gd name="connsiteX48" fmla="*/ 410934 w 465741"/>
                    <a:gd name="connsiteY48" fmla="*/ 17644 h 210980"/>
                    <a:gd name="connsiteX49" fmla="*/ 412800 w 465741"/>
                    <a:gd name="connsiteY49" fmla="*/ 17408 h 210980"/>
                    <a:gd name="connsiteX50" fmla="*/ 414593 w 465741"/>
                    <a:gd name="connsiteY50" fmla="*/ 17644 h 210980"/>
                    <a:gd name="connsiteX51" fmla="*/ 415432 w 465741"/>
                    <a:gd name="connsiteY51" fmla="*/ 18166 h 210980"/>
                    <a:gd name="connsiteX52" fmla="*/ 416264 w 465741"/>
                    <a:gd name="connsiteY52" fmla="*/ 20603 h 210980"/>
                    <a:gd name="connsiteX53" fmla="*/ 418383 w 465741"/>
                    <a:gd name="connsiteY53" fmla="*/ 21475 h 210980"/>
                    <a:gd name="connsiteX54" fmla="*/ 422107 w 465741"/>
                    <a:gd name="connsiteY54" fmla="*/ 25378 h 210980"/>
                    <a:gd name="connsiteX55" fmla="*/ 424389 w 465741"/>
                    <a:gd name="connsiteY55" fmla="*/ 26943 h 210980"/>
                    <a:gd name="connsiteX56" fmla="*/ 424935 w 465741"/>
                    <a:gd name="connsiteY56" fmla="*/ 27603 h 210980"/>
                    <a:gd name="connsiteX57" fmla="*/ 424193 w 465741"/>
                    <a:gd name="connsiteY57" fmla="*/ 28394 h 210980"/>
                    <a:gd name="connsiteX58" fmla="*/ 424479 w 465741"/>
                    <a:gd name="connsiteY58" fmla="*/ 29363 h 210980"/>
                    <a:gd name="connsiteX59" fmla="*/ 425783 w 465741"/>
                    <a:gd name="connsiteY59" fmla="*/ 30635 h 210980"/>
                    <a:gd name="connsiteX60" fmla="*/ 427616 w 465741"/>
                    <a:gd name="connsiteY60" fmla="*/ 31108 h 210980"/>
                    <a:gd name="connsiteX61" fmla="*/ 429589 w 465741"/>
                    <a:gd name="connsiteY61" fmla="*/ 30936 h 210980"/>
                    <a:gd name="connsiteX62" fmla="*/ 430664 w 465741"/>
                    <a:gd name="connsiteY62" fmla="*/ 31401 h 210980"/>
                    <a:gd name="connsiteX63" fmla="*/ 431447 w 465741"/>
                    <a:gd name="connsiteY63" fmla="*/ 32118 h 210980"/>
                    <a:gd name="connsiteX64" fmla="*/ 431642 w 465741"/>
                    <a:gd name="connsiteY64" fmla="*/ 33129 h 210980"/>
                    <a:gd name="connsiteX65" fmla="*/ 431585 w 465741"/>
                    <a:gd name="connsiteY65" fmla="*/ 33772 h 210980"/>
                    <a:gd name="connsiteX66" fmla="*/ 431977 w 465741"/>
                    <a:gd name="connsiteY66" fmla="*/ 35223 h 210980"/>
                    <a:gd name="connsiteX67" fmla="*/ 433517 w 465741"/>
                    <a:gd name="connsiteY67" fmla="*/ 37269 h 210980"/>
                    <a:gd name="connsiteX68" fmla="*/ 435359 w 465741"/>
                    <a:gd name="connsiteY68" fmla="*/ 38516 h 210980"/>
                    <a:gd name="connsiteX69" fmla="*/ 436353 w 465741"/>
                    <a:gd name="connsiteY69" fmla="*/ 39852 h 210980"/>
                    <a:gd name="connsiteX70" fmla="*/ 437959 w 465741"/>
                    <a:gd name="connsiteY70" fmla="*/ 44449 h 210980"/>
                    <a:gd name="connsiteX71" fmla="*/ 438602 w 465741"/>
                    <a:gd name="connsiteY71" fmla="*/ 46991 h 210980"/>
                    <a:gd name="connsiteX72" fmla="*/ 438366 w 465741"/>
                    <a:gd name="connsiteY72" fmla="*/ 49436 h 210980"/>
                    <a:gd name="connsiteX73" fmla="*/ 437249 w 465741"/>
                    <a:gd name="connsiteY73" fmla="*/ 51946 h 210980"/>
                    <a:gd name="connsiteX74" fmla="*/ 434804 w 465741"/>
                    <a:gd name="connsiteY74" fmla="*/ 55068 h 210980"/>
                    <a:gd name="connsiteX75" fmla="*/ 435407 w 465741"/>
                    <a:gd name="connsiteY75" fmla="*/ 56372 h 210980"/>
                    <a:gd name="connsiteX76" fmla="*/ 435946 w 465741"/>
                    <a:gd name="connsiteY76" fmla="*/ 58091 h 210980"/>
                    <a:gd name="connsiteX77" fmla="*/ 435766 w 465741"/>
                    <a:gd name="connsiteY77" fmla="*/ 59338 h 210980"/>
                    <a:gd name="connsiteX78" fmla="*/ 437502 w 465741"/>
                    <a:gd name="connsiteY78" fmla="*/ 63323 h 210980"/>
                    <a:gd name="connsiteX79" fmla="*/ 438284 w 465741"/>
                    <a:gd name="connsiteY79" fmla="*/ 65793 h 210980"/>
                    <a:gd name="connsiteX80" fmla="*/ 437632 w 465741"/>
                    <a:gd name="connsiteY80" fmla="*/ 66363 h 210980"/>
                    <a:gd name="connsiteX81" fmla="*/ 437208 w 465741"/>
                    <a:gd name="connsiteY81" fmla="*/ 67154 h 210980"/>
                    <a:gd name="connsiteX82" fmla="*/ 440322 w 465741"/>
                    <a:gd name="connsiteY82" fmla="*/ 69053 h 210980"/>
                    <a:gd name="connsiteX83" fmla="*/ 444046 w 465741"/>
                    <a:gd name="connsiteY83" fmla="*/ 70650 h 210980"/>
                    <a:gd name="connsiteX84" fmla="*/ 445619 w 465741"/>
                    <a:gd name="connsiteY84" fmla="*/ 70960 h 210980"/>
                    <a:gd name="connsiteX85" fmla="*/ 449898 w 465741"/>
                    <a:gd name="connsiteY85" fmla="*/ 70226 h 210980"/>
                    <a:gd name="connsiteX86" fmla="*/ 452652 w 465741"/>
                    <a:gd name="connsiteY86" fmla="*/ 70063 h 210980"/>
                    <a:gd name="connsiteX87" fmla="*/ 455391 w 465741"/>
                    <a:gd name="connsiteY87" fmla="*/ 71579 h 210980"/>
                    <a:gd name="connsiteX88" fmla="*/ 459376 w 465741"/>
                    <a:gd name="connsiteY88" fmla="*/ 75246 h 210980"/>
                    <a:gd name="connsiteX89" fmla="*/ 463679 w 465741"/>
                    <a:gd name="connsiteY89" fmla="*/ 80014 h 210980"/>
                    <a:gd name="connsiteX90" fmla="*/ 464526 w 465741"/>
                    <a:gd name="connsiteY90" fmla="*/ 81473 h 210980"/>
                    <a:gd name="connsiteX91" fmla="*/ 464901 w 465741"/>
                    <a:gd name="connsiteY91" fmla="*/ 82109 h 210980"/>
                    <a:gd name="connsiteX92" fmla="*/ 465741 w 465741"/>
                    <a:gd name="connsiteY92" fmla="*/ 83266 h 210980"/>
                    <a:gd name="connsiteX93" fmla="*/ 464877 w 465741"/>
                    <a:gd name="connsiteY93" fmla="*/ 83249 h 210980"/>
                    <a:gd name="connsiteX94" fmla="*/ 463459 w 465741"/>
                    <a:gd name="connsiteY94" fmla="*/ 82214 h 210980"/>
                    <a:gd name="connsiteX95" fmla="*/ 460044 w 465741"/>
                    <a:gd name="connsiteY95" fmla="*/ 79272 h 210980"/>
                    <a:gd name="connsiteX96" fmla="*/ 458284 w 465741"/>
                    <a:gd name="connsiteY96" fmla="*/ 80544 h 210980"/>
                    <a:gd name="connsiteX97" fmla="*/ 456784 w 465741"/>
                    <a:gd name="connsiteY97" fmla="*/ 82728 h 210980"/>
                    <a:gd name="connsiteX98" fmla="*/ 455130 w 465741"/>
                    <a:gd name="connsiteY98" fmla="*/ 91000 h 210980"/>
                    <a:gd name="connsiteX99" fmla="*/ 453793 w 465741"/>
                    <a:gd name="connsiteY99" fmla="*/ 91880 h 210980"/>
                    <a:gd name="connsiteX100" fmla="*/ 451446 w 465741"/>
                    <a:gd name="connsiteY100" fmla="*/ 91856 h 210980"/>
                    <a:gd name="connsiteX101" fmla="*/ 448553 w 465741"/>
                    <a:gd name="connsiteY101" fmla="*/ 91570 h 210980"/>
                    <a:gd name="connsiteX102" fmla="*/ 446572 w 465741"/>
                    <a:gd name="connsiteY102" fmla="*/ 91978 h 210980"/>
                    <a:gd name="connsiteX103" fmla="*/ 446059 w 465741"/>
                    <a:gd name="connsiteY103" fmla="*/ 92500 h 210980"/>
                    <a:gd name="connsiteX104" fmla="*/ 446328 w 465741"/>
                    <a:gd name="connsiteY104" fmla="*/ 93388 h 210980"/>
                    <a:gd name="connsiteX105" fmla="*/ 446907 w 465741"/>
                    <a:gd name="connsiteY105" fmla="*/ 94749 h 210980"/>
                    <a:gd name="connsiteX106" fmla="*/ 447331 w 465741"/>
                    <a:gd name="connsiteY106" fmla="*/ 96468 h 210980"/>
                    <a:gd name="connsiteX107" fmla="*/ 447445 w 465741"/>
                    <a:gd name="connsiteY107" fmla="*/ 97870 h 210980"/>
                    <a:gd name="connsiteX108" fmla="*/ 448496 w 465741"/>
                    <a:gd name="connsiteY108" fmla="*/ 99150 h 210980"/>
                    <a:gd name="connsiteX109" fmla="*/ 449906 w 465741"/>
                    <a:gd name="connsiteY109" fmla="*/ 100348 h 210980"/>
                    <a:gd name="connsiteX110" fmla="*/ 449971 w 465741"/>
                    <a:gd name="connsiteY110" fmla="*/ 101595 h 210980"/>
                    <a:gd name="connsiteX111" fmla="*/ 449759 w 465741"/>
                    <a:gd name="connsiteY111" fmla="*/ 103339 h 210980"/>
                    <a:gd name="connsiteX112" fmla="*/ 449433 w 465741"/>
                    <a:gd name="connsiteY112" fmla="*/ 104675 h 210980"/>
                    <a:gd name="connsiteX113" fmla="*/ 449074 w 465741"/>
                    <a:gd name="connsiteY113" fmla="*/ 105425 h 210980"/>
                    <a:gd name="connsiteX114" fmla="*/ 449727 w 465741"/>
                    <a:gd name="connsiteY114" fmla="*/ 107446 h 210980"/>
                    <a:gd name="connsiteX115" fmla="*/ 451259 w 465741"/>
                    <a:gd name="connsiteY115" fmla="*/ 109842 h 210980"/>
                    <a:gd name="connsiteX116" fmla="*/ 452229 w 465741"/>
                    <a:gd name="connsiteY116" fmla="*/ 110755 h 210980"/>
                    <a:gd name="connsiteX117" fmla="*/ 451862 w 465741"/>
                    <a:gd name="connsiteY117" fmla="*/ 115311 h 210980"/>
                    <a:gd name="connsiteX118" fmla="*/ 452433 w 465741"/>
                    <a:gd name="connsiteY118" fmla="*/ 117332 h 210980"/>
                    <a:gd name="connsiteX119" fmla="*/ 452872 w 465741"/>
                    <a:gd name="connsiteY119" fmla="*/ 120119 h 210980"/>
                    <a:gd name="connsiteX120" fmla="*/ 452701 w 465741"/>
                    <a:gd name="connsiteY120" fmla="*/ 124740 h 210980"/>
                    <a:gd name="connsiteX121" fmla="*/ 452889 w 465741"/>
                    <a:gd name="connsiteY121" fmla="*/ 125881 h 210980"/>
                    <a:gd name="connsiteX122" fmla="*/ 453410 w 465741"/>
                    <a:gd name="connsiteY122" fmla="*/ 126272 h 210980"/>
                    <a:gd name="connsiteX123" fmla="*/ 454804 w 465741"/>
                    <a:gd name="connsiteY123" fmla="*/ 126443 h 210980"/>
                    <a:gd name="connsiteX124" fmla="*/ 456165 w 465741"/>
                    <a:gd name="connsiteY124" fmla="*/ 126875 h 210980"/>
                    <a:gd name="connsiteX125" fmla="*/ 456638 w 465741"/>
                    <a:gd name="connsiteY125" fmla="*/ 127633 h 210980"/>
                    <a:gd name="connsiteX126" fmla="*/ 456638 w 465741"/>
                    <a:gd name="connsiteY126" fmla="*/ 128187 h 210980"/>
                    <a:gd name="connsiteX127" fmla="*/ 454934 w 465741"/>
                    <a:gd name="connsiteY127" fmla="*/ 130306 h 210980"/>
                    <a:gd name="connsiteX128" fmla="*/ 454739 w 465741"/>
                    <a:gd name="connsiteY128" fmla="*/ 131814 h 210980"/>
                    <a:gd name="connsiteX129" fmla="*/ 454144 w 465741"/>
                    <a:gd name="connsiteY129" fmla="*/ 133933 h 210980"/>
                    <a:gd name="connsiteX130" fmla="*/ 453655 w 465741"/>
                    <a:gd name="connsiteY130" fmla="*/ 135180 h 210980"/>
                    <a:gd name="connsiteX131" fmla="*/ 452131 w 465741"/>
                    <a:gd name="connsiteY131" fmla="*/ 137535 h 210980"/>
                    <a:gd name="connsiteX132" fmla="*/ 451161 w 465741"/>
                    <a:gd name="connsiteY132" fmla="*/ 139939 h 210980"/>
                    <a:gd name="connsiteX133" fmla="*/ 450721 w 465741"/>
                    <a:gd name="connsiteY133" fmla="*/ 141919 h 210980"/>
                    <a:gd name="connsiteX134" fmla="*/ 451014 w 465741"/>
                    <a:gd name="connsiteY134" fmla="*/ 142849 h 210980"/>
                    <a:gd name="connsiteX135" fmla="*/ 453818 w 465741"/>
                    <a:gd name="connsiteY135" fmla="*/ 143126 h 210980"/>
                    <a:gd name="connsiteX136" fmla="*/ 455350 w 465741"/>
                    <a:gd name="connsiteY136" fmla="*/ 144552 h 210980"/>
                    <a:gd name="connsiteX137" fmla="*/ 459408 w 465741"/>
                    <a:gd name="connsiteY137" fmla="*/ 147380 h 210980"/>
                    <a:gd name="connsiteX138" fmla="*/ 460118 w 465741"/>
                    <a:gd name="connsiteY138" fmla="*/ 148521 h 210980"/>
                    <a:gd name="connsiteX139" fmla="*/ 459009 w 465741"/>
                    <a:gd name="connsiteY139" fmla="*/ 150273 h 210980"/>
                    <a:gd name="connsiteX140" fmla="*/ 459034 w 465741"/>
                    <a:gd name="connsiteY140" fmla="*/ 150998 h 210980"/>
                    <a:gd name="connsiteX141" fmla="*/ 459547 w 465741"/>
                    <a:gd name="connsiteY141" fmla="*/ 151919 h 210980"/>
                    <a:gd name="connsiteX142" fmla="*/ 459791 w 465741"/>
                    <a:gd name="connsiteY142" fmla="*/ 153533 h 210980"/>
                    <a:gd name="connsiteX143" fmla="*/ 459694 w 465741"/>
                    <a:gd name="connsiteY143" fmla="*/ 155334 h 210980"/>
                    <a:gd name="connsiteX144" fmla="*/ 459718 w 465741"/>
                    <a:gd name="connsiteY144" fmla="*/ 157714 h 210980"/>
                    <a:gd name="connsiteX145" fmla="*/ 460460 w 465741"/>
                    <a:gd name="connsiteY145" fmla="*/ 158105 h 210980"/>
                    <a:gd name="connsiteX146" fmla="*/ 463223 w 465741"/>
                    <a:gd name="connsiteY146" fmla="*/ 160322 h 210980"/>
                    <a:gd name="connsiteX147" fmla="*/ 465178 w 465741"/>
                    <a:gd name="connsiteY147" fmla="*/ 162546 h 210980"/>
                    <a:gd name="connsiteX148" fmla="*/ 465244 w 465741"/>
                    <a:gd name="connsiteY148" fmla="*/ 163231 h 210980"/>
                    <a:gd name="connsiteX149" fmla="*/ 464290 w 465741"/>
                    <a:gd name="connsiteY149" fmla="*/ 164983 h 210980"/>
                    <a:gd name="connsiteX150" fmla="*/ 464494 w 465741"/>
                    <a:gd name="connsiteY150" fmla="*/ 167012 h 210980"/>
                    <a:gd name="connsiteX151" fmla="*/ 464453 w 465741"/>
                    <a:gd name="connsiteY151" fmla="*/ 167477 h 210980"/>
                    <a:gd name="connsiteX152" fmla="*/ 463606 w 465741"/>
                    <a:gd name="connsiteY152" fmla="*/ 166711 h 210980"/>
                    <a:gd name="connsiteX153" fmla="*/ 462081 w 465741"/>
                    <a:gd name="connsiteY153" fmla="*/ 166434 h 210980"/>
                    <a:gd name="connsiteX154" fmla="*/ 460509 w 465741"/>
                    <a:gd name="connsiteY154" fmla="*/ 166352 h 210980"/>
                    <a:gd name="connsiteX155" fmla="*/ 459523 w 465741"/>
                    <a:gd name="connsiteY155" fmla="*/ 166939 h 210980"/>
                    <a:gd name="connsiteX156" fmla="*/ 457778 w 465741"/>
                    <a:gd name="connsiteY156" fmla="*/ 168537 h 210980"/>
                    <a:gd name="connsiteX157" fmla="*/ 455448 w 465741"/>
                    <a:gd name="connsiteY157" fmla="*/ 170264 h 210980"/>
                    <a:gd name="connsiteX158" fmla="*/ 453565 w 465741"/>
                    <a:gd name="connsiteY158" fmla="*/ 171853 h 210980"/>
                    <a:gd name="connsiteX159" fmla="*/ 452473 w 465741"/>
                    <a:gd name="connsiteY159" fmla="*/ 172937 h 210980"/>
                    <a:gd name="connsiteX160" fmla="*/ 451585 w 465741"/>
                    <a:gd name="connsiteY160" fmla="*/ 172766 h 210980"/>
                    <a:gd name="connsiteX161" fmla="*/ 450876 w 465741"/>
                    <a:gd name="connsiteY161" fmla="*/ 171813 h 210980"/>
                    <a:gd name="connsiteX162" fmla="*/ 450493 w 465741"/>
                    <a:gd name="connsiteY162" fmla="*/ 170484 h 210980"/>
                    <a:gd name="connsiteX163" fmla="*/ 450656 w 465741"/>
                    <a:gd name="connsiteY163" fmla="*/ 165464 h 210980"/>
                    <a:gd name="connsiteX164" fmla="*/ 450240 w 465741"/>
                    <a:gd name="connsiteY164" fmla="*/ 163883 h 210980"/>
                    <a:gd name="connsiteX165" fmla="*/ 449360 w 465741"/>
                    <a:gd name="connsiteY165" fmla="*/ 162783 h 210980"/>
                    <a:gd name="connsiteX166" fmla="*/ 448333 w 465741"/>
                    <a:gd name="connsiteY166" fmla="*/ 162147 h 210980"/>
                    <a:gd name="connsiteX167" fmla="*/ 447094 w 465741"/>
                    <a:gd name="connsiteY167" fmla="*/ 161797 h 210980"/>
                    <a:gd name="connsiteX168" fmla="*/ 445823 w 465741"/>
                    <a:gd name="connsiteY168" fmla="*/ 161756 h 210980"/>
                    <a:gd name="connsiteX169" fmla="*/ 444014 w 465741"/>
                    <a:gd name="connsiteY169" fmla="*/ 163239 h 210980"/>
                    <a:gd name="connsiteX170" fmla="*/ 441439 w 465741"/>
                    <a:gd name="connsiteY170" fmla="*/ 164763 h 210980"/>
                    <a:gd name="connsiteX171" fmla="*/ 437453 w 465741"/>
                    <a:gd name="connsiteY171" fmla="*/ 164641 h 210980"/>
                    <a:gd name="connsiteX172" fmla="*/ 434788 w 465741"/>
                    <a:gd name="connsiteY172" fmla="*/ 164356 h 210980"/>
                    <a:gd name="connsiteX173" fmla="*/ 433492 w 465741"/>
                    <a:gd name="connsiteY173" fmla="*/ 164062 h 210980"/>
                    <a:gd name="connsiteX174" fmla="*/ 428301 w 465741"/>
                    <a:gd name="connsiteY174" fmla="*/ 161723 h 210980"/>
                    <a:gd name="connsiteX175" fmla="*/ 427225 w 465741"/>
                    <a:gd name="connsiteY175" fmla="*/ 161666 h 210980"/>
                    <a:gd name="connsiteX176" fmla="*/ 425294 w 465741"/>
                    <a:gd name="connsiteY176" fmla="*/ 160721 h 210980"/>
                    <a:gd name="connsiteX177" fmla="*/ 422987 w 465741"/>
                    <a:gd name="connsiteY177" fmla="*/ 159971 h 210980"/>
                    <a:gd name="connsiteX178" fmla="*/ 419124 w 465741"/>
                    <a:gd name="connsiteY178" fmla="*/ 161389 h 210980"/>
                    <a:gd name="connsiteX179" fmla="*/ 417445 w 465741"/>
                    <a:gd name="connsiteY179" fmla="*/ 161047 h 210980"/>
                    <a:gd name="connsiteX180" fmla="*/ 415107 w 465741"/>
                    <a:gd name="connsiteY180" fmla="*/ 159816 h 210980"/>
                    <a:gd name="connsiteX181" fmla="*/ 414275 w 465741"/>
                    <a:gd name="connsiteY181" fmla="*/ 160150 h 210980"/>
                    <a:gd name="connsiteX182" fmla="*/ 411651 w 465741"/>
                    <a:gd name="connsiteY182" fmla="*/ 163907 h 210980"/>
                    <a:gd name="connsiteX183" fmla="*/ 407201 w 465741"/>
                    <a:gd name="connsiteY183" fmla="*/ 167933 h 210980"/>
                    <a:gd name="connsiteX184" fmla="*/ 404797 w 465741"/>
                    <a:gd name="connsiteY184" fmla="*/ 168602 h 210980"/>
                    <a:gd name="connsiteX185" fmla="*/ 403648 w 465741"/>
                    <a:gd name="connsiteY185" fmla="*/ 164568 h 210980"/>
                    <a:gd name="connsiteX186" fmla="*/ 402540 w 465741"/>
                    <a:gd name="connsiteY186" fmla="*/ 163011 h 210980"/>
                    <a:gd name="connsiteX187" fmla="*/ 402034 w 465741"/>
                    <a:gd name="connsiteY187" fmla="*/ 162815 h 210980"/>
                    <a:gd name="connsiteX188" fmla="*/ 400918 w 465741"/>
                    <a:gd name="connsiteY188" fmla="*/ 162310 h 210980"/>
                    <a:gd name="connsiteX189" fmla="*/ 400062 w 465741"/>
                    <a:gd name="connsiteY189" fmla="*/ 162604 h 210980"/>
                    <a:gd name="connsiteX190" fmla="*/ 397381 w 465741"/>
                    <a:gd name="connsiteY190" fmla="*/ 165350 h 210980"/>
                    <a:gd name="connsiteX191" fmla="*/ 393094 w 465741"/>
                    <a:gd name="connsiteY191" fmla="*/ 167004 h 210980"/>
                    <a:gd name="connsiteX192" fmla="*/ 389533 w 465741"/>
                    <a:gd name="connsiteY192" fmla="*/ 168015 h 210980"/>
                    <a:gd name="connsiteX193" fmla="*/ 383877 w 465741"/>
                    <a:gd name="connsiteY193" fmla="*/ 169245 h 210980"/>
                    <a:gd name="connsiteX194" fmla="*/ 379517 w 465741"/>
                    <a:gd name="connsiteY194" fmla="*/ 169857 h 210980"/>
                    <a:gd name="connsiteX195" fmla="*/ 377650 w 465741"/>
                    <a:gd name="connsiteY195" fmla="*/ 169906 h 210980"/>
                    <a:gd name="connsiteX196" fmla="*/ 373616 w 465741"/>
                    <a:gd name="connsiteY196" fmla="*/ 169351 h 210980"/>
                    <a:gd name="connsiteX197" fmla="*/ 370071 w 465741"/>
                    <a:gd name="connsiteY197" fmla="*/ 168577 h 210980"/>
                    <a:gd name="connsiteX198" fmla="*/ 366510 w 465741"/>
                    <a:gd name="connsiteY198" fmla="*/ 168610 h 210980"/>
                    <a:gd name="connsiteX199" fmla="*/ 363788 w 465741"/>
                    <a:gd name="connsiteY199" fmla="*/ 168960 h 210980"/>
                    <a:gd name="connsiteX200" fmla="*/ 357455 w 465741"/>
                    <a:gd name="connsiteY200" fmla="*/ 171919 h 210980"/>
                    <a:gd name="connsiteX201" fmla="*/ 346689 w 465741"/>
                    <a:gd name="connsiteY201" fmla="*/ 178007 h 210980"/>
                    <a:gd name="connsiteX202" fmla="*/ 338507 w 465741"/>
                    <a:gd name="connsiteY202" fmla="*/ 180916 h 210980"/>
                    <a:gd name="connsiteX203" fmla="*/ 333919 w 465741"/>
                    <a:gd name="connsiteY203" fmla="*/ 182114 h 210980"/>
                    <a:gd name="connsiteX204" fmla="*/ 330341 w 465741"/>
                    <a:gd name="connsiteY204" fmla="*/ 182807 h 210980"/>
                    <a:gd name="connsiteX205" fmla="*/ 324180 w 465741"/>
                    <a:gd name="connsiteY205" fmla="*/ 182839 h 210980"/>
                    <a:gd name="connsiteX206" fmla="*/ 319176 w 465741"/>
                    <a:gd name="connsiteY206" fmla="*/ 182367 h 210980"/>
                    <a:gd name="connsiteX207" fmla="*/ 315713 w 465741"/>
                    <a:gd name="connsiteY207" fmla="*/ 182416 h 210980"/>
                    <a:gd name="connsiteX208" fmla="*/ 313781 w 465741"/>
                    <a:gd name="connsiteY208" fmla="*/ 181690 h 210980"/>
                    <a:gd name="connsiteX209" fmla="*/ 311026 w 465741"/>
                    <a:gd name="connsiteY209" fmla="*/ 179229 h 210980"/>
                    <a:gd name="connsiteX210" fmla="*/ 307693 w 465741"/>
                    <a:gd name="connsiteY210" fmla="*/ 176800 h 210980"/>
                    <a:gd name="connsiteX211" fmla="*/ 306210 w 465741"/>
                    <a:gd name="connsiteY211" fmla="*/ 176238 h 210980"/>
                    <a:gd name="connsiteX212" fmla="*/ 304278 w 465741"/>
                    <a:gd name="connsiteY212" fmla="*/ 175765 h 210980"/>
                    <a:gd name="connsiteX213" fmla="*/ 301451 w 465741"/>
                    <a:gd name="connsiteY213" fmla="*/ 175496 h 210980"/>
                    <a:gd name="connsiteX214" fmla="*/ 294376 w 465741"/>
                    <a:gd name="connsiteY214" fmla="*/ 179058 h 210980"/>
                    <a:gd name="connsiteX215" fmla="*/ 292168 w 465741"/>
                    <a:gd name="connsiteY215" fmla="*/ 180019 h 210980"/>
                    <a:gd name="connsiteX216" fmla="*/ 289739 w 465741"/>
                    <a:gd name="connsiteY216" fmla="*/ 180745 h 210980"/>
                    <a:gd name="connsiteX217" fmla="*/ 284858 w 465741"/>
                    <a:gd name="connsiteY217" fmla="*/ 182921 h 210980"/>
                    <a:gd name="connsiteX218" fmla="*/ 282698 w 465741"/>
                    <a:gd name="connsiteY218" fmla="*/ 184086 h 210980"/>
                    <a:gd name="connsiteX219" fmla="*/ 279992 w 465741"/>
                    <a:gd name="connsiteY219" fmla="*/ 183980 h 210980"/>
                    <a:gd name="connsiteX220" fmla="*/ 276520 w 465741"/>
                    <a:gd name="connsiteY220" fmla="*/ 183671 h 210980"/>
                    <a:gd name="connsiteX221" fmla="*/ 273521 w 465741"/>
                    <a:gd name="connsiteY221" fmla="*/ 183785 h 210980"/>
                    <a:gd name="connsiteX222" fmla="*/ 271516 w 465741"/>
                    <a:gd name="connsiteY222" fmla="*/ 182122 h 210980"/>
                    <a:gd name="connsiteX223" fmla="*/ 270424 w 465741"/>
                    <a:gd name="connsiteY223" fmla="*/ 180264 h 210980"/>
                    <a:gd name="connsiteX224" fmla="*/ 266333 w 465741"/>
                    <a:gd name="connsiteY224" fmla="*/ 179123 h 210980"/>
                    <a:gd name="connsiteX225" fmla="*/ 263407 w 465741"/>
                    <a:gd name="connsiteY225" fmla="*/ 178797 h 210980"/>
                    <a:gd name="connsiteX226" fmla="*/ 262658 w 465741"/>
                    <a:gd name="connsiteY226" fmla="*/ 179620 h 210980"/>
                    <a:gd name="connsiteX227" fmla="*/ 261875 w 465741"/>
                    <a:gd name="connsiteY227" fmla="*/ 182155 h 210980"/>
                    <a:gd name="connsiteX228" fmla="*/ 260637 w 465741"/>
                    <a:gd name="connsiteY228" fmla="*/ 188626 h 210980"/>
                    <a:gd name="connsiteX229" fmla="*/ 260408 w 465741"/>
                    <a:gd name="connsiteY229" fmla="*/ 190256 h 210980"/>
                    <a:gd name="connsiteX230" fmla="*/ 262976 w 465741"/>
                    <a:gd name="connsiteY230" fmla="*/ 196686 h 210980"/>
                    <a:gd name="connsiteX231" fmla="*/ 262861 w 465741"/>
                    <a:gd name="connsiteY231" fmla="*/ 197664 h 210980"/>
                    <a:gd name="connsiteX232" fmla="*/ 261011 w 465741"/>
                    <a:gd name="connsiteY232" fmla="*/ 197998 h 210980"/>
                    <a:gd name="connsiteX233" fmla="*/ 258892 w 465741"/>
                    <a:gd name="connsiteY233" fmla="*/ 198104 h 210980"/>
                    <a:gd name="connsiteX234" fmla="*/ 257515 w 465741"/>
                    <a:gd name="connsiteY234" fmla="*/ 198674 h 210980"/>
                    <a:gd name="connsiteX235" fmla="*/ 256366 w 465741"/>
                    <a:gd name="connsiteY235" fmla="*/ 199742 h 210980"/>
                    <a:gd name="connsiteX236" fmla="*/ 255673 w 465741"/>
                    <a:gd name="connsiteY236" fmla="*/ 205292 h 210980"/>
                    <a:gd name="connsiteX237" fmla="*/ 253228 w 465741"/>
                    <a:gd name="connsiteY237" fmla="*/ 206310 h 210980"/>
                    <a:gd name="connsiteX238" fmla="*/ 252063 w 465741"/>
                    <a:gd name="connsiteY238" fmla="*/ 207476 h 210980"/>
                    <a:gd name="connsiteX239" fmla="*/ 250865 w 465741"/>
                    <a:gd name="connsiteY239" fmla="*/ 210899 h 210980"/>
                    <a:gd name="connsiteX240" fmla="*/ 250213 w 465741"/>
                    <a:gd name="connsiteY240" fmla="*/ 210980 h 210980"/>
                    <a:gd name="connsiteX241" fmla="*/ 246260 w 465741"/>
                    <a:gd name="connsiteY241" fmla="*/ 208381 h 210980"/>
                    <a:gd name="connsiteX242" fmla="*/ 244394 w 465741"/>
                    <a:gd name="connsiteY242" fmla="*/ 208169 h 210980"/>
                    <a:gd name="connsiteX243" fmla="*/ 245991 w 465741"/>
                    <a:gd name="connsiteY243" fmla="*/ 205471 h 210980"/>
                    <a:gd name="connsiteX244" fmla="*/ 244256 w 465741"/>
                    <a:gd name="connsiteY244" fmla="*/ 200141 h 210980"/>
                    <a:gd name="connsiteX245" fmla="*/ 242373 w 465741"/>
                    <a:gd name="connsiteY245" fmla="*/ 195145 h 210980"/>
                    <a:gd name="connsiteX246" fmla="*/ 244158 w 465741"/>
                    <a:gd name="connsiteY246" fmla="*/ 191943 h 210980"/>
                    <a:gd name="connsiteX247" fmla="*/ 247850 w 465741"/>
                    <a:gd name="connsiteY247" fmla="*/ 188080 h 210980"/>
                    <a:gd name="connsiteX248" fmla="*/ 251737 w 465741"/>
                    <a:gd name="connsiteY248" fmla="*/ 183557 h 210980"/>
                    <a:gd name="connsiteX249" fmla="*/ 251729 w 465741"/>
                    <a:gd name="connsiteY249" fmla="*/ 180761 h 210980"/>
                    <a:gd name="connsiteX250" fmla="*/ 251541 w 465741"/>
                    <a:gd name="connsiteY250" fmla="*/ 178626 h 210980"/>
                    <a:gd name="connsiteX251" fmla="*/ 250417 w 465741"/>
                    <a:gd name="connsiteY251" fmla="*/ 177151 h 210980"/>
                    <a:gd name="connsiteX252" fmla="*/ 248273 w 465741"/>
                    <a:gd name="connsiteY252" fmla="*/ 175187 h 210980"/>
                    <a:gd name="connsiteX253" fmla="*/ 244704 w 465741"/>
                    <a:gd name="connsiteY253" fmla="*/ 177281 h 210980"/>
                    <a:gd name="connsiteX254" fmla="*/ 242145 w 465741"/>
                    <a:gd name="connsiteY254" fmla="*/ 179596 h 210980"/>
                    <a:gd name="connsiteX255" fmla="*/ 240482 w 465741"/>
                    <a:gd name="connsiteY255" fmla="*/ 180068 h 210980"/>
                    <a:gd name="connsiteX256" fmla="*/ 238657 w 465741"/>
                    <a:gd name="connsiteY256" fmla="*/ 181389 h 210980"/>
                    <a:gd name="connsiteX257" fmla="*/ 237793 w 465741"/>
                    <a:gd name="connsiteY257" fmla="*/ 183768 h 210980"/>
                    <a:gd name="connsiteX258" fmla="*/ 235601 w 465741"/>
                    <a:gd name="connsiteY258" fmla="*/ 185618 h 210980"/>
                    <a:gd name="connsiteX259" fmla="*/ 232031 w 465741"/>
                    <a:gd name="connsiteY259" fmla="*/ 186344 h 210980"/>
                    <a:gd name="connsiteX260" fmla="*/ 226644 w 465741"/>
                    <a:gd name="connsiteY260" fmla="*/ 184363 h 210980"/>
                    <a:gd name="connsiteX261" fmla="*/ 220858 w 465741"/>
                    <a:gd name="connsiteY261" fmla="*/ 181348 h 210980"/>
                    <a:gd name="connsiteX262" fmla="*/ 217598 w 465741"/>
                    <a:gd name="connsiteY262" fmla="*/ 178903 h 210980"/>
                    <a:gd name="connsiteX263" fmla="*/ 214925 w 465741"/>
                    <a:gd name="connsiteY263" fmla="*/ 178324 h 210980"/>
                    <a:gd name="connsiteX264" fmla="*/ 212382 w 465741"/>
                    <a:gd name="connsiteY264" fmla="*/ 179392 h 210980"/>
                    <a:gd name="connsiteX265" fmla="*/ 204892 w 465741"/>
                    <a:gd name="connsiteY265" fmla="*/ 185382 h 210980"/>
                    <a:gd name="connsiteX266" fmla="*/ 198046 w 465741"/>
                    <a:gd name="connsiteY266" fmla="*/ 194127 h 210980"/>
                    <a:gd name="connsiteX267" fmla="*/ 196343 w 465741"/>
                    <a:gd name="connsiteY267" fmla="*/ 195642 h 210980"/>
                    <a:gd name="connsiteX268" fmla="*/ 189897 w 465741"/>
                    <a:gd name="connsiteY268" fmla="*/ 199391 h 210980"/>
                    <a:gd name="connsiteX269" fmla="*/ 185635 w 465741"/>
                    <a:gd name="connsiteY269" fmla="*/ 200655 h 210980"/>
                    <a:gd name="connsiteX270" fmla="*/ 183622 w 465741"/>
                    <a:gd name="connsiteY270" fmla="*/ 200361 h 210980"/>
                    <a:gd name="connsiteX271" fmla="*/ 175130 w 465741"/>
                    <a:gd name="connsiteY271" fmla="*/ 202016 h 210980"/>
                    <a:gd name="connsiteX272" fmla="*/ 170916 w 465741"/>
                    <a:gd name="connsiteY272" fmla="*/ 202260 h 210980"/>
                    <a:gd name="connsiteX273" fmla="*/ 167583 w 465741"/>
                    <a:gd name="connsiteY273" fmla="*/ 204240 h 210980"/>
                    <a:gd name="connsiteX274" fmla="*/ 161104 w 465741"/>
                    <a:gd name="connsiteY274" fmla="*/ 202089 h 210980"/>
                    <a:gd name="connsiteX275" fmla="*/ 157233 w 465741"/>
                    <a:gd name="connsiteY275" fmla="*/ 199343 h 210980"/>
                    <a:gd name="connsiteX276" fmla="*/ 154902 w 465741"/>
                    <a:gd name="connsiteY276" fmla="*/ 196547 h 210980"/>
                    <a:gd name="connsiteX277" fmla="*/ 151104 w 465741"/>
                    <a:gd name="connsiteY277" fmla="*/ 190541 h 210980"/>
                    <a:gd name="connsiteX278" fmla="*/ 148406 w 465741"/>
                    <a:gd name="connsiteY278" fmla="*/ 187680 h 210980"/>
                    <a:gd name="connsiteX279" fmla="*/ 142360 w 465741"/>
                    <a:gd name="connsiteY279" fmla="*/ 185097 h 210980"/>
                    <a:gd name="connsiteX280" fmla="*/ 131805 w 465741"/>
                    <a:gd name="connsiteY280" fmla="*/ 178838 h 210980"/>
                    <a:gd name="connsiteX281" fmla="*/ 129026 w 465741"/>
                    <a:gd name="connsiteY281" fmla="*/ 178153 h 210980"/>
                    <a:gd name="connsiteX282" fmla="*/ 121830 w 465741"/>
                    <a:gd name="connsiteY282" fmla="*/ 177257 h 210980"/>
                    <a:gd name="connsiteX283" fmla="*/ 114227 w 465741"/>
                    <a:gd name="connsiteY283" fmla="*/ 176694 h 210980"/>
                    <a:gd name="connsiteX284" fmla="*/ 112686 w 465741"/>
                    <a:gd name="connsiteY284" fmla="*/ 178976 h 210980"/>
                    <a:gd name="connsiteX285" fmla="*/ 112116 w 465741"/>
                    <a:gd name="connsiteY285" fmla="*/ 187990 h 210980"/>
                    <a:gd name="connsiteX286" fmla="*/ 110804 w 465741"/>
                    <a:gd name="connsiteY286" fmla="*/ 190467 h 210980"/>
                    <a:gd name="connsiteX287" fmla="*/ 110258 w 465741"/>
                    <a:gd name="connsiteY287" fmla="*/ 195137 h 210980"/>
                    <a:gd name="connsiteX288" fmla="*/ 109321 w 465741"/>
                    <a:gd name="connsiteY288" fmla="*/ 196482 h 210980"/>
                    <a:gd name="connsiteX289" fmla="*/ 107862 w 465741"/>
                    <a:gd name="connsiteY289" fmla="*/ 197354 h 210980"/>
                    <a:gd name="connsiteX290" fmla="*/ 105596 w 465741"/>
                    <a:gd name="connsiteY290" fmla="*/ 195887 h 210980"/>
                    <a:gd name="connsiteX291" fmla="*/ 104015 w 465741"/>
                    <a:gd name="connsiteY291" fmla="*/ 195235 h 210980"/>
                    <a:gd name="connsiteX292" fmla="*/ 100340 w 465741"/>
                    <a:gd name="connsiteY292" fmla="*/ 197158 h 210980"/>
                    <a:gd name="connsiteX293" fmla="*/ 93037 w 465741"/>
                    <a:gd name="connsiteY293" fmla="*/ 199856 h 210980"/>
                    <a:gd name="connsiteX294" fmla="*/ 90551 w 465741"/>
                    <a:gd name="connsiteY294" fmla="*/ 200231 h 210980"/>
                    <a:gd name="connsiteX295" fmla="*/ 82100 w 465741"/>
                    <a:gd name="connsiteY295" fmla="*/ 196840 h 210980"/>
                    <a:gd name="connsiteX296" fmla="*/ 79012 w 465741"/>
                    <a:gd name="connsiteY296" fmla="*/ 194665 h 210980"/>
                    <a:gd name="connsiteX297" fmla="*/ 77015 w 465741"/>
                    <a:gd name="connsiteY297" fmla="*/ 192252 h 210980"/>
                    <a:gd name="connsiteX298" fmla="*/ 76339 w 465741"/>
                    <a:gd name="connsiteY298" fmla="*/ 188169 h 210980"/>
                    <a:gd name="connsiteX299" fmla="*/ 75084 w 465741"/>
                    <a:gd name="connsiteY299" fmla="*/ 185855 h 210980"/>
                    <a:gd name="connsiteX300" fmla="*/ 74912 w 465741"/>
                    <a:gd name="connsiteY300" fmla="*/ 184257 h 210980"/>
                    <a:gd name="connsiteX301" fmla="*/ 74415 w 465741"/>
                    <a:gd name="connsiteY301" fmla="*/ 182424 h 210980"/>
                    <a:gd name="connsiteX302" fmla="*/ 72712 w 465741"/>
                    <a:gd name="connsiteY302" fmla="*/ 181698 h 210980"/>
                    <a:gd name="connsiteX303" fmla="*/ 70878 w 465741"/>
                    <a:gd name="connsiteY303" fmla="*/ 183084 h 210980"/>
                    <a:gd name="connsiteX304" fmla="*/ 68922 w 465741"/>
                    <a:gd name="connsiteY304" fmla="*/ 183035 h 210980"/>
                    <a:gd name="connsiteX305" fmla="*/ 66461 w 465741"/>
                    <a:gd name="connsiteY305" fmla="*/ 182179 h 210980"/>
                    <a:gd name="connsiteX306" fmla="*/ 60650 w 465741"/>
                    <a:gd name="connsiteY306" fmla="*/ 178764 h 210980"/>
                    <a:gd name="connsiteX307" fmla="*/ 56192 w 465741"/>
                    <a:gd name="connsiteY307" fmla="*/ 178496 h 210980"/>
                    <a:gd name="connsiteX308" fmla="*/ 53511 w 465741"/>
                    <a:gd name="connsiteY308" fmla="*/ 182668 h 210980"/>
                    <a:gd name="connsiteX309" fmla="*/ 51425 w 465741"/>
                    <a:gd name="connsiteY309" fmla="*/ 183997 h 210980"/>
                    <a:gd name="connsiteX310" fmla="*/ 49135 w 465741"/>
                    <a:gd name="connsiteY310" fmla="*/ 184396 h 210980"/>
                    <a:gd name="connsiteX311" fmla="*/ 49004 w 465741"/>
                    <a:gd name="connsiteY311" fmla="*/ 183206 h 210980"/>
                    <a:gd name="connsiteX312" fmla="*/ 50748 w 465741"/>
                    <a:gd name="connsiteY312" fmla="*/ 180500 h 210980"/>
                    <a:gd name="connsiteX313" fmla="*/ 43788 w 465741"/>
                    <a:gd name="connsiteY313" fmla="*/ 180997 h 210980"/>
                    <a:gd name="connsiteX314" fmla="*/ 40113 w 465741"/>
                    <a:gd name="connsiteY314" fmla="*/ 183051 h 210980"/>
                    <a:gd name="connsiteX315" fmla="*/ 37252 w 465741"/>
                    <a:gd name="connsiteY315" fmla="*/ 182733 h 210980"/>
                    <a:gd name="connsiteX316" fmla="*/ 35101 w 465741"/>
                    <a:gd name="connsiteY316" fmla="*/ 181804 h 210980"/>
                    <a:gd name="connsiteX317" fmla="*/ 35427 w 465741"/>
                    <a:gd name="connsiteY317" fmla="*/ 180671 h 210980"/>
                    <a:gd name="connsiteX318" fmla="*/ 37603 w 465741"/>
                    <a:gd name="connsiteY318" fmla="*/ 180256 h 210980"/>
                    <a:gd name="connsiteX319" fmla="*/ 39494 w 465741"/>
                    <a:gd name="connsiteY319" fmla="*/ 179335 h 210980"/>
                    <a:gd name="connsiteX320" fmla="*/ 47024 w 465741"/>
                    <a:gd name="connsiteY320" fmla="*/ 178585 h 210980"/>
                    <a:gd name="connsiteX321" fmla="*/ 48784 w 465741"/>
                    <a:gd name="connsiteY321" fmla="*/ 177827 h 210980"/>
                    <a:gd name="connsiteX322" fmla="*/ 50708 w 465741"/>
                    <a:gd name="connsiteY322" fmla="*/ 174893 h 210980"/>
                    <a:gd name="connsiteX323" fmla="*/ 54220 w 465741"/>
                    <a:gd name="connsiteY323" fmla="*/ 172359 h 210980"/>
                    <a:gd name="connsiteX324" fmla="*/ 54660 w 465741"/>
                    <a:gd name="connsiteY324" fmla="*/ 171275 h 210980"/>
                    <a:gd name="connsiteX325" fmla="*/ 51971 w 465741"/>
                    <a:gd name="connsiteY325" fmla="*/ 171259 h 210980"/>
                    <a:gd name="connsiteX326" fmla="*/ 40422 w 465741"/>
                    <a:gd name="connsiteY326" fmla="*/ 171992 h 210980"/>
                    <a:gd name="connsiteX327" fmla="*/ 32501 w 465741"/>
                    <a:gd name="connsiteY327" fmla="*/ 171584 h 210980"/>
                    <a:gd name="connsiteX328" fmla="*/ 31572 w 465741"/>
                    <a:gd name="connsiteY328" fmla="*/ 172840 h 210980"/>
                    <a:gd name="connsiteX329" fmla="*/ 30374 w 465741"/>
                    <a:gd name="connsiteY329" fmla="*/ 173011 h 210980"/>
                    <a:gd name="connsiteX330" fmla="*/ 30048 w 465741"/>
                    <a:gd name="connsiteY330" fmla="*/ 169596 h 210980"/>
                    <a:gd name="connsiteX331" fmla="*/ 31295 w 465741"/>
                    <a:gd name="connsiteY331" fmla="*/ 168007 h 210980"/>
                    <a:gd name="connsiteX332" fmla="*/ 32982 w 465741"/>
                    <a:gd name="connsiteY332" fmla="*/ 168162 h 210980"/>
                    <a:gd name="connsiteX333" fmla="*/ 37130 w 465741"/>
                    <a:gd name="connsiteY333" fmla="*/ 166784 h 210980"/>
                    <a:gd name="connsiteX334" fmla="*/ 36747 w 465741"/>
                    <a:gd name="connsiteY334" fmla="*/ 163940 h 210980"/>
                    <a:gd name="connsiteX335" fmla="*/ 33789 w 465741"/>
                    <a:gd name="connsiteY335" fmla="*/ 162017 h 210980"/>
                    <a:gd name="connsiteX336" fmla="*/ 33185 w 465741"/>
                    <a:gd name="connsiteY336" fmla="*/ 160884 h 210980"/>
                    <a:gd name="connsiteX337" fmla="*/ 31034 w 465741"/>
                    <a:gd name="connsiteY337" fmla="*/ 160623 h 210980"/>
                    <a:gd name="connsiteX338" fmla="*/ 29282 w 465741"/>
                    <a:gd name="connsiteY338" fmla="*/ 159270 h 210980"/>
                    <a:gd name="connsiteX339" fmla="*/ 28907 w 465741"/>
                    <a:gd name="connsiteY339" fmla="*/ 155864 h 210980"/>
                    <a:gd name="connsiteX340" fmla="*/ 27522 w 465741"/>
                    <a:gd name="connsiteY340" fmla="*/ 152115 h 210980"/>
                    <a:gd name="connsiteX341" fmla="*/ 25541 w 465741"/>
                    <a:gd name="connsiteY341" fmla="*/ 150297 h 210980"/>
                    <a:gd name="connsiteX342" fmla="*/ 25786 w 465741"/>
                    <a:gd name="connsiteY342" fmla="*/ 149295 h 210980"/>
                    <a:gd name="connsiteX343" fmla="*/ 29420 w 465741"/>
                    <a:gd name="connsiteY343" fmla="*/ 148032 h 210980"/>
                    <a:gd name="connsiteX344" fmla="*/ 30162 w 465741"/>
                    <a:gd name="connsiteY344" fmla="*/ 142783 h 210980"/>
                    <a:gd name="connsiteX345" fmla="*/ 29616 w 465741"/>
                    <a:gd name="connsiteY345" fmla="*/ 139556 h 210980"/>
                    <a:gd name="connsiteX346" fmla="*/ 27774 w 465741"/>
                    <a:gd name="connsiteY346" fmla="*/ 139287 h 210980"/>
                    <a:gd name="connsiteX347" fmla="*/ 22469 w 465741"/>
                    <a:gd name="connsiteY347" fmla="*/ 136736 h 210980"/>
                    <a:gd name="connsiteX348" fmla="*/ 20839 w 465741"/>
                    <a:gd name="connsiteY348" fmla="*/ 137013 h 210980"/>
                    <a:gd name="connsiteX349" fmla="*/ 19070 w 465741"/>
                    <a:gd name="connsiteY349" fmla="*/ 134210 h 210980"/>
                    <a:gd name="connsiteX350" fmla="*/ 15990 w 465741"/>
                    <a:gd name="connsiteY350" fmla="*/ 132197 h 210980"/>
                    <a:gd name="connsiteX351" fmla="*/ 14458 w 465741"/>
                    <a:gd name="connsiteY351" fmla="*/ 132938 h 210980"/>
                    <a:gd name="connsiteX352" fmla="*/ 13504 w 465741"/>
                    <a:gd name="connsiteY352" fmla="*/ 133851 h 210980"/>
                    <a:gd name="connsiteX353" fmla="*/ 12070 w 465741"/>
                    <a:gd name="connsiteY353" fmla="*/ 133411 h 210980"/>
                    <a:gd name="connsiteX354" fmla="*/ 9665 w 465741"/>
                    <a:gd name="connsiteY354" fmla="*/ 131667 h 210980"/>
                    <a:gd name="connsiteX355" fmla="*/ 7310 w 465741"/>
                    <a:gd name="connsiteY355" fmla="*/ 130722 h 210980"/>
                    <a:gd name="connsiteX356" fmla="*/ 6267 w 465741"/>
                    <a:gd name="connsiteY356" fmla="*/ 129556 h 210980"/>
                    <a:gd name="connsiteX357" fmla="*/ 7571 w 465741"/>
                    <a:gd name="connsiteY357" fmla="*/ 126443 h 210980"/>
                    <a:gd name="connsiteX358" fmla="*/ 9380 w 465741"/>
                    <a:gd name="connsiteY358" fmla="*/ 126516 h 210980"/>
                    <a:gd name="connsiteX359" fmla="*/ 9706 w 465741"/>
                    <a:gd name="connsiteY359" fmla="*/ 124080 h 210980"/>
                    <a:gd name="connsiteX360" fmla="*/ 8280 w 465741"/>
                    <a:gd name="connsiteY360" fmla="*/ 120005 h 210980"/>
                    <a:gd name="connsiteX361" fmla="*/ 8427 w 465741"/>
                    <a:gd name="connsiteY361" fmla="*/ 117910 h 210980"/>
                    <a:gd name="connsiteX362" fmla="*/ 10000 w 465741"/>
                    <a:gd name="connsiteY362" fmla="*/ 117340 h 210980"/>
                    <a:gd name="connsiteX363" fmla="*/ 11792 w 465741"/>
                    <a:gd name="connsiteY363" fmla="*/ 117731 h 210980"/>
                    <a:gd name="connsiteX364" fmla="*/ 13602 w 465741"/>
                    <a:gd name="connsiteY364" fmla="*/ 120160 h 210980"/>
                    <a:gd name="connsiteX365" fmla="*/ 14188 w 465741"/>
                    <a:gd name="connsiteY365" fmla="*/ 122515 h 210980"/>
                    <a:gd name="connsiteX366" fmla="*/ 13814 w 465741"/>
                    <a:gd name="connsiteY366" fmla="*/ 124813 h 210980"/>
                    <a:gd name="connsiteX367" fmla="*/ 14963 w 465741"/>
                    <a:gd name="connsiteY367" fmla="*/ 127030 h 210980"/>
                    <a:gd name="connsiteX368" fmla="*/ 15778 w 465741"/>
                    <a:gd name="connsiteY368" fmla="*/ 127592 h 210980"/>
                    <a:gd name="connsiteX369" fmla="*/ 16324 w 465741"/>
                    <a:gd name="connsiteY369" fmla="*/ 125253 h 210980"/>
                    <a:gd name="connsiteX370" fmla="*/ 17098 w 465741"/>
                    <a:gd name="connsiteY370" fmla="*/ 124813 h 210980"/>
                    <a:gd name="connsiteX371" fmla="*/ 18157 w 465741"/>
                    <a:gd name="connsiteY371" fmla="*/ 125832 h 210980"/>
                    <a:gd name="connsiteX372" fmla="*/ 20423 w 465741"/>
                    <a:gd name="connsiteY372" fmla="*/ 126345 h 210980"/>
                    <a:gd name="connsiteX373" fmla="*/ 26299 w 465741"/>
                    <a:gd name="connsiteY373" fmla="*/ 124903 h 210980"/>
                    <a:gd name="connsiteX374" fmla="*/ 27448 w 465741"/>
                    <a:gd name="connsiteY374" fmla="*/ 123689 h 210980"/>
                    <a:gd name="connsiteX375" fmla="*/ 23129 w 465741"/>
                    <a:gd name="connsiteY375" fmla="*/ 123827 h 210980"/>
                    <a:gd name="connsiteX376" fmla="*/ 21556 w 465741"/>
                    <a:gd name="connsiteY376" fmla="*/ 122686 h 210980"/>
                    <a:gd name="connsiteX377" fmla="*/ 19853 w 465741"/>
                    <a:gd name="connsiteY377" fmla="*/ 120143 h 210980"/>
                    <a:gd name="connsiteX378" fmla="*/ 18793 w 465741"/>
                    <a:gd name="connsiteY378" fmla="*/ 117829 h 210980"/>
                    <a:gd name="connsiteX379" fmla="*/ 18606 w 465741"/>
                    <a:gd name="connsiteY379" fmla="*/ 116696 h 210980"/>
                    <a:gd name="connsiteX380" fmla="*/ 18011 w 465741"/>
                    <a:gd name="connsiteY380" fmla="*/ 115034 h 210980"/>
                    <a:gd name="connsiteX381" fmla="*/ 18671 w 465741"/>
                    <a:gd name="connsiteY381" fmla="*/ 114145 h 210980"/>
                    <a:gd name="connsiteX382" fmla="*/ 21621 w 465741"/>
                    <a:gd name="connsiteY382" fmla="*/ 112809 h 210980"/>
                    <a:gd name="connsiteX383" fmla="*/ 24204 w 465741"/>
                    <a:gd name="connsiteY383" fmla="*/ 109068 h 210980"/>
                    <a:gd name="connsiteX384" fmla="*/ 23121 w 465741"/>
                    <a:gd name="connsiteY384" fmla="*/ 107992 h 210980"/>
                    <a:gd name="connsiteX385" fmla="*/ 21890 w 465741"/>
                    <a:gd name="connsiteY385" fmla="*/ 107479 h 210980"/>
                    <a:gd name="connsiteX386" fmla="*/ 20553 w 465741"/>
                    <a:gd name="connsiteY386" fmla="*/ 107854 h 210980"/>
                    <a:gd name="connsiteX387" fmla="*/ 19282 w 465741"/>
                    <a:gd name="connsiteY387" fmla="*/ 106574 h 210980"/>
                    <a:gd name="connsiteX388" fmla="*/ 19111 w 465741"/>
                    <a:gd name="connsiteY388" fmla="*/ 104789 h 210980"/>
                    <a:gd name="connsiteX389" fmla="*/ 20130 w 465741"/>
                    <a:gd name="connsiteY389" fmla="*/ 103347 h 210980"/>
                    <a:gd name="connsiteX390" fmla="*/ 20236 w 465741"/>
                    <a:gd name="connsiteY390" fmla="*/ 101366 h 210980"/>
                    <a:gd name="connsiteX391" fmla="*/ 16911 w 465741"/>
                    <a:gd name="connsiteY391" fmla="*/ 96468 h 210980"/>
                    <a:gd name="connsiteX392" fmla="*/ 15982 w 465741"/>
                    <a:gd name="connsiteY392" fmla="*/ 95401 h 210980"/>
                    <a:gd name="connsiteX393" fmla="*/ 16707 w 465741"/>
                    <a:gd name="connsiteY393" fmla="*/ 93803 h 210980"/>
                    <a:gd name="connsiteX394" fmla="*/ 19250 w 465741"/>
                    <a:gd name="connsiteY394" fmla="*/ 91122 h 210980"/>
                    <a:gd name="connsiteX395" fmla="*/ 21670 w 465741"/>
                    <a:gd name="connsiteY395" fmla="*/ 87805 h 210980"/>
                    <a:gd name="connsiteX396" fmla="*/ 21385 w 465741"/>
                    <a:gd name="connsiteY396" fmla="*/ 86705 h 210980"/>
                    <a:gd name="connsiteX397" fmla="*/ 19584 w 465741"/>
                    <a:gd name="connsiteY397" fmla="*/ 86257 h 210980"/>
                    <a:gd name="connsiteX398" fmla="*/ 11084 w 465741"/>
                    <a:gd name="connsiteY398" fmla="*/ 87683 h 210980"/>
                    <a:gd name="connsiteX399" fmla="*/ 7783 w 465741"/>
                    <a:gd name="connsiteY399" fmla="*/ 88922 h 210980"/>
                    <a:gd name="connsiteX400" fmla="*/ 1874 w 465741"/>
                    <a:gd name="connsiteY400" fmla="*/ 89484 h 210980"/>
                    <a:gd name="connsiteX401" fmla="*/ 1450 w 465741"/>
                    <a:gd name="connsiteY401" fmla="*/ 87683 h 210980"/>
                    <a:gd name="connsiteX402" fmla="*/ 1597 w 465741"/>
                    <a:gd name="connsiteY402" fmla="*/ 86053 h 210980"/>
                    <a:gd name="connsiteX403" fmla="*/ 2909 w 465741"/>
                    <a:gd name="connsiteY403" fmla="*/ 83087 h 210980"/>
                    <a:gd name="connsiteX404" fmla="*/ 2787 w 465741"/>
                    <a:gd name="connsiteY404" fmla="*/ 75776 h 210980"/>
                    <a:gd name="connsiteX405" fmla="*/ 3569 w 465741"/>
                    <a:gd name="connsiteY405" fmla="*/ 71799 h 210980"/>
                    <a:gd name="connsiteX406" fmla="*/ 6845 w 465741"/>
                    <a:gd name="connsiteY406" fmla="*/ 70609 h 210980"/>
                    <a:gd name="connsiteX407" fmla="*/ 10864 w 465741"/>
                    <a:gd name="connsiteY407" fmla="*/ 64774 h 210980"/>
                    <a:gd name="connsiteX408" fmla="*/ 17375 w 465741"/>
                    <a:gd name="connsiteY408" fmla="*/ 57871 h 210980"/>
                    <a:gd name="connsiteX409" fmla="*/ 24172 w 465741"/>
                    <a:gd name="connsiteY409" fmla="*/ 58010 h 210980"/>
                    <a:gd name="connsiteX410" fmla="*/ 26894 w 465741"/>
                    <a:gd name="connsiteY410" fmla="*/ 56111 h 210980"/>
                    <a:gd name="connsiteX411" fmla="*/ 30936 w 465741"/>
                    <a:gd name="connsiteY411" fmla="*/ 55997 h 210980"/>
                    <a:gd name="connsiteX412" fmla="*/ 31662 w 465741"/>
                    <a:gd name="connsiteY412" fmla="*/ 57374 h 210980"/>
                    <a:gd name="connsiteX413" fmla="*/ 32126 w 465741"/>
                    <a:gd name="connsiteY413" fmla="*/ 58703 h 210980"/>
                    <a:gd name="connsiteX414" fmla="*/ 35679 w 465741"/>
                    <a:gd name="connsiteY414" fmla="*/ 60601 h 210980"/>
                    <a:gd name="connsiteX415" fmla="*/ 41938 w 465741"/>
                    <a:gd name="connsiteY415" fmla="*/ 60300 h 210980"/>
                    <a:gd name="connsiteX416" fmla="*/ 43471 w 465741"/>
                    <a:gd name="connsiteY416" fmla="*/ 59550 h 210980"/>
                    <a:gd name="connsiteX417" fmla="*/ 44937 w 465741"/>
                    <a:gd name="connsiteY417" fmla="*/ 58507 h 210980"/>
                    <a:gd name="connsiteX418" fmla="*/ 42044 w 465741"/>
                    <a:gd name="connsiteY418" fmla="*/ 55117 h 210980"/>
                    <a:gd name="connsiteX419" fmla="*/ 42965 w 465741"/>
                    <a:gd name="connsiteY419" fmla="*/ 54155 h 210980"/>
                    <a:gd name="connsiteX420" fmla="*/ 45590 w 465741"/>
                    <a:gd name="connsiteY420" fmla="*/ 54041 h 210980"/>
                    <a:gd name="connsiteX421" fmla="*/ 48442 w 465741"/>
                    <a:gd name="connsiteY421" fmla="*/ 54840 h 210980"/>
                    <a:gd name="connsiteX422" fmla="*/ 48572 w 465741"/>
                    <a:gd name="connsiteY422" fmla="*/ 55614 h 210980"/>
                    <a:gd name="connsiteX423" fmla="*/ 47822 w 465741"/>
                    <a:gd name="connsiteY423" fmla="*/ 56681 h 210980"/>
                    <a:gd name="connsiteX424" fmla="*/ 46943 w 465741"/>
                    <a:gd name="connsiteY424" fmla="*/ 58548 h 210980"/>
                    <a:gd name="connsiteX425" fmla="*/ 47782 w 465741"/>
                    <a:gd name="connsiteY425" fmla="*/ 58898 h 210980"/>
                    <a:gd name="connsiteX426" fmla="*/ 55875 w 465741"/>
                    <a:gd name="connsiteY426" fmla="*/ 57765 h 210980"/>
                    <a:gd name="connsiteX427" fmla="*/ 64342 w 465741"/>
                    <a:gd name="connsiteY427" fmla="*/ 58670 h 210980"/>
                    <a:gd name="connsiteX428" fmla="*/ 67023 w 465741"/>
                    <a:gd name="connsiteY428" fmla="*/ 58189 h 210980"/>
                    <a:gd name="connsiteX429" fmla="*/ 73673 w 465741"/>
                    <a:gd name="connsiteY429" fmla="*/ 58222 h 210980"/>
                    <a:gd name="connsiteX430" fmla="*/ 74863 w 465741"/>
                    <a:gd name="connsiteY430" fmla="*/ 57048 h 210980"/>
                    <a:gd name="connsiteX431" fmla="*/ 72850 w 465741"/>
                    <a:gd name="connsiteY431" fmla="*/ 55581 h 210980"/>
                    <a:gd name="connsiteX432" fmla="*/ 70886 w 465741"/>
                    <a:gd name="connsiteY432" fmla="*/ 55068 h 210980"/>
                    <a:gd name="connsiteX433" fmla="*/ 69558 w 465741"/>
                    <a:gd name="connsiteY433" fmla="*/ 54351 h 210980"/>
                    <a:gd name="connsiteX434" fmla="*/ 68246 w 465741"/>
                    <a:gd name="connsiteY434" fmla="*/ 53316 h 210980"/>
                    <a:gd name="connsiteX435" fmla="*/ 72467 w 465741"/>
                    <a:gd name="connsiteY435" fmla="*/ 50031 h 210980"/>
                    <a:gd name="connsiteX436" fmla="*/ 74847 w 465741"/>
                    <a:gd name="connsiteY436" fmla="*/ 49404 h 210980"/>
                    <a:gd name="connsiteX437" fmla="*/ 86093 w 465741"/>
                    <a:gd name="connsiteY437" fmla="*/ 47383 h 210980"/>
                    <a:gd name="connsiteX438" fmla="*/ 94464 w 465741"/>
                    <a:gd name="connsiteY438" fmla="*/ 46372 h 210980"/>
                    <a:gd name="connsiteX439" fmla="*/ 94570 w 465741"/>
                    <a:gd name="connsiteY439" fmla="*/ 45622 h 210980"/>
                    <a:gd name="connsiteX440" fmla="*/ 93363 w 465741"/>
                    <a:gd name="connsiteY440" fmla="*/ 45614 h 210980"/>
                    <a:gd name="connsiteX441" fmla="*/ 82557 w 465741"/>
                    <a:gd name="connsiteY441" fmla="*/ 43943 h 210980"/>
                    <a:gd name="connsiteX442" fmla="*/ 79957 w 465741"/>
                    <a:gd name="connsiteY442" fmla="*/ 42648 h 210980"/>
                    <a:gd name="connsiteX443" fmla="*/ 76339 w 465741"/>
                    <a:gd name="connsiteY443" fmla="*/ 39559 h 210980"/>
                    <a:gd name="connsiteX444" fmla="*/ 75548 w 465741"/>
                    <a:gd name="connsiteY444" fmla="*/ 38687 h 210980"/>
                    <a:gd name="connsiteX445" fmla="*/ 74643 w 465741"/>
                    <a:gd name="connsiteY445" fmla="*/ 37179 h 210980"/>
                    <a:gd name="connsiteX446" fmla="*/ 75181 w 465741"/>
                    <a:gd name="connsiteY446" fmla="*/ 33968 h 210980"/>
                    <a:gd name="connsiteX447" fmla="*/ 75850 w 465741"/>
                    <a:gd name="connsiteY447" fmla="*/ 31385 h 210980"/>
                    <a:gd name="connsiteX448" fmla="*/ 77186 w 465741"/>
                    <a:gd name="connsiteY448" fmla="*/ 29885 h 210980"/>
                    <a:gd name="connsiteX449" fmla="*/ 81505 w 465741"/>
                    <a:gd name="connsiteY449" fmla="*/ 29665 h 210980"/>
                    <a:gd name="connsiteX450" fmla="*/ 96306 w 465741"/>
                    <a:gd name="connsiteY450" fmla="*/ 32289 h 210980"/>
                    <a:gd name="connsiteX451" fmla="*/ 106867 w 465741"/>
                    <a:gd name="connsiteY451" fmla="*/ 30716 h 210980"/>
                    <a:gd name="connsiteX452" fmla="*/ 118399 w 465741"/>
                    <a:gd name="connsiteY452" fmla="*/ 34547 h 210980"/>
                    <a:gd name="connsiteX453" fmla="*/ 129434 w 465741"/>
                    <a:gd name="connsiteY453" fmla="*/ 33772 h 210980"/>
                    <a:gd name="connsiteX454" fmla="*/ 131708 w 465741"/>
                    <a:gd name="connsiteY454" fmla="*/ 32053 h 210980"/>
                    <a:gd name="connsiteX455" fmla="*/ 134471 w 465741"/>
                    <a:gd name="connsiteY455" fmla="*/ 26511 h 210980"/>
                    <a:gd name="connsiteX456" fmla="*/ 150053 w 465741"/>
                    <a:gd name="connsiteY456" fmla="*/ 17294 h 210980"/>
                    <a:gd name="connsiteX457" fmla="*/ 155513 w 465741"/>
                    <a:gd name="connsiteY457" fmla="*/ 12485 h 210980"/>
                    <a:gd name="connsiteX458" fmla="*/ 161365 w 465741"/>
                    <a:gd name="connsiteY458" fmla="*/ 9853 h 210980"/>
                    <a:gd name="connsiteX459" fmla="*/ 171389 w 465741"/>
                    <a:gd name="connsiteY459" fmla="*/ 6927 h 210980"/>
                    <a:gd name="connsiteX460" fmla="*/ 179775 w 465741"/>
                    <a:gd name="connsiteY460" fmla="*/ 3048 h 210980"/>
                    <a:gd name="connsiteX461" fmla="*/ 182171 w 465741"/>
                    <a:gd name="connsiteY461" fmla="*/ 2600 h 210980"/>
                    <a:gd name="connsiteX462" fmla="*/ 202301 w 465741"/>
                    <a:gd name="connsiteY462" fmla="*/ 4458 h 210980"/>
                    <a:gd name="connsiteX463" fmla="*/ 216131 w 465741"/>
                    <a:gd name="connsiteY463" fmla="*/ 4694 h 210980"/>
                    <a:gd name="connsiteX464" fmla="*/ 222480 w 465741"/>
                    <a:gd name="connsiteY464" fmla="*/ 1035 h 210980"/>
                    <a:gd name="connsiteX465" fmla="*/ 226147 w 465741"/>
                    <a:gd name="connsiteY465" fmla="*/ 2266 h 210980"/>
                    <a:gd name="connsiteX466" fmla="*/ 225813 w 465741"/>
                    <a:gd name="connsiteY466" fmla="*/ 3570 h 210980"/>
                    <a:gd name="connsiteX467" fmla="*/ 225071 w 465741"/>
                    <a:gd name="connsiteY467" fmla="*/ 4670 h 210980"/>
                    <a:gd name="connsiteX468" fmla="*/ 32835 w 465741"/>
                    <a:gd name="connsiteY468" fmla="*/ 2323 h 210980"/>
                    <a:gd name="connsiteX469" fmla="*/ 35614 w 465741"/>
                    <a:gd name="connsiteY469" fmla="*/ 5012 h 210980"/>
                    <a:gd name="connsiteX470" fmla="*/ 37106 w 465741"/>
                    <a:gd name="connsiteY470" fmla="*/ 5909 h 210980"/>
                    <a:gd name="connsiteX471" fmla="*/ 38214 w 465741"/>
                    <a:gd name="connsiteY471" fmla="*/ 5493 h 210980"/>
                    <a:gd name="connsiteX472" fmla="*/ 40235 w 465741"/>
                    <a:gd name="connsiteY472" fmla="*/ 4523 h 210980"/>
                    <a:gd name="connsiteX473" fmla="*/ 42158 w 465741"/>
                    <a:gd name="connsiteY473" fmla="*/ 4507 h 210980"/>
                    <a:gd name="connsiteX474" fmla="*/ 43707 w 465741"/>
                    <a:gd name="connsiteY474" fmla="*/ 4678 h 210980"/>
                    <a:gd name="connsiteX475" fmla="*/ 44465 w 465741"/>
                    <a:gd name="connsiteY475" fmla="*/ 3830 h 210980"/>
                    <a:gd name="connsiteX476" fmla="*/ 45638 w 465741"/>
                    <a:gd name="connsiteY476" fmla="*/ 3651 h 210980"/>
                    <a:gd name="connsiteX477" fmla="*/ 48996 w 465741"/>
                    <a:gd name="connsiteY477" fmla="*/ 4246 h 210980"/>
                    <a:gd name="connsiteX478" fmla="*/ 48328 w 465741"/>
                    <a:gd name="connsiteY478" fmla="*/ 8174 h 210980"/>
                    <a:gd name="connsiteX479" fmla="*/ 49893 w 465741"/>
                    <a:gd name="connsiteY479" fmla="*/ 12477 h 210980"/>
                    <a:gd name="connsiteX480" fmla="*/ 53544 w 465741"/>
                    <a:gd name="connsiteY480" fmla="*/ 18467 h 210980"/>
                    <a:gd name="connsiteX481" fmla="*/ 57219 w 465741"/>
                    <a:gd name="connsiteY481" fmla="*/ 21483 h 210980"/>
                    <a:gd name="connsiteX482" fmla="*/ 72109 w 465741"/>
                    <a:gd name="connsiteY482" fmla="*/ 28940 h 210980"/>
                    <a:gd name="connsiteX483" fmla="*/ 74855 w 465741"/>
                    <a:gd name="connsiteY483" fmla="*/ 29575 h 210980"/>
                    <a:gd name="connsiteX484" fmla="*/ 74236 w 465741"/>
                    <a:gd name="connsiteY484" fmla="*/ 32632 h 210980"/>
                    <a:gd name="connsiteX485" fmla="*/ 73339 w 465741"/>
                    <a:gd name="connsiteY485" fmla="*/ 35337 h 210980"/>
                    <a:gd name="connsiteX486" fmla="*/ 72353 w 465741"/>
                    <a:gd name="connsiteY486" fmla="*/ 37146 h 210980"/>
                    <a:gd name="connsiteX487" fmla="*/ 67985 w 465741"/>
                    <a:gd name="connsiteY487" fmla="*/ 38304 h 210980"/>
                    <a:gd name="connsiteX488" fmla="*/ 55948 w 465741"/>
                    <a:gd name="connsiteY488" fmla="*/ 34987 h 210980"/>
                    <a:gd name="connsiteX489" fmla="*/ 52900 w 465741"/>
                    <a:gd name="connsiteY489" fmla="*/ 34677 h 210980"/>
                    <a:gd name="connsiteX490" fmla="*/ 50748 w 465741"/>
                    <a:gd name="connsiteY490" fmla="*/ 35337 h 210980"/>
                    <a:gd name="connsiteX491" fmla="*/ 46779 w 465741"/>
                    <a:gd name="connsiteY491" fmla="*/ 37750 h 210980"/>
                    <a:gd name="connsiteX492" fmla="*/ 42370 w 465741"/>
                    <a:gd name="connsiteY492" fmla="*/ 36975 h 210980"/>
                    <a:gd name="connsiteX493" fmla="*/ 36217 w 465741"/>
                    <a:gd name="connsiteY493" fmla="*/ 38336 h 210980"/>
                    <a:gd name="connsiteX494" fmla="*/ 34506 w 465741"/>
                    <a:gd name="connsiteY494" fmla="*/ 42884 h 210980"/>
                    <a:gd name="connsiteX495" fmla="*/ 30235 w 465741"/>
                    <a:gd name="connsiteY495" fmla="*/ 48083 h 210980"/>
                    <a:gd name="connsiteX496" fmla="*/ 23210 w 465741"/>
                    <a:gd name="connsiteY496" fmla="*/ 52281 h 210980"/>
                    <a:gd name="connsiteX497" fmla="*/ 18182 w 465741"/>
                    <a:gd name="connsiteY497" fmla="*/ 54530 h 210980"/>
                    <a:gd name="connsiteX498" fmla="*/ 10643 w 465741"/>
                    <a:gd name="connsiteY498" fmla="*/ 62557 h 210980"/>
                    <a:gd name="connsiteX499" fmla="*/ 7221 w 465741"/>
                    <a:gd name="connsiteY499" fmla="*/ 67252 h 210980"/>
                    <a:gd name="connsiteX500" fmla="*/ 5770 w 465741"/>
                    <a:gd name="connsiteY500" fmla="*/ 68164 h 210980"/>
                    <a:gd name="connsiteX501" fmla="*/ 4058 w 465741"/>
                    <a:gd name="connsiteY501" fmla="*/ 68882 h 210980"/>
                    <a:gd name="connsiteX502" fmla="*/ 4629 w 465741"/>
                    <a:gd name="connsiteY502" fmla="*/ 66640 h 210980"/>
                    <a:gd name="connsiteX503" fmla="*/ 5477 w 465741"/>
                    <a:gd name="connsiteY503" fmla="*/ 64579 h 210980"/>
                    <a:gd name="connsiteX504" fmla="*/ 5281 w 465741"/>
                    <a:gd name="connsiteY504" fmla="*/ 63022 h 210980"/>
                    <a:gd name="connsiteX505" fmla="*/ 5322 w 465741"/>
                    <a:gd name="connsiteY505" fmla="*/ 60764 h 210980"/>
                    <a:gd name="connsiteX506" fmla="*/ 7840 w 465741"/>
                    <a:gd name="connsiteY506" fmla="*/ 58197 h 210980"/>
                    <a:gd name="connsiteX507" fmla="*/ 10122 w 465741"/>
                    <a:gd name="connsiteY507" fmla="*/ 56331 h 210980"/>
                    <a:gd name="connsiteX508" fmla="*/ 16894 w 465741"/>
                    <a:gd name="connsiteY508" fmla="*/ 52957 h 210980"/>
                    <a:gd name="connsiteX509" fmla="*/ 18671 w 465741"/>
                    <a:gd name="connsiteY509" fmla="*/ 50154 h 210980"/>
                    <a:gd name="connsiteX510" fmla="*/ 13374 w 465741"/>
                    <a:gd name="connsiteY510" fmla="*/ 50219 h 210980"/>
                    <a:gd name="connsiteX511" fmla="*/ 7987 w 465741"/>
                    <a:gd name="connsiteY511" fmla="*/ 50846 h 210980"/>
                    <a:gd name="connsiteX512" fmla="*/ 4596 w 465741"/>
                    <a:gd name="connsiteY512" fmla="*/ 50447 h 210980"/>
                    <a:gd name="connsiteX513" fmla="*/ 1646 w 465741"/>
                    <a:gd name="connsiteY513" fmla="*/ 50675 h 210980"/>
                    <a:gd name="connsiteX514" fmla="*/ 725 w 465741"/>
                    <a:gd name="connsiteY514" fmla="*/ 48230 h 210980"/>
                    <a:gd name="connsiteX515" fmla="*/ 0 w 465741"/>
                    <a:gd name="connsiteY515" fmla="*/ 46747 h 210980"/>
                    <a:gd name="connsiteX516" fmla="*/ 774 w 465741"/>
                    <a:gd name="connsiteY516" fmla="*/ 46291 h 210980"/>
                    <a:gd name="connsiteX517" fmla="*/ 1752 w 465741"/>
                    <a:gd name="connsiteY517" fmla="*/ 45964 h 210980"/>
                    <a:gd name="connsiteX518" fmla="*/ 3480 w 465741"/>
                    <a:gd name="connsiteY518" fmla="*/ 43348 h 210980"/>
                    <a:gd name="connsiteX519" fmla="*/ 5020 w 465741"/>
                    <a:gd name="connsiteY519" fmla="*/ 41425 h 210980"/>
                    <a:gd name="connsiteX520" fmla="*/ 7245 w 465741"/>
                    <a:gd name="connsiteY520" fmla="*/ 38988 h 210980"/>
                    <a:gd name="connsiteX521" fmla="*/ 7815 w 465741"/>
                    <a:gd name="connsiteY521" fmla="*/ 37530 h 210980"/>
                    <a:gd name="connsiteX522" fmla="*/ 7815 w 465741"/>
                    <a:gd name="connsiteY522" fmla="*/ 36177 h 210980"/>
                    <a:gd name="connsiteX523" fmla="*/ 7286 w 465741"/>
                    <a:gd name="connsiteY523" fmla="*/ 35239 h 210980"/>
                    <a:gd name="connsiteX524" fmla="*/ 7180 w 465741"/>
                    <a:gd name="connsiteY524" fmla="*/ 34123 h 210980"/>
                    <a:gd name="connsiteX525" fmla="*/ 7107 w 465741"/>
                    <a:gd name="connsiteY525" fmla="*/ 32542 h 210980"/>
                    <a:gd name="connsiteX526" fmla="*/ 7237 w 465741"/>
                    <a:gd name="connsiteY526" fmla="*/ 29282 h 210980"/>
                    <a:gd name="connsiteX527" fmla="*/ 12339 w 465741"/>
                    <a:gd name="connsiteY527" fmla="*/ 25712 h 210980"/>
                    <a:gd name="connsiteX528" fmla="*/ 13969 w 465741"/>
                    <a:gd name="connsiteY528" fmla="*/ 25338 h 210980"/>
                    <a:gd name="connsiteX529" fmla="*/ 14531 w 465741"/>
                    <a:gd name="connsiteY529" fmla="*/ 23708 h 210980"/>
                    <a:gd name="connsiteX530" fmla="*/ 14148 w 465741"/>
                    <a:gd name="connsiteY530" fmla="*/ 19926 h 210980"/>
                    <a:gd name="connsiteX531" fmla="*/ 13447 w 465741"/>
                    <a:gd name="connsiteY531" fmla="*/ 16878 h 210980"/>
                    <a:gd name="connsiteX532" fmla="*/ 12542 w 465741"/>
                    <a:gd name="connsiteY532" fmla="*/ 16674 h 210980"/>
                    <a:gd name="connsiteX533" fmla="*/ 11312 w 465741"/>
                    <a:gd name="connsiteY533" fmla="*/ 15778 h 210980"/>
                    <a:gd name="connsiteX534" fmla="*/ 10505 w 465741"/>
                    <a:gd name="connsiteY534" fmla="*/ 14751 h 210980"/>
                    <a:gd name="connsiteX535" fmla="*/ 9226 w 465741"/>
                    <a:gd name="connsiteY535" fmla="*/ 13618 h 210980"/>
                    <a:gd name="connsiteX536" fmla="*/ 6992 w 465741"/>
                    <a:gd name="connsiteY536" fmla="*/ 12934 h 210980"/>
                    <a:gd name="connsiteX537" fmla="*/ 6919 w 465741"/>
                    <a:gd name="connsiteY537" fmla="*/ 11964 h 210980"/>
                    <a:gd name="connsiteX538" fmla="*/ 7147 w 465741"/>
                    <a:gd name="connsiteY538" fmla="*/ 11002 h 210980"/>
                    <a:gd name="connsiteX539" fmla="*/ 7979 w 465741"/>
                    <a:gd name="connsiteY539" fmla="*/ 10008 h 210980"/>
                    <a:gd name="connsiteX540" fmla="*/ 11719 w 465741"/>
                    <a:gd name="connsiteY540" fmla="*/ 9160 h 210980"/>
                    <a:gd name="connsiteX541" fmla="*/ 12167 w 465741"/>
                    <a:gd name="connsiteY541" fmla="*/ 8460 h 210980"/>
                    <a:gd name="connsiteX542" fmla="*/ 12673 w 465741"/>
                    <a:gd name="connsiteY542" fmla="*/ 6740 h 210980"/>
                    <a:gd name="connsiteX543" fmla="*/ 13422 w 465741"/>
                    <a:gd name="connsiteY543" fmla="*/ 4988 h 210980"/>
                    <a:gd name="connsiteX544" fmla="*/ 14303 w 465741"/>
                    <a:gd name="connsiteY544" fmla="*/ 4409 h 210980"/>
                    <a:gd name="connsiteX545" fmla="*/ 15876 w 465741"/>
                    <a:gd name="connsiteY545" fmla="*/ 4466 h 210980"/>
                    <a:gd name="connsiteX546" fmla="*/ 18883 w 465741"/>
                    <a:gd name="connsiteY546" fmla="*/ 4059 h 210980"/>
                    <a:gd name="connsiteX547" fmla="*/ 20986 w 465741"/>
                    <a:gd name="connsiteY547" fmla="*/ 3480 h 210980"/>
                    <a:gd name="connsiteX548" fmla="*/ 23072 w 465741"/>
                    <a:gd name="connsiteY548" fmla="*/ 2282 h 210980"/>
                    <a:gd name="connsiteX549" fmla="*/ 24131 w 465741"/>
                    <a:gd name="connsiteY549" fmla="*/ 1190 h 210980"/>
                    <a:gd name="connsiteX550" fmla="*/ 28638 w 465741"/>
                    <a:gd name="connsiteY550" fmla="*/ 554 h 210980"/>
                    <a:gd name="connsiteX551" fmla="*/ 29901 w 465741"/>
                    <a:gd name="connsiteY551" fmla="*/ 0 h 210980"/>
                    <a:gd name="connsiteX552" fmla="*/ 31156 w 465741"/>
                    <a:gd name="connsiteY552" fmla="*/ 473 h 210980"/>
                    <a:gd name="connsiteX553" fmla="*/ 32835 w 465741"/>
                    <a:gd name="connsiteY553" fmla="*/ 2323 h 21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Lst>
                  <a:rect l="l" t="t" r="r" b="b"/>
                  <a:pathLst>
                    <a:path w="465741" h="210980">
                      <a:moveTo>
                        <a:pt x="225071" y="4670"/>
                      </a:moveTo>
                      <a:lnTo>
                        <a:pt x="225275" y="6927"/>
                      </a:lnTo>
                      <a:lnTo>
                        <a:pt x="227434" y="10252"/>
                      </a:lnTo>
                      <a:lnTo>
                        <a:pt x="229643" y="12510"/>
                      </a:lnTo>
                      <a:lnTo>
                        <a:pt x="236098" y="15745"/>
                      </a:lnTo>
                      <a:lnTo>
                        <a:pt x="245070" y="13015"/>
                      </a:lnTo>
                      <a:lnTo>
                        <a:pt x="246521" y="13317"/>
                      </a:lnTo>
                      <a:lnTo>
                        <a:pt x="248355" y="14083"/>
                      </a:lnTo>
                      <a:lnTo>
                        <a:pt x="251517" y="22852"/>
                      </a:lnTo>
                      <a:lnTo>
                        <a:pt x="253978" y="25941"/>
                      </a:lnTo>
                      <a:lnTo>
                        <a:pt x="257132" y="28051"/>
                      </a:lnTo>
                      <a:lnTo>
                        <a:pt x="259716" y="28467"/>
                      </a:lnTo>
                      <a:lnTo>
                        <a:pt x="261631" y="26275"/>
                      </a:lnTo>
                      <a:lnTo>
                        <a:pt x="263114" y="25386"/>
                      </a:lnTo>
                      <a:lnTo>
                        <a:pt x="266350" y="25012"/>
                      </a:lnTo>
                      <a:lnTo>
                        <a:pt x="271663" y="28027"/>
                      </a:lnTo>
                      <a:lnTo>
                        <a:pt x="273513" y="31140"/>
                      </a:lnTo>
                      <a:lnTo>
                        <a:pt x="282551" y="33536"/>
                      </a:lnTo>
                      <a:lnTo>
                        <a:pt x="290856" y="34734"/>
                      </a:lnTo>
                      <a:lnTo>
                        <a:pt x="294433" y="37367"/>
                      </a:lnTo>
                      <a:lnTo>
                        <a:pt x="306112" y="39999"/>
                      </a:lnTo>
                      <a:lnTo>
                        <a:pt x="310480" y="39591"/>
                      </a:lnTo>
                      <a:lnTo>
                        <a:pt x="317807" y="36829"/>
                      </a:lnTo>
                      <a:lnTo>
                        <a:pt x="332044" y="33797"/>
                      </a:lnTo>
                      <a:lnTo>
                        <a:pt x="341498" y="38035"/>
                      </a:lnTo>
                      <a:lnTo>
                        <a:pt x="344057" y="38573"/>
                      </a:lnTo>
                      <a:lnTo>
                        <a:pt x="346274" y="38214"/>
                      </a:lnTo>
                      <a:lnTo>
                        <a:pt x="349444" y="39380"/>
                      </a:lnTo>
                      <a:lnTo>
                        <a:pt x="352843" y="38752"/>
                      </a:lnTo>
                      <a:lnTo>
                        <a:pt x="363315" y="33772"/>
                      </a:lnTo>
                      <a:lnTo>
                        <a:pt x="366583" y="30945"/>
                      </a:lnTo>
                      <a:lnTo>
                        <a:pt x="370063" y="30219"/>
                      </a:lnTo>
                      <a:lnTo>
                        <a:pt x="373135" y="28524"/>
                      </a:lnTo>
                      <a:lnTo>
                        <a:pt x="381350" y="22966"/>
                      </a:lnTo>
                      <a:lnTo>
                        <a:pt x="383714" y="19747"/>
                      </a:lnTo>
                      <a:lnTo>
                        <a:pt x="385360" y="20448"/>
                      </a:lnTo>
                      <a:lnTo>
                        <a:pt x="388465" y="21320"/>
                      </a:lnTo>
                      <a:lnTo>
                        <a:pt x="390388" y="22387"/>
                      </a:lnTo>
                      <a:lnTo>
                        <a:pt x="391489" y="22664"/>
                      </a:lnTo>
                      <a:lnTo>
                        <a:pt x="394031" y="20497"/>
                      </a:lnTo>
                      <a:lnTo>
                        <a:pt x="397805" y="20554"/>
                      </a:lnTo>
                      <a:lnTo>
                        <a:pt x="401105" y="20798"/>
                      </a:lnTo>
                      <a:lnTo>
                        <a:pt x="402817" y="21206"/>
                      </a:lnTo>
                      <a:lnTo>
                        <a:pt x="404903" y="21923"/>
                      </a:lnTo>
                      <a:lnTo>
                        <a:pt x="407446" y="22404"/>
                      </a:lnTo>
                      <a:lnTo>
                        <a:pt x="408465" y="21369"/>
                      </a:lnTo>
                      <a:lnTo>
                        <a:pt x="409956" y="18313"/>
                      </a:lnTo>
                      <a:lnTo>
                        <a:pt x="410518" y="17921"/>
                      </a:lnTo>
                      <a:lnTo>
                        <a:pt x="410934" y="17644"/>
                      </a:lnTo>
                      <a:lnTo>
                        <a:pt x="412800" y="17408"/>
                      </a:lnTo>
                      <a:lnTo>
                        <a:pt x="414593" y="17644"/>
                      </a:lnTo>
                      <a:lnTo>
                        <a:pt x="415432" y="18166"/>
                      </a:lnTo>
                      <a:lnTo>
                        <a:pt x="416264" y="20603"/>
                      </a:lnTo>
                      <a:lnTo>
                        <a:pt x="418383" y="21475"/>
                      </a:lnTo>
                      <a:lnTo>
                        <a:pt x="422107" y="25378"/>
                      </a:lnTo>
                      <a:lnTo>
                        <a:pt x="424389" y="26943"/>
                      </a:lnTo>
                      <a:lnTo>
                        <a:pt x="424935" y="27603"/>
                      </a:lnTo>
                      <a:lnTo>
                        <a:pt x="424193" y="28394"/>
                      </a:lnTo>
                      <a:lnTo>
                        <a:pt x="424479" y="29363"/>
                      </a:lnTo>
                      <a:lnTo>
                        <a:pt x="425783" y="30635"/>
                      </a:lnTo>
                      <a:lnTo>
                        <a:pt x="427616" y="31108"/>
                      </a:lnTo>
                      <a:lnTo>
                        <a:pt x="429589" y="30936"/>
                      </a:lnTo>
                      <a:lnTo>
                        <a:pt x="430664" y="31401"/>
                      </a:lnTo>
                      <a:lnTo>
                        <a:pt x="431447" y="32118"/>
                      </a:lnTo>
                      <a:lnTo>
                        <a:pt x="431642" y="33129"/>
                      </a:lnTo>
                      <a:lnTo>
                        <a:pt x="431585" y="33772"/>
                      </a:lnTo>
                      <a:lnTo>
                        <a:pt x="431977" y="35223"/>
                      </a:lnTo>
                      <a:lnTo>
                        <a:pt x="433517" y="37269"/>
                      </a:lnTo>
                      <a:lnTo>
                        <a:pt x="435359" y="38516"/>
                      </a:lnTo>
                      <a:lnTo>
                        <a:pt x="436353" y="39852"/>
                      </a:lnTo>
                      <a:lnTo>
                        <a:pt x="437959" y="44449"/>
                      </a:lnTo>
                      <a:lnTo>
                        <a:pt x="438602" y="46991"/>
                      </a:lnTo>
                      <a:lnTo>
                        <a:pt x="438366" y="49436"/>
                      </a:lnTo>
                      <a:lnTo>
                        <a:pt x="437249" y="51946"/>
                      </a:lnTo>
                      <a:lnTo>
                        <a:pt x="434804" y="55068"/>
                      </a:lnTo>
                      <a:lnTo>
                        <a:pt x="435407" y="56372"/>
                      </a:lnTo>
                      <a:lnTo>
                        <a:pt x="435946" y="58091"/>
                      </a:lnTo>
                      <a:lnTo>
                        <a:pt x="435766" y="59338"/>
                      </a:lnTo>
                      <a:lnTo>
                        <a:pt x="437502" y="63323"/>
                      </a:lnTo>
                      <a:lnTo>
                        <a:pt x="438284" y="65793"/>
                      </a:lnTo>
                      <a:lnTo>
                        <a:pt x="437632" y="66363"/>
                      </a:lnTo>
                      <a:lnTo>
                        <a:pt x="437208" y="67154"/>
                      </a:lnTo>
                      <a:lnTo>
                        <a:pt x="440322" y="69053"/>
                      </a:lnTo>
                      <a:lnTo>
                        <a:pt x="444046" y="70650"/>
                      </a:lnTo>
                      <a:lnTo>
                        <a:pt x="445619" y="70960"/>
                      </a:lnTo>
                      <a:lnTo>
                        <a:pt x="449898" y="70226"/>
                      </a:lnTo>
                      <a:lnTo>
                        <a:pt x="452652" y="70063"/>
                      </a:lnTo>
                      <a:lnTo>
                        <a:pt x="455391" y="71579"/>
                      </a:lnTo>
                      <a:lnTo>
                        <a:pt x="459376" y="75246"/>
                      </a:lnTo>
                      <a:lnTo>
                        <a:pt x="463679" y="80014"/>
                      </a:lnTo>
                      <a:lnTo>
                        <a:pt x="464526" y="81473"/>
                      </a:lnTo>
                      <a:lnTo>
                        <a:pt x="464901" y="82109"/>
                      </a:lnTo>
                      <a:lnTo>
                        <a:pt x="465741" y="83266"/>
                      </a:lnTo>
                      <a:lnTo>
                        <a:pt x="464877" y="83249"/>
                      </a:lnTo>
                      <a:lnTo>
                        <a:pt x="463459" y="82214"/>
                      </a:lnTo>
                      <a:lnTo>
                        <a:pt x="460044" y="79272"/>
                      </a:lnTo>
                      <a:lnTo>
                        <a:pt x="458284" y="80544"/>
                      </a:lnTo>
                      <a:lnTo>
                        <a:pt x="456784" y="82728"/>
                      </a:lnTo>
                      <a:lnTo>
                        <a:pt x="455130" y="91000"/>
                      </a:lnTo>
                      <a:lnTo>
                        <a:pt x="453793" y="91880"/>
                      </a:lnTo>
                      <a:lnTo>
                        <a:pt x="451446" y="91856"/>
                      </a:lnTo>
                      <a:lnTo>
                        <a:pt x="448553" y="91570"/>
                      </a:lnTo>
                      <a:lnTo>
                        <a:pt x="446572" y="91978"/>
                      </a:lnTo>
                      <a:lnTo>
                        <a:pt x="446059" y="92500"/>
                      </a:lnTo>
                      <a:lnTo>
                        <a:pt x="446328" y="93388"/>
                      </a:lnTo>
                      <a:lnTo>
                        <a:pt x="446907" y="94749"/>
                      </a:lnTo>
                      <a:lnTo>
                        <a:pt x="447331" y="96468"/>
                      </a:lnTo>
                      <a:lnTo>
                        <a:pt x="447445" y="97870"/>
                      </a:lnTo>
                      <a:lnTo>
                        <a:pt x="448496" y="99150"/>
                      </a:lnTo>
                      <a:lnTo>
                        <a:pt x="449906" y="100348"/>
                      </a:lnTo>
                      <a:lnTo>
                        <a:pt x="449971" y="101595"/>
                      </a:lnTo>
                      <a:lnTo>
                        <a:pt x="449759" y="103339"/>
                      </a:lnTo>
                      <a:lnTo>
                        <a:pt x="449433" y="104675"/>
                      </a:lnTo>
                      <a:lnTo>
                        <a:pt x="449074" y="105425"/>
                      </a:lnTo>
                      <a:lnTo>
                        <a:pt x="449727" y="107446"/>
                      </a:lnTo>
                      <a:lnTo>
                        <a:pt x="451259" y="109842"/>
                      </a:lnTo>
                      <a:lnTo>
                        <a:pt x="452229" y="110755"/>
                      </a:lnTo>
                      <a:lnTo>
                        <a:pt x="451862" y="115311"/>
                      </a:lnTo>
                      <a:lnTo>
                        <a:pt x="452433" y="117332"/>
                      </a:lnTo>
                      <a:lnTo>
                        <a:pt x="452872" y="120119"/>
                      </a:lnTo>
                      <a:lnTo>
                        <a:pt x="452701" y="124740"/>
                      </a:lnTo>
                      <a:lnTo>
                        <a:pt x="452889" y="125881"/>
                      </a:lnTo>
                      <a:lnTo>
                        <a:pt x="453410" y="126272"/>
                      </a:lnTo>
                      <a:lnTo>
                        <a:pt x="454804" y="126443"/>
                      </a:lnTo>
                      <a:lnTo>
                        <a:pt x="456165" y="126875"/>
                      </a:lnTo>
                      <a:lnTo>
                        <a:pt x="456638" y="127633"/>
                      </a:lnTo>
                      <a:lnTo>
                        <a:pt x="456638" y="128187"/>
                      </a:lnTo>
                      <a:lnTo>
                        <a:pt x="454934" y="130306"/>
                      </a:lnTo>
                      <a:lnTo>
                        <a:pt x="454739" y="131814"/>
                      </a:lnTo>
                      <a:lnTo>
                        <a:pt x="454144" y="133933"/>
                      </a:lnTo>
                      <a:lnTo>
                        <a:pt x="453655" y="135180"/>
                      </a:lnTo>
                      <a:lnTo>
                        <a:pt x="452131" y="137535"/>
                      </a:lnTo>
                      <a:lnTo>
                        <a:pt x="451161" y="139939"/>
                      </a:lnTo>
                      <a:lnTo>
                        <a:pt x="450721" y="141919"/>
                      </a:lnTo>
                      <a:lnTo>
                        <a:pt x="451014" y="142849"/>
                      </a:lnTo>
                      <a:lnTo>
                        <a:pt x="453818" y="143126"/>
                      </a:lnTo>
                      <a:lnTo>
                        <a:pt x="455350" y="144552"/>
                      </a:lnTo>
                      <a:lnTo>
                        <a:pt x="459408" y="147380"/>
                      </a:lnTo>
                      <a:lnTo>
                        <a:pt x="460118" y="148521"/>
                      </a:lnTo>
                      <a:lnTo>
                        <a:pt x="459009" y="150273"/>
                      </a:lnTo>
                      <a:lnTo>
                        <a:pt x="459034" y="150998"/>
                      </a:lnTo>
                      <a:lnTo>
                        <a:pt x="459547" y="151919"/>
                      </a:lnTo>
                      <a:lnTo>
                        <a:pt x="459791" y="153533"/>
                      </a:lnTo>
                      <a:lnTo>
                        <a:pt x="459694" y="155334"/>
                      </a:lnTo>
                      <a:lnTo>
                        <a:pt x="459718" y="157714"/>
                      </a:lnTo>
                      <a:lnTo>
                        <a:pt x="460460" y="158105"/>
                      </a:lnTo>
                      <a:lnTo>
                        <a:pt x="463223" y="160322"/>
                      </a:lnTo>
                      <a:lnTo>
                        <a:pt x="465178" y="162546"/>
                      </a:lnTo>
                      <a:lnTo>
                        <a:pt x="465244" y="163231"/>
                      </a:lnTo>
                      <a:lnTo>
                        <a:pt x="464290" y="164983"/>
                      </a:lnTo>
                      <a:lnTo>
                        <a:pt x="464494" y="167012"/>
                      </a:lnTo>
                      <a:lnTo>
                        <a:pt x="464453" y="167477"/>
                      </a:lnTo>
                      <a:lnTo>
                        <a:pt x="463606" y="166711"/>
                      </a:lnTo>
                      <a:lnTo>
                        <a:pt x="462081" y="166434"/>
                      </a:lnTo>
                      <a:lnTo>
                        <a:pt x="460509" y="166352"/>
                      </a:lnTo>
                      <a:lnTo>
                        <a:pt x="459523" y="166939"/>
                      </a:lnTo>
                      <a:lnTo>
                        <a:pt x="457778" y="168537"/>
                      </a:lnTo>
                      <a:lnTo>
                        <a:pt x="455448" y="170264"/>
                      </a:lnTo>
                      <a:lnTo>
                        <a:pt x="453565" y="171853"/>
                      </a:lnTo>
                      <a:lnTo>
                        <a:pt x="452473" y="172937"/>
                      </a:lnTo>
                      <a:lnTo>
                        <a:pt x="451585" y="172766"/>
                      </a:lnTo>
                      <a:lnTo>
                        <a:pt x="450876" y="171813"/>
                      </a:lnTo>
                      <a:lnTo>
                        <a:pt x="450493" y="170484"/>
                      </a:lnTo>
                      <a:lnTo>
                        <a:pt x="450656" y="165464"/>
                      </a:lnTo>
                      <a:lnTo>
                        <a:pt x="450240" y="163883"/>
                      </a:lnTo>
                      <a:lnTo>
                        <a:pt x="449360" y="162783"/>
                      </a:lnTo>
                      <a:lnTo>
                        <a:pt x="448333" y="162147"/>
                      </a:lnTo>
                      <a:lnTo>
                        <a:pt x="447094" y="161797"/>
                      </a:lnTo>
                      <a:lnTo>
                        <a:pt x="445823" y="161756"/>
                      </a:lnTo>
                      <a:lnTo>
                        <a:pt x="444014" y="163239"/>
                      </a:lnTo>
                      <a:lnTo>
                        <a:pt x="441439" y="164763"/>
                      </a:lnTo>
                      <a:lnTo>
                        <a:pt x="437453" y="164641"/>
                      </a:lnTo>
                      <a:lnTo>
                        <a:pt x="434788" y="164356"/>
                      </a:lnTo>
                      <a:lnTo>
                        <a:pt x="433492" y="164062"/>
                      </a:lnTo>
                      <a:lnTo>
                        <a:pt x="428301" y="161723"/>
                      </a:lnTo>
                      <a:lnTo>
                        <a:pt x="427225" y="161666"/>
                      </a:lnTo>
                      <a:lnTo>
                        <a:pt x="425294" y="160721"/>
                      </a:lnTo>
                      <a:lnTo>
                        <a:pt x="422987" y="159971"/>
                      </a:lnTo>
                      <a:lnTo>
                        <a:pt x="419124" y="161389"/>
                      </a:lnTo>
                      <a:lnTo>
                        <a:pt x="417445" y="161047"/>
                      </a:lnTo>
                      <a:lnTo>
                        <a:pt x="415107" y="159816"/>
                      </a:lnTo>
                      <a:lnTo>
                        <a:pt x="414275" y="160150"/>
                      </a:lnTo>
                      <a:lnTo>
                        <a:pt x="411651" y="163907"/>
                      </a:lnTo>
                      <a:lnTo>
                        <a:pt x="407201" y="167933"/>
                      </a:lnTo>
                      <a:lnTo>
                        <a:pt x="404797" y="168602"/>
                      </a:lnTo>
                      <a:lnTo>
                        <a:pt x="403648" y="164568"/>
                      </a:lnTo>
                      <a:lnTo>
                        <a:pt x="402540" y="163011"/>
                      </a:lnTo>
                      <a:lnTo>
                        <a:pt x="402034" y="162815"/>
                      </a:lnTo>
                      <a:lnTo>
                        <a:pt x="400918" y="162310"/>
                      </a:lnTo>
                      <a:lnTo>
                        <a:pt x="400062" y="162604"/>
                      </a:lnTo>
                      <a:lnTo>
                        <a:pt x="397381" y="165350"/>
                      </a:lnTo>
                      <a:lnTo>
                        <a:pt x="393094" y="167004"/>
                      </a:lnTo>
                      <a:lnTo>
                        <a:pt x="389533" y="168015"/>
                      </a:lnTo>
                      <a:lnTo>
                        <a:pt x="383877" y="169245"/>
                      </a:lnTo>
                      <a:lnTo>
                        <a:pt x="379517" y="169857"/>
                      </a:lnTo>
                      <a:lnTo>
                        <a:pt x="377650" y="169906"/>
                      </a:lnTo>
                      <a:lnTo>
                        <a:pt x="373616" y="169351"/>
                      </a:lnTo>
                      <a:lnTo>
                        <a:pt x="370071" y="168577"/>
                      </a:lnTo>
                      <a:lnTo>
                        <a:pt x="366510" y="168610"/>
                      </a:lnTo>
                      <a:lnTo>
                        <a:pt x="363788" y="168960"/>
                      </a:lnTo>
                      <a:lnTo>
                        <a:pt x="357455" y="171919"/>
                      </a:lnTo>
                      <a:lnTo>
                        <a:pt x="346689" y="178007"/>
                      </a:lnTo>
                      <a:lnTo>
                        <a:pt x="338507" y="180916"/>
                      </a:lnTo>
                      <a:lnTo>
                        <a:pt x="333919" y="182114"/>
                      </a:lnTo>
                      <a:lnTo>
                        <a:pt x="330341" y="182807"/>
                      </a:lnTo>
                      <a:lnTo>
                        <a:pt x="324180" y="182839"/>
                      </a:lnTo>
                      <a:lnTo>
                        <a:pt x="319176" y="182367"/>
                      </a:lnTo>
                      <a:lnTo>
                        <a:pt x="315713" y="182416"/>
                      </a:lnTo>
                      <a:lnTo>
                        <a:pt x="313781" y="181690"/>
                      </a:lnTo>
                      <a:lnTo>
                        <a:pt x="311026" y="179229"/>
                      </a:lnTo>
                      <a:lnTo>
                        <a:pt x="307693" y="176800"/>
                      </a:lnTo>
                      <a:lnTo>
                        <a:pt x="306210" y="176238"/>
                      </a:lnTo>
                      <a:lnTo>
                        <a:pt x="304278" y="175765"/>
                      </a:lnTo>
                      <a:lnTo>
                        <a:pt x="301451" y="175496"/>
                      </a:lnTo>
                      <a:lnTo>
                        <a:pt x="294376" y="179058"/>
                      </a:lnTo>
                      <a:lnTo>
                        <a:pt x="292168" y="180019"/>
                      </a:lnTo>
                      <a:lnTo>
                        <a:pt x="289739" y="180745"/>
                      </a:lnTo>
                      <a:lnTo>
                        <a:pt x="284858" y="182921"/>
                      </a:lnTo>
                      <a:lnTo>
                        <a:pt x="282698" y="184086"/>
                      </a:lnTo>
                      <a:lnTo>
                        <a:pt x="279992" y="183980"/>
                      </a:lnTo>
                      <a:lnTo>
                        <a:pt x="276520" y="183671"/>
                      </a:lnTo>
                      <a:lnTo>
                        <a:pt x="273521" y="183785"/>
                      </a:lnTo>
                      <a:lnTo>
                        <a:pt x="271516" y="182122"/>
                      </a:lnTo>
                      <a:lnTo>
                        <a:pt x="270424" y="180264"/>
                      </a:lnTo>
                      <a:lnTo>
                        <a:pt x="266333" y="179123"/>
                      </a:lnTo>
                      <a:lnTo>
                        <a:pt x="263407" y="178797"/>
                      </a:lnTo>
                      <a:lnTo>
                        <a:pt x="262658" y="179620"/>
                      </a:lnTo>
                      <a:lnTo>
                        <a:pt x="261875" y="182155"/>
                      </a:lnTo>
                      <a:lnTo>
                        <a:pt x="260637" y="188626"/>
                      </a:lnTo>
                      <a:lnTo>
                        <a:pt x="260408" y="190256"/>
                      </a:lnTo>
                      <a:lnTo>
                        <a:pt x="262976" y="196686"/>
                      </a:lnTo>
                      <a:lnTo>
                        <a:pt x="262861" y="197664"/>
                      </a:lnTo>
                      <a:lnTo>
                        <a:pt x="261011" y="197998"/>
                      </a:lnTo>
                      <a:lnTo>
                        <a:pt x="258892" y="198104"/>
                      </a:lnTo>
                      <a:lnTo>
                        <a:pt x="257515" y="198674"/>
                      </a:lnTo>
                      <a:lnTo>
                        <a:pt x="256366" y="199742"/>
                      </a:lnTo>
                      <a:lnTo>
                        <a:pt x="255673" y="205292"/>
                      </a:lnTo>
                      <a:lnTo>
                        <a:pt x="253228" y="206310"/>
                      </a:lnTo>
                      <a:lnTo>
                        <a:pt x="252063" y="207476"/>
                      </a:lnTo>
                      <a:lnTo>
                        <a:pt x="250865" y="210899"/>
                      </a:lnTo>
                      <a:lnTo>
                        <a:pt x="250213" y="210980"/>
                      </a:lnTo>
                      <a:lnTo>
                        <a:pt x="246260" y="208381"/>
                      </a:lnTo>
                      <a:lnTo>
                        <a:pt x="244394" y="208169"/>
                      </a:lnTo>
                      <a:lnTo>
                        <a:pt x="245991" y="205471"/>
                      </a:lnTo>
                      <a:lnTo>
                        <a:pt x="244256" y="200141"/>
                      </a:lnTo>
                      <a:lnTo>
                        <a:pt x="242373" y="195145"/>
                      </a:lnTo>
                      <a:lnTo>
                        <a:pt x="244158" y="191943"/>
                      </a:lnTo>
                      <a:lnTo>
                        <a:pt x="247850" y="188080"/>
                      </a:lnTo>
                      <a:lnTo>
                        <a:pt x="251737" y="183557"/>
                      </a:lnTo>
                      <a:lnTo>
                        <a:pt x="251729" y="180761"/>
                      </a:lnTo>
                      <a:lnTo>
                        <a:pt x="251541" y="178626"/>
                      </a:lnTo>
                      <a:lnTo>
                        <a:pt x="250417" y="177151"/>
                      </a:lnTo>
                      <a:lnTo>
                        <a:pt x="248273" y="175187"/>
                      </a:lnTo>
                      <a:lnTo>
                        <a:pt x="244704" y="177281"/>
                      </a:lnTo>
                      <a:lnTo>
                        <a:pt x="242145" y="179596"/>
                      </a:lnTo>
                      <a:lnTo>
                        <a:pt x="240482" y="180068"/>
                      </a:lnTo>
                      <a:lnTo>
                        <a:pt x="238657" y="181389"/>
                      </a:lnTo>
                      <a:lnTo>
                        <a:pt x="237793" y="183768"/>
                      </a:lnTo>
                      <a:lnTo>
                        <a:pt x="235601" y="185618"/>
                      </a:lnTo>
                      <a:lnTo>
                        <a:pt x="232031" y="186344"/>
                      </a:lnTo>
                      <a:lnTo>
                        <a:pt x="226644" y="184363"/>
                      </a:lnTo>
                      <a:lnTo>
                        <a:pt x="220858" y="181348"/>
                      </a:lnTo>
                      <a:lnTo>
                        <a:pt x="217598" y="178903"/>
                      </a:lnTo>
                      <a:lnTo>
                        <a:pt x="214925" y="178324"/>
                      </a:lnTo>
                      <a:lnTo>
                        <a:pt x="212382" y="179392"/>
                      </a:lnTo>
                      <a:lnTo>
                        <a:pt x="204892" y="185382"/>
                      </a:lnTo>
                      <a:lnTo>
                        <a:pt x="198046" y="194127"/>
                      </a:lnTo>
                      <a:lnTo>
                        <a:pt x="196343" y="195642"/>
                      </a:lnTo>
                      <a:lnTo>
                        <a:pt x="189897" y="199391"/>
                      </a:lnTo>
                      <a:lnTo>
                        <a:pt x="185635" y="200655"/>
                      </a:lnTo>
                      <a:lnTo>
                        <a:pt x="183622" y="200361"/>
                      </a:lnTo>
                      <a:lnTo>
                        <a:pt x="175130" y="202016"/>
                      </a:lnTo>
                      <a:lnTo>
                        <a:pt x="170916" y="202260"/>
                      </a:lnTo>
                      <a:lnTo>
                        <a:pt x="167583" y="204240"/>
                      </a:lnTo>
                      <a:lnTo>
                        <a:pt x="161104" y="202089"/>
                      </a:lnTo>
                      <a:lnTo>
                        <a:pt x="157233" y="199343"/>
                      </a:lnTo>
                      <a:lnTo>
                        <a:pt x="154902" y="196547"/>
                      </a:lnTo>
                      <a:lnTo>
                        <a:pt x="151104" y="190541"/>
                      </a:lnTo>
                      <a:lnTo>
                        <a:pt x="148406" y="187680"/>
                      </a:lnTo>
                      <a:lnTo>
                        <a:pt x="142360" y="185097"/>
                      </a:lnTo>
                      <a:lnTo>
                        <a:pt x="131805" y="178838"/>
                      </a:lnTo>
                      <a:lnTo>
                        <a:pt x="129026" y="178153"/>
                      </a:lnTo>
                      <a:lnTo>
                        <a:pt x="121830" y="177257"/>
                      </a:lnTo>
                      <a:lnTo>
                        <a:pt x="114227" y="176694"/>
                      </a:lnTo>
                      <a:lnTo>
                        <a:pt x="112686" y="178976"/>
                      </a:lnTo>
                      <a:lnTo>
                        <a:pt x="112116" y="187990"/>
                      </a:lnTo>
                      <a:lnTo>
                        <a:pt x="110804" y="190467"/>
                      </a:lnTo>
                      <a:lnTo>
                        <a:pt x="110258" y="195137"/>
                      </a:lnTo>
                      <a:lnTo>
                        <a:pt x="109321" y="196482"/>
                      </a:lnTo>
                      <a:lnTo>
                        <a:pt x="107862" y="197354"/>
                      </a:lnTo>
                      <a:lnTo>
                        <a:pt x="105596" y="195887"/>
                      </a:lnTo>
                      <a:lnTo>
                        <a:pt x="104015" y="195235"/>
                      </a:lnTo>
                      <a:lnTo>
                        <a:pt x="100340" y="197158"/>
                      </a:lnTo>
                      <a:lnTo>
                        <a:pt x="93037" y="199856"/>
                      </a:lnTo>
                      <a:lnTo>
                        <a:pt x="90551" y="200231"/>
                      </a:lnTo>
                      <a:lnTo>
                        <a:pt x="82100" y="196840"/>
                      </a:lnTo>
                      <a:lnTo>
                        <a:pt x="79012" y="194665"/>
                      </a:lnTo>
                      <a:lnTo>
                        <a:pt x="77015" y="192252"/>
                      </a:lnTo>
                      <a:lnTo>
                        <a:pt x="76339" y="188169"/>
                      </a:lnTo>
                      <a:lnTo>
                        <a:pt x="75084" y="185855"/>
                      </a:lnTo>
                      <a:lnTo>
                        <a:pt x="74912" y="184257"/>
                      </a:lnTo>
                      <a:lnTo>
                        <a:pt x="74415" y="182424"/>
                      </a:lnTo>
                      <a:lnTo>
                        <a:pt x="72712" y="181698"/>
                      </a:lnTo>
                      <a:lnTo>
                        <a:pt x="70878" y="183084"/>
                      </a:lnTo>
                      <a:lnTo>
                        <a:pt x="68922" y="183035"/>
                      </a:lnTo>
                      <a:lnTo>
                        <a:pt x="66461" y="182179"/>
                      </a:lnTo>
                      <a:lnTo>
                        <a:pt x="60650" y="178764"/>
                      </a:lnTo>
                      <a:lnTo>
                        <a:pt x="56192" y="178496"/>
                      </a:lnTo>
                      <a:lnTo>
                        <a:pt x="53511" y="182668"/>
                      </a:lnTo>
                      <a:lnTo>
                        <a:pt x="51425" y="183997"/>
                      </a:lnTo>
                      <a:lnTo>
                        <a:pt x="49135" y="184396"/>
                      </a:lnTo>
                      <a:lnTo>
                        <a:pt x="49004" y="183206"/>
                      </a:lnTo>
                      <a:lnTo>
                        <a:pt x="50748" y="180500"/>
                      </a:lnTo>
                      <a:lnTo>
                        <a:pt x="43788" y="180997"/>
                      </a:lnTo>
                      <a:lnTo>
                        <a:pt x="40113" y="183051"/>
                      </a:lnTo>
                      <a:lnTo>
                        <a:pt x="37252" y="182733"/>
                      </a:lnTo>
                      <a:lnTo>
                        <a:pt x="35101" y="181804"/>
                      </a:lnTo>
                      <a:lnTo>
                        <a:pt x="35427" y="180671"/>
                      </a:lnTo>
                      <a:lnTo>
                        <a:pt x="37603" y="180256"/>
                      </a:lnTo>
                      <a:lnTo>
                        <a:pt x="39494" y="179335"/>
                      </a:lnTo>
                      <a:lnTo>
                        <a:pt x="47024" y="178585"/>
                      </a:lnTo>
                      <a:lnTo>
                        <a:pt x="48784" y="177827"/>
                      </a:lnTo>
                      <a:lnTo>
                        <a:pt x="50708" y="174893"/>
                      </a:lnTo>
                      <a:lnTo>
                        <a:pt x="54220" y="172359"/>
                      </a:lnTo>
                      <a:lnTo>
                        <a:pt x="54660" y="171275"/>
                      </a:lnTo>
                      <a:lnTo>
                        <a:pt x="51971" y="171259"/>
                      </a:lnTo>
                      <a:lnTo>
                        <a:pt x="40422" y="171992"/>
                      </a:lnTo>
                      <a:lnTo>
                        <a:pt x="32501" y="171584"/>
                      </a:lnTo>
                      <a:lnTo>
                        <a:pt x="31572" y="172840"/>
                      </a:lnTo>
                      <a:lnTo>
                        <a:pt x="30374" y="173011"/>
                      </a:lnTo>
                      <a:lnTo>
                        <a:pt x="30048" y="169596"/>
                      </a:lnTo>
                      <a:lnTo>
                        <a:pt x="31295" y="168007"/>
                      </a:lnTo>
                      <a:lnTo>
                        <a:pt x="32982" y="168162"/>
                      </a:lnTo>
                      <a:lnTo>
                        <a:pt x="37130" y="166784"/>
                      </a:lnTo>
                      <a:lnTo>
                        <a:pt x="36747" y="163940"/>
                      </a:lnTo>
                      <a:lnTo>
                        <a:pt x="33789" y="162017"/>
                      </a:lnTo>
                      <a:lnTo>
                        <a:pt x="33185" y="160884"/>
                      </a:lnTo>
                      <a:lnTo>
                        <a:pt x="31034" y="160623"/>
                      </a:lnTo>
                      <a:lnTo>
                        <a:pt x="29282" y="159270"/>
                      </a:lnTo>
                      <a:lnTo>
                        <a:pt x="28907" y="155864"/>
                      </a:lnTo>
                      <a:lnTo>
                        <a:pt x="27522" y="152115"/>
                      </a:lnTo>
                      <a:lnTo>
                        <a:pt x="25541" y="150297"/>
                      </a:lnTo>
                      <a:lnTo>
                        <a:pt x="25786" y="149295"/>
                      </a:lnTo>
                      <a:lnTo>
                        <a:pt x="29420" y="148032"/>
                      </a:lnTo>
                      <a:lnTo>
                        <a:pt x="30162" y="142783"/>
                      </a:lnTo>
                      <a:lnTo>
                        <a:pt x="29616" y="139556"/>
                      </a:lnTo>
                      <a:lnTo>
                        <a:pt x="27774" y="139287"/>
                      </a:lnTo>
                      <a:lnTo>
                        <a:pt x="22469" y="136736"/>
                      </a:lnTo>
                      <a:lnTo>
                        <a:pt x="20839" y="137013"/>
                      </a:lnTo>
                      <a:lnTo>
                        <a:pt x="19070" y="134210"/>
                      </a:lnTo>
                      <a:lnTo>
                        <a:pt x="15990" y="132197"/>
                      </a:lnTo>
                      <a:lnTo>
                        <a:pt x="14458" y="132938"/>
                      </a:lnTo>
                      <a:lnTo>
                        <a:pt x="13504" y="133851"/>
                      </a:lnTo>
                      <a:lnTo>
                        <a:pt x="12070" y="133411"/>
                      </a:lnTo>
                      <a:lnTo>
                        <a:pt x="9665" y="131667"/>
                      </a:lnTo>
                      <a:lnTo>
                        <a:pt x="7310" y="130722"/>
                      </a:lnTo>
                      <a:lnTo>
                        <a:pt x="6267" y="129556"/>
                      </a:lnTo>
                      <a:lnTo>
                        <a:pt x="7571" y="126443"/>
                      </a:lnTo>
                      <a:lnTo>
                        <a:pt x="9380" y="126516"/>
                      </a:lnTo>
                      <a:lnTo>
                        <a:pt x="9706" y="124080"/>
                      </a:lnTo>
                      <a:lnTo>
                        <a:pt x="8280" y="120005"/>
                      </a:lnTo>
                      <a:lnTo>
                        <a:pt x="8427" y="117910"/>
                      </a:lnTo>
                      <a:lnTo>
                        <a:pt x="10000" y="117340"/>
                      </a:lnTo>
                      <a:lnTo>
                        <a:pt x="11792" y="117731"/>
                      </a:lnTo>
                      <a:lnTo>
                        <a:pt x="13602" y="120160"/>
                      </a:lnTo>
                      <a:lnTo>
                        <a:pt x="14188" y="122515"/>
                      </a:lnTo>
                      <a:lnTo>
                        <a:pt x="13814" y="124813"/>
                      </a:lnTo>
                      <a:lnTo>
                        <a:pt x="14963" y="127030"/>
                      </a:lnTo>
                      <a:lnTo>
                        <a:pt x="15778" y="127592"/>
                      </a:lnTo>
                      <a:lnTo>
                        <a:pt x="16324" y="125253"/>
                      </a:lnTo>
                      <a:lnTo>
                        <a:pt x="17098" y="124813"/>
                      </a:lnTo>
                      <a:lnTo>
                        <a:pt x="18157" y="125832"/>
                      </a:lnTo>
                      <a:lnTo>
                        <a:pt x="20423" y="126345"/>
                      </a:lnTo>
                      <a:lnTo>
                        <a:pt x="26299" y="124903"/>
                      </a:lnTo>
                      <a:lnTo>
                        <a:pt x="27448" y="123689"/>
                      </a:lnTo>
                      <a:lnTo>
                        <a:pt x="23129" y="123827"/>
                      </a:lnTo>
                      <a:lnTo>
                        <a:pt x="21556" y="122686"/>
                      </a:lnTo>
                      <a:lnTo>
                        <a:pt x="19853" y="120143"/>
                      </a:lnTo>
                      <a:lnTo>
                        <a:pt x="18793" y="117829"/>
                      </a:lnTo>
                      <a:lnTo>
                        <a:pt x="18606" y="116696"/>
                      </a:lnTo>
                      <a:lnTo>
                        <a:pt x="18011" y="115034"/>
                      </a:lnTo>
                      <a:lnTo>
                        <a:pt x="18671" y="114145"/>
                      </a:lnTo>
                      <a:lnTo>
                        <a:pt x="21621" y="112809"/>
                      </a:lnTo>
                      <a:lnTo>
                        <a:pt x="24204" y="109068"/>
                      </a:lnTo>
                      <a:lnTo>
                        <a:pt x="23121" y="107992"/>
                      </a:lnTo>
                      <a:lnTo>
                        <a:pt x="21890" y="107479"/>
                      </a:lnTo>
                      <a:lnTo>
                        <a:pt x="20553" y="107854"/>
                      </a:lnTo>
                      <a:lnTo>
                        <a:pt x="19282" y="106574"/>
                      </a:lnTo>
                      <a:lnTo>
                        <a:pt x="19111" y="104789"/>
                      </a:lnTo>
                      <a:lnTo>
                        <a:pt x="20130" y="103347"/>
                      </a:lnTo>
                      <a:lnTo>
                        <a:pt x="20236" y="101366"/>
                      </a:lnTo>
                      <a:lnTo>
                        <a:pt x="16911" y="96468"/>
                      </a:lnTo>
                      <a:lnTo>
                        <a:pt x="15982" y="95401"/>
                      </a:lnTo>
                      <a:lnTo>
                        <a:pt x="16707" y="93803"/>
                      </a:lnTo>
                      <a:lnTo>
                        <a:pt x="19250" y="91122"/>
                      </a:lnTo>
                      <a:lnTo>
                        <a:pt x="21670" y="87805"/>
                      </a:lnTo>
                      <a:lnTo>
                        <a:pt x="21385" y="86705"/>
                      </a:lnTo>
                      <a:lnTo>
                        <a:pt x="19584" y="86257"/>
                      </a:lnTo>
                      <a:lnTo>
                        <a:pt x="11084" y="87683"/>
                      </a:lnTo>
                      <a:lnTo>
                        <a:pt x="7783" y="88922"/>
                      </a:lnTo>
                      <a:lnTo>
                        <a:pt x="1874" y="89484"/>
                      </a:lnTo>
                      <a:lnTo>
                        <a:pt x="1450" y="87683"/>
                      </a:lnTo>
                      <a:lnTo>
                        <a:pt x="1597" y="86053"/>
                      </a:lnTo>
                      <a:lnTo>
                        <a:pt x="2909" y="83087"/>
                      </a:lnTo>
                      <a:lnTo>
                        <a:pt x="2787" y="75776"/>
                      </a:lnTo>
                      <a:lnTo>
                        <a:pt x="3569" y="71799"/>
                      </a:lnTo>
                      <a:lnTo>
                        <a:pt x="6845" y="70609"/>
                      </a:lnTo>
                      <a:lnTo>
                        <a:pt x="10864" y="64774"/>
                      </a:lnTo>
                      <a:lnTo>
                        <a:pt x="17375" y="57871"/>
                      </a:lnTo>
                      <a:lnTo>
                        <a:pt x="24172" y="58010"/>
                      </a:lnTo>
                      <a:lnTo>
                        <a:pt x="26894" y="56111"/>
                      </a:lnTo>
                      <a:lnTo>
                        <a:pt x="30936" y="55997"/>
                      </a:lnTo>
                      <a:lnTo>
                        <a:pt x="31662" y="57374"/>
                      </a:lnTo>
                      <a:lnTo>
                        <a:pt x="32126" y="58703"/>
                      </a:lnTo>
                      <a:lnTo>
                        <a:pt x="35679" y="60601"/>
                      </a:lnTo>
                      <a:lnTo>
                        <a:pt x="41938" y="60300"/>
                      </a:lnTo>
                      <a:lnTo>
                        <a:pt x="43471" y="59550"/>
                      </a:lnTo>
                      <a:lnTo>
                        <a:pt x="44937" y="58507"/>
                      </a:lnTo>
                      <a:lnTo>
                        <a:pt x="42044" y="55117"/>
                      </a:lnTo>
                      <a:lnTo>
                        <a:pt x="42965" y="54155"/>
                      </a:lnTo>
                      <a:lnTo>
                        <a:pt x="45590" y="54041"/>
                      </a:lnTo>
                      <a:lnTo>
                        <a:pt x="48442" y="54840"/>
                      </a:lnTo>
                      <a:lnTo>
                        <a:pt x="48572" y="55614"/>
                      </a:lnTo>
                      <a:lnTo>
                        <a:pt x="47822" y="56681"/>
                      </a:lnTo>
                      <a:lnTo>
                        <a:pt x="46943" y="58548"/>
                      </a:lnTo>
                      <a:lnTo>
                        <a:pt x="47782" y="58898"/>
                      </a:lnTo>
                      <a:lnTo>
                        <a:pt x="55875" y="57765"/>
                      </a:lnTo>
                      <a:lnTo>
                        <a:pt x="64342" y="58670"/>
                      </a:lnTo>
                      <a:lnTo>
                        <a:pt x="67023" y="58189"/>
                      </a:lnTo>
                      <a:lnTo>
                        <a:pt x="73673" y="58222"/>
                      </a:lnTo>
                      <a:lnTo>
                        <a:pt x="74863" y="57048"/>
                      </a:lnTo>
                      <a:lnTo>
                        <a:pt x="72850" y="55581"/>
                      </a:lnTo>
                      <a:lnTo>
                        <a:pt x="70886" y="55068"/>
                      </a:lnTo>
                      <a:lnTo>
                        <a:pt x="69558" y="54351"/>
                      </a:lnTo>
                      <a:lnTo>
                        <a:pt x="68246" y="53316"/>
                      </a:lnTo>
                      <a:lnTo>
                        <a:pt x="72467" y="50031"/>
                      </a:lnTo>
                      <a:lnTo>
                        <a:pt x="74847" y="49404"/>
                      </a:lnTo>
                      <a:lnTo>
                        <a:pt x="86093" y="47383"/>
                      </a:lnTo>
                      <a:lnTo>
                        <a:pt x="94464" y="46372"/>
                      </a:lnTo>
                      <a:lnTo>
                        <a:pt x="94570" y="45622"/>
                      </a:lnTo>
                      <a:lnTo>
                        <a:pt x="93363" y="45614"/>
                      </a:lnTo>
                      <a:lnTo>
                        <a:pt x="82557" y="43943"/>
                      </a:lnTo>
                      <a:lnTo>
                        <a:pt x="79957" y="42648"/>
                      </a:lnTo>
                      <a:lnTo>
                        <a:pt x="76339" y="39559"/>
                      </a:lnTo>
                      <a:lnTo>
                        <a:pt x="75548" y="38687"/>
                      </a:lnTo>
                      <a:lnTo>
                        <a:pt x="74643" y="37179"/>
                      </a:lnTo>
                      <a:lnTo>
                        <a:pt x="75181" y="33968"/>
                      </a:lnTo>
                      <a:lnTo>
                        <a:pt x="75850" y="31385"/>
                      </a:lnTo>
                      <a:lnTo>
                        <a:pt x="77186" y="29885"/>
                      </a:lnTo>
                      <a:lnTo>
                        <a:pt x="81505" y="29665"/>
                      </a:lnTo>
                      <a:lnTo>
                        <a:pt x="96306" y="32289"/>
                      </a:lnTo>
                      <a:lnTo>
                        <a:pt x="106867" y="30716"/>
                      </a:lnTo>
                      <a:lnTo>
                        <a:pt x="118399" y="34547"/>
                      </a:lnTo>
                      <a:lnTo>
                        <a:pt x="129434" y="33772"/>
                      </a:lnTo>
                      <a:lnTo>
                        <a:pt x="131708" y="32053"/>
                      </a:lnTo>
                      <a:lnTo>
                        <a:pt x="134471" y="26511"/>
                      </a:lnTo>
                      <a:lnTo>
                        <a:pt x="150053" y="17294"/>
                      </a:lnTo>
                      <a:lnTo>
                        <a:pt x="155513" y="12485"/>
                      </a:lnTo>
                      <a:lnTo>
                        <a:pt x="161365" y="9853"/>
                      </a:lnTo>
                      <a:lnTo>
                        <a:pt x="171389" y="6927"/>
                      </a:lnTo>
                      <a:lnTo>
                        <a:pt x="179775" y="3048"/>
                      </a:lnTo>
                      <a:lnTo>
                        <a:pt x="182171" y="2600"/>
                      </a:lnTo>
                      <a:lnTo>
                        <a:pt x="202301" y="4458"/>
                      </a:lnTo>
                      <a:lnTo>
                        <a:pt x="216131" y="4694"/>
                      </a:lnTo>
                      <a:lnTo>
                        <a:pt x="222480" y="1035"/>
                      </a:lnTo>
                      <a:lnTo>
                        <a:pt x="226147" y="2266"/>
                      </a:lnTo>
                      <a:lnTo>
                        <a:pt x="225813" y="3570"/>
                      </a:lnTo>
                      <a:lnTo>
                        <a:pt x="225071" y="4670"/>
                      </a:lnTo>
                      <a:close/>
                      <a:moveTo>
                        <a:pt x="32835" y="2323"/>
                      </a:moveTo>
                      <a:lnTo>
                        <a:pt x="35614" y="5012"/>
                      </a:lnTo>
                      <a:lnTo>
                        <a:pt x="37106" y="5909"/>
                      </a:lnTo>
                      <a:lnTo>
                        <a:pt x="38214" y="5493"/>
                      </a:lnTo>
                      <a:lnTo>
                        <a:pt x="40235" y="4523"/>
                      </a:lnTo>
                      <a:lnTo>
                        <a:pt x="42158" y="4507"/>
                      </a:lnTo>
                      <a:lnTo>
                        <a:pt x="43707" y="4678"/>
                      </a:lnTo>
                      <a:lnTo>
                        <a:pt x="44465" y="3830"/>
                      </a:lnTo>
                      <a:lnTo>
                        <a:pt x="45638" y="3651"/>
                      </a:lnTo>
                      <a:lnTo>
                        <a:pt x="48996" y="4246"/>
                      </a:lnTo>
                      <a:lnTo>
                        <a:pt x="48328" y="8174"/>
                      </a:lnTo>
                      <a:lnTo>
                        <a:pt x="49893" y="12477"/>
                      </a:lnTo>
                      <a:lnTo>
                        <a:pt x="53544" y="18467"/>
                      </a:lnTo>
                      <a:lnTo>
                        <a:pt x="57219" y="21483"/>
                      </a:lnTo>
                      <a:lnTo>
                        <a:pt x="72109" y="28940"/>
                      </a:lnTo>
                      <a:lnTo>
                        <a:pt x="74855" y="29575"/>
                      </a:lnTo>
                      <a:lnTo>
                        <a:pt x="74236" y="32632"/>
                      </a:lnTo>
                      <a:lnTo>
                        <a:pt x="73339" y="35337"/>
                      </a:lnTo>
                      <a:lnTo>
                        <a:pt x="72353" y="37146"/>
                      </a:lnTo>
                      <a:lnTo>
                        <a:pt x="67985" y="38304"/>
                      </a:lnTo>
                      <a:lnTo>
                        <a:pt x="55948" y="34987"/>
                      </a:lnTo>
                      <a:lnTo>
                        <a:pt x="52900" y="34677"/>
                      </a:lnTo>
                      <a:lnTo>
                        <a:pt x="50748" y="35337"/>
                      </a:lnTo>
                      <a:lnTo>
                        <a:pt x="46779" y="37750"/>
                      </a:lnTo>
                      <a:lnTo>
                        <a:pt x="42370" y="36975"/>
                      </a:lnTo>
                      <a:lnTo>
                        <a:pt x="36217" y="38336"/>
                      </a:lnTo>
                      <a:lnTo>
                        <a:pt x="34506" y="42884"/>
                      </a:lnTo>
                      <a:lnTo>
                        <a:pt x="30235" y="48083"/>
                      </a:lnTo>
                      <a:lnTo>
                        <a:pt x="23210" y="52281"/>
                      </a:lnTo>
                      <a:lnTo>
                        <a:pt x="18182" y="54530"/>
                      </a:lnTo>
                      <a:lnTo>
                        <a:pt x="10643" y="62557"/>
                      </a:lnTo>
                      <a:lnTo>
                        <a:pt x="7221" y="67252"/>
                      </a:lnTo>
                      <a:lnTo>
                        <a:pt x="5770" y="68164"/>
                      </a:lnTo>
                      <a:lnTo>
                        <a:pt x="4058" y="68882"/>
                      </a:lnTo>
                      <a:lnTo>
                        <a:pt x="4629" y="66640"/>
                      </a:lnTo>
                      <a:lnTo>
                        <a:pt x="5477" y="64579"/>
                      </a:lnTo>
                      <a:lnTo>
                        <a:pt x="5281" y="63022"/>
                      </a:lnTo>
                      <a:lnTo>
                        <a:pt x="5322" y="60764"/>
                      </a:lnTo>
                      <a:lnTo>
                        <a:pt x="7840" y="58197"/>
                      </a:lnTo>
                      <a:lnTo>
                        <a:pt x="10122" y="56331"/>
                      </a:lnTo>
                      <a:lnTo>
                        <a:pt x="16894" y="52957"/>
                      </a:lnTo>
                      <a:lnTo>
                        <a:pt x="18671" y="50154"/>
                      </a:lnTo>
                      <a:lnTo>
                        <a:pt x="13374" y="50219"/>
                      </a:lnTo>
                      <a:lnTo>
                        <a:pt x="7987" y="50846"/>
                      </a:lnTo>
                      <a:lnTo>
                        <a:pt x="4596" y="50447"/>
                      </a:lnTo>
                      <a:lnTo>
                        <a:pt x="1646" y="50675"/>
                      </a:lnTo>
                      <a:lnTo>
                        <a:pt x="725" y="48230"/>
                      </a:lnTo>
                      <a:lnTo>
                        <a:pt x="0" y="46747"/>
                      </a:lnTo>
                      <a:lnTo>
                        <a:pt x="774" y="46291"/>
                      </a:lnTo>
                      <a:lnTo>
                        <a:pt x="1752" y="45964"/>
                      </a:lnTo>
                      <a:lnTo>
                        <a:pt x="3480" y="43348"/>
                      </a:lnTo>
                      <a:lnTo>
                        <a:pt x="5020" y="41425"/>
                      </a:lnTo>
                      <a:lnTo>
                        <a:pt x="7245" y="38988"/>
                      </a:lnTo>
                      <a:lnTo>
                        <a:pt x="7815" y="37530"/>
                      </a:lnTo>
                      <a:lnTo>
                        <a:pt x="7815" y="36177"/>
                      </a:lnTo>
                      <a:lnTo>
                        <a:pt x="7286" y="35239"/>
                      </a:lnTo>
                      <a:lnTo>
                        <a:pt x="7180" y="34123"/>
                      </a:lnTo>
                      <a:lnTo>
                        <a:pt x="7107" y="32542"/>
                      </a:lnTo>
                      <a:lnTo>
                        <a:pt x="7237" y="29282"/>
                      </a:lnTo>
                      <a:lnTo>
                        <a:pt x="12339" y="25712"/>
                      </a:lnTo>
                      <a:lnTo>
                        <a:pt x="13969" y="25338"/>
                      </a:lnTo>
                      <a:lnTo>
                        <a:pt x="14531" y="23708"/>
                      </a:lnTo>
                      <a:lnTo>
                        <a:pt x="14148" y="19926"/>
                      </a:lnTo>
                      <a:lnTo>
                        <a:pt x="13447" y="16878"/>
                      </a:lnTo>
                      <a:lnTo>
                        <a:pt x="12542" y="16674"/>
                      </a:lnTo>
                      <a:lnTo>
                        <a:pt x="11312" y="15778"/>
                      </a:lnTo>
                      <a:lnTo>
                        <a:pt x="10505" y="14751"/>
                      </a:lnTo>
                      <a:lnTo>
                        <a:pt x="9226" y="13618"/>
                      </a:lnTo>
                      <a:lnTo>
                        <a:pt x="6992" y="12934"/>
                      </a:lnTo>
                      <a:lnTo>
                        <a:pt x="6919" y="11964"/>
                      </a:lnTo>
                      <a:lnTo>
                        <a:pt x="7147" y="11002"/>
                      </a:lnTo>
                      <a:lnTo>
                        <a:pt x="7979" y="10008"/>
                      </a:lnTo>
                      <a:lnTo>
                        <a:pt x="11719" y="9160"/>
                      </a:lnTo>
                      <a:lnTo>
                        <a:pt x="12167" y="8460"/>
                      </a:lnTo>
                      <a:lnTo>
                        <a:pt x="12673" y="6740"/>
                      </a:lnTo>
                      <a:lnTo>
                        <a:pt x="13422" y="4988"/>
                      </a:lnTo>
                      <a:lnTo>
                        <a:pt x="14303" y="4409"/>
                      </a:lnTo>
                      <a:lnTo>
                        <a:pt x="15876" y="4466"/>
                      </a:lnTo>
                      <a:lnTo>
                        <a:pt x="18883" y="4059"/>
                      </a:lnTo>
                      <a:lnTo>
                        <a:pt x="20986" y="3480"/>
                      </a:lnTo>
                      <a:lnTo>
                        <a:pt x="23072" y="2282"/>
                      </a:lnTo>
                      <a:lnTo>
                        <a:pt x="24131" y="1190"/>
                      </a:lnTo>
                      <a:lnTo>
                        <a:pt x="28638" y="554"/>
                      </a:lnTo>
                      <a:lnTo>
                        <a:pt x="29901" y="0"/>
                      </a:lnTo>
                      <a:lnTo>
                        <a:pt x="31156" y="473"/>
                      </a:lnTo>
                      <a:lnTo>
                        <a:pt x="32835" y="2323"/>
                      </a:lnTo>
                      <a:close/>
                    </a:path>
                  </a:pathLst>
                </a:custGeom>
                <a:solidFill>
                  <a:srgbClr val="D6D6D2"/>
                </a:solidFill>
                <a:ln w="6112" cap="rnd">
                  <a:solidFill>
                    <a:srgbClr val="FFFFFF"/>
                  </a:solidFill>
                  <a:prstDash val="solid"/>
                  <a:round/>
                </a:ln>
              </p:spPr>
              <p:txBody>
                <a:bodyPr rtlCol="0" anchor="ctr"/>
                <a:lstStyle/>
                <a:p>
                  <a:endParaRPr lang="en-US"/>
                </a:p>
              </p:txBody>
            </p:sp>
            <p:sp>
              <p:nvSpPr>
                <p:cNvPr id="559" name="Freeform: Shape 558">
                  <a:extLst>
                    <a:ext uri="{FF2B5EF4-FFF2-40B4-BE49-F238E27FC236}">
                      <a16:creationId xmlns:a16="http://schemas.microsoft.com/office/drawing/2014/main" id="{EB6BC3CB-1B5C-4D4E-AF71-1D3428269F87}"/>
                    </a:ext>
                  </a:extLst>
                </p:cNvPr>
                <p:cNvSpPr/>
                <p:nvPr/>
              </p:nvSpPr>
              <p:spPr>
                <a:xfrm>
                  <a:off x="6129511" y="3365287"/>
                  <a:ext cx="100225" cy="232601"/>
                </a:xfrm>
                <a:custGeom>
                  <a:avLst/>
                  <a:gdLst>
                    <a:gd name="connsiteX0" fmla="*/ 56779 w 100225"/>
                    <a:gd name="connsiteY0" fmla="*/ 4254 h 232601"/>
                    <a:gd name="connsiteX1" fmla="*/ 57928 w 100225"/>
                    <a:gd name="connsiteY1" fmla="*/ 6797 h 232601"/>
                    <a:gd name="connsiteX2" fmla="*/ 59567 w 100225"/>
                    <a:gd name="connsiteY2" fmla="*/ 5256 h 232601"/>
                    <a:gd name="connsiteX3" fmla="*/ 59151 w 100225"/>
                    <a:gd name="connsiteY3" fmla="*/ 4221 h 232601"/>
                    <a:gd name="connsiteX4" fmla="*/ 59053 w 100225"/>
                    <a:gd name="connsiteY4" fmla="*/ 2844 h 232601"/>
                    <a:gd name="connsiteX5" fmla="*/ 61848 w 100225"/>
                    <a:gd name="connsiteY5" fmla="*/ 2722 h 232601"/>
                    <a:gd name="connsiteX6" fmla="*/ 64309 w 100225"/>
                    <a:gd name="connsiteY6" fmla="*/ 2934 h 232601"/>
                    <a:gd name="connsiteX7" fmla="*/ 67007 w 100225"/>
                    <a:gd name="connsiteY7" fmla="*/ 4450 h 232601"/>
                    <a:gd name="connsiteX8" fmla="*/ 66819 w 100225"/>
                    <a:gd name="connsiteY8" fmla="*/ 10179 h 232601"/>
                    <a:gd name="connsiteX9" fmla="*/ 70430 w 100225"/>
                    <a:gd name="connsiteY9" fmla="*/ 15786 h 232601"/>
                    <a:gd name="connsiteX10" fmla="*/ 69419 w 100225"/>
                    <a:gd name="connsiteY10" fmla="*/ 18573 h 232601"/>
                    <a:gd name="connsiteX11" fmla="*/ 72362 w 100225"/>
                    <a:gd name="connsiteY11" fmla="*/ 20228 h 232601"/>
                    <a:gd name="connsiteX12" fmla="*/ 74994 w 100225"/>
                    <a:gd name="connsiteY12" fmla="*/ 18247 h 232601"/>
                    <a:gd name="connsiteX13" fmla="*/ 76306 w 100225"/>
                    <a:gd name="connsiteY13" fmla="*/ 15321 h 232601"/>
                    <a:gd name="connsiteX14" fmla="*/ 81147 w 100225"/>
                    <a:gd name="connsiteY14" fmla="*/ 13634 h 232601"/>
                    <a:gd name="connsiteX15" fmla="*/ 85727 w 100225"/>
                    <a:gd name="connsiteY15" fmla="*/ 9340 h 232601"/>
                    <a:gd name="connsiteX16" fmla="*/ 88270 w 100225"/>
                    <a:gd name="connsiteY16" fmla="*/ 8891 h 232601"/>
                    <a:gd name="connsiteX17" fmla="*/ 88840 w 100225"/>
                    <a:gd name="connsiteY17" fmla="*/ 12420 h 232601"/>
                    <a:gd name="connsiteX18" fmla="*/ 90071 w 100225"/>
                    <a:gd name="connsiteY18" fmla="*/ 15501 h 232601"/>
                    <a:gd name="connsiteX19" fmla="*/ 88327 w 100225"/>
                    <a:gd name="connsiteY19" fmla="*/ 16585 h 232601"/>
                    <a:gd name="connsiteX20" fmla="*/ 86118 w 100225"/>
                    <a:gd name="connsiteY20" fmla="*/ 19861 h 232601"/>
                    <a:gd name="connsiteX21" fmla="*/ 81921 w 100225"/>
                    <a:gd name="connsiteY21" fmla="*/ 28165 h 232601"/>
                    <a:gd name="connsiteX22" fmla="*/ 78050 w 100225"/>
                    <a:gd name="connsiteY22" fmla="*/ 30602 h 232601"/>
                    <a:gd name="connsiteX23" fmla="*/ 75165 w 100225"/>
                    <a:gd name="connsiteY23" fmla="*/ 33805 h 232601"/>
                    <a:gd name="connsiteX24" fmla="*/ 74228 w 100225"/>
                    <a:gd name="connsiteY24" fmla="*/ 36071 h 232601"/>
                    <a:gd name="connsiteX25" fmla="*/ 73950 w 100225"/>
                    <a:gd name="connsiteY25" fmla="*/ 38711 h 232601"/>
                    <a:gd name="connsiteX26" fmla="*/ 74676 w 100225"/>
                    <a:gd name="connsiteY26" fmla="*/ 43438 h 232601"/>
                    <a:gd name="connsiteX27" fmla="*/ 76779 w 100225"/>
                    <a:gd name="connsiteY27" fmla="*/ 48246 h 232601"/>
                    <a:gd name="connsiteX28" fmla="*/ 79215 w 100225"/>
                    <a:gd name="connsiteY28" fmla="*/ 51148 h 232601"/>
                    <a:gd name="connsiteX29" fmla="*/ 81570 w 100225"/>
                    <a:gd name="connsiteY29" fmla="*/ 52044 h 232601"/>
                    <a:gd name="connsiteX30" fmla="*/ 87039 w 100225"/>
                    <a:gd name="connsiteY30" fmla="*/ 56616 h 232601"/>
                    <a:gd name="connsiteX31" fmla="*/ 86958 w 100225"/>
                    <a:gd name="connsiteY31" fmla="*/ 59330 h 232601"/>
                    <a:gd name="connsiteX32" fmla="*/ 87716 w 100225"/>
                    <a:gd name="connsiteY32" fmla="*/ 62557 h 232601"/>
                    <a:gd name="connsiteX33" fmla="*/ 88009 w 100225"/>
                    <a:gd name="connsiteY33" fmla="*/ 66477 h 232601"/>
                    <a:gd name="connsiteX34" fmla="*/ 89916 w 100225"/>
                    <a:gd name="connsiteY34" fmla="*/ 69607 h 232601"/>
                    <a:gd name="connsiteX35" fmla="*/ 85833 w 100225"/>
                    <a:gd name="connsiteY35" fmla="*/ 76412 h 232601"/>
                    <a:gd name="connsiteX36" fmla="*/ 83616 w 100225"/>
                    <a:gd name="connsiteY36" fmla="*/ 81326 h 232601"/>
                    <a:gd name="connsiteX37" fmla="*/ 79272 w 100225"/>
                    <a:gd name="connsiteY37" fmla="*/ 88099 h 232601"/>
                    <a:gd name="connsiteX38" fmla="*/ 75401 w 100225"/>
                    <a:gd name="connsiteY38" fmla="*/ 92491 h 232601"/>
                    <a:gd name="connsiteX39" fmla="*/ 67097 w 100225"/>
                    <a:gd name="connsiteY39" fmla="*/ 99011 h 232601"/>
                    <a:gd name="connsiteX40" fmla="*/ 65059 w 100225"/>
                    <a:gd name="connsiteY40" fmla="*/ 101171 h 232601"/>
                    <a:gd name="connsiteX41" fmla="*/ 63739 w 100225"/>
                    <a:gd name="connsiteY41" fmla="*/ 103412 h 232601"/>
                    <a:gd name="connsiteX42" fmla="*/ 63128 w 100225"/>
                    <a:gd name="connsiteY42" fmla="*/ 105751 h 232601"/>
                    <a:gd name="connsiteX43" fmla="*/ 63340 w 100225"/>
                    <a:gd name="connsiteY43" fmla="*/ 108505 h 232601"/>
                    <a:gd name="connsiteX44" fmla="*/ 66070 w 100225"/>
                    <a:gd name="connsiteY44" fmla="*/ 115253 h 232601"/>
                    <a:gd name="connsiteX45" fmla="*/ 69697 w 100225"/>
                    <a:gd name="connsiteY45" fmla="*/ 119239 h 232601"/>
                    <a:gd name="connsiteX46" fmla="*/ 73388 w 100225"/>
                    <a:gd name="connsiteY46" fmla="*/ 121390 h 232601"/>
                    <a:gd name="connsiteX47" fmla="*/ 79811 w 100225"/>
                    <a:gd name="connsiteY47" fmla="*/ 120526 h 232601"/>
                    <a:gd name="connsiteX48" fmla="*/ 79590 w 100225"/>
                    <a:gd name="connsiteY48" fmla="*/ 123118 h 232601"/>
                    <a:gd name="connsiteX49" fmla="*/ 80055 w 100225"/>
                    <a:gd name="connsiteY49" fmla="*/ 126223 h 232601"/>
                    <a:gd name="connsiteX50" fmla="*/ 82671 w 100225"/>
                    <a:gd name="connsiteY50" fmla="*/ 126076 h 232601"/>
                    <a:gd name="connsiteX51" fmla="*/ 84415 w 100225"/>
                    <a:gd name="connsiteY51" fmla="*/ 125595 h 232601"/>
                    <a:gd name="connsiteX52" fmla="*/ 85890 w 100225"/>
                    <a:gd name="connsiteY52" fmla="*/ 122564 h 232601"/>
                    <a:gd name="connsiteX53" fmla="*/ 89036 w 100225"/>
                    <a:gd name="connsiteY53" fmla="*/ 124634 h 232601"/>
                    <a:gd name="connsiteX54" fmla="*/ 90658 w 100225"/>
                    <a:gd name="connsiteY54" fmla="*/ 130958 h 232601"/>
                    <a:gd name="connsiteX55" fmla="*/ 93315 w 100225"/>
                    <a:gd name="connsiteY55" fmla="*/ 132922 h 232601"/>
                    <a:gd name="connsiteX56" fmla="*/ 93624 w 100225"/>
                    <a:gd name="connsiteY56" fmla="*/ 133656 h 232601"/>
                    <a:gd name="connsiteX57" fmla="*/ 92695 w 100225"/>
                    <a:gd name="connsiteY57" fmla="*/ 134136 h 232601"/>
                    <a:gd name="connsiteX58" fmla="*/ 91954 w 100225"/>
                    <a:gd name="connsiteY58" fmla="*/ 134870 h 232601"/>
                    <a:gd name="connsiteX59" fmla="*/ 92744 w 100225"/>
                    <a:gd name="connsiteY59" fmla="*/ 135375 h 232601"/>
                    <a:gd name="connsiteX60" fmla="*/ 95311 w 100225"/>
                    <a:gd name="connsiteY60" fmla="*/ 136158 h 232601"/>
                    <a:gd name="connsiteX61" fmla="*/ 96884 w 100225"/>
                    <a:gd name="connsiteY61" fmla="*/ 135652 h 232601"/>
                    <a:gd name="connsiteX62" fmla="*/ 99451 w 100225"/>
                    <a:gd name="connsiteY62" fmla="*/ 137054 h 232601"/>
                    <a:gd name="connsiteX63" fmla="*/ 99394 w 100225"/>
                    <a:gd name="connsiteY63" fmla="*/ 137910 h 232601"/>
                    <a:gd name="connsiteX64" fmla="*/ 98530 w 100225"/>
                    <a:gd name="connsiteY64" fmla="*/ 144095 h 232601"/>
                    <a:gd name="connsiteX65" fmla="*/ 98335 w 100225"/>
                    <a:gd name="connsiteY65" fmla="*/ 146320 h 232601"/>
                    <a:gd name="connsiteX66" fmla="*/ 98204 w 100225"/>
                    <a:gd name="connsiteY66" fmla="*/ 150085 h 232601"/>
                    <a:gd name="connsiteX67" fmla="*/ 98204 w 100225"/>
                    <a:gd name="connsiteY67" fmla="*/ 154617 h 232601"/>
                    <a:gd name="connsiteX68" fmla="*/ 100176 w 100225"/>
                    <a:gd name="connsiteY68" fmla="*/ 158439 h 232601"/>
                    <a:gd name="connsiteX69" fmla="*/ 100225 w 100225"/>
                    <a:gd name="connsiteY69" fmla="*/ 160118 h 232601"/>
                    <a:gd name="connsiteX70" fmla="*/ 99468 w 100225"/>
                    <a:gd name="connsiteY70" fmla="*/ 162057 h 232601"/>
                    <a:gd name="connsiteX71" fmla="*/ 95825 w 100225"/>
                    <a:gd name="connsiteY71" fmla="*/ 164282 h 232601"/>
                    <a:gd name="connsiteX72" fmla="*/ 91122 w 100225"/>
                    <a:gd name="connsiteY72" fmla="*/ 167151 h 232601"/>
                    <a:gd name="connsiteX73" fmla="*/ 87072 w 100225"/>
                    <a:gd name="connsiteY73" fmla="*/ 169873 h 232601"/>
                    <a:gd name="connsiteX74" fmla="*/ 82638 w 100225"/>
                    <a:gd name="connsiteY74" fmla="*/ 172856 h 232601"/>
                    <a:gd name="connsiteX75" fmla="*/ 81277 w 100225"/>
                    <a:gd name="connsiteY75" fmla="*/ 174779 h 232601"/>
                    <a:gd name="connsiteX76" fmla="*/ 79077 w 100225"/>
                    <a:gd name="connsiteY76" fmla="*/ 176262 h 232601"/>
                    <a:gd name="connsiteX77" fmla="*/ 77227 w 100225"/>
                    <a:gd name="connsiteY77" fmla="*/ 177754 h 232601"/>
                    <a:gd name="connsiteX78" fmla="*/ 76901 w 100225"/>
                    <a:gd name="connsiteY78" fmla="*/ 179164 h 232601"/>
                    <a:gd name="connsiteX79" fmla="*/ 75621 w 100225"/>
                    <a:gd name="connsiteY79" fmla="*/ 181861 h 232601"/>
                    <a:gd name="connsiteX80" fmla="*/ 73935 w 100225"/>
                    <a:gd name="connsiteY80" fmla="*/ 184013 h 232601"/>
                    <a:gd name="connsiteX81" fmla="*/ 69729 w 100225"/>
                    <a:gd name="connsiteY81" fmla="*/ 185031 h 232601"/>
                    <a:gd name="connsiteX82" fmla="*/ 68938 w 100225"/>
                    <a:gd name="connsiteY82" fmla="*/ 185675 h 232601"/>
                    <a:gd name="connsiteX83" fmla="*/ 66991 w 100225"/>
                    <a:gd name="connsiteY83" fmla="*/ 188903 h 232601"/>
                    <a:gd name="connsiteX84" fmla="*/ 66103 w 100225"/>
                    <a:gd name="connsiteY84" fmla="*/ 190174 h 232601"/>
                    <a:gd name="connsiteX85" fmla="*/ 64978 w 100225"/>
                    <a:gd name="connsiteY85" fmla="*/ 192823 h 232601"/>
                    <a:gd name="connsiteX86" fmla="*/ 66421 w 100225"/>
                    <a:gd name="connsiteY86" fmla="*/ 199701 h 232601"/>
                    <a:gd name="connsiteX87" fmla="*/ 68172 w 100225"/>
                    <a:gd name="connsiteY87" fmla="*/ 206759 h 232601"/>
                    <a:gd name="connsiteX88" fmla="*/ 68507 w 100225"/>
                    <a:gd name="connsiteY88" fmla="*/ 209709 h 232601"/>
                    <a:gd name="connsiteX89" fmla="*/ 68482 w 100225"/>
                    <a:gd name="connsiteY89" fmla="*/ 212154 h 232601"/>
                    <a:gd name="connsiteX90" fmla="*/ 67504 w 100225"/>
                    <a:gd name="connsiteY90" fmla="*/ 214786 h 232601"/>
                    <a:gd name="connsiteX91" fmla="*/ 65271 w 100225"/>
                    <a:gd name="connsiteY91" fmla="*/ 218560 h 232601"/>
                    <a:gd name="connsiteX92" fmla="*/ 63625 w 100225"/>
                    <a:gd name="connsiteY92" fmla="*/ 221322 h 232601"/>
                    <a:gd name="connsiteX93" fmla="*/ 60463 w 100225"/>
                    <a:gd name="connsiteY93" fmla="*/ 226302 h 232601"/>
                    <a:gd name="connsiteX94" fmla="*/ 59534 w 100225"/>
                    <a:gd name="connsiteY94" fmla="*/ 227524 h 232601"/>
                    <a:gd name="connsiteX95" fmla="*/ 57366 w 100225"/>
                    <a:gd name="connsiteY95" fmla="*/ 228975 h 232601"/>
                    <a:gd name="connsiteX96" fmla="*/ 53152 w 100225"/>
                    <a:gd name="connsiteY96" fmla="*/ 230898 h 232601"/>
                    <a:gd name="connsiteX97" fmla="*/ 50202 w 100225"/>
                    <a:gd name="connsiteY97" fmla="*/ 232602 h 232601"/>
                    <a:gd name="connsiteX98" fmla="*/ 48686 w 100225"/>
                    <a:gd name="connsiteY98" fmla="*/ 225014 h 232601"/>
                    <a:gd name="connsiteX99" fmla="*/ 47399 w 100225"/>
                    <a:gd name="connsiteY99" fmla="*/ 218535 h 232601"/>
                    <a:gd name="connsiteX100" fmla="*/ 46339 w 100225"/>
                    <a:gd name="connsiteY100" fmla="*/ 213181 h 232601"/>
                    <a:gd name="connsiteX101" fmla="*/ 44473 w 100225"/>
                    <a:gd name="connsiteY101" fmla="*/ 203751 h 232601"/>
                    <a:gd name="connsiteX102" fmla="*/ 42892 w 100225"/>
                    <a:gd name="connsiteY102" fmla="*/ 195740 h 232601"/>
                    <a:gd name="connsiteX103" fmla="*/ 41311 w 100225"/>
                    <a:gd name="connsiteY103" fmla="*/ 187729 h 232601"/>
                    <a:gd name="connsiteX104" fmla="*/ 39869 w 100225"/>
                    <a:gd name="connsiteY104" fmla="*/ 180459 h 232601"/>
                    <a:gd name="connsiteX105" fmla="*/ 38426 w 100225"/>
                    <a:gd name="connsiteY105" fmla="*/ 173133 h 232601"/>
                    <a:gd name="connsiteX106" fmla="*/ 37806 w 100225"/>
                    <a:gd name="connsiteY106" fmla="*/ 172057 h 232601"/>
                    <a:gd name="connsiteX107" fmla="*/ 33463 w 100225"/>
                    <a:gd name="connsiteY107" fmla="*/ 168602 h 232601"/>
                    <a:gd name="connsiteX108" fmla="*/ 29470 w 100225"/>
                    <a:gd name="connsiteY108" fmla="*/ 165415 h 232601"/>
                    <a:gd name="connsiteX109" fmla="*/ 25305 w 100225"/>
                    <a:gd name="connsiteY109" fmla="*/ 161788 h 232601"/>
                    <a:gd name="connsiteX110" fmla="*/ 20806 w 100225"/>
                    <a:gd name="connsiteY110" fmla="*/ 157852 h 232601"/>
                    <a:gd name="connsiteX111" fmla="*/ 20073 w 100225"/>
                    <a:gd name="connsiteY111" fmla="*/ 152889 h 232601"/>
                    <a:gd name="connsiteX112" fmla="*/ 17758 w 100225"/>
                    <a:gd name="connsiteY112" fmla="*/ 145399 h 232601"/>
                    <a:gd name="connsiteX113" fmla="*/ 15314 w 100225"/>
                    <a:gd name="connsiteY113" fmla="*/ 141210 h 232601"/>
                    <a:gd name="connsiteX114" fmla="*/ 14409 w 100225"/>
                    <a:gd name="connsiteY114" fmla="*/ 140110 h 232601"/>
                    <a:gd name="connsiteX115" fmla="*/ 9486 w 100225"/>
                    <a:gd name="connsiteY115" fmla="*/ 137404 h 232601"/>
                    <a:gd name="connsiteX116" fmla="*/ 6634 w 100225"/>
                    <a:gd name="connsiteY116" fmla="*/ 135408 h 232601"/>
                    <a:gd name="connsiteX117" fmla="*/ 5860 w 100225"/>
                    <a:gd name="connsiteY117" fmla="*/ 134259 h 232601"/>
                    <a:gd name="connsiteX118" fmla="*/ 5305 w 100225"/>
                    <a:gd name="connsiteY118" fmla="*/ 131203 h 232601"/>
                    <a:gd name="connsiteX119" fmla="*/ 3292 w 100225"/>
                    <a:gd name="connsiteY119" fmla="*/ 125115 h 232601"/>
                    <a:gd name="connsiteX120" fmla="*/ 978 w 100225"/>
                    <a:gd name="connsiteY120" fmla="*/ 119581 h 232601"/>
                    <a:gd name="connsiteX121" fmla="*/ 130 w 100225"/>
                    <a:gd name="connsiteY121" fmla="*/ 115832 h 232601"/>
                    <a:gd name="connsiteX122" fmla="*/ 0 w 100225"/>
                    <a:gd name="connsiteY122" fmla="*/ 111122 h 232601"/>
                    <a:gd name="connsiteX123" fmla="*/ 465 w 100225"/>
                    <a:gd name="connsiteY123" fmla="*/ 107715 h 232601"/>
                    <a:gd name="connsiteX124" fmla="*/ 1467 w 100225"/>
                    <a:gd name="connsiteY124" fmla="*/ 106256 h 232601"/>
                    <a:gd name="connsiteX125" fmla="*/ 6283 w 100225"/>
                    <a:gd name="connsiteY125" fmla="*/ 102010 h 232601"/>
                    <a:gd name="connsiteX126" fmla="*/ 8508 w 100225"/>
                    <a:gd name="connsiteY126" fmla="*/ 96900 h 232601"/>
                    <a:gd name="connsiteX127" fmla="*/ 11263 w 100225"/>
                    <a:gd name="connsiteY127" fmla="*/ 94985 h 232601"/>
                    <a:gd name="connsiteX128" fmla="*/ 13651 w 100225"/>
                    <a:gd name="connsiteY128" fmla="*/ 93543 h 232601"/>
                    <a:gd name="connsiteX129" fmla="*/ 15574 w 100225"/>
                    <a:gd name="connsiteY129" fmla="*/ 91864 h 232601"/>
                    <a:gd name="connsiteX130" fmla="*/ 17302 w 100225"/>
                    <a:gd name="connsiteY130" fmla="*/ 89150 h 232601"/>
                    <a:gd name="connsiteX131" fmla="*/ 18614 w 100225"/>
                    <a:gd name="connsiteY131" fmla="*/ 86265 h 232601"/>
                    <a:gd name="connsiteX132" fmla="*/ 18826 w 100225"/>
                    <a:gd name="connsiteY132" fmla="*/ 83144 h 232601"/>
                    <a:gd name="connsiteX133" fmla="*/ 19372 w 100225"/>
                    <a:gd name="connsiteY133" fmla="*/ 78197 h 232601"/>
                    <a:gd name="connsiteX134" fmla="*/ 20252 w 100225"/>
                    <a:gd name="connsiteY134" fmla="*/ 74741 h 232601"/>
                    <a:gd name="connsiteX135" fmla="*/ 22281 w 100225"/>
                    <a:gd name="connsiteY135" fmla="*/ 70813 h 232601"/>
                    <a:gd name="connsiteX136" fmla="*/ 21434 w 100225"/>
                    <a:gd name="connsiteY136" fmla="*/ 67659 h 232601"/>
                    <a:gd name="connsiteX137" fmla="*/ 20358 w 100225"/>
                    <a:gd name="connsiteY137" fmla="*/ 64252 h 232601"/>
                    <a:gd name="connsiteX138" fmla="*/ 20668 w 100225"/>
                    <a:gd name="connsiteY138" fmla="*/ 58344 h 232601"/>
                    <a:gd name="connsiteX139" fmla="*/ 20399 w 100225"/>
                    <a:gd name="connsiteY139" fmla="*/ 55940 h 232601"/>
                    <a:gd name="connsiteX140" fmla="*/ 19527 w 100225"/>
                    <a:gd name="connsiteY140" fmla="*/ 53813 h 232601"/>
                    <a:gd name="connsiteX141" fmla="*/ 18655 w 100225"/>
                    <a:gd name="connsiteY141" fmla="*/ 51082 h 232601"/>
                    <a:gd name="connsiteX142" fmla="*/ 18614 w 100225"/>
                    <a:gd name="connsiteY142" fmla="*/ 48809 h 232601"/>
                    <a:gd name="connsiteX143" fmla="*/ 19470 w 100225"/>
                    <a:gd name="connsiteY143" fmla="*/ 42843 h 232601"/>
                    <a:gd name="connsiteX144" fmla="*/ 20122 w 100225"/>
                    <a:gd name="connsiteY144" fmla="*/ 38279 h 232601"/>
                    <a:gd name="connsiteX145" fmla="*/ 21165 w 100225"/>
                    <a:gd name="connsiteY145" fmla="*/ 32338 h 232601"/>
                    <a:gd name="connsiteX146" fmla="*/ 20798 w 100225"/>
                    <a:gd name="connsiteY146" fmla="*/ 30667 h 232601"/>
                    <a:gd name="connsiteX147" fmla="*/ 20016 w 100225"/>
                    <a:gd name="connsiteY147" fmla="*/ 29429 h 232601"/>
                    <a:gd name="connsiteX148" fmla="*/ 17685 w 100225"/>
                    <a:gd name="connsiteY148" fmla="*/ 28108 h 232601"/>
                    <a:gd name="connsiteX149" fmla="*/ 17652 w 100225"/>
                    <a:gd name="connsiteY149" fmla="*/ 27318 h 232601"/>
                    <a:gd name="connsiteX150" fmla="*/ 18231 w 100225"/>
                    <a:gd name="connsiteY150" fmla="*/ 26446 h 232601"/>
                    <a:gd name="connsiteX151" fmla="*/ 21670 w 100225"/>
                    <a:gd name="connsiteY151" fmla="*/ 23553 h 232601"/>
                    <a:gd name="connsiteX152" fmla="*/ 23536 w 100225"/>
                    <a:gd name="connsiteY152" fmla="*/ 19290 h 232601"/>
                    <a:gd name="connsiteX153" fmla="*/ 25077 w 100225"/>
                    <a:gd name="connsiteY153" fmla="*/ 18402 h 232601"/>
                    <a:gd name="connsiteX154" fmla="*/ 27424 w 100225"/>
                    <a:gd name="connsiteY154" fmla="*/ 16862 h 232601"/>
                    <a:gd name="connsiteX155" fmla="*/ 27334 w 100225"/>
                    <a:gd name="connsiteY155" fmla="*/ 15199 h 232601"/>
                    <a:gd name="connsiteX156" fmla="*/ 26804 w 100225"/>
                    <a:gd name="connsiteY156" fmla="*/ 13431 h 232601"/>
                    <a:gd name="connsiteX157" fmla="*/ 32933 w 100225"/>
                    <a:gd name="connsiteY157" fmla="*/ 11418 h 232601"/>
                    <a:gd name="connsiteX158" fmla="*/ 38776 w 100225"/>
                    <a:gd name="connsiteY158" fmla="*/ 6145 h 232601"/>
                    <a:gd name="connsiteX159" fmla="*/ 40830 w 100225"/>
                    <a:gd name="connsiteY159" fmla="*/ 4857 h 232601"/>
                    <a:gd name="connsiteX160" fmla="*/ 54375 w 100225"/>
                    <a:gd name="connsiteY160" fmla="*/ 0 h 232601"/>
                    <a:gd name="connsiteX161" fmla="*/ 56135 w 100225"/>
                    <a:gd name="connsiteY161" fmla="*/ 334 h 232601"/>
                    <a:gd name="connsiteX162" fmla="*/ 58108 w 100225"/>
                    <a:gd name="connsiteY162" fmla="*/ 1043 h 232601"/>
                    <a:gd name="connsiteX163" fmla="*/ 57545 w 100225"/>
                    <a:gd name="connsiteY163" fmla="*/ 2852 h 232601"/>
                    <a:gd name="connsiteX164" fmla="*/ 56779 w 100225"/>
                    <a:gd name="connsiteY164" fmla="*/ 4254 h 232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100225" h="232601">
                      <a:moveTo>
                        <a:pt x="56779" y="4254"/>
                      </a:moveTo>
                      <a:lnTo>
                        <a:pt x="57928" y="6797"/>
                      </a:lnTo>
                      <a:lnTo>
                        <a:pt x="59567" y="5256"/>
                      </a:lnTo>
                      <a:lnTo>
                        <a:pt x="59151" y="4221"/>
                      </a:lnTo>
                      <a:lnTo>
                        <a:pt x="59053" y="2844"/>
                      </a:lnTo>
                      <a:lnTo>
                        <a:pt x="61848" y="2722"/>
                      </a:lnTo>
                      <a:lnTo>
                        <a:pt x="64309" y="2934"/>
                      </a:lnTo>
                      <a:lnTo>
                        <a:pt x="67007" y="4450"/>
                      </a:lnTo>
                      <a:lnTo>
                        <a:pt x="66819" y="10179"/>
                      </a:lnTo>
                      <a:lnTo>
                        <a:pt x="70430" y="15786"/>
                      </a:lnTo>
                      <a:lnTo>
                        <a:pt x="69419" y="18573"/>
                      </a:lnTo>
                      <a:lnTo>
                        <a:pt x="72362" y="20228"/>
                      </a:lnTo>
                      <a:lnTo>
                        <a:pt x="74994" y="18247"/>
                      </a:lnTo>
                      <a:lnTo>
                        <a:pt x="76306" y="15321"/>
                      </a:lnTo>
                      <a:lnTo>
                        <a:pt x="81147" y="13634"/>
                      </a:lnTo>
                      <a:lnTo>
                        <a:pt x="85727" y="9340"/>
                      </a:lnTo>
                      <a:lnTo>
                        <a:pt x="88270" y="8891"/>
                      </a:lnTo>
                      <a:lnTo>
                        <a:pt x="88840" y="12420"/>
                      </a:lnTo>
                      <a:lnTo>
                        <a:pt x="90071" y="15501"/>
                      </a:lnTo>
                      <a:lnTo>
                        <a:pt x="88327" y="16585"/>
                      </a:lnTo>
                      <a:lnTo>
                        <a:pt x="86118" y="19861"/>
                      </a:lnTo>
                      <a:lnTo>
                        <a:pt x="81921" y="28165"/>
                      </a:lnTo>
                      <a:lnTo>
                        <a:pt x="78050" y="30602"/>
                      </a:lnTo>
                      <a:lnTo>
                        <a:pt x="75165" y="33805"/>
                      </a:lnTo>
                      <a:lnTo>
                        <a:pt x="74228" y="36071"/>
                      </a:lnTo>
                      <a:lnTo>
                        <a:pt x="73950" y="38711"/>
                      </a:lnTo>
                      <a:lnTo>
                        <a:pt x="74676" y="43438"/>
                      </a:lnTo>
                      <a:lnTo>
                        <a:pt x="76779" y="48246"/>
                      </a:lnTo>
                      <a:lnTo>
                        <a:pt x="79215" y="51148"/>
                      </a:lnTo>
                      <a:lnTo>
                        <a:pt x="81570" y="52044"/>
                      </a:lnTo>
                      <a:lnTo>
                        <a:pt x="87039" y="56616"/>
                      </a:lnTo>
                      <a:lnTo>
                        <a:pt x="86958" y="59330"/>
                      </a:lnTo>
                      <a:lnTo>
                        <a:pt x="87716" y="62557"/>
                      </a:lnTo>
                      <a:lnTo>
                        <a:pt x="88009" y="66477"/>
                      </a:lnTo>
                      <a:lnTo>
                        <a:pt x="89916" y="69607"/>
                      </a:lnTo>
                      <a:lnTo>
                        <a:pt x="85833" y="76412"/>
                      </a:lnTo>
                      <a:lnTo>
                        <a:pt x="83616" y="81326"/>
                      </a:lnTo>
                      <a:lnTo>
                        <a:pt x="79272" y="88099"/>
                      </a:lnTo>
                      <a:lnTo>
                        <a:pt x="75401" y="92491"/>
                      </a:lnTo>
                      <a:lnTo>
                        <a:pt x="67097" y="99011"/>
                      </a:lnTo>
                      <a:lnTo>
                        <a:pt x="65059" y="101171"/>
                      </a:lnTo>
                      <a:lnTo>
                        <a:pt x="63739" y="103412"/>
                      </a:lnTo>
                      <a:lnTo>
                        <a:pt x="63128" y="105751"/>
                      </a:lnTo>
                      <a:lnTo>
                        <a:pt x="63340" y="108505"/>
                      </a:lnTo>
                      <a:lnTo>
                        <a:pt x="66070" y="115253"/>
                      </a:lnTo>
                      <a:lnTo>
                        <a:pt x="69697" y="119239"/>
                      </a:lnTo>
                      <a:lnTo>
                        <a:pt x="73388" y="121390"/>
                      </a:lnTo>
                      <a:lnTo>
                        <a:pt x="79811" y="120526"/>
                      </a:lnTo>
                      <a:lnTo>
                        <a:pt x="79590" y="123118"/>
                      </a:lnTo>
                      <a:lnTo>
                        <a:pt x="80055" y="126223"/>
                      </a:lnTo>
                      <a:lnTo>
                        <a:pt x="82671" y="126076"/>
                      </a:lnTo>
                      <a:lnTo>
                        <a:pt x="84415" y="125595"/>
                      </a:lnTo>
                      <a:lnTo>
                        <a:pt x="85890" y="122564"/>
                      </a:lnTo>
                      <a:lnTo>
                        <a:pt x="89036" y="124634"/>
                      </a:lnTo>
                      <a:lnTo>
                        <a:pt x="90658" y="130958"/>
                      </a:lnTo>
                      <a:lnTo>
                        <a:pt x="93315" y="132922"/>
                      </a:lnTo>
                      <a:lnTo>
                        <a:pt x="93624" y="133656"/>
                      </a:lnTo>
                      <a:lnTo>
                        <a:pt x="92695" y="134136"/>
                      </a:lnTo>
                      <a:lnTo>
                        <a:pt x="91954" y="134870"/>
                      </a:lnTo>
                      <a:lnTo>
                        <a:pt x="92744" y="135375"/>
                      </a:lnTo>
                      <a:lnTo>
                        <a:pt x="95311" y="136158"/>
                      </a:lnTo>
                      <a:lnTo>
                        <a:pt x="96884" y="135652"/>
                      </a:lnTo>
                      <a:lnTo>
                        <a:pt x="99451" y="137054"/>
                      </a:lnTo>
                      <a:lnTo>
                        <a:pt x="99394" y="137910"/>
                      </a:lnTo>
                      <a:lnTo>
                        <a:pt x="98530" y="144095"/>
                      </a:lnTo>
                      <a:lnTo>
                        <a:pt x="98335" y="146320"/>
                      </a:lnTo>
                      <a:lnTo>
                        <a:pt x="98204" y="150085"/>
                      </a:lnTo>
                      <a:lnTo>
                        <a:pt x="98204" y="154617"/>
                      </a:lnTo>
                      <a:lnTo>
                        <a:pt x="100176" y="158439"/>
                      </a:lnTo>
                      <a:lnTo>
                        <a:pt x="100225" y="160118"/>
                      </a:lnTo>
                      <a:lnTo>
                        <a:pt x="99468" y="162057"/>
                      </a:lnTo>
                      <a:lnTo>
                        <a:pt x="95825" y="164282"/>
                      </a:lnTo>
                      <a:lnTo>
                        <a:pt x="91122" y="167151"/>
                      </a:lnTo>
                      <a:lnTo>
                        <a:pt x="87072" y="169873"/>
                      </a:lnTo>
                      <a:lnTo>
                        <a:pt x="82638" y="172856"/>
                      </a:lnTo>
                      <a:lnTo>
                        <a:pt x="81277" y="174779"/>
                      </a:lnTo>
                      <a:lnTo>
                        <a:pt x="79077" y="176262"/>
                      </a:lnTo>
                      <a:lnTo>
                        <a:pt x="77227" y="177754"/>
                      </a:lnTo>
                      <a:lnTo>
                        <a:pt x="76901" y="179164"/>
                      </a:lnTo>
                      <a:lnTo>
                        <a:pt x="75621" y="181861"/>
                      </a:lnTo>
                      <a:lnTo>
                        <a:pt x="73935" y="184013"/>
                      </a:lnTo>
                      <a:lnTo>
                        <a:pt x="69729" y="185031"/>
                      </a:lnTo>
                      <a:lnTo>
                        <a:pt x="68938" y="185675"/>
                      </a:lnTo>
                      <a:lnTo>
                        <a:pt x="66991" y="188903"/>
                      </a:lnTo>
                      <a:lnTo>
                        <a:pt x="66103" y="190174"/>
                      </a:lnTo>
                      <a:lnTo>
                        <a:pt x="64978" y="192823"/>
                      </a:lnTo>
                      <a:lnTo>
                        <a:pt x="66421" y="199701"/>
                      </a:lnTo>
                      <a:lnTo>
                        <a:pt x="68172" y="206759"/>
                      </a:lnTo>
                      <a:lnTo>
                        <a:pt x="68507" y="209709"/>
                      </a:lnTo>
                      <a:lnTo>
                        <a:pt x="68482" y="212154"/>
                      </a:lnTo>
                      <a:lnTo>
                        <a:pt x="67504" y="214786"/>
                      </a:lnTo>
                      <a:lnTo>
                        <a:pt x="65271" y="218560"/>
                      </a:lnTo>
                      <a:lnTo>
                        <a:pt x="63625" y="221322"/>
                      </a:lnTo>
                      <a:lnTo>
                        <a:pt x="60463" y="226302"/>
                      </a:lnTo>
                      <a:lnTo>
                        <a:pt x="59534" y="227524"/>
                      </a:lnTo>
                      <a:lnTo>
                        <a:pt x="57366" y="228975"/>
                      </a:lnTo>
                      <a:lnTo>
                        <a:pt x="53152" y="230898"/>
                      </a:lnTo>
                      <a:lnTo>
                        <a:pt x="50202" y="232602"/>
                      </a:lnTo>
                      <a:lnTo>
                        <a:pt x="48686" y="225014"/>
                      </a:lnTo>
                      <a:lnTo>
                        <a:pt x="47399" y="218535"/>
                      </a:lnTo>
                      <a:lnTo>
                        <a:pt x="46339" y="213181"/>
                      </a:lnTo>
                      <a:lnTo>
                        <a:pt x="44473" y="203751"/>
                      </a:lnTo>
                      <a:lnTo>
                        <a:pt x="42892" y="195740"/>
                      </a:lnTo>
                      <a:lnTo>
                        <a:pt x="41311" y="187729"/>
                      </a:lnTo>
                      <a:lnTo>
                        <a:pt x="39869" y="180459"/>
                      </a:lnTo>
                      <a:lnTo>
                        <a:pt x="38426" y="173133"/>
                      </a:lnTo>
                      <a:lnTo>
                        <a:pt x="37806" y="172057"/>
                      </a:lnTo>
                      <a:lnTo>
                        <a:pt x="33463" y="168602"/>
                      </a:lnTo>
                      <a:lnTo>
                        <a:pt x="29470" y="165415"/>
                      </a:lnTo>
                      <a:lnTo>
                        <a:pt x="25305" y="161788"/>
                      </a:lnTo>
                      <a:lnTo>
                        <a:pt x="20806" y="157852"/>
                      </a:lnTo>
                      <a:lnTo>
                        <a:pt x="20073" y="152889"/>
                      </a:lnTo>
                      <a:lnTo>
                        <a:pt x="17758" y="145399"/>
                      </a:lnTo>
                      <a:lnTo>
                        <a:pt x="15314" y="141210"/>
                      </a:lnTo>
                      <a:lnTo>
                        <a:pt x="14409" y="140110"/>
                      </a:lnTo>
                      <a:lnTo>
                        <a:pt x="9486" y="137404"/>
                      </a:lnTo>
                      <a:lnTo>
                        <a:pt x="6634" y="135408"/>
                      </a:lnTo>
                      <a:lnTo>
                        <a:pt x="5860" y="134259"/>
                      </a:lnTo>
                      <a:lnTo>
                        <a:pt x="5305" y="131203"/>
                      </a:lnTo>
                      <a:lnTo>
                        <a:pt x="3292" y="125115"/>
                      </a:lnTo>
                      <a:lnTo>
                        <a:pt x="978" y="119581"/>
                      </a:lnTo>
                      <a:lnTo>
                        <a:pt x="130" y="115832"/>
                      </a:lnTo>
                      <a:lnTo>
                        <a:pt x="0" y="111122"/>
                      </a:lnTo>
                      <a:lnTo>
                        <a:pt x="465" y="107715"/>
                      </a:lnTo>
                      <a:lnTo>
                        <a:pt x="1467" y="106256"/>
                      </a:lnTo>
                      <a:lnTo>
                        <a:pt x="6283" y="102010"/>
                      </a:lnTo>
                      <a:lnTo>
                        <a:pt x="8508" y="96900"/>
                      </a:lnTo>
                      <a:lnTo>
                        <a:pt x="11263" y="94985"/>
                      </a:lnTo>
                      <a:lnTo>
                        <a:pt x="13651" y="93543"/>
                      </a:lnTo>
                      <a:lnTo>
                        <a:pt x="15574" y="91864"/>
                      </a:lnTo>
                      <a:lnTo>
                        <a:pt x="17302" y="89150"/>
                      </a:lnTo>
                      <a:lnTo>
                        <a:pt x="18614" y="86265"/>
                      </a:lnTo>
                      <a:lnTo>
                        <a:pt x="18826" y="83144"/>
                      </a:lnTo>
                      <a:lnTo>
                        <a:pt x="19372" y="78197"/>
                      </a:lnTo>
                      <a:lnTo>
                        <a:pt x="20252" y="74741"/>
                      </a:lnTo>
                      <a:lnTo>
                        <a:pt x="22281" y="70813"/>
                      </a:lnTo>
                      <a:lnTo>
                        <a:pt x="21434" y="67659"/>
                      </a:lnTo>
                      <a:lnTo>
                        <a:pt x="20358" y="64252"/>
                      </a:lnTo>
                      <a:lnTo>
                        <a:pt x="20668" y="58344"/>
                      </a:lnTo>
                      <a:lnTo>
                        <a:pt x="20399" y="55940"/>
                      </a:lnTo>
                      <a:lnTo>
                        <a:pt x="19527" y="53813"/>
                      </a:lnTo>
                      <a:lnTo>
                        <a:pt x="18655" y="51082"/>
                      </a:lnTo>
                      <a:lnTo>
                        <a:pt x="18614" y="48809"/>
                      </a:lnTo>
                      <a:lnTo>
                        <a:pt x="19470" y="42843"/>
                      </a:lnTo>
                      <a:lnTo>
                        <a:pt x="20122" y="38279"/>
                      </a:lnTo>
                      <a:lnTo>
                        <a:pt x="21165" y="32338"/>
                      </a:lnTo>
                      <a:lnTo>
                        <a:pt x="20798" y="30667"/>
                      </a:lnTo>
                      <a:lnTo>
                        <a:pt x="20016" y="29429"/>
                      </a:lnTo>
                      <a:lnTo>
                        <a:pt x="17685" y="28108"/>
                      </a:lnTo>
                      <a:lnTo>
                        <a:pt x="17652" y="27318"/>
                      </a:lnTo>
                      <a:lnTo>
                        <a:pt x="18231" y="26446"/>
                      </a:lnTo>
                      <a:lnTo>
                        <a:pt x="21670" y="23553"/>
                      </a:lnTo>
                      <a:lnTo>
                        <a:pt x="23536" y="19290"/>
                      </a:lnTo>
                      <a:lnTo>
                        <a:pt x="25077" y="18402"/>
                      </a:lnTo>
                      <a:lnTo>
                        <a:pt x="27424" y="16862"/>
                      </a:lnTo>
                      <a:lnTo>
                        <a:pt x="27334" y="15199"/>
                      </a:lnTo>
                      <a:lnTo>
                        <a:pt x="26804" y="13431"/>
                      </a:lnTo>
                      <a:lnTo>
                        <a:pt x="32933" y="11418"/>
                      </a:lnTo>
                      <a:lnTo>
                        <a:pt x="38776" y="6145"/>
                      </a:lnTo>
                      <a:lnTo>
                        <a:pt x="40830" y="4857"/>
                      </a:lnTo>
                      <a:lnTo>
                        <a:pt x="54375" y="0"/>
                      </a:lnTo>
                      <a:lnTo>
                        <a:pt x="56135" y="334"/>
                      </a:lnTo>
                      <a:lnTo>
                        <a:pt x="58108" y="1043"/>
                      </a:lnTo>
                      <a:lnTo>
                        <a:pt x="57545" y="2852"/>
                      </a:lnTo>
                      <a:lnTo>
                        <a:pt x="56779" y="4254"/>
                      </a:lnTo>
                      <a:close/>
                    </a:path>
                  </a:pathLst>
                </a:custGeom>
                <a:solidFill>
                  <a:srgbClr val="D6D6D2"/>
                </a:solidFill>
                <a:ln w="6112" cap="rnd">
                  <a:solidFill>
                    <a:srgbClr val="FFFFFF"/>
                  </a:solidFill>
                  <a:prstDash val="solid"/>
                  <a:round/>
                </a:ln>
              </p:spPr>
              <p:txBody>
                <a:bodyPr rtlCol="0" anchor="ctr"/>
                <a:lstStyle/>
                <a:p>
                  <a:endParaRPr lang="en-US"/>
                </a:p>
              </p:txBody>
            </p:sp>
            <p:sp>
              <p:nvSpPr>
                <p:cNvPr id="560" name="Freeform: Shape 559">
                  <a:extLst>
                    <a:ext uri="{FF2B5EF4-FFF2-40B4-BE49-F238E27FC236}">
                      <a16:creationId xmlns:a16="http://schemas.microsoft.com/office/drawing/2014/main" id="{559BEAFB-28B9-4A48-826D-E85F11856F86}"/>
                    </a:ext>
                  </a:extLst>
                </p:cNvPr>
                <p:cNvSpPr/>
                <p:nvPr/>
              </p:nvSpPr>
              <p:spPr>
                <a:xfrm>
                  <a:off x="4408214" y="4198988"/>
                  <a:ext cx="24522" cy="23414"/>
                </a:xfrm>
                <a:custGeom>
                  <a:avLst/>
                  <a:gdLst>
                    <a:gd name="connsiteX0" fmla="*/ 22175 w 24522"/>
                    <a:gd name="connsiteY0" fmla="*/ 21311 h 23414"/>
                    <a:gd name="connsiteX1" fmla="*/ 18149 w 24522"/>
                    <a:gd name="connsiteY1" fmla="*/ 23015 h 23414"/>
                    <a:gd name="connsiteX2" fmla="*/ 7669 w 24522"/>
                    <a:gd name="connsiteY2" fmla="*/ 23414 h 23414"/>
                    <a:gd name="connsiteX3" fmla="*/ 3333 w 24522"/>
                    <a:gd name="connsiteY3" fmla="*/ 22803 h 23414"/>
                    <a:gd name="connsiteX4" fmla="*/ 0 w 24522"/>
                    <a:gd name="connsiteY4" fmla="*/ 23276 h 23414"/>
                    <a:gd name="connsiteX5" fmla="*/ 6072 w 24522"/>
                    <a:gd name="connsiteY5" fmla="*/ 19584 h 23414"/>
                    <a:gd name="connsiteX6" fmla="*/ 6780 w 24522"/>
                    <a:gd name="connsiteY6" fmla="*/ 18019 h 23414"/>
                    <a:gd name="connsiteX7" fmla="*/ 9356 w 24522"/>
                    <a:gd name="connsiteY7" fmla="*/ 17726 h 23414"/>
                    <a:gd name="connsiteX8" fmla="*/ 10089 w 24522"/>
                    <a:gd name="connsiteY8" fmla="*/ 17253 h 23414"/>
                    <a:gd name="connsiteX9" fmla="*/ 10945 w 24522"/>
                    <a:gd name="connsiteY9" fmla="*/ 9095 h 23414"/>
                    <a:gd name="connsiteX10" fmla="*/ 10603 w 24522"/>
                    <a:gd name="connsiteY10" fmla="*/ 7147 h 23414"/>
                    <a:gd name="connsiteX11" fmla="*/ 10097 w 24522"/>
                    <a:gd name="connsiteY11" fmla="*/ 6080 h 23414"/>
                    <a:gd name="connsiteX12" fmla="*/ 9054 w 24522"/>
                    <a:gd name="connsiteY12" fmla="*/ 5305 h 23414"/>
                    <a:gd name="connsiteX13" fmla="*/ 6715 w 24522"/>
                    <a:gd name="connsiteY13" fmla="*/ 4246 h 23414"/>
                    <a:gd name="connsiteX14" fmla="*/ 6324 w 24522"/>
                    <a:gd name="connsiteY14" fmla="*/ 3684 h 23414"/>
                    <a:gd name="connsiteX15" fmla="*/ 7799 w 24522"/>
                    <a:gd name="connsiteY15" fmla="*/ 2787 h 23414"/>
                    <a:gd name="connsiteX16" fmla="*/ 10953 w 24522"/>
                    <a:gd name="connsiteY16" fmla="*/ 2282 h 23414"/>
                    <a:gd name="connsiteX17" fmla="*/ 13308 w 24522"/>
                    <a:gd name="connsiteY17" fmla="*/ 1304 h 23414"/>
                    <a:gd name="connsiteX18" fmla="*/ 18174 w 24522"/>
                    <a:gd name="connsiteY18" fmla="*/ 1109 h 23414"/>
                    <a:gd name="connsiteX19" fmla="*/ 20537 w 24522"/>
                    <a:gd name="connsiteY19" fmla="*/ 244 h 23414"/>
                    <a:gd name="connsiteX20" fmla="*/ 24522 w 24522"/>
                    <a:gd name="connsiteY20" fmla="*/ 0 h 23414"/>
                    <a:gd name="connsiteX21" fmla="*/ 22558 w 24522"/>
                    <a:gd name="connsiteY21" fmla="*/ 3749 h 23414"/>
                    <a:gd name="connsiteX22" fmla="*/ 21638 w 24522"/>
                    <a:gd name="connsiteY22" fmla="*/ 5151 h 23414"/>
                    <a:gd name="connsiteX23" fmla="*/ 21996 w 24522"/>
                    <a:gd name="connsiteY23" fmla="*/ 8525 h 23414"/>
                    <a:gd name="connsiteX24" fmla="*/ 21540 w 24522"/>
                    <a:gd name="connsiteY24" fmla="*/ 10815 h 23414"/>
                    <a:gd name="connsiteX25" fmla="*/ 22061 w 24522"/>
                    <a:gd name="connsiteY25" fmla="*/ 13708 h 23414"/>
                    <a:gd name="connsiteX26" fmla="*/ 23251 w 24522"/>
                    <a:gd name="connsiteY26" fmla="*/ 15607 h 23414"/>
                    <a:gd name="connsiteX27" fmla="*/ 22477 w 24522"/>
                    <a:gd name="connsiteY27" fmla="*/ 17473 h 23414"/>
                    <a:gd name="connsiteX28" fmla="*/ 22363 w 24522"/>
                    <a:gd name="connsiteY28" fmla="*/ 20301 h 23414"/>
                    <a:gd name="connsiteX29" fmla="*/ 22175 w 24522"/>
                    <a:gd name="connsiteY29" fmla="*/ 21311 h 2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4522" h="23414">
                      <a:moveTo>
                        <a:pt x="22175" y="21311"/>
                      </a:moveTo>
                      <a:lnTo>
                        <a:pt x="18149" y="23015"/>
                      </a:lnTo>
                      <a:lnTo>
                        <a:pt x="7669" y="23414"/>
                      </a:lnTo>
                      <a:lnTo>
                        <a:pt x="3333" y="22803"/>
                      </a:lnTo>
                      <a:lnTo>
                        <a:pt x="0" y="23276"/>
                      </a:lnTo>
                      <a:lnTo>
                        <a:pt x="6072" y="19584"/>
                      </a:lnTo>
                      <a:lnTo>
                        <a:pt x="6780" y="18019"/>
                      </a:lnTo>
                      <a:lnTo>
                        <a:pt x="9356" y="17726"/>
                      </a:lnTo>
                      <a:lnTo>
                        <a:pt x="10089" y="17253"/>
                      </a:lnTo>
                      <a:lnTo>
                        <a:pt x="10945" y="9095"/>
                      </a:lnTo>
                      <a:lnTo>
                        <a:pt x="10603" y="7147"/>
                      </a:lnTo>
                      <a:lnTo>
                        <a:pt x="10097" y="6080"/>
                      </a:lnTo>
                      <a:lnTo>
                        <a:pt x="9054" y="5305"/>
                      </a:lnTo>
                      <a:lnTo>
                        <a:pt x="6715" y="4246"/>
                      </a:lnTo>
                      <a:lnTo>
                        <a:pt x="6324" y="3684"/>
                      </a:lnTo>
                      <a:lnTo>
                        <a:pt x="7799" y="2787"/>
                      </a:lnTo>
                      <a:lnTo>
                        <a:pt x="10953" y="2282"/>
                      </a:lnTo>
                      <a:lnTo>
                        <a:pt x="13308" y="1304"/>
                      </a:lnTo>
                      <a:lnTo>
                        <a:pt x="18174" y="1109"/>
                      </a:lnTo>
                      <a:lnTo>
                        <a:pt x="20537" y="244"/>
                      </a:lnTo>
                      <a:lnTo>
                        <a:pt x="24522" y="0"/>
                      </a:lnTo>
                      <a:lnTo>
                        <a:pt x="22558" y="3749"/>
                      </a:lnTo>
                      <a:lnTo>
                        <a:pt x="21638" y="5151"/>
                      </a:lnTo>
                      <a:lnTo>
                        <a:pt x="21996" y="8525"/>
                      </a:lnTo>
                      <a:lnTo>
                        <a:pt x="21540" y="10815"/>
                      </a:lnTo>
                      <a:lnTo>
                        <a:pt x="22061" y="13708"/>
                      </a:lnTo>
                      <a:lnTo>
                        <a:pt x="23251" y="15607"/>
                      </a:lnTo>
                      <a:lnTo>
                        <a:pt x="22477" y="17473"/>
                      </a:lnTo>
                      <a:lnTo>
                        <a:pt x="22363" y="20301"/>
                      </a:lnTo>
                      <a:lnTo>
                        <a:pt x="22175" y="21311"/>
                      </a:lnTo>
                      <a:close/>
                    </a:path>
                  </a:pathLst>
                </a:custGeom>
                <a:solidFill>
                  <a:srgbClr val="D6D6D2"/>
                </a:solidFill>
                <a:ln w="8150" cap="flat">
                  <a:noFill/>
                  <a:prstDash val="solid"/>
                  <a:miter/>
                </a:ln>
              </p:spPr>
              <p:txBody>
                <a:bodyPr rtlCol="0" anchor="ctr"/>
                <a:lstStyle/>
                <a:p>
                  <a:endParaRPr lang="en-US"/>
                </a:p>
              </p:txBody>
            </p:sp>
            <p:sp>
              <p:nvSpPr>
                <p:cNvPr id="561" name="Freeform: Shape 560">
                  <a:extLst>
                    <a:ext uri="{FF2B5EF4-FFF2-40B4-BE49-F238E27FC236}">
                      <a16:creationId xmlns:a16="http://schemas.microsoft.com/office/drawing/2014/main" id="{9514ACE7-116D-44DC-AB2E-A72431C9581E}"/>
                    </a:ext>
                  </a:extLst>
                </p:cNvPr>
                <p:cNvSpPr/>
                <p:nvPr/>
              </p:nvSpPr>
              <p:spPr>
                <a:xfrm>
                  <a:off x="9041818" y="4773895"/>
                  <a:ext cx="59044" cy="36046"/>
                </a:xfrm>
                <a:custGeom>
                  <a:avLst/>
                  <a:gdLst>
                    <a:gd name="connsiteX0" fmla="*/ 59045 w 59044"/>
                    <a:gd name="connsiteY0" fmla="*/ 3284 h 36046"/>
                    <a:gd name="connsiteX1" fmla="*/ 54538 w 59044"/>
                    <a:gd name="connsiteY1" fmla="*/ 8068 h 36046"/>
                    <a:gd name="connsiteX2" fmla="*/ 49599 w 59044"/>
                    <a:gd name="connsiteY2" fmla="*/ 12029 h 36046"/>
                    <a:gd name="connsiteX3" fmla="*/ 46552 w 59044"/>
                    <a:gd name="connsiteY3" fmla="*/ 13235 h 36046"/>
                    <a:gd name="connsiteX4" fmla="*/ 43397 w 59044"/>
                    <a:gd name="connsiteY4" fmla="*/ 14042 h 36046"/>
                    <a:gd name="connsiteX5" fmla="*/ 40993 w 59044"/>
                    <a:gd name="connsiteY5" fmla="*/ 15574 h 36046"/>
                    <a:gd name="connsiteX6" fmla="*/ 38972 w 59044"/>
                    <a:gd name="connsiteY6" fmla="*/ 17970 h 36046"/>
                    <a:gd name="connsiteX7" fmla="*/ 36389 w 59044"/>
                    <a:gd name="connsiteY7" fmla="*/ 19331 h 36046"/>
                    <a:gd name="connsiteX8" fmla="*/ 33471 w 59044"/>
                    <a:gd name="connsiteY8" fmla="*/ 19796 h 36046"/>
                    <a:gd name="connsiteX9" fmla="*/ 30977 w 59044"/>
                    <a:gd name="connsiteY9" fmla="*/ 20513 h 36046"/>
                    <a:gd name="connsiteX10" fmla="*/ 28712 w 59044"/>
                    <a:gd name="connsiteY10" fmla="*/ 21923 h 36046"/>
                    <a:gd name="connsiteX11" fmla="*/ 25558 w 59044"/>
                    <a:gd name="connsiteY11" fmla="*/ 24351 h 36046"/>
                    <a:gd name="connsiteX12" fmla="*/ 24287 w 59044"/>
                    <a:gd name="connsiteY12" fmla="*/ 24596 h 36046"/>
                    <a:gd name="connsiteX13" fmla="*/ 22934 w 59044"/>
                    <a:gd name="connsiteY13" fmla="*/ 24531 h 36046"/>
                    <a:gd name="connsiteX14" fmla="*/ 20334 w 59044"/>
                    <a:gd name="connsiteY14" fmla="*/ 25460 h 36046"/>
                    <a:gd name="connsiteX15" fmla="*/ 12225 w 59044"/>
                    <a:gd name="connsiteY15" fmla="*/ 28915 h 36046"/>
                    <a:gd name="connsiteX16" fmla="*/ 7319 w 59044"/>
                    <a:gd name="connsiteY16" fmla="*/ 32770 h 36046"/>
                    <a:gd name="connsiteX17" fmla="*/ 3782 w 59044"/>
                    <a:gd name="connsiteY17" fmla="*/ 36046 h 36046"/>
                    <a:gd name="connsiteX18" fmla="*/ 2926 w 59044"/>
                    <a:gd name="connsiteY18" fmla="*/ 32118 h 36046"/>
                    <a:gd name="connsiteX19" fmla="*/ 2037 w 59044"/>
                    <a:gd name="connsiteY19" fmla="*/ 30431 h 36046"/>
                    <a:gd name="connsiteX20" fmla="*/ 1312 w 59044"/>
                    <a:gd name="connsiteY20" fmla="*/ 29478 h 36046"/>
                    <a:gd name="connsiteX21" fmla="*/ 1076 w 59044"/>
                    <a:gd name="connsiteY21" fmla="*/ 28288 h 36046"/>
                    <a:gd name="connsiteX22" fmla="*/ 1117 w 59044"/>
                    <a:gd name="connsiteY22" fmla="*/ 27065 h 36046"/>
                    <a:gd name="connsiteX23" fmla="*/ 1557 w 59044"/>
                    <a:gd name="connsiteY23" fmla="*/ 26503 h 36046"/>
                    <a:gd name="connsiteX24" fmla="*/ 4605 w 59044"/>
                    <a:gd name="connsiteY24" fmla="*/ 26340 h 36046"/>
                    <a:gd name="connsiteX25" fmla="*/ 5811 w 59044"/>
                    <a:gd name="connsiteY25" fmla="*/ 24327 h 36046"/>
                    <a:gd name="connsiteX26" fmla="*/ 5803 w 59044"/>
                    <a:gd name="connsiteY26" fmla="*/ 21898 h 36046"/>
                    <a:gd name="connsiteX27" fmla="*/ 5192 w 59044"/>
                    <a:gd name="connsiteY27" fmla="*/ 21083 h 36046"/>
                    <a:gd name="connsiteX28" fmla="*/ 4589 w 59044"/>
                    <a:gd name="connsiteY28" fmla="*/ 20733 h 36046"/>
                    <a:gd name="connsiteX29" fmla="*/ 1435 w 59044"/>
                    <a:gd name="connsiteY29" fmla="*/ 22550 h 36046"/>
                    <a:gd name="connsiteX30" fmla="*/ 546 w 59044"/>
                    <a:gd name="connsiteY30" fmla="*/ 22224 h 36046"/>
                    <a:gd name="connsiteX31" fmla="*/ 0 w 59044"/>
                    <a:gd name="connsiteY31" fmla="*/ 21564 h 36046"/>
                    <a:gd name="connsiteX32" fmla="*/ 180 w 59044"/>
                    <a:gd name="connsiteY32" fmla="*/ 18883 h 36046"/>
                    <a:gd name="connsiteX33" fmla="*/ 2771 w 59044"/>
                    <a:gd name="connsiteY33" fmla="*/ 16373 h 36046"/>
                    <a:gd name="connsiteX34" fmla="*/ 4980 w 59044"/>
                    <a:gd name="connsiteY34" fmla="*/ 11825 h 36046"/>
                    <a:gd name="connsiteX35" fmla="*/ 6512 w 59044"/>
                    <a:gd name="connsiteY35" fmla="*/ 10000 h 36046"/>
                    <a:gd name="connsiteX36" fmla="*/ 10122 w 59044"/>
                    <a:gd name="connsiteY36" fmla="*/ 8305 h 36046"/>
                    <a:gd name="connsiteX37" fmla="*/ 11573 w 59044"/>
                    <a:gd name="connsiteY37" fmla="*/ 7816 h 36046"/>
                    <a:gd name="connsiteX38" fmla="*/ 22054 w 59044"/>
                    <a:gd name="connsiteY38" fmla="*/ 5314 h 36046"/>
                    <a:gd name="connsiteX39" fmla="*/ 24555 w 59044"/>
                    <a:gd name="connsiteY39" fmla="*/ 5143 h 36046"/>
                    <a:gd name="connsiteX40" fmla="*/ 31189 w 59044"/>
                    <a:gd name="connsiteY40" fmla="*/ 5224 h 36046"/>
                    <a:gd name="connsiteX41" fmla="*/ 40081 w 59044"/>
                    <a:gd name="connsiteY41" fmla="*/ 4686 h 36046"/>
                    <a:gd name="connsiteX42" fmla="*/ 42273 w 59044"/>
                    <a:gd name="connsiteY42" fmla="*/ 4336 h 36046"/>
                    <a:gd name="connsiteX43" fmla="*/ 45133 w 59044"/>
                    <a:gd name="connsiteY43" fmla="*/ 3227 h 36046"/>
                    <a:gd name="connsiteX44" fmla="*/ 47888 w 59044"/>
                    <a:gd name="connsiteY44" fmla="*/ 1866 h 36046"/>
                    <a:gd name="connsiteX45" fmla="*/ 49355 w 59044"/>
                    <a:gd name="connsiteY45" fmla="*/ 782 h 36046"/>
                    <a:gd name="connsiteX46" fmla="*/ 50887 w 59044"/>
                    <a:gd name="connsiteY46" fmla="*/ 0 h 36046"/>
                    <a:gd name="connsiteX47" fmla="*/ 53161 w 59044"/>
                    <a:gd name="connsiteY47" fmla="*/ 978 h 36046"/>
                    <a:gd name="connsiteX48" fmla="*/ 57048 w 59044"/>
                    <a:gd name="connsiteY48" fmla="*/ 1728 h 36046"/>
                    <a:gd name="connsiteX49" fmla="*/ 58100 w 59044"/>
                    <a:gd name="connsiteY49" fmla="*/ 2380 h 36046"/>
                    <a:gd name="connsiteX50" fmla="*/ 59045 w 59044"/>
                    <a:gd name="connsiteY50" fmla="*/ 3284 h 3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9044" h="36046">
                      <a:moveTo>
                        <a:pt x="59045" y="3284"/>
                      </a:moveTo>
                      <a:lnTo>
                        <a:pt x="54538" y="8068"/>
                      </a:lnTo>
                      <a:lnTo>
                        <a:pt x="49599" y="12029"/>
                      </a:lnTo>
                      <a:lnTo>
                        <a:pt x="46552" y="13235"/>
                      </a:lnTo>
                      <a:lnTo>
                        <a:pt x="43397" y="14042"/>
                      </a:lnTo>
                      <a:lnTo>
                        <a:pt x="40993" y="15574"/>
                      </a:lnTo>
                      <a:lnTo>
                        <a:pt x="38972" y="17970"/>
                      </a:lnTo>
                      <a:lnTo>
                        <a:pt x="36389" y="19331"/>
                      </a:lnTo>
                      <a:lnTo>
                        <a:pt x="33471" y="19796"/>
                      </a:lnTo>
                      <a:lnTo>
                        <a:pt x="30977" y="20513"/>
                      </a:lnTo>
                      <a:lnTo>
                        <a:pt x="28712" y="21923"/>
                      </a:lnTo>
                      <a:lnTo>
                        <a:pt x="25558" y="24351"/>
                      </a:lnTo>
                      <a:lnTo>
                        <a:pt x="24287" y="24596"/>
                      </a:lnTo>
                      <a:lnTo>
                        <a:pt x="22934" y="24531"/>
                      </a:lnTo>
                      <a:lnTo>
                        <a:pt x="20334" y="25460"/>
                      </a:lnTo>
                      <a:lnTo>
                        <a:pt x="12225" y="28915"/>
                      </a:lnTo>
                      <a:lnTo>
                        <a:pt x="7319" y="32770"/>
                      </a:lnTo>
                      <a:lnTo>
                        <a:pt x="3782" y="36046"/>
                      </a:lnTo>
                      <a:lnTo>
                        <a:pt x="2926" y="32118"/>
                      </a:lnTo>
                      <a:lnTo>
                        <a:pt x="2037" y="30431"/>
                      </a:lnTo>
                      <a:lnTo>
                        <a:pt x="1312" y="29478"/>
                      </a:lnTo>
                      <a:lnTo>
                        <a:pt x="1076" y="28288"/>
                      </a:lnTo>
                      <a:lnTo>
                        <a:pt x="1117" y="27065"/>
                      </a:lnTo>
                      <a:lnTo>
                        <a:pt x="1557" y="26503"/>
                      </a:lnTo>
                      <a:lnTo>
                        <a:pt x="4605" y="26340"/>
                      </a:lnTo>
                      <a:lnTo>
                        <a:pt x="5811" y="24327"/>
                      </a:lnTo>
                      <a:lnTo>
                        <a:pt x="5803" y="21898"/>
                      </a:lnTo>
                      <a:lnTo>
                        <a:pt x="5192" y="21083"/>
                      </a:lnTo>
                      <a:lnTo>
                        <a:pt x="4589" y="20733"/>
                      </a:lnTo>
                      <a:lnTo>
                        <a:pt x="1435" y="22550"/>
                      </a:lnTo>
                      <a:lnTo>
                        <a:pt x="546" y="22224"/>
                      </a:lnTo>
                      <a:lnTo>
                        <a:pt x="0" y="21564"/>
                      </a:lnTo>
                      <a:lnTo>
                        <a:pt x="180" y="18883"/>
                      </a:lnTo>
                      <a:lnTo>
                        <a:pt x="2771" y="16373"/>
                      </a:lnTo>
                      <a:lnTo>
                        <a:pt x="4980" y="11825"/>
                      </a:lnTo>
                      <a:lnTo>
                        <a:pt x="6512" y="10000"/>
                      </a:lnTo>
                      <a:lnTo>
                        <a:pt x="10122" y="8305"/>
                      </a:lnTo>
                      <a:lnTo>
                        <a:pt x="11573" y="7816"/>
                      </a:lnTo>
                      <a:lnTo>
                        <a:pt x="22054" y="5314"/>
                      </a:lnTo>
                      <a:lnTo>
                        <a:pt x="24555" y="5143"/>
                      </a:lnTo>
                      <a:lnTo>
                        <a:pt x="31189" y="5224"/>
                      </a:lnTo>
                      <a:lnTo>
                        <a:pt x="40081" y="4686"/>
                      </a:lnTo>
                      <a:lnTo>
                        <a:pt x="42273" y="4336"/>
                      </a:lnTo>
                      <a:lnTo>
                        <a:pt x="45133" y="3227"/>
                      </a:lnTo>
                      <a:lnTo>
                        <a:pt x="47888" y="1866"/>
                      </a:lnTo>
                      <a:lnTo>
                        <a:pt x="49355" y="782"/>
                      </a:lnTo>
                      <a:lnTo>
                        <a:pt x="50887" y="0"/>
                      </a:lnTo>
                      <a:lnTo>
                        <a:pt x="53161" y="978"/>
                      </a:lnTo>
                      <a:lnTo>
                        <a:pt x="57048" y="1728"/>
                      </a:lnTo>
                      <a:lnTo>
                        <a:pt x="58100" y="2380"/>
                      </a:lnTo>
                      <a:lnTo>
                        <a:pt x="59045" y="3284"/>
                      </a:lnTo>
                      <a:close/>
                    </a:path>
                  </a:pathLst>
                </a:custGeom>
                <a:solidFill>
                  <a:srgbClr val="D6D6D2"/>
                </a:solidFill>
                <a:ln w="8150" cap="flat">
                  <a:noFill/>
                  <a:prstDash val="solid"/>
                  <a:miter/>
                </a:ln>
              </p:spPr>
              <p:txBody>
                <a:bodyPr rtlCol="0" anchor="ctr"/>
                <a:lstStyle/>
                <a:p>
                  <a:endParaRPr lang="en-US"/>
                </a:p>
              </p:txBody>
            </p:sp>
            <p:sp>
              <p:nvSpPr>
                <p:cNvPr id="562" name="Freeform: Shape 561">
                  <a:extLst>
                    <a:ext uri="{FF2B5EF4-FFF2-40B4-BE49-F238E27FC236}">
                      <a16:creationId xmlns:a16="http://schemas.microsoft.com/office/drawing/2014/main" id="{1BAFE7C2-2F3A-4D51-A40E-62A06FF2C77A}"/>
                    </a:ext>
                  </a:extLst>
                </p:cNvPr>
                <p:cNvSpPr/>
                <p:nvPr/>
              </p:nvSpPr>
              <p:spPr>
                <a:xfrm>
                  <a:off x="7245503" y="3180695"/>
                  <a:ext cx="350593" cy="256431"/>
                </a:xfrm>
                <a:custGeom>
                  <a:avLst/>
                  <a:gdLst>
                    <a:gd name="connsiteX0" fmla="*/ 154764 w 350593"/>
                    <a:gd name="connsiteY0" fmla="*/ 3586 h 256431"/>
                    <a:gd name="connsiteX1" fmla="*/ 158406 w 350593"/>
                    <a:gd name="connsiteY1" fmla="*/ 7539 h 256431"/>
                    <a:gd name="connsiteX2" fmla="*/ 159743 w 350593"/>
                    <a:gd name="connsiteY2" fmla="*/ 8264 h 256431"/>
                    <a:gd name="connsiteX3" fmla="*/ 162343 w 350593"/>
                    <a:gd name="connsiteY3" fmla="*/ 8688 h 256431"/>
                    <a:gd name="connsiteX4" fmla="*/ 164511 w 350593"/>
                    <a:gd name="connsiteY4" fmla="*/ 8843 h 256431"/>
                    <a:gd name="connsiteX5" fmla="*/ 165415 w 350593"/>
                    <a:gd name="connsiteY5" fmla="*/ 9266 h 256431"/>
                    <a:gd name="connsiteX6" fmla="*/ 166385 w 350593"/>
                    <a:gd name="connsiteY6" fmla="*/ 10293 h 256431"/>
                    <a:gd name="connsiteX7" fmla="*/ 168309 w 350593"/>
                    <a:gd name="connsiteY7" fmla="*/ 14612 h 256431"/>
                    <a:gd name="connsiteX8" fmla="*/ 170232 w 350593"/>
                    <a:gd name="connsiteY8" fmla="*/ 15745 h 256431"/>
                    <a:gd name="connsiteX9" fmla="*/ 172636 w 350593"/>
                    <a:gd name="connsiteY9" fmla="*/ 16560 h 256431"/>
                    <a:gd name="connsiteX10" fmla="*/ 180362 w 350593"/>
                    <a:gd name="connsiteY10" fmla="*/ 16495 h 256431"/>
                    <a:gd name="connsiteX11" fmla="*/ 182725 w 350593"/>
                    <a:gd name="connsiteY11" fmla="*/ 16715 h 256431"/>
                    <a:gd name="connsiteX12" fmla="*/ 184673 w 350593"/>
                    <a:gd name="connsiteY12" fmla="*/ 18752 h 256431"/>
                    <a:gd name="connsiteX13" fmla="*/ 185871 w 350593"/>
                    <a:gd name="connsiteY13" fmla="*/ 19584 h 256431"/>
                    <a:gd name="connsiteX14" fmla="*/ 186385 w 350593"/>
                    <a:gd name="connsiteY14" fmla="*/ 20309 h 256431"/>
                    <a:gd name="connsiteX15" fmla="*/ 186254 w 350593"/>
                    <a:gd name="connsiteY15" fmla="*/ 21206 h 256431"/>
                    <a:gd name="connsiteX16" fmla="*/ 185774 w 350593"/>
                    <a:gd name="connsiteY16" fmla="*/ 22338 h 256431"/>
                    <a:gd name="connsiteX17" fmla="*/ 185708 w 350593"/>
                    <a:gd name="connsiteY17" fmla="*/ 24531 h 256431"/>
                    <a:gd name="connsiteX18" fmla="*/ 185586 w 350593"/>
                    <a:gd name="connsiteY18" fmla="*/ 26226 h 256431"/>
                    <a:gd name="connsiteX19" fmla="*/ 184975 w 350593"/>
                    <a:gd name="connsiteY19" fmla="*/ 27033 h 256431"/>
                    <a:gd name="connsiteX20" fmla="*/ 184796 w 350593"/>
                    <a:gd name="connsiteY20" fmla="*/ 27782 h 256431"/>
                    <a:gd name="connsiteX21" fmla="*/ 185300 w 350593"/>
                    <a:gd name="connsiteY21" fmla="*/ 28434 h 256431"/>
                    <a:gd name="connsiteX22" fmla="*/ 188870 w 350593"/>
                    <a:gd name="connsiteY22" fmla="*/ 30048 h 256431"/>
                    <a:gd name="connsiteX23" fmla="*/ 190085 w 350593"/>
                    <a:gd name="connsiteY23" fmla="*/ 31776 h 256431"/>
                    <a:gd name="connsiteX24" fmla="*/ 190973 w 350593"/>
                    <a:gd name="connsiteY24" fmla="*/ 32550 h 256431"/>
                    <a:gd name="connsiteX25" fmla="*/ 191193 w 350593"/>
                    <a:gd name="connsiteY25" fmla="*/ 33626 h 256431"/>
                    <a:gd name="connsiteX26" fmla="*/ 190590 w 350593"/>
                    <a:gd name="connsiteY26" fmla="*/ 34335 h 256431"/>
                    <a:gd name="connsiteX27" fmla="*/ 188911 w 350593"/>
                    <a:gd name="connsiteY27" fmla="*/ 33976 h 256431"/>
                    <a:gd name="connsiteX28" fmla="*/ 188088 w 350593"/>
                    <a:gd name="connsiteY28" fmla="*/ 35109 h 256431"/>
                    <a:gd name="connsiteX29" fmla="*/ 188088 w 350593"/>
                    <a:gd name="connsiteY29" fmla="*/ 37138 h 256431"/>
                    <a:gd name="connsiteX30" fmla="*/ 189286 w 350593"/>
                    <a:gd name="connsiteY30" fmla="*/ 39045 h 256431"/>
                    <a:gd name="connsiteX31" fmla="*/ 189636 w 350593"/>
                    <a:gd name="connsiteY31" fmla="*/ 40781 h 256431"/>
                    <a:gd name="connsiteX32" fmla="*/ 188838 w 350593"/>
                    <a:gd name="connsiteY32" fmla="*/ 42460 h 256431"/>
                    <a:gd name="connsiteX33" fmla="*/ 187917 w 350593"/>
                    <a:gd name="connsiteY33" fmla="*/ 44824 h 256431"/>
                    <a:gd name="connsiteX34" fmla="*/ 187876 w 350593"/>
                    <a:gd name="connsiteY34" fmla="*/ 46494 h 256431"/>
                    <a:gd name="connsiteX35" fmla="*/ 188430 w 350593"/>
                    <a:gd name="connsiteY35" fmla="*/ 47456 h 256431"/>
                    <a:gd name="connsiteX36" fmla="*/ 191169 w 350593"/>
                    <a:gd name="connsiteY36" fmla="*/ 49175 h 256431"/>
                    <a:gd name="connsiteX37" fmla="*/ 197493 w 350593"/>
                    <a:gd name="connsiteY37" fmla="*/ 53536 h 256431"/>
                    <a:gd name="connsiteX38" fmla="*/ 198943 w 350593"/>
                    <a:gd name="connsiteY38" fmla="*/ 53715 h 256431"/>
                    <a:gd name="connsiteX39" fmla="*/ 204925 w 350593"/>
                    <a:gd name="connsiteY39" fmla="*/ 52704 h 256431"/>
                    <a:gd name="connsiteX40" fmla="*/ 207712 w 350593"/>
                    <a:gd name="connsiteY40" fmla="*/ 52607 h 256431"/>
                    <a:gd name="connsiteX41" fmla="*/ 209351 w 350593"/>
                    <a:gd name="connsiteY41" fmla="*/ 53283 h 256431"/>
                    <a:gd name="connsiteX42" fmla="*/ 213971 w 350593"/>
                    <a:gd name="connsiteY42" fmla="*/ 53902 h 256431"/>
                    <a:gd name="connsiteX43" fmla="*/ 215447 w 350593"/>
                    <a:gd name="connsiteY43" fmla="*/ 54595 h 256431"/>
                    <a:gd name="connsiteX44" fmla="*/ 217012 w 350593"/>
                    <a:gd name="connsiteY44" fmla="*/ 54636 h 256431"/>
                    <a:gd name="connsiteX45" fmla="*/ 219163 w 350593"/>
                    <a:gd name="connsiteY45" fmla="*/ 54440 h 256431"/>
                    <a:gd name="connsiteX46" fmla="*/ 220613 w 350593"/>
                    <a:gd name="connsiteY46" fmla="*/ 52493 h 256431"/>
                    <a:gd name="connsiteX47" fmla="*/ 221363 w 350593"/>
                    <a:gd name="connsiteY47" fmla="*/ 52044 h 256431"/>
                    <a:gd name="connsiteX48" fmla="*/ 222015 w 350593"/>
                    <a:gd name="connsiteY48" fmla="*/ 51718 h 256431"/>
                    <a:gd name="connsiteX49" fmla="*/ 223336 w 350593"/>
                    <a:gd name="connsiteY49" fmla="*/ 51669 h 256431"/>
                    <a:gd name="connsiteX50" fmla="*/ 226995 w 350593"/>
                    <a:gd name="connsiteY50" fmla="*/ 52908 h 256431"/>
                    <a:gd name="connsiteX51" fmla="*/ 230841 w 350593"/>
                    <a:gd name="connsiteY51" fmla="*/ 55516 h 256431"/>
                    <a:gd name="connsiteX52" fmla="*/ 233401 w 350593"/>
                    <a:gd name="connsiteY52" fmla="*/ 57896 h 256431"/>
                    <a:gd name="connsiteX53" fmla="*/ 234648 w 350593"/>
                    <a:gd name="connsiteY53" fmla="*/ 60047 h 256431"/>
                    <a:gd name="connsiteX54" fmla="*/ 236245 w 350593"/>
                    <a:gd name="connsiteY54" fmla="*/ 64717 h 256431"/>
                    <a:gd name="connsiteX55" fmla="*/ 238160 w 350593"/>
                    <a:gd name="connsiteY55" fmla="*/ 71889 h 256431"/>
                    <a:gd name="connsiteX56" fmla="*/ 240474 w 350593"/>
                    <a:gd name="connsiteY56" fmla="*/ 76730 h 256431"/>
                    <a:gd name="connsiteX57" fmla="*/ 243196 w 350593"/>
                    <a:gd name="connsiteY57" fmla="*/ 79232 h 256431"/>
                    <a:gd name="connsiteX58" fmla="*/ 245095 w 350593"/>
                    <a:gd name="connsiteY58" fmla="*/ 83836 h 256431"/>
                    <a:gd name="connsiteX59" fmla="*/ 246741 w 350593"/>
                    <a:gd name="connsiteY59" fmla="*/ 93877 h 256431"/>
                    <a:gd name="connsiteX60" fmla="*/ 247776 w 350593"/>
                    <a:gd name="connsiteY60" fmla="*/ 95930 h 256431"/>
                    <a:gd name="connsiteX61" fmla="*/ 248820 w 350593"/>
                    <a:gd name="connsiteY61" fmla="*/ 96998 h 256431"/>
                    <a:gd name="connsiteX62" fmla="*/ 251941 w 350593"/>
                    <a:gd name="connsiteY62" fmla="*/ 99899 h 256431"/>
                    <a:gd name="connsiteX63" fmla="*/ 258281 w 350593"/>
                    <a:gd name="connsiteY63" fmla="*/ 104692 h 256431"/>
                    <a:gd name="connsiteX64" fmla="*/ 262038 w 350593"/>
                    <a:gd name="connsiteY64" fmla="*/ 107519 h 256431"/>
                    <a:gd name="connsiteX65" fmla="*/ 267841 w 350593"/>
                    <a:gd name="connsiteY65" fmla="*/ 112051 h 256431"/>
                    <a:gd name="connsiteX66" fmla="*/ 273138 w 350593"/>
                    <a:gd name="connsiteY66" fmla="*/ 116183 h 256431"/>
                    <a:gd name="connsiteX67" fmla="*/ 278468 w 350593"/>
                    <a:gd name="connsiteY67" fmla="*/ 122556 h 256431"/>
                    <a:gd name="connsiteX68" fmla="*/ 279536 w 350593"/>
                    <a:gd name="connsiteY68" fmla="*/ 123485 h 256431"/>
                    <a:gd name="connsiteX69" fmla="*/ 284214 w 350593"/>
                    <a:gd name="connsiteY69" fmla="*/ 126932 h 256431"/>
                    <a:gd name="connsiteX70" fmla="*/ 289438 w 350593"/>
                    <a:gd name="connsiteY70" fmla="*/ 130469 h 256431"/>
                    <a:gd name="connsiteX71" fmla="*/ 293089 w 350593"/>
                    <a:gd name="connsiteY71" fmla="*/ 129670 h 256431"/>
                    <a:gd name="connsiteX72" fmla="*/ 298590 w 350593"/>
                    <a:gd name="connsiteY72" fmla="*/ 135098 h 256431"/>
                    <a:gd name="connsiteX73" fmla="*/ 300815 w 350593"/>
                    <a:gd name="connsiteY73" fmla="*/ 137111 h 256431"/>
                    <a:gd name="connsiteX74" fmla="*/ 301760 w 350593"/>
                    <a:gd name="connsiteY74" fmla="*/ 137796 h 256431"/>
                    <a:gd name="connsiteX75" fmla="*/ 305737 w 350593"/>
                    <a:gd name="connsiteY75" fmla="*/ 139931 h 256431"/>
                    <a:gd name="connsiteX76" fmla="*/ 312086 w 350593"/>
                    <a:gd name="connsiteY76" fmla="*/ 144405 h 256431"/>
                    <a:gd name="connsiteX77" fmla="*/ 320089 w 350593"/>
                    <a:gd name="connsiteY77" fmla="*/ 150803 h 256431"/>
                    <a:gd name="connsiteX78" fmla="*/ 325378 w 350593"/>
                    <a:gd name="connsiteY78" fmla="*/ 154503 h 256431"/>
                    <a:gd name="connsiteX79" fmla="*/ 326829 w 350593"/>
                    <a:gd name="connsiteY79" fmla="*/ 154935 h 256431"/>
                    <a:gd name="connsiteX80" fmla="*/ 328247 w 350593"/>
                    <a:gd name="connsiteY80" fmla="*/ 154910 h 256431"/>
                    <a:gd name="connsiteX81" fmla="*/ 329779 w 350593"/>
                    <a:gd name="connsiteY81" fmla="*/ 154120 h 256431"/>
                    <a:gd name="connsiteX82" fmla="*/ 331434 w 350593"/>
                    <a:gd name="connsiteY82" fmla="*/ 153484 h 256431"/>
                    <a:gd name="connsiteX83" fmla="*/ 334270 w 350593"/>
                    <a:gd name="connsiteY83" fmla="*/ 154315 h 256431"/>
                    <a:gd name="connsiteX84" fmla="*/ 337342 w 350593"/>
                    <a:gd name="connsiteY84" fmla="*/ 155798 h 256431"/>
                    <a:gd name="connsiteX85" fmla="*/ 339273 w 350593"/>
                    <a:gd name="connsiteY85" fmla="*/ 156915 h 256431"/>
                    <a:gd name="connsiteX86" fmla="*/ 341523 w 350593"/>
                    <a:gd name="connsiteY86" fmla="*/ 158545 h 256431"/>
                    <a:gd name="connsiteX87" fmla="*/ 343292 w 350593"/>
                    <a:gd name="connsiteY87" fmla="*/ 160077 h 256431"/>
                    <a:gd name="connsiteX88" fmla="*/ 344644 w 350593"/>
                    <a:gd name="connsiteY88" fmla="*/ 160786 h 256431"/>
                    <a:gd name="connsiteX89" fmla="*/ 349224 w 350593"/>
                    <a:gd name="connsiteY89" fmla="*/ 162131 h 256431"/>
                    <a:gd name="connsiteX90" fmla="*/ 350015 w 350593"/>
                    <a:gd name="connsiteY90" fmla="*/ 162938 h 256431"/>
                    <a:gd name="connsiteX91" fmla="*/ 350520 w 350593"/>
                    <a:gd name="connsiteY91" fmla="*/ 163834 h 256431"/>
                    <a:gd name="connsiteX92" fmla="*/ 350594 w 350593"/>
                    <a:gd name="connsiteY92" fmla="*/ 164771 h 256431"/>
                    <a:gd name="connsiteX93" fmla="*/ 348027 w 350593"/>
                    <a:gd name="connsiteY93" fmla="*/ 169669 h 256431"/>
                    <a:gd name="connsiteX94" fmla="*/ 347676 w 350593"/>
                    <a:gd name="connsiteY94" fmla="*/ 175904 h 256431"/>
                    <a:gd name="connsiteX95" fmla="*/ 347651 w 350593"/>
                    <a:gd name="connsiteY95" fmla="*/ 180590 h 256431"/>
                    <a:gd name="connsiteX96" fmla="*/ 347945 w 350593"/>
                    <a:gd name="connsiteY96" fmla="*/ 184274 h 256431"/>
                    <a:gd name="connsiteX97" fmla="*/ 346698 w 350593"/>
                    <a:gd name="connsiteY97" fmla="*/ 184396 h 256431"/>
                    <a:gd name="connsiteX98" fmla="*/ 343683 w 350593"/>
                    <a:gd name="connsiteY98" fmla="*/ 183613 h 256431"/>
                    <a:gd name="connsiteX99" fmla="*/ 337684 w 350593"/>
                    <a:gd name="connsiteY99" fmla="*/ 182057 h 256431"/>
                    <a:gd name="connsiteX100" fmla="*/ 332525 w 350593"/>
                    <a:gd name="connsiteY100" fmla="*/ 178944 h 256431"/>
                    <a:gd name="connsiteX101" fmla="*/ 329168 w 350593"/>
                    <a:gd name="connsiteY101" fmla="*/ 176906 h 256431"/>
                    <a:gd name="connsiteX102" fmla="*/ 328638 w 350593"/>
                    <a:gd name="connsiteY102" fmla="*/ 177183 h 256431"/>
                    <a:gd name="connsiteX103" fmla="*/ 327130 w 350593"/>
                    <a:gd name="connsiteY103" fmla="*/ 178569 h 256431"/>
                    <a:gd name="connsiteX104" fmla="*/ 326087 w 350593"/>
                    <a:gd name="connsiteY104" fmla="*/ 180280 h 256431"/>
                    <a:gd name="connsiteX105" fmla="*/ 325264 w 350593"/>
                    <a:gd name="connsiteY105" fmla="*/ 183605 h 256431"/>
                    <a:gd name="connsiteX106" fmla="*/ 323944 w 350593"/>
                    <a:gd name="connsiteY106" fmla="*/ 187509 h 256431"/>
                    <a:gd name="connsiteX107" fmla="*/ 317718 w 350593"/>
                    <a:gd name="connsiteY107" fmla="*/ 187656 h 256431"/>
                    <a:gd name="connsiteX108" fmla="*/ 312412 w 350593"/>
                    <a:gd name="connsiteY108" fmla="*/ 187957 h 256431"/>
                    <a:gd name="connsiteX109" fmla="*/ 308989 w 350593"/>
                    <a:gd name="connsiteY109" fmla="*/ 189432 h 256431"/>
                    <a:gd name="connsiteX110" fmla="*/ 305640 w 350593"/>
                    <a:gd name="connsiteY110" fmla="*/ 191478 h 256431"/>
                    <a:gd name="connsiteX111" fmla="*/ 304792 w 350593"/>
                    <a:gd name="connsiteY111" fmla="*/ 193907 h 256431"/>
                    <a:gd name="connsiteX112" fmla="*/ 304067 w 350593"/>
                    <a:gd name="connsiteY112" fmla="*/ 197052 h 256431"/>
                    <a:gd name="connsiteX113" fmla="*/ 302111 w 350593"/>
                    <a:gd name="connsiteY113" fmla="*/ 204183 h 256431"/>
                    <a:gd name="connsiteX114" fmla="*/ 300326 w 350593"/>
                    <a:gd name="connsiteY114" fmla="*/ 210679 h 256431"/>
                    <a:gd name="connsiteX115" fmla="*/ 299430 w 350593"/>
                    <a:gd name="connsiteY115" fmla="*/ 214900 h 256431"/>
                    <a:gd name="connsiteX116" fmla="*/ 298069 w 350593"/>
                    <a:gd name="connsiteY116" fmla="*/ 217785 h 256431"/>
                    <a:gd name="connsiteX117" fmla="*/ 294271 w 350593"/>
                    <a:gd name="connsiteY117" fmla="*/ 221575 h 256431"/>
                    <a:gd name="connsiteX118" fmla="*/ 289968 w 350593"/>
                    <a:gd name="connsiteY118" fmla="*/ 224134 h 256431"/>
                    <a:gd name="connsiteX119" fmla="*/ 287686 w 350593"/>
                    <a:gd name="connsiteY119" fmla="*/ 225332 h 256431"/>
                    <a:gd name="connsiteX120" fmla="*/ 286675 w 350593"/>
                    <a:gd name="connsiteY120" fmla="*/ 226823 h 256431"/>
                    <a:gd name="connsiteX121" fmla="*/ 286447 w 350593"/>
                    <a:gd name="connsiteY121" fmla="*/ 228233 h 256431"/>
                    <a:gd name="connsiteX122" fmla="*/ 285632 w 350593"/>
                    <a:gd name="connsiteY122" fmla="*/ 228657 h 256431"/>
                    <a:gd name="connsiteX123" fmla="*/ 283864 w 350593"/>
                    <a:gd name="connsiteY123" fmla="*/ 228404 h 256431"/>
                    <a:gd name="connsiteX124" fmla="*/ 281989 w 350593"/>
                    <a:gd name="connsiteY124" fmla="*/ 228649 h 256431"/>
                    <a:gd name="connsiteX125" fmla="*/ 277873 w 350593"/>
                    <a:gd name="connsiteY125" fmla="*/ 230124 h 256431"/>
                    <a:gd name="connsiteX126" fmla="*/ 273415 w 350593"/>
                    <a:gd name="connsiteY126" fmla="*/ 231933 h 256431"/>
                    <a:gd name="connsiteX127" fmla="*/ 268078 w 350593"/>
                    <a:gd name="connsiteY127" fmla="*/ 233742 h 256431"/>
                    <a:gd name="connsiteX128" fmla="*/ 265022 w 350593"/>
                    <a:gd name="connsiteY128" fmla="*/ 233742 h 256431"/>
                    <a:gd name="connsiteX129" fmla="*/ 263823 w 350593"/>
                    <a:gd name="connsiteY129" fmla="*/ 234150 h 256431"/>
                    <a:gd name="connsiteX130" fmla="*/ 263302 w 350593"/>
                    <a:gd name="connsiteY130" fmla="*/ 235055 h 256431"/>
                    <a:gd name="connsiteX131" fmla="*/ 263823 w 350593"/>
                    <a:gd name="connsiteY131" fmla="*/ 236774 h 256431"/>
                    <a:gd name="connsiteX132" fmla="*/ 264337 w 350593"/>
                    <a:gd name="connsiteY132" fmla="*/ 238046 h 256431"/>
                    <a:gd name="connsiteX133" fmla="*/ 264801 w 350593"/>
                    <a:gd name="connsiteY133" fmla="*/ 239700 h 256431"/>
                    <a:gd name="connsiteX134" fmla="*/ 263555 w 350593"/>
                    <a:gd name="connsiteY134" fmla="*/ 241053 h 256431"/>
                    <a:gd name="connsiteX135" fmla="*/ 262691 w 350593"/>
                    <a:gd name="connsiteY135" fmla="*/ 243343 h 256431"/>
                    <a:gd name="connsiteX136" fmla="*/ 262014 w 350593"/>
                    <a:gd name="connsiteY136" fmla="*/ 247377 h 256431"/>
                    <a:gd name="connsiteX137" fmla="*/ 260115 w 350593"/>
                    <a:gd name="connsiteY137" fmla="*/ 248583 h 256431"/>
                    <a:gd name="connsiteX138" fmla="*/ 257092 w 350593"/>
                    <a:gd name="connsiteY138" fmla="*/ 250547 h 256431"/>
                    <a:gd name="connsiteX139" fmla="*/ 253726 w 350593"/>
                    <a:gd name="connsiteY139" fmla="*/ 253123 h 256431"/>
                    <a:gd name="connsiteX140" fmla="*/ 252878 w 350593"/>
                    <a:gd name="connsiteY140" fmla="*/ 253652 h 256431"/>
                    <a:gd name="connsiteX141" fmla="*/ 250963 w 350593"/>
                    <a:gd name="connsiteY141" fmla="*/ 254378 h 256431"/>
                    <a:gd name="connsiteX142" fmla="*/ 249040 w 350593"/>
                    <a:gd name="connsiteY142" fmla="*/ 254158 h 256431"/>
                    <a:gd name="connsiteX143" fmla="*/ 247296 w 350593"/>
                    <a:gd name="connsiteY143" fmla="*/ 253775 h 256431"/>
                    <a:gd name="connsiteX144" fmla="*/ 245405 w 350593"/>
                    <a:gd name="connsiteY144" fmla="*/ 254443 h 256431"/>
                    <a:gd name="connsiteX145" fmla="*/ 243457 w 350593"/>
                    <a:gd name="connsiteY145" fmla="*/ 256431 h 256431"/>
                    <a:gd name="connsiteX146" fmla="*/ 242553 w 350593"/>
                    <a:gd name="connsiteY146" fmla="*/ 255836 h 256431"/>
                    <a:gd name="connsiteX147" fmla="*/ 242088 w 350593"/>
                    <a:gd name="connsiteY147" fmla="*/ 253815 h 256431"/>
                    <a:gd name="connsiteX148" fmla="*/ 241102 w 350593"/>
                    <a:gd name="connsiteY148" fmla="*/ 252503 h 256431"/>
                    <a:gd name="connsiteX149" fmla="*/ 238046 w 350593"/>
                    <a:gd name="connsiteY149" fmla="*/ 249545 h 256431"/>
                    <a:gd name="connsiteX150" fmla="*/ 235429 w 350593"/>
                    <a:gd name="connsiteY150" fmla="*/ 247434 h 256431"/>
                    <a:gd name="connsiteX151" fmla="*/ 234289 w 350593"/>
                    <a:gd name="connsiteY151" fmla="*/ 247296 h 256431"/>
                    <a:gd name="connsiteX152" fmla="*/ 231868 w 350593"/>
                    <a:gd name="connsiteY152" fmla="*/ 247833 h 256431"/>
                    <a:gd name="connsiteX153" fmla="*/ 228861 w 350593"/>
                    <a:gd name="connsiteY153" fmla="*/ 248233 h 256431"/>
                    <a:gd name="connsiteX154" fmla="*/ 226416 w 350593"/>
                    <a:gd name="connsiteY154" fmla="*/ 247809 h 256431"/>
                    <a:gd name="connsiteX155" fmla="*/ 224485 w 350593"/>
                    <a:gd name="connsiteY155" fmla="*/ 246961 h 256431"/>
                    <a:gd name="connsiteX156" fmla="*/ 221477 w 350593"/>
                    <a:gd name="connsiteY156" fmla="*/ 244060 h 256431"/>
                    <a:gd name="connsiteX157" fmla="*/ 220386 w 350593"/>
                    <a:gd name="connsiteY157" fmla="*/ 242495 h 256431"/>
                    <a:gd name="connsiteX158" fmla="*/ 219570 w 350593"/>
                    <a:gd name="connsiteY158" fmla="*/ 241297 h 256431"/>
                    <a:gd name="connsiteX159" fmla="*/ 217516 w 350593"/>
                    <a:gd name="connsiteY159" fmla="*/ 241623 h 256431"/>
                    <a:gd name="connsiteX160" fmla="*/ 216938 w 350593"/>
                    <a:gd name="connsiteY160" fmla="*/ 240311 h 256431"/>
                    <a:gd name="connsiteX161" fmla="*/ 216856 w 350593"/>
                    <a:gd name="connsiteY161" fmla="*/ 238779 h 256431"/>
                    <a:gd name="connsiteX162" fmla="*/ 217427 w 350593"/>
                    <a:gd name="connsiteY162" fmla="*/ 236921 h 256431"/>
                    <a:gd name="connsiteX163" fmla="*/ 217256 w 350593"/>
                    <a:gd name="connsiteY163" fmla="*/ 233417 h 256431"/>
                    <a:gd name="connsiteX164" fmla="*/ 216107 w 350593"/>
                    <a:gd name="connsiteY164" fmla="*/ 230898 h 256431"/>
                    <a:gd name="connsiteX165" fmla="*/ 214795 w 350593"/>
                    <a:gd name="connsiteY165" fmla="*/ 229806 h 256431"/>
                    <a:gd name="connsiteX166" fmla="*/ 214966 w 350593"/>
                    <a:gd name="connsiteY166" fmla="*/ 229040 h 256431"/>
                    <a:gd name="connsiteX167" fmla="*/ 215536 w 350593"/>
                    <a:gd name="connsiteY167" fmla="*/ 227288 h 256431"/>
                    <a:gd name="connsiteX168" fmla="*/ 216278 w 350593"/>
                    <a:gd name="connsiteY168" fmla="*/ 225756 h 256431"/>
                    <a:gd name="connsiteX169" fmla="*/ 216270 w 350593"/>
                    <a:gd name="connsiteY169" fmla="*/ 222724 h 256431"/>
                    <a:gd name="connsiteX170" fmla="*/ 215357 w 350593"/>
                    <a:gd name="connsiteY170" fmla="*/ 219440 h 256431"/>
                    <a:gd name="connsiteX171" fmla="*/ 214990 w 350593"/>
                    <a:gd name="connsiteY171" fmla="*/ 214697 h 256431"/>
                    <a:gd name="connsiteX172" fmla="*/ 215218 w 350593"/>
                    <a:gd name="connsiteY172" fmla="*/ 210059 h 256431"/>
                    <a:gd name="connsiteX173" fmla="*/ 213971 w 350593"/>
                    <a:gd name="connsiteY173" fmla="*/ 207729 h 256431"/>
                    <a:gd name="connsiteX174" fmla="*/ 203760 w 350593"/>
                    <a:gd name="connsiteY174" fmla="*/ 207712 h 256431"/>
                    <a:gd name="connsiteX175" fmla="*/ 194673 w 350593"/>
                    <a:gd name="connsiteY175" fmla="*/ 207883 h 256431"/>
                    <a:gd name="connsiteX176" fmla="*/ 194160 w 350593"/>
                    <a:gd name="connsiteY176" fmla="*/ 207354 h 256431"/>
                    <a:gd name="connsiteX177" fmla="*/ 190631 w 350593"/>
                    <a:gd name="connsiteY177" fmla="*/ 201510 h 256431"/>
                    <a:gd name="connsiteX178" fmla="*/ 187762 w 350593"/>
                    <a:gd name="connsiteY178" fmla="*/ 197077 h 256431"/>
                    <a:gd name="connsiteX179" fmla="*/ 184934 w 350593"/>
                    <a:gd name="connsiteY179" fmla="*/ 194453 h 256431"/>
                    <a:gd name="connsiteX180" fmla="*/ 178439 w 350593"/>
                    <a:gd name="connsiteY180" fmla="*/ 191225 h 256431"/>
                    <a:gd name="connsiteX181" fmla="*/ 175350 w 350593"/>
                    <a:gd name="connsiteY181" fmla="*/ 189872 h 256431"/>
                    <a:gd name="connsiteX182" fmla="*/ 172685 w 350593"/>
                    <a:gd name="connsiteY182" fmla="*/ 187411 h 256431"/>
                    <a:gd name="connsiteX183" fmla="*/ 170509 w 350593"/>
                    <a:gd name="connsiteY183" fmla="*/ 184714 h 256431"/>
                    <a:gd name="connsiteX184" fmla="*/ 169947 w 350593"/>
                    <a:gd name="connsiteY184" fmla="*/ 181006 h 256431"/>
                    <a:gd name="connsiteX185" fmla="*/ 169506 w 350593"/>
                    <a:gd name="connsiteY185" fmla="*/ 179791 h 256431"/>
                    <a:gd name="connsiteX186" fmla="*/ 168879 w 350593"/>
                    <a:gd name="connsiteY186" fmla="*/ 178805 h 256431"/>
                    <a:gd name="connsiteX187" fmla="*/ 168194 w 350593"/>
                    <a:gd name="connsiteY187" fmla="*/ 178365 h 256431"/>
                    <a:gd name="connsiteX188" fmla="*/ 167363 w 350593"/>
                    <a:gd name="connsiteY188" fmla="*/ 178463 h 256431"/>
                    <a:gd name="connsiteX189" fmla="*/ 159841 w 350593"/>
                    <a:gd name="connsiteY189" fmla="*/ 174152 h 256431"/>
                    <a:gd name="connsiteX190" fmla="*/ 156817 w 350593"/>
                    <a:gd name="connsiteY190" fmla="*/ 173027 h 256431"/>
                    <a:gd name="connsiteX191" fmla="*/ 153965 w 350593"/>
                    <a:gd name="connsiteY191" fmla="*/ 173940 h 256431"/>
                    <a:gd name="connsiteX192" fmla="*/ 152718 w 350593"/>
                    <a:gd name="connsiteY192" fmla="*/ 174095 h 256431"/>
                    <a:gd name="connsiteX193" fmla="*/ 150249 w 350593"/>
                    <a:gd name="connsiteY193" fmla="*/ 172872 h 256431"/>
                    <a:gd name="connsiteX194" fmla="*/ 147396 w 350593"/>
                    <a:gd name="connsiteY194" fmla="*/ 174535 h 256431"/>
                    <a:gd name="connsiteX195" fmla="*/ 146182 w 350593"/>
                    <a:gd name="connsiteY195" fmla="*/ 174641 h 256431"/>
                    <a:gd name="connsiteX196" fmla="*/ 144479 w 350593"/>
                    <a:gd name="connsiteY196" fmla="*/ 174249 h 256431"/>
                    <a:gd name="connsiteX197" fmla="*/ 143077 w 350593"/>
                    <a:gd name="connsiteY197" fmla="*/ 173630 h 256431"/>
                    <a:gd name="connsiteX198" fmla="*/ 139287 w 350593"/>
                    <a:gd name="connsiteY198" fmla="*/ 169710 h 256431"/>
                    <a:gd name="connsiteX199" fmla="*/ 136101 w 350593"/>
                    <a:gd name="connsiteY199" fmla="*/ 168121 h 256431"/>
                    <a:gd name="connsiteX200" fmla="*/ 133819 w 350593"/>
                    <a:gd name="connsiteY200" fmla="*/ 167102 h 256431"/>
                    <a:gd name="connsiteX201" fmla="*/ 129418 w 350593"/>
                    <a:gd name="connsiteY201" fmla="*/ 165619 h 256431"/>
                    <a:gd name="connsiteX202" fmla="*/ 124707 w 350593"/>
                    <a:gd name="connsiteY202" fmla="*/ 164845 h 256431"/>
                    <a:gd name="connsiteX203" fmla="*/ 122303 w 350593"/>
                    <a:gd name="connsiteY203" fmla="*/ 164201 h 256431"/>
                    <a:gd name="connsiteX204" fmla="*/ 120551 w 350593"/>
                    <a:gd name="connsiteY204" fmla="*/ 163337 h 256431"/>
                    <a:gd name="connsiteX205" fmla="*/ 120111 w 350593"/>
                    <a:gd name="connsiteY205" fmla="*/ 162783 h 256431"/>
                    <a:gd name="connsiteX206" fmla="*/ 120135 w 350593"/>
                    <a:gd name="connsiteY206" fmla="*/ 161340 h 256431"/>
                    <a:gd name="connsiteX207" fmla="*/ 119997 w 350593"/>
                    <a:gd name="connsiteY207" fmla="*/ 159458 h 256431"/>
                    <a:gd name="connsiteX208" fmla="*/ 119427 w 350593"/>
                    <a:gd name="connsiteY208" fmla="*/ 158080 h 256431"/>
                    <a:gd name="connsiteX209" fmla="*/ 118237 w 350593"/>
                    <a:gd name="connsiteY209" fmla="*/ 156434 h 256431"/>
                    <a:gd name="connsiteX210" fmla="*/ 116590 w 350593"/>
                    <a:gd name="connsiteY210" fmla="*/ 155204 h 256431"/>
                    <a:gd name="connsiteX211" fmla="*/ 113738 w 350593"/>
                    <a:gd name="connsiteY211" fmla="*/ 155415 h 256431"/>
                    <a:gd name="connsiteX212" fmla="*/ 109467 w 350593"/>
                    <a:gd name="connsiteY212" fmla="*/ 155310 h 256431"/>
                    <a:gd name="connsiteX213" fmla="*/ 106199 w 350593"/>
                    <a:gd name="connsiteY213" fmla="*/ 154071 h 256431"/>
                    <a:gd name="connsiteX214" fmla="*/ 103608 w 350593"/>
                    <a:gd name="connsiteY214" fmla="*/ 153842 h 256431"/>
                    <a:gd name="connsiteX215" fmla="*/ 100495 w 350593"/>
                    <a:gd name="connsiteY215" fmla="*/ 154079 h 256431"/>
                    <a:gd name="connsiteX216" fmla="*/ 97928 w 350593"/>
                    <a:gd name="connsiteY216" fmla="*/ 154079 h 256431"/>
                    <a:gd name="connsiteX217" fmla="*/ 96086 w 350593"/>
                    <a:gd name="connsiteY217" fmla="*/ 154983 h 256431"/>
                    <a:gd name="connsiteX218" fmla="*/ 95034 w 350593"/>
                    <a:gd name="connsiteY218" fmla="*/ 156035 h 256431"/>
                    <a:gd name="connsiteX219" fmla="*/ 94358 w 350593"/>
                    <a:gd name="connsiteY219" fmla="*/ 159262 h 256431"/>
                    <a:gd name="connsiteX220" fmla="*/ 93730 w 350593"/>
                    <a:gd name="connsiteY220" fmla="*/ 159751 h 256431"/>
                    <a:gd name="connsiteX221" fmla="*/ 92663 w 350593"/>
                    <a:gd name="connsiteY221" fmla="*/ 159979 h 256431"/>
                    <a:gd name="connsiteX222" fmla="*/ 91228 w 350593"/>
                    <a:gd name="connsiteY222" fmla="*/ 159816 h 256431"/>
                    <a:gd name="connsiteX223" fmla="*/ 88237 w 350593"/>
                    <a:gd name="connsiteY223" fmla="*/ 159841 h 256431"/>
                    <a:gd name="connsiteX224" fmla="*/ 83054 w 350593"/>
                    <a:gd name="connsiteY224" fmla="*/ 159270 h 256431"/>
                    <a:gd name="connsiteX225" fmla="*/ 76526 w 350593"/>
                    <a:gd name="connsiteY225" fmla="*/ 159099 h 256431"/>
                    <a:gd name="connsiteX226" fmla="*/ 71628 w 350593"/>
                    <a:gd name="connsiteY226" fmla="*/ 160729 h 256431"/>
                    <a:gd name="connsiteX227" fmla="*/ 67741 w 350593"/>
                    <a:gd name="connsiteY227" fmla="*/ 163068 h 256431"/>
                    <a:gd name="connsiteX228" fmla="*/ 64057 w 350593"/>
                    <a:gd name="connsiteY228" fmla="*/ 165709 h 256431"/>
                    <a:gd name="connsiteX229" fmla="*/ 59697 w 350593"/>
                    <a:gd name="connsiteY229" fmla="*/ 169873 h 256431"/>
                    <a:gd name="connsiteX230" fmla="*/ 58425 w 350593"/>
                    <a:gd name="connsiteY230" fmla="*/ 171723 h 256431"/>
                    <a:gd name="connsiteX231" fmla="*/ 55858 w 350593"/>
                    <a:gd name="connsiteY231" fmla="*/ 179099 h 256431"/>
                    <a:gd name="connsiteX232" fmla="*/ 54726 w 350593"/>
                    <a:gd name="connsiteY232" fmla="*/ 180158 h 256431"/>
                    <a:gd name="connsiteX233" fmla="*/ 53242 w 350593"/>
                    <a:gd name="connsiteY233" fmla="*/ 181006 h 256431"/>
                    <a:gd name="connsiteX234" fmla="*/ 51735 w 350593"/>
                    <a:gd name="connsiteY234" fmla="*/ 181160 h 256431"/>
                    <a:gd name="connsiteX235" fmla="*/ 48752 w 350593"/>
                    <a:gd name="connsiteY235" fmla="*/ 182253 h 256431"/>
                    <a:gd name="connsiteX236" fmla="*/ 44816 w 350593"/>
                    <a:gd name="connsiteY236" fmla="*/ 184054 h 256431"/>
                    <a:gd name="connsiteX237" fmla="*/ 42126 w 350593"/>
                    <a:gd name="connsiteY237" fmla="*/ 184754 h 256431"/>
                    <a:gd name="connsiteX238" fmla="*/ 35248 w 350593"/>
                    <a:gd name="connsiteY238" fmla="*/ 184388 h 256431"/>
                    <a:gd name="connsiteX239" fmla="*/ 34840 w 350593"/>
                    <a:gd name="connsiteY239" fmla="*/ 182049 h 256431"/>
                    <a:gd name="connsiteX240" fmla="*/ 33610 w 350593"/>
                    <a:gd name="connsiteY240" fmla="*/ 173508 h 256431"/>
                    <a:gd name="connsiteX241" fmla="*/ 32998 w 350593"/>
                    <a:gd name="connsiteY241" fmla="*/ 164861 h 256431"/>
                    <a:gd name="connsiteX242" fmla="*/ 33039 w 350593"/>
                    <a:gd name="connsiteY242" fmla="*/ 160876 h 256431"/>
                    <a:gd name="connsiteX243" fmla="*/ 33764 w 350593"/>
                    <a:gd name="connsiteY243" fmla="*/ 152873 h 256431"/>
                    <a:gd name="connsiteX244" fmla="*/ 33699 w 350593"/>
                    <a:gd name="connsiteY244" fmla="*/ 148839 h 256431"/>
                    <a:gd name="connsiteX245" fmla="*/ 33414 w 350593"/>
                    <a:gd name="connsiteY245" fmla="*/ 145171 h 256431"/>
                    <a:gd name="connsiteX246" fmla="*/ 33691 w 350593"/>
                    <a:gd name="connsiteY246" fmla="*/ 141585 h 256431"/>
                    <a:gd name="connsiteX247" fmla="*/ 34245 w 350593"/>
                    <a:gd name="connsiteY247" fmla="*/ 137543 h 256431"/>
                    <a:gd name="connsiteX248" fmla="*/ 34522 w 350593"/>
                    <a:gd name="connsiteY248" fmla="*/ 133436 h 256431"/>
                    <a:gd name="connsiteX249" fmla="*/ 34115 w 350593"/>
                    <a:gd name="connsiteY249" fmla="*/ 130559 h 256431"/>
                    <a:gd name="connsiteX250" fmla="*/ 32786 w 350593"/>
                    <a:gd name="connsiteY250" fmla="*/ 128244 h 256431"/>
                    <a:gd name="connsiteX251" fmla="*/ 30529 w 350593"/>
                    <a:gd name="connsiteY251" fmla="*/ 125376 h 256431"/>
                    <a:gd name="connsiteX252" fmla="*/ 30178 w 350593"/>
                    <a:gd name="connsiteY252" fmla="*/ 123680 h 256431"/>
                    <a:gd name="connsiteX253" fmla="*/ 30048 w 350593"/>
                    <a:gd name="connsiteY253" fmla="*/ 121790 h 256431"/>
                    <a:gd name="connsiteX254" fmla="*/ 27888 w 350593"/>
                    <a:gd name="connsiteY254" fmla="*/ 121570 h 256431"/>
                    <a:gd name="connsiteX255" fmla="*/ 25949 w 350593"/>
                    <a:gd name="connsiteY255" fmla="*/ 119614 h 256431"/>
                    <a:gd name="connsiteX256" fmla="*/ 24352 w 350593"/>
                    <a:gd name="connsiteY256" fmla="*/ 118546 h 256431"/>
                    <a:gd name="connsiteX257" fmla="*/ 20920 w 350593"/>
                    <a:gd name="connsiteY257" fmla="*/ 117356 h 256431"/>
                    <a:gd name="connsiteX258" fmla="*/ 19193 w 350593"/>
                    <a:gd name="connsiteY258" fmla="*/ 117299 h 256431"/>
                    <a:gd name="connsiteX259" fmla="*/ 17620 w 350593"/>
                    <a:gd name="connsiteY259" fmla="*/ 118171 h 256431"/>
                    <a:gd name="connsiteX260" fmla="*/ 16455 w 350593"/>
                    <a:gd name="connsiteY260" fmla="*/ 119915 h 256431"/>
                    <a:gd name="connsiteX261" fmla="*/ 15639 w 350593"/>
                    <a:gd name="connsiteY261" fmla="*/ 117161 h 256431"/>
                    <a:gd name="connsiteX262" fmla="*/ 15664 w 350593"/>
                    <a:gd name="connsiteY262" fmla="*/ 114276 h 256431"/>
                    <a:gd name="connsiteX263" fmla="*/ 18418 w 350593"/>
                    <a:gd name="connsiteY263" fmla="*/ 108310 h 256431"/>
                    <a:gd name="connsiteX264" fmla="*/ 20130 w 350593"/>
                    <a:gd name="connsiteY264" fmla="*/ 110046 h 256431"/>
                    <a:gd name="connsiteX265" fmla="*/ 22241 w 350593"/>
                    <a:gd name="connsiteY265" fmla="*/ 110739 h 256431"/>
                    <a:gd name="connsiteX266" fmla="*/ 24906 w 350593"/>
                    <a:gd name="connsiteY266" fmla="*/ 110844 h 256431"/>
                    <a:gd name="connsiteX267" fmla="*/ 27530 w 350593"/>
                    <a:gd name="connsiteY267" fmla="*/ 110380 h 256431"/>
                    <a:gd name="connsiteX268" fmla="*/ 27025 w 350593"/>
                    <a:gd name="connsiteY268" fmla="*/ 108343 h 256431"/>
                    <a:gd name="connsiteX269" fmla="*/ 25802 w 350593"/>
                    <a:gd name="connsiteY269" fmla="*/ 107177 h 256431"/>
                    <a:gd name="connsiteX270" fmla="*/ 24287 w 350593"/>
                    <a:gd name="connsiteY270" fmla="*/ 106264 h 256431"/>
                    <a:gd name="connsiteX271" fmla="*/ 23748 w 350593"/>
                    <a:gd name="connsiteY271" fmla="*/ 103567 h 256431"/>
                    <a:gd name="connsiteX272" fmla="*/ 23936 w 350593"/>
                    <a:gd name="connsiteY272" fmla="*/ 100763 h 256431"/>
                    <a:gd name="connsiteX273" fmla="*/ 24661 w 350593"/>
                    <a:gd name="connsiteY273" fmla="*/ 98115 h 256431"/>
                    <a:gd name="connsiteX274" fmla="*/ 23838 w 350593"/>
                    <a:gd name="connsiteY274" fmla="*/ 97047 h 256431"/>
                    <a:gd name="connsiteX275" fmla="*/ 22599 w 350593"/>
                    <a:gd name="connsiteY275" fmla="*/ 96387 h 256431"/>
                    <a:gd name="connsiteX276" fmla="*/ 19731 w 350593"/>
                    <a:gd name="connsiteY276" fmla="*/ 96468 h 256431"/>
                    <a:gd name="connsiteX277" fmla="*/ 16006 w 350593"/>
                    <a:gd name="connsiteY277" fmla="*/ 95768 h 256431"/>
                    <a:gd name="connsiteX278" fmla="*/ 12257 w 350593"/>
                    <a:gd name="connsiteY278" fmla="*/ 95466 h 256431"/>
                    <a:gd name="connsiteX279" fmla="*/ 11385 w 350593"/>
                    <a:gd name="connsiteY279" fmla="*/ 98587 h 256431"/>
                    <a:gd name="connsiteX280" fmla="*/ 13464 w 350593"/>
                    <a:gd name="connsiteY280" fmla="*/ 102687 h 256431"/>
                    <a:gd name="connsiteX281" fmla="*/ 11703 w 350593"/>
                    <a:gd name="connsiteY281" fmla="*/ 100674 h 256431"/>
                    <a:gd name="connsiteX282" fmla="*/ 10049 w 350593"/>
                    <a:gd name="connsiteY282" fmla="*/ 98009 h 256431"/>
                    <a:gd name="connsiteX283" fmla="*/ 7726 w 350593"/>
                    <a:gd name="connsiteY283" fmla="*/ 93217 h 256431"/>
                    <a:gd name="connsiteX284" fmla="*/ 6227 w 350593"/>
                    <a:gd name="connsiteY284" fmla="*/ 87585 h 256431"/>
                    <a:gd name="connsiteX285" fmla="*/ 5974 w 350593"/>
                    <a:gd name="connsiteY285" fmla="*/ 81514 h 256431"/>
                    <a:gd name="connsiteX286" fmla="*/ 7229 w 350593"/>
                    <a:gd name="connsiteY286" fmla="*/ 76477 h 256431"/>
                    <a:gd name="connsiteX287" fmla="*/ 8843 w 350593"/>
                    <a:gd name="connsiteY287" fmla="*/ 71750 h 256431"/>
                    <a:gd name="connsiteX288" fmla="*/ 9829 w 350593"/>
                    <a:gd name="connsiteY288" fmla="*/ 65687 h 256431"/>
                    <a:gd name="connsiteX289" fmla="*/ 11166 w 350593"/>
                    <a:gd name="connsiteY289" fmla="*/ 59738 h 256431"/>
                    <a:gd name="connsiteX290" fmla="*/ 12502 w 350593"/>
                    <a:gd name="connsiteY290" fmla="*/ 62411 h 256431"/>
                    <a:gd name="connsiteX291" fmla="*/ 14042 w 350593"/>
                    <a:gd name="connsiteY291" fmla="*/ 64799 h 256431"/>
                    <a:gd name="connsiteX292" fmla="*/ 16169 w 350593"/>
                    <a:gd name="connsiteY292" fmla="*/ 67007 h 256431"/>
                    <a:gd name="connsiteX293" fmla="*/ 17327 w 350593"/>
                    <a:gd name="connsiteY293" fmla="*/ 67537 h 256431"/>
                    <a:gd name="connsiteX294" fmla="*/ 20831 w 350593"/>
                    <a:gd name="connsiteY294" fmla="*/ 68450 h 256431"/>
                    <a:gd name="connsiteX295" fmla="*/ 23072 w 350593"/>
                    <a:gd name="connsiteY295" fmla="*/ 68107 h 256431"/>
                    <a:gd name="connsiteX296" fmla="*/ 25476 w 350593"/>
                    <a:gd name="connsiteY296" fmla="*/ 66795 h 256431"/>
                    <a:gd name="connsiteX297" fmla="*/ 27832 w 350593"/>
                    <a:gd name="connsiteY297" fmla="*/ 67227 h 256431"/>
                    <a:gd name="connsiteX298" fmla="*/ 29771 w 350593"/>
                    <a:gd name="connsiteY298" fmla="*/ 69680 h 256431"/>
                    <a:gd name="connsiteX299" fmla="*/ 31507 w 350593"/>
                    <a:gd name="connsiteY299" fmla="*/ 72435 h 256431"/>
                    <a:gd name="connsiteX300" fmla="*/ 34147 w 350593"/>
                    <a:gd name="connsiteY300" fmla="*/ 73013 h 256431"/>
                    <a:gd name="connsiteX301" fmla="*/ 39575 w 350593"/>
                    <a:gd name="connsiteY301" fmla="*/ 71017 h 256431"/>
                    <a:gd name="connsiteX302" fmla="*/ 42150 w 350593"/>
                    <a:gd name="connsiteY302" fmla="*/ 70569 h 256431"/>
                    <a:gd name="connsiteX303" fmla="*/ 44392 w 350593"/>
                    <a:gd name="connsiteY303" fmla="*/ 71473 h 256431"/>
                    <a:gd name="connsiteX304" fmla="*/ 45549 w 350593"/>
                    <a:gd name="connsiteY304" fmla="*/ 71644 h 256431"/>
                    <a:gd name="connsiteX305" fmla="*/ 46723 w 350593"/>
                    <a:gd name="connsiteY305" fmla="*/ 71498 h 256431"/>
                    <a:gd name="connsiteX306" fmla="*/ 45712 w 350593"/>
                    <a:gd name="connsiteY306" fmla="*/ 69053 h 256431"/>
                    <a:gd name="connsiteX307" fmla="*/ 45288 w 350593"/>
                    <a:gd name="connsiteY307" fmla="*/ 66681 h 256431"/>
                    <a:gd name="connsiteX308" fmla="*/ 46649 w 350593"/>
                    <a:gd name="connsiteY308" fmla="*/ 65426 h 256431"/>
                    <a:gd name="connsiteX309" fmla="*/ 50928 w 350593"/>
                    <a:gd name="connsiteY309" fmla="*/ 66755 h 256431"/>
                    <a:gd name="connsiteX310" fmla="*/ 53658 w 350593"/>
                    <a:gd name="connsiteY310" fmla="*/ 65866 h 256431"/>
                    <a:gd name="connsiteX311" fmla="*/ 54351 w 350593"/>
                    <a:gd name="connsiteY311" fmla="*/ 65369 h 256431"/>
                    <a:gd name="connsiteX312" fmla="*/ 54970 w 350593"/>
                    <a:gd name="connsiteY312" fmla="*/ 64750 h 256431"/>
                    <a:gd name="connsiteX313" fmla="*/ 55304 w 350593"/>
                    <a:gd name="connsiteY313" fmla="*/ 62696 h 256431"/>
                    <a:gd name="connsiteX314" fmla="*/ 55157 w 350593"/>
                    <a:gd name="connsiteY314" fmla="*/ 60601 h 256431"/>
                    <a:gd name="connsiteX315" fmla="*/ 54815 w 350593"/>
                    <a:gd name="connsiteY315" fmla="*/ 58613 h 256431"/>
                    <a:gd name="connsiteX316" fmla="*/ 54008 w 350593"/>
                    <a:gd name="connsiteY316" fmla="*/ 56869 h 256431"/>
                    <a:gd name="connsiteX317" fmla="*/ 52045 w 350593"/>
                    <a:gd name="connsiteY317" fmla="*/ 54432 h 256431"/>
                    <a:gd name="connsiteX318" fmla="*/ 44408 w 350593"/>
                    <a:gd name="connsiteY318" fmla="*/ 48621 h 256431"/>
                    <a:gd name="connsiteX319" fmla="*/ 41849 w 350593"/>
                    <a:gd name="connsiteY319" fmla="*/ 46299 h 256431"/>
                    <a:gd name="connsiteX320" fmla="*/ 39706 w 350593"/>
                    <a:gd name="connsiteY320" fmla="*/ 43291 h 256431"/>
                    <a:gd name="connsiteX321" fmla="*/ 38345 w 350593"/>
                    <a:gd name="connsiteY321" fmla="*/ 39045 h 256431"/>
                    <a:gd name="connsiteX322" fmla="*/ 37236 w 350593"/>
                    <a:gd name="connsiteY322" fmla="*/ 34612 h 256431"/>
                    <a:gd name="connsiteX323" fmla="*/ 36201 w 350593"/>
                    <a:gd name="connsiteY323" fmla="*/ 31319 h 256431"/>
                    <a:gd name="connsiteX324" fmla="*/ 33545 w 350593"/>
                    <a:gd name="connsiteY324" fmla="*/ 23675 h 256431"/>
                    <a:gd name="connsiteX325" fmla="*/ 32509 w 350593"/>
                    <a:gd name="connsiteY325" fmla="*/ 22762 h 256431"/>
                    <a:gd name="connsiteX326" fmla="*/ 31214 w 350593"/>
                    <a:gd name="connsiteY326" fmla="*/ 22355 h 256431"/>
                    <a:gd name="connsiteX327" fmla="*/ 28044 w 350593"/>
                    <a:gd name="connsiteY327" fmla="*/ 22118 h 256431"/>
                    <a:gd name="connsiteX328" fmla="*/ 24849 w 350593"/>
                    <a:gd name="connsiteY328" fmla="*/ 22673 h 256431"/>
                    <a:gd name="connsiteX329" fmla="*/ 19608 w 350593"/>
                    <a:gd name="connsiteY329" fmla="*/ 23993 h 256431"/>
                    <a:gd name="connsiteX330" fmla="*/ 16617 w 350593"/>
                    <a:gd name="connsiteY330" fmla="*/ 23577 h 256431"/>
                    <a:gd name="connsiteX331" fmla="*/ 15232 w 350593"/>
                    <a:gd name="connsiteY331" fmla="*/ 24400 h 256431"/>
                    <a:gd name="connsiteX332" fmla="*/ 11793 w 350593"/>
                    <a:gd name="connsiteY332" fmla="*/ 27628 h 256431"/>
                    <a:gd name="connsiteX333" fmla="*/ 10196 w 350593"/>
                    <a:gd name="connsiteY333" fmla="*/ 30382 h 256431"/>
                    <a:gd name="connsiteX334" fmla="*/ 7954 w 350593"/>
                    <a:gd name="connsiteY334" fmla="*/ 36698 h 256431"/>
                    <a:gd name="connsiteX335" fmla="*/ 9649 w 350593"/>
                    <a:gd name="connsiteY335" fmla="*/ 38728 h 256431"/>
                    <a:gd name="connsiteX336" fmla="*/ 9625 w 350593"/>
                    <a:gd name="connsiteY336" fmla="*/ 40064 h 256431"/>
                    <a:gd name="connsiteX337" fmla="*/ 8329 w 350593"/>
                    <a:gd name="connsiteY337" fmla="*/ 49363 h 256431"/>
                    <a:gd name="connsiteX338" fmla="*/ 9128 w 350593"/>
                    <a:gd name="connsiteY338" fmla="*/ 53870 h 256431"/>
                    <a:gd name="connsiteX339" fmla="*/ 8843 w 350593"/>
                    <a:gd name="connsiteY339" fmla="*/ 54204 h 256431"/>
                    <a:gd name="connsiteX340" fmla="*/ 8223 w 350593"/>
                    <a:gd name="connsiteY340" fmla="*/ 53161 h 256431"/>
                    <a:gd name="connsiteX341" fmla="*/ 6283 w 350593"/>
                    <a:gd name="connsiteY341" fmla="*/ 48564 h 256431"/>
                    <a:gd name="connsiteX342" fmla="*/ 2869 w 350593"/>
                    <a:gd name="connsiteY342" fmla="*/ 42957 h 256431"/>
                    <a:gd name="connsiteX343" fmla="*/ 0 w 350593"/>
                    <a:gd name="connsiteY343" fmla="*/ 34359 h 256431"/>
                    <a:gd name="connsiteX344" fmla="*/ 5037 w 350593"/>
                    <a:gd name="connsiteY344" fmla="*/ 28728 h 256431"/>
                    <a:gd name="connsiteX345" fmla="*/ 9332 w 350593"/>
                    <a:gd name="connsiteY345" fmla="*/ 24734 h 256431"/>
                    <a:gd name="connsiteX346" fmla="*/ 12860 w 350593"/>
                    <a:gd name="connsiteY346" fmla="*/ 22330 h 256431"/>
                    <a:gd name="connsiteX347" fmla="*/ 13936 w 350593"/>
                    <a:gd name="connsiteY347" fmla="*/ 21743 h 256431"/>
                    <a:gd name="connsiteX348" fmla="*/ 18761 w 350593"/>
                    <a:gd name="connsiteY348" fmla="*/ 19747 h 256431"/>
                    <a:gd name="connsiteX349" fmla="*/ 24971 w 350593"/>
                    <a:gd name="connsiteY349" fmla="*/ 17938 h 256431"/>
                    <a:gd name="connsiteX350" fmla="*/ 29551 w 350593"/>
                    <a:gd name="connsiteY350" fmla="*/ 16609 h 256431"/>
                    <a:gd name="connsiteX351" fmla="*/ 35525 w 350593"/>
                    <a:gd name="connsiteY351" fmla="*/ 15485 h 256431"/>
                    <a:gd name="connsiteX352" fmla="*/ 37473 w 350593"/>
                    <a:gd name="connsiteY352" fmla="*/ 15273 h 256431"/>
                    <a:gd name="connsiteX353" fmla="*/ 40358 w 350593"/>
                    <a:gd name="connsiteY353" fmla="*/ 15297 h 256431"/>
                    <a:gd name="connsiteX354" fmla="*/ 42680 w 350593"/>
                    <a:gd name="connsiteY354" fmla="*/ 16365 h 256431"/>
                    <a:gd name="connsiteX355" fmla="*/ 44090 w 350593"/>
                    <a:gd name="connsiteY355" fmla="*/ 17204 h 256431"/>
                    <a:gd name="connsiteX356" fmla="*/ 49078 w 350593"/>
                    <a:gd name="connsiteY356" fmla="*/ 20635 h 256431"/>
                    <a:gd name="connsiteX357" fmla="*/ 54163 w 350593"/>
                    <a:gd name="connsiteY357" fmla="*/ 24140 h 256431"/>
                    <a:gd name="connsiteX358" fmla="*/ 58531 w 350593"/>
                    <a:gd name="connsiteY358" fmla="*/ 28019 h 256431"/>
                    <a:gd name="connsiteX359" fmla="*/ 59754 w 350593"/>
                    <a:gd name="connsiteY359" fmla="*/ 29600 h 256431"/>
                    <a:gd name="connsiteX360" fmla="*/ 60455 w 350593"/>
                    <a:gd name="connsiteY360" fmla="*/ 31491 h 256431"/>
                    <a:gd name="connsiteX361" fmla="*/ 60960 w 350593"/>
                    <a:gd name="connsiteY361" fmla="*/ 33341 h 256431"/>
                    <a:gd name="connsiteX362" fmla="*/ 64677 w 350593"/>
                    <a:gd name="connsiteY362" fmla="*/ 39216 h 256431"/>
                    <a:gd name="connsiteX363" fmla="*/ 66176 w 350593"/>
                    <a:gd name="connsiteY363" fmla="*/ 41906 h 256431"/>
                    <a:gd name="connsiteX364" fmla="*/ 68352 w 350593"/>
                    <a:gd name="connsiteY364" fmla="*/ 45402 h 256431"/>
                    <a:gd name="connsiteX365" fmla="*/ 70080 w 350593"/>
                    <a:gd name="connsiteY365" fmla="*/ 47097 h 256431"/>
                    <a:gd name="connsiteX366" fmla="*/ 71783 w 350593"/>
                    <a:gd name="connsiteY366" fmla="*/ 49200 h 256431"/>
                    <a:gd name="connsiteX367" fmla="*/ 72932 w 350593"/>
                    <a:gd name="connsiteY367" fmla="*/ 50936 h 256431"/>
                    <a:gd name="connsiteX368" fmla="*/ 74236 w 350593"/>
                    <a:gd name="connsiteY368" fmla="*/ 51759 h 256431"/>
                    <a:gd name="connsiteX369" fmla="*/ 75679 w 350593"/>
                    <a:gd name="connsiteY369" fmla="*/ 52085 h 256431"/>
                    <a:gd name="connsiteX370" fmla="*/ 78979 w 350593"/>
                    <a:gd name="connsiteY370" fmla="*/ 51531 h 256431"/>
                    <a:gd name="connsiteX371" fmla="*/ 82965 w 350593"/>
                    <a:gd name="connsiteY371" fmla="*/ 50439 h 256431"/>
                    <a:gd name="connsiteX372" fmla="*/ 85344 w 350593"/>
                    <a:gd name="connsiteY372" fmla="*/ 49982 h 256431"/>
                    <a:gd name="connsiteX373" fmla="*/ 86395 w 350593"/>
                    <a:gd name="connsiteY373" fmla="*/ 50048 h 256431"/>
                    <a:gd name="connsiteX374" fmla="*/ 92964 w 350593"/>
                    <a:gd name="connsiteY374" fmla="*/ 50431 h 256431"/>
                    <a:gd name="connsiteX375" fmla="*/ 98856 w 350593"/>
                    <a:gd name="connsiteY375" fmla="*/ 50789 h 256431"/>
                    <a:gd name="connsiteX376" fmla="*/ 106150 w 350593"/>
                    <a:gd name="connsiteY376" fmla="*/ 51221 h 256431"/>
                    <a:gd name="connsiteX377" fmla="*/ 108318 w 350593"/>
                    <a:gd name="connsiteY377" fmla="*/ 51620 h 256431"/>
                    <a:gd name="connsiteX378" fmla="*/ 110910 w 350593"/>
                    <a:gd name="connsiteY378" fmla="*/ 51995 h 256431"/>
                    <a:gd name="connsiteX379" fmla="*/ 112206 w 350593"/>
                    <a:gd name="connsiteY379" fmla="*/ 52052 h 256431"/>
                    <a:gd name="connsiteX380" fmla="*/ 113363 w 350593"/>
                    <a:gd name="connsiteY380" fmla="*/ 50553 h 256431"/>
                    <a:gd name="connsiteX381" fmla="*/ 114121 w 350593"/>
                    <a:gd name="connsiteY381" fmla="*/ 49730 h 256431"/>
                    <a:gd name="connsiteX382" fmla="*/ 114716 w 350593"/>
                    <a:gd name="connsiteY382" fmla="*/ 49086 h 256431"/>
                    <a:gd name="connsiteX383" fmla="*/ 114585 w 350593"/>
                    <a:gd name="connsiteY383" fmla="*/ 48352 h 256431"/>
                    <a:gd name="connsiteX384" fmla="*/ 113672 w 350593"/>
                    <a:gd name="connsiteY384" fmla="*/ 47725 h 256431"/>
                    <a:gd name="connsiteX385" fmla="*/ 112206 w 350593"/>
                    <a:gd name="connsiteY385" fmla="*/ 45655 h 256431"/>
                    <a:gd name="connsiteX386" fmla="*/ 111383 w 350593"/>
                    <a:gd name="connsiteY386" fmla="*/ 38165 h 256431"/>
                    <a:gd name="connsiteX387" fmla="*/ 110877 w 350593"/>
                    <a:gd name="connsiteY387" fmla="*/ 31743 h 256431"/>
                    <a:gd name="connsiteX388" fmla="*/ 112605 w 350593"/>
                    <a:gd name="connsiteY388" fmla="*/ 29747 h 256431"/>
                    <a:gd name="connsiteX389" fmla="*/ 114577 w 350593"/>
                    <a:gd name="connsiteY389" fmla="*/ 28296 h 256431"/>
                    <a:gd name="connsiteX390" fmla="*/ 117446 w 350593"/>
                    <a:gd name="connsiteY390" fmla="*/ 23919 h 256431"/>
                    <a:gd name="connsiteX391" fmla="*/ 118978 w 350593"/>
                    <a:gd name="connsiteY391" fmla="*/ 22567 h 256431"/>
                    <a:gd name="connsiteX392" fmla="*/ 121227 w 350593"/>
                    <a:gd name="connsiteY392" fmla="*/ 21450 h 256431"/>
                    <a:gd name="connsiteX393" fmla="*/ 128782 w 350593"/>
                    <a:gd name="connsiteY393" fmla="*/ 21157 h 256431"/>
                    <a:gd name="connsiteX394" fmla="*/ 131961 w 350593"/>
                    <a:gd name="connsiteY394" fmla="*/ 20293 h 256431"/>
                    <a:gd name="connsiteX395" fmla="*/ 133004 w 350593"/>
                    <a:gd name="connsiteY395" fmla="*/ 18875 h 256431"/>
                    <a:gd name="connsiteX396" fmla="*/ 134675 w 350593"/>
                    <a:gd name="connsiteY396" fmla="*/ 15297 h 256431"/>
                    <a:gd name="connsiteX397" fmla="*/ 135212 w 350593"/>
                    <a:gd name="connsiteY397" fmla="*/ 12379 h 256431"/>
                    <a:gd name="connsiteX398" fmla="*/ 136158 w 350593"/>
                    <a:gd name="connsiteY398" fmla="*/ 11043 h 256431"/>
                    <a:gd name="connsiteX399" fmla="*/ 137290 w 350593"/>
                    <a:gd name="connsiteY399" fmla="*/ 10041 h 256431"/>
                    <a:gd name="connsiteX400" fmla="*/ 138440 w 350593"/>
                    <a:gd name="connsiteY400" fmla="*/ 10081 h 256431"/>
                    <a:gd name="connsiteX401" fmla="*/ 140673 w 350593"/>
                    <a:gd name="connsiteY401" fmla="*/ 10937 h 256431"/>
                    <a:gd name="connsiteX402" fmla="*/ 142376 w 350593"/>
                    <a:gd name="connsiteY402" fmla="*/ 11418 h 256431"/>
                    <a:gd name="connsiteX403" fmla="*/ 143582 w 350593"/>
                    <a:gd name="connsiteY403" fmla="*/ 12070 h 256431"/>
                    <a:gd name="connsiteX404" fmla="*/ 144683 w 350593"/>
                    <a:gd name="connsiteY404" fmla="*/ 13105 h 256431"/>
                    <a:gd name="connsiteX405" fmla="*/ 145758 w 350593"/>
                    <a:gd name="connsiteY405" fmla="*/ 14898 h 256431"/>
                    <a:gd name="connsiteX406" fmla="*/ 145929 w 350593"/>
                    <a:gd name="connsiteY406" fmla="*/ 16079 h 256431"/>
                    <a:gd name="connsiteX407" fmla="*/ 146427 w 350593"/>
                    <a:gd name="connsiteY407" fmla="*/ 16764 h 256431"/>
                    <a:gd name="connsiteX408" fmla="*/ 147274 w 350593"/>
                    <a:gd name="connsiteY408" fmla="*/ 16772 h 256431"/>
                    <a:gd name="connsiteX409" fmla="*/ 147918 w 350593"/>
                    <a:gd name="connsiteY409" fmla="*/ 16788 h 256431"/>
                    <a:gd name="connsiteX410" fmla="*/ 148350 w 350593"/>
                    <a:gd name="connsiteY410" fmla="*/ 16520 h 256431"/>
                    <a:gd name="connsiteX411" fmla="*/ 148619 w 350593"/>
                    <a:gd name="connsiteY411" fmla="*/ 15925 h 256431"/>
                    <a:gd name="connsiteX412" fmla="*/ 148407 w 350593"/>
                    <a:gd name="connsiteY412" fmla="*/ 15118 h 256431"/>
                    <a:gd name="connsiteX413" fmla="*/ 146940 w 350593"/>
                    <a:gd name="connsiteY413" fmla="*/ 12828 h 256431"/>
                    <a:gd name="connsiteX414" fmla="*/ 143729 w 350593"/>
                    <a:gd name="connsiteY414" fmla="*/ 8671 h 256431"/>
                    <a:gd name="connsiteX415" fmla="*/ 141634 w 350593"/>
                    <a:gd name="connsiteY415" fmla="*/ 6976 h 256431"/>
                    <a:gd name="connsiteX416" fmla="*/ 140591 w 350593"/>
                    <a:gd name="connsiteY416" fmla="*/ 6055 h 256431"/>
                    <a:gd name="connsiteX417" fmla="*/ 140331 w 350593"/>
                    <a:gd name="connsiteY417" fmla="*/ 5191 h 256431"/>
                    <a:gd name="connsiteX418" fmla="*/ 141692 w 350593"/>
                    <a:gd name="connsiteY418" fmla="*/ 3879 h 256431"/>
                    <a:gd name="connsiteX419" fmla="*/ 143012 w 350593"/>
                    <a:gd name="connsiteY419" fmla="*/ 3121 h 256431"/>
                    <a:gd name="connsiteX420" fmla="*/ 145326 w 350593"/>
                    <a:gd name="connsiteY420" fmla="*/ 3684 h 256431"/>
                    <a:gd name="connsiteX421" fmla="*/ 148407 w 350593"/>
                    <a:gd name="connsiteY421" fmla="*/ 3993 h 256431"/>
                    <a:gd name="connsiteX422" fmla="*/ 149776 w 350593"/>
                    <a:gd name="connsiteY422" fmla="*/ 3333 h 256431"/>
                    <a:gd name="connsiteX423" fmla="*/ 151186 w 350593"/>
                    <a:gd name="connsiteY423" fmla="*/ 0 h 256431"/>
                    <a:gd name="connsiteX424" fmla="*/ 154764 w 350593"/>
                    <a:gd name="connsiteY424" fmla="*/ 3586 h 256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Lst>
                  <a:rect l="l" t="t" r="r" b="b"/>
                  <a:pathLst>
                    <a:path w="350593" h="256431">
                      <a:moveTo>
                        <a:pt x="154764" y="3586"/>
                      </a:moveTo>
                      <a:lnTo>
                        <a:pt x="158406" y="7539"/>
                      </a:lnTo>
                      <a:lnTo>
                        <a:pt x="159743" y="8264"/>
                      </a:lnTo>
                      <a:lnTo>
                        <a:pt x="162343" y="8688"/>
                      </a:lnTo>
                      <a:lnTo>
                        <a:pt x="164511" y="8843"/>
                      </a:lnTo>
                      <a:lnTo>
                        <a:pt x="165415" y="9266"/>
                      </a:lnTo>
                      <a:lnTo>
                        <a:pt x="166385" y="10293"/>
                      </a:lnTo>
                      <a:lnTo>
                        <a:pt x="168309" y="14612"/>
                      </a:lnTo>
                      <a:lnTo>
                        <a:pt x="170232" y="15745"/>
                      </a:lnTo>
                      <a:lnTo>
                        <a:pt x="172636" y="16560"/>
                      </a:lnTo>
                      <a:lnTo>
                        <a:pt x="180362" y="16495"/>
                      </a:lnTo>
                      <a:lnTo>
                        <a:pt x="182725" y="16715"/>
                      </a:lnTo>
                      <a:lnTo>
                        <a:pt x="184673" y="18752"/>
                      </a:lnTo>
                      <a:lnTo>
                        <a:pt x="185871" y="19584"/>
                      </a:lnTo>
                      <a:lnTo>
                        <a:pt x="186385" y="20309"/>
                      </a:lnTo>
                      <a:lnTo>
                        <a:pt x="186254" y="21206"/>
                      </a:lnTo>
                      <a:lnTo>
                        <a:pt x="185774" y="22338"/>
                      </a:lnTo>
                      <a:lnTo>
                        <a:pt x="185708" y="24531"/>
                      </a:lnTo>
                      <a:lnTo>
                        <a:pt x="185586" y="26226"/>
                      </a:lnTo>
                      <a:lnTo>
                        <a:pt x="184975" y="27033"/>
                      </a:lnTo>
                      <a:lnTo>
                        <a:pt x="184796" y="27782"/>
                      </a:lnTo>
                      <a:lnTo>
                        <a:pt x="185300" y="28434"/>
                      </a:lnTo>
                      <a:lnTo>
                        <a:pt x="188870" y="30048"/>
                      </a:lnTo>
                      <a:lnTo>
                        <a:pt x="190085" y="31776"/>
                      </a:lnTo>
                      <a:lnTo>
                        <a:pt x="190973" y="32550"/>
                      </a:lnTo>
                      <a:lnTo>
                        <a:pt x="191193" y="33626"/>
                      </a:lnTo>
                      <a:lnTo>
                        <a:pt x="190590" y="34335"/>
                      </a:lnTo>
                      <a:lnTo>
                        <a:pt x="188911" y="33976"/>
                      </a:lnTo>
                      <a:lnTo>
                        <a:pt x="188088" y="35109"/>
                      </a:lnTo>
                      <a:lnTo>
                        <a:pt x="188088" y="37138"/>
                      </a:lnTo>
                      <a:lnTo>
                        <a:pt x="189286" y="39045"/>
                      </a:lnTo>
                      <a:lnTo>
                        <a:pt x="189636" y="40781"/>
                      </a:lnTo>
                      <a:lnTo>
                        <a:pt x="188838" y="42460"/>
                      </a:lnTo>
                      <a:lnTo>
                        <a:pt x="187917" y="44824"/>
                      </a:lnTo>
                      <a:lnTo>
                        <a:pt x="187876" y="46494"/>
                      </a:lnTo>
                      <a:lnTo>
                        <a:pt x="188430" y="47456"/>
                      </a:lnTo>
                      <a:lnTo>
                        <a:pt x="191169" y="49175"/>
                      </a:lnTo>
                      <a:lnTo>
                        <a:pt x="197493" y="53536"/>
                      </a:lnTo>
                      <a:lnTo>
                        <a:pt x="198943" y="53715"/>
                      </a:lnTo>
                      <a:lnTo>
                        <a:pt x="204925" y="52704"/>
                      </a:lnTo>
                      <a:lnTo>
                        <a:pt x="207712" y="52607"/>
                      </a:lnTo>
                      <a:lnTo>
                        <a:pt x="209351" y="53283"/>
                      </a:lnTo>
                      <a:lnTo>
                        <a:pt x="213971" y="53902"/>
                      </a:lnTo>
                      <a:lnTo>
                        <a:pt x="215447" y="54595"/>
                      </a:lnTo>
                      <a:lnTo>
                        <a:pt x="217012" y="54636"/>
                      </a:lnTo>
                      <a:lnTo>
                        <a:pt x="219163" y="54440"/>
                      </a:lnTo>
                      <a:lnTo>
                        <a:pt x="220613" y="52493"/>
                      </a:lnTo>
                      <a:lnTo>
                        <a:pt x="221363" y="52044"/>
                      </a:lnTo>
                      <a:lnTo>
                        <a:pt x="222015" y="51718"/>
                      </a:lnTo>
                      <a:lnTo>
                        <a:pt x="223336" y="51669"/>
                      </a:lnTo>
                      <a:lnTo>
                        <a:pt x="226995" y="52908"/>
                      </a:lnTo>
                      <a:lnTo>
                        <a:pt x="230841" y="55516"/>
                      </a:lnTo>
                      <a:lnTo>
                        <a:pt x="233401" y="57896"/>
                      </a:lnTo>
                      <a:lnTo>
                        <a:pt x="234648" y="60047"/>
                      </a:lnTo>
                      <a:lnTo>
                        <a:pt x="236245" y="64717"/>
                      </a:lnTo>
                      <a:lnTo>
                        <a:pt x="238160" y="71889"/>
                      </a:lnTo>
                      <a:lnTo>
                        <a:pt x="240474" y="76730"/>
                      </a:lnTo>
                      <a:lnTo>
                        <a:pt x="243196" y="79232"/>
                      </a:lnTo>
                      <a:lnTo>
                        <a:pt x="245095" y="83836"/>
                      </a:lnTo>
                      <a:lnTo>
                        <a:pt x="246741" y="93877"/>
                      </a:lnTo>
                      <a:lnTo>
                        <a:pt x="247776" y="95930"/>
                      </a:lnTo>
                      <a:lnTo>
                        <a:pt x="248820" y="96998"/>
                      </a:lnTo>
                      <a:lnTo>
                        <a:pt x="251941" y="99899"/>
                      </a:lnTo>
                      <a:lnTo>
                        <a:pt x="258281" y="104692"/>
                      </a:lnTo>
                      <a:lnTo>
                        <a:pt x="262038" y="107519"/>
                      </a:lnTo>
                      <a:lnTo>
                        <a:pt x="267841" y="112051"/>
                      </a:lnTo>
                      <a:lnTo>
                        <a:pt x="273138" y="116183"/>
                      </a:lnTo>
                      <a:lnTo>
                        <a:pt x="278468" y="122556"/>
                      </a:lnTo>
                      <a:lnTo>
                        <a:pt x="279536" y="123485"/>
                      </a:lnTo>
                      <a:lnTo>
                        <a:pt x="284214" y="126932"/>
                      </a:lnTo>
                      <a:lnTo>
                        <a:pt x="289438" y="130469"/>
                      </a:lnTo>
                      <a:lnTo>
                        <a:pt x="293089" y="129670"/>
                      </a:lnTo>
                      <a:lnTo>
                        <a:pt x="298590" y="135098"/>
                      </a:lnTo>
                      <a:lnTo>
                        <a:pt x="300815" y="137111"/>
                      </a:lnTo>
                      <a:lnTo>
                        <a:pt x="301760" y="137796"/>
                      </a:lnTo>
                      <a:lnTo>
                        <a:pt x="305737" y="139931"/>
                      </a:lnTo>
                      <a:lnTo>
                        <a:pt x="312086" y="144405"/>
                      </a:lnTo>
                      <a:lnTo>
                        <a:pt x="320089" y="150803"/>
                      </a:lnTo>
                      <a:lnTo>
                        <a:pt x="325378" y="154503"/>
                      </a:lnTo>
                      <a:lnTo>
                        <a:pt x="326829" y="154935"/>
                      </a:lnTo>
                      <a:lnTo>
                        <a:pt x="328247" y="154910"/>
                      </a:lnTo>
                      <a:lnTo>
                        <a:pt x="329779" y="154120"/>
                      </a:lnTo>
                      <a:lnTo>
                        <a:pt x="331434" y="153484"/>
                      </a:lnTo>
                      <a:lnTo>
                        <a:pt x="334270" y="154315"/>
                      </a:lnTo>
                      <a:lnTo>
                        <a:pt x="337342" y="155798"/>
                      </a:lnTo>
                      <a:lnTo>
                        <a:pt x="339273" y="156915"/>
                      </a:lnTo>
                      <a:lnTo>
                        <a:pt x="341523" y="158545"/>
                      </a:lnTo>
                      <a:lnTo>
                        <a:pt x="343292" y="160077"/>
                      </a:lnTo>
                      <a:lnTo>
                        <a:pt x="344644" y="160786"/>
                      </a:lnTo>
                      <a:lnTo>
                        <a:pt x="349224" y="162131"/>
                      </a:lnTo>
                      <a:lnTo>
                        <a:pt x="350015" y="162938"/>
                      </a:lnTo>
                      <a:lnTo>
                        <a:pt x="350520" y="163834"/>
                      </a:lnTo>
                      <a:lnTo>
                        <a:pt x="350594" y="164771"/>
                      </a:lnTo>
                      <a:lnTo>
                        <a:pt x="348027" y="169669"/>
                      </a:lnTo>
                      <a:lnTo>
                        <a:pt x="347676" y="175904"/>
                      </a:lnTo>
                      <a:lnTo>
                        <a:pt x="347651" y="180590"/>
                      </a:lnTo>
                      <a:lnTo>
                        <a:pt x="347945" y="184274"/>
                      </a:lnTo>
                      <a:lnTo>
                        <a:pt x="346698" y="184396"/>
                      </a:lnTo>
                      <a:lnTo>
                        <a:pt x="343683" y="183613"/>
                      </a:lnTo>
                      <a:lnTo>
                        <a:pt x="337684" y="182057"/>
                      </a:lnTo>
                      <a:lnTo>
                        <a:pt x="332525" y="178944"/>
                      </a:lnTo>
                      <a:lnTo>
                        <a:pt x="329168" y="176906"/>
                      </a:lnTo>
                      <a:lnTo>
                        <a:pt x="328638" y="177183"/>
                      </a:lnTo>
                      <a:lnTo>
                        <a:pt x="327130" y="178569"/>
                      </a:lnTo>
                      <a:lnTo>
                        <a:pt x="326087" y="180280"/>
                      </a:lnTo>
                      <a:lnTo>
                        <a:pt x="325264" y="183605"/>
                      </a:lnTo>
                      <a:lnTo>
                        <a:pt x="323944" y="187509"/>
                      </a:lnTo>
                      <a:lnTo>
                        <a:pt x="317718" y="187656"/>
                      </a:lnTo>
                      <a:lnTo>
                        <a:pt x="312412" y="187957"/>
                      </a:lnTo>
                      <a:lnTo>
                        <a:pt x="308989" y="189432"/>
                      </a:lnTo>
                      <a:lnTo>
                        <a:pt x="305640" y="191478"/>
                      </a:lnTo>
                      <a:lnTo>
                        <a:pt x="304792" y="193907"/>
                      </a:lnTo>
                      <a:lnTo>
                        <a:pt x="304067" y="197052"/>
                      </a:lnTo>
                      <a:lnTo>
                        <a:pt x="302111" y="204183"/>
                      </a:lnTo>
                      <a:lnTo>
                        <a:pt x="300326" y="210679"/>
                      </a:lnTo>
                      <a:lnTo>
                        <a:pt x="299430" y="214900"/>
                      </a:lnTo>
                      <a:lnTo>
                        <a:pt x="298069" y="217785"/>
                      </a:lnTo>
                      <a:lnTo>
                        <a:pt x="294271" y="221575"/>
                      </a:lnTo>
                      <a:lnTo>
                        <a:pt x="289968" y="224134"/>
                      </a:lnTo>
                      <a:lnTo>
                        <a:pt x="287686" y="225332"/>
                      </a:lnTo>
                      <a:lnTo>
                        <a:pt x="286675" y="226823"/>
                      </a:lnTo>
                      <a:lnTo>
                        <a:pt x="286447" y="228233"/>
                      </a:lnTo>
                      <a:lnTo>
                        <a:pt x="285632" y="228657"/>
                      </a:lnTo>
                      <a:lnTo>
                        <a:pt x="283864" y="228404"/>
                      </a:lnTo>
                      <a:lnTo>
                        <a:pt x="281989" y="228649"/>
                      </a:lnTo>
                      <a:lnTo>
                        <a:pt x="277873" y="230124"/>
                      </a:lnTo>
                      <a:lnTo>
                        <a:pt x="273415" y="231933"/>
                      </a:lnTo>
                      <a:lnTo>
                        <a:pt x="268078" y="233742"/>
                      </a:lnTo>
                      <a:lnTo>
                        <a:pt x="265022" y="233742"/>
                      </a:lnTo>
                      <a:lnTo>
                        <a:pt x="263823" y="234150"/>
                      </a:lnTo>
                      <a:lnTo>
                        <a:pt x="263302" y="235055"/>
                      </a:lnTo>
                      <a:lnTo>
                        <a:pt x="263823" y="236774"/>
                      </a:lnTo>
                      <a:lnTo>
                        <a:pt x="264337" y="238046"/>
                      </a:lnTo>
                      <a:lnTo>
                        <a:pt x="264801" y="239700"/>
                      </a:lnTo>
                      <a:lnTo>
                        <a:pt x="263555" y="241053"/>
                      </a:lnTo>
                      <a:lnTo>
                        <a:pt x="262691" y="243343"/>
                      </a:lnTo>
                      <a:lnTo>
                        <a:pt x="262014" y="247377"/>
                      </a:lnTo>
                      <a:lnTo>
                        <a:pt x="260115" y="248583"/>
                      </a:lnTo>
                      <a:lnTo>
                        <a:pt x="257092" y="250547"/>
                      </a:lnTo>
                      <a:lnTo>
                        <a:pt x="253726" y="253123"/>
                      </a:lnTo>
                      <a:lnTo>
                        <a:pt x="252878" y="253652"/>
                      </a:lnTo>
                      <a:lnTo>
                        <a:pt x="250963" y="254378"/>
                      </a:lnTo>
                      <a:lnTo>
                        <a:pt x="249040" y="254158"/>
                      </a:lnTo>
                      <a:lnTo>
                        <a:pt x="247296" y="253775"/>
                      </a:lnTo>
                      <a:lnTo>
                        <a:pt x="245405" y="254443"/>
                      </a:lnTo>
                      <a:lnTo>
                        <a:pt x="243457" y="256431"/>
                      </a:lnTo>
                      <a:lnTo>
                        <a:pt x="242553" y="255836"/>
                      </a:lnTo>
                      <a:lnTo>
                        <a:pt x="242088" y="253815"/>
                      </a:lnTo>
                      <a:lnTo>
                        <a:pt x="241102" y="252503"/>
                      </a:lnTo>
                      <a:lnTo>
                        <a:pt x="238046" y="249545"/>
                      </a:lnTo>
                      <a:lnTo>
                        <a:pt x="235429" y="247434"/>
                      </a:lnTo>
                      <a:lnTo>
                        <a:pt x="234289" y="247296"/>
                      </a:lnTo>
                      <a:lnTo>
                        <a:pt x="231868" y="247833"/>
                      </a:lnTo>
                      <a:lnTo>
                        <a:pt x="228861" y="248233"/>
                      </a:lnTo>
                      <a:lnTo>
                        <a:pt x="226416" y="247809"/>
                      </a:lnTo>
                      <a:lnTo>
                        <a:pt x="224485" y="246961"/>
                      </a:lnTo>
                      <a:lnTo>
                        <a:pt x="221477" y="244060"/>
                      </a:lnTo>
                      <a:lnTo>
                        <a:pt x="220386" y="242495"/>
                      </a:lnTo>
                      <a:lnTo>
                        <a:pt x="219570" y="241297"/>
                      </a:lnTo>
                      <a:lnTo>
                        <a:pt x="217516" y="241623"/>
                      </a:lnTo>
                      <a:lnTo>
                        <a:pt x="216938" y="240311"/>
                      </a:lnTo>
                      <a:lnTo>
                        <a:pt x="216856" y="238779"/>
                      </a:lnTo>
                      <a:lnTo>
                        <a:pt x="217427" y="236921"/>
                      </a:lnTo>
                      <a:lnTo>
                        <a:pt x="217256" y="233417"/>
                      </a:lnTo>
                      <a:lnTo>
                        <a:pt x="216107" y="230898"/>
                      </a:lnTo>
                      <a:lnTo>
                        <a:pt x="214795" y="229806"/>
                      </a:lnTo>
                      <a:lnTo>
                        <a:pt x="214966" y="229040"/>
                      </a:lnTo>
                      <a:lnTo>
                        <a:pt x="215536" y="227288"/>
                      </a:lnTo>
                      <a:lnTo>
                        <a:pt x="216278" y="225756"/>
                      </a:lnTo>
                      <a:lnTo>
                        <a:pt x="216270" y="222724"/>
                      </a:lnTo>
                      <a:lnTo>
                        <a:pt x="215357" y="219440"/>
                      </a:lnTo>
                      <a:lnTo>
                        <a:pt x="214990" y="214697"/>
                      </a:lnTo>
                      <a:lnTo>
                        <a:pt x="215218" y="210059"/>
                      </a:lnTo>
                      <a:lnTo>
                        <a:pt x="213971" y="207729"/>
                      </a:lnTo>
                      <a:lnTo>
                        <a:pt x="203760" y="207712"/>
                      </a:lnTo>
                      <a:lnTo>
                        <a:pt x="194673" y="207883"/>
                      </a:lnTo>
                      <a:lnTo>
                        <a:pt x="194160" y="207354"/>
                      </a:lnTo>
                      <a:lnTo>
                        <a:pt x="190631" y="201510"/>
                      </a:lnTo>
                      <a:lnTo>
                        <a:pt x="187762" y="197077"/>
                      </a:lnTo>
                      <a:lnTo>
                        <a:pt x="184934" y="194453"/>
                      </a:lnTo>
                      <a:lnTo>
                        <a:pt x="178439" y="191225"/>
                      </a:lnTo>
                      <a:lnTo>
                        <a:pt x="175350" y="189872"/>
                      </a:lnTo>
                      <a:lnTo>
                        <a:pt x="172685" y="187411"/>
                      </a:lnTo>
                      <a:lnTo>
                        <a:pt x="170509" y="184714"/>
                      </a:lnTo>
                      <a:lnTo>
                        <a:pt x="169947" y="181006"/>
                      </a:lnTo>
                      <a:lnTo>
                        <a:pt x="169506" y="179791"/>
                      </a:lnTo>
                      <a:lnTo>
                        <a:pt x="168879" y="178805"/>
                      </a:lnTo>
                      <a:lnTo>
                        <a:pt x="168194" y="178365"/>
                      </a:lnTo>
                      <a:lnTo>
                        <a:pt x="167363" y="178463"/>
                      </a:lnTo>
                      <a:lnTo>
                        <a:pt x="159841" y="174152"/>
                      </a:lnTo>
                      <a:lnTo>
                        <a:pt x="156817" y="173027"/>
                      </a:lnTo>
                      <a:lnTo>
                        <a:pt x="153965" y="173940"/>
                      </a:lnTo>
                      <a:lnTo>
                        <a:pt x="152718" y="174095"/>
                      </a:lnTo>
                      <a:lnTo>
                        <a:pt x="150249" y="172872"/>
                      </a:lnTo>
                      <a:lnTo>
                        <a:pt x="147396" y="174535"/>
                      </a:lnTo>
                      <a:lnTo>
                        <a:pt x="146182" y="174641"/>
                      </a:lnTo>
                      <a:lnTo>
                        <a:pt x="144479" y="174249"/>
                      </a:lnTo>
                      <a:lnTo>
                        <a:pt x="143077" y="173630"/>
                      </a:lnTo>
                      <a:lnTo>
                        <a:pt x="139287" y="169710"/>
                      </a:lnTo>
                      <a:lnTo>
                        <a:pt x="136101" y="168121"/>
                      </a:lnTo>
                      <a:lnTo>
                        <a:pt x="133819" y="167102"/>
                      </a:lnTo>
                      <a:lnTo>
                        <a:pt x="129418" y="165619"/>
                      </a:lnTo>
                      <a:lnTo>
                        <a:pt x="124707" y="164845"/>
                      </a:lnTo>
                      <a:lnTo>
                        <a:pt x="122303" y="164201"/>
                      </a:lnTo>
                      <a:lnTo>
                        <a:pt x="120551" y="163337"/>
                      </a:lnTo>
                      <a:lnTo>
                        <a:pt x="120111" y="162783"/>
                      </a:lnTo>
                      <a:lnTo>
                        <a:pt x="120135" y="161340"/>
                      </a:lnTo>
                      <a:lnTo>
                        <a:pt x="119997" y="159458"/>
                      </a:lnTo>
                      <a:lnTo>
                        <a:pt x="119427" y="158080"/>
                      </a:lnTo>
                      <a:lnTo>
                        <a:pt x="118237" y="156434"/>
                      </a:lnTo>
                      <a:lnTo>
                        <a:pt x="116590" y="155204"/>
                      </a:lnTo>
                      <a:lnTo>
                        <a:pt x="113738" y="155415"/>
                      </a:lnTo>
                      <a:lnTo>
                        <a:pt x="109467" y="155310"/>
                      </a:lnTo>
                      <a:lnTo>
                        <a:pt x="106199" y="154071"/>
                      </a:lnTo>
                      <a:lnTo>
                        <a:pt x="103608" y="153842"/>
                      </a:lnTo>
                      <a:lnTo>
                        <a:pt x="100495" y="154079"/>
                      </a:lnTo>
                      <a:lnTo>
                        <a:pt x="97928" y="154079"/>
                      </a:lnTo>
                      <a:lnTo>
                        <a:pt x="96086" y="154983"/>
                      </a:lnTo>
                      <a:lnTo>
                        <a:pt x="95034" y="156035"/>
                      </a:lnTo>
                      <a:lnTo>
                        <a:pt x="94358" y="159262"/>
                      </a:lnTo>
                      <a:lnTo>
                        <a:pt x="93730" y="159751"/>
                      </a:lnTo>
                      <a:lnTo>
                        <a:pt x="92663" y="159979"/>
                      </a:lnTo>
                      <a:lnTo>
                        <a:pt x="91228" y="159816"/>
                      </a:lnTo>
                      <a:lnTo>
                        <a:pt x="88237" y="159841"/>
                      </a:lnTo>
                      <a:lnTo>
                        <a:pt x="83054" y="159270"/>
                      </a:lnTo>
                      <a:lnTo>
                        <a:pt x="76526" y="159099"/>
                      </a:lnTo>
                      <a:lnTo>
                        <a:pt x="71628" y="160729"/>
                      </a:lnTo>
                      <a:lnTo>
                        <a:pt x="67741" y="163068"/>
                      </a:lnTo>
                      <a:lnTo>
                        <a:pt x="64057" y="165709"/>
                      </a:lnTo>
                      <a:lnTo>
                        <a:pt x="59697" y="169873"/>
                      </a:lnTo>
                      <a:lnTo>
                        <a:pt x="58425" y="171723"/>
                      </a:lnTo>
                      <a:lnTo>
                        <a:pt x="55858" y="179099"/>
                      </a:lnTo>
                      <a:lnTo>
                        <a:pt x="54726" y="180158"/>
                      </a:lnTo>
                      <a:lnTo>
                        <a:pt x="53242" y="181006"/>
                      </a:lnTo>
                      <a:lnTo>
                        <a:pt x="51735" y="181160"/>
                      </a:lnTo>
                      <a:lnTo>
                        <a:pt x="48752" y="182253"/>
                      </a:lnTo>
                      <a:lnTo>
                        <a:pt x="44816" y="184054"/>
                      </a:lnTo>
                      <a:lnTo>
                        <a:pt x="42126" y="184754"/>
                      </a:lnTo>
                      <a:lnTo>
                        <a:pt x="35248" y="184388"/>
                      </a:lnTo>
                      <a:lnTo>
                        <a:pt x="34840" y="182049"/>
                      </a:lnTo>
                      <a:lnTo>
                        <a:pt x="33610" y="173508"/>
                      </a:lnTo>
                      <a:lnTo>
                        <a:pt x="32998" y="164861"/>
                      </a:lnTo>
                      <a:lnTo>
                        <a:pt x="33039" y="160876"/>
                      </a:lnTo>
                      <a:lnTo>
                        <a:pt x="33764" y="152873"/>
                      </a:lnTo>
                      <a:lnTo>
                        <a:pt x="33699" y="148839"/>
                      </a:lnTo>
                      <a:lnTo>
                        <a:pt x="33414" y="145171"/>
                      </a:lnTo>
                      <a:lnTo>
                        <a:pt x="33691" y="141585"/>
                      </a:lnTo>
                      <a:lnTo>
                        <a:pt x="34245" y="137543"/>
                      </a:lnTo>
                      <a:lnTo>
                        <a:pt x="34522" y="133436"/>
                      </a:lnTo>
                      <a:lnTo>
                        <a:pt x="34115" y="130559"/>
                      </a:lnTo>
                      <a:lnTo>
                        <a:pt x="32786" y="128244"/>
                      </a:lnTo>
                      <a:lnTo>
                        <a:pt x="30529" y="125376"/>
                      </a:lnTo>
                      <a:lnTo>
                        <a:pt x="30178" y="123680"/>
                      </a:lnTo>
                      <a:lnTo>
                        <a:pt x="30048" y="121790"/>
                      </a:lnTo>
                      <a:lnTo>
                        <a:pt x="27888" y="121570"/>
                      </a:lnTo>
                      <a:lnTo>
                        <a:pt x="25949" y="119614"/>
                      </a:lnTo>
                      <a:lnTo>
                        <a:pt x="24352" y="118546"/>
                      </a:lnTo>
                      <a:lnTo>
                        <a:pt x="20920" y="117356"/>
                      </a:lnTo>
                      <a:lnTo>
                        <a:pt x="19193" y="117299"/>
                      </a:lnTo>
                      <a:lnTo>
                        <a:pt x="17620" y="118171"/>
                      </a:lnTo>
                      <a:lnTo>
                        <a:pt x="16455" y="119915"/>
                      </a:lnTo>
                      <a:lnTo>
                        <a:pt x="15639" y="117161"/>
                      </a:lnTo>
                      <a:lnTo>
                        <a:pt x="15664" y="114276"/>
                      </a:lnTo>
                      <a:lnTo>
                        <a:pt x="18418" y="108310"/>
                      </a:lnTo>
                      <a:lnTo>
                        <a:pt x="20130" y="110046"/>
                      </a:lnTo>
                      <a:lnTo>
                        <a:pt x="22241" y="110739"/>
                      </a:lnTo>
                      <a:lnTo>
                        <a:pt x="24906" y="110844"/>
                      </a:lnTo>
                      <a:lnTo>
                        <a:pt x="27530" y="110380"/>
                      </a:lnTo>
                      <a:lnTo>
                        <a:pt x="27025" y="108343"/>
                      </a:lnTo>
                      <a:lnTo>
                        <a:pt x="25802" y="107177"/>
                      </a:lnTo>
                      <a:lnTo>
                        <a:pt x="24287" y="106264"/>
                      </a:lnTo>
                      <a:lnTo>
                        <a:pt x="23748" y="103567"/>
                      </a:lnTo>
                      <a:lnTo>
                        <a:pt x="23936" y="100763"/>
                      </a:lnTo>
                      <a:lnTo>
                        <a:pt x="24661" y="98115"/>
                      </a:lnTo>
                      <a:lnTo>
                        <a:pt x="23838" y="97047"/>
                      </a:lnTo>
                      <a:lnTo>
                        <a:pt x="22599" y="96387"/>
                      </a:lnTo>
                      <a:lnTo>
                        <a:pt x="19731" y="96468"/>
                      </a:lnTo>
                      <a:lnTo>
                        <a:pt x="16006" y="95768"/>
                      </a:lnTo>
                      <a:lnTo>
                        <a:pt x="12257" y="95466"/>
                      </a:lnTo>
                      <a:lnTo>
                        <a:pt x="11385" y="98587"/>
                      </a:lnTo>
                      <a:lnTo>
                        <a:pt x="13464" y="102687"/>
                      </a:lnTo>
                      <a:lnTo>
                        <a:pt x="11703" y="100674"/>
                      </a:lnTo>
                      <a:lnTo>
                        <a:pt x="10049" y="98009"/>
                      </a:lnTo>
                      <a:lnTo>
                        <a:pt x="7726" y="93217"/>
                      </a:lnTo>
                      <a:lnTo>
                        <a:pt x="6227" y="87585"/>
                      </a:lnTo>
                      <a:lnTo>
                        <a:pt x="5974" y="81514"/>
                      </a:lnTo>
                      <a:lnTo>
                        <a:pt x="7229" y="76477"/>
                      </a:lnTo>
                      <a:lnTo>
                        <a:pt x="8843" y="71750"/>
                      </a:lnTo>
                      <a:lnTo>
                        <a:pt x="9829" y="65687"/>
                      </a:lnTo>
                      <a:lnTo>
                        <a:pt x="11166" y="59738"/>
                      </a:lnTo>
                      <a:lnTo>
                        <a:pt x="12502" y="62411"/>
                      </a:lnTo>
                      <a:lnTo>
                        <a:pt x="14042" y="64799"/>
                      </a:lnTo>
                      <a:lnTo>
                        <a:pt x="16169" y="67007"/>
                      </a:lnTo>
                      <a:lnTo>
                        <a:pt x="17327" y="67537"/>
                      </a:lnTo>
                      <a:lnTo>
                        <a:pt x="20831" y="68450"/>
                      </a:lnTo>
                      <a:lnTo>
                        <a:pt x="23072" y="68107"/>
                      </a:lnTo>
                      <a:lnTo>
                        <a:pt x="25476" y="66795"/>
                      </a:lnTo>
                      <a:lnTo>
                        <a:pt x="27832" y="67227"/>
                      </a:lnTo>
                      <a:lnTo>
                        <a:pt x="29771" y="69680"/>
                      </a:lnTo>
                      <a:lnTo>
                        <a:pt x="31507" y="72435"/>
                      </a:lnTo>
                      <a:lnTo>
                        <a:pt x="34147" y="73013"/>
                      </a:lnTo>
                      <a:lnTo>
                        <a:pt x="39575" y="71017"/>
                      </a:lnTo>
                      <a:lnTo>
                        <a:pt x="42150" y="70569"/>
                      </a:lnTo>
                      <a:lnTo>
                        <a:pt x="44392" y="71473"/>
                      </a:lnTo>
                      <a:lnTo>
                        <a:pt x="45549" y="71644"/>
                      </a:lnTo>
                      <a:lnTo>
                        <a:pt x="46723" y="71498"/>
                      </a:lnTo>
                      <a:lnTo>
                        <a:pt x="45712" y="69053"/>
                      </a:lnTo>
                      <a:lnTo>
                        <a:pt x="45288" y="66681"/>
                      </a:lnTo>
                      <a:lnTo>
                        <a:pt x="46649" y="65426"/>
                      </a:lnTo>
                      <a:lnTo>
                        <a:pt x="50928" y="66755"/>
                      </a:lnTo>
                      <a:lnTo>
                        <a:pt x="53658" y="65866"/>
                      </a:lnTo>
                      <a:lnTo>
                        <a:pt x="54351" y="65369"/>
                      </a:lnTo>
                      <a:lnTo>
                        <a:pt x="54970" y="64750"/>
                      </a:lnTo>
                      <a:lnTo>
                        <a:pt x="55304" y="62696"/>
                      </a:lnTo>
                      <a:lnTo>
                        <a:pt x="55157" y="60601"/>
                      </a:lnTo>
                      <a:lnTo>
                        <a:pt x="54815" y="58613"/>
                      </a:lnTo>
                      <a:lnTo>
                        <a:pt x="54008" y="56869"/>
                      </a:lnTo>
                      <a:lnTo>
                        <a:pt x="52045" y="54432"/>
                      </a:lnTo>
                      <a:lnTo>
                        <a:pt x="44408" y="48621"/>
                      </a:lnTo>
                      <a:lnTo>
                        <a:pt x="41849" y="46299"/>
                      </a:lnTo>
                      <a:lnTo>
                        <a:pt x="39706" y="43291"/>
                      </a:lnTo>
                      <a:lnTo>
                        <a:pt x="38345" y="39045"/>
                      </a:lnTo>
                      <a:lnTo>
                        <a:pt x="37236" y="34612"/>
                      </a:lnTo>
                      <a:lnTo>
                        <a:pt x="36201" y="31319"/>
                      </a:lnTo>
                      <a:lnTo>
                        <a:pt x="33545" y="23675"/>
                      </a:lnTo>
                      <a:lnTo>
                        <a:pt x="32509" y="22762"/>
                      </a:lnTo>
                      <a:lnTo>
                        <a:pt x="31214" y="22355"/>
                      </a:lnTo>
                      <a:lnTo>
                        <a:pt x="28044" y="22118"/>
                      </a:lnTo>
                      <a:lnTo>
                        <a:pt x="24849" y="22673"/>
                      </a:lnTo>
                      <a:lnTo>
                        <a:pt x="19608" y="23993"/>
                      </a:lnTo>
                      <a:lnTo>
                        <a:pt x="16617" y="23577"/>
                      </a:lnTo>
                      <a:lnTo>
                        <a:pt x="15232" y="24400"/>
                      </a:lnTo>
                      <a:lnTo>
                        <a:pt x="11793" y="27628"/>
                      </a:lnTo>
                      <a:lnTo>
                        <a:pt x="10196" y="30382"/>
                      </a:lnTo>
                      <a:lnTo>
                        <a:pt x="7954" y="36698"/>
                      </a:lnTo>
                      <a:lnTo>
                        <a:pt x="9649" y="38728"/>
                      </a:lnTo>
                      <a:lnTo>
                        <a:pt x="9625" y="40064"/>
                      </a:lnTo>
                      <a:lnTo>
                        <a:pt x="8329" y="49363"/>
                      </a:lnTo>
                      <a:lnTo>
                        <a:pt x="9128" y="53870"/>
                      </a:lnTo>
                      <a:lnTo>
                        <a:pt x="8843" y="54204"/>
                      </a:lnTo>
                      <a:lnTo>
                        <a:pt x="8223" y="53161"/>
                      </a:lnTo>
                      <a:lnTo>
                        <a:pt x="6283" y="48564"/>
                      </a:lnTo>
                      <a:lnTo>
                        <a:pt x="2869" y="42957"/>
                      </a:lnTo>
                      <a:lnTo>
                        <a:pt x="0" y="34359"/>
                      </a:lnTo>
                      <a:lnTo>
                        <a:pt x="5037" y="28728"/>
                      </a:lnTo>
                      <a:lnTo>
                        <a:pt x="9332" y="24734"/>
                      </a:lnTo>
                      <a:lnTo>
                        <a:pt x="12860" y="22330"/>
                      </a:lnTo>
                      <a:lnTo>
                        <a:pt x="13936" y="21743"/>
                      </a:lnTo>
                      <a:lnTo>
                        <a:pt x="18761" y="19747"/>
                      </a:lnTo>
                      <a:lnTo>
                        <a:pt x="24971" y="17938"/>
                      </a:lnTo>
                      <a:lnTo>
                        <a:pt x="29551" y="16609"/>
                      </a:lnTo>
                      <a:lnTo>
                        <a:pt x="35525" y="15485"/>
                      </a:lnTo>
                      <a:lnTo>
                        <a:pt x="37473" y="15273"/>
                      </a:lnTo>
                      <a:lnTo>
                        <a:pt x="40358" y="15297"/>
                      </a:lnTo>
                      <a:lnTo>
                        <a:pt x="42680" y="16365"/>
                      </a:lnTo>
                      <a:lnTo>
                        <a:pt x="44090" y="17204"/>
                      </a:lnTo>
                      <a:lnTo>
                        <a:pt x="49078" y="20635"/>
                      </a:lnTo>
                      <a:lnTo>
                        <a:pt x="54163" y="24140"/>
                      </a:lnTo>
                      <a:lnTo>
                        <a:pt x="58531" y="28019"/>
                      </a:lnTo>
                      <a:lnTo>
                        <a:pt x="59754" y="29600"/>
                      </a:lnTo>
                      <a:lnTo>
                        <a:pt x="60455" y="31491"/>
                      </a:lnTo>
                      <a:lnTo>
                        <a:pt x="60960" y="33341"/>
                      </a:lnTo>
                      <a:lnTo>
                        <a:pt x="64677" y="39216"/>
                      </a:lnTo>
                      <a:lnTo>
                        <a:pt x="66176" y="41906"/>
                      </a:lnTo>
                      <a:lnTo>
                        <a:pt x="68352" y="45402"/>
                      </a:lnTo>
                      <a:lnTo>
                        <a:pt x="70080" y="47097"/>
                      </a:lnTo>
                      <a:lnTo>
                        <a:pt x="71783" y="49200"/>
                      </a:lnTo>
                      <a:lnTo>
                        <a:pt x="72932" y="50936"/>
                      </a:lnTo>
                      <a:lnTo>
                        <a:pt x="74236" y="51759"/>
                      </a:lnTo>
                      <a:lnTo>
                        <a:pt x="75679" y="52085"/>
                      </a:lnTo>
                      <a:lnTo>
                        <a:pt x="78979" y="51531"/>
                      </a:lnTo>
                      <a:lnTo>
                        <a:pt x="82965" y="50439"/>
                      </a:lnTo>
                      <a:lnTo>
                        <a:pt x="85344" y="49982"/>
                      </a:lnTo>
                      <a:lnTo>
                        <a:pt x="86395" y="50048"/>
                      </a:lnTo>
                      <a:lnTo>
                        <a:pt x="92964" y="50431"/>
                      </a:lnTo>
                      <a:lnTo>
                        <a:pt x="98856" y="50789"/>
                      </a:lnTo>
                      <a:lnTo>
                        <a:pt x="106150" y="51221"/>
                      </a:lnTo>
                      <a:lnTo>
                        <a:pt x="108318" y="51620"/>
                      </a:lnTo>
                      <a:lnTo>
                        <a:pt x="110910" y="51995"/>
                      </a:lnTo>
                      <a:lnTo>
                        <a:pt x="112206" y="52052"/>
                      </a:lnTo>
                      <a:lnTo>
                        <a:pt x="113363" y="50553"/>
                      </a:lnTo>
                      <a:lnTo>
                        <a:pt x="114121" y="49730"/>
                      </a:lnTo>
                      <a:lnTo>
                        <a:pt x="114716" y="49086"/>
                      </a:lnTo>
                      <a:lnTo>
                        <a:pt x="114585" y="48352"/>
                      </a:lnTo>
                      <a:lnTo>
                        <a:pt x="113672" y="47725"/>
                      </a:lnTo>
                      <a:lnTo>
                        <a:pt x="112206" y="45655"/>
                      </a:lnTo>
                      <a:lnTo>
                        <a:pt x="111383" y="38165"/>
                      </a:lnTo>
                      <a:lnTo>
                        <a:pt x="110877" y="31743"/>
                      </a:lnTo>
                      <a:lnTo>
                        <a:pt x="112605" y="29747"/>
                      </a:lnTo>
                      <a:lnTo>
                        <a:pt x="114577" y="28296"/>
                      </a:lnTo>
                      <a:lnTo>
                        <a:pt x="117446" y="23919"/>
                      </a:lnTo>
                      <a:lnTo>
                        <a:pt x="118978" y="22567"/>
                      </a:lnTo>
                      <a:lnTo>
                        <a:pt x="121227" y="21450"/>
                      </a:lnTo>
                      <a:lnTo>
                        <a:pt x="128782" y="21157"/>
                      </a:lnTo>
                      <a:lnTo>
                        <a:pt x="131961" y="20293"/>
                      </a:lnTo>
                      <a:lnTo>
                        <a:pt x="133004" y="18875"/>
                      </a:lnTo>
                      <a:lnTo>
                        <a:pt x="134675" y="15297"/>
                      </a:lnTo>
                      <a:lnTo>
                        <a:pt x="135212" y="12379"/>
                      </a:lnTo>
                      <a:lnTo>
                        <a:pt x="136158" y="11043"/>
                      </a:lnTo>
                      <a:lnTo>
                        <a:pt x="137290" y="10041"/>
                      </a:lnTo>
                      <a:lnTo>
                        <a:pt x="138440" y="10081"/>
                      </a:lnTo>
                      <a:lnTo>
                        <a:pt x="140673" y="10937"/>
                      </a:lnTo>
                      <a:lnTo>
                        <a:pt x="142376" y="11418"/>
                      </a:lnTo>
                      <a:lnTo>
                        <a:pt x="143582" y="12070"/>
                      </a:lnTo>
                      <a:lnTo>
                        <a:pt x="144683" y="13105"/>
                      </a:lnTo>
                      <a:lnTo>
                        <a:pt x="145758" y="14898"/>
                      </a:lnTo>
                      <a:lnTo>
                        <a:pt x="145929" y="16079"/>
                      </a:lnTo>
                      <a:lnTo>
                        <a:pt x="146427" y="16764"/>
                      </a:lnTo>
                      <a:lnTo>
                        <a:pt x="147274" y="16772"/>
                      </a:lnTo>
                      <a:lnTo>
                        <a:pt x="147918" y="16788"/>
                      </a:lnTo>
                      <a:lnTo>
                        <a:pt x="148350" y="16520"/>
                      </a:lnTo>
                      <a:lnTo>
                        <a:pt x="148619" y="15925"/>
                      </a:lnTo>
                      <a:lnTo>
                        <a:pt x="148407" y="15118"/>
                      </a:lnTo>
                      <a:lnTo>
                        <a:pt x="146940" y="12828"/>
                      </a:lnTo>
                      <a:lnTo>
                        <a:pt x="143729" y="8671"/>
                      </a:lnTo>
                      <a:lnTo>
                        <a:pt x="141634" y="6976"/>
                      </a:lnTo>
                      <a:lnTo>
                        <a:pt x="140591" y="6055"/>
                      </a:lnTo>
                      <a:lnTo>
                        <a:pt x="140331" y="5191"/>
                      </a:lnTo>
                      <a:lnTo>
                        <a:pt x="141692" y="3879"/>
                      </a:lnTo>
                      <a:lnTo>
                        <a:pt x="143012" y="3121"/>
                      </a:lnTo>
                      <a:lnTo>
                        <a:pt x="145326" y="3684"/>
                      </a:lnTo>
                      <a:lnTo>
                        <a:pt x="148407" y="3993"/>
                      </a:lnTo>
                      <a:lnTo>
                        <a:pt x="149776" y="3333"/>
                      </a:lnTo>
                      <a:lnTo>
                        <a:pt x="151186" y="0"/>
                      </a:lnTo>
                      <a:lnTo>
                        <a:pt x="154764" y="3586"/>
                      </a:lnTo>
                      <a:close/>
                    </a:path>
                  </a:pathLst>
                </a:custGeom>
                <a:solidFill>
                  <a:srgbClr val="D6D6D2"/>
                </a:solidFill>
                <a:ln w="6112" cap="rnd">
                  <a:solidFill>
                    <a:srgbClr val="FFFFFF"/>
                  </a:solidFill>
                  <a:prstDash val="solid"/>
                  <a:round/>
                </a:ln>
              </p:spPr>
              <p:txBody>
                <a:bodyPr rtlCol="0" anchor="ctr"/>
                <a:lstStyle/>
                <a:p>
                  <a:endParaRPr lang="en-US"/>
                </a:p>
              </p:txBody>
            </p:sp>
            <p:sp>
              <p:nvSpPr>
                <p:cNvPr id="563" name="Freeform: Shape 562">
                  <a:extLst>
                    <a:ext uri="{FF2B5EF4-FFF2-40B4-BE49-F238E27FC236}">
                      <a16:creationId xmlns:a16="http://schemas.microsoft.com/office/drawing/2014/main" id="{7C072BDA-23AD-4D35-881A-4641E63F07F0}"/>
                    </a:ext>
                  </a:extLst>
                </p:cNvPr>
                <p:cNvSpPr/>
                <p:nvPr/>
              </p:nvSpPr>
              <p:spPr>
                <a:xfrm>
                  <a:off x="7614026" y="3240563"/>
                  <a:ext cx="192708" cy="146532"/>
                </a:xfrm>
                <a:custGeom>
                  <a:avLst/>
                  <a:gdLst>
                    <a:gd name="connsiteX0" fmla="*/ 83086 w 192708"/>
                    <a:gd name="connsiteY0" fmla="*/ 12787 h 146532"/>
                    <a:gd name="connsiteX1" fmla="*/ 79370 w 192708"/>
                    <a:gd name="connsiteY1" fmla="*/ 16136 h 146532"/>
                    <a:gd name="connsiteX2" fmla="*/ 75254 w 192708"/>
                    <a:gd name="connsiteY2" fmla="*/ 19853 h 146532"/>
                    <a:gd name="connsiteX3" fmla="*/ 75107 w 192708"/>
                    <a:gd name="connsiteY3" fmla="*/ 20334 h 146532"/>
                    <a:gd name="connsiteX4" fmla="*/ 74928 w 192708"/>
                    <a:gd name="connsiteY4" fmla="*/ 21263 h 146532"/>
                    <a:gd name="connsiteX5" fmla="*/ 74977 w 192708"/>
                    <a:gd name="connsiteY5" fmla="*/ 22208 h 146532"/>
                    <a:gd name="connsiteX6" fmla="*/ 75646 w 192708"/>
                    <a:gd name="connsiteY6" fmla="*/ 22982 h 146532"/>
                    <a:gd name="connsiteX7" fmla="*/ 77422 w 192708"/>
                    <a:gd name="connsiteY7" fmla="*/ 23528 h 146532"/>
                    <a:gd name="connsiteX8" fmla="*/ 78995 w 192708"/>
                    <a:gd name="connsiteY8" fmla="*/ 24237 h 146532"/>
                    <a:gd name="connsiteX9" fmla="*/ 79794 w 192708"/>
                    <a:gd name="connsiteY9" fmla="*/ 26185 h 146532"/>
                    <a:gd name="connsiteX10" fmla="*/ 80706 w 192708"/>
                    <a:gd name="connsiteY10" fmla="*/ 27986 h 146532"/>
                    <a:gd name="connsiteX11" fmla="*/ 81961 w 192708"/>
                    <a:gd name="connsiteY11" fmla="*/ 28426 h 146532"/>
                    <a:gd name="connsiteX12" fmla="*/ 88074 w 192708"/>
                    <a:gd name="connsiteY12" fmla="*/ 27285 h 146532"/>
                    <a:gd name="connsiteX13" fmla="*/ 89525 w 192708"/>
                    <a:gd name="connsiteY13" fmla="*/ 27138 h 146532"/>
                    <a:gd name="connsiteX14" fmla="*/ 89590 w 192708"/>
                    <a:gd name="connsiteY14" fmla="*/ 27758 h 146532"/>
                    <a:gd name="connsiteX15" fmla="*/ 89239 w 192708"/>
                    <a:gd name="connsiteY15" fmla="*/ 28883 h 146532"/>
                    <a:gd name="connsiteX16" fmla="*/ 84080 w 192708"/>
                    <a:gd name="connsiteY16" fmla="*/ 30798 h 146532"/>
                    <a:gd name="connsiteX17" fmla="*/ 81742 w 192708"/>
                    <a:gd name="connsiteY17" fmla="*/ 32420 h 146532"/>
                    <a:gd name="connsiteX18" fmla="*/ 81245 w 192708"/>
                    <a:gd name="connsiteY18" fmla="*/ 35280 h 146532"/>
                    <a:gd name="connsiteX19" fmla="*/ 80625 w 192708"/>
                    <a:gd name="connsiteY19" fmla="*/ 36111 h 146532"/>
                    <a:gd name="connsiteX20" fmla="*/ 79566 w 192708"/>
                    <a:gd name="connsiteY20" fmla="*/ 36788 h 146532"/>
                    <a:gd name="connsiteX21" fmla="*/ 78531 w 192708"/>
                    <a:gd name="connsiteY21" fmla="*/ 36943 h 146532"/>
                    <a:gd name="connsiteX22" fmla="*/ 76958 w 192708"/>
                    <a:gd name="connsiteY22" fmla="*/ 33577 h 146532"/>
                    <a:gd name="connsiteX23" fmla="*/ 75157 w 192708"/>
                    <a:gd name="connsiteY23" fmla="*/ 32876 h 146532"/>
                    <a:gd name="connsiteX24" fmla="*/ 72565 w 192708"/>
                    <a:gd name="connsiteY24" fmla="*/ 31686 h 146532"/>
                    <a:gd name="connsiteX25" fmla="*/ 67537 w 192708"/>
                    <a:gd name="connsiteY25" fmla="*/ 29380 h 146532"/>
                    <a:gd name="connsiteX26" fmla="*/ 64937 w 192708"/>
                    <a:gd name="connsiteY26" fmla="*/ 28377 h 146532"/>
                    <a:gd name="connsiteX27" fmla="*/ 59949 w 192708"/>
                    <a:gd name="connsiteY27" fmla="*/ 29877 h 146532"/>
                    <a:gd name="connsiteX28" fmla="*/ 54114 w 192708"/>
                    <a:gd name="connsiteY28" fmla="*/ 31939 h 146532"/>
                    <a:gd name="connsiteX29" fmla="*/ 53210 w 192708"/>
                    <a:gd name="connsiteY29" fmla="*/ 33186 h 146532"/>
                    <a:gd name="connsiteX30" fmla="*/ 52590 w 192708"/>
                    <a:gd name="connsiteY30" fmla="*/ 34538 h 146532"/>
                    <a:gd name="connsiteX31" fmla="*/ 52655 w 192708"/>
                    <a:gd name="connsiteY31" fmla="*/ 35557 h 146532"/>
                    <a:gd name="connsiteX32" fmla="*/ 53071 w 192708"/>
                    <a:gd name="connsiteY32" fmla="*/ 36918 h 146532"/>
                    <a:gd name="connsiteX33" fmla="*/ 52786 w 192708"/>
                    <a:gd name="connsiteY33" fmla="*/ 37953 h 146532"/>
                    <a:gd name="connsiteX34" fmla="*/ 51693 w 192708"/>
                    <a:gd name="connsiteY34" fmla="*/ 38296 h 146532"/>
                    <a:gd name="connsiteX35" fmla="*/ 50039 w 192708"/>
                    <a:gd name="connsiteY35" fmla="*/ 37032 h 146532"/>
                    <a:gd name="connsiteX36" fmla="*/ 48589 w 192708"/>
                    <a:gd name="connsiteY36" fmla="*/ 36307 h 146532"/>
                    <a:gd name="connsiteX37" fmla="*/ 47888 w 192708"/>
                    <a:gd name="connsiteY37" fmla="*/ 38027 h 146532"/>
                    <a:gd name="connsiteX38" fmla="*/ 47040 w 192708"/>
                    <a:gd name="connsiteY38" fmla="*/ 41091 h 146532"/>
                    <a:gd name="connsiteX39" fmla="*/ 46657 w 192708"/>
                    <a:gd name="connsiteY39" fmla="*/ 43324 h 146532"/>
                    <a:gd name="connsiteX40" fmla="*/ 47920 w 192708"/>
                    <a:gd name="connsiteY40" fmla="*/ 46551 h 146532"/>
                    <a:gd name="connsiteX41" fmla="*/ 48352 w 192708"/>
                    <a:gd name="connsiteY41" fmla="*/ 51319 h 146532"/>
                    <a:gd name="connsiteX42" fmla="*/ 50683 w 192708"/>
                    <a:gd name="connsiteY42" fmla="*/ 51058 h 146532"/>
                    <a:gd name="connsiteX43" fmla="*/ 52468 w 192708"/>
                    <a:gd name="connsiteY43" fmla="*/ 51074 h 146532"/>
                    <a:gd name="connsiteX44" fmla="*/ 55825 w 192708"/>
                    <a:gd name="connsiteY44" fmla="*/ 49664 h 146532"/>
                    <a:gd name="connsiteX45" fmla="*/ 57512 w 192708"/>
                    <a:gd name="connsiteY45" fmla="*/ 49632 h 146532"/>
                    <a:gd name="connsiteX46" fmla="*/ 60120 w 192708"/>
                    <a:gd name="connsiteY46" fmla="*/ 50243 h 146532"/>
                    <a:gd name="connsiteX47" fmla="*/ 64676 w 192708"/>
                    <a:gd name="connsiteY47" fmla="*/ 50365 h 146532"/>
                    <a:gd name="connsiteX48" fmla="*/ 68286 w 192708"/>
                    <a:gd name="connsiteY48" fmla="*/ 50113 h 146532"/>
                    <a:gd name="connsiteX49" fmla="*/ 69158 w 192708"/>
                    <a:gd name="connsiteY49" fmla="*/ 50219 h 146532"/>
                    <a:gd name="connsiteX50" fmla="*/ 70006 w 192708"/>
                    <a:gd name="connsiteY50" fmla="*/ 49322 h 146532"/>
                    <a:gd name="connsiteX51" fmla="*/ 70952 w 192708"/>
                    <a:gd name="connsiteY51" fmla="*/ 49632 h 146532"/>
                    <a:gd name="connsiteX52" fmla="*/ 71839 w 192708"/>
                    <a:gd name="connsiteY52" fmla="*/ 50732 h 146532"/>
                    <a:gd name="connsiteX53" fmla="*/ 75491 w 192708"/>
                    <a:gd name="connsiteY53" fmla="*/ 49395 h 146532"/>
                    <a:gd name="connsiteX54" fmla="*/ 78188 w 192708"/>
                    <a:gd name="connsiteY54" fmla="*/ 49216 h 146532"/>
                    <a:gd name="connsiteX55" fmla="*/ 79843 w 192708"/>
                    <a:gd name="connsiteY55" fmla="*/ 49607 h 146532"/>
                    <a:gd name="connsiteX56" fmla="*/ 80829 w 192708"/>
                    <a:gd name="connsiteY56" fmla="*/ 49990 h 146532"/>
                    <a:gd name="connsiteX57" fmla="*/ 82589 w 192708"/>
                    <a:gd name="connsiteY57" fmla="*/ 53136 h 146532"/>
                    <a:gd name="connsiteX58" fmla="*/ 83942 w 192708"/>
                    <a:gd name="connsiteY58" fmla="*/ 55100 h 146532"/>
                    <a:gd name="connsiteX59" fmla="*/ 85580 w 192708"/>
                    <a:gd name="connsiteY59" fmla="*/ 55720 h 146532"/>
                    <a:gd name="connsiteX60" fmla="*/ 90682 w 192708"/>
                    <a:gd name="connsiteY60" fmla="*/ 55141 h 146532"/>
                    <a:gd name="connsiteX61" fmla="*/ 92173 w 192708"/>
                    <a:gd name="connsiteY61" fmla="*/ 52386 h 146532"/>
                    <a:gd name="connsiteX62" fmla="*/ 93494 w 192708"/>
                    <a:gd name="connsiteY62" fmla="*/ 51710 h 146532"/>
                    <a:gd name="connsiteX63" fmla="*/ 95588 w 192708"/>
                    <a:gd name="connsiteY63" fmla="*/ 51498 h 146532"/>
                    <a:gd name="connsiteX64" fmla="*/ 97332 w 192708"/>
                    <a:gd name="connsiteY64" fmla="*/ 50976 h 146532"/>
                    <a:gd name="connsiteX65" fmla="*/ 98710 w 192708"/>
                    <a:gd name="connsiteY65" fmla="*/ 49844 h 146532"/>
                    <a:gd name="connsiteX66" fmla="*/ 100592 w 192708"/>
                    <a:gd name="connsiteY66" fmla="*/ 48866 h 146532"/>
                    <a:gd name="connsiteX67" fmla="*/ 102222 w 192708"/>
                    <a:gd name="connsiteY67" fmla="*/ 48670 h 146532"/>
                    <a:gd name="connsiteX68" fmla="*/ 103037 w 192708"/>
                    <a:gd name="connsiteY68" fmla="*/ 49395 h 146532"/>
                    <a:gd name="connsiteX69" fmla="*/ 103387 w 192708"/>
                    <a:gd name="connsiteY69" fmla="*/ 50357 h 146532"/>
                    <a:gd name="connsiteX70" fmla="*/ 103118 w 192708"/>
                    <a:gd name="connsiteY70" fmla="*/ 51596 h 146532"/>
                    <a:gd name="connsiteX71" fmla="*/ 103045 w 192708"/>
                    <a:gd name="connsiteY71" fmla="*/ 52892 h 146532"/>
                    <a:gd name="connsiteX72" fmla="*/ 104113 w 192708"/>
                    <a:gd name="connsiteY72" fmla="*/ 53756 h 146532"/>
                    <a:gd name="connsiteX73" fmla="*/ 107250 w 192708"/>
                    <a:gd name="connsiteY73" fmla="*/ 53951 h 146532"/>
                    <a:gd name="connsiteX74" fmla="*/ 108725 w 192708"/>
                    <a:gd name="connsiteY74" fmla="*/ 54766 h 146532"/>
                    <a:gd name="connsiteX75" fmla="*/ 108807 w 192708"/>
                    <a:gd name="connsiteY75" fmla="*/ 56298 h 146532"/>
                    <a:gd name="connsiteX76" fmla="*/ 108570 w 192708"/>
                    <a:gd name="connsiteY76" fmla="*/ 58702 h 146532"/>
                    <a:gd name="connsiteX77" fmla="*/ 109883 w 192708"/>
                    <a:gd name="connsiteY77" fmla="*/ 59672 h 146532"/>
                    <a:gd name="connsiteX78" fmla="*/ 110567 w 192708"/>
                    <a:gd name="connsiteY78" fmla="*/ 59754 h 146532"/>
                    <a:gd name="connsiteX79" fmla="*/ 115147 w 192708"/>
                    <a:gd name="connsiteY79" fmla="*/ 57211 h 146532"/>
                    <a:gd name="connsiteX80" fmla="*/ 116427 w 192708"/>
                    <a:gd name="connsiteY80" fmla="*/ 57162 h 146532"/>
                    <a:gd name="connsiteX81" fmla="*/ 117454 w 192708"/>
                    <a:gd name="connsiteY81" fmla="*/ 58564 h 146532"/>
                    <a:gd name="connsiteX82" fmla="*/ 119018 w 192708"/>
                    <a:gd name="connsiteY82" fmla="*/ 60251 h 146532"/>
                    <a:gd name="connsiteX83" fmla="*/ 121064 w 192708"/>
                    <a:gd name="connsiteY83" fmla="*/ 62044 h 146532"/>
                    <a:gd name="connsiteX84" fmla="*/ 121561 w 192708"/>
                    <a:gd name="connsiteY84" fmla="*/ 61775 h 146532"/>
                    <a:gd name="connsiteX85" fmla="*/ 122490 w 192708"/>
                    <a:gd name="connsiteY85" fmla="*/ 59811 h 146532"/>
                    <a:gd name="connsiteX86" fmla="*/ 124243 w 192708"/>
                    <a:gd name="connsiteY86" fmla="*/ 57684 h 146532"/>
                    <a:gd name="connsiteX87" fmla="*/ 127527 w 192708"/>
                    <a:gd name="connsiteY87" fmla="*/ 56991 h 146532"/>
                    <a:gd name="connsiteX88" fmla="*/ 129344 w 192708"/>
                    <a:gd name="connsiteY88" fmla="*/ 56315 h 146532"/>
                    <a:gd name="connsiteX89" fmla="*/ 131243 w 192708"/>
                    <a:gd name="connsiteY89" fmla="*/ 56021 h 146532"/>
                    <a:gd name="connsiteX90" fmla="*/ 137013 w 192708"/>
                    <a:gd name="connsiteY90" fmla="*/ 56885 h 146532"/>
                    <a:gd name="connsiteX91" fmla="*/ 138912 w 192708"/>
                    <a:gd name="connsiteY91" fmla="*/ 56999 h 146532"/>
                    <a:gd name="connsiteX92" fmla="*/ 142873 w 192708"/>
                    <a:gd name="connsiteY92" fmla="*/ 56828 h 146532"/>
                    <a:gd name="connsiteX93" fmla="*/ 145986 w 192708"/>
                    <a:gd name="connsiteY93" fmla="*/ 56404 h 146532"/>
                    <a:gd name="connsiteX94" fmla="*/ 148504 w 192708"/>
                    <a:gd name="connsiteY94" fmla="*/ 55125 h 146532"/>
                    <a:gd name="connsiteX95" fmla="*/ 149784 w 192708"/>
                    <a:gd name="connsiteY95" fmla="*/ 54106 h 146532"/>
                    <a:gd name="connsiteX96" fmla="*/ 151829 w 192708"/>
                    <a:gd name="connsiteY96" fmla="*/ 53503 h 146532"/>
                    <a:gd name="connsiteX97" fmla="*/ 154437 w 192708"/>
                    <a:gd name="connsiteY97" fmla="*/ 53601 h 146532"/>
                    <a:gd name="connsiteX98" fmla="*/ 155831 w 192708"/>
                    <a:gd name="connsiteY98" fmla="*/ 53894 h 146532"/>
                    <a:gd name="connsiteX99" fmla="*/ 155953 w 192708"/>
                    <a:gd name="connsiteY99" fmla="*/ 55654 h 146532"/>
                    <a:gd name="connsiteX100" fmla="*/ 155619 w 192708"/>
                    <a:gd name="connsiteY100" fmla="*/ 58996 h 146532"/>
                    <a:gd name="connsiteX101" fmla="*/ 155228 w 192708"/>
                    <a:gd name="connsiteY101" fmla="*/ 61310 h 146532"/>
                    <a:gd name="connsiteX102" fmla="*/ 157290 w 192708"/>
                    <a:gd name="connsiteY102" fmla="*/ 65524 h 146532"/>
                    <a:gd name="connsiteX103" fmla="*/ 158610 w 192708"/>
                    <a:gd name="connsiteY103" fmla="*/ 67545 h 146532"/>
                    <a:gd name="connsiteX104" fmla="*/ 159889 w 192708"/>
                    <a:gd name="connsiteY104" fmla="*/ 68971 h 146532"/>
                    <a:gd name="connsiteX105" fmla="*/ 160134 w 192708"/>
                    <a:gd name="connsiteY105" fmla="*/ 70104 h 146532"/>
                    <a:gd name="connsiteX106" fmla="*/ 159865 w 192708"/>
                    <a:gd name="connsiteY106" fmla="*/ 71025 h 146532"/>
                    <a:gd name="connsiteX107" fmla="*/ 158268 w 192708"/>
                    <a:gd name="connsiteY107" fmla="*/ 71921 h 146532"/>
                    <a:gd name="connsiteX108" fmla="*/ 157697 w 192708"/>
                    <a:gd name="connsiteY108" fmla="*/ 72883 h 146532"/>
                    <a:gd name="connsiteX109" fmla="*/ 157436 w 192708"/>
                    <a:gd name="connsiteY109" fmla="*/ 73959 h 146532"/>
                    <a:gd name="connsiteX110" fmla="*/ 157941 w 192708"/>
                    <a:gd name="connsiteY110" fmla="*/ 75206 h 146532"/>
                    <a:gd name="connsiteX111" fmla="*/ 158871 w 192708"/>
                    <a:gd name="connsiteY111" fmla="*/ 79191 h 146532"/>
                    <a:gd name="connsiteX112" fmla="*/ 160044 w 192708"/>
                    <a:gd name="connsiteY112" fmla="*/ 82280 h 146532"/>
                    <a:gd name="connsiteX113" fmla="*/ 161715 w 192708"/>
                    <a:gd name="connsiteY113" fmla="*/ 83755 h 146532"/>
                    <a:gd name="connsiteX114" fmla="*/ 164225 w 192708"/>
                    <a:gd name="connsiteY114" fmla="*/ 84741 h 146532"/>
                    <a:gd name="connsiteX115" fmla="*/ 165602 w 192708"/>
                    <a:gd name="connsiteY115" fmla="*/ 84529 h 146532"/>
                    <a:gd name="connsiteX116" fmla="*/ 166596 w 192708"/>
                    <a:gd name="connsiteY116" fmla="*/ 82223 h 146532"/>
                    <a:gd name="connsiteX117" fmla="*/ 168227 w 192708"/>
                    <a:gd name="connsiteY117" fmla="*/ 80454 h 146532"/>
                    <a:gd name="connsiteX118" fmla="*/ 169612 w 192708"/>
                    <a:gd name="connsiteY118" fmla="*/ 80576 h 146532"/>
                    <a:gd name="connsiteX119" fmla="*/ 171845 w 192708"/>
                    <a:gd name="connsiteY119" fmla="*/ 80503 h 146532"/>
                    <a:gd name="connsiteX120" fmla="*/ 177721 w 192708"/>
                    <a:gd name="connsiteY120" fmla="*/ 82516 h 146532"/>
                    <a:gd name="connsiteX121" fmla="*/ 183442 w 192708"/>
                    <a:gd name="connsiteY121" fmla="*/ 85539 h 146532"/>
                    <a:gd name="connsiteX122" fmla="*/ 185121 w 192708"/>
                    <a:gd name="connsiteY122" fmla="*/ 87210 h 146532"/>
                    <a:gd name="connsiteX123" fmla="*/ 185699 w 192708"/>
                    <a:gd name="connsiteY123" fmla="*/ 89093 h 146532"/>
                    <a:gd name="connsiteX124" fmla="*/ 184119 w 192708"/>
                    <a:gd name="connsiteY124" fmla="*/ 93437 h 146532"/>
                    <a:gd name="connsiteX125" fmla="*/ 184192 w 192708"/>
                    <a:gd name="connsiteY125" fmla="*/ 96216 h 146532"/>
                    <a:gd name="connsiteX126" fmla="*/ 184550 w 192708"/>
                    <a:gd name="connsiteY126" fmla="*/ 99174 h 146532"/>
                    <a:gd name="connsiteX127" fmla="*/ 185863 w 192708"/>
                    <a:gd name="connsiteY127" fmla="*/ 101366 h 146532"/>
                    <a:gd name="connsiteX128" fmla="*/ 187052 w 192708"/>
                    <a:gd name="connsiteY128" fmla="*/ 105123 h 146532"/>
                    <a:gd name="connsiteX129" fmla="*/ 187289 w 192708"/>
                    <a:gd name="connsiteY129" fmla="*/ 108237 h 146532"/>
                    <a:gd name="connsiteX130" fmla="*/ 187810 w 192708"/>
                    <a:gd name="connsiteY130" fmla="*/ 109157 h 146532"/>
                    <a:gd name="connsiteX131" fmla="*/ 188234 w 192708"/>
                    <a:gd name="connsiteY131" fmla="*/ 110250 h 146532"/>
                    <a:gd name="connsiteX132" fmla="*/ 187590 w 192708"/>
                    <a:gd name="connsiteY132" fmla="*/ 113102 h 146532"/>
                    <a:gd name="connsiteX133" fmla="*/ 187142 w 192708"/>
                    <a:gd name="connsiteY133" fmla="*/ 115971 h 146532"/>
                    <a:gd name="connsiteX134" fmla="*/ 187664 w 192708"/>
                    <a:gd name="connsiteY134" fmla="*/ 116924 h 146532"/>
                    <a:gd name="connsiteX135" fmla="*/ 189424 w 192708"/>
                    <a:gd name="connsiteY135" fmla="*/ 118342 h 146532"/>
                    <a:gd name="connsiteX136" fmla="*/ 192170 w 192708"/>
                    <a:gd name="connsiteY136" fmla="*/ 120983 h 146532"/>
                    <a:gd name="connsiteX137" fmla="*/ 192709 w 192708"/>
                    <a:gd name="connsiteY137" fmla="*/ 123175 h 146532"/>
                    <a:gd name="connsiteX138" fmla="*/ 191714 w 192708"/>
                    <a:gd name="connsiteY138" fmla="*/ 124569 h 146532"/>
                    <a:gd name="connsiteX139" fmla="*/ 189962 w 192708"/>
                    <a:gd name="connsiteY139" fmla="*/ 126247 h 146532"/>
                    <a:gd name="connsiteX140" fmla="*/ 187729 w 192708"/>
                    <a:gd name="connsiteY140" fmla="*/ 127698 h 146532"/>
                    <a:gd name="connsiteX141" fmla="*/ 187060 w 192708"/>
                    <a:gd name="connsiteY141" fmla="*/ 128309 h 146532"/>
                    <a:gd name="connsiteX142" fmla="*/ 186661 w 192708"/>
                    <a:gd name="connsiteY142" fmla="*/ 127967 h 146532"/>
                    <a:gd name="connsiteX143" fmla="*/ 185545 w 192708"/>
                    <a:gd name="connsiteY143" fmla="*/ 126500 h 146532"/>
                    <a:gd name="connsiteX144" fmla="*/ 183067 w 192708"/>
                    <a:gd name="connsiteY144" fmla="*/ 124128 h 146532"/>
                    <a:gd name="connsiteX145" fmla="*/ 181299 w 192708"/>
                    <a:gd name="connsiteY145" fmla="*/ 122882 h 146532"/>
                    <a:gd name="connsiteX146" fmla="*/ 177949 w 192708"/>
                    <a:gd name="connsiteY146" fmla="*/ 123281 h 146532"/>
                    <a:gd name="connsiteX147" fmla="*/ 175985 w 192708"/>
                    <a:gd name="connsiteY147" fmla="*/ 122841 h 146532"/>
                    <a:gd name="connsiteX148" fmla="*/ 173605 w 192708"/>
                    <a:gd name="connsiteY148" fmla="*/ 122067 h 146532"/>
                    <a:gd name="connsiteX149" fmla="*/ 171397 w 192708"/>
                    <a:gd name="connsiteY149" fmla="*/ 122181 h 146532"/>
                    <a:gd name="connsiteX150" fmla="*/ 169995 w 192708"/>
                    <a:gd name="connsiteY150" fmla="*/ 123615 h 146532"/>
                    <a:gd name="connsiteX151" fmla="*/ 169107 w 192708"/>
                    <a:gd name="connsiteY151" fmla="*/ 125049 h 146532"/>
                    <a:gd name="connsiteX152" fmla="*/ 166890 w 192708"/>
                    <a:gd name="connsiteY152" fmla="*/ 125490 h 146532"/>
                    <a:gd name="connsiteX153" fmla="*/ 163687 w 192708"/>
                    <a:gd name="connsiteY153" fmla="*/ 126590 h 146532"/>
                    <a:gd name="connsiteX154" fmla="*/ 158748 w 192708"/>
                    <a:gd name="connsiteY154" fmla="*/ 128301 h 146532"/>
                    <a:gd name="connsiteX155" fmla="*/ 156377 w 192708"/>
                    <a:gd name="connsiteY155" fmla="*/ 128049 h 146532"/>
                    <a:gd name="connsiteX156" fmla="*/ 155733 w 192708"/>
                    <a:gd name="connsiteY156" fmla="*/ 127307 h 146532"/>
                    <a:gd name="connsiteX157" fmla="*/ 156247 w 192708"/>
                    <a:gd name="connsiteY157" fmla="*/ 126313 h 146532"/>
                    <a:gd name="connsiteX158" fmla="*/ 157941 w 192708"/>
                    <a:gd name="connsiteY158" fmla="*/ 125041 h 146532"/>
                    <a:gd name="connsiteX159" fmla="*/ 158357 w 192708"/>
                    <a:gd name="connsiteY159" fmla="*/ 123493 h 146532"/>
                    <a:gd name="connsiteX160" fmla="*/ 158039 w 192708"/>
                    <a:gd name="connsiteY160" fmla="*/ 122067 h 146532"/>
                    <a:gd name="connsiteX161" fmla="*/ 156459 w 192708"/>
                    <a:gd name="connsiteY161" fmla="*/ 121675 h 146532"/>
                    <a:gd name="connsiteX162" fmla="*/ 155855 w 192708"/>
                    <a:gd name="connsiteY162" fmla="*/ 121455 h 146532"/>
                    <a:gd name="connsiteX163" fmla="*/ 155163 w 192708"/>
                    <a:gd name="connsiteY163" fmla="*/ 121162 h 146532"/>
                    <a:gd name="connsiteX164" fmla="*/ 152098 w 192708"/>
                    <a:gd name="connsiteY164" fmla="*/ 120306 h 146532"/>
                    <a:gd name="connsiteX165" fmla="*/ 149653 w 192708"/>
                    <a:gd name="connsiteY165" fmla="*/ 120624 h 146532"/>
                    <a:gd name="connsiteX166" fmla="*/ 145399 w 192708"/>
                    <a:gd name="connsiteY166" fmla="*/ 122417 h 146532"/>
                    <a:gd name="connsiteX167" fmla="*/ 137567 w 192708"/>
                    <a:gd name="connsiteY167" fmla="*/ 127119 h 146532"/>
                    <a:gd name="connsiteX168" fmla="*/ 134136 w 192708"/>
                    <a:gd name="connsiteY168" fmla="*/ 130282 h 146532"/>
                    <a:gd name="connsiteX169" fmla="*/ 131667 w 192708"/>
                    <a:gd name="connsiteY169" fmla="*/ 135066 h 146532"/>
                    <a:gd name="connsiteX170" fmla="*/ 124259 w 192708"/>
                    <a:gd name="connsiteY170" fmla="*/ 136598 h 146532"/>
                    <a:gd name="connsiteX171" fmla="*/ 119165 w 192708"/>
                    <a:gd name="connsiteY171" fmla="*/ 139344 h 146532"/>
                    <a:gd name="connsiteX172" fmla="*/ 113917 w 192708"/>
                    <a:gd name="connsiteY172" fmla="*/ 143802 h 146532"/>
                    <a:gd name="connsiteX173" fmla="*/ 110445 w 192708"/>
                    <a:gd name="connsiteY173" fmla="*/ 146190 h 146532"/>
                    <a:gd name="connsiteX174" fmla="*/ 108758 w 192708"/>
                    <a:gd name="connsiteY174" fmla="*/ 146532 h 146532"/>
                    <a:gd name="connsiteX175" fmla="*/ 107063 w 192708"/>
                    <a:gd name="connsiteY175" fmla="*/ 146100 h 146532"/>
                    <a:gd name="connsiteX176" fmla="*/ 105368 w 192708"/>
                    <a:gd name="connsiteY176" fmla="*/ 144910 h 146532"/>
                    <a:gd name="connsiteX177" fmla="*/ 103722 w 192708"/>
                    <a:gd name="connsiteY177" fmla="*/ 141178 h 146532"/>
                    <a:gd name="connsiteX178" fmla="*/ 102263 w 192708"/>
                    <a:gd name="connsiteY178" fmla="*/ 135522 h 146532"/>
                    <a:gd name="connsiteX179" fmla="*/ 101293 w 192708"/>
                    <a:gd name="connsiteY179" fmla="*/ 131789 h 146532"/>
                    <a:gd name="connsiteX180" fmla="*/ 101831 w 192708"/>
                    <a:gd name="connsiteY180" fmla="*/ 126981 h 146532"/>
                    <a:gd name="connsiteX181" fmla="*/ 102450 w 192708"/>
                    <a:gd name="connsiteY181" fmla="*/ 121496 h 146532"/>
                    <a:gd name="connsiteX182" fmla="*/ 103077 w 192708"/>
                    <a:gd name="connsiteY182" fmla="*/ 115922 h 146532"/>
                    <a:gd name="connsiteX183" fmla="*/ 104096 w 192708"/>
                    <a:gd name="connsiteY183" fmla="*/ 109475 h 146532"/>
                    <a:gd name="connsiteX184" fmla="*/ 104944 w 192708"/>
                    <a:gd name="connsiteY184" fmla="*/ 107177 h 146532"/>
                    <a:gd name="connsiteX185" fmla="*/ 104985 w 192708"/>
                    <a:gd name="connsiteY185" fmla="*/ 105645 h 146532"/>
                    <a:gd name="connsiteX186" fmla="*/ 104235 w 192708"/>
                    <a:gd name="connsiteY186" fmla="*/ 104871 h 146532"/>
                    <a:gd name="connsiteX187" fmla="*/ 102638 w 192708"/>
                    <a:gd name="connsiteY187" fmla="*/ 104912 h 146532"/>
                    <a:gd name="connsiteX188" fmla="*/ 100201 w 192708"/>
                    <a:gd name="connsiteY188" fmla="*/ 105767 h 146532"/>
                    <a:gd name="connsiteX189" fmla="*/ 98481 w 192708"/>
                    <a:gd name="connsiteY189" fmla="*/ 105922 h 146532"/>
                    <a:gd name="connsiteX190" fmla="*/ 97446 w 192708"/>
                    <a:gd name="connsiteY190" fmla="*/ 105368 h 146532"/>
                    <a:gd name="connsiteX191" fmla="*/ 97560 w 192708"/>
                    <a:gd name="connsiteY191" fmla="*/ 102361 h 146532"/>
                    <a:gd name="connsiteX192" fmla="*/ 98799 w 192708"/>
                    <a:gd name="connsiteY192" fmla="*/ 96925 h 146532"/>
                    <a:gd name="connsiteX193" fmla="*/ 96892 w 192708"/>
                    <a:gd name="connsiteY193" fmla="*/ 92345 h 146532"/>
                    <a:gd name="connsiteX194" fmla="*/ 91847 w 192708"/>
                    <a:gd name="connsiteY194" fmla="*/ 88620 h 146532"/>
                    <a:gd name="connsiteX195" fmla="*/ 87552 w 192708"/>
                    <a:gd name="connsiteY195" fmla="*/ 87324 h 146532"/>
                    <a:gd name="connsiteX196" fmla="*/ 83999 w 192708"/>
                    <a:gd name="connsiteY196" fmla="*/ 88465 h 146532"/>
                    <a:gd name="connsiteX197" fmla="*/ 81024 w 192708"/>
                    <a:gd name="connsiteY197" fmla="*/ 91416 h 146532"/>
                    <a:gd name="connsiteX198" fmla="*/ 78612 w 192708"/>
                    <a:gd name="connsiteY198" fmla="*/ 96199 h 146532"/>
                    <a:gd name="connsiteX199" fmla="*/ 76110 w 192708"/>
                    <a:gd name="connsiteY199" fmla="*/ 100103 h 146532"/>
                    <a:gd name="connsiteX200" fmla="*/ 73519 w 192708"/>
                    <a:gd name="connsiteY200" fmla="*/ 103143 h 146532"/>
                    <a:gd name="connsiteX201" fmla="*/ 71668 w 192708"/>
                    <a:gd name="connsiteY201" fmla="*/ 104602 h 146532"/>
                    <a:gd name="connsiteX202" fmla="*/ 71065 w 192708"/>
                    <a:gd name="connsiteY202" fmla="*/ 105164 h 146532"/>
                    <a:gd name="connsiteX203" fmla="*/ 70690 w 192708"/>
                    <a:gd name="connsiteY203" fmla="*/ 106452 h 146532"/>
                    <a:gd name="connsiteX204" fmla="*/ 72068 w 192708"/>
                    <a:gd name="connsiteY204" fmla="*/ 110486 h 146532"/>
                    <a:gd name="connsiteX205" fmla="*/ 71978 w 192708"/>
                    <a:gd name="connsiteY205" fmla="*/ 113868 h 146532"/>
                    <a:gd name="connsiteX206" fmla="*/ 70422 w 192708"/>
                    <a:gd name="connsiteY206" fmla="*/ 116598 h 146532"/>
                    <a:gd name="connsiteX207" fmla="*/ 68718 w 192708"/>
                    <a:gd name="connsiteY207" fmla="*/ 117894 h 146532"/>
                    <a:gd name="connsiteX208" fmla="*/ 66852 w 192708"/>
                    <a:gd name="connsiteY208" fmla="*/ 117772 h 146532"/>
                    <a:gd name="connsiteX209" fmla="*/ 65361 w 192708"/>
                    <a:gd name="connsiteY209" fmla="*/ 117136 h 146532"/>
                    <a:gd name="connsiteX210" fmla="*/ 64252 w 192708"/>
                    <a:gd name="connsiteY210" fmla="*/ 115995 h 146532"/>
                    <a:gd name="connsiteX211" fmla="*/ 61294 w 192708"/>
                    <a:gd name="connsiteY211" fmla="*/ 115685 h 146532"/>
                    <a:gd name="connsiteX212" fmla="*/ 56453 w 192708"/>
                    <a:gd name="connsiteY212" fmla="*/ 116207 h 146532"/>
                    <a:gd name="connsiteX213" fmla="*/ 53144 w 192708"/>
                    <a:gd name="connsiteY213" fmla="*/ 117568 h 146532"/>
                    <a:gd name="connsiteX214" fmla="*/ 51359 w 192708"/>
                    <a:gd name="connsiteY214" fmla="*/ 119785 h 146532"/>
                    <a:gd name="connsiteX215" fmla="*/ 50838 w 192708"/>
                    <a:gd name="connsiteY215" fmla="*/ 122694 h 146532"/>
                    <a:gd name="connsiteX216" fmla="*/ 51596 w 192708"/>
                    <a:gd name="connsiteY216" fmla="*/ 126313 h 146532"/>
                    <a:gd name="connsiteX217" fmla="*/ 51213 w 192708"/>
                    <a:gd name="connsiteY217" fmla="*/ 129075 h 146532"/>
                    <a:gd name="connsiteX218" fmla="*/ 49705 w 192708"/>
                    <a:gd name="connsiteY218" fmla="*/ 130999 h 146532"/>
                    <a:gd name="connsiteX219" fmla="*/ 48483 w 192708"/>
                    <a:gd name="connsiteY219" fmla="*/ 132107 h 146532"/>
                    <a:gd name="connsiteX220" fmla="*/ 47505 w 192708"/>
                    <a:gd name="connsiteY220" fmla="*/ 132392 h 146532"/>
                    <a:gd name="connsiteX221" fmla="*/ 45410 w 192708"/>
                    <a:gd name="connsiteY221" fmla="*/ 130730 h 146532"/>
                    <a:gd name="connsiteX222" fmla="*/ 42183 w 192708"/>
                    <a:gd name="connsiteY222" fmla="*/ 127128 h 146532"/>
                    <a:gd name="connsiteX223" fmla="*/ 39966 w 192708"/>
                    <a:gd name="connsiteY223" fmla="*/ 125172 h 146532"/>
                    <a:gd name="connsiteX224" fmla="*/ 38760 w 192708"/>
                    <a:gd name="connsiteY224" fmla="*/ 124878 h 146532"/>
                    <a:gd name="connsiteX225" fmla="*/ 38100 w 192708"/>
                    <a:gd name="connsiteY225" fmla="*/ 125074 h 146532"/>
                    <a:gd name="connsiteX226" fmla="*/ 37358 w 192708"/>
                    <a:gd name="connsiteY226" fmla="*/ 125449 h 146532"/>
                    <a:gd name="connsiteX227" fmla="*/ 36942 w 192708"/>
                    <a:gd name="connsiteY227" fmla="*/ 125913 h 146532"/>
                    <a:gd name="connsiteX228" fmla="*/ 36568 w 192708"/>
                    <a:gd name="connsiteY228" fmla="*/ 126989 h 146532"/>
                    <a:gd name="connsiteX229" fmla="*/ 35533 w 192708"/>
                    <a:gd name="connsiteY229" fmla="*/ 127413 h 146532"/>
                    <a:gd name="connsiteX230" fmla="*/ 34074 w 192708"/>
                    <a:gd name="connsiteY230" fmla="*/ 127071 h 146532"/>
                    <a:gd name="connsiteX231" fmla="*/ 32737 w 192708"/>
                    <a:gd name="connsiteY231" fmla="*/ 127388 h 146532"/>
                    <a:gd name="connsiteX232" fmla="*/ 31938 w 192708"/>
                    <a:gd name="connsiteY232" fmla="*/ 128521 h 146532"/>
                    <a:gd name="connsiteX233" fmla="*/ 29689 w 192708"/>
                    <a:gd name="connsiteY233" fmla="*/ 129890 h 146532"/>
                    <a:gd name="connsiteX234" fmla="*/ 25729 w 192708"/>
                    <a:gd name="connsiteY234" fmla="*/ 131414 h 146532"/>
                    <a:gd name="connsiteX235" fmla="*/ 23577 w 192708"/>
                    <a:gd name="connsiteY235" fmla="*/ 133052 h 146532"/>
                    <a:gd name="connsiteX236" fmla="*/ 23202 w 192708"/>
                    <a:gd name="connsiteY236" fmla="*/ 134788 h 146532"/>
                    <a:gd name="connsiteX237" fmla="*/ 22607 w 192708"/>
                    <a:gd name="connsiteY237" fmla="*/ 135563 h 146532"/>
                    <a:gd name="connsiteX238" fmla="*/ 21409 w 192708"/>
                    <a:gd name="connsiteY238" fmla="*/ 135277 h 146532"/>
                    <a:gd name="connsiteX239" fmla="*/ 17832 w 192708"/>
                    <a:gd name="connsiteY239" fmla="*/ 137665 h 146532"/>
                    <a:gd name="connsiteX240" fmla="*/ 15109 w 192708"/>
                    <a:gd name="connsiteY240" fmla="*/ 136924 h 146532"/>
                    <a:gd name="connsiteX241" fmla="*/ 12045 w 192708"/>
                    <a:gd name="connsiteY241" fmla="*/ 133851 h 146532"/>
                    <a:gd name="connsiteX242" fmla="*/ 10350 w 192708"/>
                    <a:gd name="connsiteY242" fmla="*/ 131325 h 146532"/>
                    <a:gd name="connsiteX243" fmla="*/ 10179 w 192708"/>
                    <a:gd name="connsiteY243" fmla="*/ 130257 h 146532"/>
                    <a:gd name="connsiteX244" fmla="*/ 11140 w 192708"/>
                    <a:gd name="connsiteY244" fmla="*/ 127837 h 146532"/>
                    <a:gd name="connsiteX245" fmla="*/ 11548 w 192708"/>
                    <a:gd name="connsiteY245" fmla="*/ 119760 h 146532"/>
                    <a:gd name="connsiteX246" fmla="*/ 12762 w 192708"/>
                    <a:gd name="connsiteY246" fmla="*/ 116965 h 146532"/>
                    <a:gd name="connsiteX247" fmla="*/ 16421 w 192708"/>
                    <a:gd name="connsiteY247" fmla="*/ 111945 h 146532"/>
                    <a:gd name="connsiteX248" fmla="*/ 18312 w 192708"/>
                    <a:gd name="connsiteY248" fmla="*/ 108114 h 146532"/>
                    <a:gd name="connsiteX249" fmla="*/ 20455 w 192708"/>
                    <a:gd name="connsiteY249" fmla="*/ 105001 h 146532"/>
                    <a:gd name="connsiteX250" fmla="*/ 22012 w 192708"/>
                    <a:gd name="connsiteY250" fmla="*/ 103958 h 146532"/>
                    <a:gd name="connsiteX251" fmla="*/ 23430 w 192708"/>
                    <a:gd name="connsiteY251" fmla="*/ 101505 h 146532"/>
                    <a:gd name="connsiteX252" fmla="*/ 24612 w 192708"/>
                    <a:gd name="connsiteY252" fmla="*/ 98701 h 146532"/>
                    <a:gd name="connsiteX253" fmla="*/ 24938 w 192708"/>
                    <a:gd name="connsiteY253" fmla="*/ 96933 h 146532"/>
                    <a:gd name="connsiteX254" fmla="*/ 24840 w 192708"/>
                    <a:gd name="connsiteY254" fmla="*/ 95547 h 146532"/>
                    <a:gd name="connsiteX255" fmla="*/ 24408 w 192708"/>
                    <a:gd name="connsiteY255" fmla="*/ 94651 h 146532"/>
                    <a:gd name="connsiteX256" fmla="*/ 22379 w 192708"/>
                    <a:gd name="connsiteY256" fmla="*/ 92752 h 146532"/>
                    <a:gd name="connsiteX257" fmla="*/ 19722 w 192708"/>
                    <a:gd name="connsiteY257" fmla="*/ 89777 h 146532"/>
                    <a:gd name="connsiteX258" fmla="*/ 18304 w 192708"/>
                    <a:gd name="connsiteY258" fmla="*/ 86738 h 146532"/>
                    <a:gd name="connsiteX259" fmla="*/ 17530 w 192708"/>
                    <a:gd name="connsiteY259" fmla="*/ 82858 h 146532"/>
                    <a:gd name="connsiteX260" fmla="*/ 17334 w 192708"/>
                    <a:gd name="connsiteY260" fmla="*/ 80161 h 146532"/>
                    <a:gd name="connsiteX261" fmla="*/ 19828 w 192708"/>
                    <a:gd name="connsiteY261" fmla="*/ 72712 h 146532"/>
                    <a:gd name="connsiteX262" fmla="*/ 19437 w 192708"/>
                    <a:gd name="connsiteY262" fmla="*/ 71465 h 146532"/>
                    <a:gd name="connsiteX263" fmla="*/ 18711 w 192708"/>
                    <a:gd name="connsiteY263" fmla="*/ 70308 h 146532"/>
                    <a:gd name="connsiteX264" fmla="*/ 17245 w 192708"/>
                    <a:gd name="connsiteY264" fmla="*/ 69582 h 146532"/>
                    <a:gd name="connsiteX265" fmla="*/ 15142 w 192708"/>
                    <a:gd name="connsiteY265" fmla="*/ 69265 h 146532"/>
                    <a:gd name="connsiteX266" fmla="*/ 13056 w 192708"/>
                    <a:gd name="connsiteY266" fmla="*/ 69599 h 146532"/>
                    <a:gd name="connsiteX267" fmla="*/ 10399 w 192708"/>
                    <a:gd name="connsiteY267" fmla="*/ 69623 h 146532"/>
                    <a:gd name="connsiteX268" fmla="*/ 8557 w 192708"/>
                    <a:gd name="connsiteY268" fmla="*/ 69207 h 146532"/>
                    <a:gd name="connsiteX269" fmla="*/ 8109 w 192708"/>
                    <a:gd name="connsiteY269" fmla="*/ 68743 h 146532"/>
                    <a:gd name="connsiteX270" fmla="*/ 7881 w 192708"/>
                    <a:gd name="connsiteY270" fmla="*/ 65344 h 146532"/>
                    <a:gd name="connsiteX271" fmla="*/ 7408 w 192708"/>
                    <a:gd name="connsiteY271" fmla="*/ 64603 h 146532"/>
                    <a:gd name="connsiteX272" fmla="*/ 6617 w 192708"/>
                    <a:gd name="connsiteY272" fmla="*/ 63951 h 146532"/>
                    <a:gd name="connsiteX273" fmla="*/ 1255 w 192708"/>
                    <a:gd name="connsiteY273" fmla="*/ 62386 h 146532"/>
                    <a:gd name="connsiteX274" fmla="*/ 195 w 192708"/>
                    <a:gd name="connsiteY274" fmla="*/ 61710 h 146532"/>
                    <a:gd name="connsiteX275" fmla="*/ 0 w 192708"/>
                    <a:gd name="connsiteY275" fmla="*/ 60854 h 146532"/>
                    <a:gd name="connsiteX276" fmla="*/ 1899 w 192708"/>
                    <a:gd name="connsiteY276" fmla="*/ 53307 h 146532"/>
                    <a:gd name="connsiteX277" fmla="*/ 2730 w 192708"/>
                    <a:gd name="connsiteY277" fmla="*/ 52737 h 146532"/>
                    <a:gd name="connsiteX278" fmla="*/ 3537 w 192708"/>
                    <a:gd name="connsiteY278" fmla="*/ 51506 h 146532"/>
                    <a:gd name="connsiteX279" fmla="*/ 4792 w 192708"/>
                    <a:gd name="connsiteY279" fmla="*/ 50194 h 146532"/>
                    <a:gd name="connsiteX280" fmla="*/ 9168 w 192708"/>
                    <a:gd name="connsiteY280" fmla="*/ 48043 h 146532"/>
                    <a:gd name="connsiteX281" fmla="*/ 13863 w 192708"/>
                    <a:gd name="connsiteY281" fmla="*/ 48980 h 146532"/>
                    <a:gd name="connsiteX282" fmla="*/ 18051 w 192708"/>
                    <a:gd name="connsiteY282" fmla="*/ 49982 h 146532"/>
                    <a:gd name="connsiteX283" fmla="*/ 22216 w 192708"/>
                    <a:gd name="connsiteY283" fmla="*/ 50520 h 146532"/>
                    <a:gd name="connsiteX284" fmla="*/ 23658 w 192708"/>
                    <a:gd name="connsiteY284" fmla="*/ 50871 h 146532"/>
                    <a:gd name="connsiteX285" fmla="*/ 26038 w 192708"/>
                    <a:gd name="connsiteY285" fmla="*/ 51172 h 146532"/>
                    <a:gd name="connsiteX286" fmla="*/ 27627 w 192708"/>
                    <a:gd name="connsiteY286" fmla="*/ 50911 h 146532"/>
                    <a:gd name="connsiteX287" fmla="*/ 28703 w 192708"/>
                    <a:gd name="connsiteY287" fmla="*/ 50023 h 146532"/>
                    <a:gd name="connsiteX288" fmla="*/ 30675 w 192708"/>
                    <a:gd name="connsiteY288" fmla="*/ 47586 h 146532"/>
                    <a:gd name="connsiteX289" fmla="*/ 31270 w 192708"/>
                    <a:gd name="connsiteY289" fmla="*/ 43919 h 146532"/>
                    <a:gd name="connsiteX290" fmla="*/ 31988 w 192708"/>
                    <a:gd name="connsiteY290" fmla="*/ 40692 h 146532"/>
                    <a:gd name="connsiteX291" fmla="*/ 33177 w 192708"/>
                    <a:gd name="connsiteY291" fmla="*/ 40439 h 146532"/>
                    <a:gd name="connsiteX292" fmla="*/ 34375 w 192708"/>
                    <a:gd name="connsiteY292" fmla="*/ 40781 h 146532"/>
                    <a:gd name="connsiteX293" fmla="*/ 34938 w 192708"/>
                    <a:gd name="connsiteY293" fmla="*/ 40121 h 146532"/>
                    <a:gd name="connsiteX294" fmla="*/ 35182 w 192708"/>
                    <a:gd name="connsiteY294" fmla="*/ 39233 h 146532"/>
                    <a:gd name="connsiteX295" fmla="*/ 35427 w 192708"/>
                    <a:gd name="connsiteY295" fmla="*/ 38475 h 146532"/>
                    <a:gd name="connsiteX296" fmla="*/ 35924 w 192708"/>
                    <a:gd name="connsiteY296" fmla="*/ 38304 h 146532"/>
                    <a:gd name="connsiteX297" fmla="*/ 36780 w 192708"/>
                    <a:gd name="connsiteY297" fmla="*/ 39143 h 146532"/>
                    <a:gd name="connsiteX298" fmla="*/ 37277 w 192708"/>
                    <a:gd name="connsiteY298" fmla="*/ 38923 h 146532"/>
                    <a:gd name="connsiteX299" fmla="*/ 37676 w 192708"/>
                    <a:gd name="connsiteY299" fmla="*/ 38361 h 146532"/>
                    <a:gd name="connsiteX300" fmla="*/ 37562 w 192708"/>
                    <a:gd name="connsiteY300" fmla="*/ 37693 h 146532"/>
                    <a:gd name="connsiteX301" fmla="*/ 36576 w 192708"/>
                    <a:gd name="connsiteY301" fmla="*/ 36560 h 146532"/>
                    <a:gd name="connsiteX302" fmla="*/ 35712 w 192708"/>
                    <a:gd name="connsiteY302" fmla="*/ 34775 h 146532"/>
                    <a:gd name="connsiteX303" fmla="*/ 35801 w 192708"/>
                    <a:gd name="connsiteY303" fmla="*/ 34155 h 146532"/>
                    <a:gd name="connsiteX304" fmla="*/ 36103 w 192708"/>
                    <a:gd name="connsiteY304" fmla="*/ 33520 h 146532"/>
                    <a:gd name="connsiteX305" fmla="*/ 38670 w 192708"/>
                    <a:gd name="connsiteY305" fmla="*/ 32909 h 146532"/>
                    <a:gd name="connsiteX306" fmla="*/ 39836 w 192708"/>
                    <a:gd name="connsiteY306" fmla="*/ 32803 h 146532"/>
                    <a:gd name="connsiteX307" fmla="*/ 40251 w 192708"/>
                    <a:gd name="connsiteY307" fmla="*/ 32167 h 146532"/>
                    <a:gd name="connsiteX308" fmla="*/ 40105 w 192708"/>
                    <a:gd name="connsiteY308" fmla="*/ 31156 h 146532"/>
                    <a:gd name="connsiteX309" fmla="*/ 39127 w 192708"/>
                    <a:gd name="connsiteY309" fmla="*/ 30594 h 146532"/>
                    <a:gd name="connsiteX310" fmla="*/ 35598 w 192708"/>
                    <a:gd name="connsiteY310" fmla="*/ 30904 h 146532"/>
                    <a:gd name="connsiteX311" fmla="*/ 32012 w 192708"/>
                    <a:gd name="connsiteY311" fmla="*/ 30830 h 146532"/>
                    <a:gd name="connsiteX312" fmla="*/ 31572 w 192708"/>
                    <a:gd name="connsiteY312" fmla="*/ 30219 h 146532"/>
                    <a:gd name="connsiteX313" fmla="*/ 31776 w 192708"/>
                    <a:gd name="connsiteY313" fmla="*/ 29551 h 146532"/>
                    <a:gd name="connsiteX314" fmla="*/ 32313 w 192708"/>
                    <a:gd name="connsiteY314" fmla="*/ 29021 h 146532"/>
                    <a:gd name="connsiteX315" fmla="*/ 39738 w 192708"/>
                    <a:gd name="connsiteY315" fmla="*/ 27660 h 146532"/>
                    <a:gd name="connsiteX316" fmla="*/ 43666 w 192708"/>
                    <a:gd name="connsiteY316" fmla="*/ 28133 h 146532"/>
                    <a:gd name="connsiteX317" fmla="*/ 46583 w 192708"/>
                    <a:gd name="connsiteY317" fmla="*/ 28850 h 146532"/>
                    <a:gd name="connsiteX318" fmla="*/ 47741 w 192708"/>
                    <a:gd name="connsiteY318" fmla="*/ 28491 h 146532"/>
                    <a:gd name="connsiteX319" fmla="*/ 46372 w 192708"/>
                    <a:gd name="connsiteY319" fmla="*/ 25435 h 146532"/>
                    <a:gd name="connsiteX320" fmla="*/ 48230 w 192708"/>
                    <a:gd name="connsiteY320" fmla="*/ 25150 h 146532"/>
                    <a:gd name="connsiteX321" fmla="*/ 48475 w 192708"/>
                    <a:gd name="connsiteY321" fmla="*/ 24107 h 146532"/>
                    <a:gd name="connsiteX322" fmla="*/ 46046 w 192708"/>
                    <a:gd name="connsiteY322" fmla="*/ 15973 h 146532"/>
                    <a:gd name="connsiteX323" fmla="*/ 47374 w 192708"/>
                    <a:gd name="connsiteY323" fmla="*/ 15264 h 146532"/>
                    <a:gd name="connsiteX324" fmla="*/ 48711 w 192708"/>
                    <a:gd name="connsiteY324" fmla="*/ 13659 h 146532"/>
                    <a:gd name="connsiteX325" fmla="*/ 48596 w 192708"/>
                    <a:gd name="connsiteY325" fmla="*/ 10619 h 146532"/>
                    <a:gd name="connsiteX326" fmla="*/ 49786 w 192708"/>
                    <a:gd name="connsiteY326" fmla="*/ 9144 h 146532"/>
                    <a:gd name="connsiteX327" fmla="*/ 51196 w 192708"/>
                    <a:gd name="connsiteY327" fmla="*/ 8125 h 146532"/>
                    <a:gd name="connsiteX328" fmla="*/ 53291 w 192708"/>
                    <a:gd name="connsiteY328" fmla="*/ 9144 h 146532"/>
                    <a:gd name="connsiteX329" fmla="*/ 56518 w 192708"/>
                    <a:gd name="connsiteY329" fmla="*/ 12143 h 146532"/>
                    <a:gd name="connsiteX330" fmla="*/ 57577 w 192708"/>
                    <a:gd name="connsiteY330" fmla="*/ 12730 h 146532"/>
                    <a:gd name="connsiteX331" fmla="*/ 58621 w 192708"/>
                    <a:gd name="connsiteY331" fmla="*/ 12901 h 146532"/>
                    <a:gd name="connsiteX332" fmla="*/ 60120 w 192708"/>
                    <a:gd name="connsiteY332" fmla="*/ 11972 h 146532"/>
                    <a:gd name="connsiteX333" fmla="*/ 65882 w 192708"/>
                    <a:gd name="connsiteY333" fmla="*/ 8997 h 146532"/>
                    <a:gd name="connsiteX334" fmla="*/ 69118 w 192708"/>
                    <a:gd name="connsiteY334" fmla="*/ 7327 h 146532"/>
                    <a:gd name="connsiteX335" fmla="*/ 72981 w 192708"/>
                    <a:gd name="connsiteY335" fmla="*/ 4898 h 146532"/>
                    <a:gd name="connsiteX336" fmla="*/ 73649 w 192708"/>
                    <a:gd name="connsiteY336" fmla="*/ 3961 h 146532"/>
                    <a:gd name="connsiteX337" fmla="*/ 74986 w 192708"/>
                    <a:gd name="connsiteY337" fmla="*/ 261 h 146532"/>
                    <a:gd name="connsiteX338" fmla="*/ 75711 w 192708"/>
                    <a:gd name="connsiteY338" fmla="*/ 0 h 146532"/>
                    <a:gd name="connsiteX339" fmla="*/ 76689 w 192708"/>
                    <a:gd name="connsiteY339" fmla="*/ 399 h 146532"/>
                    <a:gd name="connsiteX340" fmla="*/ 80079 w 192708"/>
                    <a:gd name="connsiteY340" fmla="*/ 4213 h 146532"/>
                    <a:gd name="connsiteX341" fmla="*/ 82043 w 192708"/>
                    <a:gd name="connsiteY341" fmla="*/ 6658 h 146532"/>
                    <a:gd name="connsiteX342" fmla="*/ 82043 w 192708"/>
                    <a:gd name="connsiteY342" fmla="*/ 7498 h 146532"/>
                    <a:gd name="connsiteX343" fmla="*/ 81481 w 192708"/>
                    <a:gd name="connsiteY343" fmla="*/ 8133 h 146532"/>
                    <a:gd name="connsiteX344" fmla="*/ 81603 w 192708"/>
                    <a:gd name="connsiteY344" fmla="*/ 8753 h 146532"/>
                    <a:gd name="connsiteX345" fmla="*/ 84374 w 192708"/>
                    <a:gd name="connsiteY345" fmla="*/ 10073 h 146532"/>
                    <a:gd name="connsiteX346" fmla="*/ 84374 w 192708"/>
                    <a:gd name="connsiteY346" fmla="*/ 10684 h 146532"/>
                    <a:gd name="connsiteX347" fmla="*/ 83747 w 192708"/>
                    <a:gd name="connsiteY347" fmla="*/ 11841 h 146532"/>
                    <a:gd name="connsiteX348" fmla="*/ 83404 w 192708"/>
                    <a:gd name="connsiteY348" fmla="*/ 12477 h 146532"/>
                    <a:gd name="connsiteX349" fmla="*/ 83086 w 192708"/>
                    <a:gd name="connsiteY349" fmla="*/ 12787 h 146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192708" h="146532">
                      <a:moveTo>
                        <a:pt x="83086" y="12787"/>
                      </a:moveTo>
                      <a:lnTo>
                        <a:pt x="79370" y="16136"/>
                      </a:lnTo>
                      <a:lnTo>
                        <a:pt x="75254" y="19853"/>
                      </a:lnTo>
                      <a:lnTo>
                        <a:pt x="75107" y="20334"/>
                      </a:lnTo>
                      <a:lnTo>
                        <a:pt x="74928" y="21263"/>
                      </a:lnTo>
                      <a:lnTo>
                        <a:pt x="74977" y="22208"/>
                      </a:lnTo>
                      <a:lnTo>
                        <a:pt x="75646" y="22982"/>
                      </a:lnTo>
                      <a:lnTo>
                        <a:pt x="77422" y="23528"/>
                      </a:lnTo>
                      <a:lnTo>
                        <a:pt x="78995" y="24237"/>
                      </a:lnTo>
                      <a:lnTo>
                        <a:pt x="79794" y="26185"/>
                      </a:lnTo>
                      <a:lnTo>
                        <a:pt x="80706" y="27986"/>
                      </a:lnTo>
                      <a:lnTo>
                        <a:pt x="81961" y="28426"/>
                      </a:lnTo>
                      <a:lnTo>
                        <a:pt x="88074" y="27285"/>
                      </a:lnTo>
                      <a:lnTo>
                        <a:pt x="89525" y="27138"/>
                      </a:lnTo>
                      <a:lnTo>
                        <a:pt x="89590" y="27758"/>
                      </a:lnTo>
                      <a:lnTo>
                        <a:pt x="89239" y="28883"/>
                      </a:lnTo>
                      <a:lnTo>
                        <a:pt x="84080" y="30798"/>
                      </a:lnTo>
                      <a:lnTo>
                        <a:pt x="81742" y="32420"/>
                      </a:lnTo>
                      <a:lnTo>
                        <a:pt x="81245" y="35280"/>
                      </a:lnTo>
                      <a:lnTo>
                        <a:pt x="80625" y="36111"/>
                      </a:lnTo>
                      <a:lnTo>
                        <a:pt x="79566" y="36788"/>
                      </a:lnTo>
                      <a:lnTo>
                        <a:pt x="78531" y="36943"/>
                      </a:lnTo>
                      <a:lnTo>
                        <a:pt x="76958" y="33577"/>
                      </a:lnTo>
                      <a:lnTo>
                        <a:pt x="75157" y="32876"/>
                      </a:lnTo>
                      <a:lnTo>
                        <a:pt x="72565" y="31686"/>
                      </a:lnTo>
                      <a:lnTo>
                        <a:pt x="67537" y="29380"/>
                      </a:lnTo>
                      <a:lnTo>
                        <a:pt x="64937" y="28377"/>
                      </a:lnTo>
                      <a:lnTo>
                        <a:pt x="59949" y="29877"/>
                      </a:lnTo>
                      <a:lnTo>
                        <a:pt x="54114" y="31939"/>
                      </a:lnTo>
                      <a:lnTo>
                        <a:pt x="53210" y="33186"/>
                      </a:lnTo>
                      <a:lnTo>
                        <a:pt x="52590" y="34538"/>
                      </a:lnTo>
                      <a:lnTo>
                        <a:pt x="52655" y="35557"/>
                      </a:lnTo>
                      <a:lnTo>
                        <a:pt x="53071" y="36918"/>
                      </a:lnTo>
                      <a:lnTo>
                        <a:pt x="52786" y="37953"/>
                      </a:lnTo>
                      <a:lnTo>
                        <a:pt x="51693" y="38296"/>
                      </a:lnTo>
                      <a:lnTo>
                        <a:pt x="50039" y="37032"/>
                      </a:lnTo>
                      <a:lnTo>
                        <a:pt x="48589" y="36307"/>
                      </a:lnTo>
                      <a:lnTo>
                        <a:pt x="47888" y="38027"/>
                      </a:lnTo>
                      <a:lnTo>
                        <a:pt x="47040" y="41091"/>
                      </a:lnTo>
                      <a:lnTo>
                        <a:pt x="46657" y="43324"/>
                      </a:lnTo>
                      <a:lnTo>
                        <a:pt x="47920" y="46551"/>
                      </a:lnTo>
                      <a:lnTo>
                        <a:pt x="48352" y="51319"/>
                      </a:lnTo>
                      <a:lnTo>
                        <a:pt x="50683" y="51058"/>
                      </a:lnTo>
                      <a:lnTo>
                        <a:pt x="52468" y="51074"/>
                      </a:lnTo>
                      <a:lnTo>
                        <a:pt x="55825" y="49664"/>
                      </a:lnTo>
                      <a:lnTo>
                        <a:pt x="57512" y="49632"/>
                      </a:lnTo>
                      <a:lnTo>
                        <a:pt x="60120" y="50243"/>
                      </a:lnTo>
                      <a:lnTo>
                        <a:pt x="64676" y="50365"/>
                      </a:lnTo>
                      <a:lnTo>
                        <a:pt x="68286" y="50113"/>
                      </a:lnTo>
                      <a:lnTo>
                        <a:pt x="69158" y="50219"/>
                      </a:lnTo>
                      <a:lnTo>
                        <a:pt x="70006" y="49322"/>
                      </a:lnTo>
                      <a:lnTo>
                        <a:pt x="70952" y="49632"/>
                      </a:lnTo>
                      <a:lnTo>
                        <a:pt x="71839" y="50732"/>
                      </a:lnTo>
                      <a:lnTo>
                        <a:pt x="75491" y="49395"/>
                      </a:lnTo>
                      <a:lnTo>
                        <a:pt x="78188" y="49216"/>
                      </a:lnTo>
                      <a:lnTo>
                        <a:pt x="79843" y="49607"/>
                      </a:lnTo>
                      <a:lnTo>
                        <a:pt x="80829" y="49990"/>
                      </a:lnTo>
                      <a:lnTo>
                        <a:pt x="82589" y="53136"/>
                      </a:lnTo>
                      <a:lnTo>
                        <a:pt x="83942" y="55100"/>
                      </a:lnTo>
                      <a:lnTo>
                        <a:pt x="85580" y="55720"/>
                      </a:lnTo>
                      <a:lnTo>
                        <a:pt x="90682" y="55141"/>
                      </a:lnTo>
                      <a:lnTo>
                        <a:pt x="92173" y="52386"/>
                      </a:lnTo>
                      <a:lnTo>
                        <a:pt x="93494" y="51710"/>
                      </a:lnTo>
                      <a:lnTo>
                        <a:pt x="95588" y="51498"/>
                      </a:lnTo>
                      <a:lnTo>
                        <a:pt x="97332" y="50976"/>
                      </a:lnTo>
                      <a:lnTo>
                        <a:pt x="98710" y="49844"/>
                      </a:lnTo>
                      <a:lnTo>
                        <a:pt x="100592" y="48866"/>
                      </a:lnTo>
                      <a:lnTo>
                        <a:pt x="102222" y="48670"/>
                      </a:lnTo>
                      <a:lnTo>
                        <a:pt x="103037" y="49395"/>
                      </a:lnTo>
                      <a:lnTo>
                        <a:pt x="103387" y="50357"/>
                      </a:lnTo>
                      <a:lnTo>
                        <a:pt x="103118" y="51596"/>
                      </a:lnTo>
                      <a:lnTo>
                        <a:pt x="103045" y="52892"/>
                      </a:lnTo>
                      <a:lnTo>
                        <a:pt x="104113" y="53756"/>
                      </a:lnTo>
                      <a:lnTo>
                        <a:pt x="107250" y="53951"/>
                      </a:lnTo>
                      <a:lnTo>
                        <a:pt x="108725" y="54766"/>
                      </a:lnTo>
                      <a:lnTo>
                        <a:pt x="108807" y="56298"/>
                      </a:lnTo>
                      <a:lnTo>
                        <a:pt x="108570" y="58702"/>
                      </a:lnTo>
                      <a:lnTo>
                        <a:pt x="109883" y="59672"/>
                      </a:lnTo>
                      <a:lnTo>
                        <a:pt x="110567" y="59754"/>
                      </a:lnTo>
                      <a:lnTo>
                        <a:pt x="115147" y="57211"/>
                      </a:lnTo>
                      <a:lnTo>
                        <a:pt x="116427" y="57162"/>
                      </a:lnTo>
                      <a:lnTo>
                        <a:pt x="117454" y="58564"/>
                      </a:lnTo>
                      <a:lnTo>
                        <a:pt x="119018" y="60251"/>
                      </a:lnTo>
                      <a:lnTo>
                        <a:pt x="121064" y="62044"/>
                      </a:lnTo>
                      <a:lnTo>
                        <a:pt x="121561" y="61775"/>
                      </a:lnTo>
                      <a:lnTo>
                        <a:pt x="122490" y="59811"/>
                      </a:lnTo>
                      <a:lnTo>
                        <a:pt x="124243" y="57684"/>
                      </a:lnTo>
                      <a:lnTo>
                        <a:pt x="127527" y="56991"/>
                      </a:lnTo>
                      <a:lnTo>
                        <a:pt x="129344" y="56315"/>
                      </a:lnTo>
                      <a:lnTo>
                        <a:pt x="131243" y="56021"/>
                      </a:lnTo>
                      <a:lnTo>
                        <a:pt x="137013" y="56885"/>
                      </a:lnTo>
                      <a:lnTo>
                        <a:pt x="138912" y="56999"/>
                      </a:lnTo>
                      <a:lnTo>
                        <a:pt x="142873" y="56828"/>
                      </a:lnTo>
                      <a:lnTo>
                        <a:pt x="145986" y="56404"/>
                      </a:lnTo>
                      <a:lnTo>
                        <a:pt x="148504" y="55125"/>
                      </a:lnTo>
                      <a:lnTo>
                        <a:pt x="149784" y="54106"/>
                      </a:lnTo>
                      <a:lnTo>
                        <a:pt x="151829" y="53503"/>
                      </a:lnTo>
                      <a:lnTo>
                        <a:pt x="154437" y="53601"/>
                      </a:lnTo>
                      <a:lnTo>
                        <a:pt x="155831" y="53894"/>
                      </a:lnTo>
                      <a:lnTo>
                        <a:pt x="155953" y="55654"/>
                      </a:lnTo>
                      <a:lnTo>
                        <a:pt x="155619" y="58996"/>
                      </a:lnTo>
                      <a:lnTo>
                        <a:pt x="155228" y="61310"/>
                      </a:lnTo>
                      <a:lnTo>
                        <a:pt x="157290" y="65524"/>
                      </a:lnTo>
                      <a:lnTo>
                        <a:pt x="158610" y="67545"/>
                      </a:lnTo>
                      <a:lnTo>
                        <a:pt x="159889" y="68971"/>
                      </a:lnTo>
                      <a:lnTo>
                        <a:pt x="160134" y="70104"/>
                      </a:lnTo>
                      <a:lnTo>
                        <a:pt x="159865" y="71025"/>
                      </a:lnTo>
                      <a:lnTo>
                        <a:pt x="158268" y="71921"/>
                      </a:lnTo>
                      <a:lnTo>
                        <a:pt x="157697" y="72883"/>
                      </a:lnTo>
                      <a:lnTo>
                        <a:pt x="157436" y="73959"/>
                      </a:lnTo>
                      <a:lnTo>
                        <a:pt x="157941" y="75206"/>
                      </a:lnTo>
                      <a:lnTo>
                        <a:pt x="158871" y="79191"/>
                      </a:lnTo>
                      <a:lnTo>
                        <a:pt x="160044" y="82280"/>
                      </a:lnTo>
                      <a:lnTo>
                        <a:pt x="161715" y="83755"/>
                      </a:lnTo>
                      <a:lnTo>
                        <a:pt x="164225" y="84741"/>
                      </a:lnTo>
                      <a:lnTo>
                        <a:pt x="165602" y="84529"/>
                      </a:lnTo>
                      <a:lnTo>
                        <a:pt x="166596" y="82223"/>
                      </a:lnTo>
                      <a:lnTo>
                        <a:pt x="168227" y="80454"/>
                      </a:lnTo>
                      <a:lnTo>
                        <a:pt x="169612" y="80576"/>
                      </a:lnTo>
                      <a:lnTo>
                        <a:pt x="171845" y="80503"/>
                      </a:lnTo>
                      <a:lnTo>
                        <a:pt x="177721" y="82516"/>
                      </a:lnTo>
                      <a:lnTo>
                        <a:pt x="183442" y="85539"/>
                      </a:lnTo>
                      <a:lnTo>
                        <a:pt x="185121" y="87210"/>
                      </a:lnTo>
                      <a:lnTo>
                        <a:pt x="185699" y="89093"/>
                      </a:lnTo>
                      <a:lnTo>
                        <a:pt x="184119" y="93437"/>
                      </a:lnTo>
                      <a:lnTo>
                        <a:pt x="184192" y="96216"/>
                      </a:lnTo>
                      <a:lnTo>
                        <a:pt x="184550" y="99174"/>
                      </a:lnTo>
                      <a:lnTo>
                        <a:pt x="185863" y="101366"/>
                      </a:lnTo>
                      <a:lnTo>
                        <a:pt x="187052" y="105123"/>
                      </a:lnTo>
                      <a:lnTo>
                        <a:pt x="187289" y="108237"/>
                      </a:lnTo>
                      <a:lnTo>
                        <a:pt x="187810" y="109157"/>
                      </a:lnTo>
                      <a:lnTo>
                        <a:pt x="188234" y="110250"/>
                      </a:lnTo>
                      <a:lnTo>
                        <a:pt x="187590" y="113102"/>
                      </a:lnTo>
                      <a:lnTo>
                        <a:pt x="187142" y="115971"/>
                      </a:lnTo>
                      <a:lnTo>
                        <a:pt x="187664" y="116924"/>
                      </a:lnTo>
                      <a:lnTo>
                        <a:pt x="189424" y="118342"/>
                      </a:lnTo>
                      <a:lnTo>
                        <a:pt x="192170" y="120983"/>
                      </a:lnTo>
                      <a:lnTo>
                        <a:pt x="192709" y="123175"/>
                      </a:lnTo>
                      <a:lnTo>
                        <a:pt x="191714" y="124569"/>
                      </a:lnTo>
                      <a:lnTo>
                        <a:pt x="189962" y="126247"/>
                      </a:lnTo>
                      <a:lnTo>
                        <a:pt x="187729" y="127698"/>
                      </a:lnTo>
                      <a:lnTo>
                        <a:pt x="187060" y="128309"/>
                      </a:lnTo>
                      <a:lnTo>
                        <a:pt x="186661" y="127967"/>
                      </a:lnTo>
                      <a:lnTo>
                        <a:pt x="185545" y="126500"/>
                      </a:lnTo>
                      <a:lnTo>
                        <a:pt x="183067" y="124128"/>
                      </a:lnTo>
                      <a:lnTo>
                        <a:pt x="181299" y="122882"/>
                      </a:lnTo>
                      <a:lnTo>
                        <a:pt x="177949" y="123281"/>
                      </a:lnTo>
                      <a:lnTo>
                        <a:pt x="175985" y="122841"/>
                      </a:lnTo>
                      <a:lnTo>
                        <a:pt x="173605" y="122067"/>
                      </a:lnTo>
                      <a:lnTo>
                        <a:pt x="171397" y="122181"/>
                      </a:lnTo>
                      <a:lnTo>
                        <a:pt x="169995" y="123615"/>
                      </a:lnTo>
                      <a:lnTo>
                        <a:pt x="169107" y="125049"/>
                      </a:lnTo>
                      <a:lnTo>
                        <a:pt x="166890" y="125490"/>
                      </a:lnTo>
                      <a:lnTo>
                        <a:pt x="163687" y="126590"/>
                      </a:lnTo>
                      <a:lnTo>
                        <a:pt x="158748" y="128301"/>
                      </a:lnTo>
                      <a:lnTo>
                        <a:pt x="156377" y="128049"/>
                      </a:lnTo>
                      <a:lnTo>
                        <a:pt x="155733" y="127307"/>
                      </a:lnTo>
                      <a:lnTo>
                        <a:pt x="156247" y="126313"/>
                      </a:lnTo>
                      <a:lnTo>
                        <a:pt x="157941" y="125041"/>
                      </a:lnTo>
                      <a:lnTo>
                        <a:pt x="158357" y="123493"/>
                      </a:lnTo>
                      <a:lnTo>
                        <a:pt x="158039" y="122067"/>
                      </a:lnTo>
                      <a:lnTo>
                        <a:pt x="156459" y="121675"/>
                      </a:lnTo>
                      <a:lnTo>
                        <a:pt x="155855" y="121455"/>
                      </a:lnTo>
                      <a:lnTo>
                        <a:pt x="155163" y="121162"/>
                      </a:lnTo>
                      <a:lnTo>
                        <a:pt x="152098" y="120306"/>
                      </a:lnTo>
                      <a:lnTo>
                        <a:pt x="149653" y="120624"/>
                      </a:lnTo>
                      <a:lnTo>
                        <a:pt x="145399" y="122417"/>
                      </a:lnTo>
                      <a:lnTo>
                        <a:pt x="137567" y="127119"/>
                      </a:lnTo>
                      <a:lnTo>
                        <a:pt x="134136" y="130282"/>
                      </a:lnTo>
                      <a:lnTo>
                        <a:pt x="131667" y="135066"/>
                      </a:lnTo>
                      <a:lnTo>
                        <a:pt x="124259" y="136598"/>
                      </a:lnTo>
                      <a:lnTo>
                        <a:pt x="119165" y="139344"/>
                      </a:lnTo>
                      <a:lnTo>
                        <a:pt x="113917" y="143802"/>
                      </a:lnTo>
                      <a:lnTo>
                        <a:pt x="110445" y="146190"/>
                      </a:lnTo>
                      <a:lnTo>
                        <a:pt x="108758" y="146532"/>
                      </a:lnTo>
                      <a:lnTo>
                        <a:pt x="107063" y="146100"/>
                      </a:lnTo>
                      <a:lnTo>
                        <a:pt x="105368" y="144910"/>
                      </a:lnTo>
                      <a:lnTo>
                        <a:pt x="103722" y="141178"/>
                      </a:lnTo>
                      <a:lnTo>
                        <a:pt x="102263" y="135522"/>
                      </a:lnTo>
                      <a:lnTo>
                        <a:pt x="101293" y="131789"/>
                      </a:lnTo>
                      <a:lnTo>
                        <a:pt x="101831" y="126981"/>
                      </a:lnTo>
                      <a:lnTo>
                        <a:pt x="102450" y="121496"/>
                      </a:lnTo>
                      <a:lnTo>
                        <a:pt x="103077" y="115922"/>
                      </a:lnTo>
                      <a:lnTo>
                        <a:pt x="104096" y="109475"/>
                      </a:lnTo>
                      <a:lnTo>
                        <a:pt x="104944" y="107177"/>
                      </a:lnTo>
                      <a:lnTo>
                        <a:pt x="104985" y="105645"/>
                      </a:lnTo>
                      <a:lnTo>
                        <a:pt x="104235" y="104871"/>
                      </a:lnTo>
                      <a:lnTo>
                        <a:pt x="102638" y="104912"/>
                      </a:lnTo>
                      <a:lnTo>
                        <a:pt x="100201" y="105767"/>
                      </a:lnTo>
                      <a:lnTo>
                        <a:pt x="98481" y="105922"/>
                      </a:lnTo>
                      <a:lnTo>
                        <a:pt x="97446" y="105368"/>
                      </a:lnTo>
                      <a:lnTo>
                        <a:pt x="97560" y="102361"/>
                      </a:lnTo>
                      <a:lnTo>
                        <a:pt x="98799" y="96925"/>
                      </a:lnTo>
                      <a:lnTo>
                        <a:pt x="96892" y="92345"/>
                      </a:lnTo>
                      <a:lnTo>
                        <a:pt x="91847" y="88620"/>
                      </a:lnTo>
                      <a:lnTo>
                        <a:pt x="87552" y="87324"/>
                      </a:lnTo>
                      <a:lnTo>
                        <a:pt x="83999" y="88465"/>
                      </a:lnTo>
                      <a:lnTo>
                        <a:pt x="81024" y="91416"/>
                      </a:lnTo>
                      <a:lnTo>
                        <a:pt x="78612" y="96199"/>
                      </a:lnTo>
                      <a:lnTo>
                        <a:pt x="76110" y="100103"/>
                      </a:lnTo>
                      <a:lnTo>
                        <a:pt x="73519" y="103143"/>
                      </a:lnTo>
                      <a:lnTo>
                        <a:pt x="71668" y="104602"/>
                      </a:lnTo>
                      <a:lnTo>
                        <a:pt x="71065" y="105164"/>
                      </a:lnTo>
                      <a:lnTo>
                        <a:pt x="70690" y="106452"/>
                      </a:lnTo>
                      <a:lnTo>
                        <a:pt x="72068" y="110486"/>
                      </a:lnTo>
                      <a:lnTo>
                        <a:pt x="71978" y="113868"/>
                      </a:lnTo>
                      <a:lnTo>
                        <a:pt x="70422" y="116598"/>
                      </a:lnTo>
                      <a:lnTo>
                        <a:pt x="68718" y="117894"/>
                      </a:lnTo>
                      <a:lnTo>
                        <a:pt x="66852" y="117772"/>
                      </a:lnTo>
                      <a:lnTo>
                        <a:pt x="65361" y="117136"/>
                      </a:lnTo>
                      <a:lnTo>
                        <a:pt x="64252" y="115995"/>
                      </a:lnTo>
                      <a:lnTo>
                        <a:pt x="61294" y="115685"/>
                      </a:lnTo>
                      <a:lnTo>
                        <a:pt x="56453" y="116207"/>
                      </a:lnTo>
                      <a:lnTo>
                        <a:pt x="53144" y="117568"/>
                      </a:lnTo>
                      <a:lnTo>
                        <a:pt x="51359" y="119785"/>
                      </a:lnTo>
                      <a:lnTo>
                        <a:pt x="50838" y="122694"/>
                      </a:lnTo>
                      <a:lnTo>
                        <a:pt x="51596" y="126313"/>
                      </a:lnTo>
                      <a:lnTo>
                        <a:pt x="51213" y="129075"/>
                      </a:lnTo>
                      <a:lnTo>
                        <a:pt x="49705" y="130999"/>
                      </a:lnTo>
                      <a:lnTo>
                        <a:pt x="48483" y="132107"/>
                      </a:lnTo>
                      <a:lnTo>
                        <a:pt x="47505" y="132392"/>
                      </a:lnTo>
                      <a:lnTo>
                        <a:pt x="45410" y="130730"/>
                      </a:lnTo>
                      <a:lnTo>
                        <a:pt x="42183" y="127128"/>
                      </a:lnTo>
                      <a:lnTo>
                        <a:pt x="39966" y="125172"/>
                      </a:lnTo>
                      <a:lnTo>
                        <a:pt x="38760" y="124878"/>
                      </a:lnTo>
                      <a:lnTo>
                        <a:pt x="38100" y="125074"/>
                      </a:lnTo>
                      <a:lnTo>
                        <a:pt x="37358" y="125449"/>
                      </a:lnTo>
                      <a:lnTo>
                        <a:pt x="36942" y="125913"/>
                      </a:lnTo>
                      <a:lnTo>
                        <a:pt x="36568" y="126989"/>
                      </a:lnTo>
                      <a:lnTo>
                        <a:pt x="35533" y="127413"/>
                      </a:lnTo>
                      <a:lnTo>
                        <a:pt x="34074" y="127071"/>
                      </a:lnTo>
                      <a:lnTo>
                        <a:pt x="32737" y="127388"/>
                      </a:lnTo>
                      <a:lnTo>
                        <a:pt x="31938" y="128521"/>
                      </a:lnTo>
                      <a:lnTo>
                        <a:pt x="29689" y="129890"/>
                      </a:lnTo>
                      <a:lnTo>
                        <a:pt x="25729" y="131414"/>
                      </a:lnTo>
                      <a:lnTo>
                        <a:pt x="23577" y="133052"/>
                      </a:lnTo>
                      <a:lnTo>
                        <a:pt x="23202" y="134788"/>
                      </a:lnTo>
                      <a:lnTo>
                        <a:pt x="22607" y="135563"/>
                      </a:lnTo>
                      <a:lnTo>
                        <a:pt x="21409" y="135277"/>
                      </a:lnTo>
                      <a:lnTo>
                        <a:pt x="17832" y="137665"/>
                      </a:lnTo>
                      <a:lnTo>
                        <a:pt x="15109" y="136924"/>
                      </a:lnTo>
                      <a:lnTo>
                        <a:pt x="12045" y="133851"/>
                      </a:lnTo>
                      <a:lnTo>
                        <a:pt x="10350" y="131325"/>
                      </a:lnTo>
                      <a:lnTo>
                        <a:pt x="10179" y="130257"/>
                      </a:lnTo>
                      <a:lnTo>
                        <a:pt x="11140" y="127837"/>
                      </a:lnTo>
                      <a:lnTo>
                        <a:pt x="11548" y="119760"/>
                      </a:lnTo>
                      <a:lnTo>
                        <a:pt x="12762" y="116965"/>
                      </a:lnTo>
                      <a:lnTo>
                        <a:pt x="16421" y="111945"/>
                      </a:lnTo>
                      <a:lnTo>
                        <a:pt x="18312" y="108114"/>
                      </a:lnTo>
                      <a:lnTo>
                        <a:pt x="20455" y="105001"/>
                      </a:lnTo>
                      <a:lnTo>
                        <a:pt x="22012" y="103958"/>
                      </a:lnTo>
                      <a:lnTo>
                        <a:pt x="23430" y="101505"/>
                      </a:lnTo>
                      <a:lnTo>
                        <a:pt x="24612" y="98701"/>
                      </a:lnTo>
                      <a:lnTo>
                        <a:pt x="24938" y="96933"/>
                      </a:lnTo>
                      <a:lnTo>
                        <a:pt x="24840" y="95547"/>
                      </a:lnTo>
                      <a:lnTo>
                        <a:pt x="24408" y="94651"/>
                      </a:lnTo>
                      <a:lnTo>
                        <a:pt x="22379" y="92752"/>
                      </a:lnTo>
                      <a:lnTo>
                        <a:pt x="19722" y="89777"/>
                      </a:lnTo>
                      <a:lnTo>
                        <a:pt x="18304" y="86738"/>
                      </a:lnTo>
                      <a:lnTo>
                        <a:pt x="17530" y="82858"/>
                      </a:lnTo>
                      <a:lnTo>
                        <a:pt x="17334" y="80161"/>
                      </a:lnTo>
                      <a:lnTo>
                        <a:pt x="19828" y="72712"/>
                      </a:lnTo>
                      <a:lnTo>
                        <a:pt x="19437" y="71465"/>
                      </a:lnTo>
                      <a:lnTo>
                        <a:pt x="18711" y="70308"/>
                      </a:lnTo>
                      <a:lnTo>
                        <a:pt x="17245" y="69582"/>
                      </a:lnTo>
                      <a:lnTo>
                        <a:pt x="15142" y="69265"/>
                      </a:lnTo>
                      <a:lnTo>
                        <a:pt x="13056" y="69599"/>
                      </a:lnTo>
                      <a:lnTo>
                        <a:pt x="10399" y="69623"/>
                      </a:lnTo>
                      <a:lnTo>
                        <a:pt x="8557" y="69207"/>
                      </a:lnTo>
                      <a:lnTo>
                        <a:pt x="8109" y="68743"/>
                      </a:lnTo>
                      <a:lnTo>
                        <a:pt x="7881" y="65344"/>
                      </a:lnTo>
                      <a:lnTo>
                        <a:pt x="7408" y="64603"/>
                      </a:lnTo>
                      <a:lnTo>
                        <a:pt x="6617" y="63951"/>
                      </a:lnTo>
                      <a:lnTo>
                        <a:pt x="1255" y="62386"/>
                      </a:lnTo>
                      <a:lnTo>
                        <a:pt x="195" y="61710"/>
                      </a:lnTo>
                      <a:lnTo>
                        <a:pt x="0" y="60854"/>
                      </a:lnTo>
                      <a:lnTo>
                        <a:pt x="1899" y="53307"/>
                      </a:lnTo>
                      <a:lnTo>
                        <a:pt x="2730" y="52737"/>
                      </a:lnTo>
                      <a:lnTo>
                        <a:pt x="3537" y="51506"/>
                      </a:lnTo>
                      <a:lnTo>
                        <a:pt x="4792" y="50194"/>
                      </a:lnTo>
                      <a:lnTo>
                        <a:pt x="9168" y="48043"/>
                      </a:lnTo>
                      <a:lnTo>
                        <a:pt x="13863" y="48980"/>
                      </a:lnTo>
                      <a:lnTo>
                        <a:pt x="18051" y="49982"/>
                      </a:lnTo>
                      <a:lnTo>
                        <a:pt x="22216" y="50520"/>
                      </a:lnTo>
                      <a:lnTo>
                        <a:pt x="23658" y="50871"/>
                      </a:lnTo>
                      <a:lnTo>
                        <a:pt x="26038" y="51172"/>
                      </a:lnTo>
                      <a:lnTo>
                        <a:pt x="27627" y="50911"/>
                      </a:lnTo>
                      <a:lnTo>
                        <a:pt x="28703" y="50023"/>
                      </a:lnTo>
                      <a:lnTo>
                        <a:pt x="30675" y="47586"/>
                      </a:lnTo>
                      <a:lnTo>
                        <a:pt x="31270" y="43919"/>
                      </a:lnTo>
                      <a:lnTo>
                        <a:pt x="31988" y="40692"/>
                      </a:lnTo>
                      <a:lnTo>
                        <a:pt x="33177" y="40439"/>
                      </a:lnTo>
                      <a:lnTo>
                        <a:pt x="34375" y="40781"/>
                      </a:lnTo>
                      <a:lnTo>
                        <a:pt x="34938" y="40121"/>
                      </a:lnTo>
                      <a:lnTo>
                        <a:pt x="35182" y="39233"/>
                      </a:lnTo>
                      <a:lnTo>
                        <a:pt x="35427" y="38475"/>
                      </a:lnTo>
                      <a:lnTo>
                        <a:pt x="35924" y="38304"/>
                      </a:lnTo>
                      <a:lnTo>
                        <a:pt x="36780" y="39143"/>
                      </a:lnTo>
                      <a:lnTo>
                        <a:pt x="37277" y="38923"/>
                      </a:lnTo>
                      <a:lnTo>
                        <a:pt x="37676" y="38361"/>
                      </a:lnTo>
                      <a:lnTo>
                        <a:pt x="37562" y="37693"/>
                      </a:lnTo>
                      <a:lnTo>
                        <a:pt x="36576" y="36560"/>
                      </a:lnTo>
                      <a:lnTo>
                        <a:pt x="35712" y="34775"/>
                      </a:lnTo>
                      <a:lnTo>
                        <a:pt x="35801" y="34155"/>
                      </a:lnTo>
                      <a:lnTo>
                        <a:pt x="36103" y="33520"/>
                      </a:lnTo>
                      <a:lnTo>
                        <a:pt x="38670" y="32909"/>
                      </a:lnTo>
                      <a:lnTo>
                        <a:pt x="39836" y="32803"/>
                      </a:lnTo>
                      <a:lnTo>
                        <a:pt x="40251" y="32167"/>
                      </a:lnTo>
                      <a:lnTo>
                        <a:pt x="40105" y="31156"/>
                      </a:lnTo>
                      <a:lnTo>
                        <a:pt x="39127" y="30594"/>
                      </a:lnTo>
                      <a:lnTo>
                        <a:pt x="35598" y="30904"/>
                      </a:lnTo>
                      <a:lnTo>
                        <a:pt x="32012" y="30830"/>
                      </a:lnTo>
                      <a:lnTo>
                        <a:pt x="31572" y="30219"/>
                      </a:lnTo>
                      <a:lnTo>
                        <a:pt x="31776" y="29551"/>
                      </a:lnTo>
                      <a:lnTo>
                        <a:pt x="32313" y="29021"/>
                      </a:lnTo>
                      <a:lnTo>
                        <a:pt x="39738" y="27660"/>
                      </a:lnTo>
                      <a:lnTo>
                        <a:pt x="43666" y="28133"/>
                      </a:lnTo>
                      <a:lnTo>
                        <a:pt x="46583" y="28850"/>
                      </a:lnTo>
                      <a:lnTo>
                        <a:pt x="47741" y="28491"/>
                      </a:lnTo>
                      <a:lnTo>
                        <a:pt x="46372" y="25435"/>
                      </a:lnTo>
                      <a:lnTo>
                        <a:pt x="48230" y="25150"/>
                      </a:lnTo>
                      <a:lnTo>
                        <a:pt x="48475" y="24107"/>
                      </a:lnTo>
                      <a:lnTo>
                        <a:pt x="46046" y="15973"/>
                      </a:lnTo>
                      <a:lnTo>
                        <a:pt x="47374" y="15264"/>
                      </a:lnTo>
                      <a:lnTo>
                        <a:pt x="48711" y="13659"/>
                      </a:lnTo>
                      <a:lnTo>
                        <a:pt x="48596" y="10619"/>
                      </a:lnTo>
                      <a:lnTo>
                        <a:pt x="49786" y="9144"/>
                      </a:lnTo>
                      <a:lnTo>
                        <a:pt x="51196" y="8125"/>
                      </a:lnTo>
                      <a:lnTo>
                        <a:pt x="53291" y="9144"/>
                      </a:lnTo>
                      <a:lnTo>
                        <a:pt x="56518" y="12143"/>
                      </a:lnTo>
                      <a:lnTo>
                        <a:pt x="57577" y="12730"/>
                      </a:lnTo>
                      <a:lnTo>
                        <a:pt x="58621" y="12901"/>
                      </a:lnTo>
                      <a:lnTo>
                        <a:pt x="60120" y="11972"/>
                      </a:lnTo>
                      <a:lnTo>
                        <a:pt x="65882" y="8997"/>
                      </a:lnTo>
                      <a:lnTo>
                        <a:pt x="69118" y="7327"/>
                      </a:lnTo>
                      <a:lnTo>
                        <a:pt x="72981" y="4898"/>
                      </a:lnTo>
                      <a:lnTo>
                        <a:pt x="73649" y="3961"/>
                      </a:lnTo>
                      <a:lnTo>
                        <a:pt x="74986" y="261"/>
                      </a:lnTo>
                      <a:lnTo>
                        <a:pt x="75711" y="0"/>
                      </a:lnTo>
                      <a:lnTo>
                        <a:pt x="76689" y="399"/>
                      </a:lnTo>
                      <a:lnTo>
                        <a:pt x="80079" y="4213"/>
                      </a:lnTo>
                      <a:lnTo>
                        <a:pt x="82043" y="6658"/>
                      </a:lnTo>
                      <a:lnTo>
                        <a:pt x="82043" y="7498"/>
                      </a:lnTo>
                      <a:lnTo>
                        <a:pt x="81481" y="8133"/>
                      </a:lnTo>
                      <a:lnTo>
                        <a:pt x="81603" y="8753"/>
                      </a:lnTo>
                      <a:lnTo>
                        <a:pt x="84374" y="10073"/>
                      </a:lnTo>
                      <a:lnTo>
                        <a:pt x="84374" y="10684"/>
                      </a:lnTo>
                      <a:lnTo>
                        <a:pt x="83747" y="11841"/>
                      </a:lnTo>
                      <a:lnTo>
                        <a:pt x="83404" y="12477"/>
                      </a:lnTo>
                      <a:lnTo>
                        <a:pt x="83086" y="12787"/>
                      </a:lnTo>
                      <a:close/>
                    </a:path>
                  </a:pathLst>
                </a:custGeom>
                <a:solidFill>
                  <a:srgbClr val="D6D6D2"/>
                </a:solidFill>
                <a:ln w="6112" cap="rnd">
                  <a:solidFill>
                    <a:srgbClr val="FFFFFF"/>
                  </a:solidFill>
                  <a:prstDash val="solid"/>
                  <a:round/>
                </a:ln>
              </p:spPr>
              <p:txBody>
                <a:bodyPr rtlCol="0" anchor="ctr"/>
                <a:lstStyle/>
                <a:p>
                  <a:endParaRPr lang="en-US"/>
                </a:p>
              </p:txBody>
            </p:sp>
            <p:sp>
              <p:nvSpPr>
                <p:cNvPr id="564" name="Freeform: Shape 563">
                  <a:extLst>
                    <a:ext uri="{FF2B5EF4-FFF2-40B4-BE49-F238E27FC236}">
                      <a16:creationId xmlns:a16="http://schemas.microsoft.com/office/drawing/2014/main" id="{F4AC9740-534C-47FC-914B-8A92C0421EBD}"/>
                    </a:ext>
                  </a:extLst>
                </p:cNvPr>
                <p:cNvSpPr/>
                <p:nvPr/>
              </p:nvSpPr>
              <p:spPr>
                <a:xfrm>
                  <a:off x="8358691" y="3906429"/>
                  <a:ext cx="205047" cy="449140"/>
                </a:xfrm>
                <a:custGeom>
                  <a:avLst/>
                  <a:gdLst>
                    <a:gd name="connsiteX0" fmla="*/ 65247 w 205047"/>
                    <a:gd name="connsiteY0" fmla="*/ 1410 h 449140"/>
                    <a:gd name="connsiteX1" fmla="*/ 68197 w 205047"/>
                    <a:gd name="connsiteY1" fmla="*/ 3358 h 449140"/>
                    <a:gd name="connsiteX2" fmla="*/ 68009 w 205047"/>
                    <a:gd name="connsiteY2" fmla="*/ 5175 h 449140"/>
                    <a:gd name="connsiteX3" fmla="*/ 68621 w 205047"/>
                    <a:gd name="connsiteY3" fmla="*/ 5558 h 449140"/>
                    <a:gd name="connsiteX4" fmla="*/ 69476 w 205047"/>
                    <a:gd name="connsiteY4" fmla="*/ 4711 h 449140"/>
                    <a:gd name="connsiteX5" fmla="*/ 70560 w 205047"/>
                    <a:gd name="connsiteY5" fmla="*/ 2649 h 449140"/>
                    <a:gd name="connsiteX6" fmla="*/ 71750 w 205047"/>
                    <a:gd name="connsiteY6" fmla="*/ 1483 h 449140"/>
                    <a:gd name="connsiteX7" fmla="*/ 73038 w 205047"/>
                    <a:gd name="connsiteY7" fmla="*/ 1214 h 449140"/>
                    <a:gd name="connsiteX8" fmla="*/ 74407 w 205047"/>
                    <a:gd name="connsiteY8" fmla="*/ 2624 h 449140"/>
                    <a:gd name="connsiteX9" fmla="*/ 75866 w 205047"/>
                    <a:gd name="connsiteY9" fmla="*/ 5705 h 449140"/>
                    <a:gd name="connsiteX10" fmla="*/ 77357 w 205047"/>
                    <a:gd name="connsiteY10" fmla="*/ 7449 h 449140"/>
                    <a:gd name="connsiteX11" fmla="*/ 78042 w 205047"/>
                    <a:gd name="connsiteY11" fmla="*/ 7636 h 449140"/>
                    <a:gd name="connsiteX12" fmla="*/ 78547 w 205047"/>
                    <a:gd name="connsiteY12" fmla="*/ 9046 h 449140"/>
                    <a:gd name="connsiteX13" fmla="*/ 78629 w 205047"/>
                    <a:gd name="connsiteY13" fmla="*/ 10399 h 449140"/>
                    <a:gd name="connsiteX14" fmla="*/ 77911 w 205047"/>
                    <a:gd name="connsiteY14" fmla="*/ 13243 h 449140"/>
                    <a:gd name="connsiteX15" fmla="*/ 76722 w 205047"/>
                    <a:gd name="connsiteY15" fmla="*/ 16560 h 449140"/>
                    <a:gd name="connsiteX16" fmla="*/ 75026 w 205047"/>
                    <a:gd name="connsiteY16" fmla="*/ 20660 h 449140"/>
                    <a:gd name="connsiteX17" fmla="*/ 75573 w 205047"/>
                    <a:gd name="connsiteY17" fmla="*/ 24099 h 449140"/>
                    <a:gd name="connsiteX18" fmla="*/ 77887 w 205047"/>
                    <a:gd name="connsiteY18" fmla="*/ 26910 h 449140"/>
                    <a:gd name="connsiteX19" fmla="*/ 80674 w 205047"/>
                    <a:gd name="connsiteY19" fmla="*/ 28557 h 449140"/>
                    <a:gd name="connsiteX20" fmla="*/ 83600 w 205047"/>
                    <a:gd name="connsiteY20" fmla="*/ 28101 h 449140"/>
                    <a:gd name="connsiteX21" fmla="*/ 85156 w 205047"/>
                    <a:gd name="connsiteY21" fmla="*/ 27261 h 449140"/>
                    <a:gd name="connsiteX22" fmla="*/ 86436 w 205047"/>
                    <a:gd name="connsiteY22" fmla="*/ 25924 h 449140"/>
                    <a:gd name="connsiteX23" fmla="*/ 87626 w 205047"/>
                    <a:gd name="connsiteY23" fmla="*/ 25297 h 449140"/>
                    <a:gd name="connsiteX24" fmla="*/ 89117 w 205047"/>
                    <a:gd name="connsiteY24" fmla="*/ 25126 h 449140"/>
                    <a:gd name="connsiteX25" fmla="*/ 93787 w 205047"/>
                    <a:gd name="connsiteY25" fmla="*/ 26104 h 449140"/>
                    <a:gd name="connsiteX26" fmla="*/ 95221 w 205047"/>
                    <a:gd name="connsiteY26" fmla="*/ 27057 h 449140"/>
                    <a:gd name="connsiteX27" fmla="*/ 95433 w 205047"/>
                    <a:gd name="connsiteY27" fmla="*/ 28956 h 449140"/>
                    <a:gd name="connsiteX28" fmla="*/ 94855 w 205047"/>
                    <a:gd name="connsiteY28" fmla="*/ 33846 h 449140"/>
                    <a:gd name="connsiteX29" fmla="*/ 95580 w 205047"/>
                    <a:gd name="connsiteY29" fmla="*/ 37424 h 449140"/>
                    <a:gd name="connsiteX30" fmla="*/ 96900 w 205047"/>
                    <a:gd name="connsiteY30" fmla="*/ 41197 h 449140"/>
                    <a:gd name="connsiteX31" fmla="*/ 97063 w 205047"/>
                    <a:gd name="connsiteY31" fmla="*/ 44636 h 449140"/>
                    <a:gd name="connsiteX32" fmla="*/ 95433 w 205047"/>
                    <a:gd name="connsiteY32" fmla="*/ 50308 h 449140"/>
                    <a:gd name="connsiteX33" fmla="*/ 94072 w 205047"/>
                    <a:gd name="connsiteY33" fmla="*/ 55679 h 449140"/>
                    <a:gd name="connsiteX34" fmla="*/ 92597 w 205047"/>
                    <a:gd name="connsiteY34" fmla="*/ 58287 h 449140"/>
                    <a:gd name="connsiteX35" fmla="*/ 91448 w 205047"/>
                    <a:gd name="connsiteY35" fmla="*/ 59958 h 449140"/>
                    <a:gd name="connsiteX36" fmla="*/ 91122 w 205047"/>
                    <a:gd name="connsiteY36" fmla="*/ 61099 h 449140"/>
                    <a:gd name="connsiteX37" fmla="*/ 91211 w 205047"/>
                    <a:gd name="connsiteY37" fmla="*/ 62166 h 449140"/>
                    <a:gd name="connsiteX38" fmla="*/ 92263 w 205047"/>
                    <a:gd name="connsiteY38" fmla="*/ 63780 h 449140"/>
                    <a:gd name="connsiteX39" fmla="*/ 93371 w 205047"/>
                    <a:gd name="connsiteY39" fmla="*/ 65858 h 449140"/>
                    <a:gd name="connsiteX40" fmla="*/ 93648 w 205047"/>
                    <a:gd name="connsiteY40" fmla="*/ 67847 h 449140"/>
                    <a:gd name="connsiteX41" fmla="*/ 93534 w 205047"/>
                    <a:gd name="connsiteY41" fmla="*/ 70283 h 449140"/>
                    <a:gd name="connsiteX42" fmla="*/ 92760 w 205047"/>
                    <a:gd name="connsiteY42" fmla="*/ 73633 h 449140"/>
                    <a:gd name="connsiteX43" fmla="*/ 89932 w 205047"/>
                    <a:gd name="connsiteY43" fmla="*/ 80886 h 449140"/>
                    <a:gd name="connsiteX44" fmla="*/ 87683 w 205047"/>
                    <a:gd name="connsiteY44" fmla="*/ 87422 h 449140"/>
                    <a:gd name="connsiteX45" fmla="*/ 88857 w 205047"/>
                    <a:gd name="connsiteY45" fmla="*/ 88742 h 449140"/>
                    <a:gd name="connsiteX46" fmla="*/ 91090 w 205047"/>
                    <a:gd name="connsiteY46" fmla="*/ 89696 h 449140"/>
                    <a:gd name="connsiteX47" fmla="*/ 92564 w 205047"/>
                    <a:gd name="connsiteY47" fmla="*/ 90625 h 449140"/>
                    <a:gd name="connsiteX48" fmla="*/ 94105 w 205047"/>
                    <a:gd name="connsiteY48" fmla="*/ 90030 h 449140"/>
                    <a:gd name="connsiteX49" fmla="*/ 97381 w 205047"/>
                    <a:gd name="connsiteY49" fmla="*/ 86159 h 449140"/>
                    <a:gd name="connsiteX50" fmla="*/ 100209 w 205047"/>
                    <a:gd name="connsiteY50" fmla="*/ 83290 h 449140"/>
                    <a:gd name="connsiteX51" fmla="*/ 103722 w 205047"/>
                    <a:gd name="connsiteY51" fmla="*/ 80413 h 449140"/>
                    <a:gd name="connsiteX52" fmla="*/ 103933 w 205047"/>
                    <a:gd name="connsiteY52" fmla="*/ 80161 h 449140"/>
                    <a:gd name="connsiteX53" fmla="*/ 106998 w 205047"/>
                    <a:gd name="connsiteY53" fmla="*/ 78042 h 449140"/>
                    <a:gd name="connsiteX54" fmla="*/ 108416 w 205047"/>
                    <a:gd name="connsiteY54" fmla="*/ 76102 h 449140"/>
                    <a:gd name="connsiteX55" fmla="*/ 109174 w 205047"/>
                    <a:gd name="connsiteY55" fmla="*/ 73625 h 449140"/>
                    <a:gd name="connsiteX56" fmla="*/ 110266 w 205047"/>
                    <a:gd name="connsiteY56" fmla="*/ 72671 h 449140"/>
                    <a:gd name="connsiteX57" fmla="*/ 111667 w 205047"/>
                    <a:gd name="connsiteY57" fmla="*/ 73234 h 449140"/>
                    <a:gd name="connsiteX58" fmla="*/ 113461 w 205047"/>
                    <a:gd name="connsiteY58" fmla="*/ 72158 h 449140"/>
                    <a:gd name="connsiteX59" fmla="*/ 115620 w 205047"/>
                    <a:gd name="connsiteY59" fmla="*/ 69444 h 449140"/>
                    <a:gd name="connsiteX60" fmla="*/ 117283 w 205047"/>
                    <a:gd name="connsiteY60" fmla="*/ 68197 h 449140"/>
                    <a:gd name="connsiteX61" fmla="*/ 118448 w 205047"/>
                    <a:gd name="connsiteY61" fmla="*/ 68401 h 449140"/>
                    <a:gd name="connsiteX62" fmla="*/ 120518 w 205047"/>
                    <a:gd name="connsiteY62" fmla="*/ 70088 h 449140"/>
                    <a:gd name="connsiteX63" fmla="*/ 123501 w 205047"/>
                    <a:gd name="connsiteY63" fmla="*/ 73250 h 449140"/>
                    <a:gd name="connsiteX64" fmla="*/ 126150 w 205047"/>
                    <a:gd name="connsiteY64" fmla="*/ 75124 h 449140"/>
                    <a:gd name="connsiteX65" fmla="*/ 128472 w 205047"/>
                    <a:gd name="connsiteY65" fmla="*/ 75727 h 449140"/>
                    <a:gd name="connsiteX66" fmla="*/ 129605 w 205047"/>
                    <a:gd name="connsiteY66" fmla="*/ 76909 h 449140"/>
                    <a:gd name="connsiteX67" fmla="*/ 129548 w 205047"/>
                    <a:gd name="connsiteY67" fmla="*/ 78661 h 449140"/>
                    <a:gd name="connsiteX68" fmla="*/ 130061 w 205047"/>
                    <a:gd name="connsiteY68" fmla="*/ 79778 h 449140"/>
                    <a:gd name="connsiteX69" fmla="*/ 131145 w 205047"/>
                    <a:gd name="connsiteY69" fmla="*/ 80251 h 449140"/>
                    <a:gd name="connsiteX70" fmla="*/ 131643 w 205047"/>
                    <a:gd name="connsiteY70" fmla="*/ 80063 h 449140"/>
                    <a:gd name="connsiteX71" fmla="*/ 131512 w 205047"/>
                    <a:gd name="connsiteY71" fmla="*/ 79215 h 449140"/>
                    <a:gd name="connsiteX72" fmla="*/ 132563 w 205047"/>
                    <a:gd name="connsiteY72" fmla="*/ 77977 h 449140"/>
                    <a:gd name="connsiteX73" fmla="*/ 134788 w 205047"/>
                    <a:gd name="connsiteY73" fmla="*/ 76339 h 449140"/>
                    <a:gd name="connsiteX74" fmla="*/ 137054 w 205047"/>
                    <a:gd name="connsiteY74" fmla="*/ 75377 h 449140"/>
                    <a:gd name="connsiteX75" fmla="*/ 139344 w 205047"/>
                    <a:gd name="connsiteY75" fmla="*/ 75092 h 449140"/>
                    <a:gd name="connsiteX76" fmla="*/ 140836 w 205047"/>
                    <a:gd name="connsiteY76" fmla="*/ 73796 h 449140"/>
                    <a:gd name="connsiteX77" fmla="*/ 141830 w 205047"/>
                    <a:gd name="connsiteY77" fmla="*/ 70430 h 449140"/>
                    <a:gd name="connsiteX78" fmla="*/ 143248 w 205047"/>
                    <a:gd name="connsiteY78" fmla="*/ 67871 h 449140"/>
                    <a:gd name="connsiteX79" fmla="*/ 144519 w 205047"/>
                    <a:gd name="connsiteY79" fmla="*/ 66706 h 449140"/>
                    <a:gd name="connsiteX80" fmla="*/ 146092 w 205047"/>
                    <a:gd name="connsiteY80" fmla="*/ 66127 h 449140"/>
                    <a:gd name="connsiteX81" fmla="*/ 146500 w 205047"/>
                    <a:gd name="connsiteY81" fmla="*/ 65312 h 449140"/>
                    <a:gd name="connsiteX82" fmla="*/ 145725 w 205047"/>
                    <a:gd name="connsiteY82" fmla="*/ 64277 h 449140"/>
                    <a:gd name="connsiteX83" fmla="*/ 145807 w 205047"/>
                    <a:gd name="connsiteY83" fmla="*/ 63209 h 449140"/>
                    <a:gd name="connsiteX84" fmla="*/ 146712 w 205047"/>
                    <a:gd name="connsiteY84" fmla="*/ 62134 h 449140"/>
                    <a:gd name="connsiteX85" fmla="*/ 148659 w 205047"/>
                    <a:gd name="connsiteY85" fmla="*/ 61677 h 449140"/>
                    <a:gd name="connsiteX86" fmla="*/ 151650 w 205047"/>
                    <a:gd name="connsiteY86" fmla="*/ 61832 h 449140"/>
                    <a:gd name="connsiteX87" fmla="*/ 155179 w 205047"/>
                    <a:gd name="connsiteY87" fmla="*/ 62924 h 449140"/>
                    <a:gd name="connsiteX88" fmla="*/ 159213 w 205047"/>
                    <a:gd name="connsiteY88" fmla="*/ 64953 h 449140"/>
                    <a:gd name="connsiteX89" fmla="*/ 161854 w 205047"/>
                    <a:gd name="connsiteY89" fmla="*/ 65605 h 449140"/>
                    <a:gd name="connsiteX90" fmla="*/ 163109 w 205047"/>
                    <a:gd name="connsiteY90" fmla="*/ 64880 h 449140"/>
                    <a:gd name="connsiteX91" fmla="*/ 165562 w 205047"/>
                    <a:gd name="connsiteY91" fmla="*/ 68026 h 449140"/>
                    <a:gd name="connsiteX92" fmla="*/ 169221 w 205047"/>
                    <a:gd name="connsiteY92" fmla="*/ 75035 h 449140"/>
                    <a:gd name="connsiteX93" fmla="*/ 172359 w 205047"/>
                    <a:gd name="connsiteY93" fmla="*/ 80324 h 449140"/>
                    <a:gd name="connsiteX94" fmla="*/ 174975 w 205047"/>
                    <a:gd name="connsiteY94" fmla="*/ 83910 h 449140"/>
                    <a:gd name="connsiteX95" fmla="*/ 177737 w 205047"/>
                    <a:gd name="connsiteY95" fmla="*/ 86664 h 449140"/>
                    <a:gd name="connsiteX96" fmla="*/ 180622 w 205047"/>
                    <a:gd name="connsiteY96" fmla="*/ 88580 h 449140"/>
                    <a:gd name="connsiteX97" fmla="*/ 182709 w 205047"/>
                    <a:gd name="connsiteY97" fmla="*/ 91188 h 449140"/>
                    <a:gd name="connsiteX98" fmla="*/ 184600 w 205047"/>
                    <a:gd name="connsiteY98" fmla="*/ 96126 h 449140"/>
                    <a:gd name="connsiteX99" fmla="*/ 183181 w 205047"/>
                    <a:gd name="connsiteY99" fmla="*/ 102964 h 449140"/>
                    <a:gd name="connsiteX100" fmla="*/ 182798 w 205047"/>
                    <a:gd name="connsiteY100" fmla="*/ 108864 h 449140"/>
                    <a:gd name="connsiteX101" fmla="*/ 182970 w 205047"/>
                    <a:gd name="connsiteY101" fmla="*/ 116109 h 449140"/>
                    <a:gd name="connsiteX102" fmla="*/ 184681 w 205047"/>
                    <a:gd name="connsiteY102" fmla="*/ 121659 h 449140"/>
                    <a:gd name="connsiteX103" fmla="*/ 187916 w 205047"/>
                    <a:gd name="connsiteY103" fmla="*/ 125514 h 449140"/>
                    <a:gd name="connsiteX104" fmla="*/ 189791 w 205047"/>
                    <a:gd name="connsiteY104" fmla="*/ 128627 h 449140"/>
                    <a:gd name="connsiteX105" fmla="*/ 190320 w 205047"/>
                    <a:gd name="connsiteY105" fmla="*/ 130999 h 449140"/>
                    <a:gd name="connsiteX106" fmla="*/ 192839 w 205047"/>
                    <a:gd name="connsiteY106" fmla="*/ 133036 h 449140"/>
                    <a:gd name="connsiteX107" fmla="*/ 197362 w 205047"/>
                    <a:gd name="connsiteY107" fmla="*/ 134740 h 449140"/>
                    <a:gd name="connsiteX108" fmla="*/ 199228 w 205047"/>
                    <a:gd name="connsiteY108" fmla="*/ 136272 h 449140"/>
                    <a:gd name="connsiteX109" fmla="*/ 198462 w 205047"/>
                    <a:gd name="connsiteY109" fmla="*/ 137657 h 449140"/>
                    <a:gd name="connsiteX110" fmla="*/ 198413 w 205047"/>
                    <a:gd name="connsiteY110" fmla="*/ 139255 h 449140"/>
                    <a:gd name="connsiteX111" fmla="*/ 199049 w 205047"/>
                    <a:gd name="connsiteY111" fmla="*/ 141080 h 449140"/>
                    <a:gd name="connsiteX112" fmla="*/ 200598 w 205047"/>
                    <a:gd name="connsiteY112" fmla="*/ 142596 h 449140"/>
                    <a:gd name="connsiteX113" fmla="*/ 203099 w 205047"/>
                    <a:gd name="connsiteY113" fmla="*/ 143786 h 449140"/>
                    <a:gd name="connsiteX114" fmla="*/ 204582 w 205047"/>
                    <a:gd name="connsiteY114" fmla="*/ 145049 h 449140"/>
                    <a:gd name="connsiteX115" fmla="*/ 205047 w 205047"/>
                    <a:gd name="connsiteY115" fmla="*/ 146378 h 449140"/>
                    <a:gd name="connsiteX116" fmla="*/ 204998 w 205047"/>
                    <a:gd name="connsiteY116" fmla="*/ 148537 h 449140"/>
                    <a:gd name="connsiteX117" fmla="*/ 204420 w 205047"/>
                    <a:gd name="connsiteY117" fmla="*/ 151512 h 449140"/>
                    <a:gd name="connsiteX118" fmla="*/ 203385 w 205047"/>
                    <a:gd name="connsiteY118" fmla="*/ 153802 h 449140"/>
                    <a:gd name="connsiteX119" fmla="*/ 201877 w 205047"/>
                    <a:gd name="connsiteY119" fmla="*/ 155399 h 449140"/>
                    <a:gd name="connsiteX120" fmla="*/ 201697 w 205047"/>
                    <a:gd name="connsiteY120" fmla="*/ 156654 h 449140"/>
                    <a:gd name="connsiteX121" fmla="*/ 201314 w 205047"/>
                    <a:gd name="connsiteY121" fmla="*/ 158569 h 449140"/>
                    <a:gd name="connsiteX122" fmla="*/ 201314 w 205047"/>
                    <a:gd name="connsiteY122" fmla="*/ 162498 h 449140"/>
                    <a:gd name="connsiteX123" fmla="*/ 202390 w 205047"/>
                    <a:gd name="connsiteY123" fmla="*/ 165122 h 449140"/>
                    <a:gd name="connsiteX124" fmla="*/ 202716 w 205047"/>
                    <a:gd name="connsiteY124" fmla="*/ 168439 h 449140"/>
                    <a:gd name="connsiteX125" fmla="*/ 202130 w 205047"/>
                    <a:gd name="connsiteY125" fmla="*/ 171153 h 449140"/>
                    <a:gd name="connsiteX126" fmla="*/ 201567 w 205047"/>
                    <a:gd name="connsiteY126" fmla="*/ 176694 h 449140"/>
                    <a:gd name="connsiteX127" fmla="*/ 201494 w 205047"/>
                    <a:gd name="connsiteY127" fmla="*/ 178846 h 449140"/>
                    <a:gd name="connsiteX128" fmla="*/ 200956 w 205047"/>
                    <a:gd name="connsiteY128" fmla="*/ 180688 h 449140"/>
                    <a:gd name="connsiteX129" fmla="*/ 199644 w 205047"/>
                    <a:gd name="connsiteY129" fmla="*/ 182464 h 449140"/>
                    <a:gd name="connsiteX130" fmla="*/ 197647 w 205047"/>
                    <a:gd name="connsiteY130" fmla="*/ 184143 h 449140"/>
                    <a:gd name="connsiteX131" fmla="*/ 195202 w 205047"/>
                    <a:gd name="connsiteY131" fmla="*/ 185627 h 449140"/>
                    <a:gd name="connsiteX132" fmla="*/ 193703 w 205047"/>
                    <a:gd name="connsiteY132" fmla="*/ 186287 h 449140"/>
                    <a:gd name="connsiteX133" fmla="*/ 193344 w 205047"/>
                    <a:gd name="connsiteY133" fmla="*/ 186596 h 449140"/>
                    <a:gd name="connsiteX134" fmla="*/ 192285 w 205047"/>
                    <a:gd name="connsiteY134" fmla="*/ 188267 h 449140"/>
                    <a:gd name="connsiteX135" fmla="*/ 190997 w 205047"/>
                    <a:gd name="connsiteY135" fmla="*/ 189897 h 449140"/>
                    <a:gd name="connsiteX136" fmla="*/ 189995 w 205047"/>
                    <a:gd name="connsiteY136" fmla="*/ 189897 h 449140"/>
                    <a:gd name="connsiteX137" fmla="*/ 189245 w 205047"/>
                    <a:gd name="connsiteY137" fmla="*/ 189074 h 449140"/>
                    <a:gd name="connsiteX138" fmla="*/ 188723 w 205047"/>
                    <a:gd name="connsiteY138" fmla="*/ 188006 h 449140"/>
                    <a:gd name="connsiteX139" fmla="*/ 188413 w 205047"/>
                    <a:gd name="connsiteY139" fmla="*/ 185676 h 449140"/>
                    <a:gd name="connsiteX140" fmla="*/ 186156 w 205047"/>
                    <a:gd name="connsiteY140" fmla="*/ 184526 h 449140"/>
                    <a:gd name="connsiteX141" fmla="*/ 183687 w 205047"/>
                    <a:gd name="connsiteY141" fmla="*/ 183801 h 449140"/>
                    <a:gd name="connsiteX142" fmla="*/ 178642 w 205047"/>
                    <a:gd name="connsiteY142" fmla="*/ 184950 h 449140"/>
                    <a:gd name="connsiteX143" fmla="*/ 174575 w 205047"/>
                    <a:gd name="connsiteY143" fmla="*/ 185578 h 449140"/>
                    <a:gd name="connsiteX144" fmla="*/ 170003 w 205047"/>
                    <a:gd name="connsiteY144" fmla="*/ 184787 h 449140"/>
                    <a:gd name="connsiteX145" fmla="*/ 165700 w 205047"/>
                    <a:gd name="connsiteY145" fmla="*/ 185781 h 449140"/>
                    <a:gd name="connsiteX146" fmla="*/ 163907 w 205047"/>
                    <a:gd name="connsiteY146" fmla="*/ 185936 h 449140"/>
                    <a:gd name="connsiteX147" fmla="*/ 161846 w 205047"/>
                    <a:gd name="connsiteY147" fmla="*/ 185781 h 449140"/>
                    <a:gd name="connsiteX148" fmla="*/ 159857 w 205047"/>
                    <a:gd name="connsiteY148" fmla="*/ 185806 h 449140"/>
                    <a:gd name="connsiteX149" fmla="*/ 157958 w 205047"/>
                    <a:gd name="connsiteY149" fmla="*/ 185447 h 449140"/>
                    <a:gd name="connsiteX150" fmla="*/ 154438 w 205047"/>
                    <a:gd name="connsiteY150" fmla="*/ 184013 h 449140"/>
                    <a:gd name="connsiteX151" fmla="*/ 153117 w 205047"/>
                    <a:gd name="connsiteY151" fmla="*/ 184127 h 449140"/>
                    <a:gd name="connsiteX152" fmla="*/ 150281 w 205047"/>
                    <a:gd name="connsiteY152" fmla="*/ 185309 h 449140"/>
                    <a:gd name="connsiteX153" fmla="*/ 147339 w 205047"/>
                    <a:gd name="connsiteY153" fmla="*/ 186140 h 449140"/>
                    <a:gd name="connsiteX154" fmla="*/ 144503 w 205047"/>
                    <a:gd name="connsiteY154" fmla="*/ 186710 h 449140"/>
                    <a:gd name="connsiteX155" fmla="*/ 140322 w 205047"/>
                    <a:gd name="connsiteY155" fmla="*/ 189139 h 449140"/>
                    <a:gd name="connsiteX156" fmla="*/ 137306 w 205047"/>
                    <a:gd name="connsiteY156" fmla="*/ 192660 h 449140"/>
                    <a:gd name="connsiteX157" fmla="*/ 136418 w 205047"/>
                    <a:gd name="connsiteY157" fmla="*/ 195154 h 449140"/>
                    <a:gd name="connsiteX158" fmla="*/ 134910 w 205047"/>
                    <a:gd name="connsiteY158" fmla="*/ 197656 h 449140"/>
                    <a:gd name="connsiteX159" fmla="*/ 132824 w 205047"/>
                    <a:gd name="connsiteY159" fmla="*/ 201625 h 449140"/>
                    <a:gd name="connsiteX160" fmla="*/ 130135 w 205047"/>
                    <a:gd name="connsiteY160" fmla="*/ 205414 h 449140"/>
                    <a:gd name="connsiteX161" fmla="*/ 128260 w 205047"/>
                    <a:gd name="connsiteY161" fmla="*/ 207150 h 449140"/>
                    <a:gd name="connsiteX162" fmla="*/ 128782 w 205047"/>
                    <a:gd name="connsiteY162" fmla="*/ 208169 h 449140"/>
                    <a:gd name="connsiteX163" fmla="*/ 128309 w 205047"/>
                    <a:gd name="connsiteY163" fmla="*/ 209407 h 449140"/>
                    <a:gd name="connsiteX164" fmla="*/ 125375 w 205047"/>
                    <a:gd name="connsiteY164" fmla="*/ 209962 h 449140"/>
                    <a:gd name="connsiteX165" fmla="*/ 123094 w 205047"/>
                    <a:gd name="connsiteY165" fmla="*/ 210182 h 449140"/>
                    <a:gd name="connsiteX166" fmla="*/ 122686 w 205047"/>
                    <a:gd name="connsiteY166" fmla="*/ 210793 h 449140"/>
                    <a:gd name="connsiteX167" fmla="*/ 122947 w 205047"/>
                    <a:gd name="connsiteY167" fmla="*/ 218437 h 449140"/>
                    <a:gd name="connsiteX168" fmla="*/ 123745 w 205047"/>
                    <a:gd name="connsiteY168" fmla="*/ 221331 h 449140"/>
                    <a:gd name="connsiteX169" fmla="*/ 125237 w 205047"/>
                    <a:gd name="connsiteY169" fmla="*/ 224819 h 449140"/>
                    <a:gd name="connsiteX170" fmla="*/ 126198 w 205047"/>
                    <a:gd name="connsiteY170" fmla="*/ 226726 h 449140"/>
                    <a:gd name="connsiteX171" fmla="*/ 126932 w 205047"/>
                    <a:gd name="connsiteY171" fmla="*/ 232382 h 449140"/>
                    <a:gd name="connsiteX172" fmla="*/ 127152 w 205047"/>
                    <a:gd name="connsiteY172" fmla="*/ 237182 h 449140"/>
                    <a:gd name="connsiteX173" fmla="*/ 130371 w 205047"/>
                    <a:gd name="connsiteY173" fmla="*/ 240213 h 449140"/>
                    <a:gd name="connsiteX174" fmla="*/ 132205 w 205047"/>
                    <a:gd name="connsiteY174" fmla="*/ 242528 h 449140"/>
                    <a:gd name="connsiteX175" fmla="*/ 133501 w 205047"/>
                    <a:gd name="connsiteY175" fmla="*/ 244565 h 449140"/>
                    <a:gd name="connsiteX176" fmla="*/ 133044 w 205047"/>
                    <a:gd name="connsiteY176" fmla="*/ 245861 h 449140"/>
                    <a:gd name="connsiteX177" fmla="*/ 132270 w 205047"/>
                    <a:gd name="connsiteY177" fmla="*/ 249732 h 449140"/>
                    <a:gd name="connsiteX178" fmla="*/ 133020 w 205047"/>
                    <a:gd name="connsiteY178" fmla="*/ 254753 h 449140"/>
                    <a:gd name="connsiteX179" fmla="*/ 137527 w 205047"/>
                    <a:gd name="connsiteY179" fmla="*/ 265584 h 449140"/>
                    <a:gd name="connsiteX180" fmla="*/ 137918 w 205047"/>
                    <a:gd name="connsiteY180" fmla="*/ 266350 h 449140"/>
                    <a:gd name="connsiteX181" fmla="*/ 137396 w 205047"/>
                    <a:gd name="connsiteY181" fmla="*/ 266431 h 449140"/>
                    <a:gd name="connsiteX182" fmla="*/ 136679 w 205047"/>
                    <a:gd name="connsiteY182" fmla="*/ 264353 h 449140"/>
                    <a:gd name="connsiteX183" fmla="*/ 134397 w 205047"/>
                    <a:gd name="connsiteY183" fmla="*/ 260849 h 449140"/>
                    <a:gd name="connsiteX184" fmla="*/ 133688 w 205047"/>
                    <a:gd name="connsiteY184" fmla="*/ 257100 h 449140"/>
                    <a:gd name="connsiteX185" fmla="*/ 130999 w 205047"/>
                    <a:gd name="connsiteY185" fmla="*/ 252976 h 449140"/>
                    <a:gd name="connsiteX186" fmla="*/ 129491 w 205047"/>
                    <a:gd name="connsiteY186" fmla="*/ 251338 h 449140"/>
                    <a:gd name="connsiteX187" fmla="*/ 129010 w 205047"/>
                    <a:gd name="connsiteY187" fmla="*/ 252707 h 449140"/>
                    <a:gd name="connsiteX188" fmla="*/ 128163 w 205047"/>
                    <a:gd name="connsiteY188" fmla="*/ 254182 h 449140"/>
                    <a:gd name="connsiteX189" fmla="*/ 125522 w 205047"/>
                    <a:gd name="connsiteY189" fmla="*/ 252063 h 449140"/>
                    <a:gd name="connsiteX190" fmla="*/ 123273 w 205047"/>
                    <a:gd name="connsiteY190" fmla="*/ 249846 h 449140"/>
                    <a:gd name="connsiteX191" fmla="*/ 121194 w 205047"/>
                    <a:gd name="connsiteY191" fmla="*/ 245551 h 449140"/>
                    <a:gd name="connsiteX192" fmla="*/ 120926 w 205047"/>
                    <a:gd name="connsiteY192" fmla="*/ 246546 h 449140"/>
                    <a:gd name="connsiteX193" fmla="*/ 120453 w 205047"/>
                    <a:gd name="connsiteY193" fmla="*/ 247450 h 449140"/>
                    <a:gd name="connsiteX194" fmla="*/ 118082 w 205047"/>
                    <a:gd name="connsiteY194" fmla="*/ 244068 h 449140"/>
                    <a:gd name="connsiteX195" fmla="*/ 115612 w 205047"/>
                    <a:gd name="connsiteY195" fmla="*/ 241379 h 449140"/>
                    <a:gd name="connsiteX196" fmla="*/ 113387 w 205047"/>
                    <a:gd name="connsiteY196" fmla="*/ 240417 h 449140"/>
                    <a:gd name="connsiteX197" fmla="*/ 112010 w 205047"/>
                    <a:gd name="connsiteY197" fmla="*/ 239521 h 449140"/>
                    <a:gd name="connsiteX198" fmla="*/ 110689 w 205047"/>
                    <a:gd name="connsiteY198" fmla="*/ 238095 h 449140"/>
                    <a:gd name="connsiteX199" fmla="*/ 107910 w 205047"/>
                    <a:gd name="connsiteY199" fmla="*/ 236611 h 449140"/>
                    <a:gd name="connsiteX200" fmla="*/ 100991 w 205047"/>
                    <a:gd name="connsiteY200" fmla="*/ 238738 h 449140"/>
                    <a:gd name="connsiteX201" fmla="*/ 92198 w 205047"/>
                    <a:gd name="connsiteY201" fmla="*/ 237076 h 449140"/>
                    <a:gd name="connsiteX202" fmla="*/ 88807 w 205047"/>
                    <a:gd name="connsiteY202" fmla="*/ 238665 h 449140"/>
                    <a:gd name="connsiteX203" fmla="*/ 87422 w 205047"/>
                    <a:gd name="connsiteY203" fmla="*/ 237679 h 449140"/>
                    <a:gd name="connsiteX204" fmla="*/ 86567 w 205047"/>
                    <a:gd name="connsiteY204" fmla="*/ 235837 h 449140"/>
                    <a:gd name="connsiteX205" fmla="*/ 87389 w 205047"/>
                    <a:gd name="connsiteY205" fmla="*/ 232699 h 449140"/>
                    <a:gd name="connsiteX206" fmla="*/ 87585 w 205047"/>
                    <a:gd name="connsiteY206" fmla="*/ 226122 h 449140"/>
                    <a:gd name="connsiteX207" fmla="*/ 88628 w 205047"/>
                    <a:gd name="connsiteY207" fmla="*/ 221502 h 449140"/>
                    <a:gd name="connsiteX208" fmla="*/ 88131 w 205047"/>
                    <a:gd name="connsiteY208" fmla="*/ 217989 h 449140"/>
                    <a:gd name="connsiteX209" fmla="*/ 88636 w 205047"/>
                    <a:gd name="connsiteY209" fmla="*/ 216327 h 449140"/>
                    <a:gd name="connsiteX210" fmla="*/ 89028 w 205047"/>
                    <a:gd name="connsiteY210" fmla="*/ 214069 h 449140"/>
                    <a:gd name="connsiteX211" fmla="*/ 87634 w 205047"/>
                    <a:gd name="connsiteY211" fmla="*/ 213140 h 449140"/>
                    <a:gd name="connsiteX212" fmla="*/ 81416 w 205047"/>
                    <a:gd name="connsiteY212" fmla="*/ 211355 h 449140"/>
                    <a:gd name="connsiteX213" fmla="*/ 80104 w 205047"/>
                    <a:gd name="connsiteY213" fmla="*/ 209937 h 449140"/>
                    <a:gd name="connsiteX214" fmla="*/ 78449 w 205047"/>
                    <a:gd name="connsiteY214" fmla="*/ 211567 h 449140"/>
                    <a:gd name="connsiteX215" fmla="*/ 70992 w 205047"/>
                    <a:gd name="connsiteY215" fmla="*/ 212480 h 449140"/>
                    <a:gd name="connsiteX216" fmla="*/ 68189 w 205047"/>
                    <a:gd name="connsiteY216" fmla="*/ 213841 h 449140"/>
                    <a:gd name="connsiteX217" fmla="*/ 65589 w 205047"/>
                    <a:gd name="connsiteY217" fmla="*/ 216465 h 449140"/>
                    <a:gd name="connsiteX218" fmla="*/ 64921 w 205047"/>
                    <a:gd name="connsiteY218" fmla="*/ 219798 h 449140"/>
                    <a:gd name="connsiteX219" fmla="*/ 66420 w 205047"/>
                    <a:gd name="connsiteY219" fmla="*/ 221991 h 449140"/>
                    <a:gd name="connsiteX220" fmla="*/ 67382 w 205047"/>
                    <a:gd name="connsiteY220" fmla="*/ 225797 h 449140"/>
                    <a:gd name="connsiteX221" fmla="*/ 64709 w 205047"/>
                    <a:gd name="connsiteY221" fmla="*/ 234109 h 449140"/>
                    <a:gd name="connsiteX222" fmla="*/ 64261 w 205047"/>
                    <a:gd name="connsiteY222" fmla="*/ 236579 h 449140"/>
                    <a:gd name="connsiteX223" fmla="*/ 65295 w 205047"/>
                    <a:gd name="connsiteY223" fmla="*/ 246733 h 449140"/>
                    <a:gd name="connsiteX224" fmla="*/ 64880 w 205047"/>
                    <a:gd name="connsiteY224" fmla="*/ 252308 h 449140"/>
                    <a:gd name="connsiteX225" fmla="*/ 63421 w 205047"/>
                    <a:gd name="connsiteY225" fmla="*/ 256040 h 449140"/>
                    <a:gd name="connsiteX226" fmla="*/ 61115 w 205047"/>
                    <a:gd name="connsiteY226" fmla="*/ 259398 h 449140"/>
                    <a:gd name="connsiteX227" fmla="*/ 60161 w 205047"/>
                    <a:gd name="connsiteY227" fmla="*/ 265078 h 449140"/>
                    <a:gd name="connsiteX228" fmla="*/ 58344 w 205047"/>
                    <a:gd name="connsiteY228" fmla="*/ 267711 h 449140"/>
                    <a:gd name="connsiteX229" fmla="*/ 55899 w 205047"/>
                    <a:gd name="connsiteY229" fmla="*/ 273725 h 449140"/>
                    <a:gd name="connsiteX230" fmla="*/ 54269 w 205047"/>
                    <a:gd name="connsiteY230" fmla="*/ 281207 h 449140"/>
                    <a:gd name="connsiteX231" fmla="*/ 53096 w 205047"/>
                    <a:gd name="connsiteY231" fmla="*/ 284670 h 449140"/>
                    <a:gd name="connsiteX232" fmla="*/ 52419 w 205047"/>
                    <a:gd name="connsiteY232" fmla="*/ 291051 h 449140"/>
                    <a:gd name="connsiteX233" fmla="*/ 47407 w 205047"/>
                    <a:gd name="connsiteY233" fmla="*/ 300725 h 449140"/>
                    <a:gd name="connsiteX234" fmla="*/ 46233 w 205047"/>
                    <a:gd name="connsiteY234" fmla="*/ 306186 h 449140"/>
                    <a:gd name="connsiteX235" fmla="*/ 44432 w 205047"/>
                    <a:gd name="connsiteY235" fmla="*/ 308248 h 449140"/>
                    <a:gd name="connsiteX236" fmla="*/ 45060 w 205047"/>
                    <a:gd name="connsiteY236" fmla="*/ 309877 h 449140"/>
                    <a:gd name="connsiteX237" fmla="*/ 45166 w 205047"/>
                    <a:gd name="connsiteY237" fmla="*/ 312607 h 449140"/>
                    <a:gd name="connsiteX238" fmla="*/ 44546 w 205047"/>
                    <a:gd name="connsiteY238" fmla="*/ 319885 h 449140"/>
                    <a:gd name="connsiteX239" fmla="*/ 44335 w 205047"/>
                    <a:gd name="connsiteY239" fmla="*/ 325924 h 449140"/>
                    <a:gd name="connsiteX240" fmla="*/ 45092 w 205047"/>
                    <a:gd name="connsiteY240" fmla="*/ 329151 h 449140"/>
                    <a:gd name="connsiteX241" fmla="*/ 47497 w 205047"/>
                    <a:gd name="connsiteY241" fmla="*/ 335557 h 449140"/>
                    <a:gd name="connsiteX242" fmla="*/ 46926 w 205047"/>
                    <a:gd name="connsiteY242" fmla="*/ 337423 h 449140"/>
                    <a:gd name="connsiteX243" fmla="*/ 46649 w 205047"/>
                    <a:gd name="connsiteY243" fmla="*/ 340064 h 449140"/>
                    <a:gd name="connsiteX244" fmla="*/ 48670 w 205047"/>
                    <a:gd name="connsiteY244" fmla="*/ 341262 h 449140"/>
                    <a:gd name="connsiteX245" fmla="*/ 50121 w 205047"/>
                    <a:gd name="connsiteY245" fmla="*/ 341613 h 449140"/>
                    <a:gd name="connsiteX246" fmla="*/ 58311 w 205047"/>
                    <a:gd name="connsiteY246" fmla="*/ 338581 h 449140"/>
                    <a:gd name="connsiteX247" fmla="*/ 61074 w 205047"/>
                    <a:gd name="connsiteY247" fmla="*/ 339355 h 449140"/>
                    <a:gd name="connsiteX248" fmla="*/ 62125 w 205047"/>
                    <a:gd name="connsiteY248" fmla="*/ 342183 h 449140"/>
                    <a:gd name="connsiteX249" fmla="*/ 62793 w 205047"/>
                    <a:gd name="connsiteY249" fmla="*/ 344644 h 449140"/>
                    <a:gd name="connsiteX250" fmla="*/ 64179 w 205047"/>
                    <a:gd name="connsiteY250" fmla="*/ 357945 h 449140"/>
                    <a:gd name="connsiteX251" fmla="*/ 64896 w 205047"/>
                    <a:gd name="connsiteY251" fmla="*/ 360414 h 449140"/>
                    <a:gd name="connsiteX252" fmla="*/ 66551 w 205047"/>
                    <a:gd name="connsiteY252" fmla="*/ 362761 h 449140"/>
                    <a:gd name="connsiteX253" fmla="*/ 68368 w 205047"/>
                    <a:gd name="connsiteY253" fmla="*/ 365263 h 449140"/>
                    <a:gd name="connsiteX254" fmla="*/ 68979 w 205047"/>
                    <a:gd name="connsiteY254" fmla="*/ 364823 h 449140"/>
                    <a:gd name="connsiteX255" fmla="*/ 69102 w 205047"/>
                    <a:gd name="connsiteY255" fmla="*/ 363886 h 449140"/>
                    <a:gd name="connsiteX256" fmla="*/ 69223 w 205047"/>
                    <a:gd name="connsiteY256" fmla="*/ 362851 h 449140"/>
                    <a:gd name="connsiteX257" fmla="*/ 70829 w 205047"/>
                    <a:gd name="connsiteY257" fmla="*/ 365369 h 449140"/>
                    <a:gd name="connsiteX258" fmla="*/ 72093 w 205047"/>
                    <a:gd name="connsiteY258" fmla="*/ 370071 h 449140"/>
                    <a:gd name="connsiteX259" fmla="*/ 76404 w 205047"/>
                    <a:gd name="connsiteY259" fmla="*/ 394920 h 449140"/>
                    <a:gd name="connsiteX260" fmla="*/ 77651 w 205047"/>
                    <a:gd name="connsiteY260" fmla="*/ 398074 h 449140"/>
                    <a:gd name="connsiteX261" fmla="*/ 78677 w 205047"/>
                    <a:gd name="connsiteY261" fmla="*/ 401391 h 449140"/>
                    <a:gd name="connsiteX262" fmla="*/ 76062 w 205047"/>
                    <a:gd name="connsiteY262" fmla="*/ 399777 h 449140"/>
                    <a:gd name="connsiteX263" fmla="*/ 75344 w 205047"/>
                    <a:gd name="connsiteY263" fmla="*/ 394252 h 449140"/>
                    <a:gd name="connsiteX264" fmla="*/ 74586 w 205047"/>
                    <a:gd name="connsiteY264" fmla="*/ 391929 h 449140"/>
                    <a:gd name="connsiteX265" fmla="*/ 73665 w 205047"/>
                    <a:gd name="connsiteY265" fmla="*/ 391587 h 449140"/>
                    <a:gd name="connsiteX266" fmla="*/ 72199 w 205047"/>
                    <a:gd name="connsiteY266" fmla="*/ 391619 h 449140"/>
                    <a:gd name="connsiteX267" fmla="*/ 72093 w 205047"/>
                    <a:gd name="connsiteY267" fmla="*/ 390633 h 449140"/>
                    <a:gd name="connsiteX268" fmla="*/ 73201 w 205047"/>
                    <a:gd name="connsiteY268" fmla="*/ 388832 h 449140"/>
                    <a:gd name="connsiteX269" fmla="*/ 73030 w 205047"/>
                    <a:gd name="connsiteY269" fmla="*/ 386672 h 449140"/>
                    <a:gd name="connsiteX270" fmla="*/ 71522 w 205047"/>
                    <a:gd name="connsiteY270" fmla="*/ 384904 h 449140"/>
                    <a:gd name="connsiteX271" fmla="*/ 69085 w 205047"/>
                    <a:gd name="connsiteY271" fmla="*/ 386305 h 449140"/>
                    <a:gd name="connsiteX272" fmla="*/ 69142 w 205047"/>
                    <a:gd name="connsiteY272" fmla="*/ 390185 h 449140"/>
                    <a:gd name="connsiteX273" fmla="*/ 70242 w 205047"/>
                    <a:gd name="connsiteY273" fmla="*/ 393151 h 449140"/>
                    <a:gd name="connsiteX274" fmla="*/ 74374 w 205047"/>
                    <a:gd name="connsiteY274" fmla="*/ 399777 h 449140"/>
                    <a:gd name="connsiteX275" fmla="*/ 75662 w 205047"/>
                    <a:gd name="connsiteY275" fmla="*/ 402548 h 449140"/>
                    <a:gd name="connsiteX276" fmla="*/ 77300 w 205047"/>
                    <a:gd name="connsiteY276" fmla="*/ 403347 h 449140"/>
                    <a:gd name="connsiteX277" fmla="*/ 79696 w 205047"/>
                    <a:gd name="connsiteY277" fmla="*/ 402907 h 449140"/>
                    <a:gd name="connsiteX278" fmla="*/ 82557 w 205047"/>
                    <a:gd name="connsiteY278" fmla="*/ 405734 h 449140"/>
                    <a:gd name="connsiteX279" fmla="*/ 84822 w 205047"/>
                    <a:gd name="connsiteY279" fmla="*/ 408359 h 449140"/>
                    <a:gd name="connsiteX280" fmla="*/ 90405 w 205047"/>
                    <a:gd name="connsiteY280" fmla="*/ 412377 h 449140"/>
                    <a:gd name="connsiteX281" fmla="*/ 93787 w 205047"/>
                    <a:gd name="connsiteY281" fmla="*/ 411953 h 449140"/>
                    <a:gd name="connsiteX282" fmla="*/ 97446 w 205047"/>
                    <a:gd name="connsiteY282" fmla="*/ 410959 h 449140"/>
                    <a:gd name="connsiteX283" fmla="*/ 99907 w 205047"/>
                    <a:gd name="connsiteY283" fmla="*/ 411219 h 449140"/>
                    <a:gd name="connsiteX284" fmla="*/ 102311 w 205047"/>
                    <a:gd name="connsiteY284" fmla="*/ 412246 h 449140"/>
                    <a:gd name="connsiteX285" fmla="*/ 105196 w 205047"/>
                    <a:gd name="connsiteY285" fmla="*/ 415596 h 449140"/>
                    <a:gd name="connsiteX286" fmla="*/ 109777 w 205047"/>
                    <a:gd name="connsiteY286" fmla="*/ 423982 h 449140"/>
                    <a:gd name="connsiteX287" fmla="*/ 117258 w 205047"/>
                    <a:gd name="connsiteY287" fmla="*/ 430958 h 449140"/>
                    <a:gd name="connsiteX288" fmla="*/ 116452 w 205047"/>
                    <a:gd name="connsiteY288" fmla="*/ 432686 h 449140"/>
                    <a:gd name="connsiteX289" fmla="*/ 116117 w 205047"/>
                    <a:gd name="connsiteY289" fmla="*/ 435326 h 449140"/>
                    <a:gd name="connsiteX290" fmla="*/ 113167 w 205047"/>
                    <a:gd name="connsiteY290" fmla="*/ 438847 h 449140"/>
                    <a:gd name="connsiteX291" fmla="*/ 112695 w 205047"/>
                    <a:gd name="connsiteY291" fmla="*/ 440893 h 449140"/>
                    <a:gd name="connsiteX292" fmla="*/ 111619 w 205047"/>
                    <a:gd name="connsiteY292" fmla="*/ 443476 h 449140"/>
                    <a:gd name="connsiteX293" fmla="*/ 109565 w 205047"/>
                    <a:gd name="connsiteY293" fmla="*/ 444853 h 449140"/>
                    <a:gd name="connsiteX294" fmla="*/ 107796 w 205047"/>
                    <a:gd name="connsiteY294" fmla="*/ 445114 h 449140"/>
                    <a:gd name="connsiteX295" fmla="*/ 106778 w 205047"/>
                    <a:gd name="connsiteY295" fmla="*/ 444869 h 449140"/>
                    <a:gd name="connsiteX296" fmla="*/ 106077 w 205047"/>
                    <a:gd name="connsiteY296" fmla="*/ 444356 h 449140"/>
                    <a:gd name="connsiteX297" fmla="*/ 104863 w 205047"/>
                    <a:gd name="connsiteY297" fmla="*/ 441919 h 449140"/>
                    <a:gd name="connsiteX298" fmla="*/ 104259 w 205047"/>
                    <a:gd name="connsiteY298" fmla="*/ 441178 h 449140"/>
                    <a:gd name="connsiteX299" fmla="*/ 103754 w 205047"/>
                    <a:gd name="connsiteY299" fmla="*/ 441007 h 449140"/>
                    <a:gd name="connsiteX300" fmla="*/ 99981 w 205047"/>
                    <a:gd name="connsiteY300" fmla="*/ 442694 h 449140"/>
                    <a:gd name="connsiteX301" fmla="*/ 96330 w 205047"/>
                    <a:gd name="connsiteY301" fmla="*/ 444560 h 449140"/>
                    <a:gd name="connsiteX302" fmla="*/ 95661 w 205047"/>
                    <a:gd name="connsiteY302" fmla="*/ 446231 h 449140"/>
                    <a:gd name="connsiteX303" fmla="*/ 94691 w 205047"/>
                    <a:gd name="connsiteY303" fmla="*/ 448187 h 449140"/>
                    <a:gd name="connsiteX304" fmla="*/ 93616 w 205047"/>
                    <a:gd name="connsiteY304" fmla="*/ 448953 h 449140"/>
                    <a:gd name="connsiteX305" fmla="*/ 92776 w 205047"/>
                    <a:gd name="connsiteY305" fmla="*/ 449140 h 449140"/>
                    <a:gd name="connsiteX306" fmla="*/ 91978 w 205047"/>
                    <a:gd name="connsiteY306" fmla="*/ 447991 h 449140"/>
                    <a:gd name="connsiteX307" fmla="*/ 90576 w 205047"/>
                    <a:gd name="connsiteY307" fmla="*/ 446500 h 449140"/>
                    <a:gd name="connsiteX308" fmla="*/ 89484 w 205047"/>
                    <a:gd name="connsiteY308" fmla="*/ 445106 h 449140"/>
                    <a:gd name="connsiteX309" fmla="*/ 89769 w 205047"/>
                    <a:gd name="connsiteY309" fmla="*/ 442857 h 449140"/>
                    <a:gd name="connsiteX310" fmla="*/ 91823 w 205047"/>
                    <a:gd name="connsiteY310" fmla="*/ 439548 h 449140"/>
                    <a:gd name="connsiteX311" fmla="*/ 92084 w 205047"/>
                    <a:gd name="connsiteY311" fmla="*/ 437233 h 449140"/>
                    <a:gd name="connsiteX312" fmla="*/ 91839 w 205047"/>
                    <a:gd name="connsiteY312" fmla="*/ 433256 h 449140"/>
                    <a:gd name="connsiteX313" fmla="*/ 91277 w 205047"/>
                    <a:gd name="connsiteY313" fmla="*/ 430958 h 449140"/>
                    <a:gd name="connsiteX314" fmla="*/ 90682 w 205047"/>
                    <a:gd name="connsiteY314" fmla="*/ 430877 h 449140"/>
                    <a:gd name="connsiteX315" fmla="*/ 89679 w 205047"/>
                    <a:gd name="connsiteY315" fmla="*/ 430510 h 449140"/>
                    <a:gd name="connsiteX316" fmla="*/ 86819 w 205047"/>
                    <a:gd name="connsiteY316" fmla="*/ 430877 h 449140"/>
                    <a:gd name="connsiteX317" fmla="*/ 85401 w 205047"/>
                    <a:gd name="connsiteY317" fmla="*/ 428285 h 449140"/>
                    <a:gd name="connsiteX318" fmla="*/ 84831 w 205047"/>
                    <a:gd name="connsiteY318" fmla="*/ 425449 h 449140"/>
                    <a:gd name="connsiteX319" fmla="*/ 83861 w 205047"/>
                    <a:gd name="connsiteY319" fmla="*/ 424430 h 449140"/>
                    <a:gd name="connsiteX320" fmla="*/ 82899 w 205047"/>
                    <a:gd name="connsiteY320" fmla="*/ 423819 h 449140"/>
                    <a:gd name="connsiteX321" fmla="*/ 80764 w 205047"/>
                    <a:gd name="connsiteY321" fmla="*/ 424797 h 449140"/>
                    <a:gd name="connsiteX322" fmla="*/ 79134 w 205047"/>
                    <a:gd name="connsiteY322" fmla="*/ 424210 h 449140"/>
                    <a:gd name="connsiteX323" fmla="*/ 73722 w 205047"/>
                    <a:gd name="connsiteY323" fmla="*/ 421741 h 449140"/>
                    <a:gd name="connsiteX324" fmla="*/ 71628 w 205047"/>
                    <a:gd name="connsiteY324" fmla="*/ 417747 h 449140"/>
                    <a:gd name="connsiteX325" fmla="*/ 70520 w 205047"/>
                    <a:gd name="connsiteY325" fmla="*/ 417633 h 449140"/>
                    <a:gd name="connsiteX326" fmla="*/ 69533 w 205047"/>
                    <a:gd name="connsiteY326" fmla="*/ 418081 h 449140"/>
                    <a:gd name="connsiteX327" fmla="*/ 69142 w 205047"/>
                    <a:gd name="connsiteY327" fmla="*/ 418986 h 449140"/>
                    <a:gd name="connsiteX328" fmla="*/ 68580 w 205047"/>
                    <a:gd name="connsiteY328" fmla="*/ 423574 h 449140"/>
                    <a:gd name="connsiteX329" fmla="*/ 68107 w 205047"/>
                    <a:gd name="connsiteY329" fmla="*/ 424976 h 449140"/>
                    <a:gd name="connsiteX330" fmla="*/ 61881 w 205047"/>
                    <a:gd name="connsiteY330" fmla="*/ 415726 h 449140"/>
                    <a:gd name="connsiteX331" fmla="*/ 57602 w 205047"/>
                    <a:gd name="connsiteY331" fmla="*/ 411920 h 449140"/>
                    <a:gd name="connsiteX332" fmla="*/ 58214 w 205047"/>
                    <a:gd name="connsiteY332" fmla="*/ 405017 h 449140"/>
                    <a:gd name="connsiteX333" fmla="*/ 56909 w 205047"/>
                    <a:gd name="connsiteY333" fmla="*/ 403673 h 449140"/>
                    <a:gd name="connsiteX334" fmla="*/ 55288 w 205047"/>
                    <a:gd name="connsiteY334" fmla="*/ 403534 h 449140"/>
                    <a:gd name="connsiteX335" fmla="*/ 54065 w 205047"/>
                    <a:gd name="connsiteY335" fmla="*/ 401627 h 449140"/>
                    <a:gd name="connsiteX336" fmla="*/ 55157 w 205047"/>
                    <a:gd name="connsiteY336" fmla="*/ 397520 h 449140"/>
                    <a:gd name="connsiteX337" fmla="*/ 53479 w 205047"/>
                    <a:gd name="connsiteY337" fmla="*/ 398302 h 449140"/>
                    <a:gd name="connsiteX338" fmla="*/ 51148 w 205047"/>
                    <a:gd name="connsiteY338" fmla="*/ 398155 h 449140"/>
                    <a:gd name="connsiteX339" fmla="*/ 49257 w 205047"/>
                    <a:gd name="connsiteY339" fmla="*/ 397014 h 449140"/>
                    <a:gd name="connsiteX340" fmla="*/ 47798 w 205047"/>
                    <a:gd name="connsiteY340" fmla="*/ 391326 h 449140"/>
                    <a:gd name="connsiteX341" fmla="*/ 46902 w 205047"/>
                    <a:gd name="connsiteY341" fmla="*/ 389598 h 449140"/>
                    <a:gd name="connsiteX342" fmla="*/ 44905 w 205047"/>
                    <a:gd name="connsiteY342" fmla="*/ 386615 h 449140"/>
                    <a:gd name="connsiteX343" fmla="*/ 42289 w 205047"/>
                    <a:gd name="connsiteY343" fmla="*/ 386615 h 449140"/>
                    <a:gd name="connsiteX344" fmla="*/ 41425 w 205047"/>
                    <a:gd name="connsiteY344" fmla="*/ 385181 h 449140"/>
                    <a:gd name="connsiteX345" fmla="*/ 41637 w 205047"/>
                    <a:gd name="connsiteY345" fmla="*/ 381505 h 449140"/>
                    <a:gd name="connsiteX346" fmla="*/ 39721 w 205047"/>
                    <a:gd name="connsiteY346" fmla="*/ 379248 h 449140"/>
                    <a:gd name="connsiteX347" fmla="*/ 37195 w 205047"/>
                    <a:gd name="connsiteY347" fmla="*/ 377414 h 449140"/>
                    <a:gd name="connsiteX348" fmla="*/ 35117 w 205047"/>
                    <a:gd name="connsiteY348" fmla="*/ 376338 h 449140"/>
                    <a:gd name="connsiteX349" fmla="*/ 33006 w 205047"/>
                    <a:gd name="connsiteY349" fmla="*/ 370414 h 449140"/>
                    <a:gd name="connsiteX350" fmla="*/ 31344 w 205047"/>
                    <a:gd name="connsiteY350" fmla="*/ 368963 h 449140"/>
                    <a:gd name="connsiteX351" fmla="*/ 29926 w 205047"/>
                    <a:gd name="connsiteY351" fmla="*/ 367773 h 449140"/>
                    <a:gd name="connsiteX352" fmla="*/ 27954 w 205047"/>
                    <a:gd name="connsiteY352" fmla="*/ 368572 h 449140"/>
                    <a:gd name="connsiteX353" fmla="*/ 27318 w 205047"/>
                    <a:gd name="connsiteY353" fmla="*/ 370707 h 449140"/>
                    <a:gd name="connsiteX354" fmla="*/ 25998 w 205047"/>
                    <a:gd name="connsiteY354" fmla="*/ 372777 h 449140"/>
                    <a:gd name="connsiteX355" fmla="*/ 24498 w 205047"/>
                    <a:gd name="connsiteY355" fmla="*/ 372508 h 449140"/>
                    <a:gd name="connsiteX356" fmla="*/ 23129 w 205047"/>
                    <a:gd name="connsiteY356" fmla="*/ 371326 h 449140"/>
                    <a:gd name="connsiteX357" fmla="*/ 21466 w 205047"/>
                    <a:gd name="connsiteY357" fmla="*/ 365402 h 449140"/>
                    <a:gd name="connsiteX358" fmla="*/ 21189 w 205047"/>
                    <a:gd name="connsiteY358" fmla="*/ 361767 h 449140"/>
                    <a:gd name="connsiteX359" fmla="*/ 21556 w 205047"/>
                    <a:gd name="connsiteY359" fmla="*/ 355019 h 449140"/>
                    <a:gd name="connsiteX360" fmla="*/ 23642 w 205047"/>
                    <a:gd name="connsiteY360" fmla="*/ 348963 h 449140"/>
                    <a:gd name="connsiteX361" fmla="*/ 24775 w 205047"/>
                    <a:gd name="connsiteY361" fmla="*/ 339273 h 449140"/>
                    <a:gd name="connsiteX362" fmla="*/ 26552 w 205047"/>
                    <a:gd name="connsiteY362" fmla="*/ 333178 h 449140"/>
                    <a:gd name="connsiteX363" fmla="*/ 27790 w 205047"/>
                    <a:gd name="connsiteY363" fmla="*/ 331108 h 449140"/>
                    <a:gd name="connsiteX364" fmla="*/ 29502 w 205047"/>
                    <a:gd name="connsiteY364" fmla="*/ 322787 h 449140"/>
                    <a:gd name="connsiteX365" fmla="*/ 32990 w 205047"/>
                    <a:gd name="connsiteY365" fmla="*/ 312135 h 449140"/>
                    <a:gd name="connsiteX366" fmla="*/ 33381 w 205047"/>
                    <a:gd name="connsiteY366" fmla="*/ 309853 h 449140"/>
                    <a:gd name="connsiteX367" fmla="*/ 34090 w 205047"/>
                    <a:gd name="connsiteY367" fmla="*/ 307294 h 449140"/>
                    <a:gd name="connsiteX368" fmla="*/ 34612 w 205047"/>
                    <a:gd name="connsiteY368" fmla="*/ 304882 h 449140"/>
                    <a:gd name="connsiteX369" fmla="*/ 34791 w 205047"/>
                    <a:gd name="connsiteY369" fmla="*/ 301076 h 449140"/>
                    <a:gd name="connsiteX370" fmla="*/ 34343 w 205047"/>
                    <a:gd name="connsiteY370" fmla="*/ 299063 h 449140"/>
                    <a:gd name="connsiteX371" fmla="*/ 34343 w 205047"/>
                    <a:gd name="connsiteY371" fmla="*/ 297930 h 449140"/>
                    <a:gd name="connsiteX372" fmla="*/ 35068 w 205047"/>
                    <a:gd name="connsiteY372" fmla="*/ 296496 h 449140"/>
                    <a:gd name="connsiteX373" fmla="*/ 37562 w 205047"/>
                    <a:gd name="connsiteY373" fmla="*/ 294083 h 449140"/>
                    <a:gd name="connsiteX374" fmla="*/ 41001 w 205047"/>
                    <a:gd name="connsiteY374" fmla="*/ 290106 h 449140"/>
                    <a:gd name="connsiteX375" fmla="*/ 45076 w 205047"/>
                    <a:gd name="connsiteY375" fmla="*/ 284499 h 449140"/>
                    <a:gd name="connsiteX376" fmla="*/ 49273 w 205047"/>
                    <a:gd name="connsiteY376" fmla="*/ 275909 h 449140"/>
                    <a:gd name="connsiteX377" fmla="*/ 51343 w 205047"/>
                    <a:gd name="connsiteY377" fmla="*/ 270922 h 449140"/>
                    <a:gd name="connsiteX378" fmla="*/ 52223 w 205047"/>
                    <a:gd name="connsiteY378" fmla="*/ 269161 h 449140"/>
                    <a:gd name="connsiteX379" fmla="*/ 53136 w 205047"/>
                    <a:gd name="connsiteY379" fmla="*/ 268615 h 449140"/>
                    <a:gd name="connsiteX380" fmla="*/ 54570 w 205047"/>
                    <a:gd name="connsiteY380" fmla="*/ 266912 h 449140"/>
                    <a:gd name="connsiteX381" fmla="*/ 55556 w 205047"/>
                    <a:gd name="connsiteY381" fmla="*/ 265021 h 449140"/>
                    <a:gd name="connsiteX382" fmla="*/ 55606 w 205047"/>
                    <a:gd name="connsiteY382" fmla="*/ 264076 h 449140"/>
                    <a:gd name="connsiteX383" fmla="*/ 53332 w 205047"/>
                    <a:gd name="connsiteY383" fmla="*/ 254736 h 449140"/>
                    <a:gd name="connsiteX384" fmla="*/ 51840 w 205047"/>
                    <a:gd name="connsiteY384" fmla="*/ 251688 h 449140"/>
                    <a:gd name="connsiteX385" fmla="*/ 51091 w 205047"/>
                    <a:gd name="connsiteY385" fmla="*/ 248094 h 449140"/>
                    <a:gd name="connsiteX386" fmla="*/ 50683 w 205047"/>
                    <a:gd name="connsiteY386" fmla="*/ 245495 h 449140"/>
                    <a:gd name="connsiteX387" fmla="*/ 50137 w 205047"/>
                    <a:gd name="connsiteY387" fmla="*/ 243107 h 449140"/>
                    <a:gd name="connsiteX388" fmla="*/ 50406 w 205047"/>
                    <a:gd name="connsiteY388" fmla="*/ 240866 h 449140"/>
                    <a:gd name="connsiteX389" fmla="*/ 49583 w 205047"/>
                    <a:gd name="connsiteY389" fmla="*/ 239456 h 449140"/>
                    <a:gd name="connsiteX390" fmla="*/ 47733 w 205047"/>
                    <a:gd name="connsiteY390" fmla="*/ 237679 h 449140"/>
                    <a:gd name="connsiteX391" fmla="*/ 45801 w 205047"/>
                    <a:gd name="connsiteY391" fmla="*/ 235046 h 449140"/>
                    <a:gd name="connsiteX392" fmla="*/ 44652 w 205047"/>
                    <a:gd name="connsiteY392" fmla="*/ 230735 h 449140"/>
                    <a:gd name="connsiteX393" fmla="*/ 44652 w 205047"/>
                    <a:gd name="connsiteY393" fmla="*/ 228323 h 449140"/>
                    <a:gd name="connsiteX394" fmla="*/ 43430 w 205047"/>
                    <a:gd name="connsiteY394" fmla="*/ 226220 h 449140"/>
                    <a:gd name="connsiteX395" fmla="*/ 43014 w 205047"/>
                    <a:gd name="connsiteY395" fmla="*/ 224012 h 449140"/>
                    <a:gd name="connsiteX396" fmla="*/ 43756 w 205047"/>
                    <a:gd name="connsiteY396" fmla="*/ 221901 h 449140"/>
                    <a:gd name="connsiteX397" fmla="*/ 44726 w 205047"/>
                    <a:gd name="connsiteY397" fmla="*/ 220076 h 449140"/>
                    <a:gd name="connsiteX398" fmla="*/ 44612 w 205047"/>
                    <a:gd name="connsiteY398" fmla="*/ 212072 h 449140"/>
                    <a:gd name="connsiteX399" fmla="*/ 44220 w 205047"/>
                    <a:gd name="connsiteY399" fmla="*/ 209677 h 449140"/>
                    <a:gd name="connsiteX400" fmla="*/ 43748 w 205047"/>
                    <a:gd name="connsiteY400" fmla="*/ 205398 h 449140"/>
                    <a:gd name="connsiteX401" fmla="*/ 42493 w 205047"/>
                    <a:gd name="connsiteY401" fmla="*/ 202170 h 449140"/>
                    <a:gd name="connsiteX402" fmla="*/ 40708 w 205047"/>
                    <a:gd name="connsiteY402" fmla="*/ 198389 h 449140"/>
                    <a:gd name="connsiteX403" fmla="*/ 38695 w 205047"/>
                    <a:gd name="connsiteY403" fmla="*/ 195276 h 449140"/>
                    <a:gd name="connsiteX404" fmla="*/ 33430 w 205047"/>
                    <a:gd name="connsiteY404" fmla="*/ 189628 h 449140"/>
                    <a:gd name="connsiteX405" fmla="*/ 29681 w 205047"/>
                    <a:gd name="connsiteY405" fmla="*/ 185847 h 449140"/>
                    <a:gd name="connsiteX406" fmla="*/ 27815 w 205047"/>
                    <a:gd name="connsiteY406" fmla="*/ 182416 h 449140"/>
                    <a:gd name="connsiteX407" fmla="*/ 25459 w 205047"/>
                    <a:gd name="connsiteY407" fmla="*/ 178455 h 449140"/>
                    <a:gd name="connsiteX408" fmla="*/ 23781 w 205047"/>
                    <a:gd name="connsiteY408" fmla="*/ 175610 h 449140"/>
                    <a:gd name="connsiteX409" fmla="*/ 21629 w 205047"/>
                    <a:gd name="connsiteY409" fmla="*/ 172008 h 449140"/>
                    <a:gd name="connsiteX410" fmla="*/ 20545 w 205047"/>
                    <a:gd name="connsiteY410" fmla="*/ 167094 h 449140"/>
                    <a:gd name="connsiteX411" fmla="*/ 19951 w 205047"/>
                    <a:gd name="connsiteY411" fmla="*/ 161870 h 449140"/>
                    <a:gd name="connsiteX412" fmla="*/ 20276 w 205047"/>
                    <a:gd name="connsiteY412" fmla="*/ 160134 h 449140"/>
                    <a:gd name="connsiteX413" fmla="*/ 21304 w 205047"/>
                    <a:gd name="connsiteY413" fmla="*/ 159001 h 449140"/>
                    <a:gd name="connsiteX414" fmla="*/ 22632 w 205047"/>
                    <a:gd name="connsiteY414" fmla="*/ 158089 h 449140"/>
                    <a:gd name="connsiteX415" fmla="*/ 23708 w 205047"/>
                    <a:gd name="connsiteY415" fmla="*/ 157877 h 449140"/>
                    <a:gd name="connsiteX416" fmla="*/ 26755 w 205047"/>
                    <a:gd name="connsiteY416" fmla="*/ 155473 h 449140"/>
                    <a:gd name="connsiteX417" fmla="*/ 28866 w 205047"/>
                    <a:gd name="connsiteY417" fmla="*/ 155676 h 449140"/>
                    <a:gd name="connsiteX418" fmla="*/ 29355 w 205047"/>
                    <a:gd name="connsiteY418" fmla="*/ 155163 h 449140"/>
                    <a:gd name="connsiteX419" fmla="*/ 29559 w 205047"/>
                    <a:gd name="connsiteY419" fmla="*/ 154071 h 449140"/>
                    <a:gd name="connsiteX420" fmla="*/ 29290 w 205047"/>
                    <a:gd name="connsiteY420" fmla="*/ 149311 h 449140"/>
                    <a:gd name="connsiteX421" fmla="*/ 29388 w 205047"/>
                    <a:gd name="connsiteY421" fmla="*/ 142938 h 449140"/>
                    <a:gd name="connsiteX422" fmla="*/ 29779 w 205047"/>
                    <a:gd name="connsiteY422" fmla="*/ 137747 h 449140"/>
                    <a:gd name="connsiteX423" fmla="*/ 30244 w 205047"/>
                    <a:gd name="connsiteY423" fmla="*/ 134324 h 449140"/>
                    <a:gd name="connsiteX424" fmla="*/ 35843 w 205047"/>
                    <a:gd name="connsiteY424" fmla="*/ 130347 h 449140"/>
                    <a:gd name="connsiteX425" fmla="*/ 37024 w 205047"/>
                    <a:gd name="connsiteY425" fmla="*/ 128636 h 449140"/>
                    <a:gd name="connsiteX426" fmla="*/ 37587 w 205047"/>
                    <a:gd name="connsiteY426" fmla="*/ 126769 h 449140"/>
                    <a:gd name="connsiteX427" fmla="*/ 37587 w 205047"/>
                    <a:gd name="connsiteY427" fmla="*/ 125123 h 449140"/>
                    <a:gd name="connsiteX428" fmla="*/ 37114 w 205047"/>
                    <a:gd name="connsiteY428" fmla="*/ 123835 h 449140"/>
                    <a:gd name="connsiteX429" fmla="*/ 36266 w 205047"/>
                    <a:gd name="connsiteY429" fmla="*/ 123118 h 449140"/>
                    <a:gd name="connsiteX430" fmla="*/ 32648 w 205047"/>
                    <a:gd name="connsiteY430" fmla="*/ 126541 h 449140"/>
                    <a:gd name="connsiteX431" fmla="*/ 31930 w 205047"/>
                    <a:gd name="connsiteY431" fmla="*/ 125783 h 449140"/>
                    <a:gd name="connsiteX432" fmla="*/ 30268 w 205047"/>
                    <a:gd name="connsiteY432" fmla="*/ 120152 h 449140"/>
                    <a:gd name="connsiteX433" fmla="*/ 29551 w 205047"/>
                    <a:gd name="connsiteY433" fmla="*/ 118440 h 449140"/>
                    <a:gd name="connsiteX434" fmla="*/ 28524 w 205047"/>
                    <a:gd name="connsiteY434" fmla="*/ 116386 h 449140"/>
                    <a:gd name="connsiteX435" fmla="*/ 27399 w 205047"/>
                    <a:gd name="connsiteY435" fmla="*/ 113510 h 449140"/>
                    <a:gd name="connsiteX436" fmla="*/ 27228 w 205047"/>
                    <a:gd name="connsiteY436" fmla="*/ 108522 h 449140"/>
                    <a:gd name="connsiteX437" fmla="*/ 26429 w 205047"/>
                    <a:gd name="connsiteY437" fmla="*/ 106052 h 449140"/>
                    <a:gd name="connsiteX438" fmla="*/ 21898 w 205047"/>
                    <a:gd name="connsiteY438" fmla="*/ 100788 h 449140"/>
                    <a:gd name="connsiteX439" fmla="*/ 19869 w 205047"/>
                    <a:gd name="connsiteY439" fmla="*/ 97968 h 449140"/>
                    <a:gd name="connsiteX440" fmla="*/ 17098 w 205047"/>
                    <a:gd name="connsiteY440" fmla="*/ 93885 h 449140"/>
                    <a:gd name="connsiteX441" fmla="*/ 13781 w 205047"/>
                    <a:gd name="connsiteY441" fmla="*/ 88979 h 449140"/>
                    <a:gd name="connsiteX442" fmla="*/ 10399 w 205047"/>
                    <a:gd name="connsiteY442" fmla="*/ 84448 h 449140"/>
                    <a:gd name="connsiteX443" fmla="*/ 8826 w 205047"/>
                    <a:gd name="connsiteY443" fmla="*/ 81546 h 449140"/>
                    <a:gd name="connsiteX444" fmla="*/ 8256 w 205047"/>
                    <a:gd name="connsiteY444" fmla="*/ 80894 h 449140"/>
                    <a:gd name="connsiteX445" fmla="*/ 8068 w 205047"/>
                    <a:gd name="connsiteY445" fmla="*/ 79778 h 449140"/>
                    <a:gd name="connsiteX446" fmla="*/ 9087 w 205047"/>
                    <a:gd name="connsiteY446" fmla="*/ 76656 h 449140"/>
                    <a:gd name="connsiteX447" fmla="*/ 8589 w 205047"/>
                    <a:gd name="connsiteY447" fmla="*/ 73527 h 449140"/>
                    <a:gd name="connsiteX448" fmla="*/ 6903 w 205047"/>
                    <a:gd name="connsiteY448" fmla="*/ 69338 h 449140"/>
                    <a:gd name="connsiteX449" fmla="*/ 6177 w 205047"/>
                    <a:gd name="connsiteY449" fmla="*/ 66746 h 449140"/>
                    <a:gd name="connsiteX450" fmla="*/ 6414 w 205047"/>
                    <a:gd name="connsiteY450" fmla="*/ 65760 h 449140"/>
                    <a:gd name="connsiteX451" fmla="*/ 5599 w 205047"/>
                    <a:gd name="connsiteY451" fmla="*/ 65369 h 449140"/>
                    <a:gd name="connsiteX452" fmla="*/ 3724 w 205047"/>
                    <a:gd name="connsiteY452" fmla="*/ 65589 h 449140"/>
                    <a:gd name="connsiteX453" fmla="*/ 1915 w 205047"/>
                    <a:gd name="connsiteY453" fmla="*/ 63633 h 449140"/>
                    <a:gd name="connsiteX454" fmla="*/ 171 w 205047"/>
                    <a:gd name="connsiteY454" fmla="*/ 59493 h 449140"/>
                    <a:gd name="connsiteX455" fmla="*/ 0 w 205047"/>
                    <a:gd name="connsiteY455" fmla="*/ 58768 h 449140"/>
                    <a:gd name="connsiteX456" fmla="*/ 571 w 205047"/>
                    <a:gd name="connsiteY456" fmla="*/ 58776 h 449140"/>
                    <a:gd name="connsiteX457" fmla="*/ 2763 w 205047"/>
                    <a:gd name="connsiteY457" fmla="*/ 59485 h 449140"/>
                    <a:gd name="connsiteX458" fmla="*/ 3504 w 205047"/>
                    <a:gd name="connsiteY458" fmla="*/ 59379 h 449140"/>
                    <a:gd name="connsiteX459" fmla="*/ 5044 w 205047"/>
                    <a:gd name="connsiteY459" fmla="*/ 58434 h 449140"/>
                    <a:gd name="connsiteX460" fmla="*/ 7384 w 205047"/>
                    <a:gd name="connsiteY460" fmla="*/ 57431 h 449140"/>
                    <a:gd name="connsiteX461" fmla="*/ 8777 w 205047"/>
                    <a:gd name="connsiteY461" fmla="*/ 57097 h 449140"/>
                    <a:gd name="connsiteX462" fmla="*/ 9225 w 205047"/>
                    <a:gd name="connsiteY462" fmla="*/ 56600 h 449140"/>
                    <a:gd name="connsiteX463" fmla="*/ 9429 w 205047"/>
                    <a:gd name="connsiteY463" fmla="*/ 55598 h 449140"/>
                    <a:gd name="connsiteX464" fmla="*/ 8239 w 205047"/>
                    <a:gd name="connsiteY464" fmla="*/ 46038 h 449140"/>
                    <a:gd name="connsiteX465" fmla="*/ 8435 w 205047"/>
                    <a:gd name="connsiteY465" fmla="*/ 44050 h 449140"/>
                    <a:gd name="connsiteX466" fmla="*/ 10668 w 205047"/>
                    <a:gd name="connsiteY466" fmla="*/ 39926 h 449140"/>
                    <a:gd name="connsiteX467" fmla="*/ 10407 w 205047"/>
                    <a:gd name="connsiteY467" fmla="*/ 35753 h 449140"/>
                    <a:gd name="connsiteX468" fmla="*/ 10978 w 205047"/>
                    <a:gd name="connsiteY468" fmla="*/ 29771 h 449140"/>
                    <a:gd name="connsiteX469" fmla="*/ 13455 w 205047"/>
                    <a:gd name="connsiteY469" fmla="*/ 25680 h 449140"/>
                    <a:gd name="connsiteX470" fmla="*/ 15313 w 205047"/>
                    <a:gd name="connsiteY470" fmla="*/ 23806 h 449140"/>
                    <a:gd name="connsiteX471" fmla="*/ 15900 w 205047"/>
                    <a:gd name="connsiteY471" fmla="*/ 20847 h 449140"/>
                    <a:gd name="connsiteX472" fmla="*/ 16748 w 205047"/>
                    <a:gd name="connsiteY472" fmla="*/ 20220 h 449140"/>
                    <a:gd name="connsiteX473" fmla="*/ 18288 w 205047"/>
                    <a:gd name="connsiteY473" fmla="*/ 20456 h 449140"/>
                    <a:gd name="connsiteX474" fmla="*/ 21466 w 205047"/>
                    <a:gd name="connsiteY474" fmla="*/ 22664 h 449140"/>
                    <a:gd name="connsiteX475" fmla="*/ 22811 w 205047"/>
                    <a:gd name="connsiteY475" fmla="*/ 22770 h 449140"/>
                    <a:gd name="connsiteX476" fmla="*/ 24743 w 205047"/>
                    <a:gd name="connsiteY476" fmla="*/ 22713 h 449140"/>
                    <a:gd name="connsiteX477" fmla="*/ 26812 w 205047"/>
                    <a:gd name="connsiteY477" fmla="*/ 22551 h 449140"/>
                    <a:gd name="connsiteX478" fmla="*/ 27774 w 205047"/>
                    <a:gd name="connsiteY478" fmla="*/ 22339 h 449140"/>
                    <a:gd name="connsiteX479" fmla="*/ 34392 w 205047"/>
                    <a:gd name="connsiteY479" fmla="*/ 20187 h 449140"/>
                    <a:gd name="connsiteX480" fmla="*/ 35859 w 205047"/>
                    <a:gd name="connsiteY480" fmla="*/ 19959 h 449140"/>
                    <a:gd name="connsiteX481" fmla="*/ 37260 w 205047"/>
                    <a:gd name="connsiteY481" fmla="*/ 20236 h 449140"/>
                    <a:gd name="connsiteX482" fmla="*/ 38271 w 205047"/>
                    <a:gd name="connsiteY482" fmla="*/ 20130 h 449140"/>
                    <a:gd name="connsiteX483" fmla="*/ 39298 w 205047"/>
                    <a:gd name="connsiteY483" fmla="*/ 19144 h 449140"/>
                    <a:gd name="connsiteX484" fmla="*/ 40023 w 205047"/>
                    <a:gd name="connsiteY484" fmla="*/ 17400 h 449140"/>
                    <a:gd name="connsiteX485" fmla="*/ 40855 w 205047"/>
                    <a:gd name="connsiteY485" fmla="*/ 11834 h 449140"/>
                    <a:gd name="connsiteX486" fmla="*/ 41327 w 205047"/>
                    <a:gd name="connsiteY486" fmla="*/ 10839 h 449140"/>
                    <a:gd name="connsiteX487" fmla="*/ 42183 w 205047"/>
                    <a:gd name="connsiteY487" fmla="*/ 10049 h 449140"/>
                    <a:gd name="connsiteX488" fmla="*/ 43584 w 205047"/>
                    <a:gd name="connsiteY488" fmla="*/ 9519 h 449140"/>
                    <a:gd name="connsiteX489" fmla="*/ 45231 w 205047"/>
                    <a:gd name="connsiteY489" fmla="*/ 9560 h 449140"/>
                    <a:gd name="connsiteX490" fmla="*/ 47382 w 205047"/>
                    <a:gd name="connsiteY490" fmla="*/ 10627 h 449140"/>
                    <a:gd name="connsiteX491" fmla="*/ 48727 w 205047"/>
                    <a:gd name="connsiteY491" fmla="*/ 10676 h 449140"/>
                    <a:gd name="connsiteX492" fmla="*/ 50251 w 205047"/>
                    <a:gd name="connsiteY492" fmla="*/ 10228 h 449140"/>
                    <a:gd name="connsiteX493" fmla="*/ 51547 w 205047"/>
                    <a:gd name="connsiteY493" fmla="*/ 9462 h 449140"/>
                    <a:gd name="connsiteX494" fmla="*/ 52403 w 205047"/>
                    <a:gd name="connsiteY494" fmla="*/ 8492 h 449140"/>
                    <a:gd name="connsiteX495" fmla="*/ 52786 w 205047"/>
                    <a:gd name="connsiteY495" fmla="*/ 7319 h 449140"/>
                    <a:gd name="connsiteX496" fmla="*/ 52435 w 205047"/>
                    <a:gd name="connsiteY496" fmla="*/ 5069 h 449140"/>
                    <a:gd name="connsiteX497" fmla="*/ 51449 w 205047"/>
                    <a:gd name="connsiteY497" fmla="*/ 2249 h 449140"/>
                    <a:gd name="connsiteX498" fmla="*/ 51726 w 205047"/>
                    <a:gd name="connsiteY498" fmla="*/ 1907 h 449140"/>
                    <a:gd name="connsiteX499" fmla="*/ 53527 w 205047"/>
                    <a:gd name="connsiteY499" fmla="*/ 2535 h 449140"/>
                    <a:gd name="connsiteX500" fmla="*/ 56184 w 205047"/>
                    <a:gd name="connsiteY500" fmla="*/ 3219 h 449140"/>
                    <a:gd name="connsiteX501" fmla="*/ 58197 w 205047"/>
                    <a:gd name="connsiteY501" fmla="*/ 3064 h 449140"/>
                    <a:gd name="connsiteX502" fmla="*/ 59517 w 205047"/>
                    <a:gd name="connsiteY502" fmla="*/ 2567 h 449140"/>
                    <a:gd name="connsiteX503" fmla="*/ 60805 w 205047"/>
                    <a:gd name="connsiteY503" fmla="*/ 1231 h 449140"/>
                    <a:gd name="connsiteX504" fmla="*/ 62427 w 205047"/>
                    <a:gd name="connsiteY504" fmla="*/ 0 h 449140"/>
                    <a:gd name="connsiteX505" fmla="*/ 64000 w 205047"/>
                    <a:gd name="connsiteY505" fmla="*/ 277 h 449140"/>
                    <a:gd name="connsiteX506" fmla="*/ 65247 w 205047"/>
                    <a:gd name="connsiteY506" fmla="*/ 1410 h 449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Lst>
                  <a:rect l="l" t="t" r="r" b="b"/>
                  <a:pathLst>
                    <a:path w="205047" h="449140">
                      <a:moveTo>
                        <a:pt x="65247" y="1410"/>
                      </a:moveTo>
                      <a:lnTo>
                        <a:pt x="68197" y="3358"/>
                      </a:lnTo>
                      <a:lnTo>
                        <a:pt x="68009" y="5175"/>
                      </a:lnTo>
                      <a:lnTo>
                        <a:pt x="68621" y="5558"/>
                      </a:lnTo>
                      <a:lnTo>
                        <a:pt x="69476" y="4711"/>
                      </a:lnTo>
                      <a:lnTo>
                        <a:pt x="70560" y="2649"/>
                      </a:lnTo>
                      <a:lnTo>
                        <a:pt x="71750" y="1483"/>
                      </a:lnTo>
                      <a:lnTo>
                        <a:pt x="73038" y="1214"/>
                      </a:lnTo>
                      <a:lnTo>
                        <a:pt x="74407" y="2624"/>
                      </a:lnTo>
                      <a:lnTo>
                        <a:pt x="75866" y="5705"/>
                      </a:lnTo>
                      <a:lnTo>
                        <a:pt x="77357" y="7449"/>
                      </a:lnTo>
                      <a:lnTo>
                        <a:pt x="78042" y="7636"/>
                      </a:lnTo>
                      <a:lnTo>
                        <a:pt x="78547" y="9046"/>
                      </a:lnTo>
                      <a:lnTo>
                        <a:pt x="78629" y="10399"/>
                      </a:lnTo>
                      <a:lnTo>
                        <a:pt x="77911" y="13243"/>
                      </a:lnTo>
                      <a:lnTo>
                        <a:pt x="76722" y="16560"/>
                      </a:lnTo>
                      <a:lnTo>
                        <a:pt x="75026" y="20660"/>
                      </a:lnTo>
                      <a:lnTo>
                        <a:pt x="75573" y="24099"/>
                      </a:lnTo>
                      <a:lnTo>
                        <a:pt x="77887" y="26910"/>
                      </a:lnTo>
                      <a:lnTo>
                        <a:pt x="80674" y="28557"/>
                      </a:lnTo>
                      <a:lnTo>
                        <a:pt x="83600" y="28101"/>
                      </a:lnTo>
                      <a:lnTo>
                        <a:pt x="85156" y="27261"/>
                      </a:lnTo>
                      <a:lnTo>
                        <a:pt x="86436" y="25924"/>
                      </a:lnTo>
                      <a:lnTo>
                        <a:pt x="87626" y="25297"/>
                      </a:lnTo>
                      <a:lnTo>
                        <a:pt x="89117" y="25126"/>
                      </a:lnTo>
                      <a:lnTo>
                        <a:pt x="93787" y="26104"/>
                      </a:lnTo>
                      <a:lnTo>
                        <a:pt x="95221" y="27057"/>
                      </a:lnTo>
                      <a:lnTo>
                        <a:pt x="95433" y="28956"/>
                      </a:lnTo>
                      <a:lnTo>
                        <a:pt x="94855" y="33846"/>
                      </a:lnTo>
                      <a:lnTo>
                        <a:pt x="95580" y="37424"/>
                      </a:lnTo>
                      <a:lnTo>
                        <a:pt x="96900" y="41197"/>
                      </a:lnTo>
                      <a:lnTo>
                        <a:pt x="97063" y="44636"/>
                      </a:lnTo>
                      <a:lnTo>
                        <a:pt x="95433" y="50308"/>
                      </a:lnTo>
                      <a:lnTo>
                        <a:pt x="94072" y="55679"/>
                      </a:lnTo>
                      <a:lnTo>
                        <a:pt x="92597" y="58287"/>
                      </a:lnTo>
                      <a:lnTo>
                        <a:pt x="91448" y="59958"/>
                      </a:lnTo>
                      <a:lnTo>
                        <a:pt x="91122" y="61099"/>
                      </a:lnTo>
                      <a:lnTo>
                        <a:pt x="91211" y="62166"/>
                      </a:lnTo>
                      <a:lnTo>
                        <a:pt x="92263" y="63780"/>
                      </a:lnTo>
                      <a:lnTo>
                        <a:pt x="93371" y="65858"/>
                      </a:lnTo>
                      <a:lnTo>
                        <a:pt x="93648" y="67847"/>
                      </a:lnTo>
                      <a:lnTo>
                        <a:pt x="93534" y="70283"/>
                      </a:lnTo>
                      <a:lnTo>
                        <a:pt x="92760" y="73633"/>
                      </a:lnTo>
                      <a:lnTo>
                        <a:pt x="89932" y="80886"/>
                      </a:lnTo>
                      <a:lnTo>
                        <a:pt x="87683" y="87422"/>
                      </a:lnTo>
                      <a:lnTo>
                        <a:pt x="88857" y="88742"/>
                      </a:lnTo>
                      <a:lnTo>
                        <a:pt x="91090" y="89696"/>
                      </a:lnTo>
                      <a:lnTo>
                        <a:pt x="92564" y="90625"/>
                      </a:lnTo>
                      <a:lnTo>
                        <a:pt x="94105" y="90030"/>
                      </a:lnTo>
                      <a:lnTo>
                        <a:pt x="97381" y="86159"/>
                      </a:lnTo>
                      <a:lnTo>
                        <a:pt x="100209" y="83290"/>
                      </a:lnTo>
                      <a:lnTo>
                        <a:pt x="103722" y="80413"/>
                      </a:lnTo>
                      <a:lnTo>
                        <a:pt x="103933" y="80161"/>
                      </a:lnTo>
                      <a:lnTo>
                        <a:pt x="106998" y="78042"/>
                      </a:lnTo>
                      <a:lnTo>
                        <a:pt x="108416" y="76102"/>
                      </a:lnTo>
                      <a:lnTo>
                        <a:pt x="109174" y="73625"/>
                      </a:lnTo>
                      <a:lnTo>
                        <a:pt x="110266" y="72671"/>
                      </a:lnTo>
                      <a:lnTo>
                        <a:pt x="111667" y="73234"/>
                      </a:lnTo>
                      <a:lnTo>
                        <a:pt x="113461" y="72158"/>
                      </a:lnTo>
                      <a:lnTo>
                        <a:pt x="115620" y="69444"/>
                      </a:lnTo>
                      <a:lnTo>
                        <a:pt x="117283" y="68197"/>
                      </a:lnTo>
                      <a:lnTo>
                        <a:pt x="118448" y="68401"/>
                      </a:lnTo>
                      <a:lnTo>
                        <a:pt x="120518" y="70088"/>
                      </a:lnTo>
                      <a:lnTo>
                        <a:pt x="123501" y="73250"/>
                      </a:lnTo>
                      <a:lnTo>
                        <a:pt x="126150" y="75124"/>
                      </a:lnTo>
                      <a:lnTo>
                        <a:pt x="128472" y="75727"/>
                      </a:lnTo>
                      <a:lnTo>
                        <a:pt x="129605" y="76909"/>
                      </a:lnTo>
                      <a:lnTo>
                        <a:pt x="129548" y="78661"/>
                      </a:lnTo>
                      <a:lnTo>
                        <a:pt x="130061" y="79778"/>
                      </a:lnTo>
                      <a:lnTo>
                        <a:pt x="131145" y="80251"/>
                      </a:lnTo>
                      <a:lnTo>
                        <a:pt x="131643" y="80063"/>
                      </a:lnTo>
                      <a:lnTo>
                        <a:pt x="131512" y="79215"/>
                      </a:lnTo>
                      <a:lnTo>
                        <a:pt x="132563" y="77977"/>
                      </a:lnTo>
                      <a:lnTo>
                        <a:pt x="134788" y="76339"/>
                      </a:lnTo>
                      <a:lnTo>
                        <a:pt x="137054" y="75377"/>
                      </a:lnTo>
                      <a:lnTo>
                        <a:pt x="139344" y="75092"/>
                      </a:lnTo>
                      <a:lnTo>
                        <a:pt x="140836" y="73796"/>
                      </a:lnTo>
                      <a:lnTo>
                        <a:pt x="141830" y="70430"/>
                      </a:lnTo>
                      <a:lnTo>
                        <a:pt x="143248" y="67871"/>
                      </a:lnTo>
                      <a:lnTo>
                        <a:pt x="144519" y="66706"/>
                      </a:lnTo>
                      <a:lnTo>
                        <a:pt x="146092" y="66127"/>
                      </a:lnTo>
                      <a:lnTo>
                        <a:pt x="146500" y="65312"/>
                      </a:lnTo>
                      <a:lnTo>
                        <a:pt x="145725" y="64277"/>
                      </a:lnTo>
                      <a:lnTo>
                        <a:pt x="145807" y="63209"/>
                      </a:lnTo>
                      <a:lnTo>
                        <a:pt x="146712" y="62134"/>
                      </a:lnTo>
                      <a:lnTo>
                        <a:pt x="148659" y="61677"/>
                      </a:lnTo>
                      <a:lnTo>
                        <a:pt x="151650" y="61832"/>
                      </a:lnTo>
                      <a:lnTo>
                        <a:pt x="155179" y="62924"/>
                      </a:lnTo>
                      <a:lnTo>
                        <a:pt x="159213" y="64953"/>
                      </a:lnTo>
                      <a:lnTo>
                        <a:pt x="161854" y="65605"/>
                      </a:lnTo>
                      <a:lnTo>
                        <a:pt x="163109" y="64880"/>
                      </a:lnTo>
                      <a:lnTo>
                        <a:pt x="165562" y="68026"/>
                      </a:lnTo>
                      <a:lnTo>
                        <a:pt x="169221" y="75035"/>
                      </a:lnTo>
                      <a:lnTo>
                        <a:pt x="172359" y="80324"/>
                      </a:lnTo>
                      <a:lnTo>
                        <a:pt x="174975" y="83910"/>
                      </a:lnTo>
                      <a:lnTo>
                        <a:pt x="177737" y="86664"/>
                      </a:lnTo>
                      <a:lnTo>
                        <a:pt x="180622" y="88580"/>
                      </a:lnTo>
                      <a:lnTo>
                        <a:pt x="182709" y="91188"/>
                      </a:lnTo>
                      <a:lnTo>
                        <a:pt x="184600" y="96126"/>
                      </a:lnTo>
                      <a:lnTo>
                        <a:pt x="183181" y="102964"/>
                      </a:lnTo>
                      <a:lnTo>
                        <a:pt x="182798" y="108864"/>
                      </a:lnTo>
                      <a:lnTo>
                        <a:pt x="182970" y="116109"/>
                      </a:lnTo>
                      <a:lnTo>
                        <a:pt x="184681" y="121659"/>
                      </a:lnTo>
                      <a:lnTo>
                        <a:pt x="187916" y="125514"/>
                      </a:lnTo>
                      <a:lnTo>
                        <a:pt x="189791" y="128627"/>
                      </a:lnTo>
                      <a:lnTo>
                        <a:pt x="190320" y="130999"/>
                      </a:lnTo>
                      <a:lnTo>
                        <a:pt x="192839" y="133036"/>
                      </a:lnTo>
                      <a:lnTo>
                        <a:pt x="197362" y="134740"/>
                      </a:lnTo>
                      <a:lnTo>
                        <a:pt x="199228" y="136272"/>
                      </a:lnTo>
                      <a:lnTo>
                        <a:pt x="198462" y="137657"/>
                      </a:lnTo>
                      <a:lnTo>
                        <a:pt x="198413" y="139255"/>
                      </a:lnTo>
                      <a:lnTo>
                        <a:pt x="199049" y="141080"/>
                      </a:lnTo>
                      <a:lnTo>
                        <a:pt x="200598" y="142596"/>
                      </a:lnTo>
                      <a:lnTo>
                        <a:pt x="203099" y="143786"/>
                      </a:lnTo>
                      <a:lnTo>
                        <a:pt x="204582" y="145049"/>
                      </a:lnTo>
                      <a:lnTo>
                        <a:pt x="205047" y="146378"/>
                      </a:lnTo>
                      <a:lnTo>
                        <a:pt x="204998" y="148537"/>
                      </a:lnTo>
                      <a:lnTo>
                        <a:pt x="204420" y="151512"/>
                      </a:lnTo>
                      <a:lnTo>
                        <a:pt x="203385" y="153802"/>
                      </a:lnTo>
                      <a:lnTo>
                        <a:pt x="201877" y="155399"/>
                      </a:lnTo>
                      <a:lnTo>
                        <a:pt x="201697" y="156654"/>
                      </a:lnTo>
                      <a:lnTo>
                        <a:pt x="201314" y="158569"/>
                      </a:lnTo>
                      <a:lnTo>
                        <a:pt x="201314" y="162498"/>
                      </a:lnTo>
                      <a:lnTo>
                        <a:pt x="202390" y="165122"/>
                      </a:lnTo>
                      <a:lnTo>
                        <a:pt x="202716" y="168439"/>
                      </a:lnTo>
                      <a:lnTo>
                        <a:pt x="202130" y="171153"/>
                      </a:lnTo>
                      <a:lnTo>
                        <a:pt x="201567" y="176694"/>
                      </a:lnTo>
                      <a:lnTo>
                        <a:pt x="201494" y="178846"/>
                      </a:lnTo>
                      <a:lnTo>
                        <a:pt x="200956" y="180688"/>
                      </a:lnTo>
                      <a:lnTo>
                        <a:pt x="199644" y="182464"/>
                      </a:lnTo>
                      <a:lnTo>
                        <a:pt x="197647" y="184143"/>
                      </a:lnTo>
                      <a:lnTo>
                        <a:pt x="195202" y="185627"/>
                      </a:lnTo>
                      <a:lnTo>
                        <a:pt x="193703" y="186287"/>
                      </a:lnTo>
                      <a:lnTo>
                        <a:pt x="193344" y="186596"/>
                      </a:lnTo>
                      <a:lnTo>
                        <a:pt x="192285" y="188267"/>
                      </a:lnTo>
                      <a:lnTo>
                        <a:pt x="190997" y="189897"/>
                      </a:lnTo>
                      <a:lnTo>
                        <a:pt x="189995" y="189897"/>
                      </a:lnTo>
                      <a:lnTo>
                        <a:pt x="189245" y="189074"/>
                      </a:lnTo>
                      <a:lnTo>
                        <a:pt x="188723" y="188006"/>
                      </a:lnTo>
                      <a:lnTo>
                        <a:pt x="188413" y="185676"/>
                      </a:lnTo>
                      <a:lnTo>
                        <a:pt x="186156" y="184526"/>
                      </a:lnTo>
                      <a:lnTo>
                        <a:pt x="183687" y="183801"/>
                      </a:lnTo>
                      <a:lnTo>
                        <a:pt x="178642" y="184950"/>
                      </a:lnTo>
                      <a:lnTo>
                        <a:pt x="174575" y="185578"/>
                      </a:lnTo>
                      <a:lnTo>
                        <a:pt x="170003" y="184787"/>
                      </a:lnTo>
                      <a:lnTo>
                        <a:pt x="165700" y="185781"/>
                      </a:lnTo>
                      <a:lnTo>
                        <a:pt x="163907" y="185936"/>
                      </a:lnTo>
                      <a:lnTo>
                        <a:pt x="161846" y="185781"/>
                      </a:lnTo>
                      <a:lnTo>
                        <a:pt x="159857" y="185806"/>
                      </a:lnTo>
                      <a:lnTo>
                        <a:pt x="157958" y="185447"/>
                      </a:lnTo>
                      <a:lnTo>
                        <a:pt x="154438" y="184013"/>
                      </a:lnTo>
                      <a:lnTo>
                        <a:pt x="153117" y="184127"/>
                      </a:lnTo>
                      <a:lnTo>
                        <a:pt x="150281" y="185309"/>
                      </a:lnTo>
                      <a:lnTo>
                        <a:pt x="147339" y="186140"/>
                      </a:lnTo>
                      <a:lnTo>
                        <a:pt x="144503" y="186710"/>
                      </a:lnTo>
                      <a:lnTo>
                        <a:pt x="140322" y="189139"/>
                      </a:lnTo>
                      <a:lnTo>
                        <a:pt x="137306" y="192660"/>
                      </a:lnTo>
                      <a:lnTo>
                        <a:pt x="136418" y="195154"/>
                      </a:lnTo>
                      <a:lnTo>
                        <a:pt x="134910" y="197656"/>
                      </a:lnTo>
                      <a:lnTo>
                        <a:pt x="132824" y="201625"/>
                      </a:lnTo>
                      <a:lnTo>
                        <a:pt x="130135" y="205414"/>
                      </a:lnTo>
                      <a:lnTo>
                        <a:pt x="128260" y="207150"/>
                      </a:lnTo>
                      <a:lnTo>
                        <a:pt x="128782" y="208169"/>
                      </a:lnTo>
                      <a:lnTo>
                        <a:pt x="128309" y="209407"/>
                      </a:lnTo>
                      <a:lnTo>
                        <a:pt x="125375" y="209962"/>
                      </a:lnTo>
                      <a:lnTo>
                        <a:pt x="123094" y="210182"/>
                      </a:lnTo>
                      <a:lnTo>
                        <a:pt x="122686" y="210793"/>
                      </a:lnTo>
                      <a:lnTo>
                        <a:pt x="122947" y="218437"/>
                      </a:lnTo>
                      <a:lnTo>
                        <a:pt x="123745" y="221331"/>
                      </a:lnTo>
                      <a:lnTo>
                        <a:pt x="125237" y="224819"/>
                      </a:lnTo>
                      <a:lnTo>
                        <a:pt x="126198" y="226726"/>
                      </a:lnTo>
                      <a:lnTo>
                        <a:pt x="126932" y="232382"/>
                      </a:lnTo>
                      <a:lnTo>
                        <a:pt x="127152" y="237182"/>
                      </a:lnTo>
                      <a:lnTo>
                        <a:pt x="130371" y="240213"/>
                      </a:lnTo>
                      <a:lnTo>
                        <a:pt x="132205" y="242528"/>
                      </a:lnTo>
                      <a:lnTo>
                        <a:pt x="133501" y="244565"/>
                      </a:lnTo>
                      <a:lnTo>
                        <a:pt x="133044" y="245861"/>
                      </a:lnTo>
                      <a:lnTo>
                        <a:pt x="132270" y="249732"/>
                      </a:lnTo>
                      <a:lnTo>
                        <a:pt x="133020" y="254753"/>
                      </a:lnTo>
                      <a:lnTo>
                        <a:pt x="137527" y="265584"/>
                      </a:lnTo>
                      <a:lnTo>
                        <a:pt x="137918" y="266350"/>
                      </a:lnTo>
                      <a:lnTo>
                        <a:pt x="137396" y="266431"/>
                      </a:lnTo>
                      <a:lnTo>
                        <a:pt x="136679" y="264353"/>
                      </a:lnTo>
                      <a:lnTo>
                        <a:pt x="134397" y="260849"/>
                      </a:lnTo>
                      <a:lnTo>
                        <a:pt x="133688" y="257100"/>
                      </a:lnTo>
                      <a:lnTo>
                        <a:pt x="130999" y="252976"/>
                      </a:lnTo>
                      <a:lnTo>
                        <a:pt x="129491" y="251338"/>
                      </a:lnTo>
                      <a:lnTo>
                        <a:pt x="129010" y="252707"/>
                      </a:lnTo>
                      <a:lnTo>
                        <a:pt x="128163" y="254182"/>
                      </a:lnTo>
                      <a:lnTo>
                        <a:pt x="125522" y="252063"/>
                      </a:lnTo>
                      <a:lnTo>
                        <a:pt x="123273" y="249846"/>
                      </a:lnTo>
                      <a:lnTo>
                        <a:pt x="121194" y="245551"/>
                      </a:lnTo>
                      <a:lnTo>
                        <a:pt x="120926" y="246546"/>
                      </a:lnTo>
                      <a:lnTo>
                        <a:pt x="120453" y="247450"/>
                      </a:lnTo>
                      <a:lnTo>
                        <a:pt x="118082" y="244068"/>
                      </a:lnTo>
                      <a:lnTo>
                        <a:pt x="115612" y="241379"/>
                      </a:lnTo>
                      <a:lnTo>
                        <a:pt x="113387" y="240417"/>
                      </a:lnTo>
                      <a:lnTo>
                        <a:pt x="112010" y="239521"/>
                      </a:lnTo>
                      <a:lnTo>
                        <a:pt x="110689" y="238095"/>
                      </a:lnTo>
                      <a:lnTo>
                        <a:pt x="107910" y="236611"/>
                      </a:lnTo>
                      <a:lnTo>
                        <a:pt x="100991" y="238738"/>
                      </a:lnTo>
                      <a:lnTo>
                        <a:pt x="92198" y="237076"/>
                      </a:lnTo>
                      <a:lnTo>
                        <a:pt x="88807" y="238665"/>
                      </a:lnTo>
                      <a:lnTo>
                        <a:pt x="87422" y="237679"/>
                      </a:lnTo>
                      <a:lnTo>
                        <a:pt x="86567" y="235837"/>
                      </a:lnTo>
                      <a:lnTo>
                        <a:pt x="87389" y="232699"/>
                      </a:lnTo>
                      <a:lnTo>
                        <a:pt x="87585" y="226122"/>
                      </a:lnTo>
                      <a:lnTo>
                        <a:pt x="88628" y="221502"/>
                      </a:lnTo>
                      <a:lnTo>
                        <a:pt x="88131" y="217989"/>
                      </a:lnTo>
                      <a:lnTo>
                        <a:pt x="88636" y="216327"/>
                      </a:lnTo>
                      <a:lnTo>
                        <a:pt x="89028" y="214069"/>
                      </a:lnTo>
                      <a:lnTo>
                        <a:pt x="87634" y="213140"/>
                      </a:lnTo>
                      <a:lnTo>
                        <a:pt x="81416" y="211355"/>
                      </a:lnTo>
                      <a:lnTo>
                        <a:pt x="80104" y="209937"/>
                      </a:lnTo>
                      <a:lnTo>
                        <a:pt x="78449" y="211567"/>
                      </a:lnTo>
                      <a:lnTo>
                        <a:pt x="70992" y="212480"/>
                      </a:lnTo>
                      <a:lnTo>
                        <a:pt x="68189" y="213841"/>
                      </a:lnTo>
                      <a:lnTo>
                        <a:pt x="65589" y="216465"/>
                      </a:lnTo>
                      <a:lnTo>
                        <a:pt x="64921" y="219798"/>
                      </a:lnTo>
                      <a:lnTo>
                        <a:pt x="66420" y="221991"/>
                      </a:lnTo>
                      <a:lnTo>
                        <a:pt x="67382" y="225797"/>
                      </a:lnTo>
                      <a:lnTo>
                        <a:pt x="64709" y="234109"/>
                      </a:lnTo>
                      <a:lnTo>
                        <a:pt x="64261" y="236579"/>
                      </a:lnTo>
                      <a:lnTo>
                        <a:pt x="65295" y="246733"/>
                      </a:lnTo>
                      <a:lnTo>
                        <a:pt x="64880" y="252308"/>
                      </a:lnTo>
                      <a:lnTo>
                        <a:pt x="63421" y="256040"/>
                      </a:lnTo>
                      <a:lnTo>
                        <a:pt x="61115" y="259398"/>
                      </a:lnTo>
                      <a:lnTo>
                        <a:pt x="60161" y="265078"/>
                      </a:lnTo>
                      <a:lnTo>
                        <a:pt x="58344" y="267711"/>
                      </a:lnTo>
                      <a:lnTo>
                        <a:pt x="55899" y="273725"/>
                      </a:lnTo>
                      <a:lnTo>
                        <a:pt x="54269" y="281207"/>
                      </a:lnTo>
                      <a:lnTo>
                        <a:pt x="53096" y="284670"/>
                      </a:lnTo>
                      <a:lnTo>
                        <a:pt x="52419" y="291051"/>
                      </a:lnTo>
                      <a:lnTo>
                        <a:pt x="47407" y="300725"/>
                      </a:lnTo>
                      <a:lnTo>
                        <a:pt x="46233" y="306186"/>
                      </a:lnTo>
                      <a:lnTo>
                        <a:pt x="44432" y="308248"/>
                      </a:lnTo>
                      <a:lnTo>
                        <a:pt x="45060" y="309877"/>
                      </a:lnTo>
                      <a:lnTo>
                        <a:pt x="45166" y="312607"/>
                      </a:lnTo>
                      <a:lnTo>
                        <a:pt x="44546" y="319885"/>
                      </a:lnTo>
                      <a:lnTo>
                        <a:pt x="44335" y="325924"/>
                      </a:lnTo>
                      <a:lnTo>
                        <a:pt x="45092" y="329151"/>
                      </a:lnTo>
                      <a:lnTo>
                        <a:pt x="47497" y="335557"/>
                      </a:lnTo>
                      <a:lnTo>
                        <a:pt x="46926" y="337423"/>
                      </a:lnTo>
                      <a:lnTo>
                        <a:pt x="46649" y="340064"/>
                      </a:lnTo>
                      <a:lnTo>
                        <a:pt x="48670" y="341262"/>
                      </a:lnTo>
                      <a:lnTo>
                        <a:pt x="50121" y="341613"/>
                      </a:lnTo>
                      <a:lnTo>
                        <a:pt x="58311" y="338581"/>
                      </a:lnTo>
                      <a:lnTo>
                        <a:pt x="61074" y="339355"/>
                      </a:lnTo>
                      <a:lnTo>
                        <a:pt x="62125" y="342183"/>
                      </a:lnTo>
                      <a:lnTo>
                        <a:pt x="62793" y="344644"/>
                      </a:lnTo>
                      <a:lnTo>
                        <a:pt x="64179" y="357945"/>
                      </a:lnTo>
                      <a:lnTo>
                        <a:pt x="64896" y="360414"/>
                      </a:lnTo>
                      <a:lnTo>
                        <a:pt x="66551" y="362761"/>
                      </a:lnTo>
                      <a:lnTo>
                        <a:pt x="68368" y="365263"/>
                      </a:lnTo>
                      <a:lnTo>
                        <a:pt x="68979" y="364823"/>
                      </a:lnTo>
                      <a:lnTo>
                        <a:pt x="69102" y="363886"/>
                      </a:lnTo>
                      <a:lnTo>
                        <a:pt x="69223" y="362851"/>
                      </a:lnTo>
                      <a:lnTo>
                        <a:pt x="70829" y="365369"/>
                      </a:lnTo>
                      <a:lnTo>
                        <a:pt x="72093" y="370071"/>
                      </a:lnTo>
                      <a:lnTo>
                        <a:pt x="76404" y="394920"/>
                      </a:lnTo>
                      <a:lnTo>
                        <a:pt x="77651" y="398074"/>
                      </a:lnTo>
                      <a:lnTo>
                        <a:pt x="78677" y="401391"/>
                      </a:lnTo>
                      <a:lnTo>
                        <a:pt x="76062" y="399777"/>
                      </a:lnTo>
                      <a:lnTo>
                        <a:pt x="75344" y="394252"/>
                      </a:lnTo>
                      <a:lnTo>
                        <a:pt x="74586" y="391929"/>
                      </a:lnTo>
                      <a:lnTo>
                        <a:pt x="73665" y="391587"/>
                      </a:lnTo>
                      <a:lnTo>
                        <a:pt x="72199" y="391619"/>
                      </a:lnTo>
                      <a:lnTo>
                        <a:pt x="72093" y="390633"/>
                      </a:lnTo>
                      <a:lnTo>
                        <a:pt x="73201" y="388832"/>
                      </a:lnTo>
                      <a:lnTo>
                        <a:pt x="73030" y="386672"/>
                      </a:lnTo>
                      <a:lnTo>
                        <a:pt x="71522" y="384904"/>
                      </a:lnTo>
                      <a:lnTo>
                        <a:pt x="69085" y="386305"/>
                      </a:lnTo>
                      <a:lnTo>
                        <a:pt x="69142" y="390185"/>
                      </a:lnTo>
                      <a:lnTo>
                        <a:pt x="70242" y="393151"/>
                      </a:lnTo>
                      <a:lnTo>
                        <a:pt x="74374" y="399777"/>
                      </a:lnTo>
                      <a:lnTo>
                        <a:pt x="75662" y="402548"/>
                      </a:lnTo>
                      <a:lnTo>
                        <a:pt x="77300" y="403347"/>
                      </a:lnTo>
                      <a:lnTo>
                        <a:pt x="79696" y="402907"/>
                      </a:lnTo>
                      <a:lnTo>
                        <a:pt x="82557" y="405734"/>
                      </a:lnTo>
                      <a:lnTo>
                        <a:pt x="84822" y="408359"/>
                      </a:lnTo>
                      <a:lnTo>
                        <a:pt x="90405" y="412377"/>
                      </a:lnTo>
                      <a:lnTo>
                        <a:pt x="93787" y="411953"/>
                      </a:lnTo>
                      <a:lnTo>
                        <a:pt x="97446" y="410959"/>
                      </a:lnTo>
                      <a:lnTo>
                        <a:pt x="99907" y="411219"/>
                      </a:lnTo>
                      <a:lnTo>
                        <a:pt x="102311" y="412246"/>
                      </a:lnTo>
                      <a:lnTo>
                        <a:pt x="105196" y="415596"/>
                      </a:lnTo>
                      <a:lnTo>
                        <a:pt x="109777" y="423982"/>
                      </a:lnTo>
                      <a:lnTo>
                        <a:pt x="117258" y="430958"/>
                      </a:lnTo>
                      <a:lnTo>
                        <a:pt x="116452" y="432686"/>
                      </a:lnTo>
                      <a:lnTo>
                        <a:pt x="116117" y="435326"/>
                      </a:lnTo>
                      <a:lnTo>
                        <a:pt x="113167" y="438847"/>
                      </a:lnTo>
                      <a:lnTo>
                        <a:pt x="112695" y="440893"/>
                      </a:lnTo>
                      <a:lnTo>
                        <a:pt x="111619" y="443476"/>
                      </a:lnTo>
                      <a:lnTo>
                        <a:pt x="109565" y="444853"/>
                      </a:lnTo>
                      <a:lnTo>
                        <a:pt x="107796" y="445114"/>
                      </a:lnTo>
                      <a:lnTo>
                        <a:pt x="106778" y="444869"/>
                      </a:lnTo>
                      <a:lnTo>
                        <a:pt x="106077" y="444356"/>
                      </a:lnTo>
                      <a:lnTo>
                        <a:pt x="104863" y="441919"/>
                      </a:lnTo>
                      <a:lnTo>
                        <a:pt x="104259" y="441178"/>
                      </a:lnTo>
                      <a:lnTo>
                        <a:pt x="103754" y="441007"/>
                      </a:lnTo>
                      <a:lnTo>
                        <a:pt x="99981" y="442694"/>
                      </a:lnTo>
                      <a:lnTo>
                        <a:pt x="96330" y="444560"/>
                      </a:lnTo>
                      <a:lnTo>
                        <a:pt x="95661" y="446231"/>
                      </a:lnTo>
                      <a:lnTo>
                        <a:pt x="94691" y="448187"/>
                      </a:lnTo>
                      <a:lnTo>
                        <a:pt x="93616" y="448953"/>
                      </a:lnTo>
                      <a:lnTo>
                        <a:pt x="92776" y="449140"/>
                      </a:lnTo>
                      <a:lnTo>
                        <a:pt x="91978" y="447991"/>
                      </a:lnTo>
                      <a:lnTo>
                        <a:pt x="90576" y="446500"/>
                      </a:lnTo>
                      <a:lnTo>
                        <a:pt x="89484" y="445106"/>
                      </a:lnTo>
                      <a:lnTo>
                        <a:pt x="89769" y="442857"/>
                      </a:lnTo>
                      <a:lnTo>
                        <a:pt x="91823" y="439548"/>
                      </a:lnTo>
                      <a:lnTo>
                        <a:pt x="92084" y="437233"/>
                      </a:lnTo>
                      <a:lnTo>
                        <a:pt x="91839" y="433256"/>
                      </a:lnTo>
                      <a:lnTo>
                        <a:pt x="91277" y="430958"/>
                      </a:lnTo>
                      <a:lnTo>
                        <a:pt x="90682" y="430877"/>
                      </a:lnTo>
                      <a:lnTo>
                        <a:pt x="89679" y="430510"/>
                      </a:lnTo>
                      <a:lnTo>
                        <a:pt x="86819" y="430877"/>
                      </a:lnTo>
                      <a:lnTo>
                        <a:pt x="85401" y="428285"/>
                      </a:lnTo>
                      <a:lnTo>
                        <a:pt x="84831" y="425449"/>
                      </a:lnTo>
                      <a:lnTo>
                        <a:pt x="83861" y="424430"/>
                      </a:lnTo>
                      <a:lnTo>
                        <a:pt x="82899" y="423819"/>
                      </a:lnTo>
                      <a:lnTo>
                        <a:pt x="80764" y="424797"/>
                      </a:lnTo>
                      <a:lnTo>
                        <a:pt x="79134" y="424210"/>
                      </a:lnTo>
                      <a:lnTo>
                        <a:pt x="73722" y="421741"/>
                      </a:lnTo>
                      <a:lnTo>
                        <a:pt x="71628" y="417747"/>
                      </a:lnTo>
                      <a:lnTo>
                        <a:pt x="70520" y="417633"/>
                      </a:lnTo>
                      <a:lnTo>
                        <a:pt x="69533" y="418081"/>
                      </a:lnTo>
                      <a:lnTo>
                        <a:pt x="69142" y="418986"/>
                      </a:lnTo>
                      <a:lnTo>
                        <a:pt x="68580" y="423574"/>
                      </a:lnTo>
                      <a:lnTo>
                        <a:pt x="68107" y="424976"/>
                      </a:lnTo>
                      <a:lnTo>
                        <a:pt x="61881" y="415726"/>
                      </a:lnTo>
                      <a:lnTo>
                        <a:pt x="57602" y="411920"/>
                      </a:lnTo>
                      <a:lnTo>
                        <a:pt x="58214" y="405017"/>
                      </a:lnTo>
                      <a:lnTo>
                        <a:pt x="56909" y="403673"/>
                      </a:lnTo>
                      <a:lnTo>
                        <a:pt x="55288" y="403534"/>
                      </a:lnTo>
                      <a:lnTo>
                        <a:pt x="54065" y="401627"/>
                      </a:lnTo>
                      <a:lnTo>
                        <a:pt x="55157" y="397520"/>
                      </a:lnTo>
                      <a:lnTo>
                        <a:pt x="53479" y="398302"/>
                      </a:lnTo>
                      <a:lnTo>
                        <a:pt x="51148" y="398155"/>
                      </a:lnTo>
                      <a:lnTo>
                        <a:pt x="49257" y="397014"/>
                      </a:lnTo>
                      <a:lnTo>
                        <a:pt x="47798" y="391326"/>
                      </a:lnTo>
                      <a:lnTo>
                        <a:pt x="46902" y="389598"/>
                      </a:lnTo>
                      <a:lnTo>
                        <a:pt x="44905" y="386615"/>
                      </a:lnTo>
                      <a:lnTo>
                        <a:pt x="42289" y="386615"/>
                      </a:lnTo>
                      <a:lnTo>
                        <a:pt x="41425" y="385181"/>
                      </a:lnTo>
                      <a:lnTo>
                        <a:pt x="41637" y="381505"/>
                      </a:lnTo>
                      <a:lnTo>
                        <a:pt x="39721" y="379248"/>
                      </a:lnTo>
                      <a:lnTo>
                        <a:pt x="37195" y="377414"/>
                      </a:lnTo>
                      <a:lnTo>
                        <a:pt x="35117" y="376338"/>
                      </a:lnTo>
                      <a:lnTo>
                        <a:pt x="33006" y="370414"/>
                      </a:lnTo>
                      <a:lnTo>
                        <a:pt x="31344" y="368963"/>
                      </a:lnTo>
                      <a:lnTo>
                        <a:pt x="29926" y="367773"/>
                      </a:lnTo>
                      <a:lnTo>
                        <a:pt x="27954" y="368572"/>
                      </a:lnTo>
                      <a:lnTo>
                        <a:pt x="27318" y="370707"/>
                      </a:lnTo>
                      <a:lnTo>
                        <a:pt x="25998" y="372777"/>
                      </a:lnTo>
                      <a:lnTo>
                        <a:pt x="24498" y="372508"/>
                      </a:lnTo>
                      <a:lnTo>
                        <a:pt x="23129" y="371326"/>
                      </a:lnTo>
                      <a:lnTo>
                        <a:pt x="21466" y="365402"/>
                      </a:lnTo>
                      <a:lnTo>
                        <a:pt x="21189" y="361767"/>
                      </a:lnTo>
                      <a:lnTo>
                        <a:pt x="21556" y="355019"/>
                      </a:lnTo>
                      <a:lnTo>
                        <a:pt x="23642" y="348963"/>
                      </a:lnTo>
                      <a:lnTo>
                        <a:pt x="24775" y="339273"/>
                      </a:lnTo>
                      <a:lnTo>
                        <a:pt x="26552" y="333178"/>
                      </a:lnTo>
                      <a:lnTo>
                        <a:pt x="27790" y="331108"/>
                      </a:lnTo>
                      <a:lnTo>
                        <a:pt x="29502" y="322787"/>
                      </a:lnTo>
                      <a:lnTo>
                        <a:pt x="32990" y="312135"/>
                      </a:lnTo>
                      <a:lnTo>
                        <a:pt x="33381" y="309853"/>
                      </a:lnTo>
                      <a:lnTo>
                        <a:pt x="34090" y="307294"/>
                      </a:lnTo>
                      <a:lnTo>
                        <a:pt x="34612" y="304882"/>
                      </a:lnTo>
                      <a:lnTo>
                        <a:pt x="34791" y="301076"/>
                      </a:lnTo>
                      <a:lnTo>
                        <a:pt x="34343" y="299063"/>
                      </a:lnTo>
                      <a:lnTo>
                        <a:pt x="34343" y="297930"/>
                      </a:lnTo>
                      <a:lnTo>
                        <a:pt x="35068" y="296496"/>
                      </a:lnTo>
                      <a:lnTo>
                        <a:pt x="37562" y="294083"/>
                      </a:lnTo>
                      <a:lnTo>
                        <a:pt x="41001" y="290106"/>
                      </a:lnTo>
                      <a:lnTo>
                        <a:pt x="45076" y="284499"/>
                      </a:lnTo>
                      <a:lnTo>
                        <a:pt x="49273" y="275909"/>
                      </a:lnTo>
                      <a:lnTo>
                        <a:pt x="51343" y="270922"/>
                      </a:lnTo>
                      <a:lnTo>
                        <a:pt x="52223" y="269161"/>
                      </a:lnTo>
                      <a:lnTo>
                        <a:pt x="53136" y="268615"/>
                      </a:lnTo>
                      <a:lnTo>
                        <a:pt x="54570" y="266912"/>
                      </a:lnTo>
                      <a:lnTo>
                        <a:pt x="55556" y="265021"/>
                      </a:lnTo>
                      <a:lnTo>
                        <a:pt x="55606" y="264076"/>
                      </a:lnTo>
                      <a:lnTo>
                        <a:pt x="53332" y="254736"/>
                      </a:lnTo>
                      <a:lnTo>
                        <a:pt x="51840" y="251688"/>
                      </a:lnTo>
                      <a:lnTo>
                        <a:pt x="51091" y="248094"/>
                      </a:lnTo>
                      <a:lnTo>
                        <a:pt x="50683" y="245495"/>
                      </a:lnTo>
                      <a:lnTo>
                        <a:pt x="50137" y="243107"/>
                      </a:lnTo>
                      <a:lnTo>
                        <a:pt x="50406" y="240866"/>
                      </a:lnTo>
                      <a:lnTo>
                        <a:pt x="49583" y="239456"/>
                      </a:lnTo>
                      <a:lnTo>
                        <a:pt x="47733" y="237679"/>
                      </a:lnTo>
                      <a:lnTo>
                        <a:pt x="45801" y="235046"/>
                      </a:lnTo>
                      <a:lnTo>
                        <a:pt x="44652" y="230735"/>
                      </a:lnTo>
                      <a:lnTo>
                        <a:pt x="44652" y="228323"/>
                      </a:lnTo>
                      <a:lnTo>
                        <a:pt x="43430" y="226220"/>
                      </a:lnTo>
                      <a:lnTo>
                        <a:pt x="43014" y="224012"/>
                      </a:lnTo>
                      <a:lnTo>
                        <a:pt x="43756" y="221901"/>
                      </a:lnTo>
                      <a:lnTo>
                        <a:pt x="44726" y="220076"/>
                      </a:lnTo>
                      <a:lnTo>
                        <a:pt x="44612" y="212072"/>
                      </a:lnTo>
                      <a:lnTo>
                        <a:pt x="44220" y="209677"/>
                      </a:lnTo>
                      <a:lnTo>
                        <a:pt x="43748" y="205398"/>
                      </a:lnTo>
                      <a:lnTo>
                        <a:pt x="42493" y="202170"/>
                      </a:lnTo>
                      <a:lnTo>
                        <a:pt x="40708" y="198389"/>
                      </a:lnTo>
                      <a:lnTo>
                        <a:pt x="38695" y="195276"/>
                      </a:lnTo>
                      <a:lnTo>
                        <a:pt x="33430" y="189628"/>
                      </a:lnTo>
                      <a:lnTo>
                        <a:pt x="29681" y="185847"/>
                      </a:lnTo>
                      <a:lnTo>
                        <a:pt x="27815" y="182416"/>
                      </a:lnTo>
                      <a:lnTo>
                        <a:pt x="25459" y="178455"/>
                      </a:lnTo>
                      <a:lnTo>
                        <a:pt x="23781" y="175610"/>
                      </a:lnTo>
                      <a:lnTo>
                        <a:pt x="21629" y="172008"/>
                      </a:lnTo>
                      <a:lnTo>
                        <a:pt x="20545" y="167094"/>
                      </a:lnTo>
                      <a:lnTo>
                        <a:pt x="19951" y="161870"/>
                      </a:lnTo>
                      <a:lnTo>
                        <a:pt x="20276" y="160134"/>
                      </a:lnTo>
                      <a:lnTo>
                        <a:pt x="21304" y="159001"/>
                      </a:lnTo>
                      <a:lnTo>
                        <a:pt x="22632" y="158089"/>
                      </a:lnTo>
                      <a:lnTo>
                        <a:pt x="23708" y="157877"/>
                      </a:lnTo>
                      <a:lnTo>
                        <a:pt x="26755" y="155473"/>
                      </a:lnTo>
                      <a:lnTo>
                        <a:pt x="28866" y="155676"/>
                      </a:lnTo>
                      <a:lnTo>
                        <a:pt x="29355" y="155163"/>
                      </a:lnTo>
                      <a:lnTo>
                        <a:pt x="29559" y="154071"/>
                      </a:lnTo>
                      <a:lnTo>
                        <a:pt x="29290" y="149311"/>
                      </a:lnTo>
                      <a:lnTo>
                        <a:pt x="29388" y="142938"/>
                      </a:lnTo>
                      <a:lnTo>
                        <a:pt x="29779" y="137747"/>
                      </a:lnTo>
                      <a:lnTo>
                        <a:pt x="30244" y="134324"/>
                      </a:lnTo>
                      <a:lnTo>
                        <a:pt x="35843" y="130347"/>
                      </a:lnTo>
                      <a:lnTo>
                        <a:pt x="37024" y="128636"/>
                      </a:lnTo>
                      <a:lnTo>
                        <a:pt x="37587" y="126769"/>
                      </a:lnTo>
                      <a:lnTo>
                        <a:pt x="37587" y="125123"/>
                      </a:lnTo>
                      <a:lnTo>
                        <a:pt x="37114" y="123835"/>
                      </a:lnTo>
                      <a:lnTo>
                        <a:pt x="36266" y="123118"/>
                      </a:lnTo>
                      <a:lnTo>
                        <a:pt x="32648" y="126541"/>
                      </a:lnTo>
                      <a:lnTo>
                        <a:pt x="31930" y="125783"/>
                      </a:lnTo>
                      <a:lnTo>
                        <a:pt x="30268" y="120152"/>
                      </a:lnTo>
                      <a:lnTo>
                        <a:pt x="29551" y="118440"/>
                      </a:lnTo>
                      <a:lnTo>
                        <a:pt x="28524" y="116386"/>
                      </a:lnTo>
                      <a:lnTo>
                        <a:pt x="27399" y="113510"/>
                      </a:lnTo>
                      <a:lnTo>
                        <a:pt x="27228" y="108522"/>
                      </a:lnTo>
                      <a:lnTo>
                        <a:pt x="26429" y="106052"/>
                      </a:lnTo>
                      <a:lnTo>
                        <a:pt x="21898" y="100788"/>
                      </a:lnTo>
                      <a:lnTo>
                        <a:pt x="19869" y="97968"/>
                      </a:lnTo>
                      <a:lnTo>
                        <a:pt x="17098" y="93885"/>
                      </a:lnTo>
                      <a:lnTo>
                        <a:pt x="13781" y="88979"/>
                      </a:lnTo>
                      <a:lnTo>
                        <a:pt x="10399" y="84448"/>
                      </a:lnTo>
                      <a:lnTo>
                        <a:pt x="8826" y="81546"/>
                      </a:lnTo>
                      <a:lnTo>
                        <a:pt x="8256" y="80894"/>
                      </a:lnTo>
                      <a:lnTo>
                        <a:pt x="8068" y="79778"/>
                      </a:lnTo>
                      <a:lnTo>
                        <a:pt x="9087" y="76656"/>
                      </a:lnTo>
                      <a:lnTo>
                        <a:pt x="8589" y="73527"/>
                      </a:lnTo>
                      <a:lnTo>
                        <a:pt x="6903" y="69338"/>
                      </a:lnTo>
                      <a:lnTo>
                        <a:pt x="6177" y="66746"/>
                      </a:lnTo>
                      <a:lnTo>
                        <a:pt x="6414" y="65760"/>
                      </a:lnTo>
                      <a:lnTo>
                        <a:pt x="5599" y="65369"/>
                      </a:lnTo>
                      <a:lnTo>
                        <a:pt x="3724" y="65589"/>
                      </a:lnTo>
                      <a:lnTo>
                        <a:pt x="1915" y="63633"/>
                      </a:lnTo>
                      <a:lnTo>
                        <a:pt x="171" y="59493"/>
                      </a:lnTo>
                      <a:lnTo>
                        <a:pt x="0" y="58768"/>
                      </a:lnTo>
                      <a:lnTo>
                        <a:pt x="571" y="58776"/>
                      </a:lnTo>
                      <a:lnTo>
                        <a:pt x="2763" y="59485"/>
                      </a:lnTo>
                      <a:lnTo>
                        <a:pt x="3504" y="59379"/>
                      </a:lnTo>
                      <a:lnTo>
                        <a:pt x="5044" y="58434"/>
                      </a:lnTo>
                      <a:lnTo>
                        <a:pt x="7384" y="57431"/>
                      </a:lnTo>
                      <a:lnTo>
                        <a:pt x="8777" y="57097"/>
                      </a:lnTo>
                      <a:lnTo>
                        <a:pt x="9225" y="56600"/>
                      </a:lnTo>
                      <a:lnTo>
                        <a:pt x="9429" y="55598"/>
                      </a:lnTo>
                      <a:lnTo>
                        <a:pt x="8239" y="46038"/>
                      </a:lnTo>
                      <a:lnTo>
                        <a:pt x="8435" y="44050"/>
                      </a:lnTo>
                      <a:lnTo>
                        <a:pt x="10668" y="39926"/>
                      </a:lnTo>
                      <a:lnTo>
                        <a:pt x="10407" y="35753"/>
                      </a:lnTo>
                      <a:lnTo>
                        <a:pt x="10978" y="29771"/>
                      </a:lnTo>
                      <a:lnTo>
                        <a:pt x="13455" y="25680"/>
                      </a:lnTo>
                      <a:lnTo>
                        <a:pt x="15313" y="23806"/>
                      </a:lnTo>
                      <a:lnTo>
                        <a:pt x="15900" y="20847"/>
                      </a:lnTo>
                      <a:lnTo>
                        <a:pt x="16748" y="20220"/>
                      </a:lnTo>
                      <a:lnTo>
                        <a:pt x="18288" y="20456"/>
                      </a:lnTo>
                      <a:lnTo>
                        <a:pt x="21466" y="22664"/>
                      </a:lnTo>
                      <a:lnTo>
                        <a:pt x="22811" y="22770"/>
                      </a:lnTo>
                      <a:lnTo>
                        <a:pt x="24743" y="22713"/>
                      </a:lnTo>
                      <a:lnTo>
                        <a:pt x="26812" y="22551"/>
                      </a:lnTo>
                      <a:lnTo>
                        <a:pt x="27774" y="22339"/>
                      </a:lnTo>
                      <a:lnTo>
                        <a:pt x="34392" y="20187"/>
                      </a:lnTo>
                      <a:lnTo>
                        <a:pt x="35859" y="19959"/>
                      </a:lnTo>
                      <a:lnTo>
                        <a:pt x="37260" y="20236"/>
                      </a:lnTo>
                      <a:lnTo>
                        <a:pt x="38271" y="20130"/>
                      </a:lnTo>
                      <a:lnTo>
                        <a:pt x="39298" y="19144"/>
                      </a:lnTo>
                      <a:lnTo>
                        <a:pt x="40023" y="17400"/>
                      </a:lnTo>
                      <a:lnTo>
                        <a:pt x="40855" y="11834"/>
                      </a:lnTo>
                      <a:lnTo>
                        <a:pt x="41327" y="10839"/>
                      </a:lnTo>
                      <a:lnTo>
                        <a:pt x="42183" y="10049"/>
                      </a:lnTo>
                      <a:lnTo>
                        <a:pt x="43584" y="9519"/>
                      </a:lnTo>
                      <a:lnTo>
                        <a:pt x="45231" y="9560"/>
                      </a:lnTo>
                      <a:lnTo>
                        <a:pt x="47382" y="10627"/>
                      </a:lnTo>
                      <a:lnTo>
                        <a:pt x="48727" y="10676"/>
                      </a:lnTo>
                      <a:lnTo>
                        <a:pt x="50251" y="10228"/>
                      </a:lnTo>
                      <a:lnTo>
                        <a:pt x="51547" y="9462"/>
                      </a:lnTo>
                      <a:lnTo>
                        <a:pt x="52403" y="8492"/>
                      </a:lnTo>
                      <a:lnTo>
                        <a:pt x="52786" y="7319"/>
                      </a:lnTo>
                      <a:lnTo>
                        <a:pt x="52435" y="5069"/>
                      </a:lnTo>
                      <a:lnTo>
                        <a:pt x="51449" y="2249"/>
                      </a:lnTo>
                      <a:lnTo>
                        <a:pt x="51726" y="1907"/>
                      </a:lnTo>
                      <a:lnTo>
                        <a:pt x="53527" y="2535"/>
                      </a:lnTo>
                      <a:lnTo>
                        <a:pt x="56184" y="3219"/>
                      </a:lnTo>
                      <a:lnTo>
                        <a:pt x="58197" y="3064"/>
                      </a:lnTo>
                      <a:lnTo>
                        <a:pt x="59517" y="2567"/>
                      </a:lnTo>
                      <a:lnTo>
                        <a:pt x="60805" y="1231"/>
                      </a:lnTo>
                      <a:lnTo>
                        <a:pt x="62427" y="0"/>
                      </a:lnTo>
                      <a:lnTo>
                        <a:pt x="64000" y="277"/>
                      </a:lnTo>
                      <a:lnTo>
                        <a:pt x="65247" y="1410"/>
                      </a:lnTo>
                      <a:close/>
                    </a:path>
                  </a:pathLst>
                </a:custGeom>
                <a:solidFill>
                  <a:srgbClr val="D6D6D2"/>
                </a:solidFill>
                <a:ln w="6112" cap="rnd">
                  <a:solidFill>
                    <a:srgbClr val="FFFFFF"/>
                  </a:solidFill>
                  <a:prstDash val="solid"/>
                  <a:round/>
                </a:ln>
              </p:spPr>
              <p:txBody>
                <a:bodyPr rtlCol="0" anchor="ctr"/>
                <a:lstStyle/>
                <a:p>
                  <a:endParaRPr lang="en-US"/>
                </a:p>
              </p:txBody>
            </p:sp>
            <p:sp>
              <p:nvSpPr>
                <p:cNvPr id="565" name="Freeform: Shape 564">
                  <a:extLst>
                    <a:ext uri="{FF2B5EF4-FFF2-40B4-BE49-F238E27FC236}">
                      <a16:creationId xmlns:a16="http://schemas.microsoft.com/office/drawing/2014/main" id="{D41D2238-A22E-4373-8268-4403D7163F9F}"/>
                    </a:ext>
                  </a:extLst>
                </p:cNvPr>
                <p:cNvSpPr/>
                <p:nvPr/>
              </p:nvSpPr>
              <p:spPr>
                <a:xfrm>
                  <a:off x="5941391" y="4190667"/>
                  <a:ext cx="46339" cy="151356"/>
                </a:xfrm>
                <a:custGeom>
                  <a:avLst/>
                  <a:gdLst>
                    <a:gd name="connsiteX0" fmla="*/ 24572 w 46339"/>
                    <a:gd name="connsiteY0" fmla="*/ 3700 h 151356"/>
                    <a:gd name="connsiteX1" fmla="*/ 23936 w 46339"/>
                    <a:gd name="connsiteY1" fmla="*/ 6943 h 151356"/>
                    <a:gd name="connsiteX2" fmla="*/ 22624 w 46339"/>
                    <a:gd name="connsiteY2" fmla="*/ 10970 h 151356"/>
                    <a:gd name="connsiteX3" fmla="*/ 21768 w 46339"/>
                    <a:gd name="connsiteY3" fmla="*/ 12249 h 151356"/>
                    <a:gd name="connsiteX4" fmla="*/ 21173 w 46339"/>
                    <a:gd name="connsiteY4" fmla="*/ 22012 h 151356"/>
                    <a:gd name="connsiteX5" fmla="*/ 21581 w 46339"/>
                    <a:gd name="connsiteY5" fmla="*/ 22827 h 151356"/>
                    <a:gd name="connsiteX6" fmla="*/ 21890 w 46339"/>
                    <a:gd name="connsiteY6" fmla="*/ 23080 h 151356"/>
                    <a:gd name="connsiteX7" fmla="*/ 26014 w 46339"/>
                    <a:gd name="connsiteY7" fmla="*/ 26381 h 151356"/>
                    <a:gd name="connsiteX8" fmla="*/ 31417 w 46339"/>
                    <a:gd name="connsiteY8" fmla="*/ 30716 h 151356"/>
                    <a:gd name="connsiteX9" fmla="*/ 35231 w 46339"/>
                    <a:gd name="connsiteY9" fmla="*/ 33781 h 151356"/>
                    <a:gd name="connsiteX10" fmla="*/ 35549 w 46339"/>
                    <a:gd name="connsiteY10" fmla="*/ 34799 h 151356"/>
                    <a:gd name="connsiteX11" fmla="*/ 35598 w 46339"/>
                    <a:gd name="connsiteY11" fmla="*/ 41213 h 151356"/>
                    <a:gd name="connsiteX12" fmla="*/ 35647 w 46339"/>
                    <a:gd name="connsiteY12" fmla="*/ 46722 h 151356"/>
                    <a:gd name="connsiteX13" fmla="*/ 36438 w 46339"/>
                    <a:gd name="connsiteY13" fmla="*/ 49876 h 151356"/>
                    <a:gd name="connsiteX14" fmla="*/ 36609 w 46339"/>
                    <a:gd name="connsiteY14" fmla="*/ 52932 h 151356"/>
                    <a:gd name="connsiteX15" fmla="*/ 37570 w 46339"/>
                    <a:gd name="connsiteY15" fmla="*/ 55247 h 151356"/>
                    <a:gd name="connsiteX16" fmla="*/ 41083 w 46339"/>
                    <a:gd name="connsiteY16" fmla="*/ 59697 h 151356"/>
                    <a:gd name="connsiteX17" fmla="*/ 41922 w 46339"/>
                    <a:gd name="connsiteY17" fmla="*/ 62321 h 151356"/>
                    <a:gd name="connsiteX18" fmla="*/ 42020 w 46339"/>
                    <a:gd name="connsiteY18" fmla="*/ 70731 h 151356"/>
                    <a:gd name="connsiteX19" fmla="*/ 42085 w 46339"/>
                    <a:gd name="connsiteY19" fmla="*/ 77105 h 151356"/>
                    <a:gd name="connsiteX20" fmla="*/ 42533 w 46339"/>
                    <a:gd name="connsiteY20" fmla="*/ 85776 h 151356"/>
                    <a:gd name="connsiteX21" fmla="*/ 42533 w 46339"/>
                    <a:gd name="connsiteY21" fmla="*/ 93021 h 151356"/>
                    <a:gd name="connsiteX22" fmla="*/ 42533 w 46339"/>
                    <a:gd name="connsiteY22" fmla="*/ 102181 h 151356"/>
                    <a:gd name="connsiteX23" fmla="*/ 42533 w 46339"/>
                    <a:gd name="connsiteY23" fmla="*/ 112906 h 151356"/>
                    <a:gd name="connsiteX24" fmla="*/ 42533 w 46339"/>
                    <a:gd name="connsiteY24" fmla="*/ 124088 h 151356"/>
                    <a:gd name="connsiteX25" fmla="*/ 40211 w 46339"/>
                    <a:gd name="connsiteY25" fmla="*/ 124226 h 151356"/>
                    <a:gd name="connsiteX26" fmla="*/ 41474 w 46339"/>
                    <a:gd name="connsiteY26" fmla="*/ 127698 h 151356"/>
                    <a:gd name="connsiteX27" fmla="*/ 41694 w 46339"/>
                    <a:gd name="connsiteY27" fmla="*/ 130844 h 151356"/>
                    <a:gd name="connsiteX28" fmla="*/ 41996 w 46339"/>
                    <a:gd name="connsiteY28" fmla="*/ 131863 h 151356"/>
                    <a:gd name="connsiteX29" fmla="*/ 41360 w 46339"/>
                    <a:gd name="connsiteY29" fmla="*/ 133395 h 151356"/>
                    <a:gd name="connsiteX30" fmla="*/ 41882 w 46339"/>
                    <a:gd name="connsiteY30" fmla="*/ 135718 h 151356"/>
                    <a:gd name="connsiteX31" fmla="*/ 42901 w 46339"/>
                    <a:gd name="connsiteY31" fmla="*/ 136573 h 151356"/>
                    <a:gd name="connsiteX32" fmla="*/ 45476 w 46339"/>
                    <a:gd name="connsiteY32" fmla="*/ 141235 h 151356"/>
                    <a:gd name="connsiteX33" fmla="*/ 46340 w 46339"/>
                    <a:gd name="connsiteY33" fmla="*/ 145196 h 151356"/>
                    <a:gd name="connsiteX34" fmla="*/ 42191 w 46339"/>
                    <a:gd name="connsiteY34" fmla="*/ 146508 h 151356"/>
                    <a:gd name="connsiteX35" fmla="*/ 42485 w 46339"/>
                    <a:gd name="connsiteY35" fmla="*/ 147526 h 151356"/>
                    <a:gd name="connsiteX36" fmla="*/ 34751 w 46339"/>
                    <a:gd name="connsiteY36" fmla="*/ 149629 h 151356"/>
                    <a:gd name="connsiteX37" fmla="*/ 31678 w 46339"/>
                    <a:gd name="connsiteY37" fmla="*/ 151357 h 151356"/>
                    <a:gd name="connsiteX38" fmla="*/ 31637 w 46339"/>
                    <a:gd name="connsiteY38" fmla="*/ 149686 h 151356"/>
                    <a:gd name="connsiteX39" fmla="*/ 30496 w 46339"/>
                    <a:gd name="connsiteY39" fmla="*/ 149384 h 151356"/>
                    <a:gd name="connsiteX40" fmla="*/ 29135 w 46339"/>
                    <a:gd name="connsiteY40" fmla="*/ 148822 h 151356"/>
                    <a:gd name="connsiteX41" fmla="*/ 28280 w 46339"/>
                    <a:gd name="connsiteY41" fmla="*/ 147958 h 151356"/>
                    <a:gd name="connsiteX42" fmla="*/ 27098 w 46339"/>
                    <a:gd name="connsiteY42" fmla="*/ 145970 h 151356"/>
                    <a:gd name="connsiteX43" fmla="*/ 26674 w 46339"/>
                    <a:gd name="connsiteY43" fmla="*/ 144421 h 151356"/>
                    <a:gd name="connsiteX44" fmla="*/ 24865 w 46339"/>
                    <a:gd name="connsiteY44" fmla="*/ 144169 h 151356"/>
                    <a:gd name="connsiteX45" fmla="*/ 22640 w 46339"/>
                    <a:gd name="connsiteY45" fmla="*/ 142433 h 151356"/>
                    <a:gd name="connsiteX46" fmla="*/ 20521 w 46339"/>
                    <a:gd name="connsiteY46" fmla="*/ 140453 h 151356"/>
                    <a:gd name="connsiteX47" fmla="*/ 19771 w 46339"/>
                    <a:gd name="connsiteY47" fmla="*/ 138456 h 151356"/>
                    <a:gd name="connsiteX48" fmla="*/ 19975 w 46339"/>
                    <a:gd name="connsiteY48" fmla="*/ 137543 h 151356"/>
                    <a:gd name="connsiteX49" fmla="*/ 19649 w 46339"/>
                    <a:gd name="connsiteY49" fmla="*/ 136598 h 151356"/>
                    <a:gd name="connsiteX50" fmla="*/ 18932 w 46339"/>
                    <a:gd name="connsiteY50" fmla="*/ 136247 h 151356"/>
                    <a:gd name="connsiteX51" fmla="*/ 17009 w 46339"/>
                    <a:gd name="connsiteY51" fmla="*/ 131749 h 151356"/>
                    <a:gd name="connsiteX52" fmla="*/ 15835 w 46339"/>
                    <a:gd name="connsiteY52" fmla="*/ 129939 h 151356"/>
                    <a:gd name="connsiteX53" fmla="*/ 15273 w 46339"/>
                    <a:gd name="connsiteY53" fmla="*/ 128481 h 151356"/>
                    <a:gd name="connsiteX54" fmla="*/ 15468 w 46339"/>
                    <a:gd name="connsiteY54" fmla="*/ 127356 h 151356"/>
                    <a:gd name="connsiteX55" fmla="*/ 15216 w 46339"/>
                    <a:gd name="connsiteY55" fmla="*/ 125840 h 151356"/>
                    <a:gd name="connsiteX56" fmla="*/ 15582 w 46339"/>
                    <a:gd name="connsiteY56" fmla="*/ 124609 h 151356"/>
                    <a:gd name="connsiteX57" fmla="*/ 16601 w 46339"/>
                    <a:gd name="connsiteY57" fmla="*/ 123876 h 151356"/>
                    <a:gd name="connsiteX58" fmla="*/ 16935 w 46339"/>
                    <a:gd name="connsiteY58" fmla="*/ 122979 h 151356"/>
                    <a:gd name="connsiteX59" fmla="*/ 17025 w 46339"/>
                    <a:gd name="connsiteY59" fmla="*/ 121097 h 151356"/>
                    <a:gd name="connsiteX60" fmla="*/ 17604 w 46339"/>
                    <a:gd name="connsiteY60" fmla="*/ 117193 h 151356"/>
                    <a:gd name="connsiteX61" fmla="*/ 17978 w 46339"/>
                    <a:gd name="connsiteY61" fmla="*/ 113371 h 151356"/>
                    <a:gd name="connsiteX62" fmla="*/ 16903 w 46339"/>
                    <a:gd name="connsiteY62" fmla="*/ 112320 h 151356"/>
                    <a:gd name="connsiteX63" fmla="*/ 15558 w 46339"/>
                    <a:gd name="connsiteY63" fmla="*/ 112018 h 151356"/>
                    <a:gd name="connsiteX64" fmla="*/ 14873 w 46339"/>
                    <a:gd name="connsiteY64" fmla="*/ 110926 h 151356"/>
                    <a:gd name="connsiteX65" fmla="*/ 14621 w 46339"/>
                    <a:gd name="connsiteY65" fmla="*/ 109117 h 151356"/>
                    <a:gd name="connsiteX66" fmla="*/ 14629 w 46339"/>
                    <a:gd name="connsiteY66" fmla="*/ 107568 h 151356"/>
                    <a:gd name="connsiteX67" fmla="*/ 17253 w 46339"/>
                    <a:gd name="connsiteY67" fmla="*/ 102108 h 151356"/>
                    <a:gd name="connsiteX68" fmla="*/ 16715 w 46339"/>
                    <a:gd name="connsiteY68" fmla="*/ 89549 h 151356"/>
                    <a:gd name="connsiteX69" fmla="*/ 17106 w 46339"/>
                    <a:gd name="connsiteY69" fmla="*/ 87634 h 151356"/>
                    <a:gd name="connsiteX70" fmla="*/ 18280 w 46339"/>
                    <a:gd name="connsiteY70" fmla="*/ 86314 h 151356"/>
                    <a:gd name="connsiteX71" fmla="*/ 19307 w 46339"/>
                    <a:gd name="connsiteY71" fmla="*/ 84782 h 151356"/>
                    <a:gd name="connsiteX72" fmla="*/ 19266 w 46339"/>
                    <a:gd name="connsiteY72" fmla="*/ 83258 h 151356"/>
                    <a:gd name="connsiteX73" fmla="*/ 17522 w 46339"/>
                    <a:gd name="connsiteY73" fmla="*/ 79501 h 151356"/>
                    <a:gd name="connsiteX74" fmla="*/ 14221 w 46339"/>
                    <a:gd name="connsiteY74" fmla="*/ 76616 h 151356"/>
                    <a:gd name="connsiteX75" fmla="*/ 12534 w 46339"/>
                    <a:gd name="connsiteY75" fmla="*/ 74293 h 151356"/>
                    <a:gd name="connsiteX76" fmla="*/ 11638 w 46339"/>
                    <a:gd name="connsiteY76" fmla="*/ 72207 h 151356"/>
                    <a:gd name="connsiteX77" fmla="*/ 11483 w 46339"/>
                    <a:gd name="connsiteY77" fmla="*/ 71082 h 151356"/>
                    <a:gd name="connsiteX78" fmla="*/ 13480 w 46339"/>
                    <a:gd name="connsiteY78" fmla="*/ 69436 h 151356"/>
                    <a:gd name="connsiteX79" fmla="*/ 14360 w 46339"/>
                    <a:gd name="connsiteY79" fmla="*/ 68303 h 151356"/>
                    <a:gd name="connsiteX80" fmla="*/ 14466 w 46339"/>
                    <a:gd name="connsiteY80" fmla="*/ 66999 h 151356"/>
                    <a:gd name="connsiteX81" fmla="*/ 13651 w 46339"/>
                    <a:gd name="connsiteY81" fmla="*/ 64611 h 151356"/>
                    <a:gd name="connsiteX82" fmla="*/ 13806 w 46339"/>
                    <a:gd name="connsiteY82" fmla="*/ 60357 h 151356"/>
                    <a:gd name="connsiteX83" fmla="*/ 14572 w 46339"/>
                    <a:gd name="connsiteY83" fmla="*/ 57162 h 151356"/>
                    <a:gd name="connsiteX84" fmla="*/ 15354 w 46339"/>
                    <a:gd name="connsiteY84" fmla="*/ 53038 h 151356"/>
                    <a:gd name="connsiteX85" fmla="*/ 15273 w 46339"/>
                    <a:gd name="connsiteY85" fmla="*/ 51824 h 151356"/>
                    <a:gd name="connsiteX86" fmla="*/ 13341 w 46339"/>
                    <a:gd name="connsiteY86" fmla="*/ 49355 h 151356"/>
                    <a:gd name="connsiteX87" fmla="*/ 12298 w 46339"/>
                    <a:gd name="connsiteY87" fmla="*/ 49021 h 151356"/>
                    <a:gd name="connsiteX88" fmla="*/ 11451 w 46339"/>
                    <a:gd name="connsiteY88" fmla="*/ 49200 h 151356"/>
                    <a:gd name="connsiteX89" fmla="*/ 9421 w 46339"/>
                    <a:gd name="connsiteY89" fmla="*/ 50813 h 151356"/>
                    <a:gd name="connsiteX90" fmla="*/ 8687 w 46339"/>
                    <a:gd name="connsiteY90" fmla="*/ 51001 h 151356"/>
                    <a:gd name="connsiteX91" fmla="*/ 8231 w 46339"/>
                    <a:gd name="connsiteY91" fmla="*/ 50512 h 151356"/>
                    <a:gd name="connsiteX92" fmla="*/ 8027 w 46339"/>
                    <a:gd name="connsiteY92" fmla="*/ 49860 h 151356"/>
                    <a:gd name="connsiteX93" fmla="*/ 8737 w 46339"/>
                    <a:gd name="connsiteY93" fmla="*/ 48898 h 151356"/>
                    <a:gd name="connsiteX94" fmla="*/ 8476 w 46339"/>
                    <a:gd name="connsiteY94" fmla="*/ 47692 h 151356"/>
                    <a:gd name="connsiteX95" fmla="*/ 9079 w 46339"/>
                    <a:gd name="connsiteY95" fmla="*/ 46633 h 151356"/>
                    <a:gd name="connsiteX96" fmla="*/ 10358 w 46339"/>
                    <a:gd name="connsiteY96" fmla="*/ 46152 h 151356"/>
                    <a:gd name="connsiteX97" fmla="*/ 10741 w 46339"/>
                    <a:gd name="connsiteY97" fmla="*/ 45622 h 151356"/>
                    <a:gd name="connsiteX98" fmla="*/ 8997 w 46339"/>
                    <a:gd name="connsiteY98" fmla="*/ 45117 h 151356"/>
                    <a:gd name="connsiteX99" fmla="*/ 8802 w 46339"/>
                    <a:gd name="connsiteY99" fmla="*/ 44400 h 151356"/>
                    <a:gd name="connsiteX100" fmla="*/ 8924 w 46339"/>
                    <a:gd name="connsiteY100" fmla="*/ 43699 h 151356"/>
                    <a:gd name="connsiteX101" fmla="*/ 9429 w 46339"/>
                    <a:gd name="connsiteY101" fmla="*/ 43569 h 151356"/>
                    <a:gd name="connsiteX102" fmla="*/ 9967 w 46339"/>
                    <a:gd name="connsiteY102" fmla="*/ 43601 h 151356"/>
                    <a:gd name="connsiteX103" fmla="*/ 10277 w 46339"/>
                    <a:gd name="connsiteY103" fmla="*/ 43104 h 151356"/>
                    <a:gd name="connsiteX104" fmla="*/ 10538 w 46339"/>
                    <a:gd name="connsiteY104" fmla="*/ 39591 h 151356"/>
                    <a:gd name="connsiteX105" fmla="*/ 10750 w 46339"/>
                    <a:gd name="connsiteY105" fmla="*/ 38369 h 151356"/>
                    <a:gd name="connsiteX106" fmla="*/ 10970 w 46339"/>
                    <a:gd name="connsiteY106" fmla="*/ 35949 h 151356"/>
                    <a:gd name="connsiteX107" fmla="*/ 11230 w 46339"/>
                    <a:gd name="connsiteY107" fmla="*/ 26552 h 151356"/>
                    <a:gd name="connsiteX108" fmla="*/ 11638 w 46339"/>
                    <a:gd name="connsiteY108" fmla="*/ 25574 h 151356"/>
                    <a:gd name="connsiteX109" fmla="*/ 11678 w 46339"/>
                    <a:gd name="connsiteY109" fmla="*/ 24881 h 151356"/>
                    <a:gd name="connsiteX110" fmla="*/ 10464 w 46339"/>
                    <a:gd name="connsiteY110" fmla="*/ 24417 h 151356"/>
                    <a:gd name="connsiteX111" fmla="*/ 7596 w 46339"/>
                    <a:gd name="connsiteY111" fmla="*/ 21898 h 151356"/>
                    <a:gd name="connsiteX112" fmla="*/ 5917 w 46339"/>
                    <a:gd name="connsiteY112" fmla="*/ 19959 h 151356"/>
                    <a:gd name="connsiteX113" fmla="*/ 4458 w 46339"/>
                    <a:gd name="connsiteY113" fmla="*/ 17970 h 151356"/>
                    <a:gd name="connsiteX114" fmla="*/ 3211 w 46339"/>
                    <a:gd name="connsiteY114" fmla="*/ 16666 h 151356"/>
                    <a:gd name="connsiteX115" fmla="*/ 807 w 46339"/>
                    <a:gd name="connsiteY115" fmla="*/ 14653 h 151356"/>
                    <a:gd name="connsiteX116" fmla="*/ 106 w 46339"/>
                    <a:gd name="connsiteY116" fmla="*/ 13366 h 151356"/>
                    <a:gd name="connsiteX117" fmla="*/ 0 w 46339"/>
                    <a:gd name="connsiteY117" fmla="*/ 12086 h 151356"/>
                    <a:gd name="connsiteX118" fmla="*/ 742 w 46339"/>
                    <a:gd name="connsiteY118" fmla="*/ 9519 h 151356"/>
                    <a:gd name="connsiteX119" fmla="*/ 1899 w 46339"/>
                    <a:gd name="connsiteY119" fmla="*/ 6772 h 151356"/>
                    <a:gd name="connsiteX120" fmla="*/ 2469 w 46339"/>
                    <a:gd name="connsiteY120" fmla="*/ 2852 h 151356"/>
                    <a:gd name="connsiteX121" fmla="*/ 2127 w 46339"/>
                    <a:gd name="connsiteY121" fmla="*/ 1809 h 151356"/>
                    <a:gd name="connsiteX122" fmla="*/ 538 w 46339"/>
                    <a:gd name="connsiteY122" fmla="*/ 0 h 151356"/>
                    <a:gd name="connsiteX123" fmla="*/ 6186 w 46339"/>
                    <a:gd name="connsiteY123" fmla="*/ 1386 h 151356"/>
                    <a:gd name="connsiteX124" fmla="*/ 14246 w 46339"/>
                    <a:gd name="connsiteY124" fmla="*/ 3733 h 151356"/>
                    <a:gd name="connsiteX125" fmla="*/ 14417 w 46339"/>
                    <a:gd name="connsiteY125" fmla="*/ 4148 h 151356"/>
                    <a:gd name="connsiteX126" fmla="*/ 14458 w 46339"/>
                    <a:gd name="connsiteY126" fmla="*/ 4857 h 151356"/>
                    <a:gd name="connsiteX127" fmla="*/ 15859 w 46339"/>
                    <a:gd name="connsiteY127" fmla="*/ 4841 h 151356"/>
                    <a:gd name="connsiteX128" fmla="*/ 18190 w 46339"/>
                    <a:gd name="connsiteY128" fmla="*/ 4010 h 151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46339" h="151356">
                      <a:moveTo>
                        <a:pt x="24572" y="3700"/>
                      </a:moveTo>
                      <a:lnTo>
                        <a:pt x="23936" y="6943"/>
                      </a:lnTo>
                      <a:lnTo>
                        <a:pt x="22624" y="10970"/>
                      </a:lnTo>
                      <a:lnTo>
                        <a:pt x="21768" y="12249"/>
                      </a:lnTo>
                      <a:lnTo>
                        <a:pt x="21173" y="22012"/>
                      </a:lnTo>
                      <a:lnTo>
                        <a:pt x="21581" y="22827"/>
                      </a:lnTo>
                      <a:lnTo>
                        <a:pt x="21890" y="23080"/>
                      </a:lnTo>
                      <a:lnTo>
                        <a:pt x="26014" y="26381"/>
                      </a:lnTo>
                      <a:lnTo>
                        <a:pt x="31417" y="30716"/>
                      </a:lnTo>
                      <a:lnTo>
                        <a:pt x="35231" y="33781"/>
                      </a:lnTo>
                      <a:lnTo>
                        <a:pt x="35549" y="34799"/>
                      </a:lnTo>
                      <a:lnTo>
                        <a:pt x="35598" y="41213"/>
                      </a:lnTo>
                      <a:lnTo>
                        <a:pt x="35647" y="46722"/>
                      </a:lnTo>
                      <a:lnTo>
                        <a:pt x="36438" y="49876"/>
                      </a:lnTo>
                      <a:lnTo>
                        <a:pt x="36609" y="52932"/>
                      </a:lnTo>
                      <a:lnTo>
                        <a:pt x="37570" y="55247"/>
                      </a:lnTo>
                      <a:lnTo>
                        <a:pt x="41083" y="59697"/>
                      </a:lnTo>
                      <a:lnTo>
                        <a:pt x="41922" y="62321"/>
                      </a:lnTo>
                      <a:lnTo>
                        <a:pt x="42020" y="70731"/>
                      </a:lnTo>
                      <a:lnTo>
                        <a:pt x="42085" y="77105"/>
                      </a:lnTo>
                      <a:lnTo>
                        <a:pt x="42533" y="85776"/>
                      </a:lnTo>
                      <a:lnTo>
                        <a:pt x="42533" y="93021"/>
                      </a:lnTo>
                      <a:lnTo>
                        <a:pt x="42533" y="102181"/>
                      </a:lnTo>
                      <a:lnTo>
                        <a:pt x="42533" y="112906"/>
                      </a:lnTo>
                      <a:lnTo>
                        <a:pt x="42533" y="124088"/>
                      </a:lnTo>
                      <a:lnTo>
                        <a:pt x="40211" y="124226"/>
                      </a:lnTo>
                      <a:lnTo>
                        <a:pt x="41474" y="127698"/>
                      </a:lnTo>
                      <a:lnTo>
                        <a:pt x="41694" y="130844"/>
                      </a:lnTo>
                      <a:lnTo>
                        <a:pt x="41996" y="131863"/>
                      </a:lnTo>
                      <a:lnTo>
                        <a:pt x="41360" y="133395"/>
                      </a:lnTo>
                      <a:lnTo>
                        <a:pt x="41882" y="135718"/>
                      </a:lnTo>
                      <a:lnTo>
                        <a:pt x="42901" y="136573"/>
                      </a:lnTo>
                      <a:lnTo>
                        <a:pt x="45476" y="141235"/>
                      </a:lnTo>
                      <a:lnTo>
                        <a:pt x="46340" y="145196"/>
                      </a:lnTo>
                      <a:lnTo>
                        <a:pt x="42191" y="146508"/>
                      </a:lnTo>
                      <a:lnTo>
                        <a:pt x="42485" y="147526"/>
                      </a:lnTo>
                      <a:lnTo>
                        <a:pt x="34751" y="149629"/>
                      </a:lnTo>
                      <a:lnTo>
                        <a:pt x="31678" y="151357"/>
                      </a:lnTo>
                      <a:lnTo>
                        <a:pt x="31637" y="149686"/>
                      </a:lnTo>
                      <a:lnTo>
                        <a:pt x="30496" y="149384"/>
                      </a:lnTo>
                      <a:lnTo>
                        <a:pt x="29135" y="148822"/>
                      </a:lnTo>
                      <a:lnTo>
                        <a:pt x="28280" y="147958"/>
                      </a:lnTo>
                      <a:lnTo>
                        <a:pt x="27098" y="145970"/>
                      </a:lnTo>
                      <a:lnTo>
                        <a:pt x="26674" y="144421"/>
                      </a:lnTo>
                      <a:lnTo>
                        <a:pt x="24865" y="144169"/>
                      </a:lnTo>
                      <a:lnTo>
                        <a:pt x="22640" y="142433"/>
                      </a:lnTo>
                      <a:lnTo>
                        <a:pt x="20521" y="140453"/>
                      </a:lnTo>
                      <a:lnTo>
                        <a:pt x="19771" y="138456"/>
                      </a:lnTo>
                      <a:lnTo>
                        <a:pt x="19975" y="137543"/>
                      </a:lnTo>
                      <a:lnTo>
                        <a:pt x="19649" y="136598"/>
                      </a:lnTo>
                      <a:lnTo>
                        <a:pt x="18932" y="136247"/>
                      </a:lnTo>
                      <a:lnTo>
                        <a:pt x="17009" y="131749"/>
                      </a:lnTo>
                      <a:lnTo>
                        <a:pt x="15835" y="129939"/>
                      </a:lnTo>
                      <a:lnTo>
                        <a:pt x="15273" y="128481"/>
                      </a:lnTo>
                      <a:lnTo>
                        <a:pt x="15468" y="127356"/>
                      </a:lnTo>
                      <a:lnTo>
                        <a:pt x="15216" y="125840"/>
                      </a:lnTo>
                      <a:lnTo>
                        <a:pt x="15582" y="124609"/>
                      </a:lnTo>
                      <a:lnTo>
                        <a:pt x="16601" y="123876"/>
                      </a:lnTo>
                      <a:lnTo>
                        <a:pt x="16935" y="122979"/>
                      </a:lnTo>
                      <a:lnTo>
                        <a:pt x="17025" y="121097"/>
                      </a:lnTo>
                      <a:lnTo>
                        <a:pt x="17604" y="117193"/>
                      </a:lnTo>
                      <a:lnTo>
                        <a:pt x="17978" y="113371"/>
                      </a:lnTo>
                      <a:lnTo>
                        <a:pt x="16903" y="112320"/>
                      </a:lnTo>
                      <a:lnTo>
                        <a:pt x="15558" y="112018"/>
                      </a:lnTo>
                      <a:lnTo>
                        <a:pt x="14873" y="110926"/>
                      </a:lnTo>
                      <a:lnTo>
                        <a:pt x="14621" y="109117"/>
                      </a:lnTo>
                      <a:lnTo>
                        <a:pt x="14629" y="107568"/>
                      </a:lnTo>
                      <a:lnTo>
                        <a:pt x="17253" y="102108"/>
                      </a:lnTo>
                      <a:lnTo>
                        <a:pt x="16715" y="89549"/>
                      </a:lnTo>
                      <a:lnTo>
                        <a:pt x="17106" y="87634"/>
                      </a:lnTo>
                      <a:lnTo>
                        <a:pt x="18280" y="86314"/>
                      </a:lnTo>
                      <a:lnTo>
                        <a:pt x="19307" y="84782"/>
                      </a:lnTo>
                      <a:lnTo>
                        <a:pt x="19266" y="83258"/>
                      </a:lnTo>
                      <a:lnTo>
                        <a:pt x="17522" y="79501"/>
                      </a:lnTo>
                      <a:lnTo>
                        <a:pt x="14221" y="76616"/>
                      </a:lnTo>
                      <a:lnTo>
                        <a:pt x="12534" y="74293"/>
                      </a:lnTo>
                      <a:lnTo>
                        <a:pt x="11638" y="72207"/>
                      </a:lnTo>
                      <a:lnTo>
                        <a:pt x="11483" y="71082"/>
                      </a:lnTo>
                      <a:lnTo>
                        <a:pt x="13480" y="69436"/>
                      </a:lnTo>
                      <a:lnTo>
                        <a:pt x="14360" y="68303"/>
                      </a:lnTo>
                      <a:lnTo>
                        <a:pt x="14466" y="66999"/>
                      </a:lnTo>
                      <a:lnTo>
                        <a:pt x="13651" y="64611"/>
                      </a:lnTo>
                      <a:lnTo>
                        <a:pt x="13806" y="60357"/>
                      </a:lnTo>
                      <a:lnTo>
                        <a:pt x="14572" y="57162"/>
                      </a:lnTo>
                      <a:lnTo>
                        <a:pt x="15354" y="53038"/>
                      </a:lnTo>
                      <a:lnTo>
                        <a:pt x="15273" y="51824"/>
                      </a:lnTo>
                      <a:lnTo>
                        <a:pt x="13341" y="49355"/>
                      </a:lnTo>
                      <a:lnTo>
                        <a:pt x="12298" y="49021"/>
                      </a:lnTo>
                      <a:lnTo>
                        <a:pt x="11451" y="49200"/>
                      </a:lnTo>
                      <a:lnTo>
                        <a:pt x="9421" y="50813"/>
                      </a:lnTo>
                      <a:lnTo>
                        <a:pt x="8687" y="51001"/>
                      </a:lnTo>
                      <a:lnTo>
                        <a:pt x="8231" y="50512"/>
                      </a:lnTo>
                      <a:lnTo>
                        <a:pt x="8027" y="49860"/>
                      </a:lnTo>
                      <a:lnTo>
                        <a:pt x="8737" y="48898"/>
                      </a:lnTo>
                      <a:lnTo>
                        <a:pt x="8476" y="47692"/>
                      </a:lnTo>
                      <a:lnTo>
                        <a:pt x="9079" y="46633"/>
                      </a:lnTo>
                      <a:lnTo>
                        <a:pt x="10358" y="46152"/>
                      </a:lnTo>
                      <a:lnTo>
                        <a:pt x="10741" y="45622"/>
                      </a:lnTo>
                      <a:lnTo>
                        <a:pt x="8997" y="45117"/>
                      </a:lnTo>
                      <a:lnTo>
                        <a:pt x="8802" y="44400"/>
                      </a:lnTo>
                      <a:lnTo>
                        <a:pt x="8924" y="43699"/>
                      </a:lnTo>
                      <a:lnTo>
                        <a:pt x="9429" y="43569"/>
                      </a:lnTo>
                      <a:lnTo>
                        <a:pt x="9967" y="43601"/>
                      </a:lnTo>
                      <a:lnTo>
                        <a:pt x="10277" y="43104"/>
                      </a:lnTo>
                      <a:lnTo>
                        <a:pt x="10538" y="39591"/>
                      </a:lnTo>
                      <a:lnTo>
                        <a:pt x="10750" y="38369"/>
                      </a:lnTo>
                      <a:lnTo>
                        <a:pt x="10970" y="35949"/>
                      </a:lnTo>
                      <a:lnTo>
                        <a:pt x="11230" y="26552"/>
                      </a:lnTo>
                      <a:lnTo>
                        <a:pt x="11638" y="25574"/>
                      </a:lnTo>
                      <a:lnTo>
                        <a:pt x="11678" y="24881"/>
                      </a:lnTo>
                      <a:lnTo>
                        <a:pt x="10464" y="24417"/>
                      </a:lnTo>
                      <a:lnTo>
                        <a:pt x="7596" y="21898"/>
                      </a:lnTo>
                      <a:lnTo>
                        <a:pt x="5917" y="19959"/>
                      </a:lnTo>
                      <a:lnTo>
                        <a:pt x="4458" y="17970"/>
                      </a:lnTo>
                      <a:lnTo>
                        <a:pt x="3211" y="16666"/>
                      </a:lnTo>
                      <a:lnTo>
                        <a:pt x="807" y="14653"/>
                      </a:lnTo>
                      <a:lnTo>
                        <a:pt x="106" y="13366"/>
                      </a:lnTo>
                      <a:lnTo>
                        <a:pt x="0" y="12086"/>
                      </a:lnTo>
                      <a:lnTo>
                        <a:pt x="742" y="9519"/>
                      </a:lnTo>
                      <a:lnTo>
                        <a:pt x="1899" y="6772"/>
                      </a:lnTo>
                      <a:lnTo>
                        <a:pt x="2469" y="2852"/>
                      </a:lnTo>
                      <a:lnTo>
                        <a:pt x="2127" y="1809"/>
                      </a:lnTo>
                      <a:lnTo>
                        <a:pt x="538" y="0"/>
                      </a:lnTo>
                      <a:lnTo>
                        <a:pt x="6186" y="1386"/>
                      </a:lnTo>
                      <a:lnTo>
                        <a:pt x="14246" y="3733"/>
                      </a:lnTo>
                      <a:lnTo>
                        <a:pt x="14417" y="4148"/>
                      </a:lnTo>
                      <a:lnTo>
                        <a:pt x="14458" y="4857"/>
                      </a:lnTo>
                      <a:lnTo>
                        <a:pt x="15859" y="4841"/>
                      </a:lnTo>
                      <a:lnTo>
                        <a:pt x="18190" y="4010"/>
                      </a:lnTo>
                      <a:close/>
                    </a:path>
                  </a:pathLst>
                </a:custGeom>
                <a:solidFill>
                  <a:srgbClr val="D6D6D2"/>
                </a:solidFill>
                <a:ln w="8150" cap="flat">
                  <a:noFill/>
                  <a:prstDash val="solid"/>
                  <a:miter/>
                </a:ln>
              </p:spPr>
              <p:txBody>
                <a:bodyPr rtlCol="0" anchor="ctr"/>
                <a:lstStyle/>
                <a:p>
                  <a:endParaRPr lang="en-US"/>
                </a:p>
              </p:txBody>
            </p:sp>
            <p:sp>
              <p:nvSpPr>
                <p:cNvPr id="566" name="Freeform: Shape 565">
                  <a:extLst>
                    <a:ext uri="{FF2B5EF4-FFF2-40B4-BE49-F238E27FC236}">
                      <a16:creationId xmlns:a16="http://schemas.microsoft.com/office/drawing/2014/main" id="{75BD818A-5533-4925-B586-02C20B9380D1}"/>
                    </a:ext>
                  </a:extLst>
                </p:cNvPr>
                <p:cNvSpPr/>
                <p:nvPr/>
              </p:nvSpPr>
              <p:spPr>
                <a:xfrm>
                  <a:off x="6277176" y="3812617"/>
                  <a:ext cx="261304" cy="487761"/>
                </a:xfrm>
                <a:custGeom>
                  <a:avLst/>
                  <a:gdLst>
                    <a:gd name="connsiteX0" fmla="*/ 261215 w 261304"/>
                    <a:gd name="connsiteY0" fmla="*/ 122474 h 487761"/>
                    <a:gd name="connsiteX1" fmla="*/ 261231 w 261304"/>
                    <a:gd name="connsiteY1" fmla="*/ 136215 h 487761"/>
                    <a:gd name="connsiteX2" fmla="*/ 261240 w 261304"/>
                    <a:gd name="connsiteY2" fmla="*/ 149939 h 487761"/>
                    <a:gd name="connsiteX3" fmla="*/ 261248 w 261304"/>
                    <a:gd name="connsiteY3" fmla="*/ 163647 h 487761"/>
                    <a:gd name="connsiteX4" fmla="*/ 261256 w 261304"/>
                    <a:gd name="connsiteY4" fmla="*/ 177330 h 487761"/>
                    <a:gd name="connsiteX5" fmla="*/ 261272 w 261304"/>
                    <a:gd name="connsiteY5" fmla="*/ 191005 h 487761"/>
                    <a:gd name="connsiteX6" fmla="*/ 261280 w 261304"/>
                    <a:gd name="connsiteY6" fmla="*/ 204656 h 487761"/>
                    <a:gd name="connsiteX7" fmla="*/ 261288 w 261304"/>
                    <a:gd name="connsiteY7" fmla="*/ 218291 h 487761"/>
                    <a:gd name="connsiteX8" fmla="*/ 261297 w 261304"/>
                    <a:gd name="connsiteY8" fmla="*/ 231917 h 487761"/>
                    <a:gd name="connsiteX9" fmla="*/ 261305 w 261304"/>
                    <a:gd name="connsiteY9" fmla="*/ 236432 h 487761"/>
                    <a:gd name="connsiteX10" fmla="*/ 260979 w 261304"/>
                    <a:gd name="connsiteY10" fmla="*/ 238225 h 487761"/>
                    <a:gd name="connsiteX11" fmla="*/ 260840 w 261304"/>
                    <a:gd name="connsiteY11" fmla="*/ 238469 h 487761"/>
                    <a:gd name="connsiteX12" fmla="*/ 260368 w 261304"/>
                    <a:gd name="connsiteY12" fmla="*/ 238771 h 487761"/>
                    <a:gd name="connsiteX13" fmla="*/ 254475 w 261304"/>
                    <a:gd name="connsiteY13" fmla="*/ 237508 h 487761"/>
                    <a:gd name="connsiteX14" fmla="*/ 251892 w 261304"/>
                    <a:gd name="connsiteY14" fmla="*/ 237475 h 487761"/>
                    <a:gd name="connsiteX15" fmla="*/ 248257 w 261304"/>
                    <a:gd name="connsiteY15" fmla="*/ 238453 h 487761"/>
                    <a:gd name="connsiteX16" fmla="*/ 242951 w 261304"/>
                    <a:gd name="connsiteY16" fmla="*/ 238966 h 487761"/>
                    <a:gd name="connsiteX17" fmla="*/ 239512 w 261304"/>
                    <a:gd name="connsiteY17" fmla="*/ 238803 h 487761"/>
                    <a:gd name="connsiteX18" fmla="*/ 237133 w 261304"/>
                    <a:gd name="connsiteY18" fmla="*/ 241142 h 487761"/>
                    <a:gd name="connsiteX19" fmla="*/ 235266 w 261304"/>
                    <a:gd name="connsiteY19" fmla="*/ 243970 h 487761"/>
                    <a:gd name="connsiteX20" fmla="*/ 236155 w 261304"/>
                    <a:gd name="connsiteY20" fmla="*/ 250735 h 487761"/>
                    <a:gd name="connsiteX21" fmla="*/ 235951 w 261304"/>
                    <a:gd name="connsiteY21" fmla="*/ 252960 h 487761"/>
                    <a:gd name="connsiteX22" fmla="*/ 235226 w 261304"/>
                    <a:gd name="connsiteY22" fmla="*/ 255274 h 487761"/>
                    <a:gd name="connsiteX23" fmla="*/ 233612 w 261304"/>
                    <a:gd name="connsiteY23" fmla="*/ 257271 h 487761"/>
                    <a:gd name="connsiteX24" fmla="*/ 231998 w 261304"/>
                    <a:gd name="connsiteY24" fmla="*/ 258868 h 487761"/>
                    <a:gd name="connsiteX25" fmla="*/ 231037 w 261304"/>
                    <a:gd name="connsiteY25" fmla="*/ 260262 h 487761"/>
                    <a:gd name="connsiteX26" fmla="*/ 229838 w 261304"/>
                    <a:gd name="connsiteY26" fmla="*/ 263318 h 487761"/>
                    <a:gd name="connsiteX27" fmla="*/ 228950 w 261304"/>
                    <a:gd name="connsiteY27" fmla="*/ 264736 h 487761"/>
                    <a:gd name="connsiteX28" fmla="*/ 229032 w 261304"/>
                    <a:gd name="connsiteY28" fmla="*/ 266651 h 487761"/>
                    <a:gd name="connsiteX29" fmla="*/ 228747 w 261304"/>
                    <a:gd name="connsiteY29" fmla="*/ 268664 h 487761"/>
                    <a:gd name="connsiteX30" fmla="*/ 227777 w 261304"/>
                    <a:gd name="connsiteY30" fmla="*/ 269715 h 487761"/>
                    <a:gd name="connsiteX31" fmla="*/ 225299 w 261304"/>
                    <a:gd name="connsiteY31" fmla="*/ 270490 h 487761"/>
                    <a:gd name="connsiteX32" fmla="*/ 223710 w 261304"/>
                    <a:gd name="connsiteY32" fmla="*/ 271378 h 487761"/>
                    <a:gd name="connsiteX33" fmla="*/ 222422 w 261304"/>
                    <a:gd name="connsiteY33" fmla="*/ 272845 h 487761"/>
                    <a:gd name="connsiteX34" fmla="*/ 221567 w 261304"/>
                    <a:gd name="connsiteY34" fmla="*/ 273904 h 487761"/>
                    <a:gd name="connsiteX35" fmla="*/ 222015 w 261304"/>
                    <a:gd name="connsiteY35" fmla="*/ 275306 h 487761"/>
                    <a:gd name="connsiteX36" fmla="*/ 222642 w 261304"/>
                    <a:gd name="connsiteY36" fmla="*/ 277229 h 487761"/>
                    <a:gd name="connsiteX37" fmla="*/ 223001 w 261304"/>
                    <a:gd name="connsiteY37" fmla="*/ 280237 h 487761"/>
                    <a:gd name="connsiteX38" fmla="*/ 223246 w 261304"/>
                    <a:gd name="connsiteY38" fmla="*/ 282005 h 487761"/>
                    <a:gd name="connsiteX39" fmla="*/ 224460 w 261304"/>
                    <a:gd name="connsiteY39" fmla="*/ 283432 h 487761"/>
                    <a:gd name="connsiteX40" fmla="*/ 225202 w 261304"/>
                    <a:gd name="connsiteY40" fmla="*/ 284458 h 487761"/>
                    <a:gd name="connsiteX41" fmla="*/ 225462 w 261304"/>
                    <a:gd name="connsiteY41" fmla="*/ 285721 h 487761"/>
                    <a:gd name="connsiteX42" fmla="*/ 224753 w 261304"/>
                    <a:gd name="connsiteY42" fmla="*/ 286765 h 487761"/>
                    <a:gd name="connsiteX43" fmla="*/ 221730 w 261304"/>
                    <a:gd name="connsiteY43" fmla="*/ 288957 h 487761"/>
                    <a:gd name="connsiteX44" fmla="*/ 220515 w 261304"/>
                    <a:gd name="connsiteY44" fmla="*/ 289764 h 487761"/>
                    <a:gd name="connsiteX45" fmla="*/ 219138 w 261304"/>
                    <a:gd name="connsiteY45" fmla="*/ 290872 h 487761"/>
                    <a:gd name="connsiteX46" fmla="*/ 218608 w 261304"/>
                    <a:gd name="connsiteY46" fmla="*/ 291288 h 487761"/>
                    <a:gd name="connsiteX47" fmla="*/ 216392 w 261304"/>
                    <a:gd name="connsiteY47" fmla="*/ 293358 h 487761"/>
                    <a:gd name="connsiteX48" fmla="*/ 215283 w 261304"/>
                    <a:gd name="connsiteY48" fmla="*/ 295192 h 487761"/>
                    <a:gd name="connsiteX49" fmla="*/ 214737 w 261304"/>
                    <a:gd name="connsiteY49" fmla="*/ 296724 h 487761"/>
                    <a:gd name="connsiteX50" fmla="*/ 214770 w 261304"/>
                    <a:gd name="connsiteY50" fmla="*/ 298843 h 487761"/>
                    <a:gd name="connsiteX51" fmla="*/ 215894 w 261304"/>
                    <a:gd name="connsiteY51" fmla="*/ 301988 h 487761"/>
                    <a:gd name="connsiteX52" fmla="*/ 217125 w 261304"/>
                    <a:gd name="connsiteY52" fmla="*/ 304670 h 487761"/>
                    <a:gd name="connsiteX53" fmla="*/ 217598 w 261304"/>
                    <a:gd name="connsiteY53" fmla="*/ 306691 h 487761"/>
                    <a:gd name="connsiteX54" fmla="*/ 217875 w 261304"/>
                    <a:gd name="connsiteY54" fmla="*/ 308899 h 487761"/>
                    <a:gd name="connsiteX55" fmla="*/ 217761 w 261304"/>
                    <a:gd name="connsiteY55" fmla="*/ 311002 h 487761"/>
                    <a:gd name="connsiteX56" fmla="*/ 217133 w 261304"/>
                    <a:gd name="connsiteY56" fmla="*/ 312836 h 487761"/>
                    <a:gd name="connsiteX57" fmla="*/ 216017 w 261304"/>
                    <a:gd name="connsiteY57" fmla="*/ 314482 h 487761"/>
                    <a:gd name="connsiteX58" fmla="*/ 211869 w 261304"/>
                    <a:gd name="connsiteY58" fmla="*/ 317571 h 487761"/>
                    <a:gd name="connsiteX59" fmla="*/ 209815 w 261304"/>
                    <a:gd name="connsiteY59" fmla="*/ 320969 h 487761"/>
                    <a:gd name="connsiteX60" fmla="*/ 208177 w 261304"/>
                    <a:gd name="connsiteY60" fmla="*/ 325101 h 487761"/>
                    <a:gd name="connsiteX61" fmla="*/ 207769 w 261304"/>
                    <a:gd name="connsiteY61" fmla="*/ 327358 h 487761"/>
                    <a:gd name="connsiteX62" fmla="*/ 208218 w 261304"/>
                    <a:gd name="connsiteY62" fmla="*/ 328850 h 487761"/>
                    <a:gd name="connsiteX63" fmla="*/ 209081 w 261304"/>
                    <a:gd name="connsiteY63" fmla="*/ 330113 h 487761"/>
                    <a:gd name="connsiteX64" fmla="*/ 210320 w 261304"/>
                    <a:gd name="connsiteY64" fmla="*/ 330765 h 487761"/>
                    <a:gd name="connsiteX65" fmla="*/ 212121 w 261304"/>
                    <a:gd name="connsiteY65" fmla="*/ 330953 h 487761"/>
                    <a:gd name="connsiteX66" fmla="*/ 215112 w 261304"/>
                    <a:gd name="connsiteY66" fmla="*/ 330260 h 487761"/>
                    <a:gd name="connsiteX67" fmla="*/ 217891 w 261304"/>
                    <a:gd name="connsiteY67" fmla="*/ 329803 h 487761"/>
                    <a:gd name="connsiteX68" fmla="*/ 220841 w 261304"/>
                    <a:gd name="connsiteY68" fmla="*/ 331295 h 487761"/>
                    <a:gd name="connsiteX69" fmla="*/ 222382 w 261304"/>
                    <a:gd name="connsiteY69" fmla="*/ 334750 h 487761"/>
                    <a:gd name="connsiteX70" fmla="*/ 221778 w 261304"/>
                    <a:gd name="connsiteY70" fmla="*/ 337277 h 487761"/>
                    <a:gd name="connsiteX71" fmla="*/ 222903 w 261304"/>
                    <a:gd name="connsiteY71" fmla="*/ 341857 h 487761"/>
                    <a:gd name="connsiteX72" fmla="*/ 223897 w 261304"/>
                    <a:gd name="connsiteY72" fmla="*/ 347391 h 487761"/>
                    <a:gd name="connsiteX73" fmla="*/ 223816 w 261304"/>
                    <a:gd name="connsiteY73" fmla="*/ 349249 h 487761"/>
                    <a:gd name="connsiteX74" fmla="*/ 224256 w 261304"/>
                    <a:gd name="connsiteY74" fmla="*/ 349950 h 487761"/>
                    <a:gd name="connsiteX75" fmla="*/ 226098 w 261304"/>
                    <a:gd name="connsiteY75" fmla="*/ 350300 h 487761"/>
                    <a:gd name="connsiteX76" fmla="*/ 226505 w 261304"/>
                    <a:gd name="connsiteY76" fmla="*/ 351596 h 487761"/>
                    <a:gd name="connsiteX77" fmla="*/ 225902 w 261304"/>
                    <a:gd name="connsiteY77" fmla="*/ 361294 h 487761"/>
                    <a:gd name="connsiteX78" fmla="*/ 226766 w 261304"/>
                    <a:gd name="connsiteY78" fmla="*/ 364008 h 487761"/>
                    <a:gd name="connsiteX79" fmla="*/ 228005 w 261304"/>
                    <a:gd name="connsiteY79" fmla="*/ 365948 h 487761"/>
                    <a:gd name="connsiteX80" fmla="*/ 229399 w 261304"/>
                    <a:gd name="connsiteY80" fmla="*/ 366950 h 487761"/>
                    <a:gd name="connsiteX81" fmla="*/ 230808 w 261304"/>
                    <a:gd name="connsiteY81" fmla="*/ 368246 h 487761"/>
                    <a:gd name="connsiteX82" fmla="*/ 231534 w 261304"/>
                    <a:gd name="connsiteY82" fmla="*/ 369150 h 487761"/>
                    <a:gd name="connsiteX83" fmla="*/ 233164 w 261304"/>
                    <a:gd name="connsiteY83" fmla="*/ 369354 h 487761"/>
                    <a:gd name="connsiteX84" fmla="*/ 234981 w 261304"/>
                    <a:gd name="connsiteY84" fmla="*/ 371114 h 487761"/>
                    <a:gd name="connsiteX85" fmla="*/ 235486 w 261304"/>
                    <a:gd name="connsiteY85" fmla="*/ 373470 h 487761"/>
                    <a:gd name="connsiteX86" fmla="*/ 235348 w 261304"/>
                    <a:gd name="connsiteY86" fmla="*/ 375735 h 487761"/>
                    <a:gd name="connsiteX87" fmla="*/ 234288 w 261304"/>
                    <a:gd name="connsiteY87" fmla="*/ 380666 h 487761"/>
                    <a:gd name="connsiteX88" fmla="*/ 233433 w 261304"/>
                    <a:gd name="connsiteY88" fmla="*/ 383967 h 487761"/>
                    <a:gd name="connsiteX89" fmla="*/ 232373 w 261304"/>
                    <a:gd name="connsiteY89" fmla="*/ 383738 h 487761"/>
                    <a:gd name="connsiteX90" fmla="*/ 230214 w 261304"/>
                    <a:gd name="connsiteY90" fmla="*/ 382931 h 487761"/>
                    <a:gd name="connsiteX91" fmla="*/ 227581 w 261304"/>
                    <a:gd name="connsiteY91" fmla="*/ 382231 h 487761"/>
                    <a:gd name="connsiteX92" fmla="*/ 224354 w 261304"/>
                    <a:gd name="connsiteY92" fmla="*/ 381660 h 487761"/>
                    <a:gd name="connsiteX93" fmla="*/ 221281 w 261304"/>
                    <a:gd name="connsiteY93" fmla="*/ 383005 h 487761"/>
                    <a:gd name="connsiteX94" fmla="*/ 217956 w 261304"/>
                    <a:gd name="connsiteY94" fmla="*/ 384741 h 487761"/>
                    <a:gd name="connsiteX95" fmla="*/ 216905 w 261304"/>
                    <a:gd name="connsiteY95" fmla="*/ 386037 h 487761"/>
                    <a:gd name="connsiteX96" fmla="*/ 215976 w 261304"/>
                    <a:gd name="connsiteY96" fmla="*/ 386794 h 487761"/>
                    <a:gd name="connsiteX97" fmla="*/ 214517 w 261304"/>
                    <a:gd name="connsiteY97" fmla="*/ 386672 h 487761"/>
                    <a:gd name="connsiteX98" fmla="*/ 213180 w 261304"/>
                    <a:gd name="connsiteY98" fmla="*/ 386900 h 487761"/>
                    <a:gd name="connsiteX99" fmla="*/ 212447 w 261304"/>
                    <a:gd name="connsiteY99" fmla="*/ 388131 h 487761"/>
                    <a:gd name="connsiteX100" fmla="*/ 211225 w 261304"/>
                    <a:gd name="connsiteY100" fmla="*/ 389500 h 487761"/>
                    <a:gd name="connsiteX101" fmla="*/ 206432 w 261304"/>
                    <a:gd name="connsiteY101" fmla="*/ 392328 h 487761"/>
                    <a:gd name="connsiteX102" fmla="*/ 205430 w 261304"/>
                    <a:gd name="connsiteY102" fmla="*/ 393363 h 487761"/>
                    <a:gd name="connsiteX103" fmla="*/ 204819 w 261304"/>
                    <a:gd name="connsiteY103" fmla="*/ 394382 h 487761"/>
                    <a:gd name="connsiteX104" fmla="*/ 204819 w 261304"/>
                    <a:gd name="connsiteY104" fmla="*/ 395498 h 487761"/>
                    <a:gd name="connsiteX105" fmla="*/ 205316 w 261304"/>
                    <a:gd name="connsiteY105" fmla="*/ 397805 h 487761"/>
                    <a:gd name="connsiteX106" fmla="*/ 205308 w 261304"/>
                    <a:gd name="connsiteY106" fmla="*/ 400673 h 487761"/>
                    <a:gd name="connsiteX107" fmla="*/ 204240 w 261304"/>
                    <a:gd name="connsiteY107" fmla="*/ 402988 h 487761"/>
                    <a:gd name="connsiteX108" fmla="*/ 203002 w 261304"/>
                    <a:gd name="connsiteY108" fmla="*/ 404545 h 487761"/>
                    <a:gd name="connsiteX109" fmla="*/ 201584 w 261304"/>
                    <a:gd name="connsiteY109" fmla="*/ 405140 h 487761"/>
                    <a:gd name="connsiteX110" fmla="*/ 200394 w 261304"/>
                    <a:gd name="connsiteY110" fmla="*/ 405466 h 487761"/>
                    <a:gd name="connsiteX111" fmla="*/ 199628 w 261304"/>
                    <a:gd name="connsiteY111" fmla="*/ 406435 h 487761"/>
                    <a:gd name="connsiteX112" fmla="*/ 197126 w 261304"/>
                    <a:gd name="connsiteY112" fmla="*/ 411692 h 487761"/>
                    <a:gd name="connsiteX113" fmla="*/ 196042 w 261304"/>
                    <a:gd name="connsiteY113" fmla="*/ 412662 h 487761"/>
                    <a:gd name="connsiteX114" fmla="*/ 193841 w 261304"/>
                    <a:gd name="connsiteY114" fmla="*/ 412499 h 487761"/>
                    <a:gd name="connsiteX115" fmla="*/ 187533 w 261304"/>
                    <a:gd name="connsiteY115" fmla="*/ 420388 h 487761"/>
                    <a:gd name="connsiteX116" fmla="*/ 186906 w 261304"/>
                    <a:gd name="connsiteY116" fmla="*/ 422702 h 487761"/>
                    <a:gd name="connsiteX117" fmla="*/ 184600 w 261304"/>
                    <a:gd name="connsiteY117" fmla="*/ 425995 h 487761"/>
                    <a:gd name="connsiteX118" fmla="*/ 181674 w 261304"/>
                    <a:gd name="connsiteY118" fmla="*/ 429654 h 487761"/>
                    <a:gd name="connsiteX119" fmla="*/ 179074 w 261304"/>
                    <a:gd name="connsiteY119" fmla="*/ 431422 h 487761"/>
                    <a:gd name="connsiteX120" fmla="*/ 178862 w 261304"/>
                    <a:gd name="connsiteY120" fmla="*/ 432107 h 487761"/>
                    <a:gd name="connsiteX121" fmla="*/ 178161 w 261304"/>
                    <a:gd name="connsiteY121" fmla="*/ 432800 h 487761"/>
                    <a:gd name="connsiteX122" fmla="*/ 176564 w 261304"/>
                    <a:gd name="connsiteY122" fmla="*/ 433598 h 487761"/>
                    <a:gd name="connsiteX123" fmla="*/ 170989 w 261304"/>
                    <a:gd name="connsiteY123" fmla="*/ 438048 h 487761"/>
                    <a:gd name="connsiteX124" fmla="*/ 164298 w 261304"/>
                    <a:gd name="connsiteY124" fmla="*/ 437869 h 487761"/>
                    <a:gd name="connsiteX125" fmla="*/ 161340 w 261304"/>
                    <a:gd name="connsiteY125" fmla="*/ 439613 h 487761"/>
                    <a:gd name="connsiteX126" fmla="*/ 158472 w 261304"/>
                    <a:gd name="connsiteY126" fmla="*/ 440395 h 487761"/>
                    <a:gd name="connsiteX127" fmla="*/ 154274 w 261304"/>
                    <a:gd name="connsiteY127" fmla="*/ 441251 h 487761"/>
                    <a:gd name="connsiteX128" fmla="*/ 153003 w 261304"/>
                    <a:gd name="connsiteY128" fmla="*/ 441169 h 487761"/>
                    <a:gd name="connsiteX129" fmla="*/ 147632 w 261304"/>
                    <a:gd name="connsiteY129" fmla="*/ 441528 h 487761"/>
                    <a:gd name="connsiteX130" fmla="*/ 141300 w 261304"/>
                    <a:gd name="connsiteY130" fmla="*/ 441398 h 487761"/>
                    <a:gd name="connsiteX131" fmla="*/ 138879 w 261304"/>
                    <a:gd name="connsiteY131" fmla="*/ 442025 h 487761"/>
                    <a:gd name="connsiteX132" fmla="*/ 136606 w 261304"/>
                    <a:gd name="connsiteY132" fmla="*/ 443720 h 487761"/>
                    <a:gd name="connsiteX133" fmla="*/ 134927 w 261304"/>
                    <a:gd name="connsiteY133" fmla="*/ 445203 h 487761"/>
                    <a:gd name="connsiteX134" fmla="*/ 134674 w 261304"/>
                    <a:gd name="connsiteY134" fmla="*/ 445701 h 487761"/>
                    <a:gd name="connsiteX135" fmla="*/ 134935 w 261304"/>
                    <a:gd name="connsiteY135" fmla="*/ 446320 h 487761"/>
                    <a:gd name="connsiteX136" fmla="*/ 134870 w 261304"/>
                    <a:gd name="connsiteY136" fmla="*/ 446817 h 487761"/>
                    <a:gd name="connsiteX137" fmla="*/ 139287 w 261304"/>
                    <a:gd name="connsiteY137" fmla="*/ 450452 h 487761"/>
                    <a:gd name="connsiteX138" fmla="*/ 140395 w 261304"/>
                    <a:gd name="connsiteY138" fmla="*/ 452229 h 487761"/>
                    <a:gd name="connsiteX139" fmla="*/ 139279 w 261304"/>
                    <a:gd name="connsiteY139" fmla="*/ 453965 h 487761"/>
                    <a:gd name="connsiteX140" fmla="*/ 138749 w 261304"/>
                    <a:gd name="connsiteY140" fmla="*/ 454217 h 487761"/>
                    <a:gd name="connsiteX141" fmla="*/ 138684 w 261304"/>
                    <a:gd name="connsiteY141" fmla="*/ 454323 h 487761"/>
                    <a:gd name="connsiteX142" fmla="*/ 137959 w 261304"/>
                    <a:gd name="connsiteY142" fmla="*/ 455701 h 487761"/>
                    <a:gd name="connsiteX143" fmla="*/ 135375 w 261304"/>
                    <a:gd name="connsiteY143" fmla="*/ 459800 h 487761"/>
                    <a:gd name="connsiteX144" fmla="*/ 131430 w 261304"/>
                    <a:gd name="connsiteY144" fmla="*/ 464649 h 487761"/>
                    <a:gd name="connsiteX145" fmla="*/ 129409 w 261304"/>
                    <a:gd name="connsiteY145" fmla="*/ 466034 h 487761"/>
                    <a:gd name="connsiteX146" fmla="*/ 128611 w 261304"/>
                    <a:gd name="connsiteY146" fmla="*/ 466939 h 487761"/>
                    <a:gd name="connsiteX147" fmla="*/ 127567 w 261304"/>
                    <a:gd name="connsiteY147" fmla="*/ 470150 h 487761"/>
                    <a:gd name="connsiteX148" fmla="*/ 126883 w 261304"/>
                    <a:gd name="connsiteY148" fmla="*/ 470598 h 487761"/>
                    <a:gd name="connsiteX149" fmla="*/ 124185 w 261304"/>
                    <a:gd name="connsiteY149" fmla="*/ 471022 h 487761"/>
                    <a:gd name="connsiteX150" fmla="*/ 118823 w 261304"/>
                    <a:gd name="connsiteY150" fmla="*/ 471364 h 487761"/>
                    <a:gd name="connsiteX151" fmla="*/ 111407 w 261304"/>
                    <a:gd name="connsiteY151" fmla="*/ 472424 h 487761"/>
                    <a:gd name="connsiteX152" fmla="*/ 106965 w 261304"/>
                    <a:gd name="connsiteY152" fmla="*/ 472774 h 487761"/>
                    <a:gd name="connsiteX153" fmla="*/ 104211 w 261304"/>
                    <a:gd name="connsiteY153" fmla="*/ 472481 h 487761"/>
                    <a:gd name="connsiteX154" fmla="*/ 100307 w 261304"/>
                    <a:gd name="connsiteY154" fmla="*/ 474698 h 487761"/>
                    <a:gd name="connsiteX155" fmla="*/ 98913 w 261304"/>
                    <a:gd name="connsiteY155" fmla="*/ 475268 h 487761"/>
                    <a:gd name="connsiteX156" fmla="*/ 98074 w 261304"/>
                    <a:gd name="connsiteY156" fmla="*/ 475455 h 487761"/>
                    <a:gd name="connsiteX157" fmla="*/ 94219 w 261304"/>
                    <a:gd name="connsiteY157" fmla="*/ 477615 h 487761"/>
                    <a:gd name="connsiteX158" fmla="*/ 91016 w 261304"/>
                    <a:gd name="connsiteY158" fmla="*/ 480948 h 487761"/>
                    <a:gd name="connsiteX159" fmla="*/ 89875 w 261304"/>
                    <a:gd name="connsiteY159" fmla="*/ 481584 h 487761"/>
                    <a:gd name="connsiteX160" fmla="*/ 85368 w 261304"/>
                    <a:gd name="connsiteY160" fmla="*/ 483002 h 487761"/>
                    <a:gd name="connsiteX161" fmla="*/ 83584 w 261304"/>
                    <a:gd name="connsiteY161" fmla="*/ 485300 h 487761"/>
                    <a:gd name="connsiteX162" fmla="*/ 82752 w 261304"/>
                    <a:gd name="connsiteY162" fmla="*/ 485488 h 487761"/>
                    <a:gd name="connsiteX163" fmla="*/ 79867 w 261304"/>
                    <a:gd name="connsiteY163" fmla="*/ 482456 h 487761"/>
                    <a:gd name="connsiteX164" fmla="*/ 77895 w 261304"/>
                    <a:gd name="connsiteY164" fmla="*/ 479701 h 487761"/>
                    <a:gd name="connsiteX165" fmla="*/ 76933 w 261304"/>
                    <a:gd name="connsiteY165" fmla="*/ 476922 h 487761"/>
                    <a:gd name="connsiteX166" fmla="*/ 76811 w 261304"/>
                    <a:gd name="connsiteY166" fmla="*/ 476034 h 487761"/>
                    <a:gd name="connsiteX167" fmla="*/ 76265 w 261304"/>
                    <a:gd name="connsiteY167" fmla="*/ 476197 h 487761"/>
                    <a:gd name="connsiteX168" fmla="*/ 74684 w 261304"/>
                    <a:gd name="connsiteY168" fmla="*/ 477428 h 487761"/>
                    <a:gd name="connsiteX169" fmla="*/ 73323 w 261304"/>
                    <a:gd name="connsiteY169" fmla="*/ 478838 h 487761"/>
                    <a:gd name="connsiteX170" fmla="*/ 72688 w 261304"/>
                    <a:gd name="connsiteY170" fmla="*/ 481502 h 487761"/>
                    <a:gd name="connsiteX171" fmla="*/ 68026 w 261304"/>
                    <a:gd name="connsiteY171" fmla="*/ 483312 h 487761"/>
                    <a:gd name="connsiteX172" fmla="*/ 64049 w 261304"/>
                    <a:gd name="connsiteY172" fmla="*/ 484852 h 487761"/>
                    <a:gd name="connsiteX173" fmla="*/ 62231 w 261304"/>
                    <a:gd name="connsiteY173" fmla="*/ 486800 h 487761"/>
                    <a:gd name="connsiteX174" fmla="*/ 59444 w 261304"/>
                    <a:gd name="connsiteY174" fmla="*/ 487762 h 487761"/>
                    <a:gd name="connsiteX175" fmla="*/ 55883 w 261304"/>
                    <a:gd name="connsiteY175" fmla="*/ 487370 h 487761"/>
                    <a:gd name="connsiteX176" fmla="*/ 53095 w 261304"/>
                    <a:gd name="connsiteY176" fmla="*/ 486572 h 487761"/>
                    <a:gd name="connsiteX177" fmla="*/ 50398 w 261304"/>
                    <a:gd name="connsiteY177" fmla="*/ 486311 h 487761"/>
                    <a:gd name="connsiteX178" fmla="*/ 51693 w 261304"/>
                    <a:gd name="connsiteY178" fmla="*/ 483882 h 487761"/>
                    <a:gd name="connsiteX179" fmla="*/ 52191 w 261304"/>
                    <a:gd name="connsiteY179" fmla="*/ 482081 h 487761"/>
                    <a:gd name="connsiteX180" fmla="*/ 52313 w 261304"/>
                    <a:gd name="connsiteY180" fmla="*/ 479864 h 487761"/>
                    <a:gd name="connsiteX181" fmla="*/ 52117 w 261304"/>
                    <a:gd name="connsiteY181" fmla="*/ 478365 h 487761"/>
                    <a:gd name="connsiteX182" fmla="*/ 50504 w 261304"/>
                    <a:gd name="connsiteY182" fmla="*/ 477615 h 487761"/>
                    <a:gd name="connsiteX183" fmla="*/ 49477 w 261304"/>
                    <a:gd name="connsiteY183" fmla="*/ 476441 h 487761"/>
                    <a:gd name="connsiteX184" fmla="*/ 47146 w 261304"/>
                    <a:gd name="connsiteY184" fmla="*/ 469465 h 487761"/>
                    <a:gd name="connsiteX185" fmla="*/ 44750 w 261304"/>
                    <a:gd name="connsiteY185" fmla="*/ 462285 h 487761"/>
                    <a:gd name="connsiteX186" fmla="*/ 41368 w 261304"/>
                    <a:gd name="connsiteY186" fmla="*/ 455211 h 487761"/>
                    <a:gd name="connsiteX187" fmla="*/ 37693 w 261304"/>
                    <a:gd name="connsiteY187" fmla="*/ 450697 h 487761"/>
                    <a:gd name="connsiteX188" fmla="*/ 35036 w 261304"/>
                    <a:gd name="connsiteY188" fmla="*/ 447942 h 487761"/>
                    <a:gd name="connsiteX189" fmla="*/ 34180 w 261304"/>
                    <a:gd name="connsiteY189" fmla="*/ 447591 h 487761"/>
                    <a:gd name="connsiteX190" fmla="*/ 32811 w 261304"/>
                    <a:gd name="connsiteY190" fmla="*/ 446728 h 487761"/>
                    <a:gd name="connsiteX191" fmla="*/ 31865 w 261304"/>
                    <a:gd name="connsiteY191" fmla="*/ 445929 h 487761"/>
                    <a:gd name="connsiteX192" fmla="*/ 26984 w 261304"/>
                    <a:gd name="connsiteY192" fmla="*/ 441121 h 487761"/>
                    <a:gd name="connsiteX193" fmla="*/ 21923 w 261304"/>
                    <a:gd name="connsiteY193" fmla="*/ 435750 h 487761"/>
                    <a:gd name="connsiteX194" fmla="*/ 20635 w 261304"/>
                    <a:gd name="connsiteY194" fmla="*/ 433297 h 487761"/>
                    <a:gd name="connsiteX195" fmla="*/ 18092 w 261304"/>
                    <a:gd name="connsiteY195" fmla="*/ 429630 h 487761"/>
                    <a:gd name="connsiteX196" fmla="*/ 15272 w 261304"/>
                    <a:gd name="connsiteY196" fmla="*/ 425856 h 487761"/>
                    <a:gd name="connsiteX197" fmla="*/ 13805 w 261304"/>
                    <a:gd name="connsiteY197" fmla="*/ 424137 h 487761"/>
                    <a:gd name="connsiteX198" fmla="*/ 13121 w 261304"/>
                    <a:gd name="connsiteY198" fmla="*/ 421040 h 487761"/>
                    <a:gd name="connsiteX199" fmla="*/ 15069 w 261304"/>
                    <a:gd name="connsiteY199" fmla="*/ 418236 h 487761"/>
                    <a:gd name="connsiteX200" fmla="*/ 17155 w 261304"/>
                    <a:gd name="connsiteY200" fmla="*/ 414691 h 487761"/>
                    <a:gd name="connsiteX201" fmla="*/ 19714 w 261304"/>
                    <a:gd name="connsiteY201" fmla="*/ 412344 h 487761"/>
                    <a:gd name="connsiteX202" fmla="*/ 23039 w 261304"/>
                    <a:gd name="connsiteY202" fmla="*/ 412181 h 487761"/>
                    <a:gd name="connsiteX203" fmla="*/ 28508 w 261304"/>
                    <a:gd name="connsiteY203" fmla="*/ 413151 h 487761"/>
                    <a:gd name="connsiteX204" fmla="*/ 34416 w 261304"/>
                    <a:gd name="connsiteY204" fmla="*/ 413493 h 487761"/>
                    <a:gd name="connsiteX205" fmla="*/ 40260 w 261304"/>
                    <a:gd name="connsiteY205" fmla="*/ 412760 h 487761"/>
                    <a:gd name="connsiteX206" fmla="*/ 41775 w 261304"/>
                    <a:gd name="connsiteY206" fmla="*/ 412254 h 487761"/>
                    <a:gd name="connsiteX207" fmla="*/ 43275 w 261304"/>
                    <a:gd name="connsiteY207" fmla="*/ 412287 h 487761"/>
                    <a:gd name="connsiteX208" fmla="*/ 46429 w 261304"/>
                    <a:gd name="connsiteY208" fmla="*/ 413110 h 487761"/>
                    <a:gd name="connsiteX209" fmla="*/ 51914 w 261304"/>
                    <a:gd name="connsiteY209" fmla="*/ 412939 h 487761"/>
                    <a:gd name="connsiteX210" fmla="*/ 54725 w 261304"/>
                    <a:gd name="connsiteY210" fmla="*/ 411496 h 487761"/>
                    <a:gd name="connsiteX211" fmla="*/ 51677 w 261304"/>
                    <a:gd name="connsiteY211" fmla="*/ 409059 h 487761"/>
                    <a:gd name="connsiteX212" fmla="*/ 48409 w 261304"/>
                    <a:gd name="connsiteY212" fmla="*/ 405188 h 487761"/>
                    <a:gd name="connsiteX213" fmla="*/ 45329 w 261304"/>
                    <a:gd name="connsiteY213" fmla="*/ 400951 h 487761"/>
                    <a:gd name="connsiteX214" fmla="*/ 43471 w 261304"/>
                    <a:gd name="connsiteY214" fmla="*/ 397112 h 487761"/>
                    <a:gd name="connsiteX215" fmla="*/ 41759 w 261304"/>
                    <a:gd name="connsiteY215" fmla="*/ 392165 h 487761"/>
                    <a:gd name="connsiteX216" fmla="*/ 40186 w 261304"/>
                    <a:gd name="connsiteY216" fmla="*/ 386037 h 487761"/>
                    <a:gd name="connsiteX217" fmla="*/ 39225 w 261304"/>
                    <a:gd name="connsiteY217" fmla="*/ 378107 h 487761"/>
                    <a:gd name="connsiteX218" fmla="*/ 39371 w 261304"/>
                    <a:gd name="connsiteY218" fmla="*/ 373608 h 487761"/>
                    <a:gd name="connsiteX219" fmla="*/ 39868 w 261304"/>
                    <a:gd name="connsiteY219" fmla="*/ 370405 h 487761"/>
                    <a:gd name="connsiteX220" fmla="*/ 41515 w 261304"/>
                    <a:gd name="connsiteY220" fmla="*/ 365181 h 487761"/>
                    <a:gd name="connsiteX221" fmla="*/ 40414 w 261304"/>
                    <a:gd name="connsiteY221" fmla="*/ 362117 h 487761"/>
                    <a:gd name="connsiteX222" fmla="*/ 40667 w 261304"/>
                    <a:gd name="connsiteY222" fmla="*/ 359640 h 487761"/>
                    <a:gd name="connsiteX223" fmla="*/ 40504 w 261304"/>
                    <a:gd name="connsiteY223" fmla="*/ 355972 h 487761"/>
                    <a:gd name="connsiteX224" fmla="*/ 39974 w 261304"/>
                    <a:gd name="connsiteY224" fmla="*/ 354106 h 487761"/>
                    <a:gd name="connsiteX225" fmla="*/ 37839 w 261304"/>
                    <a:gd name="connsiteY225" fmla="*/ 348026 h 487761"/>
                    <a:gd name="connsiteX226" fmla="*/ 37415 w 261304"/>
                    <a:gd name="connsiteY226" fmla="*/ 347350 h 487761"/>
                    <a:gd name="connsiteX227" fmla="*/ 35525 w 261304"/>
                    <a:gd name="connsiteY227" fmla="*/ 343145 h 487761"/>
                    <a:gd name="connsiteX228" fmla="*/ 34693 w 261304"/>
                    <a:gd name="connsiteY228" fmla="*/ 336095 h 487761"/>
                    <a:gd name="connsiteX229" fmla="*/ 32566 w 261304"/>
                    <a:gd name="connsiteY229" fmla="*/ 331442 h 487761"/>
                    <a:gd name="connsiteX230" fmla="*/ 29135 w 261304"/>
                    <a:gd name="connsiteY230" fmla="*/ 329192 h 487761"/>
                    <a:gd name="connsiteX231" fmla="*/ 27195 w 261304"/>
                    <a:gd name="connsiteY231" fmla="*/ 326446 h 487761"/>
                    <a:gd name="connsiteX232" fmla="*/ 26478 w 261304"/>
                    <a:gd name="connsiteY232" fmla="*/ 321613 h 487761"/>
                    <a:gd name="connsiteX233" fmla="*/ 25134 w 261304"/>
                    <a:gd name="connsiteY233" fmla="*/ 320342 h 487761"/>
                    <a:gd name="connsiteX234" fmla="*/ 19755 w 261304"/>
                    <a:gd name="connsiteY234" fmla="*/ 318655 h 487761"/>
                    <a:gd name="connsiteX235" fmla="*/ 15264 w 261304"/>
                    <a:gd name="connsiteY235" fmla="*/ 318622 h 487761"/>
                    <a:gd name="connsiteX236" fmla="*/ 12004 w 261304"/>
                    <a:gd name="connsiteY236" fmla="*/ 313153 h 487761"/>
                    <a:gd name="connsiteX237" fmla="*/ 7815 w 261304"/>
                    <a:gd name="connsiteY237" fmla="*/ 306145 h 487761"/>
                    <a:gd name="connsiteX238" fmla="*/ 3920 w 261304"/>
                    <a:gd name="connsiteY238" fmla="*/ 299617 h 487761"/>
                    <a:gd name="connsiteX239" fmla="*/ 1426 w 261304"/>
                    <a:gd name="connsiteY239" fmla="*/ 286561 h 487761"/>
                    <a:gd name="connsiteX240" fmla="*/ 0 w 261304"/>
                    <a:gd name="connsiteY240" fmla="*/ 279071 h 487761"/>
                    <a:gd name="connsiteX241" fmla="*/ 1630 w 261304"/>
                    <a:gd name="connsiteY241" fmla="*/ 276797 h 487761"/>
                    <a:gd name="connsiteX242" fmla="*/ 4808 w 261304"/>
                    <a:gd name="connsiteY242" fmla="*/ 271459 h 487761"/>
                    <a:gd name="connsiteX243" fmla="*/ 8907 w 261304"/>
                    <a:gd name="connsiteY243" fmla="*/ 261256 h 487761"/>
                    <a:gd name="connsiteX244" fmla="*/ 18101 w 261304"/>
                    <a:gd name="connsiteY244" fmla="*/ 245446 h 487761"/>
                    <a:gd name="connsiteX245" fmla="*/ 22811 w 261304"/>
                    <a:gd name="connsiteY245" fmla="*/ 237353 h 487761"/>
                    <a:gd name="connsiteX246" fmla="*/ 32207 w 261304"/>
                    <a:gd name="connsiteY246" fmla="*/ 225251 h 487761"/>
                    <a:gd name="connsiteX247" fmla="*/ 43748 w 261304"/>
                    <a:gd name="connsiteY247" fmla="*/ 210361 h 487761"/>
                    <a:gd name="connsiteX248" fmla="*/ 50251 w 261304"/>
                    <a:gd name="connsiteY248" fmla="*/ 201967 h 487761"/>
                    <a:gd name="connsiteX249" fmla="*/ 51294 w 261304"/>
                    <a:gd name="connsiteY249" fmla="*/ 186645 h 487761"/>
                    <a:gd name="connsiteX250" fmla="*/ 52419 w 261304"/>
                    <a:gd name="connsiteY250" fmla="*/ 170435 h 487761"/>
                    <a:gd name="connsiteX251" fmla="*/ 53267 w 261304"/>
                    <a:gd name="connsiteY251" fmla="*/ 158154 h 487761"/>
                    <a:gd name="connsiteX252" fmla="*/ 54301 w 261304"/>
                    <a:gd name="connsiteY252" fmla="*/ 143598 h 487761"/>
                    <a:gd name="connsiteX253" fmla="*/ 55182 w 261304"/>
                    <a:gd name="connsiteY253" fmla="*/ 131406 h 487761"/>
                    <a:gd name="connsiteX254" fmla="*/ 55809 w 261304"/>
                    <a:gd name="connsiteY254" fmla="*/ 122523 h 487761"/>
                    <a:gd name="connsiteX255" fmla="*/ 56722 w 261304"/>
                    <a:gd name="connsiteY255" fmla="*/ 109915 h 487761"/>
                    <a:gd name="connsiteX256" fmla="*/ 57488 w 261304"/>
                    <a:gd name="connsiteY256" fmla="*/ 107487 h 487761"/>
                    <a:gd name="connsiteX257" fmla="*/ 62027 w 261304"/>
                    <a:gd name="connsiteY257" fmla="*/ 97585 h 487761"/>
                    <a:gd name="connsiteX258" fmla="*/ 62370 w 261304"/>
                    <a:gd name="connsiteY258" fmla="*/ 96257 h 487761"/>
                    <a:gd name="connsiteX259" fmla="*/ 61530 w 261304"/>
                    <a:gd name="connsiteY259" fmla="*/ 94602 h 487761"/>
                    <a:gd name="connsiteX260" fmla="*/ 55067 w 261304"/>
                    <a:gd name="connsiteY260" fmla="*/ 86167 h 487761"/>
                    <a:gd name="connsiteX261" fmla="*/ 53046 w 261304"/>
                    <a:gd name="connsiteY261" fmla="*/ 84285 h 487761"/>
                    <a:gd name="connsiteX262" fmla="*/ 51897 w 261304"/>
                    <a:gd name="connsiteY262" fmla="*/ 79908 h 487761"/>
                    <a:gd name="connsiteX263" fmla="*/ 53560 w 261304"/>
                    <a:gd name="connsiteY263" fmla="*/ 77447 h 487761"/>
                    <a:gd name="connsiteX264" fmla="*/ 45769 w 261304"/>
                    <a:gd name="connsiteY264" fmla="*/ 63275 h 487761"/>
                    <a:gd name="connsiteX265" fmla="*/ 43829 w 261304"/>
                    <a:gd name="connsiteY265" fmla="*/ 61547 h 487761"/>
                    <a:gd name="connsiteX266" fmla="*/ 42998 w 261304"/>
                    <a:gd name="connsiteY266" fmla="*/ 59811 h 487761"/>
                    <a:gd name="connsiteX267" fmla="*/ 42900 w 261304"/>
                    <a:gd name="connsiteY267" fmla="*/ 57252 h 487761"/>
                    <a:gd name="connsiteX268" fmla="*/ 42762 w 261304"/>
                    <a:gd name="connsiteY268" fmla="*/ 47432 h 487761"/>
                    <a:gd name="connsiteX269" fmla="*/ 40699 w 261304"/>
                    <a:gd name="connsiteY269" fmla="*/ 32004 h 487761"/>
                    <a:gd name="connsiteX270" fmla="*/ 37970 w 261304"/>
                    <a:gd name="connsiteY270" fmla="*/ 14009 h 487761"/>
                    <a:gd name="connsiteX271" fmla="*/ 47105 w 261304"/>
                    <a:gd name="connsiteY271" fmla="*/ 8875 h 487761"/>
                    <a:gd name="connsiteX272" fmla="*/ 54041 w 261304"/>
                    <a:gd name="connsiteY272" fmla="*/ 4979 h 487761"/>
                    <a:gd name="connsiteX273" fmla="*/ 62891 w 261304"/>
                    <a:gd name="connsiteY273" fmla="*/ 0 h 487761"/>
                    <a:gd name="connsiteX274" fmla="*/ 71106 w 261304"/>
                    <a:gd name="connsiteY274" fmla="*/ 5102 h 487761"/>
                    <a:gd name="connsiteX275" fmla="*/ 82981 w 261304"/>
                    <a:gd name="connsiteY275" fmla="*/ 12477 h 487761"/>
                    <a:gd name="connsiteX276" fmla="*/ 94871 w 261304"/>
                    <a:gd name="connsiteY276" fmla="*/ 19853 h 487761"/>
                    <a:gd name="connsiteX277" fmla="*/ 106753 w 261304"/>
                    <a:gd name="connsiteY277" fmla="*/ 27220 h 487761"/>
                    <a:gd name="connsiteX278" fmla="*/ 118627 w 261304"/>
                    <a:gd name="connsiteY278" fmla="*/ 34587 h 487761"/>
                    <a:gd name="connsiteX279" fmla="*/ 130510 w 261304"/>
                    <a:gd name="connsiteY279" fmla="*/ 41938 h 487761"/>
                    <a:gd name="connsiteX280" fmla="*/ 142392 w 261304"/>
                    <a:gd name="connsiteY280" fmla="*/ 49290 h 487761"/>
                    <a:gd name="connsiteX281" fmla="*/ 154274 w 261304"/>
                    <a:gd name="connsiteY281" fmla="*/ 56633 h 487761"/>
                    <a:gd name="connsiteX282" fmla="*/ 166165 w 261304"/>
                    <a:gd name="connsiteY282" fmla="*/ 63967 h 487761"/>
                    <a:gd name="connsiteX283" fmla="*/ 178047 w 261304"/>
                    <a:gd name="connsiteY283" fmla="*/ 71310 h 487761"/>
                    <a:gd name="connsiteX284" fmla="*/ 189921 w 261304"/>
                    <a:gd name="connsiteY284" fmla="*/ 78637 h 487761"/>
                    <a:gd name="connsiteX285" fmla="*/ 201803 w 261304"/>
                    <a:gd name="connsiteY285" fmla="*/ 85955 h 487761"/>
                    <a:gd name="connsiteX286" fmla="*/ 213686 w 261304"/>
                    <a:gd name="connsiteY286" fmla="*/ 93274 h 487761"/>
                    <a:gd name="connsiteX287" fmla="*/ 225568 w 261304"/>
                    <a:gd name="connsiteY287" fmla="*/ 100576 h 487761"/>
                    <a:gd name="connsiteX288" fmla="*/ 237458 w 261304"/>
                    <a:gd name="connsiteY288" fmla="*/ 107886 h 487761"/>
                    <a:gd name="connsiteX289" fmla="*/ 249341 w 261304"/>
                    <a:gd name="connsiteY289" fmla="*/ 115188 h 487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Lst>
                  <a:rect l="l" t="t" r="r" b="b"/>
                  <a:pathLst>
                    <a:path w="261304" h="487761">
                      <a:moveTo>
                        <a:pt x="261215" y="122474"/>
                      </a:moveTo>
                      <a:lnTo>
                        <a:pt x="261231" y="136215"/>
                      </a:lnTo>
                      <a:lnTo>
                        <a:pt x="261240" y="149939"/>
                      </a:lnTo>
                      <a:lnTo>
                        <a:pt x="261248" y="163647"/>
                      </a:lnTo>
                      <a:lnTo>
                        <a:pt x="261256" y="177330"/>
                      </a:lnTo>
                      <a:lnTo>
                        <a:pt x="261272" y="191005"/>
                      </a:lnTo>
                      <a:lnTo>
                        <a:pt x="261280" y="204656"/>
                      </a:lnTo>
                      <a:lnTo>
                        <a:pt x="261288" y="218291"/>
                      </a:lnTo>
                      <a:lnTo>
                        <a:pt x="261297" y="231917"/>
                      </a:lnTo>
                      <a:lnTo>
                        <a:pt x="261305" y="236432"/>
                      </a:lnTo>
                      <a:lnTo>
                        <a:pt x="260979" y="238225"/>
                      </a:lnTo>
                      <a:lnTo>
                        <a:pt x="260840" y="238469"/>
                      </a:lnTo>
                      <a:lnTo>
                        <a:pt x="260368" y="238771"/>
                      </a:lnTo>
                      <a:lnTo>
                        <a:pt x="254475" y="237508"/>
                      </a:lnTo>
                      <a:lnTo>
                        <a:pt x="251892" y="237475"/>
                      </a:lnTo>
                      <a:lnTo>
                        <a:pt x="248257" y="238453"/>
                      </a:lnTo>
                      <a:lnTo>
                        <a:pt x="242951" y="238966"/>
                      </a:lnTo>
                      <a:lnTo>
                        <a:pt x="239512" y="238803"/>
                      </a:lnTo>
                      <a:lnTo>
                        <a:pt x="237133" y="241142"/>
                      </a:lnTo>
                      <a:lnTo>
                        <a:pt x="235266" y="243970"/>
                      </a:lnTo>
                      <a:lnTo>
                        <a:pt x="236155" y="250735"/>
                      </a:lnTo>
                      <a:lnTo>
                        <a:pt x="235951" y="252960"/>
                      </a:lnTo>
                      <a:lnTo>
                        <a:pt x="235226" y="255274"/>
                      </a:lnTo>
                      <a:lnTo>
                        <a:pt x="233612" y="257271"/>
                      </a:lnTo>
                      <a:lnTo>
                        <a:pt x="231998" y="258868"/>
                      </a:lnTo>
                      <a:lnTo>
                        <a:pt x="231037" y="260262"/>
                      </a:lnTo>
                      <a:lnTo>
                        <a:pt x="229838" y="263318"/>
                      </a:lnTo>
                      <a:lnTo>
                        <a:pt x="228950" y="264736"/>
                      </a:lnTo>
                      <a:lnTo>
                        <a:pt x="229032" y="266651"/>
                      </a:lnTo>
                      <a:lnTo>
                        <a:pt x="228747" y="268664"/>
                      </a:lnTo>
                      <a:lnTo>
                        <a:pt x="227777" y="269715"/>
                      </a:lnTo>
                      <a:lnTo>
                        <a:pt x="225299" y="270490"/>
                      </a:lnTo>
                      <a:lnTo>
                        <a:pt x="223710" y="271378"/>
                      </a:lnTo>
                      <a:lnTo>
                        <a:pt x="222422" y="272845"/>
                      </a:lnTo>
                      <a:lnTo>
                        <a:pt x="221567" y="273904"/>
                      </a:lnTo>
                      <a:lnTo>
                        <a:pt x="222015" y="275306"/>
                      </a:lnTo>
                      <a:lnTo>
                        <a:pt x="222642" y="277229"/>
                      </a:lnTo>
                      <a:lnTo>
                        <a:pt x="223001" y="280237"/>
                      </a:lnTo>
                      <a:lnTo>
                        <a:pt x="223246" y="282005"/>
                      </a:lnTo>
                      <a:lnTo>
                        <a:pt x="224460" y="283432"/>
                      </a:lnTo>
                      <a:lnTo>
                        <a:pt x="225202" y="284458"/>
                      </a:lnTo>
                      <a:lnTo>
                        <a:pt x="225462" y="285721"/>
                      </a:lnTo>
                      <a:lnTo>
                        <a:pt x="224753" y="286765"/>
                      </a:lnTo>
                      <a:lnTo>
                        <a:pt x="221730" y="288957"/>
                      </a:lnTo>
                      <a:lnTo>
                        <a:pt x="220515" y="289764"/>
                      </a:lnTo>
                      <a:lnTo>
                        <a:pt x="219138" y="290872"/>
                      </a:lnTo>
                      <a:lnTo>
                        <a:pt x="218608" y="291288"/>
                      </a:lnTo>
                      <a:lnTo>
                        <a:pt x="216392" y="293358"/>
                      </a:lnTo>
                      <a:lnTo>
                        <a:pt x="215283" y="295192"/>
                      </a:lnTo>
                      <a:lnTo>
                        <a:pt x="214737" y="296724"/>
                      </a:lnTo>
                      <a:lnTo>
                        <a:pt x="214770" y="298843"/>
                      </a:lnTo>
                      <a:lnTo>
                        <a:pt x="215894" y="301988"/>
                      </a:lnTo>
                      <a:lnTo>
                        <a:pt x="217125" y="304670"/>
                      </a:lnTo>
                      <a:lnTo>
                        <a:pt x="217598" y="306691"/>
                      </a:lnTo>
                      <a:lnTo>
                        <a:pt x="217875" y="308899"/>
                      </a:lnTo>
                      <a:lnTo>
                        <a:pt x="217761" y="311002"/>
                      </a:lnTo>
                      <a:lnTo>
                        <a:pt x="217133" y="312836"/>
                      </a:lnTo>
                      <a:lnTo>
                        <a:pt x="216017" y="314482"/>
                      </a:lnTo>
                      <a:lnTo>
                        <a:pt x="211869" y="317571"/>
                      </a:lnTo>
                      <a:lnTo>
                        <a:pt x="209815" y="320969"/>
                      </a:lnTo>
                      <a:lnTo>
                        <a:pt x="208177" y="325101"/>
                      </a:lnTo>
                      <a:lnTo>
                        <a:pt x="207769" y="327358"/>
                      </a:lnTo>
                      <a:lnTo>
                        <a:pt x="208218" y="328850"/>
                      </a:lnTo>
                      <a:lnTo>
                        <a:pt x="209081" y="330113"/>
                      </a:lnTo>
                      <a:lnTo>
                        <a:pt x="210320" y="330765"/>
                      </a:lnTo>
                      <a:lnTo>
                        <a:pt x="212121" y="330953"/>
                      </a:lnTo>
                      <a:lnTo>
                        <a:pt x="215112" y="330260"/>
                      </a:lnTo>
                      <a:lnTo>
                        <a:pt x="217891" y="329803"/>
                      </a:lnTo>
                      <a:lnTo>
                        <a:pt x="220841" y="331295"/>
                      </a:lnTo>
                      <a:lnTo>
                        <a:pt x="222382" y="334750"/>
                      </a:lnTo>
                      <a:lnTo>
                        <a:pt x="221778" y="337277"/>
                      </a:lnTo>
                      <a:lnTo>
                        <a:pt x="222903" y="341857"/>
                      </a:lnTo>
                      <a:lnTo>
                        <a:pt x="223897" y="347391"/>
                      </a:lnTo>
                      <a:lnTo>
                        <a:pt x="223816" y="349249"/>
                      </a:lnTo>
                      <a:lnTo>
                        <a:pt x="224256" y="349950"/>
                      </a:lnTo>
                      <a:lnTo>
                        <a:pt x="226098" y="350300"/>
                      </a:lnTo>
                      <a:lnTo>
                        <a:pt x="226505" y="351596"/>
                      </a:lnTo>
                      <a:lnTo>
                        <a:pt x="225902" y="361294"/>
                      </a:lnTo>
                      <a:lnTo>
                        <a:pt x="226766" y="364008"/>
                      </a:lnTo>
                      <a:lnTo>
                        <a:pt x="228005" y="365948"/>
                      </a:lnTo>
                      <a:lnTo>
                        <a:pt x="229399" y="366950"/>
                      </a:lnTo>
                      <a:lnTo>
                        <a:pt x="230808" y="368246"/>
                      </a:lnTo>
                      <a:lnTo>
                        <a:pt x="231534" y="369150"/>
                      </a:lnTo>
                      <a:lnTo>
                        <a:pt x="233164" y="369354"/>
                      </a:lnTo>
                      <a:lnTo>
                        <a:pt x="234981" y="371114"/>
                      </a:lnTo>
                      <a:lnTo>
                        <a:pt x="235486" y="373470"/>
                      </a:lnTo>
                      <a:lnTo>
                        <a:pt x="235348" y="375735"/>
                      </a:lnTo>
                      <a:lnTo>
                        <a:pt x="234288" y="380666"/>
                      </a:lnTo>
                      <a:lnTo>
                        <a:pt x="233433" y="383967"/>
                      </a:lnTo>
                      <a:lnTo>
                        <a:pt x="232373" y="383738"/>
                      </a:lnTo>
                      <a:lnTo>
                        <a:pt x="230214" y="382931"/>
                      </a:lnTo>
                      <a:lnTo>
                        <a:pt x="227581" y="382231"/>
                      </a:lnTo>
                      <a:lnTo>
                        <a:pt x="224354" y="381660"/>
                      </a:lnTo>
                      <a:lnTo>
                        <a:pt x="221281" y="383005"/>
                      </a:lnTo>
                      <a:lnTo>
                        <a:pt x="217956" y="384741"/>
                      </a:lnTo>
                      <a:lnTo>
                        <a:pt x="216905" y="386037"/>
                      </a:lnTo>
                      <a:lnTo>
                        <a:pt x="215976" y="386794"/>
                      </a:lnTo>
                      <a:lnTo>
                        <a:pt x="214517" y="386672"/>
                      </a:lnTo>
                      <a:lnTo>
                        <a:pt x="213180" y="386900"/>
                      </a:lnTo>
                      <a:lnTo>
                        <a:pt x="212447" y="388131"/>
                      </a:lnTo>
                      <a:lnTo>
                        <a:pt x="211225" y="389500"/>
                      </a:lnTo>
                      <a:lnTo>
                        <a:pt x="206432" y="392328"/>
                      </a:lnTo>
                      <a:lnTo>
                        <a:pt x="205430" y="393363"/>
                      </a:lnTo>
                      <a:lnTo>
                        <a:pt x="204819" y="394382"/>
                      </a:lnTo>
                      <a:lnTo>
                        <a:pt x="204819" y="395498"/>
                      </a:lnTo>
                      <a:lnTo>
                        <a:pt x="205316" y="397805"/>
                      </a:lnTo>
                      <a:lnTo>
                        <a:pt x="205308" y="400673"/>
                      </a:lnTo>
                      <a:lnTo>
                        <a:pt x="204240" y="402988"/>
                      </a:lnTo>
                      <a:lnTo>
                        <a:pt x="203002" y="404545"/>
                      </a:lnTo>
                      <a:lnTo>
                        <a:pt x="201584" y="405140"/>
                      </a:lnTo>
                      <a:lnTo>
                        <a:pt x="200394" y="405466"/>
                      </a:lnTo>
                      <a:lnTo>
                        <a:pt x="199628" y="406435"/>
                      </a:lnTo>
                      <a:lnTo>
                        <a:pt x="197126" y="411692"/>
                      </a:lnTo>
                      <a:lnTo>
                        <a:pt x="196042" y="412662"/>
                      </a:lnTo>
                      <a:lnTo>
                        <a:pt x="193841" y="412499"/>
                      </a:lnTo>
                      <a:lnTo>
                        <a:pt x="187533" y="420388"/>
                      </a:lnTo>
                      <a:lnTo>
                        <a:pt x="186906" y="422702"/>
                      </a:lnTo>
                      <a:lnTo>
                        <a:pt x="184600" y="425995"/>
                      </a:lnTo>
                      <a:lnTo>
                        <a:pt x="181674" y="429654"/>
                      </a:lnTo>
                      <a:lnTo>
                        <a:pt x="179074" y="431422"/>
                      </a:lnTo>
                      <a:lnTo>
                        <a:pt x="178862" y="432107"/>
                      </a:lnTo>
                      <a:lnTo>
                        <a:pt x="178161" y="432800"/>
                      </a:lnTo>
                      <a:lnTo>
                        <a:pt x="176564" y="433598"/>
                      </a:lnTo>
                      <a:lnTo>
                        <a:pt x="170989" y="438048"/>
                      </a:lnTo>
                      <a:lnTo>
                        <a:pt x="164298" y="437869"/>
                      </a:lnTo>
                      <a:lnTo>
                        <a:pt x="161340" y="439613"/>
                      </a:lnTo>
                      <a:lnTo>
                        <a:pt x="158472" y="440395"/>
                      </a:lnTo>
                      <a:lnTo>
                        <a:pt x="154274" y="441251"/>
                      </a:lnTo>
                      <a:lnTo>
                        <a:pt x="153003" y="441169"/>
                      </a:lnTo>
                      <a:lnTo>
                        <a:pt x="147632" y="441528"/>
                      </a:lnTo>
                      <a:lnTo>
                        <a:pt x="141300" y="441398"/>
                      </a:lnTo>
                      <a:lnTo>
                        <a:pt x="138879" y="442025"/>
                      </a:lnTo>
                      <a:lnTo>
                        <a:pt x="136606" y="443720"/>
                      </a:lnTo>
                      <a:lnTo>
                        <a:pt x="134927" y="445203"/>
                      </a:lnTo>
                      <a:lnTo>
                        <a:pt x="134674" y="445701"/>
                      </a:lnTo>
                      <a:lnTo>
                        <a:pt x="134935" y="446320"/>
                      </a:lnTo>
                      <a:lnTo>
                        <a:pt x="134870" y="446817"/>
                      </a:lnTo>
                      <a:lnTo>
                        <a:pt x="139287" y="450452"/>
                      </a:lnTo>
                      <a:lnTo>
                        <a:pt x="140395" y="452229"/>
                      </a:lnTo>
                      <a:lnTo>
                        <a:pt x="139279" y="453965"/>
                      </a:lnTo>
                      <a:lnTo>
                        <a:pt x="138749" y="454217"/>
                      </a:lnTo>
                      <a:lnTo>
                        <a:pt x="138684" y="454323"/>
                      </a:lnTo>
                      <a:lnTo>
                        <a:pt x="137959" y="455701"/>
                      </a:lnTo>
                      <a:lnTo>
                        <a:pt x="135375" y="459800"/>
                      </a:lnTo>
                      <a:lnTo>
                        <a:pt x="131430" y="464649"/>
                      </a:lnTo>
                      <a:lnTo>
                        <a:pt x="129409" y="466034"/>
                      </a:lnTo>
                      <a:lnTo>
                        <a:pt x="128611" y="466939"/>
                      </a:lnTo>
                      <a:lnTo>
                        <a:pt x="127567" y="470150"/>
                      </a:lnTo>
                      <a:lnTo>
                        <a:pt x="126883" y="470598"/>
                      </a:lnTo>
                      <a:lnTo>
                        <a:pt x="124185" y="471022"/>
                      </a:lnTo>
                      <a:lnTo>
                        <a:pt x="118823" y="471364"/>
                      </a:lnTo>
                      <a:lnTo>
                        <a:pt x="111407" y="472424"/>
                      </a:lnTo>
                      <a:lnTo>
                        <a:pt x="106965" y="472774"/>
                      </a:lnTo>
                      <a:lnTo>
                        <a:pt x="104211" y="472481"/>
                      </a:lnTo>
                      <a:lnTo>
                        <a:pt x="100307" y="474698"/>
                      </a:lnTo>
                      <a:lnTo>
                        <a:pt x="98913" y="475268"/>
                      </a:lnTo>
                      <a:lnTo>
                        <a:pt x="98074" y="475455"/>
                      </a:lnTo>
                      <a:lnTo>
                        <a:pt x="94219" y="477615"/>
                      </a:lnTo>
                      <a:lnTo>
                        <a:pt x="91016" y="480948"/>
                      </a:lnTo>
                      <a:lnTo>
                        <a:pt x="89875" y="481584"/>
                      </a:lnTo>
                      <a:lnTo>
                        <a:pt x="85368" y="483002"/>
                      </a:lnTo>
                      <a:lnTo>
                        <a:pt x="83584" y="485300"/>
                      </a:lnTo>
                      <a:lnTo>
                        <a:pt x="82752" y="485488"/>
                      </a:lnTo>
                      <a:lnTo>
                        <a:pt x="79867" y="482456"/>
                      </a:lnTo>
                      <a:lnTo>
                        <a:pt x="77895" y="479701"/>
                      </a:lnTo>
                      <a:lnTo>
                        <a:pt x="76933" y="476922"/>
                      </a:lnTo>
                      <a:lnTo>
                        <a:pt x="76811" y="476034"/>
                      </a:lnTo>
                      <a:lnTo>
                        <a:pt x="76265" y="476197"/>
                      </a:lnTo>
                      <a:lnTo>
                        <a:pt x="74684" y="477428"/>
                      </a:lnTo>
                      <a:lnTo>
                        <a:pt x="73323" y="478838"/>
                      </a:lnTo>
                      <a:lnTo>
                        <a:pt x="72688" y="481502"/>
                      </a:lnTo>
                      <a:lnTo>
                        <a:pt x="68026" y="483312"/>
                      </a:lnTo>
                      <a:lnTo>
                        <a:pt x="64049" y="484852"/>
                      </a:lnTo>
                      <a:lnTo>
                        <a:pt x="62231" y="486800"/>
                      </a:lnTo>
                      <a:lnTo>
                        <a:pt x="59444" y="487762"/>
                      </a:lnTo>
                      <a:lnTo>
                        <a:pt x="55883" y="487370"/>
                      </a:lnTo>
                      <a:lnTo>
                        <a:pt x="53095" y="486572"/>
                      </a:lnTo>
                      <a:lnTo>
                        <a:pt x="50398" y="486311"/>
                      </a:lnTo>
                      <a:lnTo>
                        <a:pt x="51693" y="483882"/>
                      </a:lnTo>
                      <a:lnTo>
                        <a:pt x="52191" y="482081"/>
                      </a:lnTo>
                      <a:lnTo>
                        <a:pt x="52313" y="479864"/>
                      </a:lnTo>
                      <a:lnTo>
                        <a:pt x="52117" y="478365"/>
                      </a:lnTo>
                      <a:lnTo>
                        <a:pt x="50504" y="477615"/>
                      </a:lnTo>
                      <a:lnTo>
                        <a:pt x="49477" y="476441"/>
                      </a:lnTo>
                      <a:lnTo>
                        <a:pt x="47146" y="469465"/>
                      </a:lnTo>
                      <a:lnTo>
                        <a:pt x="44750" y="462285"/>
                      </a:lnTo>
                      <a:lnTo>
                        <a:pt x="41368" y="455211"/>
                      </a:lnTo>
                      <a:lnTo>
                        <a:pt x="37693" y="450697"/>
                      </a:lnTo>
                      <a:lnTo>
                        <a:pt x="35036" y="447942"/>
                      </a:lnTo>
                      <a:lnTo>
                        <a:pt x="34180" y="447591"/>
                      </a:lnTo>
                      <a:lnTo>
                        <a:pt x="32811" y="446728"/>
                      </a:lnTo>
                      <a:lnTo>
                        <a:pt x="31865" y="445929"/>
                      </a:lnTo>
                      <a:lnTo>
                        <a:pt x="26984" y="441121"/>
                      </a:lnTo>
                      <a:lnTo>
                        <a:pt x="21923" y="435750"/>
                      </a:lnTo>
                      <a:lnTo>
                        <a:pt x="20635" y="433297"/>
                      </a:lnTo>
                      <a:lnTo>
                        <a:pt x="18092" y="429630"/>
                      </a:lnTo>
                      <a:lnTo>
                        <a:pt x="15272" y="425856"/>
                      </a:lnTo>
                      <a:lnTo>
                        <a:pt x="13805" y="424137"/>
                      </a:lnTo>
                      <a:lnTo>
                        <a:pt x="13121" y="421040"/>
                      </a:lnTo>
                      <a:lnTo>
                        <a:pt x="15069" y="418236"/>
                      </a:lnTo>
                      <a:lnTo>
                        <a:pt x="17155" y="414691"/>
                      </a:lnTo>
                      <a:lnTo>
                        <a:pt x="19714" y="412344"/>
                      </a:lnTo>
                      <a:lnTo>
                        <a:pt x="23039" y="412181"/>
                      </a:lnTo>
                      <a:lnTo>
                        <a:pt x="28508" y="413151"/>
                      </a:lnTo>
                      <a:lnTo>
                        <a:pt x="34416" y="413493"/>
                      </a:lnTo>
                      <a:lnTo>
                        <a:pt x="40260" y="412760"/>
                      </a:lnTo>
                      <a:lnTo>
                        <a:pt x="41775" y="412254"/>
                      </a:lnTo>
                      <a:lnTo>
                        <a:pt x="43275" y="412287"/>
                      </a:lnTo>
                      <a:lnTo>
                        <a:pt x="46429" y="413110"/>
                      </a:lnTo>
                      <a:lnTo>
                        <a:pt x="51914" y="412939"/>
                      </a:lnTo>
                      <a:lnTo>
                        <a:pt x="54725" y="411496"/>
                      </a:lnTo>
                      <a:lnTo>
                        <a:pt x="51677" y="409059"/>
                      </a:lnTo>
                      <a:lnTo>
                        <a:pt x="48409" y="405188"/>
                      </a:lnTo>
                      <a:lnTo>
                        <a:pt x="45329" y="400951"/>
                      </a:lnTo>
                      <a:lnTo>
                        <a:pt x="43471" y="397112"/>
                      </a:lnTo>
                      <a:lnTo>
                        <a:pt x="41759" y="392165"/>
                      </a:lnTo>
                      <a:lnTo>
                        <a:pt x="40186" y="386037"/>
                      </a:lnTo>
                      <a:lnTo>
                        <a:pt x="39225" y="378107"/>
                      </a:lnTo>
                      <a:lnTo>
                        <a:pt x="39371" y="373608"/>
                      </a:lnTo>
                      <a:lnTo>
                        <a:pt x="39868" y="370405"/>
                      </a:lnTo>
                      <a:lnTo>
                        <a:pt x="41515" y="365181"/>
                      </a:lnTo>
                      <a:lnTo>
                        <a:pt x="40414" y="362117"/>
                      </a:lnTo>
                      <a:lnTo>
                        <a:pt x="40667" y="359640"/>
                      </a:lnTo>
                      <a:lnTo>
                        <a:pt x="40504" y="355972"/>
                      </a:lnTo>
                      <a:lnTo>
                        <a:pt x="39974" y="354106"/>
                      </a:lnTo>
                      <a:lnTo>
                        <a:pt x="37839" y="348026"/>
                      </a:lnTo>
                      <a:lnTo>
                        <a:pt x="37415" y="347350"/>
                      </a:lnTo>
                      <a:lnTo>
                        <a:pt x="35525" y="343145"/>
                      </a:lnTo>
                      <a:lnTo>
                        <a:pt x="34693" y="336095"/>
                      </a:lnTo>
                      <a:lnTo>
                        <a:pt x="32566" y="331442"/>
                      </a:lnTo>
                      <a:lnTo>
                        <a:pt x="29135" y="329192"/>
                      </a:lnTo>
                      <a:lnTo>
                        <a:pt x="27195" y="326446"/>
                      </a:lnTo>
                      <a:lnTo>
                        <a:pt x="26478" y="321613"/>
                      </a:lnTo>
                      <a:lnTo>
                        <a:pt x="25134" y="320342"/>
                      </a:lnTo>
                      <a:lnTo>
                        <a:pt x="19755" y="318655"/>
                      </a:lnTo>
                      <a:lnTo>
                        <a:pt x="15264" y="318622"/>
                      </a:lnTo>
                      <a:lnTo>
                        <a:pt x="12004" y="313153"/>
                      </a:lnTo>
                      <a:lnTo>
                        <a:pt x="7815" y="306145"/>
                      </a:lnTo>
                      <a:lnTo>
                        <a:pt x="3920" y="299617"/>
                      </a:lnTo>
                      <a:lnTo>
                        <a:pt x="1426" y="286561"/>
                      </a:lnTo>
                      <a:lnTo>
                        <a:pt x="0" y="279071"/>
                      </a:lnTo>
                      <a:lnTo>
                        <a:pt x="1630" y="276797"/>
                      </a:lnTo>
                      <a:lnTo>
                        <a:pt x="4808" y="271459"/>
                      </a:lnTo>
                      <a:lnTo>
                        <a:pt x="8907" y="261256"/>
                      </a:lnTo>
                      <a:lnTo>
                        <a:pt x="18101" y="245446"/>
                      </a:lnTo>
                      <a:lnTo>
                        <a:pt x="22811" y="237353"/>
                      </a:lnTo>
                      <a:lnTo>
                        <a:pt x="32207" y="225251"/>
                      </a:lnTo>
                      <a:lnTo>
                        <a:pt x="43748" y="210361"/>
                      </a:lnTo>
                      <a:lnTo>
                        <a:pt x="50251" y="201967"/>
                      </a:lnTo>
                      <a:lnTo>
                        <a:pt x="51294" y="186645"/>
                      </a:lnTo>
                      <a:lnTo>
                        <a:pt x="52419" y="170435"/>
                      </a:lnTo>
                      <a:lnTo>
                        <a:pt x="53267" y="158154"/>
                      </a:lnTo>
                      <a:lnTo>
                        <a:pt x="54301" y="143598"/>
                      </a:lnTo>
                      <a:lnTo>
                        <a:pt x="55182" y="131406"/>
                      </a:lnTo>
                      <a:lnTo>
                        <a:pt x="55809" y="122523"/>
                      </a:lnTo>
                      <a:lnTo>
                        <a:pt x="56722" y="109915"/>
                      </a:lnTo>
                      <a:lnTo>
                        <a:pt x="57488" y="107487"/>
                      </a:lnTo>
                      <a:lnTo>
                        <a:pt x="62027" y="97585"/>
                      </a:lnTo>
                      <a:lnTo>
                        <a:pt x="62370" y="96257"/>
                      </a:lnTo>
                      <a:lnTo>
                        <a:pt x="61530" y="94602"/>
                      </a:lnTo>
                      <a:lnTo>
                        <a:pt x="55067" y="86167"/>
                      </a:lnTo>
                      <a:lnTo>
                        <a:pt x="53046" y="84285"/>
                      </a:lnTo>
                      <a:lnTo>
                        <a:pt x="51897" y="79908"/>
                      </a:lnTo>
                      <a:lnTo>
                        <a:pt x="53560" y="77447"/>
                      </a:lnTo>
                      <a:lnTo>
                        <a:pt x="45769" y="63275"/>
                      </a:lnTo>
                      <a:lnTo>
                        <a:pt x="43829" y="61547"/>
                      </a:lnTo>
                      <a:lnTo>
                        <a:pt x="42998" y="59811"/>
                      </a:lnTo>
                      <a:lnTo>
                        <a:pt x="42900" y="57252"/>
                      </a:lnTo>
                      <a:lnTo>
                        <a:pt x="42762" y="47432"/>
                      </a:lnTo>
                      <a:lnTo>
                        <a:pt x="40699" y="32004"/>
                      </a:lnTo>
                      <a:lnTo>
                        <a:pt x="37970" y="14009"/>
                      </a:lnTo>
                      <a:lnTo>
                        <a:pt x="47105" y="8875"/>
                      </a:lnTo>
                      <a:lnTo>
                        <a:pt x="54041" y="4979"/>
                      </a:lnTo>
                      <a:lnTo>
                        <a:pt x="62891" y="0"/>
                      </a:lnTo>
                      <a:lnTo>
                        <a:pt x="71106" y="5102"/>
                      </a:lnTo>
                      <a:lnTo>
                        <a:pt x="82981" y="12477"/>
                      </a:lnTo>
                      <a:lnTo>
                        <a:pt x="94871" y="19853"/>
                      </a:lnTo>
                      <a:lnTo>
                        <a:pt x="106753" y="27220"/>
                      </a:lnTo>
                      <a:lnTo>
                        <a:pt x="118627" y="34587"/>
                      </a:lnTo>
                      <a:lnTo>
                        <a:pt x="130510" y="41938"/>
                      </a:lnTo>
                      <a:lnTo>
                        <a:pt x="142392" y="49290"/>
                      </a:lnTo>
                      <a:lnTo>
                        <a:pt x="154274" y="56633"/>
                      </a:lnTo>
                      <a:lnTo>
                        <a:pt x="166165" y="63967"/>
                      </a:lnTo>
                      <a:lnTo>
                        <a:pt x="178047" y="71310"/>
                      </a:lnTo>
                      <a:lnTo>
                        <a:pt x="189921" y="78637"/>
                      </a:lnTo>
                      <a:lnTo>
                        <a:pt x="201803" y="85955"/>
                      </a:lnTo>
                      <a:lnTo>
                        <a:pt x="213686" y="93274"/>
                      </a:lnTo>
                      <a:lnTo>
                        <a:pt x="225568" y="100576"/>
                      </a:lnTo>
                      <a:lnTo>
                        <a:pt x="237458" y="107886"/>
                      </a:lnTo>
                      <a:lnTo>
                        <a:pt x="249341" y="115188"/>
                      </a:lnTo>
                      <a:close/>
                    </a:path>
                  </a:pathLst>
                </a:custGeom>
                <a:solidFill>
                  <a:srgbClr val="D6D6D2"/>
                </a:solidFill>
                <a:ln w="6112" cap="rnd">
                  <a:solidFill>
                    <a:srgbClr val="FFFFFF"/>
                  </a:solidFill>
                  <a:prstDash val="solid"/>
                  <a:round/>
                </a:ln>
              </p:spPr>
              <p:txBody>
                <a:bodyPr rtlCol="0" anchor="ctr"/>
                <a:lstStyle/>
                <a:p>
                  <a:endParaRPr lang="en-US"/>
                </a:p>
              </p:txBody>
            </p:sp>
            <p:sp>
              <p:nvSpPr>
                <p:cNvPr id="567" name="Freeform: Shape 566">
                  <a:extLst>
                    <a:ext uri="{FF2B5EF4-FFF2-40B4-BE49-F238E27FC236}">
                      <a16:creationId xmlns:a16="http://schemas.microsoft.com/office/drawing/2014/main" id="{8F1EBE7B-B9D2-4CC0-9A31-673C4F51D5AC}"/>
                    </a:ext>
                  </a:extLst>
                </p:cNvPr>
                <p:cNvSpPr/>
                <p:nvPr/>
              </p:nvSpPr>
              <p:spPr>
                <a:xfrm>
                  <a:off x="6830665" y="3366680"/>
                  <a:ext cx="163565" cy="163785"/>
                </a:xfrm>
                <a:custGeom>
                  <a:avLst/>
                  <a:gdLst>
                    <a:gd name="connsiteX0" fmla="*/ 163565 w 163565"/>
                    <a:gd name="connsiteY0" fmla="*/ 6292 h 163785"/>
                    <a:gd name="connsiteX1" fmla="*/ 163565 w 163565"/>
                    <a:gd name="connsiteY1" fmla="*/ 6740 h 163785"/>
                    <a:gd name="connsiteX2" fmla="*/ 163337 w 163565"/>
                    <a:gd name="connsiteY2" fmla="*/ 7897 h 163785"/>
                    <a:gd name="connsiteX3" fmla="*/ 160550 w 163565"/>
                    <a:gd name="connsiteY3" fmla="*/ 11206 h 163785"/>
                    <a:gd name="connsiteX4" fmla="*/ 156744 w 163565"/>
                    <a:gd name="connsiteY4" fmla="*/ 15705 h 163785"/>
                    <a:gd name="connsiteX5" fmla="*/ 154022 w 163565"/>
                    <a:gd name="connsiteY5" fmla="*/ 18524 h 163785"/>
                    <a:gd name="connsiteX6" fmla="*/ 149409 w 163565"/>
                    <a:gd name="connsiteY6" fmla="*/ 23308 h 163785"/>
                    <a:gd name="connsiteX7" fmla="*/ 145978 w 163565"/>
                    <a:gd name="connsiteY7" fmla="*/ 24327 h 163785"/>
                    <a:gd name="connsiteX8" fmla="*/ 140200 w 163565"/>
                    <a:gd name="connsiteY8" fmla="*/ 26038 h 163785"/>
                    <a:gd name="connsiteX9" fmla="*/ 138643 w 163565"/>
                    <a:gd name="connsiteY9" fmla="*/ 27709 h 163785"/>
                    <a:gd name="connsiteX10" fmla="*/ 137192 w 163565"/>
                    <a:gd name="connsiteY10" fmla="*/ 30398 h 163785"/>
                    <a:gd name="connsiteX11" fmla="*/ 136353 w 163565"/>
                    <a:gd name="connsiteY11" fmla="*/ 34082 h 163785"/>
                    <a:gd name="connsiteX12" fmla="*/ 136109 w 163565"/>
                    <a:gd name="connsiteY12" fmla="*/ 36380 h 163785"/>
                    <a:gd name="connsiteX13" fmla="*/ 135954 w 163565"/>
                    <a:gd name="connsiteY13" fmla="*/ 40675 h 163785"/>
                    <a:gd name="connsiteX14" fmla="*/ 137298 w 163565"/>
                    <a:gd name="connsiteY14" fmla="*/ 45117 h 163785"/>
                    <a:gd name="connsiteX15" fmla="*/ 138603 w 163565"/>
                    <a:gd name="connsiteY15" fmla="*/ 49387 h 163785"/>
                    <a:gd name="connsiteX16" fmla="*/ 138774 w 163565"/>
                    <a:gd name="connsiteY16" fmla="*/ 52215 h 163785"/>
                    <a:gd name="connsiteX17" fmla="*/ 138643 w 163565"/>
                    <a:gd name="connsiteY17" fmla="*/ 54994 h 163785"/>
                    <a:gd name="connsiteX18" fmla="*/ 137380 w 163565"/>
                    <a:gd name="connsiteY18" fmla="*/ 57961 h 163785"/>
                    <a:gd name="connsiteX19" fmla="*/ 136011 w 163565"/>
                    <a:gd name="connsiteY19" fmla="*/ 62028 h 163785"/>
                    <a:gd name="connsiteX20" fmla="*/ 135220 w 163565"/>
                    <a:gd name="connsiteY20" fmla="*/ 66616 h 163785"/>
                    <a:gd name="connsiteX21" fmla="*/ 134813 w 163565"/>
                    <a:gd name="connsiteY21" fmla="*/ 75206 h 163785"/>
                    <a:gd name="connsiteX22" fmla="*/ 134805 w 163565"/>
                    <a:gd name="connsiteY22" fmla="*/ 82516 h 163785"/>
                    <a:gd name="connsiteX23" fmla="*/ 134690 w 163565"/>
                    <a:gd name="connsiteY23" fmla="*/ 83706 h 163785"/>
                    <a:gd name="connsiteX24" fmla="*/ 132319 w 163565"/>
                    <a:gd name="connsiteY24" fmla="*/ 88857 h 163785"/>
                    <a:gd name="connsiteX25" fmla="*/ 129540 w 163565"/>
                    <a:gd name="connsiteY25" fmla="*/ 94871 h 163785"/>
                    <a:gd name="connsiteX26" fmla="*/ 128244 w 163565"/>
                    <a:gd name="connsiteY26" fmla="*/ 96265 h 163785"/>
                    <a:gd name="connsiteX27" fmla="*/ 122148 w 163565"/>
                    <a:gd name="connsiteY27" fmla="*/ 98058 h 163785"/>
                    <a:gd name="connsiteX28" fmla="*/ 115506 w 163565"/>
                    <a:gd name="connsiteY28" fmla="*/ 102458 h 163785"/>
                    <a:gd name="connsiteX29" fmla="*/ 108082 w 163565"/>
                    <a:gd name="connsiteY29" fmla="*/ 107381 h 163785"/>
                    <a:gd name="connsiteX30" fmla="*/ 101334 w 163565"/>
                    <a:gd name="connsiteY30" fmla="*/ 111839 h 163785"/>
                    <a:gd name="connsiteX31" fmla="*/ 94260 w 163565"/>
                    <a:gd name="connsiteY31" fmla="*/ 116517 h 163785"/>
                    <a:gd name="connsiteX32" fmla="*/ 86909 w 163565"/>
                    <a:gd name="connsiteY32" fmla="*/ 121366 h 163785"/>
                    <a:gd name="connsiteX33" fmla="*/ 81660 w 163565"/>
                    <a:gd name="connsiteY33" fmla="*/ 124829 h 163785"/>
                    <a:gd name="connsiteX34" fmla="*/ 74643 w 163565"/>
                    <a:gd name="connsiteY34" fmla="*/ 129450 h 163785"/>
                    <a:gd name="connsiteX35" fmla="*/ 68246 w 163565"/>
                    <a:gd name="connsiteY35" fmla="*/ 133876 h 163785"/>
                    <a:gd name="connsiteX36" fmla="*/ 61759 w 163565"/>
                    <a:gd name="connsiteY36" fmla="*/ 138350 h 163785"/>
                    <a:gd name="connsiteX37" fmla="*/ 56828 w 163565"/>
                    <a:gd name="connsiteY37" fmla="*/ 141748 h 163785"/>
                    <a:gd name="connsiteX38" fmla="*/ 49347 w 163565"/>
                    <a:gd name="connsiteY38" fmla="*/ 147127 h 163785"/>
                    <a:gd name="connsiteX39" fmla="*/ 44970 w 163565"/>
                    <a:gd name="connsiteY39" fmla="*/ 150273 h 163785"/>
                    <a:gd name="connsiteX40" fmla="*/ 38524 w 163565"/>
                    <a:gd name="connsiteY40" fmla="*/ 154902 h 163785"/>
                    <a:gd name="connsiteX41" fmla="*/ 32852 w 163565"/>
                    <a:gd name="connsiteY41" fmla="*/ 158969 h 163785"/>
                    <a:gd name="connsiteX42" fmla="*/ 26144 w 163565"/>
                    <a:gd name="connsiteY42" fmla="*/ 163785 h 163785"/>
                    <a:gd name="connsiteX43" fmla="*/ 17734 w 163565"/>
                    <a:gd name="connsiteY43" fmla="*/ 162351 h 163785"/>
                    <a:gd name="connsiteX44" fmla="*/ 15077 w 163565"/>
                    <a:gd name="connsiteY44" fmla="*/ 161520 h 163785"/>
                    <a:gd name="connsiteX45" fmla="*/ 12901 w 163565"/>
                    <a:gd name="connsiteY45" fmla="*/ 159230 h 163785"/>
                    <a:gd name="connsiteX46" fmla="*/ 11295 w 163565"/>
                    <a:gd name="connsiteY46" fmla="*/ 158007 h 163785"/>
                    <a:gd name="connsiteX47" fmla="*/ 7327 w 163565"/>
                    <a:gd name="connsiteY47" fmla="*/ 156752 h 163785"/>
                    <a:gd name="connsiteX48" fmla="*/ 4759 w 163565"/>
                    <a:gd name="connsiteY48" fmla="*/ 152433 h 163785"/>
                    <a:gd name="connsiteX49" fmla="*/ 3227 w 163565"/>
                    <a:gd name="connsiteY49" fmla="*/ 150900 h 163785"/>
                    <a:gd name="connsiteX50" fmla="*/ 571 w 163565"/>
                    <a:gd name="connsiteY50" fmla="*/ 150216 h 163785"/>
                    <a:gd name="connsiteX51" fmla="*/ 921 w 163565"/>
                    <a:gd name="connsiteY51" fmla="*/ 148676 h 163785"/>
                    <a:gd name="connsiteX52" fmla="*/ 2298 w 163565"/>
                    <a:gd name="connsiteY52" fmla="*/ 146068 h 163785"/>
                    <a:gd name="connsiteX53" fmla="*/ 3700 w 163565"/>
                    <a:gd name="connsiteY53" fmla="*/ 143232 h 163785"/>
                    <a:gd name="connsiteX54" fmla="*/ 2918 w 163565"/>
                    <a:gd name="connsiteY54" fmla="*/ 141642 h 163785"/>
                    <a:gd name="connsiteX55" fmla="*/ 2673 w 163565"/>
                    <a:gd name="connsiteY55" fmla="*/ 140306 h 163785"/>
                    <a:gd name="connsiteX56" fmla="*/ 2567 w 163565"/>
                    <a:gd name="connsiteY56" fmla="*/ 138700 h 163785"/>
                    <a:gd name="connsiteX57" fmla="*/ 3537 w 163565"/>
                    <a:gd name="connsiteY57" fmla="*/ 137168 h 163785"/>
                    <a:gd name="connsiteX58" fmla="*/ 3073 w 163565"/>
                    <a:gd name="connsiteY58" fmla="*/ 135310 h 163785"/>
                    <a:gd name="connsiteX59" fmla="*/ 2347 w 163565"/>
                    <a:gd name="connsiteY59" fmla="*/ 133452 h 163785"/>
                    <a:gd name="connsiteX60" fmla="*/ 1801 w 163565"/>
                    <a:gd name="connsiteY60" fmla="*/ 132523 h 163785"/>
                    <a:gd name="connsiteX61" fmla="*/ 1801 w 163565"/>
                    <a:gd name="connsiteY61" fmla="*/ 130820 h 163785"/>
                    <a:gd name="connsiteX62" fmla="*/ 2160 w 163565"/>
                    <a:gd name="connsiteY62" fmla="*/ 129507 h 163785"/>
                    <a:gd name="connsiteX63" fmla="*/ 2600 w 163565"/>
                    <a:gd name="connsiteY63" fmla="*/ 127511 h 163785"/>
                    <a:gd name="connsiteX64" fmla="*/ 3733 w 163565"/>
                    <a:gd name="connsiteY64" fmla="*/ 126411 h 163785"/>
                    <a:gd name="connsiteX65" fmla="*/ 4034 w 163565"/>
                    <a:gd name="connsiteY65" fmla="*/ 125270 h 163785"/>
                    <a:gd name="connsiteX66" fmla="*/ 5045 w 163565"/>
                    <a:gd name="connsiteY66" fmla="*/ 124153 h 163785"/>
                    <a:gd name="connsiteX67" fmla="*/ 6398 w 163565"/>
                    <a:gd name="connsiteY67" fmla="*/ 123240 h 163785"/>
                    <a:gd name="connsiteX68" fmla="*/ 6699 w 163565"/>
                    <a:gd name="connsiteY68" fmla="*/ 122507 h 163785"/>
                    <a:gd name="connsiteX69" fmla="*/ 6512 w 163565"/>
                    <a:gd name="connsiteY69" fmla="*/ 122083 h 163785"/>
                    <a:gd name="connsiteX70" fmla="*/ 5142 w 163565"/>
                    <a:gd name="connsiteY70" fmla="*/ 121268 h 163785"/>
                    <a:gd name="connsiteX71" fmla="*/ 4417 w 163565"/>
                    <a:gd name="connsiteY71" fmla="*/ 119809 h 163785"/>
                    <a:gd name="connsiteX72" fmla="*/ 5069 w 163565"/>
                    <a:gd name="connsiteY72" fmla="*/ 117690 h 163785"/>
                    <a:gd name="connsiteX73" fmla="*/ 5509 w 163565"/>
                    <a:gd name="connsiteY73" fmla="*/ 117030 h 163785"/>
                    <a:gd name="connsiteX74" fmla="*/ 6316 w 163565"/>
                    <a:gd name="connsiteY74" fmla="*/ 116003 h 163785"/>
                    <a:gd name="connsiteX75" fmla="*/ 8133 w 163565"/>
                    <a:gd name="connsiteY75" fmla="*/ 114447 h 163785"/>
                    <a:gd name="connsiteX76" fmla="*/ 9559 w 163565"/>
                    <a:gd name="connsiteY76" fmla="*/ 114186 h 163785"/>
                    <a:gd name="connsiteX77" fmla="*/ 10798 w 163565"/>
                    <a:gd name="connsiteY77" fmla="*/ 114186 h 163785"/>
                    <a:gd name="connsiteX78" fmla="*/ 12877 w 163565"/>
                    <a:gd name="connsiteY78" fmla="*/ 114316 h 163785"/>
                    <a:gd name="connsiteX79" fmla="*/ 14482 w 163565"/>
                    <a:gd name="connsiteY79" fmla="*/ 114593 h 163785"/>
                    <a:gd name="connsiteX80" fmla="*/ 14906 w 163565"/>
                    <a:gd name="connsiteY80" fmla="*/ 114194 h 163785"/>
                    <a:gd name="connsiteX81" fmla="*/ 14849 w 163565"/>
                    <a:gd name="connsiteY81" fmla="*/ 113681 h 163785"/>
                    <a:gd name="connsiteX82" fmla="*/ 12844 w 163565"/>
                    <a:gd name="connsiteY82" fmla="*/ 112401 h 163785"/>
                    <a:gd name="connsiteX83" fmla="*/ 12738 w 163565"/>
                    <a:gd name="connsiteY83" fmla="*/ 111374 h 163785"/>
                    <a:gd name="connsiteX84" fmla="*/ 13235 w 163565"/>
                    <a:gd name="connsiteY84" fmla="*/ 110290 h 163785"/>
                    <a:gd name="connsiteX85" fmla="*/ 14645 w 163565"/>
                    <a:gd name="connsiteY85" fmla="*/ 108571 h 163785"/>
                    <a:gd name="connsiteX86" fmla="*/ 16332 w 163565"/>
                    <a:gd name="connsiteY86" fmla="*/ 107308 h 163785"/>
                    <a:gd name="connsiteX87" fmla="*/ 17196 w 163565"/>
                    <a:gd name="connsiteY87" fmla="*/ 107071 h 163785"/>
                    <a:gd name="connsiteX88" fmla="*/ 19119 w 163565"/>
                    <a:gd name="connsiteY88" fmla="*/ 104537 h 163785"/>
                    <a:gd name="connsiteX89" fmla="*/ 20358 w 163565"/>
                    <a:gd name="connsiteY89" fmla="*/ 101692 h 163785"/>
                    <a:gd name="connsiteX90" fmla="*/ 18353 w 163565"/>
                    <a:gd name="connsiteY90" fmla="*/ 94765 h 163785"/>
                    <a:gd name="connsiteX91" fmla="*/ 17147 w 163565"/>
                    <a:gd name="connsiteY91" fmla="*/ 93657 h 163785"/>
                    <a:gd name="connsiteX92" fmla="*/ 15183 w 163565"/>
                    <a:gd name="connsiteY92" fmla="*/ 92703 h 163785"/>
                    <a:gd name="connsiteX93" fmla="*/ 14026 w 163565"/>
                    <a:gd name="connsiteY93" fmla="*/ 92557 h 163785"/>
                    <a:gd name="connsiteX94" fmla="*/ 13936 w 163565"/>
                    <a:gd name="connsiteY94" fmla="*/ 92108 h 163785"/>
                    <a:gd name="connsiteX95" fmla="*/ 15485 w 163565"/>
                    <a:gd name="connsiteY95" fmla="*/ 90348 h 163785"/>
                    <a:gd name="connsiteX96" fmla="*/ 16593 w 163565"/>
                    <a:gd name="connsiteY96" fmla="*/ 88816 h 163785"/>
                    <a:gd name="connsiteX97" fmla="*/ 15362 w 163565"/>
                    <a:gd name="connsiteY97" fmla="*/ 87365 h 163785"/>
                    <a:gd name="connsiteX98" fmla="*/ 13195 w 163565"/>
                    <a:gd name="connsiteY98" fmla="*/ 86681 h 163785"/>
                    <a:gd name="connsiteX99" fmla="*/ 12379 w 163565"/>
                    <a:gd name="connsiteY99" fmla="*/ 88180 h 163785"/>
                    <a:gd name="connsiteX100" fmla="*/ 9584 w 163565"/>
                    <a:gd name="connsiteY100" fmla="*/ 88327 h 163785"/>
                    <a:gd name="connsiteX101" fmla="*/ 5257 w 163565"/>
                    <a:gd name="connsiteY101" fmla="*/ 88302 h 163785"/>
                    <a:gd name="connsiteX102" fmla="*/ 3358 w 163565"/>
                    <a:gd name="connsiteY102" fmla="*/ 80976 h 163785"/>
                    <a:gd name="connsiteX103" fmla="*/ 3056 w 163565"/>
                    <a:gd name="connsiteY103" fmla="*/ 77805 h 163785"/>
                    <a:gd name="connsiteX104" fmla="*/ 3113 w 163565"/>
                    <a:gd name="connsiteY104" fmla="*/ 74130 h 163785"/>
                    <a:gd name="connsiteX105" fmla="*/ 4434 w 163565"/>
                    <a:gd name="connsiteY105" fmla="*/ 68735 h 163785"/>
                    <a:gd name="connsiteX106" fmla="*/ 3814 w 163565"/>
                    <a:gd name="connsiteY106" fmla="*/ 66241 h 163785"/>
                    <a:gd name="connsiteX107" fmla="*/ 3757 w 163565"/>
                    <a:gd name="connsiteY107" fmla="*/ 64562 h 163785"/>
                    <a:gd name="connsiteX108" fmla="*/ 3415 w 163565"/>
                    <a:gd name="connsiteY108" fmla="*/ 62248 h 163785"/>
                    <a:gd name="connsiteX109" fmla="*/ 0 w 163565"/>
                    <a:gd name="connsiteY109" fmla="*/ 57268 h 163785"/>
                    <a:gd name="connsiteX110" fmla="*/ 1874 w 163565"/>
                    <a:gd name="connsiteY110" fmla="*/ 48092 h 163785"/>
                    <a:gd name="connsiteX111" fmla="*/ 3179 w 163565"/>
                    <a:gd name="connsiteY111" fmla="*/ 45867 h 163785"/>
                    <a:gd name="connsiteX112" fmla="*/ 5045 w 163565"/>
                    <a:gd name="connsiteY112" fmla="*/ 46079 h 163785"/>
                    <a:gd name="connsiteX113" fmla="*/ 8997 w 163565"/>
                    <a:gd name="connsiteY113" fmla="*/ 48678 h 163785"/>
                    <a:gd name="connsiteX114" fmla="*/ 9649 w 163565"/>
                    <a:gd name="connsiteY114" fmla="*/ 48597 h 163785"/>
                    <a:gd name="connsiteX115" fmla="*/ 10856 w 163565"/>
                    <a:gd name="connsiteY115" fmla="*/ 45174 h 163785"/>
                    <a:gd name="connsiteX116" fmla="*/ 12013 w 163565"/>
                    <a:gd name="connsiteY116" fmla="*/ 44009 h 163785"/>
                    <a:gd name="connsiteX117" fmla="*/ 14458 w 163565"/>
                    <a:gd name="connsiteY117" fmla="*/ 42990 h 163785"/>
                    <a:gd name="connsiteX118" fmla="*/ 15150 w 163565"/>
                    <a:gd name="connsiteY118" fmla="*/ 37440 h 163785"/>
                    <a:gd name="connsiteX119" fmla="*/ 16299 w 163565"/>
                    <a:gd name="connsiteY119" fmla="*/ 36364 h 163785"/>
                    <a:gd name="connsiteX120" fmla="*/ 17669 w 163565"/>
                    <a:gd name="connsiteY120" fmla="*/ 35794 h 163785"/>
                    <a:gd name="connsiteX121" fmla="*/ 19787 w 163565"/>
                    <a:gd name="connsiteY121" fmla="*/ 35688 h 163785"/>
                    <a:gd name="connsiteX122" fmla="*/ 21638 w 163565"/>
                    <a:gd name="connsiteY122" fmla="*/ 35354 h 163785"/>
                    <a:gd name="connsiteX123" fmla="*/ 21744 w 163565"/>
                    <a:gd name="connsiteY123" fmla="*/ 34376 h 163785"/>
                    <a:gd name="connsiteX124" fmla="*/ 19177 w 163565"/>
                    <a:gd name="connsiteY124" fmla="*/ 27945 h 163785"/>
                    <a:gd name="connsiteX125" fmla="*/ 19404 w 163565"/>
                    <a:gd name="connsiteY125" fmla="*/ 26316 h 163785"/>
                    <a:gd name="connsiteX126" fmla="*/ 20651 w 163565"/>
                    <a:gd name="connsiteY126" fmla="*/ 19836 h 163785"/>
                    <a:gd name="connsiteX127" fmla="*/ 21426 w 163565"/>
                    <a:gd name="connsiteY127" fmla="*/ 17302 h 163785"/>
                    <a:gd name="connsiteX128" fmla="*/ 22175 w 163565"/>
                    <a:gd name="connsiteY128" fmla="*/ 16479 h 163785"/>
                    <a:gd name="connsiteX129" fmla="*/ 25109 w 163565"/>
                    <a:gd name="connsiteY129" fmla="*/ 16805 h 163785"/>
                    <a:gd name="connsiteX130" fmla="*/ 29201 w 163565"/>
                    <a:gd name="connsiteY130" fmla="*/ 17946 h 163785"/>
                    <a:gd name="connsiteX131" fmla="*/ 30284 w 163565"/>
                    <a:gd name="connsiteY131" fmla="*/ 19804 h 163785"/>
                    <a:gd name="connsiteX132" fmla="*/ 32289 w 163565"/>
                    <a:gd name="connsiteY132" fmla="*/ 21466 h 163785"/>
                    <a:gd name="connsiteX133" fmla="*/ 35296 w 163565"/>
                    <a:gd name="connsiteY133" fmla="*/ 21352 h 163785"/>
                    <a:gd name="connsiteX134" fmla="*/ 38760 w 163565"/>
                    <a:gd name="connsiteY134" fmla="*/ 21662 h 163785"/>
                    <a:gd name="connsiteX135" fmla="*/ 41466 w 163565"/>
                    <a:gd name="connsiteY135" fmla="*/ 21768 h 163785"/>
                    <a:gd name="connsiteX136" fmla="*/ 43626 w 163565"/>
                    <a:gd name="connsiteY136" fmla="*/ 20611 h 163785"/>
                    <a:gd name="connsiteX137" fmla="*/ 48507 w 163565"/>
                    <a:gd name="connsiteY137" fmla="*/ 18435 h 163785"/>
                    <a:gd name="connsiteX138" fmla="*/ 50936 w 163565"/>
                    <a:gd name="connsiteY138" fmla="*/ 17709 h 163785"/>
                    <a:gd name="connsiteX139" fmla="*/ 53136 w 163565"/>
                    <a:gd name="connsiteY139" fmla="*/ 16748 h 163785"/>
                    <a:gd name="connsiteX140" fmla="*/ 60210 w 163565"/>
                    <a:gd name="connsiteY140" fmla="*/ 13186 h 163785"/>
                    <a:gd name="connsiteX141" fmla="*/ 63038 w 163565"/>
                    <a:gd name="connsiteY141" fmla="*/ 13455 h 163785"/>
                    <a:gd name="connsiteX142" fmla="*/ 64970 w 163565"/>
                    <a:gd name="connsiteY142" fmla="*/ 13928 h 163785"/>
                    <a:gd name="connsiteX143" fmla="*/ 66453 w 163565"/>
                    <a:gd name="connsiteY143" fmla="*/ 14490 h 163785"/>
                    <a:gd name="connsiteX144" fmla="*/ 69786 w 163565"/>
                    <a:gd name="connsiteY144" fmla="*/ 16927 h 163785"/>
                    <a:gd name="connsiteX145" fmla="*/ 72541 w 163565"/>
                    <a:gd name="connsiteY145" fmla="*/ 19388 h 163785"/>
                    <a:gd name="connsiteX146" fmla="*/ 74472 w 163565"/>
                    <a:gd name="connsiteY146" fmla="*/ 20114 h 163785"/>
                    <a:gd name="connsiteX147" fmla="*/ 77936 w 163565"/>
                    <a:gd name="connsiteY147" fmla="*/ 20065 h 163785"/>
                    <a:gd name="connsiteX148" fmla="*/ 82940 w 163565"/>
                    <a:gd name="connsiteY148" fmla="*/ 20529 h 163785"/>
                    <a:gd name="connsiteX149" fmla="*/ 89101 w 163565"/>
                    <a:gd name="connsiteY149" fmla="*/ 20497 h 163785"/>
                    <a:gd name="connsiteX150" fmla="*/ 92687 w 163565"/>
                    <a:gd name="connsiteY150" fmla="*/ 19812 h 163785"/>
                    <a:gd name="connsiteX151" fmla="*/ 97275 w 163565"/>
                    <a:gd name="connsiteY151" fmla="*/ 18606 h 163785"/>
                    <a:gd name="connsiteX152" fmla="*/ 105458 w 163565"/>
                    <a:gd name="connsiteY152" fmla="*/ 15696 h 163785"/>
                    <a:gd name="connsiteX153" fmla="*/ 116223 w 163565"/>
                    <a:gd name="connsiteY153" fmla="*/ 9617 h 163785"/>
                    <a:gd name="connsiteX154" fmla="*/ 122564 w 163565"/>
                    <a:gd name="connsiteY154" fmla="*/ 6658 h 163785"/>
                    <a:gd name="connsiteX155" fmla="*/ 125286 w 163565"/>
                    <a:gd name="connsiteY155" fmla="*/ 6308 h 163785"/>
                    <a:gd name="connsiteX156" fmla="*/ 128839 w 163565"/>
                    <a:gd name="connsiteY156" fmla="*/ 6275 h 163785"/>
                    <a:gd name="connsiteX157" fmla="*/ 132384 w 163565"/>
                    <a:gd name="connsiteY157" fmla="*/ 7050 h 163785"/>
                    <a:gd name="connsiteX158" fmla="*/ 136418 w 163565"/>
                    <a:gd name="connsiteY158" fmla="*/ 7604 h 163785"/>
                    <a:gd name="connsiteX159" fmla="*/ 138276 w 163565"/>
                    <a:gd name="connsiteY159" fmla="*/ 7555 h 163785"/>
                    <a:gd name="connsiteX160" fmla="*/ 142637 w 163565"/>
                    <a:gd name="connsiteY160" fmla="*/ 6935 h 163785"/>
                    <a:gd name="connsiteX161" fmla="*/ 148301 w 163565"/>
                    <a:gd name="connsiteY161" fmla="*/ 5713 h 163785"/>
                    <a:gd name="connsiteX162" fmla="*/ 151854 w 163565"/>
                    <a:gd name="connsiteY162" fmla="*/ 4702 h 163785"/>
                    <a:gd name="connsiteX163" fmla="*/ 156149 w 163565"/>
                    <a:gd name="connsiteY163" fmla="*/ 3040 h 163785"/>
                    <a:gd name="connsiteX164" fmla="*/ 158830 w 163565"/>
                    <a:gd name="connsiteY164" fmla="*/ 293 h 163785"/>
                    <a:gd name="connsiteX165" fmla="*/ 159686 w 163565"/>
                    <a:gd name="connsiteY165" fmla="*/ 0 h 163785"/>
                    <a:gd name="connsiteX166" fmla="*/ 160803 w 163565"/>
                    <a:gd name="connsiteY166" fmla="*/ 505 h 163785"/>
                    <a:gd name="connsiteX167" fmla="*/ 161308 w 163565"/>
                    <a:gd name="connsiteY167" fmla="*/ 701 h 163785"/>
                    <a:gd name="connsiteX168" fmla="*/ 162416 w 163565"/>
                    <a:gd name="connsiteY168" fmla="*/ 2258 h 163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163565" h="163785">
                      <a:moveTo>
                        <a:pt x="163565" y="6292"/>
                      </a:moveTo>
                      <a:lnTo>
                        <a:pt x="163565" y="6740"/>
                      </a:lnTo>
                      <a:lnTo>
                        <a:pt x="163337" y="7897"/>
                      </a:lnTo>
                      <a:lnTo>
                        <a:pt x="160550" y="11206"/>
                      </a:lnTo>
                      <a:lnTo>
                        <a:pt x="156744" y="15705"/>
                      </a:lnTo>
                      <a:lnTo>
                        <a:pt x="154022" y="18524"/>
                      </a:lnTo>
                      <a:lnTo>
                        <a:pt x="149409" y="23308"/>
                      </a:lnTo>
                      <a:lnTo>
                        <a:pt x="145978" y="24327"/>
                      </a:lnTo>
                      <a:lnTo>
                        <a:pt x="140200" y="26038"/>
                      </a:lnTo>
                      <a:lnTo>
                        <a:pt x="138643" y="27709"/>
                      </a:lnTo>
                      <a:lnTo>
                        <a:pt x="137192" y="30398"/>
                      </a:lnTo>
                      <a:lnTo>
                        <a:pt x="136353" y="34082"/>
                      </a:lnTo>
                      <a:lnTo>
                        <a:pt x="136109" y="36380"/>
                      </a:lnTo>
                      <a:lnTo>
                        <a:pt x="135954" y="40675"/>
                      </a:lnTo>
                      <a:lnTo>
                        <a:pt x="137298" y="45117"/>
                      </a:lnTo>
                      <a:lnTo>
                        <a:pt x="138603" y="49387"/>
                      </a:lnTo>
                      <a:lnTo>
                        <a:pt x="138774" y="52215"/>
                      </a:lnTo>
                      <a:lnTo>
                        <a:pt x="138643" y="54994"/>
                      </a:lnTo>
                      <a:lnTo>
                        <a:pt x="137380" y="57961"/>
                      </a:lnTo>
                      <a:lnTo>
                        <a:pt x="136011" y="62028"/>
                      </a:lnTo>
                      <a:lnTo>
                        <a:pt x="135220" y="66616"/>
                      </a:lnTo>
                      <a:lnTo>
                        <a:pt x="134813" y="75206"/>
                      </a:lnTo>
                      <a:lnTo>
                        <a:pt x="134805" y="82516"/>
                      </a:lnTo>
                      <a:lnTo>
                        <a:pt x="134690" y="83706"/>
                      </a:lnTo>
                      <a:lnTo>
                        <a:pt x="132319" y="88857"/>
                      </a:lnTo>
                      <a:lnTo>
                        <a:pt x="129540" y="94871"/>
                      </a:lnTo>
                      <a:lnTo>
                        <a:pt x="128244" y="96265"/>
                      </a:lnTo>
                      <a:lnTo>
                        <a:pt x="122148" y="98058"/>
                      </a:lnTo>
                      <a:lnTo>
                        <a:pt x="115506" y="102458"/>
                      </a:lnTo>
                      <a:lnTo>
                        <a:pt x="108082" y="107381"/>
                      </a:lnTo>
                      <a:lnTo>
                        <a:pt x="101334" y="111839"/>
                      </a:lnTo>
                      <a:lnTo>
                        <a:pt x="94260" y="116517"/>
                      </a:lnTo>
                      <a:lnTo>
                        <a:pt x="86909" y="121366"/>
                      </a:lnTo>
                      <a:lnTo>
                        <a:pt x="81660" y="124829"/>
                      </a:lnTo>
                      <a:lnTo>
                        <a:pt x="74643" y="129450"/>
                      </a:lnTo>
                      <a:lnTo>
                        <a:pt x="68246" y="133876"/>
                      </a:lnTo>
                      <a:lnTo>
                        <a:pt x="61759" y="138350"/>
                      </a:lnTo>
                      <a:lnTo>
                        <a:pt x="56828" y="141748"/>
                      </a:lnTo>
                      <a:lnTo>
                        <a:pt x="49347" y="147127"/>
                      </a:lnTo>
                      <a:lnTo>
                        <a:pt x="44970" y="150273"/>
                      </a:lnTo>
                      <a:lnTo>
                        <a:pt x="38524" y="154902"/>
                      </a:lnTo>
                      <a:lnTo>
                        <a:pt x="32852" y="158969"/>
                      </a:lnTo>
                      <a:lnTo>
                        <a:pt x="26144" y="163785"/>
                      </a:lnTo>
                      <a:lnTo>
                        <a:pt x="17734" y="162351"/>
                      </a:lnTo>
                      <a:lnTo>
                        <a:pt x="15077" y="161520"/>
                      </a:lnTo>
                      <a:lnTo>
                        <a:pt x="12901" y="159230"/>
                      </a:lnTo>
                      <a:lnTo>
                        <a:pt x="11295" y="158007"/>
                      </a:lnTo>
                      <a:lnTo>
                        <a:pt x="7327" y="156752"/>
                      </a:lnTo>
                      <a:lnTo>
                        <a:pt x="4759" y="152433"/>
                      </a:lnTo>
                      <a:lnTo>
                        <a:pt x="3227" y="150900"/>
                      </a:lnTo>
                      <a:lnTo>
                        <a:pt x="571" y="150216"/>
                      </a:lnTo>
                      <a:lnTo>
                        <a:pt x="921" y="148676"/>
                      </a:lnTo>
                      <a:lnTo>
                        <a:pt x="2298" y="146068"/>
                      </a:lnTo>
                      <a:lnTo>
                        <a:pt x="3700" y="143232"/>
                      </a:lnTo>
                      <a:lnTo>
                        <a:pt x="2918" y="141642"/>
                      </a:lnTo>
                      <a:lnTo>
                        <a:pt x="2673" y="140306"/>
                      </a:lnTo>
                      <a:lnTo>
                        <a:pt x="2567" y="138700"/>
                      </a:lnTo>
                      <a:lnTo>
                        <a:pt x="3537" y="137168"/>
                      </a:lnTo>
                      <a:lnTo>
                        <a:pt x="3073" y="135310"/>
                      </a:lnTo>
                      <a:lnTo>
                        <a:pt x="2347" y="133452"/>
                      </a:lnTo>
                      <a:lnTo>
                        <a:pt x="1801" y="132523"/>
                      </a:lnTo>
                      <a:lnTo>
                        <a:pt x="1801" y="130820"/>
                      </a:lnTo>
                      <a:lnTo>
                        <a:pt x="2160" y="129507"/>
                      </a:lnTo>
                      <a:lnTo>
                        <a:pt x="2600" y="127511"/>
                      </a:lnTo>
                      <a:lnTo>
                        <a:pt x="3733" y="126411"/>
                      </a:lnTo>
                      <a:lnTo>
                        <a:pt x="4034" y="125270"/>
                      </a:lnTo>
                      <a:lnTo>
                        <a:pt x="5045" y="124153"/>
                      </a:lnTo>
                      <a:lnTo>
                        <a:pt x="6398" y="123240"/>
                      </a:lnTo>
                      <a:lnTo>
                        <a:pt x="6699" y="122507"/>
                      </a:lnTo>
                      <a:lnTo>
                        <a:pt x="6512" y="122083"/>
                      </a:lnTo>
                      <a:lnTo>
                        <a:pt x="5142" y="121268"/>
                      </a:lnTo>
                      <a:lnTo>
                        <a:pt x="4417" y="119809"/>
                      </a:lnTo>
                      <a:lnTo>
                        <a:pt x="5069" y="117690"/>
                      </a:lnTo>
                      <a:lnTo>
                        <a:pt x="5509" y="117030"/>
                      </a:lnTo>
                      <a:lnTo>
                        <a:pt x="6316" y="116003"/>
                      </a:lnTo>
                      <a:lnTo>
                        <a:pt x="8133" y="114447"/>
                      </a:lnTo>
                      <a:lnTo>
                        <a:pt x="9559" y="114186"/>
                      </a:lnTo>
                      <a:lnTo>
                        <a:pt x="10798" y="114186"/>
                      </a:lnTo>
                      <a:lnTo>
                        <a:pt x="12877" y="114316"/>
                      </a:lnTo>
                      <a:lnTo>
                        <a:pt x="14482" y="114593"/>
                      </a:lnTo>
                      <a:lnTo>
                        <a:pt x="14906" y="114194"/>
                      </a:lnTo>
                      <a:lnTo>
                        <a:pt x="14849" y="113681"/>
                      </a:lnTo>
                      <a:lnTo>
                        <a:pt x="12844" y="112401"/>
                      </a:lnTo>
                      <a:lnTo>
                        <a:pt x="12738" y="111374"/>
                      </a:lnTo>
                      <a:lnTo>
                        <a:pt x="13235" y="110290"/>
                      </a:lnTo>
                      <a:lnTo>
                        <a:pt x="14645" y="108571"/>
                      </a:lnTo>
                      <a:lnTo>
                        <a:pt x="16332" y="107308"/>
                      </a:lnTo>
                      <a:lnTo>
                        <a:pt x="17196" y="107071"/>
                      </a:lnTo>
                      <a:lnTo>
                        <a:pt x="19119" y="104537"/>
                      </a:lnTo>
                      <a:lnTo>
                        <a:pt x="20358" y="101692"/>
                      </a:lnTo>
                      <a:lnTo>
                        <a:pt x="18353" y="94765"/>
                      </a:lnTo>
                      <a:lnTo>
                        <a:pt x="17147" y="93657"/>
                      </a:lnTo>
                      <a:lnTo>
                        <a:pt x="15183" y="92703"/>
                      </a:lnTo>
                      <a:lnTo>
                        <a:pt x="14026" y="92557"/>
                      </a:lnTo>
                      <a:lnTo>
                        <a:pt x="13936" y="92108"/>
                      </a:lnTo>
                      <a:lnTo>
                        <a:pt x="15485" y="90348"/>
                      </a:lnTo>
                      <a:lnTo>
                        <a:pt x="16593" y="88816"/>
                      </a:lnTo>
                      <a:lnTo>
                        <a:pt x="15362" y="87365"/>
                      </a:lnTo>
                      <a:lnTo>
                        <a:pt x="13195" y="86681"/>
                      </a:lnTo>
                      <a:lnTo>
                        <a:pt x="12379" y="88180"/>
                      </a:lnTo>
                      <a:lnTo>
                        <a:pt x="9584" y="88327"/>
                      </a:lnTo>
                      <a:lnTo>
                        <a:pt x="5257" y="88302"/>
                      </a:lnTo>
                      <a:lnTo>
                        <a:pt x="3358" y="80976"/>
                      </a:lnTo>
                      <a:lnTo>
                        <a:pt x="3056" y="77805"/>
                      </a:lnTo>
                      <a:lnTo>
                        <a:pt x="3113" y="74130"/>
                      </a:lnTo>
                      <a:lnTo>
                        <a:pt x="4434" y="68735"/>
                      </a:lnTo>
                      <a:lnTo>
                        <a:pt x="3814" y="66241"/>
                      </a:lnTo>
                      <a:lnTo>
                        <a:pt x="3757" y="64562"/>
                      </a:lnTo>
                      <a:lnTo>
                        <a:pt x="3415" y="62248"/>
                      </a:lnTo>
                      <a:lnTo>
                        <a:pt x="0" y="57268"/>
                      </a:lnTo>
                      <a:lnTo>
                        <a:pt x="1874" y="48092"/>
                      </a:lnTo>
                      <a:lnTo>
                        <a:pt x="3179" y="45867"/>
                      </a:lnTo>
                      <a:lnTo>
                        <a:pt x="5045" y="46079"/>
                      </a:lnTo>
                      <a:lnTo>
                        <a:pt x="8997" y="48678"/>
                      </a:lnTo>
                      <a:lnTo>
                        <a:pt x="9649" y="48597"/>
                      </a:lnTo>
                      <a:lnTo>
                        <a:pt x="10856" y="45174"/>
                      </a:lnTo>
                      <a:lnTo>
                        <a:pt x="12013" y="44009"/>
                      </a:lnTo>
                      <a:lnTo>
                        <a:pt x="14458" y="42990"/>
                      </a:lnTo>
                      <a:lnTo>
                        <a:pt x="15150" y="37440"/>
                      </a:lnTo>
                      <a:lnTo>
                        <a:pt x="16299" y="36364"/>
                      </a:lnTo>
                      <a:lnTo>
                        <a:pt x="17669" y="35794"/>
                      </a:lnTo>
                      <a:lnTo>
                        <a:pt x="19787" y="35688"/>
                      </a:lnTo>
                      <a:lnTo>
                        <a:pt x="21638" y="35354"/>
                      </a:lnTo>
                      <a:lnTo>
                        <a:pt x="21744" y="34376"/>
                      </a:lnTo>
                      <a:lnTo>
                        <a:pt x="19177" y="27945"/>
                      </a:lnTo>
                      <a:lnTo>
                        <a:pt x="19404" y="26316"/>
                      </a:lnTo>
                      <a:lnTo>
                        <a:pt x="20651" y="19836"/>
                      </a:lnTo>
                      <a:lnTo>
                        <a:pt x="21426" y="17302"/>
                      </a:lnTo>
                      <a:lnTo>
                        <a:pt x="22175" y="16479"/>
                      </a:lnTo>
                      <a:lnTo>
                        <a:pt x="25109" y="16805"/>
                      </a:lnTo>
                      <a:lnTo>
                        <a:pt x="29201" y="17946"/>
                      </a:lnTo>
                      <a:lnTo>
                        <a:pt x="30284" y="19804"/>
                      </a:lnTo>
                      <a:lnTo>
                        <a:pt x="32289" y="21466"/>
                      </a:lnTo>
                      <a:lnTo>
                        <a:pt x="35296" y="21352"/>
                      </a:lnTo>
                      <a:lnTo>
                        <a:pt x="38760" y="21662"/>
                      </a:lnTo>
                      <a:lnTo>
                        <a:pt x="41466" y="21768"/>
                      </a:lnTo>
                      <a:lnTo>
                        <a:pt x="43626" y="20611"/>
                      </a:lnTo>
                      <a:lnTo>
                        <a:pt x="48507" y="18435"/>
                      </a:lnTo>
                      <a:lnTo>
                        <a:pt x="50936" y="17709"/>
                      </a:lnTo>
                      <a:lnTo>
                        <a:pt x="53136" y="16748"/>
                      </a:lnTo>
                      <a:lnTo>
                        <a:pt x="60210" y="13186"/>
                      </a:lnTo>
                      <a:lnTo>
                        <a:pt x="63038" y="13455"/>
                      </a:lnTo>
                      <a:lnTo>
                        <a:pt x="64970" y="13928"/>
                      </a:lnTo>
                      <a:lnTo>
                        <a:pt x="66453" y="14490"/>
                      </a:lnTo>
                      <a:lnTo>
                        <a:pt x="69786" y="16927"/>
                      </a:lnTo>
                      <a:lnTo>
                        <a:pt x="72541" y="19388"/>
                      </a:lnTo>
                      <a:lnTo>
                        <a:pt x="74472" y="20114"/>
                      </a:lnTo>
                      <a:lnTo>
                        <a:pt x="77936" y="20065"/>
                      </a:lnTo>
                      <a:lnTo>
                        <a:pt x="82940" y="20529"/>
                      </a:lnTo>
                      <a:lnTo>
                        <a:pt x="89101" y="20497"/>
                      </a:lnTo>
                      <a:lnTo>
                        <a:pt x="92687" y="19812"/>
                      </a:lnTo>
                      <a:lnTo>
                        <a:pt x="97275" y="18606"/>
                      </a:lnTo>
                      <a:lnTo>
                        <a:pt x="105458" y="15696"/>
                      </a:lnTo>
                      <a:lnTo>
                        <a:pt x="116223" y="9617"/>
                      </a:lnTo>
                      <a:lnTo>
                        <a:pt x="122564" y="6658"/>
                      </a:lnTo>
                      <a:lnTo>
                        <a:pt x="125286" y="6308"/>
                      </a:lnTo>
                      <a:lnTo>
                        <a:pt x="128839" y="6275"/>
                      </a:lnTo>
                      <a:lnTo>
                        <a:pt x="132384" y="7050"/>
                      </a:lnTo>
                      <a:lnTo>
                        <a:pt x="136418" y="7604"/>
                      </a:lnTo>
                      <a:lnTo>
                        <a:pt x="138276" y="7555"/>
                      </a:lnTo>
                      <a:lnTo>
                        <a:pt x="142637" y="6935"/>
                      </a:lnTo>
                      <a:lnTo>
                        <a:pt x="148301" y="5713"/>
                      </a:lnTo>
                      <a:lnTo>
                        <a:pt x="151854" y="4702"/>
                      </a:lnTo>
                      <a:lnTo>
                        <a:pt x="156149" y="3040"/>
                      </a:lnTo>
                      <a:lnTo>
                        <a:pt x="158830" y="293"/>
                      </a:lnTo>
                      <a:lnTo>
                        <a:pt x="159686" y="0"/>
                      </a:lnTo>
                      <a:lnTo>
                        <a:pt x="160803" y="505"/>
                      </a:lnTo>
                      <a:lnTo>
                        <a:pt x="161308" y="701"/>
                      </a:lnTo>
                      <a:lnTo>
                        <a:pt x="162416" y="2258"/>
                      </a:lnTo>
                      <a:close/>
                    </a:path>
                  </a:pathLst>
                </a:custGeom>
                <a:solidFill>
                  <a:srgbClr val="D6D6D2"/>
                </a:solidFill>
                <a:ln w="6112" cap="rnd">
                  <a:solidFill>
                    <a:srgbClr val="FFFFFF"/>
                  </a:solidFill>
                  <a:prstDash val="solid"/>
                  <a:round/>
                </a:ln>
              </p:spPr>
              <p:txBody>
                <a:bodyPr rtlCol="0" anchor="ctr"/>
                <a:lstStyle/>
                <a:p>
                  <a:endParaRPr lang="en-US"/>
                </a:p>
              </p:txBody>
            </p:sp>
            <p:sp>
              <p:nvSpPr>
                <p:cNvPr id="568" name="Freeform: Shape 567">
                  <a:extLst>
                    <a:ext uri="{FF2B5EF4-FFF2-40B4-BE49-F238E27FC236}">
                      <a16:creationId xmlns:a16="http://schemas.microsoft.com/office/drawing/2014/main" id="{A9555B90-3681-457E-850B-5CE81F39B0E4}"/>
                    </a:ext>
                  </a:extLst>
                </p:cNvPr>
                <p:cNvSpPr/>
                <p:nvPr/>
              </p:nvSpPr>
              <p:spPr>
                <a:xfrm>
                  <a:off x="6707229" y="5308452"/>
                  <a:ext cx="32868" cy="49517"/>
                </a:xfrm>
                <a:custGeom>
                  <a:avLst/>
                  <a:gdLst>
                    <a:gd name="connsiteX0" fmla="*/ 28785 w 32868"/>
                    <a:gd name="connsiteY0" fmla="*/ 6772 h 49517"/>
                    <a:gd name="connsiteX1" fmla="*/ 29290 w 32868"/>
                    <a:gd name="connsiteY1" fmla="*/ 7221 h 49517"/>
                    <a:gd name="connsiteX2" fmla="*/ 31572 w 32868"/>
                    <a:gd name="connsiteY2" fmla="*/ 8679 h 49517"/>
                    <a:gd name="connsiteX3" fmla="*/ 31776 w 32868"/>
                    <a:gd name="connsiteY3" fmla="*/ 11572 h 49517"/>
                    <a:gd name="connsiteX4" fmla="*/ 31556 w 32868"/>
                    <a:gd name="connsiteY4" fmla="*/ 14890 h 49517"/>
                    <a:gd name="connsiteX5" fmla="*/ 31091 w 32868"/>
                    <a:gd name="connsiteY5" fmla="*/ 16976 h 49517"/>
                    <a:gd name="connsiteX6" fmla="*/ 31279 w 32868"/>
                    <a:gd name="connsiteY6" fmla="*/ 19054 h 49517"/>
                    <a:gd name="connsiteX7" fmla="*/ 32012 w 32868"/>
                    <a:gd name="connsiteY7" fmla="*/ 22298 h 49517"/>
                    <a:gd name="connsiteX8" fmla="*/ 32697 w 32868"/>
                    <a:gd name="connsiteY8" fmla="*/ 24523 h 49517"/>
                    <a:gd name="connsiteX9" fmla="*/ 32868 w 32868"/>
                    <a:gd name="connsiteY9" fmla="*/ 34612 h 49517"/>
                    <a:gd name="connsiteX10" fmla="*/ 32094 w 32868"/>
                    <a:gd name="connsiteY10" fmla="*/ 34164 h 49517"/>
                    <a:gd name="connsiteX11" fmla="*/ 30692 w 32868"/>
                    <a:gd name="connsiteY11" fmla="*/ 33724 h 49517"/>
                    <a:gd name="connsiteX12" fmla="*/ 29942 w 32868"/>
                    <a:gd name="connsiteY12" fmla="*/ 33927 h 49517"/>
                    <a:gd name="connsiteX13" fmla="*/ 29258 w 32868"/>
                    <a:gd name="connsiteY13" fmla="*/ 38450 h 49517"/>
                    <a:gd name="connsiteX14" fmla="*/ 28728 w 32868"/>
                    <a:gd name="connsiteY14" fmla="*/ 45198 h 49517"/>
                    <a:gd name="connsiteX15" fmla="*/ 29037 w 32868"/>
                    <a:gd name="connsiteY15" fmla="*/ 49396 h 49517"/>
                    <a:gd name="connsiteX16" fmla="*/ 23683 w 32868"/>
                    <a:gd name="connsiteY16" fmla="*/ 49518 h 49517"/>
                    <a:gd name="connsiteX17" fmla="*/ 16911 w 32868"/>
                    <a:gd name="connsiteY17" fmla="*/ 49061 h 49517"/>
                    <a:gd name="connsiteX18" fmla="*/ 12061 w 32868"/>
                    <a:gd name="connsiteY18" fmla="*/ 47252 h 49517"/>
                    <a:gd name="connsiteX19" fmla="*/ 6838 w 32868"/>
                    <a:gd name="connsiteY19" fmla="*/ 43267 h 49517"/>
                    <a:gd name="connsiteX20" fmla="*/ 3741 w 32868"/>
                    <a:gd name="connsiteY20" fmla="*/ 37032 h 49517"/>
                    <a:gd name="connsiteX21" fmla="*/ 2372 w 32868"/>
                    <a:gd name="connsiteY21" fmla="*/ 33129 h 49517"/>
                    <a:gd name="connsiteX22" fmla="*/ 473 w 32868"/>
                    <a:gd name="connsiteY22" fmla="*/ 32909 h 49517"/>
                    <a:gd name="connsiteX23" fmla="*/ 171 w 32868"/>
                    <a:gd name="connsiteY23" fmla="*/ 32248 h 49517"/>
                    <a:gd name="connsiteX24" fmla="*/ 0 w 32868"/>
                    <a:gd name="connsiteY24" fmla="*/ 27481 h 49517"/>
                    <a:gd name="connsiteX25" fmla="*/ 41 w 32868"/>
                    <a:gd name="connsiteY25" fmla="*/ 22485 h 49517"/>
                    <a:gd name="connsiteX26" fmla="*/ 399 w 32868"/>
                    <a:gd name="connsiteY26" fmla="*/ 21149 h 49517"/>
                    <a:gd name="connsiteX27" fmla="*/ 3912 w 32868"/>
                    <a:gd name="connsiteY27" fmla="*/ 15004 h 49517"/>
                    <a:gd name="connsiteX28" fmla="*/ 6096 w 32868"/>
                    <a:gd name="connsiteY28" fmla="*/ 11182 h 49517"/>
                    <a:gd name="connsiteX29" fmla="*/ 7457 w 32868"/>
                    <a:gd name="connsiteY29" fmla="*/ 7490 h 49517"/>
                    <a:gd name="connsiteX30" fmla="*/ 10407 w 32868"/>
                    <a:gd name="connsiteY30" fmla="*/ 3162 h 49517"/>
                    <a:gd name="connsiteX31" fmla="*/ 13586 w 32868"/>
                    <a:gd name="connsiteY31" fmla="*/ 399 h 49517"/>
                    <a:gd name="connsiteX32" fmla="*/ 14759 w 32868"/>
                    <a:gd name="connsiteY32" fmla="*/ 0 h 49517"/>
                    <a:gd name="connsiteX33" fmla="*/ 15558 w 32868"/>
                    <a:gd name="connsiteY33" fmla="*/ 114 h 49517"/>
                    <a:gd name="connsiteX34" fmla="*/ 21157 w 32868"/>
                    <a:gd name="connsiteY34" fmla="*/ 3920 h 49517"/>
                    <a:gd name="connsiteX35" fmla="*/ 26886 w 32868"/>
                    <a:gd name="connsiteY35" fmla="*/ 7522 h 49517"/>
                    <a:gd name="connsiteX36" fmla="*/ 28125 w 32868"/>
                    <a:gd name="connsiteY36" fmla="*/ 7123 h 49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2868" h="49517">
                      <a:moveTo>
                        <a:pt x="28785" y="6772"/>
                      </a:moveTo>
                      <a:lnTo>
                        <a:pt x="29290" y="7221"/>
                      </a:lnTo>
                      <a:lnTo>
                        <a:pt x="31572" y="8679"/>
                      </a:lnTo>
                      <a:lnTo>
                        <a:pt x="31776" y="11572"/>
                      </a:lnTo>
                      <a:lnTo>
                        <a:pt x="31556" y="14890"/>
                      </a:lnTo>
                      <a:lnTo>
                        <a:pt x="31091" y="16976"/>
                      </a:lnTo>
                      <a:lnTo>
                        <a:pt x="31279" y="19054"/>
                      </a:lnTo>
                      <a:lnTo>
                        <a:pt x="32012" y="22298"/>
                      </a:lnTo>
                      <a:lnTo>
                        <a:pt x="32697" y="24523"/>
                      </a:lnTo>
                      <a:lnTo>
                        <a:pt x="32868" y="34612"/>
                      </a:lnTo>
                      <a:lnTo>
                        <a:pt x="32094" y="34164"/>
                      </a:lnTo>
                      <a:lnTo>
                        <a:pt x="30692" y="33724"/>
                      </a:lnTo>
                      <a:lnTo>
                        <a:pt x="29942" y="33927"/>
                      </a:lnTo>
                      <a:lnTo>
                        <a:pt x="29258" y="38450"/>
                      </a:lnTo>
                      <a:lnTo>
                        <a:pt x="28728" y="45198"/>
                      </a:lnTo>
                      <a:lnTo>
                        <a:pt x="29037" y="49396"/>
                      </a:lnTo>
                      <a:lnTo>
                        <a:pt x="23683" y="49518"/>
                      </a:lnTo>
                      <a:lnTo>
                        <a:pt x="16911" y="49061"/>
                      </a:lnTo>
                      <a:lnTo>
                        <a:pt x="12061" y="47252"/>
                      </a:lnTo>
                      <a:lnTo>
                        <a:pt x="6838" y="43267"/>
                      </a:lnTo>
                      <a:lnTo>
                        <a:pt x="3741" y="37032"/>
                      </a:lnTo>
                      <a:lnTo>
                        <a:pt x="2372" y="33129"/>
                      </a:lnTo>
                      <a:lnTo>
                        <a:pt x="473" y="32909"/>
                      </a:lnTo>
                      <a:lnTo>
                        <a:pt x="171" y="32248"/>
                      </a:lnTo>
                      <a:lnTo>
                        <a:pt x="0" y="27481"/>
                      </a:lnTo>
                      <a:lnTo>
                        <a:pt x="41" y="22485"/>
                      </a:lnTo>
                      <a:lnTo>
                        <a:pt x="399" y="21149"/>
                      </a:lnTo>
                      <a:lnTo>
                        <a:pt x="3912" y="15004"/>
                      </a:lnTo>
                      <a:lnTo>
                        <a:pt x="6096" y="11182"/>
                      </a:lnTo>
                      <a:lnTo>
                        <a:pt x="7457" y="7490"/>
                      </a:lnTo>
                      <a:lnTo>
                        <a:pt x="10407" y="3162"/>
                      </a:lnTo>
                      <a:lnTo>
                        <a:pt x="13586" y="399"/>
                      </a:lnTo>
                      <a:lnTo>
                        <a:pt x="14759" y="0"/>
                      </a:lnTo>
                      <a:lnTo>
                        <a:pt x="15558" y="114"/>
                      </a:lnTo>
                      <a:lnTo>
                        <a:pt x="21157" y="3920"/>
                      </a:lnTo>
                      <a:lnTo>
                        <a:pt x="26886" y="7522"/>
                      </a:lnTo>
                      <a:lnTo>
                        <a:pt x="28125" y="7123"/>
                      </a:lnTo>
                      <a:close/>
                    </a:path>
                  </a:pathLst>
                </a:custGeom>
                <a:solidFill>
                  <a:srgbClr val="D6D6D2"/>
                </a:solidFill>
                <a:ln w="6112" cap="flat">
                  <a:solidFill>
                    <a:srgbClr val="FFFFFF"/>
                  </a:solidFill>
                  <a:prstDash val="solid"/>
                  <a:miter/>
                </a:ln>
              </p:spPr>
              <p:txBody>
                <a:bodyPr rtlCol="0" anchor="ctr"/>
                <a:lstStyle/>
                <a:p>
                  <a:endParaRPr lang="en-US"/>
                </a:p>
              </p:txBody>
            </p:sp>
            <p:sp>
              <p:nvSpPr>
                <p:cNvPr id="569" name="Freeform: Shape 568">
                  <a:extLst>
                    <a:ext uri="{FF2B5EF4-FFF2-40B4-BE49-F238E27FC236}">
                      <a16:creationId xmlns:a16="http://schemas.microsoft.com/office/drawing/2014/main" id="{EAA32D0D-390B-47B9-AFB2-D6AAC989FDC2}"/>
                    </a:ext>
                  </a:extLst>
                </p:cNvPr>
                <p:cNvSpPr/>
                <p:nvPr/>
              </p:nvSpPr>
              <p:spPr>
                <a:xfrm>
                  <a:off x="6350238" y="2648355"/>
                  <a:ext cx="17945" cy="42745"/>
                </a:xfrm>
                <a:custGeom>
                  <a:avLst/>
                  <a:gdLst>
                    <a:gd name="connsiteX0" fmla="*/ 3333 w 17945"/>
                    <a:gd name="connsiteY0" fmla="*/ 40814 h 42745"/>
                    <a:gd name="connsiteX1" fmla="*/ 2054 w 17945"/>
                    <a:gd name="connsiteY1" fmla="*/ 42745 h 42745"/>
                    <a:gd name="connsiteX2" fmla="*/ 937 w 17945"/>
                    <a:gd name="connsiteY2" fmla="*/ 42615 h 42745"/>
                    <a:gd name="connsiteX3" fmla="*/ 180 w 17945"/>
                    <a:gd name="connsiteY3" fmla="*/ 40031 h 42745"/>
                    <a:gd name="connsiteX4" fmla="*/ 0 w 17945"/>
                    <a:gd name="connsiteY4" fmla="*/ 33365 h 42745"/>
                    <a:gd name="connsiteX5" fmla="*/ 457 w 17945"/>
                    <a:gd name="connsiteY5" fmla="*/ 30081 h 42745"/>
                    <a:gd name="connsiteX6" fmla="*/ 5860 w 17945"/>
                    <a:gd name="connsiteY6" fmla="*/ 18174 h 42745"/>
                    <a:gd name="connsiteX7" fmla="*/ 8280 w 17945"/>
                    <a:gd name="connsiteY7" fmla="*/ 17196 h 42745"/>
                    <a:gd name="connsiteX8" fmla="*/ 11670 w 17945"/>
                    <a:gd name="connsiteY8" fmla="*/ 9886 h 42745"/>
                    <a:gd name="connsiteX9" fmla="*/ 12592 w 17945"/>
                    <a:gd name="connsiteY9" fmla="*/ 6626 h 42745"/>
                    <a:gd name="connsiteX10" fmla="*/ 14067 w 17945"/>
                    <a:gd name="connsiteY10" fmla="*/ 3692 h 42745"/>
                    <a:gd name="connsiteX11" fmla="*/ 14922 w 17945"/>
                    <a:gd name="connsiteY11" fmla="*/ 1068 h 42745"/>
                    <a:gd name="connsiteX12" fmla="*/ 15656 w 17945"/>
                    <a:gd name="connsiteY12" fmla="*/ 0 h 42745"/>
                    <a:gd name="connsiteX13" fmla="*/ 17245 w 17945"/>
                    <a:gd name="connsiteY13" fmla="*/ 497 h 42745"/>
                    <a:gd name="connsiteX14" fmla="*/ 17946 w 17945"/>
                    <a:gd name="connsiteY14" fmla="*/ 986 h 42745"/>
                    <a:gd name="connsiteX15" fmla="*/ 16275 w 17945"/>
                    <a:gd name="connsiteY15" fmla="*/ 2510 h 42745"/>
                    <a:gd name="connsiteX16" fmla="*/ 16479 w 17945"/>
                    <a:gd name="connsiteY16" fmla="*/ 4499 h 42745"/>
                    <a:gd name="connsiteX17" fmla="*/ 16357 w 17945"/>
                    <a:gd name="connsiteY17" fmla="*/ 5330 h 42745"/>
                    <a:gd name="connsiteX18" fmla="*/ 12143 w 17945"/>
                    <a:gd name="connsiteY18" fmla="*/ 13977 h 42745"/>
                    <a:gd name="connsiteX19" fmla="*/ 11018 w 17945"/>
                    <a:gd name="connsiteY19" fmla="*/ 19576 h 42745"/>
                    <a:gd name="connsiteX20" fmla="*/ 9519 w 17945"/>
                    <a:gd name="connsiteY20" fmla="*/ 20945 h 42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945" h="42745">
                      <a:moveTo>
                        <a:pt x="3333" y="40814"/>
                      </a:moveTo>
                      <a:lnTo>
                        <a:pt x="2054" y="42745"/>
                      </a:lnTo>
                      <a:lnTo>
                        <a:pt x="937" y="42615"/>
                      </a:lnTo>
                      <a:lnTo>
                        <a:pt x="180" y="40031"/>
                      </a:lnTo>
                      <a:lnTo>
                        <a:pt x="0" y="33365"/>
                      </a:lnTo>
                      <a:lnTo>
                        <a:pt x="457" y="30081"/>
                      </a:lnTo>
                      <a:lnTo>
                        <a:pt x="5860" y="18174"/>
                      </a:lnTo>
                      <a:lnTo>
                        <a:pt x="8280" y="17196"/>
                      </a:lnTo>
                      <a:lnTo>
                        <a:pt x="11670" y="9886"/>
                      </a:lnTo>
                      <a:lnTo>
                        <a:pt x="12592" y="6626"/>
                      </a:lnTo>
                      <a:lnTo>
                        <a:pt x="14067" y="3692"/>
                      </a:lnTo>
                      <a:lnTo>
                        <a:pt x="14922" y="1068"/>
                      </a:lnTo>
                      <a:lnTo>
                        <a:pt x="15656" y="0"/>
                      </a:lnTo>
                      <a:lnTo>
                        <a:pt x="17245" y="497"/>
                      </a:lnTo>
                      <a:lnTo>
                        <a:pt x="17946" y="986"/>
                      </a:lnTo>
                      <a:lnTo>
                        <a:pt x="16275" y="2510"/>
                      </a:lnTo>
                      <a:lnTo>
                        <a:pt x="16479" y="4499"/>
                      </a:lnTo>
                      <a:lnTo>
                        <a:pt x="16357" y="5330"/>
                      </a:lnTo>
                      <a:lnTo>
                        <a:pt x="12143" y="13977"/>
                      </a:lnTo>
                      <a:lnTo>
                        <a:pt x="11018" y="19576"/>
                      </a:lnTo>
                      <a:lnTo>
                        <a:pt x="9519" y="20945"/>
                      </a:lnTo>
                      <a:close/>
                    </a:path>
                  </a:pathLst>
                </a:custGeom>
                <a:solidFill>
                  <a:srgbClr val="D6D6D2"/>
                </a:solidFill>
                <a:ln w="8150" cap="flat">
                  <a:noFill/>
                  <a:prstDash val="solid"/>
                  <a:miter/>
                </a:ln>
              </p:spPr>
              <p:txBody>
                <a:bodyPr rtlCol="0" anchor="ctr"/>
                <a:lstStyle/>
                <a:p>
                  <a:endParaRPr lang="en-US"/>
                </a:p>
              </p:txBody>
            </p:sp>
            <p:sp>
              <p:nvSpPr>
                <p:cNvPr id="570" name="Freeform: Shape 569">
                  <a:extLst>
                    <a:ext uri="{FF2B5EF4-FFF2-40B4-BE49-F238E27FC236}">
                      <a16:creationId xmlns:a16="http://schemas.microsoft.com/office/drawing/2014/main" id="{13CB243F-1389-4ED1-A90F-38010B3E5435}"/>
                    </a:ext>
                  </a:extLst>
                </p:cNvPr>
                <p:cNvSpPr/>
                <p:nvPr/>
              </p:nvSpPr>
              <p:spPr>
                <a:xfrm>
                  <a:off x="6392674" y="2626114"/>
                  <a:ext cx="24090" cy="38719"/>
                </a:xfrm>
                <a:custGeom>
                  <a:avLst/>
                  <a:gdLst>
                    <a:gd name="connsiteX0" fmla="*/ 24091 w 24090"/>
                    <a:gd name="connsiteY0" fmla="*/ 3113 h 38719"/>
                    <a:gd name="connsiteX1" fmla="*/ 22037 w 24090"/>
                    <a:gd name="connsiteY1" fmla="*/ 4034 h 38719"/>
                    <a:gd name="connsiteX2" fmla="*/ 20839 w 24090"/>
                    <a:gd name="connsiteY2" fmla="*/ 6797 h 38719"/>
                    <a:gd name="connsiteX3" fmla="*/ 19176 w 24090"/>
                    <a:gd name="connsiteY3" fmla="*/ 7253 h 38719"/>
                    <a:gd name="connsiteX4" fmla="*/ 17587 w 24090"/>
                    <a:gd name="connsiteY4" fmla="*/ 8174 h 38719"/>
                    <a:gd name="connsiteX5" fmla="*/ 17008 w 24090"/>
                    <a:gd name="connsiteY5" fmla="*/ 16878 h 38719"/>
                    <a:gd name="connsiteX6" fmla="*/ 19918 w 24090"/>
                    <a:gd name="connsiteY6" fmla="*/ 20162 h 38719"/>
                    <a:gd name="connsiteX7" fmla="*/ 18320 w 24090"/>
                    <a:gd name="connsiteY7" fmla="*/ 20635 h 38719"/>
                    <a:gd name="connsiteX8" fmla="*/ 16862 w 24090"/>
                    <a:gd name="connsiteY8" fmla="*/ 21621 h 38719"/>
                    <a:gd name="connsiteX9" fmla="*/ 15826 w 24090"/>
                    <a:gd name="connsiteY9" fmla="*/ 23080 h 38719"/>
                    <a:gd name="connsiteX10" fmla="*/ 14751 w 24090"/>
                    <a:gd name="connsiteY10" fmla="*/ 26218 h 38719"/>
                    <a:gd name="connsiteX11" fmla="*/ 10749 w 24090"/>
                    <a:gd name="connsiteY11" fmla="*/ 28003 h 38719"/>
                    <a:gd name="connsiteX12" fmla="*/ 9225 w 24090"/>
                    <a:gd name="connsiteY12" fmla="*/ 29315 h 38719"/>
                    <a:gd name="connsiteX13" fmla="*/ 7009 w 24090"/>
                    <a:gd name="connsiteY13" fmla="*/ 32240 h 38719"/>
                    <a:gd name="connsiteX14" fmla="*/ 5835 w 24090"/>
                    <a:gd name="connsiteY14" fmla="*/ 36486 h 38719"/>
                    <a:gd name="connsiteX15" fmla="*/ 3577 w 24090"/>
                    <a:gd name="connsiteY15" fmla="*/ 38296 h 38719"/>
                    <a:gd name="connsiteX16" fmla="*/ 1027 w 24090"/>
                    <a:gd name="connsiteY16" fmla="*/ 38719 h 38719"/>
                    <a:gd name="connsiteX17" fmla="*/ 2518 w 24090"/>
                    <a:gd name="connsiteY17" fmla="*/ 35248 h 38719"/>
                    <a:gd name="connsiteX18" fmla="*/ 4474 w 24090"/>
                    <a:gd name="connsiteY18" fmla="*/ 32412 h 38719"/>
                    <a:gd name="connsiteX19" fmla="*/ 2592 w 24090"/>
                    <a:gd name="connsiteY19" fmla="*/ 30472 h 38719"/>
                    <a:gd name="connsiteX20" fmla="*/ 1458 w 24090"/>
                    <a:gd name="connsiteY20" fmla="*/ 27424 h 38719"/>
                    <a:gd name="connsiteX21" fmla="*/ 0 w 24090"/>
                    <a:gd name="connsiteY21" fmla="*/ 25093 h 38719"/>
                    <a:gd name="connsiteX22" fmla="*/ 1165 w 24090"/>
                    <a:gd name="connsiteY22" fmla="*/ 22477 h 38719"/>
                    <a:gd name="connsiteX23" fmla="*/ 603 w 24090"/>
                    <a:gd name="connsiteY23" fmla="*/ 18190 h 38719"/>
                    <a:gd name="connsiteX24" fmla="*/ 782 w 24090"/>
                    <a:gd name="connsiteY24" fmla="*/ 14001 h 38719"/>
                    <a:gd name="connsiteX25" fmla="*/ 2477 w 24090"/>
                    <a:gd name="connsiteY25" fmla="*/ 11890 h 38719"/>
                    <a:gd name="connsiteX26" fmla="*/ 4417 w 24090"/>
                    <a:gd name="connsiteY26" fmla="*/ 10163 h 38719"/>
                    <a:gd name="connsiteX27" fmla="*/ 7440 w 24090"/>
                    <a:gd name="connsiteY27" fmla="*/ 6194 h 38719"/>
                    <a:gd name="connsiteX28" fmla="*/ 10725 w 24090"/>
                    <a:gd name="connsiteY28" fmla="*/ 3317 h 38719"/>
                    <a:gd name="connsiteX29" fmla="*/ 15305 w 24090"/>
                    <a:gd name="connsiteY29" fmla="*/ 2021 h 38719"/>
                    <a:gd name="connsiteX30" fmla="*/ 17359 w 24090"/>
                    <a:gd name="connsiteY30" fmla="*/ 3211 h 38719"/>
                    <a:gd name="connsiteX31" fmla="*/ 18263 w 24090"/>
                    <a:gd name="connsiteY31" fmla="*/ 595 h 38719"/>
                    <a:gd name="connsiteX32" fmla="*/ 19730 w 24090"/>
                    <a:gd name="connsiteY32" fmla="*/ 0 h 38719"/>
                    <a:gd name="connsiteX33" fmla="*/ 21116 w 24090"/>
                    <a:gd name="connsiteY33" fmla="*/ 603 h 3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4090" h="38719">
                      <a:moveTo>
                        <a:pt x="24091" y="3113"/>
                      </a:moveTo>
                      <a:lnTo>
                        <a:pt x="22037" y="4034"/>
                      </a:lnTo>
                      <a:lnTo>
                        <a:pt x="20839" y="6797"/>
                      </a:lnTo>
                      <a:lnTo>
                        <a:pt x="19176" y="7253"/>
                      </a:lnTo>
                      <a:lnTo>
                        <a:pt x="17587" y="8174"/>
                      </a:lnTo>
                      <a:lnTo>
                        <a:pt x="17008" y="16878"/>
                      </a:lnTo>
                      <a:lnTo>
                        <a:pt x="19918" y="20162"/>
                      </a:lnTo>
                      <a:lnTo>
                        <a:pt x="18320" y="20635"/>
                      </a:lnTo>
                      <a:lnTo>
                        <a:pt x="16862" y="21621"/>
                      </a:lnTo>
                      <a:lnTo>
                        <a:pt x="15826" y="23080"/>
                      </a:lnTo>
                      <a:lnTo>
                        <a:pt x="14751" y="26218"/>
                      </a:lnTo>
                      <a:lnTo>
                        <a:pt x="10749" y="28003"/>
                      </a:lnTo>
                      <a:lnTo>
                        <a:pt x="9225" y="29315"/>
                      </a:lnTo>
                      <a:lnTo>
                        <a:pt x="7009" y="32240"/>
                      </a:lnTo>
                      <a:lnTo>
                        <a:pt x="5835" y="36486"/>
                      </a:lnTo>
                      <a:lnTo>
                        <a:pt x="3577" y="38296"/>
                      </a:lnTo>
                      <a:lnTo>
                        <a:pt x="1027" y="38719"/>
                      </a:lnTo>
                      <a:lnTo>
                        <a:pt x="2518" y="35248"/>
                      </a:lnTo>
                      <a:lnTo>
                        <a:pt x="4474" y="32412"/>
                      </a:lnTo>
                      <a:lnTo>
                        <a:pt x="2592" y="30472"/>
                      </a:lnTo>
                      <a:lnTo>
                        <a:pt x="1458" y="27424"/>
                      </a:lnTo>
                      <a:lnTo>
                        <a:pt x="0" y="25093"/>
                      </a:lnTo>
                      <a:lnTo>
                        <a:pt x="1165" y="22477"/>
                      </a:lnTo>
                      <a:lnTo>
                        <a:pt x="603" y="18190"/>
                      </a:lnTo>
                      <a:lnTo>
                        <a:pt x="782" y="14001"/>
                      </a:lnTo>
                      <a:lnTo>
                        <a:pt x="2477" y="11890"/>
                      </a:lnTo>
                      <a:lnTo>
                        <a:pt x="4417" y="10163"/>
                      </a:lnTo>
                      <a:lnTo>
                        <a:pt x="7440" y="6194"/>
                      </a:lnTo>
                      <a:lnTo>
                        <a:pt x="10725" y="3317"/>
                      </a:lnTo>
                      <a:lnTo>
                        <a:pt x="15305" y="2021"/>
                      </a:lnTo>
                      <a:lnTo>
                        <a:pt x="17359" y="3211"/>
                      </a:lnTo>
                      <a:lnTo>
                        <a:pt x="18263" y="595"/>
                      </a:lnTo>
                      <a:lnTo>
                        <a:pt x="19730" y="0"/>
                      </a:lnTo>
                      <a:lnTo>
                        <a:pt x="21116" y="603"/>
                      </a:lnTo>
                      <a:close/>
                    </a:path>
                  </a:pathLst>
                </a:custGeom>
                <a:solidFill>
                  <a:srgbClr val="D6D6D2"/>
                </a:solidFill>
                <a:ln w="8150" cap="flat">
                  <a:noFill/>
                  <a:prstDash val="solid"/>
                  <a:miter/>
                </a:ln>
              </p:spPr>
              <p:txBody>
                <a:bodyPr rtlCol="0" anchor="ctr"/>
                <a:lstStyle/>
                <a:p>
                  <a:endParaRPr lang="en-US"/>
                </a:p>
              </p:txBody>
            </p:sp>
            <p:sp>
              <p:nvSpPr>
                <p:cNvPr id="571" name="Freeform: Shape 570">
                  <a:extLst>
                    <a:ext uri="{FF2B5EF4-FFF2-40B4-BE49-F238E27FC236}">
                      <a16:creationId xmlns:a16="http://schemas.microsoft.com/office/drawing/2014/main" id="{8E354283-CF62-4A1D-951E-9FA2BF65BD0D}"/>
                    </a:ext>
                  </a:extLst>
                </p:cNvPr>
                <p:cNvSpPr/>
                <p:nvPr/>
              </p:nvSpPr>
              <p:spPr>
                <a:xfrm>
                  <a:off x="6220112" y="2164986"/>
                  <a:ext cx="322623" cy="560375"/>
                </a:xfrm>
                <a:custGeom>
                  <a:avLst/>
                  <a:gdLst>
                    <a:gd name="connsiteX0" fmla="*/ 290342 w 322623"/>
                    <a:gd name="connsiteY0" fmla="*/ 29412 h 560375"/>
                    <a:gd name="connsiteX1" fmla="*/ 293366 w 322623"/>
                    <a:gd name="connsiteY1" fmla="*/ 31637 h 560375"/>
                    <a:gd name="connsiteX2" fmla="*/ 296398 w 322623"/>
                    <a:gd name="connsiteY2" fmla="*/ 34204 h 560375"/>
                    <a:gd name="connsiteX3" fmla="*/ 298492 w 322623"/>
                    <a:gd name="connsiteY3" fmla="*/ 39485 h 560375"/>
                    <a:gd name="connsiteX4" fmla="*/ 301874 w 322623"/>
                    <a:gd name="connsiteY4" fmla="*/ 39763 h 560375"/>
                    <a:gd name="connsiteX5" fmla="*/ 302795 w 322623"/>
                    <a:gd name="connsiteY5" fmla="*/ 41580 h 560375"/>
                    <a:gd name="connsiteX6" fmla="*/ 305729 w 322623"/>
                    <a:gd name="connsiteY6" fmla="*/ 44693 h 560375"/>
                    <a:gd name="connsiteX7" fmla="*/ 309812 w 322623"/>
                    <a:gd name="connsiteY7" fmla="*/ 47431 h 560375"/>
                    <a:gd name="connsiteX8" fmla="*/ 309665 w 322623"/>
                    <a:gd name="connsiteY8" fmla="*/ 48352 h 560375"/>
                    <a:gd name="connsiteX9" fmla="*/ 306422 w 322623"/>
                    <a:gd name="connsiteY9" fmla="*/ 50871 h 560375"/>
                    <a:gd name="connsiteX10" fmla="*/ 306063 w 322623"/>
                    <a:gd name="connsiteY10" fmla="*/ 54294 h 560375"/>
                    <a:gd name="connsiteX11" fmla="*/ 306373 w 322623"/>
                    <a:gd name="connsiteY11" fmla="*/ 58654 h 560375"/>
                    <a:gd name="connsiteX12" fmla="*/ 307392 w 322623"/>
                    <a:gd name="connsiteY12" fmla="*/ 62215 h 560375"/>
                    <a:gd name="connsiteX13" fmla="*/ 307302 w 322623"/>
                    <a:gd name="connsiteY13" fmla="*/ 63250 h 560375"/>
                    <a:gd name="connsiteX14" fmla="*/ 306479 w 322623"/>
                    <a:gd name="connsiteY14" fmla="*/ 64464 h 560375"/>
                    <a:gd name="connsiteX15" fmla="*/ 305509 w 322623"/>
                    <a:gd name="connsiteY15" fmla="*/ 66388 h 560375"/>
                    <a:gd name="connsiteX16" fmla="*/ 305167 w 322623"/>
                    <a:gd name="connsiteY16" fmla="*/ 68058 h 560375"/>
                    <a:gd name="connsiteX17" fmla="*/ 305256 w 322623"/>
                    <a:gd name="connsiteY17" fmla="*/ 68882 h 560375"/>
                    <a:gd name="connsiteX18" fmla="*/ 305582 w 322623"/>
                    <a:gd name="connsiteY18" fmla="*/ 69330 h 560375"/>
                    <a:gd name="connsiteX19" fmla="*/ 307302 w 322623"/>
                    <a:gd name="connsiteY19" fmla="*/ 69362 h 560375"/>
                    <a:gd name="connsiteX20" fmla="*/ 310366 w 322623"/>
                    <a:gd name="connsiteY20" fmla="*/ 69762 h 560375"/>
                    <a:gd name="connsiteX21" fmla="*/ 312168 w 322623"/>
                    <a:gd name="connsiteY21" fmla="*/ 70503 h 560375"/>
                    <a:gd name="connsiteX22" fmla="*/ 313186 w 322623"/>
                    <a:gd name="connsiteY22" fmla="*/ 74570 h 560375"/>
                    <a:gd name="connsiteX23" fmla="*/ 312836 w 322623"/>
                    <a:gd name="connsiteY23" fmla="*/ 75361 h 560375"/>
                    <a:gd name="connsiteX24" fmla="*/ 310260 w 322623"/>
                    <a:gd name="connsiteY24" fmla="*/ 77202 h 560375"/>
                    <a:gd name="connsiteX25" fmla="*/ 309494 w 322623"/>
                    <a:gd name="connsiteY25" fmla="*/ 78669 h 560375"/>
                    <a:gd name="connsiteX26" fmla="*/ 309421 w 322623"/>
                    <a:gd name="connsiteY26" fmla="*/ 80813 h 560375"/>
                    <a:gd name="connsiteX27" fmla="*/ 309877 w 322623"/>
                    <a:gd name="connsiteY27" fmla="*/ 83176 h 560375"/>
                    <a:gd name="connsiteX28" fmla="*/ 310766 w 322623"/>
                    <a:gd name="connsiteY28" fmla="*/ 85817 h 560375"/>
                    <a:gd name="connsiteX29" fmla="*/ 312795 w 322623"/>
                    <a:gd name="connsiteY29" fmla="*/ 88636 h 560375"/>
                    <a:gd name="connsiteX30" fmla="*/ 315533 w 322623"/>
                    <a:gd name="connsiteY30" fmla="*/ 91587 h 560375"/>
                    <a:gd name="connsiteX31" fmla="*/ 317326 w 322623"/>
                    <a:gd name="connsiteY31" fmla="*/ 94007 h 560375"/>
                    <a:gd name="connsiteX32" fmla="*/ 318182 w 322623"/>
                    <a:gd name="connsiteY32" fmla="*/ 95710 h 560375"/>
                    <a:gd name="connsiteX33" fmla="*/ 318492 w 322623"/>
                    <a:gd name="connsiteY33" fmla="*/ 96900 h 560375"/>
                    <a:gd name="connsiteX34" fmla="*/ 317253 w 322623"/>
                    <a:gd name="connsiteY34" fmla="*/ 98392 h 560375"/>
                    <a:gd name="connsiteX35" fmla="*/ 316144 w 322623"/>
                    <a:gd name="connsiteY35" fmla="*/ 101350 h 560375"/>
                    <a:gd name="connsiteX36" fmla="*/ 315940 w 322623"/>
                    <a:gd name="connsiteY36" fmla="*/ 104732 h 560375"/>
                    <a:gd name="connsiteX37" fmla="*/ 315436 w 322623"/>
                    <a:gd name="connsiteY37" fmla="*/ 106933 h 560375"/>
                    <a:gd name="connsiteX38" fmla="*/ 313031 w 322623"/>
                    <a:gd name="connsiteY38" fmla="*/ 109964 h 560375"/>
                    <a:gd name="connsiteX39" fmla="*/ 311361 w 322623"/>
                    <a:gd name="connsiteY39" fmla="*/ 111040 h 560375"/>
                    <a:gd name="connsiteX40" fmla="*/ 310888 w 322623"/>
                    <a:gd name="connsiteY40" fmla="*/ 112637 h 560375"/>
                    <a:gd name="connsiteX41" fmla="*/ 310692 w 322623"/>
                    <a:gd name="connsiteY41" fmla="*/ 115319 h 560375"/>
                    <a:gd name="connsiteX42" fmla="*/ 311165 w 322623"/>
                    <a:gd name="connsiteY42" fmla="*/ 118587 h 560375"/>
                    <a:gd name="connsiteX43" fmla="*/ 311336 w 322623"/>
                    <a:gd name="connsiteY43" fmla="*/ 120787 h 560375"/>
                    <a:gd name="connsiteX44" fmla="*/ 311850 w 322623"/>
                    <a:gd name="connsiteY44" fmla="*/ 122376 h 560375"/>
                    <a:gd name="connsiteX45" fmla="*/ 312607 w 322623"/>
                    <a:gd name="connsiteY45" fmla="*/ 123411 h 560375"/>
                    <a:gd name="connsiteX46" fmla="*/ 316470 w 322623"/>
                    <a:gd name="connsiteY46" fmla="*/ 125245 h 560375"/>
                    <a:gd name="connsiteX47" fmla="*/ 318638 w 322623"/>
                    <a:gd name="connsiteY47" fmla="*/ 128986 h 560375"/>
                    <a:gd name="connsiteX48" fmla="*/ 319991 w 322623"/>
                    <a:gd name="connsiteY48" fmla="*/ 131993 h 560375"/>
                    <a:gd name="connsiteX49" fmla="*/ 322623 w 322623"/>
                    <a:gd name="connsiteY49" fmla="*/ 139833 h 560375"/>
                    <a:gd name="connsiteX50" fmla="*/ 316063 w 322623"/>
                    <a:gd name="connsiteY50" fmla="*/ 140819 h 560375"/>
                    <a:gd name="connsiteX51" fmla="*/ 311116 w 322623"/>
                    <a:gd name="connsiteY51" fmla="*/ 138855 h 560375"/>
                    <a:gd name="connsiteX52" fmla="*/ 308655 w 322623"/>
                    <a:gd name="connsiteY52" fmla="*/ 139833 h 560375"/>
                    <a:gd name="connsiteX53" fmla="*/ 304336 w 322623"/>
                    <a:gd name="connsiteY53" fmla="*/ 139874 h 560375"/>
                    <a:gd name="connsiteX54" fmla="*/ 299454 w 322623"/>
                    <a:gd name="connsiteY54" fmla="*/ 140656 h 560375"/>
                    <a:gd name="connsiteX55" fmla="*/ 297807 w 322623"/>
                    <a:gd name="connsiteY55" fmla="*/ 142188 h 560375"/>
                    <a:gd name="connsiteX56" fmla="*/ 296504 w 322623"/>
                    <a:gd name="connsiteY56" fmla="*/ 142808 h 560375"/>
                    <a:gd name="connsiteX57" fmla="*/ 291972 w 322623"/>
                    <a:gd name="connsiteY57" fmla="*/ 140640 h 560375"/>
                    <a:gd name="connsiteX58" fmla="*/ 287685 w 322623"/>
                    <a:gd name="connsiteY58" fmla="*/ 137054 h 560375"/>
                    <a:gd name="connsiteX59" fmla="*/ 284556 w 322623"/>
                    <a:gd name="connsiteY59" fmla="*/ 139784 h 560375"/>
                    <a:gd name="connsiteX60" fmla="*/ 282527 w 322623"/>
                    <a:gd name="connsiteY60" fmla="*/ 140306 h 560375"/>
                    <a:gd name="connsiteX61" fmla="*/ 280701 w 322623"/>
                    <a:gd name="connsiteY61" fmla="*/ 137828 h 560375"/>
                    <a:gd name="connsiteX62" fmla="*/ 279120 w 322623"/>
                    <a:gd name="connsiteY62" fmla="*/ 137421 h 560375"/>
                    <a:gd name="connsiteX63" fmla="*/ 278248 w 322623"/>
                    <a:gd name="connsiteY63" fmla="*/ 138252 h 560375"/>
                    <a:gd name="connsiteX64" fmla="*/ 277498 w 322623"/>
                    <a:gd name="connsiteY64" fmla="*/ 140436 h 560375"/>
                    <a:gd name="connsiteX65" fmla="*/ 276301 w 322623"/>
                    <a:gd name="connsiteY65" fmla="*/ 142164 h 560375"/>
                    <a:gd name="connsiteX66" fmla="*/ 275991 w 322623"/>
                    <a:gd name="connsiteY66" fmla="*/ 143248 h 560375"/>
                    <a:gd name="connsiteX67" fmla="*/ 275779 w 322623"/>
                    <a:gd name="connsiteY67" fmla="*/ 147632 h 560375"/>
                    <a:gd name="connsiteX68" fmla="*/ 275461 w 322623"/>
                    <a:gd name="connsiteY68" fmla="*/ 148651 h 560375"/>
                    <a:gd name="connsiteX69" fmla="*/ 271313 w 322623"/>
                    <a:gd name="connsiteY69" fmla="*/ 148089 h 560375"/>
                    <a:gd name="connsiteX70" fmla="*/ 271557 w 322623"/>
                    <a:gd name="connsiteY70" fmla="*/ 149238 h 560375"/>
                    <a:gd name="connsiteX71" fmla="*/ 272453 w 322623"/>
                    <a:gd name="connsiteY71" fmla="*/ 149816 h 560375"/>
                    <a:gd name="connsiteX72" fmla="*/ 272821 w 322623"/>
                    <a:gd name="connsiteY72" fmla="*/ 150542 h 560375"/>
                    <a:gd name="connsiteX73" fmla="*/ 271321 w 322623"/>
                    <a:gd name="connsiteY73" fmla="*/ 151503 h 560375"/>
                    <a:gd name="connsiteX74" fmla="*/ 267189 w 322623"/>
                    <a:gd name="connsiteY74" fmla="*/ 151414 h 560375"/>
                    <a:gd name="connsiteX75" fmla="*/ 266765 w 322623"/>
                    <a:gd name="connsiteY75" fmla="*/ 152433 h 560375"/>
                    <a:gd name="connsiteX76" fmla="*/ 267930 w 322623"/>
                    <a:gd name="connsiteY76" fmla="*/ 154038 h 560375"/>
                    <a:gd name="connsiteX77" fmla="*/ 267018 w 322623"/>
                    <a:gd name="connsiteY77" fmla="*/ 155440 h 560375"/>
                    <a:gd name="connsiteX78" fmla="*/ 266186 w 322623"/>
                    <a:gd name="connsiteY78" fmla="*/ 155994 h 560375"/>
                    <a:gd name="connsiteX79" fmla="*/ 261248 w 322623"/>
                    <a:gd name="connsiteY79" fmla="*/ 156866 h 560375"/>
                    <a:gd name="connsiteX80" fmla="*/ 258387 w 322623"/>
                    <a:gd name="connsiteY80" fmla="*/ 156670 h 560375"/>
                    <a:gd name="connsiteX81" fmla="*/ 257572 w 322623"/>
                    <a:gd name="connsiteY81" fmla="*/ 157583 h 560375"/>
                    <a:gd name="connsiteX82" fmla="*/ 257352 w 322623"/>
                    <a:gd name="connsiteY82" fmla="*/ 158765 h 560375"/>
                    <a:gd name="connsiteX83" fmla="*/ 257890 w 322623"/>
                    <a:gd name="connsiteY83" fmla="*/ 159922 h 560375"/>
                    <a:gd name="connsiteX84" fmla="*/ 259145 w 322623"/>
                    <a:gd name="connsiteY84" fmla="*/ 160542 h 560375"/>
                    <a:gd name="connsiteX85" fmla="*/ 259561 w 322623"/>
                    <a:gd name="connsiteY85" fmla="*/ 161275 h 560375"/>
                    <a:gd name="connsiteX86" fmla="*/ 259471 w 322623"/>
                    <a:gd name="connsiteY86" fmla="*/ 162872 h 560375"/>
                    <a:gd name="connsiteX87" fmla="*/ 258420 w 322623"/>
                    <a:gd name="connsiteY87" fmla="*/ 163158 h 560375"/>
                    <a:gd name="connsiteX88" fmla="*/ 255445 w 322623"/>
                    <a:gd name="connsiteY88" fmla="*/ 160354 h 560375"/>
                    <a:gd name="connsiteX89" fmla="*/ 254540 w 322623"/>
                    <a:gd name="connsiteY89" fmla="*/ 160509 h 560375"/>
                    <a:gd name="connsiteX90" fmla="*/ 255217 w 322623"/>
                    <a:gd name="connsiteY90" fmla="*/ 161960 h 560375"/>
                    <a:gd name="connsiteX91" fmla="*/ 256921 w 322623"/>
                    <a:gd name="connsiteY91" fmla="*/ 163541 h 560375"/>
                    <a:gd name="connsiteX92" fmla="*/ 257906 w 322623"/>
                    <a:gd name="connsiteY92" fmla="*/ 165162 h 560375"/>
                    <a:gd name="connsiteX93" fmla="*/ 258770 w 322623"/>
                    <a:gd name="connsiteY93" fmla="*/ 167118 h 560375"/>
                    <a:gd name="connsiteX94" fmla="*/ 258599 w 322623"/>
                    <a:gd name="connsiteY94" fmla="*/ 168585 h 560375"/>
                    <a:gd name="connsiteX95" fmla="*/ 254907 w 322623"/>
                    <a:gd name="connsiteY95" fmla="*/ 173353 h 560375"/>
                    <a:gd name="connsiteX96" fmla="*/ 251647 w 322623"/>
                    <a:gd name="connsiteY96" fmla="*/ 176360 h 560375"/>
                    <a:gd name="connsiteX97" fmla="*/ 249227 w 322623"/>
                    <a:gd name="connsiteY97" fmla="*/ 179058 h 560375"/>
                    <a:gd name="connsiteX98" fmla="*/ 247792 w 322623"/>
                    <a:gd name="connsiteY98" fmla="*/ 181926 h 560375"/>
                    <a:gd name="connsiteX99" fmla="*/ 249447 w 322623"/>
                    <a:gd name="connsiteY99" fmla="*/ 183377 h 560375"/>
                    <a:gd name="connsiteX100" fmla="*/ 251289 w 322623"/>
                    <a:gd name="connsiteY100" fmla="*/ 185455 h 560375"/>
                    <a:gd name="connsiteX101" fmla="*/ 252593 w 322623"/>
                    <a:gd name="connsiteY101" fmla="*/ 189457 h 560375"/>
                    <a:gd name="connsiteX102" fmla="*/ 254133 w 322623"/>
                    <a:gd name="connsiteY102" fmla="*/ 193010 h 560375"/>
                    <a:gd name="connsiteX103" fmla="*/ 257254 w 322623"/>
                    <a:gd name="connsiteY103" fmla="*/ 196417 h 560375"/>
                    <a:gd name="connsiteX104" fmla="*/ 256635 w 322623"/>
                    <a:gd name="connsiteY104" fmla="*/ 198381 h 560375"/>
                    <a:gd name="connsiteX105" fmla="*/ 255893 w 322623"/>
                    <a:gd name="connsiteY105" fmla="*/ 199905 h 560375"/>
                    <a:gd name="connsiteX106" fmla="*/ 250710 w 322623"/>
                    <a:gd name="connsiteY106" fmla="*/ 203271 h 560375"/>
                    <a:gd name="connsiteX107" fmla="*/ 244826 w 322623"/>
                    <a:gd name="connsiteY107" fmla="*/ 208323 h 560375"/>
                    <a:gd name="connsiteX108" fmla="*/ 238486 w 322623"/>
                    <a:gd name="connsiteY108" fmla="*/ 221241 h 560375"/>
                    <a:gd name="connsiteX109" fmla="*/ 236367 w 322623"/>
                    <a:gd name="connsiteY109" fmla="*/ 222969 h 560375"/>
                    <a:gd name="connsiteX110" fmla="*/ 230817 w 322623"/>
                    <a:gd name="connsiteY110" fmla="*/ 225153 h 560375"/>
                    <a:gd name="connsiteX111" fmla="*/ 228779 w 322623"/>
                    <a:gd name="connsiteY111" fmla="*/ 227263 h 560375"/>
                    <a:gd name="connsiteX112" fmla="*/ 224639 w 322623"/>
                    <a:gd name="connsiteY112" fmla="*/ 229774 h 560375"/>
                    <a:gd name="connsiteX113" fmla="*/ 217418 w 322623"/>
                    <a:gd name="connsiteY113" fmla="*/ 231925 h 560375"/>
                    <a:gd name="connsiteX114" fmla="*/ 214150 w 322623"/>
                    <a:gd name="connsiteY114" fmla="*/ 234924 h 560375"/>
                    <a:gd name="connsiteX115" fmla="*/ 212667 w 322623"/>
                    <a:gd name="connsiteY115" fmla="*/ 238021 h 560375"/>
                    <a:gd name="connsiteX116" fmla="*/ 211029 w 322623"/>
                    <a:gd name="connsiteY116" fmla="*/ 238241 h 560375"/>
                    <a:gd name="connsiteX117" fmla="*/ 209399 w 322623"/>
                    <a:gd name="connsiteY117" fmla="*/ 237027 h 560375"/>
                    <a:gd name="connsiteX118" fmla="*/ 207223 w 322623"/>
                    <a:gd name="connsiteY118" fmla="*/ 236130 h 560375"/>
                    <a:gd name="connsiteX119" fmla="*/ 206930 w 322623"/>
                    <a:gd name="connsiteY119" fmla="*/ 238151 h 560375"/>
                    <a:gd name="connsiteX120" fmla="*/ 207036 w 322623"/>
                    <a:gd name="connsiteY120" fmla="*/ 239635 h 560375"/>
                    <a:gd name="connsiteX121" fmla="*/ 203548 w 322623"/>
                    <a:gd name="connsiteY121" fmla="*/ 237434 h 560375"/>
                    <a:gd name="connsiteX122" fmla="*/ 201910 w 322623"/>
                    <a:gd name="connsiteY122" fmla="*/ 239455 h 560375"/>
                    <a:gd name="connsiteX123" fmla="*/ 200622 w 322623"/>
                    <a:gd name="connsiteY123" fmla="*/ 242821 h 560375"/>
                    <a:gd name="connsiteX124" fmla="*/ 195610 w 322623"/>
                    <a:gd name="connsiteY124" fmla="*/ 247344 h 560375"/>
                    <a:gd name="connsiteX125" fmla="*/ 190207 w 322623"/>
                    <a:gd name="connsiteY125" fmla="*/ 246538 h 560375"/>
                    <a:gd name="connsiteX126" fmla="*/ 189612 w 322623"/>
                    <a:gd name="connsiteY126" fmla="*/ 247328 h 560375"/>
                    <a:gd name="connsiteX127" fmla="*/ 191046 w 322623"/>
                    <a:gd name="connsiteY127" fmla="*/ 247907 h 560375"/>
                    <a:gd name="connsiteX128" fmla="*/ 191266 w 322623"/>
                    <a:gd name="connsiteY128" fmla="*/ 248632 h 560375"/>
                    <a:gd name="connsiteX129" fmla="*/ 190280 w 322623"/>
                    <a:gd name="connsiteY129" fmla="*/ 249015 h 560375"/>
                    <a:gd name="connsiteX130" fmla="*/ 188797 w 322623"/>
                    <a:gd name="connsiteY130" fmla="*/ 248974 h 560375"/>
                    <a:gd name="connsiteX131" fmla="*/ 186507 w 322623"/>
                    <a:gd name="connsiteY131" fmla="*/ 249871 h 560375"/>
                    <a:gd name="connsiteX132" fmla="*/ 184999 w 322623"/>
                    <a:gd name="connsiteY132" fmla="*/ 249806 h 560375"/>
                    <a:gd name="connsiteX133" fmla="*/ 184290 w 322623"/>
                    <a:gd name="connsiteY133" fmla="*/ 251941 h 560375"/>
                    <a:gd name="connsiteX134" fmla="*/ 183116 w 322623"/>
                    <a:gd name="connsiteY134" fmla="*/ 254532 h 560375"/>
                    <a:gd name="connsiteX135" fmla="*/ 180068 w 322623"/>
                    <a:gd name="connsiteY135" fmla="*/ 255600 h 560375"/>
                    <a:gd name="connsiteX136" fmla="*/ 178495 w 322623"/>
                    <a:gd name="connsiteY136" fmla="*/ 255828 h 560375"/>
                    <a:gd name="connsiteX137" fmla="*/ 177713 w 322623"/>
                    <a:gd name="connsiteY137" fmla="*/ 257295 h 560375"/>
                    <a:gd name="connsiteX138" fmla="*/ 182407 w 322623"/>
                    <a:gd name="connsiteY138" fmla="*/ 257605 h 560375"/>
                    <a:gd name="connsiteX139" fmla="*/ 182032 w 322623"/>
                    <a:gd name="connsiteY139" fmla="*/ 258852 h 560375"/>
                    <a:gd name="connsiteX140" fmla="*/ 181934 w 322623"/>
                    <a:gd name="connsiteY140" fmla="*/ 260099 h 560375"/>
                    <a:gd name="connsiteX141" fmla="*/ 181438 w 322623"/>
                    <a:gd name="connsiteY141" fmla="*/ 261435 h 560375"/>
                    <a:gd name="connsiteX142" fmla="*/ 176116 w 322623"/>
                    <a:gd name="connsiteY142" fmla="*/ 263359 h 560375"/>
                    <a:gd name="connsiteX143" fmla="*/ 175292 w 322623"/>
                    <a:gd name="connsiteY143" fmla="*/ 264874 h 560375"/>
                    <a:gd name="connsiteX144" fmla="*/ 174176 w 322623"/>
                    <a:gd name="connsiteY144" fmla="*/ 265812 h 560375"/>
                    <a:gd name="connsiteX145" fmla="*/ 171804 w 322623"/>
                    <a:gd name="connsiteY145" fmla="*/ 265763 h 560375"/>
                    <a:gd name="connsiteX146" fmla="*/ 171886 w 322623"/>
                    <a:gd name="connsiteY146" fmla="*/ 264883 h 560375"/>
                    <a:gd name="connsiteX147" fmla="*/ 172277 w 322623"/>
                    <a:gd name="connsiteY147" fmla="*/ 263896 h 560375"/>
                    <a:gd name="connsiteX148" fmla="*/ 168748 w 322623"/>
                    <a:gd name="connsiteY148" fmla="*/ 263986 h 560375"/>
                    <a:gd name="connsiteX149" fmla="*/ 167648 w 322623"/>
                    <a:gd name="connsiteY149" fmla="*/ 261810 h 560375"/>
                    <a:gd name="connsiteX150" fmla="*/ 166972 w 322623"/>
                    <a:gd name="connsiteY150" fmla="*/ 262364 h 560375"/>
                    <a:gd name="connsiteX151" fmla="*/ 167371 w 322623"/>
                    <a:gd name="connsiteY151" fmla="*/ 264125 h 560375"/>
                    <a:gd name="connsiteX152" fmla="*/ 168300 w 322623"/>
                    <a:gd name="connsiteY152" fmla="*/ 265950 h 560375"/>
                    <a:gd name="connsiteX153" fmla="*/ 169327 w 322623"/>
                    <a:gd name="connsiteY153" fmla="*/ 268623 h 560375"/>
                    <a:gd name="connsiteX154" fmla="*/ 168488 w 322623"/>
                    <a:gd name="connsiteY154" fmla="*/ 270310 h 560375"/>
                    <a:gd name="connsiteX155" fmla="*/ 167558 w 322623"/>
                    <a:gd name="connsiteY155" fmla="*/ 271150 h 560375"/>
                    <a:gd name="connsiteX156" fmla="*/ 168227 w 322623"/>
                    <a:gd name="connsiteY156" fmla="*/ 271916 h 560375"/>
                    <a:gd name="connsiteX157" fmla="*/ 170126 w 322623"/>
                    <a:gd name="connsiteY157" fmla="*/ 272511 h 560375"/>
                    <a:gd name="connsiteX158" fmla="*/ 170884 w 322623"/>
                    <a:gd name="connsiteY158" fmla="*/ 273570 h 560375"/>
                    <a:gd name="connsiteX159" fmla="*/ 168650 w 322623"/>
                    <a:gd name="connsiteY159" fmla="*/ 274467 h 560375"/>
                    <a:gd name="connsiteX160" fmla="*/ 165855 w 322623"/>
                    <a:gd name="connsiteY160" fmla="*/ 277572 h 560375"/>
                    <a:gd name="connsiteX161" fmla="*/ 162962 w 322623"/>
                    <a:gd name="connsiteY161" fmla="*/ 277653 h 560375"/>
                    <a:gd name="connsiteX162" fmla="*/ 161186 w 322623"/>
                    <a:gd name="connsiteY162" fmla="*/ 279699 h 560375"/>
                    <a:gd name="connsiteX163" fmla="*/ 159303 w 322623"/>
                    <a:gd name="connsiteY163" fmla="*/ 279691 h 560375"/>
                    <a:gd name="connsiteX164" fmla="*/ 157787 w 322623"/>
                    <a:gd name="connsiteY164" fmla="*/ 278395 h 560375"/>
                    <a:gd name="connsiteX165" fmla="*/ 155334 w 322623"/>
                    <a:gd name="connsiteY165" fmla="*/ 277344 h 560375"/>
                    <a:gd name="connsiteX166" fmla="*/ 154535 w 322623"/>
                    <a:gd name="connsiteY166" fmla="*/ 279210 h 560375"/>
                    <a:gd name="connsiteX167" fmla="*/ 154421 w 322623"/>
                    <a:gd name="connsiteY167" fmla="*/ 280693 h 560375"/>
                    <a:gd name="connsiteX168" fmla="*/ 155798 w 322623"/>
                    <a:gd name="connsiteY168" fmla="*/ 284450 h 560375"/>
                    <a:gd name="connsiteX169" fmla="*/ 158431 w 322623"/>
                    <a:gd name="connsiteY169" fmla="*/ 287351 h 560375"/>
                    <a:gd name="connsiteX170" fmla="*/ 160876 w 322623"/>
                    <a:gd name="connsiteY170" fmla="*/ 288606 h 560375"/>
                    <a:gd name="connsiteX171" fmla="*/ 159124 w 322623"/>
                    <a:gd name="connsiteY171" fmla="*/ 289446 h 560375"/>
                    <a:gd name="connsiteX172" fmla="*/ 157812 w 322623"/>
                    <a:gd name="connsiteY172" fmla="*/ 291328 h 560375"/>
                    <a:gd name="connsiteX173" fmla="*/ 156230 w 322623"/>
                    <a:gd name="connsiteY173" fmla="*/ 297188 h 560375"/>
                    <a:gd name="connsiteX174" fmla="*/ 155375 w 322623"/>
                    <a:gd name="connsiteY174" fmla="*/ 299495 h 560375"/>
                    <a:gd name="connsiteX175" fmla="*/ 154454 w 322623"/>
                    <a:gd name="connsiteY175" fmla="*/ 303553 h 560375"/>
                    <a:gd name="connsiteX176" fmla="*/ 155032 w 322623"/>
                    <a:gd name="connsiteY176" fmla="*/ 306984 h 560375"/>
                    <a:gd name="connsiteX177" fmla="*/ 155505 w 322623"/>
                    <a:gd name="connsiteY177" fmla="*/ 308663 h 560375"/>
                    <a:gd name="connsiteX178" fmla="*/ 156695 w 322623"/>
                    <a:gd name="connsiteY178" fmla="*/ 310945 h 560375"/>
                    <a:gd name="connsiteX179" fmla="*/ 153460 w 322623"/>
                    <a:gd name="connsiteY179" fmla="*/ 310651 h 560375"/>
                    <a:gd name="connsiteX180" fmla="*/ 150028 w 322623"/>
                    <a:gd name="connsiteY180" fmla="*/ 309315 h 560375"/>
                    <a:gd name="connsiteX181" fmla="*/ 150501 w 322623"/>
                    <a:gd name="connsiteY181" fmla="*/ 312094 h 560375"/>
                    <a:gd name="connsiteX182" fmla="*/ 148398 w 322623"/>
                    <a:gd name="connsiteY182" fmla="*/ 315362 h 560375"/>
                    <a:gd name="connsiteX183" fmla="*/ 148790 w 322623"/>
                    <a:gd name="connsiteY183" fmla="*/ 318247 h 560375"/>
                    <a:gd name="connsiteX184" fmla="*/ 149222 w 322623"/>
                    <a:gd name="connsiteY184" fmla="*/ 320121 h 560375"/>
                    <a:gd name="connsiteX185" fmla="*/ 148578 w 322623"/>
                    <a:gd name="connsiteY185" fmla="*/ 323226 h 560375"/>
                    <a:gd name="connsiteX186" fmla="*/ 149572 w 322623"/>
                    <a:gd name="connsiteY186" fmla="*/ 324196 h 560375"/>
                    <a:gd name="connsiteX187" fmla="*/ 150102 w 322623"/>
                    <a:gd name="connsiteY187" fmla="*/ 326054 h 560375"/>
                    <a:gd name="connsiteX188" fmla="*/ 149214 w 322623"/>
                    <a:gd name="connsiteY188" fmla="*/ 327415 h 560375"/>
                    <a:gd name="connsiteX189" fmla="*/ 149613 w 322623"/>
                    <a:gd name="connsiteY189" fmla="*/ 328581 h 560375"/>
                    <a:gd name="connsiteX190" fmla="*/ 149759 w 322623"/>
                    <a:gd name="connsiteY190" fmla="*/ 332737 h 560375"/>
                    <a:gd name="connsiteX191" fmla="*/ 150436 w 322623"/>
                    <a:gd name="connsiteY191" fmla="*/ 339216 h 560375"/>
                    <a:gd name="connsiteX192" fmla="*/ 150192 w 322623"/>
                    <a:gd name="connsiteY192" fmla="*/ 340585 h 560375"/>
                    <a:gd name="connsiteX193" fmla="*/ 152074 w 322623"/>
                    <a:gd name="connsiteY193" fmla="*/ 346217 h 560375"/>
                    <a:gd name="connsiteX194" fmla="*/ 151634 w 322623"/>
                    <a:gd name="connsiteY194" fmla="*/ 348189 h 560375"/>
                    <a:gd name="connsiteX195" fmla="*/ 151381 w 322623"/>
                    <a:gd name="connsiteY195" fmla="*/ 350699 h 560375"/>
                    <a:gd name="connsiteX196" fmla="*/ 154079 w 322623"/>
                    <a:gd name="connsiteY196" fmla="*/ 353103 h 560375"/>
                    <a:gd name="connsiteX197" fmla="*/ 156491 w 322623"/>
                    <a:gd name="connsiteY197" fmla="*/ 353071 h 560375"/>
                    <a:gd name="connsiteX198" fmla="*/ 158936 w 322623"/>
                    <a:gd name="connsiteY198" fmla="*/ 353030 h 560375"/>
                    <a:gd name="connsiteX199" fmla="*/ 159865 w 322623"/>
                    <a:gd name="connsiteY199" fmla="*/ 353633 h 560375"/>
                    <a:gd name="connsiteX200" fmla="*/ 160803 w 322623"/>
                    <a:gd name="connsiteY200" fmla="*/ 355336 h 560375"/>
                    <a:gd name="connsiteX201" fmla="*/ 161552 w 322623"/>
                    <a:gd name="connsiteY201" fmla="*/ 357349 h 560375"/>
                    <a:gd name="connsiteX202" fmla="*/ 163573 w 322623"/>
                    <a:gd name="connsiteY202" fmla="*/ 357178 h 560375"/>
                    <a:gd name="connsiteX203" fmla="*/ 166768 w 322623"/>
                    <a:gd name="connsiteY203" fmla="*/ 355548 h 560375"/>
                    <a:gd name="connsiteX204" fmla="*/ 168862 w 322623"/>
                    <a:gd name="connsiteY204" fmla="*/ 355157 h 560375"/>
                    <a:gd name="connsiteX205" fmla="*/ 170240 w 322623"/>
                    <a:gd name="connsiteY205" fmla="*/ 358303 h 560375"/>
                    <a:gd name="connsiteX206" fmla="*/ 173989 w 322623"/>
                    <a:gd name="connsiteY206" fmla="*/ 362451 h 560375"/>
                    <a:gd name="connsiteX207" fmla="*/ 176173 w 322623"/>
                    <a:gd name="connsiteY207" fmla="*/ 364309 h 560375"/>
                    <a:gd name="connsiteX208" fmla="*/ 179881 w 322623"/>
                    <a:gd name="connsiteY208" fmla="*/ 365287 h 560375"/>
                    <a:gd name="connsiteX209" fmla="*/ 183785 w 322623"/>
                    <a:gd name="connsiteY209" fmla="*/ 368637 h 560375"/>
                    <a:gd name="connsiteX210" fmla="*/ 183239 w 322623"/>
                    <a:gd name="connsiteY210" fmla="*/ 372663 h 560375"/>
                    <a:gd name="connsiteX211" fmla="*/ 184869 w 322623"/>
                    <a:gd name="connsiteY211" fmla="*/ 374008 h 560375"/>
                    <a:gd name="connsiteX212" fmla="*/ 189481 w 322623"/>
                    <a:gd name="connsiteY212" fmla="*/ 375597 h 560375"/>
                    <a:gd name="connsiteX213" fmla="*/ 191103 w 322623"/>
                    <a:gd name="connsiteY213" fmla="*/ 377732 h 560375"/>
                    <a:gd name="connsiteX214" fmla="*/ 191885 w 322623"/>
                    <a:gd name="connsiteY214" fmla="*/ 379557 h 560375"/>
                    <a:gd name="connsiteX215" fmla="*/ 193108 w 322623"/>
                    <a:gd name="connsiteY215" fmla="*/ 381073 h 560375"/>
                    <a:gd name="connsiteX216" fmla="*/ 194518 w 322623"/>
                    <a:gd name="connsiteY216" fmla="*/ 385637 h 560375"/>
                    <a:gd name="connsiteX217" fmla="*/ 194029 w 322623"/>
                    <a:gd name="connsiteY217" fmla="*/ 388449 h 560375"/>
                    <a:gd name="connsiteX218" fmla="*/ 192171 w 322623"/>
                    <a:gd name="connsiteY218" fmla="*/ 389419 h 560375"/>
                    <a:gd name="connsiteX219" fmla="*/ 187786 w 322623"/>
                    <a:gd name="connsiteY219" fmla="*/ 392426 h 560375"/>
                    <a:gd name="connsiteX220" fmla="*/ 185822 w 322623"/>
                    <a:gd name="connsiteY220" fmla="*/ 394667 h 560375"/>
                    <a:gd name="connsiteX221" fmla="*/ 184298 w 322623"/>
                    <a:gd name="connsiteY221" fmla="*/ 396069 h 560375"/>
                    <a:gd name="connsiteX222" fmla="*/ 179946 w 322623"/>
                    <a:gd name="connsiteY222" fmla="*/ 399068 h 560375"/>
                    <a:gd name="connsiteX223" fmla="*/ 178341 w 322623"/>
                    <a:gd name="connsiteY223" fmla="*/ 399598 h 560375"/>
                    <a:gd name="connsiteX224" fmla="*/ 176825 w 322623"/>
                    <a:gd name="connsiteY224" fmla="*/ 401154 h 560375"/>
                    <a:gd name="connsiteX225" fmla="*/ 175333 w 322623"/>
                    <a:gd name="connsiteY225" fmla="*/ 401839 h 560375"/>
                    <a:gd name="connsiteX226" fmla="*/ 174013 w 322623"/>
                    <a:gd name="connsiteY226" fmla="*/ 401439 h 560375"/>
                    <a:gd name="connsiteX227" fmla="*/ 169074 w 322623"/>
                    <a:gd name="connsiteY227" fmla="*/ 404259 h 560375"/>
                    <a:gd name="connsiteX228" fmla="*/ 169449 w 322623"/>
                    <a:gd name="connsiteY228" fmla="*/ 405465 h 560375"/>
                    <a:gd name="connsiteX229" fmla="*/ 173239 w 322623"/>
                    <a:gd name="connsiteY229" fmla="*/ 405971 h 560375"/>
                    <a:gd name="connsiteX230" fmla="*/ 175178 w 322623"/>
                    <a:gd name="connsiteY230" fmla="*/ 405368 h 560375"/>
                    <a:gd name="connsiteX231" fmla="*/ 176662 w 322623"/>
                    <a:gd name="connsiteY231" fmla="*/ 403958 h 560375"/>
                    <a:gd name="connsiteX232" fmla="*/ 178292 w 322623"/>
                    <a:gd name="connsiteY232" fmla="*/ 403632 h 560375"/>
                    <a:gd name="connsiteX233" fmla="*/ 179783 w 322623"/>
                    <a:gd name="connsiteY233" fmla="*/ 403893 h 560375"/>
                    <a:gd name="connsiteX234" fmla="*/ 181340 w 322623"/>
                    <a:gd name="connsiteY234" fmla="*/ 402784 h 560375"/>
                    <a:gd name="connsiteX235" fmla="*/ 182587 w 322623"/>
                    <a:gd name="connsiteY235" fmla="*/ 402336 h 560375"/>
                    <a:gd name="connsiteX236" fmla="*/ 183858 w 322623"/>
                    <a:gd name="connsiteY236" fmla="*/ 402866 h 560375"/>
                    <a:gd name="connsiteX237" fmla="*/ 185276 w 322623"/>
                    <a:gd name="connsiteY237" fmla="*/ 405539 h 560375"/>
                    <a:gd name="connsiteX238" fmla="*/ 182326 w 322623"/>
                    <a:gd name="connsiteY238" fmla="*/ 406932 h 560375"/>
                    <a:gd name="connsiteX239" fmla="*/ 180239 w 322623"/>
                    <a:gd name="connsiteY239" fmla="*/ 406998 h 560375"/>
                    <a:gd name="connsiteX240" fmla="*/ 179213 w 322623"/>
                    <a:gd name="connsiteY240" fmla="*/ 411382 h 560375"/>
                    <a:gd name="connsiteX241" fmla="*/ 177941 w 322623"/>
                    <a:gd name="connsiteY241" fmla="*/ 413257 h 560375"/>
                    <a:gd name="connsiteX242" fmla="*/ 177037 w 322623"/>
                    <a:gd name="connsiteY242" fmla="*/ 414169 h 560375"/>
                    <a:gd name="connsiteX243" fmla="*/ 172391 w 322623"/>
                    <a:gd name="connsiteY243" fmla="*/ 416028 h 560375"/>
                    <a:gd name="connsiteX244" fmla="*/ 169335 w 322623"/>
                    <a:gd name="connsiteY244" fmla="*/ 418391 h 560375"/>
                    <a:gd name="connsiteX245" fmla="*/ 165717 w 322623"/>
                    <a:gd name="connsiteY245" fmla="*/ 420290 h 560375"/>
                    <a:gd name="connsiteX246" fmla="*/ 164136 w 322623"/>
                    <a:gd name="connsiteY246" fmla="*/ 419874 h 560375"/>
                    <a:gd name="connsiteX247" fmla="*/ 161764 w 322623"/>
                    <a:gd name="connsiteY247" fmla="*/ 421806 h 560375"/>
                    <a:gd name="connsiteX248" fmla="*/ 156483 w 322623"/>
                    <a:gd name="connsiteY248" fmla="*/ 424079 h 560375"/>
                    <a:gd name="connsiteX249" fmla="*/ 153785 w 322623"/>
                    <a:gd name="connsiteY249" fmla="*/ 427152 h 560375"/>
                    <a:gd name="connsiteX250" fmla="*/ 147714 w 322623"/>
                    <a:gd name="connsiteY250" fmla="*/ 429898 h 560375"/>
                    <a:gd name="connsiteX251" fmla="*/ 144617 w 322623"/>
                    <a:gd name="connsiteY251" fmla="*/ 432140 h 560375"/>
                    <a:gd name="connsiteX252" fmla="*/ 136207 w 322623"/>
                    <a:gd name="connsiteY252" fmla="*/ 432254 h 560375"/>
                    <a:gd name="connsiteX253" fmla="*/ 128187 w 322623"/>
                    <a:gd name="connsiteY253" fmla="*/ 431765 h 560375"/>
                    <a:gd name="connsiteX254" fmla="*/ 125669 w 322623"/>
                    <a:gd name="connsiteY254" fmla="*/ 432824 h 560375"/>
                    <a:gd name="connsiteX255" fmla="*/ 128244 w 322623"/>
                    <a:gd name="connsiteY255" fmla="*/ 433158 h 560375"/>
                    <a:gd name="connsiteX256" fmla="*/ 130045 w 322623"/>
                    <a:gd name="connsiteY256" fmla="*/ 434193 h 560375"/>
                    <a:gd name="connsiteX257" fmla="*/ 132205 w 322623"/>
                    <a:gd name="connsiteY257" fmla="*/ 433761 h 560375"/>
                    <a:gd name="connsiteX258" fmla="*/ 137282 w 322623"/>
                    <a:gd name="connsiteY258" fmla="*/ 434275 h 560375"/>
                    <a:gd name="connsiteX259" fmla="*/ 139906 w 322623"/>
                    <a:gd name="connsiteY259" fmla="*/ 434845 h 560375"/>
                    <a:gd name="connsiteX260" fmla="*/ 143264 w 322623"/>
                    <a:gd name="connsiteY260" fmla="*/ 438488 h 560375"/>
                    <a:gd name="connsiteX261" fmla="*/ 140795 w 322623"/>
                    <a:gd name="connsiteY261" fmla="*/ 439792 h 560375"/>
                    <a:gd name="connsiteX262" fmla="*/ 136516 w 322623"/>
                    <a:gd name="connsiteY262" fmla="*/ 440786 h 560375"/>
                    <a:gd name="connsiteX263" fmla="*/ 138122 w 322623"/>
                    <a:gd name="connsiteY263" fmla="*/ 445945 h 560375"/>
                    <a:gd name="connsiteX264" fmla="*/ 139442 w 322623"/>
                    <a:gd name="connsiteY264" fmla="*/ 449425 h 560375"/>
                    <a:gd name="connsiteX265" fmla="*/ 137714 w 322623"/>
                    <a:gd name="connsiteY265" fmla="*/ 451528 h 560375"/>
                    <a:gd name="connsiteX266" fmla="*/ 137592 w 322623"/>
                    <a:gd name="connsiteY266" fmla="*/ 461047 h 560375"/>
                    <a:gd name="connsiteX267" fmla="*/ 135147 w 322623"/>
                    <a:gd name="connsiteY267" fmla="*/ 461226 h 560375"/>
                    <a:gd name="connsiteX268" fmla="*/ 134136 w 322623"/>
                    <a:gd name="connsiteY268" fmla="*/ 465162 h 560375"/>
                    <a:gd name="connsiteX269" fmla="*/ 134894 w 322623"/>
                    <a:gd name="connsiteY269" fmla="*/ 467159 h 560375"/>
                    <a:gd name="connsiteX270" fmla="*/ 134829 w 322623"/>
                    <a:gd name="connsiteY270" fmla="*/ 471821 h 560375"/>
                    <a:gd name="connsiteX271" fmla="*/ 135343 w 322623"/>
                    <a:gd name="connsiteY271" fmla="*/ 474673 h 560375"/>
                    <a:gd name="connsiteX272" fmla="*/ 136524 w 322623"/>
                    <a:gd name="connsiteY272" fmla="*/ 477313 h 560375"/>
                    <a:gd name="connsiteX273" fmla="*/ 135995 w 322623"/>
                    <a:gd name="connsiteY273" fmla="*/ 480060 h 560375"/>
                    <a:gd name="connsiteX274" fmla="*/ 132156 w 322623"/>
                    <a:gd name="connsiteY274" fmla="*/ 486482 h 560375"/>
                    <a:gd name="connsiteX275" fmla="*/ 132246 w 322623"/>
                    <a:gd name="connsiteY275" fmla="*/ 489489 h 560375"/>
                    <a:gd name="connsiteX276" fmla="*/ 132939 w 322623"/>
                    <a:gd name="connsiteY276" fmla="*/ 491274 h 560375"/>
                    <a:gd name="connsiteX277" fmla="*/ 133452 w 322623"/>
                    <a:gd name="connsiteY277" fmla="*/ 494126 h 560375"/>
                    <a:gd name="connsiteX278" fmla="*/ 131708 w 322623"/>
                    <a:gd name="connsiteY278" fmla="*/ 499603 h 560375"/>
                    <a:gd name="connsiteX279" fmla="*/ 130461 w 322623"/>
                    <a:gd name="connsiteY279" fmla="*/ 504183 h 560375"/>
                    <a:gd name="connsiteX280" fmla="*/ 129010 w 322623"/>
                    <a:gd name="connsiteY280" fmla="*/ 508022 h 560375"/>
                    <a:gd name="connsiteX281" fmla="*/ 125718 w 322623"/>
                    <a:gd name="connsiteY281" fmla="*/ 512643 h 560375"/>
                    <a:gd name="connsiteX282" fmla="*/ 124088 w 322623"/>
                    <a:gd name="connsiteY282" fmla="*/ 516074 h 560375"/>
                    <a:gd name="connsiteX283" fmla="*/ 120266 w 322623"/>
                    <a:gd name="connsiteY283" fmla="*/ 526790 h 560375"/>
                    <a:gd name="connsiteX284" fmla="*/ 118375 w 322623"/>
                    <a:gd name="connsiteY284" fmla="*/ 528926 h 560375"/>
                    <a:gd name="connsiteX285" fmla="*/ 116060 w 322623"/>
                    <a:gd name="connsiteY285" fmla="*/ 530556 h 560375"/>
                    <a:gd name="connsiteX286" fmla="*/ 113461 w 322623"/>
                    <a:gd name="connsiteY286" fmla="*/ 529040 h 560375"/>
                    <a:gd name="connsiteX287" fmla="*/ 111097 w 322623"/>
                    <a:gd name="connsiteY287" fmla="*/ 528225 h 560375"/>
                    <a:gd name="connsiteX288" fmla="*/ 108188 w 322623"/>
                    <a:gd name="connsiteY288" fmla="*/ 528315 h 560375"/>
                    <a:gd name="connsiteX289" fmla="*/ 103648 w 322623"/>
                    <a:gd name="connsiteY289" fmla="*/ 529553 h 560375"/>
                    <a:gd name="connsiteX290" fmla="*/ 96819 w 322623"/>
                    <a:gd name="connsiteY290" fmla="*/ 528738 h 560375"/>
                    <a:gd name="connsiteX291" fmla="*/ 90152 w 322623"/>
                    <a:gd name="connsiteY291" fmla="*/ 529129 h 560375"/>
                    <a:gd name="connsiteX292" fmla="*/ 88457 w 322623"/>
                    <a:gd name="connsiteY292" fmla="*/ 530197 h 560375"/>
                    <a:gd name="connsiteX293" fmla="*/ 89467 w 322623"/>
                    <a:gd name="connsiteY293" fmla="*/ 534076 h 560375"/>
                    <a:gd name="connsiteX294" fmla="*/ 87015 w 322623"/>
                    <a:gd name="connsiteY294" fmla="*/ 534582 h 560375"/>
                    <a:gd name="connsiteX295" fmla="*/ 84602 w 322623"/>
                    <a:gd name="connsiteY295" fmla="*/ 533482 h 560375"/>
                    <a:gd name="connsiteX296" fmla="*/ 82492 w 322623"/>
                    <a:gd name="connsiteY296" fmla="*/ 534802 h 560375"/>
                    <a:gd name="connsiteX297" fmla="*/ 80723 w 322623"/>
                    <a:gd name="connsiteY297" fmla="*/ 536244 h 560375"/>
                    <a:gd name="connsiteX298" fmla="*/ 77251 w 322623"/>
                    <a:gd name="connsiteY298" fmla="*/ 539667 h 560375"/>
                    <a:gd name="connsiteX299" fmla="*/ 76086 w 322623"/>
                    <a:gd name="connsiteY299" fmla="*/ 541778 h 560375"/>
                    <a:gd name="connsiteX300" fmla="*/ 75776 w 322623"/>
                    <a:gd name="connsiteY300" fmla="*/ 545747 h 560375"/>
                    <a:gd name="connsiteX301" fmla="*/ 77602 w 322623"/>
                    <a:gd name="connsiteY301" fmla="*/ 549292 h 560375"/>
                    <a:gd name="connsiteX302" fmla="*/ 79224 w 322623"/>
                    <a:gd name="connsiteY302" fmla="*/ 553448 h 560375"/>
                    <a:gd name="connsiteX303" fmla="*/ 75059 w 322623"/>
                    <a:gd name="connsiteY303" fmla="*/ 558469 h 560375"/>
                    <a:gd name="connsiteX304" fmla="*/ 72736 w 322623"/>
                    <a:gd name="connsiteY304" fmla="*/ 558632 h 560375"/>
                    <a:gd name="connsiteX305" fmla="*/ 65947 w 322623"/>
                    <a:gd name="connsiteY305" fmla="*/ 557238 h 560375"/>
                    <a:gd name="connsiteX306" fmla="*/ 53918 w 322623"/>
                    <a:gd name="connsiteY306" fmla="*/ 560376 h 560375"/>
                    <a:gd name="connsiteX307" fmla="*/ 43120 w 322623"/>
                    <a:gd name="connsiteY307" fmla="*/ 557898 h 560375"/>
                    <a:gd name="connsiteX308" fmla="*/ 44481 w 322623"/>
                    <a:gd name="connsiteY308" fmla="*/ 555217 h 560375"/>
                    <a:gd name="connsiteX309" fmla="*/ 44433 w 322623"/>
                    <a:gd name="connsiteY309" fmla="*/ 553236 h 560375"/>
                    <a:gd name="connsiteX310" fmla="*/ 45035 w 322623"/>
                    <a:gd name="connsiteY310" fmla="*/ 550205 h 560375"/>
                    <a:gd name="connsiteX311" fmla="*/ 45402 w 322623"/>
                    <a:gd name="connsiteY311" fmla="*/ 547100 h 560375"/>
                    <a:gd name="connsiteX312" fmla="*/ 45305 w 322623"/>
                    <a:gd name="connsiteY312" fmla="*/ 545013 h 560375"/>
                    <a:gd name="connsiteX313" fmla="*/ 44498 w 322623"/>
                    <a:gd name="connsiteY313" fmla="*/ 542797 h 560375"/>
                    <a:gd name="connsiteX314" fmla="*/ 41849 w 322623"/>
                    <a:gd name="connsiteY314" fmla="*/ 539895 h 560375"/>
                    <a:gd name="connsiteX315" fmla="*/ 35843 w 322623"/>
                    <a:gd name="connsiteY315" fmla="*/ 530067 h 560375"/>
                    <a:gd name="connsiteX316" fmla="*/ 34066 w 322623"/>
                    <a:gd name="connsiteY316" fmla="*/ 525910 h 560375"/>
                    <a:gd name="connsiteX317" fmla="*/ 32827 w 322623"/>
                    <a:gd name="connsiteY317" fmla="*/ 524183 h 560375"/>
                    <a:gd name="connsiteX318" fmla="*/ 33724 w 322623"/>
                    <a:gd name="connsiteY318" fmla="*/ 524085 h 560375"/>
                    <a:gd name="connsiteX319" fmla="*/ 38670 w 322623"/>
                    <a:gd name="connsiteY319" fmla="*/ 526318 h 560375"/>
                    <a:gd name="connsiteX320" fmla="*/ 39812 w 322623"/>
                    <a:gd name="connsiteY320" fmla="*/ 526049 h 560375"/>
                    <a:gd name="connsiteX321" fmla="*/ 41034 w 322623"/>
                    <a:gd name="connsiteY321" fmla="*/ 525209 h 560375"/>
                    <a:gd name="connsiteX322" fmla="*/ 39550 w 322623"/>
                    <a:gd name="connsiteY322" fmla="*/ 522007 h 560375"/>
                    <a:gd name="connsiteX323" fmla="*/ 38287 w 322623"/>
                    <a:gd name="connsiteY323" fmla="*/ 520564 h 560375"/>
                    <a:gd name="connsiteX324" fmla="*/ 37423 w 322623"/>
                    <a:gd name="connsiteY324" fmla="*/ 518396 h 560375"/>
                    <a:gd name="connsiteX325" fmla="*/ 40325 w 322623"/>
                    <a:gd name="connsiteY325" fmla="*/ 517818 h 560375"/>
                    <a:gd name="connsiteX326" fmla="*/ 42411 w 322623"/>
                    <a:gd name="connsiteY326" fmla="*/ 517940 h 560375"/>
                    <a:gd name="connsiteX327" fmla="*/ 43952 w 322623"/>
                    <a:gd name="connsiteY327" fmla="*/ 515503 h 560375"/>
                    <a:gd name="connsiteX328" fmla="*/ 43063 w 322623"/>
                    <a:gd name="connsiteY328" fmla="*/ 511567 h 560375"/>
                    <a:gd name="connsiteX329" fmla="*/ 40822 w 322623"/>
                    <a:gd name="connsiteY329" fmla="*/ 510344 h 560375"/>
                    <a:gd name="connsiteX330" fmla="*/ 38948 w 322623"/>
                    <a:gd name="connsiteY330" fmla="*/ 509815 h 560375"/>
                    <a:gd name="connsiteX331" fmla="*/ 35345 w 322623"/>
                    <a:gd name="connsiteY331" fmla="*/ 503621 h 560375"/>
                    <a:gd name="connsiteX332" fmla="*/ 31597 w 322623"/>
                    <a:gd name="connsiteY332" fmla="*/ 500402 h 560375"/>
                    <a:gd name="connsiteX333" fmla="*/ 24905 w 322623"/>
                    <a:gd name="connsiteY333" fmla="*/ 487965 h 560375"/>
                    <a:gd name="connsiteX334" fmla="*/ 22461 w 322623"/>
                    <a:gd name="connsiteY334" fmla="*/ 479408 h 560375"/>
                    <a:gd name="connsiteX335" fmla="*/ 20195 w 322623"/>
                    <a:gd name="connsiteY335" fmla="*/ 480223 h 560375"/>
                    <a:gd name="connsiteX336" fmla="*/ 19087 w 322623"/>
                    <a:gd name="connsiteY336" fmla="*/ 476490 h 560375"/>
                    <a:gd name="connsiteX337" fmla="*/ 18304 w 322623"/>
                    <a:gd name="connsiteY337" fmla="*/ 472945 h 560375"/>
                    <a:gd name="connsiteX338" fmla="*/ 18133 w 322623"/>
                    <a:gd name="connsiteY338" fmla="*/ 470345 h 560375"/>
                    <a:gd name="connsiteX339" fmla="*/ 14580 w 322623"/>
                    <a:gd name="connsiteY339" fmla="*/ 468854 h 560375"/>
                    <a:gd name="connsiteX340" fmla="*/ 14425 w 322623"/>
                    <a:gd name="connsiteY340" fmla="*/ 467029 h 560375"/>
                    <a:gd name="connsiteX341" fmla="*/ 13781 w 322623"/>
                    <a:gd name="connsiteY341" fmla="*/ 458863 h 560375"/>
                    <a:gd name="connsiteX342" fmla="*/ 9959 w 322623"/>
                    <a:gd name="connsiteY342" fmla="*/ 457770 h 560375"/>
                    <a:gd name="connsiteX343" fmla="*/ 7473 w 322623"/>
                    <a:gd name="connsiteY343" fmla="*/ 453182 h 560375"/>
                    <a:gd name="connsiteX344" fmla="*/ 7041 w 322623"/>
                    <a:gd name="connsiteY344" fmla="*/ 444486 h 560375"/>
                    <a:gd name="connsiteX345" fmla="*/ 4523 w 322623"/>
                    <a:gd name="connsiteY345" fmla="*/ 442905 h 560375"/>
                    <a:gd name="connsiteX346" fmla="*/ 2494 w 322623"/>
                    <a:gd name="connsiteY346" fmla="*/ 443345 h 560375"/>
                    <a:gd name="connsiteX347" fmla="*/ 2592 w 322623"/>
                    <a:gd name="connsiteY347" fmla="*/ 441186 h 560375"/>
                    <a:gd name="connsiteX348" fmla="*/ 3073 w 322623"/>
                    <a:gd name="connsiteY348" fmla="*/ 439165 h 560375"/>
                    <a:gd name="connsiteX349" fmla="*/ 1899 w 322623"/>
                    <a:gd name="connsiteY349" fmla="*/ 431121 h 560375"/>
                    <a:gd name="connsiteX350" fmla="*/ 1500 w 322623"/>
                    <a:gd name="connsiteY350" fmla="*/ 423770 h 560375"/>
                    <a:gd name="connsiteX351" fmla="*/ 538 w 322623"/>
                    <a:gd name="connsiteY351" fmla="*/ 421545 h 560375"/>
                    <a:gd name="connsiteX352" fmla="*/ 0 w 322623"/>
                    <a:gd name="connsiteY352" fmla="*/ 418937 h 560375"/>
                    <a:gd name="connsiteX353" fmla="*/ 481 w 322623"/>
                    <a:gd name="connsiteY353" fmla="*/ 416696 h 560375"/>
                    <a:gd name="connsiteX354" fmla="*/ 1198 w 322623"/>
                    <a:gd name="connsiteY354" fmla="*/ 415392 h 560375"/>
                    <a:gd name="connsiteX355" fmla="*/ 3659 w 322623"/>
                    <a:gd name="connsiteY355" fmla="*/ 415050 h 560375"/>
                    <a:gd name="connsiteX356" fmla="*/ 5966 w 322623"/>
                    <a:gd name="connsiteY356" fmla="*/ 417046 h 560375"/>
                    <a:gd name="connsiteX357" fmla="*/ 8019 w 322623"/>
                    <a:gd name="connsiteY357" fmla="*/ 422058 h 560375"/>
                    <a:gd name="connsiteX358" fmla="*/ 9821 w 322623"/>
                    <a:gd name="connsiteY358" fmla="*/ 422718 h 560375"/>
                    <a:gd name="connsiteX359" fmla="*/ 12282 w 322623"/>
                    <a:gd name="connsiteY359" fmla="*/ 421415 h 560375"/>
                    <a:gd name="connsiteX360" fmla="*/ 14009 w 322623"/>
                    <a:gd name="connsiteY360" fmla="*/ 417755 h 560375"/>
                    <a:gd name="connsiteX361" fmla="*/ 14987 w 322623"/>
                    <a:gd name="connsiteY361" fmla="*/ 412262 h 560375"/>
                    <a:gd name="connsiteX362" fmla="*/ 16145 w 322623"/>
                    <a:gd name="connsiteY362" fmla="*/ 407022 h 560375"/>
                    <a:gd name="connsiteX363" fmla="*/ 14775 w 322623"/>
                    <a:gd name="connsiteY363" fmla="*/ 401407 h 560375"/>
                    <a:gd name="connsiteX364" fmla="*/ 13325 w 322623"/>
                    <a:gd name="connsiteY364" fmla="*/ 396468 h 560375"/>
                    <a:gd name="connsiteX365" fmla="*/ 13227 w 322623"/>
                    <a:gd name="connsiteY365" fmla="*/ 395009 h 560375"/>
                    <a:gd name="connsiteX366" fmla="*/ 17033 w 322623"/>
                    <a:gd name="connsiteY366" fmla="*/ 390837 h 560375"/>
                    <a:gd name="connsiteX367" fmla="*/ 18207 w 322623"/>
                    <a:gd name="connsiteY367" fmla="*/ 387446 h 560375"/>
                    <a:gd name="connsiteX368" fmla="*/ 19462 w 322623"/>
                    <a:gd name="connsiteY368" fmla="*/ 384203 h 560375"/>
                    <a:gd name="connsiteX369" fmla="*/ 20863 w 322623"/>
                    <a:gd name="connsiteY369" fmla="*/ 383111 h 560375"/>
                    <a:gd name="connsiteX370" fmla="*/ 22934 w 322623"/>
                    <a:gd name="connsiteY370" fmla="*/ 382858 h 560375"/>
                    <a:gd name="connsiteX371" fmla="*/ 25338 w 322623"/>
                    <a:gd name="connsiteY371" fmla="*/ 382255 h 560375"/>
                    <a:gd name="connsiteX372" fmla="*/ 28385 w 322623"/>
                    <a:gd name="connsiteY372" fmla="*/ 380079 h 560375"/>
                    <a:gd name="connsiteX373" fmla="*/ 31116 w 322623"/>
                    <a:gd name="connsiteY373" fmla="*/ 377170 h 560375"/>
                    <a:gd name="connsiteX374" fmla="*/ 33210 w 322623"/>
                    <a:gd name="connsiteY374" fmla="*/ 374505 h 560375"/>
                    <a:gd name="connsiteX375" fmla="*/ 33911 w 322623"/>
                    <a:gd name="connsiteY375" fmla="*/ 369224 h 560375"/>
                    <a:gd name="connsiteX376" fmla="*/ 33936 w 322623"/>
                    <a:gd name="connsiteY376" fmla="*/ 366567 h 560375"/>
                    <a:gd name="connsiteX377" fmla="*/ 34856 w 322623"/>
                    <a:gd name="connsiteY377" fmla="*/ 364595 h 560375"/>
                    <a:gd name="connsiteX378" fmla="*/ 35745 w 322623"/>
                    <a:gd name="connsiteY378" fmla="*/ 360740 h 560375"/>
                    <a:gd name="connsiteX379" fmla="*/ 34889 w 322623"/>
                    <a:gd name="connsiteY379" fmla="*/ 356926 h 560375"/>
                    <a:gd name="connsiteX380" fmla="*/ 32192 w 322623"/>
                    <a:gd name="connsiteY380" fmla="*/ 351139 h 560375"/>
                    <a:gd name="connsiteX381" fmla="*/ 28956 w 322623"/>
                    <a:gd name="connsiteY381" fmla="*/ 342998 h 560375"/>
                    <a:gd name="connsiteX382" fmla="*/ 28442 w 322623"/>
                    <a:gd name="connsiteY382" fmla="*/ 338540 h 560375"/>
                    <a:gd name="connsiteX383" fmla="*/ 29918 w 322623"/>
                    <a:gd name="connsiteY383" fmla="*/ 337717 h 560375"/>
                    <a:gd name="connsiteX384" fmla="*/ 32746 w 322623"/>
                    <a:gd name="connsiteY384" fmla="*/ 336975 h 560375"/>
                    <a:gd name="connsiteX385" fmla="*/ 38083 w 322623"/>
                    <a:gd name="connsiteY385" fmla="*/ 336763 h 560375"/>
                    <a:gd name="connsiteX386" fmla="*/ 38662 w 322623"/>
                    <a:gd name="connsiteY386" fmla="*/ 336233 h 560375"/>
                    <a:gd name="connsiteX387" fmla="*/ 39192 w 322623"/>
                    <a:gd name="connsiteY387" fmla="*/ 334286 h 560375"/>
                    <a:gd name="connsiteX388" fmla="*/ 40406 w 322623"/>
                    <a:gd name="connsiteY388" fmla="*/ 331629 h 560375"/>
                    <a:gd name="connsiteX389" fmla="*/ 41694 w 322623"/>
                    <a:gd name="connsiteY389" fmla="*/ 329697 h 560375"/>
                    <a:gd name="connsiteX390" fmla="*/ 42558 w 322623"/>
                    <a:gd name="connsiteY390" fmla="*/ 326918 h 560375"/>
                    <a:gd name="connsiteX391" fmla="*/ 42990 w 322623"/>
                    <a:gd name="connsiteY391" fmla="*/ 324416 h 560375"/>
                    <a:gd name="connsiteX392" fmla="*/ 39934 w 322623"/>
                    <a:gd name="connsiteY392" fmla="*/ 320635 h 560375"/>
                    <a:gd name="connsiteX393" fmla="*/ 35932 w 322623"/>
                    <a:gd name="connsiteY393" fmla="*/ 316756 h 560375"/>
                    <a:gd name="connsiteX394" fmla="*/ 33218 w 322623"/>
                    <a:gd name="connsiteY394" fmla="*/ 315476 h 560375"/>
                    <a:gd name="connsiteX395" fmla="*/ 28385 w 322623"/>
                    <a:gd name="connsiteY395" fmla="*/ 312208 h 560375"/>
                    <a:gd name="connsiteX396" fmla="*/ 25003 w 322623"/>
                    <a:gd name="connsiteY396" fmla="*/ 309478 h 560375"/>
                    <a:gd name="connsiteX397" fmla="*/ 26943 w 322623"/>
                    <a:gd name="connsiteY397" fmla="*/ 299054 h 560375"/>
                    <a:gd name="connsiteX398" fmla="*/ 28385 w 322623"/>
                    <a:gd name="connsiteY398" fmla="*/ 291288 h 560375"/>
                    <a:gd name="connsiteX399" fmla="*/ 28622 w 322623"/>
                    <a:gd name="connsiteY399" fmla="*/ 289389 h 560375"/>
                    <a:gd name="connsiteX400" fmla="*/ 28671 w 322623"/>
                    <a:gd name="connsiteY400" fmla="*/ 286455 h 560375"/>
                    <a:gd name="connsiteX401" fmla="*/ 23993 w 322623"/>
                    <a:gd name="connsiteY401" fmla="*/ 273921 h 560375"/>
                    <a:gd name="connsiteX402" fmla="*/ 24172 w 322623"/>
                    <a:gd name="connsiteY402" fmla="*/ 271125 h 560375"/>
                    <a:gd name="connsiteX403" fmla="*/ 24612 w 322623"/>
                    <a:gd name="connsiteY403" fmla="*/ 268607 h 560375"/>
                    <a:gd name="connsiteX404" fmla="*/ 24115 w 322623"/>
                    <a:gd name="connsiteY404" fmla="*/ 264312 h 560375"/>
                    <a:gd name="connsiteX405" fmla="*/ 23838 w 322623"/>
                    <a:gd name="connsiteY405" fmla="*/ 260465 h 560375"/>
                    <a:gd name="connsiteX406" fmla="*/ 24645 w 322623"/>
                    <a:gd name="connsiteY406" fmla="*/ 259300 h 560375"/>
                    <a:gd name="connsiteX407" fmla="*/ 26552 w 322623"/>
                    <a:gd name="connsiteY407" fmla="*/ 257124 h 560375"/>
                    <a:gd name="connsiteX408" fmla="*/ 24734 w 322623"/>
                    <a:gd name="connsiteY408" fmla="*/ 253750 h 560375"/>
                    <a:gd name="connsiteX409" fmla="*/ 24580 w 322623"/>
                    <a:gd name="connsiteY409" fmla="*/ 253473 h 560375"/>
                    <a:gd name="connsiteX410" fmla="*/ 21140 w 322623"/>
                    <a:gd name="connsiteY410" fmla="*/ 245119 h 560375"/>
                    <a:gd name="connsiteX411" fmla="*/ 26405 w 322623"/>
                    <a:gd name="connsiteY411" fmla="*/ 236815 h 560375"/>
                    <a:gd name="connsiteX412" fmla="*/ 25492 w 322623"/>
                    <a:gd name="connsiteY412" fmla="*/ 232528 h 560375"/>
                    <a:gd name="connsiteX413" fmla="*/ 28630 w 322623"/>
                    <a:gd name="connsiteY413" fmla="*/ 229407 h 560375"/>
                    <a:gd name="connsiteX414" fmla="*/ 34351 w 322623"/>
                    <a:gd name="connsiteY414" fmla="*/ 222251 h 560375"/>
                    <a:gd name="connsiteX415" fmla="*/ 37579 w 322623"/>
                    <a:gd name="connsiteY415" fmla="*/ 218225 h 560375"/>
                    <a:gd name="connsiteX416" fmla="*/ 38263 w 322623"/>
                    <a:gd name="connsiteY416" fmla="*/ 217516 h 560375"/>
                    <a:gd name="connsiteX417" fmla="*/ 40806 w 322623"/>
                    <a:gd name="connsiteY417" fmla="*/ 215740 h 560375"/>
                    <a:gd name="connsiteX418" fmla="*/ 45638 w 322623"/>
                    <a:gd name="connsiteY418" fmla="*/ 213645 h 560375"/>
                    <a:gd name="connsiteX419" fmla="*/ 50993 w 322623"/>
                    <a:gd name="connsiteY419" fmla="*/ 212618 h 560375"/>
                    <a:gd name="connsiteX420" fmla="*/ 53381 w 322623"/>
                    <a:gd name="connsiteY420" fmla="*/ 212626 h 560375"/>
                    <a:gd name="connsiteX421" fmla="*/ 62573 w 322623"/>
                    <a:gd name="connsiteY421" fmla="*/ 214053 h 560375"/>
                    <a:gd name="connsiteX422" fmla="*/ 69778 w 322623"/>
                    <a:gd name="connsiteY422" fmla="*/ 215161 h 560375"/>
                    <a:gd name="connsiteX423" fmla="*/ 70813 w 322623"/>
                    <a:gd name="connsiteY423" fmla="*/ 214053 h 560375"/>
                    <a:gd name="connsiteX424" fmla="*/ 72321 w 322623"/>
                    <a:gd name="connsiteY424" fmla="*/ 211771 h 560375"/>
                    <a:gd name="connsiteX425" fmla="*/ 74260 w 322623"/>
                    <a:gd name="connsiteY425" fmla="*/ 208519 h 560375"/>
                    <a:gd name="connsiteX426" fmla="*/ 74424 w 322623"/>
                    <a:gd name="connsiteY426" fmla="*/ 204892 h 560375"/>
                    <a:gd name="connsiteX427" fmla="*/ 73723 w 322623"/>
                    <a:gd name="connsiteY427" fmla="*/ 199571 h 560375"/>
                    <a:gd name="connsiteX428" fmla="*/ 72671 w 322623"/>
                    <a:gd name="connsiteY428" fmla="*/ 196384 h 560375"/>
                    <a:gd name="connsiteX429" fmla="*/ 67610 w 322623"/>
                    <a:gd name="connsiteY429" fmla="*/ 194306 h 560375"/>
                    <a:gd name="connsiteX430" fmla="*/ 62077 w 322623"/>
                    <a:gd name="connsiteY430" fmla="*/ 191453 h 560375"/>
                    <a:gd name="connsiteX431" fmla="*/ 68890 w 322623"/>
                    <a:gd name="connsiteY431" fmla="*/ 182424 h 560375"/>
                    <a:gd name="connsiteX432" fmla="*/ 73617 w 322623"/>
                    <a:gd name="connsiteY432" fmla="*/ 176156 h 560375"/>
                    <a:gd name="connsiteX433" fmla="*/ 79484 w 322623"/>
                    <a:gd name="connsiteY433" fmla="*/ 166687 h 560375"/>
                    <a:gd name="connsiteX434" fmla="*/ 81318 w 322623"/>
                    <a:gd name="connsiteY434" fmla="*/ 162742 h 560375"/>
                    <a:gd name="connsiteX435" fmla="*/ 82646 w 322623"/>
                    <a:gd name="connsiteY435" fmla="*/ 161177 h 560375"/>
                    <a:gd name="connsiteX436" fmla="*/ 84374 w 322623"/>
                    <a:gd name="connsiteY436" fmla="*/ 146581 h 560375"/>
                    <a:gd name="connsiteX437" fmla="*/ 85531 w 322623"/>
                    <a:gd name="connsiteY437" fmla="*/ 142490 h 560375"/>
                    <a:gd name="connsiteX438" fmla="*/ 86493 w 322623"/>
                    <a:gd name="connsiteY438" fmla="*/ 140347 h 560375"/>
                    <a:gd name="connsiteX439" fmla="*/ 86509 w 322623"/>
                    <a:gd name="connsiteY439" fmla="*/ 138146 h 560375"/>
                    <a:gd name="connsiteX440" fmla="*/ 85882 w 322623"/>
                    <a:gd name="connsiteY440" fmla="*/ 134446 h 560375"/>
                    <a:gd name="connsiteX441" fmla="*/ 84219 w 322623"/>
                    <a:gd name="connsiteY441" fmla="*/ 126052 h 560375"/>
                    <a:gd name="connsiteX442" fmla="*/ 93518 w 322623"/>
                    <a:gd name="connsiteY442" fmla="*/ 125017 h 560375"/>
                    <a:gd name="connsiteX443" fmla="*/ 96542 w 322623"/>
                    <a:gd name="connsiteY443" fmla="*/ 124422 h 560375"/>
                    <a:gd name="connsiteX444" fmla="*/ 99362 w 322623"/>
                    <a:gd name="connsiteY444" fmla="*/ 123420 h 560375"/>
                    <a:gd name="connsiteX445" fmla="*/ 104854 w 322623"/>
                    <a:gd name="connsiteY445" fmla="*/ 120812 h 560375"/>
                    <a:gd name="connsiteX446" fmla="*/ 107552 w 322623"/>
                    <a:gd name="connsiteY446" fmla="*/ 118513 h 560375"/>
                    <a:gd name="connsiteX447" fmla="*/ 106036 w 322623"/>
                    <a:gd name="connsiteY447" fmla="*/ 110649 h 560375"/>
                    <a:gd name="connsiteX448" fmla="*/ 109361 w 322623"/>
                    <a:gd name="connsiteY448" fmla="*/ 107984 h 560375"/>
                    <a:gd name="connsiteX449" fmla="*/ 117478 w 322623"/>
                    <a:gd name="connsiteY449" fmla="*/ 98693 h 560375"/>
                    <a:gd name="connsiteX450" fmla="*/ 126247 w 322623"/>
                    <a:gd name="connsiteY450" fmla="*/ 89761 h 560375"/>
                    <a:gd name="connsiteX451" fmla="*/ 130363 w 322623"/>
                    <a:gd name="connsiteY451" fmla="*/ 86387 h 560375"/>
                    <a:gd name="connsiteX452" fmla="*/ 130787 w 322623"/>
                    <a:gd name="connsiteY452" fmla="*/ 84725 h 560375"/>
                    <a:gd name="connsiteX453" fmla="*/ 131121 w 322623"/>
                    <a:gd name="connsiteY453" fmla="*/ 82076 h 560375"/>
                    <a:gd name="connsiteX454" fmla="*/ 129303 w 322623"/>
                    <a:gd name="connsiteY454" fmla="*/ 77887 h 560375"/>
                    <a:gd name="connsiteX455" fmla="*/ 127340 w 322623"/>
                    <a:gd name="connsiteY455" fmla="*/ 75287 h 560375"/>
                    <a:gd name="connsiteX456" fmla="*/ 123517 w 322623"/>
                    <a:gd name="connsiteY456" fmla="*/ 70373 h 560375"/>
                    <a:gd name="connsiteX457" fmla="*/ 125155 w 322623"/>
                    <a:gd name="connsiteY457" fmla="*/ 66942 h 560375"/>
                    <a:gd name="connsiteX458" fmla="*/ 127975 w 322623"/>
                    <a:gd name="connsiteY458" fmla="*/ 66274 h 560375"/>
                    <a:gd name="connsiteX459" fmla="*/ 131692 w 322623"/>
                    <a:gd name="connsiteY459" fmla="*/ 64921 h 560375"/>
                    <a:gd name="connsiteX460" fmla="*/ 134593 w 322623"/>
                    <a:gd name="connsiteY460" fmla="*/ 61979 h 560375"/>
                    <a:gd name="connsiteX461" fmla="*/ 134878 w 322623"/>
                    <a:gd name="connsiteY461" fmla="*/ 61604 h 560375"/>
                    <a:gd name="connsiteX462" fmla="*/ 139792 w 322623"/>
                    <a:gd name="connsiteY462" fmla="*/ 50015 h 560375"/>
                    <a:gd name="connsiteX463" fmla="*/ 149393 w 322623"/>
                    <a:gd name="connsiteY463" fmla="*/ 44131 h 560375"/>
                    <a:gd name="connsiteX464" fmla="*/ 153207 w 322623"/>
                    <a:gd name="connsiteY464" fmla="*/ 40920 h 560375"/>
                    <a:gd name="connsiteX465" fmla="*/ 159164 w 322623"/>
                    <a:gd name="connsiteY465" fmla="*/ 43332 h 560375"/>
                    <a:gd name="connsiteX466" fmla="*/ 167893 w 322623"/>
                    <a:gd name="connsiteY466" fmla="*/ 46975 h 560375"/>
                    <a:gd name="connsiteX467" fmla="*/ 171772 w 322623"/>
                    <a:gd name="connsiteY467" fmla="*/ 41621 h 560375"/>
                    <a:gd name="connsiteX468" fmla="*/ 173052 w 322623"/>
                    <a:gd name="connsiteY468" fmla="*/ 39632 h 560375"/>
                    <a:gd name="connsiteX469" fmla="*/ 174339 w 322623"/>
                    <a:gd name="connsiteY469" fmla="*/ 36698 h 560375"/>
                    <a:gd name="connsiteX470" fmla="*/ 173834 w 322623"/>
                    <a:gd name="connsiteY470" fmla="*/ 31613 h 560375"/>
                    <a:gd name="connsiteX471" fmla="*/ 173606 w 322623"/>
                    <a:gd name="connsiteY471" fmla="*/ 25012 h 560375"/>
                    <a:gd name="connsiteX472" fmla="*/ 173997 w 322623"/>
                    <a:gd name="connsiteY472" fmla="*/ 22355 h 560375"/>
                    <a:gd name="connsiteX473" fmla="*/ 177477 w 322623"/>
                    <a:gd name="connsiteY473" fmla="*/ 21165 h 560375"/>
                    <a:gd name="connsiteX474" fmla="*/ 179343 w 322623"/>
                    <a:gd name="connsiteY474" fmla="*/ 20863 h 560375"/>
                    <a:gd name="connsiteX475" fmla="*/ 189050 w 322623"/>
                    <a:gd name="connsiteY475" fmla="*/ 23602 h 560375"/>
                    <a:gd name="connsiteX476" fmla="*/ 191502 w 322623"/>
                    <a:gd name="connsiteY476" fmla="*/ 23553 h 560375"/>
                    <a:gd name="connsiteX477" fmla="*/ 196066 w 322623"/>
                    <a:gd name="connsiteY477" fmla="*/ 23919 h 560375"/>
                    <a:gd name="connsiteX478" fmla="*/ 201184 w 322623"/>
                    <a:gd name="connsiteY478" fmla="*/ 25117 h 560375"/>
                    <a:gd name="connsiteX479" fmla="*/ 211901 w 322623"/>
                    <a:gd name="connsiteY479" fmla="*/ 28312 h 560375"/>
                    <a:gd name="connsiteX480" fmla="*/ 216343 w 322623"/>
                    <a:gd name="connsiteY480" fmla="*/ 29632 h 560375"/>
                    <a:gd name="connsiteX481" fmla="*/ 218812 w 322623"/>
                    <a:gd name="connsiteY481" fmla="*/ 29893 h 560375"/>
                    <a:gd name="connsiteX482" fmla="*/ 220956 w 322623"/>
                    <a:gd name="connsiteY482" fmla="*/ 28402 h 560375"/>
                    <a:gd name="connsiteX483" fmla="*/ 225511 w 322623"/>
                    <a:gd name="connsiteY483" fmla="*/ 24580 h 560375"/>
                    <a:gd name="connsiteX484" fmla="*/ 218788 w 322623"/>
                    <a:gd name="connsiteY484" fmla="*/ 21760 h 560375"/>
                    <a:gd name="connsiteX485" fmla="*/ 223221 w 322623"/>
                    <a:gd name="connsiteY485" fmla="*/ 18891 h 560375"/>
                    <a:gd name="connsiteX486" fmla="*/ 225511 w 322623"/>
                    <a:gd name="connsiteY486" fmla="*/ 16006 h 560375"/>
                    <a:gd name="connsiteX487" fmla="*/ 227492 w 322623"/>
                    <a:gd name="connsiteY487" fmla="*/ 12453 h 560375"/>
                    <a:gd name="connsiteX488" fmla="*/ 228193 w 322623"/>
                    <a:gd name="connsiteY488" fmla="*/ 8288 h 560375"/>
                    <a:gd name="connsiteX489" fmla="*/ 227923 w 322623"/>
                    <a:gd name="connsiteY489" fmla="*/ 6039 h 560375"/>
                    <a:gd name="connsiteX490" fmla="*/ 226562 w 322623"/>
                    <a:gd name="connsiteY490" fmla="*/ 4523 h 560375"/>
                    <a:gd name="connsiteX491" fmla="*/ 222455 w 322623"/>
                    <a:gd name="connsiteY491" fmla="*/ 709 h 560375"/>
                    <a:gd name="connsiteX492" fmla="*/ 231762 w 322623"/>
                    <a:gd name="connsiteY492" fmla="*/ 155 h 560375"/>
                    <a:gd name="connsiteX493" fmla="*/ 234989 w 322623"/>
                    <a:gd name="connsiteY493" fmla="*/ 0 h 560375"/>
                    <a:gd name="connsiteX494" fmla="*/ 241762 w 322623"/>
                    <a:gd name="connsiteY494" fmla="*/ 2510 h 560375"/>
                    <a:gd name="connsiteX495" fmla="*/ 242064 w 322623"/>
                    <a:gd name="connsiteY495" fmla="*/ 3056 h 560375"/>
                    <a:gd name="connsiteX496" fmla="*/ 242112 w 322623"/>
                    <a:gd name="connsiteY496" fmla="*/ 4368 h 560375"/>
                    <a:gd name="connsiteX497" fmla="*/ 242349 w 322623"/>
                    <a:gd name="connsiteY497" fmla="*/ 5729 h 560375"/>
                    <a:gd name="connsiteX498" fmla="*/ 248909 w 322623"/>
                    <a:gd name="connsiteY498" fmla="*/ 9160 h 560375"/>
                    <a:gd name="connsiteX499" fmla="*/ 250808 w 322623"/>
                    <a:gd name="connsiteY499" fmla="*/ 10978 h 560375"/>
                    <a:gd name="connsiteX500" fmla="*/ 254842 w 322623"/>
                    <a:gd name="connsiteY500" fmla="*/ 13749 h 560375"/>
                    <a:gd name="connsiteX501" fmla="*/ 255910 w 322623"/>
                    <a:gd name="connsiteY501" fmla="*/ 15232 h 560375"/>
                    <a:gd name="connsiteX502" fmla="*/ 259642 w 322623"/>
                    <a:gd name="connsiteY502" fmla="*/ 16984 h 560375"/>
                    <a:gd name="connsiteX503" fmla="*/ 262324 w 322623"/>
                    <a:gd name="connsiteY503" fmla="*/ 18842 h 560375"/>
                    <a:gd name="connsiteX504" fmla="*/ 265453 w 322623"/>
                    <a:gd name="connsiteY504" fmla="*/ 20350 h 560375"/>
                    <a:gd name="connsiteX505" fmla="*/ 269104 w 322623"/>
                    <a:gd name="connsiteY505" fmla="*/ 22697 h 560375"/>
                    <a:gd name="connsiteX506" fmla="*/ 274010 w 322623"/>
                    <a:gd name="connsiteY506" fmla="*/ 24563 h 560375"/>
                    <a:gd name="connsiteX507" fmla="*/ 278150 w 322623"/>
                    <a:gd name="connsiteY507" fmla="*/ 25174 h 560375"/>
                    <a:gd name="connsiteX508" fmla="*/ 288574 w 322623"/>
                    <a:gd name="connsiteY508" fmla="*/ 28377 h 56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Lst>
                  <a:rect l="l" t="t" r="r" b="b"/>
                  <a:pathLst>
                    <a:path w="322623" h="560375">
                      <a:moveTo>
                        <a:pt x="290342" y="29412"/>
                      </a:moveTo>
                      <a:lnTo>
                        <a:pt x="293366" y="31637"/>
                      </a:lnTo>
                      <a:lnTo>
                        <a:pt x="296398" y="34204"/>
                      </a:lnTo>
                      <a:lnTo>
                        <a:pt x="298492" y="39485"/>
                      </a:lnTo>
                      <a:lnTo>
                        <a:pt x="301874" y="39763"/>
                      </a:lnTo>
                      <a:lnTo>
                        <a:pt x="302795" y="41580"/>
                      </a:lnTo>
                      <a:lnTo>
                        <a:pt x="305729" y="44693"/>
                      </a:lnTo>
                      <a:lnTo>
                        <a:pt x="309812" y="47431"/>
                      </a:lnTo>
                      <a:lnTo>
                        <a:pt x="309665" y="48352"/>
                      </a:lnTo>
                      <a:lnTo>
                        <a:pt x="306422" y="50871"/>
                      </a:lnTo>
                      <a:lnTo>
                        <a:pt x="306063" y="54294"/>
                      </a:lnTo>
                      <a:lnTo>
                        <a:pt x="306373" y="58654"/>
                      </a:lnTo>
                      <a:lnTo>
                        <a:pt x="307392" y="62215"/>
                      </a:lnTo>
                      <a:lnTo>
                        <a:pt x="307302" y="63250"/>
                      </a:lnTo>
                      <a:lnTo>
                        <a:pt x="306479" y="64464"/>
                      </a:lnTo>
                      <a:lnTo>
                        <a:pt x="305509" y="66388"/>
                      </a:lnTo>
                      <a:lnTo>
                        <a:pt x="305167" y="68058"/>
                      </a:lnTo>
                      <a:lnTo>
                        <a:pt x="305256" y="68882"/>
                      </a:lnTo>
                      <a:lnTo>
                        <a:pt x="305582" y="69330"/>
                      </a:lnTo>
                      <a:lnTo>
                        <a:pt x="307302" y="69362"/>
                      </a:lnTo>
                      <a:lnTo>
                        <a:pt x="310366" y="69762"/>
                      </a:lnTo>
                      <a:lnTo>
                        <a:pt x="312168" y="70503"/>
                      </a:lnTo>
                      <a:lnTo>
                        <a:pt x="313186" y="74570"/>
                      </a:lnTo>
                      <a:lnTo>
                        <a:pt x="312836" y="75361"/>
                      </a:lnTo>
                      <a:lnTo>
                        <a:pt x="310260" y="77202"/>
                      </a:lnTo>
                      <a:lnTo>
                        <a:pt x="309494" y="78669"/>
                      </a:lnTo>
                      <a:lnTo>
                        <a:pt x="309421" y="80813"/>
                      </a:lnTo>
                      <a:lnTo>
                        <a:pt x="309877" y="83176"/>
                      </a:lnTo>
                      <a:lnTo>
                        <a:pt x="310766" y="85817"/>
                      </a:lnTo>
                      <a:lnTo>
                        <a:pt x="312795" y="88636"/>
                      </a:lnTo>
                      <a:lnTo>
                        <a:pt x="315533" y="91587"/>
                      </a:lnTo>
                      <a:lnTo>
                        <a:pt x="317326" y="94007"/>
                      </a:lnTo>
                      <a:lnTo>
                        <a:pt x="318182" y="95710"/>
                      </a:lnTo>
                      <a:lnTo>
                        <a:pt x="318492" y="96900"/>
                      </a:lnTo>
                      <a:lnTo>
                        <a:pt x="317253" y="98392"/>
                      </a:lnTo>
                      <a:lnTo>
                        <a:pt x="316144" y="101350"/>
                      </a:lnTo>
                      <a:lnTo>
                        <a:pt x="315940" y="104732"/>
                      </a:lnTo>
                      <a:lnTo>
                        <a:pt x="315436" y="106933"/>
                      </a:lnTo>
                      <a:lnTo>
                        <a:pt x="313031" y="109964"/>
                      </a:lnTo>
                      <a:lnTo>
                        <a:pt x="311361" y="111040"/>
                      </a:lnTo>
                      <a:lnTo>
                        <a:pt x="310888" y="112637"/>
                      </a:lnTo>
                      <a:lnTo>
                        <a:pt x="310692" y="115319"/>
                      </a:lnTo>
                      <a:lnTo>
                        <a:pt x="311165" y="118587"/>
                      </a:lnTo>
                      <a:lnTo>
                        <a:pt x="311336" y="120787"/>
                      </a:lnTo>
                      <a:lnTo>
                        <a:pt x="311850" y="122376"/>
                      </a:lnTo>
                      <a:lnTo>
                        <a:pt x="312607" y="123411"/>
                      </a:lnTo>
                      <a:lnTo>
                        <a:pt x="316470" y="125245"/>
                      </a:lnTo>
                      <a:lnTo>
                        <a:pt x="318638" y="128986"/>
                      </a:lnTo>
                      <a:lnTo>
                        <a:pt x="319991" y="131993"/>
                      </a:lnTo>
                      <a:lnTo>
                        <a:pt x="322623" y="139833"/>
                      </a:lnTo>
                      <a:lnTo>
                        <a:pt x="316063" y="140819"/>
                      </a:lnTo>
                      <a:lnTo>
                        <a:pt x="311116" y="138855"/>
                      </a:lnTo>
                      <a:lnTo>
                        <a:pt x="308655" y="139833"/>
                      </a:lnTo>
                      <a:lnTo>
                        <a:pt x="304336" y="139874"/>
                      </a:lnTo>
                      <a:lnTo>
                        <a:pt x="299454" y="140656"/>
                      </a:lnTo>
                      <a:lnTo>
                        <a:pt x="297807" y="142188"/>
                      </a:lnTo>
                      <a:lnTo>
                        <a:pt x="296504" y="142808"/>
                      </a:lnTo>
                      <a:lnTo>
                        <a:pt x="291972" y="140640"/>
                      </a:lnTo>
                      <a:lnTo>
                        <a:pt x="287685" y="137054"/>
                      </a:lnTo>
                      <a:lnTo>
                        <a:pt x="284556" y="139784"/>
                      </a:lnTo>
                      <a:lnTo>
                        <a:pt x="282527" y="140306"/>
                      </a:lnTo>
                      <a:lnTo>
                        <a:pt x="280701" y="137828"/>
                      </a:lnTo>
                      <a:lnTo>
                        <a:pt x="279120" y="137421"/>
                      </a:lnTo>
                      <a:lnTo>
                        <a:pt x="278248" y="138252"/>
                      </a:lnTo>
                      <a:lnTo>
                        <a:pt x="277498" y="140436"/>
                      </a:lnTo>
                      <a:lnTo>
                        <a:pt x="276301" y="142164"/>
                      </a:lnTo>
                      <a:lnTo>
                        <a:pt x="275991" y="143248"/>
                      </a:lnTo>
                      <a:lnTo>
                        <a:pt x="275779" y="147632"/>
                      </a:lnTo>
                      <a:lnTo>
                        <a:pt x="275461" y="148651"/>
                      </a:lnTo>
                      <a:lnTo>
                        <a:pt x="271313" y="148089"/>
                      </a:lnTo>
                      <a:lnTo>
                        <a:pt x="271557" y="149238"/>
                      </a:lnTo>
                      <a:lnTo>
                        <a:pt x="272453" y="149816"/>
                      </a:lnTo>
                      <a:lnTo>
                        <a:pt x="272821" y="150542"/>
                      </a:lnTo>
                      <a:lnTo>
                        <a:pt x="271321" y="151503"/>
                      </a:lnTo>
                      <a:lnTo>
                        <a:pt x="267189" y="151414"/>
                      </a:lnTo>
                      <a:lnTo>
                        <a:pt x="266765" y="152433"/>
                      </a:lnTo>
                      <a:lnTo>
                        <a:pt x="267930" y="154038"/>
                      </a:lnTo>
                      <a:lnTo>
                        <a:pt x="267018" y="155440"/>
                      </a:lnTo>
                      <a:lnTo>
                        <a:pt x="266186" y="155994"/>
                      </a:lnTo>
                      <a:lnTo>
                        <a:pt x="261248" y="156866"/>
                      </a:lnTo>
                      <a:lnTo>
                        <a:pt x="258387" y="156670"/>
                      </a:lnTo>
                      <a:lnTo>
                        <a:pt x="257572" y="157583"/>
                      </a:lnTo>
                      <a:lnTo>
                        <a:pt x="257352" y="158765"/>
                      </a:lnTo>
                      <a:lnTo>
                        <a:pt x="257890" y="159922"/>
                      </a:lnTo>
                      <a:lnTo>
                        <a:pt x="259145" y="160542"/>
                      </a:lnTo>
                      <a:lnTo>
                        <a:pt x="259561" y="161275"/>
                      </a:lnTo>
                      <a:lnTo>
                        <a:pt x="259471" y="162872"/>
                      </a:lnTo>
                      <a:lnTo>
                        <a:pt x="258420" y="163158"/>
                      </a:lnTo>
                      <a:lnTo>
                        <a:pt x="255445" y="160354"/>
                      </a:lnTo>
                      <a:lnTo>
                        <a:pt x="254540" y="160509"/>
                      </a:lnTo>
                      <a:lnTo>
                        <a:pt x="255217" y="161960"/>
                      </a:lnTo>
                      <a:lnTo>
                        <a:pt x="256921" y="163541"/>
                      </a:lnTo>
                      <a:lnTo>
                        <a:pt x="257906" y="165162"/>
                      </a:lnTo>
                      <a:lnTo>
                        <a:pt x="258770" y="167118"/>
                      </a:lnTo>
                      <a:lnTo>
                        <a:pt x="258599" y="168585"/>
                      </a:lnTo>
                      <a:lnTo>
                        <a:pt x="254907" y="173353"/>
                      </a:lnTo>
                      <a:lnTo>
                        <a:pt x="251647" y="176360"/>
                      </a:lnTo>
                      <a:lnTo>
                        <a:pt x="249227" y="179058"/>
                      </a:lnTo>
                      <a:lnTo>
                        <a:pt x="247792" y="181926"/>
                      </a:lnTo>
                      <a:lnTo>
                        <a:pt x="249447" y="183377"/>
                      </a:lnTo>
                      <a:lnTo>
                        <a:pt x="251289" y="185455"/>
                      </a:lnTo>
                      <a:lnTo>
                        <a:pt x="252593" y="189457"/>
                      </a:lnTo>
                      <a:lnTo>
                        <a:pt x="254133" y="193010"/>
                      </a:lnTo>
                      <a:lnTo>
                        <a:pt x="257254" y="196417"/>
                      </a:lnTo>
                      <a:lnTo>
                        <a:pt x="256635" y="198381"/>
                      </a:lnTo>
                      <a:lnTo>
                        <a:pt x="255893" y="199905"/>
                      </a:lnTo>
                      <a:lnTo>
                        <a:pt x="250710" y="203271"/>
                      </a:lnTo>
                      <a:lnTo>
                        <a:pt x="244826" y="208323"/>
                      </a:lnTo>
                      <a:lnTo>
                        <a:pt x="238486" y="221241"/>
                      </a:lnTo>
                      <a:lnTo>
                        <a:pt x="236367" y="222969"/>
                      </a:lnTo>
                      <a:lnTo>
                        <a:pt x="230817" y="225153"/>
                      </a:lnTo>
                      <a:lnTo>
                        <a:pt x="228779" y="227263"/>
                      </a:lnTo>
                      <a:lnTo>
                        <a:pt x="224639" y="229774"/>
                      </a:lnTo>
                      <a:lnTo>
                        <a:pt x="217418" y="231925"/>
                      </a:lnTo>
                      <a:lnTo>
                        <a:pt x="214150" y="234924"/>
                      </a:lnTo>
                      <a:lnTo>
                        <a:pt x="212667" y="238021"/>
                      </a:lnTo>
                      <a:lnTo>
                        <a:pt x="211029" y="238241"/>
                      </a:lnTo>
                      <a:lnTo>
                        <a:pt x="209399" y="237027"/>
                      </a:lnTo>
                      <a:lnTo>
                        <a:pt x="207223" y="236130"/>
                      </a:lnTo>
                      <a:lnTo>
                        <a:pt x="206930" y="238151"/>
                      </a:lnTo>
                      <a:lnTo>
                        <a:pt x="207036" y="239635"/>
                      </a:lnTo>
                      <a:lnTo>
                        <a:pt x="203548" y="237434"/>
                      </a:lnTo>
                      <a:lnTo>
                        <a:pt x="201910" y="239455"/>
                      </a:lnTo>
                      <a:lnTo>
                        <a:pt x="200622" y="242821"/>
                      </a:lnTo>
                      <a:lnTo>
                        <a:pt x="195610" y="247344"/>
                      </a:lnTo>
                      <a:lnTo>
                        <a:pt x="190207" y="246538"/>
                      </a:lnTo>
                      <a:lnTo>
                        <a:pt x="189612" y="247328"/>
                      </a:lnTo>
                      <a:lnTo>
                        <a:pt x="191046" y="247907"/>
                      </a:lnTo>
                      <a:lnTo>
                        <a:pt x="191266" y="248632"/>
                      </a:lnTo>
                      <a:lnTo>
                        <a:pt x="190280" y="249015"/>
                      </a:lnTo>
                      <a:lnTo>
                        <a:pt x="188797" y="248974"/>
                      </a:lnTo>
                      <a:lnTo>
                        <a:pt x="186507" y="249871"/>
                      </a:lnTo>
                      <a:lnTo>
                        <a:pt x="184999" y="249806"/>
                      </a:lnTo>
                      <a:lnTo>
                        <a:pt x="184290" y="251941"/>
                      </a:lnTo>
                      <a:lnTo>
                        <a:pt x="183116" y="254532"/>
                      </a:lnTo>
                      <a:lnTo>
                        <a:pt x="180068" y="255600"/>
                      </a:lnTo>
                      <a:lnTo>
                        <a:pt x="178495" y="255828"/>
                      </a:lnTo>
                      <a:lnTo>
                        <a:pt x="177713" y="257295"/>
                      </a:lnTo>
                      <a:lnTo>
                        <a:pt x="182407" y="257605"/>
                      </a:lnTo>
                      <a:lnTo>
                        <a:pt x="182032" y="258852"/>
                      </a:lnTo>
                      <a:lnTo>
                        <a:pt x="181934" y="260099"/>
                      </a:lnTo>
                      <a:lnTo>
                        <a:pt x="181438" y="261435"/>
                      </a:lnTo>
                      <a:lnTo>
                        <a:pt x="176116" y="263359"/>
                      </a:lnTo>
                      <a:lnTo>
                        <a:pt x="175292" y="264874"/>
                      </a:lnTo>
                      <a:lnTo>
                        <a:pt x="174176" y="265812"/>
                      </a:lnTo>
                      <a:lnTo>
                        <a:pt x="171804" y="265763"/>
                      </a:lnTo>
                      <a:lnTo>
                        <a:pt x="171886" y="264883"/>
                      </a:lnTo>
                      <a:lnTo>
                        <a:pt x="172277" y="263896"/>
                      </a:lnTo>
                      <a:lnTo>
                        <a:pt x="168748" y="263986"/>
                      </a:lnTo>
                      <a:lnTo>
                        <a:pt x="167648" y="261810"/>
                      </a:lnTo>
                      <a:lnTo>
                        <a:pt x="166972" y="262364"/>
                      </a:lnTo>
                      <a:lnTo>
                        <a:pt x="167371" y="264125"/>
                      </a:lnTo>
                      <a:lnTo>
                        <a:pt x="168300" y="265950"/>
                      </a:lnTo>
                      <a:lnTo>
                        <a:pt x="169327" y="268623"/>
                      </a:lnTo>
                      <a:lnTo>
                        <a:pt x="168488" y="270310"/>
                      </a:lnTo>
                      <a:lnTo>
                        <a:pt x="167558" y="271150"/>
                      </a:lnTo>
                      <a:lnTo>
                        <a:pt x="168227" y="271916"/>
                      </a:lnTo>
                      <a:lnTo>
                        <a:pt x="170126" y="272511"/>
                      </a:lnTo>
                      <a:lnTo>
                        <a:pt x="170884" y="273570"/>
                      </a:lnTo>
                      <a:lnTo>
                        <a:pt x="168650" y="274467"/>
                      </a:lnTo>
                      <a:lnTo>
                        <a:pt x="165855" y="277572"/>
                      </a:lnTo>
                      <a:lnTo>
                        <a:pt x="162962" y="277653"/>
                      </a:lnTo>
                      <a:lnTo>
                        <a:pt x="161186" y="279699"/>
                      </a:lnTo>
                      <a:lnTo>
                        <a:pt x="159303" y="279691"/>
                      </a:lnTo>
                      <a:lnTo>
                        <a:pt x="157787" y="278395"/>
                      </a:lnTo>
                      <a:lnTo>
                        <a:pt x="155334" y="277344"/>
                      </a:lnTo>
                      <a:lnTo>
                        <a:pt x="154535" y="279210"/>
                      </a:lnTo>
                      <a:lnTo>
                        <a:pt x="154421" y="280693"/>
                      </a:lnTo>
                      <a:lnTo>
                        <a:pt x="155798" y="284450"/>
                      </a:lnTo>
                      <a:lnTo>
                        <a:pt x="158431" y="287351"/>
                      </a:lnTo>
                      <a:lnTo>
                        <a:pt x="160876" y="288606"/>
                      </a:lnTo>
                      <a:lnTo>
                        <a:pt x="159124" y="289446"/>
                      </a:lnTo>
                      <a:lnTo>
                        <a:pt x="157812" y="291328"/>
                      </a:lnTo>
                      <a:lnTo>
                        <a:pt x="156230" y="297188"/>
                      </a:lnTo>
                      <a:lnTo>
                        <a:pt x="155375" y="299495"/>
                      </a:lnTo>
                      <a:lnTo>
                        <a:pt x="154454" y="303553"/>
                      </a:lnTo>
                      <a:lnTo>
                        <a:pt x="155032" y="306984"/>
                      </a:lnTo>
                      <a:lnTo>
                        <a:pt x="155505" y="308663"/>
                      </a:lnTo>
                      <a:lnTo>
                        <a:pt x="156695" y="310945"/>
                      </a:lnTo>
                      <a:lnTo>
                        <a:pt x="153460" y="310651"/>
                      </a:lnTo>
                      <a:lnTo>
                        <a:pt x="150028" y="309315"/>
                      </a:lnTo>
                      <a:lnTo>
                        <a:pt x="150501" y="312094"/>
                      </a:lnTo>
                      <a:lnTo>
                        <a:pt x="148398" y="315362"/>
                      </a:lnTo>
                      <a:lnTo>
                        <a:pt x="148790" y="318247"/>
                      </a:lnTo>
                      <a:lnTo>
                        <a:pt x="149222" y="320121"/>
                      </a:lnTo>
                      <a:lnTo>
                        <a:pt x="148578" y="323226"/>
                      </a:lnTo>
                      <a:lnTo>
                        <a:pt x="149572" y="324196"/>
                      </a:lnTo>
                      <a:lnTo>
                        <a:pt x="150102" y="326054"/>
                      </a:lnTo>
                      <a:lnTo>
                        <a:pt x="149214" y="327415"/>
                      </a:lnTo>
                      <a:lnTo>
                        <a:pt x="149613" y="328581"/>
                      </a:lnTo>
                      <a:lnTo>
                        <a:pt x="149759" y="332737"/>
                      </a:lnTo>
                      <a:lnTo>
                        <a:pt x="150436" y="339216"/>
                      </a:lnTo>
                      <a:lnTo>
                        <a:pt x="150192" y="340585"/>
                      </a:lnTo>
                      <a:lnTo>
                        <a:pt x="152074" y="346217"/>
                      </a:lnTo>
                      <a:lnTo>
                        <a:pt x="151634" y="348189"/>
                      </a:lnTo>
                      <a:lnTo>
                        <a:pt x="151381" y="350699"/>
                      </a:lnTo>
                      <a:lnTo>
                        <a:pt x="154079" y="353103"/>
                      </a:lnTo>
                      <a:lnTo>
                        <a:pt x="156491" y="353071"/>
                      </a:lnTo>
                      <a:lnTo>
                        <a:pt x="158936" y="353030"/>
                      </a:lnTo>
                      <a:lnTo>
                        <a:pt x="159865" y="353633"/>
                      </a:lnTo>
                      <a:lnTo>
                        <a:pt x="160803" y="355336"/>
                      </a:lnTo>
                      <a:lnTo>
                        <a:pt x="161552" y="357349"/>
                      </a:lnTo>
                      <a:lnTo>
                        <a:pt x="163573" y="357178"/>
                      </a:lnTo>
                      <a:lnTo>
                        <a:pt x="166768" y="355548"/>
                      </a:lnTo>
                      <a:lnTo>
                        <a:pt x="168862" y="355157"/>
                      </a:lnTo>
                      <a:lnTo>
                        <a:pt x="170240" y="358303"/>
                      </a:lnTo>
                      <a:lnTo>
                        <a:pt x="173989" y="362451"/>
                      </a:lnTo>
                      <a:lnTo>
                        <a:pt x="176173" y="364309"/>
                      </a:lnTo>
                      <a:lnTo>
                        <a:pt x="179881" y="365287"/>
                      </a:lnTo>
                      <a:lnTo>
                        <a:pt x="183785" y="368637"/>
                      </a:lnTo>
                      <a:lnTo>
                        <a:pt x="183239" y="372663"/>
                      </a:lnTo>
                      <a:lnTo>
                        <a:pt x="184869" y="374008"/>
                      </a:lnTo>
                      <a:lnTo>
                        <a:pt x="189481" y="375597"/>
                      </a:lnTo>
                      <a:lnTo>
                        <a:pt x="191103" y="377732"/>
                      </a:lnTo>
                      <a:lnTo>
                        <a:pt x="191885" y="379557"/>
                      </a:lnTo>
                      <a:lnTo>
                        <a:pt x="193108" y="381073"/>
                      </a:lnTo>
                      <a:lnTo>
                        <a:pt x="194518" y="385637"/>
                      </a:lnTo>
                      <a:lnTo>
                        <a:pt x="194029" y="388449"/>
                      </a:lnTo>
                      <a:lnTo>
                        <a:pt x="192171" y="389419"/>
                      </a:lnTo>
                      <a:lnTo>
                        <a:pt x="187786" y="392426"/>
                      </a:lnTo>
                      <a:lnTo>
                        <a:pt x="185822" y="394667"/>
                      </a:lnTo>
                      <a:lnTo>
                        <a:pt x="184298" y="396069"/>
                      </a:lnTo>
                      <a:lnTo>
                        <a:pt x="179946" y="399068"/>
                      </a:lnTo>
                      <a:lnTo>
                        <a:pt x="178341" y="399598"/>
                      </a:lnTo>
                      <a:lnTo>
                        <a:pt x="176825" y="401154"/>
                      </a:lnTo>
                      <a:lnTo>
                        <a:pt x="175333" y="401839"/>
                      </a:lnTo>
                      <a:lnTo>
                        <a:pt x="174013" y="401439"/>
                      </a:lnTo>
                      <a:lnTo>
                        <a:pt x="169074" y="404259"/>
                      </a:lnTo>
                      <a:lnTo>
                        <a:pt x="169449" y="405465"/>
                      </a:lnTo>
                      <a:lnTo>
                        <a:pt x="173239" y="405971"/>
                      </a:lnTo>
                      <a:lnTo>
                        <a:pt x="175178" y="405368"/>
                      </a:lnTo>
                      <a:lnTo>
                        <a:pt x="176662" y="403958"/>
                      </a:lnTo>
                      <a:lnTo>
                        <a:pt x="178292" y="403632"/>
                      </a:lnTo>
                      <a:lnTo>
                        <a:pt x="179783" y="403893"/>
                      </a:lnTo>
                      <a:lnTo>
                        <a:pt x="181340" y="402784"/>
                      </a:lnTo>
                      <a:lnTo>
                        <a:pt x="182587" y="402336"/>
                      </a:lnTo>
                      <a:lnTo>
                        <a:pt x="183858" y="402866"/>
                      </a:lnTo>
                      <a:lnTo>
                        <a:pt x="185276" y="405539"/>
                      </a:lnTo>
                      <a:lnTo>
                        <a:pt x="182326" y="406932"/>
                      </a:lnTo>
                      <a:lnTo>
                        <a:pt x="180239" y="406998"/>
                      </a:lnTo>
                      <a:lnTo>
                        <a:pt x="179213" y="411382"/>
                      </a:lnTo>
                      <a:lnTo>
                        <a:pt x="177941" y="413257"/>
                      </a:lnTo>
                      <a:lnTo>
                        <a:pt x="177037" y="414169"/>
                      </a:lnTo>
                      <a:lnTo>
                        <a:pt x="172391" y="416028"/>
                      </a:lnTo>
                      <a:lnTo>
                        <a:pt x="169335" y="418391"/>
                      </a:lnTo>
                      <a:lnTo>
                        <a:pt x="165717" y="420290"/>
                      </a:lnTo>
                      <a:lnTo>
                        <a:pt x="164136" y="419874"/>
                      </a:lnTo>
                      <a:lnTo>
                        <a:pt x="161764" y="421806"/>
                      </a:lnTo>
                      <a:lnTo>
                        <a:pt x="156483" y="424079"/>
                      </a:lnTo>
                      <a:lnTo>
                        <a:pt x="153785" y="427152"/>
                      </a:lnTo>
                      <a:lnTo>
                        <a:pt x="147714" y="429898"/>
                      </a:lnTo>
                      <a:lnTo>
                        <a:pt x="144617" y="432140"/>
                      </a:lnTo>
                      <a:lnTo>
                        <a:pt x="136207" y="432254"/>
                      </a:lnTo>
                      <a:lnTo>
                        <a:pt x="128187" y="431765"/>
                      </a:lnTo>
                      <a:lnTo>
                        <a:pt x="125669" y="432824"/>
                      </a:lnTo>
                      <a:lnTo>
                        <a:pt x="128244" y="433158"/>
                      </a:lnTo>
                      <a:lnTo>
                        <a:pt x="130045" y="434193"/>
                      </a:lnTo>
                      <a:lnTo>
                        <a:pt x="132205" y="433761"/>
                      </a:lnTo>
                      <a:lnTo>
                        <a:pt x="137282" y="434275"/>
                      </a:lnTo>
                      <a:lnTo>
                        <a:pt x="139906" y="434845"/>
                      </a:lnTo>
                      <a:lnTo>
                        <a:pt x="143264" y="438488"/>
                      </a:lnTo>
                      <a:lnTo>
                        <a:pt x="140795" y="439792"/>
                      </a:lnTo>
                      <a:lnTo>
                        <a:pt x="136516" y="440786"/>
                      </a:lnTo>
                      <a:lnTo>
                        <a:pt x="138122" y="445945"/>
                      </a:lnTo>
                      <a:lnTo>
                        <a:pt x="139442" y="449425"/>
                      </a:lnTo>
                      <a:lnTo>
                        <a:pt x="137714" y="451528"/>
                      </a:lnTo>
                      <a:lnTo>
                        <a:pt x="137592" y="461047"/>
                      </a:lnTo>
                      <a:lnTo>
                        <a:pt x="135147" y="461226"/>
                      </a:lnTo>
                      <a:lnTo>
                        <a:pt x="134136" y="465162"/>
                      </a:lnTo>
                      <a:lnTo>
                        <a:pt x="134894" y="467159"/>
                      </a:lnTo>
                      <a:lnTo>
                        <a:pt x="134829" y="471821"/>
                      </a:lnTo>
                      <a:lnTo>
                        <a:pt x="135343" y="474673"/>
                      </a:lnTo>
                      <a:lnTo>
                        <a:pt x="136524" y="477313"/>
                      </a:lnTo>
                      <a:lnTo>
                        <a:pt x="135995" y="480060"/>
                      </a:lnTo>
                      <a:lnTo>
                        <a:pt x="132156" y="486482"/>
                      </a:lnTo>
                      <a:lnTo>
                        <a:pt x="132246" y="489489"/>
                      </a:lnTo>
                      <a:lnTo>
                        <a:pt x="132939" y="491274"/>
                      </a:lnTo>
                      <a:lnTo>
                        <a:pt x="133452" y="494126"/>
                      </a:lnTo>
                      <a:lnTo>
                        <a:pt x="131708" y="499603"/>
                      </a:lnTo>
                      <a:lnTo>
                        <a:pt x="130461" y="504183"/>
                      </a:lnTo>
                      <a:lnTo>
                        <a:pt x="129010" y="508022"/>
                      </a:lnTo>
                      <a:lnTo>
                        <a:pt x="125718" y="512643"/>
                      </a:lnTo>
                      <a:lnTo>
                        <a:pt x="124088" y="516074"/>
                      </a:lnTo>
                      <a:lnTo>
                        <a:pt x="120266" y="526790"/>
                      </a:lnTo>
                      <a:lnTo>
                        <a:pt x="118375" y="528926"/>
                      </a:lnTo>
                      <a:lnTo>
                        <a:pt x="116060" y="530556"/>
                      </a:lnTo>
                      <a:lnTo>
                        <a:pt x="113461" y="529040"/>
                      </a:lnTo>
                      <a:lnTo>
                        <a:pt x="111097" y="528225"/>
                      </a:lnTo>
                      <a:lnTo>
                        <a:pt x="108188" y="528315"/>
                      </a:lnTo>
                      <a:lnTo>
                        <a:pt x="103648" y="529553"/>
                      </a:lnTo>
                      <a:lnTo>
                        <a:pt x="96819" y="528738"/>
                      </a:lnTo>
                      <a:lnTo>
                        <a:pt x="90152" y="529129"/>
                      </a:lnTo>
                      <a:lnTo>
                        <a:pt x="88457" y="530197"/>
                      </a:lnTo>
                      <a:lnTo>
                        <a:pt x="89467" y="534076"/>
                      </a:lnTo>
                      <a:lnTo>
                        <a:pt x="87015" y="534582"/>
                      </a:lnTo>
                      <a:lnTo>
                        <a:pt x="84602" y="533482"/>
                      </a:lnTo>
                      <a:lnTo>
                        <a:pt x="82492" y="534802"/>
                      </a:lnTo>
                      <a:lnTo>
                        <a:pt x="80723" y="536244"/>
                      </a:lnTo>
                      <a:lnTo>
                        <a:pt x="77251" y="539667"/>
                      </a:lnTo>
                      <a:lnTo>
                        <a:pt x="76086" y="541778"/>
                      </a:lnTo>
                      <a:lnTo>
                        <a:pt x="75776" y="545747"/>
                      </a:lnTo>
                      <a:lnTo>
                        <a:pt x="77602" y="549292"/>
                      </a:lnTo>
                      <a:lnTo>
                        <a:pt x="79224" y="553448"/>
                      </a:lnTo>
                      <a:lnTo>
                        <a:pt x="75059" y="558469"/>
                      </a:lnTo>
                      <a:lnTo>
                        <a:pt x="72736" y="558632"/>
                      </a:lnTo>
                      <a:lnTo>
                        <a:pt x="65947" y="557238"/>
                      </a:lnTo>
                      <a:lnTo>
                        <a:pt x="53918" y="560376"/>
                      </a:lnTo>
                      <a:lnTo>
                        <a:pt x="43120" y="557898"/>
                      </a:lnTo>
                      <a:lnTo>
                        <a:pt x="44481" y="555217"/>
                      </a:lnTo>
                      <a:lnTo>
                        <a:pt x="44433" y="553236"/>
                      </a:lnTo>
                      <a:lnTo>
                        <a:pt x="45035" y="550205"/>
                      </a:lnTo>
                      <a:lnTo>
                        <a:pt x="45402" y="547100"/>
                      </a:lnTo>
                      <a:lnTo>
                        <a:pt x="45305" y="545013"/>
                      </a:lnTo>
                      <a:lnTo>
                        <a:pt x="44498" y="542797"/>
                      </a:lnTo>
                      <a:lnTo>
                        <a:pt x="41849" y="539895"/>
                      </a:lnTo>
                      <a:lnTo>
                        <a:pt x="35843" y="530067"/>
                      </a:lnTo>
                      <a:lnTo>
                        <a:pt x="34066" y="525910"/>
                      </a:lnTo>
                      <a:lnTo>
                        <a:pt x="32827" y="524183"/>
                      </a:lnTo>
                      <a:lnTo>
                        <a:pt x="33724" y="524085"/>
                      </a:lnTo>
                      <a:lnTo>
                        <a:pt x="38670" y="526318"/>
                      </a:lnTo>
                      <a:lnTo>
                        <a:pt x="39812" y="526049"/>
                      </a:lnTo>
                      <a:lnTo>
                        <a:pt x="41034" y="525209"/>
                      </a:lnTo>
                      <a:lnTo>
                        <a:pt x="39550" y="522007"/>
                      </a:lnTo>
                      <a:lnTo>
                        <a:pt x="38287" y="520564"/>
                      </a:lnTo>
                      <a:lnTo>
                        <a:pt x="37423" y="518396"/>
                      </a:lnTo>
                      <a:lnTo>
                        <a:pt x="40325" y="517818"/>
                      </a:lnTo>
                      <a:lnTo>
                        <a:pt x="42411" y="517940"/>
                      </a:lnTo>
                      <a:lnTo>
                        <a:pt x="43952" y="515503"/>
                      </a:lnTo>
                      <a:lnTo>
                        <a:pt x="43063" y="511567"/>
                      </a:lnTo>
                      <a:lnTo>
                        <a:pt x="40822" y="510344"/>
                      </a:lnTo>
                      <a:lnTo>
                        <a:pt x="38948" y="509815"/>
                      </a:lnTo>
                      <a:lnTo>
                        <a:pt x="35345" y="503621"/>
                      </a:lnTo>
                      <a:lnTo>
                        <a:pt x="31597" y="500402"/>
                      </a:lnTo>
                      <a:lnTo>
                        <a:pt x="24905" y="487965"/>
                      </a:lnTo>
                      <a:lnTo>
                        <a:pt x="22461" y="479408"/>
                      </a:lnTo>
                      <a:lnTo>
                        <a:pt x="20195" y="480223"/>
                      </a:lnTo>
                      <a:lnTo>
                        <a:pt x="19087" y="476490"/>
                      </a:lnTo>
                      <a:lnTo>
                        <a:pt x="18304" y="472945"/>
                      </a:lnTo>
                      <a:lnTo>
                        <a:pt x="18133" y="470345"/>
                      </a:lnTo>
                      <a:lnTo>
                        <a:pt x="14580" y="468854"/>
                      </a:lnTo>
                      <a:lnTo>
                        <a:pt x="14425" y="467029"/>
                      </a:lnTo>
                      <a:lnTo>
                        <a:pt x="13781" y="458863"/>
                      </a:lnTo>
                      <a:lnTo>
                        <a:pt x="9959" y="457770"/>
                      </a:lnTo>
                      <a:lnTo>
                        <a:pt x="7473" y="453182"/>
                      </a:lnTo>
                      <a:lnTo>
                        <a:pt x="7041" y="444486"/>
                      </a:lnTo>
                      <a:lnTo>
                        <a:pt x="4523" y="442905"/>
                      </a:lnTo>
                      <a:lnTo>
                        <a:pt x="2494" y="443345"/>
                      </a:lnTo>
                      <a:lnTo>
                        <a:pt x="2592" y="441186"/>
                      </a:lnTo>
                      <a:lnTo>
                        <a:pt x="3073" y="439165"/>
                      </a:lnTo>
                      <a:lnTo>
                        <a:pt x="1899" y="431121"/>
                      </a:lnTo>
                      <a:lnTo>
                        <a:pt x="1500" y="423770"/>
                      </a:lnTo>
                      <a:lnTo>
                        <a:pt x="538" y="421545"/>
                      </a:lnTo>
                      <a:lnTo>
                        <a:pt x="0" y="418937"/>
                      </a:lnTo>
                      <a:lnTo>
                        <a:pt x="481" y="416696"/>
                      </a:lnTo>
                      <a:lnTo>
                        <a:pt x="1198" y="415392"/>
                      </a:lnTo>
                      <a:lnTo>
                        <a:pt x="3659" y="415050"/>
                      </a:lnTo>
                      <a:lnTo>
                        <a:pt x="5966" y="417046"/>
                      </a:lnTo>
                      <a:lnTo>
                        <a:pt x="8019" y="422058"/>
                      </a:lnTo>
                      <a:lnTo>
                        <a:pt x="9821" y="422718"/>
                      </a:lnTo>
                      <a:lnTo>
                        <a:pt x="12282" y="421415"/>
                      </a:lnTo>
                      <a:lnTo>
                        <a:pt x="14009" y="417755"/>
                      </a:lnTo>
                      <a:lnTo>
                        <a:pt x="14987" y="412262"/>
                      </a:lnTo>
                      <a:lnTo>
                        <a:pt x="16145" y="407022"/>
                      </a:lnTo>
                      <a:lnTo>
                        <a:pt x="14775" y="401407"/>
                      </a:lnTo>
                      <a:lnTo>
                        <a:pt x="13325" y="396468"/>
                      </a:lnTo>
                      <a:lnTo>
                        <a:pt x="13227" y="395009"/>
                      </a:lnTo>
                      <a:lnTo>
                        <a:pt x="17033" y="390837"/>
                      </a:lnTo>
                      <a:lnTo>
                        <a:pt x="18207" y="387446"/>
                      </a:lnTo>
                      <a:lnTo>
                        <a:pt x="19462" y="384203"/>
                      </a:lnTo>
                      <a:lnTo>
                        <a:pt x="20863" y="383111"/>
                      </a:lnTo>
                      <a:lnTo>
                        <a:pt x="22934" y="382858"/>
                      </a:lnTo>
                      <a:lnTo>
                        <a:pt x="25338" y="382255"/>
                      </a:lnTo>
                      <a:lnTo>
                        <a:pt x="28385" y="380079"/>
                      </a:lnTo>
                      <a:lnTo>
                        <a:pt x="31116" y="377170"/>
                      </a:lnTo>
                      <a:lnTo>
                        <a:pt x="33210" y="374505"/>
                      </a:lnTo>
                      <a:lnTo>
                        <a:pt x="33911" y="369224"/>
                      </a:lnTo>
                      <a:lnTo>
                        <a:pt x="33936" y="366567"/>
                      </a:lnTo>
                      <a:lnTo>
                        <a:pt x="34856" y="364595"/>
                      </a:lnTo>
                      <a:lnTo>
                        <a:pt x="35745" y="360740"/>
                      </a:lnTo>
                      <a:lnTo>
                        <a:pt x="34889" y="356926"/>
                      </a:lnTo>
                      <a:lnTo>
                        <a:pt x="32192" y="351139"/>
                      </a:lnTo>
                      <a:lnTo>
                        <a:pt x="28956" y="342998"/>
                      </a:lnTo>
                      <a:lnTo>
                        <a:pt x="28442" y="338540"/>
                      </a:lnTo>
                      <a:lnTo>
                        <a:pt x="29918" y="337717"/>
                      </a:lnTo>
                      <a:lnTo>
                        <a:pt x="32746" y="336975"/>
                      </a:lnTo>
                      <a:lnTo>
                        <a:pt x="38083" y="336763"/>
                      </a:lnTo>
                      <a:lnTo>
                        <a:pt x="38662" y="336233"/>
                      </a:lnTo>
                      <a:lnTo>
                        <a:pt x="39192" y="334286"/>
                      </a:lnTo>
                      <a:lnTo>
                        <a:pt x="40406" y="331629"/>
                      </a:lnTo>
                      <a:lnTo>
                        <a:pt x="41694" y="329697"/>
                      </a:lnTo>
                      <a:lnTo>
                        <a:pt x="42558" y="326918"/>
                      </a:lnTo>
                      <a:lnTo>
                        <a:pt x="42990" y="324416"/>
                      </a:lnTo>
                      <a:lnTo>
                        <a:pt x="39934" y="320635"/>
                      </a:lnTo>
                      <a:lnTo>
                        <a:pt x="35932" y="316756"/>
                      </a:lnTo>
                      <a:lnTo>
                        <a:pt x="33218" y="315476"/>
                      </a:lnTo>
                      <a:lnTo>
                        <a:pt x="28385" y="312208"/>
                      </a:lnTo>
                      <a:lnTo>
                        <a:pt x="25003" y="309478"/>
                      </a:lnTo>
                      <a:lnTo>
                        <a:pt x="26943" y="299054"/>
                      </a:lnTo>
                      <a:lnTo>
                        <a:pt x="28385" y="291288"/>
                      </a:lnTo>
                      <a:lnTo>
                        <a:pt x="28622" y="289389"/>
                      </a:lnTo>
                      <a:lnTo>
                        <a:pt x="28671" y="286455"/>
                      </a:lnTo>
                      <a:lnTo>
                        <a:pt x="23993" y="273921"/>
                      </a:lnTo>
                      <a:lnTo>
                        <a:pt x="24172" y="271125"/>
                      </a:lnTo>
                      <a:lnTo>
                        <a:pt x="24612" y="268607"/>
                      </a:lnTo>
                      <a:lnTo>
                        <a:pt x="24115" y="264312"/>
                      </a:lnTo>
                      <a:lnTo>
                        <a:pt x="23838" y="260465"/>
                      </a:lnTo>
                      <a:lnTo>
                        <a:pt x="24645" y="259300"/>
                      </a:lnTo>
                      <a:lnTo>
                        <a:pt x="26552" y="257124"/>
                      </a:lnTo>
                      <a:lnTo>
                        <a:pt x="24734" y="253750"/>
                      </a:lnTo>
                      <a:lnTo>
                        <a:pt x="24580" y="253473"/>
                      </a:lnTo>
                      <a:lnTo>
                        <a:pt x="21140" y="245119"/>
                      </a:lnTo>
                      <a:lnTo>
                        <a:pt x="26405" y="236815"/>
                      </a:lnTo>
                      <a:lnTo>
                        <a:pt x="25492" y="232528"/>
                      </a:lnTo>
                      <a:lnTo>
                        <a:pt x="28630" y="229407"/>
                      </a:lnTo>
                      <a:lnTo>
                        <a:pt x="34351" y="222251"/>
                      </a:lnTo>
                      <a:lnTo>
                        <a:pt x="37579" y="218225"/>
                      </a:lnTo>
                      <a:lnTo>
                        <a:pt x="38263" y="217516"/>
                      </a:lnTo>
                      <a:lnTo>
                        <a:pt x="40806" y="215740"/>
                      </a:lnTo>
                      <a:lnTo>
                        <a:pt x="45638" y="213645"/>
                      </a:lnTo>
                      <a:lnTo>
                        <a:pt x="50993" y="212618"/>
                      </a:lnTo>
                      <a:lnTo>
                        <a:pt x="53381" y="212626"/>
                      </a:lnTo>
                      <a:lnTo>
                        <a:pt x="62573" y="214053"/>
                      </a:lnTo>
                      <a:lnTo>
                        <a:pt x="69778" y="215161"/>
                      </a:lnTo>
                      <a:lnTo>
                        <a:pt x="70813" y="214053"/>
                      </a:lnTo>
                      <a:lnTo>
                        <a:pt x="72321" y="211771"/>
                      </a:lnTo>
                      <a:lnTo>
                        <a:pt x="74260" y="208519"/>
                      </a:lnTo>
                      <a:lnTo>
                        <a:pt x="74424" y="204892"/>
                      </a:lnTo>
                      <a:lnTo>
                        <a:pt x="73723" y="199571"/>
                      </a:lnTo>
                      <a:lnTo>
                        <a:pt x="72671" y="196384"/>
                      </a:lnTo>
                      <a:lnTo>
                        <a:pt x="67610" y="194306"/>
                      </a:lnTo>
                      <a:lnTo>
                        <a:pt x="62077" y="191453"/>
                      </a:lnTo>
                      <a:lnTo>
                        <a:pt x="68890" y="182424"/>
                      </a:lnTo>
                      <a:lnTo>
                        <a:pt x="73617" y="176156"/>
                      </a:lnTo>
                      <a:lnTo>
                        <a:pt x="79484" y="166687"/>
                      </a:lnTo>
                      <a:lnTo>
                        <a:pt x="81318" y="162742"/>
                      </a:lnTo>
                      <a:lnTo>
                        <a:pt x="82646" y="161177"/>
                      </a:lnTo>
                      <a:lnTo>
                        <a:pt x="84374" y="146581"/>
                      </a:lnTo>
                      <a:lnTo>
                        <a:pt x="85531" y="142490"/>
                      </a:lnTo>
                      <a:lnTo>
                        <a:pt x="86493" y="140347"/>
                      </a:lnTo>
                      <a:lnTo>
                        <a:pt x="86509" y="138146"/>
                      </a:lnTo>
                      <a:lnTo>
                        <a:pt x="85882" y="134446"/>
                      </a:lnTo>
                      <a:lnTo>
                        <a:pt x="84219" y="126052"/>
                      </a:lnTo>
                      <a:lnTo>
                        <a:pt x="93518" y="125017"/>
                      </a:lnTo>
                      <a:lnTo>
                        <a:pt x="96542" y="124422"/>
                      </a:lnTo>
                      <a:lnTo>
                        <a:pt x="99362" y="123420"/>
                      </a:lnTo>
                      <a:lnTo>
                        <a:pt x="104854" y="120812"/>
                      </a:lnTo>
                      <a:lnTo>
                        <a:pt x="107552" y="118513"/>
                      </a:lnTo>
                      <a:lnTo>
                        <a:pt x="106036" y="110649"/>
                      </a:lnTo>
                      <a:lnTo>
                        <a:pt x="109361" y="107984"/>
                      </a:lnTo>
                      <a:lnTo>
                        <a:pt x="117478" y="98693"/>
                      </a:lnTo>
                      <a:lnTo>
                        <a:pt x="126247" y="89761"/>
                      </a:lnTo>
                      <a:lnTo>
                        <a:pt x="130363" y="86387"/>
                      </a:lnTo>
                      <a:lnTo>
                        <a:pt x="130787" y="84725"/>
                      </a:lnTo>
                      <a:lnTo>
                        <a:pt x="131121" y="82076"/>
                      </a:lnTo>
                      <a:lnTo>
                        <a:pt x="129303" y="77887"/>
                      </a:lnTo>
                      <a:lnTo>
                        <a:pt x="127340" y="75287"/>
                      </a:lnTo>
                      <a:lnTo>
                        <a:pt x="123517" y="70373"/>
                      </a:lnTo>
                      <a:lnTo>
                        <a:pt x="125155" y="66942"/>
                      </a:lnTo>
                      <a:lnTo>
                        <a:pt x="127975" y="66274"/>
                      </a:lnTo>
                      <a:lnTo>
                        <a:pt x="131692" y="64921"/>
                      </a:lnTo>
                      <a:lnTo>
                        <a:pt x="134593" y="61979"/>
                      </a:lnTo>
                      <a:lnTo>
                        <a:pt x="134878" y="61604"/>
                      </a:lnTo>
                      <a:lnTo>
                        <a:pt x="139792" y="50015"/>
                      </a:lnTo>
                      <a:lnTo>
                        <a:pt x="149393" y="44131"/>
                      </a:lnTo>
                      <a:lnTo>
                        <a:pt x="153207" y="40920"/>
                      </a:lnTo>
                      <a:lnTo>
                        <a:pt x="159164" y="43332"/>
                      </a:lnTo>
                      <a:lnTo>
                        <a:pt x="167893" y="46975"/>
                      </a:lnTo>
                      <a:lnTo>
                        <a:pt x="171772" y="41621"/>
                      </a:lnTo>
                      <a:lnTo>
                        <a:pt x="173052" y="39632"/>
                      </a:lnTo>
                      <a:lnTo>
                        <a:pt x="174339" y="36698"/>
                      </a:lnTo>
                      <a:lnTo>
                        <a:pt x="173834" y="31613"/>
                      </a:lnTo>
                      <a:lnTo>
                        <a:pt x="173606" y="25012"/>
                      </a:lnTo>
                      <a:lnTo>
                        <a:pt x="173997" y="22355"/>
                      </a:lnTo>
                      <a:lnTo>
                        <a:pt x="177477" y="21165"/>
                      </a:lnTo>
                      <a:lnTo>
                        <a:pt x="179343" y="20863"/>
                      </a:lnTo>
                      <a:lnTo>
                        <a:pt x="189050" y="23602"/>
                      </a:lnTo>
                      <a:lnTo>
                        <a:pt x="191502" y="23553"/>
                      </a:lnTo>
                      <a:lnTo>
                        <a:pt x="196066" y="23919"/>
                      </a:lnTo>
                      <a:lnTo>
                        <a:pt x="201184" y="25117"/>
                      </a:lnTo>
                      <a:lnTo>
                        <a:pt x="211901" y="28312"/>
                      </a:lnTo>
                      <a:lnTo>
                        <a:pt x="216343" y="29632"/>
                      </a:lnTo>
                      <a:lnTo>
                        <a:pt x="218812" y="29893"/>
                      </a:lnTo>
                      <a:lnTo>
                        <a:pt x="220956" y="28402"/>
                      </a:lnTo>
                      <a:lnTo>
                        <a:pt x="225511" y="24580"/>
                      </a:lnTo>
                      <a:lnTo>
                        <a:pt x="218788" y="21760"/>
                      </a:lnTo>
                      <a:lnTo>
                        <a:pt x="223221" y="18891"/>
                      </a:lnTo>
                      <a:lnTo>
                        <a:pt x="225511" y="16006"/>
                      </a:lnTo>
                      <a:lnTo>
                        <a:pt x="227492" y="12453"/>
                      </a:lnTo>
                      <a:lnTo>
                        <a:pt x="228193" y="8288"/>
                      </a:lnTo>
                      <a:lnTo>
                        <a:pt x="227923" y="6039"/>
                      </a:lnTo>
                      <a:lnTo>
                        <a:pt x="226562" y="4523"/>
                      </a:lnTo>
                      <a:lnTo>
                        <a:pt x="222455" y="709"/>
                      </a:lnTo>
                      <a:lnTo>
                        <a:pt x="231762" y="155"/>
                      </a:lnTo>
                      <a:lnTo>
                        <a:pt x="234989" y="0"/>
                      </a:lnTo>
                      <a:lnTo>
                        <a:pt x="241762" y="2510"/>
                      </a:lnTo>
                      <a:lnTo>
                        <a:pt x="242064" y="3056"/>
                      </a:lnTo>
                      <a:lnTo>
                        <a:pt x="242112" y="4368"/>
                      </a:lnTo>
                      <a:lnTo>
                        <a:pt x="242349" y="5729"/>
                      </a:lnTo>
                      <a:lnTo>
                        <a:pt x="248909" y="9160"/>
                      </a:lnTo>
                      <a:lnTo>
                        <a:pt x="250808" y="10978"/>
                      </a:lnTo>
                      <a:lnTo>
                        <a:pt x="254842" y="13749"/>
                      </a:lnTo>
                      <a:lnTo>
                        <a:pt x="255910" y="15232"/>
                      </a:lnTo>
                      <a:lnTo>
                        <a:pt x="259642" y="16984"/>
                      </a:lnTo>
                      <a:lnTo>
                        <a:pt x="262324" y="18842"/>
                      </a:lnTo>
                      <a:lnTo>
                        <a:pt x="265453" y="20350"/>
                      </a:lnTo>
                      <a:lnTo>
                        <a:pt x="269104" y="22697"/>
                      </a:lnTo>
                      <a:lnTo>
                        <a:pt x="274010" y="24563"/>
                      </a:lnTo>
                      <a:lnTo>
                        <a:pt x="278150" y="25174"/>
                      </a:lnTo>
                      <a:lnTo>
                        <a:pt x="288574" y="28377"/>
                      </a:lnTo>
                      <a:close/>
                    </a:path>
                  </a:pathLst>
                </a:custGeom>
                <a:solidFill>
                  <a:srgbClr val="D6D6D2"/>
                </a:solidFill>
                <a:ln w="6112" cap="rnd">
                  <a:solidFill>
                    <a:srgbClr val="FFFFFF"/>
                  </a:solidFill>
                  <a:prstDash val="solid"/>
                  <a:round/>
                </a:ln>
              </p:spPr>
              <p:txBody>
                <a:bodyPr rtlCol="0" anchor="ctr"/>
                <a:lstStyle/>
                <a:p>
                  <a:endParaRPr lang="en-US"/>
                </a:p>
              </p:txBody>
            </p:sp>
            <p:sp>
              <p:nvSpPr>
                <p:cNvPr id="572" name="Freeform: Shape 571">
                  <a:extLst>
                    <a:ext uri="{FF2B5EF4-FFF2-40B4-BE49-F238E27FC236}">
                      <a16:creationId xmlns:a16="http://schemas.microsoft.com/office/drawing/2014/main" id="{39E23DDB-2D52-4498-90D4-25CF6422B8C1}"/>
                    </a:ext>
                  </a:extLst>
                </p:cNvPr>
                <p:cNvSpPr/>
                <p:nvPr/>
              </p:nvSpPr>
              <p:spPr>
                <a:xfrm>
                  <a:off x="6275448" y="3037635"/>
                  <a:ext cx="77821" cy="50748"/>
                </a:xfrm>
                <a:custGeom>
                  <a:avLst/>
                  <a:gdLst>
                    <a:gd name="connsiteX0" fmla="*/ 77822 w 77821"/>
                    <a:gd name="connsiteY0" fmla="*/ 12901 h 50748"/>
                    <a:gd name="connsiteX1" fmla="*/ 75621 w 77821"/>
                    <a:gd name="connsiteY1" fmla="*/ 12037 h 50748"/>
                    <a:gd name="connsiteX2" fmla="*/ 72989 w 77821"/>
                    <a:gd name="connsiteY2" fmla="*/ 11670 h 50748"/>
                    <a:gd name="connsiteX3" fmla="*/ 72492 w 77821"/>
                    <a:gd name="connsiteY3" fmla="*/ 12143 h 50748"/>
                    <a:gd name="connsiteX4" fmla="*/ 71425 w 77821"/>
                    <a:gd name="connsiteY4" fmla="*/ 12616 h 50748"/>
                    <a:gd name="connsiteX5" fmla="*/ 70886 w 77821"/>
                    <a:gd name="connsiteY5" fmla="*/ 13472 h 50748"/>
                    <a:gd name="connsiteX6" fmla="*/ 71302 w 77821"/>
                    <a:gd name="connsiteY6" fmla="*/ 16829 h 50748"/>
                    <a:gd name="connsiteX7" fmla="*/ 70659 w 77821"/>
                    <a:gd name="connsiteY7" fmla="*/ 17408 h 50748"/>
                    <a:gd name="connsiteX8" fmla="*/ 67659 w 77821"/>
                    <a:gd name="connsiteY8" fmla="*/ 17074 h 50748"/>
                    <a:gd name="connsiteX9" fmla="*/ 66665 w 77821"/>
                    <a:gd name="connsiteY9" fmla="*/ 17457 h 50748"/>
                    <a:gd name="connsiteX10" fmla="*/ 65035 w 77821"/>
                    <a:gd name="connsiteY10" fmla="*/ 19804 h 50748"/>
                    <a:gd name="connsiteX11" fmla="*/ 63364 w 77821"/>
                    <a:gd name="connsiteY11" fmla="*/ 20782 h 50748"/>
                    <a:gd name="connsiteX12" fmla="*/ 61237 w 77821"/>
                    <a:gd name="connsiteY12" fmla="*/ 21483 h 50748"/>
                    <a:gd name="connsiteX13" fmla="*/ 59665 w 77821"/>
                    <a:gd name="connsiteY13" fmla="*/ 22330 h 50748"/>
                    <a:gd name="connsiteX14" fmla="*/ 57676 w 77821"/>
                    <a:gd name="connsiteY14" fmla="*/ 23056 h 50748"/>
                    <a:gd name="connsiteX15" fmla="*/ 55989 w 77821"/>
                    <a:gd name="connsiteY15" fmla="*/ 23504 h 50748"/>
                    <a:gd name="connsiteX16" fmla="*/ 55321 w 77821"/>
                    <a:gd name="connsiteY16" fmla="*/ 24523 h 50748"/>
                    <a:gd name="connsiteX17" fmla="*/ 54913 w 77821"/>
                    <a:gd name="connsiteY17" fmla="*/ 25655 h 50748"/>
                    <a:gd name="connsiteX18" fmla="*/ 55019 w 77821"/>
                    <a:gd name="connsiteY18" fmla="*/ 26739 h 50748"/>
                    <a:gd name="connsiteX19" fmla="*/ 56739 w 77821"/>
                    <a:gd name="connsiteY19" fmla="*/ 28883 h 50748"/>
                    <a:gd name="connsiteX20" fmla="*/ 56975 w 77821"/>
                    <a:gd name="connsiteY20" fmla="*/ 31181 h 50748"/>
                    <a:gd name="connsiteX21" fmla="*/ 56787 w 77821"/>
                    <a:gd name="connsiteY21" fmla="*/ 33976 h 50748"/>
                    <a:gd name="connsiteX22" fmla="*/ 56388 w 77821"/>
                    <a:gd name="connsiteY22" fmla="*/ 35468 h 50748"/>
                    <a:gd name="connsiteX23" fmla="*/ 55712 w 77821"/>
                    <a:gd name="connsiteY23" fmla="*/ 36462 h 50748"/>
                    <a:gd name="connsiteX24" fmla="*/ 51482 w 77821"/>
                    <a:gd name="connsiteY24" fmla="*/ 37750 h 50748"/>
                    <a:gd name="connsiteX25" fmla="*/ 47081 w 77821"/>
                    <a:gd name="connsiteY25" fmla="*/ 40040 h 50748"/>
                    <a:gd name="connsiteX26" fmla="*/ 46983 w 77821"/>
                    <a:gd name="connsiteY26" fmla="*/ 40569 h 50748"/>
                    <a:gd name="connsiteX27" fmla="*/ 48988 w 77821"/>
                    <a:gd name="connsiteY27" fmla="*/ 42607 h 50748"/>
                    <a:gd name="connsiteX28" fmla="*/ 49062 w 77821"/>
                    <a:gd name="connsiteY28" fmla="*/ 43104 h 50748"/>
                    <a:gd name="connsiteX29" fmla="*/ 47407 w 77821"/>
                    <a:gd name="connsiteY29" fmla="*/ 44269 h 50748"/>
                    <a:gd name="connsiteX30" fmla="*/ 47236 w 77821"/>
                    <a:gd name="connsiteY30" fmla="*/ 45427 h 50748"/>
                    <a:gd name="connsiteX31" fmla="*/ 47440 w 77821"/>
                    <a:gd name="connsiteY31" fmla="*/ 46771 h 50748"/>
                    <a:gd name="connsiteX32" fmla="*/ 48312 w 77821"/>
                    <a:gd name="connsiteY32" fmla="*/ 48149 h 50748"/>
                    <a:gd name="connsiteX33" fmla="*/ 48630 w 77821"/>
                    <a:gd name="connsiteY33" fmla="*/ 49396 h 50748"/>
                    <a:gd name="connsiteX34" fmla="*/ 46217 w 77821"/>
                    <a:gd name="connsiteY34" fmla="*/ 50300 h 50748"/>
                    <a:gd name="connsiteX35" fmla="*/ 42957 w 77821"/>
                    <a:gd name="connsiteY35" fmla="*/ 49966 h 50748"/>
                    <a:gd name="connsiteX36" fmla="*/ 39086 w 77821"/>
                    <a:gd name="connsiteY36" fmla="*/ 48238 h 50748"/>
                    <a:gd name="connsiteX37" fmla="*/ 37733 w 77821"/>
                    <a:gd name="connsiteY37" fmla="*/ 48491 h 50748"/>
                    <a:gd name="connsiteX38" fmla="*/ 36421 w 77821"/>
                    <a:gd name="connsiteY38" fmla="*/ 49387 h 50748"/>
                    <a:gd name="connsiteX39" fmla="*/ 35085 w 77821"/>
                    <a:gd name="connsiteY39" fmla="*/ 49004 h 50748"/>
                    <a:gd name="connsiteX40" fmla="*/ 33618 w 77821"/>
                    <a:gd name="connsiteY40" fmla="*/ 47937 h 50748"/>
                    <a:gd name="connsiteX41" fmla="*/ 31515 w 77821"/>
                    <a:gd name="connsiteY41" fmla="*/ 45720 h 50748"/>
                    <a:gd name="connsiteX42" fmla="*/ 30513 w 77821"/>
                    <a:gd name="connsiteY42" fmla="*/ 44359 h 50748"/>
                    <a:gd name="connsiteX43" fmla="*/ 30089 w 77821"/>
                    <a:gd name="connsiteY43" fmla="*/ 42908 h 50748"/>
                    <a:gd name="connsiteX44" fmla="*/ 29527 w 77821"/>
                    <a:gd name="connsiteY44" fmla="*/ 42696 h 50748"/>
                    <a:gd name="connsiteX45" fmla="*/ 28654 w 77821"/>
                    <a:gd name="connsiteY45" fmla="*/ 43120 h 50748"/>
                    <a:gd name="connsiteX46" fmla="*/ 27938 w 77821"/>
                    <a:gd name="connsiteY46" fmla="*/ 44889 h 50748"/>
                    <a:gd name="connsiteX47" fmla="*/ 26014 w 77821"/>
                    <a:gd name="connsiteY47" fmla="*/ 48034 h 50748"/>
                    <a:gd name="connsiteX48" fmla="*/ 24588 w 77821"/>
                    <a:gd name="connsiteY48" fmla="*/ 48890 h 50748"/>
                    <a:gd name="connsiteX49" fmla="*/ 22428 w 77821"/>
                    <a:gd name="connsiteY49" fmla="*/ 48703 h 50748"/>
                    <a:gd name="connsiteX50" fmla="*/ 19413 w 77821"/>
                    <a:gd name="connsiteY50" fmla="*/ 48760 h 50748"/>
                    <a:gd name="connsiteX51" fmla="*/ 17539 w 77821"/>
                    <a:gd name="connsiteY51" fmla="*/ 49021 h 50748"/>
                    <a:gd name="connsiteX52" fmla="*/ 15240 w 77821"/>
                    <a:gd name="connsiteY52" fmla="*/ 47904 h 50748"/>
                    <a:gd name="connsiteX53" fmla="*/ 14678 w 77821"/>
                    <a:gd name="connsiteY53" fmla="*/ 48116 h 50748"/>
                    <a:gd name="connsiteX54" fmla="*/ 14669 w 77821"/>
                    <a:gd name="connsiteY54" fmla="*/ 48850 h 50748"/>
                    <a:gd name="connsiteX55" fmla="*/ 13822 w 77821"/>
                    <a:gd name="connsiteY55" fmla="*/ 49999 h 50748"/>
                    <a:gd name="connsiteX56" fmla="*/ 12404 w 77821"/>
                    <a:gd name="connsiteY56" fmla="*/ 50748 h 50748"/>
                    <a:gd name="connsiteX57" fmla="*/ 5868 w 77821"/>
                    <a:gd name="connsiteY57" fmla="*/ 49053 h 50748"/>
                    <a:gd name="connsiteX58" fmla="*/ 4939 w 77821"/>
                    <a:gd name="connsiteY58" fmla="*/ 47643 h 50748"/>
                    <a:gd name="connsiteX59" fmla="*/ 6414 w 77821"/>
                    <a:gd name="connsiteY59" fmla="*/ 46967 h 50748"/>
                    <a:gd name="connsiteX60" fmla="*/ 8468 w 77821"/>
                    <a:gd name="connsiteY60" fmla="*/ 45150 h 50748"/>
                    <a:gd name="connsiteX61" fmla="*/ 9853 w 77821"/>
                    <a:gd name="connsiteY61" fmla="*/ 45345 h 50748"/>
                    <a:gd name="connsiteX62" fmla="*/ 11565 w 77821"/>
                    <a:gd name="connsiteY62" fmla="*/ 44962 h 50748"/>
                    <a:gd name="connsiteX63" fmla="*/ 12306 w 77821"/>
                    <a:gd name="connsiteY63" fmla="*/ 44188 h 50748"/>
                    <a:gd name="connsiteX64" fmla="*/ 11222 w 77821"/>
                    <a:gd name="connsiteY64" fmla="*/ 41882 h 50748"/>
                    <a:gd name="connsiteX65" fmla="*/ 8517 w 77821"/>
                    <a:gd name="connsiteY65" fmla="*/ 39029 h 50748"/>
                    <a:gd name="connsiteX66" fmla="*/ 7066 w 77821"/>
                    <a:gd name="connsiteY66" fmla="*/ 37945 h 50748"/>
                    <a:gd name="connsiteX67" fmla="*/ 5086 w 77821"/>
                    <a:gd name="connsiteY67" fmla="*/ 37228 h 50748"/>
                    <a:gd name="connsiteX68" fmla="*/ 4735 w 77821"/>
                    <a:gd name="connsiteY68" fmla="*/ 36454 h 50748"/>
                    <a:gd name="connsiteX69" fmla="*/ 5835 w 77821"/>
                    <a:gd name="connsiteY69" fmla="*/ 31955 h 50748"/>
                    <a:gd name="connsiteX70" fmla="*/ 5509 w 77821"/>
                    <a:gd name="connsiteY70" fmla="*/ 31319 h 50748"/>
                    <a:gd name="connsiteX71" fmla="*/ 3236 w 77821"/>
                    <a:gd name="connsiteY71" fmla="*/ 31523 h 50748"/>
                    <a:gd name="connsiteX72" fmla="*/ 2714 w 77821"/>
                    <a:gd name="connsiteY72" fmla="*/ 31059 h 50748"/>
                    <a:gd name="connsiteX73" fmla="*/ 2526 w 77821"/>
                    <a:gd name="connsiteY73" fmla="*/ 30276 h 50748"/>
                    <a:gd name="connsiteX74" fmla="*/ 2682 w 77821"/>
                    <a:gd name="connsiteY74" fmla="*/ 29201 h 50748"/>
                    <a:gd name="connsiteX75" fmla="*/ 4205 w 77821"/>
                    <a:gd name="connsiteY75" fmla="*/ 27456 h 50748"/>
                    <a:gd name="connsiteX76" fmla="*/ 5900 w 77821"/>
                    <a:gd name="connsiteY76" fmla="*/ 25900 h 50748"/>
                    <a:gd name="connsiteX77" fmla="*/ 6365 w 77821"/>
                    <a:gd name="connsiteY77" fmla="*/ 25020 h 50748"/>
                    <a:gd name="connsiteX78" fmla="*/ 6300 w 77821"/>
                    <a:gd name="connsiteY78" fmla="*/ 24343 h 50748"/>
                    <a:gd name="connsiteX79" fmla="*/ 4116 w 77821"/>
                    <a:gd name="connsiteY79" fmla="*/ 23651 h 50748"/>
                    <a:gd name="connsiteX80" fmla="*/ 2803 w 77821"/>
                    <a:gd name="connsiteY80" fmla="*/ 22933 h 50748"/>
                    <a:gd name="connsiteX81" fmla="*/ 1760 w 77821"/>
                    <a:gd name="connsiteY81" fmla="*/ 22697 h 50748"/>
                    <a:gd name="connsiteX82" fmla="*/ 1052 w 77821"/>
                    <a:gd name="connsiteY82" fmla="*/ 23088 h 50748"/>
                    <a:gd name="connsiteX83" fmla="*/ 522 w 77821"/>
                    <a:gd name="connsiteY83" fmla="*/ 22648 h 50748"/>
                    <a:gd name="connsiteX84" fmla="*/ 0 w 77821"/>
                    <a:gd name="connsiteY84" fmla="*/ 21344 h 50748"/>
                    <a:gd name="connsiteX85" fmla="*/ 522 w 77821"/>
                    <a:gd name="connsiteY85" fmla="*/ 19364 h 50748"/>
                    <a:gd name="connsiteX86" fmla="*/ 2478 w 77821"/>
                    <a:gd name="connsiteY86" fmla="*/ 17538 h 50748"/>
                    <a:gd name="connsiteX87" fmla="*/ 4580 w 77821"/>
                    <a:gd name="connsiteY87" fmla="*/ 15908 h 50748"/>
                    <a:gd name="connsiteX88" fmla="*/ 6406 w 77821"/>
                    <a:gd name="connsiteY88" fmla="*/ 14727 h 50748"/>
                    <a:gd name="connsiteX89" fmla="*/ 7473 w 77821"/>
                    <a:gd name="connsiteY89" fmla="*/ 14213 h 50748"/>
                    <a:gd name="connsiteX90" fmla="*/ 7971 w 77821"/>
                    <a:gd name="connsiteY90" fmla="*/ 12184 h 50748"/>
                    <a:gd name="connsiteX91" fmla="*/ 9062 w 77821"/>
                    <a:gd name="connsiteY91" fmla="*/ 12388 h 50748"/>
                    <a:gd name="connsiteX92" fmla="*/ 11230 w 77821"/>
                    <a:gd name="connsiteY92" fmla="*/ 12502 h 50748"/>
                    <a:gd name="connsiteX93" fmla="*/ 13643 w 77821"/>
                    <a:gd name="connsiteY93" fmla="*/ 12966 h 50748"/>
                    <a:gd name="connsiteX94" fmla="*/ 15900 w 77821"/>
                    <a:gd name="connsiteY94" fmla="*/ 13529 h 50748"/>
                    <a:gd name="connsiteX95" fmla="*/ 17881 w 77821"/>
                    <a:gd name="connsiteY95" fmla="*/ 14254 h 50748"/>
                    <a:gd name="connsiteX96" fmla="*/ 22045 w 77821"/>
                    <a:gd name="connsiteY96" fmla="*/ 15004 h 50748"/>
                    <a:gd name="connsiteX97" fmla="*/ 25827 w 77821"/>
                    <a:gd name="connsiteY97" fmla="*/ 15460 h 50748"/>
                    <a:gd name="connsiteX98" fmla="*/ 26968 w 77821"/>
                    <a:gd name="connsiteY98" fmla="*/ 15876 h 50748"/>
                    <a:gd name="connsiteX99" fmla="*/ 27888 w 77821"/>
                    <a:gd name="connsiteY99" fmla="*/ 15843 h 50748"/>
                    <a:gd name="connsiteX100" fmla="*/ 29046 w 77821"/>
                    <a:gd name="connsiteY100" fmla="*/ 16454 h 50748"/>
                    <a:gd name="connsiteX101" fmla="*/ 29730 w 77821"/>
                    <a:gd name="connsiteY101" fmla="*/ 15982 h 50748"/>
                    <a:gd name="connsiteX102" fmla="*/ 30219 w 77821"/>
                    <a:gd name="connsiteY102" fmla="*/ 15167 h 50748"/>
                    <a:gd name="connsiteX103" fmla="*/ 32281 w 77821"/>
                    <a:gd name="connsiteY103" fmla="*/ 14197 h 50748"/>
                    <a:gd name="connsiteX104" fmla="*/ 34180 w 77821"/>
                    <a:gd name="connsiteY104" fmla="*/ 12934 h 50748"/>
                    <a:gd name="connsiteX105" fmla="*/ 35517 w 77821"/>
                    <a:gd name="connsiteY105" fmla="*/ 11320 h 50748"/>
                    <a:gd name="connsiteX106" fmla="*/ 36266 w 77821"/>
                    <a:gd name="connsiteY106" fmla="*/ 10049 h 50748"/>
                    <a:gd name="connsiteX107" fmla="*/ 37571 w 77821"/>
                    <a:gd name="connsiteY107" fmla="*/ 9136 h 50748"/>
                    <a:gd name="connsiteX108" fmla="*/ 38956 w 77821"/>
                    <a:gd name="connsiteY108" fmla="*/ 8883 h 50748"/>
                    <a:gd name="connsiteX109" fmla="*/ 40227 w 77821"/>
                    <a:gd name="connsiteY109" fmla="*/ 8435 h 50748"/>
                    <a:gd name="connsiteX110" fmla="*/ 45590 w 77821"/>
                    <a:gd name="connsiteY110" fmla="*/ 7832 h 50748"/>
                    <a:gd name="connsiteX111" fmla="*/ 51107 w 77821"/>
                    <a:gd name="connsiteY111" fmla="*/ 8296 h 50748"/>
                    <a:gd name="connsiteX112" fmla="*/ 53739 w 77821"/>
                    <a:gd name="connsiteY112" fmla="*/ 7416 h 50748"/>
                    <a:gd name="connsiteX113" fmla="*/ 55908 w 77821"/>
                    <a:gd name="connsiteY113" fmla="*/ 5860 h 50748"/>
                    <a:gd name="connsiteX114" fmla="*/ 59078 w 77821"/>
                    <a:gd name="connsiteY114" fmla="*/ 5420 h 50748"/>
                    <a:gd name="connsiteX115" fmla="*/ 59232 w 77821"/>
                    <a:gd name="connsiteY115" fmla="*/ 5403 h 50748"/>
                    <a:gd name="connsiteX116" fmla="*/ 63959 w 77821"/>
                    <a:gd name="connsiteY116" fmla="*/ 6593 h 50748"/>
                    <a:gd name="connsiteX117" fmla="*/ 64326 w 77821"/>
                    <a:gd name="connsiteY117" fmla="*/ 5900 h 50748"/>
                    <a:gd name="connsiteX118" fmla="*/ 64538 w 77821"/>
                    <a:gd name="connsiteY118" fmla="*/ 5591 h 50748"/>
                    <a:gd name="connsiteX119" fmla="*/ 64448 w 77821"/>
                    <a:gd name="connsiteY119" fmla="*/ 2200 h 50748"/>
                    <a:gd name="connsiteX120" fmla="*/ 65940 w 77821"/>
                    <a:gd name="connsiteY120" fmla="*/ 660 h 50748"/>
                    <a:gd name="connsiteX121" fmla="*/ 67325 w 77821"/>
                    <a:gd name="connsiteY121" fmla="*/ 0 h 50748"/>
                    <a:gd name="connsiteX122" fmla="*/ 72044 w 77821"/>
                    <a:gd name="connsiteY122" fmla="*/ 212 h 50748"/>
                    <a:gd name="connsiteX123" fmla="*/ 72680 w 77821"/>
                    <a:gd name="connsiteY123" fmla="*/ 1255 h 50748"/>
                    <a:gd name="connsiteX124" fmla="*/ 72916 w 77821"/>
                    <a:gd name="connsiteY124" fmla="*/ 2869 h 50748"/>
                    <a:gd name="connsiteX125" fmla="*/ 73348 w 77821"/>
                    <a:gd name="connsiteY125" fmla="*/ 5028 h 50748"/>
                    <a:gd name="connsiteX126" fmla="*/ 74122 w 77821"/>
                    <a:gd name="connsiteY126" fmla="*/ 5632 h 50748"/>
                    <a:gd name="connsiteX127" fmla="*/ 74554 w 77821"/>
                    <a:gd name="connsiteY127" fmla="*/ 6487 h 50748"/>
                    <a:gd name="connsiteX128" fmla="*/ 74472 w 77821"/>
                    <a:gd name="connsiteY128" fmla="*/ 7979 h 50748"/>
                    <a:gd name="connsiteX129" fmla="*/ 75393 w 77821"/>
                    <a:gd name="connsiteY129" fmla="*/ 9095 h 50748"/>
                    <a:gd name="connsiteX130" fmla="*/ 77553 w 77821"/>
                    <a:gd name="connsiteY130" fmla="*/ 12119 h 50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77821" h="50748">
                      <a:moveTo>
                        <a:pt x="77822" y="12901"/>
                      </a:moveTo>
                      <a:lnTo>
                        <a:pt x="75621" y="12037"/>
                      </a:lnTo>
                      <a:lnTo>
                        <a:pt x="72989" y="11670"/>
                      </a:lnTo>
                      <a:lnTo>
                        <a:pt x="72492" y="12143"/>
                      </a:lnTo>
                      <a:lnTo>
                        <a:pt x="71425" y="12616"/>
                      </a:lnTo>
                      <a:lnTo>
                        <a:pt x="70886" y="13472"/>
                      </a:lnTo>
                      <a:lnTo>
                        <a:pt x="71302" y="16829"/>
                      </a:lnTo>
                      <a:lnTo>
                        <a:pt x="70659" y="17408"/>
                      </a:lnTo>
                      <a:lnTo>
                        <a:pt x="67659" y="17074"/>
                      </a:lnTo>
                      <a:lnTo>
                        <a:pt x="66665" y="17457"/>
                      </a:lnTo>
                      <a:lnTo>
                        <a:pt x="65035" y="19804"/>
                      </a:lnTo>
                      <a:lnTo>
                        <a:pt x="63364" y="20782"/>
                      </a:lnTo>
                      <a:lnTo>
                        <a:pt x="61237" y="21483"/>
                      </a:lnTo>
                      <a:lnTo>
                        <a:pt x="59665" y="22330"/>
                      </a:lnTo>
                      <a:lnTo>
                        <a:pt x="57676" y="23056"/>
                      </a:lnTo>
                      <a:lnTo>
                        <a:pt x="55989" y="23504"/>
                      </a:lnTo>
                      <a:lnTo>
                        <a:pt x="55321" y="24523"/>
                      </a:lnTo>
                      <a:lnTo>
                        <a:pt x="54913" y="25655"/>
                      </a:lnTo>
                      <a:lnTo>
                        <a:pt x="55019" y="26739"/>
                      </a:lnTo>
                      <a:lnTo>
                        <a:pt x="56739" y="28883"/>
                      </a:lnTo>
                      <a:lnTo>
                        <a:pt x="56975" y="31181"/>
                      </a:lnTo>
                      <a:lnTo>
                        <a:pt x="56787" y="33976"/>
                      </a:lnTo>
                      <a:lnTo>
                        <a:pt x="56388" y="35468"/>
                      </a:lnTo>
                      <a:lnTo>
                        <a:pt x="55712" y="36462"/>
                      </a:lnTo>
                      <a:lnTo>
                        <a:pt x="51482" y="37750"/>
                      </a:lnTo>
                      <a:lnTo>
                        <a:pt x="47081" y="40040"/>
                      </a:lnTo>
                      <a:lnTo>
                        <a:pt x="46983" y="40569"/>
                      </a:lnTo>
                      <a:lnTo>
                        <a:pt x="48988" y="42607"/>
                      </a:lnTo>
                      <a:lnTo>
                        <a:pt x="49062" y="43104"/>
                      </a:lnTo>
                      <a:lnTo>
                        <a:pt x="47407" y="44269"/>
                      </a:lnTo>
                      <a:lnTo>
                        <a:pt x="47236" y="45427"/>
                      </a:lnTo>
                      <a:lnTo>
                        <a:pt x="47440" y="46771"/>
                      </a:lnTo>
                      <a:lnTo>
                        <a:pt x="48312" y="48149"/>
                      </a:lnTo>
                      <a:lnTo>
                        <a:pt x="48630" y="49396"/>
                      </a:lnTo>
                      <a:lnTo>
                        <a:pt x="46217" y="50300"/>
                      </a:lnTo>
                      <a:lnTo>
                        <a:pt x="42957" y="49966"/>
                      </a:lnTo>
                      <a:lnTo>
                        <a:pt x="39086" y="48238"/>
                      </a:lnTo>
                      <a:lnTo>
                        <a:pt x="37733" y="48491"/>
                      </a:lnTo>
                      <a:lnTo>
                        <a:pt x="36421" y="49387"/>
                      </a:lnTo>
                      <a:lnTo>
                        <a:pt x="35085" y="49004"/>
                      </a:lnTo>
                      <a:lnTo>
                        <a:pt x="33618" y="47937"/>
                      </a:lnTo>
                      <a:lnTo>
                        <a:pt x="31515" y="45720"/>
                      </a:lnTo>
                      <a:lnTo>
                        <a:pt x="30513" y="44359"/>
                      </a:lnTo>
                      <a:lnTo>
                        <a:pt x="30089" y="42908"/>
                      </a:lnTo>
                      <a:lnTo>
                        <a:pt x="29527" y="42696"/>
                      </a:lnTo>
                      <a:lnTo>
                        <a:pt x="28654" y="43120"/>
                      </a:lnTo>
                      <a:lnTo>
                        <a:pt x="27938" y="44889"/>
                      </a:lnTo>
                      <a:lnTo>
                        <a:pt x="26014" y="48034"/>
                      </a:lnTo>
                      <a:lnTo>
                        <a:pt x="24588" y="48890"/>
                      </a:lnTo>
                      <a:lnTo>
                        <a:pt x="22428" y="48703"/>
                      </a:lnTo>
                      <a:lnTo>
                        <a:pt x="19413" y="48760"/>
                      </a:lnTo>
                      <a:lnTo>
                        <a:pt x="17539" y="49021"/>
                      </a:lnTo>
                      <a:lnTo>
                        <a:pt x="15240" y="47904"/>
                      </a:lnTo>
                      <a:lnTo>
                        <a:pt x="14678" y="48116"/>
                      </a:lnTo>
                      <a:lnTo>
                        <a:pt x="14669" y="48850"/>
                      </a:lnTo>
                      <a:lnTo>
                        <a:pt x="13822" y="49999"/>
                      </a:lnTo>
                      <a:lnTo>
                        <a:pt x="12404" y="50748"/>
                      </a:lnTo>
                      <a:lnTo>
                        <a:pt x="5868" y="49053"/>
                      </a:lnTo>
                      <a:lnTo>
                        <a:pt x="4939" y="47643"/>
                      </a:lnTo>
                      <a:lnTo>
                        <a:pt x="6414" y="46967"/>
                      </a:lnTo>
                      <a:lnTo>
                        <a:pt x="8468" y="45150"/>
                      </a:lnTo>
                      <a:lnTo>
                        <a:pt x="9853" y="45345"/>
                      </a:lnTo>
                      <a:lnTo>
                        <a:pt x="11565" y="44962"/>
                      </a:lnTo>
                      <a:lnTo>
                        <a:pt x="12306" y="44188"/>
                      </a:lnTo>
                      <a:lnTo>
                        <a:pt x="11222" y="41882"/>
                      </a:lnTo>
                      <a:lnTo>
                        <a:pt x="8517" y="39029"/>
                      </a:lnTo>
                      <a:lnTo>
                        <a:pt x="7066" y="37945"/>
                      </a:lnTo>
                      <a:lnTo>
                        <a:pt x="5086" y="37228"/>
                      </a:lnTo>
                      <a:lnTo>
                        <a:pt x="4735" y="36454"/>
                      </a:lnTo>
                      <a:lnTo>
                        <a:pt x="5835" y="31955"/>
                      </a:lnTo>
                      <a:lnTo>
                        <a:pt x="5509" y="31319"/>
                      </a:lnTo>
                      <a:lnTo>
                        <a:pt x="3236" y="31523"/>
                      </a:lnTo>
                      <a:lnTo>
                        <a:pt x="2714" y="31059"/>
                      </a:lnTo>
                      <a:lnTo>
                        <a:pt x="2526" y="30276"/>
                      </a:lnTo>
                      <a:lnTo>
                        <a:pt x="2682" y="29201"/>
                      </a:lnTo>
                      <a:lnTo>
                        <a:pt x="4205" y="27456"/>
                      </a:lnTo>
                      <a:lnTo>
                        <a:pt x="5900" y="25900"/>
                      </a:lnTo>
                      <a:lnTo>
                        <a:pt x="6365" y="25020"/>
                      </a:lnTo>
                      <a:lnTo>
                        <a:pt x="6300" y="24343"/>
                      </a:lnTo>
                      <a:lnTo>
                        <a:pt x="4116" y="23651"/>
                      </a:lnTo>
                      <a:lnTo>
                        <a:pt x="2803" y="22933"/>
                      </a:lnTo>
                      <a:lnTo>
                        <a:pt x="1760" y="22697"/>
                      </a:lnTo>
                      <a:lnTo>
                        <a:pt x="1052" y="23088"/>
                      </a:lnTo>
                      <a:lnTo>
                        <a:pt x="522" y="22648"/>
                      </a:lnTo>
                      <a:lnTo>
                        <a:pt x="0" y="21344"/>
                      </a:lnTo>
                      <a:lnTo>
                        <a:pt x="522" y="19364"/>
                      </a:lnTo>
                      <a:lnTo>
                        <a:pt x="2478" y="17538"/>
                      </a:lnTo>
                      <a:lnTo>
                        <a:pt x="4580" y="15908"/>
                      </a:lnTo>
                      <a:lnTo>
                        <a:pt x="6406" y="14727"/>
                      </a:lnTo>
                      <a:lnTo>
                        <a:pt x="7473" y="14213"/>
                      </a:lnTo>
                      <a:lnTo>
                        <a:pt x="7971" y="12184"/>
                      </a:lnTo>
                      <a:lnTo>
                        <a:pt x="9062" y="12388"/>
                      </a:lnTo>
                      <a:lnTo>
                        <a:pt x="11230" y="12502"/>
                      </a:lnTo>
                      <a:lnTo>
                        <a:pt x="13643" y="12966"/>
                      </a:lnTo>
                      <a:lnTo>
                        <a:pt x="15900" y="13529"/>
                      </a:lnTo>
                      <a:lnTo>
                        <a:pt x="17881" y="14254"/>
                      </a:lnTo>
                      <a:lnTo>
                        <a:pt x="22045" y="15004"/>
                      </a:lnTo>
                      <a:lnTo>
                        <a:pt x="25827" y="15460"/>
                      </a:lnTo>
                      <a:lnTo>
                        <a:pt x="26968" y="15876"/>
                      </a:lnTo>
                      <a:lnTo>
                        <a:pt x="27888" y="15843"/>
                      </a:lnTo>
                      <a:lnTo>
                        <a:pt x="29046" y="16454"/>
                      </a:lnTo>
                      <a:lnTo>
                        <a:pt x="29730" y="15982"/>
                      </a:lnTo>
                      <a:lnTo>
                        <a:pt x="30219" y="15167"/>
                      </a:lnTo>
                      <a:lnTo>
                        <a:pt x="32281" y="14197"/>
                      </a:lnTo>
                      <a:lnTo>
                        <a:pt x="34180" y="12934"/>
                      </a:lnTo>
                      <a:lnTo>
                        <a:pt x="35517" y="11320"/>
                      </a:lnTo>
                      <a:lnTo>
                        <a:pt x="36266" y="10049"/>
                      </a:lnTo>
                      <a:lnTo>
                        <a:pt x="37571" y="9136"/>
                      </a:lnTo>
                      <a:lnTo>
                        <a:pt x="38956" y="8883"/>
                      </a:lnTo>
                      <a:lnTo>
                        <a:pt x="40227" y="8435"/>
                      </a:lnTo>
                      <a:lnTo>
                        <a:pt x="45590" y="7832"/>
                      </a:lnTo>
                      <a:lnTo>
                        <a:pt x="51107" y="8296"/>
                      </a:lnTo>
                      <a:lnTo>
                        <a:pt x="53739" y="7416"/>
                      </a:lnTo>
                      <a:lnTo>
                        <a:pt x="55908" y="5860"/>
                      </a:lnTo>
                      <a:lnTo>
                        <a:pt x="59078" y="5420"/>
                      </a:lnTo>
                      <a:lnTo>
                        <a:pt x="59232" y="5403"/>
                      </a:lnTo>
                      <a:lnTo>
                        <a:pt x="63959" y="6593"/>
                      </a:lnTo>
                      <a:lnTo>
                        <a:pt x="64326" y="5900"/>
                      </a:lnTo>
                      <a:lnTo>
                        <a:pt x="64538" y="5591"/>
                      </a:lnTo>
                      <a:lnTo>
                        <a:pt x="64448" y="2200"/>
                      </a:lnTo>
                      <a:lnTo>
                        <a:pt x="65940" y="660"/>
                      </a:lnTo>
                      <a:lnTo>
                        <a:pt x="67325" y="0"/>
                      </a:lnTo>
                      <a:lnTo>
                        <a:pt x="72044" y="212"/>
                      </a:lnTo>
                      <a:lnTo>
                        <a:pt x="72680" y="1255"/>
                      </a:lnTo>
                      <a:lnTo>
                        <a:pt x="72916" y="2869"/>
                      </a:lnTo>
                      <a:lnTo>
                        <a:pt x="73348" y="5028"/>
                      </a:lnTo>
                      <a:lnTo>
                        <a:pt x="74122" y="5632"/>
                      </a:lnTo>
                      <a:lnTo>
                        <a:pt x="74554" y="6487"/>
                      </a:lnTo>
                      <a:lnTo>
                        <a:pt x="74472" y="7979"/>
                      </a:lnTo>
                      <a:lnTo>
                        <a:pt x="75393" y="9095"/>
                      </a:lnTo>
                      <a:lnTo>
                        <a:pt x="77553" y="12119"/>
                      </a:lnTo>
                      <a:close/>
                    </a:path>
                  </a:pathLst>
                </a:custGeom>
                <a:solidFill>
                  <a:srgbClr val="D6D6D2"/>
                </a:solidFill>
                <a:ln w="8150" cap="flat">
                  <a:noFill/>
                  <a:prstDash val="solid"/>
                  <a:miter/>
                </a:ln>
              </p:spPr>
              <p:txBody>
                <a:bodyPr rtlCol="0" anchor="ctr"/>
                <a:lstStyle/>
                <a:p>
                  <a:endParaRPr lang="en-US"/>
                </a:p>
              </p:txBody>
            </p:sp>
            <p:sp>
              <p:nvSpPr>
                <p:cNvPr id="573" name="Freeform: Shape 572">
                  <a:extLst>
                    <a:ext uri="{FF2B5EF4-FFF2-40B4-BE49-F238E27FC236}">
                      <a16:creationId xmlns:a16="http://schemas.microsoft.com/office/drawing/2014/main" id="{D3CBC566-E63D-415A-8CF2-3B13F5FD8D5F}"/>
                    </a:ext>
                  </a:extLst>
                </p:cNvPr>
                <p:cNvSpPr/>
                <p:nvPr/>
              </p:nvSpPr>
              <p:spPr>
                <a:xfrm>
                  <a:off x="6361860" y="2939357"/>
                  <a:ext cx="140778" cy="66151"/>
                </a:xfrm>
                <a:custGeom>
                  <a:avLst/>
                  <a:gdLst>
                    <a:gd name="connsiteX0" fmla="*/ 140778 w 140778"/>
                    <a:gd name="connsiteY0" fmla="*/ 19038 h 66151"/>
                    <a:gd name="connsiteX1" fmla="*/ 140420 w 140778"/>
                    <a:gd name="connsiteY1" fmla="*/ 20529 h 66151"/>
                    <a:gd name="connsiteX2" fmla="*/ 139409 w 140778"/>
                    <a:gd name="connsiteY2" fmla="*/ 22273 h 66151"/>
                    <a:gd name="connsiteX3" fmla="*/ 138130 w 140778"/>
                    <a:gd name="connsiteY3" fmla="*/ 24058 h 66151"/>
                    <a:gd name="connsiteX4" fmla="*/ 137079 w 140778"/>
                    <a:gd name="connsiteY4" fmla="*/ 26242 h 66151"/>
                    <a:gd name="connsiteX5" fmla="*/ 135668 w 140778"/>
                    <a:gd name="connsiteY5" fmla="*/ 30863 h 66151"/>
                    <a:gd name="connsiteX6" fmla="*/ 134740 w 140778"/>
                    <a:gd name="connsiteY6" fmla="*/ 33006 h 66151"/>
                    <a:gd name="connsiteX7" fmla="*/ 130958 w 140778"/>
                    <a:gd name="connsiteY7" fmla="*/ 37236 h 66151"/>
                    <a:gd name="connsiteX8" fmla="*/ 130681 w 140778"/>
                    <a:gd name="connsiteY8" fmla="*/ 43112 h 66151"/>
                    <a:gd name="connsiteX9" fmla="*/ 130184 w 140778"/>
                    <a:gd name="connsiteY9" fmla="*/ 43544 h 66151"/>
                    <a:gd name="connsiteX10" fmla="*/ 121643 w 140778"/>
                    <a:gd name="connsiteY10" fmla="*/ 45532 h 66151"/>
                    <a:gd name="connsiteX11" fmla="*/ 120510 w 140778"/>
                    <a:gd name="connsiteY11" fmla="*/ 45223 h 66151"/>
                    <a:gd name="connsiteX12" fmla="*/ 119353 w 140778"/>
                    <a:gd name="connsiteY12" fmla="*/ 44082 h 66151"/>
                    <a:gd name="connsiteX13" fmla="*/ 118709 w 140778"/>
                    <a:gd name="connsiteY13" fmla="*/ 43251 h 66151"/>
                    <a:gd name="connsiteX14" fmla="*/ 118301 w 140778"/>
                    <a:gd name="connsiteY14" fmla="*/ 42639 h 66151"/>
                    <a:gd name="connsiteX15" fmla="*/ 117568 w 140778"/>
                    <a:gd name="connsiteY15" fmla="*/ 41009 h 66151"/>
                    <a:gd name="connsiteX16" fmla="*/ 116590 w 140778"/>
                    <a:gd name="connsiteY16" fmla="*/ 39860 h 66151"/>
                    <a:gd name="connsiteX17" fmla="*/ 115131 w 140778"/>
                    <a:gd name="connsiteY17" fmla="*/ 38915 h 66151"/>
                    <a:gd name="connsiteX18" fmla="*/ 113811 w 140778"/>
                    <a:gd name="connsiteY18" fmla="*/ 37823 h 66151"/>
                    <a:gd name="connsiteX19" fmla="*/ 112108 w 140778"/>
                    <a:gd name="connsiteY19" fmla="*/ 37782 h 66151"/>
                    <a:gd name="connsiteX20" fmla="*/ 107495 w 140778"/>
                    <a:gd name="connsiteY20" fmla="*/ 39322 h 66151"/>
                    <a:gd name="connsiteX21" fmla="*/ 104284 w 140778"/>
                    <a:gd name="connsiteY21" fmla="*/ 39485 h 66151"/>
                    <a:gd name="connsiteX22" fmla="*/ 102141 w 140778"/>
                    <a:gd name="connsiteY22" fmla="*/ 38988 h 66151"/>
                    <a:gd name="connsiteX23" fmla="*/ 99312 w 140778"/>
                    <a:gd name="connsiteY23" fmla="*/ 38059 h 66151"/>
                    <a:gd name="connsiteX24" fmla="*/ 93771 w 140778"/>
                    <a:gd name="connsiteY24" fmla="*/ 37912 h 66151"/>
                    <a:gd name="connsiteX25" fmla="*/ 89973 w 140778"/>
                    <a:gd name="connsiteY25" fmla="*/ 38728 h 66151"/>
                    <a:gd name="connsiteX26" fmla="*/ 89590 w 140778"/>
                    <a:gd name="connsiteY26" fmla="*/ 39877 h 66151"/>
                    <a:gd name="connsiteX27" fmla="*/ 86102 w 140778"/>
                    <a:gd name="connsiteY27" fmla="*/ 47065 h 66151"/>
                    <a:gd name="connsiteX28" fmla="*/ 81008 w 140778"/>
                    <a:gd name="connsiteY28" fmla="*/ 49705 h 66151"/>
                    <a:gd name="connsiteX29" fmla="*/ 76591 w 140778"/>
                    <a:gd name="connsiteY29" fmla="*/ 52411 h 66151"/>
                    <a:gd name="connsiteX30" fmla="*/ 75295 w 140778"/>
                    <a:gd name="connsiteY30" fmla="*/ 52965 h 66151"/>
                    <a:gd name="connsiteX31" fmla="*/ 73103 w 140778"/>
                    <a:gd name="connsiteY31" fmla="*/ 52109 h 66151"/>
                    <a:gd name="connsiteX32" fmla="*/ 70609 w 140778"/>
                    <a:gd name="connsiteY32" fmla="*/ 50504 h 66151"/>
                    <a:gd name="connsiteX33" fmla="*/ 68515 w 140778"/>
                    <a:gd name="connsiteY33" fmla="*/ 49664 h 66151"/>
                    <a:gd name="connsiteX34" fmla="*/ 67007 w 140778"/>
                    <a:gd name="connsiteY34" fmla="*/ 50031 h 66151"/>
                    <a:gd name="connsiteX35" fmla="*/ 65345 w 140778"/>
                    <a:gd name="connsiteY35" fmla="*/ 51857 h 66151"/>
                    <a:gd name="connsiteX36" fmla="*/ 64594 w 140778"/>
                    <a:gd name="connsiteY36" fmla="*/ 53698 h 66151"/>
                    <a:gd name="connsiteX37" fmla="*/ 59582 w 140778"/>
                    <a:gd name="connsiteY37" fmla="*/ 55060 h 66151"/>
                    <a:gd name="connsiteX38" fmla="*/ 50879 w 140778"/>
                    <a:gd name="connsiteY38" fmla="*/ 55850 h 66151"/>
                    <a:gd name="connsiteX39" fmla="*/ 47847 w 140778"/>
                    <a:gd name="connsiteY39" fmla="*/ 57659 h 66151"/>
                    <a:gd name="connsiteX40" fmla="*/ 46804 w 140778"/>
                    <a:gd name="connsiteY40" fmla="*/ 59852 h 66151"/>
                    <a:gd name="connsiteX41" fmla="*/ 46771 w 140778"/>
                    <a:gd name="connsiteY41" fmla="*/ 61522 h 66151"/>
                    <a:gd name="connsiteX42" fmla="*/ 47505 w 140778"/>
                    <a:gd name="connsiteY42" fmla="*/ 62957 h 66151"/>
                    <a:gd name="connsiteX43" fmla="*/ 46584 w 140778"/>
                    <a:gd name="connsiteY43" fmla="*/ 64611 h 66151"/>
                    <a:gd name="connsiteX44" fmla="*/ 46168 w 140778"/>
                    <a:gd name="connsiteY44" fmla="*/ 65304 h 66151"/>
                    <a:gd name="connsiteX45" fmla="*/ 40023 w 140778"/>
                    <a:gd name="connsiteY45" fmla="*/ 65671 h 66151"/>
                    <a:gd name="connsiteX46" fmla="*/ 31816 w 140778"/>
                    <a:gd name="connsiteY46" fmla="*/ 66151 h 66151"/>
                    <a:gd name="connsiteX47" fmla="*/ 26927 w 140778"/>
                    <a:gd name="connsiteY47" fmla="*/ 66029 h 66151"/>
                    <a:gd name="connsiteX48" fmla="*/ 22306 w 140778"/>
                    <a:gd name="connsiteY48" fmla="*/ 65915 h 66151"/>
                    <a:gd name="connsiteX49" fmla="*/ 19168 w 140778"/>
                    <a:gd name="connsiteY49" fmla="*/ 64489 h 66151"/>
                    <a:gd name="connsiteX50" fmla="*/ 15329 w 140778"/>
                    <a:gd name="connsiteY50" fmla="*/ 61710 h 66151"/>
                    <a:gd name="connsiteX51" fmla="*/ 11271 w 140778"/>
                    <a:gd name="connsiteY51" fmla="*/ 58002 h 66151"/>
                    <a:gd name="connsiteX52" fmla="*/ 10888 w 140778"/>
                    <a:gd name="connsiteY52" fmla="*/ 57912 h 66151"/>
                    <a:gd name="connsiteX53" fmla="*/ 10285 w 140778"/>
                    <a:gd name="connsiteY53" fmla="*/ 57521 h 66151"/>
                    <a:gd name="connsiteX54" fmla="*/ 7734 w 140778"/>
                    <a:gd name="connsiteY54" fmla="*/ 57244 h 66151"/>
                    <a:gd name="connsiteX55" fmla="*/ 7057 w 140778"/>
                    <a:gd name="connsiteY55" fmla="*/ 57464 h 66151"/>
                    <a:gd name="connsiteX56" fmla="*/ 5534 w 140778"/>
                    <a:gd name="connsiteY56" fmla="*/ 56266 h 66151"/>
                    <a:gd name="connsiteX57" fmla="*/ 5085 w 140778"/>
                    <a:gd name="connsiteY57" fmla="*/ 54693 h 66151"/>
                    <a:gd name="connsiteX58" fmla="*/ 2730 w 140778"/>
                    <a:gd name="connsiteY58" fmla="*/ 50561 h 66151"/>
                    <a:gd name="connsiteX59" fmla="*/ 73 w 140778"/>
                    <a:gd name="connsiteY59" fmla="*/ 43772 h 66151"/>
                    <a:gd name="connsiteX60" fmla="*/ 0 w 140778"/>
                    <a:gd name="connsiteY60" fmla="*/ 41816 h 66151"/>
                    <a:gd name="connsiteX61" fmla="*/ 1043 w 140778"/>
                    <a:gd name="connsiteY61" fmla="*/ 39575 h 66151"/>
                    <a:gd name="connsiteX62" fmla="*/ 1997 w 140778"/>
                    <a:gd name="connsiteY62" fmla="*/ 37872 h 66151"/>
                    <a:gd name="connsiteX63" fmla="*/ 2143 w 140778"/>
                    <a:gd name="connsiteY63" fmla="*/ 36511 h 66151"/>
                    <a:gd name="connsiteX64" fmla="*/ 2241 w 140778"/>
                    <a:gd name="connsiteY64" fmla="*/ 36144 h 66151"/>
                    <a:gd name="connsiteX65" fmla="*/ 3040 w 140778"/>
                    <a:gd name="connsiteY65" fmla="*/ 33332 h 66151"/>
                    <a:gd name="connsiteX66" fmla="*/ 4971 w 140778"/>
                    <a:gd name="connsiteY66" fmla="*/ 29583 h 66151"/>
                    <a:gd name="connsiteX67" fmla="*/ 6780 w 140778"/>
                    <a:gd name="connsiteY67" fmla="*/ 27407 h 66151"/>
                    <a:gd name="connsiteX68" fmla="*/ 8076 w 140778"/>
                    <a:gd name="connsiteY68" fmla="*/ 26682 h 66151"/>
                    <a:gd name="connsiteX69" fmla="*/ 10766 w 140778"/>
                    <a:gd name="connsiteY69" fmla="*/ 27342 h 66151"/>
                    <a:gd name="connsiteX70" fmla="*/ 15378 w 140778"/>
                    <a:gd name="connsiteY70" fmla="*/ 27888 h 66151"/>
                    <a:gd name="connsiteX71" fmla="*/ 18915 w 140778"/>
                    <a:gd name="connsiteY71" fmla="*/ 27383 h 66151"/>
                    <a:gd name="connsiteX72" fmla="*/ 22224 w 140778"/>
                    <a:gd name="connsiteY72" fmla="*/ 25704 h 66151"/>
                    <a:gd name="connsiteX73" fmla="*/ 24009 w 140778"/>
                    <a:gd name="connsiteY73" fmla="*/ 24237 h 66151"/>
                    <a:gd name="connsiteX74" fmla="*/ 25549 w 140778"/>
                    <a:gd name="connsiteY74" fmla="*/ 22705 h 66151"/>
                    <a:gd name="connsiteX75" fmla="*/ 26054 w 140778"/>
                    <a:gd name="connsiteY75" fmla="*/ 21703 h 66151"/>
                    <a:gd name="connsiteX76" fmla="*/ 26739 w 140778"/>
                    <a:gd name="connsiteY76" fmla="*/ 21230 h 66151"/>
                    <a:gd name="connsiteX77" fmla="*/ 29469 w 140778"/>
                    <a:gd name="connsiteY77" fmla="*/ 20334 h 66151"/>
                    <a:gd name="connsiteX78" fmla="*/ 30341 w 140778"/>
                    <a:gd name="connsiteY78" fmla="*/ 19307 h 66151"/>
                    <a:gd name="connsiteX79" fmla="*/ 30700 w 140778"/>
                    <a:gd name="connsiteY79" fmla="*/ 17343 h 66151"/>
                    <a:gd name="connsiteX80" fmla="*/ 30937 w 140778"/>
                    <a:gd name="connsiteY80" fmla="*/ 15159 h 66151"/>
                    <a:gd name="connsiteX81" fmla="*/ 31491 w 140778"/>
                    <a:gd name="connsiteY81" fmla="*/ 13537 h 66151"/>
                    <a:gd name="connsiteX82" fmla="*/ 32200 w 140778"/>
                    <a:gd name="connsiteY82" fmla="*/ 12339 h 66151"/>
                    <a:gd name="connsiteX83" fmla="*/ 37252 w 140778"/>
                    <a:gd name="connsiteY83" fmla="*/ 9486 h 66151"/>
                    <a:gd name="connsiteX84" fmla="*/ 37717 w 140778"/>
                    <a:gd name="connsiteY84" fmla="*/ 8484 h 66151"/>
                    <a:gd name="connsiteX85" fmla="*/ 38524 w 140778"/>
                    <a:gd name="connsiteY85" fmla="*/ 7506 h 66151"/>
                    <a:gd name="connsiteX86" fmla="*/ 40015 w 140778"/>
                    <a:gd name="connsiteY86" fmla="*/ 6406 h 66151"/>
                    <a:gd name="connsiteX87" fmla="*/ 41474 w 140778"/>
                    <a:gd name="connsiteY87" fmla="*/ 4833 h 66151"/>
                    <a:gd name="connsiteX88" fmla="*/ 42998 w 140778"/>
                    <a:gd name="connsiteY88" fmla="*/ 3855 h 66151"/>
                    <a:gd name="connsiteX89" fmla="*/ 44987 w 140778"/>
                    <a:gd name="connsiteY89" fmla="*/ 3969 h 66151"/>
                    <a:gd name="connsiteX90" fmla="*/ 46804 w 140778"/>
                    <a:gd name="connsiteY90" fmla="*/ 3765 h 66151"/>
                    <a:gd name="connsiteX91" fmla="*/ 48230 w 140778"/>
                    <a:gd name="connsiteY91" fmla="*/ 3211 h 66151"/>
                    <a:gd name="connsiteX92" fmla="*/ 48850 w 140778"/>
                    <a:gd name="connsiteY92" fmla="*/ 3154 h 66151"/>
                    <a:gd name="connsiteX93" fmla="*/ 51474 w 140778"/>
                    <a:gd name="connsiteY93" fmla="*/ 3610 h 66151"/>
                    <a:gd name="connsiteX94" fmla="*/ 51946 w 140778"/>
                    <a:gd name="connsiteY94" fmla="*/ 5420 h 66151"/>
                    <a:gd name="connsiteX95" fmla="*/ 52232 w 140778"/>
                    <a:gd name="connsiteY95" fmla="*/ 7310 h 66151"/>
                    <a:gd name="connsiteX96" fmla="*/ 56722 w 140778"/>
                    <a:gd name="connsiteY96" fmla="*/ 7172 h 66151"/>
                    <a:gd name="connsiteX97" fmla="*/ 59216 w 140778"/>
                    <a:gd name="connsiteY97" fmla="*/ 3129 h 66151"/>
                    <a:gd name="connsiteX98" fmla="*/ 60512 w 140778"/>
                    <a:gd name="connsiteY98" fmla="*/ 2640 h 66151"/>
                    <a:gd name="connsiteX99" fmla="*/ 62590 w 140778"/>
                    <a:gd name="connsiteY99" fmla="*/ 1239 h 66151"/>
                    <a:gd name="connsiteX100" fmla="*/ 63967 w 140778"/>
                    <a:gd name="connsiteY100" fmla="*/ 0 h 66151"/>
                    <a:gd name="connsiteX101" fmla="*/ 64904 w 140778"/>
                    <a:gd name="connsiteY101" fmla="*/ 774 h 66151"/>
                    <a:gd name="connsiteX102" fmla="*/ 66282 w 140778"/>
                    <a:gd name="connsiteY102" fmla="*/ 3366 h 66151"/>
                    <a:gd name="connsiteX103" fmla="*/ 67724 w 140778"/>
                    <a:gd name="connsiteY103" fmla="*/ 5460 h 66151"/>
                    <a:gd name="connsiteX104" fmla="*/ 68547 w 140778"/>
                    <a:gd name="connsiteY104" fmla="*/ 6291 h 66151"/>
                    <a:gd name="connsiteX105" fmla="*/ 68645 w 140778"/>
                    <a:gd name="connsiteY105" fmla="*/ 6935 h 66151"/>
                    <a:gd name="connsiteX106" fmla="*/ 69476 w 140778"/>
                    <a:gd name="connsiteY106" fmla="*/ 7318 h 66151"/>
                    <a:gd name="connsiteX107" fmla="*/ 71115 w 140778"/>
                    <a:gd name="connsiteY107" fmla="*/ 7555 h 66151"/>
                    <a:gd name="connsiteX108" fmla="*/ 72207 w 140778"/>
                    <a:gd name="connsiteY108" fmla="*/ 8190 h 66151"/>
                    <a:gd name="connsiteX109" fmla="*/ 72532 w 140778"/>
                    <a:gd name="connsiteY109" fmla="*/ 10130 h 66151"/>
                    <a:gd name="connsiteX110" fmla="*/ 72557 w 140778"/>
                    <a:gd name="connsiteY110" fmla="*/ 11890 h 66151"/>
                    <a:gd name="connsiteX111" fmla="*/ 72043 w 140778"/>
                    <a:gd name="connsiteY111" fmla="*/ 13154 h 66151"/>
                    <a:gd name="connsiteX112" fmla="*/ 71783 w 140778"/>
                    <a:gd name="connsiteY112" fmla="*/ 14270 h 66151"/>
                    <a:gd name="connsiteX113" fmla="*/ 72907 w 140778"/>
                    <a:gd name="connsiteY113" fmla="*/ 14702 h 66151"/>
                    <a:gd name="connsiteX114" fmla="*/ 74562 w 140778"/>
                    <a:gd name="connsiteY114" fmla="*/ 14278 h 66151"/>
                    <a:gd name="connsiteX115" fmla="*/ 75744 w 140778"/>
                    <a:gd name="connsiteY115" fmla="*/ 13651 h 66151"/>
                    <a:gd name="connsiteX116" fmla="*/ 79240 w 140778"/>
                    <a:gd name="connsiteY116" fmla="*/ 15101 h 66151"/>
                    <a:gd name="connsiteX117" fmla="*/ 80479 w 140778"/>
                    <a:gd name="connsiteY117" fmla="*/ 11866 h 66151"/>
                    <a:gd name="connsiteX118" fmla="*/ 81872 w 140778"/>
                    <a:gd name="connsiteY118" fmla="*/ 10212 h 66151"/>
                    <a:gd name="connsiteX119" fmla="*/ 83689 w 140778"/>
                    <a:gd name="connsiteY119" fmla="*/ 9429 h 66151"/>
                    <a:gd name="connsiteX120" fmla="*/ 85320 w 140778"/>
                    <a:gd name="connsiteY120" fmla="*/ 8419 h 66151"/>
                    <a:gd name="connsiteX121" fmla="*/ 86819 w 140778"/>
                    <a:gd name="connsiteY121" fmla="*/ 7718 h 66151"/>
                    <a:gd name="connsiteX122" fmla="*/ 87846 w 140778"/>
                    <a:gd name="connsiteY122" fmla="*/ 7750 h 66151"/>
                    <a:gd name="connsiteX123" fmla="*/ 88294 w 140778"/>
                    <a:gd name="connsiteY123" fmla="*/ 7457 h 66151"/>
                    <a:gd name="connsiteX124" fmla="*/ 89582 w 140778"/>
                    <a:gd name="connsiteY124" fmla="*/ 7530 h 66151"/>
                    <a:gd name="connsiteX125" fmla="*/ 91073 w 140778"/>
                    <a:gd name="connsiteY125" fmla="*/ 7856 h 66151"/>
                    <a:gd name="connsiteX126" fmla="*/ 93103 w 140778"/>
                    <a:gd name="connsiteY126" fmla="*/ 7473 h 66151"/>
                    <a:gd name="connsiteX127" fmla="*/ 95906 w 140778"/>
                    <a:gd name="connsiteY127" fmla="*/ 8264 h 66151"/>
                    <a:gd name="connsiteX128" fmla="*/ 97650 w 140778"/>
                    <a:gd name="connsiteY128" fmla="*/ 9763 h 66151"/>
                    <a:gd name="connsiteX129" fmla="*/ 99353 w 140778"/>
                    <a:gd name="connsiteY129" fmla="*/ 10269 h 66151"/>
                    <a:gd name="connsiteX130" fmla="*/ 101309 w 140778"/>
                    <a:gd name="connsiteY130" fmla="*/ 10179 h 66151"/>
                    <a:gd name="connsiteX131" fmla="*/ 102646 w 140778"/>
                    <a:gd name="connsiteY131" fmla="*/ 9356 h 66151"/>
                    <a:gd name="connsiteX132" fmla="*/ 104586 w 140778"/>
                    <a:gd name="connsiteY132" fmla="*/ 6512 h 66151"/>
                    <a:gd name="connsiteX133" fmla="*/ 105995 w 140778"/>
                    <a:gd name="connsiteY133" fmla="*/ 6552 h 66151"/>
                    <a:gd name="connsiteX134" fmla="*/ 108187 w 140778"/>
                    <a:gd name="connsiteY134" fmla="*/ 6104 h 66151"/>
                    <a:gd name="connsiteX135" fmla="*/ 111301 w 140778"/>
                    <a:gd name="connsiteY135" fmla="*/ 6137 h 66151"/>
                    <a:gd name="connsiteX136" fmla="*/ 118481 w 140778"/>
                    <a:gd name="connsiteY136" fmla="*/ 6740 h 66151"/>
                    <a:gd name="connsiteX137" fmla="*/ 120274 w 140778"/>
                    <a:gd name="connsiteY137" fmla="*/ 7824 h 66151"/>
                    <a:gd name="connsiteX138" fmla="*/ 124699 w 140778"/>
                    <a:gd name="connsiteY138" fmla="*/ 9225 h 66151"/>
                    <a:gd name="connsiteX139" fmla="*/ 126614 w 140778"/>
                    <a:gd name="connsiteY139" fmla="*/ 10831 h 66151"/>
                    <a:gd name="connsiteX140" fmla="*/ 127470 w 140778"/>
                    <a:gd name="connsiteY140" fmla="*/ 12754 h 66151"/>
                    <a:gd name="connsiteX141" fmla="*/ 127910 w 140778"/>
                    <a:gd name="connsiteY141" fmla="*/ 14083 h 66151"/>
                    <a:gd name="connsiteX142" fmla="*/ 132441 w 140778"/>
                    <a:gd name="connsiteY142" fmla="*/ 16120 h 66151"/>
                    <a:gd name="connsiteX143" fmla="*/ 139148 w 140778"/>
                    <a:gd name="connsiteY143" fmla="*/ 18728 h 6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40778" h="66151">
                      <a:moveTo>
                        <a:pt x="140778" y="19038"/>
                      </a:moveTo>
                      <a:lnTo>
                        <a:pt x="140420" y="20529"/>
                      </a:lnTo>
                      <a:lnTo>
                        <a:pt x="139409" y="22273"/>
                      </a:lnTo>
                      <a:lnTo>
                        <a:pt x="138130" y="24058"/>
                      </a:lnTo>
                      <a:lnTo>
                        <a:pt x="137079" y="26242"/>
                      </a:lnTo>
                      <a:lnTo>
                        <a:pt x="135668" y="30863"/>
                      </a:lnTo>
                      <a:lnTo>
                        <a:pt x="134740" y="33006"/>
                      </a:lnTo>
                      <a:lnTo>
                        <a:pt x="130958" y="37236"/>
                      </a:lnTo>
                      <a:lnTo>
                        <a:pt x="130681" y="43112"/>
                      </a:lnTo>
                      <a:lnTo>
                        <a:pt x="130184" y="43544"/>
                      </a:lnTo>
                      <a:lnTo>
                        <a:pt x="121643" y="45532"/>
                      </a:lnTo>
                      <a:lnTo>
                        <a:pt x="120510" y="45223"/>
                      </a:lnTo>
                      <a:lnTo>
                        <a:pt x="119353" y="44082"/>
                      </a:lnTo>
                      <a:lnTo>
                        <a:pt x="118709" y="43251"/>
                      </a:lnTo>
                      <a:lnTo>
                        <a:pt x="118301" y="42639"/>
                      </a:lnTo>
                      <a:lnTo>
                        <a:pt x="117568" y="41009"/>
                      </a:lnTo>
                      <a:lnTo>
                        <a:pt x="116590" y="39860"/>
                      </a:lnTo>
                      <a:lnTo>
                        <a:pt x="115131" y="38915"/>
                      </a:lnTo>
                      <a:lnTo>
                        <a:pt x="113811" y="37823"/>
                      </a:lnTo>
                      <a:lnTo>
                        <a:pt x="112108" y="37782"/>
                      </a:lnTo>
                      <a:lnTo>
                        <a:pt x="107495" y="39322"/>
                      </a:lnTo>
                      <a:lnTo>
                        <a:pt x="104284" y="39485"/>
                      </a:lnTo>
                      <a:lnTo>
                        <a:pt x="102141" y="38988"/>
                      </a:lnTo>
                      <a:lnTo>
                        <a:pt x="99312" y="38059"/>
                      </a:lnTo>
                      <a:lnTo>
                        <a:pt x="93771" y="37912"/>
                      </a:lnTo>
                      <a:lnTo>
                        <a:pt x="89973" y="38728"/>
                      </a:lnTo>
                      <a:lnTo>
                        <a:pt x="89590" y="39877"/>
                      </a:lnTo>
                      <a:lnTo>
                        <a:pt x="86102" y="47065"/>
                      </a:lnTo>
                      <a:lnTo>
                        <a:pt x="81008" y="49705"/>
                      </a:lnTo>
                      <a:lnTo>
                        <a:pt x="76591" y="52411"/>
                      </a:lnTo>
                      <a:lnTo>
                        <a:pt x="75295" y="52965"/>
                      </a:lnTo>
                      <a:lnTo>
                        <a:pt x="73103" y="52109"/>
                      </a:lnTo>
                      <a:lnTo>
                        <a:pt x="70609" y="50504"/>
                      </a:lnTo>
                      <a:lnTo>
                        <a:pt x="68515" y="49664"/>
                      </a:lnTo>
                      <a:lnTo>
                        <a:pt x="67007" y="50031"/>
                      </a:lnTo>
                      <a:lnTo>
                        <a:pt x="65345" y="51857"/>
                      </a:lnTo>
                      <a:lnTo>
                        <a:pt x="64594" y="53698"/>
                      </a:lnTo>
                      <a:lnTo>
                        <a:pt x="59582" y="55060"/>
                      </a:lnTo>
                      <a:lnTo>
                        <a:pt x="50879" y="55850"/>
                      </a:lnTo>
                      <a:lnTo>
                        <a:pt x="47847" y="57659"/>
                      </a:lnTo>
                      <a:lnTo>
                        <a:pt x="46804" y="59852"/>
                      </a:lnTo>
                      <a:lnTo>
                        <a:pt x="46771" y="61522"/>
                      </a:lnTo>
                      <a:lnTo>
                        <a:pt x="47505" y="62957"/>
                      </a:lnTo>
                      <a:lnTo>
                        <a:pt x="46584" y="64611"/>
                      </a:lnTo>
                      <a:lnTo>
                        <a:pt x="46168" y="65304"/>
                      </a:lnTo>
                      <a:lnTo>
                        <a:pt x="40023" y="65671"/>
                      </a:lnTo>
                      <a:lnTo>
                        <a:pt x="31816" y="66151"/>
                      </a:lnTo>
                      <a:lnTo>
                        <a:pt x="26927" y="66029"/>
                      </a:lnTo>
                      <a:lnTo>
                        <a:pt x="22306" y="65915"/>
                      </a:lnTo>
                      <a:lnTo>
                        <a:pt x="19168" y="64489"/>
                      </a:lnTo>
                      <a:lnTo>
                        <a:pt x="15329" y="61710"/>
                      </a:lnTo>
                      <a:lnTo>
                        <a:pt x="11271" y="58002"/>
                      </a:lnTo>
                      <a:lnTo>
                        <a:pt x="10888" y="57912"/>
                      </a:lnTo>
                      <a:lnTo>
                        <a:pt x="10285" y="57521"/>
                      </a:lnTo>
                      <a:lnTo>
                        <a:pt x="7734" y="57244"/>
                      </a:lnTo>
                      <a:lnTo>
                        <a:pt x="7057" y="57464"/>
                      </a:lnTo>
                      <a:lnTo>
                        <a:pt x="5534" y="56266"/>
                      </a:lnTo>
                      <a:lnTo>
                        <a:pt x="5085" y="54693"/>
                      </a:lnTo>
                      <a:lnTo>
                        <a:pt x="2730" y="50561"/>
                      </a:lnTo>
                      <a:lnTo>
                        <a:pt x="73" y="43772"/>
                      </a:lnTo>
                      <a:lnTo>
                        <a:pt x="0" y="41816"/>
                      </a:lnTo>
                      <a:lnTo>
                        <a:pt x="1043" y="39575"/>
                      </a:lnTo>
                      <a:lnTo>
                        <a:pt x="1997" y="37872"/>
                      </a:lnTo>
                      <a:lnTo>
                        <a:pt x="2143" y="36511"/>
                      </a:lnTo>
                      <a:lnTo>
                        <a:pt x="2241" y="36144"/>
                      </a:lnTo>
                      <a:lnTo>
                        <a:pt x="3040" y="33332"/>
                      </a:lnTo>
                      <a:lnTo>
                        <a:pt x="4971" y="29583"/>
                      </a:lnTo>
                      <a:lnTo>
                        <a:pt x="6780" y="27407"/>
                      </a:lnTo>
                      <a:lnTo>
                        <a:pt x="8076" y="26682"/>
                      </a:lnTo>
                      <a:lnTo>
                        <a:pt x="10766" y="27342"/>
                      </a:lnTo>
                      <a:lnTo>
                        <a:pt x="15378" y="27888"/>
                      </a:lnTo>
                      <a:lnTo>
                        <a:pt x="18915" y="27383"/>
                      </a:lnTo>
                      <a:lnTo>
                        <a:pt x="22224" y="25704"/>
                      </a:lnTo>
                      <a:lnTo>
                        <a:pt x="24009" y="24237"/>
                      </a:lnTo>
                      <a:lnTo>
                        <a:pt x="25549" y="22705"/>
                      </a:lnTo>
                      <a:lnTo>
                        <a:pt x="26054" y="21703"/>
                      </a:lnTo>
                      <a:lnTo>
                        <a:pt x="26739" y="21230"/>
                      </a:lnTo>
                      <a:lnTo>
                        <a:pt x="29469" y="20334"/>
                      </a:lnTo>
                      <a:lnTo>
                        <a:pt x="30341" y="19307"/>
                      </a:lnTo>
                      <a:lnTo>
                        <a:pt x="30700" y="17343"/>
                      </a:lnTo>
                      <a:lnTo>
                        <a:pt x="30937" y="15159"/>
                      </a:lnTo>
                      <a:lnTo>
                        <a:pt x="31491" y="13537"/>
                      </a:lnTo>
                      <a:lnTo>
                        <a:pt x="32200" y="12339"/>
                      </a:lnTo>
                      <a:lnTo>
                        <a:pt x="37252" y="9486"/>
                      </a:lnTo>
                      <a:lnTo>
                        <a:pt x="37717" y="8484"/>
                      </a:lnTo>
                      <a:lnTo>
                        <a:pt x="38524" y="7506"/>
                      </a:lnTo>
                      <a:lnTo>
                        <a:pt x="40015" y="6406"/>
                      </a:lnTo>
                      <a:lnTo>
                        <a:pt x="41474" y="4833"/>
                      </a:lnTo>
                      <a:lnTo>
                        <a:pt x="42998" y="3855"/>
                      </a:lnTo>
                      <a:lnTo>
                        <a:pt x="44987" y="3969"/>
                      </a:lnTo>
                      <a:lnTo>
                        <a:pt x="46804" y="3765"/>
                      </a:lnTo>
                      <a:lnTo>
                        <a:pt x="48230" y="3211"/>
                      </a:lnTo>
                      <a:lnTo>
                        <a:pt x="48850" y="3154"/>
                      </a:lnTo>
                      <a:lnTo>
                        <a:pt x="51474" y="3610"/>
                      </a:lnTo>
                      <a:lnTo>
                        <a:pt x="51946" y="5420"/>
                      </a:lnTo>
                      <a:lnTo>
                        <a:pt x="52232" y="7310"/>
                      </a:lnTo>
                      <a:lnTo>
                        <a:pt x="56722" y="7172"/>
                      </a:lnTo>
                      <a:lnTo>
                        <a:pt x="59216" y="3129"/>
                      </a:lnTo>
                      <a:lnTo>
                        <a:pt x="60512" y="2640"/>
                      </a:lnTo>
                      <a:lnTo>
                        <a:pt x="62590" y="1239"/>
                      </a:lnTo>
                      <a:lnTo>
                        <a:pt x="63967" y="0"/>
                      </a:lnTo>
                      <a:lnTo>
                        <a:pt x="64904" y="774"/>
                      </a:lnTo>
                      <a:lnTo>
                        <a:pt x="66282" y="3366"/>
                      </a:lnTo>
                      <a:lnTo>
                        <a:pt x="67724" y="5460"/>
                      </a:lnTo>
                      <a:lnTo>
                        <a:pt x="68547" y="6291"/>
                      </a:lnTo>
                      <a:lnTo>
                        <a:pt x="68645" y="6935"/>
                      </a:lnTo>
                      <a:lnTo>
                        <a:pt x="69476" y="7318"/>
                      </a:lnTo>
                      <a:lnTo>
                        <a:pt x="71115" y="7555"/>
                      </a:lnTo>
                      <a:lnTo>
                        <a:pt x="72207" y="8190"/>
                      </a:lnTo>
                      <a:lnTo>
                        <a:pt x="72532" y="10130"/>
                      </a:lnTo>
                      <a:lnTo>
                        <a:pt x="72557" y="11890"/>
                      </a:lnTo>
                      <a:lnTo>
                        <a:pt x="72043" y="13154"/>
                      </a:lnTo>
                      <a:lnTo>
                        <a:pt x="71783" y="14270"/>
                      </a:lnTo>
                      <a:lnTo>
                        <a:pt x="72907" y="14702"/>
                      </a:lnTo>
                      <a:lnTo>
                        <a:pt x="74562" y="14278"/>
                      </a:lnTo>
                      <a:lnTo>
                        <a:pt x="75744" y="13651"/>
                      </a:lnTo>
                      <a:lnTo>
                        <a:pt x="79240" y="15101"/>
                      </a:lnTo>
                      <a:lnTo>
                        <a:pt x="80479" y="11866"/>
                      </a:lnTo>
                      <a:lnTo>
                        <a:pt x="81872" y="10212"/>
                      </a:lnTo>
                      <a:lnTo>
                        <a:pt x="83689" y="9429"/>
                      </a:lnTo>
                      <a:lnTo>
                        <a:pt x="85320" y="8419"/>
                      </a:lnTo>
                      <a:lnTo>
                        <a:pt x="86819" y="7718"/>
                      </a:lnTo>
                      <a:lnTo>
                        <a:pt x="87846" y="7750"/>
                      </a:lnTo>
                      <a:lnTo>
                        <a:pt x="88294" y="7457"/>
                      </a:lnTo>
                      <a:lnTo>
                        <a:pt x="89582" y="7530"/>
                      </a:lnTo>
                      <a:lnTo>
                        <a:pt x="91073" y="7856"/>
                      </a:lnTo>
                      <a:lnTo>
                        <a:pt x="93103" y="7473"/>
                      </a:lnTo>
                      <a:lnTo>
                        <a:pt x="95906" y="8264"/>
                      </a:lnTo>
                      <a:lnTo>
                        <a:pt x="97650" y="9763"/>
                      </a:lnTo>
                      <a:lnTo>
                        <a:pt x="99353" y="10269"/>
                      </a:lnTo>
                      <a:lnTo>
                        <a:pt x="101309" y="10179"/>
                      </a:lnTo>
                      <a:lnTo>
                        <a:pt x="102646" y="9356"/>
                      </a:lnTo>
                      <a:lnTo>
                        <a:pt x="104586" y="6512"/>
                      </a:lnTo>
                      <a:lnTo>
                        <a:pt x="105995" y="6552"/>
                      </a:lnTo>
                      <a:lnTo>
                        <a:pt x="108187" y="6104"/>
                      </a:lnTo>
                      <a:lnTo>
                        <a:pt x="111301" y="6137"/>
                      </a:lnTo>
                      <a:lnTo>
                        <a:pt x="118481" y="6740"/>
                      </a:lnTo>
                      <a:lnTo>
                        <a:pt x="120274" y="7824"/>
                      </a:lnTo>
                      <a:lnTo>
                        <a:pt x="124699" y="9225"/>
                      </a:lnTo>
                      <a:lnTo>
                        <a:pt x="126614" y="10831"/>
                      </a:lnTo>
                      <a:lnTo>
                        <a:pt x="127470" y="12754"/>
                      </a:lnTo>
                      <a:lnTo>
                        <a:pt x="127910" y="14083"/>
                      </a:lnTo>
                      <a:lnTo>
                        <a:pt x="132441" y="16120"/>
                      </a:lnTo>
                      <a:lnTo>
                        <a:pt x="139148" y="18728"/>
                      </a:lnTo>
                      <a:close/>
                    </a:path>
                  </a:pathLst>
                </a:custGeom>
                <a:solidFill>
                  <a:srgbClr val="D6D6D2"/>
                </a:solidFill>
                <a:ln w="6112" cap="rnd">
                  <a:solidFill>
                    <a:srgbClr val="FFFFFF"/>
                  </a:solidFill>
                  <a:prstDash val="solid"/>
                  <a:round/>
                </a:ln>
              </p:spPr>
              <p:txBody>
                <a:bodyPr rtlCol="0" anchor="ctr"/>
                <a:lstStyle/>
                <a:p>
                  <a:endParaRPr lang="en-US"/>
                </a:p>
              </p:txBody>
            </p:sp>
            <p:sp>
              <p:nvSpPr>
                <p:cNvPr id="574" name="Freeform: Shape 573">
                  <a:extLst>
                    <a:ext uri="{FF2B5EF4-FFF2-40B4-BE49-F238E27FC236}">
                      <a16:creationId xmlns:a16="http://schemas.microsoft.com/office/drawing/2014/main" id="{12E3EE40-9CA3-4573-9144-1FBE7B7369BD}"/>
                    </a:ext>
                  </a:extLst>
                </p:cNvPr>
                <p:cNvSpPr/>
                <p:nvPr/>
              </p:nvSpPr>
              <p:spPr>
                <a:xfrm>
                  <a:off x="4503745" y="4344901"/>
                  <a:ext cx="100803" cy="124446"/>
                </a:xfrm>
                <a:custGeom>
                  <a:avLst/>
                  <a:gdLst>
                    <a:gd name="connsiteX0" fmla="*/ 96689 w 100803"/>
                    <a:gd name="connsiteY0" fmla="*/ 19046 h 124446"/>
                    <a:gd name="connsiteX1" fmla="*/ 94610 w 100803"/>
                    <a:gd name="connsiteY1" fmla="*/ 21165 h 124446"/>
                    <a:gd name="connsiteX2" fmla="*/ 92336 w 100803"/>
                    <a:gd name="connsiteY2" fmla="*/ 24189 h 124446"/>
                    <a:gd name="connsiteX3" fmla="*/ 89346 w 100803"/>
                    <a:gd name="connsiteY3" fmla="*/ 29412 h 124446"/>
                    <a:gd name="connsiteX4" fmla="*/ 89476 w 100803"/>
                    <a:gd name="connsiteY4" fmla="*/ 31050 h 124446"/>
                    <a:gd name="connsiteX5" fmla="*/ 88816 w 100803"/>
                    <a:gd name="connsiteY5" fmla="*/ 32371 h 124446"/>
                    <a:gd name="connsiteX6" fmla="*/ 88661 w 100803"/>
                    <a:gd name="connsiteY6" fmla="*/ 34718 h 124446"/>
                    <a:gd name="connsiteX7" fmla="*/ 88881 w 100803"/>
                    <a:gd name="connsiteY7" fmla="*/ 37334 h 124446"/>
                    <a:gd name="connsiteX8" fmla="*/ 89647 w 100803"/>
                    <a:gd name="connsiteY8" fmla="*/ 39054 h 124446"/>
                    <a:gd name="connsiteX9" fmla="*/ 89989 w 100803"/>
                    <a:gd name="connsiteY9" fmla="*/ 42314 h 124446"/>
                    <a:gd name="connsiteX10" fmla="*/ 89411 w 100803"/>
                    <a:gd name="connsiteY10" fmla="*/ 45256 h 124446"/>
                    <a:gd name="connsiteX11" fmla="*/ 89631 w 100803"/>
                    <a:gd name="connsiteY11" fmla="*/ 46967 h 124446"/>
                    <a:gd name="connsiteX12" fmla="*/ 90242 w 100803"/>
                    <a:gd name="connsiteY12" fmla="*/ 49673 h 124446"/>
                    <a:gd name="connsiteX13" fmla="*/ 90731 w 100803"/>
                    <a:gd name="connsiteY13" fmla="*/ 52558 h 124446"/>
                    <a:gd name="connsiteX14" fmla="*/ 90682 w 100803"/>
                    <a:gd name="connsiteY14" fmla="*/ 53731 h 124446"/>
                    <a:gd name="connsiteX15" fmla="*/ 91407 w 100803"/>
                    <a:gd name="connsiteY15" fmla="*/ 54677 h 124446"/>
                    <a:gd name="connsiteX16" fmla="*/ 92076 w 100803"/>
                    <a:gd name="connsiteY16" fmla="*/ 55598 h 124446"/>
                    <a:gd name="connsiteX17" fmla="*/ 91864 w 100803"/>
                    <a:gd name="connsiteY17" fmla="*/ 58181 h 124446"/>
                    <a:gd name="connsiteX18" fmla="*/ 94227 w 100803"/>
                    <a:gd name="connsiteY18" fmla="*/ 62761 h 124446"/>
                    <a:gd name="connsiteX19" fmla="*/ 95670 w 100803"/>
                    <a:gd name="connsiteY19" fmla="*/ 64758 h 124446"/>
                    <a:gd name="connsiteX20" fmla="*/ 97764 w 100803"/>
                    <a:gd name="connsiteY20" fmla="*/ 66714 h 124446"/>
                    <a:gd name="connsiteX21" fmla="*/ 98530 w 100803"/>
                    <a:gd name="connsiteY21" fmla="*/ 68613 h 124446"/>
                    <a:gd name="connsiteX22" fmla="*/ 99712 w 100803"/>
                    <a:gd name="connsiteY22" fmla="*/ 70903 h 124446"/>
                    <a:gd name="connsiteX23" fmla="*/ 100413 w 100803"/>
                    <a:gd name="connsiteY23" fmla="*/ 71180 h 124446"/>
                    <a:gd name="connsiteX24" fmla="*/ 100804 w 100803"/>
                    <a:gd name="connsiteY24" fmla="*/ 72101 h 124446"/>
                    <a:gd name="connsiteX25" fmla="*/ 100413 w 100803"/>
                    <a:gd name="connsiteY25" fmla="*/ 73869 h 124446"/>
                    <a:gd name="connsiteX26" fmla="*/ 100323 w 100803"/>
                    <a:gd name="connsiteY26" fmla="*/ 76322 h 124446"/>
                    <a:gd name="connsiteX27" fmla="*/ 98987 w 100803"/>
                    <a:gd name="connsiteY27" fmla="*/ 79175 h 124446"/>
                    <a:gd name="connsiteX28" fmla="*/ 95898 w 100803"/>
                    <a:gd name="connsiteY28" fmla="*/ 84415 h 124446"/>
                    <a:gd name="connsiteX29" fmla="*/ 95523 w 100803"/>
                    <a:gd name="connsiteY29" fmla="*/ 85629 h 124446"/>
                    <a:gd name="connsiteX30" fmla="*/ 96330 w 100803"/>
                    <a:gd name="connsiteY30" fmla="*/ 89957 h 124446"/>
                    <a:gd name="connsiteX31" fmla="*/ 95898 w 100803"/>
                    <a:gd name="connsiteY31" fmla="*/ 93518 h 124446"/>
                    <a:gd name="connsiteX32" fmla="*/ 95710 w 100803"/>
                    <a:gd name="connsiteY32" fmla="*/ 95222 h 124446"/>
                    <a:gd name="connsiteX33" fmla="*/ 94203 w 100803"/>
                    <a:gd name="connsiteY33" fmla="*/ 98343 h 124446"/>
                    <a:gd name="connsiteX34" fmla="*/ 90592 w 100803"/>
                    <a:gd name="connsiteY34" fmla="*/ 105898 h 124446"/>
                    <a:gd name="connsiteX35" fmla="*/ 88522 w 100803"/>
                    <a:gd name="connsiteY35" fmla="*/ 107259 h 124446"/>
                    <a:gd name="connsiteX36" fmla="*/ 87267 w 100803"/>
                    <a:gd name="connsiteY36" fmla="*/ 109435 h 124446"/>
                    <a:gd name="connsiteX37" fmla="*/ 86461 w 100803"/>
                    <a:gd name="connsiteY37" fmla="*/ 109459 h 124446"/>
                    <a:gd name="connsiteX38" fmla="*/ 85564 w 100803"/>
                    <a:gd name="connsiteY38" fmla="*/ 109663 h 124446"/>
                    <a:gd name="connsiteX39" fmla="*/ 85271 w 100803"/>
                    <a:gd name="connsiteY39" fmla="*/ 109932 h 124446"/>
                    <a:gd name="connsiteX40" fmla="*/ 84146 w 100803"/>
                    <a:gd name="connsiteY40" fmla="*/ 109907 h 124446"/>
                    <a:gd name="connsiteX41" fmla="*/ 83266 w 100803"/>
                    <a:gd name="connsiteY41" fmla="*/ 108946 h 124446"/>
                    <a:gd name="connsiteX42" fmla="*/ 83127 w 100803"/>
                    <a:gd name="connsiteY42" fmla="*/ 107805 h 124446"/>
                    <a:gd name="connsiteX43" fmla="*/ 82646 w 100803"/>
                    <a:gd name="connsiteY43" fmla="*/ 106493 h 124446"/>
                    <a:gd name="connsiteX44" fmla="*/ 81538 w 100803"/>
                    <a:gd name="connsiteY44" fmla="*/ 106101 h 124446"/>
                    <a:gd name="connsiteX45" fmla="*/ 79436 w 100803"/>
                    <a:gd name="connsiteY45" fmla="*/ 106550 h 124446"/>
                    <a:gd name="connsiteX46" fmla="*/ 78832 w 100803"/>
                    <a:gd name="connsiteY46" fmla="*/ 106232 h 124446"/>
                    <a:gd name="connsiteX47" fmla="*/ 77585 w 100803"/>
                    <a:gd name="connsiteY47" fmla="*/ 104822 h 124446"/>
                    <a:gd name="connsiteX48" fmla="*/ 76542 w 100803"/>
                    <a:gd name="connsiteY48" fmla="*/ 103290 h 124446"/>
                    <a:gd name="connsiteX49" fmla="*/ 76290 w 100803"/>
                    <a:gd name="connsiteY49" fmla="*/ 101823 h 124446"/>
                    <a:gd name="connsiteX50" fmla="*/ 75613 w 100803"/>
                    <a:gd name="connsiteY50" fmla="*/ 101961 h 124446"/>
                    <a:gd name="connsiteX51" fmla="*/ 74016 w 100803"/>
                    <a:gd name="connsiteY51" fmla="*/ 103290 h 124446"/>
                    <a:gd name="connsiteX52" fmla="*/ 72932 w 100803"/>
                    <a:gd name="connsiteY52" fmla="*/ 103567 h 124446"/>
                    <a:gd name="connsiteX53" fmla="*/ 72068 w 100803"/>
                    <a:gd name="connsiteY53" fmla="*/ 103225 h 124446"/>
                    <a:gd name="connsiteX54" fmla="*/ 71106 w 100803"/>
                    <a:gd name="connsiteY54" fmla="*/ 103322 h 124446"/>
                    <a:gd name="connsiteX55" fmla="*/ 68661 w 100803"/>
                    <a:gd name="connsiteY55" fmla="*/ 104757 h 124446"/>
                    <a:gd name="connsiteX56" fmla="*/ 67235 w 100803"/>
                    <a:gd name="connsiteY56" fmla="*/ 105083 h 124446"/>
                    <a:gd name="connsiteX57" fmla="*/ 66208 w 100803"/>
                    <a:gd name="connsiteY57" fmla="*/ 106525 h 124446"/>
                    <a:gd name="connsiteX58" fmla="*/ 59420 w 100803"/>
                    <a:gd name="connsiteY58" fmla="*/ 107177 h 124446"/>
                    <a:gd name="connsiteX59" fmla="*/ 57643 w 100803"/>
                    <a:gd name="connsiteY59" fmla="*/ 107552 h 124446"/>
                    <a:gd name="connsiteX60" fmla="*/ 53593 w 100803"/>
                    <a:gd name="connsiteY60" fmla="*/ 105058 h 124446"/>
                    <a:gd name="connsiteX61" fmla="*/ 52541 w 100803"/>
                    <a:gd name="connsiteY61" fmla="*/ 104243 h 124446"/>
                    <a:gd name="connsiteX62" fmla="*/ 52012 w 100803"/>
                    <a:gd name="connsiteY62" fmla="*/ 104129 h 124446"/>
                    <a:gd name="connsiteX63" fmla="*/ 51563 w 100803"/>
                    <a:gd name="connsiteY63" fmla="*/ 104268 h 124446"/>
                    <a:gd name="connsiteX64" fmla="*/ 51115 w 100803"/>
                    <a:gd name="connsiteY64" fmla="*/ 104814 h 124446"/>
                    <a:gd name="connsiteX65" fmla="*/ 50447 w 100803"/>
                    <a:gd name="connsiteY65" fmla="*/ 107960 h 124446"/>
                    <a:gd name="connsiteX66" fmla="*/ 49836 w 100803"/>
                    <a:gd name="connsiteY66" fmla="*/ 108807 h 124446"/>
                    <a:gd name="connsiteX67" fmla="*/ 48776 w 100803"/>
                    <a:gd name="connsiteY67" fmla="*/ 109500 h 124446"/>
                    <a:gd name="connsiteX68" fmla="*/ 47749 w 100803"/>
                    <a:gd name="connsiteY68" fmla="*/ 110747 h 124446"/>
                    <a:gd name="connsiteX69" fmla="*/ 47546 w 100803"/>
                    <a:gd name="connsiteY69" fmla="*/ 111961 h 124446"/>
                    <a:gd name="connsiteX70" fmla="*/ 49127 w 100803"/>
                    <a:gd name="connsiteY70" fmla="*/ 112621 h 124446"/>
                    <a:gd name="connsiteX71" fmla="*/ 50455 w 100803"/>
                    <a:gd name="connsiteY71" fmla="*/ 114985 h 124446"/>
                    <a:gd name="connsiteX72" fmla="*/ 51898 w 100803"/>
                    <a:gd name="connsiteY72" fmla="*/ 116867 h 124446"/>
                    <a:gd name="connsiteX73" fmla="*/ 53055 w 100803"/>
                    <a:gd name="connsiteY73" fmla="*/ 118538 h 124446"/>
                    <a:gd name="connsiteX74" fmla="*/ 52900 w 100803"/>
                    <a:gd name="connsiteY74" fmla="*/ 120412 h 124446"/>
                    <a:gd name="connsiteX75" fmla="*/ 52704 w 100803"/>
                    <a:gd name="connsiteY75" fmla="*/ 123086 h 124446"/>
                    <a:gd name="connsiteX76" fmla="*/ 51865 w 100803"/>
                    <a:gd name="connsiteY76" fmla="*/ 123998 h 124446"/>
                    <a:gd name="connsiteX77" fmla="*/ 50463 w 100803"/>
                    <a:gd name="connsiteY77" fmla="*/ 124447 h 124446"/>
                    <a:gd name="connsiteX78" fmla="*/ 45329 w 100803"/>
                    <a:gd name="connsiteY78" fmla="*/ 123151 h 124446"/>
                    <a:gd name="connsiteX79" fmla="*/ 41393 w 100803"/>
                    <a:gd name="connsiteY79" fmla="*/ 122002 h 124446"/>
                    <a:gd name="connsiteX80" fmla="*/ 39722 w 100803"/>
                    <a:gd name="connsiteY80" fmla="*/ 121749 h 124446"/>
                    <a:gd name="connsiteX81" fmla="*/ 38980 w 100803"/>
                    <a:gd name="connsiteY81" fmla="*/ 121447 h 124446"/>
                    <a:gd name="connsiteX82" fmla="*/ 38002 w 100803"/>
                    <a:gd name="connsiteY82" fmla="*/ 120469 h 124446"/>
                    <a:gd name="connsiteX83" fmla="*/ 37000 w 100803"/>
                    <a:gd name="connsiteY83" fmla="*/ 119565 h 124446"/>
                    <a:gd name="connsiteX84" fmla="*/ 35402 w 100803"/>
                    <a:gd name="connsiteY84" fmla="*/ 119239 h 124446"/>
                    <a:gd name="connsiteX85" fmla="*/ 33487 w 100803"/>
                    <a:gd name="connsiteY85" fmla="*/ 118628 h 124446"/>
                    <a:gd name="connsiteX86" fmla="*/ 32077 w 100803"/>
                    <a:gd name="connsiteY86" fmla="*/ 116280 h 124446"/>
                    <a:gd name="connsiteX87" fmla="*/ 30618 w 100803"/>
                    <a:gd name="connsiteY87" fmla="*/ 112931 h 124446"/>
                    <a:gd name="connsiteX88" fmla="*/ 30105 w 100803"/>
                    <a:gd name="connsiteY88" fmla="*/ 111415 h 124446"/>
                    <a:gd name="connsiteX89" fmla="*/ 28972 w 100803"/>
                    <a:gd name="connsiteY89" fmla="*/ 109956 h 124446"/>
                    <a:gd name="connsiteX90" fmla="*/ 27856 w 100803"/>
                    <a:gd name="connsiteY90" fmla="*/ 107870 h 124446"/>
                    <a:gd name="connsiteX91" fmla="*/ 27514 w 100803"/>
                    <a:gd name="connsiteY91" fmla="*/ 106028 h 124446"/>
                    <a:gd name="connsiteX92" fmla="*/ 26666 w 100803"/>
                    <a:gd name="connsiteY92" fmla="*/ 104349 h 124446"/>
                    <a:gd name="connsiteX93" fmla="*/ 26226 w 100803"/>
                    <a:gd name="connsiteY93" fmla="*/ 103779 h 124446"/>
                    <a:gd name="connsiteX94" fmla="*/ 25574 w 100803"/>
                    <a:gd name="connsiteY94" fmla="*/ 101481 h 124446"/>
                    <a:gd name="connsiteX95" fmla="*/ 25435 w 100803"/>
                    <a:gd name="connsiteY95" fmla="*/ 100625 h 124446"/>
                    <a:gd name="connsiteX96" fmla="*/ 25117 w 100803"/>
                    <a:gd name="connsiteY96" fmla="*/ 100519 h 124446"/>
                    <a:gd name="connsiteX97" fmla="*/ 24653 w 100803"/>
                    <a:gd name="connsiteY97" fmla="*/ 99777 h 124446"/>
                    <a:gd name="connsiteX98" fmla="*/ 23757 w 100803"/>
                    <a:gd name="connsiteY98" fmla="*/ 97316 h 124446"/>
                    <a:gd name="connsiteX99" fmla="*/ 23545 w 100803"/>
                    <a:gd name="connsiteY99" fmla="*/ 96705 h 124446"/>
                    <a:gd name="connsiteX100" fmla="*/ 23153 w 100803"/>
                    <a:gd name="connsiteY100" fmla="*/ 96485 h 124446"/>
                    <a:gd name="connsiteX101" fmla="*/ 22094 w 100803"/>
                    <a:gd name="connsiteY101" fmla="*/ 94765 h 124446"/>
                    <a:gd name="connsiteX102" fmla="*/ 21263 w 100803"/>
                    <a:gd name="connsiteY102" fmla="*/ 94162 h 124446"/>
                    <a:gd name="connsiteX103" fmla="*/ 20953 w 100803"/>
                    <a:gd name="connsiteY103" fmla="*/ 93274 h 124446"/>
                    <a:gd name="connsiteX104" fmla="*/ 21018 w 100803"/>
                    <a:gd name="connsiteY104" fmla="*/ 90862 h 124446"/>
                    <a:gd name="connsiteX105" fmla="*/ 20570 w 100803"/>
                    <a:gd name="connsiteY105" fmla="*/ 89680 h 124446"/>
                    <a:gd name="connsiteX106" fmla="*/ 20439 w 100803"/>
                    <a:gd name="connsiteY106" fmla="*/ 87414 h 124446"/>
                    <a:gd name="connsiteX107" fmla="*/ 20407 w 100803"/>
                    <a:gd name="connsiteY107" fmla="*/ 86501 h 124446"/>
                    <a:gd name="connsiteX108" fmla="*/ 19983 w 100803"/>
                    <a:gd name="connsiteY108" fmla="*/ 85507 h 124446"/>
                    <a:gd name="connsiteX109" fmla="*/ 19266 w 100803"/>
                    <a:gd name="connsiteY109" fmla="*/ 84847 h 124446"/>
                    <a:gd name="connsiteX110" fmla="*/ 19136 w 100803"/>
                    <a:gd name="connsiteY110" fmla="*/ 83209 h 124446"/>
                    <a:gd name="connsiteX111" fmla="*/ 18964 w 100803"/>
                    <a:gd name="connsiteY111" fmla="*/ 79175 h 124446"/>
                    <a:gd name="connsiteX112" fmla="*/ 18622 w 100803"/>
                    <a:gd name="connsiteY112" fmla="*/ 78466 h 124446"/>
                    <a:gd name="connsiteX113" fmla="*/ 15599 w 100803"/>
                    <a:gd name="connsiteY113" fmla="*/ 78515 h 124446"/>
                    <a:gd name="connsiteX114" fmla="*/ 15297 w 100803"/>
                    <a:gd name="connsiteY114" fmla="*/ 78914 h 124446"/>
                    <a:gd name="connsiteX115" fmla="*/ 13985 w 100803"/>
                    <a:gd name="connsiteY115" fmla="*/ 79150 h 124446"/>
                    <a:gd name="connsiteX116" fmla="*/ 12526 w 100803"/>
                    <a:gd name="connsiteY116" fmla="*/ 79191 h 124446"/>
                    <a:gd name="connsiteX117" fmla="*/ 11206 w 100803"/>
                    <a:gd name="connsiteY117" fmla="*/ 78653 h 124446"/>
                    <a:gd name="connsiteX118" fmla="*/ 10114 w 100803"/>
                    <a:gd name="connsiteY118" fmla="*/ 77944 h 124446"/>
                    <a:gd name="connsiteX119" fmla="*/ 9878 w 100803"/>
                    <a:gd name="connsiteY119" fmla="*/ 77072 h 124446"/>
                    <a:gd name="connsiteX120" fmla="*/ 10040 w 100803"/>
                    <a:gd name="connsiteY120" fmla="*/ 74260 h 124446"/>
                    <a:gd name="connsiteX121" fmla="*/ 8288 w 100803"/>
                    <a:gd name="connsiteY121" fmla="*/ 72133 h 124446"/>
                    <a:gd name="connsiteX122" fmla="*/ 5501 w 100803"/>
                    <a:gd name="connsiteY122" fmla="*/ 69509 h 124446"/>
                    <a:gd name="connsiteX123" fmla="*/ 4662 w 100803"/>
                    <a:gd name="connsiteY123" fmla="*/ 66176 h 124446"/>
                    <a:gd name="connsiteX124" fmla="*/ 3643 w 100803"/>
                    <a:gd name="connsiteY124" fmla="*/ 64090 h 124446"/>
                    <a:gd name="connsiteX125" fmla="*/ 554 w 100803"/>
                    <a:gd name="connsiteY125" fmla="*/ 59738 h 124446"/>
                    <a:gd name="connsiteX126" fmla="*/ 8 w 100803"/>
                    <a:gd name="connsiteY126" fmla="*/ 56747 h 124446"/>
                    <a:gd name="connsiteX127" fmla="*/ 0 w 100803"/>
                    <a:gd name="connsiteY127" fmla="*/ 54644 h 124446"/>
                    <a:gd name="connsiteX128" fmla="*/ 1092 w 100803"/>
                    <a:gd name="connsiteY128" fmla="*/ 52704 h 124446"/>
                    <a:gd name="connsiteX129" fmla="*/ 2600 w 100803"/>
                    <a:gd name="connsiteY129" fmla="*/ 49306 h 124446"/>
                    <a:gd name="connsiteX130" fmla="*/ 3227 w 100803"/>
                    <a:gd name="connsiteY130" fmla="*/ 46217 h 124446"/>
                    <a:gd name="connsiteX131" fmla="*/ 3675 w 100803"/>
                    <a:gd name="connsiteY131" fmla="*/ 44604 h 124446"/>
                    <a:gd name="connsiteX132" fmla="*/ 4458 w 100803"/>
                    <a:gd name="connsiteY132" fmla="*/ 42493 h 124446"/>
                    <a:gd name="connsiteX133" fmla="*/ 5175 w 100803"/>
                    <a:gd name="connsiteY133" fmla="*/ 39763 h 124446"/>
                    <a:gd name="connsiteX134" fmla="*/ 4629 w 100803"/>
                    <a:gd name="connsiteY134" fmla="*/ 38084 h 124446"/>
                    <a:gd name="connsiteX135" fmla="*/ 3716 w 100803"/>
                    <a:gd name="connsiteY135" fmla="*/ 36429 h 124446"/>
                    <a:gd name="connsiteX136" fmla="*/ 3407 w 100803"/>
                    <a:gd name="connsiteY136" fmla="*/ 35199 h 124446"/>
                    <a:gd name="connsiteX137" fmla="*/ 4303 w 100803"/>
                    <a:gd name="connsiteY137" fmla="*/ 33398 h 124446"/>
                    <a:gd name="connsiteX138" fmla="*/ 5200 w 100803"/>
                    <a:gd name="connsiteY138" fmla="*/ 32126 h 124446"/>
                    <a:gd name="connsiteX139" fmla="*/ 6210 w 100803"/>
                    <a:gd name="connsiteY139" fmla="*/ 31939 h 124446"/>
                    <a:gd name="connsiteX140" fmla="*/ 7506 w 100803"/>
                    <a:gd name="connsiteY140" fmla="*/ 31181 h 124446"/>
                    <a:gd name="connsiteX141" fmla="*/ 8517 w 100803"/>
                    <a:gd name="connsiteY141" fmla="*/ 30081 h 124446"/>
                    <a:gd name="connsiteX142" fmla="*/ 10065 w 100803"/>
                    <a:gd name="connsiteY142" fmla="*/ 29787 h 124446"/>
                    <a:gd name="connsiteX143" fmla="*/ 11996 w 100803"/>
                    <a:gd name="connsiteY143" fmla="*/ 29673 h 124446"/>
                    <a:gd name="connsiteX144" fmla="*/ 15933 w 100803"/>
                    <a:gd name="connsiteY144" fmla="*/ 29673 h 124446"/>
                    <a:gd name="connsiteX145" fmla="*/ 17946 w 100803"/>
                    <a:gd name="connsiteY145" fmla="*/ 29209 h 124446"/>
                    <a:gd name="connsiteX146" fmla="*/ 18573 w 100803"/>
                    <a:gd name="connsiteY146" fmla="*/ 28329 h 124446"/>
                    <a:gd name="connsiteX147" fmla="*/ 18475 w 100803"/>
                    <a:gd name="connsiteY147" fmla="*/ 26642 h 124446"/>
                    <a:gd name="connsiteX148" fmla="*/ 19478 w 100803"/>
                    <a:gd name="connsiteY148" fmla="*/ 25101 h 124446"/>
                    <a:gd name="connsiteX149" fmla="*/ 20529 w 100803"/>
                    <a:gd name="connsiteY149" fmla="*/ 24457 h 124446"/>
                    <a:gd name="connsiteX150" fmla="*/ 20953 w 100803"/>
                    <a:gd name="connsiteY150" fmla="*/ 23952 h 124446"/>
                    <a:gd name="connsiteX151" fmla="*/ 21018 w 100803"/>
                    <a:gd name="connsiteY151" fmla="*/ 23390 h 124446"/>
                    <a:gd name="connsiteX152" fmla="*/ 20733 w 100803"/>
                    <a:gd name="connsiteY152" fmla="*/ 22868 h 124446"/>
                    <a:gd name="connsiteX153" fmla="*/ 20317 w 100803"/>
                    <a:gd name="connsiteY153" fmla="*/ 22526 h 124446"/>
                    <a:gd name="connsiteX154" fmla="*/ 19217 w 100803"/>
                    <a:gd name="connsiteY154" fmla="*/ 22412 h 124446"/>
                    <a:gd name="connsiteX155" fmla="*/ 18255 w 100803"/>
                    <a:gd name="connsiteY155" fmla="*/ 19747 h 124446"/>
                    <a:gd name="connsiteX156" fmla="*/ 18916 w 100803"/>
                    <a:gd name="connsiteY156" fmla="*/ 18598 h 124446"/>
                    <a:gd name="connsiteX157" fmla="*/ 19771 w 100803"/>
                    <a:gd name="connsiteY157" fmla="*/ 16463 h 124446"/>
                    <a:gd name="connsiteX158" fmla="*/ 20007 w 100803"/>
                    <a:gd name="connsiteY158" fmla="*/ 15256 h 124446"/>
                    <a:gd name="connsiteX159" fmla="*/ 21328 w 100803"/>
                    <a:gd name="connsiteY159" fmla="*/ 13357 h 124446"/>
                    <a:gd name="connsiteX160" fmla="*/ 21638 w 100803"/>
                    <a:gd name="connsiteY160" fmla="*/ 13944 h 124446"/>
                    <a:gd name="connsiteX161" fmla="*/ 22664 w 100803"/>
                    <a:gd name="connsiteY161" fmla="*/ 10497 h 124446"/>
                    <a:gd name="connsiteX162" fmla="*/ 22779 w 100803"/>
                    <a:gd name="connsiteY162" fmla="*/ 7693 h 124446"/>
                    <a:gd name="connsiteX163" fmla="*/ 23561 w 100803"/>
                    <a:gd name="connsiteY163" fmla="*/ 4931 h 124446"/>
                    <a:gd name="connsiteX164" fmla="*/ 24751 w 100803"/>
                    <a:gd name="connsiteY164" fmla="*/ 1646 h 124446"/>
                    <a:gd name="connsiteX165" fmla="*/ 26902 w 100803"/>
                    <a:gd name="connsiteY165" fmla="*/ 16 h 124446"/>
                    <a:gd name="connsiteX166" fmla="*/ 39396 w 100803"/>
                    <a:gd name="connsiteY166" fmla="*/ 1671 h 124446"/>
                    <a:gd name="connsiteX167" fmla="*/ 45117 w 100803"/>
                    <a:gd name="connsiteY167" fmla="*/ 3244 h 124446"/>
                    <a:gd name="connsiteX168" fmla="*/ 52460 w 100803"/>
                    <a:gd name="connsiteY168" fmla="*/ 5941 h 124446"/>
                    <a:gd name="connsiteX169" fmla="*/ 53495 w 100803"/>
                    <a:gd name="connsiteY169" fmla="*/ 8834 h 124446"/>
                    <a:gd name="connsiteX170" fmla="*/ 53552 w 100803"/>
                    <a:gd name="connsiteY170" fmla="*/ 5941 h 124446"/>
                    <a:gd name="connsiteX171" fmla="*/ 53193 w 100803"/>
                    <a:gd name="connsiteY171" fmla="*/ 3032 h 124446"/>
                    <a:gd name="connsiteX172" fmla="*/ 55223 w 100803"/>
                    <a:gd name="connsiteY172" fmla="*/ 954 h 124446"/>
                    <a:gd name="connsiteX173" fmla="*/ 59680 w 100803"/>
                    <a:gd name="connsiteY173" fmla="*/ 228 h 124446"/>
                    <a:gd name="connsiteX174" fmla="*/ 66355 w 100803"/>
                    <a:gd name="connsiteY174" fmla="*/ 1231 h 124446"/>
                    <a:gd name="connsiteX175" fmla="*/ 72084 w 100803"/>
                    <a:gd name="connsiteY175" fmla="*/ 0 h 124446"/>
                    <a:gd name="connsiteX176" fmla="*/ 79884 w 100803"/>
                    <a:gd name="connsiteY176" fmla="*/ 155 h 124446"/>
                    <a:gd name="connsiteX177" fmla="*/ 91725 w 100803"/>
                    <a:gd name="connsiteY177" fmla="*/ 2510 h 124446"/>
                    <a:gd name="connsiteX178" fmla="*/ 97031 w 100803"/>
                    <a:gd name="connsiteY178" fmla="*/ 4116 h 124446"/>
                    <a:gd name="connsiteX179" fmla="*/ 99215 w 100803"/>
                    <a:gd name="connsiteY179" fmla="*/ 5575 h 124446"/>
                    <a:gd name="connsiteX180" fmla="*/ 99639 w 100803"/>
                    <a:gd name="connsiteY180" fmla="*/ 8191 h 124446"/>
                    <a:gd name="connsiteX181" fmla="*/ 99419 w 100803"/>
                    <a:gd name="connsiteY181" fmla="*/ 11548 h 124446"/>
                    <a:gd name="connsiteX182" fmla="*/ 98563 w 100803"/>
                    <a:gd name="connsiteY182" fmla="*/ 14743 h 124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100803" h="124446">
                      <a:moveTo>
                        <a:pt x="96689" y="19046"/>
                      </a:moveTo>
                      <a:lnTo>
                        <a:pt x="94610" y="21165"/>
                      </a:lnTo>
                      <a:lnTo>
                        <a:pt x="92336" y="24189"/>
                      </a:lnTo>
                      <a:lnTo>
                        <a:pt x="89346" y="29412"/>
                      </a:lnTo>
                      <a:lnTo>
                        <a:pt x="89476" y="31050"/>
                      </a:lnTo>
                      <a:lnTo>
                        <a:pt x="88816" y="32371"/>
                      </a:lnTo>
                      <a:lnTo>
                        <a:pt x="88661" y="34718"/>
                      </a:lnTo>
                      <a:lnTo>
                        <a:pt x="88881" y="37334"/>
                      </a:lnTo>
                      <a:lnTo>
                        <a:pt x="89647" y="39054"/>
                      </a:lnTo>
                      <a:lnTo>
                        <a:pt x="89989" y="42314"/>
                      </a:lnTo>
                      <a:lnTo>
                        <a:pt x="89411" y="45256"/>
                      </a:lnTo>
                      <a:lnTo>
                        <a:pt x="89631" y="46967"/>
                      </a:lnTo>
                      <a:lnTo>
                        <a:pt x="90242" y="49673"/>
                      </a:lnTo>
                      <a:lnTo>
                        <a:pt x="90731" y="52558"/>
                      </a:lnTo>
                      <a:lnTo>
                        <a:pt x="90682" y="53731"/>
                      </a:lnTo>
                      <a:lnTo>
                        <a:pt x="91407" y="54677"/>
                      </a:lnTo>
                      <a:lnTo>
                        <a:pt x="92076" y="55598"/>
                      </a:lnTo>
                      <a:lnTo>
                        <a:pt x="91864" y="58181"/>
                      </a:lnTo>
                      <a:lnTo>
                        <a:pt x="94227" y="62761"/>
                      </a:lnTo>
                      <a:lnTo>
                        <a:pt x="95670" y="64758"/>
                      </a:lnTo>
                      <a:lnTo>
                        <a:pt x="97764" y="66714"/>
                      </a:lnTo>
                      <a:lnTo>
                        <a:pt x="98530" y="68613"/>
                      </a:lnTo>
                      <a:lnTo>
                        <a:pt x="99712" y="70903"/>
                      </a:lnTo>
                      <a:lnTo>
                        <a:pt x="100413" y="71180"/>
                      </a:lnTo>
                      <a:lnTo>
                        <a:pt x="100804" y="72101"/>
                      </a:lnTo>
                      <a:lnTo>
                        <a:pt x="100413" y="73869"/>
                      </a:lnTo>
                      <a:lnTo>
                        <a:pt x="100323" y="76322"/>
                      </a:lnTo>
                      <a:lnTo>
                        <a:pt x="98987" y="79175"/>
                      </a:lnTo>
                      <a:lnTo>
                        <a:pt x="95898" y="84415"/>
                      </a:lnTo>
                      <a:lnTo>
                        <a:pt x="95523" y="85629"/>
                      </a:lnTo>
                      <a:lnTo>
                        <a:pt x="96330" y="89957"/>
                      </a:lnTo>
                      <a:lnTo>
                        <a:pt x="95898" y="93518"/>
                      </a:lnTo>
                      <a:lnTo>
                        <a:pt x="95710" y="95222"/>
                      </a:lnTo>
                      <a:lnTo>
                        <a:pt x="94203" y="98343"/>
                      </a:lnTo>
                      <a:lnTo>
                        <a:pt x="90592" y="105898"/>
                      </a:lnTo>
                      <a:lnTo>
                        <a:pt x="88522" y="107259"/>
                      </a:lnTo>
                      <a:lnTo>
                        <a:pt x="87267" y="109435"/>
                      </a:lnTo>
                      <a:lnTo>
                        <a:pt x="86461" y="109459"/>
                      </a:lnTo>
                      <a:lnTo>
                        <a:pt x="85564" y="109663"/>
                      </a:lnTo>
                      <a:lnTo>
                        <a:pt x="85271" y="109932"/>
                      </a:lnTo>
                      <a:lnTo>
                        <a:pt x="84146" y="109907"/>
                      </a:lnTo>
                      <a:lnTo>
                        <a:pt x="83266" y="108946"/>
                      </a:lnTo>
                      <a:lnTo>
                        <a:pt x="83127" y="107805"/>
                      </a:lnTo>
                      <a:lnTo>
                        <a:pt x="82646" y="106493"/>
                      </a:lnTo>
                      <a:lnTo>
                        <a:pt x="81538" y="106101"/>
                      </a:lnTo>
                      <a:lnTo>
                        <a:pt x="79436" y="106550"/>
                      </a:lnTo>
                      <a:lnTo>
                        <a:pt x="78832" y="106232"/>
                      </a:lnTo>
                      <a:lnTo>
                        <a:pt x="77585" y="104822"/>
                      </a:lnTo>
                      <a:lnTo>
                        <a:pt x="76542" y="103290"/>
                      </a:lnTo>
                      <a:lnTo>
                        <a:pt x="76290" y="101823"/>
                      </a:lnTo>
                      <a:lnTo>
                        <a:pt x="75613" y="101961"/>
                      </a:lnTo>
                      <a:lnTo>
                        <a:pt x="74016" y="103290"/>
                      </a:lnTo>
                      <a:lnTo>
                        <a:pt x="72932" y="103567"/>
                      </a:lnTo>
                      <a:lnTo>
                        <a:pt x="72068" y="103225"/>
                      </a:lnTo>
                      <a:lnTo>
                        <a:pt x="71106" y="103322"/>
                      </a:lnTo>
                      <a:lnTo>
                        <a:pt x="68661" y="104757"/>
                      </a:lnTo>
                      <a:lnTo>
                        <a:pt x="67235" y="105083"/>
                      </a:lnTo>
                      <a:lnTo>
                        <a:pt x="66208" y="106525"/>
                      </a:lnTo>
                      <a:lnTo>
                        <a:pt x="59420" y="107177"/>
                      </a:lnTo>
                      <a:lnTo>
                        <a:pt x="57643" y="107552"/>
                      </a:lnTo>
                      <a:lnTo>
                        <a:pt x="53593" y="105058"/>
                      </a:lnTo>
                      <a:lnTo>
                        <a:pt x="52541" y="104243"/>
                      </a:lnTo>
                      <a:lnTo>
                        <a:pt x="52012" y="104129"/>
                      </a:lnTo>
                      <a:lnTo>
                        <a:pt x="51563" y="104268"/>
                      </a:lnTo>
                      <a:lnTo>
                        <a:pt x="51115" y="104814"/>
                      </a:lnTo>
                      <a:lnTo>
                        <a:pt x="50447" y="107960"/>
                      </a:lnTo>
                      <a:lnTo>
                        <a:pt x="49836" y="108807"/>
                      </a:lnTo>
                      <a:lnTo>
                        <a:pt x="48776" y="109500"/>
                      </a:lnTo>
                      <a:lnTo>
                        <a:pt x="47749" y="110747"/>
                      </a:lnTo>
                      <a:lnTo>
                        <a:pt x="47546" y="111961"/>
                      </a:lnTo>
                      <a:lnTo>
                        <a:pt x="49127" y="112621"/>
                      </a:lnTo>
                      <a:lnTo>
                        <a:pt x="50455" y="114985"/>
                      </a:lnTo>
                      <a:lnTo>
                        <a:pt x="51898" y="116867"/>
                      </a:lnTo>
                      <a:lnTo>
                        <a:pt x="53055" y="118538"/>
                      </a:lnTo>
                      <a:lnTo>
                        <a:pt x="52900" y="120412"/>
                      </a:lnTo>
                      <a:lnTo>
                        <a:pt x="52704" y="123086"/>
                      </a:lnTo>
                      <a:lnTo>
                        <a:pt x="51865" y="123998"/>
                      </a:lnTo>
                      <a:lnTo>
                        <a:pt x="50463" y="124447"/>
                      </a:lnTo>
                      <a:lnTo>
                        <a:pt x="45329" y="123151"/>
                      </a:lnTo>
                      <a:lnTo>
                        <a:pt x="41393" y="122002"/>
                      </a:lnTo>
                      <a:lnTo>
                        <a:pt x="39722" y="121749"/>
                      </a:lnTo>
                      <a:lnTo>
                        <a:pt x="38980" y="121447"/>
                      </a:lnTo>
                      <a:lnTo>
                        <a:pt x="38002" y="120469"/>
                      </a:lnTo>
                      <a:lnTo>
                        <a:pt x="37000" y="119565"/>
                      </a:lnTo>
                      <a:lnTo>
                        <a:pt x="35402" y="119239"/>
                      </a:lnTo>
                      <a:lnTo>
                        <a:pt x="33487" y="118628"/>
                      </a:lnTo>
                      <a:lnTo>
                        <a:pt x="32077" y="116280"/>
                      </a:lnTo>
                      <a:lnTo>
                        <a:pt x="30618" y="112931"/>
                      </a:lnTo>
                      <a:lnTo>
                        <a:pt x="30105" y="111415"/>
                      </a:lnTo>
                      <a:lnTo>
                        <a:pt x="28972" y="109956"/>
                      </a:lnTo>
                      <a:lnTo>
                        <a:pt x="27856" y="107870"/>
                      </a:lnTo>
                      <a:lnTo>
                        <a:pt x="27514" y="106028"/>
                      </a:lnTo>
                      <a:lnTo>
                        <a:pt x="26666" y="104349"/>
                      </a:lnTo>
                      <a:lnTo>
                        <a:pt x="26226" y="103779"/>
                      </a:lnTo>
                      <a:lnTo>
                        <a:pt x="25574" y="101481"/>
                      </a:lnTo>
                      <a:lnTo>
                        <a:pt x="25435" y="100625"/>
                      </a:lnTo>
                      <a:lnTo>
                        <a:pt x="25117" y="100519"/>
                      </a:lnTo>
                      <a:lnTo>
                        <a:pt x="24653" y="99777"/>
                      </a:lnTo>
                      <a:lnTo>
                        <a:pt x="23757" y="97316"/>
                      </a:lnTo>
                      <a:lnTo>
                        <a:pt x="23545" y="96705"/>
                      </a:lnTo>
                      <a:lnTo>
                        <a:pt x="23153" y="96485"/>
                      </a:lnTo>
                      <a:lnTo>
                        <a:pt x="22094" y="94765"/>
                      </a:lnTo>
                      <a:lnTo>
                        <a:pt x="21263" y="94162"/>
                      </a:lnTo>
                      <a:lnTo>
                        <a:pt x="20953" y="93274"/>
                      </a:lnTo>
                      <a:lnTo>
                        <a:pt x="21018" y="90862"/>
                      </a:lnTo>
                      <a:lnTo>
                        <a:pt x="20570" y="89680"/>
                      </a:lnTo>
                      <a:lnTo>
                        <a:pt x="20439" y="87414"/>
                      </a:lnTo>
                      <a:lnTo>
                        <a:pt x="20407" y="86501"/>
                      </a:lnTo>
                      <a:lnTo>
                        <a:pt x="19983" y="85507"/>
                      </a:lnTo>
                      <a:lnTo>
                        <a:pt x="19266" y="84847"/>
                      </a:lnTo>
                      <a:lnTo>
                        <a:pt x="19136" y="83209"/>
                      </a:lnTo>
                      <a:lnTo>
                        <a:pt x="18964" y="79175"/>
                      </a:lnTo>
                      <a:lnTo>
                        <a:pt x="18622" y="78466"/>
                      </a:lnTo>
                      <a:lnTo>
                        <a:pt x="15599" y="78515"/>
                      </a:lnTo>
                      <a:lnTo>
                        <a:pt x="15297" y="78914"/>
                      </a:lnTo>
                      <a:lnTo>
                        <a:pt x="13985" y="79150"/>
                      </a:lnTo>
                      <a:lnTo>
                        <a:pt x="12526" y="79191"/>
                      </a:lnTo>
                      <a:lnTo>
                        <a:pt x="11206" y="78653"/>
                      </a:lnTo>
                      <a:lnTo>
                        <a:pt x="10114" y="77944"/>
                      </a:lnTo>
                      <a:lnTo>
                        <a:pt x="9878" y="77072"/>
                      </a:lnTo>
                      <a:lnTo>
                        <a:pt x="10040" y="74260"/>
                      </a:lnTo>
                      <a:lnTo>
                        <a:pt x="8288" y="72133"/>
                      </a:lnTo>
                      <a:lnTo>
                        <a:pt x="5501" y="69509"/>
                      </a:lnTo>
                      <a:lnTo>
                        <a:pt x="4662" y="66176"/>
                      </a:lnTo>
                      <a:lnTo>
                        <a:pt x="3643" y="64090"/>
                      </a:lnTo>
                      <a:lnTo>
                        <a:pt x="554" y="59738"/>
                      </a:lnTo>
                      <a:lnTo>
                        <a:pt x="8" y="56747"/>
                      </a:lnTo>
                      <a:lnTo>
                        <a:pt x="0" y="54644"/>
                      </a:lnTo>
                      <a:lnTo>
                        <a:pt x="1092" y="52704"/>
                      </a:lnTo>
                      <a:lnTo>
                        <a:pt x="2600" y="49306"/>
                      </a:lnTo>
                      <a:lnTo>
                        <a:pt x="3227" y="46217"/>
                      </a:lnTo>
                      <a:lnTo>
                        <a:pt x="3675" y="44604"/>
                      </a:lnTo>
                      <a:lnTo>
                        <a:pt x="4458" y="42493"/>
                      </a:lnTo>
                      <a:lnTo>
                        <a:pt x="5175" y="39763"/>
                      </a:lnTo>
                      <a:lnTo>
                        <a:pt x="4629" y="38084"/>
                      </a:lnTo>
                      <a:lnTo>
                        <a:pt x="3716" y="36429"/>
                      </a:lnTo>
                      <a:lnTo>
                        <a:pt x="3407" y="35199"/>
                      </a:lnTo>
                      <a:lnTo>
                        <a:pt x="4303" y="33398"/>
                      </a:lnTo>
                      <a:lnTo>
                        <a:pt x="5200" y="32126"/>
                      </a:lnTo>
                      <a:lnTo>
                        <a:pt x="6210" y="31939"/>
                      </a:lnTo>
                      <a:lnTo>
                        <a:pt x="7506" y="31181"/>
                      </a:lnTo>
                      <a:lnTo>
                        <a:pt x="8517" y="30081"/>
                      </a:lnTo>
                      <a:lnTo>
                        <a:pt x="10065" y="29787"/>
                      </a:lnTo>
                      <a:lnTo>
                        <a:pt x="11996" y="29673"/>
                      </a:lnTo>
                      <a:lnTo>
                        <a:pt x="15933" y="29673"/>
                      </a:lnTo>
                      <a:lnTo>
                        <a:pt x="17946" y="29209"/>
                      </a:lnTo>
                      <a:lnTo>
                        <a:pt x="18573" y="28329"/>
                      </a:lnTo>
                      <a:lnTo>
                        <a:pt x="18475" y="26642"/>
                      </a:lnTo>
                      <a:lnTo>
                        <a:pt x="19478" y="25101"/>
                      </a:lnTo>
                      <a:lnTo>
                        <a:pt x="20529" y="24457"/>
                      </a:lnTo>
                      <a:lnTo>
                        <a:pt x="20953" y="23952"/>
                      </a:lnTo>
                      <a:lnTo>
                        <a:pt x="21018" y="23390"/>
                      </a:lnTo>
                      <a:lnTo>
                        <a:pt x="20733" y="22868"/>
                      </a:lnTo>
                      <a:lnTo>
                        <a:pt x="20317" y="22526"/>
                      </a:lnTo>
                      <a:lnTo>
                        <a:pt x="19217" y="22412"/>
                      </a:lnTo>
                      <a:lnTo>
                        <a:pt x="18255" y="19747"/>
                      </a:lnTo>
                      <a:lnTo>
                        <a:pt x="18916" y="18598"/>
                      </a:lnTo>
                      <a:lnTo>
                        <a:pt x="19771" y="16463"/>
                      </a:lnTo>
                      <a:lnTo>
                        <a:pt x="20007" y="15256"/>
                      </a:lnTo>
                      <a:lnTo>
                        <a:pt x="21328" y="13357"/>
                      </a:lnTo>
                      <a:lnTo>
                        <a:pt x="21638" y="13944"/>
                      </a:lnTo>
                      <a:lnTo>
                        <a:pt x="22664" y="10497"/>
                      </a:lnTo>
                      <a:lnTo>
                        <a:pt x="22779" y="7693"/>
                      </a:lnTo>
                      <a:lnTo>
                        <a:pt x="23561" y="4931"/>
                      </a:lnTo>
                      <a:lnTo>
                        <a:pt x="24751" y="1646"/>
                      </a:lnTo>
                      <a:lnTo>
                        <a:pt x="26902" y="16"/>
                      </a:lnTo>
                      <a:lnTo>
                        <a:pt x="39396" y="1671"/>
                      </a:lnTo>
                      <a:lnTo>
                        <a:pt x="45117" y="3244"/>
                      </a:lnTo>
                      <a:lnTo>
                        <a:pt x="52460" y="5941"/>
                      </a:lnTo>
                      <a:lnTo>
                        <a:pt x="53495" y="8834"/>
                      </a:lnTo>
                      <a:lnTo>
                        <a:pt x="53552" y="5941"/>
                      </a:lnTo>
                      <a:lnTo>
                        <a:pt x="53193" y="3032"/>
                      </a:lnTo>
                      <a:lnTo>
                        <a:pt x="55223" y="954"/>
                      </a:lnTo>
                      <a:lnTo>
                        <a:pt x="59680" y="228"/>
                      </a:lnTo>
                      <a:lnTo>
                        <a:pt x="66355" y="1231"/>
                      </a:lnTo>
                      <a:lnTo>
                        <a:pt x="72084" y="0"/>
                      </a:lnTo>
                      <a:lnTo>
                        <a:pt x="79884" y="155"/>
                      </a:lnTo>
                      <a:lnTo>
                        <a:pt x="91725" y="2510"/>
                      </a:lnTo>
                      <a:lnTo>
                        <a:pt x="97031" y="4116"/>
                      </a:lnTo>
                      <a:lnTo>
                        <a:pt x="99215" y="5575"/>
                      </a:lnTo>
                      <a:lnTo>
                        <a:pt x="99639" y="8191"/>
                      </a:lnTo>
                      <a:lnTo>
                        <a:pt x="99419" y="11548"/>
                      </a:lnTo>
                      <a:lnTo>
                        <a:pt x="98563" y="14743"/>
                      </a:lnTo>
                      <a:close/>
                    </a:path>
                  </a:pathLst>
                </a:custGeom>
                <a:solidFill>
                  <a:srgbClr val="D6D6D2"/>
                </a:solidFill>
                <a:ln w="6112" cap="rnd">
                  <a:solidFill>
                    <a:srgbClr val="FFFFFF"/>
                  </a:solidFill>
                  <a:prstDash val="solid"/>
                  <a:round/>
                </a:ln>
              </p:spPr>
              <p:txBody>
                <a:bodyPr rtlCol="0" anchor="ctr"/>
                <a:lstStyle/>
                <a:p>
                  <a:endParaRPr lang="en-US"/>
                </a:p>
              </p:txBody>
            </p:sp>
            <p:sp>
              <p:nvSpPr>
                <p:cNvPr id="575" name="Freeform: Shape 574">
                  <a:extLst>
                    <a:ext uri="{FF2B5EF4-FFF2-40B4-BE49-F238E27FC236}">
                      <a16:creationId xmlns:a16="http://schemas.microsoft.com/office/drawing/2014/main" id="{58A882C6-C111-4A01-B23B-187E0494E6A2}"/>
                    </a:ext>
                  </a:extLst>
                </p:cNvPr>
                <p:cNvSpPr/>
                <p:nvPr/>
              </p:nvSpPr>
              <p:spPr>
                <a:xfrm>
                  <a:off x="6410881" y="3062255"/>
                  <a:ext cx="102629" cy="136980"/>
                </a:xfrm>
                <a:custGeom>
                  <a:avLst/>
                  <a:gdLst>
                    <a:gd name="connsiteX0" fmla="*/ 21955 w 102629"/>
                    <a:gd name="connsiteY0" fmla="*/ 611 h 136980"/>
                    <a:gd name="connsiteX1" fmla="*/ 24930 w 102629"/>
                    <a:gd name="connsiteY1" fmla="*/ 823 h 136980"/>
                    <a:gd name="connsiteX2" fmla="*/ 27155 w 102629"/>
                    <a:gd name="connsiteY2" fmla="*/ 269 h 136980"/>
                    <a:gd name="connsiteX3" fmla="*/ 32802 w 102629"/>
                    <a:gd name="connsiteY3" fmla="*/ 962 h 136980"/>
                    <a:gd name="connsiteX4" fmla="*/ 34001 w 102629"/>
                    <a:gd name="connsiteY4" fmla="*/ 1524 h 136980"/>
                    <a:gd name="connsiteX5" fmla="*/ 34791 w 102629"/>
                    <a:gd name="connsiteY5" fmla="*/ 2143 h 136980"/>
                    <a:gd name="connsiteX6" fmla="*/ 36274 w 102629"/>
                    <a:gd name="connsiteY6" fmla="*/ 4189 h 136980"/>
                    <a:gd name="connsiteX7" fmla="*/ 37684 w 102629"/>
                    <a:gd name="connsiteY7" fmla="*/ 6846 h 136980"/>
                    <a:gd name="connsiteX8" fmla="*/ 39656 w 102629"/>
                    <a:gd name="connsiteY8" fmla="*/ 8076 h 136980"/>
                    <a:gd name="connsiteX9" fmla="*/ 42004 w 102629"/>
                    <a:gd name="connsiteY9" fmla="*/ 9527 h 136980"/>
                    <a:gd name="connsiteX10" fmla="*/ 43201 w 102629"/>
                    <a:gd name="connsiteY10" fmla="*/ 10587 h 136980"/>
                    <a:gd name="connsiteX11" fmla="*/ 44986 w 102629"/>
                    <a:gd name="connsiteY11" fmla="*/ 13765 h 136980"/>
                    <a:gd name="connsiteX12" fmla="*/ 46388 w 102629"/>
                    <a:gd name="connsiteY12" fmla="*/ 15330 h 136980"/>
                    <a:gd name="connsiteX13" fmla="*/ 46853 w 102629"/>
                    <a:gd name="connsiteY13" fmla="*/ 15248 h 136980"/>
                    <a:gd name="connsiteX14" fmla="*/ 47317 w 102629"/>
                    <a:gd name="connsiteY14" fmla="*/ 14841 h 136980"/>
                    <a:gd name="connsiteX15" fmla="*/ 47643 w 102629"/>
                    <a:gd name="connsiteY15" fmla="*/ 14515 h 136980"/>
                    <a:gd name="connsiteX16" fmla="*/ 48010 w 102629"/>
                    <a:gd name="connsiteY16" fmla="*/ 14816 h 136980"/>
                    <a:gd name="connsiteX17" fmla="*/ 48034 w 102629"/>
                    <a:gd name="connsiteY17" fmla="*/ 15770 h 136980"/>
                    <a:gd name="connsiteX18" fmla="*/ 48124 w 102629"/>
                    <a:gd name="connsiteY18" fmla="*/ 17913 h 136980"/>
                    <a:gd name="connsiteX19" fmla="*/ 47790 w 102629"/>
                    <a:gd name="connsiteY19" fmla="*/ 20179 h 136980"/>
                    <a:gd name="connsiteX20" fmla="*/ 48287 w 102629"/>
                    <a:gd name="connsiteY20" fmla="*/ 22330 h 136980"/>
                    <a:gd name="connsiteX21" fmla="*/ 48295 w 102629"/>
                    <a:gd name="connsiteY21" fmla="*/ 22999 h 136980"/>
                    <a:gd name="connsiteX22" fmla="*/ 47953 w 102629"/>
                    <a:gd name="connsiteY22" fmla="*/ 23610 h 136980"/>
                    <a:gd name="connsiteX23" fmla="*/ 47994 w 102629"/>
                    <a:gd name="connsiteY23" fmla="*/ 24164 h 136980"/>
                    <a:gd name="connsiteX24" fmla="*/ 48491 w 102629"/>
                    <a:gd name="connsiteY24" fmla="*/ 24743 h 136980"/>
                    <a:gd name="connsiteX25" fmla="*/ 50381 w 102629"/>
                    <a:gd name="connsiteY25" fmla="*/ 26161 h 136980"/>
                    <a:gd name="connsiteX26" fmla="*/ 52150 w 102629"/>
                    <a:gd name="connsiteY26" fmla="*/ 28353 h 136980"/>
                    <a:gd name="connsiteX27" fmla="*/ 54179 w 102629"/>
                    <a:gd name="connsiteY27" fmla="*/ 29893 h 136980"/>
                    <a:gd name="connsiteX28" fmla="*/ 56078 w 102629"/>
                    <a:gd name="connsiteY28" fmla="*/ 30871 h 136980"/>
                    <a:gd name="connsiteX29" fmla="*/ 57260 w 102629"/>
                    <a:gd name="connsiteY29" fmla="*/ 30945 h 136980"/>
                    <a:gd name="connsiteX30" fmla="*/ 59207 w 102629"/>
                    <a:gd name="connsiteY30" fmla="*/ 32713 h 136980"/>
                    <a:gd name="connsiteX31" fmla="*/ 63070 w 102629"/>
                    <a:gd name="connsiteY31" fmla="*/ 33984 h 136980"/>
                    <a:gd name="connsiteX32" fmla="*/ 64293 w 102629"/>
                    <a:gd name="connsiteY32" fmla="*/ 34425 h 136980"/>
                    <a:gd name="connsiteX33" fmla="*/ 65141 w 102629"/>
                    <a:gd name="connsiteY33" fmla="*/ 35150 h 136980"/>
                    <a:gd name="connsiteX34" fmla="*/ 65752 w 102629"/>
                    <a:gd name="connsiteY34" fmla="*/ 35989 h 136980"/>
                    <a:gd name="connsiteX35" fmla="*/ 65793 w 102629"/>
                    <a:gd name="connsiteY35" fmla="*/ 36894 h 136980"/>
                    <a:gd name="connsiteX36" fmla="*/ 65206 w 102629"/>
                    <a:gd name="connsiteY36" fmla="*/ 37326 h 136980"/>
                    <a:gd name="connsiteX37" fmla="*/ 64375 w 102629"/>
                    <a:gd name="connsiteY37" fmla="*/ 38548 h 136980"/>
                    <a:gd name="connsiteX38" fmla="*/ 64024 w 102629"/>
                    <a:gd name="connsiteY38" fmla="*/ 40023 h 136980"/>
                    <a:gd name="connsiteX39" fmla="*/ 63421 w 102629"/>
                    <a:gd name="connsiteY39" fmla="*/ 40398 h 136980"/>
                    <a:gd name="connsiteX40" fmla="*/ 62802 w 102629"/>
                    <a:gd name="connsiteY40" fmla="*/ 40431 h 136980"/>
                    <a:gd name="connsiteX41" fmla="*/ 62345 w 102629"/>
                    <a:gd name="connsiteY41" fmla="*/ 40871 h 136980"/>
                    <a:gd name="connsiteX42" fmla="*/ 62460 w 102629"/>
                    <a:gd name="connsiteY42" fmla="*/ 41507 h 136980"/>
                    <a:gd name="connsiteX43" fmla="*/ 62956 w 102629"/>
                    <a:gd name="connsiteY43" fmla="*/ 42110 h 136980"/>
                    <a:gd name="connsiteX44" fmla="*/ 63763 w 102629"/>
                    <a:gd name="connsiteY44" fmla="*/ 42672 h 136980"/>
                    <a:gd name="connsiteX45" fmla="*/ 65295 w 102629"/>
                    <a:gd name="connsiteY45" fmla="*/ 43218 h 136980"/>
                    <a:gd name="connsiteX46" fmla="*/ 66819 w 102629"/>
                    <a:gd name="connsiteY46" fmla="*/ 44033 h 136980"/>
                    <a:gd name="connsiteX47" fmla="*/ 66795 w 102629"/>
                    <a:gd name="connsiteY47" fmla="*/ 44661 h 136980"/>
                    <a:gd name="connsiteX48" fmla="*/ 66494 w 102629"/>
                    <a:gd name="connsiteY48" fmla="*/ 45361 h 136980"/>
                    <a:gd name="connsiteX49" fmla="*/ 64570 w 102629"/>
                    <a:gd name="connsiteY49" fmla="*/ 45622 h 136980"/>
                    <a:gd name="connsiteX50" fmla="*/ 63128 w 102629"/>
                    <a:gd name="connsiteY50" fmla="*/ 45745 h 136980"/>
                    <a:gd name="connsiteX51" fmla="*/ 62475 w 102629"/>
                    <a:gd name="connsiteY51" fmla="*/ 46030 h 136980"/>
                    <a:gd name="connsiteX52" fmla="*/ 62525 w 102629"/>
                    <a:gd name="connsiteY52" fmla="*/ 47260 h 136980"/>
                    <a:gd name="connsiteX53" fmla="*/ 66575 w 102629"/>
                    <a:gd name="connsiteY53" fmla="*/ 48540 h 136980"/>
                    <a:gd name="connsiteX54" fmla="*/ 68409 w 102629"/>
                    <a:gd name="connsiteY54" fmla="*/ 49754 h 136980"/>
                    <a:gd name="connsiteX55" fmla="*/ 69370 w 102629"/>
                    <a:gd name="connsiteY55" fmla="*/ 51327 h 136980"/>
                    <a:gd name="connsiteX56" fmla="*/ 71954 w 102629"/>
                    <a:gd name="connsiteY56" fmla="*/ 52370 h 136980"/>
                    <a:gd name="connsiteX57" fmla="*/ 76143 w 102629"/>
                    <a:gd name="connsiteY57" fmla="*/ 52884 h 136980"/>
                    <a:gd name="connsiteX58" fmla="*/ 79068 w 102629"/>
                    <a:gd name="connsiteY58" fmla="*/ 54497 h 136980"/>
                    <a:gd name="connsiteX59" fmla="*/ 80706 w 102629"/>
                    <a:gd name="connsiteY59" fmla="*/ 57227 h 136980"/>
                    <a:gd name="connsiteX60" fmla="*/ 83380 w 102629"/>
                    <a:gd name="connsiteY60" fmla="*/ 56567 h 136980"/>
                    <a:gd name="connsiteX61" fmla="*/ 87096 w 102629"/>
                    <a:gd name="connsiteY61" fmla="*/ 52533 h 136980"/>
                    <a:gd name="connsiteX62" fmla="*/ 90739 w 102629"/>
                    <a:gd name="connsiteY62" fmla="*/ 51482 h 136980"/>
                    <a:gd name="connsiteX63" fmla="*/ 94325 w 102629"/>
                    <a:gd name="connsiteY63" fmla="*/ 53413 h 136980"/>
                    <a:gd name="connsiteX64" fmla="*/ 96281 w 102629"/>
                    <a:gd name="connsiteY64" fmla="*/ 55003 h 136980"/>
                    <a:gd name="connsiteX65" fmla="*/ 96607 w 102629"/>
                    <a:gd name="connsiteY65" fmla="*/ 56241 h 136980"/>
                    <a:gd name="connsiteX66" fmla="*/ 95784 w 102629"/>
                    <a:gd name="connsiteY66" fmla="*/ 56747 h 136980"/>
                    <a:gd name="connsiteX67" fmla="*/ 93779 w 102629"/>
                    <a:gd name="connsiteY67" fmla="*/ 56510 h 136980"/>
                    <a:gd name="connsiteX68" fmla="*/ 92133 w 102629"/>
                    <a:gd name="connsiteY68" fmla="*/ 57276 h 136980"/>
                    <a:gd name="connsiteX69" fmla="*/ 90853 w 102629"/>
                    <a:gd name="connsiteY69" fmla="*/ 59053 h 136980"/>
                    <a:gd name="connsiteX70" fmla="*/ 90666 w 102629"/>
                    <a:gd name="connsiteY70" fmla="*/ 60944 h 136980"/>
                    <a:gd name="connsiteX71" fmla="*/ 91554 w 102629"/>
                    <a:gd name="connsiteY71" fmla="*/ 62949 h 136980"/>
                    <a:gd name="connsiteX72" fmla="*/ 92825 w 102629"/>
                    <a:gd name="connsiteY72" fmla="*/ 64334 h 136980"/>
                    <a:gd name="connsiteX73" fmla="*/ 94472 w 102629"/>
                    <a:gd name="connsiteY73" fmla="*/ 65100 h 136980"/>
                    <a:gd name="connsiteX74" fmla="*/ 95351 w 102629"/>
                    <a:gd name="connsiteY74" fmla="*/ 66151 h 136980"/>
                    <a:gd name="connsiteX75" fmla="*/ 95466 w 102629"/>
                    <a:gd name="connsiteY75" fmla="*/ 67480 h 136980"/>
                    <a:gd name="connsiteX76" fmla="*/ 95881 w 102629"/>
                    <a:gd name="connsiteY76" fmla="*/ 67855 h 136980"/>
                    <a:gd name="connsiteX77" fmla="*/ 94953 w 102629"/>
                    <a:gd name="connsiteY77" fmla="*/ 68458 h 136980"/>
                    <a:gd name="connsiteX78" fmla="*/ 93942 w 102629"/>
                    <a:gd name="connsiteY78" fmla="*/ 69371 h 136980"/>
                    <a:gd name="connsiteX79" fmla="*/ 93363 w 102629"/>
                    <a:gd name="connsiteY79" fmla="*/ 70960 h 136980"/>
                    <a:gd name="connsiteX80" fmla="*/ 93208 w 102629"/>
                    <a:gd name="connsiteY80" fmla="*/ 73511 h 136980"/>
                    <a:gd name="connsiteX81" fmla="*/ 90038 w 102629"/>
                    <a:gd name="connsiteY81" fmla="*/ 75507 h 136980"/>
                    <a:gd name="connsiteX82" fmla="*/ 88840 w 102629"/>
                    <a:gd name="connsiteY82" fmla="*/ 75874 h 136980"/>
                    <a:gd name="connsiteX83" fmla="*/ 88294 w 102629"/>
                    <a:gd name="connsiteY83" fmla="*/ 77194 h 136980"/>
                    <a:gd name="connsiteX84" fmla="*/ 87454 w 102629"/>
                    <a:gd name="connsiteY84" fmla="*/ 80935 h 136980"/>
                    <a:gd name="connsiteX85" fmla="*/ 87577 w 102629"/>
                    <a:gd name="connsiteY85" fmla="*/ 83747 h 136980"/>
                    <a:gd name="connsiteX86" fmla="*/ 88001 w 102629"/>
                    <a:gd name="connsiteY86" fmla="*/ 85173 h 136980"/>
                    <a:gd name="connsiteX87" fmla="*/ 88196 w 102629"/>
                    <a:gd name="connsiteY87" fmla="*/ 86338 h 136980"/>
                    <a:gd name="connsiteX88" fmla="*/ 89223 w 102629"/>
                    <a:gd name="connsiteY88" fmla="*/ 87773 h 136980"/>
                    <a:gd name="connsiteX89" fmla="*/ 90152 w 102629"/>
                    <a:gd name="connsiteY89" fmla="*/ 89957 h 136980"/>
                    <a:gd name="connsiteX90" fmla="*/ 90780 w 102629"/>
                    <a:gd name="connsiteY90" fmla="*/ 92858 h 136980"/>
                    <a:gd name="connsiteX91" fmla="*/ 92149 w 102629"/>
                    <a:gd name="connsiteY91" fmla="*/ 95099 h 136980"/>
                    <a:gd name="connsiteX92" fmla="*/ 95686 w 102629"/>
                    <a:gd name="connsiteY92" fmla="*/ 97292 h 136980"/>
                    <a:gd name="connsiteX93" fmla="*/ 97438 w 102629"/>
                    <a:gd name="connsiteY93" fmla="*/ 98571 h 136980"/>
                    <a:gd name="connsiteX94" fmla="*/ 98725 w 102629"/>
                    <a:gd name="connsiteY94" fmla="*/ 100429 h 136980"/>
                    <a:gd name="connsiteX95" fmla="*/ 99712 w 102629"/>
                    <a:gd name="connsiteY95" fmla="*/ 102108 h 136980"/>
                    <a:gd name="connsiteX96" fmla="*/ 102629 w 102629"/>
                    <a:gd name="connsiteY96" fmla="*/ 104333 h 136980"/>
                    <a:gd name="connsiteX97" fmla="*/ 102409 w 102629"/>
                    <a:gd name="connsiteY97" fmla="*/ 105922 h 136980"/>
                    <a:gd name="connsiteX98" fmla="*/ 101774 w 102629"/>
                    <a:gd name="connsiteY98" fmla="*/ 107479 h 136980"/>
                    <a:gd name="connsiteX99" fmla="*/ 101097 w 102629"/>
                    <a:gd name="connsiteY99" fmla="*/ 108212 h 136980"/>
                    <a:gd name="connsiteX100" fmla="*/ 99655 w 102629"/>
                    <a:gd name="connsiteY100" fmla="*/ 110201 h 136980"/>
                    <a:gd name="connsiteX101" fmla="*/ 98229 w 102629"/>
                    <a:gd name="connsiteY101" fmla="*/ 111325 h 136980"/>
                    <a:gd name="connsiteX102" fmla="*/ 95906 w 102629"/>
                    <a:gd name="connsiteY102" fmla="*/ 114846 h 136980"/>
                    <a:gd name="connsiteX103" fmla="*/ 92239 w 102629"/>
                    <a:gd name="connsiteY103" fmla="*/ 115042 h 136980"/>
                    <a:gd name="connsiteX104" fmla="*/ 91375 w 102629"/>
                    <a:gd name="connsiteY104" fmla="*/ 115327 h 136980"/>
                    <a:gd name="connsiteX105" fmla="*/ 89973 w 102629"/>
                    <a:gd name="connsiteY105" fmla="*/ 116289 h 136980"/>
                    <a:gd name="connsiteX106" fmla="*/ 89296 w 102629"/>
                    <a:gd name="connsiteY106" fmla="*/ 118041 h 136980"/>
                    <a:gd name="connsiteX107" fmla="*/ 89940 w 102629"/>
                    <a:gd name="connsiteY107" fmla="*/ 119451 h 136980"/>
                    <a:gd name="connsiteX108" fmla="*/ 89891 w 102629"/>
                    <a:gd name="connsiteY108" fmla="*/ 120877 h 136980"/>
                    <a:gd name="connsiteX109" fmla="*/ 89223 w 102629"/>
                    <a:gd name="connsiteY109" fmla="*/ 123656 h 136980"/>
                    <a:gd name="connsiteX110" fmla="*/ 90103 w 102629"/>
                    <a:gd name="connsiteY110" fmla="*/ 126614 h 136980"/>
                    <a:gd name="connsiteX111" fmla="*/ 91399 w 102629"/>
                    <a:gd name="connsiteY111" fmla="*/ 127967 h 136980"/>
                    <a:gd name="connsiteX112" fmla="*/ 91603 w 102629"/>
                    <a:gd name="connsiteY112" fmla="*/ 128750 h 136980"/>
                    <a:gd name="connsiteX113" fmla="*/ 91391 w 102629"/>
                    <a:gd name="connsiteY113" fmla="*/ 130135 h 136980"/>
                    <a:gd name="connsiteX114" fmla="*/ 89451 w 102629"/>
                    <a:gd name="connsiteY114" fmla="*/ 132955 h 136980"/>
                    <a:gd name="connsiteX115" fmla="*/ 88873 w 102629"/>
                    <a:gd name="connsiteY115" fmla="*/ 133998 h 136980"/>
                    <a:gd name="connsiteX116" fmla="*/ 86933 w 102629"/>
                    <a:gd name="connsiteY116" fmla="*/ 134511 h 136980"/>
                    <a:gd name="connsiteX117" fmla="*/ 86273 w 102629"/>
                    <a:gd name="connsiteY117" fmla="*/ 134242 h 136980"/>
                    <a:gd name="connsiteX118" fmla="*/ 85270 w 102629"/>
                    <a:gd name="connsiteY118" fmla="*/ 133273 h 136980"/>
                    <a:gd name="connsiteX119" fmla="*/ 84342 w 102629"/>
                    <a:gd name="connsiteY119" fmla="*/ 132995 h 136980"/>
                    <a:gd name="connsiteX120" fmla="*/ 82035 w 102629"/>
                    <a:gd name="connsiteY120" fmla="*/ 134128 h 136980"/>
                    <a:gd name="connsiteX121" fmla="*/ 79688 w 102629"/>
                    <a:gd name="connsiteY121" fmla="*/ 134829 h 136980"/>
                    <a:gd name="connsiteX122" fmla="*/ 77838 w 102629"/>
                    <a:gd name="connsiteY122" fmla="*/ 134291 h 136980"/>
                    <a:gd name="connsiteX123" fmla="*/ 76021 w 102629"/>
                    <a:gd name="connsiteY123" fmla="*/ 134234 h 136980"/>
                    <a:gd name="connsiteX124" fmla="*/ 74757 w 102629"/>
                    <a:gd name="connsiteY124" fmla="*/ 134699 h 136980"/>
                    <a:gd name="connsiteX125" fmla="*/ 73796 w 102629"/>
                    <a:gd name="connsiteY125" fmla="*/ 134878 h 136980"/>
                    <a:gd name="connsiteX126" fmla="*/ 71929 w 102629"/>
                    <a:gd name="connsiteY126" fmla="*/ 136101 h 136980"/>
                    <a:gd name="connsiteX127" fmla="*/ 68930 w 102629"/>
                    <a:gd name="connsiteY127" fmla="*/ 136981 h 136980"/>
                    <a:gd name="connsiteX128" fmla="*/ 67553 w 102629"/>
                    <a:gd name="connsiteY128" fmla="*/ 136793 h 136980"/>
                    <a:gd name="connsiteX129" fmla="*/ 67023 w 102629"/>
                    <a:gd name="connsiteY129" fmla="*/ 135652 h 136980"/>
                    <a:gd name="connsiteX130" fmla="*/ 66469 w 102629"/>
                    <a:gd name="connsiteY130" fmla="*/ 134014 h 136980"/>
                    <a:gd name="connsiteX131" fmla="*/ 66738 w 102629"/>
                    <a:gd name="connsiteY131" fmla="*/ 133273 h 136980"/>
                    <a:gd name="connsiteX132" fmla="*/ 68718 w 102629"/>
                    <a:gd name="connsiteY132" fmla="*/ 131977 h 136980"/>
                    <a:gd name="connsiteX133" fmla="*/ 68946 w 102629"/>
                    <a:gd name="connsiteY133" fmla="*/ 130746 h 136980"/>
                    <a:gd name="connsiteX134" fmla="*/ 71726 w 102629"/>
                    <a:gd name="connsiteY134" fmla="*/ 124813 h 136980"/>
                    <a:gd name="connsiteX135" fmla="*/ 72255 w 102629"/>
                    <a:gd name="connsiteY135" fmla="*/ 122874 h 136980"/>
                    <a:gd name="connsiteX136" fmla="*/ 72272 w 102629"/>
                    <a:gd name="connsiteY136" fmla="*/ 122246 h 136980"/>
                    <a:gd name="connsiteX137" fmla="*/ 71546 w 102629"/>
                    <a:gd name="connsiteY137" fmla="*/ 121822 h 136980"/>
                    <a:gd name="connsiteX138" fmla="*/ 70022 w 102629"/>
                    <a:gd name="connsiteY138" fmla="*/ 121847 h 136980"/>
                    <a:gd name="connsiteX139" fmla="*/ 63282 w 102629"/>
                    <a:gd name="connsiteY139" fmla="*/ 119426 h 136980"/>
                    <a:gd name="connsiteX140" fmla="*/ 63592 w 102629"/>
                    <a:gd name="connsiteY140" fmla="*/ 116663 h 136980"/>
                    <a:gd name="connsiteX141" fmla="*/ 61612 w 102629"/>
                    <a:gd name="connsiteY141" fmla="*/ 115172 h 136980"/>
                    <a:gd name="connsiteX142" fmla="*/ 59484 w 102629"/>
                    <a:gd name="connsiteY142" fmla="*/ 113844 h 136980"/>
                    <a:gd name="connsiteX143" fmla="*/ 59126 w 102629"/>
                    <a:gd name="connsiteY143" fmla="*/ 112352 h 136980"/>
                    <a:gd name="connsiteX144" fmla="*/ 56746 w 102629"/>
                    <a:gd name="connsiteY144" fmla="*/ 109345 h 136980"/>
                    <a:gd name="connsiteX145" fmla="*/ 55011 w 102629"/>
                    <a:gd name="connsiteY145" fmla="*/ 107666 h 136980"/>
                    <a:gd name="connsiteX146" fmla="*/ 52794 w 102629"/>
                    <a:gd name="connsiteY146" fmla="*/ 106827 h 136980"/>
                    <a:gd name="connsiteX147" fmla="*/ 50887 w 102629"/>
                    <a:gd name="connsiteY147" fmla="*/ 105588 h 136980"/>
                    <a:gd name="connsiteX148" fmla="*/ 49730 w 102629"/>
                    <a:gd name="connsiteY148" fmla="*/ 104838 h 136980"/>
                    <a:gd name="connsiteX149" fmla="*/ 49224 w 102629"/>
                    <a:gd name="connsiteY149" fmla="*/ 103428 h 136980"/>
                    <a:gd name="connsiteX150" fmla="*/ 49224 w 102629"/>
                    <a:gd name="connsiteY150" fmla="*/ 102605 h 136980"/>
                    <a:gd name="connsiteX151" fmla="*/ 48646 w 102629"/>
                    <a:gd name="connsiteY151" fmla="*/ 101806 h 136980"/>
                    <a:gd name="connsiteX152" fmla="*/ 47733 w 102629"/>
                    <a:gd name="connsiteY152" fmla="*/ 101880 h 136980"/>
                    <a:gd name="connsiteX153" fmla="*/ 46168 w 102629"/>
                    <a:gd name="connsiteY153" fmla="*/ 103005 h 136980"/>
                    <a:gd name="connsiteX154" fmla="*/ 44245 w 102629"/>
                    <a:gd name="connsiteY154" fmla="*/ 103966 h 136980"/>
                    <a:gd name="connsiteX155" fmla="*/ 43919 w 102629"/>
                    <a:gd name="connsiteY155" fmla="*/ 104667 h 136980"/>
                    <a:gd name="connsiteX156" fmla="*/ 44595 w 102629"/>
                    <a:gd name="connsiteY156" fmla="*/ 106330 h 136980"/>
                    <a:gd name="connsiteX157" fmla="*/ 45101 w 102629"/>
                    <a:gd name="connsiteY157" fmla="*/ 107381 h 136980"/>
                    <a:gd name="connsiteX158" fmla="*/ 44880 w 102629"/>
                    <a:gd name="connsiteY158" fmla="*/ 108383 h 136980"/>
                    <a:gd name="connsiteX159" fmla="*/ 44261 w 102629"/>
                    <a:gd name="connsiteY159" fmla="*/ 109655 h 136980"/>
                    <a:gd name="connsiteX160" fmla="*/ 40578 w 102629"/>
                    <a:gd name="connsiteY160" fmla="*/ 112466 h 136980"/>
                    <a:gd name="connsiteX161" fmla="*/ 40154 w 102629"/>
                    <a:gd name="connsiteY161" fmla="*/ 113444 h 136980"/>
                    <a:gd name="connsiteX162" fmla="*/ 40863 w 102629"/>
                    <a:gd name="connsiteY162" fmla="*/ 115017 h 136980"/>
                    <a:gd name="connsiteX163" fmla="*/ 40422 w 102629"/>
                    <a:gd name="connsiteY163" fmla="*/ 115751 h 136980"/>
                    <a:gd name="connsiteX164" fmla="*/ 37334 w 102629"/>
                    <a:gd name="connsiteY164" fmla="*/ 116786 h 136980"/>
                    <a:gd name="connsiteX165" fmla="*/ 37415 w 102629"/>
                    <a:gd name="connsiteY165" fmla="*/ 115930 h 136980"/>
                    <a:gd name="connsiteX166" fmla="*/ 37219 w 102629"/>
                    <a:gd name="connsiteY166" fmla="*/ 114545 h 136980"/>
                    <a:gd name="connsiteX167" fmla="*/ 35459 w 102629"/>
                    <a:gd name="connsiteY167" fmla="*/ 113069 h 136980"/>
                    <a:gd name="connsiteX168" fmla="*/ 32958 w 102629"/>
                    <a:gd name="connsiteY168" fmla="*/ 111928 h 136980"/>
                    <a:gd name="connsiteX169" fmla="*/ 27399 w 102629"/>
                    <a:gd name="connsiteY169" fmla="*/ 108017 h 136980"/>
                    <a:gd name="connsiteX170" fmla="*/ 25264 w 102629"/>
                    <a:gd name="connsiteY170" fmla="*/ 107495 h 136980"/>
                    <a:gd name="connsiteX171" fmla="*/ 23365 w 102629"/>
                    <a:gd name="connsiteY171" fmla="*/ 107039 h 136980"/>
                    <a:gd name="connsiteX172" fmla="*/ 20627 w 102629"/>
                    <a:gd name="connsiteY172" fmla="*/ 105164 h 136980"/>
                    <a:gd name="connsiteX173" fmla="*/ 19233 w 102629"/>
                    <a:gd name="connsiteY173" fmla="*/ 104838 h 136980"/>
                    <a:gd name="connsiteX174" fmla="*/ 17668 w 102629"/>
                    <a:gd name="connsiteY174" fmla="*/ 103493 h 136980"/>
                    <a:gd name="connsiteX175" fmla="*/ 14278 w 102629"/>
                    <a:gd name="connsiteY175" fmla="*/ 98970 h 136980"/>
                    <a:gd name="connsiteX176" fmla="*/ 11385 w 102629"/>
                    <a:gd name="connsiteY176" fmla="*/ 96501 h 136980"/>
                    <a:gd name="connsiteX177" fmla="*/ 9413 w 102629"/>
                    <a:gd name="connsiteY177" fmla="*/ 95254 h 136980"/>
                    <a:gd name="connsiteX178" fmla="*/ 8867 w 102629"/>
                    <a:gd name="connsiteY178" fmla="*/ 94032 h 136980"/>
                    <a:gd name="connsiteX179" fmla="*/ 8745 w 102629"/>
                    <a:gd name="connsiteY179" fmla="*/ 92793 h 136980"/>
                    <a:gd name="connsiteX180" fmla="*/ 8818 w 102629"/>
                    <a:gd name="connsiteY180" fmla="*/ 92361 h 136980"/>
                    <a:gd name="connsiteX181" fmla="*/ 10301 w 102629"/>
                    <a:gd name="connsiteY181" fmla="*/ 90584 h 136980"/>
                    <a:gd name="connsiteX182" fmla="*/ 11450 w 102629"/>
                    <a:gd name="connsiteY182" fmla="*/ 90324 h 136980"/>
                    <a:gd name="connsiteX183" fmla="*/ 12933 w 102629"/>
                    <a:gd name="connsiteY183" fmla="*/ 90275 h 136980"/>
                    <a:gd name="connsiteX184" fmla="*/ 13903 w 102629"/>
                    <a:gd name="connsiteY184" fmla="*/ 91171 h 136980"/>
                    <a:gd name="connsiteX185" fmla="*/ 15183 w 102629"/>
                    <a:gd name="connsiteY185" fmla="*/ 91359 h 136980"/>
                    <a:gd name="connsiteX186" fmla="*/ 15892 w 102629"/>
                    <a:gd name="connsiteY186" fmla="*/ 90209 h 136980"/>
                    <a:gd name="connsiteX187" fmla="*/ 16275 w 102629"/>
                    <a:gd name="connsiteY187" fmla="*/ 88555 h 136980"/>
                    <a:gd name="connsiteX188" fmla="*/ 16096 w 102629"/>
                    <a:gd name="connsiteY188" fmla="*/ 86444 h 136980"/>
                    <a:gd name="connsiteX189" fmla="*/ 13015 w 102629"/>
                    <a:gd name="connsiteY189" fmla="*/ 81538 h 136980"/>
                    <a:gd name="connsiteX190" fmla="*/ 10366 w 102629"/>
                    <a:gd name="connsiteY190" fmla="*/ 78107 h 136980"/>
                    <a:gd name="connsiteX191" fmla="*/ 10065 w 102629"/>
                    <a:gd name="connsiteY191" fmla="*/ 77357 h 136980"/>
                    <a:gd name="connsiteX192" fmla="*/ 10635 w 102629"/>
                    <a:gd name="connsiteY192" fmla="*/ 76705 h 136980"/>
                    <a:gd name="connsiteX193" fmla="*/ 11565 w 102629"/>
                    <a:gd name="connsiteY193" fmla="*/ 76363 h 136980"/>
                    <a:gd name="connsiteX194" fmla="*/ 12550 w 102629"/>
                    <a:gd name="connsiteY194" fmla="*/ 76648 h 136980"/>
                    <a:gd name="connsiteX195" fmla="*/ 15142 w 102629"/>
                    <a:gd name="connsiteY195" fmla="*/ 76901 h 136980"/>
                    <a:gd name="connsiteX196" fmla="*/ 17620 w 102629"/>
                    <a:gd name="connsiteY196" fmla="*/ 76583 h 136980"/>
                    <a:gd name="connsiteX197" fmla="*/ 18459 w 102629"/>
                    <a:gd name="connsiteY197" fmla="*/ 75744 h 136980"/>
                    <a:gd name="connsiteX198" fmla="*/ 18459 w 102629"/>
                    <a:gd name="connsiteY198" fmla="*/ 74619 h 136980"/>
                    <a:gd name="connsiteX199" fmla="*/ 17571 w 102629"/>
                    <a:gd name="connsiteY199" fmla="*/ 73576 h 136980"/>
                    <a:gd name="connsiteX200" fmla="*/ 14661 w 102629"/>
                    <a:gd name="connsiteY200" fmla="*/ 70748 h 136980"/>
                    <a:gd name="connsiteX201" fmla="*/ 12396 w 102629"/>
                    <a:gd name="connsiteY201" fmla="*/ 68262 h 136980"/>
                    <a:gd name="connsiteX202" fmla="*/ 9731 w 102629"/>
                    <a:gd name="connsiteY202" fmla="*/ 66347 h 136980"/>
                    <a:gd name="connsiteX203" fmla="*/ 7758 w 102629"/>
                    <a:gd name="connsiteY203" fmla="*/ 65589 h 136980"/>
                    <a:gd name="connsiteX204" fmla="*/ 7180 w 102629"/>
                    <a:gd name="connsiteY204" fmla="*/ 64619 h 136980"/>
                    <a:gd name="connsiteX205" fmla="*/ 6919 w 102629"/>
                    <a:gd name="connsiteY205" fmla="*/ 63584 h 136980"/>
                    <a:gd name="connsiteX206" fmla="*/ 7155 w 102629"/>
                    <a:gd name="connsiteY206" fmla="*/ 61677 h 136980"/>
                    <a:gd name="connsiteX207" fmla="*/ 7269 w 102629"/>
                    <a:gd name="connsiteY207" fmla="*/ 59257 h 136980"/>
                    <a:gd name="connsiteX208" fmla="*/ 7750 w 102629"/>
                    <a:gd name="connsiteY208" fmla="*/ 57733 h 136980"/>
                    <a:gd name="connsiteX209" fmla="*/ 9527 w 102629"/>
                    <a:gd name="connsiteY209" fmla="*/ 54856 h 136980"/>
                    <a:gd name="connsiteX210" fmla="*/ 11230 w 102629"/>
                    <a:gd name="connsiteY210" fmla="*/ 51808 h 136980"/>
                    <a:gd name="connsiteX211" fmla="*/ 12290 w 102629"/>
                    <a:gd name="connsiteY211" fmla="*/ 48866 h 136980"/>
                    <a:gd name="connsiteX212" fmla="*/ 12844 w 102629"/>
                    <a:gd name="connsiteY212" fmla="*/ 46144 h 136980"/>
                    <a:gd name="connsiteX213" fmla="*/ 12640 w 102629"/>
                    <a:gd name="connsiteY213" fmla="*/ 45361 h 136980"/>
                    <a:gd name="connsiteX214" fmla="*/ 11744 w 102629"/>
                    <a:gd name="connsiteY214" fmla="*/ 44775 h 136980"/>
                    <a:gd name="connsiteX215" fmla="*/ 9869 w 102629"/>
                    <a:gd name="connsiteY215" fmla="*/ 44196 h 136980"/>
                    <a:gd name="connsiteX216" fmla="*/ 7253 w 102629"/>
                    <a:gd name="connsiteY216" fmla="*/ 44709 h 136980"/>
                    <a:gd name="connsiteX217" fmla="*/ 5036 w 102629"/>
                    <a:gd name="connsiteY217" fmla="*/ 45696 h 136980"/>
                    <a:gd name="connsiteX218" fmla="*/ 4172 w 102629"/>
                    <a:gd name="connsiteY218" fmla="*/ 45777 h 136980"/>
                    <a:gd name="connsiteX219" fmla="*/ 3879 w 102629"/>
                    <a:gd name="connsiteY219" fmla="*/ 44555 h 136980"/>
                    <a:gd name="connsiteX220" fmla="*/ 4230 w 102629"/>
                    <a:gd name="connsiteY220" fmla="*/ 44009 h 136980"/>
                    <a:gd name="connsiteX221" fmla="*/ 4922 w 102629"/>
                    <a:gd name="connsiteY221" fmla="*/ 44074 h 136980"/>
                    <a:gd name="connsiteX222" fmla="*/ 5493 w 102629"/>
                    <a:gd name="connsiteY222" fmla="*/ 44310 h 136980"/>
                    <a:gd name="connsiteX223" fmla="*/ 6104 w 102629"/>
                    <a:gd name="connsiteY223" fmla="*/ 43756 h 136980"/>
                    <a:gd name="connsiteX224" fmla="*/ 6479 w 102629"/>
                    <a:gd name="connsiteY224" fmla="*/ 42102 h 136980"/>
                    <a:gd name="connsiteX225" fmla="*/ 5550 w 102629"/>
                    <a:gd name="connsiteY225" fmla="*/ 36364 h 136980"/>
                    <a:gd name="connsiteX226" fmla="*/ 7204 w 102629"/>
                    <a:gd name="connsiteY226" fmla="*/ 35859 h 136980"/>
                    <a:gd name="connsiteX227" fmla="*/ 7229 w 102629"/>
                    <a:gd name="connsiteY227" fmla="*/ 35020 h 136980"/>
                    <a:gd name="connsiteX228" fmla="*/ 7384 w 102629"/>
                    <a:gd name="connsiteY228" fmla="*/ 34294 h 136980"/>
                    <a:gd name="connsiteX229" fmla="*/ 9095 w 102629"/>
                    <a:gd name="connsiteY229" fmla="*/ 35297 h 136980"/>
                    <a:gd name="connsiteX230" fmla="*/ 11507 w 102629"/>
                    <a:gd name="connsiteY230" fmla="*/ 35313 h 136980"/>
                    <a:gd name="connsiteX231" fmla="*/ 13618 w 102629"/>
                    <a:gd name="connsiteY231" fmla="*/ 35109 h 136980"/>
                    <a:gd name="connsiteX232" fmla="*/ 13944 w 102629"/>
                    <a:gd name="connsiteY232" fmla="*/ 34547 h 136980"/>
                    <a:gd name="connsiteX233" fmla="*/ 13919 w 102629"/>
                    <a:gd name="connsiteY233" fmla="*/ 33732 h 136980"/>
                    <a:gd name="connsiteX234" fmla="*/ 13480 w 102629"/>
                    <a:gd name="connsiteY234" fmla="*/ 33080 h 136980"/>
                    <a:gd name="connsiteX235" fmla="*/ 12722 w 102629"/>
                    <a:gd name="connsiteY235" fmla="*/ 32566 h 136980"/>
                    <a:gd name="connsiteX236" fmla="*/ 12184 w 102629"/>
                    <a:gd name="connsiteY236" fmla="*/ 31776 h 136980"/>
                    <a:gd name="connsiteX237" fmla="*/ 10766 w 102629"/>
                    <a:gd name="connsiteY237" fmla="*/ 31425 h 136980"/>
                    <a:gd name="connsiteX238" fmla="*/ 6299 w 102629"/>
                    <a:gd name="connsiteY238" fmla="*/ 29355 h 136980"/>
                    <a:gd name="connsiteX239" fmla="*/ 4107 w 102629"/>
                    <a:gd name="connsiteY239" fmla="*/ 27155 h 136980"/>
                    <a:gd name="connsiteX240" fmla="*/ 4172 w 102629"/>
                    <a:gd name="connsiteY240" fmla="*/ 24816 h 136980"/>
                    <a:gd name="connsiteX241" fmla="*/ 4817 w 102629"/>
                    <a:gd name="connsiteY241" fmla="*/ 23536 h 136980"/>
                    <a:gd name="connsiteX242" fmla="*/ 5583 w 102629"/>
                    <a:gd name="connsiteY242" fmla="*/ 23080 h 136980"/>
                    <a:gd name="connsiteX243" fmla="*/ 5362 w 102629"/>
                    <a:gd name="connsiteY243" fmla="*/ 22656 h 136980"/>
                    <a:gd name="connsiteX244" fmla="*/ 2844 w 102629"/>
                    <a:gd name="connsiteY244" fmla="*/ 21572 h 136980"/>
                    <a:gd name="connsiteX245" fmla="*/ 1956 w 102629"/>
                    <a:gd name="connsiteY245" fmla="*/ 20065 h 136980"/>
                    <a:gd name="connsiteX246" fmla="*/ 2689 w 102629"/>
                    <a:gd name="connsiteY246" fmla="*/ 18125 h 136980"/>
                    <a:gd name="connsiteX247" fmla="*/ 1385 w 102629"/>
                    <a:gd name="connsiteY247" fmla="*/ 14205 h 136980"/>
                    <a:gd name="connsiteX248" fmla="*/ 0 w 102629"/>
                    <a:gd name="connsiteY248" fmla="*/ 11785 h 136980"/>
                    <a:gd name="connsiteX249" fmla="*/ 1352 w 102629"/>
                    <a:gd name="connsiteY249" fmla="*/ 10733 h 136980"/>
                    <a:gd name="connsiteX250" fmla="*/ 1540 w 102629"/>
                    <a:gd name="connsiteY250" fmla="*/ 9242 h 136980"/>
                    <a:gd name="connsiteX251" fmla="*/ 1638 w 102629"/>
                    <a:gd name="connsiteY251" fmla="*/ 8394 h 136980"/>
                    <a:gd name="connsiteX252" fmla="*/ 2200 w 102629"/>
                    <a:gd name="connsiteY252" fmla="*/ 8402 h 136980"/>
                    <a:gd name="connsiteX253" fmla="*/ 4393 w 102629"/>
                    <a:gd name="connsiteY253" fmla="*/ 7400 h 136980"/>
                    <a:gd name="connsiteX254" fmla="*/ 5175 w 102629"/>
                    <a:gd name="connsiteY254" fmla="*/ 6593 h 136980"/>
                    <a:gd name="connsiteX255" fmla="*/ 5631 w 102629"/>
                    <a:gd name="connsiteY255" fmla="*/ 5640 h 136980"/>
                    <a:gd name="connsiteX256" fmla="*/ 6161 w 102629"/>
                    <a:gd name="connsiteY256" fmla="*/ 5403 h 136980"/>
                    <a:gd name="connsiteX257" fmla="*/ 7612 w 102629"/>
                    <a:gd name="connsiteY257" fmla="*/ 6438 h 136980"/>
                    <a:gd name="connsiteX258" fmla="*/ 9168 w 102629"/>
                    <a:gd name="connsiteY258" fmla="*/ 6528 h 136980"/>
                    <a:gd name="connsiteX259" fmla="*/ 10888 w 102629"/>
                    <a:gd name="connsiteY259" fmla="*/ 5876 h 136980"/>
                    <a:gd name="connsiteX260" fmla="*/ 12184 w 102629"/>
                    <a:gd name="connsiteY260" fmla="*/ 4971 h 136980"/>
                    <a:gd name="connsiteX261" fmla="*/ 13740 w 102629"/>
                    <a:gd name="connsiteY261" fmla="*/ 4214 h 136980"/>
                    <a:gd name="connsiteX262" fmla="*/ 14441 w 102629"/>
                    <a:gd name="connsiteY262" fmla="*/ 3700 h 136980"/>
                    <a:gd name="connsiteX263" fmla="*/ 15337 w 102629"/>
                    <a:gd name="connsiteY263" fmla="*/ 2893 h 136980"/>
                    <a:gd name="connsiteX264" fmla="*/ 17147 w 102629"/>
                    <a:gd name="connsiteY264" fmla="*/ 497 h 136980"/>
                    <a:gd name="connsiteX265" fmla="*/ 19209 w 102629"/>
                    <a:gd name="connsiteY265" fmla="*/ 0 h 136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102629" h="136980">
                      <a:moveTo>
                        <a:pt x="21955" y="611"/>
                      </a:moveTo>
                      <a:lnTo>
                        <a:pt x="24930" y="823"/>
                      </a:lnTo>
                      <a:lnTo>
                        <a:pt x="27155" y="269"/>
                      </a:lnTo>
                      <a:lnTo>
                        <a:pt x="32802" y="962"/>
                      </a:lnTo>
                      <a:lnTo>
                        <a:pt x="34001" y="1524"/>
                      </a:lnTo>
                      <a:lnTo>
                        <a:pt x="34791" y="2143"/>
                      </a:lnTo>
                      <a:lnTo>
                        <a:pt x="36274" y="4189"/>
                      </a:lnTo>
                      <a:lnTo>
                        <a:pt x="37684" y="6846"/>
                      </a:lnTo>
                      <a:lnTo>
                        <a:pt x="39656" y="8076"/>
                      </a:lnTo>
                      <a:lnTo>
                        <a:pt x="42004" y="9527"/>
                      </a:lnTo>
                      <a:lnTo>
                        <a:pt x="43201" y="10587"/>
                      </a:lnTo>
                      <a:lnTo>
                        <a:pt x="44986" y="13765"/>
                      </a:lnTo>
                      <a:lnTo>
                        <a:pt x="46388" y="15330"/>
                      </a:lnTo>
                      <a:lnTo>
                        <a:pt x="46853" y="15248"/>
                      </a:lnTo>
                      <a:lnTo>
                        <a:pt x="47317" y="14841"/>
                      </a:lnTo>
                      <a:lnTo>
                        <a:pt x="47643" y="14515"/>
                      </a:lnTo>
                      <a:lnTo>
                        <a:pt x="48010" y="14816"/>
                      </a:lnTo>
                      <a:lnTo>
                        <a:pt x="48034" y="15770"/>
                      </a:lnTo>
                      <a:lnTo>
                        <a:pt x="48124" y="17913"/>
                      </a:lnTo>
                      <a:lnTo>
                        <a:pt x="47790" y="20179"/>
                      </a:lnTo>
                      <a:lnTo>
                        <a:pt x="48287" y="22330"/>
                      </a:lnTo>
                      <a:lnTo>
                        <a:pt x="48295" y="22999"/>
                      </a:lnTo>
                      <a:lnTo>
                        <a:pt x="47953" y="23610"/>
                      </a:lnTo>
                      <a:lnTo>
                        <a:pt x="47994" y="24164"/>
                      </a:lnTo>
                      <a:lnTo>
                        <a:pt x="48491" y="24743"/>
                      </a:lnTo>
                      <a:lnTo>
                        <a:pt x="50381" y="26161"/>
                      </a:lnTo>
                      <a:lnTo>
                        <a:pt x="52150" y="28353"/>
                      </a:lnTo>
                      <a:lnTo>
                        <a:pt x="54179" y="29893"/>
                      </a:lnTo>
                      <a:lnTo>
                        <a:pt x="56078" y="30871"/>
                      </a:lnTo>
                      <a:lnTo>
                        <a:pt x="57260" y="30945"/>
                      </a:lnTo>
                      <a:lnTo>
                        <a:pt x="59207" y="32713"/>
                      </a:lnTo>
                      <a:lnTo>
                        <a:pt x="63070" y="33984"/>
                      </a:lnTo>
                      <a:lnTo>
                        <a:pt x="64293" y="34425"/>
                      </a:lnTo>
                      <a:lnTo>
                        <a:pt x="65141" y="35150"/>
                      </a:lnTo>
                      <a:lnTo>
                        <a:pt x="65752" y="35989"/>
                      </a:lnTo>
                      <a:lnTo>
                        <a:pt x="65793" y="36894"/>
                      </a:lnTo>
                      <a:lnTo>
                        <a:pt x="65206" y="37326"/>
                      </a:lnTo>
                      <a:lnTo>
                        <a:pt x="64375" y="38548"/>
                      </a:lnTo>
                      <a:lnTo>
                        <a:pt x="64024" y="40023"/>
                      </a:lnTo>
                      <a:lnTo>
                        <a:pt x="63421" y="40398"/>
                      </a:lnTo>
                      <a:lnTo>
                        <a:pt x="62802" y="40431"/>
                      </a:lnTo>
                      <a:lnTo>
                        <a:pt x="62345" y="40871"/>
                      </a:lnTo>
                      <a:lnTo>
                        <a:pt x="62460" y="41507"/>
                      </a:lnTo>
                      <a:lnTo>
                        <a:pt x="62956" y="42110"/>
                      </a:lnTo>
                      <a:lnTo>
                        <a:pt x="63763" y="42672"/>
                      </a:lnTo>
                      <a:lnTo>
                        <a:pt x="65295" y="43218"/>
                      </a:lnTo>
                      <a:lnTo>
                        <a:pt x="66819" y="44033"/>
                      </a:lnTo>
                      <a:lnTo>
                        <a:pt x="66795" y="44661"/>
                      </a:lnTo>
                      <a:lnTo>
                        <a:pt x="66494" y="45361"/>
                      </a:lnTo>
                      <a:lnTo>
                        <a:pt x="64570" y="45622"/>
                      </a:lnTo>
                      <a:lnTo>
                        <a:pt x="63128" y="45745"/>
                      </a:lnTo>
                      <a:lnTo>
                        <a:pt x="62475" y="46030"/>
                      </a:lnTo>
                      <a:lnTo>
                        <a:pt x="62525" y="47260"/>
                      </a:lnTo>
                      <a:lnTo>
                        <a:pt x="66575" y="48540"/>
                      </a:lnTo>
                      <a:lnTo>
                        <a:pt x="68409" y="49754"/>
                      </a:lnTo>
                      <a:lnTo>
                        <a:pt x="69370" y="51327"/>
                      </a:lnTo>
                      <a:lnTo>
                        <a:pt x="71954" y="52370"/>
                      </a:lnTo>
                      <a:lnTo>
                        <a:pt x="76143" y="52884"/>
                      </a:lnTo>
                      <a:lnTo>
                        <a:pt x="79068" y="54497"/>
                      </a:lnTo>
                      <a:lnTo>
                        <a:pt x="80706" y="57227"/>
                      </a:lnTo>
                      <a:lnTo>
                        <a:pt x="83380" y="56567"/>
                      </a:lnTo>
                      <a:lnTo>
                        <a:pt x="87096" y="52533"/>
                      </a:lnTo>
                      <a:lnTo>
                        <a:pt x="90739" y="51482"/>
                      </a:lnTo>
                      <a:lnTo>
                        <a:pt x="94325" y="53413"/>
                      </a:lnTo>
                      <a:lnTo>
                        <a:pt x="96281" y="55003"/>
                      </a:lnTo>
                      <a:lnTo>
                        <a:pt x="96607" y="56241"/>
                      </a:lnTo>
                      <a:lnTo>
                        <a:pt x="95784" y="56747"/>
                      </a:lnTo>
                      <a:lnTo>
                        <a:pt x="93779" y="56510"/>
                      </a:lnTo>
                      <a:lnTo>
                        <a:pt x="92133" y="57276"/>
                      </a:lnTo>
                      <a:lnTo>
                        <a:pt x="90853" y="59053"/>
                      </a:lnTo>
                      <a:lnTo>
                        <a:pt x="90666" y="60944"/>
                      </a:lnTo>
                      <a:lnTo>
                        <a:pt x="91554" y="62949"/>
                      </a:lnTo>
                      <a:lnTo>
                        <a:pt x="92825" y="64334"/>
                      </a:lnTo>
                      <a:lnTo>
                        <a:pt x="94472" y="65100"/>
                      </a:lnTo>
                      <a:lnTo>
                        <a:pt x="95351" y="66151"/>
                      </a:lnTo>
                      <a:lnTo>
                        <a:pt x="95466" y="67480"/>
                      </a:lnTo>
                      <a:lnTo>
                        <a:pt x="95881" y="67855"/>
                      </a:lnTo>
                      <a:lnTo>
                        <a:pt x="94953" y="68458"/>
                      </a:lnTo>
                      <a:lnTo>
                        <a:pt x="93942" y="69371"/>
                      </a:lnTo>
                      <a:lnTo>
                        <a:pt x="93363" y="70960"/>
                      </a:lnTo>
                      <a:lnTo>
                        <a:pt x="93208" y="73511"/>
                      </a:lnTo>
                      <a:lnTo>
                        <a:pt x="90038" y="75507"/>
                      </a:lnTo>
                      <a:lnTo>
                        <a:pt x="88840" y="75874"/>
                      </a:lnTo>
                      <a:lnTo>
                        <a:pt x="88294" y="77194"/>
                      </a:lnTo>
                      <a:lnTo>
                        <a:pt x="87454" y="80935"/>
                      </a:lnTo>
                      <a:lnTo>
                        <a:pt x="87577" y="83747"/>
                      </a:lnTo>
                      <a:lnTo>
                        <a:pt x="88001" y="85173"/>
                      </a:lnTo>
                      <a:lnTo>
                        <a:pt x="88196" y="86338"/>
                      </a:lnTo>
                      <a:lnTo>
                        <a:pt x="89223" y="87773"/>
                      </a:lnTo>
                      <a:lnTo>
                        <a:pt x="90152" y="89957"/>
                      </a:lnTo>
                      <a:lnTo>
                        <a:pt x="90780" y="92858"/>
                      </a:lnTo>
                      <a:lnTo>
                        <a:pt x="92149" y="95099"/>
                      </a:lnTo>
                      <a:lnTo>
                        <a:pt x="95686" y="97292"/>
                      </a:lnTo>
                      <a:lnTo>
                        <a:pt x="97438" y="98571"/>
                      </a:lnTo>
                      <a:lnTo>
                        <a:pt x="98725" y="100429"/>
                      </a:lnTo>
                      <a:lnTo>
                        <a:pt x="99712" y="102108"/>
                      </a:lnTo>
                      <a:lnTo>
                        <a:pt x="102629" y="104333"/>
                      </a:lnTo>
                      <a:lnTo>
                        <a:pt x="102409" y="105922"/>
                      </a:lnTo>
                      <a:lnTo>
                        <a:pt x="101774" y="107479"/>
                      </a:lnTo>
                      <a:lnTo>
                        <a:pt x="101097" y="108212"/>
                      </a:lnTo>
                      <a:lnTo>
                        <a:pt x="99655" y="110201"/>
                      </a:lnTo>
                      <a:lnTo>
                        <a:pt x="98229" y="111325"/>
                      </a:lnTo>
                      <a:lnTo>
                        <a:pt x="95906" y="114846"/>
                      </a:lnTo>
                      <a:lnTo>
                        <a:pt x="92239" y="115042"/>
                      </a:lnTo>
                      <a:lnTo>
                        <a:pt x="91375" y="115327"/>
                      </a:lnTo>
                      <a:lnTo>
                        <a:pt x="89973" y="116289"/>
                      </a:lnTo>
                      <a:lnTo>
                        <a:pt x="89296" y="118041"/>
                      </a:lnTo>
                      <a:lnTo>
                        <a:pt x="89940" y="119451"/>
                      </a:lnTo>
                      <a:lnTo>
                        <a:pt x="89891" y="120877"/>
                      </a:lnTo>
                      <a:lnTo>
                        <a:pt x="89223" y="123656"/>
                      </a:lnTo>
                      <a:lnTo>
                        <a:pt x="90103" y="126614"/>
                      </a:lnTo>
                      <a:lnTo>
                        <a:pt x="91399" y="127967"/>
                      </a:lnTo>
                      <a:lnTo>
                        <a:pt x="91603" y="128750"/>
                      </a:lnTo>
                      <a:lnTo>
                        <a:pt x="91391" y="130135"/>
                      </a:lnTo>
                      <a:lnTo>
                        <a:pt x="89451" y="132955"/>
                      </a:lnTo>
                      <a:lnTo>
                        <a:pt x="88873" y="133998"/>
                      </a:lnTo>
                      <a:lnTo>
                        <a:pt x="86933" y="134511"/>
                      </a:lnTo>
                      <a:lnTo>
                        <a:pt x="86273" y="134242"/>
                      </a:lnTo>
                      <a:lnTo>
                        <a:pt x="85270" y="133273"/>
                      </a:lnTo>
                      <a:lnTo>
                        <a:pt x="84342" y="132995"/>
                      </a:lnTo>
                      <a:lnTo>
                        <a:pt x="82035" y="134128"/>
                      </a:lnTo>
                      <a:lnTo>
                        <a:pt x="79688" y="134829"/>
                      </a:lnTo>
                      <a:lnTo>
                        <a:pt x="77838" y="134291"/>
                      </a:lnTo>
                      <a:lnTo>
                        <a:pt x="76021" y="134234"/>
                      </a:lnTo>
                      <a:lnTo>
                        <a:pt x="74757" y="134699"/>
                      </a:lnTo>
                      <a:lnTo>
                        <a:pt x="73796" y="134878"/>
                      </a:lnTo>
                      <a:lnTo>
                        <a:pt x="71929" y="136101"/>
                      </a:lnTo>
                      <a:lnTo>
                        <a:pt x="68930" y="136981"/>
                      </a:lnTo>
                      <a:lnTo>
                        <a:pt x="67553" y="136793"/>
                      </a:lnTo>
                      <a:lnTo>
                        <a:pt x="67023" y="135652"/>
                      </a:lnTo>
                      <a:lnTo>
                        <a:pt x="66469" y="134014"/>
                      </a:lnTo>
                      <a:lnTo>
                        <a:pt x="66738" y="133273"/>
                      </a:lnTo>
                      <a:lnTo>
                        <a:pt x="68718" y="131977"/>
                      </a:lnTo>
                      <a:lnTo>
                        <a:pt x="68946" y="130746"/>
                      </a:lnTo>
                      <a:lnTo>
                        <a:pt x="71726" y="124813"/>
                      </a:lnTo>
                      <a:lnTo>
                        <a:pt x="72255" y="122874"/>
                      </a:lnTo>
                      <a:lnTo>
                        <a:pt x="72272" y="122246"/>
                      </a:lnTo>
                      <a:lnTo>
                        <a:pt x="71546" y="121822"/>
                      </a:lnTo>
                      <a:lnTo>
                        <a:pt x="70022" y="121847"/>
                      </a:lnTo>
                      <a:lnTo>
                        <a:pt x="63282" y="119426"/>
                      </a:lnTo>
                      <a:lnTo>
                        <a:pt x="63592" y="116663"/>
                      </a:lnTo>
                      <a:lnTo>
                        <a:pt x="61612" y="115172"/>
                      </a:lnTo>
                      <a:lnTo>
                        <a:pt x="59484" y="113844"/>
                      </a:lnTo>
                      <a:lnTo>
                        <a:pt x="59126" y="112352"/>
                      </a:lnTo>
                      <a:lnTo>
                        <a:pt x="56746" y="109345"/>
                      </a:lnTo>
                      <a:lnTo>
                        <a:pt x="55011" y="107666"/>
                      </a:lnTo>
                      <a:lnTo>
                        <a:pt x="52794" y="106827"/>
                      </a:lnTo>
                      <a:lnTo>
                        <a:pt x="50887" y="105588"/>
                      </a:lnTo>
                      <a:lnTo>
                        <a:pt x="49730" y="104838"/>
                      </a:lnTo>
                      <a:lnTo>
                        <a:pt x="49224" y="103428"/>
                      </a:lnTo>
                      <a:lnTo>
                        <a:pt x="49224" y="102605"/>
                      </a:lnTo>
                      <a:lnTo>
                        <a:pt x="48646" y="101806"/>
                      </a:lnTo>
                      <a:lnTo>
                        <a:pt x="47733" y="101880"/>
                      </a:lnTo>
                      <a:lnTo>
                        <a:pt x="46168" y="103005"/>
                      </a:lnTo>
                      <a:lnTo>
                        <a:pt x="44245" y="103966"/>
                      </a:lnTo>
                      <a:lnTo>
                        <a:pt x="43919" y="104667"/>
                      </a:lnTo>
                      <a:lnTo>
                        <a:pt x="44595" y="106330"/>
                      </a:lnTo>
                      <a:lnTo>
                        <a:pt x="45101" y="107381"/>
                      </a:lnTo>
                      <a:lnTo>
                        <a:pt x="44880" y="108383"/>
                      </a:lnTo>
                      <a:lnTo>
                        <a:pt x="44261" y="109655"/>
                      </a:lnTo>
                      <a:lnTo>
                        <a:pt x="40578" y="112466"/>
                      </a:lnTo>
                      <a:lnTo>
                        <a:pt x="40154" y="113444"/>
                      </a:lnTo>
                      <a:lnTo>
                        <a:pt x="40863" y="115017"/>
                      </a:lnTo>
                      <a:lnTo>
                        <a:pt x="40422" y="115751"/>
                      </a:lnTo>
                      <a:lnTo>
                        <a:pt x="37334" y="116786"/>
                      </a:lnTo>
                      <a:lnTo>
                        <a:pt x="37415" y="115930"/>
                      </a:lnTo>
                      <a:lnTo>
                        <a:pt x="37219" y="114545"/>
                      </a:lnTo>
                      <a:lnTo>
                        <a:pt x="35459" y="113069"/>
                      </a:lnTo>
                      <a:lnTo>
                        <a:pt x="32958" y="111928"/>
                      </a:lnTo>
                      <a:lnTo>
                        <a:pt x="27399" y="108017"/>
                      </a:lnTo>
                      <a:lnTo>
                        <a:pt x="25264" y="107495"/>
                      </a:lnTo>
                      <a:lnTo>
                        <a:pt x="23365" y="107039"/>
                      </a:lnTo>
                      <a:lnTo>
                        <a:pt x="20627" y="105164"/>
                      </a:lnTo>
                      <a:lnTo>
                        <a:pt x="19233" y="104838"/>
                      </a:lnTo>
                      <a:lnTo>
                        <a:pt x="17668" y="103493"/>
                      </a:lnTo>
                      <a:lnTo>
                        <a:pt x="14278" y="98970"/>
                      </a:lnTo>
                      <a:lnTo>
                        <a:pt x="11385" y="96501"/>
                      </a:lnTo>
                      <a:lnTo>
                        <a:pt x="9413" y="95254"/>
                      </a:lnTo>
                      <a:lnTo>
                        <a:pt x="8867" y="94032"/>
                      </a:lnTo>
                      <a:lnTo>
                        <a:pt x="8745" y="92793"/>
                      </a:lnTo>
                      <a:lnTo>
                        <a:pt x="8818" y="92361"/>
                      </a:lnTo>
                      <a:lnTo>
                        <a:pt x="10301" y="90584"/>
                      </a:lnTo>
                      <a:lnTo>
                        <a:pt x="11450" y="90324"/>
                      </a:lnTo>
                      <a:lnTo>
                        <a:pt x="12933" y="90275"/>
                      </a:lnTo>
                      <a:lnTo>
                        <a:pt x="13903" y="91171"/>
                      </a:lnTo>
                      <a:lnTo>
                        <a:pt x="15183" y="91359"/>
                      </a:lnTo>
                      <a:lnTo>
                        <a:pt x="15892" y="90209"/>
                      </a:lnTo>
                      <a:lnTo>
                        <a:pt x="16275" y="88555"/>
                      </a:lnTo>
                      <a:lnTo>
                        <a:pt x="16096" y="86444"/>
                      </a:lnTo>
                      <a:lnTo>
                        <a:pt x="13015" y="81538"/>
                      </a:lnTo>
                      <a:lnTo>
                        <a:pt x="10366" y="78107"/>
                      </a:lnTo>
                      <a:lnTo>
                        <a:pt x="10065" y="77357"/>
                      </a:lnTo>
                      <a:lnTo>
                        <a:pt x="10635" y="76705"/>
                      </a:lnTo>
                      <a:lnTo>
                        <a:pt x="11565" y="76363"/>
                      </a:lnTo>
                      <a:lnTo>
                        <a:pt x="12550" y="76648"/>
                      </a:lnTo>
                      <a:lnTo>
                        <a:pt x="15142" y="76901"/>
                      </a:lnTo>
                      <a:lnTo>
                        <a:pt x="17620" y="76583"/>
                      </a:lnTo>
                      <a:lnTo>
                        <a:pt x="18459" y="75744"/>
                      </a:lnTo>
                      <a:lnTo>
                        <a:pt x="18459" y="74619"/>
                      </a:lnTo>
                      <a:lnTo>
                        <a:pt x="17571" y="73576"/>
                      </a:lnTo>
                      <a:lnTo>
                        <a:pt x="14661" y="70748"/>
                      </a:lnTo>
                      <a:lnTo>
                        <a:pt x="12396" y="68262"/>
                      </a:lnTo>
                      <a:lnTo>
                        <a:pt x="9731" y="66347"/>
                      </a:lnTo>
                      <a:lnTo>
                        <a:pt x="7758" y="65589"/>
                      </a:lnTo>
                      <a:lnTo>
                        <a:pt x="7180" y="64619"/>
                      </a:lnTo>
                      <a:lnTo>
                        <a:pt x="6919" y="63584"/>
                      </a:lnTo>
                      <a:lnTo>
                        <a:pt x="7155" y="61677"/>
                      </a:lnTo>
                      <a:lnTo>
                        <a:pt x="7269" y="59257"/>
                      </a:lnTo>
                      <a:lnTo>
                        <a:pt x="7750" y="57733"/>
                      </a:lnTo>
                      <a:lnTo>
                        <a:pt x="9527" y="54856"/>
                      </a:lnTo>
                      <a:lnTo>
                        <a:pt x="11230" y="51808"/>
                      </a:lnTo>
                      <a:lnTo>
                        <a:pt x="12290" y="48866"/>
                      </a:lnTo>
                      <a:lnTo>
                        <a:pt x="12844" y="46144"/>
                      </a:lnTo>
                      <a:lnTo>
                        <a:pt x="12640" y="45361"/>
                      </a:lnTo>
                      <a:lnTo>
                        <a:pt x="11744" y="44775"/>
                      </a:lnTo>
                      <a:lnTo>
                        <a:pt x="9869" y="44196"/>
                      </a:lnTo>
                      <a:lnTo>
                        <a:pt x="7253" y="44709"/>
                      </a:lnTo>
                      <a:lnTo>
                        <a:pt x="5036" y="45696"/>
                      </a:lnTo>
                      <a:lnTo>
                        <a:pt x="4172" y="45777"/>
                      </a:lnTo>
                      <a:lnTo>
                        <a:pt x="3879" y="44555"/>
                      </a:lnTo>
                      <a:lnTo>
                        <a:pt x="4230" y="44009"/>
                      </a:lnTo>
                      <a:lnTo>
                        <a:pt x="4922" y="44074"/>
                      </a:lnTo>
                      <a:lnTo>
                        <a:pt x="5493" y="44310"/>
                      </a:lnTo>
                      <a:lnTo>
                        <a:pt x="6104" y="43756"/>
                      </a:lnTo>
                      <a:lnTo>
                        <a:pt x="6479" y="42102"/>
                      </a:lnTo>
                      <a:lnTo>
                        <a:pt x="5550" y="36364"/>
                      </a:lnTo>
                      <a:lnTo>
                        <a:pt x="7204" y="35859"/>
                      </a:lnTo>
                      <a:lnTo>
                        <a:pt x="7229" y="35020"/>
                      </a:lnTo>
                      <a:lnTo>
                        <a:pt x="7384" y="34294"/>
                      </a:lnTo>
                      <a:lnTo>
                        <a:pt x="9095" y="35297"/>
                      </a:lnTo>
                      <a:lnTo>
                        <a:pt x="11507" y="35313"/>
                      </a:lnTo>
                      <a:lnTo>
                        <a:pt x="13618" y="35109"/>
                      </a:lnTo>
                      <a:lnTo>
                        <a:pt x="13944" y="34547"/>
                      </a:lnTo>
                      <a:lnTo>
                        <a:pt x="13919" y="33732"/>
                      </a:lnTo>
                      <a:lnTo>
                        <a:pt x="13480" y="33080"/>
                      </a:lnTo>
                      <a:lnTo>
                        <a:pt x="12722" y="32566"/>
                      </a:lnTo>
                      <a:lnTo>
                        <a:pt x="12184" y="31776"/>
                      </a:lnTo>
                      <a:lnTo>
                        <a:pt x="10766" y="31425"/>
                      </a:lnTo>
                      <a:lnTo>
                        <a:pt x="6299" y="29355"/>
                      </a:lnTo>
                      <a:lnTo>
                        <a:pt x="4107" y="27155"/>
                      </a:lnTo>
                      <a:lnTo>
                        <a:pt x="4172" y="24816"/>
                      </a:lnTo>
                      <a:lnTo>
                        <a:pt x="4817" y="23536"/>
                      </a:lnTo>
                      <a:lnTo>
                        <a:pt x="5583" y="23080"/>
                      </a:lnTo>
                      <a:lnTo>
                        <a:pt x="5362" y="22656"/>
                      </a:lnTo>
                      <a:lnTo>
                        <a:pt x="2844" y="21572"/>
                      </a:lnTo>
                      <a:lnTo>
                        <a:pt x="1956" y="20065"/>
                      </a:lnTo>
                      <a:lnTo>
                        <a:pt x="2689" y="18125"/>
                      </a:lnTo>
                      <a:lnTo>
                        <a:pt x="1385" y="14205"/>
                      </a:lnTo>
                      <a:lnTo>
                        <a:pt x="0" y="11785"/>
                      </a:lnTo>
                      <a:lnTo>
                        <a:pt x="1352" y="10733"/>
                      </a:lnTo>
                      <a:lnTo>
                        <a:pt x="1540" y="9242"/>
                      </a:lnTo>
                      <a:lnTo>
                        <a:pt x="1638" y="8394"/>
                      </a:lnTo>
                      <a:lnTo>
                        <a:pt x="2200" y="8402"/>
                      </a:lnTo>
                      <a:lnTo>
                        <a:pt x="4393" y="7400"/>
                      </a:lnTo>
                      <a:lnTo>
                        <a:pt x="5175" y="6593"/>
                      </a:lnTo>
                      <a:lnTo>
                        <a:pt x="5631" y="5640"/>
                      </a:lnTo>
                      <a:lnTo>
                        <a:pt x="6161" y="5403"/>
                      </a:lnTo>
                      <a:lnTo>
                        <a:pt x="7612" y="6438"/>
                      </a:lnTo>
                      <a:lnTo>
                        <a:pt x="9168" y="6528"/>
                      </a:lnTo>
                      <a:lnTo>
                        <a:pt x="10888" y="5876"/>
                      </a:lnTo>
                      <a:lnTo>
                        <a:pt x="12184" y="4971"/>
                      </a:lnTo>
                      <a:lnTo>
                        <a:pt x="13740" y="4214"/>
                      </a:lnTo>
                      <a:lnTo>
                        <a:pt x="14441" y="3700"/>
                      </a:lnTo>
                      <a:lnTo>
                        <a:pt x="15337" y="2893"/>
                      </a:lnTo>
                      <a:lnTo>
                        <a:pt x="17147" y="497"/>
                      </a:lnTo>
                      <a:lnTo>
                        <a:pt x="19209" y="0"/>
                      </a:lnTo>
                      <a:close/>
                    </a:path>
                  </a:pathLst>
                </a:custGeom>
                <a:solidFill>
                  <a:srgbClr val="D6D6D2"/>
                </a:solidFill>
                <a:ln w="6112" cap="rnd">
                  <a:solidFill>
                    <a:srgbClr val="FFFFFF"/>
                  </a:solidFill>
                  <a:prstDash val="solid"/>
                  <a:round/>
                </a:ln>
              </p:spPr>
              <p:txBody>
                <a:bodyPr rtlCol="0" anchor="ctr"/>
                <a:lstStyle/>
                <a:p>
                  <a:endParaRPr lang="en-US"/>
                </a:p>
              </p:txBody>
            </p:sp>
            <p:sp>
              <p:nvSpPr>
                <p:cNvPr id="576" name="Freeform: Shape 575">
                  <a:extLst>
                    <a:ext uri="{FF2B5EF4-FFF2-40B4-BE49-F238E27FC236}">
                      <a16:creationId xmlns:a16="http://schemas.microsoft.com/office/drawing/2014/main" id="{452E3D46-1389-45EC-B716-0815170240B2}"/>
                    </a:ext>
                  </a:extLst>
                </p:cNvPr>
                <p:cNvSpPr/>
                <p:nvPr/>
              </p:nvSpPr>
              <p:spPr>
                <a:xfrm>
                  <a:off x="6959643" y="4164409"/>
                  <a:ext cx="258574" cy="410852"/>
                </a:xfrm>
                <a:custGeom>
                  <a:avLst/>
                  <a:gdLst>
                    <a:gd name="connsiteX0" fmla="*/ 14091 w 258574"/>
                    <a:gd name="connsiteY0" fmla="*/ 410852 h 410852"/>
                    <a:gd name="connsiteX1" fmla="*/ 14213 w 258574"/>
                    <a:gd name="connsiteY1" fmla="*/ 408399 h 410852"/>
                    <a:gd name="connsiteX2" fmla="*/ 13814 w 258574"/>
                    <a:gd name="connsiteY2" fmla="*/ 407177 h 410852"/>
                    <a:gd name="connsiteX3" fmla="*/ 11475 w 258574"/>
                    <a:gd name="connsiteY3" fmla="*/ 403485 h 410852"/>
                    <a:gd name="connsiteX4" fmla="*/ 7074 w 258574"/>
                    <a:gd name="connsiteY4" fmla="*/ 396639 h 410852"/>
                    <a:gd name="connsiteX5" fmla="*/ 3757 w 258574"/>
                    <a:gd name="connsiteY5" fmla="*/ 391448 h 410852"/>
                    <a:gd name="connsiteX6" fmla="*/ 359 w 258574"/>
                    <a:gd name="connsiteY6" fmla="*/ 386151 h 410852"/>
                    <a:gd name="connsiteX7" fmla="*/ 342 w 258574"/>
                    <a:gd name="connsiteY7" fmla="*/ 381913 h 410852"/>
                    <a:gd name="connsiteX8" fmla="*/ 301 w 258574"/>
                    <a:gd name="connsiteY8" fmla="*/ 369297 h 410852"/>
                    <a:gd name="connsiteX9" fmla="*/ 212 w 258574"/>
                    <a:gd name="connsiteY9" fmla="*/ 344065 h 410852"/>
                    <a:gd name="connsiteX10" fmla="*/ 130 w 258574"/>
                    <a:gd name="connsiteY10" fmla="*/ 318834 h 410852"/>
                    <a:gd name="connsiteX11" fmla="*/ 57 w 258574"/>
                    <a:gd name="connsiteY11" fmla="*/ 293594 h 410852"/>
                    <a:gd name="connsiteX12" fmla="*/ 16 w 258574"/>
                    <a:gd name="connsiteY12" fmla="*/ 280970 h 410852"/>
                    <a:gd name="connsiteX13" fmla="*/ 0 w 258574"/>
                    <a:gd name="connsiteY13" fmla="*/ 275803 h 410852"/>
                    <a:gd name="connsiteX14" fmla="*/ 359 w 258574"/>
                    <a:gd name="connsiteY14" fmla="*/ 274980 h 410852"/>
                    <a:gd name="connsiteX15" fmla="*/ 4222 w 258574"/>
                    <a:gd name="connsiteY15" fmla="*/ 270343 h 410852"/>
                    <a:gd name="connsiteX16" fmla="*/ 9348 w 258574"/>
                    <a:gd name="connsiteY16" fmla="*/ 264214 h 410852"/>
                    <a:gd name="connsiteX17" fmla="*/ 16096 w 258574"/>
                    <a:gd name="connsiteY17" fmla="*/ 252560 h 410852"/>
                    <a:gd name="connsiteX18" fmla="*/ 19755 w 258574"/>
                    <a:gd name="connsiteY18" fmla="*/ 246236 h 410852"/>
                    <a:gd name="connsiteX19" fmla="*/ 22803 w 258574"/>
                    <a:gd name="connsiteY19" fmla="*/ 240955 h 410852"/>
                    <a:gd name="connsiteX20" fmla="*/ 23577 w 258574"/>
                    <a:gd name="connsiteY20" fmla="*/ 239358 h 410852"/>
                    <a:gd name="connsiteX21" fmla="*/ 26275 w 258574"/>
                    <a:gd name="connsiteY21" fmla="*/ 236155 h 410852"/>
                    <a:gd name="connsiteX22" fmla="*/ 31336 w 258574"/>
                    <a:gd name="connsiteY22" fmla="*/ 234239 h 410852"/>
                    <a:gd name="connsiteX23" fmla="*/ 34482 w 258574"/>
                    <a:gd name="connsiteY23" fmla="*/ 233930 h 410852"/>
                    <a:gd name="connsiteX24" fmla="*/ 45312 w 258574"/>
                    <a:gd name="connsiteY24" fmla="*/ 231542 h 410852"/>
                    <a:gd name="connsiteX25" fmla="*/ 46926 w 258574"/>
                    <a:gd name="connsiteY25" fmla="*/ 230572 h 410852"/>
                    <a:gd name="connsiteX26" fmla="*/ 47872 w 258574"/>
                    <a:gd name="connsiteY26" fmla="*/ 229464 h 410852"/>
                    <a:gd name="connsiteX27" fmla="*/ 48768 w 258574"/>
                    <a:gd name="connsiteY27" fmla="*/ 226937 h 410852"/>
                    <a:gd name="connsiteX28" fmla="*/ 50879 w 258574"/>
                    <a:gd name="connsiteY28" fmla="*/ 223400 h 410852"/>
                    <a:gd name="connsiteX29" fmla="*/ 53601 w 258574"/>
                    <a:gd name="connsiteY29" fmla="*/ 220963 h 410852"/>
                    <a:gd name="connsiteX30" fmla="*/ 58768 w 258574"/>
                    <a:gd name="connsiteY30" fmla="*/ 217793 h 410852"/>
                    <a:gd name="connsiteX31" fmla="*/ 63837 w 258574"/>
                    <a:gd name="connsiteY31" fmla="*/ 215096 h 410852"/>
                    <a:gd name="connsiteX32" fmla="*/ 64954 w 258574"/>
                    <a:gd name="connsiteY32" fmla="*/ 214656 h 410852"/>
                    <a:gd name="connsiteX33" fmla="*/ 71042 w 258574"/>
                    <a:gd name="connsiteY33" fmla="*/ 212961 h 410852"/>
                    <a:gd name="connsiteX34" fmla="*/ 72533 w 258574"/>
                    <a:gd name="connsiteY34" fmla="*/ 212382 h 410852"/>
                    <a:gd name="connsiteX35" fmla="*/ 75010 w 258574"/>
                    <a:gd name="connsiteY35" fmla="*/ 211787 h 410852"/>
                    <a:gd name="connsiteX36" fmla="*/ 75980 w 258574"/>
                    <a:gd name="connsiteY36" fmla="*/ 211771 h 410852"/>
                    <a:gd name="connsiteX37" fmla="*/ 84456 w 258574"/>
                    <a:gd name="connsiteY37" fmla="*/ 212366 h 410852"/>
                    <a:gd name="connsiteX38" fmla="*/ 91065 w 258574"/>
                    <a:gd name="connsiteY38" fmla="*/ 212830 h 410852"/>
                    <a:gd name="connsiteX39" fmla="*/ 97886 w 258574"/>
                    <a:gd name="connsiteY39" fmla="*/ 213303 h 410852"/>
                    <a:gd name="connsiteX40" fmla="*/ 98612 w 258574"/>
                    <a:gd name="connsiteY40" fmla="*/ 212944 h 410852"/>
                    <a:gd name="connsiteX41" fmla="*/ 103388 w 258574"/>
                    <a:gd name="connsiteY41" fmla="*/ 206661 h 410852"/>
                    <a:gd name="connsiteX42" fmla="*/ 110967 w 258574"/>
                    <a:gd name="connsiteY42" fmla="*/ 196645 h 410852"/>
                    <a:gd name="connsiteX43" fmla="*/ 115808 w 258574"/>
                    <a:gd name="connsiteY43" fmla="*/ 190255 h 410852"/>
                    <a:gd name="connsiteX44" fmla="*/ 123281 w 258574"/>
                    <a:gd name="connsiteY44" fmla="*/ 180378 h 410852"/>
                    <a:gd name="connsiteX45" fmla="*/ 129027 w 258574"/>
                    <a:gd name="connsiteY45" fmla="*/ 173247 h 410852"/>
                    <a:gd name="connsiteX46" fmla="*/ 135375 w 258574"/>
                    <a:gd name="connsiteY46" fmla="*/ 165366 h 410852"/>
                    <a:gd name="connsiteX47" fmla="*/ 141553 w 258574"/>
                    <a:gd name="connsiteY47" fmla="*/ 158154 h 410852"/>
                    <a:gd name="connsiteX48" fmla="*/ 148977 w 258574"/>
                    <a:gd name="connsiteY48" fmla="*/ 149474 h 410852"/>
                    <a:gd name="connsiteX49" fmla="*/ 153655 w 258574"/>
                    <a:gd name="connsiteY49" fmla="*/ 144014 h 410852"/>
                    <a:gd name="connsiteX50" fmla="*/ 160925 w 258574"/>
                    <a:gd name="connsiteY50" fmla="*/ 135514 h 410852"/>
                    <a:gd name="connsiteX51" fmla="*/ 167836 w 258574"/>
                    <a:gd name="connsiteY51" fmla="*/ 127429 h 410852"/>
                    <a:gd name="connsiteX52" fmla="*/ 173948 w 258574"/>
                    <a:gd name="connsiteY52" fmla="*/ 120274 h 410852"/>
                    <a:gd name="connsiteX53" fmla="*/ 177648 w 258574"/>
                    <a:gd name="connsiteY53" fmla="*/ 113501 h 410852"/>
                    <a:gd name="connsiteX54" fmla="*/ 181266 w 258574"/>
                    <a:gd name="connsiteY54" fmla="*/ 106851 h 410852"/>
                    <a:gd name="connsiteX55" fmla="*/ 185129 w 258574"/>
                    <a:gd name="connsiteY55" fmla="*/ 99736 h 410852"/>
                    <a:gd name="connsiteX56" fmla="*/ 189791 w 258574"/>
                    <a:gd name="connsiteY56" fmla="*/ 91155 h 410852"/>
                    <a:gd name="connsiteX57" fmla="*/ 194175 w 258574"/>
                    <a:gd name="connsiteY57" fmla="*/ 83070 h 410852"/>
                    <a:gd name="connsiteX58" fmla="*/ 197753 w 258574"/>
                    <a:gd name="connsiteY58" fmla="*/ 76469 h 410852"/>
                    <a:gd name="connsiteX59" fmla="*/ 197753 w 258574"/>
                    <a:gd name="connsiteY59" fmla="*/ 73087 h 410852"/>
                    <a:gd name="connsiteX60" fmla="*/ 197761 w 258574"/>
                    <a:gd name="connsiteY60" fmla="*/ 65752 h 410852"/>
                    <a:gd name="connsiteX61" fmla="*/ 197761 w 258574"/>
                    <a:gd name="connsiteY61" fmla="*/ 60748 h 410852"/>
                    <a:gd name="connsiteX62" fmla="*/ 197761 w 258574"/>
                    <a:gd name="connsiteY62" fmla="*/ 46869 h 410852"/>
                    <a:gd name="connsiteX63" fmla="*/ 197770 w 258574"/>
                    <a:gd name="connsiteY63" fmla="*/ 38385 h 410852"/>
                    <a:gd name="connsiteX64" fmla="*/ 197770 w 258574"/>
                    <a:gd name="connsiteY64" fmla="*/ 30284 h 410852"/>
                    <a:gd name="connsiteX65" fmla="*/ 197770 w 258574"/>
                    <a:gd name="connsiteY65" fmla="*/ 21939 h 410852"/>
                    <a:gd name="connsiteX66" fmla="*/ 200842 w 258574"/>
                    <a:gd name="connsiteY66" fmla="*/ 21564 h 410852"/>
                    <a:gd name="connsiteX67" fmla="*/ 208926 w 258574"/>
                    <a:gd name="connsiteY67" fmla="*/ 19396 h 410852"/>
                    <a:gd name="connsiteX68" fmla="*/ 215226 w 258574"/>
                    <a:gd name="connsiteY68" fmla="*/ 16120 h 410852"/>
                    <a:gd name="connsiteX69" fmla="*/ 226832 w 258574"/>
                    <a:gd name="connsiteY69" fmla="*/ 13748 h 410852"/>
                    <a:gd name="connsiteX70" fmla="*/ 235666 w 258574"/>
                    <a:gd name="connsiteY70" fmla="*/ 7750 h 410852"/>
                    <a:gd name="connsiteX71" fmla="*/ 237206 w 258574"/>
                    <a:gd name="connsiteY71" fmla="*/ 4857 h 410852"/>
                    <a:gd name="connsiteX72" fmla="*/ 239871 w 258574"/>
                    <a:gd name="connsiteY72" fmla="*/ 1214 h 410852"/>
                    <a:gd name="connsiteX73" fmla="*/ 243750 w 258574"/>
                    <a:gd name="connsiteY73" fmla="*/ 0 h 410852"/>
                    <a:gd name="connsiteX74" fmla="*/ 253652 w 258574"/>
                    <a:gd name="connsiteY74" fmla="*/ 4295 h 410852"/>
                    <a:gd name="connsiteX75" fmla="*/ 255225 w 258574"/>
                    <a:gd name="connsiteY75" fmla="*/ 4629 h 410852"/>
                    <a:gd name="connsiteX76" fmla="*/ 254655 w 258574"/>
                    <a:gd name="connsiteY76" fmla="*/ 7221 h 410852"/>
                    <a:gd name="connsiteX77" fmla="*/ 254313 w 258574"/>
                    <a:gd name="connsiteY77" fmla="*/ 9869 h 410852"/>
                    <a:gd name="connsiteX78" fmla="*/ 252283 w 258574"/>
                    <a:gd name="connsiteY78" fmla="*/ 14482 h 410852"/>
                    <a:gd name="connsiteX79" fmla="*/ 250996 w 258574"/>
                    <a:gd name="connsiteY79" fmla="*/ 19600 h 410852"/>
                    <a:gd name="connsiteX80" fmla="*/ 251941 w 258574"/>
                    <a:gd name="connsiteY80" fmla="*/ 27432 h 410852"/>
                    <a:gd name="connsiteX81" fmla="*/ 252381 w 258574"/>
                    <a:gd name="connsiteY81" fmla="*/ 40113 h 410852"/>
                    <a:gd name="connsiteX82" fmla="*/ 252161 w 258574"/>
                    <a:gd name="connsiteY82" fmla="*/ 41955 h 410852"/>
                    <a:gd name="connsiteX83" fmla="*/ 251501 w 258574"/>
                    <a:gd name="connsiteY83" fmla="*/ 43772 h 410852"/>
                    <a:gd name="connsiteX84" fmla="*/ 251232 w 258574"/>
                    <a:gd name="connsiteY84" fmla="*/ 45198 h 410852"/>
                    <a:gd name="connsiteX85" fmla="*/ 250156 w 258574"/>
                    <a:gd name="connsiteY85" fmla="*/ 45703 h 410852"/>
                    <a:gd name="connsiteX86" fmla="*/ 249684 w 258574"/>
                    <a:gd name="connsiteY86" fmla="*/ 46518 h 410852"/>
                    <a:gd name="connsiteX87" fmla="*/ 250466 w 258574"/>
                    <a:gd name="connsiteY87" fmla="*/ 46853 h 410852"/>
                    <a:gd name="connsiteX88" fmla="*/ 253579 w 258574"/>
                    <a:gd name="connsiteY88" fmla="*/ 45459 h 410852"/>
                    <a:gd name="connsiteX89" fmla="*/ 253498 w 258574"/>
                    <a:gd name="connsiteY89" fmla="*/ 43951 h 410852"/>
                    <a:gd name="connsiteX90" fmla="*/ 253685 w 258574"/>
                    <a:gd name="connsiteY90" fmla="*/ 43202 h 410852"/>
                    <a:gd name="connsiteX91" fmla="*/ 256236 w 258574"/>
                    <a:gd name="connsiteY91" fmla="*/ 44889 h 410852"/>
                    <a:gd name="connsiteX92" fmla="*/ 258062 w 258574"/>
                    <a:gd name="connsiteY92" fmla="*/ 45598 h 410852"/>
                    <a:gd name="connsiteX93" fmla="*/ 258575 w 258574"/>
                    <a:gd name="connsiteY93" fmla="*/ 47195 h 410852"/>
                    <a:gd name="connsiteX94" fmla="*/ 258445 w 258574"/>
                    <a:gd name="connsiteY94" fmla="*/ 48279 h 410852"/>
                    <a:gd name="connsiteX95" fmla="*/ 255551 w 258574"/>
                    <a:gd name="connsiteY95" fmla="*/ 47774 h 410852"/>
                    <a:gd name="connsiteX96" fmla="*/ 254076 w 258574"/>
                    <a:gd name="connsiteY96" fmla="*/ 46934 h 410852"/>
                    <a:gd name="connsiteX97" fmla="*/ 249797 w 258574"/>
                    <a:gd name="connsiteY97" fmla="*/ 48320 h 410852"/>
                    <a:gd name="connsiteX98" fmla="*/ 247165 w 258574"/>
                    <a:gd name="connsiteY98" fmla="*/ 49811 h 410852"/>
                    <a:gd name="connsiteX99" fmla="*/ 246383 w 258574"/>
                    <a:gd name="connsiteY99" fmla="*/ 52305 h 410852"/>
                    <a:gd name="connsiteX100" fmla="*/ 245772 w 258574"/>
                    <a:gd name="connsiteY100" fmla="*/ 62231 h 410852"/>
                    <a:gd name="connsiteX101" fmla="*/ 244753 w 258574"/>
                    <a:gd name="connsiteY101" fmla="*/ 68670 h 410852"/>
                    <a:gd name="connsiteX102" fmla="*/ 244557 w 258574"/>
                    <a:gd name="connsiteY102" fmla="*/ 77186 h 410852"/>
                    <a:gd name="connsiteX103" fmla="*/ 241094 w 258574"/>
                    <a:gd name="connsiteY103" fmla="*/ 82826 h 410852"/>
                    <a:gd name="connsiteX104" fmla="*/ 239920 w 258574"/>
                    <a:gd name="connsiteY104" fmla="*/ 86795 h 410852"/>
                    <a:gd name="connsiteX105" fmla="*/ 234753 w 258574"/>
                    <a:gd name="connsiteY105" fmla="*/ 94749 h 410852"/>
                    <a:gd name="connsiteX106" fmla="*/ 232064 w 258574"/>
                    <a:gd name="connsiteY106" fmla="*/ 101554 h 410852"/>
                    <a:gd name="connsiteX107" fmla="*/ 231184 w 258574"/>
                    <a:gd name="connsiteY107" fmla="*/ 104862 h 410852"/>
                    <a:gd name="connsiteX108" fmla="*/ 226653 w 258574"/>
                    <a:gd name="connsiteY108" fmla="*/ 114178 h 410852"/>
                    <a:gd name="connsiteX109" fmla="*/ 220434 w 258574"/>
                    <a:gd name="connsiteY109" fmla="*/ 121317 h 410852"/>
                    <a:gd name="connsiteX110" fmla="*/ 218176 w 258574"/>
                    <a:gd name="connsiteY110" fmla="*/ 130436 h 410852"/>
                    <a:gd name="connsiteX111" fmla="*/ 215944 w 258574"/>
                    <a:gd name="connsiteY111" fmla="*/ 136149 h 410852"/>
                    <a:gd name="connsiteX112" fmla="*/ 213425 w 258574"/>
                    <a:gd name="connsiteY112" fmla="*/ 141332 h 410852"/>
                    <a:gd name="connsiteX113" fmla="*/ 207941 w 258574"/>
                    <a:gd name="connsiteY113" fmla="*/ 150542 h 410852"/>
                    <a:gd name="connsiteX114" fmla="*/ 205137 w 258574"/>
                    <a:gd name="connsiteY114" fmla="*/ 156948 h 410852"/>
                    <a:gd name="connsiteX115" fmla="*/ 201592 w 258574"/>
                    <a:gd name="connsiteY115" fmla="*/ 168055 h 410852"/>
                    <a:gd name="connsiteX116" fmla="*/ 200516 w 258574"/>
                    <a:gd name="connsiteY116" fmla="*/ 175080 h 410852"/>
                    <a:gd name="connsiteX117" fmla="*/ 190598 w 258574"/>
                    <a:gd name="connsiteY117" fmla="*/ 195471 h 410852"/>
                    <a:gd name="connsiteX118" fmla="*/ 180305 w 258574"/>
                    <a:gd name="connsiteY118" fmla="*/ 211722 h 410852"/>
                    <a:gd name="connsiteX119" fmla="*/ 173883 w 258574"/>
                    <a:gd name="connsiteY119" fmla="*/ 225389 h 410852"/>
                    <a:gd name="connsiteX120" fmla="*/ 162375 w 258574"/>
                    <a:gd name="connsiteY120" fmla="*/ 241240 h 410852"/>
                    <a:gd name="connsiteX121" fmla="*/ 146687 w 258574"/>
                    <a:gd name="connsiteY121" fmla="*/ 261696 h 410852"/>
                    <a:gd name="connsiteX122" fmla="*/ 126158 w 258574"/>
                    <a:gd name="connsiteY122" fmla="*/ 285974 h 410852"/>
                    <a:gd name="connsiteX123" fmla="*/ 120592 w 258574"/>
                    <a:gd name="connsiteY123" fmla="*/ 290929 h 410852"/>
                    <a:gd name="connsiteX124" fmla="*/ 98115 w 258574"/>
                    <a:gd name="connsiteY124" fmla="*/ 305892 h 410852"/>
                    <a:gd name="connsiteX125" fmla="*/ 83543 w 258574"/>
                    <a:gd name="connsiteY125" fmla="*/ 318451 h 410852"/>
                    <a:gd name="connsiteX126" fmla="*/ 76102 w 258574"/>
                    <a:gd name="connsiteY126" fmla="*/ 326983 h 410852"/>
                    <a:gd name="connsiteX127" fmla="*/ 68287 w 258574"/>
                    <a:gd name="connsiteY127" fmla="*/ 334416 h 410852"/>
                    <a:gd name="connsiteX128" fmla="*/ 62093 w 258574"/>
                    <a:gd name="connsiteY128" fmla="*/ 341490 h 410852"/>
                    <a:gd name="connsiteX129" fmla="*/ 43349 w 258574"/>
                    <a:gd name="connsiteY129" fmla="*/ 365352 h 410852"/>
                    <a:gd name="connsiteX130" fmla="*/ 41417 w 258574"/>
                    <a:gd name="connsiteY130" fmla="*/ 367602 h 410852"/>
                    <a:gd name="connsiteX131" fmla="*/ 39592 w 258574"/>
                    <a:gd name="connsiteY131" fmla="*/ 369721 h 410852"/>
                    <a:gd name="connsiteX132" fmla="*/ 37228 w 258574"/>
                    <a:gd name="connsiteY132" fmla="*/ 373755 h 410852"/>
                    <a:gd name="connsiteX133" fmla="*/ 35590 w 258574"/>
                    <a:gd name="connsiteY133" fmla="*/ 375360 h 410852"/>
                    <a:gd name="connsiteX134" fmla="*/ 31108 w 258574"/>
                    <a:gd name="connsiteY134" fmla="*/ 382182 h 410852"/>
                    <a:gd name="connsiteX135" fmla="*/ 28312 w 258574"/>
                    <a:gd name="connsiteY135" fmla="*/ 385735 h 410852"/>
                    <a:gd name="connsiteX136" fmla="*/ 25183 w 258574"/>
                    <a:gd name="connsiteY136" fmla="*/ 389231 h 410852"/>
                    <a:gd name="connsiteX137" fmla="*/ 23846 w 258574"/>
                    <a:gd name="connsiteY137" fmla="*/ 391700 h 410852"/>
                    <a:gd name="connsiteX138" fmla="*/ 22909 w 258574"/>
                    <a:gd name="connsiteY138" fmla="*/ 394537 h 410852"/>
                    <a:gd name="connsiteX139" fmla="*/ 21866 w 258574"/>
                    <a:gd name="connsiteY139" fmla="*/ 396126 h 410852"/>
                    <a:gd name="connsiteX140" fmla="*/ 19046 w 258574"/>
                    <a:gd name="connsiteY140" fmla="*/ 402915 h 410852"/>
                    <a:gd name="connsiteX141" fmla="*/ 16561 w 258574"/>
                    <a:gd name="connsiteY141" fmla="*/ 407356 h 410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258574" h="410852">
                      <a:moveTo>
                        <a:pt x="14091" y="410852"/>
                      </a:moveTo>
                      <a:lnTo>
                        <a:pt x="14213" y="408399"/>
                      </a:lnTo>
                      <a:lnTo>
                        <a:pt x="13814" y="407177"/>
                      </a:lnTo>
                      <a:lnTo>
                        <a:pt x="11475" y="403485"/>
                      </a:lnTo>
                      <a:lnTo>
                        <a:pt x="7074" y="396639"/>
                      </a:lnTo>
                      <a:lnTo>
                        <a:pt x="3757" y="391448"/>
                      </a:lnTo>
                      <a:lnTo>
                        <a:pt x="359" y="386151"/>
                      </a:lnTo>
                      <a:lnTo>
                        <a:pt x="342" y="381913"/>
                      </a:lnTo>
                      <a:lnTo>
                        <a:pt x="301" y="369297"/>
                      </a:lnTo>
                      <a:lnTo>
                        <a:pt x="212" y="344065"/>
                      </a:lnTo>
                      <a:lnTo>
                        <a:pt x="130" y="318834"/>
                      </a:lnTo>
                      <a:lnTo>
                        <a:pt x="57" y="293594"/>
                      </a:lnTo>
                      <a:lnTo>
                        <a:pt x="16" y="280970"/>
                      </a:lnTo>
                      <a:lnTo>
                        <a:pt x="0" y="275803"/>
                      </a:lnTo>
                      <a:lnTo>
                        <a:pt x="359" y="274980"/>
                      </a:lnTo>
                      <a:lnTo>
                        <a:pt x="4222" y="270343"/>
                      </a:lnTo>
                      <a:lnTo>
                        <a:pt x="9348" y="264214"/>
                      </a:lnTo>
                      <a:lnTo>
                        <a:pt x="16096" y="252560"/>
                      </a:lnTo>
                      <a:lnTo>
                        <a:pt x="19755" y="246236"/>
                      </a:lnTo>
                      <a:lnTo>
                        <a:pt x="22803" y="240955"/>
                      </a:lnTo>
                      <a:lnTo>
                        <a:pt x="23577" y="239358"/>
                      </a:lnTo>
                      <a:lnTo>
                        <a:pt x="26275" y="236155"/>
                      </a:lnTo>
                      <a:lnTo>
                        <a:pt x="31336" y="234239"/>
                      </a:lnTo>
                      <a:lnTo>
                        <a:pt x="34482" y="233930"/>
                      </a:lnTo>
                      <a:lnTo>
                        <a:pt x="45312" y="231542"/>
                      </a:lnTo>
                      <a:lnTo>
                        <a:pt x="46926" y="230572"/>
                      </a:lnTo>
                      <a:lnTo>
                        <a:pt x="47872" y="229464"/>
                      </a:lnTo>
                      <a:lnTo>
                        <a:pt x="48768" y="226937"/>
                      </a:lnTo>
                      <a:lnTo>
                        <a:pt x="50879" y="223400"/>
                      </a:lnTo>
                      <a:lnTo>
                        <a:pt x="53601" y="220963"/>
                      </a:lnTo>
                      <a:lnTo>
                        <a:pt x="58768" y="217793"/>
                      </a:lnTo>
                      <a:lnTo>
                        <a:pt x="63837" y="215096"/>
                      </a:lnTo>
                      <a:lnTo>
                        <a:pt x="64954" y="214656"/>
                      </a:lnTo>
                      <a:lnTo>
                        <a:pt x="71042" y="212961"/>
                      </a:lnTo>
                      <a:lnTo>
                        <a:pt x="72533" y="212382"/>
                      </a:lnTo>
                      <a:lnTo>
                        <a:pt x="75010" y="211787"/>
                      </a:lnTo>
                      <a:lnTo>
                        <a:pt x="75980" y="211771"/>
                      </a:lnTo>
                      <a:lnTo>
                        <a:pt x="84456" y="212366"/>
                      </a:lnTo>
                      <a:lnTo>
                        <a:pt x="91065" y="212830"/>
                      </a:lnTo>
                      <a:lnTo>
                        <a:pt x="97886" y="213303"/>
                      </a:lnTo>
                      <a:lnTo>
                        <a:pt x="98612" y="212944"/>
                      </a:lnTo>
                      <a:lnTo>
                        <a:pt x="103388" y="206661"/>
                      </a:lnTo>
                      <a:lnTo>
                        <a:pt x="110967" y="196645"/>
                      </a:lnTo>
                      <a:lnTo>
                        <a:pt x="115808" y="190255"/>
                      </a:lnTo>
                      <a:lnTo>
                        <a:pt x="123281" y="180378"/>
                      </a:lnTo>
                      <a:lnTo>
                        <a:pt x="129027" y="173247"/>
                      </a:lnTo>
                      <a:lnTo>
                        <a:pt x="135375" y="165366"/>
                      </a:lnTo>
                      <a:lnTo>
                        <a:pt x="141553" y="158154"/>
                      </a:lnTo>
                      <a:lnTo>
                        <a:pt x="148977" y="149474"/>
                      </a:lnTo>
                      <a:lnTo>
                        <a:pt x="153655" y="144014"/>
                      </a:lnTo>
                      <a:lnTo>
                        <a:pt x="160925" y="135514"/>
                      </a:lnTo>
                      <a:lnTo>
                        <a:pt x="167836" y="127429"/>
                      </a:lnTo>
                      <a:lnTo>
                        <a:pt x="173948" y="120274"/>
                      </a:lnTo>
                      <a:lnTo>
                        <a:pt x="177648" y="113501"/>
                      </a:lnTo>
                      <a:lnTo>
                        <a:pt x="181266" y="106851"/>
                      </a:lnTo>
                      <a:lnTo>
                        <a:pt x="185129" y="99736"/>
                      </a:lnTo>
                      <a:lnTo>
                        <a:pt x="189791" y="91155"/>
                      </a:lnTo>
                      <a:lnTo>
                        <a:pt x="194175" y="83070"/>
                      </a:lnTo>
                      <a:lnTo>
                        <a:pt x="197753" y="76469"/>
                      </a:lnTo>
                      <a:lnTo>
                        <a:pt x="197753" y="73087"/>
                      </a:lnTo>
                      <a:lnTo>
                        <a:pt x="197761" y="65752"/>
                      </a:lnTo>
                      <a:lnTo>
                        <a:pt x="197761" y="60748"/>
                      </a:lnTo>
                      <a:lnTo>
                        <a:pt x="197761" y="46869"/>
                      </a:lnTo>
                      <a:lnTo>
                        <a:pt x="197770" y="38385"/>
                      </a:lnTo>
                      <a:lnTo>
                        <a:pt x="197770" y="30284"/>
                      </a:lnTo>
                      <a:lnTo>
                        <a:pt x="197770" y="21939"/>
                      </a:lnTo>
                      <a:lnTo>
                        <a:pt x="200842" y="21564"/>
                      </a:lnTo>
                      <a:lnTo>
                        <a:pt x="208926" y="19396"/>
                      </a:lnTo>
                      <a:lnTo>
                        <a:pt x="215226" y="16120"/>
                      </a:lnTo>
                      <a:lnTo>
                        <a:pt x="226832" y="13748"/>
                      </a:lnTo>
                      <a:lnTo>
                        <a:pt x="235666" y="7750"/>
                      </a:lnTo>
                      <a:lnTo>
                        <a:pt x="237206" y="4857"/>
                      </a:lnTo>
                      <a:lnTo>
                        <a:pt x="239871" y="1214"/>
                      </a:lnTo>
                      <a:lnTo>
                        <a:pt x="243750" y="0"/>
                      </a:lnTo>
                      <a:lnTo>
                        <a:pt x="253652" y="4295"/>
                      </a:lnTo>
                      <a:lnTo>
                        <a:pt x="255225" y="4629"/>
                      </a:lnTo>
                      <a:lnTo>
                        <a:pt x="254655" y="7221"/>
                      </a:lnTo>
                      <a:lnTo>
                        <a:pt x="254313" y="9869"/>
                      </a:lnTo>
                      <a:lnTo>
                        <a:pt x="252283" y="14482"/>
                      </a:lnTo>
                      <a:lnTo>
                        <a:pt x="250996" y="19600"/>
                      </a:lnTo>
                      <a:lnTo>
                        <a:pt x="251941" y="27432"/>
                      </a:lnTo>
                      <a:lnTo>
                        <a:pt x="252381" y="40113"/>
                      </a:lnTo>
                      <a:lnTo>
                        <a:pt x="252161" y="41955"/>
                      </a:lnTo>
                      <a:lnTo>
                        <a:pt x="251501" y="43772"/>
                      </a:lnTo>
                      <a:lnTo>
                        <a:pt x="251232" y="45198"/>
                      </a:lnTo>
                      <a:lnTo>
                        <a:pt x="250156" y="45703"/>
                      </a:lnTo>
                      <a:lnTo>
                        <a:pt x="249684" y="46518"/>
                      </a:lnTo>
                      <a:lnTo>
                        <a:pt x="250466" y="46853"/>
                      </a:lnTo>
                      <a:lnTo>
                        <a:pt x="253579" y="45459"/>
                      </a:lnTo>
                      <a:lnTo>
                        <a:pt x="253498" y="43951"/>
                      </a:lnTo>
                      <a:lnTo>
                        <a:pt x="253685" y="43202"/>
                      </a:lnTo>
                      <a:lnTo>
                        <a:pt x="256236" y="44889"/>
                      </a:lnTo>
                      <a:lnTo>
                        <a:pt x="258062" y="45598"/>
                      </a:lnTo>
                      <a:lnTo>
                        <a:pt x="258575" y="47195"/>
                      </a:lnTo>
                      <a:lnTo>
                        <a:pt x="258445" y="48279"/>
                      </a:lnTo>
                      <a:lnTo>
                        <a:pt x="255551" y="47774"/>
                      </a:lnTo>
                      <a:lnTo>
                        <a:pt x="254076" y="46934"/>
                      </a:lnTo>
                      <a:lnTo>
                        <a:pt x="249797" y="48320"/>
                      </a:lnTo>
                      <a:lnTo>
                        <a:pt x="247165" y="49811"/>
                      </a:lnTo>
                      <a:lnTo>
                        <a:pt x="246383" y="52305"/>
                      </a:lnTo>
                      <a:lnTo>
                        <a:pt x="245772" y="62231"/>
                      </a:lnTo>
                      <a:lnTo>
                        <a:pt x="244753" y="68670"/>
                      </a:lnTo>
                      <a:lnTo>
                        <a:pt x="244557" y="77186"/>
                      </a:lnTo>
                      <a:lnTo>
                        <a:pt x="241094" y="82826"/>
                      </a:lnTo>
                      <a:lnTo>
                        <a:pt x="239920" y="86795"/>
                      </a:lnTo>
                      <a:lnTo>
                        <a:pt x="234753" y="94749"/>
                      </a:lnTo>
                      <a:lnTo>
                        <a:pt x="232064" y="101554"/>
                      </a:lnTo>
                      <a:lnTo>
                        <a:pt x="231184" y="104862"/>
                      </a:lnTo>
                      <a:lnTo>
                        <a:pt x="226653" y="114178"/>
                      </a:lnTo>
                      <a:lnTo>
                        <a:pt x="220434" y="121317"/>
                      </a:lnTo>
                      <a:lnTo>
                        <a:pt x="218176" y="130436"/>
                      </a:lnTo>
                      <a:lnTo>
                        <a:pt x="215944" y="136149"/>
                      </a:lnTo>
                      <a:lnTo>
                        <a:pt x="213425" y="141332"/>
                      </a:lnTo>
                      <a:lnTo>
                        <a:pt x="207941" y="150542"/>
                      </a:lnTo>
                      <a:lnTo>
                        <a:pt x="205137" y="156948"/>
                      </a:lnTo>
                      <a:lnTo>
                        <a:pt x="201592" y="168055"/>
                      </a:lnTo>
                      <a:lnTo>
                        <a:pt x="200516" y="175080"/>
                      </a:lnTo>
                      <a:lnTo>
                        <a:pt x="190598" y="195471"/>
                      </a:lnTo>
                      <a:lnTo>
                        <a:pt x="180305" y="211722"/>
                      </a:lnTo>
                      <a:lnTo>
                        <a:pt x="173883" y="225389"/>
                      </a:lnTo>
                      <a:lnTo>
                        <a:pt x="162375" y="241240"/>
                      </a:lnTo>
                      <a:lnTo>
                        <a:pt x="146687" y="261696"/>
                      </a:lnTo>
                      <a:lnTo>
                        <a:pt x="126158" y="285974"/>
                      </a:lnTo>
                      <a:lnTo>
                        <a:pt x="120592" y="290929"/>
                      </a:lnTo>
                      <a:lnTo>
                        <a:pt x="98115" y="305892"/>
                      </a:lnTo>
                      <a:lnTo>
                        <a:pt x="83543" y="318451"/>
                      </a:lnTo>
                      <a:lnTo>
                        <a:pt x="76102" y="326983"/>
                      </a:lnTo>
                      <a:lnTo>
                        <a:pt x="68287" y="334416"/>
                      </a:lnTo>
                      <a:lnTo>
                        <a:pt x="62093" y="341490"/>
                      </a:lnTo>
                      <a:lnTo>
                        <a:pt x="43349" y="365352"/>
                      </a:lnTo>
                      <a:lnTo>
                        <a:pt x="41417" y="367602"/>
                      </a:lnTo>
                      <a:lnTo>
                        <a:pt x="39592" y="369721"/>
                      </a:lnTo>
                      <a:lnTo>
                        <a:pt x="37228" y="373755"/>
                      </a:lnTo>
                      <a:lnTo>
                        <a:pt x="35590" y="375360"/>
                      </a:lnTo>
                      <a:lnTo>
                        <a:pt x="31108" y="382182"/>
                      </a:lnTo>
                      <a:lnTo>
                        <a:pt x="28312" y="385735"/>
                      </a:lnTo>
                      <a:lnTo>
                        <a:pt x="25183" y="389231"/>
                      </a:lnTo>
                      <a:lnTo>
                        <a:pt x="23846" y="391700"/>
                      </a:lnTo>
                      <a:lnTo>
                        <a:pt x="22909" y="394537"/>
                      </a:lnTo>
                      <a:lnTo>
                        <a:pt x="21866" y="396126"/>
                      </a:lnTo>
                      <a:lnTo>
                        <a:pt x="19046" y="402915"/>
                      </a:lnTo>
                      <a:lnTo>
                        <a:pt x="16561" y="407356"/>
                      </a:lnTo>
                      <a:close/>
                    </a:path>
                  </a:pathLst>
                </a:custGeom>
                <a:solidFill>
                  <a:srgbClr val="D6D6D2"/>
                </a:solidFill>
                <a:ln w="6112" cap="rnd">
                  <a:solidFill>
                    <a:srgbClr val="FFFFFF"/>
                  </a:solidFill>
                  <a:prstDash val="solid"/>
                  <a:round/>
                </a:ln>
              </p:spPr>
              <p:txBody>
                <a:bodyPr rtlCol="0" anchor="ctr"/>
                <a:lstStyle/>
                <a:p>
                  <a:endParaRPr lang="en-US"/>
                </a:p>
              </p:txBody>
            </p:sp>
            <p:sp>
              <p:nvSpPr>
                <p:cNvPr id="577" name="Freeform: Shape 576">
                  <a:extLst>
                    <a:ext uri="{FF2B5EF4-FFF2-40B4-BE49-F238E27FC236}">
                      <a16:creationId xmlns:a16="http://schemas.microsoft.com/office/drawing/2014/main" id="{61F55506-F5D2-4287-BABE-E6FA5D078DAE}"/>
                    </a:ext>
                  </a:extLst>
                </p:cNvPr>
                <p:cNvSpPr/>
                <p:nvPr/>
              </p:nvSpPr>
              <p:spPr>
                <a:xfrm>
                  <a:off x="7001598" y="4179054"/>
                  <a:ext cx="155814" cy="105628"/>
                </a:xfrm>
                <a:custGeom>
                  <a:avLst/>
                  <a:gdLst>
                    <a:gd name="connsiteX0" fmla="*/ 155815 w 155814"/>
                    <a:gd name="connsiteY0" fmla="*/ 7294 h 105628"/>
                    <a:gd name="connsiteX1" fmla="*/ 155815 w 155814"/>
                    <a:gd name="connsiteY1" fmla="*/ 15639 h 105628"/>
                    <a:gd name="connsiteX2" fmla="*/ 155815 w 155814"/>
                    <a:gd name="connsiteY2" fmla="*/ 23740 h 105628"/>
                    <a:gd name="connsiteX3" fmla="*/ 155806 w 155814"/>
                    <a:gd name="connsiteY3" fmla="*/ 32224 h 105628"/>
                    <a:gd name="connsiteX4" fmla="*/ 155806 w 155814"/>
                    <a:gd name="connsiteY4" fmla="*/ 46103 h 105628"/>
                    <a:gd name="connsiteX5" fmla="*/ 155806 w 155814"/>
                    <a:gd name="connsiteY5" fmla="*/ 51107 h 105628"/>
                    <a:gd name="connsiteX6" fmla="*/ 155798 w 155814"/>
                    <a:gd name="connsiteY6" fmla="*/ 58442 h 105628"/>
                    <a:gd name="connsiteX7" fmla="*/ 155798 w 155814"/>
                    <a:gd name="connsiteY7" fmla="*/ 61824 h 105628"/>
                    <a:gd name="connsiteX8" fmla="*/ 152221 w 155814"/>
                    <a:gd name="connsiteY8" fmla="*/ 68425 h 105628"/>
                    <a:gd name="connsiteX9" fmla="*/ 147836 w 155814"/>
                    <a:gd name="connsiteY9" fmla="*/ 76510 h 105628"/>
                    <a:gd name="connsiteX10" fmla="*/ 143174 w 155814"/>
                    <a:gd name="connsiteY10" fmla="*/ 85091 h 105628"/>
                    <a:gd name="connsiteX11" fmla="*/ 139311 w 155814"/>
                    <a:gd name="connsiteY11" fmla="*/ 92206 h 105628"/>
                    <a:gd name="connsiteX12" fmla="*/ 135693 w 155814"/>
                    <a:gd name="connsiteY12" fmla="*/ 98856 h 105628"/>
                    <a:gd name="connsiteX13" fmla="*/ 131993 w 155814"/>
                    <a:gd name="connsiteY13" fmla="*/ 105629 h 105628"/>
                    <a:gd name="connsiteX14" fmla="*/ 123550 w 155814"/>
                    <a:gd name="connsiteY14" fmla="*/ 105629 h 105628"/>
                    <a:gd name="connsiteX15" fmla="*/ 115319 w 155814"/>
                    <a:gd name="connsiteY15" fmla="*/ 105629 h 105628"/>
                    <a:gd name="connsiteX16" fmla="*/ 107194 w 155814"/>
                    <a:gd name="connsiteY16" fmla="*/ 105629 h 105628"/>
                    <a:gd name="connsiteX17" fmla="*/ 105743 w 155814"/>
                    <a:gd name="connsiteY17" fmla="*/ 104765 h 105628"/>
                    <a:gd name="connsiteX18" fmla="*/ 98921 w 155814"/>
                    <a:gd name="connsiteY18" fmla="*/ 101994 h 105628"/>
                    <a:gd name="connsiteX19" fmla="*/ 90275 w 155814"/>
                    <a:gd name="connsiteY19" fmla="*/ 98481 h 105628"/>
                    <a:gd name="connsiteX20" fmla="*/ 79541 w 155814"/>
                    <a:gd name="connsiteY20" fmla="*/ 94113 h 105628"/>
                    <a:gd name="connsiteX21" fmla="*/ 71905 w 155814"/>
                    <a:gd name="connsiteY21" fmla="*/ 91008 h 105628"/>
                    <a:gd name="connsiteX22" fmla="*/ 63763 w 155814"/>
                    <a:gd name="connsiteY22" fmla="*/ 87764 h 105628"/>
                    <a:gd name="connsiteX23" fmla="*/ 55492 w 155814"/>
                    <a:gd name="connsiteY23" fmla="*/ 84472 h 105628"/>
                    <a:gd name="connsiteX24" fmla="*/ 49012 w 155814"/>
                    <a:gd name="connsiteY24" fmla="*/ 81880 h 105628"/>
                    <a:gd name="connsiteX25" fmla="*/ 40928 w 155814"/>
                    <a:gd name="connsiteY25" fmla="*/ 78661 h 105628"/>
                    <a:gd name="connsiteX26" fmla="*/ 33895 w 155814"/>
                    <a:gd name="connsiteY26" fmla="*/ 75866 h 105628"/>
                    <a:gd name="connsiteX27" fmla="*/ 32933 w 155814"/>
                    <a:gd name="connsiteY27" fmla="*/ 75181 h 105628"/>
                    <a:gd name="connsiteX28" fmla="*/ 29037 w 155814"/>
                    <a:gd name="connsiteY28" fmla="*/ 70903 h 105628"/>
                    <a:gd name="connsiteX29" fmla="*/ 23928 w 155814"/>
                    <a:gd name="connsiteY29" fmla="*/ 65279 h 105628"/>
                    <a:gd name="connsiteX30" fmla="*/ 22942 w 155814"/>
                    <a:gd name="connsiteY30" fmla="*/ 65181 h 105628"/>
                    <a:gd name="connsiteX31" fmla="*/ 20497 w 155814"/>
                    <a:gd name="connsiteY31" fmla="*/ 64008 h 105628"/>
                    <a:gd name="connsiteX32" fmla="*/ 18313 w 155814"/>
                    <a:gd name="connsiteY32" fmla="*/ 60968 h 105628"/>
                    <a:gd name="connsiteX33" fmla="*/ 16047 w 155814"/>
                    <a:gd name="connsiteY33" fmla="*/ 57081 h 105628"/>
                    <a:gd name="connsiteX34" fmla="*/ 13952 w 155814"/>
                    <a:gd name="connsiteY34" fmla="*/ 52232 h 105628"/>
                    <a:gd name="connsiteX35" fmla="*/ 13031 w 155814"/>
                    <a:gd name="connsiteY35" fmla="*/ 48915 h 105628"/>
                    <a:gd name="connsiteX36" fmla="*/ 10236 w 155814"/>
                    <a:gd name="connsiteY36" fmla="*/ 47521 h 105628"/>
                    <a:gd name="connsiteX37" fmla="*/ 8891 w 155814"/>
                    <a:gd name="connsiteY37" fmla="*/ 44921 h 105628"/>
                    <a:gd name="connsiteX38" fmla="*/ 6357 w 155814"/>
                    <a:gd name="connsiteY38" fmla="*/ 41050 h 105628"/>
                    <a:gd name="connsiteX39" fmla="*/ 4605 w 155814"/>
                    <a:gd name="connsiteY39" fmla="*/ 39176 h 105628"/>
                    <a:gd name="connsiteX40" fmla="*/ 3977 w 155814"/>
                    <a:gd name="connsiteY40" fmla="*/ 37529 h 105628"/>
                    <a:gd name="connsiteX41" fmla="*/ 3162 w 155814"/>
                    <a:gd name="connsiteY41" fmla="*/ 34139 h 105628"/>
                    <a:gd name="connsiteX42" fmla="*/ 1712 w 155814"/>
                    <a:gd name="connsiteY42" fmla="*/ 30456 h 105628"/>
                    <a:gd name="connsiteX43" fmla="*/ 326 w 155814"/>
                    <a:gd name="connsiteY43" fmla="*/ 28165 h 105628"/>
                    <a:gd name="connsiteX44" fmla="*/ 0 w 155814"/>
                    <a:gd name="connsiteY44" fmla="*/ 27187 h 105628"/>
                    <a:gd name="connsiteX45" fmla="*/ 90 w 155814"/>
                    <a:gd name="connsiteY45" fmla="*/ 26544 h 105628"/>
                    <a:gd name="connsiteX46" fmla="*/ 2649 w 155814"/>
                    <a:gd name="connsiteY46" fmla="*/ 21540 h 105628"/>
                    <a:gd name="connsiteX47" fmla="*/ 3806 w 155814"/>
                    <a:gd name="connsiteY47" fmla="*/ 19755 h 105628"/>
                    <a:gd name="connsiteX48" fmla="*/ 5126 w 155814"/>
                    <a:gd name="connsiteY48" fmla="*/ 18027 h 105628"/>
                    <a:gd name="connsiteX49" fmla="*/ 6202 w 155814"/>
                    <a:gd name="connsiteY49" fmla="*/ 16307 h 105628"/>
                    <a:gd name="connsiteX50" fmla="*/ 6610 w 155814"/>
                    <a:gd name="connsiteY50" fmla="*/ 15126 h 105628"/>
                    <a:gd name="connsiteX51" fmla="*/ 9723 w 155814"/>
                    <a:gd name="connsiteY51" fmla="*/ 9234 h 105628"/>
                    <a:gd name="connsiteX52" fmla="*/ 12485 w 155814"/>
                    <a:gd name="connsiteY52" fmla="*/ 4058 h 105628"/>
                    <a:gd name="connsiteX53" fmla="*/ 14637 w 155814"/>
                    <a:gd name="connsiteY53" fmla="*/ 0 h 105628"/>
                    <a:gd name="connsiteX54" fmla="*/ 19478 w 155814"/>
                    <a:gd name="connsiteY54" fmla="*/ 4637 h 105628"/>
                    <a:gd name="connsiteX55" fmla="*/ 24189 w 155814"/>
                    <a:gd name="connsiteY55" fmla="*/ 14034 h 105628"/>
                    <a:gd name="connsiteX56" fmla="*/ 29682 w 155814"/>
                    <a:gd name="connsiteY56" fmla="*/ 21621 h 105628"/>
                    <a:gd name="connsiteX57" fmla="*/ 37252 w 155814"/>
                    <a:gd name="connsiteY57" fmla="*/ 28679 h 105628"/>
                    <a:gd name="connsiteX58" fmla="*/ 40260 w 155814"/>
                    <a:gd name="connsiteY58" fmla="*/ 31058 h 105628"/>
                    <a:gd name="connsiteX59" fmla="*/ 42925 w 155814"/>
                    <a:gd name="connsiteY59" fmla="*/ 32314 h 105628"/>
                    <a:gd name="connsiteX60" fmla="*/ 56714 w 155814"/>
                    <a:gd name="connsiteY60" fmla="*/ 32118 h 105628"/>
                    <a:gd name="connsiteX61" fmla="*/ 66510 w 155814"/>
                    <a:gd name="connsiteY61" fmla="*/ 25680 h 105628"/>
                    <a:gd name="connsiteX62" fmla="*/ 75393 w 155814"/>
                    <a:gd name="connsiteY62" fmla="*/ 21034 h 105628"/>
                    <a:gd name="connsiteX63" fmla="*/ 78384 w 155814"/>
                    <a:gd name="connsiteY63" fmla="*/ 20064 h 105628"/>
                    <a:gd name="connsiteX64" fmla="*/ 83543 w 155814"/>
                    <a:gd name="connsiteY64" fmla="*/ 21336 h 105628"/>
                    <a:gd name="connsiteX65" fmla="*/ 89231 w 155814"/>
                    <a:gd name="connsiteY65" fmla="*/ 21719 h 105628"/>
                    <a:gd name="connsiteX66" fmla="*/ 94350 w 155814"/>
                    <a:gd name="connsiteY66" fmla="*/ 23137 h 105628"/>
                    <a:gd name="connsiteX67" fmla="*/ 96958 w 155814"/>
                    <a:gd name="connsiteY67" fmla="*/ 22778 h 105628"/>
                    <a:gd name="connsiteX68" fmla="*/ 107079 w 155814"/>
                    <a:gd name="connsiteY68" fmla="*/ 17359 h 105628"/>
                    <a:gd name="connsiteX69" fmla="*/ 113436 w 155814"/>
                    <a:gd name="connsiteY69" fmla="*/ 12086 h 105628"/>
                    <a:gd name="connsiteX70" fmla="*/ 117780 w 155814"/>
                    <a:gd name="connsiteY70" fmla="*/ 9845 h 105628"/>
                    <a:gd name="connsiteX71" fmla="*/ 119491 w 155814"/>
                    <a:gd name="connsiteY71" fmla="*/ 9829 h 105628"/>
                    <a:gd name="connsiteX72" fmla="*/ 125408 w 155814"/>
                    <a:gd name="connsiteY72" fmla="*/ 11719 h 105628"/>
                    <a:gd name="connsiteX73" fmla="*/ 133012 w 155814"/>
                    <a:gd name="connsiteY73" fmla="*/ 10896 h 105628"/>
                    <a:gd name="connsiteX74" fmla="*/ 143427 w 155814"/>
                    <a:gd name="connsiteY74" fmla="*/ 6332 h 105628"/>
                    <a:gd name="connsiteX75" fmla="*/ 146744 w 155814"/>
                    <a:gd name="connsiteY75" fmla="*/ 5419 h 105628"/>
                    <a:gd name="connsiteX76" fmla="*/ 149279 w 155814"/>
                    <a:gd name="connsiteY76" fmla="*/ 5354 h 105628"/>
                    <a:gd name="connsiteX77" fmla="*/ 154934 w 155814"/>
                    <a:gd name="connsiteY77" fmla="*/ 7400 h 105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55814" h="105628">
                      <a:moveTo>
                        <a:pt x="155815" y="7294"/>
                      </a:moveTo>
                      <a:lnTo>
                        <a:pt x="155815" y="15639"/>
                      </a:lnTo>
                      <a:lnTo>
                        <a:pt x="155815" y="23740"/>
                      </a:lnTo>
                      <a:lnTo>
                        <a:pt x="155806" y="32224"/>
                      </a:lnTo>
                      <a:lnTo>
                        <a:pt x="155806" y="46103"/>
                      </a:lnTo>
                      <a:lnTo>
                        <a:pt x="155806" y="51107"/>
                      </a:lnTo>
                      <a:lnTo>
                        <a:pt x="155798" y="58442"/>
                      </a:lnTo>
                      <a:lnTo>
                        <a:pt x="155798" y="61824"/>
                      </a:lnTo>
                      <a:lnTo>
                        <a:pt x="152221" y="68425"/>
                      </a:lnTo>
                      <a:lnTo>
                        <a:pt x="147836" y="76510"/>
                      </a:lnTo>
                      <a:lnTo>
                        <a:pt x="143174" y="85091"/>
                      </a:lnTo>
                      <a:lnTo>
                        <a:pt x="139311" y="92206"/>
                      </a:lnTo>
                      <a:lnTo>
                        <a:pt x="135693" y="98856"/>
                      </a:lnTo>
                      <a:lnTo>
                        <a:pt x="131993" y="105629"/>
                      </a:lnTo>
                      <a:lnTo>
                        <a:pt x="123550" y="105629"/>
                      </a:lnTo>
                      <a:lnTo>
                        <a:pt x="115319" y="105629"/>
                      </a:lnTo>
                      <a:lnTo>
                        <a:pt x="107194" y="105629"/>
                      </a:lnTo>
                      <a:lnTo>
                        <a:pt x="105743" y="104765"/>
                      </a:lnTo>
                      <a:lnTo>
                        <a:pt x="98921" y="101994"/>
                      </a:lnTo>
                      <a:lnTo>
                        <a:pt x="90275" y="98481"/>
                      </a:lnTo>
                      <a:lnTo>
                        <a:pt x="79541" y="94113"/>
                      </a:lnTo>
                      <a:lnTo>
                        <a:pt x="71905" y="91008"/>
                      </a:lnTo>
                      <a:lnTo>
                        <a:pt x="63763" y="87764"/>
                      </a:lnTo>
                      <a:lnTo>
                        <a:pt x="55492" y="84472"/>
                      </a:lnTo>
                      <a:lnTo>
                        <a:pt x="49012" y="81880"/>
                      </a:lnTo>
                      <a:lnTo>
                        <a:pt x="40928" y="78661"/>
                      </a:lnTo>
                      <a:lnTo>
                        <a:pt x="33895" y="75866"/>
                      </a:lnTo>
                      <a:lnTo>
                        <a:pt x="32933" y="75181"/>
                      </a:lnTo>
                      <a:lnTo>
                        <a:pt x="29037" y="70903"/>
                      </a:lnTo>
                      <a:lnTo>
                        <a:pt x="23928" y="65279"/>
                      </a:lnTo>
                      <a:lnTo>
                        <a:pt x="22942" y="65181"/>
                      </a:lnTo>
                      <a:lnTo>
                        <a:pt x="20497" y="64008"/>
                      </a:lnTo>
                      <a:lnTo>
                        <a:pt x="18313" y="60968"/>
                      </a:lnTo>
                      <a:lnTo>
                        <a:pt x="16047" y="57081"/>
                      </a:lnTo>
                      <a:lnTo>
                        <a:pt x="13952" y="52232"/>
                      </a:lnTo>
                      <a:lnTo>
                        <a:pt x="13031" y="48915"/>
                      </a:lnTo>
                      <a:lnTo>
                        <a:pt x="10236" y="47521"/>
                      </a:lnTo>
                      <a:lnTo>
                        <a:pt x="8891" y="44921"/>
                      </a:lnTo>
                      <a:lnTo>
                        <a:pt x="6357" y="41050"/>
                      </a:lnTo>
                      <a:lnTo>
                        <a:pt x="4605" y="39176"/>
                      </a:lnTo>
                      <a:lnTo>
                        <a:pt x="3977" y="37529"/>
                      </a:lnTo>
                      <a:lnTo>
                        <a:pt x="3162" y="34139"/>
                      </a:lnTo>
                      <a:lnTo>
                        <a:pt x="1712" y="30456"/>
                      </a:lnTo>
                      <a:lnTo>
                        <a:pt x="326" y="28165"/>
                      </a:lnTo>
                      <a:lnTo>
                        <a:pt x="0" y="27187"/>
                      </a:lnTo>
                      <a:lnTo>
                        <a:pt x="90" y="26544"/>
                      </a:lnTo>
                      <a:lnTo>
                        <a:pt x="2649" y="21540"/>
                      </a:lnTo>
                      <a:lnTo>
                        <a:pt x="3806" y="19755"/>
                      </a:lnTo>
                      <a:lnTo>
                        <a:pt x="5126" y="18027"/>
                      </a:lnTo>
                      <a:lnTo>
                        <a:pt x="6202" y="16307"/>
                      </a:lnTo>
                      <a:lnTo>
                        <a:pt x="6610" y="15126"/>
                      </a:lnTo>
                      <a:lnTo>
                        <a:pt x="9723" y="9234"/>
                      </a:lnTo>
                      <a:lnTo>
                        <a:pt x="12485" y="4058"/>
                      </a:lnTo>
                      <a:lnTo>
                        <a:pt x="14637" y="0"/>
                      </a:lnTo>
                      <a:lnTo>
                        <a:pt x="19478" y="4637"/>
                      </a:lnTo>
                      <a:lnTo>
                        <a:pt x="24189" y="14034"/>
                      </a:lnTo>
                      <a:lnTo>
                        <a:pt x="29682" y="21621"/>
                      </a:lnTo>
                      <a:lnTo>
                        <a:pt x="37252" y="28679"/>
                      </a:lnTo>
                      <a:lnTo>
                        <a:pt x="40260" y="31058"/>
                      </a:lnTo>
                      <a:lnTo>
                        <a:pt x="42925" y="32314"/>
                      </a:lnTo>
                      <a:lnTo>
                        <a:pt x="56714" y="32118"/>
                      </a:lnTo>
                      <a:lnTo>
                        <a:pt x="66510" y="25680"/>
                      </a:lnTo>
                      <a:lnTo>
                        <a:pt x="75393" y="21034"/>
                      </a:lnTo>
                      <a:lnTo>
                        <a:pt x="78384" y="20064"/>
                      </a:lnTo>
                      <a:lnTo>
                        <a:pt x="83543" y="21336"/>
                      </a:lnTo>
                      <a:lnTo>
                        <a:pt x="89231" y="21719"/>
                      </a:lnTo>
                      <a:lnTo>
                        <a:pt x="94350" y="23137"/>
                      </a:lnTo>
                      <a:lnTo>
                        <a:pt x="96958" y="22778"/>
                      </a:lnTo>
                      <a:lnTo>
                        <a:pt x="107079" y="17359"/>
                      </a:lnTo>
                      <a:lnTo>
                        <a:pt x="113436" y="12086"/>
                      </a:lnTo>
                      <a:lnTo>
                        <a:pt x="117780" y="9845"/>
                      </a:lnTo>
                      <a:lnTo>
                        <a:pt x="119491" y="9829"/>
                      </a:lnTo>
                      <a:lnTo>
                        <a:pt x="125408" y="11719"/>
                      </a:lnTo>
                      <a:lnTo>
                        <a:pt x="133012" y="10896"/>
                      </a:lnTo>
                      <a:lnTo>
                        <a:pt x="143427" y="6332"/>
                      </a:lnTo>
                      <a:lnTo>
                        <a:pt x="146744" y="5419"/>
                      </a:lnTo>
                      <a:lnTo>
                        <a:pt x="149279" y="5354"/>
                      </a:lnTo>
                      <a:lnTo>
                        <a:pt x="154934" y="7400"/>
                      </a:lnTo>
                      <a:close/>
                    </a:path>
                  </a:pathLst>
                </a:custGeom>
                <a:solidFill>
                  <a:srgbClr val="D6D6D2"/>
                </a:solidFill>
                <a:ln w="6112" cap="rnd">
                  <a:solidFill>
                    <a:srgbClr val="FFFFFF"/>
                  </a:solidFill>
                  <a:prstDash val="solid"/>
                  <a:round/>
                </a:ln>
              </p:spPr>
              <p:txBody>
                <a:bodyPr rtlCol="0" anchor="ctr"/>
                <a:lstStyle/>
                <a:p>
                  <a:endParaRPr lang="en-US"/>
                </a:p>
              </p:txBody>
            </p:sp>
            <p:sp>
              <p:nvSpPr>
                <p:cNvPr id="578" name="Freeform: Shape 577">
                  <a:extLst>
                    <a:ext uri="{FF2B5EF4-FFF2-40B4-BE49-F238E27FC236}">
                      <a16:creationId xmlns:a16="http://schemas.microsoft.com/office/drawing/2014/main" id="{69AE1CB5-EB8E-48AF-A861-F1216D021AAC}"/>
                    </a:ext>
                  </a:extLst>
                </p:cNvPr>
                <p:cNvSpPr/>
                <p:nvPr/>
              </p:nvSpPr>
              <p:spPr>
                <a:xfrm>
                  <a:off x="3708804" y="4090148"/>
                  <a:ext cx="59289" cy="38491"/>
                </a:xfrm>
                <a:custGeom>
                  <a:avLst/>
                  <a:gdLst>
                    <a:gd name="connsiteX0" fmla="*/ 18435 w 59289"/>
                    <a:gd name="connsiteY0" fmla="*/ 464 h 38491"/>
                    <a:gd name="connsiteX1" fmla="*/ 19062 w 59289"/>
                    <a:gd name="connsiteY1" fmla="*/ 603 h 38491"/>
                    <a:gd name="connsiteX2" fmla="*/ 23202 w 59289"/>
                    <a:gd name="connsiteY2" fmla="*/ 2151 h 38491"/>
                    <a:gd name="connsiteX3" fmla="*/ 24441 w 59289"/>
                    <a:gd name="connsiteY3" fmla="*/ 1850 h 38491"/>
                    <a:gd name="connsiteX4" fmla="*/ 26006 w 59289"/>
                    <a:gd name="connsiteY4" fmla="*/ 3105 h 38491"/>
                    <a:gd name="connsiteX5" fmla="*/ 26755 w 59289"/>
                    <a:gd name="connsiteY5" fmla="*/ 4083 h 38491"/>
                    <a:gd name="connsiteX6" fmla="*/ 27416 w 59289"/>
                    <a:gd name="connsiteY6" fmla="*/ 5428 h 38491"/>
                    <a:gd name="connsiteX7" fmla="*/ 30692 w 59289"/>
                    <a:gd name="connsiteY7" fmla="*/ 8133 h 38491"/>
                    <a:gd name="connsiteX8" fmla="*/ 31246 w 59289"/>
                    <a:gd name="connsiteY8" fmla="*/ 9315 h 38491"/>
                    <a:gd name="connsiteX9" fmla="*/ 33691 w 59289"/>
                    <a:gd name="connsiteY9" fmla="*/ 10912 h 38491"/>
                    <a:gd name="connsiteX10" fmla="*/ 34677 w 59289"/>
                    <a:gd name="connsiteY10" fmla="*/ 12143 h 38491"/>
                    <a:gd name="connsiteX11" fmla="*/ 35712 w 59289"/>
                    <a:gd name="connsiteY11" fmla="*/ 12640 h 38491"/>
                    <a:gd name="connsiteX12" fmla="*/ 37758 w 59289"/>
                    <a:gd name="connsiteY12" fmla="*/ 13105 h 38491"/>
                    <a:gd name="connsiteX13" fmla="*/ 39510 w 59289"/>
                    <a:gd name="connsiteY13" fmla="*/ 13748 h 38491"/>
                    <a:gd name="connsiteX14" fmla="*/ 39722 w 59289"/>
                    <a:gd name="connsiteY14" fmla="*/ 14197 h 38491"/>
                    <a:gd name="connsiteX15" fmla="*/ 39885 w 59289"/>
                    <a:gd name="connsiteY15" fmla="*/ 16014 h 38491"/>
                    <a:gd name="connsiteX16" fmla="*/ 40251 w 59289"/>
                    <a:gd name="connsiteY16" fmla="*/ 17538 h 38491"/>
                    <a:gd name="connsiteX17" fmla="*/ 41091 w 59289"/>
                    <a:gd name="connsiteY17" fmla="*/ 17636 h 38491"/>
                    <a:gd name="connsiteX18" fmla="*/ 42093 w 59289"/>
                    <a:gd name="connsiteY18" fmla="*/ 16902 h 38491"/>
                    <a:gd name="connsiteX19" fmla="*/ 45369 w 59289"/>
                    <a:gd name="connsiteY19" fmla="*/ 14857 h 38491"/>
                    <a:gd name="connsiteX20" fmla="*/ 48483 w 59289"/>
                    <a:gd name="connsiteY20" fmla="*/ 13496 h 38491"/>
                    <a:gd name="connsiteX21" fmla="*/ 50235 w 59289"/>
                    <a:gd name="connsiteY21" fmla="*/ 14311 h 38491"/>
                    <a:gd name="connsiteX22" fmla="*/ 51270 w 59289"/>
                    <a:gd name="connsiteY22" fmla="*/ 16006 h 38491"/>
                    <a:gd name="connsiteX23" fmla="*/ 52452 w 59289"/>
                    <a:gd name="connsiteY23" fmla="*/ 16764 h 38491"/>
                    <a:gd name="connsiteX24" fmla="*/ 54905 w 59289"/>
                    <a:gd name="connsiteY24" fmla="*/ 16307 h 38491"/>
                    <a:gd name="connsiteX25" fmla="*/ 57129 w 59289"/>
                    <a:gd name="connsiteY25" fmla="*/ 16446 h 38491"/>
                    <a:gd name="connsiteX26" fmla="*/ 58890 w 59289"/>
                    <a:gd name="connsiteY26" fmla="*/ 17937 h 38491"/>
                    <a:gd name="connsiteX27" fmla="*/ 59289 w 59289"/>
                    <a:gd name="connsiteY27" fmla="*/ 18801 h 38491"/>
                    <a:gd name="connsiteX28" fmla="*/ 58214 w 59289"/>
                    <a:gd name="connsiteY28" fmla="*/ 23740 h 38491"/>
                    <a:gd name="connsiteX29" fmla="*/ 57822 w 59289"/>
                    <a:gd name="connsiteY29" fmla="*/ 25859 h 38491"/>
                    <a:gd name="connsiteX30" fmla="*/ 57635 w 59289"/>
                    <a:gd name="connsiteY30" fmla="*/ 27644 h 38491"/>
                    <a:gd name="connsiteX31" fmla="*/ 58262 w 59289"/>
                    <a:gd name="connsiteY31" fmla="*/ 28116 h 38491"/>
                    <a:gd name="connsiteX32" fmla="*/ 58882 w 59289"/>
                    <a:gd name="connsiteY32" fmla="*/ 28809 h 38491"/>
                    <a:gd name="connsiteX33" fmla="*/ 58751 w 59289"/>
                    <a:gd name="connsiteY33" fmla="*/ 29779 h 38491"/>
                    <a:gd name="connsiteX34" fmla="*/ 56836 w 59289"/>
                    <a:gd name="connsiteY34" fmla="*/ 31360 h 38491"/>
                    <a:gd name="connsiteX35" fmla="*/ 56233 w 59289"/>
                    <a:gd name="connsiteY35" fmla="*/ 31767 h 38491"/>
                    <a:gd name="connsiteX36" fmla="*/ 56673 w 59289"/>
                    <a:gd name="connsiteY36" fmla="*/ 34824 h 38491"/>
                    <a:gd name="connsiteX37" fmla="*/ 55255 w 59289"/>
                    <a:gd name="connsiteY37" fmla="*/ 36657 h 38491"/>
                    <a:gd name="connsiteX38" fmla="*/ 53943 w 59289"/>
                    <a:gd name="connsiteY38" fmla="*/ 37986 h 38491"/>
                    <a:gd name="connsiteX39" fmla="*/ 51645 w 59289"/>
                    <a:gd name="connsiteY39" fmla="*/ 38353 h 38491"/>
                    <a:gd name="connsiteX40" fmla="*/ 47741 w 59289"/>
                    <a:gd name="connsiteY40" fmla="*/ 38491 h 38491"/>
                    <a:gd name="connsiteX41" fmla="*/ 41881 w 59289"/>
                    <a:gd name="connsiteY41" fmla="*/ 36991 h 38491"/>
                    <a:gd name="connsiteX42" fmla="*/ 37554 w 59289"/>
                    <a:gd name="connsiteY42" fmla="*/ 34938 h 38491"/>
                    <a:gd name="connsiteX43" fmla="*/ 35223 w 59289"/>
                    <a:gd name="connsiteY43" fmla="*/ 34930 h 38491"/>
                    <a:gd name="connsiteX44" fmla="*/ 35957 w 59289"/>
                    <a:gd name="connsiteY44" fmla="*/ 35606 h 38491"/>
                    <a:gd name="connsiteX45" fmla="*/ 37806 w 59289"/>
                    <a:gd name="connsiteY45" fmla="*/ 36038 h 38491"/>
                    <a:gd name="connsiteX46" fmla="*/ 40227 w 59289"/>
                    <a:gd name="connsiteY46" fmla="*/ 37489 h 38491"/>
                    <a:gd name="connsiteX47" fmla="*/ 39526 w 59289"/>
                    <a:gd name="connsiteY47" fmla="*/ 37888 h 38491"/>
                    <a:gd name="connsiteX48" fmla="*/ 30724 w 59289"/>
                    <a:gd name="connsiteY48" fmla="*/ 34873 h 38491"/>
                    <a:gd name="connsiteX49" fmla="*/ 20545 w 59289"/>
                    <a:gd name="connsiteY49" fmla="*/ 28964 h 38491"/>
                    <a:gd name="connsiteX50" fmla="*/ 14441 w 59289"/>
                    <a:gd name="connsiteY50" fmla="*/ 28019 h 38491"/>
                    <a:gd name="connsiteX51" fmla="*/ 7481 w 59289"/>
                    <a:gd name="connsiteY51" fmla="*/ 26470 h 38491"/>
                    <a:gd name="connsiteX52" fmla="*/ 3349 w 59289"/>
                    <a:gd name="connsiteY52" fmla="*/ 22738 h 38491"/>
                    <a:gd name="connsiteX53" fmla="*/ 261 w 59289"/>
                    <a:gd name="connsiteY53" fmla="*/ 21124 h 38491"/>
                    <a:gd name="connsiteX54" fmla="*/ 0 w 59289"/>
                    <a:gd name="connsiteY54" fmla="*/ 19706 h 38491"/>
                    <a:gd name="connsiteX55" fmla="*/ 24 w 59289"/>
                    <a:gd name="connsiteY55" fmla="*/ 18133 h 38491"/>
                    <a:gd name="connsiteX56" fmla="*/ 1426 w 59289"/>
                    <a:gd name="connsiteY56" fmla="*/ 16030 h 38491"/>
                    <a:gd name="connsiteX57" fmla="*/ 4042 w 59289"/>
                    <a:gd name="connsiteY57" fmla="*/ 13194 h 38491"/>
                    <a:gd name="connsiteX58" fmla="*/ 5778 w 59289"/>
                    <a:gd name="connsiteY58" fmla="*/ 11719 h 38491"/>
                    <a:gd name="connsiteX59" fmla="*/ 6593 w 59289"/>
                    <a:gd name="connsiteY59" fmla="*/ 11434 h 38491"/>
                    <a:gd name="connsiteX60" fmla="*/ 7734 w 59289"/>
                    <a:gd name="connsiteY60" fmla="*/ 11589 h 38491"/>
                    <a:gd name="connsiteX61" fmla="*/ 8834 w 59289"/>
                    <a:gd name="connsiteY61" fmla="*/ 10774 h 38491"/>
                    <a:gd name="connsiteX62" fmla="*/ 9788 w 59289"/>
                    <a:gd name="connsiteY62" fmla="*/ 8818 h 38491"/>
                    <a:gd name="connsiteX63" fmla="*/ 10774 w 59289"/>
                    <a:gd name="connsiteY63" fmla="*/ 7555 h 38491"/>
                    <a:gd name="connsiteX64" fmla="*/ 13276 w 59289"/>
                    <a:gd name="connsiteY64" fmla="*/ 6283 h 38491"/>
                    <a:gd name="connsiteX65" fmla="*/ 13854 w 59289"/>
                    <a:gd name="connsiteY65" fmla="*/ 5778 h 38491"/>
                    <a:gd name="connsiteX66" fmla="*/ 13659 w 59289"/>
                    <a:gd name="connsiteY66" fmla="*/ 4686 h 38491"/>
                    <a:gd name="connsiteX67" fmla="*/ 13113 w 59289"/>
                    <a:gd name="connsiteY67" fmla="*/ 2559 h 38491"/>
                    <a:gd name="connsiteX68" fmla="*/ 13194 w 59289"/>
                    <a:gd name="connsiteY68" fmla="*/ 1255 h 38491"/>
                    <a:gd name="connsiteX69" fmla="*/ 14018 w 59289"/>
                    <a:gd name="connsiteY69" fmla="*/ 644 h 38491"/>
                    <a:gd name="connsiteX70" fmla="*/ 15004 w 59289"/>
                    <a:gd name="connsiteY70" fmla="*/ 530 h 38491"/>
                    <a:gd name="connsiteX71" fmla="*/ 17033 w 59289"/>
                    <a:gd name="connsiteY71" fmla="*/ 0 h 38491"/>
                    <a:gd name="connsiteX72" fmla="*/ 17913 w 59289"/>
                    <a:gd name="connsiteY72" fmla="*/ 114 h 38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59289" h="38491">
                      <a:moveTo>
                        <a:pt x="18435" y="464"/>
                      </a:moveTo>
                      <a:lnTo>
                        <a:pt x="19062" y="603"/>
                      </a:lnTo>
                      <a:lnTo>
                        <a:pt x="23202" y="2151"/>
                      </a:lnTo>
                      <a:lnTo>
                        <a:pt x="24441" y="1850"/>
                      </a:lnTo>
                      <a:lnTo>
                        <a:pt x="26006" y="3105"/>
                      </a:lnTo>
                      <a:lnTo>
                        <a:pt x="26755" y="4083"/>
                      </a:lnTo>
                      <a:lnTo>
                        <a:pt x="27416" y="5428"/>
                      </a:lnTo>
                      <a:lnTo>
                        <a:pt x="30692" y="8133"/>
                      </a:lnTo>
                      <a:lnTo>
                        <a:pt x="31246" y="9315"/>
                      </a:lnTo>
                      <a:lnTo>
                        <a:pt x="33691" y="10912"/>
                      </a:lnTo>
                      <a:lnTo>
                        <a:pt x="34677" y="12143"/>
                      </a:lnTo>
                      <a:lnTo>
                        <a:pt x="35712" y="12640"/>
                      </a:lnTo>
                      <a:lnTo>
                        <a:pt x="37758" y="13105"/>
                      </a:lnTo>
                      <a:lnTo>
                        <a:pt x="39510" y="13748"/>
                      </a:lnTo>
                      <a:lnTo>
                        <a:pt x="39722" y="14197"/>
                      </a:lnTo>
                      <a:lnTo>
                        <a:pt x="39885" y="16014"/>
                      </a:lnTo>
                      <a:lnTo>
                        <a:pt x="40251" y="17538"/>
                      </a:lnTo>
                      <a:lnTo>
                        <a:pt x="41091" y="17636"/>
                      </a:lnTo>
                      <a:lnTo>
                        <a:pt x="42093" y="16902"/>
                      </a:lnTo>
                      <a:lnTo>
                        <a:pt x="45369" y="14857"/>
                      </a:lnTo>
                      <a:lnTo>
                        <a:pt x="48483" y="13496"/>
                      </a:lnTo>
                      <a:lnTo>
                        <a:pt x="50235" y="14311"/>
                      </a:lnTo>
                      <a:lnTo>
                        <a:pt x="51270" y="16006"/>
                      </a:lnTo>
                      <a:lnTo>
                        <a:pt x="52452" y="16764"/>
                      </a:lnTo>
                      <a:lnTo>
                        <a:pt x="54905" y="16307"/>
                      </a:lnTo>
                      <a:lnTo>
                        <a:pt x="57129" y="16446"/>
                      </a:lnTo>
                      <a:lnTo>
                        <a:pt x="58890" y="17937"/>
                      </a:lnTo>
                      <a:lnTo>
                        <a:pt x="59289" y="18801"/>
                      </a:lnTo>
                      <a:lnTo>
                        <a:pt x="58214" y="23740"/>
                      </a:lnTo>
                      <a:lnTo>
                        <a:pt x="57822" y="25859"/>
                      </a:lnTo>
                      <a:lnTo>
                        <a:pt x="57635" y="27644"/>
                      </a:lnTo>
                      <a:lnTo>
                        <a:pt x="58262" y="28116"/>
                      </a:lnTo>
                      <a:lnTo>
                        <a:pt x="58882" y="28809"/>
                      </a:lnTo>
                      <a:lnTo>
                        <a:pt x="58751" y="29779"/>
                      </a:lnTo>
                      <a:lnTo>
                        <a:pt x="56836" y="31360"/>
                      </a:lnTo>
                      <a:lnTo>
                        <a:pt x="56233" y="31767"/>
                      </a:lnTo>
                      <a:lnTo>
                        <a:pt x="56673" y="34824"/>
                      </a:lnTo>
                      <a:lnTo>
                        <a:pt x="55255" y="36657"/>
                      </a:lnTo>
                      <a:lnTo>
                        <a:pt x="53943" y="37986"/>
                      </a:lnTo>
                      <a:lnTo>
                        <a:pt x="51645" y="38353"/>
                      </a:lnTo>
                      <a:lnTo>
                        <a:pt x="47741" y="38491"/>
                      </a:lnTo>
                      <a:lnTo>
                        <a:pt x="41881" y="36991"/>
                      </a:lnTo>
                      <a:lnTo>
                        <a:pt x="37554" y="34938"/>
                      </a:lnTo>
                      <a:lnTo>
                        <a:pt x="35223" y="34930"/>
                      </a:lnTo>
                      <a:lnTo>
                        <a:pt x="35957" y="35606"/>
                      </a:lnTo>
                      <a:lnTo>
                        <a:pt x="37806" y="36038"/>
                      </a:lnTo>
                      <a:lnTo>
                        <a:pt x="40227" y="37489"/>
                      </a:lnTo>
                      <a:lnTo>
                        <a:pt x="39526" y="37888"/>
                      </a:lnTo>
                      <a:lnTo>
                        <a:pt x="30724" y="34873"/>
                      </a:lnTo>
                      <a:lnTo>
                        <a:pt x="20545" y="28964"/>
                      </a:lnTo>
                      <a:lnTo>
                        <a:pt x="14441" y="28019"/>
                      </a:lnTo>
                      <a:lnTo>
                        <a:pt x="7481" y="26470"/>
                      </a:lnTo>
                      <a:lnTo>
                        <a:pt x="3349" y="22738"/>
                      </a:lnTo>
                      <a:lnTo>
                        <a:pt x="261" y="21124"/>
                      </a:lnTo>
                      <a:lnTo>
                        <a:pt x="0" y="19706"/>
                      </a:lnTo>
                      <a:lnTo>
                        <a:pt x="24" y="18133"/>
                      </a:lnTo>
                      <a:lnTo>
                        <a:pt x="1426" y="16030"/>
                      </a:lnTo>
                      <a:lnTo>
                        <a:pt x="4042" y="13194"/>
                      </a:lnTo>
                      <a:lnTo>
                        <a:pt x="5778" y="11719"/>
                      </a:lnTo>
                      <a:lnTo>
                        <a:pt x="6593" y="11434"/>
                      </a:lnTo>
                      <a:lnTo>
                        <a:pt x="7734" y="11589"/>
                      </a:lnTo>
                      <a:lnTo>
                        <a:pt x="8834" y="10774"/>
                      </a:lnTo>
                      <a:lnTo>
                        <a:pt x="9788" y="8818"/>
                      </a:lnTo>
                      <a:lnTo>
                        <a:pt x="10774" y="7555"/>
                      </a:lnTo>
                      <a:lnTo>
                        <a:pt x="13276" y="6283"/>
                      </a:lnTo>
                      <a:lnTo>
                        <a:pt x="13854" y="5778"/>
                      </a:lnTo>
                      <a:lnTo>
                        <a:pt x="13659" y="4686"/>
                      </a:lnTo>
                      <a:lnTo>
                        <a:pt x="13113" y="2559"/>
                      </a:lnTo>
                      <a:lnTo>
                        <a:pt x="13194" y="1255"/>
                      </a:lnTo>
                      <a:lnTo>
                        <a:pt x="14018" y="644"/>
                      </a:lnTo>
                      <a:lnTo>
                        <a:pt x="15004" y="530"/>
                      </a:lnTo>
                      <a:lnTo>
                        <a:pt x="17033" y="0"/>
                      </a:lnTo>
                      <a:lnTo>
                        <a:pt x="17913" y="114"/>
                      </a:lnTo>
                      <a:close/>
                    </a:path>
                  </a:pathLst>
                </a:custGeom>
                <a:solidFill>
                  <a:srgbClr val="D6D6D2"/>
                </a:solidFill>
                <a:ln w="8150" cap="flat">
                  <a:noFill/>
                  <a:prstDash val="solid"/>
                  <a:miter/>
                </a:ln>
              </p:spPr>
              <p:txBody>
                <a:bodyPr rtlCol="0" anchor="ctr"/>
                <a:lstStyle/>
                <a:p>
                  <a:endParaRPr lang="en-US"/>
                </a:p>
              </p:txBody>
            </p:sp>
            <p:sp>
              <p:nvSpPr>
                <p:cNvPr id="579" name="Freeform: Shape 578">
                  <a:extLst>
                    <a:ext uri="{FF2B5EF4-FFF2-40B4-BE49-F238E27FC236}">
                      <a16:creationId xmlns:a16="http://schemas.microsoft.com/office/drawing/2014/main" id="{D5A9CC3C-0337-4002-A906-CAFA361E051B}"/>
                    </a:ext>
                  </a:extLst>
                </p:cNvPr>
                <p:cNvSpPr/>
                <p:nvPr/>
              </p:nvSpPr>
              <p:spPr>
                <a:xfrm>
                  <a:off x="5613943" y="4224440"/>
                  <a:ext cx="74643" cy="93061"/>
                </a:xfrm>
                <a:custGeom>
                  <a:avLst/>
                  <a:gdLst>
                    <a:gd name="connsiteX0" fmla="*/ 52378 w 74643"/>
                    <a:gd name="connsiteY0" fmla="*/ 2160 h 93061"/>
                    <a:gd name="connsiteX1" fmla="*/ 53992 w 74643"/>
                    <a:gd name="connsiteY1" fmla="*/ 4637 h 93061"/>
                    <a:gd name="connsiteX2" fmla="*/ 55687 w 74643"/>
                    <a:gd name="connsiteY2" fmla="*/ 6349 h 93061"/>
                    <a:gd name="connsiteX3" fmla="*/ 57782 w 74643"/>
                    <a:gd name="connsiteY3" fmla="*/ 10114 h 93061"/>
                    <a:gd name="connsiteX4" fmla="*/ 60218 w 74643"/>
                    <a:gd name="connsiteY4" fmla="*/ 14490 h 93061"/>
                    <a:gd name="connsiteX5" fmla="*/ 62851 w 74643"/>
                    <a:gd name="connsiteY5" fmla="*/ 18443 h 93061"/>
                    <a:gd name="connsiteX6" fmla="*/ 64538 w 74643"/>
                    <a:gd name="connsiteY6" fmla="*/ 20586 h 93061"/>
                    <a:gd name="connsiteX7" fmla="*/ 64733 w 74643"/>
                    <a:gd name="connsiteY7" fmla="*/ 21328 h 93061"/>
                    <a:gd name="connsiteX8" fmla="*/ 64611 w 74643"/>
                    <a:gd name="connsiteY8" fmla="*/ 22175 h 93061"/>
                    <a:gd name="connsiteX9" fmla="*/ 63780 w 74643"/>
                    <a:gd name="connsiteY9" fmla="*/ 24188 h 93061"/>
                    <a:gd name="connsiteX10" fmla="*/ 63063 w 74643"/>
                    <a:gd name="connsiteY10" fmla="*/ 26364 h 93061"/>
                    <a:gd name="connsiteX11" fmla="*/ 63136 w 74643"/>
                    <a:gd name="connsiteY11" fmla="*/ 27187 h 93061"/>
                    <a:gd name="connsiteX12" fmla="*/ 63633 w 74643"/>
                    <a:gd name="connsiteY12" fmla="*/ 27595 h 93061"/>
                    <a:gd name="connsiteX13" fmla="*/ 66379 w 74643"/>
                    <a:gd name="connsiteY13" fmla="*/ 28271 h 93061"/>
                    <a:gd name="connsiteX14" fmla="*/ 66640 w 74643"/>
                    <a:gd name="connsiteY14" fmla="*/ 30692 h 93061"/>
                    <a:gd name="connsiteX15" fmla="*/ 66640 w 74643"/>
                    <a:gd name="connsiteY15" fmla="*/ 34041 h 93061"/>
                    <a:gd name="connsiteX16" fmla="*/ 67977 w 74643"/>
                    <a:gd name="connsiteY16" fmla="*/ 37163 h 93061"/>
                    <a:gd name="connsiteX17" fmla="*/ 69248 w 74643"/>
                    <a:gd name="connsiteY17" fmla="*/ 39461 h 93061"/>
                    <a:gd name="connsiteX18" fmla="*/ 69183 w 74643"/>
                    <a:gd name="connsiteY18" fmla="*/ 40284 h 93061"/>
                    <a:gd name="connsiteX19" fmla="*/ 66078 w 74643"/>
                    <a:gd name="connsiteY19" fmla="*/ 44212 h 93061"/>
                    <a:gd name="connsiteX20" fmla="*/ 64864 w 74643"/>
                    <a:gd name="connsiteY20" fmla="*/ 48108 h 93061"/>
                    <a:gd name="connsiteX21" fmla="*/ 64253 w 74643"/>
                    <a:gd name="connsiteY21" fmla="*/ 49208 h 93061"/>
                    <a:gd name="connsiteX22" fmla="*/ 64000 w 74643"/>
                    <a:gd name="connsiteY22" fmla="*/ 50072 h 93061"/>
                    <a:gd name="connsiteX23" fmla="*/ 64627 w 74643"/>
                    <a:gd name="connsiteY23" fmla="*/ 50479 h 93061"/>
                    <a:gd name="connsiteX24" fmla="*/ 65475 w 74643"/>
                    <a:gd name="connsiteY24" fmla="*/ 50219 h 93061"/>
                    <a:gd name="connsiteX25" fmla="*/ 66681 w 74643"/>
                    <a:gd name="connsiteY25" fmla="*/ 50545 h 93061"/>
                    <a:gd name="connsiteX26" fmla="*/ 67838 w 74643"/>
                    <a:gd name="connsiteY26" fmla="*/ 50667 h 93061"/>
                    <a:gd name="connsiteX27" fmla="*/ 69354 w 74643"/>
                    <a:gd name="connsiteY27" fmla="*/ 49273 h 93061"/>
                    <a:gd name="connsiteX28" fmla="*/ 71889 w 74643"/>
                    <a:gd name="connsiteY28" fmla="*/ 45696 h 93061"/>
                    <a:gd name="connsiteX29" fmla="*/ 72736 w 74643"/>
                    <a:gd name="connsiteY29" fmla="*/ 45255 h 93061"/>
                    <a:gd name="connsiteX30" fmla="*/ 74643 w 74643"/>
                    <a:gd name="connsiteY30" fmla="*/ 45565 h 93061"/>
                    <a:gd name="connsiteX31" fmla="*/ 74586 w 74643"/>
                    <a:gd name="connsiteY31" fmla="*/ 46502 h 93061"/>
                    <a:gd name="connsiteX32" fmla="*/ 73869 w 74643"/>
                    <a:gd name="connsiteY32" fmla="*/ 50813 h 93061"/>
                    <a:gd name="connsiteX33" fmla="*/ 72744 w 74643"/>
                    <a:gd name="connsiteY33" fmla="*/ 54514 h 93061"/>
                    <a:gd name="connsiteX34" fmla="*/ 72003 w 74643"/>
                    <a:gd name="connsiteY34" fmla="*/ 55426 h 93061"/>
                    <a:gd name="connsiteX35" fmla="*/ 68849 w 74643"/>
                    <a:gd name="connsiteY35" fmla="*/ 56404 h 93061"/>
                    <a:gd name="connsiteX36" fmla="*/ 67504 w 74643"/>
                    <a:gd name="connsiteY36" fmla="*/ 58026 h 93061"/>
                    <a:gd name="connsiteX37" fmla="*/ 66347 w 74643"/>
                    <a:gd name="connsiteY37" fmla="*/ 63291 h 93061"/>
                    <a:gd name="connsiteX38" fmla="*/ 65605 w 74643"/>
                    <a:gd name="connsiteY38" fmla="*/ 67415 h 93061"/>
                    <a:gd name="connsiteX39" fmla="*/ 64521 w 74643"/>
                    <a:gd name="connsiteY39" fmla="*/ 68107 h 93061"/>
                    <a:gd name="connsiteX40" fmla="*/ 59892 w 74643"/>
                    <a:gd name="connsiteY40" fmla="*/ 74065 h 93061"/>
                    <a:gd name="connsiteX41" fmla="*/ 56861 w 74643"/>
                    <a:gd name="connsiteY41" fmla="*/ 76330 h 93061"/>
                    <a:gd name="connsiteX42" fmla="*/ 54750 w 74643"/>
                    <a:gd name="connsiteY42" fmla="*/ 78262 h 93061"/>
                    <a:gd name="connsiteX43" fmla="*/ 52745 w 74643"/>
                    <a:gd name="connsiteY43" fmla="*/ 80796 h 93061"/>
                    <a:gd name="connsiteX44" fmla="*/ 50227 w 74643"/>
                    <a:gd name="connsiteY44" fmla="*/ 83257 h 93061"/>
                    <a:gd name="connsiteX45" fmla="*/ 47521 w 74643"/>
                    <a:gd name="connsiteY45" fmla="*/ 87406 h 93061"/>
                    <a:gd name="connsiteX46" fmla="*/ 45590 w 74643"/>
                    <a:gd name="connsiteY46" fmla="*/ 91717 h 93061"/>
                    <a:gd name="connsiteX47" fmla="*/ 44277 w 74643"/>
                    <a:gd name="connsiteY47" fmla="*/ 93062 h 93061"/>
                    <a:gd name="connsiteX48" fmla="*/ 43283 w 74643"/>
                    <a:gd name="connsiteY48" fmla="*/ 91847 h 93061"/>
                    <a:gd name="connsiteX49" fmla="*/ 38670 w 74643"/>
                    <a:gd name="connsiteY49" fmla="*/ 87593 h 93061"/>
                    <a:gd name="connsiteX50" fmla="*/ 33821 w 74643"/>
                    <a:gd name="connsiteY50" fmla="*/ 84708 h 93061"/>
                    <a:gd name="connsiteX51" fmla="*/ 23463 w 74643"/>
                    <a:gd name="connsiteY51" fmla="*/ 79957 h 93061"/>
                    <a:gd name="connsiteX52" fmla="*/ 20024 w 74643"/>
                    <a:gd name="connsiteY52" fmla="*/ 78620 h 93061"/>
                    <a:gd name="connsiteX53" fmla="*/ 20146 w 74643"/>
                    <a:gd name="connsiteY53" fmla="*/ 76933 h 93061"/>
                    <a:gd name="connsiteX54" fmla="*/ 21336 w 74643"/>
                    <a:gd name="connsiteY54" fmla="*/ 73853 h 93061"/>
                    <a:gd name="connsiteX55" fmla="*/ 19413 w 74643"/>
                    <a:gd name="connsiteY55" fmla="*/ 70218 h 93061"/>
                    <a:gd name="connsiteX56" fmla="*/ 20162 w 74643"/>
                    <a:gd name="connsiteY56" fmla="*/ 67586 h 93061"/>
                    <a:gd name="connsiteX57" fmla="*/ 19413 w 74643"/>
                    <a:gd name="connsiteY57" fmla="*/ 67586 h 93061"/>
                    <a:gd name="connsiteX58" fmla="*/ 17929 w 74643"/>
                    <a:gd name="connsiteY58" fmla="*/ 69175 h 93061"/>
                    <a:gd name="connsiteX59" fmla="*/ 14767 w 74643"/>
                    <a:gd name="connsiteY59" fmla="*/ 68718 h 93061"/>
                    <a:gd name="connsiteX60" fmla="*/ 12681 w 74643"/>
                    <a:gd name="connsiteY60" fmla="*/ 66453 h 93061"/>
                    <a:gd name="connsiteX61" fmla="*/ 10970 w 74643"/>
                    <a:gd name="connsiteY61" fmla="*/ 65622 h 93061"/>
                    <a:gd name="connsiteX62" fmla="*/ 10220 w 74643"/>
                    <a:gd name="connsiteY62" fmla="*/ 64481 h 93061"/>
                    <a:gd name="connsiteX63" fmla="*/ 9128 w 74643"/>
                    <a:gd name="connsiteY63" fmla="*/ 58507 h 93061"/>
                    <a:gd name="connsiteX64" fmla="*/ 8337 w 74643"/>
                    <a:gd name="connsiteY64" fmla="*/ 55793 h 93061"/>
                    <a:gd name="connsiteX65" fmla="*/ 6756 w 74643"/>
                    <a:gd name="connsiteY65" fmla="*/ 54122 h 93061"/>
                    <a:gd name="connsiteX66" fmla="*/ 3578 w 74643"/>
                    <a:gd name="connsiteY66" fmla="*/ 53715 h 93061"/>
                    <a:gd name="connsiteX67" fmla="*/ 2266 w 74643"/>
                    <a:gd name="connsiteY67" fmla="*/ 50064 h 93061"/>
                    <a:gd name="connsiteX68" fmla="*/ 497 w 74643"/>
                    <a:gd name="connsiteY68" fmla="*/ 47236 h 93061"/>
                    <a:gd name="connsiteX69" fmla="*/ 782 w 74643"/>
                    <a:gd name="connsiteY69" fmla="*/ 45500 h 93061"/>
                    <a:gd name="connsiteX70" fmla="*/ 2217 w 74643"/>
                    <a:gd name="connsiteY70" fmla="*/ 45598 h 93061"/>
                    <a:gd name="connsiteX71" fmla="*/ 3341 w 74643"/>
                    <a:gd name="connsiteY71" fmla="*/ 46861 h 93061"/>
                    <a:gd name="connsiteX72" fmla="*/ 5159 w 74643"/>
                    <a:gd name="connsiteY72" fmla="*/ 47391 h 93061"/>
                    <a:gd name="connsiteX73" fmla="*/ 7400 w 74643"/>
                    <a:gd name="connsiteY73" fmla="*/ 44326 h 93061"/>
                    <a:gd name="connsiteX74" fmla="*/ 9421 w 74643"/>
                    <a:gd name="connsiteY74" fmla="*/ 42672 h 93061"/>
                    <a:gd name="connsiteX75" fmla="*/ 9885 w 74643"/>
                    <a:gd name="connsiteY75" fmla="*/ 41213 h 93061"/>
                    <a:gd name="connsiteX76" fmla="*/ 9641 w 74643"/>
                    <a:gd name="connsiteY76" fmla="*/ 40414 h 93061"/>
                    <a:gd name="connsiteX77" fmla="*/ 8419 w 74643"/>
                    <a:gd name="connsiteY77" fmla="*/ 41653 h 93061"/>
                    <a:gd name="connsiteX78" fmla="*/ 5069 w 74643"/>
                    <a:gd name="connsiteY78" fmla="*/ 41327 h 93061"/>
                    <a:gd name="connsiteX79" fmla="*/ 4238 w 74643"/>
                    <a:gd name="connsiteY79" fmla="*/ 42444 h 93061"/>
                    <a:gd name="connsiteX80" fmla="*/ 2747 w 74643"/>
                    <a:gd name="connsiteY80" fmla="*/ 42802 h 93061"/>
                    <a:gd name="connsiteX81" fmla="*/ 1589 w 74643"/>
                    <a:gd name="connsiteY81" fmla="*/ 39216 h 93061"/>
                    <a:gd name="connsiteX82" fmla="*/ 1646 w 74643"/>
                    <a:gd name="connsiteY82" fmla="*/ 37106 h 93061"/>
                    <a:gd name="connsiteX83" fmla="*/ 2127 w 74643"/>
                    <a:gd name="connsiteY83" fmla="*/ 34783 h 93061"/>
                    <a:gd name="connsiteX84" fmla="*/ 5493 w 74643"/>
                    <a:gd name="connsiteY84" fmla="*/ 34384 h 93061"/>
                    <a:gd name="connsiteX85" fmla="*/ 5786 w 74643"/>
                    <a:gd name="connsiteY85" fmla="*/ 33642 h 93061"/>
                    <a:gd name="connsiteX86" fmla="*/ 3447 w 74643"/>
                    <a:gd name="connsiteY86" fmla="*/ 33137 h 93061"/>
                    <a:gd name="connsiteX87" fmla="*/ 522 w 74643"/>
                    <a:gd name="connsiteY87" fmla="*/ 30431 h 93061"/>
                    <a:gd name="connsiteX88" fmla="*/ 0 w 74643"/>
                    <a:gd name="connsiteY88" fmla="*/ 28565 h 93061"/>
                    <a:gd name="connsiteX89" fmla="*/ 1451 w 74643"/>
                    <a:gd name="connsiteY89" fmla="*/ 27929 h 93061"/>
                    <a:gd name="connsiteX90" fmla="*/ 2836 w 74643"/>
                    <a:gd name="connsiteY90" fmla="*/ 28206 h 93061"/>
                    <a:gd name="connsiteX91" fmla="*/ 4042 w 74643"/>
                    <a:gd name="connsiteY91" fmla="*/ 28614 h 93061"/>
                    <a:gd name="connsiteX92" fmla="*/ 5346 w 74643"/>
                    <a:gd name="connsiteY92" fmla="*/ 27945 h 93061"/>
                    <a:gd name="connsiteX93" fmla="*/ 6569 w 74643"/>
                    <a:gd name="connsiteY93" fmla="*/ 26918 h 93061"/>
                    <a:gd name="connsiteX94" fmla="*/ 7294 w 74643"/>
                    <a:gd name="connsiteY94" fmla="*/ 25614 h 93061"/>
                    <a:gd name="connsiteX95" fmla="*/ 8288 w 74643"/>
                    <a:gd name="connsiteY95" fmla="*/ 22102 h 93061"/>
                    <a:gd name="connsiteX96" fmla="*/ 11450 w 74643"/>
                    <a:gd name="connsiteY96" fmla="*/ 20928 h 93061"/>
                    <a:gd name="connsiteX97" fmla="*/ 13317 w 74643"/>
                    <a:gd name="connsiteY97" fmla="*/ 18769 h 93061"/>
                    <a:gd name="connsiteX98" fmla="*/ 15085 w 74643"/>
                    <a:gd name="connsiteY98" fmla="*/ 15435 h 93061"/>
                    <a:gd name="connsiteX99" fmla="*/ 15900 w 74643"/>
                    <a:gd name="connsiteY99" fmla="*/ 13088 h 93061"/>
                    <a:gd name="connsiteX100" fmla="*/ 16633 w 74643"/>
                    <a:gd name="connsiteY100" fmla="*/ 11923 h 93061"/>
                    <a:gd name="connsiteX101" fmla="*/ 17090 w 74643"/>
                    <a:gd name="connsiteY101" fmla="*/ 10912 h 93061"/>
                    <a:gd name="connsiteX102" fmla="*/ 17432 w 74643"/>
                    <a:gd name="connsiteY102" fmla="*/ 9796 h 93061"/>
                    <a:gd name="connsiteX103" fmla="*/ 18223 w 74643"/>
                    <a:gd name="connsiteY103" fmla="*/ 8777 h 93061"/>
                    <a:gd name="connsiteX104" fmla="*/ 19054 w 74643"/>
                    <a:gd name="connsiteY104" fmla="*/ 6300 h 93061"/>
                    <a:gd name="connsiteX105" fmla="*/ 19624 w 74643"/>
                    <a:gd name="connsiteY105" fmla="*/ 4042 h 93061"/>
                    <a:gd name="connsiteX106" fmla="*/ 21450 w 74643"/>
                    <a:gd name="connsiteY106" fmla="*/ 2958 h 93061"/>
                    <a:gd name="connsiteX107" fmla="*/ 25174 w 74643"/>
                    <a:gd name="connsiteY107" fmla="*/ 2005 h 93061"/>
                    <a:gd name="connsiteX108" fmla="*/ 28540 w 74643"/>
                    <a:gd name="connsiteY108" fmla="*/ 3643 h 93061"/>
                    <a:gd name="connsiteX109" fmla="*/ 33984 w 74643"/>
                    <a:gd name="connsiteY109" fmla="*/ 2217 h 93061"/>
                    <a:gd name="connsiteX110" fmla="*/ 34270 w 74643"/>
                    <a:gd name="connsiteY110" fmla="*/ 98 h 93061"/>
                    <a:gd name="connsiteX111" fmla="*/ 39257 w 74643"/>
                    <a:gd name="connsiteY111" fmla="*/ 65 h 93061"/>
                    <a:gd name="connsiteX112" fmla="*/ 45166 w 74643"/>
                    <a:gd name="connsiteY112" fmla="*/ 33 h 93061"/>
                    <a:gd name="connsiteX113" fmla="*/ 50080 w 74643"/>
                    <a:gd name="connsiteY113" fmla="*/ 0 h 93061"/>
                    <a:gd name="connsiteX114" fmla="*/ 51767 w 74643"/>
                    <a:gd name="connsiteY114" fmla="*/ 562 h 93061"/>
                    <a:gd name="connsiteX115" fmla="*/ 52378 w 74643"/>
                    <a:gd name="connsiteY115" fmla="*/ 2160 h 93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74643" h="93061">
                      <a:moveTo>
                        <a:pt x="52378" y="2160"/>
                      </a:moveTo>
                      <a:lnTo>
                        <a:pt x="53992" y="4637"/>
                      </a:lnTo>
                      <a:lnTo>
                        <a:pt x="55687" y="6349"/>
                      </a:lnTo>
                      <a:lnTo>
                        <a:pt x="57782" y="10114"/>
                      </a:lnTo>
                      <a:lnTo>
                        <a:pt x="60218" y="14490"/>
                      </a:lnTo>
                      <a:lnTo>
                        <a:pt x="62851" y="18443"/>
                      </a:lnTo>
                      <a:lnTo>
                        <a:pt x="64538" y="20586"/>
                      </a:lnTo>
                      <a:lnTo>
                        <a:pt x="64733" y="21328"/>
                      </a:lnTo>
                      <a:lnTo>
                        <a:pt x="64611" y="22175"/>
                      </a:lnTo>
                      <a:lnTo>
                        <a:pt x="63780" y="24188"/>
                      </a:lnTo>
                      <a:lnTo>
                        <a:pt x="63063" y="26364"/>
                      </a:lnTo>
                      <a:lnTo>
                        <a:pt x="63136" y="27187"/>
                      </a:lnTo>
                      <a:lnTo>
                        <a:pt x="63633" y="27595"/>
                      </a:lnTo>
                      <a:lnTo>
                        <a:pt x="66379" y="28271"/>
                      </a:lnTo>
                      <a:lnTo>
                        <a:pt x="66640" y="30692"/>
                      </a:lnTo>
                      <a:lnTo>
                        <a:pt x="66640" y="34041"/>
                      </a:lnTo>
                      <a:lnTo>
                        <a:pt x="67977" y="37163"/>
                      </a:lnTo>
                      <a:lnTo>
                        <a:pt x="69248" y="39461"/>
                      </a:lnTo>
                      <a:lnTo>
                        <a:pt x="69183" y="40284"/>
                      </a:lnTo>
                      <a:lnTo>
                        <a:pt x="66078" y="44212"/>
                      </a:lnTo>
                      <a:lnTo>
                        <a:pt x="64864" y="48108"/>
                      </a:lnTo>
                      <a:lnTo>
                        <a:pt x="64253" y="49208"/>
                      </a:lnTo>
                      <a:lnTo>
                        <a:pt x="64000" y="50072"/>
                      </a:lnTo>
                      <a:lnTo>
                        <a:pt x="64627" y="50479"/>
                      </a:lnTo>
                      <a:lnTo>
                        <a:pt x="65475" y="50219"/>
                      </a:lnTo>
                      <a:lnTo>
                        <a:pt x="66681" y="50545"/>
                      </a:lnTo>
                      <a:lnTo>
                        <a:pt x="67838" y="50667"/>
                      </a:lnTo>
                      <a:lnTo>
                        <a:pt x="69354" y="49273"/>
                      </a:lnTo>
                      <a:lnTo>
                        <a:pt x="71889" y="45696"/>
                      </a:lnTo>
                      <a:lnTo>
                        <a:pt x="72736" y="45255"/>
                      </a:lnTo>
                      <a:lnTo>
                        <a:pt x="74643" y="45565"/>
                      </a:lnTo>
                      <a:lnTo>
                        <a:pt x="74586" y="46502"/>
                      </a:lnTo>
                      <a:lnTo>
                        <a:pt x="73869" y="50813"/>
                      </a:lnTo>
                      <a:lnTo>
                        <a:pt x="72744" y="54514"/>
                      </a:lnTo>
                      <a:lnTo>
                        <a:pt x="72003" y="55426"/>
                      </a:lnTo>
                      <a:lnTo>
                        <a:pt x="68849" y="56404"/>
                      </a:lnTo>
                      <a:lnTo>
                        <a:pt x="67504" y="58026"/>
                      </a:lnTo>
                      <a:lnTo>
                        <a:pt x="66347" y="63291"/>
                      </a:lnTo>
                      <a:lnTo>
                        <a:pt x="65605" y="67415"/>
                      </a:lnTo>
                      <a:lnTo>
                        <a:pt x="64521" y="68107"/>
                      </a:lnTo>
                      <a:lnTo>
                        <a:pt x="59892" y="74065"/>
                      </a:lnTo>
                      <a:lnTo>
                        <a:pt x="56861" y="76330"/>
                      </a:lnTo>
                      <a:lnTo>
                        <a:pt x="54750" y="78262"/>
                      </a:lnTo>
                      <a:lnTo>
                        <a:pt x="52745" y="80796"/>
                      </a:lnTo>
                      <a:lnTo>
                        <a:pt x="50227" y="83257"/>
                      </a:lnTo>
                      <a:lnTo>
                        <a:pt x="47521" y="87406"/>
                      </a:lnTo>
                      <a:lnTo>
                        <a:pt x="45590" y="91717"/>
                      </a:lnTo>
                      <a:lnTo>
                        <a:pt x="44277" y="93062"/>
                      </a:lnTo>
                      <a:lnTo>
                        <a:pt x="43283" y="91847"/>
                      </a:lnTo>
                      <a:lnTo>
                        <a:pt x="38670" y="87593"/>
                      </a:lnTo>
                      <a:lnTo>
                        <a:pt x="33821" y="84708"/>
                      </a:lnTo>
                      <a:lnTo>
                        <a:pt x="23463" y="79957"/>
                      </a:lnTo>
                      <a:lnTo>
                        <a:pt x="20024" y="78620"/>
                      </a:lnTo>
                      <a:lnTo>
                        <a:pt x="20146" y="76933"/>
                      </a:lnTo>
                      <a:lnTo>
                        <a:pt x="21336" y="73853"/>
                      </a:lnTo>
                      <a:lnTo>
                        <a:pt x="19413" y="70218"/>
                      </a:lnTo>
                      <a:lnTo>
                        <a:pt x="20162" y="67586"/>
                      </a:lnTo>
                      <a:lnTo>
                        <a:pt x="19413" y="67586"/>
                      </a:lnTo>
                      <a:lnTo>
                        <a:pt x="17929" y="69175"/>
                      </a:lnTo>
                      <a:lnTo>
                        <a:pt x="14767" y="68718"/>
                      </a:lnTo>
                      <a:lnTo>
                        <a:pt x="12681" y="66453"/>
                      </a:lnTo>
                      <a:lnTo>
                        <a:pt x="10970" y="65622"/>
                      </a:lnTo>
                      <a:lnTo>
                        <a:pt x="10220" y="64481"/>
                      </a:lnTo>
                      <a:lnTo>
                        <a:pt x="9128" y="58507"/>
                      </a:lnTo>
                      <a:lnTo>
                        <a:pt x="8337" y="55793"/>
                      </a:lnTo>
                      <a:lnTo>
                        <a:pt x="6756" y="54122"/>
                      </a:lnTo>
                      <a:lnTo>
                        <a:pt x="3578" y="53715"/>
                      </a:lnTo>
                      <a:lnTo>
                        <a:pt x="2266" y="50064"/>
                      </a:lnTo>
                      <a:lnTo>
                        <a:pt x="497" y="47236"/>
                      </a:lnTo>
                      <a:lnTo>
                        <a:pt x="782" y="45500"/>
                      </a:lnTo>
                      <a:lnTo>
                        <a:pt x="2217" y="45598"/>
                      </a:lnTo>
                      <a:lnTo>
                        <a:pt x="3341" y="46861"/>
                      </a:lnTo>
                      <a:lnTo>
                        <a:pt x="5159" y="47391"/>
                      </a:lnTo>
                      <a:lnTo>
                        <a:pt x="7400" y="44326"/>
                      </a:lnTo>
                      <a:lnTo>
                        <a:pt x="9421" y="42672"/>
                      </a:lnTo>
                      <a:lnTo>
                        <a:pt x="9885" y="41213"/>
                      </a:lnTo>
                      <a:lnTo>
                        <a:pt x="9641" y="40414"/>
                      </a:lnTo>
                      <a:lnTo>
                        <a:pt x="8419" y="41653"/>
                      </a:lnTo>
                      <a:lnTo>
                        <a:pt x="5069" y="41327"/>
                      </a:lnTo>
                      <a:lnTo>
                        <a:pt x="4238" y="42444"/>
                      </a:lnTo>
                      <a:lnTo>
                        <a:pt x="2747" y="42802"/>
                      </a:lnTo>
                      <a:lnTo>
                        <a:pt x="1589" y="39216"/>
                      </a:lnTo>
                      <a:lnTo>
                        <a:pt x="1646" y="37106"/>
                      </a:lnTo>
                      <a:lnTo>
                        <a:pt x="2127" y="34783"/>
                      </a:lnTo>
                      <a:lnTo>
                        <a:pt x="5493" y="34384"/>
                      </a:lnTo>
                      <a:lnTo>
                        <a:pt x="5786" y="33642"/>
                      </a:lnTo>
                      <a:lnTo>
                        <a:pt x="3447" y="33137"/>
                      </a:lnTo>
                      <a:lnTo>
                        <a:pt x="522" y="30431"/>
                      </a:lnTo>
                      <a:lnTo>
                        <a:pt x="0" y="28565"/>
                      </a:lnTo>
                      <a:lnTo>
                        <a:pt x="1451" y="27929"/>
                      </a:lnTo>
                      <a:lnTo>
                        <a:pt x="2836" y="28206"/>
                      </a:lnTo>
                      <a:lnTo>
                        <a:pt x="4042" y="28614"/>
                      </a:lnTo>
                      <a:lnTo>
                        <a:pt x="5346" y="27945"/>
                      </a:lnTo>
                      <a:lnTo>
                        <a:pt x="6569" y="26918"/>
                      </a:lnTo>
                      <a:lnTo>
                        <a:pt x="7294" y="25614"/>
                      </a:lnTo>
                      <a:lnTo>
                        <a:pt x="8288" y="22102"/>
                      </a:lnTo>
                      <a:lnTo>
                        <a:pt x="11450" y="20928"/>
                      </a:lnTo>
                      <a:lnTo>
                        <a:pt x="13317" y="18769"/>
                      </a:lnTo>
                      <a:lnTo>
                        <a:pt x="15085" y="15435"/>
                      </a:lnTo>
                      <a:lnTo>
                        <a:pt x="15900" y="13088"/>
                      </a:lnTo>
                      <a:lnTo>
                        <a:pt x="16633" y="11923"/>
                      </a:lnTo>
                      <a:lnTo>
                        <a:pt x="17090" y="10912"/>
                      </a:lnTo>
                      <a:lnTo>
                        <a:pt x="17432" y="9796"/>
                      </a:lnTo>
                      <a:lnTo>
                        <a:pt x="18223" y="8777"/>
                      </a:lnTo>
                      <a:lnTo>
                        <a:pt x="19054" y="6300"/>
                      </a:lnTo>
                      <a:lnTo>
                        <a:pt x="19624" y="4042"/>
                      </a:lnTo>
                      <a:lnTo>
                        <a:pt x="21450" y="2958"/>
                      </a:lnTo>
                      <a:lnTo>
                        <a:pt x="25174" y="2005"/>
                      </a:lnTo>
                      <a:lnTo>
                        <a:pt x="28540" y="3643"/>
                      </a:lnTo>
                      <a:lnTo>
                        <a:pt x="33984" y="2217"/>
                      </a:lnTo>
                      <a:lnTo>
                        <a:pt x="34270" y="98"/>
                      </a:lnTo>
                      <a:lnTo>
                        <a:pt x="39257" y="65"/>
                      </a:lnTo>
                      <a:lnTo>
                        <a:pt x="45166" y="33"/>
                      </a:lnTo>
                      <a:lnTo>
                        <a:pt x="50080" y="0"/>
                      </a:lnTo>
                      <a:lnTo>
                        <a:pt x="51767" y="562"/>
                      </a:lnTo>
                      <a:lnTo>
                        <a:pt x="52378" y="2160"/>
                      </a:lnTo>
                      <a:close/>
                    </a:path>
                  </a:pathLst>
                </a:custGeom>
                <a:solidFill>
                  <a:srgbClr val="D6D6D2"/>
                </a:solidFill>
                <a:ln w="6112" cap="rnd">
                  <a:solidFill>
                    <a:srgbClr val="FFFFFF"/>
                  </a:solidFill>
                  <a:prstDash val="solid"/>
                  <a:round/>
                </a:ln>
              </p:spPr>
              <p:txBody>
                <a:bodyPr rtlCol="0" anchor="ctr"/>
                <a:lstStyle/>
                <a:p>
                  <a:endParaRPr lang="en-US"/>
                </a:p>
              </p:txBody>
            </p:sp>
            <p:sp>
              <p:nvSpPr>
                <p:cNvPr id="580" name="Freeform: Shape 579">
                  <a:extLst>
                    <a:ext uri="{FF2B5EF4-FFF2-40B4-BE49-F238E27FC236}">
                      <a16:creationId xmlns:a16="http://schemas.microsoft.com/office/drawing/2014/main" id="{EE7B0B1C-4F98-4F23-BBA6-6F59CC6A82BC}"/>
                    </a:ext>
                  </a:extLst>
                </p:cNvPr>
                <p:cNvSpPr/>
                <p:nvPr/>
              </p:nvSpPr>
              <p:spPr>
                <a:xfrm>
                  <a:off x="9824005" y="4722608"/>
                  <a:ext cx="146841" cy="127168"/>
                </a:xfrm>
                <a:custGeom>
                  <a:avLst/>
                  <a:gdLst>
                    <a:gd name="connsiteX0" fmla="*/ 130526 w 146841"/>
                    <a:gd name="connsiteY0" fmla="*/ 113738 h 127168"/>
                    <a:gd name="connsiteX1" fmla="*/ 133647 w 146841"/>
                    <a:gd name="connsiteY1" fmla="*/ 115523 h 127168"/>
                    <a:gd name="connsiteX2" fmla="*/ 135465 w 146841"/>
                    <a:gd name="connsiteY2" fmla="*/ 115221 h 127168"/>
                    <a:gd name="connsiteX3" fmla="*/ 138162 w 146841"/>
                    <a:gd name="connsiteY3" fmla="*/ 116443 h 127168"/>
                    <a:gd name="connsiteX4" fmla="*/ 140207 w 146841"/>
                    <a:gd name="connsiteY4" fmla="*/ 115742 h 127168"/>
                    <a:gd name="connsiteX5" fmla="*/ 141488 w 146841"/>
                    <a:gd name="connsiteY5" fmla="*/ 117324 h 127168"/>
                    <a:gd name="connsiteX6" fmla="*/ 144715 w 146841"/>
                    <a:gd name="connsiteY6" fmla="*/ 123468 h 127168"/>
                    <a:gd name="connsiteX7" fmla="*/ 144723 w 146841"/>
                    <a:gd name="connsiteY7" fmla="*/ 125473 h 127168"/>
                    <a:gd name="connsiteX8" fmla="*/ 146842 w 146841"/>
                    <a:gd name="connsiteY8" fmla="*/ 126900 h 127168"/>
                    <a:gd name="connsiteX9" fmla="*/ 145057 w 146841"/>
                    <a:gd name="connsiteY9" fmla="*/ 127168 h 127168"/>
                    <a:gd name="connsiteX10" fmla="*/ 142571 w 146841"/>
                    <a:gd name="connsiteY10" fmla="*/ 126427 h 127168"/>
                    <a:gd name="connsiteX11" fmla="*/ 140648 w 146841"/>
                    <a:gd name="connsiteY11" fmla="*/ 126932 h 127168"/>
                    <a:gd name="connsiteX12" fmla="*/ 138651 w 146841"/>
                    <a:gd name="connsiteY12" fmla="*/ 125734 h 127168"/>
                    <a:gd name="connsiteX13" fmla="*/ 135253 w 146841"/>
                    <a:gd name="connsiteY13" fmla="*/ 125115 h 127168"/>
                    <a:gd name="connsiteX14" fmla="*/ 132302 w 146841"/>
                    <a:gd name="connsiteY14" fmla="*/ 123689 h 127168"/>
                    <a:gd name="connsiteX15" fmla="*/ 126133 w 146841"/>
                    <a:gd name="connsiteY15" fmla="*/ 119141 h 127168"/>
                    <a:gd name="connsiteX16" fmla="*/ 126166 w 146841"/>
                    <a:gd name="connsiteY16" fmla="*/ 116875 h 127168"/>
                    <a:gd name="connsiteX17" fmla="*/ 125163 w 146841"/>
                    <a:gd name="connsiteY17" fmla="*/ 115759 h 127168"/>
                    <a:gd name="connsiteX18" fmla="*/ 124870 w 146841"/>
                    <a:gd name="connsiteY18" fmla="*/ 112939 h 127168"/>
                    <a:gd name="connsiteX19" fmla="*/ 122661 w 146841"/>
                    <a:gd name="connsiteY19" fmla="*/ 112059 h 127168"/>
                    <a:gd name="connsiteX20" fmla="*/ 120078 w 146841"/>
                    <a:gd name="connsiteY20" fmla="*/ 111888 h 127168"/>
                    <a:gd name="connsiteX21" fmla="*/ 119866 w 146841"/>
                    <a:gd name="connsiteY21" fmla="*/ 110559 h 127168"/>
                    <a:gd name="connsiteX22" fmla="*/ 120355 w 146841"/>
                    <a:gd name="connsiteY22" fmla="*/ 108196 h 127168"/>
                    <a:gd name="connsiteX23" fmla="*/ 122278 w 146841"/>
                    <a:gd name="connsiteY23" fmla="*/ 108237 h 127168"/>
                    <a:gd name="connsiteX24" fmla="*/ 124593 w 146841"/>
                    <a:gd name="connsiteY24" fmla="*/ 109223 h 127168"/>
                    <a:gd name="connsiteX25" fmla="*/ 129001 w 146841"/>
                    <a:gd name="connsiteY25" fmla="*/ 112654 h 127168"/>
                    <a:gd name="connsiteX26" fmla="*/ 130102 w 146841"/>
                    <a:gd name="connsiteY26" fmla="*/ 113249 h 127168"/>
                    <a:gd name="connsiteX27" fmla="*/ 130526 w 146841"/>
                    <a:gd name="connsiteY27" fmla="*/ 113738 h 127168"/>
                    <a:gd name="connsiteX28" fmla="*/ 81798 w 146841"/>
                    <a:gd name="connsiteY28" fmla="*/ 80120 h 127168"/>
                    <a:gd name="connsiteX29" fmla="*/ 87259 w 146841"/>
                    <a:gd name="connsiteY29" fmla="*/ 84961 h 127168"/>
                    <a:gd name="connsiteX30" fmla="*/ 89606 w 146841"/>
                    <a:gd name="connsiteY30" fmla="*/ 84521 h 127168"/>
                    <a:gd name="connsiteX31" fmla="*/ 96786 w 146841"/>
                    <a:gd name="connsiteY31" fmla="*/ 84611 h 127168"/>
                    <a:gd name="connsiteX32" fmla="*/ 101024 w 146841"/>
                    <a:gd name="connsiteY32" fmla="*/ 88066 h 127168"/>
                    <a:gd name="connsiteX33" fmla="*/ 103510 w 146841"/>
                    <a:gd name="connsiteY33" fmla="*/ 89655 h 127168"/>
                    <a:gd name="connsiteX34" fmla="*/ 104911 w 146841"/>
                    <a:gd name="connsiteY34" fmla="*/ 92744 h 127168"/>
                    <a:gd name="connsiteX35" fmla="*/ 106639 w 146841"/>
                    <a:gd name="connsiteY35" fmla="*/ 93461 h 127168"/>
                    <a:gd name="connsiteX36" fmla="*/ 107699 w 146841"/>
                    <a:gd name="connsiteY36" fmla="*/ 95026 h 127168"/>
                    <a:gd name="connsiteX37" fmla="*/ 108310 w 146841"/>
                    <a:gd name="connsiteY37" fmla="*/ 97903 h 127168"/>
                    <a:gd name="connsiteX38" fmla="*/ 107878 w 146841"/>
                    <a:gd name="connsiteY38" fmla="*/ 98383 h 127168"/>
                    <a:gd name="connsiteX39" fmla="*/ 105677 w 146841"/>
                    <a:gd name="connsiteY39" fmla="*/ 99459 h 127168"/>
                    <a:gd name="connsiteX40" fmla="*/ 104097 w 146841"/>
                    <a:gd name="connsiteY40" fmla="*/ 99908 h 127168"/>
                    <a:gd name="connsiteX41" fmla="*/ 99940 w 146841"/>
                    <a:gd name="connsiteY41" fmla="*/ 98881 h 127168"/>
                    <a:gd name="connsiteX42" fmla="*/ 95963 w 146841"/>
                    <a:gd name="connsiteY42" fmla="*/ 96672 h 127168"/>
                    <a:gd name="connsiteX43" fmla="*/ 88050 w 146841"/>
                    <a:gd name="connsiteY43" fmla="*/ 96411 h 127168"/>
                    <a:gd name="connsiteX44" fmla="*/ 84366 w 146841"/>
                    <a:gd name="connsiteY44" fmla="*/ 95768 h 127168"/>
                    <a:gd name="connsiteX45" fmla="*/ 83103 w 146841"/>
                    <a:gd name="connsiteY45" fmla="*/ 94928 h 127168"/>
                    <a:gd name="connsiteX46" fmla="*/ 81929 w 146841"/>
                    <a:gd name="connsiteY46" fmla="*/ 93795 h 127168"/>
                    <a:gd name="connsiteX47" fmla="*/ 80062 w 146841"/>
                    <a:gd name="connsiteY47" fmla="*/ 91106 h 127168"/>
                    <a:gd name="connsiteX48" fmla="*/ 78604 w 146841"/>
                    <a:gd name="connsiteY48" fmla="*/ 87952 h 127168"/>
                    <a:gd name="connsiteX49" fmla="*/ 78368 w 146841"/>
                    <a:gd name="connsiteY49" fmla="*/ 86086 h 127168"/>
                    <a:gd name="connsiteX50" fmla="*/ 78246 w 146841"/>
                    <a:gd name="connsiteY50" fmla="*/ 82565 h 127168"/>
                    <a:gd name="connsiteX51" fmla="*/ 78701 w 146841"/>
                    <a:gd name="connsiteY51" fmla="*/ 81285 h 127168"/>
                    <a:gd name="connsiteX52" fmla="*/ 80210 w 146841"/>
                    <a:gd name="connsiteY52" fmla="*/ 80006 h 127168"/>
                    <a:gd name="connsiteX53" fmla="*/ 81798 w 146841"/>
                    <a:gd name="connsiteY53" fmla="*/ 80120 h 127168"/>
                    <a:gd name="connsiteX54" fmla="*/ 106582 w 146841"/>
                    <a:gd name="connsiteY54" fmla="*/ 51245 h 127168"/>
                    <a:gd name="connsiteX55" fmla="*/ 112743 w 146841"/>
                    <a:gd name="connsiteY55" fmla="*/ 60218 h 127168"/>
                    <a:gd name="connsiteX56" fmla="*/ 112490 w 146841"/>
                    <a:gd name="connsiteY56" fmla="*/ 61808 h 127168"/>
                    <a:gd name="connsiteX57" fmla="*/ 111651 w 146841"/>
                    <a:gd name="connsiteY57" fmla="*/ 62834 h 127168"/>
                    <a:gd name="connsiteX58" fmla="*/ 111415 w 146841"/>
                    <a:gd name="connsiteY58" fmla="*/ 65858 h 127168"/>
                    <a:gd name="connsiteX59" fmla="*/ 112189 w 146841"/>
                    <a:gd name="connsiteY59" fmla="*/ 67007 h 127168"/>
                    <a:gd name="connsiteX60" fmla="*/ 113868 w 146841"/>
                    <a:gd name="connsiteY60" fmla="*/ 67537 h 127168"/>
                    <a:gd name="connsiteX61" fmla="*/ 116736 w 146841"/>
                    <a:gd name="connsiteY61" fmla="*/ 70764 h 127168"/>
                    <a:gd name="connsiteX62" fmla="*/ 117886 w 146841"/>
                    <a:gd name="connsiteY62" fmla="*/ 74692 h 127168"/>
                    <a:gd name="connsiteX63" fmla="*/ 117984 w 146841"/>
                    <a:gd name="connsiteY63" fmla="*/ 75890 h 127168"/>
                    <a:gd name="connsiteX64" fmla="*/ 119173 w 146841"/>
                    <a:gd name="connsiteY64" fmla="*/ 77683 h 127168"/>
                    <a:gd name="connsiteX65" fmla="*/ 119206 w 146841"/>
                    <a:gd name="connsiteY65" fmla="*/ 81457 h 127168"/>
                    <a:gd name="connsiteX66" fmla="*/ 121928 w 146841"/>
                    <a:gd name="connsiteY66" fmla="*/ 86672 h 127168"/>
                    <a:gd name="connsiteX67" fmla="*/ 122164 w 146841"/>
                    <a:gd name="connsiteY67" fmla="*/ 89199 h 127168"/>
                    <a:gd name="connsiteX68" fmla="*/ 121911 w 146841"/>
                    <a:gd name="connsiteY68" fmla="*/ 90332 h 127168"/>
                    <a:gd name="connsiteX69" fmla="*/ 120779 w 146841"/>
                    <a:gd name="connsiteY69" fmla="*/ 89680 h 127168"/>
                    <a:gd name="connsiteX70" fmla="*/ 117544 w 146841"/>
                    <a:gd name="connsiteY70" fmla="*/ 83747 h 127168"/>
                    <a:gd name="connsiteX71" fmla="*/ 113835 w 146841"/>
                    <a:gd name="connsiteY71" fmla="*/ 81196 h 127168"/>
                    <a:gd name="connsiteX72" fmla="*/ 113411 w 146841"/>
                    <a:gd name="connsiteY72" fmla="*/ 80087 h 127168"/>
                    <a:gd name="connsiteX73" fmla="*/ 109655 w 146841"/>
                    <a:gd name="connsiteY73" fmla="*/ 76632 h 127168"/>
                    <a:gd name="connsiteX74" fmla="*/ 107136 w 146841"/>
                    <a:gd name="connsiteY74" fmla="*/ 70821 h 127168"/>
                    <a:gd name="connsiteX75" fmla="*/ 104431 w 146841"/>
                    <a:gd name="connsiteY75" fmla="*/ 60471 h 127168"/>
                    <a:gd name="connsiteX76" fmla="*/ 105702 w 146841"/>
                    <a:gd name="connsiteY76" fmla="*/ 58018 h 127168"/>
                    <a:gd name="connsiteX77" fmla="*/ 102637 w 146841"/>
                    <a:gd name="connsiteY77" fmla="*/ 53014 h 127168"/>
                    <a:gd name="connsiteX78" fmla="*/ 102784 w 146841"/>
                    <a:gd name="connsiteY78" fmla="*/ 51669 h 127168"/>
                    <a:gd name="connsiteX79" fmla="*/ 104072 w 146841"/>
                    <a:gd name="connsiteY79" fmla="*/ 51979 h 127168"/>
                    <a:gd name="connsiteX80" fmla="*/ 104976 w 146841"/>
                    <a:gd name="connsiteY80" fmla="*/ 51922 h 127168"/>
                    <a:gd name="connsiteX81" fmla="*/ 105409 w 146841"/>
                    <a:gd name="connsiteY81" fmla="*/ 51327 h 127168"/>
                    <a:gd name="connsiteX82" fmla="*/ 106582 w 146841"/>
                    <a:gd name="connsiteY82" fmla="*/ 51245 h 127168"/>
                    <a:gd name="connsiteX83" fmla="*/ 84985 w 146841"/>
                    <a:gd name="connsiteY83" fmla="*/ 57871 h 127168"/>
                    <a:gd name="connsiteX84" fmla="*/ 85034 w 146841"/>
                    <a:gd name="connsiteY84" fmla="*/ 58572 h 127168"/>
                    <a:gd name="connsiteX85" fmla="*/ 81693 w 146841"/>
                    <a:gd name="connsiteY85" fmla="*/ 56054 h 127168"/>
                    <a:gd name="connsiteX86" fmla="*/ 79175 w 146841"/>
                    <a:gd name="connsiteY86" fmla="*/ 52973 h 127168"/>
                    <a:gd name="connsiteX87" fmla="*/ 71962 w 146841"/>
                    <a:gd name="connsiteY87" fmla="*/ 49632 h 127168"/>
                    <a:gd name="connsiteX88" fmla="*/ 70421 w 146841"/>
                    <a:gd name="connsiteY88" fmla="*/ 47912 h 127168"/>
                    <a:gd name="connsiteX89" fmla="*/ 69118 w 146841"/>
                    <a:gd name="connsiteY89" fmla="*/ 47700 h 127168"/>
                    <a:gd name="connsiteX90" fmla="*/ 65426 w 146841"/>
                    <a:gd name="connsiteY90" fmla="*/ 44897 h 127168"/>
                    <a:gd name="connsiteX91" fmla="*/ 61799 w 146841"/>
                    <a:gd name="connsiteY91" fmla="*/ 43031 h 127168"/>
                    <a:gd name="connsiteX92" fmla="*/ 59590 w 146841"/>
                    <a:gd name="connsiteY92" fmla="*/ 40586 h 127168"/>
                    <a:gd name="connsiteX93" fmla="*/ 59020 w 146841"/>
                    <a:gd name="connsiteY93" fmla="*/ 39591 h 127168"/>
                    <a:gd name="connsiteX94" fmla="*/ 57683 w 146841"/>
                    <a:gd name="connsiteY94" fmla="*/ 39005 h 127168"/>
                    <a:gd name="connsiteX95" fmla="*/ 55410 w 146841"/>
                    <a:gd name="connsiteY95" fmla="*/ 36323 h 127168"/>
                    <a:gd name="connsiteX96" fmla="*/ 53202 w 146841"/>
                    <a:gd name="connsiteY96" fmla="*/ 34555 h 127168"/>
                    <a:gd name="connsiteX97" fmla="*/ 52411 w 146841"/>
                    <a:gd name="connsiteY97" fmla="*/ 31311 h 127168"/>
                    <a:gd name="connsiteX98" fmla="*/ 50251 w 146841"/>
                    <a:gd name="connsiteY98" fmla="*/ 29086 h 127168"/>
                    <a:gd name="connsiteX99" fmla="*/ 49738 w 146841"/>
                    <a:gd name="connsiteY99" fmla="*/ 28117 h 127168"/>
                    <a:gd name="connsiteX100" fmla="*/ 56600 w 146841"/>
                    <a:gd name="connsiteY100" fmla="*/ 29901 h 127168"/>
                    <a:gd name="connsiteX101" fmla="*/ 59794 w 146841"/>
                    <a:gd name="connsiteY101" fmla="*/ 33455 h 127168"/>
                    <a:gd name="connsiteX102" fmla="*/ 62508 w 146841"/>
                    <a:gd name="connsiteY102" fmla="*/ 35468 h 127168"/>
                    <a:gd name="connsiteX103" fmla="*/ 63453 w 146841"/>
                    <a:gd name="connsiteY103" fmla="*/ 36918 h 127168"/>
                    <a:gd name="connsiteX104" fmla="*/ 65915 w 146841"/>
                    <a:gd name="connsiteY104" fmla="*/ 38907 h 127168"/>
                    <a:gd name="connsiteX105" fmla="*/ 68115 w 146841"/>
                    <a:gd name="connsiteY105" fmla="*/ 39086 h 127168"/>
                    <a:gd name="connsiteX106" fmla="*/ 70316 w 146841"/>
                    <a:gd name="connsiteY106" fmla="*/ 41091 h 127168"/>
                    <a:gd name="connsiteX107" fmla="*/ 72328 w 146841"/>
                    <a:gd name="connsiteY107" fmla="*/ 41629 h 127168"/>
                    <a:gd name="connsiteX108" fmla="*/ 73893 w 146841"/>
                    <a:gd name="connsiteY108" fmla="*/ 42680 h 127168"/>
                    <a:gd name="connsiteX109" fmla="*/ 84113 w 146841"/>
                    <a:gd name="connsiteY109" fmla="*/ 51645 h 127168"/>
                    <a:gd name="connsiteX110" fmla="*/ 82899 w 146841"/>
                    <a:gd name="connsiteY110" fmla="*/ 54033 h 127168"/>
                    <a:gd name="connsiteX111" fmla="*/ 84252 w 146841"/>
                    <a:gd name="connsiteY111" fmla="*/ 55761 h 127168"/>
                    <a:gd name="connsiteX112" fmla="*/ 84985 w 146841"/>
                    <a:gd name="connsiteY112" fmla="*/ 57871 h 127168"/>
                    <a:gd name="connsiteX113" fmla="*/ 25647 w 146841"/>
                    <a:gd name="connsiteY113" fmla="*/ 21662 h 127168"/>
                    <a:gd name="connsiteX114" fmla="*/ 26437 w 146841"/>
                    <a:gd name="connsiteY114" fmla="*/ 22721 h 127168"/>
                    <a:gd name="connsiteX115" fmla="*/ 24530 w 146841"/>
                    <a:gd name="connsiteY115" fmla="*/ 24531 h 127168"/>
                    <a:gd name="connsiteX116" fmla="*/ 21996 w 146841"/>
                    <a:gd name="connsiteY116" fmla="*/ 23553 h 127168"/>
                    <a:gd name="connsiteX117" fmla="*/ 21458 w 146841"/>
                    <a:gd name="connsiteY117" fmla="*/ 22534 h 127168"/>
                    <a:gd name="connsiteX118" fmla="*/ 21385 w 146841"/>
                    <a:gd name="connsiteY118" fmla="*/ 21996 h 127168"/>
                    <a:gd name="connsiteX119" fmla="*/ 19624 w 146841"/>
                    <a:gd name="connsiteY119" fmla="*/ 22347 h 127168"/>
                    <a:gd name="connsiteX120" fmla="*/ 16103 w 146841"/>
                    <a:gd name="connsiteY120" fmla="*/ 21475 h 127168"/>
                    <a:gd name="connsiteX121" fmla="*/ 11206 w 146841"/>
                    <a:gd name="connsiteY121" fmla="*/ 17163 h 127168"/>
                    <a:gd name="connsiteX122" fmla="*/ 6031 w 146841"/>
                    <a:gd name="connsiteY122" fmla="*/ 9071 h 127168"/>
                    <a:gd name="connsiteX123" fmla="*/ 1051 w 146841"/>
                    <a:gd name="connsiteY123" fmla="*/ 4580 h 127168"/>
                    <a:gd name="connsiteX124" fmla="*/ 114 w 146841"/>
                    <a:gd name="connsiteY124" fmla="*/ 3186 h 127168"/>
                    <a:gd name="connsiteX125" fmla="*/ 0 w 146841"/>
                    <a:gd name="connsiteY125" fmla="*/ 872 h 127168"/>
                    <a:gd name="connsiteX126" fmla="*/ 660 w 146841"/>
                    <a:gd name="connsiteY126" fmla="*/ 0 h 127168"/>
                    <a:gd name="connsiteX127" fmla="*/ 3757 w 146841"/>
                    <a:gd name="connsiteY127" fmla="*/ 970 h 127168"/>
                    <a:gd name="connsiteX128" fmla="*/ 7750 w 146841"/>
                    <a:gd name="connsiteY128" fmla="*/ 4654 h 127168"/>
                    <a:gd name="connsiteX129" fmla="*/ 14327 w 146841"/>
                    <a:gd name="connsiteY129" fmla="*/ 8508 h 127168"/>
                    <a:gd name="connsiteX130" fmla="*/ 16128 w 146841"/>
                    <a:gd name="connsiteY130" fmla="*/ 10456 h 127168"/>
                    <a:gd name="connsiteX131" fmla="*/ 17261 w 146841"/>
                    <a:gd name="connsiteY131" fmla="*/ 15167 h 127168"/>
                    <a:gd name="connsiteX132" fmla="*/ 18377 w 146841"/>
                    <a:gd name="connsiteY132" fmla="*/ 16560 h 127168"/>
                    <a:gd name="connsiteX133" fmla="*/ 21931 w 146841"/>
                    <a:gd name="connsiteY133" fmla="*/ 20171 h 127168"/>
                    <a:gd name="connsiteX134" fmla="*/ 23797 w 146841"/>
                    <a:gd name="connsiteY134" fmla="*/ 21018 h 127168"/>
                    <a:gd name="connsiteX135" fmla="*/ 24791 w 146841"/>
                    <a:gd name="connsiteY135" fmla="*/ 21181 h 127168"/>
                    <a:gd name="connsiteX136" fmla="*/ 25647 w 146841"/>
                    <a:gd name="connsiteY136" fmla="*/ 21662 h 12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146841" h="127168">
                      <a:moveTo>
                        <a:pt x="130526" y="113738"/>
                      </a:moveTo>
                      <a:lnTo>
                        <a:pt x="133647" y="115523"/>
                      </a:lnTo>
                      <a:lnTo>
                        <a:pt x="135465" y="115221"/>
                      </a:lnTo>
                      <a:lnTo>
                        <a:pt x="138162" y="116443"/>
                      </a:lnTo>
                      <a:lnTo>
                        <a:pt x="140207" y="115742"/>
                      </a:lnTo>
                      <a:lnTo>
                        <a:pt x="141488" y="117324"/>
                      </a:lnTo>
                      <a:lnTo>
                        <a:pt x="144715" y="123468"/>
                      </a:lnTo>
                      <a:lnTo>
                        <a:pt x="144723" y="125473"/>
                      </a:lnTo>
                      <a:lnTo>
                        <a:pt x="146842" y="126900"/>
                      </a:lnTo>
                      <a:lnTo>
                        <a:pt x="145057" y="127168"/>
                      </a:lnTo>
                      <a:lnTo>
                        <a:pt x="142571" y="126427"/>
                      </a:lnTo>
                      <a:lnTo>
                        <a:pt x="140648" y="126932"/>
                      </a:lnTo>
                      <a:lnTo>
                        <a:pt x="138651" y="125734"/>
                      </a:lnTo>
                      <a:lnTo>
                        <a:pt x="135253" y="125115"/>
                      </a:lnTo>
                      <a:lnTo>
                        <a:pt x="132302" y="123689"/>
                      </a:lnTo>
                      <a:lnTo>
                        <a:pt x="126133" y="119141"/>
                      </a:lnTo>
                      <a:lnTo>
                        <a:pt x="126166" y="116875"/>
                      </a:lnTo>
                      <a:lnTo>
                        <a:pt x="125163" y="115759"/>
                      </a:lnTo>
                      <a:lnTo>
                        <a:pt x="124870" y="112939"/>
                      </a:lnTo>
                      <a:lnTo>
                        <a:pt x="122661" y="112059"/>
                      </a:lnTo>
                      <a:lnTo>
                        <a:pt x="120078" y="111888"/>
                      </a:lnTo>
                      <a:lnTo>
                        <a:pt x="119866" y="110559"/>
                      </a:lnTo>
                      <a:lnTo>
                        <a:pt x="120355" y="108196"/>
                      </a:lnTo>
                      <a:lnTo>
                        <a:pt x="122278" y="108237"/>
                      </a:lnTo>
                      <a:lnTo>
                        <a:pt x="124593" y="109223"/>
                      </a:lnTo>
                      <a:lnTo>
                        <a:pt x="129001" y="112654"/>
                      </a:lnTo>
                      <a:lnTo>
                        <a:pt x="130102" y="113249"/>
                      </a:lnTo>
                      <a:lnTo>
                        <a:pt x="130526" y="113738"/>
                      </a:lnTo>
                      <a:close/>
                      <a:moveTo>
                        <a:pt x="81798" y="80120"/>
                      </a:moveTo>
                      <a:lnTo>
                        <a:pt x="87259" y="84961"/>
                      </a:lnTo>
                      <a:lnTo>
                        <a:pt x="89606" y="84521"/>
                      </a:lnTo>
                      <a:lnTo>
                        <a:pt x="96786" y="84611"/>
                      </a:lnTo>
                      <a:lnTo>
                        <a:pt x="101024" y="88066"/>
                      </a:lnTo>
                      <a:lnTo>
                        <a:pt x="103510" y="89655"/>
                      </a:lnTo>
                      <a:lnTo>
                        <a:pt x="104911" y="92744"/>
                      </a:lnTo>
                      <a:lnTo>
                        <a:pt x="106639" y="93461"/>
                      </a:lnTo>
                      <a:lnTo>
                        <a:pt x="107699" y="95026"/>
                      </a:lnTo>
                      <a:lnTo>
                        <a:pt x="108310" y="97903"/>
                      </a:lnTo>
                      <a:lnTo>
                        <a:pt x="107878" y="98383"/>
                      </a:lnTo>
                      <a:lnTo>
                        <a:pt x="105677" y="99459"/>
                      </a:lnTo>
                      <a:lnTo>
                        <a:pt x="104097" y="99908"/>
                      </a:lnTo>
                      <a:lnTo>
                        <a:pt x="99940" y="98881"/>
                      </a:lnTo>
                      <a:lnTo>
                        <a:pt x="95963" y="96672"/>
                      </a:lnTo>
                      <a:lnTo>
                        <a:pt x="88050" y="96411"/>
                      </a:lnTo>
                      <a:lnTo>
                        <a:pt x="84366" y="95768"/>
                      </a:lnTo>
                      <a:lnTo>
                        <a:pt x="83103" y="94928"/>
                      </a:lnTo>
                      <a:lnTo>
                        <a:pt x="81929" y="93795"/>
                      </a:lnTo>
                      <a:lnTo>
                        <a:pt x="80062" y="91106"/>
                      </a:lnTo>
                      <a:lnTo>
                        <a:pt x="78604" y="87952"/>
                      </a:lnTo>
                      <a:lnTo>
                        <a:pt x="78368" y="86086"/>
                      </a:lnTo>
                      <a:lnTo>
                        <a:pt x="78246" y="82565"/>
                      </a:lnTo>
                      <a:lnTo>
                        <a:pt x="78701" y="81285"/>
                      </a:lnTo>
                      <a:lnTo>
                        <a:pt x="80210" y="80006"/>
                      </a:lnTo>
                      <a:lnTo>
                        <a:pt x="81798" y="80120"/>
                      </a:lnTo>
                      <a:close/>
                      <a:moveTo>
                        <a:pt x="106582" y="51245"/>
                      </a:moveTo>
                      <a:lnTo>
                        <a:pt x="112743" y="60218"/>
                      </a:lnTo>
                      <a:lnTo>
                        <a:pt x="112490" y="61808"/>
                      </a:lnTo>
                      <a:lnTo>
                        <a:pt x="111651" y="62834"/>
                      </a:lnTo>
                      <a:lnTo>
                        <a:pt x="111415" y="65858"/>
                      </a:lnTo>
                      <a:lnTo>
                        <a:pt x="112189" y="67007"/>
                      </a:lnTo>
                      <a:lnTo>
                        <a:pt x="113868" y="67537"/>
                      </a:lnTo>
                      <a:lnTo>
                        <a:pt x="116736" y="70764"/>
                      </a:lnTo>
                      <a:lnTo>
                        <a:pt x="117886" y="74692"/>
                      </a:lnTo>
                      <a:lnTo>
                        <a:pt x="117984" y="75890"/>
                      </a:lnTo>
                      <a:lnTo>
                        <a:pt x="119173" y="77683"/>
                      </a:lnTo>
                      <a:lnTo>
                        <a:pt x="119206" y="81457"/>
                      </a:lnTo>
                      <a:lnTo>
                        <a:pt x="121928" y="86672"/>
                      </a:lnTo>
                      <a:lnTo>
                        <a:pt x="122164" y="89199"/>
                      </a:lnTo>
                      <a:lnTo>
                        <a:pt x="121911" y="90332"/>
                      </a:lnTo>
                      <a:lnTo>
                        <a:pt x="120779" y="89680"/>
                      </a:lnTo>
                      <a:lnTo>
                        <a:pt x="117544" y="83747"/>
                      </a:lnTo>
                      <a:lnTo>
                        <a:pt x="113835" y="81196"/>
                      </a:lnTo>
                      <a:lnTo>
                        <a:pt x="113411" y="80087"/>
                      </a:lnTo>
                      <a:lnTo>
                        <a:pt x="109655" y="76632"/>
                      </a:lnTo>
                      <a:lnTo>
                        <a:pt x="107136" y="70821"/>
                      </a:lnTo>
                      <a:lnTo>
                        <a:pt x="104431" y="60471"/>
                      </a:lnTo>
                      <a:lnTo>
                        <a:pt x="105702" y="58018"/>
                      </a:lnTo>
                      <a:lnTo>
                        <a:pt x="102637" y="53014"/>
                      </a:lnTo>
                      <a:lnTo>
                        <a:pt x="102784" y="51669"/>
                      </a:lnTo>
                      <a:lnTo>
                        <a:pt x="104072" y="51979"/>
                      </a:lnTo>
                      <a:lnTo>
                        <a:pt x="104976" y="51922"/>
                      </a:lnTo>
                      <a:lnTo>
                        <a:pt x="105409" y="51327"/>
                      </a:lnTo>
                      <a:lnTo>
                        <a:pt x="106582" y="51245"/>
                      </a:lnTo>
                      <a:close/>
                      <a:moveTo>
                        <a:pt x="84985" y="57871"/>
                      </a:moveTo>
                      <a:lnTo>
                        <a:pt x="85034" y="58572"/>
                      </a:lnTo>
                      <a:lnTo>
                        <a:pt x="81693" y="56054"/>
                      </a:lnTo>
                      <a:lnTo>
                        <a:pt x="79175" y="52973"/>
                      </a:lnTo>
                      <a:lnTo>
                        <a:pt x="71962" y="49632"/>
                      </a:lnTo>
                      <a:lnTo>
                        <a:pt x="70421" y="47912"/>
                      </a:lnTo>
                      <a:lnTo>
                        <a:pt x="69118" y="47700"/>
                      </a:lnTo>
                      <a:lnTo>
                        <a:pt x="65426" y="44897"/>
                      </a:lnTo>
                      <a:lnTo>
                        <a:pt x="61799" y="43031"/>
                      </a:lnTo>
                      <a:lnTo>
                        <a:pt x="59590" y="40586"/>
                      </a:lnTo>
                      <a:lnTo>
                        <a:pt x="59020" y="39591"/>
                      </a:lnTo>
                      <a:lnTo>
                        <a:pt x="57683" y="39005"/>
                      </a:lnTo>
                      <a:lnTo>
                        <a:pt x="55410" y="36323"/>
                      </a:lnTo>
                      <a:lnTo>
                        <a:pt x="53202" y="34555"/>
                      </a:lnTo>
                      <a:lnTo>
                        <a:pt x="52411" y="31311"/>
                      </a:lnTo>
                      <a:lnTo>
                        <a:pt x="50251" y="29086"/>
                      </a:lnTo>
                      <a:lnTo>
                        <a:pt x="49738" y="28117"/>
                      </a:lnTo>
                      <a:lnTo>
                        <a:pt x="56600" y="29901"/>
                      </a:lnTo>
                      <a:lnTo>
                        <a:pt x="59794" y="33455"/>
                      </a:lnTo>
                      <a:lnTo>
                        <a:pt x="62508" y="35468"/>
                      </a:lnTo>
                      <a:lnTo>
                        <a:pt x="63453" y="36918"/>
                      </a:lnTo>
                      <a:lnTo>
                        <a:pt x="65915" y="38907"/>
                      </a:lnTo>
                      <a:lnTo>
                        <a:pt x="68115" y="39086"/>
                      </a:lnTo>
                      <a:lnTo>
                        <a:pt x="70316" y="41091"/>
                      </a:lnTo>
                      <a:lnTo>
                        <a:pt x="72328" y="41629"/>
                      </a:lnTo>
                      <a:lnTo>
                        <a:pt x="73893" y="42680"/>
                      </a:lnTo>
                      <a:lnTo>
                        <a:pt x="84113" y="51645"/>
                      </a:lnTo>
                      <a:lnTo>
                        <a:pt x="82899" y="54033"/>
                      </a:lnTo>
                      <a:lnTo>
                        <a:pt x="84252" y="55761"/>
                      </a:lnTo>
                      <a:lnTo>
                        <a:pt x="84985" y="57871"/>
                      </a:lnTo>
                      <a:close/>
                      <a:moveTo>
                        <a:pt x="25647" y="21662"/>
                      </a:moveTo>
                      <a:lnTo>
                        <a:pt x="26437" y="22721"/>
                      </a:lnTo>
                      <a:lnTo>
                        <a:pt x="24530" y="24531"/>
                      </a:lnTo>
                      <a:lnTo>
                        <a:pt x="21996" y="23553"/>
                      </a:lnTo>
                      <a:lnTo>
                        <a:pt x="21458" y="22534"/>
                      </a:lnTo>
                      <a:lnTo>
                        <a:pt x="21385" y="21996"/>
                      </a:lnTo>
                      <a:lnTo>
                        <a:pt x="19624" y="22347"/>
                      </a:lnTo>
                      <a:lnTo>
                        <a:pt x="16103" y="21475"/>
                      </a:lnTo>
                      <a:lnTo>
                        <a:pt x="11206" y="17163"/>
                      </a:lnTo>
                      <a:lnTo>
                        <a:pt x="6031" y="9071"/>
                      </a:lnTo>
                      <a:lnTo>
                        <a:pt x="1051" y="4580"/>
                      </a:lnTo>
                      <a:lnTo>
                        <a:pt x="114" y="3186"/>
                      </a:lnTo>
                      <a:lnTo>
                        <a:pt x="0" y="872"/>
                      </a:lnTo>
                      <a:lnTo>
                        <a:pt x="660" y="0"/>
                      </a:lnTo>
                      <a:lnTo>
                        <a:pt x="3757" y="970"/>
                      </a:lnTo>
                      <a:lnTo>
                        <a:pt x="7750" y="4654"/>
                      </a:lnTo>
                      <a:lnTo>
                        <a:pt x="14327" y="8508"/>
                      </a:lnTo>
                      <a:lnTo>
                        <a:pt x="16128" y="10456"/>
                      </a:lnTo>
                      <a:lnTo>
                        <a:pt x="17261" y="15167"/>
                      </a:lnTo>
                      <a:lnTo>
                        <a:pt x="18377" y="16560"/>
                      </a:lnTo>
                      <a:lnTo>
                        <a:pt x="21931" y="20171"/>
                      </a:lnTo>
                      <a:lnTo>
                        <a:pt x="23797" y="21018"/>
                      </a:lnTo>
                      <a:lnTo>
                        <a:pt x="24791" y="21181"/>
                      </a:lnTo>
                      <a:lnTo>
                        <a:pt x="25647" y="21662"/>
                      </a:lnTo>
                      <a:close/>
                    </a:path>
                  </a:pathLst>
                </a:custGeom>
                <a:solidFill>
                  <a:srgbClr val="D6D6D2"/>
                </a:solidFill>
                <a:ln w="8150" cap="flat">
                  <a:noFill/>
                  <a:prstDash val="solid"/>
                  <a:miter/>
                </a:ln>
              </p:spPr>
              <p:txBody>
                <a:bodyPr rtlCol="0" anchor="ctr"/>
                <a:lstStyle/>
                <a:p>
                  <a:endParaRPr lang="en-US"/>
                </a:p>
              </p:txBody>
            </p:sp>
            <p:sp>
              <p:nvSpPr>
                <p:cNvPr id="581" name="Freeform: Shape 580">
                  <a:extLst>
                    <a:ext uri="{FF2B5EF4-FFF2-40B4-BE49-F238E27FC236}">
                      <a16:creationId xmlns:a16="http://schemas.microsoft.com/office/drawing/2014/main" id="{1D697830-9D9C-409A-9E97-39856FDA3D3C}"/>
                    </a:ext>
                  </a:extLst>
                </p:cNvPr>
                <p:cNvSpPr/>
                <p:nvPr/>
              </p:nvSpPr>
              <p:spPr>
                <a:xfrm>
                  <a:off x="5508705" y="4021593"/>
                  <a:ext cx="152619" cy="132392"/>
                </a:xfrm>
                <a:custGeom>
                  <a:avLst/>
                  <a:gdLst>
                    <a:gd name="connsiteX0" fmla="*/ 130339 w 152619"/>
                    <a:gd name="connsiteY0" fmla="*/ 57056 h 132392"/>
                    <a:gd name="connsiteX1" fmla="*/ 132669 w 152619"/>
                    <a:gd name="connsiteY1" fmla="*/ 61954 h 132392"/>
                    <a:gd name="connsiteX2" fmla="*/ 132164 w 152619"/>
                    <a:gd name="connsiteY2" fmla="*/ 64302 h 132392"/>
                    <a:gd name="connsiteX3" fmla="*/ 131634 w 152619"/>
                    <a:gd name="connsiteY3" fmla="*/ 67724 h 132392"/>
                    <a:gd name="connsiteX4" fmla="*/ 132947 w 152619"/>
                    <a:gd name="connsiteY4" fmla="*/ 70218 h 132392"/>
                    <a:gd name="connsiteX5" fmla="*/ 134495 w 152619"/>
                    <a:gd name="connsiteY5" fmla="*/ 71840 h 132392"/>
                    <a:gd name="connsiteX6" fmla="*/ 135603 w 152619"/>
                    <a:gd name="connsiteY6" fmla="*/ 73331 h 132392"/>
                    <a:gd name="connsiteX7" fmla="*/ 136826 w 152619"/>
                    <a:gd name="connsiteY7" fmla="*/ 75393 h 132392"/>
                    <a:gd name="connsiteX8" fmla="*/ 137021 w 152619"/>
                    <a:gd name="connsiteY8" fmla="*/ 79484 h 132392"/>
                    <a:gd name="connsiteX9" fmla="*/ 136793 w 152619"/>
                    <a:gd name="connsiteY9" fmla="*/ 82434 h 132392"/>
                    <a:gd name="connsiteX10" fmla="*/ 137592 w 152619"/>
                    <a:gd name="connsiteY10" fmla="*/ 83779 h 132392"/>
                    <a:gd name="connsiteX11" fmla="*/ 138260 w 152619"/>
                    <a:gd name="connsiteY11" fmla="*/ 85458 h 132392"/>
                    <a:gd name="connsiteX12" fmla="*/ 138130 w 152619"/>
                    <a:gd name="connsiteY12" fmla="*/ 86860 h 132392"/>
                    <a:gd name="connsiteX13" fmla="*/ 137690 w 152619"/>
                    <a:gd name="connsiteY13" fmla="*/ 88107 h 132392"/>
                    <a:gd name="connsiteX14" fmla="*/ 136198 w 152619"/>
                    <a:gd name="connsiteY14" fmla="*/ 89753 h 132392"/>
                    <a:gd name="connsiteX15" fmla="*/ 135954 w 152619"/>
                    <a:gd name="connsiteY15" fmla="*/ 92817 h 132392"/>
                    <a:gd name="connsiteX16" fmla="*/ 138366 w 152619"/>
                    <a:gd name="connsiteY16" fmla="*/ 96517 h 132392"/>
                    <a:gd name="connsiteX17" fmla="*/ 139906 w 152619"/>
                    <a:gd name="connsiteY17" fmla="*/ 98538 h 132392"/>
                    <a:gd name="connsiteX18" fmla="*/ 139898 w 152619"/>
                    <a:gd name="connsiteY18" fmla="*/ 99704 h 132392"/>
                    <a:gd name="connsiteX19" fmla="*/ 140322 w 152619"/>
                    <a:gd name="connsiteY19" fmla="*/ 100967 h 132392"/>
                    <a:gd name="connsiteX20" fmla="*/ 141471 w 152619"/>
                    <a:gd name="connsiteY20" fmla="*/ 102442 h 132392"/>
                    <a:gd name="connsiteX21" fmla="*/ 142172 w 152619"/>
                    <a:gd name="connsiteY21" fmla="*/ 102100 h 132392"/>
                    <a:gd name="connsiteX22" fmla="*/ 142954 w 152619"/>
                    <a:gd name="connsiteY22" fmla="*/ 100886 h 132392"/>
                    <a:gd name="connsiteX23" fmla="*/ 143297 w 152619"/>
                    <a:gd name="connsiteY23" fmla="*/ 100054 h 132392"/>
                    <a:gd name="connsiteX24" fmla="*/ 145367 w 152619"/>
                    <a:gd name="connsiteY24" fmla="*/ 100421 h 132392"/>
                    <a:gd name="connsiteX25" fmla="*/ 146353 w 152619"/>
                    <a:gd name="connsiteY25" fmla="*/ 100804 h 132392"/>
                    <a:gd name="connsiteX26" fmla="*/ 147681 w 152619"/>
                    <a:gd name="connsiteY26" fmla="*/ 103225 h 132392"/>
                    <a:gd name="connsiteX27" fmla="*/ 148170 w 152619"/>
                    <a:gd name="connsiteY27" fmla="*/ 104838 h 132392"/>
                    <a:gd name="connsiteX28" fmla="*/ 148488 w 152619"/>
                    <a:gd name="connsiteY28" fmla="*/ 106867 h 132392"/>
                    <a:gd name="connsiteX29" fmla="*/ 149873 w 152619"/>
                    <a:gd name="connsiteY29" fmla="*/ 109386 h 132392"/>
                    <a:gd name="connsiteX30" fmla="*/ 151080 w 152619"/>
                    <a:gd name="connsiteY30" fmla="*/ 111170 h 132392"/>
                    <a:gd name="connsiteX31" fmla="*/ 151332 w 152619"/>
                    <a:gd name="connsiteY31" fmla="*/ 112287 h 132392"/>
                    <a:gd name="connsiteX32" fmla="*/ 152416 w 152619"/>
                    <a:gd name="connsiteY32" fmla="*/ 113787 h 132392"/>
                    <a:gd name="connsiteX33" fmla="*/ 151748 w 152619"/>
                    <a:gd name="connsiteY33" fmla="*/ 117120 h 132392"/>
                    <a:gd name="connsiteX34" fmla="*/ 151821 w 152619"/>
                    <a:gd name="connsiteY34" fmla="*/ 118831 h 132392"/>
                    <a:gd name="connsiteX35" fmla="*/ 151088 w 152619"/>
                    <a:gd name="connsiteY35" fmla="*/ 123314 h 132392"/>
                    <a:gd name="connsiteX36" fmla="*/ 150925 w 152619"/>
                    <a:gd name="connsiteY36" fmla="*/ 125432 h 132392"/>
                    <a:gd name="connsiteX37" fmla="*/ 150966 w 152619"/>
                    <a:gd name="connsiteY37" fmla="*/ 126215 h 132392"/>
                    <a:gd name="connsiteX38" fmla="*/ 152620 w 152619"/>
                    <a:gd name="connsiteY38" fmla="*/ 127812 h 132392"/>
                    <a:gd name="connsiteX39" fmla="*/ 152441 w 152619"/>
                    <a:gd name="connsiteY39" fmla="*/ 130078 h 132392"/>
                    <a:gd name="connsiteX40" fmla="*/ 150770 w 152619"/>
                    <a:gd name="connsiteY40" fmla="*/ 129679 h 132392"/>
                    <a:gd name="connsiteX41" fmla="*/ 147869 w 152619"/>
                    <a:gd name="connsiteY41" fmla="*/ 129418 h 132392"/>
                    <a:gd name="connsiteX42" fmla="*/ 142058 w 152619"/>
                    <a:gd name="connsiteY42" fmla="*/ 130599 h 132392"/>
                    <a:gd name="connsiteX43" fmla="*/ 140061 w 152619"/>
                    <a:gd name="connsiteY43" fmla="*/ 130110 h 132392"/>
                    <a:gd name="connsiteX44" fmla="*/ 136247 w 152619"/>
                    <a:gd name="connsiteY44" fmla="*/ 130274 h 132392"/>
                    <a:gd name="connsiteX45" fmla="*/ 133525 w 152619"/>
                    <a:gd name="connsiteY45" fmla="*/ 130917 h 132392"/>
                    <a:gd name="connsiteX46" fmla="*/ 130070 w 152619"/>
                    <a:gd name="connsiteY46" fmla="*/ 132392 h 132392"/>
                    <a:gd name="connsiteX47" fmla="*/ 127397 w 152619"/>
                    <a:gd name="connsiteY47" fmla="*/ 132026 h 132392"/>
                    <a:gd name="connsiteX48" fmla="*/ 125954 w 152619"/>
                    <a:gd name="connsiteY48" fmla="*/ 130869 h 132392"/>
                    <a:gd name="connsiteX49" fmla="*/ 124047 w 152619"/>
                    <a:gd name="connsiteY49" fmla="*/ 130942 h 132392"/>
                    <a:gd name="connsiteX50" fmla="*/ 121896 w 152619"/>
                    <a:gd name="connsiteY50" fmla="*/ 130322 h 132392"/>
                    <a:gd name="connsiteX51" fmla="*/ 119614 w 152619"/>
                    <a:gd name="connsiteY51" fmla="*/ 129206 h 132392"/>
                    <a:gd name="connsiteX52" fmla="*/ 117519 w 152619"/>
                    <a:gd name="connsiteY52" fmla="*/ 128635 h 132392"/>
                    <a:gd name="connsiteX53" fmla="*/ 115270 w 152619"/>
                    <a:gd name="connsiteY53" fmla="*/ 126574 h 132392"/>
                    <a:gd name="connsiteX54" fmla="*/ 114218 w 152619"/>
                    <a:gd name="connsiteY54" fmla="*/ 126207 h 132392"/>
                    <a:gd name="connsiteX55" fmla="*/ 113469 w 152619"/>
                    <a:gd name="connsiteY55" fmla="*/ 126745 h 132392"/>
                    <a:gd name="connsiteX56" fmla="*/ 112849 w 152619"/>
                    <a:gd name="connsiteY56" fmla="*/ 127437 h 132392"/>
                    <a:gd name="connsiteX57" fmla="*/ 112197 w 152619"/>
                    <a:gd name="connsiteY57" fmla="*/ 127861 h 132392"/>
                    <a:gd name="connsiteX58" fmla="*/ 110975 w 152619"/>
                    <a:gd name="connsiteY58" fmla="*/ 127478 h 132392"/>
                    <a:gd name="connsiteX59" fmla="*/ 110518 w 152619"/>
                    <a:gd name="connsiteY59" fmla="*/ 126085 h 132392"/>
                    <a:gd name="connsiteX60" fmla="*/ 110893 w 152619"/>
                    <a:gd name="connsiteY60" fmla="*/ 124724 h 132392"/>
                    <a:gd name="connsiteX61" fmla="*/ 111015 w 152619"/>
                    <a:gd name="connsiteY61" fmla="*/ 123697 h 132392"/>
                    <a:gd name="connsiteX62" fmla="*/ 110437 w 152619"/>
                    <a:gd name="connsiteY62" fmla="*/ 123134 h 132392"/>
                    <a:gd name="connsiteX63" fmla="*/ 109060 w 152619"/>
                    <a:gd name="connsiteY63" fmla="*/ 122947 h 132392"/>
                    <a:gd name="connsiteX64" fmla="*/ 106835 w 152619"/>
                    <a:gd name="connsiteY64" fmla="*/ 122955 h 132392"/>
                    <a:gd name="connsiteX65" fmla="*/ 103257 w 152619"/>
                    <a:gd name="connsiteY65" fmla="*/ 122523 h 132392"/>
                    <a:gd name="connsiteX66" fmla="*/ 102434 w 152619"/>
                    <a:gd name="connsiteY66" fmla="*/ 122262 h 132392"/>
                    <a:gd name="connsiteX67" fmla="*/ 94406 w 152619"/>
                    <a:gd name="connsiteY67" fmla="*/ 121912 h 132392"/>
                    <a:gd name="connsiteX68" fmla="*/ 86086 w 152619"/>
                    <a:gd name="connsiteY68" fmla="*/ 121871 h 132392"/>
                    <a:gd name="connsiteX69" fmla="*/ 79028 w 152619"/>
                    <a:gd name="connsiteY69" fmla="*/ 121830 h 132392"/>
                    <a:gd name="connsiteX70" fmla="*/ 70128 w 152619"/>
                    <a:gd name="connsiteY70" fmla="*/ 121790 h 132392"/>
                    <a:gd name="connsiteX71" fmla="*/ 63869 w 152619"/>
                    <a:gd name="connsiteY71" fmla="*/ 121757 h 132392"/>
                    <a:gd name="connsiteX72" fmla="*/ 58026 w 152619"/>
                    <a:gd name="connsiteY72" fmla="*/ 121724 h 132392"/>
                    <a:gd name="connsiteX73" fmla="*/ 53511 w 152619"/>
                    <a:gd name="connsiteY73" fmla="*/ 124487 h 132392"/>
                    <a:gd name="connsiteX74" fmla="*/ 48629 w 152619"/>
                    <a:gd name="connsiteY74" fmla="*/ 127470 h 132392"/>
                    <a:gd name="connsiteX75" fmla="*/ 42069 w 152619"/>
                    <a:gd name="connsiteY75" fmla="*/ 129067 h 132392"/>
                    <a:gd name="connsiteX76" fmla="*/ 34514 w 152619"/>
                    <a:gd name="connsiteY76" fmla="*/ 128472 h 132392"/>
                    <a:gd name="connsiteX77" fmla="*/ 32094 w 152619"/>
                    <a:gd name="connsiteY77" fmla="*/ 128896 h 132392"/>
                    <a:gd name="connsiteX78" fmla="*/ 29600 w 152619"/>
                    <a:gd name="connsiteY78" fmla="*/ 130225 h 132392"/>
                    <a:gd name="connsiteX79" fmla="*/ 27766 w 152619"/>
                    <a:gd name="connsiteY79" fmla="*/ 131186 h 132392"/>
                    <a:gd name="connsiteX80" fmla="*/ 25150 w 152619"/>
                    <a:gd name="connsiteY80" fmla="*/ 131773 h 132392"/>
                    <a:gd name="connsiteX81" fmla="*/ 21792 w 152619"/>
                    <a:gd name="connsiteY81" fmla="*/ 131292 h 132392"/>
                    <a:gd name="connsiteX82" fmla="*/ 20431 w 152619"/>
                    <a:gd name="connsiteY82" fmla="*/ 131577 h 132392"/>
                    <a:gd name="connsiteX83" fmla="*/ 19592 w 152619"/>
                    <a:gd name="connsiteY83" fmla="*/ 130216 h 132392"/>
                    <a:gd name="connsiteX84" fmla="*/ 18622 w 152619"/>
                    <a:gd name="connsiteY84" fmla="*/ 128016 h 132392"/>
                    <a:gd name="connsiteX85" fmla="*/ 19225 w 152619"/>
                    <a:gd name="connsiteY85" fmla="*/ 126394 h 132392"/>
                    <a:gd name="connsiteX86" fmla="*/ 21279 w 152619"/>
                    <a:gd name="connsiteY86" fmla="*/ 125367 h 132392"/>
                    <a:gd name="connsiteX87" fmla="*/ 24368 w 152619"/>
                    <a:gd name="connsiteY87" fmla="*/ 124006 h 132392"/>
                    <a:gd name="connsiteX88" fmla="*/ 25981 w 152619"/>
                    <a:gd name="connsiteY88" fmla="*/ 124699 h 132392"/>
                    <a:gd name="connsiteX89" fmla="*/ 26927 w 152619"/>
                    <a:gd name="connsiteY89" fmla="*/ 124732 h 132392"/>
                    <a:gd name="connsiteX90" fmla="*/ 27106 w 152619"/>
                    <a:gd name="connsiteY90" fmla="*/ 123860 h 132392"/>
                    <a:gd name="connsiteX91" fmla="*/ 26804 w 152619"/>
                    <a:gd name="connsiteY91" fmla="*/ 123395 h 132392"/>
                    <a:gd name="connsiteX92" fmla="*/ 24474 w 152619"/>
                    <a:gd name="connsiteY92" fmla="*/ 122213 h 132392"/>
                    <a:gd name="connsiteX93" fmla="*/ 23267 w 152619"/>
                    <a:gd name="connsiteY93" fmla="*/ 120657 h 132392"/>
                    <a:gd name="connsiteX94" fmla="*/ 22265 w 152619"/>
                    <a:gd name="connsiteY94" fmla="*/ 121569 h 132392"/>
                    <a:gd name="connsiteX95" fmla="*/ 21401 w 152619"/>
                    <a:gd name="connsiteY95" fmla="*/ 123485 h 132392"/>
                    <a:gd name="connsiteX96" fmla="*/ 20692 w 152619"/>
                    <a:gd name="connsiteY96" fmla="*/ 124055 h 132392"/>
                    <a:gd name="connsiteX97" fmla="*/ 19633 w 152619"/>
                    <a:gd name="connsiteY97" fmla="*/ 124593 h 132392"/>
                    <a:gd name="connsiteX98" fmla="*/ 19038 w 152619"/>
                    <a:gd name="connsiteY98" fmla="*/ 123297 h 132392"/>
                    <a:gd name="connsiteX99" fmla="*/ 18785 w 152619"/>
                    <a:gd name="connsiteY99" fmla="*/ 122026 h 132392"/>
                    <a:gd name="connsiteX100" fmla="*/ 19266 w 152619"/>
                    <a:gd name="connsiteY100" fmla="*/ 121048 h 132392"/>
                    <a:gd name="connsiteX101" fmla="*/ 19021 w 152619"/>
                    <a:gd name="connsiteY101" fmla="*/ 115563 h 132392"/>
                    <a:gd name="connsiteX102" fmla="*/ 19307 w 152619"/>
                    <a:gd name="connsiteY102" fmla="*/ 112638 h 132392"/>
                    <a:gd name="connsiteX103" fmla="*/ 19160 w 152619"/>
                    <a:gd name="connsiteY103" fmla="*/ 110087 h 132392"/>
                    <a:gd name="connsiteX104" fmla="*/ 20611 w 152619"/>
                    <a:gd name="connsiteY104" fmla="*/ 108400 h 132392"/>
                    <a:gd name="connsiteX105" fmla="*/ 21996 w 152619"/>
                    <a:gd name="connsiteY105" fmla="*/ 107356 h 132392"/>
                    <a:gd name="connsiteX106" fmla="*/ 27399 w 152619"/>
                    <a:gd name="connsiteY106" fmla="*/ 107251 h 132392"/>
                    <a:gd name="connsiteX107" fmla="*/ 32428 w 152619"/>
                    <a:gd name="connsiteY107" fmla="*/ 107169 h 132392"/>
                    <a:gd name="connsiteX108" fmla="*/ 37269 w 152619"/>
                    <a:gd name="connsiteY108" fmla="*/ 107218 h 132392"/>
                    <a:gd name="connsiteX109" fmla="*/ 42199 w 152619"/>
                    <a:gd name="connsiteY109" fmla="*/ 107275 h 132392"/>
                    <a:gd name="connsiteX110" fmla="*/ 42688 w 152619"/>
                    <a:gd name="connsiteY110" fmla="*/ 102157 h 132392"/>
                    <a:gd name="connsiteX111" fmla="*/ 44245 w 152619"/>
                    <a:gd name="connsiteY111" fmla="*/ 101757 h 132392"/>
                    <a:gd name="connsiteX112" fmla="*/ 46584 w 152619"/>
                    <a:gd name="connsiteY112" fmla="*/ 101236 h 132392"/>
                    <a:gd name="connsiteX113" fmla="*/ 50944 w 152619"/>
                    <a:gd name="connsiteY113" fmla="*/ 100600 h 132392"/>
                    <a:gd name="connsiteX114" fmla="*/ 55793 w 152619"/>
                    <a:gd name="connsiteY114" fmla="*/ 100014 h 132392"/>
                    <a:gd name="connsiteX115" fmla="*/ 56828 w 152619"/>
                    <a:gd name="connsiteY115" fmla="*/ 99003 h 132392"/>
                    <a:gd name="connsiteX116" fmla="*/ 57627 w 152619"/>
                    <a:gd name="connsiteY116" fmla="*/ 97308 h 132392"/>
                    <a:gd name="connsiteX117" fmla="*/ 58140 w 152619"/>
                    <a:gd name="connsiteY117" fmla="*/ 95784 h 132392"/>
                    <a:gd name="connsiteX118" fmla="*/ 59143 w 152619"/>
                    <a:gd name="connsiteY118" fmla="*/ 95140 h 132392"/>
                    <a:gd name="connsiteX119" fmla="*/ 60495 w 152619"/>
                    <a:gd name="connsiteY119" fmla="*/ 95653 h 132392"/>
                    <a:gd name="connsiteX120" fmla="*/ 62280 w 152619"/>
                    <a:gd name="connsiteY120" fmla="*/ 96452 h 132392"/>
                    <a:gd name="connsiteX121" fmla="*/ 64122 w 152619"/>
                    <a:gd name="connsiteY121" fmla="*/ 97691 h 132392"/>
                    <a:gd name="connsiteX122" fmla="*/ 66233 w 152619"/>
                    <a:gd name="connsiteY122" fmla="*/ 98832 h 132392"/>
                    <a:gd name="connsiteX123" fmla="*/ 67643 w 152619"/>
                    <a:gd name="connsiteY123" fmla="*/ 99549 h 132392"/>
                    <a:gd name="connsiteX124" fmla="*/ 71025 w 152619"/>
                    <a:gd name="connsiteY124" fmla="*/ 101350 h 132392"/>
                    <a:gd name="connsiteX125" fmla="*/ 76811 w 152619"/>
                    <a:gd name="connsiteY125" fmla="*/ 103868 h 132392"/>
                    <a:gd name="connsiteX126" fmla="*/ 81571 w 152619"/>
                    <a:gd name="connsiteY126" fmla="*/ 104871 h 132392"/>
                    <a:gd name="connsiteX127" fmla="*/ 87316 w 152619"/>
                    <a:gd name="connsiteY127" fmla="*/ 103037 h 132392"/>
                    <a:gd name="connsiteX128" fmla="*/ 91473 w 152619"/>
                    <a:gd name="connsiteY128" fmla="*/ 101855 h 132392"/>
                    <a:gd name="connsiteX129" fmla="*/ 91994 w 152619"/>
                    <a:gd name="connsiteY129" fmla="*/ 99655 h 132392"/>
                    <a:gd name="connsiteX130" fmla="*/ 91350 w 152619"/>
                    <a:gd name="connsiteY130" fmla="*/ 97503 h 132392"/>
                    <a:gd name="connsiteX131" fmla="*/ 88253 w 152619"/>
                    <a:gd name="connsiteY131" fmla="*/ 95539 h 132392"/>
                    <a:gd name="connsiteX132" fmla="*/ 84048 w 152619"/>
                    <a:gd name="connsiteY132" fmla="*/ 95759 h 132392"/>
                    <a:gd name="connsiteX133" fmla="*/ 82752 w 152619"/>
                    <a:gd name="connsiteY133" fmla="*/ 96289 h 132392"/>
                    <a:gd name="connsiteX134" fmla="*/ 80796 w 152619"/>
                    <a:gd name="connsiteY134" fmla="*/ 96941 h 132392"/>
                    <a:gd name="connsiteX135" fmla="*/ 79623 w 152619"/>
                    <a:gd name="connsiteY135" fmla="*/ 97194 h 132392"/>
                    <a:gd name="connsiteX136" fmla="*/ 77634 w 152619"/>
                    <a:gd name="connsiteY136" fmla="*/ 96737 h 132392"/>
                    <a:gd name="connsiteX137" fmla="*/ 75116 w 152619"/>
                    <a:gd name="connsiteY137" fmla="*/ 95042 h 132392"/>
                    <a:gd name="connsiteX138" fmla="*/ 73535 w 152619"/>
                    <a:gd name="connsiteY138" fmla="*/ 93322 h 132392"/>
                    <a:gd name="connsiteX139" fmla="*/ 71318 w 152619"/>
                    <a:gd name="connsiteY139" fmla="*/ 92524 h 132392"/>
                    <a:gd name="connsiteX140" fmla="*/ 68694 w 152619"/>
                    <a:gd name="connsiteY140" fmla="*/ 91725 h 132392"/>
                    <a:gd name="connsiteX141" fmla="*/ 64489 w 152619"/>
                    <a:gd name="connsiteY141" fmla="*/ 88196 h 132392"/>
                    <a:gd name="connsiteX142" fmla="*/ 62288 w 152619"/>
                    <a:gd name="connsiteY142" fmla="*/ 87561 h 132392"/>
                    <a:gd name="connsiteX143" fmla="*/ 60202 w 152619"/>
                    <a:gd name="connsiteY143" fmla="*/ 87373 h 132392"/>
                    <a:gd name="connsiteX144" fmla="*/ 56209 w 152619"/>
                    <a:gd name="connsiteY144" fmla="*/ 88074 h 132392"/>
                    <a:gd name="connsiteX145" fmla="*/ 52297 w 152619"/>
                    <a:gd name="connsiteY145" fmla="*/ 89957 h 132392"/>
                    <a:gd name="connsiteX146" fmla="*/ 50251 w 152619"/>
                    <a:gd name="connsiteY146" fmla="*/ 94235 h 132392"/>
                    <a:gd name="connsiteX147" fmla="*/ 46339 w 152619"/>
                    <a:gd name="connsiteY147" fmla="*/ 94178 h 132392"/>
                    <a:gd name="connsiteX148" fmla="*/ 38043 w 152619"/>
                    <a:gd name="connsiteY148" fmla="*/ 94032 h 132392"/>
                    <a:gd name="connsiteX149" fmla="*/ 30431 w 152619"/>
                    <a:gd name="connsiteY149" fmla="*/ 93909 h 132392"/>
                    <a:gd name="connsiteX150" fmla="*/ 24139 w 152619"/>
                    <a:gd name="connsiteY150" fmla="*/ 94203 h 132392"/>
                    <a:gd name="connsiteX151" fmla="*/ 23512 w 152619"/>
                    <a:gd name="connsiteY151" fmla="*/ 91098 h 132392"/>
                    <a:gd name="connsiteX152" fmla="*/ 22021 w 152619"/>
                    <a:gd name="connsiteY152" fmla="*/ 88620 h 132392"/>
                    <a:gd name="connsiteX153" fmla="*/ 19600 w 152619"/>
                    <a:gd name="connsiteY153" fmla="*/ 86518 h 132392"/>
                    <a:gd name="connsiteX154" fmla="*/ 19062 w 152619"/>
                    <a:gd name="connsiteY154" fmla="*/ 84553 h 132392"/>
                    <a:gd name="connsiteX155" fmla="*/ 19885 w 152619"/>
                    <a:gd name="connsiteY155" fmla="*/ 82850 h 132392"/>
                    <a:gd name="connsiteX156" fmla="*/ 22224 w 152619"/>
                    <a:gd name="connsiteY156" fmla="*/ 81440 h 132392"/>
                    <a:gd name="connsiteX157" fmla="*/ 22754 w 152619"/>
                    <a:gd name="connsiteY157" fmla="*/ 80430 h 132392"/>
                    <a:gd name="connsiteX158" fmla="*/ 21540 w 152619"/>
                    <a:gd name="connsiteY158" fmla="*/ 80585 h 132392"/>
                    <a:gd name="connsiteX159" fmla="*/ 19681 w 152619"/>
                    <a:gd name="connsiteY159" fmla="*/ 81489 h 132392"/>
                    <a:gd name="connsiteX160" fmla="*/ 18451 w 152619"/>
                    <a:gd name="connsiteY160" fmla="*/ 81546 h 132392"/>
                    <a:gd name="connsiteX161" fmla="*/ 18304 w 152619"/>
                    <a:gd name="connsiteY161" fmla="*/ 78832 h 132392"/>
                    <a:gd name="connsiteX162" fmla="*/ 16250 w 152619"/>
                    <a:gd name="connsiteY162" fmla="*/ 75328 h 132392"/>
                    <a:gd name="connsiteX163" fmla="*/ 13936 w 152619"/>
                    <a:gd name="connsiteY163" fmla="*/ 69403 h 132392"/>
                    <a:gd name="connsiteX164" fmla="*/ 11320 w 152619"/>
                    <a:gd name="connsiteY164" fmla="*/ 66975 h 132392"/>
                    <a:gd name="connsiteX165" fmla="*/ 9119 w 152619"/>
                    <a:gd name="connsiteY165" fmla="*/ 62182 h 132392"/>
                    <a:gd name="connsiteX166" fmla="*/ 6821 w 152619"/>
                    <a:gd name="connsiteY166" fmla="*/ 60349 h 132392"/>
                    <a:gd name="connsiteX167" fmla="*/ 4711 w 152619"/>
                    <a:gd name="connsiteY167" fmla="*/ 59493 h 132392"/>
                    <a:gd name="connsiteX168" fmla="*/ 2901 w 152619"/>
                    <a:gd name="connsiteY168" fmla="*/ 59664 h 132392"/>
                    <a:gd name="connsiteX169" fmla="*/ 2249 w 152619"/>
                    <a:gd name="connsiteY169" fmla="*/ 61848 h 132392"/>
                    <a:gd name="connsiteX170" fmla="*/ 0 w 152619"/>
                    <a:gd name="connsiteY170" fmla="*/ 58694 h 132392"/>
                    <a:gd name="connsiteX171" fmla="*/ 3072 w 152619"/>
                    <a:gd name="connsiteY171" fmla="*/ 57570 h 132392"/>
                    <a:gd name="connsiteX172" fmla="*/ 9633 w 152619"/>
                    <a:gd name="connsiteY172" fmla="*/ 53617 h 132392"/>
                    <a:gd name="connsiteX173" fmla="*/ 17171 w 152619"/>
                    <a:gd name="connsiteY173" fmla="*/ 42289 h 132392"/>
                    <a:gd name="connsiteX174" fmla="*/ 23936 w 152619"/>
                    <a:gd name="connsiteY174" fmla="*/ 28858 h 132392"/>
                    <a:gd name="connsiteX175" fmla="*/ 24808 w 152619"/>
                    <a:gd name="connsiteY175" fmla="*/ 25688 h 132392"/>
                    <a:gd name="connsiteX176" fmla="*/ 25639 w 152619"/>
                    <a:gd name="connsiteY176" fmla="*/ 23276 h 132392"/>
                    <a:gd name="connsiteX177" fmla="*/ 26177 w 152619"/>
                    <a:gd name="connsiteY177" fmla="*/ 17783 h 132392"/>
                    <a:gd name="connsiteX178" fmla="*/ 27155 w 152619"/>
                    <a:gd name="connsiteY178" fmla="*/ 14507 h 132392"/>
                    <a:gd name="connsiteX179" fmla="*/ 28059 w 152619"/>
                    <a:gd name="connsiteY179" fmla="*/ 13879 h 132392"/>
                    <a:gd name="connsiteX180" fmla="*/ 29209 w 152619"/>
                    <a:gd name="connsiteY180" fmla="*/ 11361 h 132392"/>
                    <a:gd name="connsiteX181" fmla="*/ 30586 w 152619"/>
                    <a:gd name="connsiteY181" fmla="*/ 6960 h 132392"/>
                    <a:gd name="connsiteX182" fmla="*/ 32159 w 152619"/>
                    <a:gd name="connsiteY182" fmla="*/ 4515 h 132392"/>
                    <a:gd name="connsiteX183" fmla="*/ 33911 w 152619"/>
                    <a:gd name="connsiteY183" fmla="*/ 4034 h 132392"/>
                    <a:gd name="connsiteX184" fmla="*/ 35280 w 152619"/>
                    <a:gd name="connsiteY184" fmla="*/ 4246 h 132392"/>
                    <a:gd name="connsiteX185" fmla="*/ 36250 w 152619"/>
                    <a:gd name="connsiteY185" fmla="*/ 5159 h 132392"/>
                    <a:gd name="connsiteX186" fmla="*/ 39102 w 152619"/>
                    <a:gd name="connsiteY186" fmla="*/ 5713 h 132392"/>
                    <a:gd name="connsiteX187" fmla="*/ 43837 w 152619"/>
                    <a:gd name="connsiteY187" fmla="*/ 5933 h 132392"/>
                    <a:gd name="connsiteX188" fmla="*/ 47497 w 152619"/>
                    <a:gd name="connsiteY188" fmla="*/ 5273 h 132392"/>
                    <a:gd name="connsiteX189" fmla="*/ 50072 w 152619"/>
                    <a:gd name="connsiteY189" fmla="*/ 3749 h 132392"/>
                    <a:gd name="connsiteX190" fmla="*/ 53462 w 152619"/>
                    <a:gd name="connsiteY190" fmla="*/ 2967 h 132392"/>
                    <a:gd name="connsiteX191" fmla="*/ 57667 w 152619"/>
                    <a:gd name="connsiteY191" fmla="*/ 2950 h 132392"/>
                    <a:gd name="connsiteX192" fmla="*/ 59876 w 152619"/>
                    <a:gd name="connsiteY192" fmla="*/ 2306 h 132392"/>
                    <a:gd name="connsiteX193" fmla="*/ 60096 w 152619"/>
                    <a:gd name="connsiteY193" fmla="*/ 1043 h 132392"/>
                    <a:gd name="connsiteX194" fmla="*/ 60642 w 152619"/>
                    <a:gd name="connsiteY194" fmla="*/ 660 h 132392"/>
                    <a:gd name="connsiteX195" fmla="*/ 61522 w 152619"/>
                    <a:gd name="connsiteY195" fmla="*/ 1165 h 132392"/>
                    <a:gd name="connsiteX196" fmla="*/ 62345 w 152619"/>
                    <a:gd name="connsiteY196" fmla="*/ 970 h 132392"/>
                    <a:gd name="connsiteX197" fmla="*/ 63128 w 152619"/>
                    <a:gd name="connsiteY197" fmla="*/ 65 h 132392"/>
                    <a:gd name="connsiteX198" fmla="*/ 63894 w 152619"/>
                    <a:gd name="connsiteY198" fmla="*/ 0 h 132392"/>
                    <a:gd name="connsiteX199" fmla="*/ 64660 w 152619"/>
                    <a:gd name="connsiteY199" fmla="*/ 782 h 132392"/>
                    <a:gd name="connsiteX200" fmla="*/ 68181 w 152619"/>
                    <a:gd name="connsiteY200" fmla="*/ 1011 h 132392"/>
                    <a:gd name="connsiteX201" fmla="*/ 74456 w 152619"/>
                    <a:gd name="connsiteY201" fmla="*/ 709 h 132392"/>
                    <a:gd name="connsiteX202" fmla="*/ 80250 w 152619"/>
                    <a:gd name="connsiteY202" fmla="*/ 3024 h 132392"/>
                    <a:gd name="connsiteX203" fmla="*/ 85572 w 152619"/>
                    <a:gd name="connsiteY203" fmla="*/ 7954 h 132392"/>
                    <a:gd name="connsiteX204" fmla="*/ 88310 w 152619"/>
                    <a:gd name="connsiteY204" fmla="*/ 11247 h 132392"/>
                    <a:gd name="connsiteX205" fmla="*/ 88482 w 152619"/>
                    <a:gd name="connsiteY205" fmla="*/ 12893 h 132392"/>
                    <a:gd name="connsiteX206" fmla="*/ 89362 w 152619"/>
                    <a:gd name="connsiteY206" fmla="*/ 14556 h 132392"/>
                    <a:gd name="connsiteX207" fmla="*/ 90959 w 152619"/>
                    <a:gd name="connsiteY207" fmla="*/ 16226 h 132392"/>
                    <a:gd name="connsiteX208" fmla="*/ 92410 w 152619"/>
                    <a:gd name="connsiteY208" fmla="*/ 16536 h 132392"/>
                    <a:gd name="connsiteX209" fmla="*/ 93730 w 152619"/>
                    <a:gd name="connsiteY209" fmla="*/ 15476 h 132392"/>
                    <a:gd name="connsiteX210" fmla="*/ 94757 w 152619"/>
                    <a:gd name="connsiteY210" fmla="*/ 15599 h 132392"/>
                    <a:gd name="connsiteX211" fmla="*/ 95507 w 152619"/>
                    <a:gd name="connsiteY211" fmla="*/ 16878 h 132392"/>
                    <a:gd name="connsiteX212" fmla="*/ 97031 w 152619"/>
                    <a:gd name="connsiteY212" fmla="*/ 17139 h 132392"/>
                    <a:gd name="connsiteX213" fmla="*/ 98718 w 152619"/>
                    <a:gd name="connsiteY213" fmla="*/ 16348 h 132392"/>
                    <a:gd name="connsiteX214" fmla="*/ 99924 w 152619"/>
                    <a:gd name="connsiteY214" fmla="*/ 16626 h 132392"/>
                    <a:gd name="connsiteX215" fmla="*/ 100144 w 152619"/>
                    <a:gd name="connsiteY215" fmla="*/ 17383 h 132392"/>
                    <a:gd name="connsiteX216" fmla="*/ 100413 w 152619"/>
                    <a:gd name="connsiteY216" fmla="*/ 17783 h 132392"/>
                    <a:gd name="connsiteX217" fmla="*/ 101228 w 152619"/>
                    <a:gd name="connsiteY217" fmla="*/ 17970 h 132392"/>
                    <a:gd name="connsiteX218" fmla="*/ 102336 w 152619"/>
                    <a:gd name="connsiteY218" fmla="*/ 18940 h 132392"/>
                    <a:gd name="connsiteX219" fmla="*/ 103877 w 152619"/>
                    <a:gd name="connsiteY219" fmla="*/ 21556 h 132392"/>
                    <a:gd name="connsiteX220" fmla="*/ 105123 w 152619"/>
                    <a:gd name="connsiteY220" fmla="*/ 25207 h 132392"/>
                    <a:gd name="connsiteX221" fmla="*/ 106093 w 152619"/>
                    <a:gd name="connsiteY221" fmla="*/ 29893 h 132392"/>
                    <a:gd name="connsiteX222" fmla="*/ 107373 w 152619"/>
                    <a:gd name="connsiteY222" fmla="*/ 32444 h 132392"/>
                    <a:gd name="connsiteX223" fmla="*/ 108962 w 152619"/>
                    <a:gd name="connsiteY223" fmla="*/ 32852 h 132392"/>
                    <a:gd name="connsiteX224" fmla="*/ 109883 w 152619"/>
                    <a:gd name="connsiteY224" fmla="*/ 33813 h 132392"/>
                    <a:gd name="connsiteX225" fmla="*/ 110062 w 152619"/>
                    <a:gd name="connsiteY225" fmla="*/ 34930 h 132392"/>
                    <a:gd name="connsiteX226" fmla="*/ 110527 w 152619"/>
                    <a:gd name="connsiteY226" fmla="*/ 35688 h 132392"/>
                    <a:gd name="connsiteX227" fmla="*/ 111293 w 152619"/>
                    <a:gd name="connsiteY227" fmla="*/ 36103 h 132392"/>
                    <a:gd name="connsiteX228" fmla="*/ 112629 w 152619"/>
                    <a:gd name="connsiteY228" fmla="*/ 35851 h 132392"/>
                    <a:gd name="connsiteX229" fmla="*/ 114210 w 152619"/>
                    <a:gd name="connsiteY229" fmla="*/ 37432 h 132392"/>
                    <a:gd name="connsiteX230" fmla="*/ 115905 w 152619"/>
                    <a:gd name="connsiteY230" fmla="*/ 40871 h 132392"/>
                    <a:gd name="connsiteX231" fmla="*/ 116166 w 152619"/>
                    <a:gd name="connsiteY231" fmla="*/ 42419 h 132392"/>
                    <a:gd name="connsiteX232" fmla="*/ 115905 w 152619"/>
                    <a:gd name="connsiteY232" fmla="*/ 43251 h 132392"/>
                    <a:gd name="connsiteX233" fmla="*/ 116003 w 152619"/>
                    <a:gd name="connsiteY233" fmla="*/ 43854 h 132392"/>
                    <a:gd name="connsiteX234" fmla="*/ 117128 w 152619"/>
                    <a:gd name="connsiteY234" fmla="*/ 44432 h 132392"/>
                    <a:gd name="connsiteX235" fmla="*/ 118187 w 152619"/>
                    <a:gd name="connsiteY235" fmla="*/ 45557 h 132392"/>
                    <a:gd name="connsiteX236" fmla="*/ 119059 w 152619"/>
                    <a:gd name="connsiteY236" fmla="*/ 47244 h 132392"/>
                    <a:gd name="connsiteX237" fmla="*/ 120934 w 152619"/>
                    <a:gd name="connsiteY237" fmla="*/ 48743 h 132392"/>
                    <a:gd name="connsiteX238" fmla="*/ 123811 w 152619"/>
                    <a:gd name="connsiteY238" fmla="*/ 50047 h 132392"/>
                    <a:gd name="connsiteX239" fmla="*/ 125889 w 152619"/>
                    <a:gd name="connsiteY239" fmla="*/ 52020 h 132392"/>
                    <a:gd name="connsiteX240" fmla="*/ 127160 w 152619"/>
                    <a:gd name="connsiteY240" fmla="*/ 54619 h 132392"/>
                    <a:gd name="connsiteX241" fmla="*/ 129793 w 152619"/>
                    <a:gd name="connsiteY241" fmla="*/ 56820 h 132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Lst>
                  <a:rect l="l" t="t" r="r" b="b"/>
                  <a:pathLst>
                    <a:path w="152619" h="132392">
                      <a:moveTo>
                        <a:pt x="130339" y="57056"/>
                      </a:moveTo>
                      <a:lnTo>
                        <a:pt x="132669" y="61954"/>
                      </a:lnTo>
                      <a:lnTo>
                        <a:pt x="132164" y="64302"/>
                      </a:lnTo>
                      <a:lnTo>
                        <a:pt x="131634" y="67724"/>
                      </a:lnTo>
                      <a:lnTo>
                        <a:pt x="132947" y="70218"/>
                      </a:lnTo>
                      <a:lnTo>
                        <a:pt x="134495" y="71840"/>
                      </a:lnTo>
                      <a:lnTo>
                        <a:pt x="135603" y="73331"/>
                      </a:lnTo>
                      <a:lnTo>
                        <a:pt x="136826" y="75393"/>
                      </a:lnTo>
                      <a:lnTo>
                        <a:pt x="137021" y="79484"/>
                      </a:lnTo>
                      <a:lnTo>
                        <a:pt x="136793" y="82434"/>
                      </a:lnTo>
                      <a:lnTo>
                        <a:pt x="137592" y="83779"/>
                      </a:lnTo>
                      <a:lnTo>
                        <a:pt x="138260" y="85458"/>
                      </a:lnTo>
                      <a:lnTo>
                        <a:pt x="138130" y="86860"/>
                      </a:lnTo>
                      <a:lnTo>
                        <a:pt x="137690" y="88107"/>
                      </a:lnTo>
                      <a:lnTo>
                        <a:pt x="136198" y="89753"/>
                      </a:lnTo>
                      <a:lnTo>
                        <a:pt x="135954" y="92817"/>
                      </a:lnTo>
                      <a:lnTo>
                        <a:pt x="138366" y="96517"/>
                      </a:lnTo>
                      <a:lnTo>
                        <a:pt x="139906" y="98538"/>
                      </a:lnTo>
                      <a:lnTo>
                        <a:pt x="139898" y="99704"/>
                      </a:lnTo>
                      <a:lnTo>
                        <a:pt x="140322" y="100967"/>
                      </a:lnTo>
                      <a:lnTo>
                        <a:pt x="141471" y="102442"/>
                      </a:lnTo>
                      <a:lnTo>
                        <a:pt x="142172" y="102100"/>
                      </a:lnTo>
                      <a:lnTo>
                        <a:pt x="142954" y="100886"/>
                      </a:lnTo>
                      <a:lnTo>
                        <a:pt x="143297" y="100054"/>
                      </a:lnTo>
                      <a:lnTo>
                        <a:pt x="145367" y="100421"/>
                      </a:lnTo>
                      <a:lnTo>
                        <a:pt x="146353" y="100804"/>
                      </a:lnTo>
                      <a:lnTo>
                        <a:pt x="147681" y="103225"/>
                      </a:lnTo>
                      <a:lnTo>
                        <a:pt x="148170" y="104838"/>
                      </a:lnTo>
                      <a:lnTo>
                        <a:pt x="148488" y="106867"/>
                      </a:lnTo>
                      <a:lnTo>
                        <a:pt x="149873" y="109386"/>
                      </a:lnTo>
                      <a:lnTo>
                        <a:pt x="151080" y="111170"/>
                      </a:lnTo>
                      <a:lnTo>
                        <a:pt x="151332" y="112287"/>
                      </a:lnTo>
                      <a:lnTo>
                        <a:pt x="152416" y="113787"/>
                      </a:lnTo>
                      <a:lnTo>
                        <a:pt x="151748" y="117120"/>
                      </a:lnTo>
                      <a:lnTo>
                        <a:pt x="151821" y="118831"/>
                      </a:lnTo>
                      <a:lnTo>
                        <a:pt x="151088" y="123314"/>
                      </a:lnTo>
                      <a:lnTo>
                        <a:pt x="150925" y="125432"/>
                      </a:lnTo>
                      <a:lnTo>
                        <a:pt x="150966" y="126215"/>
                      </a:lnTo>
                      <a:lnTo>
                        <a:pt x="152620" y="127812"/>
                      </a:lnTo>
                      <a:lnTo>
                        <a:pt x="152441" y="130078"/>
                      </a:lnTo>
                      <a:lnTo>
                        <a:pt x="150770" y="129679"/>
                      </a:lnTo>
                      <a:lnTo>
                        <a:pt x="147869" y="129418"/>
                      </a:lnTo>
                      <a:lnTo>
                        <a:pt x="142058" y="130599"/>
                      </a:lnTo>
                      <a:lnTo>
                        <a:pt x="140061" y="130110"/>
                      </a:lnTo>
                      <a:lnTo>
                        <a:pt x="136247" y="130274"/>
                      </a:lnTo>
                      <a:lnTo>
                        <a:pt x="133525" y="130917"/>
                      </a:lnTo>
                      <a:lnTo>
                        <a:pt x="130070" y="132392"/>
                      </a:lnTo>
                      <a:lnTo>
                        <a:pt x="127397" y="132026"/>
                      </a:lnTo>
                      <a:lnTo>
                        <a:pt x="125954" y="130869"/>
                      </a:lnTo>
                      <a:lnTo>
                        <a:pt x="124047" y="130942"/>
                      </a:lnTo>
                      <a:lnTo>
                        <a:pt x="121896" y="130322"/>
                      </a:lnTo>
                      <a:lnTo>
                        <a:pt x="119614" y="129206"/>
                      </a:lnTo>
                      <a:lnTo>
                        <a:pt x="117519" y="128635"/>
                      </a:lnTo>
                      <a:lnTo>
                        <a:pt x="115270" y="126574"/>
                      </a:lnTo>
                      <a:lnTo>
                        <a:pt x="114218" y="126207"/>
                      </a:lnTo>
                      <a:lnTo>
                        <a:pt x="113469" y="126745"/>
                      </a:lnTo>
                      <a:lnTo>
                        <a:pt x="112849" y="127437"/>
                      </a:lnTo>
                      <a:lnTo>
                        <a:pt x="112197" y="127861"/>
                      </a:lnTo>
                      <a:lnTo>
                        <a:pt x="110975" y="127478"/>
                      </a:lnTo>
                      <a:lnTo>
                        <a:pt x="110518" y="126085"/>
                      </a:lnTo>
                      <a:lnTo>
                        <a:pt x="110893" y="124724"/>
                      </a:lnTo>
                      <a:lnTo>
                        <a:pt x="111015" y="123697"/>
                      </a:lnTo>
                      <a:lnTo>
                        <a:pt x="110437" y="123134"/>
                      </a:lnTo>
                      <a:lnTo>
                        <a:pt x="109060" y="122947"/>
                      </a:lnTo>
                      <a:lnTo>
                        <a:pt x="106835" y="122955"/>
                      </a:lnTo>
                      <a:lnTo>
                        <a:pt x="103257" y="122523"/>
                      </a:lnTo>
                      <a:lnTo>
                        <a:pt x="102434" y="122262"/>
                      </a:lnTo>
                      <a:lnTo>
                        <a:pt x="94406" y="121912"/>
                      </a:lnTo>
                      <a:lnTo>
                        <a:pt x="86086" y="121871"/>
                      </a:lnTo>
                      <a:lnTo>
                        <a:pt x="79028" y="121830"/>
                      </a:lnTo>
                      <a:lnTo>
                        <a:pt x="70128" y="121790"/>
                      </a:lnTo>
                      <a:lnTo>
                        <a:pt x="63869" y="121757"/>
                      </a:lnTo>
                      <a:lnTo>
                        <a:pt x="58026" y="121724"/>
                      </a:lnTo>
                      <a:lnTo>
                        <a:pt x="53511" y="124487"/>
                      </a:lnTo>
                      <a:lnTo>
                        <a:pt x="48629" y="127470"/>
                      </a:lnTo>
                      <a:lnTo>
                        <a:pt x="42069" y="129067"/>
                      </a:lnTo>
                      <a:lnTo>
                        <a:pt x="34514" y="128472"/>
                      </a:lnTo>
                      <a:lnTo>
                        <a:pt x="32094" y="128896"/>
                      </a:lnTo>
                      <a:lnTo>
                        <a:pt x="29600" y="130225"/>
                      </a:lnTo>
                      <a:lnTo>
                        <a:pt x="27766" y="131186"/>
                      </a:lnTo>
                      <a:lnTo>
                        <a:pt x="25150" y="131773"/>
                      </a:lnTo>
                      <a:lnTo>
                        <a:pt x="21792" y="131292"/>
                      </a:lnTo>
                      <a:lnTo>
                        <a:pt x="20431" y="131577"/>
                      </a:lnTo>
                      <a:lnTo>
                        <a:pt x="19592" y="130216"/>
                      </a:lnTo>
                      <a:lnTo>
                        <a:pt x="18622" y="128016"/>
                      </a:lnTo>
                      <a:lnTo>
                        <a:pt x="19225" y="126394"/>
                      </a:lnTo>
                      <a:lnTo>
                        <a:pt x="21279" y="125367"/>
                      </a:lnTo>
                      <a:lnTo>
                        <a:pt x="24368" y="124006"/>
                      </a:lnTo>
                      <a:lnTo>
                        <a:pt x="25981" y="124699"/>
                      </a:lnTo>
                      <a:lnTo>
                        <a:pt x="26927" y="124732"/>
                      </a:lnTo>
                      <a:lnTo>
                        <a:pt x="27106" y="123860"/>
                      </a:lnTo>
                      <a:lnTo>
                        <a:pt x="26804" y="123395"/>
                      </a:lnTo>
                      <a:lnTo>
                        <a:pt x="24474" y="122213"/>
                      </a:lnTo>
                      <a:lnTo>
                        <a:pt x="23267" y="120657"/>
                      </a:lnTo>
                      <a:lnTo>
                        <a:pt x="22265" y="121569"/>
                      </a:lnTo>
                      <a:lnTo>
                        <a:pt x="21401" y="123485"/>
                      </a:lnTo>
                      <a:lnTo>
                        <a:pt x="20692" y="124055"/>
                      </a:lnTo>
                      <a:lnTo>
                        <a:pt x="19633" y="124593"/>
                      </a:lnTo>
                      <a:lnTo>
                        <a:pt x="19038" y="123297"/>
                      </a:lnTo>
                      <a:lnTo>
                        <a:pt x="18785" y="122026"/>
                      </a:lnTo>
                      <a:lnTo>
                        <a:pt x="19266" y="121048"/>
                      </a:lnTo>
                      <a:lnTo>
                        <a:pt x="19021" y="115563"/>
                      </a:lnTo>
                      <a:lnTo>
                        <a:pt x="19307" y="112638"/>
                      </a:lnTo>
                      <a:lnTo>
                        <a:pt x="19160" y="110087"/>
                      </a:lnTo>
                      <a:lnTo>
                        <a:pt x="20611" y="108400"/>
                      </a:lnTo>
                      <a:lnTo>
                        <a:pt x="21996" y="107356"/>
                      </a:lnTo>
                      <a:lnTo>
                        <a:pt x="27399" y="107251"/>
                      </a:lnTo>
                      <a:lnTo>
                        <a:pt x="32428" y="107169"/>
                      </a:lnTo>
                      <a:lnTo>
                        <a:pt x="37269" y="107218"/>
                      </a:lnTo>
                      <a:lnTo>
                        <a:pt x="42199" y="107275"/>
                      </a:lnTo>
                      <a:lnTo>
                        <a:pt x="42688" y="102157"/>
                      </a:lnTo>
                      <a:lnTo>
                        <a:pt x="44245" y="101757"/>
                      </a:lnTo>
                      <a:lnTo>
                        <a:pt x="46584" y="101236"/>
                      </a:lnTo>
                      <a:lnTo>
                        <a:pt x="50944" y="100600"/>
                      </a:lnTo>
                      <a:lnTo>
                        <a:pt x="55793" y="100014"/>
                      </a:lnTo>
                      <a:lnTo>
                        <a:pt x="56828" y="99003"/>
                      </a:lnTo>
                      <a:lnTo>
                        <a:pt x="57627" y="97308"/>
                      </a:lnTo>
                      <a:lnTo>
                        <a:pt x="58140" y="95784"/>
                      </a:lnTo>
                      <a:lnTo>
                        <a:pt x="59143" y="95140"/>
                      </a:lnTo>
                      <a:lnTo>
                        <a:pt x="60495" y="95653"/>
                      </a:lnTo>
                      <a:lnTo>
                        <a:pt x="62280" y="96452"/>
                      </a:lnTo>
                      <a:lnTo>
                        <a:pt x="64122" y="97691"/>
                      </a:lnTo>
                      <a:lnTo>
                        <a:pt x="66233" y="98832"/>
                      </a:lnTo>
                      <a:lnTo>
                        <a:pt x="67643" y="99549"/>
                      </a:lnTo>
                      <a:lnTo>
                        <a:pt x="71025" y="101350"/>
                      </a:lnTo>
                      <a:lnTo>
                        <a:pt x="76811" y="103868"/>
                      </a:lnTo>
                      <a:lnTo>
                        <a:pt x="81571" y="104871"/>
                      </a:lnTo>
                      <a:lnTo>
                        <a:pt x="87316" y="103037"/>
                      </a:lnTo>
                      <a:lnTo>
                        <a:pt x="91473" y="101855"/>
                      </a:lnTo>
                      <a:lnTo>
                        <a:pt x="91994" y="99655"/>
                      </a:lnTo>
                      <a:lnTo>
                        <a:pt x="91350" y="97503"/>
                      </a:lnTo>
                      <a:lnTo>
                        <a:pt x="88253" y="95539"/>
                      </a:lnTo>
                      <a:lnTo>
                        <a:pt x="84048" y="95759"/>
                      </a:lnTo>
                      <a:lnTo>
                        <a:pt x="82752" y="96289"/>
                      </a:lnTo>
                      <a:lnTo>
                        <a:pt x="80796" y="96941"/>
                      </a:lnTo>
                      <a:lnTo>
                        <a:pt x="79623" y="97194"/>
                      </a:lnTo>
                      <a:lnTo>
                        <a:pt x="77634" y="96737"/>
                      </a:lnTo>
                      <a:lnTo>
                        <a:pt x="75116" y="95042"/>
                      </a:lnTo>
                      <a:lnTo>
                        <a:pt x="73535" y="93322"/>
                      </a:lnTo>
                      <a:lnTo>
                        <a:pt x="71318" y="92524"/>
                      </a:lnTo>
                      <a:lnTo>
                        <a:pt x="68694" y="91725"/>
                      </a:lnTo>
                      <a:lnTo>
                        <a:pt x="64489" y="88196"/>
                      </a:lnTo>
                      <a:lnTo>
                        <a:pt x="62288" y="87561"/>
                      </a:lnTo>
                      <a:lnTo>
                        <a:pt x="60202" y="87373"/>
                      </a:lnTo>
                      <a:lnTo>
                        <a:pt x="56209" y="88074"/>
                      </a:lnTo>
                      <a:lnTo>
                        <a:pt x="52297" y="89957"/>
                      </a:lnTo>
                      <a:lnTo>
                        <a:pt x="50251" y="94235"/>
                      </a:lnTo>
                      <a:lnTo>
                        <a:pt x="46339" y="94178"/>
                      </a:lnTo>
                      <a:lnTo>
                        <a:pt x="38043" y="94032"/>
                      </a:lnTo>
                      <a:lnTo>
                        <a:pt x="30431" y="93909"/>
                      </a:lnTo>
                      <a:lnTo>
                        <a:pt x="24139" y="94203"/>
                      </a:lnTo>
                      <a:lnTo>
                        <a:pt x="23512" y="91098"/>
                      </a:lnTo>
                      <a:lnTo>
                        <a:pt x="22021" y="88620"/>
                      </a:lnTo>
                      <a:lnTo>
                        <a:pt x="19600" y="86518"/>
                      </a:lnTo>
                      <a:lnTo>
                        <a:pt x="19062" y="84553"/>
                      </a:lnTo>
                      <a:lnTo>
                        <a:pt x="19885" y="82850"/>
                      </a:lnTo>
                      <a:lnTo>
                        <a:pt x="22224" y="81440"/>
                      </a:lnTo>
                      <a:lnTo>
                        <a:pt x="22754" y="80430"/>
                      </a:lnTo>
                      <a:lnTo>
                        <a:pt x="21540" y="80585"/>
                      </a:lnTo>
                      <a:lnTo>
                        <a:pt x="19681" y="81489"/>
                      </a:lnTo>
                      <a:lnTo>
                        <a:pt x="18451" y="81546"/>
                      </a:lnTo>
                      <a:lnTo>
                        <a:pt x="18304" y="78832"/>
                      </a:lnTo>
                      <a:lnTo>
                        <a:pt x="16250" y="75328"/>
                      </a:lnTo>
                      <a:lnTo>
                        <a:pt x="13936" y="69403"/>
                      </a:lnTo>
                      <a:lnTo>
                        <a:pt x="11320" y="66975"/>
                      </a:lnTo>
                      <a:lnTo>
                        <a:pt x="9119" y="62182"/>
                      </a:lnTo>
                      <a:lnTo>
                        <a:pt x="6821" y="60349"/>
                      </a:lnTo>
                      <a:lnTo>
                        <a:pt x="4711" y="59493"/>
                      </a:lnTo>
                      <a:lnTo>
                        <a:pt x="2901" y="59664"/>
                      </a:lnTo>
                      <a:lnTo>
                        <a:pt x="2249" y="61848"/>
                      </a:lnTo>
                      <a:lnTo>
                        <a:pt x="0" y="58694"/>
                      </a:lnTo>
                      <a:lnTo>
                        <a:pt x="3072" y="57570"/>
                      </a:lnTo>
                      <a:lnTo>
                        <a:pt x="9633" y="53617"/>
                      </a:lnTo>
                      <a:lnTo>
                        <a:pt x="17171" y="42289"/>
                      </a:lnTo>
                      <a:lnTo>
                        <a:pt x="23936" y="28858"/>
                      </a:lnTo>
                      <a:lnTo>
                        <a:pt x="24808" y="25688"/>
                      </a:lnTo>
                      <a:lnTo>
                        <a:pt x="25639" y="23276"/>
                      </a:lnTo>
                      <a:lnTo>
                        <a:pt x="26177" y="17783"/>
                      </a:lnTo>
                      <a:lnTo>
                        <a:pt x="27155" y="14507"/>
                      </a:lnTo>
                      <a:lnTo>
                        <a:pt x="28059" y="13879"/>
                      </a:lnTo>
                      <a:lnTo>
                        <a:pt x="29209" y="11361"/>
                      </a:lnTo>
                      <a:lnTo>
                        <a:pt x="30586" y="6960"/>
                      </a:lnTo>
                      <a:lnTo>
                        <a:pt x="32159" y="4515"/>
                      </a:lnTo>
                      <a:lnTo>
                        <a:pt x="33911" y="4034"/>
                      </a:lnTo>
                      <a:lnTo>
                        <a:pt x="35280" y="4246"/>
                      </a:lnTo>
                      <a:lnTo>
                        <a:pt x="36250" y="5159"/>
                      </a:lnTo>
                      <a:lnTo>
                        <a:pt x="39102" y="5713"/>
                      </a:lnTo>
                      <a:lnTo>
                        <a:pt x="43837" y="5933"/>
                      </a:lnTo>
                      <a:lnTo>
                        <a:pt x="47497" y="5273"/>
                      </a:lnTo>
                      <a:lnTo>
                        <a:pt x="50072" y="3749"/>
                      </a:lnTo>
                      <a:lnTo>
                        <a:pt x="53462" y="2967"/>
                      </a:lnTo>
                      <a:lnTo>
                        <a:pt x="57667" y="2950"/>
                      </a:lnTo>
                      <a:lnTo>
                        <a:pt x="59876" y="2306"/>
                      </a:lnTo>
                      <a:lnTo>
                        <a:pt x="60096" y="1043"/>
                      </a:lnTo>
                      <a:lnTo>
                        <a:pt x="60642" y="660"/>
                      </a:lnTo>
                      <a:lnTo>
                        <a:pt x="61522" y="1165"/>
                      </a:lnTo>
                      <a:lnTo>
                        <a:pt x="62345" y="970"/>
                      </a:lnTo>
                      <a:lnTo>
                        <a:pt x="63128" y="65"/>
                      </a:lnTo>
                      <a:lnTo>
                        <a:pt x="63894" y="0"/>
                      </a:lnTo>
                      <a:lnTo>
                        <a:pt x="64660" y="782"/>
                      </a:lnTo>
                      <a:lnTo>
                        <a:pt x="68181" y="1011"/>
                      </a:lnTo>
                      <a:lnTo>
                        <a:pt x="74456" y="709"/>
                      </a:lnTo>
                      <a:lnTo>
                        <a:pt x="80250" y="3024"/>
                      </a:lnTo>
                      <a:lnTo>
                        <a:pt x="85572" y="7954"/>
                      </a:lnTo>
                      <a:lnTo>
                        <a:pt x="88310" y="11247"/>
                      </a:lnTo>
                      <a:lnTo>
                        <a:pt x="88482" y="12893"/>
                      </a:lnTo>
                      <a:lnTo>
                        <a:pt x="89362" y="14556"/>
                      </a:lnTo>
                      <a:lnTo>
                        <a:pt x="90959" y="16226"/>
                      </a:lnTo>
                      <a:lnTo>
                        <a:pt x="92410" y="16536"/>
                      </a:lnTo>
                      <a:lnTo>
                        <a:pt x="93730" y="15476"/>
                      </a:lnTo>
                      <a:lnTo>
                        <a:pt x="94757" y="15599"/>
                      </a:lnTo>
                      <a:lnTo>
                        <a:pt x="95507" y="16878"/>
                      </a:lnTo>
                      <a:lnTo>
                        <a:pt x="97031" y="17139"/>
                      </a:lnTo>
                      <a:lnTo>
                        <a:pt x="98718" y="16348"/>
                      </a:lnTo>
                      <a:lnTo>
                        <a:pt x="99924" y="16626"/>
                      </a:lnTo>
                      <a:lnTo>
                        <a:pt x="100144" y="17383"/>
                      </a:lnTo>
                      <a:lnTo>
                        <a:pt x="100413" y="17783"/>
                      </a:lnTo>
                      <a:lnTo>
                        <a:pt x="101228" y="17970"/>
                      </a:lnTo>
                      <a:lnTo>
                        <a:pt x="102336" y="18940"/>
                      </a:lnTo>
                      <a:lnTo>
                        <a:pt x="103877" y="21556"/>
                      </a:lnTo>
                      <a:lnTo>
                        <a:pt x="105123" y="25207"/>
                      </a:lnTo>
                      <a:lnTo>
                        <a:pt x="106093" y="29893"/>
                      </a:lnTo>
                      <a:lnTo>
                        <a:pt x="107373" y="32444"/>
                      </a:lnTo>
                      <a:lnTo>
                        <a:pt x="108962" y="32852"/>
                      </a:lnTo>
                      <a:lnTo>
                        <a:pt x="109883" y="33813"/>
                      </a:lnTo>
                      <a:lnTo>
                        <a:pt x="110062" y="34930"/>
                      </a:lnTo>
                      <a:lnTo>
                        <a:pt x="110527" y="35688"/>
                      </a:lnTo>
                      <a:lnTo>
                        <a:pt x="111293" y="36103"/>
                      </a:lnTo>
                      <a:lnTo>
                        <a:pt x="112629" y="35851"/>
                      </a:lnTo>
                      <a:lnTo>
                        <a:pt x="114210" y="37432"/>
                      </a:lnTo>
                      <a:lnTo>
                        <a:pt x="115905" y="40871"/>
                      </a:lnTo>
                      <a:lnTo>
                        <a:pt x="116166" y="42419"/>
                      </a:lnTo>
                      <a:lnTo>
                        <a:pt x="115905" y="43251"/>
                      </a:lnTo>
                      <a:lnTo>
                        <a:pt x="116003" y="43854"/>
                      </a:lnTo>
                      <a:lnTo>
                        <a:pt x="117128" y="44432"/>
                      </a:lnTo>
                      <a:lnTo>
                        <a:pt x="118187" y="45557"/>
                      </a:lnTo>
                      <a:lnTo>
                        <a:pt x="119059" y="47244"/>
                      </a:lnTo>
                      <a:lnTo>
                        <a:pt x="120934" y="48743"/>
                      </a:lnTo>
                      <a:lnTo>
                        <a:pt x="123811" y="50047"/>
                      </a:lnTo>
                      <a:lnTo>
                        <a:pt x="125889" y="52020"/>
                      </a:lnTo>
                      <a:lnTo>
                        <a:pt x="127160" y="54619"/>
                      </a:lnTo>
                      <a:lnTo>
                        <a:pt x="129793" y="56820"/>
                      </a:lnTo>
                      <a:close/>
                    </a:path>
                  </a:pathLst>
                </a:custGeom>
                <a:solidFill>
                  <a:srgbClr val="D6D6D2"/>
                </a:solidFill>
                <a:ln w="6112" cap="rnd">
                  <a:solidFill>
                    <a:srgbClr val="FFFFFF"/>
                  </a:solidFill>
                  <a:prstDash val="solid"/>
                  <a:round/>
                </a:ln>
              </p:spPr>
              <p:txBody>
                <a:bodyPr rtlCol="0" anchor="ctr"/>
                <a:lstStyle/>
                <a:p>
                  <a:endParaRPr lang="en-US"/>
                </a:p>
              </p:txBody>
            </p:sp>
            <p:sp>
              <p:nvSpPr>
                <p:cNvPr id="582" name="Freeform: Shape 581">
                  <a:extLst>
                    <a:ext uri="{FF2B5EF4-FFF2-40B4-BE49-F238E27FC236}">
                      <a16:creationId xmlns:a16="http://schemas.microsoft.com/office/drawing/2014/main" id="{07940B8B-718B-4B0D-AF6D-C514CDC4502C}"/>
                    </a:ext>
                  </a:extLst>
                </p:cNvPr>
                <p:cNvSpPr/>
                <p:nvPr/>
              </p:nvSpPr>
              <p:spPr>
                <a:xfrm>
                  <a:off x="6542532" y="4157164"/>
                  <a:ext cx="275827" cy="262804"/>
                </a:xfrm>
                <a:custGeom>
                  <a:avLst/>
                  <a:gdLst>
                    <a:gd name="connsiteX0" fmla="*/ 243367 w 275827"/>
                    <a:gd name="connsiteY0" fmla="*/ 71856 h 262804"/>
                    <a:gd name="connsiteX1" fmla="*/ 241762 w 275827"/>
                    <a:gd name="connsiteY1" fmla="*/ 75703 h 262804"/>
                    <a:gd name="connsiteX2" fmla="*/ 241256 w 275827"/>
                    <a:gd name="connsiteY2" fmla="*/ 78441 h 262804"/>
                    <a:gd name="connsiteX3" fmla="*/ 241085 w 275827"/>
                    <a:gd name="connsiteY3" fmla="*/ 80747 h 262804"/>
                    <a:gd name="connsiteX4" fmla="*/ 241191 w 275827"/>
                    <a:gd name="connsiteY4" fmla="*/ 82084 h 262804"/>
                    <a:gd name="connsiteX5" fmla="*/ 241371 w 275827"/>
                    <a:gd name="connsiteY5" fmla="*/ 82940 h 262804"/>
                    <a:gd name="connsiteX6" fmla="*/ 241452 w 275827"/>
                    <a:gd name="connsiteY6" fmla="*/ 83135 h 262804"/>
                    <a:gd name="connsiteX7" fmla="*/ 241517 w 275827"/>
                    <a:gd name="connsiteY7" fmla="*/ 83282 h 262804"/>
                    <a:gd name="connsiteX8" fmla="*/ 241591 w 275827"/>
                    <a:gd name="connsiteY8" fmla="*/ 83364 h 262804"/>
                    <a:gd name="connsiteX9" fmla="*/ 241672 w 275827"/>
                    <a:gd name="connsiteY9" fmla="*/ 83404 h 262804"/>
                    <a:gd name="connsiteX10" fmla="*/ 246277 w 275827"/>
                    <a:gd name="connsiteY10" fmla="*/ 83429 h 262804"/>
                    <a:gd name="connsiteX11" fmla="*/ 246318 w 275827"/>
                    <a:gd name="connsiteY11" fmla="*/ 83429 h 262804"/>
                    <a:gd name="connsiteX12" fmla="*/ 246318 w 275827"/>
                    <a:gd name="connsiteY12" fmla="*/ 83429 h 262804"/>
                    <a:gd name="connsiteX13" fmla="*/ 246293 w 275827"/>
                    <a:gd name="connsiteY13" fmla="*/ 84651 h 262804"/>
                    <a:gd name="connsiteX14" fmla="*/ 246472 w 275827"/>
                    <a:gd name="connsiteY14" fmla="*/ 90755 h 262804"/>
                    <a:gd name="connsiteX15" fmla="*/ 246635 w 275827"/>
                    <a:gd name="connsiteY15" fmla="*/ 96093 h 262804"/>
                    <a:gd name="connsiteX16" fmla="*/ 246888 w 275827"/>
                    <a:gd name="connsiteY16" fmla="*/ 104805 h 262804"/>
                    <a:gd name="connsiteX17" fmla="*/ 246896 w 275827"/>
                    <a:gd name="connsiteY17" fmla="*/ 107087 h 262804"/>
                    <a:gd name="connsiteX18" fmla="*/ 246717 w 275827"/>
                    <a:gd name="connsiteY18" fmla="*/ 109915 h 262804"/>
                    <a:gd name="connsiteX19" fmla="*/ 246179 w 275827"/>
                    <a:gd name="connsiteY19" fmla="*/ 111032 h 262804"/>
                    <a:gd name="connsiteX20" fmla="*/ 244859 w 275827"/>
                    <a:gd name="connsiteY20" fmla="*/ 112629 h 262804"/>
                    <a:gd name="connsiteX21" fmla="*/ 243221 w 275827"/>
                    <a:gd name="connsiteY21" fmla="*/ 114088 h 262804"/>
                    <a:gd name="connsiteX22" fmla="*/ 239048 w 275827"/>
                    <a:gd name="connsiteY22" fmla="*/ 114463 h 262804"/>
                    <a:gd name="connsiteX23" fmla="*/ 235560 w 275827"/>
                    <a:gd name="connsiteY23" fmla="*/ 114422 h 262804"/>
                    <a:gd name="connsiteX24" fmla="*/ 233107 w 275827"/>
                    <a:gd name="connsiteY24" fmla="*/ 114096 h 262804"/>
                    <a:gd name="connsiteX25" fmla="*/ 229725 w 275827"/>
                    <a:gd name="connsiteY25" fmla="*/ 113966 h 262804"/>
                    <a:gd name="connsiteX26" fmla="*/ 226546 w 275827"/>
                    <a:gd name="connsiteY26" fmla="*/ 114276 h 262804"/>
                    <a:gd name="connsiteX27" fmla="*/ 225373 w 275827"/>
                    <a:gd name="connsiteY27" fmla="*/ 115514 h 262804"/>
                    <a:gd name="connsiteX28" fmla="*/ 223669 w 275827"/>
                    <a:gd name="connsiteY28" fmla="*/ 119882 h 262804"/>
                    <a:gd name="connsiteX29" fmla="*/ 221200 w 275827"/>
                    <a:gd name="connsiteY29" fmla="*/ 126223 h 262804"/>
                    <a:gd name="connsiteX30" fmla="*/ 219880 w 275827"/>
                    <a:gd name="connsiteY30" fmla="*/ 128896 h 262804"/>
                    <a:gd name="connsiteX31" fmla="*/ 219545 w 275827"/>
                    <a:gd name="connsiteY31" fmla="*/ 130461 h 262804"/>
                    <a:gd name="connsiteX32" fmla="*/ 219928 w 275827"/>
                    <a:gd name="connsiteY32" fmla="*/ 131390 h 262804"/>
                    <a:gd name="connsiteX33" fmla="*/ 221575 w 275827"/>
                    <a:gd name="connsiteY33" fmla="*/ 132743 h 262804"/>
                    <a:gd name="connsiteX34" fmla="*/ 225177 w 275827"/>
                    <a:gd name="connsiteY34" fmla="*/ 134633 h 262804"/>
                    <a:gd name="connsiteX35" fmla="*/ 229309 w 275827"/>
                    <a:gd name="connsiteY35" fmla="*/ 135750 h 262804"/>
                    <a:gd name="connsiteX36" fmla="*/ 232373 w 275827"/>
                    <a:gd name="connsiteY36" fmla="*/ 136231 h 262804"/>
                    <a:gd name="connsiteX37" fmla="*/ 234476 w 275827"/>
                    <a:gd name="connsiteY37" fmla="*/ 136753 h 262804"/>
                    <a:gd name="connsiteX38" fmla="*/ 236090 w 275827"/>
                    <a:gd name="connsiteY38" fmla="*/ 137339 h 262804"/>
                    <a:gd name="connsiteX39" fmla="*/ 241949 w 275827"/>
                    <a:gd name="connsiteY39" fmla="*/ 142188 h 262804"/>
                    <a:gd name="connsiteX40" fmla="*/ 243832 w 275827"/>
                    <a:gd name="connsiteY40" fmla="*/ 144446 h 262804"/>
                    <a:gd name="connsiteX41" fmla="*/ 244883 w 275827"/>
                    <a:gd name="connsiteY41" fmla="*/ 146442 h 262804"/>
                    <a:gd name="connsiteX42" fmla="*/ 245128 w 275827"/>
                    <a:gd name="connsiteY42" fmla="*/ 148578 h 262804"/>
                    <a:gd name="connsiteX43" fmla="*/ 245975 w 275827"/>
                    <a:gd name="connsiteY43" fmla="*/ 150721 h 262804"/>
                    <a:gd name="connsiteX44" fmla="*/ 249349 w 275827"/>
                    <a:gd name="connsiteY44" fmla="*/ 154967 h 262804"/>
                    <a:gd name="connsiteX45" fmla="*/ 251305 w 275827"/>
                    <a:gd name="connsiteY45" fmla="*/ 157420 h 262804"/>
                    <a:gd name="connsiteX46" fmla="*/ 256390 w 275827"/>
                    <a:gd name="connsiteY46" fmla="*/ 160558 h 262804"/>
                    <a:gd name="connsiteX47" fmla="*/ 258338 w 275827"/>
                    <a:gd name="connsiteY47" fmla="*/ 164119 h 262804"/>
                    <a:gd name="connsiteX48" fmla="*/ 260229 w 275827"/>
                    <a:gd name="connsiteY48" fmla="*/ 165855 h 262804"/>
                    <a:gd name="connsiteX49" fmla="*/ 261998 w 275827"/>
                    <a:gd name="connsiteY49" fmla="*/ 167713 h 262804"/>
                    <a:gd name="connsiteX50" fmla="*/ 262959 w 275827"/>
                    <a:gd name="connsiteY50" fmla="*/ 170492 h 262804"/>
                    <a:gd name="connsiteX51" fmla="*/ 265160 w 275827"/>
                    <a:gd name="connsiteY51" fmla="*/ 178528 h 262804"/>
                    <a:gd name="connsiteX52" fmla="*/ 266643 w 275827"/>
                    <a:gd name="connsiteY52" fmla="*/ 182741 h 262804"/>
                    <a:gd name="connsiteX53" fmla="*/ 268159 w 275827"/>
                    <a:gd name="connsiteY53" fmla="*/ 186189 h 262804"/>
                    <a:gd name="connsiteX54" fmla="*/ 268770 w 275827"/>
                    <a:gd name="connsiteY54" fmla="*/ 191796 h 262804"/>
                    <a:gd name="connsiteX55" fmla="*/ 269976 w 275827"/>
                    <a:gd name="connsiteY55" fmla="*/ 194298 h 262804"/>
                    <a:gd name="connsiteX56" fmla="*/ 271206 w 275827"/>
                    <a:gd name="connsiteY56" fmla="*/ 197354 h 262804"/>
                    <a:gd name="connsiteX57" fmla="*/ 273252 w 275827"/>
                    <a:gd name="connsiteY57" fmla="*/ 200117 h 262804"/>
                    <a:gd name="connsiteX58" fmla="*/ 275444 w 275827"/>
                    <a:gd name="connsiteY58" fmla="*/ 202211 h 262804"/>
                    <a:gd name="connsiteX59" fmla="*/ 275827 w 275827"/>
                    <a:gd name="connsiteY59" fmla="*/ 202782 h 262804"/>
                    <a:gd name="connsiteX60" fmla="*/ 271272 w 275827"/>
                    <a:gd name="connsiteY60" fmla="*/ 208193 h 262804"/>
                    <a:gd name="connsiteX61" fmla="*/ 266162 w 275827"/>
                    <a:gd name="connsiteY61" fmla="*/ 214264 h 262804"/>
                    <a:gd name="connsiteX62" fmla="*/ 260253 w 275827"/>
                    <a:gd name="connsiteY62" fmla="*/ 221282 h 262804"/>
                    <a:gd name="connsiteX63" fmla="*/ 253807 w 275827"/>
                    <a:gd name="connsiteY63" fmla="*/ 228926 h 262804"/>
                    <a:gd name="connsiteX64" fmla="*/ 248754 w 275827"/>
                    <a:gd name="connsiteY64" fmla="*/ 234973 h 262804"/>
                    <a:gd name="connsiteX65" fmla="*/ 243783 w 275827"/>
                    <a:gd name="connsiteY65" fmla="*/ 240939 h 262804"/>
                    <a:gd name="connsiteX66" fmla="*/ 237964 w 275827"/>
                    <a:gd name="connsiteY66" fmla="*/ 247972 h 262804"/>
                    <a:gd name="connsiteX67" fmla="*/ 233669 w 275827"/>
                    <a:gd name="connsiteY67" fmla="*/ 253179 h 262804"/>
                    <a:gd name="connsiteX68" fmla="*/ 232952 w 275827"/>
                    <a:gd name="connsiteY68" fmla="*/ 253913 h 262804"/>
                    <a:gd name="connsiteX69" fmla="*/ 231713 w 275827"/>
                    <a:gd name="connsiteY69" fmla="*/ 254875 h 262804"/>
                    <a:gd name="connsiteX70" fmla="*/ 227622 w 275827"/>
                    <a:gd name="connsiteY70" fmla="*/ 254899 h 262804"/>
                    <a:gd name="connsiteX71" fmla="*/ 223392 w 275827"/>
                    <a:gd name="connsiteY71" fmla="*/ 254288 h 262804"/>
                    <a:gd name="connsiteX72" fmla="*/ 219513 w 275827"/>
                    <a:gd name="connsiteY72" fmla="*/ 251126 h 262804"/>
                    <a:gd name="connsiteX73" fmla="*/ 215561 w 275827"/>
                    <a:gd name="connsiteY73" fmla="*/ 253579 h 262804"/>
                    <a:gd name="connsiteX74" fmla="*/ 213059 w 275827"/>
                    <a:gd name="connsiteY74" fmla="*/ 254345 h 262804"/>
                    <a:gd name="connsiteX75" fmla="*/ 211559 w 275827"/>
                    <a:gd name="connsiteY75" fmla="*/ 254638 h 262804"/>
                    <a:gd name="connsiteX76" fmla="*/ 208030 w 275827"/>
                    <a:gd name="connsiteY76" fmla="*/ 255030 h 262804"/>
                    <a:gd name="connsiteX77" fmla="*/ 203099 w 275827"/>
                    <a:gd name="connsiteY77" fmla="*/ 256342 h 262804"/>
                    <a:gd name="connsiteX78" fmla="*/ 200866 w 275827"/>
                    <a:gd name="connsiteY78" fmla="*/ 257988 h 262804"/>
                    <a:gd name="connsiteX79" fmla="*/ 199644 w 275827"/>
                    <a:gd name="connsiteY79" fmla="*/ 259292 h 262804"/>
                    <a:gd name="connsiteX80" fmla="*/ 198641 w 275827"/>
                    <a:gd name="connsiteY80" fmla="*/ 261680 h 262804"/>
                    <a:gd name="connsiteX81" fmla="*/ 198144 w 275827"/>
                    <a:gd name="connsiteY81" fmla="*/ 261932 h 262804"/>
                    <a:gd name="connsiteX82" fmla="*/ 197232 w 275827"/>
                    <a:gd name="connsiteY82" fmla="*/ 261647 h 262804"/>
                    <a:gd name="connsiteX83" fmla="*/ 195968 w 275827"/>
                    <a:gd name="connsiteY83" fmla="*/ 260685 h 262804"/>
                    <a:gd name="connsiteX84" fmla="*/ 193328 w 275827"/>
                    <a:gd name="connsiteY84" fmla="*/ 259300 h 262804"/>
                    <a:gd name="connsiteX85" fmla="*/ 191999 w 275827"/>
                    <a:gd name="connsiteY85" fmla="*/ 256260 h 262804"/>
                    <a:gd name="connsiteX86" fmla="*/ 190769 w 275827"/>
                    <a:gd name="connsiteY86" fmla="*/ 254418 h 262804"/>
                    <a:gd name="connsiteX87" fmla="*/ 189766 w 275827"/>
                    <a:gd name="connsiteY87" fmla="*/ 253457 h 262804"/>
                    <a:gd name="connsiteX88" fmla="*/ 185569 w 275827"/>
                    <a:gd name="connsiteY88" fmla="*/ 256480 h 262804"/>
                    <a:gd name="connsiteX89" fmla="*/ 183540 w 275827"/>
                    <a:gd name="connsiteY89" fmla="*/ 257206 h 262804"/>
                    <a:gd name="connsiteX90" fmla="*/ 181869 w 275827"/>
                    <a:gd name="connsiteY90" fmla="*/ 257108 h 262804"/>
                    <a:gd name="connsiteX91" fmla="*/ 178830 w 275827"/>
                    <a:gd name="connsiteY91" fmla="*/ 255396 h 262804"/>
                    <a:gd name="connsiteX92" fmla="*/ 175472 w 275827"/>
                    <a:gd name="connsiteY92" fmla="*/ 253954 h 262804"/>
                    <a:gd name="connsiteX93" fmla="*/ 173736 w 275827"/>
                    <a:gd name="connsiteY93" fmla="*/ 253962 h 262804"/>
                    <a:gd name="connsiteX94" fmla="*/ 171161 w 275827"/>
                    <a:gd name="connsiteY94" fmla="*/ 255779 h 262804"/>
                    <a:gd name="connsiteX95" fmla="*/ 168219 w 275827"/>
                    <a:gd name="connsiteY95" fmla="*/ 258501 h 262804"/>
                    <a:gd name="connsiteX96" fmla="*/ 166694 w 275827"/>
                    <a:gd name="connsiteY96" fmla="*/ 261199 h 262804"/>
                    <a:gd name="connsiteX97" fmla="*/ 165969 w 275827"/>
                    <a:gd name="connsiteY97" fmla="*/ 262804 h 262804"/>
                    <a:gd name="connsiteX98" fmla="*/ 165432 w 275827"/>
                    <a:gd name="connsiteY98" fmla="*/ 261517 h 262804"/>
                    <a:gd name="connsiteX99" fmla="*/ 164926 w 275827"/>
                    <a:gd name="connsiteY99" fmla="*/ 260327 h 262804"/>
                    <a:gd name="connsiteX100" fmla="*/ 163948 w 275827"/>
                    <a:gd name="connsiteY100" fmla="*/ 258803 h 262804"/>
                    <a:gd name="connsiteX101" fmla="*/ 162522 w 275827"/>
                    <a:gd name="connsiteY101" fmla="*/ 258208 h 262804"/>
                    <a:gd name="connsiteX102" fmla="*/ 161226 w 275827"/>
                    <a:gd name="connsiteY102" fmla="*/ 258501 h 262804"/>
                    <a:gd name="connsiteX103" fmla="*/ 159718 w 275827"/>
                    <a:gd name="connsiteY103" fmla="*/ 258803 h 262804"/>
                    <a:gd name="connsiteX104" fmla="*/ 159034 w 275827"/>
                    <a:gd name="connsiteY104" fmla="*/ 257939 h 262804"/>
                    <a:gd name="connsiteX105" fmla="*/ 158895 w 275827"/>
                    <a:gd name="connsiteY105" fmla="*/ 255845 h 262804"/>
                    <a:gd name="connsiteX106" fmla="*/ 158480 w 275827"/>
                    <a:gd name="connsiteY106" fmla="*/ 253913 h 262804"/>
                    <a:gd name="connsiteX107" fmla="*/ 157771 w 275827"/>
                    <a:gd name="connsiteY107" fmla="*/ 252462 h 262804"/>
                    <a:gd name="connsiteX108" fmla="*/ 155595 w 275827"/>
                    <a:gd name="connsiteY108" fmla="*/ 251012 h 262804"/>
                    <a:gd name="connsiteX109" fmla="*/ 150004 w 275827"/>
                    <a:gd name="connsiteY109" fmla="*/ 248078 h 262804"/>
                    <a:gd name="connsiteX110" fmla="*/ 145693 w 275827"/>
                    <a:gd name="connsiteY110" fmla="*/ 242210 h 262804"/>
                    <a:gd name="connsiteX111" fmla="*/ 143525 w 275827"/>
                    <a:gd name="connsiteY111" fmla="*/ 239488 h 262804"/>
                    <a:gd name="connsiteX112" fmla="*/ 141944 w 275827"/>
                    <a:gd name="connsiteY112" fmla="*/ 237728 h 262804"/>
                    <a:gd name="connsiteX113" fmla="*/ 139711 w 275827"/>
                    <a:gd name="connsiteY113" fmla="*/ 233115 h 262804"/>
                    <a:gd name="connsiteX114" fmla="*/ 137152 w 275827"/>
                    <a:gd name="connsiteY114" fmla="*/ 229945 h 262804"/>
                    <a:gd name="connsiteX115" fmla="*/ 134055 w 275827"/>
                    <a:gd name="connsiteY115" fmla="*/ 228461 h 262804"/>
                    <a:gd name="connsiteX116" fmla="*/ 132009 w 275827"/>
                    <a:gd name="connsiteY116" fmla="*/ 229195 h 262804"/>
                    <a:gd name="connsiteX117" fmla="*/ 129907 w 275827"/>
                    <a:gd name="connsiteY117" fmla="*/ 232593 h 262804"/>
                    <a:gd name="connsiteX118" fmla="*/ 125946 w 275827"/>
                    <a:gd name="connsiteY118" fmla="*/ 235788 h 262804"/>
                    <a:gd name="connsiteX119" fmla="*/ 124120 w 275827"/>
                    <a:gd name="connsiteY119" fmla="*/ 235894 h 262804"/>
                    <a:gd name="connsiteX120" fmla="*/ 121789 w 275827"/>
                    <a:gd name="connsiteY120" fmla="*/ 234166 h 262804"/>
                    <a:gd name="connsiteX121" fmla="*/ 118856 w 275827"/>
                    <a:gd name="connsiteY121" fmla="*/ 232936 h 262804"/>
                    <a:gd name="connsiteX122" fmla="*/ 113591 w 275827"/>
                    <a:gd name="connsiteY122" fmla="*/ 232398 h 262804"/>
                    <a:gd name="connsiteX123" fmla="*/ 111423 w 275827"/>
                    <a:gd name="connsiteY123" fmla="*/ 233914 h 262804"/>
                    <a:gd name="connsiteX124" fmla="*/ 108579 w 275827"/>
                    <a:gd name="connsiteY124" fmla="*/ 236350 h 262804"/>
                    <a:gd name="connsiteX125" fmla="*/ 106166 w 275827"/>
                    <a:gd name="connsiteY125" fmla="*/ 237817 h 262804"/>
                    <a:gd name="connsiteX126" fmla="*/ 104675 w 275827"/>
                    <a:gd name="connsiteY126" fmla="*/ 237980 h 262804"/>
                    <a:gd name="connsiteX127" fmla="*/ 103281 w 275827"/>
                    <a:gd name="connsiteY127" fmla="*/ 237402 h 262804"/>
                    <a:gd name="connsiteX128" fmla="*/ 101701 w 275827"/>
                    <a:gd name="connsiteY128" fmla="*/ 237092 h 262804"/>
                    <a:gd name="connsiteX129" fmla="*/ 100323 w 275827"/>
                    <a:gd name="connsiteY129" fmla="*/ 237035 h 262804"/>
                    <a:gd name="connsiteX130" fmla="*/ 97511 w 275827"/>
                    <a:gd name="connsiteY130" fmla="*/ 234802 h 262804"/>
                    <a:gd name="connsiteX131" fmla="*/ 96053 w 275827"/>
                    <a:gd name="connsiteY131" fmla="*/ 233164 h 262804"/>
                    <a:gd name="connsiteX132" fmla="*/ 95083 w 275827"/>
                    <a:gd name="connsiteY132" fmla="*/ 231583 h 262804"/>
                    <a:gd name="connsiteX133" fmla="*/ 93494 w 275827"/>
                    <a:gd name="connsiteY133" fmla="*/ 230507 h 262804"/>
                    <a:gd name="connsiteX134" fmla="*/ 91635 w 275827"/>
                    <a:gd name="connsiteY134" fmla="*/ 229610 h 262804"/>
                    <a:gd name="connsiteX135" fmla="*/ 90307 w 275827"/>
                    <a:gd name="connsiteY135" fmla="*/ 228201 h 262804"/>
                    <a:gd name="connsiteX136" fmla="*/ 89639 w 275827"/>
                    <a:gd name="connsiteY136" fmla="*/ 226457 h 262804"/>
                    <a:gd name="connsiteX137" fmla="*/ 88596 w 275827"/>
                    <a:gd name="connsiteY137" fmla="*/ 224199 h 262804"/>
                    <a:gd name="connsiteX138" fmla="*/ 87235 w 275827"/>
                    <a:gd name="connsiteY138" fmla="*/ 222170 h 262804"/>
                    <a:gd name="connsiteX139" fmla="*/ 82948 w 275827"/>
                    <a:gd name="connsiteY139" fmla="*/ 218519 h 262804"/>
                    <a:gd name="connsiteX140" fmla="*/ 81660 w 275827"/>
                    <a:gd name="connsiteY140" fmla="*/ 216375 h 262804"/>
                    <a:gd name="connsiteX141" fmla="*/ 80764 w 275827"/>
                    <a:gd name="connsiteY141" fmla="*/ 214273 h 262804"/>
                    <a:gd name="connsiteX142" fmla="*/ 78995 w 275827"/>
                    <a:gd name="connsiteY142" fmla="*/ 211958 h 262804"/>
                    <a:gd name="connsiteX143" fmla="*/ 77129 w 275827"/>
                    <a:gd name="connsiteY143" fmla="*/ 208853 h 262804"/>
                    <a:gd name="connsiteX144" fmla="*/ 76526 w 275827"/>
                    <a:gd name="connsiteY144" fmla="*/ 204330 h 262804"/>
                    <a:gd name="connsiteX145" fmla="*/ 76445 w 275827"/>
                    <a:gd name="connsiteY145" fmla="*/ 200671 h 262804"/>
                    <a:gd name="connsiteX146" fmla="*/ 76045 w 275827"/>
                    <a:gd name="connsiteY146" fmla="*/ 198984 h 262804"/>
                    <a:gd name="connsiteX147" fmla="*/ 75255 w 275827"/>
                    <a:gd name="connsiteY147" fmla="*/ 197289 h 262804"/>
                    <a:gd name="connsiteX148" fmla="*/ 74326 w 275827"/>
                    <a:gd name="connsiteY148" fmla="*/ 195862 h 262804"/>
                    <a:gd name="connsiteX149" fmla="*/ 72834 w 275827"/>
                    <a:gd name="connsiteY149" fmla="*/ 194241 h 262804"/>
                    <a:gd name="connsiteX150" fmla="*/ 69329 w 275827"/>
                    <a:gd name="connsiteY150" fmla="*/ 191894 h 262804"/>
                    <a:gd name="connsiteX151" fmla="*/ 65711 w 275827"/>
                    <a:gd name="connsiteY151" fmla="*/ 189180 h 262804"/>
                    <a:gd name="connsiteX152" fmla="*/ 63975 w 275827"/>
                    <a:gd name="connsiteY152" fmla="*/ 187599 h 262804"/>
                    <a:gd name="connsiteX153" fmla="*/ 60675 w 275827"/>
                    <a:gd name="connsiteY153" fmla="*/ 187020 h 262804"/>
                    <a:gd name="connsiteX154" fmla="*/ 58711 w 275827"/>
                    <a:gd name="connsiteY154" fmla="*/ 185463 h 262804"/>
                    <a:gd name="connsiteX155" fmla="*/ 57048 w 275827"/>
                    <a:gd name="connsiteY155" fmla="*/ 182049 h 262804"/>
                    <a:gd name="connsiteX156" fmla="*/ 56388 w 275827"/>
                    <a:gd name="connsiteY156" fmla="*/ 179310 h 262804"/>
                    <a:gd name="connsiteX157" fmla="*/ 54717 w 275827"/>
                    <a:gd name="connsiteY157" fmla="*/ 177192 h 262804"/>
                    <a:gd name="connsiteX158" fmla="*/ 54008 w 275827"/>
                    <a:gd name="connsiteY158" fmla="*/ 175643 h 262804"/>
                    <a:gd name="connsiteX159" fmla="*/ 53609 w 275827"/>
                    <a:gd name="connsiteY159" fmla="*/ 173866 h 262804"/>
                    <a:gd name="connsiteX160" fmla="*/ 54929 w 275827"/>
                    <a:gd name="connsiteY160" fmla="*/ 168463 h 262804"/>
                    <a:gd name="connsiteX161" fmla="*/ 53014 w 275827"/>
                    <a:gd name="connsiteY161" fmla="*/ 166548 h 262804"/>
                    <a:gd name="connsiteX162" fmla="*/ 50161 w 275827"/>
                    <a:gd name="connsiteY162" fmla="*/ 164062 h 262804"/>
                    <a:gd name="connsiteX163" fmla="*/ 48107 w 275827"/>
                    <a:gd name="connsiteY163" fmla="*/ 161348 h 262804"/>
                    <a:gd name="connsiteX164" fmla="*/ 46861 w 275827"/>
                    <a:gd name="connsiteY164" fmla="*/ 158846 h 262804"/>
                    <a:gd name="connsiteX165" fmla="*/ 43201 w 275827"/>
                    <a:gd name="connsiteY165" fmla="*/ 155554 h 262804"/>
                    <a:gd name="connsiteX166" fmla="*/ 35198 w 275827"/>
                    <a:gd name="connsiteY166" fmla="*/ 150632 h 262804"/>
                    <a:gd name="connsiteX167" fmla="*/ 30602 w 275827"/>
                    <a:gd name="connsiteY167" fmla="*/ 147486 h 262804"/>
                    <a:gd name="connsiteX168" fmla="*/ 28067 w 275827"/>
                    <a:gd name="connsiteY168" fmla="*/ 144658 h 262804"/>
                    <a:gd name="connsiteX169" fmla="*/ 25875 w 275827"/>
                    <a:gd name="connsiteY169" fmla="*/ 141895 h 262804"/>
                    <a:gd name="connsiteX170" fmla="*/ 25647 w 275827"/>
                    <a:gd name="connsiteY170" fmla="*/ 140754 h 262804"/>
                    <a:gd name="connsiteX171" fmla="*/ 27065 w 275827"/>
                    <a:gd name="connsiteY171" fmla="*/ 137999 h 262804"/>
                    <a:gd name="connsiteX172" fmla="*/ 27293 w 275827"/>
                    <a:gd name="connsiteY172" fmla="*/ 135717 h 262804"/>
                    <a:gd name="connsiteX173" fmla="*/ 26128 w 275827"/>
                    <a:gd name="connsiteY173" fmla="*/ 133215 h 262804"/>
                    <a:gd name="connsiteX174" fmla="*/ 21328 w 275827"/>
                    <a:gd name="connsiteY174" fmla="*/ 128497 h 262804"/>
                    <a:gd name="connsiteX175" fmla="*/ 17514 w 275827"/>
                    <a:gd name="connsiteY175" fmla="*/ 123297 h 262804"/>
                    <a:gd name="connsiteX176" fmla="*/ 14629 w 275827"/>
                    <a:gd name="connsiteY176" fmla="*/ 121675 h 262804"/>
                    <a:gd name="connsiteX177" fmla="*/ 7661 w 275827"/>
                    <a:gd name="connsiteY177" fmla="*/ 120233 h 262804"/>
                    <a:gd name="connsiteX178" fmla="*/ 5664 w 275827"/>
                    <a:gd name="connsiteY178" fmla="*/ 119662 h 262804"/>
                    <a:gd name="connsiteX179" fmla="*/ 3577 w 275827"/>
                    <a:gd name="connsiteY179" fmla="*/ 118668 h 262804"/>
                    <a:gd name="connsiteX180" fmla="*/ 1524 w 275827"/>
                    <a:gd name="connsiteY180" fmla="*/ 116329 h 262804"/>
                    <a:gd name="connsiteX181" fmla="*/ 823 w 275827"/>
                    <a:gd name="connsiteY181" fmla="*/ 113566 h 262804"/>
                    <a:gd name="connsiteX182" fmla="*/ 1833 w 275827"/>
                    <a:gd name="connsiteY182" fmla="*/ 109133 h 262804"/>
                    <a:gd name="connsiteX183" fmla="*/ 1190 w 275827"/>
                    <a:gd name="connsiteY183" fmla="*/ 107772 h 262804"/>
                    <a:gd name="connsiteX184" fmla="*/ 0 w 275827"/>
                    <a:gd name="connsiteY184" fmla="*/ 107405 h 262804"/>
                    <a:gd name="connsiteX185" fmla="*/ 0 w 275827"/>
                    <a:gd name="connsiteY185" fmla="*/ 107405 h 262804"/>
                    <a:gd name="connsiteX186" fmla="*/ 334 w 275827"/>
                    <a:gd name="connsiteY186" fmla="*/ 106484 h 262804"/>
                    <a:gd name="connsiteX187" fmla="*/ 1646 w 275827"/>
                    <a:gd name="connsiteY187" fmla="*/ 104325 h 262804"/>
                    <a:gd name="connsiteX188" fmla="*/ 3798 w 275827"/>
                    <a:gd name="connsiteY188" fmla="*/ 102931 h 262804"/>
                    <a:gd name="connsiteX189" fmla="*/ 9543 w 275827"/>
                    <a:gd name="connsiteY189" fmla="*/ 100739 h 262804"/>
                    <a:gd name="connsiteX190" fmla="*/ 9861 w 275827"/>
                    <a:gd name="connsiteY190" fmla="*/ 99899 h 262804"/>
                    <a:gd name="connsiteX191" fmla="*/ 9992 w 275827"/>
                    <a:gd name="connsiteY191" fmla="*/ 97129 h 262804"/>
                    <a:gd name="connsiteX192" fmla="*/ 10440 w 275827"/>
                    <a:gd name="connsiteY192" fmla="*/ 95776 h 262804"/>
                    <a:gd name="connsiteX193" fmla="*/ 12420 w 275827"/>
                    <a:gd name="connsiteY193" fmla="*/ 91937 h 262804"/>
                    <a:gd name="connsiteX194" fmla="*/ 12714 w 275827"/>
                    <a:gd name="connsiteY194" fmla="*/ 90405 h 262804"/>
                    <a:gd name="connsiteX195" fmla="*/ 12787 w 275827"/>
                    <a:gd name="connsiteY195" fmla="*/ 87145 h 262804"/>
                    <a:gd name="connsiteX196" fmla="*/ 13064 w 275827"/>
                    <a:gd name="connsiteY196" fmla="*/ 85605 h 262804"/>
                    <a:gd name="connsiteX197" fmla="*/ 13634 w 275827"/>
                    <a:gd name="connsiteY197" fmla="*/ 84504 h 262804"/>
                    <a:gd name="connsiteX198" fmla="*/ 15207 w 275827"/>
                    <a:gd name="connsiteY198" fmla="*/ 82606 h 262804"/>
                    <a:gd name="connsiteX199" fmla="*/ 15761 w 275827"/>
                    <a:gd name="connsiteY199" fmla="*/ 81440 h 262804"/>
                    <a:gd name="connsiteX200" fmla="*/ 15998 w 275827"/>
                    <a:gd name="connsiteY200" fmla="*/ 78946 h 262804"/>
                    <a:gd name="connsiteX201" fmla="*/ 15818 w 275827"/>
                    <a:gd name="connsiteY201" fmla="*/ 73983 h 262804"/>
                    <a:gd name="connsiteX202" fmla="*/ 16633 w 275827"/>
                    <a:gd name="connsiteY202" fmla="*/ 72019 h 262804"/>
                    <a:gd name="connsiteX203" fmla="*/ 20260 w 275827"/>
                    <a:gd name="connsiteY203" fmla="*/ 67521 h 262804"/>
                    <a:gd name="connsiteX204" fmla="*/ 21230 w 275827"/>
                    <a:gd name="connsiteY204" fmla="*/ 65524 h 262804"/>
                    <a:gd name="connsiteX205" fmla="*/ 21564 w 275827"/>
                    <a:gd name="connsiteY205" fmla="*/ 63706 h 262804"/>
                    <a:gd name="connsiteX206" fmla="*/ 21523 w 275827"/>
                    <a:gd name="connsiteY206" fmla="*/ 61881 h 262804"/>
                    <a:gd name="connsiteX207" fmla="*/ 21743 w 275827"/>
                    <a:gd name="connsiteY207" fmla="*/ 60072 h 262804"/>
                    <a:gd name="connsiteX208" fmla="*/ 22811 w 275827"/>
                    <a:gd name="connsiteY208" fmla="*/ 58320 h 262804"/>
                    <a:gd name="connsiteX209" fmla="*/ 23740 w 275827"/>
                    <a:gd name="connsiteY209" fmla="*/ 57782 h 262804"/>
                    <a:gd name="connsiteX210" fmla="*/ 26397 w 275827"/>
                    <a:gd name="connsiteY210" fmla="*/ 57235 h 262804"/>
                    <a:gd name="connsiteX211" fmla="*/ 28223 w 275827"/>
                    <a:gd name="connsiteY211" fmla="*/ 57578 h 262804"/>
                    <a:gd name="connsiteX212" fmla="*/ 40944 w 275827"/>
                    <a:gd name="connsiteY212" fmla="*/ 54497 h 262804"/>
                    <a:gd name="connsiteX213" fmla="*/ 42435 w 275827"/>
                    <a:gd name="connsiteY213" fmla="*/ 54921 h 262804"/>
                    <a:gd name="connsiteX214" fmla="*/ 43104 w 275827"/>
                    <a:gd name="connsiteY214" fmla="*/ 56738 h 262804"/>
                    <a:gd name="connsiteX215" fmla="*/ 43047 w 275827"/>
                    <a:gd name="connsiteY215" fmla="*/ 59656 h 262804"/>
                    <a:gd name="connsiteX216" fmla="*/ 43267 w 275827"/>
                    <a:gd name="connsiteY216" fmla="*/ 61066 h 262804"/>
                    <a:gd name="connsiteX217" fmla="*/ 43952 w 275827"/>
                    <a:gd name="connsiteY217" fmla="*/ 62077 h 262804"/>
                    <a:gd name="connsiteX218" fmla="*/ 45973 w 275827"/>
                    <a:gd name="connsiteY218" fmla="*/ 63462 h 262804"/>
                    <a:gd name="connsiteX219" fmla="*/ 47374 w 275827"/>
                    <a:gd name="connsiteY219" fmla="*/ 65776 h 262804"/>
                    <a:gd name="connsiteX220" fmla="*/ 48107 w 275827"/>
                    <a:gd name="connsiteY220" fmla="*/ 66632 h 262804"/>
                    <a:gd name="connsiteX221" fmla="*/ 50161 w 275827"/>
                    <a:gd name="connsiteY221" fmla="*/ 68221 h 262804"/>
                    <a:gd name="connsiteX222" fmla="*/ 59623 w 275827"/>
                    <a:gd name="connsiteY222" fmla="*/ 81489 h 262804"/>
                    <a:gd name="connsiteX223" fmla="*/ 62296 w 275827"/>
                    <a:gd name="connsiteY223" fmla="*/ 82744 h 262804"/>
                    <a:gd name="connsiteX224" fmla="*/ 64888 w 275827"/>
                    <a:gd name="connsiteY224" fmla="*/ 82288 h 262804"/>
                    <a:gd name="connsiteX225" fmla="*/ 70030 w 275827"/>
                    <a:gd name="connsiteY225" fmla="*/ 79533 h 262804"/>
                    <a:gd name="connsiteX226" fmla="*/ 72597 w 275827"/>
                    <a:gd name="connsiteY226" fmla="*/ 78832 h 262804"/>
                    <a:gd name="connsiteX227" fmla="*/ 90592 w 275827"/>
                    <a:gd name="connsiteY227" fmla="*/ 79615 h 262804"/>
                    <a:gd name="connsiteX228" fmla="*/ 92597 w 275827"/>
                    <a:gd name="connsiteY228" fmla="*/ 79207 h 262804"/>
                    <a:gd name="connsiteX229" fmla="*/ 92728 w 275827"/>
                    <a:gd name="connsiteY229" fmla="*/ 79264 h 262804"/>
                    <a:gd name="connsiteX230" fmla="*/ 95474 w 275827"/>
                    <a:gd name="connsiteY230" fmla="*/ 85914 h 262804"/>
                    <a:gd name="connsiteX231" fmla="*/ 96778 w 275827"/>
                    <a:gd name="connsiteY231" fmla="*/ 87430 h 262804"/>
                    <a:gd name="connsiteX232" fmla="*/ 116508 w 275827"/>
                    <a:gd name="connsiteY232" fmla="*/ 87512 h 262804"/>
                    <a:gd name="connsiteX233" fmla="*/ 116134 w 275827"/>
                    <a:gd name="connsiteY233" fmla="*/ 85613 h 262804"/>
                    <a:gd name="connsiteX234" fmla="*/ 116378 w 275827"/>
                    <a:gd name="connsiteY234" fmla="*/ 83502 h 262804"/>
                    <a:gd name="connsiteX235" fmla="*/ 118684 w 275827"/>
                    <a:gd name="connsiteY235" fmla="*/ 80772 h 262804"/>
                    <a:gd name="connsiteX236" fmla="*/ 119850 w 275827"/>
                    <a:gd name="connsiteY236" fmla="*/ 79427 h 262804"/>
                    <a:gd name="connsiteX237" fmla="*/ 119850 w 275827"/>
                    <a:gd name="connsiteY237" fmla="*/ 79435 h 262804"/>
                    <a:gd name="connsiteX238" fmla="*/ 120355 w 275827"/>
                    <a:gd name="connsiteY238" fmla="*/ 78946 h 262804"/>
                    <a:gd name="connsiteX239" fmla="*/ 123403 w 275827"/>
                    <a:gd name="connsiteY239" fmla="*/ 76999 h 262804"/>
                    <a:gd name="connsiteX240" fmla="*/ 126378 w 275827"/>
                    <a:gd name="connsiteY240" fmla="*/ 75695 h 262804"/>
                    <a:gd name="connsiteX241" fmla="*/ 132099 w 275827"/>
                    <a:gd name="connsiteY241" fmla="*/ 74171 h 262804"/>
                    <a:gd name="connsiteX242" fmla="*/ 134194 w 275827"/>
                    <a:gd name="connsiteY242" fmla="*/ 71767 h 262804"/>
                    <a:gd name="connsiteX243" fmla="*/ 135334 w 275827"/>
                    <a:gd name="connsiteY243" fmla="*/ 69558 h 262804"/>
                    <a:gd name="connsiteX244" fmla="*/ 135375 w 275827"/>
                    <a:gd name="connsiteY244" fmla="*/ 65230 h 262804"/>
                    <a:gd name="connsiteX245" fmla="*/ 136141 w 275827"/>
                    <a:gd name="connsiteY245" fmla="*/ 64513 h 262804"/>
                    <a:gd name="connsiteX246" fmla="*/ 137502 w 275827"/>
                    <a:gd name="connsiteY246" fmla="*/ 63503 h 262804"/>
                    <a:gd name="connsiteX247" fmla="*/ 144128 w 275827"/>
                    <a:gd name="connsiteY247" fmla="*/ 59631 h 262804"/>
                    <a:gd name="connsiteX248" fmla="*/ 145236 w 275827"/>
                    <a:gd name="connsiteY248" fmla="*/ 58816 h 262804"/>
                    <a:gd name="connsiteX249" fmla="*/ 156939 w 275827"/>
                    <a:gd name="connsiteY249" fmla="*/ 67822 h 262804"/>
                    <a:gd name="connsiteX250" fmla="*/ 163500 w 275827"/>
                    <a:gd name="connsiteY250" fmla="*/ 74953 h 262804"/>
                    <a:gd name="connsiteX251" fmla="*/ 163899 w 275827"/>
                    <a:gd name="connsiteY251" fmla="*/ 75295 h 262804"/>
                    <a:gd name="connsiteX252" fmla="*/ 164241 w 275827"/>
                    <a:gd name="connsiteY252" fmla="*/ 75426 h 262804"/>
                    <a:gd name="connsiteX253" fmla="*/ 164584 w 275827"/>
                    <a:gd name="connsiteY253" fmla="*/ 75181 h 262804"/>
                    <a:gd name="connsiteX254" fmla="*/ 164877 w 275827"/>
                    <a:gd name="connsiteY254" fmla="*/ 74855 h 262804"/>
                    <a:gd name="connsiteX255" fmla="*/ 165350 w 275827"/>
                    <a:gd name="connsiteY255" fmla="*/ 74627 h 262804"/>
                    <a:gd name="connsiteX256" fmla="*/ 165676 w 275827"/>
                    <a:gd name="connsiteY256" fmla="*/ 74537 h 262804"/>
                    <a:gd name="connsiteX257" fmla="*/ 168488 w 275827"/>
                    <a:gd name="connsiteY257" fmla="*/ 74448 h 262804"/>
                    <a:gd name="connsiteX258" fmla="*/ 173801 w 275827"/>
                    <a:gd name="connsiteY258" fmla="*/ 74097 h 262804"/>
                    <a:gd name="connsiteX259" fmla="*/ 175545 w 275827"/>
                    <a:gd name="connsiteY259" fmla="*/ 73242 h 262804"/>
                    <a:gd name="connsiteX260" fmla="*/ 186205 w 275827"/>
                    <a:gd name="connsiteY260" fmla="*/ 60520 h 262804"/>
                    <a:gd name="connsiteX261" fmla="*/ 188927 w 275827"/>
                    <a:gd name="connsiteY261" fmla="*/ 56453 h 262804"/>
                    <a:gd name="connsiteX262" fmla="*/ 189612 w 275827"/>
                    <a:gd name="connsiteY262" fmla="*/ 55622 h 262804"/>
                    <a:gd name="connsiteX263" fmla="*/ 191152 w 275827"/>
                    <a:gd name="connsiteY263" fmla="*/ 52729 h 262804"/>
                    <a:gd name="connsiteX264" fmla="*/ 192782 w 275827"/>
                    <a:gd name="connsiteY264" fmla="*/ 47749 h 262804"/>
                    <a:gd name="connsiteX265" fmla="*/ 193100 w 275827"/>
                    <a:gd name="connsiteY265" fmla="*/ 47195 h 262804"/>
                    <a:gd name="connsiteX266" fmla="*/ 204794 w 275827"/>
                    <a:gd name="connsiteY266" fmla="*/ 35256 h 262804"/>
                    <a:gd name="connsiteX267" fmla="*/ 205202 w 275827"/>
                    <a:gd name="connsiteY267" fmla="*/ 34302 h 262804"/>
                    <a:gd name="connsiteX268" fmla="*/ 205324 w 275827"/>
                    <a:gd name="connsiteY268" fmla="*/ 33552 h 262804"/>
                    <a:gd name="connsiteX269" fmla="*/ 203556 w 275827"/>
                    <a:gd name="connsiteY269" fmla="*/ 29535 h 262804"/>
                    <a:gd name="connsiteX270" fmla="*/ 203181 w 275827"/>
                    <a:gd name="connsiteY270" fmla="*/ 27489 h 262804"/>
                    <a:gd name="connsiteX271" fmla="*/ 203099 w 275827"/>
                    <a:gd name="connsiteY271" fmla="*/ 24335 h 262804"/>
                    <a:gd name="connsiteX272" fmla="*/ 203450 w 275827"/>
                    <a:gd name="connsiteY272" fmla="*/ 19445 h 262804"/>
                    <a:gd name="connsiteX273" fmla="*/ 203327 w 275827"/>
                    <a:gd name="connsiteY273" fmla="*/ 16348 h 262804"/>
                    <a:gd name="connsiteX274" fmla="*/ 203270 w 275827"/>
                    <a:gd name="connsiteY274" fmla="*/ 16006 h 262804"/>
                    <a:gd name="connsiteX275" fmla="*/ 203173 w 275827"/>
                    <a:gd name="connsiteY275" fmla="*/ 15525 h 262804"/>
                    <a:gd name="connsiteX276" fmla="*/ 203083 w 275827"/>
                    <a:gd name="connsiteY276" fmla="*/ 15346 h 262804"/>
                    <a:gd name="connsiteX277" fmla="*/ 196563 w 275827"/>
                    <a:gd name="connsiteY277" fmla="*/ 6552 h 262804"/>
                    <a:gd name="connsiteX278" fmla="*/ 213042 w 275827"/>
                    <a:gd name="connsiteY278" fmla="*/ 6455 h 262804"/>
                    <a:gd name="connsiteX279" fmla="*/ 213083 w 275827"/>
                    <a:gd name="connsiteY279" fmla="*/ 5729 h 262804"/>
                    <a:gd name="connsiteX280" fmla="*/ 213074 w 275827"/>
                    <a:gd name="connsiteY280" fmla="*/ 5346 h 262804"/>
                    <a:gd name="connsiteX281" fmla="*/ 213018 w 275827"/>
                    <a:gd name="connsiteY281" fmla="*/ 4996 h 262804"/>
                    <a:gd name="connsiteX282" fmla="*/ 212708 w 275827"/>
                    <a:gd name="connsiteY282" fmla="*/ 3944 h 262804"/>
                    <a:gd name="connsiteX283" fmla="*/ 212529 w 275827"/>
                    <a:gd name="connsiteY283" fmla="*/ 2535 h 262804"/>
                    <a:gd name="connsiteX284" fmla="*/ 212512 w 275827"/>
                    <a:gd name="connsiteY284" fmla="*/ 2152 h 262804"/>
                    <a:gd name="connsiteX285" fmla="*/ 212537 w 275827"/>
                    <a:gd name="connsiteY285" fmla="*/ 1760 h 262804"/>
                    <a:gd name="connsiteX286" fmla="*/ 212626 w 275827"/>
                    <a:gd name="connsiteY286" fmla="*/ 1035 h 262804"/>
                    <a:gd name="connsiteX287" fmla="*/ 212635 w 275827"/>
                    <a:gd name="connsiteY287" fmla="*/ 644 h 262804"/>
                    <a:gd name="connsiteX288" fmla="*/ 212618 w 275827"/>
                    <a:gd name="connsiteY288" fmla="*/ 456 h 262804"/>
                    <a:gd name="connsiteX289" fmla="*/ 212594 w 275827"/>
                    <a:gd name="connsiteY289" fmla="*/ 277 h 262804"/>
                    <a:gd name="connsiteX290" fmla="*/ 212602 w 275827"/>
                    <a:gd name="connsiteY290" fmla="*/ 130 h 262804"/>
                    <a:gd name="connsiteX291" fmla="*/ 212675 w 275827"/>
                    <a:gd name="connsiteY291" fmla="*/ 0 h 262804"/>
                    <a:gd name="connsiteX292" fmla="*/ 224517 w 275827"/>
                    <a:gd name="connsiteY292" fmla="*/ 171 h 262804"/>
                    <a:gd name="connsiteX293" fmla="*/ 224354 w 275827"/>
                    <a:gd name="connsiteY293" fmla="*/ 2665 h 262804"/>
                    <a:gd name="connsiteX294" fmla="*/ 222928 w 275827"/>
                    <a:gd name="connsiteY294" fmla="*/ 8516 h 262804"/>
                    <a:gd name="connsiteX295" fmla="*/ 222944 w 275827"/>
                    <a:gd name="connsiteY295" fmla="*/ 12037 h 262804"/>
                    <a:gd name="connsiteX296" fmla="*/ 222602 w 275827"/>
                    <a:gd name="connsiteY296" fmla="*/ 16039 h 262804"/>
                    <a:gd name="connsiteX297" fmla="*/ 222528 w 275827"/>
                    <a:gd name="connsiteY297" fmla="*/ 16356 h 262804"/>
                    <a:gd name="connsiteX298" fmla="*/ 222211 w 275827"/>
                    <a:gd name="connsiteY298" fmla="*/ 17220 h 262804"/>
                    <a:gd name="connsiteX299" fmla="*/ 221917 w 275827"/>
                    <a:gd name="connsiteY299" fmla="*/ 17726 h 262804"/>
                    <a:gd name="connsiteX300" fmla="*/ 221591 w 275827"/>
                    <a:gd name="connsiteY300" fmla="*/ 18198 h 262804"/>
                    <a:gd name="connsiteX301" fmla="*/ 221510 w 275827"/>
                    <a:gd name="connsiteY301" fmla="*/ 18378 h 262804"/>
                    <a:gd name="connsiteX302" fmla="*/ 221387 w 275827"/>
                    <a:gd name="connsiteY302" fmla="*/ 18671 h 262804"/>
                    <a:gd name="connsiteX303" fmla="*/ 221379 w 275827"/>
                    <a:gd name="connsiteY303" fmla="*/ 19111 h 262804"/>
                    <a:gd name="connsiteX304" fmla="*/ 223849 w 275827"/>
                    <a:gd name="connsiteY304" fmla="*/ 41523 h 262804"/>
                    <a:gd name="connsiteX305" fmla="*/ 223751 w 275827"/>
                    <a:gd name="connsiteY305" fmla="*/ 42093 h 262804"/>
                    <a:gd name="connsiteX306" fmla="*/ 223653 w 275827"/>
                    <a:gd name="connsiteY306" fmla="*/ 42460 h 262804"/>
                    <a:gd name="connsiteX307" fmla="*/ 223001 w 275827"/>
                    <a:gd name="connsiteY307" fmla="*/ 43854 h 262804"/>
                    <a:gd name="connsiteX308" fmla="*/ 222838 w 275827"/>
                    <a:gd name="connsiteY308" fmla="*/ 44318 h 262804"/>
                    <a:gd name="connsiteX309" fmla="*/ 222805 w 275827"/>
                    <a:gd name="connsiteY309" fmla="*/ 44669 h 262804"/>
                    <a:gd name="connsiteX310" fmla="*/ 223058 w 275827"/>
                    <a:gd name="connsiteY310" fmla="*/ 44921 h 262804"/>
                    <a:gd name="connsiteX311" fmla="*/ 228518 w 275827"/>
                    <a:gd name="connsiteY311" fmla="*/ 47334 h 262804"/>
                    <a:gd name="connsiteX312" fmla="*/ 228779 w 275827"/>
                    <a:gd name="connsiteY312" fmla="*/ 47488 h 262804"/>
                    <a:gd name="connsiteX313" fmla="*/ 228991 w 275827"/>
                    <a:gd name="connsiteY313" fmla="*/ 47684 h 262804"/>
                    <a:gd name="connsiteX314" fmla="*/ 230963 w 275827"/>
                    <a:gd name="connsiteY314" fmla="*/ 50561 h 262804"/>
                    <a:gd name="connsiteX315" fmla="*/ 241704 w 275827"/>
                    <a:gd name="connsiteY315" fmla="*/ 61188 h 262804"/>
                    <a:gd name="connsiteX316" fmla="*/ 242063 w 275827"/>
                    <a:gd name="connsiteY316" fmla="*/ 61710 h 262804"/>
                    <a:gd name="connsiteX317" fmla="*/ 243188 w 275827"/>
                    <a:gd name="connsiteY317" fmla="*/ 65043 h 262804"/>
                    <a:gd name="connsiteX318" fmla="*/ 243310 w 275827"/>
                    <a:gd name="connsiteY318" fmla="*/ 65548 h 262804"/>
                    <a:gd name="connsiteX319" fmla="*/ 243343 w 275827"/>
                    <a:gd name="connsiteY319" fmla="*/ 66347 h 262804"/>
                    <a:gd name="connsiteX320" fmla="*/ 243310 w 275827"/>
                    <a:gd name="connsiteY320" fmla="*/ 66974 h 262804"/>
                    <a:gd name="connsiteX321" fmla="*/ 243041 w 275827"/>
                    <a:gd name="connsiteY321" fmla="*/ 68971 h 262804"/>
                    <a:gd name="connsiteX322" fmla="*/ 243131 w 275827"/>
                    <a:gd name="connsiteY322" fmla="*/ 69868 h 262804"/>
                    <a:gd name="connsiteX323" fmla="*/ 243310 w 275827"/>
                    <a:gd name="connsiteY323" fmla="*/ 70454 h 262804"/>
                    <a:gd name="connsiteX324" fmla="*/ 243465 w 275827"/>
                    <a:gd name="connsiteY324" fmla="*/ 71147 h 262804"/>
                    <a:gd name="connsiteX325" fmla="*/ 243465 w 275827"/>
                    <a:gd name="connsiteY325" fmla="*/ 71359 h 262804"/>
                    <a:gd name="connsiteX326" fmla="*/ 243440 w 275827"/>
                    <a:gd name="connsiteY326" fmla="*/ 71538 h 262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Lst>
                  <a:rect l="l" t="t" r="r" b="b"/>
                  <a:pathLst>
                    <a:path w="275827" h="262804">
                      <a:moveTo>
                        <a:pt x="243367" y="71856"/>
                      </a:moveTo>
                      <a:lnTo>
                        <a:pt x="241762" y="75703"/>
                      </a:lnTo>
                      <a:lnTo>
                        <a:pt x="241256" y="78441"/>
                      </a:lnTo>
                      <a:lnTo>
                        <a:pt x="241085" y="80747"/>
                      </a:lnTo>
                      <a:lnTo>
                        <a:pt x="241191" y="82084"/>
                      </a:lnTo>
                      <a:lnTo>
                        <a:pt x="241371" y="82940"/>
                      </a:lnTo>
                      <a:lnTo>
                        <a:pt x="241452" y="83135"/>
                      </a:lnTo>
                      <a:lnTo>
                        <a:pt x="241517" y="83282"/>
                      </a:lnTo>
                      <a:lnTo>
                        <a:pt x="241591" y="83364"/>
                      </a:lnTo>
                      <a:lnTo>
                        <a:pt x="241672" y="83404"/>
                      </a:lnTo>
                      <a:lnTo>
                        <a:pt x="246277" y="83429"/>
                      </a:lnTo>
                      <a:lnTo>
                        <a:pt x="246318" y="83429"/>
                      </a:lnTo>
                      <a:lnTo>
                        <a:pt x="246318" y="83429"/>
                      </a:lnTo>
                      <a:lnTo>
                        <a:pt x="246293" y="84651"/>
                      </a:lnTo>
                      <a:lnTo>
                        <a:pt x="246472" y="90755"/>
                      </a:lnTo>
                      <a:lnTo>
                        <a:pt x="246635" y="96093"/>
                      </a:lnTo>
                      <a:lnTo>
                        <a:pt x="246888" y="104805"/>
                      </a:lnTo>
                      <a:lnTo>
                        <a:pt x="246896" y="107087"/>
                      </a:lnTo>
                      <a:lnTo>
                        <a:pt x="246717" y="109915"/>
                      </a:lnTo>
                      <a:lnTo>
                        <a:pt x="246179" y="111032"/>
                      </a:lnTo>
                      <a:lnTo>
                        <a:pt x="244859" y="112629"/>
                      </a:lnTo>
                      <a:lnTo>
                        <a:pt x="243221" y="114088"/>
                      </a:lnTo>
                      <a:lnTo>
                        <a:pt x="239048" y="114463"/>
                      </a:lnTo>
                      <a:lnTo>
                        <a:pt x="235560" y="114422"/>
                      </a:lnTo>
                      <a:lnTo>
                        <a:pt x="233107" y="114096"/>
                      </a:lnTo>
                      <a:lnTo>
                        <a:pt x="229725" y="113966"/>
                      </a:lnTo>
                      <a:lnTo>
                        <a:pt x="226546" y="114276"/>
                      </a:lnTo>
                      <a:lnTo>
                        <a:pt x="225373" y="115514"/>
                      </a:lnTo>
                      <a:lnTo>
                        <a:pt x="223669" y="119882"/>
                      </a:lnTo>
                      <a:lnTo>
                        <a:pt x="221200" y="126223"/>
                      </a:lnTo>
                      <a:lnTo>
                        <a:pt x="219880" y="128896"/>
                      </a:lnTo>
                      <a:lnTo>
                        <a:pt x="219545" y="130461"/>
                      </a:lnTo>
                      <a:lnTo>
                        <a:pt x="219928" y="131390"/>
                      </a:lnTo>
                      <a:lnTo>
                        <a:pt x="221575" y="132743"/>
                      </a:lnTo>
                      <a:lnTo>
                        <a:pt x="225177" y="134633"/>
                      </a:lnTo>
                      <a:lnTo>
                        <a:pt x="229309" y="135750"/>
                      </a:lnTo>
                      <a:lnTo>
                        <a:pt x="232373" y="136231"/>
                      </a:lnTo>
                      <a:lnTo>
                        <a:pt x="234476" y="136753"/>
                      </a:lnTo>
                      <a:lnTo>
                        <a:pt x="236090" y="137339"/>
                      </a:lnTo>
                      <a:lnTo>
                        <a:pt x="241949" y="142188"/>
                      </a:lnTo>
                      <a:lnTo>
                        <a:pt x="243832" y="144446"/>
                      </a:lnTo>
                      <a:lnTo>
                        <a:pt x="244883" y="146442"/>
                      </a:lnTo>
                      <a:lnTo>
                        <a:pt x="245128" y="148578"/>
                      </a:lnTo>
                      <a:lnTo>
                        <a:pt x="245975" y="150721"/>
                      </a:lnTo>
                      <a:lnTo>
                        <a:pt x="249349" y="154967"/>
                      </a:lnTo>
                      <a:lnTo>
                        <a:pt x="251305" y="157420"/>
                      </a:lnTo>
                      <a:lnTo>
                        <a:pt x="256390" y="160558"/>
                      </a:lnTo>
                      <a:lnTo>
                        <a:pt x="258338" y="164119"/>
                      </a:lnTo>
                      <a:lnTo>
                        <a:pt x="260229" y="165855"/>
                      </a:lnTo>
                      <a:lnTo>
                        <a:pt x="261998" y="167713"/>
                      </a:lnTo>
                      <a:lnTo>
                        <a:pt x="262959" y="170492"/>
                      </a:lnTo>
                      <a:lnTo>
                        <a:pt x="265160" y="178528"/>
                      </a:lnTo>
                      <a:lnTo>
                        <a:pt x="266643" y="182741"/>
                      </a:lnTo>
                      <a:lnTo>
                        <a:pt x="268159" y="186189"/>
                      </a:lnTo>
                      <a:lnTo>
                        <a:pt x="268770" y="191796"/>
                      </a:lnTo>
                      <a:lnTo>
                        <a:pt x="269976" y="194298"/>
                      </a:lnTo>
                      <a:lnTo>
                        <a:pt x="271206" y="197354"/>
                      </a:lnTo>
                      <a:lnTo>
                        <a:pt x="273252" y="200117"/>
                      </a:lnTo>
                      <a:lnTo>
                        <a:pt x="275444" y="202211"/>
                      </a:lnTo>
                      <a:lnTo>
                        <a:pt x="275827" y="202782"/>
                      </a:lnTo>
                      <a:lnTo>
                        <a:pt x="271272" y="208193"/>
                      </a:lnTo>
                      <a:lnTo>
                        <a:pt x="266162" y="214264"/>
                      </a:lnTo>
                      <a:lnTo>
                        <a:pt x="260253" y="221282"/>
                      </a:lnTo>
                      <a:lnTo>
                        <a:pt x="253807" y="228926"/>
                      </a:lnTo>
                      <a:lnTo>
                        <a:pt x="248754" y="234973"/>
                      </a:lnTo>
                      <a:lnTo>
                        <a:pt x="243783" y="240939"/>
                      </a:lnTo>
                      <a:lnTo>
                        <a:pt x="237964" y="247972"/>
                      </a:lnTo>
                      <a:lnTo>
                        <a:pt x="233669" y="253179"/>
                      </a:lnTo>
                      <a:lnTo>
                        <a:pt x="232952" y="253913"/>
                      </a:lnTo>
                      <a:lnTo>
                        <a:pt x="231713" y="254875"/>
                      </a:lnTo>
                      <a:lnTo>
                        <a:pt x="227622" y="254899"/>
                      </a:lnTo>
                      <a:lnTo>
                        <a:pt x="223392" y="254288"/>
                      </a:lnTo>
                      <a:lnTo>
                        <a:pt x="219513" y="251126"/>
                      </a:lnTo>
                      <a:lnTo>
                        <a:pt x="215561" y="253579"/>
                      </a:lnTo>
                      <a:lnTo>
                        <a:pt x="213059" y="254345"/>
                      </a:lnTo>
                      <a:lnTo>
                        <a:pt x="211559" y="254638"/>
                      </a:lnTo>
                      <a:lnTo>
                        <a:pt x="208030" y="255030"/>
                      </a:lnTo>
                      <a:lnTo>
                        <a:pt x="203099" y="256342"/>
                      </a:lnTo>
                      <a:lnTo>
                        <a:pt x="200866" y="257988"/>
                      </a:lnTo>
                      <a:lnTo>
                        <a:pt x="199644" y="259292"/>
                      </a:lnTo>
                      <a:lnTo>
                        <a:pt x="198641" y="261680"/>
                      </a:lnTo>
                      <a:lnTo>
                        <a:pt x="198144" y="261932"/>
                      </a:lnTo>
                      <a:lnTo>
                        <a:pt x="197232" y="261647"/>
                      </a:lnTo>
                      <a:lnTo>
                        <a:pt x="195968" y="260685"/>
                      </a:lnTo>
                      <a:lnTo>
                        <a:pt x="193328" y="259300"/>
                      </a:lnTo>
                      <a:lnTo>
                        <a:pt x="191999" y="256260"/>
                      </a:lnTo>
                      <a:lnTo>
                        <a:pt x="190769" y="254418"/>
                      </a:lnTo>
                      <a:lnTo>
                        <a:pt x="189766" y="253457"/>
                      </a:lnTo>
                      <a:lnTo>
                        <a:pt x="185569" y="256480"/>
                      </a:lnTo>
                      <a:lnTo>
                        <a:pt x="183540" y="257206"/>
                      </a:lnTo>
                      <a:lnTo>
                        <a:pt x="181869" y="257108"/>
                      </a:lnTo>
                      <a:lnTo>
                        <a:pt x="178830" y="255396"/>
                      </a:lnTo>
                      <a:lnTo>
                        <a:pt x="175472" y="253954"/>
                      </a:lnTo>
                      <a:lnTo>
                        <a:pt x="173736" y="253962"/>
                      </a:lnTo>
                      <a:lnTo>
                        <a:pt x="171161" y="255779"/>
                      </a:lnTo>
                      <a:lnTo>
                        <a:pt x="168219" y="258501"/>
                      </a:lnTo>
                      <a:lnTo>
                        <a:pt x="166694" y="261199"/>
                      </a:lnTo>
                      <a:lnTo>
                        <a:pt x="165969" y="262804"/>
                      </a:lnTo>
                      <a:lnTo>
                        <a:pt x="165432" y="261517"/>
                      </a:lnTo>
                      <a:lnTo>
                        <a:pt x="164926" y="260327"/>
                      </a:lnTo>
                      <a:lnTo>
                        <a:pt x="163948" y="258803"/>
                      </a:lnTo>
                      <a:lnTo>
                        <a:pt x="162522" y="258208"/>
                      </a:lnTo>
                      <a:lnTo>
                        <a:pt x="161226" y="258501"/>
                      </a:lnTo>
                      <a:lnTo>
                        <a:pt x="159718" y="258803"/>
                      </a:lnTo>
                      <a:lnTo>
                        <a:pt x="159034" y="257939"/>
                      </a:lnTo>
                      <a:lnTo>
                        <a:pt x="158895" y="255845"/>
                      </a:lnTo>
                      <a:lnTo>
                        <a:pt x="158480" y="253913"/>
                      </a:lnTo>
                      <a:lnTo>
                        <a:pt x="157771" y="252462"/>
                      </a:lnTo>
                      <a:lnTo>
                        <a:pt x="155595" y="251012"/>
                      </a:lnTo>
                      <a:lnTo>
                        <a:pt x="150004" y="248078"/>
                      </a:lnTo>
                      <a:lnTo>
                        <a:pt x="145693" y="242210"/>
                      </a:lnTo>
                      <a:lnTo>
                        <a:pt x="143525" y="239488"/>
                      </a:lnTo>
                      <a:lnTo>
                        <a:pt x="141944" y="237728"/>
                      </a:lnTo>
                      <a:lnTo>
                        <a:pt x="139711" y="233115"/>
                      </a:lnTo>
                      <a:lnTo>
                        <a:pt x="137152" y="229945"/>
                      </a:lnTo>
                      <a:lnTo>
                        <a:pt x="134055" y="228461"/>
                      </a:lnTo>
                      <a:lnTo>
                        <a:pt x="132009" y="229195"/>
                      </a:lnTo>
                      <a:lnTo>
                        <a:pt x="129907" y="232593"/>
                      </a:lnTo>
                      <a:lnTo>
                        <a:pt x="125946" y="235788"/>
                      </a:lnTo>
                      <a:lnTo>
                        <a:pt x="124120" y="235894"/>
                      </a:lnTo>
                      <a:lnTo>
                        <a:pt x="121789" y="234166"/>
                      </a:lnTo>
                      <a:lnTo>
                        <a:pt x="118856" y="232936"/>
                      </a:lnTo>
                      <a:lnTo>
                        <a:pt x="113591" y="232398"/>
                      </a:lnTo>
                      <a:lnTo>
                        <a:pt x="111423" y="233914"/>
                      </a:lnTo>
                      <a:lnTo>
                        <a:pt x="108579" y="236350"/>
                      </a:lnTo>
                      <a:lnTo>
                        <a:pt x="106166" y="237817"/>
                      </a:lnTo>
                      <a:lnTo>
                        <a:pt x="104675" y="237980"/>
                      </a:lnTo>
                      <a:lnTo>
                        <a:pt x="103281" y="237402"/>
                      </a:lnTo>
                      <a:lnTo>
                        <a:pt x="101701" y="237092"/>
                      </a:lnTo>
                      <a:lnTo>
                        <a:pt x="100323" y="237035"/>
                      </a:lnTo>
                      <a:lnTo>
                        <a:pt x="97511" y="234802"/>
                      </a:lnTo>
                      <a:lnTo>
                        <a:pt x="96053" y="233164"/>
                      </a:lnTo>
                      <a:lnTo>
                        <a:pt x="95083" y="231583"/>
                      </a:lnTo>
                      <a:lnTo>
                        <a:pt x="93494" y="230507"/>
                      </a:lnTo>
                      <a:lnTo>
                        <a:pt x="91635" y="229610"/>
                      </a:lnTo>
                      <a:lnTo>
                        <a:pt x="90307" y="228201"/>
                      </a:lnTo>
                      <a:lnTo>
                        <a:pt x="89639" y="226457"/>
                      </a:lnTo>
                      <a:lnTo>
                        <a:pt x="88596" y="224199"/>
                      </a:lnTo>
                      <a:lnTo>
                        <a:pt x="87235" y="222170"/>
                      </a:lnTo>
                      <a:lnTo>
                        <a:pt x="82948" y="218519"/>
                      </a:lnTo>
                      <a:lnTo>
                        <a:pt x="81660" y="216375"/>
                      </a:lnTo>
                      <a:lnTo>
                        <a:pt x="80764" y="214273"/>
                      </a:lnTo>
                      <a:lnTo>
                        <a:pt x="78995" y="211958"/>
                      </a:lnTo>
                      <a:lnTo>
                        <a:pt x="77129" y="208853"/>
                      </a:lnTo>
                      <a:lnTo>
                        <a:pt x="76526" y="204330"/>
                      </a:lnTo>
                      <a:lnTo>
                        <a:pt x="76445" y="200671"/>
                      </a:lnTo>
                      <a:lnTo>
                        <a:pt x="76045" y="198984"/>
                      </a:lnTo>
                      <a:lnTo>
                        <a:pt x="75255" y="197289"/>
                      </a:lnTo>
                      <a:lnTo>
                        <a:pt x="74326" y="195862"/>
                      </a:lnTo>
                      <a:lnTo>
                        <a:pt x="72834" y="194241"/>
                      </a:lnTo>
                      <a:lnTo>
                        <a:pt x="69329" y="191894"/>
                      </a:lnTo>
                      <a:lnTo>
                        <a:pt x="65711" y="189180"/>
                      </a:lnTo>
                      <a:lnTo>
                        <a:pt x="63975" y="187599"/>
                      </a:lnTo>
                      <a:lnTo>
                        <a:pt x="60675" y="187020"/>
                      </a:lnTo>
                      <a:lnTo>
                        <a:pt x="58711" y="185463"/>
                      </a:lnTo>
                      <a:lnTo>
                        <a:pt x="57048" y="182049"/>
                      </a:lnTo>
                      <a:lnTo>
                        <a:pt x="56388" y="179310"/>
                      </a:lnTo>
                      <a:lnTo>
                        <a:pt x="54717" y="177192"/>
                      </a:lnTo>
                      <a:lnTo>
                        <a:pt x="54008" y="175643"/>
                      </a:lnTo>
                      <a:lnTo>
                        <a:pt x="53609" y="173866"/>
                      </a:lnTo>
                      <a:lnTo>
                        <a:pt x="54929" y="168463"/>
                      </a:lnTo>
                      <a:lnTo>
                        <a:pt x="53014" y="166548"/>
                      </a:lnTo>
                      <a:lnTo>
                        <a:pt x="50161" y="164062"/>
                      </a:lnTo>
                      <a:lnTo>
                        <a:pt x="48107" y="161348"/>
                      </a:lnTo>
                      <a:lnTo>
                        <a:pt x="46861" y="158846"/>
                      </a:lnTo>
                      <a:lnTo>
                        <a:pt x="43201" y="155554"/>
                      </a:lnTo>
                      <a:lnTo>
                        <a:pt x="35198" y="150632"/>
                      </a:lnTo>
                      <a:lnTo>
                        <a:pt x="30602" y="147486"/>
                      </a:lnTo>
                      <a:lnTo>
                        <a:pt x="28067" y="144658"/>
                      </a:lnTo>
                      <a:lnTo>
                        <a:pt x="25875" y="141895"/>
                      </a:lnTo>
                      <a:lnTo>
                        <a:pt x="25647" y="140754"/>
                      </a:lnTo>
                      <a:lnTo>
                        <a:pt x="27065" y="137999"/>
                      </a:lnTo>
                      <a:lnTo>
                        <a:pt x="27293" y="135717"/>
                      </a:lnTo>
                      <a:lnTo>
                        <a:pt x="26128" y="133215"/>
                      </a:lnTo>
                      <a:lnTo>
                        <a:pt x="21328" y="128497"/>
                      </a:lnTo>
                      <a:lnTo>
                        <a:pt x="17514" y="123297"/>
                      </a:lnTo>
                      <a:lnTo>
                        <a:pt x="14629" y="121675"/>
                      </a:lnTo>
                      <a:lnTo>
                        <a:pt x="7661" y="120233"/>
                      </a:lnTo>
                      <a:lnTo>
                        <a:pt x="5664" y="119662"/>
                      </a:lnTo>
                      <a:lnTo>
                        <a:pt x="3577" y="118668"/>
                      </a:lnTo>
                      <a:lnTo>
                        <a:pt x="1524" y="116329"/>
                      </a:lnTo>
                      <a:lnTo>
                        <a:pt x="823" y="113566"/>
                      </a:lnTo>
                      <a:lnTo>
                        <a:pt x="1833" y="109133"/>
                      </a:lnTo>
                      <a:lnTo>
                        <a:pt x="1190" y="107772"/>
                      </a:lnTo>
                      <a:lnTo>
                        <a:pt x="0" y="107405"/>
                      </a:lnTo>
                      <a:lnTo>
                        <a:pt x="0" y="107405"/>
                      </a:lnTo>
                      <a:lnTo>
                        <a:pt x="334" y="106484"/>
                      </a:lnTo>
                      <a:lnTo>
                        <a:pt x="1646" y="104325"/>
                      </a:lnTo>
                      <a:lnTo>
                        <a:pt x="3798" y="102931"/>
                      </a:lnTo>
                      <a:lnTo>
                        <a:pt x="9543" y="100739"/>
                      </a:lnTo>
                      <a:lnTo>
                        <a:pt x="9861" y="99899"/>
                      </a:lnTo>
                      <a:lnTo>
                        <a:pt x="9992" y="97129"/>
                      </a:lnTo>
                      <a:lnTo>
                        <a:pt x="10440" y="95776"/>
                      </a:lnTo>
                      <a:lnTo>
                        <a:pt x="12420" y="91937"/>
                      </a:lnTo>
                      <a:lnTo>
                        <a:pt x="12714" y="90405"/>
                      </a:lnTo>
                      <a:lnTo>
                        <a:pt x="12787" y="87145"/>
                      </a:lnTo>
                      <a:lnTo>
                        <a:pt x="13064" y="85605"/>
                      </a:lnTo>
                      <a:lnTo>
                        <a:pt x="13634" y="84504"/>
                      </a:lnTo>
                      <a:lnTo>
                        <a:pt x="15207" y="82606"/>
                      </a:lnTo>
                      <a:lnTo>
                        <a:pt x="15761" y="81440"/>
                      </a:lnTo>
                      <a:lnTo>
                        <a:pt x="15998" y="78946"/>
                      </a:lnTo>
                      <a:lnTo>
                        <a:pt x="15818" y="73983"/>
                      </a:lnTo>
                      <a:lnTo>
                        <a:pt x="16633" y="72019"/>
                      </a:lnTo>
                      <a:lnTo>
                        <a:pt x="20260" y="67521"/>
                      </a:lnTo>
                      <a:lnTo>
                        <a:pt x="21230" y="65524"/>
                      </a:lnTo>
                      <a:lnTo>
                        <a:pt x="21564" y="63706"/>
                      </a:lnTo>
                      <a:lnTo>
                        <a:pt x="21523" y="61881"/>
                      </a:lnTo>
                      <a:lnTo>
                        <a:pt x="21743" y="60072"/>
                      </a:lnTo>
                      <a:lnTo>
                        <a:pt x="22811" y="58320"/>
                      </a:lnTo>
                      <a:lnTo>
                        <a:pt x="23740" y="57782"/>
                      </a:lnTo>
                      <a:lnTo>
                        <a:pt x="26397" y="57235"/>
                      </a:lnTo>
                      <a:lnTo>
                        <a:pt x="28223" y="57578"/>
                      </a:lnTo>
                      <a:lnTo>
                        <a:pt x="40944" y="54497"/>
                      </a:lnTo>
                      <a:lnTo>
                        <a:pt x="42435" y="54921"/>
                      </a:lnTo>
                      <a:lnTo>
                        <a:pt x="43104" y="56738"/>
                      </a:lnTo>
                      <a:lnTo>
                        <a:pt x="43047" y="59656"/>
                      </a:lnTo>
                      <a:lnTo>
                        <a:pt x="43267" y="61066"/>
                      </a:lnTo>
                      <a:lnTo>
                        <a:pt x="43952" y="62077"/>
                      </a:lnTo>
                      <a:lnTo>
                        <a:pt x="45973" y="63462"/>
                      </a:lnTo>
                      <a:lnTo>
                        <a:pt x="47374" y="65776"/>
                      </a:lnTo>
                      <a:lnTo>
                        <a:pt x="48107" y="66632"/>
                      </a:lnTo>
                      <a:lnTo>
                        <a:pt x="50161" y="68221"/>
                      </a:lnTo>
                      <a:lnTo>
                        <a:pt x="59623" y="81489"/>
                      </a:lnTo>
                      <a:lnTo>
                        <a:pt x="62296" y="82744"/>
                      </a:lnTo>
                      <a:lnTo>
                        <a:pt x="64888" y="82288"/>
                      </a:lnTo>
                      <a:lnTo>
                        <a:pt x="70030" y="79533"/>
                      </a:lnTo>
                      <a:lnTo>
                        <a:pt x="72597" y="78832"/>
                      </a:lnTo>
                      <a:lnTo>
                        <a:pt x="90592" y="79615"/>
                      </a:lnTo>
                      <a:lnTo>
                        <a:pt x="92597" y="79207"/>
                      </a:lnTo>
                      <a:lnTo>
                        <a:pt x="92728" y="79264"/>
                      </a:lnTo>
                      <a:lnTo>
                        <a:pt x="95474" y="85914"/>
                      </a:lnTo>
                      <a:lnTo>
                        <a:pt x="96778" y="87430"/>
                      </a:lnTo>
                      <a:lnTo>
                        <a:pt x="116508" y="87512"/>
                      </a:lnTo>
                      <a:lnTo>
                        <a:pt x="116134" y="85613"/>
                      </a:lnTo>
                      <a:lnTo>
                        <a:pt x="116378" y="83502"/>
                      </a:lnTo>
                      <a:lnTo>
                        <a:pt x="118684" y="80772"/>
                      </a:lnTo>
                      <a:lnTo>
                        <a:pt x="119850" y="79427"/>
                      </a:lnTo>
                      <a:lnTo>
                        <a:pt x="119850" y="79435"/>
                      </a:lnTo>
                      <a:lnTo>
                        <a:pt x="120355" y="78946"/>
                      </a:lnTo>
                      <a:lnTo>
                        <a:pt x="123403" y="76999"/>
                      </a:lnTo>
                      <a:lnTo>
                        <a:pt x="126378" y="75695"/>
                      </a:lnTo>
                      <a:lnTo>
                        <a:pt x="132099" y="74171"/>
                      </a:lnTo>
                      <a:lnTo>
                        <a:pt x="134194" y="71767"/>
                      </a:lnTo>
                      <a:lnTo>
                        <a:pt x="135334" y="69558"/>
                      </a:lnTo>
                      <a:lnTo>
                        <a:pt x="135375" y="65230"/>
                      </a:lnTo>
                      <a:lnTo>
                        <a:pt x="136141" y="64513"/>
                      </a:lnTo>
                      <a:lnTo>
                        <a:pt x="137502" y="63503"/>
                      </a:lnTo>
                      <a:lnTo>
                        <a:pt x="144128" y="59631"/>
                      </a:lnTo>
                      <a:lnTo>
                        <a:pt x="145236" y="58816"/>
                      </a:lnTo>
                      <a:lnTo>
                        <a:pt x="156939" y="67822"/>
                      </a:lnTo>
                      <a:lnTo>
                        <a:pt x="163500" y="74953"/>
                      </a:lnTo>
                      <a:lnTo>
                        <a:pt x="163899" y="75295"/>
                      </a:lnTo>
                      <a:lnTo>
                        <a:pt x="164241" y="75426"/>
                      </a:lnTo>
                      <a:lnTo>
                        <a:pt x="164584" y="75181"/>
                      </a:lnTo>
                      <a:lnTo>
                        <a:pt x="164877" y="74855"/>
                      </a:lnTo>
                      <a:lnTo>
                        <a:pt x="165350" y="74627"/>
                      </a:lnTo>
                      <a:lnTo>
                        <a:pt x="165676" y="74537"/>
                      </a:lnTo>
                      <a:lnTo>
                        <a:pt x="168488" y="74448"/>
                      </a:lnTo>
                      <a:lnTo>
                        <a:pt x="173801" y="74097"/>
                      </a:lnTo>
                      <a:lnTo>
                        <a:pt x="175545" y="73242"/>
                      </a:lnTo>
                      <a:lnTo>
                        <a:pt x="186205" y="60520"/>
                      </a:lnTo>
                      <a:lnTo>
                        <a:pt x="188927" y="56453"/>
                      </a:lnTo>
                      <a:lnTo>
                        <a:pt x="189612" y="55622"/>
                      </a:lnTo>
                      <a:lnTo>
                        <a:pt x="191152" y="52729"/>
                      </a:lnTo>
                      <a:lnTo>
                        <a:pt x="192782" y="47749"/>
                      </a:lnTo>
                      <a:lnTo>
                        <a:pt x="193100" y="47195"/>
                      </a:lnTo>
                      <a:lnTo>
                        <a:pt x="204794" y="35256"/>
                      </a:lnTo>
                      <a:lnTo>
                        <a:pt x="205202" y="34302"/>
                      </a:lnTo>
                      <a:lnTo>
                        <a:pt x="205324" y="33552"/>
                      </a:lnTo>
                      <a:lnTo>
                        <a:pt x="203556" y="29535"/>
                      </a:lnTo>
                      <a:lnTo>
                        <a:pt x="203181" y="27489"/>
                      </a:lnTo>
                      <a:lnTo>
                        <a:pt x="203099" y="24335"/>
                      </a:lnTo>
                      <a:lnTo>
                        <a:pt x="203450" y="19445"/>
                      </a:lnTo>
                      <a:lnTo>
                        <a:pt x="203327" y="16348"/>
                      </a:lnTo>
                      <a:lnTo>
                        <a:pt x="203270" y="16006"/>
                      </a:lnTo>
                      <a:lnTo>
                        <a:pt x="203173" y="15525"/>
                      </a:lnTo>
                      <a:lnTo>
                        <a:pt x="203083" y="15346"/>
                      </a:lnTo>
                      <a:lnTo>
                        <a:pt x="196563" y="6552"/>
                      </a:lnTo>
                      <a:lnTo>
                        <a:pt x="213042" y="6455"/>
                      </a:lnTo>
                      <a:lnTo>
                        <a:pt x="213083" y="5729"/>
                      </a:lnTo>
                      <a:lnTo>
                        <a:pt x="213074" y="5346"/>
                      </a:lnTo>
                      <a:lnTo>
                        <a:pt x="213018" y="4996"/>
                      </a:lnTo>
                      <a:lnTo>
                        <a:pt x="212708" y="3944"/>
                      </a:lnTo>
                      <a:lnTo>
                        <a:pt x="212529" y="2535"/>
                      </a:lnTo>
                      <a:lnTo>
                        <a:pt x="212512" y="2152"/>
                      </a:lnTo>
                      <a:lnTo>
                        <a:pt x="212537" y="1760"/>
                      </a:lnTo>
                      <a:lnTo>
                        <a:pt x="212626" y="1035"/>
                      </a:lnTo>
                      <a:lnTo>
                        <a:pt x="212635" y="644"/>
                      </a:lnTo>
                      <a:lnTo>
                        <a:pt x="212618" y="456"/>
                      </a:lnTo>
                      <a:lnTo>
                        <a:pt x="212594" y="277"/>
                      </a:lnTo>
                      <a:lnTo>
                        <a:pt x="212602" y="130"/>
                      </a:lnTo>
                      <a:lnTo>
                        <a:pt x="212675" y="0"/>
                      </a:lnTo>
                      <a:lnTo>
                        <a:pt x="224517" y="171"/>
                      </a:lnTo>
                      <a:lnTo>
                        <a:pt x="224354" y="2665"/>
                      </a:lnTo>
                      <a:lnTo>
                        <a:pt x="222928" y="8516"/>
                      </a:lnTo>
                      <a:lnTo>
                        <a:pt x="222944" y="12037"/>
                      </a:lnTo>
                      <a:lnTo>
                        <a:pt x="222602" y="16039"/>
                      </a:lnTo>
                      <a:lnTo>
                        <a:pt x="222528" y="16356"/>
                      </a:lnTo>
                      <a:lnTo>
                        <a:pt x="222211" y="17220"/>
                      </a:lnTo>
                      <a:lnTo>
                        <a:pt x="221917" y="17726"/>
                      </a:lnTo>
                      <a:lnTo>
                        <a:pt x="221591" y="18198"/>
                      </a:lnTo>
                      <a:lnTo>
                        <a:pt x="221510" y="18378"/>
                      </a:lnTo>
                      <a:lnTo>
                        <a:pt x="221387" y="18671"/>
                      </a:lnTo>
                      <a:lnTo>
                        <a:pt x="221379" y="19111"/>
                      </a:lnTo>
                      <a:lnTo>
                        <a:pt x="223849" y="41523"/>
                      </a:lnTo>
                      <a:lnTo>
                        <a:pt x="223751" y="42093"/>
                      </a:lnTo>
                      <a:lnTo>
                        <a:pt x="223653" y="42460"/>
                      </a:lnTo>
                      <a:lnTo>
                        <a:pt x="223001" y="43854"/>
                      </a:lnTo>
                      <a:lnTo>
                        <a:pt x="222838" y="44318"/>
                      </a:lnTo>
                      <a:lnTo>
                        <a:pt x="222805" y="44669"/>
                      </a:lnTo>
                      <a:lnTo>
                        <a:pt x="223058" y="44921"/>
                      </a:lnTo>
                      <a:lnTo>
                        <a:pt x="228518" y="47334"/>
                      </a:lnTo>
                      <a:lnTo>
                        <a:pt x="228779" y="47488"/>
                      </a:lnTo>
                      <a:lnTo>
                        <a:pt x="228991" y="47684"/>
                      </a:lnTo>
                      <a:lnTo>
                        <a:pt x="230963" y="50561"/>
                      </a:lnTo>
                      <a:lnTo>
                        <a:pt x="241704" y="61188"/>
                      </a:lnTo>
                      <a:lnTo>
                        <a:pt x="242063" y="61710"/>
                      </a:lnTo>
                      <a:lnTo>
                        <a:pt x="243188" y="65043"/>
                      </a:lnTo>
                      <a:lnTo>
                        <a:pt x="243310" y="65548"/>
                      </a:lnTo>
                      <a:lnTo>
                        <a:pt x="243343" y="66347"/>
                      </a:lnTo>
                      <a:lnTo>
                        <a:pt x="243310" y="66974"/>
                      </a:lnTo>
                      <a:lnTo>
                        <a:pt x="243041" y="68971"/>
                      </a:lnTo>
                      <a:lnTo>
                        <a:pt x="243131" y="69868"/>
                      </a:lnTo>
                      <a:lnTo>
                        <a:pt x="243310" y="70454"/>
                      </a:lnTo>
                      <a:lnTo>
                        <a:pt x="243465" y="71147"/>
                      </a:lnTo>
                      <a:lnTo>
                        <a:pt x="243465" y="71359"/>
                      </a:lnTo>
                      <a:lnTo>
                        <a:pt x="243440" y="71538"/>
                      </a:lnTo>
                      <a:close/>
                    </a:path>
                  </a:pathLst>
                </a:custGeom>
                <a:solidFill>
                  <a:srgbClr val="D6D6D2"/>
                </a:solidFill>
                <a:ln w="6112" cap="rnd">
                  <a:solidFill>
                    <a:srgbClr val="FFFFFF"/>
                  </a:solidFill>
                  <a:prstDash val="solid"/>
                  <a:round/>
                </a:ln>
              </p:spPr>
              <p:txBody>
                <a:bodyPr rtlCol="0" anchor="ctr"/>
                <a:lstStyle/>
                <a:p>
                  <a:endParaRPr lang="en-US"/>
                </a:p>
              </p:txBody>
            </p:sp>
            <p:sp>
              <p:nvSpPr>
                <p:cNvPr id="583" name="Freeform: Shape 582">
                  <a:extLst>
                    <a:ext uri="{FF2B5EF4-FFF2-40B4-BE49-F238E27FC236}">
                      <a16:creationId xmlns:a16="http://schemas.microsoft.com/office/drawing/2014/main" id="{93585CDC-231E-4EF5-A1F7-52552DE0DAC6}"/>
                    </a:ext>
                  </a:extLst>
                </p:cNvPr>
                <p:cNvSpPr/>
                <p:nvPr/>
              </p:nvSpPr>
              <p:spPr>
                <a:xfrm>
                  <a:off x="6484945" y="3851345"/>
                  <a:ext cx="416288" cy="413223"/>
                </a:xfrm>
                <a:custGeom>
                  <a:avLst/>
                  <a:gdLst>
                    <a:gd name="connsiteX0" fmla="*/ 239113 w 416288"/>
                    <a:gd name="connsiteY0" fmla="*/ 3651 h 413223"/>
                    <a:gd name="connsiteX1" fmla="*/ 238331 w 416288"/>
                    <a:gd name="connsiteY1" fmla="*/ 6414 h 413223"/>
                    <a:gd name="connsiteX2" fmla="*/ 242968 w 416288"/>
                    <a:gd name="connsiteY2" fmla="*/ 6414 h 413223"/>
                    <a:gd name="connsiteX3" fmla="*/ 251110 w 416288"/>
                    <a:gd name="connsiteY3" fmla="*/ 6414 h 413223"/>
                    <a:gd name="connsiteX4" fmla="*/ 259251 w 416288"/>
                    <a:gd name="connsiteY4" fmla="*/ 6414 h 413223"/>
                    <a:gd name="connsiteX5" fmla="*/ 267393 w 416288"/>
                    <a:gd name="connsiteY5" fmla="*/ 6414 h 413223"/>
                    <a:gd name="connsiteX6" fmla="*/ 275518 w 416288"/>
                    <a:gd name="connsiteY6" fmla="*/ 6406 h 413223"/>
                    <a:gd name="connsiteX7" fmla="*/ 283660 w 416288"/>
                    <a:gd name="connsiteY7" fmla="*/ 6406 h 413223"/>
                    <a:gd name="connsiteX8" fmla="*/ 291802 w 416288"/>
                    <a:gd name="connsiteY8" fmla="*/ 6406 h 413223"/>
                    <a:gd name="connsiteX9" fmla="*/ 299943 w 416288"/>
                    <a:gd name="connsiteY9" fmla="*/ 6397 h 413223"/>
                    <a:gd name="connsiteX10" fmla="*/ 308068 w 416288"/>
                    <a:gd name="connsiteY10" fmla="*/ 6397 h 413223"/>
                    <a:gd name="connsiteX11" fmla="*/ 316210 w 416288"/>
                    <a:gd name="connsiteY11" fmla="*/ 6397 h 413223"/>
                    <a:gd name="connsiteX12" fmla="*/ 324351 w 416288"/>
                    <a:gd name="connsiteY12" fmla="*/ 6397 h 413223"/>
                    <a:gd name="connsiteX13" fmla="*/ 332493 w 416288"/>
                    <a:gd name="connsiteY13" fmla="*/ 6397 h 413223"/>
                    <a:gd name="connsiteX14" fmla="*/ 340626 w 416288"/>
                    <a:gd name="connsiteY14" fmla="*/ 6397 h 413223"/>
                    <a:gd name="connsiteX15" fmla="*/ 348760 w 416288"/>
                    <a:gd name="connsiteY15" fmla="*/ 6389 h 413223"/>
                    <a:gd name="connsiteX16" fmla="*/ 356909 w 416288"/>
                    <a:gd name="connsiteY16" fmla="*/ 6389 h 413223"/>
                    <a:gd name="connsiteX17" fmla="*/ 365043 w 416288"/>
                    <a:gd name="connsiteY17" fmla="*/ 6389 h 413223"/>
                    <a:gd name="connsiteX18" fmla="*/ 373177 w 416288"/>
                    <a:gd name="connsiteY18" fmla="*/ 6389 h 413223"/>
                    <a:gd name="connsiteX19" fmla="*/ 373454 w 416288"/>
                    <a:gd name="connsiteY19" fmla="*/ 13463 h 413223"/>
                    <a:gd name="connsiteX20" fmla="*/ 374554 w 416288"/>
                    <a:gd name="connsiteY20" fmla="*/ 19127 h 413223"/>
                    <a:gd name="connsiteX21" fmla="*/ 378376 w 416288"/>
                    <a:gd name="connsiteY21" fmla="*/ 27204 h 413223"/>
                    <a:gd name="connsiteX22" fmla="*/ 381628 w 416288"/>
                    <a:gd name="connsiteY22" fmla="*/ 31547 h 413223"/>
                    <a:gd name="connsiteX23" fmla="*/ 382777 w 416288"/>
                    <a:gd name="connsiteY23" fmla="*/ 33943 h 413223"/>
                    <a:gd name="connsiteX24" fmla="*/ 382899 w 416288"/>
                    <a:gd name="connsiteY24" fmla="*/ 35060 h 413223"/>
                    <a:gd name="connsiteX25" fmla="*/ 382744 w 416288"/>
                    <a:gd name="connsiteY25" fmla="*/ 36079 h 413223"/>
                    <a:gd name="connsiteX26" fmla="*/ 381758 w 416288"/>
                    <a:gd name="connsiteY26" fmla="*/ 34905 h 413223"/>
                    <a:gd name="connsiteX27" fmla="*/ 380104 w 416288"/>
                    <a:gd name="connsiteY27" fmla="*/ 34098 h 413223"/>
                    <a:gd name="connsiteX28" fmla="*/ 379867 w 416288"/>
                    <a:gd name="connsiteY28" fmla="*/ 37872 h 413223"/>
                    <a:gd name="connsiteX29" fmla="*/ 380258 w 416288"/>
                    <a:gd name="connsiteY29" fmla="*/ 40561 h 413223"/>
                    <a:gd name="connsiteX30" fmla="*/ 380650 w 416288"/>
                    <a:gd name="connsiteY30" fmla="*/ 45598 h 413223"/>
                    <a:gd name="connsiteX31" fmla="*/ 382011 w 416288"/>
                    <a:gd name="connsiteY31" fmla="*/ 51025 h 413223"/>
                    <a:gd name="connsiteX32" fmla="*/ 381033 w 416288"/>
                    <a:gd name="connsiteY32" fmla="*/ 56029 h 413223"/>
                    <a:gd name="connsiteX33" fmla="*/ 381163 w 416288"/>
                    <a:gd name="connsiteY33" fmla="*/ 64497 h 413223"/>
                    <a:gd name="connsiteX34" fmla="*/ 382883 w 416288"/>
                    <a:gd name="connsiteY34" fmla="*/ 74643 h 413223"/>
                    <a:gd name="connsiteX35" fmla="*/ 382533 w 416288"/>
                    <a:gd name="connsiteY35" fmla="*/ 81122 h 413223"/>
                    <a:gd name="connsiteX36" fmla="*/ 385328 w 416288"/>
                    <a:gd name="connsiteY36" fmla="*/ 96216 h 413223"/>
                    <a:gd name="connsiteX37" fmla="*/ 388066 w 416288"/>
                    <a:gd name="connsiteY37" fmla="*/ 104585 h 413223"/>
                    <a:gd name="connsiteX38" fmla="*/ 389549 w 416288"/>
                    <a:gd name="connsiteY38" fmla="*/ 106647 h 413223"/>
                    <a:gd name="connsiteX39" fmla="*/ 391236 w 416288"/>
                    <a:gd name="connsiteY39" fmla="*/ 107739 h 413223"/>
                    <a:gd name="connsiteX40" fmla="*/ 394464 w 416288"/>
                    <a:gd name="connsiteY40" fmla="*/ 108448 h 413223"/>
                    <a:gd name="connsiteX41" fmla="*/ 399231 w 416288"/>
                    <a:gd name="connsiteY41" fmla="*/ 112711 h 413223"/>
                    <a:gd name="connsiteX42" fmla="*/ 403004 w 416288"/>
                    <a:gd name="connsiteY42" fmla="*/ 117193 h 413223"/>
                    <a:gd name="connsiteX43" fmla="*/ 404349 w 416288"/>
                    <a:gd name="connsiteY43" fmla="*/ 119548 h 413223"/>
                    <a:gd name="connsiteX44" fmla="*/ 406166 w 416288"/>
                    <a:gd name="connsiteY44" fmla="*/ 122124 h 413223"/>
                    <a:gd name="connsiteX45" fmla="*/ 407430 w 416288"/>
                    <a:gd name="connsiteY45" fmla="*/ 121659 h 413223"/>
                    <a:gd name="connsiteX46" fmla="*/ 408196 w 416288"/>
                    <a:gd name="connsiteY46" fmla="*/ 120975 h 413223"/>
                    <a:gd name="connsiteX47" fmla="*/ 409427 w 416288"/>
                    <a:gd name="connsiteY47" fmla="*/ 123061 h 413223"/>
                    <a:gd name="connsiteX48" fmla="*/ 415409 w 416288"/>
                    <a:gd name="connsiteY48" fmla="*/ 127535 h 413223"/>
                    <a:gd name="connsiteX49" fmla="*/ 416288 w 416288"/>
                    <a:gd name="connsiteY49" fmla="*/ 129629 h 413223"/>
                    <a:gd name="connsiteX50" fmla="*/ 414137 w 416288"/>
                    <a:gd name="connsiteY50" fmla="*/ 131667 h 413223"/>
                    <a:gd name="connsiteX51" fmla="*/ 411643 w 416288"/>
                    <a:gd name="connsiteY51" fmla="*/ 135179 h 413223"/>
                    <a:gd name="connsiteX52" fmla="*/ 411024 w 416288"/>
                    <a:gd name="connsiteY52" fmla="*/ 136581 h 413223"/>
                    <a:gd name="connsiteX53" fmla="*/ 410739 w 416288"/>
                    <a:gd name="connsiteY53" fmla="*/ 137413 h 413223"/>
                    <a:gd name="connsiteX54" fmla="*/ 410445 w 416288"/>
                    <a:gd name="connsiteY54" fmla="*/ 138447 h 413223"/>
                    <a:gd name="connsiteX55" fmla="*/ 409777 w 416288"/>
                    <a:gd name="connsiteY55" fmla="*/ 139491 h 413223"/>
                    <a:gd name="connsiteX56" fmla="*/ 408359 w 416288"/>
                    <a:gd name="connsiteY56" fmla="*/ 140917 h 413223"/>
                    <a:gd name="connsiteX57" fmla="*/ 407804 w 416288"/>
                    <a:gd name="connsiteY57" fmla="*/ 141536 h 413223"/>
                    <a:gd name="connsiteX58" fmla="*/ 407462 w 416288"/>
                    <a:gd name="connsiteY58" fmla="*/ 142514 h 413223"/>
                    <a:gd name="connsiteX59" fmla="*/ 406599 w 416288"/>
                    <a:gd name="connsiteY59" fmla="*/ 143158 h 413223"/>
                    <a:gd name="connsiteX60" fmla="*/ 405670 w 416288"/>
                    <a:gd name="connsiteY60" fmla="*/ 143191 h 413223"/>
                    <a:gd name="connsiteX61" fmla="*/ 404854 w 416288"/>
                    <a:gd name="connsiteY61" fmla="*/ 143631 h 413223"/>
                    <a:gd name="connsiteX62" fmla="*/ 403624 w 416288"/>
                    <a:gd name="connsiteY62" fmla="*/ 144307 h 413223"/>
                    <a:gd name="connsiteX63" fmla="*/ 401798 w 416288"/>
                    <a:gd name="connsiteY63" fmla="*/ 143957 h 413223"/>
                    <a:gd name="connsiteX64" fmla="*/ 399932 w 416288"/>
                    <a:gd name="connsiteY64" fmla="*/ 144576 h 413223"/>
                    <a:gd name="connsiteX65" fmla="*/ 399247 w 416288"/>
                    <a:gd name="connsiteY65" fmla="*/ 145350 h 413223"/>
                    <a:gd name="connsiteX66" fmla="*/ 397773 w 416288"/>
                    <a:gd name="connsiteY66" fmla="*/ 146027 h 413223"/>
                    <a:gd name="connsiteX67" fmla="*/ 396297 w 416288"/>
                    <a:gd name="connsiteY67" fmla="*/ 146173 h 413223"/>
                    <a:gd name="connsiteX68" fmla="*/ 395767 w 416288"/>
                    <a:gd name="connsiteY68" fmla="*/ 146402 h 413223"/>
                    <a:gd name="connsiteX69" fmla="*/ 394374 w 416288"/>
                    <a:gd name="connsiteY69" fmla="*/ 147551 h 413223"/>
                    <a:gd name="connsiteX70" fmla="*/ 392655 w 416288"/>
                    <a:gd name="connsiteY70" fmla="*/ 149148 h 413223"/>
                    <a:gd name="connsiteX71" fmla="*/ 390649 w 416288"/>
                    <a:gd name="connsiteY71" fmla="*/ 150167 h 413223"/>
                    <a:gd name="connsiteX72" fmla="*/ 389941 w 416288"/>
                    <a:gd name="connsiteY72" fmla="*/ 150501 h 413223"/>
                    <a:gd name="connsiteX73" fmla="*/ 389019 w 416288"/>
                    <a:gd name="connsiteY73" fmla="*/ 151609 h 413223"/>
                    <a:gd name="connsiteX74" fmla="*/ 387610 w 416288"/>
                    <a:gd name="connsiteY74" fmla="*/ 157094 h 413223"/>
                    <a:gd name="connsiteX75" fmla="*/ 386567 w 416288"/>
                    <a:gd name="connsiteY75" fmla="*/ 158537 h 413223"/>
                    <a:gd name="connsiteX76" fmla="*/ 384806 w 416288"/>
                    <a:gd name="connsiteY76" fmla="*/ 158683 h 413223"/>
                    <a:gd name="connsiteX77" fmla="*/ 382533 w 416288"/>
                    <a:gd name="connsiteY77" fmla="*/ 158683 h 413223"/>
                    <a:gd name="connsiteX78" fmla="*/ 380576 w 416288"/>
                    <a:gd name="connsiteY78" fmla="*/ 159164 h 413223"/>
                    <a:gd name="connsiteX79" fmla="*/ 377887 w 416288"/>
                    <a:gd name="connsiteY79" fmla="*/ 158553 h 413223"/>
                    <a:gd name="connsiteX80" fmla="*/ 376591 w 416288"/>
                    <a:gd name="connsiteY80" fmla="*/ 158618 h 413223"/>
                    <a:gd name="connsiteX81" fmla="*/ 376249 w 416288"/>
                    <a:gd name="connsiteY81" fmla="*/ 159800 h 413223"/>
                    <a:gd name="connsiteX82" fmla="*/ 375760 w 416288"/>
                    <a:gd name="connsiteY82" fmla="*/ 164518 h 413223"/>
                    <a:gd name="connsiteX83" fmla="*/ 375841 w 416288"/>
                    <a:gd name="connsiteY83" fmla="*/ 166532 h 413223"/>
                    <a:gd name="connsiteX84" fmla="*/ 374774 w 416288"/>
                    <a:gd name="connsiteY84" fmla="*/ 168919 h 413223"/>
                    <a:gd name="connsiteX85" fmla="*/ 373584 w 416288"/>
                    <a:gd name="connsiteY85" fmla="*/ 171910 h 413223"/>
                    <a:gd name="connsiteX86" fmla="*/ 374024 w 416288"/>
                    <a:gd name="connsiteY86" fmla="*/ 176955 h 413223"/>
                    <a:gd name="connsiteX87" fmla="*/ 374228 w 416288"/>
                    <a:gd name="connsiteY87" fmla="*/ 181951 h 413223"/>
                    <a:gd name="connsiteX88" fmla="*/ 372052 w 416288"/>
                    <a:gd name="connsiteY88" fmla="*/ 189457 h 413223"/>
                    <a:gd name="connsiteX89" fmla="*/ 371734 w 416288"/>
                    <a:gd name="connsiteY89" fmla="*/ 191184 h 413223"/>
                    <a:gd name="connsiteX90" fmla="*/ 369533 w 416288"/>
                    <a:gd name="connsiteY90" fmla="*/ 197134 h 413223"/>
                    <a:gd name="connsiteX91" fmla="*/ 368417 w 416288"/>
                    <a:gd name="connsiteY91" fmla="*/ 199351 h 413223"/>
                    <a:gd name="connsiteX92" fmla="*/ 365605 w 416288"/>
                    <a:gd name="connsiteY92" fmla="*/ 210451 h 413223"/>
                    <a:gd name="connsiteX93" fmla="*/ 364505 w 416288"/>
                    <a:gd name="connsiteY93" fmla="*/ 213873 h 413223"/>
                    <a:gd name="connsiteX94" fmla="*/ 362150 w 416288"/>
                    <a:gd name="connsiteY94" fmla="*/ 217467 h 413223"/>
                    <a:gd name="connsiteX95" fmla="*/ 362688 w 416288"/>
                    <a:gd name="connsiteY95" fmla="*/ 223319 h 413223"/>
                    <a:gd name="connsiteX96" fmla="*/ 363242 w 416288"/>
                    <a:gd name="connsiteY96" fmla="*/ 229513 h 413223"/>
                    <a:gd name="connsiteX97" fmla="*/ 363780 w 416288"/>
                    <a:gd name="connsiteY97" fmla="*/ 235356 h 413223"/>
                    <a:gd name="connsiteX98" fmla="*/ 364570 w 416288"/>
                    <a:gd name="connsiteY98" fmla="*/ 244109 h 413223"/>
                    <a:gd name="connsiteX99" fmla="*/ 362574 w 416288"/>
                    <a:gd name="connsiteY99" fmla="*/ 252267 h 413223"/>
                    <a:gd name="connsiteX100" fmla="*/ 362655 w 416288"/>
                    <a:gd name="connsiteY100" fmla="*/ 256717 h 413223"/>
                    <a:gd name="connsiteX101" fmla="*/ 361261 w 416288"/>
                    <a:gd name="connsiteY101" fmla="*/ 263277 h 413223"/>
                    <a:gd name="connsiteX102" fmla="*/ 360162 w 416288"/>
                    <a:gd name="connsiteY102" fmla="*/ 266301 h 413223"/>
                    <a:gd name="connsiteX103" fmla="*/ 359175 w 416288"/>
                    <a:gd name="connsiteY103" fmla="*/ 268110 h 413223"/>
                    <a:gd name="connsiteX104" fmla="*/ 358344 w 416288"/>
                    <a:gd name="connsiteY104" fmla="*/ 269968 h 413223"/>
                    <a:gd name="connsiteX105" fmla="*/ 356828 w 416288"/>
                    <a:gd name="connsiteY105" fmla="*/ 274051 h 413223"/>
                    <a:gd name="connsiteX106" fmla="*/ 355532 w 416288"/>
                    <a:gd name="connsiteY106" fmla="*/ 279446 h 413223"/>
                    <a:gd name="connsiteX107" fmla="*/ 354962 w 416288"/>
                    <a:gd name="connsiteY107" fmla="*/ 284972 h 413223"/>
                    <a:gd name="connsiteX108" fmla="*/ 354913 w 416288"/>
                    <a:gd name="connsiteY108" fmla="*/ 288174 h 413223"/>
                    <a:gd name="connsiteX109" fmla="*/ 354669 w 416288"/>
                    <a:gd name="connsiteY109" fmla="*/ 289641 h 413223"/>
                    <a:gd name="connsiteX110" fmla="*/ 354220 w 416288"/>
                    <a:gd name="connsiteY110" fmla="*/ 290570 h 413223"/>
                    <a:gd name="connsiteX111" fmla="*/ 351254 w 416288"/>
                    <a:gd name="connsiteY111" fmla="*/ 291182 h 413223"/>
                    <a:gd name="connsiteX112" fmla="*/ 347114 w 416288"/>
                    <a:gd name="connsiteY112" fmla="*/ 291825 h 413223"/>
                    <a:gd name="connsiteX113" fmla="*/ 344881 w 416288"/>
                    <a:gd name="connsiteY113" fmla="*/ 292551 h 413223"/>
                    <a:gd name="connsiteX114" fmla="*/ 343381 w 416288"/>
                    <a:gd name="connsiteY114" fmla="*/ 293684 h 413223"/>
                    <a:gd name="connsiteX115" fmla="*/ 341547 w 416288"/>
                    <a:gd name="connsiteY115" fmla="*/ 296300 h 413223"/>
                    <a:gd name="connsiteX116" fmla="*/ 337912 w 416288"/>
                    <a:gd name="connsiteY116" fmla="*/ 303472 h 413223"/>
                    <a:gd name="connsiteX117" fmla="*/ 336014 w 416288"/>
                    <a:gd name="connsiteY117" fmla="*/ 307856 h 413223"/>
                    <a:gd name="connsiteX118" fmla="*/ 333031 w 416288"/>
                    <a:gd name="connsiteY118" fmla="*/ 313871 h 413223"/>
                    <a:gd name="connsiteX119" fmla="*/ 329551 w 416288"/>
                    <a:gd name="connsiteY119" fmla="*/ 318125 h 413223"/>
                    <a:gd name="connsiteX120" fmla="*/ 328809 w 416288"/>
                    <a:gd name="connsiteY120" fmla="*/ 320195 h 413223"/>
                    <a:gd name="connsiteX121" fmla="*/ 328247 w 416288"/>
                    <a:gd name="connsiteY121" fmla="*/ 324033 h 413223"/>
                    <a:gd name="connsiteX122" fmla="*/ 326959 w 416288"/>
                    <a:gd name="connsiteY122" fmla="*/ 330121 h 413223"/>
                    <a:gd name="connsiteX123" fmla="*/ 325786 w 416288"/>
                    <a:gd name="connsiteY123" fmla="*/ 334449 h 413223"/>
                    <a:gd name="connsiteX124" fmla="*/ 325998 w 416288"/>
                    <a:gd name="connsiteY124" fmla="*/ 337929 h 413223"/>
                    <a:gd name="connsiteX125" fmla="*/ 324905 w 416288"/>
                    <a:gd name="connsiteY125" fmla="*/ 343959 h 413223"/>
                    <a:gd name="connsiteX126" fmla="*/ 325069 w 416288"/>
                    <a:gd name="connsiteY126" fmla="*/ 346901 h 413223"/>
                    <a:gd name="connsiteX127" fmla="*/ 323838 w 416288"/>
                    <a:gd name="connsiteY127" fmla="*/ 348540 h 413223"/>
                    <a:gd name="connsiteX128" fmla="*/ 322208 w 416288"/>
                    <a:gd name="connsiteY128" fmla="*/ 350096 h 413223"/>
                    <a:gd name="connsiteX129" fmla="*/ 321092 w 416288"/>
                    <a:gd name="connsiteY129" fmla="*/ 350479 h 413223"/>
                    <a:gd name="connsiteX130" fmla="*/ 318696 w 416288"/>
                    <a:gd name="connsiteY130" fmla="*/ 348711 h 413223"/>
                    <a:gd name="connsiteX131" fmla="*/ 316878 w 416288"/>
                    <a:gd name="connsiteY131" fmla="*/ 346910 h 413223"/>
                    <a:gd name="connsiteX132" fmla="*/ 316145 w 416288"/>
                    <a:gd name="connsiteY132" fmla="*/ 346437 h 413223"/>
                    <a:gd name="connsiteX133" fmla="*/ 314556 w 416288"/>
                    <a:gd name="connsiteY133" fmla="*/ 347561 h 413223"/>
                    <a:gd name="connsiteX134" fmla="*/ 312665 w 416288"/>
                    <a:gd name="connsiteY134" fmla="*/ 349224 h 413223"/>
                    <a:gd name="connsiteX135" fmla="*/ 310489 w 416288"/>
                    <a:gd name="connsiteY135" fmla="*/ 353128 h 413223"/>
                    <a:gd name="connsiteX136" fmla="*/ 308794 w 416288"/>
                    <a:gd name="connsiteY136" fmla="*/ 357072 h 413223"/>
                    <a:gd name="connsiteX137" fmla="*/ 309763 w 416288"/>
                    <a:gd name="connsiteY137" fmla="*/ 365418 h 413223"/>
                    <a:gd name="connsiteX138" fmla="*/ 309690 w 416288"/>
                    <a:gd name="connsiteY138" fmla="*/ 367251 h 413223"/>
                    <a:gd name="connsiteX139" fmla="*/ 309193 w 416288"/>
                    <a:gd name="connsiteY139" fmla="*/ 369248 h 413223"/>
                    <a:gd name="connsiteX140" fmla="*/ 306561 w 416288"/>
                    <a:gd name="connsiteY140" fmla="*/ 375466 h 413223"/>
                    <a:gd name="connsiteX141" fmla="*/ 305917 w 416288"/>
                    <a:gd name="connsiteY141" fmla="*/ 377430 h 413223"/>
                    <a:gd name="connsiteX142" fmla="*/ 304947 w 416288"/>
                    <a:gd name="connsiteY142" fmla="*/ 381155 h 413223"/>
                    <a:gd name="connsiteX143" fmla="*/ 303936 w 416288"/>
                    <a:gd name="connsiteY143" fmla="*/ 387683 h 413223"/>
                    <a:gd name="connsiteX144" fmla="*/ 303904 w 416288"/>
                    <a:gd name="connsiteY144" fmla="*/ 389247 h 413223"/>
                    <a:gd name="connsiteX145" fmla="*/ 303904 w 416288"/>
                    <a:gd name="connsiteY145" fmla="*/ 389247 h 413223"/>
                    <a:gd name="connsiteX146" fmla="*/ 303863 w 416288"/>
                    <a:gd name="connsiteY146" fmla="*/ 389247 h 413223"/>
                    <a:gd name="connsiteX147" fmla="*/ 299258 w 416288"/>
                    <a:gd name="connsiteY147" fmla="*/ 389223 h 413223"/>
                    <a:gd name="connsiteX148" fmla="*/ 299177 w 416288"/>
                    <a:gd name="connsiteY148" fmla="*/ 389182 h 413223"/>
                    <a:gd name="connsiteX149" fmla="*/ 299104 w 416288"/>
                    <a:gd name="connsiteY149" fmla="*/ 389101 h 413223"/>
                    <a:gd name="connsiteX150" fmla="*/ 299039 w 416288"/>
                    <a:gd name="connsiteY150" fmla="*/ 388954 h 413223"/>
                    <a:gd name="connsiteX151" fmla="*/ 298957 w 416288"/>
                    <a:gd name="connsiteY151" fmla="*/ 388758 h 413223"/>
                    <a:gd name="connsiteX152" fmla="*/ 298777 w 416288"/>
                    <a:gd name="connsiteY152" fmla="*/ 387903 h 413223"/>
                    <a:gd name="connsiteX153" fmla="*/ 298672 w 416288"/>
                    <a:gd name="connsiteY153" fmla="*/ 386566 h 413223"/>
                    <a:gd name="connsiteX154" fmla="*/ 298843 w 416288"/>
                    <a:gd name="connsiteY154" fmla="*/ 384260 h 413223"/>
                    <a:gd name="connsiteX155" fmla="*/ 299348 w 416288"/>
                    <a:gd name="connsiteY155" fmla="*/ 381522 h 413223"/>
                    <a:gd name="connsiteX156" fmla="*/ 300954 w 416288"/>
                    <a:gd name="connsiteY156" fmla="*/ 377675 h 413223"/>
                    <a:gd name="connsiteX157" fmla="*/ 301027 w 416288"/>
                    <a:gd name="connsiteY157" fmla="*/ 377357 h 413223"/>
                    <a:gd name="connsiteX158" fmla="*/ 301051 w 416288"/>
                    <a:gd name="connsiteY158" fmla="*/ 377178 h 413223"/>
                    <a:gd name="connsiteX159" fmla="*/ 301051 w 416288"/>
                    <a:gd name="connsiteY159" fmla="*/ 376966 h 413223"/>
                    <a:gd name="connsiteX160" fmla="*/ 300896 w 416288"/>
                    <a:gd name="connsiteY160" fmla="*/ 376273 h 413223"/>
                    <a:gd name="connsiteX161" fmla="*/ 300717 w 416288"/>
                    <a:gd name="connsiteY161" fmla="*/ 375686 h 413223"/>
                    <a:gd name="connsiteX162" fmla="*/ 300627 w 416288"/>
                    <a:gd name="connsiteY162" fmla="*/ 374790 h 413223"/>
                    <a:gd name="connsiteX163" fmla="*/ 300896 w 416288"/>
                    <a:gd name="connsiteY163" fmla="*/ 372793 h 413223"/>
                    <a:gd name="connsiteX164" fmla="*/ 300929 w 416288"/>
                    <a:gd name="connsiteY164" fmla="*/ 372166 h 413223"/>
                    <a:gd name="connsiteX165" fmla="*/ 300896 w 416288"/>
                    <a:gd name="connsiteY165" fmla="*/ 371367 h 413223"/>
                    <a:gd name="connsiteX166" fmla="*/ 300774 w 416288"/>
                    <a:gd name="connsiteY166" fmla="*/ 370862 h 413223"/>
                    <a:gd name="connsiteX167" fmla="*/ 299649 w 416288"/>
                    <a:gd name="connsiteY167" fmla="*/ 367528 h 413223"/>
                    <a:gd name="connsiteX168" fmla="*/ 299291 w 416288"/>
                    <a:gd name="connsiteY168" fmla="*/ 367007 h 413223"/>
                    <a:gd name="connsiteX169" fmla="*/ 288549 w 416288"/>
                    <a:gd name="connsiteY169" fmla="*/ 356379 h 413223"/>
                    <a:gd name="connsiteX170" fmla="*/ 286577 w 416288"/>
                    <a:gd name="connsiteY170" fmla="*/ 353503 h 413223"/>
                    <a:gd name="connsiteX171" fmla="*/ 286365 w 416288"/>
                    <a:gd name="connsiteY171" fmla="*/ 353307 h 413223"/>
                    <a:gd name="connsiteX172" fmla="*/ 286105 w 416288"/>
                    <a:gd name="connsiteY172" fmla="*/ 353152 h 413223"/>
                    <a:gd name="connsiteX173" fmla="*/ 280644 w 416288"/>
                    <a:gd name="connsiteY173" fmla="*/ 350740 h 413223"/>
                    <a:gd name="connsiteX174" fmla="*/ 280392 w 416288"/>
                    <a:gd name="connsiteY174" fmla="*/ 350487 h 413223"/>
                    <a:gd name="connsiteX175" fmla="*/ 280424 w 416288"/>
                    <a:gd name="connsiteY175" fmla="*/ 350137 h 413223"/>
                    <a:gd name="connsiteX176" fmla="*/ 280587 w 416288"/>
                    <a:gd name="connsiteY176" fmla="*/ 349672 h 413223"/>
                    <a:gd name="connsiteX177" fmla="*/ 281239 w 416288"/>
                    <a:gd name="connsiteY177" fmla="*/ 348279 h 413223"/>
                    <a:gd name="connsiteX178" fmla="*/ 281337 w 416288"/>
                    <a:gd name="connsiteY178" fmla="*/ 347912 h 413223"/>
                    <a:gd name="connsiteX179" fmla="*/ 281435 w 416288"/>
                    <a:gd name="connsiteY179" fmla="*/ 347342 h 413223"/>
                    <a:gd name="connsiteX180" fmla="*/ 278966 w 416288"/>
                    <a:gd name="connsiteY180" fmla="*/ 324930 h 413223"/>
                    <a:gd name="connsiteX181" fmla="*/ 278974 w 416288"/>
                    <a:gd name="connsiteY181" fmla="*/ 324490 h 413223"/>
                    <a:gd name="connsiteX182" fmla="*/ 279096 w 416288"/>
                    <a:gd name="connsiteY182" fmla="*/ 324196 h 413223"/>
                    <a:gd name="connsiteX183" fmla="*/ 279178 w 416288"/>
                    <a:gd name="connsiteY183" fmla="*/ 324017 h 413223"/>
                    <a:gd name="connsiteX184" fmla="*/ 279503 w 416288"/>
                    <a:gd name="connsiteY184" fmla="*/ 323544 h 413223"/>
                    <a:gd name="connsiteX185" fmla="*/ 279797 w 416288"/>
                    <a:gd name="connsiteY185" fmla="*/ 323039 h 413223"/>
                    <a:gd name="connsiteX186" fmla="*/ 280115 w 416288"/>
                    <a:gd name="connsiteY186" fmla="*/ 322175 h 413223"/>
                    <a:gd name="connsiteX187" fmla="*/ 280188 w 416288"/>
                    <a:gd name="connsiteY187" fmla="*/ 321857 h 413223"/>
                    <a:gd name="connsiteX188" fmla="*/ 280530 w 416288"/>
                    <a:gd name="connsiteY188" fmla="*/ 317856 h 413223"/>
                    <a:gd name="connsiteX189" fmla="*/ 280514 w 416288"/>
                    <a:gd name="connsiteY189" fmla="*/ 314335 h 413223"/>
                    <a:gd name="connsiteX190" fmla="*/ 281940 w 416288"/>
                    <a:gd name="connsiteY190" fmla="*/ 308484 h 413223"/>
                    <a:gd name="connsiteX191" fmla="*/ 282103 w 416288"/>
                    <a:gd name="connsiteY191" fmla="*/ 305990 h 413223"/>
                    <a:gd name="connsiteX192" fmla="*/ 270262 w 416288"/>
                    <a:gd name="connsiteY192" fmla="*/ 305819 h 413223"/>
                    <a:gd name="connsiteX193" fmla="*/ 270188 w 416288"/>
                    <a:gd name="connsiteY193" fmla="*/ 305949 h 413223"/>
                    <a:gd name="connsiteX194" fmla="*/ 270180 w 416288"/>
                    <a:gd name="connsiteY194" fmla="*/ 306096 h 413223"/>
                    <a:gd name="connsiteX195" fmla="*/ 270205 w 416288"/>
                    <a:gd name="connsiteY195" fmla="*/ 306275 h 413223"/>
                    <a:gd name="connsiteX196" fmla="*/ 270221 w 416288"/>
                    <a:gd name="connsiteY196" fmla="*/ 306462 h 413223"/>
                    <a:gd name="connsiteX197" fmla="*/ 270213 w 416288"/>
                    <a:gd name="connsiteY197" fmla="*/ 306854 h 413223"/>
                    <a:gd name="connsiteX198" fmla="*/ 270123 w 416288"/>
                    <a:gd name="connsiteY198" fmla="*/ 307579 h 413223"/>
                    <a:gd name="connsiteX199" fmla="*/ 270099 w 416288"/>
                    <a:gd name="connsiteY199" fmla="*/ 307970 h 413223"/>
                    <a:gd name="connsiteX200" fmla="*/ 270115 w 416288"/>
                    <a:gd name="connsiteY200" fmla="*/ 308353 h 413223"/>
                    <a:gd name="connsiteX201" fmla="*/ 270294 w 416288"/>
                    <a:gd name="connsiteY201" fmla="*/ 309763 h 413223"/>
                    <a:gd name="connsiteX202" fmla="*/ 270604 w 416288"/>
                    <a:gd name="connsiteY202" fmla="*/ 310814 h 413223"/>
                    <a:gd name="connsiteX203" fmla="*/ 270661 w 416288"/>
                    <a:gd name="connsiteY203" fmla="*/ 311165 h 413223"/>
                    <a:gd name="connsiteX204" fmla="*/ 270669 w 416288"/>
                    <a:gd name="connsiteY204" fmla="*/ 311548 h 413223"/>
                    <a:gd name="connsiteX205" fmla="*/ 270628 w 416288"/>
                    <a:gd name="connsiteY205" fmla="*/ 312273 h 413223"/>
                    <a:gd name="connsiteX206" fmla="*/ 254149 w 416288"/>
                    <a:gd name="connsiteY206" fmla="*/ 312371 h 413223"/>
                    <a:gd name="connsiteX207" fmla="*/ 260670 w 416288"/>
                    <a:gd name="connsiteY207" fmla="*/ 321165 h 413223"/>
                    <a:gd name="connsiteX208" fmla="*/ 260759 w 416288"/>
                    <a:gd name="connsiteY208" fmla="*/ 321344 h 413223"/>
                    <a:gd name="connsiteX209" fmla="*/ 260857 w 416288"/>
                    <a:gd name="connsiteY209" fmla="*/ 321825 h 413223"/>
                    <a:gd name="connsiteX210" fmla="*/ 260914 w 416288"/>
                    <a:gd name="connsiteY210" fmla="*/ 322167 h 413223"/>
                    <a:gd name="connsiteX211" fmla="*/ 261036 w 416288"/>
                    <a:gd name="connsiteY211" fmla="*/ 325264 h 413223"/>
                    <a:gd name="connsiteX212" fmla="*/ 260686 w 416288"/>
                    <a:gd name="connsiteY212" fmla="*/ 330154 h 413223"/>
                    <a:gd name="connsiteX213" fmla="*/ 260767 w 416288"/>
                    <a:gd name="connsiteY213" fmla="*/ 333308 h 413223"/>
                    <a:gd name="connsiteX214" fmla="*/ 261142 w 416288"/>
                    <a:gd name="connsiteY214" fmla="*/ 335353 h 413223"/>
                    <a:gd name="connsiteX215" fmla="*/ 262910 w 416288"/>
                    <a:gd name="connsiteY215" fmla="*/ 339371 h 413223"/>
                    <a:gd name="connsiteX216" fmla="*/ 262788 w 416288"/>
                    <a:gd name="connsiteY216" fmla="*/ 340121 h 413223"/>
                    <a:gd name="connsiteX217" fmla="*/ 262381 w 416288"/>
                    <a:gd name="connsiteY217" fmla="*/ 341074 h 413223"/>
                    <a:gd name="connsiteX218" fmla="*/ 250686 w 416288"/>
                    <a:gd name="connsiteY218" fmla="*/ 353014 h 413223"/>
                    <a:gd name="connsiteX219" fmla="*/ 250368 w 416288"/>
                    <a:gd name="connsiteY219" fmla="*/ 353568 h 413223"/>
                    <a:gd name="connsiteX220" fmla="*/ 248738 w 416288"/>
                    <a:gd name="connsiteY220" fmla="*/ 358547 h 413223"/>
                    <a:gd name="connsiteX221" fmla="*/ 247198 w 416288"/>
                    <a:gd name="connsiteY221" fmla="*/ 361440 h 413223"/>
                    <a:gd name="connsiteX222" fmla="*/ 246514 w 416288"/>
                    <a:gd name="connsiteY222" fmla="*/ 362272 h 413223"/>
                    <a:gd name="connsiteX223" fmla="*/ 243791 w 416288"/>
                    <a:gd name="connsiteY223" fmla="*/ 366339 h 413223"/>
                    <a:gd name="connsiteX224" fmla="*/ 233131 w 416288"/>
                    <a:gd name="connsiteY224" fmla="*/ 379060 h 413223"/>
                    <a:gd name="connsiteX225" fmla="*/ 231387 w 416288"/>
                    <a:gd name="connsiteY225" fmla="*/ 379916 h 413223"/>
                    <a:gd name="connsiteX226" fmla="*/ 226074 w 416288"/>
                    <a:gd name="connsiteY226" fmla="*/ 380266 h 413223"/>
                    <a:gd name="connsiteX227" fmla="*/ 223262 w 416288"/>
                    <a:gd name="connsiteY227" fmla="*/ 380356 h 413223"/>
                    <a:gd name="connsiteX228" fmla="*/ 222936 w 416288"/>
                    <a:gd name="connsiteY228" fmla="*/ 380446 h 413223"/>
                    <a:gd name="connsiteX229" fmla="*/ 222463 w 416288"/>
                    <a:gd name="connsiteY229" fmla="*/ 380674 h 413223"/>
                    <a:gd name="connsiteX230" fmla="*/ 222170 w 416288"/>
                    <a:gd name="connsiteY230" fmla="*/ 381000 h 413223"/>
                    <a:gd name="connsiteX231" fmla="*/ 221828 w 416288"/>
                    <a:gd name="connsiteY231" fmla="*/ 381244 h 413223"/>
                    <a:gd name="connsiteX232" fmla="*/ 221485 w 416288"/>
                    <a:gd name="connsiteY232" fmla="*/ 381114 h 413223"/>
                    <a:gd name="connsiteX233" fmla="*/ 221086 w 416288"/>
                    <a:gd name="connsiteY233" fmla="*/ 380772 h 413223"/>
                    <a:gd name="connsiteX234" fmla="*/ 214525 w 416288"/>
                    <a:gd name="connsiteY234" fmla="*/ 373641 h 413223"/>
                    <a:gd name="connsiteX235" fmla="*/ 202823 w 416288"/>
                    <a:gd name="connsiteY235" fmla="*/ 364635 h 413223"/>
                    <a:gd name="connsiteX236" fmla="*/ 201714 w 416288"/>
                    <a:gd name="connsiteY236" fmla="*/ 365450 h 413223"/>
                    <a:gd name="connsiteX237" fmla="*/ 195089 w 416288"/>
                    <a:gd name="connsiteY237" fmla="*/ 369321 h 413223"/>
                    <a:gd name="connsiteX238" fmla="*/ 193727 w 416288"/>
                    <a:gd name="connsiteY238" fmla="*/ 370332 h 413223"/>
                    <a:gd name="connsiteX239" fmla="*/ 192961 w 416288"/>
                    <a:gd name="connsiteY239" fmla="*/ 371049 h 413223"/>
                    <a:gd name="connsiteX240" fmla="*/ 192920 w 416288"/>
                    <a:gd name="connsiteY240" fmla="*/ 375377 h 413223"/>
                    <a:gd name="connsiteX241" fmla="*/ 191780 w 416288"/>
                    <a:gd name="connsiteY241" fmla="*/ 377585 h 413223"/>
                    <a:gd name="connsiteX242" fmla="*/ 189685 w 416288"/>
                    <a:gd name="connsiteY242" fmla="*/ 379989 h 413223"/>
                    <a:gd name="connsiteX243" fmla="*/ 183964 w 416288"/>
                    <a:gd name="connsiteY243" fmla="*/ 381513 h 413223"/>
                    <a:gd name="connsiteX244" fmla="*/ 180989 w 416288"/>
                    <a:gd name="connsiteY244" fmla="*/ 382817 h 413223"/>
                    <a:gd name="connsiteX245" fmla="*/ 177942 w 416288"/>
                    <a:gd name="connsiteY245" fmla="*/ 384765 h 413223"/>
                    <a:gd name="connsiteX246" fmla="*/ 177436 w 416288"/>
                    <a:gd name="connsiteY246" fmla="*/ 385254 h 413223"/>
                    <a:gd name="connsiteX247" fmla="*/ 177436 w 416288"/>
                    <a:gd name="connsiteY247" fmla="*/ 385246 h 413223"/>
                    <a:gd name="connsiteX248" fmla="*/ 176271 w 416288"/>
                    <a:gd name="connsiteY248" fmla="*/ 386590 h 413223"/>
                    <a:gd name="connsiteX249" fmla="*/ 173964 w 416288"/>
                    <a:gd name="connsiteY249" fmla="*/ 389321 h 413223"/>
                    <a:gd name="connsiteX250" fmla="*/ 173720 w 416288"/>
                    <a:gd name="connsiteY250" fmla="*/ 391432 h 413223"/>
                    <a:gd name="connsiteX251" fmla="*/ 174095 w 416288"/>
                    <a:gd name="connsiteY251" fmla="*/ 393331 h 413223"/>
                    <a:gd name="connsiteX252" fmla="*/ 154364 w 416288"/>
                    <a:gd name="connsiteY252" fmla="*/ 393249 h 413223"/>
                    <a:gd name="connsiteX253" fmla="*/ 153060 w 416288"/>
                    <a:gd name="connsiteY253" fmla="*/ 391733 h 413223"/>
                    <a:gd name="connsiteX254" fmla="*/ 150314 w 416288"/>
                    <a:gd name="connsiteY254" fmla="*/ 385083 h 413223"/>
                    <a:gd name="connsiteX255" fmla="*/ 150184 w 416288"/>
                    <a:gd name="connsiteY255" fmla="*/ 385026 h 413223"/>
                    <a:gd name="connsiteX256" fmla="*/ 148179 w 416288"/>
                    <a:gd name="connsiteY256" fmla="*/ 385433 h 413223"/>
                    <a:gd name="connsiteX257" fmla="*/ 130184 w 416288"/>
                    <a:gd name="connsiteY257" fmla="*/ 384651 h 413223"/>
                    <a:gd name="connsiteX258" fmla="*/ 127617 w 416288"/>
                    <a:gd name="connsiteY258" fmla="*/ 385352 h 413223"/>
                    <a:gd name="connsiteX259" fmla="*/ 122474 w 416288"/>
                    <a:gd name="connsiteY259" fmla="*/ 388106 h 413223"/>
                    <a:gd name="connsiteX260" fmla="*/ 119883 w 416288"/>
                    <a:gd name="connsiteY260" fmla="*/ 388563 h 413223"/>
                    <a:gd name="connsiteX261" fmla="*/ 117210 w 416288"/>
                    <a:gd name="connsiteY261" fmla="*/ 387308 h 413223"/>
                    <a:gd name="connsiteX262" fmla="*/ 107748 w 416288"/>
                    <a:gd name="connsiteY262" fmla="*/ 374040 h 413223"/>
                    <a:gd name="connsiteX263" fmla="*/ 105694 w 416288"/>
                    <a:gd name="connsiteY263" fmla="*/ 372451 h 413223"/>
                    <a:gd name="connsiteX264" fmla="*/ 104961 w 416288"/>
                    <a:gd name="connsiteY264" fmla="*/ 371595 h 413223"/>
                    <a:gd name="connsiteX265" fmla="*/ 103559 w 416288"/>
                    <a:gd name="connsiteY265" fmla="*/ 369281 h 413223"/>
                    <a:gd name="connsiteX266" fmla="*/ 101538 w 416288"/>
                    <a:gd name="connsiteY266" fmla="*/ 367895 h 413223"/>
                    <a:gd name="connsiteX267" fmla="*/ 100853 w 416288"/>
                    <a:gd name="connsiteY267" fmla="*/ 366884 h 413223"/>
                    <a:gd name="connsiteX268" fmla="*/ 100633 w 416288"/>
                    <a:gd name="connsiteY268" fmla="*/ 365475 h 413223"/>
                    <a:gd name="connsiteX269" fmla="*/ 100690 w 416288"/>
                    <a:gd name="connsiteY269" fmla="*/ 362557 h 413223"/>
                    <a:gd name="connsiteX270" fmla="*/ 100022 w 416288"/>
                    <a:gd name="connsiteY270" fmla="*/ 360740 h 413223"/>
                    <a:gd name="connsiteX271" fmla="*/ 98530 w 416288"/>
                    <a:gd name="connsiteY271" fmla="*/ 360316 h 413223"/>
                    <a:gd name="connsiteX272" fmla="*/ 85809 w 416288"/>
                    <a:gd name="connsiteY272" fmla="*/ 363397 h 413223"/>
                    <a:gd name="connsiteX273" fmla="*/ 83983 w 416288"/>
                    <a:gd name="connsiteY273" fmla="*/ 363054 h 413223"/>
                    <a:gd name="connsiteX274" fmla="*/ 81326 w 416288"/>
                    <a:gd name="connsiteY274" fmla="*/ 363600 h 413223"/>
                    <a:gd name="connsiteX275" fmla="*/ 80398 w 416288"/>
                    <a:gd name="connsiteY275" fmla="*/ 364138 h 413223"/>
                    <a:gd name="connsiteX276" fmla="*/ 79330 w 416288"/>
                    <a:gd name="connsiteY276" fmla="*/ 365890 h 413223"/>
                    <a:gd name="connsiteX277" fmla="*/ 79110 w 416288"/>
                    <a:gd name="connsiteY277" fmla="*/ 367699 h 413223"/>
                    <a:gd name="connsiteX278" fmla="*/ 79151 w 416288"/>
                    <a:gd name="connsiteY278" fmla="*/ 369525 h 413223"/>
                    <a:gd name="connsiteX279" fmla="*/ 78816 w 416288"/>
                    <a:gd name="connsiteY279" fmla="*/ 371342 h 413223"/>
                    <a:gd name="connsiteX280" fmla="*/ 77846 w 416288"/>
                    <a:gd name="connsiteY280" fmla="*/ 373339 h 413223"/>
                    <a:gd name="connsiteX281" fmla="*/ 74220 w 416288"/>
                    <a:gd name="connsiteY281" fmla="*/ 377838 h 413223"/>
                    <a:gd name="connsiteX282" fmla="*/ 73405 w 416288"/>
                    <a:gd name="connsiteY282" fmla="*/ 379802 h 413223"/>
                    <a:gd name="connsiteX283" fmla="*/ 73584 w 416288"/>
                    <a:gd name="connsiteY283" fmla="*/ 384765 h 413223"/>
                    <a:gd name="connsiteX284" fmla="*/ 73348 w 416288"/>
                    <a:gd name="connsiteY284" fmla="*/ 387259 h 413223"/>
                    <a:gd name="connsiteX285" fmla="*/ 72793 w 416288"/>
                    <a:gd name="connsiteY285" fmla="*/ 388424 h 413223"/>
                    <a:gd name="connsiteX286" fmla="*/ 71221 w 416288"/>
                    <a:gd name="connsiteY286" fmla="*/ 390323 h 413223"/>
                    <a:gd name="connsiteX287" fmla="*/ 70650 w 416288"/>
                    <a:gd name="connsiteY287" fmla="*/ 391423 h 413223"/>
                    <a:gd name="connsiteX288" fmla="*/ 70373 w 416288"/>
                    <a:gd name="connsiteY288" fmla="*/ 392964 h 413223"/>
                    <a:gd name="connsiteX289" fmla="*/ 70300 w 416288"/>
                    <a:gd name="connsiteY289" fmla="*/ 396224 h 413223"/>
                    <a:gd name="connsiteX290" fmla="*/ 70006 w 416288"/>
                    <a:gd name="connsiteY290" fmla="*/ 397756 h 413223"/>
                    <a:gd name="connsiteX291" fmla="*/ 68026 w 416288"/>
                    <a:gd name="connsiteY291" fmla="*/ 401594 h 413223"/>
                    <a:gd name="connsiteX292" fmla="*/ 67578 w 416288"/>
                    <a:gd name="connsiteY292" fmla="*/ 402947 h 413223"/>
                    <a:gd name="connsiteX293" fmla="*/ 67447 w 416288"/>
                    <a:gd name="connsiteY293" fmla="*/ 405718 h 413223"/>
                    <a:gd name="connsiteX294" fmla="*/ 67129 w 416288"/>
                    <a:gd name="connsiteY294" fmla="*/ 406557 h 413223"/>
                    <a:gd name="connsiteX295" fmla="*/ 61384 w 416288"/>
                    <a:gd name="connsiteY295" fmla="*/ 408750 h 413223"/>
                    <a:gd name="connsiteX296" fmla="*/ 59232 w 416288"/>
                    <a:gd name="connsiteY296" fmla="*/ 410143 h 413223"/>
                    <a:gd name="connsiteX297" fmla="*/ 57920 w 416288"/>
                    <a:gd name="connsiteY297" fmla="*/ 412303 h 413223"/>
                    <a:gd name="connsiteX298" fmla="*/ 57586 w 416288"/>
                    <a:gd name="connsiteY298" fmla="*/ 413224 h 413223"/>
                    <a:gd name="connsiteX299" fmla="*/ 57586 w 416288"/>
                    <a:gd name="connsiteY299" fmla="*/ 413224 h 413223"/>
                    <a:gd name="connsiteX300" fmla="*/ 55133 w 416288"/>
                    <a:gd name="connsiteY300" fmla="*/ 412450 h 413223"/>
                    <a:gd name="connsiteX301" fmla="*/ 52004 w 416288"/>
                    <a:gd name="connsiteY301" fmla="*/ 411895 h 413223"/>
                    <a:gd name="connsiteX302" fmla="*/ 45981 w 416288"/>
                    <a:gd name="connsiteY302" fmla="*/ 411211 h 413223"/>
                    <a:gd name="connsiteX303" fmla="*/ 43601 w 416288"/>
                    <a:gd name="connsiteY303" fmla="*/ 410208 h 413223"/>
                    <a:gd name="connsiteX304" fmla="*/ 42468 w 416288"/>
                    <a:gd name="connsiteY304" fmla="*/ 408701 h 413223"/>
                    <a:gd name="connsiteX305" fmla="*/ 42819 w 416288"/>
                    <a:gd name="connsiteY305" fmla="*/ 404862 h 413223"/>
                    <a:gd name="connsiteX306" fmla="*/ 42232 w 416288"/>
                    <a:gd name="connsiteY306" fmla="*/ 404039 h 413223"/>
                    <a:gd name="connsiteX307" fmla="*/ 41263 w 416288"/>
                    <a:gd name="connsiteY307" fmla="*/ 403355 h 413223"/>
                    <a:gd name="connsiteX308" fmla="*/ 40618 w 416288"/>
                    <a:gd name="connsiteY308" fmla="*/ 401692 h 413223"/>
                    <a:gd name="connsiteX309" fmla="*/ 40757 w 416288"/>
                    <a:gd name="connsiteY309" fmla="*/ 399695 h 413223"/>
                    <a:gd name="connsiteX310" fmla="*/ 43927 w 416288"/>
                    <a:gd name="connsiteY310" fmla="*/ 395262 h 413223"/>
                    <a:gd name="connsiteX311" fmla="*/ 44579 w 416288"/>
                    <a:gd name="connsiteY311" fmla="*/ 392890 h 413223"/>
                    <a:gd name="connsiteX312" fmla="*/ 45076 w 416288"/>
                    <a:gd name="connsiteY312" fmla="*/ 384651 h 413223"/>
                    <a:gd name="connsiteX313" fmla="*/ 45418 w 416288"/>
                    <a:gd name="connsiteY313" fmla="*/ 381741 h 413223"/>
                    <a:gd name="connsiteX314" fmla="*/ 45166 w 416288"/>
                    <a:gd name="connsiteY314" fmla="*/ 378343 h 413223"/>
                    <a:gd name="connsiteX315" fmla="*/ 42656 w 416288"/>
                    <a:gd name="connsiteY315" fmla="*/ 372100 h 413223"/>
                    <a:gd name="connsiteX316" fmla="*/ 40464 w 416288"/>
                    <a:gd name="connsiteY316" fmla="*/ 367748 h 413223"/>
                    <a:gd name="connsiteX317" fmla="*/ 36878 w 416288"/>
                    <a:gd name="connsiteY317" fmla="*/ 361302 h 413223"/>
                    <a:gd name="connsiteX318" fmla="*/ 35484 w 416288"/>
                    <a:gd name="connsiteY318" fmla="*/ 359191 h 413223"/>
                    <a:gd name="connsiteX319" fmla="*/ 28247 w 416288"/>
                    <a:gd name="connsiteY319" fmla="*/ 350316 h 413223"/>
                    <a:gd name="connsiteX320" fmla="*/ 27424 w 416288"/>
                    <a:gd name="connsiteY320" fmla="*/ 348996 h 413223"/>
                    <a:gd name="connsiteX321" fmla="*/ 25664 w 416288"/>
                    <a:gd name="connsiteY321" fmla="*/ 345239 h 413223"/>
                    <a:gd name="connsiteX322" fmla="*/ 26519 w 416288"/>
                    <a:gd name="connsiteY322" fmla="*/ 341938 h 413223"/>
                    <a:gd name="connsiteX323" fmla="*/ 27579 w 416288"/>
                    <a:gd name="connsiteY323" fmla="*/ 337008 h 413223"/>
                    <a:gd name="connsiteX324" fmla="*/ 27717 w 416288"/>
                    <a:gd name="connsiteY324" fmla="*/ 334742 h 413223"/>
                    <a:gd name="connsiteX325" fmla="*/ 27212 w 416288"/>
                    <a:gd name="connsiteY325" fmla="*/ 332387 h 413223"/>
                    <a:gd name="connsiteX326" fmla="*/ 25395 w 416288"/>
                    <a:gd name="connsiteY326" fmla="*/ 330626 h 413223"/>
                    <a:gd name="connsiteX327" fmla="*/ 23765 w 416288"/>
                    <a:gd name="connsiteY327" fmla="*/ 330423 h 413223"/>
                    <a:gd name="connsiteX328" fmla="*/ 23040 w 416288"/>
                    <a:gd name="connsiteY328" fmla="*/ 329518 h 413223"/>
                    <a:gd name="connsiteX329" fmla="*/ 21630 w 416288"/>
                    <a:gd name="connsiteY329" fmla="*/ 328222 h 413223"/>
                    <a:gd name="connsiteX330" fmla="*/ 20236 w 416288"/>
                    <a:gd name="connsiteY330" fmla="*/ 327220 h 413223"/>
                    <a:gd name="connsiteX331" fmla="*/ 18997 w 416288"/>
                    <a:gd name="connsiteY331" fmla="*/ 325280 h 413223"/>
                    <a:gd name="connsiteX332" fmla="*/ 18133 w 416288"/>
                    <a:gd name="connsiteY332" fmla="*/ 322566 h 413223"/>
                    <a:gd name="connsiteX333" fmla="*/ 18736 w 416288"/>
                    <a:gd name="connsiteY333" fmla="*/ 312868 h 413223"/>
                    <a:gd name="connsiteX334" fmla="*/ 18329 w 416288"/>
                    <a:gd name="connsiteY334" fmla="*/ 311572 h 413223"/>
                    <a:gd name="connsiteX335" fmla="*/ 16487 w 416288"/>
                    <a:gd name="connsiteY335" fmla="*/ 311222 h 413223"/>
                    <a:gd name="connsiteX336" fmla="*/ 16047 w 416288"/>
                    <a:gd name="connsiteY336" fmla="*/ 310521 h 413223"/>
                    <a:gd name="connsiteX337" fmla="*/ 16128 w 416288"/>
                    <a:gd name="connsiteY337" fmla="*/ 308663 h 413223"/>
                    <a:gd name="connsiteX338" fmla="*/ 15134 w 416288"/>
                    <a:gd name="connsiteY338" fmla="*/ 303129 h 413223"/>
                    <a:gd name="connsiteX339" fmla="*/ 14009 w 416288"/>
                    <a:gd name="connsiteY339" fmla="*/ 298549 h 413223"/>
                    <a:gd name="connsiteX340" fmla="*/ 14613 w 416288"/>
                    <a:gd name="connsiteY340" fmla="*/ 296023 h 413223"/>
                    <a:gd name="connsiteX341" fmla="*/ 13072 w 416288"/>
                    <a:gd name="connsiteY341" fmla="*/ 292567 h 413223"/>
                    <a:gd name="connsiteX342" fmla="*/ 10122 w 416288"/>
                    <a:gd name="connsiteY342" fmla="*/ 291076 h 413223"/>
                    <a:gd name="connsiteX343" fmla="*/ 7343 w 416288"/>
                    <a:gd name="connsiteY343" fmla="*/ 291532 h 413223"/>
                    <a:gd name="connsiteX344" fmla="*/ 4352 w 416288"/>
                    <a:gd name="connsiteY344" fmla="*/ 292225 h 413223"/>
                    <a:gd name="connsiteX345" fmla="*/ 2551 w 416288"/>
                    <a:gd name="connsiteY345" fmla="*/ 292037 h 413223"/>
                    <a:gd name="connsiteX346" fmla="*/ 1312 w 416288"/>
                    <a:gd name="connsiteY346" fmla="*/ 291386 h 413223"/>
                    <a:gd name="connsiteX347" fmla="*/ 449 w 416288"/>
                    <a:gd name="connsiteY347" fmla="*/ 290122 h 413223"/>
                    <a:gd name="connsiteX348" fmla="*/ 0 w 416288"/>
                    <a:gd name="connsiteY348" fmla="*/ 288631 h 413223"/>
                    <a:gd name="connsiteX349" fmla="*/ 408 w 416288"/>
                    <a:gd name="connsiteY349" fmla="*/ 286373 h 413223"/>
                    <a:gd name="connsiteX350" fmla="*/ 2046 w 416288"/>
                    <a:gd name="connsiteY350" fmla="*/ 282241 h 413223"/>
                    <a:gd name="connsiteX351" fmla="*/ 4100 w 416288"/>
                    <a:gd name="connsiteY351" fmla="*/ 278843 h 413223"/>
                    <a:gd name="connsiteX352" fmla="*/ 8248 w 416288"/>
                    <a:gd name="connsiteY352" fmla="*/ 275754 h 413223"/>
                    <a:gd name="connsiteX353" fmla="*/ 9364 w 416288"/>
                    <a:gd name="connsiteY353" fmla="*/ 274108 h 413223"/>
                    <a:gd name="connsiteX354" fmla="*/ 9992 w 416288"/>
                    <a:gd name="connsiteY354" fmla="*/ 272274 h 413223"/>
                    <a:gd name="connsiteX355" fmla="*/ 10106 w 416288"/>
                    <a:gd name="connsiteY355" fmla="*/ 270172 h 413223"/>
                    <a:gd name="connsiteX356" fmla="*/ 9829 w 416288"/>
                    <a:gd name="connsiteY356" fmla="*/ 267963 h 413223"/>
                    <a:gd name="connsiteX357" fmla="*/ 9356 w 416288"/>
                    <a:gd name="connsiteY357" fmla="*/ 265942 h 413223"/>
                    <a:gd name="connsiteX358" fmla="*/ 8125 w 416288"/>
                    <a:gd name="connsiteY358" fmla="*/ 263261 h 413223"/>
                    <a:gd name="connsiteX359" fmla="*/ 7001 w 416288"/>
                    <a:gd name="connsiteY359" fmla="*/ 260115 h 413223"/>
                    <a:gd name="connsiteX360" fmla="*/ 6968 w 416288"/>
                    <a:gd name="connsiteY360" fmla="*/ 257996 h 413223"/>
                    <a:gd name="connsiteX361" fmla="*/ 7514 w 416288"/>
                    <a:gd name="connsiteY361" fmla="*/ 256464 h 413223"/>
                    <a:gd name="connsiteX362" fmla="*/ 8623 w 416288"/>
                    <a:gd name="connsiteY362" fmla="*/ 254630 h 413223"/>
                    <a:gd name="connsiteX363" fmla="*/ 10839 w 416288"/>
                    <a:gd name="connsiteY363" fmla="*/ 252560 h 413223"/>
                    <a:gd name="connsiteX364" fmla="*/ 11369 w 416288"/>
                    <a:gd name="connsiteY364" fmla="*/ 252145 h 413223"/>
                    <a:gd name="connsiteX365" fmla="*/ 12746 w 416288"/>
                    <a:gd name="connsiteY365" fmla="*/ 251036 h 413223"/>
                    <a:gd name="connsiteX366" fmla="*/ 13961 w 416288"/>
                    <a:gd name="connsiteY366" fmla="*/ 250229 h 413223"/>
                    <a:gd name="connsiteX367" fmla="*/ 16984 w 416288"/>
                    <a:gd name="connsiteY367" fmla="*/ 248037 h 413223"/>
                    <a:gd name="connsiteX368" fmla="*/ 17693 w 416288"/>
                    <a:gd name="connsiteY368" fmla="*/ 246994 h 413223"/>
                    <a:gd name="connsiteX369" fmla="*/ 17433 w 416288"/>
                    <a:gd name="connsiteY369" fmla="*/ 245731 h 413223"/>
                    <a:gd name="connsiteX370" fmla="*/ 16691 w 416288"/>
                    <a:gd name="connsiteY370" fmla="*/ 244704 h 413223"/>
                    <a:gd name="connsiteX371" fmla="*/ 15477 w 416288"/>
                    <a:gd name="connsiteY371" fmla="*/ 243278 h 413223"/>
                    <a:gd name="connsiteX372" fmla="*/ 15232 w 416288"/>
                    <a:gd name="connsiteY372" fmla="*/ 241509 h 413223"/>
                    <a:gd name="connsiteX373" fmla="*/ 14873 w 416288"/>
                    <a:gd name="connsiteY373" fmla="*/ 238502 h 413223"/>
                    <a:gd name="connsiteX374" fmla="*/ 14246 w 416288"/>
                    <a:gd name="connsiteY374" fmla="*/ 236579 h 413223"/>
                    <a:gd name="connsiteX375" fmla="*/ 13798 w 416288"/>
                    <a:gd name="connsiteY375" fmla="*/ 235177 h 413223"/>
                    <a:gd name="connsiteX376" fmla="*/ 14654 w 416288"/>
                    <a:gd name="connsiteY376" fmla="*/ 234117 h 413223"/>
                    <a:gd name="connsiteX377" fmla="*/ 15941 w 416288"/>
                    <a:gd name="connsiteY377" fmla="*/ 232650 h 413223"/>
                    <a:gd name="connsiteX378" fmla="*/ 17530 w 416288"/>
                    <a:gd name="connsiteY378" fmla="*/ 231762 h 413223"/>
                    <a:gd name="connsiteX379" fmla="*/ 20008 w 416288"/>
                    <a:gd name="connsiteY379" fmla="*/ 230988 h 413223"/>
                    <a:gd name="connsiteX380" fmla="*/ 20978 w 416288"/>
                    <a:gd name="connsiteY380" fmla="*/ 229936 h 413223"/>
                    <a:gd name="connsiteX381" fmla="*/ 21263 w 416288"/>
                    <a:gd name="connsiteY381" fmla="*/ 227923 h 413223"/>
                    <a:gd name="connsiteX382" fmla="*/ 21181 w 416288"/>
                    <a:gd name="connsiteY382" fmla="*/ 226008 h 413223"/>
                    <a:gd name="connsiteX383" fmla="*/ 22070 w 416288"/>
                    <a:gd name="connsiteY383" fmla="*/ 224590 h 413223"/>
                    <a:gd name="connsiteX384" fmla="*/ 23268 w 416288"/>
                    <a:gd name="connsiteY384" fmla="*/ 221534 h 413223"/>
                    <a:gd name="connsiteX385" fmla="*/ 24229 w 416288"/>
                    <a:gd name="connsiteY385" fmla="*/ 220141 h 413223"/>
                    <a:gd name="connsiteX386" fmla="*/ 25843 w 416288"/>
                    <a:gd name="connsiteY386" fmla="*/ 218543 h 413223"/>
                    <a:gd name="connsiteX387" fmla="*/ 27457 w 416288"/>
                    <a:gd name="connsiteY387" fmla="*/ 216546 h 413223"/>
                    <a:gd name="connsiteX388" fmla="*/ 28182 w 416288"/>
                    <a:gd name="connsiteY388" fmla="*/ 214232 h 413223"/>
                    <a:gd name="connsiteX389" fmla="*/ 28386 w 416288"/>
                    <a:gd name="connsiteY389" fmla="*/ 212007 h 413223"/>
                    <a:gd name="connsiteX390" fmla="*/ 27497 w 416288"/>
                    <a:gd name="connsiteY390" fmla="*/ 205243 h 413223"/>
                    <a:gd name="connsiteX391" fmla="*/ 29364 w 416288"/>
                    <a:gd name="connsiteY391" fmla="*/ 202415 h 413223"/>
                    <a:gd name="connsiteX392" fmla="*/ 31743 w 416288"/>
                    <a:gd name="connsiteY392" fmla="*/ 200076 h 413223"/>
                    <a:gd name="connsiteX393" fmla="*/ 35183 w 416288"/>
                    <a:gd name="connsiteY393" fmla="*/ 200239 h 413223"/>
                    <a:gd name="connsiteX394" fmla="*/ 40488 w 416288"/>
                    <a:gd name="connsiteY394" fmla="*/ 199725 h 413223"/>
                    <a:gd name="connsiteX395" fmla="*/ 44123 w 416288"/>
                    <a:gd name="connsiteY395" fmla="*/ 198747 h 413223"/>
                    <a:gd name="connsiteX396" fmla="*/ 46706 w 416288"/>
                    <a:gd name="connsiteY396" fmla="*/ 198780 h 413223"/>
                    <a:gd name="connsiteX397" fmla="*/ 52599 w 416288"/>
                    <a:gd name="connsiteY397" fmla="*/ 200043 h 413223"/>
                    <a:gd name="connsiteX398" fmla="*/ 53071 w 416288"/>
                    <a:gd name="connsiteY398" fmla="*/ 199742 h 413223"/>
                    <a:gd name="connsiteX399" fmla="*/ 53210 w 416288"/>
                    <a:gd name="connsiteY399" fmla="*/ 199497 h 413223"/>
                    <a:gd name="connsiteX400" fmla="*/ 53536 w 416288"/>
                    <a:gd name="connsiteY400" fmla="*/ 197704 h 413223"/>
                    <a:gd name="connsiteX401" fmla="*/ 53528 w 416288"/>
                    <a:gd name="connsiteY401" fmla="*/ 193189 h 413223"/>
                    <a:gd name="connsiteX402" fmla="*/ 53519 w 416288"/>
                    <a:gd name="connsiteY402" fmla="*/ 179563 h 413223"/>
                    <a:gd name="connsiteX403" fmla="*/ 53511 w 416288"/>
                    <a:gd name="connsiteY403" fmla="*/ 165928 h 413223"/>
                    <a:gd name="connsiteX404" fmla="*/ 53503 w 416288"/>
                    <a:gd name="connsiteY404" fmla="*/ 152278 h 413223"/>
                    <a:gd name="connsiteX405" fmla="*/ 53487 w 416288"/>
                    <a:gd name="connsiteY405" fmla="*/ 138602 h 413223"/>
                    <a:gd name="connsiteX406" fmla="*/ 53479 w 416288"/>
                    <a:gd name="connsiteY406" fmla="*/ 124919 h 413223"/>
                    <a:gd name="connsiteX407" fmla="*/ 53471 w 416288"/>
                    <a:gd name="connsiteY407" fmla="*/ 111211 h 413223"/>
                    <a:gd name="connsiteX408" fmla="*/ 53462 w 416288"/>
                    <a:gd name="connsiteY408" fmla="*/ 97487 h 413223"/>
                    <a:gd name="connsiteX409" fmla="*/ 53446 w 416288"/>
                    <a:gd name="connsiteY409" fmla="*/ 83747 h 413223"/>
                    <a:gd name="connsiteX410" fmla="*/ 53446 w 416288"/>
                    <a:gd name="connsiteY410" fmla="*/ 79900 h 413223"/>
                    <a:gd name="connsiteX411" fmla="*/ 53446 w 416288"/>
                    <a:gd name="connsiteY411" fmla="*/ 76053 h 413223"/>
                    <a:gd name="connsiteX412" fmla="*/ 53446 w 416288"/>
                    <a:gd name="connsiteY412" fmla="*/ 72207 h 413223"/>
                    <a:gd name="connsiteX413" fmla="*/ 53446 w 416288"/>
                    <a:gd name="connsiteY413" fmla="*/ 68352 h 413223"/>
                    <a:gd name="connsiteX414" fmla="*/ 59567 w 416288"/>
                    <a:gd name="connsiteY414" fmla="*/ 68352 h 413223"/>
                    <a:gd name="connsiteX415" fmla="*/ 65679 w 416288"/>
                    <a:gd name="connsiteY415" fmla="*/ 68360 h 413223"/>
                    <a:gd name="connsiteX416" fmla="*/ 71808 w 416288"/>
                    <a:gd name="connsiteY416" fmla="*/ 68360 h 413223"/>
                    <a:gd name="connsiteX417" fmla="*/ 77920 w 416288"/>
                    <a:gd name="connsiteY417" fmla="*/ 68360 h 413223"/>
                    <a:gd name="connsiteX418" fmla="*/ 78001 w 416288"/>
                    <a:gd name="connsiteY418" fmla="*/ 68311 h 413223"/>
                    <a:gd name="connsiteX419" fmla="*/ 78075 w 416288"/>
                    <a:gd name="connsiteY419" fmla="*/ 68254 h 413223"/>
                    <a:gd name="connsiteX420" fmla="*/ 78156 w 416288"/>
                    <a:gd name="connsiteY420" fmla="*/ 68197 h 413223"/>
                    <a:gd name="connsiteX421" fmla="*/ 78221 w 416288"/>
                    <a:gd name="connsiteY421" fmla="*/ 68148 h 413223"/>
                    <a:gd name="connsiteX422" fmla="*/ 78229 w 416288"/>
                    <a:gd name="connsiteY422" fmla="*/ 52745 h 413223"/>
                    <a:gd name="connsiteX423" fmla="*/ 78238 w 416288"/>
                    <a:gd name="connsiteY423" fmla="*/ 37334 h 413223"/>
                    <a:gd name="connsiteX424" fmla="*/ 78238 w 416288"/>
                    <a:gd name="connsiteY424" fmla="*/ 21882 h 413223"/>
                    <a:gd name="connsiteX425" fmla="*/ 78246 w 416288"/>
                    <a:gd name="connsiteY425" fmla="*/ 6414 h 413223"/>
                    <a:gd name="connsiteX426" fmla="*/ 87724 w 416288"/>
                    <a:gd name="connsiteY426" fmla="*/ 6414 h 413223"/>
                    <a:gd name="connsiteX427" fmla="*/ 97202 w 416288"/>
                    <a:gd name="connsiteY427" fmla="*/ 6422 h 413223"/>
                    <a:gd name="connsiteX428" fmla="*/ 106672 w 416288"/>
                    <a:gd name="connsiteY428" fmla="*/ 6422 h 413223"/>
                    <a:gd name="connsiteX429" fmla="*/ 116150 w 416288"/>
                    <a:gd name="connsiteY429" fmla="*/ 6422 h 413223"/>
                    <a:gd name="connsiteX430" fmla="*/ 125636 w 416288"/>
                    <a:gd name="connsiteY430" fmla="*/ 6422 h 413223"/>
                    <a:gd name="connsiteX431" fmla="*/ 135098 w 416288"/>
                    <a:gd name="connsiteY431" fmla="*/ 6422 h 413223"/>
                    <a:gd name="connsiteX432" fmla="*/ 144585 w 416288"/>
                    <a:gd name="connsiteY432" fmla="*/ 6430 h 413223"/>
                    <a:gd name="connsiteX433" fmla="*/ 154055 w 416288"/>
                    <a:gd name="connsiteY433" fmla="*/ 6430 h 413223"/>
                    <a:gd name="connsiteX434" fmla="*/ 163533 w 416288"/>
                    <a:gd name="connsiteY434" fmla="*/ 6430 h 413223"/>
                    <a:gd name="connsiteX435" fmla="*/ 173003 w 416288"/>
                    <a:gd name="connsiteY435" fmla="*/ 6430 h 413223"/>
                    <a:gd name="connsiteX436" fmla="*/ 182481 w 416288"/>
                    <a:gd name="connsiteY436" fmla="*/ 6430 h 413223"/>
                    <a:gd name="connsiteX437" fmla="*/ 191951 w 416288"/>
                    <a:gd name="connsiteY437" fmla="*/ 6438 h 413223"/>
                    <a:gd name="connsiteX438" fmla="*/ 201429 w 416288"/>
                    <a:gd name="connsiteY438" fmla="*/ 6438 h 413223"/>
                    <a:gd name="connsiteX439" fmla="*/ 210907 w 416288"/>
                    <a:gd name="connsiteY439" fmla="*/ 6446 h 413223"/>
                    <a:gd name="connsiteX440" fmla="*/ 220377 w 416288"/>
                    <a:gd name="connsiteY440" fmla="*/ 6446 h 413223"/>
                    <a:gd name="connsiteX441" fmla="*/ 229855 w 416288"/>
                    <a:gd name="connsiteY441" fmla="*/ 6446 h 413223"/>
                    <a:gd name="connsiteX442" fmla="*/ 232740 w 416288"/>
                    <a:gd name="connsiteY442" fmla="*/ 6446 h 413223"/>
                    <a:gd name="connsiteX443" fmla="*/ 234012 w 416288"/>
                    <a:gd name="connsiteY443" fmla="*/ 6218 h 413223"/>
                    <a:gd name="connsiteX444" fmla="*/ 236448 w 416288"/>
                    <a:gd name="connsiteY444" fmla="*/ 424 h 413223"/>
                    <a:gd name="connsiteX445" fmla="*/ 237475 w 416288"/>
                    <a:gd name="connsiteY445" fmla="*/ 0 h 413223"/>
                    <a:gd name="connsiteX446" fmla="*/ 239081 w 416288"/>
                    <a:gd name="connsiteY446" fmla="*/ 334 h 413223"/>
                    <a:gd name="connsiteX447" fmla="*/ 239610 w 416288"/>
                    <a:gd name="connsiteY447" fmla="*/ 1695 h 413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Lst>
                  <a:rect l="l" t="t" r="r" b="b"/>
                  <a:pathLst>
                    <a:path w="416288" h="413223">
                      <a:moveTo>
                        <a:pt x="239113" y="3651"/>
                      </a:moveTo>
                      <a:lnTo>
                        <a:pt x="238331" y="6414"/>
                      </a:lnTo>
                      <a:lnTo>
                        <a:pt x="242968" y="6414"/>
                      </a:lnTo>
                      <a:lnTo>
                        <a:pt x="251110" y="6414"/>
                      </a:lnTo>
                      <a:lnTo>
                        <a:pt x="259251" y="6414"/>
                      </a:lnTo>
                      <a:lnTo>
                        <a:pt x="267393" y="6414"/>
                      </a:lnTo>
                      <a:lnTo>
                        <a:pt x="275518" y="6406"/>
                      </a:lnTo>
                      <a:lnTo>
                        <a:pt x="283660" y="6406"/>
                      </a:lnTo>
                      <a:lnTo>
                        <a:pt x="291802" y="6406"/>
                      </a:lnTo>
                      <a:lnTo>
                        <a:pt x="299943" y="6397"/>
                      </a:lnTo>
                      <a:lnTo>
                        <a:pt x="308068" y="6397"/>
                      </a:lnTo>
                      <a:lnTo>
                        <a:pt x="316210" y="6397"/>
                      </a:lnTo>
                      <a:lnTo>
                        <a:pt x="324351" y="6397"/>
                      </a:lnTo>
                      <a:lnTo>
                        <a:pt x="332493" y="6397"/>
                      </a:lnTo>
                      <a:lnTo>
                        <a:pt x="340626" y="6397"/>
                      </a:lnTo>
                      <a:lnTo>
                        <a:pt x="348760" y="6389"/>
                      </a:lnTo>
                      <a:lnTo>
                        <a:pt x="356909" y="6389"/>
                      </a:lnTo>
                      <a:lnTo>
                        <a:pt x="365043" y="6389"/>
                      </a:lnTo>
                      <a:lnTo>
                        <a:pt x="373177" y="6389"/>
                      </a:lnTo>
                      <a:lnTo>
                        <a:pt x="373454" y="13463"/>
                      </a:lnTo>
                      <a:lnTo>
                        <a:pt x="374554" y="19127"/>
                      </a:lnTo>
                      <a:lnTo>
                        <a:pt x="378376" y="27204"/>
                      </a:lnTo>
                      <a:lnTo>
                        <a:pt x="381628" y="31547"/>
                      </a:lnTo>
                      <a:lnTo>
                        <a:pt x="382777" y="33943"/>
                      </a:lnTo>
                      <a:lnTo>
                        <a:pt x="382899" y="35060"/>
                      </a:lnTo>
                      <a:lnTo>
                        <a:pt x="382744" y="36079"/>
                      </a:lnTo>
                      <a:lnTo>
                        <a:pt x="381758" y="34905"/>
                      </a:lnTo>
                      <a:lnTo>
                        <a:pt x="380104" y="34098"/>
                      </a:lnTo>
                      <a:lnTo>
                        <a:pt x="379867" y="37872"/>
                      </a:lnTo>
                      <a:lnTo>
                        <a:pt x="380258" y="40561"/>
                      </a:lnTo>
                      <a:lnTo>
                        <a:pt x="380650" y="45598"/>
                      </a:lnTo>
                      <a:lnTo>
                        <a:pt x="382011" y="51025"/>
                      </a:lnTo>
                      <a:lnTo>
                        <a:pt x="381033" y="56029"/>
                      </a:lnTo>
                      <a:lnTo>
                        <a:pt x="381163" y="64497"/>
                      </a:lnTo>
                      <a:lnTo>
                        <a:pt x="382883" y="74643"/>
                      </a:lnTo>
                      <a:lnTo>
                        <a:pt x="382533" y="81122"/>
                      </a:lnTo>
                      <a:lnTo>
                        <a:pt x="385328" y="96216"/>
                      </a:lnTo>
                      <a:lnTo>
                        <a:pt x="388066" y="104585"/>
                      </a:lnTo>
                      <a:lnTo>
                        <a:pt x="389549" y="106647"/>
                      </a:lnTo>
                      <a:lnTo>
                        <a:pt x="391236" y="107739"/>
                      </a:lnTo>
                      <a:lnTo>
                        <a:pt x="394464" y="108448"/>
                      </a:lnTo>
                      <a:lnTo>
                        <a:pt x="399231" y="112711"/>
                      </a:lnTo>
                      <a:lnTo>
                        <a:pt x="403004" y="117193"/>
                      </a:lnTo>
                      <a:lnTo>
                        <a:pt x="404349" y="119548"/>
                      </a:lnTo>
                      <a:lnTo>
                        <a:pt x="406166" y="122124"/>
                      </a:lnTo>
                      <a:lnTo>
                        <a:pt x="407430" y="121659"/>
                      </a:lnTo>
                      <a:lnTo>
                        <a:pt x="408196" y="120975"/>
                      </a:lnTo>
                      <a:lnTo>
                        <a:pt x="409427" y="123061"/>
                      </a:lnTo>
                      <a:lnTo>
                        <a:pt x="415409" y="127535"/>
                      </a:lnTo>
                      <a:lnTo>
                        <a:pt x="416288" y="129629"/>
                      </a:lnTo>
                      <a:lnTo>
                        <a:pt x="414137" y="131667"/>
                      </a:lnTo>
                      <a:lnTo>
                        <a:pt x="411643" y="135179"/>
                      </a:lnTo>
                      <a:lnTo>
                        <a:pt x="411024" y="136581"/>
                      </a:lnTo>
                      <a:lnTo>
                        <a:pt x="410739" y="137413"/>
                      </a:lnTo>
                      <a:lnTo>
                        <a:pt x="410445" y="138447"/>
                      </a:lnTo>
                      <a:lnTo>
                        <a:pt x="409777" y="139491"/>
                      </a:lnTo>
                      <a:lnTo>
                        <a:pt x="408359" y="140917"/>
                      </a:lnTo>
                      <a:lnTo>
                        <a:pt x="407804" y="141536"/>
                      </a:lnTo>
                      <a:lnTo>
                        <a:pt x="407462" y="142514"/>
                      </a:lnTo>
                      <a:lnTo>
                        <a:pt x="406599" y="143158"/>
                      </a:lnTo>
                      <a:lnTo>
                        <a:pt x="405670" y="143191"/>
                      </a:lnTo>
                      <a:lnTo>
                        <a:pt x="404854" y="143631"/>
                      </a:lnTo>
                      <a:lnTo>
                        <a:pt x="403624" y="144307"/>
                      </a:lnTo>
                      <a:lnTo>
                        <a:pt x="401798" y="143957"/>
                      </a:lnTo>
                      <a:lnTo>
                        <a:pt x="399932" y="144576"/>
                      </a:lnTo>
                      <a:lnTo>
                        <a:pt x="399247" y="145350"/>
                      </a:lnTo>
                      <a:lnTo>
                        <a:pt x="397773" y="146027"/>
                      </a:lnTo>
                      <a:lnTo>
                        <a:pt x="396297" y="146173"/>
                      </a:lnTo>
                      <a:lnTo>
                        <a:pt x="395767" y="146402"/>
                      </a:lnTo>
                      <a:lnTo>
                        <a:pt x="394374" y="147551"/>
                      </a:lnTo>
                      <a:lnTo>
                        <a:pt x="392655" y="149148"/>
                      </a:lnTo>
                      <a:lnTo>
                        <a:pt x="390649" y="150167"/>
                      </a:lnTo>
                      <a:lnTo>
                        <a:pt x="389941" y="150501"/>
                      </a:lnTo>
                      <a:lnTo>
                        <a:pt x="389019" y="151609"/>
                      </a:lnTo>
                      <a:lnTo>
                        <a:pt x="387610" y="157094"/>
                      </a:lnTo>
                      <a:lnTo>
                        <a:pt x="386567" y="158537"/>
                      </a:lnTo>
                      <a:lnTo>
                        <a:pt x="384806" y="158683"/>
                      </a:lnTo>
                      <a:lnTo>
                        <a:pt x="382533" y="158683"/>
                      </a:lnTo>
                      <a:lnTo>
                        <a:pt x="380576" y="159164"/>
                      </a:lnTo>
                      <a:lnTo>
                        <a:pt x="377887" y="158553"/>
                      </a:lnTo>
                      <a:lnTo>
                        <a:pt x="376591" y="158618"/>
                      </a:lnTo>
                      <a:lnTo>
                        <a:pt x="376249" y="159800"/>
                      </a:lnTo>
                      <a:lnTo>
                        <a:pt x="375760" y="164518"/>
                      </a:lnTo>
                      <a:lnTo>
                        <a:pt x="375841" y="166532"/>
                      </a:lnTo>
                      <a:lnTo>
                        <a:pt x="374774" y="168919"/>
                      </a:lnTo>
                      <a:lnTo>
                        <a:pt x="373584" y="171910"/>
                      </a:lnTo>
                      <a:lnTo>
                        <a:pt x="374024" y="176955"/>
                      </a:lnTo>
                      <a:lnTo>
                        <a:pt x="374228" y="181951"/>
                      </a:lnTo>
                      <a:lnTo>
                        <a:pt x="372052" y="189457"/>
                      </a:lnTo>
                      <a:lnTo>
                        <a:pt x="371734" y="191184"/>
                      </a:lnTo>
                      <a:lnTo>
                        <a:pt x="369533" y="197134"/>
                      </a:lnTo>
                      <a:lnTo>
                        <a:pt x="368417" y="199351"/>
                      </a:lnTo>
                      <a:lnTo>
                        <a:pt x="365605" y="210451"/>
                      </a:lnTo>
                      <a:lnTo>
                        <a:pt x="364505" y="213873"/>
                      </a:lnTo>
                      <a:lnTo>
                        <a:pt x="362150" y="217467"/>
                      </a:lnTo>
                      <a:lnTo>
                        <a:pt x="362688" y="223319"/>
                      </a:lnTo>
                      <a:lnTo>
                        <a:pt x="363242" y="229513"/>
                      </a:lnTo>
                      <a:lnTo>
                        <a:pt x="363780" y="235356"/>
                      </a:lnTo>
                      <a:lnTo>
                        <a:pt x="364570" y="244109"/>
                      </a:lnTo>
                      <a:lnTo>
                        <a:pt x="362574" y="252267"/>
                      </a:lnTo>
                      <a:lnTo>
                        <a:pt x="362655" y="256717"/>
                      </a:lnTo>
                      <a:lnTo>
                        <a:pt x="361261" y="263277"/>
                      </a:lnTo>
                      <a:lnTo>
                        <a:pt x="360162" y="266301"/>
                      </a:lnTo>
                      <a:lnTo>
                        <a:pt x="359175" y="268110"/>
                      </a:lnTo>
                      <a:lnTo>
                        <a:pt x="358344" y="269968"/>
                      </a:lnTo>
                      <a:lnTo>
                        <a:pt x="356828" y="274051"/>
                      </a:lnTo>
                      <a:lnTo>
                        <a:pt x="355532" y="279446"/>
                      </a:lnTo>
                      <a:lnTo>
                        <a:pt x="354962" y="284972"/>
                      </a:lnTo>
                      <a:lnTo>
                        <a:pt x="354913" y="288174"/>
                      </a:lnTo>
                      <a:lnTo>
                        <a:pt x="354669" y="289641"/>
                      </a:lnTo>
                      <a:lnTo>
                        <a:pt x="354220" y="290570"/>
                      </a:lnTo>
                      <a:lnTo>
                        <a:pt x="351254" y="291182"/>
                      </a:lnTo>
                      <a:lnTo>
                        <a:pt x="347114" y="291825"/>
                      </a:lnTo>
                      <a:lnTo>
                        <a:pt x="344881" y="292551"/>
                      </a:lnTo>
                      <a:lnTo>
                        <a:pt x="343381" y="293684"/>
                      </a:lnTo>
                      <a:lnTo>
                        <a:pt x="341547" y="296300"/>
                      </a:lnTo>
                      <a:lnTo>
                        <a:pt x="337912" y="303472"/>
                      </a:lnTo>
                      <a:lnTo>
                        <a:pt x="336014" y="307856"/>
                      </a:lnTo>
                      <a:lnTo>
                        <a:pt x="333031" y="313871"/>
                      </a:lnTo>
                      <a:lnTo>
                        <a:pt x="329551" y="318125"/>
                      </a:lnTo>
                      <a:lnTo>
                        <a:pt x="328809" y="320195"/>
                      </a:lnTo>
                      <a:lnTo>
                        <a:pt x="328247" y="324033"/>
                      </a:lnTo>
                      <a:lnTo>
                        <a:pt x="326959" y="330121"/>
                      </a:lnTo>
                      <a:lnTo>
                        <a:pt x="325786" y="334449"/>
                      </a:lnTo>
                      <a:lnTo>
                        <a:pt x="325998" y="337929"/>
                      </a:lnTo>
                      <a:lnTo>
                        <a:pt x="324905" y="343959"/>
                      </a:lnTo>
                      <a:lnTo>
                        <a:pt x="325069" y="346901"/>
                      </a:lnTo>
                      <a:lnTo>
                        <a:pt x="323838" y="348540"/>
                      </a:lnTo>
                      <a:lnTo>
                        <a:pt x="322208" y="350096"/>
                      </a:lnTo>
                      <a:lnTo>
                        <a:pt x="321092" y="350479"/>
                      </a:lnTo>
                      <a:lnTo>
                        <a:pt x="318696" y="348711"/>
                      </a:lnTo>
                      <a:lnTo>
                        <a:pt x="316878" y="346910"/>
                      </a:lnTo>
                      <a:lnTo>
                        <a:pt x="316145" y="346437"/>
                      </a:lnTo>
                      <a:lnTo>
                        <a:pt x="314556" y="347561"/>
                      </a:lnTo>
                      <a:lnTo>
                        <a:pt x="312665" y="349224"/>
                      </a:lnTo>
                      <a:lnTo>
                        <a:pt x="310489" y="353128"/>
                      </a:lnTo>
                      <a:lnTo>
                        <a:pt x="308794" y="357072"/>
                      </a:lnTo>
                      <a:lnTo>
                        <a:pt x="309763" y="365418"/>
                      </a:lnTo>
                      <a:lnTo>
                        <a:pt x="309690" y="367251"/>
                      </a:lnTo>
                      <a:lnTo>
                        <a:pt x="309193" y="369248"/>
                      </a:lnTo>
                      <a:lnTo>
                        <a:pt x="306561" y="375466"/>
                      </a:lnTo>
                      <a:lnTo>
                        <a:pt x="305917" y="377430"/>
                      </a:lnTo>
                      <a:lnTo>
                        <a:pt x="304947" y="381155"/>
                      </a:lnTo>
                      <a:lnTo>
                        <a:pt x="303936" y="387683"/>
                      </a:lnTo>
                      <a:lnTo>
                        <a:pt x="303904" y="389247"/>
                      </a:lnTo>
                      <a:lnTo>
                        <a:pt x="303904" y="389247"/>
                      </a:lnTo>
                      <a:lnTo>
                        <a:pt x="303863" y="389247"/>
                      </a:lnTo>
                      <a:lnTo>
                        <a:pt x="299258" y="389223"/>
                      </a:lnTo>
                      <a:lnTo>
                        <a:pt x="299177" y="389182"/>
                      </a:lnTo>
                      <a:lnTo>
                        <a:pt x="299104" y="389101"/>
                      </a:lnTo>
                      <a:lnTo>
                        <a:pt x="299039" y="388954"/>
                      </a:lnTo>
                      <a:lnTo>
                        <a:pt x="298957" y="388758"/>
                      </a:lnTo>
                      <a:lnTo>
                        <a:pt x="298777" y="387903"/>
                      </a:lnTo>
                      <a:lnTo>
                        <a:pt x="298672" y="386566"/>
                      </a:lnTo>
                      <a:lnTo>
                        <a:pt x="298843" y="384260"/>
                      </a:lnTo>
                      <a:lnTo>
                        <a:pt x="299348" y="381522"/>
                      </a:lnTo>
                      <a:lnTo>
                        <a:pt x="300954" y="377675"/>
                      </a:lnTo>
                      <a:lnTo>
                        <a:pt x="301027" y="377357"/>
                      </a:lnTo>
                      <a:lnTo>
                        <a:pt x="301051" y="377178"/>
                      </a:lnTo>
                      <a:lnTo>
                        <a:pt x="301051" y="376966"/>
                      </a:lnTo>
                      <a:lnTo>
                        <a:pt x="300896" y="376273"/>
                      </a:lnTo>
                      <a:lnTo>
                        <a:pt x="300717" y="375686"/>
                      </a:lnTo>
                      <a:lnTo>
                        <a:pt x="300627" y="374790"/>
                      </a:lnTo>
                      <a:lnTo>
                        <a:pt x="300896" y="372793"/>
                      </a:lnTo>
                      <a:lnTo>
                        <a:pt x="300929" y="372166"/>
                      </a:lnTo>
                      <a:lnTo>
                        <a:pt x="300896" y="371367"/>
                      </a:lnTo>
                      <a:lnTo>
                        <a:pt x="300774" y="370862"/>
                      </a:lnTo>
                      <a:lnTo>
                        <a:pt x="299649" y="367528"/>
                      </a:lnTo>
                      <a:lnTo>
                        <a:pt x="299291" y="367007"/>
                      </a:lnTo>
                      <a:lnTo>
                        <a:pt x="288549" y="356379"/>
                      </a:lnTo>
                      <a:lnTo>
                        <a:pt x="286577" y="353503"/>
                      </a:lnTo>
                      <a:lnTo>
                        <a:pt x="286365" y="353307"/>
                      </a:lnTo>
                      <a:lnTo>
                        <a:pt x="286105" y="353152"/>
                      </a:lnTo>
                      <a:lnTo>
                        <a:pt x="280644" y="350740"/>
                      </a:lnTo>
                      <a:lnTo>
                        <a:pt x="280392" y="350487"/>
                      </a:lnTo>
                      <a:lnTo>
                        <a:pt x="280424" y="350137"/>
                      </a:lnTo>
                      <a:lnTo>
                        <a:pt x="280587" y="349672"/>
                      </a:lnTo>
                      <a:lnTo>
                        <a:pt x="281239" y="348279"/>
                      </a:lnTo>
                      <a:lnTo>
                        <a:pt x="281337" y="347912"/>
                      </a:lnTo>
                      <a:lnTo>
                        <a:pt x="281435" y="347342"/>
                      </a:lnTo>
                      <a:lnTo>
                        <a:pt x="278966" y="324930"/>
                      </a:lnTo>
                      <a:lnTo>
                        <a:pt x="278974" y="324490"/>
                      </a:lnTo>
                      <a:lnTo>
                        <a:pt x="279096" y="324196"/>
                      </a:lnTo>
                      <a:lnTo>
                        <a:pt x="279178" y="324017"/>
                      </a:lnTo>
                      <a:lnTo>
                        <a:pt x="279503" y="323544"/>
                      </a:lnTo>
                      <a:lnTo>
                        <a:pt x="279797" y="323039"/>
                      </a:lnTo>
                      <a:lnTo>
                        <a:pt x="280115" y="322175"/>
                      </a:lnTo>
                      <a:lnTo>
                        <a:pt x="280188" y="321857"/>
                      </a:lnTo>
                      <a:lnTo>
                        <a:pt x="280530" y="317856"/>
                      </a:lnTo>
                      <a:lnTo>
                        <a:pt x="280514" y="314335"/>
                      </a:lnTo>
                      <a:lnTo>
                        <a:pt x="281940" y="308484"/>
                      </a:lnTo>
                      <a:lnTo>
                        <a:pt x="282103" y="305990"/>
                      </a:lnTo>
                      <a:lnTo>
                        <a:pt x="270262" y="305819"/>
                      </a:lnTo>
                      <a:lnTo>
                        <a:pt x="270188" y="305949"/>
                      </a:lnTo>
                      <a:lnTo>
                        <a:pt x="270180" y="306096"/>
                      </a:lnTo>
                      <a:lnTo>
                        <a:pt x="270205" y="306275"/>
                      </a:lnTo>
                      <a:lnTo>
                        <a:pt x="270221" y="306462"/>
                      </a:lnTo>
                      <a:lnTo>
                        <a:pt x="270213" y="306854"/>
                      </a:lnTo>
                      <a:lnTo>
                        <a:pt x="270123" y="307579"/>
                      </a:lnTo>
                      <a:lnTo>
                        <a:pt x="270099" y="307970"/>
                      </a:lnTo>
                      <a:lnTo>
                        <a:pt x="270115" y="308353"/>
                      </a:lnTo>
                      <a:lnTo>
                        <a:pt x="270294" y="309763"/>
                      </a:lnTo>
                      <a:lnTo>
                        <a:pt x="270604" y="310814"/>
                      </a:lnTo>
                      <a:lnTo>
                        <a:pt x="270661" y="311165"/>
                      </a:lnTo>
                      <a:lnTo>
                        <a:pt x="270669" y="311548"/>
                      </a:lnTo>
                      <a:lnTo>
                        <a:pt x="270628" y="312273"/>
                      </a:lnTo>
                      <a:lnTo>
                        <a:pt x="254149" y="312371"/>
                      </a:lnTo>
                      <a:lnTo>
                        <a:pt x="260670" y="321165"/>
                      </a:lnTo>
                      <a:lnTo>
                        <a:pt x="260759" y="321344"/>
                      </a:lnTo>
                      <a:lnTo>
                        <a:pt x="260857" y="321825"/>
                      </a:lnTo>
                      <a:lnTo>
                        <a:pt x="260914" y="322167"/>
                      </a:lnTo>
                      <a:lnTo>
                        <a:pt x="261036" y="325264"/>
                      </a:lnTo>
                      <a:lnTo>
                        <a:pt x="260686" y="330154"/>
                      </a:lnTo>
                      <a:lnTo>
                        <a:pt x="260767" y="333308"/>
                      </a:lnTo>
                      <a:lnTo>
                        <a:pt x="261142" y="335353"/>
                      </a:lnTo>
                      <a:lnTo>
                        <a:pt x="262910" y="339371"/>
                      </a:lnTo>
                      <a:lnTo>
                        <a:pt x="262788" y="340121"/>
                      </a:lnTo>
                      <a:lnTo>
                        <a:pt x="262381" y="341074"/>
                      </a:lnTo>
                      <a:lnTo>
                        <a:pt x="250686" y="353014"/>
                      </a:lnTo>
                      <a:lnTo>
                        <a:pt x="250368" y="353568"/>
                      </a:lnTo>
                      <a:lnTo>
                        <a:pt x="248738" y="358547"/>
                      </a:lnTo>
                      <a:lnTo>
                        <a:pt x="247198" y="361440"/>
                      </a:lnTo>
                      <a:lnTo>
                        <a:pt x="246514" y="362272"/>
                      </a:lnTo>
                      <a:lnTo>
                        <a:pt x="243791" y="366339"/>
                      </a:lnTo>
                      <a:lnTo>
                        <a:pt x="233131" y="379060"/>
                      </a:lnTo>
                      <a:lnTo>
                        <a:pt x="231387" y="379916"/>
                      </a:lnTo>
                      <a:lnTo>
                        <a:pt x="226074" y="380266"/>
                      </a:lnTo>
                      <a:lnTo>
                        <a:pt x="223262" y="380356"/>
                      </a:lnTo>
                      <a:lnTo>
                        <a:pt x="222936" y="380446"/>
                      </a:lnTo>
                      <a:lnTo>
                        <a:pt x="222463" y="380674"/>
                      </a:lnTo>
                      <a:lnTo>
                        <a:pt x="222170" y="381000"/>
                      </a:lnTo>
                      <a:lnTo>
                        <a:pt x="221828" y="381244"/>
                      </a:lnTo>
                      <a:lnTo>
                        <a:pt x="221485" y="381114"/>
                      </a:lnTo>
                      <a:lnTo>
                        <a:pt x="221086" y="380772"/>
                      </a:lnTo>
                      <a:lnTo>
                        <a:pt x="214525" y="373641"/>
                      </a:lnTo>
                      <a:lnTo>
                        <a:pt x="202823" y="364635"/>
                      </a:lnTo>
                      <a:lnTo>
                        <a:pt x="201714" y="365450"/>
                      </a:lnTo>
                      <a:lnTo>
                        <a:pt x="195089" y="369321"/>
                      </a:lnTo>
                      <a:lnTo>
                        <a:pt x="193727" y="370332"/>
                      </a:lnTo>
                      <a:lnTo>
                        <a:pt x="192961" y="371049"/>
                      </a:lnTo>
                      <a:lnTo>
                        <a:pt x="192920" y="375377"/>
                      </a:lnTo>
                      <a:lnTo>
                        <a:pt x="191780" y="377585"/>
                      </a:lnTo>
                      <a:lnTo>
                        <a:pt x="189685" y="379989"/>
                      </a:lnTo>
                      <a:lnTo>
                        <a:pt x="183964" y="381513"/>
                      </a:lnTo>
                      <a:lnTo>
                        <a:pt x="180989" y="382817"/>
                      </a:lnTo>
                      <a:lnTo>
                        <a:pt x="177942" y="384765"/>
                      </a:lnTo>
                      <a:lnTo>
                        <a:pt x="177436" y="385254"/>
                      </a:lnTo>
                      <a:lnTo>
                        <a:pt x="177436" y="385246"/>
                      </a:lnTo>
                      <a:lnTo>
                        <a:pt x="176271" y="386590"/>
                      </a:lnTo>
                      <a:lnTo>
                        <a:pt x="173964" y="389321"/>
                      </a:lnTo>
                      <a:lnTo>
                        <a:pt x="173720" y="391432"/>
                      </a:lnTo>
                      <a:lnTo>
                        <a:pt x="174095" y="393331"/>
                      </a:lnTo>
                      <a:lnTo>
                        <a:pt x="154364" y="393249"/>
                      </a:lnTo>
                      <a:lnTo>
                        <a:pt x="153060" y="391733"/>
                      </a:lnTo>
                      <a:lnTo>
                        <a:pt x="150314" y="385083"/>
                      </a:lnTo>
                      <a:lnTo>
                        <a:pt x="150184" y="385026"/>
                      </a:lnTo>
                      <a:lnTo>
                        <a:pt x="148179" y="385433"/>
                      </a:lnTo>
                      <a:lnTo>
                        <a:pt x="130184" y="384651"/>
                      </a:lnTo>
                      <a:lnTo>
                        <a:pt x="127617" y="385352"/>
                      </a:lnTo>
                      <a:lnTo>
                        <a:pt x="122474" y="388106"/>
                      </a:lnTo>
                      <a:lnTo>
                        <a:pt x="119883" y="388563"/>
                      </a:lnTo>
                      <a:lnTo>
                        <a:pt x="117210" y="387308"/>
                      </a:lnTo>
                      <a:lnTo>
                        <a:pt x="107748" y="374040"/>
                      </a:lnTo>
                      <a:lnTo>
                        <a:pt x="105694" y="372451"/>
                      </a:lnTo>
                      <a:lnTo>
                        <a:pt x="104961" y="371595"/>
                      </a:lnTo>
                      <a:lnTo>
                        <a:pt x="103559" y="369281"/>
                      </a:lnTo>
                      <a:lnTo>
                        <a:pt x="101538" y="367895"/>
                      </a:lnTo>
                      <a:lnTo>
                        <a:pt x="100853" y="366884"/>
                      </a:lnTo>
                      <a:lnTo>
                        <a:pt x="100633" y="365475"/>
                      </a:lnTo>
                      <a:lnTo>
                        <a:pt x="100690" y="362557"/>
                      </a:lnTo>
                      <a:lnTo>
                        <a:pt x="100022" y="360740"/>
                      </a:lnTo>
                      <a:lnTo>
                        <a:pt x="98530" y="360316"/>
                      </a:lnTo>
                      <a:lnTo>
                        <a:pt x="85809" y="363397"/>
                      </a:lnTo>
                      <a:lnTo>
                        <a:pt x="83983" y="363054"/>
                      </a:lnTo>
                      <a:lnTo>
                        <a:pt x="81326" y="363600"/>
                      </a:lnTo>
                      <a:lnTo>
                        <a:pt x="80398" y="364138"/>
                      </a:lnTo>
                      <a:lnTo>
                        <a:pt x="79330" y="365890"/>
                      </a:lnTo>
                      <a:lnTo>
                        <a:pt x="79110" y="367699"/>
                      </a:lnTo>
                      <a:lnTo>
                        <a:pt x="79151" y="369525"/>
                      </a:lnTo>
                      <a:lnTo>
                        <a:pt x="78816" y="371342"/>
                      </a:lnTo>
                      <a:lnTo>
                        <a:pt x="77846" y="373339"/>
                      </a:lnTo>
                      <a:lnTo>
                        <a:pt x="74220" y="377838"/>
                      </a:lnTo>
                      <a:lnTo>
                        <a:pt x="73405" y="379802"/>
                      </a:lnTo>
                      <a:lnTo>
                        <a:pt x="73584" y="384765"/>
                      </a:lnTo>
                      <a:lnTo>
                        <a:pt x="73348" y="387259"/>
                      </a:lnTo>
                      <a:lnTo>
                        <a:pt x="72793" y="388424"/>
                      </a:lnTo>
                      <a:lnTo>
                        <a:pt x="71221" y="390323"/>
                      </a:lnTo>
                      <a:lnTo>
                        <a:pt x="70650" y="391423"/>
                      </a:lnTo>
                      <a:lnTo>
                        <a:pt x="70373" y="392964"/>
                      </a:lnTo>
                      <a:lnTo>
                        <a:pt x="70300" y="396224"/>
                      </a:lnTo>
                      <a:lnTo>
                        <a:pt x="70006" y="397756"/>
                      </a:lnTo>
                      <a:lnTo>
                        <a:pt x="68026" y="401594"/>
                      </a:lnTo>
                      <a:lnTo>
                        <a:pt x="67578" y="402947"/>
                      </a:lnTo>
                      <a:lnTo>
                        <a:pt x="67447" y="405718"/>
                      </a:lnTo>
                      <a:lnTo>
                        <a:pt x="67129" y="406557"/>
                      </a:lnTo>
                      <a:lnTo>
                        <a:pt x="61384" y="408750"/>
                      </a:lnTo>
                      <a:lnTo>
                        <a:pt x="59232" y="410143"/>
                      </a:lnTo>
                      <a:lnTo>
                        <a:pt x="57920" y="412303"/>
                      </a:lnTo>
                      <a:lnTo>
                        <a:pt x="57586" y="413224"/>
                      </a:lnTo>
                      <a:lnTo>
                        <a:pt x="57586" y="413224"/>
                      </a:lnTo>
                      <a:lnTo>
                        <a:pt x="55133" y="412450"/>
                      </a:lnTo>
                      <a:lnTo>
                        <a:pt x="52004" y="411895"/>
                      </a:lnTo>
                      <a:lnTo>
                        <a:pt x="45981" y="411211"/>
                      </a:lnTo>
                      <a:lnTo>
                        <a:pt x="43601" y="410208"/>
                      </a:lnTo>
                      <a:lnTo>
                        <a:pt x="42468" y="408701"/>
                      </a:lnTo>
                      <a:lnTo>
                        <a:pt x="42819" y="404862"/>
                      </a:lnTo>
                      <a:lnTo>
                        <a:pt x="42232" y="404039"/>
                      </a:lnTo>
                      <a:lnTo>
                        <a:pt x="41263" y="403355"/>
                      </a:lnTo>
                      <a:lnTo>
                        <a:pt x="40618" y="401692"/>
                      </a:lnTo>
                      <a:lnTo>
                        <a:pt x="40757" y="399695"/>
                      </a:lnTo>
                      <a:lnTo>
                        <a:pt x="43927" y="395262"/>
                      </a:lnTo>
                      <a:lnTo>
                        <a:pt x="44579" y="392890"/>
                      </a:lnTo>
                      <a:lnTo>
                        <a:pt x="45076" y="384651"/>
                      </a:lnTo>
                      <a:lnTo>
                        <a:pt x="45418" y="381741"/>
                      </a:lnTo>
                      <a:lnTo>
                        <a:pt x="45166" y="378343"/>
                      </a:lnTo>
                      <a:lnTo>
                        <a:pt x="42656" y="372100"/>
                      </a:lnTo>
                      <a:lnTo>
                        <a:pt x="40464" y="367748"/>
                      </a:lnTo>
                      <a:lnTo>
                        <a:pt x="36878" y="361302"/>
                      </a:lnTo>
                      <a:lnTo>
                        <a:pt x="35484" y="359191"/>
                      </a:lnTo>
                      <a:lnTo>
                        <a:pt x="28247" y="350316"/>
                      </a:lnTo>
                      <a:lnTo>
                        <a:pt x="27424" y="348996"/>
                      </a:lnTo>
                      <a:lnTo>
                        <a:pt x="25664" y="345239"/>
                      </a:lnTo>
                      <a:lnTo>
                        <a:pt x="26519" y="341938"/>
                      </a:lnTo>
                      <a:lnTo>
                        <a:pt x="27579" y="337008"/>
                      </a:lnTo>
                      <a:lnTo>
                        <a:pt x="27717" y="334742"/>
                      </a:lnTo>
                      <a:lnTo>
                        <a:pt x="27212" y="332387"/>
                      </a:lnTo>
                      <a:lnTo>
                        <a:pt x="25395" y="330626"/>
                      </a:lnTo>
                      <a:lnTo>
                        <a:pt x="23765" y="330423"/>
                      </a:lnTo>
                      <a:lnTo>
                        <a:pt x="23040" y="329518"/>
                      </a:lnTo>
                      <a:lnTo>
                        <a:pt x="21630" y="328222"/>
                      </a:lnTo>
                      <a:lnTo>
                        <a:pt x="20236" y="327220"/>
                      </a:lnTo>
                      <a:lnTo>
                        <a:pt x="18997" y="325280"/>
                      </a:lnTo>
                      <a:lnTo>
                        <a:pt x="18133" y="322566"/>
                      </a:lnTo>
                      <a:lnTo>
                        <a:pt x="18736" y="312868"/>
                      </a:lnTo>
                      <a:lnTo>
                        <a:pt x="18329" y="311572"/>
                      </a:lnTo>
                      <a:lnTo>
                        <a:pt x="16487" y="311222"/>
                      </a:lnTo>
                      <a:lnTo>
                        <a:pt x="16047" y="310521"/>
                      </a:lnTo>
                      <a:lnTo>
                        <a:pt x="16128" y="308663"/>
                      </a:lnTo>
                      <a:lnTo>
                        <a:pt x="15134" y="303129"/>
                      </a:lnTo>
                      <a:lnTo>
                        <a:pt x="14009" y="298549"/>
                      </a:lnTo>
                      <a:lnTo>
                        <a:pt x="14613" y="296023"/>
                      </a:lnTo>
                      <a:lnTo>
                        <a:pt x="13072" y="292567"/>
                      </a:lnTo>
                      <a:lnTo>
                        <a:pt x="10122" y="291076"/>
                      </a:lnTo>
                      <a:lnTo>
                        <a:pt x="7343" y="291532"/>
                      </a:lnTo>
                      <a:lnTo>
                        <a:pt x="4352" y="292225"/>
                      </a:lnTo>
                      <a:lnTo>
                        <a:pt x="2551" y="292037"/>
                      </a:lnTo>
                      <a:lnTo>
                        <a:pt x="1312" y="291386"/>
                      </a:lnTo>
                      <a:lnTo>
                        <a:pt x="449" y="290122"/>
                      </a:lnTo>
                      <a:lnTo>
                        <a:pt x="0" y="288631"/>
                      </a:lnTo>
                      <a:lnTo>
                        <a:pt x="408" y="286373"/>
                      </a:lnTo>
                      <a:lnTo>
                        <a:pt x="2046" y="282241"/>
                      </a:lnTo>
                      <a:lnTo>
                        <a:pt x="4100" y="278843"/>
                      </a:lnTo>
                      <a:lnTo>
                        <a:pt x="8248" y="275754"/>
                      </a:lnTo>
                      <a:lnTo>
                        <a:pt x="9364" y="274108"/>
                      </a:lnTo>
                      <a:lnTo>
                        <a:pt x="9992" y="272274"/>
                      </a:lnTo>
                      <a:lnTo>
                        <a:pt x="10106" y="270172"/>
                      </a:lnTo>
                      <a:lnTo>
                        <a:pt x="9829" y="267963"/>
                      </a:lnTo>
                      <a:lnTo>
                        <a:pt x="9356" y="265942"/>
                      </a:lnTo>
                      <a:lnTo>
                        <a:pt x="8125" y="263261"/>
                      </a:lnTo>
                      <a:lnTo>
                        <a:pt x="7001" y="260115"/>
                      </a:lnTo>
                      <a:lnTo>
                        <a:pt x="6968" y="257996"/>
                      </a:lnTo>
                      <a:lnTo>
                        <a:pt x="7514" y="256464"/>
                      </a:lnTo>
                      <a:lnTo>
                        <a:pt x="8623" y="254630"/>
                      </a:lnTo>
                      <a:lnTo>
                        <a:pt x="10839" y="252560"/>
                      </a:lnTo>
                      <a:lnTo>
                        <a:pt x="11369" y="252145"/>
                      </a:lnTo>
                      <a:lnTo>
                        <a:pt x="12746" y="251036"/>
                      </a:lnTo>
                      <a:lnTo>
                        <a:pt x="13961" y="250229"/>
                      </a:lnTo>
                      <a:lnTo>
                        <a:pt x="16984" y="248037"/>
                      </a:lnTo>
                      <a:lnTo>
                        <a:pt x="17693" y="246994"/>
                      </a:lnTo>
                      <a:lnTo>
                        <a:pt x="17433" y="245731"/>
                      </a:lnTo>
                      <a:lnTo>
                        <a:pt x="16691" y="244704"/>
                      </a:lnTo>
                      <a:lnTo>
                        <a:pt x="15477" y="243278"/>
                      </a:lnTo>
                      <a:lnTo>
                        <a:pt x="15232" y="241509"/>
                      </a:lnTo>
                      <a:lnTo>
                        <a:pt x="14873" y="238502"/>
                      </a:lnTo>
                      <a:lnTo>
                        <a:pt x="14246" y="236579"/>
                      </a:lnTo>
                      <a:lnTo>
                        <a:pt x="13798" y="235177"/>
                      </a:lnTo>
                      <a:lnTo>
                        <a:pt x="14654" y="234117"/>
                      </a:lnTo>
                      <a:lnTo>
                        <a:pt x="15941" y="232650"/>
                      </a:lnTo>
                      <a:lnTo>
                        <a:pt x="17530" y="231762"/>
                      </a:lnTo>
                      <a:lnTo>
                        <a:pt x="20008" y="230988"/>
                      </a:lnTo>
                      <a:lnTo>
                        <a:pt x="20978" y="229936"/>
                      </a:lnTo>
                      <a:lnTo>
                        <a:pt x="21263" y="227923"/>
                      </a:lnTo>
                      <a:lnTo>
                        <a:pt x="21181" y="226008"/>
                      </a:lnTo>
                      <a:lnTo>
                        <a:pt x="22070" y="224590"/>
                      </a:lnTo>
                      <a:lnTo>
                        <a:pt x="23268" y="221534"/>
                      </a:lnTo>
                      <a:lnTo>
                        <a:pt x="24229" y="220141"/>
                      </a:lnTo>
                      <a:lnTo>
                        <a:pt x="25843" y="218543"/>
                      </a:lnTo>
                      <a:lnTo>
                        <a:pt x="27457" y="216546"/>
                      </a:lnTo>
                      <a:lnTo>
                        <a:pt x="28182" y="214232"/>
                      </a:lnTo>
                      <a:lnTo>
                        <a:pt x="28386" y="212007"/>
                      </a:lnTo>
                      <a:lnTo>
                        <a:pt x="27497" y="205243"/>
                      </a:lnTo>
                      <a:lnTo>
                        <a:pt x="29364" y="202415"/>
                      </a:lnTo>
                      <a:lnTo>
                        <a:pt x="31743" y="200076"/>
                      </a:lnTo>
                      <a:lnTo>
                        <a:pt x="35183" y="200239"/>
                      </a:lnTo>
                      <a:lnTo>
                        <a:pt x="40488" y="199725"/>
                      </a:lnTo>
                      <a:lnTo>
                        <a:pt x="44123" y="198747"/>
                      </a:lnTo>
                      <a:lnTo>
                        <a:pt x="46706" y="198780"/>
                      </a:lnTo>
                      <a:lnTo>
                        <a:pt x="52599" y="200043"/>
                      </a:lnTo>
                      <a:lnTo>
                        <a:pt x="53071" y="199742"/>
                      </a:lnTo>
                      <a:lnTo>
                        <a:pt x="53210" y="199497"/>
                      </a:lnTo>
                      <a:lnTo>
                        <a:pt x="53536" y="197704"/>
                      </a:lnTo>
                      <a:lnTo>
                        <a:pt x="53528" y="193189"/>
                      </a:lnTo>
                      <a:lnTo>
                        <a:pt x="53519" y="179563"/>
                      </a:lnTo>
                      <a:lnTo>
                        <a:pt x="53511" y="165928"/>
                      </a:lnTo>
                      <a:lnTo>
                        <a:pt x="53503" y="152278"/>
                      </a:lnTo>
                      <a:lnTo>
                        <a:pt x="53487" y="138602"/>
                      </a:lnTo>
                      <a:lnTo>
                        <a:pt x="53479" y="124919"/>
                      </a:lnTo>
                      <a:lnTo>
                        <a:pt x="53471" y="111211"/>
                      </a:lnTo>
                      <a:lnTo>
                        <a:pt x="53462" y="97487"/>
                      </a:lnTo>
                      <a:lnTo>
                        <a:pt x="53446" y="83747"/>
                      </a:lnTo>
                      <a:lnTo>
                        <a:pt x="53446" y="79900"/>
                      </a:lnTo>
                      <a:lnTo>
                        <a:pt x="53446" y="76053"/>
                      </a:lnTo>
                      <a:lnTo>
                        <a:pt x="53446" y="72207"/>
                      </a:lnTo>
                      <a:lnTo>
                        <a:pt x="53446" y="68352"/>
                      </a:lnTo>
                      <a:lnTo>
                        <a:pt x="59567" y="68352"/>
                      </a:lnTo>
                      <a:lnTo>
                        <a:pt x="65679" y="68360"/>
                      </a:lnTo>
                      <a:lnTo>
                        <a:pt x="71808" y="68360"/>
                      </a:lnTo>
                      <a:lnTo>
                        <a:pt x="77920" y="68360"/>
                      </a:lnTo>
                      <a:lnTo>
                        <a:pt x="78001" y="68311"/>
                      </a:lnTo>
                      <a:lnTo>
                        <a:pt x="78075" y="68254"/>
                      </a:lnTo>
                      <a:lnTo>
                        <a:pt x="78156" y="68197"/>
                      </a:lnTo>
                      <a:lnTo>
                        <a:pt x="78221" y="68148"/>
                      </a:lnTo>
                      <a:lnTo>
                        <a:pt x="78229" y="52745"/>
                      </a:lnTo>
                      <a:lnTo>
                        <a:pt x="78238" y="37334"/>
                      </a:lnTo>
                      <a:lnTo>
                        <a:pt x="78238" y="21882"/>
                      </a:lnTo>
                      <a:lnTo>
                        <a:pt x="78246" y="6414"/>
                      </a:lnTo>
                      <a:lnTo>
                        <a:pt x="87724" y="6414"/>
                      </a:lnTo>
                      <a:lnTo>
                        <a:pt x="97202" y="6422"/>
                      </a:lnTo>
                      <a:lnTo>
                        <a:pt x="106672" y="6422"/>
                      </a:lnTo>
                      <a:lnTo>
                        <a:pt x="116150" y="6422"/>
                      </a:lnTo>
                      <a:lnTo>
                        <a:pt x="125636" y="6422"/>
                      </a:lnTo>
                      <a:lnTo>
                        <a:pt x="135098" y="6422"/>
                      </a:lnTo>
                      <a:lnTo>
                        <a:pt x="144585" y="6430"/>
                      </a:lnTo>
                      <a:lnTo>
                        <a:pt x="154055" y="6430"/>
                      </a:lnTo>
                      <a:lnTo>
                        <a:pt x="163533" y="6430"/>
                      </a:lnTo>
                      <a:lnTo>
                        <a:pt x="173003" y="6430"/>
                      </a:lnTo>
                      <a:lnTo>
                        <a:pt x="182481" y="6430"/>
                      </a:lnTo>
                      <a:lnTo>
                        <a:pt x="191951" y="6438"/>
                      </a:lnTo>
                      <a:lnTo>
                        <a:pt x="201429" y="6438"/>
                      </a:lnTo>
                      <a:lnTo>
                        <a:pt x="210907" y="6446"/>
                      </a:lnTo>
                      <a:lnTo>
                        <a:pt x="220377" y="6446"/>
                      </a:lnTo>
                      <a:lnTo>
                        <a:pt x="229855" y="6446"/>
                      </a:lnTo>
                      <a:lnTo>
                        <a:pt x="232740" y="6446"/>
                      </a:lnTo>
                      <a:lnTo>
                        <a:pt x="234012" y="6218"/>
                      </a:lnTo>
                      <a:lnTo>
                        <a:pt x="236448" y="424"/>
                      </a:lnTo>
                      <a:lnTo>
                        <a:pt x="237475" y="0"/>
                      </a:lnTo>
                      <a:lnTo>
                        <a:pt x="239081" y="334"/>
                      </a:lnTo>
                      <a:lnTo>
                        <a:pt x="239610" y="1695"/>
                      </a:lnTo>
                      <a:close/>
                    </a:path>
                  </a:pathLst>
                </a:custGeom>
                <a:solidFill>
                  <a:srgbClr val="D6D6D2"/>
                </a:solidFill>
                <a:ln w="6112" cap="rnd">
                  <a:solidFill>
                    <a:srgbClr val="FFFFFF"/>
                  </a:solidFill>
                  <a:prstDash val="solid"/>
                  <a:round/>
                </a:ln>
              </p:spPr>
              <p:txBody>
                <a:bodyPr rtlCol="0" anchor="ctr"/>
                <a:lstStyle/>
                <a:p>
                  <a:endParaRPr lang="en-US"/>
                </a:p>
              </p:txBody>
            </p:sp>
            <p:sp>
              <p:nvSpPr>
                <p:cNvPr id="584" name="Freeform: Shape 583">
                  <a:extLst>
                    <a:ext uri="{FF2B5EF4-FFF2-40B4-BE49-F238E27FC236}">
                      <a16:creationId xmlns:a16="http://schemas.microsoft.com/office/drawing/2014/main" id="{24F3F563-2ACF-4DBE-A9E8-A000778F8683}"/>
                    </a:ext>
                  </a:extLst>
                </p:cNvPr>
                <p:cNvSpPr/>
                <p:nvPr/>
              </p:nvSpPr>
              <p:spPr>
                <a:xfrm>
                  <a:off x="6802280" y="3536708"/>
                  <a:ext cx="521370" cy="494264"/>
                </a:xfrm>
                <a:custGeom>
                  <a:avLst/>
                  <a:gdLst>
                    <a:gd name="connsiteX0" fmla="*/ 250417 w 521370"/>
                    <a:gd name="connsiteY0" fmla="*/ 94358 h 494264"/>
                    <a:gd name="connsiteX1" fmla="*/ 258705 w 521370"/>
                    <a:gd name="connsiteY1" fmla="*/ 95205 h 494264"/>
                    <a:gd name="connsiteX2" fmla="*/ 269829 w 521370"/>
                    <a:gd name="connsiteY2" fmla="*/ 96346 h 494264"/>
                    <a:gd name="connsiteX3" fmla="*/ 281003 w 521370"/>
                    <a:gd name="connsiteY3" fmla="*/ 97487 h 494264"/>
                    <a:gd name="connsiteX4" fmla="*/ 291092 w 521370"/>
                    <a:gd name="connsiteY4" fmla="*/ 98514 h 494264"/>
                    <a:gd name="connsiteX5" fmla="*/ 295436 w 521370"/>
                    <a:gd name="connsiteY5" fmla="*/ 97479 h 494264"/>
                    <a:gd name="connsiteX6" fmla="*/ 300228 w 521370"/>
                    <a:gd name="connsiteY6" fmla="*/ 98164 h 494264"/>
                    <a:gd name="connsiteX7" fmla="*/ 306609 w 521370"/>
                    <a:gd name="connsiteY7" fmla="*/ 99093 h 494264"/>
                    <a:gd name="connsiteX8" fmla="*/ 310505 w 521370"/>
                    <a:gd name="connsiteY8" fmla="*/ 99720 h 494264"/>
                    <a:gd name="connsiteX9" fmla="*/ 317807 w 521370"/>
                    <a:gd name="connsiteY9" fmla="*/ 100894 h 494264"/>
                    <a:gd name="connsiteX10" fmla="*/ 319999 w 521370"/>
                    <a:gd name="connsiteY10" fmla="*/ 105734 h 494264"/>
                    <a:gd name="connsiteX11" fmla="*/ 320790 w 521370"/>
                    <a:gd name="connsiteY11" fmla="*/ 109125 h 494264"/>
                    <a:gd name="connsiteX12" fmla="*/ 321531 w 521370"/>
                    <a:gd name="connsiteY12" fmla="*/ 112426 h 494264"/>
                    <a:gd name="connsiteX13" fmla="*/ 323724 w 521370"/>
                    <a:gd name="connsiteY13" fmla="*/ 115449 h 494264"/>
                    <a:gd name="connsiteX14" fmla="*/ 328695 w 521370"/>
                    <a:gd name="connsiteY14" fmla="*/ 115376 h 494264"/>
                    <a:gd name="connsiteX15" fmla="*/ 333104 w 521370"/>
                    <a:gd name="connsiteY15" fmla="*/ 115311 h 494264"/>
                    <a:gd name="connsiteX16" fmla="*/ 338540 w 521370"/>
                    <a:gd name="connsiteY16" fmla="*/ 115213 h 494264"/>
                    <a:gd name="connsiteX17" fmla="*/ 342851 w 521370"/>
                    <a:gd name="connsiteY17" fmla="*/ 115139 h 494264"/>
                    <a:gd name="connsiteX18" fmla="*/ 344228 w 521370"/>
                    <a:gd name="connsiteY18" fmla="*/ 118138 h 494264"/>
                    <a:gd name="connsiteX19" fmla="*/ 344840 w 521370"/>
                    <a:gd name="connsiteY19" fmla="*/ 121121 h 494264"/>
                    <a:gd name="connsiteX20" fmla="*/ 347398 w 521370"/>
                    <a:gd name="connsiteY20" fmla="*/ 128212 h 494264"/>
                    <a:gd name="connsiteX21" fmla="*/ 351049 w 521370"/>
                    <a:gd name="connsiteY21" fmla="*/ 133721 h 494264"/>
                    <a:gd name="connsiteX22" fmla="*/ 351930 w 521370"/>
                    <a:gd name="connsiteY22" fmla="*/ 135734 h 494264"/>
                    <a:gd name="connsiteX23" fmla="*/ 352508 w 521370"/>
                    <a:gd name="connsiteY23" fmla="*/ 138757 h 494264"/>
                    <a:gd name="connsiteX24" fmla="*/ 351881 w 521370"/>
                    <a:gd name="connsiteY24" fmla="*/ 139882 h 494264"/>
                    <a:gd name="connsiteX25" fmla="*/ 351636 w 521370"/>
                    <a:gd name="connsiteY25" fmla="*/ 141186 h 494264"/>
                    <a:gd name="connsiteX26" fmla="*/ 354342 w 521370"/>
                    <a:gd name="connsiteY26" fmla="*/ 144209 h 494264"/>
                    <a:gd name="connsiteX27" fmla="*/ 358825 w 521370"/>
                    <a:gd name="connsiteY27" fmla="*/ 146768 h 494264"/>
                    <a:gd name="connsiteX28" fmla="*/ 360568 w 521370"/>
                    <a:gd name="connsiteY28" fmla="*/ 147412 h 494264"/>
                    <a:gd name="connsiteX29" fmla="*/ 362549 w 521370"/>
                    <a:gd name="connsiteY29" fmla="*/ 148545 h 494264"/>
                    <a:gd name="connsiteX30" fmla="*/ 361017 w 521370"/>
                    <a:gd name="connsiteY30" fmla="*/ 150289 h 494264"/>
                    <a:gd name="connsiteX31" fmla="*/ 363649 w 521370"/>
                    <a:gd name="connsiteY31" fmla="*/ 154323 h 494264"/>
                    <a:gd name="connsiteX32" fmla="*/ 366722 w 521370"/>
                    <a:gd name="connsiteY32" fmla="*/ 158431 h 494264"/>
                    <a:gd name="connsiteX33" fmla="*/ 369998 w 521370"/>
                    <a:gd name="connsiteY33" fmla="*/ 159352 h 494264"/>
                    <a:gd name="connsiteX34" fmla="*/ 374431 w 521370"/>
                    <a:gd name="connsiteY34" fmla="*/ 165562 h 494264"/>
                    <a:gd name="connsiteX35" fmla="*/ 381122 w 521370"/>
                    <a:gd name="connsiteY35" fmla="*/ 169580 h 494264"/>
                    <a:gd name="connsiteX36" fmla="*/ 385181 w 521370"/>
                    <a:gd name="connsiteY36" fmla="*/ 174836 h 494264"/>
                    <a:gd name="connsiteX37" fmla="*/ 384806 w 521370"/>
                    <a:gd name="connsiteY37" fmla="*/ 174934 h 494264"/>
                    <a:gd name="connsiteX38" fmla="*/ 383616 w 521370"/>
                    <a:gd name="connsiteY38" fmla="*/ 174404 h 494264"/>
                    <a:gd name="connsiteX39" fmla="*/ 382116 w 521370"/>
                    <a:gd name="connsiteY39" fmla="*/ 173679 h 494264"/>
                    <a:gd name="connsiteX40" fmla="*/ 381660 w 521370"/>
                    <a:gd name="connsiteY40" fmla="*/ 174331 h 494264"/>
                    <a:gd name="connsiteX41" fmla="*/ 381742 w 521370"/>
                    <a:gd name="connsiteY41" fmla="*/ 176540 h 494264"/>
                    <a:gd name="connsiteX42" fmla="*/ 382141 w 521370"/>
                    <a:gd name="connsiteY42" fmla="*/ 179123 h 494264"/>
                    <a:gd name="connsiteX43" fmla="*/ 384203 w 521370"/>
                    <a:gd name="connsiteY43" fmla="*/ 181364 h 494264"/>
                    <a:gd name="connsiteX44" fmla="*/ 386061 w 521370"/>
                    <a:gd name="connsiteY44" fmla="*/ 182978 h 494264"/>
                    <a:gd name="connsiteX45" fmla="*/ 386770 w 521370"/>
                    <a:gd name="connsiteY45" fmla="*/ 186026 h 494264"/>
                    <a:gd name="connsiteX46" fmla="*/ 385327 w 521370"/>
                    <a:gd name="connsiteY46" fmla="*/ 192586 h 494264"/>
                    <a:gd name="connsiteX47" fmla="*/ 384822 w 521370"/>
                    <a:gd name="connsiteY47" fmla="*/ 192586 h 494264"/>
                    <a:gd name="connsiteX48" fmla="*/ 383844 w 521370"/>
                    <a:gd name="connsiteY48" fmla="*/ 192016 h 494264"/>
                    <a:gd name="connsiteX49" fmla="*/ 382801 w 521370"/>
                    <a:gd name="connsiteY49" fmla="*/ 191885 h 494264"/>
                    <a:gd name="connsiteX50" fmla="*/ 382255 w 521370"/>
                    <a:gd name="connsiteY50" fmla="*/ 192260 h 494264"/>
                    <a:gd name="connsiteX51" fmla="*/ 383477 w 521370"/>
                    <a:gd name="connsiteY51" fmla="*/ 196979 h 494264"/>
                    <a:gd name="connsiteX52" fmla="*/ 384683 w 521370"/>
                    <a:gd name="connsiteY52" fmla="*/ 200597 h 494264"/>
                    <a:gd name="connsiteX53" fmla="*/ 386167 w 521370"/>
                    <a:gd name="connsiteY53" fmla="*/ 203458 h 494264"/>
                    <a:gd name="connsiteX54" fmla="*/ 387381 w 521370"/>
                    <a:gd name="connsiteY54" fmla="*/ 207647 h 494264"/>
                    <a:gd name="connsiteX55" fmla="*/ 388440 w 521370"/>
                    <a:gd name="connsiteY55" fmla="*/ 209432 h 494264"/>
                    <a:gd name="connsiteX56" fmla="*/ 392752 w 521370"/>
                    <a:gd name="connsiteY56" fmla="*/ 213882 h 494264"/>
                    <a:gd name="connsiteX57" fmla="*/ 394072 w 521370"/>
                    <a:gd name="connsiteY57" fmla="*/ 217598 h 494264"/>
                    <a:gd name="connsiteX58" fmla="*/ 395286 w 521370"/>
                    <a:gd name="connsiteY58" fmla="*/ 224517 h 494264"/>
                    <a:gd name="connsiteX59" fmla="*/ 398000 w 521370"/>
                    <a:gd name="connsiteY59" fmla="*/ 228380 h 494264"/>
                    <a:gd name="connsiteX60" fmla="*/ 399451 w 521370"/>
                    <a:gd name="connsiteY60" fmla="*/ 231338 h 494264"/>
                    <a:gd name="connsiteX61" fmla="*/ 401407 w 521370"/>
                    <a:gd name="connsiteY61" fmla="*/ 233857 h 494264"/>
                    <a:gd name="connsiteX62" fmla="*/ 402678 w 521370"/>
                    <a:gd name="connsiteY62" fmla="*/ 237296 h 494264"/>
                    <a:gd name="connsiteX63" fmla="*/ 404479 w 521370"/>
                    <a:gd name="connsiteY63" fmla="*/ 239944 h 494264"/>
                    <a:gd name="connsiteX64" fmla="*/ 405416 w 521370"/>
                    <a:gd name="connsiteY64" fmla="*/ 240613 h 494264"/>
                    <a:gd name="connsiteX65" fmla="*/ 406818 w 521370"/>
                    <a:gd name="connsiteY65" fmla="*/ 240890 h 494264"/>
                    <a:gd name="connsiteX66" fmla="*/ 408571 w 521370"/>
                    <a:gd name="connsiteY66" fmla="*/ 240906 h 494264"/>
                    <a:gd name="connsiteX67" fmla="*/ 410673 w 521370"/>
                    <a:gd name="connsiteY67" fmla="*/ 240213 h 494264"/>
                    <a:gd name="connsiteX68" fmla="*/ 412906 w 521370"/>
                    <a:gd name="connsiteY68" fmla="*/ 239570 h 494264"/>
                    <a:gd name="connsiteX69" fmla="*/ 414650 w 521370"/>
                    <a:gd name="connsiteY69" fmla="*/ 240914 h 494264"/>
                    <a:gd name="connsiteX70" fmla="*/ 416459 w 521370"/>
                    <a:gd name="connsiteY70" fmla="*/ 240719 h 494264"/>
                    <a:gd name="connsiteX71" fmla="*/ 416630 w 521370"/>
                    <a:gd name="connsiteY71" fmla="*/ 241957 h 494264"/>
                    <a:gd name="connsiteX72" fmla="*/ 415432 w 521370"/>
                    <a:gd name="connsiteY72" fmla="*/ 243652 h 494264"/>
                    <a:gd name="connsiteX73" fmla="*/ 413941 w 521370"/>
                    <a:gd name="connsiteY73" fmla="*/ 247931 h 494264"/>
                    <a:gd name="connsiteX74" fmla="*/ 416068 w 521370"/>
                    <a:gd name="connsiteY74" fmla="*/ 248607 h 494264"/>
                    <a:gd name="connsiteX75" fmla="*/ 418073 w 521370"/>
                    <a:gd name="connsiteY75" fmla="*/ 248942 h 494264"/>
                    <a:gd name="connsiteX76" fmla="*/ 419524 w 521370"/>
                    <a:gd name="connsiteY76" fmla="*/ 249626 h 494264"/>
                    <a:gd name="connsiteX77" fmla="*/ 420363 w 521370"/>
                    <a:gd name="connsiteY77" fmla="*/ 249626 h 494264"/>
                    <a:gd name="connsiteX78" fmla="*/ 420363 w 521370"/>
                    <a:gd name="connsiteY78" fmla="*/ 250506 h 494264"/>
                    <a:gd name="connsiteX79" fmla="*/ 420453 w 521370"/>
                    <a:gd name="connsiteY79" fmla="*/ 254573 h 494264"/>
                    <a:gd name="connsiteX80" fmla="*/ 420958 w 521370"/>
                    <a:gd name="connsiteY80" fmla="*/ 256122 h 494264"/>
                    <a:gd name="connsiteX81" fmla="*/ 421871 w 521370"/>
                    <a:gd name="connsiteY81" fmla="*/ 257491 h 494264"/>
                    <a:gd name="connsiteX82" fmla="*/ 423231 w 521370"/>
                    <a:gd name="connsiteY82" fmla="*/ 259536 h 494264"/>
                    <a:gd name="connsiteX83" fmla="*/ 424601 w 521370"/>
                    <a:gd name="connsiteY83" fmla="*/ 261582 h 494264"/>
                    <a:gd name="connsiteX84" fmla="*/ 425962 w 521370"/>
                    <a:gd name="connsiteY84" fmla="*/ 263628 h 494264"/>
                    <a:gd name="connsiteX85" fmla="*/ 427331 w 521370"/>
                    <a:gd name="connsiteY85" fmla="*/ 265673 h 494264"/>
                    <a:gd name="connsiteX86" fmla="*/ 428684 w 521370"/>
                    <a:gd name="connsiteY86" fmla="*/ 267719 h 494264"/>
                    <a:gd name="connsiteX87" fmla="*/ 430053 w 521370"/>
                    <a:gd name="connsiteY87" fmla="*/ 269764 h 494264"/>
                    <a:gd name="connsiteX88" fmla="*/ 431422 w 521370"/>
                    <a:gd name="connsiteY88" fmla="*/ 271810 h 494264"/>
                    <a:gd name="connsiteX89" fmla="*/ 432783 w 521370"/>
                    <a:gd name="connsiteY89" fmla="*/ 273855 h 494264"/>
                    <a:gd name="connsiteX90" fmla="*/ 434152 w 521370"/>
                    <a:gd name="connsiteY90" fmla="*/ 275901 h 494264"/>
                    <a:gd name="connsiteX91" fmla="*/ 435513 w 521370"/>
                    <a:gd name="connsiteY91" fmla="*/ 277938 h 494264"/>
                    <a:gd name="connsiteX92" fmla="*/ 436883 w 521370"/>
                    <a:gd name="connsiteY92" fmla="*/ 279984 h 494264"/>
                    <a:gd name="connsiteX93" fmla="*/ 438244 w 521370"/>
                    <a:gd name="connsiteY93" fmla="*/ 282021 h 494264"/>
                    <a:gd name="connsiteX94" fmla="*/ 439605 w 521370"/>
                    <a:gd name="connsiteY94" fmla="*/ 284059 h 494264"/>
                    <a:gd name="connsiteX95" fmla="*/ 440973 w 521370"/>
                    <a:gd name="connsiteY95" fmla="*/ 286105 h 494264"/>
                    <a:gd name="connsiteX96" fmla="*/ 442335 w 521370"/>
                    <a:gd name="connsiteY96" fmla="*/ 288150 h 494264"/>
                    <a:gd name="connsiteX97" fmla="*/ 443704 w 521370"/>
                    <a:gd name="connsiteY97" fmla="*/ 290188 h 494264"/>
                    <a:gd name="connsiteX98" fmla="*/ 444836 w 521370"/>
                    <a:gd name="connsiteY98" fmla="*/ 291883 h 494264"/>
                    <a:gd name="connsiteX99" fmla="*/ 446923 w 521370"/>
                    <a:gd name="connsiteY99" fmla="*/ 292209 h 494264"/>
                    <a:gd name="connsiteX100" fmla="*/ 447583 w 521370"/>
                    <a:gd name="connsiteY100" fmla="*/ 292306 h 494264"/>
                    <a:gd name="connsiteX101" fmla="*/ 449457 w 521370"/>
                    <a:gd name="connsiteY101" fmla="*/ 292600 h 494264"/>
                    <a:gd name="connsiteX102" fmla="*/ 452367 w 521370"/>
                    <a:gd name="connsiteY102" fmla="*/ 293056 h 494264"/>
                    <a:gd name="connsiteX103" fmla="*/ 456157 w 521370"/>
                    <a:gd name="connsiteY103" fmla="*/ 293627 h 494264"/>
                    <a:gd name="connsiteX104" fmla="*/ 460631 w 521370"/>
                    <a:gd name="connsiteY104" fmla="*/ 294319 h 494264"/>
                    <a:gd name="connsiteX105" fmla="*/ 465635 w 521370"/>
                    <a:gd name="connsiteY105" fmla="*/ 295085 h 494264"/>
                    <a:gd name="connsiteX106" fmla="*/ 470981 w 521370"/>
                    <a:gd name="connsiteY106" fmla="*/ 295900 h 494264"/>
                    <a:gd name="connsiteX107" fmla="*/ 476498 w 521370"/>
                    <a:gd name="connsiteY107" fmla="*/ 296748 h 494264"/>
                    <a:gd name="connsiteX108" fmla="*/ 482024 w 521370"/>
                    <a:gd name="connsiteY108" fmla="*/ 297596 h 494264"/>
                    <a:gd name="connsiteX109" fmla="*/ 487362 w 521370"/>
                    <a:gd name="connsiteY109" fmla="*/ 298419 h 494264"/>
                    <a:gd name="connsiteX110" fmla="*/ 492358 w 521370"/>
                    <a:gd name="connsiteY110" fmla="*/ 299185 h 494264"/>
                    <a:gd name="connsiteX111" fmla="*/ 496840 w 521370"/>
                    <a:gd name="connsiteY111" fmla="*/ 299869 h 494264"/>
                    <a:gd name="connsiteX112" fmla="*/ 500622 w 521370"/>
                    <a:gd name="connsiteY112" fmla="*/ 300448 h 494264"/>
                    <a:gd name="connsiteX113" fmla="*/ 503547 w 521370"/>
                    <a:gd name="connsiteY113" fmla="*/ 300888 h 494264"/>
                    <a:gd name="connsiteX114" fmla="*/ 505414 w 521370"/>
                    <a:gd name="connsiteY114" fmla="*/ 301182 h 494264"/>
                    <a:gd name="connsiteX115" fmla="*/ 506082 w 521370"/>
                    <a:gd name="connsiteY115" fmla="*/ 301288 h 494264"/>
                    <a:gd name="connsiteX116" fmla="*/ 508038 w 521370"/>
                    <a:gd name="connsiteY116" fmla="*/ 301589 h 494264"/>
                    <a:gd name="connsiteX117" fmla="*/ 508421 w 521370"/>
                    <a:gd name="connsiteY117" fmla="*/ 301507 h 494264"/>
                    <a:gd name="connsiteX118" fmla="*/ 510067 w 521370"/>
                    <a:gd name="connsiteY118" fmla="*/ 299014 h 494264"/>
                    <a:gd name="connsiteX119" fmla="*/ 511885 w 521370"/>
                    <a:gd name="connsiteY119" fmla="*/ 302543 h 494264"/>
                    <a:gd name="connsiteX120" fmla="*/ 513400 w 521370"/>
                    <a:gd name="connsiteY120" fmla="*/ 305468 h 494264"/>
                    <a:gd name="connsiteX121" fmla="*/ 515479 w 521370"/>
                    <a:gd name="connsiteY121" fmla="*/ 309486 h 494264"/>
                    <a:gd name="connsiteX122" fmla="*/ 517687 w 521370"/>
                    <a:gd name="connsiteY122" fmla="*/ 313748 h 494264"/>
                    <a:gd name="connsiteX123" fmla="*/ 519798 w 521370"/>
                    <a:gd name="connsiteY123" fmla="*/ 317823 h 494264"/>
                    <a:gd name="connsiteX124" fmla="*/ 521371 w 521370"/>
                    <a:gd name="connsiteY124" fmla="*/ 320855 h 494264"/>
                    <a:gd name="connsiteX125" fmla="*/ 520531 w 521370"/>
                    <a:gd name="connsiteY125" fmla="*/ 324009 h 494264"/>
                    <a:gd name="connsiteX126" fmla="*/ 519627 w 521370"/>
                    <a:gd name="connsiteY126" fmla="*/ 327448 h 494264"/>
                    <a:gd name="connsiteX127" fmla="*/ 518714 w 521370"/>
                    <a:gd name="connsiteY127" fmla="*/ 330879 h 494264"/>
                    <a:gd name="connsiteX128" fmla="*/ 517809 w 521370"/>
                    <a:gd name="connsiteY128" fmla="*/ 334310 h 494264"/>
                    <a:gd name="connsiteX129" fmla="*/ 516905 w 521370"/>
                    <a:gd name="connsiteY129" fmla="*/ 337741 h 494264"/>
                    <a:gd name="connsiteX130" fmla="*/ 516000 w 521370"/>
                    <a:gd name="connsiteY130" fmla="*/ 341172 h 494264"/>
                    <a:gd name="connsiteX131" fmla="*/ 515096 w 521370"/>
                    <a:gd name="connsiteY131" fmla="*/ 344595 h 494264"/>
                    <a:gd name="connsiteX132" fmla="*/ 514191 w 521370"/>
                    <a:gd name="connsiteY132" fmla="*/ 348026 h 494264"/>
                    <a:gd name="connsiteX133" fmla="*/ 513286 w 521370"/>
                    <a:gd name="connsiteY133" fmla="*/ 351457 h 494264"/>
                    <a:gd name="connsiteX134" fmla="*/ 512374 w 521370"/>
                    <a:gd name="connsiteY134" fmla="*/ 354880 h 494264"/>
                    <a:gd name="connsiteX135" fmla="*/ 511477 w 521370"/>
                    <a:gd name="connsiteY135" fmla="*/ 358303 h 494264"/>
                    <a:gd name="connsiteX136" fmla="*/ 510564 w 521370"/>
                    <a:gd name="connsiteY136" fmla="*/ 361726 h 494264"/>
                    <a:gd name="connsiteX137" fmla="*/ 509668 w 521370"/>
                    <a:gd name="connsiteY137" fmla="*/ 365149 h 494264"/>
                    <a:gd name="connsiteX138" fmla="*/ 508755 w 521370"/>
                    <a:gd name="connsiteY138" fmla="*/ 368572 h 494264"/>
                    <a:gd name="connsiteX139" fmla="*/ 507859 w 521370"/>
                    <a:gd name="connsiteY139" fmla="*/ 371995 h 494264"/>
                    <a:gd name="connsiteX140" fmla="*/ 506946 w 521370"/>
                    <a:gd name="connsiteY140" fmla="*/ 375409 h 494264"/>
                    <a:gd name="connsiteX141" fmla="*/ 506041 w 521370"/>
                    <a:gd name="connsiteY141" fmla="*/ 378832 h 494264"/>
                    <a:gd name="connsiteX142" fmla="*/ 504941 w 521370"/>
                    <a:gd name="connsiteY142" fmla="*/ 382948 h 494264"/>
                    <a:gd name="connsiteX143" fmla="*/ 502308 w 521370"/>
                    <a:gd name="connsiteY143" fmla="*/ 384040 h 494264"/>
                    <a:gd name="connsiteX144" fmla="*/ 498046 w 521370"/>
                    <a:gd name="connsiteY144" fmla="*/ 385808 h 494264"/>
                    <a:gd name="connsiteX145" fmla="*/ 493784 w 521370"/>
                    <a:gd name="connsiteY145" fmla="*/ 387577 h 494264"/>
                    <a:gd name="connsiteX146" fmla="*/ 489522 w 521370"/>
                    <a:gd name="connsiteY146" fmla="*/ 389354 h 494264"/>
                    <a:gd name="connsiteX147" fmla="*/ 485259 w 521370"/>
                    <a:gd name="connsiteY147" fmla="*/ 391122 h 494264"/>
                    <a:gd name="connsiteX148" fmla="*/ 480989 w 521370"/>
                    <a:gd name="connsiteY148" fmla="*/ 392882 h 494264"/>
                    <a:gd name="connsiteX149" fmla="*/ 476727 w 521370"/>
                    <a:gd name="connsiteY149" fmla="*/ 394651 h 494264"/>
                    <a:gd name="connsiteX150" fmla="*/ 472464 w 521370"/>
                    <a:gd name="connsiteY150" fmla="*/ 396419 h 494264"/>
                    <a:gd name="connsiteX151" fmla="*/ 468202 w 521370"/>
                    <a:gd name="connsiteY151" fmla="*/ 398196 h 494264"/>
                    <a:gd name="connsiteX152" fmla="*/ 463948 w 521370"/>
                    <a:gd name="connsiteY152" fmla="*/ 399956 h 494264"/>
                    <a:gd name="connsiteX153" fmla="*/ 459669 w 521370"/>
                    <a:gd name="connsiteY153" fmla="*/ 401725 h 494264"/>
                    <a:gd name="connsiteX154" fmla="*/ 455407 w 521370"/>
                    <a:gd name="connsiteY154" fmla="*/ 403493 h 494264"/>
                    <a:gd name="connsiteX155" fmla="*/ 451153 w 521370"/>
                    <a:gd name="connsiteY155" fmla="*/ 405262 h 494264"/>
                    <a:gd name="connsiteX156" fmla="*/ 446890 w 521370"/>
                    <a:gd name="connsiteY156" fmla="*/ 407022 h 494264"/>
                    <a:gd name="connsiteX157" fmla="*/ 442628 w 521370"/>
                    <a:gd name="connsiteY157" fmla="*/ 408790 h 494264"/>
                    <a:gd name="connsiteX158" fmla="*/ 438358 w 521370"/>
                    <a:gd name="connsiteY158" fmla="*/ 410551 h 494264"/>
                    <a:gd name="connsiteX159" fmla="*/ 434095 w 521370"/>
                    <a:gd name="connsiteY159" fmla="*/ 412311 h 494264"/>
                    <a:gd name="connsiteX160" fmla="*/ 430599 w 521370"/>
                    <a:gd name="connsiteY160" fmla="*/ 413762 h 494264"/>
                    <a:gd name="connsiteX161" fmla="*/ 424780 w 521370"/>
                    <a:gd name="connsiteY161" fmla="*/ 414732 h 494264"/>
                    <a:gd name="connsiteX162" fmla="*/ 419132 w 521370"/>
                    <a:gd name="connsiteY162" fmla="*/ 415677 h 494264"/>
                    <a:gd name="connsiteX163" fmla="*/ 412767 w 521370"/>
                    <a:gd name="connsiteY163" fmla="*/ 416737 h 494264"/>
                    <a:gd name="connsiteX164" fmla="*/ 405123 w 521370"/>
                    <a:gd name="connsiteY164" fmla="*/ 418016 h 494264"/>
                    <a:gd name="connsiteX165" fmla="*/ 399133 w 521370"/>
                    <a:gd name="connsiteY165" fmla="*/ 419018 h 494264"/>
                    <a:gd name="connsiteX166" fmla="*/ 390380 w 521370"/>
                    <a:gd name="connsiteY166" fmla="*/ 420485 h 494264"/>
                    <a:gd name="connsiteX167" fmla="*/ 382532 w 521370"/>
                    <a:gd name="connsiteY167" fmla="*/ 421798 h 494264"/>
                    <a:gd name="connsiteX168" fmla="*/ 375165 w 521370"/>
                    <a:gd name="connsiteY168" fmla="*/ 423020 h 494264"/>
                    <a:gd name="connsiteX169" fmla="*/ 367805 w 521370"/>
                    <a:gd name="connsiteY169" fmla="*/ 424242 h 494264"/>
                    <a:gd name="connsiteX170" fmla="*/ 361530 w 521370"/>
                    <a:gd name="connsiteY170" fmla="*/ 425286 h 494264"/>
                    <a:gd name="connsiteX171" fmla="*/ 357806 w 521370"/>
                    <a:gd name="connsiteY171" fmla="*/ 426500 h 494264"/>
                    <a:gd name="connsiteX172" fmla="*/ 353413 w 521370"/>
                    <a:gd name="connsiteY172" fmla="*/ 429165 h 494264"/>
                    <a:gd name="connsiteX173" fmla="*/ 346665 w 521370"/>
                    <a:gd name="connsiteY173" fmla="*/ 433240 h 494264"/>
                    <a:gd name="connsiteX174" fmla="*/ 339787 w 521370"/>
                    <a:gd name="connsiteY174" fmla="*/ 437396 h 494264"/>
                    <a:gd name="connsiteX175" fmla="*/ 336217 w 521370"/>
                    <a:gd name="connsiteY175" fmla="*/ 439548 h 494264"/>
                    <a:gd name="connsiteX176" fmla="*/ 332493 w 521370"/>
                    <a:gd name="connsiteY176" fmla="*/ 445073 h 494264"/>
                    <a:gd name="connsiteX177" fmla="*/ 330610 w 521370"/>
                    <a:gd name="connsiteY177" fmla="*/ 447869 h 494264"/>
                    <a:gd name="connsiteX178" fmla="*/ 327195 w 521370"/>
                    <a:gd name="connsiteY178" fmla="*/ 452921 h 494264"/>
                    <a:gd name="connsiteX179" fmla="*/ 324612 w 521370"/>
                    <a:gd name="connsiteY179" fmla="*/ 456735 h 494264"/>
                    <a:gd name="connsiteX180" fmla="*/ 321531 w 521370"/>
                    <a:gd name="connsiteY180" fmla="*/ 461283 h 494264"/>
                    <a:gd name="connsiteX181" fmla="*/ 320186 w 521370"/>
                    <a:gd name="connsiteY181" fmla="*/ 465341 h 494264"/>
                    <a:gd name="connsiteX182" fmla="*/ 318117 w 521370"/>
                    <a:gd name="connsiteY182" fmla="*/ 471600 h 494264"/>
                    <a:gd name="connsiteX183" fmla="*/ 316323 w 521370"/>
                    <a:gd name="connsiteY183" fmla="*/ 473173 h 494264"/>
                    <a:gd name="connsiteX184" fmla="*/ 313390 w 521370"/>
                    <a:gd name="connsiteY184" fmla="*/ 475211 h 494264"/>
                    <a:gd name="connsiteX185" fmla="*/ 310717 w 521370"/>
                    <a:gd name="connsiteY185" fmla="*/ 476661 h 494264"/>
                    <a:gd name="connsiteX186" fmla="*/ 306552 w 521370"/>
                    <a:gd name="connsiteY186" fmla="*/ 476458 h 494264"/>
                    <a:gd name="connsiteX187" fmla="*/ 304180 w 521370"/>
                    <a:gd name="connsiteY187" fmla="*/ 472611 h 494264"/>
                    <a:gd name="connsiteX188" fmla="*/ 301662 w 521370"/>
                    <a:gd name="connsiteY188" fmla="*/ 468536 h 494264"/>
                    <a:gd name="connsiteX189" fmla="*/ 300407 w 521370"/>
                    <a:gd name="connsiteY189" fmla="*/ 466898 h 494264"/>
                    <a:gd name="connsiteX190" fmla="*/ 299274 w 521370"/>
                    <a:gd name="connsiteY190" fmla="*/ 466809 h 494264"/>
                    <a:gd name="connsiteX191" fmla="*/ 295085 w 521370"/>
                    <a:gd name="connsiteY191" fmla="*/ 467322 h 494264"/>
                    <a:gd name="connsiteX192" fmla="*/ 290041 w 521370"/>
                    <a:gd name="connsiteY192" fmla="*/ 467949 h 494264"/>
                    <a:gd name="connsiteX193" fmla="*/ 284100 w 521370"/>
                    <a:gd name="connsiteY193" fmla="*/ 467281 h 494264"/>
                    <a:gd name="connsiteX194" fmla="*/ 277254 w 521370"/>
                    <a:gd name="connsiteY194" fmla="*/ 466507 h 494264"/>
                    <a:gd name="connsiteX195" fmla="*/ 270823 w 521370"/>
                    <a:gd name="connsiteY195" fmla="*/ 465790 h 494264"/>
                    <a:gd name="connsiteX196" fmla="*/ 267629 w 521370"/>
                    <a:gd name="connsiteY196" fmla="*/ 465244 h 494264"/>
                    <a:gd name="connsiteX197" fmla="*/ 263407 w 521370"/>
                    <a:gd name="connsiteY197" fmla="*/ 462603 h 494264"/>
                    <a:gd name="connsiteX198" fmla="*/ 262324 w 521370"/>
                    <a:gd name="connsiteY198" fmla="*/ 462073 h 494264"/>
                    <a:gd name="connsiteX199" fmla="*/ 261207 w 521370"/>
                    <a:gd name="connsiteY199" fmla="*/ 461951 h 494264"/>
                    <a:gd name="connsiteX200" fmla="*/ 256203 w 521370"/>
                    <a:gd name="connsiteY200" fmla="*/ 461886 h 494264"/>
                    <a:gd name="connsiteX201" fmla="*/ 251264 w 521370"/>
                    <a:gd name="connsiteY201" fmla="*/ 461821 h 494264"/>
                    <a:gd name="connsiteX202" fmla="*/ 246293 w 521370"/>
                    <a:gd name="connsiteY202" fmla="*/ 462660 h 494264"/>
                    <a:gd name="connsiteX203" fmla="*/ 241533 w 521370"/>
                    <a:gd name="connsiteY203" fmla="*/ 462351 h 494264"/>
                    <a:gd name="connsiteX204" fmla="*/ 236603 w 521370"/>
                    <a:gd name="connsiteY204" fmla="*/ 462840 h 494264"/>
                    <a:gd name="connsiteX205" fmla="*/ 234875 w 521370"/>
                    <a:gd name="connsiteY205" fmla="*/ 463858 h 494264"/>
                    <a:gd name="connsiteX206" fmla="*/ 232943 w 521370"/>
                    <a:gd name="connsiteY206" fmla="*/ 463801 h 494264"/>
                    <a:gd name="connsiteX207" fmla="*/ 231746 w 521370"/>
                    <a:gd name="connsiteY207" fmla="*/ 464690 h 494264"/>
                    <a:gd name="connsiteX208" fmla="*/ 230686 w 521370"/>
                    <a:gd name="connsiteY208" fmla="*/ 465113 h 494264"/>
                    <a:gd name="connsiteX209" fmla="*/ 229439 w 521370"/>
                    <a:gd name="connsiteY209" fmla="*/ 464347 h 494264"/>
                    <a:gd name="connsiteX210" fmla="*/ 227891 w 521370"/>
                    <a:gd name="connsiteY210" fmla="*/ 464518 h 494264"/>
                    <a:gd name="connsiteX211" fmla="*/ 225641 w 521370"/>
                    <a:gd name="connsiteY211" fmla="*/ 463866 h 494264"/>
                    <a:gd name="connsiteX212" fmla="*/ 224158 w 521370"/>
                    <a:gd name="connsiteY212" fmla="*/ 462139 h 494264"/>
                    <a:gd name="connsiteX213" fmla="*/ 222765 w 521370"/>
                    <a:gd name="connsiteY213" fmla="*/ 460615 h 494264"/>
                    <a:gd name="connsiteX214" fmla="*/ 221322 w 521370"/>
                    <a:gd name="connsiteY214" fmla="*/ 459784 h 494264"/>
                    <a:gd name="connsiteX215" fmla="*/ 219716 w 521370"/>
                    <a:gd name="connsiteY215" fmla="*/ 459254 h 494264"/>
                    <a:gd name="connsiteX216" fmla="*/ 218315 w 521370"/>
                    <a:gd name="connsiteY216" fmla="*/ 459246 h 494264"/>
                    <a:gd name="connsiteX217" fmla="*/ 216530 w 521370"/>
                    <a:gd name="connsiteY217" fmla="*/ 460167 h 494264"/>
                    <a:gd name="connsiteX218" fmla="*/ 215438 w 521370"/>
                    <a:gd name="connsiteY218" fmla="*/ 461063 h 494264"/>
                    <a:gd name="connsiteX219" fmla="*/ 212675 w 521370"/>
                    <a:gd name="connsiteY219" fmla="*/ 464046 h 494264"/>
                    <a:gd name="connsiteX220" fmla="*/ 212561 w 521370"/>
                    <a:gd name="connsiteY220" fmla="*/ 465113 h 494264"/>
                    <a:gd name="connsiteX221" fmla="*/ 213816 w 521370"/>
                    <a:gd name="connsiteY221" fmla="*/ 466898 h 494264"/>
                    <a:gd name="connsiteX222" fmla="*/ 213425 w 521370"/>
                    <a:gd name="connsiteY222" fmla="*/ 467738 h 494264"/>
                    <a:gd name="connsiteX223" fmla="*/ 211803 w 521370"/>
                    <a:gd name="connsiteY223" fmla="*/ 468781 h 494264"/>
                    <a:gd name="connsiteX224" fmla="*/ 211306 w 521370"/>
                    <a:gd name="connsiteY224" fmla="*/ 471600 h 494264"/>
                    <a:gd name="connsiteX225" fmla="*/ 211070 w 521370"/>
                    <a:gd name="connsiteY225" fmla="*/ 473141 h 494264"/>
                    <a:gd name="connsiteX226" fmla="*/ 210834 w 521370"/>
                    <a:gd name="connsiteY226" fmla="*/ 476833 h 494264"/>
                    <a:gd name="connsiteX227" fmla="*/ 211550 w 521370"/>
                    <a:gd name="connsiteY227" fmla="*/ 479742 h 494264"/>
                    <a:gd name="connsiteX228" fmla="*/ 212520 w 521370"/>
                    <a:gd name="connsiteY228" fmla="*/ 480810 h 494264"/>
                    <a:gd name="connsiteX229" fmla="*/ 212561 w 521370"/>
                    <a:gd name="connsiteY229" fmla="*/ 482057 h 494264"/>
                    <a:gd name="connsiteX230" fmla="*/ 212040 w 521370"/>
                    <a:gd name="connsiteY230" fmla="*/ 484551 h 494264"/>
                    <a:gd name="connsiteX231" fmla="*/ 210540 w 521370"/>
                    <a:gd name="connsiteY231" fmla="*/ 485325 h 494264"/>
                    <a:gd name="connsiteX232" fmla="*/ 209448 w 521370"/>
                    <a:gd name="connsiteY232" fmla="*/ 487696 h 494264"/>
                    <a:gd name="connsiteX233" fmla="*/ 208772 w 521370"/>
                    <a:gd name="connsiteY233" fmla="*/ 488804 h 494264"/>
                    <a:gd name="connsiteX234" fmla="*/ 207598 w 521370"/>
                    <a:gd name="connsiteY234" fmla="*/ 490068 h 494264"/>
                    <a:gd name="connsiteX235" fmla="*/ 202969 w 521370"/>
                    <a:gd name="connsiteY235" fmla="*/ 494265 h 494264"/>
                    <a:gd name="connsiteX236" fmla="*/ 202733 w 521370"/>
                    <a:gd name="connsiteY236" fmla="*/ 491828 h 494264"/>
                    <a:gd name="connsiteX237" fmla="*/ 201257 w 521370"/>
                    <a:gd name="connsiteY237" fmla="*/ 488210 h 494264"/>
                    <a:gd name="connsiteX238" fmla="*/ 201151 w 521370"/>
                    <a:gd name="connsiteY238" fmla="*/ 485659 h 494264"/>
                    <a:gd name="connsiteX239" fmla="*/ 200467 w 521370"/>
                    <a:gd name="connsiteY239" fmla="*/ 483100 h 494264"/>
                    <a:gd name="connsiteX240" fmla="*/ 199195 w 521370"/>
                    <a:gd name="connsiteY240" fmla="*/ 481128 h 494264"/>
                    <a:gd name="connsiteX241" fmla="*/ 196849 w 521370"/>
                    <a:gd name="connsiteY241" fmla="*/ 479082 h 494264"/>
                    <a:gd name="connsiteX242" fmla="*/ 196637 w 521370"/>
                    <a:gd name="connsiteY242" fmla="*/ 476295 h 494264"/>
                    <a:gd name="connsiteX243" fmla="*/ 194917 w 521370"/>
                    <a:gd name="connsiteY243" fmla="*/ 473532 h 494264"/>
                    <a:gd name="connsiteX244" fmla="*/ 192643 w 521370"/>
                    <a:gd name="connsiteY244" fmla="*/ 471315 h 494264"/>
                    <a:gd name="connsiteX245" fmla="*/ 191388 w 521370"/>
                    <a:gd name="connsiteY245" fmla="*/ 467200 h 494264"/>
                    <a:gd name="connsiteX246" fmla="*/ 190435 w 521370"/>
                    <a:gd name="connsiteY246" fmla="*/ 461748 h 494264"/>
                    <a:gd name="connsiteX247" fmla="*/ 184453 w 521370"/>
                    <a:gd name="connsiteY247" fmla="*/ 454559 h 494264"/>
                    <a:gd name="connsiteX248" fmla="*/ 176947 w 521370"/>
                    <a:gd name="connsiteY248" fmla="*/ 447926 h 494264"/>
                    <a:gd name="connsiteX249" fmla="*/ 174673 w 521370"/>
                    <a:gd name="connsiteY249" fmla="*/ 444185 h 494264"/>
                    <a:gd name="connsiteX250" fmla="*/ 170940 w 521370"/>
                    <a:gd name="connsiteY250" fmla="*/ 436557 h 494264"/>
                    <a:gd name="connsiteX251" fmla="*/ 169058 w 521370"/>
                    <a:gd name="connsiteY251" fmla="*/ 430526 h 494264"/>
                    <a:gd name="connsiteX252" fmla="*/ 164038 w 521370"/>
                    <a:gd name="connsiteY252" fmla="*/ 423582 h 494264"/>
                    <a:gd name="connsiteX253" fmla="*/ 163834 w 521370"/>
                    <a:gd name="connsiteY253" fmla="*/ 420909 h 494264"/>
                    <a:gd name="connsiteX254" fmla="*/ 163084 w 521370"/>
                    <a:gd name="connsiteY254" fmla="*/ 417649 h 494264"/>
                    <a:gd name="connsiteX255" fmla="*/ 161927 w 521370"/>
                    <a:gd name="connsiteY255" fmla="*/ 414023 h 494264"/>
                    <a:gd name="connsiteX256" fmla="*/ 161226 w 521370"/>
                    <a:gd name="connsiteY256" fmla="*/ 411154 h 494264"/>
                    <a:gd name="connsiteX257" fmla="*/ 156197 w 521370"/>
                    <a:gd name="connsiteY257" fmla="*/ 398587 h 494264"/>
                    <a:gd name="connsiteX258" fmla="*/ 154584 w 521370"/>
                    <a:gd name="connsiteY258" fmla="*/ 396574 h 494264"/>
                    <a:gd name="connsiteX259" fmla="*/ 153191 w 521370"/>
                    <a:gd name="connsiteY259" fmla="*/ 393762 h 494264"/>
                    <a:gd name="connsiteX260" fmla="*/ 152823 w 521370"/>
                    <a:gd name="connsiteY260" fmla="*/ 391586 h 494264"/>
                    <a:gd name="connsiteX261" fmla="*/ 152375 w 521370"/>
                    <a:gd name="connsiteY261" fmla="*/ 390397 h 494264"/>
                    <a:gd name="connsiteX262" fmla="*/ 148822 w 521370"/>
                    <a:gd name="connsiteY262" fmla="*/ 388335 h 494264"/>
                    <a:gd name="connsiteX263" fmla="*/ 145505 w 521370"/>
                    <a:gd name="connsiteY263" fmla="*/ 383054 h 494264"/>
                    <a:gd name="connsiteX264" fmla="*/ 135546 w 521370"/>
                    <a:gd name="connsiteY264" fmla="*/ 374635 h 494264"/>
                    <a:gd name="connsiteX265" fmla="*/ 130664 w 521370"/>
                    <a:gd name="connsiteY265" fmla="*/ 373795 h 494264"/>
                    <a:gd name="connsiteX266" fmla="*/ 126801 w 521370"/>
                    <a:gd name="connsiteY266" fmla="*/ 370788 h 494264"/>
                    <a:gd name="connsiteX267" fmla="*/ 123957 w 521370"/>
                    <a:gd name="connsiteY267" fmla="*/ 366852 h 494264"/>
                    <a:gd name="connsiteX268" fmla="*/ 120917 w 521370"/>
                    <a:gd name="connsiteY268" fmla="*/ 360063 h 494264"/>
                    <a:gd name="connsiteX269" fmla="*/ 115579 w 521370"/>
                    <a:gd name="connsiteY269" fmla="*/ 352728 h 494264"/>
                    <a:gd name="connsiteX270" fmla="*/ 111056 w 521370"/>
                    <a:gd name="connsiteY270" fmla="*/ 342305 h 494264"/>
                    <a:gd name="connsiteX271" fmla="*/ 112474 w 521370"/>
                    <a:gd name="connsiteY271" fmla="*/ 338515 h 494264"/>
                    <a:gd name="connsiteX272" fmla="*/ 112385 w 521370"/>
                    <a:gd name="connsiteY272" fmla="*/ 335834 h 494264"/>
                    <a:gd name="connsiteX273" fmla="*/ 110991 w 521370"/>
                    <a:gd name="connsiteY273" fmla="*/ 331335 h 494264"/>
                    <a:gd name="connsiteX274" fmla="*/ 109467 w 521370"/>
                    <a:gd name="connsiteY274" fmla="*/ 327864 h 494264"/>
                    <a:gd name="connsiteX275" fmla="*/ 108424 w 521370"/>
                    <a:gd name="connsiteY275" fmla="*/ 324579 h 494264"/>
                    <a:gd name="connsiteX276" fmla="*/ 109255 w 521370"/>
                    <a:gd name="connsiteY276" fmla="*/ 319869 h 494264"/>
                    <a:gd name="connsiteX277" fmla="*/ 109565 w 521370"/>
                    <a:gd name="connsiteY277" fmla="*/ 314588 h 494264"/>
                    <a:gd name="connsiteX278" fmla="*/ 110461 w 521370"/>
                    <a:gd name="connsiteY278" fmla="*/ 311784 h 494264"/>
                    <a:gd name="connsiteX279" fmla="*/ 111097 w 521370"/>
                    <a:gd name="connsiteY279" fmla="*/ 308704 h 494264"/>
                    <a:gd name="connsiteX280" fmla="*/ 110258 w 521370"/>
                    <a:gd name="connsiteY280" fmla="*/ 302494 h 494264"/>
                    <a:gd name="connsiteX281" fmla="*/ 108750 w 521370"/>
                    <a:gd name="connsiteY281" fmla="*/ 299169 h 494264"/>
                    <a:gd name="connsiteX282" fmla="*/ 108905 w 521370"/>
                    <a:gd name="connsiteY282" fmla="*/ 296952 h 494264"/>
                    <a:gd name="connsiteX283" fmla="*/ 107202 w 521370"/>
                    <a:gd name="connsiteY283" fmla="*/ 295868 h 494264"/>
                    <a:gd name="connsiteX284" fmla="*/ 105816 w 521370"/>
                    <a:gd name="connsiteY284" fmla="*/ 293464 h 494264"/>
                    <a:gd name="connsiteX285" fmla="*/ 107258 w 521370"/>
                    <a:gd name="connsiteY285" fmla="*/ 293472 h 494264"/>
                    <a:gd name="connsiteX286" fmla="*/ 104651 w 521370"/>
                    <a:gd name="connsiteY286" fmla="*/ 290122 h 494264"/>
                    <a:gd name="connsiteX287" fmla="*/ 103689 w 521370"/>
                    <a:gd name="connsiteY287" fmla="*/ 288264 h 494264"/>
                    <a:gd name="connsiteX288" fmla="*/ 102703 w 521370"/>
                    <a:gd name="connsiteY288" fmla="*/ 283725 h 494264"/>
                    <a:gd name="connsiteX289" fmla="*/ 101448 w 521370"/>
                    <a:gd name="connsiteY289" fmla="*/ 280253 h 494264"/>
                    <a:gd name="connsiteX290" fmla="*/ 97381 w 521370"/>
                    <a:gd name="connsiteY290" fmla="*/ 272372 h 494264"/>
                    <a:gd name="connsiteX291" fmla="*/ 95442 w 521370"/>
                    <a:gd name="connsiteY291" fmla="*/ 267564 h 494264"/>
                    <a:gd name="connsiteX292" fmla="*/ 91090 w 521370"/>
                    <a:gd name="connsiteY292" fmla="*/ 261337 h 494264"/>
                    <a:gd name="connsiteX293" fmla="*/ 86379 w 521370"/>
                    <a:gd name="connsiteY293" fmla="*/ 256733 h 494264"/>
                    <a:gd name="connsiteX294" fmla="*/ 83388 w 521370"/>
                    <a:gd name="connsiteY294" fmla="*/ 254655 h 494264"/>
                    <a:gd name="connsiteX295" fmla="*/ 81946 w 521370"/>
                    <a:gd name="connsiteY295" fmla="*/ 252748 h 494264"/>
                    <a:gd name="connsiteX296" fmla="*/ 79492 w 521370"/>
                    <a:gd name="connsiteY296" fmla="*/ 252682 h 494264"/>
                    <a:gd name="connsiteX297" fmla="*/ 76828 w 521370"/>
                    <a:gd name="connsiteY297" fmla="*/ 249960 h 494264"/>
                    <a:gd name="connsiteX298" fmla="*/ 74961 w 521370"/>
                    <a:gd name="connsiteY298" fmla="*/ 249855 h 494264"/>
                    <a:gd name="connsiteX299" fmla="*/ 72597 w 521370"/>
                    <a:gd name="connsiteY299" fmla="*/ 249423 h 494264"/>
                    <a:gd name="connsiteX300" fmla="*/ 69818 w 521370"/>
                    <a:gd name="connsiteY300" fmla="*/ 244174 h 494264"/>
                    <a:gd name="connsiteX301" fmla="*/ 67528 w 521370"/>
                    <a:gd name="connsiteY301" fmla="*/ 239260 h 494264"/>
                    <a:gd name="connsiteX302" fmla="*/ 63617 w 521370"/>
                    <a:gd name="connsiteY302" fmla="*/ 232846 h 494264"/>
                    <a:gd name="connsiteX303" fmla="*/ 64603 w 521370"/>
                    <a:gd name="connsiteY303" fmla="*/ 231175 h 494264"/>
                    <a:gd name="connsiteX304" fmla="*/ 65744 w 521370"/>
                    <a:gd name="connsiteY304" fmla="*/ 228453 h 494264"/>
                    <a:gd name="connsiteX305" fmla="*/ 65181 w 521370"/>
                    <a:gd name="connsiteY305" fmla="*/ 224892 h 494264"/>
                    <a:gd name="connsiteX306" fmla="*/ 64562 w 521370"/>
                    <a:gd name="connsiteY306" fmla="*/ 222463 h 494264"/>
                    <a:gd name="connsiteX307" fmla="*/ 62834 w 521370"/>
                    <a:gd name="connsiteY307" fmla="*/ 218046 h 494264"/>
                    <a:gd name="connsiteX308" fmla="*/ 57178 w 521370"/>
                    <a:gd name="connsiteY308" fmla="*/ 207028 h 494264"/>
                    <a:gd name="connsiteX309" fmla="*/ 55671 w 521370"/>
                    <a:gd name="connsiteY309" fmla="*/ 205414 h 494264"/>
                    <a:gd name="connsiteX310" fmla="*/ 53258 w 521370"/>
                    <a:gd name="connsiteY310" fmla="*/ 203556 h 494264"/>
                    <a:gd name="connsiteX311" fmla="*/ 51759 w 521370"/>
                    <a:gd name="connsiteY311" fmla="*/ 198780 h 494264"/>
                    <a:gd name="connsiteX312" fmla="*/ 51083 w 521370"/>
                    <a:gd name="connsiteY312" fmla="*/ 194493 h 494264"/>
                    <a:gd name="connsiteX313" fmla="*/ 47203 w 521370"/>
                    <a:gd name="connsiteY313" fmla="*/ 192407 h 494264"/>
                    <a:gd name="connsiteX314" fmla="*/ 40528 w 521370"/>
                    <a:gd name="connsiteY314" fmla="*/ 176939 h 494264"/>
                    <a:gd name="connsiteX315" fmla="*/ 36657 w 521370"/>
                    <a:gd name="connsiteY315" fmla="*/ 171535 h 494264"/>
                    <a:gd name="connsiteX316" fmla="*/ 35125 w 521370"/>
                    <a:gd name="connsiteY316" fmla="*/ 167884 h 494264"/>
                    <a:gd name="connsiteX317" fmla="*/ 30651 w 521370"/>
                    <a:gd name="connsiteY317" fmla="*/ 161894 h 494264"/>
                    <a:gd name="connsiteX318" fmla="*/ 28450 w 521370"/>
                    <a:gd name="connsiteY318" fmla="*/ 155929 h 494264"/>
                    <a:gd name="connsiteX319" fmla="*/ 23935 w 521370"/>
                    <a:gd name="connsiteY319" fmla="*/ 150419 h 494264"/>
                    <a:gd name="connsiteX320" fmla="*/ 20032 w 521370"/>
                    <a:gd name="connsiteY320" fmla="*/ 140860 h 494264"/>
                    <a:gd name="connsiteX321" fmla="*/ 13993 w 521370"/>
                    <a:gd name="connsiteY321" fmla="*/ 131292 h 494264"/>
                    <a:gd name="connsiteX322" fmla="*/ 11467 w 521370"/>
                    <a:gd name="connsiteY322" fmla="*/ 129630 h 494264"/>
                    <a:gd name="connsiteX323" fmla="*/ 5240 w 521370"/>
                    <a:gd name="connsiteY323" fmla="*/ 128945 h 494264"/>
                    <a:gd name="connsiteX324" fmla="*/ 2624 w 521370"/>
                    <a:gd name="connsiteY324" fmla="*/ 128244 h 494264"/>
                    <a:gd name="connsiteX325" fmla="*/ 220 w 521370"/>
                    <a:gd name="connsiteY325" fmla="*/ 130347 h 494264"/>
                    <a:gd name="connsiteX326" fmla="*/ 0 w 521370"/>
                    <a:gd name="connsiteY326" fmla="*/ 127682 h 494264"/>
                    <a:gd name="connsiteX327" fmla="*/ 1662 w 521370"/>
                    <a:gd name="connsiteY327" fmla="*/ 123998 h 494264"/>
                    <a:gd name="connsiteX328" fmla="*/ 4066 w 521370"/>
                    <a:gd name="connsiteY328" fmla="*/ 116248 h 494264"/>
                    <a:gd name="connsiteX329" fmla="*/ 4547 w 521370"/>
                    <a:gd name="connsiteY329" fmla="*/ 109451 h 494264"/>
                    <a:gd name="connsiteX330" fmla="*/ 8304 w 521370"/>
                    <a:gd name="connsiteY330" fmla="*/ 89223 h 494264"/>
                    <a:gd name="connsiteX331" fmla="*/ 13586 w 521370"/>
                    <a:gd name="connsiteY331" fmla="*/ 90266 h 494264"/>
                    <a:gd name="connsiteX332" fmla="*/ 17937 w 521370"/>
                    <a:gd name="connsiteY332" fmla="*/ 91130 h 494264"/>
                    <a:gd name="connsiteX333" fmla="*/ 24278 w 521370"/>
                    <a:gd name="connsiteY333" fmla="*/ 92377 h 494264"/>
                    <a:gd name="connsiteX334" fmla="*/ 30854 w 521370"/>
                    <a:gd name="connsiteY334" fmla="*/ 93681 h 494264"/>
                    <a:gd name="connsiteX335" fmla="*/ 34709 w 521370"/>
                    <a:gd name="connsiteY335" fmla="*/ 94439 h 494264"/>
                    <a:gd name="connsiteX336" fmla="*/ 36022 w 521370"/>
                    <a:gd name="connsiteY336" fmla="*/ 94121 h 494264"/>
                    <a:gd name="connsiteX337" fmla="*/ 41335 w 521370"/>
                    <a:gd name="connsiteY337" fmla="*/ 89166 h 494264"/>
                    <a:gd name="connsiteX338" fmla="*/ 46127 w 521370"/>
                    <a:gd name="connsiteY338" fmla="*/ 84700 h 494264"/>
                    <a:gd name="connsiteX339" fmla="*/ 49004 w 521370"/>
                    <a:gd name="connsiteY339" fmla="*/ 79223 h 494264"/>
                    <a:gd name="connsiteX340" fmla="*/ 51791 w 521370"/>
                    <a:gd name="connsiteY340" fmla="*/ 73918 h 494264"/>
                    <a:gd name="connsiteX341" fmla="*/ 53054 w 521370"/>
                    <a:gd name="connsiteY341" fmla="*/ 72810 h 494264"/>
                    <a:gd name="connsiteX342" fmla="*/ 57317 w 521370"/>
                    <a:gd name="connsiteY342" fmla="*/ 71815 h 494264"/>
                    <a:gd name="connsiteX343" fmla="*/ 64073 w 521370"/>
                    <a:gd name="connsiteY343" fmla="*/ 70234 h 494264"/>
                    <a:gd name="connsiteX344" fmla="*/ 70764 w 521370"/>
                    <a:gd name="connsiteY344" fmla="*/ 68670 h 494264"/>
                    <a:gd name="connsiteX345" fmla="*/ 71285 w 521370"/>
                    <a:gd name="connsiteY345" fmla="*/ 68140 h 494264"/>
                    <a:gd name="connsiteX346" fmla="*/ 72850 w 521370"/>
                    <a:gd name="connsiteY346" fmla="*/ 63878 h 494264"/>
                    <a:gd name="connsiteX347" fmla="*/ 74839 w 521370"/>
                    <a:gd name="connsiteY347" fmla="*/ 58450 h 494264"/>
                    <a:gd name="connsiteX348" fmla="*/ 75238 w 521370"/>
                    <a:gd name="connsiteY348" fmla="*/ 57887 h 494264"/>
                    <a:gd name="connsiteX349" fmla="*/ 75727 w 521370"/>
                    <a:gd name="connsiteY349" fmla="*/ 57341 h 494264"/>
                    <a:gd name="connsiteX350" fmla="*/ 80519 w 521370"/>
                    <a:gd name="connsiteY350" fmla="*/ 54294 h 494264"/>
                    <a:gd name="connsiteX351" fmla="*/ 83429 w 521370"/>
                    <a:gd name="connsiteY351" fmla="*/ 52452 h 494264"/>
                    <a:gd name="connsiteX352" fmla="*/ 79289 w 521370"/>
                    <a:gd name="connsiteY352" fmla="*/ 47008 h 494264"/>
                    <a:gd name="connsiteX353" fmla="*/ 75377 w 521370"/>
                    <a:gd name="connsiteY353" fmla="*/ 41865 h 494264"/>
                    <a:gd name="connsiteX354" fmla="*/ 71008 w 521370"/>
                    <a:gd name="connsiteY354" fmla="*/ 36111 h 494264"/>
                    <a:gd name="connsiteX355" fmla="*/ 67292 w 521370"/>
                    <a:gd name="connsiteY355" fmla="*/ 31621 h 494264"/>
                    <a:gd name="connsiteX356" fmla="*/ 61726 w 521370"/>
                    <a:gd name="connsiteY356" fmla="*/ 24889 h 494264"/>
                    <a:gd name="connsiteX357" fmla="*/ 58091 w 521370"/>
                    <a:gd name="connsiteY357" fmla="*/ 20488 h 494264"/>
                    <a:gd name="connsiteX358" fmla="*/ 64464 w 521370"/>
                    <a:gd name="connsiteY358" fmla="*/ 18402 h 494264"/>
                    <a:gd name="connsiteX359" fmla="*/ 71359 w 521370"/>
                    <a:gd name="connsiteY359" fmla="*/ 16145 h 494264"/>
                    <a:gd name="connsiteX360" fmla="*/ 78319 w 521370"/>
                    <a:gd name="connsiteY360" fmla="*/ 13863 h 494264"/>
                    <a:gd name="connsiteX361" fmla="*/ 86688 w 521370"/>
                    <a:gd name="connsiteY361" fmla="*/ 11116 h 494264"/>
                    <a:gd name="connsiteX362" fmla="*/ 93233 w 521370"/>
                    <a:gd name="connsiteY362" fmla="*/ 8973 h 494264"/>
                    <a:gd name="connsiteX363" fmla="*/ 103012 w 521370"/>
                    <a:gd name="connsiteY363" fmla="*/ 5770 h 494264"/>
                    <a:gd name="connsiteX364" fmla="*/ 107796 w 521370"/>
                    <a:gd name="connsiteY364" fmla="*/ 4197 h 494264"/>
                    <a:gd name="connsiteX365" fmla="*/ 108652 w 521370"/>
                    <a:gd name="connsiteY365" fmla="*/ 3790 h 494264"/>
                    <a:gd name="connsiteX366" fmla="*/ 112327 w 521370"/>
                    <a:gd name="connsiteY366" fmla="*/ 0 h 494264"/>
                    <a:gd name="connsiteX367" fmla="*/ 117861 w 521370"/>
                    <a:gd name="connsiteY367" fmla="*/ 1068 h 494264"/>
                    <a:gd name="connsiteX368" fmla="*/ 126182 w 521370"/>
                    <a:gd name="connsiteY368" fmla="*/ 2665 h 494264"/>
                    <a:gd name="connsiteX369" fmla="*/ 134209 w 521370"/>
                    <a:gd name="connsiteY369" fmla="*/ 4197 h 494264"/>
                    <a:gd name="connsiteX370" fmla="*/ 142677 w 521370"/>
                    <a:gd name="connsiteY370" fmla="*/ 6014 h 494264"/>
                    <a:gd name="connsiteX371" fmla="*/ 145399 w 521370"/>
                    <a:gd name="connsiteY371" fmla="*/ 7498 h 494264"/>
                    <a:gd name="connsiteX372" fmla="*/ 153574 w 521370"/>
                    <a:gd name="connsiteY372" fmla="*/ 12934 h 494264"/>
                    <a:gd name="connsiteX373" fmla="*/ 158879 w 521370"/>
                    <a:gd name="connsiteY373" fmla="*/ 16462 h 494264"/>
                    <a:gd name="connsiteX374" fmla="*/ 165089 w 521370"/>
                    <a:gd name="connsiteY374" fmla="*/ 20578 h 494264"/>
                    <a:gd name="connsiteX375" fmla="*/ 172831 w 521370"/>
                    <a:gd name="connsiteY375" fmla="*/ 25720 h 494264"/>
                    <a:gd name="connsiteX376" fmla="*/ 178153 w 521370"/>
                    <a:gd name="connsiteY376" fmla="*/ 29249 h 494264"/>
                    <a:gd name="connsiteX377" fmla="*/ 184966 w 521370"/>
                    <a:gd name="connsiteY377" fmla="*/ 33764 h 494264"/>
                    <a:gd name="connsiteX378" fmla="*/ 190272 w 521370"/>
                    <a:gd name="connsiteY378" fmla="*/ 38923 h 494264"/>
                    <a:gd name="connsiteX379" fmla="*/ 197003 w 521370"/>
                    <a:gd name="connsiteY379" fmla="*/ 45459 h 494264"/>
                    <a:gd name="connsiteX380" fmla="*/ 204387 w 521370"/>
                    <a:gd name="connsiteY380" fmla="*/ 52615 h 494264"/>
                    <a:gd name="connsiteX381" fmla="*/ 210466 w 521370"/>
                    <a:gd name="connsiteY381" fmla="*/ 58173 h 494264"/>
                    <a:gd name="connsiteX382" fmla="*/ 218853 w 521370"/>
                    <a:gd name="connsiteY382" fmla="*/ 65825 h 494264"/>
                    <a:gd name="connsiteX383" fmla="*/ 227109 w 521370"/>
                    <a:gd name="connsiteY383" fmla="*/ 73356 h 494264"/>
                    <a:gd name="connsiteX384" fmla="*/ 235185 w 521370"/>
                    <a:gd name="connsiteY384" fmla="*/ 80723 h 494264"/>
                    <a:gd name="connsiteX385" fmla="*/ 241672 w 521370"/>
                    <a:gd name="connsiteY385" fmla="*/ 86615 h 494264"/>
                    <a:gd name="connsiteX386" fmla="*/ 249846 w 521370"/>
                    <a:gd name="connsiteY386" fmla="*/ 94072 h 494264"/>
                    <a:gd name="connsiteX387" fmla="*/ 250417 w 521370"/>
                    <a:gd name="connsiteY387" fmla="*/ 94358 h 494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Lst>
                  <a:rect l="l" t="t" r="r" b="b"/>
                  <a:pathLst>
                    <a:path w="521370" h="494264">
                      <a:moveTo>
                        <a:pt x="250417" y="94358"/>
                      </a:moveTo>
                      <a:lnTo>
                        <a:pt x="258705" y="95205"/>
                      </a:lnTo>
                      <a:lnTo>
                        <a:pt x="269829" y="96346"/>
                      </a:lnTo>
                      <a:lnTo>
                        <a:pt x="281003" y="97487"/>
                      </a:lnTo>
                      <a:lnTo>
                        <a:pt x="291092" y="98514"/>
                      </a:lnTo>
                      <a:lnTo>
                        <a:pt x="295436" y="97479"/>
                      </a:lnTo>
                      <a:lnTo>
                        <a:pt x="300228" y="98164"/>
                      </a:lnTo>
                      <a:lnTo>
                        <a:pt x="306609" y="99093"/>
                      </a:lnTo>
                      <a:lnTo>
                        <a:pt x="310505" y="99720"/>
                      </a:lnTo>
                      <a:lnTo>
                        <a:pt x="317807" y="100894"/>
                      </a:lnTo>
                      <a:lnTo>
                        <a:pt x="319999" y="105734"/>
                      </a:lnTo>
                      <a:lnTo>
                        <a:pt x="320790" y="109125"/>
                      </a:lnTo>
                      <a:lnTo>
                        <a:pt x="321531" y="112426"/>
                      </a:lnTo>
                      <a:lnTo>
                        <a:pt x="323724" y="115449"/>
                      </a:lnTo>
                      <a:lnTo>
                        <a:pt x="328695" y="115376"/>
                      </a:lnTo>
                      <a:lnTo>
                        <a:pt x="333104" y="115311"/>
                      </a:lnTo>
                      <a:lnTo>
                        <a:pt x="338540" y="115213"/>
                      </a:lnTo>
                      <a:lnTo>
                        <a:pt x="342851" y="115139"/>
                      </a:lnTo>
                      <a:lnTo>
                        <a:pt x="344228" y="118138"/>
                      </a:lnTo>
                      <a:lnTo>
                        <a:pt x="344840" y="121121"/>
                      </a:lnTo>
                      <a:lnTo>
                        <a:pt x="347398" y="128212"/>
                      </a:lnTo>
                      <a:lnTo>
                        <a:pt x="351049" y="133721"/>
                      </a:lnTo>
                      <a:lnTo>
                        <a:pt x="351930" y="135734"/>
                      </a:lnTo>
                      <a:lnTo>
                        <a:pt x="352508" y="138757"/>
                      </a:lnTo>
                      <a:lnTo>
                        <a:pt x="351881" y="139882"/>
                      </a:lnTo>
                      <a:lnTo>
                        <a:pt x="351636" y="141186"/>
                      </a:lnTo>
                      <a:lnTo>
                        <a:pt x="354342" y="144209"/>
                      </a:lnTo>
                      <a:lnTo>
                        <a:pt x="358825" y="146768"/>
                      </a:lnTo>
                      <a:lnTo>
                        <a:pt x="360568" y="147412"/>
                      </a:lnTo>
                      <a:lnTo>
                        <a:pt x="362549" y="148545"/>
                      </a:lnTo>
                      <a:lnTo>
                        <a:pt x="361017" y="150289"/>
                      </a:lnTo>
                      <a:lnTo>
                        <a:pt x="363649" y="154323"/>
                      </a:lnTo>
                      <a:lnTo>
                        <a:pt x="366722" y="158431"/>
                      </a:lnTo>
                      <a:lnTo>
                        <a:pt x="369998" y="159352"/>
                      </a:lnTo>
                      <a:lnTo>
                        <a:pt x="374431" y="165562"/>
                      </a:lnTo>
                      <a:lnTo>
                        <a:pt x="381122" y="169580"/>
                      </a:lnTo>
                      <a:lnTo>
                        <a:pt x="385181" y="174836"/>
                      </a:lnTo>
                      <a:lnTo>
                        <a:pt x="384806" y="174934"/>
                      </a:lnTo>
                      <a:lnTo>
                        <a:pt x="383616" y="174404"/>
                      </a:lnTo>
                      <a:lnTo>
                        <a:pt x="382116" y="173679"/>
                      </a:lnTo>
                      <a:lnTo>
                        <a:pt x="381660" y="174331"/>
                      </a:lnTo>
                      <a:lnTo>
                        <a:pt x="381742" y="176540"/>
                      </a:lnTo>
                      <a:lnTo>
                        <a:pt x="382141" y="179123"/>
                      </a:lnTo>
                      <a:lnTo>
                        <a:pt x="384203" y="181364"/>
                      </a:lnTo>
                      <a:lnTo>
                        <a:pt x="386061" y="182978"/>
                      </a:lnTo>
                      <a:lnTo>
                        <a:pt x="386770" y="186026"/>
                      </a:lnTo>
                      <a:lnTo>
                        <a:pt x="385327" y="192586"/>
                      </a:lnTo>
                      <a:lnTo>
                        <a:pt x="384822" y="192586"/>
                      </a:lnTo>
                      <a:lnTo>
                        <a:pt x="383844" y="192016"/>
                      </a:lnTo>
                      <a:lnTo>
                        <a:pt x="382801" y="191885"/>
                      </a:lnTo>
                      <a:lnTo>
                        <a:pt x="382255" y="192260"/>
                      </a:lnTo>
                      <a:lnTo>
                        <a:pt x="383477" y="196979"/>
                      </a:lnTo>
                      <a:lnTo>
                        <a:pt x="384683" y="200597"/>
                      </a:lnTo>
                      <a:lnTo>
                        <a:pt x="386167" y="203458"/>
                      </a:lnTo>
                      <a:lnTo>
                        <a:pt x="387381" y="207647"/>
                      </a:lnTo>
                      <a:lnTo>
                        <a:pt x="388440" y="209432"/>
                      </a:lnTo>
                      <a:lnTo>
                        <a:pt x="392752" y="213882"/>
                      </a:lnTo>
                      <a:lnTo>
                        <a:pt x="394072" y="217598"/>
                      </a:lnTo>
                      <a:lnTo>
                        <a:pt x="395286" y="224517"/>
                      </a:lnTo>
                      <a:lnTo>
                        <a:pt x="398000" y="228380"/>
                      </a:lnTo>
                      <a:lnTo>
                        <a:pt x="399451" y="231338"/>
                      </a:lnTo>
                      <a:lnTo>
                        <a:pt x="401407" y="233857"/>
                      </a:lnTo>
                      <a:lnTo>
                        <a:pt x="402678" y="237296"/>
                      </a:lnTo>
                      <a:lnTo>
                        <a:pt x="404479" y="239944"/>
                      </a:lnTo>
                      <a:lnTo>
                        <a:pt x="405416" y="240613"/>
                      </a:lnTo>
                      <a:lnTo>
                        <a:pt x="406818" y="240890"/>
                      </a:lnTo>
                      <a:lnTo>
                        <a:pt x="408571" y="240906"/>
                      </a:lnTo>
                      <a:lnTo>
                        <a:pt x="410673" y="240213"/>
                      </a:lnTo>
                      <a:lnTo>
                        <a:pt x="412906" y="239570"/>
                      </a:lnTo>
                      <a:lnTo>
                        <a:pt x="414650" y="240914"/>
                      </a:lnTo>
                      <a:lnTo>
                        <a:pt x="416459" y="240719"/>
                      </a:lnTo>
                      <a:lnTo>
                        <a:pt x="416630" y="241957"/>
                      </a:lnTo>
                      <a:lnTo>
                        <a:pt x="415432" y="243652"/>
                      </a:lnTo>
                      <a:lnTo>
                        <a:pt x="413941" y="247931"/>
                      </a:lnTo>
                      <a:lnTo>
                        <a:pt x="416068" y="248607"/>
                      </a:lnTo>
                      <a:lnTo>
                        <a:pt x="418073" y="248942"/>
                      </a:lnTo>
                      <a:lnTo>
                        <a:pt x="419524" y="249626"/>
                      </a:lnTo>
                      <a:lnTo>
                        <a:pt x="420363" y="249626"/>
                      </a:lnTo>
                      <a:lnTo>
                        <a:pt x="420363" y="250506"/>
                      </a:lnTo>
                      <a:lnTo>
                        <a:pt x="420453" y="254573"/>
                      </a:lnTo>
                      <a:lnTo>
                        <a:pt x="420958" y="256122"/>
                      </a:lnTo>
                      <a:lnTo>
                        <a:pt x="421871" y="257491"/>
                      </a:lnTo>
                      <a:lnTo>
                        <a:pt x="423231" y="259536"/>
                      </a:lnTo>
                      <a:lnTo>
                        <a:pt x="424601" y="261582"/>
                      </a:lnTo>
                      <a:lnTo>
                        <a:pt x="425962" y="263628"/>
                      </a:lnTo>
                      <a:lnTo>
                        <a:pt x="427331" y="265673"/>
                      </a:lnTo>
                      <a:lnTo>
                        <a:pt x="428684" y="267719"/>
                      </a:lnTo>
                      <a:lnTo>
                        <a:pt x="430053" y="269764"/>
                      </a:lnTo>
                      <a:lnTo>
                        <a:pt x="431422" y="271810"/>
                      </a:lnTo>
                      <a:lnTo>
                        <a:pt x="432783" y="273855"/>
                      </a:lnTo>
                      <a:lnTo>
                        <a:pt x="434152" y="275901"/>
                      </a:lnTo>
                      <a:lnTo>
                        <a:pt x="435513" y="277938"/>
                      </a:lnTo>
                      <a:lnTo>
                        <a:pt x="436883" y="279984"/>
                      </a:lnTo>
                      <a:lnTo>
                        <a:pt x="438244" y="282021"/>
                      </a:lnTo>
                      <a:lnTo>
                        <a:pt x="439605" y="284059"/>
                      </a:lnTo>
                      <a:lnTo>
                        <a:pt x="440973" y="286105"/>
                      </a:lnTo>
                      <a:lnTo>
                        <a:pt x="442335" y="288150"/>
                      </a:lnTo>
                      <a:lnTo>
                        <a:pt x="443704" y="290188"/>
                      </a:lnTo>
                      <a:lnTo>
                        <a:pt x="444836" y="291883"/>
                      </a:lnTo>
                      <a:lnTo>
                        <a:pt x="446923" y="292209"/>
                      </a:lnTo>
                      <a:lnTo>
                        <a:pt x="447583" y="292306"/>
                      </a:lnTo>
                      <a:lnTo>
                        <a:pt x="449457" y="292600"/>
                      </a:lnTo>
                      <a:lnTo>
                        <a:pt x="452367" y="293056"/>
                      </a:lnTo>
                      <a:lnTo>
                        <a:pt x="456157" y="293627"/>
                      </a:lnTo>
                      <a:lnTo>
                        <a:pt x="460631" y="294319"/>
                      </a:lnTo>
                      <a:lnTo>
                        <a:pt x="465635" y="295085"/>
                      </a:lnTo>
                      <a:lnTo>
                        <a:pt x="470981" y="295900"/>
                      </a:lnTo>
                      <a:lnTo>
                        <a:pt x="476498" y="296748"/>
                      </a:lnTo>
                      <a:lnTo>
                        <a:pt x="482024" y="297596"/>
                      </a:lnTo>
                      <a:lnTo>
                        <a:pt x="487362" y="298419"/>
                      </a:lnTo>
                      <a:lnTo>
                        <a:pt x="492358" y="299185"/>
                      </a:lnTo>
                      <a:lnTo>
                        <a:pt x="496840" y="299869"/>
                      </a:lnTo>
                      <a:lnTo>
                        <a:pt x="500622" y="300448"/>
                      </a:lnTo>
                      <a:lnTo>
                        <a:pt x="503547" y="300888"/>
                      </a:lnTo>
                      <a:lnTo>
                        <a:pt x="505414" y="301182"/>
                      </a:lnTo>
                      <a:lnTo>
                        <a:pt x="506082" y="301288"/>
                      </a:lnTo>
                      <a:lnTo>
                        <a:pt x="508038" y="301589"/>
                      </a:lnTo>
                      <a:lnTo>
                        <a:pt x="508421" y="301507"/>
                      </a:lnTo>
                      <a:lnTo>
                        <a:pt x="510067" y="299014"/>
                      </a:lnTo>
                      <a:lnTo>
                        <a:pt x="511885" y="302543"/>
                      </a:lnTo>
                      <a:lnTo>
                        <a:pt x="513400" y="305468"/>
                      </a:lnTo>
                      <a:lnTo>
                        <a:pt x="515479" y="309486"/>
                      </a:lnTo>
                      <a:lnTo>
                        <a:pt x="517687" y="313748"/>
                      </a:lnTo>
                      <a:lnTo>
                        <a:pt x="519798" y="317823"/>
                      </a:lnTo>
                      <a:lnTo>
                        <a:pt x="521371" y="320855"/>
                      </a:lnTo>
                      <a:lnTo>
                        <a:pt x="520531" y="324009"/>
                      </a:lnTo>
                      <a:lnTo>
                        <a:pt x="519627" y="327448"/>
                      </a:lnTo>
                      <a:lnTo>
                        <a:pt x="518714" y="330879"/>
                      </a:lnTo>
                      <a:lnTo>
                        <a:pt x="517809" y="334310"/>
                      </a:lnTo>
                      <a:lnTo>
                        <a:pt x="516905" y="337741"/>
                      </a:lnTo>
                      <a:lnTo>
                        <a:pt x="516000" y="341172"/>
                      </a:lnTo>
                      <a:lnTo>
                        <a:pt x="515096" y="344595"/>
                      </a:lnTo>
                      <a:lnTo>
                        <a:pt x="514191" y="348026"/>
                      </a:lnTo>
                      <a:lnTo>
                        <a:pt x="513286" y="351457"/>
                      </a:lnTo>
                      <a:lnTo>
                        <a:pt x="512374" y="354880"/>
                      </a:lnTo>
                      <a:lnTo>
                        <a:pt x="511477" y="358303"/>
                      </a:lnTo>
                      <a:lnTo>
                        <a:pt x="510564" y="361726"/>
                      </a:lnTo>
                      <a:lnTo>
                        <a:pt x="509668" y="365149"/>
                      </a:lnTo>
                      <a:lnTo>
                        <a:pt x="508755" y="368572"/>
                      </a:lnTo>
                      <a:lnTo>
                        <a:pt x="507859" y="371995"/>
                      </a:lnTo>
                      <a:lnTo>
                        <a:pt x="506946" y="375409"/>
                      </a:lnTo>
                      <a:lnTo>
                        <a:pt x="506041" y="378832"/>
                      </a:lnTo>
                      <a:lnTo>
                        <a:pt x="504941" y="382948"/>
                      </a:lnTo>
                      <a:lnTo>
                        <a:pt x="502308" y="384040"/>
                      </a:lnTo>
                      <a:lnTo>
                        <a:pt x="498046" y="385808"/>
                      </a:lnTo>
                      <a:lnTo>
                        <a:pt x="493784" y="387577"/>
                      </a:lnTo>
                      <a:lnTo>
                        <a:pt x="489522" y="389354"/>
                      </a:lnTo>
                      <a:lnTo>
                        <a:pt x="485259" y="391122"/>
                      </a:lnTo>
                      <a:lnTo>
                        <a:pt x="480989" y="392882"/>
                      </a:lnTo>
                      <a:lnTo>
                        <a:pt x="476727" y="394651"/>
                      </a:lnTo>
                      <a:lnTo>
                        <a:pt x="472464" y="396419"/>
                      </a:lnTo>
                      <a:lnTo>
                        <a:pt x="468202" y="398196"/>
                      </a:lnTo>
                      <a:lnTo>
                        <a:pt x="463948" y="399956"/>
                      </a:lnTo>
                      <a:lnTo>
                        <a:pt x="459669" y="401725"/>
                      </a:lnTo>
                      <a:lnTo>
                        <a:pt x="455407" y="403493"/>
                      </a:lnTo>
                      <a:lnTo>
                        <a:pt x="451153" y="405262"/>
                      </a:lnTo>
                      <a:lnTo>
                        <a:pt x="446890" y="407022"/>
                      </a:lnTo>
                      <a:lnTo>
                        <a:pt x="442628" y="408790"/>
                      </a:lnTo>
                      <a:lnTo>
                        <a:pt x="438358" y="410551"/>
                      </a:lnTo>
                      <a:lnTo>
                        <a:pt x="434095" y="412311"/>
                      </a:lnTo>
                      <a:lnTo>
                        <a:pt x="430599" y="413762"/>
                      </a:lnTo>
                      <a:lnTo>
                        <a:pt x="424780" y="414732"/>
                      </a:lnTo>
                      <a:lnTo>
                        <a:pt x="419132" y="415677"/>
                      </a:lnTo>
                      <a:lnTo>
                        <a:pt x="412767" y="416737"/>
                      </a:lnTo>
                      <a:lnTo>
                        <a:pt x="405123" y="418016"/>
                      </a:lnTo>
                      <a:lnTo>
                        <a:pt x="399133" y="419018"/>
                      </a:lnTo>
                      <a:lnTo>
                        <a:pt x="390380" y="420485"/>
                      </a:lnTo>
                      <a:lnTo>
                        <a:pt x="382532" y="421798"/>
                      </a:lnTo>
                      <a:lnTo>
                        <a:pt x="375165" y="423020"/>
                      </a:lnTo>
                      <a:lnTo>
                        <a:pt x="367805" y="424242"/>
                      </a:lnTo>
                      <a:lnTo>
                        <a:pt x="361530" y="425286"/>
                      </a:lnTo>
                      <a:lnTo>
                        <a:pt x="357806" y="426500"/>
                      </a:lnTo>
                      <a:lnTo>
                        <a:pt x="353413" y="429165"/>
                      </a:lnTo>
                      <a:lnTo>
                        <a:pt x="346665" y="433240"/>
                      </a:lnTo>
                      <a:lnTo>
                        <a:pt x="339787" y="437396"/>
                      </a:lnTo>
                      <a:lnTo>
                        <a:pt x="336217" y="439548"/>
                      </a:lnTo>
                      <a:lnTo>
                        <a:pt x="332493" y="445073"/>
                      </a:lnTo>
                      <a:lnTo>
                        <a:pt x="330610" y="447869"/>
                      </a:lnTo>
                      <a:lnTo>
                        <a:pt x="327195" y="452921"/>
                      </a:lnTo>
                      <a:lnTo>
                        <a:pt x="324612" y="456735"/>
                      </a:lnTo>
                      <a:lnTo>
                        <a:pt x="321531" y="461283"/>
                      </a:lnTo>
                      <a:lnTo>
                        <a:pt x="320186" y="465341"/>
                      </a:lnTo>
                      <a:lnTo>
                        <a:pt x="318117" y="471600"/>
                      </a:lnTo>
                      <a:lnTo>
                        <a:pt x="316323" y="473173"/>
                      </a:lnTo>
                      <a:lnTo>
                        <a:pt x="313390" y="475211"/>
                      </a:lnTo>
                      <a:lnTo>
                        <a:pt x="310717" y="476661"/>
                      </a:lnTo>
                      <a:lnTo>
                        <a:pt x="306552" y="476458"/>
                      </a:lnTo>
                      <a:lnTo>
                        <a:pt x="304180" y="472611"/>
                      </a:lnTo>
                      <a:lnTo>
                        <a:pt x="301662" y="468536"/>
                      </a:lnTo>
                      <a:lnTo>
                        <a:pt x="300407" y="466898"/>
                      </a:lnTo>
                      <a:lnTo>
                        <a:pt x="299274" y="466809"/>
                      </a:lnTo>
                      <a:lnTo>
                        <a:pt x="295085" y="467322"/>
                      </a:lnTo>
                      <a:lnTo>
                        <a:pt x="290041" y="467949"/>
                      </a:lnTo>
                      <a:lnTo>
                        <a:pt x="284100" y="467281"/>
                      </a:lnTo>
                      <a:lnTo>
                        <a:pt x="277254" y="466507"/>
                      </a:lnTo>
                      <a:lnTo>
                        <a:pt x="270823" y="465790"/>
                      </a:lnTo>
                      <a:lnTo>
                        <a:pt x="267629" y="465244"/>
                      </a:lnTo>
                      <a:lnTo>
                        <a:pt x="263407" y="462603"/>
                      </a:lnTo>
                      <a:lnTo>
                        <a:pt x="262324" y="462073"/>
                      </a:lnTo>
                      <a:lnTo>
                        <a:pt x="261207" y="461951"/>
                      </a:lnTo>
                      <a:lnTo>
                        <a:pt x="256203" y="461886"/>
                      </a:lnTo>
                      <a:lnTo>
                        <a:pt x="251264" y="461821"/>
                      </a:lnTo>
                      <a:lnTo>
                        <a:pt x="246293" y="462660"/>
                      </a:lnTo>
                      <a:lnTo>
                        <a:pt x="241533" y="462351"/>
                      </a:lnTo>
                      <a:lnTo>
                        <a:pt x="236603" y="462840"/>
                      </a:lnTo>
                      <a:lnTo>
                        <a:pt x="234875" y="463858"/>
                      </a:lnTo>
                      <a:lnTo>
                        <a:pt x="232943" y="463801"/>
                      </a:lnTo>
                      <a:lnTo>
                        <a:pt x="231746" y="464690"/>
                      </a:lnTo>
                      <a:lnTo>
                        <a:pt x="230686" y="465113"/>
                      </a:lnTo>
                      <a:lnTo>
                        <a:pt x="229439" y="464347"/>
                      </a:lnTo>
                      <a:lnTo>
                        <a:pt x="227891" y="464518"/>
                      </a:lnTo>
                      <a:lnTo>
                        <a:pt x="225641" y="463866"/>
                      </a:lnTo>
                      <a:lnTo>
                        <a:pt x="224158" y="462139"/>
                      </a:lnTo>
                      <a:lnTo>
                        <a:pt x="222765" y="460615"/>
                      </a:lnTo>
                      <a:lnTo>
                        <a:pt x="221322" y="459784"/>
                      </a:lnTo>
                      <a:lnTo>
                        <a:pt x="219716" y="459254"/>
                      </a:lnTo>
                      <a:lnTo>
                        <a:pt x="218315" y="459246"/>
                      </a:lnTo>
                      <a:lnTo>
                        <a:pt x="216530" y="460167"/>
                      </a:lnTo>
                      <a:lnTo>
                        <a:pt x="215438" y="461063"/>
                      </a:lnTo>
                      <a:lnTo>
                        <a:pt x="212675" y="464046"/>
                      </a:lnTo>
                      <a:lnTo>
                        <a:pt x="212561" y="465113"/>
                      </a:lnTo>
                      <a:lnTo>
                        <a:pt x="213816" y="466898"/>
                      </a:lnTo>
                      <a:lnTo>
                        <a:pt x="213425" y="467738"/>
                      </a:lnTo>
                      <a:lnTo>
                        <a:pt x="211803" y="468781"/>
                      </a:lnTo>
                      <a:lnTo>
                        <a:pt x="211306" y="471600"/>
                      </a:lnTo>
                      <a:lnTo>
                        <a:pt x="211070" y="473141"/>
                      </a:lnTo>
                      <a:lnTo>
                        <a:pt x="210834" y="476833"/>
                      </a:lnTo>
                      <a:lnTo>
                        <a:pt x="211550" y="479742"/>
                      </a:lnTo>
                      <a:lnTo>
                        <a:pt x="212520" y="480810"/>
                      </a:lnTo>
                      <a:lnTo>
                        <a:pt x="212561" y="482057"/>
                      </a:lnTo>
                      <a:lnTo>
                        <a:pt x="212040" y="484551"/>
                      </a:lnTo>
                      <a:lnTo>
                        <a:pt x="210540" y="485325"/>
                      </a:lnTo>
                      <a:lnTo>
                        <a:pt x="209448" y="487696"/>
                      </a:lnTo>
                      <a:lnTo>
                        <a:pt x="208772" y="488804"/>
                      </a:lnTo>
                      <a:lnTo>
                        <a:pt x="207598" y="490068"/>
                      </a:lnTo>
                      <a:lnTo>
                        <a:pt x="202969" y="494265"/>
                      </a:lnTo>
                      <a:lnTo>
                        <a:pt x="202733" y="491828"/>
                      </a:lnTo>
                      <a:lnTo>
                        <a:pt x="201257" y="488210"/>
                      </a:lnTo>
                      <a:lnTo>
                        <a:pt x="201151" y="485659"/>
                      </a:lnTo>
                      <a:lnTo>
                        <a:pt x="200467" y="483100"/>
                      </a:lnTo>
                      <a:lnTo>
                        <a:pt x="199195" y="481128"/>
                      </a:lnTo>
                      <a:lnTo>
                        <a:pt x="196849" y="479082"/>
                      </a:lnTo>
                      <a:lnTo>
                        <a:pt x="196637" y="476295"/>
                      </a:lnTo>
                      <a:lnTo>
                        <a:pt x="194917" y="473532"/>
                      </a:lnTo>
                      <a:lnTo>
                        <a:pt x="192643" y="471315"/>
                      </a:lnTo>
                      <a:lnTo>
                        <a:pt x="191388" y="467200"/>
                      </a:lnTo>
                      <a:lnTo>
                        <a:pt x="190435" y="461748"/>
                      </a:lnTo>
                      <a:lnTo>
                        <a:pt x="184453" y="454559"/>
                      </a:lnTo>
                      <a:lnTo>
                        <a:pt x="176947" y="447926"/>
                      </a:lnTo>
                      <a:lnTo>
                        <a:pt x="174673" y="444185"/>
                      </a:lnTo>
                      <a:lnTo>
                        <a:pt x="170940" y="436557"/>
                      </a:lnTo>
                      <a:lnTo>
                        <a:pt x="169058" y="430526"/>
                      </a:lnTo>
                      <a:lnTo>
                        <a:pt x="164038" y="423582"/>
                      </a:lnTo>
                      <a:lnTo>
                        <a:pt x="163834" y="420909"/>
                      </a:lnTo>
                      <a:lnTo>
                        <a:pt x="163084" y="417649"/>
                      </a:lnTo>
                      <a:lnTo>
                        <a:pt x="161927" y="414023"/>
                      </a:lnTo>
                      <a:lnTo>
                        <a:pt x="161226" y="411154"/>
                      </a:lnTo>
                      <a:lnTo>
                        <a:pt x="156197" y="398587"/>
                      </a:lnTo>
                      <a:lnTo>
                        <a:pt x="154584" y="396574"/>
                      </a:lnTo>
                      <a:lnTo>
                        <a:pt x="153191" y="393762"/>
                      </a:lnTo>
                      <a:lnTo>
                        <a:pt x="152823" y="391586"/>
                      </a:lnTo>
                      <a:lnTo>
                        <a:pt x="152375" y="390397"/>
                      </a:lnTo>
                      <a:lnTo>
                        <a:pt x="148822" y="388335"/>
                      </a:lnTo>
                      <a:lnTo>
                        <a:pt x="145505" y="383054"/>
                      </a:lnTo>
                      <a:lnTo>
                        <a:pt x="135546" y="374635"/>
                      </a:lnTo>
                      <a:lnTo>
                        <a:pt x="130664" y="373795"/>
                      </a:lnTo>
                      <a:lnTo>
                        <a:pt x="126801" y="370788"/>
                      </a:lnTo>
                      <a:lnTo>
                        <a:pt x="123957" y="366852"/>
                      </a:lnTo>
                      <a:lnTo>
                        <a:pt x="120917" y="360063"/>
                      </a:lnTo>
                      <a:lnTo>
                        <a:pt x="115579" y="352728"/>
                      </a:lnTo>
                      <a:lnTo>
                        <a:pt x="111056" y="342305"/>
                      </a:lnTo>
                      <a:lnTo>
                        <a:pt x="112474" y="338515"/>
                      </a:lnTo>
                      <a:lnTo>
                        <a:pt x="112385" y="335834"/>
                      </a:lnTo>
                      <a:lnTo>
                        <a:pt x="110991" y="331335"/>
                      </a:lnTo>
                      <a:lnTo>
                        <a:pt x="109467" y="327864"/>
                      </a:lnTo>
                      <a:lnTo>
                        <a:pt x="108424" y="324579"/>
                      </a:lnTo>
                      <a:lnTo>
                        <a:pt x="109255" y="319869"/>
                      </a:lnTo>
                      <a:lnTo>
                        <a:pt x="109565" y="314588"/>
                      </a:lnTo>
                      <a:lnTo>
                        <a:pt x="110461" y="311784"/>
                      </a:lnTo>
                      <a:lnTo>
                        <a:pt x="111097" y="308704"/>
                      </a:lnTo>
                      <a:lnTo>
                        <a:pt x="110258" y="302494"/>
                      </a:lnTo>
                      <a:lnTo>
                        <a:pt x="108750" y="299169"/>
                      </a:lnTo>
                      <a:lnTo>
                        <a:pt x="108905" y="296952"/>
                      </a:lnTo>
                      <a:lnTo>
                        <a:pt x="107202" y="295868"/>
                      </a:lnTo>
                      <a:lnTo>
                        <a:pt x="105816" y="293464"/>
                      </a:lnTo>
                      <a:lnTo>
                        <a:pt x="107258" y="293472"/>
                      </a:lnTo>
                      <a:lnTo>
                        <a:pt x="104651" y="290122"/>
                      </a:lnTo>
                      <a:lnTo>
                        <a:pt x="103689" y="288264"/>
                      </a:lnTo>
                      <a:lnTo>
                        <a:pt x="102703" y="283725"/>
                      </a:lnTo>
                      <a:lnTo>
                        <a:pt x="101448" y="280253"/>
                      </a:lnTo>
                      <a:lnTo>
                        <a:pt x="97381" y="272372"/>
                      </a:lnTo>
                      <a:lnTo>
                        <a:pt x="95442" y="267564"/>
                      </a:lnTo>
                      <a:lnTo>
                        <a:pt x="91090" y="261337"/>
                      </a:lnTo>
                      <a:lnTo>
                        <a:pt x="86379" y="256733"/>
                      </a:lnTo>
                      <a:lnTo>
                        <a:pt x="83388" y="254655"/>
                      </a:lnTo>
                      <a:lnTo>
                        <a:pt x="81946" y="252748"/>
                      </a:lnTo>
                      <a:lnTo>
                        <a:pt x="79492" y="252682"/>
                      </a:lnTo>
                      <a:lnTo>
                        <a:pt x="76828" y="249960"/>
                      </a:lnTo>
                      <a:lnTo>
                        <a:pt x="74961" y="249855"/>
                      </a:lnTo>
                      <a:lnTo>
                        <a:pt x="72597" y="249423"/>
                      </a:lnTo>
                      <a:lnTo>
                        <a:pt x="69818" y="244174"/>
                      </a:lnTo>
                      <a:lnTo>
                        <a:pt x="67528" y="239260"/>
                      </a:lnTo>
                      <a:lnTo>
                        <a:pt x="63617" y="232846"/>
                      </a:lnTo>
                      <a:lnTo>
                        <a:pt x="64603" y="231175"/>
                      </a:lnTo>
                      <a:lnTo>
                        <a:pt x="65744" y="228453"/>
                      </a:lnTo>
                      <a:lnTo>
                        <a:pt x="65181" y="224892"/>
                      </a:lnTo>
                      <a:lnTo>
                        <a:pt x="64562" y="222463"/>
                      </a:lnTo>
                      <a:lnTo>
                        <a:pt x="62834" y="218046"/>
                      </a:lnTo>
                      <a:lnTo>
                        <a:pt x="57178" y="207028"/>
                      </a:lnTo>
                      <a:lnTo>
                        <a:pt x="55671" y="205414"/>
                      </a:lnTo>
                      <a:lnTo>
                        <a:pt x="53258" y="203556"/>
                      </a:lnTo>
                      <a:lnTo>
                        <a:pt x="51759" y="198780"/>
                      </a:lnTo>
                      <a:lnTo>
                        <a:pt x="51083" y="194493"/>
                      </a:lnTo>
                      <a:lnTo>
                        <a:pt x="47203" y="192407"/>
                      </a:lnTo>
                      <a:lnTo>
                        <a:pt x="40528" y="176939"/>
                      </a:lnTo>
                      <a:lnTo>
                        <a:pt x="36657" y="171535"/>
                      </a:lnTo>
                      <a:lnTo>
                        <a:pt x="35125" y="167884"/>
                      </a:lnTo>
                      <a:lnTo>
                        <a:pt x="30651" y="161894"/>
                      </a:lnTo>
                      <a:lnTo>
                        <a:pt x="28450" y="155929"/>
                      </a:lnTo>
                      <a:lnTo>
                        <a:pt x="23935" y="150419"/>
                      </a:lnTo>
                      <a:lnTo>
                        <a:pt x="20032" y="140860"/>
                      </a:lnTo>
                      <a:lnTo>
                        <a:pt x="13993" y="131292"/>
                      </a:lnTo>
                      <a:lnTo>
                        <a:pt x="11467" y="129630"/>
                      </a:lnTo>
                      <a:lnTo>
                        <a:pt x="5240" y="128945"/>
                      </a:lnTo>
                      <a:lnTo>
                        <a:pt x="2624" y="128244"/>
                      </a:lnTo>
                      <a:lnTo>
                        <a:pt x="220" y="130347"/>
                      </a:lnTo>
                      <a:lnTo>
                        <a:pt x="0" y="127682"/>
                      </a:lnTo>
                      <a:lnTo>
                        <a:pt x="1662" y="123998"/>
                      </a:lnTo>
                      <a:lnTo>
                        <a:pt x="4066" y="116248"/>
                      </a:lnTo>
                      <a:lnTo>
                        <a:pt x="4547" y="109451"/>
                      </a:lnTo>
                      <a:lnTo>
                        <a:pt x="8304" y="89223"/>
                      </a:lnTo>
                      <a:lnTo>
                        <a:pt x="13586" y="90266"/>
                      </a:lnTo>
                      <a:lnTo>
                        <a:pt x="17937" y="91130"/>
                      </a:lnTo>
                      <a:lnTo>
                        <a:pt x="24278" y="92377"/>
                      </a:lnTo>
                      <a:lnTo>
                        <a:pt x="30854" y="93681"/>
                      </a:lnTo>
                      <a:lnTo>
                        <a:pt x="34709" y="94439"/>
                      </a:lnTo>
                      <a:lnTo>
                        <a:pt x="36022" y="94121"/>
                      </a:lnTo>
                      <a:lnTo>
                        <a:pt x="41335" y="89166"/>
                      </a:lnTo>
                      <a:lnTo>
                        <a:pt x="46127" y="84700"/>
                      </a:lnTo>
                      <a:lnTo>
                        <a:pt x="49004" y="79223"/>
                      </a:lnTo>
                      <a:lnTo>
                        <a:pt x="51791" y="73918"/>
                      </a:lnTo>
                      <a:lnTo>
                        <a:pt x="53054" y="72810"/>
                      </a:lnTo>
                      <a:lnTo>
                        <a:pt x="57317" y="71815"/>
                      </a:lnTo>
                      <a:lnTo>
                        <a:pt x="64073" y="70234"/>
                      </a:lnTo>
                      <a:lnTo>
                        <a:pt x="70764" y="68670"/>
                      </a:lnTo>
                      <a:lnTo>
                        <a:pt x="71285" y="68140"/>
                      </a:lnTo>
                      <a:lnTo>
                        <a:pt x="72850" y="63878"/>
                      </a:lnTo>
                      <a:lnTo>
                        <a:pt x="74839" y="58450"/>
                      </a:lnTo>
                      <a:lnTo>
                        <a:pt x="75238" y="57887"/>
                      </a:lnTo>
                      <a:lnTo>
                        <a:pt x="75727" y="57341"/>
                      </a:lnTo>
                      <a:lnTo>
                        <a:pt x="80519" y="54294"/>
                      </a:lnTo>
                      <a:lnTo>
                        <a:pt x="83429" y="52452"/>
                      </a:lnTo>
                      <a:lnTo>
                        <a:pt x="79289" y="47008"/>
                      </a:lnTo>
                      <a:lnTo>
                        <a:pt x="75377" y="41865"/>
                      </a:lnTo>
                      <a:lnTo>
                        <a:pt x="71008" y="36111"/>
                      </a:lnTo>
                      <a:lnTo>
                        <a:pt x="67292" y="31621"/>
                      </a:lnTo>
                      <a:lnTo>
                        <a:pt x="61726" y="24889"/>
                      </a:lnTo>
                      <a:lnTo>
                        <a:pt x="58091" y="20488"/>
                      </a:lnTo>
                      <a:lnTo>
                        <a:pt x="64464" y="18402"/>
                      </a:lnTo>
                      <a:lnTo>
                        <a:pt x="71359" y="16145"/>
                      </a:lnTo>
                      <a:lnTo>
                        <a:pt x="78319" y="13863"/>
                      </a:lnTo>
                      <a:lnTo>
                        <a:pt x="86688" y="11116"/>
                      </a:lnTo>
                      <a:lnTo>
                        <a:pt x="93233" y="8973"/>
                      </a:lnTo>
                      <a:lnTo>
                        <a:pt x="103012" y="5770"/>
                      </a:lnTo>
                      <a:lnTo>
                        <a:pt x="107796" y="4197"/>
                      </a:lnTo>
                      <a:lnTo>
                        <a:pt x="108652" y="3790"/>
                      </a:lnTo>
                      <a:lnTo>
                        <a:pt x="112327" y="0"/>
                      </a:lnTo>
                      <a:lnTo>
                        <a:pt x="117861" y="1068"/>
                      </a:lnTo>
                      <a:lnTo>
                        <a:pt x="126182" y="2665"/>
                      </a:lnTo>
                      <a:lnTo>
                        <a:pt x="134209" y="4197"/>
                      </a:lnTo>
                      <a:lnTo>
                        <a:pt x="142677" y="6014"/>
                      </a:lnTo>
                      <a:lnTo>
                        <a:pt x="145399" y="7498"/>
                      </a:lnTo>
                      <a:lnTo>
                        <a:pt x="153574" y="12934"/>
                      </a:lnTo>
                      <a:lnTo>
                        <a:pt x="158879" y="16462"/>
                      </a:lnTo>
                      <a:lnTo>
                        <a:pt x="165089" y="20578"/>
                      </a:lnTo>
                      <a:lnTo>
                        <a:pt x="172831" y="25720"/>
                      </a:lnTo>
                      <a:lnTo>
                        <a:pt x="178153" y="29249"/>
                      </a:lnTo>
                      <a:lnTo>
                        <a:pt x="184966" y="33764"/>
                      </a:lnTo>
                      <a:lnTo>
                        <a:pt x="190272" y="38923"/>
                      </a:lnTo>
                      <a:lnTo>
                        <a:pt x="197003" y="45459"/>
                      </a:lnTo>
                      <a:lnTo>
                        <a:pt x="204387" y="52615"/>
                      </a:lnTo>
                      <a:lnTo>
                        <a:pt x="210466" y="58173"/>
                      </a:lnTo>
                      <a:lnTo>
                        <a:pt x="218853" y="65825"/>
                      </a:lnTo>
                      <a:lnTo>
                        <a:pt x="227109" y="73356"/>
                      </a:lnTo>
                      <a:lnTo>
                        <a:pt x="235185" y="80723"/>
                      </a:lnTo>
                      <a:lnTo>
                        <a:pt x="241672" y="86615"/>
                      </a:lnTo>
                      <a:lnTo>
                        <a:pt x="249846" y="94072"/>
                      </a:lnTo>
                      <a:lnTo>
                        <a:pt x="250417" y="94358"/>
                      </a:lnTo>
                      <a:close/>
                    </a:path>
                  </a:pathLst>
                </a:custGeom>
                <a:solidFill>
                  <a:srgbClr val="D6D6D2"/>
                </a:solidFill>
                <a:ln w="6112" cap="rnd">
                  <a:solidFill>
                    <a:srgbClr val="FFFFFF"/>
                  </a:solidFill>
                  <a:prstDash val="solid"/>
                  <a:round/>
                </a:ln>
              </p:spPr>
              <p:txBody>
                <a:bodyPr rtlCol="0" anchor="ctr"/>
                <a:lstStyle/>
                <a:p>
                  <a:endParaRPr lang="en-US"/>
                </a:p>
              </p:txBody>
            </p:sp>
            <p:sp>
              <p:nvSpPr>
                <p:cNvPr id="585" name="Freeform: Shape 584">
                  <a:extLst>
                    <a:ext uri="{FF2B5EF4-FFF2-40B4-BE49-F238E27FC236}">
                      <a16:creationId xmlns:a16="http://schemas.microsoft.com/office/drawing/2014/main" id="{5DEABBB3-46D9-4320-AD0E-B7D69F943F8E}"/>
                    </a:ext>
                  </a:extLst>
                </p:cNvPr>
                <p:cNvSpPr/>
                <p:nvPr/>
              </p:nvSpPr>
              <p:spPr>
                <a:xfrm>
                  <a:off x="5519536" y="3680037"/>
                  <a:ext cx="208755" cy="214615"/>
                </a:xfrm>
                <a:custGeom>
                  <a:avLst/>
                  <a:gdLst>
                    <a:gd name="connsiteX0" fmla="*/ 208723 w 208755"/>
                    <a:gd name="connsiteY0" fmla="*/ 11760 h 214615"/>
                    <a:gd name="connsiteX1" fmla="*/ 208731 w 208755"/>
                    <a:gd name="connsiteY1" fmla="*/ 17033 h 214615"/>
                    <a:gd name="connsiteX2" fmla="*/ 208739 w 208755"/>
                    <a:gd name="connsiteY2" fmla="*/ 23300 h 214615"/>
                    <a:gd name="connsiteX3" fmla="*/ 208739 w 208755"/>
                    <a:gd name="connsiteY3" fmla="*/ 29575 h 214615"/>
                    <a:gd name="connsiteX4" fmla="*/ 208747 w 208755"/>
                    <a:gd name="connsiteY4" fmla="*/ 36698 h 214615"/>
                    <a:gd name="connsiteX5" fmla="*/ 208755 w 208755"/>
                    <a:gd name="connsiteY5" fmla="*/ 43797 h 214615"/>
                    <a:gd name="connsiteX6" fmla="*/ 208755 w 208755"/>
                    <a:gd name="connsiteY6" fmla="*/ 48956 h 214615"/>
                    <a:gd name="connsiteX7" fmla="*/ 208755 w 208755"/>
                    <a:gd name="connsiteY7" fmla="*/ 52558 h 214615"/>
                    <a:gd name="connsiteX8" fmla="*/ 203711 w 208755"/>
                    <a:gd name="connsiteY8" fmla="*/ 52558 h 214615"/>
                    <a:gd name="connsiteX9" fmla="*/ 199090 w 208755"/>
                    <a:gd name="connsiteY9" fmla="*/ 52558 h 214615"/>
                    <a:gd name="connsiteX10" fmla="*/ 194469 w 208755"/>
                    <a:gd name="connsiteY10" fmla="*/ 52558 h 214615"/>
                    <a:gd name="connsiteX11" fmla="*/ 189848 w 208755"/>
                    <a:gd name="connsiteY11" fmla="*/ 52558 h 214615"/>
                    <a:gd name="connsiteX12" fmla="*/ 185227 w 208755"/>
                    <a:gd name="connsiteY12" fmla="*/ 52558 h 214615"/>
                    <a:gd name="connsiteX13" fmla="*/ 180606 w 208755"/>
                    <a:gd name="connsiteY13" fmla="*/ 52558 h 214615"/>
                    <a:gd name="connsiteX14" fmla="*/ 175977 w 208755"/>
                    <a:gd name="connsiteY14" fmla="*/ 52558 h 214615"/>
                    <a:gd name="connsiteX15" fmla="*/ 171365 w 208755"/>
                    <a:gd name="connsiteY15" fmla="*/ 52558 h 214615"/>
                    <a:gd name="connsiteX16" fmla="*/ 166744 w 208755"/>
                    <a:gd name="connsiteY16" fmla="*/ 52558 h 214615"/>
                    <a:gd name="connsiteX17" fmla="*/ 162123 w 208755"/>
                    <a:gd name="connsiteY17" fmla="*/ 52558 h 214615"/>
                    <a:gd name="connsiteX18" fmla="*/ 157502 w 208755"/>
                    <a:gd name="connsiteY18" fmla="*/ 52558 h 214615"/>
                    <a:gd name="connsiteX19" fmla="*/ 152873 w 208755"/>
                    <a:gd name="connsiteY19" fmla="*/ 52558 h 214615"/>
                    <a:gd name="connsiteX20" fmla="*/ 148260 w 208755"/>
                    <a:gd name="connsiteY20" fmla="*/ 52558 h 214615"/>
                    <a:gd name="connsiteX21" fmla="*/ 143639 w 208755"/>
                    <a:gd name="connsiteY21" fmla="*/ 52558 h 214615"/>
                    <a:gd name="connsiteX22" fmla="*/ 139018 w 208755"/>
                    <a:gd name="connsiteY22" fmla="*/ 52558 h 214615"/>
                    <a:gd name="connsiteX23" fmla="*/ 134389 w 208755"/>
                    <a:gd name="connsiteY23" fmla="*/ 52558 h 214615"/>
                    <a:gd name="connsiteX24" fmla="*/ 129768 w 208755"/>
                    <a:gd name="connsiteY24" fmla="*/ 52558 h 214615"/>
                    <a:gd name="connsiteX25" fmla="*/ 126060 w 208755"/>
                    <a:gd name="connsiteY25" fmla="*/ 52558 h 214615"/>
                    <a:gd name="connsiteX26" fmla="*/ 126060 w 208755"/>
                    <a:gd name="connsiteY26" fmla="*/ 56315 h 214615"/>
                    <a:gd name="connsiteX27" fmla="*/ 126060 w 208755"/>
                    <a:gd name="connsiteY27" fmla="*/ 60601 h 214615"/>
                    <a:gd name="connsiteX28" fmla="*/ 126060 w 208755"/>
                    <a:gd name="connsiteY28" fmla="*/ 64888 h 214615"/>
                    <a:gd name="connsiteX29" fmla="*/ 126060 w 208755"/>
                    <a:gd name="connsiteY29" fmla="*/ 69175 h 214615"/>
                    <a:gd name="connsiteX30" fmla="*/ 126060 w 208755"/>
                    <a:gd name="connsiteY30" fmla="*/ 73462 h 214615"/>
                    <a:gd name="connsiteX31" fmla="*/ 126060 w 208755"/>
                    <a:gd name="connsiteY31" fmla="*/ 77749 h 214615"/>
                    <a:gd name="connsiteX32" fmla="*/ 126060 w 208755"/>
                    <a:gd name="connsiteY32" fmla="*/ 82027 h 214615"/>
                    <a:gd name="connsiteX33" fmla="*/ 126060 w 208755"/>
                    <a:gd name="connsiteY33" fmla="*/ 86298 h 214615"/>
                    <a:gd name="connsiteX34" fmla="*/ 126060 w 208755"/>
                    <a:gd name="connsiteY34" fmla="*/ 90568 h 214615"/>
                    <a:gd name="connsiteX35" fmla="*/ 126060 w 208755"/>
                    <a:gd name="connsiteY35" fmla="*/ 94838 h 214615"/>
                    <a:gd name="connsiteX36" fmla="*/ 126060 w 208755"/>
                    <a:gd name="connsiteY36" fmla="*/ 99109 h 214615"/>
                    <a:gd name="connsiteX37" fmla="*/ 126060 w 208755"/>
                    <a:gd name="connsiteY37" fmla="*/ 103379 h 214615"/>
                    <a:gd name="connsiteX38" fmla="*/ 126060 w 208755"/>
                    <a:gd name="connsiteY38" fmla="*/ 107650 h 214615"/>
                    <a:gd name="connsiteX39" fmla="*/ 126060 w 208755"/>
                    <a:gd name="connsiteY39" fmla="*/ 111912 h 214615"/>
                    <a:gd name="connsiteX40" fmla="*/ 126060 w 208755"/>
                    <a:gd name="connsiteY40" fmla="*/ 116166 h 214615"/>
                    <a:gd name="connsiteX41" fmla="*/ 126060 w 208755"/>
                    <a:gd name="connsiteY41" fmla="*/ 120420 h 214615"/>
                    <a:gd name="connsiteX42" fmla="*/ 126060 w 208755"/>
                    <a:gd name="connsiteY42" fmla="*/ 124683 h 214615"/>
                    <a:gd name="connsiteX43" fmla="*/ 126060 w 208755"/>
                    <a:gd name="connsiteY43" fmla="*/ 128481 h 214615"/>
                    <a:gd name="connsiteX44" fmla="*/ 125881 w 208755"/>
                    <a:gd name="connsiteY44" fmla="*/ 131887 h 214615"/>
                    <a:gd name="connsiteX45" fmla="*/ 124398 w 208755"/>
                    <a:gd name="connsiteY45" fmla="*/ 132881 h 214615"/>
                    <a:gd name="connsiteX46" fmla="*/ 120852 w 208755"/>
                    <a:gd name="connsiteY46" fmla="*/ 134691 h 214615"/>
                    <a:gd name="connsiteX47" fmla="*/ 117218 w 208755"/>
                    <a:gd name="connsiteY47" fmla="*/ 136549 h 214615"/>
                    <a:gd name="connsiteX48" fmla="*/ 112597 w 208755"/>
                    <a:gd name="connsiteY48" fmla="*/ 137396 h 214615"/>
                    <a:gd name="connsiteX49" fmla="*/ 111081 w 208755"/>
                    <a:gd name="connsiteY49" fmla="*/ 138008 h 214615"/>
                    <a:gd name="connsiteX50" fmla="*/ 108122 w 208755"/>
                    <a:gd name="connsiteY50" fmla="*/ 140453 h 214615"/>
                    <a:gd name="connsiteX51" fmla="*/ 104243 w 208755"/>
                    <a:gd name="connsiteY51" fmla="*/ 143672 h 214615"/>
                    <a:gd name="connsiteX52" fmla="*/ 100886 w 208755"/>
                    <a:gd name="connsiteY52" fmla="*/ 146467 h 214615"/>
                    <a:gd name="connsiteX53" fmla="*/ 98669 w 208755"/>
                    <a:gd name="connsiteY53" fmla="*/ 150086 h 214615"/>
                    <a:gd name="connsiteX54" fmla="*/ 97862 w 208755"/>
                    <a:gd name="connsiteY54" fmla="*/ 152066 h 214615"/>
                    <a:gd name="connsiteX55" fmla="*/ 97528 w 208755"/>
                    <a:gd name="connsiteY55" fmla="*/ 154160 h 214615"/>
                    <a:gd name="connsiteX56" fmla="*/ 97797 w 208755"/>
                    <a:gd name="connsiteY56" fmla="*/ 156149 h 214615"/>
                    <a:gd name="connsiteX57" fmla="*/ 99003 w 208755"/>
                    <a:gd name="connsiteY57" fmla="*/ 160150 h 214615"/>
                    <a:gd name="connsiteX58" fmla="*/ 99321 w 208755"/>
                    <a:gd name="connsiteY58" fmla="*/ 162172 h 214615"/>
                    <a:gd name="connsiteX59" fmla="*/ 99516 w 208755"/>
                    <a:gd name="connsiteY59" fmla="*/ 165676 h 214615"/>
                    <a:gd name="connsiteX60" fmla="*/ 99720 w 208755"/>
                    <a:gd name="connsiteY60" fmla="*/ 169498 h 214615"/>
                    <a:gd name="connsiteX61" fmla="*/ 99940 w 208755"/>
                    <a:gd name="connsiteY61" fmla="*/ 173614 h 214615"/>
                    <a:gd name="connsiteX62" fmla="*/ 100160 w 208755"/>
                    <a:gd name="connsiteY62" fmla="*/ 177729 h 214615"/>
                    <a:gd name="connsiteX63" fmla="*/ 100389 w 208755"/>
                    <a:gd name="connsiteY63" fmla="*/ 182106 h 214615"/>
                    <a:gd name="connsiteX64" fmla="*/ 100625 w 208755"/>
                    <a:gd name="connsiteY64" fmla="*/ 186482 h 214615"/>
                    <a:gd name="connsiteX65" fmla="*/ 100869 w 208755"/>
                    <a:gd name="connsiteY65" fmla="*/ 190883 h 214615"/>
                    <a:gd name="connsiteX66" fmla="*/ 101040 w 208755"/>
                    <a:gd name="connsiteY66" fmla="*/ 194143 h 214615"/>
                    <a:gd name="connsiteX67" fmla="*/ 101261 w 208755"/>
                    <a:gd name="connsiteY67" fmla="*/ 198267 h 214615"/>
                    <a:gd name="connsiteX68" fmla="*/ 97512 w 208755"/>
                    <a:gd name="connsiteY68" fmla="*/ 198267 h 214615"/>
                    <a:gd name="connsiteX69" fmla="*/ 91823 w 208755"/>
                    <a:gd name="connsiteY69" fmla="*/ 198283 h 214615"/>
                    <a:gd name="connsiteX70" fmla="*/ 86135 w 208755"/>
                    <a:gd name="connsiteY70" fmla="*/ 198291 h 214615"/>
                    <a:gd name="connsiteX71" fmla="*/ 80454 w 208755"/>
                    <a:gd name="connsiteY71" fmla="*/ 198299 h 214615"/>
                    <a:gd name="connsiteX72" fmla="*/ 74758 w 208755"/>
                    <a:gd name="connsiteY72" fmla="*/ 198308 h 214615"/>
                    <a:gd name="connsiteX73" fmla="*/ 69077 w 208755"/>
                    <a:gd name="connsiteY73" fmla="*/ 198316 h 214615"/>
                    <a:gd name="connsiteX74" fmla="*/ 63381 w 208755"/>
                    <a:gd name="connsiteY74" fmla="*/ 198324 h 214615"/>
                    <a:gd name="connsiteX75" fmla="*/ 57700 w 208755"/>
                    <a:gd name="connsiteY75" fmla="*/ 198332 h 214615"/>
                    <a:gd name="connsiteX76" fmla="*/ 52004 w 208755"/>
                    <a:gd name="connsiteY76" fmla="*/ 198340 h 214615"/>
                    <a:gd name="connsiteX77" fmla="*/ 46323 w 208755"/>
                    <a:gd name="connsiteY77" fmla="*/ 198348 h 214615"/>
                    <a:gd name="connsiteX78" fmla="*/ 40635 w 208755"/>
                    <a:gd name="connsiteY78" fmla="*/ 198356 h 214615"/>
                    <a:gd name="connsiteX79" fmla="*/ 34954 w 208755"/>
                    <a:gd name="connsiteY79" fmla="*/ 198364 h 214615"/>
                    <a:gd name="connsiteX80" fmla="*/ 29258 w 208755"/>
                    <a:gd name="connsiteY80" fmla="*/ 198373 h 214615"/>
                    <a:gd name="connsiteX81" fmla="*/ 23577 w 208755"/>
                    <a:gd name="connsiteY81" fmla="*/ 198381 h 214615"/>
                    <a:gd name="connsiteX82" fmla="*/ 17889 w 208755"/>
                    <a:gd name="connsiteY82" fmla="*/ 198389 h 214615"/>
                    <a:gd name="connsiteX83" fmla="*/ 12200 w 208755"/>
                    <a:gd name="connsiteY83" fmla="*/ 198397 h 214615"/>
                    <a:gd name="connsiteX84" fmla="*/ 6512 w 208755"/>
                    <a:gd name="connsiteY84" fmla="*/ 198405 h 214615"/>
                    <a:gd name="connsiteX85" fmla="*/ 3333 w 208755"/>
                    <a:gd name="connsiteY85" fmla="*/ 198413 h 214615"/>
                    <a:gd name="connsiteX86" fmla="*/ 2314 w 208755"/>
                    <a:gd name="connsiteY86" fmla="*/ 204200 h 214615"/>
                    <a:gd name="connsiteX87" fmla="*/ 1402 w 208755"/>
                    <a:gd name="connsiteY87" fmla="*/ 208364 h 214615"/>
                    <a:gd name="connsiteX88" fmla="*/ 872 w 208755"/>
                    <a:gd name="connsiteY88" fmla="*/ 211746 h 214615"/>
                    <a:gd name="connsiteX89" fmla="*/ 1263 w 208755"/>
                    <a:gd name="connsiteY89" fmla="*/ 214615 h 214615"/>
                    <a:gd name="connsiteX90" fmla="*/ 0 w 208755"/>
                    <a:gd name="connsiteY90" fmla="*/ 213042 h 214615"/>
                    <a:gd name="connsiteX91" fmla="*/ 2217 w 208755"/>
                    <a:gd name="connsiteY91" fmla="*/ 196930 h 214615"/>
                    <a:gd name="connsiteX92" fmla="*/ 2380 w 208755"/>
                    <a:gd name="connsiteY92" fmla="*/ 195577 h 214615"/>
                    <a:gd name="connsiteX93" fmla="*/ 2388 w 208755"/>
                    <a:gd name="connsiteY93" fmla="*/ 195577 h 214615"/>
                    <a:gd name="connsiteX94" fmla="*/ 3667 w 208755"/>
                    <a:gd name="connsiteY94" fmla="*/ 195276 h 214615"/>
                    <a:gd name="connsiteX95" fmla="*/ 9128 w 208755"/>
                    <a:gd name="connsiteY95" fmla="*/ 194037 h 214615"/>
                    <a:gd name="connsiteX96" fmla="*/ 12844 w 208755"/>
                    <a:gd name="connsiteY96" fmla="*/ 193703 h 214615"/>
                    <a:gd name="connsiteX97" fmla="*/ 22526 w 208755"/>
                    <a:gd name="connsiteY97" fmla="*/ 193703 h 214615"/>
                    <a:gd name="connsiteX98" fmla="*/ 26242 w 208755"/>
                    <a:gd name="connsiteY98" fmla="*/ 193100 h 214615"/>
                    <a:gd name="connsiteX99" fmla="*/ 29225 w 208755"/>
                    <a:gd name="connsiteY99" fmla="*/ 193100 h 214615"/>
                    <a:gd name="connsiteX100" fmla="*/ 33438 w 208755"/>
                    <a:gd name="connsiteY100" fmla="*/ 193401 h 214615"/>
                    <a:gd name="connsiteX101" fmla="*/ 36910 w 208755"/>
                    <a:gd name="connsiteY101" fmla="*/ 194037 h 214615"/>
                    <a:gd name="connsiteX102" fmla="*/ 40627 w 208755"/>
                    <a:gd name="connsiteY102" fmla="*/ 194648 h 214615"/>
                    <a:gd name="connsiteX103" fmla="*/ 44848 w 208755"/>
                    <a:gd name="connsiteY103" fmla="*/ 194648 h 214615"/>
                    <a:gd name="connsiteX104" fmla="*/ 48312 w 208755"/>
                    <a:gd name="connsiteY104" fmla="*/ 194942 h 214615"/>
                    <a:gd name="connsiteX105" fmla="*/ 52770 w 208755"/>
                    <a:gd name="connsiteY105" fmla="*/ 194942 h 214615"/>
                    <a:gd name="connsiteX106" fmla="*/ 56005 w 208755"/>
                    <a:gd name="connsiteY106" fmla="*/ 194648 h 214615"/>
                    <a:gd name="connsiteX107" fmla="*/ 58238 w 208755"/>
                    <a:gd name="connsiteY107" fmla="*/ 193100 h 214615"/>
                    <a:gd name="connsiteX108" fmla="*/ 60218 w 208755"/>
                    <a:gd name="connsiteY108" fmla="*/ 190011 h 214615"/>
                    <a:gd name="connsiteX109" fmla="*/ 60960 w 208755"/>
                    <a:gd name="connsiteY109" fmla="*/ 187517 h 214615"/>
                    <a:gd name="connsiteX110" fmla="*/ 61710 w 208755"/>
                    <a:gd name="connsiteY110" fmla="*/ 185341 h 214615"/>
                    <a:gd name="connsiteX111" fmla="*/ 61457 w 208755"/>
                    <a:gd name="connsiteY111" fmla="*/ 183157 h 214615"/>
                    <a:gd name="connsiteX112" fmla="*/ 61213 w 208755"/>
                    <a:gd name="connsiteY112" fmla="*/ 181919 h 214615"/>
                    <a:gd name="connsiteX113" fmla="*/ 62451 w 208755"/>
                    <a:gd name="connsiteY113" fmla="*/ 180370 h 214615"/>
                    <a:gd name="connsiteX114" fmla="*/ 63935 w 208755"/>
                    <a:gd name="connsiteY114" fmla="*/ 177884 h 214615"/>
                    <a:gd name="connsiteX115" fmla="*/ 65426 w 208755"/>
                    <a:gd name="connsiteY115" fmla="*/ 176328 h 214615"/>
                    <a:gd name="connsiteX116" fmla="*/ 65923 w 208755"/>
                    <a:gd name="connsiteY116" fmla="*/ 175089 h 214615"/>
                    <a:gd name="connsiteX117" fmla="*/ 67415 w 208755"/>
                    <a:gd name="connsiteY117" fmla="*/ 173842 h 214615"/>
                    <a:gd name="connsiteX118" fmla="*/ 69142 w 208755"/>
                    <a:gd name="connsiteY118" fmla="*/ 171666 h 214615"/>
                    <a:gd name="connsiteX119" fmla="*/ 70145 w 208755"/>
                    <a:gd name="connsiteY119" fmla="*/ 170109 h 214615"/>
                    <a:gd name="connsiteX120" fmla="*/ 71367 w 208755"/>
                    <a:gd name="connsiteY120" fmla="*/ 167950 h 214615"/>
                    <a:gd name="connsiteX121" fmla="*/ 71628 w 208755"/>
                    <a:gd name="connsiteY121" fmla="*/ 166067 h 214615"/>
                    <a:gd name="connsiteX122" fmla="*/ 72125 w 208755"/>
                    <a:gd name="connsiteY122" fmla="*/ 163573 h 214615"/>
                    <a:gd name="connsiteX123" fmla="*/ 72125 w 208755"/>
                    <a:gd name="connsiteY123" fmla="*/ 159229 h 214615"/>
                    <a:gd name="connsiteX124" fmla="*/ 72622 w 208755"/>
                    <a:gd name="connsiteY124" fmla="*/ 153940 h 214615"/>
                    <a:gd name="connsiteX125" fmla="*/ 73364 w 208755"/>
                    <a:gd name="connsiteY125" fmla="*/ 150501 h 214615"/>
                    <a:gd name="connsiteX126" fmla="*/ 73861 w 208755"/>
                    <a:gd name="connsiteY126" fmla="*/ 147706 h 214615"/>
                    <a:gd name="connsiteX127" fmla="*/ 74350 w 208755"/>
                    <a:gd name="connsiteY127" fmla="*/ 143346 h 214615"/>
                    <a:gd name="connsiteX128" fmla="*/ 75841 w 208755"/>
                    <a:gd name="connsiteY128" fmla="*/ 135848 h 214615"/>
                    <a:gd name="connsiteX129" fmla="*/ 76339 w 208755"/>
                    <a:gd name="connsiteY129" fmla="*/ 133648 h 214615"/>
                    <a:gd name="connsiteX130" fmla="*/ 77333 w 208755"/>
                    <a:gd name="connsiteY130" fmla="*/ 130241 h 214615"/>
                    <a:gd name="connsiteX131" fmla="*/ 78572 w 208755"/>
                    <a:gd name="connsiteY131" fmla="*/ 127103 h 214615"/>
                    <a:gd name="connsiteX132" fmla="*/ 79566 w 208755"/>
                    <a:gd name="connsiteY132" fmla="*/ 124903 h 214615"/>
                    <a:gd name="connsiteX133" fmla="*/ 80813 w 208755"/>
                    <a:gd name="connsiteY133" fmla="*/ 123037 h 214615"/>
                    <a:gd name="connsiteX134" fmla="*/ 82541 w 208755"/>
                    <a:gd name="connsiteY134" fmla="*/ 121781 h 214615"/>
                    <a:gd name="connsiteX135" fmla="*/ 85271 w 208755"/>
                    <a:gd name="connsiteY135" fmla="*/ 120535 h 214615"/>
                    <a:gd name="connsiteX136" fmla="*/ 87251 w 208755"/>
                    <a:gd name="connsiteY136" fmla="*/ 119280 h 214615"/>
                    <a:gd name="connsiteX137" fmla="*/ 89737 w 208755"/>
                    <a:gd name="connsiteY137" fmla="*/ 118024 h 214615"/>
                    <a:gd name="connsiteX138" fmla="*/ 91962 w 208755"/>
                    <a:gd name="connsiteY138" fmla="*/ 117087 h 214615"/>
                    <a:gd name="connsiteX139" fmla="*/ 93950 w 208755"/>
                    <a:gd name="connsiteY139" fmla="*/ 115832 h 214615"/>
                    <a:gd name="connsiteX140" fmla="*/ 94700 w 208755"/>
                    <a:gd name="connsiteY140" fmla="*/ 114610 h 214615"/>
                    <a:gd name="connsiteX141" fmla="*/ 95939 w 208755"/>
                    <a:gd name="connsiteY141" fmla="*/ 112409 h 214615"/>
                    <a:gd name="connsiteX142" fmla="*/ 97666 w 208755"/>
                    <a:gd name="connsiteY142" fmla="*/ 108343 h 214615"/>
                    <a:gd name="connsiteX143" fmla="*/ 98661 w 208755"/>
                    <a:gd name="connsiteY143" fmla="*/ 105832 h 214615"/>
                    <a:gd name="connsiteX144" fmla="*/ 100152 w 208755"/>
                    <a:gd name="connsiteY144" fmla="*/ 102678 h 214615"/>
                    <a:gd name="connsiteX145" fmla="*/ 101880 w 208755"/>
                    <a:gd name="connsiteY145" fmla="*/ 100511 h 214615"/>
                    <a:gd name="connsiteX146" fmla="*/ 102956 w 208755"/>
                    <a:gd name="connsiteY146" fmla="*/ 99663 h 214615"/>
                    <a:gd name="connsiteX147" fmla="*/ 103868 w 208755"/>
                    <a:gd name="connsiteY147" fmla="*/ 98946 h 214615"/>
                    <a:gd name="connsiteX148" fmla="*/ 106110 w 208755"/>
                    <a:gd name="connsiteY148" fmla="*/ 97357 h 214615"/>
                    <a:gd name="connsiteX149" fmla="*/ 108832 w 208755"/>
                    <a:gd name="connsiteY149" fmla="*/ 95482 h 214615"/>
                    <a:gd name="connsiteX150" fmla="*/ 110820 w 208755"/>
                    <a:gd name="connsiteY150" fmla="*/ 93926 h 214615"/>
                    <a:gd name="connsiteX151" fmla="*/ 112548 w 208755"/>
                    <a:gd name="connsiteY151" fmla="*/ 92328 h 214615"/>
                    <a:gd name="connsiteX152" fmla="*/ 114039 w 208755"/>
                    <a:gd name="connsiteY152" fmla="*/ 91106 h 214615"/>
                    <a:gd name="connsiteX153" fmla="*/ 115767 w 208755"/>
                    <a:gd name="connsiteY153" fmla="*/ 89199 h 214615"/>
                    <a:gd name="connsiteX154" fmla="*/ 116517 w 208755"/>
                    <a:gd name="connsiteY154" fmla="*/ 87634 h 214615"/>
                    <a:gd name="connsiteX155" fmla="*/ 117519 w 208755"/>
                    <a:gd name="connsiteY155" fmla="*/ 84814 h 214615"/>
                    <a:gd name="connsiteX156" fmla="*/ 118750 w 208755"/>
                    <a:gd name="connsiteY156" fmla="*/ 80397 h 214615"/>
                    <a:gd name="connsiteX157" fmla="*/ 119744 w 208755"/>
                    <a:gd name="connsiteY157" fmla="*/ 75711 h 214615"/>
                    <a:gd name="connsiteX158" fmla="*/ 120738 w 208755"/>
                    <a:gd name="connsiteY158" fmla="*/ 70666 h 214615"/>
                    <a:gd name="connsiteX159" fmla="*/ 121480 w 208755"/>
                    <a:gd name="connsiteY159" fmla="*/ 67529 h 214615"/>
                    <a:gd name="connsiteX160" fmla="*/ 122222 w 208755"/>
                    <a:gd name="connsiteY160" fmla="*/ 63747 h 214615"/>
                    <a:gd name="connsiteX161" fmla="*/ 123216 w 208755"/>
                    <a:gd name="connsiteY161" fmla="*/ 60895 h 214615"/>
                    <a:gd name="connsiteX162" fmla="*/ 123958 w 208755"/>
                    <a:gd name="connsiteY162" fmla="*/ 57749 h 214615"/>
                    <a:gd name="connsiteX163" fmla="*/ 124455 w 208755"/>
                    <a:gd name="connsiteY163" fmla="*/ 56494 h 214615"/>
                    <a:gd name="connsiteX164" fmla="*/ 124455 w 208755"/>
                    <a:gd name="connsiteY164" fmla="*/ 54921 h 214615"/>
                    <a:gd name="connsiteX165" fmla="*/ 124952 w 208755"/>
                    <a:gd name="connsiteY165" fmla="*/ 52704 h 214615"/>
                    <a:gd name="connsiteX166" fmla="*/ 125058 w 208755"/>
                    <a:gd name="connsiteY166" fmla="*/ 52533 h 214615"/>
                    <a:gd name="connsiteX167" fmla="*/ 125702 w 208755"/>
                    <a:gd name="connsiteY167" fmla="*/ 51441 h 214615"/>
                    <a:gd name="connsiteX168" fmla="*/ 127429 w 208755"/>
                    <a:gd name="connsiteY168" fmla="*/ 50822 h 214615"/>
                    <a:gd name="connsiteX169" fmla="*/ 129418 w 208755"/>
                    <a:gd name="connsiteY169" fmla="*/ 50178 h 214615"/>
                    <a:gd name="connsiteX170" fmla="*/ 132547 w 208755"/>
                    <a:gd name="connsiteY170" fmla="*/ 49689 h 214615"/>
                    <a:gd name="connsiteX171" fmla="*/ 133460 w 208755"/>
                    <a:gd name="connsiteY171" fmla="*/ 49135 h 214615"/>
                    <a:gd name="connsiteX172" fmla="*/ 133925 w 208755"/>
                    <a:gd name="connsiteY172" fmla="*/ 47277 h 214615"/>
                    <a:gd name="connsiteX173" fmla="*/ 134291 w 208755"/>
                    <a:gd name="connsiteY173" fmla="*/ 45679 h 214615"/>
                    <a:gd name="connsiteX174" fmla="*/ 135465 w 208755"/>
                    <a:gd name="connsiteY174" fmla="*/ 43088 h 214615"/>
                    <a:gd name="connsiteX175" fmla="*/ 136785 w 208755"/>
                    <a:gd name="connsiteY175" fmla="*/ 41026 h 214615"/>
                    <a:gd name="connsiteX176" fmla="*/ 137551 w 208755"/>
                    <a:gd name="connsiteY176" fmla="*/ 39763 h 214615"/>
                    <a:gd name="connsiteX177" fmla="*/ 138578 w 208755"/>
                    <a:gd name="connsiteY177" fmla="*/ 37570 h 214615"/>
                    <a:gd name="connsiteX178" fmla="*/ 139597 w 208755"/>
                    <a:gd name="connsiteY178" fmla="*/ 35997 h 214615"/>
                    <a:gd name="connsiteX179" fmla="*/ 141349 w 208755"/>
                    <a:gd name="connsiteY179" fmla="*/ 33993 h 214615"/>
                    <a:gd name="connsiteX180" fmla="*/ 142889 w 208755"/>
                    <a:gd name="connsiteY180" fmla="*/ 32420 h 214615"/>
                    <a:gd name="connsiteX181" fmla="*/ 143403 w 208755"/>
                    <a:gd name="connsiteY181" fmla="*/ 30806 h 214615"/>
                    <a:gd name="connsiteX182" fmla="*/ 143403 w 208755"/>
                    <a:gd name="connsiteY182" fmla="*/ 28891 h 214615"/>
                    <a:gd name="connsiteX183" fmla="*/ 142311 w 208755"/>
                    <a:gd name="connsiteY183" fmla="*/ 27351 h 214615"/>
                    <a:gd name="connsiteX184" fmla="*/ 141528 w 208755"/>
                    <a:gd name="connsiteY184" fmla="*/ 24506 h 214615"/>
                    <a:gd name="connsiteX185" fmla="*/ 144731 w 208755"/>
                    <a:gd name="connsiteY185" fmla="*/ 23642 h 214615"/>
                    <a:gd name="connsiteX186" fmla="*/ 147543 w 208755"/>
                    <a:gd name="connsiteY186" fmla="*/ 22681 h 214615"/>
                    <a:gd name="connsiteX187" fmla="*/ 150110 w 208755"/>
                    <a:gd name="connsiteY187" fmla="*/ 21752 h 214615"/>
                    <a:gd name="connsiteX188" fmla="*/ 153183 w 208755"/>
                    <a:gd name="connsiteY188" fmla="*/ 20488 h 214615"/>
                    <a:gd name="connsiteX189" fmla="*/ 155481 w 208755"/>
                    <a:gd name="connsiteY189" fmla="*/ 20488 h 214615"/>
                    <a:gd name="connsiteX190" fmla="*/ 157274 w 208755"/>
                    <a:gd name="connsiteY190" fmla="*/ 20179 h 214615"/>
                    <a:gd name="connsiteX191" fmla="*/ 159841 w 208755"/>
                    <a:gd name="connsiteY191" fmla="*/ 20798 h 214615"/>
                    <a:gd name="connsiteX192" fmla="*/ 162392 w 208755"/>
                    <a:gd name="connsiteY192" fmla="*/ 21100 h 214615"/>
                    <a:gd name="connsiteX193" fmla="*/ 164193 w 208755"/>
                    <a:gd name="connsiteY193" fmla="*/ 22061 h 214615"/>
                    <a:gd name="connsiteX194" fmla="*/ 167273 w 208755"/>
                    <a:gd name="connsiteY194" fmla="*/ 23952 h 214615"/>
                    <a:gd name="connsiteX195" fmla="*/ 169832 w 208755"/>
                    <a:gd name="connsiteY195" fmla="*/ 25215 h 214615"/>
                    <a:gd name="connsiteX196" fmla="*/ 171373 w 208755"/>
                    <a:gd name="connsiteY196" fmla="*/ 25215 h 214615"/>
                    <a:gd name="connsiteX197" fmla="*/ 173019 w 208755"/>
                    <a:gd name="connsiteY197" fmla="*/ 24604 h 214615"/>
                    <a:gd name="connsiteX198" fmla="*/ 174412 w 208755"/>
                    <a:gd name="connsiteY198" fmla="*/ 23700 h 214615"/>
                    <a:gd name="connsiteX199" fmla="*/ 175260 w 208755"/>
                    <a:gd name="connsiteY199" fmla="*/ 23642 h 214615"/>
                    <a:gd name="connsiteX200" fmla="*/ 176548 w 208755"/>
                    <a:gd name="connsiteY200" fmla="*/ 24294 h 214615"/>
                    <a:gd name="connsiteX201" fmla="*/ 178536 w 208755"/>
                    <a:gd name="connsiteY201" fmla="*/ 25558 h 214615"/>
                    <a:gd name="connsiteX202" fmla="*/ 180590 w 208755"/>
                    <a:gd name="connsiteY202" fmla="*/ 25558 h 214615"/>
                    <a:gd name="connsiteX203" fmla="*/ 182636 w 208755"/>
                    <a:gd name="connsiteY203" fmla="*/ 25215 h 214615"/>
                    <a:gd name="connsiteX204" fmla="*/ 184168 w 208755"/>
                    <a:gd name="connsiteY204" fmla="*/ 23642 h 214615"/>
                    <a:gd name="connsiteX205" fmla="*/ 186735 w 208755"/>
                    <a:gd name="connsiteY205" fmla="*/ 21100 h 214615"/>
                    <a:gd name="connsiteX206" fmla="*/ 188789 w 208755"/>
                    <a:gd name="connsiteY206" fmla="*/ 19217 h 214615"/>
                    <a:gd name="connsiteX207" fmla="*/ 190630 w 208755"/>
                    <a:gd name="connsiteY207" fmla="*/ 18011 h 214615"/>
                    <a:gd name="connsiteX208" fmla="*/ 192122 w 208755"/>
                    <a:gd name="connsiteY208" fmla="*/ 17701 h 214615"/>
                    <a:gd name="connsiteX209" fmla="*/ 193792 w 208755"/>
                    <a:gd name="connsiteY209" fmla="*/ 17701 h 214615"/>
                    <a:gd name="connsiteX210" fmla="*/ 195708 w 208755"/>
                    <a:gd name="connsiteY210" fmla="*/ 17636 h 214615"/>
                    <a:gd name="connsiteX211" fmla="*/ 198780 w 208755"/>
                    <a:gd name="connsiteY211" fmla="*/ 17946 h 214615"/>
                    <a:gd name="connsiteX212" fmla="*/ 200826 w 208755"/>
                    <a:gd name="connsiteY212" fmla="*/ 17946 h 214615"/>
                    <a:gd name="connsiteX213" fmla="*/ 203621 w 208755"/>
                    <a:gd name="connsiteY213" fmla="*/ 17514 h 214615"/>
                    <a:gd name="connsiteX214" fmla="*/ 205968 w 208755"/>
                    <a:gd name="connsiteY214" fmla="*/ 16992 h 214615"/>
                    <a:gd name="connsiteX215" fmla="*/ 206979 w 208755"/>
                    <a:gd name="connsiteY215" fmla="*/ 16031 h 214615"/>
                    <a:gd name="connsiteX216" fmla="*/ 206979 w 208755"/>
                    <a:gd name="connsiteY216" fmla="*/ 14767 h 214615"/>
                    <a:gd name="connsiteX217" fmla="*/ 206474 w 208755"/>
                    <a:gd name="connsiteY217" fmla="*/ 12877 h 214615"/>
                    <a:gd name="connsiteX218" fmla="*/ 205911 w 208755"/>
                    <a:gd name="connsiteY218" fmla="*/ 11051 h 214615"/>
                    <a:gd name="connsiteX219" fmla="*/ 205764 w 208755"/>
                    <a:gd name="connsiteY219" fmla="*/ 9372 h 214615"/>
                    <a:gd name="connsiteX220" fmla="*/ 206107 w 208755"/>
                    <a:gd name="connsiteY220" fmla="*/ 7612 h 214615"/>
                    <a:gd name="connsiteX221" fmla="*/ 206474 w 208755"/>
                    <a:gd name="connsiteY221" fmla="*/ 6218 h 214615"/>
                    <a:gd name="connsiteX222" fmla="*/ 206213 w 208755"/>
                    <a:gd name="connsiteY222" fmla="*/ 3985 h 214615"/>
                    <a:gd name="connsiteX223" fmla="*/ 205487 w 208755"/>
                    <a:gd name="connsiteY223" fmla="*/ 1353 h 214615"/>
                    <a:gd name="connsiteX224" fmla="*/ 205398 w 208755"/>
                    <a:gd name="connsiteY224" fmla="*/ 16 h 214615"/>
                    <a:gd name="connsiteX225" fmla="*/ 205390 w 208755"/>
                    <a:gd name="connsiteY225" fmla="*/ 0 h 214615"/>
                    <a:gd name="connsiteX226" fmla="*/ 208723 w 208755"/>
                    <a:gd name="connsiteY226" fmla="*/ 0 h 214615"/>
                    <a:gd name="connsiteX227" fmla="*/ 208723 w 208755"/>
                    <a:gd name="connsiteY227" fmla="*/ 5273 h 214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208755" h="214615">
                      <a:moveTo>
                        <a:pt x="208723" y="11760"/>
                      </a:moveTo>
                      <a:lnTo>
                        <a:pt x="208731" y="17033"/>
                      </a:lnTo>
                      <a:lnTo>
                        <a:pt x="208739" y="23300"/>
                      </a:lnTo>
                      <a:lnTo>
                        <a:pt x="208739" y="29575"/>
                      </a:lnTo>
                      <a:lnTo>
                        <a:pt x="208747" y="36698"/>
                      </a:lnTo>
                      <a:lnTo>
                        <a:pt x="208755" y="43797"/>
                      </a:lnTo>
                      <a:lnTo>
                        <a:pt x="208755" y="48956"/>
                      </a:lnTo>
                      <a:lnTo>
                        <a:pt x="208755" y="52558"/>
                      </a:lnTo>
                      <a:lnTo>
                        <a:pt x="203711" y="52558"/>
                      </a:lnTo>
                      <a:lnTo>
                        <a:pt x="199090" y="52558"/>
                      </a:lnTo>
                      <a:lnTo>
                        <a:pt x="194469" y="52558"/>
                      </a:lnTo>
                      <a:lnTo>
                        <a:pt x="189848" y="52558"/>
                      </a:lnTo>
                      <a:lnTo>
                        <a:pt x="185227" y="52558"/>
                      </a:lnTo>
                      <a:lnTo>
                        <a:pt x="180606" y="52558"/>
                      </a:lnTo>
                      <a:lnTo>
                        <a:pt x="175977" y="52558"/>
                      </a:lnTo>
                      <a:lnTo>
                        <a:pt x="171365" y="52558"/>
                      </a:lnTo>
                      <a:lnTo>
                        <a:pt x="166744" y="52558"/>
                      </a:lnTo>
                      <a:lnTo>
                        <a:pt x="162123" y="52558"/>
                      </a:lnTo>
                      <a:lnTo>
                        <a:pt x="157502" y="52558"/>
                      </a:lnTo>
                      <a:lnTo>
                        <a:pt x="152873" y="52558"/>
                      </a:lnTo>
                      <a:lnTo>
                        <a:pt x="148260" y="52558"/>
                      </a:lnTo>
                      <a:lnTo>
                        <a:pt x="143639" y="52558"/>
                      </a:lnTo>
                      <a:lnTo>
                        <a:pt x="139018" y="52558"/>
                      </a:lnTo>
                      <a:lnTo>
                        <a:pt x="134389" y="52558"/>
                      </a:lnTo>
                      <a:lnTo>
                        <a:pt x="129768" y="52558"/>
                      </a:lnTo>
                      <a:lnTo>
                        <a:pt x="126060" y="52558"/>
                      </a:lnTo>
                      <a:lnTo>
                        <a:pt x="126060" y="56315"/>
                      </a:lnTo>
                      <a:lnTo>
                        <a:pt x="126060" y="60601"/>
                      </a:lnTo>
                      <a:lnTo>
                        <a:pt x="126060" y="64888"/>
                      </a:lnTo>
                      <a:lnTo>
                        <a:pt x="126060" y="69175"/>
                      </a:lnTo>
                      <a:lnTo>
                        <a:pt x="126060" y="73462"/>
                      </a:lnTo>
                      <a:lnTo>
                        <a:pt x="126060" y="77749"/>
                      </a:lnTo>
                      <a:lnTo>
                        <a:pt x="126060" y="82027"/>
                      </a:lnTo>
                      <a:lnTo>
                        <a:pt x="126060" y="86298"/>
                      </a:lnTo>
                      <a:lnTo>
                        <a:pt x="126060" y="90568"/>
                      </a:lnTo>
                      <a:lnTo>
                        <a:pt x="126060" y="94838"/>
                      </a:lnTo>
                      <a:lnTo>
                        <a:pt x="126060" y="99109"/>
                      </a:lnTo>
                      <a:lnTo>
                        <a:pt x="126060" y="103379"/>
                      </a:lnTo>
                      <a:lnTo>
                        <a:pt x="126060" y="107650"/>
                      </a:lnTo>
                      <a:lnTo>
                        <a:pt x="126060" y="111912"/>
                      </a:lnTo>
                      <a:lnTo>
                        <a:pt x="126060" y="116166"/>
                      </a:lnTo>
                      <a:lnTo>
                        <a:pt x="126060" y="120420"/>
                      </a:lnTo>
                      <a:lnTo>
                        <a:pt x="126060" y="124683"/>
                      </a:lnTo>
                      <a:lnTo>
                        <a:pt x="126060" y="128481"/>
                      </a:lnTo>
                      <a:lnTo>
                        <a:pt x="125881" y="131887"/>
                      </a:lnTo>
                      <a:lnTo>
                        <a:pt x="124398" y="132881"/>
                      </a:lnTo>
                      <a:lnTo>
                        <a:pt x="120852" y="134691"/>
                      </a:lnTo>
                      <a:lnTo>
                        <a:pt x="117218" y="136549"/>
                      </a:lnTo>
                      <a:lnTo>
                        <a:pt x="112597" y="137396"/>
                      </a:lnTo>
                      <a:lnTo>
                        <a:pt x="111081" y="138008"/>
                      </a:lnTo>
                      <a:lnTo>
                        <a:pt x="108122" y="140453"/>
                      </a:lnTo>
                      <a:lnTo>
                        <a:pt x="104243" y="143672"/>
                      </a:lnTo>
                      <a:lnTo>
                        <a:pt x="100886" y="146467"/>
                      </a:lnTo>
                      <a:lnTo>
                        <a:pt x="98669" y="150086"/>
                      </a:lnTo>
                      <a:lnTo>
                        <a:pt x="97862" y="152066"/>
                      </a:lnTo>
                      <a:lnTo>
                        <a:pt x="97528" y="154160"/>
                      </a:lnTo>
                      <a:lnTo>
                        <a:pt x="97797" y="156149"/>
                      </a:lnTo>
                      <a:lnTo>
                        <a:pt x="99003" y="160150"/>
                      </a:lnTo>
                      <a:lnTo>
                        <a:pt x="99321" y="162172"/>
                      </a:lnTo>
                      <a:lnTo>
                        <a:pt x="99516" y="165676"/>
                      </a:lnTo>
                      <a:lnTo>
                        <a:pt x="99720" y="169498"/>
                      </a:lnTo>
                      <a:lnTo>
                        <a:pt x="99940" y="173614"/>
                      </a:lnTo>
                      <a:lnTo>
                        <a:pt x="100160" y="177729"/>
                      </a:lnTo>
                      <a:lnTo>
                        <a:pt x="100389" y="182106"/>
                      </a:lnTo>
                      <a:lnTo>
                        <a:pt x="100625" y="186482"/>
                      </a:lnTo>
                      <a:lnTo>
                        <a:pt x="100869" y="190883"/>
                      </a:lnTo>
                      <a:lnTo>
                        <a:pt x="101040" y="194143"/>
                      </a:lnTo>
                      <a:lnTo>
                        <a:pt x="101261" y="198267"/>
                      </a:lnTo>
                      <a:lnTo>
                        <a:pt x="97512" y="198267"/>
                      </a:lnTo>
                      <a:lnTo>
                        <a:pt x="91823" y="198283"/>
                      </a:lnTo>
                      <a:lnTo>
                        <a:pt x="86135" y="198291"/>
                      </a:lnTo>
                      <a:lnTo>
                        <a:pt x="80454" y="198299"/>
                      </a:lnTo>
                      <a:lnTo>
                        <a:pt x="74758" y="198308"/>
                      </a:lnTo>
                      <a:lnTo>
                        <a:pt x="69077" y="198316"/>
                      </a:lnTo>
                      <a:lnTo>
                        <a:pt x="63381" y="198324"/>
                      </a:lnTo>
                      <a:lnTo>
                        <a:pt x="57700" y="198332"/>
                      </a:lnTo>
                      <a:lnTo>
                        <a:pt x="52004" y="198340"/>
                      </a:lnTo>
                      <a:lnTo>
                        <a:pt x="46323" y="198348"/>
                      </a:lnTo>
                      <a:lnTo>
                        <a:pt x="40635" y="198356"/>
                      </a:lnTo>
                      <a:lnTo>
                        <a:pt x="34954" y="198364"/>
                      </a:lnTo>
                      <a:lnTo>
                        <a:pt x="29258" y="198373"/>
                      </a:lnTo>
                      <a:lnTo>
                        <a:pt x="23577" y="198381"/>
                      </a:lnTo>
                      <a:lnTo>
                        <a:pt x="17889" y="198389"/>
                      </a:lnTo>
                      <a:lnTo>
                        <a:pt x="12200" y="198397"/>
                      </a:lnTo>
                      <a:lnTo>
                        <a:pt x="6512" y="198405"/>
                      </a:lnTo>
                      <a:lnTo>
                        <a:pt x="3333" y="198413"/>
                      </a:lnTo>
                      <a:lnTo>
                        <a:pt x="2314" y="204200"/>
                      </a:lnTo>
                      <a:lnTo>
                        <a:pt x="1402" y="208364"/>
                      </a:lnTo>
                      <a:lnTo>
                        <a:pt x="872" y="211746"/>
                      </a:lnTo>
                      <a:lnTo>
                        <a:pt x="1263" y="214615"/>
                      </a:lnTo>
                      <a:lnTo>
                        <a:pt x="0" y="213042"/>
                      </a:lnTo>
                      <a:lnTo>
                        <a:pt x="2217" y="196930"/>
                      </a:lnTo>
                      <a:lnTo>
                        <a:pt x="2380" y="195577"/>
                      </a:lnTo>
                      <a:lnTo>
                        <a:pt x="2388" y="195577"/>
                      </a:lnTo>
                      <a:lnTo>
                        <a:pt x="3667" y="195276"/>
                      </a:lnTo>
                      <a:lnTo>
                        <a:pt x="9128" y="194037"/>
                      </a:lnTo>
                      <a:lnTo>
                        <a:pt x="12844" y="193703"/>
                      </a:lnTo>
                      <a:lnTo>
                        <a:pt x="22526" y="193703"/>
                      </a:lnTo>
                      <a:lnTo>
                        <a:pt x="26242" y="193100"/>
                      </a:lnTo>
                      <a:lnTo>
                        <a:pt x="29225" y="193100"/>
                      </a:lnTo>
                      <a:lnTo>
                        <a:pt x="33438" y="193401"/>
                      </a:lnTo>
                      <a:lnTo>
                        <a:pt x="36910" y="194037"/>
                      </a:lnTo>
                      <a:lnTo>
                        <a:pt x="40627" y="194648"/>
                      </a:lnTo>
                      <a:lnTo>
                        <a:pt x="44848" y="194648"/>
                      </a:lnTo>
                      <a:lnTo>
                        <a:pt x="48312" y="194942"/>
                      </a:lnTo>
                      <a:lnTo>
                        <a:pt x="52770" y="194942"/>
                      </a:lnTo>
                      <a:lnTo>
                        <a:pt x="56005" y="194648"/>
                      </a:lnTo>
                      <a:lnTo>
                        <a:pt x="58238" y="193100"/>
                      </a:lnTo>
                      <a:lnTo>
                        <a:pt x="60218" y="190011"/>
                      </a:lnTo>
                      <a:lnTo>
                        <a:pt x="60960" y="187517"/>
                      </a:lnTo>
                      <a:lnTo>
                        <a:pt x="61710" y="185341"/>
                      </a:lnTo>
                      <a:lnTo>
                        <a:pt x="61457" y="183157"/>
                      </a:lnTo>
                      <a:lnTo>
                        <a:pt x="61213" y="181919"/>
                      </a:lnTo>
                      <a:lnTo>
                        <a:pt x="62451" y="180370"/>
                      </a:lnTo>
                      <a:lnTo>
                        <a:pt x="63935" y="177884"/>
                      </a:lnTo>
                      <a:lnTo>
                        <a:pt x="65426" y="176328"/>
                      </a:lnTo>
                      <a:lnTo>
                        <a:pt x="65923" y="175089"/>
                      </a:lnTo>
                      <a:lnTo>
                        <a:pt x="67415" y="173842"/>
                      </a:lnTo>
                      <a:lnTo>
                        <a:pt x="69142" y="171666"/>
                      </a:lnTo>
                      <a:lnTo>
                        <a:pt x="70145" y="170109"/>
                      </a:lnTo>
                      <a:lnTo>
                        <a:pt x="71367" y="167950"/>
                      </a:lnTo>
                      <a:lnTo>
                        <a:pt x="71628" y="166067"/>
                      </a:lnTo>
                      <a:lnTo>
                        <a:pt x="72125" y="163573"/>
                      </a:lnTo>
                      <a:lnTo>
                        <a:pt x="72125" y="159229"/>
                      </a:lnTo>
                      <a:lnTo>
                        <a:pt x="72622" y="153940"/>
                      </a:lnTo>
                      <a:lnTo>
                        <a:pt x="73364" y="150501"/>
                      </a:lnTo>
                      <a:lnTo>
                        <a:pt x="73861" y="147706"/>
                      </a:lnTo>
                      <a:lnTo>
                        <a:pt x="74350" y="143346"/>
                      </a:lnTo>
                      <a:lnTo>
                        <a:pt x="75841" y="135848"/>
                      </a:lnTo>
                      <a:lnTo>
                        <a:pt x="76339" y="133648"/>
                      </a:lnTo>
                      <a:lnTo>
                        <a:pt x="77333" y="130241"/>
                      </a:lnTo>
                      <a:lnTo>
                        <a:pt x="78572" y="127103"/>
                      </a:lnTo>
                      <a:lnTo>
                        <a:pt x="79566" y="124903"/>
                      </a:lnTo>
                      <a:lnTo>
                        <a:pt x="80813" y="123037"/>
                      </a:lnTo>
                      <a:lnTo>
                        <a:pt x="82541" y="121781"/>
                      </a:lnTo>
                      <a:lnTo>
                        <a:pt x="85271" y="120535"/>
                      </a:lnTo>
                      <a:lnTo>
                        <a:pt x="87251" y="119280"/>
                      </a:lnTo>
                      <a:lnTo>
                        <a:pt x="89737" y="118024"/>
                      </a:lnTo>
                      <a:lnTo>
                        <a:pt x="91962" y="117087"/>
                      </a:lnTo>
                      <a:lnTo>
                        <a:pt x="93950" y="115832"/>
                      </a:lnTo>
                      <a:lnTo>
                        <a:pt x="94700" y="114610"/>
                      </a:lnTo>
                      <a:lnTo>
                        <a:pt x="95939" y="112409"/>
                      </a:lnTo>
                      <a:lnTo>
                        <a:pt x="97666" y="108343"/>
                      </a:lnTo>
                      <a:lnTo>
                        <a:pt x="98661" y="105832"/>
                      </a:lnTo>
                      <a:lnTo>
                        <a:pt x="100152" y="102678"/>
                      </a:lnTo>
                      <a:lnTo>
                        <a:pt x="101880" y="100511"/>
                      </a:lnTo>
                      <a:lnTo>
                        <a:pt x="102956" y="99663"/>
                      </a:lnTo>
                      <a:lnTo>
                        <a:pt x="103868" y="98946"/>
                      </a:lnTo>
                      <a:lnTo>
                        <a:pt x="106110" y="97357"/>
                      </a:lnTo>
                      <a:lnTo>
                        <a:pt x="108832" y="95482"/>
                      </a:lnTo>
                      <a:lnTo>
                        <a:pt x="110820" y="93926"/>
                      </a:lnTo>
                      <a:lnTo>
                        <a:pt x="112548" y="92328"/>
                      </a:lnTo>
                      <a:lnTo>
                        <a:pt x="114039" y="91106"/>
                      </a:lnTo>
                      <a:lnTo>
                        <a:pt x="115767" y="89199"/>
                      </a:lnTo>
                      <a:lnTo>
                        <a:pt x="116517" y="87634"/>
                      </a:lnTo>
                      <a:lnTo>
                        <a:pt x="117519" y="84814"/>
                      </a:lnTo>
                      <a:lnTo>
                        <a:pt x="118750" y="80397"/>
                      </a:lnTo>
                      <a:lnTo>
                        <a:pt x="119744" y="75711"/>
                      </a:lnTo>
                      <a:lnTo>
                        <a:pt x="120738" y="70666"/>
                      </a:lnTo>
                      <a:lnTo>
                        <a:pt x="121480" y="67529"/>
                      </a:lnTo>
                      <a:lnTo>
                        <a:pt x="122222" y="63747"/>
                      </a:lnTo>
                      <a:lnTo>
                        <a:pt x="123216" y="60895"/>
                      </a:lnTo>
                      <a:lnTo>
                        <a:pt x="123958" y="57749"/>
                      </a:lnTo>
                      <a:lnTo>
                        <a:pt x="124455" y="56494"/>
                      </a:lnTo>
                      <a:lnTo>
                        <a:pt x="124455" y="54921"/>
                      </a:lnTo>
                      <a:lnTo>
                        <a:pt x="124952" y="52704"/>
                      </a:lnTo>
                      <a:lnTo>
                        <a:pt x="125058" y="52533"/>
                      </a:lnTo>
                      <a:lnTo>
                        <a:pt x="125702" y="51441"/>
                      </a:lnTo>
                      <a:lnTo>
                        <a:pt x="127429" y="50822"/>
                      </a:lnTo>
                      <a:lnTo>
                        <a:pt x="129418" y="50178"/>
                      </a:lnTo>
                      <a:lnTo>
                        <a:pt x="132547" y="49689"/>
                      </a:lnTo>
                      <a:lnTo>
                        <a:pt x="133460" y="49135"/>
                      </a:lnTo>
                      <a:lnTo>
                        <a:pt x="133925" y="47277"/>
                      </a:lnTo>
                      <a:lnTo>
                        <a:pt x="134291" y="45679"/>
                      </a:lnTo>
                      <a:lnTo>
                        <a:pt x="135465" y="43088"/>
                      </a:lnTo>
                      <a:lnTo>
                        <a:pt x="136785" y="41026"/>
                      </a:lnTo>
                      <a:lnTo>
                        <a:pt x="137551" y="39763"/>
                      </a:lnTo>
                      <a:lnTo>
                        <a:pt x="138578" y="37570"/>
                      </a:lnTo>
                      <a:lnTo>
                        <a:pt x="139597" y="35997"/>
                      </a:lnTo>
                      <a:lnTo>
                        <a:pt x="141349" y="33993"/>
                      </a:lnTo>
                      <a:lnTo>
                        <a:pt x="142889" y="32420"/>
                      </a:lnTo>
                      <a:lnTo>
                        <a:pt x="143403" y="30806"/>
                      </a:lnTo>
                      <a:lnTo>
                        <a:pt x="143403" y="28891"/>
                      </a:lnTo>
                      <a:lnTo>
                        <a:pt x="142311" y="27351"/>
                      </a:lnTo>
                      <a:lnTo>
                        <a:pt x="141528" y="24506"/>
                      </a:lnTo>
                      <a:lnTo>
                        <a:pt x="144731" y="23642"/>
                      </a:lnTo>
                      <a:lnTo>
                        <a:pt x="147543" y="22681"/>
                      </a:lnTo>
                      <a:lnTo>
                        <a:pt x="150110" y="21752"/>
                      </a:lnTo>
                      <a:lnTo>
                        <a:pt x="153183" y="20488"/>
                      </a:lnTo>
                      <a:lnTo>
                        <a:pt x="155481" y="20488"/>
                      </a:lnTo>
                      <a:lnTo>
                        <a:pt x="157274" y="20179"/>
                      </a:lnTo>
                      <a:lnTo>
                        <a:pt x="159841" y="20798"/>
                      </a:lnTo>
                      <a:lnTo>
                        <a:pt x="162392" y="21100"/>
                      </a:lnTo>
                      <a:lnTo>
                        <a:pt x="164193" y="22061"/>
                      </a:lnTo>
                      <a:lnTo>
                        <a:pt x="167273" y="23952"/>
                      </a:lnTo>
                      <a:lnTo>
                        <a:pt x="169832" y="25215"/>
                      </a:lnTo>
                      <a:lnTo>
                        <a:pt x="171373" y="25215"/>
                      </a:lnTo>
                      <a:lnTo>
                        <a:pt x="173019" y="24604"/>
                      </a:lnTo>
                      <a:lnTo>
                        <a:pt x="174412" y="23700"/>
                      </a:lnTo>
                      <a:lnTo>
                        <a:pt x="175260" y="23642"/>
                      </a:lnTo>
                      <a:lnTo>
                        <a:pt x="176548" y="24294"/>
                      </a:lnTo>
                      <a:lnTo>
                        <a:pt x="178536" y="25558"/>
                      </a:lnTo>
                      <a:lnTo>
                        <a:pt x="180590" y="25558"/>
                      </a:lnTo>
                      <a:lnTo>
                        <a:pt x="182636" y="25215"/>
                      </a:lnTo>
                      <a:lnTo>
                        <a:pt x="184168" y="23642"/>
                      </a:lnTo>
                      <a:lnTo>
                        <a:pt x="186735" y="21100"/>
                      </a:lnTo>
                      <a:lnTo>
                        <a:pt x="188789" y="19217"/>
                      </a:lnTo>
                      <a:lnTo>
                        <a:pt x="190630" y="18011"/>
                      </a:lnTo>
                      <a:lnTo>
                        <a:pt x="192122" y="17701"/>
                      </a:lnTo>
                      <a:lnTo>
                        <a:pt x="193792" y="17701"/>
                      </a:lnTo>
                      <a:lnTo>
                        <a:pt x="195708" y="17636"/>
                      </a:lnTo>
                      <a:lnTo>
                        <a:pt x="198780" y="17946"/>
                      </a:lnTo>
                      <a:lnTo>
                        <a:pt x="200826" y="17946"/>
                      </a:lnTo>
                      <a:lnTo>
                        <a:pt x="203621" y="17514"/>
                      </a:lnTo>
                      <a:lnTo>
                        <a:pt x="205968" y="16992"/>
                      </a:lnTo>
                      <a:lnTo>
                        <a:pt x="206979" y="16031"/>
                      </a:lnTo>
                      <a:lnTo>
                        <a:pt x="206979" y="14767"/>
                      </a:lnTo>
                      <a:lnTo>
                        <a:pt x="206474" y="12877"/>
                      </a:lnTo>
                      <a:lnTo>
                        <a:pt x="205911" y="11051"/>
                      </a:lnTo>
                      <a:lnTo>
                        <a:pt x="205764" y="9372"/>
                      </a:lnTo>
                      <a:lnTo>
                        <a:pt x="206107" y="7612"/>
                      </a:lnTo>
                      <a:lnTo>
                        <a:pt x="206474" y="6218"/>
                      </a:lnTo>
                      <a:lnTo>
                        <a:pt x="206213" y="3985"/>
                      </a:lnTo>
                      <a:lnTo>
                        <a:pt x="205487" y="1353"/>
                      </a:lnTo>
                      <a:lnTo>
                        <a:pt x="205398" y="16"/>
                      </a:lnTo>
                      <a:lnTo>
                        <a:pt x="205390" y="0"/>
                      </a:lnTo>
                      <a:lnTo>
                        <a:pt x="208723" y="0"/>
                      </a:lnTo>
                      <a:lnTo>
                        <a:pt x="208723" y="5273"/>
                      </a:lnTo>
                      <a:close/>
                    </a:path>
                  </a:pathLst>
                </a:custGeom>
                <a:solidFill>
                  <a:srgbClr val="D6D6D2"/>
                </a:solidFill>
                <a:ln w="6112" cap="rnd">
                  <a:solidFill>
                    <a:srgbClr val="FFFFFF"/>
                  </a:solidFill>
                  <a:prstDash val="solid"/>
                  <a:round/>
                </a:ln>
              </p:spPr>
              <p:txBody>
                <a:bodyPr rtlCol="0" anchor="ctr"/>
                <a:lstStyle/>
                <a:p>
                  <a:endParaRPr lang="en-US"/>
                </a:p>
              </p:txBody>
            </p:sp>
            <p:sp>
              <p:nvSpPr>
                <p:cNvPr id="586" name="Freeform: Shape 585">
                  <a:extLst>
                    <a:ext uri="{FF2B5EF4-FFF2-40B4-BE49-F238E27FC236}">
                      <a16:creationId xmlns:a16="http://schemas.microsoft.com/office/drawing/2014/main" id="{CAD2F3EE-8008-40A4-BF94-DC33D32A6E48}"/>
                    </a:ext>
                  </a:extLst>
                </p:cNvPr>
                <p:cNvSpPr/>
                <p:nvPr/>
              </p:nvSpPr>
              <p:spPr>
                <a:xfrm>
                  <a:off x="6659366" y="4556329"/>
                  <a:ext cx="50071" cy="52280"/>
                </a:xfrm>
                <a:custGeom>
                  <a:avLst/>
                  <a:gdLst>
                    <a:gd name="connsiteX0" fmla="*/ 40977 w 50071"/>
                    <a:gd name="connsiteY0" fmla="*/ 122 h 52280"/>
                    <a:gd name="connsiteX1" fmla="*/ 40170 w 50071"/>
                    <a:gd name="connsiteY1" fmla="*/ 603 h 52280"/>
                    <a:gd name="connsiteX2" fmla="*/ 39999 w 50071"/>
                    <a:gd name="connsiteY2" fmla="*/ 2037 h 52280"/>
                    <a:gd name="connsiteX3" fmla="*/ 40928 w 50071"/>
                    <a:gd name="connsiteY3" fmla="*/ 4352 h 52280"/>
                    <a:gd name="connsiteX4" fmla="*/ 44008 w 50071"/>
                    <a:gd name="connsiteY4" fmla="*/ 9119 h 52280"/>
                    <a:gd name="connsiteX5" fmla="*/ 45965 w 50071"/>
                    <a:gd name="connsiteY5" fmla="*/ 9991 h 52280"/>
                    <a:gd name="connsiteX6" fmla="*/ 47236 w 50071"/>
                    <a:gd name="connsiteY6" fmla="*/ 11850 h 52280"/>
                    <a:gd name="connsiteX7" fmla="*/ 48483 w 50071"/>
                    <a:gd name="connsiteY7" fmla="*/ 14979 h 52280"/>
                    <a:gd name="connsiteX8" fmla="*/ 48858 w 50071"/>
                    <a:gd name="connsiteY8" fmla="*/ 18883 h 52280"/>
                    <a:gd name="connsiteX9" fmla="*/ 48336 w 50071"/>
                    <a:gd name="connsiteY9" fmla="*/ 23577 h 52280"/>
                    <a:gd name="connsiteX10" fmla="*/ 48646 w 50071"/>
                    <a:gd name="connsiteY10" fmla="*/ 27090 h 52280"/>
                    <a:gd name="connsiteX11" fmla="*/ 49778 w 50071"/>
                    <a:gd name="connsiteY11" fmla="*/ 29380 h 52280"/>
                    <a:gd name="connsiteX12" fmla="*/ 50072 w 50071"/>
                    <a:gd name="connsiteY12" fmla="*/ 32354 h 52280"/>
                    <a:gd name="connsiteX13" fmla="*/ 49534 w 50071"/>
                    <a:gd name="connsiteY13" fmla="*/ 36013 h 52280"/>
                    <a:gd name="connsiteX14" fmla="*/ 48890 w 50071"/>
                    <a:gd name="connsiteY14" fmla="*/ 38198 h 52280"/>
                    <a:gd name="connsiteX15" fmla="*/ 48116 w 50071"/>
                    <a:gd name="connsiteY15" fmla="*/ 38923 h 52280"/>
                    <a:gd name="connsiteX16" fmla="*/ 47244 w 50071"/>
                    <a:gd name="connsiteY16" fmla="*/ 39184 h 52280"/>
                    <a:gd name="connsiteX17" fmla="*/ 46054 w 50071"/>
                    <a:gd name="connsiteY17" fmla="*/ 38939 h 52280"/>
                    <a:gd name="connsiteX18" fmla="*/ 44628 w 50071"/>
                    <a:gd name="connsiteY18" fmla="*/ 39249 h 52280"/>
                    <a:gd name="connsiteX19" fmla="*/ 43039 w 50071"/>
                    <a:gd name="connsiteY19" fmla="*/ 39950 h 52280"/>
                    <a:gd name="connsiteX20" fmla="*/ 42061 w 50071"/>
                    <a:gd name="connsiteY20" fmla="*/ 40040 h 52280"/>
                    <a:gd name="connsiteX21" fmla="*/ 41450 w 50071"/>
                    <a:gd name="connsiteY21" fmla="*/ 39909 h 52280"/>
                    <a:gd name="connsiteX22" fmla="*/ 40292 w 50071"/>
                    <a:gd name="connsiteY22" fmla="*/ 39322 h 52280"/>
                    <a:gd name="connsiteX23" fmla="*/ 38467 w 50071"/>
                    <a:gd name="connsiteY23" fmla="*/ 37423 h 52280"/>
                    <a:gd name="connsiteX24" fmla="*/ 35060 w 50071"/>
                    <a:gd name="connsiteY24" fmla="*/ 38467 h 52280"/>
                    <a:gd name="connsiteX25" fmla="*/ 34123 w 50071"/>
                    <a:gd name="connsiteY25" fmla="*/ 38450 h 52280"/>
                    <a:gd name="connsiteX26" fmla="*/ 32876 w 50071"/>
                    <a:gd name="connsiteY26" fmla="*/ 39355 h 52280"/>
                    <a:gd name="connsiteX27" fmla="*/ 31865 w 50071"/>
                    <a:gd name="connsiteY27" fmla="*/ 40455 h 52280"/>
                    <a:gd name="connsiteX28" fmla="*/ 31246 w 50071"/>
                    <a:gd name="connsiteY28" fmla="*/ 40529 h 52280"/>
                    <a:gd name="connsiteX29" fmla="*/ 30610 w 50071"/>
                    <a:gd name="connsiteY29" fmla="*/ 40390 h 52280"/>
                    <a:gd name="connsiteX30" fmla="*/ 27660 w 50071"/>
                    <a:gd name="connsiteY30" fmla="*/ 38149 h 52280"/>
                    <a:gd name="connsiteX31" fmla="*/ 26601 w 50071"/>
                    <a:gd name="connsiteY31" fmla="*/ 38222 h 52280"/>
                    <a:gd name="connsiteX32" fmla="*/ 26160 w 50071"/>
                    <a:gd name="connsiteY32" fmla="*/ 44489 h 52280"/>
                    <a:gd name="connsiteX33" fmla="*/ 25663 w 50071"/>
                    <a:gd name="connsiteY33" fmla="*/ 47961 h 52280"/>
                    <a:gd name="connsiteX34" fmla="*/ 25061 w 50071"/>
                    <a:gd name="connsiteY34" fmla="*/ 49518 h 52280"/>
                    <a:gd name="connsiteX35" fmla="*/ 22957 w 50071"/>
                    <a:gd name="connsiteY35" fmla="*/ 51009 h 52280"/>
                    <a:gd name="connsiteX36" fmla="*/ 20855 w 50071"/>
                    <a:gd name="connsiteY36" fmla="*/ 51865 h 52280"/>
                    <a:gd name="connsiteX37" fmla="*/ 19690 w 50071"/>
                    <a:gd name="connsiteY37" fmla="*/ 51800 h 52280"/>
                    <a:gd name="connsiteX38" fmla="*/ 15036 w 50071"/>
                    <a:gd name="connsiteY38" fmla="*/ 52264 h 52280"/>
                    <a:gd name="connsiteX39" fmla="*/ 13203 w 50071"/>
                    <a:gd name="connsiteY39" fmla="*/ 52280 h 52280"/>
                    <a:gd name="connsiteX40" fmla="*/ 12208 w 50071"/>
                    <a:gd name="connsiteY40" fmla="*/ 51759 h 52280"/>
                    <a:gd name="connsiteX41" fmla="*/ 10896 w 50071"/>
                    <a:gd name="connsiteY41" fmla="*/ 48214 h 52280"/>
                    <a:gd name="connsiteX42" fmla="*/ 8435 w 50071"/>
                    <a:gd name="connsiteY42" fmla="*/ 46633 h 52280"/>
                    <a:gd name="connsiteX43" fmla="*/ 6055 w 50071"/>
                    <a:gd name="connsiteY43" fmla="*/ 45899 h 52280"/>
                    <a:gd name="connsiteX44" fmla="*/ 5102 w 50071"/>
                    <a:gd name="connsiteY44" fmla="*/ 46111 h 52280"/>
                    <a:gd name="connsiteX45" fmla="*/ 4230 w 50071"/>
                    <a:gd name="connsiteY45" fmla="*/ 47961 h 52280"/>
                    <a:gd name="connsiteX46" fmla="*/ 3887 w 50071"/>
                    <a:gd name="connsiteY46" fmla="*/ 49632 h 52280"/>
                    <a:gd name="connsiteX47" fmla="*/ 1589 w 50071"/>
                    <a:gd name="connsiteY47" fmla="*/ 48491 h 52280"/>
                    <a:gd name="connsiteX48" fmla="*/ 896 w 50071"/>
                    <a:gd name="connsiteY48" fmla="*/ 47081 h 52280"/>
                    <a:gd name="connsiteX49" fmla="*/ 831 w 50071"/>
                    <a:gd name="connsiteY49" fmla="*/ 44693 h 52280"/>
                    <a:gd name="connsiteX50" fmla="*/ 0 w 50071"/>
                    <a:gd name="connsiteY50" fmla="*/ 41433 h 52280"/>
                    <a:gd name="connsiteX51" fmla="*/ 465 w 50071"/>
                    <a:gd name="connsiteY51" fmla="*/ 40048 h 52280"/>
                    <a:gd name="connsiteX52" fmla="*/ 1361 w 50071"/>
                    <a:gd name="connsiteY52" fmla="*/ 39151 h 52280"/>
                    <a:gd name="connsiteX53" fmla="*/ 3268 w 50071"/>
                    <a:gd name="connsiteY53" fmla="*/ 37423 h 52280"/>
                    <a:gd name="connsiteX54" fmla="*/ 6161 w 50071"/>
                    <a:gd name="connsiteY54" fmla="*/ 35036 h 52280"/>
                    <a:gd name="connsiteX55" fmla="*/ 6789 w 50071"/>
                    <a:gd name="connsiteY55" fmla="*/ 33911 h 52280"/>
                    <a:gd name="connsiteX56" fmla="*/ 7204 w 50071"/>
                    <a:gd name="connsiteY56" fmla="*/ 32012 h 52280"/>
                    <a:gd name="connsiteX57" fmla="*/ 7009 w 50071"/>
                    <a:gd name="connsiteY57" fmla="*/ 27587 h 52280"/>
                    <a:gd name="connsiteX58" fmla="*/ 6740 w 50071"/>
                    <a:gd name="connsiteY58" fmla="*/ 23870 h 52280"/>
                    <a:gd name="connsiteX59" fmla="*/ 7082 w 50071"/>
                    <a:gd name="connsiteY59" fmla="*/ 22542 h 52280"/>
                    <a:gd name="connsiteX60" fmla="*/ 8402 w 50071"/>
                    <a:gd name="connsiteY60" fmla="*/ 19681 h 52280"/>
                    <a:gd name="connsiteX61" fmla="*/ 10179 w 50071"/>
                    <a:gd name="connsiteY61" fmla="*/ 16723 h 52280"/>
                    <a:gd name="connsiteX62" fmla="*/ 12257 w 50071"/>
                    <a:gd name="connsiteY62" fmla="*/ 13610 h 52280"/>
                    <a:gd name="connsiteX63" fmla="*/ 13496 w 50071"/>
                    <a:gd name="connsiteY63" fmla="*/ 13300 h 52280"/>
                    <a:gd name="connsiteX64" fmla="*/ 15126 w 50071"/>
                    <a:gd name="connsiteY64" fmla="*/ 12135 h 52280"/>
                    <a:gd name="connsiteX65" fmla="*/ 16870 w 50071"/>
                    <a:gd name="connsiteY65" fmla="*/ 10383 h 52280"/>
                    <a:gd name="connsiteX66" fmla="*/ 17839 w 50071"/>
                    <a:gd name="connsiteY66" fmla="*/ 9731 h 52280"/>
                    <a:gd name="connsiteX67" fmla="*/ 18655 w 50071"/>
                    <a:gd name="connsiteY67" fmla="*/ 9706 h 52280"/>
                    <a:gd name="connsiteX68" fmla="*/ 24001 w 50071"/>
                    <a:gd name="connsiteY68" fmla="*/ 8158 h 52280"/>
                    <a:gd name="connsiteX69" fmla="*/ 24531 w 50071"/>
                    <a:gd name="connsiteY69" fmla="*/ 8639 h 52280"/>
                    <a:gd name="connsiteX70" fmla="*/ 25394 w 50071"/>
                    <a:gd name="connsiteY70" fmla="*/ 11646 h 52280"/>
                    <a:gd name="connsiteX71" fmla="*/ 25851 w 50071"/>
                    <a:gd name="connsiteY71" fmla="*/ 12078 h 52280"/>
                    <a:gd name="connsiteX72" fmla="*/ 26601 w 50071"/>
                    <a:gd name="connsiteY72" fmla="*/ 12176 h 52280"/>
                    <a:gd name="connsiteX73" fmla="*/ 28092 w 50071"/>
                    <a:gd name="connsiteY73" fmla="*/ 11499 h 52280"/>
                    <a:gd name="connsiteX74" fmla="*/ 30847 w 50071"/>
                    <a:gd name="connsiteY74" fmla="*/ 9152 h 52280"/>
                    <a:gd name="connsiteX75" fmla="*/ 32061 w 50071"/>
                    <a:gd name="connsiteY75" fmla="*/ 7734 h 52280"/>
                    <a:gd name="connsiteX76" fmla="*/ 33462 w 50071"/>
                    <a:gd name="connsiteY76" fmla="*/ 5729 h 52280"/>
                    <a:gd name="connsiteX77" fmla="*/ 35272 w 50071"/>
                    <a:gd name="connsiteY77" fmla="*/ 3464 h 52280"/>
                    <a:gd name="connsiteX78" fmla="*/ 36274 w 50071"/>
                    <a:gd name="connsiteY78" fmla="*/ 1499 h 52280"/>
                    <a:gd name="connsiteX79" fmla="*/ 37260 w 50071"/>
                    <a:gd name="connsiteY79" fmla="*/ 342 h 52280"/>
                    <a:gd name="connsiteX80" fmla="*/ 38548 w 50071"/>
                    <a:gd name="connsiteY80" fmla="*/ 0 h 52280"/>
                    <a:gd name="connsiteX81" fmla="*/ 39983 w 50071"/>
                    <a:gd name="connsiteY81" fmla="*/ 81 h 52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50071" h="52280">
                      <a:moveTo>
                        <a:pt x="40977" y="122"/>
                      </a:moveTo>
                      <a:lnTo>
                        <a:pt x="40170" y="603"/>
                      </a:lnTo>
                      <a:lnTo>
                        <a:pt x="39999" y="2037"/>
                      </a:lnTo>
                      <a:lnTo>
                        <a:pt x="40928" y="4352"/>
                      </a:lnTo>
                      <a:lnTo>
                        <a:pt x="44008" y="9119"/>
                      </a:lnTo>
                      <a:lnTo>
                        <a:pt x="45965" y="9991"/>
                      </a:lnTo>
                      <a:lnTo>
                        <a:pt x="47236" y="11850"/>
                      </a:lnTo>
                      <a:lnTo>
                        <a:pt x="48483" y="14979"/>
                      </a:lnTo>
                      <a:lnTo>
                        <a:pt x="48858" y="18883"/>
                      </a:lnTo>
                      <a:lnTo>
                        <a:pt x="48336" y="23577"/>
                      </a:lnTo>
                      <a:lnTo>
                        <a:pt x="48646" y="27090"/>
                      </a:lnTo>
                      <a:lnTo>
                        <a:pt x="49778" y="29380"/>
                      </a:lnTo>
                      <a:lnTo>
                        <a:pt x="50072" y="32354"/>
                      </a:lnTo>
                      <a:lnTo>
                        <a:pt x="49534" y="36013"/>
                      </a:lnTo>
                      <a:lnTo>
                        <a:pt x="48890" y="38198"/>
                      </a:lnTo>
                      <a:lnTo>
                        <a:pt x="48116" y="38923"/>
                      </a:lnTo>
                      <a:lnTo>
                        <a:pt x="47244" y="39184"/>
                      </a:lnTo>
                      <a:lnTo>
                        <a:pt x="46054" y="38939"/>
                      </a:lnTo>
                      <a:lnTo>
                        <a:pt x="44628" y="39249"/>
                      </a:lnTo>
                      <a:lnTo>
                        <a:pt x="43039" y="39950"/>
                      </a:lnTo>
                      <a:lnTo>
                        <a:pt x="42061" y="40040"/>
                      </a:lnTo>
                      <a:lnTo>
                        <a:pt x="41450" y="39909"/>
                      </a:lnTo>
                      <a:lnTo>
                        <a:pt x="40292" y="39322"/>
                      </a:lnTo>
                      <a:lnTo>
                        <a:pt x="38467" y="37423"/>
                      </a:lnTo>
                      <a:lnTo>
                        <a:pt x="35060" y="38467"/>
                      </a:lnTo>
                      <a:lnTo>
                        <a:pt x="34123" y="38450"/>
                      </a:lnTo>
                      <a:lnTo>
                        <a:pt x="32876" y="39355"/>
                      </a:lnTo>
                      <a:lnTo>
                        <a:pt x="31865" y="40455"/>
                      </a:lnTo>
                      <a:lnTo>
                        <a:pt x="31246" y="40529"/>
                      </a:lnTo>
                      <a:lnTo>
                        <a:pt x="30610" y="40390"/>
                      </a:lnTo>
                      <a:lnTo>
                        <a:pt x="27660" y="38149"/>
                      </a:lnTo>
                      <a:lnTo>
                        <a:pt x="26601" y="38222"/>
                      </a:lnTo>
                      <a:lnTo>
                        <a:pt x="26160" y="44489"/>
                      </a:lnTo>
                      <a:lnTo>
                        <a:pt x="25663" y="47961"/>
                      </a:lnTo>
                      <a:lnTo>
                        <a:pt x="25061" y="49518"/>
                      </a:lnTo>
                      <a:lnTo>
                        <a:pt x="22957" y="51009"/>
                      </a:lnTo>
                      <a:lnTo>
                        <a:pt x="20855" y="51865"/>
                      </a:lnTo>
                      <a:lnTo>
                        <a:pt x="19690" y="51800"/>
                      </a:lnTo>
                      <a:lnTo>
                        <a:pt x="15036" y="52264"/>
                      </a:lnTo>
                      <a:lnTo>
                        <a:pt x="13203" y="52280"/>
                      </a:lnTo>
                      <a:lnTo>
                        <a:pt x="12208" y="51759"/>
                      </a:lnTo>
                      <a:lnTo>
                        <a:pt x="10896" y="48214"/>
                      </a:lnTo>
                      <a:lnTo>
                        <a:pt x="8435" y="46633"/>
                      </a:lnTo>
                      <a:lnTo>
                        <a:pt x="6055" y="45899"/>
                      </a:lnTo>
                      <a:lnTo>
                        <a:pt x="5102" y="46111"/>
                      </a:lnTo>
                      <a:lnTo>
                        <a:pt x="4230" y="47961"/>
                      </a:lnTo>
                      <a:lnTo>
                        <a:pt x="3887" y="49632"/>
                      </a:lnTo>
                      <a:lnTo>
                        <a:pt x="1589" y="48491"/>
                      </a:lnTo>
                      <a:lnTo>
                        <a:pt x="896" y="47081"/>
                      </a:lnTo>
                      <a:lnTo>
                        <a:pt x="831" y="44693"/>
                      </a:lnTo>
                      <a:lnTo>
                        <a:pt x="0" y="41433"/>
                      </a:lnTo>
                      <a:lnTo>
                        <a:pt x="465" y="40048"/>
                      </a:lnTo>
                      <a:lnTo>
                        <a:pt x="1361" y="39151"/>
                      </a:lnTo>
                      <a:lnTo>
                        <a:pt x="3268" y="37423"/>
                      </a:lnTo>
                      <a:lnTo>
                        <a:pt x="6161" y="35036"/>
                      </a:lnTo>
                      <a:lnTo>
                        <a:pt x="6789" y="33911"/>
                      </a:lnTo>
                      <a:lnTo>
                        <a:pt x="7204" y="32012"/>
                      </a:lnTo>
                      <a:lnTo>
                        <a:pt x="7009" y="27587"/>
                      </a:lnTo>
                      <a:lnTo>
                        <a:pt x="6740" y="23870"/>
                      </a:lnTo>
                      <a:lnTo>
                        <a:pt x="7082" y="22542"/>
                      </a:lnTo>
                      <a:lnTo>
                        <a:pt x="8402" y="19681"/>
                      </a:lnTo>
                      <a:lnTo>
                        <a:pt x="10179" y="16723"/>
                      </a:lnTo>
                      <a:lnTo>
                        <a:pt x="12257" y="13610"/>
                      </a:lnTo>
                      <a:lnTo>
                        <a:pt x="13496" y="13300"/>
                      </a:lnTo>
                      <a:lnTo>
                        <a:pt x="15126" y="12135"/>
                      </a:lnTo>
                      <a:lnTo>
                        <a:pt x="16870" y="10383"/>
                      </a:lnTo>
                      <a:lnTo>
                        <a:pt x="17839" y="9731"/>
                      </a:lnTo>
                      <a:lnTo>
                        <a:pt x="18655" y="9706"/>
                      </a:lnTo>
                      <a:lnTo>
                        <a:pt x="24001" y="8158"/>
                      </a:lnTo>
                      <a:lnTo>
                        <a:pt x="24531" y="8639"/>
                      </a:lnTo>
                      <a:lnTo>
                        <a:pt x="25394" y="11646"/>
                      </a:lnTo>
                      <a:lnTo>
                        <a:pt x="25851" y="12078"/>
                      </a:lnTo>
                      <a:lnTo>
                        <a:pt x="26601" y="12176"/>
                      </a:lnTo>
                      <a:lnTo>
                        <a:pt x="28092" y="11499"/>
                      </a:lnTo>
                      <a:lnTo>
                        <a:pt x="30847" y="9152"/>
                      </a:lnTo>
                      <a:lnTo>
                        <a:pt x="32061" y="7734"/>
                      </a:lnTo>
                      <a:lnTo>
                        <a:pt x="33462" y="5729"/>
                      </a:lnTo>
                      <a:lnTo>
                        <a:pt x="35272" y="3464"/>
                      </a:lnTo>
                      <a:lnTo>
                        <a:pt x="36274" y="1499"/>
                      </a:lnTo>
                      <a:lnTo>
                        <a:pt x="37260" y="342"/>
                      </a:lnTo>
                      <a:lnTo>
                        <a:pt x="38548" y="0"/>
                      </a:lnTo>
                      <a:lnTo>
                        <a:pt x="39983" y="81"/>
                      </a:lnTo>
                      <a:close/>
                    </a:path>
                  </a:pathLst>
                </a:custGeom>
                <a:solidFill>
                  <a:srgbClr val="D6D6D2"/>
                </a:solidFill>
                <a:ln w="8150" cap="flat">
                  <a:noFill/>
                  <a:prstDash val="solid"/>
                  <a:miter/>
                </a:ln>
              </p:spPr>
              <p:txBody>
                <a:bodyPr rtlCol="0" anchor="ctr"/>
                <a:lstStyle/>
                <a:p>
                  <a:endParaRPr lang="en-US"/>
                </a:p>
              </p:txBody>
            </p:sp>
            <p:sp>
              <p:nvSpPr>
                <p:cNvPr id="587" name="Freeform: Shape 586">
                  <a:extLst>
                    <a:ext uri="{FF2B5EF4-FFF2-40B4-BE49-F238E27FC236}">
                      <a16:creationId xmlns:a16="http://schemas.microsoft.com/office/drawing/2014/main" id="{41D1AA7F-736C-4ADF-8A7C-3DE527DDD8E7}"/>
                    </a:ext>
                  </a:extLst>
                </p:cNvPr>
                <p:cNvSpPr/>
                <p:nvPr/>
              </p:nvSpPr>
              <p:spPr>
                <a:xfrm>
                  <a:off x="9550533" y="3120933"/>
                  <a:ext cx="28304" cy="29127"/>
                </a:xfrm>
                <a:custGeom>
                  <a:avLst/>
                  <a:gdLst>
                    <a:gd name="connsiteX0" fmla="*/ 19380 w 28304"/>
                    <a:gd name="connsiteY0" fmla="*/ 90 h 29127"/>
                    <a:gd name="connsiteX1" fmla="*/ 23047 w 28304"/>
                    <a:gd name="connsiteY1" fmla="*/ 2649 h 29127"/>
                    <a:gd name="connsiteX2" fmla="*/ 28304 w 28304"/>
                    <a:gd name="connsiteY2" fmla="*/ 2086 h 29127"/>
                    <a:gd name="connsiteX3" fmla="*/ 27024 w 28304"/>
                    <a:gd name="connsiteY3" fmla="*/ 4393 h 29127"/>
                    <a:gd name="connsiteX4" fmla="*/ 25052 w 28304"/>
                    <a:gd name="connsiteY4" fmla="*/ 4352 h 29127"/>
                    <a:gd name="connsiteX5" fmla="*/ 21564 w 28304"/>
                    <a:gd name="connsiteY5" fmla="*/ 7661 h 29127"/>
                    <a:gd name="connsiteX6" fmla="*/ 18508 w 28304"/>
                    <a:gd name="connsiteY6" fmla="*/ 8093 h 29127"/>
                    <a:gd name="connsiteX7" fmla="*/ 17017 w 28304"/>
                    <a:gd name="connsiteY7" fmla="*/ 8875 h 29127"/>
                    <a:gd name="connsiteX8" fmla="*/ 12102 w 28304"/>
                    <a:gd name="connsiteY8" fmla="*/ 13846 h 29127"/>
                    <a:gd name="connsiteX9" fmla="*/ 11434 w 28304"/>
                    <a:gd name="connsiteY9" fmla="*/ 15794 h 29127"/>
                    <a:gd name="connsiteX10" fmla="*/ 8451 w 28304"/>
                    <a:gd name="connsiteY10" fmla="*/ 19519 h 29127"/>
                    <a:gd name="connsiteX11" fmla="*/ 3977 w 28304"/>
                    <a:gd name="connsiteY11" fmla="*/ 22844 h 29127"/>
                    <a:gd name="connsiteX12" fmla="*/ 3211 w 28304"/>
                    <a:gd name="connsiteY12" fmla="*/ 29127 h 29127"/>
                    <a:gd name="connsiteX13" fmla="*/ 318 w 28304"/>
                    <a:gd name="connsiteY13" fmla="*/ 26601 h 29127"/>
                    <a:gd name="connsiteX14" fmla="*/ 0 w 28304"/>
                    <a:gd name="connsiteY14" fmla="*/ 24058 h 29127"/>
                    <a:gd name="connsiteX15" fmla="*/ 872 w 28304"/>
                    <a:gd name="connsiteY15" fmla="*/ 21947 h 29127"/>
                    <a:gd name="connsiteX16" fmla="*/ 5949 w 28304"/>
                    <a:gd name="connsiteY16" fmla="*/ 17489 h 29127"/>
                    <a:gd name="connsiteX17" fmla="*/ 7987 w 28304"/>
                    <a:gd name="connsiteY17" fmla="*/ 14963 h 29127"/>
                    <a:gd name="connsiteX18" fmla="*/ 8606 w 28304"/>
                    <a:gd name="connsiteY18" fmla="*/ 12966 h 29127"/>
                    <a:gd name="connsiteX19" fmla="*/ 10554 w 28304"/>
                    <a:gd name="connsiteY19" fmla="*/ 10725 h 29127"/>
                    <a:gd name="connsiteX20" fmla="*/ 11507 w 28304"/>
                    <a:gd name="connsiteY20" fmla="*/ 8785 h 29127"/>
                    <a:gd name="connsiteX21" fmla="*/ 12754 w 28304"/>
                    <a:gd name="connsiteY21" fmla="*/ 7954 h 29127"/>
                    <a:gd name="connsiteX22" fmla="*/ 17017 w 28304"/>
                    <a:gd name="connsiteY22" fmla="*/ 0 h 2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304" h="29127">
                      <a:moveTo>
                        <a:pt x="19380" y="90"/>
                      </a:moveTo>
                      <a:lnTo>
                        <a:pt x="23047" y="2649"/>
                      </a:lnTo>
                      <a:lnTo>
                        <a:pt x="28304" y="2086"/>
                      </a:lnTo>
                      <a:lnTo>
                        <a:pt x="27024" y="4393"/>
                      </a:lnTo>
                      <a:lnTo>
                        <a:pt x="25052" y="4352"/>
                      </a:lnTo>
                      <a:lnTo>
                        <a:pt x="21564" y="7661"/>
                      </a:lnTo>
                      <a:lnTo>
                        <a:pt x="18508" y="8093"/>
                      </a:lnTo>
                      <a:lnTo>
                        <a:pt x="17017" y="8875"/>
                      </a:lnTo>
                      <a:lnTo>
                        <a:pt x="12102" y="13846"/>
                      </a:lnTo>
                      <a:lnTo>
                        <a:pt x="11434" y="15794"/>
                      </a:lnTo>
                      <a:lnTo>
                        <a:pt x="8451" y="19519"/>
                      </a:lnTo>
                      <a:lnTo>
                        <a:pt x="3977" y="22844"/>
                      </a:lnTo>
                      <a:lnTo>
                        <a:pt x="3211" y="29127"/>
                      </a:lnTo>
                      <a:lnTo>
                        <a:pt x="318" y="26601"/>
                      </a:lnTo>
                      <a:lnTo>
                        <a:pt x="0" y="24058"/>
                      </a:lnTo>
                      <a:lnTo>
                        <a:pt x="872" y="21947"/>
                      </a:lnTo>
                      <a:lnTo>
                        <a:pt x="5949" y="17489"/>
                      </a:lnTo>
                      <a:lnTo>
                        <a:pt x="7987" y="14963"/>
                      </a:lnTo>
                      <a:lnTo>
                        <a:pt x="8606" y="12966"/>
                      </a:lnTo>
                      <a:lnTo>
                        <a:pt x="10554" y="10725"/>
                      </a:lnTo>
                      <a:lnTo>
                        <a:pt x="11507" y="8785"/>
                      </a:lnTo>
                      <a:lnTo>
                        <a:pt x="12754" y="7954"/>
                      </a:lnTo>
                      <a:lnTo>
                        <a:pt x="17017" y="0"/>
                      </a:lnTo>
                      <a:close/>
                    </a:path>
                  </a:pathLst>
                </a:custGeom>
                <a:solidFill>
                  <a:srgbClr val="D6D6D2"/>
                </a:solidFill>
                <a:ln w="8150" cap="flat">
                  <a:noFill/>
                  <a:prstDash val="solid"/>
                  <a:miter/>
                </a:ln>
              </p:spPr>
              <p:txBody>
                <a:bodyPr rtlCol="0" anchor="ctr"/>
                <a:lstStyle/>
                <a:p>
                  <a:endParaRPr lang="en-US"/>
                </a:p>
              </p:txBody>
            </p:sp>
            <p:sp>
              <p:nvSpPr>
                <p:cNvPr id="588" name="Freeform: Shape 587">
                  <a:extLst>
                    <a:ext uri="{FF2B5EF4-FFF2-40B4-BE49-F238E27FC236}">
                      <a16:creationId xmlns:a16="http://schemas.microsoft.com/office/drawing/2014/main" id="{C8F956D4-B7D7-4478-8F24-E0CED9AAC154}"/>
                    </a:ext>
                  </a:extLst>
                </p:cNvPr>
                <p:cNvSpPr/>
                <p:nvPr/>
              </p:nvSpPr>
              <p:spPr>
                <a:xfrm>
                  <a:off x="9587011" y="3084944"/>
                  <a:ext cx="48115" cy="39346"/>
                </a:xfrm>
                <a:custGeom>
                  <a:avLst/>
                  <a:gdLst>
                    <a:gd name="connsiteX0" fmla="*/ 42224 w 48115"/>
                    <a:gd name="connsiteY0" fmla="*/ 7343 h 39346"/>
                    <a:gd name="connsiteX1" fmla="*/ 37644 w 48115"/>
                    <a:gd name="connsiteY1" fmla="*/ 9812 h 39346"/>
                    <a:gd name="connsiteX2" fmla="*/ 33862 w 48115"/>
                    <a:gd name="connsiteY2" fmla="*/ 10880 h 39346"/>
                    <a:gd name="connsiteX3" fmla="*/ 27481 w 48115"/>
                    <a:gd name="connsiteY3" fmla="*/ 16030 h 39346"/>
                    <a:gd name="connsiteX4" fmla="*/ 25215 w 48115"/>
                    <a:gd name="connsiteY4" fmla="*/ 18834 h 39346"/>
                    <a:gd name="connsiteX5" fmla="*/ 22004 w 48115"/>
                    <a:gd name="connsiteY5" fmla="*/ 19951 h 39346"/>
                    <a:gd name="connsiteX6" fmla="*/ 18858 w 48115"/>
                    <a:gd name="connsiteY6" fmla="*/ 19290 h 39346"/>
                    <a:gd name="connsiteX7" fmla="*/ 17978 w 48115"/>
                    <a:gd name="connsiteY7" fmla="*/ 20431 h 39346"/>
                    <a:gd name="connsiteX8" fmla="*/ 17668 w 48115"/>
                    <a:gd name="connsiteY8" fmla="*/ 22469 h 39346"/>
                    <a:gd name="connsiteX9" fmla="*/ 16519 w 48115"/>
                    <a:gd name="connsiteY9" fmla="*/ 24262 h 39346"/>
                    <a:gd name="connsiteX10" fmla="*/ 10236 w 48115"/>
                    <a:gd name="connsiteY10" fmla="*/ 29787 h 39346"/>
                    <a:gd name="connsiteX11" fmla="*/ 7702 w 48115"/>
                    <a:gd name="connsiteY11" fmla="*/ 34131 h 39346"/>
                    <a:gd name="connsiteX12" fmla="*/ 4996 w 48115"/>
                    <a:gd name="connsiteY12" fmla="*/ 34905 h 39346"/>
                    <a:gd name="connsiteX13" fmla="*/ 0 w 48115"/>
                    <a:gd name="connsiteY13" fmla="*/ 39347 h 39346"/>
                    <a:gd name="connsiteX14" fmla="*/ 904 w 48115"/>
                    <a:gd name="connsiteY14" fmla="*/ 35541 h 39346"/>
                    <a:gd name="connsiteX15" fmla="*/ 1915 w 48115"/>
                    <a:gd name="connsiteY15" fmla="*/ 33699 h 39346"/>
                    <a:gd name="connsiteX16" fmla="*/ 6055 w 48115"/>
                    <a:gd name="connsiteY16" fmla="*/ 30284 h 39346"/>
                    <a:gd name="connsiteX17" fmla="*/ 6397 w 48115"/>
                    <a:gd name="connsiteY17" fmla="*/ 26682 h 39346"/>
                    <a:gd name="connsiteX18" fmla="*/ 8663 w 48115"/>
                    <a:gd name="connsiteY18" fmla="*/ 23536 h 39346"/>
                    <a:gd name="connsiteX19" fmla="*/ 13219 w 48115"/>
                    <a:gd name="connsiteY19" fmla="*/ 20415 h 39346"/>
                    <a:gd name="connsiteX20" fmla="*/ 16381 w 48115"/>
                    <a:gd name="connsiteY20" fmla="*/ 16299 h 39346"/>
                    <a:gd name="connsiteX21" fmla="*/ 18875 w 48115"/>
                    <a:gd name="connsiteY21" fmla="*/ 15232 h 39346"/>
                    <a:gd name="connsiteX22" fmla="*/ 21637 w 48115"/>
                    <a:gd name="connsiteY22" fmla="*/ 11801 h 39346"/>
                    <a:gd name="connsiteX23" fmla="*/ 24514 w 48115"/>
                    <a:gd name="connsiteY23" fmla="*/ 10570 h 39346"/>
                    <a:gd name="connsiteX24" fmla="*/ 24189 w 48115"/>
                    <a:gd name="connsiteY24" fmla="*/ 7954 h 39346"/>
                    <a:gd name="connsiteX25" fmla="*/ 25459 w 48115"/>
                    <a:gd name="connsiteY25" fmla="*/ 5028 h 39346"/>
                    <a:gd name="connsiteX26" fmla="*/ 26470 w 48115"/>
                    <a:gd name="connsiteY26" fmla="*/ 5224 h 39346"/>
                    <a:gd name="connsiteX27" fmla="*/ 28752 w 48115"/>
                    <a:gd name="connsiteY27" fmla="*/ 9291 h 39346"/>
                    <a:gd name="connsiteX28" fmla="*/ 30569 w 48115"/>
                    <a:gd name="connsiteY28" fmla="*/ 9429 h 39346"/>
                    <a:gd name="connsiteX29" fmla="*/ 35394 w 48115"/>
                    <a:gd name="connsiteY29" fmla="*/ 8582 h 39346"/>
                    <a:gd name="connsiteX30" fmla="*/ 42533 w 48115"/>
                    <a:gd name="connsiteY30" fmla="*/ 1459 h 39346"/>
                    <a:gd name="connsiteX31" fmla="*/ 44872 w 48115"/>
                    <a:gd name="connsiteY31" fmla="*/ 196 h 39346"/>
                    <a:gd name="connsiteX32" fmla="*/ 46510 w 48115"/>
                    <a:gd name="connsiteY32" fmla="*/ 0 h 39346"/>
                    <a:gd name="connsiteX33" fmla="*/ 47505 w 48115"/>
                    <a:gd name="connsiteY33" fmla="*/ 570 h 39346"/>
                    <a:gd name="connsiteX34" fmla="*/ 47839 w 48115"/>
                    <a:gd name="connsiteY34" fmla="*/ 1410 h 39346"/>
                    <a:gd name="connsiteX35" fmla="*/ 47822 w 48115"/>
                    <a:gd name="connsiteY35" fmla="*/ 2478 h 39346"/>
                    <a:gd name="connsiteX36" fmla="*/ 47260 w 48115"/>
                    <a:gd name="connsiteY36" fmla="*/ 3969 h 39346"/>
                    <a:gd name="connsiteX37" fmla="*/ 48116 w 48115"/>
                    <a:gd name="connsiteY37" fmla="*/ 5762 h 39346"/>
                    <a:gd name="connsiteX38" fmla="*/ 46958 w 48115"/>
                    <a:gd name="connsiteY38" fmla="*/ 7123 h 39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8115" h="39346">
                      <a:moveTo>
                        <a:pt x="42224" y="7343"/>
                      </a:moveTo>
                      <a:lnTo>
                        <a:pt x="37644" y="9812"/>
                      </a:lnTo>
                      <a:lnTo>
                        <a:pt x="33862" y="10880"/>
                      </a:lnTo>
                      <a:lnTo>
                        <a:pt x="27481" y="16030"/>
                      </a:lnTo>
                      <a:lnTo>
                        <a:pt x="25215" y="18834"/>
                      </a:lnTo>
                      <a:lnTo>
                        <a:pt x="22004" y="19951"/>
                      </a:lnTo>
                      <a:lnTo>
                        <a:pt x="18858" y="19290"/>
                      </a:lnTo>
                      <a:lnTo>
                        <a:pt x="17978" y="20431"/>
                      </a:lnTo>
                      <a:lnTo>
                        <a:pt x="17668" y="22469"/>
                      </a:lnTo>
                      <a:lnTo>
                        <a:pt x="16519" y="24262"/>
                      </a:lnTo>
                      <a:lnTo>
                        <a:pt x="10236" y="29787"/>
                      </a:lnTo>
                      <a:lnTo>
                        <a:pt x="7702" y="34131"/>
                      </a:lnTo>
                      <a:lnTo>
                        <a:pt x="4996" y="34905"/>
                      </a:lnTo>
                      <a:lnTo>
                        <a:pt x="0" y="39347"/>
                      </a:lnTo>
                      <a:lnTo>
                        <a:pt x="904" y="35541"/>
                      </a:lnTo>
                      <a:lnTo>
                        <a:pt x="1915" y="33699"/>
                      </a:lnTo>
                      <a:lnTo>
                        <a:pt x="6055" y="30284"/>
                      </a:lnTo>
                      <a:lnTo>
                        <a:pt x="6397" y="26682"/>
                      </a:lnTo>
                      <a:lnTo>
                        <a:pt x="8663" y="23536"/>
                      </a:lnTo>
                      <a:lnTo>
                        <a:pt x="13219" y="20415"/>
                      </a:lnTo>
                      <a:lnTo>
                        <a:pt x="16381" y="16299"/>
                      </a:lnTo>
                      <a:lnTo>
                        <a:pt x="18875" y="15232"/>
                      </a:lnTo>
                      <a:lnTo>
                        <a:pt x="21637" y="11801"/>
                      </a:lnTo>
                      <a:lnTo>
                        <a:pt x="24514" y="10570"/>
                      </a:lnTo>
                      <a:lnTo>
                        <a:pt x="24189" y="7954"/>
                      </a:lnTo>
                      <a:lnTo>
                        <a:pt x="25459" y="5028"/>
                      </a:lnTo>
                      <a:lnTo>
                        <a:pt x="26470" y="5224"/>
                      </a:lnTo>
                      <a:lnTo>
                        <a:pt x="28752" y="9291"/>
                      </a:lnTo>
                      <a:lnTo>
                        <a:pt x="30569" y="9429"/>
                      </a:lnTo>
                      <a:lnTo>
                        <a:pt x="35394" y="8582"/>
                      </a:lnTo>
                      <a:lnTo>
                        <a:pt x="42533" y="1459"/>
                      </a:lnTo>
                      <a:lnTo>
                        <a:pt x="44872" y="196"/>
                      </a:lnTo>
                      <a:lnTo>
                        <a:pt x="46510" y="0"/>
                      </a:lnTo>
                      <a:lnTo>
                        <a:pt x="47505" y="570"/>
                      </a:lnTo>
                      <a:lnTo>
                        <a:pt x="47839" y="1410"/>
                      </a:lnTo>
                      <a:lnTo>
                        <a:pt x="47822" y="2478"/>
                      </a:lnTo>
                      <a:lnTo>
                        <a:pt x="47260" y="3969"/>
                      </a:lnTo>
                      <a:lnTo>
                        <a:pt x="48116" y="5762"/>
                      </a:lnTo>
                      <a:lnTo>
                        <a:pt x="46958" y="7123"/>
                      </a:lnTo>
                      <a:close/>
                    </a:path>
                  </a:pathLst>
                </a:custGeom>
                <a:solidFill>
                  <a:srgbClr val="D6D6D2"/>
                </a:solidFill>
                <a:ln w="8150" cap="flat">
                  <a:noFill/>
                  <a:prstDash val="solid"/>
                  <a:miter/>
                </a:ln>
              </p:spPr>
              <p:txBody>
                <a:bodyPr rtlCol="0" anchor="ctr"/>
                <a:lstStyle/>
                <a:p>
                  <a:endParaRPr lang="en-US"/>
                </a:p>
              </p:txBody>
            </p:sp>
            <p:sp>
              <p:nvSpPr>
                <p:cNvPr id="589" name="Freeform: Shape 588">
                  <a:extLst>
                    <a:ext uri="{FF2B5EF4-FFF2-40B4-BE49-F238E27FC236}">
                      <a16:creationId xmlns:a16="http://schemas.microsoft.com/office/drawing/2014/main" id="{E2A4F834-11AB-4041-9D8D-02A4C69D0BCE}"/>
                    </a:ext>
                  </a:extLst>
                </p:cNvPr>
                <p:cNvSpPr/>
                <p:nvPr/>
              </p:nvSpPr>
              <p:spPr>
                <a:xfrm>
                  <a:off x="9650253" y="3060691"/>
                  <a:ext cx="27431" cy="21963"/>
                </a:xfrm>
                <a:custGeom>
                  <a:avLst/>
                  <a:gdLst>
                    <a:gd name="connsiteX0" fmla="*/ 5974 w 27431"/>
                    <a:gd name="connsiteY0" fmla="*/ 20179 h 21963"/>
                    <a:gd name="connsiteX1" fmla="*/ 2274 w 27431"/>
                    <a:gd name="connsiteY1" fmla="*/ 21963 h 21963"/>
                    <a:gd name="connsiteX2" fmla="*/ 0 w 27431"/>
                    <a:gd name="connsiteY2" fmla="*/ 21890 h 21963"/>
                    <a:gd name="connsiteX3" fmla="*/ 5427 w 27431"/>
                    <a:gd name="connsiteY3" fmla="*/ 13203 h 21963"/>
                    <a:gd name="connsiteX4" fmla="*/ 8663 w 27431"/>
                    <a:gd name="connsiteY4" fmla="*/ 11923 h 21963"/>
                    <a:gd name="connsiteX5" fmla="*/ 12787 w 27431"/>
                    <a:gd name="connsiteY5" fmla="*/ 6764 h 21963"/>
                    <a:gd name="connsiteX6" fmla="*/ 21377 w 27431"/>
                    <a:gd name="connsiteY6" fmla="*/ 456 h 21963"/>
                    <a:gd name="connsiteX7" fmla="*/ 22363 w 27431"/>
                    <a:gd name="connsiteY7" fmla="*/ 0 h 21963"/>
                    <a:gd name="connsiteX8" fmla="*/ 27432 w 27431"/>
                    <a:gd name="connsiteY8" fmla="*/ 171 h 21963"/>
                    <a:gd name="connsiteX9" fmla="*/ 19535 w 27431"/>
                    <a:gd name="connsiteY9" fmla="*/ 7115 h 21963"/>
                    <a:gd name="connsiteX10" fmla="*/ 18557 w 27431"/>
                    <a:gd name="connsiteY10" fmla="*/ 9910 h 21963"/>
                    <a:gd name="connsiteX11" fmla="*/ 15126 w 27431"/>
                    <a:gd name="connsiteY11" fmla="*/ 12868 h 21963"/>
                    <a:gd name="connsiteX12" fmla="*/ 12575 w 27431"/>
                    <a:gd name="connsiteY12" fmla="*/ 13814 h 21963"/>
                    <a:gd name="connsiteX13" fmla="*/ 10823 w 27431"/>
                    <a:gd name="connsiteY13" fmla="*/ 15199 h 2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431" h="21963">
                      <a:moveTo>
                        <a:pt x="5974" y="20179"/>
                      </a:moveTo>
                      <a:lnTo>
                        <a:pt x="2274" y="21963"/>
                      </a:lnTo>
                      <a:lnTo>
                        <a:pt x="0" y="21890"/>
                      </a:lnTo>
                      <a:lnTo>
                        <a:pt x="5427" y="13203"/>
                      </a:lnTo>
                      <a:lnTo>
                        <a:pt x="8663" y="11923"/>
                      </a:lnTo>
                      <a:lnTo>
                        <a:pt x="12787" y="6764"/>
                      </a:lnTo>
                      <a:lnTo>
                        <a:pt x="21377" y="456"/>
                      </a:lnTo>
                      <a:lnTo>
                        <a:pt x="22363" y="0"/>
                      </a:lnTo>
                      <a:lnTo>
                        <a:pt x="27432" y="171"/>
                      </a:lnTo>
                      <a:lnTo>
                        <a:pt x="19535" y="7115"/>
                      </a:lnTo>
                      <a:lnTo>
                        <a:pt x="18557" y="9910"/>
                      </a:lnTo>
                      <a:lnTo>
                        <a:pt x="15126" y="12868"/>
                      </a:lnTo>
                      <a:lnTo>
                        <a:pt x="12575" y="13814"/>
                      </a:lnTo>
                      <a:lnTo>
                        <a:pt x="10823" y="15199"/>
                      </a:lnTo>
                      <a:close/>
                    </a:path>
                  </a:pathLst>
                </a:custGeom>
                <a:solidFill>
                  <a:srgbClr val="D6D6D2"/>
                </a:solidFill>
                <a:ln w="8150" cap="flat">
                  <a:noFill/>
                  <a:prstDash val="solid"/>
                  <a:miter/>
                </a:ln>
              </p:spPr>
              <p:txBody>
                <a:bodyPr rtlCol="0" anchor="ctr"/>
                <a:lstStyle/>
                <a:p>
                  <a:endParaRPr lang="en-US"/>
                </a:p>
              </p:txBody>
            </p:sp>
            <p:sp>
              <p:nvSpPr>
                <p:cNvPr id="590" name="Freeform: Shape 589">
                  <a:extLst>
                    <a:ext uri="{FF2B5EF4-FFF2-40B4-BE49-F238E27FC236}">
                      <a16:creationId xmlns:a16="http://schemas.microsoft.com/office/drawing/2014/main" id="{CF05CD6F-3F86-43F4-864E-82EE2CB91E5B}"/>
                    </a:ext>
                  </a:extLst>
                </p:cNvPr>
                <p:cNvSpPr/>
                <p:nvPr/>
              </p:nvSpPr>
              <p:spPr>
                <a:xfrm>
                  <a:off x="9792816" y="2896490"/>
                  <a:ext cx="23023" cy="26723"/>
                </a:xfrm>
                <a:custGeom>
                  <a:avLst/>
                  <a:gdLst>
                    <a:gd name="connsiteX0" fmla="*/ 18003 w 23023"/>
                    <a:gd name="connsiteY0" fmla="*/ 17196 h 26723"/>
                    <a:gd name="connsiteX1" fmla="*/ 14816 w 23023"/>
                    <a:gd name="connsiteY1" fmla="*/ 20855 h 26723"/>
                    <a:gd name="connsiteX2" fmla="*/ 10228 w 23023"/>
                    <a:gd name="connsiteY2" fmla="*/ 21760 h 26723"/>
                    <a:gd name="connsiteX3" fmla="*/ 7979 w 23023"/>
                    <a:gd name="connsiteY3" fmla="*/ 22925 h 26723"/>
                    <a:gd name="connsiteX4" fmla="*/ 6300 w 23023"/>
                    <a:gd name="connsiteY4" fmla="*/ 25395 h 26723"/>
                    <a:gd name="connsiteX5" fmla="*/ 5012 w 23023"/>
                    <a:gd name="connsiteY5" fmla="*/ 26723 h 26723"/>
                    <a:gd name="connsiteX6" fmla="*/ 2322 w 23023"/>
                    <a:gd name="connsiteY6" fmla="*/ 25998 h 26723"/>
                    <a:gd name="connsiteX7" fmla="*/ 1190 w 23023"/>
                    <a:gd name="connsiteY7" fmla="*/ 24783 h 26723"/>
                    <a:gd name="connsiteX8" fmla="*/ 1190 w 23023"/>
                    <a:gd name="connsiteY8" fmla="*/ 20464 h 26723"/>
                    <a:gd name="connsiteX9" fmla="*/ 0 w 23023"/>
                    <a:gd name="connsiteY9" fmla="*/ 18573 h 26723"/>
                    <a:gd name="connsiteX10" fmla="*/ 578 w 23023"/>
                    <a:gd name="connsiteY10" fmla="*/ 17351 h 26723"/>
                    <a:gd name="connsiteX11" fmla="*/ 3276 w 23023"/>
                    <a:gd name="connsiteY11" fmla="*/ 17522 h 26723"/>
                    <a:gd name="connsiteX12" fmla="*/ 5925 w 23023"/>
                    <a:gd name="connsiteY12" fmla="*/ 14759 h 26723"/>
                    <a:gd name="connsiteX13" fmla="*/ 12029 w 23023"/>
                    <a:gd name="connsiteY13" fmla="*/ 13594 h 26723"/>
                    <a:gd name="connsiteX14" fmla="*/ 14327 w 23023"/>
                    <a:gd name="connsiteY14" fmla="*/ 10611 h 26723"/>
                    <a:gd name="connsiteX15" fmla="*/ 17106 w 23023"/>
                    <a:gd name="connsiteY15" fmla="*/ 3219 h 26723"/>
                    <a:gd name="connsiteX16" fmla="*/ 20008 w 23023"/>
                    <a:gd name="connsiteY16" fmla="*/ 546 h 26723"/>
                    <a:gd name="connsiteX17" fmla="*/ 22371 w 23023"/>
                    <a:gd name="connsiteY17" fmla="*/ 0 h 26723"/>
                    <a:gd name="connsiteX18" fmla="*/ 23023 w 23023"/>
                    <a:gd name="connsiteY18" fmla="*/ 3692 h 26723"/>
                    <a:gd name="connsiteX19" fmla="*/ 22461 w 23023"/>
                    <a:gd name="connsiteY19" fmla="*/ 7799 h 26723"/>
                    <a:gd name="connsiteX20" fmla="*/ 21067 w 23023"/>
                    <a:gd name="connsiteY20" fmla="*/ 11728 h 26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3023" h="26723">
                      <a:moveTo>
                        <a:pt x="18003" y="17196"/>
                      </a:moveTo>
                      <a:lnTo>
                        <a:pt x="14816" y="20855"/>
                      </a:lnTo>
                      <a:lnTo>
                        <a:pt x="10228" y="21760"/>
                      </a:lnTo>
                      <a:lnTo>
                        <a:pt x="7979" y="22925"/>
                      </a:lnTo>
                      <a:lnTo>
                        <a:pt x="6300" y="25395"/>
                      </a:lnTo>
                      <a:lnTo>
                        <a:pt x="5012" y="26723"/>
                      </a:lnTo>
                      <a:lnTo>
                        <a:pt x="2322" y="25998"/>
                      </a:lnTo>
                      <a:lnTo>
                        <a:pt x="1190" y="24783"/>
                      </a:lnTo>
                      <a:lnTo>
                        <a:pt x="1190" y="20464"/>
                      </a:lnTo>
                      <a:lnTo>
                        <a:pt x="0" y="18573"/>
                      </a:lnTo>
                      <a:lnTo>
                        <a:pt x="578" y="17351"/>
                      </a:lnTo>
                      <a:lnTo>
                        <a:pt x="3276" y="17522"/>
                      </a:lnTo>
                      <a:lnTo>
                        <a:pt x="5925" y="14759"/>
                      </a:lnTo>
                      <a:lnTo>
                        <a:pt x="12029" y="13594"/>
                      </a:lnTo>
                      <a:lnTo>
                        <a:pt x="14327" y="10611"/>
                      </a:lnTo>
                      <a:lnTo>
                        <a:pt x="17106" y="3219"/>
                      </a:lnTo>
                      <a:lnTo>
                        <a:pt x="20008" y="546"/>
                      </a:lnTo>
                      <a:lnTo>
                        <a:pt x="22371" y="0"/>
                      </a:lnTo>
                      <a:lnTo>
                        <a:pt x="23023" y="3692"/>
                      </a:lnTo>
                      <a:lnTo>
                        <a:pt x="22461" y="7799"/>
                      </a:lnTo>
                      <a:lnTo>
                        <a:pt x="21067" y="11728"/>
                      </a:lnTo>
                      <a:close/>
                    </a:path>
                  </a:pathLst>
                </a:custGeom>
                <a:solidFill>
                  <a:srgbClr val="D6D6D2"/>
                </a:solidFill>
                <a:ln w="8150" cap="flat">
                  <a:noFill/>
                  <a:prstDash val="solid"/>
                  <a:miter/>
                </a:ln>
              </p:spPr>
              <p:txBody>
                <a:bodyPr rtlCol="0" anchor="ctr"/>
                <a:lstStyle/>
                <a:p>
                  <a:endParaRPr lang="en-US"/>
                </a:p>
              </p:txBody>
            </p:sp>
            <p:sp>
              <p:nvSpPr>
                <p:cNvPr id="591" name="Freeform: Shape 590">
                  <a:extLst>
                    <a:ext uri="{FF2B5EF4-FFF2-40B4-BE49-F238E27FC236}">
                      <a16:creationId xmlns:a16="http://schemas.microsoft.com/office/drawing/2014/main" id="{962B1342-C373-4A7D-ACDD-40D710F80D81}"/>
                    </a:ext>
                  </a:extLst>
                </p:cNvPr>
                <p:cNvSpPr/>
                <p:nvPr/>
              </p:nvSpPr>
              <p:spPr>
                <a:xfrm>
                  <a:off x="9457136" y="2760723"/>
                  <a:ext cx="75727" cy="310439"/>
                </a:xfrm>
                <a:custGeom>
                  <a:avLst/>
                  <a:gdLst>
                    <a:gd name="connsiteX0" fmla="*/ 27285 w 75727"/>
                    <a:gd name="connsiteY0" fmla="*/ 839 h 310439"/>
                    <a:gd name="connsiteX1" fmla="*/ 32624 w 75727"/>
                    <a:gd name="connsiteY1" fmla="*/ 10407 h 310439"/>
                    <a:gd name="connsiteX2" fmla="*/ 32868 w 75727"/>
                    <a:gd name="connsiteY2" fmla="*/ 12494 h 310439"/>
                    <a:gd name="connsiteX3" fmla="*/ 32395 w 75727"/>
                    <a:gd name="connsiteY3" fmla="*/ 14637 h 310439"/>
                    <a:gd name="connsiteX4" fmla="*/ 31393 w 75727"/>
                    <a:gd name="connsiteY4" fmla="*/ 17400 h 310439"/>
                    <a:gd name="connsiteX5" fmla="*/ 31018 w 75727"/>
                    <a:gd name="connsiteY5" fmla="*/ 20309 h 310439"/>
                    <a:gd name="connsiteX6" fmla="*/ 31637 w 75727"/>
                    <a:gd name="connsiteY6" fmla="*/ 22852 h 310439"/>
                    <a:gd name="connsiteX7" fmla="*/ 31181 w 75727"/>
                    <a:gd name="connsiteY7" fmla="*/ 23479 h 310439"/>
                    <a:gd name="connsiteX8" fmla="*/ 35582 w 75727"/>
                    <a:gd name="connsiteY8" fmla="*/ 34962 h 310439"/>
                    <a:gd name="connsiteX9" fmla="*/ 38760 w 75727"/>
                    <a:gd name="connsiteY9" fmla="*/ 42191 h 310439"/>
                    <a:gd name="connsiteX10" fmla="*/ 39665 w 75727"/>
                    <a:gd name="connsiteY10" fmla="*/ 45133 h 310439"/>
                    <a:gd name="connsiteX11" fmla="*/ 40358 w 75727"/>
                    <a:gd name="connsiteY11" fmla="*/ 48238 h 310439"/>
                    <a:gd name="connsiteX12" fmla="*/ 41270 w 75727"/>
                    <a:gd name="connsiteY12" fmla="*/ 54644 h 310439"/>
                    <a:gd name="connsiteX13" fmla="*/ 41474 w 75727"/>
                    <a:gd name="connsiteY13" fmla="*/ 64464 h 310439"/>
                    <a:gd name="connsiteX14" fmla="*/ 41238 w 75727"/>
                    <a:gd name="connsiteY14" fmla="*/ 67683 h 310439"/>
                    <a:gd name="connsiteX15" fmla="*/ 40529 w 75727"/>
                    <a:gd name="connsiteY15" fmla="*/ 70837 h 310439"/>
                    <a:gd name="connsiteX16" fmla="*/ 39771 w 75727"/>
                    <a:gd name="connsiteY16" fmla="*/ 72712 h 310439"/>
                    <a:gd name="connsiteX17" fmla="*/ 38206 w 75727"/>
                    <a:gd name="connsiteY17" fmla="*/ 74048 h 310439"/>
                    <a:gd name="connsiteX18" fmla="*/ 37481 w 75727"/>
                    <a:gd name="connsiteY18" fmla="*/ 77520 h 310439"/>
                    <a:gd name="connsiteX19" fmla="*/ 37073 w 75727"/>
                    <a:gd name="connsiteY19" fmla="*/ 87390 h 310439"/>
                    <a:gd name="connsiteX20" fmla="*/ 37937 w 75727"/>
                    <a:gd name="connsiteY20" fmla="*/ 92548 h 310439"/>
                    <a:gd name="connsiteX21" fmla="*/ 39429 w 75727"/>
                    <a:gd name="connsiteY21" fmla="*/ 96118 h 310439"/>
                    <a:gd name="connsiteX22" fmla="*/ 40529 w 75727"/>
                    <a:gd name="connsiteY22" fmla="*/ 99956 h 310439"/>
                    <a:gd name="connsiteX23" fmla="*/ 40643 w 75727"/>
                    <a:gd name="connsiteY23" fmla="*/ 104096 h 310439"/>
                    <a:gd name="connsiteX24" fmla="*/ 41172 w 75727"/>
                    <a:gd name="connsiteY24" fmla="*/ 105906 h 310439"/>
                    <a:gd name="connsiteX25" fmla="*/ 43585 w 75727"/>
                    <a:gd name="connsiteY25" fmla="*/ 108220 h 310439"/>
                    <a:gd name="connsiteX26" fmla="*/ 44514 w 75727"/>
                    <a:gd name="connsiteY26" fmla="*/ 110030 h 310439"/>
                    <a:gd name="connsiteX27" fmla="*/ 44816 w 75727"/>
                    <a:gd name="connsiteY27" fmla="*/ 112605 h 310439"/>
                    <a:gd name="connsiteX28" fmla="*/ 44946 w 75727"/>
                    <a:gd name="connsiteY28" fmla="*/ 116386 h 310439"/>
                    <a:gd name="connsiteX29" fmla="*/ 45337 w 75727"/>
                    <a:gd name="connsiteY29" fmla="*/ 117201 h 310439"/>
                    <a:gd name="connsiteX30" fmla="*/ 46470 w 75727"/>
                    <a:gd name="connsiteY30" fmla="*/ 118334 h 310439"/>
                    <a:gd name="connsiteX31" fmla="*/ 51474 w 75727"/>
                    <a:gd name="connsiteY31" fmla="*/ 145481 h 310439"/>
                    <a:gd name="connsiteX32" fmla="*/ 53446 w 75727"/>
                    <a:gd name="connsiteY32" fmla="*/ 153679 h 310439"/>
                    <a:gd name="connsiteX33" fmla="*/ 59208 w 75727"/>
                    <a:gd name="connsiteY33" fmla="*/ 167787 h 310439"/>
                    <a:gd name="connsiteX34" fmla="*/ 61522 w 75727"/>
                    <a:gd name="connsiteY34" fmla="*/ 176319 h 310439"/>
                    <a:gd name="connsiteX35" fmla="*/ 62973 w 75727"/>
                    <a:gd name="connsiteY35" fmla="*/ 180378 h 310439"/>
                    <a:gd name="connsiteX36" fmla="*/ 63967 w 75727"/>
                    <a:gd name="connsiteY36" fmla="*/ 184648 h 310439"/>
                    <a:gd name="connsiteX37" fmla="*/ 64766 w 75727"/>
                    <a:gd name="connsiteY37" fmla="*/ 189025 h 310439"/>
                    <a:gd name="connsiteX38" fmla="*/ 66486 w 75727"/>
                    <a:gd name="connsiteY38" fmla="*/ 193760 h 310439"/>
                    <a:gd name="connsiteX39" fmla="*/ 68727 w 75727"/>
                    <a:gd name="connsiteY39" fmla="*/ 198446 h 310439"/>
                    <a:gd name="connsiteX40" fmla="*/ 73071 w 75727"/>
                    <a:gd name="connsiteY40" fmla="*/ 202619 h 310439"/>
                    <a:gd name="connsiteX41" fmla="*/ 75027 w 75727"/>
                    <a:gd name="connsiteY41" fmla="*/ 204949 h 310439"/>
                    <a:gd name="connsiteX42" fmla="*/ 75540 w 75727"/>
                    <a:gd name="connsiteY42" fmla="*/ 206816 h 310439"/>
                    <a:gd name="connsiteX43" fmla="*/ 75728 w 75727"/>
                    <a:gd name="connsiteY43" fmla="*/ 213278 h 310439"/>
                    <a:gd name="connsiteX44" fmla="*/ 74701 w 75727"/>
                    <a:gd name="connsiteY44" fmla="*/ 211901 h 310439"/>
                    <a:gd name="connsiteX45" fmla="*/ 73421 w 75727"/>
                    <a:gd name="connsiteY45" fmla="*/ 206979 h 310439"/>
                    <a:gd name="connsiteX46" fmla="*/ 71319 w 75727"/>
                    <a:gd name="connsiteY46" fmla="*/ 204143 h 310439"/>
                    <a:gd name="connsiteX47" fmla="*/ 68238 w 75727"/>
                    <a:gd name="connsiteY47" fmla="*/ 200793 h 310439"/>
                    <a:gd name="connsiteX48" fmla="*/ 65052 w 75727"/>
                    <a:gd name="connsiteY48" fmla="*/ 197770 h 310439"/>
                    <a:gd name="connsiteX49" fmla="*/ 61131 w 75727"/>
                    <a:gd name="connsiteY49" fmla="*/ 192749 h 310439"/>
                    <a:gd name="connsiteX50" fmla="*/ 59216 w 75727"/>
                    <a:gd name="connsiteY50" fmla="*/ 191282 h 310439"/>
                    <a:gd name="connsiteX51" fmla="*/ 57219 w 75727"/>
                    <a:gd name="connsiteY51" fmla="*/ 190288 h 310439"/>
                    <a:gd name="connsiteX52" fmla="*/ 53536 w 75727"/>
                    <a:gd name="connsiteY52" fmla="*/ 189123 h 310439"/>
                    <a:gd name="connsiteX53" fmla="*/ 51385 w 75727"/>
                    <a:gd name="connsiteY53" fmla="*/ 189000 h 310439"/>
                    <a:gd name="connsiteX54" fmla="*/ 42697 w 75727"/>
                    <a:gd name="connsiteY54" fmla="*/ 189775 h 310439"/>
                    <a:gd name="connsiteX55" fmla="*/ 39078 w 75727"/>
                    <a:gd name="connsiteY55" fmla="*/ 190777 h 310439"/>
                    <a:gd name="connsiteX56" fmla="*/ 35818 w 75727"/>
                    <a:gd name="connsiteY56" fmla="*/ 193100 h 310439"/>
                    <a:gd name="connsiteX57" fmla="*/ 33879 w 75727"/>
                    <a:gd name="connsiteY57" fmla="*/ 196482 h 310439"/>
                    <a:gd name="connsiteX58" fmla="*/ 32518 w 75727"/>
                    <a:gd name="connsiteY58" fmla="*/ 203271 h 310439"/>
                    <a:gd name="connsiteX59" fmla="*/ 24564 w 75727"/>
                    <a:gd name="connsiteY59" fmla="*/ 227443 h 310439"/>
                    <a:gd name="connsiteX60" fmla="*/ 22656 w 75727"/>
                    <a:gd name="connsiteY60" fmla="*/ 233718 h 310439"/>
                    <a:gd name="connsiteX61" fmla="*/ 21948 w 75727"/>
                    <a:gd name="connsiteY61" fmla="*/ 240442 h 310439"/>
                    <a:gd name="connsiteX62" fmla="*/ 22225 w 75727"/>
                    <a:gd name="connsiteY62" fmla="*/ 245706 h 310439"/>
                    <a:gd name="connsiteX63" fmla="*/ 22770 w 75727"/>
                    <a:gd name="connsiteY63" fmla="*/ 247630 h 310439"/>
                    <a:gd name="connsiteX64" fmla="*/ 25036 w 75727"/>
                    <a:gd name="connsiteY64" fmla="*/ 252894 h 310439"/>
                    <a:gd name="connsiteX65" fmla="*/ 26902 w 75727"/>
                    <a:gd name="connsiteY65" fmla="*/ 255918 h 310439"/>
                    <a:gd name="connsiteX66" fmla="*/ 28280 w 75727"/>
                    <a:gd name="connsiteY66" fmla="*/ 257206 h 310439"/>
                    <a:gd name="connsiteX67" fmla="*/ 29836 w 75727"/>
                    <a:gd name="connsiteY67" fmla="*/ 258078 h 310439"/>
                    <a:gd name="connsiteX68" fmla="*/ 30871 w 75727"/>
                    <a:gd name="connsiteY68" fmla="*/ 259145 h 310439"/>
                    <a:gd name="connsiteX69" fmla="*/ 31735 w 75727"/>
                    <a:gd name="connsiteY69" fmla="*/ 260539 h 310439"/>
                    <a:gd name="connsiteX70" fmla="*/ 33357 w 75727"/>
                    <a:gd name="connsiteY70" fmla="*/ 264108 h 310439"/>
                    <a:gd name="connsiteX71" fmla="*/ 35435 w 75727"/>
                    <a:gd name="connsiteY71" fmla="*/ 272022 h 310439"/>
                    <a:gd name="connsiteX72" fmla="*/ 37636 w 75727"/>
                    <a:gd name="connsiteY72" fmla="*/ 277596 h 310439"/>
                    <a:gd name="connsiteX73" fmla="*/ 38614 w 75727"/>
                    <a:gd name="connsiteY73" fmla="*/ 279348 h 310439"/>
                    <a:gd name="connsiteX74" fmla="*/ 41124 w 75727"/>
                    <a:gd name="connsiteY74" fmla="*/ 278900 h 310439"/>
                    <a:gd name="connsiteX75" fmla="*/ 42746 w 75727"/>
                    <a:gd name="connsiteY75" fmla="*/ 278957 h 310439"/>
                    <a:gd name="connsiteX76" fmla="*/ 44310 w 75727"/>
                    <a:gd name="connsiteY76" fmla="*/ 279446 h 310439"/>
                    <a:gd name="connsiteX77" fmla="*/ 45264 w 75727"/>
                    <a:gd name="connsiteY77" fmla="*/ 280864 h 310439"/>
                    <a:gd name="connsiteX78" fmla="*/ 46625 w 75727"/>
                    <a:gd name="connsiteY78" fmla="*/ 287148 h 310439"/>
                    <a:gd name="connsiteX79" fmla="*/ 47570 w 75727"/>
                    <a:gd name="connsiteY79" fmla="*/ 293146 h 310439"/>
                    <a:gd name="connsiteX80" fmla="*/ 47627 w 75727"/>
                    <a:gd name="connsiteY80" fmla="*/ 294743 h 310439"/>
                    <a:gd name="connsiteX81" fmla="*/ 45834 w 75727"/>
                    <a:gd name="connsiteY81" fmla="*/ 299372 h 310439"/>
                    <a:gd name="connsiteX82" fmla="*/ 45378 w 75727"/>
                    <a:gd name="connsiteY82" fmla="*/ 301336 h 310439"/>
                    <a:gd name="connsiteX83" fmla="*/ 45174 w 75727"/>
                    <a:gd name="connsiteY83" fmla="*/ 303415 h 310439"/>
                    <a:gd name="connsiteX84" fmla="*/ 44710 w 75727"/>
                    <a:gd name="connsiteY84" fmla="*/ 305053 h 310439"/>
                    <a:gd name="connsiteX85" fmla="*/ 43919 w 75727"/>
                    <a:gd name="connsiteY85" fmla="*/ 306503 h 310439"/>
                    <a:gd name="connsiteX86" fmla="*/ 43593 w 75727"/>
                    <a:gd name="connsiteY86" fmla="*/ 299666 h 310439"/>
                    <a:gd name="connsiteX87" fmla="*/ 42395 w 75727"/>
                    <a:gd name="connsiteY87" fmla="*/ 294825 h 310439"/>
                    <a:gd name="connsiteX88" fmla="*/ 41947 w 75727"/>
                    <a:gd name="connsiteY88" fmla="*/ 290652 h 310439"/>
                    <a:gd name="connsiteX89" fmla="*/ 40211 w 75727"/>
                    <a:gd name="connsiteY89" fmla="*/ 287718 h 310439"/>
                    <a:gd name="connsiteX90" fmla="*/ 34409 w 75727"/>
                    <a:gd name="connsiteY90" fmla="*/ 286528 h 310439"/>
                    <a:gd name="connsiteX91" fmla="*/ 28981 w 75727"/>
                    <a:gd name="connsiteY91" fmla="*/ 286080 h 310439"/>
                    <a:gd name="connsiteX92" fmla="*/ 28141 w 75727"/>
                    <a:gd name="connsiteY92" fmla="*/ 285542 h 310439"/>
                    <a:gd name="connsiteX93" fmla="*/ 26951 w 75727"/>
                    <a:gd name="connsiteY93" fmla="*/ 283757 h 310439"/>
                    <a:gd name="connsiteX94" fmla="*/ 25574 w 75727"/>
                    <a:gd name="connsiteY94" fmla="*/ 282323 h 310439"/>
                    <a:gd name="connsiteX95" fmla="*/ 24181 w 75727"/>
                    <a:gd name="connsiteY95" fmla="*/ 282136 h 310439"/>
                    <a:gd name="connsiteX96" fmla="*/ 22746 w 75727"/>
                    <a:gd name="connsiteY96" fmla="*/ 282690 h 310439"/>
                    <a:gd name="connsiteX97" fmla="*/ 20285 w 75727"/>
                    <a:gd name="connsiteY97" fmla="*/ 284695 h 310439"/>
                    <a:gd name="connsiteX98" fmla="*/ 18492 w 75727"/>
                    <a:gd name="connsiteY98" fmla="*/ 287873 h 310439"/>
                    <a:gd name="connsiteX99" fmla="*/ 17098 w 75727"/>
                    <a:gd name="connsiteY99" fmla="*/ 291280 h 310439"/>
                    <a:gd name="connsiteX100" fmla="*/ 15957 w 75727"/>
                    <a:gd name="connsiteY100" fmla="*/ 294857 h 310439"/>
                    <a:gd name="connsiteX101" fmla="*/ 13586 w 75727"/>
                    <a:gd name="connsiteY101" fmla="*/ 304368 h 310439"/>
                    <a:gd name="connsiteX102" fmla="*/ 12127 w 75727"/>
                    <a:gd name="connsiteY102" fmla="*/ 307538 h 310439"/>
                    <a:gd name="connsiteX103" fmla="*/ 10326 w 75727"/>
                    <a:gd name="connsiteY103" fmla="*/ 310440 h 310439"/>
                    <a:gd name="connsiteX104" fmla="*/ 8802 w 75727"/>
                    <a:gd name="connsiteY104" fmla="*/ 308867 h 310439"/>
                    <a:gd name="connsiteX105" fmla="*/ 7457 w 75727"/>
                    <a:gd name="connsiteY105" fmla="*/ 307041 h 310439"/>
                    <a:gd name="connsiteX106" fmla="*/ 6675 w 75727"/>
                    <a:gd name="connsiteY106" fmla="*/ 304393 h 310439"/>
                    <a:gd name="connsiteX107" fmla="*/ 6341 w 75727"/>
                    <a:gd name="connsiteY107" fmla="*/ 301483 h 310439"/>
                    <a:gd name="connsiteX108" fmla="*/ 4206 w 75727"/>
                    <a:gd name="connsiteY108" fmla="*/ 291549 h 310439"/>
                    <a:gd name="connsiteX109" fmla="*/ 5102 w 75727"/>
                    <a:gd name="connsiteY109" fmla="*/ 282918 h 310439"/>
                    <a:gd name="connsiteX110" fmla="*/ 8688 w 75727"/>
                    <a:gd name="connsiteY110" fmla="*/ 270962 h 310439"/>
                    <a:gd name="connsiteX111" fmla="*/ 9372 w 75727"/>
                    <a:gd name="connsiteY111" fmla="*/ 267050 h 310439"/>
                    <a:gd name="connsiteX112" fmla="*/ 8835 w 75727"/>
                    <a:gd name="connsiteY112" fmla="*/ 263334 h 310439"/>
                    <a:gd name="connsiteX113" fmla="*/ 8019 w 75727"/>
                    <a:gd name="connsiteY113" fmla="*/ 259650 h 310439"/>
                    <a:gd name="connsiteX114" fmla="*/ 7482 w 75727"/>
                    <a:gd name="connsiteY114" fmla="*/ 252642 h 310439"/>
                    <a:gd name="connsiteX115" fmla="*/ 7522 w 75727"/>
                    <a:gd name="connsiteY115" fmla="*/ 251077 h 310439"/>
                    <a:gd name="connsiteX116" fmla="*/ 8802 w 75727"/>
                    <a:gd name="connsiteY116" fmla="*/ 247043 h 310439"/>
                    <a:gd name="connsiteX117" fmla="*/ 10302 w 75727"/>
                    <a:gd name="connsiteY117" fmla="*/ 243180 h 310439"/>
                    <a:gd name="connsiteX118" fmla="*/ 12111 w 75727"/>
                    <a:gd name="connsiteY118" fmla="*/ 239822 h 310439"/>
                    <a:gd name="connsiteX119" fmla="*/ 12925 w 75727"/>
                    <a:gd name="connsiteY119" fmla="*/ 235829 h 310439"/>
                    <a:gd name="connsiteX120" fmla="*/ 11768 w 75727"/>
                    <a:gd name="connsiteY120" fmla="*/ 225894 h 310439"/>
                    <a:gd name="connsiteX121" fmla="*/ 9120 w 75727"/>
                    <a:gd name="connsiteY121" fmla="*/ 219163 h 310439"/>
                    <a:gd name="connsiteX122" fmla="*/ 5868 w 75727"/>
                    <a:gd name="connsiteY122" fmla="*/ 212765 h 310439"/>
                    <a:gd name="connsiteX123" fmla="*/ 5265 w 75727"/>
                    <a:gd name="connsiteY123" fmla="*/ 211062 h 310439"/>
                    <a:gd name="connsiteX124" fmla="*/ 5102 w 75727"/>
                    <a:gd name="connsiteY124" fmla="*/ 209318 h 310439"/>
                    <a:gd name="connsiteX125" fmla="*/ 7913 w 75727"/>
                    <a:gd name="connsiteY125" fmla="*/ 201307 h 310439"/>
                    <a:gd name="connsiteX126" fmla="*/ 8916 w 75727"/>
                    <a:gd name="connsiteY126" fmla="*/ 197460 h 310439"/>
                    <a:gd name="connsiteX127" fmla="*/ 10065 w 75727"/>
                    <a:gd name="connsiteY127" fmla="*/ 189000 h 310439"/>
                    <a:gd name="connsiteX128" fmla="*/ 11100 w 75727"/>
                    <a:gd name="connsiteY128" fmla="*/ 184371 h 310439"/>
                    <a:gd name="connsiteX129" fmla="*/ 11940 w 75727"/>
                    <a:gd name="connsiteY129" fmla="*/ 179669 h 310439"/>
                    <a:gd name="connsiteX130" fmla="*/ 12217 w 75727"/>
                    <a:gd name="connsiteY130" fmla="*/ 156084 h 310439"/>
                    <a:gd name="connsiteX131" fmla="*/ 11964 w 75727"/>
                    <a:gd name="connsiteY131" fmla="*/ 152596 h 310439"/>
                    <a:gd name="connsiteX132" fmla="*/ 10179 w 75727"/>
                    <a:gd name="connsiteY132" fmla="*/ 145188 h 310439"/>
                    <a:gd name="connsiteX133" fmla="*/ 10049 w 75727"/>
                    <a:gd name="connsiteY133" fmla="*/ 140950 h 310439"/>
                    <a:gd name="connsiteX134" fmla="*/ 10913 w 75727"/>
                    <a:gd name="connsiteY134" fmla="*/ 135603 h 310439"/>
                    <a:gd name="connsiteX135" fmla="*/ 12070 w 75727"/>
                    <a:gd name="connsiteY135" fmla="*/ 131431 h 310439"/>
                    <a:gd name="connsiteX136" fmla="*/ 13570 w 75727"/>
                    <a:gd name="connsiteY136" fmla="*/ 127446 h 310439"/>
                    <a:gd name="connsiteX137" fmla="*/ 13545 w 75727"/>
                    <a:gd name="connsiteY137" fmla="*/ 119206 h 310439"/>
                    <a:gd name="connsiteX138" fmla="*/ 10660 w 75727"/>
                    <a:gd name="connsiteY138" fmla="*/ 111586 h 310439"/>
                    <a:gd name="connsiteX139" fmla="*/ 8566 w 75727"/>
                    <a:gd name="connsiteY139" fmla="*/ 108220 h 310439"/>
                    <a:gd name="connsiteX140" fmla="*/ 5265 w 75727"/>
                    <a:gd name="connsiteY140" fmla="*/ 104178 h 310439"/>
                    <a:gd name="connsiteX141" fmla="*/ 2763 w 75727"/>
                    <a:gd name="connsiteY141" fmla="*/ 101953 h 310439"/>
                    <a:gd name="connsiteX142" fmla="*/ 1524 w 75727"/>
                    <a:gd name="connsiteY142" fmla="*/ 100250 h 310439"/>
                    <a:gd name="connsiteX143" fmla="*/ 2763 w 75727"/>
                    <a:gd name="connsiteY143" fmla="*/ 99679 h 310439"/>
                    <a:gd name="connsiteX144" fmla="*/ 3651 w 75727"/>
                    <a:gd name="connsiteY144" fmla="*/ 98294 h 310439"/>
                    <a:gd name="connsiteX145" fmla="*/ 1492 w 75727"/>
                    <a:gd name="connsiteY145" fmla="*/ 96167 h 310439"/>
                    <a:gd name="connsiteX146" fmla="*/ 188 w 75727"/>
                    <a:gd name="connsiteY146" fmla="*/ 92964 h 310439"/>
                    <a:gd name="connsiteX147" fmla="*/ 0 w 75727"/>
                    <a:gd name="connsiteY147" fmla="*/ 80365 h 310439"/>
                    <a:gd name="connsiteX148" fmla="*/ 530 w 75727"/>
                    <a:gd name="connsiteY148" fmla="*/ 77153 h 310439"/>
                    <a:gd name="connsiteX149" fmla="*/ 2160 w 75727"/>
                    <a:gd name="connsiteY149" fmla="*/ 73600 h 310439"/>
                    <a:gd name="connsiteX150" fmla="*/ 3529 w 75727"/>
                    <a:gd name="connsiteY150" fmla="*/ 69851 h 310439"/>
                    <a:gd name="connsiteX151" fmla="*/ 4833 w 75727"/>
                    <a:gd name="connsiteY151" fmla="*/ 60984 h 310439"/>
                    <a:gd name="connsiteX152" fmla="*/ 5281 w 75727"/>
                    <a:gd name="connsiteY152" fmla="*/ 51816 h 310439"/>
                    <a:gd name="connsiteX153" fmla="*/ 4426 w 75727"/>
                    <a:gd name="connsiteY153" fmla="*/ 48092 h 310439"/>
                    <a:gd name="connsiteX154" fmla="*/ 4035 w 75727"/>
                    <a:gd name="connsiteY154" fmla="*/ 40561 h 310439"/>
                    <a:gd name="connsiteX155" fmla="*/ 4760 w 75727"/>
                    <a:gd name="connsiteY155" fmla="*/ 38687 h 310439"/>
                    <a:gd name="connsiteX156" fmla="*/ 7530 w 75727"/>
                    <a:gd name="connsiteY156" fmla="*/ 36177 h 310439"/>
                    <a:gd name="connsiteX157" fmla="*/ 11932 w 75727"/>
                    <a:gd name="connsiteY157" fmla="*/ 34702 h 310439"/>
                    <a:gd name="connsiteX158" fmla="*/ 12877 w 75727"/>
                    <a:gd name="connsiteY158" fmla="*/ 35142 h 310439"/>
                    <a:gd name="connsiteX159" fmla="*/ 16332 w 75727"/>
                    <a:gd name="connsiteY159" fmla="*/ 38084 h 310439"/>
                    <a:gd name="connsiteX160" fmla="*/ 17604 w 75727"/>
                    <a:gd name="connsiteY160" fmla="*/ 38198 h 310439"/>
                    <a:gd name="connsiteX161" fmla="*/ 18932 w 75727"/>
                    <a:gd name="connsiteY161" fmla="*/ 37888 h 310439"/>
                    <a:gd name="connsiteX162" fmla="*/ 21475 w 75727"/>
                    <a:gd name="connsiteY162" fmla="*/ 36511 h 310439"/>
                    <a:gd name="connsiteX163" fmla="*/ 22885 w 75727"/>
                    <a:gd name="connsiteY163" fmla="*/ 33161 h 310439"/>
                    <a:gd name="connsiteX164" fmla="*/ 21043 w 75727"/>
                    <a:gd name="connsiteY164" fmla="*/ 31246 h 310439"/>
                    <a:gd name="connsiteX165" fmla="*/ 22127 w 75727"/>
                    <a:gd name="connsiteY165" fmla="*/ 28809 h 310439"/>
                    <a:gd name="connsiteX166" fmla="*/ 25272 w 75727"/>
                    <a:gd name="connsiteY166" fmla="*/ 27986 h 310439"/>
                    <a:gd name="connsiteX167" fmla="*/ 25501 w 75727"/>
                    <a:gd name="connsiteY167" fmla="*/ 25884 h 310439"/>
                    <a:gd name="connsiteX168" fmla="*/ 24360 w 75727"/>
                    <a:gd name="connsiteY168" fmla="*/ 25639 h 310439"/>
                    <a:gd name="connsiteX169" fmla="*/ 25346 w 75727"/>
                    <a:gd name="connsiteY169" fmla="*/ 22656 h 310439"/>
                    <a:gd name="connsiteX170" fmla="*/ 25925 w 75727"/>
                    <a:gd name="connsiteY170" fmla="*/ 19649 h 310439"/>
                    <a:gd name="connsiteX171" fmla="*/ 25036 w 75727"/>
                    <a:gd name="connsiteY171" fmla="*/ 16911 h 310439"/>
                    <a:gd name="connsiteX172" fmla="*/ 19983 w 75727"/>
                    <a:gd name="connsiteY172" fmla="*/ 10122 h 310439"/>
                    <a:gd name="connsiteX173" fmla="*/ 16723 w 75727"/>
                    <a:gd name="connsiteY173" fmla="*/ 5126 h 310439"/>
                    <a:gd name="connsiteX174" fmla="*/ 22102 w 75727"/>
                    <a:gd name="connsiteY174" fmla="*/ 5191 h 310439"/>
                    <a:gd name="connsiteX175" fmla="*/ 23675 w 75727"/>
                    <a:gd name="connsiteY175" fmla="*/ 4254 h 310439"/>
                    <a:gd name="connsiteX176" fmla="*/ 24930 w 75727"/>
                    <a:gd name="connsiteY176" fmla="*/ 2192 h 310439"/>
                    <a:gd name="connsiteX177" fmla="*/ 25590 w 75727"/>
                    <a:gd name="connsiteY177" fmla="*/ 0 h 310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75727" h="310439">
                      <a:moveTo>
                        <a:pt x="27285" y="839"/>
                      </a:moveTo>
                      <a:lnTo>
                        <a:pt x="32624" y="10407"/>
                      </a:lnTo>
                      <a:lnTo>
                        <a:pt x="32868" y="12494"/>
                      </a:lnTo>
                      <a:lnTo>
                        <a:pt x="32395" y="14637"/>
                      </a:lnTo>
                      <a:lnTo>
                        <a:pt x="31393" y="17400"/>
                      </a:lnTo>
                      <a:lnTo>
                        <a:pt x="31018" y="20309"/>
                      </a:lnTo>
                      <a:lnTo>
                        <a:pt x="31637" y="22852"/>
                      </a:lnTo>
                      <a:lnTo>
                        <a:pt x="31181" y="23479"/>
                      </a:lnTo>
                      <a:lnTo>
                        <a:pt x="35582" y="34962"/>
                      </a:lnTo>
                      <a:lnTo>
                        <a:pt x="38760" y="42191"/>
                      </a:lnTo>
                      <a:lnTo>
                        <a:pt x="39665" y="45133"/>
                      </a:lnTo>
                      <a:lnTo>
                        <a:pt x="40358" y="48238"/>
                      </a:lnTo>
                      <a:lnTo>
                        <a:pt x="41270" y="54644"/>
                      </a:lnTo>
                      <a:lnTo>
                        <a:pt x="41474" y="64464"/>
                      </a:lnTo>
                      <a:lnTo>
                        <a:pt x="41238" y="67683"/>
                      </a:lnTo>
                      <a:lnTo>
                        <a:pt x="40529" y="70837"/>
                      </a:lnTo>
                      <a:lnTo>
                        <a:pt x="39771" y="72712"/>
                      </a:lnTo>
                      <a:lnTo>
                        <a:pt x="38206" y="74048"/>
                      </a:lnTo>
                      <a:lnTo>
                        <a:pt x="37481" y="77520"/>
                      </a:lnTo>
                      <a:lnTo>
                        <a:pt x="37073" y="87390"/>
                      </a:lnTo>
                      <a:lnTo>
                        <a:pt x="37937" y="92548"/>
                      </a:lnTo>
                      <a:lnTo>
                        <a:pt x="39429" y="96118"/>
                      </a:lnTo>
                      <a:lnTo>
                        <a:pt x="40529" y="99956"/>
                      </a:lnTo>
                      <a:lnTo>
                        <a:pt x="40643" y="104096"/>
                      </a:lnTo>
                      <a:lnTo>
                        <a:pt x="41172" y="105906"/>
                      </a:lnTo>
                      <a:lnTo>
                        <a:pt x="43585" y="108220"/>
                      </a:lnTo>
                      <a:lnTo>
                        <a:pt x="44514" y="110030"/>
                      </a:lnTo>
                      <a:lnTo>
                        <a:pt x="44816" y="112605"/>
                      </a:lnTo>
                      <a:lnTo>
                        <a:pt x="44946" y="116386"/>
                      </a:lnTo>
                      <a:lnTo>
                        <a:pt x="45337" y="117201"/>
                      </a:lnTo>
                      <a:lnTo>
                        <a:pt x="46470" y="118334"/>
                      </a:lnTo>
                      <a:lnTo>
                        <a:pt x="51474" y="145481"/>
                      </a:lnTo>
                      <a:lnTo>
                        <a:pt x="53446" y="153679"/>
                      </a:lnTo>
                      <a:lnTo>
                        <a:pt x="59208" y="167787"/>
                      </a:lnTo>
                      <a:lnTo>
                        <a:pt x="61522" y="176319"/>
                      </a:lnTo>
                      <a:lnTo>
                        <a:pt x="62973" y="180378"/>
                      </a:lnTo>
                      <a:lnTo>
                        <a:pt x="63967" y="184648"/>
                      </a:lnTo>
                      <a:lnTo>
                        <a:pt x="64766" y="189025"/>
                      </a:lnTo>
                      <a:lnTo>
                        <a:pt x="66486" y="193760"/>
                      </a:lnTo>
                      <a:lnTo>
                        <a:pt x="68727" y="198446"/>
                      </a:lnTo>
                      <a:lnTo>
                        <a:pt x="73071" y="202619"/>
                      </a:lnTo>
                      <a:lnTo>
                        <a:pt x="75027" y="204949"/>
                      </a:lnTo>
                      <a:lnTo>
                        <a:pt x="75540" y="206816"/>
                      </a:lnTo>
                      <a:lnTo>
                        <a:pt x="75728" y="213278"/>
                      </a:lnTo>
                      <a:lnTo>
                        <a:pt x="74701" y="211901"/>
                      </a:lnTo>
                      <a:lnTo>
                        <a:pt x="73421" y="206979"/>
                      </a:lnTo>
                      <a:lnTo>
                        <a:pt x="71319" y="204143"/>
                      </a:lnTo>
                      <a:lnTo>
                        <a:pt x="68238" y="200793"/>
                      </a:lnTo>
                      <a:lnTo>
                        <a:pt x="65052" y="197770"/>
                      </a:lnTo>
                      <a:lnTo>
                        <a:pt x="61131" y="192749"/>
                      </a:lnTo>
                      <a:lnTo>
                        <a:pt x="59216" y="191282"/>
                      </a:lnTo>
                      <a:lnTo>
                        <a:pt x="57219" y="190288"/>
                      </a:lnTo>
                      <a:lnTo>
                        <a:pt x="53536" y="189123"/>
                      </a:lnTo>
                      <a:lnTo>
                        <a:pt x="51385" y="189000"/>
                      </a:lnTo>
                      <a:lnTo>
                        <a:pt x="42697" y="189775"/>
                      </a:lnTo>
                      <a:lnTo>
                        <a:pt x="39078" y="190777"/>
                      </a:lnTo>
                      <a:lnTo>
                        <a:pt x="35818" y="193100"/>
                      </a:lnTo>
                      <a:lnTo>
                        <a:pt x="33879" y="196482"/>
                      </a:lnTo>
                      <a:lnTo>
                        <a:pt x="32518" y="203271"/>
                      </a:lnTo>
                      <a:lnTo>
                        <a:pt x="24564" y="227443"/>
                      </a:lnTo>
                      <a:lnTo>
                        <a:pt x="22656" y="233718"/>
                      </a:lnTo>
                      <a:lnTo>
                        <a:pt x="21948" y="240442"/>
                      </a:lnTo>
                      <a:lnTo>
                        <a:pt x="22225" y="245706"/>
                      </a:lnTo>
                      <a:lnTo>
                        <a:pt x="22770" y="247630"/>
                      </a:lnTo>
                      <a:lnTo>
                        <a:pt x="25036" y="252894"/>
                      </a:lnTo>
                      <a:lnTo>
                        <a:pt x="26902" y="255918"/>
                      </a:lnTo>
                      <a:lnTo>
                        <a:pt x="28280" y="257206"/>
                      </a:lnTo>
                      <a:lnTo>
                        <a:pt x="29836" y="258078"/>
                      </a:lnTo>
                      <a:lnTo>
                        <a:pt x="30871" y="259145"/>
                      </a:lnTo>
                      <a:lnTo>
                        <a:pt x="31735" y="260539"/>
                      </a:lnTo>
                      <a:lnTo>
                        <a:pt x="33357" y="264108"/>
                      </a:lnTo>
                      <a:lnTo>
                        <a:pt x="35435" y="272022"/>
                      </a:lnTo>
                      <a:lnTo>
                        <a:pt x="37636" y="277596"/>
                      </a:lnTo>
                      <a:lnTo>
                        <a:pt x="38614" y="279348"/>
                      </a:lnTo>
                      <a:lnTo>
                        <a:pt x="41124" y="278900"/>
                      </a:lnTo>
                      <a:lnTo>
                        <a:pt x="42746" y="278957"/>
                      </a:lnTo>
                      <a:lnTo>
                        <a:pt x="44310" y="279446"/>
                      </a:lnTo>
                      <a:lnTo>
                        <a:pt x="45264" y="280864"/>
                      </a:lnTo>
                      <a:lnTo>
                        <a:pt x="46625" y="287148"/>
                      </a:lnTo>
                      <a:lnTo>
                        <a:pt x="47570" y="293146"/>
                      </a:lnTo>
                      <a:lnTo>
                        <a:pt x="47627" y="294743"/>
                      </a:lnTo>
                      <a:lnTo>
                        <a:pt x="45834" y="299372"/>
                      </a:lnTo>
                      <a:lnTo>
                        <a:pt x="45378" y="301336"/>
                      </a:lnTo>
                      <a:lnTo>
                        <a:pt x="45174" y="303415"/>
                      </a:lnTo>
                      <a:lnTo>
                        <a:pt x="44710" y="305053"/>
                      </a:lnTo>
                      <a:lnTo>
                        <a:pt x="43919" y="306503"/>
                      </a:lnTo>
                      <a:lnTo>
                        <a:pt x="43593" y="299666"/>
                      </a:lnTo>
                      <a:lnTo>
                        <a:pt x="42395" y="294825"/>
                      </a:lnTo>
                      <a:lnTo>
                        <a:pt x="41947" y="290652"/>
                      </a:lnTo>
                      <a:lnTo>
                        <a:pt x="40211" y="287718"/>
                      </a:lnTo>
                      <a:lnTo>
                        <a:pt x="34409" y="286528"/>
                      </a:lnTo>
                      <a:lnTo>
                        <a:pt x="28981" y="286080"/>
                      </a:lnTo>
                      <a:lnTo>
                        <a:pt x="28141" y="285542"/>
                      </a:lnTo>
                      <a:lnTo>
                        <a:pt x="26951" y="283757"/>
                      </a:lnTo>
                      <a:lnTo>
                        <a:pt x="25574" y="282323"/>
                      </a:lnTo>
                      <a:lnTo>
                        <a:pt x="24181" y="282136"/>
                      </a:lnTo>
                      <a:lnTo>
                        <a:pt x="22746" y="282690"/>
                      </a:lnTo>
                      <a:lnTo>
                        <a:pt x="20285" y="284695"/>
                      </a:lnTo>
                      <a:lnTo>
                        <a:pt x="18492" y="287873"/>
                      </a:lnTo>
                      <a:lnTo>
                        <a:pt x="17098" y="291280"/>
                      </a:lnTo>
                      <a:lnTo>
                        <a:pt x="15957" y="294857"/>
                      </a:lnTo>
                      <a:lnTo>
                        <a:pt x="13586" y="304368"/>
                      </a:lnTo>
                      <a:lnTo>
                        <a:pt x="12127" y="307538"/>
                      </a:lnTo>
                      <a:lnTo>
                        <a:pt x="10326" y="310440"/>
                      </a:lnTo>
                      <a:lnTo>
                        <a:pt x="8802" y="308867"/>
                      </a:lnTo>
                      <a:lnTo>
                        <a:pt x="7457" y="307041"/>
                      </a:lnTo>
                      <a:lnTo>
                        <a:pt x="6675" y="304393"/>
                      </a:lnTo>
                      <a:lnTo>
                        <a:pt x="6341" y="301483"/>
                      </a:lnTo>
                      <a:lnTo>
                        <a:pt x="4206" y="291549"/>
                      </a:lnTo>
                      <a:lnTo>
                        <a:pt x="5102" y="282918"/>
                      </a:lnTo>
                      <a:lnTo>
                        <a:pt x="8688" y="270962"/>
                      </a:lnTo>
                      <a:lnTo>
                        <a:pt x="9372" y="267050"/>
                      </a:lnTo>
                      <a:lnTo>
                        <a:pt x="8835" y="263334"/>
                      </a:lnTo>
                      <a:lnTo>
                        <a:pt x="8019" y="259650"/>
                      </a:lnTo>
                      <a:lnTo>
                        <a:pt x="7482" y="252642"/>
                      </a:lnTo>
                      <a:lnTo>
                        <a:pt x="7522" y="251077"/>
                      </a:lnTo>
                      <a:lnTo>
                        <a:pt x="8802" y="247043"/>
                      </a:lnTo>
                      <a:lnTo>
                        <a:pt x="10302" y="243180"/>
                      </a:lnTo>
                      <a:lnTo>
                        <a:pt x="12111" y="239822"/>
                      </a:lnTo>
                      <a:lnTo>
                        <a:pt x="12925" y="235829"/>
                      </a:lnTo>
                      <a:lnTo>
                        <a:pt x="11768" y="225894"/>
                      </a:lnTo>
                      <a:lnTo>
                        <a:pt x="9120" y="219163"/>
                      </a:lnTo>
                      <a:lnTo>
                        <a:pt x="5868" y="212765"/>
                      </a:lnTo>
                      <a:lnTo>
                        <a:pt x="5265" y="211062"/>
                      </a:lnTo>
                      <a:lnTo>
                        <a:pt x="5102" y="209318"/>
                      </a:lnTo>
                      <a:lnTo>
                        <a:pt x="7913" y="201307"/>
                      </a:lnTo>
                      <a:lnTo>
                        <a:pt x="8916" y="197460"/>
                      </a:lnTo>
                      <a:lnTo>
                        <a:pt x="10065" y="189000"/>
                      </a:lnTo>
                      <a:lnTo>
                        <a:pt x="11100" y="184371"/>
                      </a:lnTo>
                      <a:lnTo>
                        <a:pt x="11940" y="179669"/>
                      </a:lnTo>
                      <a:lnTo>
                        <a:pt x="12217" y="156084"/>
                      </a:lnTo>
                      <a:lnTo>
                        <a:pt x="11964" y="152596"/>
                      </a:lnTo>
                      <a:lnTo>
                        <a:pt x="10179" y="145188"/>
                      </a:lnTo>
                      <a:lnTo>
                        <a:pt x="10049" y="140950"/>
                      </a:lnTo>
                      <a:lnTo>
                        <a:pt x="10913" y="135603"/>
                      </a:lnTo>
                      <a:lnTo>
                        <a:pt x="12070" y="131431"/>
                      </a:lnTo>
                      <a:lnTo>
                        <a:pt x="13570" y="127446"/>
                      </a:lnTo>
                      <a:lnTo>
                        <a:pt x="13545" y="119206"/>
                      </a:lnTo>
                      <a:lnTo>
                        <a:pt x="10660" y="111586"/>
                      </a:lnTo>
                      <a:lnTo>
                        <a:pt x="8566" y="108220"/>
                      </a:lnTo>
                      <a:lnTo>
                        <a:pt x="5265" y="104178"/>
                      </a:lnTo>
                      <a:lnTo>
                        <a:pt x="2763" y="101953"/>
                      </a:lnTo>
                      <a:lnTo>
                        <a:pt x="1524" y="100250"/>
                      </a:lnTo>
                      <a:lnTo>
                        <a:pt x="2763" y="99679"/>
                      </a:lnTo>
                      <a:lnTo>
                        <a:pt x="3651" y="98294"/>
                      </a:lnTo>
                      <a:lnTo>
                        <a:pt x="1492" y="96167"/>
                      </a:lnTo>
                      <a:lnTo>
                        <a:pt x="188" y="92964"/>
                      </a:lnTo>
                      <a:lnTo>
                        <a:pt x="0" y="80365"/>
                      </a:lnTo>
                      <a:lnTo>
                        <a:pt x="530" y="77153"/>
                      </a:lnTo>
                      <a:lnTo>
                        <a:pt x="2160" y="73600"/>
                      </a:lnTo>
                      <a:lnTo>
                        <a:pt x="3529" y="69851"/>
                      </a:lnTo>
                      <a:lnTo>
                        <a:pt x="4833" y="60984"/>
                      </a:lnTo>
                      <a:lnTo>
                        <a:pt x="5281" y="51816"/>
                      </a:lnTo>
                      <a:lnTo>
                        <a:pt x="4426" y="48092"/>
                      </a:lnTo>
                      <a:lnTo>
                        <a:pt x="4035" y="40561"/>
                      </a:lnTo>
                      <a:lnTo>
                        <a:pt x="4760" y="38687"/>
                      </a:lnTo>
                      <a:lnTo>
                        <a:pt x="7530" y="36177"/>
                      </a:lnTo>
                      <a:lnTo>
                        <a:pt x="11932" y="34702"/>
                      </a:lnTo>
                      <a:lnTo>
                        <a:pt x="12877" y="35142"/>
                      </a:lnTo>
                      <a:lnTo>
                        <a:pt x="16332" y="38084"/>
                      </a:lnTo>
                      <a:lnTo>
                        <a:pt x="17604" y="38198"/>
                      </a:lnTo>
                      <a:lnTo>
                        <a:pt x="18932" y="37888"/>
                      </a:lnTo>
                      <a:lnTo>
                        <a:pt x="21475" y="36511"/>
                      </a:lnTo>
                      <a:lnTo>
                        <a:pt x="22885" y="33161"/>
                      </a:lnTo>
                      <a:lnTo>
                        <a:pt x="21043" y="31246"/>
                      </a:lnTo>
                      <a:lnTo>
                        <a:pt x="22127" y="28809"/>
                      </a:lnTo>
                      <a:lnTo>
                        <a:pt x="25272" y="27986"/>
                      </a:lnTo>
                      <a:lnTo>
                        <a:pt x="25501" y="25884"/>
                      </a:lnTo>
                      <a:lnTo>
                        <a:pt x="24360" y="25639"/>
                      </a:lnTo>
                      <a:lnTo>
                        <a:pt x="25346" y="22656"/>
                      </a:lnTo>
                      <a:lnTo>
                        <a:pt x="25925" y="19649"/>
                      </a:lnTo>
                      <a:lnTo>
                        <a:pt x="25036" y="16911"/>
                      </a:lnTo>
                      <a:lnTo>
                        <a:pt x="19983" y="10122"/>
                      </a:lnTo>
                      <a:lnTo>
                        <a:pt x="16723" y="5126"/>
                      </a:lnTo>
                      <a:lnTo>
                        <a:pt x="22102" y="5191"/>
                      </a:lnTo>
                      <a:lnTo>
                        <a:pt x="23675" y="4254"/>
                      </a:lnTo>
                      <a:lnTo>
                        <a:pt x="24930" y="2192"/>
                      </a:lnTo>
                      <a:lnTo>
                        <a:pt x="25590" y="0"/>
                      </a:lnTo>
                      <a:close/>
                    </a:path>
                  </a:pathLst>
                </a:custGeom>
                <a:solidFill>
                  <a:srgbClr val="D6D6D2"/>
                </a:solidFill>
                <a:ln w="6112" cap="rnd">
                  <a:solidFill>
                    <a:srgbClr val="FFFFFF"/>
                  </a:solidFill>
                  <a:prstDash val="solid"/>
                  <a:round/>
                </a:ln>
              </p:spPr>
              <p:txBody>
                <a:bodyPr rtlCol="0" anchor="ctr"/>
                <a:lstStyle/>
                <a:p>
                  <a:endParaRPr lang="en-US"/>
                </a:p>
              </p:txBody>
            </p:sp>
            <p:sp>
              <p:nvSpPr>
                <p:cNvPr id="592" name="Freeform: Shape 591">
                  <a:extLst>
                    <a:ext uri="{FF2B5EF4-FFF2-40B4-BE49-F238E27FC236}">
                      <a16:creationId xmlns:a16="http://schemas.microsoft.com/office/drawing/2014/main" id="{8EEC1CCD-8EC8-49B7-A78B-AA60D90730FC}"/>
                    </a:ext>
                  </a:extLst>
                </p:cNvPr>
                <p:cNvSpPr/>
                <p:nvPr/>
              </p:nvSpPr>
              <p:spPr>
                <a:xfrm>
                  <a:off x="9347319" y="2731067"/>
                  <a:ext cx="24131" cy="20675"/>
                </a:xfrm>
                <a:custGeom>
                  <a:avLst/>
                  <a:gdLst>
                    <a:gd name="connsiteX0" fmla="*/ 17554 w 24131"/>
                    <a:gd name="connsiteY0" fmla="*/ 3969 h 20675"/>
                    <a:gd name="connsiteX1" fmla="*/ 19796 w 24131"/>
                    <a:gd name="connsiteY1" fmla="*/ 5468 h 20675"/>
                    <a:gd name="connsiteX2" fmla="*/ 23292 w 24131"/>
                    <a:gd name="connsiteY2" fmla="*/ 5216 h 20675"/>
                    <a:gd name="connsiteX3" fmla="*/ 24131 w 24131"/>
                    <a:gd name="connsiteY3" fmla="*/ 6218 h 20675"/>
                    <a:gd name="connsiteX4" fmla="*/ 21417 w 24131"/>
                    <a:gd name="connsiteY4" fmla="*/ 7848 h 20675"/>
                    <a:gd name="connsiteX5" fmla="*/ 19429 w 24131"/>
                    <a:gd name="connsiteY5" fmla="*/ 11271 h 20675"/>
                    <a:gd name="connsiteX6" fmla="*/ 18801 w 24131"/>
                    <a:gd name="connsiteY6" fmla="*/ 14319 h 20675"/>
                    <a:gd name="connsiteX7" fmla="*/ 18019 w 24131"/>
                    <a:gd name="connsiteY7" fmla="*/ 15517 h 20675"/>
                    <a:gd name="connsiteX8" fmla="*/ 15803 w 24131"/>
                    <a:gd name="connsiteY8" fmla="*/ 17017 h 20675"/>
                    <a:gd name="connsiteX9" fmla="*/ 13822 w 24131"/>
                    <a:gd name="connsiteY9" fmla="*/ 19021 h 20675"/>
                    <a:gd name="connsiteX10" fmla="*/ 12119 w 24131"/>
                    <a:gd name="connsiteY10" fmla="*/ 20293 h 20675"/>
                    <a:gd name="connsiteX11" fmla="*/ 10619 w 24131"/>
                    <a:gd name="connsiteY11" fmla="*/ 20676 h 20675"/>
                    <a:gd name="connsiteX12" fmla="*/ 7253 w 24131"/>
                    <a:gd name="connsiteY12" fmla="*/ 14123 h 20675"/>
                    <a:gd name="connsiteX13" fmla="*/ 5696 w 24131"/>
                    <a:gd name="connsiteY13" fmla="*/ 12314 h 20675"/>
                    <a:gd name="connsiteX14" fmla="*/ 1060 w 24131"/>
                    <a:gd name="connsiteY14" fmla="*/ 15395 h 20675"/>
                    <a:gd name="connsiteX15" fmla="*/ 0 w 24131"/>
                    <a:gd name="connsiteY15" fmla="*/ 15460 h 20675"/>
                    <a:gd name="connsiteX16" fmla="*/ 1043 w 24131"/>
                    <a:gd name="connsiteY16" fmla="*/ 11638 h 20675"/>
                    <a:gd name="connsiteX17" fmla="*/ 3757 w 24131"/>
                    <a:gd name="connsiteY17" fmla="*/ 7473 h 20675"/>
                    <a:gd name="connsiteX18" fmla="*/ 5020 w 24131"/>
                    <a:gd name="connsiteY18" fmla="*/ 6895 h 20675"/>
                    <a:gd name="connsiteX19" fmla="*/ 7702 w 24131"/>
                    <a:gd name="connsiteY19" fmla="*/ 1296 h 20675"/>
                    <a:gd name="connsiteX20" fmla="*/ 8533 w 24131"/>
                    <a:gd name="connsiteY20" fmla="*/ 0 h 20675"/>
                    <a:gd name="connsiteX21" fmla="*/ 16796 w 24131"/>
                    <a:gd name="connsiteY21" fmla="*/ 3309 h 2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131" h="20675">
                      <a:moveTo>
                        <a:pt x="17554" y="3969"/>
                      </a:moveTo>
                      <a:lnTo>
                        <a:pt x="19796" y="5468"/>
                      </a:lnTo>
                      <a:lnTo>
                        <a:pt x="23292" y="5216"/>
                      </a:lnTo>
                      <a:lnTo>
                        <a:pt x="24131" y="6218"/>
                      </a:lnTo>
                      <a:lnTo>
                        <a:pt x="21417" y="7848"/>
                      </a:lnTo>
                      <a:lnTo>
                        <a:pt x="19429" y="11271"/>
                      </a:lnTo>
                      <a:lnTo>
                        <a:pt x="18801" y="14319"/>
                      </a:lnTo>
                      <a:lnTo>
                        <a:pt x="18019" y="15517"/>
                      </a:lnTo>
                      <a:lnTo>
                        <a:pt x="15803" y="17017"/>
                      </a:lnTo>
                      <a:lnTo>
                        <a:pt x="13822" y="19021"/>
                      </a:lnTo>
                      <a:lnTo>
                        <a:pt x="12119" y="20293"/>
                      </a:lnTo>
                      <a:lnTo>
                        <a:pt x="10619" y="20676"/>
                      </a:lnTo>
                      <a:lnTo>
                        <a:pt x="7253" y="14123"/>
                      </a:lnTo>
                      <a:lnTo>
                        <a:pt x="5696" y="12314"/>
                      </a:lnTo>
                      <a:lnTo>
                        <a:pt x="1060" y="15395"/>
                      </a:lnTo>
                      <a:lnTo>
                        <a:pt x="0" y="15460"/>
                      </a:lnTo>
                      <a:lnTo>
                        <a:pt x="1043" y="11638"/>
                      </a:lnTo>
                      <a:lnTo>
                        <a:pt x="3757" y="7473"/>
                      </a:lnTo>
                      <a:lnTo>
                        <a:pt x="5020" y="6895"/>
                      </a:lnTo>
                      <a:lnTo>
                        <a:pt x="7702" y="1296"/>
                      </a:lnTo>
                      <a:lnTo>
                        <a:pt x="8533" y="0"/>
                      </a:lnTo>
                      <a:lnTo>
                        <a:pt x="16796" y="3309"/>
                      </a:lnTo>
                      <a:close/>
                    </a:path>
                  </a:pathLst>
                </a:custGeom>
                <a:solidFill>
                  <a:srgbClr val="D6D6D2"/>
                </a:solidFill>
                <a:ln w="8150" cap="flat">
                  <a:noFill/>
                  <a:prstDash val="solid"/>
                  <a:miter/>
                </a:ln>
              </p:spPr>
              <p:txBody>
                <a:bodyPr rtlCol="0" anchor="ctr"/>
                <a:lstStyle/>
                <a:p>
                  <a:endParaRPr lang="en-US"/>
                </a:p>
              </p:txBody>
            </p:sp>
            <p:sp>
              <p:nvSpPr>
                <p:cNvPr id="593" name="Freeform: Shape 592">
                  <a:extLst>
                    <a:ext uri="{FF2B5EF4-FFF2-40B4-BE49-F238E27FC236}">
                      <a16:creationId xmlns:a16="http://schemas.microsoft.com/office/drawing/2014/main" id="{2B428FBF-E9D7-4AEC-98E7-855FE53FBA94}"/>
                    </a:ext>
                  </a:extLst>
                </p:cNvPr>
                <p:cNvSpPr/>
                <p:nvPr/>
              </p:nvSpPr>
              <p:spPr>
                <a:xfrm>
                  <a:off x="6429861" y="2727644"/>
                  <a:ext cx="80030" cy="35581"/>
                </a:xfrm>
                <a:custGeom>
                  <a:avLst/>
                  <a:gdLst>
                    <a:gd name="connsiteX0" fmla="*/ 26617 w 80030"/>
                    <a:gd name="connsiteY0" fmla="*/ 12608 h 35581"/>
                    <a:gd name="connsiteX1" fmla="*/ 29013 w 80030"/>
                    <a:gd name="connsiteY1" fmla="*/ 12934 h 35581"/>
                    <a:gd name="connsiteX2" fmla="*/ 31824 w 80030"/>
                    <a:gd name="connsiteY2" fmla="*/ 14360 h 35581"/>
                    <a:gd name="connsiteX3" fmla="*/ 34514 w 80030"/>
                    <a:gd name="connsiteY3" fmla="*/ 14621 h 35581"/>
                    <a:gd name="connsiteX4" fmla="*/ 39298 w 80030"/>
                    <a:gd name="connsiteY4" fmla="*/ 13382 h 35581"/>
                    <a:gd name="connsiteX5" fmla="*/ 40146 w 80030"/>
                    <a:gd name="connsiteY5" fmla="*/ 6821 h 35581"/>
                    <a:gd name="connsiteX6" fmla="*/ 40472 w 80030"/>
                    <a:gd name="connsiteY6" fmla="*/ 864 h 35581"/>
                    <a:gd name="connsiteX7" fmla="*/ 41996 w 80030"/>
                    <a:gd name="connsiteY7" fmla="*/ 848 h 35581"/>
                    <a:gd name="connsiteX8" fmla="*/ 44269 w 80030"/>
                    <a:gd name="connsiteY8" fmla="*/ 424 h 35581"/>
                    <a:gd name="connsiteX9" fmla="*/ 45703 w 80030"/>
                    <a:gd name="connsiteY9" fmla="*/ 1997 h 35581"/>
                    <a:gd name="connsiteX10" fmla="*/ 48377 w 80030"/>
                    <a:gd name="connsiteY10" fmla="*/ 3480 h 35581"/>
                    <a:gd name="connsiteX11" fmla="*/ 51555 w 80030"/>
                    <a:gd name="connsiteY11" fmla="*/ 4817 h 35581"/>
                    <a:gd name="connsiteX12" fmla="*/ 56290 w 80030"/>
                    <a:gd name="connsiteY12" fmla="*/ 7082 h 35581"/>
                    <a:gd name="connsiteX13" fmla="*/ 61213 w 80030"/>
                    <a:gd name="connsiteY13" fmla="*/ 8500 h 35581"/>
                    <a:gd name="connsiteX14" fmla="*/ 62843 w 80030"/>
                    <a:gd name="connsiteY14" fmla="*/ 8663 h 35581"/>
                    <a:gd name="connsiteX15" fmla="*/ 68009 w 80030"/>
                    <a:gd name="connsiteY15" fmla="*/ 8476 h 35581"/>
                    <a:gd name="connsiteX16" fmla="*/ 73486 w 80030"/>
                    <a:gd name="connsiteY16" fmla="*/ 8671 h 35581"/>
                    <a:gd name="connsiteX17" fmla="*/ 74986 w 80030"/>
                    <a:gd name="connsiteY17" fmla="*/ 12037 h 35581"/>
                    <a:gd name="connsiteX18" fmla="*/ 77692 w 80030"/>
                    <a:gd name="connsiteY18" fmla="*/ 13626 h 35581"/>
                    <a:gd name="connsiteX19" fmla="*/ 79876 w 80030"/>
                    <a:gd name="connsiteY19" fmla="*/ 15819 h 35581"/>
                    <a:gd name="connsiteX20" fmla="*/ 80030 w 80030"/>
                    <a:gd name="connsiteY20" fmla="*/ 17066 h 35581"/>
                    <a:gd name="connsiteX21" fmla="*/ 77023 w 80030"/>
                    <a:gd name="connsiteY21" fmla="*/ 24881 h 35581"/>
                    <a:gd name="connsiteX22" fmla="*/ 76396 w 80030"/>
                    <a:gd name="connsiteY22" fmla="*/ 27522 h 35581"/>
                    <a:gd name="connsiteX23" fmla="*/ 76273 w 80030"/>
                    <a:gd name="connsiteY23" fmla="*/ 30170 h 35581"/>
                    <a:gd name="connsiteX24" fmla="*/ 77382 w 80030"/>
                    <a:gd name="connsiteY24" fmla="*/ 33479 h 35581"/>
                    <a:gd name="connsiteX25" fmla="*/ 78417 w 80030"/>
                    <a:gd name="connsiteY25" fmla="*/ 35329 h 35581"/>
                    <a:gd name="connsiteX26" fmla="*/ 77561 w 80030"/>
                    <a:gd name="connsiteY26" fmla="*/ 35582 h 35581"/>
                    <a:gd name="connsiteX27" fmla="*/ 63601 w 80030"/>
                    <a:gd name="connsiteY27" fmla="*/ 35215 h 35581"/>
                    <a:gd name="connsiteX28" fmla="*/ 50349 w 80030"/>
                    <a:gd name="connsiteY28" fmla="*/ 34579 h 35581"/>
                    <a:gd name="connsiteX29" fmla="*/ 38108 w 80030"/>
                    <a:gd name="connsiteY29" fmla="*/ 34009 h 35581"/>
                    <a:gd name="connsiteX30" fmla="*/ 26291 w 80030"/>
                    <a:gd name="connsiteY30" fmla="*/ 33447 h 35581"/>
                    <a:gd name="connsiteX31" fmla="*/ 14979 w 80030"/>
                    <a:gd name="connsiteY31" fmla="*/ 32909 h 35581"/>
                    <a:gd name="connsiteX32" fmla="*/ 7930 w 80030"/>
                    <a:gd name="connsiteY32" fmla="*/ 32403 h 35581"/>
                    <a:gd name="connsiteX33" fmla="*/ 986 w 80030"/>
                    <a:gd name="connsiteY33" fmla="*/ 31914 h 35581"/>
                    <a:gd name="connsiteX34" fmla="*/ 0 w 80030"/>
                    <a:gd name="connsiteY34" fmla="*/ 31450 h 35581"/>
                    <a:gd name="connsiteX35" fmla="*/ 3822 w 80030"/>
                    <a:gd name="connsiteY35" fmla="*/ 28206 h 35581"/>
                    <a:gd name="connsiteX36" fmla="*/ 6308 w 80030"/>
                    <a:gd name="connsiteY36" fmla="*/ 24832 h 35581"/>
                    <a:gd name="connsiteX37" fmla="*/ 8419 w 80030"/>
                    <a:gd name="connsiteY37" fmla="*/ 20423 h 35581"/>
                    <a:gd name="connsiteX38" fmla="*/ 8647 w 80030"/>
                    <a:gd name="connsiteY38" fmla="*/ 17375 h 35581"/>
                    <a:gd name="connsiteX39" fmla="*/ 9185 w 80030"/>
                    <a:gd name="connsiteY39" fmla="*/ 13920 h 35581"/>
                    <a:gd name="connsiteX40" fmla="*/ 12477 w 80030"/>
                    <a:gd name="connsiteY40" fmla="*/ 12575 h 35581"/>
                    <a:gd name="connsiteX41" fmla="*/ 19649 w 80030"/>
                    <a:gd name="connsiteY41" fmla="*/ 12779 h 35581"/>
                    <a:gd name="connsiteX42" fmla="*/ 22722 w 80030"/>
                    <a:gd name="connsiteY42" fmla="*/ 11116 h 35581"/>
                    <a:gd name="connsiteX43" fmla="*/ 26650 w 80030"/>
                    <a:gd name="connsiteY43" fmla="*/ 7009 h 35581"/>
                    <a:gd name="connsiteX44" fmla="*/ 30781 w 80030"/>
                    <a:gd name="connsiteY44" fmla="*/ 2086 h 35581"/>
                    <a:gd name="connsiteX45" fmla="*/ 32126 w 80030"/>
                    <a:gd name="connsiteY45" fmla="*/ 0 h 35581"/>
                    <a:gd name="connsiteX46" fmla="*/ 33569 w 80030"/>
                    <a:gd name="connsiteY46" fmla="*/ 293 h 35581"/>
                    <a:gd name="connsiteX47" fmla="*/ 31132 w 80030"/>
                    <a:gd name="connsiteY47" fmla="*/ 3928 h 35581"/>
                    <a:gd name="connsiteX48" fmla="*/ 24563 w 80030"/>
                    <a:gd name="connsiteY48" fmla="*/ 11597 h 3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0030" h="35581">
                      <a:moveTo>
                        <a:pt x="26617" y="12608"/>
                      </a:moveTo>
                      <a:lnTo>
                        <a:pt x="29013" y="12934"/>
                      </a:lnTo>
                      <a:lnTo>
                        <a:pt x="31824" y="14360"/>
                      </a:lnTo>
                      <a:lnTo>
                        <a:pt x="34514" y="14621"/>
                      </a:lnTo>
                      <a:lnTo>
                        <a:pt x="39298" y="13382"/>
                      </a:lnTo>
                      <a:lnTo>
                        <a:pt x="40146" y="6821"/>
                      </a:lnTo>
                      <a:lnTo>
                        <a:pt x="40472" y="864"/>
                      </a:lnTo>
                      <a:lnTo>
                        <a:pt x="41996" y="848"/>
                      </a:lnTo>
                      <a:lnTo>
                        <a:pt x="44269" y="424"/>
                      </a:lnTo>
                      <a:lnTo>
                        <a:pt x="45703" y="1997"/>
                      </a:lnTo>
                      <a:lnTo>
                        <a:pt x="48377" y="3480"/>
                      </a:lnTo>
                      <a:lnTo>
                        <a:pt x="51555" y="4817"/>
                      </a:lnTo>
                      <a:lnTo>
                        <a:pt x="56290" y="7082"/>
                      </a:lnTo>
                      <a:lnTo>
                        <a:pt x="61213" y="8500"/>
                      </a:lnTo>
                      <a:lnTo>
                        <a:pt x="62843" y="8663"/>
                      </a:lnTo>
                      <a:lnTo>
                        <a:pt x="68009" y="8476"/>
                      </a:lnTo>
                      <a:lnTo>
                        <a:pt x="73486" y="8671"/>
                      </a:lnTo>
                      <a:lnTo>
                        <a:pt x="74986" y="12037"/>
                      </a:lnTo>
                      <a:lnTo>
                        <a:pt x="77692" y="13626"/>
                      </a:lnTo>
                      <a:lnTo>
                        <a:pt x="79876" y="15819"/>
                      </a:lnTo>
                      <a:lnTo>
                        <a:pt x="80030" y="17066"/>
                      </a:lnTo>
                      <a:lnTo>
                        <a:pt x="77023" y="24881"/>
                      </a:lnTo>
                      <a:lnTo>
                        <a:pt x="76396" y="27522"/>
                      </a:lnTo>
                      <a:lnTo>
                        <a:pt x="76273" y="30170"/>
                      </a:lnTo>
                      <a:lnTo>
                        <a:pt x="77382" y="33479"/>
                      </a:lnTo>
                      <a:lnTo>
                        <a:pt x="78417" y="35329"/>
                      </a:lnTo>
                      <a:lnTo>
                        <a:pt x="77561" y="35582"/>
                      </a:lnTo>
                      <a:lnTo>
                        <a:pt x="63601" y="35215"/>
                      </a:lnTo>
                      <a:lnTo>
                        <a:pt x="50349" y="34579"/>
                      </a:lnTo>
                      <a:lnTo>
                        <a:pt x="38108" y="34009"/>
                      </a:lnTo>
                      <a:lnTo>
                        <a:pt x="26291" y="33447"/>
                      </a:lnTo>
                      <a:lnTo>
                        <a:pt x="14979" y="32909"/>
                      </a:lnTo>
                      <a:lnTo>
                        <a:pt x="7930" y="32403"/>
                      </a:lnTo>
                      <a:lnTo>
                        <a:pt x="986" y="31914"/>
                      </a:lnTo>
                      <a:lnTo>
                        <a:pt x="0" y="31450"/>
                      </a:lnTo>
                      <a:lnTo>
                        <a:pt x="3822" y="28206"/>
                      </a:lnTo>
                      <a:lnTo>
                        <a:pt x="6308" y="24832"/>
                      </a:lnTo>
                      <a:lnTo>
                        <a:pt x="8419" y="20423"/>
                      </a:lnTo>
                      <a:lnTo>
                        <a:pt x="8647" y="17375"/>
                      </a:lnTo>
                      <a:lnTo>
                        <a:pt x="9185" y="13920"/>
                      </a:lnTo>
                      <a:lnTo>
                        <a:pt x="12477" y="12575"/>
                      </a:lnTo>
                      <a:lnTo>
                        <a:pt x="19649" y="12779"/>
                      </a:lnTo>
                      <a:lnTo>
                        <a:pt x="22722" y="11116"/>
                      </a:lnTo>
                      <a:lnTo>
                        <a:pt x="26650" y="7009"/>
                      </a:lnTo>
                      <a:lnTo>
                        <a:pt x="30781" y="2086"/>
                      </a:lnTo>
                      <a:lnTo>
                        <a:pt x="32126" y="0"/>
                      </a:lnTo>
                      <a:lnTo>
                        <a:pt x="33569" y="293"/>
                      </a:lnTo>
                      <a:lnTo>
                        <a:pt x="31132" y="3928"/>
                      </a:lnTo>
                      <a:lnTo>
                        <a:pt x="24563" y="11597"/>
                      </a:lnTo>
                      <a:close/>
                    </a:path>
                  </a:pathLst>
                </a:custGeom>
                <a:solidFill>
                  <a:srgbClr val="D6D6D2"/>
                </a:solidFill>
                <a:ln w="8150" cap="flat">
                  <a:noFill/>
                  <a:prstDash val="solid"/>
                  <a:miter/>
                </a:ln>
              </p:spPr>
              <p:txBody>
                <a:bodyPr rtlCol="0" anchor="ctr"/>
                <a:lstStyle/>
                <a:p>
                  <a:endParaRPr lang="en-US"/>
                </a:p>
              </p:txBody>
            </p:sp>
            <p:sp>
              <p:nvSpPr>
                <p:cNvPr id="594" name="Freeform: Shape 593">
                  <a:extLst>
                    <a:ext uri="{FF2B5EF4-FFF2-40B4-BE49-F238E27FC236}">
                      <a16:creationId xmlns:a16="http://schemas.microsoft.com/office/drawing/2014/main" id="{BB69B3C6-12EF-48A9-80BA-27DA7ACDEF46}"/>
                    </a:ext>
                  </a:extLst>
                </p:cNvPr>
                <p:cNvSpPr/>
                <p:nvPr/>
              </p:nvSpPr>
              <p:spPr>
                <a:xfrm>
                  <a:off x="10054635" y="2725174"/>
                  <a:ext cx="22305" cy="25011"/>
                </a:xfrm>
                <a:custGeom>
                  <a:avLst/>
                  <a:gdLst>
                    <a:gd name="connsiteX0" fmla="*/ 22305 w 22305"/>
                    <a:gd name="connsiteY0" fmla="*/ 19519 h 25011"/>
                    <a:gd name="connsiteX1" fmla="*/ 22175 w 22305"/>
                    <a:gd name="connsiteY1" fmla="*/ 25012 h 25011"/>
                    <a:gd name="connsiteX2" fmla="*/ 19095 w 22305"/>
                    <a:gd name="connsiteY2" fmla="*/ 22224 h 25011"/>
                    <a:gd name="connsiteX3" fmla="*/ 17668 w 22305"/>
                    <a:gd name="connsiteY3" fmla="*/ 19975 h 25011"/>
                    <a:gd name="connsiteX4" fmla="*/ 15631 w 22305"/>
                    <a:gd name="connsiteY4" fmla="*/ 19543 h 25011"/>
                    <a:gd name="connsiteX5" fmla="*/ 14229 w 22305"/>
                    <a:gd name="connsiteY5" fmla="*/ 18541 h 25011"/>
                    <a:gd name="connsiteX6" fmla="*/ 11873 w 22305"/>
                    <a:gd name="connsiteY6" fmla="*/ 15802 h 25011"/>
                    <a:gd name="connsiteX7" fmla="*/ 9136 w 22305"/>
                    <a:gd name="connsiteY7" fmla="*/ 12233 h 25011"/>
                    <a:gd name="connsiteX8" fmla="*/ 8206 w 22305"/>
                    <a:gd name="connsiteY8" fmla="*/ 10481 h 25011"/>
                    <a:gd name="connsiteX9" fmla="*/ 7815 w 22305"/>
                    <a:gd name="connsiteY9" fmla="*/ 8223 h 25011"/>
                    <a:gd name="connsiteX10" fmla="*/ 5973 w 22305"/>
                    <a:gd name="connsiteY10" fmla="*/ 6137 h 25011"/>
                    <a:gd name="connsiteX11" fmla="*/ 0 w 22305"/>
                    <a:gd name="connsiteY11" fmla="*/ 2168 h 25011"/>
                    <a:gd name="connsiteX12" fmla="*/ 1964 w 22305"/>
                    <a:gd name="connsiteY12" fmla="*/ 1695 h 25011"/>
                    <a:gd name="connsiteX13" fmla="*/ 4466 w 22305"/>
                    <a:gd name="connsiteY13" fmla="*/ 0 h 25011"/>
                    <a:gd name="connsiteX14" fmla="*/ 11434 w 22305"/>
                    <a:gd name="connsiteY14" fmla="*/ 1043 h 25011"/>
                    <a:gd name="connsiteX15" fmla="*/ 13015 w 22305"/>
                    <a:gd name="connsiteY15" fmla="*/ 1500 h 25011"/>
                    <a:gd name="connsiteX16" fmla="*/ 11873 w 22305"/>
                    <a:gd name="connsiteY16" fmla="*/ 4156 h 25011"/>
                    <a:gd name="connsiteX17" fmla="*/ 12322 w 22305"/>
                    <a:gd name="connsiteY17" fmla="*/ 7090 h 25011"/>
                    <a:gd name="connsiteX18" fmla="*/ 16210 w 22305"/>
                    <a:gd name="connsiteY18" fmla="*/ 13178 h 25011"/>
                    <a:gd name="connsiteX19" fmla="*/ 18067 w 22305"/>
                    <a:gd name="connsiteY19" fmla="*/ 15297 h 25011"/>
                    <a:gd name="connsiteX20" fmla="*/ 20488 w 22305"/>
                    <a:gd name="connsiteY20" fmla="*/ 16903 h 25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305" h="25011">
                      <a:moveTo>
                        <a:pt x="22305" y="19519"/>
                      </a:moveTo>
                      <a:lnTo>
                        <a:pt x="22175" y="25012"/>
                      </a:lnTo>
                      <a:lnTo>
                        <a:pt x="19095" y="22224"/>
                      </a:lnTo>
                      <a:lnTo>
                        <a:pt x="17668" y="19975"/>
                      </a:lnTo>
                      <a:lnTo>
                        <a:pt x="15631" y="19543"/>
                      </a:lnTo>
                      <a:lnTo>
                        <a:pt x="14229" y="18541"/>
                      </a:lnTo>
                      <a:lnTo>
                        <a:pt x="11873" y="15802"/>
                      </a:lnTo>
                      <a:lnTo>
                        <a:pt x="9136" y="12233"/>
                      </a:lnTo>
                      <a:lnTo>
                        <a:pt x="8206" y="10481"/>
                      </a:lnTo>
                      <a:lnTo>
                        <a:pt x="7815" y="8223"/>
                      </a:lnTo>
                      <a:lnTo>
                        <a:pt x="5973" y="6137"/>
                      </a:lnTo>
                      <a:lnTo>
                        <a:pt x="0" y="2168"/>
                      </a:lnTo>
                      <a:lnTo>
                        <a:pt x="1964" y="1695"/>
                      </a:lnTo>
                      <a:lnTo>
                        <a:pt x="4466" y="0"/>
                      </a:lnTo>
                      <a:lnTo>
                        <a:pt x="11434" y="1043"/>
                      </a:lnTo>
                      <a:lnTo>
                        <a:pt x="13015" y="1500"/>
                      </a:lnTo>
                      <a:lnTo>
                        <a:pt x="11873" y="4156"/>
                      </a:lnTo>
                      <a:lnTo>
                        <a:pt x="12322" y="7090"/>
                      </a:lnTo>
                      <a:lnTo>
                        <a:pt x="16210" y="13178"/>
                      </a:lnTo>
                      <a:lnTo>
                        <a:pt x="18067" y="15297"/>
                      </a:lnTo>
                      <a:lnTo>
                        <a:pt x="20488" y="16903"/>
                      </a:lnTo>
                      <a:close/>
                    </a:path>
                  </a:pathLst>
                </a:custGeom>
                <a:solidFill>
                  <a:srgbClr val="D6D6D2"/>
                </a:solidFill>
                <a:ln w="8150" cap="flat">
                  <a:noFill/>
                  <a:prstDash val="solid"/>
                  <a:miter/>
                </a:ln>
              </p:spPr>
              <p:txBody>
                <a:bodyPr rtlCol="0" anchor="ctr"/>
                <a:lstStyle/>
                <a:p>
                  <a:endParaRPr lang="en-US"/>
                </a:p>
              </p:txBody>
            </p:sp>
            <p:sp>
              <p:nvSpPr>
                <p:cNvPr id="595" name="Freeform: Shape 594">
                  <a:extLst>
                    <a:ext uri="{FF2B5EF4-FFF2-40B4-BE49-F238E27FC236}">
                      <a16:creationId xmlns:a16="http://schemas.microsoft.com/office/drawing/2014/main" id="{C505D046-1326-4F87-8A1A-5D5B08C8F19B}"/>
                    </a:ext>
                  </a:extLst>
                </p:cNvPr>
                <p:cNvSpPr/>
                <p:nvPr/>
              </p:nvSpPr>
              <p:spPr>
                <a:xfrm>
                  <a:off x="9996992" y="2574510"/>
                  <a:ext cx="30618" cy="28312"/>
                </a:xfrm>
                <a:custGeom>
                  <a:avLst/>
                  <a:gdLst>
                    <a:gd name="connsiteX0" fmla="*/ 5158 w 30618"/>
                    <a:gd name="connsiteY0" fmla="*/ 24612 h 28312"/>
                    <a:gd name="connsiteX1" fmla="*/ 1100 w 30618"/>
                    <a:gd name="connsiteY1" fmla="*/ 28312 h 28312"/>
                    <a:gd name="connsiteX2" fmla="*/ 496 w 30618"/>
                    <a:gd name="connsiteY2" fmla="*/ 27709 h 28312"/>
                    <a:gd name="connsiteX3" fmla="*/ 122 w 30618"/>
                    <a:gd name="connsiteY3" fmla="*/ 26870 h 28312"/>
                    <a:gd name="connsiteX4" fmla="*/ 0 w 30618"/>
                    <a:gd name="connsiteY4" fmla="*/ 25574 h 28312"/>
                    <a:gd name="connsiteX5" fmla="*/ 3708 w 30618"/>
                    <a:gd name="connsiteY5" fmla="*/ 23137 h 28312"/>
                    <a:gd name="connsiteX6" fmla="*/ 7424 w 30618"/>
                    <a:gd name="connsiteY6" fmla="*/ 16919 h 28312"/>
                    <a:gd name="connsiteX7" fmla="*/ 8867 w 30618"/>
                    <a:gd name="connsiteY7" fmla="*/ 11744 h 28312"/>
                    <a:gd name="connsiteX8" fmla="*/ 8410 w 30618"/>
                    <a:gd name="connsiteY8" fmla="*/ 10057 h 28312"/>
                    <a:gd name="connsiteX9" fmla="*/ 8280 w 30618"/>
                    <a:gd name="connsiteY9" fmla="*/ 8370 h 28312"/>
                    <a:gd name="connsiteX10" fmla="*/ 19216 w 30618"/>
                    <a:gd name="connsiteY10" fmla="*/ 5167 h 28312"/>
                    <a:gd name="connsiteX11" fmla="*/ 27041 w 30618"/>
                    <a:gd name="connsiteY11" fmla="*/ 0 h 28312"/>
                    <a:gd name="connsiteX12" fmla="*/ 28402 w 30618"/>
                    <a:gd name="connsiteY12" fmla="*/ 220 h 28312"/>
                    <a:gd name="connsiteX13" fmla="*/ 29819 w 30618"/>
                    <a:gd name="connsiteY13" fmla="*/ 4531 h 28312"/>
                    <a:gd name="connsiteX14" fmla="*/ 30618 w 30618"/>
                    <a:gd name="connsiteY14" fmla="*/ 10122 h 28312"/>
                    <a:gd name="connsiteX15" fmla="*/ 29477 w 30618"/>
                    <a:gd name="connsiteY15" fmla="*/ 13480 h 28312"/>
                    <a:gd name="connsiteX16" fmla="*/ 21123 w 30618"/>
                    <a:gd name="connsiteY16" fmla="*/ 15354 h 28312"/>
                    <a:gd name="connsiteX17" fmla="*/ 13218 w 30618"/>
                    <a:gd name="connsiteY17" fmla="*/ 19087 h 2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618" h="28312">
                      <a:moveTo>
                        <a:pt x="5158" y="24612"/>
                      </a:moveTo>
                      <a:lnTo>
                        <a:pt x="1100" y="28312"/>
                      </a:lnTo>
                      <a:lnTo>
                        <a:pt x="496" y="27709"/>
                      </a:lnTo>
                      <a:lnTo>
                        <a:pt x="122" y="26870"/>
                      </a:lnTo>
                      <a:lnTo>
                        <a:pt x="0" y="25574"/>
                      </a:lnTo>
                      <a:lnTo>
                        <a:pt x="3708" y="23137"/>
                      </a:lnTo>
                      <a:lnTo>
                        <a:pt x="7424" y="16919"/>
                      </a:lnTo>
                      <a:lnTo>
                        <a:pt x="8867" y="11744"/>
                      </a:lnTo>
                      <a:lnTo>
                        <a:pt x="8410" y="10057"/>
                      </a:lnTo>
                      <a:lnTo>
                        <a:pt x="8280" y="8370"/>
                      </a:lnTo>
                      <a:lnTo>
                        <a:pt x="19216" y="5167"/>
                      </a:lnTo>
                      <a:lnTo>
                        <a:pt x="27041" y="0"/>
                      </a:lnTo>
                      <a:lnTo>
                        <a:pt x="28402" y="220"/>
                      </a:lnTo>
                      <a:lnTo>
                        <a:pt x="29819" y="4531"/>
                      </a:lnTo>
                      <a:lnTo>
                        <a:pt x="30618" y="10122"/>
                      </a:lnTo>
                      <a:lnTo>
                        <a:pt x="29477" y="13480"/>
                      </a:lnTo>
                      <a:lnTo>
                        <a:pt x="21123" y="15354"/>
                      </a:lnTo>
                      <a:lnTo>
                        <a:pt x="13218" y="19087"/>
                      </a:lnTo>
                      <a:close/>
                    </a:path>
                  </a:pathLst>
                </a:custGeom>
                <a:solidFill>
                  <a:srgbClr val="D6D6D2"/>
                </a:solidFill>
                <a:ln w="8150" cap="flat">
                  <a:noFill/>
                  <a:prstDash val="solid"/>
                  <a:miter/>
                </a:ln>
              </p:spPr>
              <p:txBody>
                <a:bodyPr rtlCol="0" anchor="ctr"/>
                <a:lstStyle/>
                <a:p>
                  <a:endParaRPr lang="en-US"/>
                </a:p>
              </p:txBody>
            </p:sp>
            <p:sp>
              <p:nvSpPr>
                <p:cNvPr id="596" name="Freeform: Shape 595">
                  <a:extLst>
                    <a:ext uri="{FF2B5EF4-FFF2-40B4-BE49-F238E27FC236}">
                      <a16:creationId xmlns:a16="http://schemas.microsoft.com/office/drawing/2014/main" id="{BA2E6985-A7A0-406A-97E3-AED49F91E536}"/>
                    </a:ext>
                  </a:extLst>
                </p:cNvPr>
                <p:cNvSpPr/>
                <p:nvPr/>
              </p:nvSpPr>
              <p:spPr>
                <a:xfrm>
                  <a:off x="7141048" y="2144009"/>
                  <a:ext cx="49705" cy="34351"/>
                </a:xfrm>
                <a:custGeom>
                  <a:avLst/>
                  <a:gdLst>
                    <a:gd name="connsiteX0" fmla="*/ 49265 w 49705"/>
                    <a:gd name="connsiteY0" fmla="*/ 14417 h 34351"/>
                    <a:gd name="connsiteX1" fmla="*/ 49705 w 49705"/>
                    <a:gd name="connsiteY1" fmla="*/ 18679 h 34351"/>
                    <a:gd name="connsiteX2" fmla="*/ 48173 w 49705"/>
                    <a:gd name="connsiteY2" fmla="*/ 20448 h 34351"/>
                    <a:gd name="connsiteX3" fmla="*/ 46771 w 49705"/>
                    <a:gd name="connsiteY3" fmla="*/ 20945 h 34351"/>
                    <a:gd name="connsiteX4" fmla="*/ 46184 w 49705"/>
                    <a:gd name="connsiteY4" fmla="*/ 18272 h 34351"/>
                    <a:gd name="connsiteX5" fmla="*/ 45027 w 49705"/>
                    <a:gd name="connsiteY5" fmla="*/ 17065 h 34351"/>
                    <a:gd name="connsiteX6" fmla="*/ 40732 w 49705"/>
                    <a:gd name="connsiteY6" fmla="*/ 20252 h 34351"/>
                    <a:gd name="connsiteX7" fmla="*/ 38719 w 49705"/>
                    <a:gd name="connsiteY7" fmla="*/ 23765 h 34351"/>
                    <a:gd name="connsiteX8" fmla="*/ 33430 w 49705"/>
                    <a:gd name="connsiteY8" fmla="*/ 28785 h 34351"/>
                    <a:gd name="connsiteX9" fmla="*/ 22371 w 49705"/>
                    <a:gd name="connsiteY9" fmla="*/ 32363 h 34351"/>
                    <a:gd name="connsiteX10" fmla="*/ 15664 w 49705"/>
                    <a:gd name="connsiteY10" fmla="*/ 33911 h 34351"/>
                    <a:gd name="connsiteX11" fmla="*/ 9633 w 49705"/>
                    <a:gd name="connsiteY11" fmla="*/ 34351 h 34351"/>
                    <a:gd name="connsiteX12" fmla="*/ 3977 w 49705"/>
                    <a:gd name="connsiteY12" fmla="*/ 31197 h 34351"/>
                    <a:gd name="connsiteX13" fmla="*/ 929 w 49705"/>
                    <a:gd name="connsiteY13" fmla="*/ 25142 h 34351"/>
                    <a:gd name="connsiteX14" fmla="*/ 391 w 49705"/>
                    <a:gd name="connsiteY14" fmla="*/ 23300 h 34351"/>
                    <a:gd name="connsiteX15" fmla="*/ 0 w 49705"/>
                    <a:gd name="connsiteY15" fmla="*/ 20831 h 34351"/>
                    <a:gd name="connsiteX16" fmla="*/ 41 w 49705"/>
                    <a:gd name="connsiteY16" fmla="*/ 18337 h 34351"/>
                    <a:gd name="connsiteX17" fmla="*/ 432 w 49705"/>
                    <a:gd name="connsiteY17" fmla="*/ 14482 h 34351"/>
                    <a:gd name="connsiteX18" fmla="*/ 1019 w 49705"/>
                    <a:gd name="connsiteY18" fmla="*/ 10717 h 34351"/>
                    <a:gd name="connsiteX19" fmla="*/ 3358 w 49705"/>
                    <a:gd name="connsiteY19" fmla="*/ 7335 h 34351"/>
                    <a:gd name="connsiteX20" fmla="*/ 8753 w 49705"/>
                    <a:gd name="connsiteY20" fmla="*/ 3333 h 34351"/>
                    <a:gd name="connsiteX21" fmla="*/ 14042 w 49705"/>
                    <a:gd name="connsiteY21" fmla="*/ 725 h 34351"/>
                    <a:gd name="connsiteX22" fmla="*/ 16731 w 49705"/>
                    <a:gd name="connsiteY22" fmla="*/ 90 h 34351"/>
                    <a:gd name="connsiteX23" fmla="*/ 23479 w 49705"/>
                    <a:gd name="connsiteY23" fmla="*/ 0 h 34351"/>
                    <a:gd name="connsiteX24" fmla="*/ 42607 w 49705"/>
                    <a:gd name="connsiteY24" fmla="*/ 8940 h 34351"/>
                    <a:gd name="connsiteX25" fmla="*/ 46845 w 49705"/>
                    <a:gd name="connsiteY25" fmla="*/ 11255 h 3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9705" h="34351">
                      <a:moveTo>
                        <a:pt x="49265" y="14417"/>
                      </a:moveTo>
                      <a:lnTo>
                        <a:pt x="49705" y="18679"/>
                      </a:lnTo>
                      <a:lnTo>
                        <a:pt x="48173" y="20448"/>
                      </a:lnTo>
                      <a:lnTo>
                        <a:pt x="46771" y="20945"/>
                      </a:lnTo>
                      <a:lnTo>
                        <a:pt x="46184" y="18272"/>
                      </a:lnTo>
                      <a:lnTo>
                        <a:pt x="45027" y="17065"/>
                      </a:lnTo>
                      <a:lnTo>
                        <a:pt x="40732" y="20252"/>
                      </a:lnTo>
                      <a:lnTo>
                        <a:pt x="38719" y="23765"/>
                      </a:lnTo>
                      <a:lnTo>
                        <a:pt x="33430" y="28785"/>
                      </a:lnTo>
                      <a:lnTo>
                        <a:pt x="22371" y="32363"/>
                      </a:lnTo>
                      <a:lnTo>
                        <a:pt x="15664" y="33911"/>
                      </a:lnTo>
                      <a:lnTo>
                        <a:pt x="9633" y="34351"/>
                      </a:lnTo>
                      <a:lnTo>
                        <a:pt x="3977" y="31197"/>
                      </a:lnTo>
                      <a:lnTo>
                        <a:pt x="929" y="25142"/>
                      </a:lnTo>
                      <a:lnTo>
                        <a:pt x="391" y="23300"/>
                      </a:lnTo>
                      <a:lnTo>
                        <a:pt x="0" y="20831"/>
                      </a:lnTo>
                      <a:lnTo>
                        <a:pt x="41" y="18337"/>
                      </a:lnTo>
                      <a:lnTo>
                        <a:pt x="432" y="14482"/>
                      </a:lnTo>
                      <a:lnTo>
                        <a:pt x="1019" y="10717"/>
                      </a:lnTo>
                      <a:lnTo>
                        <a:pt x="3358" y="7335"/>
                      </a:lnTo>
                      <a:lnTo>
                        <a:pt x="8753" y="3333"/>
                      </a:lnTo>
                      <a:lnTo>
                        <a:pt x="14042" y="725"/>
                      </a:lnTo>
                      <a:lnTo>
                        <a:pt x="16731" y="90"/>
                      </a:lnTo>
                      <a:lnTo>
                        <a:pt x="23479" y="0"/>
                      </a:lnTo>
                      <a:lnTo>
                        <a:pt x="42607" y="8940"/>
                      </a:lnTo>
                      <a:lnTo>
                        <a:pt x="46845" y="11255"/>
                      </a:lnTo>
                      <a:close/>
                    </a:path>
                  </a:pathLst>
                </a:custGeom>
                <a:solidFill>
                  <a:srgbClr val="D6D6D2"/>
                </a:solidFill>
                <a:ln w="8150" cap="flat">
                  <a:noFill/>
                  <a:prstDash val="solid"/>
                  <a:miter/>
                </a:ln>
              </p:spPr>
              <p:txBody>
                <a:bodyPr rtlCol="0" anchor="ctr"/>
                <a:lstStyle/>
                <a:p>
                  <a:endParaRPr lang="en-US"/>
                </a:p>
              </p:txBody>
            </p:sp>
            <p:sp>
              <p:nvSpPr>
                <p:cNvPr id="597" name="Freeform: Shape 596">
                  <a:extLst>
                    <a:ext uri="{FF2B5EF4-FFF2-40B4-BE49-F238E27FC236}">
                      <a16:creationId xmlns:a16="http://schemas.microsoft.com/office/drawing/2014/main" id="{42E8094D-294C-4D9B-ADE3-71BC87ABBB86}"/>
                    </a:ext>
                  </a:extLst>
                </p:cNvPr>
                <p:cNvSpPr/>
                <p:nvPr/>
              </p:nvSpPr>
              <p:spPr>
                <a:xfrm>
                  <a:off x="9938851" y="2138312"/>
                  <a:ext cx="13259" cy="32713"/>
                </a:xfrm>
                <a:custGeom>
                  <a:avLst/>
                  <a:gdLst>
                    <a:gd name="connsiteX0" fmla="*/ 9527 w 13259"/>
                    <a:gd name="connsiteY0" fmla="*/ 32664 h 32713"/>
                    <a:gd name="connsiteX1" fmla="*/ 8410 w 13259"/>
                    <a:gd name="connsiteY1" fmla="*/ 32713 h 32713"/>
                    <a:gd name="connsiteX2" fmla="*/ 9258 w 13259"/>
                    <a:gd name="connsiteY2" fmla="*/ 29795 h 32713"/>
                    <a:gd name="connsiteX3" fmla="*/ 9380 w 13259"/>
                    <a:gd name="connsiteY3" fmla="*/ 28491 h 32713"/>
                    <a:gd name="connsiteX4" fmla="*/ 6976 w 13259"/>
                    <a:gd name="connsiteY4" fmla="*/ 26340 h 32713"/>
                    <a:gd name="connsiteX5" fmla="*/ 2469 w 13259"/>
                    <a:gd name="connsiteY5" fmla="*/ 24702 h 32713"/>
                    <a:gd name="connsiteX6" fmla="*/ 1328 w 13259"/>
                    <a:gd name="connsiteY6" fmla="*/ 23430 h 32713"/>
                    <a:gd name="connsiteX7" fmla="*/ 1052 w 13259"/>
                    <a:gd name="connsiteY7" fmla="*/ 19608 h 32713"/>
                    <a:gd name="connsiteX8" fmla="*/ 2022 w 13259"/>
                    <a:gd name="connsiteY8" fmla="*/ 13561 h 32713"/>
                    <a:gd name="connsiteX9" fmla="*/ 0 w 13259"/>
                    <a:gd name="connsiteY9" fmla="*/ 10375 h 32713"/>
                    <a:gd name="connsiteX10" fmla="*/ 684 w 13259"/>
                    <a:gd name="connsiteY10" fmla="*/ 7530 h 32713"/>
                    <a:gd name="connsiteX11" fmla="*/ 5965 w 13259"/>
                    <a:gd name="connsiteY11" fmla="*/ 4376 h 32713"/>
                    <a:gd name="connsiteX12" fmla="*/ 8109 w 13259"/>
                    <a:gd name="connsiteY12" fmla="*/ 1948 h 32713"/>
                    <a:gd name="connsiteX13" fmla="*/ 10473 w 13259"/>
                    <a:gd name="connsiteY13" fmla="*/ 0 h 32713"/>
                    <a:gd name="connsiteX14" fmla="*/ 10856 w 13259"/>
                    <a:gd name="connsiteY14" fmla="*/ 253 h 32713"/>
                    <a:gd name="connsiteX15" fmla="*/ 13259 w 13259"/>
                    <a:gd name="connsiteY15" fmla="*/ 2095 h 32713"/>
                    <a:gd name="connsiteX16" fmla="*/ 13047 w 13259"/>
                    <a:gd name="connsiteY16" fmla="*/ 6153 h 32713"/>
                    <a:gd name="connsiteX17" fmla="*/ 11344 w 13259"/>
                    <a:gd name="connsiteY17" fmla="*/ 9005 h 32713"/>
                    <a:gd name="connsiteX18" fmla="*/ 7229 w 13259"/>
                    <a:gd name="connsiteY18" fmla="*/ 10024 h 32713"/>
                    <a:gd name="connsiteX19" fmla="*/ 6651 w 13259"/>
                    <a:gd name="connsiteY19" fmla="*/ 11988 h 32713"/>
                    <a:gd name="connsiteX20" fmla="*/ 7180 w 13259"/>
                    <a:gd name="connsiteY20" fmla="*/ 15370 h 32713"/>
                    <a:gd name="connsiteX21" fmla="*/ 7310 w 13259"/>
                    <a:gd name="connsiteY21" fmla="*/ 19722 h 32713"/>
                    <a:gd name="connsiteX22" fmla="*/ 7718 w 13259"/>
                    <a:gd name="connsiteY22" fmla="*/ 23602 h 32713"/>
                    <a:gd name="connsiteX23" fmla="*/ 10212 w 13259"/>
                    <a:gd name="connsiteY23" fmla="*/ 27595 h 32713"/>
                    <a:gd name="connsiteX24" fmla="*/ 10766 w 13259"/>
                    <a:gd name="connsiteY24" fmla="*/ 29641 h 32713"/>
                    <a:gd name="connsiteX25" fmla="*/ 10505 w 13259"/>
                    <a:gd name="connsiteY25" fmla="*/ 31491 h 3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259" h="32713">
                      <a:moveTo>
                        <a:pt x="9527" y="32664"/>
                      </a:moveTo>
                      <a:lnTo>
                        <a:pt x="8410" y="32713"/>
                      </a:lnTo>
                      <a:lnTo>
                        <a:pt x="9258" y="29795"/>
                      </a:lnTo>
                      <a:lnTo>
                        <a:pt x="9380" y="28491"/>
                      </a:lnTo>
                      <a:lnTo>
                        <a:pt x="6976" y="26340"/>
                      </a:lnTo>
                      <a:lnTo>
                        <a:pt x="2469" y="24702"/>
                      </a:lnTo>
                      <a:lnTo>
                        <a:pt x="1328" y="23430"/>
                      </a:lnTo>
                      <a:lnTo>
                        <a:pt x="1052" y="19608"/>
                      </a:lnTo>
                      <a:lnTo>
                        <a:pt x="2022" y="13561"/>
                      </a:lnTo>
                      <a:lnTo>
                        <a:pt x="0" y="10375"/>
                      </a:lnTo>
                      <a:lnTo>
                        <a:pt x="684" y="7530"/>
                      </a:lnTo>
                      <a:lnTo>
                        <a:pt x="5965" y="4376"/>
                      </a:lnTo>
                      <a:lnTo>
                        <a:pt x="8109" y="1948"/>
                      </a:lnTo>
                      <a:lnTo>
                        <a:pt x="10473" y="0"/>
                      </a:lnTo>
                      <a:lnTo>
                        <a:pt x="10856" y="253"/>
                      </a:lnTo>
                      <a:lnTo>
                        <a:pt x="13259" y="2095"/>
                      </a:lnTo>
                      <a:lnTo>
                        <a:pt x="13047" y="6153"/>
                      </a:lnTo>
                      <a:lnTo>
                        <a:pt x="11344" y="9005"/>
                      </a:lnTo>
                      <a:lnTo>
                        <a:pt x="7229" y="10024"/>
                      </a:lnTo>
                      <a:lnTo>
                        <a:pt x="6651" y="11988"/>
                      </a:lnTo>
                      <a:lnTo>
                        <a:pt x="7180" y="15370"/>
                      </a:lnTo>
                      <a:lnTo>
                        <a:pt x="7310" y="19722"/>
                      </a:lnTo>
                      <a:lnTo>
                        <a:pt x="7718" y="23602"/>
                      </a:lnTo>
                      <a:lnTo>
                        <a:pt x="10212" y="27595"/>
                      </a:lnTo>
                      <a:lnTo>
                        <a:pt x="10766" y="29641"/>
                      </a:lnTo>
                      <a:lnTo>
                        <a:pt x="10505" y="31491"/>
                      </a:lnTo>
                      <a:close/>
                    </a:path>
                  </a:pathLst>
                </a:custGeom>
                <a:solidFill>
                  <a:srgbClr val="D6D6D2"/>
                </a:solidFill>
                <a:ln w="8150" cap="flat">
                  <a:noFill/>
                  <a:prstDash val="solid"/>
                  <a:miter/>
                </a:ln>
              </p:spPr>
              <p:txBody>
                <a:bodyPr rtlCol="0" anchor="ctr"/>
                <a:lstStyle/>
                <a:p>
                  <a:endParaRPr lang="en-US"/>
                </a:p>
              </p:txBody>
            </p:sp>
            <p:sp>
              <p:nvSpPr>
                <p:cNvPr id="598" name="Freeform: Shape 597">
                  <a:extLst>
                    <a:ext uri="{FF2B5EF4-FFF2-40B4-BE49-F238E27FC236}">
                      <a16:creationId xmlns:a16="http://schemas.microsoft.com/office/drawing/2014/main" id="{C7499D92-EA05-484D-9CE3-813A426BD0BC}"/>
                    </a:ext>
                  </a:extLst>
                </p:cNvPr>
                <p:cNvSpPr/>
                <p:nvPr/>
              </p:nvSpPr>
              <p:spPr>
                <a:xfrm>
                  <a:off x="10105163" y="2121564"/>
                  <a:ext cx="40805" cy="19771"/>
                </a:xfrm>
                <a:custGeom>
                  <a:avLst/>
                  <a:gdLst>
                    <a:gd name="connsiteX0" fmla="*/ 35027 w 40805"/>
                    <a:gd name="connsiteY0" fmla="*/ 19372 h 19771"/>
                    <a:gd name="connsiteX1" fmla="*/ 27954 w 40805"/>
                    <a:gd name="connsiteY1" fmla="*/ 19771 h 19771"/>
                    <a:gd name="connsiteX2" fmla="*/ 13879 w 40805"/>
                    <a:gd name="connsiteY2" fmla="*/ 15648 h 19771"/>
                    <a:gd name="connsiteX3" fmla="*/ 8826 w 40805"/>
                    <a:gd name="connsiteY3" fmla="*/ 13463 h 19771"/>
                    <a:gd name="connsiteX4" fmla="*/ 5078 w 40805"/>
                    <a:gd name="connsiteY4" fmla="*/ 10684 h 19771"/>
                    <a:gd name="connsiteX5" fmla="*/ 815 w 40805"/>
                    <a:gd name="connsiteY5" fmla="*/ 8737 h 19771"/>
                    <a:gd name="connsiteX6" fmla="*/ 0 w 40805"/>
                    <a:gd name="connsiteY6" fmla="*/ 7970 h 19771"/>
                    <a:gd name="connsiteX7" fmla="*/ 628 w 40805"/>
                    <a:gd name="connsiteY7" fmla="*/ 6365 h 19771"/>
                    <a:gd name="connsiteX8" fmla="*/ 1891 w 40805"/>
                    <a:gd name="connsiteY8" fmla="*/ 5118 h 19771"/>
                    <a:gd name="connsiteX9" fmla="*/ 6732 w 40805"/>
                    <a:gd name="connsiteY9" fmla="*/ 1817 h 19771"/>
                    <a:gd name="connsiteX10" fmla="*/ 10123 w 40805"/>
                    <a:gd name="connsiteY10" fmla="*/ 326 h 19771"/>
                    <a:gd name="connsiteX11" fmla="*/ 14124 w 40805"/>
                    <a:gd name="connsiteY11" fmla="*/ 0 h 19771"/>
                    <a:gd name="connsiteX12" fmla="*/ 39339 w 40805"/>
                    <a:gd name="connsiteY12" fmla="*/ 5933 h 19771"/>
                    <a:gd name="connsiteX13" fmla="*/ 40480 w 40805"/>
                    <a:gd name="connsiteY13" fmla="*/ 7115 h 19771"/>
                    <a:gd name="connsiteX14" fmla="*/ 40805 w 40805"/>
                    <a:gd name="connsiteY14" fmla="*/ 8174 h 19771"/>
                    <a:gd name="connsiteX15" fmla="*/ 40414 w 40805"/>
                    <a:gd name="connsiteY15" fmla="*/ 10538 h 19771"/>
                    <a:gd name="connsiteX16" fmla="*/ 38295 w 40805"/>
                    <a:gd name="connsiteY16" fmla="*/ 10970 h 19771"/>
                    <a:gd name="connsiteX17" fmla="*/ 37465 w 40805"/>
                    <a:gd name="connsiteY17" fmla="*/ 12518 h 19771"/>
                    <a:gd name="connsiteX18" fmla="*/ 36576 w 40805"/>
                    <a:gd name="connsiteY18" fmla="*/ 17229 h 19771"/>
                    <a:gd name="connsiteX19" fmla="*/ 36145 w 40805"/>
                    <a:gd name="connsiteY19" fmla="*/ 18451 h 19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805" h="19771">
                      <a:moveTo>
                        <a:pt x="35027" y="19372"/>
                      </a:moveTo>
                      <a:lnTo>
                        <a:pt x="27954" y="19771"/>
                      </a:lnTo>
                      <a:lnTo>
                        <a:pt x="13879" y="15648"/>
                      </a:lnTo>
                      <a:lnTo>
                        <a:pt x="8826" y="13463"/>
                      </a:lnTo>
                      <a:lnTo>
                        <a:pt x="5078" y="10684"/>
                      </a:lnTo>
                      <a:lnTo>
                        <a:pt x="815" y="8737"/>
                      </a:lnTo>
                      <a:lnTo>
                        <a:pt x="0" y="7970"/>
                      </a:lnTo>
                      <a:lnTo>
                        <a:pt x="628" y="6365"/>
                      </a:lnTo>
                      <a:lnTo>
                        <a:pt x="1891" y="5118"/>
                      </a:lnTo>
                      <a:lnTo>
                        <a:pt x="6732" y="1817"/>
                      </a:lnTo>
                      <a:lnTo>
                        <a:pt x="10123" y="326"/>
                      </a:lnTo>
                      <a:lnTo>
                        <a:pt x="14124" y="0"/>
                      </a:lnTo>
                      <a:lnTo>
                        <a:pt x="39339" y="5933"/>
                      </a:lnTo>
                      <a:lnTo>
                        <a:pt x="40480" y="7115"/>
                      </a:lnTo>
                      <a:lnTo>
                        <a:pt x="40805" y="8174"/>
                      </a:lnTo>
                      <a:lnTo>
                        <a:pt x="40414" y="10538"/>
                      </a:lnTo>
                      <a:lnTo>
                        <a:pt x="38295" y="10970"/>
                      </a:lnTo>
                      <a:lnTo>
                        <a:pt x="37465" y="12518"/>
                      </a:lnTo>
                      <a:lnTo>
                        <a:pt x="36576" y="17229"/>
                      </a:lnTo>
                      <a:lnTo>
                        <a:pt x="36145" y="18451"/>
                      </a:lnTo>
                      <a:close/>
                    </a:path>
                  </a:pathLst>
                </a:custGeom>
                <a:solidFill>
                  <a:srgbClr val="D6D6D2"/>
                </a:solidFill>
                <a:ln w="8150" cap="flat">
                  <a:noFill/>
                  <a:prstDash val="solid"/>
                  <a:miter/>
                </a:ln>
              </p:spPr>
              <p:txBody>
                <a:bodyPr rtlCol="0" anchor="ctr"/>
                <a:lstStyle/>
                <a:p>
                  <a:endParaRPr lang="en-US"/>
                </a:p>
              </p:txBody>
            </p:sp>
            <p:sp>
              <p:nvSpPr>
                <p:cNvPr id="599" name="Freeform: Shape 598">
                  <a:extLst>
                    <a:ext uri="{FF2B5EF4-FFF2-40B4-BE49-F238E27FC236}">
                      <a16:creationId xmlns:a16="http://schemas.microsoft.com/office/drawing/2014/main" id="{A71B80CD-B1B4-4575-A906-BDB6867C27E7}"/>
                    </a:ext>
                  </a:extLst>
                </p:cNvPr>
                <p:cNvSpPr/>
                <p:nvPr/>
              </p:nvSpPr>
              <p:spPr>
                <a:xfrm>
                  <a:off x="7393893" y="2101451"/>
                  <a:ext cx="49795" cy="34725"/>
                </a:xfrm>
                <a:custGeom>
                  <a:avLst/>
                  <a:gdLst>
                    <a:gd name="connsiteX0" fmla="*/ 49037 w 49795"/>
                    <a:gd name="connsiteY0" fmla="*/ 23716 h 34725"/>
                    <a:gd name="connsiteX1" fmla="*/ 49795 w 49795"/>
                    <a:gd name="connsiteY1" fmla="*/ 25916 h 34725"/>
                    <a:gd name="connsiteX2" fmla="*/ 49705 w 49795"/>
                    <a:gd name="connsiteY2" fmla="*/ 29999 h 34725"/>
                    <a:gd name="connsiteX3" fmla="*/ 48792 w 49795"/>
                    <a:gd name="connsiteY3" fmla="*/ 33023 h 34725"/>
                    <a:gd name="connsiteX4" fmla="*/ 45981 w 49795"/>
                    <a:gd name="connsiteY4" fmla="*/ 33495 h 34725"/>
                    <a:gd name="connsiteX5" fmla="*/ 43234 w 49795"/>
                    <a:gd name="connsiteY5" fmla="*/ 34726 h 34725"/>
                    <a:gd name="connsiteX6" fmla="*/ 38516 w 49795"/>
                    <a:gd name="connsiteY6" fmla="*/ 33414 h 34725"/>
                    <a:gd name="connsiteX7" fmla="*/ 35867 w 49795"/>
                    <a:gd name="connsiteY7" fmla="*/ 34310 h 34725"/>
                    <a:gd name="connsiteX8" fmla="*/ 33227 w 49795"/>
                    <a:gd name="connsiteY8" fmla="*/ 34376 h 34725"/>
                    <a:gd name="connsiteX9" fmla="*/ 31035 w 49795"/>
                    <a:gd name="connsiteY9" fmla="*/ 33895 h 34725"/>
                    <a:gd name="connsiteX10" fmla="*/ 28875 w 49795"/>
                    <a:gd name="connsiteY10" fmla="*/ 33243 h 34725"/>
                    <a:gd name="connsiteX11" fmla="*/ 27408 w 49795"/>
                    <a:gd name="connsiteY11" fmla="*/ 32452 h 34725"/>
                    <a:gd name="connsiteX12" fmla="*/ 27489 w 49795"/>
                    <a:gd name="connsiteY12" fmla="*/ 30138 h 34725"/>
                    <a:gd name="connsiteX13" fmla="*/ 25542 w 49795"/>
                    <a:gd name="connsiteY13" fmla="*/ 26780 h 34725"/>
                    <a:gd name="connsiteX14" fmla="*/ 22534 w 49795"/>
                    <a:gd name="connsiteY14" fmla="*/ 25704 h 34725"/>
                    <a:gd name="connsiteX15" fmla="*/ 19731 w 49795"/>
                    <a:gd name="connsiteY15" fmla="*/ 25346 h 34725"/>
                    <a:gd name="connsiteX16" fmla="*/ 16650 w 49795"/>
                    <a:gd name="connsiteY16" fmla="*/ 24294 h 34725"/>
                    <a:gd name="connsiteX17" fmla="*/ 15118 w 49795"/>
                    <a:gd name="connsiteY17" fmla="*/ 24791 h 34725"/>
                    <a:gd name="connsiteX18" fmla="*/ 13170 w 49795"/>
                    <a:gd name="connsiteY18" fmla="*/ 26014 h 34725"/>
                    <a:gd name="connsiteX19" fmla="*/ 11899 w 49795"/>
                    <a:gd name="connsiteY19" fmla="*/ 25590 h 34725"/>
                    <a:gd name="connsiteX20" fmla="*/ 5134 w 49795"/>
                    <a:gd name="connsiteY20" fmla="*/ 18532 h 34725"/>
                    <a:gd name="connsiteX21" fmla="*/ 3993 w 49795"/>
                    <a:gd name="connsiteY21" fmla="*/ 16886 h 34725"/>
                    <a:gd name="connsiteX22" fmla="*/ 3277 w 49795"/>
                    <a:gd name="connsiteY22" fmla="*/ 15044 h 34725"/>
                    <a:gd name="connsiteX23" fmla="*/ 2355 w 49795"/>
                    <a:gd name="connsiteY23" fmla="*/ 13855 h 34725"/>
                    <a:gd name="connsiteX24" fmla="*/ 0 w 49795"/>
                    <a:gd name="connsiteY24" fmla="*/ 8891 h 34725"/>
                    <a:gd name="connsiteX25" fmla="*/ 1157 w 49795"/>
                    <a:gd name="connsiteY25" fmla="*/ 6585 h 34725"/>
                    <a:gd name="connsiteX26" fmla="*/ 3521 w 49795"/>
                    <a:gd name="connsiteY26" fmla="*/ 5126 h 34725"/>
                    <a:gd name="connsiteX27" fmla="*/ 5078 w 49795"/>
                    <a:gd name="connsiteY27" fmla="*/ 4735 h 34725"/>
                    <a:gd name="connsiteX28" fmla="*/ 7962 w 49795"/>
                    <a:gd name="connsiteY28" fmla="*/ 1442 h 34725"/>
                    <a:gd name="connsiteX29" fmla="*/ 13203 w 49795"/>
                    <a:gd name="connsiteY29" fmla="*/ 0 h 34725"/>
                    <a:gd name="connsiteX30" fmla="*/ 14262 w 49795"/>
                    <a:gd name="connsiteY30" fmla="*/ 204 h 34725"/>
                    <a:gd name="connsiteX31" fmla="*/ 15256 w 49795"/>
                    <a:gd name="connsiteY31" fmla="*/ 1255 h 34725"/>
                    <a:gd name="connsiteX32" fmla="*/ 20757 w 49795"/>
                    <a:gd name="connsiteY32" fmla="*/ 4645 h 34725"/>
                    <a:gd name="connsiteX33" fmla="*/ 23634 w 49795"/>
                    <a:gd name="connsiteY33" fmla="*/ 6911 h 34725"/>
                    <a:gd name="connsiteX34" fmla="*/ 26202 w 49795"/>
                    <a:gd name="connsiteY34" fmla="*/ 9690 h 34725"/>
                    <a:gd name="connsiteX35" fmla="*/ 28850 w 49795"/>
                    <a:gd name="connsiteY35" fmla="*/ 12013 h 34725"/>
                    <a:gd name="connsiteX36" fmla="*/ 36780 w 49795"/>
                    <a:gd name="connsiteY36" fmla="*/ 15982 h 34725"/>
                    <a:gd name="connsiteX37" fmla="*/ 42142 w 49795"/>
                    <a:gd name="connsiteY37" fmla="*/ 19796 h 34725"/>
                    <a:gd name="connsiteX38" fmla="*/ 47611 w 49795"/>
                    <a:gd name="connsiteY38" fmla="*/ 22493 h 34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9795" h="34725">
                      <a:moveTo>
                        <a:pt x="49037" y="23716"/>
                      </a:moveTo>
                      <a:lnTo>
                        <a:pt x="49795" y="25916"/>
                      </a:lnTo>
                      <a:lnTo>
                        <a:pt x="49705" y="29999"/>
                      </a:lnTo>
                      <a:lnTo>
                        <a:pt x="48792" y="33023"/>
                      </a:lnTo>
                      <a:lnTo>
                        <a:pt x="45981" y="33495"/>
                      </a:lnTo>
                      <a:lnTo>
                        <a:pt x="43234" y="34726"/>
                      </a:lnTo>
                      <a:lnTo>
                        <a:pt x="38516" y="33414"/>
                      </a:lnTo>
                      <a:lnTo>
                        <a:pt x="35867" y="34310"/>
                      </a:lnTo>
                      <a:lnTo>
                        <a:pt x="33227" y="34376"/>
                      </a:lnTo>
                      <a:lnTo>
                        <a:pt x="31035" y="33895"/>
                      </a:lnTo>
                      <a:lnTo>
                        <a:pt x="28875" y="33243"/>
                      </a:lnTo>
                      <a:lnTo>
                        <a:pt x="27408" y="32452"/>
                      </a:lnTo>
                      <a:lnTo>
                        <a:pt x="27489" y="30138"/>
                      </a:lnTo>
                      <a:lnTo>
                        <a:pt x="25542" y="26780"/>
                      </a:lnTo>
                      <a:lnTo>
                        <a:pt x="22534" y="25704"/>
                      </a:lnTo>
                      <a:lnTo>
                        <a:pt x="19731" y="25346"/>
                      </a:lnTo>
                      <a:lnTo>
                        <a:pt x="16650" y="24294"/>
                      </a:lnTo>
                      <a:lnTo>
                        <a:pt x="15118" y="24791"/>
                      </a:lnTo>
                      <a:lnTo>
                        <a:pt x="13170" y="26014"/>
                      </a:lnTo>
                      <a:lnTo>
                        <a:pt x="11899" y="25590"/>
                      </a:lnTo>
                      <a:lnTo>
                        <a:pt x="5134" y="18532"/>
                      </a:lnTo>
                      <a:lnTo>
                        <a:pt x="3993" y="16886"/>
                      </a:lnTo>
                      <a:lnTo>
                        <a:pt x="3277" y="15044"/>
                      </a:lnTo>
                      <a:lnTo>
                        <a:pt x="2355" y="13855"/>
                      </a:lnTo>
                      <a:lnTo>
                        <a:pt x="0" y="8891"/>
                      </a:lnTo>
                      <a:lnTo>
                        <a:pt x="1157" y="6585"/>
                      </a:lnTo>
                      <a:lnTo>
                        <a:pt x="3521" y="5126"/>
                      </a:lnTo>
                      <a:lnTo>
                        <a:pt x="5078" y="4735"/>
                      </a:lnTo>
                      <a:lnTo>
                        <a:pt x="7962" y="1442"/>
                      </a:lnTo>
                      <a:lnTo>
                        <a:pt x="13203" y="0"/>
                      </a:lnTo>
                      <a:lnTo>
                        <a:pt x="14262" y="204"/>
                      </a:lnTo>
                      <a:lnTo>
                        <a:pt x="15256" y="1255"/>
                      </a:lnTo>
                      <a:lnTo>
                        <a:pt x="20757" y="4645"/>
                      </a:lnTo>
                      <a:lnTo>
                        <a:pt x="23634" y="6911"/>
                      </a:lnTo>
                      <a:lnTo>
                        <a:pt x="26202" y="9690"/>
                      </a:lnTo>
                      <a:lnTo>
                        <a:pt x="28850" y="12013"/>
                      </a:lnTo>
                      <a:lnTo>
                        <a:pt x="36780" y="15982"/>
                      </a:lnTo>
                      <a:lnTo>
                        <a:pt x="42142" y="19796"/>
                      </a:lnTo>
                      <a:lnTo>
                        <a:pt x="47611" y="22493"/>
                      </a:lnTo>
                      <a:close/>
                    </a:path>
                  </a:pathLst>
                </a:custGeom>
                <a:solidFill>
                  <a:srgbClr val="D6D6D2"/>
                </a:solidFill>
                <a:ln w="8150" cap="flat">
                  <a:noFill/>
                  <a:prstDash val="solid"/>
                  <a:miter/>
                </a:ln>
              </p:spPr>
              <p:txBody>
                <a:bodyPr rtlCol="0" anchor="ctr"/>
                <a:lstStyle/>
                <a:p>
                  <a:endParaRPr lang="en-US"/>
                </a:p>
              </p:txBody>
            </p:sp>
            <p:sp>
              <p:nvSpPr>
                <p:cNvPr id="600" name="Freeform: Shape 599">
                  <a:extLst>
                    <a:ext uri="{FF2B5EF4-FFF2-40B4-BE49-F238E27FC236}">
                      <a16:creationId xmlns:a16="http://schemas.microsoft.com/office/drawing/2014/main" id="{92FF8445-FA6B-4572-B41B-A6ADF952B9E4}"/>
                    </a:ext>
                  </a:extLst>
                </p:cNvPr>
                <p:cNvSpPr/>
                <p:nvPr/>
              </p:nvSpPr>
              <p:spPr>
                <a:xfrm>
                  <a:off x="7239293" y="2059088"/>
                  <a:ext cx="23943" cy="19697"/>
                </a:xfrm>
                <a:custGeom>
                  <a:avLst/>
                  <a:gdLst>
                    <a:gd name="connsiteX0" fmla="*/ 16454 w 23943"/>
                    <a:gd name="connsiteY0" fmla="*/ 1752 h 19697"/>
                    <a:gd name="connsiteX1" fmla="*/ 18711 w 23943"/>
                    <a:gd name="connsiteY1" fmla="*/ 5102 h 19697"/>
                    <a:gd name="connsiteX2" fmla="*/ 20692 w 23943"/>
                    <a:gd name="connsiteY2" fmla="*/ 7514 h 19697"/>
                    <a:gd name="connsiteX3" fmla="*/ 22363 w 23943"/>
                    <a:gd name="connsiteY3" fmla="*/ 7335 h 19697"/>
                    <a:gd name="connsiteX4" fmla="*/ 23634 w 23943"/>
                    <a:gd name="connsiteY4" fmla="*/ 8541 h 19697"/>
                    <a:gd name="connsiteX5" fmla="*/ 23944 w 23943"/>
                    <a:gd name="connsiteY5" fmla="*/ 11059 h 19697"/>
                    <a:gd name="connsiteX6" fmla="*/ 20619 w 23943"/>
                    <a:gd name="connsiteY6" fmla="*/ 15338 h 19697"/>
                    <a:gd name="connsiteX7" fmla="*/ 20048 w 23943"/>
                    <a:gd name="connsiteY7" fmla="*/ 16878 h 19697"/>
                    <a:gd name="connsiteX8" fmla="*/ 21475 w 23943"/>
                    <a:gd name="connsiteY8" fmla="*/ 18321 h 19697"/>
                    <a:gd name="connsiteX9" fmla="*/ 21866 w 23943"/>
                    <a:gd name="connsiteY9" fmla="*/ 19087 h 19697"/>
                    <a:gd name="connsiteX10" fmla="*/ 19421 w 23943"/>
                    <a:gd name="connsiteY10" fmla="*/ 19698 h 19697"/>
                    <a:gd name="connsiteX11" fmla="*/ 18964 w 23943"/>
                    <a:gd name="connsiteY11" fmla="*/ 17758 h 19697"/>
                    <a:gd name="connsiteX12" fmla="*/ 17612 w 23943"/>
                    <a:gd name="connsiteY12" fmla="*/ 15859 h 19697"/>
                    <a:gd name="connsiteX13" fmla="*/ 14775 w 23943"/>
                    <a:gd name="connsiteY13" fmla="*/ 14409 h 19697"/>
                    <a:gd name="connsiteX14" fmla="*/ 13618 w 23943"/>
                    <a:gd name="connsiteY14" fmla="*/ 13088 h 19697"/>
                    <a:gd name="connsiteX15" fmla="*/ 12363 w 23943"/>
                    <a:gd name="connsiteY15" fmla="*/ 10106 h 19697"/>
                    <a:gd name="connsiteX16" fmla="*/ 7612 w 23943"/>
                    <a:gd name="connsiteY16" fmla="*/ 6952 h 19697"/>
                    <a:gd name="connsiteX17" fmla="*/ 4613 w 23943"/>
                    <a:gd name="connsiteY17" fmla="*/ 7457 h 19697"/>
                    <a:gd name="connsiteX18" fmla="*/ 1239 w 23943"/>
                    <a:gd name="connsiteY18" fmla="*/ 6047 h 19697"/>
                    <a:gd name="connsiteX19" fmla="*/ 244 w 23943"/>
                    <a:gd name="connsiteY19" fmla="*/ 5387 h 19697"/>
                    <a:gd name="connsiteX20" fmla="*/ 0 w 23943"/>
                    <a:gd name="connsiteY20" fmla="*/ 3578 h 19697"/>
                    <a:gd name="connsiteX21" fmla="*/ 1410 w 23943"/>
                    <a:gd name="connsiteY21" fmla="*/ 2119 h 19697"/>
                    <a:gd name="connsiteX22" fmla="*/ 6772 w 23943"/>
                    <a:gd name="connsiteY22" fmla="*/ 848 h 19697"/>
                    <a:gd name="connsiteX23" fmla="*/ 9364 w 23943"/>
                    <a:gd name="connsiteY23" fmla="*/ 921 h 19697"/>
                    <a:gd name="connsiteX24" fmla="*/ 12151 w 23943"/>
                    <a:gd name="connsiteY24" fmla="*/ 2200 h 19697"/>
                    <a:gd name="connsiteX25" fmla="*/ 11915 w 23943"/>
                    <a:gd name="connsiteY25" fmla="*/ 636 h 19697"/>
                    <a:gd name="connsiteX26" fmla="*/ 12216 w 23943"/>
                    <a:gd name="connsiteY26" fmla="*/ 0 h 19697"/>
                    <a:gd name="connsiteX27" fmla="*/ 13316 w 23943"/>
                    <a:gd name="connsiteY27" fmla="*/ 179 h 19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3943" h="19697">
                      <a:moveTo>
                        <a:pt x="16454" y="1752"/>
                      </a:moveTo>
                      <a:lnTo>
                        <a:pt x="18711" y="5102"/>
                      </a:lnTo>
                      <a:lnTo>
                        <a:pt x="20692" y="7514"/>
                      </a:lnTo>
                      <a:lnTo>
                        <a:pt x="22363" y="7335"/>
                      </a:lnTo>
                      <a:lnTo>
                        <a:pt x="23634" y="8541"/>
                      </a:lnTo>
                      <a:lnTo>
                        <a:pt x="23944" y="11059"/>
                      </a:lnTo>
                      <a:lnTo>
                        <a:pt x="20619" y="15338"/>
                      </a:lnTo>
                      <a:lnTo>
                        <a:pt x="20048" y="16878"/>
                      </a:lnTo>
                      <a:lnTo>
                        <a:pt x="21475" y="18321"/>
                      </a:lnTo>
                      <a:lnTo>
                        <a:pt x="21866" y="19087"/>
                      </a:lnTo>
                      <a:lnTo>
                        <a:pt x="19421" y="19698"/>
                      </a:lnTo>
                      <a:lnTo>
                        <a:pt x="18964" y="17758"/>
                      </a:lnTo>
                      <a:lnTo>
                        <a:pt x="17612" y="15859"/>
                      </a:lnTo>
                      <a:lnTo>
                        <a:pt x="14775" y="14409"/>
                      </a:lnTo>
                      <a:lnTo>
                        <a:pt x="13618" y="13088"/>
                      </a:lnTo>
                      <a:lnTo>
                        <a:pt x="12363" y="10106"/>
                      </a:lnTo>
                      <a:lnTo>
                        <a:pt x="7612" y="6952"/>
                      </a:lnTo>
                      <a:lnTo>
                        <a:pt x="4613" y="7457"/>
                      </a:lnTo>
                      <a:lnTo>
                        <a:pt x="1239" y="6047"/>
                      </a:lnTo>
                      <a:lnTo>
                        <a:pt x="244" y="5387"/>
                      </a:lnTo>
                      <a:lnTo>
                        <a:pt x="0" y="3578"/>
                      </a:lnTo>
                      <a:lnTo>
                        <a:pt x="1410" y="2119"/>
                      </a:lnTo>
                      <a:lnTo>
                        <a:pt x="6772" y="848"/>
                      </a:lnTo>
                      <a:lnTo>
                        <a:pt x="9364" y="921"/>
                      </a:lnTo>
                      <a:lnTo>
                        <a:pt x="12151" y="2200"/>
                      </a:lnTo>
                      <a:lnTo>
                        <a:pt x="11915" y="636"/>
                      </a:lnTo>
                      <a:lnTo>
                        <a:pt x="12216" y="0"/>
                      </a:lnTo>
                      <a:lnTo>
                        <a:pt x="13316" y="179"/>
                      </a:lnTo>
                      <a:close/>
                    </a:path>
                  </a:pathLst>
                </a:custGeom>
                <a:solidFill>
                  <a:srgbClr val="D6D6D2"/>
                </a:solidFill>
                <a:ln w="8150" cap="flat">
                  <a:noFill/>
                  <a:prstDash val="solid"/>
                  <a:miter/>
                </a:ln>
              </p:spPr>
              <p:txBody>
                <a:bodyPr rtlCol="0" anchor="ctr"/>
                <a:lstStyle/>
                <a:p>
                  <a:endParaRPr lang="en-US"/>
                </a:p>
              </p:txBody>
            </p:sp>
            <p:sp>
              <p:nvSpPr>
                <p:cNvPr id="601" name="Freeform: Shape 600">
                  <a:extLst>
                    <a:ext uri="{FF2B5EF4-FFF2-40B4-BE49-F238E27FC236}">
                      <a16:creationId xmlns:a16="http://schemas.microsoft.com/office/drawing/2014/main" id="{E8AF96A7-D68C-40E6-B78A-1426DAD91739}"/>
                    </a:ext>
                  </a:extLst>
                </p:cNvPr>
                <p:cNvSpPr/>
                <p:nvPr/>
              </p:nvSpPr>
              <p:spPr>
                <a:xfrm>
                  <a:off x="10374022" y="2050336"/>
                  <a:ext cx="96060" cy="35068"/>
                </a:xfrm>
                <a:custGeom>
                  <a:avLst/>
                  <a:gdLst>
                    <a:gd name="connsiteX0" fmla="*/ 34018 w 96060"/>
                    <a:gd name="connsiteY0" fmla="*/ 27351 h 35068"/>
                    <a:gd name="connsiteX1" fmla="*/ 31075 w 96060"/>
                    <a:gd name="connsiteY1" fmla="*/ 28133 h 35068"/>
                    <a:gd name="connsiteX2" fmla="*/ 25273 w 96060"/>
                    <a:gd name="connsiteY2" fmla="*/ 31605 h 35068"/>
                    <a:gd name="connsiteX3" fmla="*/ 12991 w 96060"/>
                    <a:gd name="connsiteY3" fmla="*/ 32436 h 35068"/>
                    <a:gd name="connsiteX4" fmla="*/ 5786 w 96060"/>
                    <a:gd name="connsiteY4" fmla="*/ 34865 h 35068"/>
                    <a:gd name="connsiteX5" fmla="*/ 4075 w 96060"/>
                    <a:gd name="connsiteY5" fmla="*/ 35068 h 35068"/>
                    <a:gd name="connsiteX6" fmla="*/ 489 w 96060"/>
                    <a:gd name="connsiteY6" fmla="*/ 27008 h 35068"/>
                    <a:gd name="connsiteX7" fmla="*/ 0 w 96060"/>
                    <a:gd name="connsiteY7" fmla="*/ 24897 h 35068"/>
                    <a:gd name="connsiteX8" fmla="*/ 1369 w 96060"/>
                    <a:gd name="connsiteY8" fmla="*/ 22257 h 35068"/>
                    <a:gd name="connsiteX9" fmla="*/ 4963 w 96060"/>
                    <a:gd name="connsiteY9" fmla="*/ 18989 h 35068"/>
                    <a:gd name="connsiteX10" fmla="*/ 6512 w 96060"/>
                    <a:gd name="connsiteY10" fmla="*/ 16577 h 35068"/>
                    <a:gd name="connsiteX11" fmla="*/ 15036 w 96060"/>
                    <a:gd name="connsiteY11" fmla="*/ 12347 h 35068"/>
                    <a:gd name="connsiteX12" fmla="*/ 22803 w 96060"/>
                    <a:gd name="connsiteY12" fmla="*/ 6756 h 35068"/>
                    <a:gd name="connsiteX13" fmla="*/ 26959 w 96060"/>
                    <a:gd name="connsiteY13" fmla="*/ 5909 h 35068"/>
                    <a:gd name="connsiteX14" fmla="*/ 31197 w 96060"/>
                    <a:gd name="connsiteY14" fmla="*/ 3317 h 35068"/>
                    <a:gd name="connsiteX15" fmla="*/ 34018 w 96060"/>
                    <a:gd name="connsiteY15" fmla="*/ 2657 h 35068"/>
                    <a:gd name="connsiteX16" fmla="*/ 34018 w 96060"/>
                    <a:gd name="connsiteY16" fmla="*/ 2657 h 35068"/>
                    <a:gd name="connsiteX17" fmla="*/ 37864 w 96060"/>
                    <a:gd name="connsiteY17" fmla="*/ 2062 h 35068"/>
                    <a:gd name="connsiteX18" fmla="*/ 41678 w 96060"/>
                    <a:gd name="connsiteY18" fmla="*/ 831 h 35068"/>
                    <a:gd name="connsiteX19" fmla="*/ 45264 w 96060"/>
                    <a:gd name="connsiteY19" fmla="*/ 628 h 35068"/>
                    <a:gd name="connsiteX20" fmla="*/ 48850 w 96060"/>
                    <a:gd name="connsiteY20" fmla="*/ 1345 h 35068"/>
                    <a:gd name="connsiteX21" fmla="*/ 52460 w 96060"/>
                    <a:gd name="connsiteY21" fmla="*/ 1117 h 35068"/>
                    <a:gd name="connsiteX22" fmla="*/ 56054 w 96060"/>
                    <a:gd name="connsiteY22" fmla="*/ 0 h 35068"/>
                    <a:gd name="connsiteX23" fmla="*/ 58963 w 96060"/>
                    <a:gd name="connsiteY23" fmla="*/ 139 h 35068"/>
                    <a:gd name="connsiteX24" fmla="*/ 61881 w 96060"/>
                    <a:gd name="connsiteY24" fmla="*/ 880 h 35068"/>
                    <a:gd name="connsiteX25" fmla="*/ 72745 w 96060"/>
                    <a:gd name="connsiteY25" fmla="*/ 2502 h 35068"/>
                    <a:gd name="connsiteX26" fmla="*/ 74848 w 96060"/>
                    <a:gd name="connsiteY26" fmla="*/ 3048 h 35068"/>
                    <a:gd name="connsiteX27" fmla="*/ 78295 w 96060"/>
                    <a:gd name="connsiteY27" fmla="*/ 5208 h 35068"/>
                    <a:gd name="connsiteX28" fmla="*/ 80300 w 96060"/>
                    <a:gd name="connsiteY28" fmla="*/ 5949 h 35068"/>
                    <a:gd name="connsiteX29" fmla="*/ 82215 w 96060"/>
                    <a:gd name="connsiteY29" fmla="*/ 7213 h 35068"/>
                    <a:gd name="connsiteX30" fmla="*/ 84252 w 96060"/>
                    <a:gd name="connsiteY30" fmla="*/ 9356 h 35068"/>
                    <a:gd name="connsiteX31" fmla="*/ 88164 w 96060"/>
                    <a:gd name="connsiteY31" fmla="*/ 11646 h 35068"/>
                    <a:gd name="connsiteX32" fmla="*/ 93934 w 96060"/>
                    <a:gd name="connsiteY32" fmla="*/ 14286 h 35068"/>
                    <a:gd name="connsiteX33" fmla="*/ 95230 w 96060"/>
                    <a:gd name="connsiteY33" fmla="*/ 15134 h 35068"/>
                    <a:gd name="connsiteX34" fmla="*/ 96061 w 96060"/>
                    <a:gd name="connsiteY34" fmla="*/ 17123 h 35068"/>
                    <a:gd name="connsiteX35" fmla="*/ 95442 w 96060"/>
                    <a:gd name="connsiteY35" fmla="*/ 19486 h 35068"/>
                    <a:gd name="connsiteX36" fmla="*/ 88033 w 96060"/>
                    <a:gd name="connsiteY36" fmla="*/ 23985 h 35068"/>
                    <a:gd name="connsiteX37" fmla="*/ 82068 w 96060"/>
                    <a:gd name="connsiteY37" fmla="*/ 25142 h 35068"/>
                    <a:gd name="connsiteX38" fmla="*/ 70528 w 96060"/>
                    <a:gd name="connsiteY38" fmla="*/ 26364 h 35068"/>
                    <a:gd name="connsiteX39" fmla="*/ 54929 w 96060"/>
                    <a:gd name="connsiteY39" fmla="*/ 29755 h 35068"/>
                    <a:gd name="connsiteX40" fmla="*/ 48515 w 96060"/>
                    <a:gd name="connsiteY40" fmla="*/ 30692 h 35068"/>
                    <a:gd name="connsiteX41" fmla="*/ 46258 w 96060"/>
                    <a:gd name="connsiteY41" fmla="*/ 30496 h 35068"/>
                    <a:gd name="connsiteX42" fmla="*/ 40610 w 96060"/>
                    <a:gd name="connsiteY42" fmla="*/ 28312 h 35068"/>
                    <a:gd name="connsiteX43" fmla="*/ 34018 w 96060"/>
                    <a:gd name="connsiteY43" fmla="*/ 27351 h 35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96060" h="35068">
                      <a:moveTo>
                        <a:pt x="34018" y="27351"/>
                      </a:moveTo>
                      <a:lnTo>
                        <a:pt x="31075" y="28133"/>
                      </a:lnTo>
                      <a:lnTo>
                        <a:pt x="25273" y="31605"/>
                      </a:lnTo>
                      <a:lnTo>
                        <a:pt x="12991" y="32436"/>
                      </a:lnTo>
                      <a:lnTo>
                        <a:pt x="5786" y="34865"/>
                      </a:lnTo>
                      <a:lnTo>
                        <a:pt x="4075" y="35068"/>
                      </a:lnTo>
                      <a:lnTo>
                        <a:pt x="489" y="27008"/>
                      </a:lnTo>
                      <a:lnTo>
                        <a:pt x="0" y="24897"/>
                      </a:lnTo>
                      <a:lnTo>
                        <a:pt x="1369" y="22257"/>
                      </a:lnTo>
                      <a:lnTo>
                        <a:pt x="4963" y="18989"/>
                      </a:lnTo>
                      <a:lnTo>
                        <a:pt x="6512" y="16577"/>
                      </a:lnTo>
                      <a:lnTo>
                        <a:pt x="15036" y="12347"/>
                      </a:lnTo>
                      <a:lnTo>
                        <a:pt x="22803" y="6756"/>
                      </a:lnTo>
                      <a:lnTo>
                        <a:pt x="26959" y="5909"/>
                      </a:lnTo>
                      <a:lnTo>
                        <a:pt x="31197" y="3317"/>
                      </a:lnTo>
                      <a:lnTo>
                        <a:pt x="34018" y="2657"/>
                      </a:lnTo>
                      <a:lnTo>
                        <a:pt x="34018" y="2657"/>
                      </a:lnTo>
                      <a:lnTo>
                        <a:pt x="37864" y="2062"/>
                      </a:lnTo>
                      <a:lnTo>
                        <a:pt x="41678" y="831"/>
                      </a:lnTo>
                      <a:lnTo>
                        <a:pt x="45264" y="628"/>
                      </a:lnTo>
                      <a:lnTo>
                        <a:pt x="48850" y="1345"/>
                      </a:lnTo>
                      <a:lnTo>
                        <a:pt x="52460" y="1117"/>
                      </a:lnTo>
                      <a:lnTo>
                        <a:pt x="56054" y="0"/>
                      </a:lnTo>
                      <a:lnTo>
                        <a:pt x="58963" y="139"/>
                      </a:lnTo>
                      <a:lnTo>
                        <a:pt x="61881" y="880"/>
                      </a:lnTo>
                      <a:lnTo>
                        <a:pt x="72745" y="2502"/>
                      </a:lnTo>
                      <a:lnTo>
                        <a:pt x="74848" y="3048"/>
                      </a:lnTo>
                      <a:lnTo>
                        <a:pt x="78295" y="5208"/>
                      </a:lnTo>
                      <a:lnTo>
                        <a:pt x="80300" y="5949"/>
                      </a:lnTo>
                      <a:lnTo>
                        <a:pt x="82215" y="7213"/>
                      </a:lnTo>
                      <a:lnTo>
                        <a:pt x="84252" y="9356"/>
                      </a:lnTo>
                      <a:lnTo>
                        <a:pt x="88164" y="11646"/>
                      </a:lnTo>
                      <a:lnTo>
                        <a:pt x="93934" y="14286"/>
                      </a:lnTo>
                      <a:lnTo>
                        <a:pt x="95230" y="15134"/>
                      </a:lnTo>
                      <a:lnTo>
                        <a:pt x="96061" y="17123"/>
                      </a:lnTo>
                      <a:lnTo>
                        <a:pt x="95442" y="19486"/>
                      </a:lnTo>
                      <a:lnTo>
                        <a:pt x="88033" y="23985"/>
                      </a:lnTo>
                      <a:lnTo>
                        <a:pt x="82068" y="25142"/>
                      </a:lnTo>
                      <a:lnTo>
                        <a:pt x="70528" y="26364"/>
                      </a:lnTo>
                      <a:lnTo>
                        <a:pt x="54929" y="29755"/>
                      </a:lnTo>
                      <a:lnTo>
                        <a:pt x="48515" y="30692"/>
                      </a:lnTo>
                      <a:lnTo>
                        <a:pt x="46258" y="30496"/>
                      </a:lnTo>
                      <a:lnTo>
                        <a:pt x="40610" y="28312"/>
                      </a:lnTo>
                      <a:lnTo>
                        <a:pt x="34018" y="27351"/>
                      </a:lnTo>
                      <a:close/>
                    </a:path>
                  </a:pathLst>
                </a:custGeom>
                <a:solidFill>
                  <a:srgbClr val="D6D6D2"/>
                </a:solidFill>
                <a:ln w="8150" cap="flat">
                  <a:noFill/>
                  <a:prstDash val="solid"/>
                  <a:miter/>
                </a:ln>
              </p:spPr>
              <p:txBody>
                <a:bodyPr rtlCol="0" anchor="ctr"/>
                <a:lstStyle/>
                <a:p>
                  <a:endParaRPr lang="en-US"/>
                </a:p>
              </p:txBody>
            </p:sp>
            <p:sp>
              <p:nvSpPr>
                <p:cNvPr id="602" name="Freeform: Shape 601">
                  <a:extLst>
                    <a:ext uri="{FF2B5EF4-FFF2-40B4-BE49-F238E27FC236}">
                      <a16:creationId xmlns:a16="http://schemas.microsoft.com/office/drawing/2014/main" id="{5E45F477-DECF-4193-9FCC-739B60359A66}"/>
                    </a:ext>
                  </a:extLst>
                </p:cNvPr>
                <p:cNvSpPr/>
                <p:nvPr/>
              </p:nvSpPr>
              <p:spPr>
                <a:xfrm>
                  <a:off x="7850205" y="2002920"/>
                  <a:ext cx="37056" cy="16079"/>
                </a:xfrm>
                <a:custGeom>
                  <a:avLst/>
                  <a:gdLst>
                    <a:gd name="connsiteX0" fmla="*/ 18883 w 37056"/>
                    <a:gd name="connsiteY0" fmla="*/ 15639 h 16079"/>
                    <a:gd name="connsiteX1" fmla="*/ 6813 w 37056"/>
                    <a:gd name="connsiteY1" fmla="*/ 16079 h 16079"/>
                    <a:gd name="connsiteX2" fmla="*/ 872 w 37056"/>
                    <a:gd name="connsiteY2" fmla="*/ 15354 h 16079"/>
                    <a:gd name="connsiteX3" fmla="*/ 0 w 37056"/>
                    <a:gd name="connsiteY3" fmla="*/ 14466 h 16079"/>
                    <a:gd name="connsiteX4" fmla="*/ 798 w 37056"/>
                    <a:gd name="connsiteY4" fmla="*/ 12233 h 16079"/>
                    <a:gd name="connsiteX5" fmla="*/ 6903 w 37056"/>
                    <a:gd name="connsiteY5" fmla="*/ 8851 h 16079"/>
                    <a:gd name="connsiteX6" fmla="*/ 9665 w 37056"/>
                    <a:gd name="connsiteY6" fmla="*/ 6691 h 16079"/>
                    <a:gd name="connsiteX7" fmla="*/ 12575 w 37056"/>
                    <a:gd name="connsiteY7" fmla="*/ 3040 h 16079"/>
                    <a:gd name="connsiteX8" fmla="*/ 17546 w 37056"/>
                    <a:gd name="connsiteY8" fmla="*/ 24 h 16079"/>
                    <a:gd name="connsiteX9" fmla="*/ 21768 w 37056"/>
                    <a:gd name="connsiteY9" fmla="*/ 0 h 16079"/>
                    <a:gd name="connsiteX10" fmla="*/ 34921 w 37056"/>
                    <a:gd name="connsiteY10" fmla="*/ 3594 h 16079"/>
                    <a:gd name="connsiteX11" fmla="*/ 36755 w 37056"/>
                    <a:gd name="connsiteY11" fmla="*/ 5852 h 16079"/>
                    <a:gd name="connsiteX12" fmla="*/ 37057 w 37056"/>
                    <a:gd name="connsiteY12" fmla="*/ 6854 h 16079"/>
                    <a:gd name="connsiteX13" fmla="*/ 31833 w 37056"/>
                    <a:gd name="connsiteY13" fmla="*/ 9869 h 16079"/>
                    <a:gd name="connsiteX14" fmla="*/ 28182 w 37056"/>
                    <a:gd name="connsiteY14" fmla="*/ 11002 h 16079"/>
                    <a:gd name="connsiteX15" fmla="*/ 22575 w 37056"/>
                    <a:gd name="connsiteY15" fmla="*/ 14857 h 16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056" h="16079">
                      <a:moveTo>
                        <a:pt x="18883" y="15639"/>
                      </a:moveTo>
                      <a:lnTo>
                        <a:pt x="6813" y="16079"/>
                      </a:lnTo>
                      <a:lnTo>
                        <a:pt x="872" y="15354"/>
                      </a:lnTo>
                      <a:lnTo>
                        <a:pt x="0" y="14466"/>
                      </a:lnTo>
                      <a:lnTo>
                        <a:pt x="798" y="12233"/>
                      </a:lnTo>
                      <a:lnTo>
                        <a:pt x="6903" y="8851"/>
                      </a:lnTo>
                      <a:lnTo>
                        <a:pt x="9665" y="6691"/>
                      </a:lnTo>
                      <a:lnTo>
                        <a:pt x="12575" y="3040"/>
                      </a:lnTo>
                      <a:lnTo>
                        <a:pt x="17546" y="24"/>
                      </a:lnTo>
                      <a:lnTo>
                        <a:pt x="21768" y="0"/>
                      </a:lnTo>
                      <a:lnTo>
                        <a:pt x="34921" y="3594"/>
                      </a:lnTo>
                      <a:lnTo>
                        <a:pt x="36755" y="5852"/>
                      </a:lnTo>
                      <a:lnTo>
                        <a:pt x="37057" y="6854"/>
                      </a:lnTo>
                      <a:lnTo>
                        <a:pt x="31833" y="9869"/>
                      </a:lnTo>
                      <a:lnTo>
                        <a:pt x="28182" y="11002"/>
                      </a:lnTo>
                      <a:lnTo>
                        <a:pt x="22575" y="14857"/>
                      </a:lnTo>
                      <a:close/>
                    </a:path>
                  </a:pathLst>
                </a:custGeom>
                <a:solidFill>
                  <a:srgbClr val="D6D6D2"/>
                </a:solidFill>
                <a:ln w="8150" cap="flat">
                  <a:noFill/>
                  <a:prstDash val="solid"/>
                  <a:miter/>
                </a:ln>
              </p:spPr>
              <p:txBody>
                <a:bodyPr rtlCol="0" anchor="ctr"/>
                <a:lstStyle/>
                <a:p>
                  <a:endParaRPr lang="en-US"/>
                </a:p>
              </p:txBody>
            </p:sp>
            <p:sp>
              <p:nvSpPr>
                <p:cNvPr id="603" name="Freeform: Shape 602">
                  <a:extLst>
                    <a:ext uri="{FF2B5EF4-FFF2-40B4-BE49-F238E27FC236}">
                      <a16:creationId xmlns:a16="http://schemas.microsoft.com/office/drawing/2014/main" id="{5D54D260-2977-48EE-AFF1-7B9C97C5D110}"/>
                    </a:ext>
                  </a:extLst>
                </p:cNvPr>
                <p:cNvSpPr/>
                <p:nvPr/>
              </p:nvSpPr>
              <p:spPr>
                <a:xfrm>
                  <a:off x="7893904" y="1981511"/>
                  <a:ext cx="22525" cy="17750"/>
                </a:xfrm>
                <a:custGeom>
                  <a:avLst/>
                  <a:gdLst>
                    <a:gd name="connsiteX0" fmla="*/ 21548 w 22525"/>
                    <a:gd name="connsiteY0" fmla="*/ 17229 h 17750"/>
                    <a:gd name="connsiteX1" fmla="*/ 19779 w 22525"/>
                    <a:gd name="connsiteY1" fmla="*/ 17750 h 17750"/>
                    <a:gd name="connsiteX2" fmla="*/ 6137 w 22525"/>
                    <a:gd name="connsiteY2" fmla="*/ 15859 h 17750"/>
                    <a:gd name="connsiteX3" fmla="*/ 1418 w 22525"/>
                    <a:gd name="connsiteY3" fmla="*/ 13463 h 17750"/>
                    <a:gd name="connsiteX4" fmla="*/ 0 w 22525"/>
                    <a:gd name="connsiteY4" fmla="*/ 11279 h 17750"/>
                    <a:gd name="connsiteX5" fmla="*/ 587 w 22525"/>
                    <a:gd name="connsiteY5" fmla="*/ 9356 h 17750"/>
                    <a:gd name="connsiteX6" fmla="*/ 13178 w 22525"/>
                    <a:gd name="connsiteY6" fmla="*/ 0 h 17750"/>
                    <a:gd name="connsiteX7" fmla="*/ 17945 w 22525"/>
                    <a:gd name="connsiteY7" fmla="*/ 2575 h 17750"/>
                    <a:gd name="connsiteX8" fmla="*/ 19331 w 22525"/>
                    <a:gd name="connsiteY8" fmla="*/ 5151 h 17750"/>
                    <a:gd name="connsiteX9" fmla="*/ 22526 w 22525"/>
                    <a:gd name="connsiteY9" fmla="*/ 8142 h 17750"/>
                    <a:gd name="connsiteX10" fmla="*/ 22444 w 22525"/>
                    <a:gd name="connsiteY10" fmla="*/ 15044 h 1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525" h="17750">
                      <a:moveTo>
                        <a:pt x="21548" y="17229"/>
                      </a:moveTo>
                      <a:lnTo>
                        <a:pt x="19779" y="17750"/>
                      </a:lnTo>
                      <a:lnTo>
                        <a:pt x="6137" y="15859"/>
                      </a:lnTo>
                      <a:lnTo>
                        <a:pt x="1418" y="13463"/>
                      </a:lnTo>
                      <a:lnTo>
                        <a:pt x="0" y="11279"/>
                      </a:lnTo>
                      <a:lnTo>
                        <a:pt x="587" y="9356"/>
                      </a:lnTo>
                      <a:lnTo>
                        <a:pt x="13178" y="0"/>
                      </a:lnTo>
                      <a:lnTo>
                        <a:pt x="17945" y="2575"/>
                      </a:lnTo>
                      <a:lnTo>
                        <a:pt x="19331" y="5151"/>
                      </a:lnTo>
                      <a:lnTo>
                        <a:pt x="22526" y="8142"/>
                      </a:lnTo>
                      <a:lnTo>
                        <a:pt x="22444" y="15044"/>
                      </a:lnTo>
                      <a:close/>
                    </a:path>
                  </a:pathLst>
                </a:custGeom>
                <a:solidFill>
                  <a:srgbClr val="D6D6D2"/>
                </a:solidFill>
                <a:ln w="8150" cap="flat">
                  <a:noFill/>
                  <a:prstDash val="solid"/>
                  <a:miter/>
                </a:ln>
              </p:spPr>
              <p:txBody>
                <a:bodyPr rtlCol="0" anchor="ctr"/>
                <a:lstStyle/>
                <a:p>
                  <a:endParaRPr lang="en-US"/>
                </a:p>
              </p:txBody>
            </p:sp>
            <p:sp>
              <p:nvSpPr>
                <p:cNvPr id="604" name="Freeform: Shape 603">
                  <a:extLst>
                    <a:ext uri="{FF2B5EF4-FFF2-40B4-BE49-F238E27FC236}">
                      <a16:creationId xmlns:a16="http://schemas.microsoft.com/office/drawing/2014/main" id="{F748B128-1C9C-403C-86DB-AD230E3B68E6}"/>
                    </a:ext>
                  </a:extLst>
                </p:cNvPr>
                <p:cNvSpPr/>
                <p:nvPr/>
              </p:nvSpPr>
              <p:spPr>
                <a:xfrm>
                  <a:off x="7781486" y="1979832"/>
                  <a:ext cx="21360" cy="12355"/>
                </a:xfrm>
                <a:custGeom>
                  <a:avLst/>
                  <a:gdLst>
                    <a:gd name="connsiteX0" fmla="*/ 13895 w 21360"/>
                    <a:gd name="connsiteY0" fmla="*/ 11907 h 12355"/>
                    <a:gd name="connsiteX1" fmla="*/ 13341 w 21360"/>
                    <a:gd name="connsiteY1" fmla="*/ 12355 h 12355"/>
                    <a:gd name="connsiteX2" fmla="*/ 12094 w 21360"/>
                    <a:gd name="connsiteY2" fmla="*/ 11540 h 12355"/>
                    <a:gd name="connsiteX3" fmla="*/ 8288 w 21360"/>
                    <a:gd name="connsiteY3" fmla="*/ 10326 h 12355"/>
                    <a:gd name="connsiteX4" fmla="*/ 1997 w 21360"/>
                    <a:gd name="connsiteY4" fmla="*/ 7188 h 12355"/>
                    <a:gd name="connsiteX5" fmla="*/ 0 w 21360"/>
                    <a:gd name="connsiteY5" fmla="*/ 5053 h 12355"/>
                    <a:gd name="connsiteX6" fmla="*/ 1043 w 21360"/>
                    <a:gd name="connsiteY6" fmla="*/ 2600 h 12355"/>
                    <a:gd name="connsiteX7" fmla="*/ 2428 w 21360"/>
                    <a:gd name="connsiteY7" fmla="*/ 986 h 12355"/>
                    <a:gd name="connsiteX8" fmla="*/ 7653 w 21360"/>
                    <a:gd name="connsiteY8" fmla="*/ 0 h 12355"/>
                    <a:gd name="connsiteX9" fmla="*/ 12388 w 21360"/>
                    <a:gd name="connsiteY9" fmla="*/ 399 h 12355"/>
                    <a:gd name="connsiteX10" fmla="*/ 15501 w 21360"/>
                    <a:gd name="connsiteY10" fmla="*/ 1035 h 12355"/>
                    <a:gd name="connsiteX11" fmla="*/ 21360 w 21360"/>
                    <a:gd name="connsiteY11" fmla="*/ 3146 h 12355"/>
                    <a:gd name="connsiteX12" fmla="*/ 15933 w 21360"/>
                    <a:gd name="connsiteY12" fmla="*/ 4531 h 12355"/>
                    <a:gd name="connsiteX13" fmla="*/ 13561 w 21360"/>
                    <a:gd name="connsiteY13" fmla="*/ 7481 h 12355"/>
                    <a:gd name="connsiteX14" fmla="*/ 13887 w 21360"/>
                    <a:gd name="connsiteY14" fmla="*/ 9323 h 12355"/>
                    <a:gd name="connsiteX15" fmla="*/ 14800 w 21360"/>
                    <a:gd name="connsiteY15" fmla="*/ 10326 h 12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360" h="12355">
                      <a:moveTo>
                        <a:pt x="13895" y="11907"/>
                      </a:moveTo>
                      <a:lnTo>
                        <a:pt x="13341" y="12355"/>
                      </a:lnTo>
                      <a:lnTo>
                        <a:pt x="12094" y="11540"/>
                      </a:lnTo>
                      <a:lnTo>
                        <a:pt x="8288" y="10326"/>
                      </a:lnTo>
                      <a:lnTo>
                        <a:pt x="1997" y="7188"/>
                      </a:lnTo>
                      <a:lnTo>
                        <a:pt x="0" y="5053"/>
                      </a:lnTo>
                      <a:lnTo>
                        <a:pt x="1043" y="2600"/>
                      </a:lnTo>
                      <a:lnTo>
                        <a:pt x="2428" y="986"/>
                      </a:lnTo>
                      <a:lnTo>
                        <a:pt x="7653" y="0"/>
                      </a:lnTo>
                      <a:lnTo>
                        <a:pt x="12388" y="399"/>
                      </a:lnTo>
                      <a:lnTo>
                        <a:pt x="15501" y="1035"/>
                      </a:lnTo>
                      <a:lnTo>
                        <a:pt x="21360" y="3146"/>
                      </a:lnTo>
                      <a:lnTo>
                        <a:pt x="15933" y="4531"/>
                      </a:lnTo>
                      <a:lnTo>
                        <a:pt x="13561" y="7481"/>
                      </a:lnTo>
                      <a:lnTo>
                        <a:pt x="13887" y="9323"/>
                      </a:lnTo>
                      <a:lnTo>
                        <a:pt x="14800" y="10326"/>
                      </a:lnTo>
                      <a:close/>
                    </a:path>
                  </a:pathLst>
                </a:custGeom>
                <a:solidFill>
                  <a:srgbClr val="D6D6D2"/>
                </a:solidFill>
                <a:ln w="8150" cap="flat">
                  <a:noFill/>
                  <a:prstDash val="solid"/>
                  <a:miter/>
                </a:ln>
              </p:spPr>
              <p:txBody>
                <a:bodyPr rtlCol="0" anchor="ctr"/>
                <a:lstStyle/>
                <a:p>
                  <a:endParaRPr lang="en-US"/>
                </a:p>
              </p:txBody>
            </p:sp>
            <p:sp>
              <p:nvSpPr>
                <p:cNvPr id="605" name="Freeform: Shape 604">
                  <a:extLst>
                    <a:ext uri="{FF2B5EF4-FFF2-40B4-BE49-F238E27FC236}">
                      <a16:creationId xmlns:a16="http://schemas.microsoft.com/office/drawing/2014/main" id="{4B71276D-7A16-4142-B456-18084D395B1E}"/>
                    </a:ext>
                  </a:extLst>
                </p:cNvPr>
                <p:cNvSpPr/>
                <p:nvPr/>
              </p:nvSpPr>
              <p:spPr>
                <a:xfrm>
                  <a:off x="7219179" y="1967877"/>
                  <a:ext cx="153695" cy="129181"/>
                </a:xfrm>
                <a:custGeom>
                  <a:avLst/>
                  <a:gdLst>
                    <a:gd name="connsiteX0" fmla="*/ 96501 w 153695"/>
                    <a:gd name="connsiteY0" fmla="*/ 3684 h 129181"/>
                    <a:gd name="connsiteX1" fmla="*/ 108106 w 153695"/>
                    <a:gd name="connsiteY1" fmla="*/ 5534 h 129181"/>
                    <a:gd name="connsiteX2" fmla="*/ 116786 w 153695"/>
                    <a:gd name="connsiteY2" fmla="*/ 6112 h 129181"/>
                    <a:gd name="connsiteX3" fmla="*/ 122075 w 153695"/>
                    <a:gd name="connsiteY3" fmla="*/ 7538 h 129181"/>
                    <a:gd name="connsiteX4" fmla="*/ 124031 w 153695"/>
                    <a:gd name="connsiteY4" fmla="*/ 8671 h 129181"/>
                    <a:gd name="connsiteX5" fmla="*/ 123232 w 153695"/>
                    <a:gd name="connsiteY5" fmla="*/ 11548 h 129181"/>
                    <a:gd name="connsiteX6" fmla="*/ 121675 w 153695"/>
                    <a:gd name="connsiteY6" fmla="*/ 12730 h 129181"/>
                    <a:gd name="connsiteX7" fmla="*/ 118065 w 153695"/>
                    <a:gd name="connsiteY7" fmla="*/ 16479 h 129181"/>
                    <a:gd name="connsiteX8" fmla="*/ 117519 w 153695"/>
                    <a:gd name="connsiteY8" fmla="*/ 18785 h 129181"/>
                    <a:gd name="connsiteX9" fmla="*/ 118163 w 153695"/>
                    <a:gd name="connsiteY9" fmla="*/ 22404 h 129181"/>
                    <a:gd name="connsiteX10" fmla="*/ 117609 w 153695"/>
                    <a:gd name="connsiteY10" fmla="*/ 25036 h 129181"/>
                    <a:gd name="connsiteX11" fmla="*/ 116403 w 153695"/>
                    <a:gd name="connsiteY11" fmla="*/ 26951 h 129181"/>
                    <a:gd name="connsiteX12" fmla="*/ 115449 w 153695"/>
                    <a:gd name="connsiteY12" fmla="*/ 27742 h 129181"/>
                    <a:gd name="connsiteX13" fmla="*/ 108905 w 153695"/>
                    <a:gd name="connsiteY13" fmla="*/ 27742 h 129181"/>
                    <a:gd name="connsiteX14" fmla="*/ 106525 w 153695"/>
                    <a:gd name="connsiteY14" fmla="*/ 28809 h 129181"/>
                    <a:gd name="connsiteX15" fmla="*/ 106395 w 153695"/>
                    <a:gd name="connsiteY15" fmla="*/ 30879 h 129181"/>
                    <a:gd name="connsiteX16" fmla="*/ 105963 w 153695"/>
                    <a:gd name="connsiteY16" fmla="*/ 33178 h 129181"/>
                    <a:gd name="connsiteX17" fmla="*/ 103860 w 153695"/>
                    <a:gd name="connsiteY17" fmla="*/ 36527 h 129181"/>
                    <a:gd name="connsiteX18" fmla="*/ 99516 w 153695"/>
                    <a:gd name="connsiteY18" fmla="*/ 37619 h 129181"/>
                    <a:gd name="connsiteX19" fmla="*/ 98587 w 153695"/>
                    <a:gd name="connsiteY19" fmla="*/ 38834 h 129181"/>
                    <a:gd name="connsiteX20" fmla="*/ 98914 w 153695"/>
                    <a:gd name="connsiteY20" fmla="*/ 41034 h 129181"/>
                    <a:gd name="connsiteX21" fmla="*/ 97406 w 153695"/>
                    <a:gd name="connsiteY21" fmla="*/ 42696 h 129181"/>
                    <a:gd name="connsiteX22" fmla="*/ 97495 w 153695"/>
                    <a:gd name="connsiteY22" fmla="*/ 45296 h 129181"/>
                    <a:gd name="connsiteX23" fmla="*/ 98261 w 153695"/>
                    <a:gd name="connsiteY23" fmla="*/ 46714 h 129181"/>
                    <a:gd name="connsiteX24" fmla="*/ 98465 w 153695"/>
                    <a:gd name="connsiteY24" fmla="*/ 49664 h 129181"/>
                    <a:gd name="connsiteX25" fmla="*/ 101423 w 153695"/>
                    <a:gd name="connsiteY25" fmla="*/ 53927 h 129181"/>
                    <a:gd name="connsiteX26" fmla="*/ 100845 w 153695"/>
                    <a:gd name="connsiteY26" fmla="*/ 55695 h 129181"/>
                    <a:gd name="connsiteX27" fmla="*/ 98587 w 153695"/>
                    <a:gd name="connsiteY27" fmla="*/ 59143 h 129181"/>
                    <a:gd name="connsiteX28" fmla="*/ 97878 w 153695"/>
                    <a:gd name="connsiteY28" fmla="*/ 63356 h 129181"/>
                    <a:gd name="connsiteX29" fmla="*/ 95963 w 153695"/>
                    <a:gd name="connsiteY29" fmla="*/ 66991 h 129181"/>
                    <a:gd name="connsiteX30" fmla="*/ 100258 w 153695"/>
                    <a:gd name="connsiteY30" fmla="*/ 70014 h 129181"/>
                    <a:gd name="connsiteX31" fmla="*/ 102141 w 153695"/>
                    <a:gd name="connsiteY31" fmla="*/ 73934 h 129181"/>
                    <a:gd name="connsiteX32" fmla="*/ 103795 w 153695"/>
                    <a:gd name="connsiteY32" fmla="*/ 78197 h 129181"/>
                    <a:gd name="connsiteX33" fmla="*/ 108897 w 153695"/>
                    <a:gd name="connsiteY33" fmla="*/ 86493 h 129181"/>
                    <a:gd name="connsiteX34" fmla="*/ 114447 w 153695"/>
                    <a:gd name="connsiteY34" fmla="*/ 93844 h 129181"/>
                    <a:gd name="connsiteX35" fmla="*/ 124642 w 153695"/>
                    <a:gd name="connsiteY35" fmla="*/ 104643 h 129181"/>
                    <a:gd name="connsiteX36" fmla="*/ 135571 w 153695"/>
                    <a:gd name="connsiteY36" fmla="*/ 112792 h 129181"/>
                    <a:gd name="connsiteX37" fmla="*/ 139809 w 153695"/>
                    <a:gd name="connsiteY37" fmla="*/ 115091 h 129181"/>
                    <a:gd name="connsiteX38" fmla="*/ 150175 w 153695"/>
                    <a:gd name="connsiteY38" fmla="*/ 118864 h 129181"/>
                    <a:gd name="connsiteX39" fmla="*/ 151984 w 153695"/>
                    <a:gd name="connsiteY39" fmla="*/ 120054 h 129181"/>
                    <a:gd name="connsiteX40" fmla="*/ 153696 w 153695"/>
                    <a:gd name="connsiteY40" fmla="*/ 121724 h 129181"/>
                    <a:gd name="connsiteX41" fmla="*/ 149270 w 153695"/>
                    <a:gd name="connsiteY41" fmla="*/ 124772 h 129181"/>
                    <a:gd name="connsiteX42" fmla="*/ 144723 w 153695"/>
                    <a:gd name="connsiteY42" fmla="*/ 125897 h 129181"/>
                    <a:gd name="connsiteX43" fmla="*/ 144299 w 153695"/>
                    <a:gd name="connsiteY43" fmla="*/ 127283 h 129181"/>
                    <a:gd name="connsiteX44" fmla="*/ 141797 w 153695"/>
                    <a:gd name="connsiteY44" fmla="*/ 128008 h 129181"/>
                    <a:gd name="connsiteX45" fmla="*/ 129467 w 153695"/>
                    <a:gd name="connsiteY45" fmla="*/ 125424 h 129181"/>
                    <a:gd name="connsiteX46" fmla="*/ 128799 w 153695"/>
                    <a:gd name="connsiteY46" fmla="*/ 125025 h 129181"/>
                    <a:gd name="connsiteX47" fmla="*/ 127486 w 153695"/>
                    <a:gd name="connsiteY47" fmla="*/ 123142 h 129181"/>
                    <a:gd name="connsiteX48" fmla="*/ 126027 w 153695"/>
                    <a:gd name="connsiteY48" fmla="*/ 121724 h 129181"/>
                    <a:gd name="connsiteX49" fmla="*/ 122939 w 153695"/>
                    <a:gd name="connsiteY49" fmla="*/ 121488 h 129181"/>
                    <a:gd name="connsiteX50" fmla="*/ 119826 w 153695"/>
                    <a:gd name="connsiteY50" fmla="*/ 122360 h 129181"/>
                    <a:gd name="connsiteX51" fmla="*/ 121684 w 153695"/>
                    <a:gd name="connsiteY51" fmla="*/ 124063 h 129181"/>
                    <a:gd name="connsiteX52" fmla="*/ 123721 w 153695"/>
                    <a:gd name="connsiteY52" fmla="*/ 124601 h 129181"/>
                    <a:gd name="connsiteX53" fmla="*/ 127299 w 153695"/>
                    <a:gd name="connsiteY53" fmla="*/ 127812 h 129181"/>
                    <a:gd name="connsiteX54" fmla="*/ 125775 w 153695"/>
                    <a:gd name="connsiteY54" fmla="*/ 129027 h 129181"/>
                    <a:gd name="connsiteX55" fmla="*/ 124153 w 153695"/>
                    <a:gd name="connsiteY55" fmla="*/ 129181 h 129181"/>
                    <a:gd name="connsiteX56" fmla="*/ 116908 w 153695"/>
                    <a:gd name="connsiteY56" fmla="*/ 124919 h 129181"/>
                    <a:gd name="connsiteX57" fmla="*/ 116223 w 153695"/>
                    <a:gd name="connsiteY57" fmla="*/ 125441 h 129181"/>
                    <a:gd name="connsiteX58" fmla="*/ 115539 w 153695"/>
                    <a:gd name="connsiteY58" fmla="*/ 126696 h 129181"/>
                    <a:gd name="connsiteX59" fmla="*/ 111936 w 153695"/>
                    <a:gd name="connsiteY59" fmla="*/ 125302 h 129181"/>
                    <a:gd name="connsiteX60" fmla="*/ 111073 w 153695"/>
                    <a:gd name="connsiteY60" fmla="*/ 126337 h 129181"/>
                    <a:gd name="connsiteX61" fmla="*/ 108343 w 153695"/>
                    <a:gd name="connsiteY61" fmla="*/ 126818 h 129181"/>
                    <a:gd name="connsiteX62" fmla="*/ 106101 w 153695"/>
                    <a:gd name="connsiteY62" fmla="*/ 125636 h 129181"/>
                    <a:gd name="connsiteX63" fmla="*/ 106093 w 153695"/>
                    <a:gd name="connsiteY63" fmla="*/ 124137 h 129181"/>
                    <a:gd name="connsiteX64" fmla="*/ 105612 w 153695"/>
                    <a:gd name="connsiteY64" fmla="*/ 123371 h 129181"/>
                    <a:gd name="connsiteX65" fmla="*/ 94456 w 153695"/>
                    <a:gd name="connsiteY65" fmla="*/ 124544 h 129181"/>
                    <a:gd name="connsiteX66" fmla="*/ 89859 w 153695"/>
                    <a:gd name="connsiteY66" fmla="*/ 124520 h 129181"/>
                    <a:gd name="connsiteX67" fmla="*/ 85279 w 153695"/>
                    <a:gd name="connsiteY67" fmla="*/ 123998 h 129181"/>
                    <a:gd name="connsiteX68" fmla="*/ 79770 w 153695"/>
                    <a:gd name="connsiteY68" fmla="*/ 121129 h 129181"/>
                    <a:gd name="connsiteX69" fmla="*/ 78857 w 153695"/>
                    <a:gd name="connsiteY69" fmla="*/ 122425 h 129181"/>
                    <a:gd name="connsiteX70" fmla="*/ 78686 w 153695"/>
                    <a:gd name="connsiteY70" fmla="*/ 123917 h 129181"/>
                    <a:gd name="connsiteX71" fmla="*/ 76608 w 153695"/>
                    <a:gd name="connsiteY71" fmla="*/ 123322 h 129181"/>
                    <a:gd name="connsiteX72" fmla="*/ 72011 w 153695"/>
                    <a:gd name="connsiteY72" fmla="*/ 121007 h 129181"/>
                    <a:gd name="connsiteX73" fmla="*/ 68719 w 153695"/>
                    <a:gd name="connsiteY73" fmla="*/ 120094 h 129181"/>
                    <a:gd name="connsiteX74" fmla="*/ 56885 w 153695"/>
                    <a:gd name="connsiteY74" fmla="*/ 117870 h 129181"/>
                    <a:gd name="connsiteX75" fmla="*/ 48491 w 153695"/>
                    <a:gd name="connsiteY75" fmla="*/ 115196 h 129181"/>
                    <a:gd name="connsiteX76" fmla="*/ 50569 w 153695"/>
                    <a:gd name="connsiteY76" fmla="*/ 113982 h 129181"/>
                    <a:gd name="connsiteX77" fmla="*/ 54187 w 153695"/>
                    <a:gd name="connsiteY77" fmla="*/ 113346 h 129181"/>
                    <a:gd name="connsiteX78" fmla="*/ 54245 w 153695"/>
                    <a:gd name="connsiteY78" fmla="*/ 111717 h 129181"/>
                    <a:gd name="connsiteX79" fmla="*/ 53666 w 153695"/>
                    <a:gd name="connsiteY79" fmla="*/ 109459 h 129181"/>
                    <a:gd name="connsiteX80" fmla="*/ 53552 w 153695"/>
                    <a:gd name="connsiteY80" fmla="*/ 107128 h 129181"/>
                    <a:gd name="connsiteX81" fmla="*/ 55606 w 153695"/>
                    <a:gd name="connsiteY81" fmla="*/ 105563 h 129181"/>
                    <a:gd name="connsiteX82" fmla="*/ 60227 w 153695"/>
                    <a:gd name="connsiteY82" fmla="*/ 106313 h 129181"/>
                    <a:gd name="connsiteX83" fmla="*/ 59664 w 153695"/>
                    <a:gd name="connsiteY83" fmla="*/ 103771 h 129181"/>
                    <a:gd name="connsiteX84" fmla="*/ 61840 w 153695"/>
                    <a:gd name="connsiteY84" fmla="*/ 103273 h 129181"/>
                    <a:gd name="connsiteX85" fmla="*/ 66103 w 153695"/>
                    <a:gd name="connsiteY85" fmla="*/ 104740 h 129181"/>
                    <a:gd name="connsiteX86" fmla="*/ 67635 w 153695"/>
                    <a:gd name="connsiteY86" fmla="*/ 103819 h 129181"/>
                    <a:gd name="connsiteX87" fmla="*/ 60944 w 153695"/>
                    <a:gd name="connsiteY87" fmla="*/ 100617 h 129181"/>
                    <a:gd name="connsiteX88" fmla="*/ 53617 w 153695"/>
                    <a:gd name="connsiteY88" fmla="*/ 96069 h 129181"/>
                    <a:gd name="connsiteX89" fmla="*/ 54399 w 153695"/>
                    <a:gd name="connsiteY89" fmla="*/ 94431 h 129181"/>
                    <a:gd name="connsiteX90" fmla="*/ 51751 w 153695"/>
                    <a:gd name="connsiteY90" fmla="*/ 93983 h 129181"/>
                    <a:gd name="connsiteX91" fmla="*/ 49143 w 153695"/>
                    <a:gd name="connsiteY91" fmla="*/ 94105 h 129181"/>
                    <a:gd name="connsiteX92" fmla="*/ 46885 w 153695"/>
                    <a:gd name="connsiteY92" fmla="*/ 91416 h 129181"/>
                    <a:gd name="connsiteX93" fmla="*/ 47212 w 153695"/>
                    <a:gd name="connsiteY93" fmla="*/ 87870 h 129181"/>
                    <a:gd name="connsiteX94" fmla="*/ 49184 w 153695"/>
                    <a:gd name="connsiteY94" fmla="*/ 85466 h 129181"/>
                    <a:gd name="connsiteX95" fmla="*/ 47994 w 153695"/>
                    <a:gd name="connsiteY95" fmla="*/ 84945 h 129181"/>
                    <a:gd name="connsiteX96" fmla="*/ 36707 w 153695"/>
                    <a:gd name="connsiteY96" fmla="*/ 87064 h 129181"/>
                    <a:gd name="connsiteX97" fmla="*/ 31002 w 153695"/>
                    <a:gd name="connsiteY97" fmla="*/ 86583 h 129181"/>
                    <a:gd name="connsiteX98" fmla="*/ 24547 w 153695"/>
                    <a:gd name="connsiteY98" fmla="*/ 85157 h 129181"/>
                    <a:gd name="connsiteX99" fmla="*/ 18630 w 153695"/>
                    <a:gd name="connsiteY99" fmla="*/ 87284 h 129181"/>
                    <a:gd name="connsiteX100" fmla="*/ 12624 w 153695"/>
                    <a:gd name="connsiteY100" fmla="*/ 87985 h 129181"/>
                    <a:gd name="connsiteX101" fmla="*/ 9519 w 153695"/>
                    <a:gd name="connsiteY101" fmla="*/ 87235 h 129181"/>
                    <a:gd name="connsiteX102" fmla="*/ 6512 w 153695"/>
                    <a:gd name="connsiteY102" fmla="*/ 85694 h 129181"/>
                    <a:gd name="connsiteX103" fmla="*/ 4010 w 153695"/>
                    <a:gd name="connsiteY103" fmla="*/ 83600 h 129181"/>
                    <a:gd name="connsiteX104" fmla="*/ 2037 w 153695"/>
                    <a:gd name="connsiteY104" fmla="*/ 80096 h 129181"/>
                    <a:gd name="connsiteX105" fmla="*/ 253 w 153695"/>
                    <a:gd name="connsiteY105" fmla="*/ 74236 h 129181"/>
                    <a:gd name="connsiteX106" fmla="*/ 0 w 153695"/>
                    <a:gd name="connsiteY106" fmla="*/ 72011 h 129181"/>
                    <a:gd name="connsiteX107" fmla="*/ 359 w 153695"/>
                    <a:gd name="connsiteY107" fmla="*/ 67040 h 129181"/>
                    <a:gd name="connsiteX108" fmla="*/ 1329 w 153695"/>
                    <a:gd name="connsiteY108" fmla="*/ 64961 h 129181"/>
                    <a:gd name="connsiteX109" fmla="*/ 3814 w 153695"/>
                    <a:gd name="connsiteY109" fmla="*/ 60781 h 129181"/>
                    <a:gd name="connsiteX110" fmla="*/ 5566 w 153695"/>
                    <a:gd name="connsiteY110" fmla="*/ 59493 h 129181"/>
                    <a:gd name="connsiteX111" fmla="*/ 9340 w 153695"/>
                    <a:gd name="connsiteY111" fmla="*/ 57529 h 129181"/>
                    <a:gd name="connsiteX112" fmla="*/ 11328 w 153695"/>
                    <a:gd name="connsiteY112" fmla="*/ 57024 h 129181"/>
                    <a:gd name="connsiteX113" fmla="*/ 15876 w 153695"/>
                    <a:gd name="connsiteY113" fmla="*/ 58034 h 129181"/>
                    <a:gd name="connsiteX114" fmla="*/ 20415 w 153695"/>
                    <a:gd name="connsiteY114" fmla="*/ 58099 h 129181"/>
                    <a:gd name="connsiteX115" fmla="*/ 22404 w 153695"/>
                    <a:gd name="connsiteY115" fmla="*/ 56983 h 129181"/>
                    <a:gd name="connsiteX116" fmla="*/ 24262 w 153695"/>
                    <a:gd name="connsiteY116" fmla="*/ 55027 h 129181"/>
                    <a:gd name="connsiteX117" fmla="*/ 25623 w 153695"/>
                    <a:gd name="connsiteY117" fmla="*/ 52476 h 129181"/>
                    <a:gd name="connsiteX118" fmla="*/ 28704 w 153695"/>
                    <a:gd name="connsiteY118" fmla="*/ 51017 h 129181"/>
                    <a:gd name="connsiteX119" fmla="*/ 29600 w 153695"/>
                    <a:gd name="connsiteY119" fmla="*/ 50251 h 129181"/>
                    <a:gd name="connsiteX120" fmla="*/ 30586 w 153695"/>
                    <a:gd name="connsiteY120" fmla="*/ 48597 h 129181"/>
                    <a:gd name="connsiteX121" fmla="*/ 31670 w 153695"/>
                    <a:gd name="connsiteY121" fmla="*/ 46111 h 129181"/>
                    <a:gd name="connsiteX122" fmla="*/ 31874 w 153695"/>
                    <a:gd name="connsiteY122" fmla="*/ 44000 h 129181"/>
                    <a:gd name="connsiteX123" fmla="*/ 32738 w 153695"/>
                    <a:gd name="connsiteY123" fmla="*/ 41882 h 129181"/>
                    <a:gd name="connsiteX124" fmla="*/ 35590 w 153695"/>
                    <a:gd name="connsiteY124" fmla="*/ 38801 h 129181"/>
                    <a:gd name="connsiteX125" fmla="*/ 34588 w 153695"/>
                    <a:gd name="connsiteY125" fmla="*/ 36894 h 129181"/>
                    <a:gd name="connsiteX126" fmla="*/ 34971 w 153695"/>
                    <a:gd name="connsiteY126" fmla="*/ 35598 h 129181"/>
                    <a:gd name="connsiteX127" fmla="*/ 36902 w 153695"/>
                    <a:gd name="connsiteY127" fmla="*/ 33316 h 129181"/>
                    <a:gd name="connsiteX128" fmla="*/ 31116 w 153695"/>
                    <a:gd name="connsiteY128" fmla="*/ 32689 h 129181"/>
                    <a:gd name="connsiteX129" fmla="*/ 29168 w 153695"/>
                    <a:gd name="connsiteY129" fmla="*/ 31686 h 129181"/>
                    <a:gd name="connsiteX130" fmla="*/ 27277 w 153695"/>
                    <a:gd name="connsiteY130" fmla="*/ 30146 h 129181"/>
                    <a:gd name="connsiteX131" fmla="*/ 27815 w 153695"/>
                    <a:gd name="connsiteY131" fmla="*/ 28711 h 129181"/>
                    <a:gd name="connsiteX132" fmla="*/ 28532 w 153695"/>
                    <a:gd name="connsiteY132" fmla="*/ 27660 h 129181"/>
                    <a:gd name="connsiteX133" fmla="*/ 34311 w 153695"/>
                    <a:gd name="connsiteY133" fmla="*/ 23773 h 129181"/>
                    <a:gd name="connsiteX134" fmla="*/ 36821 w 153695"/>
                    <a:gd name="connsiteY134" fmla="*/ 22640 h 129181"/>
                    <a:gd name="connsiteX135" fmla="*/ 39567 w 153695"/>
                    <a:gd name="connsiteY135" fmla="*/ 22004 h 129181"/>
                    <a:gd name="connsiteX136" fmla="*/ 42322 w 153695"/>
                    <a:gd name="connsiteY136" fmla="*/ 22012 h 129181"/>
                    <a:gd name="connsiteX137" fmla="*/ 45255 w 153695"/>
                    <a:gd name="connsiteY137" fmla="*/ 22461 h 129181"/>
                    <a:gd name="connsiteX138" fmla="*/ 48157 w 153695"/>
                    <a:gd name="connsiteY138" fmla="*/ 21849 h 129181"/>
                    <a:gd name="connsiteX139" fmla="*/ 45109 w 153695"/>
                    <a:gd name="connsiteY139" fmla="*/ 19242 h 129181"/>
                    <a:gd name="connsiteX140" fmla="*/ 44840 w 153695"/>
                    <a:gd name="connsiteY140" fmla="*/ 17489 h 129181"/>
                    <a:gd name="connsiteX141" fmla="*/ 43667 w 153695"/>
                    <a:gd name="connsiteY141" fmla="*/ 13186 h 129181"/>
                    <a:gd name="connsiteX142" fmla="*/ 43878 w 153695"/>
                    <a:gd name="connsiteY142" fmla="*/ 11157 h 129181"/>
                    <a:gd name="connsiteX143" fmla="*/ 45190 w 153695"/>
                    <a:gd name="connsiteY143" fmla="*/ 9511 h 129181"/>
                    <a:gd name="connsiteX144" fmla="*/ 47839 w 153695"/>
                    <a:gd name="connsiteY144" fmla="*/ 7587 h 129181"/>
                    <a:gd name="connsiteX145" fmla="*/ 51670 w 153695"/>
                    <a:gd name="connsiteY145" fmla="*/ 6944 h 129181"/>
                    <a:gd name="connsiteX146" fmla="*/ 54685 w 153695"/>
                    <a:gd name="connsiteY146" fmla="*/ 5917 h 129181"/>
                    <a:gd name="connsiteX147" fmla="*/ 57652 w 153695"/>
                    <a:gd name="connsiteY147" fmla="*/ 4393 h 129181"/>
                    <a:gd name="connsiteX148" fmla="*/ 60439 w 153695"/>
                    <a:gd name="connsiteY148" fmla="*/ 4124 h 129181"/>
                    <a:gd name="connsiteX149" fmla="*/ 66029 w 153695"/>
                    <a:gd name="connsiteY149" fmla="*/ 5167 h 129181"/>
                    <a:gd name="connsiteX150" fmla="*/ 68800 w 153695"/>
                    <a:gd name="connsiteY150" fmla="*/ 4947 h 129181"/>
                    <a:gd name="connsiteX151" fmla="*/ 71905 w 153695"/>
                    <a:gd name="connsiteY151" fmla="*/ 4099 h 129181"/>
                    <a:gd name="connsiteX152" fmla="*/ 80536 w 153695"/>
                    <a:gd name="connsiteY152" fmla="*/ 815 h 129181"/>
                    <a:gd name="connsiteX153" fmla="*/ 83714 w 153695"/>
                    <a:gd name="connsiteY153" fmla="*/ 0 h 129181"/>
                    <a:gd name="connsiteX154" fmla="*/ 87104 w 153695"/>
                    <a:gd name="connsiteY154" fmla="*/ 204 h 129181"/>
                    <a:gd name="connsiteX155" fmla="*/ 91587 w 153695"/>
                    <a:gd name="connsiteY155" fmla="*/ 1426 h 129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153695" h="129181">
                      <a:moveTo>
                        <a:pt x="96501" y="3684"/>
                      </a:moveTo>
                      <a:lnTo>
                        <a:pt x="108106" y="5534"/>
                      </a:lnTo>
                      <a:lnTo>
                        <a:pt x="116786" y="6112"/>
                      </a:lnTo>
                      <a:lnTo>
                        <a:pt x="122075" y="7538"/>
                      </a:lnTo>
                      <a:lnTo>
                        <a:pt x="124031" y="8671"/>
                      </a:lnTo>
                      <a:lnTo>
                        <a:pt x="123232" y="11548"/>
                      </a:lnTo>
                      <a:lnTo>
                        <a:pt x="121675" y="12730"/>
                      </a:lnTo>
                      <a:lnTo>
                        <a:pt x="118065" y="16479"/>
                      </a:lnTo>
                      <a:lnTo>
                        <a:pt x="117519" y="18785"/>
                      </a:lnTo>
                      <a:lnTo>
                        <a:pt x="118163" y="22404"/>
                      </a:lnTo>
                      <a:lnTo>
                        <a:pt x="117609" y="25036"/>
                      </a:lnTo>
                      <a:lnTo>
                        <a:pt x="116403" y="26951"/>
                      </a:lnTo>
                      <a:lnTo>
                        <a:pt x="115449" y="27742"/>
                      </a:lnTo>
                      <a:lnTo>
                        <a:pt x="108905" y="27742"/>
                      </a:lnTo>
                      <a:lnTo>
                        <a:pt x="106525" y="28809"/>
                      </a:lnTo>
                      <a:lnTo>
                        <a:pt x="106395" y="30879"/>
                      </a:lnTo>
                      <a:lnTo>
                        <a:pt x="105963" y="33178"/>
                      </a:lnTo>
                      <a:lnTo>
                        <a:pt x="103860" y="36527"/>
                      </a:lnTo>
                      <a:lnTo>
                        <a:pt x="99516" y="37619"/>
                      </a:lnTo>
                      <a:lnTo>
                        <a:pt x="98587" y="38834"/>
                      </a:lnTo>
                      <a:lnTo>
                        <a:pt x="98914" y="41034"/>
                      </a:lnTo>
                      <a:lnTo>
                        <a:pt x="97406" y="42696"/>
                      </a:lnTo>
                      <a:lnTo>
                        <a:pt x="97495" y="45296"/>
                      </a:lnTo>
                      <a:lnTo>
                        <a:pt x="98261" y="46714"/>
                      </a:lnTo>
                      <a:lnTo>
                        <a:pt x="98465" y="49664"/>
                      </a:lnTo>
                      <a:lnTo>
                        <a:pt x="101423" y="53927"/>
                      </a:lnTo>
                      <a:lnTo>
                        <a:pt x="100845" y="55695"/>
                      </a:lnTo>
                      <a:lnTo>
                        <a:pt x="98587" y="59143"/>
                      </a:lnTo>
                      <a:lnTo>
                        <a:pt x="97878" y="63356"/>
                      </a:lnTo>
                      <a:lnTo>
                        <a:pt x="95963" y="66991"/>
                      </a:lnTo>
                      <a:lnTo>
                        <a:pt x="100258" y="70014"/>
                      </a:lnTo>
                      <a:lnTo>
                        <a:pt x="102141" y="73934"/>
                      </a:lnTo>
                      <a:lnTo>
                        <a:pt x="103795" y="78197"/>
                      </a:lnTo>
                      <a:lnTo>
                        <a:pt x="108897" y="86493"/>
                      </a:lnTo>
                      <a:lnTo>
                        <a:pt x="114447" y="93844"/>
                      </a:lnTo>
                      <a:lnTo>
                        <a:pt x="124642" y="104643"/>
                      </a:lnTo>
                      <a:lnTo>
                        <a:pt x="135571" y="112792"/>
                      </a:lnTo>
                      <a:lnTo>
                        <a:pt x="139809" y="115091"/>
                      </a:lnTo>
                      <a:lnTo>
                        <a:pt x="150175" y="118864"/>
                      </a:lnTo>
                      <a:lnTo>
                        <a:pt x="151984" y="120054"/>
                      </a:lnTo>
                      <a:lnTo>
                        <a:pt x="153696" y="121724"/>
                      </a:lnTo>
                      <a:lnTo>
                        <a:pt x="149270" y="124772"/>
                      </a:lnTo>
                      <a:lnTo>
                        <a:pt x="144723" y="125897"/>
                      </a:lnTo>
                      <a:lnTo>
                        <a:pt x="144299" y="127283"/>
                      </a:lnTo>
                      <a:lnTo>
                        <a:pt x="141797" y="128008"/>
                      </a:lnTo>
                      <a:lnTo>
                        <a:pt x="129467" y="125424"/>
                      </a:lnTo>
                      <a:lnTo>
                        <a:pt x="128799" y="125025"/>
                      </a:lnTo>
                      <a:lnTo>
                        <a:pt x="127486" y="123142"/>
                      </a:lnTo>
                      <a:lnTo>
                        <a:pt x="126027" y="121724"/>
                      </a:lnTo>
                      <a:lnTo>
                        <a:pt x="122939" y="121488"/>
                      </a:lnTo>
                      <a:lnTo>
                        <a:pt x="119826" y="122360"/>
                      </a:lnTo>
                      <a:lnTo>
                        <a:pt x="121684" y="124063"/>
                      </a:lnTo>
                      <a:lnTo>
                        <a:pt x="123721" y="124601"/>
                      </a:lnTo>
                      <a:lnTo>
                        <a:pt x="127299" y="127812"/>
                      </a:lnTo>
                      <a:lnTo>
                        <a:pt x="125775" y="129027"/>
                      </a:lnTo>
                      <a:lnTo>
                        <a:pt x="124153" y="129181"/>
                      </a:lnTo>
                      <a:lnTo>
                        <a:pt x="116908" y="124919"/>
                      </a:lnTo>
                      <a:lnTo>
                        <a:pt x="116223" y="125441"/>
                      </a:lnTo>
                      <a:lnTo>
                        <a:pt x="115539" y="126696"/>
                      </a:lnTo>
                      <a:lnTo>
                        <a:pt x="111936" y="125302"/>
                      </a:lnTo>
                      <a:lnTo>
                        <a:pt x="111073" y="126337"/>
                      </a:lnTo>
                      <a:lnTo>
                        <a:pt x="108343" y="126818"/>
                      </a:lnTo>
                      <a:lnTo>
                        <a:pt x="106101" y="125636"/>
                      </a:lnTo>
                      <a:lnTo>
                        <a:pt x="106093" y="124137"/>
                      </a:lnTo>
                      <a:lnTo>
                        <a:pt x="105612" y="123371"/>
                      </a:lnTo>
                      <a:lnTo>
                        <a:pt x="94456" y="124544"/>
                      </a:lnTo>
                      <a:lnTo>
                        <a:pt x="89859" y="124520"/>
                      </a:lnTo>
                      <a:lnTo>
                        <a:pt x="85279" y="123998"/>
                      </a:lnTo>
                      <a:lnTo>
                        <a:pt x="79770" y="121129"/>
                      </a:lnTo>
                      <a:lnTo>
                        <a:pt x="78857" y="122425"/>
                      </a:lnTo>
                      <a:lnTo>
                        <a:pt x="78686" y="123917"/>
                      </a:lnTo>
                      <a:lnTo>
                        <a:pt x="76608" y="123322"/>
                      </a:lnTo>
                      <a:lnTo>
                        <a:pt x="72011" y="121007"/>
                      </a:lnTo>
                      <a:lnTo>
                        <a:pt x="68719" y="120094"/>
                      </a:lnTo>
                      <a:lnTo>
                        <a:pt x="56885" y="117870"/>
                      </a:lnTo>
                      <a:lnTo>
                        <a:pt x="48491" y="115196"/>
                      </a:lnTo>
                      <a:lnTo>
                        <a:pt x="50569" y="113982"/>
                      </a:lnTo>
                      <a:lnTo>
                        <a:pt x="54187" y="113346"/>
                      </a:lnTo>
                      <a:lnTo>
                        <a:pt x="54245" y="111717"/>
                      </a:lnTo>
                      <a:lnTo>
                        <a:pt x="53666" y="109459"/>
                      </a:lnTo>
                      <a:lnTo>
                        <a:pt x="53552" y="107128"/>
                      </a:lnTo>
                      <a:lnTo>
                        <a:pt x="55606" y="105563"/>
                      </a:lnTo>
                      <a:lnTo>
                        <a:pt x="60227" y="106313"/>
                      </a:lnTo>
                      <a:lnTo>
                        <a:pt x="59664" y="103771"/>
                      </a:lnTo>
                      <a:lnTo>
                        <a:pt x="61840" y="103273"/>
                      </a:lnTo>
                      <a:lnTo>
                        <a:pt x="66103" y="104740"/>
                      </a:lnTo>
                      <a:lnTo>
                        <a:pt x="67635" y="103819"/>
                      </a:lnTo>
                      <a:lnTo>
                        <a:pt x="60944" y="100617"/>
                      </a:lnTo>
                      <a:lnTo>
                        <a:pt x="53617" y="96069"/>
                      </a:lnTo>
                      <a:lnTo>
                        <a:pt x="54399" y="94431"/>
                      </a:lnTo>
                      <a:lnTo>
                        <a:pt x="51751" y="93983"/>
                      </a:lnTo>
                      <a:lnTo>
                        <a:pt x="49143" y="94105"/>
                      </a:lnTo>
                      <a:lnTo>
                        <a:pt x="46885" y="91416"/>
                      </a:lnTo>
                      <a:lnTo>
                        <a:pt x="47212" y="87870"/>
                      </a:lnTo>
                      <a:lnTo>
                        <a:pt x="49184" y="85466"/>
                      </a:lnTo>
                      <a:lnTo>
                        <a:pt x="47994" y="84945"/>
                      </a:lnTo>
                      <a:lnTo>
                        <a:pt x="36707" y="87064"/>
                      </a:lnTo>
                      <a:lnTo>
                        <a:pt x="31002" y="86583"/>
                      </a:lnTo>
                      <a:lnTo>
                        <a:pt x="24547" y="85157"/>
                      </a:lnTo>
                      <a:lnTo>
                        <a:pt x="18630" y="87284"/>
                      </a:lnTo>
                      <a:lnTo>
                        <a:pt x="12624" y="87985"/>
                      </a:lnTo>
                      <a:lnTo>
                        <a:pt x="9519" y="87235"/>
                      </a:lnTo>
                      <a:lnTo>
                        <a:pt x="6512" y="85694"/>
                      </a:lnTo>
                      <a:lnTo>
                        <a:pt x="4010" y="83600"/>
                      </a:lnTo>
                      <a:lnTo>
                        <a:pt x="2037" y="80096"/>
                      </a:lnTo>
                      <a:lnTo>
                        <a:pt x="253" y="74236"/>
                      </a:lnTo>
                      <a:lnTo>
                        <a:pt x="0" y="72011"/>
                      </a:lnTo>
                      <a:lnTo>
                        <a:pt x="359" y="67040"/>
                      </a:lnTo>
                      <a:lnTo>
                        <a:pt x="1329" y="64961"/>
                      </a:lnTo>
                      <a:lnTo>
                        <a:pt x="3814" y="60781"/>
                      </a:lnTo>
                      <a:lnTo>
                        <a:pt x="5566" y="59493"/>
                      </a:lnTo>
                      <a:lnTo>
                        <a:pt x="9340" y="57529"/>
                      </a:lnTo>
                      <a:lnTo>
                        <a:pt x="11328" y="57024"/>
                      </a:lnTo>
                      <a:lnTo>
                        <a:pt x="15876" y="58034"/>
                      </a:lnTo>
                      <a:lnTo>
                        <a:pt x="20415" y="58099"/>
                      </a:lnTo>
                      <a:lnTo>
                        <a:pt x="22404" y="56983"/>
                      </a:lnTo>
                      <a:lnTo>
                        <a:pt x="24262" y="55027"/>
                      </a:lnTo>
                      <a:lnTo>
                        <a:pt x="25623" y="52476"/>
                      </a:lnTo>
                      <a:lnTo>
                        <a:pt x="28704" y="51017"/>
                      </a:lnTo>
                      <a:lnTo>
                        <a:pt x="29600" y="50251"/>
                      </a:lnTo>
                      <a:lnTo>
                        <a:pt x="30586" y="48597"/>
                      </a:lnTo>
                      <a:lnTo>
                        <a:pt x="31670" y="46111"/>
                      </a:lnTo>
                      <a:lnTo>
                        <a:pt x="31874" y="44000"/>
                      </a:lnTo>
                      <a:lnTo>
                        <a:pt x="32738" y="41882"/>
                      </a:lnTo>
                      <a:lnTo>
                        <a:pt x="35590" y="38801"/>
                      </a:lnTo>
                      <a:lnTo>
                        <a:pt x="34588" y="36894"/>
                      </a:lnTo>
                      <a:lnTo>
                        <a:pt x="34971" y="35598"/>
                      </a:lnTo>
                      <a:lnTo>
                        <a:pt x="36902" y="33316"/>
                      </a:lnTo>
                      <a:lnTo>
                        <a:pt x="31116" y="32689"/>
                      </a:lnTo>
                      <a:lnTo>
                        <a:pt x="29168" y="31686"/>
                      </a:lnTo>
                      <a:lnTo>
                        <a:pt x="27277" y="30146"/>
                      </a:lnTo>
                      <a:lnTo>
                        <a:pt x="27815" y="28711"/>
                      </a:lnTo>
                      <a:lnTo>
                        <a:pt x="28532" y="27660"/>
                      </a:lnTo>
                      <a:lnTo>
                        <a:pt x="34311" y="23773"/>
                      </a:lnTo>
                      <a:lnTo>
                        <a:pt x="36821" y="22640"/>
                      </a:lnTo>
                      <a:lnTo>
                        <a:pt x="39567" y="22004"/>
                      </a:lnTo>
                      <a:lnTo>
                        <a:pt x="42322" y="22012"/>
                      </a:lnTo>
                      <a:lnTo>
                        <a:pt x="45255" y="22461"/>
                      </a:lnTo>
                      <a:lnTo>
                        <a:pt x="48157" y="21849"/>
                      </a:lnTo>
                      <a:lnTo>
                        <a:pt x="45109" y="19242"/>
                      </a:lnTo>
                      <a:lnTo>
                        <a:pt x="44840" y="17489"/>
                      </a:lnTo>
                      <a:lnTo>
                        <a:pt x="43667" y="13186"/>
                      </a:lnTo>
                      <a:lnTo>
                        <a:pt x="43878" y="11157"/>
                      </a:lnTo>
                      <a:lnTo>
                        <a:pt x="45190" y="9511"/>
                      </a:lnTo>
                      <a:lnTo>
                        <a:pt x="47839" y="7587"/>
                      </a:lnTo>
                      <a:lnTo>
                        <a:pt x="51670" y="6944"/>
                      </a:lnTo>
                      <a:lnTo>
                        <a:pt x="54685" y="5917"/>
                      </a:lnTo>
                      <a:lnTo>
                        <a:pt x="57652" y="4393"/>
                      </a:lnTo>
                      <a:lnTo>
                        <a:pt x="60439" y="4124"/>
                      </a:lnTo>
                      <a:lnTo>
                        <a:pt x="66029" y="5167"/>
                      </a:lnTo>
                      <a:lnTo>
                        <a:pt x="68800" y="4947"/>
                      </a:lnTo>
                      <a:lnTo>
                        <a:pt x="71905" y="4099"/>
                      </a:lnTo>
                      <a:lnTo>
                        <a:pt x="80536" y="815"/>
                      </a:lnTo>
                      <a:lnTo>
                        <a:pt x="83714" y="0"/>
                      </a:lnTo>
                      <a:lnTo>
                        <a:pt x="87104" y="204"/>
                      </a:lnTo>
                      <a:lnTo>
                        <a:pt x="91587" y="1426"/>
                      </a:lnTo>
                      <a:close/>
                    </a:path>
                  </a:pathLst>
                </a:custGeom>
                <a:solidFill>
                  <a:srgbClr val="D6D6D2"/>
                </a:solidFill>
                <a:ln w="6112" cap="rnd">
                  <a:solidFill>
                    <a:srgbClr val="FFFFFF"/>
                  </a:solidFill>
                  <a:prstDash val="solid"/>
                  <a:round/>
                </a:ln>
              </p:spPr>
              <p:txBody>
                <a:bodyPr rtlCol="0" anchor="ctr"/>
                <a:lstStyle/>
                <a:p>
                  <a:endParaRPr lang="en-US"/>
                </a:p>
              </p:txBody>
            </p:sp>
            <p:sp>
              <p:nvSpPr>
                <p:cNvPr id="606" name="Freeform: Shape 605">
                  <a:extLst>
                    <a:ext uri="{FF2B5EF4-FFF2-40B4-BE49-F238E27FC236}">
                      <a16:creationId xmlns:a16="http://schemas.microsoft.com/office/drawing/2014/main" id="{26AA1995-9539-4AC3-B740-3CD8F10BFFA9}"/>
                    </a:ext>
                  </a:extLst>
                </p:cNvPr>
                <p:cNvSpPr/>
                <p:nvPr/>
              </p:nvSpPr>
              <p:spPr>
                <a:xfrm>
                  <a:off x="7677814" y="1961968"/>
                  <a:ext cx="42411" cy="22191"/>
                </a:xfrm>
                <a:custGeom>
                  <a:avLst/>
                  <a:gdLst>
                    <a:gd name="connsiteX0" fmla="*/ 18688 w 42411"/>
                    <a:gd name="connsiteY0" fmla="*/ 19502 h 22191"/>
                    <a:gd name="connsiteX1" fmla="*/ 11410 w 42411"/>
                    <a:gd name="connsiteY1" fmla="*/ 21686 h 22191"/>
                    <a:gd name="connsiteX2" fmla="*/ 9380 w 42411"/>
                    <a:gd name="connsiteY2" fmla="*/ 21849 h 22191"/>
                    <a:gd name="connsiteX3" fmla="*/ 4915 w 42411"/>
                    <a:gd name="connsiteY3" fmla="*/ 21295 h 22191"/>
                    <a:gd name="connsiteX4" fmla="*/ 2983 w 42411"/>
                    <a:gd name="connsiteY4" fmla="*/ 22192 h 22191"/>
                    <a:gd name="connsiteX5" fmla="*/ 0 w 42411"/>
                    <a:gd name="connsiteY5" fmla="*/ 19991 h 22191"/>
                    <a:gd name="connsiteX6" fmla="*/ 253 w 42411"/>
                    <a:gd name="connsiteY6" fmla="*/ 18043 h 22191"/>
                    <a:gd name="connsiteX7" fmla="*/ 1622 w 42411"/>
                    <a:gd name="connsiteY7" fmla="*/ 16063 h 22191"/>
                    <a:gd name="connsiteX8" fmla="*/ 2445 w 42411"/>
                    <a:gd name="connsiteY8" fmla="*/ 13504 h 22191"/>
                    <a:gd name="connsiteX9" fmla="*/ 1874 w 42411"/>
                    <a:gd name="connsiteY9" fmla="*/ 7221 h 22191"/>
                    <a:gd name="connsiteX10" fmla="*/ 5688 w 42411"/>
                    <a:gd name="connsiteY10" fmla="*/ 3244 h 22191"/>
                    <a:gd name="connsiteX11" fmla="*/ 10652 w 42411"/>
                    <a:gd name="connsiteY11" fmla="*/ 1720 h 22191"/>
                    <a:gd name="connsiteX12" fmla="*/ 25289 w 42411"/>
                    <a:gd name="connsiteY12" fmla="*/ 0 h 22191"/>
                    <a:gd name="connsiteX13" fmla="*/ 27351 w 42411"/>
                    <a:gd name="connsiteY13" fmla="*/ 473 h 22191"/>
                    <a:gd name="connsiteX14" fmla="*/ 30276 w 42411"/>
                    <a:gd name="connsiteY14" fmla="*/ 1695 h 22191"/>
                    <a:gd name="connsiteX15" fmla="*/ 32526 w 42411"/>
                    <a:gd name="connsiteY15" fmla="*/ 3105 h 22191"/>
                    <a:gd name="connsiteX16" fmla="*/ 35484 w 42411"/>
                    <a:gd name="connsiteY16" fmla="*/ 6626 h 22191"/>
                    <a:gd name="connsiteX17" fmla="*/ 37806 w 42411"/>
                    <a:gd name="connsiteY17" fmla="*/ 8027 h 22191"/>
                    <a:gd name="connsiteX18" fmla="*/ 41401 w 42411"/>
                    <a:gd name="connsiteY18" fmla="*/ 10774 h 22191"/>
                    <a:gd name="connsiteX19" fmla="*/ 42411 w 42411"/>
                    <a:gd name="connsiteY19" fmla="*/ 13480 h 22191"/>
                    <a:gd name="connsiteX20" fmla="*/ 42305 w 42411"/>
                    <a:gd name="connsiteY20" fmla="*/ 15843 h 22191"/>
                    <a:gd name="connsiteX21" fmla="*/ 35590 w 42411"/>
                    <a:gd name="connsiteY21" fmla="*/ 16373 h 22191"/>
                    <a:gd name="connsiteX22" fmla="*/ 23968 w 42411"/>
                    <a:gd name="connsiteY22" fmla="*/ 18361 h 22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411" h="22191">
                      <a:moveTo>
                        <a:pt x="18688" y="19502"/>
                      </a:moveTo>
                      <a:lnTo>
                        <a:pt x="11410" y="21686"/>
                      </a:lnTo>
                      <a:lnTo>
                        <a:pt x="9380" y="21849"/>
                      </a:lnTo>
                      <a:lnTo>
                        <a:pt x="4915" y="21295"/>
                      </a:lnTo>
                      <a:lnTo>
                        <a:pt x="2983" y="22192"/>
                      </a:lnTo>
                      <a:lnTo>
                        <a:pt x="0" y="19991"/>
                      </a:lnTo>
                      <a:lnTo>
                        <a:pt x="253" y="18043"/>
                      </a:lnTo>
                      <a:lnTo>
                        <a:pt x="1622" y="16063"/>
                      </a:lnTo>
                      <a:lnTo>
                        <a:pt x="2445" y="13504"/>
                      </a:lnTo>
                      <a:lnTo>
                        <a:pt x="1874" y="7221"/>
                      </a:lnTo>
                      <a:lnTo>
                        <a:pt x="5688" y="3244"/>
                      </a:lnTo>
                      <a:lnTo>
                        <a:pt x="10652" y="1720"/>
                      </a:lnTo>
                      <a:lnTo>
                        <a:pt x="25289" y="0"/>
                      </a:lnTo>
                      <a:lnTo>
                        <a:pt x="27351" y="473"/>
                      </a:lnTo>
                      <a:lnTo>
                        <a:pt x="30276" y="1695"/>
                      </a:lnTo>
                      <a:lnTo>
                        <a:pt x="32526" y="3105"/>
                      </a:lnTo>
                      <a:lnTo>
                        <a:pt x="35484" y="6626"/>
                      </a:lnTo>
                      <a:lnTo>
                        <a:pt x="37806" y="8027"/>
                      </a:lnTo>
                      <a:lnTo>
                        <a:pt x="41401" y="10774"/>
                      </a:lnTo>
                      <a:lnTo>
                        <a:pt x="42411" y="13480"/>
                      </a:lnTo>
                      <a:lnTo>
                        <a:pt x="42305" y="15843"/>
                      </a:lnTo>
                      <a:lnTo>
                        <a:pt x="35590" y="16373"/>
                      </a:lnTo>
                      <a:lnTo>
                        <a:pt x="23968" y="18361"/>
                      </a:lnTo>
                      <a:close/>
                    </a:path>
                  </a:pathLst>
                </a:custGeom>
                <a:solidFill>
                  <a:srgbClr val="D6D6D2"/>
                </a:solidFill>
                <a:ln w="8150" cap="flat">
                  <a:noFill/>
                  <a:prstDash val="solid"/>
                  <a:miter/>
                </a:ln>
              </p:spPr>
              <p:txBody>
                <a:bodyPr rtlCol="0" anchor="ctr"/>
                <a:lstStyle/>
                <a:p>
                  <a:endParaRPr lang="en-US"/>
                </a:p>
              </p:txBody>
            </p:sp>
            <p:sp>
              <p:nvSpPr>
                <p:cNvPr id="607" name="Freeform: Shape 606">
                  <a:extLst>
                    <a:ext uri="{FF2B5EF4-FFF2-40B4-BE49-F238E27FC236}">
                      <a16:creationId xmlns:a16="http://schemas.microsoft.com/office/drawing/2014/main" id="{CE9EE3A6-0A8A-4528-95A9-5940B7025B44}"/>
                    </a:ext>
                  </a:extLst>
                </p:cNvPr>
                <p:cNvSpPr/>
                <p:nvPr/>
              </p:nvSpPr>
              <p:spPr>
                <a:xfrm>
                  <a:off x="9408149" y="1943232"/>
                  <a:ext cx="94390" cy="32403"/>
                </a:xfrm>
                <a:custGeom>
                  <a:avLst/>
                  <a:gdLst>
                    <a:gd name="connsiteX0" fmla="*/ 61987 w 94390"/>
                    <a:gd name="connsiteY0" fmla="*/ 896 h 32403"/>
                    <a:gd name="connsiteX1" fmla="*/ 68189 w 94390"/>
                    <a:gd name="connsiteY1" fmla="*/ 2975 h 32403"/>
                    <a:gd name="connsiteX2" fmla="*/ 73250 w 94390"/>
                    <a:gd name="connsiteY2" fmla="*/ 5248 h 32403"/>
                    <a:gd name="connsiteX3" fmla="*/ 90723 w 94390"/>
                    <a:gd name="connsiteY3" fmla="*/ 16202 h 32403"/>
                    <a:gd name="connsiteX4" fmla="*/ 92385 w 94390"/>
                    <a:gd name="connsiteY4" fmla="*/ 18427 h 32403"/>
                    <a:gd name="connsiteX5" fmla="*/ 93706 w 94390"/>
                    <a:gd name="connsiteY5" fmla="*/ 21328 h 32403"/>
                    <a:gd name="connsiteX6" fmla="*/ 94390 w 94390"/>
                    <a:gd name="connsiteY6" fmla="*/ 31213 h 32403"/>
                    <a:gd name="connsiteX7" fmla="*/ 93404 w 94390"/>
                    <a:gd name="connsiteY7" fmla="*/ 31914 h 32403"/>
                    <a:gd name="connsiteX8" fmla="*/ 86998 w 94390"/>
                    <a:gd name="connsiteY8" fmla="*/ 32403 h 32403"/>
                    <a:gd name="connsiteX9" fmla="*/ 78286 w 94390"/>
                    <a:gd name="connsiteY9" fmla="*/ 31287 h 32403"/>
                    <a:gd name="connsiteX10" fmla="*/ 71962 w 94390"/>
                    <a:gd name="connsiteY10" fmla="*/ 30887 h 32403"/>
                    <a:gd name="connsiteX11" fmla="*/ 65882 w 94390"/>
                    <a:gd name="connsiteY11" fmla="*/ 30912 h 32403"/>
                    <a:gd name="connsiteX12" fmla="*/ 60537 w 94390"/>
                    <a:gd name="connsiteY12" fmla="*/ 29575 h 32403"/>
                    <a:gd name="connsiteX13" fmla="*/ 47399 w 94390"/>
                    <a:gd name="connsiteY13" fmla="*/ 28214 h 32403"/>
                    <a:gd name="connsiteX14" fmla="*/ 37130 w 94390"/>
                    <a:gd name="connsiteY14" fmla="*/ 24563 h 32403"/>
                    <a:gd name="connsiteX15" fmla="*/ 26503 w 94390"/>
                    <a:gd name="connsiteY15" fmla="*/ 21923 h 32403"/>
                    <a:gd name="connsiteX16" fmla="*/ 24237 w 94390"/>
                    <a:gd name="connsiteY16" fmla="*/ 21646 h 32403"/>
                    <a:gd name="connsiteX17" fmla="*/ 17530 w 94390"/>
                    <a:gd name="connsiteY17" fmla="*/ 22420 h 32403"/>
                    <a:gd name="connsiteX18" fmla="*/ 8468 w 94390"/>
                    <a:gd name="connsiteY18" fmla="*/ 25867 h 32403"/>
                    <a:gd name="connsiteX19" fmla="*/ 5950 w 94390"/>
                    <a:gd name="connsiteY19" fmla="*/ 26152 h 32403"/>
                    <a:gd name="connsiteX20" fmla="*/ 2486 w 94390"/>
                    <a:gd name="connsiteY20" fmla="*/ 26152 h 32403"/>
                    <a:gd name="connsiteX21" fmla="*/ 0 w 94390"/>
                    <a:gd name="connsiteY21" fmla="*/ 22868 h 32403"/>
                    <a:gd name="connsiteX22" fmla="*/ 5819 w 94390"/>
                    <a:gd name="connsiteY22" fmla="*/ 21801 h 32403"/>
                    <a:gd name="connsiteX23" fmla="*/ 11646 w 94390"/>
                    <a:gd name="connsiteY23" fmla="*/ 21385 h 32403"/>
                    <a:gd name="connsiteX24" fmla="*/ 17245 w 94390"/>
                    <a:gd name="connsiteY24" fmla="*/ 20195 h 32403"/>
                    <a:gd name="connsiteX25" fmla="*/ 22526 w 94390"/>
                    <a:gd name="connsiteY25" fmla="*/ 16397 h 32403"/>
                    <a:gd name="connsiteX26" fmla="*/ 25093 w 94390"/>
                    <a:gd name="connsiteY26" fmla="*/ 13382 h 32403"/>
                    <a:gd name="connsiteX27" fmla="*/ 29722 w 94390"/>
                    <a:gd name="connsiteY27" fmla="*/ 6438 h 32403"/>
                    <a:gd name="connsiteX28" fmla="*/ 32184 w 94390"/>
                    <a:gd name="connsiteY28" fmla="*/ 3912 h 32403"/>
                    <a:gd name="connsiteX29" fmla="*/ 34702 w 94390"/>
                    <a:gd name="connsiteY29" fmla="*/ 2306 h 32403"/>
                    <a:gd name="connsiteX30" fmla="*/ 37302 w 94390"/>
                    <a:gd name="connsiteY30" fmla="*/ 1801 h 32403"/>
                    <a:gd name="connsiteX31" fmla="*/ 40333 w 94390"/>
                    <a:gd name="connsiteY31" fmla="*/ 2021 h 32403"/>
                    <a:gd name="connsiteX32" fmla="*/ 49510 w 94390"/>
                    <a:gd name="connsiteY32" fmla="*/ 505 h 32403"/>
                    <a:gd name="connsiteX33" fmla="*/ 55712 w 94390"/>
                    <a:gd name="connsiteY33" fmla="*/ 0 h 32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4390" h="32403">
                      <a:moveTo>
                        <a:pt x="61987" y="896"/>
                      </a:moveTo>
                      <a:lnTo>
                        <a:pt x="68189" y="2975"/>
                      </a:lnTo>
                      <a:lnTo>
                        <a:pt x="73250" y="5248"/>
                      </a:lnTo>
                      <a:lnTo>
                        <a:pt x="90723" y="16202"/>
                      </a:lnTo>
                      <a:lnTo>
                        <a:pt x="92385" y="18427"/>
                      </a:lnTo>
                      <a:lnTo>
                        <a:pt x="93706" y="21328"/>
                      </a:lnTo>
                      <a:lnTo>
                        <a:pt x="94390" y="31213"/>
                      </a:lnTo>
                      <a:lnTo>
                        <a:pt x="93404" y="31914"/>
                      </a:lnTo>
                      <a:lnTo>
                        <a:pt x="86998" y="32403"/>
                      </a:lnTo>
                      <a:lnTo>
                        <a:pt x="78286" y="31287"/>
                      </a:lnTo>
                      <a:lnTo>
                        <a:pt x="71962" y="30887"/>
                      </a:lnTo>
                      <a:lnTo>
                        <a:pt x="65882" y="30912"/>
                      </a:lnTo>
                      <a:lnTo>
                        <a:pt x="60537" y="29575"/>
                      </a:lnTo>
                      <a:lnTo>
                        <a:pt x="47399" y="28214"/>
                      </a:lnTo>
                      <a:lnTo>
                        <a:pt x="37130" y="24563"/>
                      </a:lnTo>
                      <a:lnTo>
                        <a:pt x="26503" y="21923"/>
                      </a:lnTo>
                      <a:lnTo>
                        <a:pt x="24237" y="21646"/>
                      </a:lnTo>
                      <a:lnTo>
                        <a:pt x="17530" y="22420"/>
                      </a:lnTo>
                      <a:lnTo>
                        <a:pt x="8468" y="25867"/>
                      </a:lnTo>
                      <a:lnTo>
                        <a:pt x="5950" y="26152"/>
                      </a:lnTo>
                      <a:lnTo>
                        <a:pt x="2486" y="26152"/>
                      </a:lnTo>
                      <a:lnTo>
                        <a:pt x="0" y="22868"/>
                      </a:lnTo>
                      <a:lnTo>
                        <a:pt x="5819" y="21801"/>
                      </a:lnTo>
                      <a:lnTo>
                        <a:pt x="11646" y="21385"/>
                      </a:lnTo>
                      <a:lnTo>
                        <a:pt x="17245" y="20195"/>
                      </a:lnTo>
                      <a:lnTo>
                        <a:pt x="22526" y="16397"/>
                      </a:lnTo>
                      <a:lnTo>
                        <a:pt x="25093" y="13382"/>
                      </a:lnTo>
                      <a:lnTo>
                        <a:pt x="29722" y="6438"/>
                      </a:lnTo>
                      <a:lnTo>
                        <a:pt x="32184" y="3912"/>
                      </a:lnTo>
                      <a:lnTo>
                        <a:pt x="34702" y="2306"/>
                      </a:lnTo>
                      <a:lnTo>
                        <a:pt x="37302" y="1801"/>
                      </a:lnTo>
                      <a:lnTo>
                        <a:pt x="40333" y="2021"/>
                      </a:lnTo>
                      <a:lnTo>
                        <a:pt x="49510" y="505"/>
                      </a:lnTo>
                      <a:lnTo>
                        <a:pt x="55712" y="0"/>
                      </a:lnTo>
                      <a:close/>
                    </a:path>
                  </a:pathLst>
                </a:custGeom>
                <a:solidFill>
                  <a:srgbClr val="D6D6D2"/>
                </a:solidFill>
                <a:ln w="8150" cap="flat">
                  <a:noFill/>
                  <a:prstDash val="solid"/>
                  <a:miter/>
                </a:ln>
              </p:spPr>
              <p:txBody>
                <a:bodyPr rtlCol="0" anchor="ctr"/>
                <a:lstStyle/>
                <a:p>
                  <a:endParaRPr lang="en-US"/>
                </a:p>
              </p:txBody>
            </p:sp>
            <p:sp>
              <p:nvSpPr>
                <p:cNvPr id="608" name="Freeform: Shape 607">
                  <a:extLst>
                    <a:ext uri="{FF2B5EF4-FFF2-40B4-BE49-F238E27FC236}">
                      <a16:creationId xmlns:a16="http://schemas.microsoft.com/office/drawing/2014/main" id="{9942CD4B-49AB-48F8-BFAF-F94C53DF4D0F}"/>
                    </a:ext>
                  </a:extLst>
                </p:cNvPr>
                <p:cNvSpPr/>
                <p:nvPr/>
              </p:nvSpPr>
              <p:spPr>
                <a:xfrm>
                  <a:off x="9418458" y="1926362"/>
                  <a:ext cx="24709" cy="16698"/>
                </a:xfrm>
                <a:custGeom>
                  <a:avLst/>
                  <a:gdLst>
                    <a:gd name="connsiteX0" fmla="*/ 22534 w 24709"/>
                    <a:gd name="connsiteY0" fmla="*/ 12909 h 16698"/>
                    <a:gd name="connsiteX1" fmla="*/ 10073 w 24709"/>
                    <a:gd name="connsiteY1" fmla="*/ 16699 h 16698"/>
                    <a:gd name="connsiteX2" fmla="*/ 7636 w 24709"/>
                    <a:gd name="connsiteY2" fmla="*/ 16552 h 16698"/>
                    <a:gd name="connsiteX3" fmla="*/ 2037 w 24709"/>
                    <a:gd name="connsiteY3" fmla="*/ 12665 h 16698"/>
                    <a:gd name="connsiteX4" fmla="*/ 0 w 24709"/>
                    <a:gd name="connsiteY4" fmla="*/ 4222 h 16698"/>
                    <a:gd name="connsiteX5" fmla="*/ 2290 w 24709"/>
                    <a:gd name="connsiteY5" fmla="*/ 1752 h 16698"/>
                    <a:gd name="connsiteX6" fmla="*/ 4939 w 24709"/>
                    <a:gd name="connsiteY6" fmla="*/ 791 h 16698"/>
                    <a:gd name="connsiteX7" fmla="*/ 7587 w 24709"/>
                    <a:gd name="connsiteY7" fmla="*/ 350 h 16698"/>
                    <a:gd name="connsiteX8" fmla="*/ 18549 w 24709"/>
                    <a:gd name="connsiteY8" fmla="*/ 0 h 16698"/>
                    <a:gd name="connsiteX9" fmla="*/ 20912 w 24709"/>
                    <a:gd name="connsiteY9" fmla="*/ 440 h 16698"/>
                    <a:gd name="connsiteX10" fmla="*/ 23243 w 24709"/>
                    <a:gd name="connsiteY10" fmla="*/ 1467 h 16698"/>
                    <a:gd name="connsiteX11" fmla="*/ 24262 w 24709"/>
                    <a:gd name="connsiteY11" fmla="*/ 3040 h 16698"/>
                    <a:gd name="connsiteX12" fmla="*/ 24710 w 24709"/>
                    <a:gd name="connsiteY12" fmla="*/ 4996 h 16698"/>
                    <a:gd name="connsiteX13" fmla="*/ 23455 w 24709"/>
                    <a:gd name="connsiteY13" fmla="*/ 10513 h 1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709" h="16698">
                      <a:moveTo>
                        <a:pt x="22534" y="12909"/>
                      </a:moveTo>
                      <a:lnTo>
                        <a:pt x="10073" y="16699"/>
                      </a:lnTo>
                      <a:lnTo>
                        <a:pt x="7636" y="16552"/>
                      </a:lnTo>
                      <a:lnTo>
                        <a:pt x="2037" y="12665"/>
                      </a:lnTo>
                      <a:lnTo>
                        <a:pt x="0" y="4222"/>
                      </a:lnTo>
                      <a:lnTo>
                        <a:pt x="2290" y="1752"/>
                      </a:lnTo>
                      <a:lnTo>
                        <a:pt x="4939" y="791"/>
                      </a:lnTo>
                      <a:lnTo>
                        <a:pt x="7587" y="350"/>
                      </a:lnTo>
                      <a:lnTo>
                        <a:pt x="18549" y="0"/>
                      </a:lnTo>
                      <a:lnTo>
                        <a:pt x="20912" y="440"/>
                      </a:lnTo>
                      <a:lnTo>
                        <a:pt x="23243" y="1467"/>
                      </a:lnTo>
                      <a:lnTo>
                        <a:pt x="24262" y="3040"/>
                      </a:lnTo>
                      <a:lnTo>
                        <a:pt x="24710" y="4996"/>
                      </a:lnTo>
                      <a:lnTo>
                        <a:pt x="23455" y="10513"/>
                      </a:lnTo>
                      <a:close/>
                    </a:path>
                  </a:pathLst>
                </a:custGeom>
                <a:solidFill>
                  <a:srgbClr val="D6D6D2"/>
                </a:solidFill>
                <a:ln w="8150" cap="flat">
                  <a:noFill/>
                  <a:prstDash val="solid"/>
                  <a:miter/>
                </a:ln>
              </p:spPr>
              <p:txBody>
                <a:bodyPr rtlCol="0" anchor="ctr"/>
                <a:lstStyle/>
                <a:p>
                  <a:endParaRPr lang="en-US"/>
                </a:p>
              </p:txBody>
            </p:sp>
            <p:sp>
              <p:nvSpPr>
                <p:cNvPr id="609" name="Freeform: Shape 608">
                  <a:extLst>
                    <a:ext uri="{FF2B5EF4-FFF2-40B4-BE49-F238E27FC236}">
                      <a16:creationId xmlns:a16="http://schemas.microsoft.com/office/drawing/2014/main" id="{9E75D093-DF1B-4F48-A1DD-BA9C7DBFCCE0}"/>
                    </a:ext>
                  </a:extLst>
                </p:cNvPr>
                <p:cNvSpPr/>
                <p:nvPr/>
              </p:nvSpPr>
              <p:spPr>
                <a:xfrm>
                  <a:off x="8709162" y="1913379"/>
                  <a:ext cx="46730" cy="21401"/>
                </a:xfrm>
                <a:custGeom>
                  <a:avLst/>
                  <a:gdLst>
                    <a:gd name="connsiteX0" fmla="*/ 46731 w 46730"/>
                    <a:gd name="connsiteY0" fmla="*/ 7017 h 21401"/>
                    <a:gd name="connsiteX1" fmla="*/ 45883 w 46730"/>
                    <a:gd name="connsiteY1" fmla="*/ 9250 h 21401"/>
                    <a:gd name="connsiteX2" fmla="*/ 44539 w 46730"/>
                    <a:gd name="connsiteY2" fmla="*/ 10945 h 21401"/>
                    <a:gd name="connsiteX3" fmla="*/ 43544 w 46730"/>
                    <a:gd name="connsiteY3" fmla="*/ 13040 h 21401"/>
                    <a:gd name="connsiteX4" fmla="*/ 41841 w 46730"/>
                    <a:gd name="connsiteY4" fmla="*/ 14612 h 21401"/>
                    <a:gd name="connsiteX5" fmla="*/ 36568 w 46730"/>
                    <a:gd name="connsiteY5" fmla="*/ 16617 h 21401"/>
                    <a:gd name="connsiteX6" fmla="*/ 32444 w 46730"/>
                    <a:gd name="connsiteY6" fmla="*/ 21034 h 21401"/>
                    <a:gd name="connsiteX7" fmla="*/ 31727 w 46730"/>
                    <a:gd name="connsiteY7" fmla="*/ 21401 h 21401"/>
                    <a:gd name="connsiteX8" fmla="*/ 17171 w 46730"/>
                    <a:gd name="connsiteY8" fmla="*/ 18997 h 21401"/>
                    <a:gd name="connsiteX9" fmla="*/ 14931 w 46730"/>
                    <a:gd name="connsiteY9" fmla="*/ 18198 h 21401"/>
                    <a:gd name="connsiteX10" fmla="*/ 10146 w 46730"/>
                    <a:gd name="connsiteY10" fmla="*/ 15558 h 21401"/>
                    <a:gd name="connsiteX11" fmla="*/ 3456 w 46730"/>
                    <a:gd name="connsiteY11" fmla="*/ 13031 h 21401"/>
                    <a:gd name="connsiteX12" fmla="*/ 0 w 46730"/>
                    <a:gd name="connsiteY12" fmla="*/ 9250 h 21401"/>
                    <a:gd name="connsiteX13" fmla="*/ 1654 w 46730"/>
                    <a:gd name="connsiteY13" fmla="*/ 8541 h 21401"/>
                    <a:gd name="connsiteX14" fmla="*/ 3333 w 46730"/>
                    <a:gd name="connsiteY14" fmla="*/ 8248 h 21401"/>
                    <a:gd name="connsiteX15" fmla="*/ 9340 w 46730"/>
                    <a:gd name="connsiteY15" fmla="*/ 8745 h 21401"/>
                    <a:gd name="connsiteX16" fmla="*/ 11051 w 46730"/>
                    <a:gd name="connsiteY16" fmla="*/ 7571 h 21401"/>
                    <a:gd name="connsiteX17" fmla="*/ 11891 w 46730"/>
                    <a:gd name="connsiteY17" fmla="*/ 4385 h 21401"/>
                    <a:gd name="connsiteX18" fmla="*/ 12053 w 46730"/>
                    <a:gd name="connsiteY18" fmla="*/ 2494 h 21401"/>
                    <a:gd name="connsiteX19" fmla="*/ 12510 w 46730"/>
                    <a:gd name="connsiteY19" fmla="*/ 1059 h 21401"/>
                    <a:gd name="connsiteX20" fmla="*/ 14409 w 46730"/>
                    <a:gd name="connsiteY20" fmla="*/ 0 h 21401"/>
                    <a:gd name="connsiteX21" fmla="*/ 35924 w 46730"/>
                    <a:gd name="connsiteY21" fmla="*/ 3284 h 21401"/>
                    <a:gd name="connsiteX22" fmla="*/ 44212 w 46730"/>
                    <a:gd name="connsiteY22" fmla="*/ 5110 h 21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6730" h="21401">
                      <a:moveTo>
                        <a:pt x="46731" y="7017"/>
                      </a:moveTo>
                      <a:lnTo>
                        <a:pt x="45883" y="9250"/>
                      </a:lnTo>
                      <a:lnTo>
                        <a:pt x="44539" y="10945"/>
                      </a:lnTo>
                      <a:lnTo>
                        <a:pt x="43544" y="13040"/>
                      </a:lnTo>
                      <a:lnTo>
                        <a:pt x="41841" y="14612"/>
                      </a:lnTo>
                      <a:lnTo>
                        <a:pt x="36568" y="16617"/>
                      </a:lnTo>
                      <a:lnTo>
                        <a:pt x="32444" y="21034"/>
                      </a:lnTo>
                      <a:lnTo>
                        <a:pt x="31727" y="21401"/>
                      </a:lnTo>
                      <a:lnTo>
                        <a:pt x="17171" y="18997"/>
                      </a:lnTo>
                      <a:lnTo>
                        <a:pt x="14931" y="18198"/>
                      </a:lnTo>
                      <a:lnTo>
                        <a:pt x="10146" y="15558"/>
                      </a:lnTo>
                      <a:lnTo>
                        <a:pt x="3456" y="13031"/>
                      </a:lnTo>
                      <a:lnTo>
                        <a:pt x="0" y="9250"/>
                      </a:lnTo>
                      <a:lnTo>
                        <a:pt x="1654" y="8541"/>
                      </a:lnTo>
                      <a:lnTo>
                        <a:pt x="3333" y="8248"/>
                      </a:lnTo>
                      <a:lnTo>
                        <a:pt x="9340" y="8745"/>
                      </a:lnTo>
                      <a:lnTo>
                        <a:pt x="11051" y="7571"/>
                      </a:lnTo>
                      <a:lnTo>
                        <a:pt x="11891" y="4385"/>
                      </a:lnTo>
                      <a:lnTo>
                        <a:pt x="12053" y="2494"/>
                      </a:lnTo>
                      <a:lnTo>
                        <a:pt x="12510" y="1059"/>
                      </a:lnTo>
                      <a:lnTo>
                        <a:pt x="14409" y="0"/>
                      </a:lnTo>
                      <a:lnTo>
                        <a:pt x="35924" y="3284"/>
                      </a:lnTo>
                      <a:lnTo>
                        <a:pt x="44212" y="5110"/>
                      </a:lnTo>
                      <a:close/>
                    </a:path>
                  </a:pathLst>
                </a:custGeom>
                <a:solidFill>
                  <a:srgbClr val="D6D6D2"/>
                </a:solidFill>
                <a:ln w="8150" cap="flat">
                  <a:noFill/>
                  <a:prstDash val="solid"/>
                  <a:miter/>
                </a:ln>
              </p:spPr>
              <p:txBody>
                <a:bodyPr rtlCol="0" anchor="ctr"/>
                <a:lstStyle/>
                <a:p>
                  <a:endParaRPr lang="en-US"/>
                </a:p>
              </p:txBody>
            </p:sp>
            <p:sp>
              <p:nvSpPr>
                <p:cNvPr id="610" name="Freeform: Shape 609">
                  <a:extLst>
                    <a:ext uri="{FF2B5EF4-FFF2-40B4-BE49-F238E27FC236}">
                      <a16:creationId xmlns:a16="http://schemas.microsoft.com/office/drawing/2014/main" id="{E1B362A1-FE3A-493B-AFB8-19BA0E603470}"/>
                    </a:ext>
                  </a:extLst>
                </p:cNvPr>
                <p:cNvSpPr/>
                <p:nvPr/>
              </p:nvSpPr>
              <p:spPr>
                <a:xfrm>
                  <a:off x="9568446" y="1864212"/>
                  <a:ext cx="115930" cy="38588"/>
                </a:xfrm>
                <a:custGeom>
                  <a:avLst/>
                  <a:gdLst>
                    <a:gd name="connsiteX0" fmla="*/ 16039 w 115930"/>
                    <a:gd name="connsiteY0" fmla="*/ 10098 h 38588"/>
                    <a:gd name="connsiteX1" fmla="*/ 22607 w 115930"/>
                    <a:gd name="connsiteY1" fmla="*/ 10407 h 38588"/>
                    <a:gd name="connsiteX2" fmla="*/ 32110 w 115930"/>
                    <a:gd name="connsiteY2" fmla="*/ 6887 h 38588"/>
                    <a:gd name="connsiteX3" fmla="*/ 33439 w 115930"/>
                    <a:gd name="connsiteY3" fmla="*/ 6764 h 38588"/>
                    <a:gd name="connsiteX4" fmla="*/ 56641 w 115930"/>
                    <a:gd name="connsiteY4" fmla="*/ 8060 h 38588"/>
                    <a:gd name="connsiteX5" fmla="*/ 58548 w 115930"/>
                    <a:gd name="connsiteY5" fmla="*/ 9299 h 38588"/>
                    <a:gd name="connsiteX6" fmla="*/ 58784 w 115930"/>
                    <a:gd name="connsiteY6" fmla="*/ 11736 h 38588"/>
                    <a:gd name="connsiteX7" fmla="*/ 58059 w 115930"/>
                    <a:gd name="connsiteY7" fmla="*/ 13040 h 38588"/>
                    <a:gd name="connsiteX8" fmla="*/ 57700 w 115930"/>
                    <a:gd name="connsiteY8" fmla="*/ 14800 h 38588"/>
                    <a:gd name="connsiteX9" fmla="*/ 60552 w 115930"/>
                    <a:gd name="connsiteY9" fmla="*/ 16520 h 38588"/>
                    <a:gd name="connsiteX10" fmla="*/ 68051 w 115930"/>
                    <a:gd name="connsiteY10" fmla="*/ 16911 h 38588"/>
                    <a:gd name="connsiteX11" fmla="*/ 72786 w 115930"/>
                    <a:gd name="connsiteY11" fmla="*/ 15289 h 38588"/>
                    <a:gd name="connsiteX12" fmla="*/ 86730 w 115930"/>
                    <a:gd name="connsiteY12" fmla="*/ 16128 h 38588"/>
                    <a:gd name="connsiteX13" fmla="*/ 98090 w 115930"/>
                    <a:gd name="connsiteY13" fmla="*/ 17335 h 38588"/>
                    <a:gd name="connsiteX14" fmla="*/ 102483 w 115930"/>
                    <a:gd name="connsiteY14" fmla="*/ 19975 h 38588"/>
                    <a:gd name="connsiteX15" fmla="*/ 105865 w 115930"/>
                    <a:gd name="connsiteY15" fmla="*/ 21385 h 38588"/>
                    <a:gd name="connsiteX16" fmla="*/ 108685 w 115930"/>
                    <a:gd name="connsiteY16" fmla="*/ 23031 h 38588"/>
                    <a:gd name="connsiteX17" fmla="*/ 110722 w 115930"/>
                    <a:gd name="connsiteY17" fmla="*/ 22061 h 38588"/>
                    <a:gd name="connsiteX18" fmla="*/ 112637 w 115930"/>
                    <a:gd name="connsiteY18" fmla="*/ 20382 h 38588"/>
                    <a:gd name="connsiteX19" fmla="*/ 114292 w 115930"/>
                    <a:gd name="connsiteY19" fmla="*/ 20048 h 38588"/>
                    <a:gd name="connsiteX20" fmla="*/ 115930 w 115930"/>
                    <a:gd name="connsiteY20" fmla="*/ 20334 h 38588"/>
                    <a:gd name="connsiteX21" fmla="*/ 111553 w 115930"/>
                    <a:gd name="connsiteY21" fmla="*/ 30415 h 38588"/>
                    <a:gd name="connsiteX22" fmla="*/ 109915 w 115930"/>
                    <a:gd name="connsiteY22" fmla="*/ 31629 h 38588"/>
                    <a:gd name="connsiteX23" fmla="*/ 103738 w 115930"/>
                    <a:gd name="connsiteY23" fmla="*/ 34107 h 38588"/>
                    <a:gd name="connsiteX24" fmla="*/ 91505 w 115930"/>
                    <a:gd name="connsiteY24" fmla="*/ 37505 h 38588"/>
                    <a:gd name="connsiteX25" fmla="*/ 85515 w 115930"/>
                    <a:gd name="connsiteY25" fmla="*/ 38581 h 38588"/>
                    <a:gd name="connsiteX26" fmla="*/ 71962 w 115930"/>
                    <a:gd name="connsiteY26" fmla="*/ 38589 h 38588"/>
                    <a:gd name="connsiteX27" fmla="*/ 53275 w 115930"/>
                    <a:gd name="connsiteY27" fmla="*/ 37261 h 38588"/>
                    <a:gd name="connsiteX28" fmla="*/ 48205 w 115930"/>
                    <a:gd name="connsiteY28" fmla="*/ 36063 h 38588"/>
                    <a:gd name="connsiteX29" fmla="*/ 45223 w 115930"/>
                    <a:gd name="connsiteY29" fmla="*/ 34563 h 38588"/>
                    <a:gd name="connsiteX30" fmla="*/ 39502 w 115930"/>
                    <a:gd name="connsiteY30" fmla="*/ 31018 h 38588"/>
                    <a:gd name="connsiteX31" fmla="*/ 36666 w 115930"/>
                    <a:gd name="connsiteY31" fmla="*/ 29738 h 38588"/>
                    <a:gd name="connsiteX32" fmla="*/ 27489 w 115930"/>
                    <a:gd name="connsiteY32" fmla="*/ 28524 h 38588"/>
                    <a:gd name="connsiteX33" fmla="*/ 24678 w 115930"/>
                    <a:gd name="connsiteY33" fmla="*/ 27848 h 38588"/>
                    <a:gd name="connsiteX34" fmla="*/ 19250 w 115930"/>
                    <a:gd name="connsiteY34" fmla="*/ 24808 h 38588"/>
                    <a:gd name="connsiteX35" fmla="*/ 13765 w 115930"/>
                    <a:gd name="connsiteY35" fmla="*/ 22347 h 38588"/>
                    <a:gd name="connsiteX36" fmla="*/ 0 w 115930"/>
                    <a:gd name="connsiteY36" fmla="*/ 18337 h 38588"/>
                    <a:gd name="connsiteX37" fmla="*/ 929 w 115930"/>
                    <a:gd name="connsiteY37" fmla="*/ 13692 h 38588"/>
                    <a:gd name="connsiteX38" fmla="*/ 2706 w 115930"/>
                    <a:gd name="connsiteY38" fmla="*/ 9005 h 38588"/>
                    <a:gd name="connsiteX39" fmla="*/ 4817 w 115930"/>
                    <a:gd name="connsiteY39" fmla="*/ 4833 h 38588"/>
                    <a:gd name="connsiteX40" fmla="*/ 7196 w 115930"/>
                    <a:gd name="connsiteY40" fmla="*/ 1133 h 38588"/>
                    <a:gd name="connsiteX41" fmla="*/ 9641 w 115930"/>
                    <a:gd name="connsiteY41" fmla="*/ 0 h 38588"/>
                    <a:gd name="connsiteX42" fmla="*/ 14939 w 115930"/>
                    <a:gd name="connsiteY42" fmla="*/ 3415 h 38588"/>
                    <a:gd name="connsiteX43" fmla="*/ 14873 w 115930"/>
                    <a:gd name="connsiteY43" fmla="*/ 7335 h 38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15930" h="38588">
                      <a:moveTo>
                        <a:pt x="16039" y="10098"/>
                      </a:moveTo>
                      <a:lnTo>
                        <a:pt x="22607" y="10407"/>
                      </a:lnTo>
                      <a:lnTo>
                        <a:pt x="32110" y="6887"/>
                      </a:lnTo>
                      <a:lnTo>
                        <a:pt x="33439" y="6764"/>
                      </a:lnTo>
                      <a:lnTo>
                        <a:pt x="56641" y="8060"/>
                      </a:lnTo>
                      <a:lnTo>
                        <a:pt x="58548" y="9299"/>
                      </a:lnTo>
                      <a:lnTo>
                        <a:pt x="58784" y="11736"/>
                      </a:lnTo>
                      <a:lnTo>
                        <a:pt x="58059" y="13040"/>
                      </a:lnTo>
                      <a:lnTo>
                        <a:pt x="57700" y="14800"/>
                      </a:lnTo>
                      <a:lnTo>
                        <a:pt x="60552" y="16520"/>
                      </a:lnTo>
                      <a:lnTo>
                        <a:pt x="68051" y="16911"/>
                      </a:lnTo>
                      <a:lnTo>
                        <a:pt x="72786" y="15289"/>
                      </a:lnTo>
                      <a:lnTo>
                        <a:pt x="86730" y="16128"/>
                      </a:lnTo>
                      <a:lnTo>
                        <a:pt x="98090" y="17335"/>
                      </a:lnTo>
                      <a:lnTo>
                        <a:pt x="102483" y="19975"/>
                      </a:lnTo>
                      <a:lnTo>
                        <a:pt x="105865" y="21385"/>
                      </a:lnTo>
                      <a:lnTo>
                        <a:pt x="108685" y="23031"/>
                      </a:lnTo>
                      <a:lnTo>
                        <a:pt x="110722" y="22061"/>
                      </a:lnTo>
                      <a:lnTo>
                        <a:pt x="112637" y="20382"/>
                      </a:lnTo>
                      <a:lnTo>
                        <a:pt x="114292" y="20048"/>
                      </a:lnTo>
                      <a:lnTo>
                        <a:pt x="115930" y="20334"/>
                      </a:lnTo>
                      <a:lnTo>
                        <a:pt x="111553" y="30415"/>
                      </a:lnTo>
                      <a:lnTo>
                        <a:pt x="109915" y="31629"/>
                      </a:lnTo>
                      <a:lnTo>
                        <a:pt x="103738" y="34107"/>
                      </a:lnTo>
                      <a:lnTo>
                        <a:pt x="91505" y="37505"/>
                      </a:lnTo>
                      <a:lnTo>
                        <a:pt x="85515" y="38581"/>
                      </a:lnTo>
                      <a:lnTo>
                        <a:pt x="71962" y="38589"/>
                      </a:lnTo>
                      <a:lnTo>
                        <a:pt x="53275" y="37261"/>
                      </a:lnTo>
                      <a:lnTo>
                        <a:pt x="48205" y="36063"/>
                      </a:lnTo>
                      <a:lnTo>
                        <a:pt x="45223" y="34563"/>
                      </a:lnTo>
                      <a:lnTo>
                        <a:pt x="39502" y="31018"/>
                      </a:lnTo>
                      <a:lnTo>
                        <a:pt x="36666" y="29738"/>
                      </a:lnTo>
                      <a:lnTo>
                        <a:pt x="27489" y="28524"/>
                      </a:lnTo>
                      <a:lnTo>
                        <a:pt x="24678" y="27848"/>
                      </a:lnTo>
                      <a:lnTo>
                        <a:pt x="19250" y="24808"/>
                      </a:lnTo>
                      <a:lnTo>
                        <a:pt x="13765" y="22347"/>
                      </a:lnTo>
                      <a:lnTo>
                        <a:pt x="0" y="18337"/>
                      </a:lnTo>
                      <a:lnTo>
                        <a:pt x="929" y="13692"/>
                      </a:lnTo>
                      <a:lnTo>
                        <a:pt x="2706" y="9005"/>
                      </a:lnTo>
                      <a:lnTo>
                        <a:pt x="4817" y="4833"/>
                      </a:lnTo>
                      <a:lnTo>
                        <a:pt x="7196" y="1133"/>
                      </a:lnTo>
                      <a:lnTo>
                        <a:pt x="9641" y="0"/>
                      </a:lnTo>
                      <a:lnTo>
                        <a:pt x="14939" y="3415"/>
                      </a:lnTo>
                      <a:lnTo>
                        <a:pt x="14873" y="7335"/>
                      </a:lnTo>
                      <a:close/>
                    </a:path>
                  </a:pathLst>
                </a:custGeom>
                <a:solidFill>
                  <a:srgbClr val="D6D6D2"/>
                </a:solidFill>
                <a:ln w="8150" cap="flat">
                  <a:noFill/>
                  <a:prstDash val="solid"/>
                  <a:miter/>
                </a:ln>
              </p:spPr>
              <p:txBody>
                <a:bodyPr rtlCol="0" anchor="ctr"/>
                <a:lstStyle/>
                <a:p>
                  <a:endParaRPr lang="en-US"/>
                </a:p>
              </p:txBody>
            </p:sp>
            <p:sp>
              <p:nvSpPr>
                <p:cNvPr id="611" name="Freeform: Shape 610">
                  <a:extLst>
                    <a:ext uri="{FF2B5EF4-FFF2-40B4-BE49-F238E27FC236}">
                      <a16:creationId xmlns:a16="http://schemas.microsoft.com/office/drawing/2014/main" id="{18112B1B-F87E-4CAA-949E-AE30697D5B4C}"/>
                    </a:ext>
                  </a:extLst>
                </p:cNvPr>
                <p:cNvSpPr/>
                <p:nvPr/>
              </p:nvSpPr>
              <p:spPr>
                <a:xfrm>
                  <a:off x="9303139" y="1851564"/>
                  <a:ext cx="17782" cy="22208"/>
                </a:xfrm>
                <a:custGeom>
                  <a:avLst/>
                  <a:gdLst>
                    <a:gd name="connsiteX0" fmla="*/ 12323 w 17782"/>
                    <a:gd name="connsiteY0" fmla="*/ 20896 h 22208"/>
                    <a:gd name="connsiteX1" fmla="*/ 7302 w 17782"/>
                    <a:gd name="connsiteY1" fmla="*/ 22208 h 22208"/>
                    <a:gd name="connsiteX2" fmla="*/ 0 w 17782"/>
                    <a:gd name="connsiteY2" fmla="*/ 21849 h 22208"/>
                    <a:gd name="connsiteX3" fmla="*/ 538 w 17782"/>
                    <a:gd name="connsiteY3" fmla="*/ 18329 h 22208"/>
                    <a:gd name="connsiteX4" fmla="*/ 1777 w 17782"/>
                    <a:gd name="connsiteY4" fmla="*/ 16764 h 22208"/>
                    <a:gd name="connsiteX5" fmla="*/ 3504 w 17782"/>
                    <a:gd name="connsiteY5" fmla="*/ 12909 h 22208"/>
                    <a:gd name="connsiteX6" fmla="*/ 2706 w 17782"/>
                    <a:gd name="connsiteY6" fmla="*/ 10024 h 22208"/>
                    <a:gd name="connsiteX7" fmla="*/ 3138 w 17782"/>
                    <a:gd name="connsiteY7" fmla="*/ 6495 h 22208"/>
                    <a:gd name="connsiteX8" fmla="*/ 4018 w 17782"/>
                    <a:gd name="connsiteY8" fmla="*/ 3790 h 22208"/>
                    <a:gd name="connsiteX9" fmla="*/ 6121 w 17782"/>
                    <a:gd name="connsiteY9" fmla="*/ 0 h 22208"/>
                    <a:gd name="connsiteX10" fmla="*/ 8346 w 17782"/>
                    <a:gd name="connsiteY10" fmla="*/ 2241 h 22208"/>
                    <a:gd name="connsiteX11" fmla="*/ 9853 w 17782"/>
                    <a:gd name="connsiteY11" fmla="*/ 5574 h 22208"/>
                    <a:gd name="connsiteX12" fmla="*/ 11231 w 17782"/>
                    <a:gd name="connsiteY12" fmla="*/ 7245 h 22208"/>
                    <a:gd name="connsiteX13" fmla="*/ 16748 w 17782"/>
                    <a:gd name="connsiteY13" fmla="*/ 10546 h 22208"/>
                    <a:gd name="connsiteX14" fmla="*/ 17783 w 17782"/>
                    <a:gd name="connsiteY14" fmla="*/ 11507 h 22208"/>
                    <a:gd name="connsiteX15" fmla="*/ 13187 w 17782"/>
                    <a:gd name="connsiteY15" fmla="*/ 15517 h 22208"/>
                    <a:gd name="connsiteX16" fmla="*/ 12738 w 17782"/>
                    <a:gd name="connsiteY16" fmla="*/ 17229 h 22208"/>
                    <a:gd name="connsiteX17" fmla="*/ 14107 w 17782"/>
                    <a:gd name="connsiteY17" fmla="*/ 19519 h 2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782" h="22208">
                      <a:moveTo>
                        <a:pt x="12323" y="20896"/>
                      </a:moveTo>
                      <a:lnTo>
                        <a:pt x="7302" y="22208"/>
                      </a:lnTo>
                      <a:lnTo>
                        <a:pt x="0" y="21849"/>
                      </a:lnTo>
                      <a:lnTo>
                        <a:pt x="538" y="18329"/>
                      </a:lnTo>
                      <a:lnTo>
                        <a:pt x="1777" y="16764"/>
                      </a:lnTo>
                      <a:lnTo>
                        <a:pt x="3504" y="12909"/>
                      </a:lnTo>
                      <a:lnTo>
                        <a:pt x="2706" y="10024"/>
                      </a:lnTo>
                      <a:lnTo>
                        <a:pt x="3138" y="6495"/>
                      </a:lnTo>
                      <a:lnTo>
                        <a:pt x="4018" y="3790"/>
                      </a:lnTo>
                      <a:lnTo>
                        <a:pt x="6121" y="0"/>
                      </a:lnTo>
                      <a:lnTo>
                        <a:pt x="8346" y="2241"/>
                      </a:lnTo>
                      <a:lnTo>
                        <a:pt x="9853" y="5574"/>
                      </a:lnTo>
                      <a:lnTo>
                        <a:pt x="11231" y="7245"/>
                      </a:lnTo>
                      <a:lnTo>
                        <a:pt x="16748" y="10546"/>
                      </a:lnTo>
                      <a:lnTo>
                        <a:pt x="17783" y="11507"/>
                      </a:lnTo>
                      <a:lnTo>
                        <a:pt x="13187" y="15517"/>
                      </a:lnTo>
                      <a:lnTo>
                        <a:pt x="12738" y="17229"/>
                      </a:lnTo>
                      <a:lnTo>
                        <a:pt x="14107" y="19519"/>
                      </a:lnTo>
                      <a:close/>
                    </a:path>
                  </a:pathLst>
                </a:custGeom>
                <a:solidFill>
                  <a:srgbClr val="D6D6D2"/>
                </a:solidFill>
                <a:ln w="8150" cap="flat">
                  <a:noFill/>
                  <a:prstDash val="solid"/>
                  <a:miter/>
                </a:ln>
              </p:spPr>
              <p:txBody>
                <a:bodyPr rtlCol="0" anchor="ctr"/>
                <a:lstStyle/>
                <a:p>
                  <a:endParaRPr lang="en-US"/>
                </a:p>
              </p:txBody>
            </p:sp>
            <p:sp>
              <p:nvSpPr>
                <p:cNvPr id="612" name="Freeform: Shape 611">
                  <a:extLst>
                    <a:ext uri="{FF2B5EF4-FFF2-40B4-BE49-F238E27FC236}">
                      <a16:creationId xmlns:a16="http://schemas.microsoft.com/office/drawing/2014/main" id="{E23FC9F0-2767-48AE-806E-8A073853AE75}"/>
                    </a:ext>
                  </a:extLst>
                </p:cNvPr>
                <p:cNvSpPr/>
                <p:nvPr/>
              </p:nvSpPr>
              <p:spPr>
                <a:xfrm>
                  <a:off x="9340237" y="1834466"/>
                  <a:ext cx="208649" cy="73836"/>
                </a:xfrm>
                <a:custGeom>
                  <a:avLst/>
                  <a:gdLst>
                    <a:gd name="connsiteX0" fmla="*/ 76918 w 208649"/>
                    <a:gd name="connsiteY0" fmla="*/ 17872 h 73836"/>
                    <a:gd name="connsiteX1" fmla="*/ 79484 w 208649"/>
                    <a:gd name="connsiteY1" fmla="*/ 18801 h 73836"/>
                    <a:gd name="connsiteX2" fmla="*/ 82508 w 208649"/>
                    <a:gd name="connsiteY2" fmla="*/ 18190 h 73836"/>
                    <a:gd name="connsiteX3" fmla="*/ 85360 w 208649"/>
                    <a:gd name="connsiteY3" fmla="*/ 19470 h 73836"/>
                    <a:gd name="connsiteX4" fmla="*/ 88018 w 208649"/>
                    <a:gd name="connsiteY4" fmla="*/ 24571 h 73836"/>
                    <a:gd name="connsiteX5" fmla="*/ 89264 w 208649"/>
                    <a:gd name="connsiteY5" fmla="*/ 25843 h 73836"/>
                    <a:gd name="connsiteX6" fmla="*/ 90641 w 208649"/>
                    <a:gd name="connsiteY6" fmla="*/ 26764 h 73836"/>
                    <a:gd name="connsiteX7" fmla="*/ 91994 w 208649"/>
                    <a:gd name="connsiteY7" fmla="*/ 27236 h 73836"/>
                    <a:gd name="connsiteX8" fmla="*/ 95947 w 208649"/>
                    <a:gd name="connsiteY8" fmla="*/ 27399 h 73836"/>
                    <a:gd name="connsiteX9" fmla="*/ 97756 w 208649"/>
                    <a:gd name="connsiteY9" fmla="*/ 26373 h 73836"/>
                    <a:gd name="connsiteX10" fmla="*/ 99125 w 208649"/>
                    <a:gd name="connsiteY10" fmla="*/ 24050 h 73836"/>
                    <a:gd name="connsiteX11" fmla="*/ 99027 w 208649"/>
                    <a:gd name="connsiteY11" fmla="*/ 21703 h 73836"/>
                    <a:gd name="connsiteX12" fmla="*/ 98685 w 208649"/>
                    <a:gd name="connsiteY12" fmla="*/ 19315 h 73836"/>
                    <a:gd name="connsiteX13" fmla="*/ 98677 w 208649"/>
                    <a:gd name="connsiteY13" fmla="*/ 16055 h 73836"/>
                    <a:gd name="connsiteX14" fmla="*/ 99280 w 208649"/>
                    <a:gd name="connsiteY14" fmla="*/ 13146 h 73836"/>
                    <a:gd name="connsiteX15" fmla="*/ 100144 w 208649"/>
                    <a:gd name="connsiteY15" fmla="*/ 11353 h 73836"/>
                    <a:gd name="connsiteX16" fmla="*/ 101326 w 208649"/>
                    <a:gd name="connsiteY16" fmla="*/ 10179 h 73836"/>
                    <a:gd name="connsiteX17" fmla="*/ 107935 w 208649"/>
                    <a:gd name="connsiteY17" fmla="*/ 6561 h 73836"/>
                    <a:gd name="connsiteX18" fmla="*/ 112556 w 208649"/>
                    <a:gd name="connsiteY18" fmla="*/ 3024 h 73836"/>
                    <a:gd name="connsiteX19" fmla="*/ 118921 w 208649"/>
                    <a:gd name="connsiteY19" fmla="*/ 4425 h 73836"/>
                    <a:gd name="connsiteX20" fmla="*/ 125359 w 208649"/>
                    <a:gd name="connsiteY20" fmla="*/ 7538 h 73836"/>
                    <a:gd name="connsiteX21" fmla="*/ 136728 w 208649"/>
                    <a:gd name="connsiteY21" fmla="*/ 14278 h 73836"/>
                    <a:gd name="connsiteX22" fmla="*/ 141919 w 208649"/>
                    <a:gd name="connsiteY22" fmla="*/ 16218 h 73836"/>
                    <a:gd name="connsiteX23" fmla="*/ 148301 w 208649"/>
                    <a:gd name="connsiteY23" fmla="*/ 17978 h 73836"/>
                    <a:gd name="connsiteX24" fmla="*/ 154707 w 208649"/>
                    <a:gd name="connsiteY24" fmla="*/ 18614 h 73836"/>
                    <a:gd name="connsiteX25" fmla="*/ 157828 w 208649"/>
                    <a:gd name="connsiteY25" fmla="*/ 18190 h 73836"/>
                    <a:gd name="connsiteX26" fmla="*/ 164005 w 208649"/>
                    <a:gd name="connsiteY26" fmla="*/ 16365 h 73836"/>
                    <a:gd name="connsiteX27" fmla="*/ 167127 w 208649"/>
                    <a:gd name="connsiteY27" fmla="*/ 16202 h 73836"/>
                    <a:gd name="connsiteX28" fmla="*/ 206058 w 208649"/>
                    <a:gd name="connsiteY28" fmla="*/ 29567 h 73836"/>
                    <a:gd name="connsiteX29" fmla="*/ 207394 w 208649"/>
                    <a:gd name="connsiteY29" fmla="*/ 30594 h 73836"/>
                    <a:gd name="connsiteX30" fmla="*/ 208650 w 208649"/>
                    <a:gd name="connsiteY30" fmla="*/ 32208 h 73836"/>
                    <a:gd name="connsiteX31" fmla="*/ 200296 w 208649"/>
                    <a:gd name="connsiteY31" fmla="*/ 34147 h 73836"/>
                    <a:gd name="connsiteX32" fmla="*/ 194828 w 208649"/>
                    <a:gd name="connsiteY32" fmla="*/ 37684 h 73836"/>
                    <a:gd name="connsiteX33" fmla="*/ 192945 w 208649"/>
                    <a:gd name="connsiteY33" fmla="*/ 40089 h 73836"/>
                    <a:gd name="connsiteX34" fmla="*/ 195121 w 208649"/>
                    <a:gd name="connsiteY34" fmla="*/ 42061 h 73836"/>
                    <a:gd name="connsiteX35" fmla="*/ 196824 w 208649"/>
                    <a:gd name="connsiteY35" fmla="*/ 44709 h 73836"/>
                    <a:gd name="connsiteX36" fmla="*/ 185032 w 208649"/>
                    <a:gd name="connsiteY36" fmla="*/ 52655 h 73836"/>
                    <a:gd name="connsiteX37" fmla="*/ 180272 w 208649"/>
                    <a:gd name="connsiteY37" fmla="*/ 54709 h 73836"/>
                    <a:gd name="connsiteX38" fmla="*/ 175415 w 208649"/>
                    <a:gd name="connsiteY38" fmla="*/ 55402 h 73836"/>
                    <a:gd name="connsiteX39" fmla="*/ 165635 w 208649"/>
                    <a:gd name="connsiteY39" fmla="*/ 53536 h 73836"/>
                    <a:gd name="connsiteX40" fmla="*/ 159939 w 208649"/>
                    <a:gd name="connsiteY40" fmla="*/ 53584 h 73836"/>
                    <a:gd name="connsiteX41" fmla="*/ 154348 w 208649"/>
                    <a:gd name="connsiteY41" fmla="*/ 51971 h 73836"/>
                    <a:gd name="connsiteX42" fmla="*/ 148187 w 208649"/>
                    <a:gd name="connsiteY42" fmla="*/ 47171 h 73836"/>
                    <a:gd name="connsiteX43" fmla="*/ 145652 w 208649"/>
                    <a:gd name="connsiteY43" fmla="*/ 44766 h 73836"/>
                    <a:gd name="connsiteX44" fmla="*/ 143403 w 208649"/>
                    <a:gd name="connsiteY44" fmla="*/ 41425 h 73836"/>
                    <a:gd name="connsiteX45" fmla="*/ 142661 w 208649"/>
                    <a:gd name="connsiteY45" fmla="*/ 36111 h 73836"/>
                    <a:gd name="connsiteX46" fmla="*/ 143525 w 208649"/>
                    <a:gd name="connsiteY46" fmla="*/ 31531 h 73836"/>
                    <a:gd name="connsiteX47" fmla="*/ 146842 w 208649"/>
                    <a:gd name="connsiteY47" fmla="*/ 30227 h 73836"/>
                    <a:gd name="connsiteX48" fmla="*/ 149768 w 208649"/>
                    <a:gd name="connsiteY48" fmla="*/ 27277 h 73836"/>
                    <a:gd name="connsiteX49" fmla="*/ 150175 w 208649"/>
                    <a:gd name="connsiteY49" fmla="*/ 25998 h 73836"/>
                    <a:gd name="connsiteX50" fmla="*/ 148676 w 208649"/>
                    <a:gd name="connsiteY50" fmla="*/ 23439 h 73836"/>
                    <a:gd name="connsiteX51" fmla="*/ 138994 w 208649"/>
                    <a:gd name="connsiteY51" fmla="*/ 23072 h 73836"/>
                    <a:gd name="connsiteX52" fmla="*/ 132955 w 208649"/>
                    <a:gd name="connsiteY52" fmla="*/ 24474 h 73836"/>
                    <a:gd name="connsiteX53" fmla="*/ 127454 w 208649"/>
                    <a:gd name="connsiteY53" fmla="*/ 25965 h 73836"/>
                    <a:gd name="connsiteX54" fmla="*/ 129059 w 208649"/>
                    <a:gd name="connsiteY54" fmla="*/ 35696 h 73836"/>
                    <a:gd name="connsiteX55" fmla="*/ 130249 w 208649"/>
                    <a:gd name="connsiteY55" fmla="*/ 38801 h 73836"/>
                    <a:gd name="connsiteX56" fmla="*/ 131879 w 208649"/>
                    <a:gd name="connsiteY56" fmla="*/ 41026 h 73836"/>
                    <a:gd name="connsiteX57" fmla="*/ 140607 w 208649"/>
                    <a:gd name="connsiteY57" fmla="*/ 51180 h 73836"/>
                    <a:gd name="connsiteX58" fmla="*/ 142596 w 208649"/>
                    <a:gd name="connsiteY58" fmla="*/ 52623 h 73836"/>
                    <a:gd name="connsiteX59" fmla="*/ 148374 w 208649"/>
                    <a:gd name="connsiteY59" fmla="*/ 54562 h 73836"/>
                    <a:gd name="connsiteX60" fmla="*/ 153288 w 208649"/>
                    <a:gd name="connsiteY60" fmla="*/ 58939 h 73836"/>
                    <a:gd name="connsiteX61" fmla="*/ 144609 w 208649"/>
                    <a:gd name="connsiteY61" fmla="*/ 63812 h 73836"/>
                    <a:gd name="connsiteX62" fmla="*/ 140844 w 208649"/>
                    <a:gd name="connsiteY62" fmla="*/ 65255 h 73836"/>
                    <a:gd name="connsiteX63" fmla="*/ 137046 w 208649"/>
                    <a:gd name="connsiteY63" fmla="*/ 66062 h 73836"/>
                    <a:gd name="connsiteX64" fmla="*/ 134699 w 208649"/>
                    <a:gd name="connsiteY64" fmla="*/ 65679 h 73836"/>
                    <a:gd name="connsiteX65" fmla="*/ 132442 w 208649"/>
                    <a:gd name="connsiteY65" fmla="*/ 64660 h 73836"/>
                    <a:gd name="connsiteX66" fmla="*/ 129882 w 208649"/>
                    <a:gd name="connsiteY66" fmla="*/ 62305 h 73836"/>
                    <a:gd name="connsiteX67" fmla="*/ 127796 w 208649"/>
                    <a:gd name="connsiteY67" fmla="*/ 59860 h 73836"/>
                    <a:gd name="connsiteX68" fmla="*/ 125001 w 208649"/>
                    <a:gd name="connsiteY68" fmla="*/ 57945 h 73836"/>
                    <a:gd name="connsiteX69" fmla="*/ 119068 w 208649"/>
                    <a:gd name="connsiteY69" fmla="*/ 58360 h 73836"/>
                    <a:gd name="connsiteX70" fmla="*/ 113657 w 208649"/>
                    <a:gd name="connsiteY70" fmla="*/ 60039 h 73836"/>
                    <a:gd name="connsiteX71" fmla="*/ 108204 w 208649"/>
                    <a:gd name="connsiteY71" fmla="*/ 61172 h 73836"/>
                    <a:gd name="connsiteX72" fmla="*/ 92100 w 208649"/>
                    <a:gd name="connsiteY72" fmla="*/ 63144 h 73836"/>
                    <a:gd name="connsiteX73" fmla="*/ 87211 w 208649"/>
                    <a:gd name="connsiteY73" fmla="*/ 64367 h 73836"/>
                    <a:gd name="connsiteX74" fmla="*/ 82353 w 208649"/>
                    <a:gd name="connsiteY74" fmla="*/ 64807 h 73836"/>
                    <a:gd name="connsiteX75" fmla="*/ 75980 w 208649"/>
                    <a:gd name="connsiteY75" fmla="*/ 62533 h 73836"/>
                    <a:gd name="connsiteX76" fmla="*/ 69713 w 208649"/>
                    <a:gd name="connsiteY76" fmla="*/ 59257 h 73836"/>
                    <a:gd name="connsiteX77" fmla="*/ 67798 w 208649"/>
                    <a:gd name="connsiteY77" fmla="*/ 59240 h 73836"/>
                    <a:gd name="connsiteX78" fmla="*/ 65940 w 208649"/>
                    <a:gd name="connsiteY78" fmla="*/ 60112 h 73836"/>
                    <a:gd name="connsiteX79" fmla="*/ 64497 w 208649"/>
                    <a:gd name="connsiteY79" fmla="*/ 62093 h 73836"/>
                    <a:gd name="connsiteX80" fmla="*/ 63617 w 208649"/>
                    <a:gd name="connsiteY80" fmla="*/ 65230 h 73836"/>
                    <a:gd name="connsiteX81" fmla="*/ 61571 w 208649"/>
                    <a:gd name="connsiteY81" fmla="*/ 69436 h 73836"/>
                    <a:gd name="connsiteX82" fmla="*/ 58988 w 208649"/>
                    <a:gd name="connsiteY82" fmla="*/ 72394 h 73836"/>
                    <a:gd name="connsiteX83" fmla="*/ 56233 w 208649"/>
                    <a:gd name="connsiteY83" fmla="*/ 73674 h 73836"/>
                    <a:gd name="connsiteX84" fmla="*/ 53365 w 208649"/>
                    <a:gd name="connsiteY84" fmla="*/ 73837 h 73836"/>
                    <a:gd name="connsiteX85" fmla="*/ 50455 w 208649"/>
                    <a:gd name="connsiteY85" fmla="*/ 73022 h 73836"/>
                    <a:gd name="connsiteX86" fmla="*/ 47578 w 208649"/>
                    <a:gd name="connsiteY86" fmla="*/ 71726 h 73836"/>
                    <a:gd name="connsiteX87" fmla="*/ 28386 w 208649"/>
                    <a:gd name="connsiteY87" fmla="*/ 67146 h 73836"/>
                    <a:gd name="connsiteX88" fmla="*/ 26136 w 208649"/>
                    <a:gd name="connsiteY88" fmla="*/ 65744 h 73836"/>
                    <a:gd name="connsiteX89" fmla="*/ 23993 w 208649"/>
                    <a:gd name="connsiteY89" fmla="*/ 63666 h 73836"/>
                    <a:gd name="connsiteX90" fmla="*/ 18239 w 208649"/>
                    <a:gd name="connsiteY90" fmla="*/ 57121 h 73836"/>
                    <a:gd name="connsiteX91" fmla="*/ 15387 w 208649"/>
                    <a:gd name="connsiteY91" fmla="*/ 55597 h 73836"/>
                    <a:gd name="connsiteX92" fmla="*/ 12388 w 208649"/>
                    <a:gd name="connsiteY92" fmla="*/ 54945 h 73836"/>
                    <a:gd name="connsiteX93" fmla="*/ 6707 w 208649"/>
                    <a:gd name="connsiteY93" fmla="*/ 51637 h 73836"/>
                    <a:gd name="connsiteX94" fmla="*/ 1459 w 208649"/>
                    <a:gd name="connsiteY94" fmla="*/ 46331 h 73836"/>
                    <a:gd name="connsiteX95" fmla="*/ 367 w 208649"/>
                    <a:gd name="connsiteY95" fmla="*/ 44652 h 73836"/>
                    <a:gd name="connsiteX96" fmla="*/ 0 w 208649"/>
                    <a:gd name="connsiteY96" fmla="*/ 42004 h 73836"/>
                    <a:gd name="connsiteX97" fmla="*/ 872 w 208649"/>
                    <a:gd name="connsiteY97" fmla="*/ 40105 h 73836"/>
                    <a:gd name="connsiteX98" fmla="*/ 5420 w 208649"/>
                    <a:gd name="connsiteY98" fmla="*/ 41001 h 73836"/>
                    <a:gd name="connsiteX99" fmla="*/ 8484 w 208649"/>
                    <a:gd name="connsiteY99" fmla="*/ 40903 h 73836"/>
                    <a:gd name="connsiteX100" fmla="*/ 6642 w 208649"/>
                    <a:gd name="connsiteY100" fmla="*/ 31059 h 73836"/>
                    <a:gd name="connsiteX101" fmla="*/ 7971 w 208649"/>
                    <a:gd name="connsiteY101" fmla="*/ 21703 h 73836"/>
                    <a:gd name="connsiteX102" fmla="*/ 10196 w 208649"/>
                    <a:gd name="connsiteY102" fmla="*/ 20154 h 73836"/>
                    <a:gd name="connsiteX103" fmla="*/ 18826 w 208649"/>
                    <a:gd name="connsiteY103" fmla="*/ 21214 h 73836"/>
                    <a:gd name="connsiteX104" fmla="*/ 16031 w 208649"/>
                    <a:gd name="connsiteY104" fmla="*/ 18141 h 73836"/>
                    <a:gd name="connsiteX105" fmla="*/ 13732 w 208649"/>
                    <a:gd name="connsiteY105" fmla="*/ 13985 h 73836"/>
                    <a:gd name="connsiteX106" fmla="*/ 15199 w 208649"/>
                    <a:gd name="connsiteY106" fmla="*/ 11801 h 73836"/>
                    <a:gd name="connsiteX107" fmla="*/ 16821 w 208649"/>
                    <a:gd name="connsiteY107" fmla="*/ 10212 h 73836"/>
                    <a:gd name="connsiteX108" fmla="*/ 20505 w 208649"/>
                    <a:gd name="connsiteY108" fmla="*/ 8883 h 73836"/>
                    <a:gd name="connsiteX109" fmla="*/ 25542 w 208649"/>
                    <a:gd name="connsiteY109" fmla="*/ 8296 h 73836"/>
                    <a:gd name="connsiteX110" fmla="*/ 27066 w 208649"/>
                    <a:gd name="connsiteY110" fmla="*/ 7359 h 73836"/>
                    <a:gd name="connsiteX111" fmla="*/ 28483 w 208649"/>
                    <a:gd name="connsiteY111" fmla="*/ 5754 h 73836"/>
                    <a:gd name="connsiteX112" fmla="*/ 31254 w 208649"/>
                    <a:gd name="connsiteY112" fmla="*/ 4091 h 73836"/>
                    <a:gd name="connsiteX113" fmla="*/ 36788 w 208649"/>
                    <a:gd name="connsiteY113" fmla="*/ 3366 h 73836"/>
                    <a:gd name="connsiteX114" fmla="*/ 46299 w 208649"/>
                    <a:gd name="connsiteY114" fmla="*/ 0 h 73836"/>
                    <a:gd name="connsiteX115" fmla="*/ 48915 w 208649"/>
                    <a:gd name="connsiteY115" fmla="*/ 147 h 73836"/>
                    <a:gd name="connsiteX116" fmla="*/ 51352 w 208649"/>
                    <a:gd name="connsiteY116" fmla="*/ 1915 h 73836"/>
                    <a:gd name="connsiteX117" fmla="*/ 53609 w 208649"/>
                    <a:gd name="connsiteY117" fmla="*/ 4417 h 73836"/>
                    <a:gd name="connsiteX118" fmla="*/ 56152 w 208649"/>
                    <a:gd name="connsiteY118" fmla="*/ 5746 h 73836"/>
                    <a:gd name="connsiteX119" fmla="*/ 64016 w 208649"/>
                    <a:gd name="connsiteY119" fmla="*/ 8989 h 73836"/>
                    <a:gd name="connsiteX120" fmla="*/ 69346 w 208649"/>
                    <a:gd name="connsiteY120" fmla="*/ 11899 h 73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08649" h="73836">
                      <a:moveTo>
                        <a:pt x="76918" y="17872"/>
                      </a:moveTo>
                      <a:lnTo>
                        <a:pt x="79484" y="18801"/>
                      </a:lnTo>
                      <a:lnTo>
                        <a:pt x="82508" y="18190"/>
                      </a:lnTo>
                      <a:lnTo>
                        <a:pt x="85360" y="19470"/>
                      </a:lnTo>
                      <a:lnTo>
                        <a:pt x="88018" y="24571"/>
                      </a:lnTo>
                      <a:lnTo>
                        <a:pt x="89264" y="25843"/>
                      </a:lnTo>
                      <a:lnTo>
                        <a:pt x="90641" y="26764"/>
                      </a:lnTo>
                      <a:lnTo>
                        <a:pt x="91994" y="27236"/>
                      </a:lnTo>
                      <a:lnTo>
                        <a:pt x="95947" y="27399"/>
                      </a:lnTo>
                      <a:lnTo>
                        <a:pt x="97756" y="26373"/>
                      </a:lnTo>
                      <a:lnTo>
                        <a:pt x="99125" y="24050"/>
                      </a:lnTo>
                      <a:lnTo>
                        <a:pt x="99027" y="21703"/>
                      </a:lnTo>
                      <a:lnTo>
                        <a:pt x="98685" y="19315"/>
                      </a:lnTo>
                      <a:lnTo>
                        <a:pt x="98677" y="16055"/>
                      </a:lnTo>
                      <a:lnTo>
                        <a:pt x="99280" y="13146"/>
                      </a:lnTo>
                      <a:lnTo>
                        <a:pt x="100144" y="11353"/>
                      </a:lnTo>
                      <a:lnTo>
                        <a:pt x="101326" y="10179"/>
                      </a:lnTo>
                      <a:lnTo>
                        <a:pt x="107935" y="6561"/>
                      </a:lnTo>
                      <a:lnTo>
                        <a:pt x="112556" y="3024"/>
                      </a:lnTo>
                      <a:lnTo>
                        <a:pt x="118921" y="4425"/>
                      </a:lnTo>
                      <a:lnTo>
                        <a:pt x="125359" y="7538"/>
                      </a:lnTo>
                      <a:lnTo>
                        <a:pt x="136728" y="14278"/>
                      </a:lnTo>
                      <a:lnTo>
                        <a:pt x="141919" y="16218"/>
                      </a:lnTo>
                      <a:lnTo>
                        <a:pt x="148301" y="17978"/>
                      </a:lnTo>
                      <a:lnTo>
                        <a:pt x="154707" y="18614"/>
                      </a:lnTo>
                      <a:lnTo>
                        <a:pt x="157828" y="18190"/>
                      </a:lnTo>
                      <a:lnTo>
                        <a:pt x="164005" y="16365"/>
                      </a:lnTo>
                      <a:lnTo>
                        <a:pt x="167127" y="16202"/>
                      </a:lnTo>
                      <a:lnTo>
                        <a:pt x="206058" y="29567"/>
                      </a:lnTo>
                      <a:lnTo>
                        <a:pt x="207394" y="30594"/>
                      </a:lnTo>
                      <a:lnTo>
                        <a:pt x="208650" y="32208"/>
                      </a:lnTo>
                      <a:lnTo>
                        <a:pt x="200296" y="34147"/>
                      </a:lnTo>
                      <a:lnTo>
                        <a:pt x="194828" y="37684"/>
                      </a:lnTo>
                      <a:lnTo>
                        <a:pt x="192945" y="40089"/>
                      </a:lnTo>
                      <a:lnTo>
                        <a:pt x="195121" y="42061"/>
                      </a:lnTo>
                      <a:lnTo>
                        <a:pt x="196824" y="44709"/>
                      </a:lnTo>
                      <a:lnTo>
                        <a:pt x="185032" y="52655"/>
                      </a:lnTo>
                      <a:lnTo>
                        <a:pt x="180272" y="54709"/>
                      </a:lnTo>
                      <a:lnTo>
                        <a:pt x="175415" y="55402"/>
                      </a:lnTo>
                      <a:lnTo>
                        <a:pt x="165635" y="53536"/>
                      </a:lnTo>
                      <a:lnTo>
                        <a:pt x="159939" y="53584"/>
                      </a:lnTo>
                      <a:lnTo>
                        <a:pt x="154348" y="51971"/>
                      </a:lnTo>
                      <a:lnTo>
                        <a:pt x="148187" y="47171"/>
                      </a:lnTo>
                      <a:lnTo>
                        <a:pt x="145652" y="44766"/>
                      </a:lnTo>
                      <a:lnTo>
                        <a:pt x="143403" y="41425"/>
                      </a:lnTo>
                      <a:lnTo>
                        <a:pt x="142661" y="36111"/>
                      </a:lnTo>
                      <a:lnTo>
                        <a:pt x="143525" y="31531"/>
                      </a:lnTo>
                      <a:lnTo>
                        <a:pt x="146842" y="30227"/>
                      </a:lnTo>
                      <a:lnTo>
                        <a:pt x="149768" y="27277"/>
                      </a:lnTo>
                      <a:lnTo>
                        <a:pt x="150175" y="25998"/>
                      </a:lnTo>
                      <a:lnTo>
                        <a:pt x="148676" y="23439"/>
                      </a:lnTo>
                      <a:lnTo>
                        <a:pt x="138994" y="23072"/>
                      </a:lnTo>
                      <a:lnTo>
                        <a:pt x="132955" y="24474"/>
                      </a:lnTo>
                      <a:lnTo>
                        <a:pt x="127454" y="25965"/>
                      </a:lnTo>
                      <a:lnTo>
                        <a:pt x="129059" y="35696"/>
                      </a:lnTo>
                      <a:lnTo>
                        <a:pt x="130249" y="38801"/>
                      </a:lnTo>
                      <a:lnTo>
                        <a:pt x="131879" y="41026"/>
                      </a:lnTo>
                      <a:lnTo>
                        <a:pt x="140607" y="51180"/>
                      </a:lnTo>
                      <a:lnTo>
                        <a:pt x="142596" y="52623"/>
                      </a:lnTo>
                      <a:lnTo>
                        <a:pt x="148374" y="54562"/>
                      </a:lnTo>
                      <a:lnTo>
                        <a:pt x="153288" y="58939"/>
                      </a:lnTo>
                      <a:lnTo>
                        <a:pt x="144609" y="63812"/>
                      </a:lnTo>
                      <a:lnTo>
                        <a:pt x="140844" y="65255"/>
                      </a:lnTo>
                      <a:lnTo>
                        <a:pt x="137046" y="66062"/>
                      </a:lnTo>
                      <a:lnTo>
                        <a:pt x="134699" y="65679"/>
                      </a:lnTo>
                      <a:lnTo>
                        <a:pt x="132442" y="64660"/>
                      </a:lnTo>
                      <a:lnTo>
                        <a:pt x="129882" y="62305"/>
                      </a:lnTo>
                      <a:lnTo>
                        <a:pt x="127796" y="59860"/>
                      </a:lnTo>
                      <a:lnTo>
                        <a:pt x="125001" y="57945"/>
                      </a:lnTo>
                      <a:lnTo>
                        <a:pt x="119068" y="58360"/>
                      </a:lnTo>
                      <a:lnTo>
                        <a:pt x="113657" y="60039"/>
                      </a:lnTo>
                      <a:lnTo>
                        <a:pt x="108204" y="61172"/>
                      </a:lnTo>
                      <a:lnTo>
                        <a:pt x="92100" y="63144"/>
                      </a:lnTo>
                      <a:lnTo>
                        <a:pt x="87211" y="64367"/>
                      </a:lnTo>
                      <a:lnTo>
                        <a:pt x="82353" y="64807"/>
                      </a:lnTo>
                      <a:lnTo>
                        <a:pt x="75980" y="62533"/>
                      </a:lnTo>
                      <a:lnTo>
                        <a:pt x="69713" y="59257"/>
                      </a:lnTo>
                      <a:lnTo>
                        <a:pt x="67798" y="59240"/>
                      </a:lnTo>
                      <a:lnTo>
                        <a:pt x="65940" y="60112"/>
                      </a:lnTo>
                      <a:lnTo>
                        <a:pt x="64497" y="62093"/>
                      </a:lnTo>
                      <a:lnTo>
                        <a:pt x="63617" y="65230"/>
                      </a:lnTo>
                      <a:lnTo>
                        <a:pt x="61571" y="69436"/>
                      </a:lnTo>
                      <a:lnTo>
                        <a:pt x="58988" y="72394"/>
                      </a:lnTo>
                      <a:lnTo>
                        <a:pt x="56233" y="73674"/>
                      </a:lnTo>
                      <a:lnTo>
                        <a:pt x="53365" y="73837"/>
                      </a:lnTo>
                      <a:lnTo>
                        <a:pt x="50455" y="73022"/>
                      </a:lnTo>
                      <a:lnTo>
                        <a:pt x="47578" y="71726"/>
                      </a:lnTo>
                      <a:lnTo>
                        <a:pt x="28386" y="67146"/>
                      </a:lnTo>
                      <a:lnTo>
                        <a:pt x="26136" y="65744"/>
                      </a:lnTo>
                      <a:lnTo>
                        <a:pt x="23993" y="63666"/>
                      </a:lnTo>
                      <a:lnTo>
                        <a:pt x="18239" y="57121"/>
                      </a:lnTo>
                      <a:lnTo>
                        <a:pt x="15387" y="55597"/>
                      </a:lnTo>
                      <a:lnTo>
                        <a:pt x="12388" y="54945"/>
                      </a:lnTo>
                      <a:lnTo>
                        <a:pt x="6707" y="51637"/>
                      </a:lnTo>
                      <a:lnTo>
                        <a:pt x="1459" y="46331"/>
                      </a:lnTo>
                      <a:lnTo>
                        <a:pt x="367" y="44652"/>
                      </a:lnTo>
                      <a:lnTo>
                        <a:pt x="0" y="42004"/>
                      </a:lnTo>
                      <a:lnTo>
                        <a:pt x="872" y="40105"/>
                      </a:lnTo>
                      <a:lnTo>
                        <a:pt x="5420" y="41001"/>
                      </a:lnTo>
                      <a:lnTo>
                        <a:pt x="8484" y="40903"/>
                      </a:lnTo>
                      <a:lnTo>
                        <a:pt x="6642" y="31059"/>
                      </a:lnTo>
                      <a:lnTo>
                        <a:pt x="7971" y="21703"/>
                      </a:lnTo>
                      <a:lnTo>
                        <a:pt x="10196" y="20154"/>
                      </a:lnTo>
                      <a:lnTo>
                        <a:pt x="18826" y="21214"/>
                      </a:lnTo>
                      <a:lnTo>
                        <a:pt x="16031" y="18141"/>
                      </a:lnTo>
                      <a:lnTo>
                        <a:pt x="13732" y="13985"/>
                      </a:lnTo>
                      <a:lnTo>
                        <a:pt x="15199" y="11801"/>
                      </a:lnTo>
                      <a:lnTo>
                        <a:pt x="16821" y="10212"/>
                      </a:lnTo>
                      <a:lnTo>
                        <a:pt x="20505" y="8883"/>
                      </a:lnTo>
                      <a:lnTo>
                        <a:pt x="25542" y="8296"/>
                      </a:lnTo>
                      <a:lnTo>
                        <a:pt x="27066" y="7359"/>
                      </a:lnTo>
                      <a:lnTo>
                        <a:pt x="28483" y="5754"/>
                      </a:lnTo>
                      <a:lnTo>
                        <a:pt x="31254" y="4091"/>
                      </a:lnTo>
                      <a:lnTo>
                        <a:pt x="36788" y="3366"/>
                      </a:lnTo>
                      <a:lnTo>
                        <a:pt x="46299" y="0"/>
                      </a:lnTo>
                      <a:lnTo>
                        <a:pt x="48915" y="147"/>
                      </a:lnTo>
                      <a:lnTo>
                        <a:pt x="51352" y="1915"/>
                      </a:lnTo>
                      <a:lnTo>
                        <a:pt x="53609" y="4417"/>
                      </a:lnTo>
                      <a:lnTo>
                        <a:pt x="56152" y="5746"/>
                      </a:lnTo>
                      <a:lnTo>
                        <a:pt x="64016" y="8989"/>
                      </a:lnTo>
                      <a:lnTo>
                        <a:pt x="69346" y="11899"/>
                      </a:lnTo>
                      <a:close/>
                    </a:path>
                  </a:pathLst>
                </a:custGeom>
                <a:solidFill>
                  <a:srgbClr val="D6D6D2"/>
                </a:solidFill>
                <a:ln w="8150" cap="flat">
                  <a:noFill/>
                  <a:prstDash val="solid"/>
                  <a:miter/>
                </a:ln>
              </p:spPr>
              <p:txBody>
                <a:bodyPr rtlCol="0" anchor="ctr"/>
                <a:lstStyle/>
                <a:p>
                  <a:endParaRPr lang="en-US"/>
                </a:p>
              </p:txBody>
            </p:sp>
            <p:sp>
              <p:nvSpPr>
                <p:cNvPr id="613" name="Freeform: Shape 612">
                  <a:extLst>
                    <a:ext uri="{FF2B5EF4-FFF2-40B4-BE49-F238E27FC236}">
                      <a16:creationId xmlns:a16="http://schemas.microsoft.com/office/drawing/2014/main" id="{0663E5C0-15B0-48DF-BCD3-0A76CD18DCAF}"/>
                    </a:ext>
                  </a:extLst>
                </p:cNvPr>
                <p:cNvSpPr/>
                <p:nvPr/>
              </p:nvSpPr>
              <p:spPr>
                <a:xfrm>
                  <a:off x="8307560" y="1829356"/>
                  <a:ext cx="32313" cy="8866"/>
                </a:xfrm>
                <a:custGeom>
                  <a:avLst/>
                  <a:gdLst>
                    <a:gd name="connsiteX0" fmla="*/ 30284 w 32313"/>
                    <a:gd name="connsiteY0" fmla="*/ 1312 h 8866"/>
                    <a:gd name="connsiteX1" fmla="*/ 32313 w 32313"/>
                    <a:gd name="connsiteY1" fmla="*/ 2005 h 8866"/>
                    <a:gd name="connsiteX2" fmla="*/ 31711 w 32313"/>
                    <a:gd name="connsiteY2" fmla="*/ 4067 h 8866"/>
                    <a:gd name="connsiteX3" fmla="*/ 29151 w 32313"/>
                    <a:gd name="connsiteY3" fmla="*/ 3464 h 8866"/>
                    <a:gd name="connsiteX4" fmla="*/ 25786 w 32313"/>
                    <a:gd name="connsiteY4" fmla="*/ 4507 h 8866"/>
                    <a:gd name="connsiteX5" fmla="*/ 25851 w 32313"/>
                    <a:gd name="connsiteY5" fmla="*/ 6178 h 8866"/>
                    <a:gd name="connsiteX6" fmla="*/ 24539 w 32313"/>
                    <a:gd name="connsiteY6" fmla="*/ 8867 h 8866"/>
                    <a:gd name="connsiteX7" fmla="*/ 19779 w 32313"/>
                    <a:gd name="connsiteY7" fmla="*/ 7245 h 8866"/>
                    <a:gd name="connsiteX8" fmla="*/ 13227 w 32313"/>
                    <a:gd name="connsiteY8" fmla="*/ 7017 h 8866"/>
                    <a:gd name="connsiteX9" fmla="*/ 9111 w 32313"/>
                    <a:gd name="connsiteY9" fmla="*/ 5403 h 8866"/>
                    <a:gd name="connsiteX10" fmla="*/ 0 w 32313"/>
                    <a:gd name="connsiteY10" fmla="*/ 4376 h 8866"/>
                    <a:gd name="connsiteX11" fmla="*/ 269 w 32313"/>
                    <a:gd name="connsiteY11" fmla="*/ 2111 h 8866"/>
                    <a:gd name="connsiteX12" fmla="*/ 1695 w 32313"/>
                    <a:gd name="connsiteY12" fmla="*/ 782 h 8866"/>
                    <a:gd name="connsiteX13" fmla="*/ 7025 w 32313"/>
                    <a:gd name="connsiteY13" fmla="*/ 2689 h 8866"/>
                    <a:gd name="connsiteX14" fmla="*/ 11784 w 32313"/>
                    <a:gd name="connsiteY14" fmla="*/ 554 h 8866"/>
                    <a:gd name="connsiteX15" fmla="*/ 20830 w 32313"/>
                    <a:gd name="connsiteY15" fmla="*/ 1614 h 8866"/>
                    <a:gd name="connsiteX16" fmla="*/ 23805 w 32313"/>
                    <a:gd name="connsiteY16" fmla="*/ 0 h 8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313" h="8866">
                      <a:moveTo>
                        <a:pt x="30284" y="1312"/>
                      </a:moveTo>
                      <a:lnTo>
                        <a:pt x="32313" y="2005"/>
                      </a:lnTo>
                      <a:lnTo>
                        <a:pt x="31711" y="4067"/>
                      </a:lnTo>
                      <a:lnTo>
                        <a:pt x="29151" y="3464"/>
                      </a:lnTo>
                      <a:lnTo>
                        <a:pt x="25786" y="4507"/>
                      </a:lnTo>
                      <a:lnTo>
                        <a:pt x="25851" y="6178"/>
                      </a:lnTo>
                      <a:lnTo>
                        <a:pt x="24539" y="8867"/>
                      </a:lnTo>
                      <a:lnTo>
                        <a:pt x="19779" y="7245"/>
                      </a:lnTo>
                      <a:lnTo>
                        <a:pt x="13227" y="7017"/>
                      </a:lnTo>
                      <a:lnTo>
                        <a:pt x="9111" y="5403"/>
                      </a:lnTo>
                      <a:lnTo>
                        <a:pt x="0" y="4376"/>
                      </a:lnTo>
                      <a:lnTo>
                        <a:pt x="269" y="2111"/>
                      </a:lnTo>
                      <a:lnTo>
                        <a:pt x="1695" y="782"/>
                      </a:lnTo>
                      <a:lnTo>
                        <a:pt x="7025" y="2689"/>
                      </a:lnTo>
                      <a:lnTo>
                        <a:pt x="11784" y="554"/>
                      </a:lnTo>
                      <a:lnTo>
                        <a:pt x="20830" y="1614"/>
                      </a:lnTo>
                      <a:lnTo>
                        <a:pt x="23805" y="0"/>
                      </a:lnTo>
                      <a:close/>
                    </a:path>
                  </a:pathLst>
                </a:custGeom>
                <a:solidFill>
                  <a:srgbClr val="D6D6D2"/>
                </a:solidFill>
                <a:ln w="8150" cap="flat">
                  <a:noFill/>
                  <a:prstDash val="solid"/>
                  <a:miter/>
                </a:ln>
              </p:spPr>
              <p:txBody>
                <a:bodyPr rtlCol="0" anchor="ctr"/>
                <a:lstStyle/>
                <a:p>
                  <a:endParaRPr lang="en-US"/>
                </a:p>
              </p:txBody>
            </p:sp>
            <p:sp>
              <p:nvSpPr>
                <p:cNvPr id="614" name="Freeform: Shape 613">
                  <a:extLst>
                    <a:ext uri="{FF2B5EF4-FFF2-40B4-BE49-F238E27FC236}">
                      <a16:creationId xmlns:a16="http://schemas.microsoft.com/office/drawing/2014/main" id="{0DCBA229-4992-427F-A1EB-0F9DDCE28B75}"/>
                    </a:ext>
                  </a:extLst>
                </p:cNvPr>
                <p:cNvSpPr/>
                <p:nvPr/>
              </p:nvSpPr>
              <p:spPr>
                <a:xfrm>
                  <a:off x="7277075" y="1794988"/>
                  <a:ext cx="376460" cy="177093"/>
                </a:xfrm>
                <a:custGeom>
                  <a:avLst/>
                  <a:gdLst>
                    <a:gd name="connsiteX0" fmla="*/ 347293 w 376460"/>
                    <a:gd name="connsiteY0" fmla="*/ 37635 h 177093"/>
                    <a:gd name="connsiteX1" fmla="*/ 337358 w 376460"/>
                    <a:gd name="connsiteY1" fmla="*/ 41335 h 177093"/>
                    <a:gd name="connsiteX2" fmla="*/ 331450 w 376460"/>
                    <a:gd name="connsiteY2" fmla="*/ 43903 h 177093"/>
                    <a:gd name="connsiteX3" fmla="*/ 325655 w 376460"/>
                    <a:gd name="connsiteY3" fmla="*/ 45630 h 177093"/>
                    <a:gd name="connsiteX4" fmla="*/ 319812 w 376460"/>
                    <a:gd name="connsiteY4" fmla="*/ 46853 h 177093"/>
                    <a:gd name="connsiteX5" fmla="*/ 310505 w 376460"/>
                    <a:gd name="connsiteY5" fmla="*/ 49901 h 177093"/>
                    <a:gd name="connsiteX6" fmla="*/ 294059 w 376460"/>
                    <a:gd name="connsiteY6" fmla="*/ 53715 h 177093"/>
                    <a:gd name="connsiteX7" fmla="*/ 283700 w 376460"/>
                    <a:gd name="connsiteY7" fmla="*/ 56844 h 177093"/>
                    <a:gd name="connsiteX8" fmla="*/ 272372 w 376460"/>
                    <a:gd name="connsiteY8" fmla="*/ 59314 h 177093"/>
                    <a:gd name="connsiteX9" fmla="*/ 260408 w 376460"/>
                    <a:gd name="connsiteY9" fmla="*/ 62606 h 177093"/>
                    <a:gd name="connsiteX10" fmla="*/ 248420 w 376460"/>
                    <a:gd name="connsiteY10" fmla="*/ 64864 h 177093"/>
                    <a:gd name="connsiteX11" fmla="*/ 245446 w 376460"/>
                    <a:gd name="connsiteY11" fmla="*/ 65051 h 177093"/>
                    <a:gd name="connsiteX12" fmla="*/ 236954 w 376460"/>
                    <a:gd name="connsiteY12" fmla="*/ 68205 h 177093"/>
                    <a:gd name="connsiteX13" fmla="*/ 230238 w 376460"/>
                    <a:gd name="connsiteY13" fmla="*/ 69509 h 177093"/>
                    <a:gd name="connsiteX14" fmla="*/ 205927 w 376460"/>
                    <a:gd name="connsiteY14" fmla="*/ 76607 h 177093"/>
                    <a:gd name="connsiteX15" fmla="*/ 194770 w 376460"/>
                    <a:gd name="connsiteY15" fmla="*/ 81766 h 177093"/>
                    <a:gd name="connsiteX16" fmla="*/ 191560 w 376460"/>
                    <a:gd name="connsiteY16" fmla="*/ 82190 h 177093"/>
                    <a:gd name="connsiteX17" fmla="*/ 188324 w 376460"/>
                    <a:gd name="connsiteY17" fmla="*/ 82003 h 177093"/>
                    <a:gd name="connsiteX18" fmla="*/ 185659 w 376460"/>
                    <a:gd name="connsiteY18" fmla="*/ 83608 h 177093"/>
                    <a:gd name="connsiteX19" fmla="*/ 183149 w 376460"/>
                    <a:gd name="connsiteY19" fmla="*/ 86403 h 177093"/>
                    <a:gd name="connsiteX20" fmla="*/ 177900 w 376460"/>
                    <a:gd name="connsiteY20" fmla="*/ 89207 h 177093"/>
                    <a:gd name="connsiteX21" fmla="*/ 175260 w 376460"/>
                    <a:gd name="connsiteY21" fmla="*/ 91733 h 177093"/>
                    <a:gd name="connsiteX22" fmla="*/ 172530 w 376460"/>
                    <a:gd name="connsiteY22" fmla="*/ 93738 h 177093"/>
                    <a:gd name="connsiteX23" fmla="*/ 170940 w 376460"/>
                    <a:gd name="connsiteY23" fmla="*/ 94390 h 177093"/>
                    <a:gd name="connsiteX24" fmla="*/ 167925 w 376460"/>
                    <a:gd name="connsiteY24" fmla="*/ 94186 h 177093"/>
                    <a:gd name="connsiteX25" fmla="*/ 166483 w 376460"/>
                    <a:gd name="connsiteY25" fmla="*/ 94398 h 177093"/>
                    <a:gd name="connsiteX26" fmla="*/ 161560 w 376460"/>
                    <a:gd name="connsiteY26" fmla="*/ 96640 h 177093"/>
                    <a:gd name="connsiteX27" fmla="*/ 160672 w 376460"/>
                    <a:gd name="connsiteY27" fmla="*/ 98400 h 177093"/>
                    <a:gd name="connsiteX28" fmla="*/ 165969 w 376460"/>
                    <a:gd name="connsiteY28" fmla="*/ 99565 h 177093"/>
                    <a:gd name="connsiteX29" fmla="*/ 167127 w 376460"/>
                    <a:gd name="connsiteY29" fmla="*/ 101538 h 177093"/>
                    <a:gd name="connsiteX30" fmla="*/ 165578 w 376460"/>
                    <a:gd name="connsiteY30" fmla="*/ 102931 h 177093"/>
                    <a:gd name="connsiteX31" fmla="*/ 162147 w 376460"/>
                    <a:gd name="connsiteY31" fmla="*/ 104749 h 177093"/>
                    <a:gd name="connsiteX32" fmla="*/ 160208 w 376460"/>
                    <a:gd name="connsiteY32" fmla="*/ 106672 h 177093"/>
                    <a:gd name="connsiteX33" fmla="*/ 156670 w 376460"/>
                    <a:gd name="connsiteY33" fmla="*/ 108603 h 177093"/>
                    <a:gd name="connsiteX34" fmla="*/ 154258 w 376460"/>
                    <a:gd name="connsiteY34" fmla="*/ 109133 h 177093"/>
                    <a:gd name="connsiteX35" fmla="*/ 148423 w 376460"/>
                    <a:gd name="connsiteY35" fmla="*/ 109076 h 177093"/>
                    <a:gd name="connsiteX36" fmla="*/ 148113 w 376460"/>
                    <a:gd name="connsiteY36" fmla="*/ 111464 h 177093"/>
                    <a:gd name="connsiteX37" fmla="*/ 149018 w 376460"/>
                    <a:gd name="connsiteY37" fmla="*/ 112931 h 177093"/>
                    <a:gd name="connsiteX38" fmla="*/ 148554 w 376460"/>
                    <a:gd name="connsiteY38" fmla="*/ 114227 h 177093"/>
                    <a:gd name="connsiteX39" fmla="*/ 146606 w 376460"/>
                    <a:gd name="connsiteY39" fmla="*/ 115498 h 177093"/>
                    <a:gd name="connsiteX40" fmla="*/ 144674 w 376460"/>
                    <a:gd name="connsiteY40" fmla="*/ 115335 h 177093"/>
                    <a:gd name="connsiteX41" fmla="*/ 135840 w 376460"/>
                    <a:gd name="connsiteY41" fmla="*/ 111578 h 177093"/>
                    <a:gd name="connsiteX42" fmla="*/ 134405 w 376460"/>
                    <a:gd name="connsiteY42" fmla="*/ 112866 h 177093"/>
                    <a:gd name="connsiteX43" fmla="*/ 133786 w 376460"/>
                    <a:gd name="connsiteY43" fmla="*/ 115474 h 177093"/>
                    <a:gd name="connsiteX44" fmla="*/ 133509 w 376460"/>
                    <a:gd name="connsiteY44" fmla="*/ 118261 h 177093"/>
                    <a:gd name="connsiteX45" fmla="*/ 132392 w 376460"/>
                    <a:gd name="connsiteY45" fmla="*/ 120355 h 177093"/>
                    <a:gd name="connsiteX46" fmla="*/ 130885 w 376460"/>
                    <a:gd name="connsiteY46" fmla="*/ 121390 h 177093"/>
                    <a:gd name="connsiteX47" fmla="*/ 128114 w 376460"/>
                    <a:gd name="connsiteY47" fmla="*/ 122474 h 177093"/>
                    <a:gd name="connsiteX48" fmla="*/ 118350 w 376460"/>
                    <a:gd name="connsiteY48" fmla="*/ 120763 h 177093"/>
                    <a:gd name="connsiteX49" fmla="*/ 117543 w 376460"/>
                    <a:gd name="connsiteY49" fmla="*/ 122401 h 177093"/>
                    <a:gd name="connsiteX50" fmla="*/ 119019 w 376460"/>
                    <a:gd name="connsiteY50" fmla="*/ 124398 h 177093"/>
                    <a:gd name="connsiteX51" fmla="*/ 121097 w 376460"/>
                    <a:gd name="connsiteY51" fmla="*/ 128823 h 177093"/>
                    <a:gd name="connsiteX52" fmla="*/ 121578 w 376460"/>
                    <a:gd name="connsiteY52" fmla="*/ 130648 h 177093"/>
                    <a:gd name="connsiteX53" fmla="*/ 120413 w 376460"/>
                    <a:gd name="connsiteY53" fmla="*/ 133566 h 177093"/>
                    <a:gd name="connsiteX54" fmla="*/ 116028 w 376460"/>
                    <a:gd name="connsiteY54" fmla="*/ 138203 h 177093"/>
                    <a:gd name="connsiteX55" fmla="*/ 99312 w 376460"/>
                    <a:gd name="connsiteY55" fmla="*/ 143606 h 177093"/>
                    <a:gd name="connsiteX56" fmla="*/ 99590 w 376460"/>
                    <a:gd name="connsiteY56" fmla="*/ 145481 h 177093"/>
                    <a:gd name="connsiteX57" fmla="*/ 101448 w 376460"/>
                    <a:gd name="connsiteY57" fmla="*/ 149050 h 177093"/>
                    <a:gd name="connsiteX58" fmla="*/ 101920 w 376460"/>
                    <a:gd name="connsiteY58" fmla="*/ 151267 h 177093"/>
                    <a:gd name="connsiteX59" fmla="*/ 101236 w 376460"/>
                    <a:gd name="connsiteY59" fmla="*/ 153394 h 177093"/>
                    <a:gd name="connsiteX60" fmla="*/ 99027 w 376460"/>
                    <a:gd name="connsiteY60" fmla="*/ 155073 h 177093"/>
                    <a:gd name="connsiteX61" fmla="*/ 96591 w 376460"/>
                    <a:gd name="connsiteY61" fmla="*/ 155122 h 177093"/>
                    <a:gd name="connsiteX62" fmla="*/ 95254 w 376460"/>
                    <a:gd name="connsiteY62" fmla="*/ 154780 h 177093"/>
                    <a:gd name="connsiteX63" fmla="*/ 91407 w 376460"/>
                    <a:gd name="connsiteY63" fmla="*/ 152433 h 177093"/>
                    <a:gd name="connsiteX64" fmla="*/ 88050 w 376460"/>
                    <a:gd name="connsiteY64" fmla="*/ 151854 h 177093"/>
                    <a:gd name="connsiteX65" fmla="*/ 87496 w 376460"/>
                    <a:gd name="connsiteY65" fmla="*/ 152954 h 177093"/>
                    <a:gd name="connsiteX66" fmla="*/ 91798 w 376460"/>
                    <a:gd name="connsiteY66" fmla="*/ 156157 h 177093"/>
                    <a:gd name="connsiteX67" fmla="*/ 93738 w 376460"/>
                    <a:gd name="connsiteY67" fmla="*/ 160264 h 177093"/>
                    <a:gd name="connsiteX68" fmla="*/ 91684 w 376460"/>
                    <a:gd name="connsiteY68" fmla="*/ 162498 h 177093"/>
                    <a:gd name="connsiteX69" fmla="*/ 83616 w 376460"/>
                    <a:gd name="connsiteY69" fmla="*/ 167444 h 177093"/>
                    <a:gd name="connsiteX70" fmla="*/ 79395 w 376460"/>
                    <a:gd name="connsiteY70" fmla="*/ 173866 h 177093"/>
                    <a:gd name="connsiteX71" fmla="*/ 71204 w 376460"/>
                    <a:gd name="connsiteY71" fmla="*/ 176760 h 177093"/>
                    <a:gd name="connsiteX72" fmla="*/ 66159 w 376460"/>
                    <a:gd name="connsiteY72" fmla="*/ 177094 h 177093"/>
                    <a:gd name="connsiteX73" fmla="*/ 61139 w 376460"/>
                    <a:gd name="connsiteY73" fmla="*/ 176311 h 177093"/>
                    <a:gd name="connsiteX74" fmla="*/ 56339 w 376460"/>
                    <a:gd name="connsiteY74" fmla="*/ 174828 h 177093"/>
                    <a:gd name="connsiteX75" fmla="*/ 44302 w 376460"/>
                    <a:gd name="connsiteY75" fmla="*/ 174315 h 177093"/>
                    <a:gd name="connsiteX76" fmla="*/ 37627 w 376460"/>
                    <a:gd name="connsiteY76" fmla="*/ 172685 h 177093"/>
                    <a:gd name="connsiteX77" fmla="*/ 30847 w 376460"/>
                    <a:gd name="connsiteY77" fmla="*/ 169800 h 177093"/>
                    <a:gd name="connsiteX78" fmla="*/ 24946 w 376460"/>
                    <a:gd name="connsiteY78" fmla="*/ 170012 h 177093"/>
                    <a:gd name="connsiteX79" fmla="*/ 19902 w 376460"/>
                    <a:gd name="connsiteY79" fmla="*/ 171446 h 177093"/>
                    <a:gd name="connsiteX80" fmla="*/ 13317 w 376460"/>
                    <a:gd name="connsiteY80" fmla="*/ 174600 h 177093"/>
                    <a:gd name="connsiteX81" fmla="*/ 9136 w 376460"/>
                    <a:gd name="connsiteY81" fmla="*/ 168536 h 177093"/>
                    <a:gd name="connsiteX82" fmla="*/ 10945 w 376460"/>
                    <a:gd name="connsiteY82" fmla="*/ 165692 h 177093"/>
                    <a:gd name="connsiteX83" fmla="*/ 1874 w 376460"/>
                    <a:gd name="connsiteY83" fmla="*/ 158447 h 177093"/>
                    <a:gd name="connsiteX84" fmla="*/ 0 w 376460"/>
                    <a:gd name="connsiteY84" fmla="*/ 155220 h 177093"/>
                    <a:gd name="connsiteX85" fmla="*/ 2184 w 376460"/>
                    <a:gd name="connsiteY85" fmla="*/ 153606 h 177093"/>
                    <a:gd name="connsiteX86" fmla="*/ 4963 w 376460"/>
                    <a:gd name="connsiteY86" fmla="*/ 152587 h 177093"/>
                    <a:gd name="connsiteX87" fmla="*/ 10195 w 376460"/>
                    <a:gd name="connsiteY87" fmla="*/ 149621 h 177093"/>
                    <a:gd name="connsiteX88" fmla="*/ 15452 w 376460"/>
                    <a:gd name="connsiteY88" fmla="*/ 147282 h 177093"/>
                    <a:gd name="connsiteX89" fmla="*/ 20896 w 376460"/>
                    <a:gd name="connsiteY89" fmla="*/ 146540 h 177093"/>
                    <a:gd name="connsiteX90" fmla="*/ 21817 w 376460"/>
                    <a:gd name="connsiteY90" fmla="*/ 146149 h 177093"/>
                    <a:gd name="connsiteX91" fmla="*/ 24066 w 376460"/>
                    <a:gd name="connsiteY91" fmla="*/ 142661 h 177093"/>
                    <a:gd name="connsiteX92" fmla="*/ 26487 w 376460"/>
                    <a:gd name="connsiteY92" fmla="*/ 139760 h 177093"/>
                    <a:gd name="connsiteX93" fmla="*/ 28703 w 376460"/>
                    <a:gd name="connsiteY93" fmla="*/ 138187 h 177093"/>
                    <a:gd name="connsiteX94" fmla="*/ 31254 w 376460"/>
                    <a:gd name="connsiteY94" fmla="*/ 135489 h 177093"/>
                    <a:gd name="connsiteX95" fmla="*/ 39135 w 376460"/>
                    <a:gd name="connsiteY95" fmla="*/ 124503 h 177093"/>
                    <a:gd name="connsiteX96" fmla="*/ 41009 w 376460"/>
                    <a:gd name="connsiteY96" fmla="*/ 123729 h 177093"/>
                    <a:gd name="connsiteX97" fmla="*/ 57423 w 376460"/>
                    <a:gd name="connsiteY97" fmla="*/ 121594 h 177093"/>
                    <a:gd name="connsiteX98" fmla="*/ 58882 w 376460"/>
                    <a:gd name="connsiteY98" fmla="*/ 120893 h 177093"/>
                    <a:gd name="connsiteX99" fmla="*/ 54171 w 376460"/>
                    <a:gd name="connsiteY99" fmla="*/ 118717 h 177093"/>
                    <a:gd name="connsiteX100" fmla="*/ 49322 w 376460"/>
                    <a:gd name="connsiteY100" fmla="*/ 118766 h 177093"/>
                    <a:gd name="connsiteX101" fmla="*/ 47081 w 376460"/>
                    <a:gd name="connsiteY101" fmla="*/ 118057 h 177093"/>
                    <a:gd name="connsiteX102" fmla="*/ 45818 w 376460"/>
                    <a:gd name="connsiteY102" fmla="*/ 116427 h 177093"/>
                    <a:gd name="connsiteX103" fmla="*/ 45125 w 376460"/>
                    <a:gd name="connsiteY103" fmla="*/ 114675 h 177093"/>
                    <a:gd name="connsiteX104" fmla="*/ 47040 w 376460"/>
                    <a:gd name="connsiteY104" fmla="*/ 113314 h 177093"/>
                    <a:gd name="connsiteX105" fmla="*/ 53340 w 376460"/>
                    <a:gd name="connsiteY105" fmla="*/ 106688 h 177093"/>
                    <a:gd name="connsiteX106" fmla="*/ 60887 w 376460"/>
                    <a:gd name="connsiteY106" fmla="*/ 101880 h 177093"/>
                    <a:gd name="connsiteX107" fmla="*/ 67847 w 376460"/>
                    <a:gd name="connsiteY107" fmla="*/ 99044 h 177093"/>
                    <a:gd name="connsiteX108" fmla="*/ 66111 w 376460"/>
                    <a:gd name="connsiteY108" fmla="*/ 98294 h 177093"/>
                    <a:gd name="connsiteX109" fmla="*/ 63910 w 376460"/>
                    <a:gd name="connsiteY109" fmla="*/ 96371 h 177093"/>
                    <a:gd name="connsiteX110" fmla="*/ 55427 w 376460"/>
                    <a:gd name="connsiteY110" fmla="*/ 96843 h 177093"/>
                    <a:gd name="connsiteX111" fmla="*/ 52085 w 376460"/>
                    <a:gd name="connsiteY111" fmla="*/ 94203 h 177093"/>
                    <a:gd name="connsiteX112" fmla="*/ 51050 w 376460"/>
                    <a:gd name="connsiteY112" fmla="*/ 92695 h 177093"/>
                    <a:gd name="connsiteX113" fmla="*/ 50765 w 376460"/>
                    <a:gd name="connsiteY113" fmla="*/ 91065 h 177093"/>
                    <a:gd name="connsiteX114" fmla="*/ 53511 w 376460"/>
                    <a:gd name="connsiteY114" fmla="*/ 88987 h 177093"/>
                    <a:gd name="connsiteX115" fmla="*/ 56364 w 376460"/>
                    <a:gd name="connsiteY115" fmla="*/ 87756 h 177093"/>
                    <a:gd name="connsiteX116" fmla="*/ 59509 w 376460"/>
                    <a:gd name="connsiteY116" fmla="*/ 88123 h 177093"/>
                    <a:gd name="connsiteX117" fmla="*/ 62639 w 376460"/>
                    <a:gd name="connsiteY117" fmla="*/ 89183 h 177093"/>
                    <a:gd name="connsiteX118" fmla="*/ 65133 w 376460"/>
                    <a:gd name="connsiteY118" fmla="*/ 90429 h 177093"/>
                    <a:gd name="connsiteX119" fmla="*/ 67520 w 376460"/>
                    <a:gd name="connsiteY119" fmla="*/ 92434 h 177093"/>
                    <a:gd name="connsiteX120" fmla="*/ 69631 w 376460"/>
                    <a:gd name="connsiteY120" fmla="*/ 92345 h 177093"/>
                    <a:gd name="connsiteX121" fmla="*/ 77211 w 376460"/>
                    <a:gd name="connsiteY121" fmla="*/ 85360 h 177093"/>
                    <a:gd name="connsiteX122" fmla="*/ 76045 w 376460"/>
                    <a:gd name="connsiteY122" fmla="*/ 83771 h 177093"/>
                    <a:gd name="connsiteX123" fmla="*/ 75556 w 376460"/>
                    <a:gd name="connsiteY123" fmla="*/ 81351 h 177093"/>
                    <a:gd name="connsiteX124" fmla="*/ 76428 w 376460"/>
                    <a:gd name="connsiteY124" fmla="*/ 80242 h 177093"/>
                    <a:gd name="connsiteX125" fmla="*/ 80022 w 376460"/>
                    <a:gd name="connsiteY125" fmla="*/ 79118 h 177093"/>
                    <a:gd name="connsiteX126" fmla="*/ 82451 w 376460"/>
                    <a:gd name="connsiteY126" fmla="*/ 78702 h 177093"/>
                    <a:gd name="connsiteX127" fmla="*/ 87764 w 376460"/>
                    <a:gd name="connsiteY127" fmla="*/ 79207 h 177093"/>
                    <a:gd name="connsiteX128" fmla="*/ 95336 w 376460"/>
                    <a:gd name="connsiteY128" fmla="*/ 80739 h 177093"/>
                    <a:gd name="connsiteX129" fmla="*/ 95938 w 376460"/>
                    <a:gd name="connsiteY129" fmla="*/ 80006 h 177093"/>
                    <a:gd name="connsiteX130" fmla="*/ 97854 w 376460"/>
                    <a:gd name="connsiteY130" fmla="*/ 75320 h 177093"/>
                    <a:gd name="connsiteX131" fmla="*/ 99712 w 376460"/>
                    <a:gd name="connsiteY131" fmla="*/ 72818 h 177093"/>
                    <a:gd name="connsiteX132" fmla="*/ 107413 w 376460"/>
                    <a:gd name="connsiteY132" fmla="*/ 68702 h 177093"/>
                    <a:gd name="connsiteX133" fmla="*/ 106884 w 376460"/>
                    <a:gd name="connsiteY133" fmla="*/ 67439 h 177093"/>
                    <a:gd name="connsiteX134" fmla="*/ 106525 w 376460"/>
                    <a:gd name="connsiteY134" fmla="*/ 65328 h 177093"/>
                    <a:gd name="connsiteX135" fmla="*/ 115457 w 376460"/>
                    <a:gd name="connsiteY135" fmla="*/ 62598 h 177093"/>
                    <a:gd name="connsiteX136" fmla="*/ 121276 w 376460"/>
                    <a:gd name="connsiteY136" fmla="*/ 59860 h 177093"/>
                    <a:gd name="connsiteX137" fmla="*/ 126940 w 376460"/>
                    <a:gd name="connsiteY137" fmla="*/ 56111 h 177093"/>
                    <a:gd name="connsiteX138" fmla="*/ 129760 w 376460"/>
                    <a:gd name="connsiteY138" fmla="*/ 55296 h 177093"/>
                    <a:gd name="connsiteX139" fmla="*/ 132629 w 376460"/>
                    <a:gd name="connsiteY139" fmla="*/ 55198 h 177093"/>
                    <a:gd name="connsiteX140" fmla="*/ 138480 w 376460"/>
                    <a:gd name="connsiteY140" fmla="*/ 53593 h 177093"/>
                    <a:gd name="connsiteX141" fmla="*/ 149279 w 376460"/>
                    <a:gd name="connsiteY141" fmla="*/ 51718 h 177093"/>
                    <a:gd name="connsiteX142" fmla="*/ 155595 w 376460"/>
                    <a:gd name="connsiteY142" fmla="*/ 49893 h 177093"/>
                    <a:gd name="connsiteX143" fmla="*/ 157616 w 376460"/>
                    <a:gd name="connsiteY143" fmla="*/ 45907 h 177093"/>
                    <a:gd name="connsiteX144" fmla="*/ 161609 w 376460"/>
                    <a:gd name="connsiteY144" fmla="*/ 44473 h 177093"/>
                    <a:gd name="connsiteX145" fmla="*/ 169718 w 376460"/>
                    <a:gd name="connsiteY145" fmla="*/ 43878 h 177093"/>
                    <a:gd name="connsiteX146" fmla="*/ 172815 w 376460"/>
                    <a:gd name="connsiteY146" fmla="*/ 44090 h 177093"/>
                    <a:gd name="connsiteX147" fmla="*/ 174559 w 376460"/>
                    <a:gd name="connsiteY147" fmla="*/ 45793 h 177093"/>
                    <a:gd name="connsiteX148" fmla="*/ 178064 w 376460"/>
                    <a:gd name="connsiteY148" fmla="*/ 45679 h 177093"/>
                    <a:gd name="connsiteX149" fmla="*/ 179441 w 376460"/>
                    <a:gd name="connsiteY149" fmla="*/ 44807 h 177093"/>
                    <a:gd name="connsiteX150" fmla="*/ 180826 w 376460"/>
                    <a:gd name="connsiteY150" fmla="*/ 43332 h 177093"/>
                    <a:gd name="connsiteX151" fmla="*/ 180411 w 376460"/>
                    <a:gd name="connsiteY151" fmla="*/ 40961 h 177093"/>
                    <a:gd name="connsiteX152" fmla="*/ 180346 w 376460"/>
                    <a:gd name="connsiteY152" fmla="*/ 37864 h 177093"/>
                    <a:gd name="connsiteX153" fmla="*/ 183385 w 376460"/>
                    <a:gd name="connsiteY153" fmla="*/ 35900 h 177093"/>
                    <a:gd name="connsiteX154" fmla="*/ 184502 w 376460"/>
                    <a:gd name="connsiteY154" fmla="*/ 35492 h 177093"/>
                    <a:gd name="connsiteX155" fmla="*/ 193621 w 376460"/>
                    <a:gd name="connsiteY155" fmla="*/ 34693 h 177093"/>
                    <a:gd name="connsiteX156" fmla="*/ 199016 w 376460"/>
                    <a:gd name="connsiteY156" fmla="*/ 35060 h 177093"/>
                    <a:gd name="connsiteX157" fmla="*/ 210181 w 376460"/>
                    <a:gd name="connsiteY157" fmla="*/ 37448 h 177093"/>
                    <a:gd name="connsiteX158" fmla="*/ 215984 w 376460"/>
                    <a:gd name="connsiteY158" fmla="*/ 37986 h 177093"/>
                    <a:gd name="connsiteX159" fmla="*/ 223694 w 376460"/>
                    <a:gd name="connsiteY159" fmla="*/ 37277 h 177093"/>
                    <a:gd name="connsiteX160" fmla="*/ 228396 w 376460"/>
                    <a:gd name="connsiteY160" fmla="*/ 37684 h 177093"/>
                    <a:gd name="connsiteX161" fmla="*/ 242145 w 376460"/>
                    <a:gd name="connsiteY161" fmla="*/ 34164 h 177093"/>
                    <a:gd name="connsiteX162" fmla="*/ 265396 w 376460"/>
                    <a:gd name="connsiteY162" fmla="*/ 30839 h 177093"/>
                    <a:gd name="connsiteX163" fmla="*/ 271443 w 376460"/>
                    <a:gd name="connsiteY163" fmla="*/ 28516 h 177093"/>
                    <a:gd name="connsiteX164" fmla="*/ 277466 w 376460"/>
                    <a:gd name="connsiteY164" fmla="*/ 25688 h 177093"/>
                    <a:gd name="connsiteX165" fmla="*/ 280506 w 376460"/>
                    <a:gd name="connsiteY165" fmla="*/ 25085 h 177093"/>
                    <a:gd name="connsiteX166" fmla="*/ 283594 w 376460"/>
                    <a:gd name="connsiteY166" fmla="*/ 24946 h 177093"/>
                    <a:gd name="connsiteX167" fmla="*/ 286382 w 376460"/>
                    <a:gd name="connsiteY167" fmla="*/ 24058 h 177093"/>
                    <a:gd name="connsiteX168" fmla="*/ 291818 w 376460"/>
                    <a:gd name="connsiteY168" fmla="*/ 21629 h 177093"/>
                    <a:gd name="connsiteX169" fmla="*/ 294507 w 376460"/>
                    <a:gd name="connsiteY169" fmla="*/ 21108 h 177093"/>
                    <a:gd name="connsiteX170" fmla="*/ 297433 w 376460"/>
                    <a:gd name="connsiteY170" fmla="*/ 21075 h 177093"/>
                    <a:gd name="connsiteX171" fmla="*/ 300106 w 376460"/>
                    <a:gd name="connsiteY171" fmla="*/ 19421 h 177093"/>
                    <a:gd name="connsiteX172" fmla="*/ 302486 w 376460"/>
                    <a:gd name="connsiteY172" fmla="*/ 15794 h 177093"/>
                    <a:gd name="connsiteX173" fmla="*/ 305061 w 376460"/>
                    <a:gd name="connsiteY173" fmla="*/ 12958 h 177093"/>
                    <a:gd name="connsiteX174" fmla="*/ 312070 w 376460"/>
                    <a:gd name="connsiteY174" fmla="*/ 9307 h 177093"/>
                    <a:gd name="connsiteX175" fmla="*/ 324066 w 376460"/>
                    <a:gd name="connsiteY175" fmla="*/ 4295 h 177093"/>
                    <a:gd name="connsiteX176" fmla="*/ 334848 w 376460"/>
                    <a:gd name="connsiteY176" fmla="*/ 2339 h 177093"/>
                    <a:gd name="connsiteX177" fmla="*/ 341572 w 376460"/>
                    <a:gd name="connsiteY177" fmla="*/ 196 h 177093"/>
                    <a:gd name="connsiteX178" fmla="*/ 344473 w 376460"/>
                    <a:gd name="connsiteY178" fmla="*/ 0 h 177093"/>
                    <a:gd name="connsiteX179" fmla="*/ 353535 w 376460"/>
                    <a:gd name="connsiteY179" fmla="*/ 1035 h 177093"/>
                    <a:gd name="connsiteX180" fmla="*/ 365165 w 376460"/>
                    <a:gd name="connsiteY180" fmla="*/ 3814 h 177093"/>
                    <a:gd name="connsiteX181" fmla="*/ 370454 w 376460"/>
                    <a:gd name="connsiteY181" fmla="*/ 6887 h 177093"/>
                    <a:gd name="connsiteX182" fmla="*/ 374774 w 376460"/>
                    <a:gd name="connsiteY182" fmla="*/ 10839 h 177093"/>
                    <a:gd name="connsiteX183" fmla="*/ 375719 w 376460"/>
                    <a:gd name="connsiteY183" fmla="*/ 12257 h 177093"/>
                    <a:gd name="connsiteX184" fmla="*/ 376461 w 376460"/>
                    <a:gd name="connsiteY184" fmla="*/ 14833 h 177093"/>
                    <a:gd name="connsiteX185" fmla="*/ 375198 w 376460"/>
                    <a:gd name="connsiteY185" fmla="*/ 17163 h 177093"/>
                    <a:gd name="connsiteX186" fmla="*/ 374382 w 376460"/>
                    <a:gd name="connsiteY186" fmla="*/ 19568 h 177093"/>
                    <a:gd name="connsiteX187" fmla="*/ 375425 w 376460"/>
                    <a:gd name="connsiteY187" fmla="*/ 21385 h 177093"/>
                    <a:gd name="connsiteX188" fmla="*/ 366958 w 376460"/>
                    <a:gd name="connsiteY188" fmla="*/ 27383 h 177093"/>
                    <a:gd name="connsiteX189" fmla="*/ 358629 w 376460"/>
                    <a:gd name="connsiteY189" fmla="*/ 33968 h 177093"/>
                    <a:gd name="connsiteX190" fmla="*/ 357211 w 376460"/>
                    <a:gd name="connsiteY190" fmla="*/ 35362 h 177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376460" h="177093">
                      <a:moveTo>
                        <a:pt x="347293" y="37635"/>
                      </a:moveTo>
                      <a:lnTo>
                        <a:pt x="337358" y="41335"/>
                      </a:lnTo>
                      <a:lnTo>
                        <a:pt x="331450" y="43903"/>
                      </a:lnTo>
                      <a:lnTo>
                        <a:pt x="325655" y="45630"/>
                      </a:lnTo>
                      <a:lnTo>
                        <a:pt x="319812" y="46853"/>
                      </a:lnTo>
                      <a:lnTo>
                        <a:pt x="310505" y="49901"/>
                      </a:lnTo>
                      <a:lnTo>
                        <a:pt x="294059" y="53715"/>
                      </a:lnTo>
                      <a:lnTo>
                        <a:pt x="283700" y="56844"/>
                      </a:lnTo>
                      <a:lnTo>
                        <a:pt x="272372" y="59314"/>
                      </a:lnTo>
                      <a:lnTo>
                        <a:pt x="260408" y="62606"/>
                      </a:lnTo>
                      <a:lnTo>
                        <a:pt x="248420" y="64864"/>
                      </a:lnTo>
                      <a:lnTo>
                        <a:pt x="245446" y="65051"/>
                      </a:lnTo>
                      <a:lnTo>
                        <a:pt x="236954" y="68205"/>
                      </a:lnTo>
                      <a:lnTo>
                        <a:pt x="230238" y="69509"/>
                      </a:lnTo>
                      <a:lnTo>
                        <a:pt x="205927" y="76607"/>
                      </a:lnTo>
                      <a:lnTo>
                        <a:pt x="194770" y="81766"/>
                      </a:lnTo>
                      <a:lnTo>
                        <a:pt x="191560" y="82190"/>
                      </a:lnTo>
                      <a:lnTo>
                        <a:pt x="188324" y="82003"/>
                      </a:lnTo>
                      <a:lnTo>
                        <a:pt x="185659" y="83608"/>
                      </a:lnTo>
                      <a:lnTo>
                        <a:pt x="183149" y="86403"/>
                      </a:lnTo>
                      <a:lnTo>
                        <a:pt x="177900" y="89207"/>
                      </a:lnTo>
                      <a:lnTo>
                        <a:pt x="175260" y="91733"/>
                      </a:lnTo>
                      <a:lnTo>
                        <a:pt x="172530" y="93738"/>
                      </a:lnTo>
                      <a:lnTo>
                        <a:pt x="170940" y="94390"/>
                      </a:lnTo>
                      <a:lnTo>
                        <a:pt x="167925" y="94186"/>
                      </a:lnTo>
                      <a:lnTo>
                        <a:pt x="166483" y="94398"/>
                      </a:lnTo>
                      <a:lnTo>
                        <a:pt x="161560" y="96640"/>
                      </a:lnTo>
                      <a:lnTo>
                        <a:pt x="160672" y="98400"/>
                      </a:lnTo>
                      <a:lnTo>
                        <a:pt x="165969" y="99565"/>
                      </a:lnTo>
                      <a:lnTo>
                        <a:pt x="167127" y="101538"/>
                      </a:lnTo>
                      <a:lnTo>
                        <a:pt x="165578" y="102931"/>
                      </a:lnTo>
                      <a:lnTo>
                        <a:pt x="162147" y="104749"/>
                      </a:lnTo>
                      <a:lnTo>
                        <a:pt x="160208" y="106672"/>
                      </a:lnTo>
                      <a:lnTo>
                        <a:pt x="156670" y="108603"/>
                      </a:lnTo>
                      <a:lnTo>
                        <a:pt x="154258" y="109133"/>
                      </a:lnTo>
                      <a:lnTo>
                        <a:pt x="148423" y="109076"/>
                      </a:lnTo>
                      <a:lnTo>
                        <a:pt x="148113" y="111464"/>
                      </a:lnTo>
                      <a:lnTo>
                        <a:pt x="149018" y="112931"/>
                      </a:lnTo>
                      <a:lnTo>
                        <a:pt x="148554" y="114227"/>
                      </a:lnTo>
                      <a:lnTo>
                        <a:pt x="146606" y="115498"/>
                      </a:lnTo>
                      <a:lnTo>
                        <a:pt x="144674" y="115335"/>
                      </a:lnTo>
                      <a:lnTo>
                        <a:pt x="135840" y="111578"/>
                      </a:lnTo>
                      <a:lnTo>
                        <a:pt x="134405" y="112866"/>
                      </a:lnTo>
                      <a:lnTo>
                        <a:pt x="133786" y="115474"/>
                      </a:lnTo>
                      <a:lnTo>
                        <a:pt x="133509" y="118261"/>
                      </a:lnTo>
                      <a:lnTo>
                        <a:pt x="132392" y="120355"/>
                      </a:lnTo>
                      <a:lnTo>
                        <a:pt x="130885" y="121390"/>
                      </a:lnTo>
                      <a:lnTo>
                        <a:pt x="128114" y="122474"/>
                      </a:lnTo>
                      <a:lnTo>
                        <a:pt x="118350" y="120763"/>
                      </a:lnTo>
                      <a:lnTo>
                        <a:pt x="117543" y="122401"/>
                      </a:lnTo>
                      <a:lnTo>
                        <a:pt x="119019" y="124398"/>
                      </a:lnTo>
                      <a:lnTo>
                        <a:pt x="121097" y="128823"/>
                      </a:lnTo>
                      <a:lnTo>
                        <a:pt x="121578" y="130648"/>
                      </a:lnTo>
                      <a:lnTo>
                        <a:pt x="120413" y="133566"/>
                      </a:lnTo>
                      <a:lnTo>
                        <a:pt x="116028" y="138203"/>
                      </a:lnTo>
                      <a:lnTo>
                        <a:pt x="99312" y="143606"/>
                      </a:lnTo>
                      <a:lnTo>
                        <a:pt x="99590" y="145481"/>
                      </a:lnTo>
                      <a:lnTo>
                        <a:pt x="101448" y="149050"/>
                      </a:lnTo>
                      <a:lnTo>
                        <a:pt x="101920" y="151267"/>
                      </a:lnTo>
                      <a:lnTo>
                        <a:pt x="101236" y="153394"/>
                      </a:lnTo>
                      <a:lnTo>
                        <a:pt x="99027" y="155073"/>
                      </a:lnTo>
                      <a:lnTo>
                        <a:pt x="96591" y="155122"/>
                      </a:lnTo>
                      <a:lnTo>
                        <a:pt x="95254" y="154780"/>
                      </a:lnTo>
                      <a:lnTo>
                        <a:pt x="91407" y="152433"/>
                      </a:lnTo>
                      <a:lnTo>
                        <a:pt x="88050" y="151854"/>
                      </a:lnTo>
                      <a:lnTo>
                        <a:pt x="87496" y="152954"/>
                      </a:lnTo>
                      <a:lnTo>
                        <a:pt x="91798" y="156157"/>
                      </a:lnTo>
                      <a:lnTo>
                        <a:pt x="93738" y="160264"/>
                      </a:lnTo>
                      <a:lnTo>
                        <a:pt x="91684" y="162498"/>
                      </a:lnTo>
                      <a:lnTo>
                        <a:pt x="83616" y="167444"/>
                      </a:lnTo>
                      <a:lnTo>
                        <a:pt x="79395" y="173866"/>
                      </a:lnTo>
                      <a:lnTo>
                        <a:pt x="71204" y="176760"/>
                      </a:lnTo>
                      <a:lnTo>
                        <a:pt x="66159" y="177094"/>
                      </a:lnTo>
                      <a:lnTo>
                        <a:pt x="61139" y="176311"/>
                      </a:lnTo>
                      <a:lnTo>
                        <a:pt x="56339" y="174828"/>
                      </a:lnTo>
                      <a:lnTo>
                        <a:pt x="44302" y="174315"/>
                      </a:lnTo>
                      <a:lnTo>
                        <a:pt x="37627" y="172685"/>
                      </a:lnTo>
                      <a:lnTo>
                        <a:pt x="30847" y="169800"/>
                      </a:lnTo>
                      <a:lnTo>
                        <a:pt x="24946" y="170012"/>
                      </a:lnTo>
                      <a:lnTo>
                        <a:pt x="19902" y="171446"/>
                      </a:lnTo>
                      <a:lnTo>
                        <a:pt x="13317" y="174600"/>
                      </a:lnTo>
                      <a:lnTo>
                        <a:pt x="9136" y="168536"/>
                      </a:lnTo>
                      <a:lnTo>
                        <a:pt x="10945" y="165692"/>
                      </a:lnTo>
                      <a:lnTo>
                        <a:pt x="1874" y="158447"/>
                      </a:lnTo>
                      <a:lnTo>
                        <a:pt x="0" y="155220"/>
                      </a:lnTo>
                      <a:lnTo>
                        <a:pt x="2184" y="153606"/>
                      </a:lnTo>
                      <a:lnTo>
                        <a:pt x="4963" y="152587"/>
                      </a:lnTo>
                      <a:lnTo>
                        <a:pt x="10195" y="149621"/>
                      </a:lnTo>
                      <a:lnTo>
                        <a:pt x="15452" y="147282"/>
                      </a:lnTo>
                      <a:lnTo>
                        <a:pt x="20896" y="146540"/>
                      </a:lnTo>
                      <a:lnTo>
                        <a:pt x="21817" y="146149"/>
                      </a:lnTo>
                      <a:lnTo>
                        <a:pt x="24066" y="142661"/>
                      </a:lnTo>
                      <a:lnTo>
                        <a:pt x="26487" y="139760"/>
                      </a:lnTo>
                      <a:lnTo>
                        <a:pt x="28703" y="138187"/>
                      </a:lnTo>
                      <a:lnTo>
                        <a:pt x="31254" y="135489"/>
                      </a:lnTo>
                      <a:lnTo>
                        <a:pt x="39135" y="124503"/>
                      </a:lnTo>
                      <a:lnTo>
                        <a:pt x="41009" y="123729"/>
                      </a:lnTo>
                      <a:lnTo>
                        <a:pt x="57423" y="121594"/>
                      </a:lnTo>
                      <a:lnTo>
                        <a:pt x="58882" y="120893"/>
                      </a:lnTo>
                      <a:lnTo>
                        <a:pt x="54171" y="118717"/>
                      </a:lnTo>
                      <a:lnTo>
                        <a:pt x="49322" y="118766"/>
                      </a:lnTo>
                      <a:lnTo>
                        <a:pt x="47081" y="118057"/>
                      </a:lnTo>
                      <a:lnTo>
                        <a:pt x="45818" y="116427"/>
                      </a:lnTo>
                      <a:lnTo>
                        <a:pt x="45125" y="114675"/>
                      </a:lnTo>
                      <a:lnTo>
                        <a:pt x="47040" y="113314"/>
                      </a:lnTo>
                      <a:lnTo>
                        <a:pt x="53340" y="106688"/>
                      </a:lnTo>
                      <a:lnTo>
                        <a:pt x="60887" y="101880"/>
                      </a:lnTo>
                      <a:lnTo>
                        <a:pt x="67847" y="99044"/>
                      </a:lnTo>
                      <a:lnTo>
                        <a:pt x="66111" y="98294"/>
                      </a:lnTo>
                      <a:lnTo>
                        <a:pt x="63910" y="96371"/>
                      </a:lnTo>
                      <a:lnTo>
                        <a:pt x="55427" y="96843"/>
                      </a:lnTo>
                      <a:lnTo>
                        <a:pt x="52085" y="94203"/>
                      </a:lnTo>
                      <a:lnTo>
                        <a:pt x="51050" y="92695"/>
                      </a:lnTo>
                      <a:lnTo>
                        <a:pt x="50765" y="91065"/>
                      </a:lnTo>
                      <a:lnTo>
                        <a:pt x="53511" y="88987"/>
                      </a:lnTo>
                      <a:lnTo>
                        <a:pt x="56364" y="87756"/>
                      </a:lnTo>
                      <a:lnTo>
                        <a:pt x="59509" y="88123"/>
                      </a:lnTo>
                      <a:lnTo>
                        <a:pt x="62639" y="89183"/>
                      </a:lnTo>
                      <a:lnTo>
                        <a:pt x="65133" y="90429"/>
                      </a:lnTo>
                      <a:lnTo>
                        <a:pt x="67520" y="92434"/>
                      </a:lnTo>
                      <a:lnTo>
                        <a:pt x="69631" y="92345"/>
                      </a:lnTo>
                      <a:lnTo>
                        <a:pt x="77211" y="85360"/>
                      </a:lnTo>
                      <a:lnTo>
                        <a:pt x="76045" y="83771"/>
                      </a:lnTo>
                      <a:lnTo>
                        <a:pt x="75556" y="81351"/>
                      </a:lnTo>
                      <a:lnTo>
                        <a:pt x="76428" y="80242"/>
                      </a:lnTo>
                      <a:lnTo>
                        <a:pt x="80022" y="79118"/>
                      </a:lnTo>
                      <a:lnTo>
                        <a:pt x="82451" y="78702"/>
                      </a:lnTo>
                      <a:lnTo>
                        <a:pt x="87764" y="79207"/>
                      </a:lnTo>
                      <a:lnTo>
                        <a:pt x="95336" y="80739"/>
                      </a:lnTo>
                      <a:lnTo>
                        <a:pt x="95938" y="80006"/>
                      </a:lnTo>
                      <a:lnTo>
                        <a:pt x="97854" y="75320"/>
                      </a:lnTo>
                      <a:lnTo>
                        <a:pt x="99712" y="72818"/>
                      </a:lnTo>
                      <a:lnTo>
                        <a:pt x="107413" y="68702"/>
                      </a:lnTo>
                      <a:lnTo>
                        <a:pt x="106884" y="67439"/>
                      </a:lnTo>
                      <a:lnTo>
                        <a:pt x="106525" y="65328"/>
                      </a:lnTo>
                      <a:lnTo>
                        <a:pt x="115457" y="62598"/>
                      </a:lnTo>
                      <a:lnTo>
                        <a:pt x="121276" y="59860"/>
                      </a:lnTo>
                      <a:lnTo>
                        <a:pt x="126940" y="56111"/>
                      </a:lnTo>
                      <a:lnTo>
                        <a:pt x="129760" y="55296"/>
                      </a:lnTo>
                      <a:lnTo>
                        <a:pt x="132629" y="55198"/>
                      </a:lnTo>
                      <a:lnTo>
                        <a:pt x="138480" y="53593"/>
                      </a:lnTo>
                      <a:lnTo>
                        <a:pt x="149279" y="51718"/>
                      </a:lnTo>
                      <a:lnTo>
                        <a:pt x="155595" y="49893"/>
                      </a:lnTo>
                      <a:lnTo>
                        <a:pt x="157616" y="45907"/>
                      </a:lnTo>
                      <a:lnTo>
                        <a:pt x="161609" y="44473"/>
                      </a:lnTo>
                      <a:lnTo>
                        <a:pt x="169718" y="43878"/>
                      </a:lnTo>
                      <a:lnTo>
                        <a:pt x="172815" y="44090"/>
                      </a:lnTo>
                      <a:lnTo>
                        <a:pt x="174559" y="45793"/>
                      </a:lnTo>
                      <a:lnTo>
                        <a:pt x="178064" y="45679"/>
                      </a:lnTo>
                      <a:lnTo>
                        <a:pt x="179441" y="44807"/>
                      </a:lnTo>
                      <a:lnTo>
                        <a:pt x="180826" y="43332"/>
                      </a:lnTo>
                      <a:lnTo>
                        <a:pt x="180411" y="40961"/>
                      </a:lnTo>
                      <a:lnTo>
                        <a:pt x="180346" y="37864"/>
                      </a:lnTo>
                      <a:lnTo>
                        <a:pt x="183385" y="35900"/>
                      </a:lnTo>
                      <a:lnTo>
                        <a:pt x="184502" y="35492"/>
                      </a:lnTo>
                      <a:lnTo>
                        <a:pt x="193621" y="34693"/>
                      </a:lnTo>
                      <a:lnTo>
                        <a:pt x="199016" y="35060"/>
                      </a:lnTo>
                      <a:lnTo>
                        <a:pt x="210181" y="37448"/>
                      </a:lnTo>
                      <a:lnTo>
                        <a:pt x="215984" y="37986"/>
                      </a:lnTo>
                      <a:lnTo>
                        <a:pt x="223694" y="37277"/>
                      </a:lnTo>
                      <a:lnTo>
                        <a:pt x="228396" y="37684"/>
                      </a:lnTo>
                      <a:lnTo>
                        <a:pt x="242145" y="34164"/>
                      </a:lnTo>
                      <a:lnTo>
                        <a:pt x="265396" y="30839"/>
                      </a:lnTo>
                      <a:lnTo>
                        <a:pt x="271443" y="28516"/>
                      </a:lnTo>
                      <a:lnTo>
                        <a:pt x="277466" y="25688"/>
                      </a:lnTo>
                      <a:lnTo>
                        <a:pt x="280506" y="25085"/>
                      </a:lnTo>
                      <a:lnTo>
                        <a:pt x="283594" y="24946"/>
                      </a:lnTo>
                      <a:lnTo>
                        <a:pt x="286382" y="24058"/>
                      </a:lnTo>
                      <a:lnTo>
                        <a:pt x="291818" y="21629"/>
                      </a:lnTo>
                      <a:lnTo>
                        <a:pt x="294507" y="21108"/>
                      </a:lnTo>
                      <a:lnTo>
                        <a:pt x="297433" y="21075"/>
                      </a:lnTo>
                      <a:lnTo>
                        <a:pt x="300106" y="19421"/>
                      </a:lnTo>
                      <a:lnTo>
                        <a:pt x="302486" y="15794"/>
                      </a:lnTo>
                      <a:lnTo>
                        <a:pt x="305061" y="12958"/>
                      </a:lnTo>
                      <a:lnTo>
                        <a:pt x="312070" y="9307"/>
                      </a:lnTo>
                      <a:lnTo>
                        <a:pt x="324066" y="4295"/>
                      </a:lnTo>
                      <a:lnTo>
                        <a:pt x="334848" y="2339"/>
                      </a:lnTo>
                      <a:lnTo>
                        <a:pt x="341572" y="196"/>
                      </a:lnTo>
                      <a:lnTo>
                        <a:pt x="344473" y="0"/>
                      </a:lnTo>
                      <a:lnTo>
                        <a:pt x="353535" y="1035"/>
                      </a:lnTo>
                      <a:lnTo>
                        <a:pt x="365165" y="3814"/>
                      </a:lnTo>
                      <a:lnTo>
                        <a:pt x="370454" y="6887"/>
                      </a:lnTo>
                      <a:lnTo>
                        <a:pt x="374774" y="10839"/>
                      </a:lnTo>
                      <a:lnTo>
                        <a:pt x="375719" y="12257"/>
                      </a:lnTo>
                      <a:lnTo>
                        <a:pt x="376461" y="14833"/>
                      </a:lnTo>
                      <a:lnTo>
                        <a:pt x="375198" y="17163"/>
                      </a:lnTo>
                      <a:lnTo>
                        <a:pt x="374382" y="19568"/>
                      </a:lnTo>
                      <a:lnTo>
                        <a:pt x="375425" y="21385"/>
                      </a:lnTo>
                      <a:lnTo>
                        <a:pt x="366958" y="27383"/>
                      </a:lnTo>
                      <a:lnTo>
                        <a:pt x="358629" y="33968"/>
                      </a:lnTo>
                      <a:lnTo>
                        <a:pt x="357211" y="35362"/>
                      </a:lnTo>
                      <a:close/>
                    </a:path>
                  </a:pathLst>
                </a:custGeom>
                <a:solidFill>
                  <a:srgbClr val="D6D6D2"/>
                </a:solidFill>
                <a:ln w="6112" cap="rnd">
                  <a:solidFill>
                    <a:srgbClr val="FFFFFF"/>
                  </a:solidFill>
                  <a:prstDash val="solid"/>
                  <a:round/>
                </a:ln>
              </p:spPr>
              <p:txBody>
                <a:bodyPr rtlCol="0" anchor="ctr"/>
                <a:lstStyle/>
                <a:p>
                  <a:endParaRPr lang="en-US"/>
                </a:p>
              </p:txBody>
            </p:sp>
            <p:sp>
              <p:nvSpPr>
                <p:cNvPr id="615" name="Freeform: Shape 614">
                  <a:extLst>
                    <a:ext uri="{FF2B5EF4-FFF2-40B4-BE49-F238E27FC236}">
                      <a16:creationId xmlns:a16="http://schemas.microsoft.com/office/drawing/2014/main" id="{0BAF6973-6EE5-4CF5-8CC8-2DC75089293F}"/>
                    </a:ext>
                  </a:extLst>
                </p:cNvPr>
                <p:cNvSpPr/>
                <p:nvPr/>
              </p:nvSpPr>
              <p:spPr>
                <a:xfrm>
                  <a:off x="8306549" y="1785502"/>
                  <a:ext cx="32036" cy="11287"/>
                </a:xfrm>
                <a:custGeom>
                  <a:avLst/>
                  <a:gdLst>
                    <a:gd name="connsiteX0" fmla="*/ 25182 w 32036"/>
                    <a:gd name="connsiteY0" fmla="*/ 8753 h 11287"/>
                    <a:gd name="connsiteX1" fmla="*/ 24384 w 32036"/>
                    <a:gd name="connsiteY1" fmla="*/ 9698 h 11287"/>
                    <a:gd name="connsiteX2" fmla="*/ 23308 w 32036"/>
                    <a:gd name="connsiteY2" fmla="*/ 10440 h 11287"/>
                    <a:gd name="connsiteX3" fmla="*/ 20358 w 32036"/>
                    <a:gd name="connsiteY3" fmla="*/ 9926 h 11287"/>
                    <a:gd name="connsiteX4" fmla="*/ 14498 w 32036"/>
                    <a:gd name="connsiteY4" fmla="*/ 11287 h 11287"/>
                    <a:gd name="connsiteX5" fmla="*/ 12282 w 32036"/>
                    <a:gd name="connsiteY5" fmla="*/ 10521 h 11287"/>
                    <a:gd name="connsiteX6" fmla="*/ 10179 w 32036"/>
                    <a:gd name="connsiteY6" fmla="*/ 9014 h 11287"/>
                    <a:gd name="connsiteX7" fmla="*/ 2322 w 32036"/>
                    <a:gd name="connsiteY7" fmla="*/ 9486 h 11287"/>
                    <a:gd name="connsiteX8" fmla="*/ 0 w 32036"/>
                    <a:gd name="connsiteY8" fmla="*/ 9136 h 11287"/>
                    <a:gd name="connsiteX9" fmla="*/ 3733 w 32036"/>
                    <a:gd name="connsiteY9" fmla="*/ 7294 h 11287"/>
                    <a:gd name="connsiteX10" fmla="*/ 14482 w 32036"/>
                    <a:gd name="connsiteY10" fmla="*/ 5281 h 11287"/>
                    <a:gd name="connsiteX11" fmla="*/ 31205 w 32036"/>
                    <a:gd name="connsiteY11" fmla="*/ 0 h 11287"/>
                    <a:gd name="connsiteX12" fmla="*/ 32036 w 32036"/>
                    <a:gd name="connsiteY12" fmla="*/ 2518 h 11287"/>
                    <a:gd name="connsiteX13" fmla="*/ 32020 w 32036"/>
                    <a:gd name="connsiteY13" fmla="*/ 3724 h 11287"/>
                    <a:gd name="connsiteX14" fmla="*/ 28630 w 32036"/>
                    <a:gd name="connsiteY14" fmla="*/ 6577 h 11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036" h="11287">
                      <a:moveTo>
                        <a:pt x="25182" y="8753"/>
                      </a:moveTo>
                      <a:lnTo>
                        <a:pt x="24384" y="9698"/>
                      </a:lnTo>
                      <a:lnTo>
                        <a:pt x="23308" y="10440"/>
                      </a:lnTo>
                      <a:lnTo>
                        <a:pt x="20358" y="9926"/>
                      </a:lnTo>
                      <a:lnTo>
                        <a:pt x="14498" y="11287"/>
                      </a:lnTo>
                      <a:lnTo>
                        <a:pt x="12282" y="10521"/>
                      </a:lnTo>
                      <a:lnTo>
                        <a:pt x="10179" y="9014"/>
                      </a:lnTo>
                      <a:lnTo>
                        <a:pt x="2322" y="9486"/>
                      </a:lnTo>
                      <a:lnTo>
                        <a:pt x="0" y="9136"/>
                      </a:lnTo>
                      <a:lnTo>
                        <a:pt x="3733" y="7294"/>
                      </a:lnTo>
                      <a:lnTo>
                        <a:pt x="14482" y="5281"/>
                      </a:lnTo>
                      <a:lnTo>
                        <a:pt x="31205" y="0"/>
                      </a:lnTo>
                      <a:lnTo>
                        <a:pt x="32036" y="2518"/>
                      </a:lnTo>
                      <a:lnTo>
                        <a:pt x="32020" y="3724"/>
                      </a:lnTo>
                      <a:lnTo>
                        <a:pt x="28630" y="6577"/>
                      </a:lnTo>
                      <a:close/>
                    </a:path>
                  </a:pathLst>
                </a:custGeom>
                <a:solidFill>
                  <a:srgbClr val="D6D6D2"/>
                </a:solidFill>
                <a:ln w="8150" cap="flat">
                  <a:noFill/>
                  <a:prstDash val="solid"/>
                  <a:miter/>
                </a:ln>
              </p:spPr>
              <p:txBody>
                <a:bodyPr rtlCol="0" anchor="ctr"/>
                <a:lstStyle/>
                <a:p>
                  <a:endParaRPr lang="en-US"/>
                </a:p>
              </p:txBody>
            </p:sp>
            <p:sp>
              <p:nvSpPr>
                <p:cNvPr id="616" name="Freeform: Shape 615">
                  <a:extLst>
                    <a:ext uri="{FF2B5EF4-FFF2-40B4-BE49-F238E27FC236}">
                      <a16:creationId xmlns:a16="http://schemas.microsoft.com/office/drawing/2014/main" id="{99D39F13-253A-4BAD-99E3-F2D681F78361}"/>
                    </a:ext>
                  </a:extLst>
                </p:cNvPr>
                <p:cNvSpPr/>
                <p:nvPr/>
              </p:nvSpPr>
              <p:spPr>
                <a:xfrm>
                  <a:off x="6622016" y="1759667"/>
                  <a:ext cx="4040759" cy="1475329"/>
                </a:xfrm>
                <a:custGeom>
                  <a:avLst/>
                  <a:gdLst>
                    <a:gd name="connsiteX0" fmla="*/ 3786024 w 4040759"/>
                    <a:gd name="connsiteY0" fmla="*/ 576374 h 1475329"/>
                    <a:gd name="connsiteX1" fmla="*/ 3781737 w 4040759"/>
                    <a:gd name="connsiteY1" fmla="*/ 577767 h 1475329"/>
                    <a:gd name="connsiteX2" fmla="*/ 3777377 w 4040759"/>
                    <a:gd name="connsiteY2" fmla="*/ 582527 h 1475329"/>
                    <a:gd name="connsiteX3" fmla="*/ 3772340 w 4040759"/>
                    <a:gd name="connsiteY3" fmla="*/ 586691 h 1475329"/>
                    <a:gd name="connsiteX4" fmla="*/ 3764940 w 4040759"/>
                    <a:gd name="connsiteY4" fmla="*/ 588386 h 1475329"/>
                    <a:gd name="connsiteX5" fmla="*/ 3753742 w 4040759"/>
                    <a:gd name="connsiteY5" fmla="*/ 594702 h 1475329"/>
                    <a:gd name="connsiteX6" fmla="*/ 3749309 w 4040759"/>
                    <a:gd name="connsiteY6" fmla="*/ 595884 h 1475329"/>
                    <a:gd name="connsiteX7" fmla="*/ 3743499 w 4040759"/>
                    <a:gd name="connsiteY7" fmla="*/ 592975 h 1475329"/>
                    <a:gd name="connsiteX8" fmla="*/ 3730182 w 4040759"/>
                    <a:gd name="connsiteY8" fmla="*/ 591100 h 1475329"/>
                    <a:gd name="connsiteX9" fmla="*/ 3726041 w 4040759"/>
                    <a:gd name="connsiteY9" fmla="*/ 588541 h 1475329"/>
                    <a:gd name="connsiteX10" fmla="*/ 3719970 w 4040759"/>
                    <a:gd name="connsiteY10" fmla="*/ 582095 h 1475329"/>
                    <a:gd name="connsiteX11" fmla="*/ 3717859 w 4040759"/>
                    <a:gd name="connsiteY11" fmla="*/ 581157 h 1475329"/>
                    <a:gd name="connsiteX12" fmla="*/ 3716066 w 4040759"/>
                    <a:gd name="connsiteY12" fmla="*/ 578615 h 1475329"/>
                    <a:gd name="connsiteX13" fmla="*/ 3708658 w 4040759"/>
                    <a:gd name="connsiteY13" fmla="*/ 575754 h 1475329"/>
                    <a:gd name="connsiteX14" fmla="*/ 3702301 w 4040759"/>
                    <a:gd name="connsiteY14" fmla="*/ 577620 h 1475329"/>
                    <a:gd name="connsiteX15" fmla="*/ 3697061 w 4040759"/>
                    <a:gd name="connsiteY15" fmla="*/ 576202 h 1475329"/>
                    <a:gd name="connsiteX16" fmla="*/ 3695277 w 4040759"/>
                    <a:gd name="connsiteY16" fmla="*/ 577213 h 1475329"/>
                    <a:gd name="connsiteX17" fmla="*/ 3698022 w 4040759"/>
                    <a:gd name="connsiteY17" fmla="*/ 578134 h 1475329"/>
                    <a:gd name="connsiteX18" fmla="*/ 3702822 w 4040759"/>
                    <a:gd name="connsiteY18" fmla="*/ 578908 h 1475329"/>
                    <a:gd name="connsiteX19" fmla="*/ 3710134 w 4040759"/>
                    <a:gd name="connsiteY19" fmla="*/ 578533 h 1475329"/>
                    <a:gd name="connsiteX20" fmla="*/ 3712537 w 4040759"/>
                    <a:gd name="connsiteY20" fmla="*/ 579218 h 1475329"/>
                    <a:gd name="connsiteX21" fmla="*/ 3714673 w 4040759"/>
                    <a:gd name="connsiteY21" fmla="*/ 581435 h 1475329"/>
                    <a:gd name="connsiteX22" fmla="*/ 3717134 w 4040759"/>
                    <a:gd name="connsiteY22" fmla="*/ 585020 h 1475329"/>
                    <a:gd name="connsiteX23" fmla="*/ 3715292 w 4040759"/>
                    <a:gd name="connsiteY23" fmla="*/ 587408 h 1475329"/>
                    <a:gd name="connsiteX24" fmla="*/ 3713328 w 4040759"/>
                    <a:gd name="connsiteY24" fmla="*/ 588174 h 1475329"/>
                    <a:gd name="connsiteX25" fmla="*/ 3707420 w 4040759"/>
                    <a:gd name="connsiteY25" fmla="*/ 585550 h 1475329"/>
                    <a:gd name="connsiteX26" fmla="*/ 3700614 w 4040759"/>
                    <a:gd name="connsiteY26" fmla="*/ 585933 h 1475329"/>
                    <a:gd name="connsiteX27" fmla="*/ 3697460 w 4040759"/>
                    <a:gd name="connsiteY27" fmla="*/ 585289 h 1475329"/>
                    <a:gd name="connsiteX28" fmla="*/ 3688325 w 4040759"/>
                    <a:gd name="connsiteY28" fmla="*/ 580848 h 1475329"/>
                    <a:gd name="connsiteX29" fmla="*/ 3681389 w 4040759"/>
                    <a:gd name="connsiteY29" fmla="*/ 585762 h 1475329"/>
                    <a:gd name="connsiteX30" fmla="*/ 3671846 w 4040759"/>
                    <a:gd name="connsiteY30" fmla="*/ 588297 h 1475329"/>
                    <a:gd name="connsiteX31" fmla="*/ 3664430 w 4040759"/>
                    <a:gd name="connsiteY31" fmla="*/ 588590 h 1475329"/>
                    <a:gd name="connsiteX32" fmla="*/ 3650819 w 4040759"/>
                    <a:gd name="connsiteY32" fmla="*/ 592486 h 1475329"/>
                    <a:gd name="connsiteX33" fmla="*/ 3654536 w 4040759"/>
                    <a:gd name="connsiteY33" fmla="*/ 592591 h 1475329"/>
                    <a:gd name="connsiteX34" fmla="*/ 3664414 w 4040759"/>
                    <a:gd name="connsiteY34" fmla="*/ 589853 h 1475329"/>
                    <a:gd name="connsiteX35" fmla="*/ 3670208 w 4040759"/>
                    <a:gd name="connsiteY35" fmla="*/ 589853 h 1475329"/>
                    <a:gd name="connsiteX36" fmla="*/ 3678822 w 4040759"/>
                    <a:gd name="connsiteY36" fmla="*/ 588354 h 1475329"/>
                    <a:gd name="connsiteX37" fmla="*/ 3683305 w 4040759"/>
                    <a:gd name="connsiteY37" fmla="*/ 586553 h 1475329"/>
                    <a:gd name="connsiteX38" fmla="*/ 3685480 w 4040759"/>
                    <a:gd name="connsiteY38" fmla="*/ 584882 h 1475329"/>
                    <a:gd name="connsiteX39" fmla="*/ 3688218 w 4040759"/>
                    <a:gd name="connsiteY39" fmla="*/ 583211 h 1475329"/>
                    <a:gd name="connsiteX40" fmla="*/ 3690998 w 4040759"/>
                    <a:gd name="connsiteY40" fmla="*/ 584051 h 1475329"/>
                    <a:gd name="connsiteX41" fmla="*/ 3692938 w 4040759"/>
                    <a:gd name="connsiteY41" fmla="*/ 585811 h 1475329"/>
                    <a:gd name="connsiteX42" fmla="*/ 3694274 w 4040759"/>
                    <a:gd name="connsiteY42" fmla="*/ 588297 h 1475329"/>
                    <a:gd name="connsiteX43" fmla="*/ 3695512 w 4040759"/>
                    <a:gd name="connsiteY43" fmla="*/ 591597 h 1475329"/>
                    <a:gd name="connsiteX44" fmla="*/ 3693834 w 4040759"/>
                    <a:gd name="connsiteY44" fmla="*/ 593333 h 1475329"/>
                    <a:gd name="connsiteX45" fmla="*/ 3692261 w 4040759"/>
                    <a:gd name="connsiteY45" fmla="*/ 594246 h 1475329"/>
                    <a:gd name="connsiteX46" fmla="*/ 3690305 w 4040759"/>
                    <a:gd name="connsiteY46" fmla="*/ 596601 h 1475329"/>
                    <a:gd name="connsiteX47" fmla="*/ 3699408 w 4040759"/>
                    <a:gd name="connsiteY47" fmla="*/ 592543 h 1475329"/>
                    <a:gd name="connsiteX48" fmla="*/ 3704934 w 4040759"/>
                    <a:gd name="connsiteY48" fmla="*/ 594963 h 1475329"/>
                    <a:gd name="connsiteX49" fmla="*/ 3707713 w 4040759"/>
                    <a:gd name="connsiteY49" fmla="*/ 594588 h 1475329"/>
                    <a:gd name="connsiteX50" fmla="*/ 3712847 w 4040759"/>
                    <a:gd name="connsiteY50" fmla="*/ 591002 h 1475329"/>
                    <a:gd name="connsiteX51" fmla="*/ 3721225 w 4040759"/>
                    <a:gd name="connsiteY51" fmla="*/ 588704 h 1475329"/>
                    <a:gd name="connsiteX52" fmla="*/ 3722219 w 4040759"/>
                    <a:gd name="connsiteY52" fmla="*/ 589144 h 1475329"/>
                    <a:gd name="connsiteX53" fmla="*/ 3723206 w 4040759"/>
                    <a:gd name="connsiteY53" fmla="*/ 590269 h 1475329"/>
                    <a:gd name="connsiteX54" fmla="*/ 3721779 w 4040759"/>
                    <a:gd name="connsiteY54" fmla="*/ 597147 h 1475329"/>
                    <a:gd name="connsiteX55" fmla="*/ 3722349 w 4040759"/>
                    <a:gd name="connsiteY55" fmla="*/ 602518 h 1475329"/>
                    <a:gd name="connsiteX56" fmla="*/ 3728665 w 4040759"/>
                    <a:gd name="connsiteY56" fmla="*/ 608353 h 1475329"/>
                    <a:gd name="connsiteX57" fmla="*/ 3735259 w 4040759"/>
                    <a:gd name="connsiteY57" fmla="*/ 611800 h 1475329"/>
                    <a:gd name="connsiteX58" fmla="*/ 3737525 w 4040759"/>
                    <a:gd name="connsiteY58" fmla="*/ 611915 h 1475329"/>
                    <a:gd name="connsiteX59" fmla="*/ 3739651 w 4040759"/>
                    <a:gd name="connsiteY59" fmla="*/ 611263 h 1475329"/>
                    <a:gd name="connsiteX60" fmla="*/ 3740483 w 4040759"/>
                    <a:gd name="connsiteY60" fmla="*/ 608174 h 1475329"/>
                    <a:gd name="connsiteX61" fmla="*/ 3742105 w 4040759"/>
                    <a:gd name="connsiteY61" fmla="*/ 605867 h 1475329"/>
                    <a:gd name="connsiteX62" fmla="*/ 3744183 w 4040759"/>
                    <a:gd name="connsiteY62" fmla="*/ 607954 h 1475329"/>
                    <a:gd name="connsiteX63" fmla="*/ 3745886 w 4040759"/>
                    <a:gd name="connsiteY63" fmla="*/ 610187 h 1475329"/>
                    <a:gd name="connsiteX64" fmla="*/ 3748241 w 4040759"/>
                    <a:gd name="connsiteY64" fmla="*/ 615737 h 1475329"/>
                    <a:gd name="connsiteX65" fmla="*/ 3748192 w 4040759"/>
                    <a:gd name="connsiteY65" fmla="*/ 617359 h 1475329"/>
                    <a:gd name="connsiteX66" fmla="*/ 3747605 w 4040759"/>
                    <a:gd name="connsiteY66" fmla="*/ 620594 h 1475329"/>
                    <a:gd name="connsiteX67" fmla="*/ 3749708 w 4040759"/>
                    <a:gd name="connsiteY67" fmla="*/ 622077 h 1475329"/>
                    <a:gd name="connsiteX68" fmla="*/ 3752537 w 4040759"/>
                    <a:gd name="connsiteY68" fmla="*/ 622509 h 1475329"/>
                    <a:gd name="connsiteX69" fmla="*/ 3753587 w 4040759"/>
                    <a:gd name="connsiteY69" fmla="*/ 627619 h 1475329"/>
                    <a:gd name="connsiteX70" fmla="*/ 3754557 w 4040759"/>
                    <a:gd name="connsiteY70" fmla="*/ 634897 h 1475329"/>
                    <a:gd name="connsiteX71" fmla="*/ 3753319 w 4040759"/>
                    <a:gd name="connsiteY71" fmla="*/ 635573 h 1475329"/>
                    <a:gd name="connsiteX72" fmla="*/ 3751942 w 4040759"/>
                    <a:gd name="connsiteY72" fmla="*/ 635573 h 1475329"/>
                    <a:gd name="connsiteX73" fmla="*/ 3747337 w 4040759"/>
                    <a:gd name="connsiteY73" fmla="*/ 637448 h 1475329"/>
                    <a:gd name="connsiteX74" fmla="*/ 3747980 w 4040759"/>
                    <a:gd name="connsiteY74" fmla="*/ 638752 h 1475329"/>
                    <a:gd name="connsiteX75" fmla="*/ 3752634 w 4040759"/>
                    <a:gd name="connsiteY75" fmla="*/ 639477 h 1475329"/>
                    <a:gd name="connsiteX76" fmla="*/ 3753938 w 4040759"/>
                    <a:gd name="connsiteY76" fmla="*/ 640928 h 1475329"/>
                    <a:gd name="connsiteX77" fmla="*/ 3753009 w 4040759"/>
                    <a:gd name="connsiteY77" fmla="*/ 644302 h 1475329"/>
                    <a:gd name="connsiteX78" fmla="*/ 3753245 w 4040759"/>
                    <a:gd name="connsiteY78" fmla="*/ 645866 h 1475329"/>
                    <a:gd name="connsiteX79" fmla="*/ 3754859 w 4040759"/>
                    <a:gd name="connsiteY79" fmla="*/ 646176 h 1475329"/>
                    <a:gd name="connsiteX80" fmla="*/ 3755927 w 4040759"/>
                    <a:gd name="connsiteY80" fmla="*/ 644204 h 1475329"/>
                    <a:gd name="connsiteX81" fmla="*/ 3755650 w 4040759"/>
                    <a:gd name="connsiteY81" fmla="*/ 641392 h 1475329"/>
                    <a:gd name="connsiteX82" fmla="*/ 3756089 w 4040759"/>
                    <a:gd name="connsiteY82" fmla="*/ 640153 h 1475329"/>
                    <a:gd name="connsiteX83" fmla="*/ 3759203 w 4040759"/>
                    <a:gd name="connsiteY83" fmla="*/ 645948 h 1475329"/>
                    <a:gd name="connsiteX84" fmla="*/ 3759276 w 4040759"/>
                    <a:gd name="connsiteY84" fmla="*/ 648230 h 1475329"/>
                    <a:gd name="connsiteX85" fmla="*/ 3761917 w 4040759"/>
                    <a:gd name="connsiteY85" fmla="*/ 650813 h 1475329"/>
                    <a:gd name="connsiteX86" fmla="*/ 3769463 w 4040759"/>
                    <a:gd name="connsiteY86" fmla="*/ 654627 h 1475329"/>
                    <a:gd name="connsiteX87" fmla="*/ 3770857 w 4040759"/>
                    <a:gd name="connsiteY87" fmla="*/ 656404 h 1475329"/>
                    <a:gd name="connsiteX88" fmla="*/ 3771265 w 4040759"/>
                    <a:gd name="connsiteY88" fmla="*/ 659264 h 1475329"/>
                    <a:gd name="connsiteX89" fmla="*/ 3769373 w 4040759"/>
                    <a:gd name="connsiteY89" fmla="*/ 660079 h 1475329"/>
                    <a:gd name="connsiteX90" fmla="*/ 3767654 w 4040759"/>
                    <a:gd name="connsiteY90" fmla="*/ 662125 h 1475329"/>
                    <a:gd name="connsiteX91" fmla="*/ 3768706 w 4040759"/>
                    <a:gd name="connsiteY91" fmla="*/ 664945 h 1475329"/>
                    <a:gd name="connsiteX92" fmla="*/ 3770670 w 4040759"/>
                    <a:gd name="connsiteY92" fmla="*/ 667251 h 1475329"/>
                    <a:gd name="connsiteX93" fmla="*/ 3773889 w 4040759"/>
                    <a:gd name="connsiteY93" fmla="*/ 668115 h 1475329"/>
                    <a:gd name="connsiteX94" fmla="*/ 3775363 w 4040759"/>
                    <a:gd name="connsiteY94" fmla="*/ 671782 h 1475329"/>
                    <a:gd name="connsiteX95" fmla="*/ 3775363 w 4040759"/>
                    <a:gd name="connsiteY95" fmla="*/ 675319 h 1475329"/>
                    <a:gd name="connsiteX96" fmla="*/ 3773057 w 4040759"/>
                    <a:gd name="connsiteY96" fmla="*/ 678376 h 1475329"/>
                    <a:gd name="connsiteX97" fmla="*/ 3768387 w 4040759"/>
                    <a:gd name="connsiteY97" fmla="*/ 682581 h 1475329"/>
                    <a:gd name="connsiteX98" fmla="*/ 3765609 w 4040759"/>
                    <a:gd name="connsiteY98" fmla="*/ 684268 h 1475329"/>
                    <a:gd name="connsiteX99" fmla="*/ 3764540 w 4040759"/>
                    <a:gd name="connsiteY99" fmla="*/ 687243 h 1475329"/>
                    <a:gd name="connsiteX100" fmla="*/ 3764223 w 4040759"/>
                    <a:gd name="connsiteY100" fmla="*/ 690356 h 1475329"/>
                    <a:gd name="connsiteX101" fmla="*/ 3762316 w 4040759"/>
                    <a:gd name="connsiteY101" fmla="*/ 690217 h 1475329"/>
                    <a:gd name="connsiteX102" fmla="*/ 3760319 w 4040759"/>
                    <a:gd name="connsiteY102" fmla="*/ 688929 h 1475329"/>
                    <a:gd name="connsiteX103" fmla="*/ 3736889 w 4040759"/>
                    <a:gd name="connsiteY103" fmla="*/ 681081 h 1475329"/>
                    <a:gd name="connsiteX104" fmla="*/ 3728055 w 4040759"/>
                    <a:gd name="connsiteY104" fmla="*/ 679614 h 1475329"/>
                    <a:gd name="connsiteX105" fmla="*/ 3720329 w 4040759"/>
                    <a:gd name="connsiteY105" fmla="*/ 679419 h 1475329"/>
                    <a:gd name="connsiteX106" fmla="*/ 3718870 w 4040759"/>
                    <a:gd name="connsiteY106" fmla="*/ 678946 h 1475329"/>
                    <a:gd name="connsiteX107" fmla="*/ 3718943 w 4040759"/>
                    <a:gd name="connsiteY107" fmla="*/ 677080 h 1475329"/>
                    <a:gd name="connsiteX108" fmla="*/ 3719448 w 4040759"/>
                    <a:gd name="connsiteY108" fmla="*/ 675401 h 1475329"/>
                    <a:gd name="connsiteX109" fmla="*/ 3720533 w 4040759"/>
                    <a:gd name="connsiteY109" fmla="*/ 673282 h 1475329"/>
                    <a:gd name="connsiteX110" fmla="*/ 3720019 w 4040759"/>
                    <a:gd name="connsiteY110" fmla="*/ 671456 h 1475329"/>
                    <a:gd name="connsiteX111" fmla="*/ 3719016 w 4040759"/>
                    <a:gd name="connsiteY111" fmla="*/ 671342 h 1475329"/>
                    <a:gd name="connsiteX112" fmla="*/ 3718039 w 4040759"/>
                    <a:gd name="connsiteY112" fmla="*/ 672728 h 1475329"/>
                    <a:gd name="connsiteX113" fmla="*/ 3715895 w 4040759"/>
                    <a:gd name="connsiteY113" fmla="*/ 672736 h 1475329"/>
                    <a:gd name="connsiteX114" fmla="*/ 3713874 w 4040759"/>
                    <a:gd name="connsiteY114" fmla="*/ 671122 h 1475329"/>
                    <a:gd name="connsiteX115" fmla="*/ 3712195 w 4040759"/>
                    <a:gd name="connsiteY115" fmla="*/ 671628 h 1475329"/>
                    <a:gd name="connsiteX116" fmla="*/ 3711364 w 4040759"/>
                    <a:gd name="connsiteY116" fmla="*/ 673893 h 1475329"/>
                    <a:gd name="connsiteX117" fmla="*/ 3710704 w 4040759"/>
                    <a:gd name="connsiteY117" fmla="*/ 675075 h 1475329"/>
                    <a:gd name="connsiteX118" fmla="*/ 3710736 w 4040759"/>
                    <a:gd name="connsiteY118" fmla="*/ 676501 h 1475329"/>
                    <a:gd name="connsiteX119" fmla="*/ 3711812 w 4040759"/>
                    <a:gd name="connsiteY119" fmla="*/ 677821 h 1475329"/>
                    <a:gd name="connsiteX120" fmla="*/ 3716318 w 4040759"/>
                    <a:gd name="connsiteY120" fmla="*/ 679248 h 1475329"/>
                    <a:gd name="connsiteX121" fmla="*/ 3715569 w 4040759"/>
                    <a:gd name="connsiteY121" fmla="*/ 680503 h 1475329"/>
                    <a:gd name="connsiteX122" fmla="*/ 3709318 w 4040759"/>
                    <a:gd name="connsiteY122" fmla="*/ 681521 h 1475329"/>
                    <a:gd name="connsiteX123" fmla="*/ 3704224 w 4040759"/>
                    <a:gd name="connsiteY123" fmla="*/ 682768 h 1475329"/>
                    <a:gd name="connsiteX124" fmla="*/ 3697631 w 4040759"/>
                    <a:gd name="connsiteY124" fmla="*/ 686656 h 1475329"/>
                    <a:gd name="connsiteX125" fmla="*/ 3694958 w 4040759"/>
                    <a:gd name="connsiteY125" fmla="*/ 689304 h 1475329"/>
                    <a:gd name="connsiteX126" fmla="*/ 3677233 w 4040759"/>
                    <a:gd name="connsiteY126" fmla="*/ 695906 h 1475329"/>
                    <a:gd name="connsiteX127" fmla="*/ 3672970 w 4040759"/>
                    <a:gd name="connsiteY127" fmla="*/ 698212 h 1475329"/>
                    <a:gd name="connsiteX128" fmla="*/ 3671080 w 4040759"/>
                    <a:gd name="connsiteY128" fmla="*/ 698489 h 1475329"/>
                    <a:gd name="connsiteX129" fmla="*/ 3668660 w 4040759"/>
                    <a:gd name="connsiteY129" fmla="*/ 699255 h 1475329"/>
                    <a:gd name="connsiteX130" fmla="*/ 3666776 w 4040759"/>
                    <a:gd name="connsiteY130" fmla="*/ 702034 h 1475329"/>
                    <a:gd name="connsiteX131" fmla="*/ 3656989 w 4040759"/>
                    <a:gd name="connsiteY131" fmla="*/ 705922 h 1475329"/>
                    <a:gd name="connsiteX132" fmla="*/ 3654943 w 4040759"/>
                    <a:gd name="connsiteY132" fmla="*/ 705555 h 1475329"/>
                    <a:gd name="connsiteX133" fmla="*/ 3652343 w 4040759"/>
                    <a:gd name="connsiteY133" fmla="*/ 708823 h 1475329"/>
                    <a:gd name="connsiteX134" fmla="*/ 3649956 w 4040759"/>
                    <a:gd name="connsiteY134" fmla="*/ 710608 h 1475329"/>
                    <a:gd name="connsiteX135" fmla="*/ 3644275 w 4040759"/>
                    <a:gd name="connsiteY135" fmla="*/ 710860 h 1475329"/>
                    <a:gd name="connsiteX136" fmla="*/ 3640657 w 4040759"/>
                    <a:gd name="connsiteY136" fmla="*/ 711765 h 1475329"/>
                    <a:gd name="connsiteX137" fmla="*/ 3632801 w 4040759"/>
                    <a:gd name="connsiteY137" fmla="*/ 716476 h 1475329"/>
                    <a:gd name="connsiteX138" fmla="*/ 3627861 w 4040759"/>
                    <a:gd name="connsiteY138" fmla="*/ 714984 h 1475329"/>
                    <a:gd name="connsiteX139" fmla="*/ 3622092 w 4040759"/>
                    <a:gd name="connsiteY139" fmla="*/ 721455 h 1475329"/>
                    <a:gd name="connsiteX140" fmla="*/ 3615677 w 4040759"/>
                    <a:gd name="connsiteY140" fmla="*/ 727535 h 1475329"/>
                    <a:gd name="connsiteX141" fmla="*/ 3613762 w 4040759"/>
                    <a:gd name="connsiteY141" fmla="*/ 727551 h 1475329"/>
                    <a:gd name="connsiteX142" fmla="*/ 3608849 w 4040759"/>
                    <a:gd name="connsiteY142" fmla="*/ 725000 h 1475329"/>
                    <a:gd name="connsiteX143" fmla="*/ 3607609 w 4040759"/>
                    <a:gd name="connsiteY143" fmla="*/ 726337 h 1475329"/>
                    <a:gd name="connsiteX144" fmla="*/ 3608392 w 4040759"/>
                    <a:gd name="connsiteY144" fmla="*/ 728790 h 1475329"/>
                    <a:gd name="connsiteX145" fmla="*/ 3610128 w 4040759"/>
                    <a:gd name="connsiteY145" fmla="*/ 731381 h 1475329"/>
                    <a:gd name="connsiteX146" fmla="*/ 3609125 w 4040759"/>
                    <a:gd name="connsiteY146" fmla="*/ 732131 h 1475329"/>
                    <a:gd name="connsiteX147" fmla="*/ 3607170 w 4040759"/>
                    <a:gd name="connsiteY147" fmla="*/ 731414 h 1475329"/>
                    <a:gd name="connsiteX148" fmla="*/ 3605727 w 4040759"/>
                    <a:gd name="connsiteY148" fmla="*/ 731267 h 1475329"/>
                    <a:gd name="connsiteX149" fmla="*/ 3604708 w 4040759"/>
                    <a:gd name="connsiteY149" fmla="*/ 732042 h 1475329"/>
                    <a:gd name="connsiteX150" fmla="*/ 3604887 w 4040759"/>
                    <a:gd name="connsiteY150" fmla="*/ 733900 h 1475329"/>
                    <a:gd name="connsiteX151" fmla="*/ 3602101 w 4040759"/>
                    <a:gd name="connsiteY151" fmla="*/ 736279 h 1475329"/>
                    <a:gd name="connsiteX152" fmla="*/ 3599932 w 4040759"/>
                    <a:gd name="connsiteY152" fmla="*/ 736467 h 1475329"/>
                    <a:gd name="connsiteX153" fmla="*/ 3597422 w 4040759"/>
                    <a:gd name="connsiteY153" fmla="*/ 737208 h 1475329"/>
                    <a:gd name="connsiteX154" fmla="*/ 3596583 w 4040759"/>
                    <a:gd name="connsiteY154" fmla="*/ 739262 h 1475329"/>
                    <a:gd name="connsiteX155" fmla="*/ 3597350 w 4040759"/>
                    <a:gd name="connsiteY155" fmla="*/ 741471 h 1475329"/>
                    <a:gd name="connsiteX156" fmla="*/ 3592900 w 4040759"/>
                    <a:gd name="connsiteY156" fmla="*/ 744054 h 1475329"/>
                    <a:gd name="connsiteX157" fmla="*/ 3589281 w 4040759"/>
                    <a:gd name="connsiteY157" fmla="*/ 747363 h 1475329"/>
                    <a:gd name="connsiteX158" fmla="*/ 3587545 w 4040759"/>
                    <a:gd name="connsiteY158" fmla="*/ 747974 h 1475329"/>
                    <a:gd name="connsiteX159" fmla="*/ 3585573 w 4040759"/>
                    <a:gd name="connsiteY159" fmla="*/ 749449 h 1475329"/>
                    <a:gd name="connsiteX160" fmla="*/ 3583397 w 4040759"/>
                    <a:gd name="connsiteY160" fmla="*/ 750525 h 1475329"/>
                    <a:gd name="connsiteX161" fmla="*/ 3580895 w 4040759"/>
                    <a:gd name="connsiteY161" fmla="*/ 750289 h 1475329"/>
                    <a:gd name="connsiteX162" fmla="*/ 3574946 w 4040759"/>
                    <a:gd name="connsiteY162" fmla="*/ 755007 h 1475329"/>
                    <a:gd name="connsiteX163" fmla="*/ 3561547 w 4040759"/>
                    <a:gd name="connsiteY163" fmla="*/ 763157 h 1475329"/>
                    <a:gd name="connsiteX164" fmla="*/ 3557823 w 4040759"/>
                    <a:gd name="connsiteY164" fmla="*/ 764217 h 1475329"/>
                    <a:gd name="connsiteX165" fmla="*/ 3553088 w 4040759"/>
                    <a:gd name="connsiteY165" fmla="*/ 766694 h 1475329"/>
                    <a:gd name="connsiteX166" fmla="*/ 3552623 w 4040759"/>
                    <a:gd name="connsiteY166" fmla="*/ 768341 h 1475329"/>
                    <a:gd name="connsiteX167" fmla="*/ 3552591 w 4040759"/>
                    <a:gd name="connsiteY167" fmla="*/ 770378 h 1475329"/>
                    <a:gd name="connsiteX168" fmla="*/ 3550708 w 4040759"/>
                    <a:gd name="connsiteY168" fmla="*/ 773719 h 1475329"/>
                    <a:gd name="connsiteX169" fmla="*/ 3548500 w 4040759"/>
                    <a:gd name="connsiteY169" fmla="*/ 782179 h 1475329"/>
                    <a:gd name="connsiteX170" fmla="*/ 3547831 w 4040759"/>
                    <a:gd name="connsiteY170" fmla="*/ 783703 h 1475329"/>
                    <a:gd name="connsiteX171" fmla="*/ 3546707 w 4040759"/>
                    <a:gd name="connsiteY171" fmla="*/ 785463 h 1475329"/>
                    <a:gd name="connsiteX172" fmla="*/ 3541824 w 4040759"/>
                    <a:gd name="connsiteY172" fmla="*/ 784640 h 1475329"/>
                    <a:gd name="connsiteX173" fmla="*/ 3537563 w 4040759"/>
                    <a:gd name="connsiteY173" fmla="*/ 781405 h 1475329"/>
                    <a:gd name="connsiteX174" fmla="*/ 3536194 w 4040759"/>
                    <a:gd name="connsiteY174" fmla="*/ 779929 h 1475329"/>
                    <a:gd name="connsiteX175" fmla="*/ 3535460 w 4040759"/>
                    <a:gd name="connsiteY175" fmla="*/ 778185 h 1475329"/>
                    <a:gd name="connsiteX176" fmla="*/ 3535191 w 4040759"/>
                    <a:gd name="connsiteY176" fmla="*/ 775382 h 1475329"/>
                    <a:gd name="connsiteX177" fmla="*/ 3534384 w 4040759"/>
                    <a:gd name="connsiteY177" fmla="*/ 774086 h 1475329"/>
                    <a:gd name="connsiteX178" fmla="*/ 3533398 w 4040759"/>
                    <a:gd name="connsiteY178" fmla="*/ 773483 h 1475329"/>
                    <a:gd name="connsiteX179" fmla="*/ 3528532 w 4040759"/>
                    <a:gd name="connsiteY179" fmla="*/ 766564 h 1475329"/>
                    <a:gd name="connsiteX180" fmla="*/ 3520032 w 4040759"/>
                    <a:gd name="connsiteY180" fmla="*/ 761804 h 1475329"/>
                    <a:gd name="connsiteX181" fmla="*/ 3518827 w 4040759"/>
                    <a:gd name="connsiteY181" fmla="*/ 760231 h 1475329"/>
                    <a:gd name="connsiteX182" fmla="*/ 3507938 w 4040759"/>
                    <a:gd name="connsiteY182" fmla="*/ 761519 h 1475329"/>
                    <a:gd name="connsiteX183" fmla="*/ 3505012 w 4040759"/>
                    <a:gd name="connsiteY183" fmla="*/ 761560 h 1475329"/>
                    <a:gd name="connsiteX184" fmla="*/ 3499870 w 4040759"/>
                    <a:gd name="connsiteY184" fmla="*/ 760378 h 1475329"/>
                    <a:gd name="connsiteX185" fmla="*/ 3491810 w 4040759"/>
                    <a:gd name="connsiteY185" fmla="*/ 761112 h 1475329"/>
                    <a:gd name="connsiteX186" fmla="*/ 3482095 w 4040759"/>
                    <a:gd name="connsiteY186" fmla="*/ 763703 h 1475329"/>
                    <a:gd name="connsiteX187" fmla="*/ 3479121 w 4040759"/>
                    <a:gd name="connsiteY187" fmla="*/ 765325 h 1475329"/>
                    <a:gd name="connsiteX188" fmla="*/ 3469219 w 4040759"/>
                    <a:gd name="connsiteY188" fmla="*/ 767835 h 1475329"/>
                    <a:gd name="connsiteX189" fmla="*/ 3462699 w 4040759"/>
                    <a:gd name="connsiteY189" fmla="*/ 771812 h 1475329"/>
                    <a:gd name="connsiteX190" fmla="*/ 3450019 w 4040759"/>
                    <a:gd name="connsiteY190" fmla="*/ 786205 h 1475329"/>
                    <a:gd name="connsiteX191" fmla="*/ 3447019 w 4040759"/>
                    <a:gd name="connsiteY191" fmla="*/ 789179 h 1475329"/>
                    <a:gd name="connsiteX192" fmla="*/ 3445561 w 4040759"/>
                    <a:gd name="connsiteY192" fmla="*/ 789823 h 1475329"/>
                    <a:gd name="connsiteX193" fmla="*/ 3443409 w 4040759"/>
                    <a:gd name="connsiteY193" fmla="*/ 790100 h 1475329"/>
                    <a:gd name="connsiteX194" fmla="*/ 3442480 w 4040759"/>
                    <a:gd name="connsiteY194" fmla="*/ 787199 h 1475329"/>
                    <a:gd name="connsiteX195" fmla="*/ 3442162 w 4040759"/>
                    <a:gd name="connsiteY195" fmla="*/ 784917 h 1475329"/>
                    <a:gd name="connsiteX196" fmla="*/ 3442960 w 4040759"/>
                    <a:gd name="connsiteY196" fmla="*/ 780541 h 1475329"/>
                    <a:gd name="connsiteX197" fmla="*/ 3444484 w 4040759"/>
                    <a:gd name="connsiteY197" fmla="*/ 776963 h 1475329"/>
                    <a:gd name="connsiteX198" fmla="*/ 3446049 w 4040759"/>
                    <a:gd name="connsiteY198" fmla="*/ 770256 h 1475329"/>
                    <a:gd name="connsiteX199" fmla="*/ 3446432 w 4040759"/>
                    <a:gd name="connsiteY199" fmla="*/ 767517 h 1475329"/>
                    <a:gd name="connsiteX200" fmla="*/ 3447525 w 4040759"/>
                    <a:gd name="connsiteY200" fmla="*/ 764689 h 1475329"/>
                    <a:gd name="connsiteX201" fmla="*/ 3443254 w 4040759"/>
                    <a:gd name="connsiteY201" fmla="*/ 764861 h 1475329"/>
                    <a:gd name="connsiteX202" fmla="*/ 3437353 w 4040759"/>
                    <a:gd name="connsiteY202" fmla="*/ 769824 h 1475329"/>
                    <a:gd name="connsiteX203" fmla="*/ 3428446 w 4040759"/>
                    <a:gd name="connsiteY203" fmla="*/ 774640 h 1475329"/>
                    <a:gd name="connsiteX204" fmla="*/ 3424306 w 4040759"/>
                    <a:gd name="connsiteY204" fmla="*/ 775887 h 1475329"/>
                    <a:gd name="connsiteX205" fmla="*/ 3421062 w 4040759"/>
                    <a:gd name="connsiteY205" fmla="*/ 778699 h 1475329"/>
                    <a:gd name="connsiteX206" fmla="*/ 3418756 w 4040759"/>
                    <a:gd name="connsiteY206" fmla="*/ 779106 h 1475329"/>
                    <a:gd name="connsiteX207" fmla="*/ 3416083 w 4040759"/>
                    <a:gd name="connsiteY207" fmla="*/ 780149 h 1475329"/>
                    <a:gd name="connsiteX208" fmla="*/ 3415814 w 4040759"/>
                    <a:gd name="connsiteY208" fmla="*/ 786262 h 1475329"/>
                    <a:gd name="connsiteX209" fmla="*/ 3414461 w 4040759"/>
                    <a:gd name="connsiteY209" fmla="*/ 789636 h 1475329"/>
                    <a:gd name="connsiteX210" fmla="*/ 3412839 w 4040759"/>
                    <a:gd name="connsiteY210" fmla="*/ 790328 h 1475329"/>
                    <a:gd name="connsiteX211" fmla="*/ 3410370 w 4040759"/>
                    <a:gd name="connsiteY211" fmla="*/ 790434 h 1475329"/>
                    <a:gd name="connsiteX212" fmla="*/ 3408520 w 4040759"/>
                    <a:gd name="connsiteY212" fmla="*/ 789106 h 1475329"/>
                    <a:gd name="connsiteX213" fmla="*/ 3405798 w 4040759"/>
                    <a:gd name="connsiteY213" fmla="*/ 784184 h 1475329"/>
                    <a:gd name="connsiteX214" fmla="*/ 3402221 w 4040759"/>
                    <a:gd name="connsiteY214" fmla="*/ 781641 h 1475329"/>
                    <a:gd name="connsiteX215" fmla="*/ 3400102 w 4040759"/>
                    <a:gd name="connsiteY215" fmla="*/ 781184 h 1475329"/>
                    <a:gd name="connsiteX216" fmla="*/ 3398537 w 4040759"/>
                    <a:gd name="connsiteY216" fmla="*/ 781771 h 1475329"/>
                    <a:gd name="connsiteX217" fmla="*/ 3395432 w 4040759"/>
                    <a:gd name="connsiteY217" fmla="*/ 785137 h 1475329"/>
                    <a:gd name="connsiteX218" fmla="*/ 3391993 w 4040759"/>
                    <a:gd name="connsiteY218" fmla="*/ 788177 h 1475329"/>
                    <a:gd name="connsiteX219" fmla="*/ 3392530 w 4040759"/>
                    <a:gd name="connsiteY219" fmla="*/ 784713 h 1475329"/>
                    <a:gd name="connsiteX220" fmla="*/ 3389629 w 4040759"/>
                    <a:gd name="connsiteY220" fmla="*/ 783401 h 1475329"/>
                    <a:gd name="connsiteX221" fmla="*/ 3387020 w 4040759"/>
                    <a:gd name="connsiteY221" fmla="*/ 782611 h 1475329"/>
                    <a:gd name="connsiteX222" fmla="*/ 3383728 w 4040759"/>
                    <a:gd name="connsiteY222" fmla="*/ 782448 h 1475329"/>
                    <a:gd name="connsiteX223" fmla="*/ 3382840 w 4040759"/>
                    <a:gd name="connsiteY223" fmla="*/ 782969 h 1475329"/>
                    <a:gd name="connsiteX224" fmla="*/ 3381503 w 4040759"/>
                    <a:gd name="connsiteY224" fmla="*/ 784950 h 1475329"/>
                    <a:gd name="connsiteX225" fmla="*/ 3378619 w 4040759"/>
                    <a:gd name="connsiteY225" fmla="*/ 787525 h 1475329"/>
                    <a:gd name="connsiteX226" fmla="*/ 3376630 w 4040759"/>
                    <a:gd name="connsiteY226" fmla="*/ 788601 h 1475329"/>
                    <a:gd name="connsiteX227" fmla="*/ 3374552 w 4040759"/>
                    <a:gd name="connsiteY227" fmla="*/ 790671 h 1475329"/>
                    <a:gd name="connsiteX228" fmla="*/ 3373435 w 4040759"/>
                    <a:gd name="connsiteY228" fmla="*/ 792806 h 1475329"/>
                    <a:gd name="connsiteX229" fmla="*/ 3372351 w 4040759"/>
                    <a:gd name="connsiteY229" fmla="*/ 795829 h 1475329"/>
                    <a:gd name="connsiteX230" fmla="*/ 3371055 w 4040759"/>
                    <a:gd name="connsiteY230" fmla="*/ 803205 h 1475329"/>
                    <a:gd name="connsiteX231" fmla="*/ 3371145 w 4040759"/>
                    <a:gd name="connsiteY231" fmla="*/ 811836 h 1475329"/>
                    <a:gd name="connsiteX232" fmla="*/ 3366484 w 4040759"/>
                    <a:gd name="connsiteY232" fmla="*/ 818616 h 1475329"/>
                    <a:gd name="connsiteX233" fmla="*/ 3364633 w 4040759"/>
                    <a:gd name="connsiteY233" fmla="*/ 817948 h 1475329"/>
                    <a:gd name="connsiteX234" fmla="*/ 3363753 w 4040759"/>
                    <a:gd name="connsiteY234" fmla="*/ 818388 h 1475329"/>
                    <a:gd name="connsiteX235" fmla="*/ 3362889 w 4040759"/>
                    <a:gd name="connsiteY235" fmla="*/ 819284 h 1475329"/>
                    <a:gd name="connsiteX236" fmla="*/ 3364495 w 4040759"/>
                    <a:gd name="connsiteY236" fmla="*/ 823017 h 1475329"/>
                    <a:gd name="connsiteX237" fmla="*/ 3363631 w 4040759"/>
                    <a:gd name="connsiteY237" fmla="*/ 824345 h 1475329"/>
                    <a:gd name="connsiteX238" fmla="*/ 3362759 w 4040759"/>
                    <a:gd name="connsiteY238" fmla="*/ 825234 h 1475329"/>
                    <a:gd name="connsiteX239" fmla="*/ 3360583 w 4040759"/>
                    <a:gd name="connsiteY239" fmla="*/ 826212 h 1475329"/>
                    <a:gd name="connsiteX240" fmla="*/ 3355539 w 4040759"/>
                    <a:gd name="connsiteY240" fmla="*/ 831713 h 1475329"/>
                    <a:gd name="connsiteX241" fmla="*/ 3350811 w 4040759"/>
                    <a:gd name="connsiteY241" fmla="*/ 835315 h 1475329"/>
                    <a:gd name="connsiteX242" fmla="*/ 3343085 w 4040759"/>
                    <a:gd name="connsiteY242" fmla="*/ 845592 h 1475329"/>
                    <a:gd name="connsiteX243" fmla="*/ 3340804 w 4040759"/>
                    <a:gd name="connsiteY243" fmla="*/ 852446 h 1475329"/>
                    <a:gd name="connsiteX244" fmla="*/ 3338587 w 4040759"/>
                    <a:gd name="connsiteY244" fmla="*/ 860123 h 1475329"/>
                    <a:gd name="connsiteX245" fmla="*/ 3339630 w 4040759"/>
                    <a:gd name="connsiteY245" fmla="*/ 863880 h 1475329"/>
                    <a:gd name="connsiteX246" fmla="*/ 3340551 w 4040759"/>
                    <a:gd name="connsiteY246" fmla="*/ 866341 h 1475329"/>
                    <a:gd name="connsiteX247" fmla="*/ 3342018 w 4040759"/>
                    <a:gd name="connsiteY247" fmla="*/ 868044 h 1475329"/>
                    <a:gd name="connsiteX248" fmla="*/ 3344479 w 4040759"/>
                    <a:gd name="connsiteY248" fmla="*/ 869821 h 1475329"/>
                    <a:gd name="connsiteX249" fmla="*/ 3349784 w 4040759"/>
                    <a:gd name="connsiteY249" fmla="*/ 871801 h 1475329"/>
                    <a:gd name="connsiteX250" fmla="*/ 3349312 w 4040759"/>
                    <a:gd name="connsiteY250" fmla="*/ 873105 h 1475329"/>
                    <a:gd name="connsiteX251" fmla="*/ 3349287 w 4040759"/>
                    <a:gd name="connsiteY251" fmla="*/ 874189 h 1475329"/>
                    <a:gd name="connsiteX252" fmla="*/ 3351153 w 4040759"/>
                    <a:gd name="connsiteY252" fmla="*/ 872274 h 1475329"/>
                    <a:gd name="connsiteX253" fmla="*/ 3352523 w 4040759"/>
                    <a:gd name="connsiteY253" fmla="*/ 866887 h 1475329"/>
                    <a:gd name="connsiteX254" fmla="*/ 3355807 w 4040759"/>
                    <a:gd name="connsiteY254" fmla="*/ 865167 h 1475329"/>
                    <a:gd name="connsiteX255" fmla="*/ 3357397 w 4040759"/>
                    <a:gd name="connsiteY255" fmla="*/ 865241 h 1475329"/>
                    <a:gd name="connsiteX256" fmla="*/ 3367991 w 4040759"/>
                    <a:gd name="connsiteY256" fmla="*/ 869495 h 1475329"/>
                    <a:gd name="connsiteX257" fmla="*/ 3369988 w 4040759"/>
                    <a:gd name="connsiteY257" fmla="*/ 871329 h 1475329"/>
                    <a:gd name="connsiteX258" fmla="*/ 3369686 w 4040759"/>
                    <a:gd name="connsiteY258" fmla="*/ 875379 h 1475329"/>
                    <a:gd name="connsiteX259" fmla="*/ 3369051 w 4040759"/>
                    <a:gd name="connsiteY259" fmla="*/ 877302 h 1475329"/>
                    <a:gd name="connsiteX260" fmla="*/ 3367079 w 4040759"/>
                    <a:gd name="connsiteY260" fmla="*/ 880130 h 1475329"/>
                    <a:gd name="connsiteX261" fmla="*/ 3363313 w 4040759"/>
                    <a:gd name="connsiteY261" fmla="*/ 883537 h 1475329"/>
                    <a:gd name="connsiteX262" fmla="*/ 3358904 w 4040759"/>
                    <a:gd name="connsiteY262" fmla="*/ 888207 h 1475329"/>
                    <a:gd name="connsiteX263" fmla="*/ 3358488 w 4040759"/>
                    <a:gd name="connsiteY263" fmla="*/ 891059 h 1475329"/>
                    <a:gd name="connsiteX264" fmla="*/ 3358464 w 4040759"/>
                    <a:gd name="connsiteY264" fmla="*/ 892624 h 1475329"/>
                    <a:gd name="connsiteX265" fmla="*/ 3359621 w 4040759"/>
                    <a:gd name="connsiteY265" fmla="*/ 898101 h 1475329"/>
                    <a:gd name="connsiteX266" fmla="*/ 3359793 w 4040759"/>
                    <a:gd name="connsiteY266" fmla="*/ 901181 h 1475329"/>
                    <a:gd name="connsiteX267" fmla="*/ 3359198 w 4040759"/>
                    <a:gd name="connsiteY267" fmla="*/ 906919 h 1475329"/>
                    <a:gd name="connsiteX268" fmla="*/ 3359491 w 4040759"/>
                    <a:gd name="connsiteY268" fmla="*/ 909388 h 1475329"/>
                    <a:gd name="connsiteX269" fmla="*/ 3360656 w 4040759"/>
                    <a:gd name="connsiteY269" fmla="*/ 911507 h 1475329"/>
                    <a:gd name="connsiteX270" fmla="*/ 3362450 w 4040759"/>
                    <a:gd name="connsiteY270" fmla="*/ 912827 h 1475329"/>
                    <a:gd name="connsiteX271" fmla="*/ 3365530 w 4040759"/>
                    <a:gd name="connsiteY271" fmla="*/ 912102 h 1475329"/>
                    <a:gd name="connsiteX272" fmla="*/ 3368488 w 4040759"/>
                    <a:gd name="connsiteY272" fmla="*/ 912713 h 1475329"/>
                    <a:gd name="connsiteX273" fmla="*/ 3370746 w 4040759"/>
                    <a:gd name="connsiteY273" fmla="*/ 914164 h 1475329"/>
                    <a:gd name="connsiteX274" fmla="*/ 3370411 w 4040759"/>
                    <a:gd name="connsiteY274" fmla="*/ 918939 h 1475329"/>
                    <a:gd name="connsiteX275" fmla="*/ 3371675 w 4040759"/>
                    <a:gd name="connsiteY275" fmla="*/ 923438 h 1475329"/>
                    <a:gd name="connsiteX276" fmla="*/ 3372702 w 4040759"/>
                    <a:gd name="connsiteY276" fmla="*/ 931734 h 1475329"/>
                    <a:gd name="connsiteX277" fmla="*/ 3370860 w 4040759"/>
                    <a:gd name="connsiteY277" fmla="*/ 933992 h 1475329"/>
                    <a:gd name="connsiteX278" fmla="*/ 3369066 w 4040759"/>
                    <a:gd name="connsiteY278" fmla="*/ 935402 h 1475329"/>
                    <a:gd name="connsiteX279" fmla="*/ 3365555 w 4040759"/>
                    <a:gd name="connsiteY279" fmla="*/ 938955 h 1475329"/>
                    <a:gd name="connsiteX280" fmla="*/ 3363680 w 4040759"/>
                    <a:gd name="connsiteY280" fmla="*/ 939379 h 1475329"/>
                    <a:gd name="connsiteX281" fmla="*/ 3360420 w 4040759"/>
                    <a:gd name="connsiteY281" fmla="*/ 938148 h 1475329"/>
                    <a:gd name="connsiteX282" fmla="*/ 3355156 w 4040759"/>
                    <a:gd name="connsiteY282" fmla="*/ 931743 h 1475329"/>
                    <a:gd name="connsiteX283" fmla="*/ 3357266 w 4040759"/>
                    <a:gd name="connsiteY283" fmla="*/ 927953 h 1475329"/>
                    <a:gd name="connsiteX284" fmla="*/ 3361732 w 4040759"/>
                    <a:gd name="connsiteY284" fmla="*/ 925296 h 1475329"/>
                    <a:gd name="connsiteX285" fmla="*/ 3363761 w 4040759"/>
                    <a:gd name="connsiteY285" fmla="*/ 923389 h 1475329"/>
                    <a:gd name="connsiteX286" fmla="*/ 3365335 w 4040759"/>
                    <a:gd name="connsiteY286" fmla="*/ 920577 h 1475329"/>
                    <a:gd name="connsiteX287" fmla="*/ 3362995 w 4040759"/>
                    <a:gd name="connsiteY287" fmla="*/ 921115 h 1475329"/>
                    <a:gd name="connsiteX288" fmla="*/ 3361349 w 4040759"/>
                    <a:gd name="connsiteY288" fmla="*/ 922338 h 1475329"/>
                    <a:gd name="connsiteX289" fmla="*/ 3356239 w 4040759"/>
                    <a:gd name="connsiteY289" fmla="*/ 921808 h 1475329"/>
                    <a:gd name="connsiteX290" fmla="*/ 3354186 w 4040759"/>
                    <a:gd name="connsiteY290" fmla="*/ 923161 h 1475329"/>
                    <a:gd name="connsiteX291" fmla="*/ 3351700 w 4040759"/>
                    <a:gd name="connsiteY291" fmla="*/ 925321 h 1475329"/>
                    <a:gd name="connsiteX292" fmla="*/ 3352677 w 4040759"/>
                    <a:gd name="connsiteY292" fmla="*/ 930642 h 1475329"/>
                    <a:gd name="connsiteX293" fmla="*/ 3351015 w 4040759"/>
                    <a:gd name="connsiteY293" fmla="*/ 931620 h 1475329"/>
                    <a:gd name="connsiteX294" fmla="*/ 3347861 w 4040759"/>
                    <a:gd name="connsiteY294" fmla="*/ 933454 h 1475329"/>
                    <a:gd name="connsiteX295" fmla="*/ 3343200 w 4040759"/>
                    <a:gd name="connsiteY295" fmla="*/ 935744 h 1475329"/>
                    <a:gd name="connsiteX296" fmla="*/ 3341692 w 4040759"/>
                    <a:gd name="connsiteY296" fmla="*/ 937227 h 1475329"/>
                    <a:gd name="connsiteX297" fmla="*/ 3337698 w 4040759"/>
                    <a:gd name="connsiteY297" fmla="*/ 946795 h 1475329"/>
                    <a:gd name="connsiteX298" fmla="*/ 3334015 w 4040759"/>
                    <a:gd name="connsiteY298" fmla="*/ 953902 h 1475329"/>
                    <a:gd name="connsiteX299" fmla="*/ 3332727 w 4040759"/>
                    <a:gd name="connsiteY299" fmla="*/ 959973 h 1475329"/>
                    <a:gd name="connsiteX300" fmla="*/ 3332874 w 4040759"/>
                    <a:gd name="connsiteY300" fmla="*/ 965254 h 1475329"/>
                    <a:gd name="connsiteX301" fmla="*/ 3334251 w 4040759"/>
                    <a:gd name="connsiteY301" fmla="*/ 971081 h 1475329"/>
                    <a:gd name="connsiteX302" fmla="*/ 3335221 w 4040759"/>
                    <a:gd name="connsiteY302" fmla="*/ 973608 h 1475329"/>
                    <a:gd name="connsiteX303" fmla="*/ 3339484 w 4040759"/>
                    <a:gd name="connsiteY303" fmla="*/ 978970 h 1475329"/>
                    <a:gd name="connsiteX304" fmla="*/ 3341570 w 4040759"/>
                    <a:gd name="connsiteY304" fmla="*/ 983224 h 1475329"/>
                    <a:gd name="connsiteX305" fmla="*/ 3342197 w 4040759"/>
                    <a:gd name="connsiteY305" fmla="*/ 988318 h 1475329"/>
                    <a:gd name="connsiteX306" fmla="*/ 3338758 w 4040759"/>
                    <a:gd name="connsiteY306" fmla="*/ 990730 h 1475329"/>
                    <a:gd name="connsiteX307" fmla="*/ 3332768 w 4040759"/>
                    <a:gd name="connsiteY307" fmla="*/ 996631 h 1475329"/>
                    <a:gd name="connsiteX308" fmla="*/ 3330283 w 4040759"/>
                    <a:gd name="connsiteY308" fmla="*/ 997266 h 1475329"/>
                    <a:gd name="connsiteX309" fmla="*/ 3322067 w 4040759"/>
                    <a:gd name="connsiteY309" fmla="*/ 997103 h 1475329"/>
                    <a:gd name="connsiteX310" fmla="*/ 3318000 w 4040759"/>
                    <a:gd name="connsiteY310" fmla="*/ 994161 h 1475329"/>
                    <a:gd name="connsiteX311" fmla="*/ 3313176 w 4040759"/>
                    <a:gd name="connsiteY311" fmla="*/ 994911 h 1475329"/>
                    <a:gd name="connsiteX312" fmla="*/ 3309134 w 4040759"/>
                    <a:gd name="connsiteY312" fmla="*/ 996313 h 1475329"/>
                    <a:gd name="connsiteX313" fmla="*/ 3302810 w 4040759"/>
                    <a:gd name="connsiteY313" fmla="*/ 1000502 h 1475329"/>
                    <a:gd name="connsiteX314" fmla="*/ 3297138 w 4040759"/>
                    <a:gd name="connsiteY314" fmla="*/ 1005897 h 1475329"/>
                    <a:gd name="connsiteX315" fmla="*/ 3291816 w 4040759"/>
                    <a:gd name="connsiteY315" fmla="*/ 1009646 h 1475329"/>
                    <a:gd name="connsiteX316" fmla="*/ 3290234 w 4040759"/>
                    <a:gd name="connsiteY316" fmla="*/ 1011846 h 1475329"/>
                    <a:gd name="connsiteX317" fmla="*/ 3288034 w 4040759"/>
                    <a:gd name="connsiteY317" fmla="*/ 1016467 h 1475329"/>
                    <a:gd name="connsiteX318" fmla="*/ 3286103 w 4040759"/>
                    <a:gd name="connsiteY318" fmla="*/ 1024927 h 1475329"/>
                    <a:gd name="connsiteX319" fmla="*/ 3286779 w 4040759"/>
                    <a:gd name="connsiteY319" fmla="*/ 1029099 h 1475329"/>
                    <a:gd name="connsiteX320" fmla="*/ 3287847 w 4040759"/>
                    <a:gd name="connsiteY320" fmla="*/ 1031055 h 1475329"/>
                    <a:gd name="connsiteX321" fmla="*/ 3288881 w 4040759"/>
                    <a:gd name="connsiteY321" fmla="*/ 1033630 h 1475329"/>
                    <a:gd name="connsiteX322" fmla="*/ 3287472 w 4040759"/>
                    <a:gd name="connsiteY322" fmla="*/ 1037559 h 1475329"/>
                    <a:gd name="connsiteX323" fmla="*/ 3287439 w 4040759"/>
                    <a:gd name="connsiteY323" fmla="*/ 1040061 h 1475329"/>
                    <a:gd name="connsiteX324" fmla="*/ 3290030 w 4040759"/>
                    <a:gd name="connsiteY324" fmla="*/ 1044038 h 1475329"/>
                    <a:gd name="connsiteX325" fmla="*/ 3290593 w 4040759"/>
                    <a:gd name="connsiteY325" fmla="*/ 1049482 h 1475329"/>
                    <a:gd name="connsiteX326" fmla="*/ 3288669 w 4040759"/>
                    <a:gd name="connsiteY326" fmla="*/ 1049645 h 1475329"/>
                    <a:gd name="connsiteX327" fmla="*/ 3284318 w 4040759"/>
                    <a:gd name="connsiteY327" fmla="*/ 1045733 h 1475329"/>
                    <a:gd name="connsiteX328" fmla="*/ 3279705 w 4040759"/>
                    <a:gd name="connsiteY328" fmla="*/ 1045431 h 1475329"/>
                    <a:gd name="connsiteX329" fmla="*/ 3268548 w 4040759"/>
                    <a:gd name="connsiteY329" fmla="*/ 1049938 h 1475329"/>
                    <a:gd name="connsiteX330" fmla="*/ 3263976 w 4040759"/>
                    <a:gd name="connsiteY330" fmla="*/ 1052554 h 1475329"/>
                    <a:gd name="connsiteX331" fmla="*/ 3258850 w 4040759"/>
                    <a:gd name="connsiteY331" fmla="*/ 1057729 h 1475329"/>
                    <a:gd name="connsiteX332" fmla="*/ 3257326 w 4040759"/>
                    <a:gd name="connsiteY332" fmla="*/ 1056743 h 1475329"/>
                    <a:gd name="connsiteX333" fmla="*/ 3256234 w 4040759"/>
                    <a:gd name="connsiteY333" fmla="*/ 1053769 h 1475329"/>
                    <a:gd name="connsiteX334" fmla="*/ 3254375 w 4040759"/>
                    <a:gd name="connsiteY334" fmla="*/ 1052457 h 1475329"/>
                    <a:gd name="connsiteX335" fmla="*/ 3252077 w 4040759"/>
                    <a:gd name="connsiteY335" fmla="*/ 1053117 h 1475329"/>
                    <a:gd name="connsiteX336" fmla="*/ 3251091 w 4040759"/>
                    <a:gd name="connsiteY336" fmla="*/ 1055912 h 1475329"/>
                    <a:gd name="connsiteX337" fmla="*/ 3254270 w 4040759"/>
                    <a:gd name="connsiteY337" fmla="*/ 1057232 h 1475329"/>
                    <a:gd name="connsiteX338" fmla="*/ 3255468 w 4040759"/>
                    <a:gd name="connsiteY338" fmla="*/ 1059050 h 1475329"/>
                    <a:gd name="connsiteX339" fmla="*/ 3253601 w 4040759"/>
                    <a:gd name="connsiteY339" fmla="*/ 1065952 h 1475329"/>
                    <a:gd name="connsiteX340" fmla="*/ 3252289 w 4040759"/>
                    <a:gd name="connsiteY340" fmla="*/ 1068259 h 1475329"/>
                    <a:gd name="connsiteX341" fmla="*/ 3252787 w 4040759"/>
                    <a:gd name="connsiteY341" fmla="*/ 1074453 h 1475329"/>
                    <a:gd name="connsiteX342" fmla="*/ 3252600 w 4040759"/>
                    <a:gd name="connsiteY342" fmla="*/ 1077321 h 1475329"/>
                    <a:gd name="connsiteX343" fmla="*/ 3251874 w 4040759"/>
                    <a:gd name="connsiteY343" fmla="*/ 1080231 h 1475329"/>
                    <a:gd name="connsiteX344" fmla="*/ 3248597 w 4040759"/>
                    <a:gd name="connsiteY344" fmla="*/ 1088177 h 1475329"/>
                    <a:gd name="connsiteX345" fmla="*/ 3242942 w 4040759"/>
                    <a:gd name="connsiteY345" fmla="*/ 1098592 h 1475329"/>
                    <a:gd name="connsiteX346" fmla="*/ 3235990 w 4040759"/>
                    <a:gd name="connsiteY346" fmla="*/ 1106147 h 1475329"/>
                    <a:gd name="connsiteX347" fmla="*/ 3231165 w 4040759"/>
                    <a:gd name="connsiteY347" fmla="*/ 1108763 h 1475329"/>
                    <a:gd name="connsiteX348" fmla="*/ 3228737 w 4040759"/>
                    <a:gd name="connsiteY348" fmla="*/ 1110776 h 1475329"/>
                    <a:gd name="connsiteX349" fmla="*/ 3227726 w 4040759"/>
                    <a:gd name="connsiteY349" fmla="*/ 1113400 h 1475329"/>
                    <a:gd name="connsiteX350" fmla="*/ 3220587 w 4040759"/>
                    <a:gd name="connsiteY350" fmla="*/ 1120629 h 1475329"/>
                    <a:gd name="connsiteX351" fmla="*/ 3211785 w 4040759"/>
                    <a:gd name="connsiteY351" fmla="*/ 1128208 h 1475329"/>
                    <a:gd name="connsiteX352" fmla="*/ 3209308 w 4040759"/>
                    <a:gd name="connsiteY352" fmla="*/ 1129577 h 1475329"/>
                    <a:gd name="connsiteX353" fmla="*/ 3208729 w 4040759"/>
                    <a:gd name="connsiteY353" fmla="*/ 1126725 h 1475329"/>
                    <a:gd name="connsiteX354" fmla="*/ 3208460 w 4040759"/>
                    <a:gd name="connsiteY354" fmla="*/ 1123889 h 1475329"/>
                    <a:gd name="connsiteX355" fmla="*/ 3207409 w 4040759"/>
                    <a:gd name="connsiteY355" fmla="*/ 1120107 h 1475329"/>
                    <a:gd name="connsiteX356" fmla="*/ 3204255 w 4040759"/>
                    <a:gd name="connsiteY356" fmla="*/ 1116986 h 1475329"/>
                    <a:gd name="connsiteX357" fmla="*/ 3203693 w 4040759"/>
                    <a:gd name="connsiteY357" fmla="*/ 1114451 h 1475329"/>
                    <a:gd name="connsiteX358" fmla="*/ 3203179 w 4040759"/>
                    <a:gd name="connsiteY358" fmla="*/ 1110955 h 1475329"/>
                    <a:gd name="connsiteX359" fmla="*/ 3202918 w 4040759"/>
                    <a:gd name="connsiteY359" fmla="*/ 1094770 h 1475329"/>
                    <a:gd name="connsiteX360" fmla="*/ 3200131 w 4040759"/>
                    <a:gd name="connsiteY360" fmla="*/ 1077933 h 1475329"/>
                    <a:gd name="connsiteX361" fmla="*/ 3199813 w 4040759"/>
                    <a:gd name="connsiteY361" fmla="*/ 1072627 h 1475329"/>
                    <a:gd name="connsiteX362" fmla="*/ 3196439 w 4040759"/>
                    <a:gd name="connsiteY362" fmla="*/ 1068275 h 1475329"/>
                    <a:gd name="connsiteX363" fmla="*/ 3194589 w 4040759"/>
                    <a:gd name="connsiteY363" fmla="*/ 1063760 h 1475329"/>
                    <a:gd name="connsiteX364" fmla="*/ 3193497 w 4040759"/>
                    <a:gd name="connsiteY364" fmla="*/ 1059327 h 1475329"/>
                    <a:gd name="connsiteX365" fmla="*/ 3193212 w 4040759"/>
                    <a:gd name="connsiteY365" fmla="*/ 1054078 h 1475329"/>
                    <a:gd name="connsiteX366" fmla="*/ 3189528 w 4040759"/>
                    <a:gd name="connsiteY366" fmla="*/ 1026418 h 1475329"/>
                    <a:gd name="connsiteX367" fmla="*/ 3188395 w 4040759"/>
                    <a:gd name="connsiteY367" fmla="*/ 1019491 h 1475329"/>
                    <a:gd name="connsiteX368" fmla="*/ 3183481 w 4040759"/>
                    <a:gd name="connsiteY368" fmla="*/ 997071 h 1475329"/>
                    <a:gd name="connsiteX369" fmla="*/ 3181338 w 4040759"/>
                    <a:gd name="connsiteY369" fmla="*/ 984048 h 1475329"/>
                    <a:gd name="connsiteX370" fmla="*/ 3179944 w 4040759"/>
                    <a:gd name="connsiteY370" fmla="*/ 971318 h 1475329"/>
                    <a:gd name="connsiteX371" fmla="*/ 3179724 w 4040759"/>
                    <a:gd name="connsiteY371" fmla="*/ 965613 h 1475329"/>
                    <a:gd name="connsiteX372" fmla="*/ 3181933 w 4040759"/>
                    <a:gd name="connsiteY372" fmla="*/ 948588 h 1475329"/>
                    <a:gd name="connsiteX373" fmla="*/ 3183734 w 4040759"/>
                    <a:gd name="connsiteY373" fmla="*/ 937904 h 1475329"/>
                    <a:gd name="connsiteX374" fmla="*/ 3190335 w 4040759"/>
                    <a:gd name="connsiteY374" fmla="*/ 913887 h 1475329"/>
                    <a:gd name="connsiteX375" fmla="*/ 3191394 w 4040759"/>
                    <a:gd name="connsiteY375" fmla="*/ 911694 h 1475329"/>
                    <a:gd name="connsiteX376" fmla="*/ 3192438 w 4040759"/>
                    <a:gd name="connsiteY376" fmla="*/ 910545 h 1475329"/>
                    <a:gd name="connsiteX377" fmla="*/ 3203896 w 4040759"/>
                    <a:gd name="connsiteY377" fmla="*/ 901271 h 1475329"/>
                    <a:gd name="connsiteX378" fmla="*/ 3208827 w 4040759"/>
                    <a:gd name="connsiteY378" fmla="*/ 896177 h 1475329"/>
                    <a:gd name="connsiteX379" fmla="*/ 3211818 w 4040759"/>
                    <a:gd name="connsiteY379" fmla="*/ 890823 h 1475329"/>
                    <a:gd name="connsiteX380" fmla="*/ 3214988 w 4040759"/>
                    <a:gd name="connsiteY380" fmla="*/ 883969 h 1475329"/>
                    <a:gd name="connsiteX381" fmla="*/ 3214670 w 4040759"/>
                    <a:gd name="connsiteY381" fmla="*/ 880285 h 1475329"/>
                    <a:gd name="connsiteX382" fmla="*/ 3214287 w 4040759"/>
                    <a:gd name="connsiteY382" fmla="*/ 878150 h 1475329"/>
                    <a:gd name="connsiteX383" fmla="*/ 3213081 w 4040759"/>
                    <a:gd name="connsiteY383" fmla="*/ 875762 h 1475329"/>
                    <a:gd name="connsiteX384" fmla="*/ 3210400 w 4040759"/>
                    <a:gd name="connsiteY384" fmla="*/ 872991 h 1475329"/>
                    <a:gd name="connsiteX385" fmla="*/ 3211353 w 4040759"/>
                    <a:gd name="connsiteY385" fmla="*/ 871752 h 1475329"/>
                    <a:gd name="connsiteX386" fmla="*/ 3212397 w 4040759"/>
                    <a:gd name="connsiteY386" fmla="*/ 870815 h 1475329"/>
                    <a:gd name="connsiteX387" fmla="*/ 3215216 w 4040759"/>
                    <a:gd name="connsiteY387" fmla="*/ 869780 h 1475329"/>
                    <a:gd name="connsiteX388" fmla="*/ 3220946 w 4040759"/>
                    <a:gd name="connsiteY388" fmla="*/ 871866 h 1475329"/>
                    <a:gd name="connsiteX389" fmla="*/ 3226748 w 4040759"/>
                    <a:gd name="connsiteY389" fmla="*/ 870986 h 1475329"/>
                    <a:gd name="connsiteX390" fmla="*/ 3232094 w 4040759"/>
                    <a:gd name="connsiteY390" fmla="*/ 862364 h 1475329"/>
                    <a:gd name="connsiteX391" fmla="*/ 3239739 w 4040759"/>
                    <a:gd name="connsiteY391" fmla="*/ 863692 h 1475329"/>
                    <a:gd name="connsiteX392" fmla="*/ 3245598 w 4040759"/>
                    <a:gd name="connsiteY392" fmla="*/ 862144 h 1475329"/>
                    <a:gd name="connsiteX393" fmla="*/ 3247196 w 4040759"/>
                    <a:gd name="connsiteY393" fmla="*/ 862788 h 1475329"/>
                    <a:gd name="connsiteX394" fmla="*/ 3248337 w 4040759"/>
                    <a:gd name="connsiteY394" fmla="*/ 859870 h 1475329"/>
                    <a:gd name="connsiteX395" fmla="*/ 3251523 w 4040759"/>
                    <a:gd name="connsiteY395" fmla="*/ 856757 h 1475329"/>
                    <a:gd name="connsiteX396" fmla="*/ 3257408 w 4040759"/>
                    <a:gd name="connsiteY396" fmla="*/ 852112 h 1475329"/>
                    <a:gd name="connsiteX397" fmla="*/ 3266087 w 4040759"/>
                    <a:gd name="connsiteY397" fmla="*/ 846513 h 1475329"/>
                    <a:gd name="connsiteX398" fmla="*/ 3270398 w 4040759"/>
                    <a:gd name="connsiteY398" fmla="*/ 842756 h 1475329"/>
                    <a:gd name="connsiteX399" fmla="*/ 3272827 w 4040759"/>
                    <a:gd name="connsiteY399" fmla="*/ 839170 h 1475329"/>
                    <a:gd name="connsiteX400" fmla="*/ 3276396 w 4040759"/>
                    <a:gd name="connsiteY400" fmla="*/ 835804 h 1475329"/>
                    <a:gd name="connsiteX401" fmla="*/ 3279843 w 4040759"/>
                    <a:gd name="connsiteY401" fmla="*/ 831558 h 1475329"/>
                    <a:gd name="connsiteX402" fmla="*/ 3286192 w 4040759"/>
                    <a:gd name="connsiteY402" fmla="*/ 818787 h 1475329"/>
                    <a:gd name="connsiteX403" fmla="*/ 3298670 w 4040759"/>
                    <a:gd name="connsiteY403" fmla="*/ 808201 h 1475329"/>
                    <a:gd name="connsiteX404" fmla="*/ 3303543 w 4040759"/>
                    <a:gd name="connsiteY404" fmla="*/ 802121 h 1475329"/>
                    <a:gd name="connsiteX405" fmla="*/ 3307618 w 4040759"/>
                    <a:gd name="connsiteY405" fmla="*/ 799961 h 1475329"/>
                    <a:gd name="connsiteX406" fmla="*/ 3311188 w 4040759"/>
                    <a:gd name="connsiteY406" fmla="*/ 798959 h 1475329"/>
                    <a:gd name="connsiteX407" fmla="*/ 3320209 w 4040759"/>
                    <a:gd name="connsiteY407" fmla="*/ 790247 h 1475329"/>
                    <a:gd name="connsiteX408" fmla="*/ 3325922 w 4040759"/>
                    <a:gd name="connsiteY408" fmla="*/ 782994 h 1475329"/>
                    <a:gd name="connsiteX409" fmla="*/ 3333461 w 4040759"/>
                    <a:gd name="connsiteY409" fmla="*/ 778006 h 1475329"/>
                    <a:gd name="connsiteX410" fmla="*/ 3335759 w 4040759"/>
                    <a:gd name="connsiteY410" fmla="*/ 774811 h 1475329"/>
                    <a:gd name="connsiteX411" fmla="*/ 3339663 w 4040759"/>
                    <a:gd name="connsiteY411" fmla="*/ 767281 h 1475329"/>
                    <a:gd name="connsiteX412" fmla="*/ 3341269 w 4040759"/>
                    <a:gd name="connsiteY412" fmla="*/ 765423 h 1475329"/>
                    <a:gd name="connsiteX413" fmla="*/ 3346182 w 4040759"/>
                    <a:gd name="connsiteY413" fmla="*/ 762611 h 1475329"/>
                    <a:gd name="connsiteX414" fmla="*/ 3357266 w 4040759"/>
                    <a:gd name="connsiteY414" fmla="*/ 757672 h 1475329"/>
                    <a:gd name="connsiteX415" fmla="*/ 3363712 w 4040759"/>
                    <a:gd name="connsiteY415" fmla="*/ 752709 h 1475329"/>
                    <a:gd name="connsiteX416" fmla="*/ 3373125 w 4040759"/>
                    <a:gd name="connsiteY416" fmla="*/ 752008 h 1475329"/>
                    <a:gd name="connsiteX417" fmla="*/ 3375946 w 4040759"/>
                    <a:gd name="connsiteY417" fmla="*/ 750028 h 1475329"/>
                    <a:gd name="connsiteX418" fmla="*/ 3378895 w 4040759"/>
                    <a:gd name="connsiteY418" fmla="*/ 748920 h 1475329"/>
                    <a:gd name="connsiteX419" fmla="*/ 3381992 w 4040759"/>
                    <a:gd name="connsiteY419" fmla="*/ 747322 h 1475329"/>
                    <a:gd name="connsiteX420" fmla="*/ 3378114 w 4040759"/>
                    <a:gd name="connsiteY420" fmla="*/ 742930 h 1475329"/>
                    <a:gd name="connsiteX421" fmla="*/ 3378993 w 4040759"/>
                    <a:gd name="connsiteY421" fmla="*/ 740566 h 1475329"/>
                    <a:gd name="connsiteX422" fmla="*/ 3379743 w 4040759"/>
                    <a:gd name="connsiteY422" fmla="*/ 739474 h 1475329"/>
                    <a:gd name="connsiteX423" fmla="*/ 3386532 w 4040759"/>
                    <a:gd name="connsiteY423" fmla="*/ 734258 h 1475329"/>
                    <a:gd name="connsiteX424" fmla="*/ 3389319 w 4040759"/>
                    <a:gd name="connsiteY424" fmla="*/ 730077 h 1475329"/>
                    <a:gd name="connsiteX425" fmla="*/ 3388993 w 4040759"/>
                    <a:gd name="connsiteY425" fmla="*/ 728285 h 1475329"/>
                    <a:gd name="connsiteX426" fmla="*/ 3388513 w 4040759"/>
                    <a:gd name="connsiteY426" fmla="*/ 727005 h 1475329"/>
                    <a:gd name="connsiteX427" fmla="*/ 3384331 w 4040759"/>
                    <a:gd name="connsiteY427" fmla="*/ 725318 h 1475329"/>
                    <a:gd name="connsiteX428" fmla="*/ 3385146 w 4040759"/>
                    <a:gd name="connsiteY428" fmla="*/ 721382 h 1475329"/>
                    <a:gd name="connsiteX429" fmla="*/ 3386271 w 4040759"/>
                    <a:gd name="connsiteY429" fmla="*/ 718065 h 1475329"/>
                    <a:gd name="connsiteX430" fmla="*/ 3389678 w 4040759"/>
                    <a:gd name="connsiteY430" fmla="*/ 715204 h 1475329"/>
                    <a:gd name="connsiteX431" fmla="*/ 3390867 w 4040759"/>
                    <a:gd name="connsiteY431" fmla="*/ 708570 h 1475329"/>
                    <a:gd name="connsiteX432" fmla="*/ 3391023 w 4040759"/>
                    <a:gd name="connsiteY432" fmla="*/ 701594 h 1475329"/>
                    <a:gd name="connsiteX433" fmla="*/ 3394322 w 4040759"/>
                    <a:gd name="connsiteY433" fmla="*/ 691505 h 1475329"/>
                    <a:gd name="connsiteX434" fmla="*/ 3396311 w 4040759"/>
                    <a:gd name="connsiteY434" fmla="*/ 689280 h 1475329"/>
                    <a:gd name="connsiteX435" fmla="*/ 3404021 w 4040759"/>
                    <a:gd name="connsiteY435" fmla="*/ 684211 h 1475329"/>
                    <a:gd name="connsiteX436" fmla="*/ 3405822 w 4040759"/>
                    <a:gd name="connsiteY436" fmla="*/ 684080 h 1475329"/>
                    <a:gd name="connsiteX437" fmla="*/ 3411193 w 4040759"/>
                    <a:gd name="connsiteY437" fmla="*/ 685792 h 1475329"/>
                    <a:gd name="connsiteX438" fmla="*/ 3417069 w 4040759"/>
                    <a:gd name="connsiteY438" fmla="*/ 686623 h 1475329"/>
                    <a:gd name="connsiteX439" fmla="*/ 3419147 w 4040759"/>
                    <a:gd name="connsiteY439" fmla="*/ 688163 h 1475329"/>
                    <a:gd name="connsiteX440" fmla="*/ 3419587 w 4040759"/>
                    <a:gd name="connsiteY440" fmla="*/ 686859 h 1475329"/>
                    <a:gd name="connsiteX441" fmla="*/ 3419286 w 4040759"/>
                    <a:gd name="connsiteY441" fmla="*/ 685124 h 1475329"/>
                    <a:gd name="connsiteX442" fmla="*/ 3420940 w 4040759"/>
                    <a:gd name="connsiteY442" fmla="*/ 684512 h 1475329"/>
                    <a:gd name="connsiteX443" fmla="*/ 3424347 w 4040759"/>
                    <a:gd name="connsiteY443" fmla="*/ 685172 h 1475329"/>
                    <a:gd name="connsiteX444" fmla="*/ 3423817 w 4040759"/>
                    <a:gd name="connsiteY444" fmla="*/ 683257 h 1475329"/>
                    <a:gd name="connsiteX445" fmla="*/ 3415081 w 4040759"/>
                    <a:gd name="connsiteY445" fmla="*/ 682312 h 1475329"/>
                    <a:gd name="connsiteX446" fmla="*/ 3408837 w 4040759"/>
                    <a:gd name="connsiteY446" fmla="*/ 680095 h 1475329"/>
                    <a:gd name="connsiteX447" fmla="*/ 3403247 w 4040759"/>
                    <a:gd name="connsiteY447" fmla="*/ 675808 h 1475329"/>
                    <a:gd name="connsiteX448" fmla="*/ 3399563 w 4040759"/>
                    <a:gd name="connsiteY448" fmla="*/ 674610 h 1475329"/>
                    <a:gd name="connsiteX449" fmla="*/ 3395529 w 4040759"/>
                    <a:gd name="connsiteY449" fmla="*/ 674945 h 1475329"/>
                    <a:gd name="connsiteX450" fmla="*/ 3372612 w 4040759"/>
                    <a:gd name="connsiteY450" fmla="*/ 680918 h 1475329"/>
                    <a:gd name="connsiteX451" fmla="*/ 3371496 w 4040759"/>
                    <a:gd name="connsiteY451" fmla="*/ 682532 h 1475329"/>
                    <a:gd name="connsiteX452" fmla="*/ 3370436 w 4040759"/>
                    <a:gd name="connsiteY452" fmla="*/ 684838 h 1475329"/>
                    <a:gd name="connsiteX453" fmla="*/ 3371871 w 4040759"/>
                    <a:gd name="connsiteY453" fmla="*/ 688204 h 1475329"/>
                    <a:gd name="connsiteX454" fmla="*/ 3370779 w 4040759"/>
                    <a:gd name="connsiteY454" fmla="*/ 689679 h 1475329"/>
                    <a:gd name="connsiteX455" fmla="*/ 3369670 w 4040759"/>
                    <a:gd name="connsiteY455" fmla="*/ 690641 h 1475329"/>
                    <a:gd name="connsiteX456" fmla="*/ 3368432 w 4040759"/>
                    <a:gd name="connsiteY456" fmla="*/ 692833 h 1475329"/>
                    <a:gd name="connsiteX457" fmla="*/ 3367323 w 4040759"/>
                    <a:gd name="connsiteY457" fmla="*/ 697193 h 1475329"/>
                    <a:gd name="connsiteX458" fmla="*/ 3367633 w 4040759"/>
                    <a:gd name="connsiteY458" fmla="*/ 701399 h 1475329"/>
                    <a:gd name="connsiteX459" fmla="*/ 3364820 w 4040759"/>
                    <a:gd name="connsiteY459" fmla="*/ 707869 h 1475329"/>
                    <a:gd name="connsiteX460" fmla="*/ 3364609 w 4040759"/>
                    <a:gd name="connsiteY460" fmla="*/ 711920 h 1475329"/>
                    <a:gd name="connsiteX461" fmla="*/ 3369531 w 4040759"/>
                    <a:gd name="connsiteY461" fmla="*/ 714153 h 1475329"/>
                    <a:gd name="connsiteX462" fmla="*/ 3370771 w 4040759"/>
                    <a:gd name="connsiteY462" fmla="*/ 715661 h 1475329"/>
                    <a:gd name="connsiteX463" fmla="*/ 3369287 w 4040759"/>
                    <a:gd name="connsiteY463" fmla="*/ 717877 h 1475329"/>
                    <a:gd name="connsiteX464" fmla="*/ 3367820 w 4040759"/>
                    <a:gd name="connsiteY464" fmla="*/ 719238 h 1475329"/>
                    <a:gd name="connsiteX465" fmla="*/ 3366500 w 4040759"/>
                    <a:gd name="connsiteY465" fmla="*/ 720885 h 1475329"/>
                    <a:gd name="connsiteX466" fmla="*/ 3365555 w 4040759"/>
                    <a:gd name="connsiteY466" fmla="*/ 721561 h 1475329"/>
                    <a:gd name="connsiteX467" fmla="*/ 3364235 w 4040759"/>
                    <a:gd name="connsiteY467" fmla="*/ 721960 h 1475329"/>
                    <a:gd name="connsiteX468" fmla="*/ 3362441 w 4040759"/>
                    <a:gd name="connsiteY468" fmla="*/ 719784 h 1475329"/>
                    <a:gd name="connsiteX469" fmla="*/ 3360811 w 4040759"/>
                    <a:gd name="connsiteY469" fmla="*/ 715432 h 1475329"/>
                    <a:gd name="connsiteX470" fmla="*/ 3358236 w 4040759"/>
                    <a:gd name="connsiteY470" fmla="*/ 715180 h 1475329"/>
                    <a:gd name="connsiteX471" fmla="*/ 3357388 w 4040759"/>
                    <a:gd name="connsiteY471" fmla="*/ 715832 h 1475329"/>
                    <a:gd name="connsiteX472" fmla="*/ 3356915 w 4040759"/>
                    <a:gd name="connsiteY472" fmla="*/ 717559 h 1475329"/>
                    <a:gd name="connsiteX473" fmla="*/ 3354650 w 4040759"/>
                    <a:gd name="connsiteY473" fmla="*/ 717665 h 1475329"/>
                    <a:gd name="connsiteX474" fmla="*/ 3352140 w 4040759"/>
                    <a:gd name="connsiteY474" fmla="*/ 716842 h 1475329"/>
                    <a:gd name="connsiteX475" fmla="*/ 3349312 w 4040759"/>
                    <a:gd name="connsiteY475" fmla="*/ 717176 h 1475329"/>
                    <a:gd name="connsiteX476" fmla="*/ 3344259 w 4040759"/>
                    <a:gd name="connsiteY476" fmla="*/ 722099 h 1475329"/>
                    <a:gd name="connsiteX477" fmla="*/ 3315702 w 4040759"/>
                    <a:gd name="connsiteY477" fmla="*/ 745472 h 1475329"/>
                    <a:gd name="connsiteX478" fmla="*/ 3312671 w 4040759"/>
                    <a:gd name="connsiteY478" fmla="*/ 748292 h 1475329"/>
                    <a:gd name="connsiteX479" fmla="*/ 3308987 w 4040759"/>
                    <a:gd name="connsiteY479" fmla="*/ 753899 h 1475329"/>
                    <a:gd name="connsiteX480" fmla="*/ 3301930 w 4040759"/>
                    <a:gd name="connsiteY480" fmla="*/ 754445 h 1475329"/>
                    <a:gd name="connsiteX481" fmla="*/ 3299101 w 4040759"/>
                    <a:gd name="connsiteY481" fmla="*/ 755700 h 1475329"/>
                    <a:gd name="connsiteX482" fmla="*/ 3297089 w 4040759"/>
                    <a:gd name="connsiteY482" fmla="*/ 757371 h 1475329"/>
                    <a:gd name="connsiteX483" fmla="*/ 3294285 w 4040759"/>
                    <a:gd name="connsiteY483" fmla="*/ 758528 h 1475329"/>
                    <a:gd name="connsiteX484" fmla="*/ 3294367 w 4040759"/>
                    <a:gd name="connsiteY484" fmla="*/ 756417 h 1475329"/>
                    <a:gd name="connsiteX485" fmla="*/ 3294970 w 4040759"/>
                    <a:gd name="connsiteY485" fmla="*/ 754853 h 1475329"/>
                    <a:gd name="connsiteX486" fmla="*/ 3295573 w 4040759"/>
                    <a:gd name="connsiteY486" fmla="*/ 750753 h 1475329"/>
                    <a:gd name="connsiteX487" fmla="*/ 3299379 w 4040759"/>
                    <a:gd name="connsiteY487" fmla="*/ 742938 h 1475329"/>
                    <a:gd name="connsiteX488" fmla="*/ 3296949 w 4040759"/>
                    <a:gd name="connsiteY488" fmla="*/ 742164 h 1475329"/>
                    <a:gd name="connsiteX489" fmla="*/ 3294546 w 4040759"/>
                    <a:gd name="connsiteY489" fmla="*/ 742041 h 1475329"/>
                    <a:gd name="connsiteX490" fmla="*/ 3290080 w 4040759"/>
                    <a:gd name="connsiteY490" fmla="*/ 743663 h 1475329"/>
                    <a:gd name="connsiteX491" fmla="*/ 3287081 w 4040759"/>
                    <a:gd name="connsiteY491" fmla="*/ 746247 h 1475329"/>
                    <a:gd name="connsiteX492" fmla="*/ 3284783 w 4040759"/>
                    <a:gd name="connsiteY492" fmla="*/ 745717 h 1475329"/>
                    <a:gd name="connsiteX493" fmla="*/ 3285866 w 4040759"/>
                    <a:gd name="connsiteY493" fmla="*/ 743410 h 1475329"/>
                    <a:gd name="connsiteX494" fmla="*/ 3288719 w 4040759"/>
                    <a:gd name="connsiteY494" fmla="*/ 738773 h 1475329"/>
                    <a:gd name="connsiteX495" fmla="*/ 3287847 w 4040759"/>
                    <a:gd name="connsiteY495" fmla="*/ 734495 h 1475329"/>
                    <a:gd name="connsiteX496" fmla="*/ 3287081 w 4040759"/>
                    <a:gd name="connsiteY496" fmla="*/ 732180 h 1475329"/>
                    <a:gd name="connsiteX497" fmla="*/ 3288263 w 4040759"/>
                    <a:gd name="connsiteY497" fmla="*/ 730884 h 1475329"/>
                    <a:gd name="connsiteX498" fmla="*/ 3294008 w 4040759"/>
                    <a:gd name="connsiteY498" fmla="*/ 722229 h 1475329"/>
                    <a:gd name="connsiteX499" fmla="*/ 3296094 w 4040759"/>
                    <a:gd name="connsiteY499" fmla="*/ 717763 h 1475329"/>
                    <a:gd name="connsiteX500" fmla="*/ 3297847 w 4040759"/>
                    <a:gd name="connsiteY500" fmla="*/ 711847 h 1475329"/>
                    <a:gd name="connsiteX501" fmla="*/ 3297944 w 4040759"/>
                    <a:gd name="connsiteY501" fmla="*/ 710005 h 1475329"/>
                    <a:gd name="connsiteX502" fmla="*/ 3297651 w 4040759"/>
                    <a:gd name="connsiteY502" fmla="*/ 707731 h 1475329"/>
                    <a:gd name="connsiteX503" fmla="*/ 3295874 w 4040759"/>
                    <a:gd name="connsiteY503" fmla="*/ 707348 h 1475329"/>
                    <a:gd name="connsiteX504" fmla="*/ 3294505 w 4040759"/>
                    <a:gd name="connsiteY504" fmla="*/ 707389 h 1475329"/>
                    <a:gd name="connsiteX505" fmla="*/ 3283087 w 4040759"/>
                    <a:gd name="connsiteY505" fmla="*/ 713256 h 1475329"/>
                    <a:gd name="connsiteX506" fmla="*/ 3278865 w 4040759"/>
                    <a:gd name="connsiteY506" fmla="*/ 714837 h 1475329"/>
                    <a:gd name="connsiteX507" fmla="*/ 3277480 w 4040759"/>
                    <a:gd name="connsiteY507" fmla="*/ 712327 h 1475329"/>
                    <a:gd name="connsiteX508" fmla="*/ 3275663 w 4040759"/>
                    <a:gd name="connsiteY508" fmla="*/ 711243 h 1475329"/>
                    <a:gd name="connsiteX509" fmla="*/ 3272492 w 4040759"/>
                    <a:gd name="connsiteY509" fmla="*/ 706924 h 1475329"/>
                    <a:gd name="connsiteX510" fmla="*/ 3269868 w 4040759"/>
                    <a:gd name="connsiteY510" fmla="*/ 706305 h 1475329"/>
                    <a:gd name="connsiteX511" fmla="*/ 3267081 w 4040759"/>
                    <a:gd name="connsiteY511" fmla="*/ 706598 h 1475329"/>
                    <a:gd name="connsiteX512" fmla="*/ 3260814 w 4040759"/>
                    <a:gd name="connsiteY512" fmla="*/ 709532 h 1475329"/>
                    <a:gd name="connsiteX513" fmla="*/ 3253936 w 4040759"/>
                    <a:gd name="connsiteY513" fmla="*/ 711129 h 1475329"/>
                    <a:gd name="connsiteX514" fmla="*/ 3248646 w 4040759"/>
                    <a:gd name="connsiteY514" fmla="*/ 710526 h 1475329"/>
                    <a:gd name="connsiteX515" fmla="*/ 3244123 w 4040759"/>
                    <a:gd name="connsiteY515" fmla="*/ 713004 h 1475329"/>
                    <a:gd name="connsiteX516" fmla="*/ 3242110 w 4040759"/>
                    <a:gd name="connsiteY516" fmla="*/ 713460 h 1475329"/>
                    <a:gd name="connsiteX517" fmla="*/ 3235387 w 4040759"/>
                    <a:gd name="connsiteY517" fmla="*/ 711765 h 1475329"/>
                    <a:gd name="connsiteX518" fmla="*/ 3227213 w 4040759"/>
                    <a:gd name="connsiteY518" fmla="*/ 711618 h 1475329"/>
                    <a:gd name="connsiteX519" fmla="*/ 3224759 w 4040759"/>
                    <a:gd name="connsiteY519" fmla="*/ 713721 h 1475329"/>
                    <a:gd name="connsiteX520" fmla="*/ 3217653 w 4040759"/>
                    <a:gd name="connsiteY520" fmla="*/ 716622 h 1475329"/>
                    <a:gd name="connsiteX521" fmla="*/ 3212878 w 4040759"/>
                    <a:gd name="connsiteY521" fmla="*/ 721105 h 1475329"/>
                    <a:gd name="connsiteX522" fmla="*/ 3210383 w 4040759"/>
                    <a:gd name="connsiteY522" fmla="*/ 722547 h 1475329"/>
                    <a:gd name="connsiteX523" fmla="*/ 3207637 w 4040759"/>
                    <a:gd name="connsiteY523" fmla="*/ 724544 h 1475329"/>
                    <a:gd name="connsiteX524" fmla="*/ 3206390 w 4040759"/>
                    <a:gd name="connsiteY524" fmla="*/ 732963 h 1475329"/>
                    <a:gd name="connsiteX525" fmla="*/ 3202739 w 4040759"/>
                    <a:gd name="connsiteY525" fmla="*/ 735652 h 1475329"/>
                    <a:gd name="connsiteX526" fmla="*/ 3199300 w 4040759"/>
                    <a:gd name="connsiteY526" fmla="*/ 737706 h 1475329"/>
                    <a:gd name="connsiteX527" fmla="*/ 3192153 w 4040759"/>
                    <a:gd name="connsiteY527" fmla="*/ 744144 h 1475329"/>
                    <a:gd name="connsiteX528" fmla="*/ 3187124 w 4040759"/>
                    <a:gd name="connsiteY528" fmla="*/ 752937 h 1475329"/>
                    <a:gd name="connsiteX529" fmla="*/ 3183726 w 4040759"/>
                    <a:gd name="connsiteY529" fmla="*/ 756752 h 1475329"/>
                    <a:gd name="connsiteX530" fmla="*/ 3176570 w 4040759"/>
                    <a:gd name="connsiteY530" fmla="*/ 762081 h 1475329"/>
                    <a:gd name="connsiteX531" fmla="*/ 3165242 w 4040759"/>
                    <a:gd name="connsiteY531" fmla="*/ 769025 h 1475329"/>
                    <a:gd name="connsiteX532" fmla="*/ 3155495 w 4040759"/>
                    <a:gd name="connsiteY532" fmla="*/ 780288 h 1475329"/>
                    <a:gd name="connsiteX533" fmla="*/ 3152088 w 4040759"/>
                    <a:gd name="connsiteY533" fmla="*/ 788723 h 1475329"/>
                    <a:gd name="connsiteX534" fmla="*/ 3150833 w 4040759"/>
                    <a:gd name="connsiteY534" fmla="*/ 789008 h 1475329"/>
                    <a:gd name="connsiteX535" fmla="*/ 3148429 w 4040759"/>
                    <a:gd name="connsiteY535" fmla="*/ 790736 h 1475329"/>
                    <a:gd name="connsiteX536" fmla="*/ 3147769 w 4040759"/>
                    <a:gd name="connsiteY536" fmla="*/ 794835 h 1475329"/>
                    <a:gd name="connsiteX537" fmla="*/ 3147834 w 4040759"/>
                    <a:gd name="connsiteY537" fmla="*/ 797704 h 1475329"/>
                    <a:gd name="connsiteX538" fmla="*/ 3146351 w 4040759"/>
                    <a:gd name="connsiteY538" fmla="*/ 800010 h 1475329"/>
                    <a:gd name="connsiteX539" fmla="*/ 3144884 w 4040759"/>
                    <a:gd name="connsiteY539" fmla="*/ 802863 h 1475329"/>
                    <a:gd name="connsiteX540" fmla="*/ 3146441 w 4040759"/>
                    <a:gd name="connsiteY540" fmla="*/ 804656 h 1475329"/>
                    <a:gd name="connsiteX541" fmla="*/ 3147916 w 4040759"/>
                    <a:gd name="connsiteY541" fmla="*/ 804982 h 1475329"/>
                    <a:gd name="connsiteX542" fmla="*/ 3150026 w 4040759"/>
                    <a:gd name="connsiteY542" fmla="*/ 804737 h 1475329"/>
                    <a:gd name="connsiteX543" fmla="*/ 3155609 w 4040759"/>
                    <a:gd name="connsiteY543" fmla="*/ 802406 h 1475329"/>
                    <a:gd name="connsiteX544" fmla="*/ 3165251 w 4040759"/>
                    <a:gd name="connsiteY544" fmla="*/ 806000 h 1475329"/>
                    <a:gd name="connsiteX545" fmla="*/ 3170091 w 4040759"/>
                    <a:gd name="connsiteY545" fmla="*/ 809546 h 1475329"/>
                    <a:gd name="connsiteX546" fmla="*/ 3169757 w 4040759"/>
                    <a:gd name="connsiteY546" fmla="*/ 813115 h 1475329"/>
                    <a:gd name="connsiteX547" fmla="*/ 3169945 w 4040759"/>
                    <a:gd name="connsiteY547" fmla="*/ 816285 h 1475329"/>
                    <a:gd name="connsiteX548" fmla="*/ 3166383 w 4040759"/>
                    <a:gd name="connsiteY548" fmla="*/ 816065 h 1475329"/>
                    <a:gd name="connsiteX549" fmla="*/ 3161591 w 4040759"/>
                    <a:gd name="connsiteY549" fmla="*/ 816391 h 1475329"/>
                    <a:gd name="connsiteX550" fmla="*/ 3158608 w 4040759"/>
                    <a:gd name="connsiteY550" fmla="*/ 818217 h 1475329"/>
                    <a:gd name="connsiteX551" fmla="*/ 3152521 w 4040759"/>
                    <a:gd name="connsiteY551" fmla="*/ 815242 h 1475329"/>
                    <a:gd name="connsiteX552" fmla="*/ 3150483 w 4040759"/>
                    <a:gd name="connsiteY552" fmla="*/ 816383 h 1475329"/>
                    <a:gd name="connsiteX553" fmla="*/ 3147280 w 4040759"/>
                    <a:gd name="connsiteY553" fmla="*/ 819513 h 1475329"/>
                    <a:gd name="connsiteX554" fmla="*/ 3141429 w 4040759"/>
                    <a:gd name="connsiteY554" fmla="*/ 820825 h 1475329"/>
                    <a:gd name="connsiteX555" fmla="*/ 3138478 w 4040759"/>
                    <a:gd name="connsiteY555" fmla="*/ 819301 h 1475329"/>
                    <a:gd name="connsiteX556" fmla="*/ 3133605 w 4040759"/>
                    <a:gd name="connsiteY556" fmla="*/ 814908 h 1475329"/>
                    <a:gd name="connsiteX557" fmla="*/ 3125317 w 4040759"/>
                    <a:gd name="connsiteY557" fmla="*/ 815307 h 1475329"/>
                    <a:gd name="connsiteX558" fmla="*/ 3123132 w 4040759"/>
                    <a:gd name="connsiteY558" fmla="*/ 820197 h 1475329"/>
                    <a:gd name="connsiteX559" fmla="*/ 3121225 w 4040759"/>
                    <a:gd name="connsiteY559" fmla="*/ 820075 h 1475329"/>
                    <a:gd name="connsiteX560" fmla="*/ 3118284 w 4040759"/>
                    <a:gd name="connsiteY560" fmla="*/ 820572 h 1475329"/>
                    <a:gd name="connsiteX561" fmla="*/ 3113442 w 4040759"/>
                    <a:gd name="connsiteY561" fmla="*/ 826220 h 1475329"/>
                    <a:gd name="connsiteX562" fmla="*/ 3111837 w 4040759"/>
                    <a:gd name="connsiteY562" fmla="*/ 826725 h 1475329"/>
                    <a:gd name="connsiteX563" fmla="*/ 3105839 w 4040759"/>
                    <a:gd name="connsiteY563" fmla="*/ 825617 h 1475329"/>
                    <a:gd name="connsiteX564" fmla="*/ 3101495 w 4040759"/>
                    <a:gd name="connsiteY564" fmla="*/ 822764 h 1475329"/>
                    <a:gd name="connsiteX565" fmla="*/ 3099482 w 4040759"/>
                    <a:gd name="connsiteY565" fmla="*/ 822593 h 1475329"/>
                    <a:gd name="connsiteX566" fmla="*/ 3095651 w 4040759"/>
                    <a:gd name="connsiteY566" fmla="*/ 823930 h 1475329"/>
                    <a:gd name="connsiteX567" fmla="*/ 3093736 w 4040759"/>
                    <a:gd name="connsiteY567" fmla="*/ 827345 h 1475329"/>
                    <a:gd name="connsiteX568" fmla="*/ 3084226 w 4040759"/>
                    <a:gd name="connsiteY568" fmla="*/ 829072 h 1475329"/>
                    <a:gd name="connsiteX569" fmla="*/ 3074862 w 4040759"/>
                    <a:gd name="connsiteY569" fmla="*/ 828746 h 1475329"/>
                    <a:gd name="connsiteX570" fmla="*/ 3069760 w 4040759"/>
                    <a:gd name="connsiteY570" fmla="*/ 820548 h 1475329"/>
                    <a:gd name="connsiteX571" fmla="*/ 3079279 w 4040759"/>
                    <a:gd name="connsiteY571" fmla="*/ 817320 h 1475329"/>
                    <a:gd name="connsiteX572" fmla="*/ 3084951 w 4040759"/>
                    <a:gd name="connsiteY572" fmla="*/ 818005 h 1475329"/>
                    <a:gd name="connsiteX573" fmla="*/ 3091316 w 4040759"/>
                    <a:gd name="connsiteY573" fmla="*/ 817475 h 1475329"/>
                    <a:gd name="connsiteX574" fmla="*/ 3098023 w 4040759"/>
                    <a:gd name="connsiteY574" fmla="*/ 814965 h 1475329"/>
                    <a:gd name="connsiteX575" fmla="*/ 3095766 w 4040759"/>
                    <a:gd name="connsiteY575" fmla="*/ 812813 h 1475329"/>
                    <a:gd name="connsiteX576" fmla="*/ 3094144 w 4040759"/>
                    <a:gd name="connsiteY576" fmla="*/ 812308 h 1475329"/>
                    <a:gd name="connsiteX577" fmla="*/ 3090134 w 4040759"/>
                    <a:gd name="connsiteY577" fmla="*/ 812561 h 1475329"/>
                    <a:gd name="connsiteX578" fmla="*/ 3086540 w 4040759"/>
                    <a:gd name="connsiteY578" fmla="*/ 811012 h 1475329"/>
                    <a:gd name="connsiteX579" fmla="*/ 3078798 w 4040759"/>
                    <a:gd name="connsiteY579" fmla="*/ 803042 h 1475329"/>
                    <a:gd name="connsiteX580" fmla="*/ 3075392 w 4040759"/>
                    <a:gd name="connsiteY580" fmla="*/ 801567 h 1475329"/>
                    <a:gd name="connsiteX581" fmla="*/ 3070974 w 4040759"/>
                    <a:gd name="connsiteY581" fmla="*/ 800695 h 1475329"/>
                    <a:gd name="connsiteX582" fmla="*/ 3067584 w 4040759"/>
                    <a:gd name="connsiteY582" fmla="*/ 800597 h 1475329"/>
                    <a:gd name="connsiteX583" fmla="*/ 3066329 w 4040759"/>
                    <a:gd name="connsiteY583" fmla="*/ 801159 h 1475329"/>
                    <a:gd name="connsiteX584" fmla="*/ 3064569 w 4040759"/>
                    <a:gd name="connsiteY584" fmla="*/ 803083 h 1475329"/>
                    <a:gd name="connsiteX585" fmla="*/ 3063370 w 4040759"/>
                    <a:gd name="connsiteY585" fmla="*/ 804974 h 1475329"/>
                    <a:gd name="connsiteX586" fmla="*/ 3062368 w 4040759"/>
                    <a:gd name="connsiteY586" fmla="*/ 805560 h 1475329"/>
                    <a:gd name="connsiteX587" fmla="*/ 3060037 w 4040759"/>
                    <a:gd name="connsiteY587" fmla="*/ 805226 h 1475329"/>
                    <a:gd name="connsiteX588" fmla="*/ 3057217 w 4040759"/>
                    <a:gd name="connsiteY588" fmla="*/ 803735 h 1475329"/>
                    <a:gd name="connsiteX589" fmla="*/ 3053941 w 4040759"/>
                    <a:gd name="connsiteY589" fmla="*/ 804224 h 1475329"/>
                    <a:gd name="connsiteX590" fmla="*/ 3055343 w 4040759"/>
                    <a:gd name="connsiteY590" fmla="*/ 803009 h 1475329"/>
                    <a:gd name="connsiteX591" fmla="*/ 3058505 w 4040759"/>
                    <a:gd name="connsiteY591" fmla="*/ 801763 h 1475329"/>
                    <a:gd name="connsiteX592" fmla="*/ 3053281 w 4040759"/>
                    <a:gd name="connsiteY592" fmla="*/ 800393 h 1475329"/>
                    <a:gd name="connsiteX593" fmla="*/ 3050021 w 4040759"/>
                    <a:gd name="connsiteY593" fmla="*/ 798486 h 1475329"/>
                    <a:gd name="connsiteX594" fmla="*/ 3046981 w 4040759"/>
                    <a:gd name="connsiteY594" fmla="*/ 797989 h 1475329"/>
                    <a:gd name="connsiteX595" fmla="*/ 3033094 w 4040759"/>
                    <a:gd name="connsiteY595" fmla="*/ 793246 h 1475329"/>
                    <a:gd name="connsiteX596" fmla="*/ 3027683 w 4040759"/>
                    <a:gd name="connsiteY596" fmla="*/ 793621 h 1475329"/>
                    <a:gd name="connsiteX597" fmla="*/ 3024350 w 4040759"/>
                    <a:gd name="connsiteY597" fmla="*/ 794909 h 1475329"/>
                    <a:gd name="connsiteX598" fmla="*/ 3018767 w 4040759"/>
                    <a:gd name="connsiteY598" fmla="*/ 798812 h 1475329"/>
                    <a:gd name="connsiteX599" fmla="*/ 3020315 w 4040759"/>
                    <a:gd name="connsiteY599" fmla="*/ 801665 h 1475329"/>
                    <a:gd name="connsiteX600" fmla="*/ 3021506 w 4040759"/>
                    <a:gd name="connsiteY600" fmla="*/ 802936 h 1475329"/>
                    <a:gd name="connsiteX601" fmla="*/ 3022231 w 4040759"/>
                    <a:gd name="connsiteY601" fmla="*/ 804468 h 1475329"/>
                    <a:gd name="connsiteX602" fmla="*/ 3020454 w 4040759"/>
                    <a:gd name="connsiteY602" fmla="*/ 804770 h 1475329"/>
                    <a:gd name="connsiteX603" fmla="*/ 3015287 w 4040759"/>
                    <a:gd name="connsiteY603" fmla="*/ 804990 h 1475329"/>
                    <a:gd name="connsiteX604" fmla="*/ 3012117 w 4040759"/>
                    <a:gd name="connsiteY604" fmla="*/ 802708 h 1475329"/>
                    <a:gd name="connsiteX605" fmla="*/ 3009933 w 4040759"/>
                    <a:gd name="connsiteY605" fmla="*/ 806041 h 1475329"/>
                    <a:gd name="connsiteX606" fmla="*/ 3010797 w 4040759"/>
                    <a:gd name="connsiteY606" fmla="*/ 809016 h 1475329"/>
                    <a:gd name="connsiteX607" fmla="*/ 3014423 w 4040759"/>
                    <a:gd name="connsiteY607" fmla="*/ 807973 h 1475329"/>
                    <a:gd name="connsiteX608" fmla="*/ 3016265 w 4040759"/>
                    <a:gd name="connsiteY608" fmla="*/ 809195 h 1475329"/>
                    <a:gd name="connsiteX609" fmla="*/ 3015018 w 4040759"/>
                    <a:gd name="connsiteY609" fmla="*/ 812618 h 1475329"/>
                    <a:gd name="connsiteX610" fmla="*/ 3010373 w 4040759"/>
                    <a:gd name="connsiteY610" fmla="*/ 813604 h 1475329"/>
                    <a:gd name="connsiteX611" fmla="*/ 3004530 w 4040759"/>
                    <a:gd name="connsiteY611" fmla="*/ 813425 h 1475329"/>
                    <a:gd name="connsiteX612" fmla="*/ 2998735 w 4040759"/>
                    <a:gd name="connsiteY612" fmla="*/ 807410 h 1475329"/>
                    <a:gd name="connsiteX613" fmla="*/ 2989240 w 4040759"/>
                    <a:gd name="connsiteY613" fmla="*/ 808445 h 1475329"/>
                    <a:gd name="connsiteX614" fmla="*/ 2984611 w 4040759"/>
                    <a:gd name="connsiteY614" fmla="*/ 812300 h 1475329"/>
                    <a:gd name="connsiteX615" fmla="*/ 2980300 w 4040759"/>
                    <a:gd name="connsiteY615" fmla="*/ 813180 h 1475329"/>
                    <a:gd name="connsiteX616" fmla="*/ 2968532 w 4040759"/>
                    <a:gd name="connsiteY616" fmla="*/ 809334 h 1475329"/>
                    <a:gd name="connsiteX617" fmla="*/ 2962672 w 4040759"/>
                    <a:gd name="connsiteY617" fmla="*/ 809048 h 1475329"/>
                    <a:gd name="connsiteX618" fmla="*/ 2956071 w 4040759"/>
                    <a:gd name="connsiteY618" fmla="*/ 805707 h 1475329"/>
                    <a:gd name="connsiteX619" fmla="*/ 2953756 w 4040759"/>
                    <a:gd name="connsiteY619" fmla="*/ 806758 h 1475329"/>
                    <a:gd name="connsiteX620" fmla="*/ 2949527 w 4040759"/>
                    <a:gd name="connsiteY620" fmla="*/ 815047 h 1475329"/>
                    <a:gd name="connsiteX621" fmla="*/ 2943969 w 4040759"/>
                    <a:gd name="connsiteY621" fmla="*/ 817060 h 1475329"/>
                    <a:gd name="connsiteX622" fmla="*/ 2941051 w 4040759"/>
                    <a:gd name="connsiteY622" fmla="*/ 815959 h 1475329"/>
                    <a:gd name="connsiteX623" fmla="*/ 2938508 w 4040759"/>
                    <a:gd name="connsiteY623" fmla="*/ 810727 h 1475329"/>
                    <a:gd name="connsiteX624" fmla="*/ 2936699 w 4040759"/>
                    <a:gd name="connsiteY624" fmla="*/ 809008 h 1475329"/>
                    <a:gd name="connsiteX625" fmla="*/ 2931695 w 4040759"/>
                    <a:gd name="connsiteY625" fmla="*/ 807435 h 1475329"/>
                    <a:gd name="connsiteX626" fmla="*/ 2905127 w 4040759"/>
                    <a:gd name="connsiteY626" fmla="*/ 808910 h 1475329"/>
                    <a:gd name="connsiteX627" fmla="*/ 2896195 w 4040759"/>
                    <a:gd name="connsiteY627" fmla="*/ 807638 h 1475329"/>
                    <a:gd name="connsiteX628" fmla="*/ 2889887 w 4040759"/>
                    <a:gd name="connsiteY628" fmla="*/ 807516 h 1475329"/>
                    <a:gd name="connsiteX629" fmla="*/ 2881330 w 4040759"/>
                    <a:gd name="connsiteY629" fmla="*/ 810206 h 1475329"/>
                    <a:gd name="connsiteX630" fmla="*/ 2873107 w 4040759"/>
                    <a:gd name="connsiteY630" fmla="*/ 809154 h 1475329"/>
                    <a:gd name="connsiteX631" fmla="*/ 2857932 w 4040759"/>
                    <a:gd name="connsiteY631" fmla="*/ 814305 h 1475329"/>
                    <a:gd name="connsiteX632" fmla="*/ 2851722 w 4040759"/>
                    <a:gd name="connsiteY632" fmla="*/ 817777 h 1475329"/>
                    <a:gd name="connsiteX633" fmla="*/ 2844167 w 4040759"/>
                    <a:gd name="connsiteY633" fmla="*/ 823824 h 1475329"/>
                    <a:gd name="connsiteX634" fmla="*/ 2837452 w 4040759"/>
                    <a:gd name="connsiteY634" fmla="*/ 833864 h 1475329"/>
                    <a:gd name="connsiteX635" fmla="*/ 2833687 w 4040759"/>
                    <a:gd name="connsiteY635" fmla="*/ 837654 h 1475329"/>
                    <a:gd name="connsiteX636" fmla="*/ 2827346 w 4040759"/>
                    <a:gd name="connsiteY636" fmla="*/ 842422 h 1475329"/>
                    <a:gd name="connsiteX637" fmla="*/ 2818430 w 4040759"/>
                    <a:gd name="connsiteY637" fmla="*/ 846790 h 1475329"/>
                    <a:gd name="connsiteX638" fmla="*/ 2813524 w 4040759"/>
                    <a:gd name="connsiteY638" fmla="*/ 851248 h 1475329"/>
                    <a:gd name="connsiteX639" fmla="*/ 2810916 w 4040759"/>
                    <a:gd name="connsiteY639" fmla="*/ 854825 h 1475329"/>
                    <a:gd name="connsiteX640" fmla="*/ 2806206 w 4040759"/>
                    <a:gd name="connsiteY640" fmla="*/ 868403 h 1475329"/>
                    <a:gd name="connsiteX641" fmla="*/ 2805016 w 4040759"/>
                    <a:gd name="connsiteY641" fmla="*/ 870424 h 1475329"/>
                    <a:gd name="connsiteX642" fmla="*/ 2793989 w 4040759"/>
                    <a:gd name="connsiteY642" fmla="*/ 875355 h 1475329"/>
                    <a:gd name="connsiteX643" fmla="*/ 2790485 w 4040759"/>
                    <a:gd name="connsiteY643" fmla="*/ 880742 h 1475329"/>
                    <a:gd name="connsiteX644" fmla="*/ 2789059 w 4040759"/>
                    <a:gd name="connsiteY644" fmla="*/ 882111 h 1475329"/>
                    <a:gd name="connsiteX645" fmla="*/ 2784487 w 4040759"/>
                    <a:gd name="connsiteY645" fmla="*/ 884385 h 1475329"/>
                    <a:gd name="connsiteX646" fmla="*/ 2781691 w 4040759"/>
                    <a:gd name="connsiteY646" fmla="*/ 888174 h 1475329"/>
                    <a:gd name="connsiteX647" fmla="*/ 2780143 w 4040759"/>
                    <a:gd name="connsiteY647" fmla="*/ 889291 h 1475329"/>
                    <a:gd name="connsiteX648" fmla="*/ 2773623 w 4040759"/>
                    <a:gd name="connsiteY648" fmla="*/ 891939 h 1475329"/>
                    <a:gd name="connsiteX649" fmla="*/ 2768285 w 4040759"/>
                    <a:gd name="connsiteY649" fmla="*/ 898671 h 1475329"/>
                    <a:gd name="connsiteX650" fmla="*/ 2760746 w 4040759"/>
                    <a:gd name="connsiteY650" fmla="*/ 903422 h 1475329"/>
                    <a:gd name="connsiteX651" fmla="*/ 2749728 w 4040759"/>
                    <a:gd name="connsiteY651" fmla="*/ 916446 h 1475329"/>
                    <a:gd name="connsiteX652" fmla="*/ 2748791 w 4040759"/>
                    <a:gd name="connsiteY652" fmla="*/ 918002 h 1475329"/>
                    <a:gd name="connsiteX653" fmla="*/ 2747821 w 4040759"/>
                    <a:gd name="connsiteY653" fmla="*/ 921474 h 1475329"/>
                    <a:gd name="connsiteX654" fmla="*/ 2746159 w 4040759"/>
                    <a:gd name="connsiteY654" fmla="*/ 924009 h 1475329"/>
                    <a:gd name="connsiteX655" fmla="*/ 2736680 w 4040759"/>
                    <a:gd name="connsiteY655" fmla="*/ 935312 h 1475329"/>
                    <a:gd name="connsiteX656" fmla="*/ 2733730 w 4040759"/>
                    <a:gd name="connsiteY656" fmla="*/ 936363 h 1475329"/>
                    <a:gd name="connsiteX657" fmla="*/ 2729052 w 4040759"/>
                    <a:gd name="connsiteY657" fmla="*/ 941636 h 1475329"/>
                    <a:gd name="connsiteX658" fmla="*/ 2724219 w 4040759"/>
                    <a:gd name="connsiteY658" fmla="*/ 944807 h 1475329"/>
                    <a:gd name="connsiteX659" fmla="*/ 2719819 w 4040759"/>
                    <a:gd name="connsiteY659" fmla="*/ 948531 h 1475329"/>
                    <a:gd name="connsiteX660" fmla="*/ 2714407 w 4040759"/>
                    <a:gd name="connsiteY660" fmla="*/ 952402 h 1475329"/>
                    <a:gd name="connsiteX661" fmla="*/ 2706135 w 4040759"/>
                    <a:gd name="connsiteY661" fmla="*/ 956893 h 1475329"/>
                    <a:gd name="connsiteX662" fmla="*/ 2703429 w 4040759"/>
                    <a:gd name="connsiteY662" fmla="*/ 959444 h 1475329"/>
                    <a:gd name="connsiteX663" fmla="*/ 2699069 w 4040759"/>
                    <a:gd name="connsiteY663" fmla="*/ 965474 h 1475329"/>
                    <a:gd name="connsiteX664" fmla="*/ 2688540 w 4040759"/>
                    <a:gd name="connsiteY664" fmla="*/ 972785 h 1475329"/>
                    <a:gd name="connsiteX665" fmla="*/ 2683324 w 4040759"/>
                    <a:gd name="connsiteY665" fmla="*/ 974561 h 1475329"/>
                    <a:gd name="connsiteX666" fmla="*/ 2676421 w 4040759"/>
                    <a:gd name="connsiteY666" fmla="*/ 981057 h 1475329"/>
                    <a:gd name="connsiteX667" fmla="*/ 2675737 w 4040759"/>
                    <a:gd name="connsiteY667" fmla="*/ 982581 h 1475329"/>
                    <a:gd name="connsiteX668" fmla="*/ 2675166 w 4040759"/>
                    <a:gd name="connsiteY668" fmla="*/ 984952 h 1475329"/>
                    <a:gd name="connsiteX669" fmla="*/ 2676315 w 4040759"/>
                    <a:gd name="connsiteY669" fmla="*/ 989109 h 1475329"/>
                    <a:gd name="connsiteX670" fmla="*/ 2677994 w 4040759"/>
                    <a:gd name="connsiteY670" fmla="*/ 990013 h 1475329"/>
                    <a:gd name="connsiteX671" fmla="*/ 2680781 w 4040759"/>
                    <a:gd name="connsiteY671" fmla="*/ 990584 h 1475329"/>
                    <a:gd name="connsiteX672" fmla="*/ 2691042 w 4040759"/>
                    <a:gd name="connsiteY672" fmla="*/ 994707 h 1475329"/>
                    <a:gd name="connsiteX673" fmla="*/ 2700626 w 4040759"/>
                    <a:gd name="connsiteY673" fmla="*/ 993558 h 1475329"/>
                    <a:gd name="connsiteX674" fmla="*/ 2709110 w 4040759"/>
                    <a:gd name="connsiteY674" fmla="*/ 993575 h 1475329"/>
                    <a:gd name="connsiteX675" fmla="*/ 2712443 w 4040759"/>
                    <a:gd name="connsiteY675" fmla="*/ 993175 h 1475329"/>
                    <a:gd name="connsiteX676" fmla="*/ 2714488 w 4040759"/>
                    <a:gd name="connsiteY676" fmla="*/ 993298 h 1475329"/>
                    <a:gd name="connsiteX677" fmla="*/ 2715149 w 4040759"/>
                    <a:gd name="connsiteY677" fmla="*/ 995555 h 1475329"/>
                    <a:gd name="connsiteX678" fmla="*/ 2715059 w 4040759"/>
                    <a:gd name="connsiteY678" fmla="*/ 999687 h 1475329"/>
                    <a:gd name="connsiteX679" fmla="*/ 2713828 w 4040759"/>
                    <a:gd name="connsiteY679" fmla="*/ 1003436 h 1475329"/>
                    <a:gd name="connsiteX680" fmla="*/ 2712810 w 4040759"/>
                    <a:gd name="connsiteY680" fmla="*/ 1014487 h 1475329"/>
                    <a:gd name="connsiteX681" fmla="*/ 2711661 w 4040759"/>
                    <a:gd name="connsiteY681" fmla="*/ 1019368 h 1475329"/>
                    <a:gd name="connsiteX682" fmla="*/ 2712549 w 4040759"/>
                    <a:gd name="connsiteY682" fmla="*/ 1024161 h 1475329"/>
                    <a:gd name="connsiteX683" fmla="*/ 2714635 w 4040759"/>
                    <a:gd name="connsiteY683" fmla="*/ 1024992 h 1475329"/>
                    <a:gd name="connsiteX684" fmla="*/ 2716713 w 4040759"/>
                    <a:gd name="connsiteY684" fmla="*/ 1022832 h 1475329"/>
                    <a:gd name="connsiteX685" fmla="*/ 2719990 w 4040759"/>
                    <a:gd name="connsiteY685" fmla="*/ 1022498 h 1475329"/>
                    <a:gd name="connsiteX686" fmla="*/ 2723372 w 4040759"/>
                    <a:gd name="connsiteY686" fmla="*/ 1023500 h 1475329"/>
                    <a:gd name="connsiteX687" fmla="*/ 2725923 w 4040759"/>
                    <a:gd name="connsiteY687" fmla="*/ 1015832 h 1475329"/>
                    <a:gd name="connsiteX688" fmla="*/ 2723804 w 4040759"/>
                    <a:gd name="connsiteY688" fmla="*/ 1014634 h 1475329"/>
                    <a:gd name="connsiteX689" fmla="*/ 2721905 w 4040759"/>
                    <a:gd name="connsiteY689" fmla="*/ 1011928 h 1475329"/>
                    <a:gd name="connsiteX690" fmla="*/ 2723030 w 4040759"/>
                    <a:gd name="connsiteY690" fmla="*/ 1009899 h 1475329"/>
                    <a:gd name="connsiteX691" fmla="*/ 2728897 w 4040759"/>
                    <a:gd name="connsiteY691" fmla="*/ 1006125 h 1475329"/>
                    <a:gd name="connsiteX692" fmla="*/ 2732548 w 4040759"/>
                    <a:gd name="connsiteY692" fmla="*/ 1005783 h 1475329"/>
                    <a:gd name="connsiteX693" fmla="*/ 2736045 w 4040759"/>
                    <a:gd name="connsiteY693" fmla="*/ 1006084 h 1475329"/>
                    <a:gd name="connsiteX694" fmla="*/ 2732255 w 4040759"/>
                    <a:gd name="connsiteY694" fmla="*/ 1010877 h 1475329"/>
                    <a:gd name="connsiteX695" fmla="*/ 2730715 w 4040759"/>
                    <a:gd name="connsiteY695" fmla="*/ 1011863 h 1475329"/>
                    <a:gd name="connsiteX696" fmla="*/ 2729533 w 4040759"/>
                    <a:gd name="connsiteY696" fmla="*/ 1012123 h 1475329"/>
                    <a:gd name="connsiteX697" fmla="*/ 2727936 w 4040759"/>
                    <a:gd name="connsiteY697" fmla="*/ 1012979 h 1475329"/>
                    <a:gd name="connsiteX698" fmla="*/ 2731334 w 4040759"/>
                    <a:gd name="connsiteY698" fmla="*/ 1015742 h 1475329"/>
                    <a:gd name="connsiteX699" fmla="*/ 2734969 w 4040759"/>
                    <a:gd name="connsiteY699" fmla="*/ 1017893 h 1475329"/>
                    <a:gd name="connsiteX700" fmla="*/ 2740217 w 4040759"/>
                    <a:gd name="connsiteY700" fmla="*/ 1018790 h 1475329"/>
                    <a:gd name="connsiteX701" fmla="*/ 2739028 w 4040759"/>
                    <a:gd name="connsiteY701" fmla="*/ 1020428 h 1475329"/>
                    <a:gd name="connsiteX702" fmla="*/ 2735523 w 4040759"/>
                    <a:gd name="connsiteY702" fmla="*/ 1021838 h 1475329"/>
                    <a:gd name="connsiteX703" fmla="*/ 2732345 w 4040759"/>
                    <a:gd name="connsiteY703" fmla="*/ 1027812 h 1475329"/>
                    <a:gd name="connsiteX704" fmla="*/ 2727300 w 4040759"/>
                    <a:gd name="connsiteY704" fmla="*/ 1030648 h 1475329"/>
                    <a:gd name="connsiteX705" fmla="*/ 2725018 w 4040759"/>
                    <a:gd name="connsiteY705" fmla="*/ 1032620 h 1475329"/>
                    <a:gd name="connsiteX706" fmla="*/ 2725817 w 4040759"/>
                    <a:gd name="connsiteY706" fmla="*/ 1033859 h 1475329"/>
                    <a:gd name="connsiteX707" fmla="*/ 2727659 w 4040759"/>
                    <a:gd name="connsiteY707" fmla="*/ 1034128 h 1475329"/>
                    <a:gd name="connsiteX708" fmla="*/ 2737838 w 4040759"/>
                    <a:gd name="connsiteY708" fmla="*/ 1033329 h 1475329"/>
                    <a:gd name="connsiteX709" fmla="*/ 2743102 w 4040759"/>
                    <a:gd name="connsiteY709" fmla="*/ 1031707 h 1475329"/>
                    <a:gd name="connsiteX710" fmla="*/ 2750608 w 4040759"/>
                    <a:gd name="connsiteY710" fmla="*/ 1027086 h 1475329"/>
                    <a:gd name="connsiteX711" fmla="*/ 2753729 w 4040759"/>
                    <a:gd name="connsiteY711" fmla="*/ 1020200 h 1475329"/>
                    <a:gd name="connsiteX712" fmla="*/ 2756574 w 4040759"/>
                    <a:gd name="connsiteY712" fmla="*/ 1018309 h 1475329"/>
                    <a:gd name="connsiteX713" fmla="*/ 2757421 w 4040759"/>
                    <a:gd name="connsiteY713" fmla="*/ 1018293 h 1475329"/>
                    <a:gd name="connsiteX714" fmla="*/ 2758416 w 4040759"/>
                    <a:gd name="connsiteY714" fmla="*/ 1018774 h 1475329"/>
                    <a:gd name="connsiteX715" fmla="*/ 2758440 w 4040759"/>
                    <a:gd name="connsiteY715" fmla="*/ 1023606 h 1475329"/>
                    <a:gd name="connsiteX716" fmla="*/ 2754422 w 4040759"/>
                    <a:gd name="connsiteY716" fmla="*/ 1029050 h 1475329"/>
                    <a:gd name="connsiteX717" fmla="*/ 2751578 w 4040759"/>
                    <a:gd name="connsiteY717" fmla="*/ 1032123 h 1475329"/>
                    <a:gd name="connsiteX718" fmla="*/ 2750518 w 4040759"/>
                    <a:gd name="connsiteY718" fmla="*/ 1034690 h 1475329"/>
                    <a:gd name="connsiteX719" fmla="*/ 2752279 w 4040759"/>
                    <a:gd name="connsiteY719" fmla="*/ 1034739 h 1475329"/>
                    <a:gd name="connsiteX720" fmla="*/ 2755506 w 4040759"/>
                    <a:gd name="connsiteY720" fmla="*/ 1034201 h 1475329"/>
                    <a:gd name="connsiteX721" fmla="*/ 2756997 w 4040759"/>
                    <a:gd name="connsiteY721" fmla="*/ 1032962 h 1475329"/>
                    <a:gd name="connsiteX722" fmla="*/ 2760714 w 4040759"/>
                    <a:gd name="connsiteY722" fmla="*/ 1026402 h 1475329"/>
                    <a:gd name="connsiteX723" fmla="*/ 2761676 w 4040759"/>
                    <a:gd name="connsiteY723" fmla="*/ 1021691 h 1475329"/>
                    <a:gd name="connsiteX724" fmla="*/ 2762222 w 4040759"/>
                    <a:gd name="connsiteY724" fmla="*/ 1015131 h 1475329"/>
                    <a:gd name="connsiteX725" fmla="*/ 2761806 w 4040759"/>
                    <a:gd name="connsiteY725" fmla="*/ 1011211 h 1475329"/>
                    <a:gd name="connsiteX726" fmla="*/ 2762083 w 4040759"/>
                    <a:gd name="connsiteY726" fmla="*/ 1008374 h 1475329"/>
                    <a:gd name="connsiteX727" fmla="*/ 2760624 w 4040759"/>
                    <a:gd name="connsiteY727" fmla="*/ 1005514 h 1475329"/>
                    <a:gd name="connsiteX728" fmla="*/ 2761578 w 4040759"/>
                    <a:gd name="connsiteY728" fmla="*/ 1004699 h 1475329"/>
                    <a:gd name="connsiteX729" fmla="*/ 2771740 w 4040759"/>
                    <a:gd name="connsiteY729" fmla="*/ 1008554 h 1475329"/>
                    <a:gd name="connsiteX730" fmla="*/ 2777062 w 4040759"/>
                    <a:gd name="connsiteY730" fmla="*/ 1009491 h 1475329"/>
                    <a:gd name="connsiteX731" fmla="*/ 2786679 w 4040759"/>
                    <a:gd name="connsiteY731" fmla="*/ 1006313 h 1475329"/>
                    <a:gd name="connsiteX732" fmla="*/ 2788855 w 4040759"/>
                    <a:gd name="connsiteY732" fmla="*/ 1007103 h 1475329"/>
                    <a:gd name="connsiteX733" fmla="*/ 2790420 w 4040759"/>
                    <a:gd name="connsiteY733" fmla="*/ 1009035 h 1475329"/>
                    <a:gd name="connsiteX734" fmla="*/ 2798366 w 4040759"/>
                    <a:gd name="connsiteY734" fmla="*/ 1014837 h 1475329"/>
                    <a:gd name="connsiteX735" fmla="*/ 2799922 w 4040759"/>
                    <a:gd name="connsiteY735" fmla="*/ 1016744 h 1475329"/>
                    <a:gd name="connsiteX736" fmla="*/ 2802547 w 4040759"/>
                    <a:gd name="connsiteY736" fmla="*/ 1023843 h 1475329"/>
                    <a:gd name="connsiteX737" fmla="*/ 2810981 w 4040759"/>
                    <a:gd name="connsiteY737" fmla="*/ 1031968 h 1475329"/>
                    <a:gd name="connsiteX738" fmla="*/ 2818878 w 4040759"/>
                    <a:gd name="connsiteY738" fmla="*/ 1035798 h 1475329"/>
                    <a:gd name="connsiteX739" fmla="*/ 2819107 w 4040759"/>
                    <a:gd name="connsiteY739" fmla="*/ 1037314 h 1475329"/>
                    <a:gd name="connsiteX740" fmla="*/ 2824127 w 4040759"/>
                    <a:gd name="connsiteY740" fmla="*/ 1041805 h 1475329"/>
                    <a:gd name="connsiteX741" fmla="*/ 2828006 w 4040759"/>
                    <a:gd name="connsiteY741" fmla="*/ 1043369 h 1475329"/>
                    <a:gd name="connsiteX742" fmla="*/ 2828707 w 4040759"/>
                    <a:gd name="connsiteY742" fmla="*/ 1047444 h 1475329"/>
                    <a:gd name="connsiteX743" fmla="*/ 2826865 w 4040759"/>
                    <a:gd name="connsiteY743" fmla="*/ 1050688 h 1475329"/>
                    <a:gd name="connsiteX744" fmla="*/ 2823222 w 4040759"/>
                    <a:gd name="connsiteY744" fmla="*/ 1053752 h 1475329"/>
                    <a:gd name="connsiteX745" fmla="*/ 2815936 w 4040759"/>
                    <a:gd name="connsiteY745" fmla="*/ 1050908 h 1475329"/>
                    <a:gd name="connsiteX746" fmla="*/ 2814755 w 4040759"/>
                    <a:gd name="connsiteY746" fmla="*/ 1051038 h 1475329"/>
                    <a:gd name="connsiteX747" fmla="*/ 2815610 w 4040759"/>
                    <a:gd name="connsiteY747" fmla="*/ 1052840 h 1475329"/>
                    <a:gd name="connsiteX748" fmla="*/ 2820891 w 4040759"/>
                    <a:gd name="connsiteY748" fmla="*/ 1058153 h 1475329"/>
                    <a:gd name="connsiteX749" fmla="*/ 2825072 w 4040759"/>
                    <a:gd name="connsiteY749" fmla="*/ 1060296 h 1475329"/>
                    <a:gd name="connsiteX750" fmla="*/ 2825325 w 4040759"/>
                    <a:gd name="connsiteY750" fmla="*/ 1067289 h 1475329"/>
                    <a:gd name="connsiteX751" fmla="*/ 2824812 w 4040759"/>
                    <a:gd name="connsiteY751" fmla="*/ 1071111 h 1475329"/>
                    <a:gd name="connsiteX752" fmla="*/ 2822016 w 4040759"/>
                    <a:gd name="connsiteY752" fmla="*/ 1075365 h 1475329"/>
                    <a:gd name="connsiteX753" fmla="*/ 2822945 w 4040759"/>
                    <a:gd name="connsiteY753" fmla="*/ 1077875 h 1475329"/>
                    <a:gd name="connsiteX754" fmla="*/ 2826906 w 4040759"/>
                    <a:gd name="connsiteY754" fmla="*/ 1081486 h 1475329"/>
                    <a:gd name="connsiteX755" fmla="*/ 2828878 w 4040759"/>
                    <a:gd name="connsiteY755" fmla="*/ 1082847 h 1475329"/>
                    <a:gd name="connsiteX756" fmla="*/ 2830769 w 4040759"/>
                    <a:gd name="connsiteY756" fmla="*/ 1084917 h 1475329"/>
                    <a:gd name="connsiteX757" fmla="*/ 2828300 w 4040759"/>
                    <a:gd name="connsiteY757" fmla="*/ 1089424 h 1475329"/>
                    <a:gd name="connsiteX758" fmla="*/ 2827835 w 4040759"/>
                    <a:gd name="connsiteY758" fmla="*/ 1094485 h 1475329"/>
                    <a:gd name="connsiteX759" fmla="*/ 2825137 w 4040759"/>
                    <a:gd name="connsiteY759" fmla="*/ 1096709 h 1475329"/>
                    <a:gd name="connsiteX760" fmla="*/ 2821943 w 4040759"/>
                    <a:gd name="connsiteY760" fmla="*/ 1101624 h 1475329"/>
                    <a:gd name="connsiteX761" fmla="*/ 2817061 w 4040759"/>
                    <a:gd name="connsiteY761" fmla="*/ 1105609 h 1475329"/>
                    <a:gd name="connsiteX762" fmla="*/ 2814730 w 4040759"/>
                    <a:gd name="connsiteY762" fmla="*/ 1113205 h 1475329"/>
                    <a:gd name="connsiteX763" fmla="*/ 2810981 w 4040759"/>
                    <a:gd name="connsiteY763" fmla="*/ 1119904 h 1475329"/>
                    <a:gd name="connsiteX764" fmla="*/ 2810566 w 4040759"/>
                    <a:gd name="connsiteY764" fmla="*/ 1126570 h 1475329"/>
                    <a:gd name="connsiteX765" fmla="*/ 2809946 w 4040759"/>
                    <a:gd name="connsiteY765" fmla="*/ 1128942 h 1475329"/>
                    <a:gd name="connsiteX766" fmla="*/ 2806849 w 4040759"/>
                    <a:gd name="connsiteY766" fmla="*/ 1135787 h 1475329"/>
                    <a:gd name="connsiteX767" fmla="*/ 2805741 w 4040759"/>
                    <a:gd name="connsiteY767" fmla="*/ 1145103 h 1475329"/>
                    <a:gd name="connsiteX768" fmla="*/ 2807208 w 4040759"/>
                    <a:gd name="connsiteY768" fmla="*/ 1160277 h 1475329"/>
                    <a:gd name="connsiteX769" fmla="*/ 2807917 w 4040759"/>
                    <a:gd name="connsiteY769" fmla="*/ 1161158 h 1475329"/>
                    <a:gd name="connsiteX770" fmla="*/ 2809425 w 4040759"/>
                    <a:gd name="connsiteY770" fmla="*/ 1162046 h 1475329"/>
                    <a:gd name="connsiteX771" fmla="*/ 2809148 w 4040759"/>
                    <a:gd name="connsiteY771" fmla="*/ 1163089 h 1475329"/>
                    <a:gd name="connsiteX772" fmla="*/ 2808422 w 4040759"/>
                    <a:gd name="connsiteY772" fmla="*/ 1163831 h 1475329"/>
                    <a:gd name="connsiteX773" fmla="*/ 2805399 w 4040759"/>
                    <a:gd name="connsiteY773" fmla="*/ 1168272 h 1475329"/>
                    <a:gd name="connsiteX774" fmla="*/ 2805448 w 4040759"/>
                    <a:gd name="connsiteY774" fmla="*/ 1171402 h 1475329"/>
                    <a:gd name="connsiteX775" fmla="*/ 2806613 w 4040759"/>
                    <a:gd name="connsiteY775" fmla="*/ 1173724 h 1475329"/>
                    <a:gd name="connsiteX776" fmla="*/ 2806752 w 4040759"/>
                    <a:gd name="connsiteY776" fmla="*/ 1179747 h 1475329"/>
                    <a:gd name="connsiteX777" fmla="*/ 2804625 w 4040759"/>
                    <a:gd name="connsiteY777" fmla="*/ 1189348 h 1475329"/>
                    <a:gd name="connsiteX778" fmla="*/ 2803834 w 4040759"/>
                    <a:gd name="connsiteY778" fmla="*/ 1190863 h 1475329"/>
                    <a:gd name="connsiteX779" fmla="*/ 2802970 w 4040759"/>
                    <a:gd name="connsiteY779" fmla="*/ 1193357 h 1475329"/>
                    <a:gd name="connsiteX780" fmla="*/ 2802571 w 4040759"/>
                    <a:gd name="connsiteY780" fmla="*/ 1195590 h 1475329"/>
                    <a:gd name="connsiteX781" fmla="*/ 2802000 w 4040759"/>
                    <a:gd name="connsiteY781" fmla="*/ 1197016 h 1475329"/>
                    <a:gd name="connsiteX782" fmla="*/ 2801593 w 4040759"/>
                    <a:gd name="connsiteY782" fmla="*/ 1199404 h 1475329"/>
                    <a:gd name="connsiteX783" fmla="*/ 2802212 w 4040759"/>
                    <a:gd name="connsiteY783" fmla="*/ 1201531 h 1475329"/>
                    <a:gd name="connsiteX784" fmla="*/ 2803321 w 4040759"/>
                    <a:gd name="connsiteY784" fmla="*/ 1202648 h 1475329"/>
                    <a:gd name="connsiteX785" fmla="*/ 2799490 w 4040759"/>
                    <a:gd name="connsiteY785" fmla="*/ 1209551 h 1475329"/>
                    <a:gd name="connsiteX786" fmla="*/ 2798162 w 4040759"/>
                    <a:gd name="connsiteY786" fmla="*/ 1218540 h 1475329"/>
                    <a:gd name="connsiteX787" fmla="*/ 2796744 w 4040759"/>
                    <a:gd name="connsiteY787" fmla="*/ 1222183 h 1475329"/>
                    <a:gd name="connsiteX788" fmla="*/ 2793892 w 4040759"/>
                    <a:gd name="connsiteY788" fmla="*/ 1225744 h 1475329"/>
                    <a:gd name="connsiteX789" fmla="*/ 2787999 w 4040759"/>
                    <a:gd name="connsiteY789" fmla="*/ 1230887 h 1475329"/>
                    <a:gd name="connsiteX790" fmla="*/ 2785904 w 4040759"/>
                    <a:gd name="connsiteY790" fmla="*/ 1234138 h 1475329"/>
                    <a:gd name="connsiteX791" fmla="*/ 2782041 w 4040759"/>
                    <a:gd name="connsiteY791" fmla="*/ 1238246 h 1475329"/>
                    <a:gd name="connsiteX792" fmla="*/ 2778374 w 4040759"/>
                    <a:gd name="connsiteY792" fmla="*/ 1241408 h 1475329"/>
                    <a:gd name="connsiteX793" fmla="*/ 2773272 w 4040759"/>
                    <a:gd name="connsiteY793" fmla="*/ 1250446 h 1475329"/>
                    <a:gd name="connsiteX794" fmla="*/ 2769157 w 4040759"/>
                    <a:gd name="connsiteY794" fmla="*/ 1259435 h 1475329"/>
                    <a:gd name="connsiteX795" fmla="*/ 2758880 w 4040759"/>
                    <a:gd name="connsiteY795" fmla="*/ 1271065 h 1475329"/>
                    <a:gd name="connsiteX796" fmla="*/ 2757462 w 4040759"/>
                    <a:gd name="connsiteY796" fmla="*/ 1273950 h 1475329"/>
                    <a:gd name="connsiteX797" fmla="*/ 2756745 w 4040759"/>
                    <a:gd name="connsiteY797" fmla="*/ 1277022 h 1475329"/>
                    <a:gd name="connsiteX798" fmla="*/ 2754047 w 4040759"/>
                    <a:gd name="connsiteY798" fmla="*/ 1282165 h 1475329"/>
                    <a:gd name="connsiteX799" fmla="*/ 2752686 w 4040759"/>
                    <a:gd name="connsiteY799" fmla="*/ 1289320 h 1475329"/>
                    <a:gd name="connsiteX800" fmla="*/ 2749541 w 4040759"/>
                    <a:gd name="connsiteY800" fmla="*/ 1292181 h 1475329"/>
                    <a:gd name="connsiteX801" fmla="*/ 2746965 w 4040759"/>
                    <a:gd name="connsiteY801" fmla="*/ 1299695 h 1475329"/>
                    <a:gd name="connsiteX802" fmla="*/ 2738595 w 4040759"/>
                    <a:gd name="connsiteY802" fmla="*/ 1311088 h 1475329"/>
                    <a:gd name="connsiteX803" fmla="*/ 2736526 w 4040759"/>
                    <a:gd name="connsiteY803" fmla="*/ 1314984 h 1475329"/>
                    <a:gd name="connsiteX804" fmla="*/ 2730071 w 4040759"/>
                    <a:gd name="connsiteY804" fmla="*/ 1321267 h 1475329"/>
                    <a:gd name="connsiteX805" fmla="*/ 2723184 w 4040759"/>
                    <a:gd name="connsiteY805" fmla="*/ 1329947 h 1475329"/>
                    <a:gd name="connsiteX806" fmla="*/ 2714660 w 4040759"/>
                    <a:gd name="connsiteY806" fmla="*/ 1337762 h 1475329"/>
                    <a:gd name="connsiteX807" fmla="*/ 2712997 w 4040759"/>
                    <a:gd name="connsiteY807" fmla="*/ 1340957 h 1475329"/>
                    <a:gd name="connsiteX808" fmla="*/ 2709705 w 4040759"/>
                    <a:gd name="connsiteY808" fmla="*/ 1344535 h 1475329"/>
                    <a:gd name="connsiteX809" fmla="*/ 2706135 w 4040759"/>
                    <a:gd name="connsiteY809" fmla="*/ 1350003 h 1475329"/>
                    <a:gd name="connsiteX810" fmla="*/ 2700952 w 4040759"/>
                    <a:gd name="connsiteY810" fmla="*/ 1355447 h 1475329"/>
                    <a:gd name="connsiteX811" fmla="*/ 2699893 w 4040759"/>
                    <a:gd name="connsiteY811" fmla="*/ 1359106 h 1475329"/>
                    <a:gd name="connsiteX812" fmla="*/ 2698255 w 4040759"/>
                    <a:gd name="connsiteY812" fmla="*/ 1361657 h 1475329"/>
                    <a:gd name="connsiteX813" fmla="*/ 2694400 w 4040759"/>
                    <a:gd name="connsiteY813" fmla="*/ 1363377 h 1475329"/>
                    <a:gd name="connsiteX814" fmla="*/ 2691604 w 4040759"/>
                    <a:gd name="connsiteY814" fmla="*/ 1365700 h 1475329"/>
                    <a:gd name="connsiteX815" fmla="*/ 2683145 w 4040759"/>
                    <a:gd name="connsiteY815" fmla="*/ 1379717 h 1475329"/>
                    <a:gd name="connsiteX816" fmla="*/ 2682053 w 4040759"/>
                    <a:gd name="connsiteY816" fmla="*/ 1382243 h 1475329"/>
                    <a:gd name="connsiteX817" fmla="*/ 2681906 w 4040759"/>
                    <a:gd name="connsiteY817" fmla="*/ 1384468 h 1475329"/>
                    <a:gd name="connsiteX818" fmla="*/ 2676364 w 4040759"/>
                    <a:gd name="connsiteY818" fmla="*/ 1389692 h 1475329"/>
                    <a:gd name="connsiteX819" fmla="*/ 2673170 w 4040759"/>
                    <a:gd name="connsiteY819" fmla="*/ 1395210 h 1475329"/>
                    <a:gd name="connsiteX820" fmla="*/ 2667856 w 4040759"/>
                    <a:gd name="connsiteY820" fmla="*/ 1398649 h 1475329"/>
                    <a:gd name="connsiteX821" fmla="*/ 2662282 w 4040759"/>
                    <a:gd name="connsiteY821" fmla="*/ 1403368 h 1475329"/>
                    <a:gd name="connsiteX822" fmla="*/ 2648997 w 4040759"/>
                    <a:gd name="connsiteY822" fmla="*/ 1411966 h 1475329"/>
                    <a:gd name="connsiteX823" fmla="*/ 2645379 w 4040759"/>
                    <a:gd name="connsiteY823" fmla="*/ 1415242 h 1475329"/>
                    <a:gd name="connsiteX824" fmla="*/ 2637906 w 4040759"/>
                    <a:gd name="connsiteY824" fmla="*/ 1419308 h 1475329"/>
                    <a:gd name="connsiteX825" fmla="*/ 2634866 w 4040759"/>
                    <a:gd name="connsiteY825" fmla="*/ 1419366 h 1475329"/>
                    <a:gd name="connsiteX826" fmla="*/ 2628476 w 4040759"/>
                    <a:gd name="connsiteY826" fmla="*/ 1421590 h 1475329"/>
                    <a:gd name="connsiteX827" fmla="*/ 2624279 w 4040759"/>
                    <a:gd name="connsiteY827" fmla="*/ 1423897 h 1475329"/>
                    <a:gd name="connsiteX828" fmla="*/ 2621785 w 4040759"/>
                    <a:gd name="connsiteY828" fmla="*/ 1423008 h 1475329"/>
                    <a:gd name="connsiteX829" fmla="*/ 2620229 w 4040759"/>
                    <a:gd name="connsiteY829" fmla="*/ 1420058 h 1475329"/>
                    <a:gd name="connsiteX830" fmla="*/ 2618428 w 4040759"/>
                    <a:gd name="connsiteY830" fmla="*/ 1420164 h 1475329"/>
                    <a:gd name="connsiteX831" fmla="*/ 2616928 w 4040759"/>
                    <a:gd name="connsiteY831" fmla="*/ 1420555 h 1475329"/>
                    <a:gd name="connsiteX832" fmla="*/ 2613098 w 4040759"/>
                    <a:gd name="connsiteY832" fmla="*/ 1417719 h 1475329"/>
                    <a:gd name="connsiteX833" fmla="*/ 2609805 w 4040759"/>
                    <a:gd name="connsiteY833" fmla="*/ 1417866 h 1475329"/>
                    <a:gd name="connsiteX834" fmla="*/ 2607442 w 4040759"/>
                    <a:gd name="connsiteY834" fmla="*/ 1416538 h 1475329"/>
                    <a:gd name="connsiteX835" fmla="*/ 2603049 w 4040759"/>
                    <a:gd name="connsiteY835" fmla="*/ 1417467 h 1475329"/>
                    <a:gd name="connsiteX836" fmla="*/ 2603799 w 4040759"/>
                    <a:gd name="connsiteY836" fmla="*/ 1405161 h 1475329"/>
                    <a:gd name="connsiteX837" fmla="*/ 2603188 w 4040759"/>
                    <a:gd name="connsiteY837" fmla="*/ 1402569 h 1475329"/>
                    <a:gd name="connsiteX838" fmla="*/ 2601289 w 4040759"/>
                    <a:gd name="connsiteY838" fmla="*/ 1404941 h 1475329"/>
                    <a:gd name="connsiteX839" fmla="*/ 2596220 w 4040759"/>
                    <a:gd name="connsiteY839" fmla="*/ 1409309 h 1475329"/>
                    <a:gd name="connsiteX840" fmla="*/ 2594207 w 4040759"/>
                    <a:gd name="connsiteY840" fmla="*/ 1410124 h 1475329"/>
                    <a:gd name="connsiteX841" fmla="*/ 2592202 w 4040759"/>
                    <a:gd name="connsiteY841" fmla="*/ 1410132 h 1475329"/>
                    <a:gd name="connsiteX842" fmla="*/ 2592992 w 4040759"/>
                    <a:gd name="connsiteY842" fmla="*/ 1407516 h 1475329"/>
                    <a:gd name="connsiteX843" fmla="*/ 2595837 w 4040759"/>
                    <a:gd name="connsiteY843" fmla="*/ 1403734 h 1475329"/>
                    <a:gd name="connsiteX844" fmla="*/ 2594924 w 4040759"/>
                    <a:gd name="connsiteY844" fmla="*/ 1403180 h 1475329"/>
                    <a:gd name="connsiteX845" fmla="*/ 2594003 w 4040759"/>
                    <a:gd name="connsiteY845" fmla="*/ 1402976 h 1475329"/>
                    <a:gd name="connsiteX846" fmla="*/ 2590417 w 4040759"/>
                    <a:gd name="connsiteY846" fmla="*/ 1404590 h 1475329"/>
                    <a:gd name="connsiteX847" fmla="*/ 2588624 w 4040759"/>
                    <a:gd name="connsiteY847" fmla="*/ 1406416 h 1475329"/>
                    <a:gd name="connsiteX848" fmla="*/ 2583523 w 4040759"/>
                    <a:gd name="connsiteY848" fmla="*/ 1413547 h 1475329"/>
                    <a:gd name="connsiteX849" fmla="*/ 2580458 w 4040759"/>
                    <a:gd name="connsiteY849" fmla="*/ 1419561 h 1475329"/>
                    <a:gd name="connsiteX850" fmla="*/ 2577964 w 4040759"/>
                    <a:gd name="connsiteY850" fmla="*/ 1421297 h 1475329"/>
                    <a:gd name="connsiteX851" fmla="*/ 2576799 w 4040759"/>
                    <a:gd name="connsiteY851" fmla="*/ 1423881 h 1475329"/>
                    <a:gd name="connsiteX852" fmla="*/ 2574639 w 4040759"/>
                    <a:gd name="connsiteY852" fmla="*/ 1426342 h 1475329"/>
                    <a:gd name="connsiteX853" fmla="*/ 2571330 w 4040759"/>
                    <a:gd name="connsiteY853" fmla="*/ 1425682 h 1475329"/>
                    <a:gd name="connsiteX854" fmla="*/ 2569358 w 4040759"/>
                    <a:gd name="connsiteY854" fmla="*/ 1426073 h 1475329"/>
                    <a:gd name="connsiteX855" fmla="*/ 2564656 w 4040759"/>
                    <a:gd name="connsiteY855" fmla="*/ 1424712 h 1475329"/>
                    <a:gd name="connsiteX856" fmla="*/ 2563506 w 4040759"/>
                    <a:gd name="connsiteY856" fmla="*/ 1425290 h 1475329"/>
                    <a:gd name="connsiteX857" fmla="*/ 2566595 w 4040759"/>
                    <a:gd name="connsiteY857" fmla="*/ 1429895 h 1475329"/>
                    <a:gd name="connsiteX858" fmla="*/ 2564004 w 4040759"/>
                    <a:gd name="connsiteY858" fmla="*/ 1436692 h 1475329"/>
                    <a:gd name="connsiteX859" fmla="*/ 2562944 w 4040759"/>
                    <a:gd name="connsiteY859" fmla="*/ 1437491 h 1475329"/>
                    <a:gd name="connsiteX860" fmla="*/ 2562227 w 4040759"/>
                    <a:gd name="connsiteY860" fmla="*/ 1436619 h 1475329"/>
                    <a:gd name="connsiteX861" fmla="*/ 2562072 w 4040759"/>
                    <a:gd name="connsiteY861" fmla="*/ 1435086 h 1475329"/>
                    <a:gd name="connsiteX862" fmla="*/ 2561233 w 4040759"/>
                    <a:gd name="connsiteY862" fmla="*/ 1433595 h 1475329"/>
                    <a:gd name="connsiteX863" fmla="*/ 2559652 w 4040759"/>
                    <a:gd name="connsiteY863" fmla="*/ 1431566 h 1475329"/>
                    <a:gd name="connsiteX864" fmla="*/ 2558975 w 4040759"/>
                    <a:gd name="connsiteY864" fmla="*/ 1429471 h 1475329"/>
                    <a:gd name="connsiteX865" fmla="*/ 2560401 w 4040759"/>
                    <a:gd name="connsiteY865" fmla="*/ 1428363 h 1475329"/>
                    <a:gd name="connsiteX866" fmla="*/ 2560206 w 4040759"/>
                    <a:gd name="connsiteY866" fmla="*/ 1426439 h 1475329"/>
                    <a:gd name="connsiteX867" fmla="*/ 2558821 w 4040759"/>
                    <a:gd name="connsiteY867" fmla="*/ 1424679 h 1475329"/>
                    <a:gd name="connsiteX868" fmla="*/ 2556791 w 4040759"/>
                    <a:gd name="connsiteY868" fmla="*/ 1424288 h 1475329"/>
                    <a:gd name="connsiteX869" fmla="*/ 2556319 w 4040759"/>
                    <a:gd name="connsiteY869" fmla="*/ 1423791 h 1475329"/>
                    <a:gd name="connsiteX870" fmla="*/ 2556449 w 4040759"/>
                    <a:gd name="connsiteY870" fmla="*/ 1422862 h 1475329"/>
                    <a:gd name="connsiteX871" fmla="*/ 2557133 w 4040759"/>
                    <a:gd name="connsiteY871" fmla="*/ 1421876 h 1475329"/>
                    <a:gd name="connsiteX872" fmla="*/ 2558136 w 4040759"/>
                    <a:gd name="connsiteY872" fmla="*/ 1421061 h 1475329"/>
                    <a:gd name="connsiteX873" fmla="*/ 2560222 w 4040759"/>
                    <a:gd name="connsiteY873" fmla="*/ 1419944 h 1475329"/>
                    <a:gd name="connsiteX874" fmla="*/ 2563824 w 4040759"/>
                    <a:gd name="connsiteY874" fmla="*/ 1419105 h 1475329"/>
                    <a:gd name="connsiteX875" fmla="*/ 2565837 w 4040759"/>
                    <a:gd name="connsiteY875" fmla="*/ 1418371 h 1475329"/>
                    <a:gd name="connsiteX876" fmla="*/ 2567443 w 4040759"/>
                    <a:gd name="connsiteY876" fmla="*/ 1418151 h 1475329"/>
                    <a:gd name="connsiteX877" fmla="*/ 2569301 w 4040759"/>
                    <a:gd name="connsiteY877" fmla="*/ 1418551 h 1475329"/>
                    <a:gd name="connsiteX878" fmla="*/ 2570849 w 4040759"/>
                    <a:gd name="connsiteY878" fmla="*/ 1417467 h 1475329"/>
                    <a:gd name="connsiteX879" fmla="*/ 2572414 w 4040759"/>
                    <a:gd name="connsiteY879" fmla="*/ 1416807 h 1475329"/>
                    <a:gd name="connsiteX880" fmla="*/ 2572781 w 4040759"/>
                    <a:gd name="connsiteY880" fmla="*/ 1414940 h 1475329"/>
                    <a:gd name="connsiteX881" fmla="*/ 2572838 w 4040759"/>
                    <a:gd name="connsiteY881" fmla="*/ 1412104 h 1475329"/>
                    <a:gd name="connsiteX882" fmla="*/ 2573416 w 4040759"/>
                    <a:gd name="connsiteY882" fmla="*/ 1411265 h 1475329"/>
                    <a:gd name="connsiteX883" fmla="*/ 2574077 w 4040759"/>
                    <a:gd name="connsiteY883" fmla="*/ 1410050 h 1475329"/>
                    <a:gd name="connsiteX884" fmla="*/ 2575063 w 4040759"/>
                    <a:gd name="connsiteY884" fmla="*/ 1408502 h 1475329"/>
                    <a:gd name="connsiteX885" fmla="*/ 2575968 w 4040759"/>
                    <a:gd name="connsiteY885" fmla="*/ 1404509 h 1475329"/>
                    <a:gd name="connsiteX886" fmla="*/ 2576644 w 4040759"/>
                    <a:gd name="connsiteY886" fmla="*/ 1401738 h 1475329"/>
                    <a:gd name="connsiteX887" fmla="*/ 2577100 w 4040759"/>
                    <a:gd name="connsiteY887" fmla="*/ 1400336 h 1475329"/>
                    <a:gd name="connsiteX888" fmla="*/ 2577198 w 4040759"/>
                    <a:gd name="connsiteY888" fmla="*/ 1398429 h 1475329"/>
                    <a:gd name="connsiteX889" fmla="*/ 2576766 w 4040759"/>
                    <a:gd name="connsiteY889" fmla="*/ 1397182 h 1475329"/>
                    <a:gd name="connsiteX890" fmla="*/ 2575894 w 4040759"/>
                    <a:gd name="connsiteY890" fmla="*/ 1396432 h 1475329"/>
                    <a:gd name="connsiteX891" fmla="*/ 2575234 w 4040759"/>
                    <a:gd name="connsiteY891" fmla="*/ 1395919 h 1475329"/>
                    <a:gd name="connsiteX892" fmla="*/ 2575169 w 4040759"/>
                    <a:gd name="connsiteY892" fmla="*/ 1393775 h 1475329"/>
                    <a:gd name="connsiteX893" fmla="*/ 2575258 w 4040759"/>
                    <a:gd name="connsiteY893" fmla="*/ 1390858 h 1475329"/>
                    <a:gd name="connsiteX894" fmla="*/ 2575030 w 4040759"/>
                    <a:gd name="connsiteY894" fmla="*/ 1388991 h 1475329"/>
                    <a:gd name="connsiteX895" fmla="*/ 2575992 w 4040759"/>
                    <a:gd name="connsiteY895" fmla="*/ 1378617 h 1475329"/>
                    <a:gd name="connsiteX896" fmla="*/ 2577043 w 4040759"/>
                    <a:gd name="connsiteY896" fmla="*/ 1376229 h 1475329"/>
                    <a:gd name="connsiteX897" fmla="*/ 2573824 w 4040759"/>
                    <a:gd name="connsiteY897" fmla="*/ 1362358 h 1475329"/>
                    <a:gd name="connsiteX898" fmla="*/ 2572862 w 4040759"/>
                    <a:gd name="connsiteY898" fmla="*/ 1357933 h 1475329"/>
                    <a:gd name="connsiteX899" fmla="*/ 2572211 w 4040759"/>
                    <a:gd name="connsiteY899" fmla="*/ 1355692 h 1475329"/>
                    <a:gd name="connsiteX900" fmla="*/ 2570801 w 4040759"/>
                    <a:gd name="connsiteY900" fmla="*/ 1352424 h 1475329"/>
                    <a:gd name="connsiteX901" fmla="*/ 2569912 w 4040759"/>
                    <a:gd name="connsiteY901" fmla="*/ 1350785 h 1475329"/>
                    <a:gd name="connsiteX902" fmla="*/ 2570254 w 4040759"/>
                    <a:gd name="connsiteY902" fmla="*/ 1349229 h 1475329"/>
                    <a:gd name="connsiteX903" fmla="*/ 2571526 w 4040759"/>
                    <a:gd name="connsiteY903" fmla="*/ 1347664 h 1475329"/>
                    <a:gd name="connsiteX904" fmla="*/ 2572748 w 4040759"/>
                    <a:gd name="connsiteY904" fmla="*/ 1346923 h 1475329"/>
                    <a:gd name="connsiteX905" fmla="*/ 2576359 w 4040759"/>
                    <a:gd name="connsiteY905" fmla="*/ 1346572 h 1475329"/>
                    <a:gd name="connsiteX906" fmla="*/ 2577361 w 4040759"/>
                    <a:gd name="connsiteY906" fmla="*/ 1346010 h 1475329"/>
                    <a:gd name="connsiteX907" fmla="*/ 2581795 w 4040759"/>
                    <a:gd name="connsiteY907" fmla="*/ 1344331 h 1475329"/>
                    <a:gd name="connsiteX908" fmla="*/ 2582797 w 4040759"/>
                    <a:gd name="connsiteY908" fmla="*/ 1343312 h 1475329"/>
                    <a:gd name="connsiteX909" fmla="*/ 2585063 w 4040759"/>
                    <a:gd name="connsiteY909" fmla="*/ 1340843 h 1475329"/>
                    <a:gd name="connsiteX910" fmla="*/ 2585935 w 4040759"/>
                    <a:gd name="connsiteY910" fmla="*/ 1338977 h 1475329"/>
                    <a:gd name="connsiteX911" fmla="*/ 2586929 w 4040759"/>
                    <a:gd name="connsiteY911" fmla="*/ 1336564 h 1475329"/>
                    <a:gd name="connsiteX912" fmla="*/ 2589105 w 4040759"/>
                    <a:gd name="connsiteY912" fmla="*/ 1335252 h 1475329"/>
                    <a:gd name="connsiteX913" fmla="*/ 2590417 w 4040759"/>
                    <a:gd name="connsiteY913" fmla="*/ 1333052 h 1475329"/>
                    <a:gd name="connsiteX914" fmla="*/ 2591843 w 4040759"/>
                    <a:gd name="connsiteY914" fmla="*/ 1332294 h 1475329"/>
                    <a:gd name="connsiteX915" fmla="*/ 2593261 w 4040759"/>
                    <a:gd name="connsiteY915" fmla="*/ 1334160 h 1475329"/>
                    <a:gd name="connsiteX916" fmla="*/ 2594956 w 4040759"/>
                    <a:gd name="connsiteY916" fmla="*/ 1335211 h 1475329"/>
                    <a:gd name="connsiteX917" fmla="*/ 2597190 w 4040759"/>
                    <a:gd name="connsiteY917" fmla="*/ 1335839 h 1475329"/>
                    <a:gd name="connsiteX918" fmla="*/ 2600001 w 4040759"/>
                    <a:gd name="connsiteY918" fmla="*/ 1336638 h 1475329"/>
                    <a:gd name="connsiteX919" fmla="*/ 2604516 w 4040759"/>
                    <a:gd name="connsiteY919" fmla="*/ 1338162 h 1475329"/>
                    <a:gd name="connsiteX920" fmla="*/ 2609121 w 4040759"/>
                    <a:gd name="connsiteY920" fmla="*/ 1339466 h 1475329"/>
                    <a:gd name="connsiteX921" fmla="*/ 2612030 w 4040759"/>
                    <a:gd name="connsiteY921" fmla="*/ 1340484 h 1475329"/>
                    <a:gd name="connsiteX922" fmla="*/ 2613448 w 4040759"/>
                    <a:gd name="connsiteY922" fmla="*/ 1340949 h 1475329"/>
                    <a:gd name="connsiteX923" fmla="*/ 2616317 w 4040759"/>
                    <a:gd name="connsiteY923" fmla="*/ 1341625 h 1475329"/>
                    <a:gd name="connsiteX924" fmla="*/ 2617556 w 4040759"/>
                    <a:gd name="connsiteY924" fmla="*/ 1342155 h 1475329"/>
                    <a:gd name="connsiteX925" fmla="*/ 2618721 w 4040759"/>
                    <a:gd name="connsiteY925" fmla="*/ 1342717 h 1475329"/>
                    <a:gd name="connsiteX926" fmla="*/ 2620604 w 4040759"/>
                    <a:gd name="connsiteY926" fmla="*/ 1341161 h 1475329"/>
                    <a:gd name="connsiteX927" fmla="*/ 2623130 w 4040759"/>
                    <a:gd name="connsiteY927" fmla="*/ 1339189 h 1475329"/>
                    <a:gd name="connsiteX928" fmla="*/ 2622714 w 4040759"/>
                    <a:gd name="connsiteY928" fmla="*/ 1336035 h 1475329"/>
                    <a:gd name="connsiteX929" fmla="*/ 2623122 w 4040759"/>
                    <a:gd name="connsiteY929" fmla="*/ 1332489 h 1475329"/>
                    <a:gd name="connsiteX930" fmla="*/ 2624931 w 4040759"/>
                    <a:gd name="connsiteY930" fmla="*/ 1326385 h 1475329"/>
                    <a:gd name="connsiteX931" fmla="*/ 2626936 w 4040759"/>
                    <a:gd name="connsiteY931" fmla="*/ 1324609 h 1475329"/>
                    <a:gd name="connsiteX932" fmla="*/ 2627995 w 4040759"/>
                    <a:gd name="connsiteY932" fmla="*/ 1324332 h 1475329"/>
                    <a:gd name="connsiteX933" fmla="*/ 2629120 w 4040759"/>
                    <a:gd name="connsiteY933" fmla="*/ 1323655 h 1475329"/>
                    <a:gd name="connsiteX934" fmla="*/ 2631141 w 4040759"/>
                    <a:gd name="connsiteY934" fmla="*/ 1322514 h 1475329"/>
                    <a:gd name="connsiteX935" fmla="*/ 2631866 w 4040759"/>
                    <a:gd name="connsiteY935" fmla="*/ 1320876 h 1475329"/>
                    <a:gd name="connsiteX936" fmla="*/ 2631451 w 4040759"/>
                    <a:gd name="connsiteY936" fmla="*/ 1318977 h 1475329"/>
                    <a:gd name="connsiteX937" fmla="*/ 2632111 w 4040759"/>
                    <a:gd name="connsiteY937" fmla="*/ 1317127 h 1475329"/>
                    <a:gd name="connsiteX938" fmla="*/ 2632331 w 4040759"/>
                    <a:gd name="connsiteY938" fmla="*/ 1315261 h 1475329"/>
                    <a:gd name="connsiteX939" fmla="*/ 2633040 w 4040759"/>
                    <a:gd name="connsiteY939" fmla="*/ 1312849 h 1475329"/>
                    <a:gd name="connsiteX940" fmla="*/ 2633985 w 4040759"/>
                    <a:gd name="connsiteY940" fmla="*/ 1312180 h 1475329"/>
                    <a:gd name="connsiteX941" fmla="*/ 2635396 w 4040759"/>
                    <a:gd name="connsiteY941" fmla="*/ 1311382 h 1475329"/>
                    <a:gd name="connsiteX942" fmla="*/ 2636373 w 4040759"/>
                    <a:gd name="connsiteY942" fmla="*/ 1310151 h 1475329"/>
                    <a:gd name="connsiteX943" fmla="*/ 2637319 w 4040759"/>
                    <a:gd name="connsiteY943" fmla="*/ 1308252 h 1475329"/>
                    <a:gd name="connsiteX944" fmla="*/ 2637946 w 4040759"/>
                    <a:gd name="connsiteY944" fmla="*/ 1306109 h 1475329"/>
                    <a:gd name="connsiteX945" fmla="*/ 2637686 w 4040759"/>
                    <a:gd name="connsiteY945" fmla="*/ 1303623 h 1475329"/>
                    <a:gd name="connsiteX946" fmla="*/ 2638924 w 4040759"/>
                    <a:gd name="connsiteY946" fmla="*/ 1301993 h 1475329"/>
                    <a:gd name="connsiteX947" fmla="*/ 2640978 w 4040759"/>
                    <a:gd name="connsiteY947" fmla="*/ 1300640 h 1475329"/>
                    <a:gd name="connsiteX948" fmla="*/ 2641670 w 4040759"/>
                    <a:gd name="connsiteY948" fmla="*/ 1299801 h 1475329"/>
                    <a:gd name="connsiteX949" fmla="*/ 2642013 w 4040759"/>
                    <a:gd name="connsiteY949" fmla="*/ 1297641 h 1475329"/>
                    <a:gd name="connsiteX950" fmla="*/ 2642144 w 4040759"/>
                    <a:gd name="connsiteY950" fmla="*/ 1296679 h 1475329"/>
                    <a:gd name="connsiteX951" fmla="*/ 2642706 w 4040759"/>
                    <a:gd name="connsiteY951" fmla="*/ 1295579 h 1475329"/>
                    <a:gd name="connsiteX952" fmla="*/ 2642306 w 4040759"/>
                    <a:gd name="connsiteY952" fmla="*/ 1293330 h 1475329"/>
                    <a:gd name="connsiteX953" fmla="*/ 2641809 w 4040759"/>
                    <a:gd name="connsiteY953" fmla="*/ 1290901 h 1475329"/>
                    <a:gd name="connsiteX954" fmla="*/ 2644059 w 4040759"/>
                    <a:gd name="connsiteY954" fmla="*/ 1286810 h 1475329"/>
                    <a:gd name="connsiteX955" fmla="*/ 2645680 w 4040759"/>
                    <a:gd name="connsiteY955" fmla="*/ 1283306 h 1475329"/>
                    <a:gd name="connsiteX956" fmla="*/ 2646080 w 4040759"/>
                    <a:gd name="connsiteY956" fmla="*/ 1278147 h 1475329"/>
                    <a:gd name="connsiteX957" fmla="*/ 2646259 w 4040759"/>
                    <a:gd name="connsiteY957" fmla="*/ 1277299 h 1475329"/>
                    <a:gd name="connsiteX958" fmla="*/ 2646886 w 4040759"/>
                    <a:gd name="connsiteY958" fmla="*/ 1274854 h 1475329"/>
                    <a:gd name="connsiteX959" fmla="*/ 2647253 w 4040759"/>
                    <a:gd name="connsiteY959" fmla="*/ 1273877 h 1475329"/>
                    <a:gd name="connsiteX960" fmla="*/ 2648509 w 4040759"/>
                    <a:gd name="connsiteY960" fmla="*/ 1270641 h 1475329"/>
                    <a:gd name="connsiteX961" fmla="*/ 2650138 w 4040759"/>
                    <a:gd name="connsiteY961" fmla="*/ 1268538 h 1475329"/>
                    <a:gd name="connsiteX962" fmla="*/ 2649812 w 4040759"/>
                    <a:gd name="connsiteY962" fmla="*/ 1266183 h 1475329"/>
                    <a:gd name="connsiteX963" fmla="*/ 2649152 w 4040759"/>
                    <a:gd name="connsiteY963" fmla="*/ 1263877 h 1475329"/>
                    <a:gd name="connsiteX964" fmla="*/ 2649275 w 4040759"/>
                    <a:gd name="connsiteY964" fmla="*/ 1262328 h 1475329"/>
                    <a:gd name="connsiteX965" fmla="*/ 2650709 w 4040759"/>
                    <a:gd name="connsiteY965" fmla="*/ 1260535 h 1475329"/>
                    <a:gd name="connsiteX966" fmla="*/ 2651565 w 4040759"/>
                    <a:gd name="connsiteY966" fmla="*/ 1259631 h 1475329"/>
                    <a:gd name="connsiteX967" fmla="*/ 2652331 w 4040759"/>
                    <a:gd name="connsiteY967" fmla="*/ 1258359 h 1475329"/>
                    <a:gd name="connsiteX968" fmla="*/ 2653545 w 4040759"/>
                    <a:gd name="connsiteY968" fmla="*/ 1257781 h 1475329"/>
                    <a:gd name="connsiteX969" fmla="*/ 2654604 w 4040759"/>
                    <a:gd name="connsiteY969" fmla="*/ 1257471 h 1475329"/>
                    <a:gd name="connsiteX970" fmla="*/ 2657106 w 4040759"/>
                    <a:gd name="connsiteY970" fmla="*/ 1257145 h 1475329"/>
                    <a:gd name="connsiteX971" fmla="*/ 2658557 w 4040759"/>
                    <a:gd name="connsiteY971" fmla="*/ 1255800 h 1475329"/>
                    <a:gd name="connsiteX972" fmla="*/ 2659901 w 4040759"/>
                    <a:gd name="connsiteY972" fmla="*/ 1254415 h 1475329"/>
                    <a:gd name="connsiteX973" fmla="*/ 2662379 w 4040759"/>
                    <a:gd name="connsiteY973" fmla="*/ 1250805 h 1475329"/>
                    <a:gd name="connsiteX974" fmla="*/ 2663169 w 4040759"/>
                    <a:gd name="connsiteY974" fmla="*/ 1248669 h 1475329"/>
                    <a:gd name="connsiteX975" fmla="*/ 2663781 w 4040759"/>
                    <a:gd name="connsiteY975" fmla="*/ 1247569 h 1475329"/>
                    <a:gd name="connsiteX976" fmla="*/ 2662444 w 4040759"/>
                    <a:gd name="connsiteY976" fmla="*/ 1244489 h 1475329"/>
                    <a:gd name="connsiteX977" fmla="*/ 2661246 w 4040759"/>
                    <a:gd name="connsiteY977" fmla="*/ 1241872 h 1475329"/>
                    <a:gd name="connsiteX978" fmla="*/ 2659780 w 4040759"/>
                    <a:gd name="connsiteY978" fmla="*/ 1238254 h 1475329"/>
                    <a:gd name="connsiteX979" fmla="*/ 2659152 w 4040759"/>
                    <a:gd name="connsiteY979" fmla="*/ 1236559 h 1475329"/>
                    <a:gd name="connsiteX980" fmla="*/ 2660138 w 4040759"/>
                    <a:gd name="connsiteY980" fmla="*/ 1234391 h 1475329"/>
                    <a:gd name="connsiteX981" fmla="*/ 2661165 w 4040759"/>
                    <a:gd name="connsiteY981" fmla="*/ 1233054 h 1475329"/>
                    <a:gd name="connsiteX982" fmla="*/ 2661719 w 4040759"/>
                    <a:gd name="connsiteY982" fmla="*/ 1231865 h 1475329"/>
                    <a:gd name="connsiteX983" fmla="*/ 2662005 w 4040759"/>
                    <a:gd name="connsiteY983" fmla="*/ 1229811 h 1475329"/>
                    <a:gd name="connsiteX984" fmla="*/ 2661621 w 4040759"/>
                    <a:gd name="connsiteY984" fmla="*/ 1228246 h 1475329"/>
                    <a:gd name="connsiteX985" fmla="*/ 2659095 w 4040759"/>
                    <a:gd name="connsiteY985" fmla="*/ 1225809 h 1475329"/>
                    <a:gd name="connsiteX986" fmla="*/ 2656430 w 4040759"/>
                    <a:gd name="connsiteY986" fmla="*/ 1224603 h 1475329"/>
                    <a:gd name="connsiteX987" fmla="*/ 2653423 w 4040759"/>
                    <a:gd name="connsiteY987" fmla="*/ 1224114 h 1475329"/>
                    <a:gd name="connsiteX988" fmla="*/ 2652396 w 4040759"/>
                    <a:gd name="connsiteY988" fmla="*/ 1223951 h 1475329"/>
                    <a:gd name="connsiteX989" fmla="*/ 2650220 w 4040759"/>
                    <a:gd name="connsiteY989" fmla="*/ 1224432 h 1475329"/>
                    <a:gd name="connsiteX990" fmla="*/ 2641206 w 4040759"/>
                    <a:gd name="connsiteY990" fmla="*/ 1227529 h 1475329"/>
                    <a:gd name="connsiteX991" fmla="*/ 2636976 w 4040759"/>
                    <a:gd name="connsiteY991" fmla="*/ 1229909 h 1475329"/>
                    <a:gd name="connsiteX992" fmla="*/ 2634539 w 4040759"/>
                    <a:gd name="connsiteY992" fmla="*/ 1232590 h 1475329"/>
                    <a:gd name="connsiteX993" fmla="*/ 2631924 w 4040759"/>
                    <a:gd name="connsiteY993" fmla="*/ 1233886 h 1475329"/>
                    <a:gd name="connsiteX994" fmla="*/ 2627784 w 4040759"/>
                    <a:gd name="connsiteY994" fmla="*/ 1233723 h 1475329"/>
                    <a:gd name="connsiteX995" fmla="*/ 2623888 w 4040759"/>
                    <a:gd name="connsiteY995" fmla="*/ 1233576 h 1475329"/>
                    <a:gd name="connsiteX996" fmla="*/ 2620807 w 4040759"/>
                    <a:gd name="connsiteY996" fmla="*/ 1235059 h 1475329"/>
                    <a:gd name="connsiteX997" fmla="*/ 2617262 w 4040759"/>
                    <a:gd name="connsiteY997" fmla="*/ 1238124 h 1475329"/>
                    <a:gd name="connsiteX998" fmla="*/ 2614679 w 4040759"/>
                    <a:gd name="connsiteY998" fmla="*/ 1239517 h 1475329"/>
                    <a:gd name="connsiteX999" fmla="*/ 2613049 w 4040759"/>
                    <a:gd name="connsiteY999" fmla="*/ 1239256 h 1475329"/>
                    <a:gd name="connsiteX1000" fmla="*/ 2611305 w 4040759"/>
                    <a:gd name="connsiteY1000" fmla="*/ 1241310 h 1475329"/>
                    <a:gd name="connsiteX1001" fmla="*/ 2609447 w 4040759"/>
                    <a:gd name="connsiteY1001" fmla="*/ 1245662 h 1475329"/>
                    <a:gd name="connsiteX1002" fmla="*/ 2607328 w 4040759"/>
                    <a:gd name="connsiteY1002" fmla="*/ 1247585 h 1475329"/>
                    <a:gd name="connsiteX1003" fmla="*/ 2604940 w 4040759"/>
                    <a:gd name="connsiteY1003" fmla="*/ 1247064 h 1475329"/>
                    <a:gd name="connsiteX1004" fmla="*/ 2599235 w 4040759"/>
                    <a:gd name="connsiteY1004" fmla="*/ 1247471 h 1475329"/>
                    <a:gd name="connsiteX1005" fmla="*/ 2590181 w 4040759"/>
                    <a:gd name="connsiteY1005" fmla="*/ 1248816 h 1475329"/>
                    <a:gd name="connsiteX1006" fmla="*/ 2584516 w 4040759"/>
                    <a:gd name="connsiteY1006" fmla="*/ 1248751 h 1475329"/>
                    <a:gd name="connsiteX1007" fmla="*/ 2582235 w 4040759"/>
                    <a:gd name="connsiteY1007" fmla="*/ 1247308 h 1475329"/>
                    <a:gd name="connsiteX1008" fmla="*/ 2578632 w 4040759"/>
                    <a:gd name="connsiteY1008" fmla="*/ 1247121 h 1475329"/>
                    <a:gd name="connsiteX1009" fmla="*/ 2573734 w 4040759"/>
                    <a:gd name="connsiteY1009" fmla="*/ 1248205 h 1475329"/>
                    <a:gd name="connsiteX1010" fmla="*/ 2570776 w 4040759"/>
                    <a:gd name="connsiteY1010" fmla="*/ 1248425 h 1475329"/>
                    <a:gd name="connsiteX1011" fmla="*/ 2569757 w 4040759"/>
                    <a:gd name="connsiteY1011" fmla="*/ 1247781 h 1475329"/>
                    <a:gd name="connsiteX1012" fmla="*/ 2569040 w 4040759"/>
                    <a:gd name="connsiteY1012" fmla="*/ 1245972 h 1475329"/>
                    <a:gd name="connsiteX1013" fmla="*/ 2568616 w 4040759"/>
                    <a:gd name="connsiteY1013" fmla="*/ 1242997 h 1475329"/>
                    <a:gd name="connsiteX1014" fmla="*/ 2566962 w 4040759"/>
                    <a:gd name="connsiteY1014" fmla="*/ 1239892 h 1475329"/>
                    <a:gd name="connsiteX1015" fmla="*/ 2564069 w 4040759"/>
                    <a:gd name="connsiteY1015" fmla="*/ 1236673 h 1475329"/>
                    <a:gd name="connsiteX1016" fmla="*/ 2563572 w 4040759"/>
                    <a:gd name="connsiteY1016" fmla="*/ 1232786 h 1475329"/>
                    <a:gd name="connsiteX1017" fmla="*/ 2565430 w 4040759"/>
                    <a:gd name="connsiteY1017" fmla="*/ 1228222 h 1475329"/>
                    <a:gd name="connsiteX1018" fmla="*/ 2565862 w 4040759"/>
                    <a:gd name="connsiteY1018" fmla="*/ 1225100 h 1475329"/>
                    <a:gd name="connsiteX1019" fmla="*/ 2564843 w 4040759"/>
                    <a:gd name="connsiteY1019" fmla="*/ 1223413 h 1475329"/>
                    <a:gd name="connsiteX1020" fmla="*/ 2564428 w 4040759"/>
                    <a:gd name="connsiteY1020" fmla="*/ 1221906 h 1475329"/>
                    <a:gd name="connsiteX1021" fmla="*/ 2562251 w 4040759"/>
                    <a:gd name="connsiteY1021" fmla="*/ 1219999 h 1475329"/>
                    <a:gd name="connsiteX1022" fmla="*/ 2560728 w 4040759"/>
                    <a:gd name="connsiteY1022" fmla="*/ 1216706 h 1475329"/>
                    <a:gd name="connsiteX1023" fmla="*/ 2559603 w 4040759"/>
                    <a:gd name="connsiteY1023" fmla="*/ 1215704 h 1475329"/>
                    <a:gd name="connsiteX1024" fmla="*/ 2559937 w 4040759"/>
                    <a:gd name="connsiteY1024" fmla="*/ 1212900 h 1475329"/>
                    <a:gd name="connsiteX1025" fmla="*/ 2561217 w 4040759"/>
                    <a:gd name="connsiteY1025" fmla="*/ 1209543 h 1475329"/>
                    <a:gd name="connsiteX1026" fmla="*/ 2559619 w 4040759"/>
                    <a:gd name="connsiteY1026" fmla="*/ 1206372 h 1475329"/>
                    <a:gd name="connsiteX1027" fmla="*/ 2554721 w 4040759"/>
                    <a:gd name="connsiteY1027" fmla="*/ 1206177 h 1475329"/>
                    <a:gd name="connsiteX1028" fmla="*/ 2550768 w 4040759"/>
                    <a:gd name="connsiteY1028" fmla="*/ 1205272 h 1475329"/>
                    <a:gd name="connsiteX1029" fmla="*/ 2546832 w 4040759"/>
                    <a:gd name="connsiteY1029" fmla="*/ 1202354 h 1475329"/>
                    <a:gd name="connsiteX1030" fmla="*/ 2540761 w 4040759"/>
                    <a:gd name="connsiteY1030" fmla="*/ 1194156 h 1475329"/>
                    <a:gd name="connsiteX1031" fmla="*/ 2537761 w 4040759"/>
                    <a:gd name="connsiteY1031" fmla="*/ 1191271 h 1475329"/>
                    <a:gd name="connsiteX1032" fmla="*/ 2535773 w 4040759"/>
                    <a:gd name="connsiteY1032" fmla="*/ 1190977 h 1475329"/>
                    <a:gd name="connsiteX1033" fmla="*/ 2534347 w 4040759"/>
                    <a:gd name="connsiteY1033" fmla="*/ 1189641 h 1475329"/>
                    <a:gd name="connsiteX1034" fmla="*/ 2533459 w 4040759"/>
                    <a:gd name="connsiteY1034" fmla="*/ 1187269 h 1475329"/>
                    <a:gd name="connsiteX1035" fmla="*/ 2532032 w 4040759"/>
                    <a:gd name="connsiteY1035" fmla="*/ 1187245 h 1475329"/>
                    <a:gd name="connsiteX1036" fmla="*/ 2530647 w 4040759"/>
                    <a:gd name="connsiteY1036" fmla="*/ 1187245 h 1475329"/>
                    <a:gd name="connsiteX1037" fmla="*/ 2529791 w 4040759"/>
                    <a:gd name="connsiteY1037" fmla="*/ 1188231 h 1475329"/>
                    <a:gd name="connsiteX1038" fmla="*/ 2528797 w 4040759"/>
                    <a:gd name="connsiteY1038" fmla="*/ 1188541 h 1475329"/>
                    <a:gd name="connsiteX1039" fmla="*/ 2527265 w 4040759"/>
                    <a:gd name="connsiteY1039" fmla="*/ 1187644 h 1475329"/>
                    <a:gd name="connsiteX1040" fmla="*/ 2525700 w 4040759"/>
                    <a:gd name="connsiteY1040" fmla="*/ 1187538 h 1475329"/>
                    <a:gd name="connsiteX1041" fmla="*/ 2524086 w 4040759"/>
                    <a:gd name="connsiteY1041" fmla="*/ 1188239 h 1475329"/>
                    <a:gd name="connsiteX1042" fmla="*/ 2522725 w 4040759"/>
                    <a:gd name="connsiteY1042" fmla="*/ 1187783 h 1475329"/>
                    <a:gd name="connsiteX1043" fmla="*/ 2521609 w 4040759"/>
                    <a:gd name="connsiteY1043" fmla="*/ 1186169 h 1475329"/>
                    <a:gd name="connsiteX1044" fmla="*/ 2519571 w 4040759"/>
                    <a:gd name="connsiteY1044" fmla="*/ 1185085 h 1475329"/>
                    <a:gd name="connsiteX1045" fmla="*/ 2516621 w 4040759"/>
                    <a:gd name="connsiteY1045" fmla="*/ 1184556 h 1475329"/>
                    <a:gd name="connsiteX1046" fmla="*/ 2515407 w 4040759"/>
                    <a:gd name="connsiteY1046" fmla="*/ 1183431 h 1475329"/>
                    <a:gd name="connsiteX1047" fmla="*/ 2515920 w 4040759"/>
                    <a:gd name="connsiteY1047" fmla="*/ 1181719 h 1475329"/>
                    <a:gd name="connsiteX1048" fmla="*/ 2515375 w 4040759"/>
                    <a:gd name="connsiteY1048" fmla="*/ 1180448 h 1475329"/>
                    <a:gd name="connsiteX1049" fmla="*/ 2513769 w 4040759"/>
                    <a:gd name="connsiteY1049" fmla="*/ 1179600 h 1475329"/>
                    <a:gd name="connsiteX1050" fmla="*/ 2509360 w 4040759"/>
                    <a:gd name="connsiteY1050" fmla="*/ 1179812 h 1475329"/>
                    <a:gd name="connsiteX1051" fmla="*/ 2502180 w 4040759"/>
                    <a:gd name="connsiteY1051" fmla="*/ 1181084 h 1475329"/>
                    <a:gd name="connsiteX1052" fmla="*/ 2496296 w 4040759"/>
                    <a:gd name="connsiteY1052" fmla="*/ 1180741 h 1475329"/>
                    <a:gd name="connsiteX1053" fmla="*/ 2491691 w 4040759"/>
                    <a:gd name="connsiteY1053" fmla="*/ 1178802 h 1475329"/>
                    <a:gd name="connsiteX1054" fmla="*/ 2489140 w 4040759"/>
                    <a:gd name="connsiteY1054" fmla="*/ 1177009 h 1475329"/>
                    <a:gd name="connsiteX1055" fmla="*/ 2488619 w 4040759"/>
                    <a:gd name="connsiteY1055" fmla="*/ 1175363 h 1475329"/>
                    <a:gd name="connsiteX1056" fmla="*/ 2487290 w 4040759"/>
                    <a:gd name="connsiteY1056" fmla="*/ 1173782 h 1475329"/>
                    <a:gd name="connsiteX1057" fmla="*/ 2485163 w 4040759"/>
                    <a:gd name="connsiteY1057" fmla="*/ 1172266 h 1475329"/>
                    <a:gd name="connsiteX1058" fmla="*/ 2483965 w 4040759"/>
                    <a:gd name="connsiteY1058" fmla="*/ 1169658 h 1475329"/>
                    <a:gd name="connsiteX1059" fmla="*/ 2483704 w 4040759"/>
                    <a:gd name="connsiteY1059" fmla="*/ 1165958 h 1475329"/>
                    <a:gd name="connsiteX1060" fmla="*/ 2484202 w 4040759"/>
                    <a:gd name="connsiteY1060" fmla="*/ 1162437 h 1475329"/>
                    <a:gd name="connsiteX1061" fmla="*/ 2486141 w 4040759"/>
                    <a:gd name="connsiteY1061" fmla="*/ 1157425 h 1475329"/>
                    <a:gd name="connsiteX1062" fmla="*/ 2481308 w 4040759"/>
                    <a:gd name="connsiteY1062" fmla="*/ 1154157 h 1475329"/>
                    <a:gd name="connsiteX1063" fmla="*/ 2479866 w 4040759"/>
                    <a:gd name="connsiteY1063" fmla="*/ 1152274 h 1475329"/>
                    <a:gd name="connsiteX1064" fmla="*/ 2480208 w 4040759"/>
                    <a:gd name="connsiteY1064" fmla="*/ 1150685 h 1475329"/>
                    <a:gd name="connsiteX1065" fmla="*/ 2479947 w 4040759"/>
                    <a:gd name="connsiteY1065" fmla="*/ 1149422 h 1475329"/>
                    <a:gd name="connsiteX1066" fmla="*/ 2479084 w 4040759"/>
                    <a:gd name="connsiteY1066" fmla="*/ 1148485 h 1475329"/>
                    <a:gd name="connsiteX1067" fmla="*/ 2479140 w 4040759"/>
                    <a:gd name="connsiteY1067" fmla="*/ 1147002 h 1475329"/>
                    <a:gd name="connsiteX1068" fmla="*/ 2480110 w 4040759"/>
                    <a:gd name="connsiteY1068" fmla="*/ 1144956 h 1475329"/>
                    <a:gd name="connsiteX1069" fmla="*/ 2480102 w 4040759"/>
                    <a:gd name="connsiteY1069" fmla="*/ 1142348 h 1475329"/>
                    <a:gd name="connsiteX1070" fmla="*/ 2479108 w 4040759"/>
                    <a:gd name="connsiteY1070" fmla="*/ 1139178 h 1475329"/>
                    <a:gd name="connsiteX1071" fmla="*/ 2476419 w 4040759"/>
                    <a:gd name="connsiteY1071" fmla="*/ 1134712 h 1475329"/>
                    <a:gd name="connsiteX1072" fmla="*/ 2472009 w 4040759"/>
                    <a:gd name="connsiteY1072" fmla="*/ 1128974 h 1475329"/>
                    <a:gd name="connsiteX1073" fmla="*/ 2469638 w 4040759"/>
                    <a:gd name="connsiteY1073" fmla="*/ 1124769 h 1475329"/>
                    <a:gd name="connsiteX1074" fmla="*/ 2469304 w 4040759"/>
                    <a:gd name="connsiteY1074" fmla="*/ 1122112 h 1475329"/>
                    <a:gd name="connsiteX1075" fmla="*/ 2468717 w 4040759"/>
                    <a:gd name="connsiteY1075" fmla="*/ 1119985 h 1475329"/>
                    <a:gd name="connsiteX1076" fmla="*/ 2467886 w 4040759"/>
                    <a:gd name="connsiteY1076" fmla="*/ 1118836 h 1475329"/>
                    <a:gd name="connsiteX1077" fmla="*/ 2467372 w 4040759"/>
                    <a:gd name="connsiteY1077" fmla="*/ 1116864 h 1475329"/>
                    <a:gd name="connsiteX1078" fmla="*/ 2467723 w 4040759"/>
                    <a:gd name="connsiteY1078" fmla="*/ 1114680 h 1475329"/>
                    <a:gd name="connsiteX1079" fmla="*/ 2467209 w 4040759"/>
                    <a:gd name="connsiteY1079" fmla="*/ 1113270 h 1475329"/>
                    <a:gd name="connsiteX1080" fmla="*/ 2466582 w 4040759"/>
                    <a:gd name="connsiteY1080" fmla="*/ 1111958 h 1475329"/>
                    <a:gd name="connsiteX1081" fmla="*/ 2466672 w 4040759"/>
                    <a:gd name="connsiteY1081" fmla="*/ 1109831 h 1475329"/>
                    <a:gd name="connsiteX1082" fmla="*/ 2465906 w 4040759"/>
                    <a:gd name="connsiteY1082" fmla="*/ 1108372 h 1475329"/>
                    <a:gd name="connsiteX1083" fmla="*/ 2464292 w 4040759"/>
                    <a:gd name="connsiteY1083" fmla="*/ 1107589 h 1475329"/>
                    <a:gd name="connsiteX1084" fmla="*/ 2463770 w 4040759"/>
                    <a:gd name="connsiteY1084" fmla="*/ 1105976 h 1475329"/>
                    <a:gd name="connsiteX1085" fmla="*/ 2464080 w 4040759"/>
                    <a:gd name="connsiteY1085" fmla="*/ 1102537 h 1475329"/>
                    <a:gd name="connsiteX1086" fmla="*/ 2462906 w 4040759"/>
                    <a:gd name="connsiteY1086" fmla="*/ 1099643 h 1475329"/>
                    <a:gd name="connsiteX1087" fmla="*/ 2459361 w 4040759"/>
                    <a:gd name="connsiteY1087" fmla="*/ 1094297 h 1475329"/>
                    <a:gd name="connsiteX1088" fmla="*/ 2458310 w 4040759"/>
                    <a:gd name="connsiteY1088" fmla="*/ 1090385 h 1475329"/>
                    <a:gd name="connsiteX1089" fmla="*/ 2458000 w 4040759"/>
                    <a:gd name="connsiteY1089" fmla="*/ 1086856 h 1475329"/>
                    <a:gd name="connsiteX1090" fmla="*/ 2456492 w 4040759"/>
                    <a:gd name="connsiteY1090" fmla="*/ 1085129 h 1475329"/>
                    <a:gd name="connsiteX1091" fmla="*/ 2456403 w 4040759"/>
                    <a:gd name="connsiteY1091" fmla="*/ 1083588 h 1475329"/>
                    <a:gd name="connsiteX1092" fmla="*/ 2456215 w 4040759"/>
                    <a:gd name="connsiteY1092" fmla="*/ 1080915 h 1475329"/>
                    <a:gd name="connsiteX1093" fmla="*/ 2455278 w 4040759"/>
                    <a:gd name="connsiteY1093" fmla="*/ 1080174 h 1475329"/>
                    <a:gd name="connsiteX1094" fmla="*/ 2454740 w 4040759"/>
                    <a:gd name="connsiteY1094" fmla="*/ 1079236 h 1475329"/>
                    <a:gd name="connsiteX1095" fmla="*/ 2455180 w 4040759"/>
                    <a:gd name="connsiteY1095" fmla="*/ 1078112 h 1475329"/>
                    <a:gd name="connsiteX1096" fmla="*/ 2454455 w 4040759"/>
                    <a:gd name="connsiteY1096" fmla="*/ 1076710 h 1475329"/>
                    <a:gd name="connsiteX1097" fmla="*/ 2452589 w 4040759"/>
                    <a:gd name="connsiteY1097" fmla="*/ 1075031 h 1475329"/>
                    <a:gd name="connsiteX1098" fmla="*/ 2451733 w 4040759"/>
                    <a:gd name="connsiteY1098" fmla="*/ 1073581 h 1475329"/>
                    <a:gd name="connsiteX1099" fmla="*/ 2451521 w 4040759"/>
                    <a:gd name="connsiteY1099" fmla="*/ 1072269 h 1475329"/>
                    <a:gd name="connsiteX1100" fmla="*/ 2450576 w 4040759"/>
                    <a:gd name="connsiteY1100" fmla="*/ 1071242 h 1475329"/>
                    <a:gd name="connsiteX1101" fmla="*/ 2447829 w 4040759"/>
                    <a:gd name="connsiteY1101" fmla="*/ 1070247 h 1475329"/>
                    <a:gd name="connsiteX1102" fmla="*/ 2447104 w 4040759"/>
                    <a:gd name="connsiteY1102" fmla="*/ 1068870 h 1475329"/>
                    <a:gd name="connsiteX1103" fmla="*/ 2447275 w 4040759"/>
                    <a:gd name="connsiteY1103" fmla="*/ 1067656 h 1475329"/>
                    <a:gd name="connsiteX1104" fmla="*/ 2447862 w 4040759"/>
                    <a:gd name="connsiteY1104" fmla="*/ 1066515 h 1475329"/>
                    <a:gd name="connsiteX1105" fmla="*/ 2448188 w 4040759"/>
                    <a:gd name="connsiteY1105" fmla="*/ 1065822 h 1475329"/>
                    <a:gd name="connsiteX1106" fmla="*/ 2448090 w 4040759"/>
                    <a:gd name="connsiteY1106" fmla="*/ 1064934 h 1475329"/>
                    <a:gd name="connsiteX1107" fmla="*/ 2447894 w 4040759"/>
                    <a:gd name="connsiteY1107" fmla="*/ 1064053 h 1475329"/>
                    <a:gd name="connsiteX1108" fmla="*/ 2446803 w 4040759"/>
                    <a:gd name="connsiteY1108" fmla="*/ 1062994 h 1475329"/>
                    <a:gd name="connsiteX1109" fmla="*/ 2445246 w 4040759"/>
                    <a:gd name="connsiteY1109" fmla="*/ 1061772 h 1475329"/>
                    <a:gd name="connsiteX1110" fmla="*/ 2443518 w 4040759"/>
                    <a:gd name="connsiteY1110" fmla="*/ 1059123 h 1475329"/>
                    <a:gd name="connsiteX1111" fmla="*/ 2441318 w 4040759"/>
                    <a:gd name="connsiteY1111" fmla="*/ 1058406 h 1475329"/>
                    <a:gd name="connsiteX1112" fmla="*/ 2439957 w 4040759"/>
                    <a:gd name="connsiteY1112" fmla="*/ 1058406 h 1475329"/>
                    <a:gd name="connsiteX1113" fmla="*/ 2438783 w 4040759"/>
                    <a:gd name="connsiteY1113" fmla="*/ 1056914 h 1475329"/>
                    <a:gd name="connsiteX1114" fmla="*/ 2439142 w 4040759"/>
                    <a:gd name="connsiteY1114" fmla="*/ 1055961 h 1475329"/>
                    <a:gd name="connsiteX1115" fmla="*/ 2439052 w 4040759"/>
                    <a:gd name="connsiteY1115" fmla="*/ 1054184 h 1475329"/>
                    <a:gd name="connsiteX1116" fmla="*/ 2437992 w 4040759"/>
                    <a:gd name="connsiteY1116" fmla="*/ 1052742 h 1475329"/>
                    <a:gd name="connsiteX1117" fmla="*/ 2436681 w 4040759"/>
                    <a:gd name="connsiteY1117" fmla="*/ 1052179 h 1475329"/>
                    <a:gd name="connsiteX1118" fmla="*/ 2435442 w 4040759"/>
                    <a:gd name="connsiteY1118" fmla="*/ 1052546 h 1475329"/>
                    <a:gd name="connsiteX1119" fmla="*/ 2432377 w 4040759"/>
                    <a:gd name="connsiteY1119" fmla="*/ 1051193 h 1475329"/>
                    <a:gd name="connsiteX1120" fmla="*/ 2427488 w 4040759"/>
                    <a:gd name="connsiteY1120" fmla="*/ 1048121 h 1475329"/>
                    <a:gd name="connsiteX1121" fmla="*/ 2423755 w 4040759"/>
                    <a:gd name="connsiteY1121" fmla="*/ 1046703 h 1475329"/>
                    <a:gd name="connsiteX1122" fmla="*/ 2421180 w 4040759"/>
                    <a:gd name="connsiteY1122" fmla="*/ 1046947 h 1475329"/>
                    <a:gd name="connsiteX1123" fmla="*/ 2419582 w 4040759"/>
                    <a:gd name="connsiteY1123" fmla="*/ 1047860 h 1475329"/>
                    <a:gd name="connsiteX1124" fmla="*/ 2418971 w 4040759"/>
                    <a:gd name="connsiteY1124" fmla="*/ 1049474 h 1475329"/>
                    <a:gd name="connsiteX1125" fmla="*/ 2417235 w 4040759"/>
                    <a:gd name="connsiteY1125" fmla="*/ 1049319 h 1475329"/>
                    <a:gd name="connsiteX1126" fmla="*/ 2412957 w 4040759"/>
                    <a:gd name="connsiteY1126" fmla="*/ 1046442 h 1475329"/>
                    <a:gd name="connsiteX1127" fmla="*/ 2408646 w 4040759"/>
                    <a:gd name="connsiteY1127" fmla="*/ 1045733 h 1475329"/>
                    <a:gd name="connsiteX1128" fmla="*/ 2406257 w 4040759"/>
                    <a:gd name="connsiteY1128" fmla="*/ 1044185 h 1475329"/>
                    <a:gd name="connsiteX1129" fmla="*/ 2404318 w 4040759"/>
                    <a:gd name="connsiteY1129" fmla="*/ 1041568 h 1475329"/>
                    <a:gd name="connsiteX1130" fmla="*/ 2402549 w 4040759"/>
                    <a:gd name="connsiteY1130" fmla="*/ 1040468 h 1475329"/>
                    <a:gd name="connsiteX1131" fmla="*/ 2400928 w 4040759"/>
                    <a:gd name="connsiteY1131" fmla="*/ 1040900 h 1475329"/>
                    <a:gd name="connsiteX1132" fmla="*/ 2396959 w 4040759"/>
                    <a:gd name="connsiteY1132" fmla="*/ 1039132 h 1475329"/>
                    <a:gd name="connsiteX1133" fmla="*/ 2390667 w 4040759"/>
                    <a:gd name="connsiteY1133" fmla="*/ 1035179 h 1475329"/>
                    <a:gd name="connsiteX1134" fmla="*/ 2387358 w 4040759"/>
                    <a:gd name="connsiteY1134" fmla="*/ 1033851 h 1475329"/>
                    <a:gd name="connsiteX1135" fmla="*/ 2386177 w 4040759"/>
                    <a:gd name="connsiteY1135" fmla="*/ 1034592 h 1475329"/>
                    <a:gd name="connsiteX1136" fmla="*/ 2385557 w 4040759"/>
                    <a:gd name="connsiteY1136" fmla="*/ 1034600 h 1475329"/>
                    <a:gd name="connsiteX1137" fmla="*/ 2384433 w 4040759"/>
                    <a:gd name="connsiteY1137" fmla="*/ 1034486 h 1475329"/>
                    <a:gd name="connsiteX1138" fmla="*/ 2382811 w 4040759"/>
                    <a:gd name="connsiteY1138" fmla="*/ 1034446 h 1475329"/>
                    <a:gd name="connsiteX1139" fmla="*/ 2379966 w 4040759"/>
                    <a:gd name="connsiteY1139" fmla="*/ 1033500 h 1475329"/>
                    <a:gd name="connsiteX1140" fmla="*/ 2376112 w 4040759"/>
                    <a:gd name="connsiteY1140" fmla="*/ 1033924 h 1475329"/>
                    <a:gd name="connsiteX1141" fmla="*/ 2371247 w 4040759"/>
                    <a:gd name="connsiteY1141" fmla="*/ 1035676 h 1475329"/>
                    <a:gd name="connsiteX1142" fmla="*/ 2365949 w 4040759"/>
                    <a:gd name="connsiteY1142" fmla="*/ 1036776 h 1475329"/>
                    <a:gd name="connsiteX1143" fmla="*/ 2360285 w 4040759"/>
                    <a:gd name="connsiteY1143" fmla="*/ 1037208 h 1475329"/>
                    <a:gd name="connsiteX1144" fmla="*/ 2356919 w 4040759"/>
                    <a:gd name="connsiteY1144" fmla="*/ 1036996 h 1475329"/>
                    <a:gd name="connsiteX1145" fmla="*/ 2355868 w 4040759"/>
                    <a:gd name="connsiteY1145" fmla="*/ 1036157 h 1475329"/>
                    <a:gd name="connsiteX1146" fmla="*/ 2349690 w 4040759"/>
                    <a:gd name="connsiteY1146" fmla="*/ 1037412 h 1475329"/>
                    <a:gd name="connsiteX1147" fmla="*/ 2341149 w 4040759"/>
                    <a:gd name="connsiteY1147" fmla="*/ 1039963 h 1475329"/>
                    <a:gd name="connsiteX1148" fmla="*/ 2332739 w 4040759"/>
                    <a:gd name="connsiteY1148" fmla="*/ 1042457 h 1475329"/>
                    <a:gd name="connsiteX1149" fmla="*/ 2322323 w 4040759"/>
                    <a:gd name="connsiteY1149" fmla="*/ 1043671 h 1475329"/>
                    <a:gd name="connsiteX1150" fmla="*/ 2315347 w 4040759"/>
                    <a:gd name="connsiteY1150" fmla="*/ 1047901 h 1475329"/>
                    <a:gd name="connsiteX1151" fmla="*/ 2308330 w 4040759"/>
                    <a:gd name="connsiteY1151" fmla="*/ 1055513 h 1475329"/>
                    <a:gd name="connsiteX1152" fmla="*/ 2303294 w 4040759"/>
                    <a:gd name="connsiteY1152" fmla="*/ 1060313 h 1475329"/>
                    <a:gd name="connsiteX1153" fmla="*/ 2300229 w 4040759"/>
                    <a:gd name="connsiteY1153" fmla="*/ 1062277 h 1475329"/>
                    <a:gd name="connsiteX1154" fmla="*/ 2298983 w 4040759"/>
                    <a:gd name="connsiteY1154" fmla="*/ 1064844 h 1475329"/>
                    <a:gd name="connsiteX1155" fmla="*/ 2299561 w 4040759"/>
                    <a:gd name="connsiteY1155" fmla="*/ 1068022 h 1475329"/>
                    <a:gd name="connsiteX1156" fmla="*/ 2302169 w 4040759"/>
                    <a:gd name="connsiteY1156" fmla="*/ 1069163 h 1475329"/>
                    <a:gd name="connsiteX1157" fmla="*/ 2306815 w 4040759"/>
                    <a:gd name="connsiteY1157" fmla="*/ 1068243 h 1475329"/>
                    <a:gd name="connsiteX1158" fmla="*/ 2310808 w 4040759"/>
                    <a:gd name="connsiteY1158" fmla="*/ 1068691 h 1475329"/>
                    <a:gd name="connsiteX1159" fmla="*/ 2314158 w 4040759"/>
                    <a:gd name="connsiteY1159" fmla="*/ 1070492 h 1475329"/>
                    <a:gd name="connsiteX1160" fmla="*/ 2315225 w 4040759"/>
                    <a:gd name="connsiteY1160" fmla="*/ 1073214 h 1475329"/>
                    <a:gd name="connsiteX1161" fmla="*/ 2314019 w 4040759"/>
                    <a:gd name="connsiteY1161" fmla="*/ 1076849 h 1475329"/>
                    <a:gd name="connsiteX1162" fmla="*/ 2314377 w 4040759"/>
                    <a:gd name="connsiteY1162" fmla="*/ 1080418 h 1475329"/>
                    <a:gd name="connsiteX1163" fmla="*/ 2316350 w 4040759"/>
                    <a:gd name="connsiteY1163" fmla="*/ 1083923 h 1475329"/>
                    <a:gd name="connsiteX1164" fmla="*/ 2316488 w 4040759"/>
                    <a:gd name="connsiteY1164" fmla="*/ 1087965 h 1475329"/>
                    <a:gd name="connsiteX1165" fmla="*/ 2314793 w 4040759"/>
                    <a:gd name="connsiteY1165" fmla="*/ 1092545 h 1475329"/>
                    <a:gd name="connsiteX1166" fmla="*/ 2310539 w 4040759"/>
                    <a:gd name="connsiteY1166" fmla="*/ 1097158 h 1475329"/>
                    <a:gd name="connsiteX1167" fmla="*/ 2303759 w 4040759"/>
                    <a:gd name="connsiteY1167" fmla="*/ 1101795 h 1475329"/>
                    <a:gd name="connsiteX1168" fmla="*/ 2299545 w 4040759"/>
                    <a:gd name="connsiteY1168" fmla="*/ 1106318 h 1475329"/>
                    <a:gd name="connsiteX1169" fmla="*/ 2297067 w 4040759"/>
                    <a:gd name="connsiteY1169" fmla="*/ 1112911 h 1475329"/>
                    <a:gd name="connsiteX1170" fmla="*/ 2293254 w 4040759"/>
                    <a:gd name="connsiteY1170" fmla="*/ 1118624 h 1475329"/>
                    <a:gd name="connsiteX1171" fmla="*/ 2291852 w 4040759"/>
                    <a:gd name="connsiteY1171" fmla="*/ 1121851 h 1475329"/>
                    <a:gd name="connsiteX1172" fmla="*/ 2291583 w 4040759"/>
                    <a:gd name="connsiteY1172" fmla="*/ 1124492 h 1475329"/>
                    <a:gd name="connsiteX1173" fmla="*/ 2290075 w 4040759"/>
                    <a:gd name="connsiteY1173" fmla="*/ 1127336 h 1475329"/>
                    <a:gd name="connsiteX1174" fmla="*/ 2287304 w 4040759"/>
                    <a:gd name="connsiteY1174" fmla="*/ 1130409 h 1475329"/>
                    <a:gd name="connsiteX1175" fmla="*/ 2285796 w 4040759"/>
                    <a:gd name="connsiteY1175" fmla="*/ 1133481 h 1475329"/>
                    <a:gd name="connsiteX1176" fmla="*/ 2285528 w 4040759"/>
                    <a:gd name="connsiteY1176" fmla="*/ 1136562 h 1475329"/>
                    <a:gd name="connsiteX1177" fmla="*/ 2284134 w 4040759"/>
                    <a:gd name="connsiteY1177" fmla="*/ 1139357 h 1475329"/>
                    <a:gd name="connsiteX1178" fmla="*/ 2281607 w 4040759"/>
                    <a:gd name="connsiteY1178" fmla="*/ 1141883 h 1475329"/>
                    <a:gd name="connsiteX1179" fmla="*/ 2280043 w 4040759"/>
                    <a:gd name="connsiteY1179" fmla="*/ 1144557 h 1475329"/>
                    <a:gd name="connsiteX1180" fmla="*/ 2279431 w 4040759"/>
                    <a:gd name="connsiteY1180" fmla="*/ 1147360 h 1475329"/>
                    <a:gd name="connsiteX1181" fmla="*/ 2278462 w 4040759"/>
                    <a:gd name="connsiteY1181" fmla="*/ 1149259 h 1475329"/>
                    <a:gd name="connsiteX1182" fmla="*/ 2277141 w 4040759"/>
                    <a:gd name="connsiteY1182" fmla="*/ 1150229 h 1475329"/>
                    <a:gd name="connsiteX1183" fmla="*/ 2277842 w 4040759"/>
                    <a:gd name="connsiteY1183" fmla="*/ 1151182 h 1475329"/>
                    <a:gd name="connsiteX1184" fmla="*/ 2280564 w 4040759"/>
                    <a:gd name="connsiteY1184" fmla="*/ 1152128 h 1475329"/>
                    <a:gd name="connsiteX1185" fmla="*/ 2281673 w 4040759"/>
                    <a:gd name="connsiteY1185" fmla="*/ 1154866 h 1475329"/>
                    <a:gd name="connsiteX1186" fmla="*/ 2281167 w 4040759"/>
                    <a:gd name="connsiteY1186" fmla="*/ 1159405 h 1475329"/>
                    <a:gd name="connsiteX1187" fmla="*/ 2279529 w 4040759"/>
                    <a:gd name="connsiteY1187" fmla="*/ 1162633 h 1475329"/>
                    <a:gd name="connsiteX1188" fmla="*/ 2276734 w 4040759"/>
                    <a:gd name="connsiteY1188" fmla="*/ 1164564 h 1475329"/>
                    <a:gd name="connsiteX1189" fmla="*/ 2272569 w 4040759"/>
                    <a:gd name="connsiteY1189" fmla="*/ 1165819 h 1475329"/>
                    <a:gd name="connsiteX1190" fmla="*/ 2267035 w 4040759"/>
                    <a:gd name="connsiteY1190" fmla="*/ 1166398 h 1475329"/>
                    <a:gd name="connsiteX1191" fmla="*/ 2259473 w 4040759"/>
                    <a:gd name="connsiteY1191" fmla="*/ 1170717 h 1475329"/>
                    <a:gd name="connsiteX1192" fmla="*/ 2252904 w 4040759"/>
                    <a:gd name="connsiteY1192" fmla="*/ 1176235 h 1475329"/>
                    <a:gd name="connsiteX1193" fmla="*/ 2245138 w 4040759"/>
                    <a:gd name="connsiteY1193" fmla="*/ 1182754 h 1475329"/>
                    <a:gd name="connsiteX1194" fmla="*/ 2243638 w 4040759"/>
                    <a:gd name="connsiteY1194" fmla="*/ 1182746 h 1475329"/>
                    <a:gd name="connsiteX1195" fmla="*/ 2240794 w 4040759"/>
                    <a:gd name="connsiteY1195" fmla="*/ 1181931 h 1475329"/>
                    <a:gd name="connsiteX1196" fmla="*/ 2235309 w 4040759"/>
                    <a:gd name="connsiteY1196" fmla="*/ 1179266 h 1475329"/>
                    <a:gd name="connsiteX1197" fmla="*/ 2229571 w 4040759"/>
                    <a:gd name="connsiteY1197" fmla="*/ 1178704 h 1475329"/>
                    <a:gd name="connsiteX1198" fmla="*/ 2224013 w 4040759"/>
                    <a:gd name="connsiteY1198" fmla="*/ 1176226 h 1475329"/>
                    <a:gd name="connsiteX1199" fmla="*/ 2220729 w 4040759"/>
                    <a:gd name="connsiteY1199" fmla="*/ 1174597 h 1475329"/>
                    <a:gd name="connsiteX1200" fmla="*/ 2215619 w 4040759"/>
                    <a:gd name="connsiteY1200" fmla="*/ 1171467 h 1475329"/>
                    <a:gd name="connsiteX1201" fmla="*/ 2214339 w 4040759"/>
                    <a:gd name="connsiteY1201" fmla="*/ 1169527 h 1475329"/>
                    <a:gd name="connsiteX1202" fmla="*/ 2212343 w 4040759"/>
                    <a:gd name="connsiteY1202" fmla="*/ 1167954 h 1475329"/>
                    <a:gd name="connsiteX1203" fmla="*/ 2207379 w 4040759"/>
                    <a:gd name="connsiteY1203" fmla="*/ 1165852 h 1475329"/>
                    <a:gd name="connsiteX1204" fmla="*/ 2204046 w 4040759"/>
                    <a:gd name="connsiteY1204" fmla="*/ 1164711 h 1475329"/>
                    <a:gd name="connsiteX1205" fmla="*/ 2202009 w 4040759"/>
                    <a:gd name="connsiteY1205" fmla="*/ 1164662 h 1475329"/>
                    <a:gd name="connsiteX1206" fmla="*/ 2196842 w 4040759"/>
                    <a:gd name="connsiteY1206" fmla="*/ 1166797 h 1475329"/>
                    <a:gd name="connsiteX1207" fmla="*/ 2193598 w 4040759"/>
                    <a:gd name="connsiteY1207" fmla="*/ 1168476 h 1475329"/>
                    <a:gd name="connsiteX1208" fmla="*/ 2191675 w 4040759"/>
                    <a:gd name="connsiteY1208" fmla="*/ 1169405 h 1475329"/>
                    <a:gd name="connsiteX1209" fmla="*/ 2188456 w 4040759"/>
                    <a:gd name="connsiteY1209" fmla="*/ 1169201 h 1475329"/>
                    <a:gd name="connsiteX1210" fmla="*/ 2184519 w 4040759"/>
                    <a:gd name="connsiteY1210" fmla="*/ 1168818 h 1475329"/>
                    <a:gd name="connsiteX1211" fmla="*/ 2182922 w 4040759"/>
                    <a:gd name="connsiteY1211" fmla="*/ 1168264 h 1475329"/>
                    <a:gd name="connsiteX1212" fmla="*/ 2180689 w 4040759"/>
                    <a:gd name="connsiteY1212" fmla="*/ 1166911 h 1475329"/>
                    <a:gd name="connsiteX1213" fmla="*/ 2176305 w 4040759"/>
                    <a:gd name="connsiteY1213" fmla="*/ 1162885 h 1475329"/>
                    <a:gd name="connsiteX1214" fmla="*/ 2173949 w 4040759"/>
                    <a:gd name="connsiteY1214" fmla="*/ 1159992 h 1475329"/>
                    <a:gd name="connsiteX1215" fmla="*/ 2170893 w 4040759"/>
                    <a:gd name="connsiteY1215" fmla="*/ 1158370 h 1475329"/>
                    <a:gd name="connsiteX1216" fmla="*/ 2167503 w 4040759"/>
                    <a:gd name="connsiteY1216" fmla="*/ 1156520 h 1475329"/>
                    <a:gd name="connsiteX1217" fmla="*/ 2165816 w 4040759"/>
                    <a:gd name="connsiteY1217" fmla="*/ 1156080 h 1475329"/>
                    <a:gd name="connsiteX1218" fmla="*/ 2162817 w 4040759"/>
                    <a:gd name="connsiteY1218" fmla="*/ 1156243 h 1475329"/>
                    <a:gd name="connsiteX1219" fmla="*/ 2158653 w 4040759"/>
                    <a:gd name="connsiteY1219" fmla="*/ 1155730 h 1475329"/>
                    <a:gd name="connsiteX1220" fmla="*/ 2156436 w 4040759"/>
                    <a:gd name="connsiteY1220" fmla="*/ 1155037 h 1475329"/>
                    <a:gd name="connsiteX1221" fmla="*/ 2154569 w 4040759"/>
                    <a:gd name="connsiteY1221" fmla="*/ 1155665 h 1475329"/>
                    <a:gd name="connsiteX1222" fmla="*/ 2150820 w 4040759"/>
                    <a:gd name="connsiteY1222" fmla="*/ 1157572 h 1475329"/>
                    <a:gd name="connsiteX1223" fmla="*/ 2146126 w 4040759"/>
                    <a:gd name="connsiteY1223" fmla="*/ 1161370 h 1475329"/>
                    <a:gd name="connsiteX1224" fmla="*/ 2142434 w 4040759"/>
                    <a:gd name="connsiteY1224" fmla="*/ 1162812 h 1475329"/>
                    <a:gd name="connsiteX1225" fmla="*/ 2138515 w 4040759"/>
                    <a:gd name="connsiteY1225" fmla="*/ 1164792 h 1475329"/>
                    <a:gd name="connsiteX1226" fmla="*/ 2135320 w 4040759"/>
                    <a:gd name="connsiteY1226" fmla="*/ 1167180 h 1475329"/>
                    <a:gd name="connsiteX1227" fmla="*/ 2132182 w 4040759"/>
                    <a:gd name="connsiteY1227" fmla="*/ 1169625 h 1475329"/>
                    <a:gd name="connsiteX1228" fmla="*/ 2128335 w 4040759"/>
                    <a:gd name="connsiteY1228" fmla="*/ 1172437 h 1475329"/>
                    <a:gd name="connsiteX1229" fmla="*/ 2126551 w 4040759"/>
                    <a:gd name="connsiteY1229" fmla="*/ 1176243 h 1475329"/>
                    <a:gd name="connsiteX1230" fmla="*/ 2125638 w 4040759"/>
                    <a:gd name="connsiteY1230" fmla="*/ 1179014 h 1475329"/>
                    <a:gd name="connsiteX1231" fmla="*/ 2122158 w 4040759"/>
                    <a:gd name="connsiteY1231" fmla="*/ 1180725 h 1475329"/>
                    <a:gd name="connsiteX1232" fmla="*/ 2119460 w 4040759"/>
                    <a:gd name="connsiteY1232" fmla="*/ 1182379 h 1475329"/>
                    <a:gd name="connsiteX1233" fmla="*/ 2116754 w 4040759"/>
                    <a:gd name="connsiteY1233" fmla="*/ 1182974 h 1475329"/>
                    <a:gd name="connsiteX1234" fmla="*/ 2111751 w 4040759"/>
                    <a:gd name="connsiteY1234" fmla="*/ 1182062 h 1475329"/>
                    <a:gd name="connsiteX1235" fmla="*/ 2108784 w 4040759"/>
                    <a:gd name="connsiteY1235" fmla="*/ 1182705 h 1475329"/>
                    <a:gd name="connsiteX1236" fmla="*/ 2101441 w 4040759"/>
                    <a:gd name="connsiteY1236" fmla="*/ 1185982 h 1475329"/>
                    <a:gd name="connsiteX1237" fmla="*/ 2097847 w 4040759"/>
                    <a:gd name="connsiteY1237" fmla="*/ 1186283 h 1475329"/>
                    <a:gd name="connsiteX1238" fmla="*/ 2095337 w 4040759"/>
                    <a:gd name="connsiteY1238" fmla="*/ 1186740 h 1475329"/>
                    <a:gd name="connsiteX1239" fmla="*/ 2092909 w 4040759"/>
                    <a:gd name="connsiteY1239" fmla="*/ 1186943 h 1475329"/>
                    <a:gd name="connsiteX1240" fmla="*/ 2088923 w 4040759"/>
                    <a:gd name="connsiteY1240" fmla="*/ 1187726 h 1475329"/>
                    <a:gd name="connsiteX1241" fmla="*/ 2087358 w 4040759"/>
                    <a:gd name="connsiteY1241" fmla="*/ 1188280 h 1475329"/>
                    <a:gd name="connsiteX1242" fmla="*/ 2085313 w 4040759"/>
                    <a:gd name="connsiteY1242" fmla="*/ 1188948 h 1475329"/>
                    <a:gd name="connsiteX1243" fmla="*/ 2083015 w 4040759"/>
                    <a:gd name="connsiteY1243" fmla="*/ 1188467 h 1475329"/>
                    <a:gd name="connsiteX1244" fmla="*/ 2079722 w 4040759"/>
                    <a:gd name="connsiteY1244" fmla="*/ 1190334 h 1475329"/>
                    <a:gd name="connsiteX1245" fmla="*/ 2070399 w 4040759"/>
                    <a:gd name="connsiteY1245" fmla="*/ 1195338 h 1475329"/>
                    <a:gd name="connsiteX1246" fmla="*/ 2067465 w 4040759"/>
                    <a:gd name="connsiteY1246" fmla="*/ 1196177 h 1475329"/>
                    <a:gd name="connsiteX1247" fmla="*/ 2065509 w 4040759"/>
                    <a:gd name="connsiteY1247" fmla="*/ 1196373 h 1475329"/>
                    <a:gd name="connsiteX1248" fmla="*/ 2062999 w 4040759"/>
                    <a:gd name="connsiteY1248" fmla="*/ 1194580 h 1475329"/>
                    <a:gd name="connsiteX1249" fmla="*/ 2060481 w 4040759"/>
                    <a:gd name="connsiteY1249" fmla="*/ 1193390 h 1475329"/>
                    <a:gd name="connsiteX1250" fmla="*/ 2057840 w 4040759"/>
                    <a:gd name="connsiteY1250" fmla="*/ 1193536 h 1475329"/>
                    <a:gd name="connsiteX1251" fmla="*/ 2054825 w 4040759"/>
                    <a:gd name="connsiteY1251" fmla="*/ 1195183 h 1475329"/>
                    <a:gd name="connsiteX1252" fmla="*/ 2049731 w 4040759"/>
                    <a:gd name="connsiteY1252" fmla="*/ 1193911 h 1475329"/>
                    <a:gd name="connsiteX1253" fmla="*/ 2043668 w 4040759"/>
                    <a:gd name="connsiteY1253" fmla="*/ 1192689 h 1475329"/>
                    <a:gd name="connsiteX1254" fmla="*/ 2038166 w 4040759"/>
                    <a:gd name="connsiteY1254" fmla="*/ 1191581 h 1475329"/>
                    <a:gd name="connsiteX1255" fmla="*/ 2036309 w 4040759"/>
                    <a:gd name="connsiteY1255" fmla="*/ 1190619 h 1475329"/>
                    <a:gd name="connsiteX1256" fmla="*/ 2030921 w 4040759"/>
                    <a:gd name="connsiteY1256" fmla="*/ 1189225 h 1475329"/>
                    <a:gd name="connsiteX1257" fmla="*/ 2023073 w 4040759"/>
                    <a:gd name="connsiteY1257" fmla="*/ 1189209 h 1475329"/>
                    <a:gd name="connsiteX1258" fmla="*/ 2018436 w 4040759"/>
                    <a:gd name="connsiteY1258" fmla="*/ 1189201 h 1475329"/>
                    <a:gd name="connsiteX1259" fmla="*/ 2015486 w 4040759"/>
                    <a:gd name="connsiteY1259" fmla="*/ 1189665 h 1475329"/>
                    <a:gd name="connsiteX1260" fmla="*/ 2013212 w 4040759"/>
                    <a:gd name="connsiteY1260" fmla="*/ 1188989 h 1475329"/>
                    <a:gd name="connsiteX1261" fmla="*/ 2010352 w 4040759"/>
                    <a:gd name="connsiteY1261" fmla="*/ 1187000 h 1475329"/>
                    <a:gd name="connsiteX1262" fmla="*/ 2005552 w 4040759"/>
                    <a:gd name="connsiteY1262" fmla="*/ 1182331 h 1475329"/>
                    <a:gd name="connsiteX1263" fmla="*/ 2002683 w 4040759"/>
                    <a:gd name="connsiteY1263" fmla="*/ 1180961 h 1475329"/>
                    <a:gd name="connsiteX1264" fmla="*/ 2001102 w 4040759"/>
                    <a:gd name="connsiteY1264" fmla="*/ 1179820 h 1475329"/>
                    <a:gd name="connsiteX1265" fmla="*/ 2000490 w 4040759"/>
                    <a:gd name="connsiteY1265" fmla="*/ 1177905 h 1475329"/>
                    <a:gd name="connsiteX1266" fmla="*/ 1999406 w 4040759"/>
                    <a:gd name="connsiteY1266" fmla="*/ 1177661 h 1475329"/>
                    <a:gd name="connsiteX1267" fmla="*/ 1998689 w 4040759"/>
                    <a:gd name="connsiteY1267" fmla="*/ 1176300 h 1475329"/>
                    <a:gd name="connsiteX1268" fmla="*/ 1998746 w 4040759"/>
                    <a:gd name="connsiteY1268" fmla="*/ 1174491 h 1475329"/>
                    <a:gd name="connsiteX1269" fmla="*/ 1998632 w 4040759"/>
                    <a:gd name="connsiteY1269" fmla="*/ 1170546 h 1475329"/>
                    <a:gd name="connsiteX1270" fmla="*/ 1998966 w 4040759"/>
                    <a:gd name="connsiteY1270" fmla="*/ 1167791 h 1475329"/>
                    <a:gd name="connsiteX1271" fmla="*/ 1998192 w 4040759"/>
                    <a:gd name="connsiteY1271" fmla="*/ 1166952 h 1475329"/>
                    <a:gd name="connsiteX1272" fmla="*/ 1994973 w 4040759"/>
                    <a:gd name="connsiteY1272" fmla="*/ 1166504 h 1475329"/>
                    <a:gd name="connsiteX1273" fmla="*/ 1991102 w 4040759"/>
                    <a:gd name="connsiteY1273" fmla="*/ 1165664 h 1475329"/>
                    <a:gd name="connsiteX1274" fmla="*/ 1984068 w 4040759"/>
                    <a:gd name="connsiteY1274" fmla="*/ 1165534 h 1475329"/>
                    <a:gd name="connsiteX1275" fmla="*/ 1981241 w 4040759"/>
                    <a:gd name="connsiteY1275" fmla="*/ 1165436 h 1475329"/>
                    <a:gd name="connsiteX1276" fmla="*/ 1979000 w 4040759"/>
                    <a:gd name="connsiteY1276" fmla="*/ 1163847 h 1475329"/>
                    <a:gd name="connsiteX1277" fmla="*/ 1976457 w 4040759"/>
                    <a:gd name="connsiteY1277" fmla="*/ 1161899 h 1475329"/>
                    <a:gd name="connsiteX1278" fmla="*/ 1973996 w 4040759"/>
                    <a:gd name="connsiteY1278" fmla="*/ 1157881 h 1475329"/>
                    <a:gd name="connsiteX1279" fmla="*/ 1971828 w 4040759"/>
                    <a:gd name="connsiteY1279" fmla="*/ 1155991 h 1475329"/>
                    <a:gd name="connsiteX1280" fmla="*/ 1968299 w 4040759"/>
                    <a:gd name="connsiteY1280" fmla="*/ 1153644 h 1475329"/>
                    <a:gd name="connsiteX1281" fmla="*/ 1964909 w 4040759"/>
                    <a:gd name="connsiteY1281" fmla="*/ 1153049 h 1475329"/>
                    <a:gd name="connsiteX1282" fmla="*/ 1959799 w 4040759"/>
                    <a:gd name="connsiteY1282" fmla="*/ 1153456 h 1475329"/>
                    <a:gd name="connsiteX1283" fmla="*/ 1956058 w 4040759"/>
                    <a:gd name="connsiteY1283" fmla="*/ 1153937 h 1475329"/>
                    <a:gd name="connsiteX1284" fmla="*/ 1952692 w 4040759"/>
                    <a:gd name="connsiteY1284" fmla="*/ 1152918 h 1475329"/>
                    <a:gd name="connsiteX1285" fmla="*/ 1950565 w 4040759"/>
                    <a:gd name="connsiteY1285" fmla="*/ 1151614 h 1475329"/>
                    <a:gd name="connsiteX1286" fmla="*/ 1947558 w 4040759"/>
                    <a:gd name="connsiteY1286" fmla="*/ 1150245 h 1475329"/>
                    <a:gd name="connsiteX1287" fmla="*/ 1943027 w 4040759"/>
                    <a:gd name="connsiteY1287" fmla="*/ 1149927 h 1475329"/>
                    <a:gd name="connsiteX1288" fmla="*/ 1939278 w 4040759"/>
                    <a:gd name="connsiteY1288" fmla="*/ 1148933 h 1475329"/>
                    <a:gd name="connsiteX1289" fmla="*/ 1935366 w 4040759"/>
                    <a:gd name="connsiteY1289" fmla="*/ 1147751 h 1475329"/>
                    <a:gd name="connsiteX1290" fmla="*/ 1932465 w 4040759"/>
                    <a:gd name="connsiteY1290" fmla="*/ 1148232 h 1475329"/>
                    <a:gd name="connsiteX1291" fmla="*/ 1930468 w 4040759"/>
                    <a:gd name="connsiteY1291" fmla="*/ 1149365 h 1475329"/>
                    <a:gd name="connsiteX1292" fmla="*/ 1928202 w 4040759"/>
                    <a:gd name="connsiteY1292" fmla="*/ 1150816 h 1475329"/>
                    <a:gd name="connsiteX1293" fmla="*/ 1925276 w 4040759"/>
                    <a:gd name="connsiteY1293" fmla="*/ 1151068 h 1475329"/>
                    <a:gd name="connsiteX1294" fmla="*/ 1918056 w 4040759"/>
                    <a:gd name="connsiteY1294" fmla="*/ 1152576 h 1475329"/>
                    <a:gd name="connsiteX1295" fmla="*/ 1915839 w 4040759"/>
                    <a:gd name="connsiteY1295" fmla="*/ 1153472 h 1475329"/>
                    <a:gd name="connsiteX1296" fmla="*/ 1912620 w 4040759"/>
                    <a:gd name="connsiteY1296" fmla="*/ 1153872 h 1475329"/>
                    <a:gd name="connsiteX1297" fmla="*/ 1909833 w 4040759"/>
                    <a:gd name="connsiteY1297" fmla="*/ 1154996 h 1475329"/>
                    <a:gd name="connsiteX1298" fmla="*/ 1907502 w 4040759"/>
                    <a:gd name="connsiteY1298" fmla="*/ 1157221 h 1475329"/>
                    <a:gd name="connsiteX1299" fmla="*/ 1905505 w 4040759"/>
                    <a:gd name="connsiteY1299" fmla="*/ 1158867 h 1475329"/>
                    <a:gd name="connsiteX1300" fmla="*/ 1903011 w 4040759"/>
                    <a:gd name="connsiteY1300" fmla="*/ 1159422 h 1475329"/>
                    <a:gd name="connsiteX1301" fmla="*/ 1900029 w 4040759"/>
                    <a:gd name="connsiteY1301" fmla="*/ 1159316 h 1475329"/>
                    <a:gd name="connsiteX1302" fmla="*/ 1897478 w 4040759"/>
                    <a:gd name="connsiteY1302" fmla="*/ 1158778 h 1475329"/>
                    <a:gd name="connsiteX1303" fmla="*/ 1896157 w 4040759"/>
                    <a:gd name="connsiteY1303" fmla="*/ 1158623 h 1475329"/>
                    <a:gd name="connsiteX1304" fmla="*/ 1894185 w 4040759"/>
                    <a:gd name="connsiteY1304" fmla="*/ 1159438 h 1475329"/>
                    <a:gd name="connsiteX1305" fmla="*/ 1891936 w 4040759"/>
                    <a:gd name="connsiteY1305" fmla="*/ 1159992 h 1475329"/>
                    <a:gd name="connsiteX1306" fmla="*/ 1888546 w 4040759"/>
                    <a:gd name="connsiteY1306" fmla="*/ 1159031 h 1475329"/>
                    <a:gd name="connsiteX1307" fmla="*/ 1886688 w 4040759"/>
                    <a:gd name="connsiteY1307" fmla="*/ 1158224 h 1475329"/>
                    <a:gd name="connsiteX1308" fmla="*/ 1883795 w 4040759"/>
                    <a:gd name="connsiteY1308" fmla="*/ 1157743 h 1475329"/>
                    <a:gd name="connsiteX1309" fmla="*/ 1882042 w 4040759"/>
                    <a:gd name="connsiteY1309" fmla="*/ 1155404 h 1475329"/>
                    <a:gd name="connsiteX1310" fmla="*/ 1880249 w 4040759"/>
                    <a:gd name="connsiteY1310" fmla="*/ 1154442 h 1475329"/>
                    <a:gd name="connsiteX1311" fmla="*/ 1877234 w 4040759"/>
                    <a:gd name="connsiteY1311" fmla="*/ 1154084 h 1475329"/>
                    <a:gd name="connsiteX1312" fmla="*/ 1872776 w 4040759"/>
                    <a:gd name="connsiteY1312" fmla="*/ 1152886 h 1475329"/>
                    <a:gd name="connsiteX1313" fmla="*/ 1870437 w 4040759"/>
                    <a:gd name="connsiteY1313" fmla="*/ 1151671 h 1475329"/>
                    <a:gd name="connsiteX1314" fmla="*/ 1868391 w 4040759"/>
                    <a:gd name="connsiteY1314" fmla="*/ 1150913 h 1475329"/>
                    <a:gd name="connsiteX1315" fmla="*/ 1865001 w 4040759"/>
                    <a:gd name="connsiteY1315" fmla="*/ 1148199 h 1475329"/>
                    <a:gd name="connsiteX1316" fmla="*/ 1863086 w 4040759"/>
                    <a:gd name="connsiteY1316" fmla="*/ 1145844 h 1475329"/>
                    <a:gd name="connsiteX1317" fmla="*/ 1861537 w 4040759"/>
                    <a:gd name="connsiteY1317" fmla="*/ 1145461 h 1475329"/>
                    <a:gd name="connsiteX1318" fmla="*/ 1859794 w 4040759"/>
                    <a:gd name="connsiteY1318" fmla="*/ 1145168 h 1475329"/>
                    <a:gd name="connsiteX1319" fmla="*/ 1858595 w 4040759"/>
                    <a:gd name="connsiteY1319" fmla="*/ 1143668 h 1475329"/>
                    <a:gd name="connsiteX1320" fmla="*/ 1858530 w 4040759"/>
                    <a:gd name="connsiteY1320" fmla="*/ 1141859 h 1475329"/>
                    <a:gd name="connsiteX1321" fmla="*/ 1858970 w 4040759"/>
                    <a:gd name="connsiteY1321" fmla="*/ 1140726 h 1475329"/>
                    <a:gd name="connsiteX1322" fmla="*/ 1859296 w 4040759"/>
                    <a:gd name="connsiteY1322" fmla="*/ 1138787 h 1475329"/>
                    <a:gd name="connsiteX1323" fmla="*/ 1858302 w 4040759"/>
                    <a:gd name="connsiteY1323" fmla="*/ 1136945 h 1475329"/>
                    <a:gd name="connsiteX1324" fmla="*/ 1857275 w 4040759"/>
                    <a:gd name="connsiteY1324" fmla="*/ 1136122 h 1475329"/>
                    <a:gd name="connsiteX1325" fmla="*/ 1856778 w 4040759"/>
                    <a:gd name="connsiteY1325" fmla="*/ 1134712 h 1475329"/>
                    <a:gd name="connsiteX1326" fmla="*/ 1857055 w 4040759"/>
                    <a:gd name="connsiteY1326" fmla="*/ 1132071 h 1475329"/>
                    <a:gd name="connsiteX1327" fmla="*/ 1856656 w 4040759"/>
                    <a:gd name="connsiteY1327" fmla="*/ 1129390 h 1475329"/>
                    <a:gd name="connsiteX1328" fmla="*/ 1856265 w 4040759"/>
                    <a:gd name="connsiteY1328" fmla="*/ 1126586 h 1475329"/>
                    <a:gd name="connsiteX1329" fmla="*/ 1855221 w 4040759"/>
                    <a:gd name="connsiteY1329" fmla="*/ 1124492 h 1475329"/>
                    <a:gd name="connsiteX1330" fmla="*/ 1854969 w 4040759"/>
                    <a:gd name="connsiteY1330" fmla="*/ 1120499 h 1475329"/>
                    <a:gd name="connsiteX1331" fmla="*/ 1855409 w 4040759"/>
                    <a:gd name="connsiteY1331" fmla="*/ 1118852 h 1475329"/>
                    <a:gd name="connsiteX1332" fmla="*/ 1855303 w 4040759"/>
                    <a:gd name="connsiteY1332" fmla="*/ 1116905 h 1475329"/>
                    <a:gd name="connsiteX1333" fmla="*/ 1854211 w 4040759"/>
                    <a:gd name="connsiteY1333" fmla="*/ 1115438 h 1475329"/>
                    <a:gd name="connsiteX1334" fmla="*/ 1850927 w 4040759"/>
                    <a:gd name="connsiteY1334" fmla="*/ 1114386 h 1475329"/>
                    <a:gd name="connsiteX1335" fmla="*/ 1847015 w 4040759"/>
                    <a:gd name="connsiteY1335" fmla="*/ 1112944 h 1475329"/>
                    <a:gd name="connsiteX1336" fmla="*/ 1840805 w 4040759"/>
                    <a:gd name="connsiteY1336" fmla="*/ 1111249 h 1475329"/>
                    <a:gd name="connsiteX1337" fmla="*/ 1838164 w 4040759"/>
                    <a:gd name="connsiteY1337" fmla="*/ 1111086 h 1475329"/>
                    <a:gd name="connsiteX1338" fmla="*/ 1836094 w 4040759"/>
                    <a:gd name="connsiteY1338" fmla="*/ 1111787 h 1475329"/>
                    <a:gd name="connsiteX1339" fmla="*/ 1834195 w 4040759"/>
                    <a:gd name="connsiteY1339" fmla="*/ 1110972 h 1475329"/>
                    <a:gd name="connsiteX1340" fmla="*/ 1832174 w 4040759"/>
                    <a:gd name="connsiteY1340" fmla="*/ 1109545 h 1475329"/>
                    <a:gd name="connsiteX1341" fmla="*/ 1828751 w 4040759"/>
                    <a:gd name="connsiteY1341" fmla="*/ 1108078 h 1475329"/>
                    <a:gd name="connsiteX1342" fmla="*/ 1824261 w 4040759"/>
                    <a:gd name="connsiteY1342" fmla="*/ 1106188 h 1475329"/>
                    <a:gd name="connsiteX1343" fmla="*/ 1819469 w 4040759"/>
                    <a:gd name="connsiteY1343" fmla="*/ 1104069 h 1475329"/>
                    <a:gd name="connsiteX1344" fmla="*/ 1815141 w 4040759"/>
                    <a:gd name="connsiteY1344" fmla="*/ 1102154 h 1475329"/>
                    <a:gd name="connsiteX1345" fmla="*/ 1813462 w 4040759"/>
                    <a:gd name="connsiteY1345" fmla="*/ 1101689 h 1475329"/>
                    <a:gd name="connsiteX1346" fmla="*/ 1807553 w 4040759"/>
                    <a:gd name="connsiteY1346" fmla="*/ 1101542 h 1475329"/>
                    <a:gd name="connsiteX1347" fmla="*/ 1802697 w 4040759"/>
                    <a:gd name="connsiteY1347" fmla="*/ 1101282 h 1475329"/>
                    <a:gd name="connsiteX1348" fmla="*/ 1799893 w 4040759"/>
                    <a:gd name="connsiteY1348" fmla="*/ 1100597 h 1475329"/>
                    <a:gd name="connsiteX1349" fmla="*/ 1796576 w 4040759"/>
                    <a:gd name="connsiteY1349" fmla="*/ 1097932 h 1475329"/>
                    <a:gd name="connsiteX1350" fmla="*/ 1794873 w 4040759"/>
                    <a:gd name="connsiteY1350" fmla="*/ 1096302 h 1475329"/>
                    <a:gd name="connsiteX1351" fmla="*/ 1792232 w 4040759"/>
                    <a:gd name="connsiteY1351" fmla="*/ 1095528 h 1475329"/>
                    <a:gd name="connsiteX1352" fmla="*/ 1790244 w 4040759"/>
                    <a:gd name="connsiteY1352" fmla="*/ 1095259 h 1475329"/>
                    <a:gd name="connsiteX1353" fmla="*/ 1787130 w 4040759"/>
                    <a:gd name="connsiteY1353" fmla="*/ 1094379 h 1475329"/>
                    <a:gd name="connsiteX1354" fmla="*/ 1781410 w 4040759"/>
                    <a:gd name="connsiteY1354" fmla="*/ 1091591 h 1475329"/>
                    <a:gd name="connsiteX1355" fmla="*/ 1779306 w 4040759"/>
                    <a:gd name="connsiteY1355" fmla="*/ 1090255 h 1475329"/>
                    <a:gd name="connsiteX1356" fmla="*/ 1777880 w 4040759"/>
                    <a:gd name="connsiteY1356" fmla="*/ 1090239 h 1475329"/>
                    <a:gd name="connsiteX1357" fmla="*/ 1775998 w 4040759"/>
                    <a:gd name="connsiteY1357" fmla="*/ 1087769 h 1475329"/>
                    <a:gd name="connsiteX1358" fmla="*/ 1774384 w 4040759"/>
                    <a:gd name="connsiteY1358" fmla="*/ 1087199 h 1475329"/>
                    <a:gd name="connsiteX1359" fmla="*/ 1773284 w 4040759"/>
                    <a:gd name="connsiteY1359" fmla="*/ 1088951 h 1475329"/>
                    <a:gd name="connsiteX1360" fmla="*/ 1772143 w 4040759"/>
                    <a:gd name="connsiteY1360" fmla="*/ 1093116 h 1475329"/>
                    <a:gd name="connsiteX1361" fmla="*/ 1771084 w 4040759"/>
                    <a:gd name="connsiteY1361" fmla="*/ 1095063 h 1475329"/>
                    <a:gd name="connsiteX1362" fmla="*/ 1768117 w 4040759"/>
                    <a:gd name="connsiteY1362" fmla="*/ 1098910 h 1475329"/>
                    <a:gd name="connsiteX1363" fmla="*/ 1760986 w 4040759"/>
                    <a:gd name="connsiteY1363" fmla="*/ 1101999 h 1475329"/>
                    <a:gd name="connsiteX1364" fmla="*/ 1759755 w 4040759"/>
                    <a:gd name="connsiteY1364" fmla="*/ 1103604 h 1475329"/>
                    <a:gd name="connsiteX1365" fmla="*/ 1759112 w 4040759"/>
                    <a:gd name="connsiteY1365" fmla="*/ 1105071 h 1475329"/>
                    <a:gd name="connsiteX1366" fmla="*/ 1758117 w 4040759"/>
                    <a:gd name="connsiteY1366" fmla="*/ 1107141 h 1475329"/>
                    <a:gd name="connsiteX1367" fmla="*/ 1757686 w 4040759"/>
                    <a:gd name="connsiteY1367" fmla="*/ 1109831 h 1475329"/>
                    <a:gd name="connsiteX1368" fmla="*/ 1756822 w 4040759"/>
                    <a:gd name="connsiteY1368" fmla="*/ 1110564 h 1475329"/>
                    <a:gd name="connsiteX1369" fmla="*/ 1754792 w 4040759"/>
                    <a:gd name="connsiteY1369" fmla="*/ 1110646 h 1475329"/>
                    <a:gd name="connsiteX1370" fmla="*/ 1753171 w 4040759"/>
                    <a:gd name="connsiteY1370" fmla="*/ 1111884 h 1475329"/>
                    <a:gd name="connsiteX1371" fmla="*/ 1751964 w 4040759"/>
                    <a:gd name="connsiteY1371" fmla="*/ 1114574 h 1475329"/>
                    <a:gd name="connsiteX1372" fmla="*/ 1750913 w 4040759"/>
                    <a:gd name="connsiteY1372" fmla="*/ 1115625 h 1475329"/>
                    <a:gd name="connsiteX1373" fmla="*/ 1750326 w 4040759"/>
                    <a:gd name="connsiteY1373" fmla="*/ 1118127 h 1475329"/>
                    <a:gd name="connsiteX1374" fmla="*/ 1750424 w 4040759"/>
                    <a:gd name="connsiteY1374" fmla="*/ 1119227 h 1475329"/>
                    <a:gd name="connsiteX1375" fmla="*/ 1750204 w 4040759"/>
                    <a:gd name="connsiteY1375" fmla="*/ 1120433 h 1475329"/>
                    <a:gd name="connsiteX1376" fmla="*/ 1750016 w 4040759"/>
                    <a:gd name="connsiteY1376" fmla="*/ 1122373 h 1475329"/>
                    <a:gd name="connsiteX1377" fmla="*/ 1748158 w 4040759"/>
                    <a:gd name="connsiteY1377" fmla="*/ 1126546 h 1475329"/>
                    <a:gd name="connsiteX1378" fmla="*/ 1747906 w 4040759"/>
                    <a:gd name="connsiteY1378" fmla="*/ 1128999 h 1475329"/>
                    <a:gd name="connsiteX1379" fmla="*/ 1748664 w 4040759"/>
                    <a:gd name="connsiteY1379" fmla="*/ 1130531 h 1475329"/>
                    <a:gd name="connsiteX1380" fmla="*/ 1750245 w 4040759"/>
                    <a:gd name="connsiteY1380" fmla="*/ 1132593 h 1475329"/>
                    <a:gd name="connsiteX1381" fmla="*/ 1751060 w 4040759"/>
                    <a:gd name="connsiteY1381" fmla="*/ 1133775 h 1475329"/>
                    <a:gd name="connsiteX1382" fmla="*/ 1751345 w 4040759"/>
                    <a:gd name="connsiteY1382" fmla="*/ 1135144 h 1475329"/>
                    <a:gd name="connsiteX1383" fmla="*/ 1751288 w 4040759"/>
                    <a:gd name="connsiteY1383" fmla="*/ 1136928 h 1475329"/>
                    <a:gd name="connsiteX1384" fmla="*/ 1752266 w 4040759"/>
                    <a:gd name="connsiteY1384" fmla="*/ 1139382 h 1475329"/>
                    <a:gd name="connsiteX1385" fmla="*/ 1752983 w 4040759"/>
                    <a:gd name="connsiteY1385" fmla="*/ 1141492 h 1475329"/>
                    <a:gd name="connsiteX1386" fmla="*/ 1754197 w 4040759"/>
                    <a:gd name="connsiteY1386" fmla="*/ 1142984 h 1475329"/>
                    <a:gd name="connsiteX1387" fmla="*/ 1755836 w 4040759"/>
                    <a:gd name="connsiteY1387" fmla="*/ 1144280 h 1475329"/>
                    <a:gd name="connsiteX1388" fmla="*/ 1757702 w 4040759"/>
                    <a:gd name="connsiteY1388" fmla="*/ 1144695 h 1475329"/>
                    <a:gd name="connsiteX1389" fmla="*/ 1759160 w 4040759"/>
                    <a:gd name="connsiteY1389" fmla="*/ 1145567 h 1475329"/>
                    <a:gd name="connsiteX1390" fmla="*/ 1759487 w 4040759"/>
                    <a:gd name="connsiteY1390" fmla="*/ 1147262 h 1475329"/>
                    <a:gd name="connsiteX1391" fmla="*/ 1759120 w 4040759"/>
                    <a:gd name="connsiteY1391" fmla="*/ 1149609 h 1475329"/>
                    <a:gd name="connsiteX1392" fmla="*/ 1758452 w 4040759"/>
                    <a:gd name="connsiteY1392" fmla="*/ 1154018 h 1475329"/>
                    <a:gd name="connsiteX1393" fmla="*/ 1757197 w 4040759"/>
                    <a:gd name="connsiteY1393" fmla="*/ 1156740 h 1475329"/>
                    <a:gd name="connsiteX1394" fmla="*/ 1756455 w 4040759"/>
                    <a:gd name="connsiteY1394" fmla="*/ 1158460 h 1475329"/>
                    <a:gd name="connsiteX1395" fmla="*/ 1755265 w 4040759"/>
                    <a:gd name="connsiteY1395" fmla="*/ 1161166 h 1475329"/>
                    <a:gd name="connsiteX1396" fmla="*/ 1754801 w 4040759"/>
                    <a:gd name="connsiteY1396" fmla="*/ 1162209 h 1475329"/>
                    <a:gd name="connsiteX1397" fmla="*/ 1752339 w 4040759"/>
                    <a:gd name="connsiteY1397" fmla="*/ 1164523 h 1475329"/>
                    <a:gd name="connsiteX1398" fmla="*/ 1750661 w 4040759"/>
                    <a:gd name="connsiteY1398" fmla="*/ 1165167 h 1475329"/>
                    <a:gd name="connsiteX1399" fmla="*/ 1748607 w 4040759"/>
                    <a:gd name="connsiteY1399" fmla="*/ 1166993 h 1475329"/>
                    <a:gd name="connsiteX1400" fmla="*/ 1746911 w 4040759"/>
                    <a:gd name="connsiteY1400" fmla="*/ 1167066 h 1475329"/>
                    <a:gd name="connsiteX1401" fmla="*/ 1745306 w 4040759"/>
                    <a:gd name="connsiteY1401" fmla="*/ 1167066 h 1475329"/>
                    <a:gd name="connsiteX1402" fmla="*/ 1743578 w 4040759"/>
                    <a:gd name="connsiteY1402" fmla="*/ 1167466 h 1475329"/>
                    <a:gd name="connsiteX1403" fmla="*/ 1742054 w 4040759"/>
                    <a:gd name="connsiteY1403" fmla="*/ 1168272 h 1475329"/>
                    <a:gd name="connsiteX1404" fmla="*/ 1740840 w 4040759"/>
                    <a:gd name="connsiteY1404" fmla="*/ 1170766 h 1475329"/>
                    <a:gd name="connsiteX1405" fmla="*/ 1737808 w 4040759"/>
                    <a:gd name="connsiteY1405" fmla="*/ 1173309 h 1475329"/>
                    <a:gd name="connsiteX1406" fmla="*/ 1736358 w 4040759"/>
                    <a:gd name="connsiteY1406" fmla="*/ 1174466 h 1475329"/>
                    <a:gd name="connsiteX1407" fmla="*/ 1732609 w 4040759"/>
                    <a:gd name="connsiteY1407" fmla="*/ 1174849 h 1475329"/>
                    <a:gd name="connsiteX1408" fmla="*/ 1730832 w 4040759"/>
                    <a:gd name="connsiteY1408" fmla="*/ 1173724 h 1475329"/>
                    <a:gd name="connsiteX1409" fmla="*/ 1729854 w 4040759"/>
                    <a:gd name="connsiteY1409" fmla="*/ 1172152 h 1475329"/>
                    <a:gd name="connsiteX1410" fmla="*/ 1728648 w 4040759"/>
                    <a:gd name="connsiteY1410" fmla="*/ 1171247 h 1475329"/>
                    <a:gd name="connsiteX1411" fmla="*/ 1727083 w 4040759"/>
                    <a:gd name="connsiteY1411" fmla="*/ 1169324 h 1475329"/>
                    <a:gd name="connsiteX1412" fmla="*/ 1720287 w 4040759"/>
                    <a:gd name="connsiteY1412" fmla="*/ 1168272 h 1475329"/>
                    <a:gd name="connsiteX1413" fmla="*/ 1718501 w 4040759"/>
                    <a:gd name="connsiteY1413" fmla="*/ 1168769 h 1475329"/>
                    <a:gd name="connsiteX1414" fmla="*/ 1717475 w 4040759"/>
                    <a:gd name="connsiteY1414" fmla="*/ 1169478 h 1475329"/>
                    <a:gd name="connsiteX1415" fmla="*/ 1716106 w 4040759"/>
                    <a:gd name="connsiteY1415" fmla="*/ 1168965 h 1475329"/>
                    <a:gd name="connsiteX1416" fmla="*/ 1715177 w 4040759"/>
                    <a:gd name="connsiteY1416" fmla="*/ 1168012 h 1475329"/>
                    <a:gd name="connsiteX1417" fmla="*/ 1714199 w 4040759"/>
                    <a:gd name="connsiteY1417" fmla="*/ 1168272 h 1475329"/>
                    <a:gd name="connsiteX1418" fmla="*/ 1712088 w 4040759"/>
                    <a:gd name="connsiteY1418" fmla="*/ 1168835 h 1475329"/>
                    <a:gd name="connsiteX1419" fmla="*/ 1710442 w 4040759"/>
                    <a:gd name="connsiteY1419" fmla="*/ 1168655 h 1475329"/>
                    <a:gd name="connsiteX1420" fmla="*/ 1708323 w 4040759"/>
                    <a:gd name="connsiteY1420" fmla="*/ 1166716 h 1475329"/>
                    <a:gd name="connsiteX1421" fmla="*/ 1705405 w 4040759"/>
                    <a:gd name="connsiteY1421" fmla="*/ 1165689 h 1475329"/>
                    <a:gd name="connsiteX1422" fmla="*/ 1704256 w 4040759"/>
                    <a:gd name="connsiteY1422" fmla="*/ 1165094 h 1475329"/>
                    <a:gd name="connsiteX1423" fmla="*/ 1703099 w 4040759"/>
                    <a:gd name="connsiteY1423" fmla="*/ 1165094 h 1475329"/>
                    <a:gd name="connsiteX1424" fmla="*/ 1702373 w 4040759"/>
                    <a:gd name="connsiteY1424" fmla="*/ 1166015 h 1475329"/>
                    <a:gd name="connsiteX1425" fmla="*/ 1701045 w 4040759"/>
                    <a:gd name="connsiteY1425" fmla="*/ 1166504 h 1475329"/>
                    <a:gd name="connsiteX1426" fmla="*/ 1700132 w 4040759"/>
                    <a:gd name="connsiteY1426" fmla="*/ 1165395 h 1475329"/>
                    <a:gd name="connsiteX1427" fmla="*/ 1698959 w 4040759"/>
                    <a:gd name="connsiteY1427" fmla="*/ 1164572 h 1475329"/>
                    <a:gd name="connsiteX1428" fmla="*/ 1697410 w 4040759"/>
                    <a:gd name="connsiteY1428" fmla="*/ 1164597 h 1475329"/>
                    <a:gd name="connsiteX1429" fmla="*/ 1695381 w 4040759"/>
                    <a:gd name="connsiteY1429" fmla="*/ 1166292 h 1475329"/>
                    <a:gd name="connsiteX1430" fmla="*/ 1691901 w 4040759"/>
                    <a:gd name="connsiteY1430" fmla="*/ 1167099 h 1475329"/>
                    <a:gd name="connsiteX1431" fmla="*/ 1690793 w 4040759"/>
                    <a:gd name="connsiteY1431" fmla="*/ 1168280 h 1475329"/>
                    <a:gd name="connsiteX1432" fmla="*/ 1688787 w 4040759"/>
                    <a:gd name="connsiteY1432" fmla="*/ 1168126 h 1475329"/>
                    <a:gd name="connsiteX1433" fmla="*/ 1687394 w 4040759"/>
                    <a:gd name="connsiteY1433" fmla="*/ 1167197 h 1475329"/>
                    <a:gd name="connsiteX1434" fmla="*/ 1686000 w 4040759"/>
                    <a:gd name="connsiteY1434" fmla="*/ 1167082 h 1475329"/>
                    <a:gd name="connsiteX1435" fmla="*/ 1681950 w 4040759"/>
                    <a:gd name="connsiteY1435" fmla="*/ 1167099 h 1475329"/>
                    <a:gd name="connsiteX1436" fmla="*/ 1680597 w 4040759"/>
                    <a:gd name="connsiteY1436" fmla="*/ 1167400 h 1475329"/>
                    <a:gd name="connsiteX1437" fmla="*/ 1678935 w 4040759"/>
                    <a:gd name="connsiteY1437" fmla="*/ 1166455 h 1475329"/>
                    <a:gd name="connsiteX1438" fmla="*/ 1678144 w 4040759"/>
                    <a:gd name="connsiteY1438" fmla="*/ 1164752 h 1475329"/>
                    <a:gd name="connsiteX1439" fmla="*/ 1676107 w 4040759"/>
                    <a:gd name="connsiteY1439" fmla="*/ 1163456 h 1475329"/>
                    <a:gd name="connsiteX1440" fmla="*/ 1673156 w 4040759"/>
                    <a:gd name="connsiteY1440" fmla="*/ 1163293 h 1475329"/>
                    <a:gd name="connsiteX1441" fmla="*/ 1670842 w 4040759"/>
                    <a:gd name="connsiteY1441" fmla="*/ 1163472 h 1475329"/>
                    <a:gd name="connsiteX1442" fmla="*/ 1669782 w 4040759"/>
                    <a:gd name="connsiteY1442" fmla="*/ 1164026 h 1475329"/>
                    <a:gd name="connsiteX1443" fmla="*/ 1668275 w 4040759"/>
                    <a:gd name="connsiteY1443" fmla="*/ 1164181 h 1475329"/>
                    <a:gd name="connsiteX1444" fmla="*/ 1667036 w 4040759"/>
                    <a:gd name="connsiteY1444" fmla="*/ 1161842 h 1475329"/>
                    <a:gd name="connsiteX1445" fmla="*/ 1665349 w 4040759"/>
                    <a:gd name="connsiteY1445" fmla="*/ 1160204 h 1475329"/>
                    <a:gd name="connsiteX1446" fmla="*/ 1664395 w 4040759"/>
                    <a:gd name="connsiteY1446" fmla="*/ 1159006 h 1475329"/>
                    <a:gd name="connsiteX1447" fmla="*/ 1662953 w 4040759"/>
                    <a:gd name="connsiteY1447" fmla="*/ 1158493 h 1475329"/>
                    <a:gd name="connsiteX1448" fmla="*/ 1661820 w 4040759"/>
                    <a:gd name="connsiteY1448" fmla="*/ 1156961 h 1475329"/>
                    <a:gd name="connsiteX1449" fmla="*/ 1661633 w 4040759"/>
                    <a:gd name="connsiteY1449" fmla="*/ 1153978 h 1475329"/>
                    <a:gd name="connsiteX1450" fmla="*/ 1660948 w 4040759"/>
                    <a:gd name="connsiteY1450" fmla="*/ 1150261 h 1475329"/>
                    <a:gd name="connsiteX1451" fmla="*/ 1660141 w 4040759"/>
                    <a:gd name="connsiteY1451" fmla="*/ 1146374 h 1475329"/>
                    <a:gd name="connsiteX1452" fmla="*/ 1659261 w 4040759"/>
                    <a:gd name="connsiteY1452" fmla="*/ 1144720 h 1475329"/>
                    <a:gd name="connsiteX1453" fmla="*/ 1654901 w 4040759"/>
                    <a:gd name="connsiteY1453" fmla="*/ 1144125 h 1475329"/>
                    <a:gd name="connsiteX1454" fmla="*/ 1652774 w 4040759"/>
                    <a:gd name="connsiteY1454" fmla="*/ 1144263 h 1475329"/>
                    <a:gd name="connsiteX1455" fmla="*/ 1647949 w 4040759"/>
                    <a:gd name="connsiteY1455" fmla="*/ 1143953 h 1475329"/>
                    <a:gd name="connsiteX1456" fmla="*/ 1644649 w 4040759"/>
                    <a:gd name="connsiteY1456" fmla="*/ 1143725 h 1475329"/>
                    <a:gd name="connsiteX1457" fmla="*/ 1643736 w 4040759"/>
                    <a:gd name="connsiteY1457" fmla="*/ 1143652 h 1475329"/>
                    <a:gd name="connsiteX1458" fmla="*/ 1640647 w 4040759"/>
                    <a:gd name="connsiteY1458" fmla="*/ 1143228 h 1475329"/>
                    <a:gd name="connsiteX1459" fmla="*/ 1637819 w 4040759"/>
                    <a:gd name="connsiteY1459" fmla="*/ 1142813 h 1475329"/>
                    <a:gd name="connsiteX1460" fmla="*/ 1634934 w 4040759"/>
                    <a:gd name="connsiteY1460" fmla="*/ 1142560 h 1475329"/>
                    <a:gd name="connsiteX1461" fmla="*/ 1633744 w 4040759"/>
                    <a:gd name="connsiteY1461" fmla="*/ 1142886 h 1475329"/>
                    <a:gd name="connsiteX1462" fmla="*/ 1630778 w 4040759"/>
                    <a:gd name="connsiteY1462" fmla="*/ 1142984 h 1475329"/>
                    <a:gd name="connsiteX1463" fmla="*/ 1628471 w 4040759"/>
                    <a:gd name="connsiteY1463" fmla="*/ 1141126 h 1475329"/>
                    <a:gd name="connsiteX1464" fmla="*/ 1627493 w 4040759"/>
                    <a:gd name="connsiteY1464" fmla="*/ 1139007 h 1475329"/>
                    <a:gd name="connsiteX1465" fmla="*/ 1627322 w 4040759"/>
                    <a:gd name="connsiteY1465" fmla="*/ 1137817 h 1475329"/>
                    <a:gd name="connsiteX1466" fmla="*/ 1626768 w 4040759"/>
                    <a:gd name="connsiteY1466" fmla="*/ 1136586 h 1475329"/>
                    <a:gd name="connsiteX1467" fmla="*/ 1624665 w 4040759"/>
                    <a:gd name="connsiteY1467" fmla="*/ 1136195 h 1475329"/>
                    <a:gd name="connsiteX1468" fmla="*/ 1622750 w 4040759"/>
                    <a:gd name="connsiteY1468" fmla="*/ 1136578 h 1475329"/>
                    <a:gd name="connsiteX1469" fmla="*/ 1621740 w 4040759"/>
                    <a:gd name="connsiteY1469" fmla="*/ 1139064 h 1475329"/>
                    <a:gd name="connsiteX1470" fmla="*/ 1620322 w 4040759"/>
                    <a:gd name="connsiteY1470" fmla="*/ 1140074 h 1475329"/>
                    <a:gd name="connsiteX1471" fmla="*/ 1618961 w 4040759"/>
                    <a:gd name="connsiteY1471" fmla="*/ 1139887 h 1475329"/>
                    <a:gd name="connsiteX1472" fmla="*/ 1617779 w 4040759"/>
                    <a:gd name="connsiteY1472" fmla="*/ 1138534 h 1475329"/>
                    <a:gd name="connsiteX1473" fmla="*/ 1615489 w 4040759"/>
                    <a:gd name="connsiteY1473" fmla="*/ 1137075 h 1475329"/>
                    <a:gd name="connsiteX1474" fmla="*/ 1613997 w 4040759"/>
                    <a:gd name="connsiteY1474" fmla="*/ 1135673 h 1475329"/>
                    <a:gd name="connsiteX1475" fmla="*/ 1612221 w 4040759"/>
                    <a:gd name="connsiteY1475" fmla="*/ 1133440 h 1475329"/>
                    <a:gd name="connsiteX1476" fmla="*/ 1610754 w 4040759"/>
                    <a:gd name="connsiteY1476" fmla="*/ 1133962 h 1475329"/>
                    <a:gd name="connsiteX1477" fmla="*/ 1610346 w 4040759"/>
                    <a:gd name="connsiteY1477" fmla="*/ 1135347 h 1475329"/>
                    <a:gd name="connsiteX1478" fmla="*/ 1609996 w 4040759"/>
                    <a:gd name="connsiteY1478" fmla="*/ 1136700 h 1475329"/>
                    <a:gd name="connsiteX1479" fmla="*/ 1608195 w 4040759"/>
                    <a:gd name="connsiteY1479" fmla="*/ 1139439 h 1475329"/>
                    <a:gd name="connsiteX1480" fmla="*/ 1606003 w 4040759"/>
                    <a:gd name="connsiteY1480" fmla="*/ 1139756 h 1475329"/>
                    <a:gd name="connsiteX1481" fmla="*/ 1602343 w 4040759"/>
                    <a:gd name="connsiteY1481" fmla="*/ 1139544 h 1475329"/>
                    <a:gd name="connsiteX1482" fmla="*/ 1598570 w 4040759"/>
                    <a:gd name="connsiteY1482" fmla="*/ 1139699 h 1475329"/>
                    <a:gd name="connsiteX1483" fmla="*/ 1596141 w 4040759"/>
                    <a:gd name="connsiteY1483" fmla="*/ 1140726 h 1475329"/>
                    <a:gd name="connsiteX1484" fmla="*/ 1594349 w 4040759"/>
                    <a:gd name="connsiteY1484" fmla="*/ 1142576 h 1475329"/>
                    <a:gd name="connsiteX1485" fmla="*/ 1593420 w 4040759"/>
                    <a:gd name="connsiteY1485" fmla="*/ 1144027 h 1475329"/>
                    <a:gd name="connsiteX1486" fmla="*/ 1591561 w 4040759"/>
                    <a:gd name="connsiteY1486" fmla="*/ 1144516 h 1475329"/>
                    <a:gd name="connsiteX1487" fmla="*/ 1589687 w 4040759"/>
                    <a:gd name="connsiteY1487" fmla="*/ 1145975 h 1475329"/>
                    <a:gd name="connsiteX1488" fmla="*/ 1588921 w 4040759"/>
                    <a:gd name="connsiteY1488" fmla="*/ 1147963 h 1475329"/>
                    <a:gd name="connsiteX1489" fmla="*/ 1587071 w 4040759"/>
                    <a:gd name="connsiteY1489" fmla="*/ 1147882 h 1475329"/>
                    <a:gd name="connsiteX1490" fmla="*/ 1586077 w 4040759"/>
                    <a:gd name="connsiteY1490" fmla="*/ 1148126 h 1475329"/>
                    <a:gd name="connsiteX1491" fmla="*/ 1584422 w 4040759"/>
                    <a:gd name="connsiteY1491" fmla="*/ 1148534 h 1475329"/>
                    <a:gd name="connsiteX1492" fmla="*/ 1580184 w 4040759"/>
                    <a:gd name="connsiteY1492" fmla="*/ 1149618 h 1475329"/>
                    <a:gd name="connsiteX1493" fmla="*/ 1579157 w 4040759"/>
                    <a:gd name="connsiteY1493" fmla="*/ 1149878 h 1475329"/>
                    <a:gd name="connsiteX1494" fmla="*/ 1576574 w 4040759"/>
                    <a:gd name="connsiteY1494" fmla="*/ 1151761 h 1475329"/>
                    <a:gd name="connsiteX1495" fmla="*/ 1574602 w 4040759"/>
                    <a:gd name="connsiteY1495" fmla="*/ 1153236 h 1475329"/>
                    <a:gd name="connsiteX1496" fmla="*/ 1572687 w 4040759"/>
                    <a:gd name="connsiteY1496" fmla="*/ 1153880 h 1475329"/>
                    <a:gd name="connsiteX1497" fmla="*/ 1571538 w 4040759"/>
                    <a:gd name="connsiteY1497" fmla="*/ 1155583 h 1475329"/>
                    <a:gd name="connsiteX1498" fmla="*/ 1570062 w 4040759"/>
                    <a:gd name="connsiteY1498" fmla="*/ 1156936 h 1475329"/>
                    <a:gd name="connsiteX1499" fmla="*/ 1566639 w 4040759"/>
                    <a:gd name="connsiteY1499" fmla="*/ 1157262 h 1475329"/>
                    <a:gd name="connsiteX1500" fmla="*/ 1562858 w 4040759"/>
                    <a:gd name="connsiteY1500" fmla="*/ 1158965 h 1475329"/>
                    <a:gd name="connsiteX1501" fmla="*/ 1561529 w 4040759"/>
                    <a:gd name="connsiteY1501" fmla="*/ 1159536 h 1475329"/>
                    <a:gd name="connsiteX1502" fmla="*/ 1559378 w 4040759"/>
                    <a:gd name="connsiteY1502" fmla="*/ 1160791 h 1475329"/>
                    <a:gd name="connsiteX1503" fmla="*/ 1556395 w 4040759"/>
                    <a:gd name="connsiteY1503" fmla="*/ 1161280 h 1475329"/>
                    <a:gd name="connsiteX1504" fmla="*/ 1555149 w 4040759"/>
                    <a:gd name="connsiteY1504" fmla="*/ 1161630 h 1475329"/>
                    <a:gd name="connsiteX1505" fmla="*/ 1553942 w 4040759"/>
                    <a:gd name="connsiteY1505" fmla="*/ 1162527 h 1475329"/>
                    <a:gd name="connsiteX1506" fmla="*/ 1553257 w 4040759"/>
                    <a:gd name="connsiteY1506" fmla="*/ 1165624 h 1475329"/>
                    <a:gd name="connsiteX1507" fmla="*/ 1550788 w 4040759"/>
                    <a:gd name="connsiteY1507" fmla="*/ 1166740 h 1475329"/>
                    <a:gd name="connsiteX1508" fmla="*/ 1547471 w 4040759"/>
                    <a:gd name="connsiteY1508" fmla="*/ 1166936 h 1475329"/>
                    <a:gd name="connsiteX1509" fmla="*/ 1544986 w 4040759"/>
                    <a:gd name="connsiteY1509" fmla="*/ 1168582 h 1475329"/>
                    <a:gd name="connsiteX1510" fmla="*/ 1544749 w 4040759"/>
                    <a:gd name="connsiteY1510" fmla="*/ 1171483 h 1475329"/>
                    <a:gd name="connsiteX1511" fmla="*/ 1545621 w 4040759"/>
                    <a:gd name="connsiteY1511" fmla="*/ 1174140 h 1475329"/>
                    <a:gd name="connsiteX1512" fmla="*/ 1545238 w 4040759"/>
                    <a:gd name="connsiteY1512" fmla="*/ 1175338 h 1475329"/>
                    <a:gd name="connsiteX1513" fmla="*/ 1543372 w 4040759"/>
                    <a:gd name="connsiteY1513" fmla="*/ 1175982 h 1475329"/>
                    <a:gd name="connsiteX1514" fmla="*/ 1540796 w 4040759"/>
                    <a:gd name="connsiteY1514" fmla="*/ 1177400 h 1475329"/>
                    <a:gd name="connsiteX1515" fmla="*/ 1538824 w 4040759"/>
                    <a:gd name="connsiteY1515" fmla="*/ 1179185 h 1475329"/>
                    <a:gd name="connsiteX1516" fmla="*/ 1536428 w 4040759"/>
                    <a:gd name="connsiteY1516" fmla="*/ 1179201 h 1475329"/>
                    <a:gd name="connsiteX1517" fmla="*/ 1535067 w 4040759"/>
                    <a:gd name="connsiteY1517" fmla="*/ 1178622 h 1475329"/>
                    <a:gd name="connsiteX1518" fmla="*/ 1534048 w 4040759"/>
                    <a:gd name="connsiteY1518" fmla="*/ 1179763 h 1475329"/>
                    <a:gd name="connsiteX1519" fmla="*/ 1533478 w 4040759"/>
                    <a:gd name="connsiteY1519" fmla="*/ 1182070 h 1475329"/>
                    <a:gd name="connsiteX1520" fmla="*/ 1531726 w 4040759"/>
                    <a:gd name="connsiteY1520" fmla="*/ 1183178 h 1475329"/>
                    <a:gd name="connsiteX1521" fmla="*/ 1529224 w 4040759"/>
                    <a:gd name="connsiteY1521" fmla="*/ 1184221 h 1475329"/>
                    <a:gd name="connsiteX1522" fmla="*/ 1528287 w 4040759"/>
                    <a:gd name="connsiteY1522" fmla="*/ 1183830 h 1475329"/>
                    <a:gd name="connsiteX1523" fmla="*/ 1527651 w 4040759"/>
                    <a:gd name="connsiteY1523" fmla="*/ 1182966 h 1475329"/>
                    <a:gd name="connsiteX1524" fmla="*/ 1526534 w 4040759"/>
                    <a:gd name="connsiteY1524" fmla="*/ 1181801 h 1475329"/>
                    <a:gd name="connsiteX1525" fmla="*/ 1525646 w 4040759"/>
                    <a:gd name="connsiteY1525" fmla="*/ 1182241 h 1475329"/>
                    <a:gd name="connsiteX1526" fmla="*/ 1525549 w 4040759"/>
                    <a:gd name="connsiteY1526" fmla="*/ 1183904 h 1475329"/>
                    <a:gd name="connsiteX1527" fmla="*/ 1524839 w 4040759"/>
                    <a:gd name="connsiteY1527" fmla="*/ 1185110 h 1475329"/>
                    <a:gd name="connsiteX1528" fmla="*/ 1522761 w 4040759"/>
                    <a:gd name="connsiteY1528" fmla="*/ 1185191 h 1475329"/>
                    <a:gd name="connsiteX1529" fmla="*/ 1521147 w 4040759"/>
                    <a:gd name="connsiteY1529" fmla="*/ 1184523 h 1475329"/>
                    <a:gd name="connsiteX1530" fmla="*/ 1519917 w 4040759"/>
                    <a:gd name="connsiteY1530" fmla="*/ 1183732 h 1475329"/>
                    <a:gd name="connsiteX1531" fmla="*/ 1517708 w 4040759"/>
                    <a:gd name="connsiteY1531" fmla="*/ 1183863 h 1475329"/>
                    <a:gd name="connsiteX1532" fmla="*/ 1515434 w 4040759"/>
                    <a:gd name="connsiteY1532" fmla="*/ 1184221 h 1475329"/>
                    <a:gd name="connsiteX1533" fmla="*/ 1513968 w 4040759"/>
                    <a:gd name="connsiteY1533" fmla="*/ 1183855 h 1475329"/>
                    <a:gd name="connsiteX1534" fmla="*/ 1512590 w 4040759"/>
                    <a:gd name="connsiteY1534" fmla="*/ 1184229 h 1475329"/>
                    <a:gd name="connsiteX1535" fmla="*/ 1508988 w 4040759"/>
                    <a:gd name="connsiteY1535" fmla="*/ 1184987 h 1475329"/>
                    <a:gd name="connsiteX1536" fmla="*/ 1507578 w 4040759"/>
                    <a:gd name="connsiteY1536" fmla="*/ 1187538 h 1475329"/>
                    <a:gd name="connsiteX1537" fmla="*/ 1507537 w 4040759"/>
                    <a:gd name="connsiteY1537" fmla="*/ 1190546 h 1475329"/>
                    <a:gd name="connsiteX1538" fmla="*/ 1507089 w 4040759"/>
                    <a:gd name="connsiteY1538" fmla="*/ 1192078 h 1475329"/>
                    <a:gd name="connsiteX1539" fmla="*/ 1504922 w 4040759"/>
                    <a:gd name="connsiteY1539" fmla="*/ 1193398 h 1475329"/>
                    <a:gd name="connsiteX1540" fmla="*/ 1503919 w 4040759"/>
                    <a:gd name="connsiteY1540" fmla="*/ 1194588 h 1475329"/>
                    <a:gd name="connsiteX1541" fmla="*/ 1502591 w 4040759"/>
                    <a:gd name="connsiteY1541" fmla="*/ 1195403 h 1475329"/>
                    <a:gd name="connsiteX1542" fmla="*/ 1499698 w 4040759"/>
                    <a:gd name="connsiteY1542" fmla="*/ 1195492 h 1475329"/>
                    <a:gd name="connsiteX1543" fmla="*/ 1499608 w 4040759"/>
                    <a:gd name="connsiteY1543" fmla="*/ 1195476 h 1475329"/>
                    <a:gd name="connsiteX1544" fmla="*/ 1498328 w 4040759"/>
                    <a:gd name="connsiteY1544" fmla="*/ 1195354 h 1475329"/>
                    <a:gd name="connsiteX1545" fmla="*/ 1495981 w 4040759"/>
                    <a:gd name="connsiteY1545" fmla="*/ 1196030 h 1475329"/>
                    <a:gd name="connsiteX1546" fmla="*/ 1493716 w 4040759"/>
                    <a:gd name="connsiteY1546" fmla="*/ 1196568 h 1475329"/>
                    <a:gd name="connsiteX1547" fmla="*/ 1492208 w 4040759"/>
                    <a:gd name="connsiteY1547" fmla="*/ 1196919 h 1475329"/>
                    <a:gd name="connsiteX1548" fmla="*/ 1491222 w 4040759"/>
                    <a:gd name="connsiteY1548" fmla="*/ 1198043 h 1475329"/>
                    <a:gd name="connsiteX1549" fmla="*/ 1489755 w 4040759"/>
                    <a:gd name="connsiteY1549" fmla="*/ 1198581 h 1475329"/>
                    <a:gd name="connsiteX1550" fmla="*/ 1487416 w 4040759"/>
                    <a:gd name="connsiteY1550" fmla="*/ 1198247 h 1475329"/>
                    <a:gd name="connsiteX1551" fmla="*/ 1486780 w 4040759"/>
                    <a:gd name="connsiteY1551" fmla="*/ 1196006 h 1475329"/>
                    <a:gd name="connsiteX1552" fmla="*/ 1485207 w 4040759"/>
                    <a:gd name="connsiteY1552" fmla="*/ 1193528 h 1475329"/>
                    <a:gd name="connsiteX1553" fmla="*/ 1483080 w 4040759"/>
                    <a:gd name="connsiteY1553" fmla="*/ 1192673 h 1475329"/>
                    <a:gd name="connsiteX1554" fmla="*/ 1481157 w 4040759"/>
                    <a:gd name="connsiteY1554" fmla="*/ 1192135 h 1475329"/>
                    <a:gd name="connsiteX1555" fmla="*/ 1479437 w 4040759"/>
                    <a:gd name="connsiteY1555" fmla="*/ 1190953 h 1475329"/>
                    <a:gd name="connsiteX1556" fmla="*/ 1478239 w 4040759"/>
                    <a:gd name="connsiteY1556" fmla="*/ 1189690 h 1475329"/>
                    <a:gd name="connsiteX1557" fmla="*/ 1474751 w 4040759"/>
                    <a:gd name="connsiteY1557" fmla="*/ 1183675 h 1475329"/>
                    <a:gd name="connsiteX1558" fmla="*/ 1472323 w 4040759"/>
                    <a:gd name="connsiteY1558" fmla="*/ 1181108 h 1475329"/>
                    <a:gd name="connsiteX1559" fmla="*/ 1470155 w 4040759"/>
                    <a:gd name="connsiteY1559" fmla="*/ 1180961 h 1475329"/>
                    <a:gd name="connsiteX1560" fmla="*/ 1469837 w 4040759"/>
                    <a:gd name="connsiteY1560" fmla="*/ 1179250 h 1475329"/>
                    <a:gd name="connsiteX1561" fmla="*/ 1471108 w 4040759"/>
                    <a:gd name="connsiteY1561" fmla="*/ 1177547 h 1475329"/>
                    <a:gd name="connsiteX1562" fmla="*/ 1472722 w 4040759"/>
                    <a:gd name="connsiteY1562" fmla="*/ 1176137 h 1475329"/>
                    <a:gd name="connsiteX1563" fmla="*/ 1472689 w 4040759"/>
                    <a:gd name="connsiteY1563" fmla="*/ 1174197 h 1475329"/>
                    <a:gd name="connsiteX1564" fmla="*/ 1471361 w 4040759"/>
                    <a:gd name="connsiteY1564" fmla="*/ 1173162 h 1475329"/>
                    <a:gd name="connsiteX1565" fmla="*/ 1469747 w 4040759"/>
                    <a:gd name="connsiteY1565" fmla="*/ 1173456 h 1475329"/>
                    <a:gd name="connsiteX1566" fmla="*/ 1467563 w 4040759"/>
                    <a:gd name="connsiteY1566" fmla="*/ 1175689 h 1475329"/>
                    <a:gd name="connsiteX1567" fmla="*/ 1464972 w 4040759"/>
                    <a:gd name="connsiteY1567" fmla="*/ 1178215 h 1475329"/>
                    <a:gd name="connsiteX1568" fmla="*/ 1461850 w 4040759"/>
                    <a:gd name="connsiteY1568" fmla="*/ 1180065 h 1475329"/>
                    <a:gd name="connsiteX1569" fmla="*/ 1460620 w 4040759"/>
                    <a:gd name="connsiteY1569" fmla="*/ 1181556 h 1475329"/>
                    <a:gd name="connsiteX1570" fmla="*/ 1459087 w 4040759"/>
                    <a:gd name="connsiteY1570" fmla="*/ 1183260 h 1475329"/>
                    <a:gd name="connsiteX1571" fmla="*/ 1456912 w 4040759"/>
                    <a:gd name="connsiteY1571" fmla="*/ 1183040 h 1475329"/>
                    <a:gd name="connsiteX1572" fmla="*/ 1455347 w 4040759"/>
                    <a:gd name="connsiteY1572" fmla="*/ 1183113 h 1475329"/>
                    <a:gd name="connsiteX1573" fmla="*/ 1453978 w 4040759"/>
                    <a:gd name="connsiteY1573" fmla="*/ 1183260 h 1475329"/>
                    <a:gd name="connsiteX1574" fmla="*/ 1452959 w 4040759"/>
                    <a:gd name="connsiteY1574" fmla="*/ 1181401 h 1475329"/>
                    <a:gd name="connsiteX1575" fmla="*/ 1451647 w 4040759"/>
                    <a:gd name="connsiteY1575" fmla="*/ 1181182 h 1475329"/>
                    <a:gd name="connsiteX1576" fmla="*/ 1442168 w 4040759"/>
                    <a:gd name="connsiteY1576" fmla="*/ 1179413 h 1475329"/>
                    <a:gd name="connsiteX1577" fmla="*/ 1439023 w 4040759"/>
                    <a:gd name="connsiteY1577" fmla="*/ 1178737 h 1475329"/>
                    <a:gd name="connsiteX1578" fmla="*/ 1437043 w 4040759"/>
                    <a:gd name="connsiteY1578" fmla="*/ 1179625 h 1475329"/>
                    <a:gd name="connsiteX1579" fmla="*/ 1435575 w 4040759"/>
                    <a:gd name="connsiteY1579" fmla="*/ 1179030 h 1475329"/>
                    <a:gd name="connsiteX1580" fmla="*/ 1435021 w 4040759"/>
                    <a:gd name="connsiteY1580" fmla="*/ 1177245 h 1475329"/>
                    <a:gd name="connsiteX1581" fmla="*/ 1433188 w 4040759"/>
                    <a:gd name="connsiteY1581" fmla="*/ 1174124 h 1475329"/>
                    <a:gd name="connsiteX1582" fmla="*/ 1431704 w 4040759"/>
                    <a:gd name="connsiteY1582" fmla="*/ 1171540 h 1475329"/>
                    <a:gd name="connsiteX1583" fmla="*/ 1429822 w 4040759"/>
                    <a:gd name="connsiteY1583" fmla="*/ 1168908 h 1475329"/>
                    <a:gd name="connsiteX1584" fmla="*/ 1429194 w 4040759"/>
                    <a:gd name="connsiteY1584" fmla="*/ 1166830 h 1475329"/>
                    <a:gd name="connsiteX1585" fmla="*/ 1429797 w 4040759"/>
                    <a:gd name="connsiteY1585" fmla="*/ 1164670 h 1475329"/>
                    <a:gd name="connsiteX1586" fmla="*/ 1429544 w 4040759"/>
                    <a:gd name="connsiteY1586" fmla="*/ 1162812 h 1475329"/>
                    <a:gd name="connsiteX1587" fmla="*/ 1427923 w 4040759"/>
                    <a:gd name="connsiteY1587" fmla="*/ 1161842 h 1475329"/>
                    <a:gd name="connsiteX1588" fmla="*/ 1425812 w 4040759"/>
                    <a:gd name="connsiteY1588" fmla="*/ 1161720 h 1475329"/>
                    <a:gd name="connsiteX1589" fmla="*/ 1420067 w 4040759"/>
                    <a:gd name="connsiteY1589" fmla="*/ 1157661 h 1475329"/>
                    <a:gd name="connsiteX1590" fmla="*/ 1417385 w 4040759"/>
                    <a:gd name="connsiteY1590" fmla="*/ 1157066 h 1475329"/>
                    <a:gd name="connsiteX1591" fmla="*/ 1414949 w 4040759"/>
                    <a:gd name="connsiteY1591" fmla="*/ 1156325 h 1475329"/>
                    <a:gd name="connsiteX1592" fmla="*/ 1413017 w 4040759"/>
                    <a:gd name="connsiteY1592" fmla="*/ 1156325 h 1475329"/>
                    <a:gd name="connsiteX1593" fmla="*/ 1411404 w 4040759"/>
                    <a:gd name="connsiteY1593" fmla="*/ 1154532 h 1475329"/>
                    <a:gd name="connsiteX1594" fmla="*/ 1409830 w 4040759"/>
                    <a:gd name="connsiteY1594" fmla="*/ 1149072 h 1475329"/>
                    <a:gd name="connsiteX1595" fmla="*/ 1409374 w 4040759"/>
                    <a:gd name="connsiteY1595" fmla="*/ 1146032 h 1475329"/>
                    <a:gd name="connsiteX1596" fmla="*/ 1407467 w 4040759"/>
                    <a:gd name="connsiteY1596" fmla="*/ 1142951 h 1475329"/>
                    <a:gd name="connsiteX1597" fmla="*/ 1405063 w 4040759"/>
                    <a:gd name="connsiteY1597" fmla="*/ 1140311 h 1475329"/>
                    <a:gd name="connsiteX1598" fmla="*/ 1403637 w 4040759"/>
                    <a:gd name="connsiteY1598" fmla="*/ 1136725 h 1475329"/>
                    <a:gd name="connsiteX1599" fmla="*/ 1401526 w 4040759"/>
                    <a:gd name="connsiteY1599" fmla="*/ 1135127 h 1475329"/>
                    <a:gd name="connsiteX1600" fmla="*/ 1398005 w 4040759"/>
                    <a:gd name="connsiteY1600" fmla="*/ 1132593 h 1475329"/>
                    <a:gd name="connsiteX1601" fmla="*/ 1394623 w 4040759"/>
                    <a:gd name="connsiteY1601" fmla="*/ 1130816 h 1475329"/>
                    <a:gd name="connsiteX1602" fmla="*/ 1389065 w 4040759"/>
                    <a:gd name="connsiteY1602" fmla="*/ 1128656 h 1475329"/>
                    <a:gd name="connsiteX1603" fmla="*/ 1386987 w 4040759"/>
                    <a:gd name="connsiteY1603" fmla="*/ 1128656 h 1475329"/>
                    <a:gd name="connsiteX1604" fmla="*/ 1384183 w 4040759"/>
                    <a:gd name="connsiteY1604" fmla="*/ 1128844 h 1475329"/>
                    <a:gd name="connsiteX1605" fmla="*/ 1382504 w 4040759"/>
                    <a:gd name="connsiteY1605" fmla="*/ 1129903 h 1475329"/>
                    <a:gd name="connsiteX1606" fmla="*/ 1380679 w 4040759"/>
                    <a:gd name="connsiteY1606" fmla="*/ 1132226 h 1475329"/>
                    <a:gd name="connsiteX1607" fmla="*/ 1378193 w 4040759"/>
                    <a:gd name="connsiteY1607" fmla="*/ 1132381 h 1475329"/>
                    <a:gd name="connsiteX1608" fmla="*/ 1374273 w 4040759"/>
                    <a:gd name="connsiteY1608" fmla="*/ 1132373 h 1475329"/>
                    <a:gd name="connsiteX1609" fmla="*/ 1373222 w 4040759"/>
                    <a:gd name="connsiteY1609" fmla="*/ 1133245 h 1475329"/>
                    <a:gd name="connsiteX1610" fmla="*/ 1372586 w 4040759"/>
                    <a:gd name="connsiteY1610" fmla="*/ 1134826 h 1475329"/>
                    <a:gd name="connsiteX1611" fmla="*/ 1370565 w 4040759"/>
                    <a:gd name="connsiteY1611" fmla="*/ 1136839 h 1475329"/>
                    <a:gd name="connsiteX1612" fmla="*/ 1367647 w 4040759"/>
                    <a:gd name="connsiteY1612" fmla="*/ 1138452 h 1475329"/>
                    <a:gd name="connsiteX1613" fmla="*/ 1363499 w 4040759"/>
                    <a:gd name="connsiteY1613" fmla="*/ 1137923 h 1475329"/>
                    <a:gd name="connsiteX1614" fmla="*/ 1360655 w 4040759"/>
                    <a:gd name="connsiteY1614" fmla="*/ 1138746 h 1475329"/>
                    <a:gd name="connsiteX1615" fmla="*/ 1357827 w 4040759"/>
                    <a:gd name="connsiteY1615" fmla="*/ 1139064 h 1475329"/>
                    <a:gd name="connsiteX1616" fmla="*/ 1353752 w 4040759"/>
                    <a:gd name="connsiteY1616" fmla="*/ 1137026 h 1475329"/>
                    <a:gd name="connsiteX1617" fmla="*/ 1349253 w 4040759"/>
                    <a:gd name="connsiteY1617" fmla="*/ 1137100 h 1475329"/>
                    <a:gd name="connsiteX1618" fmla="*/ 1346312 w 4040759"/>
                    <a:gd name="connsiteY1618" fmla="*/ 1138029 h 1475329"/>
                    <a:gd name="connsiteX1619" fmla="*/ 1342147 w 4040759"/>
                    <a:gd name="connsiteY1619" fmla="*/ 1138004 h 1475329"/>
                    <a:gd name="connsiteX1620" fmla="*/ 1341299 w 4040759"/>
                    <a:gd name="connsiteY1620" fmla="*/ 1136847 h 1475329"/>
                    <a:gd name="connsiteX1621" fmla="*/ 1341804 w 4040759"/>
                    <a:gd name="connsiteY1621" fmla="*/ 1134932 h 1475329"/>
                    <a:gd name="connsiteX1622" fmla="*/ 1341454 w 4040759"/>
                    <a:gd name="connsiteY1622" fmla="*/ 1133188 h 1475329"/>
                    <a:gd name="connsiteX1623" fmla="*/ 1340769 w 4040759"/>
                    <a:gd name="connsiteY1623" fmla="*/ 1131761 h 1475329"/>
                    <a:gd name="connsiteX1624" fmla="*/ 1340232 w 4040759"/>
                    <a:gd name="connsiteY1624" fmla="*/ 1130042 h 1475329"/>
                    <a:gd name="connsiteX1625" fmla="*/ 1338512 w 4040759"/>
                    <a:gd name="connsiteY1625" fmla="*/ 1129683 h 1475329"/>
                    <a:gd name="connsiteX1626" fmla="*/ 1333688 w 4040759"/>
                    <a:gd name="connsiteY1626" fmla="*/ 1130417 h 1475329"/>
                    <a:gd name="connsiteX1627" fmla="*/ 1332367 w 4040759"/>
                    <a:gd name="connsiteY1627" fmla="*/ 1129602 h 1475329"/>
                    <a:gd name="connsiteX1628" fmla="*/ 1332514 w 4040759"/>
                    <a:gd name="connsiteY1628" fmla="*/ 1127907 h 1475329"/>
                    <a:gd name="connsiteX1629" fmla="*/ 1333378 w 4040759"/>
                    <a:gd name="connsiteY1629" fmla="*/ 1125788 h 1475329"/>
                    <a:gd name="connsiteX1630" fmla="*/ 1334095 w 4040759"/>
                    <a:gd name="connsiteY1630" fmla="*/ 1123058 h 1475329"/>
                    <a:gd name="connsiteX1631" fmla="*/ 1333753 w 4040759"/>
                    <a:gd name="connsiteY1631" fmla="*/ 1121419 h 1475329"/>
                    <a:gd name="connsiteX1632" fmla="*/ 1331267 w 4040759"/>
                    <a:gd name="connsiteY1632" fmla="*/ 1121623 h 1475329"/>
                    <a:gd name="connsiteX1633" fmla="*/ 1329743 w 4040759"/>
                    <a:gd name="connsiteY1633" fmla="*/ 1121468 h 1475329"/>
                    <a:gd name="connsiteX1634" fmla="*/ 1328961 w 4040759"/>
                    <a:gd name="connsiteY1634" fmla="*/ 1119512 h 1475329"/>
                    <a:gd name="connsiteX1635" fmla="*/ 1327551 w 4040759"/>
                    <a:gd name="connsiteY1635" fmla="*/ 1118094 h 1475329"/>
                    <a:gd name="connsiteX1636" fmla="*/ 1325962 w 4040759"/>
                    <a:gd name="connsiteY1636" fmla="*/ 1118021 h 1475329"/>
                    <a:gd name="connsiteX1637" fmla="*/ 1324030 w 4040759"/>
                    <a:gd name="connsiteY1637" fmla="*/ 1117654 h 1475329"/>
                    <a:gd name="connsiteX1638" fmla="*/ 1321928 w 4040759"/>
                    <a:gd name="connsiteY1638" fmla="*/ 1118249 h 1475329"/>
                    <a:gd name="connsiteX1639" fmla="*/ 1320803 w 4040759"/>
                    <a:gd name="connsiteY1639" fmla="*/ 1120197 h 1475329"/>
                    <a:gd name="connsiteX1640" fmla="*/ 1319450 w 4040759"/>
                    <a:gd name="connsiteY1640" fmla="*/ 1120482 h 1475329"/>
                    <a:gd name="connsiteX1641" fmla="*/ 1317975 w 4040759"/>
                    <a:gd name="connsiteY1641" fmla="*/ 1121028 h 1475329"/>
                    <a:gd name="connsiteX1642" fmla="*/ 1316915 w 4040759"/>
                    <a:gd name="connsiteY1642" fmla="*/ 1121713 h 1475329"/>
                    <a:gd name="connsiteX1643" fmla="*/ 1316255 w 4040759"/>
                    <a:gd name="connsiteY1643" fmla="*/ 1123433 h 1475329"/>
                    <a:gd name="connsiteX1644" fmla="*/ 1316548 w 4040759"/>
                    <a:gd name="connsiteY1644" fmla="*/ 1125046 h 1475329"/>
                    <a:gd name="connsiteX1645" fmla="*/ 1317013 w 4040759"/>
                    <a:gd name="connsiteY1645" fmla="*/ 1128534 h 1475329"/>
                    <a:gd name="connsiteX1646" fmla="*/ 1316304 w 4040759"/>
                    <a:gd name="connsiteY1646" fmla="*/ 1130417 h 1475329"/>
                    <a:gd name="connsiteX1647" fmla="*/ 1314356 w 4040759"/>
                    <a:gd name="connsiteY1647" fmla="*/ 1131419 h 1475329"/>
                    <a:gd name="connsiteX1648" fmla="*/ 1312498 w 4040759"/>
                    <a:gd name="connsiteY1648" fmla="*/ 1131224 h 1475329"/>
                    <a:gd name="connsiteX1649" fmla="*/ 1311251 w 4040759"/>
                    <a:gd name="connsiteY1649" fmla="*/ 1131696 h 1475329"/>
                    <a:gd name="connsiteX1650" fmla="*/ 1308953 w 4040759"/>
                    <a:gd name="connsiteY1650" fmla="*/ 1133652 h 1475329"/>
                    <a:gd name="connsiteX1651" fmla="*/ 1307934 w 4040759"/>
                    <a:gd name="connsiteY1651" fmla="*/ 1134329 h 1475329"/>
                    <a:gd name="connsiteX1652" fmla="*/ 1307584 w 4040759"/>
                    <a:gd name="connsiteY1652" fmla="*/ 1135527 h 1475329"/>
                    <a:gd name="connsiteX1653" fmla="*/ 1307429 w 4040759"/>
                    <a:gd name="connsiteY1653" fmla="*/ 1137328 h 1475329"/>
                    <a:gd name="connsiteX1654" fmla="*/ 1305465 w 4040759"/>
                    <a:gd name="connsiteY1654" fmla="*/ 1136725 h 1475329"/>
                    <a:gd name="connsiteX1655" fmla="*/ 1302311 w 4040759"/>
                    <a:gd name="connsiteY1655" fmla="*/ 1130083 h 1475329"/>
                    <a:gd name="connsiteX1656" fmla="*/ 1298758 w 4040759"/>
                    <a:gd name="connsiteY1656" fmla="*/ 1122560 h 1475329"/>
                    <a:gd name="connsiteX1657" fmla="*/ 1294740 w 4040759"/>
                    <a:gd name="connsiteY1657" fmla="*/ 1114541 h 1475329"/>
                    <a:gd name="connsiteX1658" fmla="*/ 1292613 w 4040759"/>
                    <a:gd name="connsiteY1658" fmla="*/ 1110295 h 1475329"/>
                    <a:gd name="connsiteX1659" fmla="*/ 1284675 w 4040759"/>
                    <a:gd name="connsiteY1659" fmla="*/ 1096424 h 1475329"/>
                    <a:gd name="connsiteX1660" fmla="*/ 1280787 w 4040759"/>
                    <a:gd name="connsiteY1660" fmla="*/ 1089799 h 1475329"/>
                    <a:gd name="connsiteX1661" fmla="*/ 1274089 w 4040759"/>
                    <a:gd name="connsiteY1661" fmla="*/ 1078299 h 1475329"/>
                    <a:gd name="connsiteX1662" fmla="*/ 1267984 w 4040759"/>
                    <a:gd name="connsiteY1662" fmla="*/ 1067819 h 1475329"/>
                    <a:gd name="connsiteX1663" fmla="*/ 1261098 w 4040759"/>
                    <a:gd name="connsiteY1663" fmla="*/ 1056955 h 1475329"/>
                    <a:gd name="connsiteX1664" fmla="*/ 1257023 w 4040759"/>
                    <a:gd name="connsiteY1664" fmla="*/ 1050778 h 1475329"/>
                    <a:gd name="connsiteX1665" fmla="*/ 1252720 w 4040759"/>
                    <a:gd name="connsiteY1665" fmla="*/ 1044250 h 1475329"/>
                    <a:gd name="connsiteX1666" fmla="*/ 1251212 w 4040759"/>
                    <a:gd name="connsiteY1666" fmla="*/ 1042440 h 1475329"/>
                    <a:gd name="connsiteX1667" fmla="*/ 1248849 w 4040759"/>
                    <a:gd name="connsiteY1667" fmla="*/ 1040126 h 1475329"/>
                    <a:gd name="connsiteX1668" fmla="*/ 1243022 w 4040759"/>
                    <a:gd name="connsiteY1668" fmla="*/ 1035635 h 1475329"/>
                    <a:gd name="connsiteX1669" fmla="*/ 1234677 w 4040759"/>
                    <a:gd name="connsiteY1669" fmla="*/ 1029205 h 1475329"/>
                    <a:gd name="connsiteX1670" fmla="*/ 1226942 w 4040759"/>
                    <a:gd name="connsiteY1670" fmla="*/ 1023468 h 1475329"/>
                    <a:gd name="connsiteX1671" fmla="*/ 1220863 w 4040759"/>
                    <a:gd name="connsiteY1671" fmla="*/ 1018953 h 1475329"/>
                    <a:gd name="connsiteX1672" fmla="*/ 1219306 w 4040759"/>
                    <a:gd name="connsiteY1672" fmla="*/ 1017038 h 1475329"/>
                    <a:gd name="connsiteX1673" fmla="*/ 1218613 w 4040759"/>
                    <a:gd name="connsiteY1673" fmla="*/ 1015929 h 1475329"/>
                    <a:gd name="connsiteX1674" fmla="*/ 1217961 w 4040759"/>
                    <a:gd name="connsiteY1674" fmla="*/ 1014699 h 1475329"/>
                    <a:gd name="connsiteX1675" fmla="*/ 1217049 w 4040759"/>
                    <a:gd name="connsiteY1675" fmla="*/ 1012498 h 1475329"/>
                    <a:gd name="connsiteX1676" fmla="*/ 1217041 w 4040759"/>
                    <a:gd name="connsiteY1676" fmla="*/ 1011064 h 1475329"/>
                    <a:gd name="connsiteX1677" fmla="*/ 1222827 w 4040759"/>
                    <a:gd name="connsiteY1677" fmla="*/ 1011300 h 1475329"/>
                    <a:gd name="connsiteX1678" fmla="*/ 1224016 w 4040759"/>
                    <a:gd name="connsiteY1678" fmla="*/ 1009890 h 1475329"/>
                    <a:gd name="connsiteX1679" fmla="*/ 1226152 w 4040759"/>
                    <a:gd name="connsiteY1679" fmla="*/ 1004626 h 1475329"/>
                    <a:gd name="connsiteX1680" fmla="*/ 1227358 w 4040759"/>
                    <a:gd name="connsiteY1680" fmla="*/ 1000062 h 1475329"/>
                    <a:gd name="connsiteX1681" fmla="*/ 1225427 w 4040759"/>
                    <a:gd name="connsiteY1681" fmla="*/ 1000274 h 1475329"/>
                    <a:gd name="connsiteX1682" fmla="*/ 1221849 w 4040759"/>
                    <a:gd name="connsiteY1682" fmla="*/ 1002156 h 1475329"/>
                    <a:gd name="connsiteX1683" fmla="*/ 1219958 w 4040759"/>
                    <a:gd name="connsiteY1683" fmla="*/ 1003517 h 1475329"/>
                    <a:gd name="connsiteX1684" fmla="*/ 1218890 w 4040759"/>
                    <a:gd name="connsiteY1684" fmla="*/ 1004104 h 1475329"/>
                    <a:gd name="connsiteX1685" fmla="*/ 1213194 w 4040759"/>
                    <a:gd name="connsiteY1685" fmla="*/ 1005000 h 1475329"/>
                    <a:gd name="connsiteX1686" fmla="*/ 1210072 w 4040759"/>
                    <a:gd name="connsiteY1686" fmla="*/ 1007022 h 1475329"/>
                    <a:gd name="connsiteX1687" fmla="*/ 1203626 w 4040759"/>
                    <a:gd name="connsiteY1687" fmla="*/ 1010444 h 1475329"/>
                    <a:gd name="connsiteX1688" fmla="*/ 1198972 w 4040759"/>
                    <a:gd name="connsiteY1688" fmla="*/ 1012449 h 1475329"/>
                    <a:gd name="connsiteX1689" fmla="*/ 1198076 w 4040759"/>
                    <a:gd name="connsiteY1689" fmla="*/ 1012783 h 1475329"/>
                    <a:gd name="connsiteX1690" fmla="*/ 1192632 w 4040759"/>
                    <a:gd name="connsiteY1690" fmla="*/ 1013395 h 1475329"/>
                    <a:gd name="connsiteX1691" fmla="*/ 1191662 w 4040759"/>
                    <a:gd name="connsiteY1691" fmla="*/ 1014193 h 1475329"/>
                    <a:gd name="connsiteX1692" fmla="*/ 1191515 w 4040759"/>
                    <a:gd name="connsiteY1692" fmla="*/ 1015962 h 1475329"/>
                    <a:gd name="connsiteX1693" fmla="*/ 1191132 w 4040759"/>
                    <a:gd name="connsiteY1693" fmla="*/ 1017910 h 1475329"/>
                    <a:gd name="connsiteX1694" fmla="*/ 1187253 w 4040759"/>
                    <a:gd name="connsiteY1694" fmla="*/ 1020787 h 1475329"/>
                    <a:gd name="connsiteX1695" fmla="*/ 1183080 w 4040759"/>
                    <a:gd name="connsiteY1695" fmla="*/ 1023313 h 1475329"/>
                    <a:gd name="connsiteX1696" fmla="*/ 1181507 w 4040759"/>
                    <a:gd name="connsiteY1696" fmla="*/ 1023590 h 1475329"/>
                    <a:gd name="connsiteX1697" fmla="*/ 1178981 w 4040759"/>
                    <a:gd name="connsiteY1697" fmla="*/ 1023036 h 1475329"/>
                    <a:gd name="connsiteX1698" fmla="*/ 1177677 w 4040759"/>
                    <a:gd name="connsiteY1698" fmla="*/ 1023346 h 1475329"/>
                    <a:gd name="connsiteX1699" fmla="*/ 1173879 w 4040759"/>
                    <a:gd name="connsiteY1699" fmla="*/ 1026027 h 1475329"/>
                    <a:gd name="connsiteX1700" fmla="*/ 1168191 w 4040759"/>
                    <a:gd name="connsiteY1700" fmla="*/ 1030061 h 1475329"/>
                    <a:gd name="connsiteX1701" fmla="*/ 1167653 w 4040759"/>
                    <a:gd name="connsiteY1701" fmla="*/ 1031699 h 1475329"/>
                    <a:gd name="connsiteX1702" fmla="*/ 1167620 w 4040759"/>
                    <a:gd name="connsiteY1702" fmla="*/ 1033688 h 1475329"/>
                    <a:gd name="connsiteX1703" fmla="*/ 1166960 w 4040759"/>
                    <a:gd name="connsiteY1703" fmla="*/ 1035432 h 1475329"/>
                    <a:gd name="connsiteX1704" fmla="*/ 1165697 w 4040759"/>
                    <a:gd name="connsiteY1704" fmla="*/ 1036059 h 1475329"/>
                    <a:gd name="connsiteX1705" fmla="*/ 1163863 w 4040759"/>
                    <a:gd name="connsiteY1705" fmla="*/ 1034551 h 1475329"/>
                    <a:gd name="connsiteX1706" fmla="*/ 1162185 w 4040759"/>
                    <a:gd name="connsiteY1706" fmla="*/ 1032726 h 1475329"/>
                    <a:gd name="connsiteX1707" fmla="*/ 1158680 w 4040759"/>
                    <a:gd name="connsiteY1707" fmla="*/ 1031406 h 1475329"/>
                    <a:gd name="connsiteX1708" fmla="*/ 1153489 w 4040759"/>
                    <a:gd name="connsiteY1708" fmla="*/ 1031096 h 1475329"/>
                    <a:gd name="connsiteX1709" fmla="*/ 1150310 w 4040759"/>
                    <a:gd name="connsiteY1709" fmla="*/ 1031732 h 1475329"/>
                    <a:gd name="connsiteX1710" fmla="*/ 1148126 w 4040759"/>
                    <a:gd name="connsiteY1710" fmla="*/ 1032734 h 1475329"/>
                    <a:gd name="connsiteX1711" fmla="*/ 1143831 w 4040759"/>
                    <a:gd name="connsiteY1711" fmla="*/ 1036760 h 1475329"/>
                    <a:gd name="connsiteX1712" fmla="*/ 1142275 w 4040759"/>
                    <a:gd name="connsiteY1712" fmla="*/ 1037559 h 1475329"/>
                    <a:gd name="connsiteX1713" fmla="*/ 1141403 w 4040759"/>
                    <a:gd name="connsiteY1713" fmla="*/ 1037306 h 1475329"/>
                    <a:gd name="connsiteX1714" fmla="*/ 1141150 w 4040759"/>
                    <a:gd name="connsiteY1714" fmla="*/ 1035358 h 1475329"/>
                    <a:gd name="connsiteX1715" fmla="*/ 1140294 w 4040759"/>
                    <a:gd name="connsiteY1715" fmla="*/ 1033973 h 1475329"/>
                    <a:gd name="connsiteX1716" fmla="*/ 1139267 w 4040759"/>
                    <a:gd name="connsiteY1716" fmla="*/ 1031903 h 1475329"/>
                    <a:gd name="connsiteX1717" fmla="*/ 1139756 w 4040759"/>
                    <a:gd name="connsiteY1717" fmla="*/ 1027812 h 1475329"/>
                    <a:gd name="connsiteX1718" fmla="*/ 1142087 w 4040759"/>
                    <a:gd name="connsiteY1718" fmla="*/ 1023883 h 1475329"/>
                    <a:gd name="connsiteX1719" fmla="*/ 1145917 w 4040759"/>
                    <a:gd name="connsiteY1719" fmla="*/ 1021740 h 1475329"/>
                    <a:gd name="connsiteX1720" fmla="*/ 1149023 w 4040759"/>
                    <a:gd name="connsiteY1720" fmla="*/ 1019442 h 1475329"/>
                    <a:gd name="connsiteX1721" fmla="*/ 1149927 w 4040759"/>
                    <a:gd name="connsiteY1721" fmla="*/ 1016924 h 1475329"/>
                    <a:gd name="connsiteX1722" fmla="*/ 1149854 w 4040759"/>
                    <a:gd name="connsiteY1722" fmla="*/ 1015180 h 1475329"/>
                    <a:gd name="connsiteX1723" fmla="*/ 1148705 w 4040759"/>
                    <a:gd name="connsiteY1723" fmla="*/ 1014381 h 1475329"/>
                    <a:gd name="connsiteX1724" fmla="*/ 1147507 w 4040759"/>
                    <a:gd name="connsiteY1724" fmla="*/ 1014242 h 1475329"/>
                    <a:gd name="connsiteX1725" fmla="*/ 1146814 w 4040759"/>
                    <a:gd name="connsiteY1725" fmla="*/ 1015082 h 1475329"/>
                    <a:gd name="connsiteX1726" fmla="*/ 1144728 w 4040759"/>
                    <a:gd name="connsiteY1726" fmla="*/ 1016801 h 1475329"/>
                    <a:gd name="connsiteX1727" fmla="*/ 1141623 w 4040759"/>
                    <a:gd name="connsiteY1727" fmla="*/ 1018179 h 1475329"/>
                    <a:gd name="connsiteX1728" fmla="*/ 1139048 w 4040759"/>
                    <a:gd name="connsiteY1728" fmla="*/ 1018456 h 1475329"/>
                    <a:gd name="connsiteX1729" fmla="*/ 1137882 w 4040759"/>
                    <a:gd name="connsiteY1729" fmla="*/ 1018366 h 1475329"/>
                    <a:gd name="connsiteX1730" fmla="*/ 1135144 w 4040759"/>
                    <a:gd name="connsiteY1730" fmla="*/ 1017502 h 1475329"/>
                    <a:gd name="connsiteX1731" fmla="*/ 1130050 w 4040759"/>
                    <a:gd name="connsiteY1731" fmla="*/ 1012735 h 1475329"/>
                    <a:gd name="connsiteX1732" fmla="*/ 1125755 w 4040759"/>
                    <a:gd name="connsiteY1732" fmla="*/ 1012083 h 1475329"/>
                    <a:gd name="connsiteX1733" fmla="*/ 1122805 w 4040759"/>
                    <a:gd name="connsiteY1733" fmla="*/ 1011708 h 1475329"/>
                    <a:gd name="connsiteX1734" fmla="*/ 1121819 w 4040759"/>
                    <a:gd name="connsiteY1734" fmla="*/ 1012197 h 1475329"/>
                    <a:gd name="connsiteX1735" fmla="*/ 1121371 w 4040759"/>
                    <a:gd name="connsiteY1735" fmla="*/ 1013370 h 1475329"/>
                    <a:gd name="connsiteX1736" fmla="*/ 1121648 w 4040759"/>
                    <a:gd name="connsiteY1736" fmla="*/ 1014650 h 1475329"/>
                    <a:gd name="connsiteX1737" fmla="*/ 1122234 w 4040759"/>
                    <a:gd name="connsiteY1737" fmla="*/ 1015913 h 1475329"/>
                    <a:gd name="connsiteX1738" fmla="*/ 1121908 w 4040759"/>
                    <a:gd name="connsiteY1738" fmla="*/ 1016932 h 1475329"/>
                    <a:gd name="connsiteX1739" fmla="*/ 1120523 w 4040759"/>
                    <a:gd name="connsiteY1739" fmla="*/ 1017690 h 1475329"/>
                    <a:gd name="connsiteX1740" fmla="*/ 1118453 w 4040759"/>
                    <a:gd name="connsiteY1740" fmla="*/ 1018977 h 1475329"/>
                    <a:gd name="connsiteX1741" fmla="*/ 1117402 w 4040759"/>
                    <a:gd name="connsiteY1741" fmla="*/ 1018122 h 1475329"/>
                    <a:gd name="connsiteX1742" fmla="*/ 1116880 w 4040759"/>
                    <a:gd name="connsiteY1742" fmla="*/ 1014756 h 1475329"/>
                    <a:gd name="connsiteX1743" fmla="*/ 1116986 w 4040759"/>
                    <a:gd name="connsiteY1743" fmla="*/ 1012140 h 1475329"/>
                    <a:gd name="connsiteX1744" fmla="*/ 1115552 w 4040759"/>
                    <a:gd name="connsiteY1744" fmla="*/ 1009931 h 1475329"/>
                    <a:gd name="connsiteX1745" fmla="*/ 1114052 w 4040759"/>
                    <a:gd name="connsiteY1745" fmla="*/ 1006508 h 1475329"/>
                    <a:gd name="connsiteX1746" fmla="*/ 1111990 w 4040759"/>
                    <a:gd name="connsiteY1746" fmla="*/ 1004487 h 1475329"/>
                    <a:gd name="connsiteX1747" fmla="*/ 1109994 w 4040759"/>
                    <a:gd name="connsiteY1747" fmla="*/ 1005131 h 1475329"/>
                    <a:gd name="connsiteX1748" fmla="*/ 1109007 w 4040759"/>
                    <a:gd name="connsiteY1748" fmla="*/ 1008040 h 1475329"/>
                    <a:gd name="connsiteX1749" fmla="*/ 1107492 w 4040759"/>
                    <a:gd name="connsiteY1749" fmla="*/ 1009018 h 1475329"/>
                    <a:gd name="connsiteX1750" fmla="*/ 1104582 w 4040759"/>
                    <a:gd name="connsiteY1750" fmla="*/ 1008423 h 1475329"/>
                    <a:gd name="connsiteX1751" fmla="*/ 1099366 w 4040759"/>
                    <a:gd name="connsiteY1751" fmla="*/ 1010061 h 1475329"/>
                    <a:gd name="connsiteX1752" fmla="*/ 1090915 w 4040759"/>
                    <a:gd name="connsiteY1752" fmla="*/ 1010803 h 1475329"/>
                    <a:gd name="connsiteX1753" fmla="*/ 1084884 w 4040759"/>
                    <a:gd name="connsiteY1753" fmla="*/ 1008766 h 1475329"/>
                    <a:gd name="connsiteX1754" fmla="*/ 1083890 w 4040759"/>
                    <a:gd name="connsiteY1754" fmla="*/ 1006940 h 1475329"/>
                    <a:gd name="connsiteX1755" fmla="*/ 1086351 w 4040759"/>
                    <a:gd name="connsiteY1755" fmla="*/ 1003036 h 1475329"/>
                    <a:gd name="connsiteX1756" fmla="*/ 1086539 w 4040759"/>
                    <a:gd name="connsiteY1756" fmla="*/ 999573 h 1475329"/>
                    <a:gd name="connsiteX1757" fmla="*/ 1086522 w 4040759"/>
                    <a:gd name="connsiteY1757" fmla="*/ 996411 h 1475329"/>
                    <a:gd name="connsiteX1758" fmla="*/ 1087174 w 4040759"/>
                    <a:gd name="connsiteY1758" fmla="*/ 994121 h 1475329"/>
                    <a:gd name="connsiteX1759" fmla="*/ 1085707 w 4040759"/>
                    <a:gd name="connsiteY1759" fmla="*/ 989728 h 1475329"/>
                    <a:gd name="connsiteX1760" fmla="*/ 1082366 w 4040759"/>
                    <a:gd name="connsiteY1760" fmla="*/ 980779 h 1475329"/>
                    <a:gd name="connsiteX1761" fmla="*/ 1080337 w 4040759"/>
                    <a:gd name="connsiteY1761" fmla="*/ 974023 h 1475329"/>
                    <a:gd name="connsiteX1762" fmla="*/ 1077370 w 4040759"/>
                    <a:gd name="connsiteY1762" fmla="*/ 968946 h 1475329"/>
                    <a:gd name="connsiteX1763" fmla="*/ 1076074 w 4040759"/>
                    <a:gd name="connsiteY1763" fmla="*/ 967267 h 1475329"/>
                    <a:gd name="connsiteX1764" fmla="*/ 1069840 w 4040759"/>
                    <a:gd name="connsiteY1764" fmla="*/ 968139 h 1475329"/>
                    <a:gd name="connsiteX1765" fmla="*/ 1068120 w 4040759"/>
                    <a:gd name="connsiteY1765" fmla="*/ 969248 h 1475329"/>
                    <a:gd name="connsiteX1766" fmla="*/ 1066987 w 4040759"/>
                    <a:gd name="connsiteY1766" fmla="*/ 970812 h 1475329"/>
                    <a:gd name="connsiteX1767" fmla="*/ 1065048 w 4040759"/>
                    <a:gd name="connsiteY1767" fmla="*/ 971913 h 1475329"/>
                    <a:gd name="connsiteX1768" fmla="*/ 1062293 w 4040759"/>
                    <a:gd name="connsiteY1768" fmla="*/ 972711 h 1475329"/>
                    <a:gd name="connsiteX1769" fmla="*/ 1059938 w 4040759"/>
                    <a:gd name="connsiteY1769" fmla="*/ 972165 h 1475329"/>
                    <a:gd name="connsiteX1770" fmla="*/ 1057322 w 4040759"/>
                    <a:gd name="connsiteY1770" fmla="*/ 971318 h 1475329"/>
                    <a:gd name="connsiteX1771" fmla="*/ 1054543 w 4040759"/>
                    <a:gd name="connsiteY1771" fmla="*/ 969541 h 1475329"/>
                    <a:gd name="connsiteX1772" fmla="*/ 1051332 w 4040759"/>
                    <a:gd name="connsiteY1772" fmla="*/ 967186 h 1475329"/>
                    <a:gd name="connsiteX1773" fmla="*/ 1045203 w 4040759"/>
                    <a:gd name="connsiteY1773" fmla="*/ 965295 h 1475329"/>
                    <a:gd name="connsiteX1774" fmla="*/ 1039091 w 4040759"/>
                    <a:gd name="connsiteY1774" fmla="*/ 964700 h 1475329"/>
                    <a:gd name="connsiteX1775" fmla="*/ 1032416 w 4040759"/>
                    <a:gd name="connsiteY1775" fmla="*/ 964048 h 1475329"/>
                    <a:gd name="connsiteX1776" fmla="*/ 1029067 w 4040759"/>
                    <a:gd name="connsiteY1776" fmla="*/ 965238 h 1475329"/>
                    <a:gd name="connsiteX1777" fmla="*/ 1025848 w 4040759"/>
                    <a:gd name="connsiteY1777" fmla="*/ 967145 h 1475329"/>
                    <a:gd name="connsiteX1778" fmla="*/ 1021186 w 4040759"/>
                    <a:gd name="connsiteY1778" fmla="*/ 971098 h 1475329"/>
                    <a:gd name="connsiteX1779" fmla="*/ 1019042 w 4040759"/>
                    <a:gd name="connsiteY1779" fmla="*/ 971497 h 1475329"/>
                    <a:gd name="connsiteX1780" fmla="*/ 1015653 w 4040759"/>
                    <a:gd name="connsiteY1780" fmla="*/ 971790 h 1475329"/>
                    <a:gd name="connsiteX1781" fmla="*/ 1013281 w 4040759"/>
                    <a:gd name="connsiteY1781" fmla="*/ 972768 h 1475329"/>
                    <a:gd name="connsiteX1782" fmla="*/ 1013761 w 4040759"/>
                    <a:gd name="connsiteY1782" fmla="*/ 974512 h 1475329"/>
                    <a:gd name="connsiteX1783" fmla="*/ 1014218 w 4040759"/>
                    <a:gd name="connsiteY1783" fmla="*/ 976900 h 1475329"/>
                    <a:gd name="connsiteX1784" fmla="*/ 1013362 w 4040759"/>
                    <a:gd name="connsiteY1784" fmla="*/ 978783 h 1475329"/>
                    <a:gd name="connsiteX1785" fmla="*/ 1012034 w 4040759"/>
                    <a:gd name="connsiteY1785" fmla="*/ 979777 h 1475329"/>
                    <a:gd name="connsiteX1786" fmla="*/ 1009996 w 4040759"/>
                    <a:gd name="connsiteY1786" fmla="*/ 980437 h 1475329"/>
                    <a:gd name="connsiteX1787" fmla="*/ 1006671 w 4040759"/>
                    <a:gd name="connsiteY1787" fmla="*/ 980657 h 1475329"/>
                    <a:gd name="connsiteX1788" fmla="*/ 1003941 w 4040759"/>
                    <a:gd name="connsiteY1788" fmla="*/ 981048 h 1475329"/>
                    <a:gd name="connsiteX1789" fmla="*/ 1000559 w 4040759"/>
                    <a:gd name="connsiteY1789" fmla="*/ 983746 h 1475329"/>
                    <a:gd name="connsiteX1790" fmla="*/ 995384 w 4040759"/>
                    <a:gd name="connsiteY1790" fmla="*/ 984431 h 1475329"/>
                    <a:gd name="connsiteX1791" fmla="*/ 989744 w 4040759"/>
                    <a:gd name="connsiteY1791" fmla="*/ 985400 h 1475329"/>
                    <a:gd name="connsiteX1792" fmla="*/ 985808 w 4040759"/>
                    <a:gd name="connsiteY1792" fmla="*/ 986949 h 1475329"/>
                    <a:gd name="connsiteX1793" fmla="*/ 977275 w 4040759"/>
                    <a:gd name="connsiteY1793" fmla="*/ 988856 h 1475329"/>
                    <a:gd name="connsiteX1794" fmla="*/ 972345 w 4040759"/>
                    <a:gd name="connsiteY1794" fmla="*/ 989712 h 1475329"/>
                    <a:gd name="connsiteX1795" fmla="*/ 964089 w 4040759"/>
                    <a:gd name="connsiteY1795" fmla="*/ 991529 h 1475329"/>
                    <a:gd name="connsiteX1796" fmla="*/ 957439 w 4040759"/>
                    <a:gd name="connsiteY1796" fmla="*/ 991831 h 1475329"/>
                    <a:gd name="connsiteX1797" fmla="*/ 956436 w 4040759"/>
                    <a:gd name="connsiteY1797" fmla="*/ 990551 h 1475329"/>
                    <a:gd name="connsiteX1798" fmla="*/ 951310 w 4040759"/>
                    <a:gd name="connsiteY1798" fmla="*/ 993387 h 1475329"/>
                    <a:gd name="connsiteX1799" fmla="*/ 945581 w 4040759"/>
                    <a:gd name="connsiteY1799" fmla="*/ 993208 h 1475329"/>
                    <a:gd name="connsiteX1800" fmla="*/ 944529 w 4040759"/>
                    <a:gd name="connsiteY1800" fmla="*/ 994341 h 1475329"/>
                    <a:gd name="connsiteX1801" fmla="*/ 943144 w 4040759"/>
                    <a:gd name="connsiteY1801" fmla="*/ 995441 h 1475329"/>
                    <a:gd name="connsiteX1802" fmla="*/ 941596 w 4040759"/>
                    <a:gd name="connsiteY1802" fmla="*/ 995930 h 1475329"/>
                    <a:gd name="connsiteX1803" fmla="*/ 939648 w 4040759"/>
                    <a:gd name="connsiteY1803" fmla="*/ 997266 h 1475329"/>
                    <a:gd name="connsiteX1804" fmla="*/ 938531 w 4040759"/>
                    <a:gd name="connsiteY1804" fmla="*/ 1000111 h 1475329"/>
                    <a:gd name="connsiteX1805" fmla="*/ 937684 w 4040759"/>
                    <a:gd name="connsiteY1805" fmla="*/ 1003012 h 1475329"/>
                    <a:gd name="connsiteX1806" fmla="*/ 935956 w 4040759"/>
                    <a:gd name="connsiteY1806" fmla="*/ 1003933 h 1475329"/>
                    <a:gd name="connsiteX1807" fmla="*/ 933641 w 4040759"/>
                    <a:gd name="connsiteY1807" fmla="*/ 1002849 h 1475329"/>
                    <a:gd name="connsiteX1808" fmla="*/ 931938 w 4040759"/>
                    <a:gd name="connsiteY1808" fmla="*/ 1001798 h 1475329"/>
                    <a:gd name="connsiteX1809" fmla="*/ 929029 w 4040759"/>
                    <a:gd name="connsiteY1809" fmla="*/ 1002857 h 1475329"/>
                    <a:gd name="connsiteX1810" fmla="*/ 925084 w 4040759"/>
                    <a:gd name="connsiteY1810" fmla="*/ 1003477 h 1475329"/>
                    <a:gd name="connsiteX1811" fmla="*/ 921979 w 4040759"/>
                    <a:gd name="connsiteY1811" fmla="*/ 1003093 h 1475329"/>
                    <a:gd name="connsiteX1812" fmla="*/ 920390 w 4040759"/>
                    <a:gd name="connsiteY1812" fmla="*/ 1002270 h 1475329"/>
                    <a:gd name="connsiteX1813" fmla="*/ 913903 w 4040759"/>
                    <a:gd name="connsiteY1813" fmla="*/ 1003656 h 1475329"/>
                    <a:gd name="connsiteX1814" fmla="*/ 910521 w 4040759"/>
                    <a:gd name="connsiteY1814" fmla="*/ 1005335 h 1475329"/>
                    <a:gd name="connsiteX1815" fmla="*/ 909885 w 4040759"/>
                    <a:gd name="connsiteY1815" fmla="*/ 1006215 h 1475329"/>
                    <a:gd name="connsiteX1816" fmla="*/ 909054 w 4040759"/>
                    <a:gd name="connsiteY1816" fmla="*/ 1006704 h 1475329"/>
                    <a:gd name="connsiteX1817" fmla="*/ 905158 w 4040759"/>
                    <a:gd name="connsiteY1817" fmla="*/ 1007853 h 1475329"/>
                    <a:gd name="connsiteX1818" fmla="*/ 902045 w 4040759"/>
                    <a:gd name="connsiteY1818" fmla="*/ 1007535 h 1475329"/>
                    <a:gd name="connsiteX1819" fmla="*/ 901548 w 4040759"/>
                    <a:gd name="connsiteY1819" fmla="*/ 1007600 h 1475329"/>
                    <a:gd name="connsiteX1820" fmla="*/ 898590 w 4040759"/>
                    <a:gd name="connsiteY1820" fmla="*/ 1008399 h 1475329"/>
                    <a:gd name="connsiteX1821" fmla="*/ 894417 w 4040759"/>
                    <a:gd name="connsiteY1821" fmla="*/ 1009866 h 1475329"/>
                    <a:gd name="connsiteX1822" fmla="*/ 891409 w 4040759"/>
                    <a:gd name="connsiteY1822" fmla="*/ 1010347 h 1475329"/>
                    <a:gd name="connsiteX1823" fmla="*/ 888899 w 4040759"/>
                    <a:gd name="connsiteY1823" fmla="*/ 1010330 h 1475329"/>
                    <a:gd name="connsiteX1824" fmla="*/ 887286 w 4040759"/>
                    <a:gd name="connsiteY1824" fmla="*/ 1011520 h 1475329"/>
                    <a:gd name="connsiteX1825" fmla="*/ 885990 w 4040759"/>
                    <a:gd name="connsiteY1825" fmla="*/ 1012808 h 1475329"/>
                    <a:gd name="connsiteX1826" fmla="*/ 875045 w 4040759"/>
                    <a:gd name="connsiteY1826" fmla="*/ 1014169 h 1475329"/>
                    <a:gd name="connsiteX1827" fmla="*/ 873936 w 4040759"/>
                    <a:gd name="connsiteY1827" fmla="*/ 1015098 h 1475329"/>
                    <a:gd name="connsiteX1828" fmla="*/ 871728 w 4040759"/>
                    <a:gd name="connsiteY1828" fmla="*/ 1016280 h 1475329"/>
                    <a:gd name="connsiteX1829" fmla="*/ 860343 w 4040759"/>
                    <a:gd name="connsiteY1829" fmla="*/ 1016679 h 1475329"/>
                    <a:gd name="connsiteX1830" fmla="*/ 859414 w 4040759"/>
                    <a:gd name="connsiteY1830" fmla="*/ 1017535 h 1475329"/>
                    <a:gd name="connsiteX1831" fmla="*/ 858990 w 4040759"/>
                    <a:gd name="connsiteY1831" fmla="*/ 1018496 h 1475329"/>
                    <a:gd name="connsiteX1832" fmla="*/ 857580 w 4040759"/>
                    <a:gd name="connsiteY1832" fmla="*/ 1018798 h 1475329"/>
                    <a:gd name="connsiteX1833" fmla="*/ 849398 w 4040759"/>
                    <a:gd name="connsiteY1833" fmla="*/ 1016964 h 1475329"/>
                    <a:gd name="connsiteX1834" fmla="*/ 842821 w 4040759"/>
                    <a:gd name="connsiteY1834" fmla="*/ 1014919 h 1475329"/>
                    <a:gd name="connsiteX1835" fmla="*/ 840278 w 4040759"/>
                    <a:gd name="connsiteY1835" fmla="*/ 1016043 h 1475329"/>
                    <a:gd name="connsiteX1836" fmla="*/ 838127 w 4040759"/>
                    <a:gd name="connsiteY1836" fmla="*/ 1018146 h 1475329"/>
                    <a:gd name="connsiteX1837" fmla="*/ 837352 w 4040759"/>
                    <a:gd name="connsiteY1837" fmla="*/ 1021210 h 1475329"/>
                    <a:gd name="connsiteX1838" fmla="*/ 837352 w 4040759"/>
                    <a:gd name="connsiteY1838" fmla="*/ 1023826 h 1475329"/>
                    <a:gd name="connsiteX1839" fmla="*/ 837352 w 4040759"/>
                    <a:gd name="connsiteY1839" fmla="*/ 1026068 h 1475329"/>
                    <a:gd name="connsiteX1840" fmla="*/ 836374 w 4040759"/>
                    <a:gd name="connsiteY1840" fmla="*/ 1027689 h 1475329"/>
                    <a:gd name="connsiteX1841" fmla="*/ 834190 w 4040759"/>
                    <a:gd name="connsiteY1841" fmla="*/ 1029678 h 1475329"/>
                    <a:gd name="connsiteX1842" fmla="*/ 834043 w 4040759"/>
                    <a:gd name="connsiteY1842" fmla="*/ 1031023 h 1475329"/>
                    <a:gd name="connsiteX1843" fmla="*/ 836994 w 4040759"/>
                    <a:gd name="connsiteY1843" fmla="*/ 1032473 h 1475329"/>
                    <a:gd name="connsiteX1844" fmla="*/ 840694 w 4040759"/>
                    <a:gd name="connsiteY1844" fmla="*/ 1033679 h 1475329"/>
                    <a:gd name="connsiteX1845" fmla="*/ 842894 w 4040759"/>
                    <a:gd name="connsiteY1845" fmla="*/ 1033142 h 1475329"/>
                    <a:gd name="connsiteX1846" fmla="*/ 844712 w 4040759"/>
                    <a:gd name="connsiteY1846" fmla="*/ 1032318 h 1475329"/>
                    <a:gd name="connsiteX1847" fmla="*/ 846309 w 4040759"/>
                    <a:gd name="connsiteY1847" fmla="*/ 1032579 h 1475329"/>
                    <a:gd name="connsiteX1848" fmla="*/ 847425 w 4040759"/>
                    <a:gd name="connsiteY1848" fmla="*/ 1033549 h 1475329"/>
                    <a:gd name="connsiteX1849" fmla="*/ 847816 w 4040759"/>
                    <a:gd name="connsiteY1849" fmla="*/ 1034723 h 1475329"/>
                    <a:gd name="connsiteX1850" fmla="*/ 847613 w 4040759"/>
                    <a:gd name="connsiteY1850" fmla="*/ 1035538 h 1475329"/>
                    <a:gd name="connsiteX1851" fmla="*/ 846912 w 4040759"/>
                    <a:gd name="connsiteY1851" fmla="*/ 1036165 h 1475329"/>
                    <a:gd name="connsiteX1852" fmla="*/ 844500 w 4040759"/>
                    <a:gd name="connsiteY1852" fmla="*/ 1037249 h 1475329"/>
                    <a:gd name="connsiteX1853" fmla="*/ 842283 w 4040759"/>
                    <a:gd name="connsiteY1853" fmla="*/ 1036882 h 1475329"/>
                    <a:gd name="connsiteX1854" fmla="*/ 840237 w 4040759"/>
                    <a:gd name="connsiteY1854" fmla="*/ 1037632 h 1475329"/>
                    <a:gd name="connsiteX1855" fmla="*/ 839162 w 4040759"/>
                    <a:gd name="connsiteY1855" fmla="*/ 1039115 h 1475329"/>
                    <a:gd name="connsiteX1856" fmla="*/ 838583 w 4040759"/>
                    <a:gd name="connsiteY1856" fmla="*/ 1041723 h 1475329"/>
                    <a:gd name="connsiteX1857" fmla="*/ 839488 w 4040759"/>
                    <a:gd name="connsiteY1857" fmla="*/ 1043581 h 1475329"/>
                    <a:gd name="connsiteX1858" fmla="*/ 842267 w 4040759"/>
                    <a:gd name="connsiteY1858" fmla="*/ 1044021 h 1475329"/>
                    <a:gd name="connsiteX1859" fmla="*/ 845380 w 4040759"/>
                    <a:gd name="connsiteY1859" fmla="*/ 1045366 h 1475329"/>
                    <a:gd name="connsiteX1860" fmla="*/ 848844 w 4040759"/>
                    <a:gd name="connsiteY1860" fmla="*/ 1045994 h 1475329"/>
                    <a:gd name="connsiteX1861" fmla="*/ 850913 w 4040759"/>
                    <a:gd name="connsiteY1861" fmla="*/ 1045782 h 1475329"/>
                    <a:gd name="connsiteX1862" fmla="*/ 853546 w 4040759"/>
                    <a:gd name="connsiteY1862" fmla="*/ 1047819 h 1475329"/>
                    <a:gd name="connsiteX1863" fmla="*/ 859715 w 4040759"/>
                    <a:gd name="connsiteY1863" fmla="*/ 1050297 h 1475329"/>
                    <a:gd name="connsiteX1864" fmla="*/ 861353 w 4040759"/>
                    <a:gd name="connsiteY1864" fmla="*/ 1052179 h 1475329"/>
                    <a:gd name="connsiteX1865" fmla="*/ 861402 w 4040759"/>
                    <a:gd name="connsiteY1865" fmla="*/ 1054127 h 1475329"/>
                    <a:gd name="connsiteX1866" fmla="*/ 860278 w 4040759"/>
                    <a:gd name="connsiteY1866" fmla="*/ 1055594 h 1475329"/>
                    <a:gd name="connsiteX1867" fmla="*/ 858713 w 4040759"/>
                    <a:gd name="connsiteY1867" fmla="*/ 1056425 h 1475329"/>
                    <a:gd name="connsiteX1868" fmla="*/ 856586 w 4040759"/>
                    <a:gd name="connsiteY1868" fmla="*/ 1055977 h 1475329"/>
                    <a:gd name="connsiteX1869" fmla="*/ 852389 w 4040759"/>
                    <a:gd name="connsiteY1869" fmla="*/ 1055472 h 1475329"/>
                    <a:gd name="connsiteX1870" fmla="*/ 847776 w 4040759"/>
                    <a:gd name="connsiteY1870" fmla="*/ 1055130 h 1475329"/>
                    <a:gd name="connsiteX1871" fmla="*/ 844492 w 4040759"/>
                    <a:gd name="connsiteY1871" fmla="*/ 1054478 h 1475329"/>
                    <a:gd name="connsiteX1872" fmla="*/ 839683 w 4040759"/>
                    <a:gd name="connsiteY1872" fmla="*/ 1054730 h 1475329"/>
                    <a:gd name="connsiteX1873" fmla="*/ 835731 w 4040759"/>
                    <a:gd name="connsiteY1873" fmla="*/ 1055350 h 1475329"/>
                    <a:gd name="connsiteX1874" fmla="*/ 834720 w 4040759"/>
                    <a:gd name="connsiteY1874" fmla="*/ 1056817 h 1475329"/>
                    <a:gd name="connsiteX1875" fmla="*/ 833180 w 4040759"/>
                    <a:gd name="connsiteY1875" fmla="*/ 1059555 h 1475329"/>
                    <a:gd name="connsiteX1876" fmla="*/ 831900 w 4040759"/>
                    <a:gd name="connsiteY1876" fmla="*/ 1061071 h 1475329"/>
                    <a:gd name="connsiteX1877" fmla="*/ 829651 w 4040759"/>
                    <a:gd name="connsiteY1877" fmla="*/ 1063858 h 1475329"/>
                    <a:gd name="connsiteX1878" fmla="*/ 828958 w 4040759"/>
                    <a:gd name="connsiteY1878" fmla="*/ 1066425 h 1475329"/>
                    <a:gd name="connsiteX1879" fmla="*/ 830115 w 4040759"/>
                    <a:gd name="connsiteY1879" fmla="*/ 1070378 h 1475329"/>
                    <a:gd name="connsiteX1880" fmla="*/ 834043 w 4040759"/>
                    <a:gd name="connsiteY1880" fmla="*/ 1076889 h 1475329"/>
                    <a:gd name="connsiteX1881" fmla="*/ 834418 w 4040759"/>
                    <a:gd name="connsiteY1881" fmla="*/ 1079041 h 1475329"/>
                    <a:gd name="connsiteX1882" fmla="*/ 833009 w 4040759"/>
                    <a:gd name="connsiteY1882" fmla="*/ 1081135 h 1475329"/>
                    <a:gd name="connsiteX1883" fmla="*/ 830295 w 4040759"/>
                    <a:gd name="connsiteY1883" fmla="*/ 1082888 h 1475329"/>
                    <a:gd name="connsiteX1884" fmla="*/ 826375 w 4040759"/>
                    <a:gd name="connsiteY1884" fmla="*/ 1085952 h 1475329"/>
                    <a:gd name="connsiteX1885" fmla="*/ 822137 w 4040759"/>
                    <a:gd name="connsiteY1885" fmla="*/ 1086115 h 1475329"/>
                    <a:gd name="connsiteX1886" fmla="*/ 820295 w 4040759"/>
                    <a:gd name="connsiteY1886" fmla="*/ 1086889 h 1475329"/>
                    <a:gd name="connsiteX1887" fmla="*/ 815544 w 4040759"/>
                    <a:gd name="connsiteY1887" fmla="*/ 1090638 h 1475329"/>
                    <a:gd name="connsiteX1888" fmla="*/ 811371 w 4040759"/>
                    <a:gd name="connsiteY1888" fmla="*/ 1092423 h 1475329"/>
                    <a:gd name="connsiteX1889" fmla="*/ 810499 w 4040759"/>
                    <a:gd name="connsiteY1889" fmla="*/ 1094020 h 1475329"/>
                    <a:gd name="connsiteX1890" fmla="*/ 811420 w 4040759"/>
                    <a:gd name="connsiteY1890" fmla="*/ 1095593 h 1475329"/>
                    <a:gd name="connsiteX1891" fmla="*/ 816701 w 4040759"/>
                    <a:gd name="connsiteY1891" fmla="*/ 1097671 h 1475329"/>
                    <a:gd name="connsiteX1892" fmla="*/ 819358 w 4040759"/>
                    <a:gd name="connsiteY1892" fmla="*/ 1099953 h 1475329"/>
                    <a:gd name="connsiteX1893" fmla="*/ 820124 w 4040759"/>
                    <a:gd name="connsiteY1893" fmla="*/ 1102512 h 1475329"/>
                    <a:gd name="connsiteX1894" fmla="*/ 821281 w 4040759"/>
                    <a:gd name="connsiteY1894" fmla="*/ 1104452 h 1475329"/>
                    <a:gd name="connsiteX1895" fmla="*/ 825380 w 4040759"/>
                    <a:gd name="connsiteY1895" fmla="*/ 1105723 h 1475329"/>
                    <a:gd name="connsiteX1896" fmla="*/ 833889 w 4040759"/>
                    <a:gd name="connsiteY1896" fmla="*/ 1108665 h 1475329"/>
                    <a:gd name="connsiteX1897" fmla="*/ 834386 w 4040759"/>
                    <a:gd name="connsiteY1897" fmla="*/ 1108975 h 1475329"/>
                    <a:gd name="connsiteX1898" fmla="*/ 834924 w 4040759"/>
                    <a:gd name="connsiteY1898" fmla="*/ 1110320 h 1475329"/>
                    <a:gd name="connsiteX1899" fmla="*/ 843563 w 4040759"/>
                    <a:gd name="connsiteY1899" fmla="*/ 1112186 h 1475329"/>
                    <a:gd name="connsiteX1900" fmla="*/ 844752 w 4040759"/>
                    <a:gd name="connsiteY1900" fmla="*/ 1113188 h 1475329"/>
                    <a:gd name="connsiteX1901" fmla="*/ 848314 w 4040759"/>
                    <a:gd name="connsiteY1901" fmla="*/ 1116505 h 1475329"/>
                    <a:gd name="connsiteX1902" fmla="*/ 849063 w 4040759"/>
                    <a:gd name="connsiteY1902" fmla="*/ 1120001 h 1475329"/>
                    <a:gd name="connsiteX1903" fmla="*/ 847254 w 4040759"/>
                    <a:gd name="connsiteY1903" fmla="*/ 1123416 h 1475329"/>
                    <a:gd name="connsiteX1904" fmla="*/ 846081 w 4040759"/>
                    <a:gd name="connsiteY1904" fmla="*/ 1128811 h 1475329"/>
                    <a:gd name="connsiteX1905" fmla="*/ 844215 w 4040759"/>
                    <a:gd name="connsiteY1905" fmla="*/ 1133554 h 1475329"/>
                    <a:gd name="connsiteX1906" fmla="*/ 840181 w 4040759"/>
                    <a:gd name="connsiteY1906" fmla="*/ 1136725 h 1475329"/>
                    <a:gd name="connsiteX1907" fmla="*/ 833123 w 4040759"/>
                    <a:gd name="connsiteY1907" fmla="*/ 1139626 h 1475329"/>
                    <a:gd name="connsiteX1908" fmla="*/ 825584 w 4040759"/>
                    <a:gd name="connsiteY1908" fmla="*/ 1140791 h 1475329"/>
                    <a:gd name="connsiteX1909" fmla="*/ 822365 w 4040759"/>
                    <a:gd name="connsiteY1909" fmla="*/ 1140588 h 1475329"/>
                    <a:gd name="connsiteX1910" fmla="*/ 820279 w 4040759"/>
                    <a:gd name="connsiteY1910" fmla="*/ 1140221 h 1475329"/>
                    <a:gd name="connsiteX1911" fmla="*/ 816888 w 4040759"/>
                    <a:gd name="connsiteY1911" fmla="*/ 1139308 h 1475329"/>
                    <a:gd name="connsiteX1912" fmla="*/ 814378 w 4040759"/>
                    <a:gd name="connsiteY1912" fmla="*/ 1136904 h 1475329"/>
                    <a:gd name="connsiteX1913" fmla="*/ 812528 w 4040759"/>
                    <a:gd name="connsiteY1913" fmla="*/ 1134541 h 1475329"/>
                    <a:gd name="connsiteX1914" fmla="*/ 811200 w 4040759"/>
                    <a:gd name="connsiteY1914" fmla="*/ 1133946 h 1475329"/>
                    <a:gd name="connsiteX1915" fmla="*/ 809872 w 4040759"/>
                    <a:gd name="connsiteY1915" fmla="*/ 1134337 h 1475329"/>
                    <a:gd name="connsiteX1916" fmla="*/ 808641 w 4040759"/>
                    <a:gd name="connsiteY1916" fmla="*/ 1135820 h 1475329"/>
                    <a:gd name="connsiteX1917" fmla="*/ 806970 w 4040759"/>
                    <a:gd name="connsiteY1917" fmla="*/ 1139822 h 1475329"/>
                    <a:gd name="connsiteX1918" fmla="*/ 805096 w 4040759"/>
                    <a:gd name="connsiteY1918" fmla="*/ 1143791 h 1475329"/>
                    <a:gd name="connsiteX1919" fmla="*/ 803580 w 4040759"/>
                    <a:gd name="connsiteY1919" fmla="*/ 1145184 h 1475329"/>
                    <a:gd name="connsiteX1920" fmla="*/ 797916 w 4040759"/>
                    <a:gd name="connsiteY1920" fmla="*/ 1147042 h 1475329"/>
                    <a:gd name="connsiteX1921" fmla="*/ 797296 w 4040759"/>
                    <a:gd name="connsiteY1921" fmla="*/ 1146382 h 1475329"/>
                    <a:gd name="connsiteX1922" fmla="*/ 797940 w 4040759"/>
                    <a:gd name="connsiteY1922" fmla="*/ 1143758 h 1475329"/>
                    <a:gd name="connsiteX1923" fmla="*/ 797231 w 4040759"/>
                    <a:gd name="connsiteY1923" fmla="*/ 1142967 h 1475329"/>
                    <a:gd name="connsiteX1924" fmla="*/ 796164 w 4040759"/>
                    <a:gd name="connsiteY1924" fmla="*/ 1142381 h 1475329"/>
                    <a:gd name="connsiteX1925" fmla="*/ 789195 w 4040759"/>
                    <a:gd name="connsiteY1925" fmla="*/ 1141370 h 1475329"/>
                    <a:gd name="connsiteX1926" fmla="*/ 786547 w 4040759"/>
                    <a:gd name="connsiteY1926" fmla="*/ 1140628 h 1475329"/>
                    <a:gd name="connsiteX1927" fmla="*/ 784559 w 4040759"/>
                    <a:gd name="connsiteY1927" fmla="*/ 1140335 h 1475329"/>
                    <a:gd name="connsiteX1928" fmla="*/ 782064 w 4040759"/>
                    <a:gd name="connsiteY1928" fmla="*/ 1139667 h 1475329"/>
                    <a:gd name="connsiteX1929" fmla="*/ 780337 w 4040759"/>
                    <a:gd name="connsiteY1929" fmla="*/ 1138102 h 1475329"/>
                    <a:gd name="connsiteX1930" fmla="*/ 776637 w 4040759"/>
                    <a:gd name="connsiteY1930" fmla="*/ 1133286 h 1475329"/>
                    <a:gd name="connsiteX1931" fmla="*/ 773719 w 4040759"/>
                    <a:gd name="connsiteY1931" fmla="*/ 1129520 h 1475329"/>
                    <a:gd name="connsiteX1932" fmla="*/ 769049 w 4040759"/>
                    <a:gd name="connsiteY1932" fmla="*/ 1126106 h 1475329"/>
                    <a:gd name="connsiteX1933" fmla="*/ 764820 w 4040759"/>
                    <a:gd name="connsiteY1933" fmla="*/ 1125445 h 1475329"/>
                    <a:gd name="connsiteX1934" fmla="*/ 764486 w 4040759"/>
                    <a:gd name="connsiteY1934" fmla="*/ 1125796 h 1475329"/>
                    <a:gd name="connsiteX1935" fmla="*/ 761258 w 4040759"/>
                    <a:gd name="connsiteY1935" fmla="*/ 1125918 h 1475329"/>
                    <a:gd name="connsiteX1936" fmla="*/ 756148 w 4040759"/>
                    <a:gd name="connsiteY1936" fmla="*/ 1125079 h 1475329"/>
                    <a:gd name="connsiteX1937" fmla="*/ 755904 w 4040759"/>
                    <a:gd name="connsiteY1937" fmla="*/ 1125176 h 1475329"/>
                    <a:gd name="connsiteX1938" fmla="*/ 754306 w 4040759"/>
                    <a:gd name="connsiteY1938" fmla="*/ 1126725 h 1475329"/>
                    <a:gd name="connsiteX1939" fmla="*/ 753125 w 4040759"/>
                    <a:gd name="connsiteY1939" fmla="*/ 1129154 h 1475329"/>
                    <a:gd name="connsiteX1940" fmla="*/ 751560 w 4040759"/>
                    <a:gd name="connsiteY1940" fmla="*/ 1131199 h 1475329"/>
                    <a:gd name="connsiteX1941" fmla="*/ 749181 w 4040759"/>
                    <a:gd name="connsiteY1941" fmla="*/ 1132291 h 1475329"/>
                    <a:gd name="connsiteX1942" fmla="*/ 746312 w 4040759"/>
                    <a:gd name="connsiteY1942" fmla="*/ 1132536 h 1475329"/>
                    <a:gd name="connsiteX1943" fmla="*/ 743093 w 4040759"/>
                    <a:gd name="connsiteY1943" fmla="*/ 1130417 h 1475329"/>
                    <a:gd name="connsiteX1944" fmla="*/ 739784 w 4040759"/>
                    <a:gd name="connsiteY1944" fmla="*/ 1127124 h 1475329"/>
                    <a:gd name="connsiteX1945" fmla="*/ 735636 w 4040759"/>
                    <a:gd name="connsiteY1945" fmla="*/ 1126057 h 1475329"/>
                    <a:gd name="connsiteX1946" fmla="*/ 731610 w 4040759"/>
                    <a:gd name="connsiteY1946" fmla="*/ 1126782 h 1475329"/>
                    <a:gd name="connsiteX1947" fmla="*/ 730151 w 4040759"/>
                    <a:gd name="connsiteY1947" fmla="*/ 1127287 h 1475329"/>
                    <a:gd name="connsiteX1948" fmla="*/ 725921 w 4040759"/>
                    <a:gd name="connsiteY1948" fmla="*/ 1129154 h 1475329"/>
                    <a:gd name="connsiteX1949" fmla="*/ 724601 w 4040759"/>
                    <a:gd name="connsiteY1949" fmla="*/ 1128290 h 1475329"/>
                    <a:gd name="connsiteX1950" fmla="*/ 722726 w 4040759"/>
                    <a:gd name="connsiteY1950" fmla="*/ 1127736 h 1475329"/>
                    <a:gd name="connsiteX1951" fmla="*/ 718611 w 4040759"/>
                    <a:gd name="connsiteY1951" fmla="*/ 1130792 h 1475329"/>
                    <a:gd name="connsiteX1952" fmla="*/ 714112 w 4040759"/>
                    <a:gd name="connsiteY1952" fmla="*/ 1134158 h 1475329"/>
                    <a:gd name="connsiteX1953" fmla="*/ 713134 w 4040759"/>
                    <a:gd name="connsiteY1953" fmla="*/ 1136668 h 1475329"/>
                    <a:gd name="connsiteX1954" fmla="*/ 711773 w 4040759"/>
                    <a:gd name="connsiteY1954" fmla="*/ 1138966 h 1475329"/>
                    <a:gd name="connsiteX1955" fmla="*/ 708790 w 4040759"/>
                    <a:gd name="connsiteY1955" fmla="*/ 1141150 h 1475329"/>
                    <a:gd name="connsiteX1956" fmla="*/ 705522 w 4040759"/>
                    <a:gd name="connsiteY1956" fmla="*/ 1143049 h 1475329"/>
                    <a:gd name="connsiteX1957" fmla="*/ 702760 w 4040759"/>
                    <a:gd name="connsiteY1957" fmla="*/ 1143750 h 1475329"/>
                    <a:gd name="connsiteX1958" fmla="*/ 699190 w 4040759"/>
                    <a:gd name="connsiteY1958" fmla="*/ 1143065 h 1475329"/>
                    <a:gd name="connsiteX1959" fmla="*/ 694700 w 4040759"/>
                    <a:gd name="connsiteY1959" fmla="*/ 1140734 h 1475329"/>
                    <a:gd name="connsiteX1960" fmla="*/ 690584 w 4040759"/>
                    <a:gd name="connsiteY1960" fmla="*/ 1137825 h 1475329"/>
                    <a:gd name="connsiteX1961" fmla="*/ 686102 w 4040759"/>
                    <a:gd name="connsiteY1961" fmla="*/ 1133237 h 1475329"/>
                    <a:gd name="connsiteX1962" fmla="*/ 682467 w 4040759"/>
                    <a:gd name="connsiteY1962" fmla="*/ 1130604 h 1475329"/>
                    <a:gd name="connsiteX1963" fmla="*/ 678962 w 4040759"/>
                    <a:gd name="connsiteY1963" fmla="*/ 1128518 h 1475329"/>
                    <a:gd name="connsiteX1964" fmla="*/ 676852 w 4040759"/>
                    <a:gd name="connsiteY1964" fmla="*/ 1128029 h 1475329"/>
                    <a:gd name="connsiteX1965" fmla="*/ 675148 w 4040759"/>
                    <a:gd name="connsiteY1965" fmla="*/ 1128811 h 1475329"/>
                    <a:gd name="connsiteX1966" fmla="*/ 674488 w 4040759"/>
                    <a:gd name="connsiteY1966" fmla="*/ 1130433 h 1475329"/>
                    <a:gd name="connsiteX1967" fmla="*/ 674961 w 4040759"/>
                    <a:gd name="connsiteY1967" fmla="*/ 1131704 h 1475329"/>
                    <a:gd name="connsiteX1968" fmla="*/ 675971 w 4040759"/>
                    <a:gd name="connsiteY1968" fmla="*/ 1132870 h 1475329"/>
                    <a:gd name="connsiteX1969" fmla="*/ 676754 w 4040759"/>
                    <a:gd name="connsiteY1969" fmla="*/ 1136488 h 1475329"/>
                    <a:gd name="connsiteX1970" fmla="*/ 677055 w 4040759"/>
                    <a:gd name="connsiteY1970" fmla="*/ 1140922 h 1475329"/>
                    <a:gd name="connsiteX1971" fmla="*/ 676713 w 4040759"/>
                    <a:gd name="connsiteY1971" fmla="*/ 1143432 h 1475329"/>
                    <a:gd name="connsiteX1972" fmla="*/ 675727 w 4040759"/>
                    <a:gd name="connsiteY1972" fmla="*/ 1144932 h 1475329"/>
                    <a:gd name="connsiteX1973" fmla="*/ 674708 w 4040759"/>
                    <a:gd name="connsiteY1973" fmla="*/ 1145486 h 1475329"/>
                    <a:gd name="connsiteX1974" fmla="*/ 673771 w 4040759"/>
                    <a:gd name="connsiteY1974" fmla="*/ 1145282 h 1475329"/>
                    <a:gd name="connsiteX1975" fmla="*/ 672622 w 4040759"/>
                    <a:gd name="connsiteY1975" fmla="*/ 1143717 h 1475329"/>
                    <a:gd name="connsiteX1976" fmla="*/ 671929 w 4040759"/>
                    <a:gd name="connsiteY1976" fmla="*/ 1140417 h 1475329"/>
                    <a:gd name="connsiteX1977" fmla="*/ 671391 w 4040759"/>
                    <a:gd name="connsiteY1977" fmla="*/ 1136513 h 1475329"/>
                    <a:gd name="connsiteX1978" fmla="*/ 668319 w 4040759"/>
                    <a:gd name="connsiteY1978" fmla="*/ 1131607 h 1475329"/>
                    <a:gd name="connsiteX1979" fmla="*/ 665678 w 4040759"/>
                    <a:gd name="connsiteY1979" fmla="*/ 1128608 h 1475329"/>
                    <a:gd name="connsiteX1980" fmla="*/ 664399 w 4040759"/>
                    <a:gd name="connsiteY1980" fmla="*/ 1126953 h 1475329"/>
                    <a:gd name="connsiteX1981" fmla="*/ 661970 w 4040759"/>
                    <a:gd name="connsiteY1981" fmla="*/ 1124215 h 1475329"/>
                    <a:gd name="connsiteX1982" fmla="*/ 659868 w 4040759"/>
                    <a:gd name="connsiteY1982" fmla="*/ 1122528 h 1475329"/>
                    <a:gd name="connsiteX1983" fmla="*/ 655393 w 4040759"/>
                    <a:gd name="connsiteY1983" fmla="*/ 1120588 h 1475329"/>
                    <a:gd name="connsiteX1984" fmla="*/ 653193 w 4040759"/>
                    <a:gd name="connsiteY1984" fmla="*/ 1119186 h 1475329"/>
                    <a:gd name="connsiteX1985" fmla="*/ 649395 w 4040759"/>
                    <a:gd name="connsiteY1985" fmla="*/ 1113742 h 1475329"/>
                    <a:gd name="connsiteX1986" fmla="*/ 647260 w 4040759"/>
                    <a:gd name="connsiteY1986" fmla="*/ 1112080 h 1475329"/>
                    <a:gd name="connsiteX1987" fmla="*/ 644513 w 4040759"/>
                    <a:gd name="connsiteY1987" fmla="*/ 1110686 h 1475329"/>
                    <a:gd name="connsiteX1988" fmla="*/ 642272 w 4040759"/>
                    <a:gd name="connsiteY1988" fmla="*/ 1110271 h 1475329"/>
                    <a:gd name="connsiteX1989" fmla="*/ 641775 w 4040759"/>
                    <a:gd name="connsiteY1989" fmla="*/ 1110589 h 1475329"/>
                    <a:gd name="connsiteX1990" fmla="*/ 637081 w 4040759"/>
                    <a:gd name="connsiteY1990" fmla="*/ 1111371 h 1475329"/>
                    <a:gd name="connsiteX1991" fmla="*/ 633723 w 4040759"/>
                    <a:gd name="connsiteY1991" fmla="*/ 1111257 h 1475329"/>
                    <a:gd name="connsiteX1992" fmla="*/ 631686 w 4040759"/>
                    <a:gd name="connsiteY1992" fmla="*/ 1110238 h 1475329"/>
                    <a:gd name="connsiteX1993" fmla="*/ 629567 w 4040759"/>
                    <a:gd name="connsiteY1993" fmla="*/ 1110108 h 1475329"/>
                    <a:gd name="connsiteX1994" fmla="*/ 629387 w 4040759"/>
                    <a:gd name="connsiteY1994" fmla="*/ 1110108 h 1475329"/>
                    <a:gd name="connsiteX1995" fmla="*/ 627081 w 4040759"/>
                    <a:gd name="connsiteY1995" fmla="*/ 1110792 h 1475329"/>
                    <a:gd name="connsiteX1996" fmla="*/ 626649 w 4040759"/>
                    <a:gd name="connsiteY1996" fmla="*/ 1110743 h 1475329"/>
                    <a:gd name="connsiteX1997" fmla="*/ 625500 w 4040759"/>
                    <a:gd name="connsiteY1997" fmla="*/ 1110711 h 1475329"/>
                    <a:gd name="connsiteX1998" fmla="*/ 623634 w 4040759"/>
                    <a:gd name="connsiteY1998" fmla="*/ 1109586 h 1475329"/>
                    <a:gd name="connsiteX1999" fmla="*/ 621825 w 4040759"/>
                    <a:gd name="connsiteY1999" fmla="*/ 1106563 h 1475329"/>
                    <a:gd name="connsiteX2000" fmla="*/ 619534 w 4040759"/>
                    <a:gd name="connsiteY2000" fmla="*/ 1103335 h 1475329"/>
                    <a:gd name="connsiteX2001" fmla="*/ 616772 w 4040759"/>
                    <a:gd name="connsiteY2001" fmla="*/ 1102300 h 1475329"/>
                    <a:gd name="connsiteX2002" fmla="*/ 611507 w 4040759"/>
                    <a:gd name="connsiteY2002" fmla="*/ 1103661 h 1475329"/>
                    <a:gd name="connsiteX2003" fmla="*/ 605761 w 4040759"/>
                    <a:gd name="connsiteY2003" fmla="*/ 1108030 h 1475329"/>
                    <a:gd name="connsiteX2004" fmla="*/ 601638 w 4040759"/>
                    <a:gd name="connsiteY2004" fmla="*/ 1110629 h 1475329"/>
                    <a:gd name="connsiteX2005" fmla="*/ 598272 w 4040759"/>
                    <a:gd name="connsiteY2005" fmla="*/ 1110703 h 1475329"/>
                    <a:gd name="connsiteX2006" fmla="*/ 596357 w 4040759"/>
                    <a:gd name="connsiteY2006" fmla="*/ 1111094 h 1475329"/>
                    <a:gd name="connsiteX2007" fmla="*/ 595077 w 4040759"/>
                    <a:gd name="connsiteY2007" fmla="*/ 1110947 h 1475329"/>
                    <a:gd name="connsiteX2008" fmla="*/ 594001 w 4040759"/>
                    <a:gd name="connsiteY2008" fmla="*/ 1110132 h 1475329"/>
                    <a:gd name="connsiteX2009" fmla="*/ 593732 w 4040759"/>
                    <a:gd name="connsiteY2009" fmla="*/ 1108551 h 1475329"/>
                    <a:gd name="connsiteX2010" fmla="*/ 593219 w 4040759"/>
                    <a:gd name="connsiteY2010" fmla="*/ 1106554 h 1475329"/>
                    <a:gd name="connsiteX2011" fmla="*/ 590587 w 4040759"/>
                    <a:gd name="connsiteY2011" fmla="*/ 1104590 h 1475329"/>
                    <a:gd name="connsiteX2012" fmla="*/ 586968 w 4040759"/>
                    <a:gd name="connsiteY2012" fmla="*/ 1103327 h 1475329"/>
                    <a:gd name="connsiteX2013" fmla="*/ 583611 w 4040759"/>
                    <a:gd name="connsiteY2013" fmla="*/ 1101942 h 1475329"/>
                    <a:gd name="connsiteX2014" fmla="*/ 581427 w 4040759"/>
                    <a:gd name="connsiteY2014" fmla="*/ 1101567 h 1475329"/>
                    <a:gd name="connsiteX2015" fmla="*/ 580481 w 4040759"/>
                    <a:gd name="connsiteY2015" fmla="*/ 1103563 h 1475329"/>
                    <a:gd name="connsiteX2016" fmla="*/ 577694 w 4040759"/>
                    <a:gd name="connsiteY2016" fmla="*/ 1106750 h 1475329"/>
                    <a:gd name="connsiteX2017" fmla="*/ 574532 w 4040759"/>
                    <a:gd name="connsiteY2017" fmla="*/ 1109831 h 1475329"/>
                    <a:gd name="connsiteX2018" fmla="*/ 570498 w 4040759"/>
                    <a:gd name="connsiteY2018" fmla="*/ 1114843 h 1475329"/>
                    <a:gd name="connsiteX2019" fmla="*/ 569397 w 4040759"/>
                    <a:gd name="connsiteY2019" fmla="*/ 1116619 h 1475329"/>
                    <a:gd name="connsiteX2020" fmla="*/ 567857 w 4040759"/>
                    <a:gd name="connsiteY2020" fmla="*/ 1117793 h 1475329"/>
                    <a:gd name="connsiteX2021" fmla="*/ 564328 w 4040759"/>
                    <a:gd name="connsiteY2021" fmla="*/ 1119089 h 1475329"/>
                    <a:gd name="connsiteX2022" fmla="*/ 560049 w 4040759"/>
                    <a:gd name="connsiteY2022" fmla="*/ 1121199 h 1475329"/>
                    <a:gd name="connsiteX2023" fmla="*/ 557320 w 4040759"/>
                    <a:gd name="connsiteY2023" fmla="*/ 1123604 h 1475329"/>
                    <a:gd name="connsiteX2024" fmla="*/ 553448 w 4040759"/>
                    <a:gd name="connsiteY2024" fmla="*/ 1124688 h 1475329"/>
                    <a:gd name="connsiteX2025" fmla="*/ 549276 w 4040759"/>
                    <a:gd name="connsiteY2025" fmla="*/ 1125372 h 1475329"/>
                    <a:gd name="connsiteX2026" fmla="*/ 547450 w 4040759"/>
                    <a:gd name="connsiteY2026" fmla="*/ 1127458 h 1475329"/>
                    <a:gd name="connsiteX2027" fmla="*/ 546342 w 4040759"/>
                    <a:gd name="connsiteY2027" fmla="*/ 1130849 h 1475329"/>
                    <a:gd name="connsiteX2028" fmla="*/ 544940 w 4040759"/>
                    <a:gd name="connsiteY2028" fmla="*/ 1133897 h 1475329"/>
                    <a:gd name="connsiteX2029" fmla="*/ 538371 w 4040759"/>
                    <a:gd name="connsiteY2029" fmla="*/ 1138509 h 1475329"/>
                    <a:gd name="connsiteX2030" fmla="*/ 534785 w 4040759"/>
                    <a:gd name="connsiteY2030" fmla="*/ 1141500 h 1475329"/>
                    <a:gd name="connsiteX2031" fmla="*/ 532177 w 4040759"/>
                    <a:gd name="connsiteY2031" fmla="*/ 1143073 h 1475329"/>
                    <a:gd name="connsiteX2032" fmla="*/ 530352 w 4040759"/>
                    <a:gd name="connsiteY2032" fmla="*/ 1142878 h 1475329"/>
                    <a:gd name="connsiteX2033" fmla="*/ 528372 w 4040759"/>
                    <a:gd name="connsiteY2033" fmla="*/ 1142405 h 1475329"/>
                    <a:gd name="connsiteX2034" fmla="*/ 527630 w 4040759"/>
                    <a:gd name="connsiteY2034" fmla="*/ 1142658 h 1475329"/>
                    <a:gd name="connsiteX2035" fmla="*/ 528640 w 4040759"/>
                    <a:gd name="connsiteY2035" fmla="*/ 1144948 h 1475329"/>
                    <a:gd name="connsiteX2036" fmla="*/ 529504 w 4040759"/>
                    <a:gd name="connsiteY2036" fmla="*/ 1152128 h 1475329"/>
                    <a:gd name="connsiteX2037" fmla="*/ 530711 w 4040759"/>
                    <a:gd name="connsiteY2037" fmla="*/ 1156716 h 1475329"/>
                    <a:gd name="connsiteX2038" fmla="*/ 531583 w 4040759"/>
                    <a:gd name="connsiteY2038" fmla="*/ 1159340 h 1475329"/>
                    <a:gd name="connsiteX2039" fmla="*/ 532406 w 4040759"/>
                    <a:gd name="connsiteY2039" fmla="*/ 1161410 h 1475329"/>
                    <a:gd name="connsiteX2040" fmla="*/ 533033 w 4040759"/>
                    <a:gd name="connsiteY2040" fmla="*/ 1164572 h 1475329"/>
                    <a:gd name="connsiteX2041" fmla="*/ 532218 w 4040759"/>
                    <a:gd name="connsiteY2041" fmla="*/ 1166414 h 1475329"/>
                    <a:gd name="connsiteX2042" fmla="*/ 530947 w 4040759"/>
                    <a:gd name="connsiteY2042" fmla="*/ 1167661 h 1475329"/>
                    <a:gd name="connsiteX2043" fmla="*/ 527011 w 4040759"/>
                    <a:gd name="connsiteY2043" fmla="*/ 1169617 h 1475329"/>
                    <a:gd name="connsiteX2044" fmla="*/ 522895 w 4040759"/>
                    <a:gd name="connsiteY2044" fmla="*/ 1171296 h 1475329"/>
                    <a:gd name="connsiteX2045" fmla="*/ 520425 w 4040759"/>
                    <a:gd name="connsiteY2045" fmla="*/ 1170212 h 1475329"/>
                    <a:gd name="connsiteX2046" fmla="*/ 517687 w 4040759"/>
                    <a:gd name="connsiteY2046" fmla="*/ 1167531 h 1475329"/>
                    <a:gd name="connsiteX2047" fmla="*/ 516628 w 4040759"/>
                    <a:gd name="connsiteY2047" fmla="*/ 1166145 h 1475329"/>
                    <a:gd name="connsiteX2048" fmla="*/ 513629 w 4040759"/>
                    <a:gd name="connsiteY2048" fmla="*/ 1161630 h 1475329"/>
                    <a:gd name="connsiteX2049" fmla="*/ 508388 w 4040759"/>
                    <a:gd name="connsiteY2049" fmla="*/ 1154752 h 1475329"/>
                    <a:gd name="connsiteX2050" fmla="*/ 504827 w 4040759"/>
                    <a:gd name="connsiteY2050" fmla="*/ 1151248 h 1475329"/>
                    <a:gd name="connsiteX2051" fmla="*/ 502194 w 4040759"/>
                    <a:gd name="connsiteY2051" fmla="*/ 1149952 h 1475329"/>
                    <a:gd name="connsiteX2052" fmla="*/ 499807 w 4040759"/>
                    <a:gd name="connsiteY2052" fmla="*/ 1150343 h 1475329"/>
                    <a:gd name="connsiteX2053" fmla="*/ 497965 w 4040759"/>
                    <a:gd name="connsiteY2053" fmla="*/ 1151981 h 1475329"/>
                    <a:gd name="connsiteX2054" fmla="*/ 496645 w 4040759"/>
                    <a:gd name="connsiteY2054" fmla="*/ 1153448 h 1475329"/>
                    <a:gd name="connsiteX2055" fmla="*/ 495422 w 4040759"/>
                    <a:gd name="connsiteY2055" fmla="*/ 1155070 h 1475329"/>
                    <a:gd name="connsiteX2056" fmla="*/ 494632 w 4040759"/>
                    <a:gd name="connsiteY2056" fmla="*/ 1157115 h 1475329"/>
                    <a:gd name="connsiteX2057" fmla="*/ 494697 w 4040759"/>
                    <a:gd name="connsiteY2057" fmla="*/ 1159935 h 1475329"/>
                    <a:gd name="connsiteX2058" fmla="*/ 494640 w 4040759"/>
                    <a:gd name="connsiteY2058" fmla="*/ 1162918 h 1475329"/>
                    <a:gd name="connsiteX2059" fmla="*/ 493483 w 4040759"/>
                    <a:gd name="connsiteY2059" fmla="*/ 1165021 h 1475329"/>
                    <a:gd name="connsiteX2060" fmla="*/ 490532 w 4040759"/>
                    <a:gd name="connsiteY2060" fmla="*/ 1167270 h 1475329"/>
                    <a:gd name="connsiteX2061" fmla="*/ 487118 w 4040759"/>
                    <a:gd name="connsiteY2061" fmla="*/ 1170416 h 1475329"/>
                    <a:gd name="connsiteX2062" fmla="*/ 484583 w 4040759"/>
                    <a:gd name="connsiteY2062" fmla="*/ 1176080 h 1475329"/>
                    <a:gd name="connsiteX2063" fmla="*/ 482937 w 4040759"/>
                    <a:gd name="connsiteY2063" fmla="*/ 1183154 h 1475329"/>
                    <a:gd name="connsiteX2064" fmla="*/ 482415 w 4040759"/>
                    <a:gd name="connsiteY2064" fmla="*/ 1188060 h 1475329"/>
                    <a:gd name="connsiteX2065" fmla="*/ 483678 w 4040759"/>
                    <a:gd name="connsiteY2065" fmla="*/ 1190350 h 1475329"/>
                    <a:gd name="connsiteX2066" fmla="*/ 486164 w 4040759"/>
                    <a:gd name="connsiteY2066" fmla="*/ 1192200 h 1475329"/>
                    <a:gd name="connsiteX2067" fmla="*/ 487778 w 4040759"/>
                    <a:gd name="connsiteY2067" fmla="*/ 1194115 h 1475329"/>
                    <a:gd name="connsiteX2068" fmla="*/ 488096 w 4040759"/>
                    <a:gd name="connsiteY2068" fmla="*/ 1195916 h 1475329"/>
                    <a:gd name="connsiteX2069" fmla="*/ 487672 w 4040759"/>
                    <a:gd name="connsiteY2069" fmla="*/ 1197791 h 1475329"/>
                    <a:gd name="connsiteX2070" fmla="*/ 486384 w 4040759"/>
                    <a:gd name="connsiteY2070" fmla="*/ 1199967 h 1475329"/>
                    <a:gd name="connsiteX2071" fmla="*/ 483678 w 4040759"/>
                    <a:gd name="connsiteY2071" fmla="*/ 1202444 h 1475329"/>
                    <a:gd name="connsiteX2072" fmla="*/ 479946 w 4040759"/>
                    <a:gd name="connsiteY2072" fmla="*/ 1208377 h 1475329"/>
                    <a:gd name="connsiteX2073" fmla="*/ 477623 w 4040759"/>
                    <a:gd name="connsiteY2073" fmla="*/ 1216731 h 1475329"/>
                    <a:gd name="connsiteX2074" fmla="*/ 478919 w 4040759"/>
                    <a:gd name="connsiteY2074" fmla="*/ 1222549 h 1475329"/>
                    <a:gd name="connsiteX2075" fmla="*/ 483678 w 4040759"/>
                    <a:gd name="connsiteY2075" fmla="*/ 1225744 h 1475329"/>
                    <a:gd name="connsiteX2076" fmla="*/ 487428 w 4040759"/>
                    <a:gd name="connsiteY2076" fmla="*/ 1227154 h 1475329"/>
                    <a:gd name="connsiteX2077" fmla="*/ 488919 w 4040759"/>
                    <a:gd name="connsiteY2077" fmla="*/ 1229020 h 1475329"/>
                    <a:gd name="connsiteX2078" fmla="*/ 490272 w 4040759"/>
                    <a:gd name="connsiteY2078" fmla="*/ 1232810 h 1475329"/>
                    <a:gd name="connsiteX2079" fmla="*/ 490084 w 4040759"/>
                    <a:gd name="connsiteY2079" fmla="*/ 1236649 h 1475329"/>
                    <a:gd name="connsiteX2080" fmla="*/ 489636 w 4040759"/>
                    <a:gd name="connsiteY2080" fmla="*/ 1239240 h 1475329"/>
                    <a:gd name="connsiteX2081" fmla="*/ 490565 w 4040759"/>
                    <a:gd name="connsiteY2081" fmla="*/ 1241783 h 1475329"/>
                    <a:gd name="connsiteX2082" fmla="*/ 492334 w 4040759"/>
                    <a:gd name="connsiteY2082" fmla="*/ 1244806 h 1475329"/>
                    <a:gd name="connsiteX2083" fmla="*/ 494567 w 4040759"/>
                    <a:gd name="connsiteY2083" fmla="*/ 1246648 h 1475329"/>
                    <a:gd name="connsiteX2084" fmla="*/ 496930 w 4040759"/>
                    <a:gd name="connsiteY2084" fmla="*/ 1245654 h 1475329"/>
                    <a:gd name="connsiteX2085" fmla="*/ 499277 w 4040759"/>
                    <a:gd name="connsiteY2085" fmla="*/ 1244399 h 1475329"/>
                    <a:gd name="connsiteX2086" fmla="*/ 502211 w 4040759"/>
                    <a:gd name="connsiteY2086" fmla="*/ 1244888 h 1475329"/>
                    <a:gd name="connsiteX2087" fmla="*/ 510507 w 4040759"/>
                    <a:gd name="connsiteY2087" fmla="*/ 1245939 h 1475329"/>
                    <a:gd name="connsiteX2088" fmla="*/ 514851 w 4040759"/>
                    <a:gd name="connsiteY2088" fmla="*/ 1246493 h 1475329"/>
                    <a:gd name="connsiteX2089" fmla="*/ 516269 w 4040759"/>
                    <a:gd name="connsiteY2089" fmla="*/ 1247805 h 1475329"/>
                    <a:gd name="connsiteX2090" fmla="*/ 518967 w 4040759"/>
                    <a:gd name="connsiteY2090" fmla="*/ 1252060 h 1475329"/>
                    <a:gd name="connsiteX2091" fmla="*/ 522365 w 4040759"/>
                    <a:gd name="connsiteY2091" fmla="*/ 1256819 h 1475329"/>
                    <a:gd name="connsiteX2092" fmla="*/ 525821 w 4040759"/>
                    <a:gd name="connsiteY2092" fmla="*/ 1261660 h 1475329"/>
                    <a:gd name="connsiteX2093" fmla="*/ 527019 w 4040759"/>
                    <a:gd name="connsiteY2093" fmla="*/ 1263755 h 1475329"/>
                    <a:gd name="connsiteX2094" fmla="*/ 529847 w 4040759"/>
                    <a:gd name="connsiteY2094" fmla="*/ 1269525 h 1475329"/>
                    <a:gd name="connsiteX2095" fmla="*/ 532748 w 4040759"/>
                    <a:gd name="connsiteY2095" fmla="*/ 1274708 h 1475329"/>
                    <a:gd name="connsiteX2096" fmla="*/ 535918 w 4040759"/>
                    <a:gd name="connsiteY2096" fmla="*/ 1281122 h 1475329"/>
                    <a:gd name="connsiteX2097" fmla="*/ 535690 w 4040759"/>
                    <a:gd name="connsiteY2097" fmla="*/ 1282849 h 1475329"/>
                    <a:gd name="connsiteX2098" fmla="*/ 534027 w 4040759"/>
                    <a:gd name="connsiteY2098" fmla="*/ 1283575 h 1475329"/>
                    <a:gd name="connsiteX2099" fmla="*/ 531371 w 4040759"/>
                    <a:gd name="connsiteY2099" fmla="*/ 1283404 h 1475329"/>
                    <a:gd name="connsiteX2100" fmla="*/ 529325 w 4040759"/>
                    <a:gd name="connsiteY2100" fmla="*/ 1282466 h 1475329"/>
                    <a:gd name="connsiteX2101" fmla="*/ 528176 w 4040759"/>
                    <a:gd name="connsiteY2101" fmla="*/ 1281684 h 1475329"/>
                    <a:gd name="connsiteX2102" fmla="*/ 527141 w 4040759"/>
                    <a:gd name="connsiteY2102" fmla="*/ 1281431 h 1475329"/>
                    <a:gd name="connsiteX2103" fmla="*/ 525967 w 4040759"/>
                    <a:gd name="connsiteY2103" fmla="*/ 1281741 h 1475329"/>
                    <a:gd name="connsiteX2104" fmla="*/ 524981 w 4040759"/>
                    <a:gd name="connsiteY2104" fmla="*/ 1282548 h 1475329"/>
                    <a:gd name="connsiteX2105" fmla="*/ 524582 w 4040759"/>
                    <a:gd name="connsiteY2105" fmla="*/ 1283819 h 1475329"/>
                    <a:gd name="connsiteX2106" fmla="*/ 524745 w 4040759"/>
                    <a:gd name="connsiteY2106" fmla="*/ 1285547 h 1475329"/>
                    <a:gd name="connsiteX2107" fmla="*/ 525544 w 4040759"/>
                    <a:gd name="connsiteY2107" fmla="*/ 1287120 h 1475329"/>
                    <a:gd name="connsiteX2108" fmla="*/ 526652 w 4040759"/>
                    <a:gd name="connsiteY2108" fmla="*/ 1288130 h 1475329"/>
                    <a:gd name="connsiteX2109" fmla="*/ 527247 w 4040759"/>
                    <a:gd name="connsiteY2109" fmla="*/ 1288505 h 1475329"/>
                    <a:gd name="connsiteX2110" fmla="*/ 531322 w 4040759"/>
                    <a:gd name="connsiteY2110" fmla="*/ 1290583 h 1475329"/>
                    <a:gd name="connsiteX2111" fmla="*/ 535910 w 4040759"/>
                    <a:gd name="connsiteY2111" fmla="*/ 1292922 h 1475329"/>
                    <a:gd name="connsiteX2112" fmla="*/ 541485 w 4040759"/>
                    <a:gd name="connsiteY2112" fmla="*/ 1296231 h 1475329"/>
                    <a:gd name="connsiteX2113" fmla="*/ 542682 w 4040759"/>
                    <a:gd name="connsiteY2113" fmla="*/ 1296647 h 1475329"/>
                    <a:gd name="connsiteX2114" fmla="*/ 543025 w 4040759"/>
                    <a:gd name="connsiteY2114" fmla="*/ 1298252 h 1475329"/>
                    <a:gd name="connsiteX2115" fmla="*/ 540034 w 4040759"/>
                    <a:gd name="connsiteY2115" fmla="*/ 1298603 h 1475329"/>
                    <a:gd name="connsiteX2116" fmla="*/ 539667 w 4040759"/>
                    <a:gd name="connsiteY2116" fmla="*/ 1300485 h 1475329"/>
                    <a:gd name="connsiteX2117" fmla="*/ 538901 w 4040759"/>
                    <a:gd name="connsiteY2117" fmla="*/ 1301879 h 1475329"/>
                    <a:gd name="connsiteX2118" fmla="*/ 532210 w 4040759"/>
                    <a:gd name="connsiteY2118" fmla="*/ 1305017 h 1475329"/>
                    <a:gd name="connsiteX2119" fmla="*/ 530539 w 4040759"/>
                    <a:gd name="connsiteY2119" fmla="*/ 1305009 h 1475329"/>
                    <a:gd name="connsiteX2120" fmla="*/ 529081 w 4040759"/>
                    <a:gd name="connsiteY2120" fmla="*/ 1305522 h 1475329"/>
                    <a:gd name="connsiteX2121" fmla="*/ 529170 w 4040759"/>
                    <a:gd name="connsiteY2121" fmla="*/ 1307551 h 1475329"/>
                    <a:gd name="connsiteX2122" fmla="*/ 529562 w 4040759"/>
                    <a:gd name="connsiteY2122" fmla="*/ 1309409 h 1475329"/>
                    <a:gd name="connsiteX2123" fmla="*/ 530711 w 4040759"/>
                    <a:gd name="connsiteY2123" fmla="*/ 1311365 h 1475329"/>
                    <a:gd name="connsiteX2124" fmla="*/ 530222 w 4040759"/>
                    <a:gd name="connsiteY2124" fmla="*/ 1312213 h 1475329"/>
                    <a:gd name="connsiteX2125" fmla="*/ 529219 w 4040759"/>
                    <a:gd name="connsiteY2125" fmla="*/ 1312490 h 1475329"/>
                    <a:gd name="connsiteX2126" fmla="*/ 527924 w 4040759"/>
                    <a:gd name="connsiteY2126" fmla="*/ 1311895 h 1475329"/>
                    <a:gd name="connsiteX2127" fmla="*/ 526734 w 4040759"/>
                    <a:gd name="connsiteY2127" fmla="*/ 1310868 h 1475329"/>
                    <a:gd name="connsiteX2128" fmla="*/ 525454 w 4040759"/>
                    <a:gd name="connsiteY2128" fmla="*/ 1310607 h 1475329"/>
                    <a:gd name="connsiteX2129" fmla="*/ 524207 w 4040759"/>
                    <a:gd name="connsiteY2129" fmla="*/ 1310868 h 1475329"/>
                    <a:gd name="connsiteX2130" fmla="*/ 518510 w 4040759"/>
                    <a:gd name="connsiteY2130" fmla="*/ 1316410 h 1475329"/>
                    <a:gd name="connsiteX2131" fmla="*/ 516066 w 4040759"/>
                    <a:gd name="connsiteY2131" fmla="*/ 1317844 h 1475329"/>
                    <a:gd name="connsiteX2132" fmla="*/ 513433 w 4040759"/>
                    <a:gd name="connsiteY2132" fmla="*/ 1318415 h 1475329"/>
                    <a:gd name="connsiteX2133" fmla="*/ 507908 w 4040759"/>
                    <a:gd name="connsiteY2133" fmla="*/ 1320460 h 1475329"/>
                    <a:gd name="connsiteX2134" fmla="*/ 506269 w 4040759"/>
                    <a:gd name="connsiteY2134" fmla="*/ 1320354 h 1475329"/>
                    <a:gd name="connsiteX2135" fmla="*/ 504713 w 4040759"/>
                    <a:gd name="connsiteY2135" fmla="*/ 1319645 h 1475329"/>
                    <a:gd name="connsiteX2136" fmla="*/ 503425 w 4040759"/>
                    <a:gd name="connsiteY2136" fmla="*/ 1320680 h 1475329"/>
                    <a:gd name="connsiteX2137" fmla="*/ 503034 w 4040759"/>
                    <a:gd name="connsiteY2137" fmla="*/ 1323248 h 1475329"/>
                    <a:gd name="connsiteX2138" fmla="*/ 501559 w 4040759"/>
                    <a:gd name="connsiteY2138" fmla="*/ 1321471 h 1475329"/>
                    <a:gd name="connsiteX2139" fmla="*/ 499937 w 4040759"/>
                    <a:gd name="connsiteY2139" fmla="*/ 1320061 h 1475329"/>
                    <a:gd name="connsiteX2140" fmla="*/ 499212 w 4040759"/>
                    <a:gd name="connsiteY2140" fmla="*/ 1319588 h 1475329"/>
                    <a:gd name="connsiteX2141" fmla="*/ 498805 w 4040759"/>
                    <a:gd name="connsiteY2141" fmla="*/ 1319874 h 1475329"/>
                    <a:gd name="connsiteX2142" fmla="*/ 500320 w 4040759"/>
                    <a:gd name="connsiteY2142" fmla="*/ 1322620 h 1475329"/>
                    <a:gd name="connsiteX2143" fmla="*/ 500443 w 4040759"/>
                    <a:gd name="connsiteY2143" fmla="*/ 1325138 h 1475329"/>
                    <a:gd name="connsiteX2144" fmla="*/ 500084 w 4040759"/>
                    <a:gd name="connsiteY2144" fmla="*/ 1326524 h 1475329"/>
                    <a:gd name="connsiteX2145" fmla="*/ 499440 w 4040759"/>
                    <a:gd name="connsiteY2145" fmla="*/ 1327787 h 1475329"/>
                    <a:gd name="connsiteX2146" fmla="*/ 498601 w 4040759"/>
                    <a:gd name="connsiteY2146" fmla="*/ 1328561 h 1475329"/>
                    <a:gd name="connsiteX2147" fmla="*/ 497574 w 4040759"/>
                    <a:gd name="connsiteY2147" fmla="*/ 1328985 h 1475329"/>
                    <a:gd name="connsiteX2148" fmla="*/ 497011 w 4040759"/>
                    <a:gd name="connsiteY2148" fmla="*/ 1333418 h 1475329"/>
                    <a:gd name="connsiteX2149" fmla="*/ 496025 w 4040759"/>
                    <a:gd name="connsiteY2149" fmla="*/ 1336132 h 1475329"/>
                    <a:gd name="connsiteX2150" fmla="*/ 494656 w 4040759"/>
                    <a:gd name="connsiteY2150" fmla="*/ 1338528 h 1475329"/>
                    <a:gd name="connsiteX2151" fmla="*/ 492814 w 4040759"/>
                    <a:gd name="connsiteY2151" fmla="*/ 1342921 h 1475329"/>
                    <a:gd name="connsiteX2152" fmla="*/ 491331 w 4040759"/>
                    <a:gd name="connsiteY2152" fmla="*/ 1344836 h 1475329"/>
                    <a:gd name="connsiteX2153" fmla="*/ 490166 w 4040759"/>
                    <a:gd name="connsiteY2153" fmla="*/ 1347069 h 1475329"/>
                    <a:gd name="connsiteX2154" fmla="*/ 489399 w 4040759"/>
                    <a:gd name="connsiteY2154" fmla="*/ 1350191 h 1475329"/>
                    <a:gd name="connsiteX2155" fmla="*/ 488291 w 4040759"/>
                    <a:gd name="connsiteY2155" fmla="*/ 1349449 h 1475329"/>
                    <a:gd name="connsiteX2156" fmla="*/ 487395 w 4040759"/>
                    <a:gd name="connsiteY2156" fmla="*/ 1348112 h 1475329"/>
                    <a:gd name="connsiteX2157" fmla="*/ 486914 w 4040759"/>
                    <a:gd name="connsiteY2157" fmla="*/ 1349889 h 1475329"/>
                    <a:gd name="connsiteX2158" fmla="*/ 486262 w 4040759"/>
                    <a:gd name="connsiteY2158" fmla="*/ 1351397 h 1475329"/>
                    <a:gd name="connsiteX2159" fmla="*/ 483377 w 4040759"/>
                    <a:gd name="connsiteY2159" fmla="*/ 1353646 h 1475329"/>
                    <a:gd name="connsiteX2160" fmla="*/ 481258 w 4040759"/>
                    <a:gd name="connsiteY2160" fmla="*/ 1355806 h 1475329"/>
                    <a:gd name="connsiteX2161" fmla="*/ 480280 w 4040759"/>
                    <a:gd name="connsiteY2161" fmla="*/ 1359155 h 1475329"/>
                    <a:gd name="connsiteX2162" fmla="*/ 480060 w 4040759"/>
                    <a:gd name="connsiteY2162" fmla="*/ 1361160 h 1475329"/>
                    <a:gd name="connsiteX2163" fmla="*/ 480402 w 4040759"/>
                    <a:gd name="connsiteY2163" fmla="*/ 1362969 h 1475329"/>
                    <a:gd name="connsiteX2164" fmla="*/ 481201 w 4040759"/>
                    <a:gd name="connsiteY2164" fmla="*/ 1364045 h 1475329"/>
                    <a:gd name="connsiteX2165" fmla="*/ 485227 w 4040759"/>
                    <a:gd name="connsiteY2165" fmla="*/ 1365219 h 1475329"/>
                    <a:gd name="connsiteX2166" fmla="*/ 487900 w 4040759"/>
                    <a:gd name="connsiteY2166" fmla="*/ 1366751 h 1475329"/>
                    <a:gd name="connsiteX2167" fmla="*/ 490361 w 4040759"/>
                    <a:gd name="connsiteY2167" fmla="*/ 1369603 h 1475329"/>
                    <a:gd name="connsiteX2168" fmla="*/ 493018 w 4040759"/>
                    <a:gd name="connsiteY2168" fmla="*/ 1372016 h 1475329"/>
                    <a:gd name="connsiteX2169" fmla="*/ 494933 w 4040759"/>
                    <a:gd name="connsiteY2169" fmla="*/ 1375129 h 1475329"/>
                    <a:gd name="connsiteX2170" fmla="*/ 496286 w 4040759"/>
                    <a:gd name="connsiteY2170" fmla="*/ 1378951 h 1475329"/>
                    <a:gd name="connsiteX2171" fmla="*/ 497965 w 4040759"/>
                    <a:gd name="connsiteY2171" fmla="*/ 1386384 h 1475329"/>
                    <a:gd name="connsiteX2172" fmla="*/ 498796 w 4040759"/>
                    <a:gd name="connsiteY2172" fmla="*/ 1394199 h 1475329"/>
                    <a:gd name="connsiteX2173" fmla="*/ 501266 w 4040759"/>
                    <a:gd name="connsiteY2173" fmla="*/ 1384477 h 1475329"/>
                    <a:gd name="connsiteX2174" fmla="*/ 503360 w 4040759"/>
                    <a:gd name="connsiteY2174" fmla="*/ 1382732 h 1475329"/>
                    <a:gd name="connsiteX2175" fmla="*/ 502895 w 4040759"/>
                    <a:gd name="connsiteY2175" fmla="*/ 1385471 h 1475329"/>
                    <a:gd name="connsiteX2176" fmla="*/ 501404 w 4040759"/>
                    <a:gd name="connsiteY2176" fmla="*/ 1389676 h 1475329"/>
                    <a:gd name="connsiteX2177" fmla="*/ 499945 w 4040759"/>
                    <a:gd name="connsiteY2177" fmla="*/ 1395764 h 1475329"/>
                    <a:gd name="connsiteX2178" fmla="*/ 499465 w 4040759"/>
                    <a:gd name="connsiteY2178" fmla="*/ 1400214 h 1475329"/>
                    <a:gd name="connsiteX2179" fmla="*/ 500002 w 4040759"/>
                    <a:gd name="connsiteY2179" fmla="*/ 1404052 h 1475329"/>
                    <a:gd name="connsiteX2180" fmla="*/ 500035 w 4040759"/>
                    <a:gd name="connsiteY2180" fmla="*/ 1405853 h 1475329"/>
                    <a:gd name="connsiteX2181" fmla="*/ 498805 w 4040759"/>
                    <a:gd name="connsiteY2181" fmla="*/ 1412218 h 1475329"/>
                    <a:gd name="connsiteX2182" fmla="*/ 499448 w 4040759"/>
                    <a:gd name="connsiteY2182" fmla="*/ 1413433 h 1475329"/>
                    <a:gd name="connsiteX2183" fmla="*/ 500434 w 4040759"/>
                    <a:gd name="connsiteY2183" fmla="*/ 1414565 h 1475329"/>
                    <a:gd name="connsiteX2184" fmla="*/ 503066 w 4040759"/>
                    <a:gd name="connsiteY2184" fmla="*/ 1416766 h 1475329"/>
                    <a:gd name="connsiteX2185" fmla="*/ 504908 w 4040759"/>
                    <a:gd name="connsiteY2185" fmla="*/ 1419960 h 1475329"/>
                    <a:gd name="connsiteX2186" fmla="*/ 505373 w 4040759"/>
                    <a:gd name="connsiteY2186" fmla="*/ 1424451 h 1475329"/>
                    <a:gd name="connsiteX2187" fmla="*/ 506408 w 4040759"/>
                    <a:gd name="connsiteY2187" fmla="*/ 1425690 h 1475329"/>
                    <a:gd name="connsiteX2188" fmla="*/ 507712 w 4040759"/>
                    <a:gd name="connsiteY2188" fmla="*/ 1426774 h 1475329"/>
                    <a:gd name="connsiteX2189" fmla="*/ 514110 w 4040759"/>
                    <a:gd name="connsiteY2189" fmla="*/ 1435730 h 1475329"/>
                    <a:gd name="connsiteX2190" fmla="*/ 517793 w 4040759"/>
                    <a:gd name="connsiteY2190" fmla="*/ 1441679 h 1475329"/>
                    <a:gd name="connsiteX2191" fmla="*/ 519635 w 4040759"/>
                    <a:gd name="connsiteY2191" fmla="*/ 1445143 h 1475329"/>
                    <a:gd name="connsiteX2192" fmla="*/ 521640 w 4040759"/>
                    <a:gd name="connsiteY2192" fmla="*/ 1449495 h 1475329"/>
                    <a:gd name="connsiteX2193" fmla="*/ 522700 w 4040759"/>
                    <a:gd name="connsiteY2193" fmla="*/ 1450506 h 1475329"/>
                    <a:gd name="connsiteX2194" fmla="*/ 523946 w 4040759"/>
                    <a:gd name="connsiteY2194" fmla="*/ 1451149 h 1475329"/>
                    <a:gd name="connsiteX2195" fmla="*/ 526334 w 4040759"/>
                    <a:gd name="connsiteY2195" fmla="*/ 1453236 h 1475329"/>
                    <a:gd name="connsiteX2196" fmla="*/ 524989 w 4040759"/>
                    <a:gd name="connsiteY2196" fmla="*/ 1455469 h 1475329"/>
                    <a:gd name="connsiteX2197" fmla="*/ 522797 w 4040759"/>
                    <a:gd name="connsiteY2197" fmla="*/ 1459446 h 1475329"/>
                    <a:gd name="connsiteX2198" fmla="*/ 521827 w 4040759"/>
                    <a:gd name="connsiteY2198" fmla="*/ 1461549 h 1475329"/>
                    <a:gd name="connsiteX2199" fmla="*/ 519521 w 4040759"/>
                    <a:gd name="connsiteY2199" fmla="*/ 1463496 h 1475329"/>
                    <a:gd name="connsiteX2200" fmla="*/ 515650 w 4040759"/>
                    <a:gd name="connsiteY2200" fmla="*/ 1465566 h 1475329"/>
                    <a:gd name="connsiteX2201" fmla="*/ 513515 w 4040759"/>
                    <a:gd name="connsiteY2201" fmla="*/ 1466455 h 1475329"/>
                    <a:gd name="connsiteX2202" fmla="*/ 511216 w 4040759"/>
                    <a:gd name="connsiteY2202" fmla="*/ 1470725 h 1475329"/>
                    <a:gd name="connsiteX2203" fmla="*/ 508682 w 4040759"/>
                    <a:gd name="connsiteY2203" fmla="*/ 1474865 h 1475329"/>
                    <a:gd name="connsiteX2204" fmla="*/ 506938 w 4040759"/>
                    <a:gd name="connsiteY2204" fmla="*/ 1475330 h 1475329"/>
                    <a:gd name="connsiteX2205" fmla="*/ 501999 w 4040759"/>
                    <a:gd name="connsiteY2205" fmla="*/ 1474686 h 1475329"/>
                    <a:gd name="connsiteX2206" fmla="*/ 500231 w 4040759"/>
                    <a:gd name="connsiteY2206" fmla="*/ 1474311 h 1475329"/>
                    <a:gd name="connsiteX2207" fmla="*/ 495202 w 4040759"/>
                    <a:gd name="connsiteY2207" fmla="*/ 1472485 h 1475329"/>
                    <a:gd name="connsiteX2208" fmla="*/ 493800 w 4040759"/>
                    <a:gd name="connsiteY2208" fmla="*/ 1471369 h 1475329"/>
                    <a:gd name="connsiteX2209" fmla="*/ 492415 w 4040759"/>
                    <a:gd name="connsiteY2209" fmla="*/ 1466561 h 1475329"/>
                    <a:gd name="connsiteX2210" fmla="*/ 490850 w 4040759"/>
                    <a:gd name="connsiteY2210" fmla="*/ 1464491 h 1475329"/>
                    <a:gd name="connsiteX2211" fmla="*/ 488902 w 4040759"/>
                    <a:gd name="connsiteY2211" fmla="*/ 1463170 h 1475329"/>
                    <a:gd name="connsiteX2212" fmla="*/ 487574 w 4040759"/>
                    <a:gd name="connsiteY2212" fmla="*/ 1462046 h 1475329"/>
                    <a:gd name="connsiteX2213" fmla="*/ 487020 w 4040759"/>
                    <a:gd name="connsiteY2213" fmla="*/ 1460880 h 1475329"/>
                    <a:gd name="connsiteX2214" fmla="*/ 485602 w 4040759"/>
                    <a:gd name="connsiteY2214" fmla="*/ 1459201 h 1475329"/>
                    <a:gd name="connsiteX2215" fmla="*/ 482994 w 4040759"/>
                    <a:gd name="connsiteY2215" fmla="*/ 1456699 h 1475329"/>
                    <a:gd name="connsiteX2216" fmla="*/ 481095 w 4040759"/>
                    <a:gd name="connsiteY2216" fmla="*/ 1454328 h 1475329"/>
                    <a:gd name="connsiteX2217" fmla="*/ 479636 w 4040759"/>
                    <a:gd name="connsiteY2217" fmla="*/ 1453684 h 1475329"/>
                    <a:gd name="connsiteX2218" fmla="*/ 477795 w 4040759"/>
                    <a:gd name="connsiteY2218" fmla="*/ 1454523 h 1475329"/>
                    <a:gd name="connsiteX2219" fmla="*/ 476686 w 4040759"/>
                    <a:gd name="connsiteY2219" fmla="*/ 1454752 h 1475329"/>
                    <a:gd name="connsiteX2220" fmla="*/ 476213 w 4040759"/>
                    <a:gd name="connsiteY2220" fmla="*/ 1454336 h 1475329"/>
                    <a:gd name="connsiteX2221" fmla="*/ 475855 w 4040759"/>
                    <a:gd name="connsiteY2221" fmla="*/ 1452339 h 1475329"/>
                    <a:gd name="connsiteX2222" fmla="*/ 473173 w 4040759"/>
                    <a:gd name="connsiteY2222" fmla="*/ 1451638 h 1475329"/>
                    <a:gd name="connsiteX2223" fmla="*/ 472725 w 4040759"/>
                    <a:gd name="connsiteY2223" fmla="*/ 1451166 h 1475329"/>
                    <a:gd name="connsiteX2224" fmla="*/ 469156 w 4040759"/>
                    <a:gd name="connsiteY2224" fmla="*/ 1449251 h 1475329"/>
                    <a:gd name="connsiteX2225" fmla="*/ 467794 w 4040759"/>
                    <a:gd name="connsiteY2225" fmla="*/ 1448240 h 1475329"/>
                    <a:gd name="connsiteX2226" fmla="*/ 466483 w 4040759"/>
                    <a:gd name="connsiteY2226" fmla="*/ 1448167 h 1475329"/>
                    <a:gd name="connsiteX2227" fmla="*/ 463720 w 4040759"/>
                    <a:gd name="connsiteY2227" fmla="*/ 1447596 h 1475329"/>
                    <a:gd name="connsiteX2228" fmla="*/ 461381 w 4040759"/>
                    <a:gd name="connsiteY2228" fmla="*/ 1446675 h 1475329"/>
                    <a:gd name="connsiteX2229" fmla="*/ 460289 w 4040759"/>
                    <a:gd name="connsiteY2229" fmla="*/ 1445469 h 1475329"/>
                    <a:gd name="connsiteX2230" fmla="*/ 458700 w 4040759"/>
                    <a:gd name="connsiteY2230" fmla="*/ 1444116 h 1475329"/>
                    <a:gd name="connsiteX2231" fmla="*/ 455733 w 4040759"/>
                    <a:gd name="connsiteY2231" fmla="*/ 1442437 h 1475329"/>
                    <a:gd name="connsiteX2232" fmla="*/ 453557 w 4040759"/>
                    <a:gd name="connsiteY2232" fmla="*/ 1440840 h 1475329"/>
                    <a:gd name="connsiteX2233" fmla="*/ 453451 w 4040759"/>
                    <a:gd name="connsiteY2233" fmla="*/ 1439821 h 1475329"/>
                    <a:gd name="connsiteX2234" fmla="*/ 454796 w 4040759"/>
                    <a:gd name="connsiteY2234" fmla="*/ 1435608 h 1475329"/>
                    <a:gd name="connsiteX2235" fmla="*/ 455766 w 4040759"/>
                    <a:gd name="connsiteY2235" fmla="*/ 1431549 h 1475329"/>
                    <a:gd name="connsiteX2236" fmla="*/ 455203 w 4040759"/>
                    <a:gd name="connsiteY2236" fmla="*/ 1430759 h 1475329"/>
                    <a:gd name="connsiteX2237" fmla="*/ 453973 w 4040759"/>
                    <a:gd name="connsiteY2237" fmla="*/ 1430074 h 1475329"/>
                    <a:gd name="connsiteX2238" fmla="*/ 451674 w 4040759"/>
                    <a:gd name="connsiteY2238" fmla="*/ 1429455 h 1475329"/>
                    <a:gd name="connsiteX2239" fmla="*/ 446239 w 4040759"/>
                    <a:gd name="connsiteY2239" fmla="*/ 1429659 h 1475329"/>
                    <a:gd name="connsiteX2240" fmla="*/ 442881 w 4040759"/>
                    <a:gd name="connsiteY2240" fmla="*/ 1425576 h 1475329"/>
                    <a:gd name="connsiteX2241" fmla="*/ 441691 w 4040759"/>
                    <a:gd name="connsiteY2241" fmla="*/ 1424655 h 1475329"/>
                    <a:gd name="connsiteX2242" fmla="*/ 439499 w 4040759"/>
                    <a:gd name="connsiteY2242" fmla="*/ 1423986 h 1475329"/>
                    <a:gd name="connsiteX2243" fmla="*/ 436312 w 4040759"/>
                    <a:gd name="connsiteY2243" fmla="*/ 1422748 h 1475329"/>
                    <a:gd name="connsiteX2244" fmla="*/ 434511 w 4040759"/>
                    <a:gd name="connsiteY2244" fmla="*/ 1421843 h 1475329"/>
                    <a:gd name="connsiteX2245" fmla="*/ 434006 w 4040759"/>
                    <a:gd name="connsiteY2245" fmla="*/ 1422177 h 1475329"/>
                    <a:gd name="connsiteX2246" fmla="*/ 432042 w 4040759"/>
                    <a:gd name="connsiteY2246" fmla="*/ 1426660 h 1475329"/>
                    <a:gd name="connsiteX2247" fmla="*/ 430070 w 4040759"/>
                    <a:gd name="connsiteY2247" fmla="*/ 1423457 h 1475329"/>
                    <a:gd name="connsiteX2248" fmla="*/ 428888 w 4040759"/>
                    <a:gd name="connsiteY2248" fmla="*/ 1422593 h 1475329"/>
                    <a:gd name="connsiteX2249" fmla="*/ 427209 w 4040759"/>
                    <a:gd name="connsiteY2249" fmla="*/ 1422120 h 1475329"/>
                    <a:gd name="connsiteX2250" fmla="*/ 425465 w 4040759"/>
                    <a:gd name="connsiteY2250" fmla="*/ 1422112 h 1475329"/>
                    <a:gd name="connsiteX2251" fmla="*/ 421080 w 4040759"/>
                    <a:gd name="connsiteY2251" fmla="*/ 1423669 h 1475329"/>
                    <a:gd name="connsiteX2252" fmla="*/ 417861 w 4040759"/>
                    <a:gd name="connsiteY2252" fmla="*/ 1425396 h 1475329"/>
                    <a:gd name="connsiteX2253" fmla="*/ 415457 w 4040759"/>
                    <a:gd name="connsiteY2253" fmla="*/ 1426676 h 1475329"/>
                    <a:gd name="connsiteX2254" fmla="*/ 413028 w 4040759"/>
                    <a:gd name="connsiteY2254" fmla="*/ 1427393 h 1475329"/>
                    <a:gd name="connsiteX2255" fmla="*/ 411855 w 4040759"/>
                    <a:gd name="connsiteY2255" fmla="*/ 1428395 h 1475329"/>
                    <a:gd name="connsiteX2256" fmla="*/ 408603 w 4040759"/>
                    <a:gd name="connsiteY2256" fmla="*/ 1428216 h 1475329"/>
                    <a:gd name="connsiteX2257" fmla="*/ 406957 w 4040759"/>
                    <a:gd name="connsiteY2257" fmla="*/ 1427450 h 1475329"/>
                    <a:gd name="connsiteX2258" fmla="*/ 406419 w 4040759"/>
                    <a:gd name="connsiteY2258" fmla="*/ 1426651 h 1475329"/>
                    <a:gd name="connsiteX2259" fmla="*/ 406704 w 4040759"/>
                    <a:gd name="connsiteY2259" fmla="*/ 1425258 h 1475329"/>
                    <a:gd name="connsiteX2260" fmla="*/ 407837 w 4040759"/>
                    <a:gd name="connsiteY2260" fmla="*/ 1423693 h 1475329"/>
                    <a:gd name="connsiteX2261" fmla="*/ 407927 w 4040759"/>
                    <a:gd name="connsiteY2261" fmla="*/ 1422837 h 1475329"/>
                    <a:gd name="connsiteX2262" fmla="*/ 407519 w 4040759"/>
                    <a:gd name="connsiteY2262" fmla="*/ 1422169 h 1475329"/>
                    <a:gd name="connsiteX2263" fmla="*/ 403559 w 4040759"/>
                    <a:gd name="connsiteY2263" fmla="*/ 1420075 h 1475329"/>
                    <a:gd name="connsiteX2264" fmla="*/ 401945 w 4040759"/>
                    <a:gd name="connsiteY2264" fmla="*/ 1418803 h 1475329"/>
                    <a:gd name="connsiteX2265" fmla="*/ 396753 w 4040759"/>
                    <a:gd name="connsiteY2265" fmla="*/ 1416994 h 1475329"/>
                    <a:gd name="connsiteX2266" fmla="*/ 390323 w 4040759"/>
                    <a:gd name="connsiteY2266" fmla="*/ 1413807 h 1475329"/>
                    <a:gd name="connsiteX2267" fmla="*/ 388115 w 4040759"/>
                    <a:gd name="connsiteY2267" fmla="*/ 1411713 h 1475329"/>
                    <a:gd name="connsiteX2268" fmla="*/ 387903 w 4040759"/>
                    <a:gd name="connsiteY2268" fmla="*/ 1410262 h 1475329"/>
                    <a:gd name="connsiteX2269" fmla="*/ 385384 w 4040759"/>
                    <a:gd name="connsiteY2269" fmla="*/ 1408836 h 1475329"/>
                    <a:gd name="connsiteX2270" fmla="*/ 382173 w 4040759"/>
                    <a:gd name="connsiteY2270" fmla="*/ 1407565 h 1475329"/>
                    <a:gd name="connsiteX2271" fmla="*/ 379688 w 4040759"/>
                    <a:gd name="connsiteY2271" fmla="*/ 1407923 h 1475329"/>
                    <a:gd name="connsiteX2272" fmla="*/ 377357 w 4040759"/>
                    <a:gd name="connsiteY2272" fmla="*/ 1408054 h 1475329"/>
                    <a:gd name="connsiteX2273" fmla="*/ 373698 w 4040759"/>
                    <a:gd name="connsiteY2273" fmla="*/ 1405666 h 1475329"/>
                    <a:gd name="connsiteX2274" fmla="*/ 370250 w 4040759"/>
                    <a:gd name="connsiteY2274" fmla="*/ 1405527 h 1475329"/>
                    <a:gd name="connsiteX2275" fmla="*/ 366331 w 4040759"/>
                    <a:gd name="connsiteY2275" fmla="*/ 1406253 h 1475329"/>
                    <a:gd name="connsiteX2276" fmla="*/ 365491 w 4040759"/>
                    <a:gd name="connsiteY2276" fmla="*/ 1406538 h 1475329"/>
                    <a:gd name="connsiteX2277" fmla="*/ 364546 w 4040759"/>
                    <a:gd name="connsiteY2277" fmla="*/ 1406848 h 1475329"/>
                    <a:gd name="connsiteX2278" fmla="*/ 352916 w 4040759"/>
                    <a:gd name="connsiteY2278" fmla="*/ 1405837 h 1475329"/>
                    <a:gd name="connsiteX2279" fmla="*/ 349933 w 4040759"/>
                    <a:gd name="connsiteY2279" fmla="*/ 1403857 h 1475329"/>
                    <a:gd name="connsiteX2280" fmla="*/ 347399 w 4040759"/>
                    <a:gd name="connsiteY2280" fmla="*/ 1401884 h 1475329"/>
                    <a:gd name="connsiteX2281" fmla="*/ 340569 w 4040759"/>
                    <a:gd name="connsiteY2281" fmla="*/ 1400458 h 1475329"/>
                    <a:gd name="connsiteX2282" fmla="*/ 337065 w 4040759"/>
                    <a:gd name="connsiteY2282" fmla="*/ 1398950 h 1475329"/>
                    <a:gd name="connsiteX2283" fmla="*/ 333585 w 4040759"/>
                    <a:gd name="connsiteY2283" fmla="*/ 1396799 h 1475329"/>
                    <a:gd name="connsiteX2284" fmla="*/ 329771 w 4040759"/>
                    <a:gd name="connsiteY2284" fmla="*/ 1394924 h 1475329"/>
                    <a:gd name="connsiteX2285" fmla="*/ 326568 w 4040759"/>
                    <a:gd name="connsiteY2285" fmla="*/ 1395682 h 1475329"/>
                    <a:gd name="connsiteX2286" fmla="*/ 322192 w 4040759"/>
                    <a:gd name="connsiteY2286" fmla="*/ 1394623 h 1475329"/>
                    <a:gd name="connsiteX2287" fmla="*/ 317424 w 4040759"/>
                    <a:gd name="connsiteY2287" fmla="*/ 1393686 h 1475329"/>
                    <a:gd name="connsiteX2288" fmla="*/ 315802 w 4040759"/>
                    <a:gd name="connsiteY2288" fmla="*/ 1394256 h 1475329"/>
                    <a:gd name="connsiteX2289" fmla="*/ 314286 w 4040759"/>
                    <a:gd name="connsiteY2289" fmla="*/ 1396628 h 1475329"/>
                    <a:gd name="connsiteX2290" fmla="*/ 313170 w 4040759"/>
                    <a:gd name="connsiteY2290" fmla="*/ 1398885 h 1475329"/>
                    <a:gd name="connsiteX2291" fmla="*/ 310570 w 4040759"/>
                    <a:gd name="connsiteY2291" fmla="*/ 1397043 h 1475329"/>
                    <a:gd name="connsiteX2292" fmla="*/ 301711 w 4040759"/>
                    <a:gd name="connsiteY2292" fmla="*/ 1388193 h 1475329"/>
                    <a:gd name="connsiteX2293" fmla="*/ 297066 w 4040759"/>
                    <a:gd name="connsiteY2293" fmla="*/ 1382301 h 1475329"/>
                    <a:gd name="connsiteX2294" fmla="*/ 281891 w 4040759"/>
                    <a:gd name="connsiteY2294" fmla="*/ 1368682 h 1475329"/>
                    <a:gd name="connsiteX2295" fmla="*/ 279870 w 4040759"/>
                    <a:gd name="connsiteY2295" fmla="*/ 1367631 h 1475329"/>
                    <a:gd name="connsiteX2296" fmla="*/ 271834 w 4040759"/>
                    <a:gd name="connsiteY2296" fmla="*/ 1365667 h 1475329"/>
                    <a:gd name="connsiteX2297" fmla="*/ 268591 w 4040759"/>
                    <a:gd name="connsiteY2297" fmla="*/ 1364086 h 1475329"/>
                    <a:gd name="connsiteX2298" fmla="*/ 260416 w 4040759"/>
                    <a:gd name="connsiteY2298" fmla="*/ 1354323 h 1475329"/>
                    <a:gd name="connsiteX2299" fmla="*/ 256782 w 4040759"/>
                    <a:gd name="connsiteY2299" fmla="*/ 1355635 h 1475329"/>
                    <a:gd name="connsiteX2300" fmla="*/ 253497 w 4040759"/>
                    <a:gd name="connsiteY2300" fmla="*/ 1355309 h 1475329"/>
                    <a:gd name="connsiteX2301" fmla="*/ 251574 w 4040759"/>
                    <a:gd name="connsiteY2301" fmla="*/ 1354453 h 1475329"/>
                    <a:gd name="connsiteX2302" fmla="*/ 249504 w 4040759"/>
                    <a:gd name="connsiteY2302" fmla="*/ 1353043 h 1475329"/>
                    <a:gd name="connsiteX2303" fmla="*/ 248037 w 4040759"/>
                    <a:gd name="connsiteY2303" fmla="*/ 1351185 h 1475329"/>
                    <a:gd name="connsiteX2304" fmla="*/ 246342 w 4040759"/>
                    <a:gd name="connsiteY2304" fmla="*/ 1347102 h 1475329"/>
                    <a:gd name="connsiteX2305" fmla="*/ 244378 w 4040759"/>
                    <a:gd name="connsiteY2305" fmla="*/ 1344755 h 1475329"/>
                    <a:gd name="connsiteX2306" fmla="*/ 237915 w 4040759"/>
                    <a:gd name="connsiteY2306" fmla="*/ 1341332 h 1475329"/>
                    <a:gd name="connsiteX2307" fmla="*/ 230637 w 4040759"/>
                    <a:gd name="connsiteY2307" fmla="*/ 1339335 h 1475329"/>
                    <a:gd name="connsiteX2308" fmla="*/ 230059 w 4040759"/>
                    <a:gd name="connsiteY2308" fmla="*/ 1338463 h 1475329"/>
                    <a:gd name="connsiteX2309" fmla="*/ 229855 w 4040759"/>
                    <a:gd name="connsiteY2309" fmla="*/ 1337265 h 1475329"/>
                    <a:gd name="connsiteX2310" fmla="*/ 236155 w 4040759"/>
                    <a:gd name="connsiteY2310" fmla="*/ 1334934 h 1475329"/>
                    <a:gd name="connsiteX2311" fmla="*/ 237834 w 4040759"/>
                    <a:gd name="connsiteY2311" fmla="*/ 1333598 h 1475329"/>
                    <a:gd name="connsiteX2312" fmla="*/ 234606 w 4040759"/>
                    <a:gd name="connsiteY2312" fmla="*/ 1331829 h 1475329"/>
                    <a:gd name="connsiteX2313" fmla="*/ 233384 w 4040759"/>
                    <a:gd name="connsiteY2313" fmla="*/ 1331544 h 1475329"/>
                    <a:gd name="connsiteX2314" fmla="*/ 232357 w 4040759"/>
                    <a:gd name="connsiteY2314" fmla="*/ 1330713 h 1475329"/>
                    <a:gd name="connsiteX2315" fmla="*/ 234174 w 4040759"/>
                    <a:gd name="connsiteY2315" fmla="*/ 1329376 h 1475329"/>
                    <a:gd name="connsiteX2316" fmla="*/ 235976 w 4040759"/>
                    <a:gd name="connsiteY2316" fmla="*/ 1328765 h 1475329"/>
                    <a:gd name="connsiteX2317" fmla="*/ 238746 w 4040759"/>
                    <a:gd name="connsiteY2317" fmla="*/ 1330297 h 1475329"/>
                    <a:gd name="connsiteX2318" fmla="*/ 241860 w 4040759"/>
                    <a:gd name="connsiteY2318" fmla="*/ 1333133 h 1475329"/>
                    <a:gd name="connsiteX2319" fmla="*/ 244598 w 4040759"/>
                    <a:gd name="connsiteY2319" fmla="*/ 1334209 h 1475329"/>
                    <a:gd name="connsiteX2320" fmla="*/ 245853 w 4040759"/>
                    <a:gd name="connsiteY2320" fmla="*/ 1332848 h 1475329"/>
                    <a:gd name="connsiteX2321" fmla="*/ 255347 w 4040759"/>
                    <a:gd name="connsiteY2321" fmla="*/ 1330525 h 1475329"/>
                    <a:gd name="connsiteX2322" fmla="*/ 255991 w 4040759"/>
                    <a:gd name="connsiteY2322" fmla="*/ 1328675 h 1475329"/>
                    <a:gd name="connsiteX2323" fmla="*/ 255959 w 4040759"/>
                    <a:gd name="connsiteY2323" fmla="*/ 1326613 h 1475329"/>
                    <a:gd name="connsiteX2324" fmla="*/ 255029 w 4040759"/>
                    <a:gd name="connsiteY2324" fmla="*/ 1326679 h 1475329"/>
                    <a:gd name="connsiteX2325" fmla="*/ 254426 w 4040759"/>
                    <a:gd name="connsiteY2325" fmla="*/ 1326214 h 1475329"/>
                    <a:gd name="connsiteX2326" fmla="*/ 254492 w 4040759"/>
                    <a:gd name="connsiteY2326" fmla="*/ 1323924 h 1475329"/>
                    <a:gd name="connsiteX2327" fmla="*/ 255885 w 4040759"/>
                    <a:gd name="connsiteY2327" fmla="*/ 1320778 h 1475329"/>
                    <a:gd name="connsiteX2328" fmla="*/ 260148 w 4040759"/>
                    <a:gd name="connsiteY2328" fmla="*/ 1315644 h 1475329"/>
                    <a:gd name="connsiteX2329" fmla="*/ 262446 w 4040759"/>
                    <a:gd name="connsiteY2329" fmla="*/ 1308505 h 1475329"/>
                    <a:gd name="connsiteX2330" fmla="*/ 264443 w 4040759"/>
                    <a:gd name="connsiteY2330" fmla="*/ 1306883 h 1475329"/>
                    <a:gd name="connsiteX2331" fmla="*/ 265926 w 4040759"/>
                    <a:gd name="connsiteY2331" fmla="*/ 1307967 h 1475329"/>
                    <a:gd name="connsiteX2332" fmla="*/ 265828 w 4040759"/>
                    <a:gd name="connsiteY2332" fmla="*/ 1309638 h 1475329"/>
                    <a:gd name="connsiteX2333" fmla="*/ 266073 w 4040759"/>
                    <a:gd name="connsiteY2333" fmla="*/ 1310868 h 1475329"/>
                    <a:gd name="connsiteX2334" fmla="*/ 267393 w 4040759"/>
                    <a:gd name="connsiteY2334" fmla="*/ 1308472 h 1475329"/>
                    <a:gd name="connsiteX2335" fmla="*/ 268656 w 4040759"/>
                    <a:gd name="connsiteY2335" fmla="*/ 1305212 h 1475329"/>
                    <a:gd name="connsiteX2336" fmla="*/ 271834 w 4040759"/>
                    <a:gd name="connsiteY2336" fmla="*/ 1305204 h 1475329"/>
                    <a:gd name="connsiteX2337" fmla="*/ 274027 w 4040759"/>
                    <a:gd name="connsiteY2337" fmla="*/ 1305742 h 1475329"/>
                    <a:gd name="connsiteX2338" fmla="*/ 276308 w 4040759"/>
                    <a:gd name="connsiteY2338" fmla="*/ 1305367 h 1475329"/>
                    <a:gd name="connsiteX2339" fmla="*/ 271916 w 4040759"/>
                    <a:gd name="connsiteY2339" fmla="*/ 1300005 h 1475329"/>
                    <a:gd name="connsiteX2340" fmla="*/ 266032 w 4040759"/>
                    <a:gd name="connsiteY2340" fmla="*/ 1294618 h 1475329"/>
                    <a:gd name="connsiteX2341" fmla="*/ 263546 w 4040759"/>
                    <a:gd name="connsiteY2341" fmla="*/ 1295017 h 1475329"/>
                    <a:gd name="connsiteX2342" fmla="*/ 261965 w 4040759"/>
                    <a:gd name="connsiteY2342" fmla="*/ 1294186 h 1475329"/>
                    <a:gd name="connsiteX2343" fmla="*/ 259373 w 4040759"/>
                    <a:gd name="connsiteY2343" fmla="*/ 1289736 h 1475329"/>
                    <a:gd name="connsiteX2344" fmla="*/ 258306 w 4040759"/>
                    <a:gd name="connsiteY2344" fmla="*/ 1286044 h 1475329"/>
                    <a:gd name="connsiteX2345" fmla="*/ 260808 w 4040759"/>
                    <a:gd name="connsiteY2345" fmla="*/ 1286117 h 1475329"/>
                    <a:gd name="connsiteX2346" fmla="*/ 263310 w 4040759"/>
                    <a:gd name="connsiteY2346" fmla="*/ 1286680 h 1475329"/>
                    <a:gd name="connsiteX2347" fmla="*/ 268061 w 4040759"/>
                    <a:gd name="connsiteY2347" fmla="*/ 1284104 h 1475329"/>
                    <a:gd name="connsiteX2348" fmla="*/ 269797 w 4040759"/>
                    <a:gd name="connsiteY2348" fmla="*/ 1283721 h 1475329"/>
                    <a:gd name="connsiteX2349" fmla="*/ 272617 w 4040759"/>
                    <a:gd name="connsiteY2349" fmla="*/ 1284536 h 1475329"/>
                    <a:gd name="connsiteX2350" fmla="*/ 276520 w 4040759"/>
                    <a:gd name="connsiteY2350" fmla="*/ 1285058 h 1475329"/>
                    <a:gd name="connsiteX2351" fmla="*/ 276203 w 4040759"/>
                    <a:gd name="connsiteY2351" fmla="*/ 1282629 h 1475329"/>
                    <a:gd name="connsiteX2352" fmla="*/ 274980 w 4040759"/>
                    <a:gd name="connsiteY2352" fmla="*/ 1279753 h 1475329"/>
                    <a:gd name="connsiteX2353" fmla="*/ 279740 w 4040759"/>
                    <a:gd name="connsiteY2353" fmla="*/ 1277617 h 1475329"/>
                    <a:gd name="connsiteX2354" fmla="*/ 283969 w 4040759"/>
                    <a:gd name="connsiteY2354" fmla="*/ 1276435 h 1475329"/>
                    <a:gd name="connsiteX2355" fmla="*/ 292054 w 4040759"/>
                    <a:gd name="connsiteY2355" fmla="*/ 1272263 h 1475329"/>
                    <a:gd name="connsiteX2356" fmla="*/ 295615 w 4040759"/>
                    <a:gd name="connsiteY2356" fmla="*/ 1271529 h 1475329"/>
                    <a:gd name="connsiteX2357" fmla="*/ 296071 w 4040759"/>
                    <a:gd name="connsiteY2357" fmla="*/ 1270576 h 1475329"/>
                    <a:gd name="connsiteX2358" fmla="*/ 296186 w 4040759"/>
                    <a:gd name="connsiteY2358" fmla="*/ 1269337 h 1475329"/>
                    <a:gd name="connsiteX2359" fmla="*/ 294963 w 4040759"/>
                    <a:gd name="connsiteY2359" fmla="*/ 1265996 h 1475329"/>
                    <a:gd name="connsiteX2360" fmla="*/ 293757 w 4040759"/>
                    <a:gd name="connsiteY2360" fmla="*/ 1263518 h 1475329"/>
                    <a:gd name="connsiteX2361" fmla="*/ 289487 w 4040759"/>
                    <a:gd name="connsiteY2361" fmla="*/ 1263404 h 1475329"/>
                    <a:gd name="connsiteX2362" fmla="*/ 287123 w 4040759"/>
                    <a:gd name="connsiteY2362" fmla="*/ 1266843 h 1475329"/>
                    <a:gd name="connsiteX2363" fmla="*/ 280668 w 4040759"/>
                    <a:gd name="connsiteY2363" fmla="*/ 1267976 h 1475329"/>
                    <a:gd name="connsiteX2364" fmla="*/ 277800 w 4040759"/>
                    <a:gd name="connsiteY2364" fmla="*/ 1267748 h 1475329"/>
                    <a:gd name="connsiteX2365" fmla="*/ 280082 w 4040759"/>
                    <a:gd name="connsiteY2365" fmla="*/ 1265539 h 1475329"/>
                    <a:gd name="connsiteX2366" fmla="*/ 282348 w 4040759"/>
                    <a:gd name="connsiteY2366" fmla="*/ 1264700 h 1475329"/>
                    <a:gd name="connsiteX2367" fmla="*/ 282999 w 4040759"/>
                    <a:gd name="connsiteY2367" fmla="*/ 1263779 h 1475329"/>
                    <a:gd name="connsiteX2368" fmla="*/ 278419 w 4040759"/>
                    <a:gd name="connsiteY2368" fmla="*/ 1264578 h 1475329"/>
                    <a:gd name="connsiteX2369" fmla="*/ 276121 w 4040759"/>
                    <a:gd name="connsiteY2369" fmla="*/ 1266851 h 1475329"/>
                    <a:gd name="connsiteX2370" fmla="*/ 269414 w 4040759"/>
                    <a:gd name="connsiteY2370" fmla="*/ 1269842 h 1475329"/>
                    <a:gd name="connsiteX2371" fmla="*/ 269210 w 4040759"/>
                    <a:gd name="connsiteY2371" fmla="*/ 1268278 h 1475329"/>
                    <a:gd name="connsiteX2372" fmla="*/ 269088 w 4040759"/>
                    <a:gd name="connsiteY2372" fmla="*/ 1266860 h 1475329"/>
                    <a:gd name="connsiteX2373" fmla="*/ 269585 w 4040759"/>
                    <a:gd name="connsiteY2373" fmla="*/ 1265523 h 1475329"/>
                    <a:gd name="connsiteX2374" fmla="*/ 270685 w 4040759"/>
                    <a:gd name="connsiteY2374" fmla="*/ 1264659 h 1475329"/>
                    <a:gd name="connsiteX2375" fmla="*/ 271060 w 4040759"/>
                    <a:gd name="connsiteY2375" fmla="*/ 1263869 h 1475329"/>
                    <a:gd name="connsiteX2376" fmla="*/ 271060 w 4040759"/>
                    <a:gd name="connsiteY2376" fmla="*/ 1263241 h 1475329"/>
                    <a:gd name="connsiteX2377" fmla="*/ 270082 w 4040759"/>
                    <a:gd name="connsiteY2377" fmla="*/ 1262850 h 1475329"/>
                    <a:gd name="connsiteX2378" fmla="*/ 269259 w 4040759"/>
                    <a:gd name="connsiteY2378" fmla="*/ 1262532 h 1475329"/>
                    <a:gd name="connsiteX2379" fmla="*/ 269088 w 4040759"/>
                    <a:gd name="connsiteY2379" fmla="*/ 1261668 h 1475329"/>
                    <a:gd name="connsiteX2380" fmla="*/ 269373 w 4040759"/>
                    <a:gd name="connsiteY2380" fmla="*/ 1260886 h 1475329"/>
                    <a:gd name="connsiteX2381" fmla="*/ 270131 w 4040759"/>
                    <a:gd name="connsiteY2381" fmla="*/ 1259778 h 1475329"/>
                    <a:gd name="connsiteX2382" fmla="*/ 270457 w 4040759"/>
                    <a:gd name="connsiteY2382" fmla="*/ 1258522 h 1475329"/>
                    <a:gd name="connsiteX2383" fmla="*/ 270522 w 4040759"/>
                    <a:gd name="connsiteY2383" fmla="*/ 1255996 h 1475329"/>
                    <a:gd name="connsiteX2384" fmla="*/ 271223 w 4040759"/>
                    <a:gd name="connsiteY2384" fmla="*/ 1253152 h 1475329"/>
                    <a:gd name="connsiteX2385" fmla="*/ 273244 w 4040759"/>
                    <a:gd name="connsiteY2385" fmla="*/ 1251334 h 1475329"/>
                    <a:gd name="connsiteX2386" fmla="*/ 276773 w 4040759"/>
                    <a:gd name="connsiteY2386" fmla="*/ 1250894 h 1475329"/>
                    <a:gd name="connsiteX2387" fmla="*/ 279976 w 4040759"/>
                    <a:gd name="connsiteY2387" fmla="*/ 1249338 h 1475329"/>
                    <a:gd name="connsiteX2388" fmla="*/ 281932 w 4040759"/>
                    <a:gd name="connsiteY2388" fmla="*/ 1247610 h 1475329"/>
                    <a:gd name="connsiteX2389" fmla="*/ 284491 w 4040759"/>
                    <a:gd name="connsiteY2389" fmla="*/ 1243209 h 1475329"/>
                    <a:gd name="connsiteX2390" fmla="*/ 286430 w 4040759"/>
                    <a:gd name="connsiteY2390" fmla="*/ 1242557 h 1475329"/>
                    <a:gd name="connsiteX2391" fmla="*/ 290342 w 4040759"/>
                    <a:gd name="connsiteY2391" fmla="*/ 1242793 h 1475329"/>
                    <a:gd name="connsiteX2392" fmla="*/ 292836 w 4040759"/>
                    <a:gd name="connsiteY2392" fmla="*/ 1243193 h 1475329"/>
                    <a:gd name="connsiteX2393" fmla="*/ 298606 w 4040759"/>
                    <a:gd name="connsiteY2393" fmla="*/ 1243323 h 1475329"/>
                    <a:gd name="connsiteX2394" fmla="*/ 305240 w 4040759"/>
                    <a:gd name="connsiteY2394" fmla="*/ 1243062 h 1475329"/>
                    <a:gd name="connsiteX2395" fmla="*/ 307155 w 4040759"/>
                    <a:gd name="connsiteY2395" fmla="*/ 1242932 h 1475329"/>
                    <a:gd name="connsiteX2396" fmla="*/ 308215 w 4040759"/>
                    <a:gd name="connsiteY2396" fmla="*/ 1241400 h 1475329"/>
                    <a:gd name="connsiteX2397" fmla="*/ 308141 w 4040759"/>
                    <a:gd name="connsiteY2397" fmla="*/ 1238645 h 1475329"/>
                    <a:gd name="connsiteX2398" fmla="*/ 309095 w 4040759"/>
                    <a:gd name="connsiteY2398" fmla="*/ 1236094 h 1475329"/>
                    <a:gd name="connsiteX2399" fmla="*/ 310855 w 4040759"/>
                    <a:gd name="connsiteY2399" fmla="*/ 1231319 h 1475329"/>
                    <a:gd name="connsiteX2400" fmla="*/ 312738 w 4040759"/>
                    <a:gd name="connsiteY2400" fmla="*/ 1228817 h 1475329"/>
                    <a:gd name="connsiteX2401" fmla="*/ 312664 w 4040759"/>
                    <a:gd name="connsiteY2401" fmla="*/ 1227708 h 1475329"/>
                    <a:gd name="connsiteX2402" fmla="*/ 311670 w 4040759"/>
                    <a:gd name="connsiteY2402" fmla="*/ 1227244 h 1475329"/>
                    <a:gd name="connsiteX2403" fmla="*/ 310391 w 4040759"/>
                    <a:gd name="connsiteY2403" fmla="*/ 1227007 h 1475329"/>
                    <a:gd name="connsiteX2404" fmla="*/ 309918 w 4040759"/>
                    <a:gd name="connsiteY2404" fmla="*/ 1226494 h 1475329"/>
                    <a:gd name="connsiteX2405" fmla="*/ 309975 w 4040759"/>
                    <a:gd name="connsiteY2405" fmla="*/ 1225451 h 1475329"/>
                    <a:gd name="connsiteX2406" fmla="*/ 310969 w 4040759"/>
                    <a:gd name="connsiteY2406" fmla="*/ 1224416 h 1475329"/>
                    <a:gd name="connsiteX2407" fmla="*/ 310798 w 4040759"/>
                    <a:gd name="connsiteY2407" fmla="*/ 1222313 h 1475329"/>
                    <a:gd name="connsiteX2408" fmla="*/ 310171 w 4040759"/>
                    <a:gd name="connsiteY2408" fmla="*/ 1219966 h 1475329"/>
                    <a:gd name="connsiteX2409" fmla="*/ 309625 w 4040759"/>
                    <a:gd name="connsiteY2409" fmla="*/ 1217855 h 1475329"/>
                    <a:gd name="connsiteX2410" fmla="*/ 307881 w 4040759"/>
                    <a:gd name="connsiteY2410" fmla="*/ 1216804 h 1475329"/>
                    <a:gd name="connsiteX2411" fmla="*/ 304890 w 4040759"/>
                    <a:gd name="connsiteY2411" fmla="*/ 1216111 h 1475329"/>
                    <a:gd name="connsiteX2412" fmla="*/ 305525 w 4040759"/>
                    <a:gd name="connsiteY2412" fmla="*/ 1213536 h 1475329"/>
                    <a:gd name="connsiteX2413" fmla="*/ 306381 w 4040759"/>
                    <a:gd name="connsiteY2413" fmla="*/ 1210765 h 1475329"/>
                    <a:gd name="connsiteX2414" fmla="*/ 307644 w 4040759"/>
                    <a:gd name="connsiteY2414" fmla="*/ 1209225 h 1475329"/>
                    <a:gd name="connsiteX2415" fmla="*/ 308565 w 4040759"/>
                    <a:gd name="connsiteY2415" fmla="*/ 1208296 h 1475329"/>
                    <a:gd name="connsiteX2416" fmla="*/ 311328 w 4040759"/>
                    <a:gd name="connsiteY2416" fmla="*/ 1208801 h 1475329"/>
                    <a:gd name="connsiteX2417" fmla="*/ 313317 w 4040759"/>
                    <a:gd name="connsiteY2417" fmla="*/ 1208312 h 1475329"/>
                    <a:gd name="connsiteX2418" fmla="*/ 313789 w 4040759"/>
                    <a:gd name="connsiteY2418" fmla="*/ 1207782 h 1475329"/>
                    <a:gd name="connsiteX2419" fmla="*/ 313430 w 4040759"/>
                    <a:gd name="connsiteY2419" fmla="*/ 1206723 h 1475329"/>
                    <a:gd name="connsiteX2420" fmla="*/ 310326 w 4040759"/>
                    <a:gd name="connsiteY2420" fmla="*/ 1205761 h 1475329"/>
                    <a:gd name="connsiteX2421" fmla="*/ 307587 w 4040759"/>
                    <a:gd name="connsiteY2421" fmla="*/ 1204441 h 1475329"/>
                    <a:gd name="connsiteX2422" fmla="*/ 306405 w 4040759"/>
                    <a:gd name="connsiteY2422" fmla="*/ 1202811 h 1475329"/>
                    <a:gd name="connsiteX2423" fmla="*/ 305924 w 4040759"/>
                    <a:gd name="connsiteY2423" fmla="*/ 1201067 h 1475329"/>
                    <a:gd name="connsiteX2424" fmla="*/ 307742 w 4040759"/>
                    <a:gd name="connsiteY2424" fmla="*/ 1200024 h 1475329"/>
                    <a:gd name="connsiteX2425" fmla="*/ 310969 w 4040759"/>
                    <a:gd name="connsiteY2425" fmla="*/ 1199029 h 1475329"/>
                    <a:gd name="connsiteX2426" fmla="*/ 313121 w 4040759"/>
                    <a:gd name="connsiteY2426" fmla="*/ 1196650 h 1475329"/>
                    <a:gd name="connsiteX2427" fmla="*/ 315444 w 4040759"/>
                    <a:gd name="connsiteY2427" fmla="*/ 1194107 h 1475329"/>
                    <a:gd name="connsiteX2428" fmla="*/ 316397 w 4040759"/>
                    <a:gd name="connsiteY2428" fmla="*/ 1192249 h 1475329"/>
                    <a:gd name="connsiteX2429" fmla="*/ 316886 w 4040759"/>
                    <a:gd name="connsiteY2429" fmla="*/ 1190228 h 1475329"/>
                    <a:gd name="connsiteX2430" fmla="*/ 316837 w 4040759"/>
                    <a:gd name="connsiteY2430" fmla="*/ 1187995 h 1475329"/>
                    <a:gd name="connsiteX2431" fmla="*/ 315142 w 4040759"/>
                    <a:gd name="connsiteY2431" fmla="*/ 1185721 h 1475329"/>
                    <a:gd name="connsiteX2432" fmla="*/ 315142 w 4040759"/>
                    <a:gd name="connsiteY2432" fmla="*/ 1183341 h 1475329"/>
                    <a:gd name="connsiteX2433" fmla="*/ 316055 w 4040759"/>
                    <a:gd name="connsiteY2433" fmla="*/ 1181687 h 1475329"/>
                    <a:gd name="connsiteX2434" fmla="*/ 315704 w 4040759"/>
                    <a:gd name="connsiteY2434" fmla="*/ 1180448 h 1475329"/>
                    <a:gd name="connsiteX2435" fmla="*/ 314466 w 4040759"/>
                    <a:gd name="connsiteY2435" fmla="*/ 1179723 h 1475329"/>
                    <a:gd name="connsiteX2436" fmla="*/ 312681 w 4040759"/>
                    <a:gd name="connsiteY2436" fmla="*/ 1179943 h 1475329"/>
                    <a:gd name="connsiteX2437" fmla="*/ 310643 w 4040759"/>
                    <a:gd name="connsiteY2437" fmla="*/ 1180782 h 1475329"/>
                    <a:gd name="connsiteX2438" fmla="*/ 308264 w 4040759"/>
                    <a:gd name="connsiteY2438" fmla="*/ 1180619 h 1475329"/>
                    <a:gd name="connsiteX2439" fmla="*/ 304442 w 4040759"/>
                    <a:gd name="connsiteY2439" fmla="*/ 1177767 h 1475329"/>
                    <a:gd name="connsiteX2440" fmla="*/ 300375 w 4040759"/>
                    <a:gd name="connsiteY2440" fmla="*/ 1174955 h 1475329"/>
                    <a:gd name="connsiteX2441" fmla="*/ 298036 w 4040759"/>
                    <a:gd name="connsiteY2441" fmla="*/ 1174857 h 1475329"/>
                    <a:gd name="connsiteX2442" fmla="*/ 296414 w 4040759"/>
                    <a:gd name="connsiteY2442" fmla="*/ 1174442 h 1475329"/>
                    <a:gd name="connsiteX2443" fmla="*/ 295004 w 4040759"/>
                    <a:gd name="connsiteY2443" fmla="*/ 1172991 h 1475329"/>
                    <a:gd name="connsiteX2444" fmla="*/ 294164 w 4040759"/>
                    <a:gd name="connsiteY2444" fmla="*/ 1171125 h 1475329"/>
                    <a:gd name="connsiteX2445" fmla="*/ 293227 w 4040759"/>
                    <a:gd name="connsiteY2445" fmla="*/ 1170293 h 1475329"/>
                    <a:gd name="connsiteX2446" fmla="*/ 291752 w 4040759"/>
                    <a:gd name="connsiteY2446" fmla="*/ 1170815 h 1475329"/>
                    <a:gd name="connsiteX2447" fmla="*/ 289585 w 4040759"/>
                    <a:gd name="connsiteY2447" fmla="*/ 1171663 h 1475329"/>
                    <a:gd name="connsiteX2448" fmla="*/ 286879 w 4040759"/>
                    <a:gd name="connsiteY2448" fmla="*/ 1171443 h 1475329"/>
                    <a:gd name="connsiteX2449" fmla="*/ 283358 w 4040759"/>
                    <a:gd name="connsiteY2449" fmla="*/ 1169258 h 1475329"/>
                    <a:gd name="connsiteX2450" fmla="*/ 280155 w 4040759"/>
                    <a:gd name="connsiteY2450" fmla="*/ 1166765 h 1475329"/>
                    <a:gd name="connsiteX2451" fmla="*/ 277792 w 4040759"/>
                    <a:gd name="connsiteY2451" fmla="*/ 1166708 h 1475329"/>
                    <a:gd name="connsiteX2452" fmla="*/ 275290 w 4040759"/>
                    <a:gd name="connsiteY2452" fmla="*/ 1166357 h 1475329"/>
                    <a:gd name="connsiteX2453" fmla="*/ 270514 w 4040759"/>
                    <a:gd name="connsiteY2453" fmla="*/ 1163146 h 1475329"/>
                    <a:gd name="connsiteX2454" fmla="*/ 269275 w 4040759"/>
                    <a:gd name="connsiteY2454" fmla="*/ 1163179 h 1475329"/>
                    <a:gd name="connsiteX2455" fmla="*/ 268501 w 4040759"/>
                    <a:gd name="connsiteY2455" fmla="*/ 1164124 h 1475329"/>
                    <a:gd name="connsiteX2456" fmla="*/ 268134 w 4040759"/>
                    <a:gd name="connsiteY2456" fmla="*/ 1166708 h 1475329"/>
                    <a:gd name="connsiteX2457" fmla="*/ 267735 w 4040759"/>
                    <a:gd name="connsiteY2457" fmla="*/ 1167262 h 1475329"/>
                    <a:gd name="connsiteX2458" fmla="*/ 266896 w 4040759"/>
                    <a:gd name="connsiteY2458" fmla="*/ 1167677 h 1475329"/>
                    <a:gd name="connsiteX2459" fmla="*/ 265266 w 4040759"/>
                    <a:gd name="connsiteY2459" fmla="*/ 1167963 h 1475329"/>
                    <a:gd name="connsiteX2460" fmla="*/ 262870 w 4040759"/>
                    <a:gd name="connsiteY2460" fmla="*/ 1166357 h 1475329"/>
                    <a:gd name="connsiteX2461" fmla="*/ 256765 w 4040759"/>
                    <a:gd name="connsiteY2461" fmla="*/ 1161076 h 1475329"/>
                    <a:gd name="connsiteX2462" fmla="*/ 254304 w 4040759"/>
                    <a:gd name="connsiteY2462" fmla="*/ 1157205 h 1475329"/>
                    <a:gd name="connsiteX2463" fmla="*/ 253742 w 4040759"/>
                    <a:gd name="connsiteY2463" fmla="*/ 1154401 h 1475329"/>
                    <a:gd name="connsiteX2464" fmla="*/ 251729 w 4040759"/>
                    <a:gd name="connsiteY2464" fmla="*/ 1152617 h 1475329"/>
                    <a:gd name="connsiteX2465" fmla="*/ 249781 w 4040759"/>
                    <a:gd name="connsiteY2465" fmla="*/ 1150033 h 1475329"/>
                    <a:gd name="connsiteX2466" fmla="*/ 247801 w 4040759"/>
                    <a:gd name="connsiteY2466" fmla="*/ 1149805 h 1475329"/>
                    <a:gd name="connsiteX2467" fmla="*/ 245625 w 4040759"/>
                    <a:gd name="connsiteY2467" fmla="*/ 1150628 h 1475329"/>
                    <a:gd name="connsiteX2468" fmla="*/ 243538 w 4040759"/>
                    <a:gd name="connsiteY2468" fmla="*/ 1151875 h 1475329"/>
                    <a:gd name="connsiteX2469" fmla="*/ 242553 w 4040759"/>
                    <a:gd name="connsiteY2469" fmla="*/ 1152225 h 1475329"/>
                    <a:gd name="connsiteX2470" fmla="*/ 239007 w 4040759"/>
                    <a:gd name="connsiteY2470" fmla="*/ 1152649 h 1475329"/>
                    <a:gd name="connsiteX2471" fmla="*/ 233327 w 4040759"/>
                    <a:gd name="connsiteY2471" fmla="*/ 1154401 h 1475329"/>
                    <a:gd name="connsiteX2472" fmla="*/ 231762 w 4040759"/>
                    <a:gd name="connsiteY2472" fmla="*/ 1156064 h 1475329"/>
                    <a:gd name="connsiteX2473" fmla="*/ 229863 w 4040759"/>
                    <a:gd name="connsiteY2473" fmla="*/ 1157417 h 1475329"/>
                    <a:gd name="connsiteX2474" fmla="*/ 228380 w 4040759"/>
                    <a:gd name="connsiteY2474" fmla="*/ 1156488 h 1475329"/>
                    <a:gd name="connsiteX2475" fmla="*/ 226897 w 4040759"/>
                    <a:gd name="connsiteY2475" fmla="*/ 1154817 h 1475329"/>
                    <a:gd name="connsiteX2476" fmla="*/ 223637 w 4040759"/>
                    <a:gd name="connsiteY2476" fmla="*/ 1154222 h 1475329"/>
                    <a:gd name="connsiteX2477" fmla="*/ 222088 w 4040759"/>
                    <a:gd name="connsiteY2477" fmla="*/ 1154817 h 1475329"/>
                    <a:gd name="connsiteX2478" fmla="*/ 220532 w 4040759"/>
                    <a:gd name="connsiteY2478" fmla="*/ 1153668 h 1475329"/>
                    <a:gd name="connsiteX2479" fmla="*/ 219187 w 4040759"/>
                    <a:gd name="connsiteY2479" fmla="*/ 1151622 h 1475329"/>
                    <a:gd name="connsiteX2480" fmla="*/ 217378 w 4040759"/>
                    <a:gd name="connsiteY2480" fmla="*/ 1150131 h 1475329"/>
                    <a:gd name="connsiteX2481" fmla="*/ 214689 w 4040759"/>
                    <a:gd name="connsiteY2481" fmla="*/ 1149732 h 1475329"/>
                    <a:gd name="connsiteX2482" fmla="*/ 211771 w 4040759"/>
                    <a:gd name="connsiteY2482" fmla="*/ 1149088 h 1475329"/>
                    <a:gd name="connsiteX2483" fmla="*/ 209440 w 4040759"/>
                    <a:gd name="connsiteY2483" fmla="*/ 1150237 h 1475329"/>
                    <a:gd name="connsiteX2484" fmla="*/ 206400 w 4040759"/>
                    <a:gd name="connsiteY2484" fmla="*/ 1152421 h 1475329"/>
                    <a:gd name="connsiteX2485" fmla="*/ 204355 w 4040759"/>
                    <a:gd name="connsiteY2485" fmla="*/ 1151590 h 1475329"/>
                    <a:gd name="connsiteX2486" fmla="*/ 203222 w 4040759"/>
                    <a:gd name="connsiteY2486" fmla="*/ 1148982 h 1475329"/>
                    <a:gd name="connsiteX2487" fmla="*/ 201812 w 4040759"/>
                    <a:gd name="connsiteY2487" fmla="*/ 1148257 h 1475329"/>
                    <a:gd name="connsiteX2488" fmla="*/ 199905 w 4040759"/>
                    <a:gd name="connsiteY2488" fmla="*/ 1145331 h 1475329"/>
                    <a:gd name="connsiteX2489" fmla="*/ 199416 w 4040759"/>
                    <a:gd name="connsiteY2489" fmla="*/ 1142723 h 1475329"/>
                    <a:gd name="connsiteX2490" fmla="*/ 199905 w 4040759"/>
                    <a:gd name="connsiteY2490" fmla="*/ 1141582 h 1475329"/>
                    <a:gd name="connsiteX2491" fmla="*/ 200606 w 4040759"/>
                    <a:gd name="connsiteY2491" fmla="*/ 1140123 h 1475329"/>
                    <a:gd name="connsiteX2492" fmla="*/ 200606 w 4040759"/>
                    <a:gd name="connsiteY2492" fmla="*/ 1138444 h 1475329"/>
                    <a:gd name="connsiteX2493" fmla="*/ 200051 w 4040759"/>
                    <a:gd name="connsiteY2493" fmla="*/ 1136985 h 1475329"/>
                    <a:gd name="connsiteX2494" fmla="*/ 199196 w 4040759"/>
                    <a:gd name="connsiteY2494" fmla="*/ 1135828 h 1475329"/>
                    <a:gd name="connsiteX2495" fmla="*/ 198275 w 4040759"/>
                    <a:gd name="connsiteY2495" fmla="*/ 1131973 h 1475329"/>
                    <a:gd name="connsiteX2496" fmla="*/ 197492 w 4040759"/>
                    <a:gd name="connsiteY2496" fmla="*/ 1130295 h 1475329"/>
                    <a:gd name="connsiteX2497" fmla="*/ 197362 w 4040759"/>
                    <a:gd name="connsiteY2497" fmla="*/ 1128933 h 1475329"/>
                    <a:gd name="connsiteX2498" fmla="*/ 197998 w 4040759"/>
                    <a:gd name="connsiteY2498" fmla="*/ 1127670 h 1475329"/>
                    <a:gd name="connsiteX2499" fmla="*/ 197436 w 4040759"/>
                    <a:gd name="connsiteY2499" fmla="*/ 1126839 h 1475329"/>
                    <a:gd name="connsiteX2500" fmla="*/ 196368 w 4040759"/>
                    <a:gd name="connsiteY2500" fmla="*/ 1126733 h 1475329"/>
                    <a:gd name="connsiteX2501" fmla="*/ 194607 w 4040759"/>
                    <a:gd name="connsiteY2501" fmla="*/ 1126839 h 1475329"/>
                    <a:gd name="connsiteX2502" fmla="*/ 193613 w 4040759"/>
                    <a:gd name="connsiteY2502" fmla="*/ 1126203 h 1475329"/>
                    <a:gd name="connsiteX2503" fmla="*/ 192554 w 4040759"/>
                    <a:gd name="connsiteY2503" fmla="*/ 1124003 h 1475329"/>
                    <a:gd name="connsiteX2504" fmla="*/ 192000 w 4040759"/>
                    <a:gd name="connsiteY2504" fmla="*/ 1121811 h 1475329"/>
                    <a:gd name="connsiteX2505" fmla="*/ 191282 w 4040759"/>
                    <a:gd name="connsiteY2505" fmla="*/ 1120971 h 1475329"/>
                    <a:gd name="connsiteX2506" fmla="*/ 189457 w 4040759"/>
                    <a:gd name="connsiteY2506" fmla="*/ 1121028 h 1475329"/>
                    <a:gd name="connsiteX2507" fmla="*/ 186433 w 4040759"/>
                    <a:gd name="connsiteY2507" fmla="*/ 1121493 h 1475329"/>
                    <a:gd name="connsiteX2508" fmla="*/ 183744 w 4040759"/>
                    <a:gd name="connsiteY2508" fmla="*/ 1122218 h 1475329"/>
                    <a:gd name="connsiteX2509" fmla="*/ 182554 w 4040759"/>
                    <a:gd name="connsiteY2509" fmla="*/ 1122120 h 1475329"/>
                    <a:gd name="connsiteX2510" fmla="*/ 180183 w 4040759"/>
                    <a:gd name="connsiteY2510" fmla="*/ 1120979 h 1475329"/>
                    <a:gd name="connsiteX2511" fmla="*/ 177069 w 4040759"/>
                    <a:gd name="connsiteY2511" fmla="*/ 1119732 h 1475329"/>
                    <a:gd name="connsiteX2512" fmla="*/ 170696 w 4040759"/>
                    <a:gd name="connsiteY2512" fmla="*/ 1119480 h 1475329"/>
                    <a:gd name="connsiteX2513" fmla="*/ 170191 w 4040759"/>
                    <a:gd name="connsiteY2513" fmla="*/ 1119056 h 1475329"/>
                    <a:gd name="connsiteX2514" fmla="*/ 170549 w 4040759"/>
                    <a:gd name="connsiteY2514" fmla="*/ 1118266 h 1475329"/>
                    <a:gd name="connsiteX2515" fmla="*/ 171845 w 4040759"/>
                    <a:gd name="connsiteY2515" fmla="*/ 1116978 h 1475329"/>
                    <a:gd name="connsiteX2516" fmla="*/ 171706 w 4040759"/>
                    <a:gd name="connsiteY2516" fmla="*/ 1115927 h 1475329"/>
                    <a:gd name="connsiteX2517" fmla="*/ 170590 w 4040759"/>
                    <a:gd name="connsiteY2517" fmla="*/ 1115087 h 1475329"/>
                    <a:gd name="connsiteX2518" fmla="*/ 170003 w 4040759"/>
                    <a:gd name="connsiteY2518" fmla="*/ 1112993 h 1475329"/>
                    <a:gd name="connsiteX2519" fmla="*/ 170085 w 4040759"/>
                    <a:gd name="connsiteY2519" fmla="*/ 1110629 h 1475329"/>
                    <a:gd name="connsiteX2520" fmla="*/ 169873 w 4040759"/>
                    <a:gd name="connsiteY2520" fmla="*/ 1108046 h 1475329"/>
                    <a:gd name="connsiteX2521" fmla="*/ 168528 w 4040759"/>
                    <a:gd name="connsiteY2521" fmla="*/ 1106057 h 1475329"/>
                    <a:gd name="connsiteX2522" fmla="*/ 167754 w 4040759"/>
                    <a:gd name="connsiteY2522" fmla="*/ 1104680 h 1475329"/>
                    <a:gd name="connsiteX2523" fmla="*/ 167893 w 4040759"/>
                    <a:gd name="connsiteY2523" fmla="*/ 1103417 h 1475329"/>
                    <a:gd name="connsiteX2524" fmla="*/ 170827 w 4040759"/>
                    <a:gd name="connsiteY2524" fmla="*/ 1102936 h 1475329"/>
                    <a:gd name="connsiteX2525" fmla="*/ 174306 w 4040759"/>
                    <a:gd name="connsiteY2525" fmla="*/ 1102039 h 1475329"/>
                    <a:gd name="connsiteX2526" fmla="*/ 174877 w 4040759"/>
                    <a:gd name="connsiteY2526" fmla="*/ 1101119 h 1475329"/>
                    <a:gd name="connsiteX2527" fmla="*/ 174763 w 4040759"/>
                    <a:gd name="connsiteY2527" fmla="*/ 1099676 h 1475329"/>
                    <a:gd name="connsiteX2528" fmla="*/ 167697 w 4040759"/>
                    <a:gd name="connsiteY2528" fmla="*/ 1092300 h 1475329"/>
                    <a:gd name="connsiteX2529" fmla="*/ 165268 w 4040759"/>
                    <a:gd name="connsiteY2529" fmla="*/ 1085756 h 1475329"/>
                    <a:gd name="connsiteX2530" fmla="*/ 162954 w 4040759"/>
                    <a:gd name="connsiteY2530" fmla="*/ 1082219 h 1475329"/>
                    <a:gd name="connsiteX2531" fmla="*/ 160403 w 4040759"/>
                    <a:gd name="connsiteY2531" fmla="*/ 1079831 h 1475329"/>
                    <a:gd name="connsiteX2532" fmla="*/ 158325 w 4040759"/>
                    <a:gd name="connsiteY2532" fmla="*/ 1078756 h 1475329"/>
                    <a:gd name="connsiteX2533" fmla="*/ 155301 w 4040759"/>
                    <a:gd name="connsiteY2533" fmla="*/ 1079204 h 1475329"/>
                    <a:gd name="connsiteX2534" fmla="*/ 151291 w 4040759"/>
                    <a:gd name="connsiteY2534" fmla="*/ 1079155 h 1475329"/>
                    <a:gd name="connsiteX2535" fmla="*/ 147201 w 4040759"/>
                    <a:gd name="connsiteY2535" fmla="*/ 1078421 h 1475329"/>
                    <a:gd name="connsiteX2536" fmla="*/ 143769 w 4040759"/>
                    <a:gd name="connsiteY2536" fmla="*/ 1078910 h 1475329"/>
                    <a:gd name="connsiteX2537" fmla="*/ 137600 w 4040759"/>
                    <a:gd name="connsiteY2537" fmla="*/ 1082032 h 1475329"/>
                    <a:gd name="connsiteX2538" fmla="*/ 135285 w 4040759"/>
                    <a:gd name="connsiteY2538" fmla="*/ 1082170 h 1475329"/>
                    <a:gd name="connsiteX2539" fmla="*/ 131292 w 4040759"/>
                    <a:gd name="connsiteY2539" fmla="*/ 1081192 h 1475329"/>
                    <a:gd name="connsiteX2540" fmla="*/ 127877 w 4040759"/>
                    <a:gd name="connsiteY2540" fmla="*/ 1080100 h 1475329"/>
                    <a:gd name="connsiteX2541" fmla="*/ 126085 w 4040759"/>
                    <a:gd name="connsiteY2541" fmla="*/ 1080149 h 1475329"/>
                    <a:gd name="connsiteX2542" fmla="*/ 125001 w 4040759"/>
                    <a:gd name="connsiteY2542" fmla="*/ 1080606 h 1475329"/>
                    <a:gd name="connsiteX2543" fmla="*/ 124291 w 4040759"/>
                    <a:gd name="connsiteY2543" fmla="*/ 1081453 h 1475329"/>
                    <a:gd name="connsiteX2544" fmla="*/ 122303 w 4040759"/>
                    <a:gd name="connsiteY2544" fmla="*/ 1087321 h 1475329"/>
                    <a:gd name="connsiteX2545" fmla="*/ 120665 w 4040759"/>
                    <a:gd name="connsiteY2545" fmla="*/ 1088470 h 1475329"/>
                    <a:gd name="connsiteX2546" fmla="*/ 118318 w 4040759"/>
                    <a:gd name="connsiteY2546" fmla="*/ 1089668 h 1475329"/>
                    <a:gd name="connsiteX2547" fmla="*/ 116313 w 4040759"/>
                    <a:gd name="connsiteY2547" fmla="*/ 1089880 h 1475329"/>
                    <a:gd name="connsiteX2548" fmla="*/ 114626 w 4040759"/>
                    <a:gd name="connsiteY2548" fmla="*/ 1089815 h 1475329"/>
                    <a:gd name="connsiteX2549" fmla="*/ 112206 w 4040759"/>
                    <a:gd name="connsiteY2549" fmla="*/ 1088918 h 1475329"/>
                    <a:gd name="connsiteX2550" fmla="*/ 109891 w 4040759"/>
                    <a:gd name="connsiteY2550" fmla="*/ 1087867 h 1475329"/>
                    <a:gd name="connsiteX2551" fmla="*/ 109426 w 4040759"/>
                    <a:gd name="connsiteY2551" fmla="*/ 1087794 h 1475329"/>
                    <a:gd name="connsiteX2552" fmla="*/ 109296 w 4040759"/>
                    <a:gd name="connsiteY2552" fmla="*/ 1086881 h 1475329"/>
                    <a:gd name="connsiteX2553" fmla="*/ 107609 w 4040759"/>
                    <a:gd name="connsiteY2553" fmla="*/ 1083352 h 1475329"/>
                    <a:gd name="connsiteX2554" fmla="*/ 106607 w 4040759"/>
                    <a:gd name="connsiteY2554" fmla="*/ 1081812 h 1475329"/>
                    <a:gd name="connsiteX2555" fmla="*/ 105409 w 4040759"/>
                    <a:gd name="connsiteY2555" fmla="*/ 1080972 h 1475329"/>
                    <a:gd name="connsiteX2556" fmla="*/ 104797 w 4040759"/>
                    <a:gd name="connsiteY2556" fmla="*/ 1079954 h 1475329"/>
                    <a:gd name="connsiteX2557" fmla="*/ 104789 w 4040759"/>
                    <a:gd name="connsiteY2557" fmla="*/ 1075732 h 1475329"/>
                    <a:gd name="connsiteX2558" fmla="*/ 105009 w 4040759"/>
                    <a:gd name="connsiteY2558" fmla="*/ 1071771 h 1475329"/>
                    <a:gd name="connsiteX2559" fmla="*/ 105759 w 4040759"/>
                    <a:gd name="connsiteY2559" fmla="*/ 1071258 h 1475329"/>
                    <a:gd name="connsiteX2560" fmla="*/ 103526 w 4040759"/>
                    <a:gd name="connsiteY2560" fmla="*/ 1068022 h 1475329"/>
                    <a:gd name="connsiteX2561" fmla="*/ 103363 w 4040759"/>
                    <a:gd name="connsiteY2561" fmla="*/ 1065578 h 1475329"/>
                    <a:gd name="connsiteX2562" fmla="*/ 104455 w 4040759"/>
                    <a:gd name="connsiteY2562" fmla="*/ 1064355 h 1475329"/>
                    <a:gd name="connsiteX2563" fmla="*/ 104496 w 4040759"/>
                    <a:gd name="connsiteY2563" fmla="*/ 1063320 h 1475329"/>
                    <a:gd name="connsiteX2564" fmla="*/ 103746 w 4040759"/>
                    <a:gd name="connsiteY2564" fmla="*/ 1061869 h 1475329"/>
                    <a:gd name="connsiteX2565" fmla="*/ 101464 w 4040759"/>
                    <a:gd name="connsiteY2565" fmla="*/ 1059482 h 1475329"/>
                    <a:gd name="connsiteX2566" fmla="*/ 99239 w 4040759"/>
                    <a:gd name="connsiteY2566" fmla="*/ 1056817 h 1475329"/>
                    <a:gd name="connsiteX2567" fmla="*/ 97797 w 4040759"/>
                    <a:gd name="connsiteY2567" fmla="*/ 1054706 h 1475329"/>
                    <a:gd name="connsiteX2568" fmla="*/ 96908 w 4040759"/>
                    <a:gd name="connsiteY2568" fmla="*/ 1053703 h 1475329"/>
                    <a:gd name="connsiteX2569" fmla="*/ 97992 w 4040759"/>
                    <a:gd name="connsiteY2569" fmla="*/ 1052049 h 1475329"/>
                    <a:gd name="connsiteX2570" fmla="*/ 99524 w 4040759"/>
                    <a:gd name="connsiteY2570" fmla="*/ 1049131 h 1475329"/>
                    <a:gd name="connsiteX2571" fmla="*/ 100111 w 4040759"/>
                    <a:gd name="connsiteY2571" fmla="*/ 1047412 h 1475329"/>
                    <a:gd name="connsiteX2572" fmla="*/ 100853 w 4040759"/>
                    <a:gd name="connsiteY2572" fmla="*/ 1046996 h 1475329"/>
                    <a:gd name="connsiteX2573" fmla="*/ 104447 w 4040759"/>
                    <a:gd name="connsiteY2573" fmla="*/ 1046743 h 1475329"/>
                    <a:gd name="connsiteX2574" fmla="*/ 107063 w 4040759"/>
                    <a:gd name="connsiteY2574" fmla="*/ 1046809 h 1475329"/>
                    <a:gd name="connsiteX2575" fmla="*/ 109027 w 4040759"/>
                    <a:gd name="connsiteY2575" fmla="*/ 1047436 h 1475329"/>
                    <a:gd name="connsiteX2576" fmla="*/ 109769 w 4040759"/>
                    <a:gd name="connsiteY2576" fmla="*/ 1048830 h 1475329"/>
                    <a:gd name="connsiteX2577" fmla="*/ 111561 w 4040759"/>
                    <a:gd name="connsiteY2577" fmla="*/ 1050354 h 1475329"/>
                    <a:gd name="connsiteX2578" fmla="*/ 116663 w 4040759"/>
                    <a:gd name="connsiteY2578" fmla="*/ 1050973 h 1475329"/>
                    <a:gd name="connsiteX2579" fmla="*/ 118807 w 4040759"/>
                    <a:gd name="connsiteY2579" fmla="*/ 1050916 h 1475329"/>
                    <a:gd name="connsiteX2580" fmla="*/ 121504 w 4040759"/>
                    <a:gd name="connsiteY2580" fmla="*/ 1049523 h 1475329"/>
                    <a:gd name="connsiteX2581" fmla="*/ 125848 w 4040759"/>
                    <a:gd name="connsiteY2581" fmla="*/ 1046450 h 1475329"/>
                    <a:gd name="connsiteX2582" fmla="*/ 126932 w 4040759"/>
                    <a:gd name="connsiteY2582" fmla="*/ 1044209 h 1475329"/>
                    <a:gd name="connsiteX2583" fmla="*/ 129621 w 4040759"/>
                    <a:gd name="connsiteY2583" fmla="*/ 1042628 h 1475329"/>
                    <a:gd name="connsiteX2584" fmla="*/ 131268 w 4040759"/>
                    <a:gd name="connsiteY2584" fmla="*/ 1042008 h 1475329"/>
                    <a:gd name="connsiteX2585" fmla="*/ 132751 w 4040759"/>
                    <a:gd name="connsiteY2585" fmla="*/ 1041740 h 1475329"/>
                    <a:gd name="connsiteX2586" fmla="*/ 132906 w 4040759"/>
                    <a:gd name="connsiteY2586" fmla="*/ 1040411 h 1475329"/>
                    <a:gd name="connsiteX2587" fmla="*/ 132808 w 4040759"/>
                    <a:gd name="connsiteY2587" fmla="*/ 1038618 h 1475329"/>
                    <a:gd name="connsiteX2588" fmla="*/ 132294 w 4040759"/>
                    <a:gd name="connsiteY2588" fmla="*/ 1037534 h 1475329"/>
                    <a:gd name="connsiteX2589" fmla="*/ 126932 w 4040759"/>
                    <a:gd name="connsiteY2589" fmla="*/ 1033834 h 1475329"/>
                    <a:gd name="connsiteX2590" fmla="*/ 126256 w 4040759"/>
                    <a:gd name="connsiteY2590" fmla="*/ 1032612 h 1475329"/>
                    <a:gd name="connsiteX2591" fmla="*/ 125832 w 4040759"/>
                    <a:gd name="connsiteY2591" fmla="*/ 1031194 h 1475329"/>
                    <a:gd name="connsiteX2592" fmla="*/ 126476 w 4040759"/>
                    <a:gd name="connsiteY2592" fmla="*/ 1029833 h 1475329"/>
                    <a:gd name="connsiteX2593" fmla="*/ 126459 w 4040759"/>
                    <a:gd name="connsiteY2593" fmla="*/ 1028341 h 1475329"/>
                    <a:gd name="connsiteX2594" fmla="*/ 120257 w 4040759"/>
                    <a:gd name="connsiteY2594" fmla="*/ 1025024 h 1475329"/>
                    <a:gd name="connsiteX2595" fmla="*/ 115099 w 4040759"/>
                    <a:gd name="connsiteY2595" fmla="*/ 1024429 h 1475329"/>
                    <a:gd name="connsiteX2596" fmla="*/ 110845 w 4040759"/>
                    <a:gd name="connsiteY2596" fmla="*/ 1024617 h 1475329"/>
                    <a:gd name="connsiteX2597" fmla="*/ 109182 w 4040759"/>
                    <a:gd name="connsiteY2597" fmla="*/ 1023916 h 1475329"/>
                    <a:gd name="connsiteX2598" fmla="*/ 109907 w 4040759"/>
                    <a:gd name="connsiteY2598" fmla="*/ 1022245 h 1475329"/>
                    <a:gd name="connsiteX2599" fmla="*/ 110959 w 4040759"/>
                    <a:gd name="connsiteY2599" fmla="*/ 1019222 h 1475329"/>
                    <a:gd name="connsiteX2600" fmla="*/ 111260 w 4040759"/>
                    <a:gd name="connsiteY2600" fmla="*/ 1016744 h 1475329"/>
                    <a:gd name="connsiteX2601" fmla="*/ 110966 w 4040759"/>
                    <a:gd name="connsiteY2601" fmla="*/ 1015620 h 1475329"/>
                    <a:gd name="connsiteX2602" fmla="*/ 110127 w 4040759"/>
                    <a:gd name="connsiteY2602" fmla="*/ 1014666 h 1475329"/>
                    <a:gd name="connsiteX2603" fmla="*/ 106069 w 4040759"/>
                    <a:gd name="connsiteY2603" fmla="*/ 1012580 h 1475329"/>
                    <a:gd name="connsiteX2604" fmla="*/ 100494 w 4040759"/>
                    <a:gd name="connsiteY2604" fmla="*/ 1009385 h 1475329"/>
                    <a:gd name="connsiteX2605" fmla="*/ 97903 w 4040759"/>
                    <a:gd name="connsiteY2605" fmla="*/ 1005767 h 1475329"/>
                    <a:gd name="connsiteX2606" fmla="*/ 96583 w 4040759"/>
                    <a:gd name="connsiteY2606" fmla="*/ 1001985 h 1475329"/>
                    <a:gd name="connsiteX2607" fmla="*/ 95066 w 4040759"/>
                    <a:gd name="connsiteY2607" fmla="*/ 999662 h 1475329"/>
                    <a:gd name="connsiteX2608" fmla="*/ 92337 w 4040759"/>
                    <a:gd name="connsiteY2608" fmla="*/ 998196 h 1475329"/>
                    <a:gd name="connsiteX2609" fmla="*/ 92516 w 4040759"/>
                    <a:gd name="connsiteY2609" fmla="*/ 997234 h 1475329"/>
                    <a:gd name="connsiteX2610" fmla="*/ 94325 w 4040759"/>
                    <a:gd name="connsiteY2610" fmla="*/ 993672 h 1475329"/>
                    <a:gd name="connsiteX2611" fmla="*/ 94252 w 4040759"/>
                    <a:gd name="connsiteY2611" fmla="*/ 993135 h 1475329"/>
                    <a:gd name="connsiteX2612" fmla="*/ 93494 w 4040759"/>
                    <a:gd name="connsiteY2612" fmla="*/ 992254 h 1475329"/>
                    <a:gd name="connsiteX2613" fmla="*/ 90103 w 4040759"/>
                    <a:gd name="connsiteY2613" fmla="*/ 990453 h 1475329"/>
                    <a:gd name="connsiteX2614" fmla="*/ 85491 w 4040759"/>
                    <a:gd name="connsiteY2614" fmla="*/ 987136 h 1475329"/>
                    <a:gd name="connsiteX2615" fmla="*/ 85303 w 4040759"/>
                    <a:gd name="connsiteY2615" fmla="*/ 986281 h 1475329"/>
                    <a:gd name="connsiteX2616" fmla="*/ 85645 w 4040759"/>
                    <a:gd name="connsiteY2616" fmla="*/ 984186 h 1475329"/>
                    <a:gd name="connsiteX2617" fmla="*/ 86273 w 4040759"/>
                    <a:gd name="connsiteY2617" fmla="*/ 982132 h 1475329"/>
                    <a:gd name="connsiteX2618" fmla="*/ 87169 w 4040759"/>
                    <a:gd name="connsiteY2618" fmla="*/ 981154 h 1475329"/>
                    <a:gd name="connsiteX2619" fmla="*/ 89932 w 4040759"/>
                    <a:gd name="connsiteY2619" fmla="*/ 976974 h 1475329"/>
                    <a:gd name="connsiteX2620" fmla="*/ 89932 w 4040759"/>
                    <a:gd name="connsiteY2620" fmla="*/ 975556 h 1475329"/>
                    <a:gd name="connsiteX2621" fmla="*/ 89460 w 4040759"/>
                    <a:gd name="connsiteY2621" fmla="*/ 973665 h 1475329"/>
                    <a:gd name="connsiteX2622" fmla="*/ 87439 w 4040759"/>
                    <a:gd name="connsiteY2622" fmla="*/ 970389 h 1475329"/>
                    <a:gd name="connsiteX2623" fmla="*/ 85874 w 4040759"/>
                    <a:gd name="connsiteY2623" fmla="*/ 968278 h 1475329"/>
                    <a:gd name="connsiteX2624" fmla="*/ 85784 w 4040759"/>
                    <a:gd name="connsiteY2624" fmla="*/ 967202 h 1475329"/>
                    <a:gd name="connsiteX2625" fmla="*/ 86053 w 4040759"/>
                    <a:gd name="connsiteY2625" fmla="*/ 966314 h 1475329"/>
                    <a:gd name="connsiteX2626" fmla="*/ 87063 w 4040759"/>
                    <a:gd name="connsiteY2626" fmla="*/ 965165 h 1475329"/>
                    <a:gd name="connsiteX2627" fmla="*/ 88017 w 4040759"/>
                    <a:gd name="connsiteY2627" fmla="*/ 963747 h 1475329"/>
                    <a:gd name="connsiteX2628" fmla="*/ 88213 w 4040759"/>
                    <a:gd name="connsiteY2628" fmla="*/ 958865 h 1475329"/>
                    <a:gd name="connsiteX2629" fmla="*/ 88172 w 4040759"/>
                    <a:gd name="connsiteY2629" fmla="*/ 957154 h 1475329"/>
                    <a:gd name="connsiteX2630" fmla="*/ 87561 w 4040759"/>
                    <a:gd name="connsiteY2630" fmla="*/ 956143 h 1475329"/>
                    <a:gd name="connsiteX2631" fmla="*/ 86917 w 4040759"/>
                    <a:gd name="connsiteY2631" fmla="*/ 955719 h 1475329"/>
                    <a:gd name="connsiteX2632" fmla="*/ 85539 w 4040759"/>
                    <a:gd name="connsiteY2632" fmla="*/ 955964 h 1475329"/>
                    <a:gd name="connsiteX2633" fmla="*/ 83584 w 4040759"/>
                    <a:gd name="connsiteY2633" fmla="*/ 955157 h 1475329"/>
                    <a:gd name="connsiteX2634" fmla="*/ 82109 w 4040759"/>
                    <a:gd name="connsiteY2634" fmla="*/ 953877 h 1475329"/>
                    <a:gd name="connsiteX2635" fmla="*/ 81196 w 4040759"/>
                    <a:gd name="connsiteY2635" fmla="*/ 953462 h 1475329"/>
                    <a:gd name="connsiteX2636" fmla="*/ 80234 w 4040759"/>
                    <a:gd name="connsiteY2636" fmla="*/ 952166 h 1475329"/>
                    <a:gd name="connsiteX2637" fmla="*/ 77471 w 4040759"/>
                    <a:gd name="connsiteY2637" fmla="*/ 949550 h 1475329"/>
                    <a:gd name="connsiteX2638" fmla="*/ 76999 w 4040759"/>
                    <a:gd name="connsiteY2638" fmla="*/ 948849 h 1475329"/>
                    <a:gd name="connsiteX2639" fmla="*/ 71465 w 4040759"/>
                    <a:gd name="connsiteY2639" fmla="*/ 946608 h 1475329"/>
                    <a:gd name="connsiteX2640" fmla="*/ 66738 w 4040759"/>
                    <a:gd name="connsiteY2640" fmla="*/ 946950 h 1475329"/>
                    <a:gd name="connsiteX2641" fmla="*/ 64122 w 4040759"/>
                    <a:gd name="connsiteY2641" fmla="*/ 946608 h 1475329"/>
                    <a:gd name="connsiteX2642" fmla="*/ 62745 w 4040759"/>
                    <a:gd name="connsiteY2642" fmla="*/ 947105 h 1475329"/>
                    <a:gd name="connsiteX2643" fmla="*/ 61318 w 4040759"/>
                    <a:gd name="connsiteY2643" fmla="*/ 948531 h 1475329"/>
                    <a:gd name="connsiteX2644" fmla="*/ 59338 w 4040759"/>
                    <a:gd name="connsiteY2644" fmla="*/ 949476 h 1475329"/>
                    <a:gd name="connsiteX2645" fmla="*/ 57863 w 4040759"/>
                    <a:gd name="connsiteY2645" fmla="*/ 949501 h 1475329"/>
                    <a:gd name="connsiteX2646" fmla="*/ 56510 w 4040759"/>
                    <a:gd name="connsiteY2646" fmla="*/ 950226 h 1475329"/>
                    <a:gd name="connsiteX2647" fmla="*/ 52843 w 4040759"/>
                    <a:gd name="connsiteY2647" fmla="*/ 952769 h 1475329"/>
                    <a:gd name="connsiteX2648" fmla="*/ 51115 w 4040759"/>
                    <a:gd name="connsiteY2648" fmla="*/ 951229 h 1475329"/>
                    <a:gd name="connsiteX2649" fmla="*/ 49648 w 4040759"/>
                    <a:gd name="connsiteY2649" fmla="*/ 948947 h 1475329"/>
                    <a:gd name="connsiteX2650" fmla="*/ 50129 w 4040759"/>
                    <a:gd name="connsiteY2650" fmla="*/ 947015 h 1475329"/>
                    <a:gd name="connsiteX2651" fmla="*/ 50748 w 4040759"/>
                    <a:gd name="connsiteY2651" fmla="*/ 945239 h 1475329"/>
                    <a:gd name="connsiteX2652" fmla="*/ 50708 w 4040759"/>
                    <a:gd name="connsiteY2652" fmla="*/ 944041 h 1475329"/>
                    <a:gd name="connsiteX2653" fmla="*/ 50178 w 4040759"/>
                    <a:gd name="connsiteY2653" fmla="*/ 943022 h 1475329"/>
                    <a:gd name="connsiteX2654" fmla="*/ 47904 w 4040759"/>
                    <a:gd name="connsiteY2654" fmla="*/ 941905 h 1475329"/>
                    <a:gd name="connsiteX2655" fmla="*/ 43047 w 4040759"/>
                    <a:gd name="connsiteY2655" fmla="*/ 939860 h 1475329"/>
                    <a:gd name="connsiteX2656" fmla="*/ 41661 w 4040759"/>
                    <a:gd name="connsiteY2656" fmla="*/ 939835 h 1475329"/>
                    <a:gd name="connsiteX2657" fmla="*/ 39575 w 4040759"/>
                    <a:gd name="connsiteY2657" fmla="*/ 940593 h 1475329"/>
                    <a:gd name="connsiteX2658" fmla="*/ 35793 w 4040759"/>
                    <a:gd name="connsiteY2658" fmla="*/ 942883 h 1475329"/>
                    <a:gd name="connsiteX2659" fmla="*/ 34449 w 4040759"/>
                    <a:gd name="connsiteY2659" fmla="*/ 942386 h 1475329"/>
                    <a:gd name="connsiteX2660" fmla="*/ 33210 w 4040759"/>
                    <a:gd name="connsiteY2660" fmla="*/ 940569 h 1475329"/>
                    <a:gd name="connsiteX2661" fmla="*/ 31874 w 4040759"/>
                    <a:gd name="connsiteY2661" fmla="*/ 938295 h 1475329"/>
                    <a:gd name="connsiteX2662" fmla="*/ 30064 w 4040759"/>
                    <a:gd name="connsiteY2662" fmla="*/ 937138 h 1475329"/>
                    <a:gd name="connsiteX2663" fmla="*/ 26169 w 4040759"/>
                    <a:gd name="connsiteY2663" fmla="*/ 937252 h 1475329"/>
                    <a:gd name="connsiteX2664" fmla="*/ 25802 w 4040759"/>
                    <a:gd name="connsiteY2664" fmla="*/ 937342 h 1475329"/>
                    <a:gd name="connsiteX2665" fmla="*/ 23919 w 4040759"/>
                    <a:gd name="connsiteY2665" fmla="*/ 938662 h 1475329"/>
                    <a:gd name="connsiteX2666" fmla="*/ 23129 w 4040759"/>
                    <a:gd name="connsiteY2666" fmla="*/ 938523 h 1475329"/>
                    <a:gd name="connsiteX2667" fmla="*/ 19747 w 4040759"/>
                    <a:gd name="connsiteY2667" fmla="*/ 935182 h 1475329"/>
                    <a:gd name="connsiteX2668" fmla="*/ 20374 w 4040759"/>
                    <a:gd name="connsiteY2668" fmla="*/ 933356 h 1475329"/>
                    <a:gd name="connsiteX2669" fmla="*/ 21092 w 4040759"/>
                    <a:gd name="connsiteY2669" fmla="*/ 930659 h 1475329"/>
                    <a:gd name="connsiteX2670" fmla="*/ 20830 w 4040759"/>
                    <a:gd name="connsiteY2670" fmla="*/ 928532 h 1475329"/>
                    <a:gd name="connsiteX2671" fmla="*/ 20276 w 4040759"/>
                    <a:gd name="connsiteY2671" fmla="*/ 925785 h 1475329"/>
                    <a:gd name="connsiteX2672" fmla="*/ 18826 w 4040759"/>
                    <a:gd name="connsiteY2672" fmla="*/ 921018 h 1475329"/>
                    <a:gd name="connsiteX2673" fmla="*/ 18630 w 4040759"/>
                    <a:gd name="connsiteY2673" fmla="*/ 919665 h 1475329"/>
                    <a:gd name="connsiteX2674" fmla="*/ 16267 w 4040759"/>
                    <a:gd name="connsiteY2674" fmla="*/ 917570 h 1475329"/>
                    <a:gd name="connsiteX2675" fmla="*/ 15868 w 4040759"/>
                    <a:gd name="connsiteY2675" fmla="*/ 915810 h 1475329"/>
                    <a:gd name="connsiteX2676" fmla="*/ 14621 w 4040759"/>
                    <a:gd name="connsiteY2676" fmla="*/ 913561 h 1475329"/>
                    <a:gd name="connsiteX2677" fmla="*/ 13398 w 4040759"/>
                    <a:gd name="connsiteY2677" fmla="*/ 912110 h 1475329"/>
                    <a:gd name="connsiteX2678" fmla="*/ 13137 w 4040759"/>
                    <a:gd name="connsiteY2678" fmla="*/ 908899 h 1475329"/>
                    <a:gd name="connsiteX2679" fmla="*/ 12323 w 4040759"/>
                    <a:gd name="connsiteY2679" fmla="*/ 907766 h 1475329"/>
                    <a:gd name="connsiteX2680" fmla="*/ 11263 w 4040759"/>
                    <a:gd name="connsiteY2680" fmla="*/ 907244 h 1475329"/>
                    <a:gd name="connsiteX2681" fmla="*/ 7538 w 4040759"/>
                    <a:gd name="connsiteY2681" fmla="*/ 908157 h 1475329"/>
                    <a:gd name="connsiteX2682" fmla="*/ 7131 w 4040759"/>
                    <a:gd name="connsiteY2682" fmla="*/ 908068 h 1475329"/>
                    <a:gd name="connsiteX2683" fmla="*/ 8916 w 4040759"/>
                    <a:gd name="connsiteY2683" fmla="*/ 902941 h 1475329"/>
                    <a:gd name="connsiteX2684" fmla="*/ 9062 w 4040759"/>
                    <a:gd name="connsiteY2684" fmla="*/ 899975 h 1475329"/>
                    <a:gd name="connsiteX2685" fmla="*/ 10195 w 4040759"/>
                    <a:gd name="connsiteY2685" fmla="*/ 896845 h 1475329"/>
                    <a:gd name="connsiteX2686" fmla="*/ 11475 w 4040759"/>
                    <a:gd name="connsiteY2686" fmla="*/ 895607 h 1475329"/>
                    <a:gd name="connsiteX2687" fmla="*/ 11866 w 4040759"/>
                    <a:gd name="connsiteY2687" fmla="*/ 894539 h 1475329"/>
                    <a:gd name="connsiteX2688" fmla="*/ 12061 w 4040759"/>
                    <a:gd name="connsiteY2688" fmla="*/ 892477 h 1475329"/>
                    <a:gd name="connsiteX2689" fmla="*/ 11825 w 4040759"/>
                    <a:gd name="connsiteY2689" fmla="*/ 890701 h 1475329"/>
                    <a:gd name="connsiteX2690" fmla="*/ 11035 w 4040759"/>
                    <a:gd name="connsiteY2690" fmla="*/ 889788 h 1475329"/>
                    <a:gd name="connsiteX2691" fmla="*/ 7962 w 4040759"/>
                    <a:gd name="connsiteY2691" fmla="*/ 887791 h 1475329"/>
                    <a:gd name="connsiteX2692" fmla="*/ 4629 w 4040759"/>
                    <a:gd name="connsiteY2692" fmla="*/ 885395 h 1475329"/>
                    <a:gd name="connsiteX2693" fmla="*/ 3953 w 4040759"/>
                    <a:gd name="connsiteY2693" fmla="*/ 882339 h 1475329"/>
                    <a:gd name="connsiteX2694" fmla="*/ 2926 w 4040759"/>
                    <a:gd name="connsiteY2694" fmla="*/ 881728 h 1475329"/>
                    <a:gd name="connsiteX2695" fmla="*/ 0 w 4040759"/>
                    <a:gd name="connsiteY2695" fmla="*/ 881565 h 1475329"/>
                    <a:gd name="connsiteX2696" fmla="*/ 65 w 4040759"/>
                    <a:gd name="connsiteY2696" fmla="*/ 880701 h 1475329"/>
                    <a:gd name="connsiteX2697" fmla="*/ 489 w 4040759"/>
                    <a:gd name="connsiteY2697" fmla="*/ 878272 h 1475329"/>
                    <a:gd name="connsiteX2698" fmla="*/ 1190 w 4040759"/>
                    <a:gd name="connsiteY2698" fmla="*/ 876161 h 1475329"/>
                    <a:gd name="connsiteX2699" fmla="*/ 3480 w 4040759"/>
                    <a:gd name="connsiteY2699" fmla="*/ 873888 h 1475329"/>
                    <a:gd name="connsiteX2700" fmla="*/ 4042 w 4040759"/>
                    <a:gd name="connsiteY2700" fmla="*/ 872355 h 1475329"/>
                    <a:gd name="connsiteX2701" fmla="*/ 4719 w 4040759"/>
                    <a:gd name="connsiteY2701" fmla="*/ 870978 h 1475329"/>
                    <a:gd name="connsiteX2702" fmla="*/ 9942 w 4040759"/>
                    <a:gd name="connsiteY2702" fmla="*/ 869356 h 1475329"/>
                    <a:gd name="connsiteX2703" fmla="*/ 10546 w 4040759"/>
                    <a:gd name="connsiteY2703" fmla="*/ 868737 h 1475329"/>
                    <a:gd name="connsiteX2704" fmla="*/ 10578 w 4040759"/>
                    <a:gd name="connsiteY2704" fmla="*/ 868199 h 1475329"/>
                    <a:gd name="connsiteX2705" fmla="*/ 10334 w 4040759"/>
                    <a:gd name="connsiteY2705" fmla="*/ 867678 h 1475329"/>
                    <a:gd name="connsiteX2706" fmla="*/ 9185 w 4040759"/>
                    <a:gd name="connsiteY2706" fmla="*/ 866838 h 1475329"/>
                    <a:gd name="connsiteX2707" fmla="*/ 7970 w 4040759"/>
                    <a:gd name="connsiteY2707" fmla="*/ 865697 h 1475329"/>
                    <a:gd name="connsiteX2708" fmla="*/ 7261 w 4040759"/>
                    <a:gd name="connsiteY2708" fmla="*/ 862592 h 1475329"/>
                    <a:gd name="connsiteX2709" fmla="*/ 5444 w 4040759"/>
                    <a:gd name="connsiteY2709" fmla="*/ 857727 h 1475329"/>
                    <a:gd name="connsiteX2710" fmla="*/ 3733 w 4040759"/>
                    <a:gd name="connsiteY2710" fmla="*/ 854467 h 1475329"/>
                    <a:gd name="connsiteX2711" fmla="*/ 3374 w 4040759"/>
                    <a:gd name="connsiteY2711" fmla="*/ 852552 h 1475329"/>
                    <a:gd name="connsiteX2712" fmla="*/ 3814 w 4040759"/>
                    <a:gd name="connsiteY2712" fmla="*/ 850351 h 1475329"/>
                    <a:gd name="connsiteX2713" fmla="*/ 4425 w 4040759"/>
                    <a:gd name="connsiteY2713" fmla="*/ 848183 h 1475329"/>
                    <a:gd name="connsiteX2714" fmla="*/ 4458 w 4040759"/>
                    <a:gd name="connsiteY2714" fmla="*/ 846064 h 1475329"/>
                    <a:gd name="connsiteX2715" fmla="*/ 1858 w 4040759"/>
                    <a:gd name="connsiteY2715" fmla="*/ 834345 h 1475329"/>
                    <a:gd name="connsiteX2716" fmla="*/ 2037 w 4040759"/>
                    <a:gd name="connsiteY2716" fmla="*/ 832210 h 1475329"/>
                    <a:gd name="connsiteX2717" fmla="*/ 2803 w 4040759"/>
                    <a:gd name="connsiteY2717" fmla="*/ 830083 h 1475329"/>
                    <a:gd name="connsiteX2718" fmla="*/ 3993 w 4040759"/>
                    <a:gd name="connsiteY2718" fmla="*/ 828298 h 1475329"/>
                    <a:gd name="connsiteX2719" fmla="*/ 6699 w 4040759"/>
                    <a:gd name="connsiteY2719" fmla="*/ 825984 h 1475329"/>
                    <a:gd name="connsiteX2720" fmla="*/ 10065 w 4040759"/>
                    <a:gd name="connsiteY2720" fmla="*/ 821754 h 1475329"/>
                    <a:gd name="connsiteX2721" fmla="*/ 12347 w 4040759"/>
                    <a:gd name="connsiteY2721" fmla="*/ 816187 h 1475329"/>
                    <a:gd name="connsiteX2722" fmla="*/ 13537 w 4040759"/>
                    <a:gd name="connsiteY2722" fmla="*/ 812822 h 1475329"/>
                    <a:gd name="connsiteX2723" fmla="*/ 14539 w 4040759"/>
                    <a:gd name="connsiteY2723" fmla="*/ 812047 h 1475329"/>
                    <a:gd name="connsiteX2724" fmla="*/ 16479 w 4040759"/>
                    <a:gd name="connsiteY2724" fmla="*/ 811868 h 1475329"/>
                    <a:gd name="connsiteX2725" fmla="*/ 17212 w 4040759"/>
                    <a:gd name="connsiteY2725" fmla="*/ 810833 h 1475329"/>
                    <a:gd name="connsiteX2726" fmla="*/ 17595 w 4040759"/>
                    <a:gd name="connsiteY2726" fmla="*/ 810222 h 1475329"/>
                    <a:gd name="connsiteX2727" fmla="*/ 19250 w 4040759"/>
                    <a:gd name="connsiteY2727" fmla="*/ 809652 h 1475329"/>
                    <a:gd name="connsiteX2728" fmla="*/ 19837 w 4040759"/>
                    <a:gd name="connsiteY2728" fmla="*/ 808983 h 1475329"/>
                    <a:gd name="connsiteX2729" fmla="*/ 19372 w 4040759"/>
                    <a:gd name="connsiteY2729" fmla="*/ 807850 h 1475329"/>
                    <a:gd name="connsiteX2730" fmla="*/ 17709 w 4040759"/>
                    <a:gd name="connsiteY2730" fmla="*/ 805862 h 1475329"/>
                    <a:gd name="connsiteX2731" fmla="*/ 16389 w 4040759"/>
                    <a:gd name="connsiteY2731" fmla="*/ 804623 h 1475329"/>
                    <a:gd name="connsiteX2732" fmla="*/ 17668 w 4040759"/>
                    <a:gd name="connsiteY2732" fmla="*/ 801852 h 1475329"/>
                    <a:gd name="connsiteX2733" fmla="*/ 17220 w 4040759"/>
                    <a:gd name="connsiteY2733" fmla="*/ 798144 h 1475329"/>
                    <a:gd name="connsiteX2734" fmla="*/ 16430 w 4040759"/>
                    <a:gd name="connsiteY2734" fmla="*/ 795055 h 1475329"/>
                    <a:gd name="connsiteX2735" fmla="*/ 17514 w 4040759"/>
                    <a:gd name="connsiteY2735" fmla="*/ 792798 h 1475329"/>
                    <a:gd name="connsiteX2736" fmla="*/ 19331 w 4040759"/>
                    <a:gd name="connsiteY2736" fmla="*/ 792602 h 1475329"/>
                    <a:gd name="connsiteX2737" fmla="*/ 21344 w 4040759"/>
                    <a:gd name="connsiteY2737" fmla="*/ 795063 h 1475329"/>
                    <a:gd name="connsiteX2738" fmla="*/ 24368 w 4040759"/>
                    <a:gd name="connsiteY2738" fmla="*/ 796343 h 1475329"/>
                    <a:gd name="connsiteX2739" fmla="*/ 26593 w 4040759"/>
                    <a:gd name="connsiteY2739" fmla="*/ 794688 h 1475329"/>
                    <a:gd name="connsiteX2740" fmla="*/ 27334 w 4040759"/>
                    <a:gd name="connsiteY2740" fmla="*/ 791494 h 1475329"/>
                    <a:gd name="connsiteX2741" fmla="*/ 28931 w 4040759"/>
                    <a:gd name="connsiteY2741" fmla="*/ 790092 h 1475329"/>
                    <a:gd name="connsiteX2742" fmla="*/ 31050 w 4040759"/>
                    <a:gd name="connsiteY2742" fmla="*/ 791339 h 1475329"/>
                    <a:gd name="connsiteX2743" fmla="*/ 34620 w 4040759"/>
                    <a:gd name="connsiteY2743" fmla="*/ 791795 h 1475329"/>
                    <a:gd name="connsiteX2744" fmla="*/ 37570 w 4040759"/>
                    <a:gd name="connsiteY2744" fmla="*/ 791592 h 1475329"/>
                    <a:gd name="connsiteX2745" fmla="*/ 39567 w 4040759"/>
                    <a:gd name="connsiteY2745" fmla="*/ 790923 h 1475329"/>
                    <a:gd name="connsiteX2746" fmla="*/ 40423 w 4040759"/>
                    <a:gd name="connsiteY2746" fmla="*/ 789888 h 1475329"/>
                    <a:gd name="connsiteX2747" fmla="*/ 41213 w 4040759"/>
                    <a:gd name="connsiteY2747" fmla="*/ 788014 h 1475329"/>
                    <a:gd name="connsiteX2748" fmla="*/ 42843 w 4040759"/>
                    <a:gd name="connsiteY2748" fmla="*/ 785650 h 1475329"/>
                    <a:gd name="connsiteX2749" fmla="*/ 44538 w 4040759"/>
                    <a:gd name="connsiteY2749" fmla="*/ 784102 h 1475329"/>
                    <a:gd name="connsiteX2750" fmla="*/ 57496 w 4040759"/>
                    <a:gd name="connsiteY2750" fmla="*/ 785862 h 1475329"/>
                    <a:gd name="connsiteX2751" fmla="*/ 68727 w 4040759"/>
                    <a:gd name="connsiteY2751" fmla="*/ 789139 h 1475329"/>
                    <a:gd name="connsiteX2752" fmla="*/ 69574 w 4040759"/>
                    <a:gd name="connsiteY2752" fmla="*/ 787908 h 1475329"/>
                    <a:gd name="connsiteX2753" fmla="*/ 69957 w 4040759"/>
                    <a:gd name="connsiteY2753" fmla="*/ 785797 h 1475329"/>
                    <a:gd name="connsiteX2754" fmla="*/ 67162 w 4040759"/>
                    <a:gd name="connsiteY2754" fmla="*/ 783988 h 1475329"/>
                    <a:gd name="connsiteX2755" fmla="*/ 65108 w 4040759"/>
                    <a:gd name="connsiteY2755" fmla="*/ 783034 h 1475329"/>
                    <a:gd name="connsiteX2756" fmla="*/ 62517 w 4040759"/>
                    <a:gd name="connsiteY2756" fmla="*/ 779261 h 1475329"/>
                    <a:gd name="connsiteX2757" fmla="*/ 58768 w 4040759"/>
                    <a:gd name="connsiteY2757" fmla="*/ 776286 h 1475329"/>
                    <a:gd name="connsiteX2758" fmla="*/ 54994 w 4040759"/>
                    <a:gd name="connsiteY2758" fmla="*/ 776017 h 1475329"/>
                    <a:gd name="connsiteX2759" fmla="*/ 50072 w 4040759"/>
                    <a:gd name="connsiteY2759" fmla="*/ 777061 h 1475329"/>
                    <a:gd name="connsiteX2760" fmla="*/ 42599 w 4040759"/>
                    <a:gd name="connsiteY2760" fmla="*/ 776441 h 1475329"/>
                    <a:gd name="connsiteX2761" fmla="*/ 36234 w 4040759"/>
                    <a:gd name="connsiteY2761" fmla="*/ 770834 h 1475329"/>
                    <a:gd name="connsiteX2762" fmla="*/ 32028 w 4040759"/>
                    <a:gd name="connsiteY2762" fmla="*/ 769074 h 1475329"/>
                    <a:gd name="connsiteX2763" fmla="*/ 29021 w 4040759"/>
                    <a:gd name="connsiteY2763" fmla="*/ 764771 h 1475329"/>
                    <a:gd name="connsiteX2764" fmla="*/ 28271 w 4040759"/>
                    <a:gd name="connsiteY2764" fmla="*/ 762473 h 1475329"/>
                    <a:gd name="connsiteX2765" fmla="*/ 31515 w 4040759"/>
                    <a:gd name="connsiteY2765" fmla="*/ 764420 h 1475329"/>
                    <a:gd name="connsiteX2766" fmla="*/ 31963 w 4040759"/>
                    <a:gd name="connsiteY2766" fmla="*/ 762359 h 1475329"/>
                    <a:gd name="connsiteX2767" fmla="*/ 32216 w 4040759"/>
                    <a:gd name="connsiteY2767" fmla="*/ 759620 h 1475329"/>
                    <a:gd name="connsiteX2768" fmla="*/ 30407 w 4040759"/>
                    <a:gd name="connsiteY2768" fmla="*/ 757950 h 1475329"/>
                    <a:gd name="connsiteX2769" fmla="*/ 28793 w 4040759"/>
                    <a:gd name="connsiteY2769" fmla="*/ 756963 h 1475329"/>
                    <a:gd name="connsiteX2770" fmla="*/ 20521 w 4040759"/>
                    <a:gd name="connsiteY2770" fmla="*/ 761234 h 1475329"/>
                    <a:gd name="connsiteX2771" fmla="*/ 11059 w 4040759"/>
                    <a:gd name="connsiteY2771" fmla="*/ 762628 h 1475329"/>
                    <a:gd name="connsiteX2772" fmla="*/ 19845 w 4040759"/>
                    <a:gd name="connsiteY2772" fmla="*/ 754201 h 1475329"/>
                    <a:gd name="connsiteX2773" fmla="*/ 26185 w 4040759"/>
                    <a:gd name="connsiteY2773" fmla="*/ 748121 h 1475329"/>
                    <a:gd name="connsiteX2774" fmla="*/ 27359 w 4040759"/>
                    <a:gd name="connsiteY2774" fmla="*/ 747208 h 1475329"/>
                    <a:gd name="connsiteX2775" fmla="*/ 30162 w 4040759"/>
                    <a:gd name="connsiteY2775" fmla="*/ 745570 h 1475329"/>
                    <a:gd name="connsiteX2776" fmla="*/ 32517 w 4040759"/>
                    <a:gd name="connsiteY2776" fmla="*/ 743851 h 1475329"/>
                    <a:gd name="connsiteX2777" fmla="*/ 34408 w 4040759"/>
                    <a:gd name="connsiteY2777" fmla="*/ 741593 h 1475329"/>
                    <a:gd name="connsiteX2778" fmla="*/ 40708 w 4040759"/>
                    <a:gd name="connsiteY2778" fmla="*/ 737151 h 1475329"/>
                    <a:gd name="connsiteX2779" fmla="*/ 47122 w 4040759"/>
                    <a:gd name="connsiteY2779" fmla="*/ 732343 h 1475329"/>
                    <a:gd name="connsiteX2780" fmla="*/ 53087 w 4040759"/>
                    <a:gd name="connsiteY2780" fmla="*/ 726011 h 1475329"/>
                    <a:gd name="connsiteX2781" fmla="*/ 55239 w 4040759"/>
                    <a:gd name="connsiteY2781" fmla="*/ 724022 h 1475329"/>
                    <a:gd name="connsiteX2782" fmla="*/ 57993 w 4040759"/>
                    <a:gd name="connsiteY2782" fmla="*/ 721887 h 1475329"/>
                    <a:gd name="connsiteX2783" fmla="*/ 64016 w 4040759"/>
                    <a:gd name="connsiteY2783" fmla="*/ 715172 h 1475329"/>
                    <a:gd name="connsiteX2784" fmla="*/ 65931 w 4040759"/>
                    <a:gd name="connsiteY2784" fmla="*/ 713305 h 1475329"/>
                    <a:gd name="connsiteX2785" fmla="*/ 73282 w 4040759"/>
                    <a:gd name="connsiteY2785" fmla="*/ 704862 h 1475329"/>
                    <a:gd name="connsiteX2786" fmla="*/ 77569 w 4040759"/>
                    <a:gd name="connsiteY2786" fmla="*/ 700649 h 1475329"/>
                    <a:gd name="connsiteX2787" fmla="*/ 79704 w 4040759"/>
                    <a:gd name="connsiteY2787" fmla="*/ 698228 h 1475329"/>
                    <a:gd name="connsiteX2788" fmla="*/ 88889 w 4040759"/>
                    <a:gd name="connsiteY2788" fmla="*/ 690217 h 1475329"/>
                    <a:gd name="connsiteX2789" fmla="*/ 95116 w 4040759"/>
                    <a:gd name="connsiteY2789" fmla="*/ 683771 h 1475329"/>
                    <a:gd name="connsiteX2790" fmla="*/ 97568 w 4040759"/>
                    <a:gd name="connsiteY2790" fmla="*/ 680226 h 1475329"/>
                    <a:gd name="connsiteX2791" fmla="*/ 99973 w 4040759"/>
                    <a:gd name="connsiteY2791" fmla="*/ 675148 h 1475329"/>
                    <a:gd name="connsiteX2792" fmla="*/ 101334 w 4040759"/>
                    <a:gd name="connsiteY2792" fmla="*/ 671676 h 1475329"/>
                    <a:gd name="connsiteX2793" fmla="*/ 103722 w 4040759"/>
                    <a:gd name="connsiteY2793" fmla="*/ 667186 h 1475329"/>
                    <a:gd name="connsiteX2794" fmla="*/ 103787 w 4040759"/>
                    <a:gd name="connsiteY2794" fmla="*/ 665686 h 1475329"/>
                    <a:gd name="connsiteX2795" fmla="*/ 103110 w 4040759"/>
                    <a:gd name="connsiteY2795" fmla="*/ 664309 h 1475329"/>
                    <a:gd name="connsiteX2796" fmla="*/ 101325 w 4040759"/>
                    <a:gd name="connsiteY2796" fmla="*/ 662149 h 1475329"/>
                    <a:gd name="connsiteX2797" fmla="*/ 98840 w 4040759"/>
                    <a:gd name="connsiteY2797" fmla="*/ 659664 h 1475329"/>
                    <a:gd name="connsiteX2798" fmla="*/ 96615 w 4040759"/>
                    <a:gd name="connsiteY2798" fmla="*/ 656624 h 1475329"/>
                    <a:gd name="connsiteX2799" fmla="*/ 94969 w 4040759"/>
                    <a:gd name="connsiteY2799" fmla="*/ 653886 h 1475329"/>
                    <a:gd name="connsiteX2800" fmla="*/ 89859 w 4040759"/>
                    <a:gd name="connsiteY2800" fmla="*/ 650063 h 1475329"/>
                    <a:gd name="connsiteX2801" fmla="*/ 81938 w 4040759"/>
                    <a:gd name="connsiteY2801" fmla="*/ 645239 h 1475329"/>
                    <a:gd name="connsiteX2802" fmla="*/ 76062 w 4040759"/>
                    <a:gd name="connsiteY2802" fmla="*/ 641661 h 1475329"/>
                    <a:gd name="connsiteX2803" fmla="*/ 67056 w 4040759"/>
                    <a:gd name="connsiteY2803" fmla="*/ 633984 h 1475329"/>
                    <a:gd name="connsiteX2804" fmla="*/ 65467 w 4040759"/>
                    <a:gd name="connsiteY2804" fmla="*/ 632069 h 1475329"/>
                    <a:gd name="connsiteX2805" fmla="*/ 65785 w 4040759"/>
                    <a:gd name="connsiteY2805" fmla="*/ 631572 h 1475329"/>
                    <a:gd name="connsiteX2806" fmla="*/ 70894 w 4040759"/>
                    <a:gd name="connsiteY2806" fmla="*/ 629241 h 1475329"/>
                    <a:gd name="connsiteX2807" fmla="*/ 75980 w 4040759"/>
                    <a:gd name="connsiteY2807" fmla="*/ 623243 h 1475329"/>
                    <a:gd name="connsiteX2808" fmla="*/ 78188 w 4040759"/>
                    <a:gd name="connsiteY2808" fmla="*/ 620203 h 1475329"/>
                    <a:gd name="connsiteX2809" fmla="*/ 78726 w 4040759"/>
                    <a:gd name="connsiteY2809" fmla="*/ 617839 h 1475329"/>
                    <a:gd name="connsiteX2810" fmla="*/ 78775 w 4040759"/>
                    <a:gd name="connsiteY2810" fmla="*/ 615183 h 1475329"/>
                    <a:gd name="connsiteX2811" fmla="*/ 78417 w 4040759"/>
                    <a:gd name="connsiteY2811" fmla="*/ 612729 h 1475329"/>
                    <a:gd name="connsiteX2812" fmla="*/ 77781 w 4040759"/>
                    <a:gd name="connsiteY2812" fmla="*/ 611205 h 1475329"/>
                    <a:gd name="connsiteX2813" fmla="*/ 75377 w 4040759"/>
                    <a:gd name="connsiteY2813" fmla="*/ 609290 h 1475329"/>
                    <a:gd name="connsiteX2814" fmla="*/ 68368 w 4040759"/>
                    <a:gd name="connsiteY2814" fmla="*/ 605786 h 1475329"/>
                    <a:gd name="connsiteX2815" fmla="*/ 66714 w 4040759"/>
                    <a:gd name="connsiteY2815" fmla="*/ 602567 h 1475329"/>
                    <a:gd name="connsiteX2816" fmla="*/ 65345 w 4040759"/>
                    <a:gd name="connsiteY2816" fmla="*/ 599177 h 1475329"/>
                    <a:gd name="connsiteX2817" fmla="*/ 65320 w 4040759"/>
                    <a:gd name="connsiteY2817" fmla="*/ 597775 h 1475329"/>
                    <a:gd name="connsiteX2818" fmla="*/ 68653 w 4040759"/>
                    <a:gd name="connsiteY2818" fmla="*/ 594140 h 1475329"/>
                    <a:gd name="connsiteX2819" fmla="*/ 68808 w 4040759"/>
                    <a:gd name="connsiteY2819" fmla="*/ 592314 h 1475329"/>
                    <a:gd name="connsiteX2820" fmla="*/ 68409 w 4040759"/>
                    <a:gd name="connsiteY2820" fmla="*/ 590448 h 1475329"/>
                    <a:gd name="connsiteX2821" fmla="*/ 67488 w 4040759"/>
                    <a:gd name="connsiteY2821" fmla="*/ 589087 h 1475329"/>
                    <a:gd name="connsiteX2822" fmla="*/ 60308 w 4040759"/>
                    <a:gd name="connsiteY2822" fmla="*/ 587433 h 1475329"/>
                    <a:gd name="connsiteX2823" fmla="*/ 58279 w 4040759"/>
                    <a:gd name="connsiteY2823" fmla="*/ 585697 h 1475329"/>
                    <a:gd name="connsiteX2824" fmla="*/ 56697 w 4040759"/>
                    <a:gd name="connsiteY2824" fmla="*/ 582918 h 1475329"/>
                    <a:gd name="connsiteX2825" fmla="*/ 55858 w 4040759"/>
                    <a:gd name="connsiteY2825" fmla="*/ 580530 h 1475329"/>
                    <a:gd name="connsiteX2826" fmla="*/ 55785 w 4040759"/>
                    <a:gd name="connsiteY2826" fmla="*/ 579120 h 1475329"/>
                    <a:gd name="connsiteX2827" fmla="*/ 56314 w 4040759"/>
                    <a:gd name="connsiteY2827" fmla="*/ 577547 h 1475329"/>
                    <a:gd name="connsiteX2828" fmla="*/ 58735 w 4040759"/>
                    <a:gd name="connsiteY2828" fmla="*/ 575819 h 1475329"/>
                    <a:gd name="connsiteX2829" fmla="*/ 60984 w 4040759"/>
                    <a:gd name="connsiteY2829" fmla="*/ 574662 h 1475329"/>
                    <a:gd name="connsiteX2830" fmla="*/ 61384 w 4040759"/>
                    <a:gd name="connsiteY2830" fmla="*/ 573097 h 1475329"/>
                    <a:gd name="connsiteX2831" fmla="*/ 61367 w 4040759"/>
                    <a:gd name="connsiteY2831" fmla="*/ 571402 h 1475329"/>
                    <a:gd name="connsiteX2832" fmla="*/ 60976 w 4040759"/>
                    <a:gd name="connsiteY2832" fmla="*/ 570579 h 1475329"/>
                    <a:gd name="connsiteX2833" fmla="*/ 56502 w 4040759"/>
                    <a:gd name="connsiteY2833" fmla="*/ 569772 h 1475329"/>
                    <a:gd name="connsiteX2834" fmla="*/ 56062 w 4040759"/>
                    <a:gd name="connsiteY2834" fmla="*/ 569308 h 1475329"/>
                    <a:gd name="connsiteX2835" fmla="*/ 55956 w 4040759"/>
                    <a:gd name="connsiteY2835" fmla="*/ 568721 h 1475329"/>
                    <a:gd name="connsiteX2836" fmla="*/ 56184 w 4040759"/>
                    <a:gd name="connsiteY2836" fmla="*/ 568020 h 1475329"/>
                    <a:gd name="connsiteX2837" fmla="*/ 58605 w 4040759"/>
                    <a:gd name="connsiteY2837" fmla="*/ 564997 h 1475329"/>
                    <a:gd name="connsiteX2838" fmla="*/ 58931 w 4040759"/>
                    <a:gd name="connsiteY2838" fmla="*/ 559227 h 1475329"/>
                    <a:gd name="connsiteX2839" fmla="*/ 61196 w 4040759"/>
                    <a:gd name="connsiteY2839" fmla="*/ 555184 h 1475329"/>
                    <a:gd name="connsiteX2840" fmla="*/ 58629 w 4040759"/>
                    <a:gd name="connsiteY2840" fmla="*/ 552829 h 1475329"/>
                    <a:gd name="connsiteX2841" fmla="*/ 58841 w 4040759"/>
                    <a:gd name="connsiteY2841" fmla="*/ 552413 h 1475329"/>
                    <a:gd name="connsiteX2842" fmla="*/ 62769 w 4040759"/>
                    <a:gd name="connsiteY2842" fmla="*/ 551175 h 1475329"/>
                    <a:gd name="connsiteX2843" fmla="*/ 66396 w 4040759"/>
                    <a:gd name="connsiteY2843" fmla="*/ 550873 h 1475329"/>
                    <a:gd name="connsiteX2844" fmla="*/ 68050 w 4040759"/>
                    <a:gd name="connsiteY2844" fmla="*/ 550400 h 1475329"/>
                    <a:gd name="connsiteX2845" fmla="*/ 68230 w 4040759"/>
                    <a:gd name="connsiteY2845" fmla="*/ 548518 h 1475329"/>
                    <a:gd name="connsiteX2846" fmla="*/ 67847 w 4040759"/>
                    <a:gd name="connsiteY2846" fmla="*/ 545959 h 1475329"/>
                    <a:gd name="connsiteX2847" fmla="*/ 64114 w 4040759"/>
                    <a:gd name="connsiteY2847" fmla="*/ 535902 h 1475329"/>
                    <a:gd name="connsiteX2848" fmla="*/ 63291 w 4040759"/>
                    <a:gd name="connsiteY2848" fmla="*/ 533001 h 1475329"/>
                    <a:gd name="connsiteX2849" fmla="*/ 60813 w 4040759"/>
                    <a:gd name="connsiteY2849" fmla="*/ 529333 h 1475329"/>
                    <a:gd name="connsiteX2850" fmla="*/ 58751 w 4040759"/>
                    <a:gd name="connsiteY2850" fmla="*/ 526872 h 1475329"/>
                    <a:gd name="connsiteX2851" fmla="*/ 57529 w 4040759"/>
                    <a:gd name="connsiteY2851" fmla="*/ 525104 h 1475329"/>
                    <a:gd name="connsiteX2852" fmla="*/ 55532 w 4040759"/>
                    <a:gd name="connsiteY2852" fmla="*/ 521656 h 1475329"/>
                    <a:gd name="connsiteX2853" fmla="*/ 54383 w 4040759"/>
                    <a:gd name="connsiteY2853" fmla="*/ 518119 h 1475329"/>
                    <a:gd name="connsiteX2854" fmla="*/ 52403 w 4040759"/>
                    <a:gd name="connsiteY2854" fmla="*/ 514158 h 1475329"/>
                    <a:gd name="connsiteX2855" fmla="*/ 50088 w 4040759"/>
                    <a:gd name="connsiteY2855" fmla="*/ 510524 h 1475329"/>
                    <a:gd name="connsiteX2856" fmla="*/ 48149 w 4040759"/>
                    <a:gd name="connsiteY2856" fmla="*/ 507158 h 1475329"/>
                    <a:gd name="connsiteX2857" fmla="*/ 43186 w 4040759"/>
                    <a:gd name="connsiteY2857" fmla="*/ 500557 h 1475329"/>
                    <a:gd name="connsiteX2858" fmla="*/ 42517 w 4040759"/>
                    <a:gd name="connsiteY2858" fmla="*/ 498723 h 1475329"/>
                    <a:gd name="connsiteX2859" fmla="*/ 42599 w 4040759"/>
                    <a:gd name="connsiteY2859" fmla="*/ 497068 h 1475329"/>
                    <a:gd name="connsiteX2860" fmla="*/ 43039 w 4040759"/>
                    <a:gd name="connsiteY2860" fmla="*/ 495316 h 1475329"/>
                    <a:gd name="connsiteX2861" fmla="*/ 46918 w 4040759"/>
                    <a:gd name="connsiteY2861" fmla="*/ 489905 h 1475329"/>
                    <a:gd name="connsiteX2862" fmla="*/ 50496 w 4040759"/>
                    <a:gd name="connsiteY2862" fmla="*/ 485382 h 1475329"/>
                    <a:gd name="connsiteX2863" fmla="*/ 55068 w 4040759"/>
                    <a:gd name="connsiteY2863" fmla="*/ 480076 h 1475329"/>
                    <a:gd name="connsiteX2864" fmla="*/ 59493 w 4040759"/>
                    <a:gd name="connsiteY2864" fmla="*/ 475667 h 1475329"/>
                    <a:gd name="connsiteX2865" fmla="*/ 64220 w 4040759"/>
                    <a:gd name="connsiteY2865" fmla="*/ 470419 h 1475329"/>
                    <a:gd name="connsiteX2866" fmla="*/ 65385 w 4040759"/>
                    <a:gd name="connsiteY2866" fmla="*/ 465179 h 1475329"/>
                    <a:gd name="connsiteX2867" fmla="*/ 65165 w 4040759"/>
                    <a:gd name="connsiteY2867" fmla="*/ 464307 h 1475329"/>
                    <a:gd name="connsiteX2868" fmla="*/ 61261 w 4040759"/>
                    <a:gd name="connsiteY2868" fmla="*/ 461462 h 1475329"/>
                    <a:gd name="connsiteX2869" fmla="*/ 53886 w 4040759"/>
                    <a:gd name="connsiteY2869" fmla="*/ 453850 h 1475329"/>
                    <a:gd name="connsiteX2870" fmla="*/ 49404 w 4040759"/>
                    <a:gd name="connsiteY2870" fmla="*/ 448072 h 1475329"/>
                    <a:gd name="connsiteX2871" fmla="*/ 42435 w 4040759"/>
                    <a:gd name="connsiteY2871" fmla="*/ 445619 h 1475329"/>
                    <a:gd name="connsiteX2872" fmla="*/ 33071 w 4040759"/>
                    <a:gd name="connsiteY2872" fmla="*/ 442490 h 1475329"/>
                    <a:gd name="connsiteX2873" fmla="*/ 29967 w 4040759"/>
                    <a:gd name="connsiteY2873" fmla="*/ 435424 h 1475329"/>
                    <a:gd name="connsiteX2874" fmla="*/ 27750 w 4040759"/>
                    <a:gd name="connsiteY2874" fmla="*/ 429434 h 1475329"/>
                    <a:gd name="connsiteX2875" fmla="*/ 27961 w 4040759"/>
                    <a:gd name="connsiteY2875" fmla="*/ 427266 h 1475329"/>
                    <a:gd name="connsiteX2876" fmla="*/ 34726 w 4040759"/>
                    <a:gd name="connsiteY2876" fmla="*/ 417005 h 1475329"/>
                    <a:gd name="connsiteX2877" fmla="*/ 35370 w 4040759"/>
                    <a:gd name="connsiteY2877" fmla="*/ 415139 h 1475329"/>
                    <a:gd name="connsiteX2878" fmla="*/ 35239 w 4040759"/>
                    <a:gd name="connsiteY2878" fmla="*/ 413990 h 1475329"/>
                    <a:gd name="connsiteX2879" fmla="*/ 34555 w 4040759"/>
                    <a:gd name="connsiteY2879" fmla="*/ 413273 h 1475329"/>
                    <a:gd name="connsiteX2880" fmla="*/ 33585 w 4040759"/>
                    <a:gd name="connsiteY2880" fmla="*/ 412865 h 1475329"/>
                    <a:gd name="connsiteX2881" fmla="*/ 27318 w 4040759"/>
                    <a:gd name="connsiteY2881" fmla="*/ 412564 h 1475329"/>
                    <a:gd name="connsiteX2882" fmla="*/ 26340 w 4040759"/>
                    <a:gd name="connsiteY2882" fmla="*/ 411170 h 1475329"/>
                    <a:gd name="connsiteX2883" fmla="*/ 30105 w 4040759"/>
                    <a:gd name="connsiteY2883" fmla="*/ 410111 h 1475329"/>
                    <a:gd name="connsiteX2884" fmla="*/ 33243 w 4040759"/>
                    <a:gd name="connsiteY2884" fmla="*/ 408660 h 1475329"/>
                    <a:gd name="connsiteX2885" fmla="*/ 38369 w 4040759"/>
                    <a:gd name="connsiteY2885" fmla="*/ 406517 h 1475329"/>
                    <a:gd name="connsiteX2886" fmla="*/ 40031 w 4040759"/>
                    <a:gd name="connsiteY2886" fmla="*/ 405979 h 1475329"/>
                    <a:gd name="connsiteX2887" fmla="*/ 43813 w 4040759"/>
                    <a:gd name="connsiteY2887" fmla="*/ 404740 h 1475329"/>
                    <a:gd name="connsiteX2888" fmla="*/ 45117 w 4040759"/>
                    <a:gd name="connsiteY2888" fmla="*/ 403787 h 1475329"/>
                    <a:gd name="connsiteX2889" fmla="*/ 46086 w 4040759"/>
                    <a:gd name="connsiteY2889" fmla="*/ 402670 h 1475329"/>
                    <a:gd name="connsiteX2890" fmla="*/ 49640 w 4040759"/>
                    <a:gd name="connsiteY2890" fmla="*/ 395001 h 1475329"/>
                    <a:gd name="connsiteX2891" fmla="*/ 50512 w 4040759"/>
                    <a:gd name="connsiteY2891" fmla="*/ 393779 h 1475329"/>
                    <a:gd name="connsiteX2892" fmla="*/ 61530 w 4040759"/>
                    <a:gd name="connsiteY2892" fmla="*/ 391024 h 1475329"/>
                    <a:gd name="connsiteX2893" fmla="*/ 65532 w 4040759"/>
                    <a:gd name="connsiteY2893" fmla="*/ 389598 h 1475329"/>
                    <a:gd name="connsiteX2894" fmla="*/ 67847 w 4040759"/>
                    <a:gd name="connsiteY2894" fmla="*/ 387813 h 1475329"/>
                    <a:gd name="connsiteX2895" fmla="*/ 68955 w 4040759"/>
                    <a:gd name="connsiteY2895" fmla="*/ 386420 h 1475329"/>
                    <a:gd name="connsiteX2896" fmla="*/ 69745 w 4040759"/>
                    <a:gd name="connsiteY2896" fmla="*/ 384765 h 1475329"/>
                    <a:gd name="connsiteX2897" fmla="*/ 70316 w 4040759"/>
                    <a:gd name="connsiteY2897" fmla="*/ 382940 h 1475329"/>
                    <a:gd name="connsiteX2898" fmla="*/ 70552 w 4040759"/>
                    <a:gd name="connsiteY2898" fmla="*/ 381261 h 1475329"/>
                    <a:gd name="connsiteX2899" fmla="*/ 69648 w 4040759"/>
                    <a:gd name="connsiteY2899" fmla="*/ 379077 h 1475329"/>
                    <a:gd name="connsiteX2900" fmla="*/ 70145 w 4040759"/>
                    <a:gd name="connsiteY2900" fmla="*/ 378808 h 1475329"/>
                    <a:gd name="connsiteX2901" fmla="*/ 71327 w 4040759"/>
                    <a:gd name="connsiteY2901" fmla="*/ 378897 h 1475329"/>
                    <a:gd name="connsiteX2902" fmla="*/ 75100 w 4040759"/>
                    <a:gd name="connsiteY2902" fmla="*/ 381073 h 1475329"/>
                    <a:gd name="connsiteX2903" fmla="*/ 80951 w 4040759"/>
                    <a:gd name="connsiteY2903" fmla="*/ 383388 h 1475329"/>
                    <a:gd name="connsiteX2904" fmla="*/ 85246 w 4040759"/>
                    <a:gd name="connsiteY2904" fmla="*/ 383567 h 1475329"/>
                    <a:gd name="connsiteX2905" fmla="*/ 87031 w 4040759"/>
                    <a:gd name="connsiteY2905" fmla="*/ 383143 h 1475329"/>
                    <a:gd name="connsiteX2906" fmla="*/ 87927 w 4040759"/>
                    <a:gd name="connsiteY2906" fmla="*/ 382117 h 1475329"/>
                    <a:gd name="connsiteX2907" fmla="*/ 88563 w 4040759"/>
                    <a:gd name="connsiteY2907" fmla="*/ 380144 h 1475329"/>
                    <a:gd name="connsiteX2908" fmla="*/ 88604 w 4040759"/>
                    <a:gd name="connsiteY2908" fmla="*/ 378099 h 1475329"/>
                    <a:gd name="connsiteX2909" fmla="*/ 87251 w 4040759"/>
                    <a:gd name="connsiteY2909" fmla="*/ 372247 h 1475329"/>
                    <a:gd name="connsiteX2910" fmla="*/ 91717 w 4040759"/>
                    <a:gd name="connsiteY2910" fmla="*/ 372883 h 1475329"/>
                    <a:gd name="connsiteX2911" fmla="*/ 101709 w 4040759"/>
                    <a:gd name="connsiteY2911" fmla="*/ 376420 h 1475329"/>
                    <a:gd name="connsiteX2912" fmla="*/ 104047 w 4040759"/>
                    <a:gd name="connsiteY2912" fmla="*/ 376094 h 1475329"/>
                    <a:gd name="connsiteX2913" fmla="*/ 107006 w 4040759"/>
                    <a:gd name="connsiteY2913" fmla="*/ 375026 h 1475329"/>
                    <a:gd name="connsiteX2914" fmla="*/ 110046 w 4040759"/>
                    <a:gd name="connsiteY2914" fmla="*/ 370805 h 1475329"/>
                    <a:gd name="connsiteX2915" fmla="*/ 112287 w 4040759"/>
                    <a:gd name="connsiteY2915" fmla="*/ 370079 h 1475329"/>
                    <a:gd name="connsiteX2916" fmla="*/ 115237 w 4040759"/>
                    <a:gd name="connsiteY2916" fmla="*/ 371074 h 1475329"/>
                    <a:gd name="connsiteX2917" fmla="*/ 116044 w 4040759"/>
                    <a:gd name="connsiteY2917" fmla="*/ 369941 h 1475329"/>
                    <a:gd name="connsiteX2918" fmla="*/ 114528 w 4040759"/>
                    <a:gd name="connsiteY2918" fmla="*/ 366436 h 1475329"/>
                    <a:gd name="connsiteX2919" fmla="*/ 114911 w 4040759"/>
                    <a:gd name="connsiteY2919" fmla="*/ 364660 h 1475329"/>
                    <a:gd name="connsiteX2920" fmla="*/ 125009 w 4040759"/>
                    <a:gd name="connsiteY2920" fmla="*/ 368449 h 1475329"/>
                    <a:gd name="connsiteX2921" fmla="*/ 129312 w 4040759"/>
                    <a:gd name="connsiteY2921" fmla="*/ 371220 h 1475329"/>
                    <a:gd name="connsiteX2922" fmla="*/ 138643 w 4040759"/>
                    <a:gd name="connsiteY2922" fmla="*/ 373649 h 1475329"/>
                    <a:gd name="connsiteX2923" fmla="*/ 140281 w 4040759"/>
                    <a:gd name="connsiteY2923" fmla="*/ 374977 h 1475329"/>
                    <a:gd name="connsiteX2924" fmla="*/ 140395 w 4040759"/>
                    <a:gd name="connsiteY2924" fmla="*/ 377267 h 1475329"/>
                    <a:gd name="connsiteX2925" fmla="*/ 139955 w 4040759"/>
                    <a:gd name="connsiteY2925" fmla="*/ 379240 h 1475329"/>
                    <a:gd name="connsiteX2926" fmla="*/ 137983 w 4040759"/>
                    <a:gd name="connsiteY2926" fmla="*/ 380324 h 1475329"/>
                    <a:gd name="connsiteX2927" fmla="*/ 133990 w 4040759"/>
                    <a:gd name="connsiteY2927" fmla="*/ 380144 h 1475329"/>
                    <a:gd name="connsiteX2928" fmla="*/ 119679 w 4040759"/>
                    <a:gd name="connsiteY2928" fmla="*/ 377113 h 1475329"/>
                    <a:gd name="connsiteX2929" fmla="*/ 117568 w 4040759"/>
                    <a:gd name="connsiteY2929" fmla="*/ 378946 h 1475329"/>
                    <a:gd name="connsiteX2930" fmla="*/ 119288 w 4040759"/>
                    <a:gd name="connsiteY2930" fmla="*/ 380552 h 1475329"/>
                    <a:gd name="connsiteX2931" fmla="*/ 123485 w 4040759"/>
                    <a:gd name="connsiteY2931" fmla="*/ 382426 h 1475329"/>
                    <a:gd name="connsiteX2932" fmla="*/ 124658 w 4040759"/>
                    <a:gd name="connsiteY2932" fmla="*/ 385768 h 1475329"/>
                    <a:gd name="connsiteX2933" fmla="*/ 131080 w 4040759"/>
                    <a:gd name="connsiteY2933" fmla="*/ 385303 h 1475329"/>
                    <a:gd name="connsiteX2934" fmla="*/ 137209 w 4040759"/>
                    <a:gd name="connsiteY2934" fmla="*/ 386566 h 1475329"/>
                    <a:gd name="connsiteX2935" fmla="*/ 140078 w 4040759"/>
                    <a:gd name="connsiteY2935" fmla="*/ 386167 h 1475329"/>
                    <a:gd name="connsiteX2936" fmla="*/ 140607 w 4040759"/>
                    <a:gd name="connsiteY2936" fmla="*/ 387251 h 1475329"/>
                    <a:gd name="connsiteX2937" fmla="*/ 138635 w 4040759"/>
                    <a:gd name="connsiteY2937" fmla="*/ 390014 h 1475329"/>
                    <a:gd name="connsiteX2938" fmla="*/ 139564 w 4040759"/>
                    <a:gd name="connsiteY2938" fmla="*/ 390714 h 1475329"/>
                    <a:gd name="connsiteX2939" fmla="*/ 146435 w 4040759"/>
                    <a:gd name="connsiteY2939" fmla="*/ 388041 h 1475329"/>
                    <a:gd name="connsiteX2940" fmla="*/ 149637 w 4040759"/>
                    <a:gd name="connsiteY2940" fmla="*/ 387308 h 1475329"/>
                    <a:gd name="connsiteX2941" fmla="*/ 151357 w 4040759"/>
                    <a:gd name="connsiteY2941" fmla="*/ 388017 h 1475329"/>
                    <a:gd name="connsiteX2942" fmla="*/ 151593 w 4040759"/>
                    <a:gd name="connsiteY2942" fmla="*/ 390234 h 1475329"/>
                    <a:gd name="connsiteX2943" fmla="*/ 150460 w 4040759"/>
                    <a:gd name="connsiteY2943" fmla="*/ 393021 h 1475329"/>
                    <a:gd name="connsiteX2944" fmla="*/ 150330 w 4040759"/>
                    <a:gd name="connsiteY2944" fmla="*/ 395140 h 1475329"/>
                    <a:gd name="connsiteX2945" fmla="*/ 148211 w 4040759"/>
                    <a:gd name="connsiteY2945" fmla="*/ 400250 h 1475329"/>
                    <a:gd name="connsiteX2946" fmla="*/ 144959 w 4040759"/>
                    <a:gd name="connsiteY2946" fmla="*/ 401798 h 1475329"/>
                    <a:gd name="connsiteX2947" fmla="*/ 143582 w 4040759"/>
                    <a:gd name="connsiteY2947" fmla="*/ 403917 h 1475329"/>
                    <a:gd name="connsiteX2948" fmla="*/ 148358 w 4040759"/>
                    <a:gd name="connsiteY2948" fmla="*/ 402613 h 1475329"/>
                    <a:gd name="connsiteX2949" fmla="*/ 150900 w 4040759"/>
                    <a:gd name="connsiteY2949" fmla="*/ 401195 h 1475329"/>
                    <a:gd name="connsiteX2950" fmla="*/ 155644 w 4040759"/>
                    <a:gd name="connsiteY2950" fmla="*/ 394178 h 1475329"/>
                    <a:gd name="connsiteX2951" fmla="*/ 157061 w 4040759"/>
                    <a:gd name="connsiteY2951" fmla="*/ 393241 h 1475329"/>
                    <a:gd name="connsiteX2952" fmla="*/ 170582 w 4040759"/>
                    <a:gd name="connsiteY2952" fmla="*/ 393119 h 1475329"/>
                    <a:gd name="connsiteX2953" fmla="*/ 173646 w 4040759"/>
                    <a:gd name="connsiteY2953" fmla="*/ 393567 h 1475329"/>
                    <a:gd name="connsiteX2954" fmla="*/ 186311 w 4040759"/>
                    <a:gd name="connsiteY2954" fmla="*/ 396876 h 1475329"/>
                    <a:gd name="connsiteX2955" fmla="*/ 189929 w 4040759"/>
                    <a:gd name="connsiteY2955" fmla="*/ 397185 h 1475329"/>
                    <a:gd name="connsiteX2956" fmla="*/ 194053 w 4040759"/>
                    <a:gd name="connsiteY2956" fmla="*/ 396762 h 1475329"/>
                    <a:gd name="connsiteX2957" fmla="*/ 195471 w 4040759"/>
                    <a:gd name="connsiteY2957" fmla="*/ 395221 h 1475329"/>
                    <a:gd name="connsiteX2958" fmla="*/ 196881 w 4040759"/>
                    <a:gd name="connsiteY2958" fmla="*/ 394781 h 1475329"/>
                    <a:gd name="connsiteX2959" fmla="*/ 210980 w 4040759"/>
                    <a:gd name="connsiteY2959" fmla="*/ 398481 h 1475329"/>
                    <a:gd name="connsiteX2960" fmla="*/ 229831 w 4040759"/>
                    <a:gd name="connsiteY2960" fmla="*/ 406794 h 1475329"/>
                    <a:gd name="connsiteX2961" fmla="*/ 257417 w 4040759"/>
                    <a:gd name="connsiteY2961" fmla="*/ 420494 h 1475329"/>
                    <a:gd name="connsiteX2962" fmla="*/ 272967 w 4040759"/>
                    <a:gd name="connsiteY2962" fmla="*/ 432629 h 1475329"/>
                    <a:gd name="connsiteX2963" fmla="*/ 274768 w 4040759"/>
                    <a:gd name="connsiteY2963" fmla="*/ 435245 h 1475329"/>
                    <a:gd name="connsiteX2964" fmla="*/ 280383 w 4040759"/>
                    <a:gd name="connsiteY2964" fmla="*/ 436712 h 1475329"/>
                    <a:gd name="connsiteX2965" fmla="*/ 281606 w 4040759"/>
                    <a:gd name="connsiteY2965" fmla="*/ 435717 h 1475329"/>
                    <a:gd name="connsiteX2966" fmla="*/ 284719 w 4040759"/>
                    <a:gd name="connsiteY2966" fmla="*/ 436581 h 1475329"/>
                    <a:gd name="connsiteX2967" fmla="*/ 303015 w 4040759"/>
                    <a:gd name="connsiteY2967" fmla="*/ 447640 h 1475329"/>
                    <a:gd name="connsiteX2968" fmla="*/ 309315 w 4040759"/>
                    <a:gd name="connsiteY2968" fmla="*/ 448211 h 1475329"/>
                    <a:gd name="connsiteX2969" fmla="*/ 308484 w 4040759"/>
                    <a:gd name="connsiteY2969" fmla="*/ 445872 h 1475329"/>
                    <a:gd name="connsiteX2970" fmla="*/ 307416 w 4040759"/>
                    <a:gd name="connsiteY2970" fmla="*/ 443696 h 1475329"/>
                    <a:gd name="connsiteX2971" fmla="*/ 308973 w 4040759"/>
                    <a:gd name="connsiteY2971" fmla="*/ 444193 h 1475329"/>
                    <a:gd name="connsiteX2972" fmla="*/ 311116 w 4040759"/>
                    <a:gd name="connsiteY2972" fmla="*/ 445774 h 1475329"/>
                    <a:gd name="connsiteX2973" fmla="*/ 314596 w 4040759"/>
                    <a:gd name="connsiteY2973" fmla="*/ 450093 h 1475329"/>
                    <a:gd name="connsiteX2974" fmla="*/ 318834 w 4040759"/>
                    <a:gd name="connsiteY2974" fmla="*/ 453288 h 1475329"/>
                    <a:gd name="connsiteX2975" fmla="*/ 323145 w 4040759"/>
                    <a:gd name="connsiteY2975" fmla="*/ 458080 h 1475329"/>
                    <a:gd name="connsiteX2976" fmla="*/ 326747 w 4040759"/>
                    <a:gd name="connsiteY2976" fmla="*/ 459914 h 1475329"/>
                    <a:gd name="connsiteX2977" fmla="*/ 329983 w 4040759"/>
                    <a:gd name="connsiteY2977" fmla="*/ 460590 h 1475329"/>
                    <a:gd name="connsiteX2978" fmla="*/ 332713 w 4040759"/>
                    <a:gd name="connsiteY2978" fmla="*/ 461943 h 1475329"/>
                    <a:gd name="connsiteX2979" fmla="*/ 337676 w 4040759"/>
                    <a:gd name="connsiteY2979" fmla="*/ 463231 h 1475329"/>
                    <a:gd name="connsiteX2980" fmla="*/ 340023 w 4040759"/>
                    <a:gd name="connsiteY2980" fmla="*/ 474893 h 1475329"/>
                    <a:gd name="connsiteX2981" fmla="*/ 341832 w 4040759"/>
                    <a:gd name="connsiteY2981" fmla="*/ 477411 h 1475329"/>
                    <a:gd name="connsiteX2982" fmla="*/ 341832 w 4040759"/>
                    <a:gd name="connsiteY2982" fmla="*/ 482562 h 1475329"/>
                    <a:gd name="connsiteX2983" fmla="*/ 344994 w 4040759"/>
                    <a:gd name="connsiteY2983" fmla="*/ 484656 h 1475329"/>
                    <a:gd name="connsiteX2984" fmla="*/ 347407 w 4040759"/>
                    <a:gd name="connsiteY2984" fmla="*/ 485031 h 1475329"/>
                    <a:gd name="connsiteX2985" fmla="*/ 347293 w 4040759"/>
                    <a:gd name="connsiteY2985" fmla="*/ 488837 h 1475329"/>
                    <a:gd name="connsiteX2986" fmla="*/ 345337 w 4040759"/>
                    <a:gd name="connsiteY2986" fmla="*/ 497753 h 1475329"/>
                    <a:gd name="connsiteX2987" fmla="*/ 343185 w 4040759"/>
                    <a:gd name="connsiteY2987" fmla="*/ 501551 h 1475329"/>
                    <a:gd name="connsiteX2988" fmla="*/ 326633 w 4040759"/>
                    <a:gd name="connsiteY2988" fmla="*/ 517818 h 1475329"/>
                    <a:gd name="connsiteX2989" fmla="*/ 316267 w 4040759"/>
                    <a:gd name="connsiteY2989" fmla="*/ 524085 h 1475329"/>
                    <a:gd name="connsiteX2990" fmla="*/ 296071 w 4040759"/>
                    <a:gd name="connsiteY2990" fmla="*/ 531248 h 1475329"/>
                    <a:gd name="connsiteX2991" fmla="*/ 280310 w 4040759"/>
                    <a:gd name="connsiteY2991" fmla="*/ 533938 h 1475329"/>
                    <a:gd name="connsiteX2992" fmla="*/ 273961 w 4040759"/>
                    <a:gd name="connsiteY2992" fmla="*/ 534133 h 1475329"/>
                    <a:gd name="connsiteX2993" fmla="*/ 261631 w 4040759"/>
                    <a:gd name="connsiteY2993" fmla="*/ 532813 h 1475329"/>
                    <a:gd name="connsiteX2994" fmla="*/ 254875 w 4040759"/>
                    <a:gd name="connsiteY2994" fmla="*/ 531363 h 1475329"/>
                    <a:gd name="connsiteX2995" fmla="*/ 246611 w 4040759"/>
                    <a:gd name="connsiteY2995" fmla="*/ 527288 h 1475329"/>
                    <a:gd name="connsiteX2996" fmla="*/ 238885 w 4040759"/>
                    <a:gd name="connsiteY2996" fmla="*/ 525258 h 1475329"/>
                    <a:gd name="connsiteX2997" fmla="*/ 233588 w 4040759"/>
                    <a:gd name="connsiteY2997" fmla="*/ 524362 h 1475329"/>
                    <a:gd name="connsiteX2998" fmla="*/ 223759 w 4040759"/>
                    <a:gd name="connsiteY2998" fmla="*/ 523987 h 1475329"/>
                    <a:gd name="connsiteX2999" fmla="*/ 202431 w 4040759"/>
                    <a:gd name="connsiteY2999" fmla="*/ 519994 h 1475329"/>
                    <a:gd name="connsiteX3000" fmla="*/ 198723 w 4040759"/>
                    <a:gd name="connsiteY3000" fmla="*/ 518584 h 1475329"/>
                    <a:gd name="connsiteX3001" fmla="*/ 185341 w 4040759"/>
                    <a:gd name="connsiteY3001" fmla="*/ 510776 h 1475329"/>
                    <a:gd name="connsiteX3002" fmla="*/ 180027 w 4040759"/>
                    <a:gd name="connsiteY3002" fmla="*/ 512977 h 1475329"/>
                    <a:gd name="connsiteX3003" fmla="*/ 176857 w 4040759"/>
                    <a:gd name="connsiteY3003" fmla="*/ 513376 h 1475329"/>
                    <a:gd name="connsiteX3004" fmla="*/ 174714 w 4040759"/>
                    <a:gd name="connsiteY3004" fmla="*/ 510687 h 1475329"/>
                    <a:gd name="connsiteX3005" fmla="*/ 175578 w 4040759"/>
                    <a:gd name="connsiteY3005" fmla="*/ 509978 h 1475329"/>
                    <a:gd name="connsiteX3006" fmla="*/ 176091 w 4040759"/>
                    <a:gd name="connsiteY3006" fmla="*/ 509057 h 1475329"/>
                    <a:gd name="connsiteX3007" fmla="*/ 168512 w 4040759"/>
                    <a:gd name="connsiteY3007" fmla="*/ 506824 h 1475329"/>
                    <a:gd name="connsiteX3008" fmla="*/ 162253 w 4040759"/>
                    <a:gd name="connsiteY3008" fmla="*/ 506677 h 1475329"/>
                    <a:gd name="connsiteX3009" fmla="*/ 158928 w 4040759"/>
                    <a:gd name="connsiteY3009" fmla="*/ 504778 h 1475329"/>
                    <a:gd name="connsiteX3010" fmla="*/ 154853 w 4040759"/>
                    <a:gd name="connsiteY3010" fmla="*/ 503327 h 1475329"/>
                    <a:gd name="connsiteX3011" fmla="*/ 153060 w 4040759"/>
                    <a:gd name="connsiteY3011" fmla="*/ 504199 h 1475329"/>
                    <a:gd name="connsiteX3012" fmla="*/ 152041 w 4040759"/>
                    <a:gd name="connsiteY3012" fmla="*/ 504199 h 1475329"/>
                    <a:gd name="connsiteX3013" fmla="*/ 143810 w 4040759"/>
                    <a:gd name="connsiteY3013" fmla="*/ 500785 h 1475329"/>
                    <a:gd name="connsiteX3014" fmla="*/ 140126 w 4040759"/>
                    <a:gd name="connsiteY3014" fmla="*/ 498014 h 1475329"/>
                    <a:gd name="connsiteX3015" fmla="*/ 136304 w 4040759"/>
                    <a:gd name="connsiteY3015" fmla="*/ 493140 h 1475329"/>
                    <a:gd name="connsiteX3016" fmla="*/ 137250 w 4040759"/>
                    <a:gd name="connsiteY3016" fmla="*/ 491437 h 1475329"/>
                    <a:gd name="connsiteX3017" fmla="*/ 138366 w 4040759"/>
                    <a:gd name="connsiteY3017" fmla="*/ 490329 h 1475329"/>
                    <a:gd name="connsiteX3018" fmla="*/ 125204 w 4040759"/>
                    <a:gd name="connsiteY3018" fmla="*/ 487493 h 1475329"/>
                    <a:gd name="connsiteX3019" fmla="*/ 112686 w 4040759"/>
                    <a:gd name="connsiteY3019" fmla="*/ 487118 h 1475329"/>
                    <a:gd name="connsiteX3020" fmla="*/ 114862 w 4040759"/>
                    <a:gd name="connsiteY3020" fmla="*/ 488471 h 1475329"/>
                    <a:gd name="connsiteX3021" fmla="*/ 120290 w 4040759"/>
                    <a:gd name="connsiteY3021" fmla="*/ 489196 h 1475329"/>
                    <a:gd name="connsiteX3022" fmla="*/ 123729 w 4040759"/>
                    <a:gd name="connsiteY3022" fmla="*/ 491144 h 1475329"/>
                    <a:gd name="connsiteX3023" fmla="*/ 127715 w 4040759"/>
                    <a:gd name="connsiteY3023" fmla="*/ 493906 h 1475329"/>
                    <a:gd name="connsiteX3024" fmla="*/ 126785 w 4040759"/>
                    <a:gd name="connsiteY3024" fmla="*/ 497672 h 1475329"/>
                    <a:gd name="connsiteX3025" fmla="*/ 132303 w 4040759"/>
                    <a:gd name="connsiteY3025" fmla="*/ 501396 h 1475329"/>
                    <a:gd name="connsiteX3026" fmla="*/ 136549 w 4040759"/>
                    <a:gd name="connsiteY3026" fmla="*/ 504949 h 1475329"/>
                    <a:gd name="connsiteX3027" fmla="*/ 136671 w 4040759"/>
                    <a:gd name="connsiteY3027" fmla="*/ 506049 h 1475329"/>
                    <a:gd name="connsiteX3028" fmla="*/ 138326 w 4040759"/>
                    <a:gd name="connsiteY3028" fmla="*/ 506791 h 1475329"/>
                    <a:gd name="connsiteX3029" fmla="*/ 144568 w 4040759"/>
                    <a:gd name="connsiteY3029" fmla="*/ 507818 h 1475329"/>
                    <a:gd name="connsiteX3030" fmla="*/ 145660 w 4040759"/>
                    <a:gd name="connsiteY3030" fmla="*/ 511086 h 1475329"/>
                    <a:gd name="connsiteX3031" fmla="*/ 144625 w 4040759"/>
                    <a:gd name="connsiteY3031" fmla="*/ 512374 h 1475329"/>
                    <a:gd name="connsiteX3032" fmla="*/ 145481 w 4040759"/>
                    <a:gd name="connsiteY3032" fmla="*/ 514183 h 1475329"/>
                    <a:gd name="connsiteX3033" fmla="*/ 150142 w 4040759"/>
                    <a:gd name="connsiteY3033" fmla="*/ 516212 h 1475329"/>
                    <a:gd name="connsiteX3034" fmla="*/ 152930 w 4040759"/>
                    <a:gd name="connsiteY3034" fmla="*/ 516758 h 1475329"/>
                    <a:gd name="connsiteX3035" fmla="*/ 156353 w 4040759"/>
                    <a:gd name="connsiteY3035" fmla="*/ 517989 h 1475329"/>
                    <a:gd name="connsiteX3036" fmla="*/ 154796 w 4040759"/>
                    <a:gd name="connsiteY3036" fmla="*/ 520483 h 1475329"/>
                    <a:gd name="connsiteX3037" fmla="*/ 151919 w 4040759"/>
                    <a:gd name="connsiteY3037" fmla="*/ 522088 h 1475329"/>
                    <a:gd name="connsiteX3038" fmla="*/ 149026 w 4040759"/>
                    <a:gd name="connsiteY3038" fmla="*/ 522830 h 1475329"/>
                    <a:gd name="connsiteX3039" fmla="*/ 150403 w 4040759"/>
                    <a:gd name="connsiteY3039" fmla="*/ 523417 h 1475329"/>
                    <a:gd name="connsiteX3040" fmla="*/ 154144 w 4040759"/>
                    <a:gd name="connsiteY3040" fmla="*/ 523196 h 1475329"/>
                    <a:gd name="connsiteX3041" fmla="*/ 167689 w 4040759"/>
                    <a:gd name="connsiteY3041" fmla="*/ 527288 h 1475329"/>
                    <a:gd name="connsiteX3042" fmla="*/ 174795 w 4040759"/>
                    <a:gd name="connsiteY3042" fmla="*/ 531411 h 1475329"/>
                    <a:gd name="connsiteX3043" fmla="*/ 182049 w 4040759"/>
                    <a:gd name="connsiteY3043" fmla="*/ 538925 h 1475329"/>
                    <a:gd name="connsiteX3044" fmla="*/ 184396 w 4040759"/>
                    <a:gd name="connsiteY3044" fmla="*/ 542642 h 1475329"/>
                    <a:gd name="connsiteX3045" fmla="*/ 184559 w 4040759"/>
                    <a:gd name="connsiteY3045" fmla="*/ 544687 h 1475329"/>
                    <a:gd name="connsiteX3046" fmla="*/ 184168 w 4040759"/>
                    <a:gd name="connsiteY3046" fmla="*/ 546733 h 1475329"/>
                    <a:gd name="connsiteX3047" fmla="*/ 183108 w 4040759"/>
                    <a:gd name="connsiteY3047" fmla="*/ 548933 h 1475329"/>
                    <a:gd name="connsiteX3048" fmla="*/ 182635 w 4040759"/>
                    <a:gd name="connsiteY3048" fmla="*/ 551150 h 1475329"/>
                    <a:gd name="connsiteX3049" fmla="*/ 180158 w 4040759"/>
                    <a:gd name="connsiteY3049" fmla="*/ 557678 h 1475329"/>
                    <a:gd name="connsiteX3050" fmla="*/ 178389 w 4040759"/>
                    <a:gd name="connsiteY3050" fmla="*/ 559936 h 1475329"/>
                    <a:gd name="connsiteX3051" fmla="*/ 174975 w 4040759"/>
                    <a:gd name="connsiteY3051" fmla="*/ 562511 h 1475329"/>
                    <a:gd name="connsiteX3052" fmla="*/ 178186 w 4040759"/>
                    <a:gd name="connsiteY3052" fmla="*/ 567490 h 1475329"/>
                    <a:gd name="connsiteX3053" fmla="*/ 181535 w 4040759"/>
                    <a:gd name="connsiteY3053" fmla="*/ 572119 h 1475329"/>
                    <a:gd name="connsiteX3054" fmla="*/ 184819 w 4040759"/>
                    <a:gd name="connsiteY3054" fmla="*/ 579796 h 1475329"/>
                    <a:gd name="connsiteX3055" fmla="*/ 185406 w 4040759"/>
                    <a:gd name="connsiteY3055" fmla="*/ 582877 h 1475329"/>
                    <a:gd name="connsiteX3056" fmla="*/ 185545 w 4040759"/>
                    <a:gd name="connsiteY3056" fmla="*/ 587604 h 1475329"/>
                    <a:gd name="connsiteX3057" fmla="*/ 188511 w 4040759"/>
                    <a:gd name="connsiteY3057" fmla="*/ 589454 h 1475329"/>
                    <a:gd name="connsiteX3058" fmla="*/ 187354 w 4040759"/>
                    <a:gd name="connsiteY3058" fmla="*/ 590195 h 1475329"/>
                    <a:gd name="connsiteX3059" fmla="*/ 186180 w 4040759"/>
                    <a:gd name="connsiteY3059" fmla="*/ 591532 h 1475329"/>
                    <a:gd name="connsiteX3060" fmla="*/ 186457 w 4040759"/>
                    <a:gd name="connsiteY3060" fmla="*/ 597677 h 1475329"/>
                    <a:gd name="connsiteX3061" fmla="*/ 190565 w 4040759"/>
                    <a:gd name="connsiteY3061" fmla="*/ 602697 h 1475329"/>
                    <a:gd name="connsiteX3062" fmla="*/ 196743 w 4040759"/>
                    <a:gd name="connsiteY3062" fmla="*/ 605941 h 1475329"/>
                    <a:gd name="connsiteX3063" fmla="*/ 200410 w 4040759"/>
                    <a:gd name="connsiteY3063" fmla="*/ 606601 h 1475329"/>
                    <a:gd name="connsiteX3064" fmla="*/ 205740 w 4040759"/>
                    <a:gd name="connsiteY3064" fmla="*/ 605281 h 1475329"/>
                    <a:gd name="connsiteX3065" fmla="*/ 209587 w 4040759"/>
                    <a:gd name="connsiteY3065" fmla="*/ 607082 h 1475329"/>
                    <a:gd name="connsiteX3066" fmla="*/ 218128 w 4040759"/>
                    <a:gd name="connsiteY3066" fmla="*/ 613186 h 1475329"/>
                    <a:gd name="connsiteX3067" fmla="*/ 221982 w 4040759"/>
                    <a:gd name="connsiteY3067" fmla="*/ 619632 h 1475329"/>
                    <a:gd name="connsiteX3068" fmla="*/ 223555 w 4040759"/>
                    <a:gd name="connsiteY3068" fmla="*/ 620944 h 1475329"/>
                    <a:gd name="connsiteX3069" fmla="*/ 232194 w 4040759"/>
                    <a:gd name="connsiteY3069" fmla="*/ 623349 h 1475329"/>
                    <a:gd name="connsiteX3070" fmla="*/ 238673 w 4040759"/>
                    <a:gd name="connsiteY3070" fmla="*/ 624824 h 1475329"/>
                    <a:gd name="connsiteX3071" fmla="*/ 248542 w 4040759"/>
                    <a:gd name="connsiteY3071" fmla="*/ 628687 h 1475329"/>
                    <a:gd name="connsiteX3072" fmla="*/ 250262 w 4040759"/>
                    <a:gd name="connsiteY3072" fmla="*/ 628825 h 1475329"/>
                    <a:gd name="connsiteX3073" fmla="*/ 255054 w 4040759"/>
                    <a:gd name="connsiteY3073" fmla="*/ 625492 h 1475329"/>
                    <a:gd name="connsiteX3074" fmla="*/ 263310 w 4040759"/>
                    <a:gd name="connsiteY3074" fmla="*/ 623177 h 1475329"/>
                    <a:gd name="connsiteX3075" fmla="*/ 265861 w 4040759"/>
                    <a:gd name="connsiteY3075" fmla="*/ 619991 h 1475329"/>
                    <a:gd name="connsiteX3076" fmla="*/ 265649 w 4040759"/>
                    <a:gd name="connsiteY3076" fmla="*/ 617277 h 1475329"/>
                    <a:gd name="connsiteX3077" fmla="*/ 263538 w 4040759"/>
                    <a:gd name="connsiteY3077" fmla="*/ 612436 h 1475329"/>
                    <a:gd name="connsiteX3078" fmla="*/ 262951 w 4040759"/>
                    <a:gd name="connsiteY3078" fmla="*/ 607709 h 1475329"/>
                    <a:gd name="connsiteX3079" fmla="*/ 260221 w 4040759"/>
                    <a:gd name="connsiteY3079" fmla="*/ 605786 h 1475329"/>
                    <a:gd name="connsiteX3080" fmla="*/ 257662 w 4040759"/>
                    <a:gd name="connsiteY3080" fmla="*/ 604498 h 1475329"/>
                    <a:gd name="connsiteX3081" fmla="*/ 249952 w 4040759"/>
                    <a:gd name="connsiteY3081" fmla="*/ 605484 h 1475329"/>
                    <a:gd name="connsiteX3082" fmla="*/ 246481 w 4040759"/>
                    <a:gd name="connsiteY3082" fmla="*/ 605297 h 1475329"/>
                    <a:gd name="connsiteX3083" fmla="*/ 243856 w 4040759"/>
                    <a:gd name="connsiteY3083" fmla="*/ 604017 h 1475329"/>
                    <a:gd name="connsiteX3084" fmla="*/ 240295 w 4040759"/>
                    <a:gd name="connsiteY3084" fmla="*/ 600643 h 1475329"/>
                    <a:gd name="connsiteX3085" fmla="*/ 233571 w 4040759"/>
                    <a:gd name="connsiteY3085" fmla="*/ 592429 h 1475329"/>
                    <a:gd name="connsiteX3086" fmla="*/ 229977 w 4040759"/>
                    <a:gd name="connsiteY3086" fmla="*/ 589690 h 1475329"/>
                    <a:gd name="connsiteX3087" fmla="*/ 228853 w 4040759"/>
                    <a:gd name="connsiteY3087" fmla="*/ 587995 h 1475329"/>
                    <a:gd name="connsiteX3088" fmla="*/ 227589 w 4040759"/>
                    <a:gd name="connsiteY3088" fmla="*/ 585623 h 1475329"/>
                    <a:gd name="connsiteX3089" fmla="*/ 227752 w 4040759"/>
                    <a:gd name="connsiteY3089" fmla="*/ 581793 h 1475329"/>
                    <a:gd name="connsiteX3090" fmla="*/ 230695 w 4040759"/>
                    <a:gd name="connsiteY3090" fmla="*/ 581915 h 1475329"/>
                    <a:gd name="connsiteX3091" fmla="*/ 233987 w 4040759"/>
                    <a:gd name="connsiteY3091" fmla="*/ 579748 h 1475329"/>
                    <a:gd name="connsiteX3092" fmla="*/ 236391 w 4040759"/>
                    <a:gd name="connsiteY3092" fmla="*/ 571940 h 1475329"/>
                    <a:gd name="connsiteX3093" fmla="*/ 240547 w 4040759"/>
                    <a:gd name="connsiteY3093" fmla="*/ 570946 h 1475329"/>
                    <a:gd name="connsiteX3094" fmla="*/ 242789 w 4040759"/>
                    <a:gd name="connsiteY3094" fmla="*/ 571019 h 1475329"/>
                    <a:gd name="connsiteX3095" fmla="*/ 252397 w 4040759"/>
                    <a:gd name="connsiteY3095" fmla="*/ 574646 h 1475329"/>
                    <a:gd name="connsiteX3096" fmla="*/ 264337 w 4040759"/>
                    <a:gd name="connsiteY3096" fmla="*/ 584311 h 1475329"/>
                    <a:gd name="connsiteX3097" fmla="*/ 266969 w 4040759"/>
                    <a:gd name="connsiteY3097" fmla="*/ 585322 h 1475329"/>
                    <a:gd name="connsiteX3098" fmla="*/ 269756 w 4040759"/>
                    <a:gd name="connsiteY3098" fmla="*/ 585460 h 1475329"/>
                    <a:gd name="connsiteX3099" fmla="*/ 274320 w 4040759"/>
                    <a:gd name="connsiteY3099" fmla="*/ 585208 h 1475329"/>
                    <a:gd name="connsiteX3100" fmla="*/ 275053 w 4040759"/>
                    <a:gd name="connsiteY3100" fmla="*/ 586479 h 1475329"/>
                    <a:gd name="connsiteX3101" fmla="*/ 277515 w 4040759"/>
                    <a:gd name="connsiteY3101" fmla="*/ 587987 h 1475329"/>
                    <a:gd name="connsiteX3102" fmla="*/ 279299 w 4040759"/>
                    <a:gd name="connsiteY3102" fmla="*/ 588174 h 1475329"/>
                    <a:gd name="connsiteX3103" fmla="*/ 290228 w 4040759"/>
                    <a:gd name="connsiteY3103" fmla="*/ 591230 h 1475329"/>
                    <a:gd name="connsiteX3104" fmla="*/ 302983 w 4040759"/>
                    <a:gd name="connsiteY3104" fmla="*/ 597245 h 1475329"/>
                    <a:gd name="connsiteX3105" fmla="*/ 307701 w 4040759"/>
                    <a:gd name="connsiteY3105" fmla="*/ 596960 h 1475329"/>
                    <a:gd name="connsiteX3106" fmla="*/ 309560 w 4040759"/>
                    <a:gd name="connsiteY3106" fmla="*/ 593643 h 1475329"/>
                    <a:gd name="connsiteX3107" fmla="*/ 309943 w 4040759"/>
                    <a:gd name="connsiteY3107" fmla="*/ 592208 h 1475329"/>
                    <a:gd name="connsiteX3108" fmla="*/ 315142 w 4040759"/>
                    <a:gd name="connsiteY3108" fmla="*/ 588843 h 1475329"/>
                    <a:gd name="connsiteX3109" fmla="*/ 318752 w 4040759"/>
                    <a:gd name="connsiteY3109" fmla="*/ 588280 h 1475329"/>
                    <a:gd name="connsiteX3110" fmla="*/ 323813 w 4040759"/>
                    <a:gd name="connsiteY3110" fmla="*/ 589511 h 1475329"/>
                    <a:gd name="connsiteX3111" fmla="*/ 324742 w 4040759"/>
                    <a:gd name="connsiteY3111" fmla="*/ 588508 h 1475329"/>
                    <a:gd name="connsiteX3112" fmla="*/ 323015 w 4040759"/>
                    <a:gd name="connsiteY3112" fmla="*/ 583570 h 1475329"/>
                    <a:gd name="connsiteX3113" fmla="*/ 320676 w 4040759"/>
                    <a:gd name="connsiteY3113" fmla="*/ 579283 h 1475329"/>
                    <a:gd name="connsiteX3114" fmla="*/ 317245 w 4040759"/>
                    <a:gd name="connsiteY3114" fmla="*/ 576537 h 1475329"/>
                    <a:gd name="connsiteX3115" fmla="*/ 311140 w 4040759"/>
                    <a:gd name="connsiteY3115" fmla="*/ 568468 h 1475329"/>
                    <a:gd name="connsiteX3116" fmla="*/ 308696 w 4040759"/>
                    <a:gd name="connsiteY3116" fmla="*/ 564450 h 1475329"/>
                    <a:gd name="connsiteX3117" fmla="*/ 307473 w 4040759"/>
                    <a:gd name="connsiteY3117" fmla="*/ 560302 h 1475329"/>
                    <a:gd name="connsiteX3118" fmla="*/ 308272 w 4040759"/>
                    <a:gd name="connsiteY3118" fmla="*/ 556635 h 1475329"/>
                    <a:gd name="connsiteX3119" fmla="*/ 309152 w 4040759"/>
                    <a:gd name="connsiteY3119" fmla="*/ 553954 h 1475329"/>
                    <a:gd name="connsiteX3120" fmla="*/ 321833 w 4040759"/>
                    <a:gd name="connsiteY3120" fmla="*/ 547434 h 1475329"/>
                    <a:gd name="connsiteX3121" fmla="*/ 326430 w 4040759"/>
                    <a:gd name="connsiteY3121" fmla="*/ 543522 h 1475329"/>
                    <a:gd name="connsiteX3122" fmla="*/ 330863 w 4040759"/>
                    <a:gd name="connsiteY3122" fmla="*/ 538437 h 1475329"/>
                    <a:gd name="connsiteX3123" fmla="*/ 332916 w 4040759"/>
                    <a:gd name="connsiteY3123" fmla="*/ 537402 h 1475329"/>
                    <a:gd name="connsiteX3124" fmla="*/ 340390 w 4040759"/>
                    <a:gd name="connsiteY3124" fmla="*/ 535975 h 1475329"/>
                    <a:gd name="connsiteX3125" fmla="*/ 350300 w 4040759"/>
                    <a:gd name="connsiteY3125" fmla="*/ 531615 h 1475329"/>
                    <a:gd name="connsiteX3126" fmla="*/ 357871 w 4040759"/>
                    <a:gd name="connsiteY3126" fmla="*/ 525821 h 1475329"/>
                    <a:gd name="connsiteX3127" fmla="*/ 365385 w 4040759"/>
                    <a:gd name="connsiteY3127" fmla="*/ 516995 h 1475329"/>
                    <a:gd name="connsiteX3128" fmla="*/ 368531 w 4040759"/>
                    <a:gd name="connsiteY3128" fmla="*/ 514696 h 1475329"/>
                    <a:gd name="connsiteX3129" fmla="*/ 371090 w 4040759"/>
                    <a:gd name="connsiteY3129" fmla="*/ 514900 h 1475329"/>
                    <a:gd name="connsiteX3130" fmla="*/ 374488 w 4040759"/>
                    <a:gd name="connsiteY3130" fmla="*/ 516294 h 1475329"/>
                    <a:gd name="connsiteX3131" fmla="*/ 378237 w 4040759"/>
                    <a:gd name="connsiteY3131" fmla="*/ 518853 h 1475329"/>
                    <a:gd name="connsiteX3132" fmla="*/ 383315 w 4040759"/>
                    <a:gd name="connsiteY3132" fmla="*/ 519325 h 1475329"/>
                    <a:gd name="connsiteX3133" fmla="*/ 388261 w 4040759"/>
                    <a:gd name="connsiteY3133" fmla="*/ 518926 h 1475329"/>
                    <a:gd name="connsiteX3134" fmla="*/ 393893 w 4040759"/>
                    <a:gd name="connsiteY3134" fmla="*/ 519146 h 1475329"/>
                    <a:gd name="connsiteX3135" fmla="*/ 401774 w 4040759"/>
                    <a:gd name="connsiteY3135" fmla="*/ 523180 h 1475329"/>
                    <a:gd name="connsiteX3136" fmla="*/ 403078 w 4040759"/>
                    <a:gd name="connsiteY3136" fmla="*/ 524460 h 1475329"/>
                    <a:gd name="connsiteX3137" fmla="*/ 404308 w 4040759"/>
                    <a:gd name="connsiteY3137" fmla="*/ 526187 h 1475329"/>
                    <a:gd name="connsiteX3138" fmla="*/ 401765 w 4040759"/>
                    <a:gd name="connsiteY3138" fmla="*/ 529488 h 1475329"/>
                    <a:gd name="connsiteX3139" fmla="*/ 401545 w 4040759"/>
                    <a:gd name="connsiteY3139" fmla="*/ 531623 h 1475329"/>
                    <a:gd name="connsiteX3140" fmla="*/ 403575 w 4040759"/>
                    <a:gd name="connsiteY3140" fmla="*/ 530629 h 1475329"/>
                    <a:gd name="connsiteX3141" fmla="*/ 406386 w 4040759"/>
                    <a:gd name="connsiteY3141" fmla="*/ 530132 h 1475329"/>
                    <a:gd name="connsiteX3142" fmla="*/ 409035 w 4040759"/>
                    <a:gd name="connsiteY3142" fmla="*/ 530808 h 1475329"/>
                    <a:gd name="connsiteX3143" fmla="*/ 411529 w 4040759"/>
                    <a:gd name="connsiteY3143" fmla="*/ 532675 h 1475329"/>
                    <a:gd name="connsiteX3144" fmla="*/ 413330 w 4040759"/>
                    <a:gd name="connsiteY3144" fmla="*/ 534761 h 1475329"/>
                    <a:gd name="connsiteX3145" fmla="*/ 415498 w 4040759"/>
                    <a:gd name="connsiteY3145" fmla="*/ 536513 h 1475329"/>
                    <a:gd name="connsiteX3146" fmla="*/ 416191 w 4040759"/>
                    <a:gd name="connsiteY3146" fmla="*/ 534125 h 1475329"/>
                    <a:gd name="connsiteX3147" fmla="*/ 416516 w 4040759"/>
                    <a:gd name="connsiteY3147" fmla="*/ 532080 h 1475329"/>
                    <a:gd name="connsiteX3148" fmla="*/ 415319 w 4040759"/>
                    <a:gd name="connsiteY3148" fmla="*/ 526856 h 1475329"/>
                    <a:gd name="connsiteX3149" fmla="*/ 418391 w 4040759"/>
                    <a:gd name="connsiteY3149" fmla="*/ 519505 h 1475329"/>
                    <a:gd name="connsiteX3150" fmla="*/ 420762 w 4040759"/>
                    <a:gd name="connsiteY3150" fmla="*/ 516318 h 1475329"/>
                    <a:gd name="connsiteX3151" fmla="*/ 425033 w 4040759"/>
                    <a:gd name="connsiteY3151" fmla="*/ 508168 h 1475329"/>
                    <a:gd name="connsiteX3152" fmla="*/ 423753 w 4040759"/>
                    <a:gd name="connsiteY3152" fmla="*/ 502896 h 1475329"/>
                    <a:gd name="connsiteX3153" fmla="*/ 423566 w 4040759"/>
                    <a:gd name="connsiteY3153" fmla="*/ 496751 h 1475329"/>
                    <a:gd name="connsiteX3154" fmla="*/ 422931 w 4040759"/>
                    <a:gd name="connsiteY3154" fmla="*/ 493882 h 1475329"/>
                    <a:gd name="connsiteX3155" fmla="*/ 420159 w 4040759"/>
                    <a:gd name="connsiteY3155" fmla="*/ 489783 h 1475329"/>
                    <a:gd name="connsiteX3156" fmla="*/ 414764 w 4040759"/>
                    <a:gd name="connsiteY3156" fmla="*/ 486865 h 1475329"/>
                    <a:gd name="connsiteX3157" fmla="*/ 409329 w 4040759"/>
                    <a:gd name="connsiteY3157" fmla="*/ 485944 h 1475329"/>
                    <a:gd name="connsiteX3158" fmla="*/ 407511 w 4040759"/>
                    <a:gd name="connsiteY3158" fmla="*/ 483100 h 1475329"/>
                    <a:gd name="connsiteX3159" fmla="*/ 407837 w 4040759"/>
                    <a:gd name="connsiteY3159" fmla="*/ 479856 h 1475329"/>
                    <a:gd name="connsiteX3160" fmla="*/ 409345 w 4040759"/>
                    <a:gd name="connsiteY3160" fmla="*/ 475105 h 1475329"/>
                    <a:gd name="connsiteX3161" fmla="*/ 413811 w 4040759"/>
                    <a:gd name="connsiteY3161" fmla="*/ 465081 h 1475329"/>
                    <a:gd name="connsiteX3162" fmla="*/ 418505 w 4040759"/>
                    <a:gd name="connsiteY3162" fmla="*/ 450957 h 1475329"/>
                    <a:gd name="connsiteX3163" fmla="*/ 418660 w 4040759"/>
                    <a:gd name="connsiteY3163" fmla="*/ 447657 h 1475329"/>
                    <a:gd name="connsiteX3164" fmla="*/ 418220 w 4040759"/>
                    <a:gd name="connsiteY3164" fmla="*/ 445856 h 1475329"/>
                    <a:gd name="connsiteX3165" fmla="*/ 418529 w 4040759"/>
                    <a:gd name="connsiteY3165" fmla="*/ 444030 h 1475329"/>
                    <a:gd name="connsiteX3166" fmla="*/ 417992 w 4040759"/>
                    <a:gd name="connsiteY3166" fmla="*/ 439694 h 1475329"/>
                    <a:gd name="connsiteX3167" fmla="*/ 417111 w 4040759"/>
                    <a:gd name="connsiteY3167" fmla="*/ 436483 h 1475329"/>
                    <a:gd name="connsiteX3168" fmla="*/ 398131 w 4040759"/>
                    <a:gd name="connsiteY3168" fmla="*/ 424161 h 1475329"/>
                    <a:gd name="connsiteX3169" fmla="*/ 396990 w 4040759"/>
                    <a:gd name="connsiteY3169" fmla="*/ 422963 h 1475329"/>
                    <a:gd name="connsiteX3170" fmla="*/ 396379 w 4040759"/>
                    <a:gd name="connsiteY3170" fmla="*/ 421317 h 1475329"/>
                    <a:gd name="connsiteX3171" fmla="*/ 398367 w 4040759"/>
                    <a:gd name="connsiteY3171" fmla="*/ 420950 h 1475329"/>
                    <a:gd name="connsiteX3172" fmla="*/ 399818 w 4040759"/>
                    <a:gd name="connsiteY3172" fmla="*/ 421031 h 1475329"/>
                    <a:gd name="connsiteX3173" fmla="*/ 414104 w 4040759"/>
                    <a:gd name="connsiteY3173" fmla="*/ 426785 h 1475329"/>
                    <a:gd name="connsiteX3174" fmla="*/ 417258 w 4040759"/>
                    <a:gd name="connsiteY3174" fmla="*/ 427095 h 1475329"/>
                    <a:gd name="connsiteX3175" fmla="*/ 439654 w 4040759"/>
                    <a:gd name="connsiteY3175" fmla="*/ 425489 h 1475329"/>
                    <a:gd name="connsiteX3176" fmla="*/ 450607 w 4040759"/>
                    <a:gd name="connsiteY3176" fmla="*/ 426875 h 1475329"/>
                    <a:gd name="connsiteX3177" fmla="*/ 459841 w 4040759"/>
                    <a:gd name="connsiteY3177" fmla="*/ 429817 h 1475329"/>
                    <a:gd name="connsiteX3178" fmla="*/ 466442 w 4040759"/>
                    <a:gd name="connsiteY3178" fmla="*/ 438048 h 1475329"/>
                    <a:gd name="connsiteX3179" fmla="*/ 473173 w 4040759"/>
                    <a:gd name="connsiteY3179" fmla="*/ 445578 h 1475329"/>
                    <a:gd name="connsiteX3180" fmla="*/ 479473 w 4040759"/>
                    <a:gd name="connsiteY3180" fmla="*/ 452049 h 1475329"/>
                    <a:gd name="connsiteX3181" fmla="*/ 479636 w 4040759"/>
                    <a:gd name="connsiteY3181" fmla="*/ 457347 h 1475329"/>
                    <a:gd name="connsiteX3182" fmla="*/ 473157 w 4040759"/>
                    <a:gd name="connsiteY3182" fmla="*/ 458439 h 1475329"/>
                    <a:gd name="connsiteX3183" fmla="*/ 466841 w 4040759"/>
                    <a:gd name="connsiteY3183" fmla="*/ 458675 h 1475329"/>
                    <a:gd name="connsiteX3184" fmla="*/ 450819 w 4040759"/>
                    <a:gd name="connsiteY3184" fmla="*/ 461307 h 1475329"/>
                    <a:gd name="connsiteX3185" fmla="*/ 446997 w 4040759"/>
                    <a:gd name="connsiteY3185" fmla="*/ 464298 h 1475329"/>
                    <a:gd name="connsiteX3186" fmla="*/ 436214 w 4040759"/>
                    <a:gd name="connsiteY3186" fmla="*/ 473459 h 1475329"/>
                    <a:gd name="connsiteX3187" fmla="*/ 435285 w 4040759"/>
                    <a:gd name="connsiteY3187" fmla="*/ 476246 h 1475329"/>
                    <a:gd name="connsiteX3188" fmla="*/ 436214 w 4040759"/>
                    <a:gd name="connsiteY3188" fmla="*/ 478935 h 1475329"/>
                    <a:gd name="connsiteX3189" fmla="*/ 441161 w 4040759"/>
                    <a:gd name="connsiteY3189" fmla="*/ 481796 h 1475329"/>
                    <a:gd name="connsiteX3190" fmla="*/ 451658 w 4040759"/>
                    <a:gd name="connsiteY3190" fmla="*/ 486066 h 1475329"/>
                    <a:gd name="connsiteX3191" fmla="*/ 456377 w 4040759"/>
                    <a:gd name="connsiteY3191" fmla="*/ 494534 h 1475329"/>
                    <a:gd name="connsiteX3192" fmla="*/ 459670 w 4040759"/>
                    <a:gd name="connsiteY3192" fmla="*/ 498755 h 1475329"/>
                    <a:gd name="connsiteX3193" fmla="*/ 462172 w 4040759"/>
                    <a:gd name="connsiteY3193" fmla="*/ 500385 h 1475329"/>
                    <a:gd name="connsiteX3194" fmla="*/ 464600 w 4040759"/>
                    <a:gd name="connsiteY3194" fmla="*/ 500809 h 1475329"/>
                    <a:gd name="connsiteX3195" fmla="*/ 469905 w 4040759"/>
                    <a:gd name="connsiteY3195" fmla="*/ 500826 h 1475329"/>
                    <a:gd name="connsiteX3196" fmla="*/ 473646 w 4040759"/>
                    <a:gd name="connsiteY3196" fmla="*/ 501852 h 1475329"/>
                    <a:gd name="connsiteX3197" fmla="*/ 474730 w 4040759"/>
                    <a:gd name="connsiteY3197" fmla="*/ 502667 h 1475329"/>
                    <a:gd name="connsiteX3198" fmla="*/ 476222 w 4040759"/>
                    <a:gd name="connsiteY3198" fmla="*/ 501852 h 1475329"/>
                    <a:gd name="connsiteX3199" fmla="*/ 479644 w 4040759"/>
                    <a:gd name="connsiteY3199" fmla="*/ 501575 h 1475329"/>
                    <a:gd name="connsiteX3200" fmla="*/ 499636 w 4040759"/>
                    <a:gd name="connsiteY3200" fmla="*/ 497093 h 1475329"/>
                    <a:gd name="connsiteX3201" fmla="*/ 503588 w 4040759"/>
                    <a:gd name="connsiteY3201" fmla="*/ 495104 h 1475329"/>
                    <a:gd name="connsiteX3202" fmla="*/ 504908 w 4040759"/>
                    <a:gd name="connsiteY3202" fmla="*/ 492130 h 1475329"/>
                    <a:gd name="connsiteX3203" fmla="*/ 506375 w 4040759"/>
                    <a:gd name="connsiteY3203" fmla="*/ 482179 h 1475329"/>
                    <a:gd name="connsiteX3204" fmla="*/ 508136 w 4040759"/>
                    <a:gd name="connsiteY3204" fmla="*/ 478723 h 1475329"/>
                    <a:gd name="connsiteX3205" fmla="*/ 509847 w 4040759"/>
                    <a:gd name="connsiteY3205" fmla="*/ 474445 h 1475329"/>
                    <a:gd name="connsiteX3206" fmla="*/ 509204 w 4040759"/>
                    <a:gd name="connsiteY3206" fmla="*/ 471812 h 1475329"/>
                    <a:gd name="connsiteX3207" fmla="*/ 509016 w 4040759"/>
                    <a:gd name="connsiteY3207" fmla="*/ 468830 h 1475329"/>
                    <a:gd name="connsiteX3208" fmla="*/ 519032 w 4040759"/>
                    <a:gd name="connsiteY3208" fmla="*/ 465969 h 1475329"/>
                    <a:gd name="connsiteX3209" fmla="*/ 528339 w 4040759"/>
                    <a:gd name="connsiteY3209" fmla="*/ 464013 h 1475329"/>
                    <a:gd name="connsiteX3210" fmla="*/ 532789 w 4040759"/>
                    <a:gd name="connsiteY3210" fmla="*/ 464616 h 1475329"/>
                    <a:gd name="connsiteX3211" fmla="*/ 533897 w 4040759"/>
                    <a:gd name="connsiteY3211" fmla="*/ 462448 h 1475329"/>
                    <a:gd name="connsiteX3212" fmla="*/ 531036 w 4040759"/>
                    <a:gd name="connsiteY3212" fmla="*/ 458292 h 1475329"/>
                    <a:gd name="connsiteX3213" fmla="*/ 529374 w 4040759"/>
                    <a:gd name="connsiteY3213" fmla="*/ 456238 h 1475329"/>
                    <a:gd name="connsiteX3214" fmla="*/ 530841 w 4040759"/>
                    <a:gd name="connsiteY3214" fmla="*/ 455293 h 1475329"/>
                    <a:gd name="connsiteX3215" fmla="*/ 532968 w 4040759"/>
                    <a:gd name="connsiteY3215" fmla="*/ 456442 h 1475329"/>
                    <a:gd name="connsiteX3216" fmla="*/ 535780 w 4040759"/>
                    <a:gd name="connsiteY3216" fmla="*/ 457127 h 1475329"/>
                    <a:gd name="connsiteX3217" fmla="*/ 540775 w 4040759"/>
                    <a:gd name="connsiteY3217" fmla="*/ 456401 h 1475329"/>
                    <a:gd name="connsiteX3218" fmla="*/ 560017 w 4040759"/>
                    <a:gd name="connsiteY3218" fmla="*/ 447926 h 1475329"/>
                    <a:gd name="connsiteX3219" fmla="*/ 567515 w 4040759"/>
                    <a:gd name="connsiteY3219" fmla="*/ 443117 h 1475329"/>
                    <a:gd name="connsiteX3220" fmla="*/ 571989 w 4040759"/>
                    <a:gd name="connsiteY3220" fmla="*/ 441235 h 1475329"/>
                    <a:gd name="connsiteX3221" fmla="*/ 579079 w 4040759"/>
                    <a:gd name="connsiteY3221" fmla="*/ 436891 h 1475329"/>
                    <a:gd name="connsiteX3222" fmla="*/ 582535 w 4040759"/>
                    <a:gd name="connsiteY3222" fmla="*/ 435481 h 1475329"/>
                    <a:gd name="connsiteX3223" fmla="*/ 588476 w 4040759"/>
                    <a:gd name="connsiteY3223" fmla="*/ 434902 h 1475329"/>
                    <a:gd name="connsiteX3224" fmla="*/ 594873 w 4040759"/>
                    <a:gd name="connsiteY3224" fmla="*/ 433191 h 1475329"/>
                    <a:gd name="connsiteX3225" fmla="*/ 601825 w 4040759"/>
                    <a:gd name="connsiteY3225" fmla="*/ 429955 h 1475329"/>
                    <a:gd name="connsiteX3226" fmla="*/ 611206 w 4040759"/>
                    <a:gd name="connsiteY3226" fmla="*/ 427225 h 1475329"/>
                    <a:gd name="connsiteX3227" fmla="*/ 612721 w 4040759"/>
                    <a:gd name="connsiteY3227" fmla="*/ 427111 h 1475329"/>
                    <a:gd name="connsiteX3228" fmla="*/ 614522 w 4040759"/>
                    <a:gd name="connsiteY3228" fmla="*/ 427511 h 1475329"/>
                    <a:gd name="connsiteX3229" fmla="*/ 618410 w 4040759"/>
                    <a:gd name="connsiteY3229" fmla="*/ 430697 h 1475329"/>
                    <a:gd name="connsiteX3230" fmla="*/ 616976 w 4040759"/>
                    <a:gd name="connsiteY3230" fmla="*/ 432482 h 1475329"/>
                    <a:gd name="connsiteX3231" fmla="*/ 615883 w 4040759"/>
                    <a:gd name="connsiteY3231" fmla="*/ 434421 h 1475329"/>
                    <a:gd name="connsiteX3232" fmla="*/ 617758 w 4040759"/>
                    <a:gd name="connsiteY3232" fmla="*/ 435440 h 1475329"/>
                    <a:gd name="connsiteX3233" fmla="*/ 619331 w 4040759"/>
                    <a:gd name="connsiteY3233" fmla="*/ 435937 h 1475329"/>
                    <a:gd name="connsiteX3234" fmla="*/ 621172 w 4040759"/>
                    <a:gd name="connsiteY3234" fmla="*/ 435408 h 1475329"/>
                    <a:gd name="connsiteX3235" fmla="*/ 623112 w 4040759"/>
                    <a:gd name="connsiteY3235" fmla="*/ 434079 h 1475329"/>
                    <a:gd name="connsiteX3236" fmla="*/ 627945 w 4040759"/>
                    <a:gd name="connsiteY3236" fmla="*/ 432131 h 1475329"/>
                    <a:gd name="connsiteX3237" fmla="*/ 629257 w 4040759"/>
                    <a:gd name="connsiteY3237" fmla="*/ 429613 h 1475329"/>
                    <a:gd name="connsiteX3238" fmla="*/ 627391 w 4040759"/>
                    <a:gd name="connsiteY3238" fmla="*/ 428651 h 1475329"/>
                    <a:gd name="connsiteX3239" fmla="*/ 624970 w 4040759"/>
                    <a:gd name="connsiteY3239" fmla="*/ 424870 h 1475329"/>
                    <a:gd name="connsiteX3240" fmla="*/ 622126 w 4040759"/>
                    <a:gd name="connsiteY3240" fmla="*/ 424088 h 1475329"/>
                    <a:gd name="connsiteX3241" fmla="*/ 619861 w 4040759"/>
                    <a:gd name="connsiteY3241" fmla="*/ 424177 h 1475329"/>
                    <a:gd name="connsiteX3242" fmla="*/ 628288 w 4040759"/>
                    <a:gd name="connsiteY3242" fmla="*/ 418774 h 1475329"/>
                    <a:gd name="connsiteX3243" fmla="*/ 646372 w 4040759"/>
                    <a:gd name="connsiteY3243" fmla="*/ 410795 h 1475329"/>
                    <a:gd name="connsiteX3244" fmla="*/ 656021 w 4040759"/>
                    <a:gd name="connsiteY3244" fmla="*/ 407120 h 1475329"/>
                    <a:gd name="connsiteX3245" fmla="*/ 665540 w 4040759"/>
                    <a:gd name="connsiteY3245" fmla="*/ 406802 h 1475329"/>
                    <a:gd name="connsiteX3246" fmla="*/ 673119 w 4040759"/>
                    <a:gd name="connsiteY3246" fmla="*/ 407283 h 1475329"/>
                    <a:gd name="connsiteX3247" fmla="*/ 670267 w 4040759"/>
                    <a:gd name="connsiteY3247" fmla="*/ 408497 h 1475329"/>
                    <a:gd name="connsiteX3248" fmla="*/ 657822 w 4040759"/>
                    <a:gd name="connsiteY3248" fmla="*/ 410176 h 1475329"/>
                    <a:gd name="connsiteX3249" fmla="*/ 655915 w 4040759"/>
                    <a:gd name="connsiteY3249" fmla="*/ 411015 h 1475329"/>
                    <a:gd name="connsiteX3250" fmla="*/ 655931 w 4040759"/>
                    <a:gd name="connsiteY3250" fmla="*/ 412026 h 1475329"/>
                    <a:gd name="connsiteX3251" fmla="*/ 658930 w 4040759"/>
                    <a:gd name="connsiteY3251" fmla="*/ 412621 h 1475329"/>
                    <a:gd name="connsiteX3252" fmla="*/ 660210 w 4040759"/>
                    <a:gd name="connsiteY3252" fmla="*/ 413803 h 1475329"/>
                    <a:gd name="connsiteX3253" fmla="*/ 659183 w 4040759"/>
                    <a:gd name="connsiteY3253" fmla="*/ 415229 h 1475329"/>
                    <a:gd name="connsiteX3254" fmla="*/ 658238 w 4040759"/>
                    <a:gd name="connsiteY3254" fmla="*/ 415677 h 1475329"/>
                    <a:gd name="connsiteX3255" fmla="*/ 656812 w 4040759"/>
                    <a:gd name="connsiteY3255" fmla="*/ 419752 h 1475329"/>
                    <a:gd name="connsiteX3256" fmla="*/ 654953 w 4040759"/>
                    <a:gd name="connsiteY3256" fmla="*/ 423044 h 1475329"/>
                    <a:gd name="connsiteX3257" fmla="*/ 658898 w 4040759"/>
                    <a:gd name="connsiteY3257" fmla="*/ 427299 h 1475329"/>
                    <a:gd name="connsiteX3258" fmla="*/ 659216 w 4040759"/>
                    <a:gd name="connsiteY3258" fmla="*/ 431740 h 1475329"/>
                    <a:gd name="connsiteX3259" fmla="*/ 656706 w 4040759"/>
                    <a:gd name="connsiteY3259" fmla="*/ 434055 h 1475329"/>
                    <a:gd name="connsiteX3260" fmla="*/ 653242 w 4040759"/>
                    <a:gd name="connsiteY3260" fmla="*/ 433191 h 1475329"/>
                    <a:gd name="connsiteX3261" fmla="*/ 650194 w 4040759"/>
                    <a:gd name="connsiteY3261" fmla="*/ 434739 h 1475329"/>
                    <a:gd name="connsiteX3262" fmla="*/ 644636 w 4040759"/>
                    <a:gd name="connsiteY3262" fmla="*/ 435782 h 1475329"/>
                    <a:gd name="connsiteX3263" fmla="*/ 643413 w 4040759"/>
                    <a:gd name="connsiteY3263" fmla="*/ 437160 h 1475329"/>
                    <a:gd name="connsiteX3264" fmla="*/ 642598 w 4040759"/>
                    <a:gd name="connsiteY3264" fmla="*/ 439091 h 1475329"/>
                    <a:gd name="connsiteX3265" fmla="*/ 646135 w 4040759"/>
                    <a:gd name="connsiteY3265" fmla="*/ 439556 h 1475329"/>
                    <a:gd name="connsiteX3266" fmla="*/ 648915 w 4040759"/>
                    <a:gd name="connsiteY3266" fmla="*/ 439434 h 1475329"/>
                    <a:gd name="connsiteX3267" fmla="*/ 658792 w 4040759"/>
                    <a:gd name="connsiteY3267" fmla="*/ 440680 h 1475329"/>
                    <a:gd name="connsiteX3268" fmla="*/ 660145 w 4040759"/>
                    <a:gd name="connsiteY3268" fmla="*/ 440852 h 1475329"/>
                    <a:gd name="connsiteX3269" fmla="*/ 663396 w 4040759"/>
                    <a:gd name="connsiteY3269" fmla="*/ 439466 h 1475329"/>
                    <a:gd name="connsiteX3270" fmla="*/ 666713 w 4040759"/>
                    <a:gd name="connsiteY3270" fmla="*/ 439148 h 1475329"/>
                    <a:gd name="connsiteX3271" fmla="*/ 670707 w 4040759"/>
                    <a:gd name="connsiteY3271" fmla="*/ 438757 h 1475329"/>
                    <a:gd name="connsiteX3272" fmla="*/ 672752 w 4040759"/>
                    <a:gd name="connsiteY3272" fmla="*/ 437926 h 1475329"/>
                    <a:gd name="connsiteX3273" fmla="*/ 674863 w 4040759"/>
                    <a:gd name="connsiteY3273" fmla="*/ 438855 h 1475329"/>
                    <a:gd name="connsiteX3274" fmla="*/ 678734 w 4040759"/>
                    <a:gd name="connsiteY3274" fmla="*/ 442734 h 1475329"/>
                    <a:gd name="connsiteX3275" fmla="*/ 682304 w 4040759"/>
                    <a:gd name="connsiteY3275" fmla="*/ 441960 h 1475329"/>
                    <a:gd name="connsiteX3276" fmla="*/ 683836 w 4040759"/>
                    <a:gd name="connsiteY3276" fmla="*/ 434438 h 1475329"/>
                    <a:gd name="connsiteX3277" fmla="*/ 689484 w 4040759"/>
                    <a:gd name="connsiteY3277" fmla="*/ 429792 h 1475329"/>
                    <a:gd name="connsiteX3278" fmla="*/ 696101 w 4040759"/>
                    <a:gd name="connsiteY3278" fmla="*/ 425938 h 1475329"/>
                    <a:gd name="connsiteX3279" fmla="*/ 702491 w 4040759"/>
                    <a:gd name="connsiteY3279" fmla="*/ 425595 h 1475329"/>
                    <a:gd name="connsiteX3280" fmla="*/ 708668 w 4040759"/>
                    <a:gd name="connsiteY3280" fmla="*/ 422890 h 1475329"/>
                    <a:gd name="connsiteX3281" fmla="*/ 711626 w 4040759"/>
                    <a:gd name="connsiteY3281" fmla="*/ 422384 h 1475329"/>
                    <a:gd name="connsiteX3282" fmla="*/ 717380 w 4040759"/>
                    <a:gd name="connsiteY3282" fmla="*/ 423485 h 1475329"/>
                    <a:gd name="connsiteX3283" fmla="*/ 725921 w 4040759"/>
                    <a:gd name="connsiteY3283" fmla="*/ 423705 h 1475329"/>
                    <a:gd name="connsiteX3284" fmla="*/ 733093 w 4040759"/>
                    <a:gd name="connsiteY3284" fmla="*/ 425995 h 1475329"/>
                    <a:gd name="connsiteX3285" fmla="*/ 738488 w 4040759"/>
                    <a:gd name="connsiteY3285" fmla="*/ 426557 h 1475329"/>
                    <a:gd name="connsiteX3286" fmla="*/ 746361 w 4040759"/>
                    <a:gd name="connsiteY3286" fmla="*/ 422710 h 1475329"/>
                    <a:gd name="connsiteX3287" fmla="*/ 764437 w 4040759"/>
                    <a:gd name="connsiteY3287" fmla="*/ 411798 h 1475329"/>
                    <a:gd name="connsiteX3288" fmla="*/ 766026 w 4040759"/>
                    <a:gd name="connsiteY3288" fmla="*/ 414259 h 1475329"/>
                    <a:gd name="connsiteX3289" fmla="*/ 768927 w 4040759"/>
                    <a:gd name="connsiteY3289" fmla="*/ 410632 h 1475329"/>
                    <a:gd name="connsiteX3290" fmla="*/ 782936 w 4040759"/>
                    <a:gd name="connsiteY3290" fmla="*/ 406769 h 1475329"/>
                    <a:gd name="connsiteX3291" fmla="*/ 786376 w 4040759"/>
                    <a:gd name="connsiteY3291" fmla="*/ 406672 h 1475329"/>
                    <a:gd name="connsiteX3292" fmla="*/ 786425 w 4040759"/>
                    <a:gd name="connsiteY3292" fmla="*/ 408155 h 1475329"/>
                    <a:gd name="connsiteX3293" fmla="*/ 787680 w 4040759"/>
                    <a:gd name="connsiteY3293" fmla="*/ 411513 h 1475329"/>
                    <a:gd name="connsiteX3294" fmla="*/ 790410 w 4040759"/>
                    <a:gd name="connsiteY3294" fmla="*/ 413566 h 1475329"/>
                    <a:gd name="connsiteX3295" fmla="*/ 794134 w 4040759"/>
                    <a:gd name="connsiteY3295" fmla="*/ 418456 h 1475329"/>
                    <a:gd name="connsiteX3296" fmla="*/ 792350 w 4040759"/>
                    <a:gd name="connsiteY3296" fmla="*/ 419776 h 1475329"/>
                    <a:gd name="connsiteX3297" fmla="*/ 790467 w 4040759"/>
                    <a:gd name="connsiteY3297" fmla="*/ 420526 h 1475329"/>
                    <a:gd name="connsiteX3298" fmla="*/ 787729 w 4040759"/>
                    <a:gd name="connsiteY3298" fmla="*/ 423819 h 1475329"/>
                    <a:gd name="connsiteX3299" fmla="*/ 787403 w 4040759"/>
                    <a:gd name="connsiteY3299" fmla="*/ 431357 h 1475329"/>
                    <a:gd name="connsiteX3300" fmla="*/ 792660 w 4040759"/>
                    <a:gd name="connsiteY3300" fmla="*/ 433289 h 1475329"/>
                    <a:gd name="connsiteX3301" fmla="*/ 799937 w 4040759"/>
                    <a:gd name="connsiteY3301" fmla="*/ 435432 h 1475329"/>
                    <a:gd name="connsiteX3302" fmla="*/ 802944 w 4040759"/>
                    <a:gd name="connsiteY3302" fmla="*/ 435416 h 1475329"/>
                    <a:gd name="connsiteX3303" fmla="*/ 805471 w 4040759"/>
                    <a:gd name="connsiteY3303" fmla="*/ 434161 h 1475329"/>
                    <a:gd name="connsiteX3304" fmla="*/ 806245 w 4040759"/>
                    <a:gd name="connsiteY3304" fmla="*/ 433468 h 1475329"/>
                    <a:gd name="connsiteX3305" fmla="*/ 807207 w 4040759"/>
                    <a:gd name="connsiteY3305" fmla="*/ 432343 h 1475329"/>
                    <a:gd name="connsiteX3306" fmla="*/ 807842 w 4040759"/>
                    <a:gd name="connsiteY3306" fmla="*/ 430175 h 1475329"/>
                    <a:gd name="connsiteX3307" fmla="*/ 808298 w 4040759"/>
                    <a:gd name="connsiteY3307" fmla="*/ 428464 h 1475329"/>
                    <a:gd name="connsiteX3308" fmla="*/ 806400 w 4040759"/>
                    <a:gd name="connsiteY3308" fmla="*/ 424316 h 1475329"/>
                    <a:gd name="connsiteX3309" fmla="*/ 807174 w 4040759"/>
                    <a:gd name="connsiteY3309" fmla="*/ 419866 h 1475329"/>
                    <a:gd name="connsiteX3310" fmla="*/ 813726 w 4040759"/>
                    <a:gd name="connsiteY3310" fmla="*/ 420159 h 1475329"/>
                    <a:gd name="connsiteX3311" fmla="*/ 821884 w 4040759"/>
                    <a:gd name="connsiteY3311" fmla="*/ 418872 h 1475329"/>
                    <a:gd name="connsiteX3312" fmla="*/ 825568 w 4040759"/>
                    <a:gd name="connsiteY3312" fmla="*/ 416321 h 1475329"/>
                    <a:gd name="connsiteX3313" fmla="*/ 829969 w 4040759"/>
                    <a:gd name="connsiteY3313" fmla="*/ 411561 h 1475329"/>
                    <a:gd name="connsiteX3314" fmla="*/ 832903 w 4040759"/>
                    <a:gd name="connsiteY3314" fmla="*/ 407527 h 1475329"/>
                    <a:gd name="connsiteX3315" fmla="*/ 831044 w 4040759"/>
                    <a:gd name="connsiteY3315" fmla="*/ 400527 h 1475329"/>
                    <a:gd name="connsiteX3316" fmla="*/ 826236 w 4040759"/>
                    <a:gd name="connsiteY3316" fmla="*/ 402075 h 1475329"/>
                    <a:gd name="connsiteX3317" fmla="*/ 818127 w 4040759"/>
                    <a:gd name="connsiteY3317" fmla="*/ 386737 h 1475329"/>
                    <a:gd name="connsiteX3318" fmla="*/ 813987 w 4040759"/>
                    <a:gd name="connsiteY3318" fmla="*/ 380796 h 1475329"/>
                    <a:gd name="connsiteX3319" fmla="*/ 816611 w 4040759"/>
                    <a:gd name="connsiteY3319" fmla="*/ 378066 h 1475329"/>
                    <a:gd name="connsiteX3320" fmla="*/ 823612 w 4040759"/>
                    <a:gd name="connsiteY3320" fmla="*/ 376298 h 1475329"/>
                    <a:gd name="connsiteX3321" fmla="*/ 829912 w 4040759"/>
                    <a:gd name="connsiteY3321" fmla="*/ 370568 h 1475329"/>
                    <a:gd name="connsiteX3322" fmla="*/ 832299 w 4040759"/>
                    <a:gd name="connsiteY3322" fmla="*/ 369411 h 1475329"/>
                    <a:gd name="connsiteX3323" fmla="*/ 834940 w 4040759"/>
                    <a:gd name="connsiteY3323" fmla="*/ 369224 h 1475329"/>
                    <a:gd name="connsiteX3324" fmla="*/ 853660 w 4040759"/>
                    <a:gd name="connsiteY3324" fmla="*/ 373152 h 1475329"/>
                    <a:gd name="connsiteX3325" fmla="*/ 875012 w 4040759"/>
                    <a:gd name="connsiteY3325" fmla="*/ 374040 h 1475329"/>
                    <a:gd name="connsiteX3326" fmla="*/ 893121 w 4040759"/>
                    <a:gd name="connsiteY3326" fmla="*/ 377064 h 1475329"/>
                    <a:gd name="connsiteX3327" fmla="*/ 913675 w 4040759"/>
                    <a:gd name="connsiteY3327" fmla="*/ 383298 h 1475329"/>
                    <a:gd name="connsiteX3328" fmla="*/ 923650 w 4040759"/>
                    <a:gd name="connsiteY3328" fmla="*/ 387691 h 1475329"/>
                    <a:gd name="connsiteX3329" fmla="*/ 931979 w 4040759"/>
                    <a:gd name="connsiteY3329" fmla="*/ 392573 h 1475329"/>
                    <a:gd name="connsiteX3330" fmla="*/ 931189 w 4040759"/>
                    <a:gd name="connsiteY3330" fmla="*/ 396004 h 1475329"/>
                    <a:gd name="connsiteX3331" fmla="*/ 934546 w 4040759"/>
                    <a:gd name="connsiteY3331" fmla="*/ 395034 h 1475329"/>
                    <a:gd name="connsiteX3332" fmla="*/ 941856 w 4040759"/>
                    <a:gd name="connsiteY3332" fmla="*/ 398057 h 1475329"/>
                    <a:gd name="connsiteX3333" fmla="*/ 946860 w 4040759"/>
                    <a:gd name="connsiteY3333" fmla="*/ 399288 h 1475329"/>
                    <a:gd name="connsiteX3334" fmla="*/ 952003 w 4040759"/>
                    <a:gd name="connsiteY3334" fmla="*/ 401105 h 1475329"/>
                    <a:gd name="connsiteX3335" fmla="*/ 953910 w 4040759"/>
                    <a:gd name="connsiteY3335" fmla="*/ 403550 h 1475329"/>
                    <a:gd name="connsiteX3336" fmla="*/ 960674 w 4040759"/>
                    <a:gd name="connsiteY3336" fmla="*/ 405335 h 1475329"/>
                    <a:gd name="connsiteX3337" fmla="*/ 967634 w 4040759"/>
                    <a:gd name="connsiteY3337" fmla="*/ 408652 h 1475329"/>
                    <a:gd name="connsiteX3338" fmla="*/ 968889 w 4040759"/>
                    <a:gd name="connsiteY3338" fmla="*/ 409247 h 1475329"/>
                    <a:gd name="connsiteX3339" fmla="*/ 977324 w 4040759"/>
                    <a:gd name="connsiteY3339" fmla="*/ 411700 h 1475329"/>
                    <a:gd name="connsiteX3340" fmla="*/ 983428 w 4040759"/>
                    <a:gd name="connsiteY3340" fmla="*/ 412515 h 1475329"/>
                    <a:gd name="connsiteX3341" fmla="*/ 987071 w 4040759"/>
                    <a:gd name="connsiteY3341" fmla="*/ 417780 h 1475329"/>
                    <a:gd name="connsiteX3342" fmla="*/ 999222 w 4040759"/>
                    <a:gd name="connsiteY3342" fmla="*/ 425440 h 1475329"/>
                    <a:gd name="connsiteX3343" fmla="*/ 1001496 w 4040759"/>
                    <a:gd name="connsiteY3343" fmla="*/ 428325 h 1475329"/>
                    <a:gd name="connsiteX3344" fmla="*/ 1012058 w 4040759"/>
                    <a:gd name="connsiteY3344" fmla="*/ 433142 h 1475329"/>
                    <a:gd name="connsiteX3345" fmla="*/ 1017372 w 4040759"/>
                    <a:gd name="connsiteY3345" fmla="*/ 437046 h 1475329"/>
                    <a:gd name="connsiteX3346" fmla="*/ 1020672 w 4040759"/>
                    <a:gd name="connsiteY3346" fmla="*/ 435562 h 1475329"/>
                    <a:gd name="connsiteX3347" fmla="*/ 1028741 w 4040759"/>
                    <a:gd name="connsiteY3347" fmla="*/ 425962 h 1475329"/>
                    <a:gd name="connsiteX3348" fmla="*/ 1033574 w 4040759"/>
                    <a:gd name="connsiteY3348" fmla="*/ 414960 h 1475329"/>
                    <a:gd name="connsiteX3349" fmla="*/ 1036459 w 4040759"/>
                    <a:gd name="connsiteY3349" fmla="*/ 409125 h 1475329"/>
                    <a:gd name="connsiteX3350" fmla="*/ 1031096 w 4040759"/>
                    <a:gd name="connsiteY3350" fmla="*/ 408880 h 1475329"/>
                    <a:gd name="connsiteX3351" fmla="*/ 1027086 w 4040759"/>
                    <a:gd name="connsiteY3351" fmla="*/ 410583 h 1475329"/>
                    <a:gd name="connsiteX3352" fmla="*/ 1024535 w 4040759"/>
                    <a:gd name="connsiteY3352" fmla="*/ 410143 h 1475329"/>
                    <a:gd name="connsiteX3353" fmla="*/ 1021626 w 4040759"/>
                    <a:gd name="connsiteY3353" fmla="*/ 408399 h 1475329"/>
                    <a:gd name="connsiteX3354" fmla="*/ 1016973 w 4040759"/>
                    <a:gd name="connsiteY3354" fmla="*/ 403966 h 1475329"/>
                    <a:gd name="connsiteX3355" fmla="*/ 1011080 w 4040759"/>
                    <a:gd name="connsiteY3355" fmla="*/ 396517 h 1475329"/>
                    <a:gd name="connsiteX3356" fmla="*/ 1009988 w 4040759"/>
                    <a:gd name="connsiteY3356" fmla="*/ 388351 h 1475329"/>
                    <a:gd name="connsiteX3357" fmla="*/ 1008318 w 4040759"/>
                    <a:gd name="connsiteY3357" fmla="*/ 385719 h 1475329"/>
                    <a:gd name="connsiteX3358" fmla="*/ 1002564 w 4040759"/>
                    <a:gd name="connsiteY3358" fmla="*/ 383510 h 1475329"/>
                    <a:gd name="connsiteX3359" fmla="*/ 998839 w 4040759"/>
                    <a:gd name="connsiteY3359" fmla="*/ 381090 h 1475329"/>
                    <a:gd name="connsiteX3360" fmla="*/ 984960 w 4040759"/>
                    <a:gd name="connsiteY3360" fmla="*/ 376241 h 1475329"/>
                    <a:gd name="connsiteX3361" fmla="*/ 982475 w 4040759"/>
                    <a:gd name="connsiteY3361" fmla="*/ 377936 h 1475329"/>
                    <a:gd name="connsiteX3362" fmla="*/ 981733 w 4040759"/>
                    <a:gd name="connsiteY3362" fmla="*/ 380552 h 1475329"/>
                    <a:gd name="connsiteX3363" fmla="*/ 980804 w 4040759"/>
                    <a:gd name="connsiteY3363" fmla="*/ 382451 h 1475329"/>
                    <a:gd name="connsiteX3364" fmla="*/ 979402 w 4040759"/>
                    <a:gd name="connsiteY3364" fmla="*/ 379998 h 1475329"/>
                    <a:gd name="connsiteX3365" fmla="*/ 978506 w 4040759"/>
                    <a:gd name="connsiteY3365" fmla="*/ 377773 h 1475329"/>
                    <a:gd name="connsiteX3366" fmla="*/ 978473 w 4040759"/>
                    <a:gd name="connsiteY3366" fmla="*/ 374171 h 1475329"/>
                    <a:gd name="connsiteX3367" fmla="*/ 979207 w 4040759"/>
                    <a:gd name="connsiteY3367" fmla="*/ 369631 h 1475329"/>
                    <a:gd name="connsiteX3368" fmla="*/ 981537 w 4040759"/>
                    <a:gd name="connsiteY3368" fmla="*/ 361954 h 1475329"/>
                    <a:gd name="connsiteX3369" fmla="*/ 985075 w 4040759"/>
                    <a:gd name="connsiteY3369" fmla="*/ 362345 h 1475329"/>
                    <a:gd name="connsiteX3370" fmla="*/ 986949 w 4040759"/>
                    <a:gd name="connsiteY3370" fmla="*/ 361229 h 1475329"/>
                    <a:gd name="connsiteX3371" fmla="*/ 989304 w 4040759"/>
                    <a:gd name="connsiteY3371" fmla="*/ 357773 h 1475329"/>
                    <a:gd name="connsiteX3372" fmla="*/ 988269 w 4040759"/>
                    <a:gd name="connsiteY3372" fmla="*/ 354929 h 1475329"/>
                    <a:gd name="connsiteX3373" fmla="*/ 986998 w 4040759"/>
                    <a:gd name="connsiteY3373" fmla="*/ 352777 h 1475329"/>
                    <a:gd name="connsiteX3374" fmla="*/ 987259 w 4040759"/>
                    <a:gd name="connsiteY3374" fmla="*/ 349403 h 1475329"/>
                    <a:gd name="connsiteX3375" fmla="*/ 989483 w 4040759"/>
                    <a:gd name="connsiteY3375" fmla="*/ 340211 h 1475329"/>
                    <a:gd name="connsiteX3376" fmla="*/ 990429 w 4040759"/>
                    <a:gd name="connsiteY3376" fmla="*/ 329486 h 1475329"/>
                    <a:gd name="connsiteX3377" fmla="*/ 988611 w 4040759"/>
                    <a:gd name="connsiteY3377" fmla="*/ 326788 h 1475329"/>
                    <a:gd name="connsiteX3378" fmla="*/ 986924 w 4040759"/>
                    <a:gd name="connsiteY3378" fmla="*/ 325036 h 1475329"/>
                    <a:gd name="connsiteX3379" fmla="*/ 978962 w 4040759"/>
                    <a:gd name="connsiteY3379" fmla="*/ 326845 h 1475329"/>
                    <a:gd name="connsiteX3380" fmla="*/ 975979 w 4040759"/>
                    <a:gd name="connsiteY3380" fmla="*/ 325891 h 1475329"/>
                    <a:gd name="connsiteX3381" fmla="*/ 975311 w 4040759"/>
                    <a:gd name="connsiteY3381" fmla="*/ 323805 h 1475329"/>
                    <a:gd name="connsiteX3382" fmla="*/ 975075 w 4040759"/>
                    <a:gd name="connsiteY3382" fmla="*/ 322191 h 1475329"/>
                    <a:gd name="connsiteX3383" fmla="*/ 977389 w 4040759"/>
                    <a:gd name="connsiteY3383" fmla="*/ 319404 h 1475329"/>
                    <a:gd name="connsiteX3384" fmla="*/ 979565 w 4040759"/>
                    <a:gd name="connsiteY3384" fmla="*/ 314824 h 1475329"/>
                    <a:gd name="connsiteX3385" fmla="*/ 975743 w 4040759"/>
                    <a:gd name="connsiteY3385" fmla="*/ 315818 h 1475329"/>
                    <a:gd name="connsiteX3386" fmla="*/ 974423 w 4040759"/>
                    <a:gd name="connsiteY3386" fmla="*/ 314025 h 1475329"/>
                    <a:gd name="connsiteX3387" fmla="*/ 977609 w 4040759"/>
                    <a:gd name="connsiteY3387" fmla="*/ 311377 h 1475329"/>
                    <a:gd name="connsiteX3388" fmla="*/ 981326 w 4040759"/>
                    <a:gd name="connsiteY3388" fmla="*/ 304922 h 1475329"/>
                    <a:gd name="connsiteX3389" fmla="*/ 990160 w 4040759"/>
                    <a:gd name="connsiteY3389" fmla="*/ 301956 h 1475329"/>
                    <a:gd name="connsiteX3390" fmla="*/ 996802 w 4040759"/>
                    <a:gd name="connsiteY3390" fmla="*/ 299046 h 1475329"/>
                    <a:gd name="connsiteX3391" fmla="*/ 1007160 w 4040759"/>
                    <a:gd name="connsiteY3391" fmla="*/ 292836 h 1475329"/>
                    <a:gd name="connsiteX3392" fmla="*/ 1014837 w 4040759"/>
                    <a:gd name="connsiteY3392" fmla="*/ 286724 h 1475329"/>
                    <a:gd name="connsiteX3393" fmla="*/ 1019817 w 4040759"/>
                    <a:gd name="connsiteY3393" fmla="*/ 278982 h 1475329"/>
                    <a:gd name="connsiteX3394" fmla="*/ 1023232 w 4040759"/>
                    <a:gd name="connsiteY3394" fmla="*/ 271663 h 1475329"/>
                    <a:gd name="connsiteX3395" fmla="*/ 1028741 w 4040759"/>
                    <a:gd name="connsiteY3395" fmla="*/ 254288 h 1475329"/>
                    <a:gd name="connsiteX3396" fmla="*/ 1033940 w 4040759"/>
                    <a:gd name="connsiteY3396" fmla="*/ 241468 h 1475329"/>
                    <a:gd name="connsiteX3397" fmla="*/ 1042677 w 4040759"/>
                    <a:gd name="connsiteY3397" fmla="*/ 228274 h 1475329"/>
                    <a:gd name="connsiteX3398" fmla="*/ 1048145 w 4040759"/>
                    <a:gd name="connsiteY3398" fmla="*/ 227052 h 1475329"/>
                    <a:gd name="connsiteX3399" fmla="*/ 1050183 w 4040759"/>
                    <a:gd name="connsiteY3399" fmla="*/ 227255 h 1475329"/>
                    <a:gd name="connsiteX3400" fmla="*/ 1050550 w 4040759"/>
                    <a:gd name="connsiteY3400" fmla="*/ 228225 h 1475329"/>
                    <a:gd name="connsiteX3401" fmla="*/ 1049310 w 4040759"/>
                    <a:gd name="connsiteY3401" fmla="*/ 229366 h 1475329"/>
                    <a:gd name="connsiteX3402" fmla="*/ 1048977 w 4040759"/>
                    <a:gd name="connsiteY3402" fmla="*/ 230955 h 1475329"/>
                    <a:gd name="connsiteX3403" fmla="*/ 1051283 w 4040759"/>
                    <a:gd name="connsiteY3403" fmla="*/ 231534 h 1475329"/>
                    <a:gd name="connsiteX3404" fmla="*/ 1054975 w 4040759"/>
                    <a:gd name="connsiteY3404" fmla="*/ 231648 h 1475329"/>
                    <a:gd name="connsiteX3405" fmla="*/ 1062040 w 4040759"/>
                    <a:gd name="connsiteY3405" fmla="*/ 230792 h 1475329"/>
                    <a:gd name="connsiteX3406" fmla="*/ 1074021 w 4040759"/>
                    <a:gd name="connsiteY3406" fmla="*/ 231289 h 1475329"/>
                    <a:gd name="connsiteX3407" fmla="*/ 1094974 w 4040759"/>
                    <a:gd name="connsiteY3407" fmla="*/ 230206 h 1475329"/>
                    <a:gd name="connsiteX3408" fmla="*/ 1097875 w 4040759"/>
                    <a:gd name="connsiteY3408" fmla="*/ 230743 h 1475329"/>
                    <a:gd name="connsiteX3409" fmla="*/ 1105633 w 4040759"/>
                    <a:gd name="connsiteY3409" fmla="*/ 234557 h 1475329"/>
                    <a:gd name="connsiteX3410" fmla="*/ 1109879 w 4040759"/>
                    <a:gd name="connsiteY3410" fmla="*/ 234126 h 1475329"/>
                    <a:gd name="connsiteX3411" fmla="*/ 1118445 w 4040759"/>
                    <a:gd name="connsiteY3411" fmla="*/ 235910 h 1475329"/>
                    <a:gd name="connsiteX3412" fmla="*/ 1123098 w 4040759"/>
                    <a:gd name="connsiteY3412" fmla="*/ 238029 h 1475329"/>
                    <a:gd name="connsiteX3413" fmla="*/ 1127524 w 4040759"/>
                    <a:gd name="connsiteY3413" fmla="*/ 240482 h 1475329"/>
                    <a:gd name="connsiteX3414" fmla="*/ 1126912 w 4040759"/>
                    <a:gd name="connsiteY3414" fmla="*/ 250091 h 1475329"/>
                    <a:gd name="connsiteX3415" fmla="*/ 1126048 w 4040759"/>
                    <a:gd name="connsiteY3415" fmla="*/ 256513 h 1475329"/>
                    <a:gd name="connsiteX3416" fmla="*/ 1122854 w 4040759"/>
                    <a:gd name="connsiteY3416" fmla="*/ 268615 h 1475329"/>
                    <a:gd name="connsiteX3417" fmla="*/ 1121615 w 4040759"/>
                    <a:gd name="connsiteY3417" fmla="*/ 271671 h 1475329"/>
                    <a:gd name="connsiteX3418" fmla="*/ 1116677 w 4040759"/>
                    <a:gd name="connsiteY3418" fmla="*/ 280400 h 1475329"/>
                    <a:gd name="connsiteX3419" fmla="*/ 1114313 w 4040759"/>
                    <a:gd name="connsiteY3419" fmla="*/ 286145 h 1475329"/>
                    <a:gd name="connsiteX3420" fmla="*/ 1110589 w 4040759"/>
                    <a:gd name="connsiteY3420" fmla="*/ 290082 h 1475329"/>
                    <a:gd name="connsiteX3421" fmla="*/ 1105194 w 4040759"/>
                    <a:gd name="connsiteY3421" fmla="*/ 292869 h 1475329"/>
                    <a:gd name="connsiteX3422" fmla="*/ 1104509 w 4040759"/>
                    <a:gd name="connsiteY3422" fmla="*/ 294531 h 1475329"/>
                    <a:gd name="connsiteX3423" fmla="*/ 1104093 w 4040759"/>
                    <a:gd name="connsiteY3423" fmla="*/ 296976 h 1475329"/>
                    <a:gd name="connsiteX3424" fmla="*/ 1109342 w 4040759"/>
                    <a:gd name="connsiteY3424" fmla="*/ 303830 h 1475329"/>
                    <a:gd name="connsiteX3425" fmla="*/ 1121786 w 4040759"/>
                    <a:gd name="connsiteY3425" fmla="*/ 310863 h 1475329"/>
                    <a:gd name="connsiteX3426" fmla="*/ 1124842 w 4040759"/>
                    <a:gd name="connsiteY3426" fmla="*/ 319364 h 1475329"/>
                    <a:gd name="connsiteX3427" fmla="*/ 1125519 w 4040759"/>
                    <a:gd name="connsiteY3427" fmla="*/ 325696 h 1475329"/>
                    <a:gd name="connsiteX3428" fmla="*/ 1124745 w 4040759"/>
                    <a:gd name="connsiteY3428" fmla="*/ 342134 h 1475329"/>
                    <a:gd name="connsiteX3429" fmla="*/ 1123579 w 4040759"/>
                    <a:gd name="connsiteY3429" fmla="*/ 344554 h 1475329"/>
                    <a:gd name="connsiteX3430" fmla="*/ 1121314 w 4040759"/>
                    <a:gd name="connsiteY3430" fmla="*/ 347146 h 1475329"/>
                    <a:gd name="connsiteX3431" fmla="*/ 1119023 w 4040759"/>
                    <a:gd name="connsiteY3431" fmla="*/ 350308 h 1475329"/>
                    <a:gd name="connsiteX3432" fmla="*/ 1120515 w 4040759"/>
                    <a:gd name="connsiteY3432" fmla="*/ 354888 h 1475329"/>
                    <a:gd name="connsiteX3433" fmla="*/ 1122243 w 4040759"/>
                    <a:gd name="connsiteY3433" fmla="*/ 371815 h 1475329"/>
                    <a:gd name="connsiteX3434" fmla="*/ 1122642 w 4040759"/>
                    <a:gd name="connsiteY3434" fmla="*/ 385548 h 1475329"/>
                    <a:gd name="connsiteX3435" fmla="*/ 1121191 w 4040759"/>
                    <a:gd name="connsiteY3435" fmla="*/ 390226 h 1475329"/>
                    <a:gd name="connsiteX3436" fmla="*/ 1120450 w 4040759"/>
                    <a:gd name="connsiteY3436" fmla="*/ 400136 h 1475329"/>
                    <a:gd name="connsiteX3437" fmla="*/ 1120450 w 4040759"/>
                    <a:gd name="connsiteY3437" fmla="*/ 403395 h 1475329"/>
                    <a:gd name="connsiteX3438" fmla="*/ 1121680 w 4040759"/>
                    <a:gd name="connsiteY3438" fmla="*/ 408318 h 1475329"/>
                    <a:gd name="connsiteX3439" fmla="*/ 1124199 w 4040759"/>
                    <a:gd name="connsiteY3439" fmla="*/ 412458 h 1475329"/>
                    <a:gd name="connsiteX3440" fmla="*/ 1127524 w 4040759"/>
                    <a:gd name="connsiteY3440" fmla="*/ 415074 h 1475329"/>
                    <a:gd name="connsiteX3441" fmla="*/ 1136904 w 4040759"/>
                    <a:gd name="connsiteY3441" fmla="*/ 419850 h 1475329"/>
                    <a:gd name="connsiteX3442" fmla="*/ 1145771 w 4040759"/>
                    <a:gd name="connsiteY3442" fmla="*/ 425652 h 1475329"/>
                    <a:gd name="connsiteX3443" fmla="*/ 1146406 w 4040759"/>
                    <a:gd name="connsiteY3443" fmla="*/ 427486 h 1475329"/>
                    <a:gd name="connsiteX3444" fmla="*/ 1146863 w 4040759"/>
                    <a:gd name="connsiteY3444" fmla="*/ 429711 h 1475329"/>
                    <a:gd name="connsiteX3445" fmla="*/ 1143725 w 4040759"/>
                    <a:gd name="connsiteY3445" fmla="*/ 431952 h 1475329"/>
                    <a:gd name="connsiteX3446" fmla="*/ 1138786 w 4040759"/>
                    <a:gd name="connsiteY3446" fmla="*/ 437918 h 1475329"/>
                    <a:gd name="connsiteX3447" fmla="*/ 1135641 w 4040759"/>
                    <a:gd name="connsiteY3447" fmla="*/ 442856 h 1475329"/>
                    <a:gd name="connsiteX3448" fmla="*/ 1135388 w 4040759"/>
                    <a:gd name="connsiteY3448" fmla="*/ 446809 h 1475329"/>
                    <a:gd name="connsiteX3449" fmla="*/ 1136472 w 4040759"/>
                    <a:gd name="connsiteY3449" fmla="*/ 451935 h 1475329"/>
                    <a:gd name="connsiteX3450" fmla="*/ 1135959 w 4040759"/>
                    <a:gd name="connsiteY3450" fmla="*/ 456638 h 1475329"/>
                    <a:gd name="connsiteX3451" fmla="*/ 1133840 w 4040759"/>
                    <a:gd name="connsiteY3451" fmla="*/ 460900 h 1475329"/>
                    <a:gd name="connsiteX3452" fmla="*/ 1130914 w 4040759"/>
                    <a:gd name="connsiteY3452" fmla="*/ 463972 h 1475329"/>
                    <a:gd name="connsiteX3453" fmla="*/ 1122112 w 4040759"/>
                    <a:gd name="connsiteY3453" fmla="*/ 468716 h 1475329"/>
                    <a:gd name="connsiteX3454" fmla="*/ 1103596 w 4040759"/>
                    <a:gd name="connsiteY3454" fmla="*/ 493743 h 1475329"/>
                    <a:gd name="connsiteX3455" fmla="*/ 1099147 w 4040759"/>
                    <a:gd name="connsiteY3455" fmla="*/ 496669 h 1475329"/>
                    <a:gd name="connsiteX3456" fmla="*/ 1091632 w 4040759"/>
                    <a:gd name="connsiteY3456" fmla="*/ 495724 h 1475329"/>
                    <a:gd name="connsiteX3457" fmla="*/ 1093710 w 4040759"/>
                    <a:gd name="connsiteY3457" fmla="*/ 499277 h 1475329"/>
                    <a:gd name="connsiteX3458" fmla="*/ 1096253 w 4040759"/>
                    <a:gd name="connsiteY3458" fmla="*/ 504371 h 1475329"/>
                    <a:gd name="connsiteX3459" fmla="*/ 1095960 w 4040759"/>
                    <a:gd name="connsiteY3459" fmla="*/ 507696 h 1475329"/>
                    <a:gd name="connsiteX3460" fmla="*/ 1091053 w 4040759"/>
                    <a:gd name="connsiteY3460" fmla="*/ 507533 h 1475329"/>
                    <a:gd name="connsiteX3461" fmla="*/ 1084200 w 4040759"/>
                    <a:gd name="connsiteY3461" fmla="*/ 511062 h 1475329"/>
                    <a:gd name="connsiteX3462" fmla="*/ 1081070 w 4040759"/>
                    <a:gd name="connsiteY3462" fmla="*/ 513474 h 1475329"/>
                    <a:gd name="connsiteX3463" fmla="*/ 1075757 w 4040759"/>
                    <a:gd name="connsiteY3463" fmla="*/ 514704 h 1475329"/>
                    <a:gd name="connsiteX3464" fmla="*/ 1071698 w 4040759"/>
                    <a:gd name="connsiteY3464" fmla="*/ 513449 h 1475329"/>
                    <a:gd name="connsiteX3465" fmla="*/ 1067264 w 4040759"/>
                    <a:gd name="connsiteY3465" fmla="*/ 511143 h 1475329"/>
                    <a:gd name="connsiteX3466" fmla="*/ 1067916 w 4040759"/>
                    <a:gd name="connsiteY3466" fmla="*/ 509212 h 1475329"/>
                    <a:gd name="connsiteX3467" fmla="*/ 1068756 w 4040759"/>
                    <a:gd name="connsiteY3467" fmla="*/ 508323 h 1475329"/>
                    <a:gd name="connsiteX3468" fmla="*/ 1071853 w 4040759"/>
                    <a:gd name="connsiteY3468" fmla="*/ 506922 h 1475329"/>
                    <a:gd name="connsiteX3469" fmla="*/ 1074901 w 4040759"/>
                    <a:gd name="connsiteY3469" fmla="*/ 505023 h 1475329"/>
                    <a:gd name="connsiteX3470" fmla="*/ 1073417 w 4040759"/>
                    <a:gd name="connsiteY3470" fmla="*/ 504640 h 1475329"/>
                    <a:gd name="connsiteX3471" fmla="*/ 1072138 w 4040759"/>
                    <a:gd name="connsiteY3471" fmla="*/ 504656 h 1475329"/>
                    <a:gd name="connsiteX3472" fmla="*/ 1068788 w 4040759"/>
                    <a:gd name="connsiteY3472" fmla="*/ 507084 h 1475329"/>
                    <a:gd name="connsiteX3473" fmla="*/ 1064795 w 4040759"/>
                    <a:gd name="connsiteY3473" fmla="*/ 507573 h 1475329"/>
                    <a:gd name="connsiteX3474" fmla="*/ 1060093 w 4040759"/>
                    <a:gd name="connsiteY3474" fmla="*/ 504631 h 1475329"/>
                    <a:gd name="connsiteX3475" fmla="*/ 1056499 w 4040759"/>
                    <a:gd name="connsiteY3475" fmla="*/ 501380 h 1475329"/>
                    <a:gd name="connsiteX3476" fmla="*/ 1054730 w 4040759"/>
                    <a:gd name="connsiteY3476" fmla="*/ 500711 h 1475329"/>
                    <a:gd name="connsiteX3477" fmla="*/ 1051332 w 4040759"/>
                    <a:gd name="connsiteY3477" fmla="*/ 502040 h 1475329"/>
                    <a:gd name="connsiteX3478" fmla="*/ 1038374 w 4040759"/>
                    <a:gd name="connsiteY3478" fmla="*/ 501437 h 1475329"/>
                    <a:gd name="connsiteX3479" fmla="*/ 1034927 w 4040759"/>
                    <a:gd name="connsiteY3479" fmla="*/ 501991 h 1475329"/>
                    <a:gd name="connsiteX3480" fmla="*/ 1033304 w 4040759"/>
                    <a:gd name="connsiteY3480" fmla="*/ 503173 h 1475329"/>
                    <a:gd name="connsiteX3481" fmla="*/ 1034242 w 4040759"/>
                    <a:gd name="connsiteY3481" fmla="*/ 504118 h 1475329"/>
                    <a:gd name="connsiteX3482" fmla="*/ 1035228 w 4040759"/>
                    <a:gd name="connsiteY3482" fmla="*/ 505952 h 1475329"/>
                    <a:gd name="connsiteX3483" fmla="*/ 1036532 w 4040759"/>
                    <a:gd name="connsiteY3483" fmla="*/ 509513 h 1475329"/>
                    <a:gd name="connsiteX3484" fmla="*/ 1037787 w 4040759"/>
                    <a:gd name="connsiteY3484" fmla="*/ 512162 h 1475329"/>
                    <a:gd name="connsiteX3485" fmla="*/ 1043190 w 4040759"/>
                    <a:gd name="connsiteY3485" fmla="*/ 515071 h 1475329"/>
                    <a:gd name="connsiteX3486" fmla="*/ 1050354 w 4040759"/>
                    <a:gd name="connsiteY3486" fmla="*/ 516196 h 1475329"/>
                    <a:gd name="connsiteX3487" fmla="*/ 1057330 w 4040759"/>
                    <a:gd name="connsiteY3487" fmla="*/ 519757 h 1475329"/>
                    <a:gd name="connsiteX3488" fmla="*/ 1066197 w 4040759"/>
                    <a:gd name="connsiteY3488" fmla="*/ 522276 h 1475329"/>
                    <a:gd name="connsiteX3489" fmla="*/ 1086180 w 4040759"/>
                    <a:gd name="connsiteY3489" fmla="*/ 521241 h 1475329"/>
                    <a:gd name="connsiteX3490" fmla="*/ 1091453 w 4040759"/>
                    <a:gd name="connsiteY3490" fmla="*/ 521550 h 1475329"/>
                    <a:gd name="connsiteX3491" fmla="*/ 1096612 w 4040759"/>
                    <a:gd name="connsiteY3491" fmla="*/ 522650 h 1475329"/>
                    <a:gd name="connsiteX3492" fmla="*/ 1105316 w 4040759"/>
                    <a:gd name="connsiteY3492" fmla="*/ 526359 h 1475329"/>
                    <a:gd name="connsiteX3493" fmla="*/ 1109048 w 4040759"/>
                    <a:gd name="connsiteY3493" fmla="*/ 526082 h 1475329"/>
                    <a:gd name="connsiteX3494" fmla="*/ 1115348 w 4040759"/>
                    <a:gd name="connsiteY3494" fmla="*/ 522708 h 1475329"/>
                    <a:gd name="connsiteX3495" fmla="*/ 1116904 w 4040759"/>
                    <a:gd name="connsiteY3495" fmla="*/ 515251 h 1475329"/>
                    <a:gd name="connsiteX3496" fmla="*/ 1117728 w 4040759"/>
                    <a:gd name="connsiteY3496" fmla="*/ 512928 h 1475329"/>
                    <a:gd name="connsiteX3497" fmla="*/ 1140653 w 4040759"/>
                    <a:gd name="connsiteY3497" fmla="*/ 502374 h 1475329"/>
                    <a:gd name="connsiteX3498" fmla="*/ 1144915 w 4040759"/>
                    <a:gd name="connsiteY3498" fmla="*/ 500051 h 1475329"/>
                    <a:gd name="connsiteX3499" fmla="*/ 1151826 w 4040759"/>
                    <a:gd name="connsiteY3499" fmla="*/ 494273 h 1475329"/>
                    <a:gd name="connsiteX3500" fmla="*/ 1154084 w 4040759"/>
                    <a:gd name="connsiteY3500" fmla="*/ 490410 h 1475329"/>
                    <a:gd name="connsiteX3501" fmla="*/ 1156643 w 4040759"/>
                    <a:gd name="connsiteY3501" fmla="*/ 479938 h 1475329"/>
                    <a:gd name="connsiteX3502" fmla="*/ 1158827 w 4040759"/>
                    <a:gd name="connsiteY3502" fmla="*/ 476197 h 1475329"/>
                    <a:gd name="connsiteX3503" fmla="*/ 1173741 w 4040759"/>
                    <a:gd name="connsiteY3503" fmla="*/ 464038 h 1475329"/>
                    <a:gd name="connsiteX3504" fmla="*/ 1176072 w 4040759"/>
                    <a:gd name="connsiteY3504" fmla="*/ 460924 h 1475329"/>
                    <a:gd name="connsiteX3505" fmla="*/ 1176504 w 4040759"/>
                    <a:gd name="connsiteY3505" fmla="*/ 455228 h 1475329"/>
                    <a:gd name="connsiteX3506" fmla="*/ 1176283 w 4040759"/>
                    <a:gd name="connsiteY3506" fmla="*/ 451373 h 1475329"/>
                    <a:gd name="connsiteX3507" fmla="*/ 1175404 w 4040759"/>
                    <a:gd name="connsiteY3507" fmla="*/ 447559 h 1475329"/>
                    <a:gd name="connsiteX3508" fmla="*/ 1172673 w 4040759"/>
                    <a:gd name="connsiteY3508" fmla="*/ 441235 h 1475329"/>
                    <a:gd name="connsiteX3509" fmla="*/ 1169658 w 4040759"/>
                    <a:gd name="connsiteY3509" fmla="*/ 437543 h 1475329"/>
                    <a:gd name="connsiteX3510" fmla="*/ 1166691 w 4040759"/>
                    <a:gd name="connsiteY3510" fmla="*/ 432392 h 1475329"/>
                    <a:gd name="connsiteX3511" fmla="*/ 1168908 w 4040759"/>
                    <a:gd name="connsiteY3511" fmla="*/ 421952 h 1475329"/>
                    <a:gd name="connsiteX3512" fmla="*/ 1171361 w 4040759"/>
                    <a:gd name="connsiteY3512" fmla="*/ 417902 h 1475329"/>
                    <a:gd name="connsiteX3513" fmla="*/ 1184873 w 4040759"/>
                    <a:gd name="connsiteY3513" fmla="*/ 413037 h 1475329"/>
                    <a:gd name="connsiteX3514" fmla="*/ 1196405 w 4040759"/>
                    <a:gd name="connsiteY3514" fmla="*/ 411301 h 1475329"/>
                    <a:gd name="connsiteX3515" fmla="*/ 1209257 w 4040759"/>
                    <a:gd name="connsiteY3515" fmla="*/ 408008 h 1475329"/>
                    <a:gd name="connsiteX3516" fmla="*/ 1214424 w 4040759"/>
                    <a:gd name="connsiteY3516" fmla="*/ 407324 h 1475329"/>
                    <a:gd name="connsiteX3517" fmla="*/ 1217978 w 4040759"/>
                    <a:gd name="connsiteY3517" fmla="*/ 407902 h 1475329"/>
                    <a:gd name="connsiteX3518" fmla="*/ 1221604 w 4040759"/>
                    <a:gd name="connsiteY3518" fmla="*/ 411456 h 1475329"/>
                    <a:gd name="connsiteX3519" fmla="*/ 1224807 w 4040759"/>
                    <a:gd name="connsiteY3519" fmla="*/ 416769 h 1475329"/>
                    <a:gd name="connsiteX3520" fmla="*/ 1234155 w 4040759"/>
                    <a:gd name="connsiteY3520" fmla="*/ 424699 h 1475329"/>
                    <a:gd name="connsiteX3521" fmla="*/ 1237300 w 4040759"/>
                    <a:gd name="connsiteY3521" fmla="*/ 430249 h 1475329"/>
                    <a:gd name="connsiteX3522" fmla="*/ 1237871 w 4040759"/>
                    <a:gd name="connsiteY3522" fmla="*/ 436989 h 1475329"/>
                    <a:gd name="connsiteX3523" fmla="*/ 1237553 w 4040759"/>
                    <a:gd name="connsiteY3523" fmla="*/ 453329 h 1475329"/>
                    <a:gd name="connsiteX3524" fmla="*/ 1235720 w 4040759"/>
                    <a:gd name="connsiteY3524" fmla="*/ 460403 h 1475329"/>
                    <a:gd name="connsiteX3525" fmla="*/ 1239452 w 4040759"/>
                    <a:gd name="connsiteY3525" fmla="*/ 462261 h 1475329"/>
                    <a:gd name="connsiteX3526" fmla="*/ 1241196 w 4040759"/>
                    <a:gd name="connsiteY3526" fmla="*/ 463866 h 1475329"/>
                    <a:gd name="connsiteX3527" fmla="*/ 1245752 w 4040759"/>
                    <a:gd name="connsiteY3527" fmla="*/ 466238 h 1475329"/>
                    <a:gd name="connsiteX3528" fmla="*/ 1248123 w 4040759"/>
                    <a:gd name="connsiteY3528" fmla="*/ 468593 h 1475329"/>
                    <a:gd name="connsiteX3529" fmla="*/ 1250527 w 4040759"/>
                    <a:gd name="connsiteY3529" fmla="*/ 469441 h 1475329"/>
                    <a:gd name="connsiteX3530" fmla="*/ 1255841 w 4040759"/>
                    <a:gd name="connsiteY3530" fmla="*/ 469914 h 1475329"/>
                    <a:gd name="connsiteX3531" fmla="*/ 1270812 w 4040759"/>
                    <a:gd name="connsiteY3531" fmla="*/ 469082 h 1475329"/>
                    <a:gd name="connsiteX3532" fmla="*/ 1279060 w 4040759"/>
                    <a:gd name="connsiteY3532" fmla="*/ 468618 h 1475329"/>
                    <a:gd name="connsiteX3533" fmla="*/ 1278204 w 4040759"/>
                    <a:gd name="connsiteY3533" fmla="*/ 467583 h 1475329"/>
                    <a:gd name="connsiteX3534" fmla="*/ 1276998 w 4040759"/>
                    <a:gd name="connsiteY3534" fmla="*/ 466792 h 1475329"/>
                    <a:gd name="connsiteX3535" fmla="*/ 1270063 w 4040759"/>
                    <a:gd name="connsiteY3535" fmla="*/ 466450 h 1475329"/>
                    <a:gd name="connsiteX3536" fmla="*/ 1260193 w 4040759"/>
                    <a:gd name="connsiteY3536" fmla="*/ 464747 h 1475329"/>
                    <a:gd name="connsiteX3537" fmla="*/ 1245980 w 4040759"/>
                    <a:gd name="connsiteY3537" fmla="*/ 461560 h 1475329"/>
                    <a:gd name="connsiteX3538" fmla="*/ 1244293 w 4040759"/>
                    <a:gd name="connsiteY3538" fmla="*/ 454698 h 1475329"/>
                    <a:gd name="connsiteX3539" fmla="*/ 1244676 w 4040759"/>
                    <a:gd name="connsiteY3539" fmla="*/ 450428 h 1475329"/>
                    <a:gd name="connsiteX3540" fmla="*/ 1247879 w 4040759"/>
                    <a:gd name="connsiteY3540" fmla="*/ 442457 h 1475329"/>
                    <a:gd name="connsiteX3541" fmla="*/ 1250153 w 4040759"/>
                    <a:gd name="connsiteY3541" fmla="*/ 441064 h 1475329"/>
                    <a:gd name="connsiteX3542" fmla="*/ 1252923 w 4040759"/>
                    <a:gd name="connsiteY3542" fmla="*/ 440526 h 1475329"/>
                    <a:gd name="connsiteX3543" fmla="*/ 1256070 w 4040759"/>
                    <a:gd name="connsiteY3543" fmla="*/ 439442 h 1475329"/>
                    <a:gd name="connsiteX3544" fmla="*/ 1255173 w 4040759"/>
                    <a:gd name="connsiteY3544" fmla="*/ 434299 h 1475329"/>
                    <a:gd name="connsiteX3545" fmla="*/ 1253877 w 4040759"/>
                    <a:gd name="connsiteY3545" fmla="*/ 429695 h 1475329"/>
                    <a:gd name="connsiteX3546" fmla="*/ 1250862 w 4040759"/>
                    <a:gd name="connsiteY3546" fmla="*/ 423199 h 1475329"/>
                    <a:gd name="connsiteX3547" fmla="*/ 1247528 w 4040759"/>
                    <a:gd name="connsiteY3547" fmla="*/ 411211 h 1475329"/>
                    <a:gd name="connsiteX3548" fmla="*/ 1242957 w 4040759"/>
                    <a:gd name="connsiteY3548" fmla="*/ 411121 h 1475329"/>
                    <a:gd name="connsiteX3549" fmla="*/ 1239533 w 4040759"/>
                    <a:gd name="connsiteY3549" fmla="*/ 408766 h 1475329"/>
                    <a:gd name="connsiteX3550" fmla="*/ 1222582 w 4040759"/>
                    <a:gd name="connsiteY3550" fmla="*/ 401765 h 1475329"/>
                    <a:gd name="connsiteX3551" fmla="*/ 1206617 w 4040759"/>
                    <a:gd name="connsiteY3551" fmla="*/ 396566 h 1475329"/>
                    <a:gd name="connsiteX3552" fmla="*/ 1195704 w 4040759"/>
                    <a:gd name="connsiteY3552" fmla="*/ 395832 h 1475329"/>
                    <a:gd name="connsiteX3553" fmla="*/ 1192208 w 4040759"/>
                    <a:gd name="connsiteY3553" fmla="*/ 396411 h 1475329"/>
                    <a:gd name="connsiteX3554" fmla="*/ 1183113 w 4040759"/>
                    <a:gd name="connsiteY3554" fmla="*/ 401814 h 1475329"/>
                    <a:gd name="connsiteX3555" fmla="*/ 1177180 w 4040759"/>
                    <a:gd name="connsiteY3555" fmla="*/ 402955 h 1475329"/>
                    <a:gd name="connsiteX3556" fmla="*/ 1165974 w 4040759"/>
                    <a:gd name="connsiteY3556" fmla="*/ 400568 h 1475329"/>
                    <a:gd name="connsiteX3557" fmla="*/ 1156422 w 4040759"/>
                    <a:gd name="connsiteY3557" fmla="*/ 401888 h 1475329"/>
                    <a:gd name="connsiteX3558" fmla="*/ 1152910 w 4040759"/>
                    <a:gd name="connsiteY3558" fmla="*/ 400625 h 1475329"/>
                    <a:gd name="connsiteX3559" fmla="*/ 1151410 w 4040759"/>
                    <a:gd name="connsiteY3559" fmla="*/ 398196 h 1475329"/>
                    <a:gd name="connsiteX3560" fmla="*/ 1154279 w 4040759"/>
                    <a:gd name="connsiteY3560" fmla="*/ 388473 h 1475329"/>
                    <a:gd name="connsiteX3561" fmla="*/ 1152837 w 4040759"/>
                    <a:gd name="connsiteY3561" fmla="*/ 384667 h 1475329"/>
                    <a:gd name="connsiteX3562" fmla="*/ 1148623 w 4040759"/>
                    <a:gd name="connsiteY3562" fmla="*/ 379639 h 1475329"/>
                    <a:gd name="connsiteX3563" fmla="*/ 1146073 w 4040759"/>
                    <a:gd name="connsiteY3563" fmla="*/ 375637 h 1475329"/>
                    <a:gd name="connsiteX3564" fmla="*/ 1146521 w 4040759"/>
                    <a:gd name="connsiteY3564" fmla="*/ 371383 h 1475329"/>
                    <a:gd name="connsiteX3565" fmla="*/ 1152763 w 4040759"/>
                    <a:gd name="connsiteY3565" fmla="*/ 354750 h 1475329"/>
                    <a:gd name="connsiteX3566" fmla="*/ 1155420 w 4040759"/>
                    <a:gd name="connsiteY3566" fmla="*/ 350398 h 1475329"/>
                    <a:gd name="connsiteX3567" fmla="*/ 1162111 w 4040759"/>
                    <a:gd name="connsiteY3567" fmla="*/ 342672 h 1475329"/>
                    <a:gd name="connsiteX3568" fmla="*/ 1165493 w 4040759"/>
                    <a:gd name="connsiteY3568" fmla="*/ 336682 h 1475329"/>
                    <a:gd name="connsiteX3569" fmla="*/ 1164695 w 4040759"/>
                    <a:gd name="connsiteY3569" fmla="*/ 333316 h 1475329"/>
                    <a:gd name="connsiteX3570" fmla="*/ 1150319 w 4040759"/>
                    <a:gd name="connsiteY3570" fmla="*/ 314596 h 1475329"/>
                    <a:gd name="connsiteX3571" fmla="*/ 1146480 w 4040759"/>
                    <a:gd name="connsiteY3571" fmla="*/ 307913 h 1475329"/>
                    <a:gd name="connsiteX3572" fmla="*/ 1144760 w 4040759"/>
                    <a:gd name="connsiteY3572" fmla="*/ 305778 h 1475329"/>
                    <a:gd name="connsiteX3573" fmla="*/ 1141240 w 4040759"/>
                    <a:gd name="connsiteY3573" fmla="*/ 303227 h 1475329"/>
                    <a:gd name="connsiteX3574" fmla="*/ 1135910 w 4040759"/>
                    <a:gd name="connsiteY3574" fmla="*/ 300269 h 1475329"/>
                    <a:gd name="connsiteX3575" fmla="*/ 1134321 w 4040759"/>
                    <a:gd name="connsiteY3575" fmla="*/ 297555 h 1475329"/>
                    <a:gd name="connsiteX3576" fmla="*/ 1148843 w 4040759"/>
                    <a:gd name="connsiteY3576" fmla="*/ 279324 h 1475329"/>
                    <a:gd name="connsiteX3577" fmla="*/ 1155477 w 4040759"/>
                    <a:gd name="connsiteY3577" fmla="*/ 276146 h 1475329"/>
                    <a:gd name="connsiteX3578" fmla="*/ 1164703 w 4040759"/>
                    <a:gd name="connsiteY3578" fmla="*/ 274173 h 1475329"/>
                    <a:gd name="connsiteX3579" fmla="*/ 1169104 w 4040759"/>
                    <a:gd name="connsiteY3579" fmla="*/ 272388 h 1475329"/>
                    <a:gd name="connsiteX3580" fmla="*/ 1176919 w 4040759"/>
                    <a:gd name="connsiteY3580" fmla="*/ 268705 h 1475329"/>
                    <a:gd name="connsiteX3581" fmla="*/ 1181589 w 4040759"/>
                    <a:gd name="connsiteY3581" fmla="*/ 265616 h 1475329"/>
                    <a:gd name="connsiteX3582" fmla="*/ 1183105 w 4040759"/>
                    <a:gd name="connsiteY3582" fmla="*/ 263122 h 1475329"/>
                    <a:gd name="connsiteX3583" fmla="*/ 1184009 w 4040759"/>
                    <a:gd name="connsiteY3583" fmla="*/ 260197 h 1475329"/>
                    <a:gd name="connsiteX3584" fmla="*/ 1184189 w 4040759"/>
                    <a:gd name="connsiteY3584" fmla="*/ 252951 h 1475329"/>
                    <a:gd name="connsiteX3585" fmla="*/ 1183284 w 4040759"/>
                    <a:gd name="connsiteY3585" fmla="*/ 247059 h 1475329"/>
                    <a:gd name="connsiteX3586" fmla="*/ 1181980 w 4040759"/>
                    <a:gd name="connsiteY3586" fmla="*/ 243799 h 1475329"/>
                    <a:gd name="connsiteX3587" fmla="*/ 1179226 w 4040759"/>
                    <a:gd name="connsiteY3587" fmla="*/ 239618 h 1475329"/>
                    <a:gd name="connsiteX3588" fmla="*/ 1176495 w 4040759"/>
                    <a:gd name="connsiteY3588" fmla="*/ 234924 h 1475329"/>
                    <a:gd name="connsiteX3589" fmla="*/ 1178435 w 4040759"/>
                    <a:gd name="connsiteY3589" fmla="*/ 233685 h 1475329"/>
                    <a:gd name="connsiteX3590" fmla="*/ 1180342 w 4040759"/>
                    <a:gd name="connsiteY3590" fmla="*/ 232976 h 1475329"/>
                    <a:gd name="connsiteX3591" fmla="*/ 1185566 w 4040759"/>
                    <a:gd name="connsiteY3591" fmla="*/ 233033 h 1475329"/>
                    <a:gd name="connsiteX3592" fmla="*/ 1190945 w 4040759"/>
                    <a:gd name="connsiteY3592" fmla="*/ 235617 h 1475329"/>
                    <a:gd name="connsiteX3593" fmla="*/ 1193561 w 4040759"/>
                    <a:gd name="connsiteY3593" fmla="*/ 240776 h 1475329"/>
                    <a:gd name="connsiteX3594" fmla="*/ 1196747 w 4040759"/>
                    <a:gd name="connsiteY3594" fmla="*/ 245568 h 1475329"/>
                    <a:gd name="connsiteX3595" fmla="*/ 1196739 w 4040759"/>
                    <a:gd name="connsiteY3595" fmla="*/ 248746 h 1475329"/>
                    <a:gd name="connsiteX3596" fmla="*/ 1196454 w 4040759"/>
                    <a:gd name="connsiteY3596" fmla="*/ 251273 h 1475329"/>
                    <a:gd name="connsiteX3597" fmla="*/ 1197774 w 4040759"/>
                    <a:gd name="connsiteY3597" fmla="*/ 254720 h 1475329"/>
                    <a:gd name="connsiteX3598" fmla="*/ 1198924 w 4040759"/>
                    <a:gd name="connsiteY3598" fmla="*/ 256203 h 1475329"/>
                    <a:gd name="connsiteX3599" fmla="*/ 1200171 w 4040759"/>
                    <a:gd name="connsiteY3599" fmla="*/ 258672 h 1475329"/>
                    <a:gd name="connsiteX3600" fmla="*/ 1199005 w 4040759"/>
                    <a:gd name="connsiteY3600" fmla="*/ 260637 h 1475329"/>
                    <a:gd name="connsiteX3601" fmla="*/ 1197774 w 4040759"/>
                    <a:gd name="connsiteY3601" fmla="*/ 261598 h 1475329"/>
                    <a:gd name="connsiteX3602" fmla="*/ 1195436 w 4040759"/>
                    <a:gd name="connsiteY3602" fmla="*/ 264426 h 1475329"/>
                    <a:gd name="connsiteX3603" fmla="*/ 1191573 w 4040759"/>
                    <a:gd name="connsiteY3603" fmla="*/ 273016 h 1475329"/>
                    <a:gd name="connsiteX3604" fmla="*/ 1188582 w 4040759"/>
                    <a:gd name="connsiteY3604" fmla="*/ 274124 h 1475329"/>
                    <a:gd name="connsiteX3605" fmla="*/ 1187930 w 4040759"/>
                    <a:gd name="connsiteY3605" fmla="*/ 280775 h 1475329"/>
                    <a:gd name="connsiteX3606" fmla="*/ 1194262 w 4040759"/>
                    <a:gd name="connsiteY3606" fmla="*/ 288012 h 1475329"/>
                    <a:gd name="connsiteX3607" fmla="*/ 1193406 w 4040759"/>
                    <a:gd name="connsiteY3607" fmla="*/ 293480 h 1475329"/>
                    <a:gd name="connsiteX3608" fmla="*/ 1192127 w 4040759"/>
                    <a:gd name="connsiteY3608" fmla="*/ 295289 h 1475329"/>
                    <a:gd name="connsiteX3609" fmla="*/ 1188736 w 4040759"/>
                    <a:gd name="connsiteY3609" fmla="*/ 298223 h 1475329"/>
                    <a:gd name="connsiteX3610" fmla="*/ 1189177 w 4040759"/>
                    <a:gd name="connsiteY3610" fmla="*/ 300570 h 1475329"/>
                    <a:gd name="connsiteX3611" fmla="*/ 1190016 w 4040759"/>
                    <a:gd name="connsiteY3611" fmla="*/ 302233 h 1475329"/>
                    <a:gd name="connsiteX3612" fmla="*/ 1199975 w 4040759"/>
                    <a:gd name="connsiteY3612" fmla="*/ 305672 h 1475329"/>
                    <a:gd name="connsiteX3613" fmla="*/ 1209323 w 4040759"/>
                    <a:gd name="connsiteY3613" fmla="*/ 307815 h 1475329"/>
                    <a:gd name="connsiteX3614" fmla="*/ 1224986 w 4040759"/>
                    <a:gd name="connsiteY3614" fmla="*/ 308565 h 1475329"/>
                    <a:gd name="connsiteX3615" fmla="*/ 1229623 w 4040759"/>
                    <a:gd name="connsiteY3615" fmla="*/ 311931 h 1475329"/>
                    <a:gd name="connsiteX3616" fmla="*/ 1231270 w 4040759"/>
                    <a:gd name="connsiteY3616" fmla="*/ 309519 h 1475329"/>
                    <a:gd name="connsiteX3617" fmla="*/ 1246013 w 4040759"/>
                    <a:gd name="connsiteY3617" fmla="*/ 310114 h 1475329"/>
                    <a:gd name="connsiteX3618" fmla="*/ 1257887 w 4040759"/>
                    <a:gd name="connsiteY3618" fmla="*/ 318320 h 1475329"/>
                    <a:gd name="connsiteX3619" fmla="*/ 1264146 w 4040759"/>
                    <a:gd name="connsiteY3619" fmla="*/ 320847 h 1475329"/>
                    <a:gd name="connsiteX3620" fmla="*/ 1269231 w 4040759"/>
                    <a:gd name="connsiteY3620" fmla="*/ 321686 h 1475329"/>
                    <a:gd name="connsiteX3621" fmla="*/ 1279557 w 4040759"/>
                    <a:gd name="connsiteY3621" fmla="*/ 320692 h 1475329"/>
                    <a:gd name="connsiteX3622" fmla="*/ 1281374 w 4040759"/>
                    <a:gd name="connsiteY3622" fmla="*/ 319959 h 1475329"/>
                    <a:gd name="connsiteX3623" fmla="*/ 1283070 w 4040759"/>
                    <a:gd name="connsiteY3623" fmla="*/ 317611 h 1475329"/>
                    <a:gd name="connsiteX3624" fmla="*/ 1278229 w 4040759"/>
                    <a:gd name="connsiteY3624" fmla="*/ 317831 h 1475329"/>
                    <a:gd name="connsiteX3625" fmla="*/ 1276118 w 4040759"/>
                    <a:gd name="connsiteY3625" fmla="*/ 318899 h 1475329"/>
                    <a:gd name="connsiteX3626" fmla="*/ 1274145 w 4040759"/>
                    <a:gd name="connsiteY3626" fmla="*/ 318785 h 1475329"/>
                    <a:gd name="connsiteX3627" fmla="*/ 1270763 w 4040759"/>
                    <a:gd name="connsiteY3627" fmla="*/ 317978 h 1475329"/>
                    <a:gd name="connsiteX3628" fmla="*/ 1268384 w 4040759"/>
                    <a:gd name="connsiteY3628" fmla="*/ 316560 h 1475329"/>
                    <a:gd name="connsiteX3629" fmla="*/ 1265776 w 4040759"/>
                    <a:gd name="connsiteY3629" fmla="*/ 313765 h 1475329"/>
                    <a:gd name="connsiteX3630" fmla="*/ 1261465 w 4040759"/>
                    <a:gd name="connsiteY3630" fmla="*/ 305656 h 1475329"/>
                    <a:gd name="connsiteX3631" fmla="*/ 1253918 w 4040759"/>
                    <a:gd name="connsiteY3631" fmla="*/ 303031 h 1475329"/>
                    <a:gd name="connsiteX3632" fmla="*/ 1248914 w 4040759"/>
                    <a:gd name="connsiteY3632" fmla="*/ 304099 h 1475329"/>
                    <a:gd name="connsiteX3633" fmla="*/ 1243323 w 4040759"/>
                    <a:gd name="connsiteY3633" fmla="*/ 303602 h 1475329"/>
                    <a:gd name="connsiteX3634" fmla="*/ 1234204 w 4040759"/>
                    <a:gd name="connsiteY3634" fmla="*/ 299160 h 1475329"/>
                    <a:gd name="connsiteX3635" fmla="*/ 1228189 w 4040759"/>
                    <a:gd name="connsiteY3635" fmla="*/ 297473 h 1475329"/>
                    <a:gd name="connsiteX3636" fmla="*/ 1217342 w 4040759"/>
                    <a:gd name="connsiteY3636" fmla="*/ 292657 h 1475329"/>
                    <a:gd name="connsiteX3637" fmla="*/ 1214327 w 4040759"/>
                    <a:gd name="connsiteY3637" fmla="*/ 290709 h 1475329"/>
                    <a:gd name="connsiteX3638" fmla="*/ 1211931 w 4040759"/>
                    <a:gd name="connsiteY3638" fmla="*/ 286724 h 1475329"/>
                    <a:gd name="connsiteX3639" fmla="*/ 1209151 w 4040759"/>
                    <a:gd name="connsiteY3639" fmla="*/ 280066 h 1475329"/>
                    <a:gd name="connsiteX3640" fmla="*/ 1207383 w 4040759"/>
                    <a:gd name="connsiteY3640" fmla="*/ 276349 h 1475329"/>
                    <a:gd name="connsiteX3641" fmla="*/ 1209665 w 4040759"/>
                    <a:gd name="connsiteY3641" fmla="*/ 275608 h 1475329"/>
                    <a:gd name="connsiteX3642" fmla="*/ 1217041 w 4040759"/>
                    <a:gd name="connsiteY3642" fmla="*/ 271973 h 1475329"/>
                    <a:gd name="connsiteX3643" fmla="*/ 1228189 w 4040759"/>
                    <a:gd name="connsiteY3643" fmla="*/ 270742 h 1475329"/>
                    <a:gd name="connsiteX3644" fmla="*/ 1232908 w 4040759"/>
                    <a:gd name="connsiteY3644" fmla="*/ 272054 h 1475329"/>
                    <a:gd name="connsiteX3645" fmla="*/ 1245043 w 4040759"/>
                    <a:gd name="connsiteY3645" fmla="*/ 279462 h 1475329"/>
                    <a:gd name="connsiteX3646" fmla="*/ 1250674 w 4040759"/>
                    <a:gd name="connsiteY3646" fmla="*/ 279723 h 1475329"/>
                    <a:gd name="connsiteX3647" fmla="*/ 1260829 w 4040759"/>
                    <a:gd name="connsiteY3647" fmla="*/ 276496 h 1475329"/>
                    <a:gd name="connsiteX3648" fmla="*/ 1261962 w 4040759"/>
                    <a:gd name="connsiteY3648" fmla="*/ 274426 h 1475329"/>
                    <a:gd name="connsiteX3649" fmla="*/ 1259688 w 4040759"/>
                    <a:gd name="connsiteY3649" fmla="*/ 270204 h 1475329"/>
                    <a:gd name="connsiteX3650" fmla="*/ 1256591 w 4040759"/>
                    <a:gd name="connsiteY3650" fmla="*/ 268028 h 1475329"/>
                    <a:gd name="connsiteX3651" fmla="*/ 1250756 w 4040759"/>
                    <a:gd name="connsiteY3651" fmla="*/ 267018 h 1475329"/>
                    <a:gd name="connsiteX3652" fmla="*/ 1243617 w 4040759"/>
                    <a:gd name="connsiteY3652" fmla="*/ 268966 h 1475329"/>
                    <a:gd name="connsiteX3653" fmla="*/ 1241579 w 4040759"/>
                    <a:gd name="connsiteY3653" fmla="*/ 267311 h 1475329"/>
                    <a:gd name="connsiteX3654" fmla="*/ 1242297 w 4040759"/>
                    <a:gd name="connsiteY3654" fmla="*/ 265078 h 1475329"/>
                    <a:gd name="connsiteX3655" fmla="*/ 1243087 w 4040759"/>
                    <a:gd name="connsiteY3655" fmla="*/ 263448 h 1475329"/>
                    <a:gd name="connsiteX3656" fmla="*/ 1246901 w 4040759"/>
                    <a:gd name="connsiteY3656" fmla="*/ 263024 h 1475329"/>
                    <a:gd name="connsiteX3657" fmla="*/ 1249574 w 4040759"/>
                    <a:gd name="connsiteY3657" fmla="*/ 261753 h 1475329"/>
                    <a:gd name="connsiteX3658" fmla="*/ 1255401 w 4040759"/>
                    <a:gd name="connsiteY3658" fmla="*/ 257173 h 1475329"/>
                    <a:gd name="connsiteX3659" fmla="*/ 1261783 w 4040759"/>
                    <a:gd name="connsiteY3659" fmla="*/ 254940 h 1475329"/>
                    <a:gd name="connsiteX3660" fmla="*/ 1268155 w 4040759"/>
                    <a:gd name="connsiteY3660" fmla="*/ 254141 h 1475329"/>
                    <a:gd name="connsiteX3661" fmla="*/ 1291456 w 4040759"/>
                    <a:gd name="connsiteY3661" fmla="*/ 254785 h 1475329"/>
                    <a:gd name="connsiteX3662" fmla="*/ 1304650 w 4040759"/>
                    <a:gd name="connsiteY3662" fmla="*/ 262030 h 1475329"/>
                    <a:gd name="connsiteX3663" fmla="*/ 1317559 w 4040759"/>
                    <a:gd name="connsiteY3663" fmla="*/ 265233 h 1475329"/>
                    <a:gd name="connsiteX3664" fmla="*/ 1323133 w 4040759"/>
                    <a:gd name="connsiteY3664" fmla="*/ 267751 h 1475329"/>
                    <a:gd name="connsiteX3665" fmla="*/ 1324707 w 4040759"/>
                    <a:gd name="connsiteY3665" fmla="*/ 268167 h 1475329"/>
                    <a:gd name="connsiteX3666" fmla="*/ 1326002 w 4040759"/>
                    <a:gd name="connsiteY3666" fmla="*/ 269764 h 1475329"/>
                    <a:gd name="connsiteX3667" fmla="*/ 1327021 w 4040759"/>
                    <a:gd name="connsiteY3667" fmla="*/ 273611 h 1475329"/>
                    <a:gd name="connsiteX3668" fmla="*/ 1343271 w 4040759"/>
                    <a:gd name="connsiteY3668" fmla="*/ 283847 h 1475329"/>
                    <a:gd name="connsiteX3669" fmla="*/ 1347004 w 4040759"/>
                    <a:gd name="connsiteY3669" fmla="*/ 285216 h 1475329"/>
                    <a:gd name="connsiteX3670" fmla="*/ 1357387 w 4040759"/>
                    <a:gd name="connsiteY3670" fmla="*/ 285632 h 1475329"/>
                    <a:gd name="connsiteX3671" fmla="*/ 1368968 w 4040759"/>
                    <a:gd name="connsiteY3671" fmla="*/ 283268 h 1475329"/>
                    <a:gd name="connsiteX3672" fmla="*/ 1374192 w 4040759"/>
                    <a:gd name="connsiteY3672" fmla="*/ 283024 h 1475329"/>
                    <a:gd name="connsiteX3673" fmla="*/ 1379856 w 4040759"/>
                    <a:gd name="connsiteY3673" fmla="*/ 283725 h 1475329"/>
                    <a:gd name="connsiteX3674" fmla="*/ 1382855 w 4040759"/>
                    <a:gd name="connsiteY3674" fmla="*/ 285012 h 1475329"/>
                    <a:gd name="connsiteX3675" fmla="*/ 1385992 w 4040759"/>
                    <a:gd name="connsiteY3675" fmla="*/ 287392 h 1475329"/>
                    <a:gd name="connsiteX3676" fmla="*/ 1384306 w 4040759"/>
                    <a:gd name="connsiteY3676" fmla="*/ 290399 h 1475329"/>
                    <a:gd name="connsiteX3677" fmla="*/ 1382822 w 4040759"/>
                    <a:gd name="connsiteY3677" fmla="*/ 292201 h 1475329"/>
                    <a:gd name="connsiteX3678" fmla="*/ 1379627 w 4040759"/>
                    <a:gd name="connsiteY3678" fmla="*/ 297261 h 1475329"/>
                    <a:gd name="connsiteX3679" fmla="*/ 1378160 w 4040759"/>
                    <a:gd name="connsiteY3679" fmla="*/ 298688 h 1475329"/>
                    <a:gd name="connsiteX3680" fmla="*/ 1367623 w 4040759"/>
                    <a:gd name="connsiteY3680" fmla="*/ 304450 h 1475329"/>
                    <a:gd name="connsiteX3681" fmla="*/ 1363401 w 4040759"/>
                    <a:gd name="connsiteY3681" fmla="*/ 305941 h 1475329"/>
                    <a:gd name="connsiteX3682" fmla="*/ 1362268 w 4040759"/>
                    <a:gd name="connsiteY3682" fmla="*/ 313479 h 1475329"/>
                    <a:gd name="connsiteX3683" fmla="*/ 1361706 w 4040759"/>
                    <a:gd name="connsiteY3683" fmla="*/ 315158 h 1475329"/>
                    <a:gd name="connsiteX3684" fmla="*/ 1361331 w 4040759"/>
                    <a:gd name="connsiteY3684" fmla="*/ 317799 h 1475329"/>
                    <a:gd name="connsiteX3685" fmla="*/ 1363238 w 4040759"/>
                    <a:gd name="connsiteY3685" fmla="*/ 323145 h 1475329"/>
                    <a:gd name="connsiteX3686" fmla="*/ 1363736 w 4040759"/>
                    <a:gd name="connsiteY3686" fmla="*/ 326397 h 1475329"/>
                    <a:gd name="connsiteX3687" fmla="*/ 1362114 w 4040759"/>
                    <a:gd name="connsiteY3687" fmla="*/ 330928 h 1475329"/>
                    <a:gd name="connsiteX3688" fmla="*/ 1359449 w 4040759"/>
                    <a:gd name="connsiteY3688" fmla="*/ 335810 h 1475329"/>
                    <a:gd name="connsiteX3689" fmla="*/ 1359922 w 4040759"/>
                    <a:gd name="connsiteY3689" fmla="*/ 339705 h 1475329"/>
                    <a:gd name="connsiteX3690" fmla="*/ 1360883 w 4040759"/>
                    <a:gd name="connsiteY3690" fmla="*/ 344897 h 1475329"/>
                    <a:gd name="connsiteX3691" fmla="*/ 1361250 w 4040759"/>
                    <a:gd name="connsiteY3691" fmla="*/ 343348 h 1475329"/>
                    <a:gd name="connsiteX3692" fmla="*/ 1361144 w 4040759"/>
                    <a:gd name="connsiteY3692" fmla="*/ 340985 h 1475329"/>
                    <a:gd name="connsiteX3693" fmla="*/ 1361812 w 4040759"/>
                    <a:gd name="connsiteY3693" fmla="*/ 338263 h 1475329"/>
                    <a:gd name="connsiteX3694" fmla="*/ 1366596 w 4040759"/>
                    <a:gd name="connsiteY3694" fmla="*/ 331678 h 1475329"/>
                    <a:gd name="connsiteX3695" fmla="*/ 1370092 w 4040759"/>
                    <a:gd name="connsiteY3695" fmla="*/ 322664 h 1475329"/>
                    <a:gd name="connsiteX3696" fmla="*/ 1373703 w 4040759"/>
                    <a:gd name="connsiteY3696" fmla="*/ 320325 h 1475329"/>
                    <a:gd name="connsiteX3697" fmla="*/ 1376963 w 4040759"/>
                    <a:gd name="connsiteY3697" fmla="*/ 319738 h 1475329"/>
                    <a:gd name="connsiteX3698" fmla="*/ 1380451 w 4040759"/>
                    <a:gd name="connsiteY3698" fmla="*/ 322420 h 1475329"/>
                    <a:gd name="connsiteX3699" fmla="*/ 1381469 w 4040759"/>
                    <a:gd name="connsiteY3699" fmla="*/ 326038 h 1475329"/>
                    <a:gd name="connsiteX3700" fmla="*/ 1381640 w 4040759"/>
                    <a:gd name="connsiteY3700" fmla="*/ 331466 h 1475329"/>
                    <a:gd name="connsiteX3701" fmla="*/ 1380948 w 4040759"/>
                    <a:gd name="connsiteY3701" fmla="*/ 336600 h 1475329"/>
                    <a:gd name="connsiteX3702" fmla="*/ 1378218 w 4040759"/>
                    <a:gd name="connsiteY3702" fmla="*/ 344375 h 1475329"/>
                    <a:gd name="connsiteX3703" fmla="*/ 1373817 w 4040759"/>
                    <a:gd name="connsiteY3703" fmla="*/ 349795 h 1475329"/>
                    <a:gd name="connsiteX3704" fmla="*/ 1372325 w 4040759"/>
                    <a:gd name="connsiteY3704" fmla="*/ 352875 h 1475329"/>
                    <a:gd name="connsiteX3705" fmla="*/ 1374428 w 4040759"/>
                    <a:gd name="connsiteY3705" fmla="*/ 355711 h 1475329"/>
                    <a:gd name="connsiteX3706" fmla="*/ 1376645 w 4040759"/>
                    <a:gd name="connsiteY3706" fmla="*/ 357928 h 1475329"/>
                    <a:gd name="connsiteX3707" fmla="*/ 1379236 w 4040759"/>
                    <a:gd name="connsiteY3707" fmla="*/ 358653 h 1475329"/>
                    <a:gd name="connsiteX3708" fmla="*/ 1382211 w 4040759"/>
                    <a:gd name="connsiteY3708" fmla="*/ 358442 h 1475329"/>
                    <a:gd name="connsiteX3709" fmla="*/ 1382912 w 4040759"/>
                    <a:gd name="connsiteY3709" fmla="*/ 357700 h 1475329"/>
                    <a:gd name="connsiteX3710" fmla="*/ 1383474 w 4040759"/>
                    <a:gd name="connsiteY3710" fmla="*/ 355573 h 1475329"/>
                    <a:gd name="connsiteX3711" fmla="*/ 1382537 w 4040759"/>
                    <a:gd name="connsiteY3711" fmla="*/ 352720 h 1475329"/>
                    <a:gd name="connsiteX3712" fmla="*/ 1382040 w 4040759"/>
                    <a:gd name="connsiteY3712" fmla="*/ 350227 h 1475329"/>
                    <a:gd name="connsiteX3713" fmla="*/ 1387484 w 4040759"/>
                    <a:gd name="connsiteY3713" fmla="*/ 348222 h 1475329"/>
                    <a:gd name="connsiteX3714" fmla="*/ 1392520 w 4040759"/>
                    <a:gd name="connsiteY3714" fmla="*/ 347162 h 1475329"/>
                    <a:gd name="connsiteX3715" fmla="*/ 1396562 w 4040759"/>
                    <a:gd name="connsiteY3715" fmla="*/ 343886 h 1475329"/>
                    <a:gd name="connsiteX3716" fmla="*/ 1397573 w 4040759"/>
                    <a:gd name="connsiteY3716" fmla="*/ 341726 h 1475329"/>
                    <a:gd name="connsiteX3717" fmla="*/ 1398453 w 4040759"/>
                    <a:gd name="connsiteY3717" fmla="*/ 338132 h 1475329"/>
                    <a:gd name="connsiteX3718" fmla="*/ 1396351 w 4040759"/>
                    <a:gd name="connsiteY3718" fmla="*/ 332476 h 1475329"/>
                    <a:gd name="connsiteX3719" fmla="*/ 1394558 w 4040759"/>
                    <a:gd name="connsiteY3719" fmla="*/ 328255 h 1475329"/>
                    <a:gd name="connsiteX3720" fmla="*/ 1388478 w 4040759"/>
                    <a:gd name="connsiteY3720" fmla="*/ 318223 h 1475329"/>
                    <a:gd name="connsiteX3721" fmla="*/ 1383947 w 4040759"/>
                    <a:gd name="connsiteY3721" fmla="*/ 313023 h 1475329"/>
                    <a:gd name="connsiteX3722" fmla="*/ 1386799 w 4040759"/>
                    <a:gd name="connsiteY3722" fmla="*/ 305216 h 1475329"/>
                    <a:gd name="connsiteX3723" fmla="*/ 1391550 w 4040759"/>
                    <a:gd name="connsiteY3723" fmla="*/ 296528 h 1475329"/>
                    <a:gd name="connsiteX3724" fmla="*/ 1393368 w 4040759"/>
                    <a:gd name="connsiteY3724" fmla="*/ 294401 h 1475329"/>
                    <a:gd name="connsiteX3725" fmla="*/ 1393849 w 4040759"/>
                    <a:gd name="connsiteY3725" fmla="*/ 293064 h 1475329"/>
                    <a:gd name="connsiteX3726" fmla="*/ 1394370 w 4040759"/>
                    <a:gd name="connsiteY3726" fmla="*/ 290750 h 1475329"/>
                    <a:gd name="connsiteX3727" fmla="*/ 1393930 w 4040759"/>
                    <a:gd name="connsiteY3727" fmla="*/ 288232 h 1475329"/>
                    <a:gd name="connsiteX3728" fmla="*/ 1393450 w 4040759"/>
                    <a:gd name="connsiteY3728" fmla="*/ 286683 h 1475329"/>
                    <a:gd name="connsiteX3729" fmla="*/ 1388649 w 4040759"/>
                    <a:gd name="connsiteY3729" fmla="*/ 280131 h 1475329"/>
                    <a:gd name="connsiteX3730" fmla="*/ 1385169 w 4040759"/>
                    <a:gd name="connsiteY3730" fmla="*/ 277971 h 1475329"/>
                    <a:gd name="connsiteX3731" fmla="*/ 1374126 w 4040759"/>
                    <a:gd name="connsiteY3731" fmla="*/ 276692 h 1475329"/>
                    <a:gd name="connsiteX3732" fmla="*/ 1371404 w 4040759"/>
                    <a:gd name="connsiteY3732" fmla="*/ 275673 h 1475329"/>
                    <a:gd name="connsiteX3733" fmla="*/ 1363320 w 4040759"/>
                    <a:gd name="connsiteY3733" fmla="*/ 268957 h 1475329"/>
                    <a:gd name="connsiteX3734" fmla="*/ 1362358 w 4040759"/>
                    <a:gd name="connsiteY3734" fmla="*/ 267442 h 1475329"/>
                    <a:gd name="connsiteX3735" fmla="*/ 1360582 w 4040759"/>
                    <a:gd name="connsiteY3735" fmla="*/ 262576 h 1475329"/>
                    <a:gd name="connsiteX3736" fmla="*/ 1359946 w 4040759"/>
                    <a:gd name="connsiteY3736" fmla="*/ 261370 h 1475329"/>
                    <a:gd name="connsiteX3737" fmla="*/ 1357729 w 4040759"/>
                    <a:gd name="connsiteY3737" fmla="*/ 260082 h 1475329"/>
                    <a:gd name="connsiteX3738" fmla="*/ 1350264 w 4040759"/>
                    <a:gd name="connsiteY3738" fmla="*/ 257279 h 1475329"/>
                    <a:gd name="connsiteX3739" fmla="*/ 1345138 w 4040759"/>
                    <a:gd name="connsiteY3739" fmla="*/ 256130 h 1475329"/>
                    <a:gd name="connsiteX3740" fmla="*/ 1337599 w 4040759"/>
                    <a:gd name="connsiteY3740" fmla="*/ 255796 h 1475329"/>
                    <a:gd name="connsiteX3741" fmla="*/ 1333028 w 4040759"/>
                    <a:gd name="connsiteY3741" fmla="*/ 254378 h 1475329"/>
                    <a:gd name="connsiteX3742" fmla="*/ 1326312 w 4040759"/>
                    <a:gd name="connsiteY3742" fmla="*/ 249846 h 1475329"/>
                    <a:gd name="connsiteX3743" fmla="*/ 1325579 w 4040759"/>
                    <a:gd name="connsiteY3743" fmla="*/ 248388 h 1475329"/>
                    <a:gd name="connsiteX3744" fmla="*/ 1323647 w 4040759"/>
                    <a:gd name="connsiteY3744" fmla="*/ 242495 h 1475329"/>
                    <a:gd name="connsiteX3745" fmla="*/ 1322066 w 4040759"/>
                    <a:gd name="connsiteY3745" fmla="*/ 239529 h 1475329"/>
                    <a:gd name="connsiteX3746" fmla="*/ 1322547 w 4040759"/>
                    <a:gd name="connsiteY3746" fmla="*/ 237353 h 1475329"/>
                    <a:gd name="connsiteX3747" fmla="*/ 1324992 w 4040759"/>
                    <a:gd name="connsiteY3747" fmla="*/ 232659 h 1475329"/>
                    <a:gd name="connsiteX3748" fmla="*/ 1326670 w 4040759"/>
                    <a:gd name="connsiteY3748" fmla="*/ 228567 h 1475329"/>
                    <a:gd name="connsiteX3749" fmla="*/ 1324576 w 4040759"/>
                    <a:gd name="connsiteY3749" fmla="*/ 225039 h 1475329"/>
                    <a:gd name="connsiteX3750" fmla="*/ 1321634 w 4040759"/>
                    <a:gd name="connsiteY3750" fmla="*/ 223938 h 1475329"/>
                    <a:gd name="connsiteX3751" fmla="*/ 1318423 w 4040759"/>
                    <a:gd name="connsiteY3751" fmla="*/ 222219 h 1475329"/>
                    <a:gd name="connsiteX3752" fmla="*/ 1317095 w 4040759"/>
                    <a:gd name="connsiteY3752" fmla="*/ 219016 h 1475329"/>
                    <a:gd name="connsiteX3753" fmla="*/ 1316320 w 4040759"/>
                    <a:gd name="connsiteY3753" fmla="*/ 215487 h 1475329"/>
                    <a:gd name="connsiteX3754" fmla="*/ 1316182 w 4040759"/>
                    <a:gd name="connsiteY3754" fmla="*/ 212773 h 1475329"/>
                    <a:gd name="connsiteX3755" fmla="*/ 1315660 w 4040759"/>
                    <a:gd name="connsiteY3755" fmla="*/ 209636 h 1475329"/>
                    <a:gd name="connsiteX3756" fmla="*/ 1317160 w 4040759"/>
                    <a:gd name="connsiteY3756" fmla="*/ 206995 h 1475329"/>
                    <a:gd name="connsiteX3757" fmla="*/ 1320566 w 4040759"/>
                    <a:gd name="connsiteY3757" fmla="*/ 204183 h 1475329"/>
                    <a:gd name="connsiteX3758" fmla="*/ 1319727 w 4040759"/>
                    <a:gd name="connsiteY3758" fmla="*/ 202276 h 1475329"/>
                    <a:gd name="connsiteX3759" fmla="*/ 1320257 w 4040759"/>
                    <a:gd name="connsiteY3759" fmla="*/ 199774 h 1475329"/>
                    <a:gd name="connsiteX3760" fmla="*/ 1342228 w 4040759"/>
                    <a:gd name="connsiteY3760" fmla="*/ 196417 h 1475329"/>
                    <a:gd name="connsiteX3761" fmla="*/ 1350859 w 4040759"/>
                    <a:gd name="connsiteY3761" fmla="*/ 195553 h 1475329"/>
                    <a:gd name="connsiteX3762" fmla="*/ 1393718 w 4040759"/>
                    <a:gd name="connsiteY3762" fmla="*/ 195202 h 1475329"/>
                    <a:gd name="connsiteX3763" fmla="*/ 1396750 w 4040759"/>
                    <a:gd name="connsiteY3763" fmla="*/ 194265 h 1475329"/>
                    <a:gd name="connsiteX3764" fmla="*/ 1415356 w 4040759"/>
                    <a:gd name="connsiteY3764" fmla="*/ 192603 h 1475329"/>
                    <a:gd name="connsiteX3765" fmla="*/ 1423302 w 4040759"/>
                    <a:gd name="connsiteY3765" fmla="*/ 190696 h 1475329"/>
                    <a:gd name="connsiteX3766" fmla="*/ 1431721 w 4040759"/>
                    <a:gd name="connsiteY3766" fmla="*/ 192717 h 1475329"/>
                    <a:gd name="connsiteX3767" fmla="*/ 1434785 w 4040759"/>
                    <a:gd name="connsiteY3767" fmla="*/ 192627 h 1475329"/>
                    <a:gd name="connsiteX3768" fmla="*/ 1440930 w 4040759"/>
                    <a:gd name="connsiteY3768" fmla="*/ 192008 h 1475329"/>
                    <a:gd name="connsiteX3769" fmla="*/ 1444972 w 4040759"/>
                    <a:gd name="connsiteY3769" fmla="*/ 187941 h 1475329"/>
                    <a:gd name="connsiteX3770" fmla="*/ 1454092 w 4040759"/>
                    <a:gd name="connsiteY3770" fmla="*/ 186287 h 1475329"/>
                    <a:gd name="connsiteX3771" fmla="*/ 1469274 w 4040759"/>
                    <a:gd name="connsiteY3771" fmla="*/ 184534 h 1475329"/>
                    <a:gd name="connsiteX3772" fmla="*/ 1476748 w 4040759"/>
                    <a:gd name="connsiteY3772" fmla="*/ 184869 h 1475329"/>
                    <a:gd name="connsiteX3773" fmla="*/ 1478451 w 4040759"/>
                    <a:gd name="connsiteY3773" fmla="*/ 186107 h 1475329"/>
                    <a:gd name="connsiteX3774" fmla="*/ 1480147 w 4040759"/>
                    <a:gd name="connsiteY3774" fmla="*/ 187819 h 1475329"/>
                    <a:gd name="connsiteX3775" fmla="*/ 1471907 w 4040759"/>
                    <a:gd name="connsiteY3775" fmla="*/ 192839 h 1475329"/>
                    <a:gd name="connsiteX3776" fmla="*/ 1463684 w 4040759"/>
                    <a:gd name="connsiteY3776" fmla="*/ 197378 h 1475329"/>
                    <a:gd name="connsiteX3777" fmla="*/ 1456944 w 4040759"/>
                    <a:gd name="connsiteY3777" fmla="*/ 199310 h 1475329"/>
                    <a:gd name="connsiteX3778" fmla="*/ 1450318 w 4040759"/>
                    <a:gd name="connsiteY3778" fmla="*/ 203311 h 1475329"/>
                    <a:gd name="connsiteX3779" fmla="*/ 1449658 w 4040759"/>
                    <a:gd name="connsiteY3779" fmla="*/ 204884 h 1475329"/>
                    <a:gd name="connsiteX3780" fmla="*/ 1449463 w 4040759"/>
                    <a:gd name="connsiteY3780" fmla="*/ 205846 h 1475329"/>
                    <a:gd name="connsiteX3781" fmla="*/ 1449715 w 4040759"/>
                    <a:gd name="connsiteY3781" fmla="*/ 208951 h 1475329"/>
                    <a:gd name="connsiteX3782" fmla="*/ 1450098 w 4040759"/>
                    <a:gd name="connsiteY3782" fmla="*/ 211029 h 1475329"/>
                    <a:gd name="connsiteX3783" fmla="*/ 1457034 w 4040759"/>
                    <a:gd name="connsiteY3783" fmla="*/ 213556 h 1475329"/>
                    <a:gd name="connsiteX3784" fmla="*/ 1462249 w 4040759"/>
                    <a:gd name="connsiteY3784" fmla="*/ 217133 h 1475329"/>
                    <a:gd name="connsiteX3785" fmla="*/ 1467367 w 4040759"/>
                    <a:gd name="connsiteY3785" fmla="*/ 219692 h 1475329"/>
                    <a:gd name="connsiteX3786" fmla="*/ 1471402 w 4040759"/>
                    <a:gd name="connsiteY3786" fmla="*/ 221265 h 1475329"/>
                    <a:gd name="connsiteX3787" fmla="*/ 1472339 w 4040759"/>
                    <a:gd name="connsiteY3787" fmla="*/ 220377 h 1475329"/>
                    <a:gd name="connsiteX3788" fmla="*/ 1457620 w 4040759"/>
                    <a:gd name="connsiteY3788" fmla="*/ 211975 h 1475329"/>
                    <a:gd name="connsiteX3789" fmla="*/ 1453880 w 4040759"/>
                    <a:gd name="connsiteY3789" fmla="*/ 210092 h 1475329"/>
                    <a:gd name="connsiteX3790" fmla="*/ 1452380 w 4040759"/>
                    <a:gd name="connsiteY3790" fmla="*/ 208079 h 1475329"/>
                    <a:gd name="connsiteX3791" fmla="*/ 1453097 w 4040759"/>
                    <a:gd name="connsiteY3791" fmla="*/ 205007 h 1475329"/>
                    <a:gd name="connsiteX3792" fmla="*/ 1454581 w 4040759"/>
                    <a:gd name="connsiteY3792" fmla="*/ 203629 h 1475329"/>
                    <a:gd name="connsiteX3793" fmla="*/ 1456903 w 4040759"/>
                    <a:gd name="connsiteY3793" fmla="*/ 202081 h 1475329"/>
                    <a:gd name="connsiteX3794" fmla="*/ 1458452 w 4040759"/>
                    <a:gd name="connsiteY3794" fmla="*/ 201355 h 1475329"/>
                    <a:gd name="connsiteX3795" fmla="*/ 1463945 w 4040759"/>
                    <a:gd name="connsiteY3795" fmla="*/ 199766 h 1475329"/>
                    <a:gd name="connsiteX3796" fmla="*/ 1482387 w 4040759"/>
                    <a:gd name="connsiteY3796" fmla="*/ 197598 h 1475329"/>
                    <a:gd name="connsiteX3797" fmla="*/ 1486715 w 4040759"/>
                    <a:gd name="connsiteY3797" fmla="*/ 193418 h 1475329"/>
                    <a:gd name="connsiteX3798" fmla="*/ 1488573 w 4040759"/>
                    <a:gd name="connsiteY3798" fmla="*/ 191013 h 1475329"/>
                    <a:gd name="connsiteX3799" fmla="*/ 1493577 w 4040759"/>
                    <a:gd name="connsiteY3799" fmla="*/ 188446 h 1475329"/>
                    <a:gd name="connsiteX3800" fmla="*/ 1491890 w 4040759"/>
                    <a:gd name="connsiteY3800" fmla="*/ 187428 h 1475329"/>
                    <a:gd name="connsiteX3801" fmla="*/ 1487782 w 4040759"/>
                    <a:gd name="connsiteY3801" fmla="*/ 186792 h 1475329"/>
                    <a:gd name="connsiteX3802" fmla="*/ 1484620 w 4040759"/>
                    <a:gd name="connsiteY3802" fmla="*/ 185268 h 1475329"/>
                    <a:gd name="connsiteX3803" fmla="*/ 1471891 w 4040759"/>
                    <a:gd name="connsiteY3803" fmla="*/ 170395 h 1475329"/>
                    <a:gd name="connsiteX3804" fmla="*/ 1468770 w 4040759"/>
                    <a:gd name="connsiteY3804" fmla="*/ 168113 h 1475329"/>
                    <a:gd name="connsiteX3805" fmla="*/ 1459014 w 4040759"/>
                    <a:gd name="connsiteY3805" fmla="*/ 166434 h 1475329"/>
                    <a:gd name="connsiteX3806" fmla="*/ 1454638 w 4040759"/>
                    <a:gd name="connsiteY3806" fmla="*/ 164714 h 1475329"/>
                    <a:gd name="connsiteX3807" fmla="*/ 1459144 w 4040759"/>
                    <a:gd name="connsiteY3807" fmla="*/ 159661 h 1475329"/>
                    <a:gd name="connsiteX3808" fmla="*/ 1464417 w 4040759"/>
                    <a:gd name="connsiteY3808" fmla="*/ 158390 h 1475329"/>
                    <a:gd name="connsiteX3809" fmla="*/ 1467963 w 4040759"/>
                    <a:gd name="connsiteY3809" fmla="*/ 158667 h 1475329"/>
                    <a:gd name="connsiteX3810" fmla="*/ 1471092 w 4040759"/>
                    <a:gd name="connsiteY3810" fmla="*/ 160077 h 1475329"/>
                    <a:gd name="connsiteX3811" fmla="*/ 1476878 w 4040759"/>
                    <a:gd name="connsiteY3811" fmla="*/ 164274 h 1475329"/>
                    <a:gd name="connsiteX3812" fmla="*/ 1485101 w 4040759"/>
                    <a:gd name="connsiteY3812" fmla="*/ 162457 h 1475329"/>
                    <a:gd name="connsiteX3813" fmla="*/ 1482045 w 4040759"/>
                    <a:gd name="connsiteY3813" fmla="*/ 160582 h 1475329"/>
                    <a:gd name="connsiteX3814" fmla="*/ 1476788 w 4040759"/>
                    <a:gd name="connsiteY3814" fmla="*/ 158406 h 1475329"/>
                    <a:gd name="connsiteX3815" fmla="*/ 1471972 w 4040759"/>
                    <a:gd name="connsiteY3815" fmla="*/ 154967 h 1475329"/>
                    <a:gd name="connsiteX3816" fmla="*/ 1465167 w 4040759"/>
                    <a:gd name="connsiteY3816" fmla="*/ 151984 h 1475329"/>
                    <a:gd name="connsiteX3817" fmla="*/ 1457490 w 4040759"/>
                    <a:gd name="connsiteY3817" fmla="*/ 149947 h 1475329"/>
                    <a:gd name="connsiteX3818" fmla="*/ 1449422 w 4040759"/>
                    <a:gd name="connsiteY3818" fmla="*/ 149173 h 1475329"/>
                    <a:gd name="connsiteX3819" fmla="*/ 1451647 w 4040759"/>
                    <a:gd name="connsiteY3819" fmla="*/ 144658 h 1475329"/>
                    <a:gd name="connsiteX3820" fmla="*/ 1456072 w 4040759"/>
                    <a:gd name="connsiteY3820" fmla="*/ 145228 h 1475329"/>
                    <a:gd name="connsiteX3821" fmla="*/ 1457580 w 4040759"/>
                    <a:gd name="connsiteY3821" fmla="*/ 143851 h 1475329"/>
                    <a:gd name="connsiteX3822" fmla="*/ 1459601 w 4040759"/>
                    <a:gd name="connsiteY3822" fmla="*/ 141056 h 1475329"/>
                    <a:gd name="connsiteX3823" fmla="*/ 1470766 w 4040759"/>
                    <a:gd name="connsiteY3823" fmla="*/ 147396 h 1475329"/>
                    <a:gd name="connsiteX3824" fmla="*/ 1476006 w 4040759"/>
                    <a:gd name="connsiteY3824" fmla="*/ 145725 h 1475329"/>
                    <a:gd name="connsiteX3825" fmla="*/ 1480448 w 4040759"/>
                    <a:gd name="connsiteY3825" fmla="*/ 142832 h 1475329"/>
                    <a:gd name="connsiteX3826" fmla="*/ 1489812 w 4040759"/>
                    <a:gd name="connsiteY3826" fmla="*/ 135139 h 1475329"/>
                    <a:gd name="connsiteX3827" fmla="*/ 1491010 w 4040759"/>
                    <a:gd name="connsiteY3827" fmla="*/ 131692 h 1475329"/>
                    <a:gd name="connsiteX3828" fmla="*/ 1486544 w 4040759"/>
                    <a:gd name="connsiteY3828" fmla="*/ 129825 h 1475329"/>
                    <a:gd name="connsiteX3829" fmla="*/ 1482901 w 4040759"/>
                    <a:gd name="connsiteY3829" fmla="*/ 128888 h 1475329"/>
                    <a:gd name="connsiteX3830" fmla="*/ 1477897 w 4040759"/>
                    <a:gd name="connsiteY3830" fmla="*/ 129084 h 1475329"/>
                    <a:gd name="connsiteX3831" fmla="*/ 1477465 w 4040759"/>
                    <a:gd name="connsiteY3831" fmla="*/ 126957 h 1475329"/>
                    <a:gd name="connsiteX3832" fmla="*/ 1479552 w 4040759"/>
                    <a:gd name="connsiteY3832" fmla="*/ 124243 h 1475329"/>
                    <a:gd name="connsiteX3833" fmla="*/ 1483642 w 4040759"/>
                    <a:gd name="connsiteY3833" fmla="*/ 123191 h 1475329"/>
                    <a:gd name="connsiteX3834" fmla="*/ 1496063 w 4040759"/>
                    <a:gd name="connsiteY3834" fmla="*/ 126158 h 1475329"/>
                    <a:gd name="connsiteX3835" fmla="*/ 1516706 w 4040759"/>
                    <a:gd name="connsiteY3835" fmla="*/ 118473 h 1475329"/>
                    <a:gd name="connsiteX3836" fmla="*/ 1522394 w 4040759"/>
                    <a:gd name="connsiteY3836" fmla="*/ 114724 h 1475329"/>
                    <a:gd name="connsiteX3837" fmla="*/ 1536714 w 4040759"/>
                    <a:gd name="connsiteY3837" fmla="*/ 109891 h 1475329"/>
                    <a:gd name="connsiteX3838" fmla="*/ 1543779 w 4040759"/>
                    <a:gd name="connsiteY3838" fmla="*/ 110461 h 1475329"/>
                    <a:gd name="connsiteX3839" fmla="*/ 1558408 w 4040759"/>
                    <a:gd name="connsiteY3839" fmla="*/ 104105 h 1475329"/>
                    <a:gd name="connsiteX3840" fmla="*/ 1578734 w 4040759"/>
                    <a:gd name="connsiteY3840" fmla="*/ 101293 h 1475329"/>
                    <a:gd name="connsiteX3841" fmla="*/ 1590510 w 4040759"/>
                    <a:gd name="connsiteY3841" fmla="*/ 101293 h 1475329"/>
                    <a:gd name="connsiteX3842" fmla="*/ 1599581 w 4040759"/>
                    <a:gd name="connsiteY3842" fmla="*/ 97740 h 1475329"/>
                    <a:gd name="connsiteX3843" fmla="*/ 1613525 w 4040759"/>
                    <a:gd name="connsiteY3843" fmla="*/ 96493 h 1475329"/>
                    <a:gd name="connsiteX3844" fmla="*/ 1618366 w 4040759"/>
                    <a:gd name="connsiteY3844" fmla="*/ 95067 h 1475329"/>
                    <a:gd name="connsiteX3845" fmla="*/ 1641870 w 4040759"/>
                    <a:gd name="connsiteY3845" fmla="*/ 91464 h 1475329"/>
                    <a:gd name="connsiteX3846" fmla="*/ 1654885 w 4040759"/>
                    <a:gd name="connsiteY3846" fmla="*/ 88628 h 1475329"/>
                    <a:gd name="connsiteX3847" fmla="*/ 1656906 w 4040759"/>
                    <a:gd name="connsiteY3847" fmla="*/ 86403 h 1475329"/>
                    <a:gd name="connsiteX3848" fmla="*/ 1645268 w 4040759"/>
                    <a:gd name="connsiteY3848" fmla="*/ 88221 h 1475329"/>
                    <a:gd name="connsiteX3849" fmla="*/ 1642456 w 4040759"/>
                    <a:gd name="connsiteY3849" fmla="*/ 86542 h 1475329"/>
                    <a:gd name="connsiteX3850" fmla="*/ 1640011 w 4040759"/>
                    <a:gd name="connsiteY3850" fmla="*/ 87675 h 1475329"/>
                    <a:gd name="connsiteX3851" fmla="*/ 1638284 w 4040759"/>
                    <a:gd name="connsiteY3851" fmla="*/ 89199 h 1475329"/>
                    <a:gd name="connsiteX3852" fmla="*/ 1632644 w 4040759"/>
                    <a:gd name="connsiteY3852" fmla="*/ 86420 h 1475329"/>
                    <a:gd name="connsiteX3853" fmla="*/ 1631112 w 4040759"/>
                    <a:gd name="connsiteY3853" fmla="*/ 87104 h 1475329"/>
                    <a:gd name="connsiteX3854" fmla="*/ 1629930 w 4040759"/>
                    <a:gd name="connsiteY3854" fmla="*/ 88636 h 1475329"/>
                    <a:gd name="connsiteX3855" fmla="*/ 1627885 w 4040759"/>
                    <a:gd name="connsiteY3855" fmla="*/ 89125 h 1475329"/>
                    <a:gd name="connsiteX3856" fmla="*/ 1625505 w 4040759"/>
                    <a:gd name="connsiteY3856" fmla="*/ 88775 h 1475329"/>
                    <a:gd name="connsiteX3857" fmla="*/ 1624706 w 4040759"/>
                    <a:gd name="connsiteY3857" fmla="*/ 85434 h 1475329"/>
                    <a:gd name="connsiteX3858" fmla="*/ 1627518 w 4040759"/>
                    <a:gd name="connsiteY3858" fmla="*/ 80813 h 1475329"/>
                    <a:gd name="connsiteX3859" fmla="*/ 1630827 w 4040759"/>
                    <a:gd name="connsiteY3859" fmla="*/ 83192 h 1475329"/>
                    <a:gd name="connsiteX3860" fmla="*/ 1634657 w 4040759"/>
                    <a:gd name="connsiteY3860" fmla="*/ 79672 h 1475329"/>
                    <a:gd name="connsiteX3861" fmla="*/ 1637143 w 4040759"/>
                    <a:gd name="connsiteY3861" fmla="*/ 79574 h 1475329"/>
                    <a:gd name="connsiteX3862" fmla="*/ 1644307 w 4040759"/>
                    <a:gd name="connsiteY3862" fmla="*/ 81831 h 1475329"/>
                    <a:gd name="connsiteX3863" fmla="*/ 1649131 w 4040759"/>
                    <a:gd name="connsiteY3863" fmla="*/ 79550 h 1475329"/>
                    <a:gd name="connsiteX3864" fmla="*/ 1655569 w 4040759"/>
                    <a:gd name="connsiteY3864" fmla="*/ 78474 h 1475329"/>
                    <a:gd name="connsiteX3865" fmla="*/ 1662659 w 4040759"/>
                    <a:gd name="connsiteY3865" fmla="*/ 79484 h 1475329"/>
                    <a:gd name="connsiteX3866" fmla="*/ 1665594 w 4040759"/>
                    <a:gd name="connsiteY3866" fmla="*/ 79232 h 1475329"/>
                    <a:gd name="connsiteX3867" fmla="*/ 1667305 w 4040759"/>
                    <a:gd name="connsiteY3867" fmla="*/ 77113 h 1475329"/>
                    <a:gd name="connsiteX3868" fmla="*/ 1678788 w 4040759"/>
                    <a:gd name="connsiteY3868" fmla="*/ 78963 h 1475329"/>
                    <a:gd name="connsiteX3869" fmla="*/ 1686742 w 4040759"/>
                    <a:gd name="connsiteY3869" fmla="*/ 77700 h 1475329"/>
                    <a:gd name="connsiteX3870" fmla="*/ 1692178 w 4040759"/>
                    <a:gd name="connsiteY3870" fmla="*/ 77814 h 1475329"/>
                    <a:gd name="connsiteX3871" fmla="*/ 1700637 w 4040759"/>
                    <a:gd name="connsiteY3871" fmla="*/ 78979 h 1475329"/>
                    <a:gd name="connsiteX3872" fmla="*/ 1704500 w 4040759"/>
                    <a:gd name="connsiteY3872" fmla="*/ 80479 h 1475329"/>
                    <a:gd name="connsiteX3873" fmla="*/ 1702283 w 4040759"/>
                    <a:gd name="connsiteY3873" fmla="*/ 83975 h 1475329"/>
                    <a:gd name="connsiteX3874" fmla="*/ 1694020 w 4040759"/>
                    <a:gd name="connsiteY3874" fmla="*/ 89631 h 1475329"/>
                    <a:gd name="connsiteX3875" fmla="*/ 1696286 w 4040759"/>
                    <a:gd name="connsiteY3875" fmla="*/ 90592 h 1475329"/>
                    <a:gd name="connsiteX3876" fmla="*/ 1701020 w 4040759"/>
                    <a:gd name="connsiteY3876" fmla="*/ 88001 h 1475329"/>
                    <a:gd name="connsiteX3877" fmla="*/ 1715250 w 4040759"/>
                    <a:gd name="connsiteY3877" fmla="*/ 84162 h 1475329"/>
                    <a:gd name="connsiteX3878" fmla="*/ 1717523 w 4040759"/>
                    <a:gd name="connsiteY3878" fmla="*/ 84920 h 1475329"/>
                    <a:gd name="connsiteX3879" fmla="*/ 1715967 w 4040759"/>
                    <a:gd name="connsiteY3879" fmla="*/ 88213 h 1475329"/>
                    <a:gd name="connsiteX3880" fmla="*/ 1714965 w 4040759"/>
                    <a:gd name="connsiteY3880" fmla="*/ 89680 h 1475329"/>
                    <a:gd name="connsiteX3881" fmla="*/ 1724442 w 4040759"/>
                    <a:gd name="connsiteY3881" fmla="*/ 87756 h 1475329"/>
                    <a:gd name="connsiteX3882" fmla="*/ 1732527 w 4040759"/>
                    <a:gd name="connsiteY3882" fmla="*/ 83535 h 1475329"/>
                    <a:gd name="connsiteX3883" fmla="*/ 1736129 w 4040759"/>
                    <a:gd name="connsiteY3883" fmla="*/ 82826 h 1475329"/>
                    <a:gd name="connsiteX3884" fmla="*/ 1739813 w 4040759"/>
                    <a:gd name="connsiteY3884" fmla="*/ 85393 h 1475329"/>
                    <a:gd name="connsiteX3885" fmla="*/ 1743244 w 4040759"/>
                    <a:gd name="connsiteY3885" fmla="*/ 83038 h 1475329"/>
                    <a:gd name="connsiteX3886" fmla="*/ 1744051 w 4040759"/>
                    <a:gd name="connsiteY3886" fmla="*/ 80674 h 1475329"/>
                    <a:gd name="connsiteX3887" fmla="*/ 1750220 w 4040759"/>
                    <a:gd name="connsiteY3887" fmla="*/ 80161 h 1475329"/>
                    <a:gd name="connsiteX3888" fmla="*/ 1752730 w 4040759"/>
                    <a:gd name="connsiteY3888" fmla="*/ 77993 h 1475329"/>
                    <a:gd name="connsiteX3889" fmla="*/ 1757058 w 4040759"/>
                    <a:gd name="connsiteY3889" fmla="*/ 76404 h 1475329"/>
                    <a:gd name="connsiteX3890" fmla="*/ 1760717 w 4040759"/>
                    <a:gd name="connsiteY3890" fmla="*/ 75719 h 1475329"/>
                    <a:gd name="connsiteX3891" fmla="*/ 1768655 w 4040759"/>
                    <a:gd name="connsiteY3891" fmla="*/ 72720 h 1475329"/>
                    <a:gd name="connsiteX3892" fmla="*/ 1771361 w 4040759"/>
                    <a:gd name="connsiteY3892" fmla="*/ 73625 h 1475329"/>
                    <a:gd name="connsiteX3893" fmla="*/ 1776658 w 4040759"/>
                    <a:gd name="connsiteY3893" fmla="*/ 74415 h 1475329"/>
                    <a:gd name="connsiteX3894" fmla="*/ 1781678 w 4040759"/>
                    <a:gd name="connsiteY3894" fmla="*/ 75858 h 1475329"/>
                    <a:gd name="connsiteX3895" fmla="*/ 1790993 w 4040759"/>
                    <a:gd name="connsiteY3895" fmla="*/ 79158 h 1475329"/>
                    <a:gd name="connsiteX3896" fmla="*/ 1792306 w 4040759"/>
                    <a:gd name="connsiteY3896" fmla="*/ 80462 h 1475329"/>
                    <a:gd name="connsiteX3897" fmla="*/ 1793479 w 4040759"/>
                    <a:gd name="connsiteY3897" fmla="*/ 80674 h 1475329"/>
                    <a:gd name="connsiteX3898" fmla="*/ 1796152 w 4040759"/>
                    <a:gd name="connsiteY3898" fmla="*/ 83046 h 1475329"/>
                    <a:gd name="connsiteX3899" fmla="*/ 1794131 w 4040759"/>
                    <a:gd name="connsiteY3899" fmla="*/ 86534 h 1475329"/>
                    <a:gd name="connsiteX3900" fmla="*/ 1791971 w 4040759"/>
                    <a:gd name="connsiteY3900" fmla="*/ 91562 h 1475329"/>
                    <a:gd name="connsiteX3901" fmla="*/ 1788002 w 4040759"/>
                    <a:gd name="connsiteY3901" fmla="*/ 93918 h 1475329"/>
                    <a:gd name="connsiteX3902" fmla="*/ 1790439 w 4040759"/>
                    <a:gd name="connsiteY3902" fmla="*/ 94138 h 1475329"/>
                    <a:gd name="connsiteX3903" fmla="*/ 1792142 w 4040759"/>
                    <a:gd name="connsiteY3903" fmla="*/ 93526 h 1475329"/>
                    <a:gd name="connsiteX3904" fmla="*/ 1795337 w 4040759"/>
                    <a:gd name="connsiteY3904" fmla="*/ 90185 h 1475329"/>
                    <a:gd name="connsiteX3905" fmla="*/ 1798157 w 4040759"/>
                    <a:gd name="connsiteY3905" fmla="*/ 87797 h 1475329"/>
                    <a:gd name="connsiteX3906" fmla="*/ 1797505 w 4040759"/>
                    <a:gd name="connsiteY3906" fmla="*/ 77871 h 1475329"/>
                    <a:gd name="connsiteX3907" fmla="*/ 1792338 w 4040759"/>
                    <a:gd name="connsiteY3907" fmla="*/ 72842 h 1475329"/>
                    <a:gd name="connsiteX3908" fmla="*/ 1788459 w 4040759"/>
                    <a:gd name="connsiteY3908" fmla="*/ 71147 h 1475329"/>
                    <a:gd name="connsiteX3909" fmla="*/ 1779364 w 4040759"/>
                    <a:gd name="connsiteY3909" fmla="*/ 65858 h 1475329"/>
                    <a:gd name="connsiteX3910" fmla="*/ 1776283 w 4040759"/>
                    <a:gd name="connsiteY3910" fmla="*/ 63609 h 1475329"/>
                    <a:gd name="connsiteX3911" fmla="*/ 1772216 w 4040759"/>
                    <a:gd name="connsiteY3911" fmla="*/ 61188 h 1475329"/>
                    <a:gd name="connsiteX3912" fmla="*/ 1773798 w 4040759"/>
                    <a:gd name="connsiteY3912" fmla="*/ 59778 h 1475329"/>
                    <a:gd name="connsiteX3913" fmla="*/ 1791328 w 4040759"/>
                    <a:gd name="connsiteY3913" fmla="*/ 61628 h 1475329"/>
                    <a:gd name="connsiteX3914" fmla="*/ 1800235 w 4040759"/>
                    <a:gd name="connsiteY3914" fmla="*/ 60740 h 1475329"/>
                    <a:gd name="connsiteX3915" fmla="*/ 1809828 w 4040759"/>
                    <a:gd name="connsiteY3915" fmla="*/ 61253 h 1475329"/>
                    <a:gd name="connsiteX3916" fmla="*/ 1822769 w 4040759"/>
                    <a:gd name="connsiteY3916" fmla="*/ 59029 h 1475329"/>
                    <a:gd name="connsiteX3917" fmla="*/ 1828140 w 4040759"/>
                    <a:gd name="connsiteY3917" fmla="*/ 61351 h 1475329"/>
                    <a:gd name="connsiteX3918" fmla="*/ 1834350 w 4040759"/>
                    <a:gd name="connsiteY3918" fmla="*/ 61270 h 1475329"/>
                    <a:gd name="connsiteX3919" fmla="*/ 1841473 w 4040759"/>
                    <a:gd name="connsiteY3919" fmla="*/ 63193 h 1475329"/>
                    <a:gd name="connsiteX3920" fmla="*/ 1843608 w 4040759"/>
                    <a:gd name="connsiteY3920" fmla="*/ 60952 h 1475329"/>
                    <a:gd name="connsiteX3921" fmla="*/ 1831930 w 4040759"/>
                    <a:gd name="connsiteY3921" fmla="*/ 58515 h 1475329"/>
                    <a:gd name="connsiteX3922" fmla="*/ 1826714 w 4040759"/>
                    <a:gd name="connsiteY3922" fmla="*/ 58768 h 1475329"/>
                    <a:gd name="connsiteX3923" fmla="*/ 1824856 w 4040759"/>
                    <a:gd name="connsiteY3923" fmla="*/ 57488 h 1475329"/>
                    <a:gd name="connsiteX3924" fmla="*/ 1826803 w 4040759"/>
                    <a:gd name="connsiteY3924" fmla="*/ 54652 h 1475329"/>
                    <a:gd name="connsiteX3925" fmla="*/ 1829110 w 4040759"/>
                    <a:gd name="connsiteY3925" fmla="*/ 50333 h 1475329"/>
                    <a:gd name="connsiteX3926" fmla="*/ 1826836 w 4040759"/>
                    <a:gd name="connsiteY3926" fmla="*/ 46568 h 1475329"/>
                    <a:gd name="connsiteX3927" fmla="*/ 1824668 w 4040759"/>
                    <a:gd name="connsiteY3927" fmla="*/ 44563 h 1475329"/>
                    <a:gd name="connsiteX3928" fmla="*/ 1824310 w 4040759"/>
                    <a:gd name="connsiteY3928" fmla="*/ 40741 h 1475329"/>
                    <a:gd name="connsiteX3929" fmla="*/ 1826388 w 4040759"/>
                    <a:gd name="connsiteY3929" fmla="*/ 36356 h 1475329"/>
                    <a:gd name="connsiteX3930" fmla="*/ 1831253 w 4040759"/>
                    <a:gd name="connsiteY3930" fmla="*/ 34498 h 1475329"/>
                    <a:gd name="connsiteX3931" fmla="*/ 1833902 w 4040759"/>
                    <a:gd name="connsiteY3931" fmla="*/ 30920 h 1475329"/>
                    <a:gd name="connsiteX3932" fmla="*/ 1839484 w 4040759"/>
                    <a:gd name="connsiteY3932" fmla="*/ 26193 h 1475329"/>
                    <a:gd name="connsiteX3933" fmla="*/ 1866582 w 4040759"/>
                    <a:gd name="connsiteY3933" fmla="*/ 10945 h 1475329"/>
                    <a:gd name="connsiteX3934" fmla="*/ 1879508 w 4040759"/>
                    <a:gd name="connsiteY3934" fmla="*/ 5134 h 1475329"/>
                    <a:gd name="connsiteX3935" fmla="*/ 1884463 w 4040759"/>
                    <a:gd name="connsiteY3935" fmla="*/ 4417 h 1475329"/>
                    <a:gd name="connsiteX3936" fmla="*/ 1890151 w 4040759"/>
                    <a:gd name="connsiteY3936" fmla="*/ 4865 h 1475329"/>
                    <a:gd name="connsiteX3937" fmla="*/ 1901406 w 4040759"/>
                    <a:gd name="connsiteY3937" fmla="*/ 0 h 1475329"/>
                    <a:gd name="connsiteX3938" fmla="*/ 1905636 w 4040759"/>
                    <a:gd name="connsiteY3938" fmla="*/ 0 h 1475329"/>
                    <a:gd name="connsiteX3939" fmla="*/ 1921242 w 4040759"/>
                    <a:gd name="connsiteY3939" fmla="*/ 3871 h 1475329"/>
                    <a:gd name="connsiteX3940" fmla="*/ 1924991 w 4040759"/>
                    <a:gd name="connsiteY3940" fmla="*/ 6699 h 1475329"/>
                    <a:gd name="connsiteX3941" fmla="*/ 1933508 w 4040759"/>
                    <a:gd name="connsiteY3941" fmla="*/ 8940 h 1475329"/>
                    <a:gd name="connsiteX3942" fmla="*/ 1943467 w 4040759"/>
                    <a:gd name="connsiteY3942" fmla="*/ 10122 h 1475329"/>
                    <a:gd name="connsiteX3943" fmla="*/ 1948030 w 4040759"/>
                    <a:gd name="connsiteY3943" fmla="*/ 11915 h 1475329"/>
                    <a:gd name="connsiteX3944" fmla="*/ 1950247 w 4040759"/>
                    <a:gd name="connsiteY3944" fmla="*/ 13944 h 1475329"/>
                    <a:gd name="connsiteX3945" fmla="*/ 1952138 w 4040759"/>
                    <a:gd name="connsiteY3945" fmla="*/ 16748 h 1475329"/>
                    <a:gd name="connsiteX3946" fmla="*/ 1944061 w 4040759"/>
                    <a:gd name="connsiteY3946" fmla="*/ 18647 h 1475329"/>
                    <a:gd name="connsiteX3947" fmla="*/ 1935382 w 4040759"/>
                    <a:gd name="connsiteY3947" fmla="*/ 24245 h 1475329"/>
                    <a:gd name="connsiteX3948" fmla="*/ 1923663 w 4040759"/>
                    <a:gd name="connsiteY3948" fmla="*/ 27342 h 1475329"/>
                    <a:gd name="connsiteX3949" fmla="*/ 1909075 w 4040759"/>
                    <a:gd name="connsiteY3949" fmla="*/ 29404 h 1475329"/>
                    <a:gd name="connsiteX3950" fmla="*/ 1906068 w 4040759"/>
                    <a:gd name="connsiteY3950" fmla="*/ 30912 h 1475329"/>
                    <a:gd name="connsiteX3951" fmla="*/ 1933793 w 4040759"/>
                    <a:gd name="connsiteY3951" fmla="*/ 31376 h 1475329"/>
                    <a:gd name="connsiteX3952" fmla="*/ 1941869 w 4040759"/>
                    <a:gd name="connsiteY3952" fmla="*/ 30969 h 1475329"/>
                    <a:gd name="connsiteX3953" fmla="*/ 1943516 w 4040759"/>
                    <a:gd name="connsiteY3953" fmla="*/ 35818 h 1475329"/>
                    <a:gd name="connsiteX3954" fmla="*/ 1946238 w 4040759"/>
                    <a:gd name="connsiteY3954" fmla="*/ 36014 h 1475329"/>
                    <a:gd name="connsiteX3955" fmla="*/ 1954265 w 4040759"/>
                    <a:gd name="connsiteY3955" fmla="*/ 33675 h 1475329"/>
                    <a:gd name="connsiteX3956" fmla="*/ 1959057 w 4040759"/>
                    <a:gd name="connsiteY3956" fmla="*/ 33552 h 1475329"/>
                    <a:gd name="connsiteX3957" fmla="*/ 1968136 w 4040759"/>
                    <a:gd name="connsiteY3957" fmla="*/ 35215 h 1475329"/>
                    <a:gd name="connsiteX3958" fmla="*/ 1970084 w 4040759"/>
                    <a:gd name="connsiteY3958" fmla="*/ 34335 h 1475329"/>
                    <a:gd name="connsiteX3959" fmla="*/ 1974004 w 4040759"/>
                    <a:gd name="connsiteY3959" fmla="*/ 34213 h 1475329"/>
                    <a:gd name="connsiteX3960" fmla="*/ 1982374 w 4040759"/>
                    <a:gd name="connsiteY3960" fmla="*/ 36332 h 1475329"/>
                    <a:gd name="connsiteX3961" fmla="*/ 1986114 w 4040759"/>
                    <a:gd name="connsiteY3961" fmla="*/ 39477 h 1475329"/>
                    <a:gd name="connsiteX3962" fmla="*/ 1980173 w 4040759"/>
                    <a:gd name="connsiteY3962" fmla="*/ 44579 h 1475329"/>
                    <a:gd name="connsiteX3963" fmla="*/ 1973996 w 4040759"/>
                    <a:gd name="connsiteY3963" fmla="*/ 49045 h 1475329"/>
                    <a:gd name="connsiteX3964" fmla="*/ 1966498 w 4040759"/>
                    <a:gd name="connsiteY3964" fmla="*/ 56690 h 1475329"/>
                    <a:gd name="connsiteX3965" fmla="*/ 1964184 w 4040759"/>
                    <a:gd name="connsiteY3965" fmla="*/ 56054 h 1475329"/>
                    <a:gd name="connsiteX3966" fmla="*/ 1960190 w 4040759"/>
                    <a:gd name="connsiteY3966" fmla="*/ 55907 h 1475329"/>
                    <a:gd name="connsiteX3967" fmla="*/ 1960907 w 4040759"/>
                    <a:gd name="connsiteY3967" fmla="*/ 59648 h 1475329"/>
                    <a:gd name="connsiteX3968" fmla="*/ 1967598 w 4040759"/>
                    <a:gd name="connsiteY3968" fmla="*/ 59534 h 1475329"/>
                    <a:gd name="connsiteX3969" fmla="*/ 1971119 w 4040759"/>
                    <a:gd name="connsiteY3969" fmla="*/ 61213 h 1475329"/>
                    <a:gd name="connsiteX3970" fmla="*/ 1979366 w 4040759"/>
                    <a:gd name="connsiteY3970" fmla="*/ 59077 h 1475329"/>
                    <a:gd name="connsiteX3971" fmla="*/ 1990939 w 4040759"/>
                    <a:gd name="connsiteY3971" fmla="*/ 59754 h 1475329"/>
                    <a:gd name="connsiteX3972" fmla="*/ 1993368 w 4040759"/>
                    <a:gd name="connsiteY3972" fmla="*/ 59167 h 1475329"/>
                    <a:gd name="connsiteX3973" fmla="*/ 1997834 w 4040759"/>
                    <a:gd name="connsiteY3973" fmla="*/ 56869 h 1475329"/>
                    <a:gd name="connsiteX3974" fmla="*/ 1999007 w 4040759"/>
                    <a:gd name="connsiteY3974" fmla="*/ 52435 h 1475329"/>
                    <a:gd name="connsiteX3975" fmla="*/ 2000938 w 4040759"/>
                    <a:gd name="connsiteY3975" fmla="*/ 49624 h 1475329"/>
                    <a:gd name="connsiteX3976" fmla="*/ 2004761 w 4040759"/>
                    <a:gd name="connsiteY3976" fmla="*/ 48678 h 1475329"/>
                    <a:gd name="connsiteX3977" fmla="*/ 2008999 w 4040759"/>
                    <a:gd name="connsiteY3977" fmla="*/ 49575 h 1475329"/>
                    <a:gd name="connsiteX3978" fmla="*/ 2016089 w 4040759"/>
                    <a:gd name="connsiteY3978" fmla="*/ 49542 h 1475329"/>
                    <a:gd name="connsiteX3979" fmla="*/ 2034214 w 4040759"/>
                    <a:gd name="connsiteY3979" fmla="*/ 48132 h 1475329"/>
                    <a:gd name="connsiteX3980" fmla="*/ 2049405 w 4040759"/>
                    <a:gd name="connsiteY3980" fmla="*/ 49950 h 1475329"/>
                    <a:gd name="connsiteX3981" fmla="*/ 2061557 w 4040759"/>
                    <a:gd name="connsiteY3981" fmla="*/ 47684 h 1475329"/>
                    <a:gd name="connsiteX3982" fmla="*/ 2077522 w 4040759"/>
                    <a:gd name="connsiteY3982" fmla="*/ 49404 h 1475329"/>
                    <a:gd name="connsiteX3983" fmla="*/ 2084400 w 4040759"/>
                    <a:gd name="connsiteY3983" fmla="*/ 51172 h 1475329"/>
                    <a:gd name="connsiteX3984" fmla="*/ 2089559 w 4040759"/>
                    <a:gd name="connsiteY3984" fmla="*/ 54310 h 1475329"/>
                    <a:gd name="connsiteX3985" fmla="*/ 2094163 w 4040759"/>
                    <a:gd name="connsiteY3985" fmla="*/ 55214 h 1475329"/>
                    <a:gd name="connsiteX3986" fmla="*/ 2097945 w 4040759"/>
                    <a:gd name="connsiteY3986" fmla="*/ 57659 h 1475329"/>
                    <a:gd name="connsiteX3987" fmla="*/ 2101791 w 4040759"/>
                    <a:gd name="connsiteY3987" fmla="*/ 61205 h 1475329"/>
                    <a:gd name="connsiteX3988" fmla="*/ 2099876 w 4040759"/>
                    <a:gd name="connsiteY3988" fmla="*/ 64106 h 1475329"/>
                    <a:gd name="connsiteX3989" fmla="*/ 2098034 w 4040759"/>
                    <a:gd name="connsiteY3989" fmla="*/ 66045 h 1475329"/>
                    <a:gd name="connsiteX3990" fmla="*/ 2103006 w 4040759"/>
                    <a:gd name="connsiteY3990" fmla="*/ 63943 h 1475329"/>
                    <a:gd name="connsiteX3991" fmla="*/ 2106836 w 4040759"/>
                    <a:gd name="connsiteY3991" fmla="*/ 63421 h 1475329"/>
                    <a:gd name="connsiteX3992" fmla="*/ 2109713 w 4040759"/>
                    <a:gd name="connsiteY3992" fmla="*/ 64701 h 1475329"/>
                    <a:gd name="connsiteX3993" fmla="*/ 2114831 w 4040759"/>
                    <a:gd name="connsiteY3993" fmla="*/ 65899 h 1475329"/>
                    <a:gd name="connsiteX3994" fmla="*/ 2116437 w 4040759"/>
                    <a:gd name="connsiteY3994" fmla="*/ 73869 h 1475329"/>
                    <a:gd name="connsiteX3995" fmla="*/ 2117879 w 4040759"/>
                    <a:gd name="connsiteY3995" fmla="*/ 75409 h 1475329"/>
                    <a:gd name="connsiteX3996" fmla="*/ 2119265 w 4040759"/>
                    <a:gd name="connsiteY3996" fmla="*/ 78180 h 1475329"/>
                    <a:gd name="connsiteX3997" fmla="*/ 2117374 w 4040759"/>
                    <a:gd name="connsiteY3997" fmla="*/ 80715 h 1475329"/>
                    <a:gd name="connsiteX3998" fmla="*/ 2115736 w 4040759"/>
                    <a:gd name="connsiteY3998" fmla="*/ 81856 h 1475329"/>
                    <a:gd name="connsiteX3999" fmla="*/ 2119778 w 4040759"/>
                    <a:gd name="connsiteY3999" fmla="*/ 81611 h 1475329"/>
                    <a:gd name="connsiteX4000" fmla="*/ 2125426 w 4040759"/>
                    <a:gd name="connsiteY4000" fmla="*/ 78930 h 1475329"/>
                    <a:gd name="connsiteX4001" fmla="*/ 2126599 w 4040759"/>
                    <a:gd name="connsiteY4001" fmla="*/ 78026 h 1475329"/>
                    <a:gd name="connsiteX4002" fmla="*/ 2127993 w 4040759"/>
                    <a:gd name="connsiteY4002" fmla="*/ 76013 h 1475329"/>
                    <a:gd name="connsiteX4003" fmla="*/ 2125898 w 4040759"/>
                    <a:gd name="connsiteY4003" fmla="*/ 74048 h 1475329"/>
                    <a:gd name="connsiteX4004" fmla="*/ 2123975 w 4040759"/>
                    <a:gd name="connsiteY4004" fmla="*/ 72859 h 1475329"/>
                    <a:gd name="connsiteX4005" fmla="*/ 2126404 w 4040759"/>
                    <a:gd name="connsiteY4005" fmla="*/ 71970 h 1475329"/>
                    <a:gd name="connsiteX4006" fmla="*/ 2131033 w 4040759"/>
                    <a:gd name="connsiteY4006" fmla="*/ 72280 h 1475329"/>
                    <a:gd name="connsiteX4007" fmla="*/ 2133339 w 4040759"/>
                    <a:gd name="connsiteY4007" fmla="*/ 75801 h 1475329"/>
                    <a:gd name="connsiteX4008" fmla="*/ 2134879 w 4040759"/>
                    <a:gd name="connsiteY4008" fmla="*/ 79036 h 1475329"/>
                    <a:gd name="connsiteX4009" fmla="*/ 2138253 w 4040759"/>
                    <a:gd name="connsiteY4009" fmla="*/ 89655 h 1475329"/>
                    <a:gd name="connsiteX4010" fmla="*/ 2145531 w 4040759"/>
                    <a:gd name="connsiteY4010" fmla="*/ 88229 h 1475329"/>
                    <a:gd name="connsiteX4011" fmla="*/ 2145873 w 4040759"/>
                    <a:gd name="connsiteY4011" fmla="*/ 91375 h 1475329"/>
                    <a:gd name="connsiteX4012" fmla="*/ 2142842 w 4040759"/>
                    <a:gd name="connsiteY4012" fmla="*/ 98636 h 1475329"/>
                    <a:gd name="connsiteX4013" fmla="*/ 2139647 w 4040759"/>
                    <a:gd name="connsiteY4013" fmla="*/ 104023 h 1475329"/>
                    <a:gd name="connsiteX4014" fmla="*/ 2138351 w 4040759"/>
                    <a:gd name="connsiteY4014" fmla="*/ 105189 h 1475329"/>
                    <a:gd name="connsiteX4015" fmla="*/ 2136322 w 4040759"/>
                    <a:gd name="connsiteY4015" fmla="*/ 105392 h 1475329"/>
                    <a:gd name="connsiteX4016" fmla="*/ 2137088 w 4040759"/>
                    <a:gd name="connsiteY4016" fmla="*/ 102621 h 1475329"/>
                    <a:gd name="connsiteX4017" fmla="*/ 2135907 w 4040759"/>
                    <a:gd name="connsiteY4017" fmla="*/ 100951 h 1475329"/>
                    <a:gd name="connsiteX4018" fmla="*/ 2133983 w 4040759"/>
                    <a:gd name="connsiteY4018" fmla="*/ 99932 h 1475329"/>
                    <a:gd name="connsiteX4019" fmla="*/ 2127406 w 4040759"/>
                    <a:gd name="connsiteY4019" fmla="*/ 98938 h 1475329"/>
                    <a:gd name="connsiteX4020" fmla="*/ 2115068 w 4040759"/>
                    <a:gd name="connsiteY4020" fmla="*/ 92369 h 1475329"/>
                    <a:gd name="connsiteX4021" fmla="*/ 2111775 w 4040759"/>
                    <a:gd name="connsiteY4021" fmla="*/ 91668 h 1475329"/>
                    <a:gd name="connsiteX4022" fmla="*/ 2111025 w 4040759"/>
                    <a:gd name="connsiteY4022" fmla="*/ 91970 h 1475329"/>
                    <a:gd name="connsiteX4023" fmla="*/ 2110699 w 4040759"/>
                    <a:gd name="connsiteY4023" fmla="*/ 92622 h 1475329"/>
                    <a:gd name="connsiteX4024" fmla="*/ 2117553 w 4040759"/>
                    <a:gd name="connsiteY4024" fmla="*/ 97063 h 1475329"/>
                    <a:gd name="connsiteX4025" fmla="*/ 2123169 w 4040759"/>
                    <a:gd name="connsiteY4025" fmla="*/ 105017 h 1475329"/>
                    <a:gd name="connsiteX4026" fmla="*/ 2128278 w 4040759"/>
                    <a:gd name="connsiteY4026" fmla="*/ 102687 h 1475329"/>
                    <a:gd name="connsiteX4027" fmla="*/ 2130291 w 4040759"/>
                    <a:gd name="connsiteY4027" fmla="*/ 103119 h 1475329"/>
                    <a:gd name="connsiteX4028" fmla="*/ 2133095 w 4040759"/>
                    <a:gd name="connsiteY4028" fmla="*/ 106819 h 1475329"/>
                    <a:gd name="connsiteX4029" fmla="*/ 2138132 w 4040759"/>
                    <a:gd name="connsiteY4029" fmla="*/ 108367 h 1475329"/>
                    <a:gd name="connsiteX4030" fmla="*/ 2142280 w 4040759"/>
                    <a:gd name="connsiteY4030" fmla="*/ 110828 h 1475329"/>
                    <a:gd name="connsiteX4031" fmla="*/ 2139484 w 4040759"/>
                    <a:gd name="connsiteY4031" fmla="*/ 118367 h 1475329"/>
                    <a:gd name="connsiteX4032" fmla="*/ 2122411 w 4040759"/>
                    <a:gd name="connsiteY4032" fmla="*/ 131610 h 1475329"/>
                    <a:gd name="connsiteX4033" fmla="*/ 2104228 w 4040759"/>
                    <a:gd name="connsiteY4033" fmla="*/ 139303 h 1475329"/>
                    <a:gd name="connsiteX4034" fmla="*/ 2096209 w 4040759"/>
                    <a:gd name="connsiteY4034" fmla="*/ 144674 h 1475329"/>
                    <a:gd name="connsiteX4035" fmla="*/ 2082077 w 4040759"/>
                    <a:gd name="connsiteY4035" fmla="*/ 148537 h 1475329"/>
                    <a:gd name="connsiteX4036" fmla="*/ 2072004 w 4040759"/>
                    <a:gd name="connsiteY4036" fmla="*/ 153761 h 1475329"/>
                    <a:gd name="connsiteX4037" fmla="*/ 2059128 w 4040759"/>
                    <a:gd name="connsiteY4037" fmla="*/ 157632 h 1475329"/>
                    <a:gd name="connsiteX4038" fmla="*/ 2055469 w 4040759"/>
                    <a:gd name="connsiteY4038" fmla="*/ 161756 h 1475329"/>
                    <a:gd name="connsiteX4039" fmla="*/ 2045901 w 4040759"/>
                    <a:gd name="connsiteY4039" fmla="*/ 164437 h 1475329"/>
                    <a:gd name="connsiteX4040" fmla="*/ 2046553 w 4040759"/>
                    <a:gd name="connsiteY4040" fmla="*/ 165798 h 1475329"/>
                    <a:gd name="connsiteX4041" fmla="*/ 2047669 w 4040759"/>
                    <a:gd name="connsiteY4041" fmla="*/ 167298 h 1475329"/>
                    <a:gd name="connsiteX4042" fmla="*/ 2046479 w 4040759"/>
                    <a:gd name="connsiteY4042" fmla="*/ 169759 h 1475329"/>
                    <a:gd name="connsiteX4043" fmla="*/ 2045159 w 4040759"/>
                    <a:gd name="connsiteY4043" fmla="*/ 171625 h 1475329"/>
                    <a:gd name="connsiteX4044" fmla="*/ 2037727 w 4040759"/>
                    <a:gd name="connsiteY4044" fmla="*/ 175415 h 1475329"/>
                    <a:gd name="connsiteX4045" fmla="*/ 2026920 w 4040759"/>
                    <a:gd name="connsiteY4045" fmla="*/ 178063 h 1475329"/>
                    <a:gd name="connsiteX4046" fmla="*/ 2005209 w 4040759"/>
                    <a:gd name="connsiteY4046" fmla="*/ 193907 h 1475329"/>
                    <a:gd name="connsiteX4047" fmla="*/ 1994443 w 4040759"/>
                    <a:gd name="connsiteY4047" fmla="*/ 197142 h 1475329"/>
                    <a:gd name="connsiteX4048" fmla="*/ 1982178 w 4040759"/>
                    <a:gd name="connsiteY4048" fmla="*/ 197329 h 1475329"/>
                    <a:gd name="connsiteX4049" fmla="*/ 1979603 w 4040759"/>
                    <a:gd name="connsiteY4049" fmla="*/ 198805 h 1475329"/>
                    <a:gd name="connsiteX4050" fmla="*/ 1970345 w 4040759"/>
                    <a:gd name="connsiteY4050" fmla="*/ 208715 h 1475329"/>
                    <a:gd name="connsiteX4051" fmla="*/ 1967500 w 4040759"/>
                    <a:gd name="connsiteY4051" fmla="*/ 210858 h 1475329"/>
                    <a:gd name="connsiteX4052" fmla="*/ 1955333 w 4040759"/>
                    <a:gd name="connsiteY4052" fmla="*/ 211909 h 1475329"/>
                    <a:gd name="connsiteX4053" fmla="*/ 1942644 w 4040759"/>
                    <a:gd name="connsiteY4053" fmla="*/ 228103 h 1475329"/>
                    <a:gd name="connsiteX4054" fmla="*/ 1935594 w 4040759"/>
                    <a:gd name="connsiteY4054" fmla="*/ 233571 h 1475329"/>
                    <a:gd name="connsiteX4055" fmla="*/ 1929416 w 4040759"/>
                    <a:gd name="connsiteY4055" fmla="*/ 236530 h 1475329"/>
                    <a:gd name="connsiteX4056" fmla="*/ 1935839 w 4040759"/>
                    <a:gd name="connsiteY4056" fmla="*/ 235927 h 1475329"/>
                    <a:gd name="connsiteX4057" fmla="*/ 1943418 w 4040759"/>
                    <a:gd name="connsiteY4057" fmla="*/ 233767 h 1475329"/>
                    <a:gd name="connsiteX4058" fmla="*/ 1952317 w 4040759"/>
                    <a:gd name="connsiteY4058" fmla="*/ 228535 h 1475329"/>
                    <a:gd name="connsiteX4059" fmla="*/ 1954616 w 4040759"/>
                    <a:gd name="connsiteY4059" fmla="*/ 226122 h 1475329"/>
                    <a:gd name="connsiteX4060" fmla="*/ 1955822 w 4040759"/>
                    <a:gd name="connsiteY4060" fmla="*/ 223409 h 1475329"/>
                    <a:gd name="connsiteX4061" fmla="*/ 1958462 w 4040759"/>
                    <a:gd name="connsiteY4061" fmla="*/ 221282 h 1475329"/>
                    <a:gd name="connsiteX4062" fmla="*/ 1962513 w 4040759"/>
                    <a:gd name="connsiteY4062" fmla="*/ 219741 h 1475329"/>
                    <a:gd name="connsiteX4063" fmla="*/ 1978152 w 4040759"/>
                    <a:gd name="connsiteY4063" fmla="*/ 217989 h 1475329"/>
                    <a:gd name="connsiteX4064" fmla="*/ 1984598 w 4040759"/>
                    <a:gd name="connsiteY4064" fmla="*/ 218649 h 1475329"/>
                    <a:gd name="connsiteX4065" fmla="*/ 1994069 w 4040759"/>
                    <a:gd name="connsiteY4065" fmla="*/ 218185 h 1475329"/>
                    <a:gd name="connsiteX4066" fmla="*/ 2000287 w 4040759"/>
                    <a:gd name="connsiteY4066" fmla="*/ 215275 h 1475329"/>
                    <a:gd name="connsiteX4067" fmla="*/ 2004003 w 4040759"/>
                    <a:gd name="connsiteY4067" fmla="*/ 214240 h 1475329"/>
                    <a:gd name="connsiteX4068" fmla="*/ 2007336 w 4040759"/>
                    <a:gd name="connsiteY4068" fmla="*/ 213865 h 1475329"/>
                    <a:gd name="connsiteX4069" fmla="*/ 2008982 w 4040759"/>
                    <a:gd name="connsiteY4069" fmla="*/ 211812 h 1475329"/>
                    <a:gd name="connsiteX4070" fmla="*/ 2014516 w 4040759"/>
                    <a:gd name="connsiteY4070" fmla="*/ 211404 h 1475329"/>
                    <a:gd name="connsiteX4071" fmla="*/ 2027295 w 4040759"/>
                    <a:gd name="connsiteY4071" fmla="*/ 208633 h 1475329"/>
                    <a:gd name="connsiteX4072" fmla="*/ 2029170 w 4040759"/>
                    <a:gd name="connsiteY4072" fmla="*/ 207647 h 1475329"/>
                    <a:gd name="connsiteX4073" fmla="*/ 2033269 w 4040759"/>
                    <a:gd name="connsiteY4073" fmla="*/ 203556 h 1475329"/>
                    <a:gd name="connsiteX4074" fmla="*/ 2040864 w 4040759"/>
                    <a:gd name="connsiteY4074" fmla="*/ 205121 h 1475329"/>
                    <a:gd name="connsiteX4075" fmla="*/ 2046267 w 4040759"/>
                    <a:gd name="connsiteY4075" fmla="*/ 204257 h 1475329"/>
                    <a:gd name="connsiteX4076" fmla="*/ 2060489 w 4040759"/>
                    <a:gd name="connsiteY4076" fmla="*/ 196946 h 1475329"/>
                    <a:gd name="connsiteX4077" fmla="*/ 2069046 w 4040759"/>
                    <a:gd name="connsiteY4077" fmla="*/ 194143 h 1475329"/>
                    <a:gd name="connsiteX4078" fmla="*/ 2071393 w 4040759"/>
                    <a:gd name="connsiteY4078" fmla="*/ 192203 h 1475329"/>
                    <a:gd name="connsiteX4079" fmla="*/ 2069681 w 4040759"/>
                    <a:gd name="connsiteY4079" fmla="*/ 190834 h 1475329"/>
                    <a:gd name="connsiteX4080" fmla="*/ 2067775 w 4040759"/>
                    <a:gd name="connsiteY4080" fmla="*/ 189889 h 1475329"/>
                    <a:gd name="connsiteX4081" fmla="*/ 2059486 w 4040759"/>
                    <a:gd name="connsiteY4081" fmla="*/ 192415 h 1475329"/>
                    <a:gd name="connsiteX4082" fmla="*/ 2052127 w 4040759"/>
                    <a:gd name="connsiteY4082" fmla="*/ 193238 h 1475329"/>
                    <a:gd name="connsiteX4083" fmla="*/ 2043725 w 4040759"/>
                    <a:gd name="connsiteY4083" fmla="*/ 192578 h 1475329"/>
                    <a:gd name="connsiteX4084" fmla="*/ 2042592 w 4040759"/>
                    <a:gd name="connsiteY4084" fmla="*/ 191584 h 1475329"/>
                    <a:gd name="connsiteX4085" fmla="*/ 2041565 w 4040759"/>
                    <a:gd name="connsiteY4085" fmla="*/ 188943 h 1475329"/>
                    <a:gd name="connsiteX4086" fmla="*/ 2044263 w 4040759"/>
                    <a:gd name="connsiteY4086" fmla="*/ 185146 h 1475329"/>
                    <a:gd name="connsiteX4087" fmla="*/ 2046618 w 4040759"/>
                    <a:gd name="connsiteY4087" fmla="*/ 182831 h 1475329"/>
                    <a:gd name="connsiteX4088" fmla="*/ 2051939 w 4040759"/>
                    <a:gd name="connsiteY4088" fmla="*/ 179848 h 1475329"/>
                    <a:gd name="connsiteX4089" fmla="*/ 2056349 w 4040759"/>
                    <a:gd name="connsiteY4089" fmla="*/ 178756 h 1475329"/>
                    <a:gd name="connsiteX4090" fmla="*/ 2072681 w 4040759"/>
                    <a:gd name="connsiteY4090" fmla="*/ 182024 h 1475329"/>
                    <a:gd name="connsiteX4091" fmla="*/ 2076055 w 4040759"/>
                    <a:gd name="connsiteY4091" fmla="*/ 182424 h 1475329"/>
                    <a:gd name="connsiteX4092" fmla="*/ 2077913 w 4040759"/>
                    <a:gd name="connsiteY4092" fmla="*/ 177094 h 1475329"/>
                    <a:gd name="connsiteX4093" fmla="*/ 2083129 w 4040759"/>
                    <a:gd name="connsiteY4093" fmla="*/ 177354 h 1475329"/>
                    <a:gd name="connsiteX4094" fmla="*/ 2088320 w 4040759"/>
                    <a:gd name="connsiteY4094" fmla="*/ 178243 h 1475329"/>
                    <a:gd name="connsiteX4095" fmla="*/ 2086071 w 4040759"/>
                    <a:gd name="connsiteY4095" fmla="*/ 179351 h 1475329"/>
                    <a:gd name="connsiteX4096" fmla="*/ 2080325 w 4040759"/>
                    <a:gd name="connsiteY4096" fmla="*/ 181054 h 1475329"/>
                    <a:gd name="connsiteX4097" fmla="*/ 2082094 w 4040759"/>
                    <a:gd name="connsiteY4097" fmla="*/ 184974 h 1475329"/>
                    <a:gd name="connsiteX4098" fmla="*/ 2084596 w 4040759"/>
                    <a:gd name="connsiteY4098" fmla="*/ 187656 h 1475329"/>
                    <a:gd name="connsiteX4099" fmla="*/ 2094595 w 4040759"/>
                    <a:gd name="connsiteY4099" fmla="*/ 191511 h 1475329"/>
                    <a:gd name="connsiteX4100" fmla="*/ 2103120 w 4040759"/>
                    <a:gd name="connsiteY4100" fmla="*/ 193214 h 1475329"/>
                    <a:gd name="connsiteX4101" fmla="*/ 2109387 w 4040759"/>
                    <a:gd name="connsiteY4101" fmla="*/ 193116 h 1475329"/>
                    <a:gd name="connsiteX4102" fmla="*/ 2119191 w 4040759"/>
                    <a:gd name="connsiteY4102" fmla="*/ 191470 h 1475329"/>
                    <a:gd name="connsiteX4103" fmla="*/ 2120699 w 4040759"/>
                    <a:gd name="connsiteY4103" fmla="*/ 190304 h 1475329"/>
                    <a:gd name="connsiteX4104" fmla="*/ 2122777 w 4040759"/>
                    <a:gd name="connsiteY4104" fmla="*/ 187289 h 1475329"/>
                    <a:gd name="connsiteX4105" fmla="*/ 2120194 w 4040759"/>
                    <a:gd name="connsiteY4105" fmla="*/ 181356 h 1475329"/>
                    <a:gd name="connsiteX4106" fmla="*/ 2122655 w 4040759"/>
                    <a:gd name="connsiteY4106" fmla="*/ 182130 h 1475329"/>
                    <a:gd name="connsiteX4107" fmla="*/ 2125084 w 4040759"/>
                    <a:gd name="connsiteY4107" fmla="*/ 183613 h 1475329"/>
                    <a:gd name="connsiteX4108" fmla="*/ 2128776 w 4040759"/>
                    <a:gd name="connsiteY4108" fmla="*/ 187208 h 1475329"/>
                    <a:gd name="connsiteX4109" fmla="*/ 2132377 w 4040759"/>
                    <a:gd name="connsiteY4109" fmla="*/ 193287 h 1475329"/>
                    <a:gd name="connsiteX4110" fmla="*/ 2134586 w 4040759"/>
                    <a:gd name="connsiteY4110" fmla="*/ 196083 h 1475329"/>
                    <a:gd name="connsiteX4111" fmla="*/ 2133307 w 4040759"/>
                    <a:gd name="connsiteY4111" fmla="*/ 199106 h 1475329"/>
                    <a:gd name="connsiteX4112" fmla="*/ 2128164 w 4040759"/>
                    <a:gd name="connsiteY4112" fmla="*/ 204860 h 1475329"/>
                    <a:gd name="connsiteX4113" fmla="*/ 2131139 w 4040759"/>
                    <a:gd name="connsiteY4113" fmla="*/ 208022 h 1475329"/>
                    <a:gd name="connsiteX4114" fmla="*/ 2136444 w 4040759"/>
                    <a:gd name="connsiteY4114" fmla="*/ 210141 h 1475329"/>
                    <a:gd name="connsiteX4115" fmla="*/ 2136371 w 4040759"/>
                    <a:gd name="connsiteY4115" fmla="*/ 219480 h 1475329"/>
                    <a:gd name="connsiteX4116" fmla="*/ 2136045 w 4040759"/>
                    <a:gd name="connsiteY4116" fmla="*/ 223995 h 1475329"/>
                    <a:gd name="connsiteX4117" fmla="*/ 2133429 w 4040759"/>
                    <a:gd name="connsiteY4117" fmla="*/ 228902 h 1475329"/>
                    <a:gd name="connsiteX4118" fmla="*/ 2130406 w 4040759"/>
                    <a:gd name="connsiteY4118" fmla="*/ 230972 h 1475329"/>
                    <a:gd name="connsiteX4119" fmla="*/ 2127447 w 4040759"/>
                    <a:gd name="connsiteY4119" fmla="*/ 234052 h 1475329"/>
                    <a:gd name="connsiteX4120" fmla="*/ 2128189 w 4040759"/>
                    <a:gd name="connsiteY4120" fmla="*/ 236880 h 1475329"/>
                    <a:gd name="connsiteX4121" fmla="*/ 2128889 w 4040759"/>
                    <a:gd name="connsiteY4121" fmla="*/ 238689 h 1475329"/>
                    <a:gd name="connsiteX4122" fmla="*/ 2132003 w 4040759"/>
                    <a:gd name="connsiteY4122" fmla="*/ 242055 h 1475329"/>
                    <a:gd name="connsiteX4123" fmla="*/ 2140747 w 4040759"/>
                    <a:gd name="connsiteY4123" fmla="*/ 243107 h 1475329"/>
                    <a:gd name="connsiteX4124" fmla="*/ 2141929 w 4040759"/>
                    <a:gd name="connsiteY4124" fmla="*/ 242202 h 1475329"/>
                    <a:gd name="connsiteX4125" fmla="*/ 2139892 w 4040759"/>
                    <a:gd name="connsiteY4125" fmla="*/ 241142 h 1475329"/>
                    <a:gd name="connsiteX4126" fmla="*/ 2133975 w 4040759"/>
                    <a:gd name="connsiteY4126" fmla="*/ 239570 h 1475329"/>
                    <a:gd name="connsiteX4127" fmla="*/ 2131661 w 4040759"/>
                    <a:gd name="connsiteY4127" fmla="*/ 238290 h 1475329"/>
                    <a:gd name="connsiteX4128" fmla="*/ 2129615 w 4040759"/>
                    <a:gd name="connsiteY4128" fmla="*/ 235201 h 1475329"/>
                    <a:gd name="connsiteX4129" fmla="*/ 2131986 w 4040759"/>
                    <a:gd name="connsiteY4129" fmla="*/ 231844 h 1475329"/>
                    <a:gd name="connsiteX4130" fmla="*/ 2134619 w 4040759"/>
                    <a:gd name="connsiteY4130" fmla="*/ 229350 h 1475329"/>
                    <a:gd name="connsiteX4131" fmla="*/ 2137732 w 4040759"/>
                    <a:gd name="connsiteY4131" fmla="*/ 223694 h 1475329"/>
                    <a:gd name="connsiteX4132" fmla="*/ 2138694 w 4040759"/>
                    <a:gd name="connsiteY4132" fmla="*/ 219619 h 1475329"/>
                    <a:gd name="connsiteX4133" fmla="*/ 2138132 w 4040759"/>
                    <a:gd name="connsiteY4133" fmla="*/ 215422 h 1475329"/>
                    <a:gd name="connsiteX4134" fmla="*/ 2140120 w 4040759"/>
                    <a:gd name="connsiteY4134" fmla="*/ 213515 h 1475329"/>
                    <a:gd name="connsiteX4135" fmla="*/ 2143249 w 4040759"/>
                    <a:gd name="connsiteY4135" fmla="*/ 211453 h 1475329"/>
                    <a:gd name="connsiteX4136" fmla="*/ 2144839 w 4040759"/>
                    <a:gd name="connsiteY4136" fmla="*/ 211054 h 1475329"/>
                    <a:gd name="connsiteX4137" fmla="*/ 2146248 w 4040759"/>
                    <a:gd name="connsiteY4137" fmla="*/ 210157 h 1475329"/>
                    <a:gd name="connsiteX4138" fmla="*/ 2143991 w 4040759"/>
                    <a:gd name="connsiteY4138" fmla="*/ 209147 h 1475329"/>
                    <a:gd name="connsiteX4139" fmla="*/ 2141913 w 4040759"/>
                    <a:gd name="connsiteY4139" fmla="*/ 208625 h 1475329"/>
                    <a:gd name="connsiteX4140" fmla="*/ 2137651 w 4040759"/>
                    <a:gd name="connsiteY4140" fmla="*/ 206058 h 1475329"/>
                    <a:gd name="connsiteX4141" fmla="*/ 2136925 w 4040759"/>
                    <a:gd name="connsiteY4141" fmla="*/ 202741 h 1475329"/>
                    <a:gd name="connsiteX4142" fmla="*/ 2145523 w 4040759"/>
                    <a:gd name="connsiteY4142" fmla="*/ 201412 h 1475329"/>
                    <a:gd name="connsiteX4143" fmla="*/ 2150576 w 4040759"/>
                    <a:gd name="connsiteY4143" fmla="*/ 199025 h 1475329"/>
                    <a:gd name="connsiteX4144" fmla="*/ 2169320 w 4040759"/>
                    <a:gd name="connsiteY4144" fmla="*/ 197965 h 1475329"/>
                    <a:gd name="connsiteX4145" fmla="*/ 2182238 w 4040759"/>
                    <a:gd name="connsiteY4145" fmla="*/ 193515 h 1475329"/>
                    <a:gd name="connsiteX4146" fmla="*/ 2210965 w 4040759"/>
                    <a:gd name="connsiteY4146" fmla="*/ 194746 h 1475329"/>
                    <a:gd name="connsiteX4147" fmla="*/ 2231136 w 4040759"/>
                    <a:gd name="connsiteY4147" fmla="*/ 198348 h 1475329"/>
                    <a:gd name="connsiteX4148" fmla="*/ 2259448 w 4040759"/>
                    <a:gd name="connsiteY4148" fmla="*/ 198780 h 1475329"/>
                    <a:gd name="connsiteX4149" fmla="*/ 2269880 w 4040759"/>
                    <a:gd name="connsiteY4149" fmla="*/ 201201 h 1475329"/>
                    <a:gd name="connsiteX4150" fmla="*/ 2270874 w 4040759"/>
                    <a:gd name="connsiteY4150" fmla="*/ 202113 h 1475329"/>
                    <a:gd name="connsiteX4151" fmla="*/ 2271510 w 4040759"/>
                    <a:gd name="connsiteY4151" fmla="*/ 203849 h 1475329"/>
                    <a:gd name="connsiteX4152" fmla="*/ 2266995 w 4040759"/>
                    <a:gd name="connsiteY4152" fmla="*/ 204632 h 1475329"/>
                    <a:gd name="connsiteX4153" fmla="*/ 2259619 w 4040759"/>
                    <a:gd name="connsiteY4153" fmla="*/ 204632 h 1475329"/>
                    <a:gd name="connsiteX4154" fmla="*/ 2257623 w 4040759"/>
                    <a:gd name="connsiteY4154" fmla="*/ 209155 h 1475329"/>
                    <a:gd name="connsiteX4155" fmla="*/ 2258951 w 4040759"/>
                    <a:gd name="connsiteY4155" fmla="*/ 214770 h 1475329"/>
                    <a:gd name="connsiteX4156" fmla="*/ 2272097 w 4040759"/>
                    <a:gd name="connsiteY4156" fmla="*/ 220776 h 1475329"/>
                    <a:gd name="connsiteX4157" fmla="*/ 2283628 w 4040759"/>
                    <a:gd name="connsiteY4157" fmla="*/ 223237 h 1475329"/>
                    <a:gd name="connsiteX4158" fmla="*/ 2291689 w 4040759"/>
                    <a:gd name="connsiteY4158" fmla="*/ 227182 h 1475329"/>
                    <a:gd name="connsiteX4159" fmla="*/ 2295943 w 4040759"/>
                    <a:gd name="connsiteY4159" fmla="*/ 227541 h 1475329"/>
                    <a:gd name="connsiteX4160" fmla="*/ 2312707 w 4040759"/>
                    <a:gd name="connsiteY4160" fmla="*/ 227092 h 1475329"/>
                    <a:gd name="connsiteX4161" fmla="*/ 2322617 w 4040759"/>
                    <a:gd name="connsiteY4161" fmla="*/ 229146 h 1475329"/>
                    <a:gd name="connsiteX4162" fmla="*/ 2331476 w 4040759"/>
                    <a:gd name="connsiteY4162" fmla="*/ 227557 h 1475329"/>
                    <a:gd name="connsiteX4163" fmla="*/ 2341231 w 4040759"/>
                    <a:gd name="connsiteY4163" fmla="*/ 227614 h 1475329"/>
                    <a:gd name="connsiteX4164" fmla="*/ 2344662 w 4040759"/>
                    <a:gd name="connsiteY4164" fmla="*/ 228021 h 1475329"/>
                    <a:gd name="connsiteX4165" fmla="*/ 2348231 w 4040759"/>
                    <a:gd name="connsiteY4165" fmla="*/ 230972 h 1475329"/>
                    <a:gd name="connsiteX4166" fmla="*/ 2353944 w 4040759"/>
                    <a:gd name="connsiteY4166" fmla="*/ 231738 h 1475329"/>
                    <a:gd name="connsiteX4167" fmla="*/ 2360823 w 4040759"/>
                    <a:gd name="connsiteY4167" fmla="*/ 231868 h 1475329"/>
                    <a:gd name="connsiteX4168" fmla="*/ 2364645 w 4040759"/>
                    <a:gd name="connsiteY4168" fmla="*/ 231265 h 1475329"/>
                    <a:gd name="connsiteX4169" fmla="*/ 2366137 w 4040759"/>
                    <a:gd name="connsiteY4169" fmla="*/ 230540 h 1475329"/>
                    <a:gd name="connsiteX4170" fmla="*/ 2365615 w 4040759"/>
                    <a:gd name="connsiteY4170" fmla="*/ 229391 h 1475329"/>
                    <a:gd name="connsiteX4171" fmla="*/ 2359935 w 4040759"/>
                    <a:gd name="connsiteY4171" fmla="*/ 227573 h 1475329"/>
                    <a:gd name="connsiteX4172" fmla="*/ 2360546 w 4040759"/>
                    <a:gd name="connsiteY4172" fmla="*/ 225438 h 1475329"/>
                    <a:gd name="connsiteX4173" fmla="*/ 2362746 w 4040759"/>
                    <a:gd name="connsiteY4173" fmla="*/ 224916 h 1475329"/>
                    <a:gd name="connsiteX4174" fmla="*/ 2372273 w 4040759"/>
                    <a:gd name="connsiteY4174" fmla="*/ 227842 h 1475329"/>
                    <a:gd name="connsiteX4175" fmla="*/ 2376266 w 4040759"/>
                    <a:gd name="connsiteY4175" fmla="*/ 228298 h 1475329"/>
                    <a:gd name="connsiteX4176" fmla="*/ 2379763 w 4040759"/>
                    <a:gd name="connsiteY4176" fmla="*/ 226131 h 1475329"/>
                    <a:gd name="connsiteX4177" fmla="*/ 2382322 w 4040759"/>
                    <a:gd name="connsiteY4177" fmla="*/ 222243 h 1475329"/>
                    <a:gd name="connsiteX4178" fmla="*/ 2383740 w 4040759"/>
                    <a:gd name="connsiteY4178" fmla="*/ 219529 h 1475329"/>
                    <a:gd name="connsiteX4179" fmla="*/ 2385231 w 4040759"/>
                    <a:gd name="connsiteY4179" fmla="*/ 218201 h 1475329"/>
                    <a:gd name="connsiteX4180" fmla="*/ 2386494 w 4040759"/>
                    <a:gd name="connsiteY4180" fmla="*/ 217981 h 1475329"/>
                    <a:gd name="connsiteX4181" fmla="*/ 2387725 w 4040759"/>
                    <a:gd name="connsiteY4181" fmla="*/ 217247 h 1475329"/>
                    <a:gd name="connsiteX4182" fmla="*/ 2384718 w 4040759"/>
                    <a:gd name="connsiteY4182" fmla="*/ 214069 h 1475329"/>
                    <a:gd name="connsiteX4183" fmla="*/ 2381825 w 4040759"/>
                    <a:gd name="connsiteY4183" fmla="*/ 210092 h 1475329"/>
                    <a:gd name="connsiteX4184" fmla="*/ 2381107 w 4040759"/>
                    <a:gd name="connsiteY4184" fmla="*/ 207517 h 1475329"/>
                    <a:gd name="connsiteX4185" fmla="*/ 2380301 w 4040759"/>
                    <a:gd name="connsiteY4185" fmla="*/ 206196 h 1475329"/>
                    <a:gd name="connsiteX4186" fmla="*/ 2379860 w 4040759"/>
                    <a:gd name="connsiteY4186" fmla="*/ 201437 h 1475329"/>
                    <a:gd name="connsiteX4187" fmla="*/ 2382615 w 4040759"/>
                    <a:gd name="connsiteY4187" fmla="*/ 196580 h 1475329"/>
                    <a:gd name="connsiteX4188" fmla="*/ 2384473 w 4040759"/>
                    <a:gd name="connsiteY4188" fmla="*/ 195202 h 1475329"/>
                    <a:gd name="connsiteX4189" fmla="*/ 2392061 w 4040759"/>
                    <a:gd name="connsiteY4189" fmla="*/ 197061 h 1475329"/>
                    <a:gd name="connsiteX4190" fmla="*/ 2395451 w 4040759"/>
                    <a:gd name="connsiteY4190" fmla="*/ 194135 h 1475329"/>
                    <a:gd name="connsiteX4191" fmla="*/ 2397562 w 4040759"/>
                    <a:gd name="connsiteY4191" fmla="*/ 193059 h 1475329"/>
                    <a:gd name="connsiteX4192" fmla="*/ 2406714 w 4040759"/>
                    <a:gd name="connsiteY4192" fmla="*/ 191062 h 1475329"/>
                    <a:gd name="connsiteX4193" fmla="*/ 2410520 w 4040759"/>
                    <a:gd name="connsiteY4193" fmla="*/ 191233 h 1475329"/>
                    <a:gd name="connsiteX4194" fmla="*/ 2416852 w 4040759"/>
                    <a:gd name="connsiteY4194" fmla="*/ 193083 h 1475329"/>
                    <a:gd name="connsiteX4195" fmla="*/ 2437202 w 4040759"/>
                    <a:gd name="connsiteY4195" fmla="*/ 202007 h 1475329"/>
                    <a:gd name="connsiteX4196" fmla="*/ 2436729 w 4040759"/>
                    <a:gd name="connsiteY4196" fmla="*/ 205414 h 1475329"/>
                    <a:gd name="connsiteX4197" fmla="*/ 2441603 w 4040759"/>
                    <a:gd name="connsiteY4197" fmla="*/ 204444 h 1475329"/>
                    <a:gd name="connsiteX4198" fmla="*/ 2443918 w 4040759"/>
                    <a:gd name="connsiteY4198" fmla="*/ 203059 h 1475329"/>
                    <a:gd name="connsiteX4199" fmla="*/ 2449361 w 4040759"/>
                    <a:gd name="connsiteY4199" fmla="*/ 202154 h 1475329"/>
                    <a:gd name="connsiteX4200" fmla="*/ 2453012 w 4040759"/>
                    <a:gd name="connsiteY4200" fmla="*/ 200720 h 1475329"/>
                    <a:gd name="connsiteX4201" fmla="*/ 2454040 w 4040759"/>
                    <a:gd name="connsiteY4201" fmla="*/ 201258 h 1475329"/>
                    <a:gd name="connsiteX4202" fmla="*/ 2455254 w 4040759"/>
                    <a:gd name="connsiteY4202" fmla="*/ 202676 h 1475329"/>
                    <a:gd name="connsiteX4203" fmla="*/ 2454365 w 4040759"/>
                    <a:gd name="connsiteY4203" fmla="*/ 204664 h 1475329"/>
                    <a:gd name="connsiteX4204" fmla="*/ 2453086 w 4040759"/>
                    <a:gd name="connsiteY4204" fmla="*/ 206710 h 1475329"/>
                    <a:gd name="connsiteX4205" fmla="*/ 2453950 w 4040759"/>
                    <a:gd name="connsiteY4205" fmla="*/ 207900 h 1475329"/>
                    <a:gd name="connsiteX4206" fmla="*/ 2455018 w 4040759"/>
                    <a:gd name="connsiteY4206" fmla="*/ 208152 h 1475329"/>
                    <a:gd name="connsiteX4207" fmla="*/ 2460396 w 4040759"/>
                    <a:gd name="connsiteY4207" fmla="*/ 210654 h 1475329"/>
                    <a:gd name="connsiteX4208" fmla="*/ 2467495 w 4040759"/>
                    <a:gd name="connsiteY4208" fmla="*/ 206042 h 1475329"/>
                    <a:gd name="connsiteX4209" fmla="*/ 2470388 w 4040759"/>
                    <a:gd name="connsiteY4209" fmla="*/ 201657 h 1475329"/>
                    <a:gd name="connsiteX4210" fmla="*/ 2472279 w 4040759"/>
                    <a:gd name="connsiteY4210" fmla="*/ 200760 h 1475329"/>
                    <a:gd name="connsiteX4211" fmla="*/ 2489866 w 4040759"/>
                    <a:gd name="connsiteY4211" fmla="*/ 203833 h 1475329"/>
                    <a:gd name="connsiteX4212" fmla="*/ 2495187 w 4040759"/>
                    <a:gd name="connsiteY4212" fmla="*/ 205512 h 1475329"/>
                    <a:gd name="connsiteX4213" fmla="*/ 2496231 w 4040759"/>
                    <a:gd name="connsiteY4213" fmla="*/ 206441 h 1475329"/>
                    <a:gd name="connsiteX4214" fmla="*/ 2496940 w 4040759"/>
                    <a:gd name="connsiteY4214" fmla="*/ 208063 h 1475329"/>
                    <a:gd name="connsiteX4215" fmla="*/ 2499817 w 4040759"/>
                    <a:gd name="connsiteY4215" fmla="*/ 209847 h 1475329"/>
                    <a:gd name="connsiteX4216" fmla="*/ 2503280 w 4040759"/>
                    <a:gd name="connsiteY4216" fmla="*/ 210866 h 1475329"/>
                    <a:gd name="connsiteX4217" fmla="*/ 2502856 w 4040759"/>
                    <a:gd name="connsiteY4217" fmla="*/ 212252 h 1475329"/>
                    <a:gd name="connsiteX4218" fmla="*/ 2502701 w 4040759"/>
                    <a:gd name="connsiteY4218" fmla="*/ 213800 h 1475329"/>
                    <a:gd name="connsiteX4219" fmla="*/ 2510859 w 4040759"/>
                    <a:gd name="connsiteY4219" fmla="*/ 214036 h 1475329"/>
                    <a:gd name="connsiteX4220" fmla="*/ 2514412 w 4040759"/>
                    <a:gd name="connsiteY4220" fmla="*/ 215381 h 1475329"/>
                    <a:gd name="connsiteX4221" fmla="*/ 2518349 w 4040759"/>
                    <a:gd name="connsiteY4221" fmla="*/ 217386 h 1475329"/>
                    <a:gd name="connsiteX4222" fmla="*/ 2517925 w 4040759"/>
                    <a:gd name="connsiteY4222" fmla="*/ 219741 h 1475329"/>
                    <a:gd name="connsiteX4223" fmla="*/ 2518952 w 4040759"/>
                    <a:gd name="connsiteY4223" fmla="*/ 221086 h 1475329"/>
                    <a:gd name="connsiteX4224" fmla="*/ 2522571 w 4040759"/>
                    <a:gd name="connsiteY4224" fmla="*/ 221224 h 1475329"/>
                    <a:gd name="connsiteX4225" fmla="*/ 2523597 w 4040759"/>
                    <a:gd name="connsiteY4225" fmla="*/ 221004 h 1475329"/>
                    <a:gd name="connsiteX4226" fmla="*/ 2522440 w 4040759"/>
                    <a:gd name="connsiteY4226" fmla="*/ 224109 h 1475329"/>
                    <a:gd name="connsiteX4227" fmla="*/ 2517469 w 4040759"/>
                    <a:gd name="connsiteY4227" fmla="*/ 227483 h 1475329"/>
                    <a:gd name="connsiteX4228" fmla="*/ 2514543 w 4040759"/>
                    <a:gd name="connsiteY4228" fmla="*/ 228836 h 1475329"/>
                    <a:gd name="connsiteX4229" fmla="*/ 2511161 w 4040759"/>
                    <a:gd name="connsiteY4229" fmla="*/ 231069 h 1475329"/>
                    <a:gd name="connsiteX4230" fmla="*/ 2513011 w 4040759"/>
                    <a:gd name="connsiteY4230" fmla="*/ 231493 h 1475329"/>
                    <a:gd name="connsiteX4231" fmla="*/ 2521536 w 4040759"/>
                    <a:gd name="connsiteY4231" fmla="*/ 232113 h 1475329"/>
                    <a:gd name="connsiteX4232" fmla="*/ 2526784 w 4040759"/>
                    <a:gd name="connsiteY4232" fmla="*/ 236595 h 1475329"/>
                    <a:gd name="connsiteX4233" fmla="*/ 2527314 w 4040759"/>
                    <a:gd name="connsiteY4233" fmla="*/ 239847 h 1475329"/>
                    <a:gd name="connsiteX4234" fmla="*/ 2524021 w 4040759"/>
                    <a:gd name="connsiteY4234" fmla="*/ 241151 h 1475329"/>
                    <a:gd name="connsiteX4235" fmla="*/ 2516532 w 4040759"/>
                    <a:gd name="connsiteY4235" fmla="*/ 245348 h 1475329"/>
                    <a:gd name="connsiteX4236" fmla="*/ 2512008 w 4040759"/>
                    <a:gd name="connsiteY4236" fmla="*/ 246994 h 1475329"/>
                    <a:gd name="connsiteX4237" fmla="*/ 2508912 w 4040759"/>
                    <a:gd name="connsiteY4237" fmla="*/ 247124 h 1475329"/>
                    <a:gd name="connsiteX4238" fmla="*/ 2506679 w 4040759"/>
                    <a:gd name="connsiteY4238" fmla="*/ 247679 h 1475329"/>
                    <a:gd name="connsiteX4239" fmla="*/ 2509930 w 4040759"/>
                    <a:gd name="connsiteY4239" fmla="*/ 249496 h 1475329"/>
                    <a:gd name="connsiteX4240" fmla="*/ 2523997 w 4040759"/>
                    <a:gd name="connsiteY4240" fmla="*/ 249960 h 1475329"/>
                    <a:gd name="connsiteX4241" fmla="*/ 2528080 w 4040759"/>
                    <a:gd name="connsiteY4241" fmla="*/ 252177 h 1475329"/>
                    <a:gd name="connsiteX4242" fmla="*/ 2531323 w 4040759"/>
                    <a:gd name="connsiteY4242" fmla="*/ 257792 h 1475329"/>
                    <a:gd name="connsiteX4243" fmla="*/ 2531291 w 4040759"/>
                    <a:gd name="connsiteY4243" fmla="*/ 264638 h 1475329"/>
                    <a:gd name="connsiteX4244" fmla="*/ 2528137 w 4040759"/>
                    <a:gd name="connsiteY4244" fmla="*/ 268028 h 1475329"/>
                    <a:gd name="connsiteX4245" fmla="*/ 2519490 w 4040759"/>
                    <a:gd name="connsiteY4245" fmla="*/ 268607 h 1475329"/>
                    <a:gd name="connsiteX4246" fmla="*/ 2508088 w 4040759"/>
                    <a:gd name="connsiteY4246" fmla="*/ 261003 h 1475329"/>
                    <a:gd name="connsiteX4247" fmla="*/ 2501194 w 4040759"/>
                    <a:gd name="connsiteY4247" fmla="*/ 258053 h 1475329"/>
                    <a:gd name="connsiteX4248" fmla="*/ 2491430 w 4040759"/>
                    <a:gd name="connsiteY4248" fmla="*/ 252340 h 1475329"/>
                    <a:gd name="connsiteX4249" fmla="*/ 2489515 w 4040759"/>
                    <a:gd name="connsiteY4249" fmla="*/ 253302 h 1475329"/>
                    <a:gd name="connsiteX4250" fmla="*/ 2492368 w 4040759"/>
                    <a:gd name="connsiteY4250" fmla="*/ 258126 h 1475329"/>
                    <a:gd name="connsiteX4251" fmla="*/ 2496956 w 4040759"/>
                    <a:gd name="connsiteY4251" fmla="*/ 260800 h 1475329"/>
                    <a:gd name="connsiteX4252" fmla="*/ 2505203 w 4040759"/>
                    <a:gd name="connsiteY4252" fmla="*/ 268200 h 1475329"/>
                    <a:gd name="connsiteX4253" fmla="*/ 2518911 w 4040759"/>
                    <a:gd name="connsiteY4253" fmla="*/ 283423 h 1475329"/>
                    <a:gd name="connsiteX4254" fmla="*/ 2522098 w 4040759"/>
                    <a:gd name="connsiteY4254" fmla="*/ 282184 h 1475329"/>
                    <a:gd name="connsiteX4255" fmla="*/ 2523997 w 4040759"/>
                    <a:gd name="connsiteY4255" fmla="*/ 280261 h 1475329"/>
                    <a:gd name="connsiteX4256" fmla="*/ 2524926 w 4040759"/>
                    <a:gd name="connsiteY4256" fmla="*/ 277792 h 1475329"/>
                    <a:gd name="connsiteX4257" fmla="*/ 2524127 w 4040759"/>
                    <a:gd name="connsiteY4257" fmla="*/ 274393 h 1475329"/>
                    <a:gd name="connsiteX4258" fmla="*/ 2526311 w 4040759"/>
                    <a:gd name="connsiteY4258" fmla="*/ 276040 h 1475329"/>
                    <a:gd name="connsiteX4259" fmla="*/ 2528341 w 4040759"/>
                    <a:gd name="connsiteY4259" fmla="*/ 279096 h 1475329"/>
                    <a:gd name="connsiteX4260" fmla="*/ 2532530 w 4040759"/>
                    <a:gd name="connsiteY4260" fmla="*/ 284157 h 1475329"/>
                    <a:gd name="connsiteX4261" fmla="*/ 2526906 w 4040759"/>
                    <a:gd name="connsiteY4261" fmla="*/ 283904 h 1475329"/>
                    <a:gd name="connsiteX4262" fmla="*/ 2519840 w 4040759"/>
                    <a:gd name="connsiteY4262" fmla="*/ 285599 h 1475329"/>
                    <a:gd name="connsiteX4263" fmla="*/ 2517216 w 4040759"/>
                    <a:gd name="connsiteY4263" fmla="*/ 287604 h 1475329"/>
                    <a:gd name="connsiteX4264" fmla="*/ 2519188 w 4040759"/>
                    <a:gd name="connsiteY4264" fmla="*/ 290424 h 1475329"/>
                    <a:gd name="connsiteX4265" fmla="*/ 2524437 w 4040759"/>
                    <a:gd name="connsiteY4265" fmla="*/ 290823 h 1475329"/>
                    <a:gd name="connsiteX4266" fmla="*/ 2526678 w 4040759"/>
                    <a:gd name="connsiteY4266" fmla="*/ 294645 h 1475329"/>
                    <a:gd name="connsiteX4267" fmla="*/ 2530777 w 4040759"/>
                    <a:gd name="connsiteY4267" fmla="*/ 299372 h 1475329"/>
                    <a:gd name="connsiteX4268" fmla="*/ 2540003 w 4040759"/>
                    <a:gd name="connsiteY4268" fmla="*/ 312298 h 1475329"/>
                    <a:gd name="connsiteX4269" fmla="*/ 2546547 w 4040759"/>
                    <a:gd name="connsiteY4269" fmla="*/ 314743 h 1475329"/>
                    <a:gd name="connsiteX4270" fmla="*/ 2552887 w 4040759"/>
                    <a:gd name="connsiteY4270" fmla="*/ 320081 h 1475329"/>
                    <a:gd name="connsiteX4271" fmla="*/ 2559228 w 4040759"/>
                    <a:gd name="connsiteY4271" fmla="*/ 322550 h 1475329"/>
                    <a:gd name="connsiteX4272" fmla="*/ 2562496 w 4040759"/>
                    <a:gd name="connsiteY4272" fmla="*/ 322746 h 1475329"/>
                    <a:gd name="connsiteX4273" fmla="*/ 2564680 w 4040759"/>
                    <a:gd name="connsiteY4273" fmla="*/ 319404 h 1475329"/>
                    <a:gd name="connsiteX4274" fmla="*/ 2566547 w 4040759"/>
                    <a:gd name="connsiteY4274" fmla="*/ 320602 h 1475329"/>
                    <a:gd name="connsiteX4275" fmla="*/ 2568185 w 4040759"/>
                    <a:gd name="connsiteY4275" fmla="*/ 326568 h 1475329"/>
                    <a:gd name="connsiteX4276" fmla="*/ 2571241 w 4040759"/>
                    <a:gd name="connsiteY4276" fmla="*/ 329151 h 1475329"/>
                    <a:gd name="connsiteX4277" fmla="*/ 2574623 w 4040759"/>
                    <a:gd name="connsiteY4277" fmla="*/ 329331 h 1475329"/>
                    <a:gd name="connsiteX4278" fmla="*/ 2577361 w 4040759"/>
                    <a:gd name="connsiteY4278" fmla="*/ 328279 h 1475329"/>
                    <a:gd name="connsiteX4279" fmla="*/ 2581436 w 4040759"/>
                    <a:gd name="connsiteY4279" fmla="*/ 325451 h 1475329"/>
                    <a:gd name="connsiteX4280" fmla="*/ 2584639 w 4040759"/>
                    <a:gd name="connsiteY4280" fmla="*/ 322167 h 1475329"/>
                    <a:gd name="connsiteX4281" fmla="*/ 2589781 w 4040759"/>
                    <a:gd name="connsiteY4281" fmla="*/ 313121 h 1475329"/>
                    <a:gd name="connsiteX4282" fmla="*/ 2593180 w 4040759"/>
                    <a:gd name="connsiteY4282" fmla="*/ 308541 h 1475329"/>
                    <a:gd name="connsiteX4283" fmla="*/ 2596391 w 4040759"/>
                    <a:gd name="connsiteY4283" fmla="*/ 306666 h 1475329"/>
                    <a:gd name="connsiteX4284" fmla="*/ 2595283 w 4040759"/>
                    <a:gd name="connsiteY4284" fmla="*/ 304433 h 1475329"/>
                    <a:gd name="connsiteX4285" fmla="*/ 2595600 w 4040759"/>
                    <a:gd name="connsiteY4285" fmla="*/ 301850 h 1475329"/>
                    <a:gd name="connsiteX4286" fmla="*/ 2597964 w 4040759"/>
                    <a:gd name="connsiteY4286" fmla="*/ 295770 h 1475329"/>
                    <a:gd name="connsiteX4287" fmla="*/ 2601159 w 4040759"/>
                    <a:gd name="connsiteY4287" fmla="*/ 288558 h 1475329"/>
                    <a:gd name="connsiteX4288" fmla="*/ 2603595 w 4040759"/>
                    <a:gd name="connsiteY4288" fmla="*/ 284752 h 1475329"/>
                    <a:gd name="connsiteX4289" fmla="*/ 2609455 w 4040759"/>
                    <a:gd name="connsiteY4289" fmla="*/ 277026 h 1475329"/>
                    <a:gd name="connsiteX4290" fmla="*/ 2611729 w 4040759"/>
                    <a:gd name="connsiteY4290" fmla="*/ 275632 h 1475329"/>
                    <a:gd name="connsiteX4291" fmla="*/ 2613261 w 4040759"/>
                    <a:gd name="connsiteY4291" fmla="*/ 278118 h 1475329"/>
                    <a:gd name="connsiteX4292" fmla="*/ 2614573 w 4040759"/>
                    <a:gd name="connsiteY4292" fmla="*/ 281443 h 1475329"/>
                    <a:gd name="connsiteX4293" fmla="*/ 2615445 w 4040759"/>
                    <a:gd name="connsiteY4293" fmla="*/ 282869 h 1475329"/>
                    <a:gd name="connsiteX4294" fmla="*/ 2616325 w 4040759"/>
                    <a:gd name="connsiteY4294" fmla="*/ 283431 h 1475329"/>
                    <a:gd name="connsiteX4295" fmla="*/ 2623570 w 4040759"/>
                    <a:gd name="connsiteY4295" fmla="*/ 290196 h 1475329"/>
                    <a:gd name="connsiteX4296" fmla="*/ 2630880 w 4040759"/>
                    <a:gd name="connsiteY4296" fmla="*/ 295460 h 1475329"/>
                    <a:gd name="connsiteX4297" fmla="*/ 2637400 w 4040759"/>
                    <a:gd name="connsiteY4297" fmla="*/ 298036 h 1475329"/>
                    <a:gd name="connsiteX4298" fmla="*/ 2647669 w 4040759"/>
                    <a:gd name="connsiteY4298" fmla="*/ 300546 h 1475329"/>
                    <a:gd name="connsiteX4299" fmla="*/ 2662542 w 4040759"/>
                    <a:gd name="connsiteY4299" fmla="*/ 300187 h 1475329"/>
                    <a:gd name="connsiteX4300" fmla="*/ 2665297 w 4040759"/>
                    <a:gd name="connsiteY4300" fmla="*/ 296830 h 1475329"/>
                    <a:gd name="connsiteX4301" fmla="*/ 2670472 w 4040759"/>
                    <a:gd name="connsiteY4301" fmla="*/ 294360 h 1475329"/>
                    <a:gd name="connsiteX4302" fmla="*/ 2678833 w 4040759"/>
                    <a:gd name="connsiteY4302" fmla="*/ 293073 h 1475329"/>
                    <a:gd name="connsiteX4303" fmla="*/ 2683789 w 4040759"/>
                    <a:gd name="connsiteY4303" fmla="*/ 290025 h 1475329"/>
                    <a:gd name="connsiteX4304" fmla="*/ 2691873 w 4040759"/>
                    <a:gd name="connsiteY4304" fmla="*/ 289104 h 1475329"/>
                    <a:gd name="connsiteX4305" fmla="*/ 2696967 w 4040759"/>
                    <a:gd name="connsiteY4305" fmla="*/ 289609 h 1475329"/>
                    <a:gd name="connsiteX4306" fmla="*/ 2704799 w 4040759"/>
                    <a:gd name="connsiteY4306" fmla="*/ 291826 h 1475329"/>
                    <a:gd name="connsiteX4307" fmla="*/ 2722394 w 4040759"/>
                    <a:gd name="connsiteY4307" fmla="*/ 298875 h 1475329"/>
                    <a:gd name="connsiteX4308" fmla="*/ 2727341 w 4040759"/>
                    <a:gd name="connsiteY4308" fmla="*/ 301434 h 1475329"/>
                    <a:gd name="connsiteX4309" fmla="*/ 2729883 w 4040759"/>
                    <a:gd name="connsiteY4309" fmla="*/ 304172 h 1475329"/>
                    <a:gd name="connsiteX4310" fmla="*/ 2735662 w 4040759"/>
                    <a:gd name="connsiteY4310" fmla="*/ 308280 h 1475329"/>
                    <a:gd name="connsiteX4311" fmla="*/ 2739313 w 4040759"/>
                    <a:gd name="connsiteY4311" fmla="*/ 310293 h 1475329"/>
                    <a:gd name="connsiteX4312" fmla="*/ 2742833 w 4040759"/>
                    <a:gd name="connsiteY4312" fmla="*/ 311670 h 1475329"/>
                    <a:gd name="connsiteX4313" fmla="*/ 2744121 w 4040759"/>
                    <a:gd name="connsiteY4313" fmla="*/ 311246 h 1475329"/>
                    <a:gd name="connsiteX4314" fmla="*/ 2743673 w 4040759"/>
                    <a:gd name="connsiteY4314" fmla="*/ 310081 h 1475329"/>
                    <a:gd name="connsiteX4315" fmla="*/ 2741896 w 4040759"/>
                    <a:gd name="connsiteY4315" fmla="*/ 308932 h 1475329"/>
                    <a:gd name="connsiteX4316" fmla="*/ 2740462 w 4040759"/>
                    <a:gd name="connsiteY4316" fmla="*/ 307440 h 1475329"/>
                    <a:gd name="connsiteX4317" fmla="*/ 2744642 w 4040759"/>
                    <a:gd name="connsiteY4317" fmla="*/ 305900 h 1475329"/>
                    <a:gd name="connsiteX4318" fmla="*/ 2745131 w 4040759"/>
                    <a:gd name="connsiteY4318" fmla="*/ 304767 h 1475329"/>
                    <a:gd name="connsiteX4319" fmla="*/ 2746582 w 4040759"/>
                    <a:gd name="connsiteY4319" fmla="*/ 303789 h 1475329"/>
                    <a:gd name="connsiteX4320" fmla="*/ 2752116 w 4040759"/>
                    <a:gd name="connsiteY4320" fmla="*/ 302966 h 1475329"/>
                    <a:gd name="connsiteX4321" fmla="*/ 2746737 w 4040759"/>
                    <a:gd name="connsiteY4321" fmla="*/ 301475 h 1475329"/>
                    <a:gd name="connsiteX4322" fmla="*/ 2744879 w 4040759"/>
                    <a:gd name="connsiteY4322" fmla="*/ 301247 h 1475329"/>
                    <a:gd name="connsiteX4323" fmla="*/ 2742304 w 4040759"/>
                    <a:gd name="connsiteY4323" fmla="*/ 300309 h 1475329"/>
                    <a:gd name="connsiteX4324" fmla="*/ 2742523 w 4040759"/>
                    <a:gd name="connsiteY4324" fmla="*/ 298239 h 1475329"/>
                    <a:gd name="connsiteX4325" fmla="*/ 2744227 w 4040759"/>
                    <a:gd name="connsiteY4325" fmla="*/ 296707 h 1475329"/>
                    <a:gd name="connsiteX4326" fmla="*/ 2745523 w 4040759"/>
                    <a:gd name="connsiteY4326" fmla="*/ 293863 h 1475329"/>
                    <a:gd name="connsiteX4327" fmla="*/ 2747267 w 4040759"/>
                    <a:gd name="connsiteY4327" fmla="*/ 292038 h 1475329"/>
                    <a:gd name="connsiteX4328" fmla="*/ 2750127 w 4040759"/>
                    <a:gd name="connsiteY4328" fmla="*/ 290660 h 1475329"/>
                    <a:gd name="connsiteX4329" fmla="*/ 2752214 w 4040759"/>
                    <a:gd name="connsiteY4329" fmla="*/ 290367 h 1475329"/>
                    <a:gd name="connsiteX4330" fmla="*/ 2757356 w 4040759"/>
                    <a:gd name="connsiteY4330" fmla="*/ 292192 h 1475329"/>
                    <a:gd name="connsiteX4331" fmla="*/ 2760942 w 4040759"/>
                    <a:gd name="connsiteY4331" fmla="*/ 288916 h 1475329"/>
                    <a:gd name="connsiteX4332" fmla="*/ 2763672 w 4040759"/>
                    <a:gd name="connsiteY4332" fmla="*/ 289177 h 1475329"/>
                    <a:gd name="connsiteX4333" fmla="*/ 2769255 w 4040759"/>
                    <a:gd name="connsiteY4333" fmla="*/ 292502 h 1475329"/>
                    <a:gd name="connsiteX4334" fmla="*/ 2774316 w 4040759"/>
                    <a:gd name="connsiteY4334" fmla="*/ 297563 h 1475329"/>
                    <a:gd name="connsiteX4335" fmla="*/ 2777070 w 4040759"/>
                    <a:gd name="connsiteY4335" fmla="*/ 297563 h 1475329"/>
                    <a:gd name="connsiteX4336" fmla="*/ 2784805 w 4040759"/>
                    <a:gd name="connsiteY4336" fmla="*/ 295542 h 1475329"/>
                    <a:gd name="connsiteX4337" fmla="*/ 2793533 w 4040759"/>
                    <a:gd name="connsiteY4337" fmla="*/ 295428 h 1475329"/>
                    <a:gd name="connsiteX4338" fmla="*/ 2792416 w 4040759"/>
                    <a:gd name="connsiteY4338" fmla="*/ 292429 h 1475329"/>
                    <a:gd name="connsiteX4339" fmla="*/ 2786361 w 4040759"/>
                    <a:gd name="connsiteY4339" fmla="*/ 285925 h 1475329"/>
                    <a:gd name="connsiteX4340" fmla="*/ 2787054 w 4040759"/>
                    <a:gd name="connsiteY4340" fmla="*/ 277507 h 1475329"/>
                    <a:gd name="connsiteX4341" fmla="*/ 2782824 w 4040759"/>
                    <a:gd name="connsiteY4341" fmla="*/ 275600 h 1475329"/>
                    <a:gd name="connsiteX4342" fmla="*/ 2778048 w 4040759"/>
                    <a:gd name="connsiteY4342" fmla="*/ 274475 h 1475329"/>
                    <a:gd name="connsiteX4343" fmla="*/ 2785008 w 4040759"/>
                    <a:gd name="connsiteY4343" fmla="*/ 272315 h 1475329"/>
                    <a:gd name="connsiteX4344" fmla="*/ 2790142 w 4040759"/>
                    <a:gd name="connsiteY4344" fmla="*/ 265453 h 1475329"/>
                    <a:gd name="connsiteX4345" fmla="*/ 2794275 w 4040759"/>
                    <a:gd name="connsiteY4345" fmla="*/ 264817 h 1475329"/>
                    <a:gd name="connsiteX4346" fmla="*/ 2798578 w 4040759"/>
                    <a:gd name="connsiteY4346" fmla="*/ 263489 h 1475329"/>
                    <a:gd name="connsiteX4347" fmla="*/ 2797257 w 4040759"/>
                    <a:gd name="connsiteY4347" fmla="*/ 262641 h 1475329"/>
                    <a:gd name="connsiteX4348" fmla="*/ 2784430 w 4040759"/>
                    <a:gd name="connsiteY4348" fmla="*/ 261908 h 1475329"/>
                    <a:gd name="connsiteX4349" fmla="*/ 2781658 w 4040759"/>
                    <a:gd name="connsiteY4349" fmla="*/ 262739 h 1475329"/>
                    <a:gd name="connsiteX4350" fmla="*/ 2779801 w 4040759"/>
                    <a:gd name="connsiteY4350" fmla="*/ 264760 h 1475329"/>
                    <a:gd name="connsiteX4351" fmla="*/ 2773501 w 4040759"/>
                    <a:gd name="connsiteY4351" fmla="*/ 264760 h 1475329"/>
                    <a:gd name="connsiteX4352" fmla="*/ 2772735 w 4040759"/>
                    <a:gd name="connsiteY4352" fmla="*/ 260131 h 1475329"/>
                    <a:gd name="connsiteX4353" fmla="*/ 2772621 w 4040759"/>
                    <a:gd name="connsiteY4353" fmla="*/ 257132 h 1475329"/>
                    <a:gd name="connsiteX4354" fmla="*/ 2780877 w 4040759"/>
                    <a:gd name="connsiteY4354" fmla="*/ 250849 h 1475329"/>
                    <a:gd name="connsiteX4355" fmla="*/ 2784039 w 4040759"/>
                    <a:gd name="connsiteY4355" fmla="*/ 249488 h 1475329"/>
                    <a:gd name="connsiteX4356" fmla="*/ 2805105 w 4040759"/>
                    <a:gd name="connsiteY4356" fmla="*/ 249618 h 1475329"/>
                    <a:gd name="connsiteX4357" fmla="*/ 2811422 w 4040759"/>
                    <a:gd name="connsiteY4357" fmla="*/ 248428 h 1475329"/>
                    <a:gd name="connsiteX4358" fmla="*/ 2820696 w 4040759"/>
                    <a:gd name="connsiteY4358" fmla="*/ 245299 h 1475329"/>
                    <a:gd name="connsiteX4359" fmla="*/ 2818308 w 4040759"/>
                    <a:gd name="connsiteY4359" fmla="*/ 243310 h 1475329"/>
                    <a:gd name="connsiteX4360" fmla="*/ 2818064 w 4040759"/>
                    <a:gd name="connsiteY4360" fmla="*/ 239301 h 1475329"/>
                    <a:gd name="connsiteX4361" fmla="*/ 2810109 w 4040759"/>
                    <a:gd name="connsiteY4361" fmla="*/ 233490 h 1475329"/>
                    <a:gd name="connsiteX4362" fmla="*/ 2810696 w 4040759"/>
                    <a:gd name="connsiteY4362" fmla="*/ 232161 h 1475329"/>
                    <a:gd name="connsiteX4363" fmla="*/ 2811487 w 4040759"/>
                    <a:gd name="connsiteY4363" fmla="*/ 231298 h 1475329"/>
                    <a:gd name="connsiteX4364" fmla="*/ 2813972 w 4040759"/>
                    <a:gd name="connsiteY4364" fmla="*/ 231257 h 1475329"/>
                    <a:gd name="connsiteX4365" fmla="*/ 2826409 w 4040759"/>
                    <a:gd name="connsiteY4365" fmla="*/ 232797 h 1475329"/>
                    <a:gd name="connsiteX4366" fmla="*/ 2831584 w 4040759"/>
                    <a:gd name="connsiteY4366" fmla="*/ 235992 h 1475329"/>
                    <a:gd name="connsiteX4367" fmla="*/ 2845064 w 4040759"/>
                    <a:gd name="connsiteY4367" fmla="*/ 239121 h 1475329"/>
                    <a:gd name="connsiteX4368" fmla="*/ 2881118 w 4040759"/>
                    <a:gd name="connsiteY4368" fmla="*/ 240164 h 1475329"/>
                    <a:gd name="connsiteX4369" fmla="*/ 2885225 w 4040759"/>
                    <a:gd name="connsiteY4369" fmla="*/ 241322 h 1475329"/>
                    <a:gd name="connsiteX4370" fmla="*/ 2900669 w 4040759"/>
                    <a:gd name="connsiteY4370" fmla="*/ 242715 h 1475329"/>
                    <a:gd name="connsiteX4371" fmla="*/ 2907230 w 4040759"/>
                    <a:gd name="connsiteY4371" fmla="*/ 244239 h 1475329"/>
                    <a:gd name="connsiteX4372" fmla="*/ 2922886 w 4040759"/>
                    <a:gd name="connsiteY4372" fmla="*/ 246065 h 1475329"/>
                    <a:gd name="connsiteX4373" fmla="*/ 2929984 w 4040759"/>
                    <a:gd name="connsiteY4373" fmla="*/ 247361 h 1475329"/>
                    <a:gd name="connsiteX4374" fmla="*/ 2935656 w 4040759"/>
                    <a:gd name="connsiteY4374" fmla="*/ 249423 h 1475329"/>
                    <a:gd name="connsiteX4375" fmla="*/ 2944808 w 4040759"/>
                    <a:gd name="connsiteY4375" fmla="*/ 250621 h 1475329"/>
                    <a:gd name="connsiteX4376" fmla="*/ 2949014 w 4040759"/>
                    <a:gd name="connsiteY4376" fmla="*/ 251965 h 1475329"/>
                    <a:gd name="connsiteX4377" fmla="*/ 2948565 w 4040759"/>
                    <a:gd name="connsiteY4377" fmla="*/ 256211 h 1475329"/>
                    <a:gd name="connsiteX4378" fmla="*/ 2929528 w 4040759"/>
                    <a:gd name="connsiteY4378" fmla="*/ 255641 h 1475329"/>
                    <a:gd name="connsiteX4379" fmla="*/ 2923219 w 4040759"/>
                    <a:gd name="connsiteY4379" fmla="*/ 254239 h 1475329"/>
                    <a:gd name="connsiteX4380" fmla="*/ 2915387 w 4040759"/>
                    <a:gd name="connsiteY4380" fmla="*/ 254076 h 1475329"/>
                    <a:gd name="connsiteX4381" fmla="*/ 2912388 w 4040759"/>
                    <a:gd name="connsiteY4381" fmla="*/ 254720 h 1475329"/>
                    <a:gd name="connsiteX4382" fmla="*/ 2907711 w 4040759"/>
                    <a:gd name="connsiteY4382" fmla="*/ 258241 h 1475329"/>
                    <a:gd name="connsiteX4383" fmla="*/ 2902104 w 4040759"/>
                    <a:gd name="connsiteY4383" fmla="*/ 260091 h 1475329"/>
                    <a:gd name="connsiteX4384" fmla="*/ 2897336 w 4040759"/>
                    <a:gd name="connsiteY4384" fmla="*/ 260392 h 1475329"/>
                    <a:gd name="connsiteX4385" fmla="*/ 2900449 w 4040759"/>
                    <a:gd name="connsiteY4385" fmla="*/ 263432 h 1475329"/>
                    <a:gd name="connsiteX4386" fmla="*/ 2904817 w 4040759"/>
                    <a:gd name="connsiteY4386" fmla="*/ 264247 h 1475329"/>
                    <a:gd name="connsiteX4387" fmla="*/ 2918917 w 4040759"/>
                    <a:gd name="connsiteY4387" fmla="*/ 260343 h 1475329"/>
                    <a:gd name="connsiteX4388" fmla="*/ 2957481 w 4040759"/>
                    <a:gd name="connsiteY4388" fmla="*/ 258387 h 1475329"/>
                    <a:gd name="connsiteX4389" fmla="*/ 2963373 w 4040759"/>
                    <a:gd name="connsiteY4389" fmla="*/ 258705 h 1475329"/>
                    <a:gd name="connsiteX4390" fmla="*/ 2962762 w 4040759"/>
                    <a:gd name="connsiteY4390" fmla="*/ 261411 h 1475329"/>
                    <a:gd name="connsiteX4391" fmla="*/ 2957603 w 4040759"/>
                    <a:gd name="connsiteY4391" fmla="*/ 266594 h 1475329"/>
                    <a:gd name="connsiteX4392" fmla="*/ 2952713 w 4040759"/>
                    <a:gd name="connsiteY4392" fmla="*/ 270620 h 1475329"/>
                    <a:gd name="connsiteX4393" fmla="*/ 2945558 w 4040759"/>
                    <a:gd name="connsiteY4393" fmla="*/ 274760 h 1475329"/>
                    <a:gd name="connsiteX4394" fmla="*/ 2942885 w 4040759"/>
                    <a:gd name="connsiteY4394" fmla="*/ 274744 h 1475329"/>
                    <a:gd name="connsiteX4395" fmla="*/ 2948451 w 4040759"/>
                    <a:gd name="connsiteY4395" fmla="*/ 265958 h 1475329"/>
                    <a:gd name="connsiteX4396" fmla="*/ 2946153 w 4040759"/>
                    <a:gd name="connsiteY4396" fmla="*/ 265543 h 1475329"/>
                    <a:gd name="connsiteX4397" fmla="*/ 2944017 w 4040759"/>
                    <a:gd name="connsiteY4397" fmla="*/ 265730 h 1475329"/>
                    <a:gd name="connsiteX4398" fmla="*/ 2937775 w 4040759"/>
                    <a:gd name="connsiteY4398" fmla="*/ 262087 h 1475329"/>
                    <a:gd name="connsiteX4399" fmla="*/ 2936765 w 4040759"/>
                    <a:gd name="connsiteY4399" fmla="*/ 261900 h 1475329"/>
                    <a:gd name="connsiteX4400" fmla="*/ 2935542 w 4040759"/>
                    <a:gd name="connsiteY4400" fmla="*/ 262796 h 1475329"/>
                    <a:gd name="connsiteX4401" fmla="*/ 2935558 w 4040759"/>
                    <a:gd name="connsiteY4401" fmla="*/ 264117 h 1475329"/>
                    <a:gd name="connsiteX4402" fmla="*/ 2934409 w 4040759"/>
                    <a:gd name="connsiteY4402" fmla="*/ 269186 h 1475329"/>
                    <a:gd name="connsiteX4403" fmla="*/ 2936707 w 4040759"/>
                    <a:gd name="connsiteY4403" fmla="*/ 271296 h 1475329"/>
                    <a:gd name="connsiteX4404" fmla="*/ 2936707 w 4040759"/>
                    <a:gd name="connsiteY4404" fmla="*/ 274931 h 1475329"/>
                    <a:gd name="connsiteX4405" fmla="*/ 2928044 w 4040759"/>
                    <a:gd name="connsiteY4405" fmla="*/ 277270 h 1475329"/>
                    <a:gd name="connsiteX4406" fmla="*/ 2924670 w 4040759"/>
                    <a:gd name="connsiteY4406" fmla="*/ 277066 h 1475329"/>
                    <a:gd name="connsiteX4407" fmla="*/ 2921068 w 4040759"/>
                    <a:gd name="connsiteY4407" fmla="*/ 275575 h 1475329"/>
                    <a:gd name="connsiteX4408" fmla="*/ 2919528 w 4040759"/>
                    <a:gd name="connsiteY4408" fmla="*/ 275632 h 1475329"/>
                    <a:gd name="connsiteX4409" fmla="*/ 2919112 w 4040759"/>
                    <a:gd name="connsiteY4409" fmla="*/ 276773 h 1475329"/>
                    <a:gd name="connsiteX4410" fmla="*/ 2919862 w 4040759"/>
                    <a:gd name="connsiteY4410" fmla="*/ 278892 h 1475329"/>
                    <a:gd name="connsiteX4411" fmla="*/ 2919780 w 4040759"/>
                    <a:gd name="connsiteY4411" fmla="*/ 279976 h 1475329"/>
                    <a:gd name="connsiteX4412" fmla="*/ 2918387 w 4040759"/>
                    <a:gd name="connsiteY4412" fmla="*/ 281671 h 1475329"/>
                    <a:gd name="connsiteX4413" fmla="*/ 2917686 w 4040759"/>
                    <a:gd name="connsiteY4413" fmla="*/ 283513 h 1475329"/>
                    <a:gd name="connsiteX4414" fmla="*/ 2919805 w 4040759"/>
                    <a:gd name="connsiteY4414" fmla="*/ 285607 h 1475329"/>
                    <a:gd name="connsiteX4415" fmla="*/ 2922608 w 4040759"/>
                    <a:gd name="connsiteY4415" fmla="*/ 286137 h 1475329"/>
                    <a:gd name="connsiteX4416" fmla="*/ 2937897 w 4040759"/>
                    <a:gd name="connsiteY4416" fmla="*/ 283823 h 1475329"/>
                    <a:gd name="connsiteX4417" fmla="*/ 2944564 w 4040759"/>
                    <a:gd name="connsiteY4417" fmla="*/ 281003 h 1475329"/>
                    <a:gd name="connsiteX4418" fmla="*/ 2951874 w 4040759"/>
                    <a:gd name="connsiteY4418" fmla="*/ 275811 h 1475329"/>
                    <a:gd name="connsiteX4419" fmla="*/ 2964938 w 4040759"/>
                    <a:gd name="connsiteY4419" fmla="*/ 263204 h 1475329"/>
                    <a:gd name="connsiteX4420" fmla="*/ 2970700 w 4040759"/>
                    <a:gd name="connsiteY4420" fmla="*/ 258860 h 1475329"/>
                    <a:gd name="connsiteX4421" fmla="*/ 2974049 w 4040759"/>
                    <a:gd name="connsiteY4421" fmla="*/ 257222 h 1475329"/>
                    <a:gd name="connsiteX4422" fmla="*/ 2978312 w 4040759"/>
                    <a:gd name="connsiteY4422" fmla="*/ 256619 h 1475329"/>
                    <a:gd name="connsiteX4423" fmla="*/ 3002321 w 4040759"/>
                    <a:gd name="connsiteY4423" fmla="*/ 257947 h 1475329"/>
                    <a:gd name="connsiteX4424" fmla="*/ 3016273 w 4040759"/>
                    <a:gd name="connsiteY4424" fmla="*/ 260685 h 1475329"/>
                    <a:gd name="connsiteX4425" fmla="*/ 3029598 w 4040759"/>
                    <a:gd name="connsiteY4425" fmla="*/ 264720 h 1475329"/>
                    <a:gd name="connsiteX4426" fmla="*/ 3036159 w 4040759"/>
                    <a:gd name="connsiteY4426" fmla="*/ 268077 h 1475329"/>
                    <a:gd name="connsiteX4427" fmla="*/ 3041032 w 4040759"/>
                    <a:gd name="connsiteY4427" fmla="*/ 272609 h 1475329"/>
                    <a:gd name="connsiteX4428" fmla="*/ 3041912 w 4040759"/>
                    <a:gd name="connsiteY4428" fmla="*/ 274507 h 1475329"/>
                    <a:gd name="connsiteX4429" fmla="*/ 3042377 w 4040759"/>
                    <a:gd name="connsiteY4429" fmla="*/ 277018 h 1475329"/>
                    <a:gd name="connsiteX4430" fmla="*/ 3038995 w 4040759"/>
                    <a:gd name="connsiteY4430" fmla="*/ 279422 h 1475329"/>
                    <a:gd name="connsiteX4431" fmla="*/ 3024081 w 4040759"/>
                    <a:gd name="connsiteY4431" fmla="*/ 280220 h 1475329"/>
                    <a:gd name="connsiteX4432" fmla="*/ 3018359 w 4040759"/>
                    <a:gd name="connsiteY4432" fmla="*/ 281581 h 1475329"/>
                    <a:gd name="connsiteX4433" fmla="*/ 3016290 w 4040759"/>
                    <a:gd name="connsiteY4433" fmla="*/ 283081 h 1475329"/>
                    <a:gd name="connsiteX4434" fmla="*/ 3016028 w 4040759"/>
                    <a:gd name="connsiteY4434" fmla="*/ 283929 h 1475329"/>
                    <a:gd name="connsiteX4435" fmla="*/ 3015246 w 4040759"/>
                    <a:gd name="connsiteY4435" fmla="*/ 285281 h 1475329"/>
                    <a:gd name="connsiteX4436" fmla="*/ 3016363 w 4040759"/>
                    <a:gd name="connsiteY4436" fmla="*/ 286373 h 1475329"/>
                    <a:gd name="connsiteX4437" fmla="*/ 3023046 w 4040759"/>
                    <a:gd name="connsiteY4437" fmla="*/ 286496 h 1475329"/>
                    <a:gd name="connsiteX4438" fmla="*/ 3029500 w 4040759"/>
                    <a:gd name="connsiteY4438" fmla="*/ 287580 h 1475329"/>
                    <a:gd name="connsiteX4439" fmla="*/ 3038400 w 4040759"/>
                    <a:gd name="connsiteY4439" fmla="*/ 290432 h 1475329"/>
                    <a:gd name="connsiteX4440" fmla="*/ 3039785 w 4040759"/>
                    <a:gd name="connsiteY4440" fmla="*/ 291377 h 1475329"/>
                    <a:gd name="connsiteX4441" fmla="*/ 3042605 w 4040759"/>
                    <a:gd name="connsiteY4441" fmla="*/ 294083 h 1475329"/>
                    <a:gd name="connsiteX4442" fmla="*/ 3043461 w 4040759"/>
                    <a:gd name="connsiteY4442" fmla="*/ 294556 h 1475329"/>
                    <a:gd name="connsiteX4443" fmla="*/ 3056834 w 4040759"/>
                    <a:gd name="connsiteY4443" fmla="*/ 294132 h 1475329"/>
                    <a:gd name="connsiteX4444" fmla="*/ 3057690 w 4040759"/>
                    <a:gd name="connsiteY4444" fmla="*/ 295102 h 1475329"/>
                    <a:gd name="connsiteX4445" fmla="*/ 3058522 w 4040759"/>
                    <a:gd name="connsiteY4445" fmla="*/ 297082 h 1475329"/>
                    <a:gd name="connsiteX4446" fmla="*/ 3054968 w 4040759"/>
                    <a:gd name="connsiteY4446" fmla="*/ 300228 h 1475329"/>
                    <a:gd name="connsiteX4447" fmla="*/ 3051496 w 4040759"/>
                    <a:gd name="connsiteY4447" fmla="*/ 302363 h 1475329"/>
                    <a:gd name="connsiteX4448" fmla="*/ 3044373 w 4040759"/>
                    <a:gd name="connsiteY4448" fmla="*/ 307457 h 1475329"/>
                    <a:gd name="connsiteX4449" fmla="*/ 3047976 w 4040759"/>
                    <a:gd name="connsiteY4449" fmla="*/ 305615 h 1475329"/>
                    <a:gd name="connsiteX4450" fmla="*/ 3062335 w 4040759"/>
                    <a:gd name="connsiteY4450" fmla="*/ 301279 h 1475329"/>
                    <a:gd name="connsiteX4451" fmla="*/ 3065962 w 4040759"/>
                    <a:gd name="connsiteY4451" fmla="*/ 300481 h 1475329"/>
                    <a:gd name="connsiteX4452" fmla="*/ 3070355 w 4040759"/>
                    <a:gd name="connsiteY4452" fmla="*/ 300782 h 1475329"/>
                    <a:gd name="connsiteX4453" fmla="*/ 3081202 w 4040759"/>
                    <a:gd name="connsiteY4453" fmla="*/ 304710 h 1475329"/>
                    <a:gd name="connsiteX4454" fmla="*/ 3085595 w 4040759"/>
                    <a:gd name="connsiteY4454" fmla="*/ 307848 h 1475329"/>
                    <a:gd name="connsiteX4455" fmla="*/ 3093859 w 4040759"/>
                    <a:gd name="connsiteY4455" fmla="*/ 316650 h 1475329"/>
                    <a:gd name="connsiteX4456" fmla="*/ 3091552 w 4040759"/>
                    <a:gd name="connsiteY4456" fmla="*/ 317595 h 1475329"/>
                    <a:gd name="connsiteX4457" fmla="*/ 3085652 w 4040759"/>
                    <a:gd name="connsiteY4457" fmla="*/ 318492 h 1475329"/>
                    <a:gd name="connsiteX4458" fmla="*/ 3104184 w 4040759"/>
                    <a:gd name="connsiteY4458" fmla="*/ 325174 h 1475329"/>
                    <a:gd name="connsiteX4459" fmla="*/ 3111348 w 4040759"/>
                    <a:gd name="connsiteY4459" fmla="*/ 325117 h 1475329"/>
                    <a:gd name="connsiteX4460" fmla="*/ 3127786 w 4040759"/>
                    <a:gd name="connsiteY4460" fmla="*/ 323186 h 1475329"/>
                    <a:gd name="connsiteX4461" fmla="*/ 3136058 w 4040759"/>
                    <a:gd name="connsiteY4461" fmla="*/ 323121 h 1475329"/>
                    <a:gd name="connsiteX4462" fmla="*/ 3151428 w 4040759"/>
                    <a:gd name="connsiteY4462" fmla="*/ 318858 h 1475329"/>
                    <a:gd name="connsiteX4463" fmla="*/ 3166693 w 4040759"/>
                    <a:gd name="connsiteY4463" fmla="*/ 316153 h 1475329"/>
                    <a:gd name="connsiteX4464" fmla="*/ 3180743 w 4040759"/>
                    <a:gd name="connsiteY4464" fmla="*/ 315957 h 1475329"/>
                    <a:gd name="connsiteX4465" fmla="*/ 3188159 w 4040759"/>
                    <a:gd name="connsiteY4465" fmla="*/ 313390 h 1475329"/>
                    <a:gd name="connsiteX4466" fmla="*/ 3207743 w 4040759"/>
                    <a:gd name="connsiteY4466" fmla="*/ 313463 h 1475329"/>
                    <a:gd name="connsiteX4467" fmla="*/ 3226659 w 4040759"/>
                    <a:gd name="connsiteY4467" fmla="*/ 314343 h 1475329"/>
                    <a:gd name="connsiteX4468" fmla="*/ 3241296 w 4040759"/>
                    <a:gd name="connsiteY4468" fmla="*/ 315924 h 1475329"/>
                    <a:gd name="connsiteX4469" fmla="*/ 3257783 w 4040759"/>
                    <a:gd name="connsiteY4469" fmla="*/ 320635 h 1475329"/>
                    <a:gd name="connsiteX4470" fmla="*/ 3273878 w 4040759"/>
                    <a:gd name="connsiteY4470" fmla="*/ 327147 h 1475329"/>
                    <a:gd name="connsiteX4471" fmla="*/ 3283226 w 4040759"/>
                    <a:gd name="connsiteY4471" fmla="*/ 333495 h 1475329"/>
                    <a:gd name="connsiteX4472" fmla="*/ 3285133 w 4040759"/>
                    <a:gd name="connsiteY4472" fmla="*/ 335508 h 1475329"/>
                    <a:gd name="connsiteX4473" fmla="*/ 3287790 w 4040759"/>
                    <a:gd name="connsiteY4473" fmla="*/ 339942 h 1475329"/>
                    <a:gd name="connsiteX4474" fmla="*/ 3288947 w 4040759"/>
                    <a:gd name="connsiteY4474" fmla="*/ 343642 h 1475329"/>
                    <a:gd name="connsiteX4475" fmla="*/ 3290129 w 4040759"/>
                    <a:gd name="connsiteY4475" fmla="*/ 348751 h 1475329"/>
                    <a:gd name="connsiteX4476" fmla="*/ 3289567 w 4040759"/>
                    <a:gd name="connsiteY4476" fmla="*/ 352704 h 1475329"/>
                    <a:gd name="connsiteX4477" fmla="*/ 3287236 w 4040759"/>
                    <a:gd name="connsiteY4477" fmla="*/ 355499 h 1475329"/>
                    <a:gd name="connsiteX4478" fmla="*/ 3285801 w 4040759"/>
                    <a:gd name="connsiteY4478" fmla="*/ 358963 h 1475329"/>
                    <a:gd name="connsiteX4479" fmla="*/ 3285980 w 4040759"/>
                    <a:gd name="connsiteY4479" fmla="*/ 363038 h 1475329"/>
                    <a:gd name="connsiteX4480" fmla="*/ 3283258 w 4040759"/>
                    <a:gd name="connsiteY4480" fmla="*/ 368384 h 1475329"/>
                    <a:gd name="connsiteX4481" fmla="*/ 3285825 w 4040759"/>
                    <a:gd name="connsiteY4481" fmla="*/ 372182 h 1475329"/>
                    <a:gd name="connsiteX4482" fmla="*/ 3292932 w 4040759"/>
                    <a:gd name="connsiteY4482" fmla="*/ 374635 h 1475329"/>
                    <a:gd name="connsiteX4483" fmla="*/ 3308311 w 4040759"/>
                    <a:gd name="connsiteY4483" fmla="*/ 377952 h 1475329"/>
                    <a:gd name="connsiteX4484" fmla="*/ 3312573 w 4040759"/>
                    <a:gd name="connsiteY4484" fmla="*/ 380120 h 1475329"/>
                    <a:gd name="connsiteX4485" fmla="*/ 3313013 w 4040759"/>
                    <a:gd name="connsiteY4485" fmla="*/ 386672 h 1475329"/>
                    <a:gd name="connsiteX4486" fmla="*/ 3314333 w 4040759"/>
                    <a:gd name="connsiteY4486" fmla="*/ 392165 h 1475329"/>
                    <a:gd name="connsiteX4487" fmla="*/ 3315661 w 4040759"/>
                    <a:gd name="connsiteY4487" fmla="*/ 402613 h 1475329"/>
                    <a:gd name="connsiteX4488" fmla="*/ 3318270 w 4040759"/>
                    <a:gd name="connsiteY4488" fmla="*/ 405229 h 1475329"/>
                    <a:gd name="connsiteX4489" fmla="*/ 3322467 w 4040759"/>
                    <a:gd name="connsiteY4489" fmla="*/ 407723 h 1475329"/>
                    <a:gd name="connsiteX4490" fmla="*/ 3323224 w 4040759"/>
                    <a:gd name="connsiteY4490" fmla="*/ 411121 h 1475329"/>
                    <a:gd name="connsiteX4491" fmla="*/ 3317976 w 4040759"/>
                    <a:gd name="connsiteY4491" fmla="*/ 422172 h 1475329"/>
                    <a:gd name="connsiteX4492" fmla="*/ 3314700 w 4040759"/>
                    <a:gd name="connsiteY4492" fmla="*/ 424210 h 1475329"/>
                    <a:gd name="connsiteX4493" fmla="*/ 3311204 w 4040759"/>
                    <a:gd name="connsiteY4493" fmla="*/ 427242 h 1475329"/>
                    <a:gd name="connsiteX4494" fmla="*/ 3317374 w 4040759"/>
                    <a:gd name="connsiteY4494" fmla="*/ 426174 h 1475329"/>
                    <a:gd name="connsiteX4495" fmla="*/ 3320486 w 4040759"/>
                    <a:gd name="connsiteY4495" fmla="*/ 422172 h 1475329"/>
                    <a:gd name="connsiteX4496" fmla="*/ 3323844 w 4040759"/>
                    <a:gd name="connsiteY4496" fmla="*/ 414740 h 1475329"/>
                    <a:gd name="connsiteX4497" fmla="*/ 3327063 w 4040759"/>
                    <a:gd name="connsiteY4497" fmla="*/ 413550 h 1475329"/>
                    <a:gd name="connsiteX4498" fmla="*/ 3328807 w 4040759"/>
                    <a:gd name="connsiteY4498" fmla="*/ 411121 h 1475329"/>
                    <a:gd name="connsiteX4499" fmla="*/ 3328807 w 4040759"/>
                    <a:gd name="connsiteY4499" fmla="*/ 404129 h 1475329"/>
                    <a:gd name="connsiteX4500" fmla="*/ 3326688 w 4040759"/>
                    <a:gd name="connsiteY4500" fmla="*/ 398041 h 1475329"/>
                    <a:gd name="connsiteX4501" fmla="*/ 3326688 w 4040759"/>
                    <a:gd name="connsiteY4501" fmla="*/ 393689 h 1475329"/>
                    <a:gd name="connsiteX4502" fmla="*/ 3328098 w 4040759"/>
                    <a:gd name="connsiteY4502" fmla="*/ 390177 h 1475329"/>
                    <a:gd name="connsiteX4503" fmla="*/ 3338212 w 4040759"/>
                    <a:gd name="connsiteY4503" fmla="*/ 382834 h 1475329"/>
                    <a:gd name="connsiteX4504" fmla="*/ 3343697 w 4040759"/>
                    <a:gd name="connsiteY4504" fmla="*/ 379892 h 1475329"/>
                    <a:gd name="connsiteX4505" fmla="*/ 3348896 w 4040759"/>
                    <a:gd name="connsiteY4505" fmla="*/ 378221 h 1475329"/>
                    <a:gd name="connsiteX4506" fmla="*/ 3363012 w 4040759"/>
                    <a:gd name="connsiteY4506" fmla="*/ 376721 h 1475329"/>
                    <a:gd name="connsiteX4507" fmla="*/ 3369377 w 4040759"/>
                    <a:gd name="connsiteY4507" fmla="*/ 375303 h 1475329"/>
                    <a:gd name="connsiteX4508" fmla="*/ 3376736 w 4040759"/>
                    <a:gd name="connsiteY4508" fmla="*/ 376257 h 1475329"/>
                    <a:gd name="connsiteX4509" fmla="*/ 3381878 w 4040759"/>
                    <a:gd name="connsiteY4509" fmla="*/ 375874 h 1475329"/>
                    <a:gd name="connsiteX4510" fmla="*/ 3387844 w 4040759"/>
                    <a:gd name="connsiteY4510" fmla="*/ 374391 h 1475329"/>
                    <a:gd name="connsiteX4511" fmla="*/ 3393150 w 4040759"/>
                    <a:gd name="connsiteY4511" fmla="*/ 375100 h 1475329"/>
                    <a:gd name="connsiteX4512" fmla="*/ 3401910 w 4040759"/>
                    <a:gd name="connsiteY4512" fmla="*/ 379998 h 1475329"/>
                    <a:gd name="connsiteX4513" fmla="*/ 3432855 w 4040759"/>
                    <a:gd name="connsiteY4513" fmla="*/ 381090 h 1475329"/>
                    <a:gd name="connsiteX4514" fmla="*/ 3438307 w 4040759"/>
                    <a:gd name="connsiteY4514" fmla="*/ 382793 h 1475329"/>
                    <a:gd name="connsiteX4515" fmla="*/ 3459129 w 4040759"/>
                    <a:gd name="connsiteY4515" fmla="*/ 384855 h 1475329"/>
                    <a:gd name="connsiteX4516" fmla="*/ 3460735 w 4040759"/>
                    <a:gd name="connsiteY4516" fmla="*/ 384847 h 1475329"/>
                    <a:gd name="connsiteX4517" fmla="*/ 3465413 w 4040759"/>
                    <a:gd name="connsiteY4517" fmla="*/ 382426 h 1475329"/>
                    <a:gd name="connsiteX4518" fmla="*/ 3479169 w 4040759"/>
                    <a:gd name="connsiteY4518" fmla="*/ 374154 h 1475329"/>
                    <a:gd name="connsiteX4519" fmla="*/ 3484842 w 4040759"/>
                    <a:gd name="connsiteY4519" fmla="*/ 374700 h 1475329"/>
                    <a:gd name="connsiteX4520" fmla="*/ 3487157 w 4040759"/>
                    <a:gd name="connsiteY4520" fmla="*/ 375996 h 1475329"/>
                    <a:gd name="connsiteX4521" fmla="*/ 3489577 w 4040759"/>
                    <a:gd name="connsiteY4521" fmla="*/ 379256 h 1475329"/>
                    <a:gd name="connsiteX4522" fmla="*/ 3492111 w 4040759"/>
                    <a:gd name="connsiteY4522" fmla="*/ 381407 h 1475329"/>
                    <a:gd name="connsiteX4523" fmla="*/ 3494100 w 4040759"/>
                    <a:gd name="connsiteY4523" fmla="*/ 387194 h 1475329"/>
                    <a:gd name="connsiteX4524" fmla="*/ 3495910 w 4040759"/>
                    <a:gd name="connsiteY4524" fmla="*/ 394960 h 1475329"/>
                    <a:gd name="connsiteX4525" fmla="*/ 3498884 w 4040759"/>
                    <a:gd name="connsiteY4525" fmla="*/ 396370 h 1475329"/>
                    <a:gd name="connsiteX4526" fmla="*/ 3502959 w 4040759"/>
                    <a:gd name="connsiteY4526" fmla="*/ 396868 h 1475329"/>
                    <a:gd name="connsiteX4527" fmla="*/ 3511859 w 4040759"/>
                    <a:gd name="connsiteY4527" fmla="*/ 399736 h 1475329"/>
                    <a:gd name="connsiteX4528" fmla="*/ 3520896 w 4040759"/>
                    <a:gd name="connsiteY4528" fmla="*/ 403436 h 1475329"/>
                    <a:gd name="connsiteX4529" fmla="*/ 3523480 w 4040759"/>
                    <a:gd name="connsiteY4529" fmla="*/ 410486 h 1475329"/>
                    <a:gd name="connsiteX4530" fmla="*/ 3528321 w 4040759"/>
                    <a:gd name="connsiteY4530" fmla="*/ 416362 h 1475329"/>
                    <a:gd name="connsiteX4531" fmla="*/ 3539625 w 4040759"/>
                    <a:gd name="connsiteY4531" fmla="*/ 415808 h 1475329"/>
                    <a:gd name="connsiteX4532" fmla="*/ 3551336 w 4040759"/>
                    <a:gd name="connsiteY4532" fmla="*/ 414634 h 1475329"/>
                    <a:gd name="connsiteX4533" fmla="*/ 3562688 w 4040759"/>
                    <a:gd name="connsiteY4533" fmla="*/ 404952 h 1475329"/>
                    <a:gd name="connsiteX4534" fmla="*/ 3562713 w 4040759"/>
                    <a:gd name="connsiteY4534" fmla="*/ 400999 h 1475329"/>
                    <a:gd name="connsiteX4535" fmla="*/ 3559910 w 4040759"/>
                    <a:gd name="connsiteY4535" fmla="*/ 395303 h 1475329"/>
                    <a:gd name="connsiteX4536" fmla="*/ 3555712 w 4040759"/>
                    <a:gd name="connsiteY4536" fmla="*/ 389785 h 1475329"/>
                    <a:gd name="connsiteX4537" fmla="*/ 3552435 w 4040759"/>
                    <a:gd name="connsiteY4537" fmla="*/ 381139 h 1475329"/>
                    <a:gd name="connsiteX4538" fmla="*/ 3541988 w 4040759"/>
                    <a:gd name="connsiteY4538" fmla="*/ 379223 h 1475329"/>
                    <a:gd name="connsiteX4539" fmla="*/ 3542982 w 4040759"/>
                    <a:gd name="connsiteY4539" fmla="*/ 376705 h 1475329"/>
                    <a:gd name="connsiteX4540" fmla="*/ 3546927 w 4040759"/>
                    <a:gd name="connsiteY4540" fmla="*/ 373690 h 1475329"/>
                    <a:gd name="connsiteX4541" fmla="*/ 3550472 w 4040759"/>
                    <a:gd name="connsiteY4541" fmla="*/ 368987 h 1475329"/>
                    <a:gd name="connsiteX4542" fmla="*/ 3551034 w 4040759"/>
                    <a:gd name="connsiteY4542" fmla="*/ 365369 h 1475329"/>
                    <a:gd name="connsiteX4543" fmla="*/ 3550073 w 4040759"/>
                    <a:gd name="connsiteY4543" fmla="*/ 357798 h 1475329"/>
                    <a:gd name="connsiteX4544" fmla="*/ 3559527 w 4040759"/>
                    <a:gd name="connsiteY4544" fmla="*/ 358311 h 1475329"/>
                    <a:gd name="connsiteX4545" fmla="*/ 3568923 w 4040759"/>
                    <a:gd name="connsiteY4545" fmla="*/ 359208 h 1475329"/>
                    <a:gd name="connsiteX4546" fmla="*/ 3586869 w 4040759"/>
                    <a:gd name="connsiteY4546" fmla="*/ 362582 h 1475329"/>
                    <a:gd name="connsiteX4547" fmla="*/ 3601481 w 4040759"/>
                    <a:gd name="connsiteY4547" fmla="*/ 364008 h 1475329"/>
                    <a:gd name="connsiteX4548" fmla="*/ 3609158 w 4040759"/>
                    <a:gd name="connsiteY4548" fmla="*/ 366167 h 1475329"/>
                    <a:gd name="connsiteX4549" fmla="*/ 3613803 w 4040759"/>
                    <a:gd name="connsiteY4549" fmla="*/ 368612 h 1475329"/>
                    <a:gd name="connsiteX4550" fmla="*/ 3619288 w 4040759"/>
                    <a:gd name="connsiteY4550" fmla="*/ 370446 h 1475329"/>
                    <a:gd name="connsiteX4551" fmla="*/ 3621171 w 4040759"/>
                    <a:gd name="connsiteY4551" fmla="*/ 365988 h 1475329"/>
                    <a:gd name="connsiteX4552" fmla="*/ 3623290 w 4040759"/>
                    <a:gd name="connsiteY4552" fmla="*/ 364969 h 1475329"/>
                    <a:gd name="connsiteX4553" fmla="*/ 3630592 w 4040759"/>
                    <a:gd name="connsiteY4553" fmla="*/ 367447 h 1475329"/>
                    <a:gd name="connsiteX4554" fmla="*/ 3635921 w 4040759"/>
                    <a:gd name="connsiteY4554" fmla="*/ 368205 h 1475329"/>
                    <a:gd name="connsiteX4555" fmla="*/ 3645123 w 4040759"/>
                    <a:gd name="connsiteY4555" fmla="*/ 367871 h 1475329"/>
                    <a:gd name="connsiteX4556" fmla="*/ 3656688 w 4040759"/>
                    <a:gd name="connsiteY4556" fmla="*/ 369028 h 1475329"/>
                    <a:gd name="connsiteX4557" fmla="*/ 3669336 w 4040759"/>
                    <a:gd name="connsiteY4557" fmla="*/ 368832 h 1475329"/>
                    <a:gd name="connsiteX4558" fmla="*/ 3680640 w 4040759"/>
                    <a:gd name="connsiteY4558" fmla="*/ 366868 h 1475329"/>
                    <a:gd name="connsiteX4559" fmla="*/ 3684861 w 4040759"/>
                    <a:gd name="connsiteY4559" fmla="*/ 367268 h 1475329"/>
                    <a:gd name="connsiteX4560" fmla="*/ 3689482 w 4040759"/>
                    <a:gd name="connsiteY4560" fmla="*/ 368824 h 1475329"/>
                    <a:gd name="connsiteX4561" fmla="*/ 3696988 w 4040759"/>
                    <a:gd name="connsiteY4561" fmla="*/ 372915 h 1475329"/>
                    <a:gd name="connsiteX4562" fmla="*/ 3709742 w 4040759"/>
                    <a:gd name="connsiteY4562" fmla="*/ 378359 h 1475329"/>
                    <a:gd name="connsiteX4563" fmla="*/ 3721404 w 4040759"/>
                    <a:gd name="connsiteY4563" fmla="*/ 379883 h 1475329"/>
                    <a:gd name="connsiteX4564" fmla="*/ 3734770 w 4040759"/>
                    <a:gd name="connsiteY4564" fmla="*/ 385034 h 1475329"/>
                    <a:gd name="connsiteX4565" fmla="*/ 3747385 w 4040759"/>
                    <a:gd name="connsiteY4565" fmla="*/ 386925 h 1475329"/>
                    <a:gd name="connsiteX4566" fmla="*/ 3757459 w 4040759"/>
                    <a:gd name="connsiteY4566" fmla="*/ 389834 h 1475329"/>
                    <a:gd name="connsiteX4567" fmla="*/ 3758902 w 4040759"/>
                    <a:gd name="connsiteY4567" fmla="*/ 390951 h 1475329"/>
                    <a:gd name="connsiteX4568" fmla="*/ 3759357 w 4040759"/>
                    <a:gd name="connsiteY4568" fmla="*/ 392548 h 1475329"/>
                    <a:gd name="connsiteX4569" fmla="*/ 3759985 w 4040759"/>
                    <a:gd name="connsiteY4569" fmla="*/ 393877 h 1475329"/>
                    <a:gd name="connsiteX4570" fmla="*/ 3767989 w 4040759"/>
                    <a:gd name="connsiteY4570" fmla="*/ 395482 h 1475329"/>
                    <a:gd name="connsiteX4571" fmla="*/ 3782747 w 4040759"/>
                    <a:gd name="connsiteY4571" fmla="*/ 406386 h 1475329"/>
                    <a:gd name="connsiteX4572" fmla="*/ 3786024 w 4040759"/>
                    <a:gd name="connsiteY4572" fmla="*/ 407674 h 1475329"/>
                    <a:gd name="connsiteX4573" fmla="*/ 3786024 w 4040759"/>
                    <a:gd name="connsiteY4573" fmla="*/ 407674 h 1475329"/>
                    <a:gd name="connsiteX4574" fmla="*/ 3791019 w 4040759"/>
                    <a:gd name="connsiteY4574" fmla="*/ 409565 h 1475329"/>
                    <a:gd name="connsiteX4575" fmla="*/ 3796064 w 4040759"/>
                    <a:gd name="connsiteY4575" fmla="*/ 411064 h 1475329"/>
                    <a:gd name="connsiteX4576" fmla="*/ 3798069 w 4040759"/>
                    <a:gd name="connsiteY4576" fmla="*/ 410600 h 1475329"/>
                    <a:gd name="connsiteX4577" fmla="*/ 3799153 w 4040759"/>
                    <a:gd name="connsiteY4577" fmla="*/ 410804 h 1475329"/>
                    <a:gd name="connsiteX4578" fmla="*/ 3801997 w 4040759"/>
                    <a:gd name="connsiteY4578" fmla="*/ 413420 h 1475329"/>
                    <a:gd name="connsiteX4579" fmla="*/ 3803896 w 4040759"/>
                    <a:gd name="connsiteY4579" fmla="*/ 414642 h 1475329"/>
                    <a:gd name="connsiteX4580" fmla="*/ 3813953 w 4040759"/>
                    <a:gd name="connsiteY4580" fmla="*/ 417772 h 1475329"/>
                    <a:gd name="connsiteX4581" fmla="*/ 3818532 w 4040759"/>
                    <a:gd name="connsiteY4581" fmla="*/ 421235 h 1475329"/>
                    <a:gd name="connsiteX4582" fmla="*/ 3822274 w 4040759"/>
                    <a:gd name="connsiteY4582" fmla="*/ 425163 h 1475329"/>
                    <a:gd name="connsiteX4583" fmla="*/ 3820408 w 4040759"/>
                    <a:gd name="connsiteY4583" fmla="*/ 424405 h 1475329"/>
                    <a:gd name="connsiteX4584" fmla="*/ 3816984 w 4040759"/>
                    <a:gd name="connsiteY4584" fmla="*/ 421879 h 1475329"/>
                    <a:gd name="connsiteX4585" fmla="*/ 3817359 w 4040759"/>
                    <a:gd name="connsiteY4585" fmla="*/ 424837 h 1475329"/>
                    <a:gd name="connsiteX4586" fmla="*/ 3818443 w 4040759"/>
                    <a:gd name="connsiteY4586" fmla="*/ 426899 h 1475329"/>
                    <a:gd name="connsiteX4587" fmla="*/ 3823871 w 4040759"/>
                    <a:gd name="connsiteY4587" fmla="*/ 428839 h 1475329"/>
                    <a:gd name="connsiteX4588" fmla="*/ 3829559 w 4040759"/>
                    <a:gd name="connsiteY4588" fmla="*/ 430379 h 1475329"/>
                    <a:gd name="connsiteX4589" fmla="*/ 3833210 w 4040759"/>
                    <a:gd name="connsiteY4589" fmla="*/ 432213 h 1475329"/>
                    <a:gd name="connsiteX4590" fmla="*/ 3834425 w 4040759"/>
                    <a:gd name="connsiteY4590" fmla="*/ 433802 h 1475329"/>
                    <a:gd name="connsiteX4591" fmla="*/ 3835166 w 4040759"/>
                    <a:gd name="connsiteY4591" fmla="*/ 436671 h 1475329"/>
                    <a:gd name="connsiteX4592" fmla="*/ 3834254 w 4040759"/>
                    <a:gd name="connsiteY4592" fmla="*/ 439205 h 1475329"/>
                    <a:gd name="connsiteX4593" fmla="*/ 3837555 w 4040759"/>
                    <a:gd name="connsiteY4593" fmla="*/ 438268 h 1475329"/>
                    <a:gd name="connsiteX4594" fmla="*/ 3840668 w 4040759"/>
                    <a:gd name="connsiteY4594" fmla="*/ 436011 h 1475329"/>
                    <a:gd name="connsiteX4595" fmla="*/ 3839054 w 4040759"/>
                    <a:gd name="connsiteY4595" fmla="*/ 434250 h 1475329"/>
                    <a:gd name="connsiteX4596" fmla="*/ 3828565 w 4040759"/>
                    <a:gd name="connsiteY4596" fmla="*/ 428105 h 1475329"/>
                    <a:gd name="connsiteX4597" fmla="*/ 3826381 w 4040759"/>
                    <a:gd name="connsiteY4597" fmla="*/ 426044 h 1475329"/>
                    <a:gd name="connsiteX4598" fmla="*/ 3829429 w 4040759"/>
                    <a:gd name="connsiteY4598" fmla="*/ 427103 h 1475329"/>
                    <a:gd name="connsiteX4599" fmla="*/ 3843479 w 4040759"/>
                    <a:gd name="connsiteY4599" fmla="*/ 434935 h 1475329"/>
                    <a:gd name="connsiteX4600" fmla="*/ 3847350 w 4040759"/>
                    <a:gd name="connsiteY4600" fmla="*/ 437918 h 1475329"/>
                    <a:gd name="connsiteX4601" fmla="*/ 3845720 w 4040759"/>
                    <a:gd name="connsiteY4601" fmla="*/ 438496 h 1475329"/>
                    <a:gd name="connsiteX4602" fmla="*/ 3844579 w 4040759"/>
                    <a:gd name="connsiteY4602" fmla="*/ 440240 h 1475329"/>
                    <a:gd name="connsiteX4603" fmla="*/ 3845818 w 4040759"/>
                    <a:gd name="connsiteY4603" fmla="*/ 440982 h 1475329"/>
                    <a:gd name="connsiteX4604" fmla="*/ 3847505 w 4040759"/>
                    <a:gd name="connsiteY4604" fmla="*/ 440436 h 1475329"/>
                    <a:gd name="connsiteX4605" fmla="*/ 3850324 w 4040759"/>
                    <a:gd name="connsiteY4605" fmla="*/ 440061 h 1475329"/>
                    <a:gd name="connsiteX4606" fmla="*/ 3853047 w 4040759"/>
                    <a:gd name="connsiteY4606" fmla="*/ 441064 h 1475329"/>
                    <a:gd name="connsiteX4607" fmla="*/ 3856168 w 4040759"/>
                    <a:gd name="connsiteY4607" fmla="*/ 443150 h 1475329"/>
                    <a:gd name="connsiteX4608" fmla="*/ 3862729 w 4040759"/>
                    <a:gd name="connsiteY4608" fmla="*/ 445570 h 1475329"/>
                    <a:gd name="connsiteX4609" fmla="*/ 3901472 w 4040759"/>
                    <a:gd name="connsiteY4609" fmla="*/ 464763 h 1475329"/>
                    <a:gd name="connsiteX4610" fmla="*/ 3902345 w 4040759"/>
                    <a:gd name="connsiteY4610" fmla="*/ 468047 h 1475329"/>
                    <a:gd name="connsiteX4611" fmla="*/ 3903445 w 4040759"/>
                    <a:gd name="connsiteY4611" fmla="*/ 469596 h 1475329"/>
                    <a:gd name="connsiteX4612" fmla="*/ 3904097 w 4040759"/>
                    <a:gd name="connsiteY4612" fmla="*/ 471568 h 1475329"/>
                    <a:gd name="connsiteX4613" fmla="*/ 3904268 w 4040759"/>
                    <a:gd name="connsiteY4613" fmla="*/ 474787 h 1475329"/>
                    <a:gd name="connsiteX4614" fmla="*/ 3900747 w 4040759"/>
                    <a:gd name="connsiteY4614" fmla="*/ 478650 h 1475329"/>
                    <a:gd name="connsiteX4615" fmla="*/ 3906200 w 4040759"/>
                    <a:gd name="connsiteY4615" fmla="*/ 478308 h 1475329"/>
                    <a:gd name="connsiteX4616" fmla="*/ 3906990 w 4040759"/>
                    <a:gd name="connsiteY4616" fmla="*/ 477802 h 1475329"/>
                    <a:gd name="connsiteX4617" fmla="*/ 3908408 w 4040759"/>
                    <a:gd name="connsiteY4617" fmla="*/ 476230 h 1475329"/>
                    <a:gd name="connsiteX4618" fmla="*/ 3909973 w 4040759"/>
                    <a:gd name="connsiteY4618" fmla="*/ 475186 h 1475329"/>
                    <a:gd name="connsiteX4619" fmla="*/ 3912067 w 4040759"/>
                    <a:gd name="connsiteY4619" fmla="*/ 476474 h 1475329"/>
                    <a:gd name="connsiteX4620" fmla="*/ 3913755 w 4040759"/>
                    <a:gd name="connsiteY4620" fmla="*/ 479017 h 1475329"/>
                    <a:gd name="connsiteX4621" fmla="*/ 3913265 w 4040759"/>
                    <a:gd name="connsiteY4621" fmla="*/ 482489 h 1475329"/>
                    <a:gd name="connsiteX4622" fmla="*/ 3911758 w 4040759"/>
                    <a:gd name="connsiteY4622" fmla="*/ 485292 h 1475329"/>
                    <a:gd name="connsiteX4623" fmla="*/ 3911570 w 4040759"/>
                    <a:gd name="connsiteY4623" fmla="*/ 490060 h 1475329"/>
                    <a:gd name="connsiteX4624" fmla="*/ 3912882 w 4040759"/>
                    <a:gd name="connsiteY4624" fmla="*/ 494053 h 1475329"/>
                    <a:gd name="connsiteX4625" fmla="*/ 3914284 w 4040759"/>
                    <a:gd name="connsiteY4625" fmla="*/ 495732 h 1475329"/>
                    <a:gd name="connsiteX4626" fmla="*/ 3915401 w 4040759"/>
                    <a:gd name="connsiteY4626" fmla="*/ 497655 h 1475329"/>
                    <a:gd name="connsiteX4627" fmla="*/ 3915718 w 4040759"/>
                    <a:gd name="connsiteY4627" fmla="*/ 503344 h 1475329"/>
                    <a:gd name="connsiteX4628" fmla="*/ 3913257 w 4040759"/>
                    <a:gd name="connsiteY4628" fmla="*/ 505903 h 1475329"/>
                    <a:gd name="connsiteX4629" fmla="*/ 3911896 w 4040759"/>
                    <a:gd name="connsiteY4629" fmla="*/ 510263 h 1475329"/>
                    <a:gd name="connsiteX4630" fmla="*/ 3913395 w 4040759"/>
                    <a:gd name="connsiteY4630" fmla="*/ 510687 h 1475329"/>
                    <a:gd name="connsiteX4631" fmla="*/ 3918106 w 4040759"/>
                    <a:gd name="connsiteY4631" fmla="*/ 511110 h 1475329"/>
                    <a:gd name="connsiteX4632" fmla="*/ 3919647 w 4040759"/>
                    <a:gd name="connsiteY4632" fmla="*/ 511877 h 1475329"/>
                    <a:gd name="connsiteX4633" fmla="*/ 3922336 w 4040759"/>
                    <a:gd name="connsiteY4633" fmla="*/ 513914 h 1475329"/>
                    <a:gd name="connsiteX4634" fmla="*/ 3922988 w 4040759"/>
                    <a:gd name="connsiteY4634" fmla="*/ 515870 h 1475329"/>
                    <a:gd name="connsiteX4635" fmla="*/ 3923575 w 4040759"/>
                    <a:gd name="connsiteY4635" fmla="*/ 518535 h 1475329"/>
                    <a:gd name="connsiteX4636" fmla="*/ 3924455 w 4040759"/>
                    <a:gd name="connsiteY4636" fmla="*/ 521012 h 1475329"/>
                    <a:gd name="connsiteX4637" fmla="*/ 3925058 w 4040759"/>
                    <a:gd name="connsiteY4637" fmla="*/ 522202 h 1475329"/>
                    <a:gd name="connsiteX4638" fmla="*/ 3925759 w 4040759"/>
                    <a:gd name="connsiteY4638" fmla="*/ 522023 h 1475329"/>
                    <a:gd name="connsiteX4639" fmla="*/ 3928464 w 4040759"/>
                    <a:gd name="connsiteY4639" fmla="*/ 518600 h 1475329"/>
                    <a:gd name="connsiteX4640" fmla="*/ 3929720 w 4040759"/>
                    <a:gd name="connsiteY4640" fmla="*/ 517573 h 1475329"/>
                    <a:gd name="connsiteX4641" fmla="*/ 3932735 w 4040759"/>
                    <a:gd name="connsiteY4641" fmla="*/ 516685 h 1475329"/>
                    <a:gd name="connsiteX4642" fmla="*/ 3934405 w 4040759"/>
                    <a:gd name="connsiteY4642" fmla="*/ 520564 h 1475329"/>
                    <a:gd name="connsiteX4643" fmla="*/ 3933224 w 4040759"/>
                    <a:gd name="connsiteY4643" fmla="*/ 527092 h 1475329"/>
                    <a:gd name="connsiteX4644" fmla="*/ 3934202 w 4040759"/>
                    <a:gd name="connsiteY4644" fmla="*/ 527092 h 1475329"/>
                    <a:gd name="connsiteX4645" fmla="*/ 3934976 w 4040759"/>
                    <a:gd name="connsiteY4645" fmla="*/ 526408 h 1475329"/>
                    <a:gd name="connsiteX4646" fmla="*/ 3935946 w 4040759"/>
                    <a:gd name="connsiteY4646" fmla="*/ 524647 h 1475329"/>
                    <a:gd name="connsiteX4647" fmla="*/ 3937315 w 4040759"/>
                    <a:gd name="connsiteY4647" fmla="*/ 523637 h 1475329"/>
                    <a:gd name="connsiteX4648" fmla="*/ 3939003 w 4040759"/>
                    <a:gd name="connsiteY4648" fmla="*/ 521265 h 1475329"/>
                    <a:gd name="connsiteX4649" fmla="*/ 3940445 w 4040759"/>
                    <a:gd name="connsiteY4649" fmla="*/ 518331 h 1475329"/>
                    <a:gd name="connsiteX4650" fmla="*/ 3938750 w 4040759"/>
                    <a:gd name="connsiteY4650" fmla="*/ 516033 h 1475329"/>
                    <a:gd name="connsiteX4651" fmla="*/ 3936802 w 4040759"/>
                    <a:gd name="connsiteY4651" fmla="*/ 514599 h 1475329"/>
                    <a:gd name="connsiteX4652" fmla="*/ 3932311 w 4040759"/>
                    <a:gd name="connsiteY4652" fmla="*/ 513792 h 1475329"/>
                    <a:gd name="connsiteX4653" fmla="*/ 3929964 w 4040759"/>
                    <a:gd name="connsiteY4653" fmla="*/ 512080 h 1475329"/>
                    <a:gd name="connsiteX4654" fmla="*/ 3929092 w 4040759"/>
                    <a:gd name="connsiteY4654" fmla="*/ 509880 h 1475329"/>
                    <a:gd name="connsiteX4655" fmla="*/ 3931382 w 4040759"/>
                    <a:gd name="connsiteY4655" fmla="*/ 508992 h 1475329"/>
                    <a:gd name="connsiteX4656" fmla="*/ 3933338 w 4040759"/>
                    <a:gd name="connsiteY4656" fmla="*/ 507410 h 1475329"/>
                    <a:gd name="connsiteX4657" fmla="*/ 3934707 w 4040759"/>
                    <a:gd name="connsiteY4657" fmla="*/ 503588 h 1475329"/>
                    <a:gd name="connsiteX4658" fmla="*/ 3934374 w 4040759"/>
                    <a:gd name="connsiteY4658" fmla="*/ 501494 h 1475329"/>
                    <a:gd name="connsiteX4659" fmla="*/ 3933819 w 4040759"/>
                    <a:gd name="connsiteY4659" fmla="*/ 499424 h 1475329"/>
                    <a:gd name="connsiteX4660" fmla="*/ 3932694 w 4040759"/>
                    <a:gd name="connsiteY4660" fmla="*/ 496531 h 1475329"/>
                    <a:gd name="connsiteX4661" fmla="*/ 3931015 w 4040759"/>
                    <a:gd name="connsiteY4661" fmla="*/ 494844 h 1475329"/>
                    <a:gd name="connsiteX4662" fmla="*/ 3927797 w 4040759"/>
                    <a:gd name="connsiteY4662" fmla="*/ 494004 h 1475329"/>
                    <a:gd name="connsiteX4663" fmla="*/ 3926362 w 4040759"/>
                    <a:gd name="connsiteY4663" fmla="*/ 492358 h 1475329"/>
                    <a:gd name="connsiteX4664" fmla="*/ 3924154 w 4040759"/>
                    <a:gd name="connsiteY4664" fmla="*/ 492448 h 1475329"/>
                    <a:gd name="connsiteX4665" fmla="*/ 3921961 w 4040759"/>
                    <a:gd name="connsiteY4665" fmla="*/ 491959 h 1475329"/>
                    <a:gd name="connsiteX4666" fmla="*/ 3921089 w 4040759"/>
                    <a:gd name="connsiteY4666" fmla="*/ 491347 h 1475329"/>
                    <a:gd name="connsiteX4667" fmla="*/ 3921195 w 4040759"/>
                    <a:gd name="connsiteY4667" fmla="*/ 490166 h 1475329"/>
                    <a:gd name="connsiteX4668" fmla="*/ 3923738 w 4040759"/>
                    <a:gd name="connsiteY4668" fmla="*/ 489620 h 1475329"/>
                    <a:gd name="connsiteX4669" fmla="*/ 3937714 w 4040759"/>
                    <a:gd name="connsiteY4669" fmla="*/ 489489 h 1475329"/>
                    <a:gd name="connsiteX4670" fmla="*/ 3942784 w 4040759"/>
                    <a:gd name="connsiteY4670" fmla="*/ 487835 h 1475329"/>
                    <a:gd name="connsiteX4671" fmla="*/ 3945090 w 4040759"/>
                    <a:gd name="connsiteY4671" fmla="*/ 488348 h 1475329"/>
                    <a:gd name="connsiteX4672" fmla="*/ 3947388 w 4040759"/>
                    <a:gd name="connsiteY4672" fmla="*/ 489538 h 1475329"/>
                    <a:gd name="connsiteX4673" fmla="*/ 3955734 w 4040759"/>
                    <a:gd name="connsiteY4673" fmla="*/ 491095 h 1475329"/>
                    <a:gd name="connsiteX4674" fmla="*/ 3955481 w 4040759"/>
                    <a:gd name="connsiteY4674" fmla="*/ 491812 h 1475329"/>
                    <a:gd name="connsiteX4675" fmla="*/ 3954079 w 4040759"/>
                    <a:gd name="connsiteY4675" fmla="*/ 492554 h 1475329"/>
                    <a:gd name="connsiteX4676" fmla="*/ 3951610 w 4040759"/>
                    <a:gd name="connsiteY4676" fmla="*/ 496009 h 1475329"/>
                    <a:gd name="connsiteX4677" fmla="*/ 3951129 w 4040759"/>
                    <a:gd name="connsiteY4677" fmla="*/ 497981 h 1475329"/>
                    <a:gd name="connsiteX4678" fmla="*/ 3951023 w 4040759"/>
                    <a:gd name="connsiteY4678" fmla="*/ 500467 h 1475329"/>
                    <a:gd name="connsiteX4679" fmla="*/ 3953215 w 4040759"/>
                    <a:gd name="connsiteY4679" fmla="*/ 500948 h 1475329"/>
                    <a:gd name="connsiteX4680" fmla="*/ 3955285 w 4040759"/>
                    <a:gd name="connsiteY4680" fmla="*/ 499896 h 1475329"/>
                    <a:gd name="connsiteX4681" fmla="*/ 3954283 w 4040759"/>
                    <a:gd name="connsiteY4681" fmla="*/ 497892 h 1475329"/>
                    <a:gd name="connsiteX4682" fmla="*/ 3953982 w 4040759"/>
                    <a:gd name="connsiteY4682" fmla="*/ 495422 h 1475329"/>
                    <a:gd name="connsiteX4683" fmla="*/ 3954845 w 4040759"/>
                    <a:gd name="connsiteY4683" fmla="*/ 494346 h 1475329"/>
                    <a:gd name="connsiteX4684" fmla="*/ 3955994 w 4040759"/>
                    <a:gd name="connsiteY4684" fmla="*/ 494118 h 1475329"/>
                    <a:gd name="connsiteX4685" fmla="*/ 3958195 w 4040759"/>
                    <a:gd name="connsiteY4685" fmla="*/ 495968 h 1475329"/>
                    <a:gd name="connsiteX4686" fmla="*/ 3960567 w 4040759"/>
                    <a:gd name="connsiteY4686" fmla="*/ 496555 h 1475329"/>
                    <a:gd name="connsiteX4687" fmla="*/ 3968553 w 4040759"/>
                    <a:gd name="connsiteY4687" fmla="*/ 497297 h 1475329"/>
                    <a:gd name="connsiteX4688" fmla="*/ 3970811 w 4040759"/>
                    <a:gd name="connsiteY4688" fmla="*/ 497060 h 1475329"/>
                    <a:gd name="connsiteX4689" fmla="*/ 3971536 w 4040759"/>
                    <a:gd name="connsiteY4689" fmla="*/ 496115 h 1475329"/>
                    <a:gd name="connsiteX4690" fmla="*/ 3969979 w 4040759"/>
                    <a:gd name="connsiteY4690" fmla="*/ 495023 h 1475329"/>
                    <a:gd name="connsiteX4691" fmla="*/ 3959589 w 4040759"/>
                    <a:gd name="connsiteY4691" fmla="*/ 492611 h 1475329"/>
                    <a:gd name="connsiteX4692" fmla="*/ 3959458 w 4040759"/>
                    <a:gd name="connsiteY4692" fmla="*/ 491282 h 1475329"/>
                    <a:gd name="connsiteX4693" fmla="*/ 3969042 w 4040759"/>
                    <a:gd name="connsiteY4693" fmla="*/ 492912 h 1475329"/>
                    <a:gd name="connsiteX4694" fmla="*/ 3973353 w 4040759"/>
                    <a:gd name="connsiteY4694" fmla="*/ 494428 h 1475329"/>
                    <a:gd name="connsiteX4695" fmla="*/ 3977648 w 4040759"/>
                    <a:gd name="connsiteY4695" fmla="*/ 495553 h 1475329"/>
                    <a:gd name="connsiteX4696" fmla="*/ 3983663 w 4040759"/>
                    <a:gd name="connsiteY4696" fmla="*/ 495210 h 1475329"/>
                    <a:gd name="connsiteX4697" fmla="*/ 3989506 w 4040759"/>
                    <a:gd name="connsiteY4697" fmla="*/ 497011 h 1475329"/>
                    <a:gd name="connsiteX4698" fmla="*/ 3995114 w 4040759"/>
                    <a:gd name="connsiteY4698" fmla="*/ 501861 h 1475329"/>
                    <a:gd name="connsiteX4699" fmla="*/ 4000305 w 4040759"/>
                    <a:gd name="connsiteY4699" fmla="*/ 507957 h 1475329"/>
                    <a:gd name="connsiteX4700" fmla="*/ 4005537 w 4040759"/>
                    <a:gd name="connsiteY4700" fmla="*/ 511559 h 1475329"/>
                    <a:gd name="connsiteX4701" fmla="*/ 4011062 w 4040759"/>
                    <a:gd name="connsiteY4701" fmla="*/ 514264 h 1475329"/>
                    <a:gd name="connsiteX4702" fmla="*/ 4020263 w 4040759"/>
                    <a:gd name="connsiteY4702" fmla="*/ 521648 h 1475329"/>
                    <a:gd name="connsiteX4703" fmla="*/ 4021404 w 4040759"/>
                    <a:gd name="connsiteY4703" fmla="*/ 522219 h 1475329"/>
                    <a:gd name="connsiteX4704" fmla="*/ 4022316 w 4040759"/>
                    <a:gd name="connsiteY4704" fmla="*/ 523221 h 1475329"/>
                    <a:gd name="connsiteX4705" fmla="*/ 4020581 w 4040759"/>
                    <a:gd name="connsiteY4705" fmla="*/ 524468 h 1475329"/>
                    <a:gd name="connsiteX4706" fmla="*/ 4019048 w 4040759"/>
                    <a:gd name="connsiteY4706" fmla="*/ 526269 h 1475329"/>
                    <a:gd name="connsiteX4707" fmla="*/ 4022056 w 4040759"/>
                    <a:gd name="connsiteY4707" fmla="*/ 525022 h 1475329"/>
                    <a:gd name="connsiteX4708" fmla="*/ 4025088 w 4040759"/>
                    <a:gd name="connsiteY4708" fmla="*/ 524174 h 1475329"/>
                    <a:gd name="connsiteX4709" fmla="*/ 4026579 w 4040759"/>
                    <a:gd name="connsiteY4709" fmla="*/ 524337 h 1475329"/>
                    <a:gd name="connsiteX4710" fmla="*/ 4027915 w 4040759"/>
                    <a:gd name="connsiteY4710" fmla="*/ 525283 h 1475329"/>
                    <a:gd name="connsiteX4711" fmla="*/ 4028796 w 4040759"/>
                    <a:gd name="connsiteY4711" fmla="*/ 526799 h 1475329"/>
                    <a:gd name="connsiteX4712" fmla="*/ 4029285 w 4040759"/>
                    <a:gd name="connsiteY4712" fmla="*/ 528306 h 1475329"/>
                    <a:gd name="connsiteX4713" fmla="*/ 4027997 w 4040759"/>
                    <a:gd name="connsiteY4713" fmla="*/ 529667 h 1475329"/>
                    <a:gd name="connsiteX4714" fmla="*/ 4036799 w 4040759"/>
                    <a:gd name="connsiteY4714" fmla="*/ 529920 h 1475329"/>
                    <a:gd name="connsiteX4715" fmla="*/ 4039554 w 4040759"/>
                    <a:gd name="connsiteY4715" fmla="*/ 530776 h 1475329"/>
                    <a:gd name="connsiteX4716" fmla="*/ 4040760 w 4040759"/>
                    <a:gd name="connsiteY4716" fmla="*/ 534402 h 1475329"/>
                    <a:gd name="connsiteX4717" fmla="*/ 4038217 w 4040759"/>
                    <a:gd name="connsiteY4717" fmla="*/ 536929 h 1475329"/>
                    <a:gd name="connsiteX4718" fmla="*/ 4036734 w 4040759"/>
                    <a:gd name="connsiteY4718" fmla="*/ 536619 h 1475329"/>
                    <a:gd name="connsiteX4719" fmla="*/ 4035299 w 4040759"/>
                    <a:gd name="connsiteY4719" fmla="*/ 535560 h 1475329"/>
                    <a:gd name="connsiteX4720" fmla="*/ 4033946 w 4040759"/>
                    <a:gd name="connsiteY4720" fmla="*/ 535454 h 1475329"/>
                    <a:gd name="connsiteX4721" fmla="*/ 4030092 w 4040759"/>
                    <a:gd name="connsiteY4721" fmla="*/ 536538 h 1475329"/>
                    <a:gd name="connsiteX4722" fmla="*/ 4024093 w 4040759"/>
                    <a:gd name="connsiteY4722" fmla="*/ 539912 h 1475329"/>
                    <a:gd name="connsiteX4723" fmla="*/ 4020638 w 4040759"/>
                    <a:gd name="connsiteY4723" fmla="*/ 542601 h 1475329"/>
                    <a:gd name="connsiteX4724" fmla="*/ 4020076 w 4040759"/>
                    <a:gd name="connsiteY4724" fmla="*/ 544378 h 1475329"/>
                    <a:gd name="connsiteX4725" fmla="*/ 4020621 w 4040759"/>
                    <a:gd name="connsiteY4725" fmla="*/ 549194 h 1475329"/>
                    <a:gd name="connsiteX4726" fmla="*/ 4020133 w 4040759"/>
                    <a:gd name="connsiteY4726" fmla="*/ 551476 h 1475329"/>
                    <a:gd name="connsiteX4727" fmla="*/ 4017516 w 4040759"/>
                    <a:gd name="connsiteY4727" fmla="*/ 552951 h 1475329"/>
                    <a:gd name="connsiteX4728" fmla="*/ 4011804 w 4040759"/>
                    <a:gd name="connsiteY4728" fmla="*/ 552063 h 1475329"/>
                    <a:gd name="connsiteX4729" fmla="*/ 4009204 w 4040759"/>
                    <a:gd name="connsiteY4729" fmla="*/ 551118 h 1475329"/>
                    <a:gd name="connsiteX4730" fmla="*/ 4006295 w 4040759"/>
                    <a:gd name="connsiteY4730" fmla="*/ 549838 h 1475329"/>
                    <a:gd name="connsiteX4731" fmla="*/ 4003483 w 4040759"/>
                    <a:gd name="connsiteY4731" fmla="*/ 548061 h 1475329"/>
                    <a:gd name="connsiteX4732" fmla="*/ 3999897 w 4040759"/>
                    <a:gd name="connsiteY4732" fmla="*/ 545217 h 1475329"/>
                    <a:gd name="connsiteX4733" fmla="*/ 3998789 w 4040759"/>
                    <a:gd name="connsiteY4733" fmla="*/ 544948 h 1475329"/>
                    <a:gd name="connsiteX4734" fmla="*/ 3998055 w 4040759"/>
                    <a:gd name="connsiteY4734" fmla="*/ 545625 h 1475329"/>
                    <a:gd name="connsiteX4735" fmla="*/ 3999286 w 4040759"/>
                    <a:gd name="connsiteY4735" fmla="*/ 547426 h 1475329"/>
                    <a:gd name="connsiteX4736" fmla="*/ 4001714 w 4040759"/>
                    <a:gd name="connsiteY4736" fmla="*/ 549699 h 1475329"/>
                    <a:gd name="connsiteX4737" fmla="*/ 4005904 w 4040759"/>
                    <a:gd name="connsiteY4737" fmla="*/ 552674 h 1475329"/>
                    <a:gd name="connsiteX4738" fmla="*/ 4007900 w 4040759"/>
                    <a:gd name="connsiteY4738" fmla="*/ 555983 h 1475329"/>
                    <a:gd name="connsiteX4739" fmla="*/ 4006621 w 4040759"/>
                    <a:gd name="connsiteY4739" fmla="*/ 557637 h 1475329"/>
                    <a:gd name="connsiteX4740" fmla="*/ 4005031 w 4040759"/>
                    <a:gd name="connsiteY4740" fmla="*/ 558012 h 1475329"/>
                    <a:gd name="connsiteX4741" fmla="*/ 4003882 w 4040759"/>
                    <a:gd name="connsiteY4741" fmla="*/ 557988 h 1475329"/>
                    <a:gd name="connsiteX4742" fmla="*/ 4000223 w 4040759"/>
                    <a:gd name="connsiteY4742" fmla="*/ 556945 h 1475329"/>
                    <a:gd name="connsiteX4743" fmla="*/ 3997672 w 4040759"/>
                    <a:gd name="connsiteY4743" fmla="*/ 556700 h 1475329"/>
                    <a:gd name="connsiteX4744" fmla="*/ 3989637 w 4040759"/>
                    <a:gd name="connsiteY4744" fmla="*/ 557662 h 1475329"/>
                    <a:gd name="connsiteX4745" fmla="*/ 3986735 w 4040759"/>
                    <a:gd name="connsiteY4745" fmla="*/ 558273 h 1475329"/>
                    <a:gd name="connsiteX4746" fmla="*/ 3985749 w 4040759"/>
                    <a:gd name="connsiteY4746" fmla="*/ 557768 h 1475329"/>
                    <a:gd name="connsiteX4747" fmla="*/ 3985504 w 4040759"/>
                    <a:gd name="connsiteY4747" fmla="*/ 556317 h 1475329"/>
                    <a:gd name="connsiteX4748" fmla="*/ 3981185 w 4040759"/>
                    <a:gd name="connsiteY4748" fmla="*/ 555266 h 1475329"/>
                    <a:gd name="connsiteX4749" fmla="*/ 3978634 w 4040759"/>
                    <a:gd name="connsiteY4749" fmla="*/ 555119 h 1475329"/>
                    <a:gd name="connsiteX4750" fmla="*/ 3977444 w 4040759"/>
                    <a:gd name="connsiteY4750" fmla="*/ 554622 h 1475329"/>
                    <a:gd name="connsiteX4751" fmla="*/ 3976450 w 4040759"/>
                    <a:gd name="connsiteY4751" fmla="*/ 553122 h 1475329"/>
                    <a:gd name="connsiteX4752" fmla="*/ 3973639 w 4040759"/>
                    <a:gd name="connsiteY4752" fmla="*/ 550914 h 1475329"/>
                    <a:gd name="connsiteX4753" fmla="*/ 3969376 w 4040759"/>
                    <a:gd name="connsiteY4753" fmla="*/ 550050 h 1475329"/>
                    <a:gd name="connsiteX4754" fmla="*/ 3966605 w 4040759"/>
                    <a:gd name="connsiteY4754" fmla="*/ 549944 h 1475329"/>
                    <a:gd name="connsiteX4755" fmla="*/ 3965008 w 4040759"/>
                    <a:gd name="connsiteY4755" fmla="*/ 550433 h 1475329"/>
                    <a:gd name="connsiteX4756" fmla="*/ 3970639 w 4040759"/>
                    <a:gd name="connsiteY4756" fmla="*/ 553359 h 1475329"/>
                    <a:gd name="connsiteX4757" fmla="*/ 3975659 w 4040759"/>
                    <a:gd name="connsiteY4757" fmla="*/ 558273 h 1475329"/>
                    <a:gd name="connsiteX4758" fmla="*/ 3974722 w 4040759"/>
                    <a:gd name="connsiteY4758" fmla="*/ 559186 h 1475329"/>
                    <a:gd name="connsiteX4759" fmla="*/ 3974087 w 4040759"/>
                    <a:gd name="connsiteY4759" fmla="*/ 560237 h 1475329"/>
                    <a:gd name="connsiteX4760" fmla="*/ 3976857 w 4040759"/>
                    <a:gd name="connsiteY4760" fmla="*/ 560310 h 1475329"/>
                    <a:gd name="connsiteX4761" fmla="*/ 3978667 w 4040759"/>
                    <a:gd name="connsiteY4761" fmla="*/ 559976 h 1475329"/>
                    <a:gd name="connsiteX4762" fmla="*/ 3979197 w 4040759"/>
                    <a:gd name="connsiteY4762" fmla="*/ 561264 h 1475329"/>
                    <a:gd name="connsiteX4763" fmla="*/ 3977746 w 4040759"/>
                    <a:gd name="connsiteY4763" fmla="*/ 566439 h 1475329"/>
                    <a:gd name="connsiteX4764" fmla="*/ 3976777 w 4040759"/>
                    <a:gd name="connsiteY4764" fmla="*/ 567588 h 1475329"/>
                    <a:gd name="connsiteX4765" fmla="*/ 3968023 w 4040759"/>
                    <a:gd name="connsiteY4765" fmla="*/ 568729 h 1475329"/>
                    <a:gd name="connsiteX4766" fmla="*/ 3970224 w 4040759"/>
                    <a:gd name="connsiteY4766" fmla="*/ 569585 h 1475329"/>
                    <a:gd name="connsiteX4767" fmla="*/ 3972473 w 4040759"/>
                    <a:gd name="connsiteY4767" fmla="*/ 569854 h 1475329"/>
                    <a:gd name="connsiteX4768" fmla="*/ 3975049 w 4040759"/>
                    <a:gd name="connsiteY4768" fmla="*/ 569650 h 1475329"/>
                    <a:gd name="connsiteX4769" fmla="*/ 3977347 w 4040759"/>
                    <a:gd name="connsiteY4769" fmla="*/ 570538 h 1475329"/>
                    <a:gd name="connsiteX4770" fmla="*/ 3978895 w 4040759"/>
                    <a:gd name="connsiteY4770" fmla="*/ 573782 h 1475329"/>
                    <a:gd name="connsiteX4771" fmla="*/ 3979156 w 4040759"/>
                    <a:gd name="connsiteY4771" fmla="*/ 577180 h 1475329"/>
                    <a:gd name="connsiteX4772" fmla="*/ 3976890 w 4040759"/>
                    <a:gd name="connsiteY4772" fmla="*/ 579120 h 1475329"/>
                    <a:gd name="connsiteX4773" fmla="*/ 3974543 w 4040759"/>
                    <a:gd name="connsiteY4773" fmla="*/ 580685 h 1475329"/>
                    <a:gd name="connsiteX4774" fmla="*/ 3969743 w 4040759"/>
                    <a:gd name="connsiteY4774" fmla="*/ 583081 h 1475329"/>
                    <a:gd name="connsiteX4775" fmla="*/ 3964788 w 4040759"/>
                    <a:gd name="connsiteY4775" fmla="*/ 584132 h 1475329"/>
                    <a:gd name="connsiteX4776" fmla="*/ 3962188 w 4040759"/>
                    <a:gd name="connsiteY4776" fmla="*/ 583863 h 1475329"/>
                    <a:gd name="connsiteX4777" fmla="*/ 3959661 w 4040759"/>
                    <a:gd name="connsiteY4777" fmla="*/ 584393 h 1475329"/>
                    <a:gd name="connsiteX4778" fmla="*/ 3957991 w 4040759"/>
                    <a:gd name="connsiteY4778" fmla="*/ 585632 h 1475329"/>
                    <a:gd name="connsiteX4779" fmla="*/ 3957519 w 4040759"/>
                    <a:gd name="connsiteY4779" fmla="*/ 586887 h 1475329"/>
                    <a:gd name="connsiteX4780" fmla="*/ 3959694 w 4040759"/>
                    <a:gd name="connsiteY4780" fmla="*/ 586047 h 1475329"/>
                    <a:gd name="connsiteX4781" fmla="*/ 3962196 w 4040759"/>
                    <a:gd name="connsiteY4781" fmla="*/ 586520 h 1475329"/>
                    <a:gd name="connsiteX4782" fmla="*/ 3964576 w 4040759"/>
                    <a:gd name="connsiteY4782" fmla="*/ 588011 h 1475329"/>
                    <a:gd name="connsiteX4783" fmla="*/ 3964315 w 4040759"/>
                    <a:gd name="connsiteY4783" fmla="*/ 589242 h 1475329"/>
                    <a:gd name="connsiteX4784" fmla="*/ 3962050 w 4040759"/>
                    <a:gd name="connsiteY4784" fmla="*/ 590587 h 1475329"/>
                    <a:gd name="connsiteX4785" fmla="*/ 3961528 w 4040759"/>
                    <a:gd name="connsiteY4785" fmla="*/ 591605 h 1475329"/>
                    <a:gd name="connsiteX4786" fmla="*/ 3962383 w 4040759"/>
                    <a:gd name="connsiteY4786" fmla="*/ 593317 h 1475329"/>
                    <a:gd name="connsiteX4787" fmla="*/ 3962099 w 4040759"/>
                    <a:gd name="connsiteY4787" fmla="*/ 594792 h 1475329"/>
                    <a:gd name="connsiteX4788" fmla="*/ 3963264 w 4040759"/>
                    <a:gd name="connsiteY4788" fmla="*/ 595591 h 1475329"/>
                    <a:gd name="connsiteX4789" fmla="*/ 3965921 w 4040759"/>
                    <a:gd name="connsiteY4789" fmla="*/ 595876 h 1475329"/>
                    <a:gd name="connsiteX4790" fmla="*/ 3969164 w 4040759"/>
                    <a:gd name="connsiteY4790" fmla="*/ 596927 h 1475329"/>
                    <a:gd name="connsiteX4791" fmla="*/ 3972351 w 4040759"/>
                    <a:gd name="connsiteY4791" fmla="*/ 598337 h 1475329"/>
                    <a:gd name="connsiteX4792" fmla="*/ 3973606 w 4040759"/>
                    <a:gd name="connsiteY4792" fmla="*/ 599551 h 1475329"/>
                    <a:gd name="connsiteX4793" fmla="*/ 3974674 w 4040759"/>
                    <a:gd name="connsiteY4793" fmla="*/ 601255 h 1475329"/>
                    <a:gd name="connsiteX4794" fmla="*/ 3975041 w 4040759"/>
                    <a:gd name="connsiteY4794" fmla="*/ 603056 h 1475329"/>
                    <a:gd name="connsiteX4795" fmla="*/ 3974487 w 4040759"/>
                    <a:gd name="connsiteY4795" fmla="*/ 603797 h 1475329"/>
                    <a:gd name="connsiteX4796" fmla="*/ 3967208 w 4040759"/>
                    <a:gd name="connsiteY4796" fmla="*/ 604083 h 1475329"/>
                    <a:gd name="connsiteX4797" fmla="*/ 3966108 w 4040759"/>
                    <a:gd name="connsiteY4797" fmla="*/ 603863 h 1475329"/>
                    <a:gd name="connsiteX4798" fmla="*/ 3965684 w 4040759"/>
                    <a:gd name="connsiteY4798" fmla="*/ 601866 h 1475329"/>
                    <a:gd name="connsiteX4799" fmla="*/ 3964813 w 4040759"/>
                    <a:gd name="connsiteY4799" fmla="*/ 600244 h 1475329"/>
                    <a:gd name="connsiteX4800" fmla="*/ 3962033 w 4040759"/>
                    <a:gd name="connsiteY4800" fmla="*/ 599103 h 1475329"/>
                    <a:gd name="connsiteX4801" fmla="*/ 3960909 w 4040759"/>
                    <a:gd name="connsiteY4801" fmla="*/ 599886 h 1475329"/>
                    <a:gd name="connsiteX4802" fmla="*/ 3961724 w 4040759"/>
                    <a:gd name="connsiteY4802" fmla="*/ 605656 h 1475329"/>
                    <a:gd name="connsiteX4803" fmla="*/ 3960631 w 4040759"/>
                    <a:gd name="connsiteY4803" fmla="*/ 607400 h 1475329"/>
                    <a:gd name="connsiteX4804" fmla="*/ 3959409 w 4040759"/>
                    <a:gd name="connsiteY4804" fmla="*/ 608663 h 1475329"/>
                    <a:gd name="connsiteX4805" fmla="*/ 3955734 w 4040759"/>
                    <a:gd name="connsiteY4805" fmla="*/ 609396 h 1475329"/>
                    <a:gd name="connsiteX4806" fmla="*/ 3952800 w 4040759"/>
                    <a:gd name="connsiteY4806" fmla="*/ 608981 h 1475329"/>
                    <a:gd name="connsiteX4807" fmla="*/ 3950322 w 4040759"/>
                    <a:gd name="connsiteY4807" fmla="*/ 606259 h 1475329"/>
                    <a:gd name="connsiteX4808" fmla="*/ 3950322 w 4040759"/>
                    <a:gd name="connsiteY4808" fmla="*/ 603936 h 1475329"/>
                    <a:gd name="connsiteX4809" fmla="*/ 3951968 w 4040759"/>
                    <a:gd name="connsiteY4809" fmla="*/ 602591 h 1475329"/>
                    <a:gd name="connsiteX4810" fmla="*/ 3951960 w 4040759"/>
                    <a:gd name="connsiteY4810" fmla="*/ 600717 h 1475329"/>
                    <a:gd name="connsiteX4811" fmla="*/ 3951512 w 4040759"/>
                    <a:gd name="connsiteY4811" fmla="*/ 598541 h 1475329"/>
                    <a:gd name="connsiteX4812" fmla="*/ 3949825 w 4040759"/>
                    <a:gd name="connsiteY4812" fmla="*/ 601067 h 1475329"/>
                    <a:gd name="connsiteX4813" fmla="*/ 3947861 w 4040759"/>
                    <a:gd name="connsiteY4813" fmla="*/ 603178 h 1475329"/>
                    <a:gd name="connsiteX4814" fmla="*/ 3944666 w 4040759"/>
                    <a:gd name="connsiteY4814" fmla="*/ 605810 h 1475329"/>
                    <a:gd name="connsiteX4815" fmla="*/ 3943126 w 4040759"/>
                    <a:gd name="connsiteY4815" fmla="*/ 606161 h 1475329"/>
                    <a:gd name="connsiteX4816" fmla="*/ 3941536 w 4040759"/>
                    <a:gd name="connsiteY4816" fmla="*/ 605859 h 1475329"/>
                    <a:gd name="connsiteX4817" fmla="*/ 3937372 w 4040759"/>
                    <a:gd name="connsiteY4817" fmla="*/ 603969 h 1475329"/>
                    <a:gd name="connsiteX4818" fmla="*/ 3934797 w 4040759"/>
                    <a:gd name="connsiteY4818" fmla="*/ 602330 h 1475329"/>
                    <a:gd name="connsiteX4819" fmla="*/ 3929753 w 4040759"/>
                    <a:gd name="connsiteY4819" fmla="*/ 596935 h 1475329"/>
                    <a:gd name="connsiteX4820" fmla="*/ 3926957 w 4040759"/>
                    <a:gd name="connsiteY4820" fmla="*/ 594425 h 1475329"/>
                    <a:gd name="connsiteX4821" fmla="*/ 3920682 w 4040759"/>
                    <a:gd name="connsiteY4821" fmla="*/ 591068 h 1475329"/>
                    <a:gd name="connsiteX4822" fmla="*/ 3914235 w 4040759"/>
                    <a:gd name="connsiteY4822" fmla="*/ 588623 h 1475329"/>
                    <a:gd name="connsiteX4823" fmla="*/ 3909141 w 4040759"/>
                    <a:gd name="connsiteY4823" fmla="*/ 587042 h 1475329"/>
                    <a:gd name="connsiteX4824" fmla="*/ 3906420 w 4040759"/>
                    <a:gd name="connsiteY4824" fmla="*/ 587229 h 1475329"/>
                    <a:gd name="connsiteX4825" fmla="*/ 3903681 w 4040759"/>
                    <a:gd name="connsiteY4825" fmla="*/ 587865 h 1475329"/>
                    <a:gd name="connsiteX4826" fmla="*/ 3900234 w 4040759"/>
                    <a:gd name="connsiteY4826" fmla="*/ 587514 h 1475329"/>
                    <a:gd name="connsiteX4827" fmla="*/ 3899069 w 4040759"/>
                    <a:gd name="connsiteY4827" fmla="*/ 586919 h 1475329"/>
                    <a:gd name="connsiteX4828" fmla="*/ 3898050 w 4040759"/>
                    <a:gd name="connsiteY4828" fmla="*/ 585575 h 1475329"/>
                    <a:gd name="connsiteX4829" fmla="*/ 3897121 w 4040759"/>
                    <a:gd name="connsiteY4829" fmla="*/ 584800 h 1475329"/>
                    <a:gd name="connsiteX4830" fmla="*/ 3892280 w 4040759"/>
                    <a:gd name="connsiteY4830" fmla="*/ 581475 h 1475329"/>
                    <a:gd name="connsiteX4831" fmla="*/ 3888857 w 4040759"/>
                    <a:gd name="connsiteY4831" fmla="*/ 578745 h 1475329"/>
                    <a:gd name="connsiteX4832" fmla="*/ 3888718 w 4040759"/>
                    <a:gd name="connsiteY4832" fmla="*/ 576920 h 1475329"/>
                    <a:gd name="connsiteX4833" fmla="*/ 3889444 w 4040759"/>
                    <a:gd name="connsiteY4833" fmla="*/ 574760 h 1475329"/>
                    <a:gd name="connsiteX4834" fmla="*/ 3888800 w 4040759"/>
                    <a:gd name="connsiteY4834" fmla="*/ 569389 h 1475329"/>
                    <a:gd name="connsiteX4835" fmla="*/ 3887146 w 4040759"/>
                    <a:gd name="connsiteY4835" fmla="*/ 564336 h 1475329"/>
                    <a:gd name="connsiteX4836" fmla="*/ 3882915 w 4040759"/>
                    <a:gd name="connsiteY4836" fmla="*/ 559324 h 1475329"/>
                    <a:gd name="connsiteX4837" fmla="*/ 3871653 w 4040759"/>
                    <a:gd name="connsiteY4837" fmla="*/ 556089 h 1475329"/>
                    <a:gd name="connsiteX4838" fmla="*/ 3862362 w 4040759"/>
                    <a:gd name="connsiteY4838" fmla="*/ 553807 h 1475329"/>
                    <a:gd name="connsiteX4839" fmla="*/ 3859037 w 4040759"/>
                    <a:gd name="connsiteY4839" fmla="*/ 553293 h 1475329"/>
                    <a:gd name="connsiteX4840" fmla="*/ 3856087 w 4040759"/>
                    <a:gd name="connsiteY4840" fmla="*/ 553799 h 1475329"/>
                    <a:gd name="connsiteX4841" fmla="*/ 3848304 w 4040759"/>
                    <a:gd name="connsiteY4841" fmla="*/ 557939 h 1475329"/>
                    <a:gd name="connsiteX4842" fmla="*/ 3843096 w 4040759"/>
                    <a:gd name="connsiteY4842" fmla="*/ 558534 h 1475329"/>
                    <a:gd name="connsiteX4843" fmla="*/ 3827930 w 4040759"/>
                    <a:gd name="connsiteY4843" fmla="*/ 558737 h 1475329"/>
                    <a:gd name="connsiteX4844" fmla="*/ 3825403 w 4040759"/>
                    <a:gd name="connsiteY4844" fmla="*/ 558289 h 1475329"/>
                    <a:gd name="connsiteX4845" fmla="*/ 3823105 w 4040759"/>
                    <a:gd name="connsiteY4845" fmla="*/ 556529 h 1475329"/>
                    <a:gd name="connsiteX4846" fmla="*/ 3822583 w 4040759"/>
                    <a:gd name="connsiteY4846" fmla="*/ 554157 h 1475329"/>
                    <a:gd name="connsiteX4847" fmla="*/ 3823243 w 4040759"/>
                    <a:gd name="connsiteY4847" fmla="*/ 549773 h 1475329"/>
                    <a:gd name="connsiteX4848" fmla="*/ 3823170 w 4040759"/>
                    <a:gd name="connsiteY4848" fmla="*/ 547915 h 1475329"/>
                    <a:gd name="connsiteX4849" fmla="*/ 3822575 w 4040759"/>
                    <a:gd name="connsiteY4849" fmla="*/ 547287 h 1475329"/>
                    <a:gd name="connsiteX4850" fmla="*/ 3821777 w 4040759"/>
                    <a:gd name="connsiteY4850" fmla="*/ 547336 h 1475329"/>
                    <a:gd name="connsiteX4851" fmla="*/ 3818785 w 4040759"/>
                    <a:gd name="connsiteY4851" fmla="*/ 545584 h 1475329"/>
                    <a:gd name="connsiteX4852" fmla="*/ 3816006 w 4040759"/>
                    <a:gd name="connsiteY4852" fmla="*/ 542634 h 1475329"/>
                    <a:gd name="connsiteX4853" fmla="*/ 3813822 w 4040759"/>
                    <a:gd name="connsiteY4853" fmla="*/ 539577 h 1475329"/>
                    <a:gd name="connsiteX4854" fmla="*/ 3812339 w 4040759"/>
                    <a:gd name="connsiteY4854" fmla="*/ 535486 h 1475329"/>
                    <a:gd name="connsiteX4855" fmla="*/ 3814336 w 4040759"/>
                    <a:gd name="connsiteY4855" fmla="*/ 535283 h 1475329"/>
                    <a:gd name="connsiteX4856" fmla="*/ 3817107 w 4040759"/>
                    <a:gd name="connsiteY4856" fmla="*/ 536293 h 1475329"/>
                    <a:gd name="connsiteX4857" fmla="*/ 3817506 w 4040759"/>
                    <a:gd name="connsiteY4857" fmla="*/ 535291 h 1475329"/>
                    <a:gd name="connsiteX4858" fmla="*/ 3818411 w 4040759"/>
                    <a:gd name="connsiteY4858" fmla="*/ 531583 h 1475329"/>
                    <a:gd name="connsiteX4859" fmla="*/ 3820334 w 4040759"/>
                    <a:gd name="connsiteY4859" fmla="*/ 529806 h 1475329"/>
                    <a:gd name="connsiteX4860" fmla="*/ 3821075 w 4040759"/>
                    <a:gd name="connsiteY4860" fmla="*/ 528420 h 1475329"/>
                    <a:gd name="connsiteX4861" fmla="*/ 3822371 w 4040759"/>
                    <a:gd name="connsiteY4861" fmla="*/ 523384 h 1475329"/>
                    <a:gd name="connsiteX4862" fmla="*/ 3822567 w 4040759"/>
                    <a:gd name="connsiteY4862" fmla="*/ 519749 h 1475329"/>
                    <a:gd name="connsiteX4863" fmla="*/ 3820350 w 4040759"/>
                    <a:gd name="connsiteY4863" fmla="*/ 521738 h 1475329"/>
                    <a:gd name="connsiteX4864" fmla="*/ 3816952 w 4040759"/>
                    <a:gd name="connsiteY4864" fmla="*/ 526766 h 1475329"/>
                    <a:gd name="connsiteX4865" fmla="*/ 3815264 w 4040759"/>
                    <a:gd name="connsiteY4865" fmla="*/ 528241 h 1475329"/>
                    <a:gd name="connsiteX4866" fmla="*/ 3814099 w 4040759"/>
                    <a:gd name="connsiteY4866" fmla="*/ 528910 h 1475329"/>
                    <a:gd name="connsiteX4867" fmla="*/ 3812917 w 4040759"/>
                    <a:gd name="connsiteY4867" fmla="*/ 529211 h 1475329"/>
                    <a:gd name="connsiteX4868" fmla="*/ 3810180 w 4040759"/>
                    <a:gd name="connsiteY4868" fmla="*/ 528209 h 1475329"/>
                    <a:gd name="connsiteX4869" fmla="*/ 3808215 w 4040759"/>
                    <a:gd name="connsiteY4869" fmla="*/ 526986 h 1475329"/>
                    <a:gd name="connsiteX4870" fmla="*/ 3808174 w 4040759"/>
                    <a:gd name="connsiteY4870" fmla="*/ 522121 h 1475329"/>
                    <a:gd name="connsiteX4871" fmla="*/ 3807270 w 4040759"/>
                    <a:gd name="connsiteY4871" fmla="*/ 520874 h 1475329"/>
                    <a:gd name="connsiteX4872" fmla="*/ 3806398 w 4040759"/>
                    <a:gd name="connsiteY4872" fmla="*/ 521811 h 1475329"/>
                    <a:gd name="connsiteX4873" fmla="*/ 3806047 w 4040759"/>
                    <a:gd name="connsiteY4873" fmla="*/ 523555 h 1475329"/>
                    <a:gd name="connsiteX4874" fmla="*/ 3803554 w 4040759"/>
                    <a:gd name="connsiteY4874" fmla="*/ 523873 h 1475329"/>
                    <a:gd name="connsiteX4875" fmla="*/ 3802380 w 4040759"/>
                    <a:gd name="connsiteY4875" fmla="*/ 524615 h 1475329"/>
                    <a:gd name="connsiteX4876" fmla="*/ 3802983 w 4040759"/>
                    <a:gd name="connsiteY4876" fmla="*/ 527508 h 1475329"/>
                    <a:gd name="connsiteX4877" fmla="*/ 3802706 w 4040759"/>
                    <a:gd name="connsiteY4877" fmla="*/ 529953 h 1475329"/>
                    <a:gd name="connsiteX4878" fmla="*/ 3800343 w 4040759"/>
                    <a:gd name="connsiteY4878" fmla="*/ 530865 h 1475329"/>
                    <a:gd name="connsiteX4879" fmla="*/ 3795543 w 4040759"/>
                    <a:gd name="connsiteY4879" fmla="*/ 531428 h 1475329"/>
                    <a:gd name="connsiteX4880" fmla="*/ 3793880 w 4040759"/>
                    <a:gd name="connsiteY4880" fmla="*/ 529032 h 1475329"/>
                    <a:gd name="connsiteX4881" fmla="*/ 3792454 w 4040759"/>
                    <a:gd name="connsiteY4881" fmla="*/ 532373 h 1475329"/>
                    <a:gd name="connsiteX4882" fmla="*/ 3791386 w 4040759"/>
                    <a:gd name="connsiteY4882" fmla="*/ 536114 h 1475329"/>
                    <a:gd name="connsiteX4883" fmla="*/ 3791239 w 4040759"/>
                    <a:gd name="connsiteY4883" fmla="*/ 541093 h 1475329"/>
                    <a:gd name="connsiteX4884" fmla="*/ 3792763 w 4040759"/>
                    <a:gd name="connsiteY4884" fmla="*/ 545217 h 1475329"/>
                    <a:gd name="connsiteX4885" fmla="*/ 3794931 w 4040759"/>
                    <a:gd name="connsiteY4885" fmla="*/ 547181 h 1475329"/>
                    <a:gd name="connsiteX4886" fmla="*/ 3799682 w 4040759"/>
                    <a:gd name="connsiteY4886" fmla="*/ 550148 h 1475329"/>
                    <a:gd name="connsiteX4887" fmla="*/ 3801744 w 4040759"/>
                    <a:gd name="connsiteY4887" fmla="*/ 552234 h 1475329"/>
                    <a:gd name="connsiteX4888" fmla="*/ 3802291 w 4040759"/>
                    <a:gd name="connsiteY4888" fmla="*/ 554915 h 1475329"/>
                    <a:gd name="connsiteX4889" fmla="*/ 3802095 w 4040759"/>
                    <a:gd name="connsiteY4889" fmla="*/ 557393 h 1475329"/>
                    <a:gd name="connsiteX4890" fmla="*/ 3799625 w 4040759"/>
                    <a:gd name="connsiteY4890" fmla="*/ 560408 h 1475329"/>
                    <a:gd name="connsiteX4891" fmla="*/ 3797938 w 4040759"/>
                    <a:gd name="connsiteY4891" fmla="*/ 562910 h 1475329"/>
                    <a:gd name="connsiteX4892" fmla="*/ 3795070 w 4040759"/>
                    <a:gd name="connsiteY4892" fmla="*/ 568917 h 1475329"/>
                    <a:gd name="connsiteX4893" fmla="*/ 3793350 w 4040759"/>
                    <a:gd name="connsiteY4893" fmla="*/ 571321 h 1475329"/>
                    <a:gd name="connsiteX4894" fmla="*/ 3786024 w 4040759"/>
                    <a:gd name="connsiteY4894" fmla="*/ 576374 h 1475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Lst>
                  <a:rect l="l" t="t" r="r" b="b"/>
                  <a:pathLst>
                    <a:path w="4040759" h="1475329">
                      <a:moveTo>
                        <a:pt x="3786024" y="576374"/>
                      </a:moveTo>
                      <a:lnTo>
                        <a:pt x="3781737" y="577767"/>
                      </a:lnTo>
                      <a:lnTo>
                        <a:pt x="3777377" y="582527"/>
                      </a:lnTo>
                      <a:lnTo>
                        <a:pt x="3772340" y="586691"/>
                      </a:lnTo>
                      <a:lnTo>
                        <a:pt x="3764940" y="588386"/>
                      </a:lnTo>
                      <a:lnTo>
                        <a:pt x="3753742" y="594702"/>
                      </a:lnTo>
                      <a:lnTo>
                        <a:pt x="3749309" y="595884"/>
                      </a:lnTo>
                      <a:lnTo>
                        <a:pt x="3743499" y="592975"/>
                      </a:lnTo>
                      <a:lnTo>
                        <a:pt x="3730182" y="591100"/>
                      </a:lnTo>
                      <a:lnTo>
                        <a:pt x="3726041" y="588541"/>
                      </a:lnTo>
                      <a:lnTo>
                        <a:pt x="3719970" y="582095"/>
                      </a:lnTo>
                      <a:lnTo>
                        <a:pt x="3717859" y="581157"/>
                      </a:lnTo>
                      <a:lnTo>
                        <a:pt x="3716066" y="578615"/>
                      </a:lnTo>
                      <a:lnTo>
                        <a:pt x="3708658" y="575754"/>
                      </a:lnTo>
                      <a:lnTo>
                        <a:pt x="3702301" y="577620"/>
                      </a:lnTo>
                      <a:lnTo>
                        <a:pt x="3697061" y="576202"/>
                      </a:lnTo>
                      <a:lnTo>
                        <a:pt x="3695277" y="577213"/>
                      </a:lnTo>
                      <a:lnTo>
                        <a:pt x="3698022" y="578134"/>
                      </a:lnTo>
                      <a:lnTo>
                        <a:pt x="3702822" y="578908"/>
                      </a:lnTo>
                      <a:lnTo>
                        <a:pt x="3710134" y="578533"/>
                      </a:lnTo>
                      <a:lnTo>
                        <a:pt x="3712537" y="579218"/>
                      </a:lnTo>
                      <a:lnTo>
                        <a:pt x="3714673" y="581435"/>
                      </a:lnTo>
                      <a:lnTo>
                        <a:pt x="3717134" y="585020"/>
                      </a:lnTo>
                      <a:lnTo>
                        <a:pt x="3715292" y="587408"/>
                      </a:lnTo>
                      <a:lnTo>
                        <a:pt x="3713328" y="588174"/>
                      </a:lnTo>
                      <a:lnTo>
                        <a:pt x="3707420" y="585550"/>
                      </a:lnTo>
                      <a:lnTo>
                        <a:pt x="3700614" y="585933"/>
                      </a:lnTo>
                      <a:lnTo>
                        <a:pt x="3697460" y="585289"/>
                      </a:lnTo>
                      <a:lnTo>
                        <a:pt x="3688325" y="580848"/>
                      </a:lnTo>
                      <a:lnTo>
                        <a:pt x="3681389" y="585762"/>
                      </a:lnTo>
                      <a:lnTo>
                        <a:pt x="3671846" y="588297"/>
                      </a:lnTo>
                      <a:lnTo>
                        <a:pt x="3664430" y="588590"/>
                      </a:lnTo>
                      <a:lnTo>
                        <a:pt x="3650819" y="592486"/>
                      </a:lnTo>
                      <a:lnTo>
                        <a:pt x="3654536" y="592591"/>
                      </a:lnTo>
                      <a:lnTo>
                        <a:pt x="3664414" y="589853"/>
                      </a:lnTo>
                      <a:lnTo>
                        <a:pt x="3670208" y="589853"/>
                      </a:lnTo>
                      <a:lnTo>
                        <a:pt x="3678822" y="588354"/>
                      </a:lnTo>
                      <a:lnTo>
                        <a:pt x="3683305" y="586553"/>
                      </a:lnTo>
                      <a:lnTo>
                        <a:pt x="3685480" y="584882"/>
                      </a:lnTo>
                      <a:lnTo>
                        <a:pt x="3688218" y="583211"/>
                      </a:lnTo>
                      <a:lnTo>
                        <a:pt x="3690998" y="584051"/>
                      </a:lnTo>
                      <a:lnTo>
                        <a:pt x="3692938" y="585811"/>
                      </a:lnTo>
                      <a:lnTo>
                        <a:pt x="3694274" y="588297"/>
                      </a:lnTo>
                      <a:lnTo>
                        <a:pt x="3695512" y="591597"/>
                      </a:lnTo>
                      <a:lnTo>
                        <a:pt x="3693834" y="593333"/>
                      </a:lnTo>
                      <a:lnTo>
                        <a:pt x="3692261" y="594246"/>
                      </a:lnTo>
                      <a:lnTo>
                        <a:pt x="3690305" y="596601"/>
                      </a:lnTo>
                      <a:lnTo>
                        <a:pt x="3699408" y="592543"/>
                      </a:lnTo>
                      <a:lnTo>
                        <a:pt x="3704934" y="594963"/>
                      </a:lnTo>
                      <a:lnTo>
                        <a:pt x="3707713" y="594588"/>
                      </a:lnTo>
                      <a:lnTo>
                        <a:pt x="3712847" y="591002"/>
                      </a:lnTo>
                      <a:lnTo>
                        <a:pt x="3721225" y="588704"/>
                      </a:lnTo>
                      <a:lnTo>
                        <a:pt x="3722219" y="589144"/>
                      </a:lnTo>
                      <a:lnTo>
                        <a:pt x="3723206" y="590269"/>
                      </a:lnTo>
                      <a:lnTo>
                        <a:pt x="3721779" y="597147"/>
                      </a:lnTo>
                      <a:lnTo>
                        <a:pt x="3722349" y="602518"/>
                      </a:lnTo>
                      <a:lnTo>
                        <a:pt x="3728665" y="608353"/>
                      </a:lnTo>
                      <a:lnTo>
                        <a:pt x="3735259" y="611800"/>
                      </a:lnTo>
                      <a:lnTo>
                        <a:pt x="3737525" y="611915"/>
                      </a:lnTo>
                      <a:lnTo>
                        <a:pt x="3739651" y="611263"/>
                      </a:lnTo>
                      <a:lnTo>
                        <a:pt x="3740483" y="608174"/>
                      </a:lnTo>
                      <a:lnTo>
                        <a:pt x="3742105" y="605867"/>
                      </a:lnTo>
                      <a:lnTo>
                        <a:pt x="3744183" y="607954"/>
                      </a:lnTo>
                      <a:lnTo>
                        <a:pt x="3745886" y="610187"/>
                      </a:lnTo>
                      <a:lnTo>
                        <a:pt x="3748241" y="615737"/>
                      </a:lnTo>
                      <a:lnTo>
                        <a:pt x="3748192" y="617359"/>
                      </a:lnTo>
                      <a:lnTo>
                        <a:pt x="3747605" y="620594"/>
                      </a:lnTo>
                      <a:lnTo>
                        <a:pt x="3749708" y="622077"/>
                      </a:lnTo>
                      <a:lnTo>
                        <a:pt x="3752537" y="622509"/>
                      </a:lnTo>
                      <a:lnTo>
                        <a:pt x="3753587" y="627619"/>
                      </a:lnTo>
                      <a:lnTo>
                        <a:pt x="3754557" y="634897"/>
                      </a:lnTo>
                      <a:lnTo>
                        <a:pt x="3753319" y="635573"/>
                      </a:lnTo>
                      <a:lnTo>
                        <a:pt x="3751942" y="635573"/>
                      </a:lnTo>
                      <a:lnTo>
                        <a:pt x="3747337" y="637448"/>
                      </a:lnTo>
                      <a:lnTo>
                        <a:pt x="3747980" y="638752"/>
                      </a:lnTo>
                      <a:lnTo>
                        <a:pt x="3752634" y="639477"/>
                      </a:lnTo>
                      <a:lnTo>
                        <a:pt x="3753938" y="640928"/>
                      </a:lnTo>
                      <a:lnTo>
                        <a:pt x="3753009" y="644302"/>
                      </a:lnTo>
                      <a:lnTo>
                        <a:pt x="3753245" y="645866"/>
                      </a:lnTo>
                      <a:lnTo>
                        <a:pt x="3754859" y="646176"/>
                      </a:lnTo>
                      <a:lnTo>
                        <a:pt x="3755927" y="644204"/>
                      </a:lnTo>
                      <a:lnTo>
                        <a:pt x="3755650" y="641392"/>
                      </a:lnTo>
                      <a:lnTo>
                        <a:pt x="3756089" y="640153"/>
                      </a:lnTo>
                      <a:lnTo>
                        <a:pt x="3759203" y="645948"/>
                      </a:lnTo>
                      <a:lnTo>
                        <a:pt x="3759276" y="648230"/>
                      </a:lnTo>
                      <a:lnTo>
                        <a:pt x="3761917" y="650813"/>
                      </a:lnTo>
                      <a:lnTo>
                        <a:pt x="3769463" y="654627"/>
                      </a:lnTo>
                      <a:lnTo>
                        <a:pt x="3770857" y="656404"/>
                      </a:lnTo>
                      <a:lnTo>
                        <a:pt x="3771265" y="659264"/>
                      </a:lnTo>
                      <a:lnTo>
                        <a:pt x="3769373" y="660079"/>
                      </a:lnTo>
                      <a:lnTo>
                        <a:pt x="3767654" y="662125"/>
                      </a:lnTo>
                      <a:lnTo>
                        <a:pt x="3768706" y="664945"/>
                      </a:lnTo>
                      <a:lnTo>
                        <a:pt x="3770670" y="667251"/>
                      </a:lnTo>
                      <a:lnTo>
                        <a:pt x="3773889" y="668115"/>
                      </a:lnTo>
                      <a:lnTo>
                        <a:pt x="3775363" y="671782"/>
                      </a:lnTo>
                      <a:lnTo>
                        <a:pt x="3775363" y="675319"/>
                      </a:lnTo>
                      <a:lnTo>
                        <a:pt x="3773057" y="678376"/>
                      </a:lnTo>
                      <a:lnTo>
                        <a:pt x="3768387" y="682581"/>
                      </a:lnTo>
                      <a:lnTo>
                        <a:pt x="3765609" y="684268"/>
                      </a:lnTo>
                      <a:lnTo>
                        <a:pt x="3764540" y="687243"/>
                      </a:lnTo>
                      <a:lnTo>
                        <a:pt x="3764223" y="690356"/>
                      </a:lnTo>
                      <a:lnTo>
                        <a:pt x="3762316" y="690217"/>
                      </a:lnTo>
                      <a:lnTo>
                        <a:pt x="3760319" y="688929"/>
                      </a:lnTo>
                      <a:lnTo>
                        <a:pt x="3736889" y="681081"/>
                      </a:lnTo>
                      <a:lnTo>
                        <a:pt x="3728055" y="679614"/>
                      </a:lnTo>
                      <a:lnTo>
                        <a:pt x="3720329" y="679419"/>
                      </a:lnTo>
                      <a:lnTo>
                        <a:pt x="3718870" y="678946"/>
                      </a:lnTo>
                      <a:lnTo>
                        <a:pt x="3718943" y="677080"/>
                      </a:lnTo>
                      <a:lnTo>
                        <a:pt x="3719448" y="675401"/>
                      </a:lnTo>
                      <a:lnTo>
                        <a:pt x="3720533" y="673282"/>
                      </a:lnTo>
                      <a:lnTo>
                        <a:pt x="3720019" y="671456"/>
                      </a:lnTo>
                      <a:lnTo>
                        <a:pt x="3719016" y="671342"/>
                      </a:lnTo>
                      <a:lnTo>
                        <a:pt x="3718039" y="672728"/>
                      </a:lnTo>
                      <a:lnTo>
                        <a:pt x="3715895" y="672736"/>
                      </a:lnTo>
                      <a:lnTo>
                        <a:pt x="3713874" y="671122"/>
                      </a:lnTo>
                      <a:lnTo>
                        <a:pt x="3712195" y="671628"/>
                      </a:lnTo>
                      <a:lnTo>
                        <a:pt x="3711364" y="673893"/>
                      </a:lnTo>
                      <a:lnTo>
                        <a:pt x="3710704" y="675075"/>
                      </a:lnTo>
                      <a:lnTo>
                        <a:pt x="3710736" y="676501"/>
                      </a:lnTo>
                      <a:lnTo>
                        <a:pt x="3711812" y="677821"/>
                      </a:lnTo>
                      <a:lnTo>
                        <a:pt x="3716318" y="679248"/>
                      </a:lnTo>
                      <a:lnTo>
                        <a:pt x="3715569" y="680503"/>
                      </a:lnTo>
                      <a:lnTo>
                        <a:pt x="3709318" y="681521"/>
                      </a:lnTo>
                      <a:lnTo>
                        <a:pt x="3704224" y="682768"/>
                      </a:lnTo>
                      <a:lnTo>
                        <a:pt x="3697631" y="686656"/>
                      </a:lnTo>
                      <a:lnTo>
                        <a:pt x="3694958" y="689304"/>
                      </a:lnTo>
                      <a:lnTo>
                        <a:pt x="3677233" y="695906"/>
                      </a:lnTo>
                      <a:lnTo>
                        <a:pt x="3672970" y="698212"/>
                      </a:lnTo>
                      <a:lnTo>
                        <a:pt x="3671080" y="698489"/>
                      </a:lnTo>
                      <a:lnTo>
                        <a:pt x="3668660" y="699255"/>
                      </a:lnTo>
                      <a:lnTo>
                        <a:pt x="3666776" y="702034"/>
                      </a:lnTo>
                      <a:lnTo>
                        <a:pt x="3656989" y="705922"/>
                      </a:lnTo>
                      <a:lnTo>
                        <a:pt x="3654943" y="705555"/>
                      </a:lnTo>
                      <a:lnTo>
                        <a:pt x="3652343" y="708823"/>
                      </a:lnTo>
                      <a:lnTo>
                        <a:pt x="3649956" y="710608"/>
                      </a:lnTo>
                      <a:lnTo>
                        <a:pt x="3644275" y="710860"/>
                      </a:lnTo>
                      <a:lnTo>
                        <a:pt x="3640657" y="711765"/>
                      </a:lnTo>
                      <a:lnTo>
                        <a:pt x="3632801" y="716476"/>
                      </a:lnTo>
                      <a:lnTo>
                        <a:pt x="3627861" y="714984"/>
                      </a:lnTo>
                      <a:lnTo>
                        <a:pt x="3622092" y="721455"/>
                      </a:lnTo>
                      <a:lnTo>
                        <a:pt x="3615677" y="727535"/>
                      </a:lnTo>
                      <a:lnTo>
                        <a:pt x="3613762" y="727551"/>
                      </a:lnTo>
                      <a:lnTo>
                        <a:pt x="3608849" y="725000"/>
                      </a:lnTo>
                      <a:lnTo>
                        <a:pt x="3607609" y="726337"/>
                      </a:lnTo>
                      <a:lnTo>
                        <a:pt x="3608392" y="728790"/>
                      </a:lnTo>
                      <a:lnTo>
                        <a:pt x="3610128" y="731381"/>
                      </a:lnTo>
                      <a:lnTo>
                        <a:pt x="3609125" y="732131"/>
                      </a:lnTo>
                      <a:lnTo>
                        <a:pt x="3607170" y="731414"/>
                      </a:lnTo>
                      <a:lnTo>
                        <a:pt x="3605727" y="731267"/>
                      </a:lnTo>
                      <a:lnTo>
                        <a:pt x="3604708" y="732042"/>
                      </a:lnTo>
                      <a:lnTo>
                        <a:pt x="3604887" y="733900"/>
                      </a:lnTo>
                      <a:lnTo>
                        <a:pt x="3602101" y="736279"/>
                      </a:lnTo>
                      <a:lnTo>
                        <a:pt x="3599932" y="736467"/>
                      </a:lnTo>
                      <a:lnTo>
                        <a:pt x="3597422" y="737208"/>
                      </a:lnTo>
                      <a:lnTo>
                        <a:pt x="3596583" y="739262"/>
                      </a:lnTo>
                      <a:lnTo>
                        <a:pt x="3597350" y="741471"/>
                      </a:lnTo>
                      <a:lnTo>
                        <a:pt x="3592900" y="744054"/>
                      </a:lnTo>
                      <a:lnTo>
                        <a:pt x="3589281" y="747363"/>
                      </a:lnTo>
                      <a:lnTo>
                        <a:pt x="3587545" y="747974"/>
                      </a:lnTo>
                      <a:lnTo>
                        <a:pt x="3585573" y="749449"/>
                      </a:lnTo>
                      <a:lnTo>
                        <a:pt x="3583397" y="750525"/>
                      </a:lnTo>
                      <a:lnTo>
                        <a:pt x="3580895" y="750289"/>
                      </a:lnTo>
                      <a:lnTo>
                        <a:pt x="3574946" y="755007"/>
                      </a:lnTo>
                      <a:lnTo>
                        <a:pt x="3561547" y="763157"/>
                      </a:lnTo>
                      <a:lnTo>
                        <a:pt x="3557823" y="764217"/>
                      </a:lnTo>
                      <a:lnTo>
                        <a:pt x="3553088" y="766694"/>
                      </a:lnTo>
                      <a:lnTo>
                        <a:pt x="3552623" y="768341"/>
                      </a:lnTo>
                      <a:lnTo>
                        <a:pt x="3552591" y="770378"/>
                      </a:lnTo>
                      <a:lnTo>
                        <a:pt x="3550708" y="773719"/>
                      </a:lnTo>
                      <a:lnTo>
                        <a:pt x="3548500" y="782179"/>
                      </a:lnTo>
                      <a:lnTo>
                        <a:pt x="3547831" y="783703"/>
                      </a:lnTo>
                      <a:lnTo>
                        <a:pt x="3546707" y="785463"/>
                      </a:lnTo>
                      <a:lnTo>
                        <a:pt x="3541824" y="784640"/>
                      </a:lnTo>
                      <a:lnTo>
                        <a:pt x="3537563" y="781405"/>
                      </a:lnTo>
                      <a:lnTo>
                        <a:pt x="3536194" y="779929"/>
                      </a:lnTo>
                      <a:lnTo>
                        <a:pt x="3535460" y="778185"/>
                      </a:lnTo>
                      <a:lnTo>
                        <a:pt x="3535191" y="775382"/>
                      </a:lnTo>
                      <a:lnTo>
                        <a:pt x="3534384" y="774086"/>
                      </a:lnTo>
                      <a:lnTo>
                        <a:pt x="3533398" y="773483"/>
                      </a:lnTo>
                      <a:lnTo>
                        <a:pt x="3528532" y="766564"/>
                      </a:lnTo>
                      <a:lnTo>
                        <a:pt x="3520032" y="761804"/>
                      </a:lnTo>
                      <a:lnTo>
                        <a:pt x="3518827" y="760231"/>
                      </a:lnTo>
                      <a:lnTo>
                        <a:pt x="3507938" y="761519"/>
                      </a:lnTo>
                      <a:lnTo>
                        <a:pt x="3505012" y="761560"/>
                      </a:lnTo>
                      <a:lnTo>
                        <a:pt x="3499870" y="760378"/>
                      </a:lnTo>
                      <a:lnTo>
                        <a:pt x="3491810" y="761112"/>
                      </a:lnTo>
                      <a:lnTo>
                        <a:pt x="3482095" y="763703"/>
                      </a:lnTo>
                      <a:lnTo>
                        <a:pt x="3479121" y="765325"/>
                      </a:lnTo>
                      <a:lnTo>
                        <a:pt x="3469219" y="767835"/>
                      </a:lnTo>
                      <a:lnTo>
                        <a:pt x="3462699" y="771812"/>
                      </a:lnTo>
                      <a:lnTo>
                        <a:pt x="3450019" y="786205"/>
                      </a:lnTo>
                      <a:lnTo>
                        <a:pt x="3447019" y="789179"/>
                      </a:lnTo>
                      <a:lnTo>
                        <a:pt x="3445561" y="789823"/>
                      </a:lnTo>
                      <a:lnTo>
                        <a:pt x="3443409" y="790100"/>
                      </a:lnTo>
                      <a:lnTo>
                        <a:pt x="3442480" y="787199"/>
                      </a:lnTo>
                      <a:lnTo>
                        <a:pt x="3442162" y="784917"/>
                      </a:lnTo>
                      <a:lnTo>
                        <a:pt x="3442960" y="780541"/>
                      </a:lnTo>
                      <a:lnTo>
                        <a:pt x="3444484" y="776963"/>
                      </a:lnTo>
                      <a:lnTo>
                        <a:pt x="3446049" y="770256"/>
                      </a:lnTo>
                      <a:lnTo>
                        <a:pt x="3446432" y="767517"/>
                      </a:lnTo>
                      <a:lnTo>
                        <a:pt x="3447525" y="764689"/>
                      </a:lnTo>
                      <a:lnTo>
                        <a:pt x="3443254" y="764861"/>
                      </a:lnTo>
                      <a:lnTo>
                        <a:pt x="3437353" y="769824"/>
                      </a:lnTo>
                      <a:lnTo>
                        <a:pt x="3428446" y="774640"/>
                      </a:lnTo>
                      <a:lnTo>
                        <a:pt x="3424306" y="775887"/>
                      </a:lnTo>
                      <a:lnTo>
                        <a:pt x="3421062" y="778699"/>
                      </a:lnTo>
                      <a:lnTo>
                        <a:pt x="3418756" y="779106"/>
                      </a:lnTo>
                      <a:lnTo>
                        <a:pt x="3416083" y="780149"/>
                      </a:lnTo>
                      <a:lnTo>
                        <a:pt x="3415814" y="786262"/>
                      </a:lnTo>
                      <a:lnTo>
                        <a:pt x="3414461" y="789636"/>
                      </a:lnTo>
                      <a:lnTo>
                        <a:pt x="3412839" y="790328"/>
                      </a:lnTo>
                      <a:lnTo>
                        <a:pt x="3410370" y="790434"/>
                      </a:lnTo>
                      <a:lnTo>
                        <a:pt x="3408520" y="789106"/>
                      </a:lnTo>
                      <a:lnTo>
                        <a:pt x="3405798" y="784184"/>
                      </a:lnTo>
                      <a:lnTo>
                        <a:pt x="3402221" y="781641"/>
                      </a:lnTo>
                      <a:lnTo>
                        <a:pt x="3400102" y="781184"/>
                      </a:lnTo>
                      <a:lnTo>
                        <a:pt x="3398537" y="781771"/>
                      </a:lnTo>
                      <a:lnTo>
                        <a:pt x="3395432" y="785137"/>
                      </a:lnTo>
                      <a:lnTo>
                        <a:pt x="3391993" y="788177"/>
                      </a:lnTo>
                      <a:lnTo>
                        <a:pt x="3392530" y="784713"/>
                      </a:lnTo>
                      <a:lnTo>
                        <a:pt x="3389629" y="783401"/>
                      </a:lnTo>
                      <a:lnTo>
                        <a:pt x="3387020" y="782611"/>
                      </a:lnTo>
                      <a:lnTo>
                        <a:pt x="3383728" y="782448"/>
                      </a:lnTo>
                      <a:lnTo>
                        <a:pt x="3382840" y="782969"/>
                      </a:lnTo>
                      <a:lnTo>
                        <a:pt x="3381503" y="784950"/>
                      </a:lnTo>
                      <a:lnTo>
                        <a:pt x="3378619" y="787525"/>
                      </a:lnTo>
                      <a:lnTo>
                        <a:pt x="3376630" y="788601"/>
                      </a:lnTo>
                      <a:lnTo>
                        <a:pt x="3374552" y="790671"/>
                      </a:lnTo>
                      <a:lnTo>
                        <a:pt x="3373435" y="792806"/>
                      </a:lnTo>
                      <a:lnTo>
                        <a:pt x="3372351" y="795829"/>
                      </a:lnTo>
                      <a:lnTo>
                        <a:pt x="3371055" y="803205"/>
                      </a:lnTo>
                      <a:lnTo>
                        <a:pt x="3371145" y="811836"/>
                      </a:lnTo>
                      <a:lnTo>
                        <a:pt x="3366484" y="818616"/>
                      </a:lnTo>
                      <a:lnTo>
                        <a:pt x="3364633" y="817948"/>
                      </a:lnTo>
                      <a:lnTo>
                        <a:pt x="3363753" y="818388"/>
                      </a:lnTo>
                      <a:lnTo>
                        <a:pt x="3362889" y="819284"/>
                      </a:lnTo>
                      <a:lnTo>
                        <a:pt x="3364495" y="823017"/>
                      </a:lnTo>
                      <a:lnTo>
                        <a:pt x="3363631" y="824345"/>
                      </a:lnTo>
                      <a:lnTo>
                        <a:pt x="3362759" y="825234"/>
                      </a:lnTo>
                      <a:lnTo>
                        <a:pt x="3360583" y="826212"/>
                      </a:lnTo>
                      <a:lnTo>
                        <a:pt x="3355539" y="831713"/>
                      </a:lnTo>
                      <a:lnTo>
                        <a:pt x="3350811" y="835315"/>
                      </a:lnTo>
                      <a:lnTo>
                        <a:pt x="3343085" y="845592"/>
                      </a:lnTo>
                      <a:lnTo>
                        <a:pt x="3340804" y="852446"/>
                      </a:lnTo>
                      <a:lnTo>
                        <a:pt x="3338587" y="860123"/>
                      </a:lnTo>
                      <a:lnTo>
                        <a:pt x="3339630" y="863880"/>
                      </a:lnTo>
                      <a:lnTo>
                        <a:pt x="3340551" y="866341"/>
                      </a:lnTo>
                      <a:lnTo>
                        <a:pt x="3342018" y="868044"/>
                      </a:lnTo>
                      <a:lnTo>
                        <a:pt x="3344479" y="869821"/>
                      </a:lnTo>
                      <a:lnTo>
                        <a:pt x="3349784" y="871801"/>
                      </a:lnTo>
                      <a:lnTo>
                        <a:pt x="3349312" y="873105"/>
                      </a:lnTo>
                      <a:lnTo>
                        <a:pt x="3349287" y="874189"/>
                      </a:lnTo>
                      <a:lnTo>
                        <a:pt x="3351153" y="872274"/>
                      </a:lnTo>
                      <a:lnTo>
                        <a:pt x="3352523" y="866887"/>
                      </a:lnTo>
                      <a:lnTo>
                        <a:pt x="3355807" y="865167"/>
                      </a:lnTo>
                      <a:lnTo>
                        <a:pt x="3357397" y="865241"/>
                      </a:lnTo>
                      <a:lnTo>
                        <a:pt x="3367991" y="869495"/>
                      </a:lnTo>
                      <a:lnTo>
                        <a:pt x="3369988" y="871329"/>
                      </a:lnTo>
                      <a:lnTo>
                        <a:pt x="3369686" y="875379"/>
                      </a:lnTo>
                      <a:lnTo>
                        <a:pt x="3369051" y="877302"/>
                      </a:lnTo>
                      <a:lnTo>
                        <a:pt x="3367079" y="880130"/>
                      </a:lnTo>
                      <a:lnTo>
                        <a:pt x="3363313" y="883537"/>
                      </a:lnTo>
                      <a:lnTo>
                        <a:pt x="3358904" y="888207"/>
                      </a:lnTo>
                      <a:lnTo>
                        <a:pt x="3358488" y="891059"/>
                      </a:lnTo>
                      <a:lnTo>
                        <a:pt x="3358464" y="892624"/>
                      </a:lnTo>
                      <a:lnTo>
                        <a:pt x="3359621" y="898101"/>
                      </a:lnTo>
                      <a:lnTo>
                        <a:pt x="3359793" y="901181"/>
                      </a:lnTo>
                      <a:lnTo>
                        <a:pt x="3359198" y="906919"/>
                      </a:lnTo>
                      <a:lnTo>
                        <a:pt x="3359491" y="909388"/>
                      </a:lnTo>
                      <a:lnTo>
                        <a:pt x="3360656" y="911507"/>
                      </a:lnTo>
                      <a:lnTo>
                        <a:pt x="3362450" y="912827"/>
                      </a:lnTo>
                      <a:lnTo>
                        <a:pt x="3365530" y="912102"/>
                      </a:lnTo>
                      <a:lnTo>
                        <a:pt x="3368488" y="912713"/>
                      </a:lnTo>
                      <a:lnTo>
                        <a:pt x="3370746" y="914164"/>
                      </a:lnTo>
                      <a:lnTo>
                        <a:pt x="3370411" y="918939"/>
                      </a:lnTo>
                      <a:lnTo>
                        <a:pt x="3371675" y="923438"/>
                      </a:lnTo>
                      <a:lnTo>
                        <a:pt x="3372702" y="931734"/>
                      </a:lnTo>
                      <a:lnTo>
                        <a:pt x="3370860" y="933992"/>
                      </a:lnTo>
                      <a:lnTo>
                        <a:pt x="3369066" y="935402"/>
                      </a:lnTo>
                      <a:lnTo>
                        <a:pt x="3365555" y="938955"/>
                      </a:lnTo>
                      <a:lnTo>
                        <a:pt x="3363680" y="939379"/>
                      </a:lnTo>
                      <a:lnTo>
                        <a:pt x="3360420" y="938148"/>
                      </a:lnTo>
                      <a:lnTo>
                        <a:pt x="3355156" y="931743"/>
                      </a:lnTo>
                      <a:lnTo>
                        <a:pt x="3357266" y="927953"/>
                      </a:lnTo>
                      <a:lnTo>
                        <a:pt x="3361732" y="925296"/>
                      </a:lnTo>
                      <a:lnTo>
                        <a:pt x="3363761" y="923389"/>
                      </a:lnTo>
                      <a:lnTo>
                        <a:pt x="3365335" y="920577"/>
                      </a:lnTo>
                      <a:lnTo>
                        <a:pt x="3362995" y="921115"/>
                      </a:lnTo>
                      <a:lnTo>
                        <a:pt x="3361349" y="922338"/>
                      </a:lnTo>
                      <a:lnTo>
                        <a:pt x="3356239" y="921808"/>
                      </a:lnTo>
                      <a:lnTo>
                        <a:pt x="3354186" y="923161"/>
                      </a:lnTo>
                      <a:lnTo>
                        <a:pt x="3351700" y="925321"/>
                      </a:lnTo>
                      <a:lnTo>
                        <a:pt x="3352677" y="930642"/>
                      </a:lnTo>
                      <a:lnTo>
                        <a:pt x="3351015" y="931620"/>
                      </a:lnTo>
                      <a:lnTo>
                        <a:pt x="3347861" y="933454"/>
                      </a:lnTo>
                      <a:lnTo>
                        <a:pt x="3343200" y="935744"/>
                      </a:lnTo>
                      <a:lnTo>
                        <a:pt x="3341692" y="937227"/>
                      </a:lnTo>
                      <a:lnTo>
                        <a:pt x="3337698" y="946795"/>
                      </a:lnTo>
                      <a:lnTo>
                        <a:pt x="3334015" y="953902"/>
                      </a:lnTo>
                      <a:lnTo>
                        <a:pt x="3332727" y="959973"/>
                      </a:lnTo>
                      <a:lnTo>
                        <a:pt x="3332874" y="965254"/>
                      </a:lnTo>
                      <a:lnTo>
                        <a:pt x="3334251" y="971081"/>
                      </a:lnTo>
                      <a:lnTo>
                        <a:pt x="3335221" y="973608"/>
                      </a:lnTo>
                      <a:lnTo>
                        <a:pt x="3339484" y="978970"/>
                      </a:lnTo>
                      <a:lnTo>
                        <a:pt x="3341570" y="983224"/>
                      </a:lnTo>
                      <a:lnTo>
                        <a:pt x="3342197" y="988318"/>
                      </a:lnTo>
                      <a:lnTo>
                        <a:pt x="3338758" y="990730"/>
                      </a:lnTo>
                      <a:lnTo>
                        <a:pt x="3332768" y="996631"/>
                      </a:lnTo>
                      <a:lnTo>
                        <a:pt x="3330283" y="997266"/>
                      </a:lnTo>
                      <a:lnTo>
                        <a:pt x="3322067" y="997103"/>
                      </a:lnTo>
                      <a:lnTo>
                        <a:pt x="3318000" y="994161"/>
                      </a:lnTo>
                      <a:lnTo>
                        <a:pt x="3313176" y="994911"/>
                      </a:lnTo>
                      <a:lnTo>
                        <a:pt x="3309134" y="996313"/>
                      </a:lnTo>
                      <a:lnTo>
                        <a:pt x="3302810" y="1000502"/>
                      </a:lnTo>
                      <a:lnTo>
                        <a:pt x="3297138" y="1005897"/>
                      </a:lnTo>
                      <a:lnTo>
                        <a:pt x="3291816" y="1009646"/>
                      </a:lnTo>
                      <a:lnTo>
                        <a:pt x="3290234" y="1011846"/>
                      </a:lnTo>
                      <a:lnTo>
                        <a:pt x="3288034" y="1016467"/>
                      </a:lnTo>
                      <a:lnTo>
                        <a:pt x="3286103" y="1024927"/>
                      </a:lnTo>
                      <a:lnTo>
                        <a:pt x="3286779" y="1029099"/>
                      </a:lnTo>
                      <a:lnTo>
                        <a:pt x="3287847" y="1031055"/>
                      </a:lnTo>
                      <a:lnTo>
                        <a:pt x="3288881" y="1033630"/>
                      </a:lnTo>
                      <a:lnTo>
                        <a:pt x="3287472" y="1037559"/>
                      </a:lnTo>
                      <a:lnTo>
                        <a:pt x="3287439" y="1040061"/>
                      </a:lnTo>
                      <a:lnTo>
                        <a:pt x="3290030" y="1044038"/>
                      </a:lnTo>
                      <a:lnTo>
                        <a:pt x="3290593" y="1049482"/>
                      </a:lnTo>
                      <a:lnTo>
                        <a:pt x="3288669" y="1049645"/>
                      </a:lnTo>
                      <a:lnTo>
                        <a:pt x="3284318" y="1045733"/>
                      </a:lnTo>
                      <a:lnTo>
                        <a:pt x="3279705" y="1045431"/>
                      </a:lnTo>
                      <a:lnTo>
                        <a:pt x="3268548" y="1049938"/>
                      </a:lnTo>
                      <a:lnTo>
                        <a:pt x="3263976" y="1052554"/>
                      </a:lnTo>
                      <a:lnTo>
                        <a:pt x="3258850" y="1057729"/>
                      </a:lnTo>
                      <a:lnTo>
                        <a:pt x="3257326" y="1056743"/>
                      </a:lnTo>
                      <a:lnTo>
                        <a:pt x="3256234" y="1053769"/>
                      </a:lnTo>
                      <a:lnTo>
                        <a:pt x="3254375" y="1052457"/>
                      </a:lnTo>
                      <a:lnTo>
                        <a:pt x="3252077" y="1053117"/>
                      </a:lnTo>
                      <a:lnTo>
                        <a:pt x="3251091" y="1055912"/>
                      </a:lnTo>
                      <a:lnTo>
                        <a:pt x="3254270" y="1057232"/>
                      </a:lnTo>
                      <a:lnTo>
                        <a:pt x="3255468" y="1059050"/>
                      </a:lnTo>
                      <a:lnTo>
                        <a:pt x="3253601" y="1065952"/>
                      </a:lnTo>
                      <a:lnTo>
                        <a:pt x="3252289" y="1068259"/>
                      </a:lnTo>
                      <a:lnTo>
                        <a:pt x="3252787" y="1074453"/>
                      </a:lnTo>
                      <a:lnTo>
                        <a:pt x="3252600" y="1077321"/>
                      </a:lnTo>
                      <a:lnTo>
                        <a:pt x="3251874" y="1080231"/>
                      </a:lnTo>
                      <a:lnTo>
                        <a:pt x="3248597" y="1088177"/>
                      </a:lnTo>
                      <a:lnTo>
                        <a:pt x="3242942" y="1098592"/>
                      </a:lnTo>
                      <a:lnTo>
                        <a:pt x="3235990" y="1106147"/>
                      </a:lnTo>
                      <a:lnTo>
                        <a:pt x="3231165" y="1108763"/>
                      </a:lnTo>
                      <a:lnTo>
                        <a:pt x="3228737" y="1110776"/>
                      </a:lnTo>
                      <a:lnTo>
                        <a:pt x="3227726" y="1113400"/>
                      </a:lnTo>
                      <a:lnTo>
                        <a:pt x="3220587" y="1120629"/>
                      </a:lnTo>
                      <a:lnTo>
                        <a:pt x="3211785" y="1128208"/>
                      </a:lnTo>
                      <a:lnTo>
                        <a:pt x="3209308" y="1129577"/>
                      </a:lnTo>
                      <a:lnTo>
                        <a:pt x="3208729" y="1126725"/>
                      </a:lnTo>
                      <a:lnTo>
                        <a:pt x="3208460" y="1123889"/>
                      </a:lnTo>
                      <a:lnTo>
                        <a:pt x="3207409" y="1120107"/>
                      </a:lnTo>
                      <a:lnTo>
                        <a:pt x="3204255" y="1116986"/>
                      </a:lnTo>
                      <a:lnTo>
                        <a:pt x="3203693" y="1114451"/>
                      </a:lnTo>
                      <a:lnTo>
                        <a:pt x="3203179" y="1110955"/>
                      </a:lnTo>
                      <a:lnTo>
                        <a:pt x="3202918" y="1094770"/>
                      </a:lnTo>
                      <a:lnTo>
                        <a:pt x="3200131" y="1077933"/>
                      </a:lnTo>
                      <a:lnTo>
                        <a:pt x="3199813" y="1072627"/>
                      </a:lnTo>
                      <a:lnTo>
                        <a:pt x="3196439" y="1068275"/>
                      </a:lnTo>
                      <a:lnTo>
                        <a:pt x="3194589" y="1063760"/>
                      </a:lnTo>
                      <a:lnTo>
                        <a:pt x="3193497" y="1059327"/>
                      </a:lnTo>
                      <a:lnTo>
                        <a:pt x="3193212" y="1054078"/>
                      </a:lnTo>
                      <a:lnTo>
                        <a:pt x="3189528" y="1026418"/>
                      </a:lnTo>
                      <a:lnTo>
                        <a:pt x="3188395" y="1019491"/>
                      </a:lnTo>
                      <a:lnTo>
                        <a:pt x="3183481" y="997071"/>
                      </a:lnTo>
                      <a:lnTo>
                        <a:pt x="3181338" y="984048"/>
                      </a:lnTo>
                      <a:lnTo>
                        <a:pt x="3179944" y="971318"/>
                      </a:lnTo>
                      <a:lnTo>
                        <a:pt x="3179724" y="965613"/>
                      </a:lnTo>
                      <a:lnTo>
                        <a:pt x="3181933" y="948588"/>
                      </a:lnTo>
                      <a:lnTo>
                        <a:pt x="3183734" y="937904"/>
                      </a:lnTo>
                      <a:lnTo>
                        <a:pt x="3190335" y="913887"/>
                      </a:lnTo>
                      <a:lnTo>
                        <a:pt x="3191394" y="911694"/>
                      </a:lnTo>
                      <a:lnTo>
                        <a:pt x="3192438" y="910545"/>
                      </a:lnTo>
                      <a:lnTo>
                        <a:pt x="3203896" y="901271"/>
                      </a:lnTo>
                      <a:lnTo>
                        <a:pt x="3208827" y="896177"/>
                      </a:lnTo>
                      <a:lnTo>
                        <a:pt x="3211818" y="890823"/>
                      </a:lnTo>
                      <a:lnTo>
                        <a:pt x="3214988" y="883969"/>
                      </a:lnTo>
                      <a:lnTo>
                        <a:pt x="3214670" y="880285"/>
                      </a:lnTo>
                      <a:lnTo>
                        <a:pt x="3214287" y="878150"/>
                      </a:lnTo>
                      <a:lnTo>
                        <a:pt x="3213081" y="875762"/>
                      </a:lnTo>
                      <a:lnTo>
                        <a:pt x="3210400" y="872991"/>
                      </a:lnTo>
                      <a:lnTo>
                        <a:pt x="3211353" y="871752"/>
                      </a:lnTo>
                      <a:lnTo>
                        <a:pt x="3212397" y="870815"/>
                      </a:lnTo>
                      <a:lnTo>
                        <a:pt x="3215216" y="869780"/>
                      </a:lnTo>
                      <a:lnTo>
                        <a:pt x="3220946" y="871866"/>
                      </a:lnTo>
                      <a:lnTo>
                        <a:pt x="3226748" y="870986"/>
                      </a:lnTo>
                      <a:lnTo>
                        <a:pt x="3232094" y="862364"/>
                      </a:lnTo>
                      <a:lnTo>
                        <a:pt x="3239739" y="863692"/>
                      </a:lnTo>
                      <a:lnTo>
                        <a:pt x="3245598" y="862144"/>
                      </a:lnTo>
                      <a:lnTo>
                        <a:pt x="3247196" y="862788"/>
                      </a:lnTo>
                      <a:lnTo>
                        <a:pt x="3248337" y="859870"/>
                      </a:lnTo>
                      <a:lnTo>
                        <a:pt x="3251523" y="856757"/>
                      </a:lnTo>
                      <a:lnTo>
                        <a:pt x="3257408" y="852112"/>
                      </a:lnTo>
                      <a:lnTo>
                        <a:pt x="3266087" y="846513"/>
                      </a:lnTo>
                      <a:lnTo>
                        <a:pt x="3270398" y="842756"/>
                      </a:lnTo>
                      <a:lnTo>
                        <a:pt x="3272827" y="839170"/>
                      </a:lnTo>
                      <a:lnTo>
                        <a:pt x="3276396" y="835804"/>
                      </a:lnTo>
                      <a:lnTo>
                        <a:pt x="3279843" y="831558"/>
                      </a:lnTo>
                      <a:lnTo>
                        <a:pt x="3286192" y="818787"/>
                      </a:lnTo>
                      <a:lnTo>
                        <a:pt x="3298670" y="808201"/>
                      </a:lnTo>
                      <a:lnTo>
                        <a:pt x="3303543" y="802121"/>
                      </a:lnTo>
                      <a:lnTo>
                        <a:pt x="3307618" y="799961"/>
                      </a:lnTo>
                      <a:lnTo>
                        <a:pt x="3311188" y="798959"/>
                      </a:lnTo>
                      <a:lnTo>
                        <a:pt x="3320209" y="790247"/>
                      </a:lnTo>
                      <a:lnTo>
                        <a:pt x="3325922" y="782994"/>
                      </a:lnTo>
                      <a:lnTo>
                        <a:pt x="3333461" y="778006"/>
                      </a:lnTo>
                      <a:lnTo>
                        <a:pt x="3335759" y="774811"/>
                      </a:lnTo>
                      <a:lnTo>
                        <a:pt x="3339663" y="767281"/>
                      </a:lnTo>
                      <a:lnTo>
                        <a:pt x="3341269" y="765423"/>
                      </a:lnTo>
                      <a:lnTo>
                        <a:pt x="3346182" y="762611"/>
                      </a:lnTo>
                      <a:lnTo>
                        <a:pt x="3357266" y="757672"/>
                      </a:lnTo>
                      <a:lnTo>
                        <a:pt x="3363712" y="752709"/>
                      </a:lnTo>
                      <a:lnTo>
                        <a:pt x="3373125" y="752008"/>
                      </a:lnTo>
                      <a:lnTo>
                        <a:pt x="3375946" y="750028"/>
                      </a:lnTo>
                      <a:lnTo>
                        <a:pt x="3378895" y="748920"/>
                      </a:lnTo>
                      <a:lnTo>
                        <a:pt x="3381992" y="747322"/>
                      </a:lnTo>
                      <a:lnTo>
                        <a:pt x="3378114" y="742930"/>
                      </a:lnTo>
                      <a:lnTo>
                        <a:pt x="3378993" y="740566"/>
                      </a:lnTo>
                      <a:lnTo>
                        <a:pt x="3379743" y="739474"/>
                      </a:lnTo>
                      <a:lnTo>
                        <a:pt x="3386532" y="734258"/>
                      </a:lnTo>
                      <a:lnTo>
                        <a:pt x="3389319" y="730077"/>
                      </a:lnTo>
                      <a:lnTo>
                        <a:pt x="3388993" y="728285"/>
                      </a:lnTo>
                      <a:lnTo>
                        <a:pt x="3388513" y="727005"/>
                      </a:lnTo>
                      <a:lnTo>
                        <a:pt x="3384331" y="725318"/>
                      </a:lnTo>
                      <a:lnTo>
                        <a:pt x="3385146" y="721382"/>
                      </a:lnTo>
                      <a:lnTo>
                        <a:pt x="3386271" y="718065"/>
                      </a:lnTo>
                      <a:lnTo>
                        <a:pt x="3389678" y="715204"/>
                      </a:lnTo>
                      <a:lnTo>
                        <a:pt x="3390867" y="708570"/>
                      </a:lnTo>
                      <a:lnTo>
                        <a:pt x="3391023" y="701594"/>
                      </a:lnTo>
                      <a:lnTo>
                        <a:pt x="3394322" y="691505"/>
                      </a:lnTo>
                      <a:lnTo>
                        <a:pt x="3396311" y="689280"/>
                      </a:lnTo>
                      <a:lnTo>
                        <a:pt x="3404021" y="684211"/>
                      </a:lnTo>
                      <a:lnTo>
                        <a:pt x="3405822" y="684080"/>
                      </a:lnTo>
                      <a:lnTo>
                        <a:pt x="3411193" y="685792"/>
                      </a:lnTo>
                      <a:lnTo>
                        <a:pt x="3417069" y="686623"/>
                      </a:lnTo>
                      <a:lnTo>
                        <a:pt x="3419147" y="688163"/>
                      </a:lnTo>
                      <a:lnTo>
                        <a:pt x="3419587" y="686859"/>
                      </a:lnTo>
                      <a:lnTo>
                        <a:pt x="3419286" y="685124"/>
                      </a:lnTo>
                      <a:lnTo>
                        <a:pt x="3420940" y="684512"/>
                      </a:lnTo>
                      <a:lnTo>
                        <a:pt x="3424347" y="685172"/>
                      </a:lnTo>
                      <a:lnTo>
                        <a:pt x="3423817" y="683257"/>
                      </a:lnTo>
                      <a:lnTo>
                        <a:pt x="3415081" y="682312"/>
                      </a:lnTo>
                      <a:lnTo>
                        <a:pt x="3408837" y="680095"/>
                      </a:lnTo>
                      <a:lnTo>
                        <a:pt x="3403247" y="675808"/>
                      </a:lnTo>
                      <a:lnTo>
                        <a:pt x="3399563" y="674610"/>
                      </a:lnTo>
                      <a:lnTo>
                        <a:pt x="3395529" y="674945"/>
                      </a:lnTo>
                      <a:lnTo>
                        <a:pt x="3372612" y="680918"/>
                      </a:lnTo>
                      <a:lnTo>
                        <a:pt x="3371496" y="682532"/>
                      </a:lnTo>
                      <a:lnTo>
                        <a:pt x="3370436" y="684838"/>
                      </a:lnTo>
                      <a:lnTo>
                        <a:pt x="3371871" y="688204"/>
                      </a:lnTo>
                      <a:lnTo>
                        <a:pt x="3370779" y="689679"/>
                      </a:lnTo>
                      <a:lnTo>
                        <a:pt x="3369670" y="690641"/>
                      </a:lnTo>
                      <a:lnTo>
                        <a:pt x="3368432" y="692833"/>
                      </a:lnTo>
                      <a:lnTo>
                        <a:pt x="3367323" y="697193"/>
                      </a:lnTo>
                      <a:lnTo>
                        <a:pt x="3367633" y="701399"/>
                      </a:lnTo>
                      <a:lnTo>
                        <a:pt x="3364820" y="707869"/>
                      </a:lnTo>
                      <a:lnTo>
                        <a:pt x="3364609" y="711920"/>
                      </a:lnTo>
                      <a:lnTo>
                        <a:pt x="3369531" y="714153"/>
                      </a:lnTo>
                      <a:lnTo>
                        <a:pt x="3370771" y="715661"/>
                      </a:lnTo>
                      <a:lnTo>
                        <a:pt x="3369287" y="717877"/>
                      </a:lnTo>
                      <a:lnTo>
                        <a:pt x="3367820" y="719238"/>
                      </a:lnTo>
                      <a:lnTo>
                        <a:pt x="3366500" y="720885"/>
                      </a:lnTo>
                      <a:lnTo>
                        <a:pt x="3365555" y="721561"/>
                      </a:lnTo>
                      <a:lnTo>
                        <a:pt x="3364235" y="721960"/>
                      </a:lnTo>
                      <a:lnTo>
                        <a:pt x="3362441" y="719784"/>
                      </a:lnTo>
                      <a:lnTo>
                        <a:pt x="3360811" y="715432"/>
                      </a:lnTo>
                      <a:lnTo>
                        <a:pt x="3358236" y="715180"/>
                      </a:lnTo>
                      <a:lnTo>
                        <a:pt x="3357388" y="715832"/>
                      </a:lnTo>
                      <a:lnTo>
                        <a:pt x="3356915" y="717559"/>
                      </a:lnTo>
                      <a:lnTo>
                        <a:pt x="3354650" y="717665"/>
                      </a:lnTo>
                      <a:lnTo>
                        <a:pt x="3352140" y="716842"/>
                      </a:lnTo>
                      <a:lnTo>
                        <a:pt x="3349312" y="717176"/>
                      </a:lnTo>
                      <a:lnTo>
                        <a:pt x="3344259" y="722099"/>
                      </a:lnTo>
                      <a:lnTo>
                        <a:pt x="3315702" y="745472"/>
                      </a:lnTo>
                      <a:lnTo>
                        <a:pt x="3312671" y="748292"/>
                      </a:lnTo>
                      <a:lnTo>
                        <a:pt x="3308987" y="753899"/>
                      </a:lnTo>
                      <a:lnTo>
                        <a:pt x="3301930" y="754445"/>
                      </a:lnTo>
                      <a:lnTo>
                        <a:pt x="3299101" y="755700"/>
                      </a:lnTo>
                      <a:lnTo>
                        <a:pt x="3297089" y="757371"/>
                      </a:lnTo>
                      <a:lnTo>
                        <a:pt x="3294285" y="758528"/>
                      </a:lnTo>
                      <a:lnTo>
                        <a:pt x="3294367" y="756417"/>
                      </a:lnTo>
                      <a:lnTo>
                        <a:pt x="3294970" y="754853"/>
                      </a:lnTo>
                      <a:lnTo>
                        <a:pt x="3295573" y="750753"/>
                      </a:lnTo>
                      <a:lnTo>
                        <a:pt x="3299379" y="742938"/>
                      </a:lnTo>
                      <a:lnTo>
                        <a:pt x="3296949" y="742164"/>
                      </a:lnTo>
                      <a:lnTo>
                        <a:pt x="3294546" y="742041"/>
                      </a:lnTo>
                      <a:lnTo>
                        <a:pt x="3290080" y="743663"/>
                      </a:lnTo>
                      <a:lnTo>
                        <a:pt x="3287081" y="746247"/>
                      </a:lnTo>
                      <a:lnTo>
                        <a:pt x="3284783" y="745717"/>
                      </a:lnTo>
                      <a:lnTo>
                        <a:pt x="3285866" y="743410"/>
                      </a:lnTo>
                      <a:lnTo>
                        <a:pt x="3288719" y="738773"/>
                      </a:lnTo>
                      <a:lnTo>
                        <a:pt x="3287847" y="734495"/>
                      </a:lnTo>
                      <a:lnTo>
                        <a:pt x="3287081" y="732180"/>
                      </a:lnTo>
                      <a:lnTo>
                        <a:pt x="3288263" y="730884"/>
                      </a:lnTo>
                      <a:lnTo>
                        <a:pt x="3294008" y="722229"/>
                      </a:lnTo>
                      <a:lnTo>
                        <a:pt x="3296094" y="717763"/>
                      </a:lnTo>
                      <a:lnTo>
                        <a:pt x="3297847" y="711847"/>
                      </a:lnTo>
                      <a:lnTo>
                        <a:pt x="3297944" y="710005"/>
                      </a:lnTo>
                      <a:lnTo>
                        <a:pt x="3297651" y="707731"/>
                      </a:lnTo>
                      <a:lnTo>
                        <a:pt x="3295874" y="707348"/>
                      </a:lnTo>
                      <a:lnTo>
                        <a:pt x="3294505" y="707389"/>
                      </a:lnTo>
                      <a:lnTo>
                        <a:pt x="3283087" y="713256"/>
                      </a:lnTo>
                      <a:lnTo>
                        <a:pt x="3278865" y="714837"/>
                      </a:lnTo>
                      <a:lnTo>
                        <a:pt x="3277480" y="712327"/>
                      </a:lnTo>
                      <a:lnTo>
                        <a:pt x="3275663" y="711243"/>
                      </a:lnTo>
                      <a:lnTo>
                        <a:pt x="3272492" y="706924"/>
                      </a:lnTo>
                      <a:lnTo>
                        <a:pt x="3269868" y="706305"/>
                      </a:lnTo>
                      <a:lnTo>
                        <a:pt x="3267081" y="706598"/>
                      </a:lnTo>
                      <a:lnTo>
                        <a:pt x="3260814" y="709532"/>
                      </a:lnTo>
                      <a:lnTo>
                        <a:pt x="3253936" y="711129"/>
                      </a:lnTo>
                      <a:lnTo>
                        <a:pt x="3248646" y="710526"/>
                      </a:lnTo>
                      <a:lnTo>
                        <a:pt x="3244123" y="713004"/>
                      </a:lnTo>
                      <a:lnTo>
                        <a:pt x="3242110" y="713460"/>
                      </a:lnTo>
                      <a:lnTo>
                        <a:pt x="3235387" y="711765"/>
                      </a:lnTo>
                      <a:lnTo>
                        <a:pt x="3227213" y="711618"/>
                      </a:lnTo>
                      <a:lnTo>
                        <a:pt x="3224759" y="713721"/>
                      </a:lnTo>
                      <a:lnTo>
                        <a:pt x="3217653" y="716622"/>
                      </a:lnTo>
                      <a:lnTo>
                        <a:pt x="3212878" y="721105"/>
                      </a:lnTo>
                      <a:lnTo>
                        <a:pt x="3210383" y="722547"/>
                      </a:lnTo>
                      <a:lnTo>
                        <a:pt x="3207637" y="724544"/>
                      </a:lnTo>
                      <a:lnTo>
                        <a:pt x="3206390" y="732963"/>
                      </a:lnTo>
                      <a:lnTo>
                        <a:pt x="3202739" y="735652"/>
                      </a:lnTo>
                      <a:lnTo>
                        <a:pt x="3199300" y="737706"/>
                      </a:lnTo>
                      <a:lnTo>
                        <a:pt x="3192153" y="744144"/>
                      </a:lnTo>
                      <a:lnTo>
                        <a:pt x="3187124" y="752937"/>
                      </a:lnTo>
                      <a:lnTo>
                        <a:pt x="3183726" y="756752"/>
                      </a:lnTo>
                      <a:lnTo>
                        <a:pt x="3176570" y="762081"/>
                      </a:lnTo>
                      <a:lnTo>
                        <a:pt x="3165242" y="769025"/>
                      </a:lnTo>
                      <a:lnTo>
                        <a:pt x="3155495" y="780288"/>
                      </a:lnTo>
                      <a:lnTo>
                        <a:pt x="3152088" y="788723"/>
                      </a:lnTo>
                      <a:lnTo>
                        <a:pt x="3150833" y="789008"/>
                      </a:lnTo>
                      <a:lnTo>
                        <a:pt x="3148429" y="790736"/>
                      </a:lnTo>
                      <a:lnTo>
                        <a:pt x="3147769" y="794835"/>
                      </a:lnTo>
                      <a:lnTo>
                        <a:pt x="3147834" y="797704"/>
                      </a:lnTo>
                      <a:lnTo>
                        <a:pt x="3146351" y="800010"/>
                      </a:lnTo>
                      <a:lnTo>
                        <a:pt x="3144884" y="802863"/>
                      </a:lnTo>
                      <a:lnTo>
                        <a:pt x="3146441" y="804656"/>
                      </a:lnTo>
                      <a:lnTo>
                        <a:pt x="3147916" y="804982"/>
                      </a:lnTo>
                      <a:lnTo>
                        <a:pt x="3150026" y="804737"/>
                      </a:lnTo>
                      <a:lnTo>
                        <a:pt x="3155609" y="802406"/>
                      </a:lnTo>
                      <a:lnTo>
                        <a:pt x="3165251" y="806000"/>
                      </a:lnTo>
                      <a:lnTo>
                        <a:pt x="3170091" y="809546"/>
                      </a:lnTo>
                      <a:lnTo>
                        <a:pt x="3169757" y="813115"/>
                      </a:lnTo>
                      <a:lnTo>
                        <a:pt x="3169945" y="816285"/>
                      </a:lnTo>
                      <a:lnTo>
                        <a:pt x="3166383" y="816065"/>
                      </a:lnTo>
                      <a:lnTo>
                        <a:pt x="3161591" y="816391"/>
                      </a:lnTo>
                      <a:lnTo>
                        <a:pt x="3158608" y="818217"/>
                      </a:lnTo>
                      <a:lnTo>
                        <a:pt x="3152521" y="815242"/>
                      </a:lnTo>
                      <a:lnTo>
                        <a:pt x="3150483" y="816383"/>
                      </a:lnTo>
                      <a:lnTo>
                        <a:pt x="3147280" y="819513"/>
                      </a:lnTo>
                      <a:lnTo>
                        <a:pt x="3141429" y="820825"/>
                      </a:lnTo>
                      <a:lnTo>
                        <a:pt x="3138478" y="819301"/>
                      </a:lnTo>
                      <a:lnTo>
                        <a:pt x="3133605" y="814908"/>
                      </a:lnTo>
                      <a:lnTo>
                        <a:pt x="3125317" y="815307"/>
                      </a:lnTo>
                      <a:lnTo>
                        <a:pt x="3123132" y="820197"/>
                      </a:lnTo>
                      <a:lnTo>
                        <a:pt x="3121225" y="820075"/>
                      </a:lnTo>
                      <a:lnTo>
                        <a:pt x="3118284" y="820572"/>
                      </a:lnTo>
                      <a:lnTo>
                        <a:pt x="3113442" y="826220"/>
                      </a:lnTo>
                      <a:lnTo>
                        <a:pt x="3111837" y="826725"/>
                      </a:lnTo>
                      <a:lnTo>
                        <a:pt x="3105839" y="825617"/>
                      </a:lnTo>
                      <a:lnTo>
                        <a:pt x="3101495" y="822764"/>
                      </a:lnTo>
                      <a:lnTo>
                        <a:pt x="3099482" y="822593"/>
                      </a:lnTo>
                      <a:lnTo>
                        <a:pt x="3095651" y="823930"/>
                      </a:lnTo>
                      <a:lnTo>
                        <a:pt x="3093736" y="827345"/>
                      </a:lnTo>
                      <a:lnTo>
                        <a:pt x="3084226" y="829072"/>
                      </a:lnTo>
                      <a:lnTo>
                        <a:pt x="3074862" y="828746"/>
                      </a:lnTo>
                      <a:lnTo>
                        <a:pt x="3069760" y="820548"/>
                      </a:lnTo>
                      <a:lnTo>
                        <a:pt x="3079279" y="817320"/>
                      </a:lnTo>
                      <a:lnTo>
                        <a:pt x="3084951" y="818005"/>
                      </a:lnTo>
                      <a:lnTo>
                        <a:pt x="3091316" y="817475"/>
                      </a:lnTo>
                      <a:lnTo>
                        <a:pt x="3098023" y="814965"/>
                      </a:lnTo>
                      <a:lnTo>
                        <a:pt x="3095766" y="812813"/>
                      </a:lnTo>
                      <a:lnTo>
                        <a:pt x="3094144" y="812308"/>
                      </a:lnTo>
                      <a:lnTo>
                        <a:pt x="3090134" y="812561"/>
                      </a:lnTo>
                      <a:lnTo>
                        <a:pt x="3086540" y="811012"/>
                      </a:lnTo>
                      <a:lnTo>
                        <a:pt x="3078798" y="803042"/>
                      </a:lnTo>
                      <a:lnTo>
                        <a:pt x="3075392" y="801567"/>
                      </a:lnTo>
                      <a:lnTo>
                        <a:pt x="3070974" y="800695"/>
                      </a:lnTo>
                      <a:lnTo>
                        <a:pt x="3067584" y="800597"/>
                      </a:lnTo>
                      <a:lnTo>
                        <a:pt x="3066329" y="801159"/>
                      </a:lnTo>
                      <a:lnTo>
                        <a:pt x="3064569" y="803083"/>
                      </a:lnTo>
                      <a:lnTo>
                        <a:pt x="3063370" y="804974"/>
                      </a:lnTo>
                      <a:lnTo>
                        <a:pt x="3062368" y="805560"/>
                      </a:lnTo>
                      <a:lnTo>
                        <a:pt x="3060037" y="805226"/>
                      </a:lnTo>
                      <a:lnTo>
                        <a:pt x="3057217" y="803735"/>
                      </a:lnTo>
                      <a:lnTo>
                        <a:pt x="3053941" y="804224"/>
                      </a:lnTo>
                      <a:lnTo>
                        <a:pt x="3055343" y="803009"/>
                      </a:lnTo>
                      <a:lnTo>
                        <a:pt x="3058505" y="801763"/>
                      </a:lnTo>
                      <a:lnTo>
                        <a:pt x="3053281" y="800393"/>
                      </a:lnTo>
                      <a:lnTo>
                        <a:pt x="3050021" y="798486"/>
                      </a:lnTo>
                      <a:lnTo>
                        <a:pt x="3046981" y="797989"/>
                      </a:lnTo>
                      <a:lnTo>
                        <a:pt x="3033094" y="793246"/>
                      </a:lnTo>
                      <a:lnTo>
                        <a:pt x="3027683" y="793621"/>
                      </a:lnTo>
                      <a:lnTo>
                        <a:pt x="3024350" y="794909"/>
                      </a:lnTo>
                      <a:lnTo>
                        <a:pt x="3018767" y="798812"/>
                      </a:lnTo>
                      <a:lnTo>
                        <a:pt x="3020315" y="801665"/>
                      </a:lnTo>
                      <a:lnTo>
                        <a:pt x="3021506" y="802936"/>
                      </a:lnTo>
                      <a:lnTo>
                        <a:pt x="3022231" y="804468"/>
                      </a:lnTo>
                      <a:lnTo>
                        <a:pt x="3020454" y="804770"/>
                      </a:lnTo>
                      <a:lnTo>
                        <a:pt x="3015287" y="804990"/>
                      </a:lnTo>
                      <a:lnTo>
                        <a:pt x="3012117" y="802708"/>
                      </a:lnTo>
                      <a:lnTo>
                        <a:pt x="3009933" y="806041"/>
                      </a:lnTo>
                      <a:lnTo>
                        <a:pt x="3010797" y="809016"/>
                      </a:lnTo>
                      <a:lnTo>
                        <a:pt x="3014423" y="807973"/>
                      </a:lnTo>
                      <a:lnTo>
                        <a:pt x="3016265" y="809195"/>
                      </a:lnTo>
                      <a:lnTo>
                        <a:pt x="3015018" y="812618"/>
                      </a:lnTo>
                      <a:lnTo>
                        <a:pt x="3010373" y="813604"/>
                      </a:lnTo>
                      <a:lnTo>
                        <a:pt x="3004530" y="813425"/>
                      </a:lnTo>
                      <a:lnTo>
                        <a:pt x="2998735" y="807410"/>
                      </a:lnTo>
                      <a:lnTo>
                        <a:pt x="2989240" y="808445"/>
                      </a:lnTo>
                      <a:lnTo>
                        <a:pt x="2984611" y="812300"/>
                      </a:lnTo>
                      <a:lnTo>
                        <a:pt x="2980300" y="813180"/>
                      </a:lnTo>
                      <a:lnTo>
                        <a:pt x="2968532" y="809334"/>
                      </a:lnTo>
                      <a:lnTo>
                        <a:pt x="2962672" y="809048"/>
                      </a:lnTo>
                      <a:lnTo>
                        <a:pt x="2956071" y="805707"/>
                      </a:lnTo>
                      <a:lnTo>
                        <a:pt x="2953756" y="806758"/>
                      </a:lnTo>
                      <a:lnTo>
                        <a:pt x="2949527" y="815047"/>
                      </a:lnTo>
                      <a:lnTo>
                        <a:pt x="2943969" y="817060"/>
                      </a:lnTo>
                      <a:lnTo>
                        <a:pt x="2941051" y="815959"/>
                      </a:lnTo>
                      <a:lnTo>
                        <a:pt x="2938508" y="810727"/>
                      </a:lnTo>
                      <a:lnTo>
                        <a:pt x="2936699" y="809008"/>
                      </a:lnTo>
                      <a:lnTo>
                        <a:pt x="2931695" y="807435"/>
                      </a:lnTo>
                      <a:lnTo>
                        <a:pt x="2905127" y="808910"/>
                      </a:lnTo>
                      <a:lnTo>
                        <a:pt x="2896195" y="807638"/>
                      </a:lnTo>
                      <a:lnTo>
                        <a:pt x="2889887" y="807516"/>
                      </a:lnTo>
                      <a:lnTo>
                        <a:pt x="2881330" y="810206"/>
                      </a:lnTo>
                      <a:lnTo>
                        <a:pt x="2873107" y="809154"/>
                      </a:lnTo>
                      <a:lnTo>
                        <a:pt x="2857932" y="814305"/>
                      </a:lnTo>
                      <a:lnTo>
                        <a:pt x="2851722" y="817777"/>
                      </a:lnTo>
                      <a:lnTo>
                        <a:pt x="2844167" y="823824"/>
                      </a:lnTo>
                      <a:lnTo>
                        <a:pt x="2837452" y="833864"/>
                      </a:lnTo>
                      <a:lnTo>
                        <a:pt x="2833687" y="837654"/>
                      </a:lnTo>
                      <a:lnTo>
                        <a:pt x="2827346" y="842422"/>
                      </a:lnTo>
                      <a:lnTo>
                        <a:pt x="2818430" y="846790"/>
                      </a:lnTo>
                      <a:lnTo>
                        <a:pt x="2813524" y="851248"/>
                      </a:lnTo>
                      <a:lnTo>
                        <a:pt x="2810916" y="854825"/>
                      </a:lnTo>
                      <a:lnTo>
                        <a:pt x="2806206" y="868403"/>
                      </a:lnTo>
                      <a:lnTo>
                        <a:pt x="2805016" y="870424"/>
                      </a:lnTo>
                      <a:lnTo>
                        <a:pt x="2793989" y="875355"/>
                      </a:lnTo>
                      <a:lnTo>
                        <a:pt x="2790485" y="880742"/>
                      </a:lnTo>
                      <a:lnTo>
                        <a:pt x="2789059" y="882111"/>
                      </a:lnTo>
                      <a:lnTo>
                        <a:pt x="2784487" y="884385"/>
                      </a:lnTo>
                      <a:lnTo>
                        <a:pt x="2781691" y="888174"/>
                      </a:lnTo>
                      <a:lnTo>
                        <a:pt x="2780143" y="889291"/>
                      </a:lnTo>
                      <a:lnTo>
                        <a:pt x="2773623" y="891939"/>
                      </a:lnTo>
                      <a:lnTo>
                        <a:pt x="2768285" y="898671"/>
                      </a:lnTo>
                      <a:lnTo>
                        <a:pt x="2760746" y="903422"/>
                      </a:lnTo>
                      <a:lnTo>
                        <a:pt x="2749728" y="916446"/>
                      </a:lnTo>
                      <a:lnTo>
                        <a:pt x="2748791" y="918002"/>
                      </a:lnTo>
                      <a:lnTo>
                        <a:pt x="2747821" y="921474"/>
                      </a:lnTo>
                      <a:lnTo>
                        <a:pt x="2746159" y="924009"/>
                      </a:lnTo>
                      <a:lnTo>
                        <a:pt x="2736680" y="935312"/>
                      </a:lnTo>
                      <a:lnTo>
                        <a:pt x="2733730" y="936363"/>
                      </a:lnTo>
                      <a:lnTo>
                        <a:pt x="2729052" y="941636"/>
                      </a:lnTo>
                      <a:lnTo>
                        <a:pt x="2724219" y="944807"/>
                      </a:lnTo>
                      <a:lnTo>
                        <a:pt x="2719819" y="948531"/>
                      </a:lnTo>
                      <a:lnTo>
                        <a:pt x="2714407" y="952402"/>
                      </a:lnTo>
                      <a:lnTo>
                        <a:pt x="2706135" y="956893"/>
                      </a:lnTo>
                      <a:lnTo>
                        <a:pt x="2703429" y="959444"/>
                      </a:lnTo>
                      <a:lnTo>
                        <a:pt x="2699069" y="965474"/>
                      </a:lnTo>
                      <a:lnTo>
                        <a:pt x="2688540" y="972785"/>
                      </a:lnTo>
                      <a:lnTo>
                        <a:pt x="2683324" y="974561"/>
                      </a:lnTo>
                      <a:lnTo>
                        <a:pt x="2676421" y="981057"/>
                      </a:lnTo>
                      <a:lnTo>
                        <a:pt x="2675737" y="982581"/>
                      </a:lnTo>
                      <a:lnTo>
                        <a:pt x="2675166" y="984952"/>
                      </a:lnTo>
                      <a:lnTo>
                        <a:pt x="2676315" y="989109"/>
                      </a:lnTo>
                      <a:lnTo>
                        <a:pt x="2677994" y="990013"/>
                      </a:lnTo>
                      <a:lnTo>
                        <a:pt x="2680781" y="990584"/>
                      </a:lnTo>
                      <a:lnTo>
                        <a:pt x="2691042" y="994707"/>
                      </a:lnTo>
                      <a:lnTo>
                        <a:pt x="2700626" y="993558"/>
                      </a:lnTo>
                      <a:lnTo>
                        <a:pt x="2709110" y="993575"/>
                      </a:lnTo>
                      <a:lnTo>
                        <a:pt x="2712443" y="993175"/>
                      </a:lnTo>
                      <a:lnTo>
                        <a:pt x="2714488" y="993298"/>
                      </a:lnTo>
                      <a:lnTo>
                        <a:pt x="2715149" y="995555"/>
                      </a:lnTo>
                      <a:lnTo>
                        <a:pt x="2715059" y="999687"/>
                      </a:lnTo>
                      <a:lnTo>
                        <a:pt x="2713828" y="1003436"/>
                      </a:lnTo>
                      <a:lnTo>
                        <a:pt x="2712810" y="1014487"/>
                      </a:lnTo>
                      <a:lnTo>
                        <a:pt x="2711661" y="1019368"/>
                      </a:lnTo>
                      <a:lnTo>
                        <a:pt x="2712549" y="1024161"/>
                      </a:lnTo>
                      <a:lnTo>
                        <a:pt x="2714635" y="1024992"/>
                      </a:lnTo>
                      <a:lnTo>
                        <a:pt x="2716713" y="1022832"/>
                      </a:lnTo>
                      <a:lnTo>
                        <a:pt x="2719990" y="1022498"/>
                      </a:lnTo>
                      <a:lnTo>
                        <a:pt x="2723372" y="1023500"/>
                      </a:lnTo>
                      <a:lnTo>
                        <a:pt x="2725923" y="1015832"/>
                      </a:lnTo>
                      <a:lnTo>
                        <a:pt x="2723804" y="1014634"/>
                      </a:lnTo>
                      <a:lnTo>
                        <a:pt x="2721905" y="1011928"/>
                      </a:lnTo>
                      <a:lnTo>
                        <a:pt x="2723030" y="1009899"/>
                      </a:lnTo>
                      <a:lnTo>
                        <a:pt x="2728897" y="1006125"/>
                      </a:lnTo>
                      <a:lnTo>
                        <a:pt x="2732548" y="1005783"/>
                      </a:lnTo>
                      <a:lnTo>
                        <a:pt x="2736045" y="1006084"/>
                      </a:lnTo>
                      <a:lnTo>
                        <a:pt x="2732255" y="1010877"/>
                      </a:lnTo>
                      <a:lnTo>
                        <a:pt x="2730715" y="1011863"/>
                      </a:lnTo>
                      <a:lnTo>
                        <a:pt x="2729533" y="1012123"/>
                      </a:lnTo>
                      <a:lnTo>
                        <a:pt x="2727936" y="1012979"/>
                      </a:lnTo>
                      <a:lnTo>
                        <a:pt x="2731334" y="1015742"/>
                      </a:lnTo>
                      <a:lnTo>
                        <a:pt x="2734969" y="1017893"/>
                      </a:lnTo>
                      <a:lnTo>
                        <a:pt x="2740217" y="1018790"/>
                      </a:lnTo>
                      <a:lnTo>
                        <a:pt x="2739028" y="1020428"/>
                      </a:lnTo>
                      <a:lnTo>
                        <a:pt x="2735523" y="1021838"/>
                      </a:lnTo>
                      <a:lnTo>
                        <a:pt x="2732345" y="1027812"/>
                      </a:lnTo>
                      <a:lnTo>
                        <a:pt x="2727300" y="1030648"/>
                      </a:lnTo>
                      <a:lnTo>
                        <a:pt x="2725018" y="1032620"/>
                      </a:lnTo>
                      <a:lnTo>
                        <a:pt x="2725817" y="1033859"/>
                      </a:lnTo>
                      <a:lnTo>
                        <a:pt x="2727659" y="1034128"/>
                      </a:lnTo>
                      <a:lnTo>
                        <a:pt x="2737838" y="1033329"/>
                      </a:lnTo>
                      <a:lnTo>
                        <a:pt x="2743102" y="1031707"/>
                      </a:lnTo>
                      <a:lnTo>
                        <a:pt x="2750608" y="1027086"/>
                      </a:lnTo>
                      <a:lnTo>
                        <a:pt x="2753729" y="1020200"/>
                      </a:lnTo>
                      <a:lnTo>
                        <a:pt x="2756574" y="1018309"/>
                      </a:lnTo>
                      <a:lnTo>
                        <a:pt x="2757421" y="1018293"/>
                      </a:lnTo>
                      <a:lnTo>
                        <a:pt x="2758416" y="1018774"/>
                      </a:lnTo>
                      <a:lnTo>
                        <a:pt x="2758440" y="1023606"/>
                      </a:lnTo>
                      <a:lnTo>
                        <a:pt x="2754422" y="1029050"/>
                      </a:lnTo>
                      <a:lnTo>
                        <a:pt x="2751578" y="1032123"/>
                      </a:lnTo>
                      <a:lnTo>
                        <a:pt x="2750518" y="1034690"/>
                      </a:lnTo>
                      <a:lnTo>
                        <a:pt x="2752279" y="1034739"/>
                      </a:lnTo>
                      <a:lnTo>
                        <a:pt x="2755506" y="1034201"/>
                      </a:lnTo>
                      <a:lnTo>
                        <a:pt x="2756997" y="1032962"/>
                      </a:lnTo>
                      <a:lnTo>
                        <a:pt x="2760714" y="1026402"/>
                      </a:lnTo>
                      <a:lnTo>
                        <a:pt x="2761676" y="1021691"/>
                      </a:lnTo>
                      <a:lnTo>
                        <a:pt x="2762222" y="1015131"/>
                      </a:lnTo>
                      <a:lnTo>
                        <a:pt x="2761806" y="1011211"/>
                      </a:lnTo>
                      <a:lnTo>
                        <a:pt x="2762083" y="1008374"/>
                      </a:lnTo>
                      <a:lnTo>
                        <a:pt x="2760624" y="1005514"/>
                      </a:lnTo>
                      <a:lnTo>
                        <a:pt x="2761578" y="1004699"/>
                      </a:lnTo>
                      <a:lnTo>
                        <a:pt x="2771740" y="1008554"/>
                      </a:lnTo>
                      <a:lnTo>
                        <a:pt x="2777062" y="1009491"/>
                      </a:lnTo>
                      <a:lnTo>
                        <a:pt x="2786679" y="1006313"/>
                      </a:lnTo>
                      <a:lnTo>
                        <a:pt x="2788855" y="1007103"/>
                      </a:lnTo>
                      <a:lnTo>
                        <a:pt x="2790420" y="1009035"/>
                      </a:lnTo>
                      <a:lnTo>
                        <a:pt x="2798366" y="1014837"/>
                      </a:lnTo>
                      <a:lnTo>
                        <a:pt x="2799922" y="1016744"/>
                      </a:lnTo>
                      <a:lnTo>
                        <a:pt x="2802547" y="1023843"/>
                      </a:lnTo>
                      <a:lnTo>
                        <a:pt x="2810981" y="1031968"/>
                      </a:lnTo>
                      <a:lnTo>
                        <a:pt x="2818878" y="1035798"/>
                      </a:lnTo>
                      <a:lnTo>
                        <a:pt x="2819107" y="1037314"/>
                      </a:lnTo>
                      <a:lnTo>
                        <a:pt x="2824127" y="1041805"/>
                      </a:lnTo>
                      <a:lnTo>
                        <a:pt x="2828006" y="1043369"/>
                      </a:lnTo>
                      <a:lnTo>
                        <a:pt x="2828707" y="1047444"/>
                      </a:lnTo>
                      <a:lnTo>
                        <a:pt x="2826865" y="1050688"/>
                      </a:lnTo>
                      <a:lnTo>
                        <a:pt x="2823222" y="1053752"/>
                      </a:lnTo>
                      <a:lnTo>
                        <a:pt x="2815936" y="1050908"/>
                      </a:lnTo>
                      <a:lnTo>
                        <a:pt x="2814755" y="1051038"/>
                      </a:lnTo>
                      <a:lnTo>
                        <a:pt x="2815610" y="1052840"/>
                      </a:lnTo>
                      <a:lnTo>
                        <a:pt x="2820891" y="1058153"/>
                      </a:lnTo>
                      <a:lnTo>
                        <a:pt x="2825072" y="1060296"/>
                      </a:lnTo>
                      <a:lnTo>
                        <a:pt x="2825325" y="1067289"/>
                      </a:lnTo>
                      <a:lnTo>
                        <a:pt x="2824812" y="1071111"/>
                      </a:lnTo>
                      <a:lnTo>
                        <a:pt x="2822016" y="1075365"/>
                      </a:lnTo>
                      <a:lnTo>
                        <a:pt x="2822945" y="1077875"/>
                      </a:lnTo>
                      <a:lnTo>
                        <a:pt x="2826906" y="1081486"/>
                      </a:lnTo>
                      <a:lnTo>
                        <a:pt x="2828878" y="1082847"/>
                      </a:lnTo>
                      <a:lnTo>
                        <a:pt x="2830769" y="1084917"/>
                      </a:lnTo>
                      <a:lnTo>
                        <a:pt x="2828300" y="1089424"/>
                      </a:lnTo>
                      <a:lnTo>
                        <a:pt x="2827835" y="1094485"/>
                      </a:lnTo>
                      <a:lnTo>
                        <a:pt x="2825137" y="1096709"/>
                      </a:lnTo>
                      <a:lnTo>
                        <a:pt x="2821943" y="1101624"/>
                      </a:lnTo>
                      <a:lnTo>
                        <a:pt x="2817061" y="1105609"/>
                      </a:lnTo>
                      <a:lnTo>
                        <a:pt x="2814730" y="1113205"/>
                      </a:lnTo>
                      <a:lnTo>
                        <a:pt x="2810981" y="1119904"/>
                      </a:lnTo>
                      <a:lnTo>
                        <a:pt x="2810566" y="1126570"/>
                      </a:lnTo>
                      <a:lnTo>
                        <a:pt x="2809946" y="1128942"/>
                      </a:lnTo>
                      <a:lnTo>
                        <a:pt x="2806849" y="1135787"/>
                      </a:lnTo>
                      <a:lnTo>
                        <a:pt x="2805741" y="1145103"/>
                      </a:lnTo>
                      <a:lnTo>
                        <a:pt x="2807208" y="1160277"/>
                      </a:lnTo>
                      <a:lnTo>
                        <a:pt x="2807917" y="1161158"/>
                      </a:lnTo>
                      <a:lnTo>
                        <a:pt x="2809425" y="1162046"/>
                      </a:lnTo>
                      <a:lnTo>
                        <a:pt x="2809148" y="1163089"/>
                      </a:lnTo>
                      <a:lnTo>
                        <a:pt x="2808422" y="1163831"/>
                      </a:lnTo>
                      <a:lnTo>
                        <a:pt x="2805399" y="1168272"/>
                      </a:lnTo>
                      <a:lnTo>
                        <a:pt x="2805448" y="1171402"/>
                      </a:lnTo>
                      <a:lnTo>
                        <a:pt x="2806613" y="1173724"/>
                      </a:lnTo>
                      <a:lnTo>
                        <a:pt x="2806752" y="1179747"/>
                      </a:lnTo>
                      <a:lnTo>
                        <a:pt x="2804625" y="1189348"/>
                      </a:lnTo>
                      <a:lnTo>
                        <a:pt x="2803834" y="1190863"/>
                      </a:lnTo>
                      <a:lnTo>
                        <a:pt x="2802970" y="1193357"/>
                      </a:lnTo>
                      <a:lnTo>
                        <a:pt x="2802571" y="1195590"/>
                      </a:lnTo>
                      <a:lnTo>
                        <a:pt x="2802000" y="1197016"/>
                      </a:lnTo>
                      <a:lnTo>
                        <a:pt x="2801593" y="1199404"/>
                      </a:lnTo>
                      <a:lnTo>
                        <a:pt x="2802212" y="1201531"/>
                      </a:lnTo>
                      <a:lnTo>
                        <a:pt x="2803321" y="1202648"/>
                      </a:lnTo>
                      <a:lnTo>
                        <a:pt x="2799490" y="1209551"/>
                      </a:lnTo>
                      <a:lnTo>
                        <a:pt x="2798162" y="1218540"/>
                      </a:lnTo>
                      <a:lnTo>
                        <a:pt x="2796744" y="1222183"/>
                      </a:lnTo>
                      <a:lnTo>
                        <a:pt x="2793892" y="1225744"/>
                      </a:lnTo>
                      <a:lnTo>
                        <a:pt x="2787999" y="1230887"/>
                      </a:lnTo>
                      <a:lnTo>
                        <a:pt x="2785904" y="1234138"/>
                      </a:lnTo>
                      <a:lnTo>
                        <a:pt x="2782041" y="1238246"/>
                      </a:lnTo>
                      <a:lnTo>
                        <a:pt x="2778374" y="1241408"/>
                      </a:lnTo>
                      <a:lnTo>
                        <a:pt x="2773272" y="1250446"/>
                      </a:lnTo>
                      <a:lnTo>
                        <a:pt x="2769157" y="1259435"/>
                      </a:lnTo>
                      <a:lnTo>
                        <a:pt x="2758880" y="1271065"/>
                      </a:lnTo>
                      <a:lnTo>
                        <a:pt x="2757462" y="1273950"/>
                      </a:lnTo>
                      <a:lnTo>
                        <a:pt x="2756745" y="1277022"/>
                      </a:lnTo>
                      <a:lnTo>
                        <a:pt x="2754047" y="1282165"/>
                      </a:lnTo>
                      <a:lnTo>
                        <a:pt x="2752686" y="1289320"/>
                      </a:lnTo>
                      <a:lnTo>
                        <a:pt x="2749541" y="1292181"/>
                      </a:lnTo>
                      <a:lnTo>
                        <a:pt x="2746965" y="1299695"/>
                      </a:lnTo>
                      <a:lnTo>
                        <a:pt x="2738595" y="1311088"/>
                      </a:lnTo>
                      <a:lnTo>
                        <a:pt x="2736526" y="1314984"/>
                      </a:lnTo>
                      <a:lnTo>
                        <a:pt x="2730071" y="1321267"/>
                      </a:lnTo>
                      <a:lnTo>
                        <a:pt x="2723184" y="1329947"/>
                      </a:lnTo>
                      <a:lnTo>
                        <a:pt x="2714660" y="1337762"/>
                      </a:lnTo>
                      <a:lnTo>
                        <a:pt x="2712997" y="1340957"/>
                      </a:lnTo>
                      <a:lnTo>
                        <a:pt x="2709705" y="1344535"/>
                      </a:lnTo>
                      <a:lnTo>
                        <a:pt x="2706135" y="1350003"/>
                      </a:lnTo>
                      <a:lnTo>
                        <a:pt x="2700952" y="1355447"/>
                      </a:lnTo>
                      <a:lnTo>
                        <a:pt x="2699893" y="1359106"/>
                      </a:lnTo>
                      <a:lnTo>
                        <a:pt x="2698255" y="1361657"/>
                      </a:lnTo>
                      <a:lnTo>
                        <a:pt x="2694400" y="1363377"/>
                      </a:lnTo>
                      <a:lnTo>
                        <a:pt x="2691604" y="1365700"/>
                      </a:lnTo>
                      <a:lnTo>
                        <a:pt x="2683145" y="1379717"/>
                      </a:lnTo>
                      <a:lnTo>
                        <a:pt x="2682053" y="1382243"/>
                      </a:lnTo>
                      <a:lnTo>
                        <a:pt x="2681906" y="1384468"/>
                      </a:lnTo>
                      <a:lnTo>
                        <a:pt x="2676364" y="1389692"/>
                      </a:lnTo>
                      <a:lnTo>
                        <a:pt x="2673170" y="1395210"/>
                      </a:lnTo>
                      <a:lnTo>
                        <a:pt x="2667856" y="1398649"/>
                      </a:lnTo>
                      <a:lnTo>
                        <a:pt x="2662282" y="1403368"/>
                      </a:lnTo>
                      <a:lnTo>
                        <a:pt x="2648997" y="1411966"/>
                      </a:lnTo>
                      <a:lnTo>
                        <a:pt x="2645379" y="1415242"/>
                      </a:lnTo>
                      <a:lnTo>
                        <a:pt x="2637906" y="1419308"/>
                      </a:lnTo>
                      <a:lnTo>
                        <a:pt x="2634866" y="1419366"/>
                      </a:lnTo>
                      <a:lnTo>
                        <a:pt x="2628476" y="1421590"/>
                      </a:lnTo>
                      <a:lnTo>
                        <a:pt x="2624279" y="1423897"/>
                      </a:lnTo>
                      <a:lnTo>
                        <a:pt x="2621785" y="1423008"/>
                      </a:lnTo>
                      <a:lnTo>
                        <a:pt x="2620229" y="1420058"/>
                      </a:lnTo>
                      <a:lnTo>
                        <a:pt x="2618428" y="1420164"/>
                      </a:lnTo>
                      <a:lnTo>
                        <a:pt x="2616928" y="1420555"/>
                      </a:lnTo>
                      <a:lnTo>
                        <a:pt x="2613098" y="1417719"/>
                      </a:lnTo>
                      <a:lnTo>
                        <a:pt x="2609805" y="1417866"/>
                      </a:lnTo>
                      <a:lnTo>
                        <a:pt x="2607442" y="1416538"/>
                      </a:lnTo>
                      <a:lnTo>
                        <a:pt x="2603049" y="1417467"/>
                      </a:lnTo>
                      <a:lnTo>
                        <a:pt x="2603799" y="1405161"/>
                      </a:lnTo>
                      <a:lnTo>
                        <a:pt x="2603188" y="1402569"/>
                      </a:lnTo>
                      <a:lnTo>
                        <a:pt x="2601289" y="1404941"/>
                      </a:lnTo>
                      <a:lnTo>
                        <a:pt x="2596220" y="1409309"/>
                      </a:lnTo>
                      <a:lnTo>
                        <a:pt x="2594207" y="1410124"/>
                      </a:lnTo>
                      <a:lnTo>
                        <a:pt x="2592202" y="1410132"/>
                      </a:lnTo>
                      <a:lnTo>
                        <a:pt x="2592992" y="1407516"/>
                      </a:lnTo>
                      <a:lnTo>
                        <a:pt x="2595837" y="1403734"/>
                      </a:lnTo>
                      <a:lnTo>
                        <a:pt x="2594924" y="1403180"/>
                      </a:lnTo>
                      <a:lnTo>
                        <a:pt x="2594003" y="1402976"/>
                      </a:lnTo>
                      <a:lnTo>
                        <a:pt x="2590417" y="1404590"/>
                      </a:lnTo>
                      <a:lnTo>
                        <a:pt x="2588624" y="1406416"/>
                      </a:lnTo>
                      <a:lnTo>
                        <a:pt x="2583523" y="1413547"/>
                      </a:lnTo>
                      <a:lnTo>
                        <a:pt x="2580458" y="1419561"/>
                      </a:lnTo>
                      <a:lnTo>
                        <a:pt x="2577964" y="1421297"/>
                      </a:lnTo>
                      <a:lnTo>
                        <a:pt x="2576799" y="1423881"/>
                      </a:lnTo>
                      <a:lnTo>
                        <a:pt x="2574639" y="1426342"/>
                      </a:lnTo>
                      <a:lnTo>
                        <a:pt x="2571330" y="1425682"/>
                      </a:lnTo>
                      <a:lnTo>
                        <a:pt x="2569358" y="1426073"/>
                      </a:lnTo>
                      <a:lnTo>
                        <a:pt x="2564656" y="1424712"/>
                      </a:lnTo>
                      <a:lnTo>
                        <a:pt x="2563506" y="1425290"/>
                      </a:lnTo>
                      <a:lnTo>
                        <a:pt x="2566595" y="1429895"/>
                      </a:lnTo>
                      <a:lnTo>
                        <a:pt x="2564004" y="1436692"/>
                      </a:lnTo>
                      <a:lnTo>
                        <a:pt x="2562944" y="1437491"/>
                      </a:lnTo>
                      <a:lnTo>
                        <a:pt x="2562227" y="1436619"/>
                      </a:lnTo>
                      <a:lnTo>
                        <a:pt x="2562072" y="1435086"/>
                      </a:lnTo>
                      <a:lnTo>
                        <a:pt x="2561233" y="1433595"/>
                      </a:lnTo>
                      <a:lnTo>
                        <a:pt x="2559652" y="1431566"/>
                      </a:lnTo>
                      <a:lnTo>
                        <a:pt x="2558975" y="1429471"/>
                      </a:lnTo>
                      <a:lnTo>
                        <a:pt x="2560401" y="1428363"/>
                      </a:lnTo>
                      <a:lnTo>
                        <a:pt x="2560206" y="1426439"/>
                      </a:lnTo>
                      <a:lnTo>
                        <a:pt x="2558821" y="1424679"/>
                      </a:lnTo>
                      <a:lnTo>
                        <a:pt x="2556791" y="1424288"/>
                      </a:lnTo>
                      <a:lnTo>
                        <a:pt x="2556319" y="1423791"/>
                      </a:lnTo>
                      <a:lnTo>
                        <a:pt x="2556449" y="1422862"/>
                      </a:lnTo>
                      <a:lnTo>
                        <a:pt x="2557133" y="1421876"/>
                      </a:lnTo>
                      <a:lnTo>
                        <a:pt x="2558136" y="1421061"/>
                      </a:lnTo>
                      <a:lnTo>
                        <a:pt x="2560222" y="1419944"/>
                      </a:lnTo>
                      <a:lnTo>
                        <a:pt x="2563824" y="1419105"/>
                      </a:lnTo>
                      <a:lnTo>
                        <a:pt x="2565837" y="1418371"/>
                      </a:lnTo>
                      <a:lnTo>
                        <a:pt x="2567443" y="1418151"/>
                      </a:lnTo>
                      <a:lnTo>
                        <a:pt x="2569301" y="1418551"/>
                      </a:lnTo>
                      <a:lnTo>
                        <a:pt x="2570849" y="1417467"/>
                      </a:lnTo>
                      <a:lnTo>
                        <a:pt x="2572414" y="1416807"/>
                      </a:lnTo>
                      <a:lnTo>
                        <a:pt x="2572781" y="1414940"/>
                      </a:lnTo>
                      <a:lnTo>
                        <a:pt x="2572838" y="1412104"/>
                      </a:lnTo>
                      <a:lnTo>
                        <a:pt x="2573416" y="1411265"/>
                      </a:lnTo>
                      <a:lnTo>
                        <a:pt x="2574077" y="1410050"/>
                      </a:lnTo>
                      <a:lnTo>
                        <a:pt x="2575063" y="1408502"/>
                      </a:lnTo>
                      <a:lnTo>
                        <a:pt x="2575968" y="1404509"/>
                      </a:lnTo>
                      <a:lnTo>
                        <a:pt x="2576644" y="1401738"/>
                      </a:lnTo>
                      <a:lnTo>
                        <a:pt x="2577100" y="1400336"/>
                      </a:lnTo>
                      <a:lnTo>
                        <a:pt x="2577198" y="1398429"/>
                      </a:lnTo>
                      <a:lnTo>
                        <a:pt x="2576766" y="1397182"/>
                      </a:lnTo>
                      <a:lnTo>
                        <a:pt x="2575894" y="1396432"/>
                      </a:lnTo>
                      <a:lnTo>
                        <a:pt x="2575234" y="1395919"/>
                      </a:lnTo>
                      <a:lnTo>
                        <a:pt x="2575169" y="1393775"/>
                      </a:lnTo>
                      <a:lnTo>
                        <a:pt x="2575258" y="1390858"/>
                      </a:lnTo>
                      <a:lnTo>
                        <a:pt x="2575030" y="1388991"/>
                      </a:lnTo>
                      <a:lnTo>
                        <a:pt x="2575992" y="1378617"/>
                      </a:lnTo>
                      <a:lnTo>
                        <a:pt x="2577043" y="1376229"/>
                      </a:lnTo>
                      <a:lnTo>
                        <a:pt x="2573824" y="1362358"/>
                      </a:lnTo>
                      <a:lnTo>
                        <a:pt x="2572862" y="1357933"/>
                      </a:lnTo>
                      <a:lnTo>
                        <a:pt x="2572211" y="1355692"/>
                      </a:lnTo>
                      <a:lnTo>
                        <a:pt x="2570801" y="1352424"/>
                      </a:lnTo>
                      <a:lnTo>
                        <a:pt x="2569912" y="1350785"/>
                      </a:lnTo>
                      <a:lnTo>
                        <a:pt x="2570254" y="1349229"/>
                      </a:lnTo>
                      <a:lnTo>
                        <a:pt x="2571526" y="1347664"/>
                      </a:lnTo>
                      <a:lnTo>
                        <a:pt x="2572748" y="1346923"/>
                      </a:lnTo>
                      <a:lnTo>
                        <a:pt x="2576359" y="1346572"/>
                      </a:lnTo>
                      <a:lnTo>
                        <a:pt x="2577361" y="1346010"/>
                      </a:lnTo>
                      <a:lnTo>
                        <a:pt x="2581795" y="1344331"/>
                      </a:lnTo>
                      <a:lnTo>
                        <a:pt x="2582797" y="1343312"/>
                      </a:lnTo>
                      <a:lnTo>
                        <a:pt x="2585063" y="1340843"/>
                      </a:lnTo>
                      <a:lnTo>
                        <a:pt x="2585935" y="1338977"/>
                      </a:lnTo>
                      <a:lnTo>
                        <a:pt x="2586929" y="1336564"/>
                      </a:lnTo>
                      <a:lnTo>
                        <a:pt x="2589105" y="1335252"/>
                      </a:lnTo>
                      <a:lnTo>
                        <a:pt x="2590417" y="1333052"/>
                      </a:lnTo>
                      <a:lnTo>
                        <a:pt x="2591843" y="1332294"/>
                      </a:lnTo>
                      <a:lnTo>
                        <a:pt x="2593261" y="1334160"/>
                      </a:lnTo>
                      <a:lnTo>
                        <a:pt x="2594956" y="1335211"/>
                      </a:lnTo>
                      <a:lnTo>
                        <a:pt x="2597190" y="1335839"/>
                      </a:lnTo>
                      <a:lnTo>
                        <a:pt x="2600001" y="1336638"/>
                      </a:lnTo>
                      <a:lnTo>
                        <a:pt x="2604516" y="1338162"/>
                      </a:lnTo>
                      <a:lnTo>
                        <a:pt x="2609121" y="1339466"/>
                      </a:lnTo>
                      <a:lnTo>
                        <a:pt x="2612030" y="1340484"/>
                      </a:lnTo>
                      <a:lnTo>
                        <a:pt x="2613448" y="1340949"/>
                      </a:lnTo>
                      <a:lnTo>
                        <a:pt x="2616317" y="1341625"/>
                      </a:lnTo>
                      <a:lnTo>
                        <a:pt x="2617556" y="1342155"/>
                      </a:lnTo>
                      <a:lnTo>
                        <a:pt x="2618721" y="1342717"/>
                      </a:lnTo>
                      <a:lnTo>
                        <a:pt x="2620604" y="1341161"/>
                      </a:lnTo>
                      <a:lnTo>
                        <a:pt x="2623130" y="1339189"/>
                      </a:lnTo>
                      <a:lnTo>
                        <a:pt x="2622714" y="1336035"/>
                      </a:lnTo>
                      <a:lnTo>
                        <a:pt x="2623122" y="1332489"/>
                      </a:lnTo>
                      <a:lnTo>
                        <a:pt x="2624931" y="1326385"/>
                      </a:lnTo>
                      <a:lnTo>
                        <a:pt x="2626936" y="1324609"/>
                      </a:lnTo>
                      <a:lnTo>
                        <a:pt x="2627995" y="1324332"/>
                      </a:lnTo>
                      <a:lnTo>
                        <a:pt x="2629120" y="1323655"/>
                      </a:lnTo>
                      <a:lnTo>
                        <a:pt x="2631141" y="1322514"/>
                      </a:lnTo>
                      <a:lnTo>
                        <a:pt x="2631866" y="1320876"/>
                      </a:lnTo>
                      <a:lnTo>
                        <a:pt x="2631451" y="1318977"/>
                      </a:lnTo>
                      <a:lnTo>
                        <a:pt x="2632111" y="1317127"/>
                      </a:lnTo>
                      <a:lnTo>
                        <a:pt x="2632331" y="1315261"/>
                      </a:lnTo>
                      <a:lnTo>
                        <a:pt x="2633040" y="1312849"/>
                      </a:lnTo>
                      <a:lnTo>
                        <a:pt x="2633985" y="1312180"/>
                      </a:lnTo>
                      <a:lnTo>
                        <a:pt x="2635396" y="1311382"/>
                      </a:lnTo>
                      <a:lnTo>
                        <a:pt x="2636373" y="1310151"/>
                      </a:lnTo>
                      <a:lnTo>
                        <a:pt x="2637319" y="1308252"/>
                      </a:lnTo>
                      <a:lnTo>
                        <a:pt x="2637946" y="1306109"/>
                      </a:lnTo>
                      <a:lnTo>
                        <a:pt x="2637686" y="1303623"/>
                      </a:lnTo>
                      <a:lnTo>
                        <a:pt x="2638924" y="1301993"/>
                      </a:lnTo>
                      <a:lnTo>
                        <a:pt x="2640978" y="1300640"/>
                      </a:lnTo>
                      <a:lnTo>
                        <a:pt x="2641670" y="1299801"/>
                      </a:lnTo>
                      <a:lnTo>
                        <a:pt x="2642013" y="1297641"/>
                      </a:lnTo>
                      <a:lnTo>
                        <a:pt x="2642144" y="1296679"/>
                      </a:lnTo>
                      <a:lnTo>
                        <a:pt x="2642706" y="1295579"/>
                      </a:lnTo>
                      <a:lnTo>
                        <a:pt x="2642306" y="1293330"/>
                      </a:lnTo>
                      <a:lnTo>
                        <a:pt x="2641809" y="1290901"/>
                      </a:lnTo>
                      <a:lnTo>
                        <a:pt x="2644059" y="1286810"/>
                      </a:lnTo>
                      <a:lnTo>
                        <a:pt x="2645680" y="1283306"/>
                      </a:lnTo>
                      <a:lnTo>
                        <a:pt x="2646080" y="1278147"/>
                      </a:lnTo>
                      <a:lnTo>
                        <a:pt x="2646259" y="1277299"/>
                      </a:lnTo>
                      <a:lnTo>
                        <a:pt x="2646886" y="1274854"/>
                      </a:lnTo>
                      <a:lnTo>
                        <a:pt x="2647253" y="1273877"/>
                      </a:lnTo>
                      <a:lnTo>
                        <a:pt x="2648509" y="1270641"/>
                      </a:lnTo>
                      <a:lnTo>
                        <a:pt x="2650138" y="1268538"/>
                      </a:lnTo>
                      <a:lnTo>
                        <a:pt x="2649812" y="1266183"/>
                      </a:lnTo>
                      <a:lnTo>
                        <a:pt x="2649152" y="1263877"/>
                      </a:lnTo>
                      <a:lnTo>
                        <a:pt x="2649275" y="1262328"/>
                      </a:lnTo>
                      <a:lnTo>
                        <a:pt x="2650709" y="1260535"/>
                      </a:lnTo>
                      <a:lnTo>
                        <a:pt x="2651565" y="1259631"/>
                      </a:lnTo>
                      <a:lnTo>
                        <a:pt x="2652331" y="1258359"/>
                      </a:lnTo>
                      <a:lnTo>
                        <a:pt x="2653545" y="1257781"/>
                      </a:lnTo>
                      <a:lnTo>
                        <a:pt x="2654604" y="1257471"/>
                      </a:lnTo>
                      <a:lnTo>
                        <a:pt x="2657106" y="1257145"/>
                      </a:lnTo>
                      <a:lnTo>
                        <a:pt x="2658557" y="1255800"/>
                      </a:lnTo>
                      <a:lnTo>
                        <a:pt x="2659901" y="1254415"/>
                      </a:lnTo>
                      <a:lnTo>
                        <a:pt x="2662379" y="1250805"/>
                      </a:lnTo>
                      <a:lnTo>
                        <a:pt x="2663169" y="1248669"/>
                      </a:lnTo>
                      <a:lnTo>
                        <a:pt x="2663781" y="1247569"/>
                      </a:lnTo>
                      <a:lnTo>
                        <a:pt x="2662444" y="1244489"/>
                      </a:lnTo>
                      <a:lnTo>
                        <a:pt x="2661246" y="1241872"/>
                      </a:lnTo>
                      <a:lnTo>
                        <a:pt x="2659780" y="1238254"/>
                      </a:lnTo>
                      <a:lnTo>
                        <a:pt x="2659152" y="1236559"/>
                      </a:lnTo>
                      <a:lnTo>
                        <a:pt x="2660138" y="1234391"/>
                      </a:lnTo>
                      <a:lnTo>
                        <a:pt x="2661165" y="1233054"/>
                      </a:lnTo>
                      <a:lnTo>
                        <a:pt x="2661719" y="1231865"/>
                      </a:lnTo>
                      <a:lnTo>
                        <a:pt x="2662005" y="1229811"/>
                      </a:lnTo>
                      <a:lnTo>
                        <a:pt x="2661621" y="1228246"/>
                      </a:lnTo>
                      <a:lnTo>
                        <a:pt x="2659095" y="1225809"/>
                      </a:lnTo>
                      <a:lnTo>
                        <a:pt x="2656430" y="1224603"/>
                      </a:lnTo>
                      <a:lnTo>
                        <a:pt x="2653423" y="1224114"/>
                      </a:lnTo>
                      <a:lnTo>
                        <a:pt x="2652396" y="1223951"/>
                      </a:lnTo>
                      <a:lnTo>
                        <a:pt x="2650220" y="1224432"/>
                      </a:lnTo>
                      <a:lnTo>
                        <a:pt x="2641206" y="1227529"/>
                      </a:lnTo>
                      <a:lnTo>
                        <a:pt x="2636976" y="1229909"/>
                      </a:lnTo>
                      <a:lnTo>
                        <a:pt x="2634539" y="1232590"/>
                      </a:lnTo>
                      <a:lnTo>
                        <a:pt x="2631924" y="1233886"/>
                      </a:lnTo>
                      <a:lnTo>
                        <a:pt x="2627784" y="1233723"/>
                      </a:lnTo>
                      <a:lnTo>
                        <a:pt x="2623888" y="1233576"/>
                      </a:lnTo>
                      <a:lnTo>
                        <a:pt x="2620807" y="1235059"/>
                      </a:lnTo>
                      <a:lnTo>
                        <a:pt x="2617262" y="1238124"/>
                      </a:lnTo>
                      <a:lnTo>
                        <a:pt x="2614679" y="1239517"/>
                      </a:lnTo>
                      <a:lnTo>
                        <a:pt x="2613049" y="1239256"/>
                      </a:lnTo>
                      <a:lnTo>
                        <a:pt x="2611305" y="1241310"/>
                      </a:lnTo>
                      <a:lnTo>
                        <a:pt x="2609447" y="1245662"/>
                      </a:lnTo>
                      <a:lnTo>
                        <a:pt x="2607328" y="1247585"/>
                      </a:lnTo>
                      <a:lnTo>
                        <a:pt x="2604940" y="1247064"/>
                      </a:lnTo>
                      <a:lnTo>
                        <a:pt x="2599235" y="1247471"/>
                      </a:lnTo>
                      <a:lnTo>
                        <a:pt x="2590181" y="1248816"/>
                      </a:lnTo>
                      <a:lnTo>
                        <a:pt x="2584516" y="1248751"/>
                      </a:lnTo>
                      <a:lnTo>
                        <a:pt x="2582235" y="1247308"/>
                      </a:lnTo>
                      <a:lnTo>
                        <a:pt x="2578632" y="1247121"/>
                      </a:lnTo>
                      <a:lnTo>
                        <a:pt x="2573734" y="1248205"/>
                      </a:lnTo>
                      <a:lnTo>
                        <a:pt x="2570776" y="1248425"/>
                      </a:lnTo>
                      <a:lnTo>
                        <a:pt x="2569757" y="1247781"/>
                      </a:lnTo>
                      <a:lnTo>
                        <a:pt x="2569040" y="1245972"/>
                      </a:lnTo>
                      <a:lnTo>
                        <a:pt x="2568616" y="1242997"/>
                      </a:lnTo>
                      <a:lnTo>
                        <a:pt x="2566962" y="1239892"/>
                      </a:lnTo>
                      <a:lnTo>
                        <a:pt x="2564069" y="1236673"/>
                      </a:lnTo>
                      <a:lnTo>
                        <a:pt x="2563572" y="1232786"/>
                      </a:lnTo>
                      <a:lnTo>
                        <a:pt x="2565430" y="1228222"/>
                      </a:lnTo>
                      <a:lnTo>
                        <a:pt x="2565862" y="1225100"/>
                      </a:lnTo>
                      <a:lnTo>
                        <a:pt x="2564843" y="1223413"/>
                      </a:lnTo>
                      <a:lnTo>
                        <a:pt x="2564428" y="1221906"/>
                      </a:lnTo>
                      <a:lnTo>
                        <a:pt x="2562251" y="1219999"/>
                      </a:lnTo>
                      <a:lnTo>
                        <a:pt x="2560728" y="1216706"/>
                      </a:lnTo>
                      <a:lnTo>
                        <a:pt x="2559603" y="1215704"/>
                      </a:lnTo>
                      <a:lnTo>
                        <a:pt x="2559937" y="1212900"/>
                      </a:lnTo>
                      <a:lnTo>
                        <a:pt x="2561217" y="1209543"/>
                      </a:lnTo>
                      <a:lnTo>
                        <a:pt x="2559619" y="1206372"/>
                      </a:lnTo>
                      <a:lnTo>
                        <a:pt x="2554721" y="1206177"/>
                      </a:lnTo>
                      <a:lnTo>
                        <a:pt x="2550768" y="1205272"/>
                      </a:lnTo>
                      <a:lnTo>
                        <a:pt x="2546832" y="1202354"/>
                      </a:lnTo>
                      <a:lnTo>
                        <a:pt x="2540761" y="1194156"/>
                      </a:lnTo>
                      <a:lnTo>
                        <a:pt x="2537761" y="1191271"/>
                      </a:lnTo>
                      <a:lnTo>
                        <a:pt x="2535773" y="1190977"/>
                      </a:lnTo>
                      <a:lnTo>
                        <a:pt x="2534347" y="1189641"/>
                      </a:lnTo>
                      <a:lnTo>
                        <a:pt x="2533459" y="1187269"/>
                      </a:lnTo>
                      <a:lnTo>
                        <a:pt x="2532032" y="1187245"/>
                      </a:lnTo>
                      <a:lnTo>
                        <a:pt x="2530647" y="1187245"/>
                      </a:lnTo>
                      <a:lnTo>
                        <a:pt x="2529791" y="1188231"/>
                      </a:lnTo>
                      <a:lnTo>
                        <a:pt x="2528797" y="1188541"/>
                      </a:lnTo>
                      <a:lnTo>
                        <a:pt x="2527265" y="1187644"/>
                      </a:lnTo>
                      <a:lnTo>
                        <a:pt x="2525700" y="1187538"/>
                      </a:lnTo>
                      <a:lnTo>
                        <a:pt x="2524086" y="1188239"/>
                      </a:lnTo>
                      <a:lnTo>
                        <a:pt x="2522725" y="1187783"/>
                      </a:lnTo>
                      <a:lnTo>
                        <a:pt x="2521609" y="1186169"/>
                      </a:lnTo>
                      <a:lnTo>
                        <a:pt x="2519571" y="1185085"/>
                      </a:lnTo>
                      <a:lnTo>
                        <a:pt x="2516621" y="1184556"/>
                      </a:lnTo>
                      <a:lnTo>
                        <a:pt x="2515407" y="1183431"/>
                      </a:lnTo>
                      <a:lnTo>
                        <a:pt x="2515920" y="1181719"/>
                      </a:lnTo>
                      <a:lnTo>
                        <a:pt x="2515375" y="1180448"/>
                      </a:lnTo>
                      <a:lnTo>
                        <a:pt x="2513769" y="1179600"/>
                      </a:lnTo>
                      <a:lnTo>
                        <a:pt x="2509360" y="1179812"/>
                      </a:lnTo>
                      <a:lnTo>
                        <a:pt x="2502180" y="1181084"/>
                      </a:lnTo>
                      <a:lnTo>
                        <a:pt x="2496296" y="1180741"/>
                      </a:lnTo>
                      <a:lnTo>
                        <a:pt x="2491691" y="1178802"/>
                      </a:lnTo>
                      <a:lnTo>
                        <a:pt x="2489140" y="1177009"/>
                      </a:lnTo>
                      <a:lnTo>
                        <a:pt x="2488619" y="1175363"/>
                      </a:lnTo>
                      <a:lnTo>
                        <a:pt x="2487290" y="1173782"/>
                      </a:lnTo>
                      <a:lnTo>
                        <a:pt x="2485163" y="1172266"/>
                      </a:lnTo>
                      <a:lnTo>
                        <a:pt x="2483965" y="1169658"/>
                      </a:lnTo>
                      <a:lnTo>
                        <a:pt x="2483704" y="1165958"/>
                      </a:lnTo>
                      <a:lnTo>
                        <a:pt x="2484202" y="1162437"/>
                      </a:lnTo>
                      <a:lnTo>
                        <a:pt x="2486141" y="1157425"/>
                      </a:lnTo>
                      <a:lnTo>
                        <a:pt x="2481308" y="1154157"/>
                      </a:lnTo>
                      <a:lnTo>
                        <a:pt x="2479866" y="1152274"/>
                      </a:lnTo>
                      <a:lnTo>
                        <a:pt x="2480208" y="1150685"/>
                      </a:lnTo>
                      <a:lnTo>
                        <a:pt x="2479947" y="1149422"/>
                      </a:lnTo>
                      <a:lnTo>
                        <a:pt x="2479084" y="1148485"/>
                      </a:lnTo>
                      <a:lnTo>
                        <a:pt x="2479140" y="1147002"/>
                      </a:lnTo>
                      <a:lnTo>
                        <a:pt x="2480110" y="1144956"/>
                      </a:lnTo>
                      <a:lnTo>
                        <a:pt x="2480102" y="1142348"/>
                      </a:lnTo>
                      <a:lnTo>
                        <a:pt x="2479108" y="1139178"/>
                      </a:lnTo>
                      <a:lnTo>
                        <a:pt x="2476419" y="1134712"/>
                      </a:lnTo>
                      <a:lnTo>
                        <a:pt x="2472009" y="1128974"/>
                      </a:lnTo>
                      <a:lnTo>
                        <a:pt x="2469638" y="1124769"/>
                      </a:lnTo>
                      <a:lnTo>
                        <a:pt x="2469304" y="1122112"/>
                      </a:lnTo>
                      <a:lnTo>
                        <a:pt x="2468717" y="1119985"/>
                      </a:lnTo>
                      <a:lnTo>
                        <a:pt x="2467886" y="1118836"/>
                      </a:lnTo>
                      <a:lnTo>
                        <a:pt x="2467372" y="1116864"/>
                      </a:lnTo>
                      <a:lnTo>
                        <a:pt x="2467723" y="1114680"/>
                      </a:lnTo>
                      <a:lnTo>
                        <a:pt x="2467209" y="1113270"/>
                      </a:lnTo>
                      <a:lnTo>
                        <a:pt x="2466582" y="1111958"/>
                      </a:lnTo>
                      <a:lnTo>
                        <a:pt x="2466672" y="1109831"/>
                      </a:lnTo>
                      <a:lnTo>
                        <a:pt x="2465906" y="1108372"/>
                      </a:lnTo>
                      <a:lnTo>
                        <a:pt x="2464292" y="1107589"/>
                      </a:lnTo>
                      <a:lnTo>
                        <a:pt x="2463770" y="1105976"/>
                      </a:lnTo>
                      <a:lnTo>
                        <a:pt x="2464080" y="1102537"/>
                      </a:lnTo>
                      <a:lnTo>
                        <a:pt x="2462906" y="1099643"/>
                      </a:lnTo>
                      <a:lnTo>
                        <a:pt x="2459361" y="1094297"/>
                      </a:lnTo>
                      <a:lnTo>
                        <a:pt x="2458310" y="1090385"/>
                      </a:lnTo>
                      <a:lnTo>
                        <a:pt x="2458000" y="1086856"/>
                      </a:lnTo>
                      <a:lnTo>
                        <a:pt x="2456492" y="1085129"/>
                      </a:lnTo>
                      <a:lnTo>
                        <a:pt x="2456403" y="1083588"/>
                      </a:lnTo>
                      <a:lnTo>
                        <a:pt x="2456215" y="1080915"/>
                      </a:lnTo>
                      <a:lnTo>
                        <a:pt x="2455278" y="1080174"/>
                      </a:lnTo>
                      <a:lnTo>
                        <a:pt x="2454740" y="1079236"/>
                      </a:lnTo>
                      <a:lnTo>
                        <a:pt x="2455180" y="1078112"/>
                      </a:lnTo>
                      <a:lnTo>
                        <a:pt x="2454455" y="1076710"/>
                      </a:lnTo>
                      <a:lnTo>
                        <a:pt x="2452589" y="1075031"/>
                      </a:lnTo>
                      <a:lnTo>
                        <a:pt x="2451733" y="1073581"/>
                      </a:lnTo>
                      <a:lnTo>
                        <a:pt x="2451521" y="1072269"/>
                      </a:lnTo>
                      <a:lnTo>
                        <a:pt x="2450576" y="1071242"/>
                      </a:lnTo>
                      <a:lnTo>
                        <a:pt x="2447829" y="1070247"/>
                      </a:lnTo>
                      <a:lnTo>
                        <a:pt x="2447104" y="1068870"/>
                      </a:lnTo>
                      <a:lnTo>
                        <a:pt x="2447275" y="1067656"/>
                      </a:lnTo>
                      <a:lnTo>
                        <a:pt x="2447862" y="1066515"/>
                      </a:lnTo>
                      <a:lnTo>
                        <a:pt x="2448188" y="1065822"/>
                      </a:lnTo>
                      <a:lnTo>
                        <a:pt x="2448090" y="1064934"/>
                      </a:lnTo>
                      <a:lnTo>
                        <a:pt x="2447894" y="1064053"/>
                      </a:lnTo>
                      <a:lnTo>
                        <a:pt x="2446803" y="1062994"/>
                      </a:lnTo>
                      <a:lnTo>
                        <a:pt x="2445246" y="1061772"/>
                      </a:lnTo>
                      <a:lnTo>
                        <a:pt x="2443518" y="1059123"/>
                      </a:lnTo>
                      <a:lnTo>
                        <a:pt x="2441318" y="1058406"/>
                      </a:lnTo>
                      <a:lnTo>
                        <a:pt x="2439957" y="1058406"/>
                      </a:lnTo>
                      <a:lnTo>
                        <a:pt x="2438783" y="1056914"/>
                      </a:lnTo>
                      <a:lnTo>
                        <a:pt x="2439142" y="1055961"/>
                      </a:lnTo>
                      <a:lnTo>
                        <a:pt x="2439052" y="1054184"/>
                      </a:lnTo>
                      <a:lnTo>
                        <a:pt x="2437992" y="1052742"/>
                      </a:lnTo>
                      <a:lnTo>
                        <a:pt x="2436681" y="1052179"/>
                      </a:lnTo>
                      <a:lnTo>
                        <a:pt x="2435442" y="1052546"/>
                      </a:lnTo>
                      <a:lnTo>
                        <a:pt x="2432377" y="1051193"/>
                      </a:lnTo>
                      <a:lnTo>
                        <a:pt x="2427488" y="1048121"/>
                      </a:lnTo>
                      <a:lnTo>
                        <a:pt x="2423755" y="1046703"/>
                      </a:lnTo>
                      <a:lnTo>
                        <a:pt x="2421180" y="1046947"/>
                      </a:lnTo>
                      <a:lnTo>
                        <a:pt x="2419582" y="1047860"/>
                      </a:lnTo>
                      <a:lnTo>
                        <a:pt x="2418971" y="1049474"/>
                      </a:lnTo>
                      <a:lnTo>
                        <a:pt x="2417235" y="1049319"/>
                      </a:lnTo>
                      <a:lnTo>
                        <a:pt x="2412957" y="1046442"/>
                      </a:lnTo>
                      <a:lnTo>
                        <a:pt x="2408646" y="1045733"/>
                      </a:lnTo>
                      <a:lnTo>
                        <a:pt x="2406257" y="1044185"/>
                      </a:lnTo>
                      <a:lnTo>
                        <a:pt x="2404318" y="1041568"/>
                      </a:lnTo>
                      <a:lnTo>
                        <a:pt x="2402549" y="1040468"/>
                      </a:lnTo>
                      <a:lnTo>
                        <a:pt x="2400928" y="1040900"/>
                      </a:lnTo>
                      <a:lnTo>
                        <a:pt x="2396959" y="1039132"/>
                      </a:lnTo>
                      <a:lnTo>
                        <a:pt x="2390667" y="1035179"/>
                      </a:lnTo>
                      <a:lnTo>
                        <a:pt x="2387358" y="1033851"/>
                      </a:lnTo>
                      <a:lnTo>
                        <a:pt x="2386177" y="1034592"/>
                      </a:lnTo>
                      <a:lnTo>
                        <a:pt x="2385557" y="1034600"/>
                      </a:lnTo>
                      <a:lnTo>
                        <a:pt x="2384433" y="1034486"/>
                      </a:lnTo>
                      <a:lnTo>
                        <a:pt x="2382811" y="1034446"/>
                      </a:lnTo>
                      <a:lnTo>
                        <a:pt x="2379966" y="1033500"/>
                      </a:lnTo>
                      <a:lnTo>
                        <a:pt x="2376112" y="1033924"/>
                      </a:lnTo>
                      <a:lnTo>
                        <a:pt x="2371247" y="1035676"/>
                      </a:lnTo>
                      <a:lnTo>
                        <a:pt x="2365949" y="1036776"/>
                      </a:lnTo>
                      <a:lnTo>
                        <a:pt x="2360285" y="1037208"/>
                      </a:lnTo>
                      <a:lnTo>
                        <a:pt x="2356919" y="1036996"/>
                      </a:lnTo>
                      <a:lnTo>
                        <a:pt x="2355868" y="1036157"/>
                      </a:lnTo>
                      <a:lnTo>
                        <a:pt x="2349690" y="1037412"/>
                      </a:lnTo>
                      <a:lnTo>
                        <a:pt x="2341149" y="1039963"/>
                      </a:lnTo>
                      <a:lnTo>
                        <a:pt x="2332739" y="1042457"/>
                      </a:lnTo>
                      <a:lnTo>
                        <a:pt x="2322323" y="1043671"/>
                      </a:lnTo>
                      <a:lnTo>
                        <a:pt x="2315347" y="1047901"/>
                      </a:lnTo>
                      <a:lnTo>
                        <a:pt x="2308330" y="1055513"/>
                      </a:lnTo>
                      <a:lnTo>
                        <a:pt x="2303294" y="1060313"/>
                      </a:lnTo>
                      <a:lnTo>
                        <a:pt x="2300229" y="1062277"/>
                      </a:lnTo>
                      <a:lnTo>
                        <a:pt x="2298983" y="1064844"/>
                      </a:lnTo>
                      <a:lnTo>
                        <a:pt x="2299561" y="1068022"/>
                      </a:lnTo>
                      <a:lnTo>
                        <a:pt x="2302169" y="1069163"/>
                      </a:lnTo>
                      <a:lnTo>
                        <a:pt x="2306815" y="1068243"/>
                      </a:lnTo>
                      <a:lnTo>
                        <a:pt x="2310808" y="1068691"/>
                      </a:lnTo>
                      <a:lnTo>
                        <a:pt x="2314158" y="1070492"/>
                      </a:lnTo>
                      <a:lnTo>
                        <a:pt x="2315225" y="1073214"/>
                      </a:lnTo>
                      <a:lnTo>
                        <a:pt x="2314019" y="1076849"/>
                      </a:lnTo>
                      <a:lnTo>
                        <a:pt x="2314377" y="1080418"/>
                      </a:lnTo>
                      <a:lnTo>
                        <a:pt x="2316350" y="1083923"/>
                      </a:lnTo>
                      <a:lnTo>
                        <a:pt x="2316488" y="1087965"/>
                      </a:lnTo>
                      <a:lnTo>
                        <a:pt x="2314793" y="1092545"/>
                      </a:lnTo>
                      <a:lnTo>
                        <a:pt x="2310539" y="1097158"/>
                      </a:lnTo>
                      <a:lnTo>
                        <a:pt x="2303759" y="1101795"/>
                      </a:lnTo>
                      <a:lnTo>
                        <a:pt x="2299545" y="1106318"/>
                      </a:lnTo>
                      <a:lnTo>
                        <a:pt x="2297067" y="1112911"/>
                      </a:lnTo>
                      <a:lnTo>
                        <a:pt x="2293254" y="1118624"/>
                      </a:lnTo>
                      <a:lnTo>
                        <a:pt x="2291852" y="1121851"/>
                      </a:lnTo>
                      <a:lnTo>
                        <a:pt x="2291583" y="1124492"/>
                      </a:lnTo>
                      <a:lnTo>
                        <a:pt x="2290075" y="1127336"/>
                      </a:lnTo>
                      <a:lnTo>
                        <a:pt x="2287304" y="1130409"/>
                      </a:lnTo>
                      <a:lnTo>
                        <a:pt x="2285796" y="1133481"/>
                      </a:lnTo>
                      <a:lnTo>
                        <a:pt x="2285528" y="1136562"/>
                      </a:lnTo>
                      <a:lnTo>
                        <a:pt x="2284134" y="1139357"/>
                      </a:lnTo>
                      <a:lnTo>
                        <a:pt x="2281607" y="1141883"/>
                      </a:lnTo>
                      <a:lnTo>
                        <a:pt x="2280043" y="1144557"/>
                      </a:lnTo>
                      <a:lnTo>
                        <a:pt x="2279431" y="1147360"/>
                      </a:lnTo>
                      <a:lnTo>
                        <a:pt x="2278462" y="1149259"/>
                      </a:lnTo>
                      <a:lnTo>
                        <a:pt x="2277141" y="1150229"/>
                      </a:lnTo>
                      <a:lnTo>
                        <a:pt x="2277842" y="1151182"/>
                      </a:lnTo>
                      <a:lnTo>
                        <a:pt x="2280564" y="1152128"/>
                      </a:lnTo>
                      <a:lnTo>
                        <a:pt x="2281673" y="1154866"/>
                      </a:lnTo>
                      <a:lnTo>
                        <a:pt x="2281167" y="1159405"/>
                      </a:lnTo>
                      <a:lnTo>
                        <a:pt x="2279529" y="1162633"/>
                      </a:lnTo>
                      <a:lnTo>
                        <a:pt x="2276734" y="1164564"/>
                      </a:lnTo>
                      <a:lnTo>
                        <a:pt x="2272569" y="1165819"/>
                      </a:lnTo>
                      <a:lnTo>
                        <a:pt x="2267035" y="1166398"/>
                      </a:lnTo>
                      <a:lnTo>
                        <a:pt x="2259473" y="1170717"/>
                      </a:lnTo>
                      <a:lnTo>
                        <a:pt x="2252904" y="1176235"/>
                      </a:lnTo>
                      <a:lnTo>
                        <a:pt x="2245138" y="1182754"/>
                      </a:lnTo>
                      <a:lnTo>
                        <a:pt x="2243638" y="1182746"/>
                      </a:lnTo>
                      <a:lnTo>
                        <a:pt x="2240794" y="1181931"/>
                      </a:lnTo>
                      <a:lnTo>
                        <a:pt x="2235309" y="1179266"/>
                      </a:lnTo>
                      <a:lnTo>
                        <a:pt x="2229571" y="1178704"/>
                      </a:lnTo>
                      <a:lnTo>
                        <a:pt x="2224013" y="1176226"/>
                      </a:lnTo>
                      <a:lnTo>
                        <a:pt x="2220729" y="1174597"/>
                      </a:lnTo>
                      <a:lnTo>
                        <a:pt x="2215619" y="1171467"/>
                      </a:lnTo>
                      <a:lnTo>
                        <a:pt x="2214339" y="1169527"/>
                      </a:lnTo>
                      <a:lnTo>
                        <a:pt x="2212343" y="1167954"/>
                      </a:lnTo>
                      <a:lnTo>
                        <a:pt x="2207379" y="1165852"/>
                      </a:lnTo>
                      <a:lnTo>
                        <a:pt x="2204046" y="1164711"/>
                      </a:lnTo>
                      <a:lnTo>
                        <a:pt x="2202009" y="1164662"/>
                      </a:lnTo>
                      <a:lnTo>
                        <a:pt x="2196842" y="1166797"/>
                      </a:lnTo>
                      <a:lnTo>
                        <a:pt x="2193598" y="1168476"/>
                      </a:lnTo>
                      <a:lnTo>
                        <a:pt x="2191675" y="1169405"/>
                      </a:lnTo>
                      <a:lnTo>
                        <a:pt x="2188456" y="1169201"/>
                      </a:lnTo>
                      <a:lnTo>
                        <a:pt x="2184519" y="1168818"/>
                      </a:lnTo>
                      <a:lnTo>
                        <a:pt x="2182922" y="1168264"/>
                      </a:lnTo>
                      <a:lnTo>
                        <a:pt x="2180689" y="1166911"/>
                      </a:lnTo>
                      <a:lnTo>
                        <a:pt x="2176305" y="1162885"/>
                      </a:lnTo>
                      <a:lnTo>
                        <a:pt x="2173949" y="1159992"/>
                      </a:lnTo>
                      <a:lnTo>
                        <a:pt x="2170893" y="1158370"/>
                      </a:lnTo>
                      <a:lnTo>
                        <a:pt x="2167503" y="1156520"/>
                      </a:lnTo>
                      <a:lnTo>
                        <a:pt x="2165816" y="1156080"/>
                      </a:lnTo>
                      <a:lnTo>
                        <a:pt x="2162817" y="1156243"/>
                      </a:lnTo>
                      <a:lnTo>
                        <a:pt x="2158653" y="1155730"/>
                      </a:lnTo>
                      <a:lnTo>
                        <a:pt x="2156436" y="1155037"/>
                      </a:lnTo>
                      <a:lnTo>
                        <a:pt x="2154569" y="1155665"/>
                      </a:lnTo>
                      <a:lnTo>
                        <a:pt x="2150820" y="1157572"/>
                      </a:lnTo>
                      <a:lnTo>
                        <a:pt x="2146126" y="1161370"/>
                      </a:lnTo>
                      <a:lnTo>
                        <a:pt x="2142434" y="1162812"/>
                      </a:lnTo>
                      <a:lnTo>
                        <a:pt x="2138515" y="1164792"/>
                      </a:lnTo>
                      <a:lnTo>
                        <a:pt x="2135320" y="1167180"/>
                      </a:lnTo>
                      <a:lnTo>
                        <a:pt x="2132182" y="1169625"/>
                      </a:lnTo>
                      <a:lnTo>
                        <a:pt x="2128335" y="1172437"/>
                      </a:lnTo>
                      <a:lnTo>
                        <a:pt x="2126551" y="1176243"/>
                      </a:lnTo>
                      <a:lnTo>
                        <a:pt x="2125638" y="1179014"/>
                      </a:lnTo>
                      <a:lnTo>
                        <a:pt x="2122158" y="1180725"/>
                      </a:lnTo>
                      <a:lnTo>
                        <a:pt x="2119460" y="1182379"/>
                      </a:lnTo>
                      <a:lnTo>
                        <a:pt x="2116754" y="1182974"/>
                      </a:lnTo>
                      <a:lnTo>
                        <a:pt x="2111751" y="1182062"/>
                      </a:lnTo>
                      <a:lnTo>
                        <a:pt x="2108784" y="1182705"/>
                      </a:lnTo>
                      <a:lnTo>
                        <a:pt x="2101441" y="1185982"/>
                      </a:lnTo>
                      <a:lnTo>
                        <a:pt x="2097847" y="1186283"/>
                      </a:lnTo>
                      <a:lnTo>
                        <a:pt x="2095337" y="1186740"/>
                      </a:lnTo>
                      <a:lnTo>
                        <a:pt x="2092909" y="1186943"/>
                      </a:lnTo>
                      <a:lnTo>
                        <a:pt x="2088923" y="1187726"/>
                      </a:lnTo>
                      <a:lnTo>
                        <a:pt x="2087358" y="1188280"/>
                      </a:lnTo>
                      <a:lnTo>
                        <a:pt x="2085313" y="1188948"/>
                      </a:lnTo>
                      <a:lnTo>
                        <a:pt x="2083015" y="1188467"/>
                      </a:lnTo>
                      <a:lnTo>
                        <a:pt x="2079722" y="1190334"/>
                      </a:lnTo>
                      <a:lnTo>
                        <a:pt x="2070399" y="1195338"/>
                      </a:lnTo>
                      <a:lnTo>
                        <a:pt x="2067465" y="1196177"/>
                      </a:lnTo>
                      <a:lnTo>
                        <a:pt x="2065509" y="1196373"/>
                      </a:lnTo>
                      <a:lnTo>
                        <a:pt x="2062999" y="1194580"/>
                      </a:lnTo>
                      <a:lnTo>
                        <a:pt x="2060481" y="1193390"/>
                      </a:lnTo>
                      <a:lnTo>
                        <a:pt x="2057840" y="1193536"/>
                      </a:lnTo>
                      <a:lnTo>
                        <a:pt x="2054825" y="1195183"/>
                      </a:lnTo>
                      <a:lnTo>
                        <a:pt x="2049731" y="1193911"/>
                      </a:lnTo>
                      <a:lnTo>
                        <a:pt x="2043668" y="1192689"/>
                      </a:lnTo>
                      <a:lnTo>
                        <a:pt x="2038166" y="1191581"/>
                      </a:lnTo>
                      <a:lnTo>
                        <a:pt x="2036309" y="1190619"/>
                      </a:lnTo>
                      <a:lnTo>
                        <a:pt x="2030921" y="1189225"/>
                      </a:lnTo>
                      <a:lnTo>
                        <a:pt x="2023073" y="1189209"/>
                      </a:lnTo>
                      <a:lnTo>
                        <a:pt x="2018436" y="1189201"/>
                      </a:lnTo>
                      <a:lnTo>
                        <a:pt x="2015486" y="1189665"/>
                      </a:lnTo>
                      <a:lnTo>
                        <a:pt x="2013212" y="1188989"/>
                      </a:lnTo>
                      <a:lnTo>
                        <a:pt x="2010352" y="1187000"/>
                      </a:lnTo>
                      <a:lnTo>
                        <a:pt x="2005552" y="1182331"/>
                      </a:lnTo>
                      <a:lnTo>
                        <a:pt x="2002683" y="1180961"/>
                      </a:lnTo>
                      <a:lnTo>
                        <a:pt x="2001102" y="1179820"/>
                      </a:lnTo>
                      <a:lnTo>
                        <a:pt x="2000490" y="1177905"/>
                      </a:lnTo>
                      <a:lnTo>
                        <a:pt x="1999406" y="1177661"/>
                      </a:lnTo>
                      <a:lnTo>
                        <a:pt x="1998689" y="1176300"/>
                      </a:lnTo>
                      <a:lnTo>
                        <a:pt x="1998746" y="1174491"/>
                      </a:lnTo>
                      <a:lnTo>
                        <a:pt x="1998632" y="1170546"/>
                      </a:lnTo>
                      <a:lnTo>
                        <a:pt x="1998966" y="1167791"/>
                      </a:lnTo>
                      <a:lnTo>
                        <a:pt x="1998192" y="1166952"/>
                      </a:lnTo>
                      <a:lnTo>
                        <a:pt x="1994973" y="1166504"/>
                      </a:lnTo>
                      <a:lnTo>
                        <a:pt x="1991102" y="1165664"/>
                      </a:lnTo>
                      <a:lnTo>
                        <a:pt x="1984068" y="1165534"/>
                      </a:lnTo>
                      <a:lnTo>
                        <a:pt x="1981241" y="1165436"/>
                      </a:lnTo>
                      <a:lnTo>
                        <a:pt x="1979000" y="1163847"/>
                      </a:lnTo>
                      <a:lnTo>
                        <a:pt x="1976457" y="1161899"/>
                      </a:lnTo>
                      <a:lnTo>
                        <a:pt x="1973996" y="1157881"/>
                      </a:lnTo>
                      <a:lnTo>
                        <a:pt x="1971828" y="1155991"/>
                      </a:lnTo>
                      <a:lnTo>
                        <a:pt x="1968299" y="1153644"/>
                      </a:lnTo>
                      <a:lnTo>
                        <a:pt x="1964909" y="1153049"/>
                      </a:lnTo>
                      <a:lnTo>
                        <a:pt x="1959799" y="1153456"/>
                      </a:lnTo>
                      <a:lnTo>
                        <a:pt x="1956058" y="1153937"/>
                      </a:lnTo>
                      <a:lnTo>
                        <a:pt x="1952692" y="1152918"/>
                      </a:lnTo>
                      <a:lnTo>
                        <a:pt x="1950565" y="1151614"/>
                      </a:lnTo>
                      <a:lnTo>
                        <a:pt x="1947558" y="1150245"/>
                      </a:lnTo>
                      <a:lnTo>
                        <a:pt x="1943027" y="1149927"/>
                      </a:lnTo>
                      <a:lnTo>
                        <a:pt x="1939278" y="1148933"/>
                      </a:lnTo>
                      <a:lnTo>
                        <a:pt x="1935366" y="1147751"/>
                      </a:lnTo>
                      <a:lnTo>
                        <a:pt x="1932465" y="1148232"/>
                      </a:lnTo>
                      <a:lnTo>
                        <a:pt x="1930468" y="1149365"/>
                      </a:lnTo>
                      <a:lnTo>
                        <a:pt x="1928202" y="1150816"/>
                      </a:lnTo>
                      <a:lnTo>
                        <a:pt x="1925276" y="1151068"/>
                      </a:lnTo>
                      <a:lnTo>
                        <a:pt x="1918056" y="1152576"/>
                      </a:lnTo>
                      <a:lnTo>
                        <a:pt x="1915839" y="1153472"/>
                      </a:lnTo>
                      <a:lnTo>
                        <a:pt x="1912620" y="1153872"/>
                      </a:lnTo>
                      <a:lnTo>
                        <a:pt x="1909833" y="1154996"/>
                      </a:lnTo>
                      <a:lnTo>
                        <a:pt x="1907502" y="1157221"/>
                      </a:lnTo>
                      <a:lnTo>
                        <a:pt x="1905505" y="1158867"/>
                      </a:lnTo>
                      <a:lnTo>
                        <a:pt x="1903011" y="1159422"/>
                      </a:lnTo>
                      <a:lnTo>
                        <a:pt x="1900029" y="1159316"/>
                      </a:lnTo>
                      <a:lnTo>
                        <a:pt x="1897478" y="1158778"/>
                      </a:lnTo>
                      <a:lnTo>
                        <a:pt x="1896157" y="1158623"/>
                      </a:lnTo>
                      <a:lnTo>
                        <a:pt x="1894185" y="1159438"/>
                      </a:lnTo>
                      <a:lnTo>
                        <a:pt x="1891936" y="1159992"/>
                      </a:lnTo>
                      <a:lnTo>
                        <a:pt x="1888546" y="1159031"/>
                      </a:lnTo>
                      <a:lnTo>
                        <a:pt x="1886688" y="1158224"/>
                      </a:lnTo>
                      <a:lnTo>
                        <a:pt x="1883795" y="1157743"/>
                      </a:lnTo>
                      <a:lnTo>
                        <a:pt x="1882042" y="1155404"/>
                      </a:lnTo>
                      <a:lnTo>
                        <a:pt x="1880249" y="1154442"/>
                      </a:lnTo>
                      <a:lnTo>
                        <a:pt x="1877234" y="1154084"/>
                      </a:lnTo>
                      <a:lnTo>
                        <a:pt x="1872776" y="1152886"/>
                      </a:lnTo>
                      <a:lnTo>
                        <a:pt x="1870437" y="1151671"/>
                      </a:lnTo>
                      <a:lnTo>
                        <a:pt x="1868391" y="1150913"/>
                      </a:lnTo>
                      <a:lnTo>
                        <a:pt x="1865001" y="1148199"/>
                      </a:lnTo>
                      <a:lnTo>
                        <a:pt x="1863086" y="1145844"/>
                      </a:lnTo>
                      <a:lnTo>
                        <a:pt x="1861537" y="1145461"/>
                      </a:lnTo>
                      <a:lnTo>
                        <a:pt x="1859794" y="1145168"/>
                      </a:lnTo>
                      <a:lnTo>
                        <a:pt x="1858595" y="1143668"/>
                      </a:lnTo>
                      <a:lnTo>
                        <a:pt x="1858530" y="1141859"/>
                      </a:lnTo>
                      <a:lnTo>
                        <a:pt x="1858970" y="1140726"/>
                      </a:lnTo>
                      <a:lnTo>
                        <a:pt x="1859296" y="1138787"/>
                      </a:lnTo>
                      <a:lnTo>
                        <a:pt x="1858302" y="1136945"/>
                      </a:lnTo>
                      <a:lnTo>
                        <a:pt x="1857275" y="1136122"/>
                      </a:lnTo>
                      <a:lnTo>
                        <a:pt x="1856778" y="1134712"/>
                      </a:lnTo>
                      <a:lnTo>
                        <a:pt x="1857055" y="1132071"/>
                      </a:lnTo>
                      <a:lnTo>
                        <a:pt x="1856656" y="1129390"/>
                      </a:lnTo>
                      <a:lnTo>
                        <a:pt x="1856265" y="1126586"/>
                      </a:lnTo>
                      <a:lnTo>
                        <a:pt x="1855221" y="1124492"/>
                      </a:lnTo>
                      <a:lnTo>
                        <a:pt x="1854969" y="1120499"/>
                      </a:lnTo>
                      <a:lnTo>
                        <a:pt x="1855409" y="1118852"/>
                      </a:lnTo>
                      <a:lnTo>
                        <a:pt x="1855303" y="1116905"/>
                      </a:lnTo>
                      <a:lnTo>
                        <a:pt x="1854211" y="1115438"/>
                      </a:lnTo>
                      <a:lnTo>
                        <a:pt x="1850927" y="1114386"/>
                      </a:lnTo>
                      <a:lnTo>
                        <a:pt x="1847015" y="1112944"/>
                      </a:lnTo>
                      <a:lnTo>
                        <a:pt x="1840805" y="1111249"/>
                      </a:lnTo>
                      <a:lnTo>
                        <a:pt x="1838164" y="1111086"/>
                      </a:lnTo>
                      <a:lnTo>
                        <a:pt x="1836094" y="1111787"/>
                      </a:lnTo>
                      <a:lnTo>
                        <a:pt x="1834195" y="1110972"/>
                      </a:lnTo>
                      <a:lnTo>
                        <a:pt x="1832174" y="1109545"/>
                      </a:lnTo>
                      <a:lnTo>
                        <a:pt x="1828751" y="1108078"/>
                      </a:lnTo>
                      <a:lnTo>
                        <a:pt x="1824261" y="1106188"/>
                      </a:lnTo>
                      <a:lnTo>
                        <a:pt x="1819469" y="1104069"/>
                      </a:lnTo>
                      <a:lnTo>
                        <a:pt x="1815141" y="1102154"/>
                      </a:lnTo>
                      <a:lnTo>
                        <a:pt x="1813462" y="1101689"/>
                      </a:lnTo>
                      <a:lnTo>
                        <a:pt x="1807553" y="1101542"/>
                      </a:lnTo>
                      <a:lnTo>
                        <a:pt x="1802697" y="1101282"/>
                      </a:lnTo>
                      <a:lnTo>
                        <a:pt x="1799893" y="1100597"/>
                      </a:lnTo>
                      <a:lnTo>
                        <a:pt x="1796576" y="1097932"/>
                      </a:lnTo>
                      <a:lnTo>
                        <a:pt x="1794873" y="1096302"/>
                      </a:lnTo>
                      <a:lnTo>
                        <a:pt x="1792232" y="1095528"/>
                      </a:lnTo>
                      <a:lnTo>
                        <a:pt x="1790244" y="1095259"/>
                      </a:lnTo>
                      <a:lnTo>
                        <a:pt x="1787130" y="1094379"/>
                      </a:lnTo>
                      <a:lnTo>
                        <a:pt x="1781410" y="1091591"/>
                      </a:lnTo>
                      <a:lnTo>
                        <a:pt x="1779306" y="1090255"/>
                      </a:lnTo>
                      <a:lnTo>
                        <a:pt x="1777880" y="1090239"/>
                      </a:lnTo>
                      <a:lnTo>
                        <a:pt x="1775998" y="1087769"/>
                      </a:lnTo>
                      <a:lnTo>
                        <a:pt x="1774384" y="1087199"/>
                      </a:lnTo>
                      <a:lnTo>
                        <a:pt x="1773284" y="1088951"/>
                      </a:lnTo>
                      <a:lnTo>
                        <a:pt x="1772143" y="1093116"/>
                      </a:lnTo>
                      <a:lnTo>
                        <a:pt x="1771084" y="1095063"/>
                      </a:lnTo>
                      <a:lnTo>
                        <a:pt x="1768117" y="1098910"/>
                      </a:lnTo>
                      <a:lnTo>
                        <a:pt x="1760986" y="1101999"/>
                      </a:lnTo>
                      <a:lnTo>
                        <a:pt x="1759755" y="1103604"/>
                      </a:lnTo>
                      <a:lnTo>
                        <a:pt x="1759112" y="1105071"/>
                      </a:lnTo>
                      <a:lnTo>
                        <a:pt x="1758117" y="1107141"/>
                      </a:lnTo>
                      <a:lnTo>
                        <a:pt x="1757686" y="1109831"/>
                      </a:lnTo>
                      <a:lnTo>
                        <a:pt x="1756822" y="1110564"/>
                      </a:lnTo>
                      <a:lnTo>
                        <a:pt x="1754792" y="1110646"/>
                      </a:lnTo>
                      <a:lnTo>
                        <a:pt x="1753171" y="1111884"/>
                      </a:lnTo>
                      <a:lnTo>
                        <a:pt x="1751964" y="1114574"/>
                      </a:lnTo>
                      <a:lnTo>
                        <a:pt x="1750913" y="1115625"/>
                      </a:lnTo>
                      <a:lnTo>
                        <a:pt x="1750326" y="1118127"/>
                      </a:lnTo>
                      <a:lnTo>
                        <a:pt x="1750424" y="1119227"/>
                      </a:lnTo>
                      <a:lnTo>
                        <a:pt x="1750204" y="1120433"/>
                      </a:lnTo>
                      <a:lnTo>
                        <a:pt x="1750016" y="1122373"/>
                      </a:lnTo>
                      <a:lnTo>
                        <a:pt x="1748158" y="1126546"/>
                      </a:lnTo>
                      <a:lnTo>
                        <a:pt x="1747906" y="1128999"/>
                      </a:lnTo>
                      <a:lnTo>
                        <a:pt x="1748664" y="1130531"/>
                      </a:lnTo>
                      <a:lnTo>
                        <a:pt x="1750245" y="1132593"/>
                      </a:lnTo>
                      <a:lnTo>
                        <a:pt x="1751060" y="1133775"/>
                      </a:lnTo>
                      <a:lnTo>
                        <a:pt x="1751345" y="1135144"/>
                      </a:lnTo>
                      <a:lnTo>
                        <a:pt x="1751288" y="1136928"/>
                      </a:lnTo>
                      <a:lnTo>
                        <a:pt x="1752266" y="1139382"/>
                      </a:lnTo>
                      <a:lnTo>
                        <a:pt x="1752983" y="1141492"/>
                      </a:lnTo>
                      <a:lnTo>
                        <a:pt x="1754197" y="1142984"/>
                      </a:lnTo>
                      <a:lnTo>
                        <a:pt x="1755836" y="1144280"/>
                      </a:lnTo>
                      <a:lnTo>
                        <a:pt x="1757702" y="1144695"/>
                      </a:lnTo>
                      <a:lnTo>
                        <a:pt x="1759160" y="1145567"/>
                      </a:lnTo>
                      <a:lnTo>
                        <a:pt x="1759487" y="1147262"/>
                      </a:lnTo>
                      <a:lnTo>
                        <a:pt x="1759120" y="1149609"/>
                      </a:lnTo>
                      <a:lnTo>
                        <a:pt x="1758452" y="1154018"/>
                      </a:lnTo>
                      <a:lnTo>
                        <a:pt x="1757197" y="1156740"/>
                      </a:lnTo>
                      <a:lnTo>
                        <a:pt x="1756455" y="1158460"/>
                      </a:lnTo>
                      <a:lnTo>
                        <a:pt x="1755265" y="1161166"/>
                      </a:lnTo>
                      <a:lnTo>
                        <a:pt x="1754801" y="1162209"/>
                      </a:lnTo>
                      <a:lnTo>
                        <a:pt x="1752339" y="1164523"/>
                      </a:lnTo>
                      <a:lnTo>
                        <a:pt x="1750661" y="1165167"/>
                      </a:lnTo>
                      <a:lnTo>
                        <a:pt x="1748607" y="1166993"/>
                      </a:lnTo>
                      <a:lnTo>
                        <a:pt x="1746911" y="1167066"/>
                      </a:lnTo>
                      <a:lnTo>
                        <a:pt x="1745306" y="1167066"/>
                      </a:lnTo>
                      <a:lnTo>
                        <a:pt x="1743578" y="1167466"/>
                      </a:lnTo>
                      <a:lnTo>
                        <a:pt x="1742054" y="1168272"/>
                      </a:lnTo>
                      <a:lnTo>
                        <a:pt x="1740840" y="1170766"/>
                      </a:lnTo>
                      <a:lnTo>
                        <a:pt x="1737808" y="1173309"/>
                      </a:lnTo>
                      <a:lnTo>
                        <a:pt x="1736358" y="1174466"/>
                      </a:lnTo>
                      <a:lnTo>
                        <a:pt x="1732609" y="1174849"/>
                      </a:lnTo>
                      <a:lnTo>
                        <a:pt x="1730832" y="1173724"/>
                      </a:lnTo>
                      <a:lnTo>
                        <a:pt x="1729854" y="1172152"/>
                      </a:lnTo>
                      <a:lnTo>
                        <a:pt x="1728648" y="1171247"/>
                      </a:lnTo>
                      <a:lnTo>
                        <a:pt x="1727083" y="1169324"/>
                      </a:lnTo>
                      <a:lnTo>
                        <a:pt x="1720287" y="1168272"/>
                      </a:lnTo>
                      <a:lnTo>
                        <a:pt x="1718501" y="1168769"/>
                      </a:lnTo>
                      <a:lnTo>
                        <a:pt x="1717475" y="1169478"/>
                      </a:lnTo>
                      <a:lnTo>
                        <a:pt x="1716106" y="1168965"/>
                      </a:lnTo>
                      <a:lnTo>
                        <a:pt x="1715177" y="1168012"/>
                      </a:lnTo>
                      <a:lnTo>
                        <a:pt x="1714199" y="1168272"/>
                      </a:lnTo>
                      <a:lnTo>
                        <a:pt x="1712088" y="1168835"/>
                      </a:lnTo>
                      <a:lnTo>
                        <a:pt x="1710442" y="1168655"/>
                      </a:lnTo>
                      <a:lnTo>
                        <a:pt x="1708323" y="1166716"/>
                      </a:lnTo>
                      <a:lnTo>
                        <a:pt x="1705405" y="1165689"/>
                      </a:lnTo>
                      <a:lnTo>
                        <a:pt x="1704256" y="1165094"/>
                      </a:lnTo>
                      <a:lnTo>
                        <a:pt x="1703099" y="1165094"/>
                      </a:lnTo>
                      <a:lnTo>
                        <a:pt x="1702373" y="1166015"/>
                      </a:lnTo>
                      <a:lnTo>
                        <a:pt x="1701045" y="1166504"/>
                      </a:lnTo>
                      <a:lnTo>
                        <a:pt x="1700132" y="1165395"/>
                      </a:lnTo>
                      <a:lnTo>
                        <a:pt x="1698959" y="1164572"/>
                      </a:lnTo>
                      <a:lnTo>
                        <a:pt x="1697410" y="1164597"/>
                      </a:lnTo>
                      <a:lnTo>
                        <a:pt x="1695381" y="1166292"/>
                      </a:lnTo>
                      <a:lnTo>
                        <a:pt x="1691901" y="1167099"/>
                      </a:lnTo>
                      <a:lnTo>
                        <a:pt x="1690793" y="1168280"/>
                      </a:lnTo>
                      <a:lnTo>
                        <a:pt x="1688787" y="1168126"/>
                      </a:lnTo>
                      <a:lnTo>
                        <a:pt x="1687394" y="1167197"/>
                      </a:lnTo>
                      <a:lnTo>
                        <a:pt x="1686000" y="1167082"/>
                      </a:lnTo>
                      <a:lnTo>
                        <a:pt x="1681950" y="1167099"/>
                      </a:lnTo>
                      <a:lnTo>
                        <a:pt x="1680597" y="1167400"/>
                      </a:lnTo>
                      <a:lnTo>
                        <a:pt x="1678935" y="1166455"/>
                      </a:lnTo>
                      <a:lnTo>
                        <a:pt x="1678144" y="1164752"/>
                      </a:lnTo>
                      <a:lnTo>
                        <a:pt x="1676107" y="1163456"/>
                      </a:lnTo>
                      <a:lnTo>
                        <a:pt x="1673156" y="1163293"/>
                      </a:lnTo>
                      <a:lnTo>
                        <a:pt x="1670842" y="1163472"/>
                      </a:lnTo>
                      <a:lnTo>
                        <a:pt x="1669782" y="1164026"/>
                      </a:lnTo>
                      <a:lnTo>
                        <a:pt x="1668275" y="1164181"/>
                      </a:lnTo>
                      <a:lnTo>
                        <a:pt x="1667036" y="1161842"/>
                      </a:lnTo>
                      <a:lnTo>
                        <a:pt x="1665349" y="1160204"/>
                      </a:lnTo>
                      <a:lnTo>
                        <a:pt x="1664395" y="1159006"/>
                      </a:lnTo>
                      <a:lnTo>
                        <a:pt x="1662953" y="1158493"/>
                      </a:lnTo>
                      <a:lnTo>
                        <a:pt x="1661820" y="1156961"/>
                      </a:lnTo>
                      <a:lnTo>
                        <a:pt x="1661633" y="1153978"/>
                      </a:lnTo>
                      <a:lnTo>
                        <a:pt x="1660948" y="1150261"/>
                      </a:lnTo>
                      <a:lnTo>
                        <a:pt x="1660141" y="1146374"/>
                      </a:lnTo>
                      <a:lnTo>
                        <a:pt x="1659261" y="1144720"/>
                      </a:lnTo>
                      <a:lnTo>
                        <a:pt x="1654901" y="1144125"/>
                      </a:lnTo>
                      <a:lnTo>
                        <a:pt x="1652774" y="1144263"/>
                      </a:lnTo>
                      <a:lnTo>
                        <a:pt x="1647949" y="1143953"/>
                      </a:lnTo>
                      <a:lnTo>
                        <a:pt x="1644649" y="1143725"/>
                      </a:lnTo>
                      <a:lnTo>
                        <a:pt x="1643736" y="1143652"/>
                      </a:lnTo>
                      <a:lnTo>
                        <a:pt x="1640647" y="1143228"/>
                      </a:lnTo>
                      <a:lnTo>
                        <a:pt x="1637819" y="1142813"/>
                      </a:lnTo>
                      <a:lnTo>
                        <a:pt x="1634934" y="1142560"/>
                      </a:lnTo>
                      <a:lnTo>
                        <a:pt x="1633744" y="1142886"/>
                      </a:lnTo>
                      <a:lnTo>
                        <a:pt x="1630778" y="1142984"/>
                      </a:lnTo>
                      <a:lnTo>
                        <a:pt x="1628471" y="1141126"/>
                      </a:lnTo>
                      <a:lnTo>
                        <a:pt x="1627493" y="1139007"/>
                      </a:lnTo>
                      <a:lnTo>
                        <a:pt x="1627322" y="1137817"/>
                      </a:lnTo>
                      <a:lnTo>
                        <a:pt x="1626768" y="1136586"/>
                      </a:lnTo>
                      <a:lnTo>
                        <a:pt x="1624665" y="1136195"/>
                      </a:lnTo>
                      <a:lnTo>
                        <a:pt x="1622750" y="1136578"/>
                      </a:lnTo>
                      <a:lnTo>
                        <a:pt x="1621740" y="1139064"/>
                      </a:lnTo>
                      <a:lnTo>
                        <a:pt x="1620322" y="1140074"/>
                      </a:lnTo>
                      <a:lnTo>
                        <a:pt x="1618961" y="1139887"/>
                      </a:lnTo>
                      <a:lnTo>
                        <a:pt x="1617779" y="1138534"/>
                      </a:lnTo>
                      <a:lnTo>
                        <a:pt x="1615489" y="1137075"/>
                      </a:lnTo>
                      <a:lnTo>
                        <a:pt x="1613997" y="1135673"/>
                      </a:lnTo>
                      <a:lnTo>
                        <a:pt x="1612221" y="1133440"/>
                      </a:lnTo>
                      <a:lnTo>
                        <a:pt x="1610754" y="1133962"/>
                      </a:lnTo>
                      <a:lnTo>
                        <a:pt x="1610346" y="1135347"/>
                      </a:lnTo>
                      <a:lnTo>
                        <a:pt x="1609996" y="1136700"/>
                      </a:lnTo>
                      <a:lnTo>
                        <a:pt x="1608195" y="1139439"/>
                      </a:lnTo>
                      <a:lnTo>
                        <a:pt x="1606003" y="1139756"/>
                      </a:lnTo>
                      <a:lnTo>
                        <a:pt x="1602343" y="1139544"/>
                      </a:lnTo>
                      <a:lnTo>
                        <a:pt x="1598570" y="1139699"/>
                      </a:lnTo>
                      <a:lnTo>
                        <a:pt x="1596141" y="1140726"/>
                      </a:lnTo>
                      <a:lnTo>
                        <a:pt x="1594349" y="1142576"/>
                      </a:lnTo>
                      <a:lnTo>
                        <a:pt x="1593420" y="1144027"/>
                      </a:lnTo>
                      <a:lnTo>
                        <a:pt x="1591561" y="1144516"/>
                      </a:lnTo>
                      <a:lnTo>
                        <a:pt x="1589687" y="1145975"/>
                      </a:lnTo>
                      <a:lnTo>
                        <a:pt x="1588921" y="1147963"/>
                      </a:lnTo>
                      <a:lnTo>
                        <a:pt x="1587071" y="1147882"/>
                      </a:lnTo>
                      <a:lnTo>
                        <a:pt x="1586077" y="1148126"/>
                      </a:lnTo>
                      <a:lnTo>
                        <a:pt x="1584422" y="1148534"/>
                      </a:lnTo>
                      <a:lnTo>
                        <a:pt x="1580184" y="1149618"/>
                      </a:lnTo>
                      <a:lnTo>
                        <a:pt x="1579157" y="1149878"/>
                      </a:lnTo>
                      <a:lnTo>
                        <a:pt x="1576574" y="1151761"/>
                      </a:lnTo>
                      <a:lnTo>
                        <a:pt x="1574602" y="1153236"/>
                      </a:lnTo>
                      <a:lnTo>
                        <a:pt x="1572687" y="1153880"/>
                      </a:lnTo>
                      <a:lnTo>
                        <a:pt x="1571538" y="1155583"/>
                      </a:lnTo>
                      <a:lnTo>
                        <a:pt x="1570062" y="1156936"/>
                      </a:lnTo>
                      <a:lnTo>
                        <a:pt x="1566639" y="1157262"/>
                      </a:lnTo>
                      <a:lnTo>
                        <a:pt x="1562858" y="1158965"/>
                      </a:lnTo>
                      <a:lnTo>
                        <a:pt x="1561529" y="1159536"/>
                      </a:lnTo>
                      <a:lnTo>
                        <a:pt x="1559378" y="1160791"/>
                      </a:lnTo>
                      <a:lnTo>
                        <a:pt x="1556395" y="1161280"/>
                      </a:lnTo>
                      <a:lnTo>
                        <a:pt x="1555149" y="1161630"/>
                      </a:lnTo>
                      <a:lnTo>
                        <a:pt x="1553942" y="1162527"/>
                      </a:lnTo>
                      <a:lnTo>
                        <a:pt x="1553257" y="1165624"/>
                      </a:lnTo>
                      <a:lnTo>
                        <a:pt x="1550788" y="1166740"/>
                      </a:lnTo>
                      <a:lnTo>
                        <a:pt x="1547471" y="1166936"/>
                      </a:lnTo>
                      <a:lnTo>
                        <a:pt x="1544986" y="1168582"/>
                      </a:lnTo>
                      <a:lnTo>
                        <a:pt x="1544749" y="1171483"/>
                      </a:lnTo>
                      <a:lnTo>
                        <a:pt x="1545621" y="1174140"/>
                      </a:lnTo>
                      <a:lnTo>
                        <a:pt x="1545238" y="1175338"/>
                      </a:lnTo>
                      <a:lnTo>
                        <a:pt x="1543372" y="1175982"/>
                      </a:lnTo>
                      <a:lnTo>
                        <a:pt x="1540796" y="1177400"/>
                      </a:lnTo>
                      <a:lnTo>
                        <a:pt x="1538824" y="1179185"/>
                      </a:lnTo>
                      <a:lnTo>
                        <a:pt x="1536428" y="1179201"/>
                      </a:lnTo>
                      <a:lnTo>
                        <a:pt x="1535067" y="1178622"/>
                      </a:lnTo>
                      <a:lnTo>
                        <a:pt x="1534048" y="1179763"/>
                      </a:lnTo>
                      <a:lnTo>
                        <a:pt x="1533478" y="1182070"/>
                      </a:lnTo>
                      <a:lnTo>
                        <a:pt x="1531726" y="1183178"/>
                      </a:lnTo>
                      <a:lnTo>
                        <a:pt x="1529224" y="1184221"/>
                      </a:lnTo>
                      <a:lnTo>
                        <a:pt x="1528287" y="1183830"/>
                      </a:lnTo>
                      <a:lnTo>
                        <a:pt x="1527651" y="1182966"/>
                      </a:lnTo>
                      <a:lnTo>
                        <a:pt x="1526534" y="1181801"/>
                      </a:lnTo>
                      <a:lnTo>
                        <a:pt x="1525646" y="1182241"/>
                      </a:lnTo>
                      <a:lnTo>
                        <a:pt x="1525549" y="1183904"/>
                      </a:lnTo>
                      <a:lnTo>
                        <a:pt x="1524839" y="1185110"/>
                      </a:lnTo>
                      <a:lnTo>
                        <a:pt x="1522761" y="1185191"/>
                      </a:lnTo>
                      <a:lnTo>
                        <a:pt x="1521147" y="1184523"/>
                      </a:lnTo>
                      <a:lnTo>
                        <a:pt x="1519917" y="1183732"/>
                      </a:lnTo>
                      <a:lnTo>
                        <a:pt x="1517708" y="1183863"/>
                      </a:lnTo>
                      <a:lnTo>
                        <a:pt x="1515434" y="1184221"/>
                      </a:lnTo>
                      <a:lnTo>
                        <a:pt x="1513968" y="1183855"/>
                      </a:lnTo>
                      <a:lnTo>
                        <a:pt x="1512590" y="1184229"/>
                      </a:lnTo>
                      <a:lnTo>
                        <a:pt x="1508988" y="1184987"/>
                      </a:lnTo>
                      <a:lnTo>
                        <a:pt x="1507578" y="1187538"/>
                      </a:lnTo>
                      <a:lnTo>
                        <a:pt x="1507537" y="1190546"/>
                      </a:lnTo>
                      <a:lnTo>
                        <a:pt x="1507089" y="1192078"/>
                      </a:lnTo>
                      <a:lnTo>
                        <a:pt x="1504922" y="1193398"/>
                      </a:lnTo>
                      <a:lnTo>
                        <a:pt x="1503919" y="1194588"/>
                      </a:lnTo>
                      <a:lnTo>
                        <a:pt x="1502591" y="1195403"/>
                      </a:lnTo>
                      <a:lnTo>
                        <a:pt x="1499698" y="1195492"/>
                      </a:lnTo>
                      <a:lnTo>
                        <a:pt x="1499608" y="1195476"/>
                      </a:lnTo>
                      <a:lnTo>
                        <a:pt x="1498328" y="1195354"/>
                      </a:lnTo>
                      <a:lnTo>
                        <a:pt x="1495981" y="1196030"/>
                      </a:lnTo>
                      <a:lnTo>
                        <a:pt x="1493716" y="1196568"/>
                      </a:lnTo>
                      <a:lnTo>
                        <a:pt x="1492208" y="1196919"/>
                      </a:lnTo>
                      <a:lnTo>
                        <a:pt x="1491222" y="1198043"/>
                      </a:lnTo>
                      <a:lnTo>
                        <a:pt x="1489755" y="1198581"/>
                      </a:lnTo>
                      <a:lnTo>
                        <a:pt x="1487416" y="1198247"/>
                      </a:lnTo>
                      <a:lnTo>
                        <a:pt x="1486780" y="1196006"/>
                      </a:lnTo>
                      <a:lnTo>
                        <a:pt x="1485207" y="1193528"/>
                      </a:lnTo>
                      <a:lnTo>
                        <a:pt x="1483080" y="1192673"/>
                      </a:lnTo>
                      <a:lnTo>
                        <a:pt x="1481157" y="1192135"/>
                      </a:lnTo>
                      <a:lnTo>
                        <a:pt x="1479437" y="1190953"/>
                      </a:lnTo>
                      <a:lnTo>
                        <a:pt x="1478239" y="1189690"/>
                      </a:lnTo>
                      <a:lnTo>
                        <a:pt x="1474751" y="1183675"/>
                      </a:lnTo>
                      <a:lnTo>
                        <a:pt x="1472323" y="1181108"/>
                      </a:lnTo>
                      <a:lnTo>
                        <a:pt x="1470155" y="1180961"/>
                      </a:lnTo>
                      <a:lnTo>
                        <a:pt x="1469837" y="1179250"/>
                      </a:lnTo>
                      <a:lnTo>
                        <a:pt x="1471108" y="1177547"/>
                      </a:lnTo>
                      <a:lnTo>
                        <a:pt x="1472722" y="1176137"/>
                      </a:lnTo>
                      <a:lnTo>
                        <a:pt x="1472689" y="1174197"/>
                      </a:lnTo>
                      <a:lnTo>
                        <a:pt x="1471361" y="1173162"/>
                      </a:lnTo>
                      <a:lnTo>
                        <a:pt x="1469747" y="1173456"/>
                      </a:lnTo>
                      <a:lnTo>
                        <a:pt x="1467563" y="1175689"/>
                      </a:lnTo>
                      <a:lnTo>
                        <a:pt x="1464972" y="1178215"/>
                      </a:lnTo>
                      <a:lnTo>
                        <a:pt x="1461850" y="1180065"/>
                      </a:lnTo>
                      <a:lnTo>
                        <a:pt x="1460620" y="1181556"/>
                      </a:lnTo>
                      <a:lnTo>
                        <a:pt x="1459087" y="1183260"/>
                      </a:lnTo>
                      <a:lnTo>
                        <a:pt x="1456912" y="1183040"/>
                      </a:lnTo>
                      <a:lnTo>
                        <a:pt x="1455347" y="1183113"/>
                      </a:lnTo>
                      <a:lnTo>
                        <a:pt x="1453978" y="1183260"/>
                      </a:lnTo>
                      <a:lnTo>
                        <a:pt x="1452959" y="1181401"/>
                      </a:lnTo>
                      <a:lnTo>
                        <a:pt x="1451647" y="1181182"/>
                      </a:lnTo>
                      <a:lnTo>
                        <a:pt x="1442168" y="1179413"/>
                      </a:lnTo>
                      <a:lnTo>
                        <a:pt x="1439023" y="1178737"/>
                      </a:lnTo>
                      <a:lnTo>
                        <a:pt x="1437043" y="1179625"/>
                      </a:lnTo>
                      <a:lnTo>
                        <a:pt x="1435575" y="1179030"/>
                      </a:lnTo>
                      <a:lnTo>
                        <a:pt x="1435021" y="1177245"/>
                      </a:lnTo>
                      <a:lnTo>
                        <a:pt x="1433188" y="1174124"/>
                      </a:lnTo>
                      <a:lnTo>
                        <a:pt x="1431704" y="1171540"/>
                      </a:lnTo>
                      <a:lnTo>
                        <a:pt x="1429822" y="1168908"/>
                      </a:lnTo>
                      <a:lnTo>
                        <a:pt x="1429194" y="1166830"/>
                      </a:lnTo>
                      <a:lnTo>
                        <a:pt x="1429797" y="1164670"/>
                      </a:lnTo>
                      <a:lnTo>
                        <a:pt x="1429544" y="1162812"/>
                      </a:lnTo>
                      <a:lnTo>
                        <a:pt x="1427923" y="1161842"/>
                      </a:lnTo>
                      <a:lnTo>
                        <a:pt x="1425812" y="1161720"/>
                      </a:lnTo>
                      <a:lnTo>
                        <a:pt x="1420067" y="1157661"/>
                      </a:lnTo>
                      <a:lnTo>
                        <a:pt x="1417385" y="1157066"/>
                      </a:lnTo>
                      <a:lnTo>
                        <a:pt x="1414949" y="1156325"/>
                      </a:lnTo>
                      <a:lnTo>
                        <a:pt x="1413017" y="1156325"/>
                      </a:lnTo>
                      <a:lnTo>
                        <a:pt x="1411404" y="1154532"/>
                      </a:lnTo>
                      <a:lnTo>
                        <a:pt x="1409830" y="1149072"/>
                      </a:lnTo>
                      <a:lnTo>
                        <a:pt x="1409374" y="1146032"/>
                      </a:lnTo>
                      <a:lnTo>
                        <a:pt x="1407467" y="1142951"/>
                      </a:lnTo>
                      <a:lnTo>
                        <a:pt x="1405063" y="1140311"/>
                      </a:lnTo>
                      <a:lnTo>
                        <a:pt x="1403637" y="1136725"/>
                      </a:lnTo>
                      <a:lnTo>
                        <a:pt x="1401526" y="1135127"/>
                      </a:lnTo>
                      <a:lnTo>
                        <a:pt x="1398005" y="1132593"/>
                      </a:lnTo>
                      <a:lnTo>
                        <a:pt x="1394623" y="1130816"/>
                      </a:lnTo>
                      <a:lnTo>
                        <a:pt x="1389065" y="1128656"/>
                      </a:lnTo>
                      <a:lnTo>
                        <a:pt x="1386987" y="1128656"/>
                      </a:lnTo>
                      <a:lnTo>
                        <a:pt x="1384183" y="1128844"/>
                      </a:lnTo>
                      <a:lnTo>
                        <a:pt x="1382504" y="1129903"/>
                      </a:lnTo>
                      <a:lnTo>
                        <a:pt x="1380679" y="1132226"/>
                      </a:lnTo>
                      <a:lnTo>
                        <a:pt x="1378193" y="1132381"/>
                      </a:lnTo>
                      <a:lnTo>
                        <a:pt x="1374273" y="1132373"/>
                      </a:lnTo>
                      <a:lnTo>
                        <a:pt x="1373222" y="1133245"/>
                      </a:lnTo>
                      <a:lnTo>
                        <a:pt x="1372586" y="1134826"/>
                      </a:lnTo>
                      <a:lnTo>
                        <a:pt x="1370565" y="1136839"/>
                      </a:lnTo>
                      <a:lnTo>
                        <a:pt x="1367647" y="1138452"/>
                      </a:lnTo>
                      <a:lnTo>
                        <a:pt x="1363499" y="1137923"/>
                      </a:lnTo>
                      <a:lnTo>
                        <a:pt x="1360655" y="1138746"/>
                      </a:lnTo>
                      <a:lnTo>
                        <a:pt x="1357827" y="1139064"/>
                      </a:lnTo>
                      <a:lnTo>
                        <a:pt x="1353752" y="1137026"/>
                      </a:lnTo>
                      <a:lnTo>
                        <a:pt x="1349253" y="1137100"/>
                      </a:lnTo>
                      <a:lnTo>
                        <a:pt x="1346312" y="1138029"/>
                      </a:lnTo>
                      <a:lnTo>
                        <a:pt x="1342147" y="1138004"/>
                      </a:lnTo>
                      <a:lnTo>
                        <a:pt x="1341299" y="1136847"/>
                      </a:lnTo>
                      <a:lnTo>
                        <a:pt x="1341804" y="1134932"/>
                      </a:lnTo>
                      <a:lnTo>
                        <a:pt x="1341454" y="1133188"/>
                      </a:lnTo>
                      <a:lnTo>
                        <a:pt x="1340769" y="1131761"/>
                      </a:lnTo>
                      <a:lnTo>
                        <a:pt x="1340232" y="1130042"/>
                      </a:lnTo>
                      <a:lnTo>
                        <a:pt x="1338512" y="1129683"/>
                      </a:lnTo>
                      <a:lnTo>
                        <a:pt x="1333688" y="1130417"/>
                      </a:lnTo>
                      <a:lnTo>
                        <a:pt x="1332367" y="1129602"/>
                      </a:lnTo>
                      <a:lnTo>
                        <a:pt x="1332514" y="1127907"/>
                      </a:lnTo>
                      <a:lnTo>
                        <a:pt x="1333378" y="1125788"/>
                      </a:lnTo>
                      <a:lnTo>
                        <a:pt x="1334095" y="1123058"/>
                      </a:lnTo>
                      <a:lnTo>
                        <a:pt x="1333753" y="1121419"/>
                      </a:lnTo>
                      <a:lnTo>
                        <a:pt x="1331267" y="1121623"/>
                      </a:lnTo>
                      <a:lnTo>
                        <a:pt x="1329743" y="1121468"/>
                      </a:lnTo>
                      <a:lnTo>
                        <a:pt x="1328961" y="1119512"/>
                      </a:lnTo>
                      <a:lnTo>
                        <a:pt x="1327551" y="1118094"/>
                      </a:lnTo>
                      <a:lnTo>
                        <a:pt x="1325962" y="1118021"/>
                      </a:lnTo>
                      <a:lnTo>
                        <a:pt x="1324030" y="1117654"/>
                      </a:lnTo>
                      <a:lnTo>
                        <a:pt x="1321928" y="1118249"/>
                      </a:lnTo>
                      <a:lnTo>
                        <a:pt x="1320803" y="1120197"/>
                      </a:lnTo>
                      <a:lnTo>
                        <a:pt x="1319450" y="1120482"/>
                      </a:lnTo>
                      <a:lnTo>
                        <a:pt x="1317975" y="1121028"/>
                      </a:lnTo>
                      <a:lnTo>
                        <a:pt x="1316915" y="1121713"/>
                      </a:lnTo>
                      <a:lnTo>
                        <a:pt x="1316255" y="1123433"/>
                      </a:lnTo>
                      <a:lnTo>
                        <a:pt x="1316548" y="1125046"/>
                      </a:lnTo>
                      <a:lnTo>
                        <a:pt x="1317013" y="1128534"/>
                      </a:lnTo>
                      <a:lnTo>
                        <a:pt x="1316304" y="1130417"/>
                      </a:lnTo>
                      <a:lnTo>
                        <a:pt x="1314356" y="1131419"/>
                      </a:lnTo>
                      <a:lnTo>
                        <a:pt x="1312498" y="1131224"/>
                      </a:lnTo>
                      <a:lnTo>
                        <a:pt x="1311251" y="1131696"/>
                      </a:lnTo>
                      <a:lnTo>
                        <a:pt x="1308953" y="1133652"/>
                      </a:lnTo>
                      <a:lnTo>
                        <a:pt x="1307934" y="1134329"/>
                      </a:lnTo>
                      <a:lnTo>
                        <a:pt x="1307584" y="1135527"/>
                      </a:lnTo>
                      <a:lnTo>
                        <a:pt x="1307429" y="1137328"/>
                      </a:lnTo>
                      <a:lnTo>
                        <a:pt x="1305465" y="1136725"/>
                      </a:lnTo>
                      <a:lnTo>
                        <a:pt x="1302311" y="1130083"/>
                      </a:lnTo>
                      <a:lnTo>
                        <a:pt x="1298758" y="1122560"/>
                      </a:lnTo>
                      <a:lnTo>
                        <a:pt x="1294740" y="1114541"/>
                      </a:lnTo>
                      <a:lnTo>
                        <a:pt x="1292613" y="1110295"/>
                      </a:lnTo>
                      <a:lnTo>
                        <a:pt x="1284675" y="1096424"/>
                      </a:lnTo>
                      <a:lnTo>
                        <a:pt x="1280787" y="1089799"/>
                      </a:lnTo>
                      <a:lnTo>
                        <a:pt x="1274089" y="1078299"/>
                      </a:lnTo>
                      <a:lnTo>
                        <a:pt x="1267984" y="1067819"/>
                      </a:lnTo>
                      <a:lnTo>
                        <a:pt x="1261098" y="1056955"/>
                      </a:lnTo>
                      <a:lnTo>
                        <a:pt x="1257023" y="1050778"/>
                      </a:lnTo>
                      <a:lnTo>
                        <a:pt x="1252720" y="1044250"/>
                      </a:lnTo>
                      <a:lnTo>
                        <a:pt x="1251212" y="1042440"/>
                      </a:lnTo>
                      <a:lnTo>
                        <a:pt x="1248849" y="1040126"/>
                      </a:lnTo>
                      <a:lnTo>
                        <a:pt x="1243022" y="1035635"/>
                      </a:lnTo>
                      <a:lnTo>
                        <a:pt x="1234677" y="1029205"/>
                      </a:lnTo>
                      <a:lnTo>
                        <a:pt x="1226942" y="1023468"/>
                      </a:lnTo>
                      <a:lnTo>
                        <a:pt x="1220863" y="1018953"/>
                      </a:lnTo>
                      <a:lnTo>
                        <a:pt x="1219306" y="1017038"/>
                      </a:lnTo>
                      <a:lnTo>
                        <a:pt x="1218613" y="1015929"/>
                      </a:lnTo>
                      <a:lnTo>
                        <a:pt x="1217961" y="1014699"/>
                      </a:lnTo>
                      <a:lnTo>
                        <a:pt x="1217049" y="1012498"/>
                      </a:lnTo>
                      <a:lnTo>
                        <a:pt x="1217041" y="1011064"/>
                      </a:lnTo>
                      <a:lnTo>
                        <a:pt x="1222827" y="1011300"/>
                      </a:lnTo>
                      <a:lnTo>
                        <a:pt x="1224016" y="1009890"/>
                      </a:lnTo>
                      <a:lnTo>
                        <a:pt x="1226152" y="1004626"/>
                      </a:lnTo>
                      <a:lnTo>
                        <a:pt x="1227358" y="1000062"/>
                      </a:lnTo>
                      <a:lnTo>
                        <a:pt x="1225427" y="1000274"/>
                      </a:lnTo>
                      <a:lnTo>
                        <a:pt x="1221849" y="1002156"/>
                      </a:lnTo>
                      <a:lnTo>
                        <a:pt x="1219958" y="1003517"/>
                      </a:lnTo>
                      <a:lnTo>
                        <a:pt x="1218890" y="1004104"/>
                      </a:lnTo>
                      <a:lnTo>
                        <a:pt x="1213194" y="1005000"/>
                      </a:lnTo>
                      <a:lnTo>
                        <a:pt x="1210072" y="1007022"/>
                      </a:lnTo>
                      <a:lnTo>
                        <a:pt x="1203626" y="1010444"/>
                      </a:lnTo>
                      <a:lnTo>
                        <a:pt x="1198972" y="1012449"/>
                      </a:lnTo>
                      <a:lnTo>
                        <a:pt x="1198076" y="1012783"/>
                      </a:lnTo>
                      <a:lnTo>
                        <a:pt x="1192632" y="1013395"/>
                      </a:lnTo>
                      <a:lnTo>
                        <a:pt x="1191662" y="1014193"/>
                      </a:lnTo>
                      <a:lnTo>
                        <a:pt x="1191515" y="1015962"/>
                      </a:lnTo>
                      <a:lnTo>
                        <a:pt x="1191132" y="1017910"/>
                      </a:lnTo>
                      <a:lnTo>
                        <a:pt x="1187253" y="1020787"/>
                      </a:lnTo>
                      <a:lnTo>
                        <a:pt x="1183080" y="1023313"/>
                      </a:lnTo>
                      <a:lnTo>
                        <a:pt x="1181507" y="1023590"/>
                      </a:lnTo>
                      <a:lnTo>
                        <a:pt x="1178981" y="1023036"/>
                      </a:lnTo>
                      <a:lnTo>
                        <a:pt x="1177677" y="1023346"/>
                      </a:lnTo>
                      <a:lnTo>
                        <a:pt x="1173879" y="1026027"/>
                      </a:lnTo>
                      <a:lnTo>
                        <a:pt x="1168191" y="1030061"/>
                      </a:lnTo>
                      <a:lnTo>
                        <a:pt x="1167653" y="1031699"/>
                      </a:lnTo>
                      <a:lnTo>
                        <a:pt x="1167620" y="1033688"/>
                      </a:lnTo>
                      <a:lnTo>
                        <a:pt x="1166960" y="1035432"/>
                      </a:lnTo>
                      <a:lnTo>
                        <a:pt x="1165697" y="1036059"/>
                      </a:lnTo>
                      <a:lnTo>
                        <a:pt x="1163863" y="1034551"/>
                      </a:lnTo>
                      <a:lnTo>
                        <a:pt x="1162185" y="1032726"/>
                      </a:lnTo>
                      <a:lnTo>
                        <a:pt x="1158680" y="1031406"/>
                      </a:lnTo>
                      <a:lnTo>
                        <a:pt x="1153489" y="1031096"/>
                      </a:lnTo>
                      <a:lnTo>
                        <a:pt x="1150310" y="1031732"/>
                      </a:lnTo>
                      <a:lnTo>
                        <a:pt x="1148126" y="1032734"/>
                      </a:lnTo>
                      <a:lnTo>
                        <a:pt x="1143831" y="1036760"/>
                      </a:lnTo>
                      <a:lnTo>
                        <a:pt x="1142275" y="1037559"/>
                      </a:lnTo>
                      <a:lnTo>
                        <a:pt x="1141403" y="1037306"/>
                      </a:lnTo>
                      <a:lnTo>
                        <a:pt x="1141150" y="1035358"/>
                      </a:lnTo>
                      <a:lnTo>
                        <a:pt x="1140294" y="1033973"/>
                      </a:lnTo>
                      <a:lnTo>
                        <a:pt x="1139267" y="1031903"/>
                      </a:lnTo>
                      <a:lnTo>
                        <a:pt x="1139756" y="1027812"/>
                      </a:lnTo>
                      <a:lnTo>
                        <a:pt x="1142087" y="1023883"/>
                      </a:lnTo>
                      <a:lnTo>
                        <a:pt x="1145917" y="1021740"/>
                      </a:lnTo>
                      <a:lnTo>
                        <a:pt x="1149023" y="1019442"/>
                      </a:lnTo>
                      <a:lnTo>
                        <a:pt x="1149927" y="1016924"/>
                      </a:lnTo>
                      <a:lnTo>
                        <a:pt x="1149854" y="1015180"/>
                      </a:lnTo>
                      <a:lnTo>
                        <a:pt x="1148705" y="1014381"/>
                      </a:lnTo>
                      <a:lnTo>
                        <a:pt x="1147507" y="1014242"/>
                      </a:lnTo>
                      <a:lnTo>
                        <a:pt x="1146814" y="1015082"/>
                      </a:lnTo>
                      <a:lnTo>
                        <a:pt x="1144728" y="1016801"/>
                      </a:lnTo>
                      <a:lnTo>
                        <a:pt x="1141623" y="1018179"/>
                      </a:lnTo>
                      <a:lnTo>
                        <a:pt x="1139048" y="1018456"/>
                      </a:lnTo>
                      <a:lnTo>
                        <a:pt x="1137882" y="1018366"/>
                      </a:lnTo>
                      <a:lnTo>
                        <a:pt x="1135144" y="1017502"/>
                      </a:lnTo>
                      <a:lnTo>
                        <a:pt x="1130050" y="1012735"/>
                      </a:lnTo>
                      <a:lnTo>
                        <a:pt x="1125755" y="1012083"/>
                      </a:lnTo>
                      <a:lnTo>
                        <a:pt x="1122805" y="1011708"/>
                      </a:lnTo>
                      <a:lnTo>
                        <a:pt x="1121819" y="1012197"/>
                      </a:lnTo>
                      <a:lnTo>
                        <a:pt x="1121371" y="1013370"/>
                      </a:lnTo>
                      <a:lnTo>
                        <a:pt x="1121648" y="1014650"/>
                      </a:lnTo>
                      <a:lnTo>
                        <a:pt x="1122234" y="1015913"/>
                      </a:lnTo>
                      <a:lnTo>
                        <a:pt x="1121908" y="1016932"/>
                      </a:lnTo>
                      <a:lnTo>
                        <a:pt x="1120523" y="1017690"/>
                      </a:lnTo>
                      <a:lnTo>
                        <a:pt x="1118453" y="1018977"/>
                      </a:lnTo>
                      <a:lnTo>
                        <a:pt x="1117402" y="1018122"/>
                      </a:lnTo>
                      <a:lnTo>
                        <a:pt x="1116880" y="1014756"/>
                      </a:lnTo>
                      <a:lnTo>
                        <a:pt x="1116986" y="1012140"/>
                      </a:lnTo>
                      <a:lnTo>
                        <a:pt x="1115552" y="1009931"/>
                      </a:lnTo>
                      <a:lnTo>
                        <a:pt x="1114052" y="1006508"/>
                      </a:lnTo>
                      <a:lnTo>
                        <a:pt x="1111990" y="1004487"/>
                      </a:lnTo>
                      <a:lnTo>
                        <a:pt x="1109994" y="1005131"/>
                      </a:lnTo>
                      <a:lnTo>
                        <a:pt x="1109007" y="1008040"/>
                      </a:lnTo>
                      <a:lnTo>
                        <a:pt x="1107492" y="1009018"/>
                      </a:lnTo>
                      <a:lnTo>
                        <a:pt x="1104582" y="1008423"/>
                      </a:lnTo>
                      <a:lnTo>
                        <a:pt x="1099366" y="1010061"/>
                      </a:lnTo>
                      <a:lnTo>
                        <a:pt x="1090915" y="1010803"/>
                      </a:lnTo>
                      <a:lnTo>
                        <a:pt x="1084884" y="1008766"/>
                      </a:lnTo>
                      <a:lnTo>
                        <a:pt x="1083890" y="1006940"/>
                      </a:lnTo>
                      <a:lnTo>
                        <a:pt x="1086351" y="1003036"/>
                      </a:lnTo>
                      <a:lnTo>
                        <a:pt x="1086539" y="999573"/>
                      </a:lnTo>
                      <a:lnTo>
                        <a:pt x="1086522" y="996411"/>
                      </a:lnTo>
                      <a:lnTo>
                        <a:pt x="1087174" y="994121"/>
                      </a:lnTo>
                      <a:lnTo>
                        <a:pt x="1085707" y="989728"/>
                      </a:lnTo>
                      <a:lnTo>
                        <a:pt x="1082366" y="980779"/>
                      </a:lnTo>
                      <a:lnTo>
                        <a:pt x="1080337" y="974023"/>
                      </a:lnTo>
                      <a:lnTo>
                        <a:pt x="1077370" y="968946"/>
                      </a:lnTo>
                      <a:lnTo>
                        <a:pt x="1076074" y="967267"/>
                      </a:lnTo>
                      <a:lnTo>
                        <a:pt x="1069840" y="968139"/>
                      </a:lnTo>
                      <a:lnTo>
                        <a:pt x="1068120" y="969248"/>
                      </a:lnTo>
                      <a:lnTo>
                        <a:pt x="1066987" y="970812"/>
                      </a:lnTo>
                      <a:lnTo>
                        <a:pt x="1065048" y="971913"/>
                      </a:lnTo>
                      <a:lnTo>
                        <a:pt x="1062293" y="972711"/>
                      </a:lnTo>
                      <a:lnTo>
                        <a:pt x="1059938" y="972165"/>
                      </a:lnTo>
                      <a:lnTo>
                        <a:pt x="1057322" y="971318"/>
                      </a:lnTo>
                      <a:lnTo>
                        <a:pt x="1054543" y="969541"/>
                      </a:lnTo>
                      <a:lnTo>
                        <a:pt x="1051332" y="967186"/>
                      </a:lnTo>
                      <a:lnTo>
                        <a:pt x="1045203" y="965295"/>
                      </a:lnTo>
                      <a:lnTo>
                        <a:pt x="1039091" y="964700"/>
                      </a:lnTo>
                      <a:lnTo>
                        <a:pt x="1032416" y="964048"/>
                      </a:lnTo>
                      <a:lnTo>
                        <a:pt x="1029067" y="965238"/>
                      </a:lnTo>
                      <a:lnTo>
                        <a:pt x="1025848" y="967145"/>
                      </a:lnTo>
                      <a:lnTo>
                        <a:pt x="1021186" y="971098"/>
                      </a:lnTo>
                      <a:lnTo>
                        <a:pt x="1019042" y="971497"/>
                      </a:lnTo>
                      <a:lnTo>
                        <a:pt x="1015653" y="971790"/>
                      </a:lnTo>
                      <a:lnTo>
                        <a:pt x="1013281" y="972768"/>
                      </a:lnTo>
                      <a:lnTo>
                        <a:pt x="1013761" y="974512"/>
                      </a:lnTo>
                      <a:lnTo>
                        <a:pt x="1014218" y="976900"/>
                      </a:lnTo>
                      <a:lnTo>
                        <a:pt x="1013362" y="978783"/>
                      </a:lnTo>
                      <a:lnTo>
                        <a:pt x="1012034" y="979777"/>
                      </a:lnTo>
                      <a:lnTo>
                        <a:pt x="1009996" y="980437"/>
                      </a:lnTo>
                      <a:lnTo>
                        <a:pt x="1006671" y="980657"/>
                      </a:lnTo>
                      <a:lnTo>
                        <a:pt x="1003941" y="981048"/>
                      </a:lnTo>
                      <a:lnTo>
                        <a:pt x="1000559" y="983746"/>
                      </a:lnTo>
                      <a:lnTo>
                        <a:pt x="995384" y="984431"/>
                      </a:lnTo>
                      <a:lnTo>
                        <a:pt x="989744" y="985400"/>
                      </a:lnTo>
                      <a:lnTo>
                        <a:pt x="985808" y="986949"/>
                      </a:lnTo>
                      <a:lnTo>
                        <a:pt x="977275" y="988856"/>
                      </a:lnTo>
                      <a:lnTo>
                        <a:pt x="972345" y="989712"/>
                      </a:lnTo>
                      <a:lnTo>
                        <a:pt x="964089" y="991529"/>
                      </a:lnTo>
                      <a:lnTo>
                        <a:pt x="957439" y="991831"/>
                      </a:lnTo>
                      <a:lnTo>
                        <a:pt x="956436" y="990551"/>
                      </a:lnTo>
                      <a:lnTo>
                        <a:pt x="951310" y="993387"/>
                      </a:lnTo>
                      <a:lnTo>
                        <a:pt x="945581" y="993208"/>
                      </a:lnTo>
                      <a:lnTo>
                        <a:pt x="944529" y="994341"/>
                      </a:lnTo>
                      <a:lnTo>
                        <a:pt x="943144" y="995441"/>
                      </a:lnTo>
                      <a:lnTo>
                        <a:pt x="941596" y="995930"/>
                      </a:lnTo>
                      <a:lnTo>
                        <a:pt x="939648" y="997266"/>
                      </a:lnTo>
                      <a:lnTo>
                        <a:pt x="938531" y="1000111"/>
                      </a:lnTo>
                      <a:lnTo>
                        <a:pt x="937684" y="1003012"/>
                      </a:lnTo>
                      <a:lnTo>
                        <a:pt x="935956" y="1003933"/>
                      </a:lnTo>
                      <a:lnTo>
                        <a:pt x="933641" y="1002849"/>
                      </a:lnTo>
                      <a:lnTo>
                        <a:pt x="931938" y="1001798"/>
                      </a:lnTo>
                      <a:lnTo>
                        <a:pt x="929029" y="1002857"/>
                      </a:lnTo>
                      <a:lnTo>
                        <a:pt x="925084" y="1003477"/>
                      </a:lnTo>
                      <a:lnTo>
                        <a:pt x="921979" y="1003093"/>
                      </a:lnTo>
                      <a:lnTo>
                        <a:pt x="920390" y="1002270"/>
                      </a:lnTo>
                      <a:lnTo>
                        <a:pt x="913903" y="1003656"/>
                      </a:lnTo>
                      <a:lnTo>
                        <a:pt x="910521" y="1005335"/>
                      </a:lnTo>
                      <a:lnTo>
                        <a:pt x="909885" y="1006215"/>
                      </a:lnTo>
                      <a:lnTo>
                        <a:pt x="909054" y="1006704"/>
                      </a:lnTo>
                      <a:lnTo>
                        <a:pt x="905158" y="1007853"/>
                      </a:lnTo>
                      <a:lnTo>
                        <a:pt x="902045" y="1007535"/>
                      </a:lnTo>
                      <a:lnTo>
                        <a:pt x="901548" y="1007600"/>
                      </a:lnTo>
                      <a:lnTo>
                        <a:pt x="898590" y="1008399"/>
                      </a:lnTo>
                      <a:lnTo>
                        <a:pt x="894417" y="1009866"/>
                      </a:lnTo>
                      <a:lnTo>
                        <a:pt x="891409" y="1010347"/>
                      </a:lnTo>
                      <a:lnTo>
                        <a:pt x="888899" y="1010330"/>
                      </a:lnTo>
                      <a:lnTo>
                        <a:pt x="887286" y="1011520"/>
                      </a:lnTo>
                      <a:lnTo>
                        <a:pt x="885990" y="1012808"/>
                      </a:lnTo>
                      <a:lnTo>
                        <a:pt x="875045" y="1014169"/>
                      </a:lnTo>
                      <a:lnTo>
                        <a:pt x="873936" y="1015098"/>
                      </a:lnTo>
                      <a:lnTo>
                        <a:pt x="871728" y="1016280"/>
                      </a:lnTo>
                      <a:lnTo>
                        <a:pt x="860343" y="1016679"/>
                      </a:lnTo>
                      <a:lnTo>
                        <a:pt x="859414" y="1017535"/>
                      </a:lnTo>
                      <a:lnTo>
                        <a:pt x="858990" y="1018496"/>
                      </a:lnTo>
                      <a:lnTo>
                        <a:pt x="857580" y="1018798"/>
                      </a:lnTo>
                      <a:lnTo>
                        <a:pt x="849398" y="1016964"/>
                      </a:lnTo>
                      <a:lnTo>
                        <a:pt x="842821" y="1014919"/>
                      </a:lnTo>
                      <a:lnTo>
                        <a:pt x="840278" y="1016043"/>
                      </a:lnTo>
                      <a:lnTo>
                        <a:pt x="838127" y="1018146"/>
                      </a:lnTo>
                      <a:lnTo>
                        <a:pt x="837352" y="1021210"/>
                      </a:lnTo>
                      <a:lnTo>
                        <a:pt x="837352" y="1023826"/>
                      </a:lnTo>
                      <a:lnTo>
                        <a:pt x="837352" y="1026068"/>
                      </a:lnTo>
                      <a:lnTo>
                        <a:pt x="836374" y="1027689"/>
                      </a:lnTo>
                      <a:lnTo>
                        <a:pt x="834190" y="1029678"/>
                      </a:lnTo>
                      <a:lnTo>
                        <a:pt x="834043" y="1031023"/>
                      </a:lnTo>
                      <a:lnTo>
                        <a:pt x="836994" y="1032473"/>
                      </a:lnTo>
                      <a:lnTo>
                        <a:pt x="840694" y="1033679"/>
                      </a:lnTo>
                      <a:lnTo>
                        <a:pt x="842894" y="1033142"/>
                      </a:lnTo>
                      <a:lnTo>
                        <a:pt x="844712" y="1032318"/>
                      </a:lnTo>
                      <a:lnTo>
                        <a:pt x="846309" y="1032579"/>
                      </a:lnTo>
                      <a:lnTo>
                        <a:pt x="847425" y="1033549"/>
                      </a:lnTo>
                      <a:lnTo>
                        <a:pt x="847816" y="1034723"/>
                      </a:lnTo>
                      <a:lnTo>
                        <a:pt x="847613" y="1035538"/>
                      </a:lnTo>
                      <a:lnTo>
                        <a:pt x="846912" y="1036165"/>
                      </a:lnTo>
                      <a:lnTo>
                        <a:pt x="844500" y="1037249"/>
                      </a:lnTo>
                      <a:lnTo>
                        <a:pt x="842283" y="1036882"/>
                      </a:lnTo>
                      <a:lnTo>
                        <a:pt x="840237" y="1037632"/>
                      </a:lnTo>
                      <a:lnTo>
                        <a:pt x="839162" y="1039115"/>
                      </a:lnTo>
                      <a:lnTo>
                        <a:pt x="838583" y="1041723"/>
                      </a:lnTo>
                      <a:lnTo>
                        <a:pt x="839488" y="1043581"/>
                      </a:lnTo>
                      <a:lnTo>
                        <a:pt x="842267" y="1044021"/>
                      </a:lnTo>
                      <a:lnTo>
                        <a:pt x="845380" y="1045366"/>
                      </a:lnTo>
                      <a:lnTo>
                        <a:pt x="848844" y="1045994"/>
                      </a:lnTo>
                      <a:lnTo>
                        <a:pt x="850913" y="1045782"/>
                      </a:lnTo>
                      <a:lnTo>
                        <a:pt x="853546" y="1047819"/>
                      </a:lnTo>
                      <a:lnTo>
                        <a:pt x="859715" y="1050297"/>
                      </a:lnTo>
                      <a:lnTo>
                        <a:pt x="861353" y="1052179"/>
                      </a:lnTo>
                      <a:lnTo>
                        <a:pt x="861402" y="1054127"/>
                      </a:lnTo>
                      <a:lnTo>
                        <a:pt x="860278" y="1055594"/>
                      </a:lnTo>
                      <a:lnTo>
                        <a:pt x="858713" y="1056425"/>
                      </a:lnTo>
                      <a:lnTo>
                        <a:pt x="856586" y="1055977"/>
                      </a:lnTo>
                      <a:lnTo>
                        <a:pt x="852389" y="1055472"/>
                      </a:lnTo>
                      <a:lnTo>
                        <a:pt x="847776" y="1055130"/>
                      </a:lnTo>
                      <a:lnTo>
                        <a:pt x="844492" y="1054478"/>
                      </a:lnTo>
                      <a:lnTo>
                        <a:pt x="839683" y="1054730"/>
                      </a:lnTo>
                      <a:lnTo>
                        <a:pt x="835731" y="1055350"/>
                      </a:lnTo>
                      <a:lnTo>
                        <a:pt x="834720" y="1056817"/>
                      </a:lnTo>
                      <a:lnTo>
                        <a:pt x="833180" y="1059555"/>
                      </a:lnTo>
                      <a:lnTo>
                        <a:pt x="831900" y="1061071"/>
                      </a:lnTo>
                      <a:lnTo>
                        <a:pt x="829651" y="1063858"/>
                      </a:lnTo>
                      <a:lnTo>
                        <a:pt x="828958" y="1066425"/>
                      </a:lnTo>
                      <a:lnTo>
                        <a:pt x="830115" y="1070378"/>
                      </a:lnTo>
                      <a:lnTo>
                        <a:pt x="834043" y="1076889"/>
                      </a:lnTo>
                      <a:lnTo>
                        <a:pt x="834418" y="1079041"/>
                      </a:lnTo>
                      <a:lnTo>
                        <a:pt x="833009" y="1081135"/>
                      </a:lnTo>
                      <a:lnTo>
                        <a:pt x="830295" y="1082888"/>
                      </a:lnTo>
                      <a:lnTo>
                        <a:pt x="826375" y="1085952"/>
                      </a:lnTo>
                      <a:lnTo>
                        <a:pt x="822137" y="1086115"/>
                      </a:lnTo>
                      <a:lnTo>
                        <a:pt x="820295" y="1086889"/>
                      </a:lnTo>
                      <a:lnTo>
                        <a:pt x="815544" y="1090638"/>
                      </a:lnTo>
                      <a:lnTo>
                        <a:pt x="811371" y="1092423"/>
                      </a:lnTo>
                      <a:lnTo>
                        <a:pt x="810499" y="1094020"/>
                      </a:lnTo>
                      <a:lnTo>
                        <a:pt x="811420" y="1095593"/>
                      </a:lnTo>
                      <a:lnTo>
                        <a:pt x="816701" y="1097671"/>
                      </a:lnTo>
                      <a:lnTo>
                        <a:pt x="819358" y="1099953"/>
                      </a:lnTo>
                      <a:lnTo>
                        <a:pt x="820124" y="1102512"/>
                      </a:lnTo>
                      <a:lnTo>
                        <a:pt x="821281" y="1104452"/>
                      </a:lnTo>
                      <a:lnTo>
                        <a:pt x="825380" y="1105723"/>
                      </a:lnTo>
                      <a:lnTo>
                        <a:pt x="833889" y="1108665"/>
                      </a:lnTo>
                      <a:lnTo>
                        <a:pt x="834386" y="1108975"/>
                      </a:lnTo>
                      <a:lnTo>
                        <a:pt x="834924" y="1110320"/>
                      </a:lnTo>
                      <a:lnTo>
                        <a:pt x="843563" y="1112186"/>
                      </a:lnTo>
                      <a:lnTo>
                        <a:pt x="844752" y="1113188"/>
                      </a:lnTo>
                      <a:lnTo>
                        <a:pt x="848314" y="1116505"/>
                      </a:lnTo>
                      <a:lnTo>
                        <a:pt x="849063" y="1120001"/>
                      </a:lnTo>
                      <a:lnTo>
                        <a:pt x="847254" y="1123416"/>
                      </a:lnTo>
                      <a:lnTo>
                        <a:pt x="846081" y="1128811"/>
                      </a:lnTo>
                      <a:lnTo>
                        <a:pt x="844215" y="1133554"/>
                      </a:lnTo>
                      <a:lnTo>
                        <a:pt x="840181" y="1136725"/>
                      </a:lnTo>
                      <a:lnTo>
                        <a:pt x="833123" y="1139626"/>
                      </a:lnTo>
                      <a:lnTo>
                        <a:pt x="825584" y="1140791"/>
                      </a:lnTo>
                      <a:lnTo>
                        <a:pt x="822365" y="1140588"/>
                      </a:lnTo>
                      <a:lnTo>
                        <a:pt x="820279" y="1140221"/>
                      </a:lnTo>
                      <a:lnTo>
                        <a:pt x="816888" y="1139308"/>
                      </a:lnTo>
                      <a:lnTo>
                        <a:pt x="814378" y="1136904"/>
                      </a:lnTo>
                      <a:lnTo>
                        <a:pt x="812528" y="1134541"/>
                      </a:lnTo>
                      <a:lnTo>
                        <a:pt x="811200" y="1133946"/>
                      </a:lnTo>
                      <a:lnTo>
                        <a:pt x="809872" y="1134337"/>
                      </a:lnTo>
                      <a:lnTo>
                        <a:pt x="808641" y="1135820"/>
                      </a:lnTo>
                      <a:lnTo>
                        <a:pt x="806970" y="1139822"/>
                      </a:lnTo>
                      <a:lnTo>
                        <a:pt x="805096" y="1143791"/>
                      </a:lnTo>
                      <a:lnTo>
                        <a:pt x="803580" y="1145184"/>
                      </a:lnTo>
                      <a:lnTo>
                        <a:pt x="797916" y="1147042"/>
                      </a:lnTo>
                      <a:lnTo>
                        <a:pt x="797296" y="1146382"/>
                      </a:lnTo>
                      <a:lnTo>
                        <a:pt x="797940" y="1143758"/>
                      </a:lnTo>
                      <a:lnTo>
                        <a:pt x="797231" y="1142967"/>
                      </a:lnTo>
                      <a:lnTo>
                        <a:pt x="796164" y="1142381"/>
                      </a:lnTo>
                      <a:lnTo>
                        <a:pt x="789195" y="1141370"/>
                      </a:lnTo>
                      <a:lnTo>
                        <a:pt x="786547" y="1140628"/>
                      </a:lnTo>
                      <a:lnTo>
                        <a:pt x="784559" y="1140335"/>
                      </a:lnTo>
                      <a:lnTo>
                        <a:pt x="782064" y="1139667"/>
                      </a:lnTo>
                      <a:lnTo>
                        <a:pt x="780337" y="1138102"/>
                      </a:lnTo>
                      <a:lnTo>
                        <a:pt x="776637" y="1133286"/>
                      </a:lnTo>
                      <a:lnTo>
                        <a:pt x="773719" y="1129520"/>
                      </a:lnTo>
                      <a:lnTo>
                        <a:pt x="769049" y="1126106"/>
                      </a:lnTo>
                      <a:lnTo>
                        <a:pt x="764820" y="1125445"/>
                      </a:lnTo>
                      <a:lnTo>
                        <a:pt x="764486" y="1125796"/>
                      </a:lnTo>
                      <a:lnTo>
                        <a:pt x="761258" y="1125918"/>
                      </a:lnTo>
                      <a:lnTo>
                        <a:pt x="756148" y="1125079"/>
                      </a:lnTo>
                      <a:lnTo>
                        <a:pt x="755904" y="1125176"/>
                      </a:lnTo>
                      <a:lnTo>
                        <a:pt x="754306" y="1126725"/>
                      </a:lnTo>
                      <a:lnTo>
                        <a:pt x="753125" y="1129154"/>
                      </a:lnTo>
                      <a:lnTo>
                        <a:pt x="751560" y="1131199"/>
                      </a:lnTo>
                      <a:lnTo>
                        <a:pt x="749181" y="1132291"/>
                      </a:lnTo>
                      <a:lnTo>
                        <a:pt x="746312" y="1132536"/>
                      </a:lnTo>
                      <a:lnTo>
                        <a:pt x="743093" y="1130417"/>
                      </a:lnTo>
                      <a:lnTo>
                        <a:pt x="739784" y="1127124"/>
                      </a:lnTo>
                      <a:lnTo>
                        <a:pt x="735636" y="1126057"/>
                      </a:lnTo>
                      <a:lnTo>
                        <a:pt x="731610" y="1126782"/>
                      </a:lnTo>
                      <a:lnTo>
                        <a:pt x="730151" y="1127287"/>
                      </a:lnTo>
                      <a:lnTo>
                        <a:pt x="725921" y="1129154"/>
                      </a:lnTo>
                      <a:lnTo>
                        <a:pt x="724601" y="1128290"/>
                      </a:lnTo>
                      <a:lnTo>
                        <a:pt x="722726" y="1127736"/>
                      </a:lnTo>
                      <a:lnTo>
                        <a:pt x="718611" y="1130792"/>
                      </a:lnTo>
                      <a:lnTo>
                        <a:pt x="714112" y="1134158"/>
                      </a:lnTo>
                      <a:lnTo>
                        <a:pt x="713134" y="1136668"/>
                      </a:lnTo>
                      <a:lnTo>
                        <a:pt x="711773" y="1138966"/>
                      </a:lnTo>
                      <a:lnTo>
                        <a:pt x="708790" y="1141150"/>
                      </a:lnTo>
                      <a:lnTo>
                        <a:pt x="705522" y="1143049"/>
                      </a:lnTo>
                      <a:lnTo>
                        <a:pt x="702760" y="1143750"/>
                      </a:lnTo>
                      <a:lnTo>
                        <a:pt x="699190" y="1143065"/>
                      </a:lnTo>
                      <a:lnTo>
                        <a:pt x="694700" y="1140734"/>
                      </a:lnTo>
                      <a:lnTo>
                        <a:pt x="690584" y="1137825"/>
                      </a:lnTo>
                      <a:lnTo>
                        <a:pt x="686102" y="1133237"/>
                      </a:lnTo>
                      <a:lnTo>
                        <a:pt x="682467" y="1130604"/>
                      </a:lnTo>
                      <a:lnTo>
                        <a:pt x="678962" y="1128518"/>
                      </a:lnTo>
                      <a:lnTo>
                        <a:pt x="676852" y="1128029"/>
                      </a:lnTo>
                      <a:lnTo>
                        <a:pt x="675148" y="1128811"/>
                      </a:lnTo>
                      <a:lnTo>
                        <a:pt x="674488" y="1130433"/>
                      </a:lnTo>
                      <a:lnTo>
                        <a:pt x="674961" y="1131704"/>
                      </a:lnTo>
                      <a:lnTo>
                        <a:pt x="675971" y="1132870"/>
                      </a:lnTo>
                      <a:lnTo>
                        <a:pt x="676754" y="1136488"/>
                      </a:lnTo>
                      <a:lnTo>
                        <a:pt x="677055" y="1140922"/>
                      </a:lnTo>
                      <a:lnTo>
                        <a:pt x="676713" y="1143432"/>
                      </a:lnTo>
                      <a:lnTo>
                        <a:pt x="675727" y="1144932"/>
                      </a:lnTo>
                      <a:lnTo>
                        <a:pt x="674708" y="1145486"/>
                      </a:lnTo>
                      <a:lnTo>
                        <a:pt x="673771" y="1145282"/>
                      </a:lnTo>
                      <a:lnTo>
                        <a:pt x="672622" y="1143717"/>
                      </a:lnTo>
                      <a:lnTo>
                        <a:pt x="671929" y="1140417"/>
                      </a:lnTo>
                      <a:lnTo>
                        <a:pt x="671391" y="1136513"/>
                      </a:lnTo>
                      <a:lnTo>
                        <a:pt x="668319" y="1131607"/>
                      </a:lnTo>
                      <a:lnTo>
                        <a:pt x="665678" y="1128608"/>
                      </a:lnTo>
                      <a:lnTo>
                        <a:pt x="664399" y="1126953"/>
                      </a:lnTo>
                      <a:lnTo>
                        <a:pt x="661970" y="1124215"/>
                      </a:lnTo>
                      <a:lnTo>
                        <a:pt x="659868" y="1122528"/>
                      </a:lnTo>
                      <a:lnTo>
                        <a:pt x="655393" y="1120588"/>
                      </a:lnTo>
                      <a:lnTo>
                        <a:pt x="653193" y="1119186"/>
                      </a:lnTo>
                      <a:lnTo>
                        <a:pt x="649395" y="1113742"/>
                      </a:lnTo>
                      <a:lnTo>
                        <a:pt x="647260" y="1112080"/>
                      </a:lnTo>
                      <a:lnTo>
                        <a:pt x="644513" y="1110686"/>
                      </a:lnTo>
                      <a:lnTo>
                        <a:pt x="642272" y="1110271"/>
                      </a:lnTo>
                      <a:lnTo>
                        <a:pt x="641775" y="1110589"/>
                      </a:lnTo>
                      <a:lnTo>
                        <a:pt x="637081" y="1111371"/>
                      </a:lnTo>
                      <a:lnTo>
                        <a:pt x="633723" y="1111257"/>
                      </a:lnTo>
                      <a:lnTo>
                        <a:pt x="631686" y="1110238"/>
                      </a:lnTo>
                      <a:lnTo>
                        <a:pt x="629567" y="1110108"/>
                      </a:lnTo>
                      <a:lnTo>
                        <a:pt x="629387" y="1110108"/>
                      </a:lnTo>
                      <a:lnTo>
                        <a:pt x="627081" y="1110792"/>
                      </a:lnTo>
                      <a:lnTo>
                        <a:pt x="626649" y="1110743"/>
                      </a:lnTo>
                      <a:lnTo>
                        <a:pt x="625500" y="1110711"/>
                      </a:lnTo>
                      <a:lnTo>
                        <a:pt x="623634" y="1109586"/>
                      </a:lnTo>
                      <a:lnTo>
                        <a:pt x="621825" y="1106563"/>
                      </a:lnTo>
                      <a:lnTo>
                        <a:pt x="619534" y="1103335"/>
                      </a:lnTo>
                      <a:lnTo>
                        <a:pt x="616772" y="1102300"/>
                      </a:lnTo>
                      <a:lnTo>
                        <a:pt x="611507" y="1103661"/>
                      </a:lnTo>
                      <a:lnTo>
                        <a:pt x="605761" y="1108030"/>
                      </a:lnTo>
                      <a:lnTo>
                        <a:pt x="601638" y="1110629"/>
                      </a:lnTo>
                      <a:lnTo>
                        <a:pt x="598272" y="1110703"/>
                      </a:lnTo>
                      <a:lnTo>
                        <a:pt x="596357" y="1111094"/>
                      </a:lnTo>
                      <a:lnTo>
                        <a:pt x="595077" y="1110947"/>
                      </a:lnTo>
                      <a:lnTo>
                        <a:pt x="594001" y="1110132"/>
                      </a:lnTo>
                      <a:lnTo>
                        <a:pt x="593732" y="1108551"/>
                      </a:lnTo>
                      <a:lnTo>
                        <a:pt x="593219" y="1106554"/>
                      </a:lnTo>
                      <a:lnTo>
                        <a:pt x="590587" y="1104590"/>
                      </a:lnTo>
                      <a:lnTo>
                        <a:pt x="586968" y="1103327"/>
                      </a:lnTo>
                      <a:lnTo>
                        <a:pt x="583611" y="1101942"/>
                      </a:lnTo>
                      <a:lnTo>
                        <a:pt x="581427" y="1101567"/>
                      </a:lnTo>
                      <a:lnTo>
                        <a:pt x="580481" y="1103563"/>
                      </a:lnTo>
                      <a:lnTo>
                        <a:pt x="577694" y="1106750"/>
                      </a:lnTo>
                      <a:lnTo>
                        <a:pt x="574532" y="1109831"/>
                      </a:lnTo>
                      <a:lnTo>
                        <a:pt x="570498" y="1114843"/>
                      </a:lnTo>
                      <a:lnTo>
                        <a:pt x="569397" y="1116619"/>
                      </a:lnTo>
                      <a:lnTo>
                        <a:pt x="567857" y="1117793"/>
                      </a:lnTo>
                      <a:lnTo>
                        <a:pt x="564328" y="1119089"/>
                      </a:lnTo>
                      <a:lnTo>
                        <a:pt x="560049" y="1121199"/>
                      </a:lnTo>
                      <a:lnTo>
                        <a:pt x="557320" y="1123604"/>
                      </a:lnTo>
                      <a:lnTo>
                        <a:pt x="553448" y="1124688"/>
                      </a:lnTo>
                      <a:lnTo>
                        <a:pt x="549276" y="1125372"/>
                      </a:lnTo>
                      <a:lnTo>
                        <a:pt x="547450" y="1127458"/>
                      </a:lnTo>
                      <a:lnTo>
                        <a:pt x="546342" y="1130849"/>
                      </a:lnTo>
                      <a:lnTo>
                        <a:pt x="544940" y="1133897"/>
                      </a:lnTo>
                      <a:lnTo>
                        <a:pt x="538371" y="1138509"/>
                      </a:lnTo>
                      <a:lnTo>
                        <a:pt x="534785" y="1141500"/>
                      </a:lnTo>
                      <a:lnTo>
                        <a:pt x="532177" y="1143073"/>
                      </a:lnTo>
                      <a:lnTo>
                        <a:pt x="530352" y="1142878"/>
                      </a:lnTo>
                      <a:lnTo>
                        <a:pt x="528372" y="1142405"/>
                      </a:lnTo>
                      <a:lnTo>
                        <a:pt x="527630" y="1142658"/>
                      </a:lnTo>
                      <a:lnTo>
                        <a:pt x="528640" y="1144948"/>
                      </a:lnTo>
                      <a:lnTo>
                        <a:pt x="529504" y="1152128"/>
                      </a:lnTo>
                      <a:lnTo>
                        <a:pt x="530711" y="1156716"/>
                      </a:lnTo>
                      <a:lnTo>
                        <a:pt x="531583" y="1159340"/>
                      </a:lnTo>
                      <a:lnTo>
                        <a:pt x="532406" y="1161410"/>
                      </a:lnTo>
                      <a:lnTo>
                        <a:pt x="533033" y="1164572"/>
                      </a:lnTo>
                      <a:lnTo>
                        <a:pt x="532218" y="1166414"/>
                      </a:lnTo>
                      <a:lnTo>
                        <a:pt x="530947" y="1167661"/>
                      </a:lnTo>
                      <a:lnTo>
                        <a:pt x="527011" y="1169617"/>
                      </a:lnTo>
                      <a:lnTo>
                        <a:pt x="522895" y="1171296"/>
                      </a:lnTo>
                      <a:lnTo>
                        <a:pt x="520425" y="1170212"/>
                      </a:lnTo>
                      <a:lnTo>
                        <a:pt x="517687" y="1167531"/>
                      </a:lnTo>
                      <a:lnTo>
                        <a:pt x="516628" y="1166145"/>
                      </a:lnTo>
                      <a:lnTo>
                        <a:pt x="513629" y="1161630"/>
                      </a:lnTo>
                      <a:lnTo>
                        <a:pt x="508388" y="1154752"/>
                      </a:lnTo>
                      <a:lnTo>
                        <a:pt x="504827" y="1151248"/>
                      </a:lnTo>
                      <a:lnTo>
                        <a:pt x="502194" y="1149952"/>
                      </a:lnTo>
                      <a:lnTo>
                        <a:pt x="499807" y="1150343"/>
                      </a:lnTo>
                      <a:lnTo>
                        <a:pt x="497965" y="1151981"/>
                      </a:lnTo>
                      <a:lnTo>
                        <a:pt x="496645" y="1153448"/>
                      </a:lnTo>
                      <a:lnTo>
                        <a:pt x="495422" y="1155070"/>
                      </a:lnTo>
                      <a:lnTo>
                        <a:pt x="494632" y="1157115"/>
                      </a:lnTo>
                      <a:lnTo>
                        <a:pt x="494697" y="1159935"/>
                      </a:lnTo>
                      <a:lnTo>
                        <a:pt x="494640" y="1162918"/>
                      </a:lnTo>
                      <a:lnTo>
                        <a:pt x="493483" y="1165021"/>
                      </a:lnTo>
                      <a:lnTo>
                        <a:pt x="490532" y="1167270"/>
                      </a:lnTo>
                      <a:lnTo>
                        <a:pt x="487118" y="1170416"/>
                      </a:lnTo>
                      <a:lnTo>
                        <a:pt x="484583" y="1176080"/>
                      </a:lnTo>
                      <a:lnTo>
                        <a:pt x="482937" y="1183154"/>
                      </a:lnTo>
                      <a:lnTo>
                        <a:pt x="482415" y="1188060"/>
                      </a:lnTo>
                      <a:lnTo>
                        <a:pt x="483678" y="1190350"/>
                      </a:lnTo>
                      <a:lnTo>
                        <a:pt x="486164" y="1192200"/>
                      </a:lnTo>
                      <a:lnTo>
                        <a:pt x="487778" y="1194115"/>
                      </a:lnTo>
                      <a:lnTo>
                        <a:pt x="488096" y="1195916"/>
                      </a:lnTo>
                      <a:lnTo>
                        <a:pt x="487672" y="1197791"/>
                      </a:lnTo>
                      <a:lnTo>
                        <a:pt x="486384" y="1199967"/>
                      </a:lnTo>
                      <a:lnTo>
                        <a:pt x="483678" y="1202444"/>
                      </a:lnTo>
                      <a:lnTo>
                        <a:pt x="479946" y="1208377"/>
                      </a:lnTo>
                      <a:lnTo>
                        <a:pt x="477623" y="1216731"/>
                      </a:lnTo>
                      <a:lnTo>
                        <a:pt x="478919" y="1222549"/>
                      </a:lnTo>
                      <a:lnTo>
                        <a:pt x="483678" y="1225744"/>
                      </a:lnTo>
                      <a:lnTo>
                        <a:pt x="487428" y="1227154"/>
                      </a:lnTo>
                      <a:lnTo>
                        <a:pt x="488919" y="1229020"/>
                      </a:lnTo>
                      <a:lnTo>
                        <a:pt x="490272" y="1232810"/>
                      </a:lnTo>
                      <a:lnTo>
                        <a:pt x="490084" y="1236649"/>
                      </a:lnTo>
                      <a:lnTo>
                        <a:pt x="489636" y="1239240"/>
                      </a:lnTo>
                      <a:lnTo>
                        <a:pt x="490565" y="1241783"/>
                      </a:lnTo>
                      <a:lnTo>
                        <a:pt x="492334" y="1244806"/>
                      </a:lnTo>
                      <a:lnTo>
                        <a:pt x="494567" y="1246648"/>
                      </a:lnTo>
                      <a:lnTo>
                        <a:pt x="496930" y="1245654"/>
                      </a:lnTo>
                      <a:lnTo>
                        <a:pt x="499277" y="1244399"/>
                      </a:lnTo>
                      <a:lnTo>
                        <a:pt x="502211" y="1244888"/>
                      </a:lnTo>
                      <a:lnTo>
                        <a:pt x="510507" y="1245939"/>
                      </a:lnTo>
                      <a:lnTo>
                        <a:pt x="514851" y="1246493"/>
                      </a:lnTo>
                      <a:lnTo>
                        <a:pt x="516269" y="1247805"/>
                      </a:lnTo>
                      <a:lnTo>
                        <a:pt x="518967" y="1252060"/>
                      </a:lnTo>
                      <a:lnTo>
                        <a:pt x="522365" y="1256819"/>
                      </a:lnTo>
                      <a:lnTo>
                        <a:pt x="525821" y="1261660"/>
                      </a:lnTo>
                      <a:lnTo>
                        <a:pt x="527019" y="1263755"/>
                      </a:lnTo>
                      <a:lnTo>
                        <a:pt x="529847" y="1269525"/>
                      </a:lnTo>
                      <a:lnTo>
                        <a:pt x="532748" y="1274708"/>
                      </a:lnTo>
                      <a:lnTo>
                        <a:pt x="535918" y="1281122"/>
                      </a:lnTo>
                      <a:lnTo>
                        <a:pt x="535690" y="1282849"/>
                      </a:lnTo>
                      <a:lnTo>
                        <a:pt x="534027" y="1283575"/>
                      </a:lnTo>
                      <a:lnTo>
                        <a:pt x="531371" y="1283404"/>
                      </a:lnTo>
                      <a:lnTo>
                        <a:pt x="529325" y="1282466"/>
                      </a:lnTo>
                      <a:lnTo>
                        <a:pt x="528176" y="1281684"/>
                      </a:lnTo>
                      <a:lnTo>
                        <a:pt x="527141" y="1281431"/>
                      </a:lnTo>
                      <a:lnTo>
                        <a:pt x="525967" y="1281741"/>
                      </a:lnTo>
                      <a:lnTo>
                        <a:pt x="524981" y="1282548"/>
                      </a:lnTo>
                      <a:lnTo>
                        <a:pt x="524582" y="1283819"/>
                      </a:lnTo>
                      <a:lnTo>
                        <a:pt x="524745" y="1285547"/>
                      </a:lnTo>
                      <a:lnTo>
                        <a:pt x="525544" y="1287120"/>
                      </a:lnTo>
                      <a:lnTo>
                        <a:pt x="526652" y="1288130"/>
                      </a:lnTo>
                      <a:lnTo>
                        <a:pt x="527247" y="1288505"/>
                      </a:lnTo>
                      <a:lnTo>
                        <a:pt x="531322" y="1290583"/>
                      </a:lnTo>
                      <a:lnTo>
                        <a:pt x="535910" y="1292922"/>
                      </a:lnTo>
                      <a:lnTo>
                        <a:pt x="541485" y="1296231"/>
                      </a:lnTo>
                      <a:lnTo>
                        <a:pt x="542682" y="1296647"/>
                      </a:lnTo>
                      <a:lnTo>
                        <a:pt x="543025" y="1298252"/>
                      </a:lnTo>
                      <a:lnTo>
                        <a:pt x="540034" y="1298603"/>
                      </a:lnTo>
                      <a:lnTo>
                        <a:pt x="539667" y="1300485"/>
                      </a:lnTo>
                      <a:lnTo>
                        <a:pt x="538901" y="1301879"/>
                      </a:lnTo>
                      <a:lnTo>
                        <a:pt x="532210" y="1305017"/>
                      </a:lnTo>
                      <a:lnTo>
                        <a:pt x="530539" y="1305009"/>
                      </a:lnTo>
                      <a:lnTo>
                        <a:pt x="529081" y="1305522"/>
                      </a:lnTo>
                      <a:lnTo>
                        <a:pt x="529170" y="1307551"/>
                      </a:lnTo>
                      <a:lnTo>
                        <a:pt x="529562" y="1309409"/>
                      </a:lnTo>
                      <a:lnTo>
                        <a:pt x="530711" y="1311365"/>
                      </a:lnTo>
                      <a:lnTo>
                        <a:pt x="530222" y="1312213"/>
                      </a:lnTo>
                      <a:lnTo>
                        <a:pt x="529219" y="1312490"/>
                      </a:lnTo>
                      <a:lnTo>
                        <a:pt x="527924" y="1311895"/>
                      </a:lnTo>
                      <a:lnTo>
                        <a:pt x="526734" y="1310868"/>
                      </a:lnTo>
                      <a:lnTo>
                        <a:pt x="525454" y="1310607"/>
                      </a:lnTo>
                      <a:lnTo>
                        <a:pt x="524207" y="1310868"/>
                      </a:lnTo>
                      <a:lnTo>
                        <a:pt x="518510" y="1316410"/>
                      </a:lnTo>
                      <a:lnTo>
                        <a:pt x="516066" y="1317844"/>
                      </a:lnTo>
                      <a:lnTo>
                        <a:pt x="513433" y="1318415"/>
                      </a:lnTo>
                      <a:lnTo>
                        <a:pt x="507908" y="1320460"/>
                      </a:lnTo>
                      <a:lnTo>
                        <a:pt x="506269" y="1320354"/>
                      </a:lnTo>
                      <a:lnTo>
                        <a:pt x="504713" y="1319645"/>
                      </a:lnTo>
                      <a:lnTo>
                        <a:pt x="503425" y="1320680"/>
                      </a:lnTo>
                      <a:lnTo>
                        <a:pt x="503034" y="1323248"/>
                      </a:lnTo>
                      <a:lnTo>
                        <a:pt x="501559" y="1321471"/>
                      </a:lnTo>
                      <a:lnTo>
                        <a:pt x="499937" y="1320061"/>
                      </a:lnTo>
                      <a:lnTo>
                        <a:pt x="499212" y="1319588"/>
                      </a:lnTo>
                      <a:lnTo>
                        <a:pt x="498805" y="1319874"/>
                      </a:lnTo>
                      <a:lnTo>
                        <a:pt x="500320" y="1322620"/>
                      </a:lnTo>
                      <a:lnTo>
                        <a:pt x="500443" y="1325138"/>
                      </a:lnTo>
                      <a:lnTo>
                        <a:pt x="500084" y="1326524"/>
                      </a:lnTo>
                      <a:lnTo>
                        <a:pt x="499440" y="1327787"/>
                      </a:lnTo>
                      <a:lnTo>
                        <a:pt x="498601" y="1328561"/>
                      </a:lnTo>
                      <a:lnTo>
                        <a:pt x="497574" y="1328985"/>
                      </a:lnTo>
                      <a:lnTo>
                        <a:pt x="497011" y="1333418"/>
                      </a:lnTo>
                      <a:lnTo>
                        <a:pt x="496025" y="1336132"/>
                      </a:lnTo>
                      <a:lnTo>
                        <a:pt x="494656" y="1338528"/>
                      </a:lnTo>
                      <a:lnTo>
                        <a:pt x="492814" y="1342921"/>
                      </a:lnTo>
                      <a:lnTo>
                        <a:pt x="491331" y="1344836"/>
                      </a:lnTo>
                      <a:lnTo>
                        <a:pt x="490166" y="1347069"/>
                      </a:lnTo>
                      <a:lnTo>
                        <a:pt x="489399" y="1350191"/>
                      </a:lnTo>
                      <a:lnTo>
                        <a:pt x="488291" y="1349449"/>
                      </a:lnTo>
                      <a:lnTo>
                        <a:pt x="487395" y="1348112"/>
                      </a:lnTo>
                      <a:lnTo>
                        <a:pt x="486914" y="1349889"/>
                      </a:lnTo>
                      <a:lnTo>
                        <a:pt x="486262" y="1351397"/>
                      </a:lnTo>
                      <a:lnTo>
                        <a:pt x="483377" y="1353646"/>
                      </a:lnTo>
                      <a:lnTo>
                        <a:pt x="481258" y="1355806"/>
                      </a:lnTo>
                      <a:lnTo>
                        <a:pt x="480280" y="1359155"/>
                      </a:lnTo>
                      <a:lnTo>
                        <a:pt x="480060" y="1361160"/>
                      </a:lnTo>
                      <a:lnTo>
                        <a:pt x="480402" y="1362969"/>
                      </a:lnTo>
                      <a:lnTo>
                        <a:pt x="481201" y="1364045"/>
                      </a:lnTo>
                      <a:lnTo>
                        <a:pt x="485227" y="1365219"/>
                      </a:lnTo>
                      <a:lnTo>
                        <a:pt x="487900" y="1366751"/>
                      </a:lnTo>
                      <a:lnTo>
                        <a:pt x="490361" y="1369603"/>
                      </a:lnTo>
                      <a:lnTo>
                        <a:pt x="493018" y="1372016"/>
                      </a:lnTo>
                      <a:lnTo>
                        <a:pt x="494933" y="1375129"/>
                      </a:lnTo>
                      <a:lnTo>
                        <a:pt x="496286" y="1378951"/>
                      </a:lnTo>
                      <a:lnTo>
                        <a:pt x="497965" y="1386384"/>
                      </a:lnTo>
                      <a:lnTo>
                        <a:pt x="498796" y="1394199"/>
                      </a:lnTo>
                      <a:lnTo>
                        <a:pt x="501266" y="1384477"/>
                      </a:lnTo>
                      <a:lnTo>
                        <a:pt x="503360" y="1382732"/>
                      </a:lnTo>
                      <a:lnTo>
                        <a:pt x="502895" y="1385471"/>
                      </a:lnTo>
                      <a:lnTo>
                        <a:pt x="501404" y="1389676"/>
                      </a:lnTo>
                      <a:lnTo>
                        <a:pt x="499945" y="1395764"/>
                      </a:lnTo>
                      <a:lnTo>
                        <a:pt x="499465" y="1400214"/>
                      </a:lnTo>
                      <a:lnTo>
                        <a:pt x="500002" y="1404052"/>
                      </a:lnTo>
                      <a:lnTo>
                        <a:pt x="500035" y="1405853"/>
                      </a:lnTo>
                      <a:lnTo>
                        <a:pt x="498805" y="1412218"/>
                      </a:lnTo>
                      <a:lnTo>
                        <a:pt x="499448" y="1413433"/>
                      </a:lnTo>
                      <a:lnTo>
                        <a:pt x="500434" y="1414565"/>
                      </a:lnTo>
                      <a:lnTo>
                        <a:pt x="503066" y="1416766"/>
                      </a:lnTo>
                      <a:lnTo>
                        <a:pt x="504908" y="1419960"/>
                      </a:lnTo>
                      <a:lnTo>
                        <a:pt x="505373" y="1424451"/>
                      </a:lnTo>
                      <a:lnTo>
                        <a:pt x="506408" y="1425690"/>
                      </a:lnTo>
                      <a:lnTo>
                        <a:pt x="507712" y="1426774"/>
                      </a:lnTo>
                      <a:lnTo>
                        <a:pt x="514110" y="1435730"/>
                      </a:lnTo>
                      <a:lnTo>
                        <a:pt x="517793" y="1441679"/>
                      </a:lnTo>
                      <a:lnTo>
                        <a:pt x="519635" y="1445143"/>
                      </a:lnTo>
                      <a:lnTo>
                        <a:pt x="521640" y="1449495"/>
                      </a:lnTo>
                      <a:lnTo>
                        <a:pt x="522700" y="1450506"/>
                      </a:lnTo>
                      <a:lnTo>
                        <a:pt x="523946" y="1451149"/>
                      </a:lnTo>
                      <a:lnTo>
                        <a:pt x="526334" y="1453236"/>
                      </a:lnTo>
                      <a:lnTo>
                        <a:pt x="524989" y="1455469"/>
                      </a:lnTo>
                      <a:lnTo>
                        <a:pt x="522797" y="1459446"/>
                      </a:lnTo>
                      <a:lnTo>
                        <a:pt x="521827" y="1461549"/>
                      </a:lnTo>
                      <a:lnTo>
                        <a:pt x="519521" y="1463496"/>
                      </a:lnTo>
                      <a:lnTo>
                        <a:pt x="515650" y="1465566"/>
                      </a:lnTo>
                      <a:lnTo>
                        <a:pt x="513515" y="1466455"/>
                      </a:lnTo>
                      <a:lnTo>
                        <a:pt x="511216" y="1470725"/>
                      </a:lnTo>
                      <a:lnTo>
                        <a:pt x="508682" y="1474865"/>
                      </a:lnTo>
                      <a:lnTo>
                        <a:pt x="506938" y="1475330"/>
                      </a:lnTo>
                      <a:lnTo>
                        <a:pt x="501999" y="1474686"/>
                      </a:lnTo>
                      <a:lnTo>
                        <a:pt x="500231" y="1474311"/>
                      </a:lnTo>
                      <a:lnTo>
                        <a:pt x="495202" y="1472485"/>
                      </a:lnTo>
                      <a:lnTo>
                        <a:pt x="493800" y="1471369"/>
                      </a:lnTo>
                      <a:lnTo>
                        <a:pt x="492415" y="1466561"/>
                      </a:lnTo>
                      <a:lnTo>
                        <a:pt x="490850" y="1464491"/>
                      </a:lnTo>
                      <a:lnTo>
                        <a:pt x="488902" y="1463170"/>
                      </a:lnTo>
                      <a:lnTo>
                        <a:pt x="487574" y="1462046"/>
                      </a:lnTo>
                      <a:lnTo>
                        <a:pt x="487020" y="1460880"/>
                      </a:lnTo>
                      <a:lnTo>
                        <a:pt x="485602" y="1459201"/>
                      </a:lnTo>
                      <a:lnTo>
                        <a:pt x="482994" y="1456699"/>
                      </a:lnTo>
                      <a:lnTo>
                        <a:pt x="481095" y="1454328"/>
                      </a:lnTo>
                      <a:lnTo>
                        <a:pt x="479636" y="1453684"/>
                      </a:lnTo>
                      <a:lnTo>
                        <a:pt x="477795" y="1454523"/>
                      </a:lnTo>
                      <a:lnTo>
                        <a:pt x="476686" y="1454752"/>
                      </a:lnTo>
                      <a:lnTo>
                        <a:pt x="476213" y="1454336"/>
                      </a:lnTo>
                      <a:lnTo>
                        <a:pt x="475855" y="1452339"/>
                      </a:lnTo>
                      <a:lnTo>
                        <a:pt x="473173" y="1451638"/>
                      </a:lnTo>
                      <a:lnTo>
                        <a:pt x="472725" y="1451166"/>
                      </a:lnTo>
                      <a:lnTo>
                        <a:pt x="469156" y="1449251"/>
                      </a:lnTo>
                      <a:lnTo>
                        <a:pt x="467794" y="1448240"/>
                      </a:lnTo>
                      <a:lnTo>
                        <a:pt x="466483" y="1448167"/>
                      </a:lnTo>
                      <a:lnTo>
                        <a:pt x="463720" y="1447596"/>
                      </a:lnTo>
                      <a:lnTo>
                        <a:pt x="461381" y="1446675"/>
                      </a:lnTo>
                      <a:lnTo>
                        <a:pt x="460289" y="1445469"/>
                      </a:lnTo>
                      <a:lnTo>
                        <a:pt x="458700" y="1444116"/>
                      </a:lnTo>
                      <a:lnTo>
                        <a:pt x="455733" y="1442437"/>
                      </a:lnTo>
                      <a:lnTo>
                        <a:pt x="453557" y="1440840"/>
                      </a:lnTo>
                      <a:lnTo>
                        <a:pt x="453451" y="1439821"/>
                      </a:lnTo>
                      <a:lnTo>
                        <a:pt x="454796" y="1435608"/>
                      </a:lnTo>
                      <a:lnTo>
                        <a:pt x="455766" y="1431549"/>
                      </a:lnTo>
                      <a:lnTo>
                        <a:pt x="455203" y="1430759"/>
                      </a:lnTo>
                      <a:lnTo>
                        <a:pt x="453973" y="1430074"/>
                      </a:lnTo>
                      <a:lnTo>
                        <a:pt x="451674" y="1429455"/>
                      </a:lnTo>
                      <a:lnTo>
                        <a:pt x="446239" y="1429659"/>
                      </a:lnTo>
                      <a:lnTo>
                        <a:pt x="442881" y="1425576"/>
                      </a:lnTo>
                      <a:lnTo>
                        <a:pt x="441691" y="1424655"/>
                      </a:lnTo>
                      <a:lnTo>
                        <a:pt x="439499" y="1423986"/>
                      </a:lnTo>
                      <a:lnTo>
                        <a:pt x="436312" y="1422748"/>
                      </a:lnTo>
                      <a:lnTo>
                        <a:pt x="434511" y="1421843"/>
                      </a:lnTo>
                      <a:lnTo>
                        <a:pt x="434006" y="1422177"/>
                      </a:lnTo>
                      <a:lnTo>
                        <a:pt x="432042" y="1426660"/>
                      </a:lnTo>
                      <a:lnTo>
                        <a:pt x="430070" y="1423457"/>
                      </a:lnTo>
                      <a:lnTo>
                        <a:pt x="428888" y="1422593"/>
                      </a:lnTo>
                      <a:lnTo>
                        <a:pt x="427209" y="1422120"/>
                      </a:lnTo>
                      <a:lnTo>
                        <a:pt x="425465" y="1422112"/>
                      </a:lnTo>
                      <a:lnTo>
                        <a:pt x="421080" y="1423669"/>
                      </a:lnTo>
                      <a:lnTo>
                        <a:pt x="417861" y="1425396"/>
                      </a:lnTo>
                      <a:lnTo>
                        <a:pt x="415457" y="1426676"/>
                      </a:lnTo>
                      <a:lnTo>
                        <a:pt x="413028" y="1427393"/>
                      </a:lnTo>
                      <a:lnTo>
                        <a:pt x="411855" y="1428395"/>
                      </a:lnTo>
                      <a:lnTo>
                        <a:pt x="408603" y="1428216"/>
                      </a:lnTo>
                      <a:lnTo>
                        <a:pt x="406957" y="1427450"/>
                      </a:lnTo>
                      <a:lnTo>
                        <a:pt x="406419" y="1426651"/>
                      </a:lnTo>
                      <a:lnTo>
                        <a:pt x="406704" y="1425258"/>
                      </a:lnTo>
                      <a:lnTo>
                        <a:pt x="407837" y="1423693"/>
                      </a:lnTo>
                      <a:lnTo>
                        <a:pt x="407927" y="1422837"/>
                      </a:lnTo>
                      <a:lnTo>
                        <a:pt x="407519" y="1422169"/>
                      </a:lnTo>
                      <a:lnTo>
                        <a:pt x="403559" y="1420075"/>
                      </a:lnTo>
                      <a:lnTo>
                        <a:pt x="401945" y="1418803"/>
                      </a:lnTo>
                      <a:lnTo>
                        <a:pt x="396753" y="1416994"/>
                      </a:lnTo>
                      <a:lnTo>
                        <a:pt x="390323" y="1413807"/>
                      </a:lnTo>
                      <a:lnTo>
                        <a:pt x="388115" y="1411713"/>
                      </a:lnTo>
                      <a:lnTo>
                        <a:pt x="387903" y="1410262"/>
                      </a:lnTo>
                      <a:lnTo>
                        <a:pt x="385384" y="1408836"/>
                      </a:lnTo>
                      <a:lnTo>
                        <a:pt x="382173" y="1407565"/>
                      </a:lnTo>
                      <a:lnTo>
                        <a:pt x="379688" y="1407923"/>
                      </a:lnTo>
                      <a:lnTo>
                        <a:pt x="377357" y="1408054"/>
                      </a:lnTo>
                      <a:lnTo>
                        <a:pt x="373698" y="1405666"/>
                      </a:lnTo>
                      <a:lnTo>
                        <a:pt x="370250" y="1405527"/>
                      </a:lnTo>
                      <a:lnTo>
                        <a:pt x="366331" y="1406253"/>
                      </a:lnTo>
                      <a:lnTo>
                        <a:pt x="365491" y="1406538"/>
                      </a:lnTo>
                      <a:lnTo>
                        <a:pt x="364546" y="1406848"/>
                      </a:lnTo>
                      <a:lnTo>
                        <a:pt x="352916" y="1405837"/>
                      </a:lnTo>
                      <a:lnTo>
                        <a:pt x="349933" y="1403857"/>
                      </a:lnTo>
                      <a:lnTo>
                        <a:pt x="347399" y="1401884"/>
                      </a:lnTo>
                      <a:lnTo>
                        <a:pt x="340569" y="1400458"/>
                      </a:lnTo>
                      <a:lnTo>
                        <a:pt x="337065" y="1398950"/>
                      </a:lnTo>
                      <a:lnTo>
                        <a:pt x="333585" y="1396799"/>
                      </a:lnTo>
                      <a:lnTo>
                        <a:pt x="329771" y="1394924"/>
                      </a:lnTo>
                      <a:lnTo>
                        <a:pt x="326568" y="1395682"/>
                      </a:lnTo>
                      <a:lnTo>
                        <a:pt x="322192" y="1394623"/>
                      </a:lnTo>
                      <a:lnTo>
                        <a:pt x="317424" y="1393686"/>
                      </a:lnTo>
                      <a:lnTo>
                        <a:pt x="315802" y="1394256"/>
                      </a:lnTo>
                      <a:lnTo>
                        <a:pt x="314286" y="1396628"/>
                      </a:lnTo>
                      <a:lnTo>
                        <a:pt x="313170" y="1398885"/>
                      </a:lnTo>
                      <a:lnTo>
                        <a:pt x="310570" y="1397043"/>
                      </a:lnTo>
                      <a:lnTo>
                        <a:pt x="301711" y="1388193"/>
                      </a:lnTo>
                      <a:lnTo>
                        <a:pt x="297066" y="1382301"/>
                      </a:lnTo>
                      <a:lnTo>
                        <a:pt x="281891" y="1368682"/>
                      </a:lnTo>
                      <a:lnTo>
                        <a:pt x="279870" y="1367631"/>
                      </a:lnTo>
                      <a:lnTo>
                        <a:pt x="271834" y="1365667"/>
                      </a:lnTo>
                      <a:lnTo>
                        <a:pt x="268591" y="1364086"/>
                      </a:lnTo>
                      <a:lnTo>
                        <a:pt x="260416" y="1354323"/>
                      </a:lnTo>
                      <a:lnTo>
                        <a:pt x="256782" y="1355635"/>
                      </a:lnTo>
                      <a:lnTo>
                        <a:pt x="253497" y="1355309"/>
                      </a:lnTo>
                      <a:lnTo>
                        <a:pt x="251574" y="1354453"/>
                      </a:lnTo>
                      <a:lnTo>
                        <a:pt x="249504" y="1353043"/>
                      </a:lnTo>
                      <a:lnTo>
                        <a:pt x="248037" y="1351185"/>
                      </a:lnTo>
                      <a:lnTo>
                        <a:pt x="246342" y="1347102"/>
                      </a:lnTo>
                      <a:lnTo>
                        <a:pt x="244378" y="1344755"/>
                      </a:lnTo>
                      <a:lnTo>
                        <a:pt x="237915" y="1341332"/>
                      </a:lnTo>
                      <a:lnTo>
                        <a:pt x="230637" y="1339335"/>
                      </a:lnTo>
                      <a:lnTo>
                        <a:pt x="230059" y="1338463"/>
                      </a:lnTo>
                      <a:lnTo>
                        <a:pt x="229855" y="1337265"/>
                      </a:lnTo>
                      <a:lnTo>
                        <a:pt x="236155" y="1334934"/>
                      </a:lnTo>
                      <a:lnTo>
                        <a:pt x="237834" y="1333598"/>
                      </a:lnTo>
                      <a:lnTo>
                        <a:pt x="234606" y="1331829"/>
                      </a:lnTo>
                      <a:lnTo>
                        <a:pt x="233384" y="1331544"/>
                      </a:lnTo>
                      <a:lnTo>
                        <a:pt x="232357" y="1330713"/>
                      </a:lnTo>
                      <a:lnTo>
                        <a:pt x="234174" y="1329376"/>
                      </a:lnTo>
                      <a:lnTo>
                        <a:pt x="235976" y="1328765"/>
                      </a:lnTo>
                      <a:lnTo>
                        <a:pt x="238746" y="1330297"/>
                      </a:lnTo>
                      <a:lnTo>
                        <a:pt x="241860" y="1333133"/>
                      </a:lnTo>
                      <a:lnTo>
                        <a:pt x="244598" y="1334209"/>
                      </a:lnTo>
                      <a:lnTo>
                        <a:pt x="245853" y="1332848"/>
                      </a:lnTo>
                      <a:lnTo>
                        <a:pt x="255347" y="1330525"/>
                      </a:lnTo>
                      <a:lnTo>
                        <a:pt x="255991" y="1328675"/>
                      </a:lnTo>
                      <a:lnTo>
                        <a:pt x="255959" y="1326613"/>
                      </a:lnTo>
                      <a:lnTo>
                        <a:pt x="255029" y="1326679"/>
                      </a:lnTo>
                      <a:lnTo>
                        <a:pt x="254426" y="1326214"/>
                      </a:lnTo>
                      <a:lnTo>
                        <a:pt x="254492" y="1323924"/>
                      </a:lnTo>
                      <a:lnTo>
                        <a:pt x="255885" y="1320778"/>
                      </a:lnTo>
                      <a:lnTo>
                        <a:pt x="260148" y="1315644"/>
                      </a:lnTo>
                      <a:lnTo>
                        <a:pt x="262446" y="1308505"/>
                      </a:lnTo>
                      <a:lnTo>
                        <a:pt x="264443" y="1306883"/>
                      </a:lnTo>
                      <a:lnTo>
                        <a:pt x="265926" y="1307967"/>
                      </a:lnTo>
                      <a:lnTo>
                        <a:pt x="265828" y="1309638"/>
                      </a:lnTo>
                      <a:lnTo>
                        <a:pt x="266073" y="1310868"/>
                      </a:lnTo>
                      <a:lnTo>
                        <a:pt x="267393" y="1308472"/>
                      </a:lnTo>
                      <a:lnTo>
                        <a:pt x="268656" y="1305212"/>
                      </a:lnTo>
                      <a:lnTo>
                        <a:pt x="271834" y="1305204"/>
                      </a:lnTo>
                      <a:lnTo>
                        <a:pt x="274027" y="1305742"/>
                      </a:lnTo>
                      <a:lnTo>
                        <a:pt x="276308" y="1305367"/>
                      </a:lnTo>
                      <a:lnTo>
                        <a:pt x="271916" y="1300005"/>
                      </a:lnTo>
                      <a:lnTo>
                        <a:pt x="266032" y="1294618"/>
                      </a:lnTo>
                      <a:lnTo>
                        <a:pt x="263546" y="1295017"/>
                      </a:lnTo>
                      <a:lnTo>
                        <a:pt x="261965" y="1294186"/>
                      </a:lnTo>
                      <a:lnTo>
                        <a:pt x="259373" y="1289736"/>
                      </a:lnTo>
                      <a:lnTo>
                        <a:pt x="258306" y="1286044"/>
                      </a:lnTo>
                      <a:lnTo>
                        <a:pt x="260808" y="1286117"/>
                      </a:lnTo>
                      <a:lnTo>
                        <a:pt x="263310" y="1286680"/>
                      </a:lnTo>
                      <a:lnTo>
                        <a:pt x="268061" y="1284104"/>
                      </a:lnTo>
                      <a:lnTo>
                        <a:pt x="269797" y="1283721"/>
                      </a:lnTo>
                      <a:lnTo>
                        <a:pt x="272617" y="1284536"/>
                      </a:lnTo>
                      <a:lnTo>
                        <a:pt x="276520" y="1285058"/>
                      </a:lnTo>
                      <a:lnTo>
                        <a:pt x="276203" y="1282629"/>
                      </a:lnTo>
                      <a:lnTo>
                        <a:pt x="274980" y="1279753"/>
                      </a:lnTo>
                      <a:lnTo>
                        <a:pt x="279740" y="1277617"/>
                      </a:lnTo>
                      <a:lnTo>
                        <a:pt x="283969" y="1276435"/>
                      </a:lnTo>
                      <a:lnTo>
                        <a:pt x="292054" y="1272263"/>
                      </a:lnTo>
                      <a:lnTo>
                        <a:pt x="295615" y="1271529"/>
                      </a:lnTo>
                      <a:lnTo>
                        <a:pt x="296071" y="1270576"/>
                      </a:lnTo>
                      <a:lnTo>
                        <a:pt x="296186" y="1269337"/>
                      </a:lnTo>
                      <a:lnTo>
                        <a:pt x="294963" y="1265996"/>
                      </a:lnTo>
                      <a:lnTo>
                        <a:pt x="293757" y="1263518"/>
                      </a:lnTo>
                      <a:lnTo>
                        <a:pt x="289487" y="1263404"/>
                      </a:lnTo>
                      <a:lnTo>
                        <a:pt x="287123" y="1266843"/>
                      </a:lnTo>
                      <a:lnTo>
                        <a:pt x="280668" y="1267976"/>
                      </a:lnTo>
                      <a:lnTo>
                        <a:pt x="277800" y="1267748"/>
                      </a:lnTo>
                      <a:lnTo>
                        <a:pt x="280082" y="1265539"/>
                      </a:lnTo>
                      <a:lnTo>
                        <a:pt x="282348" y="1264700"/>
                      </a:lnTo>
                      <a:lnTo>
                        <a:pt x="282999" y="1263779"/>
                      </a:lnTo>
                      <a:lnTo>
                        <a:pt x="278419" y="1264578"/>
                      </a:lnTo>
                      <a:lnTo>
                        <a:pt x="276121" y="1266851"/>
                      </a:lnTo>
                      <a:lnTo>
                        <a:pt x="269414" y="1269842"/>
                      </a:lnTo>
                      <a:lnTo>
                        <a:pt x="269210" y="1268278"/>
                      </a:lnTo>
                      <a:lnTo>
                        <a:pt x="269088" y="1266860"/>
                      </a:lnTo>
                      <a:lnTo>
                        <a:pt x="269585" y="1265523"/>
                      </a:lnTo>
                      <a:lnTo>
                        <a:pt x="270685" y="1264659"/>
                      </a:lnTo>
                      <a:lnTo>
                        <a:pt x="271060" y="1263869"/>
                      </a:lnTo>
                      <a:lnTo>
                        <a:pt x="271060" y="1263241"/>
                      </a:lnTo>
                      <a:lnTo>
                        <a:pt x="270082" y="1262850"/>
                      </a:lnTo>
                      <a:lnTo>
                        <a:pt x="269259" y="1262532"/>
                      </a:lnTo>
                      <a:lnTo>
                        <a:pt x="269088" y="1261668"/>
                      </a:lnTo>
                      <a:lnTo>
                        <a:pt x="269373" y="1260886"/>
                      </a:lnTo>
                      <a:lnTo>
                        <a:pt x="270131" y="1259778"/>
                      </a:lnTo>
                      <a:lnTo>
                        <a:pt x="270457" y="1258522"/>
                      </a:lnTo>
                      <a:lnTo>
                        <a:pt x="270522" y="1255996"/>
                      </a:lnTo>
                      <a:lnTo>
                        <a:pt x="271223" y="1253152"/>
                      </a:lnTo>
                      <a:lnTo>
                        <a:pt x="273244" y="1251334"/>
                      </a:lnTo>
                      <a:lnTo>
                        <a:pt x="276773" y="1250894"/>
                      </a:lnTo>
                      <a:lnTo>
                        <a:pt x="279976" y="1249338"/>
                      </a:lnTo>
                      <a:lnTo>
                        <a:pt x="281932" y="1247610"/>
                      </a:lnTo>
                      <a:lnTo>
                        <a:pt x="284491" y="1243209"/>
                      </a:lnTo>
                      <a:lnTo>
                        <a:pt x="286430" y="1242557"/>
                      </a:lnTo>
                      <a:lnTo>
                        <a:pt x="290342" y="1242793"/>
                      </a:lnTo>
                      <a:lnTo>
                        <a:pt x="292836" y="1243193"/>
                      </a:lnTo>
                      <a:lnTo>
                        <a:pt x="298606" y="1243323"/>
                      </a:lnTo>
                      <a:lnTo>
                        <a:pt x="305240" y="1243062"/>
                      </a:lnTo>
                      <a:lnTo>
                        <a:pt x="307155" y="1242932"/>
                      </a:lnTo>
                      <a:lnTo>
                        <a:pt x="308215" y="1241400"/>
                      </a:lnTo>
                      <a:lnTo>
                        <a:pt x="308141" y="1238645"/>
                      </a:lnTo>
                      <a:lnTo>
                        <a:pt x="309095" y="1236094"/>
                      </a:lnTo>
                      <a:lnTo>
                        <a:pt x="310855" y="1231319"/>
                      </a:lnTo>
                      <a:lnTo>
                        <a:pt x="312738" y="1228817"/>
                      </a:lnTo>
                      <a:lnTo>
                        <a:pt x="312664" y="1227708"/>
                      </a:lnTo>
                      <a:lnTo>
                        <a:pt x="311670" y="1227244"/>
                      </a:lnTo>
                      <a:lnTo>
                        <a:pt x="310391" y="1227007"/>
                      </a:lnTo>
                      <a:lnTo>
                        <a:pt x="309918" y="1226494"/>
                      </a:lnTo>
                      <a:lnTo>
                        <a:pt x="309975" y="1225451"/>
                      </a:lnTo>
                      <a:lnTo>
                        <a:pt x="310969" y="1224416"/>
                      </a:lnTo>
                      <a:lnTo>
                        <a:pt x="310798" y="1222313"/>
                      </a:lnTo>
                      <a:lnTo>
                        <a:pt x="310171" y="1219966"/>
                      </a:lnTo>
                      <a:lnTo>
                        <a:pt x="309625" y="1217855"/>
                      </a:lnTo>
                      <a:lnTo>
                        <a:pt x="307881" y="1216804"/>
                      </a:lnTo>
                      <a:lnTo>
                        <a:pt x="304890" y="1216111"/>
                      </a:lnTo>
                      <a:lnTo>
                        <a:pt x="305525" y="1213536"/>
                      </a:lnTo>
                      <a:lnTo>
                        <a:pt x="306381" y="1210765"/>
                      </a:lnTo>
                      <a:lnTo>
                        <a:pt x="307644" y="1209225"/>
                      </a:lnTo>
                      <a:lnTo>
                        <a:pt x="308565" y="1208296"/>
                      </a:lnTo>
                      <a:lnTo>
                        <a:pt x="311328" y="1208801"/>
                      </a:lnTo>
                      <a:lnTo>
                        <a:pt x="313317" y="1208312"/>
                      </a:lnTo>
                      <a:lnTo>
                        <a:pt x="313789" y="1207782"/>
                      </a:lnTo>
                      <a:lnTo>
                        <a:pt x="313430" y="1206723"/>
                      </a:lnTo>
                      <a:lnTo>
                        <a:pt x="310326" y="1205761"/>
                      </a:lnTo>
                      <a:lnTo>
                        <a:pt x="307587" y="1204441"/>
                      </a:lnTo>
                      <a:lnTo>
                        <a:pt x="306405" y="1202811"/>
                      </a:lnTo>
                      <a:lnTo>
                        <a:pt x="305924" y="1201067"/>
                      </a:lnTo>
                      <a:lnTo>
                        <a:pt x="307742" y="1200024"/>
                      </a:lnTo>
                      <a:lnTo>
                        <a:pt x="310969" y="1199029"/>
                      </a:lnTo>
                      <a:lnTo>
                        <a:pt x="313121" y="1196650"/>
                      </a:lnTo>
                      <a:lnTo>
                        <a:pt x="315444" y="1194107"/>
                      </a:lnTo>
                      <a:lnTo>
                        <a:pt x="316397" y="1192249"/>
                      </a:lnTo>
                      <a:lnTo>
                        <a:pt x="316886" y="1190228"/>
                      </a:lnTo>
                      <a:lnTo>
                        <a:pt x="316837" y="1187995"/>
                      </a:lnTo>
                      <a:lnTo>
                        <a:pt x="315142" y="1185721"/>
                      </a:lnTo>
                      <a:lnTo>
                        <a:pt x="315142" y="1183341"/>
                      </a:lnTo>
                      <a:lnTo>
                        <a:pt x="316055" y="1181687"/>
                      </a:lnTo>
                      <a:lnTo>
                        <a:pt x="315704" y="1180448"/>
                      </a:lnTo>
                      <a:lnTo>
                        <a:pt x="314466" y="1179723"/>
                      </a:lnTo>
                      <a:lnTo>
                        <a:pt x="312681" y="1179943"/>
                      </a:lnTo>
                      <a:lnTo>
                        <a:pt x="310643" y="1180782"/>
                      </a:lnTo>
                      <a:lnTo>
                        <a:pt x="308264" y="1180619"/>
                      </a:lnTo>
                      <a:lnTo>
                        <a:pt x="304442" y="1177767"/>
                      </a:lnTo>
                      <a:lnTo>
                        <a:pt x="300375" y="1174955"/>
                      </a:lnTo>
                      <a:lnTo>
                        <a:pt x="298036" y="1174857"/>
                      </a:lnTo>
                      <a:lnTo>
                        <a:pt x="296414" y="1174442"/>
                      </a:lnTo>
                      <a:lnTo>
                        <a:pt x="295004" y="1172991"/>
                      </a:lnTo>
                      <a:lnTo>
                        <a:pt x="294164" y="1171125"/>
                      </a:lnTo>
                      <a:lnTo>
                        <a:pt x="293227" y="1170293"/>
                      </a:lnTo>
                      <a:lnTo>
                        <a:pt x="291752" y="1170815"/>
                      </a:lnTo>
                      <a:lnTo>
                        <a:pt x="289585" y="1171663"/>
                      </a:lnTo>
                      <a:lnTo>
                        <a:pt x="286879" y="1171443"/>
                      </a:lnTo>
                      <a:lnTo>
                        <a:pt x="283358" y="1169258"/>
                      </a:lnTo>
                      <a:lnTo>
                        <a:pt x="280155" y="1166765"/>
                      </a:lnTo>
                      <a:lnTo>
                        <a:pt x="277792" y="1166708"/>
                      </a:lnTo>
                      <a:lnTo>
                        <a:pt x="275290" y="1166357"/>
                      </a:lnTo>
                      <a:lnTo>
                        <a:pt x="270514" y="1163146"/>
                      </a:lnTo>
                      <a:lnTo>
                        <a:pt x="269275" y="1163179"/>
                      </a:lnTo>
                      <a:lnTo>
                        <a:pt x="268501" y="1164124"/>
                      </a:lnTo>
                      <a:lnTo>
                        <a:pt x="268134" y="1166708"/>
                      </a:lnTo>
                      <a:lnTo>
                        <a:pt x="267735" y="1167262"/>
                      </a:lnTo>
                      <a:lnTo>
                        <a:pt x="266896" y="1167677"/>
                      </a:lnTo>
                      <a:lnTo>
                        <a:pt x="265266" y="1167963"/>
                      </a:lnTo>
                      <a:lnTo>
                        <a:pt x="262870" y="1166357"/>
                      </a:lnTo>
                      <a:lnTo>
                        <a:pt x="256765" y="1161076"/>
                      </a:lnTo>
                      <a:lnTo>
                        <a:pt x="254304" y="1157205"/>
                      </a:lnTo>
                      <a:lnTo>
                        <a:pt x="253742" y="1154401"/>
                      </a:lnTo>
                      <a:lnTo>
                        <a:pt x="251729" y="1152617"/>
                      </a:lnTo>
                      <a:lnTo>
                        <a:pt x="249781" y="1150033"/>
                      </a:lnTo>
                      <a:lnTo>
                        <a:pt x="247801" y="1149805"/>
                      </a:lnTo>
                      <a:lnTo>
                        <a:pt x="245625" y="1150628"/>
                      </a:lnTo>
                      <a:lnTo>
                        <a:pt x="243538" y="1151875"/>
                      </a:lnTo>
                      <a:lnTo>
                        <a:pt x="242553" y="1152225"/>
                      </a:lnTo>
                      <a:lnTo>
                        <a:pt x="239007" y="1152649"/>
                      </a:lnTo>
                      <a:lnTo>
                        <a:pt x="233327" y="1154401"/>
                      </a:lnTo>
                      <a:lnTo>
                        <a:pt x="231762" y="1156064"/>
                      </a:lnTo>
                      <a:lnTo>
                        <a:pt x="229863" y="1157417"/>
                      </a:lnTo>
                      <a:lnTo>
                        <a:pt x="228380" y="1156488"/>
                      </a:lnTo>
                      <a:lnTo>
                        <a:pt x="226897" y="1154817"/>
                      </a:lnTo>
                      <a:lnTo>
                        <a:pt x="223637" y="1154222"/>
                      </a:lnTo>
                      <a:lnTo>
                        <a:pt x="222088" y="1154817"/>
                      </a:lnTo>
                      <a:lnTo>
                        <a:pt x="220532" y="1153668"/>
                      </a:lnTo>
                      <a:lnTo>
                        <a:pt x="219187" y="1151622"/>
                      </a:lnTo>
                      <a:lnTo>
                        <a:pt x="217378" y="1150131"/>
                      </a:lnTo>
                      <a:lnTo>
                        <a:pt x="214689" y="1149732"/>
                      </a:lnTo>
                      <a:lnTo>
                        <a:pt x="211771" y="1149088"/>
                      </a:lnTo>
                      <a:lnTo>
                        <a:pt x="209440" y="1150237"/>
                      </a:lnTo>
                      <a:lnTo>
                        <a:pt x="206400" y="1152421"/>
                      </a:lnTo>
                      <a:lnTo>
                        <a:pt x="204355" y="1151590"/>
                      </a:lnTo>
                      <a:lnTo>
                        <a:pt x="203222" y="1148982"/>
                      </a:lnTo>
                      <a:lnTo>
                        <a:pt x="201812" y="1148257"/>
                      </a:lnTo>
                      <a:lnTo>
                        <a:pt x="199905" y="1145331"/>
                      </a:lnTo>
                      <a:lnTo>
                        <a:pt x="199416" y="1142723"/>
                      </a:lnTo>
                      <a:lnTo>
                        <a:pt x="199905" y="1141582"/>
                      </a:lnTo>
                      <a:lnTo>
                        <a:pt x="200606" y="1140123"/>
                      </a:lnTo>
                      <a:lnTo>
                        <a:pt x="200606" y="1138444"/>
                      </a:lnTo>
                      <a:lnTo>
                        <a:pt x="200051" y="1136985"/>
                      </a:lnTo>
                      <a:lnTo>
                        <a:pt x="199196" y="1135828"/>
                      </a:lnTo>
                      <a:lnTo>
                        <a:pt x="198275" y="1131973"/>
                      </a:lnTo>
                      <a:lnTo>
                        <a:pt x="197492" y="1130295"/>
                      </a:lnTo>
                      <a:lnTo>
                        <a:pt x="197362" y="1128933"/>
                      </a:lnTo>
                      <a:lnTo>
                        <a:pt x="197998" y="1127670"/>
                      </a:lnTo>
                      <a:lnTo>
                        <a:pt x="197436" y="1126839"/>
                      </a:lnTo>
                      <a:lnTo>
                        <a:pt x="196368" y="1126733"/>
                      </a:lnTo>
                      <a:lnTo>
                        <a:pt x="194607" y="1126839"/>
                      </a:lnTo>
                      <a:lnTo>
                        <a:pt x="193613" y="1126203"/>
                      </a:lnTo>
                      <a:lnTo>
                        <a:pt x="192554" y="1124003"/>
                      </a:lnTo>
                      <a:lnTo>
                        <a:pt x="192000" y="1121811"/>
                      </a:lnTo>
                      <a:lnTo>
                        <a:pt x="191282" y="1120971"/>
                      </a:lnTo>
                      <a:lnTo>
                        <a:pt x="189457" y="1121028"/>
                      </a:lnTo>
                      <a:lnTo>
                        <a:pt x="186433" y="1121493"/>
                      </a:lnTo>
                      <a:lnTo>
                        <a:pt x="183744" y="1122218"/>
                      </a:lnTo>
                      <a:lnTo>
                        <a:pt x="182554" y="1122120"/>
                      </a:lnTo>
                      <a:lnTo>
                        <a:pt x="180183" y="1120979"/>
                      </a:lnTo>
                      <a:lnTo>
                        <a:pt x="177069" y="1119732"/>
                      </a:lnTo>
                      <a:lnTo>
                        <a:pt x="170696" y="1119480"/>
                      </a:lnTo>
                      <a:lnTo>
                        <a:pt x="170191" y="1119056"/>
                      </a:lnTo>
                      <a:lnTo>
                        <a:pt x="170549" y="1118266"/>
                      </a:lnTo>
                      <a:lnTo>
                        <a:pt x="171845" y="1116978"/>
                      </a:lnTo>
                      <a:lnTo>
                        <a:pt x="171706" y="1115927"/>
                      </a:lnTo>
                      <a:lnTo>
                        <a:pt x="170590" y="1115087"/>
                      </a:lnTo>
                      <a:lnTo>
                        <a:pt x="170003" y="1112993"/>
                      </a:lnTo>
                      <a:lnTo>
                        <a:pt x="170085" y="1110629"/>
                      </a:lnTo>
                      <a:lnTo>
                        <a:pt x="169873" y="1108046"/>
                      </a:lnTo>
                      <a:lnTo>
                        <a:pt x="168528" y="1106057"/>
                      </a:lnTo>
                      <a:lnTo>
                        <a:pt x="167754" y="1104680"/>
                      </a:lnTo>
                      <a:lnTo>
                        <a:pt x="167893" y="1103417"/>
                      </a:lnTo>
                      <a:lnTo>
                        <a:pt x="170827" y="1102936"/>
                      </a:lnTo>
                      <a:lnTo>
                        <a:pt x="174306" y="1102039"/>
                      </a:lnTo>
                      <a:lnTo>
                        <a:pt x="174877" y="1101119"/>
                      </a:lnTo>
                      <a:lnTo>
                        <a:pt x="174763" y="1099676"/>
                      </a:lnTo>
                      <a:lnTo>
                        <a:pt x="167697" y="1092300"/>
                      </a:lnTo>
                      <a:lnTo>
                        <a:pt x="165268" y="1085756"/>
                      </a:lnTo>
                      <a:lnTo>
                        <a:pt x="162954" y="1082219"/>
                      </a:lnTo>
                      <a:lnTo>
                        <a:pt x="160403" y="1079831"/>
                      </a:lnTo>
                      <a:lnTo>
                        <a:pt x="158325" y="1078756"/>
                      </a:lnTo>
                      <a:lnTo>
                        <a:pt x="155301" y="1079204"/>
                      </a:lnTo>
                      <a:lnTo>
                        <a:pt x="151291" y="1079155"/>
                      </a:lnTo>
                      <a:lnTo>
                        <a:pt x="147201" y="1078421"/>
                      </a:lnTo>
                      <a:lnTo>
                        <a:pt x="143769" y="1078910"/>
                      </a:lnTo>
                      <a:lnTo>
                        <a:pt x="137600" y="1082032"/>
                      </a:lnTo>
                      <a:lnTo>
                        <a:pt x="135285" y="1082170"/>
                      </a:lnTo>
                      <a:lnTo>
                        <a:pt x="131292" y="1081192"/>
                      </a:lnTo>
                      <a:lnTo>
                        <a:pt x="127877" y="1080100"/>
                      </a:lnTo>
                      <a:lnTo>
                        <a:pt x="126085" y="1080149"/>
                      </a:lnTo>
                      <a:lnTo>
                        <a:pt x="125001" y="1080606"/>
                      </a:lnTo>
                      <a:lnTo>
                        <a:pt x="124291" y="1081453"/>
                      </a:lnTo>
                      <a:lnTo>
                        <a:pt x="122303" y="1087321"/>
                      </a:lnTo>
                      <a:lnTo>
                        <a:pt x="120665" y="1088470"/>
                      </a:lnTo>
                      <a:lnTo>
                        <a:pt x="118318" y="1089668"/>
                      </a:lnTo>
                      <a:lnTo>
                        <a:pt x="116313" y="1089880"/>
                      </a:lnTo>
                      <a:lnTo>
                        <a:pt x="114626" y="1089815"/>
                      </a:lnTo>
                      <a:lnTo>
                        <a:pt x="112206" y="1088918"/>
                      </a:lnTo>
                      <a:lnTo>
                        <a:pt x="109891" y="1087867"/>
                      </a:lnTo>
                      <a:lnTo>
                        <a:pt x="109426" y="1087794"/>
                      </a:lnTo>
                      <a:lnTo>
                        <a:pt x="109296" y="1086881"/>
                      </a:lnTo>
                      <a:lnTo>
                        <a:pt x="107609" y="1083352"/>
                      </a:lnTo>
                      <a:lnTo>
                        <a:pt x="106607" y="1081812"/>
                      </a:lnTo>
                      <a:lnTo>
                        <a:pt x="105409" y="1080972"/>
                      </a:lnTo>
                      <a:lnTo>
                        <a:pt x="104797" y="1079954"/>
                      </a:lnTo>
                      <a:lnTo>
                        <a:pt x="104789" y="1075732"/>
                      </a:lnTo>
                      <a:lnTo>
                        <a:pt x="105009" y="1071771"/>
                      </a:lnTo>
                      <a:lnTo>
                        <a:pt x="105759" y="1071258"/>
                      </a:lnTo>
                      <a:lnTo>
                        <a:pt x="103526" y="1068022"/>
                      </a:lnTo>
                      <a:lnTo>
                        <a:pt x="103363" y="1065578"/>
                      </a:lnTo>
                      <a:lnTo>
                        <a:pt x="104455" y="1064355"/>
                      </a:lnTo>
                      <a:lnTo>
                        <a:pt x="104496" y="1063320"/>
                      </a:lnTo>
                      <a:lnTo>
                        <a:pt x="103746" y="1061869"/>
                      </a:lnTo>
                      <a:lnTo>
                        <a:pt x="101464" y="1059482"/>
                      </a:lnTo>
                      <a:lnTo>
                        <a:pt x="99239" y="1056817"/>
                      </a:lnTo>
                      <a:lnTo>
                        <a:pt x="97797" y="1054706"/>
                      </a:lnTo>
                      <a:lnTo>
                        <a:pt x="96908" y="1053703"/>
                      </a:lnTo>
                      <a:lnTo>
                        <a:pt x="97992" y="1052049"/>
                      </a:lnTo>
                      <a:lnTo>
                        <a:pt x="99524" y="1049131"/>
                      </a:lnTo>
                      <a:lnTo>
                        <a:pt x="100111" y="1047412"/>
                      </a:lnTo>
                      <a:lnTo>
                        <a:pt x="100853" y="1046996"/>
                      </a:lnTo>
                      <a:lnTo>
                        <a:pt x="104447" y="1046743"/>
                      </a:lnTo>
                      <a:lnTo>
                        <a:pt x="107063" y="1046809"/>
                      </a:lnTo>
                      <a:lnTo>
                        <a:pt x="109027" y="1047436"/>
                      </a:lnTo>
                      <a:lnTo>
                        <a:pt x="109769" y="1048830"/>
                      </a:lnTo>
                      <a:lnTo>
                        <a:pt x="111561" y="1050354"/>
                      </a:lnTo>
                      <a:lnTo>
                        <a:pt x="116663" y="1050973"/>
                      </a:lnTo>
                      <a:lnTo>
                        <a:pt x="118807" y="1050916"/>
                      </a:lnTo>
                      <a:lnTo>
                        <a:pt x="121504" y="1049523"/>
                      </a:lnTo>
                      <a:lnTo>
                        <a:pt x="125848" y="1046450"/>
                      </a:lnTo>
                      <a:lnTo>
                        <a:pt x="126932" y="1044209"/>
                      </a:lnTo>
                      <a:lnTo>
                        <a:pt x="129621" y="1042628"/>
                      </a:lnTo>
                      <a:lnTo>
                        <a:pt x="131268" y="1042008"/>
                      </a:lnTo>
                      <a:lnTo>
                        <a:pt x="132751" y="1041740"/>
                      </a:lnTo>
                      <a:lnTo>
                        <a:pt x="132906" y="1040411"/>
                      </a:lnTo>
                      <a:lnTo>
                        <a:pt x="132808" y="1038618"/>
                      </a:lnTo>
                      <a:lnTo>
                        <a:pt x="132294" y="1037534"/>
                      </a:lnTo>
                      <a:lnTo>
                        <a:pt x="126932" y="1033834"/>
                      </a:lnTo>
                      <a:lnTo>
                        <a:pt x="126256" y="1032612"/>
                      </a:lnTo>
                      <a:lnTo>
                        <a:pt x="125832" y="1031194"/>
                      </a:lnTo>
                      <a:lnTo>
                        <a:pt x="126476" y="1029833"/>
                      </a:lnTo>
                      <a:lnTo>
                        <a:pt x="126459" y="1028341"/>
                      </a:lnTo>
                      <a:lnTo>
                        <a:pt x="120257" y="1025024"/>
                      </a:lnTo>
                      <a:lnTo>
                        <a:pt x="115099" y="1024429"/>
                      </a:lnTo>
                      <a:lnTo>
                        <a:pt x="110845" y="1024617"/>
                      </a:lnTo>
                      <a:lnTo>
                        <a:pt x="109182" y="1023916"/>
                      </a:lnTo>
                      <a:lnTo>
                        <a:pt x="109907" y="1022245"/>
                      </a:lnTo>
                      <a:lnTo>
                        <a:pt x="110959" y="1019222"/>
                      </a:lnTo>
                      <a:lnTo>
                        <a:pt x="111260" y="1016744"/>
                      </a:lnTo>
                      <a:lnTo>
                        <a:pt x="110966" y="1015620"/>
                      </a:lnTo>
                      <a:lnTo>
                        <a:pt x="110127" y="1014666"/>
                      </a:lnTo>
                      <a:lnTo>
                        <a:pt x="106069" y="1012580"/>
                      </a:lnTo>
                      <a:lnTo>
                        <a:pt x="100494" y="1009385"/>
                      </a:lnTo>
                      <a:lnTo>
                        <a:pt x="97903" y="1005767"/>
                      </a:lnTo>
                      <a:lnTo>
                        <a:pt x="96583" y="1001985"/>
                      </a:lnTo>
                      <a:lnTo>
                        <a:pt x="95066" y="999662"/>
                      </a:lnTo>
                      <a:lnTo>
                        <a:pt x="92337" y="998196"/>
                      </a:lnTo>
                      <a:lnTo>
                        <a:pt x="92516" y="997234"/>
                      </a:lnTo>
                      <a:lnTo>
                        <a:pt x="94325" y="993672"/>
                      </a:lnTo>
                      <a:lnTo>
                        <a:pt x="94252" y="993135"/>
                      </a:lnTo>
                      <a:lnTo>
                        <a:pt x="93494" y="992254"/>
                      </a:lnTo>
                      <a:lnTo>
                        <a:pt x="90103" y="990453"/>
                      </a:lnTo>
                      <a:lnTo>
                        <a:pt x="85491" y="987136"/>
                      </a:lnTo>
                      <a:lnTo>
                        <a:pt x="85303" y="986281"/>
                      </a:lnTo>
                      <a:lnTo>
                        <a:pt x="85645" y="984186"/>
                      </a:lnTo>
                      <a:lnTo>
                        <a:pt x="86273" y="982132"/>
                      </a:lnTo>
                      <a:lnTo>
                        <a:pt x="87169" y="981154"/>
                      </a:lnTo>
                      <a:lnTo>
                        <a:pt x="89932" y="976974"/>
                      </a:lnTo>
                      <a:lnTo>
                        <a:pt x="89932" y="975556"/>
                      </a:lnTo>
                      <a:lnTo>
                        <a:pt x="89460" y="973665"/>
                      </a:lnTo>
                      <a:lnTo>
                        <a:pt x="87439" y="970389"/>
                      </a:lnTo>
                      <a:lnTo>
                        <a:pt x="85874" y="968278"/>
                      </a:lnTo>
                      <a:lnTo>
                        <a:pt x="85784" y="967202"/>
                      </a:lnTo>
                      <a:lnTo>
                        <a:pt x="86053" y="966314"/>
                      </a:lnTo>
                      <a:lnTo>
                        <a:pt x="87063" y="965165"/>
                      </a:lnTo>
                      <a:lnTo>
                        <a:pt x="88017" y="963747"/>
                      </a:lnTo>
                      <a:lnTo>
                        <a:pt x="88213" y="958865"/>
                      </a:lnTo>
                      <a:lnTo>
                        <a:pt x="88172" y="957154"/>
                      </a:lnTo>
                      <a:lnTo>
                        <a:pt x="87561" y="956143"/>
                      </a:lnTo>
                      <a:lnTo>
                        <a:pt x="86917" y="955719"/>
                      </a:lnTo>
                      <a:lnTo>
                        <a:pt x="85539" y="955964"/>
                      </a:lnTo>
                      <a:lnTo>
                        <a:pt x="83584" y="955157"/>
                      </a:lnTo>
                      <a:lnTo>
                        <a:pt x="82109" y="953877"/>
                      </a:lnTo>
                      <a:lnTo>
                        <a:pt x="81196" y="953462"/>
                      </a:lnTo>
                      <a:lnTo>
                        <a:pt x="80234" y="952166"/>
                      </a:lnTo>
                      <a:lnTo>
                        <a:pt x="77471" y="949550"/>
                      </a:lnTo>
                      <a:lnTo>
                        <a:pt x="76999" y="948849"/>
                      </a:lnTo>
                      <a:lnTo>
                        <a:pt x="71465" y="946608"/>
                      </a:lnTo>
                      <a:lnTo>
                        <a:pt x="66738" y="946950"/>
                      </a:lnTo>
                      <a:lnTo>
                        <a:pt x="64122" y="946608"/>
                      </a:lnTo>
                      <a:lnTo>
                        <a:pt x="62745" y="947105"/>
                      </a:lnTo>
                      <a:lnTo>
                        <a:pt x="61318" y="948531"/>
                      </a:lnTo>
                      <a:lnTo>
                        <a:pt x="59338" y="949476"/>
                      </a:lnTo>
                      <a:lnTo>
                        <a:pt x="57863" y="949501"/>
                      </a:lnTo>
                      <a:lnTo>
                        <a:pt x="56510" y="950226"/>
                      </a:lnTo>
                      <a:lnTo>
                        <a:pt x="52843" y="952769"/>
                      </a:lnTo>
                      <a:lnTo>
                        <a:pt x="51115" y="951229"/>
                      </a:lnTo>
                      <a:lnTo>
                        <a:pt x="49648" y="948947"/>
                      </a:lnTo>
                      <a:lnTo>
                        <a:pt x="50129" y="947015"/>
                      </a:lnTo>
                      <a:lnTo>
                        <a:pt x="50748" y="945239"/>
                      </a:lnTo>
                      <a:lnTo>
                        <a:pt x="50708" y="944041"/>
                      </a:lnTo>
                      <a:lnTo>
                        <a:pt x="50178" y="943022"/>
                      </a:lnTo>
                      <a:lnTo>
                        <a:pt x="47904" y="941905"/>
                      </a:lnTo>
                      <a:lnTo>
                        <a:pt x="43047" y="939860"/>
                      </a:lnTo>
                      <a:lnTo>
                        <a:pt x="41661" y="939835"/>
                      </a:lnTo>
                      <a:lnTo>
                        <a:pt x="39575" y="940593"/>
                      </a:lnTo>
                      <a:lnTo>
                        <a:pt x="35793" y="942883"/>
                      </a:lnTo>
                      <a:lnTo>
                        <a:pt x="34449" y="942386"/>
                      </a:lnTo>
                      <a:lnTo>
                        <a:pt x="33210" y="940569"/>
                      </a:lnTo>
                      <a:lnTo>
                        <a:pt x="31874" y="938295"/>
                      </a:lnTo>
                      <a:lnTo>
                        <a:pt x="30064" y="937138"/>
                      </a:lnTo>
                      <a:lnTo>
                        <a:pt x="26169" y="937252"/>
                      </a:lnTo>
                      <a:lnTo>
                        <a:pt x="25802" y="937342"/>
                      </a:lnTo>
                      <a:lnTo>
                        <a:pt x="23919" y="938662"/>
                      </a:lnTo>
                      <a:lnTo>
                        <a:pt x="23129" y="938523"/>
                      </a:lnTo>
                      <a:lnTo>
                        <a:pt x="19747" y="935182"/>
                      </a:lnTo>
                      <a:lnTo>
                        <a:pt x="20374" y="933356"/>
                      </a:lnTo>
                      <a:lnTo>
                        <a:pt x="21092" y="930659"/>
                      </a:lnTo>
                      <a:lnTo>
                        <a:pt x="20830" y="928532"/>
                      </a:lnTo>
                      <a:lnTo>
                        <a:pt x="20276" y="925785"/>
                      </a:lnTo>
                      <a:lnTo>
                        <a:pt x="18826" y="921018"/>
                      </a:lnTo>
                      <a:lnTo>
                        <a:pt x="18630" y="919665"/>
                      </a:lnTo>
                      <a:lnTo>
                        <a:pt x="16267" y="917570"/>
                      </a:lnTo>
                      <a:lnTo>
                        <a:pt x="15868" y="915810"/>
                      </a:lnTo>
                      <a:lnTo>
                        <a:pt x="14621" y="913561"/>
                      </a:lnTo>
                      <a:lnTo>
                        <a:pt x="13398" y="912110"/>
                      </a:lnTo>
                      <a:lnTo>
                        <a:pt x="13137" y="908899"/>
                      </a:lnTo>
                      <a:lnTo>
                        <a:pt x="12323" y="907766"/>
                      </a:lnTo>
                      <a:lnTo>
                        <a:pt x="11263" y="907244"/>
                      </a:lnTo>
                      <a:lnTo>
                        <a:pt x="7538" y="908157"/>
                      </a:lnTo>
                      <a:lnTo>
                        <a:pt x="7131" y="908068"/>
                      </a:lnTo>
                      <a:lnTo>
                        <a:pt x="8916" y="902941"/>
                      </a:lnTo>
                      <a:lnTo>
                        <a:pt x="9062" y="899975"/>
                      </a:lnTo>
                      <a:lnTo>
                        <a:pt x="10195" y="896845"/>
                      </a:lnTo>
                      <a:lnTo>
                        <a:pt x="11475" y="895607"/>
                      </a:lnTo>
                      <a:lnTo>
                        <a:pt x="11866" y="894539"/>
                      </a:lnTo>
                      <a:lnTo>
                        <a:pt x="12061" y="892477"/>
                      </a:lnTo>
                      <a:lnTo>
                        <a:pt x="11825" y="890701"/>
                      </a:lnTo>
                      <a:lnTo>
                        <a:pt x="11035" y="889788"/>
                      </a:lnTo>
                      <a:lnTo>
                        <a:pt x="7962" y="887791"/>
                      </a:lnTo>
                      <a:lnTo>
                        <a:pt x="4629" y="885395"/>
                      </a:lnTo>
                      <a:lnTo>
                        <a:pt x="3953" y="882339"/>
                      </a:lnTo>
                      <a:lnTo>
                        <a:pt x="2926" y="881728"/>
                      </a:lnTo>
                      <a:lnTo>
                        <a:pt x="0" y="881565"/>
                      </a:lnTo>
                      <a:lnTo>
                        <a:pt x="65" y="880701"/>
                      </a:lnTo>
                      <a:lnTo>
                        <a:pt x="489" y="878272"/>
                      </a:lnTo>
                      <a:lnTo>
                        <a:pt x="1190" y="876161"/>
                      </a:lnTo>
                      <a:lnTo>
                        <a:pt x="3480" y="873888"/>
                      </a:lnTo>
                      <a:lnTo>
                        <a:pt x="4042" y="872355"/>
                      </a:lnTo>
                      <a:lnTo>
                        <a:pt x="4719" y="870978"/>
                      </a:lnTo>
                      <a:lnTo>
                        <a:pt x="9942" y="869356"/>
                      </a:lnTo>
                      <a:lnTo>
                        <a:pt x="10546" y="868737"/>
                      </a:lnTo>
                      <a:lnTo>
                        <a:pt x="10578" y="868199"/>
                      </a:lnTo>
                      <a:lnTo>
                        <a:pt x="10334" y="867678"/>
                      </a:lnTo>
                      <a:lnTo>
                        <a:pt x="9185" y="866838"/>
                      </a:lnTo>
                      <a:lnTo>
                        <a:pt x="7970" y="865697"/>
                      </a:lnTo>
                      <a:lnTo>
                        <a:pt x="7261" y="862592"/>
                      </a:lnTo>
                      <a:lnTo>
                        <a:pt x="5444" y="857727"/>
                      </a:lnTo>
                      <a:lnTo>
                        <a:pt x="3733" y="854467"/>
                      </a:lnTo>
                      <a:lnTo>
                        <a:pt x="3374" y="852552"/>
                      </a:lnTo>
                      <a:lnTo>
                        <a:pt x="3814" y="850351"/>
                      </a:lnTo>
                      <a:lnTo>
                        <a:pt x="4425" y="848183"/>
                      </a:lnTo>
                      <a:lnTo>
                        <a:pt x="4458" y="846064"/>
                      </a:lnTo>
                      <a:lnTo>
                        <a:pt x="1858" y="834345"/>
                      </a:lnTo>
                      <a:lnTo>
                        <a:pt x="2037" y="832210"/>
                      </a:lnTo>
                      <a:lnTo>
                        <a:pt x="2803" y="830083"/>
                      </a:lnTo>
                      <a:lnTo>
                        <a:pt x="3993" y="828298"/>
                      </a:lnTo>
                      <a:lnTo>
                        <a:pt x="6699" y="825984"/>
                      </a:lnTo>
                      <a:lnTo>
                        <a:pt x="10065" y="821754"/>
                      </a:lnTo>
                      <a:lnTo>
                        <a:pt x="12347" y="816187"/>
                      </a:lnTo>
                      <a:lnTo>
                        <a:pt x="13537" y="812822"/>
                      </a:lnTo>
                      <a:lnTo>
                        <a:pt x="14539" y="812047"/>
                      </a:lnTo>
                      <a:lnTo>
                        <a:pt x="16479" y="811868"/>
                      </a:lnTo>
                      <a:lnTo>
                        <a:pt x="17212" y="810833"/>
                      </a:lnTo>
                      <a:lnTo>
                        <a:pt x="17595" y="810222"/>
                      </a:lnTo>
                      <a:lnTo>
                        <a:pt x="19250" y="809652"/>
                      </a:lnTo>
                      <a:lnTo>
                        <a:pt x="19837" y="808983"/>
                      </a:lnTo>
                      <a:lnTo>
                        <a:pt x="19372" y="807850"/>
                      </a:lnTo>
                      <a:lnTo>
                        <a:pt x="17709" y="805862"/>
                      </a:lnTo>
                      <a:lnTo>
                        <a:pt x="16389" y="804623"/>
                      </a:lnTo>
                      <a:lnTo>
                        <a:pt x="17668" y="801852"/>
                      </a:lnTo>
                      <a:lnTo>
                        <a:pt x="17220" y="798144"/>
                      </a:lnTo>
                      <a:lnTo>
                        <a:pt x="16430" y="795055"/>
                      </a:lnTo>
                      <a:lnTo>
                        <a:pt x="17514" y="792798"/>
                      </a:lnTo>
                      <a:lnTo>
                        <a:pt x="19331" y="792602"/>
                      </a:lnTo>
                      <a:lnTo>
                        <a:pt x="21344" y="795063"/>
                      </a:lnTo>
                      <a:lnTo>
                        <a:pt x="24368" y="796343"/>
                      </a:lnTo>
                      <a:lnTo>
                        <a:pt x="26593" y="794688"/>
                      </a:lnTo>
                      <a:lnTo>
                        <a:pt x="27334" y="791494"/>
                      </a:lnTo>
                      <a:lnTo>
                        <a:pt x="28931" y="790092"/>
                      </a:lnTo>
                      <a:lnTo>
                        <a:pt x="31050" y="791339"/>
                      </a:lnTo>
                      <a:lnTo>
                        <a:pt x="34620" y="791795"/>
                      </a:lnTo>
                      <a:lnTo>
                        <a:pt x="37570" y="791592"/>
                      </a:lnTo>
                      <a:lnTo>
                        <a:pt x="39567" y="790923"/>
                      </a:lnTo>
                      <a:lnTo>
                        <a:pt x="40423" y="789888"/>
                      </a:lnTo>
                      <a:lnTo>
                        <a:pt x="41213" y="788014"/>
                      </a:lnTo>
                      <a:lnTo>
                        <a:pt x="42843" y="785650"/>
                      </a:lnTo>
                      <a:lnTo>
                        <a:pt x="44538" y="784102"/>
                      </a:lnTo>
                      <a:lnTo>
                        <a:pt x="57496" y="785862"/>
                      </a:lnTo>
                      <a:lnTo>
                        <a:pt x="68727" y="789139"/>
                      </a:lnTo>
                      <a:lnTo>
                        <a:pt x="69574" y="787908"/>
                      </a:lnTo>
                      <a:lnTo>
                        <a:pt x="69957" y="785797"/>
                      </a:lnTo>
                      <a:lnTo>
                        <a:pt x="67162" y="783988"/>
                      </a:lnTo>
                      <a:lnTo>
                        <a:pt x="65108" y="783034"/>
                      </a:lnTo>
                      <a:lnTo>
                        <a:pt x="62517" y="779261"/>
                      </a:lnTo>
                      <a:lnTo>
                        <a:pt x="58768" y="776286"/>
                      </a:lnTo>
                      <a:lnTo>
                        <a:pt x="54994" y="776017"/>
                      </a:lnTo>
                      <a:lnTo>
                        <a:pt x="50072" y="777061"/>
                      </a:lnTo>
                      <a:lnTo>
                        <a:pt x="42599" y="776441"/>
                      </a:lnTo>
                      <a:lnTo>
                        <a:pt x="36234" y="770834"/>
                      </a:lnTo>
                      <a:lnTo>
                        <a:pt x="32028" y="769074"/>
                      </a:lnTo>
                      <a:lnTo>
                        <a:pt x="29021" y="764771"/>
                      </a:lnTo>
                      <a:lnTo>
                        <a:pt x="28271" y="762473"/>
                      </a:lnTo>
                      <a:lnTo>
                        <a:pt x="31515" y="764420"/>
                      </a:lnTo>
                      <a:lnTo>
                        <a:pt x="31963" y="762359"/>
                      </a:lnTo>
                      <a:lnTo>
                        <a:pt x="32216" y="759620"/>
                      </a:lnTo>
                      <a:lnTo>
                        <a:pt x="30407" y="757950"/>
                      </a:lnTo>
                      <a:lnTo>
                        <a:pt x="28793" y="756963"/>
                      </a:lnTo>
                      <a:lnTo>
                        <a:pt x="20521" y="761234"/>
                      </a:lnTo>
                      <a:lnTo>
                        <a:pt x="11059" y="762628"/>
                      </a:lnTo>
                      <a:lnTo>
                        <a:pt x="19845" y="754201"/>
                      </a:lnTo>
                      <a:lnTo>
                        <a:pt x="26185" y="748121"/>
                      </a:lnTo>
                      <a:lnTo>
                        <a:pt x="27359" y="747208"/>
                      </a:lnTo>
                      <a:lnTo>
                        <a:pt x="30162" y="745570"/>
                      </a:lnTo>
                      <a:lnTo>
                        <a:pt x="32517" y="743851"/>
                      </a:lnTo>
                      <a:lnTo>
                        <a:pt x="34408" y="741593"/>
                      </a:lnTo>
                      <a:lnTo>
                        <a:pt x="40708" y="737151"/>
                      </a:lnTo>
                      <a:lnTo>
                        <a:pt x="47122" y="732343"/>
                      </a:lnTo>
                      <a:lnTo>
                        <a:pt x="53087" y="726011"/>
                      </a:lnTo>
                      <a:lnTo>
                        <a:pt x="55239" y="724022"/>
                      </a:lnTo>
                      <a:lnTo>
                        <a:pt x="57993" y="721887"/>
                      </a:lnTo>
                      <a:lnTo>
                        <a:pt x="64016" y="715172"/>
                      </a:lnTo>
                      <a:lnTo>
                        <a:pt x="65931" y="713305"/>
                      </a:lnTo>
                      <a:lnTo>
                        <a:pt x="73282" y="704862"/>
                      </a:lnTo>
                      <a:lnTo>
                        <a:pt x="77569" y="700649"/>
                      </a:lnTo>
                      <a:lnTo>
                        <a:pt x="79704" y="698228"/>
                      </a:lnTo>
                      <a:lnTo>
                        <a:pt x="88889" y="690217"/>
                      </a:lnTo>
                      <a:lnTo>
                        <a:pt x="95116" y="683771"/>
                      </a:lnTo>
                      <a:lnTo>
                        <a:pt x="97568" y="680226"/>
                      </a:lnTo>
                      <a:lnTo>
                        <a:pt x="99973" y="675148"/>
                      </a:lnTo>
                      <a:lnTo>
                        <a:pt x="101334" y="671676"/>
                      </a:lnTo>
                      <a:lnTo>
                        <a:pt x="103722" y="667186"/>
                      </a:lnTo>
                      <a:lnTo>
                        <a:pt x="103787" y="665686"/>
                      </a:lnTo>
                      <a:lnTo>
                        <a:pt x="103110" y="664309"/>
                      </a:lnTo>
                      <a:lnTo>
                        <a:pt x="101325" y="662149"/>
                      </a:lnTo>
                      <a:lnTo>
                        <a:pt x="98840" y="659664"/>
                      </a:lnTo>
                      <a:lnTo>
                        <a:pt x="96615" y="656624"/>
                      </a:lnTo>
                      <a:lnTo>
                        <a:pt x="94969" y="653886"/>
                      </a:lnTo>
                      <a:lnTo>
                        <a:pt x="89859" y="650063"/>
                      </a:lnTo>
                      <a:lnTo>
                        <a:pt x="81938" y="645239"/>
                      </a:lnTo>
                      <a:lnTo>
                        <a:pt x="76062" y="641661"/>
                      </a:lnTo>
                      <a:lnTo>
                        <a:pt x="67056" y="633984"/>
                      </a:lnTo>
                      <a:lnTo>
                        <a:pt x="65467" y="632069"/>
                      </a:lnTo>
                      <a:lnTo>
                        <a:pt x="65785" y="631572"/>
                      </a:lnTo>
                      <a:lnTo>
                        <a:pt x="70894" y="629241"/>
                      </a:lnTo>
                      <a:lnTo>
                        <a:pt x="75980" y="623243"/>
                      </a:lnTo>
                      <a:lnTo>
                        <a:pt x="78188" y="620203"/>
                      </a:lnTo>
                      <a:lnTo>
                        <a:pt x="78726" y="617839"/>
                      </a:lnTo>
                      <a:lnTo>
                        <a:pt x="78775" y="615183"/>
                      </a:lnTo>
                      <a:lnTo>
                        <a:pt x="78417" y="612729"/>
                      </a:lnTo>
                      <a:lnTo>
                        <a:pt x="77781" y="611205"/>
                      </a:lnTo>
                      <a:lnTo>
                        <a:pt x="75377" y="609290"/>
                      </a:lnTo>
                      <a:lnTo>
                        <a:pt x="68368" y="605786"/>
                      </a:lnTo>
                      <a:lnTo>
                        <a:pt x="66714" y="602567"/>
                      </a:lnTo>
                      <a:lnTo>
                        <a:pt x="65345" y="599177"/>
                      </a:lnTo>
                      <a:lnTo>
                        <a:pt x="65320" y="597775"/>
                      </a:lnTo>
                      <a:lnTo>
                        <a:pt x="68653" y="594140"/>
                      </a:lnTo>
                      <a:lnTo>
                        <a:pt x="68808" y="592314"/>
                      </a:lnTo>
                      <a:lnTo>
                        <a:pt x="68409" y="590448"/>
                      </a:lnTo>
                      <a:lnTo>
                        <a:pt x="67488" y="589087"/>
                      </a:lnTo>
                      <a:lnTo>
                        <a:pt x="60308" y="587433"/>
                      </a:lnTo>
                      <a:lnTo>
                        <a:pt x="58279" y="585697"/>
                      </a:lnTo>
                      <a:lnTo>
                        <a:pt x="56697" y="582918"/>
                      </a:lnTo>
                      <a:lnTo>
                        <a:pt x="55858" y="580530"/>
                      </a:lnTo>
                      <a:lnTo>
                        <a:pt x="55785" y="579120"/>
                      </a:lnTo>
                      <a:lnTo>
                        <a:pt x="56314" y="577547"/>
                      </a:lnTo>
                      <a:lnTo>
                        <a:pt x="58735" y="575819"/>
                      </a:lnTo>
                      <a:lnTo>
                        <a:pt x="60984" y="574662"/>
                      </a:lnTo>
                      <a:lnTo>
                        <a:pt x="61384" y="573097"/>
                      </a:lnTo>
                      <a:lnTo>
                        <a:pt x="61367" y="571402"/>
                      </a:lnTo>
                      <a:lnTo>
                        <a:pt x="60976" y="570579"/>
                      </a:lnTo>
                      <a:lnTo>
                        <a:pt x="56502" y="569772"/>
                      </a:lnTo>
                      <a:lnTo>
                        <a:pt x="56062" y="569308"/>
                      </a:lnTo>
                      <a:lnTo>
                        <a:pt x="55956" y="568721"/>
                      </a:lnTo>
                      <a:lnTo>
                        <a:pt x="56184" y="568020"/>
                      </a:lnTo>
                      <a:lnTo>
                        <a:pt x="58605" y="564997"/>
                      </a:lnTo>
                      <a:lnTo>
                        <a:pt x="58931" y="559227"/>
                      </a:lnTo>
                      <a:lnTo>
                        <a:pt x="61196" y="555184"/>
                      </a:lnTo>
                      <a:lnTo>
                        <a:pt x="58629" y="552829"/>
                      </a:lnTo>
                      <a:lnTo>
                        <a:pt x="58841" y="552413"/>
                      </a:lnTo>
                      <a:lnTo>
                        <a:pt x="62769" y="551175"/>
                      </a:lnTo>
                      <a:lnTo>
                        <a:pt x="66396" y="550873"/>
                      </a:lnTo>
                      <a:lnTo>
                        <a:pt x="68050" y="550400"/>
                      </a:lnTo>
                      <a:lnTo>
                        <a:pt x="68230" y="548518"/>
                      </a:lnTo>
                      <a:lnTo>
                        <a:pt x="67847" y="545959"/>
                      </a:lnTo>
                      <a:lnTo>
                        <a:pt x="64114" y="535902"/>
                      </a:lnTo>
                      <a:lnTo>
                        <a:pt x="63291" y="533001"/>
                      </a:lnTo>
                      <a:lnTo>
                        <a:pt x="60813" y="529333"/>
                      </a:lnTo>
                      <a:lnTo>
                        <a:pt x="58751" y="526872"/>
                      </a:lnTo>
                      <a:lnTo>
                        <a:pt x="57529" y="525104"/>
                      </a:lnTo>
                      <a:lnTo>
                        <a:pt x="55532" y="521656"/>
                      </a:lnTo>
                      <a:lnTo>
                        <a:pt x="54383" y="518119"/>
                      </a:lnTo>
                      <a:lnTo>
                        <a:pt x="52403" y="514158"/>
                      </a:lnTo>
                      <a:lnTo>
                        <a:pt x="50088" y="510524"/>
                      </a:lnTo>
                      <a:lnTo>
                        <a:pt x="48149" y="507158"/>
                      </a:lnTo>
                      <a:lnTo>
                        <a:pt x="43186" y="500557"/>
                      </a:lnTo>
                      <a:lnTo>
                        <a:pt x="42517" y="498723"/>
                      </a:lnTo>
                      <a:lnTo>
                        <a:pt x="42599" y="497068"/>
                      </a:lnTo>
                      <a:lnTo>
                        <a:pt x="43039" y="495316"/>
                      </a:lnTo>
                      <a:lnTo>
                        <a:pt x="46918" y="489905"/>
                      </a:lnTo>
                      <a:lnTo>
                        <a:pt x="50496" y="485382"/>
                      </a:lnTo>
                      <a:lnTo>
                        <a:pt x="55068" y="480076"/>
                      </a:lnTo>
                      <a:lnTo>
                        <a:pt x="59493" y="475667"/>
                      </a:lnTo>
                      <a:lnTo>
                        <a:pt x="64220" y="470419"/>
                      </a:lnTo>
                      <a:lnTo>
                        <a:pt x="65385" y="465179"/>
                      </a:lnTo>
                      <a:lnTo>
                        <a:pt x="65165" y="464307"/>
                      </a:lnTo>
                      <a:lnTo>
                        <a:pt x="61261" y="461462"/>
                      </a:lnTo>
                      <a:lnTo>
                        <a:pt x="53886" y="453850"/>
                      </a:lnTo>
                      <a:lnTo>
                        <a:pt x="49404" y="448072"/>
                      </a:lnTo>
                      <a:lnTo>
                        <a:pt x="42435" y="445619"/>
                      </a:lnTo>
                      <a:lnTo>
                        <a:pt x="33071" y="442490"/>
                      </a:lnTo>
                      <a:lnTo>
                        <a:pt x="29967" y="435424"/>
                      </a:lnTo>
                      <a:lnTo>
                        <a:pt x="27750" y="429434"/>
                      </a:lnTo>
                      <a:lnTo>
                        <a:pt x="27961" y="427266"/>
                      </a:lnTo>
                      <a:lnTo>
                        <a:pt x="34726" y="417005"/>
                      </a:lnTo>
                      <a:lnTo>
                        <a:pt x="35370" y="415139"/>
                      </a:lnTo>
                      <a:lnTo>
                        <a:pt x="35239" y="413990"/>
                      </a:lnTo>
                      <a:lnTo>
                        <a:pt x="34555" y="413273"/>
                      </a:lnTo>
                      <a:lnTo>
                        <a:pt x="33585" y="412865"/>
                      </a:lnTo>
                      <a:lnTo>
                        <a:pt x="27318" y="412564"/>
                      </a:lnTo>
                      <a:lnTo>
                        <a:pt x="26340" y="411170"/>
                      </a:lnTo>
                      <a:lnTo>
                        <a:pt x="30105" y="410111"/>
                      </a:lnTo>
                      <a:lnTo>
                        <a:pt x="33243" y="408660"/>
                      </a:lnTo>
                      <a:lnTo>
                        <a:pt x="38369" y="406517"/>
                      </a:lnTo>
                      <a:lnTo>
                        <a:pt x="40031" y="405979"/>
                      </a:lnTo>
                      <a:lnTo>
                        <a:pt x="43813" y="404740"/>
                      </a:lnTo>
                      <a:lnTo>
                        <a:pt x="45117" y="403787"/>
                      </a:lnTo>
                      <a:lnTo>
                        <a:pt x="46086" y="402670"/>
                      </a:lnTo>
                      <a:lnTo>
                        <a:pt x="49640" y="395001"/>
                      </a:lnTo>
                      <a:lnTo>
                        <a:pt x="50512" y="393779"/>
                      </a:lnTo>
                      <a:lnTo>
                        <a:pt x="61530" y="391024"/>
                      </a:lnTo>
                      <a:lnTo>
                        <a:pt x="65532" y="389598"/>
                      </a:lnTo>
                      <a:lnTo>
                        <a:pt x="67847" y="387813"/>
                      </a:lnTo>
                      <a:lnTo>
                        <a:pt x="68955" y="386420"/>
                      </a:lnTo>
                      <a:lnTo>
                        <a:pt x="69745" y="384765"/>
                      </a:lnTo>
                      <a:lnTo>
                        <a:pt x="70316" y="382940"/>
                      </a:lnTo>
                      <a:lnTo>
                        <a:pt x="70552" y="381261"/>
                      </a:lnTo>
                      <a:lnTo>
                        <a:pt x="69648" y="379077"/>
                      </a:lnTo>
                      <a:lnTo>
                        <a:pt x="70145" y="378808"/>
                      </a:lnTo>
                      <a:lnTo>
                        <a:pt x="71327" y="378897"/>
                      </a:lnTo>
                      <a:lnTo>
                        <a:pt x="75100" y="381073"/>
                      </a:lnTo>
                      <a:lnTo>
                        <a:pt x="80951" y="383388"/>
                      </a:lnTo>
                      <a:lnTo>
                        <a:pt x="85246" y="383567"/>
                      </a:lnTo>
                      <a:lnTo>
                        <a:pt x="87031" y="383143"/>
                      </a:lnTo>
                      <a:lnTo>
                        <a:pt x="87927" y="382117"/>
                      </a:lnTo>
                      <a:lnTo>
                        <a:pt x="88563" y="380144"/>
                      </a:lnTo>
                      <a:lnTo>
                        <a:pt x="88604" y="378099"/>
                      </a:lnTo>
                      <a:lnTo>
                        <a:pt x="87251" y="372247"/>
                      </a:lnTo>
                      <a:lnTo>
                        <a:pt x="91717" y="372883"/>
                      </a:lnTo>
                      <a:lnTo>
                        <a:pt x="101709" y="376420"/>
                      </a:lnTo>
                      <a:lnTo>
                        <a:pt x="104047" y="376094"/>
                      </a:lnTo>
                      <a:lnTo>
                        <a:pt x="107006" y="375026"/>
                      </a:lnTo>
                      <a:lnTo>
                        <a:pt x="110046" y="370805"/>
                      </a:lnTo>
                      <a:lnTo>
                        <a:pt x="112287" y="370079"/>
                      </a:lnTo>
                      <a:lnTo>
                        <a:pt x="115237" y="371074"/>
                      </a:lnTo>
                      <a:lnTo>
                        <a:pt x="116044" y="369941"/>
                      </a:lnTo>
                      <a:lnTo>
                        <a:pt x="114528" y="366436"/>
                      </a:lnTo>
                      <a:lnTo>
                        <a:pt x="114911" y="364660"/>
                      </a:lnTo>
                      <a:lnTo>
                        <a:pt x="125009" y="368449"/>
                      </a:lnTo>
                      <a:lnTo>
                        <a:pt x="129312" y="371220"/>
                      </a:lnTo>
                      <a:lnTo>
                        <a:pt x="138643" y="373649"/>
                      </a:lnTo>
                      <a:lnTo>
                        <a:pt x="140281" y="374977"/>
                      </a:lnTo>
                      <a:lnTo>
                        <a:pt x="140395" y="377267"/>
                      </a:lnTo>
                      <a:lnTo>
                        <a:pt x="139955" y="379240"/>
                      </a:lnTo>
                      <a:lnTo>
                        <a:pt x="137983" y="380324"/>
                      </a:lnTo>
                      <a:lnTo>
                        <a:pt x="133990" y="380144"/>
                      </a:lnTo>
                      <a:lnTo>
                        <a:pt x="119679" y="377113"/>
                      </a:lnTo>
                      <a:lnTo>
                        <a:pt x="117568" y="378946"/>
                      </a:lnTo>
                      <a:lnTo>
                        <a:pt x="119288" y="380552"/>
                      </a:lnTo>
                      <a:lnTo>
                        <a:pt x="123485" y="382426"/>
                      </a:lnTo>
                      <a:lnTo>
                        <a:pt x="124658" y="385768"/>
                      </a:lnTo>
                      <a:lnTo>
                        <a:pt x="131080" y="385303"/>
                      </a:lnTo>
                      <a:lnTo>
                        <a:pt x="137209" y="386566"/>
                      </a:lnTo>
                      <a:lnTo>
                        <a:pt x="140078" y="386167"/>
                      </a:lnTo>
                      <a:lnTo>
                        <a:pt x="140607" y="387251"/>
                      </a:lnTo>
                      <a:lnTo>
                        <a:pt x="138635" y="390014"/>
                      </a:lnTo>
                      <a:lnTo>
                        <a:pt x="139564" y="390714"/>
                      </a:lnTo>
                      <a:lnTo>
                        <a:pt x="146435" y="388041"/>
                      </a:lnTo>
                      <a:lnTo>
                        <a:pt x="149637" y="387308"/>
                      </a:lnTo>
                      <a:lnTo>
                        <a:pt x="151357" y="388017"/>
                      </a:lnTo>
                      <a:lnTo>
                        <a:pt x="151593" y="390234"/>
                      </a:lnTo>
                      <a:lnTo>
                        <a:pt x="150460" y="393021"/>
                      </a:lnTo>
                      <a:lnTo>
                        <a:pt x="150330" y="395140"/>
                      </a:lnTo>
                      <a:lnTo>
                        <a:pt x="148211" y="400250"/>
                      </a:lnTo>
                      <a:lnTo>
                        <a:pt x="144959" y="401798"/>
                      </a:lnTo>
                      <a:lnTo>
                        <a:pt x="143582" y="403917"/>
                      </a:lnTo>
                      <a:lnTo>
                        <a:pt x="148358" y="402613"/>
                      </a:lnTo>
                      <a:lnTo>
                        <a:pt x="150900" y="401195"/>
                      </a:lnTo>
                      <a:lnTo>
                        <a:pt x="155644" y="394178"/>
                      </a:lnTo>
                      <a:lnTo>
                        <a:pt x="157061" y="393241"/>
                      </a:lnTo>
                      <a:lnTo>
                        <a:pt x="170582" y="393119"/>
                      </a:lnTo>
                      <a:lnTo>
                        <a:pt x="173646" y="393567"/>
                      </a:lnTo>
                      <a:lnTo>
                        <a:pt x="186311" y="396876"/>
                      </a:lnTo>
                      <a:lnTo>
                        <a:pt x="189929" y="397185"/>
                      </a:lnTo>
                      <a:lnTo>
                        <a:pt x="194053" y="396762"/>
                      </a:lnTo>
                      <a:lnTo>
                        <a:pt x="195471" y="395221"/>
                      </a:lnTo>
                      <a:lnTo>
                        <a:pt x="196881" y="394781"/>
                      </a:lnTo>
                      <a:lnTo>
                        <a:pt x="210980" y="398481"/>
                      </a:lnTo>
                      <a:lnTo>
                        <a:pt x="229831" y="406794"/>
                      </a:lnTo>
                      <a:lnTo>
                        <a:pt x="257417" y="420494"/>
                      </a:lnTo>
                      <a:lnTo>
                        <a:pt x="272967" y="432629"/>
                      </a:lnTo>
                      <a:lnTo>
                        <a:pt x="274768" y="435245"/>
                      </a:lnTo>
                      <a:lnTo>
                        <a:pt x="280383" y="436712"/>
                      </a:lnTo>
                      <a:lnTo>
                        <a:pt x="281606" y="435717"/>
                      </a:lnTo>
                      <a:lnTo>
                        <a:pt x="284719" y="436581"/>
                      </a:lnTo>
                      <a:lnTo>
                        <a:pt x="303015" y="447640"/>
                      </a:lnTo>
                      <a:lnTo>
                        <a:pt x="309315" y="448211"/>
                      </a:lnTo>
                      <a:lnTo>
                        <a:pt x="308484" y="445872"/>
                      </a:lnTo>
                      <a:lnTo>
                        <a:pt x="307416" y="443696"/>
                      </a:lnTo>
                      <a:lnTo>
                        <a:pt x="308973" y="444193"/>
                      </a:lnTo>
                      <a:lnTo>
                        <a:pt x="311116" y="445774"/>
                      </a:lnTo>
                      <a:lnTo>
                        <a:pt x="314596" y="450093"/>
                      </a:lnTo>
                      <a:lnTo>
                        <a:pt x="318834" y="453288"/>
                      </a:lnTo>
                      <a:lnTo>
                        <a:pt x="323145" y="458080"/>
                      </a:lnTo>
                      <a:lnTo>
                        <a:pt x="326747" y="459914"/>
                      </a:lnTo>
                      <a:lnTo>
                        <a:pt x="329983" y="460590"/>
                      </a:lnTo>
                      <a:lnTo>
                        <a:pt x="332713" y="461943"/>
                      </a:lnTo>
                      <a:lnTo>
                        <a:pt x="337676" y="463231"/>
                      </a:lnTo>
                      <a:lnTo>
                        <a:pt x="340023" y="474893"/>
                      </a:lnTo>
                      <a:lnTo>
                        <a:pt x="341832" y="477411"/>
                      </a:lnTo>
                      <a:lnTo>
                        <a:pt x="341832" y="482562"/>
                      </a:lnTo>
                      <a:lnTo>
                        <a:pt x="344994" y="484656"/>
                      </a:lnTo>
                      <a:lnTo>
                        <a:pt x="347407" y="485031"/>
                      </a:lnTo>
                      <a:lnTo>
                        <a:pt x="347293" y="488837"/>
                      </a:lnTo>
                      <a:lnTo>
                        <a:pt x="345337" y="497753"/>
                      </a:lnTo>
                      <a:lnTo>
                        <a:pt x="343185" y="501551"/>
                      </a:lnTo>
                      <a:lnTo>
                        <a:pt x="326633" y="517818"/>
                      </a:lnTo>
                      <a:lnTo>
                        <a:pt x="316267" y="524085"/>
                      </a:lnTo>
                      <a:lnTo>
                        <a:pt x="296071" y="531248"/>
                      </a:lnTo>
                      <a:lnTo>
                        <a:pt x="280310" y="533938"/>
                      </a:lnTo>
                      <a:lnTo>
                        <a:pt x="273961" y="534133"/>
                      </a:lnTo>
                      <a:lnTo>
                        <a:pt x="261631" y="532813"/>
                      </a:lnTo>
                      <a:lnTo>
                        <a:pt x="254875" y="531363"/>
                      </a:lnTo>
                      <a:lnTo>
                        <a:pt x="246611" y="527288"/>
                      </a:lnTo>
                      <a:lnTo>
                        <a:pt x="238885" y="525258"/>
                      </a:lnTo>
                      <a:lnTo>
                        <a:pt x="233588" y="524362"/>
                      </a:lnTo>
                      <a:lnTo>
                        <a:pt x="223759" y="523987"/>
                      </a:lnTo>
                      <a:lnTo>
                        <a:pt x="202431" y="519994"/>
                      </a:lnTo>
                      <a:lnTo>
                        <a:pt x="198723" y="518584"/>
                      </a:lnTo>
                      <a:lnTo>
                        <a:pt x="185341" y="510776"/>
                      </a:lnTo>
                      <a:lnTo>
                        <a:pt x="180027" y="512977"/>
                      </a:lnTo>
                      <a:lnTo>
                        <a:pt x="176857" y="513376"/>
                      </a:lnTo>
                      <a:lnTo>
                        <a:pt x="174714" y="510687"/>
                      </a:lnTo>
                      <a:lnTo>
                        <a:pt x="175578" y="509978"/>
                      </a:lnTo>
                      <a:lnTo>
                        <a:pt x="176091" y="509057"/>
                      </a:lnTo>
                      <a:lnTo>
                        <a:pt x="168512" y="506824"/>
                      </a:lnTo>
                      <a:lnTo>
                        <a:pt x="162253" y="506677"/>
                      </a:lnTo>
                      <a:lnTo>
                        <a:pt x="158928" y="504778"/>
                      </a:lnTo>
                      <a:lnTo>
                        <a:pt x="154853" y="503327"/>
                      </a:lnTo>
                      <a:lnTo>
                        <a:pt x="153060" y="504199"/>
                      </a:lnTo>
                      <a:lnTo>
                        <a:pt x="152041" y="504199"/>
                      </a:lnTo>
                      <a:lnTo>
                        <a:pt x="143810" y="500785"/>
                      </a:lnTo>
                      <a:lnTo>
                        <a:pt x="140126" y="498014"/>
                      </a:lnTo>
                      <a:lnTo>
                        <a:pt x="136304" y="493140"/>
                      </a:lnTo>
                      <a:lnTo>
                        <a:pt x="137250" y="491437"/>
                      </a:lnTo>
                      <a:lnTo>
                        <a:pt x="138366" y="490329"/>
                      </a:lnTo>
                      <a:lnTo>
                        <a:pt x="125204" y="487493"/>
                      </a:lnTo>
                      <a:lnTo>
                        <a:pt x="112686" y="487118"/>
                      </a:lnTo>
                      <a:lnTo>
                        <a:pt x="114862" y="488471"/>
                      </a:lnTo>
                      <a:lnTo>
                        <a:pt x="120290" y="489196"/>
                      </a:lnTo>
                      <a:lnTo>
                        <a:pt x="123729" y="491144"/>
                      </a:lnTo>
                      <a:lnTo>
                        <a:pt x="127715" y="493906"/>
                      </a:lnTo>
                      <a:lnTo>
                        <a:pt x="126785" y="497672"/>
                      </a:lnTo>
                      <a:lnTo>
                        <a:pt x="132303" y="501396"/>
                      </a:lnTo>
                      <a:lnTo>
                        <a:pt x="136549" y="504949"/>
                      </a:lnTo>
                      <a:lnTo>
                        <a:pt x="136671" y="506049"/>
                      </a:lnTo>
                      <a:lnTo>
                        <a:pt x="138326" y="506791"/>
                      </a:lnTo>
                      <a:lnTo>
                        <a:pt x="144568" y="507818"/>
                      </a:lnTo>
                      <a:lnTo>
                        <a:pt x="145660" y="511086"/>
                      </a:lnTo>
                      <a:lnTo>
                        <a:pt x="144625" y="512374"/>
                      </a:lnTo>
                      <a:lnTo>
                        <a:pt x="145481" y="514183"/>
                      </a:lnTo>
                      <a:lnTo>
                        <a:pt x="150142" y="516212"/>
                      </a:lnTo>
                      <a:lnTo>
                        <a:pt x="152930" y="516758"/>
                      </a:lnTo>
                      <a:lnTo>
                        <a:pt x="156353" y="517989"/>
                      </a:lnTo>
                      <a:lnTo>
                        <a:pt x="154796" y="520483"/>
                      </a:lnTo>
                      <a:lnTo>
                        <a:pt x="151919" y="522088"/>
                      </a:lnTo>
                      <a:lnTo>
                        <a:pt x="149026" y="522830"/>
                      </a:lnTo>
                      <a:lnTo>
                        <a:pt x="150403" y="523417"/>
                      </a:lnTo>
                      <a:lnTo>
                        <a:pt x="154144" y="523196"/>
                      </a:lnTo>
                      <a:lnTo>
                        <a:pt x="167689" y="527288"/>
                      </a:lnTo>
                      <a:lnTo>
                        <a:pt x="174795" y="531411"/>
                      </a:lnTo>
                      <a:lnTo>
                        <a:pt x="182049" y="538925"/>
                      </a:lnTo>
                      <a:lnTo>
                        <a:pt x="184396" y="542642"/>
                      </a:lnTo>
                      <a:lnTo>
                        <a:pt x="184559" y="544687"/>
                      </a:lnTo>
                      <a:lnTo>
                        <a:pt x="184168" y="546733"/>
                      </a:lnTo>
                      <a:lnTo>
                        <a:pt x="183108" y="548933"/>
                      </a:lnTo>
                      <a:lnTo>
                        <a:pt x="182635" y="551150"/>
                      </a:lnTo>
                      <a:lnTo>
                        <a:pt x="180158" y="557678"/>
                      </a:lnTo>
                      <a:lnTo>
                        <a:pt x="178389" y="559936"/>
                      </a:lnTo>
                      <a:lnTo>
                        <a:pt x="174975" y="562511"/>
                      </a:lnTo>
                      <a:lnTo>
                        <a:pt x="178186" y="567490"/>
                      </a:lnTo>
                      <a:lnTo>
                        <a:pt x="181535" y="572119"/>
                      </a:lnTo>
                      <a:lnTo>
                        <a:pt x="184819" y="579796"/>
                      </a:lnTo>
                      <a:lnTo>
                        <a:pt x="185406" y="582877"/>
                      </a:lnTo>
                      <a:lnTo>
                        <a:pt x="185545" y="587604"/>
                      </a:lnTo>
                      <a:lnTo>
                        <a:pt x="188511" y="589454"/>
                      </a:lnTo>
                      <a:lnTo>
                        <a:pt x="187354" y="590195"/>
                      </a:lnTo>
                      <a:lnTo>
                        <a:pt x="186180" y="591532"/>
                      </a:lnTo>
                      <a:lnTo>
                        <a:pt x="186457" y="597677"/>
                      </a:lnTo>
                      <a:lnTo>
                        <a:pt x="190565" y="602697"/>
                      </a:lnTo>
                      <a:lnTo>
                        <a:pt x="196743" y="605941"/>
                      </a:lnTo>
                      <a:lnTo>
                        <a:pt x="200410" y="606601"/>
                      </a:lnTo>
                      <a:lnTo>
                        <a:pt x="205740" y="605281"/>
                      </a:lnTo>
                      <a:lnTo>
                        <a:pt x="209587" y="607082"/>
                      </a:lnTo>
                      <a:lnTo>
                        <a:pt x="218128" y="613186"/>
                      </a:lnTo>
                      <a:lnTo>
                        <a:pt x="221982" y="619632"/>
                      </a:lnTo>
                      <a:lnTo>
                        <a:pt x="223555" y="620944"/>
                      </a:lnTo>
                      <a:lnTo>
                        <a:pt x="232194" y="623349"/>
                      </a:lnTo>
                      <a:lnTo>
                        <a:pt x="238673" y="624824"/>
                      </a:lnTo>
                      <a:lnTo>
                        <a:pt x="248542" y="628687"/>
                      </a:lnTo>
                      <a:lnTo>
                        <a:pt x="250262" y="628825"/>
                      </a:lnTo>
                      <a:lnTo>
                        <a:pt x="255054" y="625492"/>
                      </a:lnTo>
                      <a:lnTo>
                        <a:pt x="263310" y="623177"/>
                      </a:lnTo>
                      <a:lnTo>
                        <a:pt x="265861" y="619991"/>
                      </a:lnTo>
                      <a:lnTo>
                        <a:pt x="265649" y="617277"/>
                      </a:lnTo>
                      <a:lnTo>
                        <a:pt x="263538" y="612436"/>
                      </a:lnTo>
                      <a:lnTo>
                        <a:pt x="262951" y="607709"/>
                      </a:lnTo>
                      <a:lnTo>
                        <a:pt x="260221" y="605786"/>
                      </a:lnTo>
                      <a:lnTo>
                        <a:pt x="257662" y="604498"/>
                      </a:lnTo>
                      <a:lnTo>
                        <a:pt x="249952" y="605484"/>
                      </a:lnTo>
                      <a:lnTo>
                        <a:pt x="246481" y="605297"/>
                      </a:lnTo>
                      <a:lnTo>
                        <a:pt x="243856" y="604017"/>
                      </a:lnTo>
                      <a:lnTo>
                        <a:pt x="240295" y="600643"/>
                      </a:lnTo>
                      <a:lnTo>
                        <a:pt x="233571" y="592429"/>
                      </a:lnTo>
                      <a:lnTo>
                        <a:pt x="229977" y="589690"/>
                      </a:lnTo>
                      <a:lnTo>
                        <a:pt x="228853" y="587995"/>
                      </a:lnTo>
                      <a:lnTo>
                        <a:pt x="227589" y="585623"/>
                      </a:lnTo>
                      <a:lnTo>
                        <a:pt x="227752" y="581793"/>
                      </a:lnTo>
                      <a:lnTo>
                        <a:pt x="230695" y="581915"/>
                      </a:lnTo>
                      <a:lnTo>
                        <a:pt x="233987" y="579748"/>
                      </a:lnTo>
                      <a:lnTo>
                        <a:pt x="236391" y="571940"/>
                      </a:lnTo>
                      <a:lnTo>
                        <a:pt x="240547" y="570946"/>
                      </a:lnTo>
                      <a:lnTo>
                        <a:pt x="242789" y="571019"/>
                      </a:lnTo>
                      <a:lnTo>
                        <a:pt x="252397" y="574646"/>
                      </a:lnTo>
                      <a:lnTo>
                        <a:pt x="264337" y="584311"/>
                      </a:lnTo>
                      <a:lnTo>
                        <a:pt x="266969" y="585322"/>
                      </a:lnTo>
                      <a:lnTo>
                        <a:pt x="269756" y="585460"/>
                      </a:lnTo>
                      <a:lnTo>
                        <a:pt x="274320" y="585208"/>
                      </a:lnTo>
                      <a:lnTo>
                        <a:pt x="275053" y="586479"/>
                      </a:lnTo>
                      <a:lnTo>
                        <a:pt x="277515" y="587987"/>
                      </a:lnTo>
                      <a:lnTo>
                        <a:pt x="279299" y="588174"/>
                      </a:lnTo>
                      <a:lnTo>
                        <a:pt x="290228" y="591230"/>
                      </a:lnTo>
                      <a:lnTo>
                        <a:pt x="302983" y="597245"/>
                      </a:lnTo>
                      <a:lnTo>
                        <a:pt x="307701" y="596960"/>
                      </a:lnTo>
                      <a:lnTo>
                        <a:pt x="309560" y="593643"/>
                      </a:lnTo>
                      <a:lnTo>
                        <a:pt x="309943" y="592208"/>
                      </a:lnTo>
                      <a:lnTo>
                        <a:pt x="315142" y="588843"/>
                      </a:lnTo>
                      <a:lnTo>
                        <a:pt x="318752" y="588280"/>
                      </a:lnTo>
                      <a:lnTo>
                        <a:pt x="323813" y="589511"/>
                      </a:lnTo>
                      <a:lnTo>
                        <a:pt x="324742" y="588508"/>
                      </a:lnTo>
                      <a:lnTo>
                        <a:pt x="323015" y="583570"/>
                      </a:lnTo>
                      <a:lnTo>
                        <a:pt x="320676" y="579283"/>
                      </a:lnTo>
                      <a:lnTo>
                        <a:pt x="317245" y="576537"/>
                      </a:lnTo>
                      <a:lnTo>
                        <a:pt x="311140" y="568468"/>
                      </a:lnTo>
                      <a:lnTo>
                        <a:pt x="308696" y="564450"/>
                      </a:lnTo>
                      <a:lnTo>
                        <a:pt x="307473" y="560302"/>
                      </a:lnTo>
                      <a:lnTo>
                        <a:pt x="308272" y="556635"/>
                      </a:lnTo>
                      <a:lnTo>
                        <a:pt x="309152" y="553954"/>
                      </a:lnTo>
                      <a:lnTo>
                        <a:pt x="321833" y="547434"/>
                      </a:lnTo>
                      <a:lnTo>
                        <a:pt x="326430" y="543522"/>
                      </a:lnTo>
                      <a:lnTo>
                        <a:pt x="330863" y="538437"/>
                      </a:lnTo>
                      <a:lnTo>
                        <a:pt x="332916" y="537402"/>
                      </a:lnTo>
                      <a:lnTo>
                        <a:pt x="340390" y="535975"/>
                      </a:lnTo>
                      <a:lnTo>
                        <a:pt x="350300" y="531615"/>
                      </a:lnTo>
                      <a:lnTo>
                        <a:pt x="357871" y="525821"/>
                      </a:lnTo>
                      <a:lnTo>
                        <a:pt x="365385" y="516995"/>
                      </a:lnTo>
                      <a:lnTo>
                        <a:pt x="368531" y="514696"/>
                      </a:lnTo>
                      <a:lnTo>
                        <a:pt x="371090" y="514900"/>
                      </a:lnTo>
                      <a:lnTo>
                        <a:pt x="374488" y="516294"/>
                      </a:lnTo>
                      <a:lnTo>
                        <a:pt x="378237" y="518853"/>
                      </a:lnTo>
                      <a:lnTo>
                        <a:pt x="383315" y="519325"/>
                      </a:lnTo>
                      <a:lnTo>
                        <a:pt x="388261" y="518926"/>
                      </a:lnTo>
                      <a:lnTo>
                        <a:pt x="393893" y="519146"/>
                      </a:lnTo>
                      <a:lnTo>
                        <a:pt x="401774" y="523180"/>
                      </a:lnTo>
                      <a:lnTo>
                        <a:pt x="403078" y="524460"/>
                      </a:lnTo>
                      <a:lnTo>
                        <a:pt x="404308" y="526187"/>
                      </a:lnTo>
                      <a:lnTo>
                        <a:pt x="401765" y="529488"/>
                      </a:lnTo>
                      <a:lnTo>
                        <a:pt x="401545" y="531623"/>
                      </a:lnTo>
                      <a:lnTo>
                        <a:pt x="403575" y="530629"/>
                      </a:lnTo>
                      <a:lnTo>
                        <a:pt x="406386" y="530132"/>
                      </a:lnTo>
                      <a:lnTo>
                        <a:pt x="409035" y="530808"/>
                      </a:lnTo>
                      <a:lnTo>
                        <a:pt x="411529" y="532675"/>
                      </a:lnTo>
                      <a:lnTo>
                        <a:pt x="413330" y="534761"/>
                      </a:lnTo>
                      <a:lnTo>
                        <a:pt x="415498" y="536513"/>
                      </a:lnTo>
                      <a:lnTo>
                        <a:pt x="416191" y="534125"/>
                      </a:lnTo>
                      <a:lnTo>
                        <a:pt x="416516" y="532080"/>
                      </a:lnTo>
                      <a:lnTo>
                        <a:pt x="415319" y="526856"/>
                      </a:lnTo>
                      <a:lnTo>
                        <a:pt x="418391" y="519505"/>
                      </a:lnTo>
                      <a:lnTo>
                        <a:pt x="420762" y="516318"/>
                      </a:lnTo>
                      <a:lnTo>
                        <a:pt x="425033" y="508168"/>
                      </a:lnTo>
                      <a:lnTo>
                        <a:pt x="423753" y="502896"/>
                      </a:lnTo>
                      <a:lnTo>
                        <a:pt x="423566" y="496751"/>
                      </a:lnTo>
                      <a:lnTo>
                        <a:pt x="422931" y="493882"/>
                      </a:lnTo>
                      <a:lnTo>
                        <a:pt x="420159" y="489783"/>
                      </a:lnTo>
                      <a:lnTo>
                        <a:pt x="414764" y="486865"/>
                      </a:lnTo>
                      <a:lnTo>
                        <a:pt x="409329" y="485944"/>
                      </a:lnTo>
                      <a:lnTo>
                        <a:pt x="407511" y="483100"/>
                      </a:lnTo>
                      <a:lnTo>
                        <a:pt x="407837" y="479856"/>
                      </a:lnTo>
                      <a:lnTo>
                        <a:pt x="409345" y="475105"/>
                      </a:lnTo>
                      <a:lnTo>
                        <a:pt x="413811" y="465081"/>
                      </a:lnTo>
                      <a:lnTo>
                        <a:pt x="418505" y="450957"/>
                      </a:lnTo>
                      <a:lnTo>
                        <a:pt x="418660" y="447657"/>
                      </a:lnTo>
                      <a:lnTo>
                        <a:pt x="418220" y="445856"/>
                      </a:lnTo>
                      <a:lnTo>
                        <a:pt x="418529" y="444030"/>
                      </a:lnTo>
                      <a:lnTo>
                        <a:pt x="417992" y="439694"/>
                      </a:lnTo>
                      <a:lnTo>
                        <a:pt x="417111" y="436483"/>
                      </a:lnTo>
                      <a:lnTo>
                        <a:pt x="398131" y="424161"/>
                      </a:lnTo>
                      <a:lnTo>
                        <a:pt x="396990" y="422963"/>
                      </a:lnTo>
                      <a:lnTo>
                        <a:pt x="396379" y="421317"/>
                      </a:lnTo>
                      <a:lnTo>
                        <a:pt x="398367" y="420950"/>
                      </a:lnTo>
                      <a:lnTo>
                        <a:pt x="399818" y="421031"/>
                      </a:lnTo>
                      <a:lnTo>
                        <a:pt x="414104" y="426785"/>
                      </a:lnTo>
                      <a:lnTo>
                        <a:pt x="417258" y="427095"/>
                      </a:lnTo>
                      <a:lnTo>
                        <a:pt x="439654" y="425489"/>
                      </a:lnTo>
                      <a:lnTo>
                        <a:pt x="450607" y="426875"/>
                      </a:lnTo>
                      <a:lnTo>
                        <a:pt x="459841" y="429817"/>
                      </a:lnTo>
                      <a:lnTo>
                        <a:pt x="466442" y="438048"/>
                      </a:lnTo>
                      <a:lnTo>
                        <a:pt x="473173" y="445578"/>
                      </a:lnTo>
                      <a:lnTo>
                        <a:pt x="479473" y="452049"/>
                      </a:lnTo>
                      <a:lnTo>
                        <a:pt x="479636" y="457347"/>
                      </a:lnTo>
                      <a:lnTo>
                        <a:pt x="473157" y="458439"/>
                      </a:lnTo>
                      <a:lnTo>
                        <a:pt x="466841" y="458675"/>
                      </a:lnTo>
                      <a:lnTo>
                        <a:pt x="450819" y="461307"/>
                      </a:lnTo>
                      <a:lnTo>
                        <a:pt x="446997" y="464298"/>
                      </a:lnTo>
                      <a:lnTo>
                        <a:pt x="436214" y="473459"/>
                      </a:lnTo>
                      <a:lnTo>
                        <a:pt x="435285" y="476246"/>
                      </a:lnTo>
                      <a:lnTo>
                        <a:pt x="436214" y="478935"/>
                      </a:lnTo>
                      <a:lnTo>
                        <a:pt x="441161" y="481796"/>
                      </a:lnTo>
                      <a:lnTo>
                        <a:pt x="451658" y="486066"/>
                      </a:lnTo>
                      <a:lnTo>
                        <a:pt x="456377" y="494534"/>
                      </a:lnTo>
                      <a:lnTo>
                        <a:pt x="459670" y="498755"/>
                      </a:lnTo>
                      <a:lnTo>
                        <a:pt x="462172" y="500385"/>
                      </a:lnTo>
                      <a:lnTo>
                        <a:pt x="464600" y="500809"/>
                      </a:lnTo>
                      <a:lnTo>
                        <a:pt x="469905" y="500826"/>
                      </a:lnTo>
                      <a:lnTo>
                        <a:pt x="473646" y="501852"/>
                      </a:lnTo>
                      <a:lnTo>
                        <a:pt x="474730" y="502667"/>
                      </a:lnTo>
                      <a:lnTo>
                        <a:pt x="476222" y="501852"/>
                      </a:lnTo>
                      <a:lnTo>
                        <a:pt x="479644" y="501575"/>
                      </a:lnTo>
                      <a:lnTo>
                        <a:pt x="499636" y="497093"/>
                      </a:lnTo>
                      <a:lnTo>
                        <a:pt x="503588" y="495104"/>
                      </a:lnTo>
                      <a:lnTo>
                        <a:pt x="504908" y="492130"/>
                      </a:lnTo>
                      <a:lnTo>
                        <a:pt x="506375" y="482179"/>
                      </a:lnTo>
                      <a:lnTo>
                        <a:pt x="508136" y="478723"/>
                      </a:lnTo>
                      <a:lnTo>
                        <a:pt x="509847" y="474445"/>
                      </a:lnTo>
                      <a:lnTo>
                        <a:pt x="509204" y="471812"/>
                      </a:lnTo>
                      <a:lnTo>
                        <a:pt x="509016" y="468830"/>
                      </a:lnTo>
                      <a:lnTo>
                        <a:pt x="519032" y="465969"/>
                      </a:lnTo>
                      <a:lnTo>
                        <a:pt x="528339" y="464013"/>
                      </a:lnTo>
                      <a:lnTo>
                        <a:pt x="532789" y="464616"/>
                      </a:lnTo>
                      <a:lnTo>
                        <a:pt x="533897" y="462448"/>
                      </a:lnTo>
                      <a:lnTo>
                        <a:pt x="531036" y="458292"/>
                      </a:lnTo>
                      <a:lnTo>
                        <a:pt x="529374" y="456238"/>
                      </a:lnTo>
                      <a:lnTo>
                        <a:pt x="530841" y="455293"/>
                      </a:lnTo>
                      <a:lnTo>
                        <a:pt x="532968" y="456442"/>
                      </a:lnTo>
                      <a:lnTo>
                        <a:pt x="535780" y="457127"/>
                      </a:lnTo>
                      <a:lnTo>
                        <a:pt x="540775" y="456401"/>
                      </a:lnTo>
                      <a:lnTo>
                        <a:pt x="560017" y="447926"/>
                      </a:lnTo>
                      <a:lnTo>
                        <a:pt x="567515" y="443117"/>
                      </a:lnTo>
                      <a:lnTo>
                        <a:pt x="571989" y="441235"/>
                      </a:lnTo>
                      <a:lnTo>
                        <a:pt x="579079" y="436891"/>
                      </a:lnTo>
                      <a:lnTo>
                        <a:pt x="582535" y="435481"/>
                      </a:lnTo>
                      <a:lnTo>
                        <a:pt x="588476" y="434902"/>
                      </a:lnTo>
                      <a:lnTo>
                        <a:pt x="594873" y="433191"/>
                      </a:lnTo>
                      <a:lnTo>
                        <a:pt x="601825" y="429955"/>
                      </a:lnTo>
                      <a:lnTo>
                        <a:pt x="611206" y="427225"/>
                      </a:lnTo>
                      <a:lnTo>
                        <a:pt x="612721" y="427111"/>
                      </a:lnTo>
                      <a:lnTo>
                        <a:pt x="614522" y="427511"/>
                      </a:lnTo>
                      <a:lnTo>
                        <a:pt x="618410" y="430697"/>
                      </a:lnTo>
                      <a:lnTo>
                        <a:pt x="616976" y="432482"/>
                      </a:lnTo>
                      <a:lnTo>
                        <a:pt x="615883" y="434421"/>
                      </a:lnTo>
                      <a:lnTo>
                        <a:pt x="617758" y="435440"/>
                      </a:lnTo>
                      <a:lnTo>
                        <a:pt x="619331" y="435937"/>
                      </a:lnTo>
                      <a:lnTo>
                        <a:pt x="621172" y="435408"/>
                      </a:lnTo>
                      <a:lnTo>
                        <a:pt x="623112" y="434079"/>
                      </a:lnTo>
                      <a:lnTo>
                        <a:pt x="627945" y="432131"/>
                      </a:lnTo>
                      <a:lnTo>
                        <a:pt x="629257" y="429613"/>
                      </a:lnTo>
                      <a:lnTo>
                        <a:pt x="627391" y="428651"/>
                      </a:lnTo>
                      <a:lnTo>
                        <a:pt x="624970" y="424870"/>
                      </a:lnTo>
                      <a:lnTo>
                        <a:pt x="622126" y="424088"/>
                      </a:lnTo>
                      <a:lnTo>
                        <a:pt x="619861" y="424177"/>
                      </a:lnTo>
                      <a:lnTo>
                        <a:pt x="628288" y="418774"/>
                      </a:lnTo>
                      <a:lnTo>
                        <a:pt x="646372" y="410795"/>
                      </a:lnTo>
                      <a:lnTo>
                        <a:pt x="656021" y="407120"/>
                      </a:lnTo>
                      <a:lnTo>
                        <a:pt x="665540" y="406802"/>
                      </a:lnTo>
                      <a:lnTo>
                        <a:pt x="673119" y="407283"/>
                      </a:lnTo>
                      <a:lnTo>
                        <a:pt x="670267" y="408497"/>
                      </a:lnTo>
                      <a:lnTo>
                        <a:pt x="657822" y="410176"/>
                      </a:lnTo>
                      <a:lnTo>
                        <a:pt x="655915" y="411015"/>
                      </a:lnTo>
                      <a:lnTo>
                        <a:pt x="655931" y="412026"/>
                      </a:lnTo>
                      <a:lnTo>
                        <a:pt x="658930" y="412621"/>
                      </a:lnTo>
                      <a:lnTo>
                        <a:pt x="660210" y="413803"/>
                      </a:lnTo>
                      <a:lnTo>
                        <a:pt x="659183" y="415229"/>
                      </a:lnTo>
                      <a:lnTo>
                        <a:pt x="658238" y="415677"/>
                      </a:lnTo>
                      <a:lnTo>
                        <a:pt x="656812" y="419752"/>
                      </a:lnTo>
                      <a:lnTo>
                        <a:pt x="654953" y="423044"/>
                      </a:lnTo>
                      <a:lnTo>
                        <a:pt x="658898" y="427299"/>
                      </a:lnTo>
                      <a:lnTo>
                        <a:pt x="659216" y="431740"/>
                      </a:lnTo>
                      <a:lnTo>
                        <a:pt x="656706" y="434055"/>
                      </a:lnTo>
                      <a:lnTo>
                        <a:pt x="653242" y="433191"/>
                      </a:lnTo>
                      <a:lnTo>
                        <a:pt x="650194" y="434739"/>
                      </a:lnTo>
                      <a:lnTo>
                        <a:pt x="644636" y="435782"/>
                      </a:lnTo>
                      <a:lnTo>
                        <a:pt x="643413" y="437160"/>
                      </a:lnTo>
                      <a:lnTo>
                        <a:pt x="642598" y="439091"/>
                      </a:lnTo>
                      <a:lnTo>
                        <a:pt x="646135" y="439556"/>
                      </a:lnTo>
                      <a:lnTo>
                        <a:pt x="648915" y="439434"/>
                      </a:lnTo>
                      <a:lnTo>
                        <a:pt x="658792" y="440680"/>
                      </a:lnTo>
                      <a:lnTo>
                        <a:pt x="660145" y="440852"/>
                      </a:lnTo>
                      <a:lnTo>
                        <a:pt x="663396" y="439466"/>
                      </a:lnTo>
                      <a:lnTo>
                        <a:pt x="666713" y="439148"/>
                      </a:lnTo>
                      <a:lnTo>
                        <a:pt x="670707" y="438757"/>
                      </a:lnTo>
                      <a:lnTo>
                        <a:pt x="672752" y="437926"/>
                      </a:lnTo>
                      <a:lnTo>
                        <a:pt x="674863" y="438855"/>
                      </a:lnTo>
                      <a:lnTo>
                        <a:pt x="678734" y="442734"/>
                      </a:lnTo>
                      <a:lnTo>
                        <a:pt x="682304" y="441960"/>
                      </a:lnTo>
                      <a:lnTo>
                        <a:pt x="683836" y="434438"/>
                      </a:lnTo>
                      <a:lnTo>
                        <a:pt x="689484" y="429792"/>
                      </a:lnTo>
                      <a:lnTo>
                        <a:pt x="696101" y="425938"/>
                      </a:lnTo>
                      <a:lnTo>
                        <a:pt x="702491" y="425595"/>
                      </a:lnTo>
                      <a:lnTo>
                        <a:pt x="708668" y="422890"/>
                      </a:lnTo>
                      <a:lnTo>
                        <a:pt x="711626" y="422384"/>
                      </a:lnTo>
                      <a:lnTo>
                        <a:pt x="717380" y="423485"/>
                      </a:lnTo>
                      <a:lnTo>
                        <a:pt x="725921" y="423705"/>
                      </a:lnTo>
                      <a:lnTo>
                        <a:pt x="733093" y="425995"/>
                      </a:lnTo>
                      <a:lnTo>
                        <a:pt x="738488" y="426557"/>
                      </a:lnTo>
                      <a:lnTo>
                        <a:pt x="746361" y="422710"/>
                      </a:lnTo>
                      <a:lnTo>
                        <a:pt x="764437" y="411798"/>
                      </a:lnTo>
                      <a:lnTo>
                        <a:pt x="766026" y="414259"/>
                      </a:lnTo>
                      <a:lnTo>
                        <a:pt x="768927" y="410632"/>
                      </a:lnTo>
                      <a:lnTo>
                        <a:pt x="782936" y="406769"/>
                      </a:lnTo>
                      <a:lnTo>
                        <a:pt x="786376" y="406672"/>
                      </a:lnTo>
                      <a:lnTo>
                        <a:pt x="786425" y="408155"/>
                      </a:lnTo>
                      <a:lnTo>
                        <a:pt x="787680" y="411513"/>
                      </a:lnTo>
                      <a:lnTo>
                        <a:pt x="790410" y="413566"/>
                      </a:lnTo>
                      <a:lnTo>
                        <a:pt x="794134" y="418456"/>
                      </a:lnTo>
                      <a:lnTo>
                        <a:pt x="792350" y="419776"/>
                      </a:lnTo>
                      <a:lnTo>
                        <a:pt x="790467" y="420526"/>
                      </a:lnTo>
                      <a:lnTo>
                        <a:pt x="787729" y="423819"/>
                      </a:lnTo>
                      <a:lnTo>
                        <a:pt x="787403" y="431357"/>
                      </a:lnTo>
                      <a:lnTo>
                        <a:pt x="792660" y="433289"/>
                      </a:lnTo>
                      <a:lnTo>
                        <a:pt x="799937" y="435432"/>
                      </a:lnTo>
                      <a:lnTo>
                        <a:pt x="802944" y="435416"/>
                      </a:lnTo>
                      <a:lnTo>
                        <a:pt x="805471" y="434161"/>
                      </a:lnTo>
                      <a:lnTo>
                        <a:pt x="806245" y="433468"/>
                      </a:lnTo>
                      <a:lnTo>
                        <a:pt x="807207" y="432343"/>
                      </a:lnTo>
                      <a:lnTo>
                        <a:pt x="807842" y="430175"/>
                      </a:lnTo>
                      <a:lnTo>
                        <a:pt x="808298" y="428464"/>
                      </a:lnTo>
                      <a:lnTo>
                        <a:pt x="806400" y="424316"/>
                      </a:lnTo>
                      <a:lnTo>
                        <a:pt x="807174" y="419866"/>
                      </a:lnTo>
                      <a:lnTo>
                        <a:pt x="813726" y="420159"/>
                      </a:lnTo>
                      <a:lnTo>
                        <a:pt x="821884" y="418872"/>
                      </a:lnTo>
                      <a:lnTo>
                        <a:pt x="825568" y="416321"/>
                      </a:lnTo>
                      <a:lnTo>
                        <a:pt x="829969" y="411561"/>
                      </a:lnTo>
                      <a:lnTo>
                        <a:pt x="832903" y="407527"/>
                      </a:lnTo>
                      <a:lnTo>
                        <a:pt x="831044" y="400527"/>
                      </a:lnTo>
                      <a:lnTo>
                        <a:pt x="826236" y="402075"/>
                      </a:lnTo>
                      <a:lnTo>
                        <a:pt x="818127" y="386737"/>
                      </a:lnTo>
                      <a:lnTo>
                        <a:pt x="813987" y="380796"/>
                      </a:lnTo>
                      <a:lnTo>
                        <a:pt x="816611" y="378066"/>
                      </a:lnTo>
                      <a:lnTo>
                        <a:pt x="823612" y="376298"/>
                      </a:lnTo>
                      <a:lnTo>
                        <a:pt x="829912" y="370568"/>
                      </a:lnTo>
                      <a:lnTo>
                        <a:pt x="832299" y="369411"/>
                      </a:lnTo>
                      <a:lnTo>
                        <a:pt x="834940" y="369224"/>
                      </a:lnTo>
                      <a:lnTo>
                        <a:pt x="853660" y="373152"/>
                      </a:lnTo>
                      <a:lnTo>
                        <a:pt x="875012" y="374040"/>
                      </a:lnTo>
                      <a:lnTo>
                        <a:pt x="893121" y="377064"/>
                      </a:lnTo>
                      <a:lnTo>
                        <a:pt x="913675" y="383298"/>
                      </a:lnTo>
                      <a:lnTo>
                        <a:pt x="923650" y="387691"/>
                      </a:lnTo>
                      <a:lnTo>
                        <a:pt x="931979" y="392573"/>
                      </a:lnTo>
                      <a:lnTo>
                        <a:pt x="931189" y="396004"/>
                      </a:lnTo>
                      <a:lnTo>
                        <a:pt x="934546" y="395034"/>
                      </a:lnTo>
                      <a:lnTo>
                        <a:pt x="941856" y="398057"/>
                      </a:lnTo>
                      <a:lnTo>
                        <a:pt x="946860" y="399288"/>
                      </a:lnTo>
                      <a:lnTo>
                        <a:pt x="952003" y="401105"/>
                      </a:lnTo>
                      <a:lnTo>
                        <a:pt x="953910" y="403550"/>
                      </a:lnTo>
                      <a:lnTo>
                        <a:pt x="960674" y="405335"/>
                      </a:lnTo>
                      <a:lnTo>
                        <a:pt x="967634" y="408652"/>
                      </a:lnTo>
                      <a:lnTo>
                        <a:pt x="968889" y="409247"/>
                      </a:lnTo>
                      <a:lnTo>
                        <a:pt x="977324" y="411700"/>
                      </a:lnTo>
                      <a:lnTo>
                        <a:pt x="983428" y="412515"/>
                      </a:lnTo>
                      <a:lnTo>
                        <a:pt x="987071" y="417780"/>
                      </a:lnTo>
                      <a:lnTo>
                        <a:pt x="999222" y="425440"/>
                      </a:lnTo>
                      <a:lnTo>
                        <a:pt x="1001496" y="428325"/>
                      </a:lnTo>
                      <a:lnTo>
                        <a:pt x="1012058" y="433142"/>
                      </a:lnTo>
                      <a:lnTo>
                        <a:pt x="1017372" y="437046"/>
                      </a:lnTo>
                      <a:lnTo>
                        <a:pt x="1020672" y="435562"/>
                      </a:lnTo>
                      <a:lnTo>
                        <a:pt x="1028741" y="425962"/>
                      </a:lnTo>
                      <a:lnTo>
                        <a:pt x="1033574" y="414960"/>
                      </a:lnTo>
                      <a:lnTo>
                        <a:pt x="1036459" y="409125"/>
                      </a:lnTo>
                      <a:lnTo>
                        <a:pt x="1031096" y="408880"/>
                      </a:lnTo>
                      <a:lnTo>
                        <a:pt x="1027086" y="410583"/>
                      </a:lnTo>
                      <a:lnTo>
                        <a:pt x="1024535" y="410143"/>
                      </a:lnTo>
                      <a:lnTo>
                        <a:pt x="1021626" y="408399"/>
                      </a:lnTo>
                      <a:lnTo>
                        <a:pt x="1016973" y="403966"/>
                      </a:lnTo>
                      <a:lnTo>
                        <a:pt x="1011080" y="396517"/>
                      </a:lnTo>
                      <a:lnTo>
                        <a:pt x="1009988" y="388351"/>
                      </a:lnTo>
                      <a:lnTo>
                        <a:pt x="1008318" y="385719"/>
                      </a:lnTo>
                      <a:lnTo>
                        <a:pt x="1002564" y="383510"/>
                      </a:lnTo>
                      <a:lnTo>
                        <a:pt x="998839" y="381090"/>
                      </a:lnTo>
                      <a:lnTo>
                        <a:pt x="984960" y="376241"/>
                      </a:lnTo>
                      <a:lnTo>
                        <a:pt x="982475" y="377936"/>
                      </a:lnTo>
                      <a:lnTo>
                        <a:pt x="981733" y="380552"/>
                      </a:lnTo>
                      <a:lnTo>
                        <a:pt x="980804" y="382451"/>
                      </a:lnTo>
                      <a:lnTo>
                        <a:pt x="979402" y="379998"/>
                      </a:lnTo>
                      <a:lnTo>
                        <a:pt x="978506" y="377773"/>
                      </a:lnTo>
                      <a:lnTo>
                        <a:pt x="978473" y="374171"/>
                      </a:lnTo>
                      <a:lnTo>
                        <a:pt x="979207" y="369631"/>
                      </a:lnTo>
                      <a:lnTo>
                        <a:pt x="981537" y="361954"/>
                      </a:lnTo>
                      <a:lnTo>
                        <a:pt x="985075" y="362345"/>
                      </a:lnTo>
                      <a:lnTo>
                        <a:pt x="986949" y="361229"/>
                      </a:lnTo>
                      <a:lnTo>
                        <a:pt x="989304" y="357773"/>
                      </a:lnTo>
                      <a:lnTo>
                        <a:pt x="988269" y="354929"/>
                      </a:lnTo>
                      <a:lnTo>
                        <a:pt x="986998" y="352777"/>
                      </a:lnTo>
                      <a:lnTo>
                        <a:pt x="987259" y="349403"/>
                      </a:lnTo>
                      <a:lnTo>
                        <a:pt x="989483" y="340211"/>
                      </a:lnTo>
                      <a:lnTo>
                        <a:pt x="990429" y="329486"/>
                      </a:lnTo>
                      <a:lnTo>
                        <a:pt x="988611" y="326788"/>
                      </a:lnTo>
                      <a:lnTo>
                        <a:pt x="986924" y="325036"/>
                      </a:lnTo>
                      <a:lnTo>
                        <a:pt x="978962" y="326845"/>
                      </a:lnTo>
                      <a:lnTo>
                        <a:pt x="975979" y="325891"/>
                      </a:lnTo>
                      <a:lnTo>
                        <a:pt x="975311" y="323805"/>
                      </a:lnTo>
                      <a:lnTo>
                        <a:pt x="975075" y="322191"/>
                      </a:lnTo>
                      <a:lnTo>
                        <a:pt x="977389" y="319404"/>
                      </a:lnTo>
                      <a:lnTo>
                        <a:pt x="979565" y="314824"/>
                      </a:lnTo>
                      <a:lnTo>
                        <a:pt x="975743" y="315818"/>
                      </a:lnTo>
                      <a:lnTo>
                        <a:pt x="974423" y="314025"/>
                      </a:lnTo>
                      <a:lnTo>
                        <a:pt x="977609" y="311377"/>
                      </a:lnTo>
                      <a:lnTo>
                        <a:pt x="981326" y="304922"/>
                      </a:lnTo>
                      <a:lnTo>
                        <a:pt x="990160" y="301956"/>
                      </a:lnTo>
                      <a:lnTo>
                        <a:pt x="996802" y="299046"/>
                      </a:lnTo>
                      <a:lnTo>
                        <a:pt x="1007160" y="292836"/>
                      </a:lnTo>
                      <a:lnTo>
                        <a:pt x="1014837" y="286724"/>
                      </a:lnTo>
                      <a:lnTo>
                        <a:pt x="1019817" y="278982"/>
                      </a:lnTo>
                      <a:lnTo>
                        <a:pt x="1023232" y="271663"/>
                      </a:lnTo>
                      <a:lnTo>
                        <a:pt x="1028741" y="254288"/>
                      </a:lnTo>
                      <a:lnTo>
                        <a:pt x="1033940" y="241468"/>
                      </a:lnTo>
                      <a:lnTo>
                        <a:pt x="1042677" y="228274"/>
                      </a:lnTo>
                      <a:lnTo>
                        <a:pt x="1048145" y="227052"/>
                      </a:lnTo>
                      <a:lnTo>
                        <a:pt x="1050183" y="227255"/>
                      </a:lnTo>
                      <a:lnTo>
                        <a:pt x="1050550" y="228225"/>
                      </a:lnTo>
                      <a:lnTo>
                        <a:pt x="1049310" y="229366"/>
                      </a:lnTo>
                      <a:lnTo>
                        <a:pt x="1048977" y="230955"/>
                      </a:lnTo>
                      <a:lnTo>
                        <a:pt x="1051283" y="231534"/>
                      </a:lnTo>
                      <a:lnTo>
                        <a:pt x="1054975" y="231648"/>
                      </a:lnTo>
                      <a:lnTo>
                        <a:pt x="1062040" y="230792"/>
                      </a:lnTo>
                      <a:lnTo>
                        <a:pt x="1074021" y="231289"/>
                      </a:lnTo>
                      <a:lnTo>
                        <a:pt x="1094974" y="230206"/>
                      </a:lnTo>
                      <a:lnTo>
                        <a:pt x="1097875" y="230743"/>
                      </a:lnTo>
                      <a:lnTo>
                        <a:pt x="1105633" y="234557"/>
                      </a:lnTo>
                      <a:lnTo>
                        <a:pt x="1109879" y="234126"/>
                      </a:lnTo>
                      <a:lnTo>
                        <a:pt x="1118445" y="235910"/>
                      </a:lnTo>
                      <a:lnTo>
                        <a:pt x="1123098" y="238029"/>
                      </a:lnTo>
                      <a:lnTo>
                        <a:pt x="1127524" y="240482"/>
                      </a:lnTo>
                      <a:lnTo>
                        <a:pt x="1126912" y="250091"/>
                      </a:lnTo>
                      <a:lnTo>
                        <a:pt x="1126048" y="256513"/>
                      </a:lnTo>
                      <a:lnTo>
                        <a:pt x="1122854" y="268615"/>
                      </a:lnTo>
                      <a:lnTo>
                        <a:pt x="1121615" y="271671"/>
                      </a:lnTo>
                      <a:lnTo>
                        <a:pt x="1116677" y="280400"/>
                      </a:lnTo>
                      <a:lnTo>
                        <a:pt x="1114313" y="286145"/>
                      </a:lnTo>
                      <a:lnTo>
                        <a:pt x="1110589" y="290082"/>
                      </a:lnTo>
                      <a:lnTo>
                        <a:pt x="1105194" y="292869"/>
                      </a:lnTo>
                      <a:lnTo>
                        <a:pt x="1104509" y="294531"/>
                      </a:lnTo>
                      <a:lnTo>
                        <a:pt x="1104093" y="296976"/>
                      </a:lnTo>
                      <a:lnTo>
                        <a:pt x="1109342" y="303830"/>
                      </a:lnTo>
                      <a:lnTo>
                        <a:pt x="1121786" y="310863"/>
                      </a:lnTo>
                      <a:lnTo>
                        <a:pt x="1124842" y="319364"/>
                      </a:lnTo>
                      <a:lnTo>
                        <a:pt x="1125519" y="325696"/>
                      </a:lnTo>
                      <a:lnTo>
                        <a:pt x="1124745" y="342134"/>
                      </a:lnTo>
                      <a:lnTo>
                        <a:pt x="1123579" y="344554"/>
                      </a:lnTo>
                      <a:lnTo>
                        <a:pt x="1121314" y="347146"/>
                      </a:lnTo>
                      <a:lnTo>
                        <a:pt x="1119023" y="350308"/>
                      </a:lnTo>
                      <a:lnTo>
                        <a:pt x="1120515" y="354888"/>
                      </a:lnTo>
                      <a:lnTo>
                        <a:pt x="1122243" y="371815"/>
                      </a:lnTo>
                      <a:lnTo>
                        <a:pt x="1122642" y="385548"/>
                      </a:lnTo>
                      <a:lnTo>
                        <a:pt x="1121191" y="390226"/>
                      </a:lnTo>
                      <a:lnTo>
                        <a:pt x="1120450" y="400136"/>
                      </a:lnTo>
                      <a:lnTo>
                        <a:pt x="1120450" y="403395"/>
                      </a:lnTo>
                      <a:lnTo>
                        <a:pt x="1121680" y="408318"/>
                      </a:lnTo>
                      <a:lnTo>
                        <a:pt x="1124199" y="412458"/>
                      </a:lnTo>
                      <a:lnTo>
                        <a:pt x="1127524" y="415074"/>
                      </a:lnTo>
                      <a:lnTo>
                        <a:pt x="1136904" y="419850"/>
                      </a:lnTo>
                      <a:lnTo>
                        <a:pt x="1145771" y="425652"/>
                      </a:lnTo>
                      <a:lnTo>
                        <a:pt x="1146406" y="427486"/>
                      </a:lnTo>
                      <a:lnTo>
                        <a:pt x="1146863" y="429711"/>
                      </a:lnTo>
                      <a:lnTo>
                        <a:pt x="1143725" y="431952"/>
                      </a:lnTo>
                      <a:lnTo>
                        <a:pt x="1138786" y="437918"/>
                      </a:lnTo>
                      <a:lnTo>
                        <a:pt x="1135641" y="442856"/>
                      </a:lnTo>
                      <a:lnTo>
                        <a:pt x="1135388" y="446809"/>
                      </a:lnTo>
                      <a:lnTo>
                        <a:pt x="1136472" y="451935"/>
                      </a:lnTo>
                      <a:lnTo>
                        <a:pt x="1135959" y="456638"/>
                      </a:lnTo>
                      <a:lnTo>
                        <a:pt x="1133840" y="460900"/>
                      </a:lnTo>
                      <a:lnTo>
                        <a:pt x="1130914" y="463972"/>
                      </a:lnTo>
                      <a:lnTo>
                        <a:pt x="1122112" y="468716"/>
                      </a:lnTo>
                      <a:lnTo>
                        <a:pt x="1103596" y="493743"/>
                      </a:lnTo>
                      <a:lnTo>
                        <a:pt x="1099147" y="496669"/>
                      </a:lnTo>
                      <a:lnTo>
                        <a:pt x="1091632" y="495724"/>
                      </a:lnTo>
                      <a:lnTo>
                        <a:pt x="1093710" y="499277"/>
                      </a:lnTo>
                      <a:lnTo>
                        <a:pt x="1096253" y="504371"/>
                      </a:lnTo>
                      <a:lnTo>
                        <a:pt x="1095960" y="507696"/>
                      </a:lnTo>
                      <a:lnTo>
                        <a:pt x="1091053" y="507533"/>
                      </a:lnTo>
                      <a:lnTo>
                        <a:pt x="1084200" y="511062"/>
                      </a:lnTo>
                      <a:lnTo>
                        <a:pt x="1081070" y="513474"/>
                      </a:lnTo>
                      <a:lnTo>
                        <a:pt x="1075757" y="514704"/>
                      </a:lnTo>
                      <a:lnTo>
                        <a:pt x="1071698" y="513449"/>
                      </a:lnTo>
                      <a:lnTo>
                        <a:pt x="1067264" y="511143"/>
                      </a:lnTo>
                      <a:lnTo>
                        <a:pt x="1067916" y="509212"/>
                      </a:lnTo>
                      <a:lnTo>
                        <a:pt x="1068756" y="508323"/>
                      </a:lnTo>
                      <a:lnTo>
                        <a:pt x="1071853" y="506922"/>
                      </a:lnTo>
                      <a:lnTo>
                        <a:pt x="1074901" y="505023"/>
                      </a:lnTo>
                      <a:lnTo>
                        <a:pt x="1073417" y="504640"/>
                      </a:lnTo>
                      <a:lnTo>
                        <a:pt x="1072138" y="504656"/>
                      </a:lnTo>
                      <a:lnTo>
                        <a:pt x="1068788" y="507084"/>
                      </a:lnTo>
                      <a:lnTo>
                        <a:pt x="1064795" y="507573"/>
                      </a:lnTo>
                      <a:lnTo>
                        <a:pt x="1060093" y="504631"/>
                      </a:lnTo>
                      <a:lnTo>
                        <a:pt x="1056499" y="501380"/>
                      </a:lnTo>
                      <a:lnTo>
                        <a:pt x="1054730" y="500711"/>
                      </a:lnTo>
                      <a:lnTo>
                        <a:pt x="1051332" y="502040"/>
                      </a:lnTo>
                      <a:lnTo>
                        <a:pt x="1038374" y="501437"/>
                      </a:lnTo>
                      <a:lnTo>
                        <a:pt x="1034927" y="501991"/>
                      </a:lnTo>
                      <a:lnTo>
                        <a:pt x="1033304" y="503173"/>
                      </a:lnTo>
                      <a:lnTo>
                        <a:pt x="1034242" y="504118"/>
                      </a:lnTo>
                      <a:lnTo>
                        <a:pt x="1035228" y="505952"/>
                      </a:lnTo>
                      <a:lnTo>
                        <a:pt x="1036532" y="509513"/>
                      </a:lnTo>
                      <a:lnTo>
                        <a:pt x="1037787" y="512162"/>
                      </a:lnTo>
                      <a:lnTo>
                        <a:pt x="1043190" y="515071"/>
                      </a:lnTo>
                      <a:lnTo>
                        <a:pt x="1050354" y="516196"/>
                      </a:lnTo>
                      <a:lnTo>
                        <a:pt x="1057330" y="519757"/>
                      </a:lnTo>
                      <a:lnTo>
                        <a:pt x="1066197" y="522276"/>
                      </a:lnTo>
                      <a:lnTo>
                        <a:pt x="1086180" y="521241"/>
                      </a:lnTo>
                      <a:lnTo>
                        <a:pt x="1091453" y="521550"/>
                      </a:lnTo>
                      <a:lnTo>
                        <a:pt x="1096612" y="522650"/>
                      </a:lnTo>
                      <a:lnTo>
                        <a:pt x="1105316" y="526359"/>
                      </a:lnTo>
                      <a:lnTo>
                        <a:pt x="1109048" y="526082"/>
                      </a:lnTo>
                      <a:lnTo>
                        <a:pt x="1115348" y="522708"/>
                      </a:lnTo>
                      <a:lnTo>
                        <a:pt x="1116904" y="515251"/>
                      </a:lnTo>
                      <a:lnTo>
                        <a:pt x="1117728" y="512928"/>
                      </a:lnTo>
                      <a:lnTo>
                        <a:pt x="1140653" y="502374"/>
                      </a:lnTo>
                      <a:lnTo>
                        <a:pt x="1144915" y="500051"/>
                      </a:lnTo>
                      <a:lnTo>
                        <a:pt x="1151826" y="494273"/>
                      </a:lnTo>
                      <a:lnTo>
                        <a:pt x="1154084" y="490410"/>
                      </a:lnTo>
                      <a:lnTo>
                        <a:pt x="1156643" y="479938"/>
                      </a:lnTo>
                      <a:lnTo>
                        <a:pt x="1158827" y="476197"/>
                      </a:lnTo>
                      <a:lnTo>
                        <a:pt x="1173741" y="464038"/>
                      </a:lnTo>
                      <a:lnTo>
                        <a:pt x="1176072" y="460924"/>
                      </a:lnTo>
                      <a:lnTo>
                        <a:pt x="1176504" y="455228"/>
                      </a:lnTo>
                      <a:lnTo>
                        <a:pt x="1176283" y="451373"/>
                      </a:lnTo>
                      <a:lnTo>
                        <a:pt x="1175404" y="447559"/>
                      </a:lnTo>
                      <a:lnTo>
                        <a:pt x="1172673" y="441235"/>
                      </a:lnTo>
                      <a:lnTo>
                        <a:pt x="1169658" y="437543"/>
                      </a:lnTo>
                      <a:lnTo>
                        <a:pt x="1166691" y="432392"/>
                      </a:lnTo>
                      <a:lnTo>
                        <a:pt x="1168908" y="421952"/>
                      </a:lnTo>
                      <a:lnTo>
                        <a:pt x="1171361" y="417902"/>
                      </a:lnTo>
                      <a:lnTo>
                        <a:pt x="1184873" y="413037"/>
                      </a:lnTo>
                      <a:lnTo>
                        <a:pt x="1196405" y="411301"/>
                      </a:lnTo>
                      <a:lnTo>
                        <a:pt x="1209257" y="408008"/>
                      </a:lnTo>
                      <a:lnTo>
                        <a:pt x="1214424" y="407324"/>
                      </a:lnTo>
                      <a:lnTo>
                        <a:pt x="1217978" y="407902"/>
                      </a:lnTo>
                      <a:lnTo>
                        <a:pt x="1221604" y="411456"/>
                      </a:lnTo>
                      <a:lnTo>
                        <a:pt x="1224807" y="416769"/>
                      </a:lnTo>
                      <a:lnTo>
                        <a:pt x="1234155" y="424699"/>
                      </a:lnTo>
                      <a:lnTo>
                        <a:pt x="1237300" y="430249"/>
                      </a:lnTo>
                      <a:lnTo>
                        <a:pt x="1237871" y="436989"/>
                      </a:lnTo>
                      <a:lnTo>
                        <a:pt x="1237553" y="453329"/>
                      </a:lnTo>
                      <a:lnTo>
                        <a:pt x="1235720" y="460403"/>
                      </a:lnTo>
                      <a:lnTo>
                        <a:pt x="1239452" y="462261"/>
                      </a:lnTo>
                      <a:lnTo>
                        <a:pt x="1241196" y="463866"/>
                      </a:lnTo>
                      <a:lnTo>
                        <a:pt x="1245752" y="466238"/>
                      </a:lnTo>
                      <a:lnTo>
                        <a:pt x="1248123" y="468593"/>
                      </a:lnTo>
                      <a:lnTo>
                        <a:pt x="1250527" y="469441"/>
                      </a:lnTo>
                      <a:lnTo>
                        <a:pt x="1255841" y="469914"/>
                      </a:lnTo>
                      <a:lnTo>
                        <a:pt x="1270812" y="469082"/>
                      </a:lnTo>
                      <a:lnTo>
                        <a:pt x="1279060" y="468618"/>
                      </a:lnTo>
                      <a:lnTo>
                        <a:pt x="1278204" y="467583"/>
                      </a:lnTo>
                      <a:lnTo>
                        <a:pt x="1276998" y="466792"/>
                      </a:lnTo>
                      <a:lnTo>
                        <a:pt x="1270063" y="466450"/>
                      </a:lnTo>
                      <a:lnTo>
                        <a:pt x="1260193" y="464747"/>
                      </a:lnTo>
                      <a:lnTo>
                        <a:pt x="1245980" y="461560"/>
                      </a:lnTo>
                      <a:lnTo>
                        <a:pt x="1244293" y="454698"/>
                      </a:lnTo>
                      <a:lnTo>
                        <a:pt x="1244676" y="450428"/>
                      </a:lnTo>
                      <a:lnTo>
                        <a:pt x="1247879" y="442457"/>
                      </a:lnTo>
                      <a:lnTo>
                        <a:pt x="1250153" y="441064"/>
                      </a:lnTo>
                      <a:lnTo>
                        <a:pt x="1252923" y="440526"/>
                      </a:lnTo>
                      <a:lnTo>
                        <a:pt x="1256070" y="439442"/>
                      </a:lnTo>
                      <a:lnTo>
                        <a:pt x="1255173" y="434299"/>
                      </a:lnTo>
                      <a:lnTo>
                        <a:pt x="1253877" y="429695"/>
                      </a:lnTo>
                      <a:lnTo>
                        <a:pt x="1250862" y="423199"/>
                      </a:lnTo>
                      <a:lnTo>
                        <a:pt x="1247528" y="411211"/>
                      </a:lnTo>
                      <a:lnTo>
                        <a:pt x="1242957" y="411121"/>
                      </a:lnTo>
                      <a:lnTo>
                        <a:pt x="1239533" y="408766"/>
                      </a:lnTo>
                      <a:lnTo>
                        <a:pt x="1222582" y="401765"/>
                      </a:lnTo>
                      <a:lnTo>
                        <a:pt x="1206617" y="396566"/>
                      </a:lnTo>
                      <a:lnTo>
                        <a:pt x="1195704" y="395832"/>
                      </a:lnTo>
                      <a:lnTo>
                        <a:pt x="1192208" y="396411"/>
                      </a:lnTo>
                      <a:lnTo>
                        <a:pt x="1183113" y="401814"/>
                      </a:lnTo>
                      <a:lnTo>
                        <a:pt x="1177180" y="402955"/>
                      </a:lnTo>
                      <a:lnTo>
                        <a:pt x="1165974" y="400568"/>
                      </a:lnTo>
                      <a:lnTo>
                        <a:pt x="1156422" y="401888"/>
                      </a:lnTo>
                      <a:lnTo>
                        <a:pt x="1152910" y="400625"/>
                      </a:lnTo>
                      <a:lnTo>
                        <a:pt x="1151410" y="398196"/>
                      </a:lnTo>
                      <a:lnTo>
                        <a:pt x="1154279" y="388473"/>
                      </a:lnTo>
                      <a:lnTo>
                        <a:pt x="1152837" y="384667"/>
                      </a:lnTo>
                      <a:lnTo>
                        <a:pt x="1148623" y="379639"/>
                      </a:lnTo>
                      <a:lnTo>
                        <a:pt x="1146073" y="375637"/>
                      </a:lnTo>
                      <a:lnTo>
                        <a:pt x="1146521" y="371383"/>
                      </a:lnTo>
                      <a:lnTo>
                        <a:pt x="1152763" y="354750"/>
                      </a:lnTo>
                      <a:lnTo>
                        <a:pt x="1155420" y="350398"/>
                      </a:lnTo>
                      <a:lnTo>
                        <a:pt x="1162111" y="342672"/>
                      </a:lnTo>
                      <a:lnTo>
                        <a:pt x="1165493" y="336682"/>
                      </a:lnTo>
                      <a:lnTo>
                        <a:pt x="1164695" y="333316"/>
                      </a:lnTo>
                      <a:lnTo>
                        <a:pt x="1150319" y="314596"/>
                      </a:lnTo>
                      <a:lnTo>
                        <a:pt x="1146480" y="307913"/>
                      </a:lnTo>
                      <a:lnTo>
                        <a:pt x="1144760" y="305778"/>
                      </a:lnTo>
                      <a:lnTo>
                        <a:pt x="1141240" y="303227"/>
                      </a:lnTo>
                      <a:lnTo>
                        <a:pt x="1135910" y="300269"/>
                      </a:lnTo>
                      <a:lnTo>
                        <a:pt x="1134321" y="297555"/>
                      </a:lnTo>
                      <a:lnTo>
                        <a:pt x="1148843" y="279324"/>
                      </a:lnTo>
                      <a:lnTo>
                        <a:pt x="1155477" y="276146"/>
                      </a:lnTo>
                      <a:lnTo>
                        <a:pt x="1164703" y="274173"/>
                      </a:lnTo>
                      <a:lnTo>
                        <a:pt x="1169104" y="272388"/>
                      </a:lnTo>
                      <a:lnTo>
                        <a:pt x="1176919" y="268705"/>
                      </a:lnTo>
                      <a:lnTo>
                        <a:pt x="1181589" y="265616"/>
                      </a:lnTo>
                      <a:lnTo>
                        <a:pt x="1183105" y="263122"/>
                      </a:lnTo>
                      <a:lnTo>
                        <a:pt x="1184009" y="260197"/>
                      </a:lnTo>
                      <a:lnTo>
                        <a:pt x="1184189" y="252951"/>
                      </a:lnTo>
                      <a:lnTo>
                        <a:pt x="1183284" y="247059"/>
                      </a:lnTo>
                      <a:lnTo>
                        <a:pt x="1181980" y="243799"/>
                      </a:lnTo>
                      <a:lnTo>
                        <a:pt x="1179226" y="239618"/>
                      </a:lnTo>
                      <a:lnTo>
                        <a:pt x="1176495" y="234924"/>
                      </a:lnTo>
                      <a:lnTo>
                        <a:pt x="1178435" y="233685"/>
                      </a:lnTo>
                      <a:lnTo>
                        <a:pt x="1180342" y="232976"/>
                      </a:lnTo>
                      <a:lnTo>
                        <a:pt x="1185566" y="233033"/>
                      </a:lnTo>
                      <a:lnTo>
                        <a:pt x="1190945" y="235617"/>
                      </a:lnTo>
                      <a:lnTo>
                        <a:pt x="1193561" y="240776"/>
                      </a:lnTo>
                      <a:lnTo>
                        <a:pt x="1196747" y="245568"/>
                      </a:lnTo>
                      <a:lnTo>
                        <a:pt x="1196739" y="248746"/>
                      </a:lnTo>
                      <a:lnTo>
                        <a:pt x="1196454" y="251273"/>
                      </a:lnTo>
                      <a:lnTo>
                        <a:pt x="1197774" y="254720"/>
                      </a:lnTo>
                      <a:lnTo>
                        <a:pt x="1198924" y="256203"/>
                      </a:lnTo>
                      <a:lnTo>
                        <a:pt x="1200171" y="258672"/>
                      </a:lnTo>
                      <a:lnTo>
                        <a:pt x="1199005" y="260637"/>
                      </a:lnTo>
                      <a:lnTo>
                        <a:pt x="1197774" y="261598"/>
                      </a:lnTo>
                      <a:lnTo>
                        <a:pt x="1195436" y="264426"/>
                      </a:lnTo>
                      <a:lnTo>
                        <a:pt x="1191573" y="273016"/>
                      </a:lnTo>
                      <a:lnTo>
                        <a:pt x="1188582" y="274124"/>
                      </a:lnTo>
                      <a:lnTo>
                        <a:pt x="1187930" y="280775"/>
                      </a:lnTo>
                      <a:lnTo>
                        <a:pt x="1194262" y="288012"/>
                      </a:lnTo>
                      <a:lnTo>
                        <a:pt x="1193406" y="293480"/>
                      </a:lnTo>
                      <a:lnTo>
                        <a:pt x="1192127" y="295289"/>
                      </a:lnTo>
                      <a:lnTo>
                        <a:pt x="1188736" y="298223"/>
                      </a:lnTo>
                      <a:lnTo>
                        <a:pt x="1189177" y="300570"/>
                      </a:lnTo>
                      <a:lnTo>
                        <a:pt x="1190016" y="302233"/>
                      </a:lnTo>
                      <a:lnTo>
                        <a:pt x="1199975" y="305672"/>
                      </a:lnTo>
                      <a:lnTo>
                        <a:pt x="1209323" y="307815"/>
                      </a:lnTo>
                      <a:lnTo>
                        <a:pt x="1224986" y="308565"/>
                      </a:lnTo>
                      <a:lnTo>
                        <a:pt x="1229623" y="311931"/>
                      </a:lnTo>
                      <a:lnTo>
                        <a:pt x="1231270" y="309519"/>
                      </a:lnTo>
                      <a:lnTo>
                        <a:pt x="1246013" y="310114"/>
                      </a:lnTo>
                      <a:lnTo>
                        <a:pt x="1257887" y="318320"/>
                      </a:lnTo>
                      <a:lnTo>
                        <a:pt x="1264146" y="320847"/>
                      </a:lnTo>
                      <a:lnTo>
                        <a:pt x="1269231" y="321686"/>
                      </a:lnTo>
                      <a:lnTo>
                        <a:pt x="1279557" y="320692"/>
                      </a:lnTo>
                      <a:lnTo>
                        <a:pt x="1281374" y="319959"/>
                      </a:lnTo>
                      <a:lnTo>
                        <a:pt x="1283070" y="317611"/>
                      </a:lnTo>
                      <a:lnTo>
                        <a:pt x="1278229" y="317831"/>
                      </a:lnTo>
                      <a:lnTo>
                        <a:pt x="1276118" y="318899"/>
                      </a:lnTo>
                      <a:lnTo>
                        <a:pt x="1274145" y="318785"/>
                      </a:lnTo>
                      <a:lnTo>
                        <a:pt x="1270763" y="317978"/>
                      </a:lnTo>
                      <a:lnTo>
                        <a:pt x="1268384" y="316560"/>
                      </a:lnTo>
                      <a:lnTo>
                        <a:pt x="1265776" y="313765"/>
                      </a:lnTo>
                      <a:lnTo>
                        <a:pt x="1261465" y="305656"/>
                      </a:lnTo>
                      <a:lnTo>
                        <a:pt x="1253918" y="303031"/>
                      </a:lnTo>
                      <a:lnTo>
                        <a:pt x="1248914" y="304099"/>
                      </a:lnTo>
                      <a:lnTo>
                        <a:pt x="1243323" y="303602"/>
                      </a:lnTo>
                      <a:lnTo>
                        <a:pt x="1234204" y="299160"/>
                      </a:lnTo>
                      <a:lnTo>
                        <a:pt x="1228189" y="297473"/>
                      </a:lnTo>
                      <a:lnTo>
                        <a:pt x="1217342" y="292657"/>
                      </a:lnTo>
                      <a:lnTo>
                        <a:pt x="1214327" y="290709"/>
                      </a:lnTo>
                      <a:lnTo>
                        <a:pt x="1211931" y="286724"/>
                      </a:lnTo>
                      <a:lnTo>
                        <a:pt x="1209151" y="280066"/>
                      </a:lnTo>
                      <a:lnTo>
                        <a:pt x="1207383" y="276349"/>
                      </a:lnTo>
                      <a:lnTo>
                        <a:pt x="1209665" y="275608"/>
                      </a:lnTo>
                      <a:lnTo>
                        <a:pt x="1217041" y="271973"/>
                      </a:lnTo>
                      <a:lnTo>
                        <a:pt x="1228189" y="270742"/>
                      </a:lnTo>
                      <a:lnTo>
                        <a:pt x="1232908" y="272054"/>
                      </a:lnTo>
                      <a:lnTo>
                        <a:pt x="1245043" y="279462"/>
                      </a:lnTo>
                      <a:lnTo>
                        <a:pt x="1250674" y="279723"/>
                      </a:lnTo>
                      <a:lnTo>
                        <a:pt x="1260829" y="276496"/>
                      </a:lnTo>
                      <a:lnTo>
                        <a:pt x="1261962" y="274426"/>
                      </a:lnTo>
                      <a:lnTo>
                        <a:pt x="1259688" y="270204"/>
                      </a:lnTo>
                      <a:lnTo>
                        <a:pt x="1256591" y="268028"/>
                      </a:lnTo>
                      <a:lnTo>
                        <a:pt x="1250756" y="267018"/>
                      </a:lnTo>
                      <a:lnTo>
                        <a:pt x="1243617" y="268966"/>
                      </a:lnTo>
                      <a:lnTo>
                        <a:pt x="1241579" y="267311"/>
                      </a:lnTo>
                      <a:lnTo>
                        <a:pt x="1242297" y="265078"/>
                      </a:lnTo>
                      <a:lnTo>
                        <a:pt x="1243087" y="263448"/>
                      </a:lnTo>
                      <a:lnTo>
                        <a:pt x="1246901" y="263024"/>
                      </a:lnTo>
                      <a:lnTo>
                        <a:pt x="1249574" y="261753"/>
                      </a:lnTo>
                      <a:lnTo>
                        <a:pt x="1255401" y="257173"/>
                      </a:lnTo>
                      <a:lnTo>
                        <a:pt x="1261783" y="254940"/>
                      </a:lnTo>
                      <a:lnTo>
                        <a:pt x="1268155" y="254141"/>
                      </a:lnTo>
                      <a:lnTo>
                        <a:pt x="1291456" y="254785"/>
                      </a:lnTo>
                      <a:lnTo>
                        <a:pt x="1304650" y="262030"/>
                      </a:lnTo>
                      <a:lnTo>
                        <a:pt x="1317559" y="265233"/>
                      </a:lnTo>
                      <a:lnTo>
                        <a:pt x="1323133" y="267751"/>
                      </a:lnTo>
                      <a:lnTo>
                        <a:pt x="1324707" y="268167"/>
                      </a:lnTo>
                      <a:lnTo>
                        <a:pt x="1326002" y="269764"/>
                      </a:lnTo>
                      <a:lnTo>
                        <a:pt x="1327021" y="273611"/>
                      </a:lnTo>
                      <a:lnTo>
                        <a:pt x="1343271" y="283847"/>
                      </a:lnTo>
                      <a:lnTo>
                        <a:pt x="1347004" y="285216"/>
                      </a:lnTo>
                      <a:lnTo>
                        <a:pt x="1357387" y="285632"/>
                      </a:lnTo>
                      <a:lnTo>
                        <a:pt x="1368968" y="283268"/>
                      </a:lnTo>
                      <a:lnTo>
                        <a:pt x="1374192" y="283024"/>
                      </a:lnTo>
                      <a:lnTo>
                        <a:pt x="1379856" y="283725"/>
                      </a:lnTo>
                      <a:lnTo>
                        <a:pt x="1382855" y="285012"/>
                      </a:lnTo>
                      <a:lnTo>
                        <a:pt x="1385992" y="287392"/>
                      </a:lnTo>
                      <a:lnTo>
                        <a:pt x="1384306" y="290399"/>
                      </a:lnTo>
                      <a:lnTo>
                        <a:pt x="1382822" y="292201"/>
                      </a:lnTo>
                      <a:lnTo>
                        <a:pt x="1379627" y="297261"/>
                      </a:lnTo>
                      <a:lnTo>
                        <a:pt x="1378160" y="298688"/>
                      </a:lnTo>
                      <a:lnTo>
                        <a:pt x="1367623" y="304450"/>
                      </a:lnTo>
                      <a:lnTo>
                        <a:pt x="1363401" y="305941"/>
                      </a:lnTo>
                      <a:lnTo>
                        <a:pt x="1362268" y="313479"/>
                      </a:lnTo>
                      <a:lnTo>
                        <a:pt x="1361706" y="315158"/>
                      </a:lnTo>
                      <a:lnTo>
                        <a:pt x="1361331" y="317799"/>
                      </a:lnTo>
                      <a:lnTo>
                        <a:pt x="1363238" y="323145"/>
                      </a:lnTo>
                      <a:lnTo>
                        <a:pt x="1363736" y="326397"/>
                      </a:lnTo>
                      <a:lnTo>
                        <a:pt x="1362114" y="330928"/>
                      </a:lnTo>
                      <a:lnTo>
                        <a:pt x="1359449" y="335810"/>
                      </a:lnTo>
                      <a:lnTo>
                        <a:pt x="1359922" y="339705"/>
                      </a:lnTo>
                      <a:lnTo>
                        <a:pt x="1360883" y="344897"/>
                      </a:lnTo>
                      <a:lnTo>
                        <a:pt x="1361250" y="343348"/>
                      </a:lnTo>
                      <a:lnTo>
                        <a:pt x="1361144" y="340985"/>
                      </a:lnTo>
                      <a:lnTo>
                        <a:pt x="1361812" y="338263"/>
                      </a:lnTo>
                      <a:lnTo>
                        <a:pt x="1366596" y="331678"/>
                      </a:lnTo>
                      <a:lnTo>
                        <a:pt x="1370092" y="322664"/>
                      </a:lnTo>
                      <a:lnTo>
                        <a:pt x="1373703" y="320325"/>
                      </a:lnTo>
                      <a:lnTo>
                        <a:pt x="1376963" y="319738"/>
                      </a:lnTo>
                      <a:lnTo>
                        <a:pt x="1380451" y="322420"/>
                      </a:lnTo>
                      <a:lnTo>
                        <a:pt x="1381469" y="326038"/>
                      </a:lnTo>
                      <a:lnTo>
                        <a:pt x="1381640" y="331466"/>
                      </a:lnTo>
                      <a:lnTo>
                        <a:pt x="1380948" y="336600"/>
                      </a:lnTo>
                      <a:lnTo>
                        <a:pt x="1378218" y="344375"/>
                      </a:lnTo>
                      <a:lnTo>
                        <a:pt x="1373817" y="349795"/>
                      </a:lnTo>
                      <a:lnTo>
                        <a:pt x="1372325" y="352875"/>
                      </a:lnTo>
                      <a:lnTo>
                        <a:pt x="1374428" y="355711"/>
                      </a:lnTo>
                      <a:lnTo>
                        <a:pt x="1376645" y="357928"/>
                      </a:lnTo>
                      <a:lnTo>
                        <a:pt x="1379236" y="358653"/>
                      </a:lnTo>
                      <a:lnTo>
                        <a:pt x="1382211" y="358442"/>
                      </a:lnTo>
                      <a:lnTo>
                        <a:pt x="1382912" y="357700"/>
                      </a:lnTo>
                      <a:lnTo>
                        <a:pt x="1383474" y="355573"/>
                      </a:lnTo>
                      <a:lnTo>
                        <a:pt x="1382537" y="352720"/>
                      </a:lnTo>
                      <a:lnTo>
                        <a:pt x="1382040" y="350227"/>
                      </a:lnTo>
                      <a:lnTo>
                        <a:pt x="1387484" y="348222"/>
                      </a:lnTo>
                      <a:lnTo>
                        <a:pt x="1392520" y="347162"/>
                      </a:lnTo>
                      <a:lnTo>
                        <a:pt x="1396562" y="343886"/>
                      </a:lnTo>
                      <a:lnTo>
                        <a:pt x="1397573" y="341726"/>
                      </a:lnTo>
                      <a:lnTo>
                        <a:pt x="1398453" y="338132"/>
                      </a:lnTo>
                      <a:lnTo>
                        <a:pt x="1396351" y="332476"/>
                      </a:lnTo>
                      <a:lnTo>
                        <a:pt x="1394558" y="328255"/>
                      </a:lnTo>
                      <a:lnTo>
                        <a:pt x="1388478" y="318223"/>
                      </a:lnTo>
                      <a:lnTo>
                        <a:pt x="1383947" y="313023"/>
                      </a:lnTo>
                      <a:lnTo>
                        <a:pt x="1386799" y="305216"/>
                      </a:lnTo>
                      <a:lnTo>
                        <a:pt x="1391550" y="296528"/>
                      </a:lnTo>
                      <a:lnTo>
                        <a:pt x="1393368" y="294401"/>
                      </a:lnTo>
                      <a:lnTo>
                        <a:pt x="1393849" y="293064"/>
                      </a:lnTo>
                      <a:lnTo>
                        <a:pt x="1394370" y="290750"/>
                      </a:lnTo>
                      <a:lnTo>
                        <a:pt x="1393930" y="288232"/>
                      </a:lnTo>
                      <a:lnTo>
                        <a:pt x="1393450" y="286683"/>
                      </a:lnTo>
                      <a:lnTo>
                        <a:pt x="1388649" y="280131"/>
                      </a:lnTo>
                      <a:lnTo>
                        <a:pt x="1385169" y="277971"/>
                      </a:lnTo>
                      <a:lnTo>
                        <a:pt x="1374126" y="276692"/>
                      </a:lnTo>
                      <a:lnTo>
                        <a:pt x="1371404" y="275673"/>
                      </a:lnTo>
                      <a:lnTo>
                        <a:pt x="1363320" y="268957"/>
                      </a:lnTo>
                      <a:lnTo>
                        <a:pt x="1362358" y="267442"/>
                      </a:lnTo>
                      <a:lnTo>
                        <a:pt x="1360582" y="262576"/>
                      </a:lnTo>
                      <a:lnTo>
                        <a:pt x="1359946" y="261370"/>
                      </a:lnTo>
                      <a:lnTo>
                        <a:pt x="1357729" y="260082"/>
                      </a:lnTo>
                      <a:lnTo>
                        <a:pt x="1350264" y="257279"/>
                      </a:lnTo>
                      <a:lnTo>
                        <a:pt x="1345138" y="256130"/>
                      </a:lnTo>
                      <a:lnTo>
                        <a:pt x="1337599" y="255796"/>
                      </a:lnTo>
                      <a:lnTo>
                        <a:pt x="1333028" y="254378"/>
                      </a:lnTo>
                      <a:lnTo>
                        <a:pt x="1326312" y="249846"/>
                      </a:lnTo>
                      <a:lnTo>
                        <a:pt x="1325579" y="248388"/>
                      </a:lnTo>
                      <a:lnTo>
                        <a:pt x="1323647" y="242495"/>
                      </a:lnTo>
                      <a:lnTo>
                        <a:pt x="1322066" y="239529"/>
                      </a:lnTo>
                      <a:lnTo>
                        <a:pt x="1322547" y="237353"/>
                      </a:lnTo>
                      <a:lnTo>
                        <a:pt x="1324992" y="232659"/>
                      </a:lnTo>
                      <a:lnTo>
                        <a:pt x="1326670" y="228567"/>
                      </a:lnTo>
                      <a:lnTo>
                        <a:pt x="1324576" y="225039"/>
                      </a:lnTo>
                      <a:lnTo>
                        <a:pt x="1321634" y="223938"/>
                      </a:lnTo>
                      <a:lnTo>
                        <a:pt x="1318423" y="222219"/>
                      </a:lnTo>
                      <a:lnTo>
                        <a:pt x="1317095" y="219016"/>
                      </a:lnTo>
                      <a:lnTo>
                        <a:pt x="1316320" y="215487"/>
                      </a:lnTo>
                      <a:lnTo>
                        <a:pt x="1316182" y="212773"/>
                      </a:lnTo>
                      <a:lnTo>
                        <a:pt x="1315660" y="209636"/>
                      </a:lnTo>
                      <a:lnTo>
                        <a:pt x="1317160" y="206995"/>
                      </a:lnTo>
                      <a:lnTo>
                        <a:pt x="1320566" y="204183"/>
                      </a:lnTo>
                      <a:lnTo>
                        <a:pt x="1319727" y="202276"/>
                      </a:lnTo>
                      <a:lnTo>
                        <a:pt x="1320257" y="199774"/>
                      </a:lnTo>
                      <a:lnTo>
                        <a:pt x="1342228" y="196417"/>
                      </a:lnTo>
                      <a:lnTo>
                        <a:pt x="1350859" y="195553"/>
                      </a:lnTo>
                      <a:lnTo>
                        <a:pt x="1393718" y="195202"/>
                      </a:lnTo>
                      <a:lnTo>
                        <a:pt x="1396750" y="194265"/>
                      </a:lnTo>
                      <a:lnTo>
                        <a:pt x="1415356" y="192603"/>
                      </a:lnTo>
                      <a:lnTo>
                        <a:pt x="1423302" y="190696"/>
                      </a:lnTo>
                      <a:lnTo>
                        <a:pt x="1431721" y="192717"/>
                      </a:lnTo>
                      <a:lnTo>
                        <a:pt x="1434785" y="192627"/>
                      </a:lnTo>
                      <a:lnTo>
                        <a:pt x="1440930" y="192008"/>
                      </a:lnTo>
                      <a:lnTo>
                        <a:pt x="1444972" y="187941"/>
                      </a:lnTo>
                      <a:lnTo>
                        <a:pt x="1454092" y="186287"/>
                      </a:lnTo>
                      <a:lnTo>
                        <a:pt x="1469274" y="184534"/>
                      </a:lnTo>
                      <a:lnTo>
                        <a:pt x="1476748" y="184869"/>
                      </a:lnTo>
                      <a:lnTo>
                        <a:pt x="1478451" y="186107"/>
                      </a:lnTo>
                      <a:lnTo>
                        <a:pt x="1480147" y="187819"/>
                      </a:lnTo>
                      <a:lnTo>
                        <a:pt x="1471907" y="192839"/>
                      </a:lnTo>
                      <a:lnTo>
                        <a:pt x="1463684" y="197378"/>
                      </a:lnTo>
                      <a:lnTo>
                        <a:pt x="1456944" y="199310"/>
                      </a:lnTo>
                      <a:lnTo>
                        <a:pt x="1450318" y="203311"/>
                      </a:lnTo>
                      <a:lnTo>
                        <a:pt x="1449658" y="204884"/>
                      </a:lnTo>
                      <a:lnTo>
                        <a:pt x="1449463" y="205846"/>
                      </a:lnTo>
                      <a:lnTo>
                        <a:pt x="1449715" y="208951"/>
                      </a:lnTo>
                      <a:lnTo>
                        <a:pt x="1450098" y="211029"/>
                      </a:lnTo>
                      <a:lnTo>
                        <a:pt x="1457034" y="213556"/>
                      </a:lnTo>
                      <a:lnTo>
                        <a:pt x="1462249" y="217133"/>
                      </a:lnTo>
                      <a:lnTo>
                        <a:pt x="1467367" y="219692"/>
                      </a:lnTo>
                      <a:lnTo>
                        <a:pt x="1471402" y="221265"/>
                      </a:lnTo>
                      <a:lnTo>
                        <a:pt x="1472339" y="220377"/>
                      </a:lnTo>
                      <a:lnTo>
                        <a:pt x="1457620" y="211975"/>
                      </a:lnTo>
                      <a:lnTo>
                        <a:pt x="1453880" y="210092"/>
                      </a:lnTo>
                      <a:lnTo>
                        <a:pt x="1452380" y="208079"/>
                      </a:lnTo>
                      <a:lnTo>
                        <a:pt x="1453097" y="205007"/>
                      </a:lnTo>
                      <a:lnTo>
                        <a:pt x="1454581" y="203629"/>
                      </a:lnTo>
                      <a:lnTo>
                        <a:pt x="1456903" y="202081"/>
                      </a:lnTo>
                      <a:lnTo>
                        <a:pt x="1458452" y="201355"/>
                      </a:lnTo>
                      <a:lnTo>
                        <a:pt x="1463945" y="199766"/>
                      </a:lnTo>
                      <a:lnTo>
                        <a:pt x="1482387" y="197598"/>
                      </a:lnTo>
                      <a:lnTo>
                        <a:pt x="1486715" y="193418"/>
                      </a:lnTo>
                      <a:lnTo>
                        <a:pt x="1488573" y="191013"/>
                      </a:lnTo>
                      <a:lnTo>
                        <a:pt x="1493577" y="188446"/>
                      </a:lnTo>
                      <a:lnTo>
                        <a:pt x="1491890" y="187428"/>
                      </a:lnTo>
                      <a:lnTo>
                        <a:pt x="1487782" y="186792"/>
                      </a:lnTo>
                      <a:lnTo>
                        <a:pt x="1484620" y="185268"/>
                      </a:lnTo>
                      <a:lnTo>
                        <a:pt x="1471891" y="170395"/>
                      </a:lnTo>
                      <a:lnTo>
                        <a:pt x="1468770" y="168113"/>
                      </a:lnTo>
                      <a:lnTo>
                        <a:pt x="1459014" y="166434"/>
                      </a:lnTo>
                      <a:lnTo>
                        <a:pt x="1454638" y="164714"/>
                      </a:lnTo>
                      <a:lnTo>
                        <a:pt x="1459144" y="159661"/>
                      </a:lnTo>
                      <a:lnTo>
                        <a:pt x="1464417" y="158390"/>
                      </a:lnTo>
                      <a:lnTo>
                        <a:pt x="1467963" y="158667"/>
                      </a:lnTo>
                      <a:lnTo>
                        <a:pt x="1471092" y="160077"/>
                      </a:lnTo>
                      <a:lnTo>
                        <a:pt x="1476878" y="164274"/>
                      </a:lnTo>
                      <a:lnTo>
                        <a:pt x="1485101" y="162457"/>
                      </a:lnTo>
                      <a:lnTo>
                        <a:pt x="1482045" y="160582"/>
                      </a:lnTo>
                      <a:lnTo>
                        <a:pt x="1476788" y="158406"/>
                      </a:lnTo>
                      <a:lnTo>
                        <a:pt x="1471972" y="154967"/>
                      </a:lnTo>
                      <a:lnTo>
                        <a:pt x="1465167" y="151984"/>
                      </a:lnTo>
                      <a:lnTo>
                        <a:pt x="1457490" y="149947"/>
                      </a:lnTo>
                      <a:lnTo>
                        <a:pt x="1449422" y="149173"/>
                      </a:lnTo>
                      <a:lnTo>
                        <a:pt x="1451647" y="144658"/>
                      </a:lnTo>
                      <a:lnTo>
                        <a:pt x="1456072" y="145228"/>
                      </a:lnTo>
                      <a:lnTo>
                        <a:pt x="1457580" y="143851"/>
                      </a:lnTo>
                      <a:lnTo>
                        <a:pt x="1459601" y="141056"/>
                      </a:lnTo>
                      <a:lnTo>
                        <a:pt x="1470766" y="147396"/>
                      </a:lnTo>
                      <a:lnTo>
                        <a:pt x="1476006" y="145725"/>
                      </a:lnTo>
                      <a:lnTo>
                        <a:pt x="1480448" y="142832"/>
                      </a:lnTo>
                      <a:lnTo>
                        <a:pt x="1489812" y="135139"/>
                      </a:lnTo>
                      <a:lnTo>
                        <a:pt x="1491010" y="131692"/>
                      </a:lnTo>
                      <a:lnTo>
                        <a:pt x="1486544" y="129825"/>
                      </a:lnTo>
                      <a:lnTo>
                        <a:pt x="1482901" y="128888"/>
                      </a:lnTo>
                      <a:lnTo>
                        <a:pt x="1477897" y="129084"/>
                      </a:lnTo>
                      <a:lnTo>
                        <a:pt x="1477465" y="126957"/>
                      </a:lnTo>
                      <a:lnTo>
                        <a:pt x="1479552" y="124243"/>
                      </a:lnTo>
                      <a:lnTo>
                        <a:pt x="1483642" y="123191"/>
                      </a:lnTo>
                      <a:lnTo>
                        <a:pt x="1496063" y="126158"/>
                      </a:lnTo>
                      <a:lnTo>
                        <a:pt x="1516706" y="118473"/>
                      </a:lnTo>
                      <a:lnTo>
                        <a:pt x="1522394" y="114724"/>
                      </a:lnTo>
                      <a:lnTo>
                        <a:pt x="1536714" y="109891"/>
                      </a:lnTo>
                      <a:lnTo>
                        <a:pt x="1543779" y="110461"/>
                      </a:lnTo>
                      <a:lnTo>
                        <a:pt x="1558408" y="104105"/>
                      </a:lnTo>
                      <a:lnTo>
                        <a:pt x="1578734" y="101293"/>
                      </a:lnTo>
                      <a:lnTo>
                        <a:pt x="1590510" y="101293"/>
                      </a:lnTo>
                      <a:lnTo>
                        <a:pt x="1599581" y="97740"/>
                      </a:lnTo>
                      <a:lnTo>
                        <a:pt x="1613525" y="96493"/>
                      </a:lnTo>
                      <a:lnTo>
                        <a:pt x="1618366" y="95067"/>
                      </a:lnTo>
                      <a:lnTo>
                        <a:pt x="1641870" y="91464"/>
                      </a:lnTo>
                      <a:lnTo>
                        <a:pt x="1654885" y="88628"/>
                      </a:lnTo>
                      <a:lnTo>
                        <a:pt x="1656906" y="86403"/>
                      </a:lnTo>
                      <a:lnTo>
                        <a:pt x="1645268" y="88221"/>
                      </a:lnTo>
                      <a:lnTo>
                        <a:pt x="1642456" y="86542"/>
                      </a:lnTo>
                      <a:lnTo>
                        <a:pt x="1640011" y="87675"/>
                      </a:lnTo>
                      <a:lnTo>
                        <a:pt x="1638284" y="89199"/>
                      </a:lnTo>
                      <a:lnTo>
                        <a:pt x="1632644" y="86420"/>
                      </a:lnTo>
                      <a:lnTo>
                        <a:pt x="1631112" y="87104"/>
                      </a:lnTo>
                      <a:lnTo>
                        <a:pt x="1629930" y="88636"/>
                      </a:lnTo>
                      <a:lnTo>
                        <a:pt x="1627885" y="89125"/>
                      </a:lnTo>
                      <a:lnTo>
                        <a:pt x="1625505" y="88775"/>
                      </a:lnTo>
                      <a:lnTo>
                        <a:pt x="1624706" y="85434"/>
                      </a:lnTo>
                      <a:lnTo>
                        <a:pt x="1627518" y="80813"/>
                      </a:lnTo>
                      <a:lnTo>
                        <a:pt x="1630827" y="83192"/>
                      </a:lnTo>
                      <a:lnTo>
                        <a:pt x="1634657" y="79672"/>
                      </a:lnTo>
                      <a:lnTo>
                        <a:pt x="1637143" y="79574"/>
                      </a:lnTo>
                      <a:lnTo>
                        <a:pt x="1644307" y="81831"/>
                      </a:lnTo>
                      <a:lnTo>
                        <a:pt x="1649131" y="79550"/>
                      </a:lnTo>
                      <a:lnTo>
                        <a:pt x="1655569" y="78474"/>
                      </a:lnTo>
                      <a:lnTo>
                        <a:pt x="1662659" y="79484"/>
                      </a:lnTo>
                      <a:lnTo>
                        <a:pt x="1665594" y="79232"/>
                      </a:lnTo>
                      <a:lnTo>
                        <a:pt x="1667305" y="77113"/>
                      </a:lnTo>
                      <a:lnTo>
                        <a:pt x="1678788" y="78963"/>
                      </a:lnTo>
                      <a:lnTo>
                        <a:pt x="1686742" y="77700"/>
                      </a:lnTo>
                      <a:lnTo>
                        <a:pt x="1692178" y="77814"/>
                      </a:lnTo>
                      <a:lnTo>
                        <a:pt x="1700637" y="78979"/>
                      </a:lnTo>
                      <a:lnTo>
                        <a:pt x="1704500" y="80479"/>
                      </a:lnTo>
                      <a:lnTo>
                        <a:pt x="1702283" y="83975"/>
                      </a:lnTo>
                      <a:lnTo>
                        <a:pt x="1694020" y="89631"/>
                      </a:lnTo>
                      <a:lnTo>
                        <a:pt x="1696286" y="90592"/>
                      </a:lnTo>
                      <a:lnTo>
                        <a:pt x="1701020" y="88001"/>
                      </a:lnTo>
                      <a:lnTo>
                        <a:pt x="1715250" y="84162"/>
                      </a:lnTo>
                      <a:lnTo>
                        <a:pt x="1717523" y="84920"/>
                      </a:lnTo>
                      <a:lnTo>
                        <a:pt x="1715967" y="88213"/>
                      </a:lnTo>
                      <a:lnTo>
                        <a:pt x="1714965" y="89680"/>
                      </a:lnTo>
                      <a:lnTo>
                        <a:pt x="1724442" y="87756"/>
                      </a:lnTo>
                      <a:lnTo>
                        <a:pt x="1732527" y="83535"/>
                      </a:lnTo>
                      <a:lnTo>
                        <a:pt x="1736129" y="82826"/>
                      </a:lnTo>
                      <a:lnTo>
                        <a:pt x="1739813" y="85393"/>
                      </a:lnTo>
                      <a:lnTo>
                        <a:pt x="1743244" y="83038"/>
                      </a:lnTo>
                      <a:lnTo>
                        <a:pt x="1744051" y="80674"/>
                      </a:lnTo>
                      <a:lnTo>
                        <a:pt x="1750220" y="80161"/>
                      </a:lnTo>
                      <a:lnTo>
                        <a:pt x="1752730" y="77993"/>
                      </a:lnTo>
                      <a:lnTo>
                        <a:pt x="1757058" y="76404"/>
                      </a:lnTo>
                      <a:lnTo>
                        <a:pt x="1760717" y="75719"/>
                      </a:lnTo>
                      <a:lnTo>
                        <a:pt x="1768655" y="72720"/>
                      </a:lnTo>
                      <a:lnTo>
                        <a:pt x="1771361" y="73625"/>
                      </a:lnTo>
                      <a:lnTo>
                        <a:pt x="1776658" y="74415"/>
                      </a:lnTo>
                      <a:lnTo>
                        <a:pt x="1781678" y="75858"/>
                      </a:lnTo>
                      <a:lnTo>
                        <a:pt x="1790993" y="79158"/>
                      </a:lnTo>
                      <a:lnTo>
                        <a:pt x="1792306" y="80462"/>
                      </a:lnTo>
                      <a:lnTo>
                        <a:pt x="1793479" y="80674"/>
                      </a:lnTo>
                      <a:lnTo>
                        <a:pt x="1796152" y="83046"/>
                      </a:lnTo>
                      <a:lnTo>
                        <a:pt x="1794131" y="86534"/>
                      </a:lnTo>
                      <a:lnTo>
                        <a:pt x="1791971" y="91562"/>
                      </a:lnTo>
                      <a:lnTo>
                        <a:pt x="1788002" y="93918"/>
                      </a:lnTo>
                      <a:lnTo>
                        <a:pt x="1790439" y="94138"/>
                      </a:lnTo>
                      <a:lnTo>
                        <a:pt x="1792142" y="93526"/>
                      </a:lnTo>
                      <a:lnTo>
                        <a:pt x="1795337" y="90185"/>
                      </a:lnTo>
                      <a:lnTo>
                        <a:pt x="1798157" y="87797"/>
                      </a:lnTo>
                      <a:lnTo>
                        <a:pt x="1797505" y="77871"/>
                      </a:lnTo>
                      <a:lnTo>
                        <a:pt x="1792338" y="72842"/>
                      </a:lnTo>
                      <a:lnTo>
                        <a:pt x="1788459" y="71147"/>
                      </a:lnTo>
                      <a:lnTo>
                        <a:pt x="1779364" y="65858"/>
                      </a:lnTo>
                      <a:lnTo>
                        <a:pt x="1776283" y="63609"/>
                      </a:lnTo>
                      <a:lnTo>
                        <a:pt x="1772216" y="61188"/>
                      </a:lnTo>
                      <a:lnTo>
                        <a:pt x="1773798" y="59778"/>
                      </a:lnTo>
                      <a:lnTo>
                        <a:pt x="1791328" y="61628"/>
                      </a:lnTo>
                      <a:lnTo>
                        <a:pt x="1800235" y="60740"/>
                      </a:lnTo>
                      <a:lnTo>
                        <a:pt x="1809828" y="61253"/>
                      </a:lnTo>
                      <a:lnTo>
                        <a:pt x="1822769" y="59029"/>
                      </a:lnTo>
                      <a:lnTo>
                        <a:pt x="1828140" y="61351"/>
                      </a:lnTo>
                      <a:lnTo>
                        <a:pt x="1834350" y="61270"/>
                      </a:lnTo>
                      <a:lnTo>
                        <a:pt x="1841473" y="63193"/>
                      </a:lnTo>
                      <a:lnTo>
                        <a:pt x="1843608" y="60952"/>
                      </a:lnTo>
                      <a:lnTo>
                        <a:pt x="1831930" y="58515"/>
                      </a:lnTo>
                      <a:lnTo>
                        <a:pt x="1826714" y="58768"/>
                      </a:lnTo>
                      <a:lnTo>
                        <a:pt x="1824856" y="57488"/>
                      </a:lnTo>
                      <a:lnTo>
                        <a:pt x="1826803" y="54652"/>
                      </a:lnTo>
                      <a:lnTo>
                        <a:pt x="1829110" y="50333"/>
                      </a:lnTo>
                      <a:lnTo>
                        <a:pt x="1826836" y="46568"/>
                      </a:lnTo>
                      <a:lnTo>
                        <a:pt x="1824668" y="44563"/>
                      </a:lnTo>
                      <a:lnTo>
                        <a:pt x="1824310" y="40741"/>
                      </a:lnTo>
                      <a:lnTo>
                        <a:pt x="1826388" y="36356"/>
                      </a:lnTo>
                      <a:lnTo>
                        <a:pt x="1831253" y="34498"/>
                      </a:lnTo>
                      <a:lnTo>
                        <a:pt x="1833902" y="30920"/>
                      </a:lnTo>
                      <a:lnTo>
                        <a:pt x="1839484" y="26193"/>
                      </a:lnTo>
                      <a:lnTo>
                        <a:pt x="1866582" y="10945"/>
                      </a:lnTo>
                      <a:lnTo>
                        <a:pt x="1879508" y="5134"/>
                      </a:lnTo>
                      <a:lnTo>
                        <a:pt x="1884463" y="4417"/>
                      </a:lnTo>
                      <a:lnTo>
                        <a:pt x="1890151" y="4865"/>
                      </a:lnTo>
                      <a:lnTo>
                        <a:pt x="1901406" y="0"/>
                      </a:lnTo>
                      <a:lnTo>
                        <a:pt x="1905636" y="0"/>
                      </a:lnTo>
                      <a:lnTo>
                        <a:pt x="1921242" y="3871"/>
                      </a:lnTo>
                      <a:lnTo>
                        <a:pt x="1924991" y="6699"/>
                      </a:lnTo>
                      <a:lnTo>
                        <a:pt x="1933508" y="8940"/>
                      </a:lnTo>
                      <a:lnTo>
                        <a:pt x="1943467" y="10122"/>
                      </a:lnTo>
                      <a:lnTo>
                        <a:pt x="1948030" y="11915"/>
                      </a:lnTo>
                      <a:lnTo>
                        <a:pt x="1950247" y="13944"/>
                      </a:lnTo>
                      <a:lnTo>
                        <a:pt x="1952138" y="16748"/>
                      </a:lnTo>
                      <a:lnTo>
                        <a:pt x="1944061" y="18647"/>
                      </a:lnTo>
                      <a:lnTo>
                        <a:pt x="1935382" y="24245"/>
                      </a:lnTo>
                      <a:lnTo>
                        <a:pt x="1923663" y="27342"/>
                      </a:lnTo>
                      <a:lnTo>
                        <a:pt x="1909075" y="29404"/>
                      </a:lnTo>
                      <a:lnTo>
                        <a:pt x="1906068" y="30912"/>
                      </a:lnTo>
                      <a:lnTo>
                        <a:pt x="1933793" y="31376"/>
                      </a:lnTo>
                      <a:lnTo>
                        <a:pt x="1941869" y="30969"/>
                      </a:lnTo>
                      <a:lnTo>
                        <a:pt x="1943516" y="35818"/>
                      </a:lnTo>
                      <a:lnTo>
                        <a:pt x="1946238" y="36014"/>
                      </a:lnTo>
                      <a:lnTo>
                        <a:pt x="1954265" y="33675"/>
                      </a:lnTo>
                      <a:lnTo>
                        <a:pt x="1959057" y="33552"/>
                      </a:lnTo>
                      <a:lnTo>
                        <a:pt x="1968136" y="35215"/>
                      </a:lnTo>
                      <a:lnTo>
                        <a:pt x="1970084" y="34335"/>
                      </a:lnTo>
                      <a:lnTo>
                        <a:pt x="1974004" y="34213"/>
                      </a:lnTo>
                      <a:lnTo>
                        <a:pt x="1982374" y="36332"/>
                      </a:lnTo>
                      <a:lnTo>
                        <a:pt x="1986114" y="39477"/>
                      </a:lnTo>
                      <a:lnTo>
                        <a:pt x="1980173" y="44579"/>
                      </a:lnTo>
                      <a:lnTo>
                        <a:pt x="1973996" y="49045"/>
                      </a:lnTo>
                      <a:lnTo>
                        <a:pt x="1966498" y="56690"/>
                      </a:lnTo>
                      <a:lnTo>
                        <a:pt x="1964184" y="56054"/>
                      </a:lnTo>
                      <a:lnTo>
                        <a:pt x="1960190" y="55907"/>
                      </a:lnTo>
                      <a:lnTo>
                        <a:pt x="1960907" y="59648"/>
                      </a:lnTo>
                      <a:lnTo>
                        <a:pt x="1967598" y="59534"/>
                      </a:lnTo>
                      <a:lnTo>
                        <a:pt x="1971119" y="61213"/>
                      </a:lnTo>
                      <a:lnTo>
                        <a:pt x="1979366" y="59077"/>
                      </a:lnTo>
                      <a:lnTo>
                        <a:pt x="1990939" y="59754"/>
                      </a:lnTo>
                      <a:lnTo>
                        <a:pt x="1993368" y="59167"/>
                      </a:lnTo>
                      <a:lnTo>
                        <a:pt x="1997834" y="56869"/>
                      </a:lnTo>
                      <a:lnTo>
                        <a:pt x="1999007" y="52435"/>
                      </a:lnTo>
                      <a:lnTo>
                        <a:pt x="2000938" y="49624"/>
                      </a:lnTo>
                      <a:lnTo>
                        <a:pt x="2004761" y="48678"/>
                      </a:lnTo>
                      <a:lnTo>
                        <a:pt x="2008999" y="49575"/>
                      </a:lnTo>
                      <a:lnTo>
                        <a:pt x="2016089" y="49542"/>
                      </a:lnTo>
                      <a:lnTo>
                        <a:pt x="2034214" y="48132"/>
                      </a:lnTo>
                      <a:lnTo>
                        <a:pt x="2049405" y="49950"/>
                      </a:lnTo>
                      <a:lnTo>
                        <a:pt x="2061557" y="47684"/>
                      </a:lnTo>
                      <a:lnTo>
                        <a:pt x="2077522" y="49404"/>
                      </a:lnTo>
                      <a:lnTo>
                        <a:pt x="2084400" y="51172"/>
                      </a:lnTo>
                      <a:lnTo>
                        <a:pt x="2089559" y="54310"/>
                      </a:lnTo>
                      <a:lnTo>
                        <a:pt x="2094163" y="55214"/>
                      </a:lnTo>
                      <a:lnTo>
                        <a:pt x="2097945" y="57659"/>
                      </a:lnTo>
                      <a:lnTo>
                        <a:pt x="2101791" y="61205"/>
                      </a:lnTo>
                      <a:lnTo>
                        <a:pt x="2099876" y="64106"/>
                      </a:lnTo>
                      <a:lnTo>
                        <a:pt x="2098034" y="66045"/>
                      </a:lnTo>
                      <a:lnTo>
                        <a:pt x="2103006" y="63943"/>
                      </a:lnTo>
                      <a:lnTo>
                        <a:pt x="2106836" y="63421"/>
                      </a:lnTo>
                      <a:lnTo>
                        <a:pt x="2109713" y="64701"/>
                      </a:lnTo>
                      <a:lnTo>
                        <a:pt x="2114831" y="65899"/>
                      </a:lnTo>
                      <a:lnTo>
                        <a:pt x="2116437" y="73869"/>
                      </a:lnTo>
                      <a:lnTo>
                        <a:pt x="2117879" y="75409"/>
                      </a:lnTo>
                      <a:lnTo>
                        <a:pt x="2119265" y="78180"/>
                      </a:lnTo>
                      <a:lnTo>
                        <a:pt x="2117374" y="80715"/>
                      </a:lnTo>
                      <a:lnTo>
                        <a:pt x="2115736" y="81856"/>
                      </a:lnTo>
                      <a:lnTo>
                        <a:pt x="2119778" y="81611"/>
                      </a:lnTo>
                      <a:lnTo>
                        <a:pt x="2125426" y="78930"/>
                      </a:lnTo>
                      <a:lnTo>
                        <a:pt x="2126599" y="78026"/>
                      </a:lnTo>
                      <a:lnTo>
                        <a:pt x="2127993" y="76013"/>
                      </a:lnTo>
                      <a:lnTo>
                        <a:pt x="2125898" y="74048"/>
                      </a:lnTo>
                      <a:lnTo>
                        <a:pt x="2123975" y="72859"/>
                      </a:lnTo>
                      <a:lnTo>
                        <a:pt x="2126404" y="71970"/>
                      </a:lnTo>
                      <a:lnTo>
                        <a:pt x="2131033" y="72280"/>
                      </a:lnTo>
                      <a:lnTo>
                        <a:pt x="2133339" y="75801"/>
                      </a:lnTo>
                      <a:lnTo>
                        <a:pt x="2134879" y="79036"/>
                      </a:lnTo>
                      <a:lnTo>
                        <a:pt x="2138253" y="89655"/>
                      </a:lnTo>
                      <a:lnTo>
                        <a:pt x="2145531" y="88229"/>
                      </a:lnTo>
                      <a:lnTo>
                        <a:pt x="2145873" y="91375"/>
                      </a:lnTo>
                      <a:lnTo>
                        <a:pt x="2142842" y="98636"/>
                      </a:lnTo>
                      <a:lnTo>
                        <a:pt x="2139647" y="104023"/>
                      </a:lnTo>
                      <a:lnTo>
                        <a:pt x="2138351" y="105189"/>
                      </a:lnTo>
                      <a:lnTo>
                        <a:pt x="2136322" y="105392"/>
                      </a:lnTo>
                      <a:lnTo>
                        <a:pt x="2137088" y="102621"/>
                      </a:lnTo>
                      <a:lnTo>
                        <a:pt x="2135907" y="100951"/>
                      </a:lnTo>
                      <a:lnTo>
                        <a:pt x="2133983" y="99932"/>
                      </a:lnTo>
                      <a:lnTo>
                        <a:pt x="2127406" y="98938"/>
                      </a:lnTo>
                      <a:lnTo>
                        <a:pt x="2115068" y="92369"/>
                      </a:lnTo>
                      <a:lnTo>
                        <a:pt x="2111775" y="91668"/>
                      </a:lnTo>
                      <a:lnTo>
                        <a:pt x="2111025" y="91970"/>
                      </a:lnTo>
                      <a:lnTo>
                        <a:pt x="2110699" y="92622"/>
                      </a:lnTo>
                      <a:lnTo>
                        <a:pt x="2117553" y="97063"/>
                      </a:lnTo>
                      <a:lnTo>
                        <a:pt x="2123169" y="105017"/>
                      </a:lnTo>
                      <a:lnTo>
                        <a:pt x="2128278" y="102687"/>
                      </a:lnTo>
                      <a:lnTo>
                        <a:pt x="2130291" y="103119"/>
                      </a:lnTo>
                      <a:lnTo>
                        <a:pt x="2133095" y="106819"/>
                      </a:lnTo>
                      <a:lnTo>
                        <a:pt x="2138132" y="108367"/>
                      </a:lnTo>
                      <a:lnTo>
                        <a:pt x="2142280" y="110828"/>
                      </a:lnTo>
                      <a:lnTo>
                        <a:pt x="2139484" y="118367"/>
                      </a:lnTo>
                      <a:lnTo>
                        <a:pt x="2122411" y="131610"/>
                      </a:lnTo>
                      <a:lnTo>
                        <a:pt x="2104228" y="139303"/>
                      </a:lnTo>
                      <a:lnTo>
                        <a:pt x="2096209" y="144674"/>
                      </a:lnTo>
                      <a:lnTo>
                        <a:pt x="2082077" y="148537"/>
                      </a:lnTo>
                      <a:lnTo>
                        <a:pt x="2072004" y="153761"/>
                      </a:lnTo>
                      <a:lnTo>
                        <a:pt x="2059128" y="157632"/>
                      </a:lnTo>
                      <a:lnTo>
                        <a:pt x="2055469" y="161756"/>
                      </a:lnTo>
                      <a:lnTo>
                        <a:pt x="2045901" y="164437"/>
                      </a:lnTo>
                      <a:lnTo>
                        <a:pt x="2046553" y="165798"/>
                      </a:lnTo>
                      <a:lnTo>
                        <a:pt x="2047669" y="167298"/>
                      </a:lnTo>
                      <a:lnTo>
                        <a:pt x="2046479" y="169759"/>
                      </a:lnTo>
                      <a:lnTo>
                        <a:pt x="2045159" y="171625"/>
                      </a:lnTo>
                      <a:lnTo>
                        <a:pt x="2037727" y="175415"/>
                      </a:lnTo>
                      <a:lnTo>
                        <a:pt x="2026920" y="178063"/>
                      </a:lnTo>
                      <a:lnTo>
                        <a:pt x="2005209" y="193907"/>
                      </a:lnTo>
                      <a:lnTo>
                        <a:pt x="1994443" y="197142"/>
                      </a:lnTo>
                      <a:lnTo>
                        <a:pt x="1982178" y="197329"/>
                      </a:lnTo>
                      <a:lnTo>
                        <a:pt x="1979603" y="198805"/>
                      </a:lnTo>
                      <a:lnTo>
                        <a:pt x="1970345" y="208715"/>
                      </a:lnTo>
                      <a:lnTo>
                        <a:pt x="1967500" y="210858"/>
                      </a:lnTo>
                      <a:lnTo>
                        <a:pt x="1955333" y="211909"/>
                      </a:lnTo>
                      <a:lnTo>
                        <a:pt x="1942644" y="228103"/>
                      </a:lnTo>
                      <a:lnTo>
                        <a:pt x="1935594" y="233571"/>
                      </a:lnTo>
                      <a:lnTo>
                        <a:pt x="1929416" y="236530"/>
                      </a:lnTo>
                      <a:lnTo>
                        <a:pt x="1935839" y="235927"/>
                      </a:lnTo>
                      <a:lnTo>
                        <a:pt x="1943418" y="233767"/>
                      </a:lnTo>
                      <a:lnTo>
                        <a:pt x="1952317" y="228535"/>
                      </a:lnTo>
                      <a:lnTo>
                        <a:pt x="1954616" y="226122"/>
                      </a:lnTo>
                      <a:lnTo>
                        <a:pt x="1955822" y="223409"/>
                      </a:lnTo>
                      <a:lnTo>
                        <a:pt x="1958462" y="221282"/>
                      </a:lnTo>
                      <a:lnTo>
                        <a:pt x="1962513" y="219741"/>
                      </a:lnTo>
                      <a:lnTo>
                        <a:pt x="1978152" y="217989"/>
                      </a:lnTo>
                      <a:lnTo>
                        <a:pt x="1984598" y="218649"/>
                      </a:lnTo>
                      <a:lnTo>
                        <a:pt x="1994069" y="218185"/>
                      </a:lnTo>
                      <a:lnTo>
                        <a:pt x="2000287" y="215275"/>
                      </a:lnTo>
                      <a:lnTo>
                        <a:pt x="2004003" y="214240"/>
                      </a:lnTo>
                      <a:lnTo>
                        <a:pt x="2007336" y="213865"/>
                      </a:lnTo>
                      <a:lnTo>
                        <a:pt x="2008982" y="211812"/>
                      </a:lnTo>
                      <a:lnTo>
                        <a:pt x="2014516" y="211404"/>
                      </a:lnTo>
                      <a:lnTo>
                        <a:pt x="2027295" y="208633"/>
                      </a:lnTo>
                      <a:lnTo>
                        <a:pt x="2029170" y="207647"/>
                      </a:lnTo>
                      <a:lnTo>
                        <a:pt x="2033269" y="203556"/>
                      </a:lnTo>
                      <a:lnTo>
                        <a:pt x="2040864" y="205121"/>
                      </a:lnTo>
                      <a:lnTo>
                        <a:pt x="2046267" y="204257"/>
                      </a:lnTo>
                      <a:lnTo>
                        <a:pt x="2060489" y="196946"/>
                      </a:lnTo>
                      <a:lnTo>
                        <a:pt x="2069046" y="194143"/>
                      </a:lnTo>
                      <a:lnTo>
                        <a:pt x="2071393" y="192203"/>
                      </a:lnTo>
                      <a:lnTo>
                        <a:pt x="2069681" y="190834"/>
                      </a:lnTo>
                      <a:lnTo>
                        <a:pt x="2067775" y="189889"/>
                      </a:lnTo>
                      <a:lnTo>
                        <a:pt x="2059486" y="192415"/>
                      </a:lnTo>
                      <a:lnTo>
                        <a:pt x="2052127" y="193238"/>
                      </a:lnTo>
                      <a:lnTo>
                        <a:pt x="2043725" y="192578"/>
                      </a:lnTo>
                      <a:lnTo>
                        <a:pt x="2042592" y="191584"/>
                      </a:lnTo>
                      <a:lnTo>
                        <a:pt x="2041565" y="188943"/>
                      </a:lnTo>
                      <a:lnTo>
                        <a:pt x="2044263" y="185146"/>
                      </a:lnTo>
                      <a:lnTo>
                        <a:pt x="2046618" y="182831"/>
                      </a:lnTo>
                      <a:lnTo>
                        <a:pt x="2051939" y="179848"/>
                      </a:lnTo>
                      <a:lnTo>
                        <a:pt x="2056349" y="178756"/>
                      </a:lnTo>
                      <a:lnTo>
                        <a:pt x="2072681" y="182024"/>
                      </a:lnTo>
                      <a:lnTo>
                        <a:pt x="2076055" y="182424"/>
                      </a:lnTo>
                      <a:lnTo>
                        <a:pt x="2077913" y="177094"/>
                      </a:lnTo>
                      <a:lnTo>
                        <a:pt x="2083129" y="177354"/>
                      </a:lnTo>
                      <a:lnTo>
                        <a:pt x="2088320" y="178243"/>
                      </a:lnTo>
                      <a:lnTo>
                        <a:pt x="2086071" y="179351"/>
                      </a:lnTo>
                      <a:lnTo>
                        <a:pt x="2080325" y="181054"/>
                      </a:lnTo>
                      <a:lnTo>
                        <a:pt x="2082094" y="184974"/>
                      </a:lnTo>
                      <a:lnTo>
                        <a:pt x="2084596" y="187656"/>
                      </a:lnTo>
                      <a:lnTo>
                        <a:pt x="2094595" y="191511"/>
                      </a:lnTo>
                      <a:lnTo>
                        <a:pt x="2103120" y="193214"/>
                      </a:lnTo>
                      <a:lnTo>
                        <a:pt x="2109387" y="193116"/>
                      </a:lnTo>
                      <a:lnTo>
                        <a:pt x="2119191" y="191470"/>
                      </a:lnTo>
                      <a:lnTo>
                        <a:pt x="2120699" y="190304"/>
                      </a:lnTo>
                      <a:lnTo>
                        <a:pt x="2122777" y="187289"/>
                      </a:lnTo>
                      <a:lnTo>
                        <a:pt x="2120194" y="181356"/>
                      </a:lnTo>
                      <a:lnTo>
                        <a:pt x="2122655" y="182130"/>
                      </a:lnTo>
                      <a:lnTo>
                        <a:pt x="2125084" y="183613"/>
                      </a:lnTo>
                      <a:lnTo>
                        <a:pt x="2128776" y="187208"/>
                      </a:lnTo>
                      <a:lnTo>
                        <a:pt x="2132377" y="193287"/>
                      </a:lnTo>
                      <a:lnTo>
                        <a:pt x="2134586" y="196083"/>
                      </a:lnTo>
                      <a:lnTo>
                        <a:pt x="2133307" y="199106"/>
                      </a:lnTo>
                      <a:lnTo>
                        <a:pt x="2128164" y="204860"/>
                      </a:lnTo>
                      <a:lnTo>
                        <a:pt x="2131139" y="208022"/>
                      </a:lnTo>
                      <a:lnTo>
                        <a:pt x="2136444" y="210141"/>
                      </a:lnTo>
                      <a:lnTo>
                        <a:pt x="2136371" y="219480"/>
                      </a:lnTo>
                      <a:lnTo>
                        <a:pt x="2136045" y="223995"/>
                      </a:lnTo>
                      <a:lnTo>
                        <a:pt x="2133429" y="228902"/>
                      </a:lnTo>
                      <a:lnTo>
                        <a:pt x="2130406" y="230972"/>
                      </a:lnTo>
                      <a:lnTo>
                        <a:pt x="2127447" y="234052"/>
                      </a:lnTo>
                      <a:lnTo>
                        <a:pt x="2128189" y="236880"/>
                      </a:lnTo>
                      <a:lnTo>
                        <a:pt x="2128889" y="238689"/>
                      </a:lnTo>
                      <a:lnTo>
                        <a:pt x="2132003" y="242055"/>
                      </a:lnTo>
                      <a:lnTo>
                        <a:pt x="2140747" y="243107"/>
                      </a:lnTo>
                      <a:lnTo>
                        <a:pt x="2141929" y="242202"/>
                      </a:lnTo>
                      <a:lnTo>
                        <a:pt x="2139892" y="241142"/>
                      </a:lnTo>
                      <a:lnTo>
                        <a:pt x="2133975" y="239570"/>
                      </a:lnTo>
                      <a:lnTo>
                        <a:pt x="2131661" y="238290"/>
                      </a:lnTo>
                      <a:lnTo>
                        <a:pt x="2129615" y="235201"/>
                      </a:lnTo>
                      <a:lnTo>
                        <a:pt x="2131986" y="231844"/>
                      </a:lnTo>
                      <a:lnTo>
                        <a:pt x="2134619" y="229350"/>
                      </a:lnTo>
                      <a:lnTo>
                        <a:pt x="2137732" y="223694"/>
                      </a:lnTo>
                      <a:lnTo>
                        <a:pt x="2138694" y="219619"/>
                      </a:lnTo>
                      <a:lnTo>
                        <a:pt x="2138132" y="215422"/>
                      </a:lnTo>
                      <a:lnTo>
                        <a:pt x="2140120" y="213515"/>
                      </a:lnTo>
                      <a:lnTo>
                        <a:pt x="2143249" y="211453"/>
                      </a:lnTo>
                      <a:lnTo>
                        <a:pt x="2144839" y="211054"/>
                      </a:lnTo>
                      <a:lnTo>
                        <a:pt x="2146248" y="210157"/>
                      </a:lnTo>
                      <a:lnTo>
                        <a:pt x="2143991" y="209147"/>
                      </a:lnTo>
                      <a:lnTo>
                        <a:pt x="2141913" y="208625"/>
                      </a:lnTo>
                      <a:lnTo>
                        <a:pt x="2137651" y="206058"/>
                      </a:lnTo>
                      <a:lnTo>
                        <a:pt x="2136925" y="202741"/>
                      </a:lnTo>
                      <a:lnTo>
                        <a:pt x="2145523" y="201412"/>
                      </a:lnTo>
                      <a:lnTo>
                        <a:pt x="2150576" y="199025"/>
                      </a:lnTo>
                      <a:lnTo>
                        <a:pt x="2169320" y="197965"/>
                      </a:lnTo>
                      <a:lnTo>
                        <a:pt x="2182238" y="193515"/>
                      </a:lnTo>
                      <a:lnTo>
                        <a:pt x="2210965" y="194746"/>
                      </a:lnTo>
                      <a:lnTo>
                        <a:pt x="2231136" y="198348"/>
                      </a:lnTo>
                      <a:lnTo>
                        <a:pt x="2259448" y="198780"/>
                      </a:lnTo>
                      <a:lnTo>
                        <a:pt x="2269880" y="201201"/>
                      </a:lnTo>
                      <a:lnTo>
                        <a:pt x="2270874" y="202113"/>
                      </a:lnTo>
                      <a:lnTo>
                        <a:pt x="2271510" y="203849"/>
                      </a:lnTo>
                      <a:lnTo>
                        <a:pt x="2266995" y="204632"/>
                      </a:lnTo>
                      <a:lnTo>
                        <a:pt x="2259619" y="204632"/>
                      </a:lnTo>
                      <a:lnTo>
                        <a:pt x="2257623" y="209155"/>
                      </a:lnTo>
                      <a:lnTo>
                        <a:pt x="2258951" y="214770"/>
                      </a:lnTo>
                      <a:lnTo>
                        <a:pt x="2272097" y="220776"/>
                      </a:lnTo>
                      <a:lnTo>
                        <a:pt x="2283628" y="223237"/>
                      </a:lnTo>
                      <a:lnTo>
                        <a:pt x="2291689" y="227182"/>
                      </a:lnTo>
                      <a:lnTo>
                        <a:pt x="2295943" y="227541"/>
                      </a:lnTo>
                      <a:lnTo>
                        <a:pt x="2312707" y="227092"/>
                      </a:lnTo>
                      <a:lnTo>
                        <a:pt x="2322617" y="229146"/>
                      </a:lnTo>
                      <a:lnTo>
                        <a:pt x="2331476" y="227557"/>
                      </a:lnTo>
                      <a:lnTo>
                        <a:pt x="2341231" y="227614"/>
                      </a:lnTo>
                      <a:lnTo>
                        <a:pt x="2344662" y="228021"/>
                      </a:lnTo>
                      <a:lnTo>
                        <a:pt x="2348231" y="230972"/>
                      </a:lnTo>
                      <a:lnTo>
                        <a:pt x="2353944" y="231738"/>
                      </a:lnTo>
                      <a:lnTo>
                        <a:pt x="2360823" y="231868"/>
                      </a:lnTo>
                      <a:lnTo>
                        <a:pt x="2364645" y="231265"/>
                      </a:lnTo>
                      <a:lnTo>
                        <a:pt x="2366137" y="230540"/>
                      </a:lnTo>
                      <a:lnTo>
                        <a:pt x="2365615" y="229391"/>
                      </a:lnTo>
                      <a:lnTo>
                        <a:pt x="2359935" y="227573"/>
                      </a:lnTo>
                      <a:lnTo>
                        <a:pt x="2360546" y="225438"/>
                      </a:lnTo>
                      <a:lnTo>
                        <a:pt x="2362746" y="224916"/>
                      </a:lnTo>
                      <a:lnTo>
                        <a:pt x="2372273" y="227842"/>
                      </a:lnTo>
                      <a:lnTo>
                        <a:pt x="2376266" y="228298"/>
                      </a:lnTo>
                      <a:lnTo>
                        <a:pt x="2379763" y="226131"/>
                      </a:lnTo>
                      <a:lnTo>
                        <a:pt x="2382322" y="222243"/>
                      </a:lnTo>
                      <a:lnTo>
                        <a:pt x="2383740" y="219529"/>
                      </a:lnTo>
                      <a:lnTo>
                        <a:pt x="2385231" y="218201"/>
                      </a:lnTo>
                      <a:lnTo>
                        <a:pt x="2386494" y="217981"/>
                      </a:lnTo>
                      <a:lnTo>
                        <a:pt x="2387725" y="217247"/>
                      </a:lnTo>
                      <a:lnTo>
                        <a:pt x="2384718" y="214069"/>
                      </a:lnTo>
                      <a:lnTo>
                        <a:pt x="2381825" y="210092"/>
                      </a:lnTo>
                      <a:lnTo>
                        <a:pt x="2381107" y="207517"/>
                      </a:lnTo>
                      <a:lnTo>
                        <a:pt x="2380301" y="206196"/>
                      </a:lnTo>
                      <a:lnTo>
                        <a:pt x="2379860" y="201437"/>
                      </a:lnTo>
                      <a:lnTo>
                        <a:pt x="2382615" y="196580"/>
                      </a:lnTo>
                      <a:lnTo>
                        <a:pt x="2384473" y="195202"/>
                      </a:lnTo>
                      <a:lnTo>
                        <a:pt x="2392061" y="197061"/>
                      </a:lnTo>
                      <a:lnTo>
                        <a:pt x="2395451" y="194135"/>
                      </a:lnTo>
                      <a:lnTo>
                        <a:pt x="2397562" y="193059"/>
                      </a:lnTo>
                      <a:lnTo>
                        <a:pt x="2406714" y="191062"/>
                      </a:lnTo>
                      <a:lnTo>
                        <a:pt x="2410520" y="191233"/>
                      </a:lnTo>
                      <a:lnTo>
                        <a:pt x="2416852" y="193083"/>
                      </a:lnTo>
                      <a:lnTo>
                        <a:pt x="2437202" y="202007"/>
                      </a:lnTo>
                      <a:lnTo>
                        <a:pt x="2436729" y="205414"/>
                      </a:lnTo>
                      <a:lnTo>
                        <a:pt x="2441603" y="204444"/>
                      </a:lnTo>
                      <a:lnTo>
                        <a:pt x="2443918" y="203059"/>
                      </a:lnTo>
                      <a:lnTo>
                        <a:pt x="2449361" y="202154"/>
                      </a:lnTo>
                      <a:lnTo>
                        <a:pt x="2453012" y="200720"/>
                      </a:lnTo>
                      <a:lnTo>
                        <a:pt x="2454040" y="201258"/>
                      </a:lnTo>
                      <a:lnTo>
                        <a:pt x="2455254" y="202676"/>
                      </a:lnTo>
                      <a:lnTo>
                        <a:pt x="2454365" y="204664"/>
                      </a:lnTo>
                      <a:lnTo>
                        <a:pt x="2453086" y="206710"/>
                      </a:lnTo>
                      <a:lnTo>
                        <a:pt x="2453950" y="207900"/>
                      </a:lnTo>
                      <a:lnTo>
                        <a:pt x="2455018" y="208152"/>
                      </a:lnTo>
                      <a:lnTo>
                        <a:pt x="2460396" y="210654"/>
                      </a:lnTo>
                      <a:lnTo>
                        <a:pt x="2467495" y="206042"/>
                      </a:lnTo>
                      <a:lnTo>
                        <a:pt x="2470388" y="201657"/>
                      </a:lnTo>
                      <a:lnTo>
                        <a:pt x="2472279" y="200760"/>
                      </a:lnTo>
                      <a:lnTo>
                        <a:pt x="2489866" y="203833"/>
                      </a:lnTo>
                      <a:lnTo>
                        <a:pt x="2495187" y="205512"/>
                      </a:lnTo>
                      <a:lnTo>
                        <a:pt x="2496231" y="206441"/>
                      </a:lnTo>
                      <a:lnTo>
                        <a:pt x="2496940" y="208063"/>
                      </a:lnTo>
                      <a:lnTo>
                        <a:pt x="2499817" y="209847"/>
                      </a:lnTo>
                      <a:lnTo>
                        <a:pt x="2503280" y="210866"/>
                      </a:lnTo>
                      <a:lnTo>
                        <a:pt x="2502856" y="212252"/>
                      </a:lnTo>
                      <a:lnTo>
                        <a:pt x="2502701" y="213800"/>
                      </a:lnTo>
                      <a:lnTo>
                        <a:pt x="2510859" y="214036"/>
                      </a:lnTo>
                      <a:lnTo>
                        <a:pt x="2514412" y="215381"/>
                      </a:lnTo>
                      <a:lnTo>
                        <a:pt x="2518349" y="217386"/>
                      </a:lnTo>
                      <a:lnTo>
                        <a:pt x="2517925" y="219741"/>
                      </a:lnTo>
                      <a:lnTo>
                        <a:pt x="2518952" y="221086"/>
                      </a:lnTo>
                      <a:lnTo>
                        <a:pt x="2522571" y="221224"/>
                      </a:lnTo>
                      <a:lnTo>
                        <a:pt x="2523597" y="221004"/>
                      </a:lnTo>
                      <a:lnTo>
                        <a:pt x="2522440" y="224109"/>
                      </a:lnTo>
                      <a:lnTo>
                        <a:pt x="2517469" y="227483"/>
                      </a:lnTo>
                      <a:lnTo>
                        <a:pt x="2514543" y="228836"/>
                      </a:lnTo>
                      <a:lnTo>
                        <a:pt x="2511161" y="231069"/>
                      </a:lnTo>
                      <a:lnTo>
                        <a:pt x="2513011" y="231493"/>
                      </a:lnTo>
                      <a:lnTo>
                        <a:pt x="2521536" y="232113"/>
                      </a:lnTo>
                      <a:lnTo>
                        <a:pt x="2526784" y="236595"/>
                      </a:lnTo>
                      <a:lnTo>
                        <a:pt x="2527314" y="239847"/>
                      </a:lnTo>
                      <a:lnTo>
                        <a:pt x="2524021" y="241151"/>
                      </a:lnTo>
                      <a:lnTo>
                        <a:pt x="2516532" y="245348"/>
                      </a:lnTo>
                      <a:lnTo>
                        <a:pt x="2512008" y="246994"/>
                      </a:lnTo>
                      <a:lnTo>
                        <a:pt x="2508912" y="247124"/>
                      </a:lnTo>
                      <a:lnTo>
                        <a:pt x="2506679" y="247679"/>
                      </a:lnTo>
                      <a:lnTo>
                        <a:pt x="2509930" y="249496"/>
                      </a:lnTo>
                      <a:lnTo>
                        <a:pt x="2523997" y="249960"/>
                      </a:lnTo>
                      <a:lnTo>
                        <a:pt x="2528080" y="252177"/>
                      </a:lnTo>
                      <a:lnTo>
                        <a:pt x="2531323" y="257792"/>
                      </a:lnTo>
                      <a:lnTo>
                        <a:pt x="2531291" y="264638"/>
                      </a:lnTo>
                      <a:lnTo>
                        <a:pt x="2528137" y="268028"/>
                      </a:lnTo>
                      <a:lnTo>
                        <a:pt x="2519490" y="268607"/>
                      </a:lnTo>
                      <a:lnTo>
                        <a:pt x="2508088" y="261003"/>
                      </a:lnTo>
                      <a:lnTo>
                        <a:pt x="2501194" y="258053"/>
                      </a:lnTo>
                      <a:lnTo>
                        <a:pt x="2491430" y="252340"/>
                      </a:lnTo>
                      <a:lnTo>
                        <a:pt x="2489515" y="253302"/>
                      </a:lnTo>
                      <a:lnTo>
                        <a:pt x="2492368" y="258126"/>
                      </a:lnTo>
                      <a:lnTo>
                        <a:pt x="2496956" y="260800"/>
                      </a:lnTo>
                      <a:lnTo>
                        <a:pt x="2505203" y="268200"/>
                      </a:lnTo>
                      <a:lnTo>
                        <a:pt x="2518911" y="283423"/>
                      </a:lnTo>
                      <a:lnTo>
                        <a:pt x="2522098" y="282184"/>
                      </a:lnTo>
                      <a:lnTo>
                        <a:pt x="2523997" y="280261"/>
                      </a:lnTo>
                      <a:lnTo>
                        <a:pt x="2524926" y="277792"/>
                      </a:lnTo>
                      <a:lnTo>
                        <a:pt x="2524127" y="274393"/>
                      </a:lnTo>
                      <a:lnTo>
                        <a:pt x="2526311" y="276040"/>
                      </a:lnTo>
                      <a:lnTo>
                        <a:pt x="2528341" y="279096"/>
                      </a:lnTo>
                      <a:lnTo>
                        <a:pt x="2532530" y="284157"/>
                      </a:lnTo>
                      <a:lnTo>
                        <a:pt x="2526906" y="283904"/>
                      </a:lnTo>
                      <a:lnTo>
                        <a:pt x="2519840" y="285599"/>
                      </a:lnTo>
                      <a:lnTo>
                        <a:pt x="2517216" y="287604"/>
                      </a:lnTo>
                      <a:lnTo>
                        <a:pt x="2519188" y="290424"/>
                      </a:lnTo>
                      <a:lnTo>
                        <a:pt x="2524437" y="290823"/>
                      </a:lnTo>
                      <a:lnTo>
                        <a:pt x="2526678" y="294645"/>
                      </a:lnTo>
                      <a:lnTo>
                        <a:pt x="2530777" y="299372"/>
                      </a:lnTo>
                      <a:lnTo>
                        <a:pt x="2540003" y="312298"/>
                      </a:lnTo>
                      <a:lnTo>
                        <a:pt x="2546547" y="314743"/>
                      </a:lnTo>
                      <a:lnTo>
                        <a:pt x="2552887" y="320081"/>
                      </a:lnTo>
                      <a:lnTo>
                        <a:pt x="2559228" y="322550"/>
                      </a:lnTo>
                      <a:lnTo>
                        <a:pt x="2562496" y="322746"/>
                      </a:lnTo>
                      <a:lnTo>
                        <a:pt x="2564680" y="319404"/>
                      </a:lnTo>
                      <a:lnTo>
                        <a:pt x="2566547" y="320602"/>
                      </a:lnTo>
                      <a:lnTo>
                        <a:pt x="2568185" y="326568"/>
                      </a:lnTo>
                      <a:lnTo>
                        <a:pt x="2571241" y="329151"/>
                      </a:lnTo>
                      <a:lnTo>
                        <a:pt x="2574623" y="329331"/>
                      </a:lnTo>
                      <a:lnTo>
                        <a:pt x="2577361" y="328279"/>
                      </a:lnTo>
                      <a:lnTo>
                        <a:pt x="2581436" y="325451"/>
                      </a:lnTo>
                      <a:lnTo>
                        <a:pt x="2584639" y="322167"/>
                      </a:lnTo>
                      <a:lnTo>
                        <a:pt x="2589781" y="313121"/>
                      </a:lnTo>
                      <a:lnTo>
                        <a:pt x="2593180" y="308541"/>
                      </a:lnTo>
                      <a:lnTo>
                        <a:pt x="2596391" y="306666"/>
                      </a:lnTo>
                      <a:lnTo>
                        <a:pt x="2595283" y="304433"/>
                      </a:lnTo>
                      <a:lnTo>
                        <a:pt x="2595600" y="301850"/>
                      </a:lnTo>
                      <a:lnTo>
                        <a:pt x="2597964" y="295770"/>
                      </a:lnTo>
                      <a:lnTo>
                        <a:pt x="2601159" y="288558"/>
                      </a:lnTo>
                      <a:lnTo>
                        <a:pt x="2603595" y="284752"/>
                      </a:lnTo>
                      <a:lnTo>
                        <a:pt x="2609455" y="277026"/>
                      </a:lnTo>
                      <a:lnTo>
                        <a:pt x="2611729" y="275632"/>
                      </a:lnTo>
                      <a:lnTo>
                        <a:pt x="2613261" y="278118"/>
                      </a:lnTo>
                      <a:lnTo>
                        <a:pt x="2614573" y="281443"/>
                      </a:lnTo>
                      <a:lnTo>
                        <a:pt x="2615445" y="282869"/>
                      </a:lnTo>
                      <a:lnTo>
                        <a:pt x="2616325" y="283431"/>
                      </a:lnTo>
                      <a:lnTo>
                        <a:pt x="2623570" y="290196"/>
                      </a:lnTo>
                      <a:lnTo>
                        <a:pt x="2630880" y="295460"/>
                      </a:lnTo>
                      <a:lnTo>
                        <a:pt x="2637400" y="298036"/>
                      </a:lnTo>
                      <a:lnTo>
                        <a:pt x="2647669" y="300546"/>
                      </a:lnTo>
                      <a:lnTo>
                        <a:pt x="2662542" y="300187"/>
                      </a:lnTo>
                      <a:lnTo>
                        <a:pt x="2665297" y="296830"/>
                      </a:lnTo>
                      <a:lnTo>
                        <a:pt x="2670472" y="294360"/>
                      </a:lnTo>
                      <a:lnTo>
                        <a:pt x="2678833" y="293073"/>
                      </a:lnTo>
                      <a:lnTo>
                        <a:pt x="2683789" y="290025"/>
                      </a:lnTo>
                      <a:lnTo>
                        <a:pt x="2691873" y="289104"/>
                      </a:lnTo>
                      <a:lnTo>
                        <a:pt x="2696967" y="289609"/>
                      </a:lnTo>
                      <a:lnTo>
                        <a:pt x="2704799" y="291826"/>
                      </a:lnTo>
                      <a:lnTo>
                        <a:pt x="2722394" y="298875"/>
                      </a:lnTo>
                      <a:lnTo>
                        <a:pt x="2727341" y="301434"/>
                      </a:lnTo>
                      <a:lnTo>
                        <a:pt x="2729883" y="304172"/>
                      </a:lnTo>
                      <a:lnTo>
                        <a:pt x="2735662" y="308280"/>
                      </a:lnTo>
                      <a:lnTo>
                        <a:pt x="2739313" y="310293"/>
                      </a:lnTo>
                      <a:lnTo>
                        <a:pt x="2742833" y="311670"/>
                      </a:lnTo>
                      <a:lnTo>
                        <a:pt x="2744121" y="311246"/>
                      </a:lnTo>
                      <a:lnTo>
                        <a:pt x="2743673" y="310081"/>
                      </a:lnTo>
                      <a:lnTo>
                        <a:pt x="2741896" y="308932"/>
                      </a:lnTo>
                      <a:lnTo>
                        <a:pt x="2740462" y="307440"/>
                      </a:lnTo>
                      <a:lnTo>
                        <a:pt x="2744642" y="305900"/>
                      </a:lnTo>
                      <a:lnTo>
                        <a:pt x="2745131" y="304767"/>
                      </a:lnTo>
                      <a:lnTo>
                        <a:pt x="2746582" y="303789"/>
                      </a:lnTo>
                      <a:lnTo>
                        <a:pt x="2752116" y="302966"/>
                      </a:lnTo>
                      <a:lnTo>
                        <a:pt x="2746737" y="301475"/>
                      </a:lnTo>
                      <a:lnTo>
                        <a:pt x="2744879" y="301247"/>
                      </a:lnTo>
                      <a:lnTo>
                        <a:pt x="2742304" y="300309"/>
                      </a:lnTo>
                      <a:lnTo>
                        <a:pt x="2742523" y="298239"/>
                      </a:lnTo>
                      <a:lnTo>
                        <a:pt x="2744227" y="296707"/>
                      </a:lnTo>
                      <a:lnTo>
                        <a:pt x="2745523" y="293863"/>
                      </a:lnTo>
                      <a:lnTo>
                        <a:pt x="2747267" y="292038"/>
                      </a:lnTo>
                      <a:lnTo>
                        <a:pt x="2750127" y="290660"/>
                      </a:lnTo>
                      <a:lnTo>
                        <a:pt x="2752214" y="290367"/>
                      </a:lnTo>
                      <a:lnTo>
                        <a:pt x="2757356" y="292192"/>
                      </a:lnTo>
                      <a:lnTo>
                        <a:pt x="2760942" y="288916"/>
                      </a:lnTo>
                      <a:lnTo>
                        <a:pt x="2763672" y="289177"/>
                      </a:lnTo>
                      <a:lnTo>
                        <a:pt x="2769255" y="292502"/>
                      </a:lnTo>
                      <a:lnTo>
                        <a:pt x="2774316" y="297563"/>
                      </a:lnTo>
                      <a:lnTo>
                        <a:pt x="2777070" y="297563"/>
                      </a:lnTo>
                      <a:lnTo>
                        <a:pt x="2784805" y="295542"/>
                      </a:lnTo>
                      <a:lnTo>
                        <a:pt x="2793533" y="295428"/>
                      </a:lnTo>
                      <a:lnTo>
                        <a:pt x="2792416" y="292429"/>
                      </a:lnTo>
                      <a:lnTo>
                        <a:pt x="2786361" y="285925"/>
                      </a:lnTo>
                      <a:lnTo>
                        <a:pt x="2787054" y="277507"/>
                      </a:lnTo>
                      <a:lnTo>
                        <a:pt x="2782824" y="275600"/>
                      </a:lnTo>
                      <a:lnTo>
                        <a:pt x="2778048" y="274475"/>
                      </a:lnTo>
                      <a:lnTo>
                        <a:pt x="2785008" y="272315"/>
                      </a:lnTo>
                      <a:lnTo>
                        <a:pt x="2790142" y="265453"/>
                      </a:lnTo>
                      <a:lnTo>
                        <a:pt x="2794275" y="264817"/>
                      </a:lnTo>
                      <a:lnTo>
                        <a:pt x="2798578" y="263489"/>
                      </a:lnTo>
                      <a:lnTo>
                        <a:pt x="2797257" y="262641"/>
                      </a:lnTo>
                      <a:lnTo>
                        <a:pt x="2784430" y="261908"/>
                      </a:lnTo>
                      <a:lnTo>
                        <a:pt x="2781658" y="262739"/>
                      </a:lnTo>
                      <a:lnTo>
                        <a:pt x="2779801" y="264760"/>
                      </a:lnTo>
                      <a:lnTo>
                        <a:pt x="2773501" y="264760"/>
                      </a:lnTo>
                      <a:lnTo>
                        <a:pt x="2772735" y="260131"/>
                      </a:lnTo>
                      <a:lnTo>
                        <a:pt x="2772621" y="257132"/>
                      </a:lnTo>
                      <a:lnTo>
                        <a:pt x="2780877" y="250849"/>
                      </a:lnTo>
                      <a:lnTo>
                        <a:pt x="2784039" y="249488"/>
                      </a:lnTo>
                      <a:lnTo>
                        <a:pt x="2805105" y="249618"/>
                      </a:lnTo>
                      <a:lnTo>
                        <a:pt x="2811422" y="248428"/>
                      </a:lnTo>
                      <a:lnTo>
                        <a:pt x="2820696" y="245299"/>
                      </a:lnTo>
                      <a:lnTo>
                        <a:pt x="2818308" y="243310"/>
                      </a:lnTo>
                      <a:lnTo>
                        <a:pt x="2818064" y="239301"/>
                      </a:lnTo>
                      <a:lnTo>
                        <a:pt x="2810109" y="233490"/>
                      </a:lnTo>
                      <a:lnTo>
                        <a:pt x="2810696" y="232161"/>
                      </a:lnTo>
                      <a:lnTo>
                        <a:pt x="2811487" y="231298"/>
                      </a:lnTo>
                      <a:lnTo>
                        <a:pt x="2813972" y="231257"/>
                      </a:lnTo>
                      <a:lnTo>
                        <a:pt x="2826409" y="232797"/>
                      </a:lnTo>
                      <a:lnTo>
                        <a:pt x="2831584" y="235992"/>
                      </a:lnTo>
                      <a:lnTo>
                        <a:pt x="2845064" y="239121"/>
                      </a:lnTo>
                      <a:lnTo>
                        <a:pt x="2881118" y="240164"/>
                      </a:lnTo>
                      <a:lnTo>
                        <a:pt x="2885225" y="241322"/>
                      </a:lnTo>
                      <a:lnTo>
                        <a:pt x="2900669" y="242715"/>
                      </a:lnTo>
                      <a:lnTo>
                        <a:pt x="2907230" y="244239"/>
                      </a:lnTo>
                      <a:lnTo>
                        <a:pt x="2922886" y="246065"/>
                      </a:lnTo>
                      <a:lnTo>
                        <a:pt x="2929984" y="247361"/>
                      </a:lnTo>
                      <a:lnTo>
                        <a:pt x="2935656" y="249423"/>
                      </a:lnTo>
                      <a:lnTo>
                        <a:pt x="2944808" y="250621"/>
                      </a:lnTo>
                      <a:lnTo>
                        <a:pt x="2949014" y="251965"/>
                      </a:lnTo>
                      <a:lnTo>
                        <a:pt x="2948565" y="256211"/>
                      </a:lnTo>
                      <a:lnTo>
                        <a:pt x="2929528" y="255641"/>
                      </a:lnTo>
                      <a:lnTo>
                        <a:pt x="2923219" y="254239"/>
                      </a:lnTo>
                      <a:lnTo>
                        <a:pt x="2915387" y="254076"/>
                      </a:lnTo>
                      <a:lnTo>
                        <a:pt x="2912388" y="254720"/>
                      </a:lnTo>
                      <a:lnTo>
                        <a:pt x="2907711" y="258241"/>
                      </a:lnTo>
                      <a:lnTo>
                        <a:pt x="2902104" y="260091"/>
                      </a:lnTo>
                      <a:lnTo>
                        <a:pt x="2897336" y="260392"/>
                      </a:lnTo>
                      <a:lnTo>
                        <a:pt x="2900449" y="263432"/>
                      </a:lnTo>
                      <a:lnTo>
                        <a:pt x="2904817" y="264247"/>
                      </a:lnTo>
                      <a:lnTo>
                        <a:pt x="2918917" y="260343"/>
                      </a:lnTo>
                      <a:lnTo>
                        <a:pt x="2957481" y="258387"/>
                      </a:lnTo>
                      <a:lnTo>
                        <a:pt x="2963373" y="258705"/>
                      </a:lnTo>
                      <a:lnTo>
                        <a:pt x="2962762" y="261411"/>
                      </a:lnTo>
                      <a:lnTo>
                        <a:pt x="2957603" y="266594"/>
                      </a:lnTo>
                      <a:lnTo>
                        <a:pt x="2952713" y="270620"/>
                      </a:lnTo>
                      <a:lnTo>
                        <a:pt x="2945558" y="274760"/>
                      </a:lnTo>
                      <a:lnTo>
                        <a:pt x="2942885" y="274744"/>
                      </a:lnTo>
                      <a:lnTo>
                        <a:pt x="2948451" y="265958"/>
                      </a:lnTo>
                      <a:lnTo>
                        <a:pt x="2946153" y="265543"/>
                      </a:lnTo>
                      <a:lnTo>
                        <a:pt x="2944017" y="265730"/>
                      </a:lnTo>
                      <a:lnTo>
                        <a:pt x="2937775" y="262087"/>
                      </a:lnTo>
                      <a:lnTo>
                        <a:pt x="2936765" y="261900"/>
                      </a:lnTo>
                      <a:lnTo>
                        <a:pt x="2935542" y="262796"/>
                      </a:lnTo>
                      <a:lnTo>
                        <a:pt x="2935558" y="264117"/>
                      </a:lnTo>
                      <a:lnTo>
                        <a:pt x="2934409" y="269186"/>
                      </a:lnTo>
                      <a:lnTo>
                        <a:pt x="2936707" y="271296"/>
                      </a:lnTo>
                      <a:lnTo>
                        <a:pt x="2936707" y="274931"/>
                      </a:lnTo>
                      <a:lnTo>
                        <a:pt x="2928044" y="277270"/>
                      </a:lnTo>
                      <a:lnTo>
                        <a:pt x="2924670" y="277066"/>
                      </a:lnTo>
                      <a:lnTo>
                        <a:pt x="2921068" y="275575"/>
                      </a:lnTo>
                      <a:lnTo>
                        <a:pt x="2919528" y="275632"/>
                      </a:lnTo>
                      <a:lnTo>
                        <a:pt x="2919112" y="276773"/>
                      </a:lnTo>
                      <a:lnTo>
                        <a:pt x="2919862" y="278892"/>
                      </a:lnTo>
                      <a:lnTo>
                        <a:pt x="2919780" y="279976"/>
                      </a:lnTo>
                      <a:lnTo>
                        <a:pt x="2918387" y="281671"/>
                      </a:lnTo>
                      <a:lnTo>
                        <a:pt x="2917686" y="283513"/>
                      </a:lnTo>
                      <a:lnTo>
                        <a:pt x="2919805" y="285607"/>
                      </a:lnTo>
                      <a:lnTo>
                        <a:pt x="2922608" y="286137"/>
                      </a:lnTo>
                      <a:lnTo>
                        <a:pt x="2937897" y="283823"/>
                      </a:lnTo>
                      <a:lnTo>
                        <a:pt x="2944564" y="281003"/>
                      </a:lnTo>
                      <a:lnTo>
                        <a:pt x="2951874" y="275811"/>
                      </a:lnTo>
                      <a:lnTo>
                        <a:pt x="2964938" y="263204"/>
                      </a:lnTo>
                      <a:lnTo>
                        <a:pt x="2970700" y="258860"/>
                      </a:lnTo>
                      <a:lnTo>
                        <a:pt x="2974049" y="257222"/>
                      </a:lnTo>
                      <a:lnTo>
                        <a:pt x="2978312" y="256619"/>
                      </a:lnTo>
                      <a:lnTo>
                        <a:pt x="3002321" y="257947"/>
                      </a:lnTo>
                      <a:lnTo>
                        <a:pt x="3016273" y="260685"/>
                      </a:lnTo>
                      <a:lnTo>
                        <a:pt x="3029598" y="264720"/>
                      </a:lnTo>
                      <a:lnTo>
                        <a:pt x="3036159" y="268077"/>
                      </a:lnTo>
                      <a:lnTo>
                        <a:pt x="3041032" y="272609"/>
                      </a:lnTo>
                      <a:lnTo>
                        <a:pt x="3041912" y="274507"/>
                      </a:lnTo>
                      <a:lnTo>
                        <a:pt x="3042377" y="277018"/>
                      </a:lnTo>
                      <a:lnTo>
                        <a:pt x="3038995" y="279422"/>
                      </a:lnTo>
                      <a:lnTo>
                        <a:pt x="3024081" y="280220"/>
                      </a:lnTo>
                      <a:lnTo>
                        <a:pt x="3018359" y="281581"/>
                      </a:lnTo>
                      <a:lnTo>
                        <a:pt x="3016290" y="283081"/>
                      </a:lnTo>
                      <a:lnTo>
                        <a:pt x="3016028" y="283929"/>
                      </a:lnTo>
                      <a:lnTo>
                        <a:pt x="3015246" y="285281"/>
                      </a:lnTo>
                      <a:lnTo>
                        <a:pt x="3016363" y="286373"/>
                      </a:lnTo>
                      <a:lnTo>
                        <a:pt x="3023046" y="286496"/>
                      </a:lnTo>
                      <a:lnTo>
                        <a:pt x="3029500" y="287580"/>
                      </a:lnTo>
                      <a:lnTo>
                        <a:pt x="3038400" y="290432"/>
                      </a:lnTo>
                      <a:lnTo>
                        <a:pt x="3039785" y="291377"/>
                      </a:lnTo>
                      <a:lnTo>
                        <a:pt x="3042605" y="294083"/>
                      </a:lnTo>
                      <a:lnTo>
                        <a:pt x="3043461" y="294556"/>
                      </a:lnTo>
                      <a:lnTo>
                        <a:pt x="3056834" y="294132"/>
                      </a:lnTo>
                      <a:lnTo>
                        <a:pt x="3057690" y="295102"/>
                      </a:lnTo>
                      <a:lnTo>
                        <a:pt x="3058522" y="297082"/>
                      </a:lnTo>
                      <a:lnTo>
                        <a:pt x="3054968" y="300228"/>
                      </a:lnTo>
                      <a:lnTo>
                        <a:pt x="3051496" y="302363"/>
                      </a:lnTo>
                      <a:lnTo>
                        <a:pt x="3044373" y="307457"/>
                      </a:lnTo>
                      <a:lnTo>
                        <a:pt x="3047976" y="305615"/>
                      </a:lnTo>
                      <a:lnTo>
                        <a:pt x="3062335" y="301279"/>
                      </a:lnTo>
                      <a:lnTo>
                        <a:pt x="3065962" y="300481"/>
                      </a:lnTo>
                      <a:lnTo>
                        <a:pt x="3070355" y="300782"/>
                      </a:lnTo>
                      <a:lnTo>
                        <a:pt x="3081202" y="304710"/>
                      </a:lnTo>
                      <a:lnTo>
                        <a:pt x="3085595" y="307848"/>
                      </a:lnTo>
                      <a:lnTo>
                        <a:pt x="3093859" y="316650"/>
                      </a:lnTo>
                      <a:lnTo>
                        <a:pt x="3091552" y="317595"/>
                      </a:lnTo>
                      <a:lnTo>
                        <a:pt x="3085652" y="318492"/>
                      </a:lnTo>
                      <a:lnTo>
                        <a:pt x="3104184" y="325174"/>
                      </a:lnTo>
                      <a:lnTo>
                        <a:pt x="3111348" y="325117"/>
                      </a:lnTo>
                      <a:lnTo>
                        <a:pt x="3127786" y="323186"/>
                      </a:lnTo>
                      <a:lnTo>
                        <a:pt x="3136058" y="323121"/>
                      </a:lnTo>
                      <a:lnTo>
                        <a:pt x="3151428" y="318858"/>
                      </a:lnTo>
                      <a:lnTo>
                        <a:pt x="3166693" y="316153"/>
                      </a:lnTo>
                      <a:lnTo>
                        <a:pt x="3180743" y="315957"/>
                      </a:lnTo>
                      <a:lnTo>
                        <a:pt x="3188159" y="313390"/>
                      </a:lnTo>
                      <a:lnTo>
                        <a:pt x="3207743" y="313463"/>
                      </a:lnTo>
                      <a:lnTo>
                        <a:pt x="3226659" y="314343"/>
                      </a:lnTo>
                      <a:lnTo>
                        <a:pt x="3241296" y="315924"/>
                      </a:lnTo>
                      <a:lnTo>
                        <a:pt x="3257783" y="320635"/>
                      </a:lnTo>
                      <a:lnTo>
                        <a:pt x="3273878" y="327147"/>
                      </a:lnTo>
                      <a:lnTo>
                        <a:pt x="3283226" y="333495"/>
                      </a:lnTo>
                      <a:lnTo>
                        <a:pt x="3285133" y="335508"/>
                      </a:lnTo>
                      <a:lnTo>
                        <a:pt x="3287790" y="339942"/>
                      </a:lnTo>
                      <a:lnTo>
                        <a:pt x="3288947" y="343642"/>
                      </a:lnTo>
                      <a:lnTo>
                        <a:pt x="3290129" y="348751"/>
                      </a:lnTo>
                      <a:lnTo>
                        <a:pt x="3289567" y="352704"/>
                      </a:lnTo>
                      <a:lnTo>
                        <a:pt x="3287236" y="355499"/>
                      </a:lnTo>
                      <a:lnTo>
                        <a:pt x="3285801" y="358963"/>
                      </a:lnTo>
                      <a:lnTo>
                        <a:pt x="3285980" y="363038"/>
                      </a:lnTo>
                      <a:lnTo>
                        <a:pt x="3283258" y="368384"/>
                      </a:lnTo>
                      <a:lnTo>
                        <a:pt x="3285825" y="372182"/>
                      </a:lnTo>
                      <a:lnTo>
                        <a:pt x="3292932" y="374635"/>
                      </a:lnTo>
                      <a:lnTo>
                        <a:pt x="3308311" y="377952"/>
                      </a:lnTo>
                      <a:lnTo>
                        <a:pt x="3312573" y="380120"/>
                      </a:lnTo>
                      <a:lnTo>
                        <a:pt x="3313013" y="386672"/>
                      </a:lnTo>
                      <a:lnTo>
                        <a:pt x="3314333" y="392165"/>
                      </a:lnTo>
                      <a:lnTo>
                        <a:pt x="3315661" y="402613"/>
                      </a:lnTo>
                      <a:lnTo>
                        <a:pt x="3318270" y="405229"/>
                      </a:lnTo>
                      <a:lnTo>
                        <a:pt x="3322467" y="407723"/>
                      </a:lnTo>
                      <a:lnTo>
                        <a:pt x="3323224" y="411121"/>
                      </a:lnTo>
                      <a:lnTo>
                        <a:pt x="3317976" y="422172"/>
                      </a:lnTo>
                      <a:lnTo>
                        <a:pt x="3314700" y="424210"/>
                      </a:lnTo>
                      <a:lnTo>
                        <a:pt x="3311204" y="427242"/>
                      </a:lnTo>
                      <a:lnTo>
                        <a:pt x="3317374" y="426174"/>
                      </a:lnTo>
                      <a:lnTo>
                        <a:pt x="3320486" y="422172"/>
                      </a:lnTo>
                      <a:lnTo>
                        <a:pt x="3323844" y="414740"/>
                      </a:lnTo>
                      <a:lnTo>
                        <a:pt x="3327063" y="413550"/>
                      </a:lnTo>
                      <a:lnTo>
                        <a:pt x="3328807" y="411121"/>
                      </a:lnTo>
                      <a:lnTo>
                        <a:pt x="3328807" y="404129"/>
                      </a:lnTo>
                      <a:lnTo>
                        <a:pt x="3326688" y="398041"/>
                      </a:lnTo>
                      <a:lnTo>
                        <a:pt x="3326688" y="393689"/>
                      </a:lnTo>
                      <a:lnTo>
                        <a:pt x="3328098" y="390177"/>
                      </a:lnTo>
                      <a:lnTo>
                        <a:pt x="3338212" y="382834"/>
                      </a:lnTo>
                      <a:lnTo>
                        <a:pt x="3343697" y="379892"/>
                      </a:lnTo>
                      <a:lnTo>
                        <a:pt x="3348896" y="378221"/>
                      </a:lnTo>
                      <a:lnTo>
                        <a:pt x="3363012" y="376721"/>
                      </a:lnTo>
                      <a:lnTo>
                        <a:pt x="3369377" y="375303"/>
                      </a:lnTo>
                      <a:lnTo>
                        <a:pt x="3376736" y="376257"/>
                      </a:lnTo>
                      <a:lnTo>
                        <a:pt x="3381878" y="375874"/>
                      </a:lnTo>
                      <a:lnTo>
                        <a:pt x="3387844" y="374391"/>
                      </a:lnTo>
                      <a:lnTo>
                        <a:pt x="3393150" y="375100"/>
                      </a:lnTo>
                      <a:lnTo>
                        <a:pt x="3401910" y="379998"/>
                      </a:lnTo>
                      <a:lnTo>
                        <a:pt x="3432855" y="381090"/>
                      </a:lnTo>
                      <a:lnTo>
                        <a:pt x="3438307" y="382793"/>
                      </a:lnTo>
                      <a:lnTo>
                        <a:pt x="3459129" y="384855"/>
                      </a:lnTo>
                      <a:lnTo>
                        <a:pt x="3460735" y="384847"/>
                      </a:lnTo>
                      <a:lnTo>
                        <a:pt x="3465413" y="382426"/>
                      </a:lnTo>
                      <a:lnTo>
                        <a:pt x="3479169" y="374154"/>
                      </a:lnTo>
                      <a:lnTo>
                        <a:pt x="3484842" y="374700"/>
                      </a:lnTo>
                      <a:lnTo>
                        <a:pt x="3487157" y="375996"/>
                      </a:lnTo>
                      <a:lnTo>
                        <a:pt x="3489577" y="379256"/>
                      </a:lnTo>
                      <a:lnTo>
                        <a:pt x="3492111" y="381407"/>
                      </a:lnTo>
                      <a:lnTo>
                        <a:pt x="3494100" y="387194"/>
                      </a:lnTo>
                      <a:lnTo>
                        <a:pt x="3495910" y="394960"/>
                      </a:lnTo>
                      <a:lnTo>
                        <a:pt x="3498884" y="396370"/>
                      </a:lnTo>
                      <a:lnTo>
                        <a:pt x="3502959" y="396868"/>
                      </a:lnTo>
                      <a:lnTo>
                        <a:pt x="3511859" y="399736"/>
                      </a:lnTo>
                      <a:lnTo>
                        <a:pt x="3520896" y="403436"/>
                      </a:lnTo>
                      <a:lnTo>
                        <a:pt x="3523480" y="410486"/>
                      </a:lnTo>
                      <a:lnTo>
                        <a:pt x="3528321" y="416362"/>
                      </a:lnTo>
                      <a:lnTo>
                        <a:pt x="3539625" y="415808"/>
                      </a:lnTo>
                      <a:lnTo>
                        <a:pt x="3551336" y="414634"/>
                      </a:lnTo>
                      <a:lnTo>
                        <a:pt x="3562688" y="404952"/>
                      </a:lnTo>
                      <a:lnTo>
                        <a:pt x="3562713" y="400999"/>
                      </a:lnTo>
                      <a:lnTo>
                        <a:pt x="3559910" y="395303"/>
                      </a:lnTo>
                      <a:lnTo>
                        <a:pt x="3555712" y="389785"/>
                      </a:lnTo>
                      <a:lnTo>
                        <a:pt x="3552435" y="381139"/>
                      </a:lnTo>
                      <a:lnTo>
                        <a:pt x="3541988" y="379223"/>
                      </a:lnTo>
                      <a:lnTo>
                        <a:pt x="3542982" y="376705"/>
                      </a:lnTo>
                      <a:lnTo>
                        <a:pt x="3546927" y="373690"/>
                      </a:lnTo>
                      <a:lnTo>
                        <a:pt x="3550472" y="368987"/>
                      </a:lnTo>
                      <a:lnTo>
                        <a:pt x="3551034" y="365369"/>
                      </a:lnTo>
                      <a:lnTo>
                        <a:pt x="3550073" y="357798"/>
                      </a:lnTo>
                      <a:lnTo>
                        <a:pt x="3559527" y="358311"/>
                      </a:lnTo>
                      <a:lnTo>
                        <a:pt x="3568923" y="359208"/>
                      </a:lnTo>
                      <a:lnTo>
                        <a:pt x="3586869" y="362582"/>
                      </a:lnTo>
                      <a:lnTo>
                        <a:pt x="3601481" y="364008"/>
                      </a:lnTo>
                      <a:lnTo>
                        <a:pt x="3609158" y="366167"/>
                      </a:lnTo>
                      <a:lnTo>
                        <a:pt x="3613803" y="368612"/>
                      </a:lnTo>
                      <a:lnTo>
                        <a:pt x="3619288" y="370446"/>
                      </a:lnTo>
                      <a:lnTo>
                        <a:pt x="3621171" y="365988"/>
                      </a:lnTo>
                      <a:lnTo>
                        <a:pt x="3623290" y="364969"/>
                      </a:lnTo>
                      <a:lnTo>
                        <a:pt x="3630592" y="367447"/>
                      </a:lnTo>
                      <a:lnTo>
                        <a:pt x="3635921" y="368205"/>
                      </a:lnTo>
                      <a:lnTo>
                        <a:pt x="3645123" y="367871"/>
                      </a:lnTo>
                      <a:lnTo>
                        <a:pt x="3656688" y="369028"/>
                      </a:lnTo>
                      <a:lnTo>
                        <a:pt x="3669336" y="368832"/>
                      </a:lnTo>
                      <a:lnTo>
                        <a:pt x="3680640" y="366868"/>
                      </a:lnTo>
                      <a:lnTo>
                        <a:pt x="3684861" y="367268"/>
                      </a:lnTo>
                      <a:lnTo>
                        <a:pt x="3689482" y="368824"/>
                      </a:lnTo>
                      <a:lnTo>
                        <a:pt x="3696988" y="372915"/>
                      </a:lnTo>
                      <a:lnTo>
                        <a:pt x="3709742" y="378359"/>
                      </a:lnTo>
                      <a:lnTo>
                        <a:pt x="3721404" y="379883"/>
                      </a:lnTo>
                      <a:lnTo>
                        <a:pt x="3734770" y="385034"/>
                      </a:lnTo>
                      <a:lnTo>
                        <a:pt x="3747385" y="386925"/>
                      </a:lnTo>
                      <a:lnTo>
                        <a:pt x="3757459" y="389834"/>
                      </a:lnTo>
                      <a:lnTo>
                        <a:pt x="3758902" y="390951"/>
                      </a:lnTo>
                      <a:lnTo>
                        <a:pt x="3759357" y="392548"/>
                      </a:lnTo>
                      <a:lnTo>
                        <a:pt x="3759985" y="393877"/>
                      </a:lnTo>
                      <a:lnTo>
                        <a:pt x="3767989" y="395482"/>
                      </a:lnTo>
                      <a:lnTo>
                        <a:pt x="3782747" y="406386"/>
                      </a:lnTo>
                      <a:lnTo>
                        <a:pt x="3786024" y="407674"/>
                      </a:lnTo>
                      <a:lnTo>
                        <a:pt x="3786024" y="407674"/>
                      </a:lnTo>
                      <a:lnTo>
                        <a:pt x="3791019" y="409565"/>
                      </a:lnTo>
                      <a:lnTo>
                        <a:pt x="3796064" y="411064"/>
                      </a:lnTo>
                      <a:lnTo>
                        <a:pt x="3798069" y="410600"/>
                      </a:lnTo>
                      <a:lnTo>
                        <a:pt x="3799153" y="410804"/>
                      </a:lnTo>
                      <a:lnTo>
                        <a:pt x="3801997" y="413420"/>
                      </a:lnTo>
                      <a:lnTo>
                        <a:pt x="3803896" y="414642"/>
                      </a:lnTo>
                      <a:lnTo>
                        <a:pt x="3813953" y="417772"/>
                      </a:lnTo>
                      <a:lnTo>
                        <a:pt x="3818532" y="421235"/>
                      </a:lnTo>
                      <a:lnTo>
                        <a:pt x="3822274" y="425163"/>
                      </a:lnTo>
                      <a:lnTo>
                        <a:pt x="3820408" y="424405"/>
                      </a:lnTo>
                      <a:lnTo>
                        <a:pt x="3816984" y="421879"/>
                      </a:lnTo>
                      <a:lnTo>
                        <a:pt x="3817359" y="424837"/>
                      </a:lnTo>
                      <a:lnTo>
                        <a:pt x="3818443" y="426899"/>
                      </a:lnTo>
                      <a:lnTo>
                        <a:pt x="3823871" y="428839"/>
                      </a:lnTo>
                      <a:lnTo>
                        <a:pt x="3829559" y="430379"/>
                      </a:lnTo>
                      <a:lnTo>
                        <a:pt x="3833210" y="432213"/>
                      </a:lnTo>
                      <a:lnTo>
                        <a:pt x="3834425" y="433802"/>
                      </a:lnTo>
                      <a:lnTo>
                        <a:pt x="3835166" y="436671"/>
                      </a:lnTo>
                      <a:lnTo>
                        <a:pt x="3834254" y="439205"/>
                      </a:lnTo>
                      <a:lnTo>
                        <a:pt x="3837555" y="438268"/>
                      </a:lnTo>
                      <a:lnTo>
                        <a:pt x="3840668" y="436011"/>
                      </a:lnTo>
                      <a:lnTo>
                        <a:pt x="3839054" y="434250"/>
                      </a:lnTo>
                      <a:lnTo>
                        <a:pt x="3828565" y="428105"/>
                      </a:lnTo>
                      <a:lnTo>
                        <a:pt x="3826381" y="426044"/>
                      </a:lnTo>
                      <a:lnTo>
                        <a:pt x="3829429" y="427103"/>
                      </a:lnTo>
                      <a:lnTo>
                        <a:pt x="3843479" y="434935"/>
                      </a:lnTo>
                      <a:lnTo>
                        <a:pt x="3847350" y="437918"/>
                      </a:lnTo>
                      <a:lnTo>
                        <a:pt x="3845720" y="438496"/>
                      </a:lnTo>
                      <a:lnTo>
                        <a:pt x="3844579" y="440240"/>
                      </a:lnTo>
                      <a:lnTo>
                        <a:pt x="3845818" y="440982"/>
                      </a:lnTo>
                      <a:lnTo>
                        <a:pt x="3847505" y="440436"/>
                      </a:lnTo>
                      <a:lnTo>
                        <a:pt x="3850324" y="440061"/>
                      </a:lnTo>
                      <a:lnTo>
                        <a:pt x="3853047" y="441064"/>
                      </a:lnTo>
                      <a:lnTo>
                        <a:pt x="3856168" y="443150"/>
                      </a:lnTo>
                      <a:lnTo>
                        <a:pt x="3862729" y="445570"/>
                      </a:lnTo>
                      <a:lnTo>
                        <a:pt x="3901472" y="464763"/>
                      </a:lnTo>
                      <a:lnTo>
                        <a:pt x="3902345" y="468047"/>
                      </a:lnTo>
                      <a:lnTo>
                        <a:pt x="3903445" y="469596"/>
                      </a:lnTo>
                      <a:lnTo>
                        <a:pt x="3904097" y="471568"/>
                      </a:lnTo>
                      <a:lnTo>
                        <a:pt x="3904268" y="474787"/>
                      </a:lnTo>
                      <a:lnTo>
                        <a:pt x="3900747" y="478650"/>
                      </a:lnTo>
                      <a:lnTo>
                        <a:pt x="3906200" y="478308"/>
                      </a:lnTo>
                      <a:lnTo>
                        <a:pt x="3906990" y="477802"/>
                      </a:lnTo>
                      <a:lnTo>
                        <a:pt x="3908408" y="476230"/>
                      </a:lnTo>
                      <a:lnTo>
                        <a:pt x="3909973" y="475186"/>
                      </a:lnTo>
                      <a:lnTo>
                        <a:pt x="3912067" y="476474"/>
                      </a:lnTo>
                      <a:lnTo>
                        <a:pt x="3913755" y="479017"/>
                      </a:lnTo>
                      <a:lnTo>
                        <a:pt x="3913265" y="482489"/>
                      </a:lnTo>
                      <a:lnTo>
                        <a:pt x="3911758" y="485292"/>
                      </a:lnTo>
                      <a:lnTo>
                        <a:pt x="3911570" y="490060"/>
                      </a:lnTo>
                      <a:lnTo>
                        <a:pt x="3912882" y="494053"/>
                      </a:lnTo>
                      <a:lnTo>
                        <a:pt x="3914284" y="495732"/>
                      </a:lnTo>
                      <a:lnTo>
                        <a:pt x="3915401" y="497655"/>
                      </a:lnTo>
                      <a:lnTo>
                        <a:pt x="3915718" y="503344"/>
                      </a:lnTo>
                      <a:lnTo>
                        <a:pt x="3913257" y="505903"/>
                      </a:lnTo>
                      <a:lnTo>
                        <a:pt x="3911896" y="510263"/>
                      </a:lnTo>
                      <a:lnTo>
                        <a:pt x="3913395" y="510687"/>
                      </a:lnTo>
                      <a:lnTo>
                        <a:pt x="3918106" y="511110"/>
                      </a:lnTo>
                      <a:lnTo>
                        <a:pt x="3919647" y="511877"/>
                      </a:lnTo>
                      <a:lnTo>
                        <a:pt x="3922336" y="513914"/>
                      </a:lnTo>
                      <a:lnTo>
                        <a:pt x="3922988" y="515870"/>
                      </a:lnTo>
                      <a:lnTo>
                        <a:pt x="3923575" y="518535"/>
                      </a:lnTo>
                      <a:lnTo>
                        <a:pt x="3924455" y="521012"/>
                      </a:lnTo>
                      <a:lnTo>
                        <a:pt x="3925058" y="522202"/>
                      </a:lnTo>
                      <a:lnTo>
                        <a:pt x="3925759" y="522023"/>
                      </a:lnTo>
                      <a:lnTo>
                        <a:pt x="3928464" y="518600"/>
                      </a:lnTo>
                      <a:lnTo>
                        <a:pt x="3929720" y="517573"/>
                      </a:lnTo>
                      <a:lnTo>
                        <a:pt x="3932735" y="516685"/>
                      </a:lnTo>
                      <a:lnTo>
                        <a:pt x="3934405" y="520564"/>
                      </a:lnTo>
                      <a:lnTo>
                        <a:pt x="3933224" y="527092"/>
                      </a:lnTo>
                      <a:lnTo>
                        <a:pt x="3934202" y="527092"/>
                      </a:lnTo>
                      <a:lnTo>
                        <a:pt x="3934976" y="526408"/>
                      </a:lnTo>
                      <a:lnTo>
                        <a:pt x="3935946" y="524647"/>
                      </a:lnTo>
                      <a:lnTo>
                        <a:pt x="3937315" y="523637"/>
                      </a:lnTo>
                      <a:lnTo>
                        <a:pt x="3939003" y="521265"/>
                      </a:lnTo>
                      <a:lnTo>
                        <a:pt x="3940445" y="518331"/>
                      </a:lnTo>
                      <a:lnTo>
                        <a:pt x="3938750" y="516033"/>
                      </a:lnTo>
                      <a:lnTo>
                        <a:pt x="3936802" y="514599"/>
                      </a:lnTo>
                      <a:lnTo>
                        <a:pt x="3932311" y="513792"/>
                      </a:lnTo>
                      <a:lnTo>
                        <a:pt x="3929964" y="512080"/>
                      </a:lnTo>
                      <a:lnTo>
                        <a:pt x="3929092" y="509880"/>
                      </a:lnTo>
                      <a:lnTo>
                        <a:pt x="3931382" y="508992"/>
                      </a:lnTo>
                      <a:lnTo>
                        <a:pt x="3933338" y="507410"/>
                      </a:lnTo>
                      <a:lnTo>
                        <a:pt x="3934707" y="503588"/>
                      </a:lnTo>
                      <a:lnTo>
                        <a:pt x="3934374" y="501494"/>
                      </a:lnTo>
                      <a:lnTo>
                        <a:pt x="3933819" y="499424"/>
                      </a:lnTo>
                      <a:lnTo>
                        <a:pt x="3932694" y="496531"/>
                      </a:lnTo>
                      <a:lnTo>
                        <a:pt x="3931015" y="494844"/>
                      </a:lnTo>
                      <a:lnTo>
                        <a:pt x="3927797" y="494004"/>
                      </a:lnTo>
                      <a:lnTo>
                        <a:pt x="3926362" y="492358"/>
                      </a:lnTo>
                      <a:lnTo>
                        <a:pt x="3924154" y="492448"/>
                      </a:lnTo>
                      <a:lnTo>
                        <a:pt x="3921961" y="491959"/>
                      </a:lnTo>
                      <a:lnTo>
                        <a:pt x="3921089" y="491347"/>
                      </a:lnTo>
                      <a:lnTo>
                        <a:pt x="3921195" y="490166"/>
                      </a:lnTo>
                      <a:lnTo>
                        <a:pt x="3923738" y="489620"/>
                      </a:lnTo>
                      <a:lnTo>
                        <a:pt x="3937714" y="489489"/>
                      </a:lnTo>
                      <a:lnTo>
                        <a:pt x="3942784" y="487835"/>
                      </a:lnTo>
                      <a:lnTo>
                        <a:pt x="3945090" y="488348"/>
                      </a:lnTo>
                      <a:lnTo>
                        <a:pt x="3947388" y="489538"/>
                      </a:lnTo>
                      <a:lnTo>
                        <a:pt x="3955734" y="491095"/>
                      </a:lnTo>
                      <a:lnTo>
                        <a:pt x="3955481" y="491812"/>
                      </a:lnTo>
                      <a:lnTo>
                        <a:pt x="3954079" y="492554"/>
                      </a:lnTo>
                      <a:lnTo>
                        <a:pt x="3951610" y="496009"/>
                      </a:lnTo>
                      <a:lnTo>
                        <a:pt x="3951129" y="497981"/>
                      </a:lnTo>
                      <a:lnTo>
                        <a:pt x="3951023" y="500467"/>
                      </a:lnTo>
                      <a:lnTo>
                        <a:pt x="3953215" y="500948"/>
                      </a:lnTo>
                      <a:lnTo>
                        <a:pt x="3955285" y="499896"/>
                      </a:lnTo>
                      <a:lnTo>
                        <a:pt x="3954283" y="497892"/>
                      </a:lnTo>
                      <a:lnTo>
                        <a:pt x="3953982" y="495422"/>
                      </a:lnTo>
                      <a:lnTo>
                        <a:pt x="3954845" y="494346"/>
                      </a:lnTo>
                      <a:lnTo>
                        <a:pt x="3955994" y="494118"/>
                      </a:lnTo>
                      <a:lnTo>
                        <a:pt x="3958195" y="495968"/>
                      </a:lnTo>
                      <a:lnTo>
                        <a:pt x="3960567" y="496555"/>
                      </a:lnTo>
                      <a:lnTo>
                        <a:pt x="3968553" y="497297"/>
                      </a:lnTo>
                      <a:lnTo>
                        <a:pt x="3970811" y="497060"/>
                      </a:lnTo>
                      <a:lnTo>
                        <a:pt x="3971536" y="496115"/>
                      </a:lnTo>
                      <a:lnTo>
                        <a:pt x="3969979" y="495023"/>
                      </a:lnTo>
                      <a:lnTo>
                        <a:pt x="3959589" y="492611"/>
                      </a:lnTo>
                      <a:lnTo>
                        <a:pt x="3959458" y="491282"/>
                      </a:lnTo>
                      <a:lnTo>
                        <a:pt x="3969042" y="492912"/>
                      </a:lnTo>
                      <a:lnTo>
                        <a:pt x="3973353" y="494428"/>
                      </a:lnTo>
                      <a:lnTo>
                        <a:pt x="3977648" y="495553"/>
                      </a:lnTo>
                      <a:lnTo>
                        <a:pt x="3983663" y="495210"/>
                      </a:lnTo>
                      <a:lnTo>
                        <a:pt x="3989506" y="497011"/>
                      </a:lnTo>
                      <a:lnTo>
                        <a:pt x="3995114" y="501861"/>
                      </a:lnTo>
                      <a:lnTo>
                        <a:pt x="4000305" y="507957"/>
                      </a:lnTo>
                      <a:lnTo>
                        <a:pt x="4005537" y="511559"/>
                      </a:lnTo>
                      <a:lnTo>
                        <a:pt x="4011062" y="514264"/>
                      </a:lnTo>
                      <a:lnTo>
                        <a:pt x="4020263" y="521648"/>
                      </a:lnTo>
                      <a:lnTo>
                        <a:pt x="4021404" y="522219"/>
                      </a:lnTo>
                      <a:lnTo>
                        <a:pt x="4022316" y="523221"/>
                      </a:lnTo>
                      <a:lnTo>
                        <a:pt x="4020581" y="524468"/>
                      </a:lnTo>
                      <a:lnTo>
                        <a:pt x="4019048" y="526269"/>
                      </a:lnTo>
                      <a:lnTo>
                        <a:pt x="4022056" y="525022"/>
                      </a:lnTo>
                      <a:lnTo>
                        <a:pt x="4025088" y="524174"/>
                      </a:lnTo>
                      <a:lnTo>
                        <a:pt x="4026579" y="524337"/>
                      </a:lnTo>
                      <a:lnTo>
                        <a:pt x="4027915" y="525283"/>
                      </a:lnTo>
                      <a:lnTo>
                        <a:pt x="4028796" y="526799"/>
                      </a:lnTo>
                      <a:lnTo>
                        <a:pt x="4029285" y="528306"/>
                      </a:lnTo>
                      <a:lnTo>
                        <a:pt x="4027997" y="529667"/>
                      </a:lnTo>
                      <a:lnTo>
                        <a:pt x="4036799" y="529920"/>
                      </a:lnTo>
                      <a:lnTo>
                        <a:pt x="4039554" y="530776"/>
                      </a:lnTo>
                      <a:lnTo>
                        <a:pt x="4040760" y="534402"/>
                      </a:lnTo>
                      <a:lnTo>
                        <a:pt x="4038217" y="536929"/>
                      </a:lnTo>
                      <a:lnTo>
                        <a:pt x="4036734" y="536619"/>
                      </a:lnTo>
                      <a:lnTo>
                        <a:pt x="4035299" y="535560"/>
                      </a:lnTo>
                      <a:lnTo>
                        <a:pt x="4033946" y="535454"/>
                      </a:lnTo>
                      <a:lnTo>
                        <a:pt x="4030092" y="536538"/>
                      </a:lnTo>
                      <a:lnTo>
                        <a:pt x="4024093" y="539912"/>
                      </a:lnTo>
                      <a:lnTo>
                        <a:pt x="4020638" y="542601"/>
                      </a:lnTo>
                      <a:lnTo>
                        <a:pt x="4020076" y="544378"/>
                      </a:lnTo>
                      <a:lnTo>
                        <a:pt x="4020621" y="549194"/>
                      </a:lnTo>
                      <a:lnTo>
                        <a:pt x="4020133" y="551476"/>
                      </a:lnTo>
                      <a:lnTo>
                        <a:pt x="4017516" y="552951"/>
                      </a:lnTo>
                      <a:lnTo>
                        <a:pt x="4011804" y="552063"/>
                      </a:lnTo>
                      <a:lnTo>
                        <a:pt x="4009204" y="551118"/>
                      </a:lnTo>
                      <a:lnTo>
                        <a:pt x="4006295" y="549838"/>
                      </a:lnTo>
                      <a:lnTo>
                        <a:pt x="4003483" y="548061"/>
                      </a:lnTo>
                      <a:lnTo>
                        <a:pt x="3999897" y="545217"/>
                      </a:lnTo>
                      <a:lnTo>
                        <a:pt x="3998789" y="544948"/>
                      </a:lnTo>
                      <a:lnTo>
                        <a:pt x="3998055" y="545625"/>
                      </a:lnTo>
                      <a:lnTo>
                        <a:pt x="3999286" y="547426"/>
                      </a:lnTo>
                      <a:lnTo>
                        <a:pt x="4001714" y="549699"/>
                      </a:lnTo>
                      <a:lnTo>
                        <a:pt x="4005904" y="552674"/>
                      </a:lnTo>
                      <a:lnTo>
                        <a:pt x="4007900" y="555983"/>
                      </a:lnTo>
                      <a:lnTo>
                        <a:pt x="4006621" y="557637"/>
                      </a:lnTo>
                      <a:lnTo>
                        <a:pt x="4005031" y="558012"/>
                      </a:lnTo>
                      <a:lnTo>
                        <a:pt x="4003882" y="557988"/>
                      </a:lnTo>
                      <a:lnTo>
                        <a:pt x="4000223" y="556945"/>
                      </a:lnTo>
                      <a:lnTo>
                        <a:pt x="3997672" y="556700"/>
                      </a:lnTo>
                      <a:lnTo>
                        <a:pt x="3989637" y="557662"/>
                      </a:lnTo>
                      <a:lnTo>
                        <a:pt x="3986735" y="558273"/>
                      </a:lnTo>
                      <a:lnTo>
                        <a:pt x="3985749" y="557768"/>
                      </a:lnTo>
                      <a:lnTo>
                        <a:pt x="3985504" y="556317"/>
                      </a:lnTo>
                      <a:lnTo>
                        <a:pt x="3981185" y="555266"/>
                      </a:lnTo>
                      <a:lnTo>
                        <a:pt x="3978634" y="555119"/>
                      </a:lnTo>
                      <a:lnTo>
                        <a:pt x="3977444" y="554622"/>
                      </a:lnTo>
                      <a:lnTo>
                        <a:pt x="3976450" y="553122"/>
                      </a:lnTo>
                      <a:lnTo>
                        <a:pt x="3973639" y="550914"/>
                      </a:lnTo>
                      <a:lnTo>
                        <a:pt x="3969376" y="550050"/>
                      </a:lnTo>
                      <a:lnTo>
                        <a:pt x="3966605" y="549944"/>
                      </a:lnTo>
                      <a:lnTo>
                        <a:pt x="3965008" y="550433"/>
                      </a:lnTo>
                      <a:lnTo>
                        <a:pt x="3970639" y="553359"/>
                      </a:lnTo>
                      <a:lnTo>
                        <a:pt x="3975659" y="558273"/>
                      </a:lnTo>
                      <a:lnTo>
                        <a:pt x="3974722" y="559186"/>
                      </a:lnTo>
                      <a:lnTo>
                        <a:pt x="3974087" y="560237"/>
                      </a:lnTo>
                      <a:lnTo>
                        <a:pt x="3976857" y="560310"/>
                      </a:lnTo>
                      <a:lnTo>
                        <a:pt x="3978667" y="559976"/>
                      </a:lnTo>
                      <a:lnTo>
                        <a:pt x="3979197" y="561264"/>
                      </a:lnTo>
                      <a:lnTo>
                        <a:pt x="3977746" y="566439"/>
                      </a:lnTo>
                      <a:lnTo>
                        <a:pt x="3976777" y="567588"/>
                      </a:lnTo>
                      <a:lnTo>
                        <a:pt x="3968023" y="568729"/>
                      </a:lnTo>
                      <a:lnTo>
                        <a:pt x="3970224" y="569585"/>
                      </a:lnTo>
                      <a:lnTo>
                        <a:pt x="3972473" y="569854"/>
                      </a:lnTo>
                      <a:lnTo>
                        <a:pt x="3975049" y="569650"/>
                      </a:lnTo>
                      <a:lnTo>
                        <a:pt x="3977347" y="570538"/>
                      </a:lnTo>
                      <a:lnTo>
                        <a:pt x="3978895" y="573782"/>
                      </a:lnTo>
                      <a:lnTo>
                        <a:pt x="3979156" y="577180"/>
                      </a:lnTo>
                      <a:lnTo>
                        <a:pt x="3976890" y="579120"/>
                      </a:lnTo>
                      <a:lnTo>
                        <a:pt x="3974543" y="580685"/>
                      </a:lnTo>
                      <a:lnTo>
                        <a:pt x="3969743" y="583081"/>
                      </a:lnTo>
                      <a:lnTo>
                        <a:pt x="3964788" y="584132"/>
                      </a:lnTo>
                      <a:lnTo>
                        <a:pt x="3962188" y="583863"/>
                      </a:lnTo>
                      <a:lnTo>
                        <a:pt x="3959661" y="584393"/>
                      </a:lnTo>
                      <a:lnTo>
                        <a:pt x="3957991" y="585632"/>
                      </a:lnTo>
                      <a:lnTo>
                        <a:pt x="3957519" y="586887"/>
                      </a:lnTo>
                      <a:lnTo>
                        <a:pt x="3959694" y="586047"/>
                      </a:lnTo>
                      <a:lnTo>
                        <a:pt x="3962196" y="586520"/>
                      </a:lnTo>
                      <a:lnTo>
                        <a:pt x="3964576" y="588011"/>
                      </a:lnTo>
                      <a:lnTo>
                        <a:pt x="3964315" y="589242"/>
                      </a:lnTo>
                      <a:lnTo>
                        <a:pt x="3962050" y="590587"/>
                      </a:lnTo>
                      <a:lnTo>
                        <a:pt x="3961528" y="591605"/>
                      </a:lnTo>
                      <a:lnTo>
                        <a:pt x="3962383" y="593317"/>
                      </a:lnTo>
                      <a:lnTo>
                        <a:pt x="3962099" y="594792"/>
                      </a:lnTo>
                      <a:lnTo>
                        <a:pt x="3963264" y="595591"/>
                      </a:lnTo>
                      <a:lnTo>
                        <a:pt x="3965921" y="595876"/>
                      </a:lnTo>
                      <a:lnTo>
                        <a:pt x="3969164" y="596927"/>
                      </a:lnTo>
                      <a:lnTo>
                        <a:pt x="3972351" y="598337"/>
                      </a:lnTo>
                      <a:lnTo>
                        <a:pt x="3973606" y="599551"/>
                      </a:lnTo>
                      <a:lnTo>
                        <a:pt x="3974674" y="601255"/>
                      </a:lnTo>
                      <a:lnTo>
                        <a:pt x="3975041" y="603056"/>
                      </a:lnTo>
                      <a:lnTo>
                        <a:pt x="3974487" y="603797"/>
                      </a:lnTo>
                      <a:lnTo>
                        <a:pt x="3967208" y="604083"/>
                      </a:lnTo>
                      <a:lnTo>
                        <a:pt x="3966108" y="603863"/>
                      </a:lnTo>
                      <a:lnTo>
                        <a:pt x="3965684" y="601866"/>
                      </a:lnTo>
                      <a:lnTo>
                        <a:pt x="3964813" y="600244"/>
                      </a:lnTo>
                      <a:lnTo>
                        <a:pt x="3962033" y="599103"/>
                      </a:lnTo>
                      <a:lnTo>
                        <a:pt x="3960909" y="599886"/>
                      </a:lnTo>
                      <a:lnTo>
                        <a:pt x="3961724" y="605656"/>
                      </a:lnTo>
                      <a:lnTo>
                        <a:pt x="3960631" y="607400"/>
                      </a:lnTo>
                      <a:lnTo>
                        <a:pt x="3959409" y="608663"/>
                      </a:lnTo>
                      <a:lnTo>
                        <a:pt x="3955734" y="609396"/>
                      </a:lnTo>
                      <a:lnTo>
                        <a:pt x="3952800" y="608981"/>
                      </a:lnTo>
                      <a:lnTo>
                        <a:pt x="3950322" y="606259"/>
                      </a:lnTo>
                      <a:lnTo>
                        <a:pt x="3950322" y="603936"/>
                      </a:lnTo>
                      <a:lnTo>
                        <a:pt x="3951968" y="602591"/>
                      </a:lnTo>
                      <a:lnTo>
                        <a:pt x="3951960" y="600717"/>
                      </a:lnTo>
                      <a:lnTo>
                        <a:pt x="3951512" y="598541"/>
                      </a:lnTo>
                      <a:lnTo>
                        <a:pt x="3949825" y="601067"/>
                      </a:lnTo>
                      <a:lnTo>
                        <a:pt x="3947861" y="603178"/>
                      </a:lnTo>
                      <a:lnTo>
                        <a:pt x="3944666" y="605810"/>
                      </a:lnTo>
                      <a:lnTo>
                        <a:pt x="3943126" y="606161"/>
                      </a:lnTo>
                      <a:lnTo>
                        <a:pt x="3941536" y="605859"/>
                      </a:lnTo>
                      <a:lnTo>
                        <a:pt x="3937372" y="603969"/>
                      </a:lnTo>
                      <a:lnTo>
                        <a:pt x="3934797" y="602330"/>
                      </a:lnTo>
                      <a:lnTo>
                        <a:pt x="3929753" y="596935"/>
                      </a:lnTo>
                      <a:lnTo>
                        <a:pt x="3926957" y="594425"/>
                      </a:lnTo>
                      <a:lnTo>
                        <a:pt x="3920682" y="591068"/>
                      </a:lnTo>
                      <a:lnTo>
                        <a:pt x="3914235" y="588623"/>
                      </a:lnTo>
                      <a:lnTo>
                        <a:pt x="3909141" y="587042"/>
                      </a:lnTo>
                      <a:lnTo>
                        <a:pt x="3906420" y="587229"/>
                      </a:lnTo>
                      <a:lnTo>
                        <a:pt x="3903681" y="587865"/>
                      </a:lnTo>
                      <a:lnTo>
                        <a:pt x="3900234" y="587514"/>
                      </a:lnTo>
                      <a:lnTo>
                        <a:pt x="3899069" y="586919"/>
                      </a:lnTo>
                      <a:lnTo>
                        <a:pt x="3898050" y="585575"/>
                      </a:lnTo>
                      <a:lnTo>
                        <a:pt x="3897121" y="584800"/>
                      </a:lnTo>
                      <a:lnTo>
                        <a:pt x="3892280" y="581475"/>
                      </a:lnTo>
                      <a:lnTo>
                        <a:pt x="3888857" y="578745"/>
                      </a:lnTo>
                      <a:lnTo>
                        <a:pt x="3888718" y="576920"/>
                      </a:lnTo>
                      <a:lnTo>
                        <a:pt x="3889444" y="574760"/>
                      </a:lnTo>
                      <a:lnTo>
                        <a:pt x="3888800" y="569389"/>
                      </a:lnTo>
                      <a:lnTo>
                        <a:pt x="3887146" y="564336"/>
                      </a:lnTo>
                      <a:lnTo>
                        <a:pt x="3882915" y="559324"/>
                      </a:lnTo>
                      <a:lnTo>
                        <a:pt x="3871653" y="556089"/>
                      </a:lnTo>
                      <a:lnTo>
                        <a:pt x="3862362" y="553807"/>
                      </a:lnTo>
                      <a:lnTo>
                        <a:pt x="3859037" y="553293"/>
                      </a:lnTo>
                      <a:lnTo>
                        <a:pt x="3856087" y="553799"/>
                      </a:lnTo>
                      <a:lnTo>
                        <a:pt x="3848304" y="557939"/>
                      </a:lnTo>
                      <a:lnTo>
                        <a:pt x="3843096" y="558534"/>
                      </a:lnTo>
                      <a:lnTo>
                        <a:pt x="3827930" y="558737"/>
                      </a:lnTo>
                      <a:lnTo>
                        <a:pt x="3825403" y="558289"/>
                      </a:lnTo>
                      <a:lnTo>
                        <a:pt x="3823105" y="556529"/>
                      </a:lnTo>
                      <a:lnTo>
                        <a:pt x="3822583" y="554157"/>
                      </a:lnTo>
                      <a:lnTo>
                        <a:pt x="3823243" y="549773"/>
                      </a:lnTo>
                      <a:lnTo>
                        <a:pt x="3823170" y="547915"/>
                      </a:lnTo>
                      <a:lnTo>
                        <a:pt x="3822575" y="547287"/>
                      </a:lnTo>
                      <a:lnTo>
                        <a:pt x="3821777" y="547336"/>
                      </a:lnTo>
                      <a:lnTo>
                        <a:pt x="3818785" y="545584"/>
                      </a:lnTo>
                      <a:lnTo>
                        <a:pt x="3816006" y="542634"/>
                      </a:lnTo>
                      <a:lnTo>
                        <a:pt x="3813822" y="539577"/>
                      </a:lnTo>
                      <a:lnTo>
                        <a:pt x="3812339" y="535486"/>
                      </a:lnTo>
                      <a:lnTo>
                        <a:pt x="3814336" y="535283"/>
                      </a:lnTo>
                      <a:lnTo>
                        <a:pt x="3817107" y="536293"/>
                      </a:lnTo>
                      <a:lnTo>
                        <a:pt x="3817506" y="535291"/>
                      </a:lnTo>
                      <a:lnTo>
                        <a:pt x="3818411" y="531583"/>
                      </a:lnTo>
                      <a:lnTo>
                        <a:pt x="3820334" y="529806"/>
                      </a:lnTo>
                      <a:lnTo>
                        <a:pt x="3821075" y="528420"/>
                      </a:lnTo>
                      <a:lnTo>
                        <a:pt x="3822371" y="523384"/>
                      </a:lnTo>
                      <a:lnTo>
                        <a:pt x="3822567" y="519749"/>
                      </a:lnTo>
                      <a:lnTo>
                        <a:pt x="3820350" y="521738"/>
                      </a:lnTo>
                      <a:lnTo>
                        <a:pt x="3816952" y="526766"/>
                      </a:lnTo>
                      <a:lnTo>
                        <a:pt x="3815264" y="528241"/>
                      </a:lnTo>
                      <a:lnTo>
                        <a:pt x="3814099" y="528910"/>
                      </a:lnTo>
                      <a:lnTo>
                        <a:pt x="3812917" y="529211"/>
                      </a:lnTo>
                      <a:lnTo>
                        <a:pt x="3810180" y="528209"/>
                      </a:lnTo>
                      <a:lnTo>
                        <a:pt x="3808215" y="526986"/>
                      </a:lnTo>
                      <a:lnTo>
                        <a:pt x="3808174" y="522121"/>
                      </a:lnTo>
                      <a:lnTo>
                        <a:pt x="3807270" y="520874"/>
                      </a:lnTo>
                      <a:lnTo>
                        <a:pt x="3806398" y="521811"/>
                      </a:lnTo>
                      <a:lnTo>
                        <a:pt x="3806047" y="523555"/>
                      </a:lnTo>
                      <a:lnTo>
                        <a:pt x="3803554" y="523873"/>
                      </a:lnTo>
                      <a:lnTo>
                        <a:pt x="3802380" y="524615"/>
                      </a:lnTo>
                      <a:lnTo>
                        <a:pt x="3802983" y="527508"/>
                      </a:lnTo>
                      <a:lnTo>
                        <a:pt x="3802706" y="529953"/>
                      </a:lnTo>
                      <a:lnTo>
                        <a:pt x="3800343" y="530865"/>
                      </a:lnTo>
                      <a:lnTo>
                        <a:pt x="3795543" y="531428"/>
                      </a:lnTo>
                      <a:lnTo>
                        <a:pt x="3793880" y="529032"/>
                      </a:lnTo>
                      <a:lnTo>
                        <a:pt x="3792454" y="532373"/>
                      </a:lnTo>
                      <a:lnTo>
                        <a:pt x="3791386" y="536114"/>
                      </a:lnTo>
                      <a:lnTo>
                        <a:pt x="3791239" y="541093"/>
                      </a:lnTo>
                      <a:lnTo>
                        <a:pt x="3792763" y="545217"/>
                      </a:lnTo>
                      <a:lnTo>
                        <a:pt x="3794931" y="547181"/>
                      </a:lnTo>
                      <a:lnTo>
                        <a:pt x="3799682" y="550148"/>
                      </a:lnTo>
                      <a:lnTo>
                        <a:pt x="3801744" y="552234"/>
                      </a:lnTo>
                      <a:lnTo>
                        <a:pt x="3802291" y="554915"/>
                      </a:lnTo>
                      <a:lnTo>
                        <a:pt x="3802095" y="557393"/>
                      </a:lnTo>
                      <a:lnTo>
                        <a:pt x="3799625" y="560408"/>
                      </a:lnTo>
                      <a:lnTo>
                        <a:pt x="3797938" y="562910"/>
                      </a:lnTo>
                      <a:lnTo>
                        <a:pt x="3795070" y="568917"/>
                      </a:lnTo>
                      <a:lnTo>
                        <a:pt x="3793350" y="571321"/>
                      </a:lnTo>
                      <a:lnTo>
                        <a:pt x="3786024" y="576374"/>
                      </a:lnTo>
                      <a:close/>
                    </a:path>
                  </a:pathLst>
                </a:custGeom>
                <a:solidFill>
                  <a:srgbClr val="D6D6D2"/>
                </a:solidFill>
                <a:ln w="6112" cap="rnd">
                  <a:solidFill>
                    <a:srgbClr val="FFFFFF"/>
                  </a:solidFill>
                  <a:prstDash val="solid"/>
                  <a:round/>
                </a:ln>
              </p:spPr>
              <p:txBody>
                <a:bodyPr rtlCol="0" anchor="ctr"/>
                <a:lstStyle/>
                <a:p>
                  <a:endParaRPr lang="en-US"/>
                </a:p>
              </p:txBody>
            </p:sp>
            <p:sp>
              <p:nvSpPr>
                <p:cNvPr id="617" name="Freeform: Shape 616">
                  <a:extLst>
                    <a:ext uri="{FF2B5EF4-FFF2-40B4-BE49-F238E27FC236}">
                      <a16:creationId xmlns:a16="http://schemas.microsoft.com/office/drawing/2014/main" id="{9415B159-CD88-4978-A798-630493D428A5}"/>
                    </a:ext>
                  </a:extLst>
                </p:cNvPr>
                <p:cNvSpPr/>
                <p:nvPr/>
              </p:nvSpPr>
              <p:spPr>
                <a:xfrm>
                  <a:off x="8406172" y="1674560"/>
                  <a:ext cx="150191" cy="73909"/>
                </a:xfrm>
                <a:custGeom>
                  <a:avLst/>
                  <a:gdLst>
                    <a:gd name="connsiteX0" fmla="*/ 89240 w 150191"/>
                    <a:gd name="connsiteY0" fmla="*/ 9046 h 73909"/>
                    <a:gd name="connsiteX1" fmla="*/ 86811 w 150191"/>
                    <a:gd name="connsiteY1" fmla="*/ 12966 h 73909"/>
                    <a:gd name="connsiteX2" fmla="*/ 85784 w 150191"/>
                    <a:gd name="connsiteY2" fmla="*/ 16511 h 73909"/>
                    <a:gd name="connsiteX3" fmla="*/ 78400 w 150191"/>
                    <a:gd name="connsiteY3" fmla="*/ 28043 h 73909"/>
                    <a:gd name="connsiteX4" fmla="*/ 77520 w 150191"/>
                    <a:gd name="connsiteY4" fmla="*/ 30113 h 73909"/>
                    <a:gd name="connsiteX5" fmla="*/ 81848 w 150191"/>
                    <a:gd name="connsiteY5" fmla="*/ 28320 h 73909"/>
                    <a:gd name="connsiteX6" fmla="*/ 85833 w 150191"/>
                    <a:gd name="connsiteY6" fmla="*/ 24384 h 73909"/>
                    <a:gd name="connsiteX7" fmla="*/ 88237 w 150191"/>
                    <a:gd name="connsiteY7" fmla="*/ 21132 h 73909"/>
                    <a:gd name="connsiteX8" fmla="*/ 90861 w 150191"/>
                    <a:gd name="connsiteY8" fmla="*/ 19046 h 73909"/>
                    <a:gd name="connsiteX9" fmla="*/ 93958 w 150191"/>
                    <a:gd name="connsiteY9" fmla="*/ 19005 h 73909"/>
                    <a:gd name="connsiteX10" fmla="*/ 97031 w 150191"/>
                    <a:gd name="connsiteY10" fmla="*/ 18255 h 73909"/>
                    <a:gd name="connsiteX11" fmla="*/ 102842 w 150191"/>
                    <a:gd name="connsiteY11" fmla="*/ 15501 h 73909"/>
                    <a:gd name="connsiteX12" fmla="*/ 108783 w 150191"/>
                    <a:gd name="connsiteY12" fmla="*/ 14295 h 73909"/>
                    <a:gd name="connsiteX13" fmla="*/ 111945 w 150191"/>
                    <a:gd name="connsiteY13" fmla="*/ 14335 h 73909"/>
                    <a:gd name="connsiteX14" fmla="*/ 115050 w 150191"/>
                    <a:gd name="connsiteY14" fmla="*/ 15647 h 73909"/>
                    <a:gd name="connsiteX15" fmla="*/ 116989 w 150191"/>
                    <a:gd name="connsiteY15" fmla="*/ 18704 h 73909"/>
                    <a:gd name="connsiteX16" fmla="*/ 119157 w 150191"/>
                    <a:gd name="connsiteY16" fmla="*/ 21189 h 73909"/>
                    <a:gd name="connsiteX17" fmla="*/ 126924 w 150191"/>
                    <a:gd name="connsiteY17" fmla="*/ 22999 h 73909"/>
                    <a:gd name="connsiteX18" fmla="*/ 128032 w 150191"/>
                    <a:gd name="connsiteY18" fmla="*/ 23667 h 73909"/>
                    <a:gd name="connsiteX19" fmla="*/ 128725 w 150191"/>
                    <a:gd name="connsiteY19" fmla="*/ 25696 h 73909"/>
                    <a:gd name="connsiteX20" fmla="*/ 128106 w 150191"/>
                    <a:gd name="connsiteY20" fmla="*/ 27872 h 73909"/>
                    <a:gd name="connsiteX21" fmla="*/ 132596 w 150191"/>
                    <a:gd name="connsiteY21" fmla="*/ 30130 h 73909"/>
                    <a:gd name="connsiteX22" fmla="*/ 138741 w 150191"/>
                    <a:gd name="connsiteY22" fmla="*/ 29135 h 73909"/>
                    <a:gd name="connsiteX23" fmla="*/ 142050 w 150191"/>
                    <a:gd name="connsiteY23" fmla="*/ 29722 h 73909"/>
                    <a:gd name="connsiteX24" fmla="*/ 145318 w 150191"/>
                    <a:gd name="connsiteY24" fmla="*/ 30945 h 73909"/>
                    <a:gd name="connsiteX25" fmla="*/ 146768 w 150191"/>
                    <a:gd name="connsiteY25" fmla="*/ 32900 h 73909"/>
                    <a:gd name="connsiteX26" fmla="*/ 148040 w 150191"/>
                    <a:gd name="connsiteY26" fmla="*/ 35248 h 73909"/>
                    <a:gd name="connsiteX27" fmla="*/ 149385 w 150191"/>
                    <a:gd name="connsiteY27" fmla="*/ 38589 h 73909"/>
                    <a:gd name="connsiteX28" fmla="*/ 150192 w 150191"/>
                    <a:gd name="connsiteY28" fmla="*/ 42207 h 73909"/>
                    <a:gd name="connsiteX29" fmla="*/ 149458 w 150191"/>
                    <a:gd name="connsiteY29" fmla="*/ 46902 h 73909"/>
                    <a:gd name="connsiteX30" fmla="*/ 137551 w 150191"/>
                    <a:gd name="connsiteY30" fmla="*/ 54245 h 73909"/>
                    <a:gd name="connsiteX31" fmla="*/ 135285 w 150191"/>
                    <a:gd name="connsiteY31" fmla="*/ 54897 h 73909"/>
                    <a:gd name="connsiteX32" fmla="*/ 129776 w 150191"/>
                    <a:gd name="connsiteY32" fmla="*/ 54424 h 73909"/>
                    <a:gd name="connsiteX33" fmla="*/ 124275 w 150191"/>
                    <a:gd name="connsiteY33" fmla="*/ 55133 h 73909"/>
                    <a:gd name="connsiteX34" fmla="*/ 109932 w 150191"/>
                    <a:gd name="connsiteY34" fmla="*/ 58947 h 73909"/>
                    <a:gd name="connsiteX35" fmla="*/ 92166 w 150191"/>
                    <a:gd name="connsiteY35" fmla="*/ 59069 h 73909"/>
                    <a:gd name="connsiteX36" fmla="*/ 87047 w 150191"/>
                    <a:gd name="connsiteY36" fmla="*/ 62443 h 73909"/>
                    <a:gd name="connsiteX37" fmla="*/ 85499 w 150191"/>
                    <a:gd name="connsiteY37" fmla="*/ 62354 h 73909"/>
                    <a:gd name="connsiteX38" fmla="*/ 83983 w 150191"/>
                    <a:gd name="connsiteY38" fmla="*/ 61767 h 73909"/>
                    <a:gd name="connsiteX39" fmla="*/ 82598 w 150191"/>
                    <a:gd name="connsiteY39" fmla="*/ 60618 h 73909"/>
                    <a:gd name="connsiteX40" fmla="*/ 71758 w 150191"/>
                    <a:gd name="connsiteY40" fmla="*/ 61579 h 73909"/>
                    <a:gd name="connsiteX41" fmla="*/ 59664 w 150191"/>
                    <a:gd name="connsiteY41" fmla="*/ 62125 h 73909"/>
                    <a:gd name="connsiteX42" fmla="*/ 47554 w 150191"/>
                    <a:gd name="connsiteY42" fmla="*/ 62248 h 73909"/>
                    <a:gd name="connsiteX43" fmla="*/ 43479 w 150191"/>
                    <a:gd name="connsiteY43" fmla="*/ 64676 h 73909"/>
                    <a:gd name="connsiteX44" fmla="*/ 31108 w 150191"/>
                    <a:gd name="connsiteY44" fmla="*/ 69419 h 73909"/>
                    <a:gd name="connsiteX45" fmla="*/ 19722 w 150191"/>
                    <a:gd name="connsiteY45" fmla="*/ 73013 h 73909"/>
                    <a:gd name="connsiteX46" fmla="*/ 13838 w 150191"/>
                    <a:gd name="connsiteY46" fmla="*/ 73910 h 73909"/>
                    <a:gd name="connsiteX47" fmla="*/ 5281 w 150191"/>
                    <a:gd name="connsiteY47" fmla="*/ 72956 h 73909"/>
                    <a:gd name="connsiteX48" fmla="*/ 2600 w 150191"/>
                    <a:gd name="connsiteY48" fmla="*/ 71742 h 73909"/>
                    <a:gd name="connsiteX49" fmla="*/ 0 w 150191"/>
                    <a:gd name="connsiteY49" fmla="*/ 69892 h 73909"/>
                    <a:gd name="connsiteX50" fmla="*/ 3765 w 150191"/>
                    <a:gd name="connsiteY50" fmla="*/ 67618 h 73909"/>
                    <a:gd name="connsiteX51" fmla="*/ 6422 w 150191"/>
                    <a:gd name="connsiteY51" fmla="*/ 62908 h 73909"/>
                    <a:gd name="connsiteX52" fmla="*/ 9690 w 150191"/>
                    <a:gd name="connsiteY52" fmla="*/ 60186 h 73909"/>
                    <a:gd name="connsiteX53" fmla="*/ 18157 w 150191"/>
                    <a:gd name="connsiteY53" fmla="*/ 54937 h 73909"/>
                    <a:gd name="connsiteX54" fmla="*/ 19111 w 150191"/>
                    <a:gd name="connsiteY54" fmla="*/ 52867 h 73909"/>
                    <a:gd name="connsiteX55" fmla="*/ 20749 w 150191"/>
                    <a:gd name="connsiteY55" fmla="*/ 48377 h 73909"/>
                    <a:gd name="connsiteX56" fmla="*/ 21727 w 150191"/>
                    <a:gd name="connsiteY56" fmla="*/ 46706 h 73909"/>
                    <a:gd name="connsiteX57" fmla="*/ 23015 w 150191"/>
                    <a:gd name="connsiteY57" fmla="*/ 45117 h 73909"/>
                    <a:gd name="connsiteX58" fmla="*/ 24066 w 150191"/>
                    <a:gd name="connsiteY58" fmla="*/ 43210 h 73909"/>
                    <a:gd name="connsiteX59" fmla="*/ 24197 w 150191"/>
                    <a:gd name="connsiteY59" fmla="*/ 40333 h 73909"/>
                    <a:gd name="connsiteX60" fmla="*/ 24726 w 150191"/>
                    <a:gd name="connsiteY60" fmla="*/ 37937 h 73909"/>
                    <a:gd name="connsiteX61" fmla="*/ 28002 w 150191"/>
                    <a:gd name="connsiteY61" fmla="*/ 34245 h 73909"/>
                    <a:gd name="connsiteX62" fmla="*/ 30472 w 150191"/>
                    <a:gd name="connsiteY62" fmla="*/ 32501 h 73909"/>
                    <a:gd name="connsiteX63" fmla="*/ 33047 w 150191"/>
                    <a:gd name="connsiteY63" fmla="*/ 32020 h 73909"/>
                    <a:gd name="connsiteX64" fmla="*/ 39404 w 150191"/>
                    <a:gd name="connsiteY64" fmla="*/ 32713 h 73909"/>
                    <a:gd name="connsiteX65" fmla="*/ 41384 w 150191"/>
                    <a:gd name="connsiteY65" fmla="*/ 32469 h 73909"/>
                    <a:gd name="connsiteX66" fmla="*/ 39950 w 150191"/>
                    <a:gd name="connsiteY66" fmla="*/ 31271 h 73909"/>
                    <a:gd name="connsiteX67" fmla="*/ 38915 w 150191"/>
                    <a:gd name="connsiteY67" fmla="*/ 26984 h 73909"/>
                    <a:gd name="connsiteX68" fmla="*/ 39127 w 150191"/>
                    <a:gd name="connsiteY68" fmla="*/ 25574 h 73909"/>
                    <a:gd name="connsiteX69" fmla="*/ 40040 w 150191"/>
                    <a:gd name="connsiteY69" fmla="*/ 22860 h 73909"/>
                    <a:gd name="connsiteX70" fmla="*/ 41629 w 150191"/>
                    <a:gd name="connsiteY70" fmla="*/ 21515 h 73909"/>
                    <a:gd name="connsiteX71" fmla="*/ 43251 w 150191"/>
                    <a:gd name="connsiteY71" fmla="*/ 20676 h 73909"/>
                    <a:gd name="connsiteX72" fmla="*/ 44171 w 150191"/>
                    <a:gd name="connsiteY72" fmla="*/ 17008 h 73909"/>
                    <a:gd name="connsiteX73" fmla="*/ 43780 w 150191"/>
                    <a:gd name="connsiteY73" fmla="*/ 15647 h 73909"/>
                    <a:gd name="connsiteX74" fmla="*/ 46177 w 150191"/>
                    <a:gd name="connsiteY74" fmla="*/ 13944 h 73909"/>
                    <a:gd name="connsiteX75" fmla="*/ 47350 w 150191"/>
                    <a:gd name="connsiteY75" fmla="*/ 11556 h 73909"/>
                    <a:gd name="connsiteX76" fmla="*/ 50186 w 150191"/>
                    <a:gd name="connsiteY76" fmla="*/ 10130 h 73909"/>
                    <a:gd name="connsiteX77" fmla="*/ 55956 w 150191"/>
                    <a:gd name="connsiteY77" fmla="*/ 9030 h 73909"/>
                    <a:gd name="connsiteX78" fmla="*/ 56258 w 150191"/>
                    <a:gd name="connsiteY78" fmla="*/ 6096 h 73909"/>
                    <a:gd name="connsiteX79" fmla="*/ 57138 w 150191"/>
                    <a:gd name="connsiteY79" fmla="*/ 4181 h 73909"/>
                    <a:gd name="connsiteX80" fmla="*/ 58442 w 150191"/>
                    <a:gd name="connsiteY80" fmla="*/ 3627 h 73909"/>
                    <a:gd name="connsiteX81" fmla="*/ 61367 w 150191"/>
                    <a:gd name="connsiteY81" fmla="*/ 3097 h 73909"/>
                    <a:gd name="connsiteX82" fmla="*/ 62932 w 150191"/>
                    <a:gd name="connsiteY82" fmla="*/ 3187 h 73909"/>
                    <a:gd name="connsiteX83" fmla="*/ 65108 w 150191"/>
                    <a:gd name="connsiteY83" fmla="*/ 6145 h 73909"/>
                    <a:gd name="connsiteX84" fmla="*/ 67414 w 150191"/>
                    <a:gd name="connsiteY84" fmla="*/ 8565 h 73909"/>
                    <a:gd name="connsiteX85" fmla="*/ 70471 w 150191"/>
                    <a:gd name="connsiteY85" fmla="*/ 9128 h 73909"/>
                    <a:gd name="connsiteX86" fmla="*/ 73519 w 150191"/>
                    <a:gd name="connsiteY86" fmla="*/ 8948 h 73909"/>
                    <a:gd name="connsiteX87" fmla="*/ 71685 w 150191"/>
                    <a:gd name="connsiteY87" fmla="*/ 6096 h 73909"/>
                    <a:gd name="connsiteX88" fmla="*/ 71766 w 150191"/>
                    <a:gd name="connsiteY88" fmla="*/ 3024 h 73909"/>
                    <a:gd name="connsiteX89" fmla="*/ 72875 w 150191"/>
                    <a:gd name="connsiteY89" fmla="*/ 1027 h 73909"/>
                    <a:gd name="connsiteX90" fmla="*/ 74293 w 150191"/>
                    <a:gd name="connsiteY90" fmla="*/ 155 h 73909"/>
                    <a:gd name="connsiteX91" fmla="*/ 77333 w 150191"/>
                    <a:gd name="connsiteY91" fmla="*/ 0 h 73909"/>
                    <a:gd name="connsiteX92" fmla="*/ 86876 w 150191"/>
                    <a:gd name="connsiteY92" fmla="*/ 2078 h 73909"/>
                    <a:gd name="connsiteX93" fmla="*/ 93119 w 150191"/>
                    <a:gd name="connsiteY93" fmla="*/ 5142 h 73909"/>
                    <a:gd name="connsiteX94" fmla="*/ 94521 w 150191"/>
                    <a:gd name="connsiteY94" fmla="*/ 6772 h 73909"/>
                    <a:gd name="connsiteX95" fmla="*/ 93396 w 150191"/>
                    <a:gd name="connsiteY95" fmla="*/ 7612 h 73909"/>
                    <a:gd name="connsiteX96" fmla="*/ 90592 w 150191"/>
                    <a:gd name="connsiteY96" fmla="*/ 8182 h 73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50191" h="73909">
                      <a:moveTo>
                        <a:pt x="89240" y="9046"/>
                      </a:moveTo>
                      <a:lnTo>
                        <a:pt x="86811" y="12966"/>
                      </a:lnTo>
                      <a:lnTo>
                        <a:pt x="85784" y="16511"/>
                      </a:lnTo>
                      <a:lnTo>
                        <a:pt x="78400" y="28043"/>
                      </a:lnTo>
                      <a:lnTo>
                        <a:pt x="77520" y="30113"/>
                      </a:lnTo>
                      <a:lnTo>
                        <a:pt x="81848" y="28320"/>
                      </a:lnTo>
                      <a:lnTo>
                        <a:pt x="85833" y="24384"/>
                      </a:lnTo>
                      <a:lnTo>
                        <a:pt x="88237" y="21132"/>
                      </a:lnTo>
                      <a:lnTo>
                        <a:pt x="90861" y="19046"/>
                      </a:lnTo>
                      <a:lnTo>
                        <a:pt x="93958" y="19005"/>
                      </a:lnTo>
                      <a:lnTo>
                        <a:pt x="97031" y="18255"/>
                      </a:lnTo>
                      <a:lnTo>
                        <a:pt x="102842" y="15501"/>
                      </a:lnTo>
                      <a:lnTo>
                        <a:pt x="108783" y="14295"/>
                      </a:lnTo>
                      <a:lnTo>
                        <a:pt x="111945" y="14335"/>
                      </a:lnTo>
                      <a:lnTo>
                        <a:pt x="115050" y="15647"/>
                      </a:lnTo>
                      <a:lnTo>
                        <a:pt x="116989" y="18704"/>
                      </a:lnTo>
                      <a:lnTo>
                        <a:pt x="119157" y="21189"/>
                      </a:lnTo>
                      <a:lnTo>
                        <a:pt x="126924" y="22999"/>
                      </a:lnTo>
                      <a:lnTo>
                        <a:pt x="128032" y="23667"/>
                      </a:lnTo>
                      <a:lnTo>
                        <a:pt x="128725" y="25696"/>
                      </a:lnTo>
                      <a:lnTo>
                        <a:pt x="128106" y="27872"/>
                      </a:lnTo>
                      <a:lnTo>
                        <a:pt x="132596" y="30130"/>
                      </a:lnTo>
                      <a:lnTo>
                        <a:pt x="138741" y="29135"/>
                      </a:lnTo>
                      <a:lnTo>
                        <a:pt x="142050" y="29722"/>
                      </a:lnTo>
                      <a:lnTo>
                        <a:pt x="145318" y="30945"/>
                      </a:lnTo>
                      <a:lnTo>
                        <a:pt x="146768" y="32900"/>
                      </a:lnTo>
                      <a:lnTo>
                        <a:pt x="148040" y="35248"/>
                      </a:lnTo>
                      <a:lnTo>
                        <a:pt x="149385" y="38589"/>
                      </a:lnTo>
                      <a:lnTo>
                        <a:pt x="150192" y="42207"/>
                      </a:lnTo>
                      <a:lnTo>
                        <a:pt x="149458" y="46902"/>
                      </a:lnTo>
                      <a:lnTo>
                        <a:pt x="137551" y="54245"/>
                      </a:lnTo>
                      <a:lnTo>
                        <a:pt x="135285" y="54897"/>
                      </a:lnTo>
                      <a:lnTo>
                        <a:pt x="129776" y="54424"/>
                      </a:lnTo>
                      <a:lnTo>
                        <a:pt x="124275" y="55133"/>
                      </a:lnTo>
                      <a:lnTo>
                        <a:pt x="109932" y="58947"/>
                      </a:lnTo>
                      <a:lnTo>
                        <a:pt x="92166" y="59069"/>
                      </a:lnTo>
                      <a:lnTo>
                        <a:pt x="87047" y="62443"/>
                      </a:lnTo>
                      <a:lnTo>
                        <a:pt x="85499" y="62354"/>
                      </a:lnTo>
                      <a:lnTo>
                        <a:pt x="83983" y="61767"/>
                      </a:lnTo>
                      <a:lnTo>
                        <a:pt x="82598" y="60618"/>
                      </a:lnTo>
                      <a:lnTo>
                        <a:pt x="71758" y="61579"/>
                      </a:lnTo>
                      <a:lnTo>
                        <a:pt x="59664" y="62125"/>
                      </a:lnTo>
                      <a:lnTo>
                        <a:pt x="47554" y="62248"/>
                      </a:lnTo>
                      <a:lnTo>
                        <a:pt x="43479" y="64676"/>
                      </a:lnTo>
                      <a:lnTo>
                        <a:pt x="31108" y="69419"/>
                      </a:lnTo>
                      <a:lnTo>
                        <a:pt x="19722" y="73013"/>
                      </a:lnTo>
                      <a:lnTo>
                        <a:pt x="13838" y="73910"/>
                      </a:lnTo>
                      <a:lnTo>
                        <a:pt x="5281" y="72956"/>
                      </a:lnTo>
                      <a:lnTo>
                        <a:pt x="2600" y="71742"/>
                      </a:lnTo>
                      <a:lnTo>
                        <a:pt x="0" y="69892"/>
                      </a:lnTo>
                      <a:lnTo>
                        <a:pt x="3765" y="67618"/>
                      </a:lnTo>
                      <a:lnTo>
                        <a:pt x="6422" y="62908"/>
                      </a:lnTo>
                      <a:lnTo>
                        <a:pt x="9690" y="60186"/>
                      </a:lnTo>
                      <a:lnTo>
                        <a:pt x="18157" y="54937"/>
                      </a:lnTo>
                      <a:lnTo>
                        <a:pt x="19111" y="52867"/>
                      </a:lnTo>
                      <a:lnTo>
                        <a:pt x="20749" y="48377"/>
                      </a:lnTo>
                      <a:lnTo>
                        <a:pt x="21727" y="46706"/>
                      </a:lnTo>
                      <a:lnTo>
                        <a:pt x="23015" y="45117"/>
                      </a:lnTo>
                      <a:lnTo>
                        <a:pt x="24066" y="43210"/>
                      </a:lnTo>
                      <a:lnTo>
                        <a:pt x="24197" y="40333"/>
                      </a:lnTo>
                      <a:lnTo>
                        <a:pt x="24726" y="37937"/>
                      </a:lnTo>
                      <a:lnTo>
                        <a:pt x="28002" y="34245"/>
                      </a:lnTo>
                      <a:lnTo>
                        <a:pt x="30472" y="32501"/>
                      </a:lnTo>
                      <a:lnTo>
                        <a:pt x="33047" y="32020"/>
                      </a:lnTo>
                      <a:lnTo>
                        <a:pt x="39404" y="32713"/>
                      </a:lnTo>
                      <a:lnTo>
                        <a:pt x="41384" y="32469"/>
                      </a:lnTo>
                      <a:lnTo>
                        <a:pt x="39950" y="31271"/>
                      </a:lnTo>
                      <a:lnTo>
                        <a:pt x="38915" y="26984"/>
                      </a:lnTo>
                      <a:lnTo>
                        <a:pt x="39127" y="25574"/>
                      </a:lnTo>
                      <a:lnTo>
                        <a:pt x="40040" y="22860"/>
                      </a:lnTo>
                      <a:lnTo>
                        <a:pt x="41629" y="21515"/>
                      </a:lnTo>
                      <a:lnTo>
                        <a:pt x="43251" y="20676"/>
                      </a:lnTo>
                      <a:lnTo>
                        <a:pt x="44171" y="17008"/>
                      </a:lnTo>
                      <a:lnTo>
                        <a:pt x="43780" y="15647"/>
                      </a:lnTo>
                      <a:lnTo>
                        <a:pt x="46177" y="13944"/>
                      </a:lnTo>
                      <a:lnTo>
                        <a:pt x="47350" y="11556"/>
                      </a:lnTo>
                      <a:lnTo>
                        <a:pt x="50186" y="10130"/>
                      </a:lnTo>
                      <a:lnTo>
                        <a:pt x="55956" y="9030"/>
                      </a:lnTo>
                      <a:lnTo>
                        <a:pt x="56258" y="6096"/>
                      </a:lnTo>
                      <a:lnTo>
                        <a:pt x="57138" y="4181"/>
                      </a:lnTo>
                      <a:lnTo>
                        <a:pt x="58442" y="3627"/>
                      </a:lnTo>
                      <a:lnTo>
                        <a:pt x="61367" y="3097"/>
                      </a:lnTo>
                      <a:lnTo>
                        <a:pt x="62932" y="3187"/>
                      </a:lnTo>
                      <a:lnTo>
                        <a:pt x="65108" y="6145"/>
                      </a:lnTo>
                      <a:lnTo>
                        <a:pt x="67414" y="8565"/>
                      </a:lnTo>
                      <a:lnTo>
                        <a:pt x="70471" y="9128"/>
                      </a:lnTo>
                      <a:lnTo>
                        <a:pt x="73519" y="8948"/>
                      </a:lnTo>
                      <a:lnTo>
                        <a:pt x="71685" y="6096"/>
                      </a:lnTo>
                      <a:lnTo>
                        <a:pt x="71766" y="3024"/>
                      </a:lnTo>
                      <a:lnTo>
                        <a:pt x="72875" y="1027"/>
                      </a:lnTo>
                      <a:lnTo>
                        <a:pt x="74293" y="155"/>
                      </a:lnTo>
                      <a:lnTo>
                        <a:pt x="77333" y="0"/>
                      </a:lnTo>
                      <a:lnTo>
                        <a:pt x="86876" y="2078"/>
                      </a:lnTo>
                      <a:lnTo>
                        <a:pt x="93119" y="5142"/>
                      </a:lnTo>
                      <a:lnTo>
                        <a:pt x="94521" y="6772"/>
                      </a:lnTo>
                      <a:lnTo>
                        <a:pt x="93396" y="7612"/>
                      </a:lnTo>
                      <a:lnTo>
                        <a:pt x="90592" y="8182"/>
                      </a:lnTo>
                      <a:close/>
                    </a:path>
                  </a:pathLst>
                </a:custGeom>
                <a:solidFill>
                  <a:srgbClr val="D6D6D2"/>
                </a:solidFill>
                <a:ln w="8150" cap="flat">
                  <a:noFill/>
                  <a:prstDash val="solid"/>
                  <a:miter/>
                </a:ln>
              </p:spPr>
              <p:txBody>
                <a:bodyPr rtlCol="0" anchor="ctr"/>
                <a:lstStyle/>
                <a:p>
                  <a:endParaRPr lang="en-US"/>
                </a:p>
              </p:txBody>
            </p:sp>
            <p:sp>
              <p:nvSpPr>
                <p:cNvPr id="618" name="Freeform: Shape 617">
                  <a:extLst>
                    <a:ext uri="{FF2B5EF4-FFF2-40B4-BE49-F238E27FC236}">
                      <a16:creationId xmlns:a16="http://schemas.microsoft.com/office/drawing/2014/main" id="{A219FCE1-0A73-471F-BC32-AE31BBC414F7}"/>
                    </a:ext>
                  </a:extLst>
                </p:cNvPr>
                <p:cNvSpPr/>
                <p:nvPr/>
              </p:nvSpPr>
              <p:spPr>
                <a:xfrm>
                  <a:off x="7829879" y="1662832"/>
                  <a:ext cx="38132" cy="8875"/>
                </a:xfrm>
                <a:custGeom>
                  <a:avLst/>
                  <a:gdLst>
                    <a:gd name="connsiteX0" fmla="*/ 4898 w 38132"/>
                    <a:gd name="connsiteY0" fmla="*/ 685 h 8875"/>
                    <a:gd name="connsiteX1" fmla="*/ 7962 w 38132"/>
                    <a:gd name="connsiteY1" fmla="*/ 2502 h 8875"/>
                    <a:gd name="connsiteX2" fmla="*/ 10326 w 38132"/>
                    <a:gd name="connsiteY2" fmla="*/ 1084 h 8875"/>
                    <a:gd name="connsiteX3" fmla="*/ 32461 w 38132"/>
                    <a:gd name="connsiteY3" fmla="*/ 5460 h 8875"/>
                    <a:gd name="connsiteX4" fmla="*/ 37155 w 38132"/>
                    <a:gd name="connsiteY4" fmla="*/ 7115 h 8875"/>
                    <a:gd name="connsiteX5" fmla="*/ 38133 w 38132"/>
                    <a:gd name="connsiteY5" fmla="*/ 8248 h 8875"/>
                    <a:gd name="connsiteX6" fmla="*/ 18818 w 38132"/>
                    <a:gd name="connsiteY6" fmla="*/ 8875 h 8875"/>
                    <a:gd name="connsiteX7" fmla="*/ 14825 w 38132"/>
                    <a:gd name="connsiteY7" fmla="*/ 8671 h 8875"/>
                    <a:gd name="connsiteX8" fmla="*/ 14507 w 38132"/>
                    <a:gd name="connsiteY8" fmla="*/ 6088 h 8875"/>
                    <a:gd name="connsiteX9" fmla="*/ 10073 w 38132"/>
                    <a:gd name="connsiteY9" fmla="*/ 6039 h 8875"/>
                    <a:gd name="connsiteX10" fmla="*/ 2535 w 38132"/>
                    <a:gd name="connsiteY10" fmla="*/ 4352 h 8875"/>
                    <a:gd name="connsiteX11" fmla="*/ 505 w 38132"/>
                    <a:gd name="connsiteY11" fmla="*/ 1972 h 8875"/>
                    <a:gd name="connsiteX12" fmla="*/ 0 w 38132"/>
                    <a:gd name="connsiteY12" fmla="*/ 1011 h 8875"/>
                    <a:gd name="connsiteX13" fmla="*/ 2404 w 38132"/>
                    <a:gd name="connsiteY13" fmla="*/ 0 h 8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32" h="8875">
                      <a:moveTo>
                        <a:pt x="4898" y="685"/>
                      </a:moveTo>
                      <a:lnTo>
                        <a:pt x="7962" y="2502"/>
                      </a:lnTo>
                      <a:lnTo>
                        <a:pt x="10326" y="1084"/>
                      </a:lnTo>
                      <a:lnTo>
                        <a:pt x="32461" y="5460"/>
                      </a:lnTo>
                      <a:lnTo>
                        <a:pt x="37155" y="7115"/>
                      </a:lnTo>
                      <a:lnTo>
                        <a:pt x="38133" y="8248"/>
                      </a:lnTo>
                      <a:lnTo>
                        <a:pt x="18818" y="8875"/>
                      </a:lnTo>
                      <a:lnTo>
                        <a:pt x="14825" y="8671"/>
                      </a:lnTo>
                      <a:lnTo>
                        <a:pt x="14507" y="6088"/>
                      </a:lnTo>
                      <a:lnTo>
                        <a:pt x="10073" y="6039"/>
                      </a:lnTo>
                      <a:lnTo>
                        <a:pt x="2535" y="4352"/>
                      </a:lnTo>
                      <a:lnTo>
                        <a:pt x="505" y="1972"/>
                      </a:lnTo>
                      <a:lnTo>
                        <a:pt x="0" y="1011"/>
                      </a:lnTo>
                      <a:lnTo>
                        <a:pt x="2404" y="0"/>
                      </a:lnTo>
                      <a:close/>
                    </a:path>
                  </a:pathLst>
                </a:custGeom>
                <a:solidFill>
                  <a:srgbClr val="D6D6D2"/>
                </a:solidFill>
                <a:ln w="8150" cap="flat">
                  <a:noFill/>
                  <a:prstDash val="solid"/>
                  <a:miter/>
                </a:ln>
              </p:spPr>
              <p:txBody>
                <a:bodyPr rtlCol="0" anchor="ctr"/>
                <a:lstStyle/>
                <a:p>
                  <a:endParaRPr lang="en-US"/>
                </a:p>
              </p:txBody>
            </p:sp>
            <p:sp>
              <p:nvSpPr>
                <p:cNvPr id="619" name="Freeform: Shape 618">
                  <a:extLst>
                    <a:ext uri="{FF2B5EF4-FFF2-40B4-BE49-F238E27FC236}">
                      <a16:creationId xmlns:a16="http://schemas.microsoft.com/office/drawing/2014/main" id="{5CE92852-F783-4A18-AA91-70CDC7246FC9}"/>
                    </a:ext>
                  </a:extLst>
                </p:cNvPr>
                <p:cNvSpPr/>
                <p:nvPr/>
              </p:nvSpPr>
              <p:spPr>
                <a:xfrm>
                  <a:off x="8202388" y="1643094"/>
                  <a:ext cx="67765" cy="19176"/>
                </a:xfrm>
                <a:custGeom>
                  <a:avLst/>
                  <a:gdLst>
                    <a:gd name="connsiteX0" fmla="*/ 40007 w 67765"/>
                    <a:gd name="connsiteY0" fmla="*/ 18695 h 19176"/>
                    <a:gd name="connsiteX1" fmla="*/ 33976 w 67765"/>
                    <a:gd name="connsiteY1" fmla="*/ 19176 h 19176"/>
                    <a:gd name="connsiteX2" fmla="*/ 26862 w 67765"/>
                    <a:gd name="connsiteY2" fmla="*/ 18712 h 19176"/>
                    <a:gd name="connsiteX3" fmla="*/ 15199 w 67765"/>
                    <a:gd name="connsiteY3" fmla="*/ 13333 h 19176"/>
                    <a:gd name="connsiteX4" fmla="*/ 7588 w 67765"/>
                    <a:gd name="connsiteY4" fmla="*/ 11051 h 19176"/>
                    <a:gd name="connsiteX5" fmla="*/ 1369 w 67765"/>
                    <a:gd name="connsiteY5" fmla="*/ 7514 h 19176"/>
                    <a:gd name="connsiteX6" fmla="*/ 0 w 67765"/>
                    <a:gd name="connsiteY6" fmla="*/ 3610 h 19176"/>
                    <a:gd name="connsiteX7" fmla="*/ 3936 w 67765"/>
                    <a:gd name="connsiteY7" fmla="*/ 1092 h 19176"/>
                    <a:gd name="connsiteX8" fmla="*/ 8810 w 67765"/>
                    <a:gd name="connsiteY8" fmla="*/ 155 h 19176"/>
                    <a:gd name="connsiteX9" fmla="*/ 16894 w 67765"/>
                    <a:gd name="connsiteY9" fmla="*/ 0 h 19176"/>
                    <a:gd name="connsiteX10" fmla="*/ 27342 w 67765"/>
                    <a:gd name="connsiteY10" fmla="*/ 342 h 19176"/>
                    <a:gd name="connsiteX11" fmla="*/ 37750 w 67765"/>
                    <a:gd name="connsiteY11" fmla="*/ 2836 h 19176"/>
                    <a:gd name="connsiteX12" fmla="*/ 59803 w 67765"/>
                    <a:gd name="connsiteY12" fmla="*/ 5664 h 19176"/>
                    <a:gd name="connsiteX13" fmla="*/ 67765 w 67765"/>
                    <a:gd name="connsiteY13" fmla="*/ 7530 h 19176"/>
                    <a:gd name="connsiteX14" fmla="*/ 62818 w 67765"/>
                    <a:gd name="connsiteY14" fmla="*/ 12005 h 19176"/>
                    <a:gd name="connsiteX15" fmla="*/ 57325 w 67765"/>
                    <a:gd name="connsiteY15" fmla="*/ 13675 h 19176"/>
                    <a:gd name="connsiteX16" fmla="*/ 51702 w 67765"/>
                    <a:gd name="connsiteY16" fmla="*/ 16022 h 19176"/>
                    <a:gd name="connsiteX17" fmla="*/ 46013 w 67765"/>
                    <a:gd name="connsiteY17" fmla="*/ 17701 h 1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765" h="19176">
                      <a:moveTo>
                        <a:pt x="40007" y="18695"/>
                      </a:moveTo>
                      <a:lnTo>
                        <a:pt x="33976" y="19176"/>
                      </a:lnTo>
                      <a:lnTo>
                        <a:pt x="26862" y="18712"/>
                      </a:lnTo>
                      <a:lnTo>
                        <a:pt x="15199" y="13333"/>
                      </a:lnTo>
                      <a:lnTo>
                        <a:pt x="7588" y="11051"/>
                      </a:lnTo>
                      <a:lnTo>
                        <a:pt x="1369" y="7514"/>
                      </a:lnTo>
                      <a:lnTo>
                        <a:pt x="0" y="3610"/>
                      </a:lnTo>
                      <a:lnTo>
                        <a:pt x="3936" y="1092"/>
                      </a:lnTo>
                      <a:lnTo>
                        <a:pt x="8810" y="155"/>
                      </a:lnTo>
                      <a:lnTo>
                        <a:pt x="16894" y="0"/>
                      </a:lnTo>
                      <a:lnTo>
                        <a:pt x="27342" y="342"/>
                      </a:lnTo>
                      <a:lnTo>
                        <a:pt x="37750" y="2836"/>
                      </a:lnTo>
                      <a:lnTo>
                        <a:pt x="59803" y="5664"/>
                      </a:lnTo>
                      <a:lnTo>
                        <a:pt x="67765" y="7530"/>
                      </a:lnTo>
                      <a:lnTo>
                        <a:pt x="62818" y="12005"/>
                      </a:lnTo>
                      <a:lnTo>
                        <a:pt x="57325" y="13675"/>
                      </a:lnTo>
                      <a:lnTo>
                        <a:pt x="51702" y="16022"/>
                      </a:lnTo>
                      <a:lnTo>
                        <a:pt x="46013" y="17701"/>
                      </a:lnTo>
                      <a:close/>
                    </a:path>
                  </a:pathLst>
                </a:custGeom>
                <a:solidFill>
                  <a:srgbClr val="D6D6D2"/>
                </a:solidFill>
                <a:ln w="8150" cap="flat">
                  <a:noFill/>
                  <a:prstDash val="solid"/>
                  <a:miter/>
                </a:ln>
              </p:spPr>
              <p:txBody>
                <a:bodyPr rtlCol="0" anchor="ctr"/>
                <a:lstStyle/>
                <a:p>
                  <a:endParaRPr lang="en-US"/>
                </a:p>
              </p:txBody>
            </p:sp>
            <p:sp>
              <p:nvSpPr>
                <p:cNvPr id="620" name="Freeform: Shape 619">
                  <a:extLst>
                    <a:ext uri="{FF2B5EF4-FFF2-40B4-BE49-F238E27FC236}">
                      <a16:creationId xmlns:a16="http://schemas.microsoft.com/office/drawing/2014/main" id="{50E346A3-BD07-450E-84A3-80194FBD9DAC}"/>
                    </a:ext>
                  </a:extLst>
                </p:cNvPr>
                <p:cNvSpPr/>
                <p:nvPr/>
              </p:nvSpPr>
              <p:spPr>
                <a:xfrm>
                  <a:off x="7186010" y="1640942"/>
                  <a:ext cx="33332" cy="8866"/>
                </a:xfrm>
                <a:custGeom>
                  <a:avLst/>
                  <a:gdLst>
                    <a:gd name="connsiteX0" fmla="*/ 32688 w 33332"/>
                    <a:gd name="connsiteY0" fmla="*/ 7661 h 8866"/>
                    <a:gd name="connsiteX1" fmla="*/ 33333 w 33332"/>
                    <a:gd name="connsiteY1" fmla="*/ 8296 h 8866"/>
                    <a:gd name="connsiteX2" fmla="*/ 33235 w 33332"/>
                    <a:gd name="connsiteY2" fmla="*/ 8867 h 8866"/>
                    <a:gd name="connsiteX3" fmla="*/ 24433 w 33332"/>
                    <a:gd name="connsiteY3" fmla="*/ 8288 h 8866"/>
                    <a:gd name="connsiteX4" fmla="*/ 8997 w 33332"/>
                    <a:gd name="connsiteY4" fmla="*/ 8663 h 8866"/>
                    <a:gd name="connsiteX5" fmla="*/ 0 w 33332"/>
                    <a:gd name="connsiteY5" fmla="*/ 5803 h 8866"/>
                    <a:gd name="connsiteX6" fmla="*/ 9454 w 33332"/>
                    <a:gd name="connsiteY6" fmla="*/ 3007 h 8866"/>
                    <a:gd name="connsiteX7" fmla="*/ 14498 w 33332"/>
                    <a:gd name="connsiteY7" fmla="*/ 2347 h 8866"/>
                    <a:gd name="connsiteX8" fmla="*/ 20945 w 33332"/>
                    <a:gd name="connsiteY8" fmla="*/ 0 h 8866"/>
                    <a:gd name="connsiteX9" fmla="*/ 28842 w 33332"/>
                    <a:gd name="connsiteY9" fmla="*/ 2339 h 8866"/>
                    <a:gd name="connsiteX10" fmla="*/ 28427 w 33332"/>
                    <a:gd name="connsiteY10" fmla="*/ 4287 h 8866"/>
                    <a:gd name="connsiteX11" fmla="*/ 28557 w 33332"/>
                    <a:gd name="connsiteY11" fmla="*/ 5265 h 8866"/>
                    <a:gd name="connsiteX12" fmla="*/ 30651 w 33332"/>
                    <a:gd name="connsiteY12" fmla="*/ 6226 h 8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332" h="8866">
                      <a:moveTo>
                        <a:pt x="32688" y="7661"/>
                      </a:moveTo>
                      <a:lnTo>
                        <a:pt x="33333" y="8296"/>
                      </a:lnTo>
                      <a:lnTo>
                        <a:pt x="33235" y="8867"/>
                      </a:lnTo>
                      <a:lnTo>
                        <a:pt x="24433" y="8288"/>
                      </a:lnTo>
                      <a:lnTo>
                        <a:pt x="8997" y="8663"/>
                      </a:lnTo>
                      <a:lnTo>
                        <a:pt x="0" y="5803"/>
                      </a:lnTo>
                      <a:lnTo>
                        <a:pt x="9454" y="3007"/>
                      </a:lnTo>
                      <a:lnTo>
                        <a:pt x="14498" y="2347"/>
                      </a:lnTo>
                      <a:lnTo>
                        <a:pt x="20945" y="0"/>
                      </a:lnTo>
                      <a:lnTo>
                        <a:pt x="28842" y="2339"/>
                      </a:lnTo>
                      <a:lnTo>
                        <a:pt x="28427" y="4287"/>
                      </a:lnTo>
                      <a:lnTo>
                        <a:pt x="28557" y="5265"/>
                      </a:lnTo>
                      <a:lnTo>
                        <a:pt x="30651" y="6226"/>
                      </a:lnTo>
                      <a:close/>
                    </a:path>
                  </a:pathLst>
                </a:custGeom>
                <a:solidFill>
                  <a:srgbClr val="D6D6D2"/>
                </a:solidFill>
                <a:ln w="8150" cap="flat">
                  <a:noFill/>
                  <a:prstDash val="solid"/>
                  <a:miter/>
                </a:ln>
              </p:spPr>
              <p:txBody>
                <a:bodyPr rtlCol="0" anchor="ctr"/>
                <a:lstStyle/>
                <a:p>
                  <a:endParaRPr lang="en-US"/>
                </a:p>
              </p:txBody>
            </p:sp>
            <p:sp>
              <p:nvSpPr>
                <p:cNvPr id="621" name="Freeform: Shape 620">
                  <a:extLst>
                    <a:ext uri="{FF2B5EF4-FFF2-40B4-BE49-F238E27FC236}">
                      <a16:creationId xmlns:a16="http://schemas.microsoft.com/office/drawing/2014/main" id="{FBFCFFA6-A146-49A7-930D-4A63F1ACC6CF}"/>
                    </a:ext>
                  </a:extLst>
                </p:cNvPr>
                <p:cNvSpPr/>
                <p:nvPr/>
              </p:nvSpPr>
              <p:spPr>
                <a:xfrm>
                  <a:off x="7404952" y="1639695"/>
                  <a:ext cx="24612" cy="9991"/>
                </a:xfrm>
                <a:custGeom>
                  <a:avLst/>
                  <a:gdLst>
                    <a:gd name="connsiteX0" fmla="*/ 19095 w 24612"/>
                    <a:gd name="connsiteY0" fmla="*/ 8321 h 9991"/>
                    <a:gd name="connsiteX1" fmla="*/ 10212 w 24612"/>
                    <a:gd name="connsiteY1" fmla="*/ 9992 h 9991"/>
                    <a:gd name="connsiteX2" fmla="*/ 7041 w 24612"/>
                    <a:gd name="connsiteY2" fmla="*/ 9478 h 9991"/>
                    <a:gd name="connsiteX3" fmla="*/ 6210 w 24612"/>
                    <a:gd name="connsiteY3" fmla="*/ 8704 h 9991"/>
                    <a:gd name="connsiteX4" fmla="*/ 4499 w 24612"/>
                    <a:gd name="connsiteY4" fmla="*/ 7897 h 9991"/>
                    <a:gd name="connsiteX5" fmla="*/ 0 w 24612"/>
                    <a:gd name="connsiteY5" fmla="*/ 6846 h 9991"/>
                    <a:gd name="connsiteX6" fmla="*/ 669 w 24612"/>
                    <a:gd name="connsiteY6" fmla="*/ 3896 h 9991"/>
                    <a:gd name="connsiteX7" fmla="*/ 2046 w 24612"/>
                    <a:gd name="connsiteY7" fmla="*/ 3309 h 9991"/>
                    <a:gd name="connsiteX8" fmla="*/ 15525 w 24612"/>
                    <a:gd name="connsiteY8" fmla="*/ 0 h 9991"/>
                    <a:gd name="connsiteX9" fmla="*/ 21898 w 24612"/>
                    <a:gd name="connsiteY9" fmla="*/ 1850 h 9991"/>
                    <a:gd name="connsiteX10" fmla="*/ 24612 w 24612"/>
                    <a:gd name="connsiteY10" fmla="*/ 6357 h 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12" h="9991">
                      <a:moveTo>
                        <a:pt x="19095" y="8321"/>
                      </a:moveTo>
                      <a:lnTo>
                        <a:pt x="10212" y="9992"/>
                      </a:lnTo>
                      <a:lnTo>
                        <a:pt x="7041" y="9478"/>
                      </a:lnTo>
                      <a:lnTo>
                        <a:pt x="6210" y="8704"/>
                      </a:lnTo>
                      <a:lnTo>
                        <a:pt x="4499" y="7897"/>
                      </a:lnTo>
                      <a:lnTo>
                        <a:pt x="0" y="6846"/>
                      </a:lnTo>
                      <a:lnTo>
                        <a:pt x="669" y="3896"/>
                      </a:lnTo>
                      <a:lnTo>
                        <a:pt x="2046" y="3309"/>
                      </a:lnTo>
                      <a:lnTo>
                        <a:pt x="15525" y="0"/>
                      </a:lnTo>
                      <a:lnTo>
                        <a:pt x="21898" y="1850"/>
                      </a:lnTo>
                      <a:lnTo>
                        <a:pt x="24612" y="6357"/>
                      </a:lnTo>
                      <a:close/>
                    </a:path>
                  </a:pathLst>
                </a:custGeom>
                <a:solidFill>
                  <a:srgbClr val="D6D6D2"/>
                </a:solidFill>
                <a:ln w="8150" cap="flat">
                  <a:noFill/>
                  <a:prstDash val="solid"/>
                  <a:miter/>
                </a:ln>
              </p:spPr>
              <p:txBody>
                <a:bodyPr rtlCol="0" anchor="ctr"/>
                <a:lstStyle/>
                <a:p>
                  <a:endParaRPr lang="en-US"/>
                </a:p>
              </p:txBody>
            </p:sp>
            <p:sp>
              <p:nvSpPr>
                <p:cNvPr id="622" name="Freeform: Shape 621">
                  <a:extLst>
                    <a:ext uri="{FF2B5EF4-FFF2-40B4-BE49-F238E27FC236}">
                      <a16:creationId xmlns:a16="http://schemas.microsoft.com/office/drawing/2014/main" id="{2319BC0C-DCDC-4BE9-B941-EF4ADC19EA49}"/>
                    </a:ext>
                  </a:extLst>
                </p:cNvPr>
                <p:cNvSpPr/>
                <p:nvPr/>
              </p:nvSpPr>
              <p:spPr>
                <a:xfrm>
                  <a:off x="8252003" y="1637161"/>
                  <a:ext cx="173369" cy="69900"/>
                </a:xfrm>
                <a:custGeom>
                  <a:avLst/>
                  <a:gdLst>
                    <a:gd name="connsiteX0" fmla="*/ 114178 w 173369"/>
                    <a:gd name="connsiteY0" fmla="*/ 513 h 69900"/>
                    <a:gd name="connsiteX1" fmla="*/ 119858 w 173369"/>
                    <a:gd name="connsiteY1" fmla="*/ 3749 h 69900"/>
                    <a:gd name="connsiteX2" fmla="*/ 122694 w 173369"/>
                    <a:gd name="connsiteY2" fmla="*/ 7433 h 69900"/>
                    <a:gd name="connsiteX3" fmla="*/ 119931 w 173369"/>
                    <a:gd name="connsiteY3" fmla="*/ 8411 h 69900"/>
                    <a:gd name="connsiteX4" fmla="*/ 117478 w 173369"/>
                    <a:gd name="connsiteY4" fmla="*/ 10831 h 69900"/>
                    <a:gd name="connsiteX5" fmla="*/ 116288 w 173369"/>
                    <a:gd name="connsiteY5" fmla="*/ 13912 h 69900"/>
                    <a:gd name="connsiteX6" fmla="*/ 112996 w 173369"/>
                    <a:gd name="connsiteY6" fmla="*/ 16218 h 69900"/>
                    <a:gd name="connsiteX7" fmla="*/ 112116 w 173369"/>
                    <a:gd name="connsiteY7" fmla="*/ 20065 h 69900"/>
                    <a:gd name="connsiteX8" fmla="*/ 113615 w 173369"/>
                    <a:gd name="connsiteY8" fmla="*/ 20790 h 69900"/>
                    <a:gd name="connsiteX9" fmla="*/ 115416 w 173369"/>
                    <a:gd name="connsiteY9" fmla="*/ 19730 h 69900"/>
                    <a:gd name="connsiteX10" fmla="*/ 119043 w 173369"/>
                    <a:gd name="connsiteY10" fmla="*/ 16112 h 69900"/>
                    <a:gd name="connsiteX11" fmla="*/ 123843 w 173369"/>
                    <a:gd name="connsiteY11" fmla="*/ 13635 h 69900"/>
                    <a:gd name="connsiteX12" fmla="*/ 129018 w 173369"/>
                    <a:gd name="connsiteY12" fmla="*/ 15020 h 69900"/>
                    <a:gd name="connsiteX13" fmla="*/ 131007 w 173369"/>
                    <a:gd name="connsiteY13" fmla="*/ 14498 h 69900"/>
                    <a:gd name="connsiteX14" fmla="*/ 134625 w 173369"/>
                    <a:gd name="connsiteY14" fmla="*/ 10994 h 69900"/>
                    <a:gd name="connsiteX15" fmla="*/ 133949 w 173369"/>
                    <a:gd name="connsiteY15" fmla="*/ 8133 h 69900"/>
                    <a:gd name="connsiteX16" fmla="*/ 135441 w 173369"/>
                    <a:gd name="connsiteY16" fmla="*/ 6373 h 69900"/>
                    <a:gd name="connsiteX17" fmla="*/ 137038 w 173369"/>
                    <a:gd name="connsiteY17" fmla="*/ 5941 h 69900"/>
                    <a:gd name="connsiteX18" fmla="*/ 143729 w 173369"/>
                    <a:gd name="connsiteY18" fmla="*/ 6283 h 69900"/>
                    <a:gd name="connsiteX19" fmla="*/ 154364 w 173369"/>
                    <a:gd name="connsiteY19" fmla="*/ 7759 h 69900"/>
                    <a:gd name="connsiteX20" fmla="*/ 156247 w 173369"/>
                    <a:gd name="connsiteY20" fmla="*/ 9291 h 69900"/>
                    <a:gd name="connsiteX21" fmla="*/ 158773 w 173369"/>
                    <a:gd name="connsiteY21" fmla="*/ 10122 h 69900"/>
                    <a:gd name="connsiteX22" fmla="*/ 160354 w 173369"/>
                    <a:gd name="connsiteY22" fmla="*/ 11589 h 69900"/>
                    <a:gd name="connsiteX23" fmla="*/ 165073 w 173369"/>
                    <a:gd name="connsiteY23" fmla="*/ 12681 h 69900"/>
                    <a:gd name="connsiteX24" fmla="*/ 167347 w 173369"/>
                    <a:gd name="connsiteY24" fmla="*/ 13789 h 69900"/>
                    <a:gd name="connsiteX25" fmla="*/ 170525 w 173369"/>
                    <a:gd name="connsiteY25" fmla="*/ 16299 h 69900"/>
                    <a:gd name="connsiteX26" fmla="*/ 173369 w 173369"/>
                    <a:gd name="connsiteY26" fmla="*/ 19951 h 69900"/>
                    <a:gd name="connsiteX27" fmla="*/ 169767 w 173369"/>
                    <a:gd name="connsiteY27" fmla="*/ 21923 h 69900"/>
                    <a:gd name="connsiteX28" fmla="*/ 167860 w 173369"/>
                    <a:gd name="connsiteY28" fmla="*/ 25452 h 69900"/>
                    <a:gd name="connsiteX29" fmla="*/ 167037 w 173369"/>
                    <a:gd name="connsiteY29" fmla="*/ 26250 h 69900"/>
                    <a:gd name="connsiteX30" fmla="*/ 166434 w 173369"/>
                    <a:gd name="connsiteY30" fmla="*/ 27513 h 69900"/>
                    <a:gd name="connsiteX31" fmla="*/ 166173 w 173369"/>
                    <a:gd name="connsiteY31" fmla="*/ 30586 h 69900"/>
                    <a:gd name="connsiteX32" fmla="*/ 165619 w 173369"/>
                    <a:gd name="connsiteY32" fmla="*/ 33243 h 69900"/>
                    <a:gd name="connsiteX33" fmla="*/ 164934 w 173369"/>
                    <a:gd name="connsiteY33" fmla="*/ 34433 h 69900"/>
                    <a:gd name="connsiteX34" fmla="*/ 164568 w 173369"/>
                    <a:gd name="connsiteY34" fmla="*/ 35859 h 69900"/>
                    <a:gd name="connsiteX35" fmla="*/ 164943 w 173369"/>
                    <a:gd name="connsiteY35" fmla="*/ 39828 h 69900"/>
                    <a:gd name="connsiteX36" fmla="*/ 163932 w 173369"/>
                    <a:gd name="connsiteY36" fmla="*/ 42949 h 69900"/>
                    <a:gd name="connsiteX37" fmla="*/ 160379 w 173369"/>
                    <a:gd name="connsiteY37" fmla="*/ 45321 h 69900"/>
                    <a:gd name="connsiteX38" fmla="*/ 156662 w 173369"/>
                    <a:gd name="connsiteY38" fmla="*/ 45402 h 69900"/>
                    <a:gd name="connsiteX39" fmla="*/ 151194 w 173369"/>
                    <a:gd name="connsiteY39" fmla="*/ 43813 h 69900"/>
                    <a:gd name="connsiteX40" fmla="*/ 149637 w 173369"/>
                    <a:gd name="connsiteY40" fmla="*/ 43862 h 69900"/>
                    <a:gd name="connsiteX41" fmla="*/ 148088 w 173369"/>
                    <a:gd name="connsiteY41" fmla="*/ 44481 h 69900"/>
                    <a:gd name="connsiteX42" fmla="*/ 154927 w 173369"/>
                    <a:gd name="connsiteY42" fmla="*/ 47806 h 69900"/>
                    <a:gd name="connsiteX43" fmla="*/ 159881 w 173369"/>
                    <a:gd name="connsiteY43" fmla="*/ 52696 h 69900"/>
                    <a:gd name="connsiteX44" fmla="*/ 165676 w 173369"/>
                    <a:gd name="connsiteY44" fmla="*/ 53829 h 69900"/>
                    <a:gd name="connsiteX45" fmla="*/ 167257 w 173369"/>
                    <a:gd name="connsiteY45" fmla="*/ 54424 h 69900"/>
                    <a:gd name="connsiteX46" fmla="*/ 169360 w 173369"/>
                    <a:gd name="connsiteY46" fmla="*/ 58931 h 69900"/>
                    <a:gd name="connsiteX47" fmla="*/ 170101 w 173369"/>
                    <a:gd name="connsiteY47" fmla="*/ 61188 h 69900"/>
                    <a:gd name="connsiteX48" fmla="*/ 160452 w 173369"/>
                    <a:gd name="connsiteY48" fmla="*/ 66640 h 69900"/>
                    <a:gd name="connsiteX49" fmla="*/ 157950 w 173369"/>
                    <a:gd name="connsiteY49" fmla="*/ 67569 h 69900"/>
                    <a:gd name="connsiteX50" fmla="*/ 142572 w 173369"/>
                    <a:gd name="connsiteY50" fmla="*/ 68376 h 69900"/>
                    <a:gd name="connsiteX51" fmla="*/ 132450 w 173369"/>
                    <a:gd name="connsiteY51" fmla="*/ 69900 h 69900"/>
                    <a:gd name="connsiteX52" fmla="*/ 129255 w 173369"/>
                    <a:gd name="connsiteY52" fmla="*/ 69542 h 69900"/>
                    <a:gd name="connsiteX53" fmla="*/ 123591 w 173369"/>
                    <a:gd name="connsiteY53" fmla="*/ 68238 h 69900"/>
                    <a:gd name="connsiteX54" fmla="*/ 119899 w 173369"/>
                    <a:gd name="connsiteY54" fmla="*/ 68784 h 69900"/>
                    <a:gd name="connsiteX55" fmla="*/ 114520 w 173369"/>
                    <a:gd name="connsiteY55" fmla="*/ 67920 h 69900"/>
                    <a:gd name="connsiteX56" fmla="*/ 111219 w 173369"/>
                    <a:gd name="connsiteY56" fmla="*/ 67961 h 69900"/>
                    <a:gd name="connsiteX57" fmla="*/ 103608 w 173369"/>
                    <a:gd name="connsiteY57" fmla="*/ 65882 h 69900"/>
                    <a:gd name="connsiteX58" fmla="*/ 95776 w 173369"/>
                    <a:gd name="connsiteY58" fmla="*/ 62574 h 69900"/>
                    <a:gd name="connsiteX59" fmla="*/ 94252 w 173369"/>
                    <a:gd name="connsiteY59" fmla="*/ 61074 h 69900"/>
                    <a:gd name="connsiteX60" fmla="*/ 92679 w 173369"/>
                    <a:gd name="connsiteY60" fmla="*/ 59998 h 69900"/>
                    <a:gd name="connsiteX61" fmla="*/ 83306 w 173369"/>
                    <a:gd name="connsiteY61" fmla="*/ 59094 h 69900"/>
                    <a:gd name="connsiteX62" fmla="*/ 81261 w 173369"/>
                    <a:gd name="connsiteY62" fmla="*/ 58442 h 69900"/>
                    <a:gd name="connsiteX63" fmla="*/ 67602 w 173369"/>
                    <a:gd name="connsiteY63" fmla="*/ 59175 h 69900"/>
                    <a:gd name="connsiteX64" fmla="*/ 65279 w 173369"/>
                    <a:gd name="connsiteY64" fmla="*/ 58645 h 69900"/>
                    <a:gd name="connsiteX65" fmla="*/ 61017 w 173369"/>
                    <a:gd name="connsiteY65" fmla="*/ 54310 h 69900"/>
                    <a:gd name="connsiteX66" fmla="*/ 58678 w 173369"/>
                    <a:gd name="connsiteY66" fmla="*/ 54253 h 69900"/>
                    <a:gd name="connsiteX67" fmla="*/ 51139 w 173369"/>
                    <a:gd name="connsiteY67" fmla="*/ 56755 h 69900"/>
                    <a:gd name="connsiteX68" fmla="*/ 48336 w 173369"/>
                    <a:gd name="connsiteY68" fmla="*/ 56592 h 69900"/>
                    <a:gd name="connsiteX69" fmla="*/ 42656 w 173369"/>
                    <a:gd name="connsiteY69" fmla="*/ 54888 h 69900"/>
                    <a:gd name="connsiteX70" fmla="*/ 39208 w 173369"/>
                    <a:gd name="connsiteY70" fmla="*/ 52835 h 69900"/>
                    <a:gd name="connsiteX71" fmla="*/ 38711 w 173369"/>
                    <a:gd name="connsiteY71" fmla="*/ 52158 h 69900"/>
                    <a:gd name="connsiteX72" fmla="*/ 38410 w 173369"/>
                    <a:gd name="connsiteY72" fmla="*/ 49559 h 69900"/>
                    <a:gd name="connsiteX73" fmla="*/ 34995 w 173369"/>
                    <a:gd name="connsiteY73" fmla="*/ 48246 h 69900"/>
                    <a:gd name="connsiteX74" fmla="*/ 30822 w 173369"/>
                    <a:gd name="connsiteY74" fmla="*/ 43748 h 69900"/>
                    <a:gd name="connsiteX75" fmla="*/ 28459 w 173369"/>
                    <a:gd name="connsiteY75" fmla="*/ 38964 h 69900"/>
                    <a:gd name="connsiteX76" fmla="*/ 17049 w 173369"/>
                    <a:gd name="connsiteY76" fmla="*/ 36470 h 69900"/>
                    <a:gd name="connsiteX77" fmla="*/ 10106 w 173369"/>
                    <a:gd name="connsiteY77" fmla="*/ 35900 h 69900"/>
                    <a:gd name="connsiteX78" fmla="*/ 4988 w 173369"/>
                    <a:gd name="connsiteY78" fmla="*/ 36120 h 69900"/>
                    <a:gd name="connsiteX79" fmla="*/ 0 w 173369"/>
                    <a:gd name="connsiteY79" fmla="*/ 34253 h 69900"/>
                    <a:gd name="connsiteX80" fmla="*/ 8272 w 173369"/>
                    <a:gd name="connsiteY80" fmla="*/ 27350 h 69900"/>
                    <a:gd name="connsiteX81" fmla="*/ 19250 w 173369"/>
                    <a:gd name="connsiteY81" fmla="*/ 23789 h 69900"/>
                    <a:gd name="connsiteX82" fmla="*/ 23985 w 173369"/>
                    <a:gd name="connsiteY82" fmla="*/ 21026 h 69900"/>
                    <a:gd name="connsiteX83" fmla="*/ 29412 w 173369"/>
                    <a:gd name="connsiteY83" fmla="*/ 17277 h 69900"/>
                    <a:gd name="connsiteX84" fmla="*/ 31653 w 173369"/>
                    <a:gd name="connsiteY84" fmla="*/ 11564 h 69900"/>
                    <a:gd name="connsiteX85" fmla="*/ 40871 w 173369"/>
                    <a:gd name="connsiteY85" fmla="*/ 8019 h 69900"/>
                    <a:gd name="connsiteX86" fmla="*/ 43251 w 173369"/>
                    <a:gd name="connsiteY86" fmla="*/ 6821 h 69900"/>
                    <a:gd name="connsiteX87" fmla="*/ 46519 w 173369"/>
                    <a:gd name="connsiteY87" fmla="*/ 4042 h 69900"/>
                    <a:gd name="connsiteX88" fmla="*/ 47521 w 173369"/>
                    <a:gd name="connsiteY88" fmla="*/ 3651 h 69900"/>
                    <a:gd name="connsiteX89" fmla="*/ 54815 w 173369"/>
                    <a:gd name="connsiteY89" fmla="*/ 7041 h 69900"/>
                    <a:gd name="connsiteX90" fmla="*/ 56225 w 173369"/>
                    <a:gd name="connsiteY90" fmla="*/ 6455 h 69900"/>
                    <a:gd name="connsiteX91" fmla="*/ 57529 w 173369"/>
                    <a:gd name="connsiteY91" fmla="*/ 4882 h 69900"/>
                    <a:gd name="connsiteX92" fmla="*/ 60186 w 173369"/>
                    <a:gd name="connsiteY92" fmla="*/ 3203 h 69900"/>
                    <a:gd name="connsiteX93" fmla="*/ 69118 w 173369"/>
                    <a:gd name="connsiteY93" fmla="*/ 2983 h 69900"/>
                    <a:gd name="connsiteX94" fmla="*/ 76672 w 173369"/>
                    <a:gd name="connsiteY94" fmla="*/ 3651 h 69900"/>
                    <a:gd name="connsiteX95" fmla="*/ 79525 w 173369"/>
                    <a:gd name="connsiteY95" fmla="*/ 2975 h 69900"/>
                    <a:gd name="connsiteX96" fmla="*/ 82981 w 173369"/>
                    <a:gd name="connsiteY96" fmla="*/ 3268 h 69900"/>
                    <a:gd name="connsiteX97" fmla="*/ 100437 w 173369"/>
                    <a:gd name="connsiteY97" fmla="*/ 782 h 69900"/>
                    <a:gd name="connsiteX98" fmla="*/ 111994 w 173369"/>
                    <a:gd name="connsiteY98" fmla="*/ 0 h 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73369" h="69900">
                      <a:moveTo>
                        <a:pt x="114178" y="513"/>
                      </a:moveTo>
                      <a:lnTo>
                        <a:pt x="119858" y="3749"/>
                      </a:lnTo>
                      <a:lnTo>
                        <a:pt x="122694" y="7433"/>
                      </a:lnTo>
                      <a:lnTo>
                        <a:pt x="119931" y="8411"/>
                      </a:lnTo>
                      <a:lnTo>
                        <a:pt x="117478" y="10831"/>
                      </a:lnTo>
                      <a:lnTo>
                        <a:pt x="116288" y="13912"/>
                      </a:lnTo>
                      <a:lnTo>
                        <a:pt x="112996" y="16218"/>
                      </a:lnTo>
                      <a:lnTo>
                        <a:pt x="112116" y="20065"/>
                      </a:lnTo>
                      <a:lnTo>
                        <a:pt x="113615" y="20790"/>
                      </a:lnTo>
                      <a:lnTo>
                        <a:pt x="115416" y="19730"/>
                      </a:lnTo>
                      <a:lnTo>
                        <a:pt x="119043" y="16112"/>
                      </a:lnTo>
                      <a:lnTo>
                        <a:pt x="123843" y="13635"/>
                      </a:lnTo>
                      <a:lnTo>
                        <a:pt x="129018" y="15020"/>
                      </a:lnTo>
                      <a:lnTo>
                        <a:pt x="131007" y="14498"/>
                      </a:lnTo>
                      <a:lnTo>
                        <a:pt x="134625" y="10994"/>
                      </a:lnTo>
                      <a:lnTo>
                        <a:pt x="133949" y="8133"/>
                      </a:lnTo>
                      <a:lnTo>
                        <a:pt x="135441" y="6373"/>
                      </a:lnTo>
                      <a:lnTo>
                        <a:pt x="137038" y="5941"/>
                      </a:lnTo>
                      <a:lnTo>
                        <a:pt x="143729" y="6283"/>
                      </a:lnTo>
                      <a:lnTo>
                        <a:pt x="154364" y="7759"/>
                      </a:lnTo>
                      <a:lnTo>
                        <a:pt x="156247" y="9291"/>
                      </a:lnTo>
                      <a:lnTo>
                        <a:pt x="158773" y="10122"/>
                      </a:lnTo>
                      <a:lnTo>
                        <a:pt x="160354" y="11589"/>
                      </a:lnTo>
                      <a:lnTo>
                        <a:pt x="165073" y="12681"/>
                      </a:lnTo>
                      <a:lnTo>
                        <a:pt x="167347" y="13789"/>
                      </a:lnTo>
                      <a:lnTo>
                        <a:pt x="170525" y="16299"/>
                      </a:lnTo>
                      <a:lnTo>
                        <a:pt x="173369" y="19951"/>
                      </a:lnTo>
                      <a:lnTo>
                        <a:pt x="169767" y="21923"/>
                      </a:lnTo>
                      <a:lnTo>
                        <a:pt x="167860" y="25452"/>
                      </a:lnTo>
                      <a:lnTo>
                        <a:pt x="167037" y="26250"/>
                      </a:lnTo>
                      <a:lnTo>
                        <a:pt x="166434" y="27513"/>
                      </a:lnTo>
                      <a:lnTo>
                        <a:pt x="166173" y="30586"/>
                      </a:lnTo>
                      <a:lnTo>
                        <a:pt x="165619" y="33243"/>
                      </a:lnTo>
                      <a:lnTo>
                        <a:pt x="164934" y="34433"/>
                      </a:lnTo>
                      <a:lnTo>
                        <a:pt x="164568" y="35859"/>
                      </a:lnTo>
                      <a:lnTo>
                        <a:pt x="164943" y="39828"/>
                      </a:lnTo>
                      <a:lnTo>
                        <a:pt x="163932" y="42949"/>
                      </a:lnTo>
                      <a:lnTo>
                        <a:pt x="160379" y="45321"/>
                      </a:lnTo>
                      <a:lnTo>
                        <a:pt x="156662" y="45402"/>
                      </a:lnTo>
                      <a:lnTo>
                        <a:pt x="151194" y="43813"/>
                      </a:lnTo>
                      <a:lnTo>
                        <a:pt x="149637" y="43862"/>
                      </a:lnTo>
                      <a:lnTo>
                        <a:pt x="148088" y="44481"/>
                      </a:lnTo>
                      <a:lnTo>
                        <a:pt x="154927" y="47806"/>
                      </a:lnTo>
                      <a:lnTo>
                        <a:pt x="159881" y="52696"/>
                      </a:lnTo>
                      <a:lnTo>
                        <a:pt x="165676" y="53829"/>
                      </a:lnTo>
                      <a:lnTo>
                        <a:pt x="167257" y="54424"/>
                      </a:lnTo>
                      <a:lnTo>
                        <a:pt x="169360" y="58931"/>
                      </a:lnTo>
                      <a:lnTo>
                        <a:pt x="170101" y="61188"/>
                      </a:lnTo>
                      <a:lnTo>
                        <a:pt x="160452" y="66640"/>
                      </a:lnTo>
                      <a:lnTo>
                        <a:pt x="157950" y="67569"/>
                      </a:lnTo>
                      <a:lnTo>
                        <a:pt x="142572" y="68376"/>
                      </a:lnTo>
                      <a:lnTo>
                        <a:pt x="132450" y="69900"/>
                      </a:lnTo>
                      <a:lnTo>
                        <a:pt x="129255" y="69542"/>
                      </a:lnTo>
                      <a:lnTo>
                        <a:pt x="123591" y="68238"/>
                      </a:lnTo>
                      <a:lnTo>
                        <a:pt x="119899" y="68784"/>
                      </a:lnTo>
                      <a:lnTo>
                        <a:pt x="114520" y="67920"/>
                      </a:lnTo>
                      <a:lnTo>
                        <a:pt x="111219" y="67961"/>
                      </a:lnTo>
                      <a:lnTo>
                        <a:pt x="103608" y="65882"/>
                      </a:lnTo>
                      <a:lnTo>
                        <a:pt x="95776" y="62574"/>
                      </a:lnTo>
                      <a:lnTo>
                        <a:pt x="94252" y="61074"/>
                      </a:lnTo>
                      <a:lnTo>
                        <a:pt x="92679" y="59998"/>
                      </a:lnTo>
                      <a:lnTo>
                        <a:pt x="83306" y="59094"/>
                      </a:lnTo>
                      <a:lnTo>
                        <a:pt x="81261" y="58442"/>
                      </a:lnTo>
                      <a:lnTo>
                        <a:pt x="67602" y="59175"/>
                      </a:lnTo>
                      <a:lnTo>
                        <a:pt x="65279" y="58645"/>
                      </a:lnTo>
                      <a:lnTo>
                        <a:pt x="61017" y="54310"/>
                      </a:lnTo>
                      <a:lnTo>
                        <a:pt x="58678" y="54253"/>
                      </a:lnTo>
                      <a:lnTo>
                        <a:pt x="51139" y="56755"/>
                      </a:lnTo>
                      <a:lnTo>
                        <a:pt x="48336" y="56592"/>
                      </a:lnTo>
                      <a:lnTo>
                        <a:pt x="42656" y="54888"/>
                      </a:lnTo>
                      <a:lnTo>
                        <a:pt x="39208" y="52835"/>
                      </a:lnTo>
                      <a:lnTo>
                        <a:pt x="38711" y="52158"/>
                      </a:lnTo>
                      <a:lnTo>
                        <a:pt x="38410" y="49559"/>
                      </a:lnTo>
                      <a:lnTo>
                        <a:pt x="34995" y="48246"/>
                      </a:lnTo>
                      <a:lnTo>
                        <a:pt x="30822" y="43748"/>
                      </a:lnTo>
                      <a:lnTo>
                        <a:pt x="28459" y="38964"/>
                      </a:lnTo>
                      <a:lnTo>
                        <a:pt x="17049" y="36470"/>
                      </a:lnTo>
                      <a:lnTo>
                        <a:pt x="10106" y="35900"/>
                      </a:lnTo>
                      <a:lnTo>
                        <a:pt x="4988" y="36120"/>
                      </a:lnTo>
                      <a:lnTo>
                        <a:pt x="0" y="34253"/>
                      </a:lnTo>
                      <a:lnTo>
                        <a:pt x="8272" y="27350"/>
                      </a:lnTo>
                      <a:lnTo>
                        <a:pt x="19250" y="23789"/>
                      </a:lnTo>
                      <a:lnTo>
                        <a:pt x="23985" y="21026"/>
                      </a:lnTo>
                      <a:lnTo>
                        <a:pt x="29412" y="17277"/>
                      </a:lnTo>
                      <a:lnTo>
                        <a:pt x="31653" y="11564"/>
                      </a:lnTo>
                      <a:lnTo>
                        <a:pt x="40871" y="8019"/>
                      </a:lnTo>
                      <a:lnTo>
                        <a:pt x="43251" y="6821"/>
                      </a:lnTo>
                      <a:lnTo>
                        <a:pt x="46519" y="4042"/>
                      </a:lnTo>
                      <a:lnTo>
                        <a:pt x="47521" y="3651"/>
                      </a:lnTo>
                      <a:lnTo>
                        <a:pt x="54815" y="7041"/>
                      </a:lnTo>
                      <a:lnTo>
                        <a:pt x="56225" y="6455"/>
                      </a:lnTo>
                      <a:lnTo>
                        <a:pt x="57529" y="4882"/>
                      </a:lnTo>
                      <a:lnTo>
                        <a:pt x="60186" y="3203"/>
                      </a:lnTo>
                      <a:lnTo>
                        <a:pt x="69118" y="2983"/>
                      </a:lnTo>
                      <a:lnTo>
                        <a:pt x="76672" y="3651"/>
                      </a:lnTo>
                      <a:lnTo>
                        <a:pt x="79525" y="2975"/>
                      </a:lnTo>
                      <a:lnTo>
                        <a:pt x="82981" y="3268"/>
                      </a:lnTo>
                      <a:lnTo>
                        <a:pt x="100437" y="782"/>
                      </a:lnTo>
                      <a:lnTo>
                        <a:pt x="111994" y="0"/>
                      </a:lnTo>
                      <a:close/>
                    </a:path>
                  </a:pathLst>
                </a:custGeom>
                <a:solidFill>
                  <a:srgbClr val="D6D6D2"/>
                </a:solidFill>
                <a:ln w="8150" cap="flat">
                  <a:noFill/>
                  <a:prstDash val="solid"/>
                  <a:miter/>
                </a:ln>
              </p:spPr>
              <p:txBody>
                <a:bodyPr rtlCol="0" anchor="ctr"/>
                <a:lstStyle/>
                <a:p>
                  <a:endParaRPr lang="en-US"/>
                </a:p>
              </p:txBody>
            </p:sp>
            <p:sp>
              <p:nvSpPr>
                <p:cNvPr id="623" name="Freeform: Shape 622">
                  <a:extLst>
                    <a:ext uri="{FF2B5EF4-FFF2-40B4-BE49-F238E27FC236}">
                      <a16:creationId xmlns:a16="http://schemas.microsoft.com/office/drawing/2014/main" id="{E1F26DFD-AFE6-49F6-947F-8740766B41F2}"/>
                    </a:ext>
                  </a:extLst>
                </p:cNvPr>
                <p:cNvSpPr/>
                <p:nvPr/>
              </p:nvSpPr>
              <p:spPr>
                <a:xfrm>
                  <a:off x="7325704" y="1627030"/>
                  <a:ext cx="34693" cy="15077"/>
                </a:xfrm>
                <a:custGeom>
                  <a:avLst/>
                  <a:gdLst>
                    <a:gd name="connsiteX0" fmla="*/ 33602 w 34693"/>
                    <a:gd name="connsiteY0" fmla="*/ 782 h 15077"/>
                    <a:gd name="connsiteX1" fmla="*/ 34694 w 34693"/>
                    <a:gd name="connsiteY1" fmla="*/ 2518 h 15077"/>
                    <a:gd name="connsiteX2" fmla="*/ 34604 w 34693"/>
                    <a:gd name="connsiteY2" fmla="*/ 8818 h 15077"/>
                    <a:gd name="connsiteX3" fmla="*/ 33455 w 34693"/>
                    <a:gd name="connsiteY3" fmla="*/ 11613 h 15077"/>
                    <a:gd name="connsiteX4" fmla="*/ 33643 w 34693"/>
                    <a:gd name="connsiteY4" fmla="*/ 13895 h 15077"/>
                    <a:gd name="connsiteX5" fmla="*/ 31328 w 34693"/>
                    <a:gd name="connsiteY5" fmla="*/ 15077 h 15077"/>
                    <a:gd name="connsiteX6" fmla="*/ 11834 w 34693"/>
                    <a:gd name="connsiteY6" fmla="*/ 14833 h 15077"/>
                    <a:gd name="connsiteX7" fmla="*/ 2176 w 34693"/>
                    <a:gd name="connsiteY7" fmla="*/ 14278 h 15077"/>
                    <a:gd name="connsiteX8" fmla="*/ 0 w 34693"/>
                    <a:gd name="connsiteY8" fmla="*/ 13382 h 15077"/>
                    <a:gd name="connsiteX9" fmla="*/ 5428 w 34693"/>
                    <a:gd name="connsiteY9" fmla="*/ 10383 h 15077"/>
                    <a:gd name="connsiteX10" fmla="*/ 7156 w 34693"/>
                    <a:gd name="connsiteY10" fmla="*/ 8305 h 15077"/>
                    <a:gd name="connsiteX11" fmla="*/ 6601 w 34693"/>
                    <a:gd name="connsiteY11" fmla="*/ 2363 h 15077"/>
                    <a:gd name="connsiteX12" fmla="*/ 7457 w 34693"/>
                    <a:gd name="connsiteY12" fmla="*/ 1271 h 15077"/>
                    <a:gd name="connsiteX13" fmla="*/ 23105 w 34693"/>
                    <a:gd name="connsiteY13" fmla="*/ 1842 h 15077"/>
                    <a:gd name="connsiteX14" fmla="*/ 24400 w 34693"/>
                    <a:gd name="connsiteY14" fmla="*/ 147 h 15077"/>
                    <a:gd name="connsiteX15" fmla="*/ 30276 w 34693"/>
                    <a:gd name="connsiteY15" fmla="*/ 0 h 1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693" h="15077">
                      <a:moveTo>
                        <a:pt x="33602" y="782"/>
                      </a:moveTo>
                      <a:lnTo>
                        <a:pt x="34694" y="2518"/>
                      </a:lnTo>
                      <a:lnTo>
                        <a:pt x="34604" y="8818"/>
                      </a:lnTo>
                      <a:lnTo>
                        <a:pt x="33455" y="11613"/>
                      </a:lnTo>
                      <a:lnTo>
                        <a:pt x="33643" y="13895"/>
                      </a:lnTo>
                      <a:lnTo>
                        <a:pt x="31328" y="15077"/>
                      </a:lnTo>
                      <a:lnTo>
                        <a:pt x="11834" y="14833"/>
                      </a:lnTo>
                      <a:lnTo>
                        <a:pt x="2176" y="14278"/>
                      </a:lnTo>
                      <a:lnTo>
                        <a:pt x="0" y="13382"/>
                      </a:lnTo>
                      <a:lnTo>
                        <a:pt x="5428" y="10383"/>
                      </a:lnTo>
                      <a:lnTo>
                        <a:pt x="7156" y="8305"/>
                      </a:lnTo>
                      <a:lnTo>
                        <a:pt x="6601" y="2363"/>
                      </a:lnTo>
                      <a:lnTo>
                        <a:pt x="7457" y="1271"/>
                      </a:lnTo>
                      <a:lnTo>
                        <a:pt x="23105" y="1842"/>
                      </a:lnTo>
                      <a:lnTo>
                        <a:pt x="24400" y="147"/>
                      </a:lnTo>
                      <a:lnTo>
                        <a:pt x="30276" y="0"/>
                      </a:lnTo>
                      <a:close/>
                    </a:path>
                  </a:pathLst>
                </a:custGeom>
                <a:solidFill>
                  <a:srgbClr val="D6D6D2"/>
                </a:solidFill>
                <a:ln w="8150" cap="flat">
                  <a:noFill/>
                  <a:prstDash val="solid"/>
                  <a:miter/>
                </a:ln>
              </p:spPr>
              <p:txBody>
                <a:bodyPr rtlCol="0" anchor="ctr"/>
                <a:lstStyle/>
                <a:p>
                  <a:endParaRPr lang="en-US"/>
                </a:p>
              </p:txBody>
            </p:sp>
            <p:sp>
              <p:nvSpPr>
                <p:cNvPr id="624" name="Freeform: Shape 623">
                  <a:extLst>
                    <a:ext uri="{FF2B5EF4-FFF2-40B4-BE49-F238E27FC236}">
                      <a16:creationId xmlns:a16="http://schemas.microsoft.com/office/drawing/2014/main" id="{EAE4B225-25F4-4124-9A57-DE4AED26A477}"/>
                    </a:ext>
                  </a:extLst>
                </p:cNvPr>
                <p:cNvSpPr/>
                <p:nvPr/>
              </p:nvSpPr>
              <p:spPr>
                <a:xfrm>
                  <a:off x="7238633" y="1624643"/>
                  <a:ext cx="40634" cy="12265"/>
                </a:xfrm>
                <a:custGeom>
                  <a:avLst/>
                  <a:gdLst>
                    <a:gd name="connsiteX0" fmla="*/ 32452 w 40634"/>
                    <a:gd name="connsiteY0" fmla="*/ 11662 h 12265"/>
                    <a:gd name="connsiteX1" fmla="*/ 15949 w 40634"/>
                    <a:gd name="connsiteY1" fmla="*/ 12265 h 12265"/>
                    <a:gd name="connsiteX2" fmla="*/ 10489 w 40634"/>
                    <a:gd name="connsiteY2" fmla="*/ 11980 h 12265"/>
                    <a:gd name="connsiteX3" fmla="*/ 9771 w 40634"/>
                    <a:gd name="connsiteY3" fmla="*/ 11353 h 12265"/>
                    <a:gd name="connsiteX4" fmla="*/ 8362 w 40634"/>
                    <a:gd name="connsiteY4" fmla="*/ 10798 h 12265"/>
                    <a:gd name="connsiteX5" fmla="*/ 3235 w 40634"/>
                    <a:gd name="connsiteY5" fmla="*/ 10220 h 12265"/>
                    <a:gd name="connsiteX6" fmla="*/ 0 w 40634"/>
                    <a:gd name="connsiteY6" fmla="*/ 7636 h 12265"/>
                    <a:gd name="connsiteX7" fmla="*/ 1418 w 40634"/>
                    <a:gd name="connsiteY7" fmla="*/ 6992 h 12265"/>
                    <a:gd name="connsiteX8" fmla="*/ 9013 w 40634"/>
                    <a:gd name="connsiteY8" fmla="*/ 5933 h 12265"/>
                    <a:gd name="connsiteX9" fmla="*/ 11597 w 40634"/>
                    <a:gd name="connsiteY9" fmla="*/ 4825 h 12265"/>
                    <a:gd name="connsiteX10" fmla="*/ 12477 w 40634"/>
                    <a:gd name="connsiteY10" fmla="*/ 3350 h 12265"/>
                    <a:gd name="connsiteX11" fmla="*/ 15892 w 40634"/>
                    <a:gd name="connsiteY11" fmla="*/ 522 h 12265"/>
                    <a:gd name="connsiteX12" fmla="*/ 24115 w 40634"/>
                    <a:gd name="connsiteY12" fmla="*/ 0 h 12265"/>
                    <a:gd name="connsiteX13" fmla="*/ 27684 w 40634"/>
                    <a:gd name="connsiteY13" fmla="*/ 522 h 12265"/>
                    <a:gd name="connsiteX14" fmla="*/ 28092 w 40634"/>
                    <a:gd name="connsiteY14" fmla="*/ 2380 h 12265"/>
                    <a:gd name="connsiteX15" fmla="*/ 31572 w 40634"/>
                    <a:gd name="connsiteY15" fmla="*/ 4580 h 12265"/>
                    <a:gd name="connsiteX16" fmla="*/ 40634 w 40634"/>
                    <a:gd name="connsiteY16" fmla="*/ 7392 h 12265"/>
                    <a:gd name="connsiteX17" fmla="*/ 38809 w 40634"/>
                    <a:gd name="connsiteY17" fmla="*/ 9446 h 12265"/>
                    <a:gd name="connsiteX18" fmla="*/ 35712 w 40634"/>
                    <a:gd name="connsiteY18" fmla="*/ 9739 h 12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0634" h="12265">
                      <a:moveTo>
                        <a:pt x="32452" y="11662"/>
                      </a:moveTo>
                      <a:lnTo>
                        <a:pt x="15949" y="12265"/>
                      </a:lnTo>
                      <a:lnTo>
                        <a:pt x="10489" y="11980"/>
                      </a:lnTo>
                      <a:lnTo>
                        <a:pt x="9771" y="11353"/>
                      </a:lnTo>
                      <a:lnTo>
                        <a:pt x="8362" y="10798"/>
                      </a:lnTo>
                      <a:lnTo>
                        <a:pt x="3235" y="10220"/>
                      </a:lnTo>
                      <a:lnTo>
                        <a:pt x="0" y="7636"/>
                      </a:lnTo>
                      <a:lnTo>
                        <a:pt x="1418" y="6992"/>
                      </a:lnTo>
                      <a:lnTo>
                        <a:pt x="9013" y="5933"/>
                      </a:lnTo>
                      <a:lnTo>
                        <a:pt x="11597" y="4825"/>
                      </a:lnTo>
                      <a:lnTo>
                        <a:pt x="12477" y="3350"/>
                      </a:lnTo>
                      <a:lnTo>
                        <a:pt x="15892" y="522"/>
                      </a:lnTo>
                      <a:lnTo>
                        <a:pt x="24115" y="0"/>
                      </a:lnTo>
                      <a:lnTo>
                        <a:pt x="27684" y="522"/>
                      </a:lnTo>
                      <a:lnTo>
                        <a:pt x="28092" y="2380"/>
                      </a:lnTo>
                      <a:lnTo>
                        <a:pt x="31572" y="4580"/>
                      </a:lnTo>
                      <a:lnTo>
                        <a:pt x="40634" y="7392"/>
                      </a:lnTo>
                      <a:lnTo>
                        <a:pt x="38809" y="9446"/>
                      </a:lnTo>
                      <a:lnTo>
                        <a:pt x="35712" y="9739"/>
                      </a:lnTo>
                      <a:close/>
                    </a:path>
                  </a:pathLst>
                </a:custGeom>
                <a:solidFill>
                  <a:srgbClr val="D6D6D2"/>
                </a:solidFill>
                <a:ln w="8150" cap="flat">
                  <a:noFill/>
                  <a:prstDash val="solid"/>
                  <a:miter/>
                </a:ln>
              </p:spPr>
              <p:txBody>
                <a:bodyPr rtlCol="0" anchor="ctr"/>
                <a:lstStyle/>
                <a:p>
                  <a:endParaRPr lang="en-US"/>
                </a:p>
              </p:txBody>
            </p:sp>
            <p:sp>
              <p:nvSpPr>
                <p:cNvPr id="625" name="Freeform: Shape 624">
                  <a:extLst>
                    <a:ext uri="{FF2B5EF4-FFF2-40B4-BE49-F238E27FC236}">
                      <a16:creationId xmlns:a16="http://schemas.microsoft.com/office/drawing/2014/main" id="{45670665-4910-4548-BCDF-58F5BFECEB18}"/>
                    </a:ext>
                  </a:extLst>
                </p:cNvPr>
                <p:cNvSpPr/>
                <p:nvPr/>
              </p:nvSpPr>
              <p:spPr>
                <a:xfrm>
                  <a:off x="7357635" y="1620470"/>
                  <a:ext cx="55670" cy="19974"/>
                </a:xfrm>
                <a:custGeom>
                  <a:avLst/>
                  <a:gdLst>
                    <a:gd name="connsiteX0" fmla="*/ 23447 w 55670"/>
                    <a:gd name="connsiteY0" fmla="*/ 18997 h 19974"/>
                    <a:gd name="connsiteX1" fmla="*/ 19568 w 55670"/>
                    <a:gd name="connsiteY1" fmla="*/ 19975 h 19974"/>
                    <a:gd name="connsiteX2" fmla="*/ 9453 w 55670"/>
                    <a:gd name="connsiteY2" fmla="*/ 18190 h 19974"/>
                    <a:gd name="connsiteX3" fmla="*/ 7962 w 55670"/>
                    <a:gd name="connsiteY3" fmla="*/ 17212 h 19974"/>
                    <a:gd name="connsiteX4" fmla="*/ 6707 w 55670"/>
                    <a:gd name="connsiteY4" fmla="*/ 15379 h 19974"/>
                    <a:gd name="connsiteX5" fmla="*/ 5036 w 55670"/>
                    <a:gd name="connsiteY5" fmla="*/ 8500 h 19974"/>
                    <a:gd name="connsiteX6" fmla="*/ 4971 w 55670"/>
                    <a:gd name="connsiteY6" fmla="*/ 6438 h 19974"/>
                    <a:gd name="connsiteX7" fmla="*/ 4344 w 55670"/>
                    <a:gd name="connsiteY7" fmla="*/ 5012 h 19974"/>
                    <a:gd name="connsiteX8" fmla="*/ 1793 w 55670"/>
                    <a:gd name="connsiteY8" fmla="*/ 2502 h 19974"/>
                    <a:gd name="connsiteX9" fmla="*/ 0 w 55670"/>
                    <a:gd name="connsiteY9" fmla="*/ 1304 h 19974"/>
                    <a:gd name="connsiteX10" fmla="*/ 1589 w 55670"/>
                    <a:gd name="connsiteY10" fmla="*/ 0 h 19974"/>
                    <a:gd name="connsiteX11" fmla="*/ 12673 w 55670"/>
                    <a:gd name="connsiteY11" fmla="*/ 954 h 19974"/>
                    <a:gd name="connsiteX12" fmla="*/ 36438 w 55670"/>
                    <a:gd name="connsiteY12" fmla="*/ 1500 h 19974"/>
                    <a:gd name="connsiteX13" fmla="*/ 48621 w 55670"/>
                    <a:gd name="connsiteY13" fmla="*/ 4002 h 19974"/>
                    <a:gd name="connsiteX14" fmla="*/ 52207 w 55670"/>
                    <a:gd name="connsiteY14" fmla="*/ 5420 h 19974"/>
                    <a:gd name="connsiteX15" fmla="*/ 55671 w 55670"/>
                    <a:gd name="connsiteY15" fmla="*/ 7734 h 19974"/>
                    <a:gd name="connsiteX16" fmla="*/ 34392 w 55670"/>
                    <a:gd name="connsiteY16" fmla="*/ 8989 h 19974"/>
                    <a:gd name="connsiteX17" fmla="*/ 31572 w 55670"/>
                    <a:gd name="connsiteY17" fmla="*/ 10065 h 19974"/>
                    <a:gd name="connsiteX18" fmla="*/ 31613 w 55670"/>
                    <a:gd name="connsiteY18" fmla="*/ 12608 h 19974"/>
                    <a:gd name="connsiteX19" fmla="*/ 30863 w 55670"/>
                    <a:gd name="connsiteY19" fmla="*/ 14979 h 19974"/>
                    <a:gd name="connsiteX20" fmla="*/ 28573 w 55670"/>
                    <a:gd name="connsiteY20" fmla="*/ 15248 h 19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5670" h="19974">
                      <a:moveTo>
                        <a:pt x="23447" y="18997"/>
                      </a:moveTo>
                      <a:lnTo>
                        <a:pt x="19568" y="19975"/>
                      </a:lnTo>
                      <a:lnTo>
                        <a:pt x="9453" y="18190"/>
                      </a:lnTo>
                      <a:lnTo>
                        <a:pt x="7962" y="17212"/>
                      </a:lnTo>
                      <a:lnTo>
                        <a:pt x="6707" y="15379"/>
                      </a:lnTo>
                      <a:lnTo>
                        <a:pt x="5036" y="8500"/>
                      </a:lnTo>
                      <a:lnTo>
                        <a:pt x="4971" y="6438"/>
                      </a:lnTo>
                      <a:lnTo>
                        <a:pt x="4344" y="5012"/>
                      </a:lnTo>
                      <a:lnTo>
                        <a:pt x="1793" y="2502"/>
                      </a:lnTo>
                      <a:lnTo>
                        <a:pt x="0" y="1304"/>
                      </a:lnTo>
                      <a:lnTo>
                        <a:pt x="1589" y="0"/>
                      </a:lnTo>
                      <a:lnTo>
                        <a:pt x="12673" y="954"/>
                      </a:lnTo>
                      <a:lnTo>
                        <a:pt x="36438" y="1500"/>
                      </a:lnTo>
                      <a:lnTo>
                        <a:pt x="48621" y="4002"/>
                      </a:lnTo>
                      <a:lnTo>
                        <a:pt x="52207" y="5420"/>
                      </a:lnTo>
                      <a:lnTo>
                        <a:pt x="55671" y="7734"/>
                      </a:lnTo>
                      <a:lnTo>
                        <a:pt x="34392" y="8989"/>
                      </a:lnTo>
                      <a:lnTo>
                        <a:pt x="31572" y="10065"/>
                      </a:lnTo>
                      <a:lnTo>
                        <a:pt x="31613" y="12608"/>
                      </a:lnTo>
                      <a:lnTo>
                        <a:pt x="30863" y="14979"/>
                      </a:lnTo>
                      <a:lnTo>
                        <a:pt x="28573" y="15248"/>
                      </a:lnTo>
                      <a:close/>
                    </a:path>
                  </a:pathLst>
                </a:custGeom>
                <a:solidFill>
                  <a:srgbClr val="D6D6D2"/>
                </a:solidFill>
                <a:ln w="8150" cap="flat">
                  <a:noFill/>
                  <a:prstDash val="solid"/>
                  <a:miter/>
                </a:ln>
              </p:spPr>
              <p:txBody>
                <a:bodyPr rtlCol="0" anchor="ctr"/>
                <a:lstStyle/>
                <a:p>
                  <a:endParaRPr lang="en-US"/>
                </a:p>
              </p:txBody>
            </p:sp>
            <p:sp>
              <p:nvSpPr>
                <p:cNvPr id="626" name="Freeform: Shape 625">
                  <a:extLst>
                    <a:ext uri="{FF2B5EF4-FFF2-40B4-BE49-F238E27FC236}">
                      <a16:creationId xmlns:a16="http://schemas.microsoft.com/office/drawing/2014/main" id="{A3D21994-D22B-4BB4-A66F-679718C36C93}"/>
                    </a:ext>
                  </a:extLst>
                </p:cNvPr>
                <p:cNvSpPr/>
                <p:nvPr/>
              </p:nvSpPr>
              <p:spPr>
                <a:xfrm>
                  <a:off x="7057374" y="1601929"/>
                  <a:ext cx="93787" cy="20961"/>
                </a:xfrm>
                <a:custGeom>
                  <a:avLst/>
                  <a:gdLst>
                    <a:gd name="connsiteX0" fmla="*/ 62924 w 93787"/>
                    <a:gd name="connsiteY0" fmla="*/ 0 h 20961"/>
                    <a:gd name="connsiteX1" fmla="*/ 74269 w 93787"/>
                    <a:gd name="connsiteY1" fmla="*/ 2119 h 20961"/>
                    <a:gd name="connsiteX2" fmla="*/ 82793 w 93787"/>
                    <a:gd name="connsiteY2" fmla="*/ 1565 h 20961"/>
                    <a:gd name="connsiteX3" fmla="*/ 85328 w 93787"/>
                    <a:gd name="connsiteY3" fmla="*/ 1801 h 20961"/>
                    <a:gd name="connsiteX4" fmla="*/ 87822 w 93787"/>
                    <a:gd name="connsiteY4" fmla="*/ 2469 h 20961"/>
                    <a:gd name="connsiteX5" fmla="*/ 90348 w 93787"/>
                    <a:gd name="connsiteY5" fmla="*/ 3855 h 20961"/>
                    <a:gd name="connsiteX6" fmla="*/ 93787 w 93787"/>
                    <a:gd name="connsiteY6" fmla="*/ 7017 h 20961"/>
                    <a:gd name="connsiteX7" fmla="*/ 93714 w 93787"/>
                    <a:gd name="connsiteY7" fmla="*/ 11369 h 20961"/>
                    <a:gd name="connsiteX8" fmla="*/ 92271 w 93787"/>
                    <a:gd name="connsiteY8" fmla="*/ 11573 h 20961"/>
                    <a:gd name="connsiteX9" fmla="*/ 77863 w 93787"/>
                    <a:gd name="connsiteY9" fmla="*/ 9568 h 20961"/>
                    <a:gd name="connsiteX10" fmla="*/ 71237 w 93787"/>
                    <a:gd name="connsiteY10" fmla="*/ 5028 h 20961"/>
                    <a:gd name="connsiteX11" fmla="*/ 69452 w 93787"/>
                    <a:gd name="connsiteY11" fmla="*/ 4572 h 20961"/>
                    <a:gd name="connsiteX12" fmla="*/ 66844 w 93787"/>
                    <a:gd name="connsiteY12" fmla="*/ 5770 h 20961"/>
                    <a:gd name="connsiteX13" fmla="*/ 64660 w 93787"/>
                    <a:gd name="connsiteY13" fmla="*/ 8549 h 20961"/>
                    <a:gd name="connsiteX14" fmla="*/ 62240 w 93787"/>
                    <a:gd name="connsiteY14" fmla="*/ 9242 h 20961"/>
                    <a:gd name="connsiteX15" fmla="*/ 59501 w 93787"/>
                    <a:gd name="connsiteY15" fmla="*/ 12771 h 20961"/>
                    <a:gd name="connsiteX16" fmla="*/ 56877 w 93787"/>
                    <a:gd name="connsiteY16" fmla="*/ 12314 h 20961"/>
                    <a:gd name="connsiteX17" fmla="*/ 55549 w 93787"/>
                    <a:gd name="connsiteY17" fmla="*/ 12616 h 20961"/>
                    <a:gd name="connsiteX18" fmla="*/ 52232 w 93787"/>
                    <a:gd name="connsiteY18" fmla="*/ 15036 h 20961"/>
                    <a:gd name="connsiteX19" fmla="*/ 43960 w 93787"/>
                    <a:gd name="connsiteY19" fmla="*/ 15069 h 20961"/>
                    <a:gd name="connsiteX20" fmla="*/ 42631 w 93787"/>
                    <a:gd name="connsiteY20" fmla="*/ 16136 h 20961"/>
                    <a:gd name="connsiteX21" fmla="*/ 39901 w 93787"/>
                    <a:gd name="connsiteY21" fmla="*/ 19486 h 20961"/>
                    <a:gd name="connsiteX22" fmla="*/ 36527 w 93787"/>
                    <a:gd name="connsiteY22" fmla="*/ 20448 h 20961"/>
                    <a:gd name="connsiteX23" fmla="*/ 30676 w 93787"/>
                    <a:gd name="connsiteY23" fmla="*/ 20961 h 20961"/>
                    <a:gd name="connsiteX24" fmla="*/ 28646 w 93787"/>
                    <a:gd name="connsiteY24" fmla="*/ 19062 h 20961"/>
                    <a:gd name="connsiteX25" fmla="*/ 27742 w 93787"/>
                    <a:gd name="connsiteY25" fmla="*/ 16128 h 20961"/>
                    <a:gd name="connsiteX26" fmla="*/ 26389 w 93787"/>
                    <a:gd name="connsiteY26" fmla="*/ 14653 h 20961"/>
                    <a:gd name="connsiteX27" fmla="*/ 18247 w 93787"/>
                    <a:gd name="connsiteY27" fmla="*/ 16332 h 20961"/>
                    <a:gd name="connsiteX28" fmla="*/ 12013 w 93787"/>
                    <a:gd name="connsiteY28" fmla="*/ 15126 h 20961"/>
                    <a:gd name="connsiteX29" fmla="*/ 6055 w 93787"/>
                    <a:gd name="connsiteY29" fmla="*/ 13154 h 20961"/>
                    <a:gd name="connsiteX30" fmla="*/ 0 w 93787"/>
                    <a:gd name="connsiteY30" fmla="*/ 12502 h 20961"/>
                    <a:gd name="connsiteX31" fmla="*/ 5452 w 93787"/>
                    <a:gd name="connsiteY31" fmla="*/ 10391 h 20961"/>
                    <a:gd name="connsiteX32" fmla="*/ 35281 w 93787"/>
                    <a:gd name="connsiteY32" fmla="*/ 6120 h 20961"/>
                    <a:gd name="connsiteX33" fmla="*/ 46983 w 93787"/>
                    <a:gd name="connsiteY33" fmla="*/ 5085 h 20961"/>
                    <a:gd name="connsiteX34" fmla="*/ 52476 w 93787"/>
                    <a:gd name="connsiteY34" fmla="*/ 2029 h 20961"/>
                    <a:gd name="connsiteX35" fmla="*/ 60699 w 93787"/>
                    <a:gd name="connsiteY35" fmla="*/ 41 h 2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3787" h="20961">
                      <a:moveTo>
                        <a:pt x="62924" y="0"/>
                      </a:moveTo>
                      <a:lnTo>
                        <a:pt x="74269" y="2119"/>
                      </a:lnTo>
                      <a:lnTo>
                        <a:pt x="82793" y="1565"/>
                      </a:lnTo>
                      <a:lnTo>
                        <a:pt x="85328" y="1801"/>
                      </a:lnTo>
                      <a:lnTo>
                        <a:pt x="87822" y="2469"/>
                      </a:lnTo>
                      <a:lnTo>
                        <a:pt x="90348" y="3855"/>
                      </a:lnTo>
                      <a:lnTo>
                        <a:pt x="93787" y="7017"/>
                      </a:lnTo>
                      <a:lnTo>
                        <a:pt x="93714" y="11369"/>
                      </a:lnTo>
                      <a:lnTo>
                        <a:pt x="92271" y="11573"/>
                      </a:lnTo>
                      <a:lnTo>
                        <a:pt x="77863" y="9568"/>
                      </a:lnTo>
                      <a:lnTo>
                        <a:pt x="71237" y="5028"/>
                      </a:lnTo>
                      <a:lnTo>
                        <a:pt x="69452" y="4572"/>
                      </a:lnTo>
                      <a:lnTo>
                        <a:pt x="66844" y="5770"/>
                      </a:lnTo>
                      <a:lnTo>
                        <a:pt x="64660" y="8549"/>
                      </a:lnTo>
                      <a:lnTo>
                        <a:pt x="62240" y="9242"/>
                      </a:lnTo>
                      <a:lnTo>
                        <a:pt x="59501" y="12771"/>
                      </a:lnTo>
                      <a:lnTo>
                        <a:pt x="56877" y="12314"/>
                      </a:lnTo>
                      <a:lnTo>
                        <a:pt x="55549" y="12616"/>
                      </a:lnTo>
                      <a:lnTo>
                        <a:pt x="52232" y="15036"/>
                      </a:lnTo>
                      <a:lnTo>
                        <a:pt x="43960" y="15069"/>
                      </a:lnTo>
                      <a:lnTo>
                        <a:pt x="42631" y="16136"/>
                      </a:lnTo>
                      <a:lnTo>
                        <a:pt x="39901" y="19486"/>
                      </a:lnTo>
                      <a:lnTo>
                        <a:pt x="36527" y="20448"/>
                      </a:lnTo>
                      <a:lnTo>
                        <a:pt x="30676" y="20961"/>
                      </a:lnTo>
                      <a:lnTo>
                        <a:pt x="28646" y="19062"/>
                      </a:lnTo>
                      <a:lnTo>
                        <a:pt x="27742" y="16128"/>
                      </a:lnTo>
                      <a:lnTo>
                        <a:pt x="26389" y="14653"/>
                      </a:lnTo>
                      <a:lnTo>
                        <a:pt x="18247" y="16332"/>
                      </a:lnTo>
                      <a:lnTo>
                        <a:pt x="12013" y="15126"/>
                      </a:lnTo>
                      <a:lnTo>
                        <a:pt x="6055" y="13154"/>
                      </a:lnTo>
                      <a:lnTo>
                        <a:pt x="0" y="12502"/>
                      </a:lnTo>
                      <a:lnTo>
                        <a:pt x="5452" y="10391"/>
                      </a:lnTo>
                      <a:lnTo>
                        <a:pt x="35281" y="6120"/>
                      </a:lnTo>
                      <a:lnTo>
                        <a:pt x="46983" y="5085"/>
                      </a:lnTo>
                      <a:lnTo>
                        <a:pt x="52476" y="2029"/>
                      </a:lnTo>
                      <a:lnTo>
                        <a:pt x="60699" y="41"/>
                      </a:lnTo>
                      <a:close/>
                    </a:path>
                  </a:pathLst>
                </a:custGeom>
                <a:solidFill>
                  <a:srgbClr val="D6D6D2"/>
                </a:solidFill>
                <a:ln w="8150" cap="flat">
                  <a:noFill/>
                  <a:prstDash val="solid"/>
                  <a:miter/>
                </a:ln>
              </p:spPr>
              <p:txBody>
                <a:bodyPr rtlCol="0" anchor="ctr"/>
                <a:lstStyle/>
                <a:p>
                  <a:endParaRPr lang="en-US"/>
                </a:p>
              </p:txBody>
            </p:sp>
            <p:sp>
              <p:nvSpPr>
                <p:cNvPr id="627" name="Freeform: Shape 626">
                  <a:extLst>
                    <a:ext uri="{FF2B5EF4-FFF2-40B4-BE49-F238E27FC236}">
                      <a16:creationId xmlns:a16="http://schemas.microsoft.com/office/drawing/2014/main" id="{D8311D5D-6F6E-4866-9E4D-78A997212AF2}"/>
                    </a:ext>
                  </a:extLst>
                </p:cNvPr>
                <p:cNvSpPr/>
                <p:nvPr/>
              </p:nvSpPr>
              <p:spPr>
                <a:xfrm>
                  <a:off x="7414113" y="1599908"/>
                  <a:ext cx="72907" cy="24424"/>
                </a:xfrm>
                <a:custGeom>
                  <a:avLst/>
                  <a:gdLst>
                    <a:gd name="connsiteX0" fmla="*/ 71416 w 72907"/>
                    <a:gd name="connsiteY0" fmla="*/ 2999 h 24424"/>
                    <a:gd name="connsiteX1" fmla="*/ 72907 w 72907"/>
                    <a:gd name="connsiteY1" fmla="*/ 5085 h 24424"/>
                    <a:gd name="connsiteX2" fmla="*/ 72011 w 72907"/>
                    <a:gd name="connsiteY2" fmla="*/ 8394 h 24424"/>
                    <a:gd name="connsiteX3" fmla="*/ 70096 w 72907"/>
                    <a:gd name="connsiteY3" fmla="*/ 10790 h 24424"/>
                    <a:gd name="connsiteX4" fmla="*/ 69142 w 72907"/>
                    <a:gd name="connsiteY4" fmla="*/ 14229 h 24424"/>
                    <a:gd name="connsiteX5" fmla="*/ 61530 w 72907"/>
                    <a:gd name="connsiteY5" fmla="*/ 15053 h 24424"/>
                    <a:gd name="connsiteX6" fmla="*/ 59355 w 72907"/>
                    <a:gd name="connsiteY6" fmla="*/ 15810 h 24424"/>
                    <a:gd name="connsiteX7" fmla="*/ 57284 w 72907"/>
                    <a:gd name="connsiteY7" fmla="*/ 18451 h 24424"/>
                    <a:gd name="connsiteX8" fmla="*/ 49526 w 72907"/>
                    <a:gd name="connsiteY8" fmla="*/ 19999 h 24424"/>
                    <a:gd name="connsiteX9" fmla="*/ 43732 w 72907"/>
                    <a:gd name="connsiteY9" fmla="*/ 24425 h 24424"/>
                    <a:gd name="connsiteX10" fmla="*/ 35574 w 72907"/>
                    <a:gd name="connsiteY10" fmla="*/ 23602 h 24424"/>
                    <a:gd name="connsiteX11" fmla="*/ 24555 w 72907"/>
                    <a:gd name="connsiteY11" fmla="*/ 20537 h 24424"/>
                    <a:gd name="connsiteX12" fmla="*/ 15183 w 72907"/>
                    <a:gd name="connsiteY12" fmla="*/ 23023 h 24424"/>
                    <a:gd name="connsiteX13" fmla="*/ 8973 w 72907"/>
                    <a:gd name="connsiteY13" fmla="*/ 23781 h 24424"/>
                    <a:gd name="connsiteX14" fmla="*/ 1443 w 72907"/>
                    <a:gd name="connsiteY14" fmla="*/ 19983 h 24424"/>
                    <a:gd name="connsiteX15" fmla="*/ 399 w 72907"/>
                    <a:gd name="connsiteY15" fmla="*/ 19136 h 24424"/>
                    <a:gd name="connsiteX16" fmla="*/ 0 w 72907"/>
                    <a:gd name="connsiteY16" fmla="*/ 16511 h 24424"/>
                    <a:gd name="connsiteX17" fmla="*/ 448 w 72907"/>
                    <a:gd name="connsiteY17" fmla="*/ 14189 h 24424"/>
                    <a:gd name="connsiteX18" fmla="*/ 2428 w 72907"/>
                    <a:gd name="connsiteY18" fmla="*/ 9307 h 24424"/>
                    <a:gd name="connsiteX19" fmla="*/ 5134 w 72907"/>
                    <a:gd name="connsiteY19" fmla="*/ 6528 h 24424"/>
                    <a:gd name="connsiteX20" fmla="*/ 6471 w 72907"/>
                    <a:gd name="connsiteY20" fmla="*/ 5640 h 24424"/>
                    <a:gd name="connsiteX21" fmla="*/ 7530 w 72907"/>
                    <a:gd name="connsiteY21" fmla="*/ 3944 h 24424"/>
                    <a:gd name="connsiteX22" fmla="*/ 10603 w 72907"/>
                    <a:gd name="connsiteY22" fmla="*/ 2909 h 24424"/>
                    <a:gd name="connsiteX23" fmla="*/ 19991 w 72907"/>
                    <a:gd name="connsiteY23" fmla="*/ 2290 h 24424"/>
                    <a:gd name="connsiteX24" fmla="*/ 23471 w 72907"/>
                    <a:gd name="connsiteY24" fmla="*/ 2844 h 24424"/>
                    <a:gd name="connsiteX25" fmla="*/ 24547 w 72907"/>
                    <a:gd name="connsiteY25" fmla="*/ 4719 h 24424"/>
                    <a:gd name="connsiteX26" fmla="*/ 29600 w 72907"/>
                    <a:gd name="connsiteY26" fmla="*/ 4580 h 24424"/>
                    <a:gd name="connsiteX27" fmla="*/ 37986 w 72907"/>
                    <a:gd name="connsiteY27" fmla="*/ 3431 h 24424"/>
                    <a:gd name="connsiteX28" fmla="*/ 50219 w 72907"/>
                    <a:gd name="connsiteY28" fmla="*/ 1557 h 24424"/>
                    <a:gd name="connsiteX29" fmla="*/ 57284 w 72907"/>
                    <a:gd name="connsiteY29" fmla="*/ 0 h 24424"/>
                    <a:gd name="connsiteX30" fmla="*/ 63551 w 72907"/>
                    <a:gd name="connsiteY30" fmla="*/ 359 h 24424"/>
                    <a:gd name="connsiteX31" fmla="*/ 69810 w 72907"/>
                    <a:gd name="connsiteY31" fmla="*/ 1361 h 24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2907" h="24424">
                      <a:moveTo>
                        <a:pt x="71416" y="2999"/>
                      </a:moveTo>
                      <a:lnTo>
                        <a:pt x="72907" y="5085"/>
                      </a:lnTo>
                      <a:lnTo>
                        <a:pt x="72011" y="8394"/>
                      </a:lnTo>
                      <a:lnTo>
                        <a:pt x="70096" y="10790"/>
                      </a:lnTo>
                      <a:lnTo>
                        <a:pt x="69142" y="14229"/>
                      </a:lnTo>
                      <a:lnTo>
                        <a:pt x="61530" y="15053"/>
                      </a:lnTo>
                      <a:lnTo>
                        <a:pt x="59355" y="15810"/>
                      </a:lnTo>
                      <a:lnTo>
                        <a:pt x="57284" y="18451"/>
                      </a:lnTo>
                      <a:lnTo>
                        <a:pt x="49526" y="19999"/>
                      </a:lnTo>
                      <a:lnTo>
                        <a:pt x="43732" y="24425"/>
                      </a:lnTo>
                      <a:lnTo>
                        <a:pt x="35574" y="23602"/>
                      </a:lnTo>
                      <a:lnTo>
                        <a:pt x="24555" y="20537"/>
                      </a:lnTo>
                      <a:lnTo>
                        <a:pt x="15183" y="23023"/>
                      </a:lnTo>
                      <a:lnTo>
                        <a:pt x="8973" y="23781"/>
                      </a:lnTo>
                      <a:lnTo>
                        <a:pt x="1443" y="19983"/>
                      </a:lnTo>
                      <a:lnTo>
                        <a:pt x="399" y="19136"/>
                      </a:lnTo>
                      <a:lnTo>
                        <a:pt x="0" y="16511"/>
                      </a:lnTo>
                      <a:lnTo>
                        <a:pt x="448" y="14189"/>
                      </a:lnTo>
                      <a:lnTo>
                        <a:pt x="2428" y="9307"/>
                      </a:lnTo>
                      <a:lnTo>
                        <a:pt x="5134" y="6528"/>
                      </a:lnTo>
                      <a:lnTo>
                        <a:pt x="6471" y="5640"/>
                      </a:lnTo>
                      <a:lnTo>
                        <a:pt x="7530" y="3944"/>
                      </a:lnTo>
                      <a:lnTo>
                        <a:pt x="10603" y="2909"/>
                      </a:lnTo>
                      <a:lnTo>
                        <a:pt x="19991" y="2290"/>
                      </a:lnTo>
                      <a:lnTo>
                        <a:pt x="23471" y="2844"/>
                      </a:lnTo>
                      <a:lnTo>
                        <a:pt x="24547" y="4719"/>
                      </a:lnTo>
                      <a:lnTo>
                        <a:pt x="29600" y="4580"/>
                      </a:lnTo>
                      <a:lnTo>
                        <a:pt x="37986" y="3431"/>
                      </a:lnTo>
                      <a:lnTo>
                        <a:pt x="50219" y="1557"/>
                      </a:lnTo>
                      <a:lnTo>
                        <a:pt x="57284" y="0"/>
                      </a:lnTo>
                      <a:lnTo>
                        <a:pt x="63551" y="359"/>
                      </a:lnTo>
                      <a:lnTo>
                        <a:pt x="69810" y="1361"/>
                      </a:lnTo>
                      <a:close/>
                    </a:path>
                  </a:pathLst>
                </a:custGeom>
                <a:solidFill>
                  <a:srgbClr val="D6D6D2"/>
                </a:solidFill>
                <a:ln w="8150" cap="flat">
                  <a:noFill/>
                  <a:prstDash val="solid"/>
                  <a:miter/>
                </a:ln>
              </p:spPr>
              <p:txBody>
                <a:bodyPr rtlCol="0" anchor="ctr"/>
                <a:lstStyle/>
                <a:p>
                  <a:endParaRPr lang="en-US"/>
                </a:p>
              </p:txBody>
            </p:sp>
            <p:sp>
              <p:nvSpPr>
                <p:cNvPr id="628" name="Freeform: Shape 627">
                  <a:extLst>
                    <a:ext uri="{FF2B5EF4-FFF2-40B4-BE49-F238E27FC236}">
                      <a16:creationId xmlns:a16="http://schemas.microsoft.com/office/drawing/2014/main" id="{A405FDB4-9F9A-452B-8D53-EEE5EF9B5D26}"/>
                    </a:ext>
                  </a:extLst>
                </p:cNvPr>
                <p:cNvSpPr/>
                <p:nvPr/>
              </p:nvSpPr>
              <p:spPr>
                <a:xfrm>
                  <a:off x="7100511" y="1598131"/>
                  <a:ext cx="125481" cy="43454"/>
                </a:xfrm>
                <a:custGeom>
                  <a:avLst/>
                  <a:gdLst>
                    <a:gd name="connsiteX0" fmla="*/ 90128 w 125481"/>
                    <a:gd name="connsiteY0" fmla="*/ 0 h 43454"/>
                    <a:gd name="connsiteX1" fmla="*/ 93925 w 125481"/>
                    <a:gd name="connsiteY1" fmla="*/ 848 h 43454"/>
                    <a:gd name="connsiteX2" fmla="*/ 103102 w 125481"/>
                    <a:gd name="connsiteY2" fmla="*/ 676 h 43454"/>
                    <a:gd name="connsiteX3" fmla="*/ 105987 w 125481"/>
                    <a:gd name="connsiteY3" fmla="*/ 1899 h 43454"/>
                    <a:gd name="connsiteX4" fmla="*/ 119312 w 125481"/>
                    <a:gd name="connsiteY4" fmla="*/ 9429 h 43454"/>
                    <a:gd name="connsiteX5" fmla="*/ 122694 w 125481"/>
                    <a:gd name="connsiteY5" fmla="*/ 9633 h 43454"/>
                    <a:gd name="connsiteX6" fmla="*/ 125481 w 125481"/>
                    <a:gd name="connsiteY6" fmla="*/ 12363 h 43454"/>
                    <a:gd name="connsiteX7" fmla="*/ 111659 w 125481"/>
                    <a:gd name="connsiteY7" fmla="*/ 16674 h 43454"/>
                    <a:gd name="connsiteX8" fmla="*/ 107063 w 125481"/>
                    <a:gd name="connsiteY8" fmla="*/ 19942 h 43454"/>
                    <a:gd name="connsiteX9" fmla="*/ 90168 w 125481"/>
                    <a:gd name="connsiteY9" fmla="*/ 20619 h 43454"/>
                    <a:gd name="connsiteX10" fmla="*/ 79411 w 125481"/>
                    <a:gd name="connsiteY10" fmla="*/ 22143 h 43454"/>
                    <a:gd name="connsiteX11" fmla="*/ 77015 w 125481"/>
                    <a:gd name="connsiteY11" fmla="*/ 23455 h 43454"/>
                    <a:gd name="connsiteX12" fmla="*/ 78123 w 125481"/>
                    <a:gd name="connsiteY12" fmla="*/ 25859 h 43454"/>
                    <a:gd name="connsiteX13" fmla="*/ 72965 w 125481"/>
                    <a:gd name="connsiteY13" fmla="*/ 28361 h 43454"/>
                    <a:gd name="connsiteX14" fmla="*/ 55842 w 125481"/>
                    <a:gd name="connsiteY14" fmla="*/ 28736 h 43454"/>
                    <a:gd name="connsiteX15" fmla="*/ 53747 w 125481"/>
                    <a:gd name="connsiteY15" fmla="*/ 29535 h 43454"/>
                    <a:gd name="connsiteX16" fmla="*/ 50406 w 125481"/>
                    <a:gd name="connsiteY16" fmla="*/ 32281 h 43454"/>
                    <a:gd name="connsiteX17" fmla="*/ 50715 w 125481"/>
                    <a:gd name="connsiteY17" fmla="*/ 32786 h 43454"/>
                    <a:gd name="connsiteX18" fmla="*/ 56494 w 125481"/>
                    <a:gd name="connsiteY18" fmla="*/ 33471 h 43454"/>
                    <a:gd name="connsiteX19" fmla="*/ 57431 w 125481"/>
                    <a:gd name="connsiteY19" fmla="*/ 34050 h 43454"/>
                    <a:gd name="connsiteX20" fmla="*/ 58197 w 125481"/>
                    <a:gd name="connsiteY20" fmla="*/ 35239 h 43454"/>
                    <a:gd name="connsiteX21" fmla="*/ 58694 w 125481"/>
                    <a:gd name="connsiteY21" fmla="*/ 37032 h 43454"/>
                    <a:gd name="connsiteX22" fmla="*/ 57863 w 125481"/>
                    <a:gd name="connsiteY22" fmla="*/ 39322 h 43454"/>
                    <a:gd name="connsiteX23" fmla="*/ 55744 w 125481"/>
                    <a:gd name="connsiteY23" fmla="*/ 39697 h 43454"/>
                    <a:gd name="connsiteX24" fmla="*/ 53405 w 125481"/>
                    <a:gd name="connsiteY24" fmla="*/ 39396 h 43454"/>
                    <a:gd name="connsiteX25" fmla="*/ 48059 w 125481"/>
                    <a:gd name="connsiteY25" fmla="*/ 37644 h 43454"/>
                    <a:gd name="connsiteX26" fmla="*/ 47382 w 125481"/>
                    <a:gd name="connsiteY26" fmla="*/ 38263 h 43454"/>
                    <a:gd name="connsiteX27" fmla="*/ 46837 w 125481"/>
                    <a:gd name="connsiteY27" fmla="*/ 39543 h 43454"/>
                    <a:gd name="connsiteX28" fmla="*/ 45207 w 125481"/>
                    <a:gd name="connsiteY28" fmla="*/ 42004 h 43454"/>
                    <a:gd name="connsiteX29" fmla="*/ 43210 w 125481"/>
                    <a:gd name="connsiteY29" fmla="*/ 42737 h 43454"/>
                    <a:gd name="connsiteX30" fmla="*/ 37782 w 125481"/>
                    <a:gd name="connsiteY30" fmla="*/ 40846 h 43454"/>
                    <a:gd name="connsiteX31" fmla="*/ 35997 w 125481"/>
                    <a:gd name="connsiteY31" fmla="*/ 41376 h 43454"/>
                    <a:gd name="connsiteX32" fmla="*/ 34261 w 125481"/>
                    <a:gd name="connsiteY32" fmla="*/ 42550 h 43454"/>
                    <a:gd name="connsiteX33" fmla="*/ 32134 w 125481"/>
                    <a:gd name="connsiteY33" fmla="*/ 43096 h 43454"/>
                    <a:gd name="connsiteX34" fmla="*/ 27106 w 125481"/>
                    <a:gd name="connsiteY34" fmla="*/ 43454 h 43454"/>
                    <a:gd name="connsiteX35" fmla="*/ 24514 w 125481"/>
                    <a:gd name="connsiteY35" fmla="*/ 41914 h 43454"/>
                    <a:gd name="connsiteX36" fmla="*/ 26755 w 125481"/>
                    <a:gd name="connsiteY36" fmla="*/ 39901 h 43454"/>
                    <a:gd name="connsiteX37" fmla="*/ 33064 w 125481"/>
                    <a:gd name="connsiteY37" fmla="*/ 36772 h 43454"/>
                    <a:gd name="connsiteX38" fmla="*/ 30977 w 125481"/>
                    <a:gd name="connsiteY38" fmla="*/ 35402 h 43454"/>
                    <a:gd name="connsiteX39" fmla="*/ 24759 w 125481"/>
                    <a:gd name="connsiteY39" fmla="*/ 35093 h 43454"/>
                    <a:gd name="connsiteX40" fmla="*/ 19836 w 125481"/>
                    <a:gd name="connsiteY40" fmla="*/ 35867 h 43454"/>
                    <a:gd name="connsiteX41" fmla="*/ 17334 w 125481"/>
                    <a:gd name="connsiteY41" fmla="*/ 38002 h 43454"/>
                    <a:gd name="connsiteX42" fmla="*/ 14995 w 125481"/>
                    <a:gd name="connsiteY42" fmla="*/ 38426 h 43454"/>
                    <a:gd name="connsiteX43" fmla="*/ 8598 w 125481"/>
                    <a:gd name="connsiteY43" fmla="*/ 38287 h 43454"/>
                    <a:gd name="connsiteX44" fmla="*/ 5004 w 125481"/>
                    <a:gd name="connsiteY44" fmla="*/ 35500 h 43454"/>
                    <a:gd name="connsiteX45" fmla="*/ 2331 w 125481"/>
                    <a:gd name="connsiteY45" fmla="*/ 34457 h 43454"/>
                    <a:gd name="connsiteX46" fmla="*/ 0 w 125481"/>
                    <a:gd name="connsiteY46" fmla="*/ 32273 h 43454"/>
                    <a:gd name="connsiteX47" fmla="*/ 18809 w 125481"/>
                    <a:gd name="connsiteY47" fmla="*/ 24865 h 43454"/>
                    <a:gd name="connsiteX48" fmla="*/ 25093 w 125481"/>
                    <a:gd name="connsiteY48" fmla="*/ 21996 h 43454"/>
                    <a:gd name="connsiteX49" fmla="*/ 31042 w 125481"/>
                    <a:gd name="connsiteY49" fmla="*/ 20537 h 43454"/>
                    <a:gd name="connsiteX50" fmla="*/ 38793 w 125481"/>
                    <a:gd name="connsiteY50" fmla="*/ 19763 h 43454"/>
                    <a:gd name="connsiteX51" fmla="*/ 41221 w 125481"/>
                    <a:gd name="connsiteY51" fmla="*/ 18858 h 43454"/>
                    <a:gd name="connsiteX52" fmla="*/ 43601 w 125481"/>
                    <a:gd name="connsiteY52" fmla="*/ 18492 h 43454"/>
                    <a:gd name="connsiteX53" fmla="*/ 45149 w 125481"/>
                    <a:gd name="connsiteY53" fmla="*/ 19038 h 43454"/>
                    <a:gd name="connsiteX54" fmla="*/ 49135 w 125481"/>
                    <a:gd name="connsiteY54" fmla="*/ 21597 h 43454"/>
                    <a:gd name="connsiteX55" fmla="*/ 60609 w 125481"/>
                    <a:gd name="connsiteY55" fmla="*/ 21214 h 43454"/>
                    <a:gd name="connsiteX56" fmla="*/ 63022 w 125481"/>
                    <a:gd name="connsiteY56" fmla="*/ 19013 h 43454"/>
                    <a:gd name="connsiteX57" fmla="*/ 63209 w 125481"/>
                    <a:gd name="connsiteY57" fmla="*/ 14001 h 43454"/>
                    <a:gd name="connsiteX58" fmla="*/ 62092 w 125481"/>
                    <a:gd name="connsiteY58" fmla="*/ 11108 h 43454"/>
                    <a:gd name="connsiteX59" fmla="*/ 64481 w 125481"/>
                    <a:gd name="connsiteY59" fmla="*/ 5468 h 43454"/>
                    <a:gd name="connsiteX60" fmla="*/ 71033 w 125481"/>
                    <a:gd name="connsiteY60" fmla="*/ 3195 h 43454"/>
                    <a:gd name="connsiteX61" fmla="*/ 86314 w 125481"/>
                    <a:gd name="connsiteY61" fmla="*/ 171 h 43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25481" h="43454">
                      <a:moveTo>
                        <a:pt x="90128" y="0"/>
                      </a:moveTo>
                      <a:lnTo>
                        <a:pt x="93925" y="848"/>
                      </a:lnTo>
                      <a:lnTo>
                        <a:pt x="103102" y="676"/>
                      </a:lnTo>
                      <a:lnTo>
                        <a:pt x="105987" y="1899"/>
                      </a:lnTo>
                      <a:lnTo>
                        <a:pt x="119312" y="9429"/>
                      </a:lnTo>
                      <a:lnTo>
                        <a:pt x="122694" y="9633"/>
                      </a:lnTo>
                      <a:lnTo>
                        <a:pt x="125481" y="12363"/>
                      </a:lnTo>
                      <a:lnTo>
                        <a:pt x="111659" y="16674"/>
                      </a:lnTo>
                      <a:lnTo>
                        <a:pt x="107063" y="19942"/>
                      </a:lnTo>
                      <a:lnTo>
                        <a:pt x="90168" y="20619"/>
                      </a:lnTo>
                      <a:lnTo>
                        <a:pt x="79411" y="22143"/>
                      </a:lnTo>
                      <a:lnTo>
                        <a:pt x="77015" y="23455"/>
                      </a:lnTo>
                      <a:lnTo>
                        <a:pt x="78123" y="25859"/>
                      </a:lnTo>
                      <a:lnTo>
                        <a:pt x="72965" y="28361"/>
                      </a:lnTo>
                      <a:lnTo>
                        <a:pt x="55842" y="28736"/>
                      </a:lnTo>
                      <a:lnTo>
                        <a:pt x="53747" y="29535"/>
                      </a:lnTo>
                      <a:lnTo>
                        <a:pt x="50406" y="32281"/>
                      </a:lnTo>
                      <a:lnTo>
                        <a:pt x="50715" y="32786"/>
                      </a:lnTo>
                      <a:lnTo>
                        <a:pt x="56494" y="33471"/>
                      </a:lnTo>
                      <a:lnTo>
                        <a:pt x="57431" y="34050"/>
                      </a:lnTo>
                      <a:lnTo>
                        <a:pt x="58197" y="35239"/>
                      </a:lnTo>
                      <a:lnTo>
                        <a:pt x="58694" y="37032"/>
                      </a:lnTo>
                      <a:lnTo>
                        <a:pt x="57863" y="39322"/>
                      </a:lnTo>
                      <a:lnTo>
                        <a:pt x="55744" y="39697"/>
                      </a:lnTo>
                      <a:lnTo>
                        <a:pt x="53405" y="39396"/>
                      </a:lnTo>
                      <a:lnTo>
                        <a:pt x="48059" y="37644"/>
                      </a:lnTo>
                      <a:lnTo>
                        <a:pt x="47382" y="38263"/>
                      </a:lnTo>
                      <a:lnTo>
                        <a:pt x="46837" y="39543"/>
                      </a:lnTo>
                      <a:lnTo>
                        <a:pt x="45207" y="42004"/>
                      </a:lnTo>
                      <a:lnTo>
                        <a:pt x="43210" y="42737"/>
                      </a:lnTo>
                      <a:lnTo>
                        <a:pt x="37782" y="40846"/>
                      </a:lnTo>
                      <a:lnTo>
                        <a:pt x="35997" y="41376"/>
                      </a:lnTo>
                      <a:lnTo>
                        <a:pt x="34261" y="42550"/>
                      </a:lnTo>
                      <a:lnTo>
                        <a:pt x="32134" y="43096"/>
                      </a:lnTo>
                      <a:lnTo>
                        <a:pt x="27106" y="43454"/>
                      </a:lnTo>
                      <a:lnTo>
                        <a:pt x="24514" y="41914"/>
                      </a:lnTo>
                      <a:lnTo>
                        <a:pt x="26755" y="39901"/>
                      </a:lnTo>
                      <a:lnTo>
                        <a:pt x="33064" y="36772"/>
                      </a:lnTo>
                      <a:lnTo>
                        <a:pt x="30977" y="35402"/>
                      </a:lnTo>
                      <a:lnTo>
                        <a:pt x="24759" y="35093"/>
                      </a:lnTo>
                      <a:lnTo>
                        <a:pt x="19836" y="35867"/>
                      </a:lnTo>
                      <a:lnTo>
                        <a:pt x="17334" y="38002"/>
                      </a:lnTo>
                      <a:lnTo>
                        <a:pt x="14995" y="38426"/>
                      </a:lnTo>
                      <a:lnTo>
                        <a:pt x="8598" y="38287"/>
                      </a:lnTo>
                      <a:lnTo>
                        <a:pt x="5004" y="35500"/>
                      </a:lnTo>
                      <a:lnTo>
                        <a:pt x="2331" y="34457"/>
                      </a:lnTo>
                      <a:lnTo>
                        <a:pt x="0" y="32273"/>
                      </a:lnTo>
                      <a:lnTo>
                        <a:pt x="18809" y="24865"/>
                      </a:lnTo>
                      <a:lnTo>
                        <a:pt x="25093" y="21996"/>
                      </a:lnTo>
                      <a:lnTo>
                        <a:pt x="31042" y="20537"/>
                      </a:lnTo>
                      <a:lnTo>
                        <a:pt x="38793" y="19763"/>
                      </a:lnTo>
                      <a:lnTo>
                        <a:pt x="41221" y="18858"/>
                      </a:lnTo>
                      <a:lnTo>
                        <a:pt x="43601" y="18492"/>
                      </a:lnTo>
                      <a:lnTo>
                        <a:pt x="45149" y="19038"/>
                      </a:lnTo>
                      <a:lnTo>
                        <a:pt x="49135" y="21597"/>
                      </a:lnTo>
                      <a:lnTo>
                        <a:pt x="60609" y="21214"/>
                      </a:lnTo>
                      <a:lnTo>
                        <a:pt x="63022" y="19013"/>
                      </a:lnTo>
                      <a:lnTo>
                        <a:pt x="63209" y="14001"/>
                      </a:lnTo>
                      <a:lnTo>
                        <a:pt x="62092" y="11108"/>
                      </a:lnTo>
                      <a:lnTo>
                        <a:pt x="64481" y="5468"/>
                      </a:lnTo>
                      <a:lnTo>
                        <a:pt x="71033" y="3195"/>
                      </a:lnTo>
                      <a:lnTo>
                        <a:pt x="86314" y="171"/>
                      </a:lnTo>
                      <a:close/>
                    </a:path>
                  </a:pathLst>
                </a:custGeom>
                <a:solidFill>
                  <a:srgbClr val="D6D6D2"/>
                </a:solidFill>
                <a:ln w="8150" cap="flat">
                  <a:noFill/>
                  <a:prstDash val="solid"/>
                  <a:miter/>
                </a:ln>
              </p:spPr>
              <p:txBody>
                <a:bodyPr rtlCol="0" anchor="ctr"/>
                <a:lstStyle/>
                <a:p>
                  <a:endParaRPr lang="en-US"/>
                </a:p>
              </p:txBody>
            </p:sp>
            <p:sp>
              <p:nvSpPr>
                <p:cNvPr id="629" name="Freeform: Shape 628">
                  <a:extLst>
                    <a:ext uri="{FF2B5EF4-FFF2-40B4-BE49-F238E27FC236}">
                      <a16:creationId xmlns:a16="http://schemas.microsoft.com/office/drawing/2014/main" id="{14F8574E-D198-456D-8C33-68D222A61D69}"/>
                    </a:ext>
                  </a:extLst>
                </p:cNvPr>
                <p:cNvSpPr/>
                <p:nvPr/>
              </p:nvSpPr>
              <p:spPr>
                <a:xfrm>
                  <a:off x="7902453" y="1595638"/>
                  <a:ext cx="35972" cy="8443"/>
                </a:xfrm>
                <a:custGeom>
                  <a:avLst/>
                  <a:gdLst>
                    <a:gd name="connsiteX0" fmla="*/ 26022 w 35972"/>
                    <a:gd name="connsiteY0" fmla="*/ 6577 h 8443"/>
                    <a:gd name="connsiteX1" fmla="*/ 2999 w 35972"/>
                    <a:gd name="connsiteY1" fmla="*/ 8443 h 8443"/>
                    <a:gd name="connsiteX2" fmla="*/ 725 w 35972"/>
                    <a:gd name="connsiteY2" fmla="*/ 7270 h 8443"/>
                    <a:gd name="connsiteX3" fmla="*/ 0 w 35972"/>
                    <a:gd name="connsiteY3" fmla="*/ 6577 h 8443"/>
                    <a:gd name="connsiteX4" fmla="*/ 3284 w 35972"/>
                    <a:gd name="connsiteY4" fmla="*/ 2673 h 8443"/>
                    <a:gd name="connsiteX5" fmla="*/ 5949 w 35972"/>
                    <a:gd name="connsiteY5" fmla="*/ 782 h 8443"/>
                    <a:gd name="connsiteX6" fmla="*/ 20562 w 35972"/>
                    <a:gd name="connsiteY6" fmla="*/ 0 h 8443"/>
                    <a:gd name="connsiteX7" fmla="*/ 32289 w 35972"/>
                    <a:gd name="connsiteY7" fmla="*/ 1320 h 8443"/>
                    <a:gd name="connsiteX8" fmla="*/ 35973 w 35972"/>
                    <a:gd name="connsiteY8" fmla="*/ 2461 h 8443"/>
                    <a:gd name="connsiteX9" fmla="*/ 34612 w 35972"/>
                    <a:gd name="connsiteY9" fmla="*/ 4792 h 8443"/>
                    <a:gd name="connsiteX10" fmla="*/ 33911 w 35972"/>
                    <a:gd name="connsiteY10" fmla="*/ 5558 h 8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972" h="8443">
                      <a:moveTo>
                        <a:pt x="26022" y="6577"/>
                      </a:moveTo>
                      <a:lnTo>
                        <a:pt x="2999" y="8443"/>
                      </a:lnTo>
                      <a:lnTo>
                        <a:pt x="725" y="7270"/>
                      </a:lnTo>
                      <a:lnTo>
                        <a:pt x="0" y="6577"/>
                      </a:lnTo>
                      <a:lnTo>
                        <a:pt x="3284" y="2673"/>
                      </a:lnTo>
                      <a:lnTo>
                        <a:pt x="5949" y="782"/>
                      </a:lnTo>
                      <a:lnTo>
                        <a:pt x="20562" y="0"/>
                      </a:lnTo>
                      <a:lnTo>
                        <a:pt x="32289" y="1320"/>
                      </a:lnTo>
                      <a:lnTo>
                        <a:pt x="35973" y="2461"/>
                      </a:lnTo>
                      <a:lnTo>
                        <a:pt x="34612" y="4792"/>
                      </a:lnTo>
                      <a:lnTo>
                        <a:pt x="33911" y="5558"/>
                      </a:lnTo>
                      <a:close/>
                    </a:path>
                  </a:pathLst>
                </a:custGeom>
                <a:solidFill>
                  <a:srgbClr val="D6D6D2"/>
                </a:solidFill>
                <a:ln w="8150" cap="flat">
                  <a:noFill/>
                  <a:prstDash val="solid"/>
                  <a:miter/>
                </a:ln>
              </p:spPr>
              <p:txBody>
                <a:bodyPr rtlCol="0" anchor="ctr"/>
                <a:lstStyle/>
                <a:p>
                  <a:endParaRPr lang="en-US"/>
                </a:p>
              </p:txBody>
            </p:sp>
            <p:sp>
              <p:nvSpPr>
                <p:cNvPr id="630" name="Freeform: Shape 629">
                  <a:extLst>
                    <a:ext uri="{FF2B5EF4-FFF2-40B4-BE49-F238E27FC236}">
                      <a16:creationId xmlns:a16="http://schemas.microsoft.com/office/drawing/2014/main" id="{4D0FD1E0-1542-4370-8752-7F2BF8E8E994}"/>
                    </a:ext>
                  </a:extLst>
                </p:cNvPr>
                <p:cNvSpPr/>
                <p:nvPr/>
              </p:nvSpPr>
              <p:spPr>
                <a:xfrm>
                  <a:off x="7433208" y="1588971"/>
                  <a:ext cx="37431" cy="9029"/>
                </a:xfrm>
                <a:custGeom>
                  <a:avLst/>
                  <a:gdLst>
                    <a:gd name="connsiteX0" fmla="*/ 26853 w 37431"/>
                    <a:gd name="connsiteY0" fmla="*/ 7962 h 9029"/>
                    <a:gd name="connsiteX1" fmla="*/ 19062 w 37431"/>
                    <a:gd name="connsiteY1" fmla="*/ 9030 h 9029"/>
                    <a:gd name="connsiteX2" fmla="*/ 6520 w 37431"/>
                    <a:gd name="connsiteY2" fmla="*/ 7693 h 9029"/>
                    <a:gd name="connsiteX3" fmla="*/ 0 w 37431"/>
                    <a:gd name="connsiteY3" fmla="*/ 6186 h 9029"/>
                    <a:gd name="connsiteX4" fmla="*/ 505 w 37431"/>
                    <a:gd name="connsiteY4" fmla="*/ 5436 h 9029"/>
                    <a:gd name="connsiteX5" fmla="*/ 2225 w 37431"/>
                    <a:gd name="connsiteY5" fmla="*/ 4523 h 9029"/>
                    <a:gd name="connsiteX6" fmla="*/ 13105 w 37431"/>
                    <a:gd name="connsiteY6" fmla="*/ 848 h 9029"/>
                    <a:gd name="connsiteX7" fmla="*/ 34709 w 37431"/>
                    <a:gd name="connsiteY7" fmla="*/ 0 h 9029"/>
                    <a:gd name="connsiteX8" fmla="*/ 37431 w 37431"/>
                    <a:gd name="connsiteY8" fmla="*/ 2787 h 9029"/>
                    <a:gd name="connsiteX9" fmla="*/ 35068 w 37431"/>
                    <a:gd name="connsiteY9" fmla="*/ 4816 h 9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31" h="9029">
                      <a:moveTo>
                        <a:pt x="26853" y="7962"/>
                      </a:moveTo>
                      <a:lnTo>
                        <a:pt x="19062" y="9030"/>
                      </a:lnTo>
                      <a:lnTo>
                        <a:pt x="6520" y="7693"/>
                      </a:lnTo>
                      <a:lnTo>
                        <a:pt x="0" y="6186"/>
                      </a:lnTo>
                      <a:lnTo>
                        <a:pt x="505" y="5436"/>
                      </a:lnTo>
                      <a:lnTo>
                        <a:pt x="2225" y="4523"/>
                      </a:lnTo>
                      <a:lnTo>
                        <a:pt x="13105" y="848"/>
                      </a:lnTo>
                      <a:lnTo>
                        <a:pt x="34709" y="0"/>
                      </a:lnTo>
                      <a:lnTo>
                        <a:pt x="37431" y="2787"/>
                      </a:lnTo>
                      <a:lnTo>
                        <a:pt x="35068" y="4816"/>
                      </a:lnTo>
                      <a:close/>
                    </a:path>
                  </a:pathLst>
                </a:custGeom>
                <a:solidFill>
                  <a:srgbClr val="D6D6D2"/>
                </a:solidFill>
                <a:ln w="8150" cap="flat">
                  <a:noFill/>
                  <a:prstDash val="solid"/>
                  <a:miter/>
                </a:ln>
              </p:spPr>
              <p:txBody>
                <a:bodyPr rtlCol="0" anchor="ctr"/>
                <a:lstStyle/>
                <a:p>
                  <a:endParaRPr lang="en-US"/>
                </a:p>
              </p:txBody>
            </p:sp>
            <p:sp>
              <p:nvSpPr>
                <p:cNvPr id="631" name="Freeform: Shape 630">
                  <a:extLst>
                    <a:ext uri="{FF2B5EF4-FFF2-40B4-BE49-F238E27FC236}">
                      <a16:creationId xmlns:a16="http://schemas.microsoft.com/office/drawing/2014/main" id="{B7CD5951-CCEC-4FE3-9E42-0ED2F5C16EF5}"/>
                    </a:ext>
                  </a:extLst>
                </p:cNvPr>
                <p:cNvSpPr/>
                <p:nvPr/>
              </p:nvSpPr>
              <p:spPr>
                <a:xfrm>
                  <a:off x="7284076" y="1588352"/>
                  <a:ext cx="90502" cy="25198"/>
                </a:xfrm>
                <a:custGeom>
                  <a:avLst/>
                  <a:gdLst>
                    <a:gd name="connsiteX0" fmla="*/ 16699 w 90502"/>
                    <a:gd name="connsiteY0" fmla="*/ 0 h 25198"/>
                    <a:gd name="connsiteX1" fmla="*/ 35354 w 90502"/>
                    <a:gd name="connsiteY1" fmla="*/ 4988 h 25198"/>
                    <a:gd name="connsiteX2" fmla="*/ 52704 w 90502"/>
                    <a:gd name="connsiteY2" fmla="*/ 4499 h 25198"/>
                    <a:gd name="connsiteX3" fmla="*/ 60194 w 90502"/>
                    <a:gd name="connsiteY3" fmla="*/ 6096 h 25198"/>
                    <a:gd name="connsiteX4" fmla="*/ 71041 w 90502"/>
                    <a:gd name="connsiteY4" fmla="*/ 10521 h 25198"/>
                    <a:gd name="connsiteX5" fmla="*/ 87365 w 90502"/>
                    <a:gd name="connsiteY5" fmla="*/ 15330 h 25198"/>
                    <a:gd name="connsiteX6" fmla="*/ 90503 w 90502"/>
                    <a:gd name="connsiteY6" fmla="*/ 16748 h 25198"/>
                    <a:gd name="connsiteX7" fmla="*/ 87675 w 90502"/>
                    <a:gd name="connsiteY7" fmla="*/ 18655 h 25198"/>
                    <a:gd name="connsiteX8" fmla="*/ 68686 w 90502"/>
                    <a:gd name="connsiteY8" fmla="*/ 23382 h 25198"/>
                    <a:gd name="connsiteX9" fmla="*/ 56299 w 90502"/>
                    <a:gd name="connsiteY9" fmla="*/ 24971 h 25198"/>
                    <a:gd name="connsiteX10" fmla="*/ 45598 w 90502"/>
                    <a:gd name="connsiteY10" fmla="*/ 25199 h 25198"/>
                    <a:gd name="connsiteX11" fmla="*/ 41344 w 90502"/>
                    <a:gd name="connsiteY11" fmla="*/ 24734 h 25198"/>
                    <a:gd name="connsiteX12" fmla="*/ 37089 w 90502"/>
                    <a:gd name="connsiteY12" fmla="*/ 21336 h 25198"/>
                    <a:gd name="connsiteX13" fmla="*/ 26585 w 90502"/>
                    <a:gd name="connsiteY13" fmla="*/ 18834 h 25198"/>
                    <a:gd name="connsiteX14" fmla="*/ 15452 w 90502"/>
                    <a:gd name="connsiteY14" fmla="*/ 19510 h 25198"/>
                    <a:gd name="connsiteX15" fmla="*/ 14344 w 90502"/>
                    <a:gd name="connsiteY15" fmla="*/ 18149 h 25198"/>
                    <a:gd name="connsiteX16" fmla="*/ 12094 w 90502"/>
                    <a:gd name="connsiteY16" fmla="*/ 17229 h 25198"/>
                    <a:gd name="connsiteX17" fmla="*/ 8207 w 90502"/>
                    <a:gd name="connsiteY17" fmla="*/ 17025 h 25198"/>
                    <a:gd name="connsiteX18" fmla="*/ 530 w 90502"/>
                    <a:gd name="connsiteY18" fmla="*/ 15647 h 25198"/>
                    <a:gd name="connsiteX19" fmla="*/ 0 w 90502"/>
                    <a:gd name="connsiteY19" fmla="*/ 12632 h 25198"/>
                    <a:gd name="connsiteX20" fmla="*/ 4841 w 90502"/>
                    <a:gd name="connsiteY20" fmla="*/ 11092 h 25198"/>
                    <a:gd name="connsiteX21" fmla="*/ 7987 w 90502"/>
                    <a:gd name="connsiteY21" fmla="*/ 10986 h 25198"/>
                    <a:gd name="connsiteX22" fmla="*/ 9217 w 90502"/>
                    <a:gd name="connsiteY22" fmla="*/ 6707 h 25198"/>
                    <a:gd name="connsiteX23" fmla="*/ 14596 w 90502"/>
                    <a:gd name="connsiteY23" fmla="*/ 147 h 25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0502" h="25198">
                      <a:moveTo>
                        <a:pt x="16699" y="0"/>
                      </a:moveTo>
                      <a:lnTo>
                        <a:pt x="35354" y="4988"/>
                      </a:lnTo>
                      <a:lnTo>
                        <a:pt x="52704" y="4499"/>
                      </a:lnTo>
                      <a:lnTo>
                        <a:pt x="60194" y="6096"/>
                      </a:lnTo>
                      <a:lnTo>
                        <a:pt x="71041" y="10521"/>
                      </a:lnTo>
                      <a:lnTo>
                        <a:pt x="87365" y="15330"/>
                      </a:lnTo>
                      <a:lnTo>
                        <a:pt x="90503" y="16748"/>
                      </a:lnTo>
                      <a:lnTo>
                        <a:pt x="87675" y="18655"/>
                      </a:lnTo>
                      <a:lnTo>
                        <a:pt x="68686" y="23382"/>
                      </a:lnTo>
                      <a:lnTo>
                        <a:pt x="56299" y="24971"/>
                      </a:lnTo>
                      <a:lnTo>
                        <a:pt x="45598" y="25199"/>
                      </a:lnTo>
                      <a:lnTo>
                        <a:pt x="41344" y="24734"/>
                      </a:lnTo>
                      <a:lnTo>
                        <a:pt x="37089" y="21336"/>
                      </a:lnTo>
                      <a:lnTo>
                        <a:pt x="26585" y="18834"/>
                      </a:lnTo>
                      <a:lnTo>
                        <a:pt x="15452" y="19510"/>
                      </a:lnTo>
                      <a:lnTo>
                        <a:pt x="14344" y="18149"/>
                      </a:lnTo>
                      <a:lnTo>
                        <a:pt x="12094" y="17229"/>
                      </a:lnTo>
                      <a:lnTo>
                        <a:pt x="8207" y="17025"/>
                      </a:lnTo>
                      <a:lnTo>
                        <a:pt x="530" y="15647"/>
                      </a:lnTo>
                      <a:lnTo>
                        <a:pt x="0" y="12632"/>
                      </a:lnTo>
                      <a:lnTo>
                        <a:pt x="4841" y="11092"/>
                      </a:lnTo>
                      <a:lnTo>
                        <a:pt x="7987" y="10986"/>
                      </a:lnTo>
                      <a:lnTo>
                        <a:pt x="9217" y="6707"/>
                      </a:lnTo>
                      <a:lnTo>
                        <a:pt x="14596" y="147"/>
                      </a:lnTo>
                      <a:close/>
                    </a:path>
                  </a:pathLst>
                </a:custGeom>
                <a:solidFill>
                  <a:srgbClr val="D6D6D2"/>
                </a:solidFill>
                <a:ln w="8150" cap="flat">
                  <a:noFill/>
                  <a:prstDash val="solid"/>
                  <a:miter/>
                </a:ln>
              </p:spPr>
              <p:txBody>
                <a:bodyPr rtlCol="0" anchor="ctr"/>
                <a:lstStyle/>
                <a:p>
                  <a:endParaRPr lang="en-US"/>
                </a:p>
              </p:txBody>
            </p:sp>
            <p:sp>
              <p:nvSpPr>
                <p:cNvPr id="632" name="Freeform: Shape 631">
                  <a:extLst>
                    <a:ext uri="{FF2B5EF4-FFF2-40B4-BE49-F238E27FC236}">
                      <a16:creationId xmlns:a16="http://schemas.microsoft.com/office/drawing/2014/main" id="{586293C4-BD91-4D55-A42D-5DF48291ED87}"/>
                    </a:ext>
                  </a:extLst>
                </p:cNvPr>
                <p:cNvSpPr/>
                <p:nvPr/>
              </p:nvSpPr>
              <p:spPr>
                <a:xfrm>
                  <a:off x="7362598" y="1588230"/>
                  <a:ext cx="42639" cy="18279"/>
                </a:xfrm>
                <a:custGeom>
                  <a:avLst/>
                  <a:gdLst>
                    <a:gd name="connsiteX0" fmla="*/ 34995 w 42639"/>
                    <a:gd name="connsiteY0" fmla="*/ 3969 h 18279"/>
                    <a:gd name="connsiteX1" fmla="*/ 38450 w 42639"/>
                    <a:gd name="connsiteY1" fmla="*/ 6601 h 18279"/>
                    <a:gd name="connsiteX2" fmla="*/ 39787 w 42639"/>
                    <a:gd name="connsiteY2" fmla="*/ 9568 h 18279"/>
                    <a:gd name="connsiteX3" fmla="*/ 41946 w 42639"/>
                    <a:gd name="connsiteY3" fmla="*/ 11434 h 18279"/>
                    <a:gd name="connsiteX4" fmla="*/ 42639 w 42639"/>
                    <a:gd name="connsiteY4" fmla="*/ 14841 h 18279"/>
                    <a:gd name="connsiteX5" fmla="*/ 40895 w 42639"/>
                    <a:gd name="connsiteY5" fmla="*/ 17538 h 18279"/>
                    <a:gd name="connsiteX6" fmla="*/ 35484 w 42639"/>
                    <a:gd name="connsiteY6" fmla="*/ 18125 h 18279"/>
                    <a:gd name="connsiteX7" fmla="*/ 26649 w 42639"/>
                    <a:gd name="connsiteY7" fmla="*/ 18280 h 18279"/>
                    <a:gd name="connsiteX8" fmla="*/ 18019 w 42639"/>
                    <a:gd name="connsiteY8" fmla="*/ 16813 h 18279"/>
                    <a:gd name="connsiteX9" fmla="*/ 13357 w 42639"/>
                    <a:gd name="connsiteY9" fmla="*/ 11874 h 18279"/>
                    <a:gd name="connsiteX10" fmla="*/ 4808 w 42639"/>
                    <a:gd name="connsiteY10" fmla="*/ 10521 h 18279"/>
                    <a:gd name="connsiteX11" fmla="*/ 0 w 42639"/>
                    <a:gd name="connsiteY11" fmla="*/ 5248 h 18279"/>
                    <a:gd name="connsiteX12" fmla="*/ 4938 w 42639"/>
                    <a:gd name="connsiteY12" fmla="*/ 3708 h 18279"/>
                    <a:gd name="connsiteX13" fmla="*/ 11043 w 42639"/>
                    <a:gd name="connsiteY13" fmla="*/ 4499 h 18279"/>
                    <a:gd name="connsiteX14" fmla="*/ 20790 w 42639"/>
                    <a:gd name="connsiteY14" fmla="*/ 0 h 18279"/>
                    <a:gd name="connsiteX15" fmla="*/ 22102 w 42639"/>
                    <a:gd name="connsiteY15" fmla="*/ 212 h 18279"/>
                    <a:gd name="connsiteX16" fmla="*/ 24278 w 42639"/>
                    <a:gd name="connsiteY16" fmla="*/ 1231 h 18279"/>
                    <a:gd name="connsiteX17" fmla="*/ 32151 w 42639"/>
                    <a:gd name="connsiteY17" fmla="*/ 2934 h 1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639" h="18279">
                      <a:moveTo>
                        <a:pt x="34995" y="3969"/>
                      </a:moveTo>
                      <a:lnTo>
                        <a:pt x="38450" y="6601"/>
                      </a:lnTo>
                      <a:lnTo>
                        <a:pt x="39787" y="9568"/>
                      </a:lnTo>
                      <a:lnTo>
                        <a:pt x="41946" y="11434"/>
                      </a:lnTo>
                      <a:lnTo>
                        <a:pt x="42639" y="14841"/>
                      </a:lnTo>
                      <a:lnTo>
                        <a:pt x="40895" y="17538"/>
                      </a:lnTo>
                      <a:lnTo>
                        <a:pt x="35484" y="18125"/>
                      </a:lnTo>
                      <a:lnTo>
                        <a:pt x="26649" y="18280"/>
                      </a:lnTo>
                      <a:lnTo>
                        <a:pt x="18019" y="16813"/>
                      </a:lnTo>
                      <a:lnTo>
                        <a:pt x="13357" y="11874"/>
                      </a:lnTo>
                      <a:lnTo>
                        <a:pt x="4808" y="10521"/>
                      </a:lnTo>
                      <a:lnTo>
                        <a:pt x="0" y="5248"/>
                      </a:lnTo>
                      <a:lnTo>
                        <a:pt x="4938" y="3708"/>
                      </a:lnTo>
                      <a:lnTo>
                        <a:pt x="11043" y="4499"/>
                      </a:lnTo>
                      <a:lnTo>
                        <a:pt x="20790" y="0"/>
                      </a:lnTo>
                      <a:lnTo>
                        <a:pt x="22102" y="212"/>
                      </a:lnTo>
                      <a:lnTo>
                        <a:pt x="24278" y="1231"/>
                      </a:lnTo>
                      <a:lnTo>
                        <a:pt x="32151" y="2934"/>
                      </a:lnTo>
                      <a:close/>
                    </a:path>
                  </a:pathLst>
                </a:custGeom>
                <a:solidFill>
                  <a:srgbClr val="D6D6D2"/>
                </a:solidFill>
                <a:ln w="8150" cap="flat">
                  <a:noFill/>
                  <a:prstDash val="solid"/>
                  <a:miter/>
                </a:ln>
              </p:spPr>
              <p:txBody>
                <a:bodyPr rtlCol="0" anchor="ctr"/>
                <a:lstStyle/>
                <a:p>
                  <a:endParaRPr lang="en-US"/>
                </a:p>
              </p:txBody>
            </p:sp>
            <p:sp>
              <p:nvSpPr>
                <p:cNvPr id="633" name="Freeform: Shape 632">
                  <a:extLst>
                    <a:ext uri="{FF2B5EF4-FFF2-40B4-BE49-F238E27FC236}">
                      <a16:creationId xmlns:a16="http://schemas.microsoft.com/office/drawing/2014/main" id="{851CF083-EE97-4398-B8CD-FD9A21573ECD}"/>
                    </a:ext>
                  </a:extLst>
                </p:cNvPr>
                <p:cNvSpPr/>
                <p:nvPr/>
              </p:nvSpPr>
              <p:spPr>
                <a:xfrm>
                  <a:off x="7494266" y="1584065"/>
                  <a:ext cx="72361" cy="25916"/>
                </a:xfrm>
                <a:custGeom>
                  <a:avLst/>
                  <a:gdLst>
                    <a:gd name="connsiteX0" fmla="*/ 21181 w 72361"/>
                    <a:gd name="connsiteY0" fmla="*/ 25794 h 25916"/>
                    <a:gd name="connsiteX1" fmla="*/ 16560 w 72361"/>
                    <a:gd name="connsiteY1" fmla="*/ 25916 h 25916"/>
                    <a:gd name="connsiteX2" fmla="*/ 11955 w 72361"/>
                    <a:gd name="connsiteY2" fmla="*/ 25134 h 25916"/>
                    <a:gd name="connsiteX3" fmla="*/ 5966 w 72361"/>
                    <a:gd name="connsiteY3" fmla="*/ 22567 h 25916"/>
                    <a:gd name="connsiteX4" fmla="*/ 0 w 72361"/>
                    <a:gd name="connsiteY4" fmla="*/ 19502 h 25916"/>
                    <a:gd name="connsiteX5" fmla="*/ 1801 w 72361"/>
                    <a:gd name="connsiteY5" fmla="*/ 17905 h 25916"/>
                    <a:gd name="connsiteX6" fmla="*/ 7416 w 72361"/>
                    <a:gd name="connsiteY6" fmla="*/ 15794 h 25916"/>
                    <a:gd name="connsiteX7" fmla="*/ 14783 w 72361"/>
                    <a:gd name="connsiteY7" fmla="*/ 12021 h 25916"/>
                    <a:gd name="connsiteX8" fmla="*/ 27155 w 72361"/>
                    <a:gd name="connsiteY8" fmla="*/ 11287 h 25916"/>
                    <a:gd name="connsiteX9" fmla="*/ 33137 w 72361"/>
                    <a:gd name="connsiteY9" fmla="*/ 11271 h 25916"/>
                    <a:gd name="connsiteX10" fmla="*/ 39086 w 72361"/>
                    <a:gd name="connsiteY10" fmla="*/ 10383 h 25916"/>
                    <a:gd name="connsiteX11" fmla="*/ 40814 w 72361"/>
                    <a:gd name="connsiteY11" fmla="*/ 8443 h 25916"/>
                    <a:gd name="connsiteX12" fmla="*/ 41930 w 72361"/>
                    <a:gd name="connsiteY12" fmla="*/ 4792 h 25916"/>
                    <a:gd name="connsiteX13" fmla="*/ 43055 w 72361"/>
                    <a:gd name="connsiteY13" fmla="*/ 2812 h 25916"/>
                    <a:gd name="connsiteX14" fmla="*/ 44408 w 72361"/>
                    <a:gd name="connsiteY14" fmla="*/ 1214 h 25916"/>
                    <a:gd name="connsiteX15" fmla="*/ 50985 w 72361"/>
                    <a:gd name="connsiteY15" fmla="*/ 0 h 25916"/>
                    <a:gd name="connsiteX16" fmla="*/ 56600 w 72361"/>
                    <a:gd name="connsiteY16" fmla="*/ 65 h 25916"/>
                    <a:gd name="connsiteX17" fmla="*/ 62198 w 72361"/>
                    <a:gd name="connsiteY17" fmla="*/ 1508 h 25916"/>
                    <a:gd name="connsiteX18" fmla="*/ 65784 w 72361"/>
                    <a:gd name="connsiteY18" fmla="*/ 2836 h 25916"/>
                    <a:gd name="connsiteX19" fmla="*/ 69191 w 72361"/>
                    <a:gd name="connsiteY19" fmla="*/ 5297 h 25916"/>
                    <a:gd name="connsiteX20" fmla="*/ 70984 w 72361"/>
                    <a:gd name="connsiteY20" fmla="*/ 7359 h 25916"/>
                    <a:gd name="connsiteX21" fmla="*/ 70438 w 72361"/>
                    <a:gd name="connsiteY21" fmla="*/ 9869 h 25916"/>
                    <a:gd name="connsiteX22" fmla="*/ 70748 w 72361"/>
                    <a:gd name="connsiteY22" fmla="*/ 11956 h 25916"/>
                    <a:gd name="connsiteX23" fmla="*/ 72361 w 72361"/>
                    <a:gd name="connsiteY23" fmla="*/ 13887 h 25916"/>
                    <a:gd name="connsiteX24" fmla="*/ 61441 w 72361"/>
                    <a:gd name="connsiteY24" fmla="*/ 19665 h 25916"/>
                    <a:gd name="connsiteX25" fmla="*/ 50308 w 72361"/>
                    <a:gd name="connsiteY25" fmla="*/ 22942 h 25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2361" h="25916">
                      <a:moveTo>
                        <a:pt x="21181" y="25794"/>
                      </a:moveTo>
                      <a:lnTo>
                        <a:pt x="16560" y="25916"/>
                      </a:lnTo>
                      <a:lnTo>
                        <a:pt x="11955" y="25134"/>
                      </a:lnTo>
                      <a:lnTo>
                        <a:pt x="5966" y="22567"/>
                      </a:lnTo>
                      <a:lnTo>
                        <a:pt x="0" y="19502"/>
                      </a:lnTo>
                      <a:lnTo>
                        <a:pt x="1801" y="17905"/>
                      </a:lnTo>
                      <a:lnTo>
                        <a:pt x="7416" y="15794"/>
                      </a:lnTo>
                      <a:lnTo>
                        <a:pt x="14783" y="12021"/>
                      </a:lnTo>
                      <a:lnTo>
                        <a:pt x="27155" y="11287"/>
                      </a:lnTo>
                      <a:lnTo>
                        <a:pt x="33137" y="11271"/>
                      </a:lnTo>
                      <a:lnTo>
                        <a:pt x="39086" y="10383"/>
                      </a:lnTo>
                      <a:lnTo>
                        <a:pt x="40814" y="8443"/>
                      </a:lnTo>
                      <a:lnTo>
                        <a:pt x="41930" y="4792"/>
                      </a:lnTo>
                      <a:lnTo>
                        <a:pt x="43055" y="2812"/>
                      </a:lnTo>
                      <a:lnTo>
                        <a:pt x="44408" y="1214"/>
                      </a:lnTo>
                      <a:lnTo>
                        <a:pt x="50985" y="0"/>
                      </a:lnTo>
                      <a:lnTo>
                        <a:pt x="56600" y="65"/>
                      </a:lnTo>
                      <a:lnTo>
                        <a:pt x="62198" y="1508"/>
                      </a:lnTo>
                      <a:lnTo>
                        <a:pt x="65784" y="2836"/>
                      </a:lnTo>
                      <a:lnTo>
                        <a:pt x="69191" y="5297"/>
                      </a:lnTo>
                      <a:lnTo>
                        <a:pt x="70984" y="7359"/>
                      </a:lnTo>
                      <a:lnTo>
                        <a:pt x="70438" y="9869"/>
                      </a:lnTo>
                      <a:lnTo>
                        <a:pt x="70748" y="11956"/>
                      </a:lnTo>
                      <a:lnTo>
                        <a:pt x="72361" y="13887"/>
                      </a:lnTo>
                      <a:lnTo>
                        <a:pt x="61441" y="19665"/>
                      </a:lnTo>
                      <a:lnTo>
                        <a:pt x="50308" y="22942"/>
                      </a:lnTo>
                      <a:close/>
                    </a:path>
                  </a:pathLst>
                </a:custGeom>
                <a:solidFill>
                  <a:srgbClr val="D6D6D2"/>
                </a:solidFill>
                <a:ln w="8150" cap="flat">
                  <a:noFill/>
                  <a:prstDash val="solid"/>
                  <a:miter/>
                </a:ln>
              </p:spPr>
              <p:txBody>
                <a:bodyPr rtlCol="0" anchor="ctr"/>
                <a:lstStyle/>
                <a:p>
                  <a:endParaRPr lang="en-US"/>
                </a:p>
              </p:txBody>
            </p:sp>
            <p:sp>
              <p:nvSpPr>
                <p:cNvPr id="634" name="Freeform: Shape 633">
                  <a:extLst>
                    <a:ext uri="{FF2B5EF4-FFF2-40B4-BE49-F238E27FC236}">
                      <a16:creationId xmlns:a16="http://schemas.microsoft.com/office/drawing/2014/main" id="{6703BF54-2971-4BB1-B724-6E1868190BDA}"/>
                    </a:ext>
                  </a:extLst>
                </p:cNvPr>
                <p:cNvSpPr/>
                <p:nvPr/>
              </p:nvSpPr>
              <p:spPr>
                <a:xfrm>
                  <a:off x="8173382" y="1583283"/>
                  <a:ext cx="41327" cy="7766"/>
                </a:xfrm>
                <a:custGeom>
                  <a:avLst/>
                  <a:gdLst>
                    <a:gd name="connsiteX0" fmla="*/ 41328 w 41327"/>
                    <a:gd name="connsiteY0" fmla="*/ 3765 h 7766"/>
                    <a:gd name="connsiteX1" fmla="*/ 32786 w 41327"/>
                    <a:gd name="connsiteY1" fmla="*/ 7767 h 7766"/>
                    <a:gd name="connsiteX2" fmla="*/ 1850 w 41327"/>
                    <a:gd name="connsiteY2" fmla="*/ 5216 h 7766"/>
                    <a:gd name="connsiteX3" fmla="*/ 448 w 41327"/>
                    <a:gd name="connsiteY3" fmla="*/ 3374 h 7766"/>
                    <a:gd name="connsiteX4" fmla="*/ 0 w 41327"/>
                    <a:gd name="connsiteY4" fmla="*/ 2225 h 7766"/>
                    <a:gd name="connsiteX5" fmla="*/ 4189 w 41327"/>
                    <a:gd name="connsiteY5" fmla="*/ 0 h 7766"/>
                    <a:gd name="connsiteX6" fmla="*/ 29951 w 41327"/>
                    <a:gd name="connsiteY6" fmla="*/ 758 h 7766"/>
                    <a:gd name="connsiteX7" fmla="*/ 39094 w 41327"/>
                    <a:gd name="connsiteY7" fmla="*/ 1540 h 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327" h="7766">
                      <a:moveTo>
                        <a:pt x="41328" y="3765"/>
                      </a:moveTo>
                      <a:lnTo>
                        <a:pt x="32786" y="7767"/>
                      </a:lnTo>
                      <a:lnTo>
                        <a:pt x="1850" y="5216"/>
                      </a:lnTo>
                      <a:lnTo>
                        <a:pt x="448" y="3374"/>
                      </a:lnTo>
                      <a:lnTo>
                        <a:pt x="0" y="2225"/>
                      </a:lnTo>
                      <a:lnTo>
                        <a:pt x="4189" y="0"/>
                      </a:lnTo>
                      <a:lnTo>
                        <a:pt x="29951" y="758"/>
                      </a:lnTo>
                      <a:lnTo>
                        <a:pt x="39094" y="1540"/>
                      </a:lnTo>
                      <a:close/>
                    </a:path>
                  </a:pathLst>
                </a:custGeom>
                <a:solidFill>
                  <a:srgbClr val="D6D6D2"/>
                </a:solidFill>
                <a:ln w="8150" cap="flat">
                  <a:noFill/>
                  <a:prstDash val="solid"/>
                  <a:miter/>
                </a:ln>
              </p:spPr>
              <p:txBody>
                <a:bodyPr rtlCol="0" anchor="ctr"/>
                <a:lstStyle/>
                <a:p>
                  <a:endParaRPr lang="en-US"/>
                </a:p>
              </p:txBody>
            </p:sp>
            <p:sp>
              <p:nvSpPr>
                <p:cNvPr id="635" name="Freeform: Shape 634">
                  <a:extLst>
                    <a:ext uri="{FF2B5EF4-FFF2-40B4-BE49-F238E27FC236}">
                      <a16:creationId xmlns:a16="http://schemas.microsoft.com/office/drawing/2014/main" id="{2F4E6E98-C90D-445F-96B1-518BF4753B17}"/>
                    </a:ext>
                  </a:extLst>
                </p:cNvPr>
                <p:cNvSpPr/>
                <p:nvPr/>
              </p:nvSpPr>
              <p:spPr>
                <a:xfrm>
                  <a:off x="8213634" y="1579811"/>
                  <a:ext cx="157387" cy="65458"/>
                </a:xfrm>
                <a:custGeom>
                  <a:avLst/>
                  <a:gdLst>
                    <a:gd name="connsiteX0" fmla="*/ 124072 w 157387"/>
                    <a:gd name="connsiteY0" fmla="*/ 10635 h 65458"/>
                    <a:gd name="connsiteX1" fmla="*/ 124976 w 157387"/>
                    <a:gd name="connsiteY1" fmla="*/ 12999 h 65458"/>
                    <a:gd name="connsiteX2" fmla="*/ 128195 w 157387"/>
                    <a:gd name="connsiteY2" fmla="*/ 14849 h 65458"/>
                    <a:gd name="connsiteX3" fmla="*/ 129736 w 157387"/>
                    <a:gd name="connsiteY3" fmla="*/ 16731 h 65458"/>
                    <a:gd name="connsiteX4" fmla="*/ 146067 w 157387"/>
                    <a:gd name="connsiteY4" fmla="*/ 22730 h 65458"/>
                    <a:gd name="connsiteX5" fmla="*/ 153256 w 157387"/>
                    <a:gd name="connsiteY5" fmla="*/ 23512 h 65458"/>
                    <a:gd name="connsiteX6" fmla="*/ 156451 w 157387"/>
                    <a:gd name="connsiteY6" fmla="*/ 24979 h 65458"/>
                    <a:gd name="connsiteX7" fmla="*/ 157388 w 157387"/>
                    <a:gd name="connsiteY7" fmla="*/ 26788 h 65458"/>
                    <a:gd name="connsiteX8" fmla="*/ 157053 w 157387"/>
                    <a:gd name="connsiteY8" fmla="*/ 30154 h 65458"/>
                    <a:gd name="connsiteX9" fmla="*/ 154340 w 157387"/>
                    <a:gd name="connsiteY9" fmla="*/ 30121 h 65458"/>
                    <a:gd name="connsiteX10" fmla="*/ 152319 w 157387"/>
                    <a:gd name="connsiteY10" fmla="*/ 31181 h 65458"/>
                    <a:gd name="connsiteX11" fmla="*/ 141308 w 157387"/>
                    <a:gd name="connsiteY11" fmla="*/ 32501 h 65458"/>
                    <a:gd name="connsiteX12" fmla="*/ 138619 w 157387"/>
                    <a:gd name="connsiteY12" fmla="*/ 34473 h 65458"/>
                    <a:gd name="connsiteX13" fmla="*/ 136451 w 157387"/>
                    <a:gd name="connsiteY13" fmla="*/ 38524 h 65458"/>
                    <a:gd name="connsiteX14" fmla="*/ 137616 w 157387"/>
                    <a:gd name="connsiteY14" fmla="*/ 39331 h 65458"/>
                    <a:gd name="connsiteX15" fmla="*/ 138659 w 157387"/>
                    <a:gd name="connsiteY15" fmla="*/ 40520 h 65458"/>
                    <a:gd name="connsiteX16" fmla="*/ 142025 w 157387"/>
                    <a:gd name="connsiteY16" fmla="*/ 47374 h 65458"/>
                    <a:gd name="connsiteX17" fmla="*/ 142922 w 157387"/>
                    <a:gd name="connsiteY17" fmla="*/ 48434 h 65458"/>
                    <a:gd name="connsiteX18" fmla="*/ 146157 w 157387"/>
                    <a:gd name="connsiteY18" fmla="*/ 49420 h 65458"/>
                    <a:gd name="connsiteX19" fmla="*/ 143223 w 157387"/>
                    <a:gd name="connsiteY19" fmla="*/ 52012 h 65458"/>
                    <a:gd name="connsiteX20" fmla="*/ 140159 w 157387"/>
                    <a:gd name="connsiteY20" fmla="*/ 53633 h 65458"/>
                    <a:gd name="connsiteX21" fmla="*/ 107430 w 157387"/>
                    <a:gd name="connsiteY21" fmla="*/ 56910 h 65458"/>
                    <a:gd name="connsiteX22" fmla="*/ 85246 w 157387"/>
                    <a:gd name="connsiteY22" fmla="*/ 58271 h 65458"/>
                    <a:gd name="connsiteX23" fmla="*/ 77805 w 157387"/>
                    <a:gd name="connsiteY23" fmla="*/ 59672 h 65458"/>
                    <a:gd name="connsiteX24" fmla="*/ 75426 w 157387"/>
                    <a:gd name="connsiteY24" fmla="*/ 59509 h 65458"/>
                    <a:gd name="connsiteX25" fmla="*/ 69550 w 157387"/>
                    <a:gd name="connsiteY25" fmla="*/ 62068 h 65458"/>
                    <a:gd name="connsiteX26" fmla="*/ 58238 w 157387"/>
                    <a:gd name="connsiteY26" fmla="*/ 65434 h 65458"/>
                    <a:gd name="connsiteX27" fmla="*/ 52834 w 157387"/>
                    <a:gd name="connsiteY27" fmla="*/ 65459 h 65458"/>
                    <a:gd name="connsiteX28" fmla="*/ 36666 w 157387"/>
                    <a:gd name="connsiteY28" fmla="*/ 60740 h 65458"/>
                    <a:gd name="connsiteX29" fmla="*/ 16805 w 157387"/>
                    <a:gd name="connsiteY29" fmla="*/ 56787 h 65458"/>
                    <a:gd name="connsiteX30" fmla="*/ 14091 w 157387"/>
                    <a:gd name="connsiteY30" fmla="*/ 54538 h 65458"/>
                    <a:gd name="connsiteX31" fmla="*/ 9111 w 157387"/>
                    <a:gd name="connsiteY31" fmla="*/ 53201 h 65458"/>
                    <a:gd name="connsiteX32" fmla="*/ 2820 w 157387"/>
                    <a:gd name="connsiteY32" fmla="*/ 52150 h 65458"/>
                    <a:gd name="connsiteX33" fmla="*/ 0 w 157387"/>
                    <a:gd name="connsiteY33" fmla="*/ 47611 h 65458"/>
                    <a:gd name="connsiteX34" fmla="*/ 4067 w 157387"/>
                    <a:gd name="connsiteY34" fmla="*/ 44538 h 65458"/>
                    <a:gd name="connsiteX35" fmla="*/ 9242 w 157387"/>
                    <a:gd name="connsiteY35" fmla="*/ 41498 h 65458"/>
                    <a:gd name="connsiteX36" fmla="*/ 17921 w 157387"/>
                    <a:gd name="connsiteY36" fmla="*/ 40390 h 65458"/>
                    <a:gd name="connsiteX37" fmla="*/ 26144 w 157387"/>
                    <a:gd name="connsiteY37" fmla="*/ 38638 h 65458"/>
                    <a:gd name="connsiteX38" fmla="*/ 32314 w 157387"/>
                    <a:gd name="connsiteY38" fmla="*/ 34245 h 65458"/>
                    <a:gd name="connsiteX39" fmla="*/ 36136 w 157387"/>
                    <a:gd name="connsiteY39" fmla="*/ 29893 h 65458"/>
                    <a:gd name="connsiteX40" fmla="*/ 43120 w 157387"/>
                    <a:gd name="connsiteY40" fmla="*/ 25346 h 65458"/>
                    <a:gd name="connsiteX41" fmla="*/ 30977 w 157387"/>
                    <a:gd name="connsiteY41" fmla="*/ 26503 h 65458"/>
                    <a:gd name="connsiteX42" fmla="*/ 26495 w 157387"/>
                    <a:gd name="connsiteY42" fmla="*/ 25884 h 65458"/>
                    <a:gd name="connsiteX43" fmla="*/ 26935 w 157387"/>
                    <a:gd name="connsiteY43" fmla="*/ 24376 h 65458"/>
                    <a:gd name="connsiteX44" fmla="*/ 29420 w 157387"/>
                    <a:gd name="connsiteY44" fmla="*/ 21165 h 65458"/>
                    <a:gd name="connsiteX45" fmla="*/ 30765 w 157387"/>
                    <a:gd name="connsiteY45" fmla="*/ 20089 h 65458"/>
                    <a:gd name="connsiteX46" fmla="*/ 35085 w 157387"/>
                    <a:gd name="connsiteY46" fmla="*/ 18386 h 65458"/>
                    <a:gd name="connsiteX47" fmla="*/ 38214 w 157387"/>
                    <a:gd name="connsiteY47" fmla="*/ 15142 h 65458"/>
                    <a:gd name="connsiteX48" fmla="*/ 45500 w 157387"/>
                    <a:gd name="connsiteY48" fmla="*/ 12909 h 65458"/>
                    <a:gd name="connsiteX49" fmla="*/ 48947 w 157387"/>
                    <a:gd name="connsiteY49" fmla="*/ 12526 h 65458"/>
                    <a:gd name="connsiteX50" fmla="*/ 52403 w 157387"/>
                    <a:gd name="connsiteY50" fmla="*/ 12575 h 65458"/>
                    <a:gd name="connsiteX51" fmla="*/ 58645 w 157387"/>
                    <a:gd name="connsiteY51" fmla="*/ 11532 h 65458"/>
                    <a:gd name="connsiteX52" fmla="*/ 64888 w 157387"/>
                    <a:gd name="connsiteY52" fmla="*/ 9918 h 65458"/>
                    <a:gd name="connsiteX53" fmla="*/ 70723 w 157387"/>
                    <a:gd name="connsiteY53" fmla="*/ 8989 h 65458"/>
                    <a:gd name="connsiteX54" fmla="*/ 76583 w 157387"/>
                    <a:gd name="connsiteY54" fmla="*/ 8614 h 65458"/>
                    <a:gd name="connsiteX55" fmla="*/ 82198 w 157387"/>
                    <a:gd name="connsiteY55" fmla="*/ 7327 h 65458"/>
                    <a:gd name="connsiteX56" fmla="*/ 87724 w 157387"/>
                    <a:gd name="connsiteY56" fmla="*/ 4800 h 65458"/>
                    <a:gd name="connsiteX57" fmla="*/ 90160 w 157387"/>
                    <a:gd name="connsiteY57" fmla="*/ 497 h 65458"/>
                    <a:gd name="connsiteX58" fmla="*/ 106060 w 157387"/>
                    <a:gd name="connsiteY58" fmla="*/ 0 h 65458"/>
                    <a:gd name="connsiteX59" fmla="*/ 108587 w 157387"/>
                    <a:gd name="connsiteY59" fmla="*/ 1035 h 65458"/>
                    <a:gd name="connsiteX60" fmla="*/ 110616 w 157387"/>
                    <a:gd name="connsiteY60" fmla="*/ 3586 h 65458"/>
                    <a:gd name="connsiteX61" fmla="*/ 112874 w 157387"/>
                    <a:gd name="connsiteY61" fmla="*/ 4564 h 65458"/>
                    <a:gd name="connsiteX62" fmla="*/ 115645 w 157387"/>
                    <a:gd name="connsiteY62" fmla="*/ 5012 h 65458"/>
                    <a:gd name="connsiteX63" fmla="*/ 122694 w 157387"/>
                    <a:gd name="connsiteY63" fmla="*/ 9413 h 65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57387" h="65458">
                      <a:moveTo>
                        <a:pt x="124072" y="10635"/>
                      </a:moveTo>
                      <a:lnTo>
                        <a:pt x="124976" y="12999"/>
                      </a:lnTo>
                      <a:lnTo>
                        <a:pt x="128195" y="14849"/>
                      </a:lnTo>
                      <a:lnTo>
                        <a:pt x="129736" y="16731"/>
                      </a:lnTo>
                      <a:lnTo>
                        <a:pt x="146067" y="22730"/>
                      </a:lnTo>
                      <a:lnTo>
                        <a:pt x="153256" y="23512"/>
                      </a:lnTo>
                      <a:lnTo>
                        <a:pt x="156451" y="24979"/>
                      </a:lnTo>
                      <a:lnTo>
                        <a:pt x="157388" y="26788"/>
                      </a:lnTo>
                      <a:lnTo>
                        <a:pt x="157053" y="30154"/>
                      </a:lnTo>
                      <a:lnTo>
                        <a:pt x="154340" y="30121"/>
                      </a:lnTo>
                      <a:lnTo>
                        <a:pt x="152319" y="31181"/>
                      </a:lnTo>
                      <a:lnTo>
                        <a:pt x="141308" y="32501"/>
                      </a:lnTo>
                      <a:lnTo>
                        <a:pt x="138619" y="34473"/>
                      </a:lnTo>
                      <a:lnTo>
                        <a:pt x="136451" y="38524"/>
                      </a:lnTo>
                      <a:lnTo>
                        <a:pt x="137616" y="39331"/>
                      </a:lnTo>
                      <a:lnTo>
                        <a:pt x="138659" y="40520"/>
                      </a:lnTo>
                      <a:lnTo>
                        <a:pt x="142025" y="47374"/>
                      </a:lnTo>
                      <a:lnTo>
                        <a:pt x="142922" y="48434"/>
                      </a:lnTo>
                      <a:lnTo>
                        <a:pt x="146157" y="49420"/>
                      </a:lnTo>
                      <a:lnTo>
                        <a:pt x="143223" y="52012"/>
                      </a:lnTo>
                      <a:lnTo>
                        <a:pt x="140159" y="53633"/>
                      </a:lnTo>
                      <a:lnTo>
                        <a:pt x="107430" y="56910"/>
                      </a:lnTo>
                      <a:lnTo>
                        <a:pt x="85246" y="58271"/>
                      </a:lnTo>
                      <a:lnTo>
                        <a:pt x="77805" y="59672"/>
                      </a:lnTo>
                      <a:lnTo>
                        <a:pt x="75426" y="59509"/>
                      </a:lnTo>
                      <a:lnTo>
                        <a:pt x="69550" y="62068"/>
                      </a:lnTo>
                      <a:lnTo>
                        <a:pt x="58238" y="65434"/>
                      </a:lnTo>
                      <a:lnTo>
                        <a:pt x="52834" y="65459"/>
                      </a:lnTo>
                      <a:lnTo>
                        <a:pt x="36666" y="60740"/>
                      </a:lnTo>
                      <a:lnTo>
                        <a:pt x="16805" y="56787"/>
                      </a:lnTo>
                      <a:lnTo>
                        <a:pt x="14091" y="54538"/>
                      </a:lnTo>
                      <a:lnTo>
                        <a:pt x="9111" y="53201"/>
                      </a:lnTo>
                      <a:lnTo>
                        <a:pt x="2820" y="52150"/>
                      </a:lnTo>
                      <a:lnTo>
                        <a:pt x="0" y="47611"/>
                      </a:lnTo>
                      <a:lnTo>
                        <a:pt x="4067" y="44538"/>
                      </a:lnTo>
                      <a:lnTo>
                        <a:pt x="9242" y="41498"/>
                      </a:lnTo>
                      <a:lnTo>
                        <a:pt x="17921" y="40390"/>
                      </a:lnTo>
                      <a:lnTo>
                        <a:pt x="26144" y="38638"/>
                      </a:lnTo>
                      <a:lnTo>
                        <a:pt x="32314" y="34245"/>
                      </a:lnTo>
                      <a:lnTo>
                        <a:pt x="36136" y="29893"/>
                      </a:lnTo>
                      <a:lnTo>
                        <a:pt x="43120" y="25346"/>
                      </a:lnTo>
                      <a:lnTo>
                        <a:pt x="30977" y="26503"/>
                      </a:lnTo>
                      <a:lnTo>
                        <a:pt x="26495" y="25884"/>
                      </a:lnTo>
                      <a:lnTo>
                        <a:pt x="26935" y="24376"/>
                      </a:lnTo>
                      <a:lnTo>
                        <a:pt x="29420" y="21165"/>
                      </a:lnTo>
                      <a:lnTo>
                        <a:pt x="30765" y="20089"/>
                      </a:lnTo>
                      <a:lnTo>
                        <a:pt x="35085" y="18386"/>
                      </a:lnTo>
                      <a:lnTo>
                        <a:pt x="38214" y="15142"/>
                      </a:lnTo>
                      <a:lnTo>
                        <a:pt x="45500" y="12909"/>
                      </a:lnTo>
                      <a:lnTo>
                        <a:pt x="48947" y="12526"/>
                      </a:lnTo>
                      <a:lnTo>
                        <a:pt x="52403" y="12575"/>
                      </a:lnTo>
                      <a:lnTo>
                        <a:pt x="58645" y="11532"/>
                      </a:lnTo>
                      <a:lnTo>
                        <a:pt x="64888" y="9918"/>
                      </a:lnTo>
                      <a:lnTo>
                        <a:pt x="70723" y="8989"/>
                      </a:lnTo>
                      <a:lnTo>
                        <a:pt x="76583" y="8614"/>
                      </a:lnTo>
                      <a:lnTo>
                        <a:pt x="82198" y="7327"/>
                      </a:lnTo>
                      <a:lnTo>
                        <a:pt x="87724" y="4800"/>
                      </a:lnTo>
                      <a:lnTo>
                        <a:pt x="90160" y="497"/>
                      </a:lnTo>
                      <a:lnTo>
                        <a:pt x="106060" y="0"/>
                      </a:lnTo>
                      <a:lnTo>
                        <a:pt x="108587" y="1035"/>
                      </a:lnTo>
                      <a:lnTo>
                        <a:pt x="110616" y="3586"/>
                      </a:lnTo>
                      <a:lnTo>
                        <a:pt x="112874" y="4564"/>
                      </a:lnTo>
                      <a:lnTo>
                        <a:pt x="115645" y="5012"/>
                      </a:lnTo>
                      <a:lnTo>
                        <a:pt x="122694" y="9413"/>
                      </a:lnTo>
                      <a:close/>
                    </a:path>
                  </a:pathLst>
                </a:custGeom>
                <a:solidFill>
                  <a:srgbClr val="D6D6D2"/>
                </a:solidFill>
                <a:ln w="8150" cap="flat">
                  <a:noFill/>
                  <a:prstDash val="solid"/>
                  <a:miter/>
                </a:ln>
              </p:spPr>
              <p:txBody>
                <a:bodyPr rtlCol="0" anchor="ctr"/>
                <a:lstStyle/>
                <a:p>
                  <a:endParaRPr lang="en-US"/>
                </a:p>
              </p:txBody>
            </p:sp>
            <p:sp>
              <p:nvSpPr>
                <p:cNvPr id="636" name="Freeform: Shape 635">
                  <a:extLst>
                    <a:ext uri="{FF2B5EF4-FFF2-40B4-BE49-F238E27FC236}">
                      <a16:creationId xmlns:a16="http://schemas.microsoft.com/office/drawing/2014/main" id="{AB9915C2-CCE7-4C0F-B0E0-2B7A26DEEA17}"/>
                    </a:ext>
                  </a:extLst>
                </p:cNvPr>
                <p:cNvSpPr/>
                <p:nvPr/>
              </p:nvSpPr>
              <p:spPr>
                <a:xfrm>
                  <a:off x="7319307" y="1565003"/>
                  <a:ext cx="76835" cy="22330"/>
                </a:xfrm>
                <a:custGeom>
                  <a:avLst/>
                  <a:gdLst>
                    <a:gd name="connsiteX0" fmla="*/ 58148 w 76835"/>
                    <a:gd name="connsiteY0" fmla="*/ 978 h 22330"/>
                    <a:gd name="connsiteX1" fmla="*/ 59444 w 76835"/>
                    <a:gd name="connsiteY1" fmla="*/ 3040 h 22330"/>
                    <a:gd name="connsiteX2" fmla="*/ 63266 w 76835"/>
                    <a:gd name="connsiteY2" fmla="*/ 4222 h 22330"/>
                    <a:gd name="connsiteX3" fmla="*/ 73673 w 76835"/>
                    <a:gd name="connsiteY3" fmla="*/ 5248 h 22330"/>
                    <a:gd name="connsiteX4" fmla="*/ 76836 w 76835"/>
                    <a:gd name="connsiteY4" fmla="*/ 7628 h 22330"/>
                    <a:gd name="connsiteX5" fmla="*/ 72076 w 76835"/>
                    <a:gd name="connsiteY5" fmla="*/ 9266 h 22330"/>
                    <a:gd name="connsiteX6" fmla="*/ 59346 w 76835"/>
                    <a:gd name="connsiteY6" fmla="*/ 10244 h 22330"/>
                    <a:gd name="connsiteX7" fmla="*/ 60666 w 76835"/>
                    <a:gd name="connsiteY7" fmla="*/ 13618 h 22330"/>
                    <a:gd name="connsiteX8" fmla="*/ 63234 w 76835"/>
                    <a:gd name="connsiteY8" fmla="*/ 16145 h 22330"/>
                    <a:gd name="connsiteX9" fmla="*/ 60691 w 76835"/>
                    <a:gd name="connsiteY9" fmla="*/ 19119 h 22330"/>
                    <a:gd name="connsiteX10" fmla="*/ 57146 w 76835"/>
                    <a:gd name="connsiteY10" fmla="*/ 20562 h 22330"/>
                    <a:gd name="connsiteX11" fmla="*/ 49241 w 76835"/>
                    <a:gd name="connsiteY11" fmla="*/ 22330 h 22330"/>
                    <a:gd name="connsiteX12" fmla="*/ 42004 w 76835"/>
                    <a:gd name="connsiteY12" fmla="*/ 20105 h 22330"/>
                    <a:gd name="connsiteX13" fmla="*/ 33626 w 76835"/>
                    <a:gd name="connsiteY13" fmla="*/ 17017 h 22330"/>
                    <a:gd name="connsiteX14" fmla="*/ 29853 w 76835"/>
                    <a:gd name="connsiteY14" fmla="*/ 19079 h 22330"/>
                    <a:gd name="connsiteX15" fmla="*/ 25957 w 76835"/>
                    <a:gd name="connsiteY15" fmla="*/ 20277 h 22330"/>
                    <a:gd name="connsiteX16" fmla="*/ 22281 w 76835"/>
                    <a:gd name="connsiteY16" fmla="*/ 20097 h 22330"/>
                    <a:gd name="connsiteX17" fmla="*/ 18011 w 76835"/>
                    <a:gd name="connsiteY17" fmla="*/ 17742 h 22330"/>
                    <a:gd name="connsiteX18" fmla="*/ 6226 w 76835"/>
                    <a:gd name="connsiteY18" fmla="*/ 19584 h 22330"/>
                    <a:gd name="connsiteX19" fmla="*/ 2649 w 76835"/>
                    <a:gd name="connsiteY19" fmla="*/ 17530 h 22330"/>
                    <a:gd name="connsiteX20" fmla="*/ 0 w 76835"/>
                    <a:gd name="connsiteY20" fmla="*/ 13211 h 22330"/>
                    <a:gd name="connsiteX21" fmla="*/ 7832 w 76835"/>
                    <a:gd name="connsiteY21" fmla="*/ 12257 h 22330"/>
                    <a:gd name="connsiteX22" fmla="*/ 17147 w 76835"/>
                    <a:gd name="connsiteY22" fmla="*/ 13635 h 22330"/>
                    <a:gd name="connsiteX23" fmla="*/ 23284 w 76835"/>
                    <a:gd name="connsiteY23" fmla="*/ 9266 h 22330"/>
                    <a:gd name="connsiteX24" fmla="*/ 31067 w 76835"/>
                    <a:gd name="connsiteY24" fmla="*/ 7367 h 22330"/>
                    <a:gd name="connsiteX25" fmla="*/ 37383 w 76835"/>
                    <a:gd name="connsiteY25" fmla="*/ 2820 h 22330"/>
                    <a:gd name="connsiteX26" fmla="*/ 40325 w 76835"/>
                    <a:gd name="connsiteY26" fmla="*/ 1231 h 22330"/>
                    <a:gd name="connsiteX27" fmla="*/ 47105 w 76835"/>
                    <a:gd name="connsiteY27" fmla="*/ 1540 h 22330"/>
                    <a:gd name="connsiteX28" fmla="*/ 49371 w 76835"/>
                    <a:gd name="connsiteY28" fmla="*/ 1133 h 22330"/>
                    <a:gd name="connsiteX29" fmla="*/ 55825 w 76835"/>
                    <a:gd name="connsiteY29" fmla="*/ 0 h 22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6835" h="22330">
                      <a:moveTo>
                        <a:pt x="58148" y="978"/>
                      </a:moveTo>
                      <a:lnTo>
                        <a:pt x="59444" y="3040"/>
                      </a:lnTo>
                      <a:lnTo>
                        <a:pt x="63266" y="4222"/>
                      </a:lnTo>
                      <a:lnTo>
                        <a:pt x="73673" y="5248"/>
                      </a:lnTo>
                      <a:lnTo>
                        <a:pt x="76836" y="7628"/>
                      </a:lnTo>
                      <a:lnTo>
                        <a:pt x="72076" y="9266"/>
                      </a:lnTo>
                      <a:lnTo>
                        <a:pt x="59346" y="10244"/>
                      </a:lnTo>
                      <a:lnTo>
                        <a:pt x="60666" y="13618"/>
                      </a:lnTo>
                      <a:lnTo>
                        <a:pt x="63234" y="16145"/>
                      </a:lnTo>
                      <a:lnTo>
                        <a:pt x="60691" y="19119"/>
                      </a:lnTo>
                      <a:lnTo>
                        <a:pt x="57146" y="20562"/>
                      </a:lnTo>
                      <a:lnTo>
                        <a:pt x="49241" y="22330"/>
                      </a:lnTo>
                      <a:lnTo>
                        <a:pt x="42004" y="20105"/>
                      </a:lnTo>
                      <a:lnTo>
                        <a:pt x="33626" y="17017"/>
                      </a:lnTo>
                      <a:lnTo>
                        <a:pt x="29853" y="19079"/>
                      </a:lnTo>
                      <a:lnTo>
                        <a:pt x="25957" y="20277"/>
                      </a:lnTo>
                      <a:lnTo>
                        <a:pt x="22281" y="20097"/>
                      </a:lnTo>
                      <a:lnTo>
                        <a:pt x="18011" y="17742"/>
                      </a:lnTo>
                      <a:lnTo>
                        <a:pt x="6226" y="19584"/>
                      </a:lnTo>
                      <a:lnTo>
                        <a:pt x="2649" y="17530"/>
                      </a:lnTo>
                      <a:lnTo>
                        <a:pt x="0" y="13211"/>
                      </a:lnTo>
                      <a:lnTo>
                        <a:pt x="7832" y="12257"/>
                      </a:lnTo>
                      <a:lnTo>
                        <a:pt x="17147" y="13635"/>
                      </a:lnTo>
                      <a:lnTo>
                        <a:pt x="23284" y="9266"/>
                      </a:lnTo>
                      <a:lnTo>
                        <a:pt x="31067" y="7367"/>
                      </a:lnTo>
                      <a:lnTo>
                        <a:pt x="37383" y="2820"/>
                      </a:lnTo>
                      <a:lnTo>
                        <a:pt x="40325" y="1231"/>
                      </a:lnTo>
                      <a:lnTo>
                        <a:pt x="47105" y="1540"/>
                      </a:lnTo>
                      <a:lnTo>
                        <a:pt x="49371" y="1133"/>
                      </a:lnTo>
                      <a:lnTo>
                        <a:pt x="55825" y="0"/>
                      </a:lnTo>
                      <a:close/>
                    </a:path>
                  </a:pathLst>
                </a:custGeom>
                <a:solidFill>
                  <a:srgbClr val="D6D6D2"/>
                </a:solidFill>
                <a:ln w="8150" cap="flat">
                  <a:noFill/>
                  <a:prstDash val="solid"/>
                  <a:miter/>
                </a:ln>
              </p:spPr>
              <p:txBody>
                <a:bodyPr rtlCol="0" anchor="ctr"/>
                <a:lstStyle/>
                <a:p>
                  <a:endParaRPr lang="en-US"/>
                </a:p>
              </p:txBody>
            </p:sp>
            <p:sp>
              <p:nvSpPr>
                <p:cNvPr id="637" name="Freeform: Shape 636">
                  <a:extLst>
                    <a:ext uri="{FF2B5EF4-FFF2-40B4-BE49-F238E27FC236}">
                      <a16:creationId xmlns:a16="http://schemas.microsoft.com/office/drawing/2014/main" id="{A3079BED-37EB-4B27-BE4D-FDB95CD0F9A3}"/>
                    </a:ext>
                  </a:extLst>
                </p:cNvPr>
                <p:cNvSpPr/>
                <p:nvPr/>
              </p:nvSpPr>
              <p:spPr>
                <a:xfrm>
                  <a:off x="7483997" y="1556935"/>
                  <a:ext cx="41579" cy="6397"/>
                </a:xfrm>
                <a:custGeom>
                  <a:avLst/>
                  <a:gdLst>
                    <a:gd name="connsiteX0" fmla="*/ 38320 w 41579"/>
                    <a:gd name="connsiteY0" fmla="*/ 5737 h 6397"/>
                    <a:gd name="connsiteX1" fmla="*/ 35288 w 41579"/>
                    <a:gd name="connsiteY1" fmla="*/ 6398 h 6397"/>
                    <a:gd name="connsiteX2" fmla="*/ 19331 w 41579"/>
                    <a:gd name="connsiteY2" fmla="*/ 5762 h 6397"/>
                    <a:gd name="connsiteX3" fmla="*/ 11580 w 41579"/>
                    <a:gd name="connsiteY3" fmla="*/ 4490 h 6397"/>
                    <a:gd name="connsiteX4" fmla="*/ 10554 w 41579"/>
                    <a:gd name="connsiteY4" fmla="*/ 3765 h 6397"/>
                    <a:gd name="connsiteX5" fmla="*/ 10154 w 41579"/>
                    <a:gd name="connsiteY5" fmla="*/ 3138 h 6397"/>
                    <a:gd name="connsiteX6" fmla="*/ 0 w 41579"/>
                    <a:gd name="connsiteY6" fmla="*/ 2070 h 6397"/>
                    <a:gd name="connsiteX7" fmla="*/ 4417 w 41579"/>
                    <a:gd name="connsiteY7" fmla="*/ 652 h 6397"/>
                    <a:gd name="connsiteX8" fmla="*/ 17082 w 41579"/>
                    <a:gd name="connsiteY8" fmla="*/ 0 h 6397"/>
                    <a:gd name="connsiteX9" fmla="*/ 39771 w 41579"/>
                    <a:gd name="connsiteY9" fmla="*/ 1654 h 6397"/>
                    <a:gd name="connsiteX10" fmla="*/ 41205 w 41579"/>
                    <a:gd name="connsiteY10" fmla="*/ 2869 h 6397"/>
                    <a:gd name="connsiteX11" fmla="*/ 41580 w 41579"/>
                    <a:gd name="connsiteY11" fmla="*/ 3618 h 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579" h="6397">
                      <a:moveTo>
                        <a:pt x="38320" y="5737"/>
                      </a:moveTo>
                      <a:lnTo>
                        <a:pt x="35288" y="6398"/>
                      </a:lnTo>
                      <a:lnTo>
                        <a:pt x="19331" y="5762"/>
                      </a:lnTo>
                      <a:lnTo>
                        <a:pt x="11580" y="4490"/>
                      </a:lnTo>
                      <a:lnTo>
                        <a:pt x="10554" y="3765"/>
                      </a:lnTo>
                      <a:lnTo>
                        <a:pt x="10154" y="3138"/>
                      </a:lnTo>
                      <a:lnTo>
                        <a:pt x="0" y="2070"/>
                      </a:lnTo>
                      <a:lnTo>
                        <a:pt x="4417" y="652"/>
                      </a:lnTo>
                      <a:lnTo>
                        <a:pt x="17082" y="0"/>
                      </a:lnTo>
                      <a:lnTo>
                        <a:pt x="39771" y="1654"/>
                      </a:lnTo>
                      <a:lnTo>
                        <a:pt x="41205" y="2869"/>
                      </a:lnTo>
                      <a:lnTo>
                        <a:pt x="41580" y="3618"/>
                      </a:lnTo>
                      <a:close/>
                    </a:path>
                  </a:pathLst>
                </a:custGeom>
                <a:solidFill>
                  <a:srgbClr val="D6D6D2"/>
                </a:solidFill>
                <a:ln w="8150" cap="flat">
                  <a:noFill/>
                  <a:prstDash val="solid"/>
                  <a:miter/>
                </a:ln>
              </p:spPr>
              <p:txBody>
                <a:bodyPr rtlCol="0" anchor="ctr"/>
                <a:lstStyle/>
                <a:p>
                  <a:endParaRPr lang="en-US"/>
                </a:p>
              </p:txBody>
            </p:sp>
            <p:sp>
              <p:nvSpPr>
                <p:cNvPr id="638" name="Freeform: Shape 637">
                  <a:extLst>
                    <a:ext uri="{FF2B5EF4-FFF2-40B4-BE49-F238E27FC236}">
                      <a16:creationId xmlns:a16="http://schemas.microsoft.com/office/drawing/2014/main" id="{DA0F4222-BF7F-444C-9C65-645963D9A44B}"/>
                    </a:ext>
                  </a:extLst>
                </p:cNvPr>
                <p:cNvSpPr/>
                <p:nvPr/>
              </p:nvSpPr>
              <p:spPr>
                <a:xfrm>
                  <a:off x="7379908" y="1549852"/>
                  <a:ext cx="37195" cy="8304"/>
                </a:xfrm>
                <a:custGeom>
                  <a:avLst/>
                  <a:gdLst>
                    <a:gd name="connsiteX0" fmla="*/ 9584 w 37195"/>
                    <a:gd name="connsiteY0" fmla="*/ 7278 h 8304"/>
                    <a:gd name="connsiteX1" fmla="*/ 1377 w 37195"/>
                    <a:gd name="connsiteY1" fmla="*/ 8305 h 8304"/>
                    <a:gd name="connsiteX2" fmla="*/ 277 w 37195"/>
                    <a:gd name="connsiteY2" fmla="*/ 7530 h 8304"/>
                    <a:gd name="connsiteX3" fmla="*/ 0 w 37195"/>
                    <a:gd name="connsiteY3" fmla="*/ 6927 h 8304"/>
                    <a:gd name="connsiteX4" fmla="*/ 880 w 37195"/>
                    <a:gd name="connsiteY4" fmla="*/ 5566 h 8304"/>
                    <a:gd name="connsiteX5" fmla="*/ 1883 w 37195"/>
                    <a:gd name="connsiteY5" fmla="*/ 2991 h 8304"/>
                    <a:gd name="connsiteX6" fmla="*/ 5591 w 37195"/>
                    <a:gd name="connsiteY6" fmla="*/ 1369 h 8304"/>
                    <a:gd name="connsiteX7" fmla="*/ 33545 w 37195"/>
                    <a:gd name="connsiteY7" fmla="*/ 0 h 8304"/>
                    <a:gd name="connsiteX8" fmla="*/ 37196 w 37195"/>
                    <a:gd name="connsiteY8" fmla="*/ 1500 h 8304"/>
                    <a:gd name="connsiteX9" fmla="*/ 35908 w 37195"/>
                    <a:gd name="connsiteY9" fmla="*/ 3839 h 8304"/>
                    <a:gd name="connsiteX10" fmla="*/ 35900 w 37195"/>
                    <a:gd name="connsiteY10" fmla="*/ 4988 h 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195" h="8304">
                      <a:moveTo>
                        <a:pt x="9584" y="7278"/>
                      </a:moveTo>
                      <a:lnTo>
                        <a:pt x="1377" y="8305"/>
                      </a:lnTo>
                      <a:lnTo>
                        <a:pt x="277" y="7530"/>
                      </a:lnTo>
                      <a:lnTo>
                        <a:pt x="0" y="6927"/>
                      </a:lnTo>
                      <a:lnTo>
                        <a:pt x="880" y="5566"/>
                      </a:lnTo>
                      <a:lnTo>
                        <a:pt x="1883" y="2991"/>
                      </a:lnTo>
                      <a:lnTo>
                        <a:pt x="5591" y="1369"/>
                      </a:lnTo>
                      <a:lnTo>
                        <a:pt x="33545" y="0"/>
                      </a:lnTo>
                      <a:lnTo>
                        <a:pt x="37196" y="1500"/>
                      </a:lnTo>
                      <a:lnTo>
                        <a:pt x="35908" y="3839"/>
                      </a:lnTo>
                      <a:lnTo>
                        <a:pt x="35900" y="4988"/>
                      </a:lnTo>
                      <a:close/>
                    </a:path>
                  </a:pathLst>
                </a:custGeom>
                <a:solidFill>
                  <a:srgbClr val="D6D6D2"/>
                </a:solidFill>
                <a:ln w="8150" cap="flat">
                  <a:noFill/>
                  <a:prstDash val="solid"/>
                  <a:miter/>
                </a:ln>
              </p:spPr>
              <p:txBody>
                <a:bodyPr rtlCol="0" anchor="ctr"/>
                <a:lstStyle/>
                <a:p>
                  <a:endParaRPr lang="en-US"/>
                </a:p>
              </p:txBody>
            </p:sp>
            <p:sp>
              <p:nvSpPr>
                <p:cNvPr id="639" name="Freeform: Shape 638">
                  <a:extLst>
                    <a:ext uri="{FF2B5EF4-FFF2-40B4-BE49-F238E27FC236}">
                      <a16:creationId xmlns:a16="http://schemas.microsoft.com/office/drawing/2014/main" id="{440BCDE7-C338-4E0E-8330-B4C77AE7D9FB}"/>
                    </a:ext>
                  </a:extLst>
                </p:cNvPr>
                <p:cNvSpPr/>
                <p:nvPr/>
              </p:nvSpPr>
              <p:spPr>
                <a:xfrm>
                  <a:off x="6445672" y="2987571"/>
                  <a:ext cx="234728" cy="162269"/>
                </a:xfrm>
                <a:custGeom>
                  <a:avLst/>
                  <a:gdLst>
                    <a:gd name="connsiteX0" fmla="*/ 197688 w 234728"/>
                    <a:gd name="connsiteY0" fmla="*/ 100038 h 162269"/>
                    <a:gd name="connsiteX1" fmla="*/ 200296 w 234728"/>
                    <a:gd name="connsiteY1" fmla="*/ 103673 h 162269"/>
                    <a:gd name="connsiteX2" fmla="*/ 203621 w 234728"/>
                    <a:gd name="connsiteY2" fmla="*/ 105604 h 162269"/>
                    <a:gd name="connsiteX3" fmla="*/ 211290 w 234728"/>
                    <a:gd name="connsiteY3" fmla="*/ 107650 h 162269"/>
                    <a:gd name="connsiteX4" fmla="*/ 211975 w 234728"/>
                    <a:gd name="connsiteY4" fmla="*/ 107405 h 162269"/>
                    <a:gd name="connsiteX5" fmla="*/ 212056 w 234728"/>
                    <a:gd name="connsiteY5" fmla="*/ 107022 h 162269"/>
                    <a:gd name="connsiteX6" fmla="*/ 211518 w 234728"/>
                    <a:gd name="connsiteY6" fmla="*/ 106501 h 162269"/>
                    <a:gd name="connsiteX7" fmla="*/ 211436 w 234728"/>
                    <a:gd name="connsiteY7" fmla="*/ 105816 h 162269"/>
                    <a:gd name="connsiteX8" fmla="*/ 211811 w 234728"/>
                    <a:gd name="connsiteY8" fmla="*/ 104985 h 162269"/>
                    <a:gd name="connsiteX9" fmla="*/ 212863 w 234728"/>
                    <a:gd name="connsiteY9" fmla="*/ 104944 h 162269"/>
                    <a:gd name="connsiteX10" fmla="*/ 214599 w 234728"/>
                    <a:gd name="connsiteY10" fmla="*/ 105686 h 162269"/>
                    <a:gd name="connsiteX11" fmla="*/ 217907 w 234728"/>
                    <a:gd name="connsiteY11" fmla="*/ 104610 h 162269"/>
                    <a:gd name="connsiteX12" fmla="*/ 222773 w 234728"/>
                    <a:gd name="connsiteY12" fmla="*/ 101709 h 162269"/>
                    <a:gd name="connsiteX13" fmla="*/ 227239 w 234728"/>
                    <a:gd name="connsiteY13" fmla="*/ 101122 h 162269"/>
                    <a:gd name="connsiteX14" fmla="*/ 231306 w 234728"/>
                    <a:gd name="connsiteY14" fmla="*/ 102841 h 162269"/>
                    <a:gd name="connsiteX15" fmla="*/ 233400 w 234728"/>
                    <a:gd name="connsiteY15" fmla="*/ 104846 h 162269"/>
                    <a:gd name="connsiteX16" fmla="*/ 234729 w 234728"/>
                    <a:gd name="connsiteY16" fmla="*/ 106737 h 162269"/>
                    <a:gd name="connsiteX17" fmla="*/ 234313 w 234728"/>
                    <a:gd name="connsiteY17" fmla="*/ 109084 h 162269"/>
                    <a:gd name="connsiteX18" fmla="*/ 234052 w 234728"/>
                    <a:gd name="connsiteY18" fmla="*/ 110543 h 162269"/>
                    <a:gd name="connsiteX19" fmla="*/ 232985 w 234728"/>
                    <a:gd name="connsiteY19" fmla="*/ 116582 h 162269"/>
                    <a:gd name="connsiteX20" fmla="*/ 232235 w 234728"/>
                    <a:gd name="connsiteY20" fmla="*/ 118831 h 162269"/>
                    <a:gd name="connsiteX21" fmla="*/ 231053 w 234728"/>
                    <a:gd name="connsiteY21" fmla="*/ 121358 h 162269"/>
                    <a:gd name="connsiteX22" fmla="*/ 218413 w 234728"/>
                    <a:gd name="connsiteY22" fmla="*/ 124365 h 162269"/>
                    <a:gd name="connsiteX23" fmla="*/ 219236 w 234728"/>
                    <a:gd name="connsiteY23" fmla="*/ 122922 h 162269"/>
                    <a:gd name="connsiteX24" fmla="*/ 218942 w 234728"/>
                    <a:gd name="connsiteY24" fmla="*/ 120380 h 162269"/>
                    <a:gd name="connsiteX25" fmla="*/ 218405 w 234728"/>
                    <a:gd name="connsiteY25" fmla="*/ 118464 h 162269"/>
                    <a:gd name="connsiteX26" fmla="*/ 219595 w 234728"/>
                    <a:gd name="connsiteY26" fmla="*/ 116737 h 162269"/>
                    <a:gd name="connsiteX27" fmla="*/ 216742 w 234728"/>
                    <a:gd name="connsiteY27" fmla="*/ 116117 h 162269"/>
                    <a:gd name="connsiteX28" fmla="*/ 215503 w 234728"/>
                    <a:gd name="connsiteY28" fmla="*/ 117071 h 162269"/>
                    <a:gd name="connsiteX29" fmla="*/ 214525 w 234728"/>
                    <a:gd name="connsiteY29" fmla="*/ 118725 h 162269"/>
                    <a:gd name="connsiteX30" fmla="*/ 215389 w 234728"/>
                    <a:gd name="connsiteY30" fmla="*/ 122523 h 162269"/>
                    <a:gd name="connsiteX31" fmla="*/ 214012 w 234728"/>
                    <a:gd name="connsiteY31" fmla="*/ 124626 h 162269"/>
                    <a:gd name="connsiteX32" fmla="*/ 213482 w 234728"/>
                    <a:gd name="connsiteY32" fmla="*/ 125807 h 162269"/>
                    <a:gd name="connsiteX33" fmla="*/ 213417 w 234728"/>
                    <a:gd name="connsiteY33" fmla="*/ 128586 h 162269"/>
                    <a:gd name="connsiteX34" fmla="*/ 212602 w 234728"/>
                    <a:gd name="connsiteY34" fmla="*/ 129793 h 162269"/>
                    <a:gd name="connsiteX35" fmla="*/ 212431 w 234728"/>
                    <a:gd name="connsiteY35" fmla="*/ 131097 h 162269"/>
                    <a:gd name="connsiteX36" fmla="*/ 214452 w 234728"/>
                    <a:gd name="connsiteY36" fmla="*/ 130762 h 162269"/>
                    <a:gd name="connsiteX37" fmla="*/ 213547 w 234728"/>
                    <a:gd name="connsiteY37" fmla="*/ 133158 h 162269"/>
                    <a:gd name="connsiteX38" fmla="*/ 209766 w 234728"/>
                    <a:gd name="connsiteY38" fmla="*/ 137771 h 162269"/>
                    <a:gd name="connsiteX39" fmla="*/ 208421 w 234728"/>
                    <a:gd name="connsiteY39" fmla="*/ 140510 h 162269"/>
                    <a:gd name="connsiteX40" fmla="*/ 208755 w 234728"/>
                    <a:gd name="connsiteY40" fmla="*/ 151381 h 162269"/>
                    <a:gd name="connsiteX41" fmla="*/ 207077 w 234728"/>
                    <a:gd name="connsiteY41" fmla="*/ 157868 h 162269"/>
                    <a:gd name="connsiteX42" fmla="*/ 206938 w 234728"/>
                    <a:gd name="connsiteY42" fmla="*/ 159784 h 162269"/>
                    <a:gd name="connsiteX43" fmla="*/ 202929 w 234728"/>
                    <a:gd name="connsiteY43" fmla="*/ 159849 h 162269"/>
                    <a:gd name="connsiteX44" fmla="*/ 201730 w 234728"/>
                    <a:gd name="connsiteY44" fmla="*/ 159694 h 162269"/>
                    <a:gd name="connsiteX45" fmla="*/ 197925 w 234728"/>
                    <a:gd name="connsiteY45" fmla="*/ 158724 h 162269"/>
                    <a:gd name="connsiteX46" fmla="*/ 193670 w 234728"/>
                    <a:gd name="connsiteY46" fmla="*/ 156996 h 162269"/>
                    <a:gd name="connsiteX47" fmla="*/ 191152 w 234728"/>
                    <a:gd name="connsiteY47" fmla="*/ 153655 h 162269"/>
                    <a:gd name="connsiteX48" fmla="*/ 189554 w 234728"/>
                    <a:gd name="connsiteY48" fmla="*/ 151259 h 162269"/>
                    <a:gd name="connsiteX49" fmla="*/ 185936 w 234728"/>
                    <a:gd name="connsiteY49" fmla="*/ 152343 h 162269"/>
                    <a:gd name="connsiteX50" fmla="*/ 185252 w 234728"/>
                    <a:gd name="connsiteY50" fmla="*/ 152050 h 162269"/>
                    <a:gd name="connsiteX51" fmla="*/ 184265 w 234728"/>
                    <a:gd name="connsiteY51" fmla="*/ 150892 h 162269"/>
                    <a:gd name="connsiteX52" fmla="*/ 181536 w 234728"/>
                    <a:gd name="connsiteY52" fmla="*/ 150118 h 162269"/>
                    <a:gd name="connsiteX53" fmla="*/ 178169 w 234728"/>
                    <a:gd name="connsiteY53" fmla="*/ 150110 h 162269"/>
                    <a:gd name="connsiteX54" fmla="*/ 170615 w 234728"/>
                    <a:gd name="connsiteY54" fmla="*/ 145733 h 162269"/>
                    <a:gd name="connsiteX55" fmla="*/ 169775 w 234728"/>
                    <a:gd name="connsiteY55" fmla="*/ 144984 h 162269"/>
                    <a:gd name="connsiteX56" fmla="*/ 163842 w 234728"/>
                    <a:gd name="connsiteY56" fmla="*/ 145725 h 162269"/>
                    <a:gd name="connsiteX57" fmla="*/ 154951 w 234728"/>
                    <a:gd name="connsiteY57" fmla="*/ 147893 h 162269"/>
                    <a:gd name="connsiteX58" fmla="*/ 148170 w 234728"/>
                    <a:gd name="connsiteY58" fmla="*/ 150566 h 162269"/>
                    <a:gd name="connsiteX59" fmla="*/ 141161 w 234728"/>
                    <a:gd name="connsiteY59" fmla="*/ 155326 h 162269"/>
                    <a:gd name="connsiteX60" fmla="*/ 138326 w 234728"/>
                    <a:gd name="connsiteY60" fmla="*/ 158936 h 162269"/>
                    <a:gd name="connsiteX61" fmla="*/ 135033 w 234728"/>
                    <a:gd name="connsiteY61" fmla="*/ 160843 h 162269"/>
                    <a:gd name="connsiteX62" fmla="*/ 130339 w 234728"/>
                    <a:gd name="connsiteY62" fmla="*/ 162269 h 162269"/>
                    <a:gd name="connsiteX63" fmla="*/ 121969 w 234728"/>
                    <a:gd name="connsiteY63" fmla="*/ 161723 h 162269"/>
                    <a:gd name="connsiteX64" fmla="*/ 113257 w 234728"/>
                    <a:gd name="connsiteY64" fmla="*/ 159922 h 162269"/>
                    <a:gd name="connsiteX65" fmla="*/ 103885 w 234728"/>
                    <a:gd name="connsiteY65" fmla="*/ 157974 h 162269"/>
                    <a:gd name="connsiteX66" fmla="*/ 98832 w 234728"/>
                    <a:gd name="connsiteY66" fmla="*/ 159042 h 162269"/>
                    <a:gd name="connsiteX67" fmla="*/ 91986 w 234728"/>
                    <a:gd name="connsiteY67" fmla="*/ 158243 h 162269"/>
                    <a:gd name="connsiteX68" fmla="*/ 81668 w 234728"/>
                    <a:gd name="connsiteY68" fmla="*/ 155913 h 162269"/>
                    <a:gd name="connsiteX69" fmla="*/ 73975 w 234728"/>
                    <a:gd name="connsiteY69" fmla="*/ 155212 h 162269"/>
                    <a:gd name="connsiteX70" fmla="*/ 66404 w 234728"/>
                    <a:gd name="connsiteY70" fmla="*/ 156573 h 162269"/>
                    <a:gd name="connsiteX71" fmla="*/ 65124 w 234728"/>
                    <a:gd name="connsiteY71" fmla="*/ 155538 h 162269"/>
                    <a:gd name="connsiteX72" fmla="*/ 64847 w 234728"/>
                    <a:gd name="connsiteY72" fmla="*/ 154340 h 162269"/>
                    <a:gd name="connsiteX73" fmla="*/ 65133 w 234728"/>
                    <a:gd name="connsiteY73" fmla="*/ 152636 h 162269"/>
                    <a:gd name="connsiteX74" fmla="*/ 66200 w 234728"/>
                    <a:gd name="connsiteY74" fmla="*/ 151267 h 162269"/>
                    <a:gd name="connsiteX75" fmla="*/ 68042 w 234728"/>
                    <a:gd name="connsiteY75" fmla="*/ 150224 h 162269"/>
                    <a:gd name="connsiteX76" fmla="*/ 69012 w 234728"/>
                    <a:gd name="connsiteY76" fmla="*/ 149173 h 162269"/>
                    <a:gd name="connsiteX77" fmla="*/ 69118 w 234728"/>
                    <a:gd name="connsiteY77" fmla="*/ 148105 h 162269"/>
                    <a:gd name="connsiteX78" fmla="*/ 67048 w 234728"/>
                    <a:gd name="connsiteY78" fmla="*/ 146385 h 162269"/>
                    <a:gd name="connsiteX79" fmla="*/ 62835 w 234728"/>
                    <a:gd name="connsiteY79" fmla="*/ 144022 h 162269"/>
                    <a:gd name="connsiteX80" fmla="*/ 61090 w 234728"/>
                    <a:gd name="connsiteY80" fmla="*/ 142539 h 162269"/>
                    <a:gd name="connsiteX81" fmla="*/ 60675 w 234728"/>
                    <a:gd name="connsiteY81" fmla="*/ 142164 h 162269"/>
                    <a:gd name="connsiteX82" fmla="*/ 60560 w 234728"/>
                    <a:gd name="connsiteY82" fmla="*/ 140835 h 162269"/>
                    <a:gd name="connsiteX83" fmla="*/ 59680 w 234728"/>
                    <a:gd name="connsiteY83" fmla="*/ 139784 h 162269"/>
                    <a:gd name="connsiteX84" fmla="*/ 58034 w 234728"/>
                    <a:gd name="connsiteY84" fmla="*/ 139018 h 162269"/>
                    <a:gd name="connsiteX85" fmla="*/ 56763 w 234728"/>
                    <a:gd name="connsiteY85" fmla="*/ 137633 h 162269"/>
                    <a:gd name="connsiteX86" fmla="*/ 55875 w 234728"/>
                    <a:gd name="connsiteY86" fmla="*/ 135628 h 162269"/>
                    <a:gd name="connsiteX87" fmla="*/ 56062 w 234728"/>
                    <a:gd name="connsiteY87" fmla="*/ 133737 h 162269"/>
                    <a:gd name="connsiteX88" fmla="*/ 57342 w 234728"/>
                    <a:gd name="connsiteY88" fmla="*/ 131960 h 162269"/>
                    <a:gd name="connsiteX89" fmla="*/ 58988 w 234728"/>
                    <a:gd name="connsiteY89" fmla="*/ 131194 h 162269"/>
                    <a:gd name="connsiteX90" fmla="*/ 60993 w 234728"/>
                    <a:gd name="connsiteY90" fmla="*/ 131431 h 162269"/>
                    <a:gd name="connsiteX91" fmla="*/ 61816 w 234728"/>
                    <a:gd name="connsiteY91" fmla="*/ 130925 h 162269"/>
                    <a:gd name="connsiteX92" fmla="*/ 61490 w 234728"/>
                    <a:gd name="connsiteY92" fmla="*/ 129687 h 162269"/>
                    <a:gd name="connsiteX93" fmla="*/ 59534 w 234728"/>
                    <a:gd name="connsiteY93" fmla="*/ 128097 h 162269"/>
                    <a:gd name="connsiteX94" fmla="*/ 55948 w 234728"/>
                    <a:gd name="connsiteY94" fmla="*/ 126166 h 162269"/>
                    <a:gd name="connsiteX95" fmla="*/ 52305 w 234728"/>
                    <a:gd name="connsiteY95" fmla="*/ 127217 h 162269"/>
                    <a:gd name="connsiteX96" fmla="*/ 48589 w 234728"/>
                    <a:gd name="connsiteY96" fmla="*/ 131251 h 162269"/>
                    <a:gd name="connsiteX97" fmla="*/ 45915 w 234728"/>
                    <a:gd name="connsiteY97" fmla="*/ 131911 h 162269"/>
                    <a:gd name="connsiteX98" fmla="*/ 44277 w 234728"/>
                    <a:gd name="connsiteY98" fmla="*/ 129181 h 162269"/>
                    <a:gd name="connsiteX99" fmla="*/ 41352 w 234728"/>
                    <a:gd name="connsiteY99" fmla="*/ 127568 h 162269"/>
                    <a:gd name="connsiteX100" fmla="*/ 37163 w 234728"/>
                    <a:gd name="connsiteY100" fmla="*/ 127054 h 162269"/>
                    <a:gd name="connsiteX101" fmla="*/ 34579 w 234728"/>
                    <a:gd name="connsiteY101" fmla="*/ 126011 h 162269"/>
                    <a:gd name="connsiteX102" fmla="*/ 33618 w 234728"/>
                    <a:gd name="connsiteY102" fmla="*/ 124438 h 162269"/>
                    <a:gd name="connsiteX103" fmla="*/ 31784 w 234728"/>
                    <a:gd name="connsiteY103" fmla="*/ 123224 h 162269"/>
                    <a:gd name="connsiteX104" fmla="*/ 27734 w 234728"/>
                    <a:gd name="connsiteY104" fmla="*/ 121944 h 162269"/>
                    <a:gd name="connsiteX105" fmla="*/ 27684 w 234728"/>
                    <a:gd name="connsiteY105" fmla="*/ 120714 h 162269"/>
                    <a:gd name="connsiteX106" fmla="*/ 28337 w 234728"/>
                    <a:gd name="connsiteY106" fmla="*/ 120429 h 162269"/>
                    <a:gd name="connsiteX107" fmla="*/ 29779 w 234728"/>
                    <a:gd name="connsiteY107" fmla="*/ 120306 h 162269"/>
                    <a:gd name="connsiteX108" fmla="*/ 31703 w 234728"/>
                    <a:gd name="connsiteY108" fmla="*/ 120046 h 162269"/>
                    <a:gd name="connsiteX109" fmla="*/ 32004 w 234728"/>
                    <a:gd name="connsiteY109" fmla="*/ 119345 h 162269"/>
                    <a:gd name="connsiteX110" fmla="*/ 32028 w 234728"/>
                    <a:gd name="connsiteY110" fmla="*/ 118717 h 162269"/>
                    <a:gd name="connsiteX111" fmla="*/ 30504 w 234728"/>
                    <a:gd name="connsiteY111" fmla="*/ 117902 h 162269"/>
                    <a:gd name="connsiteX112" fmla="*/ 28972 w 234728"/>
                    <a:gd name="connsiteY112" fmla="*/ 117356 h 162269"/>
                    <a:gd name="connsiteX113" fmla="*/ 28165 w 234728"/>
                    <a:gd name="connsiteY113" fmla="*/ 116794 h 162269"/>
                    <a:gd name="connsiteX114" fmla="*/ 27669 w 234728"/>
                    <a:gd name="connsiteY114" fmla="*/ 116191 h 162269"/>
                    <a:gd name="connsiteX115" fmla="*/ 27554 w 234728"/>
                    <a:gd name="connsiteY115" fmla="*/ 115555 h 162269"/>
                    <a:gd name="connsiteX116" fmla="*/ 28011 w 234728"/>
                    <a:gd name="connsiteY116" fmla="*/ 115115 h 162269"/>
                    <a:gd name="connsiteX117" fmla="*/ 28630 w 234728"/>
                    <a:gd name="connsiteY117" fmla="*/ 115082 h 162269"/>
                    <a:gd name="connsiteX118" fmla="*/ 29233 w 234728"/>
                    <a:gd name="connsiteY118" fmla="*/ 114707 h 162269"/>
                    <a:gd name="connsiteX119" fmla="*/ 29584 w 234728"/>
                    <a:gd name="connsiteY119" fmla="*/ 113232 h 162269"/>
                    <a:gd name="connsiteX120" fmla="*/ 30415 w 234728"/>
                    <a:gd name="connsiteY120" fmla="*/ 112010 h 162269"/>
                    <a:gd name="connsiteX121" fmla="*/ 31002 w 234728"/>
                    <a:gd name="connsiteY121" fmla="*/ 111578 h 162269"/>
                    <a:gd name="connsiteX122" fmla="*/ 30961 w 234728"/>
                    <a:gd name="connsiteY122" fmla="*/ 110673 h 162269"/>
                    <a:gd name="connsiteX123" fmla="*/ 30350 w 234728"/>
                    <a:gd name="connsiteY123" fmla="*/ 109834 h 162269"/>
                    <a:gd name="connsiteX124" fmla="*/ 29502 w 234728"/>
                    <a:gd name="connsiteY124" fmla="*/ 109109 h 162269"/>
                    <a:gd name="connsiteX125" fmla="*/ 28279 w 234728"/>
                    <a:gd name="connsiteY125" fmla="*/ 108669 h 162269"/>
                    <a:gd name="connsiteX126" fmla="*/ 24416 w 234728"/>
                    <a:gd name="connsiteY126" fmla="*/ 107397 h 162269"/>
                    <a:gd name="connsiteX127" fmla="*/ 22469 w 234728"/>
                    <a:gd name="connsiteY127" fmla="*/ 105629 h 162269"/>
                    <a:gd name="connsiteX128" fmla="*/ 21287 w 234728"/>
                    <a:gd name="connsiteY128" fmla="*/ 105555 h 162269"/>
                    <a:gd name="connsiteX129" fmla="*/ 19388 w 234728"/>
                    <a:gd name="connsiteY129" fmla="*/ 104577 h 162269"/>
                    <a:gd name="connsiteX130" fmla="*/ 17359 w 234728"/>
                    <a:gd name="connsiteY130" fmla="*/ 103037 h 162269"/>
                    <a:gd name="connsiteX131" fmla="*/ 15590 w 234728"/>
                    <a:gd name="connsiteY131" fmla="*/ 100845 h 162269"/>
                    <a:gd name="connsiteX132" fmla="*/ 13699 w 234728"/>
                    <a:gd name="connsiteY132" fmla="*/ 99427 h 162269"/>
                    <a:gd name="connsiteX133" fmla="*/ 13203 w 234728"/>
                    <a:gd name="connsiteY133" fmla="*/ 98848 h 162269"/>
                    <a:gd name="connsiteX134" fmla="*/ 13162 w 234728"/>
                    <a:gd name="connsiteY134" fmla="*/ 98294 h 162269"/>
                    <a:gd name="connsiteX135" fmla="*/ 13504 w 234728"/>
                    <a:gd name="connsiteY135" fmla="*/ 97683 h 162269"/>
                    <a:gd name="connsiteX136" fmla="*/ 13496 w 234728"/>
                    <a:gd name="connsiteY136" fmla="*/ 97014 h 162269"/>
                    <a:gd name="connsiteX137" fmla="*/ 12999 w 234728"/>
                    <a:gd name="connsiteY137" fmla="*/ 94863 h 162269"/>
                    <a:gd name="connsiteX138" fmla="*/ 13333 w 234728"/>
                    <a:gd name="connsiteY138" fmla="*/ 92597 h 162269"/>
                    <a:gd name="connsiteX139" fmla="*/ 13243 w 234728"/>
                    <a:gd name="connsiteY139" fmla="*/ 90454 h 162269"/>
                    <a:gd name="connsiteX140" fmla="*/ 13219 w 234728"/>
                    <a:gd name="connsiteY140" fmla="*/ 89500 h 162269"/>
                    <a:gd name="connsiteX141" fmla="*/ 12852 w 234728"/>
                    <a:gd name="connsiteY141" fmla="*/ 89199 h 162269"/>
                    <a:gd name="connsiteX142" fmla="*/ 12526 w 234728"/>
                    <a:gd name="connsiteY142" fmla="*/ 89525 h 162269"/>
                    <a:gd name="connsiteX143" fmla="*/ 12061 w 234728"/>
                    <a:gd name="connsiteY143" fmla="*/ 89932 h 162269"/>
                    <a:gd name="connsiteX144" fmla="*/ 11597 w 234728"/>
                    <a:gd name="connsiteY144" fmla="*/ 90014 h 162269"/>
                    <a:gd name="connsiteX145" fmla="*/ 10195 w 234728"/>
                    <a:gd name="connsiteY145" fmla="*/ 88449 h 162269"/>
                    <a:gd name="connsiteX146" fmla="*/ 8410 w 234728"/>
                    <a:gd name="connsiteY146" fmla="*/ 85271 h 162269"/>
                    <a:gd name="connsiteX147" fmla="*/ 7213 w 234728"/>
                    <a:gd name="connsiteY147" fmla="*/ 84211 h 162269"/>
                    <a:gd name="connsiteX148" fmla="*/ 4865 w 234728"/>
                    <a:gd name="connsiteY148" fmla="*/ 82761 h 162269"/>
                    <a:gd name="connsiteX149" fmla="*/ 2893 w 234728"/>
                    <a:gd name="connsiteY149" fmla="*/ 81530 h 162269"/>
                    <a:gd name="connsiteX150" fmla="*/ 1483 w 234728"/>
                    <a:gd name="connsiteY150" fmla="*/ 78873 h 162269"/>
                    <a:gd name="connsiteX151" fmla="*/ 0 w 234728"/>
                    <a:gd name="connsiteY151" fmla="*/ 76827 h 162269"/>
                    <a:gd name="connsiteX152" fmla="*/ 970 w 234728"/>
                    <a:gd name="connsiteY152" fmla="*/ 75964 h 162269"/>
                    <a:gd name="connsiteX153" fmla="*/ 6609 w 234728"/>
                    <a:gd name="connsiteY153" fmla="*/ 74757 h 162269"/>
                    <a:gd name="connsiteX154" fmla="*/ 9217 w 234728"/>
                    <a:gd name="connsiteY154" fmla="*/ 75947 h 162269"/>
                    <a:gd name="connsiteX155" fmla="*/ 10407 w 234728"/>
                    <a:gd name="connsiteY155" fmla="*/ 75515 h 162269"/>
                    <a:gd name="connsiteX156" fmla="*/ 11540 w 234728"/>
                    <a:gd name="connsiteY156" fmla="*/ 74554 h 162269"/>
                    <a:gd name="connsiteX157" fmla="*/ 12167 w 234728"/>
                    <a:gd name="connsiteY157" fmla="*/ 73788 h 162269"/>
                    <a:gd name="connsiteX158" fmla="*/ 12290 w 234728"/>
                    <a:gd name="connsiteY158" fmla="*/ 72973 h 162269"/>
                    <a:gd name="connsiteX159" fmla="*/ 12852 w 234728"/>
                    <a:gd name="connsiteY159" fmla="*/ 71954 h 162269"/>
                    <a:gd name="connsiteX160" fmla="*/ 14759 w 234728"/>
                    <a:gd name="connsiteY160" fmla="*/ 71481 h 162269"/>
                    <a:gd name="connsiteX161" fmla="*/ 19796 w 234728"/>
                    <a:gd name="connsiteY161" fmla="*/ 72092 h 162269"/>
                    <a:gd name="connsiteX162" fmla="*/ 21825 w 234728"/>
                    <a:gd name="connsiteY162" fmla="*/ 70674 h 162269"/>
                    <a:gd name="connsiteX163" fmla="*/ 22566 w 234728"/>
                    <a:gd name="connsiteY163" fmla="*/ 69900 h 162269"/>
                    <a:gd name="connsiteX164" fmla="*/ 23031 w 234728"/>
                    <a:gd name="connsiteY164" fmla="*/ 68181 h 162269"/>
                    <a:gd name="connsiteX165" fmla="*/ 23561 w 234728"/>
                    <a:gd name="connsiteY165" fmla="*/ 66811 h 162269"/>
                    <a:gd name="connsiteX166" fmla="*/ 25362 w 234728"/>
                    <a:gd name="connsiteY166" fmla="*/ 66070 h 162269"/>
                    <a:gd name="connsiteX167" fmla="*/ 25346 w 234728"/>
                    <a:gd name="connsiteY167" fmla="*/ 64815 h 162269"/>
                    <a:gd name="connsiteX168" fmla="*/ 25061 w 234728"/>
                    <a:gd name="connsiteY168" fmla="*/ 63446 h 162269"/>
                    <a:gd name="connsiteX169" fmla="*/ 26112 w 234728"/>
                    <a:gd name="connsiteY169" fmla="*/ 60398 h 162269"/>
                    <a:gd name="connsiteX170" fmla="*/ 26747 w 234728"/>
                    <a:gd name="connsiteY170" fmla="*/ 59143 h 162269"/>
                    <a:gd name="connsiteX171" fmla="*/ 27766 w 234728"/>
                    <a:gd name="connsiteY171" fmla="*/ 58678 h 162269"/>
                    <a:gd name="connsiteX172" fmla="*/ 28997 w 234728"/>
                    <a:gd name="connsiteY172" fmla="*/ 57716 h 162269"/>
                    <a:gd name="connsiteX173" fmla="*/ 31140 w 234728"/>
                    <a:gd name="connsiteY173" fmla="*/ 55720 h 162269"/>
                    <a:gd name="connsiteX174" fmla="*/ 30643 w 234728"/>
                    <a:gd name="connsiteY174" fmla="*/ 53967 h 162269"/>
                    <a:gd name="connsiteX175" fmla="*/ 31075 w 234728"/>
                    <a:gd name="connsiteY175" fmla="*/ 52680 h 162269"/>
                    <a:gd name="connsiteX176" fmla="*/ 33283 w 234728"/>
                    <a:gd name="connsiteY176" fmla="*/ 49526 h 162269"/>
                    <a:gd name="connsiteX177" fmla="*/ 34987 w 234728"/>
                    <a:gd name="connsiteY177" fmla="*/ 46486 h 162269"/>
                    <a:gd name="connsiteX178" fmla="*/ 34954 w 234728"/>
                    <a:gd name="connsiteY178" fmla="*/ 44970 h 162269"/>
                    <a:gd name="connsiteX179" fmla="*/ 35215 w 234728"/>
                    <a:gd name="connsiteY179" fmla="*/ 43634 h 162269"/>
                    <a:gd name="connsiteX180" fmla="*/ 36706 w 234728"/>
                    <a:gd name="connsiteY180" fmla="*/ 42175 h 162269"/>
                    <a:gd name="connsiteX181" fmla="*/ 38287 w 234728"/>
                    <a:gd name="connsiteY181" fmla="*/ 40276 h 162269"/>
                    <a:gd name="connsiteX182" fmla="*/ 40366 w 234728"/>
                    <a:gd name="connsiteY182" fmla="*/ 34343 h 162269"/>
                    <a:gd name="connsiteX183" fmla="*/ 41099 w 234728"/>
                    <a:gd name="connsiteY183" fmla="*/ 33340 h 162269"/>
                    <a:gd name="connsiteX184" fmla="*/ 42476 w 234728"/>
                    <a:gd name="connsiteY184" fmla="*/ 32208 h 162269"/>
                    <a:gd name="connsiteX185" fmla="*/ 43487 w 234728"/>
                    <a:gd name="connsiteY185" fmla="*/ 31091 h 162269"/>
                    <a:gd name="connsiteX186" fmla="*/ 43601 w 234728"/>
                    <a:gd name="connsiteY186" fmla="*/ 27187 h 162269"/>
                    <a:gd name="connsiteX187" fmla="*/ 44546 w 234728"/>
                    <a:gd name="connsiteY187" fmla="*/ 26055 h 162269"/>
                    <a:gd name="connsiteX188" fmla="*/ 46388 w 234728"/>
                    <a:gd name="connsiteY188" fmla="*/ 24791 h 162269"/>
                    <a:gd name="connsiteX189" fmla="*/ 48189 w 234728"/>
                    <a:gd name="connsiteY189" fmla="*/ 22754 h 162269"/>
                    <a:gd name="connsiteX190" fmla="*/ 49672 w 234728"/>
                    <a:gd name="connsiteY190" fmla="*/ 20334 h 162269"/>
                    <a:gd name="connsiteX191" fmla="*/ 50813 w 234728"/>
                    <a:gd name="connsiteY191" fmla="*/ 19217 h 162269"/>
                    <a:gd name="connsiteX192" fmla="*/ 52321 w 234728"/>
                    <a:gd name="connsiteY192" fmla="*/ 18916 h 162269"/>
                    <a:gd name="connsiteX193" fmla="*/ 53959 w 234728"/>
                    <a:gd name="connsiteY193" fmla="*/ 17970 h 162269"/>
                    <a:gd name="connsiteX194" fmla="*/ 55793 w 234728"/>
                    <a:gd name="connsiteY194" fmla="*/ 17612 h 162269"/>
                    <a:gd name="connsiteX195" fmla="*/ 57569 w 234728"/>
                    <a:gd name="connsiteY195" fmla="*/ 18076 h 162269"/>
                    <a:gd name="connsiteX196" fmla="*/ 58694 w 234728"/>
                    <a:gd name="connsiteY196" fmla="*/ 17840 h 162269"/>
                    <a:gd name="connsiteX197" fmla="*/ 60398 w 234728"/>
                    <a:gd name="connsiteY197" fmla="*/ 16666 h 162269"/>
                    <a:gd name="connsiteX198" fmla="*/ 64733 w 234728"/>
                    <a:gd name="connsiteY198" fmla="*/ 12241 h 162269"/>
                    <a:gd name="connsiteX199" fmla="*/ 65353 w 234728"/>
                    <a:gd name="connsiteY199" fmla="*/ 11352 h 162269"/>
                    <a:gd name="connsiteX200" fmla="*/ 66241 w 234728"/>
                    <a:gd name="connsiteY200" fmla="*/ 10749 h 162269"/>
                    <a:gd name="connsiteX201" fmla="*/ 69770 w 234728"/>
                    <a:gd name="connsiteY201" fmla="*/ 9225 h 162269"/>
                    <a:gd name="connsiteX202" fmla="*/ 70658 w 234728"/>
                    <a:gd name="connsiteY202" fmla="*/ 7701 h 162269"/>
                    <a:gd name="connsiteX203" fmla="*/ 71872 w 234728"/>
                    <a:gd name="connsiteY203" fmla="*/ 6324 h 162269"/>
                    <a:gd name="connsiteX204" fmla="*/ 73446 w 234728"/>
                    <a:gd name="connsiteY204" fmla="*/ 6430 h 162269"/>
                    <a:gd name="connsiteX205" fmla="*/ 78539 w 234728"/>
                    <a:gd name="connsiteY205" fmla="*/ 9820 h 162269"/>
                    <a:gd name="connsiteX206" fmla="*/ 84007 w 234728"/>
                    <a:gd name="connsiteY206" fmla="*/ 9609 h 162269"/>
                    <a:gd name="connsiteX207" fmla="*/ 85002 w 234728"/>
                    <a:gd name="connsiteY207" fmla="*/ 9739 h 162269"/>
                    <a:gd name="connsiteX208" fmla="*/ 85327 w 234728"/>
                    <a:gd name="connsiteY208" fmla="*/ 9804 h 162269"/>
                    <a:gd name="connsiteX209" fmla="*/ 85988 w 234728"/>
                    <a:gd name="connsiteY209" fmla="*/ 10089 h 162269"/>
                    <a:gd name="connsiteX210" fmla="*/ 93257 w 234728"/>
                    <a:gd name="connsiteY210" fmla="*/ 11768 h 162269"/>
                    <a:gd name="connsiteX211" fmla="*/ 94382 w 234728"/>
                    <a:gd name="connsiteY211" fmla="*/ 11573 h 162269"/>
                    <a:gd name="connsiteX212" fmla="*/ 94692 w 234728"/>
                    <a:gd name="connsiteY212" fmla="*/ 11442 h 162269"/>
                    <a:gd name="connsiteX213" fmla="*/ 97626 w 234728"/>
                    <a:gd name="connsiteY213" fmla="*/ 12828 h 162269"/>
                    <a:gd name="connsiteX214" fmla="*/ 100209 w 234728"/>
                    <a:gd name="connsiteY214" fmla="*/ 12648 h 162269"/>
                    <a:gd name="connsiteX215" fmla="*/ 102662 w 234728"/>
                    <a:gd name="connsiteY215" fmla="*/ 11687 h 162269"/>
                    <a:gd name="connsiteX216" fmla="*/ 105213 w 234728"/>
                    <a:gd name="connsiteY216" fmla="*/ 11361 h 162269"/>
                    <a:gd name="connsiteX217" fmla="*/ 107560 w 234728"/>
                    <a:gd name="connsiteY217" fmla="*/ 11939 h 162269"/>
                    <a:gd name="connsiteX218" fmla="*/ 109353 w 234728"/>
                    <a:gd name="connsiteY218" fmla="*/ 13887 h 162269"/>
                    <a:gd name="connsiteX219" fmla="*/ 113990 w 234728"/>
                    <a:gd name="connsiteY219" fmla="*/ 18027 h 162269"/>
                    <a:gd name="connsiteX220" fmla="*/ 115368 w 234728"/>
                    <a:gd name="connsiteY220" fmla="*/ 19576 h 162269"/>
                    <a:gd name="connsiteX221" fmla="*/ 117495 w 234728"/>
                    <a:gd name="connsiteY221" fmla="*/ 19347 h 162269"/>
                    <a:gd name="connsiteX222" fmla="*/ 119842 w 234728"/>
                    <a:gd name="connsiteY222" fmla="*/ 18581 h 162269"/>
                    <a:gd name="connsiteX223" fmla="*/ 122222 w 234728"/>
                    <a:gd name="connsiteY223" fmla="*/ 15802 h 162269"/>
                    <a:gd name="connsiteX224" fmla="*/ 129532 w 234728"/>
                    <a:gd name="connsiteY224" fmla="*/ 12665 h 162269"/>
                    <a:gd name="connsiteX225" fmla="*/ 135106 w 234728"/>
                    <a:gd name="connsiteY225" fmla="*/ 11882 h 162269"/>
                    <a:gd name="connsiteX226" fmla="*/ 140550 w 234728"/>
                    <a:gd name="connsiteY226" fmla="*/ 10627 h 162269"/>
                    <a:gd name="connsiteX227" fmla="*/ 146858 w 234728"/>
                    <a:gd name="connsiteY227" fmla="*/ 9731 h 162269"/>
                    <a:gd name="connsiteX228" fmla="*/ 148675 w 234728"/>
                    <a:gd name="connsiteY228" fmla="*/ 7155 h 162269"/>
                    <a:gd name="connsiteX229" fmla="*/ 149686 w 234728"/>
                    <a:gd name="connsiteY229" fmla="*/ 5395 h 162269"/>
                    <a:gd name="connsiteX230" fmla="*/ 150395 w 234728"/>
                    <a:gd name="connsiteY230" fmla="*/ 2151 h 162269"/>
                    <a:gd name="connsiteX231" fmla="*/ 153785 w 234728"/>
                    <a:gd name="connsiteY231" fmla="*/ 1206 h 162269"/>
                    <a:gd name="connsiteX232" fmla="*/ 157013 w 234728"/>
                    <a:gd name="connsiteY232" fmla="*/ 538 h 162269"/>
                    <a:gd name="connsiteX233" fmla="*/ 158154 w 234728"/>
                    <a:gd name="connsiteY233" fmla="*/ 130 h 162269"/>
                    <a:gd name="connsiteX234" fmla="*/ 160517 w 234728"/>
                    <a:gd name="connsiteY234" fmla="*/ 0 h 162269"/>
                    <a:gd name="connsiteX235" fmla="*/ 162343 w 234728"/>
                    <a:gd name="connsiteY235" fmla="*/ 269 h 162269"/>
                    <a:gd name="connsiteX236" fmla="*/ 165162 w 234728"/>
                    <a:gd name="connsiteY236" fmla="*/ 1882 h 162269"/>
                    <a:gd name="connsiteX237" fmla="*/ 167135 w 234728"/>
                    <a:gd name="connsiteY237" fmla="*/ 3896 h 162269"/>
                    <a:gd name="connsiteX238" fmla="*/ 167917 w 234728"/>
                    <a:gd name="connsiteY238" fmla="*/ 5501 h 162269"/>
                    <a:gd name="connsiteX239" fmla="*/ 169612 w 234728"/>
                    <a:gd name="connsiteY239" fmla="*/ 7750 h 162269"/>
                    <a:gd name="connsiteX240" fmla="*/ 171389 w 234728"/>
                    <a:gd name="connsiteY240" fmla="*/ 10921 h 162269"/>
                    <a:gd name="connsiteX241" fmla="*/ 173345 w 234728"/>
                    <a:gd name="connsiteY241" fmla="*/ 15134 h 162269"/>
                    <a:gd name="connsiteX242" fmla="*/ 173777 w 234728"/>
                    <a:gd name="connsiteY242" fmla="*/ 17269 h 162269"/>
                    <a:gd name="connsiteX243" fmla="*/ 174518 w 234728"/>
                    <a:gd name="connsiteY243" fmla="*/ 19568 h 162269"/>
                    <a:gd name="connsiteX244" fmla="*/ 175977 w 234728"/>
                    <a:gd name="connsiteY244" fmla="*/ 22363 h 162269"/>
                    <a:gd name="connsiteX245" fmla="*/ 178764 w 234728"/>
                    <a:gd name="connsiteY245" fmla="*/ 25468 h 162269"/>
                    <a:gd name="connsiteX246" fmla="*/ 179155 w 234728"/>
                    <a:gd name="connsiteY246" fmla="*/ 26055 h 162269"/>
                    <a:gd name="connsiteX247" fmla="*/ 180411 w 234728"/>
                    <a:gd name="connsiteY247" fmla="*/ 28231 h 162269"/>
                    <a:gd name="connsiteX248" fmla="*/ 182847 w 234728"/>
                    <a:gd name="connsiteY248" fmla="*/ 33055 h 162269"/>
                    <a:gd name="connsiteX249" fmla="*/ 184893 w 234728"/>
                    <a:gd name="connsiteY249" fmla="*/ 34995 h 162269"/>
                    <a:gd name="connsiteX250" fmla="*/ 186669 w 234728"/>
                    <a:gd name="connsiteY250" fmla="*/ 37089 h 162269"/>
                    <a:gd name="connsiteX251" fmla="*/ 187517 w 234728"/>
                    <a:gd name="connsiteY251" fmla="*/ 39200 h 162269"/>
                    <a:gd name="connsiteX252" fmla="*/ 188788 w 234728"/>
                    <a:gd name="connsiteY252" fmla="*/ 41115 h 162269"/>
                    <a:gd name="connsiteX253" fmla="*/ 191779 w 234728"/>
                    <a:gd name="connsiteY253" fmla="*/ 43658 h 162269"/>
                    <a:gd name="connsiteX254" fmla="*/ 194192 w 234728"/>
                    <a:gd name="connsiteY254" fmla="*/ 45964 h 162269"/>
                    <a:gd name="connsiteX255" fmla="*/ 196148 w 234728"/>
                    <a:gd name="connsiteY255" fmla="*/ 52598 h 162269"/>
                    <a:gd name="connsiteX256" fmla="*/ 197509 w 234728"/>
                    <a:gd name="connsiteY256" fmla="*/ 55638 h 162269"/>
                    <a:gd name="connsiteX257" fmla="*/ 198348 w 234728"/>
                    <a:gd name="connsiteY257" fmla="*/ 57969 h 162269"/>
                    <a:gd name="connsiteX258" fmla="*/ 197940 w 234728"/>
                    <a:gd name="connsiteY258" fmla="*/ 62680 h 162269"/>
                    <a:gd name="connsiteX259" fmla="*/ 198487 w 234728"/>
                    <a:gd name="connsiteY259" fmla="*/ 64692 h 162269"/>
                    <a:gd name="connsiteX260" fmla="*/ 197370 w 234728"/>
                    <a:gd name="connsiteY260" fmla="*/ 68368 h 162269"/>
                    <a:gd name="connsiteX261" fmla="*/ 195374 w 234728"/>
                    <a:gd name="connsiteY261" fmla="*/ 75760 h 162269"/>
                    <a:gd name="connsiteX262" fmla="*/ 194893 w 234728"/>
                    <a:gd name="connsiteY262" fmla="*/ 81628 h 162269"/>
                    <a:gd name="connsiteX263" fmla="*/ 195235 w 234728"/>
                    <a:gd name="connsiteY263" fmla="*/ 84798 h 162269"/>
                    <a:gd name="connsiteX264" fmla="*/ 195284 w 234728"/>
                    <a:gd name="connsiteY264" fmla="*/ 86819 h 162269"/>
                    <a:gd name="connsiteX265" fmla="*/ 195773 w 234728"/>
                    <a:gd name="connsiteY265" fmla="*/ 88115 h 162269"/>
                    <a:gd name="connsiteX266" fmla="*/ 196294 w 234728"/>
                    <a:gd name="connsiteY266" fmla="*/ 90788 h 162269"/>
                    <a:gd name="connsiteX267" fmla="*/ 196384 w 234728"/>
                    <a:gd name="connsiteY267" fmla="*/ 93119 h 162269"/>
                    <a:gd name="connsiteX268" fmla="*/ 195667 w 234728"/>
                    <a:gd name="connsiteY268" fmla="*/ 93787 h 162269"/>
                    <a:gd name="connsiteX269" fmla="*/ 194664 w 234728"/>
                    <a:gd name="connsiteY269" fmla="*/ 94325 h 162269"/>
                    <a:gd name="connsiteX270" fmla="*/ 194273 w 234728"/>
                    <a:gd name="connsiteY270" fmla="*/ 94814 h 162269"/>
                    <a:gd name="connsiteX271" fmla="*/ 195194 w 234728"/>
                    <a:gd name="connsiteY271" fmla="*/ 95865 h 162269"/>
                    <a:gd name="connsiteX272" fmla="*/ 196449 w 234728"/>
                    <a:gd name="connsiteY272" fmla="*/ 97813 h 162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234728" h="162269">
                      <a:moveTo>
                        <a:pt x="197688" y="100038"/>
                      </a:moveTo>
                      <a:lnTo>
                        <a:pt x="200296" y="103673"/>
                      </a:lnTo>
                      <a:lnTo>
                        <a:pt x="203621" y="105604"/>
                      </a:lnTo>
                      <a:lnTo>
                        <a:pt x="211290" y="107650"/>
                      </a:lnTo>
                      <a:lnTo>
                        <a:pt x="211975" y="107405"/>
                      </a:lnTo>
                      <a:lnTo>
                        <a:pt x="212056" y="107022"/>
                      </a:lnTo>
                      <a:lnTo>
                        <a:pt x="211518" y="106501"/>
                      </a:lnTo>
                      <a:lnTo>
                        <a:pt x="211436" y="105816"/>
                      </a:lnTo>
                      <a:lnTo>
                        <a:pt x="211811" y="104985"/>
                      </a:lnTo>
                      <a:lnTo>
                        <a:pt x="212863" y="104944"/>
                      </a:lnTo>
                      <a:lnTo>
                        <a:pt x="214599" y="105686"/>
                      </a:lnTo>
                      <a:lnTo>
                        <a:pt x="217907" y="104610"/>
                      </a:lnTo>
                      <a:lnTo>
                        <a:pt x="222773" y="101709"/>
                      </a:lnTo>
                      <a:lnTo>
                        <a:pt x="227239" y="101122"/>
                      </a:lnTo>
                      <a:lnTo>
                        <a:pt x="231306" y="102841"/>
                      </a:lnTo>
                      <a:lnTo>
                        <a:pt x="233400" y="104846"/>
                      </a:lnTo>
                      <a:lnTo>
                        <a:pt x="234729" y="106737"/>
                      </a:lnTo>
                      <a:lnTo>
                        <a:pt x="234313" y="109084"/>
                      </a:lnTo>
                      <a:lnTo>
                        <a:pt x="234052" y="110543"/>
                      </a:lnTo>
                      <a:lnTo>
                        <a:pt x="232985" y="116582"/>
                      </a:lnTo>
                      <a:lnTo>
                        <a:pt x="232235" y="118831"/>
                      </a:lnTo>
                      <a:lnTo>
                        <a:pt x="231053" y="121358"/>
                      </a:lnTo>
                      <a:lnTo>
                        <a:pt x="218413" y="124365"/>
                      </a:lnTo>
                      <a:lnTo>
                        <a:pt x="219236" y="122922"/>
                      </a:lnTo>
                      <a:lnTo>
                        <a:pt x="218942" y="120380"/>
                      </a:lnTo>
                      <a:lnTo>
                        <a:pt x="218405" y="118464"/>
                      </a:lnTo>
                      <a:lnTo>
                        <a:pt x="219595" y="116737"/>
                      </a:lnTo>
                      <a:lnTo>
                        <a:pt x="216742" y="116117"/>
                      </a:lnTo>
                      <a:lnTo>
                        <a:pt x="215503" y="117071"/>
                      </a:lnTo>
                      <a:lnTo>
                        <a:pt x="214525" y="118725"/>
                      </a:lnTo>
                      <a:lnTo>
                        <a:pt x="215389" y="122523"/>
                      </a:lnTo>
                      <a:lnTo>
                        <a:pt x="214012" y="124626"/>
                      </a:lnTo>
                      <a:lnTo>
                        <a:pt x="213482" y="125807"/>
                      </a:lnTo>
                      <a:lnTo>
                        <a:pt x="213417" y="128586"/>
                      </a:lnTo>
                      <a:lnTo>
                        <a:pt x="212602" y="129793"/>
                      </a:lnTo>
                      <a:lnTo>
                        <a:pt x="212431" y="131097"/>
                      </a:lnTo>
                      <a:lnTo>
                        <a:pt x="214452" y="130762"/>
                      </a:lnTo>
                      <a:lnTo>
                        <a:pt x="213547" y="133158"/>
                      </a:lnTo>
                      <a:lnTo>
                        <a:pt x="209766" y="137771"/>
                      </a:lnTo>
                      <a:lnTo>
                        <a:pt x="208421" y="140510"/>
                      </a:lnTo>
                      <a:lnTo>
                        <a:pt x="208755" y="151381"/>
                      </a:lnTo>
                      <a:lnTo>
                        <a:pt x="207077" y="157868"/>
                      </a:lnTo>
                      <a:lnTo>
                        <a:pt x="206938" y="159784"/>
                      </a:lnTo>
                      <a:lnTo>
                        <a:pt x="202929" y="159849"/>
                      </a:lnTo>
                      <a:lnTo>
                        <a:pt x="201730" y="159694"/>
                      </a:lnTo>
                      <a:lnTo>
                        <a:pt x="197925" y="158724"/>
                      </a:lnTo>
                      <a:lnTo>
                        <a:pt x="193670" y="156996"/>
                      </a:lnTo>
                      <a:lnTo>
                        <a:pt x="191152" y="153655"/>
                      </a:lnTo>
                      <a:lnTo>
                        <a:pt x="189554" y="151259"/>
                      </a:lnTo>
                      <a:lnTo>
                        <a:pt x="185936" y="152343"/>
                      </a:lnTo>
                      <a:lnTo>
                        <a:pt x="185252" y="152050"/>
                      </a:lnTo>
                      <a:lnTo>
                        <a:pt x="184265" y="150892"/>
                      </a:lnTo>
                      <a:lnTo>
                        <a:pt x="181536" y="150118"/>
                      </a:lnTo>
                      <a:lnTo>
                        <a:pt x="178169" y="150110"/>
                      </a:lnTo>
                      <a:lnTo>
                        <a:pt x="170615" y="145733"/>
                      </a:lnTo>
                      <a:lnTo>
                        <a:pt x="169775" y="144984"/>
                      </a:lnTo>
                      <a:lnTo>
                        <a:pt x="163842" y="145725"/>
                      </a:lnTo>
                      <a:lnTo>
                        <a:pt x="154951" y="147893"/>
                      </a:lnTo>
                      <a:lnTo>
                        <a:pt x="148170" y="150566"/>
                      </a:lnTo>
                      <a:lnTo>
                        <a:pt x="141161" y="155326"/>
                      </a:lnTo>
                      <a:lnTo>
                        <a:pt x="138326" y="158936"/>
                      </a:lnTo>
                      <a:lnTo>
                        <a:pt x="135033" y="160843"/>
                      </a:lnTo>
                      <a:lnTo>
                        <a:pt x="130339" y="162269"/>
                      </a:lnTo>
                      <a:lnTo>
                        <a:pt x="121969" y="161723"/>
                      </a:lnTo>
                      <a:lnTo>
                        <a:pt x="113257" y="159922"/>
                      </a:lnTo>
                      <a:lnTo>
                        <a:pt x="103885" y="157974"/>
                      </a:lnTo>
                      <a:lnTo>
                        <a:pt x="98832" y="159042"/>
                      </a:lnTo>
                      <a:lnTo>
                        <a:pt x="91986" y="158243"/>
                      </a:lnTo>
                      <a:lnTo>
                        <a:pt x="81668" y="155913"/>
                      </a:lnTo>
                      <a:lnTo>
                        <a:pt x="73975" y="155212"/>
                      </a:lnTo>
                      <a:lnTo>
                        <a:pt x="66404" y="156573"/>
                      </a:lnTo>
                      <a:lnTo>
                        <a:pt x="65124" y="155538"/>
                      </a:lnTo>
                      <a:lnTo>
                        <a:pt x="64847" y="154340"/>
                      </a:lnTo>
                      <a:lnTo>
                        <a:pt x="65133" y="152636"/>
                      </a:lnTo>
                      <a:lnTo>
                        <a:pt x="66200" y="151267"/>
                      </a:lnTo>
                      <a:lnTo>
                        <a:pt x="68042" y="150224"/>
                      </a:lnTo>
                      <a:lnTo>
                        <a:pt x="69012" y="149173"/>
                      </a:lnTo>
                      <a:lnTo>
                        <a:pt x="69118" y="148105"/>
                      </a:lnTo>
                      <a:lnTo>
                        <a:pt x="67048" y="146385"/>
                      </a:lnTo>
                      <a:lnTo>
                        <a:pt x="62835" y="144022"/>
                      </a:lnTo>
                      <a:lnTo>
                        <a:pt x="61090" y="142539"/>
                      </a:lnTo>
                      <a:lnTo>
                        <a:pt x="60675" y="142164"/>
                      </a:lnTo>
                      <a:lnTo>
                        <a:pt x="60560" y="140835"/>
                      </a:lnTo>
                      <a:lnTo>
                        <a:pt x="59680" y="139784"/>
                      </a:lnTo>
                      <a:lnTo>
                        <a:pt x="58034" y="139018"/>
                      </a:lnTo>
                      <a:lnTo>
                        <a:pt x="56763" y="137633"/>
                      </a:lnTo>
                      <a:lnTo>
                        <a:pt x="55875" y="135628"/>
                      </a:lnTo>
                      <a:lnTo>
                        <a:pt x="56062" y="133737"/>
                      </a:lnTo>
                      <a:lnTo>
                        <a:pt x="57342" y="131960"/>
                      </a:lnTo>
                      <a:lnTo>
                        <a:pt x="58988" y="131194"/>
                      </a:lnTo>
                      <a:lnTo>
                        <a:pt x="60993" y="131431"/>
                      </a:lnTo>
                      <a:lnTo>
                        <a:pt x="61816" y="130925"/>
                      </a:lnTo>
                      <a:lnTo>
                        <a:pt x="61490" y="129687"/>
                      </a:lnTo>
                      <a:lnTo>
                        <a:pt x="59534" y="128097"/>
                      </a:lnTo>
                      <a:lnTo>
                        <a:pt x="55948" y="126166"/>
                      </a:lnTo>
                      <a:lnTo>
                        <a:pt x="52305" y="127217"/>
                      </a:lnTo>
                      <a:lnTo>
                        <a:pt x="48589" y="131251"/>
                      </a:lnTo>
                      <a:lnTo>
                        <a:pt x="45915" y="131911"/>
                      </a:lnTo>
                      <a:lnTo>
                        <a:pt x="44277" y="129181"/>
                      </a:lnTo>
                      <a:lnTo>
                        <a:pt x="41352" y="127568"/>
                      </a:lnTo>
                      <a:lnTo>
                        <a:pt x="37163" y="127054"/>
                      </a:lnTo>
                      <a:lnTo>
                        <a:pt x="34579" y="126011"/>
                      </a:lnTo>
                      <a:lnTo>
                        <a:pt x="33618" y="124438"/>
                      </a:lnTo>
                      <a:lnTo>
                        <a:pt x="31784" y="123224"/>
                      </a:lnTo>
                      <a:lnTo>
                        <a:pt x="27734" y="121944"/>
                      </a:lnTo>
                      <a:lnTo>
                        <a:pt x="27684" y="120714"/>
                      </a:lnTo>
                      <a:lnTo>
                        <a:pt x="28337" y="120429"/>
                      </a:lnTo>
                      <a:lnTo>
                        <a:pt x="29779" y="120306"/>
                      </a:lnTo>
                      <a:lnTo>
                        <a:pt x="31703" y="120046"/>
                      </a:lnTo>
                      <a:lnTo>
                        <a:pt x="32004" y="119345"/>
                      </a:lnTo>
                      <a:lnTo>
                        <a:pt x="32028" y="118717"/>
                      </a:lnTo>
                      <a:lnTo>
                        <a:pt x="30504" y="117902"/>
                      </a:lnTo>
                      <a:lnTo>
                        <a:pt x="28972" y="117356"/>
                      </a:lnTo>
                      <a:lnTo>
                        <a:pt x="28165" y="116794"/>
                      </a:lnTo>
                      <a:lnTo>
                        <a:pt x="27669" y="116191"/>
                      </a:lnTo>
                      <a:lnTo>
                        <a:pt x="27554" y="115555"/>
                      </a:lnTo>
                      <a:lnTo>
                        <a:pt x="28011" y="115115"/>
                      </a:lnTo>
                      <a:lnTo>
                        <a:pt x="28630" y="115082"/>
                      </a:lnTo>
                      <a:lnTo>
                        <a:pt x="29233" y="114707"/>
                      </a:lnTo>
                      <a:lnTo>
                        <a:pt x="29584" y="113232"/>
                      </a:lnTo>
                      <a:lnTo>
                        <a:pt x="30415" y="112010"/>
                      </a:lnTo>
                      <a:lnTo>
                        <a:pt x="31002" y="111578"/>
                      </a:lnTo>
                      <a:lnTo>
                        <a:pt x="30961" y="110673"/>
                      </a:lnTo>
                      <a:lnTo>
                        <a:pt x="30350" y="109834"/>
                      </a:lnTo>
                      <a:lnTo>
                        <a:pt x="29502" y="109109"/>
                      </a:lnTo>
                      <a:lnTo>
                        <a:pt x="28279" y="108669"/>
                      </a:lnTo>
                      <a:lnTo>
                        <a:pt x="24416" y="107397"/>
                      </a:lnTo>
                      <a:lnTo>
                        <a:pt x="22469" y="105629"/>
                      </a:lnTo>
                      <a:lnTo>
                        <a:pt x="21287" y="105555"/>
                      </a:lnTo>
                      <a:lnTo>
                        <a:pt x="19388" y="104577"/>
                      </a:lnTo>
                      <a:lnTo>
                        <a:pt x="17359" y="103037"/>
                      </a:lnTo>
                      <a:lnTo>
                        <a:pt x="15590" y="100845"/>
                      </a:lnTo>
                      <a:lnTo>
                        <a:pt x="13699" y="99427"/>
                      </a:lnTo>
                      <a:lnTo>
                        <a:pt x="13203" y="98848"/>
                      </a:lnTo>
                      <a:lnTo>
                        <a:pt x="13162" y="98294"/>
                      </a:lnTo>
                      <a:lnTo>
                        <a:pt x="13504" y="97683"/>
                      </a:lnTo>
                      <a:lnTo>
                        <a:pt x="13496" y="97014"/>
                      </a:lnTo>
                      <a:lnTo>
                        <a:pt x="12999" y="94863"/>
                      </a:lnTo>
                      <a:lnTo>
                        <a:pt x="13333" y="92597"/>
                      </a:lnTo>
                      <a:lnTo>
                        <a:pt x="13243" y="90454"/>
                      </a:lnTo>
                      <a:lnTo>
                        <a:pt x="13219" y="89500"/>
                      </a:lnTo>
                      <a:lnTo>
                        <a:pt x="12852" y="89199"/>
                      </a:lnTo>
                      <a:lnTo>
                        <a:pt x="12526" y="89525"/>
                      </a:lnTo>
                      <a:lnTo>
                        <a:pt x="12061" y="89932"/>
                      </a:lnTo>
                      <a:lnTo>
                        <a:pt x="11597" y="90014"/>
                      </a:lnTo>
                      <a:lnTo>
                        <a:pt x="10195" y="88449"/>
                      </a:lnTo>
                      <a:lnTo>
                        <a:pt x="8410" y="85271"/>
                      </a:lnTo>
                      <a:lnTo>
                        <a:pt x="7213" y="84211"/>
                      </a:lnTo>
                      <a:lnTo>
                        <a:pt x="4865" y="82761"/>
                      </a:lnTo>
                      <a:lnTo>
                        <a:pt x="2893" y="81530"/>
                      </a:lnTo>
                      <a:lnTo>
                        <a:pt x="1483" y="78873"/>
                      </a:lnTo>
                      <a:lnTo>
                        <a:pt x="0" y="76827"/>
                      </a:lnTo>
                      <a:lnTo>
                        <a:pt x="970" y="75964"/>
                      </a:lnTo>
                      <a:lnTo>
                        <a:pt x="6609" y="74757"/>
                      </a:lnTo>
                      <a:lnTo>
                        <a:pt x="9217" y="75947"/>
                      </a:lnTo>
                      <a:lnTo>
                        <a:pt x="10407" y="75515"/>
                      </a:lnTo>
                      <a:lnTo>
                        <a:pt x="11540" y="74554"/>
                      </a:lnTo>
                      <a:lnTo>
                        <a:pt x="12167" y="73788"/>
                      </a:lnTo>
                      <a:lnTo>
                        <a:pt x="12290" y="72973"/>
                      </a:lnTo>
                      <a:lnTo>
                        <a:pt x="12852" y="71954"/>
                      </a:lnTo>
                      <a:lnTo>
                        <a:pt x="14759" y="71481"/>
                      </a:lnTo>
                      <a:lnTo>
                        <a:pt x="19796" y="72092"/>
                      </a:lnTo>
                      <a:lnTo>
                        <a:pt x="21825" y="70674"/>
                      </a:lnTo>
                      <a:lnTo>
                        <a:pt x="22566" y="69900"/>
                      </a:lnTo>
                      <a:lnTo>
                        <a:pt x="23031" y="68181"/>
                      </a:lnTo>
                      <a:lnTo>
                        <a:pt x="23561" y="66811"/>
                      </a:lnTo>
                      <a:lnTo>
                        <a:pt x="25362" y="66070"/>
                      </a:lnTo>
                      <a:lnTo>
                        <a:pt x="25346" y="64815"/>
                      </a:lnTo>
                      <a:lnTo>
                        <a:pt x="25061" y="63446"/>
                      </a:lnTo>
                      <a:lnTo>
                        <a:pt x="26112" y="60398"/>
                      </a:lnTo>
                      <a:lnTo>
                        <a:pt x="26747" y="59143"/>
                      </a:lnTo>
                      <a:lnTo>
                        <a:pt x="27766" y="58678"/>
                      </a:lnTo>
                      <a:lnTo>
                        <a:pt x="28997" y="57716"/>
                      </a:lnTo>
                      <a:lnTo>
                        <a:pt x="31140" y="55720"/>
                      </a:lnTo>
                      <a:lnTo>
                        <a:pt x="30643" y="53967"/>
                      </a:lnTo>
                      <a:lnTo>
                        <a:pt x="31075" y="52680"/>
                      </a:lnTo>
                      <a:lnTo>
                        <a:pt x="33283" y="49526"/>
                      </a:lnTo>
                      <a:lnTo>
                        <a:pt x="34987" y="46486"/>
                      </a:lnTo>
                      <a:lnTo>
                        <a:pt x="34954" y="44970"/>
                      </a:lnTo>
                      <a:lnTo>
                        <a:pt x="35215" y="43634"/>
                      </a:lnTo>
                      <a:lnTo>
                        <a:pt x="36706" y="42175"/>
                      </a:lnTo>
                      <a:lnTo>
                        <a:pt x="38287" y="40276"/>
                      </a:lnTo>
                      <a:lnTo>
                        <a:pt x="40366" y="34343"/>
                      </a:lnTo>
                      <a:lnTo>
                        <a:pt x="41099" y="33340"/>
                      </a:lnTo>
                      <a:lnTo>
                        <a:pt x="42476" y="32208"/>
                      </a:lnTo>
                      <a:lnTo>
                        <a:pt x="43487" y="31091"/>
                      </a:lnTo>
                      <a:lnTo>
                        <a:pt x="43601" y="27187"/>
                      </a:lnTo>
                      <a:lnTo>
                        <a:pt x="44546" y="26055"/>
                      </a:lnTo>
                      <a:lnTo>
                        <a:pt x="46388" y="24791"/>
                      </a:lnTo>
                      <a:lnTo>
                        <a:pt x="48189" y="22754"/>
                      </a:lnTo>
                      <a:lnTo>
                        <a:pt x="49672" y="20334"/>
                      </a:lnTo>
                      <a:lnTo>
                        <a:pt x="50813" y="19217"/>
                      </a:lnTo>
                      <a:lnTo>
                        <a:pt x="52321" y="18916"/>
                      </a:lnTo>
                      <a:lnTo>
                        <a:pt x="53959" y="17970"/>
                      </a:lnTo>
                      <a:lnTo>
                        <a:pt x="55793" y="17612"/>
                      </a:lnTo>
                      <a:lnTo>
                        <a:pt x="57569" y="18076"/>
                      </a:lnTo>
                      <a:lnTo>
                        <a:pt x="58694" y="17840"/>
                      </a:lnTo>
                      <a:lnTo>
                        <a:pt x="60398" y="16666"/>
                      </a:lnTo>
                      <a:lnTo>
                        <a:pt x="64733" y="12241"/>
                      </a:lnTo>
                      <a:lnTo>
                        <a:pt x="65353" y="11352"/>
                      </a:lnTo>
                      <a:lnTo>
                        <a:pt x="66241" y="10749"/>
                      </a:lnTo>
                      <a:lnTo>
                        <a:pt x="69770" y="9225"/>
                      </a:lnTo>
                      <a:lnTo>
                        <a:pt x="70658" y="7701"/>
                      </a:lnTo>
                      <a:lnTo>
                        <a:pt x="71872" y="6324"/>
                      </a:lnTo>
                      <a:lnTo>
                        <a:pt x="73446" y="6430"/>
                      </a:lnTo>
                      <a:lnTo>
                        <a:pt x="78539" y="9820"/>
                      </a:lnTo>
                      <a:lnTo>
                        <a:pt x="84007" y="9609"/>
                      </a:lnTo>
                      <a:lnTo>
                        <a:pt x="85002" y="9739"/>
                      </a:lnTo>
                      <a:lnTo>
                        <a:pt x="85327" y="9804"/>
                      </a:lnTo>
                      <a:lnTo>
                        <a:pt x="85988" y="10089"/>
                      </a:lnTo>
                      <a:lnTo>
                        <a:pt x="93257" y="11768"/>
                      </a:lnTo>
                      <a:lnTo>
                        <a:pt x="94382" y="11573"/>
                      </a:lnTo>
                      <a:lnTo>
                        <a:pt x="94692" y="11442"/>
                      </a:lnTo>
                      <a:lnTo>
                        <a:pt x="97626" y="12828"/>
                      </a:lnTo>
                      <a:lnTo>
                        <a:pt x="100209" y="12648"/>
                      </a:lnTo>
                      <a:lnTo>
                        <a:pt x="102662" y="11687"/>
                      </a:lnTo>
                      <a:lnTo>
                        <a:pt x="105213" y="11361"/>
                      </a:lnTo>
                      <a:lnTo>
                        <a:pt x="107560" y="11939"/>
                      </a:lnTo>
                      <a:lnTo>
                        <a:pt x="109353" y="13887"/>
                      </a:lnTo>
                      <a:lnTo>
                        <a:pt x="113990" y="18027"/>
                      </a:lnTo>
                      <a:lnTo>
                        <a:pt x="115368" y="19576"/>
                      </a:lnTo>
                      <a:lnTo>
                        <a:pt x="117495" y="19347"/>
                      </a:lnTo>
                      <a:lnTo>
                        <a:pt x="119842" y="18581"/>
                      </a:lnTo>
                      <a:lnTo>
                        <a:pt x="122222" y="15802"/>
                      </a:lnTo>
                      <a:lnTo>
                        <a:pt x="129532" y="12665"/>
                      </a:lnTo>
                      <a:lnTo>
                        <a:pt x="135106" y="11882"/>
                      </a:lnTo>
                      <a:lnTo>
                        <a:pt x="140550" y="10627"/>
                      </a:lnTo>
                      <a:lnTo>
                        <a:pt x="146858" y="9731"/>
                      </a:lnTo>
                      <a:lnTo>
                        <a:pt x="148675" y="7155"/>
                      </a:lnTo>
                      <a:lnTo>
                        <a:pt x="149686" y="5395"/>
                      </a:lnTo>
                      <a:lnTo>
                        <a:pt x="150395" y="2151"/>
                      </a:lnTo>
                      <a:lnTo>
                        <a:pt x="153785" y="1206"/>
                      </a:lnTo>
                      <a:lnTo>
                        <a:pt x="157013" y="538"/>
                      </a:lnTo>
                      <a:lnTo>
                        <a:pt x="158154" y="130"/>
                      </a:lnTo>
                      <a:lnTo>
                        <a:pt x="160517" y="0"/>
                      </a:lnTo>
                      <a:lnTo>
                        <a:pt x="162343" y="269"/>
                      </a:lnTo>
                      <a:lnTo>
                        <a:pt x="165162" y="1882"/>
                      </a:lnTo>
                      <a:lnTo>
                        <a:pt x="167135" y="3896"/>
                      </a:lnTo>
                      <a:lnTo>
                        <a:pt x="167917" y="5501"/>
                      </a:lnTo>
                      <a:lnTo>
                        <a:pt x="169612" y="7750"/>
                      </a:lnTo>
                      <a:lnTo>
                        <a:pt x="171389" y="10921"/>
                      </a:lnTo>
                      <a:lnTo>
                        <a:pt x="173345" y="15134"/>
                      </a:lnTo>
                      <a:lnTo>
                        <a:pt x="173777" y="17269"/>
                      </a:lnTo>
                      <a:lnTo>
                        <a:pt x="174518" y="19568"/>
                      </a:lnTo>
                      <a:lnTo>
                        <a:pt x="175977" y="22363"/>
                      </a:lnTo>
                      <a:lnTo>
                        <a:pt x="178764" y="25468"/>
                      </a:lnTo>
                      <a:lnTo>
                        <a:pt x="179155" y="26055"/>
                      </a:lnTo>
                      <a:lnTo>
                        <a:pt x="180411" y="28231"/>
                      </a:lnTo>
                      <a:lnTo>
                        <a:pt x="182847" y="33055"/>
                      </a:lnTo>
                      <a:lnTo>
                        <a:pt x="184893" y="34995"/>
                      </a:lnTo>
                      <a:lnTo>
                        <a:pt x="186669" y="37089"/>
                      </a:lnTo>
                      <a:lnTo>
                        <a:pt x="187517" y="39200"/>
                      </a:lnTo>
                      <a:lnTo>
                        <a:pt x="188788" y="41115"/>
                      </a:lnTo>
                      <a:lnTo>
                        <a:pt x="191779" y="43658"/>
                      </a:lnTo>
                      <a:lnTo>
                        <a:pt x="194192" y="45964"/>
                      </a:lnTo>
                      <a:lnTo>
                        <a:pt x="196148" y="52598"/>
                      </a:lnTo>
                      <a:lnTo>
                        <a:pt x="197509" y="55638"/>
                      </a:lnTo>
                      <a:lnTo>
                        <a:pt x="198348" y="57969"/>
                      </a:lnTo>
                      <a:lnTo>
                        <a:pt x="197940" y="62680"/>
                      </a:lnTo>
                      <a:lnTo>
                        <a:pt x="198487" y="64692"/>
                      </a:lnTo>
                      <a:lnTo>
                        <a:pt x="197370" y="68368"/>
                      </a:lnTo>
                      <a:lnTo>
                        <a:pt x="195374" y="75760"/>
                      </a:lnTo>
                      <a:lnTo>
                        <a:pt x="194893" y="81628"/>
                      </a:lnTo>
                      <a:lnTo>
                        <a:pt x="195235" y="84798"/>
                      </a:lnTo>
                      <a:lnTo>
                        <a:pt x="195284" y="86819"/>
                      </a:lnTo>
                      <a:lnTo>
                        <a:pt x="195773" y="88115"/>
                      </a:lnTo>
                      <a:lnTo>
                        <a:pt x="196294" y="90788"/>
                      </a:lnTo>
                      <a:lnTo>
                        <a:pt x="196384" y="93119"/>
                      </a:lnTo>
                      <a:lnTo>
                        <a:pt x="195667" y="93787"/>
                      </a:lnTo>
                      <a:lnTo>
                        <a:pt x="194664" y="94325"/>
                      </a:lnTo>
                      <a:lnTo>
                        <a:pt x="194273" y="94814"/>
                      </a:lnTo>
                      <a:lnTo>
                        <a:pt x="195194" y="95865"/>
                      </a:lnTo>
                      <a:lnTo>
                        <a:pt x="196449" y="97813"/>
                      </a:lnTo>
                      <a:close/>
                    </a:path>
                  </a:pathLst>
                </a:custGeom>
                <a:solidFill>
                  <a:srgbClr val="D6D6D2"/>
                </a:solidFill>
                <a:ln w="6112" cap="rnd">
                  <a:solidFill>
                    <a:srgbClr val="FFFFFF"/>
                  </a:solidFill>
                  <a:prstDash val="solid"/>
                  <a:round/>
                </a:ln>
              </p:spPr>
              <p:txBody>
                <a:bodyPr rtlCol="0" anchor="ctr"/>
                <a:lstStyle/>
                <a:p>
                  <a:endParaRPr lang="en-US"/>
                </a:p>
              </p:txBody>
            </p:sp>
            <p:sp>
              <p:nvSpPr>
                <p:cNvPr id="640" name="Freeform: Shape 639">
                  <a:extLst>
                    <a:ext uri="{FF2B5EF4-FFF2-40B4-BE49-F238E27FC236}">
                      <a16:creationId xmlns:a16="http://schemas.microsoft.com/office/drawing/2014/main" id="{980E73FC-37DE-4A30-A652-AC3566A28AD9}"/>
                    </a:ext>
                  </a:extLst>
                </p:cNvPr>
                <p:cNvSpPr/>
                <p:nvPr/>
              </p:nvSpPr>
              <p:spPr>
                <a:xfrm>
                  <a:off x="7202456" y="3727616"/>
                  <a:ext cx="21189" cy="49974"/>
                </a:xfrm>
                <a:custGeom>
                  <a:avLst/>
                  <a:gdLst>
                    <a:gd name="connsiteX0" fmla="*/ 12738 w 21189"/>
                    <a:gd name="connsiteY0" fmla="*/ 48637 h 49974"/>
                    <a:gd name="connsiteX1" fmla="*/ 10505 w 21189"/>
                    <a:gd name="connsiteY1" fmla="*/ 49281 h 49974"/>
                    <a:gd name="connsiteX2" fmla="*/ 8402 w 21189"/>
                    <a:gd name="connsiteY2" fmla="*/ 49974 h 49974"/>
                    <a:gd name="connsiteX3" fmla="*/ 6650 w 21189"/>
                    <a:gd name="connsiteY3" fmla="*/ 49950 h 49974"/>
                    <a:gd name="connsiteX4" fmla="*/ 5248 w 21189"/>
                    <a:gd name="connsiteY4" fmla="*/ 49681 h 49974"/>
                    <a:gd name="connsiteX5" fmla="*/ 4311 w 21189"/>
                    <a:gd name="connsiteY5" fmla="*/ 49013 h 49974"/>
                    <a:gd name="connsiteX6" fmla="*/ 2510 w 21189"/>
                    <a:gd name="connsiteY6" fmla="*/ 46364 h 49974"/>
                    <a:gd name="connsiteX7" fmla="*/ 1239 w 21189"/>
                    <a:gd name="connsiteY7" fmla="*/ 42925 h 49974"/>
                    <a:gd name="connsiteX8" fmla="*/ 2029 w 21189"/>
                    <a:gd name="connsiteY8" fmla="*/ 41001 h 49974"/>
                    <a:gd name="connsiteX9" fmla="*/ 2290 w 21189"/>
                    <a:gd name="connsiteY9" fmla="*/ 39811 h 49974"/>
                    <a:gd name="connsiteX10" fmla="*/ 563 w 21189"/>
                    <a:gd name="connsiteY10" fmla="*/ 30724 h 49974"/>
                    <a:gd name="connsiteX11" fmla="*/ 0 w 21189"/>
                    <a:gd name="connsiteY11" fmla="*/ 23757 h 49974"/>
                    <a:gd name="connsiteX12" fmla="*/ 204 w 21189"/>
                    <a:gd name="connsiteY12" fmla="*/ 22330 h 49974"/>
                    <a:gd name="connsiteX13" fmla="*/ 1198 w 21189"/>
                    <a:gd name="connsiteY13" fmla="*/ 20684 h 49974"/>
                    <a:gd name="connsiteX14" fmla="*/ 2828 w 21189"/>
                    <a:gd name="connsiteY14" fmla="*/ 17041 h 49974"/>
                    <a:gd name="connsiteX15" fmla="*/ 3700 w 21189"/>
                    <a:gd name="connsiteY15" fmla="*/ 13537 h 49974"/>
                    <a:gd name="connsiteX16" fmla="*/ 6153 w 21189"/>
                    <a:gd name="connsiteY16" fmla="*/ 5420 h 49974"/>
                    <a:gd name="connsiteX17" fmla="*/ 8769 w 21189"/>
                    <a:gd name="connsiteY17" fmla="*/ 2298 h 49974"/>
                    <a:gd name="connsiteX18" fmla="*/ 12600 w 21189"/>
                    <a:gd name="connsiteY18" fmla="*/ 0 h 49974"/>
                    <a:gd name="connsiteX19" fmla="*/ 15737 w 21189"/>
                    <a:gd name="connsiteY19" fmla="*/ 4482 h 49974"/>
                    <a:gd name="connsiteX20" fmla="*/ 19560 w 21189"/>
                    <a:gd name="connsiteY20" fmla="*/ 7913 h 49974"/>
                    <a:gd name="connsiteX21" fmla="*/ 20285 w 21189"/>
                    <a:gd name="connsiteY21" fmla="*/ 11744 h 49974"/>
                    <a:gd name="connsiteX22" fmla="*/ 19152 w 21189"/>
                    <a:gd name="connsiteY22" fmla="*/ 14857 h 49974"/>
                    <a:gd name="connsiteX23" fmla="*/ 18125 w 21189"/>
                    <a:gd name="connsiteY23" fmla="*/ 19812 h 49974"/>
                    <a:gd name="connsiteX24" fmla="*/ 18736 w 21189"/>
                    <a:gd name="connsiteY24" fmla="*/ 22086 h 49974"/>
                    <a:gd name="connsiteX25" fmla="*/ 18973 w 21189"/>
                    <a:gd name="connsiteY25" fmla="*/ 24058 h 49974"/>
                    <a:gd name="connsiteX26" fmla="*/ 20016 w 21189"/>
                    <a:gd name="connsiteY26" fmla="*/ 27367 h 49974"/>
                    <a:gd name="connsiteX27" fmla="*/ 21026 w 21189"/>
                    <a:gd name="connsiteY27" fmla="*/ 31662 h 49974"/>
                    <a:gd name="connsiteX28" fmla="*/ 21190 w 21189"/>
                    <a:gd name="connsiteY28" fmla="*/ 34645 h 49974"/>
                    <a:gd name="connsiteX29" fmla="*/ 20643 w 21189"/>
                    <a:gd name="connsiteY29" fmla="*/ 37415 h 49974"/>
                    <a:gd name="connsiteX30" fmla="*/ 19323 w 21189"/>
                    <a:gd name="connsiteY30" fmla="*/ 39730 h 49974"/>
                    <a:gd name="connsiteX31" fmla="*/ 16699 w 21189"/>
                    <a:gd name="connsiteY31" fmla="*/ 46722 h 49974"/>
                    <a:gd name="connsiteX32" fmla="*/ 15933 w 21189"/>
                    <a:gd name="connsiteY32" fmla="*/ 47448 h 49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1189" h="49974">
                      <a:moveTo>
                        <a:pt x="12738" y="48637"/>
                      </a:moveTo>
                      <a:lnTo>
                        <a:pt x="10505" y="49281"/>
                      </a:lnTo>
                      <a:lnTo>
                        <a:pt x="8402" y="49974"/>
                      </a:lnTo>
                      <a:lnTo>
                        <a:pt x="6650" y="49950"/>
                      </a:lnTo>
                      <a:lnTo>
                        <a:pt x="5248" y="49681"/>
                      </a:lnTo>
                      <a:lnTo>
                        <a:pt x="4311" y="49013"/>
                      </a:lnTo>
                      <a:lnTo>
                        <a:pt x="2510" y="46364"/>
                      </a:lnTo>
                      <a:lnTo>
                        <a:pt x="1239" y="42925"/>
                      </a:lnTo>
                      <a:lnTo>
                        <a:pt x="2029" y="41001"/>
                      </a:lnTo>
                      <a:lnTo>
                        <a:pt x="2290" y="39811"/>
                      </a:lnTo>
                      <a:lnTo>
                        <a:pt x="563" y="30724"/>
                      </a:lnTo>
                      <a:lnTo>
                        <a:pt x="0" y="23757"/>
                      </a:lnTo>
                      <a:lnTo>
                        <a:pt x="204" y="22330"/>
                      </a:lnTo>
                      <a:lnTo>
                        <a:pt x="1198" y="20684"/>
                      </a:lnTo>
                      <a:lnTo>
                        <a:pt x="2828" y="17041"/>
                      </a:lnTo>
                      <a:lnTo>
                        <a:pt x="3700" y="13537"/>
                      </a:lnTo>
                      <a:lnTo>
                        <a:pt x="6153" y="5420"/>
                      </a:lnTo>
                      <a:lnTo>
                        <a:pt x="8769" y="2298"/>
                      </a:lnTo>
                      <a:lnTo>
                        <a:pt x="12600" y="0"/>
                      </a:lnTo>
                      <a:lnTo>
                        <a:pt x="15737" y="4482"/>
                      </a:lnTo>
                      <a:lnTo>
                        <a:pt x="19560" y="7913"/>
                      </a:lnTo>
                      <a:lnTo>
                        <a:pt x="20285" y="11744"/>
                      </a:lnTo>
                      <a:lnTo>
                        <a:pt x="19152" y="14857"/>
                      </a:lnTo>
                      <a:lnTo>
                        <a:pt x="18125" y="19812"/>
                      </a:lnTo>
                      <a:lnTo>
                        <a:pt x="18736" y="22086"/>
                      </a:lnTo>
                      <a:lnTo>
                        <a:pt x="18973" y="24058"/>
                      </a:lnTo>
                      <a:lnTo>
                        <a:pt x="20016" y="27367"/>
                      </a:lnTo>
                      <a:lnTo>
                        <a:pt x="21026" y="31662"/>
                      </a:lnTo>
                      <a:lnTo>
                        <a:pt x="21190" y="34645"/>
                      </a:lnTo>
                      <a:lnTo>
                        <a:pt x="20643" y="37415"/>
                      </a:lnTo>
                      <a:lnTo>
                        <a:pt x="19323" y="39730"/>
                      </a:lnTo>
                      <a:lnTo>
                        <a:pt x="16699" y="46722"/>
                      </a:lnTo>
                      <a:lnTo>
                        <a:pt x="15933" y="47448"/>
                      </a:lnTo>
                      <a:close/>
                    </a:path>
                  </a:pathLst>
                </a:custGeom>
                <a:solidFill>
                  <a:srgbClr val="D6D6D2"/>
                </a:solidFill>
                <a:ln w="6112" cap="rnd">
                  <a:solidFill>
                    <a:srgbClr val="FFFFFF"/>
                  </a:solidFill>
                  <a:prstDash val="solid"/>
                  <a:round/>
                </a:ln>
              </p:spPr>
              <p:txBody>
                <a:bodyPr rtlCol="0" anchor="ctr"/>
                <a:lstStyle/>
                <a:p>
                  <a:endParaRPr lang="en-US"/>
                </a:p>
              </p:txBody>
            </p:sp>
            <p:sp>
              <p:nvSpPr>
                <p:cNvPr id="641" name="Freeform: Shape 640">
                  <a:extLst>
                    <a:ext uri="{FF2B5EF4-FFF2-40B4-BE49-F238E27FC236}">
                      <a16:creationId xmlns:a16="http://schemas.microsoft.com/office/drawing/2014/main" id="{01F4F1DF-306D-45B3-B03F-5D546D2FD4A0}"/>
                    </a:ext>
                  </a:extLst>
                </p:cNvPr>
                <p:cNvSpPr/>
                <p:nvPr/>
              </p:nvSpPr>
              <p:spPr>
                <a:xfrm>
                  <a:off x="6808555" y="3523408"/>
                  <a:ext cx="17342" cy="38328"/>
                </a:xfrm>
                <a:custGeom>
                  <a:avLst/>
                  <a:gdLst>
                    <a:gd name="connsiteX0" fmla="*/ 16340 w 17342"/>
                    <a:gd name="connsiteY0" fmla="*/ 17832 h 38328"/>
                    <a:gd name="connsiteX1" fmla="*/ 17025 w 17342"/>
                    <a:gd name="connsiteY1" fmla="*/ 24938 h 38328"/>
                    <a:gd name="connsiteX2" fmla="*/ 15542 w 17342"/>
                    <a:gd name="connsiteY2" fmla="*/ 27954 h 38328"/>
                    <a:gd name="connsiteX3" fmla="*/ 14694 w 17342"/>
                    <a:gd name="connsiteY3" fmla="*/ 31507 h 38328"/>
                    <a:gd name="connsiteX4" fmla="*/ 14327 w 17342"/>
                    <a:gd name="connsiteY4" fmla="*/ 34196 h 38328"/>
                    <a:gd name="connsiteX5" fmla="*/ 13284 w 17342"/>
                    <a:gd name="connsiteY5" fmla="*/ 34082 h 38328"/>
                    <a:gd name="connsiteX6" fmla="*/ 10008 w 17342"/>
                    <a:gd name="connsiteY6" fmla="*/ 36022 h 38328"/>
                    <a:gd name="connsiteX7" fmla="*/ 5664 w 17342"/>
                    <a:gd name="connsiteY7" fmla="*/ 37847 h 38328"/>
                    <a:gd name="connsiteX8" fmla="*/ 864 w 17342"/>
                    <a:gd name="connsiteY8" fmla="*/ 38328 h 38328"/>
                    <a:gd name="connsiteX9" fmla="*/ 180 w 17342"/>
                    <a:gd name="connsiteY9" fmla="*/ 37782 h 38328"/>
                    <a:gd name="connsiteX10" fmla="*/ 0 w 17342"/>
                    <a:gd name="connsiteY10" fmla="*/ 36861 h 38328"/>
                    <a:gd name="connsiteX11" fmla="*/ 1402 w 17342"/>
                    <a:gd name="connsiteY11" fmla="*/ 32338 h 38328"/>
                    <a:gd name="connsiteX12" fmla="*/ 1940 w 17342"/>
                    <a:gd name="connsiteY12" fmla="*/ 30211 h 38328"/>
                    <a:gd name="connsiteX13" fmla="*/ 4010 w 17342"/>
                    <a:gd name="connsiteY13" fmla="*/ 27921 h 38328"/>
                    <a:gd name="connsiteX14" fmla="*/ 6960 w 17342"/>
                    <a:gd name="connsiteY14" fmla="*/ 25941 h 38328"/>
                    <a:gd name="connsiteX15" fmla="*/ 8207 w 17342"/>
                    <a:gd name="connsiteY15" fmla="*/ 25435 h 38328"/>
                    <a:gd name="connsiteX16" fmla="*/ 8060 w 17342"/>
                    <a:gd name="connsiteY16" fmla="*/ 24588 h 38328"/>
                    <a:gd name="connsiteX17" fmla="*/ 6300 w 17342"/>
                    <a:gd name="connsiteY17" fmla="*/ 23276 h 38328"/>
                    <a:gd name="connsiteX18" fmla="*/ 4466 w 17342"/>
                    <a:gd name="connsiteY18" fmla="*/ 22591 h 38328"/>
                    <a:gd name="connsiteX19" fmla="*/ 2722 w 17342"/>
                    <a:gd name="connsiteY19" fmla="*/ 23276 h 38328"/>
                    <a:gd name="connsiteX20" fmla="*/ 2176 w 17342"/>
                    <a:gd name="connsiteY20" fmla="*/ 23064 h 38328"/>
                    <a:gd name="connsiteX21" fmla="*/ 1997 w 17342"/>
                    <a:gd name="connsiteY21" fmla="*/ 22477 h 38328"/>
                    <a:gd name="connsiteX22" fmla="*/ 2608 w 17342"/>
                    <a:gd name="connsiteY22" fmla="*/ 21662 h 38328"/>
                    <a:gd name="connsiteX23" fmla="*/ 2893 w 17342"/>
                    <a:gd name="connsiteY23" fmla="*/ 20146 h 38328"/>
                    <a:gd name="connsiteX24" fmla="*/ 2624 w 17342"/>
                    <a:gd name="connsiteY24" fmla="*/ 17612 h 38328"/>
                    <a:gd name="connsiteX25" fmla="*/ 2445 w 17342"/>
                    <a:gd name="connsiteY25" fmla="*/ 14515 h 38328"/>
                    <a:gd name="connsiteX26" fmla="*/ 2062 w 17342"/>
                    <a:gd name="connsiteY26" fmla="*/ 12119 h 38328"/>
                    <a:gd name="connsiteX27" fmla="*/ 3138 w 17342"/>
                    <a:gd name="connsiteY27" fmla="*/ 8223 h 38328"/>
                    <a:gd name="connsiteX28" fmla="*/ 3407 w 17342"/>
                    <a:gd name="connsiteY28" fmla="*/ 6365 h 38328"/>
                    <a:gd name="connsiteX29" fmla="*/ 4768 w 17342"/>
                    <a:gd name="connsiteY29" fmla="*/ 2396 h 38328"/>
                    <a:gd name="connsiteX30" fmla="*/ 7946 w 17342"/>
                    <a:gd name="connsiteY30" fmla="*/ 0 h 38328"/>
                    <a:gd name="connsiteX31" fmla="*/ 10685 w 17342"/>
                    <a:gd name="connsiteY31" fmla="*/ 693 h 38328"/>
                    <a:gd name="connsiteX32" fmla="*/ 12135 w 17342"/>
                    <a:gd name="connsiteY32" fmla="*/ 872 h 38328"/>
                    <a:gd name="connsiteX33" fmla="*/ 12738 w 17342"/>
                    <a:gd name="connsiteY33" fmla="*/ 1345 h 38328"/>
                    <a:gd name="connsiteX34" fmla="*/ 13146 w 17342"/>
                    <a:gd name="connsiteY34" fmla="*/ 2722 h 38328"/>
                    <a:gd name="connsiteX35" fmla="*/ 15167 w 17342"/>
                    <a:gd name="connsiteY35" fmla="*/ 4311 h 38328"/>
                    <a:gd name="connsiteX36" fmla="*/ 16829 w 17342"/>
                    <a:gd name="connsiteY36" fmla="*/ 4515 h 38328"/>
                    <a:gd name="connsiteX37" fmla="*/ 17343 w 17342"/>
                    <a:gd name="connsiteY37" fmla="*/ 9625 h 38328"/>
                    <a:gd name="connsiteX38" fmla="*/ 16414 w 17342"/>
                    <a:gd name="connsiteY38" fmla="*/ 13993 h 38328"/>
                    <a:gd name="connsiteX39" fmla="*/ 16340 w 17342"/>
                    <a:gd name="connsiteY39" fmla="*/ 17832 h 3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7342" h="38328">
                      <a:moveTo>
                        <a:pt x="16340" y="17832"/>
                      </a:moveTo>
                      <a:lnTo>
                        <a:pt x="17025" y="24938"/>
                      </a:lnTo>
                      <a:lnTo>
                        <a:pt x="15542" y="27954"/>
                      </a:lnTo>
                      <a:lnTo>
                        <a:pt x="14694" y="31507"/>
                      </a:lnTo>
                      <a:lnTo>
                        <a:pt x="14327" y="34196"/>
                      </a:lnTo>
                      <a:lnTo>
                        <a:pt x="13284" y="34082"/>
                      </a:lnTo>
                      <a:lnTo>
                        <a:pt x="10008" y="36022"/>
                      </a:lnTo>
                      <a:lnTo>
                        <a:pt x="5664" y="37847"/>
                      </a:lnTo>
                      <a:lnTo>
                        <a:pt x="864" y="38328"/>
                      </a:lnTo>
                      <a:lnTo>
                        <a:pt x="180" y="37782"/>
                      </a:lnTo>
                      <a:lnTo>
                        <a:pt x="0" y="36861"/>
                      </a:lnTo>
                      <a:lnTo>
                        <a:pt x="1402" y="32338"/>
                      </a:lnTo>
                      <a:lnTo>
                        <a:pt x="1940" y="30211"/>
                      </a:lnTo>
                      <a:lnTo>
                        <a:pt x="4010" y="27921"/>
                      </a:lnTo>
                      <a:lnTo>
                        <a:pt x="6960" y="25941"/>
                      </a:lnTo>
                      <a:lnTo>
                        <a:pt x="8207" y="25435"/>
                      </a:lnTo>
                      <a:lnTo>
                        <a:pt x="8060" y="24588"/>
                      </a:lnTo>
                      <a:lnTo>
                        <a:pt x="6300" y="23276"/>
                      </a:lnTo>
                      <a:lnTo>
                        <a:pt x="4466" y="22591"/>
                      </a:lnTo>
                      <a:lnTo>
                        <a:pt x="2722" y="23276"/>
                      </a:lnTo>
                      <a:lnTo>
                        <a:pt x="2176" y="23064"/>
                      </a:lnTo>
                      <a:lnTo>
                        <a:pt x="1997" y="22477"/>
                      </a:lnTo>
                      <a:lnTo>
                        <a:pt x="2608" y="21662"/>
                      </a:lnTo>
                      <a:lnTo>
                        <a:pt x="2893" y="20146"/>
                      </a:lnTo>
                      <a:lnTo>
                        <a:pt x="2624" y="17612"/>
                      </a:lnTo>
                      <a:lnTo>
                        <a:pt x="2445" y="14515"/>
                      </a:lnTo>
                      <a:lnTo>
                        <a:pt x="2062" y="12119"/>
                      </a:lnTo>
                      <a:lnTo>
                        <a:pt x="3138" y="8223"/>
                      </a:lnTo>
                      <a:lnTo>
                        <a:pt x="3407" y="6365"/>
                      </a:lnTo>
                      <a:lnTo>
                        <a:pt x="4768" y="2396"/>
                      </a:lnTo>
                      <a:lnTo>
                        <a:pt x="7946" y="0"/>
                      </a:lnTo>
                      <a:lnTo>
                        <a:pt x="10685" y="693"/>
                      </a:lnTo>
                      <a:lnTo>
                        <a:pt x="12135" y="872"/>
                      </a:lnTo>
                      <a:lnTo>
                        <a:pt x="12738" y="1345"/>
                      </a:lnTo>
                      <a:lnTo>
                        <a:pt x="13146" y="2722"/>
                      </a:lnTo>
                      <a:lnTo>
                        <a:pt x="15167" y="4311"/>
                      </a:lnTo>
                      <a:lnTo>
                        <a:pt x="16829" y="4515"/>
                      </a:lnTo>
                      <a:lnTo>
                        <a:pt x="17343" y="9625"/>
                      </a:lnTo>
                      <a:lnTo>
                        <a:pt x="16414" y="13993"/>
                      </a:lnTo>
                      <a:lnTo>
                        <a:pt x="16340" y="17832"/>
                      </a:lnTo>
                      <a:close/>
                    </a:path>
                  </a:pathLst>
                </a:custGeom>
                <a:solidFill>
                  <a:srgbClr val="D6D6D2"/>
                </a:solidFill>
                <a:ln w="6112" cap="rnd">
                  <a:solidFill>
                    <a:srgbClr val="FFFFFF"/>
                  </a:solidFill>
                  <a:prstDash val="solid"/>
                  <a:round/>
                </a:ln>
              </p:spPr>
              <p:txBody>
                <a:bodyPr rtlCol="0" anchor="ctr"/>
                <a:lstStyle/>
                <a:p>
                  <a:endParaRPr lang="en-US"/>
                </a:p>
              </p:txBody>
            </p:sp>
            <p:sp>
              <p:nvSpPr>
                <p:cNvPr id="642" name="Freeform: Shape 641">
                  <a:extLst>
                    <a:ext uri="{FF2B5EF4-FFF2-40B4-BE49-F238E27FC236}">
                      <a16:creationId xmlns:a16="http://schemas.microsoft.com/office/drawing/2014/main" id="{7872EEA9-CDFF-49B0-A57D-3D1776D7B004}"/>
                    </a:ext>
                  </a:extLst>
                </p:cNvPr>
                <p:cNvSpPr/>
                <p:nvPr/>
              </p:nvSpPr>
              <p:spPr>
                <a:xfrm>
                  <a:off x="4389739" y="5107430"/>
                  <a:ext cx="208576" cy="258281"/>
                </a:xfrm>
                <a:custGeom>
                  <a:avLst/>
                  <a:gdLst>
                    <a:gd name="connsiteX0" fmla="*/ 111399 w 208576"/>
                    <a:gd name="connsiteY0" fmla="*/ 27090 h 258281"/>
                    <a:gd name="connsiteX1" fmla="*/ 111945 w 208576"/>
                    <a:gd name="connsiteY1" fmla="*/ 29331 h 258281"/>
                    <a:gd name="connsiteX2" fmla="*/ 112271 w 208576"/>
                    <a:gd name="connsiteY2" fmla="*/ 31067 h 258281"/>
                    <a:gd name="connsiteX3" fmla="*/ 113086 w 208576"/>
                    <a:gd name="connsiteY3" fmla="*/ 32297 h 258281"/>
                    <a:gd name="connsiteX4" fmla="*/ 113909 w 208576"/>
                    <a:gd name="connsiteY4" fmla="*/ 33935 h 258281"/>
                    <a:gd name="connsiteX5" fmla="*/ 114732 w 208576"/>
                    <a:gd name="connsiteY5" fmla="*/ 34856 h 258281"/>
                    <a:gd name="connsiteX6" fmla="*/ 115303 w 208576"/>
                    <a:gd name="connsiteY6" fmla="*/ 36381 h 258281"/>
                    <a:gd name="connsiteX7" fmla="*/ 115140 w 208576"/>
                    <a:gd name="connsiteY7" fmla="*/ 38116 h 258281"/>
                    <a:gd name="connsiteX8" fmla="*/ 115465 w 208576"/>
                    <a:gd name="connsiteY8" fmla="*/ 40374 h 258281"/>
                    <a:gd name="connsiteX9" fmla="*/ 115873 w 208576"/>
                    <a:gd name="connsiteY9" fmla="*/ 42314 h 258281"/>
                    <a:gd name="connsiteX10" fmla="*/ 116289 w 208576"/>
                    <a:gd name="connsiteY10" fmla="*/ 42827 h 258281"/>
                    <a:gd name="connsiteX11" fmla="*/ 117462 w 208576"/>
                    <a:gd name="connsiteY11" fmla="*/ 43340 h 258281"/>
                    <a:gd name="connsiteX12" fmla="*/ 118057 w 208576"/>
                    <a:gd name="connsiteY12" fmla="*/ 45117 h 258281"/>
                    <a:gd name="connsiteX13" fmla="*/ 117633 w 208576"/>
                    <a:gd name="connsiteY13" fmla="*/ 45997 h 258281"/>
                    <a:gd name="connsiteX14" fmla="*/ 117788 w 208576"/>
                    <a:gd name="connsiteY14" fmla="*/ 47016 h 258281"/>
                    <a:gd name="connsiteX15" fmla="*/ 118220 w 208576"/>
                    <a:gd name="connsiteY15" fmla="*/ 48026 h 258281"/>
                    <a:gd name="connsiteX16" fmla="*/ 117829 w 208576"/>
                    <a:gd name="connsiteY16" fmla="*/ 48996 h 258281"/>
                    <a:gd name="connsiteX17" fmla="*/ 118033 w 208576"/>
                    <a:gd name="connsiteY17" fmla="*/ 49738 h 258281"/>
                    <a:gd name="connsiteX18" fmla="*/ 118831 w 208576"/>
                    <a:gd name="connsiteY18" fmla="*/ 50406 h 258281"/>
                    <a:gd name="connsiteX19" fmla="*/ 119573 w 208576"/>
                    <a:gd name="connsiteY19" fmla="*/ 52859 h 258281"/>
                    <a:gd name="connsiteX20" fmla="*/ 119646 w 208576"/>
                    <a:gd name="connsiteY20" fmla="*/ 57065 h 258281"/>
                    <a:gd name="connsiteX21" fmla="*/ 118831 w 208576"/>
                    <a:gd name="connsiteY21" fmla="*/ 59314 h 258281"/>
                    <a:gd name="connsiteX22" fmla="*/ 118179 w 208576"/>
                    <a:gd name="connsiteY22" fmla="*/ 61164 h 258281"/>
                    <a:gd name="connsiteX23" fmla="*/ 118008 w 208576"/>
                    <a:gd name="connsiteY23" fmla="*/ 62288 h 258281"/>
                    <a:gd name="connsiteX24" fmla="*/ 118505 w 208576"/>
                    <a:gd name="connsiteY24" fmla="*/ 63935 h 258281"/>
                    <a:gd name="connsiteX25" fmla="*/ 117682 w 208576"/>
                    <a:gd name="connsiteY25" fmla="*/ 65883 h 258281"/>
                    <a:gd name="connsiteX26" fmla="*/ 116704 w 208576"/>
                    <a:gd name="connsiteY26" fmla="*/ 68246 h 258281"/>
                    <a:gd name="connsiteX27" fmla="*/ 116941 w 208576"/>
                    <a:gd name="connsiteY27" fmla="*/ 69892 h 258281"/>
                    <a:gd name="connsiteX28" fmla="*/ 117112 w 208576"/>
                    <a:gd name="connsiteY28" fmla="*/ 71408 h 258281"/>
                    <a:gd name="connsiteX29" fmla="*/ 117193 w 208576"/>
                    <a:gd name="connsiteY29" fmla="*/ 73054 h 258281"/>
                    <a:gd name="connsiteX30" fmla="*/ 117438 w 208576"/>
                    <a:gd name="connsiteY30" fmla="*/ 74595 h 258281"/>
                    <a:gd name="connsiteX31" fmla="*/ 117112 w 208576"/>
                    <a:gd name="connsiteY31" fmla="*/ 76233 h 258281"/>
                    <a:gd name="connsiteX32" fmla="*/ 116778 w 208576"/>
                    <a:gd name="connsiteY32" fmla="*/ 77675 h 258281"/>
                    <a:gd name="connsiteX33" fmla="*/ 116615 w 208576"/>
                    <a:gd name="connsiteY33" fmla="*/ 79330 h 258281"/>
                    <a:gd name="connsiteX34" fmla="*/ 117022 w 208576"/>
                    <a:gd name="connsiteY34" fmla="*/ 81172 h 258281"/>
                    <a:gd name="connsiteX35" fmla="*/ 116289 w 208576"/>
                    <a:gd name="connsiteY35" fmla="*/ 82915 h 258281"/>
                    <a:gd name="connsiteX36" fmla="*/ 115873 w 208576"/>
                    <a:gd name="connsiteY36" fmla="*/ 84154 h 258281"/>
                    <a:gd name="connsiteX37" fmla="*/ 115710 w 208576"/>
                    <a:gd name="connsiteY37" fmla="*/ 85385 h 258281"/>
                    <a:gd name="connsiteX38" fmla="*/ 116452 w 208576"/>
                    <a:gd name="connsiteY38" fmla="*/ 87341 h 258281"/>
                    <a:gd name="connsiteX39" fmla="*/ 118342 w 208576"/>
                    <a:gd name="connsiteY39" fmla="*/ 88164 h 258281"/>
                    <a:gd name="connsiteX40" fmla="*/ 119809 w 208576"/>
                    <a:gd name="connsiteY40" fmla="*/ 88368 h 258281"/>
                    <a:gd name="connsiteX41" fmla="*/ 121211 w 208576"/>
                    <a:gd name="connsiteY41" fmla="*/ 87341 h 258281"/>
                    <a:gd name="connsiteX42" fmla="*/ 122279 w 208576"/>
                    <a:gd name="connsiteY42" fmla="*/ 87023 h 258281"/>
                    <a:gd name="connsiteX43" fmla="*/ 124251 w 208576"/>
                    <a:gd name="connsiteY43" fmla="*/ 87960 h 258281"/>
                    <a:gd name="connsiteX44" fmla="*/ 126052 w 208576"/>
                    <a:gd name="connsiteY44" fmla="*/ 89606 h 258281"/>
                    <a:gd name="connsiteX45" fmla="*/ 128342 w 208576"/>
                    <a:gd name="connsiteY45" fmla="*/ 89802 h 258281"/>
                    <a:gd name="connsiteX46" fmla="*/ 130396 w 208576"/>
                    <a:gd name="connsiteY46" fmla="*/ 90103 h 258281"/>
                    <a:gd name="connsiteX47" fmla="*/ 131961 w 208576"/>
                    <a:gd name="connsiteY47" fmla="*/ 90633 h 258281"/>
                    <a:gd name="connsiteX48" fmla="*/ 134259 w 208576"/>
                    <a:gd name="connsiteY48" fmla="*/ 90014 h 258281"/>
                    <a:gd name="connsiteX49" fmla="*/ 136630 w 208576"/>
                    <a:gd name="connsiteY49" fmla="*/ 90633 h 258281"/>
                    <a:gd name="connsiteX50" fmla="*/ 139418 w 208576"/>
                    <a:gd name="connsiteY50" fmla="*/ 91546 h 258281"/>
                    <a:gd name="connsiteX51" fmla="*/ 141716 w 208576"/>
                    <a:gd name="connsiteY51" fmla="*/ 92377 h 258281"/>
                    <a:gd name="connsiteX52" fmla="*/ 144014 w 208576"/>
                    <a:gd name="connsiteY52" fmla="*/ 92165 h 258281"/>
                    <a:gd name="connsiteX53" fmla="*/ 145742 w 208576"/>
                    <a:gd name="connsiteY53" fmla="*/ 92060 h 258281"/>
                    <a:gd name="connsiteX54" fmla="*/ 147543 w 208576"/>
                    <a:gd name="connsiteY54" fmla="*/ 91130 h 258281"/>
                    <a:gd name="connsiteX55" fmla="*/ 149262 w 208576"/>
                    <a:gd name="connsiteY55" fmla="*/ 91253 h 258281"/>
                    <a:gd name="connsiteX56" fmla="*/ 150575 w 208576"/>
                    <a:gd name="connsiteY56" fmla="*/ 89606 h 258281"/>
                    <a:gd name="connsiteX57" fmla="*/ 151316 w 208576"/>
                    <a:gd name="connsiteY57" fmla="*/ 88164 h 258281"/>
                    <a:gd name="connsiteX58" fmla="*/ 151968 w 208576"/>
                    <a:gd name="connsiteY58" fmla="*/ 87129 h 258281"/>
                    <a:gd name="connsiteX59" fmla="*/ 153859 w 208576"/>
                    <a:gd name="connsiteY59" fmla="*/ 86306 h 258281"/>
                    <a:gd name="connsiteX60" fmla="*/ 155171 w 208576"/>
                    <a:gd name="connsiteY60" fmla="*/ 86827 h 258281"/>
                    <a:gd name="connsiteX61" fmla="*/ 156239 w 208576"/>
                    <a:gd name="connsiteY61" fmla="*/ 89492 h 258281"/>
                    <a:gd name="connsiteX62" fmla="*/ 158121 w 208576"/>
                    <a:gd name="connsiteY62" fmla="*/ 91033 h 258281"/>
                    <a:gd name="connsiteX63" fmla="*/ 158855 w 208576"/>
                    <a:gd name="connsiteY63" fmla="*/ 92165 h 258281"/>
                    <a:gd name="connsiteX64" fmla="*/ 160256 w 208576"/>
                    <a:gd name="connsiteY64" fmla="*/ 92687 h 258281"/>
                    <a:gd name="connsiteX65" fmla="*/ 163296 w 208576"/>
                    <a:gd name="connsiteY65" fmla="*/ 92793 h 258281"/>
                    <a:gd name="connsiteX66" fmla="*/ 165179 w 208576"/>
                    <a:gd name="connsiteY66" fmla="*/ 92687 h 258281"/>
                    <a:gd name="connsiteX67" fmla="*/ 167314 w 208576"/>
                    <a:gd name="connsiteY67" fmla="*/ 93510 h 258281"/>
                    <a:gd name="connsiteX68" fmla="*/ 168708 w 208576"/>
                    <a:gd name="connsiteY68" fmla="*/ 93510 h 258281"/>
                    <a:gd name="connsiteX69" fmla="*/ 169930 w 208576"/>
                    <a:gd name="connsiteY69" fmla="*/ 94936 h 258281"/>
                    <a:gd name="connsiteX70" fmla="*/ 171079 w 208576"/>
                    <a:gd name="connsiteY70" fmla="*/ 96697 h 258281"/>
                    <a:gd name="connsiteX71" fmla="*/ 171242 w 208576"/>
                    <a:gd name="connsiteY71" fmla="*/ 99883 h 258281"/>
                    <a:gd name="connsiteX72" fmla="*/ 172310 w 208576"/>
                    <a:gd name="connsiteY72" fmla="*/ 102353 h 258281"/>
                    <a:gd name="connsiteX73" fmla="*/ 173712 w 208576"/>
                    <a:gd name="connsiteY73" fmla="*/ 103282 h 258281"/>
                    <a:gd name="connsiteX74" fmla="*/ 174453 w 208576"/>
                    <a:gd name="connsiteY74" fmla="*/ 104838 h 258281"/>
                    <a:gd name="connsiteX75" fmla="*/ 174201 w 208576"/>
                    <a:gd name="connsiteY75" fmla="*/ 106998 h 258281"/>
                    <a:gd name="connsiteX76" fmla="*/ 173549 w 208576"/>
                    <a:gd name="connsiteY76" fmla="*/ 109158 h 258281"/>
                    <a:gd name="connsiteX77" fmla="*/ 173630 w 208576"/>
                    <a:gd name="connsiteY77" fmla="*/ 111529 h 258281"/>
                    <a:gd name="connsiteX78" fmla="*/ 174364 w 208576"/>
                    <a:gd name="connsiteY78" fmla="*/ 113697 h 258281"/>
                    <a:gd name="connsiteX79" fmla="*/ 174364 w 208576"/>
                    <a:gd name="connsiteY79" fmla="*/ 115857 h 258281"/>
                    <a:gd name="connsiteX80" fmla="*/ 174861 w 208576"/>
                    <a:gd name="connsiteY80" fmla="*/ 118025 h 258281"/>
                    <a:gd name="connsiteX81" fmla="*/ 175839 w 208576"/>
                    <a:gd name="connsiteY81" fmla="*/ 119883 h 258281"/>
                    <a:gd name="connsiteX82" fmla="*/ 176173 w 208576"/>
                    <a:gd name="connsiteY82" fmla="*/ 122873 h 258281"/>
                    <a:gd name="connsiteX83" fmla="*/ 176002 w 208576"/>
                    <a:gd name="connsiteY83" fmla="*/ 125033 h 258281"/>
                    <a:gd name="connsiteX84" fmla="*/ 176662 w 208576"/>
                    <a:gd name="connsiteY84" fmla="*/ 126288 h 258281"/>
                    <a:gd name="connsiteX85" fmla="*/ 176906 w 208576"/>
                    <a:gd name="connsiteY85" fmla="*/ 128032 h 258281"/>
                    <a:gd name="connsiteX86" fmla="*/ 176499 w 208576"/>
                    <a:gd name="connsiteY86" fmla="*/ 129483 h 258281"/>
                    <a:gd name="connsiteX87" fmla="*/ 176328 w 208576"/>
                    <a:gd name="connsiteY87" fmla="*/ 131439 h 258281"/>
                    <a:gd name="connsiteX88" fmla="*/ 176417 w 208576"/>
                    <a:gd name="connsiteY88" fmla="*/ 133199 h 258281"/>
                    <a:gd name="connsiteX89" fmla="*/ 176906 w 208576"/>
                    <a:gd name="connsiteY89" fmla="*/ 134650 h 258281"/>
                    <a:gd name="connsiteX90" fmla="*/ 178381 w 208576"/>
                    <a:gd name="connsiteY90" fmla="*/ 136508 h 258281"/>
                    <a:gd name="connsiteX91" fmla="*/ 178797 w 208576"/>
                    <a:gd name="connsiteY91" fmla="*/ 139817 h 258281"/>
                    <a:gd name="connsiteX92" fmla="*/ 178797 w 208576"/>
                    <a:gd name="connsiteY92" fmla="*/ 142083 h 258281"/>
                    <a:gd name="connsiteX93" fmla="*/ 179449 w 208576"/>
                    <a:gd name="connsiteY93" fmla="*/ 144772 h 258281"/>
                    <a:gd name="connsiteX94" fmla="*/ 180680 w 208576"/>
                    <a:gd name="connsiteY94" fmla="*/ 146027 h 258281"/>
                    <a:gd name="connsiteX95" fmla="*/ 182652 w 208576"/>
                    <a:gd name="connsiteY95" fmla="*/ 146435 h 258281"/>
                    <a:gd name="connsiteX96" fmla="*/ 184950 w 208576"/>
                    <a:gd name="connsiteY96" fmla="*/ 146842 h 258281"/>
                    <a:gd name="connsiteX97" fmla="*/ 187737 w 208576"/>
                    <a:gd name="connsiteY97" fmla="*/ 146231 h 258281"/>
                    <a:gd name="connsiteX98" fmla="*/ 190199 w 208576"/>
                    <a:gd name="connsiteY98" fmla="*/ 145505 h 258281"/>
                    <a:gd name="connsiteX99" fmla="*/ 191592 w 208576"/>
                    <a:gd name="connsiteY99" fmla="*/ 144772 h 258281"/>
                    <a:gd name="connsiteX100" fmla="*/ 194298 w 208576"/>
                    <a:gd name="connsiteY100" fmla="*/ 142816 h 258281"/>
                    <a:gd name="connsiteX101" fmla="*/ 196678 w 208576"/>
                    <a:gd name="connsiteY101" fmla="*/ 141675 h 258281"/>
                    <a:gd name="connsiteX102" fmla="*/ 197908 w 208576"/>
                    <a:gd name="connsiteY102" fmla="*/ 140942 h 258281"/>
                    <a:gd name="connsiteX103" fmla="*/ 199057 w 208576"/>
                    <a:gd name="connsiteY103" fmla="*/ 140436 h 258281"/>
                    <a:gd name="connsiteX104" fmla="*/ 201437 w 208576"/>
                    <a:gd name="connsiteY104" fmla="*/ 141675 h 258281"/>
                    <a:gd name="connsiteX105" fmla="*/ 203654 w 208576"/>
                    <a:gd name="connsiteY105" fmla="*/ 143240 h 258281"/>
                    <a:gd name="connsiteX106" fmla="*/ 205373 w 208576"/>
                    <a:gd name="connsiteY106" fmla="*/ 145408 h 258281"/>
                    <a:gd name="connsiteX107" fmla="*/ 208576 w 208576"/>
                    <a:gd name="connsiteY107" fmla="*/ 147787 h 258281"/>
                    <a:gd name="connsiteX108" fmla="*/ 207949 w 208576"/>
                    <a:gd name="connsiteY108" fmla="*/ 148366 h 258281"/>
                    <a:gd name="connsiteX109" fmla="*/ 206677 w 208576"/>
                    <a:gd name="connsiteY109" fmla="*/ 150314 h 258281"/>
                    <a:gd name="connsiteX110" fmla="*/ 206702 w 208576"/>
                    <a:gd name="connsiteY110" fmla="*/ 152604 h 258281"/>
                    <a:gd name="connsiteX111" fmla="*/ 207598 w 208576"/>
                    <a:gd name="connsiteY111" fmla="*/ 155880 h 258281"/>
                    <a:gd name="connsiteX112" fmla="*/ 206808 w 208576"/>
                    <a:gd name="connsiteY112" fmla="*/ 162848 h 258281"/>
                    <a:gd name="connsiteX113" fmla="*/ 204322 w 208576"/>
                    <a:gd name="connsiteY113" fmla="*/ 173500 h 258281"/>
                    <a:gd name="connsiteX114" fmla="*/ 203312 w 208576"/>
                    <a:gd name="connsiteY114" fmla="*/ 179702 h 258281"/>
                    <a:gd name="connsiteX115" fmla="*/ 203743 w 208576"/>
                    <a:gd name="connsiteY115" fmla="*/ 181462 h 258281"/>
                    <a:gd name="connsiteX116" fmla="*/ 202831 w 208576"/>
                    <a:gd name="connsiteY116" fmla="*/ 184575 h 258281"/>
                    <a:gd name="connsiteX117" fmla="*/ 199424 w 208576"/>
                    <a:gd name="connsiteY117" fmla="*/ 191250 h 258281"/>
                    <a:gd name="connsiteX118" fmla="*/ 199294 w 208576"/>
                    <a:gd name="connsiteY118" fmla="*/ 195773 h 258281"/>
                    <a:gd name="connsiteX119" fmla="*/ 198894 w 208576"/>
                    <a:gd name="connsiteY119" fmla="*/ 209301 h 258281"/>
                    <a:gd name="connsiteX120" fmla="*/ 197762 w 208576"/>
                    <a:gd name="connsiteY120" fmla="*/ 218869 h 258281"/>
                    <a:gd name="connsiteX121" fmla="*/ 195846 w 208576"/>
                    <a:gd name="connsiteY121" fmla="*/ 225943 h 258281"/>
                    <a:gd name="connsiteX122" fmla="*/ 194094 w 208576"/>
                    <a:gd name="connsiteY122" fmla="*/ 229717 h 258281"/>
                    <a:gd name="connsiteX123" fmla="*/ 192521 w 208576"/>
                    <a:gd name="connsiteY123" fmla="*/ 230181 h 258281"/>
                    <a:gd name="connsiteX124" fmla="*/ 191397 w 208576"/>
                    <a:gd name="connsiteY124" fmla="*/ 231306 h 258281"/>
                    <a:gd name="connsiteX125" fmla="*/ 190704 w 208576"/>
                    <a:gd name="connsiteY125" fmla="*/ 233107 h 258281"/>
                    <a:gd name="connsiteX126" fmla="*/ 189433 w 208576"/>
                    <a:gd name="connsiteY126" fmla="*/ 234598 h 258281"/>
                    <a:gd name="connsiteX127" fmla="*/ 187558 w 208576"/>
                    <a:gd name="connsiteY127" fmla="*/ 235805 h 258281"/>
                    <a:gd name="connsiteX128" fmla="*/ 186548 w 208576"/>
                    <a:gd name="connsiteY128" fmla="*/ 237109 h 258281"/>
                    <a:gd name="connsiteX129" fmla="*/ 186393 w 208576"/>
                    <a:gd name="connsiteY129" fmla="*/ 238543 h 258281"/>
                    <a:gd name="connsiteX130" fmla="*/ 184608 w 208576"/>
                    <a:gd name="connsiteY130" fmla="*/ 239464 h 258281"/>
                    <a:gd name="connsiteX131" fmla="*/ 181185 w 208576"/>
                    <a:gd name="connsiteY131" fmla="*/ 239879 h 258281"/>
                    <a:gd name="connsiteX132" fmla="*/ 179180 w 208576"/>
                    <a:gd name="connsiteY132" fmla="*/ 241020 h 258281"/>
                    <a:gd name="connsiteX133" fmla="*/ 178593 w 208576"/>
                    <a:gd name="connsiteY133" fmla="*/ 242887 h 258281"/>
                    <a:gd name="connsiteX134" fmla="*/ 177444 w 208576"/>
                    <a:gd name="connsiteY134" fmla="*/ 244378 h 258281"/>
                    <a:gd name="connsiteX135" fmla="*/ 175757 w 208576"/>
                    <a:gd name="connsiteY135" fmla="*/ 245478 h 258281"/>
                    <a:gd name="connsiteX136" fmla="*/ 174959 w 208576"/>
                    <a:gd name="connsiteY136" fmla="*/ 247296 h 258281"/>
                    <a:gd name="connsiteX137" fmla="*/ 175040 w 208576"/>
                    <a:gd name="connsiteY137" fmla="*/ 249846 h 258281"/>
                    <a:gd name="connsiteX138" fmla="*/ 174070 w 208576"/>
                    <a:gd name="connsiteY138" fmla="*/ 252047 h 258281"/>
                    <a:gd name="connsiteX139" fmla="*/ 172041 w 208576"/>
                    <a:gd name="connsiteY139" fmla="*/ 253872 h 258281"/>
                    <a:gd name="connsiteX140" fmla="*/ 170175 w 208576"/>
                    <a:gd name="connsiteY140" fmla="*/ 253921 h 258281"/>
                    <a:gd name="connsiteX141" fmla="*/ 168463 w 208576"/>
                    <a:gd name="connsiteY141" fmla="*/ 252194 h 258281"/>
                    <a:gd name="connsiteX142" fmla="*/ 166173 w 208576"/>
                    <a:gd name="connsiteY142" fmla="*/ 251036 h 258281"/>
                    <a:gd name="connsiteX143" fmla="*/ 163296 w 208576"/>
                    <a:gd name="connsiteY143" fmla="*/ 250482 h 258281"/>
                    <a:gd name="connsiteX144" fmla="*/ 160892 w 208576"/>
                    <a:gd name="connsiteY144" fmla="*/ 250914 h 258281"/>
                    <a:gd name="connsiteX145" fmla="*/ 158969 w 208576"/>
                    <a:gd name="connsiteY145" fmla="*/ 252340 h 258281"/>
                    <a:gd name="connsiteX146" fmla="*/ 157266 w 208576"/>
                    <a:gd name="connsiteY146" fmla="*/ 254630 h 258281"/>
                    <a:gd name="connsiteX147" fmla="*/ 155774 w 208576"/>
                    <a:gd name="connsiteY147" fmla="*/ 257760 h 258281"/>
                    <a:gd name="connsiteX148" fmla="*/ 154120 w 208576"/>
                    <a:gd name="connsiteY148" fmla="*/ 258281 h 258281"/>
                    <a:gd name="connsiteX149" fmla="*/ 152302 w 208576"/>
                    <a:gd name="connsiteY149" fmla="*/ 256187 h 258281"/>
                    <a:gd name="connsiteX150" fmla="*/ 150004 w 208576"/>
                    <a:gd name="connsiteY150" fmla="*/ 255551 h 258281"/>
                    <a:gd name="connsiteX151" fmla="*/ 147217 w 208576"/>
                    <a:gd name="connsiteY151" fmla="*/ 256383 h 258281"/>
                    <a:gd name="connsiteX152" fmla="*/ 144992 w 208576"/>
                    <a:gd name="connsiteY152" fmla="*/ 256081 h 258281"/>
                    <a:gd name="connsiteX153" fmla="*/ 143346 w 208576"/>
                    <a:gd name="connsiteY153" fmla="*/ 254687 h 258281"/>
                    <a:gd name="connsiteX154" fmla="*/ 140811 w 208576"/>
                    <a:gd name="connsiteY154" fmla="*/ 254541 h 258281"/>
                    <a:gd name="connsiteX155" fmla="*/ 137388 w 208576"/>
                    <a:gd name="connsiteY155" fmla="*/ 255624 h 258281"/>
                    <a:gd name="connsiteX156" fmla="*/ 130461 w 208576"/>
                    <a:gd name="connsiteY156" fmla="*/ 254369 h 258281"/>
                    <a:gd name="connsiteX157" fmla="*/ 120013 w 208576"/>
                    <a:gd name="connsiteY157" fmla="*/ 250759 h 258281"/>
                    <a:gd name="connsiteX158" fmla="*/ 111187 w 208576"/>
                    <a:gd name="connsiteY158" fmla="*/ 249390 h 258281"/>
                    <a:gd name="connsiteX159" fmla="*/ 100356 w 208576"/>
                    <a:gd name="connsiteY159" fmla="*/ 250686 h 258281"/>
                    <a:gd name="connsiteX160" fmla="*/ 99443 w 208576"/>
                    <a:gd name="connsiteY160" fmla="*/ 246937 h 258281"/>
                    <a:gd name="connsiteX161" fmla="*/ 100014 w 208576"/>
                    <a:gd name="connsiteY161" fmla="*/ 244908 h 258281"/>
                    <a:gd name="connsiteX162" fmla="*/ 101782 w 208576"/>
                    <a:gd name="connsiteY162" fmla="*/ 243392 h 258281"/>
                    <a:gd name="connsiteX163" fmla="*/ 102874 w 208576"/>
                    <a:gd name="connsiteY163" fmla="*/ 241656 h 258281"/>
                    <a:gd name="connsiteX164" fmla="*/ 103322 w 208576"/>
                    <a:gd name="connsiteY164" fmla="*/ 239733 h 258281"/>
                    <a:gd name="connsiteX165" fmla="*/ 104537 w 208576"/>
                    <a:gd name="connsiteY165" fmla="*/ 238258 h 258281"/>
                    <a:gd name="connsiteX166" fmla="*/ 106517 w 208576"/>
                    <a:gd name="connsiteY166" fmla="*/ 237247 h 258281"/>
                    <a:gd name="connsiteX167" fmla="*/ 107356 w 208576"/>
                    <a:gd name="connsiteY167" fmla="*/ 236220 h 258281"/>
                    <a:gd name="connsiteX168" fmla="*/ 107055 w 208576"/>
                    <a:gd name="connsiteY168" fmla="*/ 235185 h 258281"/>
                    <a:gd name="connsiteX169" fmla="*/ 107479 w 208576"/>
                    <a:gd name="connsiteY169" fmla="*/ 234264 h 258281"/>
                    <a:gd name="connsiteX170" fmla="*/ 108620 w 208576"/>
                    <a:gd name="connsiteY170" fmla="*/ 233474 h 258281"/>
                    <a:gd name="connsiteX171" fmla="*/ 109264 w 208576"/>
                    <a:gd name="connsiteY171" fmla="*/ 232219 h 258281"/>
                    <a:gd name="connsiteX172" fmla="*/ 109419 w 208576"/>
                    <a:gd name="connsiteY172" fmla="*/ 230499 h 258281"/>
                    <a:gd name="connsiteX173" fmla="*/ 109850 w 208576"/>
                    <a:gd name="connsiteY173" fmla="*/ 229651 h 258281"/>
                    <a:gd name="connsiteX174" fmla="*/ 110617 w 208576"/>
                    <a:gd name="connsiteY174" fmla="*/ 229016 h 258281"/>
                    <a:gd name="connsiteX175" fmla="*/ 110698 w 208576"/>
                    <a:gd name="connsiteY175" fmla="*/ 227834 h 258281"/>
                    <a:gd name="connsiteX176" fmla="*/ 110274 w 208576"/>
                    <a:gd name="connsiteY176" fmla="*/ 224167 h 258281"/>
                    <a:gd name="connsiteX177" fmla="*/ 110323 w 208576"/>
                    <a:gd name="connsiteY177" fmla="*/ 221159 h 258281"/>
                    <a:gd name="connsiteX178" fmla="*/ 110861 w 208576"/>
                    <a:gd name="connsiteY178" fmla="*/ 218829 h 258281"/>
                    <a:gd name="connsiteX179" fmla="*/ 111521 w 208576"/>
                    <a:gd name="connsiteY179" fmla="*/ 217402 h 258281"/>
                    <a:gd name="connsiteX180" fmla="*/ 111994 w 208576"/>
                    <a:gd name="connsiteY180" fmla="*/ 217052 h 258281"/>
                    <a:gd name="connsiteX181" fmla="*/ 112434 w 208576"/>
                    <a:gd name="connsiteY181" fmla="*/ 216229 h 258281"/>
                    <a:gd name="connsiteX182" fmla="*/ 112605 w 208576"/>
                    <a:gd name="connsiteY182" fmla="*/ 214811 h 258281"/>
                    <a:gd name="connsiteX183" fmla="*/ 113314 w 208576"/>
                    <a:gd name="connsiteY183" fmla="*/ 213499 h 258281"/>
                    <a:gd name="connsiteX184" fmla="*/ 116769 w 208576"/>
                    <a:gd name="connsiteY184" fmla="*/ 210793 h 258281"/>
                    <a:gd name="connsiteX185" fmla="*/ 118073 w 208576"/>
                    <a:gd name="connsiteY185" fmla="*/ 209326 h 258281"/>
                    <a:gd name="connsiteX186" fmla="*/ 118179 w 208576"/>
                    <a:gd name="connsiteY186" fmla="*/ 208006 h 258281"/>
                    <a:gd name="connsiteX187" fmla="*/ 118701 w 208576"/>
                    <a:gd name="connsiteY187" fmla="*/ 206188 h 258281"/>
                    <a:gd name="connsiteX188" fmla="*/ 120755 w 208576"/>
                    <a:gd name="connsiteY188" fmla="*/ 202309 h 258281"/>
                    <a:gd name="connsiteX189" fmla="*/ 121382 w 208576"/>
                    <a:gd name="connsiteY189" fmla="*/ 200492 h 258281"/>
                    <a:gd name="connsiteX190" fmla="*/ 121447 w 208576"/>
                    <a:gd name="connsiteY190" fmla="*/ 199587 h 258281"/>
                    <a:gd name="connsiteX191" fmla="*/ 122165 w 208576"/>
                    <a:gd name="connsiteY191" fmla="*/ 198634 h 258281"/>
                    <a:gd name="connsiteX192" fmla="*/ 124642 w 208576"/>
                    <a:gd name="connsiteY192" fmla="*/ 196474 h 258281"/>
                    <a:gd name="connsiteX193" fmla="*/ 125987 w 208576"/>
                    <a:gd name="connsiteY193" fmla="*/ 194453 h 258281"/>
                    <a:gd name="connsiteX194" fmla="*/ 126191 w 208576"/>
                    <a:gd name="connsiteY194" fmla="*/ 192546 h 258281"/>
                    <a:gd name="connsiteX195" fmla="*/ 125596 w 208576"/>
                    <a:gd name="connsiteY195" fmla="*/ 190386 h 258281"/>
                    <a:gd name="connsiteX196" fmla="*/ 124194 w 208576"/>
                    <a:gd name="connsiteY196" fmla="*/ 187974 h 258281"/>
                    <a:gd name="connsiteX197" fmla="*/ 119785 w 208576"/>
                    <a:gd name="connsiteY197" fmla="*/ 181935 h 258281"/>
                    <a:gd name="connsiteX198" fmla="*/ 116354 w 208576"/>
                    <a:gd name="connsiteY198" fmla="*/ 179196 h 258281"/>
                    <a:gd name="connsiteX199" fmla="*/ 111969 w 208576"/>
                    <a:gd name="connsiteY199" fmla="*/ 176931 h 258281"/>
                    <a:gd name="connsiteX200" fmla="*/ 109084 w 208576"/>
                    <a:gd name="connsiteY200" fmla="*/ 176205 h 258281"/>
                    <a:gd name="connsiteX201" fmla="*/ 107707 w 208576"/>
                    <a:gd name="connsiteY201" fmla="*/ 176988 h 258281"/>
                    <a:gd name="connsiteX202" fmla="*/ 106297 w 208576"/>
                    <a:gd name="connsiteY202" fmla="*/ 176376 h 258281"/>
                    <a:gd name="connsiteX203" fmla="*/ 104871 w 208576"/>
                    <a:gd name="connsiteY203" fmla="*/ 174331 h 258281"/>
                    <a:gd name="connsiteX204" fmla="*/ 102467 w 208576"/>
                    <a:gd name="connsiteY204" fmla="*/ 172717 h 258281"/>
                    <a:gd name="connsiteX205" fmla="*/ 97398 w 208576"/>
                    <a:gd name="connsiteY205" fmla="*/ 170949 h 258281"/>
                    <a:gd name="connsiteX206" fmla="*/ 85915 w 208576"/>
                    <a:gd name="connsiteY206" fmla="*/ 163916 h 258281"/>
                    <a:gd name="connsiteX207" fmla="*/ 81302 w 208576"/>
                    <a:gd name="connsiteY207" fmla="*/ 160509 h 258281"/>
                    <a:gd name="connsiteX208" fmla="*/ 79762 w 208576"/>
                    <a:gd name="connsiteY208" fmla="*/ 158423 h 258281"/>
                    <a:gd name="connsiteX209" fmla="*/ 75467 w 208576"/>
                    <a:gd name="connsiteY209" fmla="*/ 154658 h 258281"/>
                    <a:gd name="connsiteX210" fmla="*/ 68425 w 208576"/>
                    <a:gd name="connsiteY210" fmla="*/ 149222 h 258281"/>
                    <a:gd name="connsiteX211" fmla="*/ 63022 w 208576"/>
                    <a:gd name="connsiteY211" fmla="*/ 146589 h 258281"/>
                    <a:gd name="connsiteX212" fmla="*/ 59249 w 208576"/>
                    <a:gd name="connsiteY212" fmla="*/ 146736 h 258281"/>
                    <a:gd name="connsiteX213" fmla="*/ 53226 w 208576"/>
                    <a:gd name="connsiteY213" fmla="*/ 145163 h 258281"/>
                    <a:gd name="connsiteX214" fmla="*/ 44922 w 208576"/>
                    <a:gd name="connsiteY214" fmla="*/ 141862 h 258281"/>
                    <a:gd name="connsiteX215" fmla="*/ 40138 w 208576"/>
                    <a:gd name="connsiteY215" fmla="*/ 138651 h 258281"/>
                    <a:gd name="connsiteX216" fmla="*/ 38850 w 208576"/>
                    <a:gd name="connsiteY216" fmla="*/ 135554 h 258281"/>
                    <a:gd name="connsiteX217" fmla="*/ 35786 w 208576"/>
                    <a:gd name="connsiteY217" fmla="*/ 132450 h 258281"/>
                    <a:gd name="connsiteX218" fmla="*/ 30937 w 208576"/>
                    <a:gd name="connsiteY218" fmla="*/ 129344 h 258281"/>
                    <a:gd name="connsiteX219" fmla="*/ 28418 w 208576"/>
                    <a:gd name="connsiteY219" fmla="*/ 127299 h 258281"/>
                    <a:gd name="connsiteX220" fmla="*/ 28231 w 208576"/>
                    <a:gd name="connsiteY220" fmla="*/ 126313 h 258281"/>
                    <a:gd name="connsiteX221" fmla="*/ 26788 w 208576"/>
                    <a:gd name="connsiteY221" fmla="*/ 125033 h 258281"/>
                    <a:gd name="connsiteX222" fmla="*/ 24099 w 208576"/>
                    <a:gd name="connsiteY222" fmla="*/ 123452 h 258281"/>
                    <a:gd name="connsiteX223" fmla="*/ 21149 w 208576"/>
                    <a:gd name="connsiteY223" fmla="*/ 120747 h 258281"/>
                    <a:gd name="connsiteX224" fmla="*/ 17938 w 208576"/>
                    <a:gd name="connsiteY224" fmla="*/ 116916 h 258281"/>
                    <a:gd name="connsiteX225" fmla="*/ 14499 w 208576"/>
                    <a:gd name="connsiteY225" fmla="*/ 110999 h 258281"/>
                    <a:gd name="connsiteX226" fmla="*/ 10839 w 208576"/>
                    <a:gd name="connsiteY226" fmla="*/ 102996 h 258281"/>
                    <a:gd name="connsiteX227" fmla="*/ 6911 w 208576"/>
                    <a:gd name="connsiteY227" fmla="*/ 97601 h 258281"/>
                    <a:gd name="connsiteX228" fmla="*/ 2722 w 208576"/>
                    <a:gd name="connsiteY228" fmla="*/ 94814 h 258281"/>
                    <a:gd name="connsiteX229" fmla="*/ 620 w 208576"/>
                    <a:gd name="connsiteY229" fmla="*/ 92972 h 258281"/>
                    <a:gd name="connsiteX230" fmla="*/ 628 w 208576"/>
                    <a:gd name="connsiteY230" fmla="*/ 92076 h 258281"/>
                    <a:gd name="connsiteX231" fmla="*/ 0 w 208576"/>
                    <a:gd name="connsiteY231" fmla="*/ 91212 h 258281"/>
                    <a:gd name="connsiteX232" fmla="*/ 562 w 208576"/>
                    <a:gd name="connsiteY232" fmla="*/ 89663 h 258281"/>
                    <a:gd name="connsiteX233" fmla="*/ 2095 w 208576"/>
                    <a:gd name="connsiteY233" fmla="*/ 83584 h 258281"/>
                    <a:gd name="connsiteX234" fmla="*/ 4303 w 208576"/>
                    <a:gd name="connsiteY234" fmla="*/ 74790 h 258281"/>
                    <a:gd name="connsiteX235" fmla="*/ 6593 w 208576"/>
                    <a:gd name="connsiteY235" fmla="*/ 65687 h 258281"/>
                    <a:gd name="connsiteX236" fmla="*/ 9291 w 208576"/>
                    <a:gd name="connsiteY236" fmla="*/ 54970 h 258281"/>
                    <a:gd name="connsiteX237" fmla="*/ 9291 w 208576"/>
                    <a:gd name="connsiteY237" fmla="*/ 47375 h 258281"/>
                    <a:gd name="connsiteX238" fmla="*/ 9299 w 208576"/>
                    <a:gd name="connsiteY238" fmla="*/ 39388 h 258281"/>
                    <a:gd name="connsiteX239" fmla="*/ 13137 w 208576"/>
                    <a:gd name="connsiteY239" fmla="*/ 32819 h 258281"/>
                    <a:gd name="connsiteX240" fmla="*/ 15859 w 208576"/>
                    <a:gd name="connsiteY240" fmla="*/ 28157 h 258281"/>
                    <a:gd name="connsiteX241" fmla="*/ 18207 w 208576"/>
                    <a:gd name="connsiteY241" fmla="*/ 23716 h 258281"/>
                    <a:gd name="connsiteX242" fmla="*/ 20594 w 208576"/>
                    <a:gd name="connsiteY242" fmla="*/ 16128 h 258281"/>
                    <a:gd name="connsiteX243" fmla="*/ 22184 w 208576"/>
                    <a:gd name="connsiteY243" fmla="*/ 11067 h 258281"/>
                    <a:gd name="connsiteX244" fmla="*/ 28263 w 208576"/>
                    <a:gd name="connsiteY244" fmla="*/ 9861 h 258281"/>
                    <a:gd name="connsiteX245" fmla="*/ 38573 w 208576"/>
                    <a:gd name="connsiteY245" fmla="*/ 7229 h 258281"/>
                    <a:gd name="connsiteX246" fmla="*/ 43715 w 208576"/>
                    <a:gd name="connsiteY246" fmla="*/ 5917 h 258281"/>
                    <a:gd name="connsiteX247" fmla="*/ 54563 w 208576"/>
                    <a:gd name="connsiteY247" fmla="*/ 3162 h 258281"/>
                    <a:gd name="connsiteX248" fmla="*/ 65573 w 208576"/>
                    <a:gd name="connsiteY248" fmla="*/ 350 h 258281"/>
                    <a:gd name="connsiteX249" fmla="*/ 77145 w 208576"/>
                    <a:gd name="connsiteY249" fmla="*/ 171 h 258281"/>
                    <a:gd name="connsiteX250" fmla="*/ 88310 w 208576"/>
                    <a:gd name="connsiteY250" fmla="*/ 0 h 258281"/>
                    <a:gd name="connsiteX251" fmla="*/ 96982 w 208576"/>
                    <a:gd name="connsiteY251" fmla="*/ 6275 h 258281"/>
                    <a:gd name="connsiteX252" fmla="*/ 103599 w 208576"/>
                    <a:gd name="connsiteY252" fmla="*/ 11084 h 258281"/>
                    <a:gd name="connsiteX253" fmla="*/ 110894 w 208576"/>
                    <a:gd name="connsiteY253" fmla="*/ 16381 h 258281"/>
                    <a:gd name="connsiteX254" fmla="*/ 111391 w 208576"/>
                    <a:gd name="connsiteY254" fmla="*/ 17530 h 258281"/>
                    <a:gd name="connsiteX255" fmla="*/ 111888 w 208576"/>
                    <a:gd name="connsiteY255" fmla="*/ 21964 h 25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208576" h="258281">
                      <a:moveTo>
                        <a:pt x="111399" y="27090"/>
                      </a:moveTo>
                      <a:lnTo>
                        <a:pt x="111945" y="29331"/>
                      </a:lnTo>
                      <a:lnTo>
                        <a:pt x="112271" y="31067"/>
                      </a:lnTo>
                      <a:lnTo>
                        <a:pt x="113086" y="32297"/>
                      </a:lnTo>
                      <a:lnTo>
                        <a:pt x="113909" y="33935"/>
                      </a:lnTo>
                      <a:lnTo>
                        <a:pt x="114732" y="34856"/>
                      </a:lnTo>
                      <a:lnTo>
                        <a:pt x="115303" y="36381"/>
                      </a:lnTo>
                      <a:lnTo>
                        <a:pt x="115140" y="38116"/>
                      </a:lnTo>
                      <a:lnTo>
                        <a:pt x="115465" y="40374"/>
                      </a:lnTo>
                      <a:lnTo>
                        <a:pt x="115873" y="42314"/>
                      </a:lnTo>
                      <a:lnTo>
                        <a:pt x="116289" y="42827"/>
                      </a:lnTo>
                      <a:lnTo>
                        <a:pt x="117462" y="43340"/>
                      </a:lnTo>
                      <a:lnTo>
                        <a:pt x="118057" y="45117"/>
                      </a:lnTo>
                      <a:lnTo>
                        <a:pt x="117633" y="45997"/>
                      </a:lnTo>
                      <a:lnTo>
                        <a:pt x="117788" y="47016"/>
                      </a:lnTo>
                      <a:lnTo>
                        <a:pt x="118220" y="48026"/>
                      </a:lnTo>
                      <a:lnTo>
                        <a:pt x="117829" y="48996"/>
                      </a:lnTo>
                      <a:lnTo>
                        <a:pt x="118033" y="49738"/>
                      </a:lnTo>
                      <a:lnTo>
                        <a:pt x="118831" y="50406"/>
                      </a:lnTo>
                      <a:lnTo>
                        <a:pt x="119573" y="52859"/>
                      </a:lnTo>
                      <a:lnTo>
                        <a:pt x="119646" y="57065"/>
                      </a:lnTo>
                      <a:lnTo>
                        <a:pt x="118831" y="59314"/>
                      </a:lnTo>
                      <a:lnTo>
                        <a:pt x="118179" y="61164"/>
                      </a:lnTo>
                      <a:lnTo>
                        <a:pt x="118008" y="62288"/>
                      </a:lnTo>
                      <a:lnTo>
                        <a:pt x="118505" y="63935"/>
                      </a:lnTo>
                      <a:lnTo>
                        <a:pt x="117682" y="65883"/>
                      </a:lnTo>
                      <a:lnTo>
                        <a:pt x="116704" y="68246"/>
                      </a:lnTo>
                      <a:lnTo>
                        <a:pt x="116941" y="69892"/>
                      </a:lnTo>
                      <a:lnTo>
                        <a:pt x="117112" y="71408"/>
                      </a:lnTo>
                      <a:lnTo>
                        <a:pt x="117193" y="73054"/>
                      </a:lnTo>
                      <a:lnTo>
                        <a:pt x="117438" y="74595"/>
                      </a:lnTo>
                      <a:lnTo>
                        <a:pt x="117112" y="76233"/>
                      </a:lnTo>
                      <a:lnTo>
                        <a:pt x="116778" y="77675"/>
                      </a:lnTo>
                      <a:lnTo>
                        <a:pt x="116615" y="79330"/>
                      </a:lnTo>
                      <a:lnTo>
                        <a:pt x="117022" y="81172"/>
                      </a:lnTo>
                      <a:lnTo>
                        <a:pt x="116289" y="82915"/>
                      </a:lnTo>
                      <a:lnTo>
                        <a:pt x="115873" y="84154"/>
                      </a:lnTo>
                      <a:lnTo>
                        <a:pt x="115710" y="85385"/>
                      </a:lnTo>
                      <a:lnTo>
                        <a:pt x="116452" y="87341"/>
                      </a:lnTo>
                      <a:lnTo>
                        <a:pt x="118342" y="88164"/>
                      </a:lnTo>
                      <a:lnTo>
                        <a:pt x="119809" y="88368"/>
                      </a:lnTo>
                      <a:lnTo>
                        <a:pt x="121211" y="87341"/>
                      </a:lnTo>
                      <a:lnTo>
                        <a:pt x="122279" y="87023"/>
                      </a:lnTo>
                      <a:lnTo>
                        <a:pt x="124251" y="87960"/>
                      </a:lnTo>
                      <a:lnTo>
                        <a:pt x="126052" y="89606"/>
                      </a:lnTo>
                      <a:lnTo>
                        <a:pt x="128342" y="89802"/>
                      </a:lnTo>
                      <a:lnTo>
                        <a:pt x="130396" y="90103"/>
                      </a:lnTo>
                      <a:lnTo>
                        <a:pt x="131961" y="90633"/>
                      </a:lnTo>
                      <a:lnTo>
                        <a:pt x="134259" y="90014"/>
                      </a:lnTo>
                      <a:lnTo>
                        <a:pt x="136630" y="90633"/>
                      </a:lnTo>
                      <a:lnTo>
                        <a:pt x="139418" y="91546"/>
                      </a:lnTo>
                      <a:lnTo>
                        <a:pt x="141716" y="92377"/>
                      </a:lnTo>
                      <a:lnTo>
                        <a:pt x="144014" y="92165"/>
                      </a:lnTo>
                      <a:lnTo>
                        <a:pt x="145742" y="92060"/>
                      </a:lnTo>
                      <a:lnTo>
                        <a:pt x="147543" y="91130"/>
                      </a:lnTo>
                      <a:lnTo>
                        <a:pt x="149262" y="91253"/>
                      </a:lnTo>
                      <a:lnTo>
                        <a:pt x="150575" y="89606"/>
                      </a:lnTo>
                      <a:lnTo>
                        <a:pt x="151316" y="88164"/>
                      </a:lnTo>
                      <a:lnTo>
                        <a:pt x="151968" y="87129"/>
                      </a:lnTo>
                      <a:lnTo>
                        <a:pt x="153859" y="86306"/>
                      </a:lnTo>
                      <a:lnTo>
                        <a:pt x="155171" y="86827"/>
                      </a:lnTo>
                      <a:lnTo>
                        <a:pt x="156239" y="89492"/>
                      </a:lnTo>
                      <a:lnTo>
                        <a:pt x="158121" y="91033"/>
                      </a:lnTo>
                      <a:lnTo>
                        <a:pt x="158855" y="92165"/>
                      </a:lnTo>
                      <a:lnTo>
                        <a:pt x="160256" y="92687"/>
                      </a:lnTo>
                      <a:lnTo>
                        <a:pt x="163296" y="92793"/>
                      </a:lnTo>
                      <a:lnTo>
                        <a:pt x="165179" y="92687"/>
                      </a:lnTo>
                      <a:lnTo>
                        <a:pt x="167314" y="93510"/>
                      </a:lnTo>
                      <a:lnTo>
                        <a:pt x="168708" y="93510"/>
                      </a:lnTo>
                      <a:lnTo>
                        <a:pt x="169930" y="94936"/>
                      </a:lnTo>
                      <a:lnTo>
                        <a:pt x="171079" y="96697"/>
                      </a:lnTo>
                      <a:lnTo>
                        <a:pt x="171242" y="99883"/>
                      </a:lnTo>
                      <a:lnTo>
                        <a:pt x="172310" y="102353"/>
                      </a:lnTo>
                      <a:lnTo>
                        <a:pt x="173712" y="103282"/>
                      </a:lnTo>
                      <a:lnTo>
                        <a:pt x="174453" y="104838"/>
                      </a:lnTo>
                      <a:lnTo>
                        <a:pt x="174201" y="106998"/>
                      </a:lnTo>
                      <a:lnTo>
                        <a:pt x="173549" y="109158"/>
                      </a:lnTo>
                      <a:lnTo>
                        <a:pt x="173630" y="111529"/>
                      </a:lnTo>
                      <a:lnTo>
                        <a:pt x="174364" y="113697"/>
                      </a:lnTo>
                      <a:lnTo>
                        <a:pt x="174364" y="115857"/>
                      </a:lnTo>
                      <a:lnTo>
                        <a:pt x="174861" y="118025"/>
                      </a:lnTo>
                      <a:lnTo>
                        <a:pt x="175839" y="119883"/>
                      </a:lnTo>
                      <a:lnTo>
                        <a:pt x="176173" y="122873"/>
                      </a:lnTo>
                      <a:lnTo>
                        <a:pt x="176002" y="125033"/>
                      </a:lnTo>
                      <a:lnTo>
                        <a:pt x="176662" y="126288"/>
                      </a:lnTo>
                      <a:lnTo>
                        <a:pt x="176906" y="128032"/>
                      </a:lnTo>
                      <a:lnTo>
                        <a:pt x="176499" y="129483"/>
                      </a:lnTo>
                      <a:lnTo>
                        <a:pt x="176328" y="131439"/>
                      </a:lnTo>
                      <a:lnTo>
                        <a:pt x="176417" y="133199"/>
                      </a:lnTo>
                      <a:lnTo>
                        <a:pt x="176906" y="134650"/>
                      </a:lnTo>
                      <a:lnTo>
                        <a:pt x="178381" y="136508"/>
                      </a:lnTo>
                      <a:lnTo>
                        <a:pt x="178797" y="139817"/>
                      </a:lnTo>
                      <a:lnTo>
                        <a:pt x="178797" y="142083"/>
                      </a:lnTo>
                      <a:lnTo>
                        <a:pt x="179449" y="144772"/>
                      </a:lnTo>
                      <a:lnTo>
                        <a:pt x="180680" y="146027"/>
                      </a:lnTo>
                      <a:lnTo>
                        <a:pt x="182652" y="146435"/>
                      </a:lnTo>
                      <a:lnTo>
                        <a:pt x="184950" y="146842"/>
                      </a:lnTo>
                      <a:lnTo>
                        <a:pt x="187737" y="146231"/>
                      </a:lnTo>
                      <a:lnTo>
                        <a:pt x="190199" y="145505"/>
                      </a:lnTo>
                      <a:lnTo>
                        <a:pt x="191592" y="144772"/>
                      </a:lnTo>
                      <a:lnTo>
                        <a:pt x="194298" y="142816"/>
                      </a:lnTo>
                      <a:lnTo>
                        <a:pt x="196678" y="141675"/>
                      </a:lnTo>
                      <a:lnTo>
                        <a:pt x="197908" y="140942"/>
                      </a:lnTo>
                      <a:lnTo>
                        <a:pt x="199057" y="140436"/>
                      </a:lnTo>
                      <a:lnTo>
                        <a:pt x="201437" y="141675"/>
                      </a:lnTo>
                      <a:lnTo>
                        <a:pt x="203654" y="143240"/>
                      </a:lnTo>
                      <a:lnTo>
                        <a:pt x="205373" y="145408"/>
                      </a:lnTo>
                      <a:lnTo>
                        <a:pt x="208576" y="147787"/>
                      </a:lnTo>
                      <a:lnTo>
                        <a:pt x="207949" y="148366"/>
                      </a:lnTo>
                      <a:lnTo>
                        <a:pt x="206677" y="150314"/>
                      </a:lnTo>
                      <a:lnTo>
                        <a:pt x="206702" y="152604"/>
                      </a:lnTo>
                      <a:lnTo>
                        <a:pt x="207598" y="155880"/>
                      </a:lnTo>
                      <a:lnTo>
                        <a:pt x="206808" y="162848"/>
                      </a:lnTo>
                      <a:lnTo>
                        <a:pt x="204322" y="173500"/>
                      </a:lnTo>
                      <a:lnTo>
                        <a:pt x="203312" y="179702"/>
                      </a:lnTo>
                      <a:lnTo>
                        <a:pt x="203743" y="181462"/>
                      </a:lnTo>
                      <a:lnTo>
                        <a:pt x="202831" y="184575"/>
                      </a:lnTo>
                      <a:lnTo>
                        <a:pt x="199424" y="191250"/>
                      </a:lnTo>
                      <a:lnTo>
                        <a:pt x="199294" y="195773"/>
                      </a:lnTo>
                      <a:lnTo>
                        <a:pt x="198894" y="209301"/>
                      </a:lnTo>
                      <a:lnTo>
                        <a:pt x="197762" y="218869"/>
                      </a:lnTo>
                      <a:lnTo>
                        <a:pt x="195846" y="225943"/>
                      </a:lnTo>
                      <a:lnTo>
                        <a:pt x="194094" y="229717"/>
                      </a:lnTo>
                      <a:lnTo>
                        <a:pt x="192521" y="230181"/>
                      </a:lnTo>
                      <a:lnTo>
                        <a:pt x="191397" y="231306"/>
                      </a:lnTo>
                      <a:lnTo>
                        <a:pt x="190704" y="233107"/>
                      </a:lnTo>
                      <a:lnTo>
                        <a:pt x="189433" y="234598"/>
                      </a:lnTo>
                      <a:lnTo>
                        <a:pt x="187558" y="235805"/>
                      </a:lnTo>
                      <a:lnTo>
                        <a:pt x="186548" y="237109"/>
                      </a:lnTo>
                      <a:lnTo>
                        <a:pt x="186393" y="238543"/>
                      </a:lnTo>
                      <a:lnTo>
                        <a:pt x="184608" y="239464"/>
                      </a:lnTo>
                      <a:lnTo>
                        <a:pt x="181185" y="239879"/>
                      </a:lnTo>
                      <a:lnTo>
                        <a:pt x="179180" y="241020"/>
                      </a:lnTo>
                      <a:lnTo>
                        <a:pt x="178593" y="242887"/>
                      </a:lnTo>
                      <a:lnTo>
                        <a:pt x="177444" y="244378"/>
                      </a:lnTo>
                      <a:lnTo>
                        <a:pt x="175757" y="245478"/>
                      </a:lnTo>
                      <a:lnTo>
                        <a:pt x="174959" y="247296"/>
                      </a:lnTo>
                      <a:lnTo>
                        <a:pt x="175040" y="249846"/>
                      </a:lnTo>
                      <a:lnTo>
                        <a:pt x="174070" y="252047"/>
                      </a:lnTo>
                      <a:lnTo>
                        <a:pt x="172041" y="253872"/>
                      </a:lnTo>
                      <a:lnTo>
                        <a:pt x="170175" y="253921"/>
                      </a:lnTo>
                      <a:lnTo>
                        <a:pt x="168463" y="252194"/>
                      </a:lnTo>
                      <a:lnTo>
                        <a:pt x="166173" y="251036"/>
                      </a:lnTo>
                      <a:lnTo>
                        <a:pt x="163296" y="250482"/>
                      </a:lnTo>
                      <a:lnTo>
                        <a:pt x="160892" y="250914"/>
                      </a:lnTo>
                      <a:lnTo>
                        <a:pt x="158969" y="252340"/>
                      </a:lnTo>
                      <a:lnTo>
                        <a:pt x="157266" y="254630"/>
                      </a:lnTo>
                      <a:lnTo>
                        <a:pt x="155774" y="257760"/>
                      </a:lnTo>
                      <a:lnTo>
                        <a:pt x="154120" y="258281"/>
                      </a:lnTo>
                      <a:lnTo>
                        <a:pt x="152302" y="256187"/>
                      </a:lnTo>
                      <a:lnTo>
                        <a:pt x="150004" y="255551"/>
                      </a:lnTo>
                      <a:lnTo>
                        <a:pt x="147217" y="256383"/>
                      </a:lnTo>
                      <a:lnTo>
                        <a:pt x="144992" y="256081"/>
                      </a:lnTo>
                      <a:lnTo>
                        <a:pt x="143346" y="254687"/>
                      </a:lnTo>
                      <a:lnTo>
                        <a:pt x="140811" y="254541"/>
                      </a:lnTo>
                      <a:lnTo>
                        <a:pt x="137388" y="255624"/>
                      </a:lnTo>
                      <a:lnTo>
                        <a:pt x="130461" y="254369"/>
                      </a:lnTo>
                      <a:lnTo>
                        <a:pt x="120013" y="250759"/>
                      </a:lnTo>
                      <a:lnTo>
                        <a:pt x="111187" y="249390"/>
                      </a:lnTo>
                      <a:lnTo>
                        <a:pt x="100356" y="250686"/>
                      </a:lnTo>
                      <a:lnTo>
                        <a:pt x="99443" y="246937"/>
                      </a:lnTo>
                      <a:lnTo>
                        <a:pt x="100014" y="244908"/>
                      </a:lnTo>
                      <a:lnTo>
                        <a:pt x="101782" y="243392"/>
                      </a:lnTo>
                      <a:lnTo>
                        <a:pt x="102874" y="241656"/>
                      </a:lnTo>
                      <a:lnTo>
                        <a:pt x="103322" y="239733"/>
                      </a:lnTo>
                      <a:lnTo>
                        <a:pt x="104537" y="238258"/>
                      </a:lnTo>
                      <a:lnTo>
                        <a:pt x="106517" y="237247"/>
                      </a:lnTo>
                      <a:lnTo>
                        <a:pt x="107356" y="236220"/>
                      </a:lnTo>
                      <a:lnTo>
                        <a:pt x="107055" y="235185"/>
                      </a:lnTo>
                      <a:lnTo>
                        <a:pt x="107479" y="234264"/>
                      </a:lnTo>
                      <a:lnTo>
                        <a:pt x="108620" y="233474"/>
                      </a:lnTo>
                      <a:lnTo>
                        <a:pt x="109264" y="232219"/>
                      </a:lnTo>
                      <a:lnTo>
                        <a:pt x="109419" y="230499"/>
                      </a:lnTo>
                      <a:lnTo>
                        <a:pt x="109850" y="229651"/>
                      </a:lnTo>
                      <a:lnTo>
                        <a:pt x="110617" y="229016"/>
                      </a:lnTo>
                      <a:lnTo>
                        <a:pt x="110698" y="227834"/>
                      </a:lnTo>
                      <a:lnTo>
                        <a:pt x="110274" y="224167"/>
                      </a:lnTo>
                      <a:lnTo>
                        <a:pt x="110323" y="221159"/>
                      </a:lnTo>
                      <a:lnTo>
                        <a:pt x="110861" y="218829"/>
                      </a:lnTo>
                      <a:lnTo>
                        <a:pt x="111521" y="217402"/>
                      </a:lnTo>
                      <a:lnTo>
                        <a:pt x="111994" y="217052"/>
                      </a:lnTo>
                      <a:lnTo>
                        <a:pt x="112434" y="216229"/>
                      </a:lnTo>
                      <a:lnTo>
                        <a:pt x="112605" y="214811"/>
                      </a:lnTo>
                      <a:lnTo>
                        <a:pt x="113314" y="213499"/>
                      </a:lnTo>
                      <a:lnTo>
                        <a:pt x="116769" y="210793"/>
                      </a:lnTo>
                      <a:lnTo>
                        <a:pt x="118073" y="209326"/>
                      </a:lnTo>
                      <a:lnTo>
                        <a:pt x="118179" y="208006"/>
                      </a:lnTo>
                      <a:lnTo>
                        <a:pt x="118701" y="206188"/>
                      </a:lnTo>
                      <a:lnTo>
                        <a:pt x="120755" y="202309"/>
                      </a:lnTo>
                      <a:lnTo>
                        <a:pt x="121382" y="200492"/>
                      </a:lnTo>
                      <a:lnTo>
                        <a:pt x="121447" y="199587"/>
                      </a:lnTo>
                      <a:lnTo>
                        <a:pt x="122165" y="198634"/>
                      </a:lnTo>
                      <a:lnTo>
                        <a:pt x="124642" y="196474"/>
                      </a:lnTo>
                      <a:lnTo>
                        <a:pt x="125987" y="194453"/>
                      </a:lnTo>
                      <a:lnTo>
                        <a:pt x="126191" y="192546"/>
                      </a:lnTo>
                      <a:lnTo>
                        <a:pt x="125596" y="190386"/>
                      </a:lnTo>
                      <a:lnTo>
                        <a:pt x="124194" y="187974"/>
                      </a:lnTo>
                      <a:lnTo>
                        <a:pt x="119785" y="181935"/>
                      </a:lnTo>
                      <a:lnTo>
                        <a:pt x="116354" y="179196"/>
                      </a:lnTo>
                      <a:lnTo>
                        <a:pt x="111969" y="176931"/>
                      </a:lnTo>
                      <a:lnTo>
                        <a:pt x="109084" y="176205"/>
                      </a:lnTo>
                      <a:lnTo>
                        <a:pt x="107707" y="176988"/>
                      </a:lnTo>
                      <a:lnTo>
                        <a:pt x="106297" y="176376"/>
                      </a:lnTo>
                      <a:lnTo>
                        <a:pt x="104871" y="174331"/>
                      </a:lnTo>
                      <a:lnTo>
                        <a:pt x="102467" y="172717"/>
                      </a:lnTo>
                      <a:lnTo>
                        <a:pt x="97398" y="170949"/>
                      </a:lnTo>
                      <a:lnTo>
                        <a:pt x="85915" y="163916"/>
                      </a:lnTo>
                      <a:lnTo>
                        <a:pt x="81302" y="160509"/>
                      </a:lnTo>
                      <a:lnTo>
                        <a:pt x="79762" y="158423"/>
                      </a:lnTo>
                      <a:lnTo>
                        <a:pt x="75467" y="154658"/>
                      </a:lnTo>
                      <a:lnTo>
                        <a:pt x="68425" y="149222"/>
                      </a:lnTo>
                      <a:lnTo>
                        <a:pt x="63022" y="146589"/>
                      </a:lnTo>
                      <a:lnTo>
                        <a:pt x="59249" y="146736"/>
                      </a:lnTo>
                      <a:lnTo>
                        <a:pt x="53226" y="145163"/>
                      </a:lnTo>
                      <a:lnTo>
                        <a:pt x="44922" y="141862"/>
                      </a:lnTo>
                      <a:lnTo>
                        <a:pt x="40138" y="138651"/>
                      </a:lnTo>
                      <a:lnTo>
                        <a:pt x="38850" y="135554"/>
                      </a:lnTo>
                      <a:lnTo>
                        <a:pt x="35786" y="132450"/>
                      </a:lnTo>
                      <a:lnTo>
                        <a:pt x="30937" y="129344"/>
                      </a:lnTo>
                      <a:lnTo>
                        <a:pt x="28418" y="127299"/>
                      </a:lnTo>
                      <a:lnTo>
                        <a:pt x="28231" y="126313"/>
                      </a:lnTo>
                      <a:lnTo>
                        <a:pt x="26788" y="125033"/>
                      </a:lnTo>
                      <a:lnTo>
                        <a:pt x="24099" y="123452"/>
                      </a:lnTo>
                      <a:lnTo>
                        <a:pt x="21149" y="120747"/>
                      </a:lnTo>
                      <a:lnTo>
                        <a:pt x="17938" y="116916"/>
                      </a:lnTo>
                      <a:lnTo>
                        <a:pt x="14499" y="110999"/>
                      </a:lnTo>
                      <a:lnTo>
                        <a:pt x="10839" y="102996"/>
                      </a:lnTo>
                      <a:lnTo>
                        <a:pt x="6911" y="97601"/>
                      </a:lnTo>
                      <a:lnTo>
                        <a:pt x="2722" y="94814"/>
                      </a:lnTo>
                      <a:lnTo>
                        <a:pt x="620" y="92972"/>
                      </a:lnTo>
                      <a:lnTo>
                        <a:pt x="628" y="92076"/>
                      </a:lnTo>
                      <a:lnTo>
                        <a:pt x="0" y="91212"/>
                      </a:lnTo>
                      <a:lnTo>
                        <a:pt x="562" y="89663"/>
                      </a:lnTo>
                      <a:lnTo>
                        <a:pt x="2095" y="83584"/>
                      </a:lnTo>
                      <a:lnTo>
                        <a:pt x="4303" y="74790"/>
                      </a:lnTo>
                      <a:lnTo>
                        <a:pt x="6593" y="65687"/>
                      </a:lnTo>
                      <a:lnTo>
                        <a:pt x="9291" y="54970"/>
                      </a:lnTo>
                      <a:lnTo>
                        <a:pt x="9291" y="47375"/>
                      </a:lnTo>
                      <a:lnTo>
                        <a:pt x="9299" y="39388"/>
                      </a:lnTo>
                      <a:lnTo>
                        <a:pt x="13137" y="32819"/>
                      </a:lnTo>
                      <a:lnTo>
                        <a:pt x="15859" y="28157"/>
                      </a:lnTo>
                      <a:lnTo>
                        <a:pt x="18207" y="23716"/>
                      </a:lnTo>
                      <a:lnTo>
                        <a:pt x="20594" y="16128"/>
                      </a:lnTo>
                      <a:lnTo>
                        <a:pt x="22184" y="11067"/>
                      </a:lnTo>
                      <a:lnTo>
                        <a:pt x="28263" y="9861"/>
                      </a:lnTo>
                      <a:lnTo>
                        <a:pt x="38573" y="7229"/>
                      </a:lnTo>
                      <a:lnTo>
                        <a:pt x="43715" y="5917"/>
                      </a:lnTo>
                      <a:lnTo>
                        <a:pt x="54563" y="3162"/>
                      </a:lnTo>
                      <a:lnTo>
                        <a:pt x="65573" y="350"/>
                      </a:lnTo>
                      <a:lnTo>
                        <a:pt x="77145" y="171"/>
                      </a:lnTo>
                      <a:lnTo>
                        <a:pt x="88310" y="0"/>
                      </a:lnTo>
                      <a:lnTo>
                        <a:pt x="96982" y="6275"/>
                      </a:lnTo>
                      <a:lnTo>
                        <a:pt x="103599" y="11084"/>
                      </a:lnTo>
                      <a:lnTo>
                        <a:pt x="110894" y="16381"/>
                      </a:lnTo>
                      <a:lnTo>
                        <a:pt x="111391" y="17530"/>
                      </a:lnTo>
                      <a:lnTo>
                        <a:pt x="111888" y="21964"/>
                      </a:lnTo>
                      <a:close/>
                    </a:path>
                  </a:pathLst>
                </a:custGeom>
                <a:solidFill>
                  <a:srgbClr val="D6D6D2"/>
                </a:solidFill>
                <a:ln w="6112" cap="rnd">
                  <a:solidFill>
                    <a:srgbClr val="FFFFFF"/>
                  </a:solidFill>
                  <a:prstDash val="solid"/>
                  <a:round/>
                </a:ln>
              </p:spPr>
              <p:txBody>
                <a:bodyPr rtlCol="0" anchor="ctr"/>
                <a:lstStyle/>
                <a:p>
                  <a:endParaRPr lang="en-US"/>
                </a:p>
              </p:txBody>
            </p:sp>
            <p:sp>
              <p:nvSpPr>
                <p:cNvPr id="643" name="Freeform: Shape 642">
                  <a:extLst>
                    <a:ext uri="{FF2B5EF4-FFF2-40B4-BE49-F238E27FC236}">
                      <a16:creationId xmlns:a16="http://schemas.microsoft.com/office/drawing/2014/main" id="{FBB45C6C-3ABC-4D5E-B364-7C756058E0AD}"/>
                    </a:ext>
                  </a:extLst>
                </p:cNvPr>
                <p:cNvSpPr/>
                <p:nvPr/>
              </p:nvSpPr>
              <p:spPr>
                <a:xfrm>
                  <a:off x="5708463" y="3202814"/>
                  <a:ext cx="81065" cy="173581"/>
                </a:xfrm>
                <a:custGeom>
                  <a:avLst/>
                  <a:gdLst>
                    <a:gd name="connsiteX0" fmla="*/ 32444 w 81065"/>
                    <a:gd name="connsiteY0" fmla="*/ 10929 h 173581"/>
                    <a:gd name="connsiteX1" fmla="*/ 32966 w 81065"/>
                    <a:gd name="connsiteY1" fmla="*/ 11206 h 173581"/>
                    <a:gd name="connsiteX2" fmla="*/ 34408 w 81065"/>
                    <a:gd name="connsiteY2" fmla="*/ 11133 h 173581"/>
                    <a:gd name="connsiteX3" fmla="*/ 36975 w 81065"/>
                    <a:gd name="connsiteY3" fmla="*/ 9837 h 173581"/>
                    <a:gd name="connsiteX4" fmla="*/ 38711 w 81065"/>
                    <a:gd name="connsiteY4" fmla="*/ 8745 h 173581"/>
                    <a:gd name="connsiteX5" fmla="*/ 39314 w 81065"/>
                    <a:gd name="connsiteY5" fmla="*/ 9193 h 173581"/>
                    <a:gd name="connsiteX6" fmla="*/ 44359 w 81065"/>
                    <a:gd name="connsiteY6" fmla="*/ 8574 h 173581"/>
                    <a:gd name="connsiteX7" fmla="*/ 45557 w 81065"/>
                    <a:gd name="connsiteY7" fmla="*/ 9071 h 173581"/>
                    <a:gd name="connsiteX8" fmla="*/ 46356 w 81065"/>
                    <a:gd name="connsiteY8" fmla="*/ 9625 h 173581"/>
                    <a:gd name="connsiteX9" fmla="*/ 48833 w 81065"/>
                    <a:gd name="connsiteY9" fmla="*/ 10383 h 173581"/>
                    <a:gd name="connsiteX10" fmla="*/ 51531 w 81065"/>
                    <a:gd name="connsiteY10" fmla="*/ 10456 h 173581"/>
                    <a:gd name="connsiteX11" fmla="*/ 54888 w 81065"/>
                    <a:gd name="connsiteY11" fmla="*/ 9405 h 173581"/>
                    <a:gd name="connsiteX12" fmla="*/ 56347 w 81065"/>
                    <a:gd name="connsiteY12" fmla="*/ 8345 h 173581"/>
                    <a:gd name="connsiteX13" fmla="*/ 56624 w 81065"/>
                    <a:gd name="connsiteY13" fmla="*/ 7172 h 173581"/>
                    <a:gd name="connsiteX14" fmla="*/ 56706 w 81065"/>
                    <a:gd name="connsiteY14" fmla="*/ 6283 h 173581"/>
                    <a:gd name="connsiteX15" fmla="*/ 57138 w 81065"/>
                    <a:gd name="connsiteY15" fmla="*/ 5713 h 173581"/>
                    <a:gd name="connsiteX16" fmla="*/ 57896 w 81065"/>
                    <a:gd name="connsiteY16" fmla="*/ 5387 h 173581"/>
                    <a:gd name="connsiteX17" fmla="*/ 59086 w 81065"/>
                    <a:gd name="connsiteY17" fmla="*/ 5974 h 173581"/>
                    <a:gd name="connsiteX18" fmla="*/ 60781 w 81065"/>
                    <a:gd name="connsiteY18" fmla="*/ 6438 h 173581"/>
                    <a:gd name="connsiteX19" fmla="*/ 64872 w 81065"/>
                    <a:gd name="connsiteY19" fmla="*/ 6618 h 173581"/>
                    <a:gd name="connsiteX20" fmla="*/ 65670 w 81065"/>
                    <a:gd name="connsiteY20" fmla="*/ 5966 h 173581"/>
                    <a:gd name="connsiteX21" fmla="*/ 67056 w 81065"/>
                    <a:gd name="connsiteY21" fmla="*/ 6161 h 173581"/>
                    <a:gd name="connsiteX22" fmla="*/ 68882 w 81065"/>
                    <a:gd name="connsiteY22" fmla="*/ 6976 h 173581"/>
                    <a:gd name="connsiteX23" fmla="*/ 71000 w 81065"/>
                    <a:gd name="connsiteY23" fmla="*/ 6715 h 173581"/>
                    <a:gd name="connsiteX24" fmla="*/ 72060 w 81065"/>
                    <a:gd name="connsiteY24" fmla="*/ 7718 h 173581"/>
                    <a:gd name="connsiteX25" fmla="*/ 72508 w 81065"/>
                    <a:gd name="connsiteY25" fmla="*/ 9054 h 173581"/>
                    <a:gd name="connsiteX26" fmla="*/ 72630 w 81065"/>
                    <a:gd name="connsiteY26" fmla="*/ 11956 h 173581"/>
                    <a:gd name="connsiteX27" fmla="*/ 72468 w 81065"/>
                    <a:gd name="connsiteY27" fmla="*/ 14881 h 173581"/>
                    <a:gd name="connsiteX28" fmla="*/ 72891 w 81065"/>
                    <a:gd name="connsiteY28" fmla="*/ 15965 h 173581"/>
                    <a:gd name="connsiteX29" fmla="*/ 74318 w 81065"/>
                    <a:gd name="connsiteY29" fmla="*/ 16242 h 173581"/>
                    <a:gd name="connsiteX30" fmla="*/ 76624 w 81065"/>
                    <a:gd name="connsiteY30" fmla="*/ 16218 h 173581"/>
                    <a:gd name="connsiteX31" fmla="*/ 78702 w 81065"/>
                    <a:gd name="connsiteY31" fmla="*/ 17008 h 173581"/>
                    <a:gd name="connsiteX32" fmla="*/ 80308 w 81065"/>
                    <a:gd name="connsiteY32" fmla="*/ 18386 h 173581"/>
                    <a:gd name="connsiteX33" fmla="*/ 80837 w 81065"/>
                    <a:gd name="connsiteY33" fmla="*/ 19804 h 173581"/>
                    <a:gd name="connsiteX34" fmla="*/ 81066 w 81065"/>
                    <a:gd name="connsiteY34" fmla="*/ 20774 h 173581"/>
                    <a:gd name="connsiteX35" fmla="*/ 80275 w 81065"/>
                    <a:gd name="connsiteY35" fmla="*/ 21328 h 173581"/>
                    <a:gd name="connsiteX36" fmla="*/ 79150 w 81065"/>
                    <a:gd name="connsiteY36" fmla="*/ 23406 h 173581"/>
                    <a:gd name="connsiteX37" fmla="*/ 76331 w 81065"/>
                    <a:gd name="connsiteY37" fmla="*/ 26136 h 173581"/>
                    <a:gd name="connsiteX38" fmla="*/ 72288 w 81065"/>
                    <a:gd name="connsiteY38" fmla="*/ 28589 h 173581"/>
                    <a:gd name="connsiteX39" fmla="*/ 69208 w 81065"/>
                    <a:gd name="connsiteY39" fmla="*/ 31637 h 173581"/>
                    <a:gd name="connsiteX40" fmla="*/ 67081 w 81065"/>
                    <a:gd name="connsiteY40" fmla="*/ 35288 h 173581"/>
                    <a:gd name="connsiteX41" fmla="*/ 64424 w 81065"/>
                    <a:gd name="connsiteY41" fmla="*/ 36829 h 173581"/>
                    <a:gd name="connsiteX42" fmla="*/ 63609 w 81065"/>
                    <a:gd name="connsiteY42" fmla="*/ 37660 h 173581"/>
                    <a:gd name="connsiteX43" fmla="*/ 63291 w 81065"/>
                    <a:gd name="connsiteY43" fmla="*/ 38646 h 173581"/>
                    <a:gd name="connsiteX44" fmla="*/ 65043 w 81065"/>
                    <a:gd name="connsiteY44" fmla="*/ 43112 h 173581"/>
                    <a:gd name="connsiteX45" fmla="*/ 65581 w 81065"/>
                    <a:gd name="connsiteY45" fmla="*/ 46551 h 173581"/>
                    <a:gd name="connsiteX46" fmla="*/ 66013 w 81065"/>
                    <a:gd name="connsiteY46" fmla="*/ 50748 h 173581"/>
                    <a:gd name="connsiteX47" fmla="*/ 65728 w 81065"/>
                    <a:gd name="connsiteY47" fmla="*/ 51946 h 173581"/>
                    <a:gd name="connsiteX48" fmla="*/ 65581 w 81065"/>
                    <a:gd name="connsiteY48" fmla="*/ 56567 h 173581"/>
                    <a:gd name="connsiteX49" fmla="*/ 65173 w 81065"/>
                    <a:gd name="connsiteY49" fmla="*/ 57928 h 173581"/>
                    <a:gd name="connsiteX50" fmla="*/ 65279 w 81065"/>
                    <a:gd name="connsiteY50" fmla="*/ 59028 h 173581"/>
                    <a:gd name="connsiteX51" fmla="*/ 65932 w 81065"/>
                    <a:gd name="connsiteY51" fmla="*/ 60210 h 173581"/>
                    <a:gd name="connsiteX52" fmla="*/ 66217 w 81065"/>
                    <a:gd name="connsiteY52" fmla="*/ 61335 h 173581"/>
                    <a:gd name="connsiteX53" fmla="*/ 65010 w 81065"/>
                    <a:gd name="connsiteY53" fmla="*/ 62777 h 173581"/>
                    <a:gd name="connsiteX54" fmla="*/ 62794 w 81065"/>
                    <a:gd name="connsiteY54" fmla="*/ 64448 h 173581"/>
                    <a:gd name="connsiteX55" fmla="*/ 61156 w 81065"/>
                    <a:gd name="connsiteY55" fmla="*/ 65915 h 173581"/>
                    <a:gd name="connsiteX56" fmla="*/ 60707 w 81065"/>
                    <a:gd name="connsiteY56" fmla="*/ 67284 h 173581"/>
                    <a:gd name="connsiteX57" fmla="*/ 60830 w 81065"/>
                    <a:gd name="connsiteY57" fmla="*/ 68140 h 173581"/>
                    <a:gd name="connsiteX58" fmla="*/ 63592 w 81065"/>
                    <a:gd name="connsiteY58" fmla="*/ 71057 h 173581"/>
                    <a:gd name="connsiteX59" fmla="*/ 64098 w 81065"/>
                    <a:gd name="connsiteY59" fmla="*/ 72247 h 173581"/>
                    <a:gd name="connsiteX60" fmla="*/ 63723 w 81065"/>
                    <a:gd name="connsiteY60" fmla="*/ 75116 h 173581"/>
                    <a:gd name="connsiteX61" fmla="*/ 62134 w 81065"/>
                    <a:gd name="connsiteY61" fmla="*/ 79818 h 173581"/>
                    <a:gd name="connsiteX62" fmla="*/ 60610 w 81065"/>
                    <a:gd name="connsiteY62" fmla="*/ 82679 h 173581"/>
                    <a:gd name="connsiteX63" fmla="*/ 60341 w 81065"/>
                    <a:gd name="connsiteY63" fmla="*/ 82964 h 173581"/>
                    <a:gd name="connsiteX64" fmla="*/ 58605 w 81065"/>
                    <a:gd name="connsiteY64" fmla="*/ 83771 h 173581"/>
                    <a:gd name="connsiteX65" fmla="*/ 50259 w 81065"/>
                    <a:gd name="connsiteY65" fmla="*/ 83804 h 173581"/>
                    <a:gd name="connsiteX66" fmla="*/ 48230 w 81065"/>
                    <a:gd name="connsiteY66" fmla="*/ 84448 h 173581"/>
                    <a:gd name="connsiteX67" fmla="*/ 48515 w 81065"/>
                    <a:gd name="connsiteY67" fmla="*/ 85018 h 173581"/>
                    <a:gd name="connsiteX68" fmla="*/ 50480 w 81065"/>
                    <a:gd name="connsiteY68" fmla="*/ 88685 h 173581"/>
                    <a:gd name="connsiteX69" fmla="*/ 52517 w 81065"/>
                    <a:gd name="connsiteY69" fmla="*/ 90649 h 173581"/>
                    <a:gd name="connsiteX70" fmla="*/ 53193 w 81065"/>
                    <a:gd name="connsiteY70" fmla="*/ 91098 h 173581"/>
                    <a:gd name="connsiteX71" fmla="*/ 53927 w 81065"/>
                    <a:gd name="connsiteY71" fmla="*/ 95384 h 173581"/>
                    <a:gd name="connsiteX72" fmla="*/ 57236 w 81065"/>
                    <a:gd name="connsiteY72" fmla="*/ 102230 h 173581"/>
                    <a:gd name="connsiteX73" fmla="*/ 60447 w 81065"/>
                    <a:gd name="connsiteY73" fmla="*/ 103184 h 173581"/>
                    <a:gd name="connsiteX74" fmla="*/ 61563 w 81065"/>
                    <a:gd name="connsiteY74" fmla="*/ 104879 h 173581"/>
                    <a:gd name="connsiteX75" fmla="*/ 61359 w 81065"/>
                    <a:gd name="connsiteY75" fmla="*/ 107283 h 173581"/>
                    <a:gd name="connsiteX76" fmla="*/ 60373 w 81065"/>
                    <a:gd name="connsiteY76" fmla="*/ 109915 h 173581"/>
                    <a:gd name="connsiteX77" fmla="*/ 58401 w 81065"/>
                    <a:gd name="connsiteY77" fmla="*/ 112613 h 173581"/>
                    <a:gd name="connsiteX78" fmla="*/ 56054 w 81065"/>
                    <a:gd name="connsiteY78" fmla="*/ 114512 h 173581"/>
                    <a:gd name="connsiteX79" fmla="*/ 54530 w 81065"/>
                    <a:gd name="connsiteY79" fmla="*/ 116386 h 173581"/>
                    <a:gd name="connsiteX80" fmla="*/ 54408 w 81065"/>
                    <a:gd name="connsiteY80" fmla="*/ 118587 h 173581"/>
                    <a:gd name="connsiteX81" fmla="*/ 53919 w 81065"/>
                    <a:gd name="connsiteY81" fmla="*/ 121366 h 173581"/>
                    <a:gd name="connsiteX82" fmla="*/ 53177 w 81065"/>
                    <a:gd name="connsiteY82" fmla="*/ 123566 h 173581"/>
                    <a:gd name="connsiteX83" fmla="*/ 52998 w 81065"/>
                    <a:gd name="connsiteY83" fmla="*/ 125041 h 173581"/>
                    <a:gd name="connsiteX84" fmla="*/ 58866 w 81065"/>
                    <a:gd name="connsiteY84" fmla="*/ 134316 h 173581"/>
                    <a:gd name="connsiteX85" fmla="*/ 62134 w 81065"/>
                    <a:gd name="connsiteY85" fmla="*/ 133859 h 173581"/>
                    <a:gd name="connsiteX86" fmla="*/ 62558 w 81065"/>
                    <a:gd name="connsiteY86" fmla="*/ 134079 h 173581"/>
                    <a:gd name="connsiteX87" fmla="*/ 61979 w 81065"/>
                    <a:gd name="connsiteY87" fmla="*/ 136288 h 173581"/>
                    <a:gd name="connsiteX88" fmla="*/ 60944 w 81065"/>
                    <a:gd name="connsiteY88" fmla="*/ 138871 h 173581"/>
                    <a:gd name="connsiteX89" fmla="*/ 59713 w 81065"/>
                    <a:gd name="connsiteY89" fmla="*/ 139369 h 173581"/>
                    <a:gd name="connsiteX90" fmla="*/ 56910 w 81065"/>
                    <a:gd name="connsiteY90" fmla="*/ 140159 h 173581"/>
                    <a:gd name="connsiteX91" fmla="*/ 54261 w 81065"/>
                    <a:gd name="connsiteY91" fmla="*/ 143501 h 173581"/>
                    <a:gd name="connsiteX92" fmla="*/ 52118 w 81065"/>
                    <a:gd name="connsiteY92" fmla="*/ 147518 h 173581"/>
                    <a:gd name="connsiteX93" fmla="*/ 50504 w 81065"/>
                    <a:gd name="connsiteY93" fmla="*/ 149458 h 173581"/>
                    <a:gd name="connsiteX94" fmla="*/ 49029 w 81065"/>
                    <a:gd name="connsiteY94" fmla="*/ 154234 h 173581"/>
                    <a:gd name="connsiteX95" fmla="*/ 49208 w 81065"/>
                    <a:gd name="connsiteY95" fmla="*/ 156296 h 173581"/>
                    <a:gd name="connsiteX96" fmla="*/ 49917 w 81065"/>
                    <a:gd name="connsiteY96" fmla="*/ 159490 h 173581"/>
                    <a:gd name="connsiteX97" fmla="*/ 51433 w 81065"/>
                    <a:gd name="connsiteY97" fmla="*/ 167778 h 173581"/>
                    <a:gd name="connsiteX98" fmla="*/ 49265 w 81065"/>
                    <a:gd name="connsiteY98" fmla="*/ 168153 h 173581"/>
                    <a:gd name="connsiteX99" fmla="*/ 40822 w 81065"/>
                    <a:gd name="connsiteY99" fmla="*/ 173565 h 173581"/>
                    <a:gd name="connsiteX100" fmla="*/ 38206 w 81065"/>
                    <a:gd name="connsiteY100" fmla="*/ 173581 h 173581"/>
                    <a:gd name="connsiteX101" fmla="*/ 33316 w 81065"/>
                    <a:gd name="connsiteY101" fmla="*/ 171193 h 173581"/>
                    <a:gd name="connsiteX102" fmla="*/ 24702 w 81065"/>
                    <a:gd name="connsiteY102" fmla="*/ 170427 h 173581"/>
                    <a:gd name="connsiteX103" fmla="*/ 21890 w 81065"/>
                    <a:gd name="connsiteY103" fmla="*/ 169718 h 173581"/>
                    <a:gd name="connsiteX104" fmla="*/ 18378 w 81065"/>
                    <a:gd name="connsiteY104" fmla="*/ 171275 h 173581"/>
                    <a:gd name="connsiteX105" fmla="*/ 15664 w 81065"/>
                    <a:gd name="connsiteY105" fmla="*/ 171234 h 173581"/>
                    <a:gd name="connsiteX106" fmla="*/ 13504 w 81065"/>
                    <a:gd name="connsiteY106" fmla="*/ 173223 h 173581"/>
                    <a:gd name="connsiteX107" fmla="*/ 11964 w 81065"/>
                    <a:gd name="connsiteY107" fmla="*/ 172677 h 173581"/>
                    <a:gd name="connsiteX108" fmla="*/ 13732 w 81065"/>
                    <a:gd name="connsiteY108" fmla="*/ 168227 h 173581"/>
                    <a:gd name="connsiteX109" fmla="*/ 16511 w 81065"/>
                    <a:gd name="connsiteY109" fmla="*/ 159401 h 173581"/>
                    <a:gd name="connsiteX110" fmla="*/ 16397 w 81065"/>
                    <a:gd name="connsiteY110" fmla="*/ 153997 h 173581"/>
                    <a:gd name="connsiteX111" fmla="*/ 17065 w 81065"/>
                    <a:gd name="connsiteY111" fmla="*/ 149311 h 173581"/>
                    <a:gd name="connsiteX112" fmla="*/ 16299 w 81065"/>
                    <a:gd name="connsiteY112" fmla="*/ 144658 h 173581"/>
                    <a:gd name="connsiteX113" fmla="*/ 14906 w 81065"/>
                    <a:gd name="connsiteY113" fmla="*/ 141748 h 173581"/>
                    <a:gd name="connsiteX114" fmla="*/ 16805 w 81065"/>
                    <a:gd name="connsiteY114" fmla="*/ 134210 h 173581"/>
                    <a:gd name="connsiteX115" fmla="*/ 16593 w 81065"/>
                    <a:gd name="connsiteY115" fmla="*/ 130322 h 173581"/>
                    <a:gd name="connsiteX116" fmla="*/ 14857 w 81065"/>
                    <a:gd name="connsiteY116" fmla="*/ 125392 h 173581"/>
                    <a:gd name="connsiteX117" fmla="*/ 20130 w 81065"/>
                    <a:gd name="connsiteY117" fmla="*/ 126142 h 173581"/>
                    <a:gd name="connsiteX118" fmla="*/ 18500 w 81065"/>
                    <a:gd name="connsiteY118" fmla="*/ 124194 h 173581"/>
                    <a:gd name="connsiteX119" fmla="*/ 16886 w 81065"/>
                    <a:gd name="connsiteY119" fmla="*/ 122996 h 173581"/>
                    <a:gd name="connsiteX120" fmla="*/ 15338 w 81065"/>
                    <a:gd name="connsiteY120" fmla="*/ 123273 h 173581"/>
                    <a:gd name="connsiteX121" fmla="*/ 14018 w 81065"/>
                    <a:gd name="connsiteY121" fmla="*/ 123200 h 173581"/>
                    <a:gd name="connsiteX122" fmla="*/ 9519 w 81065"/>
                    <a:gd name="connsiteY122" fmla="*/ 125107 h 173581"/>
                    <a:gd name="connsiteX123" fmla="*/ 7270 w 81065"/>
                    <a:gd name="connsiteY123" fmla="*/ 125677 h 173581"/>
                    <a:gd name="connsiteX124" fmla="*/ 6609 w 81065"/>
                    <a:gd name="connsiteY124" fmla="*/ 125343 h 173581"/>
                    <a:gd name="connsiteX125" fmla="*/ 6854 w 81065"/>
                    <a:gd name="connsiteY125" fmla="*/ 122287 h 173581"/>
                    <a:gd name="connsiteX126" fmla="*/ 5688 w 81065"/>
                    <a:gd name="connsiteY126" fmla="*/ 118334 h 173581"/>
                    <a:gd name="connsiteX127" fmla="*/ 7490 w 81065"/>
                    <a:gd name="connsiteY127" fmla="*/ 117283 h 173581"/>
                    <a:gd name="connsiteX128" fmla="*/ 9576 w 81065"/>
                    <a:gd name="connsiteY128" fmla="*/ 116981 h 173581"/>
                    <a:gd name="connsiteX129" fmla="*/ 11361 w 81065"/>
                    <a:gd name="connsiteY129" fmla="*/ 115294 h 173581"/>
                    <a:gd name="connsiteX130" fmla="*/ 12461 w 81065"/>
                    <a:gd name="connsiteY130" fmla="*/ 113403 h 173581"/>
                    <a:gd name="connsiteX131" fmla="*/ 11882 w 81065"/>
                    <a:gd name="connsiteY131" fmla="*/ 110038 h 173581"/>
                    <a:gd name="connsiteX132" fmla="*/ 13431 w 81065"/>
                    <a:gd name="connsiteY132" fmla="*/ 106835 h 173581"/>
                    <a:gd name="connsiteX133" fmla="*/ 17065 w 81065"/>
                    <a:gd name="connsiteY133" fmla="*/ 104129 h 173581"/>
                    <a:gd name="connsiteX134" fmla="*/ 15175 w 81065"/>
                    <a:gd name="connsiteY134" fmla="*/ 104545 h 173581"/>
                    <a:gd name="connsiteX135" fmla="*/ 13023 w 81065"/>
                    <a:gd name="connsiteY135" fmla="*/ 106224 h 173581"/>
                    <a:gd name="connsiteX136" fmla="*/ 9633 w 81065"/>
                    <a:gd name="connsiteY136" fmla="*/ 112336 h 173581"/>
                    <a:gd name="connsiteX137" fmla="*/ 8525 w 81065"/>
                    <a:gd name="connsiteY137" fmla="*/ 115417 h 173581"/>
                    <a:gd name="connsiteX138" fmla="*/ 5640 w 81065"/>
                    <a:gd name="connsiteY138" fmla="*/ 116427 h 173581"/>
                    <a:gd name="connsiteX139" fmla="*/ 3048 w 81065"/>
                    <a:gd name="connsiteY139" fmla="*/ 116932 h 173581"/>
                    <a:gd name="connsiteX140" fmla="*/ 1720 w 81065"/>
                    <a:gd name="connsiteY140" fmla="*/ 116606 h 173581"/>
                    <a:gd name="connsiteX141" fmla="*/ 139 w 81065"/>
                    <a:gd name="connsiteY141" fmla="*/ 115824 h 173581"/>
                    <a:gd name="connsiteX142" fmla="*/ 0 w 81065"/>
                    <a:gd name="connsiteY142" fmla="*/ 113534 h 173581"/>
                    <a:gd name="connsiteX143" fmla="*/ 130 w 81065"/>
                    <a:gd name="connsiteY143" fmla="*/ 111716 h 173581"/>
                    <a:gd name="connsiteX144" fmla="*/ 1206 w 81065"/>
                    <a:gd name="connsiteY144" fmla="*/ 108098 h 173581"/>
                    <a:gd name="connsiteX145" fmla="*/ 1622 w 81065"/>
                    <a:gd name="connsiteY145" fmla="*/ 102988 h 173581"/>
                    <a:gd name="connsiteX146" fmla="*/ 3154 w 81065"/>
                    <a:gd name="connsiteY146" fmla="*/ 98400 h 173581"/>
                    <a:gd name="connsiteX147" fmla="*/ 3040 w 81065"/>
                    <a:gd name="connsiteY147" fmla="*/ 97186 h 173581"/>
                    <a:gd name="connsiteX148" fmla="*/ 2608 w 81065"/>
                    <a:gd name="connsiteY148" fmla="*/ 95360 h 173581"/>
                    <a:gd name="connsiteX149" fmla="*/ 3969 w 81065"/>
                    <a:gd name="connsiteY149" fmla="*/ 93583 h 173581"/>
                    <a:gd name="connsiteX150" fmla="*/ 5664 w 81065"/>
                    <a:gd name="connsiteY150" fmla="*/ 92402 h 173581"/>
                    <a:gd name="connsiteX151" fmla="*/ 8215 w 81065"/>
                    <a:gd name="connsiteY151" fmla="*/ 88465 h 173581"/>
                    <a:gd name="connsiteX152" fmla="*/ 11793 w 81065"/>
                    <a:gd name="connsiteY152" fmla="*/ 79061 h 173581"/>
                    <a:gd name="connsiteX153" fmla="*/ 15916 w 81065"/>
                    <a:gd name="connsiteY153" fmla="*/ 69053 h 173581"/>
                    <a:gd name="connsiteX154" fmla="*/ 15582 w 81065"/>
                    <a:gd name="connsiteY154" fmla="*/ 67830 h 173581"/>
                    <a:gd name="connsiteX155" fmla="*/ 14702 w 81065"/>
                    <a:gd name="connsiteY155" fmla="*/ 66893 h 173581"/>
                    <a:gd name="connsiteX156" fmla="*/ 15044 w 81065"/>
                    <a:gd name="connsiteY156" fmla="*/ 64187 h 173581"/>
                    <a:gd name="connsiteX157" fmla="*/ 17530 w 81065"/>
                    <a:gd name="connsiteY157" fmla="*/ 52411 h 173581"/>
                    <a:gd name="connsiteX158" fmla="*/ 18549 w 81065"/>
                    <a:gd name="connsiteY158" fmla="*/ 50862 h 173581"/>
                    <a:gd name="connsiteX159" fmla="*/ 19714 w 81065"/>
                    <a:gd name="connsiteY159" fmla="*/ 47407 h 173581"/>
                    <a:gd name="connsiteX160" fmla="*/ 19975 w 81065"/>
                    <a:gd name="connsiteY160" fmla="*/ 41808 h 173581"/>
                    <a:gd name="connsiteX161" fmla="*/ 20432 w 81065"/>
                    <a:gd name="connsiteY161" fmla="*/ 37961 h 173581"/>
                    <a:gd name="connsiteX162" fmla="*/ 20326 w 81065"/>
                    <a:gd name="connsiteY162" fmla="*/ 36022 h 173581"/>
                    <a:gd name="connsiteX163" fmla="*/ 19958 w 81065"/>
                    <a:gd name="connsiteY163" fmla="*/ 33683 h 173581"/>
                    <a:gd name="connsiteX164" fmla="*/ 18378 w 81065"/>
                    <a:gd name="connsiteY164" fmla="*/ 29241 h 173581"/>
                    <a:gd name="connsiteX165" fmla="*/ 16707 w 81065"/>
                    <a:gd name="connsiteY165" fmla="*/ 19820 h 173581"/>
                    <a:gd name="connsiteX166" fmla="*/ 16577 w 81065"/>
                    <a:gd name="connsiteY166" fmla="*/ 16674 h 173581"/>
                    <a:gd name="connsiteX167" fmla="*/ 17946 w 81065"/>
                    <a:gd name="connsiteY167" fmla="*/ 15077 h 173581"/>
                    <a:gd name="connsiteX168" fmla="*/ 15688 w 81065"/>
                    <a:gd name="connsiteY168" fmla="*/ 14841 h 173581"/>
                    <a:gd name="connsiteX169" fmla="*/ 14669 w 81065"/>
                    <a:gd name="connsiteY169" fmla="*/ 12803 h 173581"/>
                    <a:gd name="connsiteX170" fmla="*/ 14906 w 81065"/>
                    <a:gd name="connsiteY170" fmla="*/ 10489 h 173581"/>
                    <a:gd name="connsiteX171" fmla="*/ 17408 w 81065"/>
                    <a:gd name="connsiteY171" fmla="*/ 6748 h 173581"/>
                    <a:gd name="connsiteX172" fmla="*/ 19747 w 81065"/>
                    <a:gd name="connsiteY172" fmla="*/ 4433 h 173581"/>
                    <a:gd name="connsiteX173" fmla="*/ 22062 w 81065"/>
                    <a:gd name="connsiteY173" fmla="*/ 2909 h 173581"/>
                    <a:gd name="connsiteX174" fmla="*/ 23341 w 81065"/>
                    <a:gd name="connsiteY174" fmla="*/ 2339 h 173581"/>
                    <a:gd name="connsiteX175" fmla="*/ 28679 w 81065"/>
                    <a:gd name="connsiteY175" fmla="*/ 766 h 173581"/>
                    <a:gd name="connsiteX176" fmla="*/ 30080 w 81065"/>
                    <a:gd name="connsiteY176" fmla="*/ 0 h 173581"/>
                    <a:gd name="connsiteX177" fmla="*/ 31401 w 81065"/>
                    <a:gd name="connsiteY177" fmla="*/ 130 h 173581"/>
                    <a:gd name="connsiteX178" fmla="*/ 31621 w 81065"/>
                    <a:gd name="connsiteY178" fmla="*/ 880 h 173581"/>
                    <a:gd name="connsiteX179" fmla="*/ 32379 w 81065"/>
                    <a:gd name="connsiteY179" fmla="*/ 2339 h 173581"/>
                    <a:gd name="connsiteX180" fmla="*/ 33227 w 81065"/>
                    <a:gd name="connsiteY180" fmla="*/ 3358 h 173581"/>
                    <a:gd name="connsiteX181" fmla="*/ 33454 w 81065"/>
                    <a:gd name="connsiteY181" fmla="*/ 4099 h 173581"/>
                    <a:gd name="connsiteX182" fmla="*/ 31393 w 81065"/>
                    <a:gd name="connsiteY182" fmla="*/ 7221 h 173581"/>
                    <a:gd name="connsiteX183" fmla="*/ 31116 w 81065"/>
                    <a:gd name="connsiteY183" fmla="*/ 8296 h 173581"/>
                    <a:gd name="connsiteX184" fmla="*/ 32192 w 81065"/>
                    <a:gd name="connsiteY184" fmla="*/ 10326 h 173581"/>
                    <a:gd name="connsiteX185" fmla="*/ 32444 w 81065"/>
                    <a:gd name="connsiteY185" fmla="*/ 10929 h 173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81065" h="173581">
                      <a:moveTo>
                        <a:pt x="32444" y="10929"/>
                      </a:moveTo>
                      <a:lnTo>
                        <a:pt x="32966" y="11206"/>
                      </a:lnTo>
                      <a:lnTo>
                        <a:pt x="34408" y="11133"/>
                      </a:lnTo>
                      <a:lnTo>
                        <a:pt x="36975" y="9837"/>
                      </a:lnTo>
                      <a:lnTo>
                        <a:pt x="38711" y="8745"/>
                      </a:lnTo>
                      <a:lnTo>
                        <a:pt x="39314" y="9193"/>
                      </a:lnTo>
                      <a:lnTo>
                        <a:pt x="44359" y="8574"/>
                      </a:lnTo>
                      <a:lnTo>
                        <a:pt x="45557" y="9071"/>
                      </a:lnTo>
                      <a:lnTo>
                        <a:pt x="46356" y="9625"/>
                      </a:lnTo>
                      <a:lnTo>
                        <a:pt x="48833" y="10383"/>
                      </a:lnTo>
                      <a:lnTo>
                        <a:pt x="51531" y="10456"/>
                      </a:lnTo>
                      <a:lnTo>
                        <a:pt x="54888" y="9405"/>
                      </a:lnTo>
                      <a:lnTo>
                        <a:pt x="56347" y="8345"/>
                      </a:lnTo>
                      <a:lnTo>
                        <a:pt x="56624" y="7172"/>
                      </a:lnTo>
                      <a:lnTo>
                        <a:pt x="56706" y="6283"/>
                      </a:lnTo>
                      <a:lnTo>
                        <a:pt x="57138" y="5713"/>
                      </a:lnTo>
                      <a:lnTo>
                        <a:pt x="57896" y="5387"/>
                      </a:lnTo>
                      <a:lnTo>
                        <a:pt x="59086" y="5974"/>
                      </a:lnTo>
                      <a:lnTo>
                        <a:pt x="60781" y="6438"/>
                      </a:lnTo>
                      <a:lnTo>
                        <a:pt x="64872" y="6618"/>
                      </a:lnTo>
                      <a:lnTo>
                        <a:pt x="65670" y="5966"/>
                      </a:lnTo>
                      <a:lnTo>
                        <a:pt x="67056" y="6161"/>
                      </a:lnTo>
                      <a:lnTo>
                        <a:pt x="68882" y="6976"/>
                      </a:lnTo>
                      <a:lnTo>
                        <a:pt x="71000" y="6715"/>
                      </a:lnTo>
                      <a:lnTo>
                        <a:pt x="72060" y="7718"/>
                      </a:lnTo>
                      <a:lnTo>
                        <a:pt x="72508" y="9054"/>
                      </a:lnTo>
                      <a:lnTo>
                        <a:pt x="72630" y="11956"/>
                      </a:lnTo>
                      <a:lnTo>
                        <a:pt x="72468" y="14881"/>
                      </a:lnTo>
                      <a:lnTo>
                        <a:pt x="72891" y="15965"/>
                      </a:lnTo>
                      <a:lnTo>
                        <a:pt x="74318" y="16242"/>
                      </a:lnTo>
                      <a:lnTo>
                        <a:pt x="76624" y="16218"/>
                      </a:lnTo>
                      <a:lnTo>
                        <a:pt x="78702" y="17008"/>
                      </a:lnTo>
                      <a:lnTo>
                        <a:pt x="80308" y="18386"/>
                      </a:lnTo>
                      <a:lnTo>
                        <a:pt x="80837" y="19804"/>
                      </a:lnTo>
                      <a:lnTo>
                        <a:pt x="81066" y="20774"/>
                      </a:lnTo>
                      <a:lnTo>
                        <a:pt x="80275" y="21328"/>
                      </a:lnTo>
                      <a:lnTo>
                        <a:pt x="79150" y="23406"/>
                      </a:lnTo>
                      <a:lnTo>
                        <a:pt x="76331" y="26136"/>
                      </a:lnTo>
                      <a:lnTo>
                        <a:pt x="72288" y="28589"/>
                      </a:lnTo>
                      <a:lnTo>
                        <a:pt x="69208" y="31637"/>
                      </a:lnTo>
                      <a:lnTo>
                        <a:pt x="67081" y="35288"/>
                      </a:lnTo>
                      <a:lnTo>
                        <a:pt x="64424" y="36829"/>
                      </a:lnTo>
                      <a:lnTo>
                        <a:pt x="63609" y="37660"/>
                      </a:lnTo>
                      <a:lnTo>
                        <a:pt x="63291" y="38646"/>
                      </a:lnTo>
                      <a:lnTo>
                        <a:pt x="65043" y="43112"/>
                      </a:lnTo>
                      <a:lnTo>
                        <a:pt x="65581" y="46551"/>
                      </a:lnTo>
                      <a:lnTo>
                        <a:pt x="66013" y="50748"/>
                      </a:lnTo>
                      <a:lnTo>
                        <a:pt x="65728" y="51946"/>
                      </a:lnTo>
                      <a:lnTo>
                        <a:pt x="65581" y="56567"/>
                      </a:lnTo>
                      <a:lnTo>
                        <a:pt x="65173" y="57928"/>
                      </a:lnTo>
                      <a:lnTo>
                        <a:pt x="65279" y="59028"/>
                      </a:lnTo>
                      <a:lnTo>
                        <a:pt x="65932" y="60210"/>
                      </a:lnTo>
                      <a:lnTo>
                        <a:pt x="66217" y="61335"/>
                      </a:lnTo>
                      <a:lnTo>
                        <a:pt x="65010" y="62777"/>
                      </a:lnTo>
                      <a:lnTo>
                        <a:pt x="62794" y="64448"/>
                      </a:lnTo>
                      <a:lnTo>
                        <a:pt x="61156" y="65915"/>
                      </a:lnTo>
                      <a:lnTo>
                        <a:pt x="60707" y="67284"/>
                      </a:lnTo>
                      <a:lnTo>
                        <a:pt x="60830" y="68140"/>
                      </a:lnTo>
                      <a:lnTo>
                        <a:pt x="63592" y="71057"/>
                      </a:lnTo>
                      <a:lnTo>
                        <a:pt x="64098" y="72247"/>
                      </a:lnTo>
                      <a:lnTo>
                        <a:pt x="63723" y="75116"/>
                      </a:lnTo>
                      <a:lnTo>
                        <a:pt x="62134" y="79818"/>
                      </a:lnTo>
                      <a:lnTo>
                        <a:pt x="60610" y="82679"/>
                      </a:lnTo>
                      <a:lnTo>
                        <a:pt x="60341" y="82964"/>
                      </a:lnTo>
                      <a:lnTo>
                        <a:pt x="58605" y="83771"/>
                      </a:lnTo>
                      <a:lnTo>
                        <a:pt x="50259" y="83804"/>
                      </a:lnTo>
                      <a:lnTo>
                        <a:pt x="48230" y="84448"/>
                      </a:lnTo>
                      <a:lnTo>
                        <a:pt x="48515" y="85018"/>
                      </a:lnTo>
                      <a:lnTo>
                        <a:pt x="50480" y="88685"/>
                      </a:lnTo>
                      <a:lnTo>
                        <a:pt x="52517" y="90649"/>
                      </a:lnTo>
                      <a:lnTo>
                        <a:pt x="53193" y="91098"/>
                      </a:lnTo>
                      <a:lnTo>
                        <a:pt x="53927" y="95384"/>
                      </a:lnTo>
                      <a:lnTo>
                        <a:pt x="57236" y="102230"/>
                      </a:lnTo>
                      <a:lnTo>
                        <a:pt x="60447" y="103184"/>
                      </a:lnTo>
                      <a:lnTo>
                        <a:pt x="61563" y="104879"/>
                      </a:lnTo>
                      <a:lnTo>
                        <a:pt x="61359" y="107283"/>
                      </a:lnTo>
                      <a:lnTo>
                        <a:pt x="60373" y="109915"/>
                      </a:lnTo>
                      <a:lnTo>
                        <a:pt x="58401" y="112613"/>
                      </a:lnTo>
                      <a:lnTo>
                        <a:pt x="56054" y="114512"/>
                      </a:lnTo>
                      <a:lnTo>
                        <a:pt x="54530" y="116386"/>
                      </a:lnTo>
                      <a:lnTo>
                        <a:pt x="54408" y="118587"/>
                      </a:lnTo>
                      <a:lnTo>
                        <a:pt x="53919" y="121366"/>
                      </a:lnTo>
                      <a:lnTo>
                        <a:pt x="53177" y="123566"/>
                      </a:lnTo>
                      <a:lnTo>
                        <a:pt x="52998" y="125041"/>
                      </a:lnTo>
                      <a:lnTo>
                        <a:pt x="58866" y="134316"/>
                      </a:lnTo>
                      <a:lnTo>
                        <a:pt x="62134" y="133859"/>
                      </a:lnTo>
                      <a:lnTo>
                        <a:pt x="62558" y="134079"/>
                      </a:lnTo>
                      <a:lnTo>
                        <a:pt x="61979" y="136288"/>
                      </a:lnTo>
                      <a:lnTo>
                        <a:pt x="60944" y="138871"/>
                      </a:lnTo>
                      <a:lnTo>
                        <a:pt x="59713" y="139369"/>
                      </a:lnTo>
                      <a:lnTo>
                        <a:pt x="56910" y="140159"/>
                      </a:lnTo>
                      <a:lnTo>
                        <a:pt x="54261" y="143501"/>
                      </a:lnTo>
                      <a:lnTo>
                        <a:pt x="52118" y="147518"/>
                      </a:lnTo>
                      <a:lnTo>
                        <a:pt x="50504" y="149458"/>
                      </a:lnTo>
                      <a:lnTo>
                        <a:pt x="49029" y="154234"/>
                      </a:lnTo>
                      <a:lnTo>
                        <a:pt x="49208" y="156296"/>
                      </a:lnTo>
                      <a:lnTo>
                        <a:pt x="49917" y="159490"/>
                      </a:lnTo>
                      <a:lnTo>
                        <a:pt x="51433" y="167778"/>
                      </a:lnTo>
                      <a:lnTo>
                        <a:pt x="49265" y="168153"/>
                      </a:lnTo>
                      <a:lnTo>
                        <a:pt x="40822" y="173565"/>
                      </a:lnTo>
                      <a:lnTo>
                        <a:pt x="38206" y="173581"/>
                      </a:lnTo>
                      <a:lnTo>
                        <a:pt x="33316" y="171193"/>
                      </a:lnTo>
                      <a:lnTo>
                        <a:pt x="24702" y="170427"/>
                      </a:lnTo>
                      <a:lnTo>
                        <a:pt x="21890" y="169718"/>
                      </a:lnTo>
                      <a:lnTo>
                        <a:pt x="18378" y="171275"/>
                      </a:lnTo>
                      <a:lnTo>
                        <a:pt x="15664" y="171234"/>
                      </a:lnTo>
                      <a:lnTo>
                        <a:pt x="13504" y="173223"/>
                      </a:lnTo>
                      <a:lnTo>
                        <a:pt x="11964" y="172677"/>
                      </a:lnTo>
                      <a:lnTo>
                        <a:pt x="13732" y="168227"/>
                      </a:lnTo>
                      <a:lnTo>
                        <a:pt x="16511" y="159401"/>
                      </a:lnTo>
                      <a:lnTo>
                        <a:pt x="16397" y="153997"/>
                      </a:lnTo>
                      <a:lnTo>
                        <a:pt x="17065" y="149311"/>
                      </a:lnTo>
                      <a:lnTo>
                        <a:pt x="16299" y="144658"/>
                      </a:lnTo>
                      <a:lnTo>
                        <a:pt x="14906" y="141748"/>
                      </a:lnTo>
                      <a:lnTo>
                        <a:pt x="16805" y="134210"/>
                      </a:lnTo>
                      <a:lnTo>
                        <a:pt x="16593" y="130322"/>
                      </a:lnTo>
                      <a:lnTo>
                        <a:pt x="14857" y="125392"/>
                      </a:lnTo>
                      <a:lnTo>
                        <a:pt x="20130" y="126142"/>
                      </a:lnTo>
                      <a:lnTo>
                        <a:pt x="18500" y="124194"/>
                      </a:lnTo>
                      <a:lnTo>
                        <a:pt x="16886" y="122996"/>
                      </a:lnTo>
                      <a:lnTo>
                        <a:pt x="15338" y="123273"/>
                      </a:lnTo>
                      <a:lnTo>
                        <a:pt x="14018" y="123200"/>
                      </a:lnTo>
                      <a:lnTo>
                        <a:pt x="9519" y="125107"/>
                      </a:lnTo>
                      <a:lnTo>
                        <a:pt x="7270" y="125677"/>
                      </a:lnTo>
                      <a:lnTo>
                        <a:pt x="6609" y="125343"/>
                      </a:lnTo>
                      <a:lnTo>
                        <a:pt x="6854" y="122287"/>
                      </a:lnTo>
                      <a:lnTo>
                        <a:pt x="5688" y="118334"/>
                      </a:lnTo>
                      <a:lnTo>
                        <a:pt x="7490" y="117283"/>
                      </a:lnTo>
                      <a:lnTo>
                        <a:pt x="9576" y="116981"/>
                      </a:lnTo>
                      <a:lnTo>
                        <a:pt x="11361" y="115294"/>
                      </a:lnTo>
                      <a:lnTo>
                        <a:pt x="12461" y="113403"/>
                      </a:lnTo>
                      <a:lnTo>
                        <a:pt x="11882" y="110038"/>
                      </a:lnTo>
                      <a:lnTo>
                        <a:pt x="13431" y="106835"/>
                      </a:lnTo>
                      <a:lnTo>
                        <a:pt x="17065" y="104129"/>
                      </a:lnTo>
                      <a:lnTo>
                        <a:pt x="15175" y="104545"/>
                      </a:lnTo>
                      <a:lnTo>
                        <a:pt x="13023" y="106224"/>
                      </a:lnTo>
                      <a:lnTo>
                        <a:pt x="9633" y="112336"/>
                      </a:lnTo>
                      <a:lnTo>
                        <a:pt x="8525" y="115417"/>
                      </a:lnTo>
                      <a:lnTo>
                        <a:pt x="5640" y="116427"/>
                      </a:lnTo>
                      <a:lnTo>
                        <a:pt x="3048" y="116932"/>
                      </a:lnTo>
                      <a:lnTo>
                        <a:pt x="1720" y="116606"/>
                      </a:lnTo>
                      <a:lnTo>
                        <a:pt x="139" y="115824"/>
                      </a:lnTo>
                      <a:lnTo>
                        <a:pt x="0" y="113534"/>
                      </a:lnTo>
                      <a:lnTo>
                        <a:pt x="130" y="111716"/>
                      </a:lnTo>
                      <a:lnTo>
                        <a:pt x="1206" y="108098"/>
                      </a:lnTo>
                      <a:lnTo>
                        <a:pt x="1622" y="102988"/>
                      </a:lnTo>
                      <a:lnTo>
                        <a:pt x="3154" y="98400"/>
                      </a:lnTo>
                      <a:lnTo>
                        <a:pt x="3040" y="97186"/>
                      </a:lnTo>
                      <a:lnTo>
                        <a:pt x="2608" y="95360"/>
                      </a:lnTo>
                      <a:lnTo>
                        <a:pt x="3969" y="93583"/>
                      </a:lnTo>
                      <a:lnTo>
                        <a:pt x="5664" y="92402"/>
                      </a:lnTo>
                      <a:lnTo>
                        <a:pt x="8215" y="88465"/>
                      </a:lnTo>
                      <a:lnTo>
                        <a:pt x="11793" y="79061"/>
                      </a:lnTo>
                      <a:lnTo>
                        <a:pt x="15916" y="69053"/>
                      </a:lnTo>
                      <a:lnTo>
                        <a:pt x="15582" y="67830"/>
                      </a:lnTo>
                      <a:lnTo>
                        <a:pt x="14702" y="66893"/>
                      </a:lnTo>
                      <a:lnTo>
                        <a:pt x="15044" y="64187"/>
                      </a:lnTo>
                      <a:lnTo>
                        <a:pt x="17530" y="52411"/>
                      </a:lnTo>
                      <a:lnTo>
                        <a:pt x="18549" y="50862"/>
                      </a:lnTo>
                      <a:lnTo>
                        <a:pt x="19714" y="47407"/>
                      </a:lnTo>
                      <a:lnTo>
                        <a:pt x="19975" y="41808"/>
                      </a:lnTo>
                      <a:lnTo>
                        <a:pt x="20432" y="37961"/>
                      </a:lnTo>
                      <a:lnTo>
                        <a:pt x="20326" y="36022"/>
                      </a:lnTo>
                      <a:lnTo>
                        <a:pt x="19958" y="33683"/>
                      </a:lnTo>
                      <a:lnTo>
                        <a:pt x="18378" y="29241"/>
                      </a:lnTo>
                      <a:lnTo>
                        <a:pt x="16707" y="19820"/>
                      </a:lnTo>
                      <a:lnTo>
                        <a:pt x="16577" y="16674"/>
                      </a:lnTo>
                      <a:lnTo>
                        <a:pt x="17946" y="15077"/>
                      </a:lnTo>
                      <a:lnTo>
                        <a:pt x="15688" y="14841"/>
                      </a:lnTo>
                      <a:lnTo>
                        <a:pt x="14669" y="12803"/>
                      </a:lnTo>
                      <a:lnTo>
                        <a:pt x="14906" y="10489"/>
                      </a:lnTo>
                      <a:lnTo>
                        <a:pt x="17408" y="6748"/>
                      </a:lnTo>
                      <a:lnTo>
                        <a:pt x="19747" y="4433"/>
                      </a:lnTo>
                      <a:lnTo>
                        <a:pt x="22062" y="2909"/>
                      </a:lnTo>
                      <a:lnTo>
                        <a:pt x="23341" y="2339"/>
                      </a:lnTo>
                      <a:lnTo>
                        <a:pt x="28679" y="766"/>
                      </a:lnTo>
                      <a:lnTo>
                        <a:pt x="30080" y="0"/>
                      </a:lnTo>
                      <a:lnTo>
                        <a:pt x="31401" y="130"/>
                      </a:lnTo>
                      <a:lnTo>
                        <a:pt x="31621" y="880"/>
                      </a:lnTo>
                      <a:lnTo>
                        <a:pt x="32379" y="2339"/>
                      </a:lnTo>
                      <a:lnTo>
                        <a:pt x="33227" y="3358"/>
                      </a:lnTo>
                      <a:lnTo>
                        <a:pt x="33454" y="4099"/>
                      </a:lnTo>
                      <a:lnTo>
                        <a:pt x="31393" y="7221"/>
                      </a:lnTo>
                      <a:lnTo>
                        <a:pt x="31116" y="8296"/>
                      </a:lnTo>
                      <a:lnTo>
                        <a:pt x="32192" y="10326"/>
                      </a:lnTo>
                      <a:lnTo>
                        <a:pt x="32444" y="10929"/>
                      </a:lnTo>
                      <a:close/>
                    </a:path>
                  </a:pathLst>
                </a:custGeom>
                <a:solidFill>
                  <a:srgbClr val="D6D6D2"/>
                </a:solidFill>
                <a:ln w="6112" cap="rnd">
                  <a:solidFill>
                    <a:srgbClr val="FFFFFF"/>
                  </a:solidFill>
                  <a:prstDash val="solid"/>
                  <a:round/>
                </a:ln>
              </p:spPr>
              <p:txBody>
                <a:bodyPr rtlCol="0" anchor="ctr"/>
                <a:lstStyle/>
                <a:p>
                  <a:endParaRPr lang="en-US"/>
                </a:p>
              </p:txBody>
            </p:sp>
            <p:sp>
              <p:nvSpPr>
                <p:cNvPr id="644" name="Freeform: Shape 643">
                  <a:extLst>
                    <a:ext uri="{FF2B5EF4-FFF2-40B4-BE49-F238E27FC236}">
                      <a16:creationId xmlns:a16="http://schemas.microsoft.com/office/drawing/2014/main" id="{A6CDF927-DB1C-40A4-A5A3-696482EF6D79}"/>
                    </a:ext>
                  </a:extLst>
                </p:cNvPr>
                <p:cNvSpPr/>
                <p:nvPr/>
              </p:nvSpPr>
              <p:spPr>
                <a:xfrm>
                  <a:off x="9027711" y="3173132"/>
                  <a:ext cx="157248" cy="179465"/>
                </a:xfrm>
                <a:custGeom>
                  <a:avLst/>
                  <a:gdLst>
                    <a:gd name="connsiteX0" fmla="*/ 139637 w 157248"/>
                    <a:gd name="connsiteY0" fmla="*/ 831 h 179465"/>
                    <a:gd name="connsiteX1" fmla="*/ 140770 w 157248"/>
                    <a:gd name="connsiteY1" fmla="*/ 1255 h 179465"/>
                    <a:gd name="connsiteX2" fmla="*/ 142270 w 157248"/>
                    <a:gd name="connsiteY2" fmla="*/ 856 h 179465"/>
                    <a:gd name="connsiteX3" fmla="*/ 143313 w 157248"/>
                    <a:gd name="connsiteY3" fmla="*/ 1483 h 179465"/>
                    <a:gd name="connsiteX4" fmla="*/ 143973 w 157248"/>
                    <a:gd name="connsiteY4" fmla="*/ 2795 h 179465"/>
                    <a:gd name="connsiteX5" fmla="*/ 146173 w 157248"/>
                    <a:gd name="connsiteY5" fmla="*/ 3700 h 179465"/>
                    <a:gd name="connsiteX6" fmla="*/ 146385 w 157248"/>
                    <a:gd name="connsiteY6" fmla="*/ 4368 h 179465"/>
                    <a:gd name="connsiteX7" fmla="*/ 146337 w 157248"/>
                    <a:gd name="connsiteY7" fmla="*/ 8777 h 179465"/>
                    <a:gd name="connsiteX8" fmla="*/ 147543 w 157248"/>
                    <a:gd name="connsiteY8" fmla="*/ 10847 h 179465"/>
                    <a:gd name="connsiteX9" fmla="*/ 149148 w 157248"/>
                    <a:gd name="connsiteY9" fmla="*/ 12714 h 179465"/>
                    <a:gd name="connsiteX10" fmla="*/ 151373 w 157248"/>
                    <a:gd name="connsiteY10" fmla="*/ 14409 h 179465"/>
                    <a:gd name="connsiteX11" fmla="*/ 152563 w 157248"/>
                    <a:gd name="connsiteY11" fmla="*/ 14800 h 179465"/>
                    <a:gd name="connsiteX12" fmla="*/ 153272 w 157248"/>
                    <a:gd name="connsiteY12" fmla="*/ 16006 h 179465"/>
                    <a:gd name="connsiteX13" fmla="*/ 153948 w 157248"/>
                    <a:gd name="connsiteY13" fmla="*/ 18100 h 179465"/>
                    <a:gd name="connsiteX14" fmla="*/ 155529 w 157248"/>
                    <a:gd name="connsiteY14" fmla="*/ 20138 h 179465"/>
                    <a:gd name="connsiteX15" fmla="*/ 156369 w 157248"/>
                    <a:gd name="connsiteY15" fmla="*/ 21629 h 179465"/>
                    <a:gd name="connsiteX16" fmla="*/ 156532 w 157248"/>
                    <a:gd name="connsiteY16" fmla="*/ 23162 h 179465"/>
                    <a:gd name="connsiteX17" fmla="*/ 157249 w 157248"/>
                    <a:gd name="connsiteY17" fmla="*/ 24033 h 179465"/>
                    <a:gd name="connsiteX18" fmla="*/ 155994 w 157248"/>
                    <a:gd name="connsiteY18" fmla="*/ 24987 h 179465"/>
                    <a:gd name="connsiteX19" fmla="*/ 154332 w 157248"/>
                    <a:gd name="connsiteY19" fmla="*/ 24408 h 179465"/>
                    <a:gd name="connsiteX20" fmla="*/ 151560 w 157248"/>
                    <a:gd name="connsiteY20" fmla="*/ 24066 h 179465"/>
                    <a:gd name="connsiteX21" fmla="*/ 148015 w 157248"/>
                    <a:gd name="connsiteY21" fmla="*/ 27082 h 179465"/>
                    <a:gd name="connsiteX22" fmla="*/ 146059 w 157248"/>
                    <a:gd name="connsiteY22" fmla="*/ 28141 h 179465"/>
                    <a:gd name="connsiteX23" fmla="*/ 144666 w 157248"/>
                    <a:gd name="connsiteY23" fmla="*/ 31108 h 179465"/>
                    <a:gd name="connsiteX24" fmla="*/ 141903 w 157248"/>
                    <a:gd name="connsiteY24" fmla="*/ 32868 h 179465"/>
                    <a:gd name="connsiteX25" fmla="*/ 140387 w 157248"/>
                    <a:gd name="connsiteY25" fmla="*/ 34742 h 179465"/>
                    <a:gd name="connsiteX26" fmla="*/ 138423 w 157248"/>
                    <a:gd name="connsiteY26" fmla="*/ 37978 h 179465"/>
                    <a:gd name="connsiteX27" fmla="*/ 137144 w 157248"/>
                    <a:gd name="connsiteY27" fmla="*/ 41115 h 179465"/>
                    <a:gd name="connsiteX28" fmla="*/ 134169 w 157248"/>
                    <a:gd name="connsiteY28" fmla="*/ 44318 h 179465"/>
                    <a:gd name="connsiteX29" fmla="*/ 132425 w 157248"/>
                    <a:gd name="connsiteY29" fmla="*/ 48336 h 179465"/>
                    <a:gd name="connsiteX30" fmla="*/ 132335 w 157248"/>
                    <a:gd name="connsiteY30" fmla="*/ 51783 h 179465"/>
                    <a:gd name="connsiteX31" fmla="*/ 134226 w 157248"/>
                    <a:gd name="connsiteY31" fmla="*/ 55304 h 179465"/>
                    <a:gd name="connsiteX32" fmla="*/ 134397 w 157248"/>
                    <a:gd name="connsiteY32" fmla="*/ 58303 h 179465"/>
                    <a:gd name="connsiteX33" fmla="*/ 133069 w 157248"/>
                    <a:gd name="connsiteY33" fmla="*/ 64456 h 179465"/>
                    <a:gd name="connsiteX34" fmla="*/ 133811 w 157248"/>
                    <a:gd name="connsiteY34" fmla="*/ 70984 h 179465"/>
                    <a:gd name="connsiteX35" fmla="*/ 132979 w 157248"/>
                    <a:gd name="connsiteY35" fmla="*/ 73535 h 179465"/>
                    <a:gd name="connsiteX36" fmla="*/ 123860 w 157248"/>
                    <a:gd name="connsiteY36" fmla="*/ 78001 h 179465"/>
                    <a:gd name="connsiteX37" fmla="*/ 121480 w 157248"/>
                    <a:gd name="connsiteY37" fmla="*/ 80218 h 179465"/>
                    <a:gd name="connsiteX38" fmla="*/ 118130 w 157248"/>
                    <a:gd name="connsiteY38" fmla="*/ 86004 h 179465"/>
                    <a:gd name="connsiteX39" fmla="*/ 114047 w 157248"/>
                    <a:gd name="connsiteY39" fmla="*/ 88156 h 179465"/>
                    <a:gd name="connsiteX40" fmla="*/ 111505 w 157248"/>
                    <a:gd name="connsiteY40" fmla="*/ 90519 h 179465"/>
                    <a:gd name="connsiteX41" fmla="*/ 107992 w 157248"/>
                    <a:gd name="connsiteY41" fmla="*/ 91904 h 179465"/>
                    <a:gd name="connsiteX42" fmla="*/ 105743 w 157248"/>
                    <a:gd name="connsiteY42" fmla="*/ 95963 h 179465"/>
                    <a:gd name="connsiteX43" fmla="*/ 103281 w 157248"/>
                    <a:gd name="connsiteY43" fmla="*/ 98261 h 179465"/>
                    <a:gd name="connsiteX44" fmla="*/ 100348 w 157248"/>
                    <a:gd name="connsiteY44" fmla="*/ 99663 h 179465"/>
                    <a:gd name="connsiteX45" fmla="*/ 98147 w 157248"/>
                    <a:gd name="connsiteY45" fmla="*/ 101464 h 179465"/>
                    <a:gd name="connsiteX46" fmla="*/ 93225 w 157248"/>
                    <a:gd name="connsiteY46" fmla="*/ 101578 h 179465"/>
                    <a:gd name="connsiteX47" fmla="*/ 89753 w 157248"/>
                    <a:gd name="connsiteY47" fmla="*/ 102833 h 179465"/>
                    <a:gd name="connsiteX48" fmla="*/ 87292 w 157248"/>
                    <a:gd name="connsiteY48" fmla="*/ 106215 h 179465"/>
                    <a:gd name="connsiteX49" fmla="*/ 79884 w 157248"/>
                    <a:gd name="connsiteY49" fmla="*/ 110078 h 179465"/>
                    <a:gd name="connsiteX50" fmla="*/ 78873 w 157248"/>
                    <a:gd name="connsiteY50" fmla="*/ 112996 h 179465"/>
                    <a:gd name="connsiteX51" fmla="*/ 79362 w 157248"/>
                    <a:gd name="connsiteY51" fmla="*/ 117487 h 179465"/>
                    <a:gd name="connsiteX52" fmla="*/ 79403 w 157248"/>
                    <a:gd name="connsiteY52" fmla="*/ 120934 h 179465"/>
                    <a:gd name="connsiteX53" fmla="*/ 78759 w 157248"/>
                    <a:gd name="connsiteY53" fmla="*/ 123762 h 179465"/>
                    <a:gd name="connsiteX54" fmla="*/ 77145 w 157248"/>
                    <a:gd name="connsiteY54" fmla="*/ 122963 h 179465"/>
                    <a:gd name="connsiteX55" fmla="*/ 76273 w 157248"/>
                    <a:gd name="connsiteY55" fmla="*/ 123884 h 179465"/>
                    <a:gd name="connsiteX56" fmla="*/ 75311 w 157248"/>
                    <a:gd name="connsiteY56" fmla="*/ 126500 h 179465"/>
                    <a:gd name="connsiteX57" fmla="*/ 75581 w 157248"/>
                    <a:gd name="connsiteY57" fmla="*/ 129475 h 179465"/>
                    <a:gd name="connsiteX58" fmla="*/ 78123 w 157248"/>
                    <a:gd name="connsiteY58" fmla="*/ 130436 h 179465"/>
                    <a:gd name="connsiteX59" fmla="*/ 80202 w 157248"/>
                    <a:gd name="connsiteY59" fmla="*/ 131659 h 179465"/>
                    <a:gd name="connsiteX60" fmla="*/ 83127 w 157248"/>
                    <a:gd name="connsiteY60" fmla="*/ 132270 h 179465"/>
                    <a:gd name="connsiteX61" fmla="*/ 85295 w 157248"/>
                    <a:gd name="connsiteY61" fmla="*/ 133647 h 179465"/>
                    <a:gd name="connsiteX62" fmla="*/ 89900 w 157248"/>
                    <a:gd name="connsiteY62" fmla="*/ 139923 h 179465"/>
                    <a:gd name="connsiteX63" fmla="*/ 93648 w 157248"/>
                    <a:gd name="connsiteY63" fmla="*/ 142669 h 179465"/>
                    <a:gd name="connsiteX64" fmla="*/ 94626 w 157248"/>
                    <a:gd name="connsiteY64" fmla="*/ 143688 h 179465"/>
                    <a:gd name="connsiteX65" fmla="*/ 96778 w 157248"/>
                    <a:gd name="connsiteY65" fmla="*/ 145065 h 179465"/>
                    <a:gd name="connsiteX66" fmla="*/ 98766 w 157248"/>
                    <a:gd name="connsiteY66" fmla="*/ 147233 h 179465"/>
                    <a:gd name="connsiteX67" fmla="*/ 99891 w 157248"/>
                    <a:gd name="connsiteY67" fmla="*/ 149165 h 179465"/>
                    <a:gd name="connsiteX68" fmla="*/ 99019 w 157248"/>
                    <a:gd name="connsiteY68" fmla="*/ 149678 h 179465"/>
                    <a:gd name="connsiteX69" fmla="*/ 97520 w 157248"/>
                    <a:gd name="connsiteY69" fmla="*/ 152506 h 179465"/>
                    <a:gd name="connsiteX70" fmla="*/ 96134 w 157248"/>
                    <a:gd name="connsiteY70" fmla="*/ 156092 h 179465"/>
                    <a:gd name="connsiteX71" fmla="*/ 94781 w 157248"/>
                    <a:gd name="connsiteY71" fmla="*/ 158023 h 179465"/>
                    <a:gd name="connsiteX72" fmla="*/ 93233 w 157248"/>
                    <a:gd name="connsiteY72" fmla="*/ 159091 h 179465"/>
                    <a:gd name="connsiteX73" fmla="*/ 91562 w 157248"/>
                    <a:gd name="connsiteY73" fmla="*/ 159718 h 179465"/>
                    <a:gd name="connsiteX74" fmla="*/ 88253 w 157248"/>
                    <a:gd name="connsiteY74" fmla="*/ 159996 h 179465"/>
                    <a:gd name="connsiteX75" fmla="*/ 85270 w 157248"/>
                    <a:gd name="connsiteY75" fmla="*/ 159751 h 179465"/>
                    <a:gd name="connsiteX76" fmla="*/ 84292 w 157248"/>
                    <a:gd name="connsiteY76" fmla="*/ 159368 h 179465"/>
                    <a:gd name="connsiteX77" fmla="*/ 80177 w 157248"/>
                    <a:gd name="connsiteY77" fmla="*/ 159588 h 179465"/>
                    <a:gd name="connsiteX78" fmla="*/ 79012 w 157248"/>
                    <a:gd name="connsiteY78" fmla="*/ 159849 h 179465"/>
                    <a:gd name="connsiteX79" fmla="*/ 73086 w 157248"/>
                    <a:gd name="connsiteY79" fmla="*/ 159572 h 179465"/>
                    <a:gd name="connsiteX80" fmla="*/ 69998 w 157248"/>
                    <a:gd name="connsiteY80" fmla="*/ 159865 h 179465"/>
                    <a:gd name="connsiteX81" fmla="*/ 68042 w 157248"/>
                    <a:gd name="connsiteY81" fmla="*/ 160558 h 179465"/>
                    <a:gd name="connsiteX82" fmla="*/ 66037 w 157248"/>
                    <a:gd name="connsiteY82" fmla="*/ 162017 h 179465"/>
                    <a:gd name="connsiteX83" fmla="*/ 64309 w 157248"/>
                    <a:gd name="connsiteY83" fmla="*/ 164193 h 179465"/>
                    <a:gd name="connsiteX84" fmla="*/ 62785 w 157248"/>
                    <a:gd name="connsiteY84" fmla="*/ 166523 h 179465"/>
                    <a:gd name="connsiteX85" fmla="*/ 59697 w 157248"/>
                    <a:gd name="connsiteY85" fmla="*/ 170778 h 179465"/>
                    <a:gd name="connsiteX86" fmla="*/ 57521 w 157248"/>
                    <a:gd name="connsiteY86" fmla="*/ 172848 h 179465"/>
                    <a:gd name="connsiteX87" fmla="*/ 57513 w 157248"/>
                    <a:gd name="connsiteY87" fmla="*/ 175830 h 179465"/>
                    <a:gd name="connsiteX88" fmla="*/ 57472 w 157248"/>
                    <a:gd name="connsiteY88" fmla="*/ 176743 h 179465"/>
                    <a:gd name="connsiteX89" fmla="*/ 56706 w 157248"/>
                    <a:gd name="connsiteY89" fmla="*/ 177379 h 179465"/>
                    <a:gd name="connsiteX90" fmla="*/ 56445 w 157248"/>
                    <a:gd name="connsiteY90" fmla="*/ 177094 h 179465"/>
                    <a:gd name="connsiteX91" fmla="*/ 55190 w 157248"/>
                    <a:gd name="connsiteY91" fmla="*/ 176874 h 179465"/>
                    <a:gd name="connsiteX92" fmla="*/ 50170 w 157248"/>
                    <a:gd name="connsiteY92" fmla="*/ 174152 h 179465"/>
                    <a:gd name="connsiteX93" fmla="*/ 46030 w 157248"/>
                    <a:gd name="connsiteY93" fmla="*/ 175814 h 179465"/>
                    <a:gd name="connsiteX94" fmla="*/ 44978 w 157248"/>
                    <a:gd name="connsiteY94" fmla="*/ 177982 h 179465"/>
                    <a:gd name="connsiteX95" fmla="*/ 43878 w 157248"/>
                    <a:gd name="connsiteY95" fmla="*/ 178675 h 179465"/>
                    <a:gd name="connsiteX96" fmla="*/ 42240 w 157248"/>
                    <a:gd name="connsiteY96" fmla="*/ 174429 h 179465"/>
                    <a:gd name="connsiteX97" fmla="*/ 39534 w 157248"/>
                    <a:gd name="connsiteY97" fmla="*/ 174298 h 179465"/>
                    <a:gd name="connsiteX98" fmla="*/ 35272 w 157248"/>
                    <a:gd name="connsiteY98" fmla="*/ 170558 h 179465"/>
                    <a:gd name="connsiteX99" fmla="*/ 33422 w 157248"/>
                    <a:gd name="connsiteY99" fmla="*/ 171315 h 179465"/>
                    <a:gd name="connsiteX100" fmla="*/ 32949 w 157248"/>
                    <a:gd name="connsiteY100" fmla="*/ 172823 h 179465"/>
                    <a:gd name="connsiteX101" fmla="*/ 30602 w 157248"/>
                    <a:gd name="connsiteY101" fmla="*/ 176254 h 179465"/>
                    <a:gd name="connsiteX102" fmla="*/ 27334 w 157248"/>
                    <a:gd name="connsiteY102" fmla="*/ 179090 h 179465"/>
                    <a:gd name="connsiteX103" fmla="*/ 26266 w 157248"/>
                    <a:gd name="connsiteY103" fmla="*/ 179465 h 179465"/>
                    <a:gd name="connsiteX104" fmla="*/ 25068 w 157248"/>
                    <a:gd name="connsiteY104" fmla="*/ 179270 h 179465"/>
                    <a:gd name="connsiteX105" fmla="*/ 25240 w 157248"/>
                    <a:gd name="connsiteY105" fmla="*/ 178479 h 179465"/>
                    <a:gd name="connsiteX106" fmla="*/ 23895 w 157248"/>
                    <a:gd name="connsiteY106" fmla="*/ 175301 h 179465"/>
                    <a:gd name="connsiteX107" fmla="*/ 18711 w 157248"/>
                    <a:gd name="connsiteY107" fmla="*/ 174005 h 179465"/>
                    <a:gd name="connsiteX108" fmla="*/ 16845 w 157248"/>
                    <a:gd name="connsiteY108" fmla="*/ 172644 h 179465"/>
                    <a:gd name="connsiteX109" fmla="*/ 15908 w 157248"/>
                    <a:gd name="connsiteY109" fmla="*/ 172350 h 179465"/>
                    <a:gd name="connsiteX110" fmla="*/ 20977 w 157248"/>
                    <a:gd name="connsiteY110" fmla="*/ 168781 h 179465"/>
                    <a:gd name="connsiteX111" fmla="*/ 22297 w 157248"/>
                    <a:gd name="connsiteY111" fmla="*/ 168145 h 179465"/>
                    <a:gd name="connsiteX112" fmla="*/ 21311 w 157248"/>
                    <a:gd name="connsiteY112" fmla="*/ 167314 h 179465"/>
                    <a:gd name="connsiteX113" fmla="*/ 20219 w 157248"/>
                    <a:gd name="connsiteY113" fmla="*/ 166906 h 179465"/>
                    <a:gd name="connsiteX114" fmla="*/ 16063 w 157248"/>
                    <a:gd name="connsiteY114" fmla="*/ 167436 h 179465"/>
                    <a:gd name="connsiteX115" fmla="*/ 13871 w 157248"/>
                    <a:gd name="connsiteY115" fmla="*/ 166271 h 179465"/>
                    <a:gd name="connsiteX116" fmla="*/ 10708 w 157248"/>
                    <a:gd name="connsiteY116" fmla="*/ 166646 h 179465"/>
                    <a:gd name="connsiteX117" fmla="*/ 8508 w 157248"/>
                    <a:gd name="connsiteY117" fmla="*/ 165717 h 179465"/>
                    <a:gd name="connsiteX118" fmla="*/ 13064 w 157248"/>
                    <a:gd name="connsiteY118" fmla="*/ 162228 h 179465"/>
                    <a:gd name="connsiteX119" fmla="*/ 13268 w 157248"/>
                    <a:gd name="connsiteY119" fmla="*/ 160158 h 179465"/>
                    <a:gd name="connsiteX120" fmla="*/ 13210 w 157248"/>
                    <a:gd name="connsiteY120" fmla="*/ 158594 h 179465"/>
                    <a:gd name="connsiteX121" fmla="*/ 15517 w 157248"/>
                    <a:gd name="connsiteY121" fmla="*/ 153948 h 179465"/>
                    <a:gd name="connsiteX122" fmla="*/ 17839 w 157248"/>
                    <a:gd name="connsiteY122" fmla="*/ 151373 h 179465"/>
                    <a:gd name="connsiteX123" fmla="*/ 23846 w 157248"/>
                    <a:gd name="connsiteY123" fmla="*/ 147722 h 179465"/>
                    <a:gd name="connsiteX124" fmla="*/ 26470 w 157248"/>
                    <a:gd name="connsiteY124" fmla="*/ 147217 h 179465"/>
                    <a:gd name="connsiteX125" fmla="*/ 28353 w 157248"/>
                    <a:gd name="connsiteY125" fmla="*/ 147363 h 179465"/>
                    <a:gd name="connsiteX126" fmla="*/ 29917 w 157248"/>
                    <a:gd name="connsiteY126" fmla="*/ 147021 h 179465"/>
                    <a:gd name="connsiteX127" fmla="*/ 28279 w 157248"/>
                    <a:gd name="connsiteY127" fmla="*/ 145628 h 179465"/>
                    <a:gd name="connsiteX128" fmla="*/ 26690 w 157248"/>
                    <a:gd name="connsiteY128" fmla="*/ 144984 h 179465"/>
                    <a:gd name="connsiteX129" fmla="*/ 23569 w 157248"/>
                    <a:gd name="connsiteY129" fmla="*/ 145114 h 179465"/>
                    <a:gd name="connsiteX130" fmla="*/ 20342 w 157248"/>
                    <a:gd name="connsiteY130" fmla="*/ 143011 h 179465"/>
                    <a:gd name="connsiteX131" fmla="*/ 20064 w 157248"/>
                    <a:gd name="connsiteY131" fmla="*/ 140787 h 179465"/>
                    <a:gd name="connsiteX132" fmla="*/ 26323 w 157248"/>
                    <a:gd name="connsiteY132" fmla="*/ 126728 h 179465"/>
                    <a:gd name="connsiteX133" fmla="*/ 26413 w 157248"/>
                    <a:gd name="connsiteY133" fmla="*/ 125449 h 179465"/>
                    <a:gd name="connsiteX134" fmla="*/ 25435 w 157248"/>
                    <a:gd name="connsiteY134" fmla="*/ 122034 h 179465"/>
                    <a:gd name="connsiteX135" fmla="*/ 25109 w 157248"/>
                    <a:gd name="connsiteY135" fmla="*/ 118685 h 179465"/>
                    <a:gd name="connsiteX136" fmla="*/ 20627 w 157248"/>
                    <a:gd name="connsiteY136" fmla="*/ 116761 h 179465"/>
                    <a:gd name="connsiteX137" fmla="*/ 18646 w 157248"/>
                    <a:gd name="connsiteY137" fmla="*/ 116533 h 179465"/>
                    <a:gd name="connsiteX138" fmla="*/ 12893 w 157248"/>
                    <a:gd name="connsiteY138" fmla="*/ 112768 h 179465"/>
                    <a:gd name="connsiteX139" fmla="*/ 10595 w 157248"/>
                    <a:gd name="connsiteY139" fmla="*/ 110861 h 179465"/>
                    <a:gd name="connsiteX140" fmla="*/ 9690 w 157248"/>
                    <a:gd name="connsiteY140" fmla="*/ 111415 h 179465"/>
                    <a:gd name="connsiteX141" fmla="*/ 9519 w 157248"/>
                    <a:gd name="connsiteY141" fmla="*/ 114438 h 179465"/>
                    <a:gd name="connsiteX142" fmla="*/ 8695 w 157248"/>
                    <a:gd name="connsiteY142" fmla="*/ 115115 h 179465"/>
                    <a:gd name="connsiteX143" fmla="*/ 7180 w 157248"/>
                    <a:gd name="connsiteY143" fmla="*/ 115702 h 179465"/>
                    <a:gd name="connsiteX144" fmla="*/ 6422 w 157248"/>
                    <a:gd name="connsiteY144" fmla="*/ 112254 h 179465"/>
                    <a:gd name="connsiteX145" fmla="*/ 5191 w 157248"/>
                    <a:gd name="connsiteY145" fmla="*/ 109761 h 179465"/>
                    <a:gd name="connsiteX146" fmla="*/ 1377 w 157248"/>
                    <a:gd name="connsiteY146" fmla="*/ 107218 h 179465"/>
                    <a:gd name="connsiteX147" fmla="*/ 0 w 157248"/>
                    <a:gd name="connsiteY147" fmla="*/ 105816 h 179465"/>
                    <a:gd name="connsiteX148" fmla="*/ 660 w 157248"/>
                    <a:gd name="connsiteY148" fmla="*/ 102793 h 179465"/>
                    <a:gd name="connsiteX149" fmla="*/ 342 w 157248"/>
                    <a:gd name="connsiteY149" fmla="*/ 102524 h 179465"/>
                    <a:gd name="connsiteX150" fmla="*/ 945 w 157248"/>
                    <a:gd name="connsiteY150" fmla="*/ 99125 h 179465"/>
                    <a:gd name="connsiteX151" fmla="*/ 3284 w 157248"/>
                    <a:gd name="connsiteY151" fmla="*/ 96501 h 179465"/>
                    <a:gd name="connsiteX152" fmla="*/ 9022 w 157248"/>
                    <a:gd name="connsiteY152" fmla="*/ 91831 h 179465"/>
                    <a:gd name="connsiteX153" fmla="*/ 10497 w 157248"/>
                    <a:gd name="connsiteY153" fmla="*/ 89631 h 179465"/>
                    <a:gd name="connsiteX154" fmla="*/ 13406 w 157248"/>
                    <a:gd name="connsiteY154" fmla="*/ 87047 h 179465"/>
                    <a:gd name="connsiteX155" fmla="*/ 14718 w 157248"/>
                    <a:gd name="connsiteY155" fmla="*/ 87104 h 179465"/>
                    <a:gd name="connsiteX156" fmla="*/ 16079 w 157248"/>
                    <a:gd name="connsiteY156" fmla="*/ 86876 h 179465"/>
                    <a:gd name="connsiteX157" fmla="*/ 16487 w 157248"/>
                    <a:gd name="connsiteY157" fmla="*/ 85752 h 179465"/>
                    <a:gd name="connsiteX158" fmla="*/ 16796 w 157248"/>
                    <a:gd name="connsiteY158" fmla="*/ 84871 h 179465"/>
                    <a:gd name="connsiteX159" fmla="*/ 17962 w 157248"/>
                    <a:gd name="connsiteY159" fmla="*/ 84065 h 179465"/>
                    <a:gd name="connsiteX160" fmla="*/ 20765 w 157248"/>
                    <a:gd name="connsiteY160" fmla="*/ 82646 h 179465"/>
                    <a:gd name="connsiteX161" fmla="*/ 23968 w 157248"/>
                    <a:gd name="connsiteY161" fmla="*/ 80764 h 179465"/>
                    <a:gd name="connsiteX162" fmla="*/ 26511 w 157248"/>
                    <a:gd name="connsiteY162" fmla="*/ 80234 h 179465"/>
                    <a:gd name="connsiteX163" fmla="*/ 29624 w 157248"/>
                    <a:gd name="connsiteY163" fmla="*/ 77422 h 179465"/>
                    <a:gd name="connsiteX164" fmla="*/ 30895 w 157248"/>
                    <a:gd name="connsiteY164" fmla="*/ 76184 h 179465"/>
                    <a:gd name="connsiteX165" fmla="*/ 32159 w 157248"/>
                    <a:gd name="connsiteY165" fmla="*/ 76184 h 179465"/>
                    <a:gd name="connsiteX166" fmla="*/ 32509 w 157248"/>
                    <a:gd name="connsiteY166" fmla="*/ 75605 h 179465"/>
                    <a:gd name="connsiteX167" fmla="*/ 33235 w 157248"/>
                    <a:gd name="connsiteY167" fmla="*/ 74146 h 179465"/>
                    <a:gd name="connsiteX168" fmla="*/ 34229 w 157248"/>
                    <a:gd name="connsiteY168" fmla="*/ 73193 h 179465"/>
                    <a:gd name="connsiteX169" fmla="*/ 35614 w 157248"/>
                    <a:gd name="connsiteY169" fmla="*/ 73013 h 179465"/>
                    <a:gd name="connsiteX170" fmla="*/ 37855 w 157248"/>
                    <a:gd name="connsiteY170" fmla="*/ 72321 h 179465"/>
                    <a:gd name="connsiteX171" fmla="*/ 40699 w 157248"/>
                    <a:gd name="connsiteY171" fmla="*/ 71897 h 179465"/>
                    <a:gd name="connsiteX172" fmla="*/ 42623 w 157248"/>
                    <a:gd name="connsiteY172" fmla="*/ 69525 h 179465"/>
                    <a:gd name="connsiteX173" fmla="*/ 43275 w 157248"/>
                    <a:gd name="connsiteY173" fmla="*/ 67830 h 179465"/>
                    <a:gd name="connsiteX174" fmla="*/ 44554 w 157248"/>
                    <a:gd name="connsiteY174" fmla="*/ 65972 h 179465"/>
                    <a:gd name="connsiteX175" fmla="*/ 47252 w 157248"/>
                    <a:gd name="connsiteY175" fmla="*/ 63935 h 179465"/>
                    <a:gd name="connsiteX176" fmla="*/ 49118 w 157248"/>
                    <a:gd name="connsiteY176" fmla="*/ 60935 h 179465"/>
                    <a:gd name="connsiteX177" fmla="*/ 51180 w 157248"/>
                    <a:gd name="connsiteY177" fmla="*/ 57667 h 179465"/>
                    <a:gd name="connsiteX178" fmla="*/ 52166 w 157248"/>
                    <a:gd name="connsiteY178" fmla="*/ 56616 h 179465"/>
                    <a:gd name="connsiteX179" fmla="*/ 53136 w 157248"/>
                    <a:gd name="connsiteY179" fmla="*/ 56412 h 179465"/>
                    <a:gd name="connsiteX180" fmla="*/ 53699 w 157248"/>
                    <a:gd name="connsiteY180" fmla="*/ 55182 h 179465"/>
                    <a:gd name="connsiteX181" fmla="*/ 54359 w 157248"/>
                    <a:gd name="connsiteY181" fmla="*/ 51702 h 179465"/>
                    <a:gd name="connsiteX182" fmla="*/ 55296 w 157248"/>
                    <a:gd name="connsiteY182" fmla="*/ 48312 h 179465"/>
                    <a:gd name="connsiteX183" fmla="*/ 55874 w 157248"/>
                    <a:gd name="connsiteY183" fmla="*/ 46714 h 179465"/>
                    <a:gd name="connsiteX184" fmla="*/ 58238 w 157248"/>
                    <a:gd name="connsiteY184" fmla="*/ 44970 h 179465"/>
                    <a:gd name="connsiteX185" fmla="*/ 58857 w 157248"/>
                    <a:gd name="connsiteY185" fmla="*/ 44123 h 179465"/>
                    <a:gd name="connsiteX186" fmla="*/ 59379 w 157248"/>
                    <a:gd name="connsiteY186" fmla="*/ 43837 h 179465"/>
                    <a:gd name="connsiteX187" fmla="*/ 60487 w 157248"/>
                    <a:gd name="connsiteY187" fmla="*/ 44066 h 179465"/>
                    <a:gd name="connsiteX188" fmla="*/ 61971 w 157248"/>
                    <a:gd name="connsiteY188" fmla="*/ 43047 h 179465"/>
                    <a:gd name="connsiteX189" fmla="*/ 63364 w 157248"/>
                    <a:gd name="connsiteY189" fmla="*/ 41914 h 179465"/>
                    <a:gd name="connsiteX190" fmla="*/ 64635 w 157248"/>
                    <a:gd name="connsiteY190" fmla="*/ 42313 h 179465"/>
                    <a:gd name="connsiteX191" fmla="*/ 65923 w 157248"/>
                    <a:gd name="connsiteY191" fmla="*/ 43251 h 179465"/>
                    <a:gd name="connsiteX192" fmla="*/ 67276 w 157248"/>
                    <a:gd name="connsiteY192" fmla="*/ 45117 h 179465"/>
                    <a:gd name="connsiteX193" fmla="*/ 67863 w 157248"/>
                    <a:gd name="connsiteY193" fmla="*/ 46616 h 179465"/>
                    <a:gd name="connsiteX194" fmla="*/ 68938 w 157248"/>
                    <a:gd name="connsiteY194" fmla="*/ 47863 h 179465"/>
                    <a:gd name="connsiteX195" fmla="*/ 69142 w 157248"/>
                    <a:gd name="connsiteY195" fmla="*/ 49681 h 179465"/>
                    <a:gd name="connsiteX196" fmla="*/ 70201 w 157248"/>
                    <a:gd name="connsiteY196" fmla="*/ 50479 h 179465"/>
                    <a:gd name="connsiteX197" fmla="*/ 72476 w 157248"/>
                    <a:gd name="connsiteY197" fmla="*/ 50871 h 179465"/>
                    <a:gd name="connsiteX198" fmla="*/ 76167 w 157248"/>
                    <a:gd name="connsiteY198" fmla="*/ 52101 h 179465"/>
                    <a:gd name="connsiteX199" fmla="*/ 78572 w 157248"/>
                    <a:gd name="connsiteY199" fmla="*/ 52175 h 179465"/>
                    <a:gd name="connsiteX200" fmla="*/ 79940 w 157248"/>
                    <a:gd name="connsiteY200" fmla="*/ 53096 h 179465"/>
                    <a:gd name="connsiteX201" fmla="*/ 82810 w 157248"/>
                    <a:gd name="connsiteY201" fmla="*/ 53601 h 179465"/>
                    <a:gd name="connsiteX202" fmla="*/ 88538 w 157248"/>
                    <a:gd name="connsiteY202" fmla="*/ 52875 h 179465"/>
                    <a:gd name="connsiteX203" fmla="*/ 90878 w 157248"/>
                    <a:gd name="connsiteY203" fmla="*/ 53299 h 179465"/>
                    <a:gd name="connsiteX204" fmla="*/ 91856 w 157248"/>
                    <a:gd name="connsiteY204" fmla="*/ 54432 h 179465"/>
                    <a:gd name="connsiteX205" fmla="*/ 93323 w 157248"/>
                    <a:gd name="connsiteY205" fmla="*/ 55337 h 179465"/>
                    <a:gd name="connsiteX206" fmla="*/ 94260 w 157248"/>
                    <a:gd name="connsiteY206" fmla="*/ 55385 h 179465"/>
                    <a:gd name="connsiteX207" fmla="*/ 95515 w 157248"/>
                    <a:gd name="connsiteY207" fmla="*/ 53837 h 179465"/>
                    <a:gd name="connsiteX208" fmla="*/ 96876 w 157248"/>
                    <a:gd name="connsiteY208" fmla="*/ 51319 h 179465"/>
                    <a:gd name="connsiteX209" fmla="*/ 97764 w 157248"/>
                    <a:gd name="connsiteY209" fmla="*/ 49395 h 179465"/>
                    <a:gd name="connsiteX210" fmla="*/ 97723 w 157248"/>
                    <a:gd name="connsiteY210" fmla="*/ 47863 h 179465"/>
                    <a:gd name="connsiteX211" fmla="*/ 96941 w 157248"/>
                    <a:gd name="connsiteY211" fmla="*/ 46225 h 179465"/>
                    <a:gd name="connsiteX212" fmla="*/ 95050 w 157248"/>
                    <a:gd name="connsiteY212" fmla="*/ 44693 h 179465"/>
                    <a:gd name="connsiteX213" fmla="*/ 93819 w 157248"/>
                    <a:gd name="connsiteY213" fmla="*/ 42330 h 179465"/>
                    <a:gd name="connsiteX214" fmla="*/ 92638 w 157248"/>
                    <a:gd name="connsiteY214" fmla="*/ 39877 h 179465"/>
                    <a:gd name="connsiteX215" fmla="*/ 91937 w 157248"/>
                    <a:gd name="connsiteY215" fmla="*/ 39086 h 179465"/>
                    <a:gd name="connsiteX216" fmla="*/ 91367 w 157248"/>
                    <a:gd name="connsiteY216" fmla="*/ 37896 h 179465"/>
                    <a:gd name="connsiteX217" fmla="*/ 91261 w 157248"/>
                    <a:gd name="connsiteY217" fmla="*/ 36071 h 179465"/>
                    <a:gd name="connsiteX218" fmla="*/ 91668 w 157248"/>
                    <a:gd name="connsiteY218" fmla="*/ 34840 h 179465"/>
                    <a:gd name="connsiteX219" fmla="*/ 94520 w 157248"/>
                    <a:gd name="connsiteY219" fmla="*/ 34017 h 179465"/>
                    <a:gd name="connsiteX220" fmla="*/ 98188 w 157248"/>
                    <a:gd name="connsiteY220" fmla="*/ 33528 h 179465"/>
                    <a:gd name="connsiteX221" fmla="*/ 101146 w 157248"/>
                    <a:gd name="connsiteY221" fmla="*/ 34033 h 179465"/>
                    <a:gd name="connsiteX222" fmla="*/ 106093 w 157248"/>
                    <a:gd name="connsiteY222" fmla="*/ 33691 h 179465"/>
                    <a:gd name="connsiteX223" fmla="*/ 109117 w 157248"/>
                    <a:gd name="connsiteY223" fmla="*/ 33006 h 179465"/>
                    <a:gd name="connsiteX224" fmla="*/ 111366 w 157248"/>
                    <a:gd name="connsiteY224" fmla="*/ 33104 h 179465"/>
                    <a:gd name="connsiteX225" fmla="*/ 113444 w 157248"/>
                    <a:gd name="connsiteY225" fmla="*/ 33096 h 179465"/>
                    <a:gd name="connsiteX226" fmla="*/ 114365 w 157248"/>
                    <a:gd name="connsiteY226" fmla="*/ 32045 h 179465"/>
                    <a:gd name="connsiteX227" fmla="*/ 117258 w 157248"/>
                    <a:gd name="connsiteY227" fmla="*/ 29510 h 179465"/>
                    <a:gd name="connsiteX228" fmla="*/ 118652 w 157248"/>
                    <a:gd name="connsiteY228" fmla="*/ 28614 h 179465"/>
                    <a:gd name="connsiteX229" fmla="*/ 120184 w 157248"/>
                    <a:gd name="connsiteY229" fmla="*/ 26894 h 179465"/>
                    <a:gd name="connsiteX230" fmla="*/ 120428 w 157248"/>
                    <a:gd name="connsiteY230" fmla="*/ 25101 h 179465"/>
                    <a:gd name="connsiteX231" fmla="*/ 120738 w 157248"/>
                    <a:gd name="connsiteY231" fmla="*/ 23650 h 179465"/>
                    <a:gd name="connsiteX232" fmla="*/ 121594 w 157248"/>
                    <a:gd name="connsiteY232" fmla="*/ 22102 h 179465"/>
                    <a:gd name="connsiteX233" fmla="*/ 123102 w 157248"/>
                    <a:gd name="connsiteY233" fmla="*/ 20179 h 179465"/>
                    <a:gd name="connsiteX234" fmla="*/ 124397 w 157248"/>
                    <a:gd name="connsiteY234" fmla="*/ 19299 h 179465"/>
                    <a:gd name="connsiteX235" fmla="*/ 125840 w 157248"/>
                    <a:gd name="connsiteY235" fmla="*/ 19421 h 179465"/>
                    <a:gd name="connsiteX236" fmla="*/ 127364 w 157248"/>
                    <a:gd name="connsiteY236" fmla="*/ 20301 h 179465"/>
                    <a:gd name="connsiteX237" fmla="*/ 128325 w 157248"/>
                    <a:gd name="connsiteY237" fmla="*/ 21173 h 179465"/>
                    <a:gd name="connsiteX238" fmla="*/ 129409 w 157248"/>
                    <a:gd name="connsiteY238" fmla="*/ 20920 h 179465"/>
                    <a:gd name="connsiteX239" fmla="*/ 130314 w 157248"/>
                    <a:gd name="connsiteY239" fmla="*/ 19413 h 179465"/>
                    <a:gd name="connsiteX240" fmla="*/ 130901 w 157248"/>
                    <a:gd name="connsiteY240" fmla="*/ 19119 h 179465"/>
                    <a:gd name="connsiteX241" fmla="*/ 132645 w 157248"/>
                    <a:gd name="connsiteY241" fmla="*/ 18989 h 179465"/>
                    <a:gd name="connsiteX242" fmla="*/ 133175 w 157248"/>
                    <a:gd name="connsiteY242" fmla="*/ 18060 h 179465"/>
                    <a:gd name="connsiteX243" fmla="*/ 133835 w 157248"/>
                    <a:gd name="connsiteY243" fmla="*/ 13618 h 179465"/>
                    <a:gd name="connsiteX244" fmla="*/ 134511 w 157248"/>
                    <a:gd name="connsiteY244" fmla="*/ 10114 h 179465"/>
                    <a:gd name="connsiteX245" fmla="*/ 134658 w 157248"/>
                    <a:gd name="connsiteY245" fmla="*/ 7661 h 179465"/>
                    <a:gd name="connsiteX246" fmla="*/ 136198 w 157248"/>
                    <a:gd name="connsiteY246" fmla="*/ 3594 h 179465"/>
                    <a:gd name="connsiteX247" fmla="*/ 136687 w 157248"/>
                    <a:gd name="connsiteY247" fmla="*/ 1141 h 179465"/>
                    <a:gd name="connsiteX248" fmla="*/ 137608 w 157248"/>
                    <a:gd name="connsiteY248" fmla="*/ 0 h 179465"/>
                    <a:gd name="connsiteX249" fmla="*/ 138667 w 157248"/>
                    <a:gd name="connsiteY249" fmla="*/ 90 h 179465"/>
                    <a:gd name="connsiteX250" fmla="*/ 139637 w 157248"/>
                    <a:gd name="connsiteY250" fmla="*/ 831 h 179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157248" h="179465">
                      <a:moveTo>
                        <a:pt x="139637" y="831"/>
                      </a:moveTo>
                      <a:lnTo>
                        <a:pt x="140770" y="1255"/>
                      </a:lnTo>
                      <a:lnTo>
                        <a:pt x="142270" y="856"/>
                      </a:lnTo>
                      <a:lnTo>
                        <a:pt x="143313" y="1483"/>
                      </a:lnTo>
                      <a:lnTo>
                        <a:pt x="143973" y="2795"/>
                      </a:lnTo>
                      <a:lnTo>
                        <a:pt x="146173" y="3700"/>
                      </a:lnTo>
                      <a:lnTo>
                        <a:pt x="146385" y="4368"/>
                      </a:lnTo>
                      <a:lnTo>
                        <a:pt x="146337" y="8777"/>
                      </a:lnTo>
                      <a:lnTo>
                        <a:pt x="147543" y="10847"/>
                      </a:lnTo>
                      <a:lnTo>
                        <a:pt x="149148" y="12714"/>
                      </a:lnTo>
                      <a:lnTo>
                        <a:pt x="151373" y="14409"/>
                      </a:lnTo>
                      <a:lnTo>
                        <a:pt x="152563" y="14800"/>
                      </a:lnTo>
                      <a:lnTo>
                        <a:pt x="153272" y="16006"/>
                      </a:lnTo>
                      <a:lnTo>
                        <a:pt x="153948" y="18100"/>
                      </a:lnTo>
                      <a:lnTo>
                        <a:pt x="155529" y="20138"/>
                      </a:lnTo>
                      <a:lnTo>
                        <a:pt x="156369" y="21629"/>
                      </a:lnTo>
                      <a:lnTo>
                        <a:pt x="156532" y="23162"/>
                      </a:lnTo>
                      <a:lnTo>
                        <a:pt x="157249" y="24033"/>
                      </a:lnTo>
                      <a:lnTo>
                        <a:pt x="155994" y="24987"/>
                      </a:lnTo>
                      <a:lnTo>
                        <a:pt x="154332" y="24408"/>
                      </a:lnTo>
                      <a:lnTo>
                        <a:pt x="151560" y="24066"/>
                      </a:lnTo>
                      <a:lnTo>
                        <a:pt x="148015" y="27082"/>
                      </a:lnTo>
                      <a:lnTo>
                        <a:pt x="146059" y="28141"/>
                      </a:lnTo>
                      <a:lnTo>
                        <a:pt x="144666" y="31108"/>
                      </a:lnTo>
                      <a:lnTo>
                        <a:pt x="141903" y="32868"/>
                      </a:lnTo>
                      <a:lnTo>
                        <a:pt x="140387" y="34742"/>
                      </a:lnTo>
                      <a:lnTo>
                        <a:pt x="138423" y="37978"/>
                      </a:lnTo>
                      <a:lnTo>
                        <a:pt x="137144" y="41115"/>
                      </a:lnTo>
                      <a:lnTo>
                        <a:pt x="134169" y="44318"/>
                      </a:lnTo>
                      <a:lnTo>
                        <a:pt x="132425" y="48336"/>
                      </a:lnTo>
                      <a:lnTo>
                        <a:pt x="132335" y="51783"/>
                      </a:lnTo>
                      <a:lnTo>
                        <a:pt x="134226" y="55304"/>
                      </a:lnTo>
                      <a:lnTo>
                        <a:pt x="134397" y="58303"/>
                      </a:lnTo>
                      <a:lnTo>
                        <a:pt x="133069" y="64456"/>
                      </a:lnTo>
                      <a:lnTo>
                        <a:pt x="133811" y="70984"/>
                      </a:lnTo>
                      <a:lnTo>
                        <a:pt x="132979" y="73535"/>
                      </a:lnTo>
                      <a:lnTo>
                        <a:pt x="123860" y="78001"/>
                      </a:lnTo>
                      <a:lnTo>
                        <a:pt x="121480" y="80218"/>
                      </a:lnTo>
                      <a:lnTo>
                        <a:pt x="118130" y="86004"/>
                      </a:lnTo>
                      <a:lnTo>
                        <a:pt x="114047" y="88156"/>
                      </a:lnTo>
                      <a:lnTo>
                        <a:pt x="111505" y="90519"/>
                      </a:lnTo>
                      <a:lnTo>
                        <a:pt x="107992" y="91904"/>
                      </a:lnTo>
                      <a:lnTo>
                        <a:pt x="105743" y="95963"/>
                      </a:lnTo>
                      <a:lnTo>
                        <a:pt x="103281" y="98261"/>
                      </a:lnTo>
                      <a:lnTo>
                        <a:pt x="100348" y="99663"/>
                      </a:lnTo>
                      <a:lnTo>
                        <a:pt x="98147" y="101464"/>
                      </a:lnTo>
                      <a:lnTo>
                        <a:pt x="93225" y="101578"/>
                      </a:lnTo>
                      <a:lnTo>
                        <a:pt x="89753" y="102833"/>
                      </a:lnTo>
                      <a:lnTo>
                        <a:pt x="87292" y="106215"/>
                      </a:lnTo>
                      <a:lnTo>
                        <a:pt x="79884" y="110078"/>
                      </a:lnTo>
                      <a:lnTo>
                        <a:pt x="78873" y="112996"/>
                      </a:lnTo>
                      <a:lnTo>
                        <a:pt x="79362" y="117487"/>
                      </a:lnTo>
                      <a:lnTo>
                        <a:pt x="79403" y="120934"/>
                      </a:lnTo>
                      <a:lnTo>
                        <a:pt x="78759" y="123762"/>
                      </a:lnTo>
                      <a:lnTo>
                        <a:pt x="77145" y="122963"/>
                      </a:lnTo>
                      <a:lnTo>
                        <a:pt x="76273" y="123884"/>
                      </a:lnTo>
                      <a:lnTo>
                        <a:pt x="75311" y="126500"/>
                      </a:lnTo>
                      <a:lnTo>
                        <a:pt x="75581" y="129475"/>
                      </a:lnTo>
                      <a:lnTo>
                        <a:pt x="78123" y="130436"/>
                      </a:lnTo>
                      <a:lnTo>
                        <a:pt x="80202" y="131659"/>
                      </a:lnTo>
                      <a:lnTo>
                        <a:pt x="83127" y="132270"/>
                      </a:lnTo>
                      <a:lnTo>
                        <a:pt x="85295" y="133647"/>
                      </a:lnTo>
                      <a:lnTo>
                        <a:pt x="89900" y="139923"/>
                      </a:lnTo>
                      <a:lnTo>
                        <a:pt x="93648" y="142669"/>
                      </a:lnTo>
                      <a:lnTo>
                        <a:pt x="94626" y="143688"/>
                      </a:lnTo>
                      <a:lnTo>
                        <a:pt x="96778" y="145065"/>
                      </a:lnTo>
                      <a:lnTo>
                        <a:pt x="98766" y="147233"/>
                      </a:lnTo>
                      <a:lnTo>
                        <a:pt x="99891" y="149165"/>
                      </a:lnTo>
                      <a:lnTo>
                        <a:pt x="99019" y="149678"/>
                      </a:lnTo>
                      <a:lnTo>
                        <a:pt x="97520" y="152506"/>
                      </a:lnTo>
                      <a:lnTo>
                        <a:pt x="96134" y="156092"/>
                      </a:lnTo>
                      <a:lnTo>
                        <a:pt x="94781" y="158023"/>
                      </a:lnTo>
                      <a:lnTo>
                        <a:pt x="93233" y="159091"/>
                      </a:lnTo>
                      <a:lnTo>
                        <a:pt x="91562" y="159718"/>
                      </a:lnTo>
                      <a:lnTo>
                        <a:pt x="88253" y="159996"/>
                      </a:lnTo>
                      <a:lnTo>
                        <a:pt x="85270" y="159751"/>
                      </a:lnTo>
                      <a:lnTo>
                        <a:pt x="84292" y="159368"/>
                      </a:lnTo>
                      <a:lnTo>
                        <a:pt x="80177" y="159588"/>
                      </a:lnTo>
                      <a:lnTo>
                        <a:pt x="79012" y="159849"/>
                      </a:lnTo>
                      <a:lnTo>
                        <a:pt x="73086" y="159572"/>
                      </a:lnTo>
                      <a:lnTo>
                        <a:pt x="69998" y="159865"/>
                      </a:lnTo>
                      <a:lnTo>
                        <a:pt x="68042" y="160558"/>
                      </a:lnTo>
                      <a:lnTo>
                        <a:pt x="66037" y="162017"/>
                      </a:lnTo>
                      <a:lnTo>
                        <a:pt x="64309" y="164193"/>
                      </a:lnTo>
                      <a:lnTo>
                        <a:pt x="62785" y="166523"/>
                      </a:lnTo>
                      <a:lnTo>
                        <a:pt x="59697" y="170778"/>
                      </a:lnTo>
                      <a:lnTo>
                        <a:pt x="57521" y="172848"/>
                      </a:lnTo>
                      <a:lnTo>
                        <a:pt x="57513" y="175830"/>
                      </a:lnTo>
                      <a:lnTo>
                        <a:pt x="57472" y="176743"/>
                      </a:lnTo>
                      <a:lnTo>
                        <a:pt x="56706" y="177379"/>
                      </a:lnTo>
                      <a:lnTo>
                        <a:pt x="56445" y="177094"/>
                      </a:lnTo>
                      <a:lnTo>
                        <a:pt x="55190" y="176874"/>
                      </a:lnTo>
                      <a:lnTo>
                        <a:pt x="50170" y="174152"/>
                      </a:lnTo>
                      <a:lnTo>
                        <a:pt x="46030" y="175814"/>
                      </a:lnTo>
                      <a:lnTo>
                        <a:pt x="44978" y="177982"/>
                      </a:lnTo>
                      <a:lnTo>
                        <a:pt x="43878" y="178675"/>
                      </a:lnTo>
                      <a:lnTo>
                        <a:pt x="42240" y="174429"/>
                      </a:lnTo>
                      <a:lnTo>
                        <a:pt x="39534" y="174298"/>
                      </a:lnTo>
                      <a:lnTo>
                        <a:pt x="35272" y="170558"/>
                      </a:lnTo>
                      <a:lnTo>
                        <a:pt x="33422" y="171315"/>
                      </a:lnTo>
                      <a:lnTo>
                        <a:pt x="32949" y="172823"/>
                      </a:lnTo>
                      <a:lnTo>
                        <a:pt x="30602" y="176254"/>
                      </a:lnTo>
                      <a:lnTo>
                        <a:pt x="27334" y="179090"/>
                      </a:lnTo>
                      <a:lnTo>
                        <a:pt x="26266" y="179465"/>
                      </a:lnTo>
                      <a:lnTo>
                        <a:pt x="25068" y="179270"/>
                      </a:lnTo>
                      <a:lnTo>
                        <a:pt x="25240" y="178479"/>
                      </a:lnTo>
                      <a:lnTo>
                        <a:pt x="23895" y="175301"/>
                      </a:lnTo>
                      <a:lnTo>
                        <a:pt x="18711" y="174005"/>
                      </a:lnTo>
                      <a:lnTo>
                        <a:pt x="16845" y="172644"/>
                      </a:lnTo>
                      <a:lnTo>
                        <a:pt x="15908" y="172350"/>
                      </a:lnTo>
                      <a:lnTo>
                        <a:pt x="20977" y="168781"/>
                      </a:lnTo>
                      <a:lnTo>
                        <a:pt x="22297" y="168145"/>
                      </a:lnTo>
                      <a:lnTo>
                        <a:pt x="21311" y="167314"/>
                      </a:lnTo>
                      <a:lnTo>
                        <a:pt x="20219" y="166906"/>
                      </a:lnTo>
                      <a:lnTo>
                        <a:pt x="16063" y="167436"/>
                      </a:lnTo>
                      <a:lnTo>
                        <a:pt x="13871" y="166271"/>
                      </a:lnTo>
                      <a:lnTo>
                        <a:pt x="10708" y="166646"/>
                      </a:lnTo>
                      <a:lnTo>
                        <a:pt x="8508" y="165717"/>
                      </a:lnTo>
                      <a:lnTo>
                        <a:pt x="13064" y="162228"/>
                      </a:lnTo>
                      <a:lnTo>
                        <a:pt x="13268" y="160158"/>
                      </a:lnTo>
                      <a:lnTo>
                        <a:pt x="13210" y="158594"/>
                      </a:lnTo>
                      <a:lnTo>
                        <a:pt x="15517" y="153948"/>
                      </a:lnTo>
                      <a:lnTo>
                        <a:pt x="17839" y="151373"/>
                      </a:lnTo>
                      <a:lnTo>
                        <a:pt x="23846" y="147722"/>
                      </a:lnTo>
                      <a:lnTo>
                        <a:pt x="26470" y="147217"/>
                      </a:lnTo>
                      <a:lnTo>
                        <a:pt x="28353" y="147363"/>
                      </a:lnTo>
                      <a:lnTo>
                        <a:pt x="29917" y="147021"/>
                      </a:lnTo>
                      <a:lnTo>
                        <a:pt x="28279" y="145628"/>
                      </a:lnTo>
                      <a:lnTo>
                        <a:pt x="26690" y="144984"/>
                      </a:lnTo>
                      <a:lnTo>
                        <a:pt x="23569" y="145114"/>
                      </a:lnTo>
                      <a:lnTo>
                        <a:pt x="20342" y="143011"/>
                      </a:lnTo>
                      <a:lnTo>
                        <a:pt x="20064" y="140787"/>
                      </a:lnTo>
                      <a:lnTo>
                        <a:pt x="26323" y="126728"/>
                      </a:lnTo>
                      <a:lnTo>
                        <a:pt x="26413" y="125449"/>
                      </a:lnTo>
                      <a:lnTo>
                        <a:pt x="25435" y="122034"/>
                      </a:lnTo>
                      <a:lnTo>
                        <a:pt x="25109" y="118685"/>
                      </a:lnTo>
                      <a:lnTo>
                        <a:pt x="20627" y="116761"/>
                      </a:lnTo>
                      <a:lnTo>
                        <a:pt x="18646" y="116533"/>
                      </a:lnTo>
                      <a:lnTo>
                        <a:pt x="12893" y="112768"/>
                      </a:lnTo>
                      <a:lnTo>
                        <a:pt x="10595" y="110861"/>
                      </a:lnTo>
                      <a:lnTo>
                        <a:pt x="9690" y="111415"/>
                      </a:lnTo>
                      <a:lnTo>
                        <a:pt x="9519" y="114438"/>
                      </a:lnTo>
                      <a:lnTo>
                        <a:pt x="8695" y="115115"/>
                      </a:lnTo>
                      <a:lnTo>
                        <a:pt x="7180" y="115702"/>
                      </a:lnTo>
                      <a:lnTo>
                        <a:pt x="6422" y="112254"/>
                      </a:lnTo>
                      <a:lnTo>
                        <a:pt x="5191" y="109761"/>
                      </a:lnTo>
                      <a:lnTo>
                        <a:pt x="1377" y="107218"/>
                      </a:lnTo>
                      <a:lnTo>
                        <a:pt x="0" y="105816"/>
                      </a:lnTo>
                      <a:lnTo>
                        <a:pt x="660" y="102793"/>
                      </a:lnTo>
                      <a:lnTo>
                        <a:pt x="342" y="102524"/>
                      </a:lnTo>
                      <a:lnTo>
                        <a:pt x="945" y="99125"/>
                      </a:lnTo>
                      <a:lnTo>
                        <a:pt x="3284" y="96501"/>
                      </a:lnTo>
                      <a:lnTo>
                        <a:pt x="9022" y="91831"/>
                      </a:lnTo>
                      <a:lnTo>
                        <a:pt x="10497" y="89631"/>
                      </a:lnTo>
                      <a:lnTo>
                        <a:pt x="13406" y="87047"/>
                      </a:lnTo>
                      <a:lnTo>
                        <a:pt x="14718" y="87104"/>
                      </a:lnTo>
                      <a:lnTo>
                        <a:pt x="16079" y="86876"/>
                      </a:lnTo>
                      <a:lnTo>
                        <a:pt x="16487" y="85752"/>
                      </a:lnTo>
                      <a:lnTo>
                        <a:pt x="16796" y="84871"/>
                      </a:lnTo>
                      <a:lnTo>
                        <a:pt x="17962" y="84065"/>
                      </a:lnTo>
                      <a:lnTo>
                        <a:pt x="20765" y="82646"/>
                      </a:lnTo>
                      <a:lnTo>
                        <a:pt x="23968" y="80764"/>
                      </a:lnTo>
                      <a:lnTo>
                        <a:pt x="26511" y="80234"/>
                      </a:lnTo>
                      <a:lnTo>
                        <a:pt x="29624" y="77422"/>
                      </a:lnTo>
                      <a:lnTo>
                        <a:pt x="30895" y="76184"/>
                      </a:lnTo>
                      <a:lnTo>
                        <a:pt x="32159" y="76184"/>
                      </a:lnTo>
                      <a:lnTo>
                        <a:pt x="32509" y="75605"/>
                      </a:lnTo>
                      <a:lnTo>
                        <a:pt x="33235" y="74146"/>
                      </a:lnTo>
                      <a:lnTo>
                        <a:pt x="34229" y="73193"/>
                      </a:lnTo>
                      <a:lnTo>
                        <a:pt x="35614" y="73013"/>
                      </a:lnTo>
                      <a:lnTo>
                        <a:pt x="37855" y="72321"/>
                      </a:lnTo>
                      <a:lnTo>
                        <a:pt x="40699" y="71897"/>
                      </a:lnTo>
                      <a:lnTo>
                        <a:pt x="42623" y="69525"/>
                      </a:lnTo>
                      <a:lnTo>
                        <a:pt x="43275" y="67830"/>
                      </a:lnTo>
                      <a:lnTo>
                        <a:pt x="44554" y="65972"/>
                      </a:lnTo>
                      <a:lnTo>
                        <a:pt x="47252" y="63935"/>
                      </a:lnTo>
                      <a:lnTo>
                        <a:pt x="49118" y="60935"/>
                      </a:lnTo>
                      <a:lnTo>
                        <a:pt x="51180" y="57667"/>
                      </a:lnTo>
                      <a:lnTo>
                        <a:pt x="52166" y="56616"/>
                      </a:lnTo>
                      <a:lnTo>
                        <a:pt x="53136" y="56412"/>
                      </a:lnTo>
                      <a:lnTo>
                        <a:pt x="53699" y="55182"/>
                      </a:lnTo>
                      <a:lnTo>
                        <a:pt x="54359" y="51702"/>
                      </a:lnTo>
                      <a:lnTo>
                        <a:pt x="55296" y="48312"/>
                      </a:lnTo>
                      <a:lnTo>
                        <a:pt x="55874" y="46714"/>
                      </a:lnTo>
                      <a:lnTo>
                        <a:pt x="58238" y="44970"/>
                      </a:lnTo>
                      <a:lnTo>
                        <a:pt x="58857" y="44123"/>
                      </a:lnTo>
                      <a:lnTo>
                        <a:pt x="59379" y="43837"/>
                      </a:lnTo>
                      <a:lnTo>
                        <a:pt x="60487" y="44066"/>
                      </a:lnTo>
                      <a:lnTo>
                        <a:pt x="61971" y="43047"/>
                      </a:lnTo>
                      <a:lnTo>
                        <a:pt x="63364" y="41914"/>
                      </a:lnTo>
                      <a:lnTo>
                        <a:pt x="64635" y="42313"/>
                      </a:lnTo>
                      <a:lnTo>
                        <a:pt x="65923" y="43251"/>
                      </a:lnTo>
                      <a:lnTo>
                        <a:pt x="67276" y="45117"/>
                      </a:lnTo>
                      <a:lnTo>
                        <a:pt x="67863" y="46616"/>
                      </a:lnTo>
                      <a:lnTo>
                        <a:pt x="68938" y="47863"/>
                      </a:lnTo>
                      <a:lnTo>
                        <a:pt x="69142" y="49681"/>
                      </a:lnTo>
                      <a:lnTo>
                        <a:pt x="70201" y="50479"/>
                      </a:lnTo>
                      <a:lnTo>
                        <a:pt x="72476" y="50871"/>
                      </a:lnTo>
                      <a:lnTo>
                        <a:pt x="76167" y="52101"/>
                      </a:lnTo>
                      <a:lnTo>
                        <a:pt x="78572" y="52175"/>
                      </a:lnTo>
                      <a:lnTo>
                        <a:pt x="79940" y="53096"/>
                      </a:lnTo>
                      <a:lnTo>
                        <a:pt x="82810" y="53601"/>
                      </a:lnTo>
                      <a:lnTo>
                        <a:pt x="88538" y="52875"/>
                      </a:lnTo>
                      <a:lnTo>
                        <a:pt x="90878" y="53299"/>
                      </a:lnTo>
                      <a:lnTo>
                        <a:pt x="91856" y="54432"/>
                      </a:lnTo>
                      <a:lnTo>
                        <a:pt x="93323" y="55337"/>
                      </a:lnTo>
                      <a:lnTo>
                        <a:pt x="94260" y="55385"/>
                      </a:lnTo>
                      <a:lnTo>
                        <a:pt x="95515" y="53837"/>
                      </a:lnTo>
                      <a:lnTo>
                        <a:pt x="96876" y="51319"/>
                      </a:lnTo>
                      <a:lnTo>
                        <a:pt x="97764" y="49395"/>
                      </a:lnTo>
                      <a:lnTo>
                        <a:pt x="97723" y="47863"/>
                      </a:lnTo>
                      <a:lnTo>
                        <a:pt x="96941" y="46225"/>
                      </a:lnTo>
                      <a:lnTo>
                        <a:pt x="95050" y="44693"/>
                      </a:lnTo>
                      <a:lnTo>
                        <a:pt x="93819" y="42330"/>
                      </a:lnTo>
                      <a:lnTo>
                        <a:pt x="92638" y="39877"/>
                      </a:lnTo>
                      <a:lnTo>
                        <a:pt x="91937" y="39086"/>
                      </a:lnTo>
                      <a:lnTo>
                        <a:pt x="91367" y="37896"/>
                      </a:lnTo>
                      <a:lnTo>
                        <a:pt x="91261" y="36071"/>
                      </a:lnTo>
                      <a:lnTo>
                        <a:pt x="91668" y="34840"/>
                      </a:lnTo>
                      <a:lnTo>
                        <a:pt x="94520" y="34017"/>
                      </a:lnTo>
                      <a:lnTo>
                        <a:pt x="98188" y="33528"/>
                      </a:lnTo>
                      <a:lnTo>
                        <a:pt x="101146" y="34033"/>
                      </a:lnTo>
                      <a:lnTo>
                        <a:pt x="106093" y="33691"/>
                      </a:lnTo>
                      <a:lnTo>
                        <a:pt x="109117" y="33006"/>
                      </a:lnTo>
                      <a:lnTo>
                        <a:pt x="111366" y="33104"/>
                      </a:lnTo>
                      <a:lnTo>
                        <a:pt x="113444" y="33096"/>
                      </a:lnTo>
                      <a:lnTo>
                        <a:pt x="114365" y="32045"/>
                      </a:lnTo>
                      <a:lnTo>
                        <a:pt x="117258" y="29510"/>
                      </a:lnTo>
                      <a:lnTo>
                        <a:pt x="118652" y="28614"/>
                      </a:lnTo>
                      <a:lnTo>
                        <a:pt x="120184" y="26894"/>
                      </a:lnTo>
                      <a:lnTo>
                        <a:pt x="120428" y="25101"/>
                      </a:lnTo>
                      <a:lnTo>
                        <a:pt x="120738" y="23650"/>
                      </a:lnTo>
                      <a:lnTo>
                        <a:pt x="121594" y="22102"/>
                      </a:lnTo>
                      <a:lnTo>
                        <a:pt x="123102" y="20179"/>
                      </a:lnTo>
                      <a:lnTo>
                        <a:pt x="124397" y="19299"/>
                      </a:lnTo>
                      <a:lnTo>
                        <a:pt x="125840" y="19421"/>
                      </a:lnTo>
                      <a:lnTo>
                        <a:pt x="127364" y="20301"/>
                      </a:lnTo>
                      <a:lnTo>
                        <a:pt x="128325" y="21173"/>
                      </a:lnTo>
                      <a:lnTo>
                        <a:pt x="129409" y="20920"/>
                      </a:lnTo>
                      <a:lnTo>
                        <a:pt x="130314" y="19413"/>
                      </a:lnTo>
                      <a:lnTo>
                        <a:pt x="130901" y="19119"/>
                      </a:lnTo>
                      <a:lnTo>
                        <a:pt x="132645" y="18989"/>
                      </a:lnTo>
                      <a:lnTo>
                        <a:pt x="133175" y="18060"/>
                      </a:lnTo>
                      <a:lnTo>
                        <a:pt x="133835" y="13618"/>
                      </a:lnTo>
                      <a:lnTo>
                        <a:pt x="134511" y="10114"/>
                      </a:lnTo>
                      <a:lnTo>
                        <a:pt x="134658" y="7661"/>
                      </a:lnTo>
                      <a:lnTo>
                        <a:pt x="136198" y="3594"/>
                      </a:lnTo>
                      <a:lnTo>
                        <a:pt x="136687" y="1141"/>
                      </a:lnTo>
                      <a:lnTo>
                        <a:pt x="137608" y="0"/>
                      </a:lnTo>
                      <a:lnTo>
                        <a:pt x="138667" y="90"/>
                      </a:lnTo>
                      <a:lnTo>
                        <a:pt x="139637" y="831"/>
                      </a:lnTo>
                      <a:close/>
                    </a:path>
                  </a:pathLst>
                </a:custGeom>
                <a:solidFill>
                  <a:srgbClr val="D6D6D2"/>
                </a:solidFill>
                <a:ln w="6112" cap="rnd">
                  <a:solidFill>
                    <a:srgbClr val="FFFFFF"/>
                  </a:solidFill>
                  <a:prstDash val="solid"/>
                  <a:round/>
                </a:ln>
              </p:spPr>
              <p:txBody>
                <a:bodyPr rtlCol="0" anchor="ctr"/>
                <a:lstStyle/>
                <a:p>
                  <a:endParaRPr lang="en-US"/>
                </a:p>
              </p:txBody>
            </p:sp>
            <p:sp>
              <p:nvSpPr>
                <p:cNvPr id="645" name="Freeform: Shape 644">
                  <a:extLst>
                    <a:ext uri="{FF2B5EF4-FFF2-40B4-BE49-F238E27FC236}">
                      <a16:creationId xmlns:a16="http://schemas.microsoft.com/office/drawing/2014/main" id="{2E4178BD-4A73-4956-943D-71CF76180788}"/>
                    </a:ext>
                  </a:extLst>
                </p:cNvPr>
                <p:cNvSpPr/>
                <p:nvPr/>
              </p:nvSpPr>
              <p:spPr>
                <a:xfrm>
                  <a:off x="4275325" y="3965083"/>
                  <a:ext cx="40756" cy="17668"/>
                </a:xfrm>
                <a:custGeom>
                  <a:avLst/>
                  <a:gdLst>
                    <a:gd name="connsiteX0" fmla="*/ 28149 w 40756"/>
                    <a:gd name="connsiteY0" fmla="*/ 2380 h 17668"/>
                    <a:gd name="connsiteX1" fmla="*/ 28915 w 40756"/>
                    <a:gd name="connsiteY1" fmla="*/ 2983 h 17668"/>
                    <a:gd name="connsiteX2" fmla="*/ 29665 w 40756"/>
                    <a:gd name="connsiteY2" fmla="*/ 2901 h 17668"/>
                    <a:gd name="connsiteX3" fmla="*/ 29062 w 40756"/>
                    <a:gd name="connsiteY3" fmla="*/ 1638 h 17668"/>
                    <a:gd name="connsiteX4" fmla="*/ 29608 w 40756"/>
                    <a:gd name="connsiteY4" fmla="*/ 1638 h 17668"/>
                    <a:gd name="connsiteX5" fmla="*/ 34359 w 40756"/>
                    <a:gd name="connsiteY5" fmla="*/ 2412 h 17668"/>
                    <a:gd name="connsiteX6" fmla="*/ 37415 w 40756"/>
                    <a:gd name="connsiteY6" fmla="*/ 3708 h 17668"/>
                    <a:gd name="connsiteX7" fmla="*/ 40561 w 40756"/>
                    <a:gd name="connsiteY7" fmla="*/ 4336 h 17668"/>
                    <a:gd name="connsiteX8" fmla="*/ 40757 w 40756"/>
                    <a:gd name="connsiteY8" fmla="*/ 8598 h 17668"/>
                    <a:gd name="connsiteX9" fmla="*/ 38336 w 40756"/>
                    <a:gd name="connsiteY9" fmla="*/ 10309 h 17668"/>
                    <a:gd name="connsiteX10" fmla="*/ 36755 w 40756"/>
                    <a:gd name="connsiteY10" fmla="*/ 12094 h 17668"/>
                    <a:gd name="connsiteX11" fmla="*/ 35468 w 40756"/>
                    <a:gd name="connsiteY11" fmla="*/ 14286 h 17668"/>
                    <a:gd name="connsiteX12" fmla="*/ 32077 w 40756"/>
                    <a:gd name="connsiteY12" fmla="*/ 16829 h 17668"/>
                    <a:gd name="connsiteX13" fmla="*/ 27995 w 40756"/>
                    <a:gd name="connsiteY13" fmla="*/ 17595 h 17668"/>
                    <a:gd name="connsiteX14" fmla="*/ 25281 w 40756"/>
                    <a:gd name="connsiteY14" fmla="*/ 17669 h 17668"/>
                    <a:gd name="connsiteX15" fmla="*/ 24270 w 40756"/>
                    <a:gd name="connsiteY15" fmla="*/ 17587 h 17668"/>
                    <a:gd name="connsiteX16" fmla="*/ 23276 w 40756"/>
                    <a:gd name="connsiteY16" fmla="*/ 17147 h 17668"/>
                    <a:gd name="connsiteX17" fmla="*/ 21222 w 40756"/>
                    <a:gd name="connsiteY17" fmla="*/ 17563 h 17668"/>
                    <a:gd name="connsiteX18" fmla="*/ 18688 w 40756"/>
                    <a:gd name="connsiteY18" fmla="*/ 16446 h 17668"/>
                    <a:gd name="connsiteX19" fmla="*/ 16511 w 40756"/>
                    <a:gd name="connsiteY19" fmla="*/ 16731 h 17668"/>
                    <a:gd name="connsiteX20" fmla="*/ 12200 w 40756"/>
                    <a:gd name="connsiteY20" fmla="*/ 16462 h 17668"/>
                    <a:gd name="connsiteX21" fmla="*/ 10578 w 40756"/>
                    <a:gd name="connsiteY21" fmla="*/ 17432 h 17668"/>
                    <a:gd name="connsiteX22" fmla="*/ 9038 w 40756"/>
                    <a:gd name="connsiteY22" fmla="*/ 17652 h 17668"/>
                    <a:gd name="connsiteX23" fmla="*/ 7514 w 40756"/>
                    <a:gd name="connsiteY23" fmla="*/ 17473 h 17668"/>
                    <a:gd name="connsiteX24" fmla="*/ 6226 w 40756"/>
                    <a:gd name="connsiteY24" fmla="*/ 17033 h 17668"/>
                    <a:gd name="connsiteX25" fmla="*/ 3024 w 40756"/>
                    <a:gd name="connsiteY25" fmla="*/ 17074 h 17668"/>
                    <a:gd name="connsiteX26" fmla="*/ 1671 w 40756"/>
                    <a:gd name="connsiteY26" fmla="*/ 16226 h 17668"/>
                    <a:gd name="connsiteX27" fmla="*/ 2225 w 40756"/>
                    <a:gd name="connsiteY27" fmla="*/ 11369 h 17668"/>
                    <a:gd name="connsiteX28" fmla="*/ 2266 w 40756"/>
                    <a:gd name="connsiteY28" fmla="*/ 9160 h 17668"/>
                    <a:gd name="connsiteX29" fmla="*/ 1483 w 40756"/>
                    <a:gd name="connsiteY29" fmla="*/ 7343 h 17668"/>
                    <a:gd name="connsiteX30" fmla="*/ 620 w 40756"/>
                    <a:gd name="connsiteY30" fmla="*/ 6194 h 17668"/>
                    <a:gd name="connsiteX31" fmla="*/ 0 w 40756"/>
                    <a:gd name="connsiteY31" fmla="*/ 4841 h 17668"/>
                    <a:gd name="connsiteX32" fmla="*/ 1255 w 40756"/>
                    <a:gd name="connsiteY32" fmla="*/ 3953 h 17668"/>
                    <a:gd name="connsiteX33" fmla="*/ 2282 w 40756"/>
                    <a:gd name="connsiteY33" fmla="*/ 2657 h 17668"/>
                    <a:gd name="connsiteX34" fmla="*/ 2608 w 40756"/>
                    <a:gd name="connsiteY34" fmla="*/ 701 h 17668"/>
                    <a:gd name="connsiteX35" fmla="*/ 3741 w 40756"/>
                    <a:gd name="connsiteY35" fmla="*/ 220 h 17668"/>
                    <a:gd name="connsiteX36" fmla="*/ 5069 w 40756"/>
                    <a:gd name="connsiteY36" fmla="*/ 0 h 17668"/>
                    <a:gd name="connsiteX37" fmla="*/ 11190 w 40756"/>
                    <a:gd name="connsiteY37" fmla="*/ 905 h 17668"/>
                    <a:gd name="connsiteX38" fmla="*/ 26674 w 40756"/>
                    <a:gd name="connsiteY38" fmla="*/ 1418 h 17668"/>
                    <a:gd name="connsiteX39" fmla="*/ 27554 w 40756"/>
                    <a:gd name="connsiteY39" fmla="*/ 1581 h 17668"/>
                    <a:gd name="connsiteX40" fmla="*/ 28149 w 40756"/>
                    <a:gd name="connsiteY40" fmla="*/ 2380 h 17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756" h="17668">
                      <a:moveTo>
                        <a:pt x="28149" y="2380"/>
                      </a:moveTo>
                      <a:lnTo>
                        <a:pt x="28915" y="2983"/>
                      </a:lnTo>
                      <a:lnTo>
                        <a:pt x="29665" y="2901"/>
                      </a:lnTo>
                      <a:lnTo>
                        <a:pt x="29062" y="1638"/>
                      </a:lnTo>
                      <a:lnTo>
                        <a:pt x="29608" y="1638"/>
                      </a:lnTo>
                      <a:lnTo>
                        <a:pt x="34359" y="2412"/>
                      </a:lnTo>
                      <a:lnTo>
                        <a:pt x="37415" y="3708"/>
                      </a:lnTo>
                      <a:lnTo>
                        <a:pt x="40561" y="4336"/>
                      </a:lnTo>
                      <a:lnTo>
                        <a:pt x="40757" y="8598"/>
                      </a:lnTo>
                      <a:lnTo>
                        <a:pt x="38336" y="10309"/>
                      </a:lnTo>
                      <a:lnTo>
                        <a:pt x="36755" y="12094"/>
                      </a:lnTo>
                      <a:lnTo>
                        <a:pt x="35468" y="14286"/>
                      </a:lnTo>
                      <a:lnTo>
                        <a:pt x="32077" y="16829"/>
                      </a:lnTo>
                      <a:lnTo>
                        <a:pt x="27995" y="17595"/>
                      </a:lnTo>
                      <a:lnTo>
                        <a:pt x="25281" y="17669"/>
                      </a:lnTo>
                      <a:lnTo>
                        <a:pt x="24270" y="17587"/>
                      </a:lnTo>
                      <a:lnTo>
                        <a:pt x="23276" y="17147"/>
                      </a:lnTo>
                      <a:lnTo>
                        <a:pt x="21222" y="17563"/>
                      </a:lnTo>
                      <a:lnTo>
                        <a:pt x="18688" y="16446"/>
                      </a:lnTo>
                      <a:lnTo>
                        <a:pt x="16511" y="16731"/>
                      </a:lnTo>
                      <a:lnTo>
                        <a:pt x="12200" y="16462"/>
                      </a:lnTo>
                      <a:lnTo>
                        <a:pt x="10578" y="17432"/>
                      </a:lnTo>
                      <a:lnTo>
                        <a:pt x="9038" y="17652"/>
                      </a:lnTo>
                      <a:lnTo>
                        <a:pt x="7514" y="17473"/>
                      </a:lnTo>
                      <a:lnTo>
                        <a:pt x="6226" y="17033"/>
                      </a:lnTo>
                      <a:lnTo>
                        <a:pt x="3024" y="17074"/>
                      </a:lnTo>
                      <a:lnTo>
                        <a:pt x="1671" y="16226"/>
                      </a:lnTo>
                      <a:lnTo>
                        <a:pt x="2225" y="11369"/>
                      </a:lnTo>
                      <a:lnTo>
                        <a:pt x="2266" y="9160"/>
                      </a:lnTo>
                      <a:lnTo>
                        <a:pt x="1483" y="7343"/>
                      </a:lnTo>
                      <a:lnTo>
                        <a:pt x="620" y="6194"/>
                      </a:lnTo>
                      <a:lnTo>
                        <a:pt x="0" y="4841"/>
                      </a:lnTo>
                      <a:lnTo>
                        <a:pt x="1255" y="3953"/>
                      </a:lnTo>
                      <a:lnTo>
                        <a:pt x="2282" y="2657"/>
                      </a:lnTo>
                      <a:lnTo>
                        <a:pt x="2608" y="701"/>
                      </a:lnTo>
                      <a:lnTo>
                        <a:pt x="3741" y="220"/>
                      </a:lnTo>
                      <a:lnTo>
                        <a:pt x="5069" y="0"/>
                      </a:lnTo>
                      <a:lnTo>
                        <a:pt x="11190" y="905"/>
                      </a:lnTo>
                      <a:lnTo>
                        <a:pt x="26674" y="1418"/>
                      </a:lnTo>
                      <a:lnTo>
                        <a:pt x="27554" y="1581"/>
                      </a:lnTo>
                      <a:lnTo>
                        <a:pt x="28149" y="2380"/>
                      </a:lnTo>
                      <a:close/>
                    </a:path>
                  </a:pathLst>
                </a:custGeom>
                <a:solidFill>
                  <a:srgbClr val="D6D6D2"/>
                </a:solidFill>
                <a:ln w="8150" cap="flat">
                  <a:noFill/>
                  <a:prstDash val="solid"/>
                  <a:miter/>
                </a:ln>
              </p:spPr>
              <p:txBody>
                <a:bodyPr rtlCol="0" anchor="ctr"/>
                <a:lstStyle/>
                <a:p>
                  <a:endParaRPr lang="en-US"/>
                </a:p>
              </p:txBody>
            </p:sp>
            <p:sp>
              <p:nvSpPr>
                <p:cNvPr id="646" name="Freeform: Shape 645">
                  <a:extLst>
                    <a:ext uri="{FF2B5EF4-FFF2-40B4-BE49-F238E27FC236}">
                      <a16:creationId xmlns:a16="http://schemas.microsoft.com/office/drawing/2014/main" id="{1B297ED3-28A2-408A-AA7B-93379A401861}"/>
                    </a:ext>
                  </a:extLst>
                </p:cNvPr>
                <p:cNvSpPr/>
                <p:nvPr/>
              </p:nvSpPr>
              <p:spPr>
                <a:xfrm>
                  <a:off x="6294054" y="2744717"/>
                  <a:ext cx="247450" cy="215552"/>
                </a:xfrm>
                <a:custGeom>
                  <a:avLst/>
                  <a:gdLst>
                    <a:gd name="connsiteX0" fmla="*/ 135807 w 247450"/>
                    <a:gd name="connsiteY0" fmla="*/ 14376 h 215552"/>
                    <a:gd name="connsiteX1" fmla="*/ 136793 w 247450"/>
                    <a:gd name="connsiteY1" fmla="*/ 14841 h 215552"/>
                    <a:gd name="connsiteX2" fmla="*/ 143737 w 247450"/>
                    <a:gd name="connsiteY2" fmla="*/ 15330 h 215552"/>
                    <a:gd name="connsiteX3" fmla="*/ 150786 w 247450"/>
                    <a:gd name="connsiteY3" fmla="*/ 15835 h 215552"/>
                    <a:gd name="connsiteX4" fmla="*/ 162098 w 247450"/>
                    <a:gd name="connsiteY4" fmla="*/ 16373 h 215552"/>
                    <a:gd name="connsiteX5" fmla="*/ 173916 w 247450"/>
                    <a:gd name="connsiteY5" fmla="*/ 16935 h 215552"/>
                    <a:gd name="connsiteX6" fmla="*/ 186156 w 247450"/>
                    <a:gd name="connsiteY6" fmla="*/ 17506 h 215552"/>
                    <a:gd name="connsiteX7" fmla="*/ 199408 w 247450"/>
                    <a:gd name="connsiteY7" fmla="*/ 18141 h 215552"/>
                    <a:gd name="connsiteX8" fmla="*/ 213368 w 247450"/>
                    <a:gd name="connsiteY8" fmla="*/ 18508 h 215552"/>
                    <a:gd name="connsiteX9" fmla="*/ 214224 w 247450"/>
                    <a:gd name="connsiteY9" fmla="*/ 18255 h 215552"/>
                    <a:gd name="connsiteX10" fmla="*/ 215658 w 247450"/>
                    <a:gd name="connsiteY10" fmla="*/ 16780 h 215552"/>
                    <a:gd name="connsiteX11" fmla="*/ 217394 w 247450"/>
                    <a:gd name="connsiteY11" fmla="*/ 16968 h 215552"/>
                    <a:gd name="connsiteX12" fmla="*/ 219448 w 247450"/>
                    <a:gd name="connsiteY12" fmla="*/ 17889 h 215552"/>
                    <a:gd name="connsiteX13" fmla="*/ 220418 w 247450"/>
                    <a:gd name="connsiteY13" fmla="*/ 18573 h 215552"/>
                    <a:gd name="connsiteX14" fmla="*/ 220809 w 247450"/>
                    <a:gd name="connsiteY14" fmla="*/ 19348 h 215552"/>
                    <a:gd name="connsiteX15" fmla="*/ 221078 w 247450"/>
                    <a:gd name="connsiteY15" fmla="*/ 20244 h 215552"/>
                    <a:gd name="connsiteX16" fmla="*/ 222194 w 247450"/>
                    <a:gd name="connsiteY16" fmla="*/ 20423 h 215552"/>
                    <a:gd name="connsiteX17" fmla="*/ 224248 w 247450"/>
                    <a:gd name="connsiteY17" fmla="*/ 21100 h 215552"/>
                    <a:gd name="connsiteX18" fmla="*/ 227027 w 247450"/>
                    <a:gd name="connsiteY18" fmla="*/ 22656 h 215552"/>
                    <a:gd name="connsiteX19" fmla="*/ 229211 w 247450"/>
                    <a:gd name="connsiteY19" fmla="*/ 24156 h 215552"/>
                    <a:gd name="connsiteX20" fmla="*/ 231282 w 247450"/>
                    <a:gd name="connsiteY20" fmla="*/ 26316 h 215552"/>
                    <a:gd name="connsiteX21" fmla="*/ 231966 w 247450"/>
                    <a:gd name="connsiteY21" fmla="*/ 28744 h 215552"/>
                    <a:gd name="connsiteX22" fmla="*/ 232015 w 247450"/>
                    <a:gd name="connsiteY22" fmla="*/ 31507 h 215552"/>
                    <a:gd name="connsiteX23" fmla="*/ 231876 w 247450"/>
                    <a:gd name="connsiteY23" fmla="*/ 33275 h 215552"/>
                    <a:gd name="connsiteX24" fmla="*/ 232048 w 247450"/>
                    <a:gd name="connsiteY24" fmla="*/ 34001 h 215552"/>
                    <a:gd name="connsiteX25" fmla="*/ 234875 w 247450"/>
                    <a:gd name="connsiteY25" fmla="*/ 46820 h 215552"/>
                    <a:gd name="connsiteX26" fmla="*/ 239602 w 247450"/>
                    <a:gd name="connsiteY26" fmla="*/ 59135 h 215552"/>
                    <a:gd name="connsiteX27" fmla="*/ 241330 w 247450"/>
                    <a:gd name="connsiteY27" fmla="*/ 65084 h 215552"/>
                    <a:gd name="connsiteX28" fmla="*/ 242031 w 247450"/>
                    <a:gd name="connsiteY28" fmla="*/ 68238 h 215552"/>
                    <a:gd name="connsiteX29" fmla="*/ 242577 w 247450"/>
                    <a:gd name="connsiteY29" fmla="*/ 72826 h 215552"/>
                    <a:gd name="connsiteX30" fmla="*/ 242756 w 247450"/>
                    <a:gd name="connsiteY30" fmla="*/ 76045 h 215552"/>
                    <a:gd name="connsiteX31" fmla="*/ 242732 w 247450"/>
                    <a:gd name="connsiteY31" fmla="*/ 77854 h 215552"/>
                    <a:gd name="connsiteX32" fmla="*/ 242381 w 247450"/>
                    <a:gd name="connsiteY32" fmla="*/ 80340 h 215552"/>
                    <a:gd name="connsiteX33" fmla="*/ 240979 w 247450"/>
                    <a:gd name="connsiteY33" fmla="*/ 81807 h 215552"/>
                    <a:gd name="connsiteX34" fmla="*/ 231917 w 247450"/>
                    <a:gd name="connsiteY34" fmla="*/ 86004 h 215552"/>
                    <a:gd name="connsiteX35" fmla="*/ 230222 w 247450"/>
                    <a:gd name="connsiteY35" fmla="*/ 87324 h 215552"/>
                    <a:gd name="connsiteX36" fmla="*/ 227557 w 247450"/>
                    <a:gd name="connsiteY36" fmla="*/ 90592 h 215552"/>
                    <a:gd name="connsiteX37" fmla="*/ 225088 w 247450"/>
                    <a:gd name="connsiteY37" fmla="*/ 93958 h 215552"/>
                    <a:gd name="connsiteX38" fmla="*/ 224525 w 247450"/>
                    <a:gd name="connsiteY38" fmla="*/ 95099 h 215552"/>
                    <a:gd name="connsiteX39" fmla="*/ 224370 w 247450"/>
                    <a:gd name="connsiteY39" fmla="*/ 95865 h 215552"/>
                    <a:gd name="connsiteX40" fmla="*/ 224908 w 247450"/>
                    <a:gd name="connsiteY40" fmla="*/ 96966 h 215552"/>
                    <a:gd name="connsiteX41" fmla="*/ 228144 w 247450"/>
                    <a:gd name="connsiteY41" fmla="*/ 98767 h 215552"/>
                    <a:gd name="connsiteX42" fmla="*/ 231395 w 247450"/>
                    <a:gd name="connsiteY42" fmla="*/ 100201 h 215552"/>
                    <a:gd name="connsiteX43" fmla="*/ 232455 w 247450"/>
                    <a:gd name="connsiteY43" fmla="*/ 101285 h 215552"/>
                    <a:gd name="connsiteX44" fmla="*/ 234851 w 247450"/>
                    <a:gd name="connsiteY44" fmla="*/ 102678 h 215552"/>
                    <a:gd name="connsiteX45" fmla="*/ 235731 w 247450"/>
                    <a:gd name="connsiteY45" fmla="*/ 103917 h 215552"/>
                    <a:gd name="connsiteX46" fmla="*/ 236203 w 247450"/>
                    <a:gd name="connsiteY46" fmla="*/ 105001 h 215552"/>
                    <a:gd name="connsiteX47" fmla="*/ 236171 w 247450"/>
                    <a:gd name="connsiteY47" fmla="*/ 107495 h 215552"/>
                    <a:gd name="connsiteX48" fmla="*/ 235087 w 247450"/>
                    <a:gd name="connsiteY48" fmla="*/ 110950 h 215552"/>
                    <a:gd name="connsiteX49" fmla="*/ 235543 w 247450"/>
                    <a:gd name="connsiteY49" fmla="*/ 113558 h 215552"/>
                    <a:gd name="connsiteX50" fmla="*/ 234443 w 247450"/>
                    <a:gd name="connsiteY50" fmla="*/ 115294 h 215552"/>
                    <a:gd name="connsiteX51" fmla="*/ 233539 w 247450"/>
                    <a:gd name="connsiteY51" fmla="*/ 117218 h 215552"/>
                    <a:gd name="connsiteX52" fmla="*/ 233408 w 247450"/>
                    <a:gd name="connsiteY52" fmla="*/ 120600 h 215552"/>
                    <a:gd name="connsiteX53" fmla="*/ 235046 w 247450"/>
                    <a:gd name="connsiteY53" fmla="*/ 124324 h 215552"/>
                    <a:gd name="connsiteX54" fmla="*/ 236367 w 247450"/>
                    <a:gd name="connsiteY54" fmla="*/ 126867 h 215552"/>
                    <a:gd name="connsiteX55" fmla="*/ 236880 w 247450"/>
                    <a:gd name="connsiteY55" fmla="*/ 128864 h 215552"/>
                    <a:gd name="connsiteX56" fmla="*/ 236342 w 247450"/>
                    <a:gd name="connsiteY56" fmla="*/ 130428 h 215552"/>
                    <a:gd name="connsiteX57" fmla="*/ 236505 w 247450"/>
                    <a:gd name="connsiteY57" fmla="*/ 131985 h 215552"/>
                    <a:gd name="connsiteX58" fmla="*/ 237687 w 247450"/>
                    <a:gd name="connsiteY58" fmla="*/ 133647 h 215552"/>
                    <a:gd name="connsiteX59" fmla="*/ 241452 w 247450"/>
                    <a:gd name="connsiteY59" fmla="*/ 138757 h 215552"/>
                    <a:gd name="connsiteX60" fmla="*/ 243286 w 247450"/>
                    <a:gd name="connsiteY60" fmla="*/ 143672 h 215552"/>
                    <a:gd name="connsiteX61" fmla="*/ 244476 w 247450"/>
                    <a:gd name="connsiteY61" fmla="*/ 145587 h 215552"/>
                    <a:gd name="connsiteX62" fmla="*/ 247206 w 247450"/>
                    <a:gd name="connsiteY62" fmla="*/ 148073 h 215552"/>
                    <a:gd name="connsiteX63" fmla="*/ 247450 w 247450"/>
                    <a:gd name="connsiteY63" fmla="*/ 149091 h 215552"/>
                    <a:gd name="connsiteX64" fmla="*/ 246350 w 247450"/>
                    <a:gd name="connsiteY64" fmla="*/ 150029 h 215552"/>
                    <a:gd name="connsiteX65" fmla="*/ 245478 w 247450"/>
                    <a:gd name="connsiteY65" fmla="*/ 150151 h 215552"/>
                    <a:gd name="connsiteX66" fmla="*/ 244761 w 247450"/>
                    <a:gd name="connsiteY66" fmla="*/ 150403 h 215552"/>
                    <a:gd name="connsiteX67" fmla="*/ 244288 w 247450"/>
                    <a:gd name="connsiteY67" fmla="*/ 151275 h 215552"/>
                    <a:gd name="connsiteX68" fmla="*/ 245014 w 247450"/>
                    <a:gd name="connsiteY68" fmla="*/ 152213 h 215552"/>
                    <a:gd name="connsiteX69" fmla="*/ 245975 w 247450"/>
                    <a:gd name="connsiteY69" fmla="*/ 153574 h 215552"/>
                    <a:gd name="connsiteX70" fmla="*/ 247182 w 247450"/>
                    <a:gd name="connsiteY70" fmla="*/ 157453 h 215552"/>
                    <a:gd name="connsiteX71" fmla="*/ 247059 w 247450"/>
                    <a:gd name="connsiteY71" fmla="*/ 160623 h 215552"/>
                    <a:gd name="connsiteX72" fmla="*/ 246130 w 247450"/>
                    <a:gd name="connsiteY72" fmla="*/ 161430 h 215552"/>
                    <a:gd name="connsiteX73" fmla="*/ 244948 w 247450"/>
                    <a:gd name="connsiteY73" fmla="*/ 163312 h 215552"/>
                    <a:gd name="connsiteX74" fmla="*/ 244150 w 247450"/>
                    <a:gd name="connsiteY74" fmla="*/ 165024 h 215552"/>
                    <a:gd name="connsiteX75" fmla="*/ 237679 w 247450"/>
                    <a:gd name="connsiteY75" fmla="*/ 166222 h 215552"/>
                    <a:gd name="connsiteX76" fmla="*/ 236130 w 247450"/>
                    <a:gd name="connsiteY76" fmla="*/ 168064 h 215552"/>
                    <a:gd name="connsiteX77" fmla="*/ 232577 w 247450"/>
                    <a:gd name="connsiteY77" fmla="*/ 171617 h 215552"/>
                    <a:gd name="connsiteX78" fmla="*/ 230165 w 247450"/>
                    <a:gd name="connsiteY78" fmla="*/ 173654 h 215552"/>
                    <a:gd name="connsiteX79" fmla="*/ 226579 w 247450"/>
                    <a:gd name="connsiteY79" fmla="*/ 177346 h 215552"/>
                    <a:gd name="connsiteX80" fmla="*/ 220931 w 247450"/>
                    <a:gd name="connsiteY80" fmla="*/ 183679 h 215552"/>
                    <a:gd name="connsiteX81" fmla="*/ 218837 w 247450"/>
                    <a:gd name="connsiteY81" fmla="*/ 186319 h 215552"/>
                    <a:gd name="connsiteX82" fmla="*/ 217312 w 247450"/>
                    <a:gd name="connsiteY82" fmla="*/ 188512 h 215552"/>
                    <a:gd name="connsiteX83" fmla="*/ 212733 w 247450"/>
                    <a:gd name="connsiteY83" fmla="*/ 194330 h 215552"/>
                    <a:gd name="connsiteX84" fmla="*/ 211330 w 247450"/>
                    <a:gd name="connsiteY84" fmla="*/ 196767 h 215552"/>
                    <a:gd name="connsiteX85" fmla="*/ 211616 w 247450"/>
                    <a:gd name="connsiteY85" fmla="*/ 198780 h 215552"/>
                    <a:gd name="connsiteX86" fmla="*/ 213083 w 247450"/>
                    <a:gd name="connsiteY86" fmla="*/ 203491 h 215552"/>
                    <a:gd name="connsiteX87" fmla="*/ 213384 w 247450"/>
                    <a:gd name="connsiteY87" fmla="*/ 205610 h 215552"/>
                    <a:gd name="connsiteX88" fmla="*/ 213140 w 247450"/>
                    <a:gd name="connsiteY88" fmla="*/ 207582 h 215552"/>
                    <a:gd name="connsiteX89" fmla="*/ 212651 w 247450"/>
                    <a:gd name="connsiteY89" fmla="*/ 209326 h 215552"/>
                    <a:gd name="connsiteX90" fmla="*/ 212716 w 247450"/>
                    <a:gd name="connsiteY90" fmla="*/ 210108 h 215552"/>
                    <a:gd name="connsiteX91" fmla="*/ 214077 w 247450"/>
                    <a:gd name="connsiteY91" fmla="*/ 211371 h 215552"/>
                    <a:gd name="connsiteX92" fmla="*/ 216237 w 247450"/>
                    <a:gd name="connsiteY92" fmla="*/ 213368 h 215552"/>
                    <a:gd name="connsiteX93" fmla="*/ 216359 w 247450"/>
                    <a:gd name="connsiteY93" fmla="*/ 214028 h 215552"/>
                    <a:gd name="connsiteX94" fmla="*/ 216049 w 247450"/>
                    <a:gd name="connsiteY94" fmla="*/ 214892 h 215552"/>
                    <a:gd name="connsiteX95" fmla="*/ 215308 w 247450"/>
                    <a:gd name="connsiteY95" fmla="*/ 215552 h 215552"/>
                    <a:gd name="connsiteX96" fmla="*/ 212618 w 247450"/>
                    <a:gd name="connsiteY96" fmla="*/ 214851 h 215552"/>
                    <a:gd name="connsiteX97" fmla="*/ 209603 w 247450"/>
                    <a:gd name="connsiteY97" fmla="*/ 213507 h 215552"/>
                    <a:gd name="connsiteX98" fmla="*/ 208584 w 247450"/>
                    <a:gd name="connsiteY98" fmla="*/ 213678 h 215552"/>
                    <a:gd name="connsiteX99" fmla="*/ 206954 w 247450"/>
                    <a:gd name="connsiteY99" fmla="*/ 213368 h 215552"/>
                    <a:gd name="connsiteX100" fmla="*/ 200247 w 247450"/>
                    <a:gd name="connsiteY100" fmla="*/ 210760 h 215552"/>
                    <a:gd name="connsiteX101" fmla="*/ 195716 w 247450"/>
                    <a:gd name="connsiteY101" fmla="*/ 208723 h 215552"/>
                    <a:gd name="connsiteX102" fmla="*/ 195276 w 247450"/>
                    <a:gd name="connsiteY102" fmla="*/ 207394 h 215552"/>
                    <a:gd name="connsiteX103" fmla="*/ 194420 w 247450"/>
                    <a:gd name="connsiteY103" fmla="*/ 205471 h 215552"/>
                    <a:gd name="connsiteX104" fmla="*/ 192505 w 247450"/>
                    <a:gd name="connsiteY104" fmla="*/ 203866 h 215552"/>
                    <a:gd name="connsiteX105" fmla="*/ 188080 w 247450"/>
                    <a:gd name="connsiteY105" fmla="*/ 202464 h 215552"/>
                    <a:gd name="connsiteX106" fmla="*/ 186286 w 247450"/>
                    <a:gd name="connsiteY106" fmla="*/ 201380 h 215552"/>
                    <a:gd name="connsiteX107" fmla="*/ 179107 w 247450"/>
                    <a:gd name="connsiteY107" fmla="*/ 200777 h 215552"/>
                    <a:gd name="connsiteX108" fmla="*/ 175993 w 247450"/>
                    <a:gd name="connsiteY108" fmla="*/ 200744 h 215552"/>
                    <a:gd name="connsiteX109" fmla="*/ 173801 w 247450"/>
                    <a:gd name="connsiteY109" fmla="*/ 201193 h 215552"/>
                    <a:gd name="connsiteX110" fmla="*/ 172391 w 247450"/>
                    <a:gd name="connsiteY110" fmla="*/ 201152 h 215552"/>
                    <a:gd name="connsiteX111" fmla="*/ 170451 w 247450"/>
                    <a:gd name="connsiteY111" fmla="*/ 203996 h 215552"/>
                    <a:gd name="connsiteX112" fmla="*/ 169115 w 247450"/>
                    <a:gd name="connsiteY112" fmla="*/ 204819 h 215552"/>
                    <a:gd name="connsiteX113" fmla="*/ 167159 w 247450"/>
                    <a:gd name="connsiteY113" fmla="*/ 204909 h 215552"/>
                    <a:gd name="connsiteX114" fmla="*/ 165456 w 247450"/>
                    <a:gd name="connsiteY114" fmla="*/ 204404 h 215552"/>
                    <a:gd name="connsiteX115" fmla="*/ 163712 w 247450"/>
                    <a:gd name="connsiteY115" fmla="*/ 202904 h 215552"/>
                    <a:gd name="connsiteX116" fmla="*/ 160908 w 247450"/>
                    <a:gd name="connsiteY116" fmla="*/ 202113 h 215552"/>
                    <a:gd name="connsiteX117" fmla="*/ 158879 w 247450"/>
                    <a:gd name="connsiteY117" fmla="*/ 202496 h 215552"/>
                    <a:gd name="connsiteX118" fmla="*/ 157388 w 247450"/>
                    <a:gd name="connsiteY118" fmla="*/ 202170 h 215552"/>
                    <a:gd name="connsiteX119" fmla="*/ 156100 w 247450"/>
                    <a:gd name="connsiteY119" fmla="*/ 202097 h 215552"/>
                    <a:gd name="connsiteX120" fmla="*/ 155652 w 247450"/>
                    <a:gd name="connsiteY120" fmla="*/ 202390 h 215552"/>
                    <a:gd name="connsiteX121" fmla="*/ 154625 w 247450"/>
                    <a:gd name="connsiteY121" fmla="*/ 202358 h 215552"/>
                    <a:gd name="connsiteX122" fmla="*/ 153125 w 247450"/>
                    <a:gd name="connsiteY122" fmla="*/ 203059 h 215552"/>
                    <a:gd name="connsiteX123" fmla="*/ 151495 w 247450"/>
                    <a:gd name="connsiteY123" fmla="*/ 204069 h 215552"/>
                    <a:gd name="connsiteX124" fmla="*/ 149678 w 247450"/>
                    <a:gd name="connsiteY124" fmla="*/ 204852 h 215552"/>
                    <a:gd name="connsiteX125" fmla="*/ 148284 w 247450"/>
                    <a:gd name="connsiteY125" fmla="*/ 206506 h 215552"/>
                    <a:gd name="connsiteX126" fmla="*/ 147045 w 247450"/>
                    <a:gd name="connsiteY126" fmla="*/ 209742 h 215552"/>
                    <a:gd name="connsiteX127" fmla="*/ 143550 w 247450"/>
                    <a:gd name="connsiteY127" fmla="*/ 208291 h 215552"/>
                    <a:gd name="connsiteX128" fmla="*/ 142368 w 247450"/>
                    <a:gd name="connsiteY128" fmla="*/ 208918 h 215552"/>
                    <a:gd name="connsiteX129" fmla="*/ 140713 w 247450"/>
                    <a:gd name="connsiteY129" fmla="*/ 209342 h 215552"/>
                    <a:gd name="connsiteX130" fmla="*/ 139589 w 247450"/>
                    <a:gd name="connsiteY130" fmla="*/ 208910 h 215552"/>
                    <a:gd name="connsiteX131" fmla="*/ 139849 w 247450"/>
                    <a:gd name="connsiteY131" fmla="*/ 207794 h 215552"/>
                    <a:gd name="connsiteX132" fmla="*/ 140363 w 247450"/>
                    <a:gd name="connsiteY132" fmla="*/ 206531 h 215552"/>
                    <a:gd name="connsiteX133" fmla="*/ 140338 w 247450"/>
                    <a:gd name="connsiteY133" fmla="*/ 204770 h 215552"/>
                    <a:gd name="connsiteX134" fmla="*/ 140012 w 247450"/>
                    <a:gd name="connsiteY134" fmla="*/ 202831 h 215552"/>
                    <a:gd name="connsiteX135" fmla="*/ 138921 w 247450"/>
                    <a:gd name="connsiteY135" fmla="*/ 202195 h 215552"/>
                    <a:gd name="connsiteX136" fmla="*/ 137282 w 247450"/>
                    <a:gd name="connsiteY136" fmla="*/ 201959 h 215552"/>
                    <a:gd name="connsiteX137" fmla="*/ 136451 w 247450"/>
                    <a:gd name="connsiteY137" fmla="*/ 201576 h 215552"/>
                    <a:gd name="connsiteX138" fmla="*/ 136353 w 247450"/>
                    <a:gd name="connsiteY138" fmla="*/ 200932 h 215552"/>
                    <a:gd name="connsiteX139" fmla="*/ 135530 w 247450"/>
                    <a:gd name="connsiteY139" fmla="*/ 200100 h 215552"/>
                    <a:gd name="connsiteX140" fmla="*/ 134088 w 247450"/>
                    <a:gd name="connsiteY140" fmla="*/ 198006 h 215552"/>
                    <a:gd name="connsiteX141" fmla="*/ 132710 w 247450"/>
                    <a:gd name="connsiteY141" fmla="*/ 195414 h 215552"/>
                    <a:gd name="connsiteX142" fmla="*/ 131773 w 247450"/>
                    <a:gd name="connsiteY142" fmla="*/ 194640 h 215552"/>
                    <a:gd name="connsiteX143" fmla="*/ 130396 w 247450"/>
                    <a:gd name="connsiteY143" fmla="*/ 195879 h 215552"/>
                    <a:gd name="connsiteX144" fmla="*/ 128318 w 247450"/>
                    <a:gd name="connsiteY144" fmla="*/ 197281 h 215552"/>
                    <a:gd name="connsiteX145" fmla="*/ 127022 w 247450"/>
                    <a:gd name="connsiteY145" fmla="*/ 197770 h 215552"/>
                    <a:gd name="connsiteX146" fmla="*/ 124528 w 247450"/>
                    <a:gd name="connsiteY146" fmla="*/ 201812 h 215552"/>
                    <a:gd name="connsiteX147" fmla="*/ 120037 w 247450"/>
                    <a:gd name="connsiteY147" fmla="*/ 201950 h 215552"/>
                    <a:gd name="connsiteX148" fmla="*/ 119752 w 247450"/>
                    <a:gd name="connsiteY148" fmla="*/ 200060 h 215552"/>
                    <a:gd name="connsiteX149" fmla="*/ 119279 w 247450"/>
                    <a:gd name="connsiteY149" fmla="*/ 198250 h 215552"/>
                    <a:gd name="connsiteX150" fmla="*/ 116655 w 247450"/>
                    <a:gd name="connsiteY150" fmla="*/ 197794 h 215552"/>
                    <a:gd name="connsiteX151" fmla="*/ 116582 w 247450"/>
                    <a:gd name="connsiteY151" fmla="*/ 196726 h 215552"/>
                    <a:gd name="connsiteX152" fmla="*/ 116028 w 247450"/>
                    <a:gd name="connsiteY152" fmla="*/ 194053 h 215552"/>
                    <a:gd name="connsiteX153" fmla="*/ 110771 w 247450"/>
                    <a:gd name="connsiteY153" fmla="*/ 188813 h 215552"/>
                    <a:gd name="connsiteX154" fmla="*/ 110127 w 247450"/>
                    <a:gd name="connsiteY154" fmla="*/ 186637 h 215552"/>
                    <a:gd name="connsiteX155" fmla="*/ 110331 w 247450"/>
                    <a:gd name="connsiteY155" fmla="*/ 185789 h 215552"/>
                    <a:gd name="connsiteX156" fmla="*/ 109964 w 247450"/>
                    <a:gd name="connsiteY156" fmla="*/ 184396 h 215552"/>
                    <a:gd name="connsiteX157" fmla="*/ 108815 w 247450"/>
                    <a:gd name="connsiteY157" fmla="*/ 183557 h 215552"/>
                    <a:gd name="connsiteX158" fmla="*/ 104659 w 247450"/>
                    <a:gd name="connsiteY158" fmla="*/ 182554 h 215552"/>
                    <a:gd name="connsiteX159" fmla="*/ 103583 w 247450"/>
                    <a:gd name="connsiteY159" fmla="*/ 183133 h 215552"/>
                    <a:gd name="connsiteX160" fmla="*/ 102621 w 247450"/>
                    <a:gd name="connsiteY160" fmla="*/ 182546 h 215552"/>
                    <a:gd name="connsiteX161" fmla="*/ 101106 w 247450"/>
                    <a:gd name="connsiteY161" fmla="*/ 181283 h 215552"/>
                    <a:gd name="connsiteX162" fmla="*/ 98473 w 247450"/>
                    <a:gd name="connsiteY162" fmla="*/ 180264 h 215552"/>
                    <a:gd name="connsiteX163" fmla="*/ 98196 w 247450"/>
                    <a:gd name="connsiteY163" fmla="*/ 179734 h 215552"/>
                    <a:gd name="connsiteX164" fmla="*/ 97243 w 247450"/>
                    <a:gd name="connsiteY164" fmla="*/ 178838 h 215552"/>
                    <a:gd name="connsiteX165" fmla="*/ 96721 w 247450"/>
                    <a:gd name="connsiteY165" fmla="*/ 178715 h 215552"/>
                    <a:gd name="connsiteX166" fmla="*/ 96379 w 247450"/>
                    <a:gd name="connsiteY166" fmla="*/ 179270 h 215552"/>
                    <a:gd name="connsiteX167" fmla="*/ 95613 w 247450"/>
                    <a:gd name="connsiteY167" fmla="*/ 180036 h 215552"/>
                    <a:gd name="connsiteX168" fmla="*/ 92907 w 247450"/>
                    <a:gd name="connsiteY168" fmla="*/ 181006 h 215552"/>
                    <a:gd name="connsiteX169" fmla="*/ 91831 w 247450"/>
                    <a:gd name="connsiteY169" fmla="*/ 180614 h 215552"/>
                    <a:gd name="connsiteX170" fmla="*/ 90845 w 247450"/>
                    <a:gd name="connsiteY170" fmla="*/ 179759 h 215552"/>
                    <a:gd name="connsiteX171" fmla="*/ 89729 w 247450"/>
                    <a:gd name="connsiteY171" fmla="*/ 177933 h 215552"/>
                    <a:gd name="connsiteX172" fmla="*/ 88107 w 247450"/>
                    <a:gd name="connsiteY172" fmla="*/ 176328 h 215552"/>
                    <a:gd name="connsiteX173" fmla="*/ 86762 w 247450"/>
                    <a:gd name="connsiteY173" fmla="*/ 175749 h 215552"/>
                    <a:gd name="connsiteX174" fmla="*/ 86004 w 247450"/>
                    <a:gd name="connsiteY174" fmla="*/ 174910 h 215552"/>
                    <a:gd name="connsiteX175" fmla="*/ 85833 w 247450"/>
                    <a:gd name="connsiteY175" fmla="*/ 174250 h 215552"/>
                    <a:gd name="connsiteX176" fmla="*/ 88807 w 247450"/>
                    <a:gd name="connsiteY176" fmla="*/ 172937 h 215552"/>
                    <a:gd name="connsiteX177" fmla="*/ 89460 w 247450"/>
                    <a:gd name="connsiteY177" fmla="*/ 171576 h 215552"/>
                    <a:gd name="connsiteX178" fmla="*/ 89077 w 247450"/>
                    <a:gd name="connsiteY178" fmla="*/ 169099 h 215552"/>
                    <a:gd name="connsiteX179" fmla="*/ 88636 w 247450"/>
                    <a:gd name="connsiteY179" fmla="*/ 168789 h 215552"/>
                    <a:gd name="connsiteX180" fmla="*/ 87455 w 247450"/>
                    <a:gd name="connsiteY180" fmla="*/ 169629 h 215552"/>
                    <a:gd name="connsiteX181" fmla="*/ 84977 w 247450"/>
                    <a:gd name="connsiteY181" fmla="*/ 170362 h 215552"/>
                    <a:gd name="connsiteX182" fmla="*/ 82687 w 247450"/>
                    <a:gd name="connsiteY182" fmla="*/ 170704 h 215552"/>
                    <a:gd name="connsiteX183" fmla="*/ 81514 w 247450"/>
                    <a:gd name="connsiteY183" fmla="*/ 170704 h 215552"/>
                    <a:gd name="connsiteX184" fmla="*/ 74986 w 247450"/>
                    <a:gd name="connsiteY184" fmla="*/ 166189 h 215552"/>
                    <a:gd name="connsiteX185" fmla="*/ 70740 w 247450"/>
                    <a:gd name="connsiteY185" fmla="*/ 164804 h 215552"/>
                    <a:gd name="connsiteX186" fmla="*/ 68238 w 247450"/>
                    <a:gd name="connsiteY186" fmla="*/ 164405 h 215552"/>
                    <a:gd name="connsiteX187" fmla="*/ 67977 w 247450"/>
                    <a:gd name="connsiteY187" fmla="*/ 164861 h 215552"/>
                    <a:gd name="connsiteX188" fmla="*/ 69094 w 247450"/>
                    <a:gd name="connsiteY188" fmla="*/ 167396 h 215552"/>
                    <a:gd name="connsiteX189" fmla="*/ 71050 w 247450"/>
                    <a:gd name="connsiteY189" fmla="*/ 170517 h 215552"/>
                    <a:gd name="connsiteX190" fmla="*/ 70959 w 247450"/>
                    <a:gd name="connsiteY190" fmla="*/ 171356 h 215552"/>
                    <a:gd name="connsiteX191" fmla="*/ 68629 w 247450"/>
                    <a:gd name="connsiteY191" fmla="*/ 172628 h 215552"/>
                    <a:gd name="connsiteX192" fmla="*/ 67300 w 247450"/>
                    <a:gd name="connsiteY192" fmla="*/ 173182 h 215552"/>
                    <a:gd name="connsiteX193" fmla="*/ 65720 w 247450"/>
                    <a:gd name="connsiteY193" fmla="*/ 174266 h 215552"/>
                    <a:gd name="connsiteX194" fmla="*/ 64391 w 247450"/>
                    <a:gd name="connsiteY194" fmla="*/ 175765 h 215552"/>
                    <a:gd name="connsiteX195" fmla="*/ 63250 w 247450"/>
                    <a:gd name="connsiteY195" fmla="*/ 176442 h 215552"/>
                    <a:gd name="connsiteX196" fmla="*/ 62256 w 247450"/>
                    <a:gd name="connsiteY196" fmla="*/ 176279 h 215552"/>
                    <a:gd name="connsiteX197" fmla="*/ 61205 w 247450"/>
                    <a:gd name="connsiteY197" fmla="*/ 175553 h 215552"/>
                    <a:gd name="connsiteX198" fmla="*/ 58499 w 247450"/>
                    <a:gd name="connsiteY198" fmla="*/ 170932 h 215552"/>
                    <a:gd name="connsiteX199" fmla="*/ 55100 w 247450"/>
                    <a:gd name="connsiteY199" fmla="*/ 167396 h 215552"/>
                    <a:gd name="connsiteX200" fmla="*/ 54701 w 247450"/>
                    <a:gd name="connsiteY200" fmla="*/ 166605 h 215552"/>
                    <a:gd name="connsiteX201" fmla="*/ 53633 w 247450"/>
                    <a:gd name="connsiteY201" fmla="*/ 166426 h 215552"/>
                    <a:gd name="connsiteX202" fmla="*/ 52126 w 247450"/>
                    <a:gd name="connsiteY202" fmla="*/ 165611 h 215552"/>
                    <a:gd name="connsiteX203" fmla="*/ 51629 w 247450"/>
                    <a:gd name="connsiteY203" fmla="*/ 164527 h 215552"/>
                    <a:gd name="connsiteX204" fmla="*/ 52378 w 247450"/>
                    <a:gd name="connsiteY204" fmla="*/ 163394 h 215552"/>
                    <a:gd name="connsiteX205" fmla="*/ 53421 w 247450"/>
                    <a:gd name="connsiteY205" fmla="*/ 162359 h 215552"/>
                    <a:gd name="connsiteX206" fmla="*/ 55247 w 247450"/>
                    <a:gd name="connsiteY206" fmla="*/ 161723 h 215552"/>
                    <a:gd name="connsiteX207" fmla="*/ 55810 w 247450"/>
                    <a:gd name="connsiteY207" fmla="*/ 161112 h 215552"/>
                    <a:gd name="connsiteX208" fmla="*/ 56135 w 247450"/>
                    <a:gd name="connsiteY208" fmla="*/ 160216 h 215552"/>
                    <a:gd name="connsiteX209" fmla="*/ 56820 w 247450"/>
                    <a:gd name="connsiteY209" fmla="*/ 159042 h 215552"/>
                    <a:gd name="connsiteX210" fmla="*/ 56641 w 247450"/>
                    <a:gd name="connsiteY210" fmla="*/ 158618 h 215552"/>
                    <a:gd name="connsiteX211" fmla="*/ 55345 w 247450"/>
                    <a:gd name="connsiteY211" fmla="*/ 157298 h 215552"/>
                    <a:gd name="connsiteX212" fmla="*/ 53413 w 247450"/>
                    <a:gd name="connsiteY212" fmla="*/ 156035 h 215552"/>
                    <a:gd name="connsiteX213" fmla="*/ 48051 w 247450"/>
                    <a:gd name="connsiteY213" fmla="*/ 156980 h 215552"/>
                    <a:gd name="connsiteX214" fmla="*/ 46592 w 247450"/>
                    <a:gd name="connsiteY214" fmla="*/ 157657 h 215552"/>
                    <a:gd name="connsiteX215" fmla="*/ 45761 w 247450"/>
                    <a:gd name="connsiteY215" fmla="*/ 156776 h 215552"/>
                    <a:gd name="connsiteX216" fmla="*/ 45141 w 247450"/>
                    <a:gd name="connsiteY216" fmla="*/ 155505 h 215552"/>
                    <a:gd name="connsiteX217" fmla="*/ 43780 w 247450"/>
                    <a:gd name="connsiteY217" fmla="*/ 155261 h 215552"/>
                    <a:gd name="connsiteX218" fmla="*/ 41922 w 247450"/>
                    <a:gd name="connsiteY218" fmla="*/ 154095 h 215552"/>
                    <a:gd name="connsiteX219" fmla="*/ 39722 w 247450"/>
                    <a:gd name="connsiteY219" fmla="*/ 152954 h 215552"/>
                    <a:gd name="connsiteX220" fmla="*/ 37579 w 247450"/>
                    <a:gd name="connsiteY220" fmla="*/ 152620 h 215552"/>
                    <a:gd name="connsiteX221" fmla="*/ 33104 w 247450"/>
                    <a:gd name="connsiteY221" fmla="*/ 150974 h 215552"/>
                    <a:gd name="connsiteX222" fmla="*/ 31401 w 247450"/>
                    <a:gd name="connsiteY222" fmla="*/ 150876 h 215552"/>
                    <a:gd name="connsiteX223" fmla="*/ 30398 w 247450"/>
                    <a:gd name="connsiteY223" fmla="*/ 150314 h 215552"/>
                    <a:gd name="connsiteX224" fmla="*/ 29355 w 247450"/>
                    <a:gd name="connsiteY224" fmla="*/ 149067 h 215552"/>
                    <a:gd name="connsiteX225" fmla="*/ 28475 w 247450"/>
                    <a:gd name="connsiteY225" fmla="*/ 147698 h 215552"/>
                    <a:gd name="connsiteX226" fmla="*/ 28019 w 247450"/>
                    <a:gd name="connsiteY226" fmla="*/ 144927 h 215552"/>
                    <a:gd name="connsiteX227" fmla="*/ 24734 w 247450"/>
                    <a:gd name="connsiteY227" fmla="*/ 143664 h 215552"/>
                    <a:gd name="connsiteX228" fmla="*/ 21458 w 247450"/>
                    <a:gd name="connsiteY228" fmla="*/ 142873 h 215552"/>
                    <a:gd name="connsiteX229" fmla="*/ 21214 w 247450"/>
                    <a:gd name="connsiteY229" fmla="*/ 143281 h 215552"/>
                    <a:gd name="connsiteX230" fmla="*/ 21360 w 247450"/>
                    <a:gd name="connsiteY230" fmla="*/ 146076 h 215552"/>
                    <a:gd name="connsiteX231" fmla="*/ 21173 w 247450"/>
                    <a:gd name="connsiteY231" fmla="*/ 147559 h 215552"/>
                    <a:gd name="connsiteX232" fmla="*/ 19030 w 247450"/>
                    <a:gd name="connsiteY232" fmla="*/ 148496 h 215552"/>
                    <a:gd name="connsiteX233" fmla="*/ 16878 w 247450"/>
                    <a:gd name="connsiteY233" fmla="*/ 148578 h 215552"/>
                    <a:gd name="connsiteX234" fmla="*/ 17008 w 247450"/>
                    <a:gd name="connsiteY234" fmla="*/ 148113 h 215552"/>
                    <a:gd name="connsiteX235" fmla="*/ 19560 w 247450"/>
                    <a:gd name="connsiteY235" fmla="*/ 143077 h 215552"/>
                    <a:gd name="connsiteX236" fmla="*/ 20717 w 247450"/>
                    <a:gd name="connsiteY236" fmla="*/ 139898 h 215552"/>
                    <a:gd name="connsiteX237" fmla="*/ 22021 w 247450"/>
                    <a:gd name="connsiteY237" fmla="*/ 134104 h 215552"/>
                    <a:gd name="connsiteX238" fmla="*/ 20447 w 247450"/>
                    <a:gd name="connsiteY238" fmla="*/ 129516 h 215552"/>
                    <a:gd name="connsiteX239" fmla="*/ 20016 w 247450"/>
                    <a:gd name="connsiteY239" fmla="*/ 127372 h 215552"/>
                    <a:gd name="connsiteX240" fmla="*/ 19282 w 247450"/>
                    <a:gd name="connsiteY240" fmla="*/ 126337 h 215552"/>
                    <a:gd name="connsiteX241" fmla="*/ 14784 w 247450"/>
                    <a:gd name="connsiteY241" fmla="*/ 124104 h 215552"/>
                    <a:gd name="connsiteX242" fmla="*/ 14433 w 247450"/>
                    <a:gd name="connsiteY242" fmla="*/ 123330 h 215552"/>
                    <a:gd name="connsiteX243" fmla="*/ 15126 w 247450"/>
                    <a:gd name="connsiteY243" fmla="*/ 120290 h 215552"/>
                    <a:gd name="connsiteX244" fmla="*/ 14784 w 247450"/>
                    <a:gd name="connsiteY244" fmla="*/ 119011 h 215552"/>
                    <a:gd name="connsiteX245" fmla="*/ 13708 w 247450"/>
                    <a:gd name="connsiteY245" fmla="*/ 117666 h 215552"/>
                    <a:gd name="connsiteX246" fmla="*/ 12282 w 247450"/>
                    <a:gd name="connsiteY246" fmla="*/ 114985 h 215552"/>
                    <a:gd name="connsiteX247" fmla="*/ 11728 w 247450"/>
                    <a:gd name="connsiteY247" fmla="*/ 112703 h 215552"/>
                    <a:gd name="connsiteX248" fmla="*/ 13545 w 247450"/>
                    <a:gd name="connsiteY248" fmla="*/ 110021 h 215552"/>
                    <a:gd name="connsiteX249" fmla="*/ 13993 w 247450"/>
                    <a:gd name="connsiteY249" fmla="*/ 108049 h 215552"/>
                    <a:gd name="connsiteX250" fmla="*/ 14784 w 247450"/>
                    <a:gd name="connsiteY250" fmla="*/ 105352 h 215552"/>
                    <a:gd name="connsiteX251" fmla="*/ 15370 w 247450"/>
                    <a:gd name="connsiteY251" fmla="*/ 103868 h 215552"/>
                    <a:gd name="connsiteX252" fmla="*/ 15468 w 247450"/>
                    <a:gd name="connsiteY252" fmla="*/ 103461 h 215552"/>
                    <a:gd name="connsiteX253" fmla="*/ 14286 w 247450"/>
                    <a:gd name="connsiteY253" fmla="*/ 102410 h 215552"/>
                    <a:gd name="connsiteX254" fmla="*/ 13977 w 247450"/>
                    <a:gd name="connsiteY254" fmla="*/ 100935 h 215552"/>
                    <a:gd name="connsiteX255" fmla="*/ 14303 w 247450"/>
                    <a:gd name="connsiteY255" fmla="*/ 98799 h 215552"/>
                    <a:gd name="connsiteX256" fmla="*/ 13667 w 247450"/>
                    <a:gd name="connsiteY256" fmla="*/ 97226 h 215552"/>
                    <a:gd name="connsiteX257" fmla="*/ 12070 w 247450"/>
                    <a:gd name="connsiteY257" fmla="*/ 96199 h 215552"/>
                    <a:gd name="connsiteX258" fmla="*/ 11043 w 247450"/>
                    <a:gd name="connsiteY258" fmla="*/ 94839 h 215552"/>
                    <a:gd name="connsiteX259" fmla="*/ 10562 w 247450"/>
                    <a:gd name="connsiteY259" fmla="*/ 93143 h 215552"/>
                    <a:gd name="connsiteX260" fmla="*/ 10937 w 247450"/>
                    <a:gd name="connsiteY260" fmla="*/ 90495 h 215552"/>
                    <a:gd name="connsiteX261" fmla="*/ 12176 w 247450"/>
                    <a:gd name="connsiteY261" fmla="*/ 86860 h 215552"/>
                    <a:gd name="connsiteX262" fmla="*/ 9559 w 247450"/>
                    <a:gd name="connsiteY262" fmla="*/ 82500 h 215552"/>
                    <a:gd name="connsiteX263" fmla="*/ 3097 w 247450"/>
                    <a:gd name="connsiteY263" fmla="*/ 77398 h 215552"/>
                    <a:gd name="connsiteX264" fmla="*/ 0 w 247450"/>
                    <a:gd name="connsiteY264" fmla="*/ 73820 h 215552"/>
                    <a:gd name="connsiteX265" fmla="*/ 253 w 247450"/>
                    <a:gd name="connsiteY265" fmla="*/ 71783 h 215552"/>
                    <a:gd name="connsiteX266" fmla="*/ 1606 w 247450"/>
                    <a:gd name="connsiteY266" fmla="*/ 69941 h 215552"/>
                    <a:gd name="connsiteX267" fmla="*/ 4083 w 247450"/>
                    <a:gd name="connsiteY267" fmla="*/ 68270 h 215552"/>
                    <a:gd name="connsiteX268" fmla="*/ 5949 w 247450"/>
                    <a:gd name="connsiteY268" fmla="*/ 65328 h 215552"/>
                    <a:gd name="connsiteX269" fmla="*/ 6992 w 247450"/>
                    <a:gd name="connsiteY269" fmla="*/ 61832 h 215552"/>
                    <a:gd name="connsiteX270" fmla="*/ 7033 w 247450"/>
                    <a:gd name="connsiteY270" fmla="*/ 61164 h 215552"/>
                    <a:gd name="connsiteX271" fmla="*/ 7090 w 247450"/>
                    <a:gd name="connsiteY271" fmla="*/ 58662 h 215552"/>
                    <a:gd name="connsiteX272" fmla="*/ 4213 w 247450"/>
                    <a:gd name="connsiteY272" fmla="*/ 48426 h 215552"/>
                    <a:gd name="connsiteX273" fmla="*/ 3749 w 247450"/>
                    <a:gd name="connsiteY273" fmla="*/ 45859 h 215552"/>
                    <a:gd name="connsiteX274" fmla="*/ 3406 w 247450"/>
                    <a:gd name="connsiteY274" fmla="*/ 42762 h 215552"/>
                    <a:gd name="connsiteX275" fmla="*/ 3227 w 247450"/>
                    <a:gd name="connsiteY275" fmla="*/ 41914 h 215552"/>
                    <a:gd name="connsiteX276" fmla="*/ 8908 w 247450"/>
                    <a:gd name="connsiteY276" fmla="*/ 44090 h 215552"/>
                    <a:gd name="connsiteX277" fmla="*/ 11279 w 247450"/>
                    <a:gd name="connsiteY277" fmla="*/ 45312 h 215552"/>
                    <a:gd name="connsiteX278" fmla="*/ 10978 w 247450"/>
                    <a:gd name="connsiteY278" fmla="*/ 43943 h 215552"/>
                    <a:gd name="connsiteX279" fmla="*/ 10505 w 247450"/>
                    <a:gd name="connsiteY279" fmla="*/ 42754 h 215552"/>
                    <a:gd name="connsiteX280" fmla="*/ 10815 w 247450"/>
                    <a:gd name="connsiteY280" fmla="*/ 41018 h 215552"/>
                    <a:gd name="connsiteX281" fmla="*/ 10652 w 247450"/>
                    <a:gd name="connsiteY281" fmla="*/ 38393 h 215552"/>
                    <a:gd name="connsiteX282" fmla="*/ 5509 w 247450"/>
                    <a:gd name="connsiteY282" fmla="*/ 37049 h 215552"/>
                    <a:gd name="connsiteX283" fmla="*/ 2111 w 247450"/>
                    <a:gd name="connsiteY283" fmla="*/ 36600 h 215552"/>
                    <a:gd name="connsiteX284" fmla="*/ 1728 w 247450"/>
                    <a:gd name="connsiteY284" fmla="*/ 34783 h 215552"/>
                    <a:gd name="connsiteX285" fmla="*/ 2045 w 247450"/>
                    <a:gd name="connsiteY285" fmla="*/ 33601 h 215552"/>
                    <a:gd name="connsiteX286" fmla="*/ 2991 w 247450"/>
                    <a:gd name="connsiteY286" fmla="*/ 34294 h 215552"/>
                    <a:gd name="connsiteX287" fmla="*/ 6332 w 247450"/>
                    <a:gd name="connsiteY287" fmla="*/ 34571 h 215552"/>
                    <a:gd name="connsiteX288" fmla="*/ 14556 w 247450"/>
                    <a:gd name="connsiteY288" fmla="*/ 31042 h 215552"/>
                    <a:gd name="connsiteX289" fmla="*/ 28768 w 247450"/>
                    <a:gd name="connsiteY289" fmla="*/ 26454 h 215552"/>
                    <a:gd name="connsiteX290" fmla="*/ 43935 w 247450"/>
                    <a:gd name="connsiteY290" fmla="*/ 22135 h 215552"/>
                    <a:gd name="connsiteX291" fmla="*/ 47472 w 247450"/>
                    <a:gd name="connsiteY291" fmla="*/ 21678 h 215552"/>
                    <a:gd name="connsiteX292" fmla="*/ 51025 w 247450"/>
                    <a:gd name="connsiteY292" fmla="*/ 20766 h 215552"/>
                    <a:gd name="connsiteX293" fmla="*/ 52354 w 247450"/>
                    <a:gd name="connsiteY293" fmla="*/ 19152 h 215552"/>
                    <a:gd name="connsiteX294" fmla="*/ 53666 w 247450"/>
                    <a:gd name="connsiteY294" fmla="*/ 18068 h 215552"/>
                    <a:gd name="connsiteX295" fmla="*/ 55728 w 247450"/>
                    <a:gd name="connsiteY295" fmla="*/ 15224 h 215552"/>
                    <a:gd name="connsiteX296" fmla="*/ 60300 w 247450"/>
                    <a:gd name="connsiteY296" fmla="*/ 10798 h 215552"/>
                    <a:gd name="connsiteX297" fmla="*/ 68368 w 247450"/>
                    <a:gd name="connsiteY297" fmla="*/ 9185 h 215552"/>
                    <a:gd name="connsiteX298" fmla="*/ 71392 w 247450"/>
                    <a:gd name="connsiteY298" fmla="*/ 7074 h 215552"/>
                    <a:gd name="connsiteX299" fmla="*/ 77716 w 247450"/>
                    <a:gd name="connsiteY299" fmla="*/ 4132 h 215552"/>
                    <a:gd name="connsiteX300" fmla="*/ 92116 w 247450"/>
                    <a:gd name="connsiteY300" fmla="*/ 815 h 215552"/>
                    <a:gd name="connsiteX301" fmla="*/ 98139 w 247450"/>
                    <a:gd name="connsiteY301" fmla="*/ 90 h 215552"/>
                    <a:gd name="connsiteX302" fmla="*/ 104031 w 247450"/>
                    <a:gd name="connsiteY302" fmla="*/ 0 h 215552"/>
                    <a:gd name="connsiteX303" fmla="*/ 109296 w 247450"/>
                    <a:gd name="connsiteY303" fmla="*/ 2608 h 215552"/>
                    <a:gd name="connsiteX304" fmla="*/ 114846 w 247450"/>
                    <a:gd name="connsiteY304" fmla="*/ 5835 h 215552"/>
                    <a:gd name="connsiteX305" fmla="*/ 115857 w 247450"/>
                    <a:gd name="connsiteY305" fmla="*/ 7783 h 215552"/>
                    <a:gd name="connsiteX306" fmla="*/ 112833 w 247450"/>
                    <a:gd name="connsiteY306" fmla="*/ 6569 h 215552"/>
                    <a:gd name="connsiteX307" fmla="*/ 108449 w 247450"/>
                    <a:gd name="connsiteY307" fmla="*/ 3676 h 215552"/>
                    <a:gd name="connsiteX308" fmla="*/ 106835 w 247450"/>
                    <a:gd name="connsiteY308" fmla="*/ 3553 h 215552"/>
                    <a:gd name="connsiteX309" fmla="*/ 110576 w 247450"/>
                    <a:gd name="connsiteY309" fmla="*/ 12347 h 215552"/>
                    <a:gd name="connsiteX310" fmla="*/ 112621 w 247450"/>
                    <a:gd name="connsiteY310" fmla="*/ 15444 h 215552"/>
                    <a:gd name="connsiteX311" fmla="*/ 116761 w 247450"/>
                    <a:gd name="connsiteY311" fmla="*/ 17766 h 215552"/>
                    <a:gd name="connsiteX312" fmla="*/ 120233 w 247450"/>
                    <a:gd name="connsiteY312" fmla="*/ 18549 h 215552"/>
                    <a:gd name="connsiteX313" fmla="*/ 130918 w 247450"/>
                    <a:gd name="connsiteY313" fmla="*/ 17139 h 215552"/>
                    <a:gd name="connsiteX314" fmla="*/ 134707 w 247450"/>
                    <a:gd name="connsiteY314" fmla="*/ 15305 h 215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247450" h="215552">
                      <a:moveTo>
                        <a:pt x="135807" y="14376"/>
                      </a:moveTo>
                      <a:lnTo>
                        <a:pt x="136793" y="14841"/>
                      </a:lnTo>
                      <a:lnTo>
                        <a:pt x="143737" y="15330"/>
                      </a:lnTo>
                      <a:lnTo>
                        <a:pt x="150786" y="15835"/>
                      </a:lnTo>
                      <a:lnTo>
                        <a:pt x="162098" y="16373"/>
                      </a:lnTo>
                      <a:lnTo>
                        <a:pt x="173916" y="16935"/>
                      </a:lnTo>
                      <a:lnTo>
                        <a:pt x="186156" y="17506"/>
                      </a:lnTo>
                      <a:lnTo>
                        <a:pt x="199408" y="18141"/>
                      </a:lnTo>
                      <a:lnTo>
                        <a:pt x="213368" y="18508"/>
                      </a:lnTo>
                      <a:lnTo>
                        <a:pt x="214224" y="18255"/>
                      </a:lnTo>
                      <a:lnTo>
                        <a:pt x="215658" y="16780"/>
                      </a:lnTo>
                      <a:lnTo>
                        <a:pt x="217394" y="16968"/>
                      </a:lnTo>
                      <a:lnTo>
                        <a:pt x="219448" y="17889"/>
                      </a:lnTo>
                      <a:lnTo>
                        <a:pt x="220418" y="18573"/>
                      </a:lnTo>
                      <a:lnTo>
                        <a:pt x="220809" y="19348"/>
                      </a:lnTo>
                      <a:lnTo>
                        <a:pt x="221078" y="20244"/>
                      </a:lnTo>
                      <a:lnTo>
                        <a:pt x="222194" y="20423"/>
                      </a:lnTo>
                      <a:lnTo>
                        <a:pt x="224248" y="21100"/>
                      </a:lnTo>
                      <a:lnTo>
                        <a:pt x="227027" y="22656"/>
                      </a:lnTo>
                      <a:lnTo>
                        <a:pt x="229211" y="24156"/>
                      </a:lnTo>
                      <a:lnTo>
                        <a:pt x="231282" y="26316"/>
                      </a:lnTo>
                      <a:lnTo>
                        <a:pt x="231966" y="28744"/>
                      </a:lnTo>
                      <a:lnTo>
                        <a:pt x="232015" y="31507"/>
                      </a:lnTo>
                      <a:lnTo>
                        <a:pt x="231876" y="33275"/>
                      </a:lnTo>
                      <a:lnTo>
                        <a:pt x="232048" y="34001"/>
                      </a:lnTo>
                      <a:lnTo>
                        <a:pt x="234875" y="46820"/>
                      </a:lnTo>
                      <a:lnTo>
                        <a:pt x="239602" y="59135"/>
                      </a:lnTo>
                      <a:lnTo>
                        <a:pt x="241330" y="65084"/>
                      </a:lnTo>
                      <a:lnTo>
                        <a:pt x="242031" y="68238"/>
                      </a:lnTo>
                      <a:lnTo>
                        <a:pt x="242577" y="72826"/>
                      </a:lnTo>
                      <a:lnTo>
                        <a:pt x="242756" y="76045"/>
                      </a:lnTo>
                      <a:lnTo>
                        <a:pt x="242732" y="77854"/>
                      </a:lnTo>
                      <a:lnTo>
                        <a:pt x="242381" y="80340"/>
                      </a:lnTo>
                      <a:lnTo>
                        <a:pt x="240979" y="81807"/>
                      </a:lnTo>
                      <a:lnTo>
                        <a:pt x="231917" y="86004"/>
                      </a:lnTo>
                      <a:lnTo>
                        <a:pt x="230222" y="87324"/>
                      </a:lnTo>
                      <a:lnTo>
                        <a:pt x="227557" y="90592"/>
                      </a:lnTo>
                      <a:lnTo>
                        <a:pt x="225088" y="93958"/>
                      </a:lnTo>
                      <a:lnTo>
                        <a:pt x="224525" y="95099"/>
                      </a:lnTo>
                      <a:lnTo>
                        <a:pt x="224370" y="95865"/>
                      </a:lnTo>
                      <a:lnTo>
                        <a:pt x="224908" y="96966"/>
                      </a:lnTo>
                      <a:lnTo>
                        <a:pt x="228144" y="98767"/>
                      </a:lnTo>
                      <a:lnTo>
                        <a:pt x="231395" y="100201"/>
                      </a:lnTo>
                      <a:lnTo>
                        <a:pt x="232455" y="101285"/>
                      </a:lnTo>
                      <a:lnTo>
                        <a:pt x="234851" y="102678"/>
                      </a:lnTo>
                      <a:lnTo>
                        <a:pt x="235731" y="103917"/>
                      </a:lnTo>
                      <a:lnTo>
                        <a:pt x="236203" y="105001"/>
                      </a:lnTo>
                      <a:lnTo>
                        <a:pt x="236171" y="107495"/>
                      </a:lnTo>
                      <a:lnTo>
                        <a:pt x="235087" y="110950"/>
                      </a:lnTo>
                      <a:lnTo>
                        <a:pt x="235543" y="113558"/>
                      </a:lnTo>
                      <a:lnTo>
                        <a:pt x="234443" y="115294"/>
                      </a:lnTo>
                      <a:lnTo>
                        <a:pt x="233539" y="117218"/>
                      </a:lnTo>
                      <a:lnTo>
                        <a:pt x="233408" y="120600"/>
                      </a:lnTo>
                      <a:lnTo>
                        <a:pt x="235046" y="124324"/>
                      </a:lnTo>
                      <a:lnTo>
                        <a:pt x="236367" y="126867"/>
                      </a:lnTo>
                      <a:lnTo>
                        <a:pt x="236880" y="128864"/>
                      </a:lnTo>
                      <a:lnTo>
                        <a:pt x="236342" y="130428"/>
                      </a:lnTo>
                      <a:lnTo>
                        <a:pt x="236505" y="131985"/>
                      </a:lnTo>
                      <a:lnTo>
                        <a:pt x="237687" y="133647"/>
                      </a:lnTo>
                      <a:lnTo>
                        <a:pt x="241452" y="138757"/>
                      </a:lnTo>
                      <a:lnTo>
                        <a:pt x="243286" y="143672"/>
                      </a:lnTo>
                      <a:lnTo>
                        <a:pt x="244476" y="145587"/>
                      </a:lnTo>
                      <a:lnTo>
                        <a:pt x="247206" y="148073"/>
                      </a:lnTo>
                      <a:lnTo>
                        <a:pt x="247450" y="149091"/>
                      </a:lnTo>
                      <a:lnTo>
                        <a:pt x="246350" y="150029"/>
                      </a:lnTo>
                      <a:lnTo>
                        <a:pt x="245478" y="150151"/>
                      </a:lnTo>
                      <a:lnTo>
                        <a:pt x="244761" y="150403"/>
                      </a:lnTo>
                      <a:lnTo>
                        <a:pt x="244288" y="151275"/>
                      </a:lnTo>
                      <a:lnTo>
                        <a:pt x="245014" y="152213"/>
                      </a:lnTo>
                      <a:lnTo>
                        <a:pt x="245975" y="153574"/>
                      </a:lnTo>
                      <a:lnTo>
                        <a:pt x="247182" y="157453"/>
                      </a:lnTo>
                      <a:lnTo>
                        <a:pt x="247059" y="160623"/>
                      </a:lnTo>
                      <a:lnTo>
                        <a:pt x="246130" y="161430"/>
                      </a:lnTo>
                      <a:lnTo>
                        <a:pt x="244948" y="163312"/>
                      </a:lnTo>
                      <a:lnTo>
                        <a:pt x="244150" y="165024"/>
                      </a:lnTo>
                      <a:lnTo>
                        <a:pt x="237679" y="166222"/>
                      </a:lnTo>
                      <a:lnTo>
                        <a:pt x="236130" y="168064"/>
                      </a:lnTo>
                      <a:lnTo>
                        <a:pt x="232577" y="171617"/>
                      </a:lnTo>
                      <a:lnTo>
                        <a:pt x="230165" y="173654"/>
                      </a:lnTo>
                      <a:lnTo>
                        <a:pt x="226579" y="177346"/>
                      </a:lnTo>
                      <a:lnTo>
                        <a:pt x="220931" y="183679"/>
                      </a:lnTo>
                      <a:lnTo>
                        <a:pt x="218837" y="186319"/>
                      </a:lnTo>
                      <a:lnTo>
                        <a:pt x="217312" y="188512"/>
                      </a:lnTo>
                      <a:lnTo>
                        <a:pt x="212733" y="194330"/>
                      </a:lnTo>
                      <a:lnTo>
                        <a:pt x="211330" y="196767"/>
                      </a:lnTo>
                      <a:lnTo>
                        <a:pt x="211616" y="198780"/>
                      </a:lnTo>
                      <a:lnTo>
                        <a:pt x="213083" y="203491"/>
                      </a:lnTo>
                      <a:lnTo>
                        <a:pt x="213384" y="205610"/>
                      </a:lnTo>
                      <a:lnTo>
                        <a:pt x="213140" y="207582"/>
                      </a:lnTo>
                      <a:lnTo>
                        <a:pt x="212651" y="209326"/>
                      </a:lnTo>
                      <a:lnTo>
                        <a:pt x="212716" y="210108"/>
                      </a:lnTo>
                      <a:lnTo>
                        <a:pt x="214077" y="211371"/>
                      </a:lnTo>
                      <a:lnTo>
                        <a:pt x="216237" y="213368"/>
                      </a:lnTo>
                      <a:lnTo>
                        <a:pt x="216359" y="214028"/>
                      </a:lnTo>
                      <a:lnTo>
                        <a:pt x="216049" y="214892"/>
                      </a:lnTo>
                      <a:lnTo>
                        <a:pt x="215308" y="215552"/>
                      </a:lnTo>
                      <a:lnTo>
                        <a:pt x="212618" y="214851"/>
                      </a:lnTo>
                      <a:lnTo>
                        <a:pt x="209603" y="213507"/>
                      </a:lnTo>
                      <a:lnTo>
                        <a:pt x="208584" y="213678"/>
                      </a:lnTo>
                      <a:lnTo>
                        <a:pt x="206954" y="213368"/>
                      </a:lnTo>
                      <a:lnTo>
                        <a:pt x="200247" y="210760"/>
                      </a:lnTo>
                      <a:lnTo>
                        <a:pt x="195716" y="208723"/>
                      </a:lnTo>
                      <a:lnTo>
                        <a:pt x="195276" y="207394"/>
                      </a:lnTo>
                      <a:lnTo>
                        <a:pt x="194420" y="205471"/>
                      </a:lnTo>
                      <a:lnTo>
                        <a:pt x="192505" y="203866"/>
                      </a:lnTo>
                      <a:lnTo>
                        <a:pt x="188080" y="202464"/>
                      </a:lnTo>
                      <a:lnTo>
                        <a:pt x="186286" y="201380"/>
                      </a:lnTo>
                      <a:lnTo>
                        <a:pt x="179107" y="200777"/>
                      </a:lnTo>
                      <a:lnTo>
                        <a:pt x="175993" y="200744"/>
                      </a:lnTo>
                      <a:lnTo>
                        <a:pt x="173801" y="201193"/>
                      </a:lnTo>
                      <a:lnTo>
                        <a:pt x="172391" y="201152"/>
                      </a:lnTo>
                      <a:lnTo>
                        <a:pt x="170451" y="203996"/>
                      </a:lnTo>
                      <a:lnTo>
                        <a:pt x="169115" y="204819"/>
                      </a:lnTo>
                      <a:lnTo>
                        <a:pt x="167159" y="204909"/>
                      </a:lnTo>
                      <a:lnTo>
                        <a:pt x="165456" y="204404"/>
                      </a:lnTo>
                      <a:lnTo>
                        <a:pt x="163712" y="202904"/>
                      </a:lnTo>
                      <a:lnTo>
                        <a:pt x="160908" y="202113"/>
                      </a:lnTo>
                      <a:lnTo>
                        <a:pt x="158879" y="202496"/>
                      </a:lnTo>
                      <a:lnTo>
                        <a:pt x="157388" y="202170"/>
                      </a:lnTo>
                      <a:lnTo>
                        <a:pt x="156100" y="202097"/>
                      </a:lnTo>
                      <a:lnTo>
                        <a:pt x="155652" y="202390"/>
                      </a:lnTo>
                      <a:lnTo>
                        <a:pt x="154625" y="202358"/>
                      </a:lnTo>
                      <a:lnTo>
                        <a:pt x="153125" y="203059"/>
                      </a:lnTo>
                      <a:lnTo>
                        <a:pt x="151495" y="204069"/>
                      </a:lnTo>
                      <a:lnTo>
                        <a:pt x="149678" y="204852"/>
                      </a:lnTo>
                      <a:lnTo>
                        <a:pt x="148284" y="206506"/>
                      </a:lnTo>
                      <a:lnTo>
                        <a:pt x="147045" y="209742"/>
                      </a:lnTo>
                      <a:lnTo>
                        <a:pt x="143550" y="208291"/>
                      </a:lnTo>
                      <a:lnTo>
                        <a:pt x="142368" y="208918"/>
                      </a:lnTo>
                      <a:lnTo>
                        <a:pt x="140713" y="209342"/>
                      </a:lnTo>
                      <a:lnTo>
                        <a:pt x="139589" y="208910"/>
                      </a:lnTo>
                      <a:lnTo>
                        <a:pt x="139849" y="207794"/>
                      </a:lnTo>
                      <a:lnTo>
                        <a:pt x="140363" y="206531"/>
                      </a:lnTo>
                      <a:lnTo>
                        <a:pt x="140338" y="204770"/>
                      </a:lnTo>
                      <a:lnTo>
                        <a:pt x="140012" y="202831"/>
                      </a:lnTo>
                      <a:lnTo>
                        <a:pt x="138921" y="202195"/>
                      </a:lnTo>
                      <a:lnTo>
                        <a:pt x="137282" y="201959"/>
                      </a:lnTo>
                      <a:lnTo>
                        <a:pt x="136451" y="201576"/>
                      </a:lnTo>
                      <a:lnTo>
                        <a:pt x="136353" y="200932"/>
                      </a:lnTo>
                      <a:lnTo>
                        <a:pt x="135530" y="200100"/>
                      </a:lnTo>
                      <a:lnTo>
                        <a:pt x="134088" y="198006"/>
                      </a:lnTo>
                      <a:lnTo>
                        <a:pt x="132710" y="195414"/>
                      </a:lnTo>
                      <a:lnTo>
                        <a:pt x="131773" y="194640"/>
                      </a:lnTo>
                      <a:lnTo>
                        <a:pt x="130396" y="195879"/>
                      </a:lnTo>
                      <a:lnTo>
                        <a:pt x="128318" y="197281"/>
                      </a:lnTo>
                      <a:lnTo>
                        <a:pt x="127022" y="197770"/>
                      </a:lnTo>
                      <a:lnTo>
                        <a:pt x="124528" y="201812"/>
                      </a:lnTo>
                      <a:lnTo>
                        <a:pt x="120037" y="201950"/>
                      </a:lnTo>
                      <a:lnTo>
                        <a:pt x="119752" y="200060"/>
                      </a:lnTo>
                      <a:lnTo>
                        <a:pt x="119279" y="198250"/>
                      </a:lnTo>
                      <a:lnTo>
                        <a:pt x="116655" y="197794"/>
                      </a:lnTo>
                      <a:lnTo>
                        <a:pt x="116582" y="196726"/>
                      </a:lnTo>
                      <a:lnTo>
                        <a:pt x="116028" y="194053"/>
                      </a:lnTo>
                      <a:lnTo>
                        <a:pt x="110771" y="188813"/>
                      </a:lnTo>
                      <a:lnTo>
                        <a:pt x="110127" y="186637"/>
                      </a:lnTo>
                      <a:lnTo>
                        <a:pt x="110331" y="185789"/>
                      </a:lnTo>
                      <a:lnTo>
                        <a:pt x="109964" y="184396"/>
                      </a:lnTo>
                      <a:lnTo>
                        <a:pt x="108815" y="183557"/>
                      </a:lnTo>
                      <a:lnTo>
                        <a:pt x="104659" y="182554"/>
                      </a:lnTo>
                      <a:lnTo>
                        <a:pt x="103583" y="183133"/>
                      </a:lnTo>
                      <a:lnTo>
                        <a:pt x="102621" y="182546"/>
                      </a:lnTo>
                      <a:lnTo>
                        <a:pt x="101106" y="181283"/>
                      </a:lnTo>
                      <a:lnTo>
                        <a:pt x="98473" y="180264"/>
                      </a:lnTo>
                      <a:lnTo>
                        <a:pt x="98196" y="179734"/>
                      </a:lnTo>
                      <a:lnTo>
                        <a:pt x="97243" y="178838"/>
                      </a:lnTo>
                      <a:lnTo>
                        <a:pt x="96721" y="178715"/>
                      </a:lnTo>
                      <a:lnTo>
                        <a:pt x="96379" y="179270"/>
                      </a:lnTo>
                      <a:lnTo>
                        <a:pt x="95613" y="180036"/>
                      </a:lnTo>
                      <a:lnTo>
                        <a:pt x="92907" y="181006"/>
                      </a:lnTo>
                      <a:lnTo>
                        <a:pt x="91831" y="180614"/>
                      </a:lnTo>
                      <a:lnTo>
                        <a:pt x="90845" y="179759"/>
                      </a:lnTo>
                      <a:lnTo>
                        <a:pt x="89729" y="177933"/>
                      </a:lnTo>
                      <a:lnTo>
                        <a:pt x="88107" y="176328"/>
                      </a:lnTo>
                      <a:lnTo>
                        <a:pt x="86762" y="175749"/>
                      </a:lnTo>
                      <a:lnTo>
                        <a:pt x="86004" y="174910"/>
                      </a:lnTo>
                      <a:lnTo>
                        <a:pt x="85833" y="174250"/>
                      </a:lnTo>
                      <a:lnTo>
                        <a:pt x="88807" y="172937"/>
                      </a:lnTo>
                      <a:lnTo>
                        <a:pt x="89460" y="171576"/>
                      </a:lnTo>
                      <a:lnTo>
                        <a:pt x="89077" y="169099"/>
                      </a:lnTo>
                      <a:lnTo>
                        <a:pt x="88636" y="168789"/>
                      </a:lnTo>
                      <a:lnTo>
                        <a:pt x="87455" y="169629"/>
                      </a:lnTo>
                      <a:lnTo>
                        <a:pt x="84977" y="170362"/>
                      </a:lnTo>
                      <a:lnTo>
                        <a:pt x="82687" y="170704"/>
                      </a:lnTo>
                      <a:lnTo>
                        <a:pt x="81514" y="170704"/>
                      </a:lnTo>
                      <a:lnTo>
                        <a:pt x="74986" y="166189"/>
                      </a:lnTo>
                      <a:lnTo>
                        <a:pt x="70740" y="164804"/>
                      </a:lnTo>
                      <a:lnTo>
                        <a:pt x="68238" y="164405"/>
                      </a:lnTo>
                      <a:lnTo>
                        <a:pt x="67977" y="164861"/>
                      </a:lnTo>
                      <a:lnTo>
                        <a:pt x="69094" y="167396"/>
                      </a:lnTo>
                      <a:lnTo>
                        <a:pt x="71050" y="170517"/>
                      </a:lnTo>
                      <a:lnTo>
                        <a:pt x="70959" y="171356"/>
                      </a:lnTo>
                      <a:lnTo>
                        <a:pt x="68629" y="172628"/>
                      </a:lnTo>
                      <a:lnTo>
                        <a:pt x="67300" y="173182"/>
                      </a:lnTo>
                      <a:lnTo>
                        <a:pt x="65720" y="174266"/>
                      </a:lnTo>
                      <a:lnTo>
                        <a:pt x="64391" y="175765"/>
                      </a:lnTo>
                      <a:lnTo>
                        <a:pt x="63250" y="176442"/>
                      </a:lnTo>
                      <a:lnTo>
                        <a:pt x="62256" y="176279"/>
                      </a:lnTo>
                      <a:lnTo>
                        <a:pt x="61205" y="175553"/>
                      </a:lnTo>
                      <a:lnTo>
                        <a:pt x="58499" y="170932"/>
                      </a:lnTo>
                      <a:lnTo>
                        <a:pt x="55100" y="167396"/>
                      </a:lnTo>
                      <a:lnTo>
                        <a:pt x="54701" y="166605"/>
                      </a:lnTo>
                      <a:lnTo>
                        <a:pt x="53633" y="166426"/>
                      </a:lnTo>
                      <a:lnTo>
                        <a:pt x="52126" y="165611"/>
                      </a:lnTo>
                      <a:lnTo>
                        <a:pt x="51629" y="164527"/>
                      </a:lnTo>
                      <a:lnTo>
                        <a:pt x="52378" y="163394"/>
                      </a:lnTo>
                      <a:lnTo>
                        <a:pt x="53421" y="162359"/>
                      </a:lnTo>
                      <a:lnTo>
                        <a:pt x="55247" y="161723"/>
                      </a:lnTo>
                      <a:lnTo>
                        <a:pt x="55810" y="161112"/>
                      </a:lnTo>
                      <a:lnTo>
                        <a:pt x="56135" y="160216"/>
                      </a:lnTo>
                      <a:lnTo>
                        <a:pt x="56820" y="159042"/>
                      </a:lnTo>
                      <a:lnTo>
                        <a:pt x="56641" y="158618"/>
                      </a:lnTo>
                      <a:lnTo>
                        <a:pt x="55345" y="157298"/>
                      </a:lnTo>
                      <a:lnTo>
                        <a:pt x="53413" y="156035"/>
                      </a:lnTo>
                      <a:lnTo>
                        <a:pt x="48051" y="156980"/>
                      </a:lnTo>
                      <a:lnTo>
                        <a:pt x="46592" y="157657"/>
                      </a:lnTo>
                      <a:lnTo>
                        <a:pt x="45761" y="156776"/>
                      </a:lnTo>
                      <a:lnTo>
                        <a:pt x="45141" y="155505"/>
                      </a:lnTo>
                      <a:lnTo>
                        <a:pt x="43780" y="155261"/>
                      </a:lnTo>
                      <a:lnTo>
                        <a:pt x="41922" y="154095"/>
                      </a:lnTo>
                      <a:lnTo>
                        <a:pt x="39722" y="152954"/>
                      </a:lnTo>
                      <a:lnTo>
                        <a:pt x="37579" y="152620"/>
                      </a:lnTo>
                      <a:lnTo>
                        <a:pt x="33104" y="150974"/>
                      </a:lnTo>
                      <a:lnTo>
                        <a:pt x="31401" y="150876"/>
                      </a:lnTo>
                      <a:lnTo>
                        <a:pt x="30398" y="150314"/>
                      </a:lnTo>
                      <a:lnTo>
                        <a:pt x="29355" y="149067"/>
                      </a:lnTo>
                      <a:lnTo>
                        <a:pt x="28475" y="147698"/>
                      </a:lnTo>
                      <a:lnTo>
                        <a:pt x="28019" y="144927"/>
                      </a:lnTo>
                      <a:lnTo>
                        <a:pt x="24734" y="143664"/>
                      </a:lnTo>
                      <a:lnTo>
                        <a:pt x="21458" y="142873"/>
                      </a:lnTo>
                      <a:lnTo>
                        <a:pt x="21214" y="143281"/>
                      </a:lnTo>
                      <a:lnTo>
                        <a:pt x="21360" y="146076"/>
                      </a:lnTo>
                      <a:lnTo>
                        <a:pt x="21173" y="147559"/>
                      </a:lnTo>
                      <a:lnTo>
                        <a:pt x="19030" y="148496"/>
                      </a:lnTo>
                      <a:lnTo>
                        <a:pt x="16878" y="148578"/>
                      </a:lnTo>
                      <a:lnTo>
                        <a:pt x="17008" y="148113"/>
                      </a:lnTo>
                      <a:lnTo>
                        <a:pt x="19560" y="143077"/>
                      </a:lnTo>
                      <a:lnTo>
                        <a:pt x="20717" y="139898"/>
                      </a:lnTo>
                      <a:lnTo>
                        <a:pt x="22021" y="134104"/>
                      </a:lnTo>
                      <a:lnTo>
                        <a:pt x="20447" y="129516"/>
                      </a:lnTo>
                      <a:lnTo>
                        <a:pt x="20016" y="127372"/>
                      </a:lnTo>
                      <a:lnTo>
                        <a:pt x="19282" y="126337"/>
                      </a:lnTo>
                      <a:lnTo>
                        <a:pt x="14784" y="124104"/>
                      </a:lnTo>
                      <a:lnTo>
                        <a:pt x="14433" y="123330"/>
                      </a:lnTo>
                      <a:lnTo>
                        <a:pt x="15126" y="120290"/>
                      </a:lnTo>
                      <a:lnTo>
                        <a:pt x="14784" y="119011"/>
                      </a:lnTo>
                      <a:lnTo>
                        <a:pt x="13708" y="117666"/>
                      </a:lnTo>
                      <a:lnTo>
                        <a:pt x="12282" y="114985"/>
                      </a:lnTo>
                      <a:lnTo>
                        <a:pt x="11728" y="112703"/>
                      </a:lnTo>
                      <a:lnTo>
                        <a:pt x="13545" y="110021"/>
                      </a:lnTo>
                      <a:lnTo>
                        <a:pt x="13993" y="108049"/>
                      </a:lnTo>
                      <a:lnTo>
                        <a:pt x="14784" y="105352"/>
                      </a:lnTo>
                      <a:lnTo>
                        <a:pt x="15370" y="103868"/>
                      </a:lnTo>
                      <a:lnTo>
                        <a:pt x="15468" y="103461"/>
                      </a:lnTo>
                      <a:lnTo>
                        <a:pt x="14286" y="102410"/>
                      </a:lnTo>
                      <a:lnTo>
                        <a:pt x="13977" y="100935"/>
                      </a:lnTo>
                      <a:lnTo>
                        <a:pt x="14303" y="98799"/>
                      </a:lnTo>
                      <a:lnTo>
                        <a:pt x="13667" y="97226"/>
                      </a:lnTo>
                      <a:lnTo>
                        <a:pt x="12070" y="96199"/>
                      </a:lnTo>
                      <a:lnTo>
                        <a:pt x="11043" y="94839"/>
                      </a:lnTo>
                      <a:lnTo>
                        <a:pt x="10562" y="93143"/>
                      </a:lnTo>
                      <a:lnTo>
                        <a:pt x="10937" y="90495"/>
                      </a:lnTo>
                      <a:lnTo>
                        <a:pt x="12176" y="86860"/>
                      </a:lnTo>
                      <a:lnTo>
                        <a:pt x="9559" y="82500"/>
                      </a:lnTo>
                      <a:lnTo>
                        <a:pt x="3097" y="77398"/>
                      </a:lnTo>
                      <a:lnTo>
                        <a:pt x="0" y="73820"/>
                      </a:lnTo>
                      <a:lnTo>
                        <a:pt x="253" y="71783"/>
                      </a:lnTo>
                      <a:lnTo>
                        <a:pt x="1606" y="69941"/>
                      </a:lnTo>
                      <a:lnTo>
                        <a:pt x="4083" y="68270"/>
                      </a:lnTo>
                      <a:lnTo>
                        <a:pt x="5949" y="65328"/>
                      </a:lnTo>
                      <a:lnTo>
                        <a:pt x="6992" y="61832"/>
                      </a:lnTo>
                      <a:lnTo>
                        <a:pt x="7033" y="61164"/>
                      </a:lnTo>
                      <a:lnTo>
                        <a:pt x="7090" y="58662"/>
                      </a:lnTo>
                      <a:lnTo>
                        <a:pt x="4213" y="48426"/>
                      </a:lnTo>
                      <a:lnTo>
                        <a:pt x="3749" y="45859"/>
                      </a:lnTo>
                      <a:lnTo>
                        <a:pt x="3406" y="42762"/>
                      </a:lnTo>
                      <a:lnTo>
                        <a:pt x="3227" y="41914"/>
                      </a:lnTo>
                      <a:lnTo>
                        <a:pt x="8908" y="44090"/>
                      </a:lnTo>
                      <a:lnTo>
                        <a:pt x="11279" y="45312"/>
                      </a:lnTo>
                      <a:lnTo>
                        <a:pt x="10978" y="43943"/>
                      </a:lnTo>
                      <a:lnTo>
                        <a:pt x="10505" y="42754"/>
                      </a:lnTo>
                      <a:lnTo>
                        <a:pt x="10815" y="41018"/>
                      </a:lnTo>
                      <a:lnTo>
                        <a:pt x="10652" y="38393"/>
                      </a:lnTo>
                      <a:lnTo>
                        <a:pt x="5509" y="37049"/>
                      </a:lnTo>
                      <a:lnTo>
                        <a:pt x="2111" y="36600"/>
                      </a:lnTo>
                      <a:lnTo>
                        <a:pt x="1728" y="34783"/>
                      </a:lnTo>
                      <a:lnTo>
                        <a:pt x="2045" y="33601"/>
                      </a:lnTo>
                      <a:lnTo>
                        <a:pt x="2991" y="34294"/>
                      </a:lnTo>
                      <a:lnTo>
                        <a:pt x="6332" y="34571"/>
                      </a:lnTo>
                      <a:lnTo>
                        <a:pt x="14556" y="31042"/>
                      </a:lnTo>
                      <a:lnTo>
                        <a:pt x="28768" y="26454"/>
                      </a:lnTo>
                      <a:lnTo>
                        <a:pt x="43935" y="22135"/>
                      </a:lnTo>
                      <a:lnTo>
                        <a:pt x="47472" y="21678"/>
                      </a:lnTo>
                      <a:lnTo>
                        <a:pt x="51025" y="20766"/>
                      </a:lnTo>
                      <a:lnTo>
                        <a:pt x="52354" y="19152"/>
                      </a:lnTo>
                      <a:lnTo>
                        <a:pt x="53666" y="18068"/>
                      </a:lnTo>
                      <a:lnTo>
                        <a:pt x="55728" y="15224"/>
                      </a:lnTo>
                      <a:lnTo>
                        <a:pt x="60300" y="10798"/>
                      </a:lnTo>
                      <a:lnTo>
                        <a:pt x="68368" y="9185"/>
                      </a:lnTo>
                      <a:lnTo>
                        <a:pt x="71392" y="7074"/>
                      </a:lnTo>
                      <a:lnTo>
                        <a:pt x="77716" y="4132"/>
                      </a:lnTo>
                      <a:lnTo>
                        <a:pt x="92116" y="815"/>
                      </a:lnTo>
                      <a:lnTo>
                        <a:pt x="98139" y="90"/>
                      </a:lnTo>
                      <a:lnTo>
                        <a:pt x="104031" y="0"/>
                      </a:lnTo>
                      <a:lnTo>
                        <a:pt x="109296" y="2608"/>
                      </a:lnTo>
                      <a:lnTo>
                        <a:pt x="114846" y="5835"/>
                      </a:lnTo>
                      <a:lnTo>
                        <a:pt x="115857" y="7783"/>
                      </a:lnTo>
                      <a:lnTo>
                        <a:pt x="112833" y="6569"/>
                      </a:lnTo>
                      <a:lnTo>
                        <a:pt x="108449" y="3676"/>
                      </a:lnTo>
                      <a:lnTo>
                        <a:pt x="106835" y="3553"/>
                      </a:lnTo>
                      <a:lnTo>
                        <a:pt x="110576" y="12347"/>
                      </a:lnTo>
                      <a:lnTo>
                        <a:pt x="112621" y="15444"/>
                      </a:lnTo>
                      <a:lnTo>
                        <a:pt x="116761" y="17766"/>
                      </a:lnTo>
                      <a:lnTo>
                        <a:pt x="120233" y="18549"/>
                      </a:lnTo>
                      <a:lnTo>
                        <a:pt x="130918" y="17139"/>
                      </a:lnTo>
                      <a:lnTo>
                        <a:pt x="134707" y="15305"/>
                      </a:lnTo>
                      <a:close/>
                    </a:path>
                  </a:pathLst>
                </a:custGeom>
                <a:solidFill>
                  <a:srgbClr val="D6D6D2"/>
                </a:solidFill>
                <a:ln w="6112" cap="rnd">
                  <a:solidFill>
                    <a:srgbClr val="FFFFFF"/>
                  </a:solidFill>
                  <a:prstDash val="solid"/>
                  <a:round/>
                </a:ln>
              </p:spPr>
              <p:txBody>
                <a:bodyPr rtlCol="0" anchor="ctr"/>
                <a:lstStyle/>
                <a:p>
                  <a:endParaRPr lang="en-US"/>
                </a:p>
              </p:txBody>
            </p:sp>
            <p:sp>
              <p:nvSpPr>
                <p:cNvPr id="647" name="Freeform: Shape 646">
                  <a:extLst>
                    <a:ext uri="{FF2B5EF4-FFF2-40B4-BE49-F238E27FC236}">
                      <a16:creationId xmlns:a16="http://schemas.microsoft.com/office/drawing/2014/main" id="{2DA10C14-581A-4849-9BB0-CD83EC6D8F09}"/>
                    </a:ext>
                  </a:extLst>
                </p:cNvPr>
                <p:cNvSpPr/>
                <p:nvPr/>
              </p:nvSpPr>
              <p:spPr>
                <a:xfrm>
                  <a:off x="9437357" y="4601544"/>
                  <a:ext cx="374382" cy="242878"/>
                </a:xfrm>
                <a:custGeom>
                  <a:avLst/>
                  <a:gdLst>
                    <a:gd name="connsiteX0" fmla="*/ 374383 w 374382"/>
                    <a:gd name="connsiteY0" fmla="*/ 123387 h 242878"/>
                    <a:gd name="connsiteX1" fmla="*/ 373772 w 374382"/>
                    <a:gd name="connsiteY1" fmla="*/ 126190 h 242878"/>
                    <a:gd name="connsiteX2" fmla="*/ 373315 w 374382"/>
                    <a:gd name="connsiteY2" fmla="*/ 126687 h 242878"/>
                    <a:gd name="connsiteX3" fmla="*/ 372744 w 374382"/>
                    <a:gd name="connsiteY3" fmla="*/ 125628 h 242878"/>
                    <a:gd name="connsiteX4" fmla="*/ 370585 w 374382"/>
                    <a:gd name="connsiteY4" fmla="*/ 126663 h 242878"/>
                    <a:gd name="connsiteX5" fmla="*/ 369566 w 374382"/>
                    <a:gd name="connsiteY5" fmla="*/ 127829 h 242878"/>
                    <a:gd name="connsiteX6" fmla="*/ 368466 w 374382"/>
                    <a:gd name="connsiteY6" fmla="*/ 128676 h 242878"/>
                    <a:gd name="connsiteX7" fmla="*/ 365940 w 374382"/>
                    <a:gd name="connsiteY7" fmla="*/ 128480 h 242878"/>
                    <a:gd name="connsiteX8" fmla="*/ 363536 w 374382"/>
                    <a:gd name="connsiteY8" fmla="*/ 127698 h 242878"/>
                    <a:gd name="connsiteX9" fmla="*/ 361221 w 374382"/>
                    <a:gd name="connsiteY9" fmla="*/ 126272 h 242878"/>
                    <a:gd name="connsiteX10" fmla="*/ 359159 w 374382"/>
                    <a:gd name="connsiteY10" fmla="*/ 124422 h 242878"/>
                    <a:gd name="connsiteX11" fmla="*/ 357081 w 374382"/>
                    <a:gd name="connsiteY11" fmla="*/ 121553 h 242878"/>
                    <a:gd name="connsiteX12" fmla="*/ 355793 w 374382"/>
                    <a:gd name="connsiteY12" fmla="*/ 118570 h 242878"/>
                    <a:gd name="connsiteX13" fmla="*/ 356429 w 374382"/>
                    <a:gd name="connsiteY13" fmla="*/ 115115 h 242878"/>
                    <a:gd name="connsiteX14" fmla="*/ 355630 w 374382"/>
                    <a:gd name="connsiteY14" fmla="*/ 111993 h 242878"/>
                    <a:gd name="connsiteX15" fmla="*/ 351726 w 374382"/>
                    <a:gd name="connsiteY15" fmla="*/ 109777 h 242878"/>
                    <a:gd name="connsiteX16" fmla="*/ 350879 w 374382"/>
                    <a:gd name="connsiteY16" fmla="*/ 109051 h 242878"/>
                    <a:gd name="connsiteX17" fmla="*/ 349143 w 374382"/>
                    <a:gd name="connsiteY17" fmla="*/ 105938 h 242878"/>
                    <a:gd name="connsiteX18" fmla="*/ 347407 w 374382"/>
                    <a:gd name="connsiteY18" fmla="*/ 104602 h 242878"/>
                    <a:gd name="connsiteX19" fmla="*/ 345207 w 374382"/>
                    <a:gd name="connsiteY19" fmla="*/ 101872 h 242878"/>
                    <a:gd name="connsiteX20" fmla="*/ 344653 w 374382"/>
                    <a:gd name="connsiteY20" fmla="*/ 100690 h 242878"/>
                    <a:gd name="connsiteX21" fmla="*/ 343707 w 374382"/>
                    <a:gd name="connsiteY21" fmla="*/ 97234 h 242878"/>
                    <a:gd name="connsiteX22" fmla="*/ 343413 w 374382"/>
                    <a:gd name="connsiteY22" fmla="*/ 95164 h 242878"/>
                    <a:gd name="connsiteX23" fmla="*/ 344204 w 374382"/>
                    <a:gd name="connsiteY23" fmla="*/ 89101 h 242878"/>
                    <a:gd name="connsiteX24" fmla="*/ 343911 w 374382"/>
                    <a:gd name="connsiteY24" fmla="*/ 86077 h 242878"/>
                    <a:gd name="connsiteX25" fmla="*/ 344987 w 374382"/>
                    <a:gd name="connsiteY25" fmla="*/ 86363 h 242878"/>
                    <a:gd name="connsiteX26" fmla="*/ 346127 w 374382"/>
                    <a:gd name="connsiteY26" fmla="*/ 87569 h 242878"/>
                    <a:gd name="connsiteX27" fmla="*/ 347423 w 374382"/>
                    <a:gd name="connsiteY27" fmla="*/ 88384 h 242878"/>
                    <a:gd name="connsiteX28" fmla="*/ 350561 w 374382"/>
                    <a:gd name="connsiteY28" fmla="*/ 88938 h 242878"/>
                    <a:gd name="connsiteX29" fmla="*/ 352965 w 374382"/>
                    <a:gd name="connsiteY29" fmla="*/ 91342 h 242878"/>
                    <a:gd name="connsiteX30" fmla="*/ 355263 w 374382"/>
                    <a:gd name="connsiteY30" fmla="*/ 96061 h 242878"/>
                    <a:gd name="connsiteX31" fmla="*/ 355541 w 374382"/>
                    <a:gd name="connsiteY31" fmla="*/ 97593 h 242878"/>
                    <a:gd name="connsiteX32" fmla="*/ 356274 w 374382"/>
                    <a:gd name="connsiteY32" fmla="*/ 98701 h 242878"/>
                    <a:gd name="connsiteX33" fmla="*/ 358645 w 374382"/>
                    <a:gd name="connsiteY33" fmla="*/ 100698 h 242878"/>
                    <a:gd name="connsiteX34" fmla="*/ 359860 w 374382"/>
                    <a:gd name="connsiteY34" fmla="*/ 101986 h 242878"/>
                    <a:gd name="connsiteX35" fmla="*/ 362207 w 374382"/>
                    <a:gd name="connsiteY35" fmla="*/ 107104 h 242878"/>
                    <a:gd name="connsiteX36" fmla="*/ 363503 w 374382"/>
                    <a:gd name="connsiteY36" fmla="*/ 108196 h 242878"/>
                    <a:gd name="connsiteX37" fmla="*/ 365035 w 374382"/>
                    <a:gd name="connsiteY37" fmla="*/ 108652 h 242878"/>
                    <a:gd name="connsiteX38" fmla="*/ 366453 w 374382"/>
                    <a:gd name="connsiteY38" fmla="*/ 109386 h 242878"/>
                    <a:gd name="connsiteX39" fmla="*/ 368833 w 374382"/>
                    <a:gd name="connsiteY39" fmla="*/ 111627 h 242878"/>
                    <a:gd name="connsiteX40" fmla="*/ 371033 w 374382"/>
                    <a:gd name="connsiteY40" fmla="*/ 114169 h 242878"/>
                    <a:gd name="connsiteX41" fmla="*/ 372517 w 374382"/>
                    <a:gd name="connsiteY41" fmla="*/ 116851 h 242878"/>
                    <a:gd name="connsiteX42" fmla="*/ 373641 w 374382"/>
                    <a:gd name="connsiteY42" fmla="*/ 119719 h 242878"/>
                    <a:gd name="connsiteX43" fmla="*/ 374383 w 374382"/>
                    <a:gd name="connsiteY43" fmla="*/ 123387 h 242878"/>
                    <a:gd name="connsiteX44" fmla="*/ 274125 w 374382"/>
                    <a:gd name="connsiteY44" fmla="*/ 51653 h 242878"/>
                    <a:gd name="connsiteX45" fmla="*/ 275412 w 374382"/>
                    <a:gd name="connsiteY45" fmla="*/ 52264 h 242878"/>
                    <a:gd name="connsiteX46" fmla="*/ 279120 w 374382"/>
                    <a:gd name="connsiteY46" fmla="*/ 49110 h 242878"/>
                    <a:gd name="connsiteX47" fmla="*/ 281101 w 374382"/>
                    <a:gd name="connsiteY47" fmla="*/ 51311 h 242878"/>
                    <a:gd name="connsiteX48" fmla="*/ 283643 w 374382"/>
                    <a:gd name="connsiteY48" fmla="*/ 52370 h 242878"/>
                    <a:gd name="connsiteX49" fmla="*/ 286276 w 374382"/>
                    <a:gd name="connsiteY49" fmla="*/ 52973 h 242878"/>
                    <a:gd name="connsiteX50" fmla="*/ 285225 w 374382"/>
                    <a:gd name="connsiteY50" fmla="*/ 57480 h 242878"/>
                    <a:gd name="connsiteX51" fmla="*/ 285543 w 374382"/>
                    <a:gd name="connsiteY51" fmla="*/ 59566 h 242878"/>
                    <a:gd name="connsiteX52" fmla="*/ 286211 w 374382"/>
                    <a:gd name="connsiteY52" fmla="*/ 61628 h 242878"/>
                    <a:gd name="connsiteX53" fmla="*/ 286138 w 374382"/>
                    <a:gd name="connsiteY53" fmla="*/ 64684 h 242878"/>
                    <a:gd name="connsiteX54" fmla="*/ 284931 w 374382"/>
                    <a:gd name="connsiteY54" fmla="*/ 67414 h 242878"/>
                    <a:gd name="connsiteX55" fmla="*/ 282600 w 374382"/>
                    <a:gd name="connsiteY55" fmla="*/ 71391 h 242878"/>
                    <a:gd name="connsiteX56" fmla="*/ 281565 w 374382"/>
                    <a:gd name="connsiteY56" fmla="*/ 72125 h 242878"/>
                    <a:gd name="connsiteX57" fmla="*/ 280351 w 374382"/>
                    <a:gd name="connsiteY57" fmla="*/ 72549 h 242878"/>
                    <a:gd name="connsiteX58" fmla="*/ 276545 w 374382"/>
                    <a:gd name="connsiteY58" fmla="*/ 72867 h 242878"/>
                    <a:gd name="connsiteX59" fmla="*/ 275804 w 374382"/>
                    <a:gd name="connsiteY59" fmla="*/ 74986 h 242878"/>
                    <a:gd name="connsiteX60" fmla="*/ 276064 w 374382"/>
                    <a:gd name="connsiteY60" fmla="*/ 77219 h 242878"/>
                    <a:gd name="connsiteX61" fmla="*/ 278126 w 374382"/>
                    <a:gd name="connsiteY61" fmla="*/ 80153 h 242878"/>
                    <a:gd name="connsiteX62" fmla="*/ 279764 w 374382"/>
                    <a:gd name="connsiteY62" fmla="*/ 83453 h 242878"/>
                    <a:gd name="connsiteX63" fmla="*/ 278126 w 374382"/>
                    <a:gd name="connsiteY63" fmla="*/ 86501 h 242878"/>
                    <a:gd name="connsiteX64" fmla="*/ 275437 w 374382"/>
                    <a:gd name="connsiteY64" fmla="*/ 88612 h 242878"/>
                    <a:gd name="connsiteX65" fmla="*/ 272878 w 374382"/>
                    <a:gd name="connsiteY65" fmla="*/ 89696 h 242878"/>
                    <a:gd name="connsiteX66" fmla="*/ 268656 w 374382"/>
                    <a:gd name="connsiteY66" fmla="*/ 89052 h 242878"/>
                    <a:gd name="connsiteX67" fmla="*/ 264190 w 374382"/>
                    <a:gd name="connsiteY67" fmla="*/ 89313 h 242878"/>
                    <a:gd name="connsiteX68" fmla="*/ 263351 w 374382"/>
                    <a:gd name="connsiteY68" fmla="*/ 90470 h 242878"/>
                    <a:gd name="connsiteX69" fmla="*/ 263326 w 374382"/>
                    <a:gd name="connsiteY69" fmla="*/ 92393 h 242878"/>
                    <a:gd name="connsiteX70" fmla="*/ 262699 w 374382"/>
                    <a:gd name="connsiteY70" fmla="*/ 93844 h 242878"/>
                    <a:gd name="connsiteX71" fmla="*/ 261892 w 374382"/>
                    <a:gd name="connsiteY71" fmla="*/ 95172 h 242878"/>
                    <a:gd name="connsiteX72" fmla="*/ 259618 w 374382"/>
                    <a:gd name="connsiteY72" fmla="*/ 97927 h 242878"/>
                    <a:gd name="connsiteX73" fmla="*/ 257092 w 374382"/>
                    <a:gd name="connsiteY73" fmla="*/ 100356 h 242878"/>
                    <a:gd name="connsiteX74" fmla="*/ 253636 w 374382"/>
                    <a:gd name="connsiteY74" fmla="*/ 102654 h 242878"/>
                    <a:gd name="connsiteX75" fmla="*/ 252471 w 374382"/>
                    <a:gd name="connsiteY75" fmla="*/ 103208 h 242878"/>
                    <a:gd name="connsiteX76" fmla="*/ 249414 w 374382"/>
                    <a:gd name="connsiteY76" fmla="*/ 103567 h 242878"/>
                    <a:gd name="connsiteX77" fmla="*/ 246660 w 374382"/>
                    <a:gd name="connsiteY77" fmla="*/ 104903 h 242878"/>
                    <a:gd name="connsiteX78" fmla="*/ 245438 w 374382"/>
                    <a:gd name="connsiteY78" fmla="*/ 106183 h 242878"/>
                    <a:gd name="connsiteX79" fmla="*/ 244101 w 374382"/>
                    <a:gd name="connsiteY79" fmla="*/ 107242 h 242878"/>
                    <a:gd name="connsiteX80" fmla="*/ 241192 w 374382"/>
                    <a:gd name="connsiteY80" fmla="*/ 108383 h 242878"/>
                    <a:gd name="connsiteX81" fmla="*/ 238347 w 374382"/>
                    <a:gd name="connsiteY81" fmla="*/ 110665 h 242878"/>
                    <a:gd name="connsiteX82" fmla="*/ 237231 w 374382"/>
                    <a:gd name="connsiteY82" fmla="*/ 111040 h 242878"/>
                    <a:gd name="connsiteX83" fmla="*/ 231322 w 374382"/>
                    <a:gd name="connsiteY83" fmla="*/ 111447 h 242878"/>
                    <a:gd name="connsiteX84" fmla="*/ 222903 w 374382"/>
                    <a:gd name="connsiteY84" fmla="*/ 111562 h 242878"/>
                    <a:gd name="connsiteX85" fmla="*/ 220401 w 374382"/>
                    <a:gd name="connsiteY85" fmla="*/ 111798 h 242878"/>
                    <a:gd name="connsiteX86" fmla="*/ 217973 w 374382"/>
                    <a:gd name="connsiteY86" fmla="*/ 111480 h 242878"/>
                    <a:gd name="connsiteX87" fmla="*/ 216628 w 374382"/>
                    <a:gd name="connsiteY87" fmla="*/ 110600 h 242878"/>
                    <a:gd name="connsiteX88" fmla="*/ 213768 w 374382"/>
                    <a:gd name="connsiteY88" fmla="*/ 106501 h 242878"/>
                    <a:gd name="connsiteX89" fmla="*/ 211274 w 374382"/>
                    <a:gd name="connsiteY89" fmla="*/ 105099 h 242878"/>
                    <a:gd name="connsiteX90" fmla="*/ 208544 w 374382"/>
                    <a:gd name="connsiteY90" fmla="*/ 105148 h 242878"/>
                    <a:gd name="connsiteX91" fmla="*/ 204925 w 374382"/>
                    <a:gd name="connsiteY91" fmla="*/ 106598 h 242878"/>
                    <a:gd name="connsiteX92" fmla="*/ 204241 w 374382"/>
                    <a:gd name="connsiteY92" fmla="*/ 106281 h 242878"/>
                    <a:gd name="connsiteX93" fmla="*/ 197012 w 374382"/>
                    <a:gd name="connsiteY93" fmla="*/ 100250 h 242878"/>
                    <a:gd name="connsiteX94" fmla="*/ 194820 w 374382"/>
                    <a:gd name="connsiteY94" fmla="*/ 98775 h 242878"/>
                    <a:gd name="connsiteX95" fmla="*/ 192481 w 374382"/>
                    <a:gd name="connsiteY95" fmla="*/ 97683 h 242878"/>
                    <a:gd name="connsiteX96" fmla="*/ 189612 w 374382"/>
                    <a:gd name="connsiteY96" fmla="*/ 96925 h 242878"/>
                    <a:gd name="connsiteX97" fmla="*/ 186931 w 374382"/>
                    <a:gd name="connsiteY97" fmla="*/ 95710 h 242878"/>
                    <a:gd name="connsiteX98" fmla="*/ 185341 w 374382"/>
                    <a:gd name="connsiteY98" fmla="*/ 92834 h 242878"/>
                    <a:gd name="connsiteX99" fmla="*/ 185521 w 374382"/>
                    <a:gd name="connsiteY99" fmla="*/ 89101 h 242878"/>
                    <a:gd name="connsiteX100" fmla="*/ 187697 w 374382"/>
                    <a:gd name="connsiteY100" fmla="*/ 86901 h 242878"/>
                    <a:gd name="connsiteX101" fmla="*/ 190989 w 374382"/>
                    <a:gd name="connsiteY101" fmla="*/ 87976 h 242878"/>
                    <a:gd name="connsiteX102" fmla="*/ 192252 w 374382"/>
                    <a:gd name="connsiteY102" fmla="*/ 87968 h 242878"/>
                    <a:gd name="connsiteX103" fmla="*/ 193483 w 374382"/>
                    <a:gd name="connsiteY103" fmla="*/ 87349 h 242878"/>
                    <a:gd name="connsiteX104" fmla="*/ 194934 w 374382"/>
                    <a:gd name="connsiteY104" fmla="*/ 87544 h 242878"/>
                    <a:gd name="connsiteX105" fmla="*/ 196400 w 374382"/>
                    <a:gd name="connsiteY105" fmla="*/ 88090 h 242878"/>
                    <a:gd name="connsiteX106" fmla="*/ 201755 w 374382"/>
                    <a:gd name="connsiteY106" fmla="*/ 87284 h 242878"/>
                    <a:gd name="connsiteX107" fmla="*/ 204852 w 374382"/>
                    <a:gd name="connsiteY107" fmla="*/ 88424 h 242878"/>
                    <a:gd name="connsiteX108" fmla="*/ 207859 w 374382"/>
                    <a:gd name="connsiteY108" fmla="*/ 89940 h 242878"/>
                    <a:gd name="connsiteX109" fmla="*/ 210679 w 374382"/>
                    <a:gd name="connsiteY109" fmla="*/ 90266 h 242878"/>
                    <a:gd name="connsiteX110" fmla="*/ 213572 w 374382"/>
                    <a:gd name="connsiteY110" fmla="*/ 89940 h 242878"/>
                    <a:gd name="connsiteX111" fmla="*/ 217443 w 374382"/>
                    <a:gd name="connsiteY111" fmla="*/ 88221 h 242878"/>
                    <a:gd name="connsiteX112" fmla="*/ 218674 w 374382"/>
                    <a:gd name="connsiteY112" fmla="*/ 88449 h 242878"/>
                    <a:gd name="connsiteX113" fmla="*/ 222398 w 374382"/>
                    <a:gd name="connsiteY113" fmla="*/ 88473 h 242878"/>
                    <a:gd name="connsiteX114" fmla="*/ 225658 w 374382"/>
                    <a:gd name="connsiteY114" fmla="*/ 86183 h 242878"/>
                    <a:gd name="connsiteX115" fmla="*/ 226864 w 374382"/>
                    <a:gd name="connsiteY115" fmla="*/ 76925 h 242878"/>
                    <a:gd name="connsiteX116" fmla="*/ 227696 w 374382"/>
                    <a:gd name="connsiteY116" fmla="*/ 73779 h 242878"/>
                    <a:gd name="connsiteX117" fmla="*/ 228812 w 374382"/>
                    <a:gd name="connsiteY117" fmla="*/ 73095 h 242878"/>
                    <a:gd name="connsiteX118" fmla="*/ 229611 w 374382"/>
                    <a:gd name="connsiteY118" fmla="*/ 73282 h 242878"/>
                    <a:gd name="connsiteX119" fmla="*/ 230800 w 374382"/>
                    <a:gd name="connsiteY119" fmla="*/ 74847 h 242878"/>
                    <a:gd name="connsiteX120" fmla="*/ 229268 w 374382"/>
                    <a:gd name="connsiteY120" fmla="*/ 76803 h 242878"/>
                    <a:gd name="connsiteX121" fmla="*/ 228600 w 374382"/>
                    <a:gd name="connsiteY121" fmla="*/ 78335 h 242878"/>
                    <a:gd name="connsiteX122" fmla="*/ 228372 w 374382"/>
                    <a:gd name="connsiteY122" fmla="*/ 82019 h 242878"/>
                    <a:gd name="connsiteX123" fmla="*/ 229211 w 374382"/>
                    <a:gd name="connsiteY123" fmla="*/ 85613 h 242878"/>
                    <a:gd name="connsiteX124" fmla="*/ 231118 w 374382"/>
                    <a:gd name="connsiteY124" fmla="*/ 88449 h 242878"/>
                    <a:gd name="connsiteX125" fmla="*/ 233987 w 374382"/>
                    <a:gd name="connsiteY125" fmla="*/ 88799 h 242878"/>
                    <a:gd name="connsiteX126" fmla="*/ 236603 w 374382"/>
                    <a:gd name="connsiteY126" fmla="*/ 86933 h 242878"/>
                    <a:gd name="connsiteX127" fmla="*/ 239464 w 374382"/>
                    <a:gd name="connsiteY127" fmla="*/ 86542 h 242878"/>
                    <a:gd name="connsiteX128" fmla="*/ 242104 w 374382"/>
                    <a:gd name="connsiteY128" fmla="*/ 88367 h 242878"/>
                    <a:gd name="connsiteX129" fmla="*/ 244794 w 374382"/>
                    <a:gd name="connsiteY129" fmla="*/ 88058 h 242878"/>
                    <a:gd name="connsiteX130" fmla="*/ 246025 w 374382"/>
                    <a:gd name="connsiteY130" fmla="*/ 86868 h 242878"/>
                    <a:gd name="connsiteX131" fmla="*/ 247475 w 374382"/>
                    <a:gd name="connsiteY131" fmla="*/ 86363 h 242878"/>
                    <a:gd name="connsiteX132" fmla="*/ 248910 w 374382"/>
                    <a:gd name="connsiteY132" fmla="*/ 86167 h 242878"/>
                    <a:gd name="connsiteX133" fmla="*/ 250213 w 374382"/>
                    <a:gd name="connsiteY133" fmla="*/ 85466 h 242878"/>
                    <a:gd name="connsiteX134" fmla="*/ 251933 w 374382"/>
                    <a:gd name="connsiteY134" fmla="*/ 82369 h 242878"/>
                    <a:gd name="connsiteX135" fmla="*/ 253098 w 374382"/>
                    <a:gd name="connsiteY135" fmla="*/ 78881 h 242878"/>
                    <a:gd name="connsiteX136" fmla="*/ 254802 w 374382"/>
                    <a:gd name="connsiteY136" fmla="*/ 76135 h 242878"/>
                    <a:gd name="connsiteX137" fmla="*/ 259480 w 374382"/>
                    <a:gd name="connsiteY137" fmla="*/ 71555 h 242878"/>
                    <a:gd name="connsiteX138" fmla="*/ 260832 w 374382"/>
                    <a:gd name="connsiteY138" fmla="*/ 70984 h 242878"/>
                    <a:gd name="connsiteX139" fmla="*/ 262291 w 374382"/>
                    <a:gd name="connsiteY139" fmla="*/ 70674 h 242878"/>
                    <a:gd name="connsiteX140" fmla="*/ 265584 w 374382"/>
                    <a:gd name="connsiteY140" fmla="*/ 70870 h 242878"/>
                    <a:gd name="connsiteX141" fmla="*/ 268028 w 374382"/>
                    <a:gd name="connsiteY141" fmla="*/ 69248 h 242878"/>
                    <a:gd name="connsiteX142" fmla="*/ 268216 w 374382"/>
                    <a:gd name="connsiteY142" fmla="*/ 65581 h 242878"/>
                    <a:gd name="connsiteX143" fmla="*/ 267857 w 374382"/>
                    <a:gd name="connsiteY143" fmla="*/ 61864 h 242878"/>
                    <a:gd name="connsiteX144" fmla="*/ 265070 w 374382"/>
                    <a:gd name="connsiteY144" fmla="*/ 53128 h 242878"/>
                    <a:gd name="connsiteX145" fmla="*/ 264883 w 374382"/>
                    <a:gd name="connsiteY145" fmla="*/ 51743 h 242878"/>
                    <a:gd name="connsiteX146" fmla="*/ 265290 w 374382"/>
                    <a:gd name="connsiteY146" fmla="*/ 50186 h 242878"/>
                    <a:gd name="connsiteX147" fmla="*/ 266097 w 374382"/>
                    <a:gd name="connsiteY147" fmla="*/ 48792 h 242878"/>
                    <a:gd name="connsiteX148" fmla="*/ 268835 w 374382"/>
                    <a:gd name="connsiteY148" fmla="*/ 48768 h 242878"/>
                    <a:gd name="connsiteX149" fmla="*/ 271712 w 374382"/>
                    <a:gd name="connsiteY149" fmla="*/ 49273 h 242878"/>
                    <a:gd name="connsiteX150" fmla="*/ 272837 w 374382"/>
                    <a:gd name="connsiteY150" fmla="*/ 50593 h 242878"/>
                    <a:gd name="connsiteX151" fmla="*/ 274125 w 374382"/>
                    <a:gd name="connsiteY151" fmla="*/ 51653 h 242878"/>
                    <a:gd name="connsiteX152" fmla="*/ 80829 w 374382"/>
                    <a:gd name="connsiteY152" fmla="*/ 37228 h 242878"/>
                    <a:gd name="connsiteX153" fmla="*/ 83951 w 374382"/>
                    <a:gd name="connsiteY153" fmla="*/ 37326 h 242878"/>
                    <a:gd name="connsiteX154" fmla="*/ 87088 w 374382"/>
                    <a:gd name="connsiteY154" fmla="*/ 36853 h 242878"/>
                    <a:gd name="connsiteX155" fmla="*/ 88384 w 374382"/>
                    <a:gd name="connsiteY155" fmla="*/ 37057 h 242878"/>
                    <a:gd name="connsiteX156" fmla="*/ 89639 w 374382"/>
                    <a:gd name="connsiteY156" fmla="*/ 37529 h 242878"/>
                    <a:gd name="connsiteX157" fmla="*/ 90813 w 374382"/>
                    <a:gd name="connsiteY157" fmla="*/ 38426 h 242878"/>
                    <a:gd name="connsiteX158" fmla="*/ 91399 w 374382"/>
                    <a:gd name="connsiteY158" fmla="*/ 40153 h 242878"/>
                    <a:gd name="connsiteX159" fmla="*/ 93339 w 374382"/>
                    <a:gd name="connsiteY159" fmla="*/ 42558 h 242878"/>
                    <a:gd name="connsiteX160" fmla="*/ 96102 w 374382"/>
                    <a:gd name="connsiteY160" fmla="*/ 43642 h 242878"/>
                    <a:gd name="connsiteX161" fmla="*/ 98710 w 374382"/>
                    <a:gd name="connsiteY161" fmla="*/ 45818 h 242878"/>
                    <a:gd name="connsiteX162" fmla="*/ 101065 w 374382"/>
                    <a:gd name="connsiteY162" fmla="*/ 48409 h 242878"/>
                    <a:gd name="connsiteX163" fmla="*/ 102809 w 374382"/>
                    <a:gd name="connsiteY163" fmla="*/ 51017 h 242878"/>
                    <a:gd name="connsiteX164" fmla="*/ 104773 w 374382"/>
                    <a:gd name="connsiteY164" fmla="*/ 53226 h 242878"/>
                    <a:gd name="connsiteX165" fmla="*/ 107756 w 374382"/>
                    <a:gd name="connsiteY165" fmla="*/ 54171 h 242878"/>
                    <a:gd name="connsiteX166" fmla="*/ 110894 w 374382"/>
                    <a:gd name="connsiteY166" fmla="*/ 54318 h 242878"/>
                    <a:gd name="connsiteX167" fmla="*/ 121619 w 374382"/>
                    <a:gd name="connsiteY167" fmla="*/ 67447 h 242878"/>
                    <a:gd name="connsiteX168" fmla="*/ 122132 w 374382"/>
                    <a:gd name="connsiteY168" fmla="*/ 69468 h 242878"/>
                    <a:gd name="connsiteX169" fmla="*/ 122262 w 374382"/>
                    <a:gd name="connsiteY169" fmla="*/ 78090 h 242878"/>
                    <a:gd name="connsiteX170" fmla="*/ 121073 w 374382"/>
                    <a:gd name="connsiteY170" fmla="*/ 84831 h 242878"/>
                    <a:gd name="connsiteX171" fmla="*/ 123746 w 374382"/>
                    <a:gd name="connsiteY171" fmla="*/ 86892 h 242878"/>
                    <a:gd name="connsiteX172" fmla="*/ 127380 w 374382"/>
                    <a:gd name="connsiteY172" fmla="*/ 87667 h 242878"/>
                    <a:gd name="connsiteX173" fmla="*/ 132490 w 374382"/>
                    <a:gd name="connsiteY173" fmla="*/ 89109 h 242878"/>
                    <a:gd name="connsiteX174" fmla="*/ 137405 w 374382"/>
                    <a:gd name="connsiteY174" fmla="*/ 91261 h 242878"/>
                    <a:gd name="connsiteX175" fmla="*/ 153052 w 374382"/>
                    <a:gd name="connsiteY175" fmla="*/ 100348 h 242878"/>
                    <a:gd name="connsiteX176" fmla="*/ 155204 w 374382"/>
                    <a:gd name="connsiteY176" fmla="*/ 101122 h 242878"/>
                    <a:gd name="connsiteX177" fmla="*/ 158366 w 374382"/>
                    <a:gd name="connsiteY177" fmla="*/ 101407 h 242878"/>
                    <a:gd name="connsiteX178" fmla="*/ 161544 w 374382"/>
                    <a:gd name="connsiteY178" fmla="*/ 101285 h 242878"/>
                    <a:gd name="connsiteX179" fmla="*/ 162702 w 374382"/>
                    <a:gd name="connsiteY179" fmla="*/ 101757 h 242878"/>
                    <a:gd name="connsiteX180" fmla="*/ 165073 w 374382"/>
                    <a:gd name="connsiteY180" fmla="*/ 103396 h 242878"/>
                    <a:gd name="connsiteX181" fmla="*/ 166263 w 374382"/>
                    <a:gd name="connsiteY181" fmla="*/ 104479 h 242878"/>
                    <a:gd name="connsiteX182" fmla="*/ 168406 w 374382"/>
                    <a:gd name="connsiteY182" fmla="*/ 107413 h 242878"/>
                    <a:gd name="connsiteX183" fmla="*/ 170313 w 374382"/>
                    <a:gd name="connsiteY183" fmla="*/ 110608 h 242878"/>
                    <a:gd name="connsiteX184" fmla="*/ 171136 w 374382"/>
                    <a:gd name="connsiteY184" fmla="*/ 111521 h 242878"/>
                    <a:gd name="connsiteX185" fmla="*/ 172106 w 374382"/>
                    <a:gd name="connsiteY185" fmla="*/ 112238 h 242878"/>
                    <a:gd name="connsiteX186" fmla="*/ 172653 w 374382"/>
                    <a:gd name="connsiteY186" fmla="*/ 113966 h 242878"/>
                    <a:gd name="connsiteX187" fmla="*/ 173410 w 374382"/>
                    <a:gd name="connsiteY187" fmla="*/ 119320 h 242878"/>
                    <a:gd name="connsiteX188" fmla="*/ 173182 w 374382"/>
                    <a:gd name="connsiteY188" fmla="*/ 122653 h 242878"/>
                    <a:gd name="connsiteX189" fmla="*/ 172318 w 374382"/>
                    <a:gd name="connsiteY189" fmla="*/ 123884 h 242878"/>
                    <a:gd name="connsiteX190" fmla="*/ 169816 w 374382"/>
                    <a:gd name="connsiteY190" fmla="*/ 124487 h 242878"/>
                    <a:gd name="connsiteX191" fmla="*/ 161047 w 374382"/>
                    <a:gd name="connsiteY191" fmla="*/ 125041 h 242878"/>
                    <a:gd name="connsiteX192" fmla="*/ 155163 w 374382"/>
                    <a:gd name="connsiteY192" fmla="*/ 124422 h 242878"/>
                    <a:gd name="connsiteX193" fmla="*/ 151056 w 374382"/>
                    <a:gd name="connsiteY193" fmla="*/ 127812 h 242878"/>
                    <a:gd name="connsiteX194" fmla="*/ 150950 w 374382"/>
                    <a:gd name="connsiteY194" fmla="*/ 129287 h 242878"/>
                    <a:gd name="connsiteX195" fmla="*/ 151235 w 374382"/>
                    <a:gd name="connsiteY195" fmla="*/ 130656 h 242878"/>
                    <a:gd name="connsiteX196" fmla="*/ 154805 w 374382"/>
                    <a:gd name="connsiteY196" fmla="*/ 137812 h 242878"/>
                    <a:gd name="connsiteX197" fmla="*/ 156915 w 374382"/>
                    <a:gd name="connsiteY197" fmla="*/ 144152 h 242878"/>
                    <a:gd name="connsiteX198" fmla="*/ 158659 w 374382"/>
                    <a:gd name="connsiteY198" fmla="*/ 146744 h 242878"/>
                    <a:gd name="connsiteX199" fmla="*/ 161267 w 374382"/>
                    <a:gd name="connsiteY199" fmla="*/ 148838 h 242878"/>
                    <a:gd name="connsiteX200" fmla="*/ 163590 w 374382"/>
                    <a:gd name="connsiteY200" fmla="*/ 151324 h 242878"/>
                    <a:gd name="connsiteX201" fmla="*/ 165725 w 374382"/>
                    <a:gd name="connsiteY201" fmla="*/ 154177 h 242878"/>
                    <a:gd name="connsiteX202" fmla="*/ 170166 w 374382"/>
                    <a:gd name="connsiteY202" fmla="*/ 159131 h 242878"/>
                    <a:gd name="connsiteX203" fmla="*/ 172587 w 374382"/>
                    <a:gd name="connsiteY203" fmla="*/ 160990 h 242878"/>
                    <a:gd name="connsiteX204" fmla="*/ 175431 w 374382"/>
                    <a:gd name="connsiteY204" fmla="*/ 162131 h 242878"/>
                    <a:gd name="connsiteX205" fmla="*/ 180158 w 374382"/>
                    <a:gd name="connsiteY205" fmla="*/ 165994 h 242878"/>
                    <a:gd name="connsiteX206" fmla="*/ 180777 w 374382"/>
                    <a:gd name="connsiteY206" fmla="*/ 167689 h 242878"/>
                    <a:gd name="connsiteX207" fmla="*/ 182122 w 374382"/>
                    <a:gd name="connsiteY207" fmla="*/ 173059 h 242878"/>
                    <a:gd name="connsiteX208" fmla="*/ 182709 w 374382"/>
                    <a:gd name="connsiteY208" fmla="*/ 176702 h 242878"/>
                    <a:gd name="connsiteX209" fmla="*/ 182799 w 374382"/>
                    <a:gd name="connsiteY209" fmla="*/ 178210 h 242878"/>
                    <a:gd name="connsiteX210" fmla="*/ 183133 w 374382"/>
                    <a:gd name="connsiteY210" fmla="*/ 179555 h 242878"/>
                    <a:gd name="connsiteX211" fmla="*/ 187289 w 374382"/>
                    <a:gd name="connsiteY211" fmla="*/ 182855 h 242878"/>
                    <a:gd name="connsiteX212" fmla="*/ 188194 w 374382"/>
                    <a:gd name="connsiteY212" fmla="*/ 183768 h 242878"/>
                    <a:gd name="connsiteX213" fmla="*/ 190052 w 374382"/>
                    <a:gd name="connsiteY213" fmla="*/ 191119 h 242878"/>
                    <a:gd name="connsiteX214" fmla="*/ 191478 w 374382"/>
                    <a:gd name="connsiteY214" fmla="*/ 194526 h 242878"/>
                    <a:gd name="connsiteX215" fmla="*/ 193866 w 374382"/>
                    <a:gd name="connsiteY215" fmla="*/ 195740 h 242878"/>
                    <a:gd name="connsiteX216" fmla="*/ 196645 w 374382"/>
                    <a:gd name="connsiteY216" fmla="*/ 195659 h 242878"/>
                    <a:gd name="connsiteX217" fmla="*/ 204233 w 374382"/>
                    <a:gd name="connsiteY217" fmla="*/ 193475 h 242878"/>
                    <a:gd name="connsiteX218" fmla="*/ 205341 w 374382"/>
                    <a:gd name="connsiteY218" fmla="*/ 193401 h 242878"/>
                    <a:gd name="connsiteX219" fmla="*/ 206743 w 374382"/>
                    <a:gd name="connsiteY219" fmla="*/ 193898 h 242878"/>
                    <a:gd name="connsiteX220" fmla="*/ 207965 w 374382"/>
                    <a:gd name="connsiteY220" fmla="*/ 195104 h 242878"/>
                    <a:gd name="connsiteX221" fmla="*/ 208364 w 374382"/>
                    <a:gd name="connsiteY221" fmla="*/ 198405 h 242878"/>
                    <a:gd name="connsiteX222" fmla="*/ 207175 w 374382"/>
                    <a:gd name="connsiteY222" fmla="*/ 201877 h 242878"/>
                    <a:gd name="connsiteX223" fmla="*/ 206857 w 374382"/>
                    <a:gd name="connsiteY223" fmla="*/ 205218 h 242878"/>
                    <a:gd name="connsiteX224" fmla="*/ 208340 w 374382"/>
                    <a:gd name="connsiteY224" fmla="*/ 207965 h 242878"/>
                    <a:gd name="connsiteX225" fmla="*/ 212203 w 374382"/>
                    <a:gd name="connsiteY225" fmla="*/ 210108 h 242878"/>
                    <a:gd name="connsiteX226" fmla="*/ 213629 w 374382"/>
                    <a:gd name="connsiteY226" fmla="*/ 210687 h 242878"/>
                    <a:gd name="connsiteX227" fmla="*/ 220581 w 374382"/>
                    <a:gd name="connsiteY227" fmla="*/ 211363 h 242878"/>
                    <a:gd name="connsiteX228" fmla="*/ 223295 w 374382"/>
                    <a:gd name="connsiteY228" fmla="*/ 211942 h 242878"/>
                    <a:gd name="connsiteX229" fmla="*/ 225976 w 374382"/>
                    <a:gd name="connsiteY229" fmla="*/ 212871 h 242878"/>
                    <a:gd name="connsiteX230" fmla="*/ 226897 w 374382"/>
                    <a:gd name="connsiteY230" fmla="*/ 213694 h 242878"/>
                    <a:gd name="connsiteX231" fmla="*/ 226245 w 374382"/>
                    <a:gd name="connsiteY231" fmla="*/ 215177 h 242878"/>
                    <a:gd name="connsiteX232" fmla="*/ 224851 w 374382"/>
                    <a:gd name="connsiteY232" fmla="*/ 215895 h 242878"/>
                    <a:gd name="connsiteX233" fmla="*/ 223262 w 374382"/>
                    <a:gd name="connsiteY233" fmla="*/ 216188 h 242878"/>
                    <a:gd name="connsiteX234" fmla="*/ 220711 w 374382"/>
                    <a:gd name="connsiteY234" fmla="*/ 217247 h 242878"/>
                    <a:gd name="connsiteX235" fmla="*/ 220752 w 374382"/>
                    <a:gd name="connsiteY235" fmla="*/ 219138 h 242878"/>
                    <a:gd name="connsiteX236" fmla="*/ 222203 w 374382"/>
                    <a:gd name="connsiteY236" fmla="*/ 221118 h 242878"/>
                    <a:gd name="connsiteX237" fmla="*/ 223523 w 374382"/>
                    <a:gd name="connsiteY237" fmla="*/ 223506 h 242878"/>
                    <a:gd name="connsiteX238" fmla="*/ 224631 w 374382"/>
                    <a:gd name="connsiteY238" fmla="*/ 224354 h 242878"/>
                    <a:gd name="connsiteX239" fmla="*/ 225829 w 374382"/>
                    <a:gd name="connsiteY239" fmla="*/ 224932 h 242878"/>
                    <a:gd name="connsiteX240" fmla="*/ 228828 w 374382"/>
                    <a:gd name="connsiteY240" fmla="*/ 225764 h 242878"/>
                    <a:gd name="connsiteX241" fmla="*/ 231754 w 374382"/>
                    <a:gd name="connsiteY241" fmla="*/ 226896 h 242878"/>
                    <a:gd name="connsiteX242" fmla="*/ 233661 w 374382"/>
                    <a:gd name="connsiteY242" fmla="*/ 228029 h 242878"/>
                    <a:gd name="connsiteX243" fmla="*/ 235650 w 374382"/>
                    <a:gd name="connsiteY243" fmla="*/ 228836 h 242878"/>
                    <a:gd name="connsiteX244" fmla="*/ 239993 w 374382"/>
                    <a:gd name="connsiteY244" fmla="*/ 229350 h 242878"/>
                    <a:gd name="connsiteX245" fmla="*/ 243172 w 374382"/>
                    <a:gd name="connsiteY245" fmla="*/ 230865 h 242878"/>
                    <a:gd name="connsiteX246" fmla="*/ 247695 w 374382"/>
                    <a:gd name="connsiteY246" fmla="*/ 230238 h 242878"/>
                    <a:gd name="connsiteX247" fmla="*/ 243775 w 374382"/>
                    <a:gd name="connsiteY247" fmla="*/ 232707 h 242878"/>
                    <a:gd name="connsiteX248" fmla="*/ 242430 w 374382"/>
                    <a:gd name="connsiteY248" fmla="*/ 233310 h 242878"/>
                    <a:gd name="connsiteX249" fmla="*/ 237695 w 374382"/>
                    <a:gd name="connsiteY249" fmla="*/ 232389 h 242878"/>
                    <a:gd name="connsiteX250" fmla="*/ 236815 w 374382"/>
                    <a:gd name="connsiteY250" fmla="*/ 233351 h 242878"/>
                    <a:gd name="connsiteX251" fmla="*/ 238763 w 374382"/>
                    <a:gd name="connsiteY251" fmla="*/ 235959 h 242878"/>
                    <a:gd name="connsiteX252" fmla="*/ 241648 w 374382"/>
                    <a:gd name="connsiteY252" fmla="*/ 237728 h 242878"/>
                    <a:gd name="connsiteX253" fmla="*/ 242683 w 374382"/>
                    <a:gd name="connsiteY253" fmla="*/ 238754 h 242878"/>
                    <a:gd name="connsiteX254" fmla="*/ 241958 w 374382"/>
                    <a:gd name="connsiteY254" fmla="*/ 239944 h 242878"/>
                    <a:gd name="connsiteX255" fmla="*/ 238600 w 374382"/>
                    <a:gd name="connsiteY255" fmla="*/ 242332 h 242878"/>
                    <a:gd name="connsiteX256" fmla="*/ 237190 w 374382"/>
                    <a:gd name="connsiteY256" fmla="*/ 242691 h 242878"/>
                    <a:gd name="connsiteX257" fmla="*/ 234566 w 374382"/>
                    <a:gd name="connsiteY257" fmla="*/ 242878 h 242878"/>
                    <a:gd name="connsiteX258" fmla="*/ 230165 w 374382"/>
                    <a:gd name="connsiteY258" fmla="*/ 241835 h 242878"/>
                    <a:gd name="connsiteX259" fmla="*/ 227052 w 374382"/>
                    <a:gd name="connsiteY259" fmla="*/ 240531 h 242878"/>
                    <a:gd name="connsiteX260" fmla="*/ 226180 w 374382"/>
                    <a:gd name="connsiteY260" fmla="*/ 238738 h 242878"/>
                    <a:gd name="connsiteX261" fmla="*/ 225348 w 374382"/>
                    <a:gd name="connsiteY261" fmla="*/ 237671 h 242878"/>
                    <a:gd name="connsiteX262" fmla="*/ 222537 w 374382"/>
                    <a:gd name="connsiteY262" fmla="*/ 235136 h 242878"/>
                    <a:gd name="connsiteX263" fmla="*/ 220532 w 374382"/>
                    <a:gd name="connsiteY263" fmla="*/ 233759 h 242878"/>
                    <a:gd name="connsiteX264" fmla="*/ 217981 w 374382"/>
                    <a:gd name="connsiteY264" fmla="*/ 233278 h 242878"/>
                    <a:gd name="connsiteX265" fmla="*/ 215333 w 374382"/>
                    <a:gd name="connsiteY265" fmla="*/ 233319 h 242878"/>
                    <a:gd name="connsiteX266" fmla="*/ 210581 w 374382"/>
                    <a:gd name="connsiteY266" fmla="*/ 231844 h 242878"/>
                    <a:gd name="connsiteX267" fmla="*/ 200255 w 374382"/>
                    <a:gd name="connsiteY267" fmla="*/ 230800 h 242878"/>
                    <a:gd name="connsiteX268" fmla="*/ 197803 w 374382"/>
                    <a:gd name="connsiteY268" fmla="*/ 230157 h 242878"/>
                    <a:gd name="connsiteX269" fmla="*/ 194714 w 374382"/>
                    <a:gd name="connsiteY269" fmla="*/ 228135 h 242878"/>
                    <a:gd name="connsiteX270" fmla="*/ 193247 w 374382"/>
                    <a:gd name="connsiteY270" fmla="*/ 227842 h 242878"/>
                    <a:gd name="connsiteX271" fmla="*/ 191690 w 374382"/>
                    <a:gd name="connsiteY271" fmla="*/ 228486 h 242878"/>
                    <a:gd name="connsiteX272" fmla="*/ 187697 w 374382"/>
                    <a:gd name="connsiteY272" fmla="*/ 228877 h 242878"/>
                    <a:gd name="connsiteX273" fmla="*/ 186531 w 374382"/>
                    <a:gd name="connsiteY273" fmla="*/ 228698 h 242878"/>
                    <a:gd name="connsiteX274" fmla="*/ 183687 w 374382"/>
                    <a:gd name="connsiteY274" fmla="*/ 226970 h 242878"/>
                    <a:gd name="connsiteX275" fmla="*/ 180753 w 374382"/>
                    <a:gd name="connsiteY275" fmla="*/ 226351 h 242878"/>
                    <a:gd name="connsiteX276" fmla="*/ 179539 w 374382"/>
                    <a:gd name="connsiteY276" fmla="*/ 226856 h 242878"/>
                    <a:gd name="connsiteX277" fmla="*/ 178308 w 374382"/>
                    <a:gd name="connsiteY277" fmla="*/ 226978 h 242878"/>
                    <a:gd name="connsiteX278" fmla="*/ 174299 w 374382"/>
                    <a:gd name="connsiteY278" fmla="*/ 225739 h 242878"/>
                    <a:gd name="connsiteX279" fmla="*/ 171300 w 374382"/>
                    <a:gd name="connsiteY279" fmla="*/ 225234 h 242878"/>
                    <a:gd name="connsiteX280" fmla="*/ 168814 w 374382"/>
                    <a:gd name="connsiteY280" fmla="*/ 223515 h 242878"/>
                    <a:gd name="connsiteX281" fmla="*/ 167461 w 374382"/>
                    <a:gd name="connsiteY281" fmla="*/ 221901 h 242878"/>
                    <a:gd name="connsiteX282" fmla="*/ 165945 w 374382"/>
                    <a:gd name="connsiteY282" fmla="*/ 220466 h 242878"/>
                    <a:gd name="connsiteX283" fmla="*/ 164535 w 374382"/>
                    <a:gd name="connsiteY283" fmla="*/ 216791 h 242878"/>
                    <a:gd name="connsiteX284" fmla="*/ 162351 w 374382"/>
                    <a:gd name="connsiteY284" fmla="*/ 213295 h 242878"/>
                    <a:gd name="connsiteX285" fmla="*/ 159629 w 374382"/>
                    <a:gd name="connsiteY285" fmla="*/ 210426 h 242878"/>
                    <a:gd name="connsiteX286" fmla="*/ 153818 w 374382"/>
                    <a:gd name="connsiteY286" fmla="*/ 205797 h 242878"/>
                    <a:gd name="connsiteX287" fmla="*/ 152636 w 374382"/>
                    <a:gd name="connsiteY287" fmla="*/ 204648 h 242878"/>
                    <a:gd name="connsiteX288" fmla="*/ 150371 w 374382"/>
                    <a:gd name="connsiteY288" fmla="*/ 200402 h 242878"/>
                    <a:gd name="connsiteX289" fmla="*/ 150493 w 374382"/>
                    <a:gd name="connsiteY289" fmla="*/ 197582 h 242878"/>
                    <a:gd name="connsiteX290" fmla="*/ 151316 w 374382"/>
                    <a:gd name="connsiteY290" fmla="*/ 194746 h 242878"/>
                    <a:gd name="connsiteX291" fmla="*/ 150078 w 374382"/>
                    <a:gd name="connsiteY291" fmla="*/ 195716 h 242878"/>
                    <a:gd name="connsiteX292" fmla="*/ 148660 w 374382"/>
                    <a:gd name="connsiteY292" fmla="*/ 195585 h 242878"/>
                    <a:gd name="connsiteX293" fmla="*/ 144707 w 374382"/>
                    <a:gd name="connsiteY293" fmla="*/ 193719 h 242878"/>
                    <a:gd name="connsiteX294" fmla="*/ 143069 w 374382"/>
                    <a:gd name="connsiteY294" fmla="*/ 191494 h 242878"/>
                    <a:gd name="connsiteX295" fmla="*/ 140428 w 374382"/>
                    <a:gd name="connsiteY295" fmla="*/ 185414 h 242878"/>
                    <a:gd name="connsiteX296" fmla="*/ 138733 w 374382"/>
                    <a:gd name="connsiteY296" fmla="*/ 182220 h 242878"/>
                    <a:gd name="connsiteX297" fmla="*/ 134780 w 374382"/>
                    <a:gd name="connsiteY297" fmla="*/ 176556 h 242878"/>
                    <a:gd name="connsiteX298" fmla="*/ 133639 w 374382"/>
                    <a:gd name="connsiteY298" fmla="*/ 173198 h 242878"/>
                    <a:gd name="connsiteX299" fmla="*/ 131993 w 374382"/>
                    <a:gd name="connsiteY299" fmla="*/ 170264 h 242878"/>
                    <a:gd name="connsiteX300" fmla="*/ 130975 w 374382"/>
                    <a:gd name="connsiteY300" fmla="*/ 169172 h 242878"/>
                    <a:gd name="connsiteX301" fmla="*/ 130127 w 374382"/>
                    <a:gd name="connsiteY301" fmla="*/ 167917 h 242878"/>
                    <a:gd name="connsiteX302" fmla="*/ 129377 w 374382"/>
                    <a:gd name="connsiteY302" fmla="*/ 166295 h 242878"/>
                    <a:gd name="connsiteX303" fmla="*/ 128252 w 374382"/>
                    <a:gd name="connsiteY303" fmla="*/ 165146 h 242878"/>
                    <a:gd name="connsiteX304" fmla="*/ 122743 w 374382"/>
                    <a:gd name="connsiteY304" fmla="*/ 162628 h 242878"/>
                    <a:gd name="connsiteX305" fmla="*/ 121765 w 374382"/>
                    <a:gd name="connsiteY305" fmla="*/ 161837 h 242878"/>
                    <a:gd name="connsiteX306" fmla="*/ 120698 w 374382"/>
                    <a:gd name="connsiteY306" fmla="*/ 161414 h 242878"/>
                    <a:gd name="connsiteX307" fmla="*/ 116598 w 374382"/>
                    <a:gd name="connsiteY307" fmla="*/ 161161 h 242878"/>
                    <a:gd name="connsiteX308" fmla="*/ 114235 w 374382"/>
                    <a:gd name="connsiteY308" fmla="*/ 160737 h 242878"/>
                    <a:gd name="connsiteX309" fmla="*/ 109761 w 374382"/>
                    <a:gd name="connsiteY309" fmla="*/ 158683 h 242878"/>
                    <a:gd name="connsiteX310" fmla="*/ 107455 w 374382"/>
                    <a:gd name="connsiteY310" fmla="*/ 158064 h 242878"/>
                    <a:gd name="connsiteX311" fmla="*/ 104667 w 374382"/>
                    <a:gd name="connsiteY311" fmla="*/ 157673 h 242878"/>
                    <a:gd name="connsiteX312" fmla="*/ 101978 w 374382"/>
                    <a:gd name="connsiteY312" fmla="*/ 156899 h 242878"/>
                    <a:gd name="connsiteX313" fmla="*/ 100674 w 374382"/>
                    <a:gd name="connsiteY313" fmla="*/ 156116 h 242878"/>
                    <a:gd name="connsiteX314" fmla="*/ 99794 w 374382"/>
                    <a:gd name="connsiteY314" fmla="*/ 154829 h 242878"/>
                    <a:gd name="connsiteX315" fmla="*/ 99264 w 374382"/>
                    <a:gd name="connsiteY315" fmla="*/ 151748 h 242878"/>
                    <a:gd name="connsiteX316" fmla="*/ 97023 w 374382"/>
                    <a:gd name="connsiteY316" fmla="*/ 152082 h 242878"/>
                    <a:gd name="connsiteX317" fmla="*/ 94814 w 374382"/>
                    <a:gd name="connsiteY317" fmla="*/ 151560 h 242878"/>
                    <a:gd name="connsiteX318" fmla="*/ 92663 w 374382"/>
                    <a:gd name="connsiteY318" fmla="*/ 150468 h 242878"/>
                    <a:gd name="connsiteX319" fmla="*/ 90470 w 374382"/>
                    <a:gd name="connsiteY319" fmla="*/ 149833 h 242878"/>
                    <a:gd name="connsiteX320" fmla="*/ 88979 w 374382"/>
                    <a:gd name="connsiteY320" fmla="*/ 150754 h 242878"/>
                    <a:gd name="connsiteX321" fmla="*/ 88522 w 374382"/>
                    <a:gd name="connsiteY321" fmla="*/ 153198 h 242878"/>
                    <a:gd name="connsiteX322" fmla="*/ 87830 w 374382"/>
                    <a:gd name="connsiteY322" fmla="*/ 153329 h 242878"/>
                    <a:gd name="connsiteX323" fmla="*/ 86559 w 374382"/>
                    <a:gd name="connsiteY323" fmla="*/ 152824 h 242878"/>
                    <a:gd name="connsiteX324" fmla="*/ 85923 w 374382"/>
                    <a:gd name="connsiteY324" fmla="*/ 153117 h 242878"/>
                    <a:gd name="connsiteX325" fmla="*/ 84521 w 374382"/>
                    <a:gd name="connsiteY325" fmla="*/ 154242 h 242878"/>
                    <a:gd name="connsiteX326" fmla="*/ 83421 w 374382"/>
                    <a:gd name="connsiteY326" fmla="*/ 155774 h 242878"/>
                    <a:gd name="connsiteX327" fmla="*/ 81367 w 374382"/>
                    <a:gd name="connsiteY327" fmla="*/ 155554 h 242878"/>
                    <a:gd name="connsiteX328" fmla="*/ 77170 w 374382"/>
                    <a:gd name="connsiteY328" fmla="*/ 154005 h 242878"/>
                    <a:gd name="connsiteX329" fmla="*/ 75304 w 374382"/>
                    <a:gd name="connsiteY329" fmla="*/ 153036 h 242878"/>
                    <a:gd name="connsiteX330" fmla="*/ 73723 w 374382"/>
                    <a:gd name="connsiteY330" fmla="*/ 151308 h 242878"/>
                    <a:gd name="connsiteX331" fmla="*/ 72354 w 374382"/>
                    <a:gd name="connsiteY331" fmla="*/ 149319 h 242878"/>
                    <a:gd name="connsiteX332" fmla="*/ 70960 w 374382"/>
                    <a:gd name="connsiteY332" fmla="*/ 147771 h 242878"/>
                    <a:gd name="connsiteX333" fmla="*/ 69273 w 374382"/>
                    <a:gd name="connsiteY333" fmla="*/ 146622 h 242878"/>
                    <a:gd name="connsiteX334" fmla="*/ 71441 w 374382"/>
                    <a:gd name="connsiteY334" fmla="*/ 149311 h 242878"/>
                    <a:gd name="connsiteX335" fmla="*/ 76388 w 374382"/>
                    <a:gd name="connsiteY335" fmla="*/ 161177 h 242878"/>
                    <a:gd name="connsiteX336" fmla="*/ 75157 w 374382"/>
                    <a:gd name="connsiteY336" fmla="*/ 161405 h 242878"/>
                    <a:gd name="connsiteX337" fmla="*/ 73877 w 374382"/>
                    <a:gd name="connsiteY337" fmla="*/ 161104 h 242878"/>
                    <a:gd name="connsiteX338" fmla="*/ 75059 w 374382"/>
                    <a:gd name="connsiteY338" fmla="*/ 163386 h 242878"/>
                    <a:gd name="connsiteX339" fmla="*/ 73706 w 374382"/>
                    <a:gd name="connsiteY339" fmla="*/ 163728 h 242878"/>
                    <a:gd name="connsiteX340" fmla="*/ 72362 w 374382"/>
                    <a:gd name="connsiteY340" fmla="*/ 163696 h 242878"/>
                    <a:gd name="connsiteX341" fmla="*/ 69525 w 374382"/>
                    <a:gd name="connsiteY341" fmla="*/ 162717 h 242878"/>
                    <a:gd name="connsiteX342" fmla="*/ 66706 w 374382"/>
                    <a:gd name="connsiteY342" fmla="*/ 162392 h 242878"/>
                    <a:gd name="connsiteX343" fmla="*/ 65874 w 374382"/>
                    <a:gd name="connsiteY343" fmla="*/ 162880 h 242878"/>
                    <a:gd name="connsiteX344" fmla="*/ 66469 w 374382"/>
                    <a:gd name="connsiteY344" fmla="*/ 163728 h 242878"/>
                    <a:gd name="connsiteX345" fmla="*/ 67456 w 374382"/>
                    <a:gd name="connsiteY345" fmla="*/ 166246 h 242878"/>
                    <a:gd name="connsiteX346" fmla="*/ 68254 w 374382"/>
                    <a:gd name="connsiteY346" fmla="*/ 168879 h 242878"/>
                    <a:gd name="connsiteX347" fmla="*/ 64188 w 374382"/>
                    <a:gd name="connsiteY347" fmla="*/ 170068 h 242878"/>
                    <a:gd name="connsiteX348" fmla="*/ 60023 w 374382"/>
                    <a:gd name="connsiteY348" fmla="*/ 170794 h 242878"/>
                    <a:gd name="connsiteX349" fmla="*/ 55378 w 374382"/>
                    <a:gd name="connsiteY349" fmla="*/ 172220 h 242878"/>
                    <a:gd name="connsiteX350" fmla="*/ 50684 w 374382"/>
                    <a:gd name="connsiteY350" fmla="*/ 172326 h 242878"/>
                    <a:gd name="connsiteX351" fmla="*/ 48279 w 374382"/>
                    <a:gd name="connsiteY351" fmla="*/ 171495 h 242878"/>
                    <a:gd name="connsiteX352" fmla="*/ 45794 w 374382"/>
                    <a:gd name="connsiteY352" fmla="*/ 171046 h 242878"/>
                    <a:gd name="connsiteX353" fmla="*/ 43471 w 374382"/>
                    <a:gd name="connsiteY353" fmla="*/ 171495 h 242878"/>
                    <a:gd name="connsiteX354" fmla="*/ 41230 w 374382"/>
                    <a:gd name="connsiteY354" fmla="*/ 172530 h 242878"/>
                    <a:gd name="connsiteX355" fmla="*/ 39339 w 374382"/>
                    <a:gd name="connsiteY355" fmla="*/ 172359 h 242878"/>
                    <a:gd name="connsiteX356" fmla="*/ 38133 w 374382"/>
                    <a:gd name="connsiteY356" fmla="*/ 170500 h 242878"/>
                    <a:gd name="connsiteX357" fmla="*/ 37571 w 374382"/>
                    <a:gd name="connsiteY357" fmla="*/ 169107 h 242878"/>
                    <a:gd name="connsiteX358" fmla="*/ 36853 w 374382"/>
                    <a:gd name="connsiteY358" fmla="*/ 167884 h 242878"/>
                    <a:gd name="connsiteX359" fmla="*/ 35077 w 374382"/>
                    <a:gd name="connsiteY359" fmla="*/ 168072 h 242878"/>
                    <a:gd name="connsiteX360" fmla="*/ 33365 w 374382"/>
                    <a:gd name="connsiteY360" fmla="*/ 168732 h 242878"/>
                    <a:gd name="connsiteX361" fmla="*/ 36291 w 374382"/>
                    <a:gd name="connsiteY361" fmla="*/ 168813 h 242878"/>
                    <a:gd name="connsiteX362" fmla="*/ 37171 w 374382"/>
                    <a:gd name="connsiteY362" fmla="*/ 170370 h 242878"/>
                    <a:gd name="connsiteX363" fmla="*/ 37929 w 374382"/>
                    <a:gd name="connsiteY363" fmla="*/ 172253 h 242878"/>
                    <a:gd name="connsiteX364" fmla="*/ 40008 w 374382"/>
                    <a:gd name="connsiteY364" fmla="*/ 173956 h 242878"/>
                    <a:gd name="connsiteX365" fmla="*/ 42517 w 374382"/>
                    <a:gd name="connsiteY365" fmla="*/ 172937 h 242878"/>
                    <a:gd name="connsiteX366" fmla="*/ 48026 w 374382"/>
                    <a:gd name="connsiteY366" fmla="*/ 173222 h 242878"/>
                    <a:gd name="connsiteX367" fmla="*/ 53381 w 374382"/>
                    <a:gd name="connsiteY367" fmla="*/ 176181 h 242878"/>
                    <a:gd name="connsiteX368" fmla="*/ 54644 w 374382"/>
                    <a:gd name="connsiteY368" fmla="*/ 176531 h 242878"/>
                    <a:gd name="connsiteX369" fmla="*/ 55810 w 374382"/>
                    <a:gd name="connsiteY369" fmla="*/ 177118 h 242878"/>
                    <a:gd name="connsiteX370" fmla="*/ 58564 w 374382"/>
                    <a:gd name="connsiteY370" fmla="*/ 180036 h 242878"/>
                    <a:gd name="connsiteX371" fmla="*/ 60650 w 374382"/>
                    <a:gd name="connsiteY371" fmla="*/ 182717 h 242878"/>
                    <a:gd name="connsiteX372" fmla="*/ 62394 w 374382"/>
                    <a:gd name="connsiteY372" fmla="*/ 185765 h 242878"/>
                    <a:gd name="connsiteX373" fmla="*/ 62769 w 374382"/>
                    <a:gd name="connsiteY373" fmla="*/ 186955 h 242878"/>
                    <a:gd name="connsiteX374" fmla="*/ 62647 w 374382"/>
                    <a:gd name="connsiteY374" fmla="*/ 190158 h 242878"/>
                    <a:gd name="connsiteX375" fmla="*/ 62126 w 374382"/>
                    <a:gd name="connsiteY375" fmla="*/ 191755 h 242878"/>
                    <a:gd name="connsiteX376" fmla="*/ 58670 w 374382"/>
                    <a:gd name="connsiteY376" fmla="*/ 194004 h 242878"/>
                    <a:gd name="connsiteX377" fmla="*/ 54978 w 374382"/>
                    <a:gd name="connsiteY377" fmla="*/ 195716 h 242878"/>
                    <a:gd name="connsiteX378" fmla="*/ 49551 w 374382"/>
                    <a:gd name="connsiteY378" fmla="*/ 199025 h 242878"/>
                    <a:gd name="connsiteX379" fmla="*/ 44286 w 374382"/>
                    <a:gd name="connsiteY379" fmla="*/ 202806 h 242878"/>
                    <a:gd name="connsiteX380" fmla="*/ 41515 w 374382"/>
                    <a:gd name="connsiteY380" fmla="*/ 202064 h 242878"/>
                    <a:gd name="connsiteX381" fmla="*/ 39021 w 374382"/>
                    <a:gd name="connsiteY381" fmla="*/ 200068 h 242878"/>
                    <a:gd name="connsiteX382" fmla="*/ 38060 w 374382"/>
                    <a:gd name="connsiteY382" fmla="*/ 199522 h 242878"/>
                    <a:gd name="connsiteX383" fmla="*/ 35500 w 374382"/>
                    <a:gd name="connsiteY383" fmla="*/ 198446 h 242878"/>
                    <a:gd name="connsiteX384" fmla="*/ 33928 w 374382"/>
                    <a:gd name="connsiteY384" fmla="*/ 198047 h 242878"/>
                    <a:gd name="connsiteX385" fmla="*/ 27709 w 374382"/>
                    <a:gd name="connsiteY385" fmla="*/ 198894 h 242878"/>
                    <a:gd name="connsiteX386" fmla="*/ 21475 w 374382"/>
                    <a:gd name="connsiteY386" fmla="*/ 199334 h 242878"/>
                    <a:gd name="connsiteX387" fmla="*/ 18842 w 374382"/>
                    <a:gd name="connsiteY387" fmla="*/ 199302 h 242878"/>
                    <a:gd name="connsiteX388" fmla="*/ 16299 w 374382"/>
                    <a:gd name="connsiteY388" fmla="*/ 198658 h 242878"/>
                    <a:gd name="connsiteX389" fmla="*/ 13488 w 374382"/>
                    <a:gd name="connsiteY389" fmla="*/ 197476 h 242878"/>
                    <a:gd name="connsiteX390" fmla="*/ 10709 w 374382"/>
                    <a:gd name="connsiteY390" fmla="*/ 197989 h 242878"/>
                    <a:gd name="connsiteX391" fmla="*/ 8810 w 374382"/>
                    <a:gd name="connsiteY391" fmla="*/ 199383 h 242878"/>
                    <a:gd name="connsiteX392" fmla="*/ 6732 w 374382"/>
                    <a:gd name="connsiteY392" fmla="*/ 199579 h 242878"/>
                    <a:gd name="connsiteX393" fmla="*/ 2828 w 374382"/>
                    <a:gd name="connsiteY393" fmla="*/ 196490 h 242878"/>
                    <a:gd name="connsiteX394" fmla="*/ 2820 w 374382"/>
                    <a:gd name="connsiteY394" fmla="*/ 196107 h 242878"/>
                    <a:gd name="connsiteX395" fmla="*/ 2820 w 374382"/>
                    <a:gd name="connsiteY395" fmla="*/ 189970 h 242878"/>
                    <a:gd name="connsiteX396" fmla="*/ 2820 w 374382"/>
                    <a:gd name="connsiteY396" fmla="*/ 183850 h 242878"/>
                    <a:gd name="connsiteX397" fmla="*/ 2820 w 374382"/>
                    <a:gd name="connsiteY397" fmla="*/ 177737 h 242878"/>
                    <a:gd name="connsiteX398" fmla="*/ 2820 w 374382"/>
                    <a:gd name="connsiteY398" fmla="*/ 171617 h 242878"/>
                    <a:gd name="connsiteX399" fmla="*/ 2812 w 374382"/>
                    <a:gd name="connsiteY399" fmla="*/ 165488 h 242878"/>
                    <a:gd name="connsiteX400" fmla="*/ 2812 w 374382"/>
                    <a:gd name="connsiteY400" fmla="*/ 159376 h 242878"/>
                    <a:gd name="connsiteX401" fmla="*/ 2812 w 374382"/>
                    <a:gd name="connsiteY401" fmla="*/ 153264 h 242878"/>
                    <a:gd name="connsiteX402" fmla="*/ 2804 w 374382"/>
                    <a:gd name="connsiteY402" fmla="*/ 147143 h 242878"/>
                    <a:gd name="connsiteX403" fmla="*/ 2804 w 374382"/>
                    <a:gd name="connsiteY403" fmla="*/ 141031 h 242878"/>
                    <a:gd name="connsiteX404" fmla="*/ 2804 w 374382"/>
                    <a:gd name="connsiteY404" fmla="*/ 134927 h 242878"/>
                    <a:gd name="connsiteX405" fmla="*/ 2804 w 374382"/>
                    <a:gd name="connsiteY405" fmla="*/ 129907 h 242878"/>
                    <a:gd name="connsiteX406" fmla="*/ 1435 w 374382"/>
                    <a:gd name="connsiteY406" fmla="*/ 127942 h 242878"/>
                    <a:gd name="connsiteX407" fmla="*/ 0 w 374382"/>
                    <a:gd name="connsiteY407" fmla="*/ 124935 h 242878"/>
                    <a:gd name="connsiteX408" fmla="*/ 318 w 374382"/>
                    <a:gd name="connsiteY408" fmla="*/ 121081 h 242878"/>
                    <a:gd name="connsiteX409" fmla="*/ 2029 w 374382"/>
                    <a:gd name="connsiteY409" fmla="*/ 116288 h 242878"/>
                    <a:gd name="connsiteX410" fmla="*/ 2804 w 374382"/>
                    <a:gd name="connsiteY410" fmla="*/ 113102 h 242878"/>
                    <a:gd name="connsiteX411" fmla="*/ 2804 w 374382"/>
                    <a:gd name="connsiteY411" fmla="*/ 110502 h 242878"/>
                    <a:gd name="connsiteX412" fmla="*/ 2804 w 374382"/>
                    <a:gd name="connsiteY412" fmla="*/ 104390 h 242878"/>
                    <a:gd name="connsiteX413" fmla="*/ 2804 w 374382"/>
                    <a:gd name="connsiteY413" fmla="*/ 98294 h 242878"/>
                    <a:gd name="connsiteX414" fmla="*/ 2788 w 374382"/>
                    <a:gd name="connsiteY414" fmla="*/ 92181 h 242878"/>
                    <a:gd name="connsiteX415" fmla="*/ 2788 w 374382"/>
                    <a:gd name="connsiteY415" fmla="*/ 86094 h 242878"/>
                    <a:gd name="connsiteX416" fmla="*/ 2788 w 374382"/>
                    <a:gd name="connsiteY416" fmla="*/ 79989 h 242878"/>
                    <a:gd name="connsiteX417" fmla="*/ 2788 w 374382"/>
                    <a:gd name="connsiteY417" fmla="*/ 73894 h 242878"/>
                    <a:gd name="connsiteX418" fmla="*/ 2788 w 374382"/>
                    <a:gd name="connsiteY418" fmla="*/ 67797 h 242878"/>
                    <a:gd name="connsiteX419" fmla="*/ 2788 w 374382"/>
                    <a:gd name="connsiteY419" fmla="*/ 61701 h 242878"/>
                    <a:gd name="connsiteX420" fmla="*/ 2788 w 374382"/>
                    <a:gd name="connsiteY420" fmla="*/ 55597 h 242878"/>
                    <a:gd name="connsiteX421" fmla="*/ 2788 w 374382"/>
                    <a:gd name="connsiteY421" fmla="*/ 49501 h 242878"/>
                    <a:gd name="connsiteX422" fmla="*/ 2788 w 374382"/>
                    <a:gd name="connsiteY422" fmla="*/ 43414 h 242878"/>
                    <a:gd name="connsiteX423" fmla="*/ 2788 w 374382"/>
                    <a:gd name="connsiteY423" fmla="*/ 37317 h 242878"/>
                    <a:gd name="connsiteX424" fmla="*/ 2788 w 374382"/>
                    <a:gd name="connsiteY424" fmla="*/ 31230 h 242878"/>
                    <a:gd name="connsiteX425" fmla="*/ 2771 w 374382"/>
                    <a:gd name="connsiteY425" fmla="*/ 25142 h 242878"/>
                    <a:gd name="connsiteX426" fmla="*/ 2771 w 374382"/>
                    <a:gd name="connsiteY426" fmla="*/ 19046 h 242878"/>
                    <a:gd name="connsiteX427" fmla="*/ 2771 w 374382"/>
                    <a:gd name="connsiteY427" fmla="*/ 12958 h 242878"/>
                    <a:gd name="connsiteX428" fmla="*/ 2771 w 374382"/>
                    <a:gd name="connsiteY428" fmla="*/ 6862 h 242878"/>
                    <a:gd name="connsiteX429" fmla="*/ 2771 w 374382"/>
                    <a:gd name="connsiteY429" fmla="*/ 3211 h 242878"/>
                    <a:gd name="connsiteX430" fmla="*/ 2771 w 374382"/>
                    <a:gd name="connsiteY430" fmla="*/ 1182 h 242878"/>
                    <a:gd name="connsiteX431" fmla="*/ 2771 w 374382"/>
                    <a:gd name="connsiteY431" fmla="*/ 1059 h 242878"/>
                    <a:gd name="connsiteX432" fmla="*/ 3505 w 374382"/>
                    <a:gd name="connsiteY432" fmla="*/ 1076 h 242878"/>
                    <a:gd name="connsiteX433" fmla="*/ 6023 w 374382"/>
                    <a:gd name="connsiteY433" fmla="*/ 1116 h 242878"/>
                    <a:gd name="connsiteX434" fmla="*/ 8036 w 374382"/>
                    <a:gd name="connsiteY434" fmla="*/ 1614 h 242878"/>
                    <a:gd name="connsiteX435" fmla="*/ 20456 w 374382"/>
                    <a:gd name="connsiteY435" fmla="*/ 8117 h 242878"/>
                    <a:gd name="connsiteX436" fmla="*/ 24172 w 374382"/>
                    <a:gd name="connsiteY436" fmla="*/ 10725 h 242878"/>
                    <a:gd name="connsiteX437" fmla="*/ 25436 w 374382"/>
                    <a:gd name="connsiteY437" fmla="*/ 11336 h 242878"/>
                    <a:gd name="connsiteX438" fmla="*/ 26674 w 374382"/>
                    <a:gd name="connsiteY438" fmla="*/ 11361 h 242878"/>
                    <a:gd name="connsiteX439" fmla="*/ 27864 w 374382"/>
                    <a:gd name="connsiteY439" fmla="*/ 11662 h 242878"/>
                    <a:gd name="connsiteX440" fmla="*/ 33463 w 374382"/>
                    <a:gd name="connsiteY440" fmla="*/ 15256 h 242878"/>
                    <a:gd name="connsiteX441" fmla="*/ 41833 w 374382"/>
                    <a:gd name="connsiteY441" fmla="*/ 18883 h 242878"/>
                    <a:gd name="connsiteX442" fmla="*/ 50667 w 374382"/>
                    <a:gd name="connsiteY442" fmla="*/ 22355 h 242878"/>
                    <a:gd name="connsiteX443" fmla="*/ 53406 w 374382"/>
                    <a:gd name="connsiteY443" fmla="*/ 23088 h 242878"/>
                    <a:gd name="connsiteX444" fmla="*/ 56241 w 374382"/>
                    <a:gd name="connsiteY444" fmla="*/ 23390 h 242878"/>
                    <a:gd name="connsiteX445" fmla="*/ 62403 w 374382"/>
                    <a:gd name="connsiteY445" fmla="*/ 24596 h 242878"/>
                    <a:gd name="connsiteX446" fmla="*/ 65638 w 374382"/>
                    <a:gd name="connsiteY446" fmla="*/ 25672 h 242878"/>
                    <a:gd name="connsiteX447" fmla="*/ 70406 w 374382"/>
                    <a:gd name="connsiteY447" fmla="*/ 29926 h 242878"/>
                    <a:gd name="connsiteX448" fmla="*/ 72786 w 374382"/>
                    <a:gd name="connsiteY448" fmla="*/ 31246 h 242878"/>
                    <a:gd name="connsiteX449" fmla="*/ 75035 w 374382"/>
                    <a:gd name="connsiteY449" fmla="*/ 33650 h 242878"/>
                    <a:gd name="connsiteX450" fmla="*/ 78213 w 374382"/>
                    <a:gd name="connsiteY450" fmla="*/ 36217 h 242878"/>
                    <a:gd name="connsiteX451" fmla="*/ 79468 w 374382"/>
                    <a:gd name="connsiteY451" fmla="*/ 36869 h 242878"/>
                    <a:gd name="connsiteX452" fmla="*/ 80829 w 374382"/>
                    <a:gd name="connsiteY452" fmla="*/ 37228 h 242878"/>
                    <a:gd name="connsiteX453" fmla="*/ 300171 w 374382"/>
                    <a:gd name="connsiteY453" fmla="*/ 65450 h 242878"/>
                    <a:gd name="connsiteX454" fmla="*/ 298321 w 374382"/>
                    <a:gd name="connsiteY454" fmla="*/ 67716 h 242878"/>
                    <a:gd name="connsiteX455" fmla="*/ 297180 w 374382"/>
                    <a:gd name="connsiteY455" fmla="*/ 65597 h 242878"/>
                    <a:gd name="connsiteX456" fmla="*/ 295713 w 374382"/>
                    <a:gd name="connsiteY456" fmla="*/ 63731 h 242878"/>
                    <a:gd name="connsiteX457" fmla="*/ 294556 w 374382"/>
                    <a:gd name="connsiteY457" fmla="*/ 61824 h 242878"/>
                    <a:gd name="connsiteX458" fmla="*/ 293081 w 374382"/>
                    <a:gd name="connsiteY458" fmla="*/ 57708 h 242878"/>
                    <a:gd name="connsiteX459" fmla="*/ 292999 w 374382"/>
                    <a:gd name="connsiteY459" fmla="*/ 55622 h 242878"/>
                    <a:gd name="connsiteX460" fmla="*/ 293399 w 374382"/>
                    <a:gd name="connsiteY460" fmla="*/ 53438 h 242878"/>
                    <a:gd name="connsiteX461" fmla="*/ 293488 w 374382"/>
                    <a:gd name="connsiteY461" fmla="*/ 51213 h 242878"/>
                    <a:gd name="connsiteX462" fmla="*/ 292771 w 374382"/>
                    <a:gd name="connsiteY462" fmla="*/ 46706 h 242878"/>
                    <a:gd name="connsiteX463" fmla="*/ 291044 w 374382"/>
                    <a:gd name="connsiteY463" fmla="*/ 42607 h 242878"/>
                    <a:gd name="connsiteX464" fmla="*/ 285029 w 374382"/>
                    <a:gd name="connsiteY464" fmla="*/ 32811 h 242878"/>
                    <a:gd name="connsiteX465" fmla="*/ 283138 w 374382"/>
                    <a:gd name="connsiteY465" fmla="*/ 30252 h 242878"/>
                    <a:gd name="connsiteX466" fmla="*/ 280970 w 374382"/>
                    <a:gd name="connsiteY466" fmla="*/ 27954 h 242878"/>
                    <a:gd name="connsiteX467" fmla="*/ 279593 w 374382"/>
                    <a:gd name="connsiteY467" fmla="*/ 27399 h 242878"/>
                    <a:gd name="connsiteX468" fmla="*/ 276773 w 374382"/>
                    <a:gd name="connsiteY468" fmla="*/ 26853 h 242878"/>
                    <a:gd name="connsiteX469" fmla="*/ 275534 w 374382"/>
                    <a:gd name="connsiteY469" fmla="*/ 26381 h 242878"/>
                    <a:gd name="connsiteX470" fmla="*/ 273220 w 374382"/>
                    <a:gd name="connsiteY470" fmla="*/ 24783 h 242878"/>
                    <a:gd name="connsiteX471" fmla="*/ 271069 w 374382"/>
                    <a:gd name="connsiteY471" fmla="*/ 22925 h 242878"/>
                    <a:gd name="connsiteX472" fmla="*/ 265755 w 374382"/>
                    <a:gd name="connsiteY472" fmla="*/ 17391 h 242878"/>
                    <a:gd name="connsiteX473" fmla="*/ 262935 w 374382"/>
                    <a:gd name="connsiteY473" fmla="*/ 15835 h 242878"/>
                    <a:gd name="connsiteX474" fmla="*/ 261444 w 374382"/>
                    <a:gd name="connsiteY474" fmla="*/ 13903 h 242878"/>
                    <a:gd name="connsiteX475" fmla="*/ 253058 w 374382"/>
                    <a:gd name="connsiteY475" fmla="*/ 7677 h 242878"/>
                    <a:gd name="connsiteX476" fmla="*/ 250613 w 374382"/>
                    <a:gd name="connsiteY476" fmla="*/ 6202 h 242878"/>
                    <a:gd name="connsiteX477" fmla="*/ 247630 w 374382"/>
                    <a:gd name="connsiteY477" fmla="*/ 6202 h 242878"/>
                    <a:gd name="connsiteX478" fmla="*/ 245095 w 374382"/>
                    <a:gd name="connsiteY478" fmla="*/ 4971 h 242878"/>
                    <a:gd name="connsiteX479" fmla="*/ 247092 w 374382"/>
                    <a:gd name="connsiteY479" fmla="*/ 4189 h 242878"/>
                    <a:gd name="connsiteX480" fmla="*/ 247499 w 374382"/>
                    <a:gd name="connsiteY480" fmla="*/ 2119 h 242878"/>
                    <a:gd name="connsiteX481" fmla="*/ 247059 w 374382"/>
                    <a:gd name="connsiteY481" fmla="*/ 0 h 242878"/>
                    <a:gd name="connsiteX482" fmla="*/ 251281 w 374382"/>
                    <a:gd name="connsiteY482" fmla="*/ 3455 h 242878"/>
                    <a:gd name="connsiteX483" fmla="*/ 255731 w 374382"/>
                    <a:gd name="connsiteY483" fmla="*/ 6479 h 242878"/>
                    <a:gd name="connsiteX484" fmla="*/ 257019 w 374382"/>
                    <a:gd name="connsiteY484" fmla="*/ 8908 h 242878"/>
                    <a:gd name="connsiteX485" fmla="*/ 259203 w 374382"/>
                    <a:gd name="connsiteY485" fmla="*/ 9070 h 242878"/>
                    <a:gd name="connsiteX486" fmla="*/ 263188 w 374382"/>
                    <a:gd name="connsiteY486" fmla="*/ 11075 h 242878"/>
                    <a:gd name="connsiteX487" fmla="*/ 265926 w 374382"/>
                    <a:gd name="connsiteY487" fmla="*/ 12893 h 242878"/>
                    <a:gd name="connsiteX488" fmla="*/ 268501 w 374382"/>
                    <a:gd name="connsiteY488" fmla="*/ 14979 h 242878"/>
                    <a:gd name="connsiteX489" fmla="*/ 271411 w 374382"/>
                    <a:gd name="connsiteY489" fmla="*/ 17978 h 242878"/>
                    <a:gd name="connsiteX490" fmla="*/ 277018 w 374382"/>
                    <a:gd name="connsiteY490" fmla="*/ 20334 h 242878"/>
                    <a:gd name="connsiteX491" fmla="*/ 277817 w 374382"/>
                    <a:gd name="connsiteY491" fmla="*/ 21181 h 242878"/>
                    <a:gd name="connsiteX492" fmla="*/ 280652 w 374382"/>
                    <a:gd name="connsiteY492" fmla="*/ 25093 h 242878"/>
                    <a:gd name="connsiteX493" fmla="*/ 284377 w 374382"/>
                    <a:gd name="connsiteY493" fmla="*/ 28402 h 242878"/>
                    <a:gd name="connsiteX494" fmla="*/ 285632 w 374382"/>
                    <a:gd name="connsiteY494" fmla="*/ 30235 h 242878"/>
                    <a:gd name="connsiteX495" fmla="*/ 301418 w 374382"/>
                    <a:gd name="connsiteY495" fmla="*/ 45932 h 242878"/>
                    <a:gd name="connsiteX496" fmla="*/ 304083 w 374382"/>
                    <a:gd name="connsiteY496" fmla="*/ 50324 h 242878"/>
                    <a:gd name="connsiteX497" fmla="*/ 304287 w 374382"/>
                    <a:gd name="connsiteY497" fmla="*/ 53332 h 242878"/>
                    <a:gd name="connsiteX498" fmla="*/ 303774 w 374382"/>
                    <a:gd name="connsiteY498" fmla="*/ 54505 h 242878"/>
                    <a:gd name="connsiteX499" fmla="*/ 302103 w 374382"/>
                    <a:gd name="connsiteY499" fmla="*/ 57048 h 242878"/>
                    <a:gd name="connsiteX500" fmla="*/ 302143 w 374382"/>
                    <a:gd name="connsiteY500" fmla="*/ 60047 h 242878"/>
                    <a:gd name="connsiteX501" fmla="*/ 301589 w 374382"/>
                    <a:gd name="connsiteY501" fmla="*/ 62737 h 242878"/>
                    <a:gd name="connsiteX502" fmla="*/ 300171 w 374382"/>
                    <a:gd name="connsiteY502" fmla="*/ 65450 h 242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Lst>
                  <a:rect l="l" t="t" r="r" b="b"/>
                  <a:pathLst>
                    <a:path w="374382" h="242878">
                      <a:moveTo>
                        <a:pt x="374383" y="123387"/>
                      </a:moveTo>
                      <a:lnTo>
                        <a:pt x="373772" y="126190"/>
                      </a:lnTo>
                      <a:lnTo>
                        <a:pt x="373315" y="126687"/>
                      </a:lnTo>
                      <a:lnTo>
                        <a:pt x="372744" y="125628"/>
                      </a:lnTo>
                      <a:lnTo>
                        <a:pt x="370585" y="126663"/>
                      </a:lnTo>
                      <a:lnTo>
                        <a:pt x="369566" y="127829"/>
                      </a:lnTo>
                      <a:lnTo>
                        <a:pt x="368466" y="128676"/>
                      </a:lnTo>
                      <a:lnTo>
                        <a:pt x="365940" y="128480"/>
                      </a:lnTo>
                      <a:lnTo>
                        <a:pt x="363536" y="127698"/>
                      </a:lnTo>
                      <a:lnTo>
                        <a:pt x="361221" y="126272"/>
                      </a:lnTo>
                      <a:lnTo>
                        <a:pt x="359159" y="124422"/>
                      </a:lnTo>
                      <a:lnTo>
                        <a:pt x="357081" y="121553"/>
                      </a:lnTo>
                      <a:lnTo>
                        <a:pt x="355793" y="118570"/>
                      </a:lnTo>
                      <a:lnTo>
                        <a:pt x="356429" y="115115"/>
                      </a:lnTo>
                      <a:lnTo>
                        <a:pt x="355630" y="111993"/>
                      </a:lnTo>
                      <a:lnTo>
                        <a:pt x="351726" y="109777"/>
                      </a:lnTo>
                      <a:lnTo>
                        <a:pt x="350879" y="109051"/>
                      </a:lnTo>
                      <a:lnTo>
                        <a:pt x="349143" y="105938"/>
                      </a:lnTo>
                      <a:lnTo>
                        <a:pt x="347407" y="104602"/>
                      </a:lnTo>
                      <a:lnTo>
                        <a:pt x="345207" y="101872"/>
                      </a:lnTo>
                      <a:lnTo>
                        <a:pt x="344653" y="100690"/>
                      </a:lnTo>
                      <a:lnTo>
                        <a:pt x="343707" y="97234"/>
                      </a:lnTo>
                      <a:lnTo>
                        <a:pt x="343413" y="95164"/>
                      </a:lnTo>
                      <a:lnTo>
                        <a:pt x="344204" y="89101"/>
                      </a:lnTo>
                      <a:lnTo>
                        <a:pt x="343911" y="86077"/>
                      </a:lnTo>
                      <a:lnTo>
                        <a:pt x="344987" y="86363"/>
                      </a:lnTo>
                      <a:lnTo>
                        <a:pt x="346127" y="87569"/>
                      </a:lnTo>
                      <a:lnTo>
                        <a:pt x="347423" y="88384"/>
                      </a:lnTo>
                      <a:lnTo>
                        <a:pt x="350561" y="88938"/>
                      </a:lnTo>
                      <a:lnTo>
                        <a:pt x="352965" y="91342"/>
                      </a:lnTo>
                      <a:lnTo>
                        <a:pt x="355263" y="96061"/>
                      </a:lnTo>
                      <a:lnTo>
                        <a:pt x="355541" y="97593"/>
                      </a:lnTo>
                      <a:lnTo>
                        <a:pt x="356274" y="98701"/>
                      </a:lnTo>
                      <a:lnTo>
                        <a:pt x="358645" y="100698"/>
                      </a:lnTo>
                      <a:lnTo>
                        <a:pt x="359860" y="101986"/>
                      </a:lnTo>
                      <a:lnTo>
                        <a:pt x="362207" y="107104"/>
                      </a:lnTo>
                      <a:lnTo>
                        <a:pt x="363503" y="108196"/>
                      </a:lnTo>
                      <a:lnTo>
                        <a:pt x="365035" y="108652"/>
                      </a:lnTo>
                      <a:lnTo>
                        <a:pt x="366453" y="109386"/>
                      </a:lnTo>
                      <a:lnTo>
                        <a:pt x="368833" y="111627"/>
                      </a:lnTo>
                      <a:lnTo>
                        <a:pt x="371033" y="114169"/>
                      </a:lnTo>
                      <a:lnTo>
                        <a:pt x="372517" y="116851"/>
                      </a:lnTo>
                      <a:lnTo>
                        <a:pt x="373641" y="119719"/>
                      </a:lnTo>
                      <a:lnTo>
                        <a:pt x="374383" y="123387"/>
                      </a:lnTo>
                      <a:close/>
                      <a:moveTo>
                        <a:pt x="274125" y="51653"/>
                      </a:moveTo>
                      <a:lnTo>
                        <a:pt x="275412" y="52264"/>
                      </a:lnTo>
                      <a:lnTo>
                        <a:pt x="279120" y="49110"/>
                      </a:lnTo>
                      <a:lnTo>
                        <a:pt x="281101" y="51311"/>
                      </a:lnTo>
                      <a:lnTo>
                        <a:pt x="283643" y="52370"/>
                      </a:lnTo>
                      <a:lnTo>
                        <a:pt x="286276" y="52973"/>
                      </a:lnTo>
                      <a:lnTo>
                        <a:pt x="285225" y="57480"/>
                      </a:lnTo>
                      <a:lnTo>
                        <a:pt x="285543" y="59566"/>
                      </a:lnTo>
                      <a:lnTo>
                        <a:pt x="286211" y="61628"/>
                      </a:lnTo>
                      <a:lnTo>
                        <a:pt x="286138" y="64684"/>
                      </a:lnTo>
                      <a:lnTo>
                        <a:pt x="284931" y="67414"/>
                      </a:lnTo>
                      <a:lnTo>
                        <a:pt x="282600" y="71391"/>
                      </a:lnTo>
                      <a:lnTo>
                        <a:pt x="281565" y="72125"/>
                      </a:lnTo>
                      <a:lnTo>
                        <a:pt x="280351" y="72549"/>
                      </a:lnTo>
                      <a:lnTo>
                        <a:pt x="276545" y="72867"/>
                      </a:lnTo>
                      <a:lnTo>
                        <a:pt x="275804" y="74986"/>
                      </a:lnTo>
                      <a:lnTo>
                        <a:pt x="276064" y="77219"/>
                      </a:lnTo>
                      <a:lnTo>
                        <a:pt x="278126" y="80153"/>
                      </a:lnTo>
                      <a:lnTo>
                        <a:pt x="279764" y="83453"/>
                      </a:lnTo>
                      <a:lnTo>
                        <a:pt x="278126" y="86501"/>
                      </a:lnTo>
                      <a:lnTo>
                        <a:pt x="275437" y="88612"/>
                      </a:lnTo>
                      <a:lnTo>
                        <a:pt x="272878" y="89696"/>
                      </a:lnTo>
                      <a:lnTo>
                        <a:pt x="268656" y="89052"/>
                      </a:lnTo>
                      <a:lnTo>
                        <a:pt x="264190" y="89313"/>
                      </a:lnTo>
                      <a:lnTo>
                        <a:pt x="263351" y="90470"/>
                      </a:lnTo>
                      <a:lnTo>
                        <a:pt x="263326" y="92393"/>
                      </a:lnTo>
                      <a:lnTo>
                        <a:pt x="262699" y="93844"/>
                      </a:lnTo>
                      <a:lnTo>
                        <a:pt x="261892" y="95172"/>
                      </a:lnTo>
                      <a:lnTo>
                        <a:pt x="259618" y="97927"/>
                      </a:lnTo>
                      <a:lnTo>
                        <a:pt x="257092" y="100356"/>
                      </a:lnTo>
                      <a:lnTo>
                        <a:pt x="253636" y="102654"/>
                      </a:lnTo>
                      <a:lnTo>
                        <a:pt x="252471" y="103208"/>
                      </a:lnTo>
                      <a:lnTo>
                        <a:pt x="249414" y="103567"/>
                      </a:lnTo>
                      <a:lnTo>
                        <a:pt x="246660" y="104903"/>
                      </a:lnTo>
                      <a:lnTo>
                        <a:pt x="245438" y="106183"/>
                      </a:lnTo>
                      <a:lnTo>
                        <a:pt x="244101" y="107242"/>
                      </a:lnTo>
                      <a:lnTo>
                        <a:pt x="241192" y="108383"/>
                      </a:lnTo>
                      <a:lnTo>
                        <a:pt x="238347" y="110665"/>
                      </a:lnTo>
                      <a:lnTo>
                        <a:pt x="237231" y="111040"/>
                      </a:lnTo>
                      <a:lnTo>
                        <a:pt x="231322" y="111447"/>
                      </a:lnTo>
                      <a:lnTo>
                        <a:pt x="222903" y="111562"/>
                      </a:lnTo>
                      <a:lnTo>
                        <a:pt x="220401" y="111798"/>
                      </a:lnTo>
                      <a:lnTo>
                        <a:pt x="217973" y="111480"/>
                      </a:lnTo>
                      <a:lnTo>
                        <a:pt x="216628" y="110600"/>
                      </a:lnTo>
                      <a:lnTo>
                        <a:pt x="213768" y="106501"/>
                      </a:lnTo>
                      <a:lnTo>
                        <a:pt x="211274" y="105099"/>
                      </a:lnTo>
                      <a:lnTo>
                        <a:pt x="208544" y="105148"/>
                      </a:lnTo>
                      <a:lnTo>
                        <a:pt x="204925" y="106598"/>
                      </a:lnTo>
                      <a:lnTo>
                        <a:pt x="204241" y="106281"/>
                      </a:lnTo>
                      <a:lnTo>
                        <a:pt x="197012" y="100250"/>
                      </a:lnTo>
                      <a:lnTo>
                        <a:pt x="194820" y="98775"/>
                      </a:lnTo>
                      <a:lnTo>
                        <a:pt x="192481" y="97683"/>
                      </a:lnTo>
                      <a:lnTo>
                        <a:pt x="189612" y="96925"/>
                      </a:lnTo>
                      <a:lnTo>
                        <a:pt x="186931" y="95710"/>
                      </a:lnTo>
                      <a:lnTo>
                        <a:pt x="185341" y="92834"/>
                      </a:lnTo>
                      <a:lnTo>
                        <a:pt x="185521" y="89101"/>
                      </a:lnTo>
                      <a:lnTo>
                        <a:pt x="187697" y="86901"/>
                      </a:lnTo>
                      <a:lnTo>
                        <a:pt x="190989" y="87976"/>
                      </a:lnTo>
                      <a:lnTo>
                        <a:pt x="192252" y="87968"/>
                      </a:lnTo>
                      <a:lnTo>
                        <a:pt x="193483" y="87349"/>
                      </a:lnTo>
                      <a:lnTo>
                        <a:pt x="194934" y="87544"/>
                      </a:lnTo>
                      <a:lnTo>
                        <a:pt x="196400" y="88090"/>
                      </a:lnTo>
                      <a:lnTo>
                        <a:pt x="201755" y="87284"/>
                      </a:lnTo>
                      <a:lnTo>
                        <a:pt x="204852" y="88424"/>
                      </a:lnTo>
                      <a:lnTo>
                        <a:pt x="207859" y="89940"/>
                      </a:lnTo>
                      <a:lnTo>
                        <a:pt x="210679" y="90266"/>
                      </a:lnTo>
                      <a:lnTo>
                        <a:pt x="213572" y="89940"/>
                      </a:lnTo>
                      <a:lnTo>
                        <a:pt x="217443" y="88221"/>
                      </a:lnTo>
                      <a:lnTo>
                        <a:pt x="218674" y="88449"/>
                      </a:lnTo>
                      <a:lnTo>
                        <a:pt x="222398" y="88473"/>
                      </a:lnTo>
                      <a:lnTo>
                        <a:pt x="225658" y="86183"/>
                      </a:lnTo>
                      <a:lnTo>
                        <a:pt x="226864" y="76925"/>
                      </a:lnTo>
                      <a:lnTo>
                        <a:pt x="227696" y="73779"/>
                      </a:lnTo>
                      <a:lnTo>
                        <a:pt x="228812" y="73095"/>
                      </a:lnTo>
                      <a:lnTo>
                        <a:pt x="229611" y="73282"/>
                      </a:lnTo>
                      <a:lnTo>
                        <a:pt x="230800" y="74847"/>
                      </a:lnTo>
                      <a:lnTo>
                        <a:pt x="229268" y="76803"/>
                      </a:lnTo>
                      <a:lnTo>
                        <a:pt x="228600" y="78335"/>
                      </a:lnTo>
                      <a:lnTo>
                        <a:pt x="228372" y="82019"/>
                      </a:lnTo>
                      <a:lnTo>
                        <a:pt x="229211" y="85613"/>
                      </a:lnTo>
                      <a:lnTo>
                        <a:pt x="231118" y="88449"/>
                      </a:lnTo>
                      <a:lnTo>
                        <a:pt x="233987" y="88799"/>
                      </a:lnTo>
                      <a:lnTo>
                        <a:pt x="236603" y="86933"/>
                      </a:lnTo>
                      <a:lnTo>
                        <a:pt x="239464" y="86542"/>
                      </a:lnTo>
                      <a:lnTo>
                        <a:pt x="242104" y="88367"/>
                      </a:lnTo>
                      <a:lnTo>
                        <a:pt x="244794" y="88058"/>
                      </a:lnTo>
                      <a:lnTo>
                        <a:pt x="246025" y="86868"/>
                      </a:lnTo>
                      <a:lnTo>
                        <a:pt x="247475" y="86363"/>
                      </a:lnTo>
                      <a:lnTo>
                        <a:pt x="248910" y="86167"/>
                      </a:lnTo>
                      <a:lnTo>
                        <a:pt x="250213" y="85466"/>
                      </a:lnTo>
                      <a:lnTo>
                        <a:pt x="251933" y="82369"/>
                      </a:lnTo>
                      <a:lnTo>
                        <a:pt x="253098" y="78881"/>
                      </a:lnTo>
                      <a:lnTo>
                        <a:pt x="254802" y="76135"/>
                      </a:lnTo>
                      <a:lnTo>
                        <a:pt x="259480" y="71555"/>
                      </a:lnTo>
                      <a:lnTo>
                        <a:pt x="260832" y="70984"/>
                      </a:lnTo>
                      <a:lnTo>
                        <a:pt x="262291" y="70674"/>
                      </a:lnTo>
                      <a:lnTo>
                        <a:pt x="265584" y="70870"/>
                      </a:lnTo>
                      <a:lnTo>
                        <a:pt x="268028" y="69248"/>
                      </a:lnTo>
                      <a:lnTo>
                        <a:pt x="268216" y="65581"/>
                      </a:lnTo>
                      <a:lnTo>
                        <a:pt x="267857" y="61864"/>
                      </a:lnTo>
                      <a:lnTo>
                        <a:pt x="265070" y="53128"/>
                      </a:lnTo>
                      <a:lnTo>
                        <a:pt x="264883" y="51743"/>
                      </a:lnTo>
                      <a:lnTo>
                        <a:pt x="265290" y="50186"/>
                      </a:lnTo>
                      <a:lnTo>
                        <a:pt x="266097" y="48792"/>
                      </a:lnTo>
                      <a:lnTo>
                        <a:pt x="268835" y="48768"/>
                      </a:lnTo>
                      <a:lnTo>
                        <a:pt x="271712" y="49273"/>
                      </a:lnTo>
                      <a:lnTo>
                        <a:pt x="272837" y="50593"/>
                      </a:lnTo>
                      <a:lnTo>
                        <a:pt x="274125" y="51653"/>
                      </a:lnTo>
                      <a:close/>
                      <a:moveTo>
                        <a:pt x="80829" y="37228"/>
                      </a:moveTo>
                      <a:lnTo>
                        <a:pt x="83951" y="37326"/>
                      </a:lnTo>
                      <a:lnTo>
                        <a:pt x="87088" y="36853"/>
                      </a:lnTo>
                      <a:lnTo>
                        <a:pt x="88384" y="37057"/>
                      </a:lnTo>
                      <a:lnTo>
                        <a:pt x="89639" y="37529"/>
                      </a:lnTo>
                      <a:lnTo>
                        <a:pt x="90813" y="38426"/>
                      </a:lnTo>
                      <a:lnTo>
                        <a:pt x="91399" y="40153"/>
                      </a:lnTo>
                      <a:lnTo>
                        <a:pt x="93339" y="42558"/>
                      </a:lnTo>
                      <a:lnTo>
                        <a:pt x="96102" y="43642"/>
                      </a:lnTo>
                      <a:lnTo>
                        <a:pt x="98710" y="45818"/>
                      </a:lnTo>
                      <a:lnTo>
                        <a:pt x="101065" y="48409"/>
                      </a:lnTo>
                      <a:lnTo>
                        <a:pt x="102809" y="51017"/>
                      </a:lnTo>
                      <a:lnTo>
                        <a:pt x="104773" y="53226"/>
                      </a:lnTo>
                      <a:lnTo>
                        <a:pt x="107756" y="54171"/>
                      </a:lnTo>
                      <a:lnTo>
                        <a:pt x="110894" y="54318"/>
                      </a:lnTo>
                      <a:lnTo>
                        <a:pt x="121619" y="67447"/>
                      </a:lnTo>
                      <a:lnTo>
                        <a:pt x="122132" y="69468"/>
                      </a:lnTo>
                      <a:lnTo>
                        <a:pt x="122262" y="78090"/>
                      </a:lnTo>
                      <a:lnTo>
                        <a:pt x="121073" y="84831"/>
                      </a:lnTo>
                      <a:lnTo>
                        <a:pt x="123746" y="86892"/>
                      </a:lnTo>
                      <a:lnTo>
                        <a:pt x="127380" y="87667"/>
                      </a:lnTo>
                      <a:lnTo>
                        <a:pt x="132490" y="89109"/>
                      </a:lnTo>
                      <a:lnTo>
                        <a:pt x="137405" y="91261"/>
                      </a:lnTo>
                      <a:lnTo>
                        <a:pt x="153052" y="100348"/>
                      </a:lnTo>
                      <a:lnTo>
                        <a:pt x="155204" y="101122"/>
                      </a:lnTo>
                      <a:lnTo>
                        <a:pt x="158366" y="101407"/>
                      </a:lnTo>
                      <a:lnTo>
                        <a:pt x="161544" y="101285"/>
                      </a:lnTo>
                      <a:lnTo>
                        <a:pt x="162702" y="101757"/>
                      </a:lnTo>
                      <a:lnTo>
                        <a:pt x="165073" y="103396"/>
                      </a:lnTo>
                      <a:lnTo>
                        <a:pt x="166263" y="104479"/>
                      </a:lnTo>
                      <a:lnTo>
                        <a:pt x="168406" y="107413"/>
                      </a:lnTo>
                      <a:lnTo>
                        <a:pt x="170313" y="110608"/>
                      </a:lnTo>
                      <a:lnTo>
                        <a:pt x="171136" y="111521"/>
                      </a:lnTo>
                      <a:lnTo>
                        <a:pt x="172106" y="112238"/>
                      </a:lnTo>
                      <a:lnTo>
                        <a:pt x="172653" y="113966"/>
                      </a:lnTo>
                      <a:lnTo>
                        <a:pt x="173410" y="119320"/>
                      </a:lnTo>
                      <a:lnTo>
                        <a:pt x="173182" y="122653"/>
                      </a:lnTo>
                      <a:lnTo>
                        <a:pt x="172318" y="123884"/>
                      </a:lnTo>
                      <a:lnTo>
                        <a:pt x="169816" y="124487"/>
                      </a:lnTo>
                      <a:lnTo>
                        <a:pt x="161047" y="125041"/>
                      </a:lnTo>
                      <a:lnTo>
                        <a:pt x="155163" y="124422"/>
                      </a:lnTo>
                      <a:lnTo>
                        <a:pt x="151056" y="127812"/>
                      </a:lnTo>
                      <a:lnTo>
                        <a:pt x="150950" y="129287"/>
                      </a:lnTo>
                      <a:lnTo>
                        <a:pt x="151235" y="130656"/>
                      </a:lnTo>
                      <a:lnTo>
                        <a:pt x="154805" y="137812"/>
                      </a:lnTo>
                      <a:lnTo>
                        <a:pt x="156915" y="144152"/>
                      </a:lnTo>
                      <a:lnTo>
                        <a:pt x="158659" y="146744"/>
                      </a:lnTo>
                      <a:lnTo>
                        <a:pt x="161267" y="148838"/>
                      </a:lnTo>
                      <a:lnTo>
                        <a:pt x="163590" y="151324"/>
                      </a:lnTo>
                      <a:lnTo>
                        <a:pt x="165725" y="154177"/>
                      </a:lnTo>
                      <a:lnTo>
                        <a:pt x="170166" y="159131"/>
                      </a:lnTo>
                      <a:lnTo>
                        <a:pt x="172587" y="160990"/>
                      </a:lnTo>
                      <a:lnTo>
                        <a:pt x="175431" y="162131"/>
                      </a:lnTo>
                      <a:lnTo>
                        <a:pt x="180158" y="165994"/>
                      </a:lnTo>
                      <a:lnTo>
                        <a:pt x="180777" y="167689"/>
                      </a:lnTo>
                      <a:lnTo>
                        <a:pt x="182122" y="173059"/>
                      </a:lnTo>
                      <a:lnTo>
                        <a:pt x="182709" y="176702"/>
                      </a:lnTo>
                      <a:lnTo>
                        <a:pt x="182799" y="178210"/>
                      </a:lnTo>
                      <a:lnTo>
                        <a:pt x="183133" y="179555"/>
                      </a:lnTo>
                      <a:lnTo>
                        <a:pt x="187289" y="182855"/>
                      </a:lnTo>
                      <a:lnTo>
                        <a:pt x="188194" y="183768"/>
                      </a:lnTo>
                      <a:lnTo>
                        <a:pt x="190052" y="191119"/>
                      </a:lnTo>
                      <a:lnTo>
                        <a:pt x="191478" y="194526"/>
                      </a:lnTo>
                      <a:lnTo>
                        <a:pt x="193866" y="195740"/>
                      </a:lnTo>
                      <a:lnTo>
                        <a:pt x="196645" y="195659"/>
                      </a:lnTo>
                      <a:lnTo>
                        <a:pt x="204233" y="193475"/>
                      </a:lnTo>
                      <a:lnTo>
                        <a:pt x="205341" y="193401"/>
                      </a:lnTo>
                      <a:lnTo>
                        <a:pt x="206743" y="193898"/>
                      </a:lnTo>
                      <a:lnTo>
                        <a:pt x="207965" y="195104"/>
                      </a:lnTo>
                      <a:lnTo>
                        <a:pt x="208364" y="198405"/>
                      </a:lnTo>
                      <a:lnTo>
                        <a:pt x="207175" y="201877"/>
                      </a:lnTo>
                      <a:lnTo>
                        <a:pt x="206857" y="205218"/>
                      </a:lnTo>
                      <a:lnTo>
                        <a:pt x="208340" y="207965"/>
                      </a:lnTo>
                      <a:lnTo>
                        <a:pt x="212203" y="210108"/>
                      </a:lnTo>
                      <a:lnTo>
                        <a:pt x="213629" y="210687"/>
                      </a:lnTo>
                      <a:lnTo>
                        <a:pt x="220581" y="211363"/>
                      </a:lnTo>
                      <a:lnTo>
                        <a:pt x="223295" y="211942"/>
                      </a:lnTo>
                      <a:lnTo>
                        <a:pt x="225976" y="212871"/>
                      </a:lnTo>
                      <a:lnTo>
                        <a:pt x="226897" y="213694"/>
                      </a:lnTo>
                      <a:lnTo>
                        <a:pt x="226245" y="215177"/>
                      </a:lnTo>
                      <a:lnTo>
                        <a:pt x="224851" y="215895"/>
                      </a:lnTo>
                      <a:lnTo>
                        <a:pt x="223262" y="216188"/>
                      </a:lnTo>
                      <a:lnTo>
                        <a:pt x="220711" y="217247"/>
                      </a:lnTo>
                      <a:lnTo>
                        <a:pt x="220752" y="219138"/>
                      </a:lnTo>
                      <a:lnTo>
                        <a:pt x="222203" y="221118"/>
                      </a:lnTo>
                      <a:lnTo>
                        <a:pt x="223523" y="223506"/>
                      </a:lnTo>
                      <a:lnTo>
                        <a:pt x="224631" y="224354"/>
                      </a:lnTo>
                      <a:lnTo>
                        <a:pt x="225829" y="224932"/>
                      </a:lnTo>
                      <a:lnTo>
                        <a:pt x="228828" y="225764"/>
                      </a:lnTo>
                      <a:lnTo>
                        <a:pt x="231754" y="226896"/>
                      </a:lnTo>
                      <a:lnTo>
                        <a:pt x="233661" y="228029"/>
                      </a:lnTo>
                      <a:lnTo>
                        <a:pt x="235650" y="228836"/>
                      </a:lnTo>
                      <a:lnTo>
                        <a:pt x="239993" y="229350"/>
                      </a:lnTo>
                      <a:lnTo>
                        <a:pt x="243172" y="230865"/>
                      </a:lnTo>
                      <a:lnTo>
                        <a:pt x="247695" y="230238"/>
                      </a:lnTo>
                      <a:lnTo>
                        <a:pt x="243775" y="232707"/>
                      </a:lnTo>
                      <a:lnTo>
                        <a:pt x="242430" y="233310"/>
                      </a:lnTo>
                      <a:lnTo>
                        <a:pt x="237695" y="232389"/>
                      </a:lnTo>
                      <a:lnTo>
                        <a:pt x="236815" y="233351"/>
                      </a:lnTo>
                      <a:lnTo>
                        <a:pt x="238763" y="235959"/>
                      </a:lnTo>
                      <a:lnTo>
                        <a:pt x="241648" y="237728"/>
                      </a:lnTo>
                      <a:lnTo>
                        <a:pt x="242683" y="238754"/>
                      </a:lnTo>
                      <a:lnTo>
                        <a:pt x="241958" y="239944"/>
                      </a:lnTo>
                      <a:lnTo>
                        <a:pt x="238600" y="242332"/>
                      </a:lnTo>
                      <a:lnTo>
                        <a:pt x="237190" y="242691"/>
                      </a:lnTo>
                      <a:lnTo>
                        <a:pt x="234566" y="242878"/>
                      </a:lnTo>
                      <a:lnTo>
                        <a:pt x="230165" y="241835"/>
                      </a:lnTo>
                      <a:lnTo>
                        <a:pt x="227052" y="240531"/>
                      </a:lnTo>
                      <a:lnTo>
                        <a:pt x="226180" y="238738"/>
                      </a:lnTo>
                      <a:lnTo>
                        <a:pt x="225348" y="237671"/>
                      </a:lnTo>
                      <a:lnTo>
                        <a:pt x="222537" y="235136"/>
                      </a:lnTo>
                      <a:lnTo>
                        <a:pt x="220532" y="233759"/>
                      </a:lnTo>
                      <a:lnTo>
                        <a:pt x="217981" y="233278"/>
                      </a:lnTo>
                      <a:lnTo>
                        <a:pt x="215333" y="233319"/>
                      </a:lnTo>
                      <a:lnTo>
                        <a:pt x="210581" y="231844"/>
                      </a:lnTo>
                      <a:lnTo>
                        <a:pt x="200255" y="230800"/>
                      </a:lnTo>
                      <a:lnTo>
                        <a:pt x="197803" y="230157"/>
                      </a:lnTo>
                      <a:lnTo>
                        <a:pt x="194714" y="228135"/>
                      </a:lnTo>
                      <a:lnTo>
                        <a:pt x="193247" y="227842"/>
                      </a:lnTo>
                      <a:lnTo>
                        <a:pt x="191690" y="228486"/>
                      </a:lnTo>
                      <a:lnTo>
                        <a:pt x="187697" y="228877"/>
                      </a:lnTo>
                      <a:lnTo>
                        <a:pt x="186531" y="228698"/>
                      </a:lnTo>
                      <a:lnTo>
                        <a:pt x="183687" y="226970"/>
                      </a:lnTo>
                      <a:lnTo>
                        <a:pt x="180753" y="226351"/>
                      </a:lnTo>
                      <a:lnTo>
                        <a:pt x="179539" y="226856"/>
                      </a:lnTo>
                      <a:lnTo>
                        <a:pt x="178308" y="226978"/>
                      </a:lnTo>
                      <a:lnTo>
                        <a:pt x="174299" y="225739"/>
                      </a:lnTo>
                      <a:lnTo>
                        <a:pt x="171300" y="225234"/>
                      </a:lnTo>
                      <a:lnTo>
                        <a:pt x="168814" y="223515"/>
                      </a:lnTo>
                      <a:lnTo>
                        <a:pt x="167461" y="221901"/>
                      </a:lnTo>
                      <a:lnTo>
                        <a:pt x="165945" y="220466"/>
                      </a:lnTo>
                      <a:lnTo>
                        <a:pt x="164535" y="216791"/>
                      </a:lnTo>
                      <a:lnTo>
                        <a:pt x="162351" y="213295"/>
                      </a:lnTo>
                      <a:lnTo>
                        <a:pt x="159629" y="210426"/>
                      </a:lnTo>
                      <a:lnTo>
                        <a:pt x="153818" y="205797"/>
                      </a:lnTo>
                      <a:lnTo>
                        <a:pt x="152636" y="204648"/>
                      </a:lnTo>
                      <a:lnTo>
                        <a:pt x="150371" y="200402"/>
                      </a:lnTo>
                      <a:lnTo>
                        <a:pt x="150493" y="197582"/>
                      </a:lnTo>
                      <a:lnTo>
                        <a:pt x="151316" y="194746"/>
                      </a:lnTo>
                      <a:lnTo>
                        <a:pt x="150078" y="195716"/>
                      </a:lnTo>
                      <a:lnTo>
                        <a:pt x="148660" y="195585"/>
                      </a:lnTo>
                      <a:lnTo>
                        <a:pt x="144707" y="193719"/>
                      </a:lnTo>
                      <a:lnTo>
                        <a:pt x="143069" y="191494"/>
                      </a:lnTo>
                      <a:lnTo>
                        <a:pt x="140428" y="185414"/>
                      </a:lnTo>
                      <a:lnTo>
                        <a:pt x="138733" y="182220"/>
                      </a:lnTo>
                      <a:lnTo>
                        <a:pt x="134780" y="176556"/>
                      </a:lnTo>
                      <a:lnTo>
                        <a:pt x="133639" y="173198"/>
                      </a:lnTo>
                      <a:lnTo>
                        <a:pt x="131993" y="170264"/>
                      </a:lnTo>
                      <a:lnTo>
                        <a:pt x="130975" y="169172"/>
                      </a:lnTo>
                      <a:lnTo>
                        <a:pt x="130127" y="167917"/>
                      </a:lnTo>
                      <a:lnTo>
                        <a:pt x="129377" y="166295"/>
                      </a:lnTo>
                      <a:lnTo>
                        <a:pt x="128252" y="165146"/>
                      </a:lnTo>
                      <a:lnTo>
                        <a:pt x="122743" y="162628"/>
                      </a:lnTo>
                      <a:lnTo>
                        <a:pt x="121765" y="161837"/>
                      </a:lnTo>
                      <a:lnTo>
                        <a:pt x="120698" y="161414"/>
                      </a:lnTo>
                      <a:lnTo>
                        <a:pt x="116598" y="161161"/>
                      </a:lnTo>
                      <a:lnTo>
                        <a:pt x="114235" y="160737"/>
                      </a:lnTo>
                      <a:lnTo>
                        <a:pt x="109761" y="158683"/>
                      </a:lnTo>
                      <a:lnTo>
                        <a:pt x="107455" y="158064"/>
                      </a:lnTo>
                      <a:lnTo>
                        <a:pt x="104667" y="157673"/>
                      </a:lnTo>
                      <a:lnTo>
                        <a:pt x="101978" y="156899"/>
                      </a:lnTo>
                      <a:lnTo>
                        <a:pt x="100674" y="156116"/>
                      </a:lnTo>
                      <a:lnTo>
                        <a:pt x="99794" y="154829"/>
                      </a:lnTo>
                      <a:lnTo>
                        <a:pt x="99264" y="151748"/>
                      </a:lnTo>
                      <a:lnTo>
                        <a:pt x="97023" y="152082"/>
                      </a:lnTo>
                      <a:lnTo>
                        <a:pt x="94814" y="151560"/>
                      </a:lnTo>
                      <a:lnTo>
                        <a:pt x="92663" y="150468"/>
                      </a:lnTo>
                      <a:lnTo>
                        <a:pt x="90470" y="149833"/>
                      </a:lnTo>
                      <a:lnTo>
                        <a:pt x="88979" y="150754"/>
                      </a:lnTo>
                      <a:lnTo>
                        <a:pt x="88522" y="153198"/>
                      </a:lnTo>
                      <a:lnTo>
                        <a:pt x="87830" y="153329"/>
                      </a:lnTo>
                      <a:lnTo>
                        <a:pt x="86559" y="152824"/>
                      </a:lnTo>
                      <a:lnTo>
                        <a:pt x="85923" y="153117"/>
                      </a:lnTo>
                      <a:lnTo>
                        <a:pt x="84521" y="154242"/>
                      </a:lnTo>
                      <a:lnTo>
                        <a:pt x="83421" y="155774"/>
                      </a:lnTo>
                      <a:lnTo>
                        <a:pt x="81367" y="155554"/>
                      </a:lnTo>
                      <a:lnTo>
                        <a:pt x="77170" y="154005"/>
                      </a:lnTo>
                      <a:lnTo>
                        <a:pt x="75304" y="153036"/>
                      </a:lnTo>
                      <a:lnTo>
                        <a:pt x="73723" y="151308"/>
                      </a:lnTo>
                      <a:lnTo>
                        <a:pt x="72354" y="149319"/>
                      </a:lnTo>
                      <a:lnTo>
                        <a:pt x="70960" y="147771"/>
                      </a:lnTo>
                      <a:lnTo>
                        <a:pt x="69273" y="146622"/>
                      </a:lnTo>
                      <a:lnTo>
                        <a:pt x="71441" y="149311"/>
                      </a:lnTo>
                      <a:lnTo>
                        <a:pt x="76388" y="161177"/>
                      </a:lnTo>
                      <a:lnTo>
                        <a:pt x="75157" y="161405"/>
                      </a:lnTo>
                      <a:lnTo>
                        <a:pt x="73877" y="161104"/>
                      </a:lnTo>
                      <a:lnTo>
                        <a:pt x="75059" y="163386"/>
                      </a:lnTo>
                      <a:lnTo>
                        <a:pt x="73706" y="163728"/>
                      </a:lnTo>
                      <a:lnTo>
                        <a:pt x="72362" y="163696"/>
                      </a:lnTo>
                      <a:lnTo>
                        <a:pt x="69525" y="162717"/>
                      </a:lnTo>
                      <a:lnTo>
                        <a:pt x="66706" y="162392"/>
                      </a:lnTo>
                      <a:lnTo>
                        <a:pt x="65874" y="162880"/>
                      </a:lnTo>
                      <a:lnTo>
                        <a:pt x="66469" y="163728"/>
                      </a:lnTo>
                      <a:lnTo>
                        <a:pt x="67456" y="166246"/>
                      </a:lnTo>
                      <a:lnTo>
                        <a:pt x="68254" y="168879"/>
                      </a:lnTo>
                      <a:lnTo>
                        <a:pt x="64188" y="170068"/>
                      </a:lnTo>
                      <a:lnTo>
                        <a:pt x="60023" y="170794"/>
                      </a:lnTo>
                      <a:lnTo>
                        <a:pt x="55378" y="172220"/>
                      </a:lnTo>
                      <a:lnTo>
                        <a:pt x="50684" y="172326"/>
                      </a:lnTo>
                      <a:lnTo>
                        <a:pt x="48279" y="171495"/>
                      </a:lnTo>
                      <a:lnTo>
                        <a:pt x="45794" y="171046"/>
                      </a:lnTo>
                      <a:lnTo>
                        <a:pt x="43471" y="171495"/>
                      </a:lnTo>
                      <a:lnTo>
                        <a:pt x="41230" y="172530"/>
                      </a:lnTo>
                      <a:lnTo>
                        <a:pt x="39339" y="172359"/>
                      </a:lnTo>
                      <a:lnTo>
                        <a:pt x="38133" y="170500"/>
                      </a:lnTo>
                      <a:lnTo>
                        <a:pt x="37571" y="169107"/>
                      </a:lnTo>
                      <a:lnTo>
                        <a:pt x="36853" y="167884"/>
                      </a:lnTo>
                      <a:lnTo>
                        <a:pt x="35077" y="168072"/>
                      </a:lnTo>
                      <a:lnTo>
                        <a:pt x="33365" y="168732"/>
                      </a:lnTo>
                      <a:lnTo>
                        <a:pt x="36291" y="168813"/>
                      </a:lnTo>
                      <a:lnTo>
                        <a:pt x="37171" y="170370"/>
                      </a:lnTo>
                      <a:lnTo>
                        <a:pt x="37929" y="172253"/>
                      </a:lnTo>
                      <a:lnTo>
                        <a:pt x="40008" y="173956"/>
                      </a:lnTo>
                      <a:lnTo>
                        <a:pt x="42517" y="172937"/>
                      </a:lnTo>
                      <a:lnTo>
                        <a:pt x="48026" y="173222"/>
                      </a:lnTo>
                      <a:lnTo>
                        <a:pt x="53381" y="176181"/>
                      </a:lnTo>
                      <a:lnTo>
                        <a:pt x="54644" y="176531"/>
                      </a:lnTo>
                      <a:lnTo>
                        <a:pt x="55810" y="177118"/>
                      </a:lnTo>
                      <a:lnTo>
                        <a:pt x="58564" y="180036"/>
                      </a:lnTo>
                      <a:lnTo>
                        <a:pt x="60650" y="182717"/>
                      </a:lnTo>
                      <a:lnTo>
                        <a:pt x="62394" y="185765"/>
                      </a:lnTo>
                      <a:lnTo>
                        <a:pt x="62769" y="186955"/>
                      </a:lnTo>
                      <a:lnTo>
                        <a:pt x="62647" y="190158"/>
                      </a:lnTo>
                      <a:lnTo>
                        <a:pt x="62126" y="191755"/>
                      </a:lnTo>
                      <a:lnTo>
                        <a:pt x="58670" y="194004"/>
                      </a:lnTo>
                      <a:lnTo>
                        <a:pt x="54978" y="195716"/>
                      </a:lnTo>
                      <a:lnTo>
                        <a:pt x="49551" y="199025"/>
                      </a:lnTo>
                      <a:lnTo>
                        <a:pt x="44286" y="202806"/>
                      </a:lnTo>
                      <a:lnTo>
                        <a:pt x="41515" y="202064"/>
                      </a:lnTo>
                      <a:lnTo>
                        <a:pt x="39021" y="200068"/>
                      </a:lnTo>
                      <a:lnTo>
                        <a:pt x="38060" y="199522"/>
                      </a:lnTo>
                      <a:lnTo>
                        <a:pt x="35500" y="198446"/>
                      </a:lnTo>
                      <a:lnTo>
                        <a:pt x="33928" y="198047"/>
                      </a:lnTo>
                      <a:lnTo>
                        <a:pt x="27709" y="198894"/>
                      </a:lnTo>
                      <a:lnTo>
                        <a:pt x="21475" y="199334"/>
                      </a:lnTo>
                      <a:lnTo>
                        <a:pt x="18842" y="199302"/>
                      </a:lnTo>
                      <a:lnTo>
                        <a:pt x="16299" y="198658"/>
                      </a:lnTo>
                      <a:lnTo>
                        <a:pt x="13488" y="197476"/>
                      </a:lnTo>
                      <a:lnTo>
                        <a:pt x="10709" y="197989"/>
                      </a:lnTo>
                      <a:lnTo>
                        <a:pt x="8810" y="199383"/>
                      </a:lnTo>
                      <a:lnTo>
                        <a:pt x="6732" y="199579"/>
                      </a:lnTo>
                      <a:lnTo>
                        <a:pt x="2828" y="196490"/>
                      </a:lnTo>
                      <a:lnTo>
                        <a:pt x="2820" y="196107"/>
                      </a:lnTo>
                      <a:lnTo>
                        <a:pt x="2820" y="189970"/>
                      </a:lnTo>
                      <a:lnTo>
                        <a:pt x="2820" y="183850"/>
                      </a:lnTo>
                      <a:lnTo>
                        <a:pt x="2820" y="177737"/>
                      </a:lnTo>
                      <a:lnTo>
                        <a:pt x="2820" y="171617"/>
                      </a:lnTo>
                      <a:lnTo>
                        <a:pt x="2812" y="165488"/>
                      </a:lnTo>
                      <a:lnTo>
                        <a:pt x="2812" y="159376"/>
                      </a:lnTo>
                      <a:lnTo>
                        <a:pt x="2812" y="153264"/>
                      </a:lnTo>
                      <a:lnTo>
                        <a:pt x="2804" y="147143"/>
                      </a:lnTo>
                      <a:lnTo>
                        <a:pt x="2804" y="141031"/>
                      </a:lnTo>
                      <a:lnTo>
                        <a:pt x="2804" y="134927"/>
                      </a:lnTo>
                      <a:lnTo>
                        <a:pt x="2804" y="129907"/>
                      </a:lnTo>
                      <a:lnTo>
                        <a:pt x="1435" y="127942"/>
                      </a:lnTo>
                      <a:lnTo>
                        <a:pt x="0" y="124935"/>
                      </a:lnTo>
                      <a:lnTo>
                        <a:pt x="318" y="121081"/>
                      </a:lnTo>
                      <a:lnTo>
                        <a:pt x="2029" y="116288"/>
                      </a:lnTo>
                      <a:lnTo>
                        <a:pt x="2804" y="113102"/>
                      </a:lnTo>
                      <a:lnTo>
                        <a:pt x="2804" y="110502"/>
                      </a:lnTo>
                      <a:lnTo>
                        <a:pt x="2804" y="104390"/>
                      </a:lnTo>
                      <a:lnTo>
                        <a:pt x="2804" y="98294"/>
                      </a:lnTo>
                      <a:lnTo>
                        <a:pt x="2788" y="92181"/>
                      </a:lnTo>
                      <a:lnTo>
                        <a:pt x="2788" y="86094"/>
                      </a:lnTo>
                      <a:lnTo>
                        <a:pt x="2788" y="79989"/>
                      </a:lnTo>
                      <a:lnTo>
                        <a:pt x="2788" y="73894"/>
                      </a:lnTo>
                      <a:lnTo>
                        <a:pt x="2788" y="67797"/>
                      </a:lnTo>
                      <a:lnTo>
                        <a:pt x="2788" y="61701"/>
                      </a:lnTo>
                      <a:lnTo>
                        <a:pt x="2788" y="55597"/>
                      </a:lnTo>
                      <a:lnTo>
                        <a:pt x="2788" y="49501"/>
                      </a:lnTo>
                      <a:lnTo>
                        <a:pt x="2788" y="43414"/>
                      </a:lnTo>
                      <a:lnTo>
                        <a:pt x="2788" y="37317"/>
                      </a:lnTo>
                      <a:lnTo>
                        <a:pt x="2788" y="31230"/>
                      </a:lnTo>
                      <a:lnTo>
                        <a:pt x="2771" y="25142"/>
                      </a:lnTo>
                      <a:lnTo>
                        <a:pt x="2771" y="19046"/>
                      </a:lnTo>
                      <a:lnTo>
                        <a:pt x="2771" y="12958"/>
                      </a:lnTo>
                      <a:lnTo>
                        <a:pt x="2771" y="6862"/>
                      </a:lnTo>
                      <a:lnTo>
                        <a:pt x="2771" y="3211"/>
                      </a:lnTo>
                      <a:lnTo>
                        <a:pt x="2771" y="1182"/>
                      </a:lnTo>
                      <a:lnTo>
                        <a:pt x="2771" y="1059"/>
                      </a:lnTo>
                      <a:lnTo>
                        <a:pt x="3505" y="1076"/>
                      </a:lnTo>
                      <a:lnTo>
                        <a:pt x="6023" y="1116"/>
                      </a:lnTo>
                      <a:lnTo>
                        <a:pt x="8036" y="1614"/>
                      </a:lnTo>
                      <a:lnTo>
                        <a:pt x="20456" y="8117"/>
                      </a:lnTo>
                      <a:lnTo>
                        <a:pt x="24172" y="10725"/>
                      </a:lnTo>
                      <a:lnTo>
                        <a:pt x="25436" y="11336"/>
                      </a:lnTo>
                      <a:lnTo>
                        <a:pt x="26674" y="11361"/>
                      </a:lnTo>
                      <a:lnTo>
                        <a:pt x="27864" y="11662"/>
                      </a:lnTo>
                      <a:lnTo>
                        <a:pt x="33463" y="15256"/>
                      </a:lnTo>
                      <a:lnTo>
                        <a:pt x="41833" y="18883"/>
                      </a:lnTo>
                      <a:lnTo>
                        <a:pt x="50667" y="22355"/>
                      </a:lnTo>
                      <a:lnTo>
                        <a:pt x="53406" y="23088"/>
                      </a:lnTo>
                      <a:lnTo>
                        <a:pt x="56241" y="23390"/>
                      </a:lnTo>
                      <a:lnTo>
                        <a:pt x="62403" y="24596"/>
                      </a:lnTo>
                      <a:lnTo>
                        <a:pt x="65638" y="25672"/>
                      </a:lnTo>
                      <a:lnTo>
                        <a:pt x="70406" y="29926"/>
                      </a:lnTo>
                      <a:lnTo>
                        <a:pt x="72786" y="31246"/>
                      </a:lnTo>
                      <a:lnTo>
                        <a:pt x="75035" y="33650"/>
                      </a:lnTo>
                      <a:lnTo>
                        <a:pt x="78213" y="36217"/>
                      </a:lnTo>
                      <a:lnTo>
                        <a:pt x="79468" y="36869"/>
                      </a:lnTo>
                      <a:lnTo>
                        <a:pt x="80829" y="37228"/>
                      </a:lnTo>
                      <a:close/>
                      <a:moveTo>
                        <a:pt x="300171" y="65450"/>
                      </a:moveTo>
                      <a:lnTo>
                        <a:pt x="298321" y="67716"/>
                      </a:lnTo>
                      <a:lnTo>
                        <a:pt x="297180" y="65597"/>
                      </a:lnTo>
                      <a:lnTo>
                        <a:pt x="295713" y="63731"/>
                      </a:lnTo>
                      <a:lnTo>
                        <a:pt x="294556" y="61824"/>
                      </a:lnTo>
                      <a:lnTo>
                        <a:pt x="293081" y="57708"/>
                      </a:lnTo>
                      <a:lnTo>
                        <a:pt x="292999" y="55622"/>
                      </a:lnTo>
                      <a:lnTo>
                        <a:pt x="293399" y="53438"/>
                      </a:lnTo>
                      <a:lnTo>
                        <a:pt x="293488" y="51213"/>
                      </a:lnTo>
                      <a:lnTo>
                        <a:pt x="292771" y="46706"/>
                      </a:lnTo>
                      <a:lnTo>
                        <a:pt x="291044" y="42607"/>
                      </a:lnTo>
                      <a:lnTo>
                        <a:pt x="285029" y="32811"/>
                      </a:lnTo>
                      <a:lnTo>
                        <a:pt x="283138" y="30252"/>
                      </a:lnTo>
                      <a:lnTo>
                        <a:pt x="280970" y="27954"/>
                      </a:lnTo>
                      <a:lnTo>
                        <a:pt x="279593" y="27399"/>
                      </a:lnTo>
                      <a:lnTo>
                        <a:pt x="276773" y="26853"/>
                      </a:lnTo>
                      <a:lnTo>
                        <a:pt x="275534" y="26381"/>
                      </a:lnTo>
                      <a:lnTo>
                        <a:pt x="273220" y="24783"/>
                      </a:lnTo>
                      <a:lnTo>
                        <a:pt x="271069" y="22925"/>
                      </a:lnTo>
                      <a:lnTo>
                        <a:pt x="265755" y="17391"/>
                      </a:lnTo>
                      <a:lnTo>
                        <a:pt x="262935" y="15835"/>
                      </a:lnTo>
                      <a:lnTo>
                        <a:pt x="261444" y="13903"/>
                      </a:lnTo>
                      <a:lnTo>
                        <a:pt x="253058" y="7677"/>
                      </a:lnTo>
                      <a:lnTo>
                        <a:pt x="250613" y="6202"/>
                      </a:lnTo>
                      <a:lnTo>
                        <a:pt x="247630" y="6202"/>
                      </a:lnTo>
                      <a:lnTo>
                        <a:pt x="245095" y="4971"/>
                      </a:lnTo>
                      <a:lnTo>
                        <a:pt x="247092" y="4189"/>
                      </a:lnTo>
                      <a:lnTo>
                        <a:pt x="247499" y="2119"/>
                      </a:lnTo>
                      <a:lnTo>
                        <a:pt x="247059" y="0"/>
                      </a:lnTo>
                      <a:lnTo>
                        <a:pt x="251281" y="3455"/>
                      </a:lnTo>
                      <a:lnTo>
                        <a:pt x="255731" y="6479"/>
                      </a:lnTo>
                      <a:lnTo>
                        <a:pt x="257019" y="8908"/>
                      </a:lnTo>
                      <a:lnTo>
                        <a:pt x="259203" y="9070"/>
                      </a:lnTo>
                      <a:lnTo>
                        <a:pt x="263188" y="11075"/>
                      </a:lnTo>
                      <a:lnTo>
                        <a:pt x="265926" y="12893"/>
                      </a:lnTo>
                      <a:lnTo>
                        <a:pt x="268501" y="14979"/>
                      </a:lnTo>
                      <a:lnTo>
                        <a:pt x="271411" y="17978"/>
                      </a:lnTo>
                      <a:lnTo>
                        <a:pt x="277018" y="20334"/>
                      </a:lnTo>
                      <a:lnTo>
                        <a:pt x="277817" y="21181"/>
                      </a:lnTo>
                      <a:lnTo>
                        <a:pt x="280652" y="25093"/>
                      </a:lnTo>
                      <a:lnTo>
                        <a:pt x="284377" y="28402"/>
                      </a:lnTo>
                      <a:lnTo>
                        <a:pt x="285632" y="30235"/>
                      </a:lnTo>
                      <a:lnTo>
                        <a:pt x="301418" y="45932"/>
                      </a:lnTo>
                      <a:lnTo>
                        <a:pt x="304083" y="50324"/>
                      </a:lnTo>
                      <a:lnTo>
                        <a:pt x="304287" y="53332"/>
                      </a:lnTo>
                      <a:lnTo>
                        <a:pt x="303774" y="54505"/>
                      </a:lnTo>
                      <a:lnTo>
                        <a:pt x="302103" y="57048"/>
                      </a:lnTo>
                      <a:lnTo>
                        <a:pt x="302143" y="60047"/>
                      </a:lnTo>
                      <a:lnTo>
                        <a:pt x="301589" y="62737"/>
                      </a:lnTo>
                      <a:lnTo>
                        <a:pt x="300171" y="65450"/>
                      </a:lnTo>
                      <a:close/>
                    </a:path>
                  </a:pathLst>
                </a:custGeom>
                <a:solidFill>
                  <a:srgbClr val="D6D6D2"/>
                </a:solidFill>
                <a:ln w="6112" cap="rnd">
                  <a:solidFill>
                    <a:srgbClr val="FFFFFF"/>
                  </a:solidFill>
                  <a:prstDash val="solid"/>
                  <a:round/>
                </a:ln>
              </p:spPr>
              <p:txBody>
                <a:bodyPr rtlCol="0" anchor="ctr"/>
                <a:lstStyle/>
                <a:p>
                  <a:endParaRPr lang="en-US"/>
                </a:p>
              </p:txBody>
            </p:sp>
            <p:sp>
              <p:nvSpPr>
                <p:cNvPr id="648" name="Freeform: Shape 647">
                  <a:extLst>
                    <a:ext uri="{FF2B5EF4-FFF2-40B4-BE49-F238E27FC236}">
                      <a16:creationId xmlns:a16="http://schemas.microsoft.com/office/drawing/2014/main" id="{49350922-E325-4B78-AA3A-B88E22B715BE}"/>
                    </a:ext>
                  </a:extLst>
                </p:cNvPr>
                <p:cNvSpPr/>
                <p:nvPr/>
              </p:nvSpPr>
              <p:spPr>
                <a:xfrm>
                  <a:off x="8850911" y="3962222"/>
                  <a:ext cx="232512" cy="394512"/>
                </a:xfrm>
                <a:custGeom>
                  <a:avLst/>
                  <a:gdLst>
                    <a:gd name="connsiteX0" fmla="*/ 217949 w 232512"/>
                    <a:gd name="connsiteY0" fmla="*/ 282600 h 394512"/>
                    <a:gd name="connsiteX1" fmla="*/ 219970 w 232512"/>
                    <a:gd name="connsiteY1" fmla="*/ 284418 h 394512"/>
                    <a:gd name="connsiteX2" fmla="*/ 222594 w 232512"/>
                    <a:gd name="connsiteY2" fmla="*/ 283937 h 394512"/>
                    <a:gd name="connsiteX3" fmla="*/ 222553 w 232512"/>
                    <a:gd name="connsiteY3" fmla="*/ 288509 h 394512"/>
                    <a:gd name="connsiteX4" fmla="*/ 222985 w 232512"/>
                    <a:gd name="connsiteY4" fmla="*/ 289845 h 394512"/>
                    <a:gd name="connsiteX5" fmla="*/ 225357 w 232512"/>
                    <a:gd name="connsiteY5" fmla="*/ 293716 h 394512"/>
                    <a:gd name="connsiteX6" fmla="*/ 225723 w 232512"/>
                    <a:gd name="connsiteY6" fmla="*/ 296944 h 394512"/>
                    <a:gd name="connsiteX7" fmla="*/ 224322 w 232512"/>
                    <a:gd name="connsiteY7" fmla="*/ 299984 h 394512"/>
                    <a:gd name="connsiteX8" fmla="*/ 223262 w 232512"/>
                    <a:gd name="connsiteY8" fmla="*/ 301418 h 394512"/>
                    <a:gd name="connsiteX9" fmla="*/ 221314 w 232512"/>
                    <a:gd name="connsiteY9" fmla="*/ 303496 h 394512"/>
                    <a:gd name="connsiteX10" fmla="*/ 221257 w 232512"/>
                    <a:gd name="connsiteY10" fmla="*/ 304450 h 394512"/>
                    <a:gd name="connsiteX11" fmla="*/ 222089 w 232512"/>
                    <a:gd name="connsiteY11" fmla="*/ 305517 h 394512"/>
                    <a:gd name="connsiteX12" fmla="*/ 224811 w 232512"/>
                    <a:gd name="connsiteY12" fmla="*/ 306145 h 394512"/>
                    <a:gd name="connsiteX13" fmla="*/ 226856 w 232512"/>
                    <a:gd name="connsiteY13" fmla="*/ 307807 h 394512"/>
                    <a:gd name="connsiteX14" fmla="*/ 227215 w 232512"/>
                    <a:gd name="connsiteY14" fmla="*/ 312542 h 394512"/>
                    <a:gd name="connsiteX15" fmla="*/ 229170 w 232512"/>
                    <a:gd name="connsiteY15" fmla="*/ 316267 h 394512"/>
                    <a:gd name="connsiteX16" fmla="*/ 229122 w 232512"/>
                    <a:gd name="connsiteY16" fmla="*/ 317897 h 394512"/>
                    <a:gd name="connsiteX17" fmla="*/ 228348 w 232512"/>
                    <a:gd name="connsiteY17" fmla="*/ 324555 h 394512"/>
                    <a:gd name="connsiteX18" fmla="*/ 228592 w 232512"/>
                    <a:gd name="connsiteY18" fmla="*/ 327399 h 394512"/>
                    <a:gd name="connsiteX19" fmla="*/ 230059 w 232512"/>
                    <a:gd name="connsiteY19" fmla="*/ 329681 h 394512"/>
                    <a:gd name="connsiteX20" fmla="*/ 231298 w 232512"/>
                    <a:gd name="connsiteY20" fmla="*/ 330651 h 394512"/>
                    <a:gd name="connsiteX21" fmla="*/ 231933 w 232512"/>
                    <a:gd name="connsiteY21" fmla="*/ 332077 h 394512"/>
                    <a:gd name="connsiteX22" fmla="*/ 232512 w 232512"/>
                    <a:gd name="connsiteY22" fmla="*/ 335997 h 394512"/>
                    <a:gd name="connsiteX23" fmla="*/ 232406 w 232512"/>
                    <a:gd name="connsiteY23" fmla="*/ 342664 h 394512"/>
                    <a:gd name="connsiteX24" fmla="*/ 232219 w 232512"/>
                    <a:gd name="connsiteY24" fmla="*/ 344986 h 394512"/>
                    <a:gd name="connsiteX25" fmla="*/ 231355 w 232512"/>
                    <a:gd name="connsiteY25" fmla="*/ 347154 h 394512"/>
                    <a:gd name="connsiteX26" fmla="*/ 228690 w 232512"/>
                    <a:gd name="connsiteY26" fmla="*/ 352069 h 394512"/>
                    <a:gd name="connsiteX27" fmla="*/ 225088 w 232512"/>
                    <a:gd name="connsiteY27" fmla="*/ 355972 h 394512"/>
                    <a:gd name="connsiteX28" fmla="*/ 223181 w 232512"/>
                    <a:gd name="connsiteY28" fmla="*/ 355703 h 394512"/>
                    <a:gd name="connsiteX29" fmla="*/ 222561 w 232512"/>
                    <a:gd name="connsiteY29" fmla="*/ 356860 h 394512"/>
                    <a:gd name="connsiteX30" fmla="*/ 223759 w 232512"/>
                    <a:gd name="connsiteY30" fmla="*/ 360430 h 394512"/>
                    <a:gd name="connsiteX31" fmla="*/ 223286 w 232512"/>
                    <a:gd name="connsiteY31" fmla="*/ 367952 h 394512"/>
                    <a:gd name="connsiteX32" fmla="*/ 222496 w 232512"/>
                    <a:gd name="connsiteY32" fmla="*/ 373168 h 394512"/>
                    <a:gd name="connsiteX33" fmla="*/ 221331 w 232512"/>
                    <a:gd name="connsiteY33" fmla="*/ 370528 h 394512"/>
                    <a:gd name="connsiteX34" fmla="*/ 220515 w 232512"/>
                    <a:gd name="connsiteY34" fmla="*/ 367765 h 394512"/>
                    <a:gd name="connsiteX35" fmla="*/ 219774 w 232512"/>
                    <a:gd name="connsiteY35" fmla="*/ 360446 h 394512"/>
                    <a:gd name="connsiteX36" fmla="*/ 218861 w 232512"/>
                    <a:gd name="connsiteY36" fmla="*/ 357146 h 394512"/>
                    <a:gd name="connsiteX37" fmla="*/ 217419 w 232512"/>
                    <a:gd name="connsiteY37" fmla="*/ 354122 h 394512"/>
                    <a:gd name="connsiteX38" fmla="*/ 216840 w 232512"/>
                    <a:gd name="connsiteY38" fmla="*/ 351433 h 394512"/>
                    <a:gd name="connsiteX39" fmla="*/ 215332 w 232512"/>
                    <a:gd name="connsiteY39" fmla="*/ 348915 h 394512"/>
                    <a:gd name="connsiteX40" fmla="*/ 213442 w 232512"/>
                    <a:gd name="connsiteY40" fmla="*/ 342411 h 394512"/>
                    <a:gd name="connsiteX41" fmla="*/ 212179 w 232512"/>
                    <a:gd name="connsiteY41" fmla="*/ 342753 h 394512"/>
                    <a:gd name="connsiteX42" fmla="*/ 210084 w 232512"/>
                    <a:gd name="connsiteY42" fmla="*/ 344530 h 394512"/>
                    <a:gd name="connsiteX43" fmla="*/ 209611 w 232512"/>
                    <a:gd name="connsiteY43" fmla="*/ 345753 h 394512"/>
                    <a:gd name="connsiteX44" fmla="*/ 209359 w 232512"/>
                    <a:gd name="connsiteY44" fmla="*/ 347611 h 394512"/>
                    <a:gd name="connsiteX45" fmla="*/ 208878 w 232512"/>
                    <a:gd name="connsiteY45" fmla="*/ 349281 h 394512"/>
                    <a:gd name="connsiteX46" fmla="*/ 206433 w 232512"/>
                    <a:gd name="connsiteY46" fmla="*/ 351938 h 394512"/>
                    <a:gd name="connsiteX47" fmla="*/ 204509 w 232512"/>
                    <a:gd name="connsiteY47" fmla="*/ 355116 h 394512"/>
                    <a:gd name="connsiteX48" fmla="*/ 202929 w 232512"/>
                    <a:gd name="connsiteY48" fmla="*/ 358572 h 394512"/>
                    <a:gd name="connsiteX49" fmla="*/ 202431 w 232512"/>
                    <a:gd name="connsiteY49" fmla="*/ 361759 h 394512"/>
                    <a:gd name="connsiteX50" fmla="*/ 203719 w 232512"/>
                    <a:gd name="connsiteY50" fmla="*/ 364244 h 394512"/>
                    <a:gd name="connsiteX51" fmla="*/ 205048 w 232512"/>
                    <a:gd name="connsiteY51" fmla="*/ 365247 h 394512"/>
                    <a:gd name="connsiteX52" fmla="*/ 206987 w 232512"/>
                    <a:gd name="connsiteY52" fmla="*/ 367471 h 394512"/>
                    <a:gd name="connsiteX53" fmla="*/ 207574 w 232512"/>
                    <a:gd name="connsiteY53" fmla="*/ 368490 h 394512"/>
                    <a:gd name="connsiteX54" fmla="*/ 209619 w 232512"/>
                    <a:gd name="connsiteY54" fmla="*/ 375727 h 394512"/>
                    <a:gd name="connsiteX55" fmla="*/ 209538 w 232512"/>
                    <a:gd name="connsiteY55" fmla="*/ 383119 h 394512"/>
                    <a:gd name="connsiteX56" fmla="*/ 208047 w 232512"/>
                    <a:gd name="connsiteY56" fmla="*/ 386371 h 394512"/>
                    <a:gd name="connsiteX57" fmla="*/ 204282 w 232512"/>
                    <a:gd name="connsiteY57" fmla="*/ 392556 h 394512"/>
                    <a:gd name="connsiteX58" fmla="*/ 201568 w 232512"/>
                    <a:gd name="connsiteY58" fmla="*/ 394512 h 394512"/>
                    <a:gd name="connsiteX59" fmla="*/ 200117 w 232512"/>
                    <a:gd name="connsiteY59" fmla="*/ 393518 h 394512"/>
                    <a:gd name="connsiteX60" fmla="*/ 198943 w 232512"/>
                    <a:gd name="connsiteY60" fmla="*/ 389777 h 394512"/>
                    <a:gd name="connsiteX61" fmla="*/ 198756 w 232512"/>
                    <a:gd name="connsiteY61" fmla="*/ 388237 h 394512"/>
                    <a:gd name="connsiteX62" fmla="*/ 199546 w 232512"/>
                    <a:gd name="connsiteY62" fmla="*/ 384724 h 394512"/>
                    <a:gd name="connsiteX63" fmla="*/ 199636 w 232512"/>
                    <a:gd name="connsiteY63" fmla="*/ 381489 h 394512"/>
                    <a:gd name="connsiteX64" fmla="*/ 198723 w 232512"/>
                    <a:gd name="connsiteY64" fmla="*/ 380397 h 394512"/>
                    <a:gd name="connsiteX65" fmla="*/ 197721 w 232512"/>
                    <a:gd name="connsiteY65" fmla="*/ 380609 h 394512"/>
                    <a:gd name="connsiteX66" fmla="*/ 197289 w 232512"/>
                    <a:gd name="connsiteY66" fmla="*/ 381073 h 394512"/>
                    <a:gd name="connsiteX67" fmla="*/ 194860 w 232512"/>
                    <a:gd name="connsiteY67" fmla="*/ 385303 h 394512"/>
                    <a:gd name="connsiteX68" fmla="*/ 193850 w 232512"/>
                    <a:gd name="connsiteY68" fmla="*/ 386371 h 394512"/>
                    <a:gd name="connsiteX69" fmla="*/ 192358 w 232512"/>
                    <a:gd name="connsiteY69" fmla="*/ 386526 h 394512"/>
                    <a:gd name="connsiteX70" fmla="*/ 191169 w 232512"/>
                    <a:gd name="connsiteY70" fmla="*/ 386232 h 394512"/>
                    <a:gd name="connsiteX71" fmla="*/ 183956 w 232512"/>
                    <a:gd name="connsiteY71" fmla="*/ 382540 h 394512"/>
                    <a:gd name="connsiteX72" fmla="*/ 178047 w 232512"/>
                    <a:gd name="connsiteY72" fmla="*/ 378897 h 394512"/>
                    <a:gd name="connsiteX73" fmla="*/ 173442 w 232512"/>
                    <a:gd name="connsiteY73" fmla="*/ 375483 h 394512"/>
                    <a:gd name="connsiteX74" fmla="*/ 170101 w 232512"/>
                    <a:gd name="connsiteY74" fmla="*/ 370348 h 394512"/>
                    <a:gd name="connsiteX75" fmla="*/ 169400 w 232512"/>
                    <a:gd name="connsiteY75" fmla="*/ 366502 h 394512"/>
                    <a:gd name="connsiteX76" fmla="*/ 169360 w 232512"/>
                    <a:gd name="connsiteY76" fmla="*/ 362476 h 394512"/>
                    <a:gd name="connsiteX77" fmla="*/ 167860 w 232512"/>
                    <a:gd name="connsiteY77" fmla="*/ 356575 h 394512"/>
                    <a:gd name="connsiteX78" fmla="*/ 167689 w 232512"/>
                    <a:gd name="connsiteY78" fmla="*/ 354571 h 394512"/>
                    <a:gd name="connsiteX79" fmla="*/ 167795 w 232512"/>
                    <a:gd name="connsiteY79" fmla="*/ 352647 h 394512"/>
                    <a:gd name="connsiteX80" fmla="*/ 169287 w 232512"/>
                    <a:gd name="connsiteY80" fmla="*/ 349029 h 394512"/>
                    <a:gd name="connsiteX81" fmla="*/ 171088 w 232512"/>
                    <a:gd name="connsiteY81" fmla="*/ 347195 h 394512"/>
                    <a:gd name="connsiteX82" fmla="*/ 172090 w 232512"/>
                    <a:gd name="connsiteY82" fmla="*/ 345875 h 394512"/>
                    <a:gd name="connsiteX83" fmla="*/ 172913 w 232512"/>
                    <a:gd name="connsiteY83" fmla="*/ 344416 h 394512"/>
                    <a:gd name="connsiteX84" fmla="*/ 173451 w 232512"/>
                    <a:gd name="connsiteY84" fmla="*/ 342468 h 394512"/>
                    <a:gd name="connsiteX85" fmla="*/ 173296 w 232512"/>
                    <a:gd name="connsiteY85" fmla="*/ 340537 h 394512"/>
                    <a:gd name="connsiteX86" fmla="*/ 172693 w 232512"/>
                    <a:gd name="connsiteY86" fmla="*/ 339330 h 394512"/>
                    <a:gd name="connsiteX87" fmla="*/ 169857 w 232512"/>
                    <a:gd name="connsiteY87" fmla="*/ 335084 h 394512"/>
                    <a:gd name="connsiteX88" fmla="*/ 167379 w 232512"/>
                    <a:gd name="connsiteY88" fmla="*/ 332477 h 394512"/>
                    <a:gd name="connsiteX89" fmla="*/ 162327 w 232512"/>
                    <a:gd name="connsiteY89" fmla="*/ 330129 h 394512"/>
                    <a:gd name="connsiteX90" fmla="*/ 161161 w 232512"/>
                    <a:gd name="connsiteY90" fmla="*/ 328842 h 394512"/>
                    <a:gd name="connsiteX91" fmla="*/ 159873 w 232512"/>
                    <a:gd name="connsiteY91" fmla="*/ 327864 h 394512"/>
                    <a:gd name="connsiteX92" fmla="*/ 158464 w 232512"/>
                    <a:gd name="connsiteY92" fmla="*/ 327456 h 394512"/>
                    <a:gd name="connsiteX93" fmla="*/ 157078 w 232512"/>
                    <a:gd name="connsiteY93" fmla="*/ 327440 h 394512"/>
                    <a:gd name="connsiteX94" fmla="*/ 155587 w 232512"/>
                    <a:gd name="connsiteY94" fmla="*/ 328165 h 394512"/>
                    <a:gd name="connsiteX95" fmla="*/ 155204 w 232512"/>
                    <a:gd name="connsiteY95" fmla="*/ 329722 h 394512"/>
                    <a:gd name="connsiteX96" fmla="*/ 155302 w 232512"/>
                    <a:gd name="connsiteY96" fmla="*/ 331099 h 394512"/>
                    <a:gd name="connsiteX97" fmla="*/ 155171 w 232512"/>
                    <a:gd name="connsiteY97" fmla="*/ 332460 h 394512"/>
                    <a:gd name="connsiteX98" fmla="*/ 153052 w 232512"/>
                    <a:gd name="connsiteY98" fmla="*/ 340211 h 394512"/>
                    <a:gd name="connsiteX99" fmla="*/ 150346 w 232512"/>
                    <a:gd name="connsiteY99" fmla="*/ 338507 h 394512"/>
                    <a:gd name="connsiteX100" fmla="*/ 147771 w 232512"/>
                    <a:gd name="connsiteY100" fmla="*/ 336543 h 394512"/>
                    <a:gd name="connsiteX101" fmla="*/ 147103 w 232512"/>
                    <a:gd name="connsiteY101" fmla="*/ 335174 h 394512"/>
                    <a:gd name="connsiteX102" fmla="*/ 146793 w 232512"/>
                    <a:gd name="connsiteY102" fmla="*/ 333528 h 394512"/>
                    <a:gd name="connsiteX103" fmla="*/ 146361 w 232512"/>
                    <a:gd name="connsiteY103" fmla="*/ 332411 h 394512"/>
                    <a:gd name="connsiteX104" fmla="*/ 145758 w 232512"/>
                    <a:gd name="connsiteY104" fmla="*/ 331401 h 394512"/>
                    <a:gd name="connsiteX105" fmla="*/ 144576 w 232512"/>
                    <a:gd name="connsiteY105" fmla="*/ 333992 h 394512"/>
                    <a:gd name="connsiteX106" fmla="*/ 143093 w 232512"/>
                    <a:gd name="connsiteY106" fmla="*/ 336030 h 394512"/>
                    <a:gd name="connsiteX107" fmla="*/ 141292 w 232512"/>
                    <a:gd name="connsiteY107" fmla="*/ 336511 h 394512"/>
                    <a:gd name="connsiteX108" fmla="*/ 139458 w 232512"/>
                    <a:gd name="connsiteY108" fmla="*/ 336543 h 394512"/>
                    <a:gd name="connsiteX109" fmla="*/ 138847 w 232512"/>
                    <a:gd name="connsiteY109" fmla="*/ 335671 h 394512"/>
                    <a:gd name="connsiteX110" fmla="*/ 138187 w 232512"/>
                    <a:gd name="connsiteY110" fmla="*/ 330741 h 394512"/>
                    <a:gd name="connsiteX111" fmla="*/ 136255 w 232512"/>
                    <a:gd name="connsiteY111" fmla="*/ 329192 h 394512"/>
                    <a:gd name="connsiteX112" fmla="*/ 133835 w 232512"/>
                    <a:gd name="connsiteY112" fmla="*/ 329526 h 394512"/>
                    <a:gd name="connsiteX113" fmla="*/ 130901 w 232512"/>
                    <a:gd name="connsiteY113" fmla="*/ 332248 h 394512"/>
                    <a:gd name="connsiteX114" fmla="*/ 130323 w 232512"/>
                    <a:gd name="connsiteY114" fmla="*/ 333267 h 394512"/>
                    <a:gd name="connsiteX115" fmla="*/ 129687 w 232512"/>
                    <a:gd name="connsiteY115" fmla="*/ 335606 h 394512"/>
                    <a:gd name="connsiteX116" fmla="*/ 126484 w 232512"/>
                    <a:gd name="connsiteY116" fmla="*/ 342248 h 394512"/>
                    <a:gd name="connsiteX117" fmla="*/ 124789 w 232512"/>
                    <a:gd name="connsiteY117" fmla="*/ 347366 h 394512"/>
                    <a:gd name="connsiteX118" fmla="*/ 122922 w 232512"/>
                    <a:gd name="connsiteY118" fmla="*/ 352346 h 394512"/>
                    <a:gd name="connsiteX119" fmla="*/ 122083 w 232512"/>
                    <a:gd name="connsiteY119" fmla="*/ 353984 h 394512"/>
                    <a:gd name="connsiteX120" fmla="*/ 120975 w 232512"/>
                    <a:gd name="connsiteY120" fmla="*/ 355067 h 394512"/>
                    <a:gd name="connsiteX121" fmla="*/ 119239 w 232512"/>
                    <a:gd name="connsiteY121" fmla="*/ 354619 h 394512"/>
                    <a:gd name="connsiteX122" fmla="*/ 117666 w 232512"/>
                    <a:gd name="connsiteY122" fmla="*/ 353429 h 394512"/>
                    <a:gd name="connsiteX123" fmla="*/ 116167 w 232512"/>
                    <a:gd name="connsiteY123" fmla="*/ 350218 h 394512"/>
                    <a:gd name="connsiteX124" fmla="*/ 116672 w 232512"/>
                    <a:gd name="connsiteY124" fmla="*/ 346486 h 394512"/>
                    <a:gd name="connsiteX125" fmla="*/ 118318 w 232512"/>
                    <a:gd name="connsiteY125" fmla="*/ 344098 h 394512"/>
                    <a:gd name="connsiteX126" fmla="*/ 119712 w 232512"/>
                    <a:gd name="connsiteY126" fmla="*/ 341555 h 394512"/>
                    <a:gd name="connsiteX127" fmla="*/ 121390 w 232512"/>
                    <a:gd name="connsiteY127" fmla="*/ 332648 h 394512"/>
                    <a:gd name="connsiteX128" fmla="*/ 121521 w 232512"/>
                    <a:gd name="connsiteY128" fmla="*/ 329469 h 394512"/>
                    <a:gd name="connsiteX129" fmla="*/ 121806 w 232512"/>
                    <a:gd name="connsiteY129" fmla="*/ 328117 h 394512"/>
                    <a:gd name="connsiteX130" fmla="*/ 124577 w 232512"/>
                    <a:gd name="connsiteY130" fmla="*/ 324066 h 394512"/>
                    <a:gd name="connsiteX131" fmla="*/ 126908 w 232512"/>
                    <a:gd name="connsiteY131" fmla="*/ 321556 h 394512"/>
                    <a:gd name="connsiteX132" fmla="*/ 128130 w 232512"/>
                    <a:gd name="connsiteY132" fmla="*/ 321034 h 394512"/>
                    <a:gd name="connsiteX133" fmla="*/ 133158 w 232512"/>
                    <a:gd name="connsiteY133" fmla="*/ 319608 h 394512"/>
                    <a:gd name="connsiteX134" fmla="*/ 135229 w 232512"/>
                    <a:gd name="connsiteY134" fmla="*/ 318418 h 394512"/>
                    <a:gd name="connsiteX135" fmla="*/ 138489 w 232512"/>
                    <a:gd name="connsiteY135" fmla="*/ 318402 h 394512"/>
                    <a:gd name="connsiteX136" fmla="*/ 141129 w 232512"/>
                    <a:gd name="connsiteY136" fmla="*/ 317717 h 394512"/>
                    <a:gd name="connsiteX137" fmla="*/ 143248 w 232512"/>
                    <a:gd name="connsiteY137" fmla="*/ 315794 h 394512"/>
                    <a:gd name="connsiteX138" fmla="*/ 143411 w 232512"/>
                    <a:gd name="connsiteY138" fmla="*/ 313789 h 394512"/>
                    <a:gd name="connsiteX139" fmla="*/ 143305 w 232512"/>
                    <a:gd name="connsiteY139" fmla="*/ 311711 h 394512"/>
                    <a:gd name="connsiteX140" fmla="*/ 143778 w 232512"/>
                    <a:gd name="connsiteY140" fmla="*/ 310440 h 394512"/>
                    <a:gd name="connsiteX141" fmla="*/ 144601 w 232512"/>
                    <a:gd name="connsiteY141" fmla="*/ 309372 h 394512"/>
                    <a:gd name="connsiteX142" fmla="*/ 145726 w 232512"/>
                    <a:gd name="connsiteY142" fmla="*/ 307962 h 394512"/>
                    <a:gd name="connsiteX143" fmla="*/ 146997 w 232512"/>
                    <a:gd name="connsiteY143" fmla="*/ 306895 h 394512"/>
                    <a:gd name="connsiteX144" fmla="*/ 150607 w 232512"/>
                    <a:gd name="connsiteY144" fmla="*/ 306129 h 394512"/>
                    <a:gd name="connsiteX145" fmla="*/ 151805 w 232512"/>
                    <a:gd name="connsiteY145" fmla="*/ 305256 h 394512"/>
                    <a:gd name="connsiteX146" fmla="*/ 152767 w 232512"/>
                    <a:gd name="connsiteY146" fmla="*/ 303895 h 394512"/>
                    <a:gd name="connsiteX147" fmla="*/ 154120 w 232512"/>
                    <a:gd name="connsiteY147" fmla="*/ 301255 h 394512"/>
                    <a:gd name="connsiteX148" fmla="*/ 155709 w 232512"/>
                    <a:gd name="connsiteY148" fmla="*/ 301907 h 394512"/>
                    <a:gd name="connsiteX149" fmla="*/ 157323 w 232512"/>
                    <a:gd name="connsiteY149" fmla="*/ 302934 h 394512"/>
                    <a:gd name="connsiteX150" fmla="*/ 160208 w 232512"/>
                    <a:gd name="connsiteY150" fmla="*/ 303749 h 394512"/>
                    <a:gd name="connsiteX151" fmla="*/ 162766 w 232512"/>
                    <a:gd name="connsiteY151" fmla="*/ 305941 h 394512"/>
                    <a:gd name="connsiteX152" fmla="*/ 164396 w 232512"/>
                    <a:gd name="connsiteY152" fmla="*/ 309405 h 394512"/>
                    <a:gd name="connsiteX153" fmla="*/ 164673 w 232512"/>
                    <a:gd name="connsiteY153" fmla="*/ 311100 h 394512"/>
                    <a:gd name="connsiteX154" fmla="*/ 165097 w 232512"/>
                    <a:gd name="connsiteY154" fmla="*/ 316740 h 394512"/>
                    <a:gd name="connsiteX155" fmla="*/ 164502 w 232512"/>
                    <a:gd name="connsiteY155" fmla="*/ 318051 h 394512"/>
                    <a:gd name="connsiteX156" fmla="*/ 162009 w 232512"/>
                    <a:gd name="connsiteY156" fmla="*/ 320668 h 394512"/>
                    <a:gd name="connsiteX157" fmla="*/ 163158 w 232512"/>
                    <a:gd name="connsiteY157" fmla="*/ 320937 h 394512"/>
                    <a:gd name="connsiteX158" fmla="*/ 166434 w 232512"/>
                    <a:gd name="connsiteY158" fmla="*/ 318557 h 394512"/>
                    <a:gd name="connsiteX159" fmla="*/ 168056 w 232512"/>
                    <a:gd name="connsiteY159" fmla="*/ 317636 h 394512"/>
                    <a:gd name="connsiteX160" fmla="*/ 172082 w 232512"/>
                    <a:gd name="connsiteY160" fmla="*/ 316356 h 394512"/>
                    <a:gd name="connsiteX161" fmla="*/ 173035 w 232512"/>
                    <a:gd name="connsiteY161" fmla="*/ 315509 h 394512"/>
                    <a:gd name="connsiteX162" fmla="*/ 173728 w 232512"/>
                    <a:gd name="connsiteY162" fmla="*/ 314254 h 394512"/>
                    <a:gd name="connsiteX163" fmla="*/ 175163 w 232512"/>
                    <a:gd name="connsiteY163" fmla="*/ 310806 h 394512"/>
                    <a:gd name="connsiteX164" fmla="*/ 176197 w 232512"/>
                    <a:gd name="connsiteY164" fmla="*/ 307123 h 394512"/>
                    <a:gd name="connsiteX165" fmla="*/ 177020 w 232512"/>
                    <a:gd name="connsiteY165" fmla="*/ 305591 h 394512"/>
                    <a:gd name="connsiteX166" fmla="*/ 178178 w 232512"/>
                    <a:gd name="connsiteY166" fmla="*/ 304376 h 394512"/>
                    <a:gd name="connsiteX167" fmla="*/ 179335 w 232512"/>
                    <a:gd name="connsiteY167" fmla="*/ 304181 h 394512"/>
                    <a:gd name="connsiteX168" fmla="*/ 183564 w 232512"/>
                    <a:gd name="connsiteY168" fmla="*/ 306707 h 394512"/>
                    <a:gd name="connsiteX169" fmla="*/ 186278 w 232512"/>
                    <a:gd name="connsiteY169" fmla="*/ 305493 h 394512"/>
                    <a:gd name="connsiteX170" fmla="*/ 187044 w 232512"/>
                    <a:gd name="connsiteY170" fmla="*/ 301679 h 394512"/>
                    <a:gd name="connsiteX171" fmla="*/ 187664 w 232512"/>
                    <a:gd name="connsiteY171" fmla="*/ 296120 h 394512"/>
                    <a:gd name="connsiteX172" fmla="*/ 188145 w 232512"/>
                    <a:gd name="connsiteY172" fmla="*/ 294621 h 394512"/>
                    <a:gd name="connsiteX173" fmla="*/ 189693 w 232512"/>
                    <a:gd name="connsiteY173" fmla="*/ 293170 h 394512"/>
                    <a:gd name="connsiteX174" fmla="*/ 191560 w 232512"/>
                    <a:gd name="connsiteY174" fmla="*/ 293635 h 394512"/>
                    <a:gd name="connsiteX175" fmla="*/ 194102 w 232512"/>
                    <a:gd name="connsiteY175" fmla="*/ 295631 h 394512"/>
                    <a:gd name="connsiteX176" fmla="*/ 196450 w 232512"/>
                    <a:gd name="connsiteY176" fmla="*/ 296292 h 394512"/>
                    <a:gd name="connsiteX177" fmla="*/ 197322 w 232512"/>
                    <a:gd name="connsiteY177" fmla="*/ 294678 h 394512"/>
                    <a:gd name="connsiteX178" fmla="*/ 198153 w 232512"/>
                    <a:gd name="connsiteY178" fmla="*/ 291516 h 394512"/>
                    <a:gd name="connsiteX179" fmla="*/ 199090 w 232512"/>
                    <a:gd name="connsiteY179" fmla="*/ 291532 h 394512"/>
                    <a:gd name="connsiteX180" fmla="*/ 202260 w 232512"/>
                    <a:gd name="connsiteY180" fmla="*/ 292575 h 394512"/>
                    <a:gd name="connsiteX181" fmla="*/ 205316 w 232512"/>
                    <a:gd name="connsiteY181" fmla="*/ 291891 h 394512"/>
                    <a:gd name="connsiteX182" fmla="*/ 206172 w 232512"/>
                    <a:gd name="connsiteY182" fmla="*/ 288085 h 394512"/>
                    <a:gd name="connsiteX183" fmla="*/ 205610 w 232512"/>
                    <a:gd name="connsiteY183" fmla="*/ 284018 h 394512"/>
                    <a:gd name="connsiteX184" fmla="*/ 203214 w 232512"/>
                    <a:gd name="connsiteY184" fmla="*/ 272160 h 394512"/>
                    <a:gd name="connsiteX185" fmla="*/ 204640 w 232512"/>
                    <a:gd name="connsiteY185" fmla="*/ 269520 h 394512"/>
                    <a:gd name="connsiteX186" fmla="*/ 205862 w 232512"/>
                    <a:gd name="connsiteY186" fmla="*/ 269447 h 394512"/>
                    <a:gd name="connsiteX187" fmla="*/ 208878 w 232512"/>
                    <a:gd name="connsiteY187" fmla="*/ 272600 h 394512"/>
                    <a:gd name="connsiteX188" fmla="*/ 214689 w 232512"/>
                    <a:gd name="connsiteY188" fmla="*/ 276863 h 394512"/>
                    <a:gd name="connsiteX189" fmla="*/ 216620 w 232512"/>
                    <a:gd name="connsiteY189" fmla="*/ 279471 h 394512"/>
                    <a:gd name="connsiteX190" fmla="*/ 217949 w 232512"/>
                    <a:gd name="connsiteY190" fmla="*/ 282600 h 394512"/>
                    <a:gd name="connsiteX191" fmla="*/ 182929 w 232512"/>
                    <a:gd name="connsiteY191" fmla="*/ 268550 h 394512"/>
                    <a:gd name="connsiteX192" fmla="*/ 182693 w 232512"/>
                    <a:gd name="connsiteY192" fmla="*/ 269658 h 394512"/>
                    <a:gd name="connsiteX193" fmla="*/ 180737 w 232512"/>
                    <a:gd name="connsiteY193" fmla="*/ 269569 h 394512"/>
                    <a:gd name="connsiteX194" fmla="*/ 180044 w 232512"/>
                    <a:gd name="connsiteY194" fmla="*/ 269740 h 394512"/>
                    <a:gd name="connsiteX195" fmla="*/ 178210 w 232512"/>
                    <a:gd name="connsiteY195" fmla="*/ 272560 h 394512"/>
                    <a:gd name="connsiteX196" fmla="*/ 177118 w 232512"/>
                    <a:gd name="connsiteY196" fmla="*/ 273277 h 394512"/>
                    <a:gd name="connsiteX197" fmla="*/ 171226 w 232512"/>
                    <a:gd name="connsiteY197" fmla="*/ 274214 h 394512"/>
                    <a:gd name="connsiteX198" fmla="*/ 166597 w 232512"/>
                    <a:gd name="connsiteY198" fmla="*/ 273472 h 394512"/>
                    <a:gd name="connsiteX199" fmla="*/ 165016 w 232512"/>
                    <a:gd name="connsiteY199" fmla="*/ 271916 h 394512"/>
                    <a:gd name="connsiteX200" fmla="*/ 163989 w 232512"/>
                    <a:gd name="connsiteY200" fmla="*/ 269341 h 394512"/>
                    <a:gd name="connsiteX201" fmla="*/ 163663 w 232512"/>
                    <a:gd name="connsiteY201" fmla="*/ 267645 h 394512"/>
                    <a:gd name="connsiteX202" fmla="*/ 164829 w 232512"/>
                    <a:gd name="connsiteY202" fmla="*/ 265795 h 394512"/>
                    <a:gd name="connsiteX203" fmla="*/ 165945 w 232512"/>
                    <a:gd name="connsiteY203" fmla="*/ 264565 h 394512"/>
                    <a:gd name="connsiteX204" fmla="*/ 169685 w 232512"/>
                    <a:gd name="connsiteY204" fmla="*/ 262136 h 394512"/>
                    <a:gd name="connsiteX205" fmla="*/ 170533 w 232512"/>
                    <a:gd name="connsiteY205" fmla="*/ 260286 h 394512"/>
                    <a:gd name="connsiteX206" fmla="*/ 172497 w 232512"/>
                    <a:gd name="connsiteY206" fmla="*/ 258053 h 394512"/>
                    <a:gd name="connsiteX207" fmla="*/ 176539 w 232512"/>
                    <a:gd name="connsiteY207" fmla="*/ 257311 h 394512"/>
                    <a:gd name="connsiteX208" fmla="*/ 176922 w 232512"/>
                    <a:gd name="connsiteY208" fmla="*/ 257874 h 394512"/>
                    <a:gd name="connsiteX209" fmla="*/ 177461 w 232512"/>
                    <a:gd name="connsiteY209" fmla="*/ 258224 h 394512"/>
                    <a:gd name="connsiteX210" fmla="*/ 178267 w 232512"/>
                    <a:gd name="connsiteY210" fmla="*/ 258322 h 394512"/>
                    <a:gd name="connsiteX211" fmla="*/ 180264 w 232512"/>
                    <a:gd name="connsiteY211" fmla="*/ 260164 h 394512"/>
                    <a:gd name="connsiteX212" fmla="*/ 182521 w 232512"/>
                    <a:gd name="connsiteY212" fmla="*/ 261329 h 394512"/>
                    <a:gd name="connsiteX213" fmla="*/ 181976 w 232512"/>
                    <a:gd name="connsiteY213" fmla="*/ 265779 h 394512"/>
                    <a:gd name="connsiteX214" fmla="*/ 182644 w 232512"/>
                    <a:gd name="connsiteY214" fmla="*/ 267279 h 394512"/>
                    <a:gd name="connsiteX215" fmla="*/ 182929 w 232512"/>
                    <a:gd name="connsiteY215" fmla="*/ 268550 h 394512"/>
                    <a:gd name="connsiteX216" fmla="*/ 146646 w 232512"/>
                    <a:gd name="connsiteY216" fmla="*/ 290342 h 394512"/>
                    <a:gd name="connsiteX217" fmla="*/ 145000 w 232512"/>
                    <a:gd name="connsiteY217" fmla="*/ 290668 h 394512"/>
                    <a:gd name="connsiteX218" fmla="*/ 143264 w 232512"/>
                    <a:gd name="connsiteY218" fmla="*/ 290497 h 394512"/>
                    <a:gd name="connsiteX219" fmla="*/ 142099 w 232512"/>
                    <a:gd name="connsiteY219" fmla="*/ 289014 h 394512"/>
                    <a:gd name="connsiteX220" fmla="*/ 140086 w 232512"/>
                    <a:gd name="connsiteY220" fmla="*/ 282633 h 394512"/>
                    <a:gd name="connsiteX221" fmla="*/ 137747 w 232512"/>
                    <a:gd name="connsiteY221" fmla="*/ 281084 h 394512"/>
                    <a:gd name="connsiteX222" fmla="*/ 135074 w 232512"/>
                    <a:gd name="connsiteY222" fmla="*/ 279903 h 394512"/>
                    <a:gd name="connsiteX223" fmla="*/ 133737 w 232512"/>
                    <a:gd name="connsiteY223" fmla="*/ 278908 h 394512"/>
                    <a:gd name="connsiteX224" fmla="*/ 132548 w 232512"/>
                    <a:gd name="connsiteY224" fmla="*/ 277710 h 394512"/>
                    <a:gd name="connsiteX225" fmla="*/ 128791 w 232512"/>
                    <a:gd name="connsiteY225" fmla="*/ 271345 h 394512"/>
                    <a:gd name="connsiteX226" fmla="*/ 128505 w 232512"/>
                    <a:gd name="connsiteY226" fmla="*/ 267450 h 394512"/>
                    <a:gd name="connsiteX227" fmla="*/ 129149 w 232512"/>
                    <a:gd name="connsiteY227" fmla="*/ 265249 h 394512"/>
                    <a:gd name="connsiteX228" fmla="*/ 130290 w 232512"/>
                    <a:gd name="connsiteY228" fmla="*/ 263269 h 394512"/>
                    <a:gd name="connsiteX229" fmla="*/ 131578 w 232512"/>
                    <a:gd name="connsiteY229" fmla="*/ 262739 h 394512"/>
                    <a:gd name="connsiteX230" fmla="*/ 134675 w 232512"/>
                    <a:gd name="connsiteY230" fmla="*/ 262666 h 394512"/>
                    <a:gd name="connsiteX231" fmla="*/ 136280 w 232512"/>
                    <a:gd name="connsiteY231" fmla="*/ 262405 h 394512"/>
                    <a:gd name="connsiteX232" fmla="*/ 139817 w 232512"/>
                    <a:gd name="connsiteY232" fmla="*/ 259487 h 394512"/>
                    <a:gd name="connsiteX233" fmla="*/ 140070 w 232512"/>
                    <a:gd name="connsiteY233" fmla="*/ 258338 h 394512"/>
                    <a:gd name="connsiteX234" fmla="*/ 140086 w 232512"/>
                    <a:gd name="connsiteY234" fmla="*/ 253538 h 394512"/>
                    <a:gd name="connsiteX235" fmla="*/ 139735 w 232512"/>
                    <a:gd name="connsiteY235" fmla="*/ 250180 h 394512"/>
                    <a:gd name="connsiteX236" fmla="*/ 138872 w 232512"/>
                    <a:gd name="connsiteY236" fmla="*/ 246904 h 394512"/>
                    <a:gd name="connsiteX237" fmla="*/ 139817 w 232512"/>
                    <a:gd name="connsiteY237" fmla="*/ 245405 h 394512"/>
                    <a:gd name="connsiteX238" fmla="*/ 141064 w 232512"/>
                    <a:gd name="connsiteY238" fmla="*/ 243921 h 394512"/>
                    <a:gd name="connsiteX239" fmla="*/ 142360 w 232512"/>
                    <a:gd name="connsiteY239" fmla="*/ 241028 h 394512"/>
                    <a:gd name="connsiteX240" fmla="*/ 142620 w 232512"/>
                    <a:gd name="connsiteY240" fmla="*/ 238991 h 394512"/>
                    <a:gd name="connsiteX241" fmla="*/ 142653 w 232512"/>
                    <a:gd name="connsiteY241" fmla="*/ 236864 h 394512"/>
                    <a:gd name="connsiteX242" fmla="*/ 142987 w 232512"/>
                    <a:gd name="connsiteY242" fmla="*/ 235332 h 394512"/>
                    <a:gd name="connsiteX243" fmla="*/ 144006 w 232512"/>
                    <a:gd name="connsiteY243" fmla="*/ 234574 h 394512"/>
                    <a:gd name="connsiteX244" fmla="*/ 148896 w 232512"/>
                    <a:gd name="connsiteY244" fmla="*/ 232251 h 394512"/>
                    <a:gd name="connsiteX245" fmla="*/ 149760 w 232512"/>
                    <a:gd name="connsiteY245" fmla="*/ 232088 h 394512"/>
                    <a:gd name="connsiteX246" fmla="*/ 156059 w 232512"/>
                    <a:gd name="connsiteY246" fmla="*/ 234231 h 394512"/>
                    <a:gd name="connsiteX247" fmla="*/ 157347 w 232512"/>
                    <a:gd name="connsiteY247" fmla="*/ 237459 h 394512"/>
                    <a:gd name="connsiteX248" fmla="*/ 157469 w 232512"/>
                    <a:gd name="connsiteY248" fmla="*/ 238518 h 394512"/>
                    <a:gd name="connsiteX249" fmla="*/ 156483 w 232512"/>
                    <a:gd name="connsiteY249" fmla="*/ 242104 h 394512"/>
                    <a:gd name="connsiteX250" fmla="*/ 155619 w 232512"/>
                    <a:gd name="connsiteY250" fmla="*/ 244517 h 394512"/>
                    <a:gd name="connsiteX251" fmla="*/ 153492 w 232512"/>
                    <a:gd name="connsiteY251" fmla="*/ 248241 h 394512"/>
                    <a:gd name="connsiteX252" fmla="*/ 151919 w 232512"/>
                    <a:gd name="connsiteY252" fmla="*/ 252275 h 394512"/>
                    <a:gd name="connsiteX253" fmla="*/ 150746 w 232512"/>
                    <a:gd name="connsiteY253" fmla="*/ 258338 h 394512"/>
                    <a:gd name="connsiteX254" fmla="*/ 149996 w 232512"/>
                    <a:gd name="connsiteY254" fmla="*/ 260311 h 394512"/>
                    <a:gd name="connsiteX255" fmla="*/ 148024 w 232512"/>
                    <a:gd name="connsiteY255" fmla="*/ 264100 h 394512"/>
                    <a:gd name="connsiteX256" fmla="*/ 147412 w 232512"/>
                    <a:gd name="connsiteY256" fmla="*/ 266187 h 394512"/>
                    <a:gd name="connsiteX257" fmla="*/ 147429 w 232512"/>
                    <a:gd name="connsiteY257" fmla="*/ 270702 h 394512"/>
                    <a:gd name="connsiteX258" fmla="*/ 147103 w 232512"/>
                    <a:gd name="connsiteY258" fmla="*/ 272372 h 394512"/>
                    <a:gd name="connsiteX259" fmla="*/ 147119 w 232512"/>
                    <a:gd name="connsiteY259" fmla="*/ 273978 h 394512"/>
                    <a:gd name="connsiteX260" fmla="*/ 151039 w 232512"/>
                    <a:gd name="connsiteY260" fmla="*/ 281492 h 394512"/>
                    <a:gd name="connsiteX261" fmla="*/ 151381 w 232512"/>
                    <a:gd name="connsiteY261" fmla="*/ 282682 h 394512"/>
                    <a:gd name="connsiteX262" fmla="*/ 151341 w 232512"/>
                    <a:gd name="connsiteY262" fmla="*/ 284018 h 394512"/>
                    <a:gd name="connsiteX263" fmla="*/ 150664 w 232512"/>
                    <a:gd name="connsiteY263" fmla="*/ 285697 h 394512"/>
                    <a:gd name="connsiteX264" fmla="*/ 149075 w 232512"/>
                    <a:gd name="connsiteY264" fmla="*/ 288590 h 394512"/>
                    <a:gd name="connsiteX265" fmla="*/ 148171 w 232512"/>
                    <a:gd name="connsiteY265" fmla="*/ 289601 h 394512"/>
                    <a:gd name="connsiteX266" fmla="*/ 146646 w 232512"/>
                    <a:gd name="connsiteY266" fmla="*/ 290342 h 394512"/>
                    <a:gd name="connsiteX267" fmla="*/ 152588 w 232512"/>
                    <a:gd name="connsiteY267" fmla="*/ 278729 h 394512"/>
                    <a:gd name="connsiteX268" fmla="*/ 151626 w 232512"/>
                    <a:gd name="connsiteY268" fmla="*/ 279528 h 394512"/>
                    <a:gd name="connsiteX269" fmla="*/ 151235 w 232512"/>
                    <a:gd name="connsiteY269" fmla="*/ 277539 h 394512"/>
                    <a:gd name="connsiteX270" fmla="*/ 151504 w 232512"/>
                    <a:gd name="connsiteY270" fmla="*/ 274850 h 394512"/>
                    <a:gd name="connsiteX271" fmla="*/ 153411 w 232512"/>
                    <a:gd name="connsiteY271" fmla="*/ 265461 h 394512"/>
                    <a:gd name="connsiteX272" fmla="*/ 152971 w 232512"/>
                    <a:gd name="connsiteY272" fmla="*/ 263114 h 394512"/>
                    <a:gd name="connsiteX273" fmla="*/ 156149 w 232512"/>
                    <a:gd name="connsiteY273" fmla="*/ 257882 h 394512"/>
                    <a:gd name="connsiteX274" fmla="*/ 158097 w 232512"/>
                    <a:gd name="connsiteY274" fmla="*/ 252976 h 394512"/>
                    <a:gd name="connsiteX275" fmla="*/ 161031 w 232512"/>
                    <a:gd name="connsiteY275" fmla="*/ 247817 h 394512"/>
                    <a:gd name="connsiteX276" fmla="*/ 161414 w 232512"/>
                    <a:gd name="connsiteY276" fmla="*/ 245144 h 394512"/>
                    <a:gd name="connsiteX277" fmla="*/ 164005 w 232512"/>
                    <a:gd name="connsiteY277" fmla="*/ 240051 h 394512"/>
                    <a:gd name="connsiteX278" fmla="*/ 166458 w 232512"/>
                    <a:gd name="connsiteY278" fmla="*/ 233017 h 394512"/>
                    <a:gd name="connsiteX279" fmla="*/ 166320 w 232512"/>
                    <a:gd name="connsiteY279" fmla="*/ 230695 h 394512"/>
                    <a:gd name="connsiteX280" fmla="*/ 166956 w 232512"/>
                    <a:gd name="connsiteY280" fmla="*/ 229537 h 394512"/>
                    <a:gd name="connsiteX281" fmla="*/ 167298 w 232512"/>
                    <a:gd name="connsiteY281" fmla="*/ 227777 h 394512"/>
                    <a:gd name="connsiteX282" fmla="*/ 167379 w 232512"/>
                    <a:gd name="connsiteY282" fmla="*/ 226285 h 394512"/>
                    <a:gd name="connsiteX283" fmla="*/ 169148 w 232512"/>
                    <a:gd name="connsiteY283" fmla="*/ 223669 h 394512"/>
                    <a:gd name="connsiteX284" fmla="*/ 169629 w 232512"/>
                    <a:gd name="connsiteY284" fmla="*/ 225365 h 394512"/>
                    <a:gd name="connsiteX285" fmla="*/ 169107 w 232512"/>
                    <a:gd name="connsiteY285" fmla="*/ 228706 h 394512"/>
                    <a:gd name="connsiteX286" fmla="*/ 169189 w 232512"/>
                    <a:gd name="connsiteY286" fmla="*/ 230312 h 394512"/>
                    <a:gd name="connsiteX287" fmla="*/ 169506 w 232512"/>
                    <a:gd name="connsiteY287" fmla="*/ 231061 h 394512"/>
                    <a:gd name="connsiteX288" fmla="*/ 169523 w 232512"/>
                    <a:gd name="connsiteY288" fmla="*/ 234166 h 394512"/>
                    <a:gd name="connsiteX289" fmla="*/ 168887 w 232512"/>
                    <a:gd name="connsiteY289" fmla="*/ 238934 h 394512"/>
                    <a:gd name="connsiteX290" fmla="*/ 169474 w 232512"/>
                    <a:gd name="connsiteY290" fmla="*/ 244435 h 394512"/>
                    <a:gd name="connsiteX291" fmla="*/ 168317 w 232512"/>
                    <a:gd name="connsiteY291" fmla="*/ 250042 h 394512"/>
                    <a:gd name="connsiteX292" fmla="*/ 167004 w 232512"/>
                    <a:gd name="connsiteY292" fmla="*/ 252560 h 394512"/>
                    <a:gd name="connsiteX293" fmla="*/ 165065 w 232512"/>
                    <a:gd name="connsiteY293" fmla="*/ 254337 h 394512"/>
                    <a:gd name="connsiteX294" fmla="*/ 162954 w 232512"/>
                    <a:gd name="connsiteY294" fmla="*/ 255453 h 394512"/>
                    <a:gd name="connsiteX295" fmla="*/ 160770 w 232512"/>
                    <a:gd name="connsiteY295" fmla="*/ 258241 h 394512"/>
                    <a:gd name="connsiteX296" fmla="*/ 159344 w 232512"/>
                    <a:gd name="connsiteY296" fmla="*/ 261501 h 394512"/>
                    <a:gd name="connsiteX297" fmla="*/ 159115 w 232512"/>
                    <a:gd name="connsiteY297" fmla="*/ 264475 h 394512"/>
                    <a:gd name="connsiteX298" fmla="*/ 155635 w 232512"/>
                    <a:gd name="connsiteY298" fmla="*/ 274499 h 394512"/>
                    <a:gd name="connsiteX299" fmla="*/ 152588 w 232512"/>
                    <a:gd name="connsiteY299" fmla="*/ 278729 h 394512"/>
                    <a:gd name="connsiteX300" fmla="*/ 2290 w 232512"/>
                    <a:gd name="connsiteY300" fmla="*/ 309152 h 394512"/>
                    <a:gd name="connsiteX301" fmla="*/ 0 w 232512"/>
                    <a:gd name="connsiteY301" fmla="*/ 311328 h 394512"/>
                    <a:gd name="connsiteX302" fmla="*/ 253 w 232512"/>
                    <a:gd name="connsiteY302" fmla="*/ 308639 h 394512"/>
                    <a:gd name="connsiteX303" fmla="*/ 929 w 232512"/>
                    <a:gd name="connsiteY303" fmla="*/ 306104 h 394512"/>
                    <a:gd name="connsiteX304" fmla="*/ 3260 w 232512"/>
                    <a:gd name="connsiteY304" fmla="*/ 300904 h 394512"/>
                    <a:gd name="connsiteX305" fmla="*/ 4939 w 232512"/>
                    <a:gd name="connsiteY305" fmla="*/ 299307 h 394512"/>
                    <a:gd name="connsiteX306" fmla="*/ 7726 w 232512"/>
                    <a:gd name="connsiteY306" fmla="*/ 295216 h 394512"/>
                    <a:gd name="connsiteX307" fmla="*/ 9291 w 232512"/>
                    <a:gd name="connsiteY307" fmla="*/ 293236 h 394512"/>
                    <a:gd name="connsiteX308" fmla="*/ 13056 w 232512"/>
                    <a:gd name="connsiteY308" fmla="*/ 289324 h 394512"/>
                    <a:gd name="connsiteX309" fmla="*/ 16520 w 232512"/>
                    <a:gd name="connsiteY309" fmla="*/ 285037 h 394512"/>
                    <a:gd name="connsiteX310" fmla="*/ 17685 w 232512"/>
                    <a:gd name="connsiteY310" fmla="*/ 284711 h 394512"/>
                    <a:gd name="connsiteX311" fmla="*/ 18965 w 232512"/>
                    <a:gd name="connsiteY311" fmla="*/ 284646 h 394512"/>
                    <a:gd name="connsiteX312" fmla="*/ 19967 w 232512"/>
                    <a:gd name="connsiteY312" fmla="*/ 284157 h 394512"/>
                    <a:gd name="connsiteX313" fmla="*/ 22233 w 232512"/>
                    <a:gd name="connsiteY313" fmla="*/ 281834 h 394512"/>
                    <a:gd name="connsiteX314" fmla="*/ 27905 w 232512"/>
                    <a:gd name="connsiteY314" fmla="*/ 274116 h 394512"/>
                    <a:gd name="connsiteX315" fmla="*/ 32607 w 232512"/>
                    <a:gd name="connsiteY315" fmla="*/ 268354 h 394512"/>
                    <a:gd name="connsiteX316" fmla="*/ 37424 w 232512"/>
                    <a:gd name="connsiteY316" fmla="*/ 261068 h 394512"/>
                    <a:gd name="connsiteX317" fmla="*/ 39714 w 232512"/>
                    <a:gd name="connsiteY317" fmla="*/ 258950 h 394512"/>
                    <a:gd name="connsiteX318" fmla="*/ 40333 w 232512"/>
                    <a:gd name="connsiteY318" fmla="*/ 258167 h 394512"/>
                    <a:gd name="connsiteX319" fmla="*/ 44767 w 232512"/>
                    <a:gd name="connsiteY319" fmla="*/ 251452 h 394512"/>
                    <a:gd name="connsiteX320" fmla="*/ 46160 w 232512"/>
                    <a:gd name="connsiteY320" fmla="*/ 250482 h 394512"/>
                    <a:gd name="connsiteX321" fmla="*/ 47725 w 232512"/>
                    <a:gd name="connsiteY321" fmla="*/ 249773 h 394512"/>
                    <a:gd name="connsiteX322" fmla="*/ 48792 w 232512"/>
                    <a:gd name="connsiteY322" fmla="*/ 248860 h 394512"/>
                    <a:gd name="connsiteX323" fmla="*/ 49722 w 232512"/>
                    <a:gd name="connsiteY323" fmla="*/ 247719 h 394512"/>
                    <a:gd name="connsiteX324" fmla="*/ 51287 w 232512"/>
                    <a:gd name="connsiteY324" fmla="*/ 244794 h 394512"/>
                    <a:gd name="connsiteX325" fmla="*/ 51922 w 232512"/>
                    <a:gd name="connsiteY325" fmla="*/ 241379 h 394512"/>
                    <a:gd name="connsiteX326" fmla="*/ 51523 w 232512"/>
                    <a:gd name="connsiteY326" fmla="*/ 239456 h 394512"/>
                    <a:gd name="connsiteX327" fmla="*/ 50651 w 232512"/>
                    <a:gd name="connsiteY327" fmla="*/ 236603 h 394512"/>
                    <a:gd name="connsiteX328" fmla="*/ 51751 w 232512"/>
                    <a:gd name="connsiteY328" fmla="*/ 232724 h 394512"/>
                    <a:gd name="connsiteX329" fmla="*/ 52623 w 232512"/>
                    <a:gd name="connsiteY329" fmla="*/ 230931 h 394512"/>
                    <a:gd name="connsiteX330" fmla="*/ 55712 w 232512"/>
                    <a:gd name="connsiteY330" fmla="*/ 223042 h 394512"/>
                    <a:gd name="connsiteX331" fmla="*/ 56600 w 232512"/>
                    <a:gd name="connsiteY331" fmla="*/ 221453 h 394512"/>
                    <a:gd name="connsiteX332" fmla="*/ 57888 w 232512"/>
                    <a:gd name="connsiteY332" fmla="*/ 222447 h 394512"/>
                    <a:gd name="connsiteX333" fmla="*/ 58059 w 232512"/>
                    <a:gd name="connsiteY333" fmla="*/ 223857 h 394512"/>
                    <a:gd name="connsiteX334" fmla="*/ 57423 w 232512"/>
                    <a:gd name="connsiteY334" fmla="*/ 227182 h 394512"/>
                    <a:gd name="connsiteX335" fmla="*/ 57366 w 232512"/>
                    <a:gd name="connsiteY335" fmla="*/ 228853 h 394512"/>
                    <a:gd name="connsiteX336" fmla="*/ 58100 w 232512"/>
                    <a:gd name="connsiteY336" fmla="*/ 230548 h 394512"/>
                    <a:gd name="connsiteX337" fmla="*/ 57228 w 232512"/>
                    <a:gd name="connsiteY337" fmla="*/ 233335 h 394512"/>
                    <a:gd name="connsiteX338" fmla="*/ 59452 w 232512"/>
                    <a:gd name="connsiteY338" fmla="*/ 240768 h 394512"/>
                    <a:gd name="connsiteX339" fmla="*/ 61139 w 232512"/>
                    <a:gd name="connsiteY339" fmla="*/ 245470 h 394512"/>
                    <a:gd name="connsiteX340" fmla="*/ 61197 w 232512"/>
                    <a:gd name="connsiteY340" fmla="*/ 247018 h 394512"/>
                    <a:gd name="connsiteX341" fmla="*/ 58931 w 232512"/>
                    <a:gd name="connsiteY341" fmla="*/ 249830 h 394512"/>
                    <a:gd name="connsiteX342" fmla="*/ 57570 w 232512"/>
                    <a:gd name="connsiteY342" fmla="*/ 250678 h 394512"/>
                    <a:gd name="connsiteX343" fmla="*/ 54652 w 232512"/>
                    <a:gd name="connsiteY343" fmla="*/ 251427 h 394512"/>
                    <a:gd name="connsiteX344" fmla="*/ 53332 w 232512"/>
                    <a:gd name="connsiteY344" fmla="*/ 252243 h 394512"/>
                    <a:gd name="connsiteX345" fmla="*/ 51229 w 232512"/>
                    <a:gd name="connsiteY345" fmla="*/ 254524 h 394512"/>
                    <a:gd name="connsiteX346" fmla="*/ 49917 w 232512"/>
                    <a:gd name="connsiteY346" fmla="*/ 257532 h 394512"/>
                    <a:gd name="connsiteX347" fmla="*/ 49591 w 232512"/>
                    <a:gd name="connsiteY347" fmla="*/ 259080 h 394512"/>
                    <a:gd name="connsiteX348" fmla="*/ 48915 w 232512"/>
                    <a:gd name="connsiteY348" fmla="*/ 260278 h 394512"/>
                    <a:gd name="connsiteX349" fmla="*/ 42908 w 232512"/>
                    <a:gd name="connsiteY349" fmla="*/ 262316 h 394512"/>
                    <a:gd name="connsiteX350" fmla="*/ 40072 w 232512"/>
                    <a:gd name="connsiteY350" fmla="*/ 263652 h 394512"/>
                    <a:gd name="connsiteX351" fmla="*/ 38768 w 232512"/>
                    <a:gd name="connsiteY351" fmla="*/ 264654 h 394512"/>
                    <a:gd name="connsiteX352" fmla="*/ 38100 w 232512"/>
                    <a:gd name="connsiteY352" fmla="*/ 266284 h 394512"/>
                    <a:gd name="connsiteX353" fmla="*/ 38564 w 232512"/>
                    <a:gd name="connsiteY353" fmla="*/ 269161 h 394512"/>
                    <a:gd name="connsiteX354" fmla="*/ 33512 w 232512"/>
                    <a:gd name="connsiteY354" fmla="*/ 279536 h 394512"/>
                    <a:gd name="connsiteX355" fmla="*/ 31882 w 232512"/>
                    <a:gd name="connsiteY355" fmla="*/ 282250 h 394512"/>
                    <a:gd name="connsiteX356" fmla="*/ 30162 w 232512"/>
                    <a:gd name="connsiteY356" fmla="*/ 284556 h 394512"/>
                    <a:gd name="connsiteX357" fmla="*/ 28044 w 232512"/>
                    <a:gd name="connsiteY357" fmla="*/ 286202 h 394512"/>
                    <a:gd name="connsiteX358" fmla="*/ 25061 w 232512"/>
                    <a:gd name="connsiteY358" fmla="*/ 287213 h 394512"/>
                    <a:gd name="connsiteX359" fmla="*/ 22697 w 232512"/>
                    <a:gd name="connsiteY359" fmla="*/ 289226 h 394512"/>
                    <a:gd name="connsiteX360" fmla="*/ 21100 w 232512"/>
                    <a:gd name="connsiteY360" fmla="*/ 292771 h 394512"/>
                    <a:gd name="connsiteX361" fmla="*/ 19119 w 232512"/>
                    <a:gd name="connsiteY361" fmla="*/ 295982 h 394512"/>
                    <a:gd name="connsiteX362" fmla="*/ 16617 w 232512"/>
                    <a:gd name="connsiteY362" fmla="*/ 298362 h 394512"/>
                    <a:gd name="connsiteX363" fmla="*/ 13920 w 232512"/>
                    <a:gd name="connsiteY363" fmla="*/ 300456 h 394512"/>
                    <a:gd name="connsiteX364" fmla="*/ 11434 w 232512"/>
                    <a:gd name="connsiteY364" fmla="*/ 301988 h 394512"/>
                    <a:gd name="connsiteX365" fmla="*/ 8761 w 232512"/>
                    <a:gd name="connsiteY365" fmla="*/ 303064 h 394512"/>
                    <a:gd name="connsiteX366" fmla="*/ 7954 w 232512"/>
                    <a:gd name="connsiteY366" fmla="*/ 304458 h 394512"/>
                    <a:gd name="connsiteX367" fmla="*/ 7376 w 232512"/>
                    <a:gd name="connsiteY367" fmla="*/ 306186 h 394512"/>
                    <a:gd name="connsiteX368" fmla="*/ 6210 w 232512"/>
                    <a:gd name="connsiteY368" fmla="*/ 307001 h 394512"/>
                    <a:gd name="connsiteX369" fmla="*/ 4800 w 232512"/>
                    <a:gd name="connsiteY369" fmla="*/ 307473 h 394512"/>
                    <a:gd name="connsiteX370" fmla="*/ 2290 w 232512"/>
                    <a:gd name="connsiteY370" fmla="*/ 309152 h 394512"/>
                    <a:gd name="connsiteX371" fmla="*/ 182456 w 232512"/>
                    <a:gd name="connsiteY371" fmla="*/ 221567 h 394512"/>
                    <a:gd name="connsiteX372" fmla="*/ 184184 w 232512"/>
                    <a:gd name="connsiteY372" fmla="*/ 222626 h 394512"/>
                    <a:gd name="connsiteX373" fmla="*/ 186164 w 232512"/>
                    <a:gd name="connsiteY373" fmla="*/ 222203 h 394512"/>
                    <a:gd name="connsiteX374" fmla="*/ 188561 w 232512"/>
                    <a:gd name="connsiteY374" fmla="*/ 219806 h 394512"/>
                    <a:gd name="connsiteX375" fmla="*/ 191266 w 232512"/>
                    <a:gd name="connsiteY375" fmla="*/ 220678 h 394512"/>
                    <a:gd name="connsiteX376" fmla="*/ 192847 w 232512"/>
                    <a:gd name="connsiteY376" fmla="*/ 224207 h 394512"/>
                    <a:gd name="connsiteX377" fmla="*/ 193662 w 232512"/>
                    <a:gd name="connsiteY377" fmla="*/ 225544 h 394512"/>
                    <a:gd name="connsiteX378" fmla="*/ 194110 w 232512"/>
                    <a:gd name="connsiteY378" fmla="*/ 227858 h 394512"/>
                    <a:gd name="connsiteX379" fmla="*/ 193988 w 232512"/>
                    <a:gd name="connsiteY379" fmla="*/ 233400 h 394512"/>
                    <a:gd name="connsiteX380" fmla="*/ 193328 w 232512"/>
                    <a:gd name="connsiteY380" fmla="*/ 238420 h 394512"/>
                    <a:gd name="connsiteX381" fmla="*/ 193833 w 232512"/>
                    <a:gd name="connsiteY381" fmla="*/ 239456 h 394512"/>
                    <a:gd name="connsiteX382" fmla="*/ 195080 w 232512"/>
                    <a:gd name="connsiteY382" fmla="*/ 240360 h 394512"/>
                    <a:gd name="connsiteX383" fmla="*/ 196156 w 232512"/>
                    <a:gd name="connsiteY383" fmla="*/ 241477 h 394512"/>
                    <a:gd name="connsiteX384" fmla="*/ 197069 w 232512"/>
                    <a:gd name="connsiteY384" fmla="*/ 242895 h 394512"/>
                    <a:gd name="connsiteX385" fmla="*/ 197647 w 232512"/>
                    <a:gd name="connsiteY385" fmla="*/ 244484 h 394512"/>
                    <a:gd name="connsiteX386" fmla="*/ 197884 w 232512"/>
                    <a:gd name="connsiteY386" fmla="*/ 248339 h 394512"/>
                    <a:gd name="connsiteX387" fmla="*/ 199440 w 232512"/>
                    <a:gd name="connsiteY387" fmla="*/ 251590 h 394512"/>
                    <a:gd name="connsiteX388" fmla="*/ 199644 w 232512"/>
                    <a:gd name="connsiteY388" fmla="*/ 252854 h 394512"/>
                    <a:gd name="connsiteX389" fmla="*/ 199269 w 232512"/>
                    <a:gd name="connsiteY389" fmla="*/ 254182 h 394512"/>
                    <a:gd name="connsiteX390" fmla="*/ 196670 w 232512"/>
                    <a:gd name="connsiteY390" fmla="*/ 253921 h 394512"/>
                    <a:gd name="connsiteX391" fmla="*/ 196466 w 232512"/>
                    <a:gd name="connsiteY391" fmla="*/ 255046 h 394512"/>
                    <a:gd name="connsiteX392" fmla="*/ 196531 w 232512"/>
                    <a:gd name="connsiteY392" fmla="*/ 256423 h 394512"/>
                    <a:gd name="connsiteX393" fmla="*/ 195602 w 232512"/>
                    <a:gd name="connsiteY393" fmla="*/ 255559 h 394512"/>
                    <a:gd name="connsiteX394" fmla="*/ 194078 w 232512"/>
                    <a:gd name="connsiteY394" fmla="*/ 252381 h 394512"/>
                    <a:gd name="connsiteX395" fmla="*/ 192676 w 232512"/>
                    <a:gd name="connsiteY395" fmla="*/ 251052 h 394512"/>
                    <a:gd name="connsiteX396" fmla="*/ 193108 w 232512"/>
                    <a:gd name="connsiteY396" fmla="*/ 256203 h 394512"/>
                    <a:gd name="connsiteX397" fmla="*/ 193581 w 232512"/>
                    <a:gd name="connsiteY397" fmla="*/ 258664 h 394512"/>
                    <a:gd name="connsiteX398" fmla="*/ 193654 w 232512"/>
                    <a:gd name="connsiteY398" fmla="*/ 261142 h 394512"/>
                    <a:gd name="connsiteX399" fmla="*/ 191234 w 232512"/>
                    <a:gd name="connsiteY399" fmla="*/ 259251 h 394512"/>
                    <a:gd name="connsiteX400" fmla="*/ 188349 w 232512"/>
                    <a:gd name="connsiteY400" fmla="*/ 258078 h 394512"/>
                    <a:gd name="connsiteX401" fmla="*/ 187558 w 232512"/>
                    <a:gd name="connsiteY401" fmla="*/ 257067 h 394512"/>
                    <a:gd name="connsiteX402" fmla="*/ 187819 w 232512"/>
                    <a:gd name="connsiteY402" fmla="*/ 253848 h 394512"/>
                    <a:gd name="connsiteX403" fmla="*/ 187778 w 232512"/>
                    <a:gd name="connsiteY403" fmla="*/ 252250 h 394512"/>
                    <a:gd name="connsiteX404" fmla="*/ 186490 w 232512"/>
                    <a:gd name="connsiteY404" fmla="*/ 248860 h 394512"/>
                    <a:gd name="connsiteX405" fmla="*/ 188006 w 232512"/>
                    <a:gd name="connsiteY405" fmla="*/ 241542 h 394512"/>
                    <a:gd name="connsiteX406" fmla="*/ 187974 w 232512"/>
                    <a:gd name="connsiteY406" fmla="*/ 240051 h 394512"/>
                    <a:gd name="connsiteX407" fmla="*/ 187705 w 232512"/>
                    <a:gd name="connsiteY407" fmla="*/ 238543 h 394512"/>
                    <a:gd name="connsiteX408" fmla="*/ 186515 w 232512"/>
                    <a:gd name="connsiteY408" fmla="*/ 235576 h 394512"/>
                    <a:gd name="connsiteX409" fmla="*/ 184640 w 232512"/>
                    <a:gd name="connsiteY409" fmla="*/ 233091 h 394512"/>
                    <a:gd name="connsiteX410" fmla="*/ 183475 w 232512"/>
                    <a:gd name="connsiteY410" fmla="*/ 233082 h 394512"/>
                    <a:gd name="connsiteX411" fmla="*/ 180664 w 232512"/>
                    <a:gd name="connsiteY411" fmla="*/ 234826 h 394512"/>
                    <a:gd name="connsiteX412" fmla="*/ 179237 w 232512"/>
                    <a:gd name="connsiteY412" fmla="*/ 234248 h 394512"/>
                    <a:gd name="connsiteX413" fmla="*/ 178398 w 232512"/>
                    <a:gd name="connsiteY413" fmla="*/ 227394 h 394512"/>
                    <a:gd name="connsiteX414" fmla="*/ 177257 w 232512"/>
                    <a:gd name="connsiteY414" fmla="*/ 220735 h 394512"/>
                    <a:gd name="connsiteX415" fmla="*/ 176393 w 232512"/>
                    <a:gd name="connsiteY415" fmla="*/ 219032 h 394512"/>
                    <a:gd name="connsiteX416" fmla="*/ 175831 w 232512"/>
                    <a:gd name="connsiteY416" fmla="*/ 217248 h 394512"/>
                    <a:gd name="connsiteX417" fmla="*/ 176385 w 232512"/>
                    <a:gd name="connsiteY417" fmla="*/ 215764 h 394512"/>
                    <a:gd name="connsiteX418" fmla="*/ 177461 w 232512"/>
                    <a:gd name="connsiteY418" fmla="*/ 216376 h 394512"/>
                    <a:gd name="connsiteX419" fmla="*/ 179001 w 232512"/>
                    <a:gd name="connsiteY419" fmla="*/ 218119 h 394512"/>
                    <a:gd name="connsiteX420" fmla="*/ 180859 w 232512"/>
                    <a:gd name="connsiteY420" fmla="*/ 219122 h 394512"/>
                    <a:gd name="connsiteX421" fmla="*/ 181788 w 232512"/>
                    <a:gd name="connsiteY421" fmla="*/ 220002 h 394512"/>
                    <a:gd name="connsiteX422" fmla="*/ 182456 w 232512"/>
                    <a:gd name="connsiteY422" fmla="*/ 221567 h 394512"/>
                    <a:gd name="connsiteX423" fmla="*/ 130909 w 232512"/>
                    <a:gd name="connsiteY423" fmla="*/ 213344 h 394512"/>
                    <a:gd name="connsiteX424" fmla="*/ 133794 w 232512"/>
                    <a:gd name="connsiteY424" fmla="*/ 214884 h 394512"/>
                    <a:gd name="connsiteX425" fmla="*/ 136614 w 232512"/>
                    <a:gd name="connsiteY425" fmla="*/ 213556 h 394512"/>
                    <a:gd name="connsiteX426" fmla="*/ 139385 w 232512"/>
                    <a:gd name="connsiteY426" fmla="*/ 213930 h 394512"/>
                    <a:gd name="connsiteX427" fmla="*/ 141691 w 232512"/>
                    <a:gd name="connsiteY427" fmla="*/ 215935 h 394512"/>
                    <a:gd name="connsiteX428" fmla="*/ 140942 w 232512"/>
                    <a:gd name="connsiteY428" fmla="*/ 217207 h 394512"/>
                    <a:gd name="connsiteX429" fmla="*/ 140787 w 232512"/>
                    <a:gd name="connsiteY429" fmla="*/ 218600 h 394512"/>
                    <a:gd name="connsiteX430" fmla="*/ 145954 w 232512"/>
                    <a:gd name="connsiteY430" fmla="*/ 215569 h 394512"/>
                    <a:gd name="connsiteX431" fmla="*/ 147331 w 232512"/>
                    <a:gd name="connsiteY431" fmla="*/ 215748 h 394512"/>
                    <a:gd name="connsiteX432" fmla="*/ 147282 w 232512"/>
                    <a:gd name="connsiteY432" fmla="*/ 218559 h 394512"/>
                    <a:gd name="connsiteX433" fmla="*/ 146989 w 232512"/>
                    <a:gd name="connsiteY433" fmla="*/ 220947 h 394512"/>
                    <a:gd name="connsiteX434" fmla="*/ 146361 w 232512"/>
                    <a:gd name="connsiteY434" fmla="*/ 223270 h 394512"/>
                    <a:gd name="connsiteX435" fmla="*/ 145269 w 232512"/>
                    <a:gd name="connsiteY435" fmla="*/ 225984 h 394512"/>
                    <a:gd name="connsiteX436" fmla="*/ 143810 w 232512"/>
                    <a:gd name="connsiteY436" fmla="*/ 228413 h 394512"/>
                    <a:gd name="connsiteX437" fmla="*/ 141879 w 232512"/>
                    <a:gd name="connsiteY437" fmla="*/ 230181 h 394512"/>
                    <a:gd name="connsiteX438" fmla="*/ 139597 w 232512"/>
                    <a:gd name="connsiteY438" fmla="*/ 231257 h 394512"/>
                    <a:gd name="connsiteX439" fmla="*/ 138513 w 232512"/>
                    <a:gd name="connsiteY439" fmla="*/ 232243 h 394512"/>
                    <a:gd name="connsiteX440" fmla="*/ 138187 w 232512"/>
                    <a:gd name="connsiteY440" fmla="*/ 233718 h 394512"/>
                    <a:gd name="connsiteX441" fmla="*/ 138220 w 232512"/>
                    <a:gd name="connsiteY441" fmla="*/ 235576 h 394512"/>
                    <a:gd name="connsiteX442" fmla="*/ 137706 w 232512"/>
                    <a:gd name="connsiteY442" fmla="*/ 237263 h 394512"/>
                    <a:gd name="connsiteX443" fmla="*/ 135294 w 232512"/>
                    <a:gd name="connsiteY443" fmla="*/ 237948 h 394512"/>
                    <a:gd name="connsiteX444" fmla="*/ 131553 w 232512"/>
                    <a:gd name="connsiteY444" fmla="*/ 241249 h 394512"/>
                    <a:gd name="connsiteX445" fmla="*/ 123509 w 232512"/>
                    <a:gd name="connsiteY445" fmla="*/ 243335 h 394512"/>
                    <a:gd name="connsiteX446" fmla="*/ 121301 w 232512"/>
                    <a:gd name="connsiteY446" fmla="*/ 244761 h 394512"/>
                    <a:gd name="connsiteX447" fmla="*/ 119891 w 232512"/>
                    <a:gd name="connsiteY447" fmla="*/ 246619 h 394512"/>
                    <a:gd name="connsiteX448" fmla="*/ 118326 w 232512"/>
                    <a:gd name="connsiteY448" fmla="*/ 248298 h 394512"/>
                    <a:gd name="connsiteX449" fmla="*/ 117479 w 232512"/>
                    <a:gd name="connsiteY449" fmla="*/ 248722 h 394512"/>
                    <a:gd name="connsiteX450" fmla="*/ 117079 w 232512"/>
                    <a:gd name="connsiteY450" fmla="*/ 247923 h 394512"/>
                    <a:gd name="connsiteX451" fmla="*/ 116973 w 232512"/>
                    <a:gd name="connsiteY451" fmla="*/ 247238 h 394512"/>
                    <a:gd name="connsiteX452" fmla="*/ 118122 w 232512"/>
                    <a:gd name="connsiteY452" fmla="*/ 242862 h 394512"/>
                    <a:gd name="connsiteX453" fmla="*/ 117935 w 232512"/>
                    <a:gd name="connsiteY453" fmla="*/ 241037 h 394512"/>
                    <a:gd name="connsiteX454" fmla="*/ 117397 w 232512"/>
                    <a:gd name="connsiteY454" fmla="*/ 239268 h 394512"/>
                    <a:gd name="connsiteX455" fmla="*/ 117739 w 232512"/>
                    <a:gd name="connsiteY455" fmla="*/ 235812 h 394512"/>
                    <a:gd name="connsiteX456" fmla="*/ 119133 w 232512"/>
                    <a:gd name="connsiteY456" fmla="*/ 232569 h 394512"/>
                    <a:gd name="connsiteX457" fmla="*/ 119891 w 232512"/>
                    <a:gd name="connsiteY457" fmla="*/ 228999 h 394512"/>
                    <a:gd name="connsiteX458" fmla="*/ 120103 w 232512"/>
                    <a:gd name="connsiteY458" fmla="*/ 222097 h 394512"/>
                    <a:gd name="connsiteX459" fmla="*/ 121195 w 232512"/>
                    <a:gd name="connsiteY459" fmla="*/ 212496 h 394512"/>
                    <a:gd name="connsiteX460" fmla="*/ 121138 w 232512"/>
                    <a:gd name="connsiteY460" fmla="*/ 211347 h 394512"/>
                    <a:gd name="connsiteX461" fmla="*/ 120290 w 232512"/>
                    <a:gd name="connsiteY461" fmla="*/ 210051 h 394512"/>
                    <a:gd name="connsiteX462" fmla="*/ 117161 w 232512"/>
                    <a:gd name="connsiteY462" fmla="*/ 209008 h 394512"/>
                    <a:gd name="connsiteX463" fmla="*/ 115930 w 232512"/>
                    <a:gd name="connsiteY463" fmla="*/ 208022 h 394512"/>
                    <a:gd name="connsiteX464" fmla="*/ 116550 w 232512"/>
                    <a:gd name="connsiteY464" fmla="*/ 206099 h 394512"/>
                    <a:gd name="connsiteX465" fmla="*/ 117731 w 232512"/>
                    <a:gd name="connsiteY465" fmla="*/ 204795 h 394512"/>
                    <a:gd name="connsiteX466" fmla="*/ 119353 w 232512"/>
                    <a:gd name="connsiteY466" fmla="*/ 204852 h 394512"/>
                    <a:gd name="connsiteX467" fmla="*/ 120787 w 232512"/>
                    <a:gd name="connsiteY467" fmla="*/ 206074 h 394512"/>
                    <a:gd name="connsiteX468" fmla="*/ 125848 w 232512"/>
                    <a:gd name="connsiteY468" fmla="*/ 208592 h 394512"/>
                    <a:gd name="connsiteX469" fmla="*/ 128529 w 232512"/>
                    <a:gd name="connsiteY469" fmla="*/ 210703 h 394512"/>
                    <a:gd name="connsiteX470" fmla="*/ 130909 w 232512"/>
                    <a:gd name="connsiteY470" fmla="*/ 213344 h 394512"/>
                    <a:gd name="connsiteX471" fmla="*/ 198935 w 232512"/>
                    <a:gd name="connsiteY471" fmla="*/ 185708 h 394512"/>
                    <a:gd name="connsiteX472" fmla="*/ 200704 w 232512"/>
                    <a:gd name="connsiteY472" fmla="*/ 188177 h 394512"/>
                    <a:gd name="connsiteX473" fmla="*/ 201127 w 232512"/>
                    <a:gd name="connsiteY473" fmla="*/ 189970 h 394512"/>
                    <a:gd name="connsiteX474" fmla="*/ 200948 w 232512"/>
                    <a:gd name="connsiteY474" fmla="*/ 191951 h 394512"/>
                    <a:gd name="connsiteX475" fmla="*/ 201739 w 232512"/>
                    <a:gd name="connsiteY475" fmla="*/ 192831 h 394512"/>
                    <a:gd name="connsiteX476" fmla="*/ 203157 w 232512"/>
                    <a:gd name="connsiteY476" fmla="*/ 193067 h 394512"/>
                    <a:gd name="connsiteX477" fmla="*/ 204950 w 232512"/>
                    <a:gd name="connsiteY477" fmla="*/ 194070 h 394512"/>
                    <a:gd name="connsiteX478" fmla="*/ 206303 w 232512"/>
                    <a:gd name="connsiteY478" fmla="*/ 195903 h 394512"/>
                    <a:gd name="connsiteX479" fmla="*/ 205496 w 232512"/>
                    <a:gd name="connsiteY479" fmla="*/ 197590 h 394512"/>
                    <a:gd name="connsiteX480" fmla="*/ 205732 w 232512"/>
                    <a:gd name="connsiteY480" fmla="*/ 200043 h 394512"/>
                    <a:gd name="connsiteX481" fmla="*/ 204330 w 232512"/>
                    <a:gd name="connsiteY481" fmla="*/ 203132 h 394512"/>
                    <a:gd name="connsiteX482" fmla="*/ 204518 w 232512"/>
                    <a:gd name="connsiteY482" fmla="*/ 208609 h 394512"/>
                    <a:gd name="connsiteX483" fmla="*/ 205333 w 232512"/>
                    <a:gd name="connsiteY483" fmla="*/ 210361 h 394512"/>
                    <a:gd name="connsiteX484" fmla="*/ 205406 w 232512"/>
                    <a:gd name="connsiteY484" fmla="*/ 212121 h 394512"/>
                    <a:gd name="connsiteX485" fmla="*/ 205202 w 232512"/>
                    <a:gd name="connsiteY485" fmla="*/ 213971 h 394512"/>
                    <a:gd name="connsiteX486" fmla="*/ 205552 w 232512"/>
                    <a:gd name="connsiteY486" fmla="*/ 215487 h 394512"/>
                    <a:gd name="connsiteX487" fmla="*/ 207721 w 232512"/>
                    <a:gd name="connsiteY487" fmla="*/ 220507 h 394512"/>
                    <a:gd name="connsiteX488" fmla="*/ 208120 w 232512"/>
                    <a:gd name="connsiteY488" fmla="*/ 222186 h 394512"/>
                    <a:gd name="connsiteX489" fmla="*/ 207460 w 232512"/>
                    <a:gd name="connsiteY489" fmla="*/ 223498 h 394512"/>
                    <a:gd name="connsiteX490" fmla="*/ 207240 w 232512"/>
                    <a:gd name="connsiteY490" fmla="*/ 224745 h 394512"/>
                    <a:gd name="connsiteX491" fmla="*/ 208576 w 232512"/>
                    <a:gd name="connsiteY491" fmla="*/ 224884 h 394512"/>
                    <a:gd name="connsiteX492" fmla="*/ 210475 w 232512"/>
                    <a:gd name="connsiteY492" fmla="*/ 226970 h 394512"/>
                    <a:gd name="connsiteX493" fmla="*/ 211600 w 232512"/>
                    <a:gd name="connsiteY493" fmla="*/ 229725 h 394512"/>
                    <a:gd name="connsiteX494" fmla="*/ 211266 w 232512"/>
                    <a:gd name="connsiteY494" fmla="*/ 230450 h 394512"/>
                    <a:gd name="connsiteX495" fmla="*/ 209742 w 232512"/>
                    <a:gd name="connsiteY495" fmla="*/ 228298 h 394512"/>
                    <a:gd name="connsiteX496" fmla="*/ 208593 w 232512"/>
                    <a:gd name="connsiteY496" fmla="*/ 227956 h 394512"/>
                    <a:gd name="connsiteX497" fmla="*/ 203719 w 232512"/>
                    <a:gd name="connsiteY497" fmla="*/ 228543 h 394512"/>
                    <a:gd name="connsiteX498" fmla="*/ 200736 w 232512"/>
                    <a:gd name="connsiteY498" fmla="*/ 227647 h 394512"/>
                    <a:gd name="connsiteX499" fmla="*/ 198796 w 232512"/>
                    <a:gd name="connsiteY499" fmla="*/ 227557 h 394512"/>
                    <a:gd name="connsiteX500" fmla="*/ 196881 w 232512"/>
                    <a:gd name="connsiteY500" fmla="*/ 223873 h 394512"/>
                    <a:gd name="connsiteX501" fmla="*/ 195194 w 232512"/>
                    <a:gd name="connsiteY501" fmla="*/ 223254 h 394512"/>
                    <a:gd name="connsiteX502" fmla="*/ 193866 w 232512"/>
                    <a:gd name="connsiteY502" fmla="*/ 221616 h 394512"/>
                    <a:gd name="connsiteX503" fmla="*/ 191658 w 232512"/>
                    <a:gd name="connsiteY503" fmla="*/ 217443 h 394512"/>
                    <a:gd name="connsiteX504" fmla="*/ 190957 w 232512"/>
                    <a:gd name="connsiteY504" fmla="*/ 215047 h 394512"/>
                    <a:gd name="connsiteX505" fmla="*/ 192489 w 232512"/>
                    <a:gd name="connsiteY505" fmla="*/ 212635 h 394512"/>
                    <a:gd name="connsiteX506" fmla="*/ 192970 w 232512"/>
                    <a:gd name="connsiteY506" fmla="*/ 210695 h 394512"/>
                    <a:gd name="connsiteX507" fmla="*/ 192896 w 232512"/>
                    <a:gd name="connsiteY507" fmla="*/ 208804 h 394512"/>
                    <a:gd name="connsiteX508" fmla="*/ 191421 w 232512"/>
                    <a:gd name="connsiteY508" fmla="*/ 209122 h 394512"/>
                    <a:gd name="connsiteX509" fmla="*/ 190150 w 232512"/>
                    <a:gd name="connsiteY509" fmla="*/ 208486 h 394512"/>
                    <a:gd name="connsiteX510" fmla="*/ 188577 w 232512"/>
                    <a:gd name="connsiteY510" fmla="*/ 206164 h 394512"/>
                    <a:gd name="connsiteX511" fmla="*/ 187957 w 232512"/>
                    <a:gd name="connsiteY511" fmla="*/ 204827 h 394512"/>
                    <a:gd name="connsiteX512" fmla="*/ 186808 w 232512"/>
                    <a:gd name="connsiteY512" fmla="*/ 203703 h 394512"/>
                    <a:gd name="connsiteX513" fmla="*/ 184999 w 232512"/>
                    <a:gd name="connsiteY513" fmla="*/ 201054 h 394512"/>
                    <a:gd name="connsiteX514" fmla="*/ 182391 w 232512"/>
                    <a:gd name="connsiteY514" fmla="*/ 200019 h 394512"/>
                    <a:gd name="connsiteX515" fmla="*/ 181340 w 232512"/>
                    <a:gd name="connsiteY515" fmla="*/ 199294 h 394512"/>
                    <a:gd name="connsiteX516" fmla="*/ 179270 w 232512"/>
                    <a:gd name="connsiteY516" fmla="*/ 197069 h 394512"/>
                    <a:gd name="connsiteX517" fmla="*/ 177754 w 232512"/>
                    <a:gd name="connsiteY517" fmla="*/ 194306 h 394512"/>
                    <a:gd name="connsiteX518" fmla="*/ 176287 w 232512"/>
                    <a:gd name="connsiteY518" fmla="*/ 189465 h 394512"/>
                    <a:gd name="connsiteX519" fmla="*/ 175513 w 232512"/>
                    <a:gd name="connsiteY519" fmla="*/ 184453 h 394512"/>
                    <a:gd name="connsiteX520" fmla="*/ 182236 w 232512"/>
                    <a:gd name="connsiteY520" fmla="*/ 185757 h 394512"/>
                    <a:gd name="connsiteX521" fmla="*/ 189041 w 232512"/>
                    <a:gd name="connsiteY521" fmla="*/ 185504 h 394512"/>
                    <a:gd name="connsiteX522" fmla="*/ 196735 w 232512"/>
                    <a:gd name="connsiteY522" fmla="*/ 184355 h 394512"/>
                    <a:gd name="connsiteX523" fmla="*/ 198935 w 232512"/>
                    <a:gd name="connsiteY523" fmla="*/ 185708 h 394512"/>
                    <a:gd name="connsiteX524" fmla="*/ 161169 w 232512"/>
                    <a:gd name="connsiteY524" fmla="*/ 192994 h 394512"/>
                    <a:gd name="connsiteX525" fmla="*/ 165920 w 232512"/>
                    <a:gd name="connsiteY525" fmla="*/ 196580 h 394512"/>
                    <a:gd name="connsiteX526" fmla="*/ 169189 w 232512"/>
                    <a:gd name="connsiteY526" fmla="*/ 202700 h 394512"/>
                    <a:gd name="connsiteX527" fmla="*/ 169572 w 232512"/>
                    <a:gd name="connsiteY527" fmla="*/ 207403 h 394512"/>
                    <a:gd name="connsiteX528" fmla="*/ 169319 w 232512"/>
                    <a:gd name="connsiteY528" fmla="*/ 209196 h 394512"/>
                    <a:gd name="connsiteX529" fmla="*/ 167770 w 232512"/>
                    <a:gd name="connsiteY529" fmla="*/ 207182 h 394512"/>
                    <a:gd name="connsiteX530" fmla="*/ 164429 w 232512"/>
                    <a:gd name="connsiteY530" fmla="*/ 204314 h 394512"/>
                    <a:gd name="connsiteX531" fmla="*/ 162098 w 232512"/>
                    <a:gd name="connsiteY531" fmla="*/ 203678 h 394512"/>
                    <a:gd name="connsiteX532" fmla="*/ 161381 w 232512"/>
                    <a:gd name="connsiteY532" fmla="*/ 203165 h 394512"/>
                    <a:gd name="connsiteX533" fmla="*/ 161650 w 232512"/>
                    <a:gd name="connsiteY533" fmla="*/ 201625 h 394512"/>
                    <a:gd name="connsiteX534" fmla="*/ 160134 w 232512"/>
                    <a:gd name="connsiteY534" fmla="*/ 200190 h 394512"/>
                    <a:gd name="connsiteX535" fmla="*/ 159947 w 232512"/>
                    <a:gd name="connsiteY535" fmla="*/ 199603 h 394512"/>
                    <a:gd name="connsiteX536" fmla="*/ 158570 w 232512"/>
                    <a:gd name="connsiteY536" fmla="*/ 198968 h 394512"/>
                    <a:gd name="connsiteX537" fmla="*/ 156565 w 232512"/>
                    <a:gd name="connsiteY537" fmla="*/ 195749 h 394512"/>
                    <a:gd name="connsiteX538" fmla="*/ 155146 w 232512"/>
                    <a:gd name="connsiteY538" fmla="*/ 195145 h 394512"/>
                    <a:gd name="connsiteX539" fmla="*/ 153777 w 232512"/>
                    <a:gd name="connsiteY539" fmla="*/ 195822 h 394512"/>
                    <a:gd name="connsiteX540" fmla="*/ 150648 w 232512"/>
                    <a:gd name="connsiteY540" fmla="*/ 200598 h 394512"/>
                    <a:gd name="connsiteX541" fmla="*/ 147307 w 232512"/>
                    <a:gd name="connsiteY541" fmla="*/ 203955 h 394512"/>
                    <a:gd name="connsiteX542" fmla="*/ 147258 w 232512"/>
                    <a:gd name="connsiteY542" fmla="*/ 202668 h 394512"/>
                    <a:gd name="connsiteX543" fmla="*/ 148619 w 232512"/>
                    <a:gd name="connsiteY543" fmla="*/ 198470 h 394512"/>
                    <a:gd name="connsiteX544" fmla="*/ 149474 w 232512"/>
                    <a:gd name="connsiteY544" fmla="*/ 191771 h 394512"/>
                    <a:gd name="connsiteX545" fmla="*/ 150012 w 232512"/>
                    <a:gd name="connsiteY545" fmla="*/ 189734 h 394512"/>
                    <a:gd name="connsiteX546" fmla="*/ 149328 w 232512"/>
                    <a:gd name="connsiteY546" fmla="*/ 186727 h 394512"/>
                    <a:gd name="connsiteX547" fmla="*/ 149254 w 232512"/>
                    <a:gd name="connsiteY547" fmla="*/ 184037 h 394512"/>
                    <a:gd name="connsiteX548" fmla="*/ 151748 w 232512"/>
                    <a:gd name="connsiteY548" fmla="*/ 185276 h 394512"/>
                    <a:gd name="connsiteX549" fmla="*/ 154869 w 232512"/>
                    <a:gd name="connsiteY549" fmla="*/ 186523 h 394512"/>
                    <a:gd name="connsiteX550" fmla="*/ 157249 w 232512"/>
                    <a:gd name="connsiteY550" fmla="*/ 188226 h 394512"/>
                    <a:gd name="connsiteX551" fmla="*/ 157640 w 232512"/>
                    <a:gd name="connsiteY551" fmla="*/ 189375 h 394512"/>
                    <a:gd name="connsiteX552" fmla="*/ 161169 w 232512"/>
                    <a:gd name="connsiteY552" fmla="*/ 192994 h 394512"/>
                    <a:gd name="connsiteX553" fmla="*/ 86461 w 232512"/>
                    <a:gd name="connsiteY553" fmla="*/ 156850 h 394512"/>
                    <a:gd name="connsiteX554" fmla="*/ 87732 w 232512"/>
                    <a:gd name="connsiteY554" fmla="*/ 157102 h 394512"/>
                    <a:gd name="connsiteX555" fmla="*/ 91693 w 232512"/>
                    <a:gd name="connsiteY555" fmla="*/ 156198 h 394512"/>
                    <a:gd name="connsiteX556" fmla="*/ 93315 w 232512"/>
                    <a:gd name="connsiteY556" fmla="*/ 156654 h 394512"/>
                    <a:gd name="connsiteX557" fmla="*/ 94398 w 232512"/>
                    <a:gd name="connsiteY557" fmla="*/ 158390 h 394512"/>
                    <a:gd name="connsiteX558" fmla="*/ 95751 w 232512"/>
                    <a:gd name="connsiteY558" fmla="*/ 158936 h 394512"/>
                    <a:gd name="connsiteX559" fmla="*/ 96827 w 232512"/>
                    <a:gd name="connsiteY559" fmla="*/ 159833 h 394512"/>
                    <a:gd name="connsiteX560" fmla="*/ 98824 w 232512"/>
                    <a:gd name="connsiteY560" fmla="*/ 158284 h 394512"/>
                    <a:gd name="connsiteX561" fmla="*/ 100837 w 232512"/>
                    <a:gd name="connsiteY561" fmla="*/ 160053 h 394512"/>
                    <a:gd name="connsiteX562" fmla="*/ 102646 w 232512"/>
                    <a:gd name="connsiteY562" fmla="*/ 163353 h 394512"/>
                    <a:gd name="connsiteX563" fmla="*/ 104765 w 232512"/>
                    <a:gd name="connsiteY563" fmla="*/ 165692 h 394512"/>
                    <a:gd name="connsiteX564" fmla="*/ 106762 w 232512"/>
                    <a:gd name="connsiteY564" fmla="*/ 167428 h 394512"/>
                    <a:gd name="connsiteX565" fmla="*/ 107153 w 232512"/>
                    <a:gd name="connsiteY565" fmla="*/ 168716 h 394512"/>
                    <a:gd name="connsiteX566" fmla="*/ 105947 w 232512"/>
                    <a:gd name="connsiteY566" fmla="*/ 170810 h 394512"/>
                    <a:gd name="connsiteX567" fmla="*/ 105572 w 232512"/>
                    <a:gd name="connsiteY567" fmla="*/ 173483 h 394512"/>
                    <a:gd name="connsiteX568" fmla="*/ 105694 w 232512"/>
                    <a:gd name="connsiteY568" fmla="*/ 176352 h 394512"/>
                    <a:gd name="connsiteX569" fmla="*/ 107210 w 232512"/>
                    <a:gd name="connsiteY569" fmla="*/ 182383 h 394512"/>
                    <a:gd name="connsiteX570" fmla="*/ 106688 w 232512"/>
                    <a:gd name="connsiteY570" fmla="*/ 184021 h 394512"/>
                    <a:gd name="connsiteX571" fmla="*/ 105164 w 232512"/>
                    <a:gd name="connsiteY571" fmla="*/ 186336 h 394512"/>
                    <a:gd name="connsiteX572" fmla="*/ 104024 w 232512"/>
                    <a:gd name="connsiteY572" fmla="*/ 188903 h 394512"/>
                    <a:gd name="connsiteX573" fmla="*/ 104178 w 232512"/>
                    <a:gd name="connsiteY573" fmla="*/ 189938 h 394512"/>
                    <a:gd name="connsiteX574" fmla="*/ 103730 w 232512"/>
                    <a:gd name="connsiteY574" fmla="*/ 190785 h 394512"/>
                    <a:gd name="connsiteX575" fmla="*/ 103575 w 232512"/>
                    <a:gd name="connsiteY575" fmla="*/ 192611 h 394512"/>
                    <a:gd name="connsiteX576" fmla="*/ 102654 w 232512"/>
                    <a:gd name="connsiteY576" fmla="*/ 192236 h 394512"/>
                    <a:gd name="connsiteX577" fmla="*/ 101806 w 232512"/>
                    <a:gd name="connsiteY577" fmla="*/ 192521 h 394512"/>
                    <a:gd name="connsiteX578" fmla="*/ 100967 w 232512"/>
                    <a:gd name="connsiteY578" fmla="*/ 193336 h 394512"/>
                    <a:gd name="connsiteX579" fmla="*/ 99680 w 232512"/>
                    <a:gd name="connsiteY579" fmla="*/ 195088 h 394512"/>
                    <a:gd name="connsiteX580" fmla="*/ 97659 w 232512"/>
                    <a:gd name="connsiteY580" fmla="*/ 194559 h 394512"/>
                    <a:gd name="connsiteX581" fmla="*/ 96713 w 232512"/>
                    <a:gd name="connsiteY581" fmla="*/ 194045 h 394512"/>
                    <a:gd name="connsiteX582" fmla="*/ 96477 w 232512"/>
                    <a:gd name="connsiteY582" fmla="*/ 192521 h 394512"/>
                    <a:gd name="connsiteX583" fmla="*/ 95882 w 232512"/>
                    <a:gd name="connsiteY583" fmla="*/ 191454 h 394512"/>
                    <a:gd name="connsiteX584" fmla="*/ 95018 w 232512"/>
                    <a:gd name="connsiteY584" fmla="*/ 190818 h 394512"/>
                    <a:gd name="connsiteX585" fmla="*/ 92883 w 232512"/>
                    <a:gd name="connsiteY585" fmla="*/ 188194 h 394512"/>
                    <a:gd name="connsiteX586" fmla="*/ 91880 w 232512"/>
                    <a:gd name="connsiteY586" fmla="*/ 186221 h 394512"/>
                    <a:gd name="connsiteX587" fmla="*/ 91872 w 232512"/>
                    <a:gd name="connsiteY587" fmla="*/ 184119 h 394512"/>
                    <a:gd name="connsiteX588" fmla="*/ 91318 w 232512"/>
                    <a:gd name="connsiteY588" fmla="*/ 182163 h 394512"/>
                    <a:gd name="connsiteX589" fmla="*/ 90210 w 232512"/>
                    <a:gd name="connsiteY589" fmla="*/ 180411 h 394512"/>
                    <a:gd name="connsiteX590" fmla="*/ 88751 w 232512"/>
                    <a:gd name="connsiteY590" fmla="*/ 179066 h 394512"/>
                    <a:gd name="connsiteX591" fmla="*/ 88262 w 232512"/>
                    <a:gd name="connsiteY591" fmla="*/ 177778 h 394512"/>
                    <a:gd name="connsiteX592" fmla="*/ 88074 w 232512"/>
                    <a:gd name="connsiteY592" fmla="*/ 176246 h 394512"/>
                    <a:gd name="connsiteX593" fmla="*/ 87944 w 232512"/>
                    <a:gd name="connsiteY593" fmla="*/ 172342 h 394512"/>
                    <a:gd name="connsiteX594" fmla="*/ 85882 w 232512"/>
                    <a:gd name="connsiteY594" fmla="*/ 167469 h 394512"/>
                    <a:gd name="connsiteX595" fmla="*/ 85157 w 232512"/>
                    <a:gd name="connsiteY595" fmla="*/ 166295 h 394512"/>
                    <a:gd name="connsiteX596" fmla="*/ 83217 w 232512"/>
                    <a:gd name="connsiteY596" fmla="*/ 165089 h 394512"/>
                    <a:gd name="connsiteX597" fmla="*/ 81620 w 232512"/>
                    <a:gd name="connsiteY597" fmla="*/ 163541 h 394512"/>
                    <a:gd name="connsiteX598" fmla="*/ 80927 w 232512"/>
                    <a:gd name="connsiteY598" fmla="*/ 161992 h 394512"/>
                    <a:gd name="connsiteX599" fmla="*/ 80308 w 232512"/>
                    <a:gd name="connsiteY599" fmla="*/ 159482 h 394512"/>
                    <a:gd name="connsiteX600" fmla="*/ 79867 w 232512"/>
                    <a:gd name="connsiteY600" fmla="*/ 159132 h 394512"/>
                    <a:gd name="connsiteX601" fmla="*/ 78621 w 232512"/>
                    <a:gd name="connsiteY601" fmla="*/ 159238 h 394512"/>
                    <a:gd name="connsiteX602" fmla="*/ 77398 w 232512"/>
                    <a:gd name="connsiteY602" fmla="*/ 158920 h 394512"/>
                    <a:gd name="connsiteX603" fmla="*/ 77765 w 232512"/>
                    <a:gd name="connsiteY603" fmla="*/ 157078 h 394512"/>
                    <a:gd name="connsiteX604" fmla="*/ 78963 w 232512"/>
                    <a:gd name="connsiteY604" fmla="*/ 155733 h 394512"/>
                    <a:gd name="connsiteX605" fmla="*/ 80625 w 232512"/>
                    <a:gd name="connsiteY605" fmla="*/ 155562 h 394512"/>
                    <a:gd name="connsiteX606" fmla="*/ 85206 w 232512"/>
                    <a:gd name="connsiteY606" fmla="*/ 156312 h 394512"/>
                    <a:gd name="connsiteX607" fmla="*/ 86461 w 232512"/>
                    <a:gd name="connsiteY607" fmla="*/ 156850 h 394512"/>
                    <a:gd name="connsiteX608" fmla="*/ 96313 w 232512"/>
                    <a:gd name="connsiteY608" fmla="*/ 0 h 394512"/>
                    <a:gd name="connsiteX609" fmla="*/ 100103 w 232512"/>
                    <a:gd name="connsiteY609" fmla="*/ 1597 h 394512"/>
                    <a:gd name="connsiteX610" fmla="*/ 108489 w 232512"/>
                    <a:gd name="connsiteY610" fmla="*/ 7343 h 394512"/>
                    <a:gd name="connsiteX611" fmla="*/ 111570 w 232512"/>
                    <a:gd name="connsiteY611" fmla="*/ 8769 h 394512"/>
                    <a:gd name="connsiteX612" fmla="*/ 114765 w 232512"/>
                    <a:gd name="connsiteY612" fmla="*/ 9837 h 394512"/>
                    <a:gd name="connsiteX613" fmla="*/ 117299 w 232512"/>
                    <a:gd name="connsiteY613" fmla="*/ 10155 h 394512"/>
                    <a:gd name="connsiteX614" fmla="*/ 119541 w 232512"/>
                    <a:gd name="connsiteY614" fmla="*/ 8834 h 394512"/>
                    <a:gd name="connsiteX615" fmla="*/ 120502 w 232512"/>
                    <a:gd name="connsiteY615" fmla="*/ 7490 h 394512"/>
                    <a:gd name="connsiteX616" fmla="*/ 122230 w 232512"/>
                    <a:gd name="connsiteY616" fmla="*/ 3961 h 394512"/>
                    <a:gd name="connsiteX617" fmla="*/ 124080 w 232512"/>
                    <a:gd name="connsiteY617" fmla="*/ 3529 h 394512"/>
                    <a:gd name="connsiteX618" fmla="*/ 125180 w 232512"/>
                    <a:gd name="connsiteY618" fmla="*/ 4817 h 394512"/>
                    <a:gd name="connsiteX619" fmla="*/ 126027 w 232512"/>
                    <a:gd name="connsiteY619" fmla="*/ 6536 h 394512"/>
                    <a:gd name="connsiteX620" fmla="*/ 126410 w 232512"/>
                    <a:gd name="connsiteY620" fmla="*/ 9071 h 394512"/>
                    <a:gd name="connsiteX621" fmla="*/ 125889 w 232512"/>
                    <a:gd name="connsiteY621" fmla="*/ 11711 h 394512"/>
                    <a:gd name="connsiteX622" fmla="*/ 124129 w 232512"/>
                    <a:gd name="connsiteY622" fmla="*/ 14083 h 394512"/>
                    <a:gd name="connsiteX623" fmla="*/ 123045 w 232512"/>
                    <a:gd name="connsiteY623" fmla="*/ 16935 h 394512"/>
                    <a:gd name="connsiteX624" fmla="*/ 122344 w 232512"/>
                    <a:gd name="connsiteY624" fmla="*/ 26381 h 394512"/>
                    <a:gd name="connsiteX625" fmla="*/ 122368 w 232512"/>
                    <a:gd name="connsiteY625" fmla="*/ 29201 h 394512"/>
                    <a:gd name="connsiteX626" fmla="*/ 122939 w 232512"/>
                    <a:gd name="connsiteY626" fmla="*/ 31922 h 394512"/>
                    <a:gd name="connsiteX627" fmla="*/ 124471 w 232512"/>
                    <a:gd name="connsiteY627" fmla="*/ 36242 h 394512"/>
                    <a:gd name="connsiteX628" fmla="*/ 125270 w 232512"/>
                    <a:gd name="connsiteY628" fmla="*/ 37456 h 394512"/>
                    <a:gd name="connsiteX629" fmla="*/ 127592 w 232512"/>
                    <a:gd name="connsiteY629" fmla="*/ 38996 h 394512"/>
                    <a:gd name="connsiteX630" fmla="*/ 128212 w 232512"/>
                    <a:gd name="connsiteY630" fmla="*/ 40162 h 394512"/>
                    <a:gd name="connsiteX631" fmla="*/ 128342 w 232512"/>
                    <a:gd name="connsiteY631" fmla="*/ 42256 h 394512"/>
                    <a:gd name="connsiteX632" fmla="*/ 128709 w 232512"/>
                    <a:gd name="connsiteY632" fmla="*/ 44106 h 394512"/>
                    <a:gd name="connsiteX633" fmla="*/ 130208 w 232512"/>
                    <a:gd name="connsiteY633" fmla="*/ 44807 h 394512"/>
                    <a:gd name="connsiteX634" fmla="*/ 131472 w 232512"/>
                    <a:gd name="connsiteY634" fmla="*/ 45736 h 394512"/>
                    <a:gd name="connsiteX635" fmla="*/ 131007 w 232512"/>
                    <a:gd name="connsiteY635" fmla="*/ 47782 h 394512"/>
                    <a:gd name="connsiteX636" fmla="*/ 130200 w 232512"/>
                    <a:gd name="connsiteY636" fmla="*/ 49860 h 394512"/>
                    <a:gd name="connsiteX637" fmla="*/ 129149 w 232512"/>
                    <a:gd name="connsiteY637" fmla="*/ 54986 h 394512"/>
                    <a:gd name="connsiteX638" fmla="*/ 124202 w 232512"/>
                    <a:gd name="connsiteY638" fmla="*/ 66836 h 394512"/>
                    <a:gd name="connsiteX639" fmla="*/ 123917 w 232512"/>
                    <a:gd name="connsiteY639" fmla="*/ 69387 h 394512"/>
                    <a:gd name="connsiteX640" fmla="*/ 121945 w 232512"/>
                    <a:gd name="connsiteY640" fmla="*/ 74480 h 394512"/>
                    <a:gd name="connsiteX641" fmla="*/ 117976 w 232512"/>
                    <a:gd name="connsiteY641" fmla="*/ 75304 h 394512"/>
                    <a:gd name="connsiteX642" fmla="*/ 113363 w 232512"/>
                    <a:gd name="connsiteY642" fmla="*/ 77765 h 394512"/>
                    <a:gd name="connsiteX643" fmla="*/ 110796 w 232512"/>
                    <a:gd name="connsiteY643" fmla="*/ 79680 h 394512"/>
                    <a:gd name="connsiteX644" fmla="*/ 108571 w 232512"/>
                    <a:gd name="connsiteY644" fmla="*/ 82166 h 394512"/>
                    <a:gd name="connsiteX645" fmla="*/ 107723 w 232512"/>
                    <a:gd name="connsiteY645" fmla="*/ 85417 h 394512"/>
                    <a:gd name="connsiteX646" fmla="*/ 108465 w 232512"/>
                    <a:gd name="connsiteY646" fmla="*/ 86901 h 394512"/>
                    <a:gd name="connsiteX647" fmla="*/ 108921 w 232512"/>
                    <a:gd name="connsiteY647" fmla="*/ 88490 h 394512"/>
                    <a:gd name="connsiteX648" fmla="*/ 108872 w 232512"/>
                    <a:gd name="connsiteY648" fmla="*/ 90201 h 394512"/>
                    <a:gd name="connsiteX649" fmla="*/ 108179 w 232512"/>
                    <a:gd name="connsiteY649" fmla="*/ 91619 h 394512"/>
                    <a:gd name="connsiteX650" fmla="*/ 105963 w 232512"/>
                    <a:gd name="connsiteY650" fmla="*/ 95091 h 394512"/>
                    <a:gd name="connsiteX651" fmla="*/ 105026 w 232512"/>
                    <a:gd name="connsiteY651" fmla="*/ 97919 h 394512"/>
                    <a:gd name="connsiteX652" fmla="*/ 104031 w 232512"/>
                    <a:gd name="connsiteY652" fmla="*/ 99191 h 394512"/>
                    <a:gd name="connsiteX653" fmla="*/ 103542 w 232512"/>
                    <a:gd name="connsiteY653" fmla="*/ 100731 h 394512"/>
                    <a:gd name="connsiteX654" fmla="*/ 103714 w 232512"/>
                    <a:gd name="connsiteY654" fmla="*/ 102499 h 394512"/>
                    <a:gd name="connsiteX655" fmla="*/ 104610 w 232512"/>
                    <a:gd name="connsiteY655" fmla="*/ 104031 h 394512"/>
                    <a:gd name="connsiteX656" fmla="*/ 107307 w 232512"/>
                    <a:gd name="connsiteY656" fmla="*/ 110649 h 394512"/>
                    <a:gd name="connsiteX657" fmla="*/ 110193 w 232512"/>
                    <a:gd name="connsiteY657" fmla="*/ 117038 h 394512"/>
                    <a:gd name="connsiteX658" fmla="*/ 110820 w 232512"/>
                    <a:gd name="connsiteY658" fmla="*/ 117764 h 394512"/>
                    <a:gd name="connsiteX659" fmla="*/ 111057 w 232512"/>
                    <a:gd name="connsiteY659" fmla="*/ 118619 h 394512"/>
                    <a:gd name="connsiteX660" fmla="*/ 109345 w 232512"/>
                    <a:gd name="connsiteY660" fmla="*/ 120315 h 394512"/>
                    <a:gd name="connsiteX661" fmla="*/ 109378 w 232512"/>
                    <a:gd name="connsiteY661" fmla="*/ 123371 h 394512"/>
                    <a:gd name="connsiteX662" fmla="*/ 109891 w 232512"/>
                    <a:gd name="connsiteY662" fmla="*/ 126402 h 394512"/>
                    <a:gd name="connsiteX663" fmla="*/ 112450 w 232512"/>
                    <a:gd name="connsiteY663" fmla="*/ 133933 h 394512"/>
                    <a:gd name="connsiteX664" fmla="*/ 112817 w 232512"/>
                    <a:gd name="connsiteY664" fmla="*/ 135946 h 394512"/>
                    <a:gd name="connsiteX665" fmla="*/ 113656 w 232512"/>
                    <a:gd name="connsiteY665" fmla="*/ 137592 h 394512"/>
                    <a:gd name="connsiteX666" fmla="*/ 114968 w 232512"/>
                    <a:gd name="connsiteY666" fmla="*/ 139132 h 394512"/>
                    <a:gd name="connsiteX667" fmla="*/ 116411 w 232512"/>
                    <a:gd name="connsiteY667" fmla="*/ 140428 h 394512"/>
                    <a:gd name="connsiteX668" fmla="*/ 120584 w 232512"/>
                    <a:gd name="connsiteY668" fmla="*/ 142661 h 394512"/>
                    <a:gd name="connsiteX669" fmla="*/ 122181 w 232512"/>
                    <a:gd name="connsiteY669" fmla="*/ 143093 h 394512"/>
                    <a:gd name="connsiteX670" fmla="*/ 123852 w 232512"/>
                    <a:gd name="connsiteY670" fmla="*/ 143174 h 394512"/>
                    <a:gd name="connsiteX671" fmla="*/ 124275 w 232512"/>
                    <a:gd name="connsiteY671" fmla="*/ 141675 h 394512"/>
                    <a:gd name="connsiteX672" fmla="*/ 125742 w 232512"/>
                    <a:gd name="connsiteY672" fmla="*/ 141170 h 394512"/>
                    <a:gd name="connsiteX673" fmla="*/ 125417 w 232512"/>
                    <a:gd name="connsiteY673" fmla="*/ 139687 h 394512"/>
                    <a:gd name="connsiteX674" fmla="*/ 123631 w 232512"/>
                    <a:gd name="connsiteY674" fmla="*/ 137657 h 394512"/>
                    <a:gd name="connsiteX675" fmla="*/ 123566 w 232512"/>
                    <a:gd name="connsiteY675" fmla="*/ 136549 h 394512"/>
                    <a:gd name="connsiteX676" fmla="*/ 124487 w 232512"/>
                    <a:gd name="connsiteY676" fmla="*/ 135726 h 394512"/>
                    <a:gd name="connsiteX677" fmla="*/ 125620 w 232512"/>
                    <a:gd name="connsiteY677" fmla="*/ 135245 h 394512"/>
                    <a:gd name="connsiteX678" fmla="*/ 128130 w 232512"/>
                    <a:gd name="connsiteY678" fmla="*/ 133028 h 394512"/>
                    <a:gd name="connsiteX679" fmla="*/ 130787 w 232512"/>
                    <a:gd name="connsiteY679" fmla="*/ 131243 h 394512"/>
                    <a:gd name="connsiteX680" fmla="*/ 134169 w 232512"/>
                    <a:gd name="connsiteY680" fmla="*/ 131398 h 394512"/>
                    <a:gd name="connsiteX681" fmla="*/ 137486 w 232512"/>
                    <a:gd name="connsiteY681" fmla="*/ 132392 h 394512"/>
                    <a:gd name="connsiteX682" fmla="*/ 139841 w 232512"/>
                    <a:gd name="connsiteY682" fmla="*/ 133419 h 394512"/>
                    <a:gd name="connsiteX683" fmla="*/ 141773 w 232512"/>
                    <a:gd name="connsiteY683" fmla="*/ 135326 h 394512"/>
                    <a:gd name="connsiteX684" fmla="*/ 143769 w 232512"/>
                    <a:gd name="connsiteY684" fmla="*/ 138619 h 394512"/>
                    <a:gd name="connsiteX685" fmla="*/ 145163 w 232512"/>
                    <a:gd name="connsiteY685" fmla="*/ 142262 h 394512"/>
                    <a:gd name="connsiteX686" fmla="*/ 145163 w 232512"/>
                    <a:gd name="connsiteY686" fmla="*/ 143998 h 394512"/>
                    <a:gd name="connsiteX687" fmla="*/ 144829 w 232512"/>
                    <a:gd name="connsiteY687" fmla="*/ 145734 h 394512"/>
                    <a:gd name="connsiteX688" fmla="*/ 144894 w 232512"/>
                    <a:gd name="connsiteY688" fmla="*/ 147453 h 394512"/>
                    <a:gd name="connsiteX689" fmla="*/ 145937 w 232512"/>
                    <a:gd name="connsiteY689" fmla="*/ 148627 h 394512"/>
                    <a:gd name="connsiteX690" fmla="*/ 149148 w 232512"/>
                    <a:gd name="connsiteY690" fmla="*/ 148716 h 394512"/>
                    <a:gd name="connsiteX691" fmla="*/ 150786 w 232512"/>
                    <a:gd name="connsiteY691" fmla="*/ 146011 h 394512"/>
                    <a:gd name="connsiteX692" fmla="*/ 150982 w 232512"/>
                    <a:gd name="connsiteY692" fmla="*/ 142963 h 394512"/>
                    <a:gd name="connsiteX693" fmla="*/ 149833 w 232512"/>
                    <a:gd name="connsiteY693" fmla="*/ 141781 h 394512"/>
                    <a:gd name="connsiteX694" fmla="*/ 150363 w 232512"/>
                    <a:gd name="connsiteY694" fmla="*/ 140281 h 394512"/>
                    <a:gd name="connsiteX695" fmla="*/ 151349 w 232512"/>
                    <a:gd name="connsiteY695" fmla="*/ 139165 h 394512"/>
                    <a:gd name="connsiteX696" fmla="*/ 152767 w 232512"/>
                    <a:gd name="connsiteY696" fmla="*/ 140167 h 394512"/>
                    <a:gd name="connsiteX697" fmla="*/ 154120 w 232512"/>
                    <a:gd name="connsiteY697" fmla="*/ 142066 h 394512"/>
                    <a:gd name="connsiteX698" fmla="*/ 159099 w 232512"/>
                    <a:gd name="connsiteY698" fmla="*/ 144120 h 394512"/>
                    <a:gd name="connsiteX699" fmla="*/ 160371 w 232512"/>
                    <a:gd name="connsiteY699" fmla="*/ 144169 h 394512"/>
                    <a:gd name="connsiteX700" fmla="*/ 161405 w 232512"/>
                    <a:gd name="connsiteY700" fmla="*/ 144552 h 394512"/>
                    <a:gd name="connsiteX701" fmla="*/ 163622 w 232512"/>
                    <a:gd name="connsiteY701" fmla="*/ 145986 h 394512"/>
                    <a:gd name="connsiteX702" fmla="*/ 164665 w 232512"/>
                    <a:gd name="connsiteY702" fmla="*/ 147127 h 394512"/>
                    <a:gd name="connsiteX703" fmla="*/ 163386 w 232512"/>
                    <a:gd name="connsiteY703" fmla="*/ 149499 h 394512"/>
                    <a:gd name="connsiteX704" fmla="*/ 158464 w 232512"/>
                    <a:gd name="connsiteY704" fmla="*/ 150020 h 394512"/>
                    <a:gd name="connsiteX705" fmla="*/ 157029 w 232512"/>
                    <a:gd name="connsiteY705" fmla="*/ 151797 h 394512"/>
                    <a:gd name="connsiteX706" fmla="*/ 158480 w 232512"/>
                    <a:gd name="connsiteY706" fmla="*/ 155366 h 394512"/>
                    <a:gd name="connsiteX707" fmla="*/ 160851 w 232512"/>
                    <a:gd name="connsiteY707" fmla="*/ 158300 h 394512"/>
                    <a:gd name="connsiteX708" fmla="*/ 162367 w 232512"/>
                    <a:gd name="connsiteY708" fmla="*/ 160672 h 394512"/>
                    <a:gd name="connsiteX709" fmla="*/ 163720 w 232512"/>
                    <a:gd name="connsiteY709" fmla="*/ 163223 h 394512"/>
                    <a:gd name="connsiteX710" fmla="*/ 163655 w 232512"/>
                    <a:gd name="connsiteY710" fmla="*/ 165578 h 394512"/>
                    <a:gd name="connsiteX711" fmla="*/ 162872 w 232512"/>
                    <a:gd name="connsiteY711" fmla="*/ 168039 h 394512"/>
                    <a:gd name="connsiteX712" fmla="*/ 165049 w 232512"/>
                    <a:gd name="connsiteY712" fmla="*/ 167844 h 394512"/>
                    <a:gd name="connsiteX713" fmla="*/ 167094 w 232512"/>
                    <a:gd name="connsiteY713" fmla="*/ 168365 h 394512"/>
                    <a:gd name="connsiteX714" fmla="*/ 169930 w 232512"/>
                    <a:gd name="connsiteY714" fmla="*/ 170419 h 394512"/>
                    <a:gd name="connsiteX715" fmla="*/ 170802 w 232512"/>
                    <a:gd name="connsiteY715" fmla="*/ 170631 h 394512"/>
                    <a:gd name="connsiteX716" fmla="*/ 171748 w 232512"/>
                    <a:gd name="connsiteY716" fmla="*/ 170297 h 394512"/>
                    <a:gd name="connsiteX717" fmla="*/ 171609 w 232512"/>
                    <a:gd name="connsiteY717" fmla="*/ 177721 h 394512"/>
                    <a:gd name="connsiteX718" fmla="*/ 169685 w 232512"/>
                    <a:gd name="connsiteY718" fmla="*/ 184510 h 394512"/>
                    <a:gd name="connsiteX719" fmla="*/ 167249 w 232512"/>
                    <a:gd name="connsiteY719" fmla="*/ 183662 h 394512"/>
                    <a:gd name="connsiteX720" fmla="*/ 165179 w 232512"/>
                    <a:gd name="connsiteY720" fmla="*/ 180794 h 394512"/>
                    <a:gd name="connsiteX721" fmla="*/ 165595 w 232512"/>
                    <a:gd name="connsiteY721" fmla="*/ 177289 h 394512"/>
                    <a:gd name="connsiteX722" fmla="*/ 166931 w 232512"/>
                    <a:gd name="connsiteY722" fmla="*/ 173907 h 394512"/>
                    <a:gd name="connsiteX723" fmla="*/ 166165 w 232512"/>
                    <a:gd name="connsiteY723" fmla="*/ 173198 h 394512"/>
                    <a:gd name="connsiteX724" fmla="*/ 164829 w 232512"/>
                    <a:gd name="connsiteY724" fmla="*/ 173483 h 394512"/>
                    <a:gd name="connsiteX725" fmla="*/ 163296 w 232512"/>
                    <a:gd name="connsiteY725" fmla="*/ 174250 h 394512"/>
                    <a:gd name="connsiteX726" fmla="*/ 161650 w 232512"/>
                    <a:gd name="connsiteY726" fmla="*/ 174510 h 394512"/>
                    <a:gd name="connsiteX727" fmla="*/ 158936 w 232512"/>
                    <a:gd name="connsiteY727" fmla="*/ 174062 h 394512"/>
                    <a:gd name="connsiteX728" fmla="*/ 153370 w 232512"/>
                    <a:gd name="connsiteY728" fmla="*/ 170378 h 394512"/>
                    <a:gd name="connsiteX729" fmla="*/ 151104 w 232512"/>
                    <a:gd name="connsiteY729" fmla="*/ 170036 h 394512"/>
                    <a:gd name="connsiteX730" fmla="*/ 150599 w 232512"/>
                    <a:gd name="connsiteY730" fmla="*/ 168374 h 394512"/>
                    <a:gd name="connsiteX731" fmla="*/ 150738 w 232512"/>
                    <a:gd name="connsiteY731" fmla="*/ 164837 h 394512"/>
                    <a:gd name="connsiteX732" fmla="*/ 148513 w 232512"/>
                    <a:gd name="connsiteY732" fmla="*/ 160656 h 394512"/>
                    <a:gd name="connsiteX733" fmla="*/ 148154 w 232512"/>
                    <a:gd name="connsiteY733" fmla="*/ 159156 h 394512"/>
                    <a:gd name="connsiteX734" fmla="*/ 147453 w 232512"/>
                    <a:gd name="connsiteY734" fmla="*/ 157974 h 394512"/>
                    <a:gd name="connsiteX735" fmla="*/ 140836 w 232512"/>
                    <a:gd name="connsiteY735" fmla="*/ 153411 h 394512"/>
                    <a:gd name="connsiteX736" fmla="*/ 140021 w 232512"/>
                    <a:gd name="connsiteY736" fmla="*/ 152645 h 394512"/>
                    <a:gd name="connsiteX737" fmla="*/ 137983 w 232512"/>
                    <a:gd name="connsiteY737" fmla="*/ 149010 h 394512"/>
                    <a:gd name="connsiteX738" fmla="*/ 133370 w 232512"/>
                    <a:gd name="connsiteY738" fmla="*/ 143827 h 394512"/>
                    <a:gd name="connsiteX739" fmla="*/ 132083 w 232512"/>
                    <a:gd name="connsiteY739" fmla="*/ 143297 h 394512"/>
                    <a:gd name="connsiteX740" fmla="*/ 130665 w 232512"/>
                    <a:gd name="connsiteY740" fmla="*/ 143150 h 394512"/>
                    <a:gd name="connsiteX741" fmla="*/ 130208 w 232512"/>
                    <a:gd name="connsiteY741" fmla="*/ 144462 h 394512"/>
                    <a:gd name="connsiteX742" fmla="*/ 130844 w 232512"/>
                    <a:gd name="connsiteY742" fmla="*/ 146483 h 394512"/>
                    <a:gd name="connsiteX743" fmla="*/ 131105 w 232512"/>
                    <a:gd name="connsiteY743" fmla="*/ 148219 h 394512"/>
                    <a:gd name="connsiteX744" fmla="*/ 131007 w 232512"/>
                    <a:gd name="connsiteY744" fmla="*/ 150037 h 394512"/>
                    <a:gd name="connsiteX745" fmla="*/ 131203 w 232512"/>
                    <a:gd name="connsiteY745" fmla="*/ 151447 h 394512"/>
                    <a:gd name="connsiteX746" fmla="*/ 133387 w 232512"/>
                    <a:gd name="connsiteY746" fmla="*/ 154323 h 394512"/>
                    <a:gd name="connsiteX747" fmla="*/ 133721 w 232512"/>
                    <a:gd name="connsiteY747" fmla="*/ 155684 h 394512"/>
                    <a:gd name="connsiteX748" fmla="*/ 135164 w 232512"/>
                    <a:gd name="connsiteY748" fmla="*/ 159384 h 394512"/>
                    <a:gd name="connsiteX749" fmla="*/ 135343 w 232512"/>
                    <a:gd name="connsiteY749" fmla="*/ 163704 h 394512"/>
                    <a:gd name="connsiteX750" fmla="*/ 133476 w 232512"/>
                    <a:gd name="connsiteY750" fmla="*/ 165488 h 394512"/>
                    <a:gd name="connsiteX751" fmla="*/ 131382 w 232512"/>
                    <a:gd name="connsiteY751" fmla="*/ 163492 h 394512"/>
                    <a:gd name="connsiteX752" fmla="*/ 131308 w 232512"/>
                    <a:gd name="connsiteY752" fmla="*/ 161862 h 394512"/>
                    <a:gd name="connsiteX753" fmla="*/ 130950 w 232512"/>
                    <a:gd name="connsiteY753" fmla="*/ 160346 h 394512"/>
                    <a:gd name="connsiteX754" fmla="*/ 128693 w 232512"/>
                    <a:gd name="connsiteY754" fmla="*/ 156426 h 394512"/>
                    <a:gd name="connsiteX755" fmla="*/ 127943 w 232512"/>
                    <a:gd name="connsiteY755" fmla="*/ 155578 h 394512"/>
                    <a:gd name="connsiteX756" fmla="*/ 123697 w 232512"/>
                    <a:gd name="connsiteY756" fmla="*/ 151699 h 394512"/>
                    <a:gd name="connsiteX757" fmla="*/ 120404 w 232512"/>
                    <a:gd name="connsiteY757" fmla="*/ 147445 h 394512"/>
                    <a:gd name="connsiteX758" fmla="*/ 113102 w 232512"/>
                    <a:gd name="connsiteY758" fmla="*/ 142906 h 394512"/>
                    <a:gd name="connsiteX759" fmla="*/ 112238 w 232512"/>
                    <a:gd name="connsiteY759" fmla="*/ 142653 h 394512"/>
                    <a:gd name="connsiteX760" fmla="*/ 110967 w 232512"/>
                    <a:gd name="connsiteY760" fmla="*/ 142995 h 394512"/>
                    <a:gd name="connsiteX761" fmla="*/ 109777 w 232512"/>
                    <a:gd name="connsiteY761" fmla="*/ 143558 h 394512"/>
                    <a:gd name="connsiteX762" fmla="*/ 106240 w 232512"/>
                    <a:gd name="connsiteY762" fmla="*/ 145799 h 394512"/>
                    <a:gd name="connsiteX763" fmla="*/ 105001 w 232512"/>
                    <a:gd name="connsiteY763" fmla="*/ 147363 h 394512"/>
                    <a:gd name="connsiteX764" fmla="*/ 104879 w 232512"/>
                    <a:gd name="connsiteY764" fmla="*/ 149760 h 394512"/>
                    <a:gd name="connsiteX765" fmla="*/ 102336 w 232512"/>
                    <a:gd name="connsiteY765" fmla="*/ 151667 h 394512"/>
                    <a:gd name="connsiteX766" fmla="*/ 98865 w 232512"/>
                    <a:gd name="connsiteY766" fmla="*/ 151936 h 394512"/>
                    <a:gd name="connsiteX767" fmla="*/ 96175 w 232512"/>
                    <a:gd name="connsiteY767" fmla="*/ 150746 h 394512"/>
                    <a:gd name="connsiteX768" fmla="*/ 93967 w 232512"/>
                    <a:gd name="connsiteY768" fmla="*/ 148366 h 394512"/>
                    <a:gd name="connsiteX769" fmla="*/ 92125 w 232512"/>
                    <a:gd name="connsiteY769" fmla="*/ 148244 h 394512"/>
                    <a:gd name="connsiteX770" fmla="*/ 89859 w 232512"/>
                    <a:gd name="connsiteY770" fmla="*/ 144511 h 394512"/>
                    <a:gd name="connsiteX771" fmla="*/ 87096 w 232512"/>
                    <a:gd name="connsiteY771" fmla="*/ 144030 h 394512"/>
                    <a:gd name="connsiteX772" fmla="*/ 84814 w 232512"/>
                    <a:gd name="connsiteY772" fmla="*/ 146948 h 394512"/>
                    <a:gd name="connsiteX773" fmla="*/ 84317 w 232512"/>
                    <a:gd name="connsiteY773" fmla="*/ 141153 h 394512"/>
                    <a:gd name="connsiteX774" fmla="*/ 84309 w 232512"/>
                    <a:gd name="connsiteY774" fmla="*/ 135294 h 394512"/>
                    <a:gd name="connsiteX775" fmla="*/ 84945 w 232512"/>
                    <a:gd name="connsiteY775" fmla="*/ 133582 h 394512"/>
                    <a:gd name="connsiteX776" fmla="*/ 86086 w 232512"/>
                    <a:gd name="connsiteY776" fmla="*/ 132156 h 394512"/>
                    <a:gd name="connsiteX777" fmla="*/ 91880 w 232512"/>
                    <a:gd name="connsiteY777" fmla="*/ 126019 h 394512"/>
                    <a:gd name="connsiteX778" fmla="*/ 92606 w 232512"/>
                    <a:gd name="connsiteY778" fmla="*/ 124047 h 394512"/>
                    <a:gd name="connsiteX779" fmla="*/ 92361 w 232512"/>
                    <a:gd name="connsiteY779" fmla="*/ 121398 h 394512"/>
                    <a:gd name="connsiteX780" fmla="*/ 91041 w 232512"/>
                    <a:gd name="connsiteY780" fmla="*/ 119239 h 394512"/>
                    <a:gd name="connsiteX781" fmla="*/ 88963 w 232512"/>
                    <a:gd name="connsiteY781" fmla="*/ 117927 h 394512"/>
                    <a:gd name="connsiteX782" fmla="*/ 86567 w 232512"/>
                    <a:gd name="connsiteY782" fmla="*/ 117389 h 394512"/>
                    <a:gd name="connsiteX783" fmla="*/ 84847 w 232512"/>
                    <a:gd name="connsiteY783" fmla="*/ 116191 h 394512"/>
                    <a:gd name="connsiteX784" fmla="*/ 83494 w 232512"/>
                    <a:gd name="connsiteY784" fmla="*/ 114202 h 394512"/>
                    <a:gd name="connsiteX785" fmla="*/ 82573 w 232512"/>
                    <a:gd name="connsiteY785" fmla="*/ 117715 h 394512"/>
                    <a:gd name="connsiteX786" fmla="*/ 83470 w 232512"/>
                    <a:gd name="connsiteY786" fmla="*/ 122931 h 394512"/>
                    <a:gd name="connsiteX787" fmla="*/ 83616 w 232512"/>
                    <a:gd name="connsiteY787" fmla="*/ 126321 h 394512"/>
                    <a:gd name="connsiteX788" fmla="*/ 82793 w 232512"/>
                    <a:gd name="connsiteY788" fmla="*/ 127592 h 394512"/>
                    <a:gd name="connsiteX789" fmla="*/ 81302 w 232512"/>
                    <a:gd name="connsiteY789" fmla="*/ 127625 h 394512"/>
                    <a:gd name="connsiteX790" fmla="*/ 79892 w 232512"/>
                    <a:gd name="connsiteY790" fmla="*/ 127225 h 394512"/>
                    <a:gd name="connsiteX791" fmla="*/ 78833 w 232512"/>
                    <a:gd name="connsiteY791" fmla="*/ 126011 h 394512"/>
                    <a:gd name="connsiteX792" fmla="*/ 78058 w 232512"/>
                    <a:gd name="connsiteY792" fmla="*/ 122515 h 394512"/>
                    <a:gd name="connsiteX793" fmla="*/ 76045 w 232512"/>
                    <a:gd name="connsiteY793" fmla="*/ 120200 h 394512"/>
                    <a:gd name="connsiteX794" fmla="*/ 75222 w 232512"/>
                    <a:gd name="connsiteY794" fmla="*/ 116884 h 394512"/>
                    <a:gd name="connsiteX795" fmla="*/ 74310 w 232512"/>
                    <a:gd name="connsiteY795" fmla="*/ 116411 h 394512"/>
                    <a:gd name="connsiteX796" fmla="*/ 72427 w 232512"/>
                    <a:gd name="connsiteY796" fmla="*/ 116663 h 394512"/>
                    <a:gd name="connsiteX797" fmla="*/ 71042 w 232512"/>
                    <a:gd name="connsiteY797" fmla="*/ 115123 h 394512"/>
                    <a:gd name="connsiteX798" fmla="*/ 70112 w 232512"/>
                    <a:gd name="connsiteY798" fmla="*/ 111252 h 394512"/>
                    <a:gd name="connsiteX799" fmla="*/ 69925 w 232512"/>
                    <a:gd name="connsiteY799" fmla="*/ 107096 h 394512"/>
                    <a:gd name="connsiteX800" fmla="*/ 69126 w 232512"/>
                    <a:gd name="connsiteY800" fmla="*/ 103599 h 394512"/>
                    <a:gd name="connsiteX801" fmla="*/ 68001 w 232512"/>
                    <a:gd name="connsiteY801" fmla="*/ 100217 h 394512"/>
                    <a:gd name="connsiteX802" fmla="*/ 67341 w 232512"/>
                    <a:gd name="connsiteY802" fmla="*/ 97463 h 394512"/>
                    <a:gd name="connsiteX803" fmla="*/ 66323 w 232512"/>
                    <a:gd name="connsiteY803" fmla="*/ 85051 h 394512"/>
                    <a:gd name="connsiteX804" fmla="*/ 66070 w 232512"/>
                    <a:gd name="connsiteY804" fmla="*/ 83910 h 394512"/>
                    <a:gd name="connsiteX805" fmla="*/ 65532 w 232512"/>
                    <a:gd name="connsiteY805" fmla="*/ 82972 h 394512"/>
                    <a:gd name="connsiteX806" fmla="*/ 64253 w 232512"/>
                    <a:gd name="connsiteY806" fmla="*/ 81562 h 394512"/>
                    <a:gd name="connsiteX807" fmla="*/ 63291 w 232512"/>
                    <a:gd name="connsiteY807" fmla="*/ 79835 h 394512"/>
                    <a:gd name="connsiteX808" fmla="*/ 63120 w 232512"/>
                    <a:gd name="connsiteY808" fmla="*/ 78425 h 394512"/>
                    <a:gd name="connsiteX809" fmla="*/ 63372 w 232512"/>
                    <a:gd name="connsiteY809" fmla="*/ 72305 h 394512"/>
                    <a:gd name="connsiteX810" fmla="*/ 63813 w 232512"/>
                    <a:gd name="connsiteY810" fmla="*/ 70829 h 394512"/>
                    <a:gd name="connsiteX811" fmla="*/ 64823 w 232512"/>
                    <a:gd name="connsiteY811" fmla="*/ 70129 h 394512"/>
                    <a:gd name="connsiteX812" fmla="*/ 66192 w 232512"/>
                    <a:gd name="connsiteY812" fmla="*/ 71318 h 394512"/>
                    <a:gd name="connsiteX813" fmla="*/ 67300 w 232512"/>
                    <a:gd name="connsiteY813" fmla="*/ 72802 h 394512"/>
                    <a:gd name="connsiteX814" fmla="*/ 68653 w 232512"/>
                    <a:gd name="connsiteY814" fmla="*/ 73519 h 394512"/>
                    <a:gd name="connsiteX815" fmla="*/ 69843 w 232512"/>
                    <a:gd name="connsiteY815" fmla="*/ 74464 h 394512"/>
                    <a:gd name="connsiteX816" fmla="*/ 72085 w 232512"/>
                    <a:gd name="connsiteY816" fmla="*/ 78075 h 394512"/>
                    <a:gd name="connsiteX817" fmla="*/ 72973 w 232512"/>
                    <a:gd name="connsiteY817" fmla="*/ 78637 h 394512"/>
                    <a:gd name="connsiteX818" fmla="*/ 75736 w 232512"/>
                    <a:gd name="connsiteY818" fmla="*/ 78523 h 394512"/>
                    <a:gd name="connsiteX819" fmla="*/ 77366 w 232512"/>
                    <a:gd name="connsiteY819" fmla="*/ 78066 h 394512"/>
                    <a:gd name="connsiteX820" fmla="*/ 78164 w 232512"/>
                    <a:gd name="connsiteY820" fmla="*/ 76746 h 394512"/>
                    <a:gd name="connsiteX821" fmla="*/ 78662 w 232512"/>
                    <a:gd name="connsiteY821" fmla="*/ 75181 h 394512"/>
                    <a:gd name="connsiteX822" fmla="*/ 78677 w 232512"/>
                    <a:gd name="connsiteY822" fmla="*/ 73323 h 394512"/>
                    <a:gd name="connsiteX823" fmla="*/ 77080 w 232512"/>
                    <a:gd name="connsiteY823" fmla="*/ 67863 h 394512"/>
                    <a:gd name="connsiteX824" fmla="*/ 76583 w 232512"/>
                    <a:gd name="connsiteY824" fmla="*/ 63926 h 394512"/>
                    <a:gd name="connsiteX825" fmla="*/ 76567 w 232512"/>
                    <a:gd name="connsiteY825" fmla="*/ 60365 h 394512"/>
                    <a:gd name="connsiteX826" fmla="*/ 76982 w 232512"/>
                    <a:gd name="connsiteY826" fmla="*/ 56804 h 394512"/>
                    <a:gd name="connsiteX827" fmla="*/ 79166 w 232512"/>
                    <a:gd name="connsiteY827" fmla="*/ 50879 h 394512"/>
                    <a:gd name="connsiteX828" fmla="*/ 79443 w 232512"/>
                    <a:gd name="connsiteY828" fmla="*/ 46763 h 394512"/>
                    <a:gd name="connsiteX829" fmla="*/ 79232 w 232512"/>
                    <a:gd name="connsiteY829" fmla="*/ 41262 h 394512"/>
                    <a:gd name="connsiteX830" fmla="*/ 79615 w 232512"/>
                    <a:gd name="connsiteY830" fmla="*/ 37986 h 394512"/>
                    <a:gd name="connsiteX831" fmla="*/ 79549 w 232512"/>
                    <a:gd name="connsiteY831" fmla="*/ 36103 h 394512"/>
                    <a:gd name="connsiteX832" fmla="*/ 78254 w 232512"/>
                    <a:gd name="connsiteY832" fmla="*/ 33137 h 394512"/>
                    <a:gd name="connsiteX833" fmla="*/ 77911 w 232512"/>
                    <a:gd name="connsiteY833" fmla="*/ 29983 h 394512"/>
                    <a:gd name="connsiteX834" fmla="*/ 81547 w 232512"/>
                    <a:gd name="connsiteY834" fmla="*/ 13887 h 394512"/>
                    <a:gd name="connsiteX835" fmla="*/ 82687 w 232512"/>
                    <a:gd name="connsiteY835" fmla="*/ 10766 h 394512"/>
                    <a:gd name="connsiteX836" fmla="*/ 83527 w 232512"/>
                    <a:gd name="connsiteY836" fmla="*/ 7555 h 394512"/>
                    <a:gd name="connsiteX837" fmla="*/ 83901 w 232512"/>
                    <a:gd name="connsiteY837" fmla="*/ 3276 h 394512"/>
                    <a:gd name="connsiteX838" fmla="*/ 86624 w 232512"/>
                    <a:gd name="connsiteY838" fmla="*/ 2103 h 394512"/>
                    <a:gd name="connsiteX839" fmla="*/ 89207 w 232512"/>
                    <a:gd name="connsiteY839" fmla="*/ 334 h 394512"/>
                    <a:gd name="connsiteX840" fmla="*/ 90552 w 232512"/>
                    <a:gd name="connsiteY840" fmla="*/ 473 h 394512"/>
                    <a:gd name="connsiteX841" fmla="*/ 91962 w 232512"/>
                    <a:gd name="connsiteY841" fmla="*/ 897 h 394512"/>
                    <a:gd name="connsiteX842" fmla="*/ 95099 w 232512"/>
                    <a:gd name="connsiteY842" fmla="*/ 16 h 394512"/>
                    <a:gd name="connsiteX843" fmla="*/ 96313 w 232512"/>
                    <a:gd name="connsiteY843" fmla="*/ 0 h 39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Lst>
                  <a:rect l="l" t="t" r="r" b="b"/>
                  <a:pathLst>
                    <a:path w="232512" h="394512">
                      <a:moveTo>
                        <a:pt x="217949" y="282600"/>
                      </a:moveTo>
                      <a:lnTo>
                        <a:pt x="219970" y="284418"/>
                      </a:lnTo>
                      <a:lnTo>
                        <a:pt x="222594" y="283937"/>
                      </a:lnTo>
                      <a:lnTo>
                        <a:pt x="222553" y="288509"/>
                      </a:lnTo>
                      <a:lnTo>
                        <a:pt x="222985" y="289845"/>
                      </a:lnTo>
                      <a:lnTo>
                        <a:pt x="225357" y="293716"/>
                      </a:lnTo>
                      <a:lnTo>
                        <a:pt x="225723" y="296944"/>
                      </a:lnTo>
                      <a:lnTo>
                        <a:pt x="224322" y="299984"/>
                      </a:lnTo>
                      <a:lnTo>
                        <a:pt x="223262" y="301418"/>
                      </a:lnTo>
                      <a:lnTo>
                        <a:pt x="221314" y="303496"/>
                      </a:lnTo>
                      <a:lnTo>
                        <a:pt x="221257" y="304450"/>
                      </a:lnTo>
                      <a:lnTo>
                        <a:pt x="222089" y="305517"/>
                      </a:lnTo>
                      <a:lnTo>
                        <a:pt x="224811" y="306145"/>
                      </a:lnTo>
                      <a:lnTo>
                        <a:pt x="226856" y="307807"/>
                      </a:lnTo>
                      <a:lnTo>
                        <a:pt x="227215" y="312542"/>
                      </a:lnTo>
                      <a:lnTo>
                        <a:pt x="229170" y="316267"/>
                      </a:lnTo>
                      <a:lnTo>
                        <a:pt x="229122" y="317897"/>
                      </a:lnTo>
                      <a:lnTo>
                        <a:pt x="228348" y="324555"/>
                      </a:lnTo>
                      <a:lnTo>
                        <a:pt x="228592" y="327399"/>
                      </a:lnTo>
                      <a:lnTo>
                        <a:pt x="230059" y="329681"/>
                      </a:lnTo>
                      <a:lnTo>
                        <a:pt x="231298" y="330651"/>
                      </a:lnTo>
                      <a:lnTo>
                        <a:pt x="231933" y="332077"/>
                      </a:lnTo>
                      <a:lnTo>
                        <a:pt x="232512" y="335997"/>
                      </a:lnTo>
                      <a:lnTo>
                        <a:pt x="232406" y="342664"/>
                      </a:lnTo>
                      <a:lnTo>
                        <a:pt x="232219" y="344986"/>
                      </a:lnTo>
                      <a:lnTo>
                        <a:pt x="231355" y="347154"/>
                      </a:lnTo>
                      <a:lnTo>
                        <a:pt x="228690" y="352069"/>
                      </a:lnTo>
                      <a:lnTo>
                        <a:pt x="225088" y="355972"/>
                      </a:lnTo>
                      <a:lnTo>
                        <a:pt x="223181" y="355703"/>
                      </a:lnTo>
                      <a:lnTo>
                        <a:pt x="222561" y="356860"/>
                      </a:lnTo>
                      <a:lnTo>
                        <a:pt x="223759" y="360430"/>
                      </a:lnTo>
                      <a:lnTo>
                        <a:pt x="223286" y="367952"/>
                      </a:lnTo>
                      <a:lnTo>
                        <a:pt x="222496" y="373168"/>
                      </a:lnTo>
                      <a:lnTo>
                        <a:pt x="221331" y="370528"/>
                      </a:lnTo>
                      <a:lnTo>
                        <a:pt x="220515" y="367765"/>
                      </a:lnTo>
                      <a:lnTo>
                        <a:pt x="219774" y="360446"/>
                      </a:lnTo>
                      <a:lnTo>
                        <a:pt x="218861" y="357146"/>
                      </a:lnTo>
                      <a:lnTo>
                        <a:pt x="217419" y="354122"/>
                      </a:lnTo>
                      <a:lnTo>
                        <a:pt x="216840" y="351433"/>
                      </a:lnTo>
                      <a:lnTo>
                        <a:pt x="215332" y="348915"/>
                      </a:lnTo>
                      <a:lnTo>
                        <a:pt x="213442" y="342411"/>
                      </a:lnTo>
                      <a:lnTo>
                        <a:pt x="212179" y="342753"/>
                      </a:lnTo>
                      <a:lnTo>
                        <a:pt x="210084" y="344530"/>
                      </a:lnTo>
                      <a:lnTo>
                        <a:pt x="209611" y="345753"/>
                      </a:lnTo>
                      <a:lnTo>
                        <a:pt x="209359" y="347611"/>
                      </a:lnTo>
                      <a:lnTo>
                        <a:pt x="208878" y="349281"/>
                      </a:lnTo>
                      <a:lnTo>
                        <a:pt x="206433" y="351938"/>
                      </a:lnTo>
                      <a:lnTo>
                        <a:pt x="204509" y="355116"/>
                      </a:lnTo>
                      <a:lnTo>
                        <a:pt x="202929" y="358572"/>
                      </a:lnTo>
                      <a:lnTo>
                        <a:pt x="202431" y="361759"/>
                      </a:lnTo>
                      <a:lnTo>
                        <a:pt x="203719" y="364244"/>
                      </a:lnTo>
                      <a:lnTo>
                        <a:pt x="205048" y="365247"/>
                      </a:lnTo>
                      <a:lnTo>
                        <a:pt x="206987" y="367471"/>
                      </a:lnTo>
                      <a:lnTo>
                        <a:pt x="207574" y="368490"/>
                      </a:lnTo>
                      <a:lnTo>
                        <a:pt x="209619" y="375727"/>
                      </a:lnTo>
                      <a:lnTo>
                        <a:pt x="209538" y="383119"/>
                      </a:lnTo>
                      <a:lnTo>
                        <a:pt x="208047" y="386371"/>
                      </a:lnTo>
                      <a:lnTo>
                        <a:pt x="204282" y="392556"/>
                      </a:lnTo>
                      <a:lnTo>
                        <a:pt x="201568" y="394512"/>
                      </a:lnTo>
                      <a:lnTo>
                        <a:pt x="200117" y="393518"/>
                      </a:lnTo>
                      <a:lnTo>
                        <a:pt x="198943" y="389777"/>
                      </a:lnTo>
                      <a:lnTo>
                        <a:pt x="198756" y="388237"/>
                      </a:lnTo>
                      <a:lnTo>
                        <a:pt x="199546" y="384724"/>
                      </a:lnTo>
                      <a:lnTo>
                        <a:pt x="199636" y="381489"/>
                      </a:lnTo>
                      <a:lnTo>
                        <a:pt x="198723" y="380397"/>
                      </a:lnTo>
                      <a:lnTo>
                        <a:pt x="197721" y="380609"/>
                      </a:lnTo>
                      <a:lnTo>
                        <a:pt x="197289" y="381073"/>
                      </a:lnTo>
                      <a:lnTo>
                        <a:pt x="194860" y="385303"/>
                      </a:lnTo>
                      <a:lnTo>
                        <a:pt x="193850" y="386371"/>
                      </a:lnTo>
                      <a:lnTo>
                        <a:pt x="192358" y="386526"/>
                      </a:lnTo>
                      <a:lnTo>
                        <a:pt x="191169" y="386232"/>
                      </a:lnTo>
                      <a:lnTo>
                        <a:pt x="183956" y="382540"/>
                      </a:lnTo>
                      <a:lnTo>
                        <a:pt x="178047" y="378897"/>
                      </a:lnTo>
                      <a:lnTo>
                        <a:pt x="173442" y="375483"/>
                      </a:lnTo>
                      <a:lnTo>
                        <a:pt x="170101" y="370348"/>
                      </a:lnTo>
                      <a:lnTo>
                        <a:pt x="169400" y="366502"/>
                      </a:lnTo>
                      <a:lnTo>
                        <a:pt x="169360" y="362476"/>
                      </a:lnTo>
                      <a:lnTo>
                        <a:pt x="167860" y="356575"/>
                      </a:lnTo>
                      <a:lnTo>
                        <a:pt x="167689" y="354571"/>
                      </a:lnTo>
                      <a:lnTo>
                        <a:pt x="167795" y="352647"/>
                      </a:lnTo>
                      <a:lnTo>
                        <a:pt x="169287" y="349029"/>
                      </a:lnTo>
                      <a:lnTo>
                        <a:pt x="171088" y="347195"/>
                      </a:lnTo>
                      <a:lnTo>
                        <a:pt x="172090" y="345875"/>
                      </a:lnTo>
                      <a:lnTo>
                        <a:pt x="172913" y="344416"/>
                      </a:lnTo>
                      <a:lnTo>
                        <a:pt x="173451" y="342468"/>
                      </a:lnTo>
                      <a:lnTo>
                        <a:pt x="173296" y="340537"/>
                      </a:lnTo>
                      <a:lnTo>
                        <a:pt x="172693" y="339330"/>
                      </a:lnTo>
                      <a:lnTo>
                        <a:pt x="169857" y="335084"/>
                      </a:lnTo>
                      <a:lnTo>
                        <a:pt x="167379" y="332477"/>
                      </a:lnTo>
                      <a:lnTo>
                        <a:pt x="162327" y="330129"/>
                      </a:lnTo>
                      <a:lnTo>
                        <a:pt x="161161" y="328842"/>
                      </a:lnTo>
                      <a:lnTo>
                        <a:pt x="159873" y="327864"/>
                      </a:lnTo>
                      <a:lnTo>
                        <a:pt x="158464" y="327456"/>
                      </a:lnTo>
                      <a:lnTo>
                        <a:pt x="157078" y="327440"/>
                      </a:lnTo>
                      <a:lnTo>
                        <a:pt x="155587" y="328165"/>
                      </a:lnTo>
                      <a:lnTo>
                        <a:pt x="155204" y="329722"/>
                      </a:lnTo>
                      <a:lnTo>
                        <a:pt x="155302" y="331099"/>
                      </a:lnTo>
                      <a:lnTo>
                        <a:pt x="155171" y="332460"/>
                      </a:lnTo>
                      <a:lnTo>
                        <a:pt x="153052" y="340211"/>
                      </a:lnTo>
                      <a:lnTo>
                        <a:pt x="150346" y="338507"/>
                      </a:lnTo>
                      <a:lnTo>
                        <a:pt x="147771" y="336543"/>
                      </a:lnTo>
                      <a:lnTo>
                        <a:pt x="147103" y="335174"/>
                      </a:lnTo>
                      <a:lnTo>
                        <a:pt x="146793" y="333528"/>
                      </a:lnTo>
                      <a:lnTo>
                        <a:pt x="146361" y="332411"/>
                      </a:lnTo>
                      <a:lnTo>
                        <a:pt x="145758" y="331401"/>
                      </a:lnTo>
                      <a:lnTo>
                        <a:pt x="144576" y="333992"/>
                      </a:lnTo>
                      <a:lnTo>
                        <a:pt x="143093" y="336030"/>
                      </a:lnTo>
                      <a:lnTo>
                        <a:pt x="141292" y="336511"/>
                      </a:lnTo>
                      <a:lnTo>
                        <a:pt x="139458" y="336543"/>
                      </a:lnTo>
                      <a:lnTo>
                        <a:pt x="138847" y="335671"/>
                      </a:lnTo>
                      <a:lnTo>
                        <a:pt x="138187" y="330741"/>
                      </a:lnTo>
                      <a:lnTo>
                        <a:pt x="136255" y="329192"/>
                      </a:lnTo>
                      <a:lnTo>
                        <a:pt x="133835" y="329526"/>
                      </a:lnTo>
                      <a:lnTo>
                        <a:pt x="130901" y="332248"/>
                      </a:lnTo>
                      <a:lnTo>
                        <a:pt x="130323" y="333267"/>
                      </a:lnTo>
                      <a:lnTo>
                        <a:pt x="129687" y="335606"/>
                      </a:lnTo>
                      <a:lnTo>
                        <a:pt x="126484" y="342248"/>
                      </a:lnTo>
                      <a:lnTo>
                        <a:pt x="124789" y="347366"/>
                      </a:lnTo>
                      <a:lnTo>
                        <a:pt x="122922" y="352346"/>
                      </a:lnTo>
                      <a:lnTo>
                        <a:pt x="122083" y="353984"/>
                      </a:lnTo>
                      <a:lnTo>
                        <a:pt x="120975" y="355067"/>
                      </a:lnTo>
                      <a:lnTo>
                        <a:pt x="119239" y="354619"/>
                      </a:lnTo>
                      <a:lnTo>
                        <a:pt x="117666" y="353429"/>
                      </a:lnTo>
                      <a:lnTo>
                        <a:pt x="116167" y="350218"/>
                      </a:lnTo>
                      <a:lnTo>
                        <a:pt x="116672" y="346486"/>
                      </a:lnTo>
                      <a:lnTo>
                        <a:pt x="118318" y="344098"/>
                      </a:lnTo>
                      <a:lnTo>
                        <a:pt x="119712" y="341555"/>
                      </a:lnTo>
                      <a:lnTo>
                        <a:pt x="121390" y="332648"/>
                      </a:lnTo>
                      <a:lnTo>
                        <a:pt x="121521" y="329469"/>
                      </a:lnTo>
                      <a:lnTo>
                        <a:pt x="121806" y="328117"/>
                      </a:lnTo>
                      <a:lnTo>
                        <a:pt x="124577" y="324066"/>
                      </a:lnTo>
                      <a:lnTo>
                        <a:pt x="126908" y="321556"/>
                      </a:lnTo>
                      <a:lnTo>
                        <a:pt x="128130" y="321034"/>
                      </a:lnTo>
                      <a:lnTo>
                        <a:pt x="133158" y="319608"/>
                      </a:lnTo>
                      <a:lnTo>
                        <a:pt x="135229" y="318418"/>
                      </a:lnTo>
                      <a:lnTo>
                        <a:pt x="138489" y="318402"/>
                      </a:lnTo>
                      <a:lnTo>
                        <a:pt x="141129" y="317717"/>
                      </a:lnTo>
                      <a:lnTo>
                        <a:pt x="143248" y="315794"/>
                      </a:lnTo>
                      <a:lnTo>
                        <a:pt x="143411" y="313789"/>
                      </a:lnTo>
                      <a:lnTo>
                        <a:pt x="143305" y="311711"/>
                      </a:lnTo>
                      <a:lnTo>
                        <a:pt x="143778" y="310440"/>
                      </a:lnTo>
                      <a:lnTo>
                        <a:pt x="144601" y="309372"/>
                      </a:lnTo>
                      <a:lnTo>
                        <a:pt x="145726" y="307962"/>
                      </a:lnTo>
                      <a:lnTo>
                        <a:pt x="146997" y="306895"/>
                      </a:lnTo>
                      <a:lnTo>
                        <a:pt x="150607" y="306129"/>
                      </a:lnTo>
                      <a:lnTo>
                        <a:pt x="151805" y="305256"/>
                      </a:lnTo>
                      <a:lnTo>
                        <a:pt x="152767" y="303895"/>
                      </a:lnTo>
                      <a:lnTo>
                        <a:pt x="154120" y="301255"/>
                      </a:lnTo>
                      <a:lnTo>
                        <a:pt x="155709" y="301907"/>
                      </a:lnTo>
                      <a:lnTo>
                        <a:pt x="157323" y="302934"/>
                      </a:lnTo>
                      <a:lnTo>
                        <a:pt x="160208" y="303749"/>
                      </a:lnTo>
                      <a:lnTo>
                        <a:pt x="162766" y="305941"/>
                      </a:lnTo>
                      <a:lnTo>
                        <a:pt x="164396" y="309405"/>
                      </a:lnTo>
                      <a:lnTo>
                        <a:pt x="164673" y="311100"/>
                      </a:lnTo>
                      <a:lnTo>
                        <a:pt x="165097" y="316740"/>
                      </a:lnTo>
                      <a:lnTo>
                        <a:pt x="164502" y="318051"/>
                      </a:lnTo>
                      <a:lnTo>
                        <a:pt x="162009" y="320668"/>
                      </a:lnTo>
                      <a:lnTo>
                        <a:pt x="163158" y="320937"/>
                      </a:lnTo>
                      <a:lnTo>
                        <a:pt x="166434" y="318557"/>
                      </a:lnTo>
                      <a:lnTo>
                        <a:pt x="168056" y="317636"/>
                      </a:lnTo>
                      <a:lnTo>
                        <a:pt x="172082" y="316356"/>
                      </a:lnTo>
                      <a:lnTo>
                        <a:pt x="173035" y="315509"/>
                      </a:lnTo>
                      <a:lnTo>
                        <a:pt x="173728" y="314254"/>
                      </a:lnTo>
                      <a:lnTo>
                        <a:pt x="175163" y="310806"/>
                      </a:lnTo>
                      <a:lnTo>
                        <a:pt x="176197" y="307123"/>
                      </a:lnTo>
                      <a:lnTo>
                        <a:pt x="177020" y="305591"/>
                      </a:lnTo>
                      <a:lnTo>
                        <a:pt x="178178" y="304376"/>
                      </a:lnTo>
                      <a:lnTo>
                        <a:pt x="179335" y="304181"/>
                      </a:lnTo>
                      <a:lnTo>
                        <a:pt x="183564" y="306707"/>
                      </a:lnTo>
                      <a:lnTo>
                        <a:pt x="186278" y="305493"/>
                      </a:lnTo>
                      <a:lnTo>
                        <a:pt x="187044" y="301679"/>
                      </a:lnTo>
                      <a:lnTo>
                        <a:pt x="187664" y="296120"/>
                      </a:lnTo>
                      <a:lnTo>
                        <a:pt x="188145" y="294621"/>
                      </a:lnTo>
                      <a:lnTo>
                        <a:pt x="189693" y="293170"/>
                      </a:lnTo>
                      <a:lnTo>
                        <a:pt x="191560" y="293635"/>
                      </a:lnTo>
                      <a:lnTo>
                        <a:pt x="194102" y="295631"/>
                      </a:lnTo>
                      <a:lnTo>
                        <a:pt x="196450" y="296292"/>
                      </a:lnTo>
                      <a:lnTo>
                        <a:pt x="197322" y="294678"/>
                      </a:lnTo>
                      <a:lnTo>
                        <a:pt x="198153" y="291516"/>
                      </a:lnTo>
                      <a:lnTo>
                        <a:pt x="199090" y="291532"/>
                      </a:lnTo>
                      <a:lnTo>
                        <a:pt x="202260" y="292575"/>
                      </a:lnTo>
                      <a:lnTo>
                        <a:pt x="205316" y="291891"/>
                      </a:lnTo>
                      <a:lnTo>
                        <a:pt x="206172" y="288085"/>
                      </a:lnTo>
                      <a:lnTo>
                        <a:pt x="205610" y="284018"/>
                      </a:lnTo>
                      <a:lnTo>
                        <a:pt x="203214" y="272160"/>
                      </a:lnTo>
                      <a:lnTo>
                        <a:pt x="204640" y="269520"/>
                      </a:lnTo>
                      <a:lnTo>
                        <a:pt x="205862" y="269447"/>
                      </a:lnTo>
                      <a:lnTo>
                        <a:pt x="208878" y="272600"/>
                      </a:lnTo>
                      <a:lnTo>
                        <a:pt x="214689" y="276863"/>
                      </a:lnTo>
                      <a:lnTo>
                        <a:pt x="216620" y="279471"/>
                      </a:lnTo>
                      <a:lnTo>
                        <a:pt x="217949" y="282600"/>
                      </a:lnTo>
                      <a:close/>
                      <a:moveTo>
                        <a:pt x="182929" y="268550"/>
                      </a:moveTo>
                      <a:lnTo>
                        <a:pt x="182693" y="269658"/>
                      </a:lnTo>
                      <a:lnTo>
                        <a:pt x="180737" y="269569"/>
                      </a:lnTo>
                      <a:lnTo>
                        <a:pt x="180044" y="269740"/>
                      </a:lnTo>
                      <a:lnTo>
                        <a:pt x="178210" y="272560"/>
                      </a:lnTo>
                      <a:lnTo>
                        <a:pt x="177118" y="273277"/>
                      </a:lnTo>
                      <a:lnTo>
                        <a:pt x="171226" y="274214"/>
                      </a:lnTo>
                      <a:lnTo>
                        <a:pt x="166597" y="273472"/>
                      </a:lnTo>
                      <a:lnTo>
                        <a:pt x="165016" y="271916"/>
                      </a:lnTo>
                      <a:lnTo>
                        <a:pt x="163989" y="269341"/>
                      </a:lnTo>
                      <a:lnTo>
                        <a:pt x="163663" y="267645"/>
                      </a:lnTo>
                      <a:lnTo>
                        <a:pt x="164829" y="265795"/>
                      </a:lnTo>
                      <a:lnTo>
                        <a:pt x="165945" y="264565"/>
                      </a:lnTo>
                      <a:lnTo>
                        <a:pt x="169685" y="262136"/>
                      </a:lnTo>
                      <a:lnTo>
                        <a:pt x="170533" y="260286"/>
                      </a:lnTo>
                      <a:lnTo>
                        <a:pt x="172497" y="258053"/>
                      </a:lnTo>
                      <a:lnTo>
                        <a:pt x="176539" y="257311"/>
                      </a:lnTo>
                      <a:lnTo>
                        <a:pt x="176922" y="257874"/>
                      </a:lnTo>
                      <a:lnTo>
                        <a:pt x="177461" y="258224"/>
                      </a:lnTo>
                      <a:lnTo>
                        <a:pt x="178267" y="258322"/>
                      </a:lnTo>
                      <a:lnTo>
                        <a:pt x="180264" y="260164"/>
                      </a:lnTo>
                      <a:lnTo>
                        <a:pt x="182521" y="261329"/>
                      </a:lnTo>
                      <a:lnTo>
                        <a:pt x="181976" y="265779"/>
                      </a:lnTo>
                      <a:lnTo>
                        <a:pt x="182644" y="267279"/>
                      </a:lnTo>
                      <a:lnTo>
                        <a:pt x="182929" y="268550"/>
                      </a:lnTo>
                      <a:close/>
                      <a:moveTo>
                        <a:pt x="146646" y="290342"/>
                      </a:moveTo>
                      <a:lnTo>
                        <a:pt x="145000" y="290668"/>
                      </a:lnTo>
                      <a:lnTo>
                        <a:pt x="143264" y="290497"/>
                      </a:lnTo>
                      <a:lnTo>
                        <a:pt x="142099" y="289014"/>
                      </a:lnTo>
                      <a:lnTo>
                        <a:pt x="140086" y="282633"/>
                      </a:lnTo>
                      <a:lnTo>
                        <a:pt x="137747" y="281084"/>
                      </a:lnTo>
                      <a:lnTo>
                        <a:pt x="135074" y="279903"/>
                      </a:lnTo>
                      <a:lnTo>
                        <a:pt x="133737" y="278908"/>
                      </a:lnTo>
                      <a:lnTo>
                        <a:pt x="132548" y="277710"/>
                      </a:lnTo>
                      <a:lnTo>
                        <a:pt x="128791" y="271345"/>
                      </a:lnTo>
                      <a:lnTo>
                        <a:pt x="128505" y="267450"/>
                      </a:lnTo>
                      <a:lnTo>
                        <a:pt x="129149" y="265249"/>
                      </a:lnTo>
                      <a:lnTo>
                        <a:pt x="130290" y="263269"/>
                      </a:lnTo>
                      <a:lnTo>
                        <a:pt x="131578" y="262739"/>
                      </a:lnTo>
                      <a:lnTo>
                        <a:pt x="134675" y="262666"/>
                      </a:lnTo>
                      <a:lnTo>
                        <a:pt x="136280" y="262405"/>
                      </a:lnTo>
                      <a:lnTo>
                        <a:pt x="139817" y="259487"/>
                      </a:lnTo>
                      <a:lnTo>
                        <a:pt x="140070" y="258338"/>
                      </a:lnTo>
                      <a:lnTo>
                        <a:pt x="140086" y="253538"/>
                      </a:lnTo>
                      <a:lnTo>
                        <a:pt x="139735" y="250180"/>
                      </a:lnTo>
                      <a:lnTo>
                        <a:pt x="138872" y="246904"/>
                      </a:lnTo>
                      <a:lnTo>
                        <a:pt x="139817" y="245405"/>
                      </a:lnTo>
                      <a:lnTo>
                        <a:pt x="141064" y="243921"/>
                      </a:lnTo>
                      <a:lnTo>
                        <a:pt x="142360" y="241028"/>
                      </a:lnTo>
                      <a:lnTo>
                        <a:pt x="142620" y="238991"/>
                      </a:lnTo>
                      <a:lnTo>
                        <a:pt x="142653" y="236864"/>
                      </a:lnTo>
                      <a:lnTo>
                        <a:pt x="142987" y="235332"/>
                      </a:lnTo>
                      <a:lnTo>
                        <a:pt x="144006" y="234574"/>
                      </a:lnTo>
                      <a:lnTo>
                        <a:pt x="148896" y="232251"/>
                      </a:lnTo>
                      <a:lnTo>
                        <a:pt x="149760" y="232088"/>
                      </a:lnTo>
                      <a:lnTo>
                        <a:pt x="156059" y="234231"/>
                      </a:lnTo>
                      <a:lnTo>
                        <a:pt x="157347" y="237459"/>
                      </a:lnTo>
                      <a:lnTo>
                        <a:pt x="157469" y="238518"/>
                      </a:lnTo>
                      <a:lnTo>
                        <a:pt x="156483" y="242104"/>
                      </a:lnTo>
                      <a:lnTo>
                        <a:pt x="155619" y="244517"/>
                      </a:lnTo>
                      <a:lnTo>
                        <a:pt x="153492" y="248241"/>
                      </a:lnTo>
                      <a:lnTo>
                        <a:pt x="151919" y="252275"/>
                      </a:lnTo>
                      <a:lnTo>
                        <a:pt x="150746" y="258338"/>
                      </a:lnTo>
                      <a:lnTo>
                        <a:pt x="149996" y="260311"/>
                      </a:lnTo>
                      <a:lnTo>
                        <a:pt x="148024" y="264100"/>
                      </a:lnTo>
                      <a:lnTo>
                        <a:pt x="147412" y="266187"/>
                      </a:lnTo>
                      <a:lnTo>
                        <a:pt x="147429" y="270702"/>
                      </a:lnTo>
                      <a:lnTo>
                        <a:pt x="147103" y="272372"/>
                      </a:lnTo>
                      <a:lnTo>
                        <a:pt x="147119" y="273978"/>
                      </a:lnTo>
                      <a:lnTo>
                        <a:pt x="151039" y="281492"/>
                      </a:lnTo>
                      <a:lnTo>
                        <a:pt x="151381" y="282682"/>
                      </a:lnTo>
                      <a:lnTo>
                        <a:pt x="151341" y="284018"/>
                      </a:lnTo>
                      <a:lnTo>
                        <a:pt x="150664" y="285697"/>
                      </a:lnTo>
                      <a:lnTo>
                        <a:pt x="149075" y="288590"/>
                      </a:lnTo>
                      <a:lnTo>
                        <a:pt x="148171" y="289601"/>
                      </a:lnTo>
                      <a:lnTo>
                        <a:pt x="146646" y="290342"/>
                      </a:lnTo>
                      <a:close/>
                      <a:moveTo>
                        <a:pt x="152588" y="278729"/>
                      </a:moveTo>
                      <a:lnTo>
                        <a:pt x="151626" y="279528"/>
                      </a:lnTo>
                      <a:lnTo>
                        <a:pt x="151235" y="277539"/>
                      </a:lnTo>
                      <a:lnTo>
                        <a:pt x="151504" y="274850"/>
                      </a:lnTo>
                      <a:lnTo>
                        <a:pt x="153411" y="265461"/>
                      </a:lnTo>
                      <a:lnTo>
                        <a:pt x="152971" y="263114"/>
                      </a:lnTo>
                      <a:lnTo>
                        <a:pt x="156149" y="257882"/>
                      </a:lnTo>
                      <a:lnTo>
                        <a:pt x="158097" y="252976"/>
                      </a:lnTo>
                      <a:lnTo>
                        <a:pt x="161031" y="247817"/>
                      </a:lnTo>
                      <a:lnTo>
                        <a:pt x="161414" y="245144"/>
                      </a:lnTo>
                      <a:lnTo>
                        <a:pt x="164005" y="240051"/>
                      </a:lnTo>
                      <a:lnTo>
                        <a:pt x="166458" y="233017"/>
                      </a:lnTo>
                      <a:lnTo>
                        <a:pt x="166320" y="230695"/>
                      </a:lnTo>
                      <a:lnTo>
                        <a:pt x="166956" y="229537"/>
                      </a:lnTo>
                      <a:lnTo>
                        <a:pt x="167298" y="227777"/>
                      </a:lnTo>
                      <a:lnTo>
                        <a:pt x="167379" y="226285"/>
                      </a:lnTo>
                      <a:lnTo>
                        <a:pt x="169148" y="223669"/>
                      </a:lnTo>
                      <a:lnTo>
                        <a:pt x="169629" y="225365"/>
                      </a:lnTo>
                      <a:lnTo>
                        <a:pt x="169107" y="228706"/>
                      </a:lnTo>
                      <a:lnTo>
                        <a:pt x="169189" y="230312"/>
                      </a:lnTo>
                      <a:lnTo>
                        <a:pt x="169506" y="231061"/>
                      </a:lnTo>
                      <a:lnTo>
                        <a:pt x="169523" y="234166"/>
                      </a:lnTo>
                      <a:lnTo>
                        <a:pt x="168887" y="238934"/>
                      </a:lnTo>
                      <a:lnTo>
                        <a:pt x="169474" y="244435"/>
                      </a:lnTo>
                      <a:lnTo>
                        <a:pt x="168317" y="250042"/>
                      </a:lnTo>
                      <a:lnTo>
                        <a:pt x="167004" y="252560"/>
                      </a:lnTo>
                      <a:lnTo>
                        <a:pt x="165065" y="254337"/>
                      </a:lnTo>
                      <a:lnTo>
                        <a:pt x="162954" y="255453"/>
                      </a:lnTo>
                      <a:lnTo>
                        <a:pt x="160770" y="258241"/>
                      </a:lnTo>
                      <a:lnTo>
                        <a:pt x="159344" y="261501"/>
                      </a:lnTo>
                      <a:lnTo>
                        <a:pt x="159115" y="264475"/>
                      </a:lnTo>
                      <a:lnTo>
                        <a:pt x="155635" y="274499"/>
                      </a:lnTo>
                      <a:lnTo>
                        <a:pt x="152588" y="278729"/>
                      </a:lnTo>
                      <a:close/>
                      <a:moveTo>
                        <a:pt x="2290" y="309152"/>
                      </a:moveTo>
                      <a:lnTo>
                        <a:pt x="0" y="311328"/>
                      </a:lnTo>
                      <a:lnTo>
                        <a:pt x="253" y="308639"/>
                      </a:lnTo>
                      <a:lnTo>
                        <a:pt x="929" y="306104"/>
                      </a:lnTo>
                      <a:lnTo>
                        <a:pt x="3260" y="300904"/>
                      </a:lnTo>
                      <a:lnTo>
                        <a:pt x="4939" y="299307"/>
                      </a:lnTo>
                      <a:lnTo>
                        <a:pt x="7726" y="295216"/>
                      </a:lnTo>
                      <a:lnTo>
                        <a:pt x="9291" y="293236"/>
                      </a:lnTo>
                      <a:lnTo>
                        <a:pt x="13056" y="289324"/>
                      </a:lnTo>
                      <a:lnTo>
                        <a:pt x="16520" y="285037"/>
                      </a:lnTo>
                      <a:lnTo>
                        <a:pt x="17685" y="284711"/>
                      </a:lnTo>
                      <a:lnTo>
                        <a:pt x="18965" y="284646"/>
                      </a:lnTo>
                      <a:lnTo>
                        <a:pt x="19967" y="284157"/>
                      </a:lnTo>
                      <a:lnTo>
                        <a:pt x="22233" y="281834"/>
                      </a:lnTo>
                      <a:lnTo>
                        <a:pt x="27905" y="274116"/>
                      </a:lnTo>
                      <a:lnTo>
                        <a:pt x="32607" y="268354"/>
                      </a:lnTo>
                      <a:lnTo>
                        <a:pt x="37424" y="261068"/>
                      </a:lnTo>
                      <a:lnTo>
                        <a:pt x="39714" y="258950"/>
                      </a:lnTo>
                      <a:lnTo>
                        <a:pt x="40333" y="258167"/>
                      </a:lnTo>
                      <a:lnTo>
                        <a:pt x="44767" y="251452"/>
                      </a:lnTo>
                      <a:lnTo>
                        <a:pt x="46160" y="250482"/>
                      </a:lnTo>
                      <a:lnTo>
                        <a:pt x="47725" y="249773"/>
                      </a:lnTo>
                      <a:lnTo>
                        <a:pt x="48792" y="248860"/>
                      </a:lnTo>
                      <a:lnTo>
                        <a:pt x="49722" y="247719"/>
                      </a:lnTo>
                      <a:lnTo>
                        <a:pt x="51287" y="244794"/>
                      </a:lnTo>
                      <a:lnTo>
                        <a:pt x="51922" y="241379"/>
                      </a:lnTo>
                      <a:lnTo>
                        <a:pt x="51523" y="239456"/>
                      </a:lnTo>
                      <a:lnTo>
                        <a:pt x="50651" y="236603"/>
                      </a:lnTo>
                      <a:lnTo>
                        <a:pt x="51751" y="232724"/>
                      </a:lnTo>
                      <a:lnTo>
                        <a:pt x="52623" y="230931"/>
                      </a:lnTo>
                      <a:lnTo>
                        <a:pt x="55712" y="223042"/>
                      </a:lnTo>
                      <a:lnTo>
                        <a:pt x="56600" y="221453"/>
                      </a:lnTo>
                      <a:lnTo>
                        <a:pt x="57888" y="222447"/>
                      </a:lnTo>
                      <a:lnTo>
                        <a:pt x="58059" y="223857"/>
                      </a:lnTo>
                      <a:lnTo>
                        <a:pt x="57423" y="227182"/>
                      </a:lnTo>
                      <a:lnTo>
                        <a:pt x="57366" y="228853"/>
                      </a:lnTo>
                      <a:lnTo>
                        <a:pt x="58100" y="230548"/>
                      </a:lnTo>
                      <a:lnTo>
                        <a:pt x="57228" y="233335"/>
                      </a:lnTo>
                      <a:lnTo>
                        <a:pt x="59452" y="240768"/>
                      </a:lnTo>
                      <a:lnTo>
                        <a:pt x="61139" y="245470"/>
                      </a:lnTo>
                      <a:lnTo>
                        <a:pt x="61197" y="247018"/>
                      </a:lnTo>
                      <a:lnTo>
                        <a:pt x="58931" y="249830"/>
                      </a:lnTo>
                      <a:lnTo>
                        <a:pt x="57570" y="250678"/>
                      </a:lnTo>
                      <a:lnTo>
                        <a:pt x="54652" y="251427"/>
                      </a:lnTo>
                      <a:lnTo>
                        <a:pt x="53332" y="252243"/>
                      </a:lnTo>
                      <a:lnTo>
                        <a:pt x="51229" y="254524"/>
                      </a:lnTo>
                      <a:lnTo>
                        <a:pt x="49917" y="257532"/>
                      </a:lnTo>
                      <a:lnTo>
                        <a:pt x="49591" y="259080"/>
                      </a:lnTo>
                      <a:lnTo>
                        <a:pt x="48915" y="260278"/>
                      </a:lnTo>
                      <a:lnTo>
                        <a:pt x="42908" y="262316"/>
                      </a:lnTo>
                      <a:lnTo>
                        <a:pt x="40072" y="263652"/>
                      </a:lnTo>
                      <a:lnTo>
                        <a:pt x="38768" y="264654"/>
                      </a:lnTo>
                      <a:lnTo>
                        <a:pt x="38100" y="266284"/>
                      </a:lnTo>
                      <a:lnTo>
                        <a:pt x="38564" y="269161"/>
                      </a:lnTo>
                      <a:lnTo>
                        <a:pt x="33512" y="279536"/>
                      </a:lnTo>
                      <a:lnTo>
                        <a:pt x="31882" y="282250"/>
                      </a:lnTo>
                      <a:lnTo>
                        <a:pt x="30162" y="284556"/>
                      </a:lnTo>
                      <a:lnTo>
                        <a:pt x="28044" y="286202"/>
                      </a:lnTo>
                      <a:lnTo>
                        <a:pt x="25061" y="287213"/>
                      </a:lnTo>
                      <a:lnTo>
                        <a:pt x="22697" y="289226"/>
                      </a:lnTo>
                      <a:lnTo>
                        <a:pt x="21100" y="292771"/>
                      </a:lnTo>
                      <a:lnTo>
                        <a:pt x="19119" y="295982"/>
                      </a:lnTo>
                      <a:lnTo>
                        <a:pt x="16617" y="298362"/>
                      </a:lnTo>
                      <a:lnTo>
                        <a:pt x="13920" y="300456"/>
                      </a:lnTo>
                      <a:lnTo>
                        <a:pt x="11434" y="301988"/>
                      </a:lnTo>
                      <a:lnTo>
                        <a:pt x="8761" y="303064"/>
                      </a:lnTo>
                      <a:lnTo>
                        <a:pt x="7954" y="304458"/>
                      </a:lnTo>
                      <a:lnTo>
                        <a:pt x="7376" y="306186"/>
                      </a:lnTo>
                      <a:lnTo>
                        <a:pt x="6210" y="307001"/>
                      </a:lnTo>
                      <a:lnTo>
                        <a:pt x="4800" y="307473"/>
                      </a:lnTo>
                      <a:lnTo>
                        <a:pt x="2290" y="309152"/>
                      </a:lnTo>
                      <a:close/>
                      <a:moveTo>
                        <a:pt x="182456" y="221567"/>
                      </a:moveTo>
                      <a:lnTo>
                        <a:pt x="184184" y="222626"/>
                      </a:lnTo>
                      <a:lnTo>
                        <a:pt x="186164" y="222203"/>
                      </a:lnTo>
                      <a:lnTo>
                        <a:pt x="188561" y="219806"/>
                      </a:lnTo>
                      <a:lnTo>
                        <a:pt x="191266" y="220678"/>
                      </a:lnTo>
                      <a:lnTo>
                        <a:pt x="192847" y="224207"/>
                      </a:lnTo>
                      <a:lnTo>
                        <a:pt x="193662" y="225544"/>
                      </a:lnTo>
                      <a:lnTo>
                        <a:pt x="194110" y="227858"/>
                      </a:lnTo>
                      <a:lnTo>
                        <a:pt x="193988" y="233400"/>
                      </a:lnTo>
                      <a:lnTo>
                        <a:pt x="193328" y="238420"/>
                      </a:lnTo>
                      <a:lnTo>
                        <a:pt x="193833" y="239456"/>
                      </a:lnTo>
                      <a:lnTo>
                        <a:pt x="195080" y="240360"/>
                      </a:lnTo>
                      <a:lnTo>
                        <a:pt x="196156" y="241477"/>
                      </a:lnTo>
                      <a:lnTo>
                        <a:pt x="197069" y="242895"/>
                      </a:lnTo>
                      <a:lnTo>
                        <a:pt x="197647" y="244484"/>
                      </a:lnTo>
                      <a:lnTo>
                        <a:pt x="197884" y="248339"/>
                      </a:lnTo>
                      <a:lnTo>
                        <a:pt x="199440" y="251590"/>
                      </a:lnTo>
                      <a:lnTo>
                        <a:pt x="199644" y="252854"/>
                      </a:lnTo>
                      <a:lnTo>
                        <a:pt x="199269" y="254182"/>
                      </a:lnTo>
                      <a:lnTo>
                        <a:pt x="196670" y="253921"/>
                      </a:lnTo>
                      <a:lnTo>
                        <a:pt x="196466" y="255046"/>
                      </a:lnTo>
                      <a:lnTo>
                        <a:pt x="196531" y="256423"/>
                      </a:lnTo>
                      <a:lnTo>
                        <a:pt x="195602" y="255559"/>
                      </a:lnTo>
                      <a:lnTo>
                        <a:pt x="194078" y="252381"/>
                      </a:lnTo>
                      <a:lnTo>
                        <a:pt x="192676" y="251052"/>
                      </a:lnTo>
                      <a:lnTo>
                        <a:pt x="193108" y="256203"/>
                      </a:lnTo>
                      <a:lnTo>
                        <a:pt x="193581" y="258664"/>
                      </a:lnTo>
                      <a:lnTo>
                        <a:pt x="193654" y="261142"/>
                      </a:lnTo>
                      <a:lnTo>
                        <a:pt x="191234" y="259251"/>
                      </a:lnTo>
                      <a:lnTo>
                        <a:pt x="188349" y="258078"/>
                      </a:lnTo>
                      <a:lnTo>
                        <a:pt x="187558" y="257067"/>
                      </a:lnTo>
                      <a:lnTo>
                        <a:pt x="187819" y="253848"/>
                      </a:lnTo>
                      <a:lnTo>
                        <a:pt x="187778" y="252250"/>
                      </a:lnTo>
                      <a:lnTo>
                        <a:pt x="186490" y="248860"/>
                      </a:lnTo>
                      <a:lnTo>
                        <a:pt x="188006" y="241542"/>
                      </a:lnTo>
                      <a:lnTo>
                        <a:pt x="187974" y="240051"/>
                      </a:lnTo>
                      <a:lnTo>
                        <a:pt x="187705" y="238543"/>
                      </a:lnTo>
                      <a:lnTo>
                        <a:pt x="186515" y="235576"/>
                      </a:lnTo>
                      <a:lnTo>
                        <a:pt x="184640" y="233091"/>
                      </a:lnTo>
                      <a:lnTo>
                        <a:pt x="183475" y="233082"/>
                      </a:lnTo>
                      <a:lnTo>
                        <a:pt x="180664" y="234826"/>
                      </a:lnTo>
                      <a:lnTo>
                        <a:pt x="179237" y="234248"/>
                      </a:lnTo>
                      <a:lnTo>
                        <a:pt x="178398" y="227394"/>
                      </a:lnTo>
                      <a:lnTo>
                        <a:pt x="177257" y="220735"/>
                      </a:lnTo>
                      <a:lnTo>
                        <a:pt x="176393" y="219032"/>
                      </a:lnTo>
                      <a:lnTo>
                        <a:pt x="175831" y="217248"/>
                      </a:lnTo>
                      <a:lnTo>
                        <a:pt x="176385" y="215764"/>
                      </a:lnTo>
                      <a:lnTo>
                        <a:pt x="177461" y="216376"/>
                      </a:lnTo>
                      <a:lnTo>
                        <a:pt x="179001" y="218119"/>
                      </a:lnTo>
                      <a:lnTo>
                        <a:pt x="180859" y="219122"/>
                      </a:lnTo>
                      <a:lnTo>
                        <a:pt x="181788" y="220002"/>
                      </a:lnTo>
                      <a:lnTo>
                        <a:pt x="182456" y="221567"/>
                      </a:lnTo>
                      <a:close/>
                      <a:moveTo>
                        <a:pt x="130909" y="213344"/>
                      </a:moveTo>
                      <a:lnTo>
                        <a:pt x="133794" y="214884"/>
                      </a:lnTo>
                      <a:lnTo>
                        <a:pt x="136614" y="213556"/>
                      </a:lnTo>
                      <a:lnTo>
                        <a:pt x="139385" y="213930"/>
                      </a:lnTo>
                      <a:lnTo>
                        <a:pt x="141691" y="215935"/>
                      </a:lnTo>
                      <a:lnTo>
                        <a:pt x="140942" y="217207"/>
                      </a:lnTo>
                      <a:lnTo>
                        <a:pt x="140787" y="218600"/>
                      </a:lnTo>
                      <a:lnTo>
                        <a:pt x="145954" y="215569"/>
                      </a:lnTo>
                      <a:lnTo>
                        <a:pt x="147331" y="215748"/>
                      </a:lnTo>
                      <a:lnTo>
                        <a:pt x="147282" y="218559"/>
                      </a:lnTo>
                      <a:lnTo>
                        <a:pt x="146989" y="220947"/>
                      </a:lnTo>
                      <a:lnTo>
                        <a:pt x="146361" y="223270"/>
                      </a:lnTo>
                      <a:lnTo>
                        <a:pt x="145269" y="225984"/>
                      </a:lnTo>
                      <a:lnTo>
                        <a:pt x="143810" y="228413"/>
                      </a:lnTo>
                      <a:lnTo>
                        <a:pt x="141879" y="230181"/>
                      </a:lnTo>
                      <a:lnTo>
                        <a:pt x="139597" y="231257"/>
                      </a:lnTo>
                      <a:lnTo>
                        <a:pt x="138513" y="232243"/>
                      </a:lnTo>
                      <a:lnTo>
                        <a:pt x="138187" y="233718"/>
                      </a:lnTo>
                      <a:lnTo>
                        <a:pt x="138220" y="235576"/>
                      </a:lnTo>
                      <a:lnTo>
                        <a:pt x="137706" y="237263"/>
                      </a:lnTo>
                      <a:lnTo>
                        <a:pt x="135294" y="237948"/>
                      </a:lnTo>
                      <a:lnTo>
                        <a:pt x="131553" y="241249"/>
                      </a:lnTo>
                      <a:lnTo>
                        <a:pt x="123509" y="243335"/>
                      </a:lnTo>
                      <a:lnTo>
                        <a:pt x="121301" y="244761"/>
                      </a:lnTo>
                      <a:lnTo>
                        <a:pt x="119891" y="246619"/>
                      </a:lnTo>
                      <a:lnTo>
                        <a:pt x="118326" y="248298"/>
                      </a:lnTo>
                      <a:lnTo>
                        <a:pt x="117479" y="248722"/>
                      </a:lnTo>
                      <a:lnTo>
                        <a:pt x="117079" y="247923"/>
                      </a:lnTo>
                      <a:lnTo>
                        <a:pt x="116973" y="247238"/>
                      </a:lnTo>
                      <a:lnTo>
                        <a:pt x="118122" y="242862"/>
                      </a:lnTo>
                      <a:lnTo>
                        <a:pt x="117935" y="241037"/>
                      </a:lnTo>
                      <a:lnTo>
                        <a:pt x="117397" y="239268"/>
                      </a:lnTo>
                      <a:lnTo>
                        <a:pt x="117739" y="235812"/>
                      </a:lnTo>
                      <a:lnTo>
                        <a:pt x="119133" y="232569"/>
                      </a:lnTo>
                      <a:lnTo>
                        <a:pt x="119891" y="228999"/>
                      </a:lnTo>
                      <a:lnTo>
                        <a:pt x="120103" y="222097"/>
                      </a:lnTo>
                      <a:lnTo>
                        <a:pt x="121195" y="212496"/>
                      </a:lnTo>
                      <a:lnTo>
                        <a:pt x="121138" y="211347"/>
                      </a:lnTo>
                      <a:lnTo>
                        <a:pt x="120290" y="210051"/>
                      </a:lnTo>
                      <a:lnTo>
                        <a:pt x="117161" y="209008"/>
                      </a:lnTo>
                      <a:lnTo>
                        <a:pt x="115930" y="208022"/>
                      </a:lnTo>
                      <a:lnTo>
                        <a:pt x="116550" y="206099"/>
                      </a:lnTo>
                      <a:lnTo>
                        <a:pt x="117731" y="204795"/>
                      </a:lnTo>
                      <a:lnTo>
                        <a:pt x="119353" y="204852"/>
                      </a:lnTo>
                      <a:lnTo>
                        <a:pt x="120787" y="206074"/>
                      </a:lnTo>
                      <a:lnTo>
                        <a:pt x="125848" y="208592"/>
                      </a:lnTo>
                      <a:lnTo>
                        <a:pt x="128529" y="210703"/>
                      </a:lnTo>
                      <a:lnTo>
                        <a:pt x="130909" y="213344"/>
                      </a:lnTo>
                      <a:close/>
                      <a:moveTo>
                        <a:pt x="198935" y="185708"/>
                      </a:moveTo>
                      <a:lnTo>
                        <a:pt x="200704" y="188177"/>
                      </a:lnTo>
                      <a:lnTo>
                        <a:pt x="201127" y="189970"/>
                      </a:lnTo>
                      <a:lnTo>
                        <a:pt x="200948" y="191951"/>
                      </a:lnTo>
                      <a:lnTo>
                        <a:pt x="201739" y="192831"/>
                      </a:lnTo>
                      <a:lnTo>
                        <a:pt x="203157" y="193067"/>
                      </a:lnTo>
                      <a:lnTo>
                        <a:pt x="204950" y="194070"/>
                      </a:lnTo>
                      <a:lnTo>
                        <a:pt x="206303" y="195903"/>
                      </a:lnTo>
                      <a:lnTo>
                        <a:pt x="205496" y="197590"/>
                      </a:lnTo>
                      <a:lnTo>
                        <a:pt x="205732" y="200043"/>
                      </a:lnTo>
                      <a:lnTo>
                        <a:pt x="204330" y="203132"/>
                      </a:lnTo>
                      <a:lnTo>
                        <a:pt x="204518" y="208609"/>
                      </a:lnTo>
                      <a:lnTo>
                        <a:pt x="205333" y="210361"/>
                      </a:lnTo>
                      <a:lnTo>
                        <a:pt x="205406" y="212121"/>
                      </a:lnTo>
                      <a:lnTo>
                        <a:pt x="205202" y="213971"/>
                      </a:lnTo>
                      <a:lnTo>
                        <a:pt x="205552" y="215487"/>
                      </a:lnTo>
                      <a:lnTo>
                        <a:pt x="207721" y="220507"/>
                      </a:lnTo>
                      <a:lnTo>
                        <a:pt x="208120" y="222186"/>
                      </a:lnTo>
                      <a:lnTo>
                        <a:pt x="207460" y="223498"/>
                      </a:lnTo>
                      <a:lnTo>
                        <a:pt x="207240" y="224745"/>
                      </a:lnTo>
                      <a:lnTo>
                        <a:pt x="208576" y="224884"/>
                      </a:lnTo>
                      <a:lnTo>
                        <a:pt x="210475" y="226970"/>
                      </a:lnTo>
                      <a:lnTo>
                        <a:pt x="211600" y="229725"/>
                      </a:lnTo>
                      <a:lnTo>
                        <a:pt x="211266" y="230450"/>
                      </a:lnTo>
                      <a:lnTo>
                        <a:pt x="209742" y="228298"/>
                      </a:lnTo>
                      <a:lnTo>
                        <a:pt x="208593" y="227956"/>
                      </a:lnTo>
                      <a:lnTo>
                        <a:pt x="203719" y="228543"/>
                      </a:lnTo>
                      <a:lnTo>
                        <a:pt x="200736" y="227647"/>
                      </a:lnTo>
                      <a:lnTo>
                        <a:pt x="198796" y="227557"/>
                      </a:lnTo>
                      <a:lnTo>
                        <a:pt x="196881" y="223873"/>
                      </a:lnTo>
                      <a:lnTo>
                        <a:pt x="195194" y="223254"/>
                      </a:lnTo>
                      <a:lnTo>
                        <a:pt x="193866" y="221616"/>
                      </a:lnTo>
                      <a:lnTo>
                        <a:pt x="191658" y="217443"/>
                      </a:lnTo>
                      <a:lnTo>
                        <a:pt x="190957" y="215047"/>
                      </a:lnTo>
                      <a:lnTo>
                        <a:pt x="192489" y="212635"/>
                      </a:lnTo>
                      <a:lnTo>
                        <a:pt x="192970" y="210695"/>
                      </a:lnTo>
                      <a:lnTo>
                        <a:pt x="192896" y="208804"/>
                      </a:lnTo>
                      <a:lnTo>
                        <a:pt x="191421" y="209122"/>
                      </a:lnTo>
                      <a:lnTo>
                        <a:pt x="190150" y="208486"/>
                      </a:lnTo>
                      <a:lnTo>
                        <a:pt x="188577" y="206164"/>
                      </a:lnTo>
                      <a:lnTo>
                        <a:pt x="187957" y="204827"/>
                      </a:lnTo>
                      <a:lnTo>
                        <a:pt x="186808" y="203703"/>
                      </a:lnTo>
                      <a:lnTo>
                        <a:pt x="184999" y="201054"/>
                      </a:lnTo>
                      <a:lnTo>
                        <a:pt x="182391" y="200019"/>
                      </a:lnTo>
                      <a:lnTo>
                        <a:pt x="181340" y="199294"/>
                      </a:lnTo>
                      <a:lnTo>
                        <a:pt x="179270" y="197069"/>
                      </a:lnTo>
                      <a:lnTo>
                        <a:pt x="177754" y="194306"/>
                      </a:lnTo>
                      <a:lnTo>
                        <a:pt x="176287" y="189465"/>
                      </a:lnTo>
                      <a:lnTo>
                        <a:pt x="175513" y="184453"/>
                      </a:lnTo>
                      <a:lnTo>
                        <a:pt x="182236" y="185757"/>
                      </a:lnTo>
                      <a:lnTo>
                        <a:pt x="189041" y="185504"/>
                      </a:lnTo>
                      <a:lnTo>
                        <a:pt x="196735" y="184355"/>
                      </a:lnTo>
                      <a:lnTo>
                        <a:pt x="198935" y="185708"/>
                      </a:lnTo>
                      <a:close/>
                      <a:moveTo>
                        <a:pt x="161169" y="192994"/>
                      </a:moveTo>
                      <a:lnTo>
                        <a:pt x="165920" y="196580"/>
                      </a:lnTo>
                      <a:lnTo>
                        <a:pt x="169189" y="202700"/>
                      </a:lnTo>
                      <a:lnTo>
                        <a:pt x="169572" y="207403"/>
                      </a:lnTo>
                      <a:lnTo>
                        <a:pt x="169319" y="209196"/>
                      </a:lnTo>
                      <a:lnTo>
                        <a:pt x="167770" y="207182"/>
                      </a:lnTo>
                      <a:lnTo>
                        <a:pt x="164429" y="204314"/>
                      </a:lnTo>
                      <a:lnTo>
                        <a:pt x="162098" y="203678"/>
                      </a:lnTo>
                      <a:lnTo>
                        <a:pt x="161381" y="203165"/>
                      </a:lnTo>
                      <a:lnTo>
                        <a:pt x="161650" y="201625"/>
                      </a:lnTo>
                      <a:lnTo>
                        <a:pt x="160134" y="200190"/>
                      </a:lnTo>
                      <a:lnTo>
                        <a:pt x="159947" y="199603"/>
                      </a:lnTo>
                      <a:lnTo>
                        <a:pt x="158570" y="198968"/>
                      </a:lnTo>
                      <a:lnTo>
                        <a:pt x="156565" y="195749"/>
                      </a:lnTo>
                      <a:lnTo>
                        <a:pt x="155146" y="195145"/>
                      </a:lnTo>
                      <a:lnTo>
                        <a:pt x="153777" y="195822"/>
                      </a:lnTo>
                      <a:lnTo>
                        <a:pt x="150648" y="200598"/>
                      </a:lnTo>
                      <a:lnTo>
                        <a:pt x="147307" y="203955"/>
                      </a:lnTo>
                      <a:lnTo>
                        <a:pt x="147258" y="202668"/>
                      </a:lnTo>
                      <a:lnTo>
                        <a:pt x="148619" y="198470"/>
                      </a:lnTo>
                      <a:lnTo>
                        <a:pt x="149474" y="191771"/>
                      </a:lnTo>
                      <a:lnTo>
                        <a:pt x="150012" y="189734"/>
                      </a:lnTo>
                      <a:lnTo>
                        <a:pt x="149328" y="186727"/>
                      </a:lnTo>
                      <a:lnTo>
                        <a:pt x="149254" y="184037"/>
                      </a:lnTo>
                      <a:lnTo>
                        <a:pt x="151748" y="185276"/>
                      </a:lnTo>
                      <a:lnTo>
                        <a:pt x="154869" y="186523"/>
                      </a:lnTo>
                      <a:lnTo>
                        <a:pt x="157249" y="188226"/>
                      </a:lnTo>
                      <a:lnTo>
                        <a:pt x="157640" y="189375"/>
                      </a:lnTo>
                      <a:lnTo>
                        <a:pt x="161169" y="192994"/>
                      </a:lnTo>
                      <a:close/>
                      <a:moveTo>
                        <a:pt x="86461" y="156850"/>
                      </a:moveTo>
                      <a:lnTo>
                        <a:pt x="87732" y="157102"/>
                      </a:lnTo>
                      <a:lnTo>
                        <a:pt x="91693" y="156198"/>
                      </a:lnTo>
                      <a:lnTo>
                        <a:pt x="93315" y="156654"/>
                      </a:lnTo>
                      <a:lnTo>
                        <a:pt x="94398" y="158390"/>
                      </a:lnTo>
                      <a:lnTo>
                        <a:pt x="95751" y="158936"/>
                      </a:lnTo>
                      <a:lnTo>
                        <a:pt x="96827" y="159833"/>
                      </a:lnTo>
                      <a:lnTo>
                        <a:pt x="98824" y="158284"/>
                      </a:lnTo>
                      <a:lnTo>
                        <a:pt x="100837" y="160053"/>
                      </a:lnTo>
                      <a:lnTo>
                        <a:pt x="102646" y="163353"/>
                      </a:lnTo>
                      <a:lnTo>
                        <a:pt x="104765" y="165692"/>
                      </a:lnTo>
                      <a:lnTo>
                        <a:pt x="106762" y="167428"/>
                      </a:lnTo>
                      <a:lnTo>
                        <a:pt x="107153" y="168716"/>
                      </a:lnTo>
                      <a:lnTo>
                        <a:pt x="105947" y="170810"/>
                      </a:lnTo>
                      <a:lnTo>
                        <a:pt x="105572" y="173483"/>
                      </a:lnTo>
                      <a:lnTo>
                        <a:pt x="105694" y="176352"/>
                      </a:lnTo>
                      <a:lnTo>
                        <a:pt x="107210" y="182383"/>
                      </a:lnTo>
                      <a:lnTo>
                        <a:pt x="106688" y="184021"/>
                      </a:lnTo>
                      <a:lnTo>
                        <a:pt x="105164" y="186336"/>
                      </a:lnTo>
                      <a:lnTo>
                        <a:pt x="104024" y="188903"/>
                      </a:lnTo>
                      <a:lnTo>
                        <a:pt x="104178" y="189938"/>
                      </a:lnTo>
                      <a:lnTo>
                        <a:pt x="103730" y="190785"/>
                      </a:lnTo>
                      <a:lnTo>
                        <a:pt x="103575" y="192611"/>
                      </a:lnTo>
                      <a:lnTo>
                        <a:pt x="102654" y="192236"/>
                      </a:lnTo>
                      <a:lnTo>
                        <a:pt x="101806" y="192521"/>
                      </a:lnTo>
                      <a:lnTo>
                        <a:pt x="100967" y="193336"/>
                      </a:lnTo>
                      <a:lnTo>
                        <a:pt x="99680" y="195088"/>
                      </a:lnTo>
                      <a:lnTo>
                        <a:pt x="97659" y="194559"/>
                      </a:lnTo>
                      <a:lnTo>
                        <a:pt x="96713" y="194045"/>
                      </a:lnTo>
                      <a:lnTo>
                        <a:pt x="96477" y="192521"/>
                      </a:lnTo>
                      <a:lnTo>
                        <a:pt x="95882" y="191454"/>
                      </a:lnTo>
                      <a:lnTo>
                        <a:pt x="95018" y="190818"/>
                      </a:lnTo>
                      <a:lnTo>
                        <a:pt x="92883" y="188194"/>
                      </a:lnTo>
                      <a:lnTo>
                        <a:pt x="91880" y="186221"/>
                      </a:lnTo>
                      <a:lnTo>
                        <a:pt x="91872" y="184119"/>
                      </a:lnTo>
                      <a:lnTo>
                        <a:pt x="91318" y="182163"/>
                      </a:lnTo>
                      <a:lnTo>
                        <a:pt x="90210" y="180411"/>
                      </a:lnTo>
                      <a:lnTo>
                        <a:pt x="88751" y="179066"/>
                      </a:lnTo>
                      <a:lnTo>
                        <a:pt x="88262" y="177778"/>
                      </a:lnTo>
                      <a:lnTo>
                        <a:pt x="88074" y="176246"/>
                      </a:lnTo>
                      <a:lnTo>
                        <a:pt x="87944" y="172342"/>
                      </a:lnTo>
                      <a:lnTo>
                        <a:pt x="85882" y="167469"/>
                      </a:lnTo>
                      <a:lnTo>
                        <a:pt x="85157" y="166295"/>
                      </a:lnTo>
                      <a:lnTo>
                        <a:pt x="83217" y="165089"/>
                      </a:lnTo>
                      <a:lnTo>
                        <a:pt x="81620" y="163541"/>
                      </a:lnTo>
                      <a:lnTo>
                        <a:pt x="80927" y="161992"/>
                      </a:lnTo>
                      <a:lnTo>
                        <a:pt x="80308" y="159482"/>
                      </a:lnTo>
                      <a:lnTo>
                        <a:pt x="79867" y="159132"/>
                      </a:lnTo>
                      <a:lnTo>
                        <a:pt x="78621" y="159238"/>
                      </a:lnTo>
                      <a:lnTo>
                        <a:pt x="77398" y="158920"/>
                      </a:lnTo>
                      <a:lnTo>
                        <a:pt x="77765" y="157078"/>
                      </a:lnTo>
                      <a:lnTo>
                        <a:pt x="78963" y="155733"/>
                      </a:lnTo>
                      <a:lnTo>
                        <a:pt x="80625" y="155562"/>
                      </a:lnTo>
                      <a:lnTo>
                        <a:pt x="85206" y="156312"/>
                      </a:lnTo>
                      <a:lnTo>
                        <a:pt x="86461" y="156850"/>
                      </a:lnTo>
                      <a:close/>
                      <a:moveTo>
                        <a:pt x="96313" y="0"/>
                      </a:moveTo>
                      <a:lnTo>
                        <a:pt x="100103" y="1597"/>
                      </a:lnTo>
                      <a:lnTo>
                        <a:pt x="108489" y="7343"/>
                      </a:lnTo>
                      <a:lnTo>
                        <a:pt x="111570" y="8769"/>
                      </a:lnTo>
                      <a:lnTo>
                        <a:pt x="114765" y="9837"/>
                      </a:lnTo>
                      <a:lnTo>
                        <a:pt x="117299" y="10155"/>
                      </a:lnTo>
                      <a:lnTo>
                        <a:pt x="119541" y="8834"/>
                      </a:lnTo>
                      <a:lnTo>
                        <a:pt x="120502" y="7490"/>
                      </a:lnTo>
                      <a:lnTo>
                        <a:pt x="122230" y="3961"/>
                      </a:lnTo>
                      <a:lnTo>
                        <a:pt x="124080" y="3529"/>
                      </a:lnTo>
                      <a:lnTo>
                        <a:pt x="125180" y="4817"/>
                      </a:lnTo>
                      <a:lnTo>
                        <a:pt x="126027" y="6536"/>
                      </a:lnTo>
                      <a:lnTo>
                        <a:pt x="126410" y="9071"/>
                      </a:lnTo>
                      <a:lnTo>
                        <a:pt x="125889" y="11711"/>
                      </a:lnTo>
                      <a:lnTo>
                        <a:pt x="124129" y="14083"/>
                      </a:lnTo>
                      <a:lnTo>
                        <a:pt x="123045" y="16935"/>
                      </a:lnTo>
                      <a:lnTo>
                        <a:pt x="122344" y="26381"/>
                      </a:lnTo>
                      <a:lnTo>
                        <a:pt x="122368" y="29201"/>
                      </a:lnTo>
                      <a:lnTo>
                        <a:pt x="122939" y="31922"/>
                      </a:lnTo>
                      <a:lnTo>
                        <a:pt x="124471" y="36242"/>
                      </a:lnTo>
                      <a:lnTo>
                        <a:pt x="125270" y="37456"/>
                      </a:lnTo>
                      <a:lnTo>
                        <a:pt x="127592" y="38996"/>
                      </a:lnTo>
                      <a:lnTo>
                        <a:pt x="128212" y="40162"/>
                      </a:lnTo>
                      <a:lnTo>
                        <a:pt x="128342" y="42256"/>
                      </a:lnTo>
                      <a:lnTo>
                        <a:pt x="128709" y="44106"/>
                      </a:lnTo>
                      <a:lnTo>
                        <a:pt x="130208" y="44807"/>
                      </a:lnTo>
                      <a:lnTo>
                        <a:pt x="131472" y="45736"/>
                      </a:lnTo>
                      <a:lnTo>
                        <a:pt x="131007" y="47782"/>
                      </a:lnTo>
                      <a:lnTo>
                        <a:pt x="130200" y="49860"/>
                      </a:lnTo>
                      <a:lnTo>
                        <a:pt x="129149" y="54986"/>
                      </a:lnTo>
                      <a:lnTo>
                        <a:pt x="124202" y="66836"/>
                      </a:lnTo>
                      <a:lnTo>
                        <a:pt x="123917" y="69387"/>
                      </a:lnTo>
                      <a:lnTo>
                        <a:pt x="121945" y="74480"/>
                      </a:lnTo>
                      <a:lnTo>
                        <a:pt x="117976" y="75304"/>
                      </a:lnTo>
                      <a:lnTo>
                        <a:pt x="113363" y="77765"/>
                      </a:lnTo>
                      <a:lnTo>
                        <a:pt x="110796" y="79680"/>
                      </a:lnTo>
                      <a:lnTo>
                        <a:pt x="108571" y="82166"/>
                      </a:lnTo>
                      <a:lnTo>
                        <a:pt x="107723" y="85417"/>
                      </a:lnTo>
                      <a:lnTo>
                        <a:pt x="108465" y="86901"/>
                      </a:lnTo>
                      <a:lnTo>
                        <a:pt x="108921" y="88490"/>
                      </a:lnTo>
                      <a:lnTo>
                        <a:pt x="108872" y="90201"/>
                      </a:lnTo>
                      <a:lnTo>
                        <a:pt x="108179" y="91619"/>
                      </a:lnTo>
                      <a:lnTo>
                        <a:pt x="105963" y="95091"/>
                      </a:lnTo>
                      <a:lnTo>
                        <a:pt x="105026" y="97919"/>
                      </a:lnTo>
                      <a:lnTo>
                        <a:pt x="104031" y="99191"/>
                      </a:lnTo>
                      <a:lnTo>
                        <a:pt x="103542" y="100731"/>
                      </a:lnTo>
                      <a:lnTo>
                        <a:pt x="103714" y="102499"/>
                      </a:lnTo>
                      <a:lnTo>
                        <a:pt x="104610" y="104031"/>
                      </a:lnTo>
                      <a:lnTo>
                        <a:pt x="107307" y="110649"/>
                      </a:lnTo>
                      <a:lnTo>
                        <a:pt x="110193" y="117038"/>
                      </a:lnTo>
                      <a:lnTo>
                        <a:pt x="110820" y="117764"/>
                      </a:lnTo>
                      <a:lnTo>
                        <a:pt x="111057" y="118619"/>
                      </a:lnTo>
                      <a:lnTo>
                        <a:pt x="109345" y="120315"/>
                      </a:lnTo>
                      <a:lnTo>
                        <a:pt x="109378" y="123371"/>
                      </a:lnTo>
                      <a:lnTo>
                        <a:pt x="109891" y="126402"/>
                      </a:lnTo>
                      <a:lnTo>
                        <a:pt x="112450" y="133933"/>
                      </a:lnTo>
                      <a:lnTo>
                        <a:pt x="112817" y="135946"/>
                      </a:lnTo>
                      <a:lnTo>
                        <a:pt x="113656" y="137592"/>
                      </a:lnTo>
                      <a:lnTo>
                        <a:pt x="114968" y="139132"/>
                      </a:lnTo>
                      <a:lnTo>
                        <a:pt x="116411" y="140428"/>
                      </a:lnTo>
                      <a:lnTo>
                        <a:pt x="120584" y="142661"/>
                      </a:lnTo>
                      <a:lnTo>
                        <a:pt x="122181" y="143093"/>
                      </a:lnTo>
                      <a:lnTo>
                        <a:pt x="123852" y="143174"/>
                      </a:lnTo>
                      <a:lnTo>
                        <a:pt x="124275" y="141675"/>
                      </a:lnTo>
                      <a:lnTo>
                        <a:pt x="125742" y="141170"/>
                      </a:lnTo>
                      <a:lnTo>
                        <a:pt x="125417" y="139687"/>
                      </a:lnTo>
                      <a:lnTo>
                        <a:pt x="123631" y="137657"/>
                      </a:lnTo>
                      <a:lnTo>
                        <a:pt x="123566" y="136549"/>
                      </a:lnTo>
                      <a:lnTo>
                        <a:pt x="124487" y="135726"/>
                      </a:lnTo>
                      <a:lnTo>
                        <a:pt x="125620" y="135245"/>
                      </a:lnTo>
                      <a:lnTo>
                        <a:pt x="128130" y="133028"/>
                      </a:lnTo>
                      <a:lnTo>
                        <a:pt x="130787" y="131243"/>
                      </a:lnTo>
                      <a:lnTo>
                        <a:pt x="134169" y="131398"/>
                      </a:lnTo>
                      <a:lnTo>
                        <a:pt x="137486" y="132392"/>
                      </a:lnTo>
                      <a:lnTo>
                        <a:pt x="139841" y="133419"/>
                      </a:lnTo>
                      <a:lnTo>
                        <a:pt x="141773" y="135326"/>
                      </a:lnTo>
                      <a:lnTo>
                        <a:pt x="143769" y="138619"/>
                      </a:lnTo>
                      <a:lnTo>
                        <a:pt x="145163" y="142262"/>
                      </a:lnTo>
                      <a:lnTo>
                        <a:pt x="145163" y="143998"/>
                      </a:lnTo>
                      <a:lnTo>
                        <a:pt x="144829" y="145734"/>
                      </a:lnTo>
                      <a:lnTo>
                        <a:pt x="144894" y="147453"/>
                      </a:lnTo>
                      <a:lnTo>
                        <a:pt x="145937" y="148627"/>
                      </a:lnTo>
                      <a:lnTo>
                        <a:pt x="149148" y="148716"/>
                      </a:lnTo>
                      <a:lnTo>
                        <a:pt x="150786" y="146011"/>
                      </a:lnTo>
                      <a:lnTo>
                        <a:pt x="150982" y="142963"/>
                      </a:lnTo>
                      <a:lnTo>
                        <a:pt x="149833" y="141781"/>
                      </a:lnTo>
                      <a:lnTo>
                        <a:pt x="150363" y="140281"/>
                      </a:lnTo>
                      <a:lnTo>
                        <a:pt x="151349" y="139165"/>
                      </a:lnTo>
                      <a:lnTo>
                        <a:pt x="152767" y="140167"/>
                      </a:lnTo>
                      <a:lnTo>
                        <a:pt x="154120" y="142066"/>
                      </a:lnTo>
                      <a:lnTo>
                        <a:pt x="159099" y="144120"/>
                      </a:lnTo>
                      <a:lnTo>
                        <a:pt x="160371" y="144169"/>
                      </a:lnTo>
                      <a:lnTo>
                        <a:pt x="161405" y="144552"/>
                      </a:lnTo>
                      <a:lnTo>
                        <a:pt x="163622" y="145986"/>
                      </a:lnTo>
                      <a:lnTo>
                        <a:pt x="164665" y="147127"/>
                      </a:lnTo>
                      <a:lnTo>
                        <a:pt x="163386" y="149499"/>
                      </a:lnTo>
                      <a:lnTo>
                        <a:pt x="158464" y="150020"/>
                      </a:lnTo>
                      <a:lnTo>
                        <a:pt x="157029" y="151797"/>
                      </a:lnTo>
                      <a:lnTo>
                        <a:pt x="158480" y="155366"/>
                      </a:lnTo>
                      <a:lnTo>
                        <a:pt x="160851" y="158300"/>
                      </a:lnTo>
                      <a:lnTo>
                        <a:pt x="162367" y="160672"/>
                      </a:lnTo>
                      <a:lnTo>
                        <a:pt x="163720" y="163223"/>
                      </a:lnTo>
                      <a:lnTo>
                        <a:pt x="163655" y="165578"/>
                      </a:lnTo>
                      <a:lnTo>
                        <a:pt x="162872" y="168039"/>
                      </a:lnTo>
                      <a:lnTo>
                        <a:pt x="165049" y="167844"/>
                      </a:lnTo>
                      <a:lnTo>
                        <a:pt x="167094" y="168365"/>
                      </a:lnTo>
                      <a:lnTo>
                        <a:pt x="169930" y="170419"/>
                      </a:lnTo>
                      <a:lnTo>
                        <a:pt x="170802" y="170631"/>
                      </a:lnTo>
                      <a:lnTo>
                        <a:pt x="171748" y="170297"/>
                      </a:lnTo>
                      <a:lnTo>
                        <a:pt x="171609" y="177721"/>
                      </a:lnTo>
                      <a:lnTo>
                        <a:pt x="169685" y="184510"/>
                      </a:lnTo>
                      <a:lnTo>
                        <a:pt x="167249" y="183662"/>
                      </a:lnTo>
                      <a:lnTo>
                        <a:pt x="165179" y="180794"/>
                      </a:lnTo>
                      <a:lnTo>
                        <a:pt x="165595" y="177289"/>
                      </a:lnTo>
                      <a:lnTo>
                        <a:pt x="166931" y="173907"/>
                      </a:lnTo>
                      <a:lnTo>
                        <a:pt x="166165" y="173198"/>
                      </a:lnTo>
                      <a:lnTo>
                        <a:pt x="164829" y="173483"/>
                      </a:lnTo>
                      <a:lnTo>
                        <a:pt x="163296" y="174250"/>
                      </a:lnTo>
                      <a:lnTo>
                        <a:pt x="161650" y="174510"/>
                      </a:lnTo>
                      <a:lnTo>
                        <a:pt x="158936" y="174062"/>
                      </a:lnTo>
                      <a:lnTo>
                        <a:pt x="153370" y="170378"/>
                      </a:lnTo>
                      <a:lnTo>
                        <a:pt x="151104" y="170036"/>
                      </a:lnTo>
                      <a:lnTo>
                        <a:pt x="150599" y="168374"/>
                      </a:lnTo>
                      <a:lnTo>
                        <a:pt x="150738" y="164837"/>
                      </a:lnTo>
                      <a:lnTo>
                        <a:pt x="148513" y="160656"/>
                      </a:lnTo>
                      <a:lnTo>
                        <a:pt x="148154" y="159156"/>
                      </a:lnTo>
                      <a:lnTo>
                        <a:pt x="147453" y="157974"/>
                      </a:lnTo>
                      <a:lnTo>
                        <a:pt x="140836" y="153411"/>
                      </a:lnTo>
                      <a:lnTo>
                        <a:pt x="140021" y="152645"/>
                      </a:lnTo>
                      <a:lnTo>
                        <a:pt x="137983" y="149010"/>
                      </a:lnTo>
                      <a:lnTo>
                        <a:pt x="133370" y="143827"/>
                      </a:lnTo>
                      <a:lnTo>
                        <a:pt x="132083" y="143297"/>
                      </a:lnTo>
                      <a:lnTo>
                        <a:pt x="130665" y="143150"/>
                      </a:lnTo>
                      <a:lnTo>
                        <a:pt x="130208" y="144462"/>
                      </a:lnTo>
                      <a:lnTo>
                        <a:pt x="130844" y="146483"/>
                      </a:lnTo>
                      <a:lnTo>
                        <a:pt x="131105" y="148219"/>
                      </a:lnTo>
                      <a:lnTo>
                        <a:pt x="131007" y="150037"/>
                      </a:lnTo>
                      <a:lnTo>
                        <a:pt x="131203" y="151447"/>
                      </a:lnTo>
                      <a:lnTo>
                        <a:pt x="133387" y="154323"/>
                      </a:lnTo>
                      <a:lnTo>
                        <a:pt x="133721" y="155684"/>
                      </a:lnTo>
                      <a:lnTo>
                        <a:pt x="135164" y="159384"/>
                      </a:lnTo>
                      <a:lnTo>
                        <a:pt x="135343" y="163704"/>
                      </a:lnTo>
                      <a:lnTo>
                        <a:pt x="133476" y="165488"/>
                      </a:lnTo>
                      <a:lnTo>
                        <a:pt x="131382" y="163492"/>
                      </a:lnTo>
                      <a:lnTo>
                        <a:pt x="131308" y="161862"/>
                      </a:lnTo>
                      <a:lnTo>
                        <a:pt x="130950" y="160346"/>
                      </a:lnTo>
                      <a:lnTo>
                        <a:pt x="128693" y="156426"/>
                      </a:lnTo>
                      <a:lnTo>
                        <a:pt x="127943" y="155578"/>
                      </a:lnTo>
                      <a:lnTo>
                        <a:pt x="123697" y="151699"/>
                      </a:lnTo>
                      <a:lnTo>
                        <a:pt x="120404" y="147445"/>
                      </a:lnTo>
                      <a:lnTo>
                        <a:pt x="113102" y="142906"/>
                      </a:lnTo>
                      <a:lnTo>
                        <a:pt x="112238" y="142653"/>
                      </a:lnTo>
                      <a:lnTo>
                        <a:pt x="110967" y="142995"/>
                      </a:lnTo>
                      <a:lnTo>
                        <a:pt x="109777" y="143558"/>
                      </a:lnTo>
                      <a:lnTo>
                        <a:pt x="106240" y="145799"/>
                      </a:lnTo>
                      <a:lnTo>
                        <a:pt x="105001" y="147363"/>
                      </a:lnTo>
                      <a:lnTo>
                        <a:pt x="104879" y="149760"/>
                      </a:lnTo>
                      <a:lnTo>
                        <a:pt x="102336" y="151667"/>
                      </a:lnTo>
                      <a:lnTo>
                        <a:pt x="98865" y="151936"/>
                      </a:lnTo>
                      <a:lnTo>
                        <a:pt x="96175" y="150746"/>
                      </a:lnTo>
                      <a:lnTo>
                        <a:pt x="93967" y="148366"/>
                      </a:lnTo>
                      <a:lnTo>
                        <a:pt x="92125" y="148244"/>
                      </a:lnTo>
                      <a:lnTo>
                        <a:pt x="89859" y="144511"/>
                      </a:lnTo>
                      <a:lnTo>
                        <a:pt x="87096" y="144030"/>
                      </a:lnTo>
                      <a:lnTo>
                        <a:pt x="84814" y="146948"/>
                      </a:lnTo>
                      <a:lnTo>
                        <a:pt x="84317" y="141153"/>
                      </a:lnTo>
                      <a:lnTo>
                        <a:pt x="84309" y="135294"/>
                      </a:lnTo>
                      <a:lnTo>
                        <a:pt x="84945" y="133582"/>
                      </a:lnTo>
                      <a:lnTo>
                        <a:pt x="86086" y="132156"/>
                      </a:lnTo>
                      <a:lnTo>
                        <a:pt x="91880" y="126019"/>
                      </a:lnTo>
                      <a:lnTo>
                        <a:pt x="92606" y="124047"/>
                      </a:lnTo>
                      <a:lnTo>
                        <a:pt x="92361" y="121398"/>
                      </a:lnTo>
                      <a:lnTo>
                        <a:pt x="91041" y="119239"/>
                      </a:lnTo>
                      <a:lnTo>
                        <a:pt x="88963" y="117927"/>
                      </a:lnTo>
                      <a:lnTo>
                        <a:pt x="86567" y="117389"/>
                      </a:lnTo>
                      <a:lnTo>
                        <a:pt x="84847" y="116191"/>
                      </a:lnTo>
                      <a:lnTo>
                        <a:pt x="83494" y="114202"/>
                      </a:lnTo>
                      <a:lnTo>
                        <a:pt x="82573" y="117715"/>
                      </a:lnTo>
                      <a:lnTo>
                        <a:pt x="83470" y="122931"/>
                      </a:lnTo>
                      <a:lnTo>
                        <a:pt x="83616" y="126321"/>
                      </a:lnTo>
                      <a:lnTo>
                        <a:pt x="82793" y="127592"/>
                      </a:lnTo>
                      <a:lnTo>
                        <a:pt x="81302" y="127625"/>
                      </a:lnTo>
                      <a:lnTo>
                        <a:pt x="79892" y="127225"/>
                      </a:lnTo>
                      <a:lnTo>
                        <a:pt x="78833" y="126011"/>
                      </a:lnTo>
                      <a:lnTo>
                        <a:pt x="78058" y="122515"/>
                      </a:lnTo>
                      <a:lnTo>
                        <a:pt x="76045" y="120200"/>
                      </a:lnTo>
                      <a:lnTo>
                        <a:pt x="75222" y="116884"/>
                      </a:lnTo>
                      <a:lnTo>
                        <a:pt x="74310" y="116411"/>
                      </a:lnTo>
                      <a:lnTo>
                        <a:pt x="72427" y="116663"/>
                      </a:lnTo>
                      <a:lnTo>
                        <a:pt x="71042" y="115123"/>
                      </a:lnTo>
                      <a:lnTo>
                        <a:pt x="70112" y="111252"/>
                      </a:lnTo>
                      <a:lnTo>
                        <a:pt x="69925" y="107096"/>
                      </a:lnTo>
                      <a:lnTo>
                        <a:pt x="69126" y="103599"/>
                      </a:lnTo>
                      <a:lnTo>
                        <a:pt x="68001" y="100217"/>
                      </a:lnTo>
                      <a:lnTo>
                        <a:pt x="67341" y="97463"/>
                      </a:lnTo>
                      <a:lnTo>
                        <a:pt x="66323" y="85051"/>
                      </a:lnTo>
                      <a:lnTo>
                        <a:pt x="66070" y="83910"/>
                      </a:lnTo>
                      <a:lnTo>
                        <a:pt x="65532" y="82972"/>
                      </a:lnTo>
                      <a:lnTo>
                        <a:pt x="64253" y="81562"/>
                      </a:lnTo>
                      <a:lnTo>
                        <a:pt x="63291" y="79835"/>
                      </a:lnTo>
                      <a:lnTo>
                        <a:pt x="63120" y="78425"/>
                      </a:lnTo>
                      <a:lnTo>
                        <a:pt x="63372" y="72305"/>
                      </a:lnTo>
                      <a:lnTo>
                        <a:pt x="63813" y="70829"/>
                      </a:lnTo>
                      <a:lnTo>
                        <a:pt x="64823" y="70129"/>
                      </a:lnTo>
                      <a:lnTo>
                        <a:pt x="66192" y="71318"/>
                      </a:lnTo>
                      <a:lnTo>
                        <a:pt x="67300" y="72802"/>
                      </a:lnTo>
                      <a:lnTo>
                        <a:pt x="68653" y="73519"/>
                      </a:lnTo>
                      <a:lnTo>
                        <a:pt x="69843" y="74464"/>
                      </a:lnTo>
                      <a:lnTo>
                        <a:pt x="72085" y="78075"/>
                      </a:lnTo>
                      <a:lnTo>
                        <a:pt x="72973" y="78637"/>
                      </a:lnTo>
                      <a:lnTo>
                        <a:pt x="75736" y="78523"/>
                      </a:lnTo>
                      <a:lnTo>
                        <a:pt x="77366" y="78066"/>
                      </a:lnTo>
                      <a:lnTo>
                        <a:pt x="78164" y="76746"/>
                      </a:lnTo>
                      <a:lnTo>
                        <a:pt x="78662" y="75181"/>
                      </a:lnTo>
                      <a:lnTo>
                        <a:pt x="78677" y="73323"/>
                      </a:lnTo>
                      <a:lnTo>
                        <a:pt x="77080" y="67863"/>
                      </a:lnTo>
                      <a:lnTo>
                        <a:pt x="76583" y="63926"/>
                      </a:lnTo>
                      <a:lnTo>
                        <a:pt x="76567" y="60365"/>
                      </a:lnTo>
                      <a:lnTo>
                        <a:pt x="76982" y="56804"/>
                      </a:lnTo>
                      <a:lnTo>
                        <a:pt x="79166" y="50879"/>
                      </a:lnTo>
                      <a:lnTo>
                        <a:pt x="79443" y="46763"/>
                      </a:lnTo>
                      <a:lnTo>
                        <a:pt x="79232" y="41262"/>
                      </a:lnTo>
                      <a:lnTo>
                        <a:pt x="79615" y="37986"/>
                      </a:lnTo>
                      <a:lnTo>
                        <a:pt x="79549" y="36103"/>
                      </a:lnTo>
                      <a:lnTo>
                        <a:pt x="78254" y="33137"/>
                      </a:lnTo>
                      <a:lnTo>
                        <a:pt x="77911" y="29983"/>
                      </a:lnTo>
                      <a:lnTo>
                        <a:pt x="81547" y="13887"/>
                      </a:lnTo>
                      <a:lnTo>
                        <a:pt x="82687" y="10766"/>
                      </a:lnTo>
                      <a:lnTo>
                        <a:pt x="83527" y="7555"/>
                      </a:lnTo>
                      <a:lnTo>
                        <a:pt x="83901" y="3276"/>
                      </a:lnTo>
                      <a:lnTo>
                        <a:pt x="86624" y="2103"/>
                      </a:lnTo>
                      <a:lnTo>
                        <a:pt x="89207" y="334"/>
                      </a:lnTo>
                      <a:lnTo>
                        <a:pt x="90552" y="473"/>
                      </a:lnTo>
                      <a:lnTo>
                        <a:pt x="91962" y="897"/>
                      </a:lnTo>
                      <a:lnTo>
                        <a:pt x="95099" y="16"/>
                      </a:lnTo>
                      <a:lnTo>
                        <a:pt x="96313" y="0"/>
                      </a:lnTo>
                      <a:close/>
                    </a:path>
                  </a:pathLst>
                </a:custGeom>
                <a:solidFill>
                  <a:srgbClr val="D6D6D2"/>
                </a:solidFill>
                <a:ln w="6112" cap="rnd">
                  <a:solidFill>
                    <a:srgbClr val="FFFFFF"/>
                  </a:solidFill>
                  <a:prstDash val="solid"/>
                  <a:round/>
                </a:ln>
              </p:spPr>
              <p:txBody>
                <a:bodyPr rtlCol="0" anchor="ctr"/>
                <a:lstStyle/>
                <a:p>
                  <a:endParaRPr lang="en-US"/>
                </a:p>
              </p:txBody>
            </p:sp>
            <p:sp>
              <p:nvSpPr>
                <p:cNvPr id="649" name="Freeform: Shape 648">
                  <a:extLst>
                    <a:ext uri="{FF2B5EF4-FFF2-40B4-BE49-F238E27FC236}">
                      <a16:creationId xmlns:a16="http://schemas.microsoft.com/office/drawing/2014/main" id="{D69AFAD9-BD99-49FD-BFF0-D919D307000C}"/>
                    </a:ext>
                  </a:extLst>
                </p:cNvPr>
                <p:cNvSpPr/>
                <p:nvPr/>
              </p:nvSpPr>
              <p:spPr>
                <a:xfrm>
                  <a:off x="3926304" y="4525752"/>
                  <a:ext cx="313772" cy="552747"/>
                </a:xfrm>
                <a:custGeom>
                  <a:avLst/>
                  <a:gdLst>
                    <a:gd name="connsiteX0" fmla="*/ 282013 w 313772"/>
                    <a:gd name="connsiteY0" fmla="*/ 125636 h 552747"/>
                    <a:gd name="connsiteX1" fmla="*/ 281858 w 313772"/>
                    <a:gd name="connsiteY1" fmla="*/ 127592 h 552747"/>
                    <a:gd name="connsiteX2" fmla="*/ 281068 w 313772"/>
                    <a:gd name="connsiteY2" fmla="*/ 128366 h 552747"/>
                    <a:gd name="connsiteX3" fmla="*/ 279846 w 313772"/>
                    <a:gd name="connsiteY3" fmla="*/ 128538 h 552747"/>
                    <a:gd name="connsiteX4" fmla="*/ 277971 w 313772"/>
                    <a:gd name="connsiteY4" fmla="*/ 127144 h 552747"/>
                    <a:gd name="connsiteX5" fmla="*/ 276602 w 313772"/>
                    <a:gd name="connsiteY5" fmla="*/ 127495 h 552747"/>
                    <a:gd name="connsiteX6" fmla="*/ 275233 w 313772"/>
                    <a:gd name="connsiteY6" fmla="*/ 127592 h 552747"/>
                    <a:gd name="connsiteX7" fmla="*/ 273310 w 313772"/>
                    <a:gd name="connsiteY7" fmla="*/ 125970 h 552747"/>
                    <a:gd name="connsiteX8" fmla="*/ 272641 w 313772"/>
                    <a:gd name="connsiteY8" fmla="*/ 124357 h 552747"/>
                    <a:gd name="connsiteX9" fmla="*/ 271134 w 313772"/>
                    <a:gd name="connsiteY9" fmla="*/ 123053 h 552747"/>
                    <a:gd name="connsiteX10" fmla="*/ 268004 w 313772"/>
                    <a:gd name="connsiteY10" fmla="*/ 123574 h 552747"/>
                    <a:gd name="connsiteX11" fmla="*/ 265429 w 313772"/>
                    <a:gd name="connsiteY11" fmla="*/ 123615 h 552747"/>
                    <a:gd name="connsiteX12" fmla="*/ 263269 w 313772"/>
                    <a:gd name="connsiteY12" fmla="*/ 123314 h 552747"/>
                    <a:gd name="connsiteX13" fmla="*/ 261338 w 313772"/>
                    <a:gd name="connsiteY13" fmla="*/ 123754 h 552747"/>
                    <a:gd name="connsiteX14" fmla="*/ 259683 w 313772"/>
                    <a:gd name="connsiteY14" fmla="*/ 125441 h 552747"/>
                    <a:gd name="connsiteX15" fmla="*/ 258461 w 313772"/>
                    <a:gd name="connsiteY15" fmla="*/ 127405 h 552747"/>
                    <a:gd name="connsiteX16" fmla="*/ 257018 w 313772"/>
                    <a:gd name="connsiteY16" fmla="*/ 129059 h 552747"/>
                    <a:gd name="connsiteX17" fmla="*/ 252788 w 313772"/>
                    <a:gd name="connsiteY17" fmla="*/ 130159 h 552747"/>
                    <a:gd name="connsiteX18" fmla="*/ 250539 w 313772"/>
                    <a:gd name="connsiteY18" fmla="*/ 130200 h 552747"/>
                    <a:gd name="connsiteX19" fmla="*/ 248510 w 313772"/>
                    <a:gd name="connsiteY19" fmla="*/ 131276 h 552747"/>
                    <a:gd name="connsiteX20" fmla="*/ 245495 w 313772"/>
                    <a:gd name="connsiteY20" fmla="*/ 131675 h 552747"/>
                    <a:gd name="connsiteX21" fmla="*/ 243432 w 313772"/>
                    <a:gd name="connsiteY21" fmla="*/ 132637 h 552747"/>
                    <a:gd name="connsiteX22" fmla="*/ 239790 w 313772"/>
                    <a:gd name="connsiteY22" fmla="*/ 133167 h 552747"/>
                    <a:gd name="connsiteX23" fmla="*/ 235413 w 313772"/>
                    <a:gd name="connsiteY23" fmla="*/ 133680 h 552747"/>
                    <a:gd name="connsiteX24" fmla="*/ 232968 w 313772"/>
                    <a:gd name="connsiteY24" fmla="*/ 135147 h 552747"/>
                    <a:gd name="connsiteX25" fmla="*/ 231999 w 313772"/>
                    <a:gd name="connsiteY25" fmla="*/ 135783 h 552747"/>
                    <a:gd name="connsiteX26" fmla="*/ 229521 w 313772"/>
                    <a:gd name="connsiteY26" fmla="*/ 137812 h 552747"/>
                    <a:gd name="connsiteX27" fmla="*/ 225194 w 313772"/>
                    <a:gd name="connsiteY27" fmla="*/ 141007 h 552747"/>
                    <a:gd name="connsiteX28" fmla="*/ 222814 w 313772"/>
                    <a:gd name="connsiteY28" fmla="*/ 142115 h 552747"/>
                    <a:gd name="connsiteX29" fmla="*/ 219929 w 313772"/>
                    <a:gd name="connsiteY29" fmla="*/ 145579 h 552747"/>
                    <a:gd name="connsiteX30" fmla="*/ 216473 w 313772"/>
                    <a:gd name="connsiteY30" fmla="*/ 148830 h 552747"/>
                    <a:gd name="connsiteX31" fmla="*/ 214232 w 313772"/>
                    <a:gd name="connsiteY31" fmla="*/ 150566 h 552747"/>
                    <a:gd name="connsiteX32" fmla="*/ 210923 w 313772"/>
                    <a:gd name="connsiteY32" fmla="*/ 151357 h 552747"/>
                    <a:gd name="connsiteX33" fmla="*/ 209554 w 313772"/>
                    <a:gd name="connsiteY33" fmla="*/ 152229 h 552747"/>
                    <a:gd name="connsiteX34" fmla="*/ 209057 w 313772"/>
                    <a:gd name="connsiteY34" fmla="*/ 153272 h 552747"/>
                    <a:gd name="connsiteX35" fmla="*/ 209342 w 313772"/>
                    <a:gd name="connsiteY35" fmla="*/ 154486 h 552747"/>
                    <a:gd name="connsiteX36" fmla="*/ 208788 w 313772"/>
                    <a:gd name="connsiteY36" fmla="*/ 157616 h 552747"/>
                    <a:gd name="connsiteX37" fmla="*/ 207777 w 313772"/>
                    <a:gd name="connsiteY37" fmla="*/ 163402 h 552747"/>
                    <a:gd name="connsiteX38" fmla="*/ 207500 w 313772"/>
                    <a:gd name="connsiteY38" fmla="*/ 166238 h 552747"/>
                    <a:gd name="connsiteX39" fmla="*/ 207256 w 313772"/>
                    <a:gd name="connsiteY39" fmla="*/ 167591 h 552747"/>
                    <a:gd name="connsiteX40" fmla="*/ 205072 w 313772"/>
                    <a:gd name="connsiteY40" fmla="*/ 172228 h 552747"/>
                    <a:gd name="connsiteX41" fmla="*/ 202716 w 313772"/>
                    <a:gd name="connsiteY41" fmla="*/ 176556 h 552747"/>
                    <a:gd name="connsiteX42" fmla="*/ 201567 w 313772"/>
                    <a:gd name="connsiteY42" fmla="*/ 179408 h 552747"/>
                    <a:gd name="connsiteX43" fmla="*/ 200915 w 313772"/>
                    <a:gd name="connsiteY43" fmla="*/ 181503 h 552747"/>
                    <a:gd name="connsiteX44" fmla="*/ 201641 w 313772"/>
                    <a:gd name="connsiteY44" fmla="*/ 183247 h 552747"/>
                    <a:gd name="connsiteX45" fmla="*/ 202602 w 313772"/>
                    <a:gd name="connsiteY45" fmla="*/ 186384 h 552747"/>
                    <a:gd name="connsiteX46" fmla="*/ 203401 w 313772"/>
                    <a:gd name="connsiteY46" fmla="*/ 188886 h 552747"/>
                    <a:gd name="connsiteX47" fmla="*/ 203629 w 313772"/>
                    <a:gd name="connsiteY47" fmla="*/ 190582 h 552747"/>
                    <a:gd name="connsiteX48" fmla="*/ 203360 w 313772"/>
                    <a:gd name="connsiteY48" fmla="*/ 192546 h 552747"/>
                    <a:gd name="connsiteX49" fmla="*/ 202366 w 313772"/>
                    <a:gd name="connsiteY49" fmla="*/ 194314 h 552747"/>
                    <a:gd name="connsiteX50" fmla="*/ 200801 w 313772"/>
                    <a:gd name="connsiteY50" fmla="*/ 195479 h 552747"/>
                    <a:gd name="connsiteX51" fmla="*/ 198682 w 313772"/>
                    <a:gd name="connsiteY51" fmla="*/ 195805 h 552747"/>
                    <a:gd name="connsiteX52" fmla="*/ 194363 w 313772"/>
                    <a:gd name="connsiteY52" fmla="*/ 198968 h 552747"/>
                    <a:gd name="connsiteX53" fmla="*/ 189530 w 313772"/>
                    <a:gd name="connsiteY53" fmla="*/ 203597 h 552747"/>
                    <a:gd name="connsiteX54" fmla="*/ 187957 w 313772"/>
                    <a:gd name="connsiteY54" fmla="*/ 205756 h 552747"/>
                    <a:gd name="connsiteX55" fmla="*/ 187509 w 313772"/>
                    <a:gd name="connsiteY55" fmla="*/ 207794 h 552747"/>
                    <a:gd name="connsiteX56" fmla="*/ 186800 w 313772"/>
                    <a:gd name="connsiteY56" fmla="*/ 210980 h 552747"/>
                    <a:gd name="connsiteX57" fmla="*/ 187093 w 313772"/>
                    <a:gd name="connsiteY57" fmla="*/ 212635 h 552747"/>
                    <a:gd name="connsiteX58" fmla="*/ 187949 w 313772"/>
                    <a:gd name="connsiteY58" fmla="*/ 213776 h 552747"/>
                    <a:gd name="connsiteX59" fmla="*/ 188813 w 313772"/>
                    <a:gd name="connsiteY59" fmla="*/ 216489 h 552747"/>
                    <a:gd name="connsiteX60" fmla="*/ 188886 w 313772"/>
                    <a:gd name="connsiteY60" fmla="*/ 217883 h 552747"/>
                    <a:gd name="connsiteX61" fmla="*/ 188169 w 313772"/>
                    <a:gd name="connsiteY61" fmla="*/ 218665 h 552747"/>
                    <a:gd name="connsiteX62" fmla="*/ 186800 w 313772"/>
                    <a:gd name="connsiteY62" fmla="*/ 218837 h 552747"/>
                    <a:gd name="connsiteX63" fmla="*/ 185578 w 313772"/>
                    <a:gd name="connsiteY63" fmla="*/ 219106 h 552747"/>
                    <a:gd name="connsiteX64" fmla="*/ 184640 w 313772"/>
                    <a:gd name="connsiteY64" fmla="*/ 219798 h 552747"/>
                    <a:gd name="connsiteX65" fmla="*/ 183703 w 313772"/>
                    <a:gd name="connsiteY65" fmla="*/ 219619 h 552747"/>
                    <a:gd name="connsiteX66" fmla="*/ 182847 w 313772"/>
                    <a:gd name="connsiteY66" fmla="*/ 219978 h 552747"/>
                    <a:gd name="connsiteX67" fmla="*/ 182847 w 313772"/>
                    <a:gd name="connsiteY67" fmla="*/ 221110 h 552747"/>
                    <a:gd name="connsiteX68" fmla="*/ 183133 w 313772"/>
                    <a:gd name="connsiteY68" fmla="*/ 222422 h 552747"/>
                    <a:gd name="connsiteX69" fmla="*/ 182986 w 313772"/>
                    <a:gd name="connsiteY69" fmla="*/ 223816 h 552747"/>
                    <a:gd name="connsiteX70" fmla="*/ 182407 w 313772"/>
                    <a:gd name="connsiteY70" fmla="*/ 224688 h 552747"/>
                    <a:gd name="connsiteX71" fmla="*/ 181910 w 313772"/>
                    <a:gd name="connsiteY71" fmla="*/ 225299 h 552747"/>
                    <a:gd name="connsiteX72" fmla="*/ 182407 w 313772"/>
                    <a:gd name="connsiteY72" fmla="*/ 226171 h 552747"/>
                    <a:gd name="connsiteX73" fmla="*/ 183271 w 313772"/>
                    <a:gd name="connsiteY73" fmla="*/ 226962 h 552747"/>
                    <a:gd name="connsiteX74" fmla="*/ 184567 w 313772"/>
                    <a:gd name="connsiteY74" fmla="*/ 228266 h 552747"/>
                    <a:gd name="connsiteX75" fmla="*/ 186368 w 313772"/>
                    <a:gd name="connsiteY75" fmla="*/ 230809 h 552747"/>
                    <a:gd name="connsiteX76" fmla="*/ 187737 w 313772"/>
                    <a:gd name="connsiteY76" fmla="*/ 231240 h 552747"/>
                    <a:gd name="connsiteX77" fmla="*/ 188886 w 313772"/>
                    <a:gd name="connsiteY77" fmla="*/ 232113 h 552747"/>
                    <a:gd name="connsiteX78" fmla="*/ 189033 w 313772"/>
                    <a:gd name="connsiteY78" fmla="*/ 233506 h 552747"/>
                    <a:gd name="connsiteX79" fmla="*/ 188601 w 313772"/>
                    <a:gd name="connsiteY79" fmla="*/ 234908 h 552747"/>
                    <a:gd name="connsiteX80" fmla="*/ 187599 w 313772"/>
                    <a:gd name="connsiteY80" fmla="*/ 235519 h 552747"/>
                    <a:gd name="connsiteX81" fmla="*/ 187525 w 313772"/>
                    <a:gd name="connsiteY81" fmla="*/ 236742 h 552747"/>
                    <a:gd name="connsiteX82" fmla="*/ 188886 w 313772"/>
                    <a:gd name="connsiteY82" fmla="*/ 238225 h 552747"/>
                    <a:gd name="connsiteX83" fmla="*/ 189824 w 313772"/>
                    <a:gd name="connsiteY83" fmla="*/ 239284 h 552747"/>
                    <a:gd name="connsiteX84" fmla="*/ 190769 w 313772"/>
                    <a:gd name="connsiteY84" fmla="*/ 240841 h 552747"/>
                    <a:gd name="connsiteX85" fmla="*/ 191625 w 313772"/>
                    <a:gd name="connsiteY85" fmla="*/ 243033 h 552747"/>
                    <a:gd name="connsiteX86" fmla="*/ 191625 w 313772"/>
                    <a:gd name="connsiteY86" fmla="*/ 244427 h 552747"/>
                    <a:gd name="connsiteX87" fmla="*/ 192562 w 313772"/>
                    <a:gd name="connsiteY87" fmla="*/ 246179 h 552747"/>
                    <a:gd name="connsiteX88" fmla="*/ 193141 w 313772"/>
                    <a:gd name="connsiteY88" fmla="*/ 247654 h 552747"/>
                    <a:gd name="connsiteX89" fmla="*/ 193141 w 313772"/>
                    <a:gd name="connsiteY89" fmla="*/ 249064 h 552747"/>
                    <a:gd name="connsiteX90" fmla="*/ 194656 w 313772"/>
                    <a:gd name="connsiteY90" fmla="*/ 250458 h 552747"/>
                    <a:gd name="connsiteX91" fmla="*/ 195944 w 313772"/>
                    <a:gd name="connsiteY91" fmla="*/ 251509 h 552747"/>
                    <a:gd name="connsiteX92" fmla="*/ 196881 w 313772"/>
                    <a:gd name="connsiteY92" fmla="*/ 252471 h 552747"/>
                    <a:gd name="connsiteX93" fmla="*/ 197819 w 313772"/>
                    <a:gd name="connsiteY93" fmla="*/ 253074 h 552747"/>
                    <a:gd name="connsiteX94" fmla="*/ 198039 w 313772"/>
                    <a:gd name="connsiteY94" fmla="*/ 254125 h 552747"/>
                    <a:gd name="connsiteX95" fmla="*/ 197916 w 313772"/>
                    <a:gd name="connsiteY95" fmla="*/ 255714 h 552747"/>
                    <a:gd name="connsiteX96" fmla="*/ 199261 w 313772"/>
                    <a:gd name="connsiteY96" fmla="*/ 258338 h 552747"/>
                    <a:gd name="connsiteX97" fmla="*/ 201722 w 313772"/>
                    <a:gd name="connsiteY97" fmla="*/ 260302 h 552747"/>
                    <a:gd name="connsiteX98" fmla="*/ 203719 w 313772"/>
                    <a:gd name="connsiteY98" fmla="*/ 263163 h 552747"/>
                    <a:gd name="connsiteX99" fmla="*/ 205015 w 313772"/>
                    <a:gd name="connsiteY99" fmla="*/ 265225 h 552747"/>
                    <a:gd name="connsiteX100" fmla="*/ 207403 w 313772"/>
                    <a:gd name="connsiteY100" fmla="*/ 268558 h 552747"/>
                    <a:gd name="connsiteX101" fmla="*/ 207492 w 313772"/>
                    <a:gd name="connsiteY101" fmla="*/ 272372 h 552747"/>
                    <a:gd name="connsiteX102" fmla="*/ 204534 w 313772"/>
                    <a:gd name="connsiteY102" fmla="*/ 276765 h 552747"/>
                    <a:gd name="connsiteX103" fmla="*/ 201559 w 313772"/>
                    <a:gd name="connsiteY103" fmla="*/ 281158 h 552747"/>
                    <a:gd name="connsiteX104" fmla="*/ 206425 w 313772"/>
                    <a:gd name="connsiteY104" fmla="*/ 281035 h 552747"/>
                    <a:gd name="connsiteX105" fmla="*/ 211372 w 313772"/>
                    <a:gd name="connsiteY105" fmla="*/ 281125 h 552747"/>
                    <a:gd name="connsiteX106" fmla="*/ 216547 w 313772"/>
                    <a:gd name="connsiteY106" fmla="*/ 282380 h 552747"/>
                    <a:gd name="connsiteX107" fmla="*/ 220043 w 313772"/>
                    <a:gd name="connsiteY107" fmla="*/ 283586 h 552747"/>
                    <a:gd name="connsiteX108" fmla="*/ 222162 w 313772"/>
                    <a:gd name="connsiteY108" fmla="*/ 284140 h 552747"/>
                    <a:gd name="connsiteX109" fmla="*/ 223678 w 313772"/>
                    <a:gd name="connsiteY109" fmla="*/ 285542 h 552747"/>
                    <a:gd name="connsiteX110" fmla="*/ 224395 w 313772"/>
                    <a:gd name="connsiteY110" fmla="*/ 287710 h 552747"/>
                    <a:gd name="connsiteX111" fmla="*/ 224965 w 313772"/>
                    <a:gd name="connsiteY111" fmla="*/ 289511 h 552747"/>
                    <a:gd name="connsiteX112" fmla="*/ 225112 w 313772"/>
                    <a:gd name="connsiteY112" fmla="*/ 292095 h 552747"/>
                    <a:gd name="connsiteX113" fmla="*/ 227280 w 313772"/>
                    <a:gd name="connsiteY113" fmla="*/ 294197 h 552747"/>
                    <a:gd name="connsiteX114" fmla="*/ 227117 w 313772"/>
                    <a:gd name="connsiteY114" fmla="*/ 296194 h 552747"/>
                    <a:gd name="connsiteX115" fmla="*/ 227060 w 313772"/>
                    <a:gd name="connsiteY115" fmla="*/ 299014 h 552747"/>
                    <a:gd name="connsiteX116" fmla="*/ 228021 w 313772"/>
                    <a:gd name="connsiteY116" fmla="*/ 299063 h 552747"/>
                    <a:gd name="connsiteX117" fmla="*/ 234354 w 313772"/>
                    <a:gd name="connsiteY117" fmla="*/ 299071 h 552747"/>
                    <a:gd name="connsiteX118" fmla="*/ 241281 w 313772"/>
                    <a:gd name="connsiteY118" fmla="*/ 299087 h 552747"/>
                    <a:gd name="connsiteX119" fmla="*/ 247939 w 313772"/>
                    <a:gd name="connsiteY119" fmla="*/ 298557 h 552747"/>
                    <a:gd name="connsiteX120" fmla="*/ 250466 w 313772"/>
                    <a:gd name="connsiteY120" fmla="*/ 297873 h 552747"/>
                    <a:gd name="connsiteX121" fmla="*/ 253506 w 313772"/>
                    <a:gd name="connsiteY121" fmla="*/ 294442 h 552747"/>
                    <a:gd name="connsiteX122" fmla="*/ 255331 w 313772"/>
                    <a:gd name="connsiteY122" fmla="*/ 293439 h 552747"/>
                    <a:gd name="connsiteX123" fmla="*/ 257091 w 313772"/>
                    <a:gd name="connsiteY123" fmla="*/ 291842 h 552747"/>
                    <a:gd name="connsiteX124" fmla="*/ 259227 w 313772"/>
                    <a:gd name="connsiteY124" fmla="*/ 288924 h 552747"/>
                    <a:gd name="connsiteX125" fmla="*/ 260922 w 313772"/>
                    <a:gd name="connsiteY125" fmla="*/ 287612 h 552747"/>
                    <a:gd name="connsiteX126" fmla="*/ 262356 w 313772"/>
                    <a:gd name="connsiteY126" fmla="*/ 285982 h 552747"/>
                    <a:gd name="connsiteX127" fmla="*/ 264492 w 313772"/>
                    <a:gd name="connsiteY127" fmla="*/ 284369 h 552747"/>
                    <a:gd name="connsiteX128" fmla="*/ 265372 w 313772"/>
                    <a:gd name="connsiteY128" fmla="*/ 283171 h 552747"/>
                    <a:gd name="connsiteX129" fmla="*/ 266089 w 313772"/>
                    <a:gd name="connsiteY129" fmla="*/ 282731 h 552747"/>
                    <a:gd name="connsiteX130" fmla="*/ 267743 w 313772"/>
                    <a:gd name="connsiteY130" fmla="*/ 281940 h 552747"/>
                    <a:gd name="connsiteX131" fmla="*/ 267026 w 313772"/>
                    <a:gd name="connsiteY131" fmla="*/ 283521 h 552747"/>
                    <a:gd name="connsiteX132" fmla="*/ 266480 w 313772"/>
                    <a:gd name="connsiteY132" fmla="*/ 285135 h 552747"/>
                    <a:gd name="connsiteX133" fmla="*/ 266309 w 313772"/>
                    <a:gd name="connsiteY133" fmla="*/ 287457 h 552747"/>
                    <a:gd name="connsiteX134" fmla="*/ 267099 w 313772"/>
                    <a:gd name="connsiteY134" fmla="*/ 290000 h 552747"/>
                    <a:gd name="connsiteX135" fmla="*/ 266439 w 313772"/>
                    <a:gd name="connsiteY135" fmla="*/ 291883 h 552747"/>
                    <a:gd name="connsiteX136" fmla="*/ 265372 w 313772"/>
                    <a:gd name="connsiteY136" fmla="*/ 293586 h 552747"/>
                    <a:gd name="connsiteX137" fmla="*/ 265355 w 313772"/>
                    <a:gd name="connsiteY137" fmla="*/ 298052 h 552747"/>
                    <a:gd name="connsiteX138" fmla="*/ 265331 w 313772"/>
                    <a:gd name="connsiteY138" fmla="*/ 304376 h 552747"/>
                    <a:gd name="connsiteX139" fmla="*/ 265307 w 313772"/>
                    <a:gd name="connsiteY139" fmla="*/ 309804 h 552747"/>
                    <a:gd name="connsiteX140" fmla="*/ 265290 w 313772"/>
                    <a:gd name="connsiteY140" fmla="*/ 316585 h 552747"/>
                    <a:gd name="connsiteX141" fmla="*/ 265258 w 313772"/>
                    <a:gd name="connsiteY141" fmla="*/ 324294 h 552747"/>
                    <a:gd name="connsiteX142" fmla="*/ 265233 w 313772"/>
                    <a:gd name="connsiteY142" fmla="*/ 329404 h 552747"/>
                    <a:gd name="connsiteX143" fmla="*/ 266366 w 313772"/>
                    <a:gd name="connsiteY143" fmla="*/ 328385 h 552747"/>
                    <a:gd name="connsiteX144" fmla="*/ 267939 w 313772"/>
                    <a:gd name="connsiteY144" fmla="*/ 327497 h 552747"/>
                    <a:gd name="connsiteX145" fmla="*/ 269984 w 313772"/>
                    <a:gd name="connsiteY145" fmla="*/ 329844 h 552747"/>
                    <a:gd name="connsiteX146" fmla="*/ 271435 w 313772"/>
                    <a:gd name="connsiteY146" fmla="*/ 330871 h 552747"/>
                    <a:gd name="connsiteX147" fmla="*/ 272682 w 313772"/>
                    <a:gd name="connsiteY147" fmla="*/ 331099 h 552747"/>
                    <a:gd name="connsiteX148" fmla="*/ 273970 w 313772"/>
                    <a:gd name="connsiteY148" fmla="*/ 331042 h 552747"/>
                    <a:gd name="connsiteX149" fmla="*/ 275714 w 313772"/>
                    <a:gd name="connsiteY149" fmla="*/ 330537 h 552747"/>
                    <a:gd name="connsiteX150" fmla="*/ 279520 w 313772"/>
                    <a:gd name="connsiteY150" fmla="*/ 328565 h 552747"/>
                    <a:gd name="connsiteX151" fmla="*/ 282152 w 313772"/>
                    <a:gd name="connsiteY151" fmla="*/ 326975 h 552747"/>
                    <a:gd name="connsiteX152" fmla="*/ 285143 w 313772"/>
                    <a:gd name="connsiteY152" fmla="*/ 327081 h 552747"/>
                    <a:gd name="connsiteX153" fmla="*/ 289250 w 313772"/>
                    <a:gd name="connsiteY153" fmla="*/ 327701 h 552747"/>
                    <a:gd name="connsiteX154" fmla="*/ 291614 w 313772"/>
                    <a:gd name="connsiteY154" fmla="*/ 327636 h 552747"/>
                    <a:gd name="connsiteX155" fmla="*/ 294719 w 313772"/>
                    <a:gd name="connsiteY155" fmla="*/ 334196 h 552747"/>
                    <a:gd name="connsiteX156" fmla="*/ 296993 w 313772"/>
                    <a:gd name="connsiteY156" fmla="*/ 338996 h 552747"/>
                    <a:gd name="connsiteX157" fmla="*/ 299576 w 313772"/>
                    <a:gd name="connsiteY157" fmla="*/ 344473 h 552747"/>
                    <a:gd name="connsiteX158" fmla="*/ 301662 w 313772"/>
                    <a:gd name="connsiteY158" fmla="*/ 348874 h 552747"/>
                    <a:gd name="connsiteX159" fmla="*/ 304825 w 313772"/>
                    <a:gd name="connsiteY159" fmla="*/ 355573 h 552747"/>
                    <a:gd name="connsiteX160" fmla="*/ 307555 w 313772"/>
                    <a:gd name="connsiteY160" fmla="*/ 361359 h 552747"/>
                    <a:gd name="connsiteX161" fmla="*/ 310464 w 313772"/>
                    <a:gd name="connsiteY161" fmla="*/ 367520 h 552747"/>
                    <a:gd name="connsiteX162" fmla="*/ 313773 w 313772"/>
                    <a:gd name="connsiteY162" fmla="*/ 374537 h 552747"/>
                    <a:gd name="connsiteX163" fmla="*/ 312713 w 313772"/>
                    <a:gd name="connsiteY163" fmla="*/ 376314 h 552747"/>
                    <a:gd name="connsiteX164" fmla="*/ 311850 w 313772"/>
                    <a:gd name="connsiteY164" fmla="*/ 377740 h 552747"/>
                    <a:gd name="connsiteX165" fmla="*/ 311939 w 313772"/>
                    <a:gd name="connsiteY165" fmla="*/ 380152 h 552747"/>
                    <a:gd name="connsiteX166" fmla="*/ 310635 w 313772"/>
                    <a:gd name="connsiteY166" fmla="*/ 381440 h 552747"/>
                    <a:gd name="connsiteX167" fmla="*/ 309250 w 313772"/>
                    <a:gd name="connsiteY167" fmla="*/ 382214 h 552747"/>
                    <a:gd name="connsiteX168" fmla="*/ 307612 w 313772"/>
                    <a:gd name="connsiteY168" fmla="*/ 384244 h 552747"/>
                    <a:gd name="connsiteX169" fmla="*/ 306495 w 313772"/>
                    <a:gd name="connsiteY169" fmla="*/ 386004 h 552747"/>
                    <a:gd name="connsiteX170" fmla="*/ 306454 w 313772"/>
                    <a:gd name="connsiteY170" fmla="*/ 388506 h 552747"/>
                    <a:gd name="connsiteX171" fmla="*/ 306658 w 313772"/>
                    <a:gd name="connsiteY171" fmla="*/ 401236 h 552747"/>
                    <a:gd name="connsiteX172" fmla="*/ 306381 w 313772"/>
                    <a:gd name="connsiteY172" fmla="*/ 404699 h 552747"/>
                    <a:gd name="connsiteX173" fmla="*/ 305533 w 313772"/>
                    <a:gd name="connsiteY173" fmla="*/ 407674 h 552747"/>
                    <a:gd name="connsiteX174" fmla="*/ 304653 w 313772"/>
                    <a:gd name="connsiteY174" fmla="*/ 409182 h 552747"/>
                    <a:gd name="connsiteX175" fmla="*/ 304132 w 313772"/>
                    <a:gd name="connsiteY175" fmla="*/ 410355 h 552747"/>
                    <a:gd name="connsiteX176" fmla="*/ 305395 w 313772"/>
                    <a:gd name="connsiteY176" fmla="*/ 413322 h 552747"/>
                    <a:gd name="connsiteX177" fmla="*/ 306609 w 313772"/>
                    <a:gd name="connsiteY177" fmla="*/ 419271 h 552747"/>
                    <a:gd name="connsiteX178" fmla="*/ 307522 w 313772"/>
                    <a:gd name="connsiteY178" fmla="*/ 420436 h 552747"/>
                    <a:gd name="connsiteX179" fmla="*/ 308655 w 313772"/>
                    <a:gd name="connsiteY179" fmla="*/ 422857 h 552747"/>
                    <a:gd name="connsiteX180" fmla="*/ 309177 w 313772"/>
                    <a:gd name="connsiteY180" fmla="*/ 425155 h 552747"/>
                    <a:gd name="connsiteX181" fmla="*/ 308940 w 313772"/>
                    <a:gd name="connsiteY181" fmla="*/ 426035 h 552747"/>
                    <a:gd name="connsiteX182" fmla="*/ 306666 w 313772"/>
                    <a:gd name="connsiteY182" fmla="*/ 427127 h 552747"/>
                    <a:gd name="connsiteX183" fmla="*/ 305859 w 313772"/>
                    <a:gd name="connsiteY183" fmla="*/ 428057 h 552747"/>
                    <a:gd name="connsiteX184" fmla="*/ 305639 w 313772"/>
                    <a:gd name="connsiteY184" fmla="*/ 431455 h 552747"/>
                    <a:gd name="connsiteX185" fmla="*/ 304653 w 313772"/>
                    <a:gd name="connsiteY185" fmla="*/ 432686 h 552747"/>
                    <a:gd name="connsiteX186" fmla="*/ 302999 w 313772"/>
                    <a:gd name="connsiteY186" fmla="*/ 434299 h 552747"/>
                    <a:gd name="connsiteX187" fmla="*/ 301931 w 313772"/>
                    <a:gd name="connsiteY187" fmla="*/ 436141 h 552747"/>
                    <a:gd name="connsiteX188" fmla="*/ 301027 w 313772"/>
                    <a:gd name="connsiteY188" fmla="*/ 437404 h 552747"/>
                    <a:gd name="connsiteX189" fmla="*/ 300147 w 313772"/>
                    <a:gd name="connsiteY189" fmla="*/ 438154 h 552747"/>
                    <a:gd name="connsiteX190" fmla="*/ 299706 w 313772"/>
                    <a:gd name="connsiteY190" fmla="*/ 440403 h 552747"/>
                    <a:gd name="connsiteX191" fmla="*/ 299120 w 313772"/>
                    <a:gd name="connsiteY191" fmla="*/ 442677 h 552747"/>
                    <a:gd name="connsiteX192" fmla="*/ 297050 w 313772"/>
                    <a:gd name="connsiteY192" fmla="*/ 444185 h 552747"/>
                    <a:gd name="connsiteX193" fmla="*/ 296699 w 313772"/>
                    <a:gd name="connsiteY193" fmla="*/ 446980 h 552747"/>
                    <a:gd name="connsiteX194" fmla="*/ 296675 w 313772"/>
                    <a:gd name="connsiteY194" fmla="*/ 449287 h 552747"/>
                    <a:gd name="connsiteX195" fmla="*/ 297767 w 313772"/>
                    <a:gd name="connsiteY195" fmla="*/ 451617 h 552747"/>
                    <a:gd name="connsiteX196" fmla="*/ 301328 w 313772"/>
                    <a:gd name="connsiteY196" fmla="*/ 456467 h 552747"/>
                    <a:gd name="connsiteX197" fmla="*/ 301687 w 313772"/>
                    <a:gd name="connsiteY197" fmla="*/ 457632 h 552747"/>
                    <a:gd name="connsiteX198" fmla="*/ 299666 w 313772"/>
                    <a:gd name="connsiteY198" fmla="*/ 460558 h 552747"/>
                    <a:gd name="connsiteX199" fmla="*/ 298484 w 313772"/>
                    <a:gd name="connsiteY199" fmla="*/ 462587 h 552747"/>
                    <a:gd name="connsiteX200" fmla="*/ 295591 w 313772"/>
                    <a:gd name="connsiteY200" fmla="*/ 468805 h 552747"/>
                    <a:gd name="connsiteX201" fmla="*/ 295526 w 313772"/>
                    <a:gd name="connsiteY201" fmla="*/ 469954 h 552747"/>
                    <a:gd name="connsiteX202" fmla="*/ 296251 w 313772"/>
                    <a:gd name="connsiteY202" fmla="*/ 472888 h 552747"/>
                    <a:gd name="connsiteX203" fmla="*/ 300570 w 313772"/>
                    <a:gd name="connsiteY203" fmla="*/ 485463 h 552747"/>
                    <a:gd name="connsiteX204" fmla="*/ 301304 w 313772"/>
                    <a:gd name="connsiteY204" fmla="*/ 486490 h 552747"/>
                    <a:gd name="connsiteX205" fmla="*/ 302640 w 313772"/>
                    <a:gd name="connsiteY205" fmla="*/ 487696 h 552747"/>
                    <a:gd name="connsiteX206" fmla="*/ 304825 w 313772"/>
                    <a:gd name="connsiteY206" fmla="*/ 487558 h 552747"/>
                    <a:gd name="connsiteX207" fmla="*/ 308117 w 313772"/>
                    <a:gd name="connsiteY207" fmla="*/ 488919 h 552747"/>
                    <a:gd name="connsiteX208" fmla="*/ 309714 w 313772"/>
                    <a:gd name="connsiteY208" fmla="*/ 490467 h 552747"/>
                    <a:gd name="connsiteX209" fmla="*/ 309869 w 313772"/>
                    <a:gd name="connsiteY209" fmla="*/ 491233 h 552747"/>
                    <a:gd name="connsiteX210" fmla="*/ 309494 w 313772"/>
                    <a:gd name="connsiteY210" fmla="*/ 491747 h 552747"/>
                    <a:gd name="connsiteX211" fmla="*/ 307750 w 313772"/>
                    <a:gd name="connsiteY211" fmla="*/ 492798 h 552747"/>
                    <a:gd name="connsiteX212" fmla="*/ 305819 w 313772"/>
                    <a:gd name="connsiteY212" fmla="*/ 494151 h 552747"/>
                    <a:gd name="connsiteX213" fmla="*/ 305150 w 313772"/>
                    <a:gd name="connsiteY213" fmla="*/ 495447 h 552747"/>
                    <a:gd name="connsiteX214" fmla="*/ 305020 w 313772"/>
                    <a:gd name="connsiteY214" fmla="*/ 497484 h 552747"/>
                    <a:gd name="connsiteX215" fmla="*/ 305452 w 313772"/>
                    <a:gd name="connsiteY215" fmla="*/ 500540 h 552747"/>
                    <a:gd name="connsiteX216" fmla="*/ 304613 w 313772"/>
                    <a:gd name="connsiteY216" fmla="*/ 501518 h 552747"/>
                    <a:gd name="connsiteX217" fmla="*/ 302681 w 313772"/>
                    <a:gd name="connsiteY217" fmla="*/ 502700 h 552747"/>
                    <a:gd name="connsiteX218" fmla="*/ 301019 w 313772"/>
                    <a:gd name="connsiteY218" fmla="*/ 504395 h 552747"/>
                    <a:gd name="connsiteX219" fmla="*/ 299340 w 313772"/>
                    <a:gd name="connsiteY219" fmla="*/ 507223 h 552747"/>
                    <a:gd name="connsiteX220" fmla="*/ 296504 w 313772"/>
                    <a:gd name="connsiteY220" fmla="*/ 511518 h 552747"/>
                    <a:gd name="connsiteX221" fmla="*/ 295526 w 313772"/>
                    <a:gd name="connsiteY221" fmla="*/ 512708 h 552747"/>
                    <a:gd name="connsiteX222" fmla="*/ 295094 w 313772"/>
                    <a:gd name="connsiteY222" fmla="*/ 514183 h 552747"/>
                    <a:gd name="connsiteX223" fmla="*/ 293488 w 313772"/>
                    <a:gd name="connsiteY223" fmla="*/ 514688 h 552747"/>
                    <a:gd name="connsiteX224" fmla="*/ 290473 w 313772"/>
                    <a:gd name="connsiteY224" fmla="*/ 517614 h 552747"/>
                    <a:gd name="connsiteX225" fmla="*/ 289959 w 313772"/>
                    <a:gd name="connsiteY225" fmla="*/ 519097 h 552747"/>
                    <a:gd name="connsiteX226" fmla="*/ 290448 w 313772"/>
                    <a:gd name="connsiteY226" fmla="*/ 520499 h 552747"/>
                    <a:gd name="connsiteX227" fmla="*/ 291989 w 313772"/>
                    <a:gd name="connsiteY227" fmla="*/ 521673 h 552747"/>
                    <a:gd name="connsiteX228" fmla="*/ 293024 w 313772"/>
                    <a:gd name="connsiteY228" fmla="*/ 523392 h 552747"/>
                    <a:gd name="connsiteX229" fmla="*/ 293293 w 313772"/>
                    <a:gd name="connsiteY229" fmla="*/ 525584 h 552747"/>
                    <a:gd name="connsiteX230" fmla="*/ 293293 w 313772"/>
                    <a:gd name="connsiteY230" fmla="*/ 526945 h 552747"/>
                    <a:gd name="connsiteX231" fmla="*/ 293293 w 313772"/>
                    <a:gd name="connsiteY231" fmla="*/ 526986 h 552747"/>
                    <a:gd name="connsiteX232" fmla="*/ 291426 w 313772"/>
                    <a:gd name="connsiteY232" fmla="*/ 529040 h 552747"/>
                    <a:gd name="connsiteX233" fmla="*/ 288982 w 313772"/>
                    <a:gd name="connsiteY233" fmla="*/ 531387 h 552747"/>
                    <a:gd name="connsiteX234" fmla="*/ 285974 w 313772"/>
                    <a:gd name="connsiteY234" fmla="*/ 531852 h 552747"/>
                    <a:gd name="connsiteX235" fmla="*/ 284833 w 313772"/>
                    <a:gd name="connsiteY235" fmla="*/ 533050 h 552747"/>
                    <a:gd name="connsiteX236" fmla="*/ 285094 w 313772"/>
                    <a:gd name="connsiteY236" fmla="*/ 535535 h 552747"/>
                    <a:gd name="connsiteX237" fmla="*/ 286064 w 313772"/>
                    <a:gd name="connsiteY237" fmla="*/ 539064 h 552747"/>
                    <a:gd name="connsiteX238" fmla="*/ 286064 w 313772"/>
                    <a:gd name="connsiteY238" fmla="*/ 541835 h 552747"/>
                    <a:gd name="connsiteX239" fmla="*/ 285143 w 313772"/>
                    <a:gd name="connsiteY239" fmla="*/ 545005 h 552747"/>
                    <a:gd name="connsiteX240" fmla="*/ 282991 w 313772"/>
                    <a:gd name="connsiteY240" fmla="*/ 548461 h 552747"/>
                    <a:gd name="connsiteX241" fmla="*/ 279699 w 313772"/>
                    <a:gd name="connsiteY241" fmla="*/ 550832 h 552747"/>
                    <a:gd name="connsiteX242" fmla="*/ 276610 w 313772"/>
                    <a:gd name="connsiteY242" fmla="*/ 552120 h 552747"/>
                    <a:gd name="connsiteX243" fmla="*/ 274165 w 313772"/>
                    <a:gd name="connsiteY243" fmla="*/ 552120 h 552747"/>
                    <a:gd name="connsiteX244" fmla="*/ 271802 w 313772"/>
                    <a:gd name="connsiteY244" fmla="*/ 552373 h 552747"/>
                    <a:gd name="connsiteX245" fmla="*/ 270799 w 313772"/>
                    <a:gd name="connsiteY245" fmla="*/ 552747 h 552747"/>
                    <a:gd name="connsiteX246" fmla="*/ 268974 w 313772"/>
                    <a:gd name="connsiteY246" fmla="*/ 550653 h 552747"/>
                    <a:gd name="connsiteX247" fmla="*/ 260897 w 313772"/>
                    <a:gd name="connsiteY247" fmla="*/ 543734 h 552747"/>
                    <a:gd name="connsiteX248" fmla="*/ 257809 w 313772"/>
                    <a:gd name="connsiteY248" fmla="*/ 540042 h 552747"/>
                    <a:gd name="connsiteX249" fmla="*/ 254964 w 313772"/>
                    <a:gd name="connsiteY249" fmla="*/ 538314 h 552747"/>
                    <a:gd name="connsiteX250" fmla="*/ 248013 w 313772"/>
                    <a:gd name="connsiteY250" fmla="*/ 532389 h 552747"/>
                    <a:gd name="connsiteX251" fmla="*/ 247312 w 313772"/>
                    <a:gd name="connsiteY251" fmla="*/ 530482 h 552747"/>
                    <a:gd name="connsiteX252" fmla="*/ 246456 w 313772"/>
                    <a:gd name="connsiteY252" fmla="*/ 524403 h 552747"/>
                    <a:gd name="connsiteX253" fmla="*/ 245551 w 313772"/>
                    <a:gd name="connsiteY253" fmla="*/ 522691 h 552747"/>
                    <a:gd name="connsiteX254" fmla="*/ 243164 w 313772"/>
                    <a:gd name="connsiteY254" fmla="*/ 520491 h 552747"/>
                    <a:gd name="connsiteX255" fmla="*/ 237157 w 313772"/>
                    <a:gd name="connsiteY255" fmla="*/ 517565 h 552747"/>
                    <a:gd name="connsiteX256" fmla="*/ 234826 w 313772"/>
                    <a:gd name="connsiteY256" fmla="*/ 516114 h 552747"/>
                    <a:gd name="connsiteX257" fmla="*/ 232382 w 313772"/>
                    <a:gd name="connsiteY257" fmla="*/ 513450 h 552747"/>
                    <a:gd name="connsiteX258" fmla="*/ 228804 w 313772"/>
                    <a:gd name="connsiteY258" fmla="*/ 511559 h 552747"/>
                    <a:gd name="connsiteX259" fmla="*/ 224900 w 313772"/>
                    <a:gd name="connsiteY259" fmla="*/ 507688 h 552747"/>
                    <a:gd name="connsiteX260" fmla="*/ 222569 w 313772"/>
                    <a:gd name="connsiteY260" fmla="*/ 504599 h 552747"/>
                    <a:gd name="connsiteX261" fmla="*/ 219961 w 313772"/>
                    <a:gd name="connsiteY261" fmla="*/ 502553 h 552747"/>
                    <a:gd name="connsiteX262" fmla="*/ 211869 w 313772"/>
                    <a:gd name="connsiteY262" fmla="*/ 499684 h 552747"/>
                    <a:gd name="connsiteX263" fmla="*/ 207810 w 313772"/>
                    <a:gd name="connsiteY263" fmla="*/ 496824 h 552747"/>
                    <a:gd name="connsiteX264" fmla="*/ 200223 w 313772"/>
                    <a:gd name="connsiteY264" fmla="*/ 492774 h 552747"/>
                    <a:gd name="connsiteX265" fmla="*/ 196841 w 313772"/>
                    <a:gd name="connsiteY265" fmla="*/ 490198 h 552747"/>
                    <a:gd name="connsiteX266" fmla="*/ 188715 w 313772"/>
                    <a:gd name="connsiteY266" fmla="*/ 487069 h 552747"/>
                    <a:gd name="connsiteX267" fmla="*/ 186303 w 313772"/>
                    <a:gd name="connsiteY267" fmla="*/ 485586 h 552747"/>
                    <a:gd name="connsiteX268" fmla="*/ 178308 w 313772"/>
                    <a:gd name="connsiteY268" fmla="*/ 478243 h 552747"/>
                    <a:gd name="connsiteX269" fmla="*/ 172709 w 313772"/>
                    <a:gd name="connsiteY269" fmla="*/ 475847 h 552747"/>
                    <a:gd name="connsiteX270" fmla="*/ 168194 w 313772"/>
                    <a:gd name="connsiteY270" fmla="*/ 471723 h 552747"/>
                    <a:gd name="connsiteX271" fmla="*/ 154568 w 313772"/>
                    <a:gd name="connsiteY271" fmla="*/ 462962 h 552747"/>
                    <a:gd name="connsiteX272" fmla="*/ 152433 w 313772"/>
                    <a:gd name="connsiteY272" fmla="*/ 460175 h 552747"/>
                    <a:gd name="connsiteX273" fmla="*/ 150346 w 313772"/>
                    <a:gd name="connsiteY273" fmla="*/ 455847 h 552747"/>
                    <a:gd name="connsiteX274" fmla="*/ 147314 w 313772"/>
                    <a:gd name="connsiteY274" fmla="*/ 453272 h 552747"/>
                    <a:gd name="connsiteX275" fmla="*/ 143916 w 313772"/>
                    <a:gd name="connsiteY275" fmla="*/ 447347 h 552747"/>
                    <a:gd name="connsiteX276" fmla="*/ 138863 w 313772"/>
                    <a:gd name="connsiteY276" fmla="*/ 443875 h 552747"/>
                    <a:gd name="connsiteX277" fmla="*/ 133990 w 313772"/>
                    <a:gd name="connsiteY277" fmla="*/ 439271 h 552747"/>
                    <a:gd name="connsiteX278" fmla="*/ 132197 w 313772"/>
                    <a:gd name="connsiteY278" fmla="*/ 435065 h 552747"/>
                    <a:gd name="connsiteX279" fmla="*/ 128970 w 313772"/>
                    <a:gd name="connsiteY279" fmla="*/ 429735 h 552747"/>
                    <a:gd name="connsiteX280" fmla="*/ 128016 w 313772"/>
                    <a:gd name="connsiteY280" fmla="*/ 426883 h 552747"/>
                    <a:gd name="connsiteX281" fmla="*/ 125180 w 313772"/>
                    <a:gd name="connsiteY281" fmla="*/ 424039 h 552747"/>
                    <a:gd name="connsiteX282" fmla="*/ 124984 w 313772"/>
                    <a:gd name="connsiteY282" fmla="*/ 418432 h 552747"/>
                    <a:gd name="connsiteX283" fmla="*/ 123020 w 313772"/>
                    <a:gd name="connsiteY283" fmla="*/ 415832 h 552747"/>
                    <a:gd name="connsiteX284" fmla="*/ 124430 w 313772"/>
                    <a:gd name="connsiteY284" fmla="*/ 414569 h 552747"/>
                    <a:gd name="connsiteX285" fmla="*/ 125921 w 313772"/>
                    <a:gd name="connsiteY285" fmla="*/ 413998 h 552747"/>
                    <a:gd name="connsiteX286" fmla="*/ 127788 w 313772"/>
                    <a:gd name="connsiteY286" fmla="*/ 405270 h 552747"/>
                    <a:gd name="connsiteX287" fmla="*/ 126810 w 313772"/>
                    <a:gd name="connsiteY287" fmla="*/ 400902 h 552747"/>
                    <a:gd name="connsiteX288" fmla="*/ 121749 w 313772"/>
                    <a:gd name="connsiteY288" fmla="*/ 392972 h 552747"/>
                    <a:gd name="connsiteX289" fmla="*/ 119899 w 313772"/>
                    <a:gd name="connsiteY289" fmla="*/ 389158 h 552747"/>
                    <a:gd name="connsiteX290" fmla="*/ 118579 w 313772"/>
                    <a:gd name="connsiteY290" fmla="*/ 384292 h 552747"/>
                    <a:gd name="connsiteX291" fmla="*/ 116549 w 313772"/>
                    <a:gd name="connsiteY291" fmla="*/ 381391 h 552747"/>
                    <a:gd name="connsiteX292" fmla="*/ 113558 w 313772"/>
                    <a:gd name="connsiteY292" fmla="*/ 375303 h 552747"/>
                    <a:gd name="connsiteX293" fmla="*/ 111717 w 313772"/>
                    <a:gd name="connsiteY293" fmla="*/ 369900 h 552747"/>
                    <a:gd name="connsiteX294" fmla="*/ 107699 w 313772"/>
                    <a:gd name="connsiteY294" fmla="*/ 365972 h 552747"/>
                    <a:gd name="connsiteX295" fmla="*/ 106607 w 313772"/>
                    <a:gd name="connsiteY295" fmla="*/ 364578 h 552747"/>
                    <a:gd name="connsiteX296" fmla="*/ 105996 w 313772"/>
                    <a:gd name="connsiteY296" fmla="*/ 362574 h 552747"/>
                    <a:gd name="connsiteX297" fmla="*/ 103762 w 313772"/>
                    <a:gd name="connsiteY297" fmla="*/ 361164 h 552747"/>
                    <a:gd name="connsiteX298" fmla="*/ 103640 w 313772"/>
                    <a:gd name="connsiteY298" fmla="*/ 357015 h 552747"/>
                    <a:gd name="connsiteX299" fmla="*/ 102084 w 313772"/>
                    <a:gd name="connsiteY299" fmla="*/ 349159 h 552747"/>
                    <a:gd name="connsiteX300" fmla="*/ 99859 w 313772"/>
                    <a:gd name="connsiteY300" fmla="*/ 345190 h 552747"/>
                    <a:gd name="connsiteX301" fmla="*/ 91847 w 313772"/>
                    <a:gd name="connsiteY301" fmla="*/ 337790 h 552747"/>
                    <a:gd name="connsiteX302" fmla="*/ 91717 w 313772"/>
                    <a:gd name="connsiteY302" fmla="*/ 334946 h 552747"/>
                    <a:gd name="connsiteX303" fmla="*/ 91073 w 313772"/>
                    <a:gd name="connsiteY303" fmla="*/ 329763 h 552747"/>
                    <a:gd name="connsiteX304" fmla="*/ 89297 w 313772"/>
                    <a:gd name="connsiteY304" fmla="*/ 324156 h 552747"/>
                    <a:gd name="connsiteX305" fmla="*/ 80381 w 313772"/>
                    <a:gd name="connsiteY305" fmla="*/ 306764 h 552747"/>
                    <a:gd name="connsiteX306" fmla="*/ 78148 w 313772"/>
                    <a:gd name="connsiteY306" fmla="*/ 301589 h 552747"/>
                    <a:gd name="connsiteX307" fmla="*/ 75915 w 313772"/>
                    <a:gd name="connsiteY307" fmla="*/ 293187 h 552747"/>
                    <a:gd name="connsiteX308" fmla="*/ 73902 w 313772"/>
                    <a:gd name="connsiteY308" fmla="*/ 288411 h 552747"/>
                    <a:gd name="connsiteX309" fmla="*/ 71693 w 313772"/>
                    <a:gd name="connsiteY309" fmla="*/ 279919 h 552747"/>
                    <a:gd name="connsiteX310" fmla="*/ 68360 w 313772"/>
                    <a:gd name="connsiteY310" fmla="*/ 273481 h 552747"/>
                    <a:gd name="connsiteX311" fmla="*/ 66266 w 313772"/>
                    <a:gd name="connsiteY311" fmla="*/ 267890 h 552747"/>
                    <a:gd name="connsiteX312" fmla="*/ 64032 w 313772"/>
                    <a:gd name="connsiteY312" fmla="*/ 260946 h 552747"/>
                    <a:gd name="connsiteX313" fmla="*/ 63845 w 313772"/>
                    <a:gd name="connsiteY313" fmla="*/ 257222 h 552747"/>
                    <a:gd name="connsiteX314" fmla="*/ 59795 w 313772"/>
                    <a:gd name="connsiteY314" fmla="*/ 250833 h 552747"/>
                    <a:gd name="connsiteX315" fmla="*/ 57643 w 313772"/>
                    <a:gd name="connsiteY315" fmla="*/ 244973 h 552747"/>
                    <a:gd name="connsiteX316" fmla="*/ 53862 w 313772"/>
                    <a:gd name="connsiteY316" fmla="*/ 240075 h 552747"/>
                    <a:gd name="connsiteX317" fmla="*/ 50186 w 313772"/>
                    <a:gd name="connsiteY317" fmla="*/ 236350 h 552747"/>
                    <a:gd name="connsiteX318" fmla="*/ 48589 w 313772"/>
                    <a:gd name="connsiteY318" fmla="*/ 233702 h 552747"/>
                    <a:gd name="connsiteX319" fmla="*/ 43340 w 313772"/>
                    <a:gd name="connsiteY319" fmla="*/ 221176 h 552747"/>
                    <a:gd name="connsiteX320" fmla="*/ 42623 w 313772"/>
                    <a:gd name="connsiteY320" fmla="*/ 217467 h 552747"/>
                    <a:gd name="connsiteX321" fmla="*/ 39045 w 313772"/>
                    <a:gd name="connsiteY321" fmla="*/ 210581 h 552747"/>
                    <a:gd name="connsiteX322" fmla="*/ 35508 w 313772"/>
                    <a:gd name="connsiteY322" fmla="*/ 205626 h 552747"/>
                    <a:gd name="connsiteX323" fmla="*/ 33267 w 313772"/>
                    <a:gd name="connsiteY323" fmla="*/ 201649 h 552747"/>
                    <a:gd name="connsiteX324" fmla="*/ 30407 w 313772"/>
                    <a:gd name="connsiteY324" fmla="*/ 198063 h 552747"/>
                    <a:gd name="connsiteX325" fmla="*/ 13015 w 313772"/>
                    <a:gd name="connsiteY325" fmla="*/ 187028 h 552747"/>
                    <a:gd name="connsiteX326" fmla="*/ 6895 w 313772"/>
                    <a:gd name="connsiteY326" fmla="*/ 182440 h 552747"/>
                    <a:gd name="connsiteX327" fmla="*/ 4817 w 313772"/>
                    <a:gd name="connsiteY327" fmla="*/ 180256 h 552747"/>
                    <a:gd name="connsiteX328" fmla="*/ 3863 w 313772"/>
                    <a:gd name="connsiteY328" fmla="*/ 176817 h 552747"/>
                    <a:gd name="connsiteX329" fmla="*/ 4262 w 313772"/>
                    <a:gd name="connsiteY329" fmla="*/ 174804 h 552747"/>
                    <a:gd name="connsiteX330" fmla="*/ 6064 w 313772"/>
                    <a:gd name="connsiteY330" fmla="*/ 172913 h 552747"/>
                    <a:gd name="connsiteX331" fmla="*/ 8549 w 313772"/>
                    <a:gd name="connsiteY331" fmla="*/ 174380 h 552747"/>
                    <a:gd name="connsiteX332" fmla="*/ 10057 w 313772"/>
                    <a:gd name="connsiteY332" fmla="*/ 173777 h 552747"/>
                    <a:gd name="connsiteX333" fmla="*/ 11255 w 313772"/>
                    <a:gd name="connsiteY333" fmla="*/ 171324 h 552747"/>
                    <a:gd name="connsiteX334" fmla="*/ 11271 w 313772"/>
                    <a:gd name="connsiteY334" fmla="*/ 167599 h 552747"/>
                    <a:gd name="connsiteX335" fmla="*/ 9755 w 313772"/>
                    <a:gd name="connsiteY335" fmla="*/ 162799 h 552747"/>
                    <a:gd name="connsiteX336" fmla="*/ 4181 w 313772"/>
                    <a:gd name="connsiteY336" fmla="*/ 153557 h 552747"/>
                    <a:gd name="connsiteX337" fmla="*/ 4596 w 313772"/>
                    <a:gd name="connsiteY337" fmla="*/ 151601 h 552747"/>
                    <a:gd name="connsiteX338" fmla="*/ 5648 w 313772"/>
                    <a:gd name="connsiteY338" fmla="*/ 149377 h 552747"/>
                    <a:gd name="connsiteX339" fmla="*/ 3504 w 313772"/>
                    <a:gd name="connsiteY339" fmla="*/ 144935 h 552747"/>
                    <a:gd name="connsiteX340" fmla="*/ 1165 w 313772"/>
                    <a:gd name="connsiteY340" fmla="*/ 141365 h 552747"/>
                    <a:gd name="connsiteX341" fmla="*/ 0 w 313772"/>
                    <a:gd name="connsiteY341" fmla="*/ 138627 h 552747"/>
                    <a:gd name="connsiteX342" fmla="*/ 1320 w 313772"/>
                    <a:gd name="connsiteY342" fmla="*/ 128220 h 552747"/>
                    <a:gd name="connsiteX343" fmla="*/ 2584 w 313772"/>
                    <a:gd name="connsiteY343" fmla="*/ 125579 h 552747"/>
                    <a:gd name="connsiteX344" fmla="*/ 11018 w 313772"/>
                    <a:gd name="connsiteY344" fmla="*/ 115009 h 552747"/>
                    <a:gd name="connsiteX345" fmla="*/ 13333 w 313772"/>
                    <a:gd name="connsiteY345" fmla="*/ 110494 h 552747"/>
                    <a:gd name="connsiteX346" fmla="*/ 16960 w 313772"/>
                    <a:gd name="connsiteY346" fmla="*/ 107707 h 552747"/>
                    <a:gd name="connsiteX347" fmla="*/ 20651 w 313772"/>
                    <a:gd name="connsiteY347" fmla="*/ 103453 h 552747"/>
                    <a:gd name="connsiteX348" fmla="*/ 25093 w 313772"/>
                    <a:gd name="connsiteY348" fmla="*/ 100217 h 552747"/>
                    <a:gd name="connsiteX349" fmla="*/ 25745 w 313772"/>
                    <a:gd name="connsiteY349" fmla="*/ 100771 h 552747"/>
                    <a:gd name="connsiteX350" fmla="*/ 26356 w 313772"/>
                    <a:gd name="connsiteY350" fmla="*/ 101318 h 552747"/>
                    <a:gd name="connsiteX351" fmla="*/ 26405 w 313772"/>
                    <a:gd name="connsiteY351" fmla="*/ 102401 h 552747"/>
                    <a:gd name="connsiteX352" fmla="*/ 26560 w 313772"/>
                    <a:gd name="connsiteY352" fmla="*/ 103339 h 552747"/>
                    <a:gd name="connsiteX353" fmla="*/ 27057 w 313772"/>
                    <a:gd name="connsiteY353" fmla="*/ 104243 h 552747"/>
                    <a:gd name="connsiteX354" fmla="*/ 27098 w 313772"/>
                    <a:gd name="connsiteY354" fmla="*/ 105873 h 552747"/>
                    <a:gd name="connsiteX355" fmla="*/ 27676 w 313772"/>
                    <a:gd name="connsiteY355" fmla="*/ 106965 h 552747"/>
                    <a:gd name="connsiteX356" fmla="*/ 27717 w 313772"/>
                    <a:gd name="connsiteY356" fmla="*/ 108212 h 552747"/>
                    <a:gd name="connsiteX357" fmla="*/ 27758 w 313772"/>
                    <a:gd name="connsiteY357" fmla="*/ 109883 h 552747"/>
                    <a:gd name="connsiteX358" fmla="*/ 27473 w 313772"/>
                    <a:gd name="connsiteY358" fmla="*/ 110722 h 552747"/>
                    <a:gd name="connsiteX359" fmla="*/ 27750 w 313772"/>
                    <a:gd name="connsiteY359" fmla="*/ 112189 h 552747"/>
                    <a:gd name="connsiteX360" fmla="*/ 28695 w 313772"/>
                    <a:gd name="connsiteY360" fmla="*/ 114895 h 552747"/>
                    <a:gd name="connsiteX361" fmla="*/ 28329 w 313772"/>
                    <a:gd name="connsiteY361" fmla="*/ 115742 h 552747"/>
                    <a:gd name="connsiteX362" fmla="*/ 27424 w 313772"/>
                    <a:gd name="connsiteY362" fmla="*/ 116280 h 552747"/>
                    <a:gd name="connsiteX363" fmla="*/ 26519 w 313772"/>
                    <a:gd name="connsiteY363" fmla="*/ 117022 h 552747"/>
                    <a:gd name="connsiteX364" fmla="*/ 25623 w 313772"/>
                    <a:gd name="connsiteY364" fmla="*/ 118709 h 552747"/>
                    <a:gd name="connsiteX365" fmla="*/ 24270 w 313772"/>
                    <a:gd name="connsiteY365" fmla="*/ 118660 h 552747"/>
                    <a:gd name="connsiteX366" fmla="*/ 22298 w 313772"/>
                    <a:gd name="connsiteY366" fmla="*/ 117910 h 552747"/>
                    <a:gd name="connsiteX367" fmla="*/ 20986 w 313772"/>
                    <a:gd name="connsiteY367" fmla="*/ 118856 h 552747"/>
                    <a:gd name="connsiteX368" fmla="*/ 20497 w 313772"/>
                    <a:gd name="connsiteY368" fmla="*/ 120641 h 552747"/>
                    <a:gd name="connsiteX369" fmla="*/ 20904 w 313772"/>
                    <a:gd name="connsiteY369" fmla="*/ 122124 h 552747"/>
                    <a:gd name="connsiteX370" fmla="*/ 21034 w 313772"/>
                    <a:gd name="connsiteY370" fmla="*/ 123517 h 552747"/>
                    <a:gd name="connsiteX371" fmla="*/ 21890 w 313772"/>
                    <a:gd name="connsiteY371" fmla="*/ 124699 h 552747"/>
                    <a:gd name="connsiteX372" fmla="*/ 24392 w 313772"/>
                    <a:gd name="connsiteY372" fmla="*/ 124813 h 552747"/>
                    <a:gd name="connsiteX373" fmla="*/ 22135 w 313772"/>
                    <a:gd name="connsiteY373" fmla="*/ 128627 h 552747"/>
                    <a:gd name="connsiteX374" fmla="*/ 21034 w 313772"/>
                    <a:gd name="connsiteY374" fmla="*/ 130355 h 552747"/>
                    <a:gd name="connsiteX375" fmla="*/ 21279 w 313772"/>
                    <a:gd name="connsiteY375" fmla="*/ 131439 h 552747"/>
                    <a:gd name="connsiteX376" fmla="*/ 22624 w 313772"/>
                    <a:gd name="connsiteY376" fmla="*/ 132392 h 552747"/>
                    <a:gd name="connsiteX377" fmla="*/ 23634 w 313772"/>
                    <a:gd name="connsiteY377" fmla="*/ 132458 h 552747"/>
                    <a:gd name="connsiteX378" fmla="*/ 25867 w 313772"/>
                    <a:gd name="connsiteY378" fmla="*/ 131056 h 552747"/>
                    <a:gd name="connsiteX379" fmla="*/ 27383 w 313772"/>
                    <a:gd name="connsiteY379" fmla="*/ 129018 h 552747"/>
                    <a:gd name="connsiteX380" fmla="*/ 28247 w 313772"/>
                    <a:gd name="connsiteY380" fmla="*/ 127878 h 552747"/>
                    <a:gd name="connsiteX381" fmla="*/ 29690 w 313772"/>
                    <a:gd name="connsiteY381" fmla="*/ 127429 h 552747"/>
                    <a:gd name="connsiteX382" fmla="*/ 31572 w 313772"/>
                    <a:gd name="connsiteY382" fmla="*/ 128375 h 552747"/>
                    <a:gd name="connsiteX383" fmla="*/ 34066 w 313772"/>
                    <a:gd name="connsiteY383" fmla="*/ 130265 h 552747"/>
                    <a:gd name="connsiteX384" fmla="*/ 36992 w 313772"/>
                    <a:gd name="connsiteY384" fmla="*/ 131928 h 552747"/>
                    <a:gd name="connsiteX385" fmla="*/ 38173 w 313772"/>
                    <a:gd name="connsiteY385" fmla="*/ 132833 h 552747"/>
                    <a:gd name="connsiteX386" fmla="*/ 40309 w 313772"/>
                    <a:gd name="connsiteY386" fmla="*/ 132572 h 552747"/>
                    <a:gd name="connsiteX387" fmla="*/ 42110 w 313772"/>
                    <a:gd name="connsiteY387" fmla="*/ 132197 h 552747"/>
                    <a:gd name="connsiteX388" fmla="*/ 43617 w 313772"/>
                    <a:gd name="connsiteY388" fmla="*/ 133566 h 552747"/>
                    <a:gd name="connsiteX389" fmla="*/ 45141 w 313772"/>
                    <a:gd name="connsiteY389" fmla="*/ 134715 h 552747"/>
                    <a:gd name="connsiteX390" fmla="*/ 45500 w 313772"/>
                    <a:gd name="connsiteY390" fmla="*/ 138660 h 552747"/>
                    <a:gd name="connsiteX391" fmla="*/ 46641 w 313772"/>
                    <a:gd name="connsiteY391" fmla="*/ 141528 h 552747"/>
                    <a:gd name="connsiteX392" fmla="*/ 48043 w 313772"/>
                    <a:gd name="connsiteY392" fmla="*/ 143737 h 552747"/>
                    <a:gd name="connsiteX393" fmla="*/ 49738 w 313772"/>
                    <a:gd name="connsiteY393" fmla="*/ 146377 h 552747"/>
                    <a:gd name="connsiteX394" fmla="*/ 51294 w 313772"/>
                    <a:gd name="connsiteY394" fmla="*/ 147274 h 552747"/>
                    <a:gd name="connsiteX395" fmla="*/ 53315 w 313772"/>
                    <a:gd name="connsiteY395" fmla="*/ 147290 h 552747"/>
                    <a:gd name="connsiteX396" fmla="*/ 56054 w 313772"/>
                    <a:gd name="connsiteY396" fmla="*/ 148268 h 552747"/>
                    <a:gd name="connsiteX397" fmla="*/ 57121 w 313772"/>
                    <a:gd name="connsiteY397" fmla="*/ 147616 h 552747"/>
                    <a:gd name="connsiteX398" fmla="*/ 58067 w 313772"/>
                    <a:gd name="connsiteY398" fmla="*/ 145782 h 552747"/>
                    <a:gd name="connsiteX399" fmla="*/ 58556 w 313772"/>
                    <a:gd name="connsiteY399" fmla="*/ 144739 h 552747"/>
                    <a:gd name="connsiteX400" fmla="*/ 59950 w 313772"/>
                    <a:gd name="connsiteY400" fmla="*/ 144291 h 552747"/>
                    <a:gd name="connsiteX401" fmla="*/ 60072 w 313772"/>
                    <a:gd name="connsiteY401" fmla="*/ 143109 h 552747"/>
                    <a:gd name="connsiteX402" fmla="*/ 59786 w 313772"/>
                    <a:gd name="connsiteY402" fmla="*/ 141667 h 552747"/>
                    <a:gd name="connsiteX403" fmla="*/ 60243 w 313772"/>
                    <a:gd name="connsiteY403" fmla="*/ 139972 h 552747"/>
                    <a:gd name="connsiteX404" fmla="*/ 61384 w 313772"/>
                    <a:gd name="connsiteY404" fmla="*/ 138488 h 552747"/>
                    <a:gd name="connsiteX405" fmla="*/ 64318 w 313772"/>
                    <a:gd name="connsiteY405" fmla="*/ 136320 h 552747"/>
                    <a:gd name="connsiteX406" fmla="*/ 65736 w 313772"/>
                    <a:gd name="connsiteY406" fmla="*/ 135424 h 552747"/>
                    <a:gd name="connsiteX407" fmla="*/ 66021 w 313772"/>
                    <a:gd name="connsiteY407" fmla="*/ 134088 h 552747"/>
                    <a:gd name="connsiteX408" fmla="*/ 66559 w 313772"/>
                    <a:gd name="connsiteY408" fmla="*/ 132286 h 552747"/>
                    <a:gd name="connsiteX409" fmla="*/ 66347 w 313772"/>
                    <a:gd name="connsiteY409" fmla="*/ 131300 h 552747"/>
                    <a:gd name="connsiteX410" fmla="*/ 65760 w 313772"/>
                    <a:gd name="connsiteY410" fmla="*/ 130062 h 552747"/>
                    <a:gd name="connsiteX411" fmla="*/ 65899 w 313772"/>
                    <a:gd name="connsiteY411" fmla="*/ 128334 h 552747"/>
                    <a:gd name="connsiteX412" fmla="*/ 66673 w 313772"/>
                    <a:gd name="connsiteY412" fmla="*/ 125995 h 552747"/>
                    <a:gd name="connsiteX413" fmla="*/ 67781 w 313772"/>
                    <a:gd name="connsiteY413" fmla="*/ 123273 h 552747"/>
                    <a:gd name="connsiteX414" fmla="*/ 68735 w 313772"/>
                    <a:gd name="connsiteY414" fmla="*/ 119801 h 552747"/>
                    <a:gd name="connsiteX415" fmla="*/ 69093 w 313772"/>
                    <a:gd name="connsiteY415" fmla="*/ 118171 h 552747"/>
                    <a:gd name="connsiteX416" fmla="*/ 70120 w 313772"/>
                    <a:gd name="connsiteY416" fmla="*/ 117128 h 552747"/>
                    <a:gd name="connsiteX417" fmla="*/ 70512 w 313772"/>
                    <a:gd name="connsiteY417" fmla="*/ 115620 h 552747"/>
                    <a:gd name="connsiteX418" fmla="*/ 71066 w 313772"/>
                    <a:gd name="connsiteY418" fmla="*/ 113852 h 552747"/>
                    <a:gd name="connsiteX419" fmla="*/ 72337 w 313772"/>
                    <a:gd name="connsiteY419" fmla="*/ 111863 h 552747"/>
                    <a:gd name="connsiteX420" fmla="*/ 72296 w 313772"/>
                    <a:gd name="connsiteY420" fmla="*/ 109736 h 552747"/>
                    <a:gd name="connsiteX421" fmla="*/ 72826 w 313772"/>
                    <a:gd name="connsiteY421" fmla="*/ 108791 h 552747"/>
                    <a:gd name="connsiteX422" fmla="*/ 72875 w 313772"/>
                    <a:gd name="connsiteY422" fmla="*/ 106411 h 552747"/>
                    <a:gd name="connsiteX423" fmla="*/ 74138 w 313772"/>
                    <a:gd name="connsiteY423" fmla="*/ 101513 h 552747"/>
                    <a:gd name="connsiteX424" fmla="*/ 74187 w 313772"/>
                    <a:gd name="connsiteY424" fmla="*/ 100503 h 552747"/>
                    <a:gd name="connsiteX425" fmla="*/ 74733 w 313772"/>
                    <a:gd name="connsiteY425" fmla="*/ 100225 h 552747"/>
                    <a:gd name="connsiteX426" fmla="*/ 75703 w 313772"/>
                    <a:gd name="connsiteY426" fmla="*/ 100535 h 552747"/>
                    <a:gd name="connsiteX427" fmla="*/ 76526 w 313772"/>
                    <a:gd name="connsiteY427" fmla="*/ 101652 h 552747"/>
                    <a:gd name="connsiteX428" fmla="*/ 76787 w 313772"/>
                    <a:gd name="connsiteY428" fmla="*/ 102744 h 552747"/>
                    <a:gd name="connsiteX429" fmla="*/ 77137 w 313772"/>
                    <a:gd name="connsiteY429" fmla="*/ 103241 h 552747"/>
                    <a:gd name="connsiteX430" fmla="*/ 77920 w 313772"/>
                    <a:gd name="connsiteY430" fmla="*/ 103151 h 552747"/>
                    <a:gd name="connsiteX431" fmla="*/ 78816 w 313772"/>
                    <a:gd name="connsiteY431" fmla="*/ 102532 h 552747"/>
                    <a:gd name="connsiteX432" fmla="*/ 78759 w 313772"/>
                    <a:gd name="connsiteY432" fmla="*/ 101538 h 552747"/>
                    <a:gd name="connsiteX433" fmla="*/ 78099 w 313772"/>
                    <a:gd name="connsiteY433" fmla="*/ 100559 h 552747"/>
                    <a:gd name="connsiteX434" fmla="*/ 77920 w 313772"/>
                    <a:gd name="connsiteY434" fmla="*/ 99997 h 552747"/>
                    <a:gd name="connsiteX435" fmla="*/ 78205 w 313772"/>
                    <a:gd name="connsiteY435" fmla="*/ 99084 h 552747"/>
                    <a:gd name="connsiteX436" fmla="*/ 79566 w 313772"/>
                    <a:gd name="connsiteY436" fmla="*/ 97096 h 552747"/>
                    <a:gd name="connsiteX437" fmla="*/ 81065 w 313772"/>
                    <a:gd name="connsiteY437" fmla="*/ 94781 h 552747"/>
                    <a:gd name="connsiteX438" fmla="*/ 84276 w 313772"/>
                    <a:gd name="connsiteY438" fmla="*/ 89997 h 552747"/>
                    <a:gd name="connsiteX439" fmla="*/ 86208 w 313772"/>
                    <a:gd name="connsiteY439" fmla="*/ 88033 h 552747"/>
                    <a:gd name="connsiteX440" fmla="*/ 91212 w 313772"/>
                    <a:gd name="connsiteY440" fmla="*/ 85963 h 552747"/>
                    <a:gd name="connsiteX441" fmla="*/ 94985 w 313772"/>
                    <a:gd name="connsiteY441" fmla="*/ 84399 h 552747"/>
                    <a:gd name="connsiteX442" fmla="*/ 98620 w 313772"/>
                    <a:gd name="connsiteY442" fmla="*/ 82883 h 552747"/>
                    <a:gd name="connsiteX443" fmla="*/ 103550 w 313772"/>
                    <a:gd name="connsiteY443" fmla="*/ 80740 h 552747"/>
                    <a:gd name="connsiteX444" fmla="*/ 110510 w 313772"/>
                    <a:gd name="connsiteY444" fmla="*/ 77683 h 552747"/>
                    <a:gd name="connsiteX445" fmla="*/ 115506 w 313772"/>
                    <a:gd name="connsiteY445" fmla="*/ 75491 h 552747"/>
                    <a:gd name="connsiteX446" fmla="*/ 119964 w 313772"/>
                    <a:gd name="connsiteY446" fmla="*/ 71579 h 552747"/>
                    <a:gd name="connsiteX447" fmla="*/ 123420 w 313772"/>
                    <a:gd name="connsiteY447" fmla="*/ 68556 h 552747"/>
                    <a:gd name="connsiteX448" fmla="*/ 126378 w 313772"/>
                    <a:gd name="connsiteY448" fmla="*/ 65940 h 552747"/>
                    <a:gd name="connsiteX449" fmla="*/ 130127 w 313772"/>
                    <a:gd name="connsiteY449" fmla="*/ 62622 h 552747"/>
                    <a:gd name="connsiteX450" fmla="*/ 135196 w 313772"/>
                    <a:gd name="connsiteY450" fmla="*/ 55434 h 552747"/>
                    <a:gd name="connsiteX451" fmla="*/ 138692 w 313772"/>
                    <a:gd name="connsiteY451" fmla="*/ 50504 h 552747"/>
                    <a:gd name="connsiteX452" fmla="*/ 141243 w 313772"/>
                    <a:gd name="connsiteY452" fmla="*/ 46877 h 552747"/>
                    <a:gd name="connsiteX453" fmla="*/ 143003 w 313772"/>
                    <a:gd name="connsiteY453" fmla="*/ 44595 h 552747"/>
                    <a:gd name="connsiteX454" fmla="*/ 144405 w 313772"/>
                    <a:gd name="connsiteY454" fmla="*/ 38157 h 552747"/>
                    <a:gd name="connsiteX455" fmla="*/ 146019 w 313772"/>
                    <a:gd name="connsiteY455" fmla="*/ 30830 h 552747"/>
                    <a:gd name="connsiteX456" fmla="*/ 146728 w 313772"/>
                    <a:gd name="connsiteY456" fmla="*/ 27554 h 552747"/>
                    <a:gd name="connsiteX457" fmla="*/ 147037 w 313772"/>
                    <a:gd name="connsiteY457" fmla="*/ 26430 h 552747"/>
                    <a:gd name="connsiteX458" fmla="*/ 147722 w 313772"/>
                    <a:gd name="connsiteY458" fmla="*/ 26902 h 552747"/>
                    <a:gd name="connsiteX459" fmla="*/ 148521 w 313772"/>
                    <a:gd name="connsiteY459" fmla="*/ 27693 h 552747"/>
                    <a:gd name="connsiteX460" fmla="*/ 149491 w 313772"/>
                    <a:gd name="connsiteY460" fmla="*/ 27742 h 552747"/>
                    <a:gd name="connsiteX461" fmla="*/ 150403 w 313772"/>
                    <a:gd name="connsiteY461" fmla="*/ 27693 h 552747"/>
                    <a:gd name="connsiteX462" fmla="*/ 150966 w 313772"/>
                    <a:gd name="connsiteY462" fmla="*/ 27253 h 552747"/>
                    <a:gd name="connsiteX463" fmla="*/ 150118 w 313772"/>
                    <a:gd name="connsiteY463" fmla="*/ 19926 h 552747"/>
                    <a:gd name="connsiteX464" fmla="*/ 150249 w 313772"/>
                    <a:gd name="connsiteY464" fmla="*/ 18329 h 552747"/>
                    <a:gd name="connsiteX465" fmla="*/ 150721 w 313772"/>
                    <a:gd name="connsiteY465" fmla="*/ 16422 h 552747"/>
                    <a:gd name="connsiteX466" fmla="*/ 150623 w 313772"/>
                    <a:gd name="connsiteY466" fmla="*/ 15387 h 552747"/>
                    <a:gd name="connsiteX467" fmla="*/ 149091 w 313772"/>
                    <a:gd name="connsiteY467" fmla="*/ 13912 h 552747"/>
                    <a:gd name="connsiteX468" fmla="*/ 146622 w 313772"/>
                    <a:gd name="connsiteY468" fmla="*/ 10994 h 552747"/>
                    <a:gd name="connsiteX469" fmla="*/ 145595 w 313772"/>
                    <a:gd name="connsiteY469" fmla="*/ 8386 h 552747"/>
                    <a:gd name="connsiteX470" fmla="*/ 144976 w 313772"/>
                    <a:gd name="connsiteY470" fmla="*/ 6186 h 552747"/>
                    <a:gd name="connsiteX471" fmla="*/ 143248 w 313772"/>
                    <a:gd name="connsiteY471" fmla="*/ 4743 h 552747"/>
                    <a:gd name="connsiteX472" fmla="*/ 141479 w 313772"/>
                    <a:gd name="connsiteY472" fmla="*/ 3472 h 552747"/>
                    <a:gd name="connsiteX473" fmla="*/ 141618 w 313772"/>
                    <a:gd name="connsiteY473" fmla="*/ 2429 h 552747"/>
                    <a:gd name="connsiteX474" fmla="*/ 142678 w 313772"/>
                    <a:gd name="connsiteY474" fmla="*/ 2429 h 552747"/>
                    <a:gd name="connsiteX475" fmla="*/ 145350 w 313772"/>
                    <a:gd name="connsiteY475" fmla="*/ 3456 h 552747"/>
                    <a:gd name="connsiteX476" fmla="*/ 147274 w 313772"/>
                    <a:gd name="connsiteY476" fmla="*/ 3121 h 552747"/>
                    <a:gd name="connsiteX477" fmla="*/ 148708 w 313772"/>
                    <a:gd name="connsiteY477" fmla="*/ 3015 h 552747"/>
                    <a:gd name="connsiteX478" fmla="*/ 150102 w 313772"/>
                    <a:gd name="connsiteY478" fmla="*/ 1940 h 552747"/>
                    <a:gd name="connsiteX479" fmla="*/ 151585 w 313772"/>
                    <a:gd name="connsiteY479" fmla="*/ 0 h 552747"/>
                    <a:gd name="connsiteX480" fmla="*/ 152587 w 313772"/>
                    <a:gd name="connsiteY480" fmla="*/ 0 h 552747"/>
                    <a:gd name="connsiteX481" fmla="*/ 153720 w 313772"/>
                    <a:gd name="connsiteY481" fmla="*/ 261 h 552747"/>
                    <a:gd name="connsiteX482" fmla="*/ 155798 w 313772"/>
                    <a:gd name="connsiteY482" fmla="*/ 2241 h 552747"/>
                    <a:gd name="connsiteX483" fmla="*/ 157037 w 313772"/>
                    <a:gd name="connsiteY483" fmla="*/ 3415 h 552747"/>
                    <a:gd name="connsiteX484" fmla="*/ 158512 w 313772"/>
                    <a:gd name="connsiteY484" fmla="*/ 4385 h 552747"/>
                    <a:gd name="connsiteX485" fmla="*/ 159914 w 313772"/>
                    <a:gd name="connsiteY485" fmla="*/ 4719 h 552747"/>
                    <a:gd name="connsiteX486" fmla="*/ 161186 w 313772"/>
                    <a:gd name="connsiteY486" fmla="*/ 4833 h 552747"/>
                    <a:gd name="connsiteX487" fmla="*/ 162074 w 313772"/>
                    <a:gd name="connsiteY487" fmla="*/ 4743 h 552747"/>
                    <a:gd name="connsiteX488" fmla="*/ 162603 w 313772"/>
                    <a:gd name="connsiteY488" fmla="*/ 6072 h 552747"/>
                    <a:gd name="connsiteX489" fmla="*/ 163223 w 313772"/>
                    <a:gd name="connsiteY489" fmla="*/ 7693 h 552747"/>
                    <a:gd name="connsiteX490" fmla="*/ 164804 w 313772"/>
                    <a:gd name="connsiteY490" fmla="*/ 8794 h 552747"/>
                    <a:gd name="connsiteX491" fmla="*/ 166670 w 313772"/>
                    <a:gd name="connsiteY491" fmla="*/ 9837 h 552747"/>
                    <a:gd name="connsiteX492" fmla="*/ 168194 w 313772"/>
                    <a:gd name="connsiteY492" fmla="*/ 11614 h 552747"/>
                    <a:gd name="connsiteX493" fmla="*/ 169213 w 313772"/>
                    <a:gd name="connsiteY493" fmla="*/ 12828 h 552747"/>
                    <a:gd name="connsiteX494" fmla="*/ 170419 w 313772"/>
                    <a:gd name="connsiteY494" fmla="*/ 14254 h 552747"/>
                    <a:gd name="connsiteX495" fmla="*/ 171593 w 313772"/>
                    <a:gd name="connsiteY495" fmla="*/ 16137 h 552747"/>
                    <a:gd name="connsiteX496" fmla="*/ 172660 w 313772"/>
                    <a:gd name="connsiteY496" fmla="*/ 19453 h 552747"/>
                    <a:gd name="connsiteX497" fmla="*/ 173198 w 313772"/>
                    <a:gd name="connsiteY497" fmla="*/ 21703 h 552747"/>
                    <a:gd name="connsiteX498" fmla="*/ 173809 w 313772"/>
                    <a:gd name="connsiteY498" fmla="*/ 22958 h 552747"/>
                    <a:gd name="connsiteX499" fmla="*/ 173671 w 313772"/>
                    <a:gd name="connsiteY499" fmla="*/ 24221 h 552747"/>
                    <a:gd name="connsiteX500" fmla="*/ 174918 w 313772"/>
                    <a:gd name="connsiteY500" fmla="*/ 26527 h 552747"/>
                    <a:gd name="connsiteX501" fmla="*/ 175847 w 313772"/>
                    <a:gd name="connsiteY501" fmla="*/ 27807 h 552747"/>
                    <a:gd name="connsiteX502" fmla="*/ 177477 w 313772"/>
                    <a:gd name="connsiteY502" fmla="*/ 28622 h 552747"/>
                    <a:gd name="connsiteX503" fmla="*/ 180606 w 313772"/>
                    <a:gd name="connsiteY503" fmla="*/ 29551 h 552747"/>
                    <a:gd name="connsiteX504" fmla="*/ 182285 w 313772"/>
                    <a:gd name="connsiteY504" fmla="*/ 31637 h 552747"/>
                    <a:gd name="connsiteX505" fmla="*/ 183768 w 313772"/>
                    <a:gd name="connsiteY505" fmla="*/ 32436 h 552747"/>
                    <a:gd name="connsiteX506" fmla="*/ 185349 w 313772"/>
                    <a:gd name="connsiteY506" fmla="*/ 34579 h 552747"/>
                    <a:gd name="connsiteX507" fmla="*/ 186743 w 313772"/>
                    <a:gd name="connsiteY507" fmla="*/ 35223 h 552747"/>
                    <a:gd name="connsiteX508" fmla="*/ 188512 w 313772"/>
                    <a:gd name="connsiteY508" fmla="*/ 35101 h 552747"/>
                    <a:gd name="connsiteX509" fmla="*/ 190288 w 313772"/>
                    <a:gd name="connsiteY509" fmla="*/ 36136 h 552747"/>
                    <a:gd name="connsiteX510" fmla="*/ 191625 w 313772"/>
                    <a:gd name="connsiteY510" fmla="*/ 38157 h 552747"/>
                    <a:gd name="connsiteX511" fmla="*/ 192489 w 313772"/>
                    <a:gd name="connsiteY511" fmla="*/ 40708 h 552747"/>
                    <a:gd name="connsiteX512" fmla="*/ 193833 w 313772"/>
                    <a:gd name="connsiteY512" fmla="*/ 42159 h 552747"/>
                    <a:gd name="connsiteX513" fmla="*/ 194502 w 313772"/>
                    <a:gd name="connsiteY513" fmla="*/ 44767 h 552747"/>
                    <a:gd name="connsiteX514" fmla="*/ 193735 w 313772"/>
                    <a:gd name="connsiteY514" fmla="*/ 47823 h 552747"/>
                    <a:gd name="connsiteX515" fmla="*/ 194445 w 313772"/>
                    <a:gd name="connsiteY515" fmla="*/ 49445 h 552747"/>
                    <a:gd name="connsiteX516" fmla="*/ 195838 w 313772"/>
                    <a:gd name="connsiteY516" fmla="*/ 50773 h 552747"/>
                    <a:gd name="connsiteX517" fmla="*/ 198087 w 313772"/>
                    <a:gd name="connsiteY517" fmla="*/ 52166 h 552747"/>
                    <a:gd name="connsiteX518" fmla="*/ 200149 w 313772"/>
                    <a:gd name="connsiteY518" fmla="*/ 51808 h 552747"/>
                    <a:gd name="connsiteX519" fmla="*/ 201209 w 313772"/>
                    <a:gd name="connsiteY519" fmla="*/ 52281 h 552747"/>
                    <a:gd name="connsiteX520" fmla="*/ 201877 w 313772"/>
                    <a:gd name="connsiteY520" fmla="*/ 53552 h 552747"/>
                    <a:gd name="connsiteX521" fmla="*/ 202260 w 313772"/>
                    <a:gd name="connsiteY521" fmla="*/ 55051 h 552747"/>
                    <a:gd name="connsiteX522" fmla="*/ 203157 w 313772"/>
                    <a:gd name="connsiteY522" fmla="*/ 58743 h 552747"/>
                    <a:gd name="connsiteX523" fmla="*/ 203621 w 313772"/>
                    <a:gd name="connsiteY523" fmla="*/ 61066 h 552747"/>
                    <a:gd name="connsiteX524" fmla="*/ 202782 w 313772"/>
                    <a:gd name="connsiteY524" fmla="*/ 63307 h 552747"/>
                    <a:gd name="connsiteX525" fmla="*/ 202480 w 313772"/>
                    <a:gd name="connsiteY525" fmla="*/ 64872 h 552747"/>
                    <a:gd name="connsiteX526" fmla="*/ 202928 w 313772"/>
                    <a:gd name="connsiteY526" fmla="*/ 66966 h 552747"/>
                    <a:gd name="connsiteX527" fmla="*/ 205072 w 313772"/>
                    <a:gd name="connsiteY527" fmla="*/ 67977 h 552747"/>
                    <a:gd name="connsiteX528" fmla="*/ 207011 w 313772"/>
                    <a:gd name="connsiteY528" fmla="*/ 68808 h 552747"/>
                    <a:gd name="connsiteX529" fmla="*/ 208226 w 313772"/>
                    <a:gd name="connsiteY529" fmla="*/ 70438 h 552747"/>
                    <a:gd name="connsiteX530" fmla="*/ 209554 w 313772"/>
                    <a:gd name="connsiteY530" fmla="*/ 70878 h 552747"/>
                    <a:gd name="connsiteX531" fmla="*/ 211445 w 313772"/>
                    <a:gd name="connsiteY531" fmla="*/ 70780 h 552747"/>
                    <a:gd name="connsiteX532" fmla="*/ 213849 w 313772"/>
                    <a:gd name="connsiteY532" fmla="*/ 70373 h 552747"/>
                    <a:gd name="connsiteX533" fmla="*/ 215185 w 313772"/>
                    <a:gd name="connsiteY533" fmla="*/ 69452 h 552747"/>
                    <a:gd name="connsiteX534" fmla="*/ 216049 w 313772"/>
                    <a:gd name="connsiteY534" fmla="*/ 69167 h 552747"/>
                    <a:gd name="connsiteX535" fmla="*/ 217003 w 313772"/>
                    <a:gd name="connsiteY535" fmla="*/ 69574 h 552747"/>
                    <a:gd name="connsiteX536" fmla="*/ 219146 w 313772"/>
                    <a:gd name="connsiteY536" fmla="*/ 70471 h 552747"/>
                    <a:gd name="connsiteX537" fmla="*/ 221746 w 313772"/>
                    <a:gd name="connsiteY537" fmla="*/ 71489 h 552747"/>
                    <a:gd name="connsiteX538" fmla="*/ 224109 w 313772"/>
                    <a:gd name="connsiteY538" fmla="*/ 70895 h 552747"/>
                    <a:gd name="connsiteX539" fmla="*/ 226147 w 313772"/>
                    <a:gd name="connsiteY539" fmla="*/ 70626 h 552747"/>
                    <a:gd name="connsiteX540" fmla="*/ 228168 w 313772"/>
                    <a:gd name="connsiteY540" fmla="*/ 70031 h 552747"/>
                    <a:gd name="connsiteX541" fmla="*/ 230230 w 313772"/>
                    <a:gd name="connsiteY541" fmla="*/ 68360 h 552747"/>
                    <a:gd name="connsiteX542" fmla="*/ 231950 w 313772"/>
                    <a:gd name="connsiteY542" fmla="*/ 68417 h 552747"/>
                    <a:gd name="connsiteX543" fmla="*/ 233237 w 313772"/>
                    <a:gd name="connsiteY543" fmla="*/ 67276 h 552747"/>
                    <a:gd name="connsiteX544" fmla="*/ 234851 w 313772"/>
                    <a:gd name="connsiteY544" fmla="*/ 65459 h 552747"/>
                    <a:gd name="connsiteX545" fmla="*/ 236456 w 313772"/>
                    <a:gd name="connsiteY545" fmla="*/ 63609 h 552747"/>
                    <a:gd name="connsiteX546" fmla="*/ 237703 w 313772"/>
                    <a:gd name="connsiteY546" fmla="*/ 63209 h 552747"/>
                    <a:gd name="connsiteX547" fmla="*/ 239716 w 313772"/>
                    <a:gd name="connsiteY547" fmla="*/ 64090 h 552747"/>
                    <a:gd name="connsiteX548" fmla="*/ 242487 w 313772"/>
                    <a:gd name="connsiteY548" fmla="*/ 65345 h 552747"/>
                    <a:gd name="connsiteX549" fmla="*/ 244060 w 313772"/>
                    <a:gd name="connsiteY549" fmla="*/ 66991 h 552747"/>
                    <a:gd name="connsiteX550" fmla="*/ 245266 w 313772"/>
                    <a:gd name="connsiteY550" fmla="*/ 67431 h 552747"/>
                    <a:gd name="connsiteX551" fmla="*/ 246521 w 313772"/>
                    <a:gd name="connsiteY551" fmla="*/ 68645 h 552747"/>
                    <a:gd name="connsiteX552" fmla="*/ 248917 w 313772"/>
                    <a:gd name="connsiteY552" fmla="*/ 68662 h 552747"/>
                    <a:gd name="connsiteX553" fmla="*/ 251493 w 313772"/>
                    <a:gd name="connsiteY553" fmla="*/ 68010 h 552747"/>
                    <a:gd name="connsiteX554" fmla="*/ 253554 w 313772"/>
                    <a:gd name="connsiteY554" fmla="*/ 65989 h 552747"/>
                    <a:gd name="connsiteX555" fmla="*/ 255690 w 313772"/>
                    <a:gd name="connsiteY555" fmla="*/ 65394 h 552747"/>
                    <a:gd name="connsiteX556" fmla="*/ 257140 w 313772"/>
                    <a:gd name="connsiteY556" fmla="*/ 64831 h 552747"/>
                    <a:gd name="connsiteX557" fmla="*/ 258485 w 313772"/>
                    <a:gd name="connsiteY557" fmla="*/ 65182 h 552747"/>
                    <a:gd name="connsiteX558" fmla="*/ 263676 w 313772"/>
                    <a:gd name="connsiteY558" fmla="*/ 68890 h 552747"/>
                    <a:gd name="connsiteX559" fmla="*/ 265095 w 313772"/>
                    <a:gd name="connsiteY559" fmla="*/ 70789 h 552747"/>
                    <a:gd name="connsiteX560" fmla="*/ 266879 w 313772"/>
                    <a:gd name="connsiteY560" fmla="*/ 71163 h 552747"/>
                    <a:gd name="connsiteX561" fmla="*/ 268354 w 313772"/>
                    <a:gd name="connsiteY561" fmla="*/ 72207 h 552747"/>
                    <a:gd name="connsiteX562" fmla="*/ 270799 w 313772"/>
                    <a:gd name="connsiteY562" fmla="*/ 73339 h 552747"/>
                    <a:gd name="connsiteX563" fmla="*/ 272136 w 313772"/>
                    <a:gd name="connsiteY563" fmla="*/ 74480 h 552747"/>
                    <a:gd name="connsiteX564" fmla="*/ 273864 w 313772"/>
                    <a:gd name="connsiteY564" fmla="*/ 75190 h 552747"/>
                    <a:gd name="connsiteX565" fmla="*/ 275102 w 313772"/>
                    <a:gd name="connsiteY565" fmla="*/ 76803 h 552747"/>
                    <a:gd name="connsiteX566" fmla="*/ 277083 w 313772"/>
                    <a:gd name="connsiteY566" fmla="*/ 77797 h 552747"/>
                    <a:gd name="connsiteX567" fmla="*/ 278786 w 313772"/>
                    <a:gd name="connsiteY567" fmla="*/ 78352 h 552747"/>
                    <a:gd name="connsiteX568" fmla="*/ 279560 w 313772"/>
                    <a:gd name="connsiteY568" fmla="*/ 79656 h 552747"/>
                    <a:gd name="connsiteX569" fmla="*/ 279569 w 313772"/>
                    <a:gd name="connsiteY569" fmla="*/ 80519 h 552747"/>
                    <a:gd name="connsiteX570" fmla="*/ 279332 w 313772"/>
                    <a:gd name="connsiteY570" fmla="*/ 81106 h 552747"/>
                    <a:gd name="connsiteX571" fmla="*/ 277523 w 313772"/>
                    <a:gd name="connsiteY571" fmla="*/ 84521 h 552747"/>
                    <a:gd name="connsiteX572" fmla="*/ 273978 w 313772"/>
                    <a:gd name="connsiteY572" fmla="*/ 91212 h 552747"/>
                    <a:gd name="connsiteX573" fmla="*/ 270775 w 313772"/>
                    <a:gd name="connsiteY573" fmla="*/ 97226 h 552747"/>
                    <a:gd name="connsiteX574" fmla="*/ 265747 w 313772"/>
                    <a:gd name="connsiteY574" fmla="*/ 106705 h 552747"/>
                    <a:gd name="connsiteX575" fmla="*/ 262935 w 313772"/>
                    <a:gd name="connsiteY575" fmla="*/ 112002 h 552747"/>
                    <a:gd name="connsiteX576" fmla="*/ 263652 w 313772"/>
                    <a:gd name="connsiteY576" fmla="*/ 112230 h 552747"/>
                    <a:gd name="connsiteX577" fmla="*/ 268028 w 313772"/>
                    <a:gd name="connsiteY577" fmla="*/ 114544 h 552747"/>
                    <a:gd name="connsiteX578" fmla="*/ 269112 w 313772"/>
                    <a:gd name="connsiteY578" fmla="*/ 114642 h 552747"/>
                    <a:gd name="connsiteX579" fmla="*/ 270718 w 313772"/>
                    <a:gd name="connsiteY579" fmla="*/ 114055 h 552747"/>
                    <a:gd name="connsiteX580" fmla="*/ 271761 w 313772"/>
                    <a:gd name="connsiteY580" fmla="*/ 113118 h 552747"/>
                    <a:gd name="connsiteX581" fmla="*/ 272747 w 313772"/>
                    <a:gd name="connsiteY581" fmla="*/ 112996 h 552747"/>
                    <a:gd name="connsiteX582" fmla="*/ 273766 w 313772"/>
                    <a:gd name="connsiteY582" fmla="*/ 113876 h 552747"/>
                    <a:gd name="connsiteX583" fmla="*/ 275208 w 313772"/>
                    <a:gd name="connsiteY583" fmla="*/ 115042 h 552747"/>
                    <a:gd name="connsiteX584" fmla="*/ 276243 w 313772"/>
                    <a:gd name="connsiteY584" fmla="*/ 118416 h 552747"/>
                    <a:gd name="connsiteX585" fmla="*/ 277009 w 313772"/>
                    <a:gd name="connsiteY585" fmla="*/ 120054 h 552747"/>
                    <a:gd name="connsiteX586" fmla="*/ 278811 w 313772"/>
                    <a:gd name="connsiteY586" fmla="*/ 121317 h 552747"/>
                    <a:gd name="connsiteX587" fmla="*/ 280742 w 313772"/>
                    <a:gd name="connsiteY587" fmla="*/ 123411 h 552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Lst>
                  <a:rect l="l" t="t" r="r" b="b"/>
                  <a:pathLst>
                    <a:path w="313772" h="552747">
                      <a:moveTo>
                        <a:pt x="282013" y="125636"/>
                      </a:moveTo>
                      <a:lnTo>
                        <a:pt x="281858" y="127592"/>
                      </a:lnTo>
                      <a:lnTo>
                        <a:pt x="281068" y="128366"/>
                      </a:lnTo>
                      <a:lnTo>
                        <a:pt x="279846" y="128538"/>
                      </a:lnTo>
                      <a:lnTo>
                        <a:pt x="277971" y="127144"/>
                      </a:lnTo>
                      <a:lnTo>
                        <a:pt x="276602" y="127495"/>
                      </a:lnTo>
                      <a:lnTo>
                        <a:pt x="275233" y="127592"/>
                      </a:lnTo>
                      <a:lnTo>
                        <a:pt x="273310" y="125970"/>
                      </a:lnTo>
                      <a:lnTo>
                        <a:pt x="272641" y="124357"/>
                      </a:lnTo>
                      <a:lnTo>
                        <a:pt x="271134" y="123053"/>
                      </a:lnTo>
                      <a:lnTo>
                        <a:pt x="268004" y="123574"/>
                      </a:lnTo>
                      <a:lnTo>
                        <a:pt x="265429" y="123615"/>
                      </a:lnTo>
                      <a:lnTo>
                        <a:pt x="263269" y="123314"/>
                      </a:lnTo>
                      <a:lnTo>
                        <a:pt x="261338" y="123754"/>
                      </a:lnTo>
                      <a:lnTo>
                        <a:pt x="259683" y="125441"/>
                      </a:lnTo>
                      <a:lnTo>
                        <a:pt x="258461" y="127405"/>
                      </a:lnTo>
                      <a:lnTo>
                        <a:pt x="257018" y="129059"/>
                      </a:lnTo>
                      <a:lnTo>
                        <a:pt x="252788" y="130159"/>
                      </a:lnTo>
                      <a:lnTo>
                        <a:pt x="250539" y="130200"/>
                      </a:lnTo>
                      <a:lnTo>
                        <a:pt x="248510" y="131276"/>
                      </a:lnTo>
                      <a:lnTo>
                        <a:pt x="245495" y="131675"/>
                      </a:lnTo>
                      <a:lnTo>
                        <a:pt x="243432" y="132637"/>
                      </a:lnTo>
                      <a:lnTo>
                        <a:pt x="239790" y="133167"/>
                      </a:lnTo>
                      <a:lnTo>
                        <a:pt x="235413" y="133680"/>
                      </a:lnTo>
                      <a:lnTo>
                        <a:pt x="232968" y="135147"/>
                      </a:lnTo>
                      <a:lnTo>
                        <a:pt x="231999" y="135783"/>
                      </a:lnTo>
                      <a:lnTo>
                        <a:pt x="229521" y="137812"/>
                      </a:lnTo>
                      <a:lnTo>
                        <a:pt x="225194" y="141007"/>
                      </a:lnTo>
                      <a:lnTo>
                        <a:pt x="222814" y="142115"/>
                      </a:lnTo>
                      <a:lnTo>
                        <a:pt x="219929" y="145579"/>
                      </a:lnTo>
                      <a:lnTo>
                        <a:pt x="216473" y="148830"/>
                      </a:lnTo>
                      <a:lnTo>
                        <a:pt x="214232" y="150566"/>
                      </a:lnTo>
                      <a:lnTo>
                        <a:pt x="210923" y="151357"/>
                      </a:lnTo>
                      <a:lnTo>
                        <a:pt x="209554" y="152229"/>
                      </a:lnTo>
                      <a:lnTo>
                        <a:pt x="209057" y="153272"/>
                      </a:lnTo>
                      <a:lnTo>
                        <a:pt x="209342" y="154486"/>
                      </a:lnTo>
                      <a:lnTo>
                        <a:pt x="208788" y="157616"/>
                      </a:lnTo>
                      <a:lnTo>
                        <a:pt x="207777" y="163402"/>
                      </a:lnTo>
                      <a:lnTo>
                        <a:pt x="207500" y="166238"/>
                      </a:lnTo>
                      <a:lnTo>
                        <a:pt x="207256" y="167591"/>
                      </a:lnTo>
                      <a:lnTo>
                        <a:pt x="205072" y="172228"/>
                      </a:lnTo>
                      <a:lnTo>
                        <a:pt x="202716" y="176556"/>
                      </a:lnTo>
                      <a:lnTo>
                        <a:pt x="201567" y="179408"/>
                      </a:lnTo>
                      <a:lnTo>
                        <a:pt x="200915" y="181503"/>
                      </a:lnTo>
                      <a:lnTo>
                        <a:pt x="201641" y="183247"/>
                      </a:lnTo>
                      <a:lnTo>
                        <a:pt x="202602" y="186384"/>
                      </a:lnTo>
                      <a:lnTo>
                        <a:pt x="203401" y="188886"/>
                      </a:lnTo>
                      <a:lnTo>
                        <a:pt x="203629" y="190582"/>
                      </a:lnTo>
                      <a:lnTo>
                        <a:pt x="203360" y="192546"/>
                      </a:lnTo>
                      <a:lnTo>
                        <a:pt x="202366" y="194314"/>
                      </a:lnTo>
                      <a:lnTo>
                        <a:pt x="200801" y="195479"/>
                      </a:lnTo>
                      <a:lnTo>
                        <a:pt x="198682" y="195805"/>
                      </a:lnTo>
                      <a:lnTo>
                        <a:pt x="194363" y="198968"/>
                      </a:lnTo>
                      <a:lnTo>
                        <a:pt x="189530" y="203597"/>
                      </a:lnTo>
                      <a:lnTo>
                        <a:pt x="187957" y="205756"/>
                      </a:lnTo>
                      <a:lnTo>
                        <a:pt x="187509" y="207794"/>
                      </a:lnTo>
                      <a:lnTo>
                        <a:pt x="186800" y="210980"/>
                      </a:lnTo>
                      <a:lnTo>
                        <a:pt x="187093" y="212635"/>
                      </a:lnTo>
                      <a:lnTo>
                        <a:pt x="187949" y="213776"/>
                      </a:lnTo>
                      <a:lnTo>
                        <a:pt x="188813" y="216489"/>
                      </a:lnTo>
                      <a:lnTo>
                        <a:pt x="188886" y="217883"/>
                      </a:lnTo>
                      <a:lnTo>
                        <a:pt x="188169" y="218665"/>
                      </a:lnTo>
                      <a:lnTo>
                        <a:pt x="186800" y="218837"/>
                      </a:lnTo>
                      <a:lnTo>
                        <a:pt x="185578" y="219106"/>
                      </a:lnTo>
                      <a:lnTo>
                        <a:pt x="184640" y="219798"/>
                      </a:lnTo>
                      <a:lnTo>
                        <a:pt x="183703" y="219619"/>
                      </a:lnTo>
                      <a:lnTo>
                        <a:pt x="182847" y="219978"/>
                      </a:lnTo>
                      <a:lnTo>
                        <a:pt x="182847" y="221110"/>
                      </a:lnTo>
                      <a:lnTo>
                        <a:pt x="183133" y="222422"/>
                      </a:lnTo>
                      <a:lnTo>
                        <a:pt x="182986" y="223816"/>
                      </a:lnTo>
                      <a:lnTo>
                        <a:pt x="182407" y="224688"/>
                      </a:lnTo>
                      <a:lnTo>
                        <a:pt x="181910" y="225299"/>
                      </a:lnTo>
                      <a:lnTo>
                        <a:pt x="182407" y="226171"/>
                      </a:lnTo>
                      <a:lnTo>
                        <a:pt x="183271" y="226962"/>
                      </a:lnTo>
                      <a:lnTo>
                        <a:pt x="184567" y="228266"/>
                      </a:lnTo>
                      <a:lnTo>
                        <a:pt x="186368" y="230809"/>
                      </a:lnTo>
                      <a:lnTo>
                        <a:pt x="187737" y="231240"/>
                      </a:lnTo>
                      <a:lnTo>
                        <a:pt x="188886" y="232113"/>
                      </a:lnTo>
                      <a:lnTo>
                        <a:pt x="189033" y="233506"/>
                      </a:lnTo>
                      <a:lnTo>
                        <a:pt x="188601" y="234908"/>
                      </a:lnTo>
                      <a:lnTo>
                        <a:pt x="187599" y="235519"/>
                      </a:lnTo>
                      <a:lnTo>
                        <a:pt x="187525" y="236742"/>
                      </a:lnTo>
                      <a:lnTo>
                        <a:pt x="188886" y="238225"/>
                      </a:lnTo>
                      <a:lnTo>
                        <a:pt x="189824" y="239284"/>
                      </a:lnTo>
                      <a:lnTo>
                        <a:pt x="190769" y="240841"/>
                      </a:lnTo>
                      <a:lnTo>
                        <a:pt x="191625" y="243033"/>
                      </a:lnTo>
                      <a:lnTo>
                        <a:pt x="191625" y="244427"/>
                      </a:lnTo>
                      <a:lnTo>
                        <a:pt x="192562" y="246179"/>
                      </a:lnTo>
                      <a:lnTo>
                        <a:pt x="193141" y="247654"/>
                      </a:lnTo>
                      <a:lnTo>
                        <a:pt x="193141" y="249064"/>
                      </a:lnTo>
                      <a:lnTo>
                        <a:pt x="194656" y="250458"/>
                      </a:lnTo>
                      <a:lnTo>
                        <a:pt x="195944" y="251509"/>
                      </a:lnTo>
                      <a:lnTo>
                        <a:pt x="196881" y="252471"/>
                      </a:lnTo>
                      <a:lnTo>
                        <a:pt x="197819" y="253074"/>
                      </a:lnTo>
                      <a:lnTo>
                        <a:pt x="198039" y="254125"/>
                      </a:lnTo>
                      <a:lnTo>
                        <a:pt x="197916" y="255714"/>
                      </a:lnTo>
                      <a:lnTo>
                        <a:pt x="199261" y="258338"/>
                      </a:lnTo>
                      <a:lnTo>
                        <a:pt x="201722" y="260302"/>
                      </a:lnTo>
                      <a:lnTo>
                        <a:pt x="203719" y="263163"/>
                      </a:lnTo>
                      <a:lnTo>
                        <a:pt x="205015" y="265225"/>
                      </a:lnTo>
                      <a:lnTo>
                        <a:pt x="207403" y="268558"/>
                      </a:lnTo>
                      <a:lnTo>
                        <a:pt x="207492" y="272372"/>
                      </a:lnTo>
                      <a:lnTo>
                        <a:pt x="204534" y="276765"/>
                      </a:lnTo>
                      <a:lnTo>
                        <a:pt x="201559" y="281158"/>
                      </a:lnTo>
                      <a:lnTo>
                        <a:pt x="206425" y="281035"/>
                      </a:lnTo>
                      <a:lnTo>
                        <a:pt x="211372" y="281125"/>
                      </a:lnTo>
                      <a:lnTo>
                        <a:pt x="216547" y="282380"/>
                      </a:lnTo>
                      <a:lnTo>
                        <a:pt x="220043" y="283586"/>
                      </a:lnTo>
                      <a:lnTo>
                        <a:pt x="222162" y="284140"/>
                      </a:lnTo>
                      <a:lnTo>
                        <a:pt x="223678" y="285542"/>
                      </a:lnTo>
                      <a:lnTo>
                        <a:pt x="224395" y="287710"/>
                      </a:lnTo>
                      <a:lnTo>
                        <a:pt x="224965" y="289511"/>
                      </a:lnTo>
                      <a:lnTo>
                        <a:pt x="225112" y="292095"/>
                      </a:lnTo>
                      <a:lnTo>
                        <a:pt x="227280" y="294197"/>
                      </a:lnTo>
                      <a:lnTo>
                        <a:pt x="227117" y="296194"/>
                      </a:lnTo>
                      <a:lnTo>
                        <a:pt x="227060" y="299014"/>
                      </a:lnTo>
                      <a:lnTo>
                        <a:pt x="228021" y="299063"/>
                      </a:lnTo>
                      <a:lnTo>
                        <a:pt x="234354" y="299071"/>
                      </a:lnTo>
                      <a:lnTo>
                        <a:pt x="241281" y="299087"/>
                      </a:lnTo>
                      <a:lnTo>
                        <a:pt x="247939" y="298557"/>
                      </a:lnTo>
                      <a:lnTo>
                        <a:pt x="250466" y="297873"/>
                      </a:lnTo>
                      <a:lnTo>
                        <a:pt x="253506" y="294442"/>
                      </a:lnTo>
                      <a:lnTo>
                        <a:pt x="255331" y="293439"/>
                      </a:lnTo>
                      <a:lnTo>
                        <a:pt x="257091" y="291842"/>
                      </a:lnTo>
                      <a:lnTo>
                        <a:pt x="259227" y="288924"/>
                      </a:lnTo>
                      <a:lnTo>
                        <a:pt x="260922" y="287612"/>
                      </a:lnTo>
                      <a:lnTo>
                        <a:pt x="262356" y="285982"/>
                      </a:lnTo>
                      <a:lnTo>
                        <a:pt x="264492" y="284369"/>
                      </a:lnTo>
                      <a:lnTo>
                        <a:pt x="265372" y="283171"/>
                      </a:lnTo>
                      <a:lnTo>
                        <a:pt x="266089" y="282731"/>
                      </a:lnTo>
                      <a:lnTo>
                        <a:pt x="267743" y="281940"/>
                      </a:lnTo>
                      <a:lnTo>
                        <a:pt x="267026" y="283521"/>
                      </a:lnTo>
                      <a:lnTo>
                        <a:pt x="266480" y="285135"/>
                      </a:lnTo>
                      <a:lnTo>
                        <a:pt x="266309" y="287457"/>
                      </a:lnTo>
                      <a:lnTo>
                        <a:pt x="267099" y="290000"/>
                      </a:lnTo>
                      <a:lnTo>
                        <a:pt x="266439" y="291883"/>
                      </a:lnTo>
                      <a:lnTo>
                        <a:pt x="265372" y="293586"/>
                      </a:lnTo>
                      <a:lnTo>
                        <a:pt x="265355" y="298052"/>
                      </a:lnTo>
                      <a:lnTo>
                        <a:pt x="265331" y="304376"/>
                      </a:lnTo>
                      <a:lnTo>
                        <a:pt x="265307" y="309804"/>
                      </a:lnTo>
                      <a:lnTo>
                        <a:pt x="265290" y="316585"/>
                      </a:lnTo>
                      <a:lnTo>
                        <a:pt x="265258" y="324294"/>
                      </a:lnTo>
                      <a:lnTo>
                        <a:pt x="265233" y="329404"/>
                      </a:lnTo>
                      <a:lnTo>
                        <a:pt x="266366" y="328385"/>
                      </a:lnTo>
                      <a:lnTo>
                        <a:pt x="267939" y="327497"/>
                      </a:lnTo>
                      <a:lnTo>
                        <a:pt x="269984" y="329844"/>
                      </a:lnTo>
                      <a:lnTo>
                        <a:pt x="271435" y="330871"/>
                      </a:lnTo>
                      <a:lnTo>
                        <a:pt x="272682" y="331099"/>
                      </a:lnTo>
                      <a:lnTo>
                        <a:pt x="273970" y="331042"/>
                      </a:lnTo>
                      <a:lnTo>
                        <a:pt x="275714" y="330537"/>
                      </a:lnTo>
                      <a:lnTo>
                        <a:pt x="279520" y="328565"/>
                      </a:lnTo>
                      <a:lnTo>
                        <a:pt x="282152" y="326975"/>
                      </a:lnTo>
                      <a:lnTo>
                        <a:pt x="285143" y="327081"/>
                      </a:lnTo>
                      <a:lnTo>
                        <a:pt x="289250" y="327701"/>
                      </a:lnTo>
                      <a:lnTo>
                        <a:pt x="291614" y="327636"/>
                      </a:lnTo>
                      <a:lnTo>
                        <a:pt x="294719" y="334196"/>
                      </a:lnTo>
                      <a:lnTo>
                        <a:pt x="296993" y="338996"/>
                      </a:lnTo>
                      <a:lnTo>
                        <a:pt x="299576" y="344473"/>
                      </a:lnTo>
                      <a:lnTo>
                        <a:pt x="301662" y="348874"/>
                      </a:lnTo>
                      <a:lnTo>
                        <a:pt x="304825" y="355573"/>
                      </a:lnTo>
                      <a:lnTo>
                        <a:pt x="307555" y="361359"/>
                      </a:lnTo>
                      <a:lnTo>
                        <a:pt x="310464" y="367520"/>
                      </a:lnTo>
                      <a:lnTo>
                        <a:pt x="313773" y="374537"/>
                      </a:lnTo>
                      <a:lnTo>
                        <a:pt x="312713" y="376314"/>
                      </a:lnTo>
                      <a:lnTo>
                        <a:pt x="311850" y="377740"/>
                      </a:lnTo>
                      <a:lnTo>
                        <a:pt x="311939" y="380152"/>
                      </a:lnTo>
                      <a:lnTo>
                        <a:pt x="310635" y="381440"/>
                      </a:lnTo>
                      <a:lnTo>
                        <a:pt x="309250" y="382214"/>
                      </a:lnTo>
                      <a:lnTo>
                        <a:pt x="307612" y="384244"/>
                      </a:lnTo>
                      <a:lnTo>
                        <a:pt x="306495" y="386004"/>
                      </a:lnTo>
                      <a:lnTo>
                        <a:pt x="306454" y="388506"/>
                      </a:lnTo>
                      <a:lnTo>
                        <a:pt x="306658" y="401236"/>
                      </a:lnTo>
                      <a:lnTo>
                        <a:pt x="306381" y="404699"/>
                      </a:lnTo>
                      <a:lnTo>
                        <a:pt x="305533" y="407674"/>
                      </a:lnTo>
                      <a:lnTo>
                        <a:pt x="304653" y="409182"/>
                      </a:lnTo>
                      <a:lnTo>
                        <a:pt x="304132" y="410355"/>
                      </a:lnTo>
                      <a:lnTo>
                        <a:pt x="305395" y="413322"/>
                      </a:lnTo>
                      <a:lnTo>
                        <a:pt x="306609" y="419271"/>
                      </a:lnTo>
                      <a:lnTo>
                        <a:pt x="307522" y="420436"/>
                      </a:lnTo>
                      <a:lnTo>
                        <a:pt x="308655" y="422857"/>
                      </a:lnTo>
                      <a:lnTo>
                        <a:pt x="309177" y="425155"/>
                      </a:lnTo>
                      <a:lnTo>
                        <a:pt x="308940" y="426035"/>
                      </a:lnTo>
                      <a:lnTo>
                        <a:pt x="306666" y="427127"/>
                      </a:lnTo>
                      <a:lnTo>
                        <a:pt x="305859" y="428057"/>
                      </a:lnTo>
                      <a:lnTo>
                        <a:pt x="305639" y="431455"/>
                      </a:lnTo>
                      <a:lnTo>
                        <a:pt x="304653" y="432686"/>
                      </a:lnTo>
                      <a:lnTo>
                        <a:pt x="302999" y="434299"/>
                      </a:lnTo>
                      <a:lnTo>
                        <a:pt x="301931" y="436141"/>
                      </a:lnTo>
                      <a:lnTo>
                        <a:pt x="301027" y="437404"/>
                      </a:lnTo>
                      <a:lnTo>
                        <a:pt x="300147" y="438154"/>
                      </a:lnTo>
                      <a:lnTo>
                        <a:pt x="299706" y="440403"/>
                      </a:lnTo>
                      <a:lnTo>
                        <a:pt x="299120" y="442677"/>
                      </a:lnTo>
                      <a:lnTo>
                        <a:pt x="297050" y="444185"/>
                      </a:lnTo>
                      <a:lnTo>
                        <a:pt x="296699" y="446980"/>
                      </a:lnTo>
                      <a:lnTo>
                        <a:pt x="296675" y="449287"/>
                      </a:lnTo>
                      <a:lnTo>
                        <a:pt x="297767" y="451617"/>
                      </a:lnTo>
                      <a:lnTo>
                        <a:pt x="301328" y="456467"/>
                      </a:lnTo>
                      <a:lnTo>
                        <a:pt x="301687" y="457632"/>
                      </a:lnTo>
                      <a:lnTo>
                        <a:pt x="299666" y="460558"/>
                      </a:lnTo>
                      <a:lnTo>
                        <a:pt x="298484" y="462587"/>
                      </a:lnTo>
                      <a:lnTo>
                        <a:pt x="295591" y="468805"/>
                      </a:lnTo>
                      <a:lnTo>
                        <a:pt x="295526" y="469954"/>
                      </a:lnTo>
                      <a:lnTo>
                        <a:pt x="296251" y="472888"/>
                      </a:lnTo>
                      <a:lnTo>
                        <a:pt x="300570" y="485463"/>
                      </a:lnTo>
                      <a:lnTo>
                        <a:pt x="301304" y="486490"/>
                      </a:lnTo>
                      <a:lnTo>
                        <a:pt x="302640" y="487696"/>
                      </a:lnTo>
                      <a:lnTo>
                        <a:pt x="304825" y="487558"/>
                      </a:lnTo>
                      <a:lnTo>
                        <a:pt x="308117" y="488919"/>
                      </a:lnTo>
                      <a:lnTo>
                        <a:pt x="309714" y="490467"/>
                      </a:lnTo>
                      <a:lnTo>
                        <a:pt x="309869" y="491233"/>
                      </a:lnTo>
                      <a:lnTo>
                        <a:pt x="309494" y="491747"/>
                      </a:lnTo>
                      <a:lnTo>
                        <a:pt x="307750" y="492798"/>
                      </a:lnTo>
                      <a:lnTo>
                        <a:pt x="305819" y="494151"/>
                      </a:lnTo>
                      <a:lnTo>
                        <a:pt x="305150" y="495447"/>
                      </a:lnTo>
                      <a:lnTo>
                        <a:pt x="305020" y="497484"/>
                      </a:lnTo>
                      <a:lnTo>
                        <a:pt x="305452" y="500540"/>
                      </a:lnTo>
                      <a:lnTo>
                        <a:pt x="304613" y="501518"/>
                      </a:lnTo>
                      <a:lnTo>
                        <a:pt x="302681" y="502700"/>
                      </a:lnTo>
                      <a:lnTo>
                        <a:pt x="301019" y="504395"/>
                      </a:lnTo>
                      <a:lnTo>
                        <a:pt x="299340" y="507223"/>
                      </a:lnTo>
                      <a:lnTo>
                        <a:pt x="296504" y="511518"/>
                      </a:lnTo>
                      <a:lnTo>
                        <a:pt x="295526" y="512708"/>
                      </a:lnTo>
                      <a:lnTo>
                        <a:pt x="295094" y="514183"/>
                      </a:lnTo>
                      <a:lnTo>
                        <a:pt x="293488" y="514688"/>
                      </a:lnTo>
                      <a:lnTo>
                        <a:pt x="290473" y="517614"/>
                      </a:lnTo>
                      <a:lnTo>
                        <a:pt x="289959" y="519097"/>
                      </a:lnTo>
                      <a:lnTo>
                        <a:pt x="290448" y="520499"/>
                      </a:lnTo>
                      <a:lnTo>
                        <a:pt x="291989" y="521673"/>
                      </a:lnTo>
                      <a:lnTo>
                        <a:pt x="293024" y="523392"/>
                      </a:lnTo>
                      <a:lnTo>
                        <a:pt x="293293" y="525584"/>
                      </a:lnTo>
                      <a:lnTo>
                        <a:pt x="293293" y="526945"/>
                      </a:lnTo>
                      <a:lnTo>
                        <a:pt x="293293" y="526986"/>
                      </a:lnTo>
                      <a:lnTo>
                        <a:pt x="291426" y="529040"/>
                      </a:lnTo>
                      <a:lnTo>
                        <a:pt x="288982" y="531387"/>
                      </a:lnTo>
                      <a:lnTo>
                        <a:pt x="285974" y="531852"/>
                      </a:lnTo>
                      <a:lnTo>
                        <a:pt x="284833" y="533050"/>
                      </a:lnTo>
                      <a:lnTo>
                        <a:pt x="285094" y="535535"/>
                      </a:lnTo>
                      <a:lnTo>
                        <a:pt x="286064" y="539064"/>
                      </a:lnTo>
                      <a:lnTo>
                        <a:pt x="286064" y="541835"/>
                      </a:lnTo>
                      <a:lnTo>
                        <a:pt x="285143" y="545005"/>
                      </a:lnTo>
                      <a:lnTo>
                        <a:pt x="282991" y="548461"/>
                      </a:lnTo>
                      <a:lnTo>
                        <a:pt x="279699" y="550832"/>
                      </a:lnTo>
                      <a:lnTo>
                        <a:pt x="276610" y="552120"/>
                      </a:lnTo>
                      <a:lnTo>
                        <a:pt x="274165" y="552120"/>
                      </a:lnTo>
                      <a:lnTo>
                        <a:pt x="271802" y="552373"/>
                      </a:lnTo>
                      <a:lnTo>
                        <a:pt x="270799" y="552747"/>
                      </a:lnTo>
                      <a:lnTo>
                        <a:pt x="268974" y="550653"/>
                      </a:lnTo>
                      <a:lnTo>
                        <a:pt x="260897" y="543734"/>
                      </a:lnTo>
                      <a:lnTo>
                        <a:pt x="257809" y="540042"/>
                      </a:lnTo>
                      <a:lnTo>
                        <a:pt x="254964" y="538314"/>
                      </a:lnTo>
                      <a:lnTo>
                        <a:pt x="248013" y="532389"/>
                      </a:lnTo>
                      <a:lnTo>
                        <a:pt x="247312" y="530482"/>
                      </a:lnTo>
                      <a:lnTo>
                        <a:pt x="246456" y="524403"/>
                      </a:lnTo>
                      <a:lnTo>
                        <a:pt x="245551" y="522691"/>
                      </a:lnTo>
                      <a:lnTo>
                        <a:pt x="243164" y="520491"/>
                      </a:lnTo>
                      <a:lnTo>
                        <a:pt x="237157" y="517565"/>
                      </a:lnTo>
                      <a:lnTo>
                        <a:pt x="234826" y="516114"/>
                      </a:lnTo>
                      <a:lnTo>
                        <a:pt x="232382" y="513450"/>
                      </a:lnTo>
                      <a:lnTo>
                        <a:pt x="228804" y="511559"/>
                      </a:lnTo>
                      <a:lnTo>
                        <a:pt x="224900" y="507688"/>
                      </a:lnTo>
                      <a:lnTo>
                        <a:pt x="222569" y="504599"/>
                      </a:lnTo>
                      <a:lnTo>
                        <a:pt x="219961" y="502553"/>
                      </a:lnTo>
                      <a:lnTo>
                        <a:pt x="211869" y="499684"/>
                      </a:lnTo>
                      <a:lnTo>
                        <a:pt x="207810" y="496824"/>
                      </a:lnTo>
                      <a:lnTo>
                        <a:pt x="200223" y="492774"/>
                      </a:lnTo>
                      <a:lnTo>
                        <a:pt x="196841" y="490198"/>
                      </a:lnTo>
                      <a:lnTo>
                        <a:pt x="188715" y="487069"/>
                      </a:lnTo>
                      <a:lnTo>
                        <a:pt x="186303" y="485586"/>
                      </a:lnTo>
                      <a:lnTo>
                        <a:pt x="178308" y="478243"/>
                      </a:lnTo>
                      <a:lnTo>
                        <a:pt x="172709" y="475847"/>
                      </a:lnTo>
                      <a:lnTo>
                        <a:pt x="168194" y="471723"/>
                      </a:lnTo>
                      <a:lnTo>
                        <a:pt x="154568" y="462962"/>
                      </a:lnTo>
                      <a:lnTo>
                        <a:pt x="152433" y="460175"/>
                      </a:lnTo>
                      <a:lnTo>
                        <a:pt x="150346" y="455847"/>
                      </a:lnTo>
                      <a:lnTo>
                        <a:pt x="147314" y="453272"/>
                      </a:lnTo>
                      <a:lnTo>
                        <a:pt x="143916" y="447347"/>
                      </a:lnTo>
                      <a:lnTo>
                        <a:pt x="138863" y="443875"/>
                      </a:lnTo>
                      <a:lnTo>
                        <a:pt x="133990" y="439271"/>
                      </a:lnTo>
                      <a:lnTo>
                        <a:pt x="132197" y="435065"/>
                      </a:lnTo>
                      <a:lnTo>
                        <a:pt x="128970" y="429735"/>
                      </a:lnTo>
                      <a:lnTo>
                        <a:pt x="128016" y="426883"/>
                      </a:lnTo>
                      <a:lnTo>
                        <a:pt x="125180" y="424039"/>
                      </a:lnTo>
                      <a:lnTo>
                        <a:pt x="124984" y="418432"/>
                      </a:lnTo>
                      <a:lnTo>
                        <a:pt x="123020" y="415832"/>
                      </a:lnTo>
                      <a:lnTo>
                        <a:pt x="124430" y="414569"/>
                      </a:lnTo>
                      <a:lnTo>
                        <a:pt x="125921" y="413998"/>
                      </a:lnTo>
                      <a:lnTo>
                        <a:pt x="127788" y="405270"/>
                      </a:lnTo>
                      <a:lnTo>
                        <a:pt x="126810" y="400902"/>
                      </a:lnTo>
                      <a:lnTo>
                        <a:pt x="121749" y="392972"/>
                      </a:lnTo>
                      <a:lnTo>
                        <a:pt x="119899" y="389158"/>
                      </a:lnTo>
                      <a:lnTo>
                        <a:pt x="118579" y="384292"/>
                      </a:lnTo>
                      <a:lnTo>
                        <a:pt x="116549" y="381391"/>
                      </a:lnTo>
                      <a:lnTo>
                        <a:pt x="113558" y="375303"/>
                      </a:lnTo>
                      <a:lnTo>
                        <a:pt x="111717" y="369900"/>
                      </a:lnTo>
                      <a:lnTo>
                        <a:pt x="107699" y="365972"/>
                      </a:lnTo>
                      <a:lnTo>
                        <a:pt x="106607" y="364578"/>
                      </a:lnTo>
                      <a:lnTo>
                        <a:pt x="105996" y="362574"/>
                      </a:lnTo>
                      <a:lnTo>
                        <a:pt x="103762" y="361164"/>
                      </a:lnTo>
                      <a:lnTo>
                        <a:pt x="103640" y="357015"/>
                      </a:lnTo>
                      <a:lnTo>
                        <a:pt x="102084" y="349159"/>
                      </a:lnTo>
                      <a:lnTo>
                        <a:pt x="99859" y="345190"/>
                      </a:lnTo>
                      <a:lnTo>
                        <a:pt x="91847" y="337790"/>
                      </a:lnTo>
                      <a:lnTo>
                        <a:pt x="91717" y="334946"/>
                      </a:lnTo>
                      <a:lnTo>
                        <a:pt x="91073" y="329763"/>
                      </a:lnTo>
                      <a:lnTo>
                        <a:pt x="89297" y="324156"/>
                      </a:lnTo>
                      <a:lnTo>
                        <a:pt x="80381" y="306764"/>
                      </a:lnTo>
                      <a:lnTo>
                        <a:pt x="78148" y="301589"/>
                      </a:lnTo>
                      <a:lnTo>
                        <a:pt x="75915" y="293187"/>
                      </a:lnTo>
                      <a:lnTo>
                        <a:pt x="73902" y="288411"/>
                      </a:lnTo>
                      <a:lnTo>
                        <a:pt x="71693" y="279919"/>
                      </a:lnTo>
                      <a:lnTo>
                        <a:pt x="68360" y="273481"/>
                      </a:lnTo>
                      <a:lnTo>
                        <a:pt x="66266" y="267890"/>
                      </a:lnTo>
                      <a:lnTo>
                        <a:pt x="64032" y="260946"/>
                      </a:lnTo>
                      <a:lnTo>
                        <a:pt x="63845" y="257222"/>
                      </a:lnTo>
                      <a:lnTo>
                        <a:pt x="59795" y="250833"/>
                      </a:lnTo>
                      <a:lnTo>
                        <a:pt x="57643" y="244973"/>
                      </a:lnTo>
                      <a:lnTo>
                        <a:pt x="53862" y="240075"/>
                      </a:lnTo>
                      <a:lnTo>
                        <a:pt x="50186" y="236350"/>
                      </a:lnTo>
                      <a:lnTo>
                        <a:pt x="48589" y="233702"/>
                      </a:lnTo>
                      <a:lnTo>
                        <a:pt x="43340" y="221176"/>
                      </a:lnTo>
                      <a:lnTo>
                        <a:pt x="42623" y="217467"/>
                      </a:lnTo>
                      <a:lnTo>
                        <a:pt x="39045" y="210581"/>
                      </a:lnTo>
                      <a:lnTo>
                        <a:pt x="35508" y="205626"/>
                      </a:lnTo>
                      <a:lnTo>
                        <a:pt x="33267" y="201649"/>
                      </a:lnTo>
                      <a:lnTo>
                        <a:pt x="30407" y="198063"/>
                      </a:lnTo>
                      <a:lnTo>
                        <a:pt x="13015" y="187028"/>
                      </a:lnTo>
                      <a:lnTo>
                        <a:pt x="6895" y="182440"/>
                      </a:lnTo>
                      <a:lnTo>
                        <a:pt x="4817" y="180256"/>
                      </a:lnTo>
                      <a:lnTo>
                        <a:pt x="3863" y="176817"/>
                      </a:lnTo>
                      <a:lnTo>
                        <a:pt x="4262" y="174804"/>
                      </a:lnTo>
                      <a:lnTo>
                        <a:pt x="6064" y="172913"/>
                      </a:lnTo>
                      <a:lnTo>
                        <a:pt x="8549" y="174380"/>
                      </a:lnTo>
                      <a:lnTo>
                        <a:pt x="10057" y="173777"/>
                      </a:lnTo>
                      <a:lnTo>
                        <a:pt x="11255" y="171324"/>
                      </a:lnTo>
                      <a:lnTo>
                        <a:pt x="11271" y="167599"/>
                      </a:lnTo>
                      <a:lnTo>
                        <a:pt x="9755" y="162799"/>
                      </a:lnTo>
                      <a:lnTo>
                        <a:pt x="4181" y="153557"/>
                      </a:lnTo>
                      <a:lnTo>
                        <a:pt x="4596" y="151601"/>
                      </a:lnTo>
                      <a:lnTo>
                        <a:pt x="5648" y="149377"/>
                      </a:lnTo>
                      <a:lnTo>
                        <a:pt x="3504" y="144935"/>
                      </a:lnTo>
                      <a:lnTo>
                        <a:pt x="1165" y="141365"/>
                      </a:lnTo>
                      <a:lnTo>
                        <a:pt x="0" y="138627"/>
                      </a:lnTo>
                      <a:lnTo>
                        <a:pt x="1320" y="128220"/>
                      </a:lnTo>
                      <a:lnTo>
                        <a:pt x="2584" y="125579"/>
                      </a:lnTo>
                      <a:lnTo>
                        <a:pt x="11018" y="115009"/>
                      </a:lnTo>
                      <a:lnTo>
                        <a:pt x="13333" y="110494"/>
                      </a:lnTo>
                      <a:lnTo>
                        <a:pt x="16960" y="107707"/>
                      </a:lnTo>
                      <a:lnTo>
                        <a:pt x="20651" y="103453"/>
                      </a:lnTo>
                      <a:lnTo>
                        <a:pt x="25093" y="100217"/>
                      </a:lnTo>
                      <a:lnTo>
                        <a:pt x="25745" y="100771"/>
                      </a:lnTo>
                      <a:lnTo>
                        <a:pt x="26356" y="101318"/>
                      </a:lnTo>
                      <a:lnTo>
                        <a:pt x="26405" y="102401"/>
                      </a:lnTo>
                      <a:lnTo>
                        <a:pt x="26560" y="103339"/>
                      </a:lnTo>
                      <a:lnTo>
                        <a:pt x="27057" y="104243"/>
                      </a:lnTo>
                      <a:lnTo>
                        <a:pt x="27098" y="105873"/>
                      </a:lnTo>
                      <a:lnTo>
                        <a:pt x="27676" y="106965"/>
                      </a:lnTo>
                      <a:lnTo>
                        <a:pt x="27717" y="108212"/>
                      </a:lnTo>
                      <a:lnTo>
                        <a:pt x="27758" y="109883"/>
                      </a:lnTo>
                      <a:lnTo>
                        <a:pt x="27473" y="110722"/>
                      </a:lnTo>
                      <a:lnTo>
                        <a:pt x="27750" y="112189"/>
                      </a:lnTo>
                      <a:lnTo>
                        <a:pt x="28695" y="114895"/>
                      </a:lnTo>
                      <a:lnTo>
                        <a:pt x="28329" y="115742"/>
                      </a:lnTo>
                      <a:lnTo>
                        <a:pt x="27424" y="116280"/>
                      </a:lnTo>
                      <a:lnTo>
                        <a:pt x="26519" y="117022"/>
                      </a:lnTo>
                      <a:lnTo>
                        <a:pt x="25623" y="118709"/>
                      </a:lnTo>
                      <a:lnTo>
                        <a:pt x="24270" y="118660"/>
                      </a:lnTo>
                      <a:lnTo>
                        <a:pt x="22298" y="117910"/>
                      </a:lnTo>
                      <a:lnTo>
                        <a:pt x="20986" y="118856"/>
                      </a:lnTo>
                      <a:lnTo>
                        <a:pt x="20497" y="120641"/>
                      </a:lnTo>
                      <a:lnTo>
                        <a:pt x="20904" y="122124"/>
                      </a:lnTo>
                      <a:lnTo>
                        <a:pt x="21034" y="123517"/>
                      </a:lnTo>
                      <a:lnTo>
                        <a:pt x="21890" y="124699"/>
                      </a:lnTo>
                      <a:lnTo>
                        <a:pt x="24392" y="124813"/>
                      </a:lnTo>
                      <a:lnTo>
                        <a:pt x="22135" y="128627"/>
                      </a:lnTo>
                      <a:lnTo>
                        <a:pt x="21034" y="130355"/>
                      </a:lnTo>
                      <a:lnTo>
                        <a:pt x="21279" y="131439"/>
                      </a:lnTo>
                      <a:lnTo>
                        <a:pt x="22624" y="132392"/>
                      </a:lnTo>
                      <a:lnTo>
                        <a:pt x="23634" y="132458"/>
                      </a:lnTo>
                      <a:lnTo>
                        <a:pt x="25867" y="131056"/>
                      </a:lnTo>
                      <a:lnTo>
                        <a:pt x="27383" y="129018"/>
                      </a:lnTo>
                      <a:lnTo>
                        <a:pt x="28247" y="127878"/>
                      </a:lnTo>
                      <a:lnTo>
                        <a:pt x="29690" y="127429"/>
                      </a:lnTo>
                      <a:lnTo>
                        <a:pt x="31572" y="128375"/>
                      </a:lnTo>
                      <a:lnTo>
                        <a:pt x="34066" y="130265"/>
                      </a:lnTo>
                      <a:lnTo>
                        <a:pt x="36992" y="131928"/>
                      </a:lnTo>
                      <a:lnTo>
                        <a:pt x="38173" y="132833"/>
                      </a:lnTo>
                      <a:lnTo>
                        <a:pt x="40309" y="132572"/>
                      </a:lnTo>
                      <a:lnTo>
                        <a:pt x="42110" y="132197"/>
                      </a:lnTo>
                      <a:lnTo>
                        <a:pt x="43617" y="133566"/>
                      </a:lnTo>
                      <a:lnTo>
                        <a:pt x="45141" y="134715"/>
                      </a:lnTo>
                      <a:lnTo>
                        <a:pt x="45500" y="138660"/>
                      </a:lnTo>
                      <a:lnTo>
                        <a:pt x="46641" y="141528"/>
                      </a:lnTo>
                      <a:lnTo>
                        <a:pt x="48043" y="143737"/>
                      </a:lnTo>
                      <a:lnTo>
                        <a:pt x="49738" y="146377"/>
                      </a:lnTo>
                      <a:lnTo>
                        <a:pt x="51294" y="147274"/>
                      </a:lnTo>
                      <a:lnTo>
                        <a:pt x="53315" y="147290"/>
                      </a:lnTo>
                      <a:lnTo>
                        <a:pt x="56054" y="148268"/>
                      </a:lnTo>
                      <a:lnTo>
                        <a:pt x="57121" y="147616"/>
                      </a:lnTo>
                      <a:lnTo>
                        <a:pt x="58067" y="145782"/>
                      </a:lnTo>
                      <a:lnTo>
                        <a:pt x="58556" y="144739"/>
                      </a:lnTo>
                      <a:lnTo>
                        <a:pt x="59950" y="144291"/>
                      </a:lnTo>
                      <a:lnTo>
                        <a:pt x="60072" y="143109"/>
                      </a:lnTo>
                      <a:lnTo>
                        <a:pt x="59786" y="141667"/>
                      </a:lnTo>
                      <a:lnTo>
                        <a:pt x="60243" y="139972"/>
                      </a:lnTo>
                      <a:lnTo>
                        <a:pt x="61384" y="138488"/>
                      </a:lnTo>
                      <a:lnTo>
                        <a:pt x="64318" y="136320"/>
                      </a:lnTo>
                      <a:lnTo>
                        <a:pt x="65736" y="135424"/>
                      </a:lnTo>
                      <a:lnTo>
                        <a:pt x="66021" y="134088"/>
                      </a:lnTo>
                      <a:lnTo>
                        <a:pt x="66559" y="132286"/>
                      </a:lnTo>
                      <a:lnTo>
                        <a:pt x="66347" y="131300"/>
                      </a:lnTo>
                      <a:lnTo>
                        <a:pt x="65760" y="130062"/>
                      </a:lnTo>
                      <a:lnTo>
                        <a:pt x="65899" y="128334"/>
                      </a:lnTo>
                      <a:lnTo>
                        <a:pt x="66673" y="125995"/>
                      </a:lnTo>
                      <a:lnTo>
                        <a:pt x="67781" y="123273"/>
                      </a:lnTo>
                      <a:lnTo>
                        <a:pt x="68735" y="119801"/>
                      </a:lnTo>
                      <a:lnTo>
                        <a:pt x="69093" y="118171"/>
                      </a:lnTo>
                      <a:lnTo>
                        <a:pt x="70120" y="117128"/>
                      </a:lnTo>
                      <a:lnTo>
                        <a:pt x="70512" y="115620"/>
                      </a:lnTo>
                      <a:lnTo>
                        <a:pt x="71066" y="113852"/>
                      </a:lnTo>
                      <a:lnTo>
                        <a:pt x="72337" y="111863"/>
                      </a:lnTo>
                      <a:lnTo>
                        <a:pt x="72296" y="109736"/>
                      </a:lnTo>
                      <a:lnTo>
                        <a:pt x="72826" y="108791"/>
                      </a:lnTo>
                      <a:lnTo>
                        <a:pt x="72875" y="106411"/>
                      </a:lnTo>
                      <a:lnTo>
                        <a:pt x="74138" y="101513"/>
                      </a:lnTo>
                      <a:lnTo>
                        <a:pt x="74187" y="100503"/>
                      </a:lnTo>
                      <a:lnTo>
                        <a:pt x="74733" y="100225"/>
                      </a:lnTo>
                      <a:lnTo>
                        <a:pt x="75703" y="100535"/>
                      </a:lnTo>
                      <a:lnTo>
                        <a:pt x="76526" y="101652"/>
                      </a:lnTo>
                      <a:lnTo>
                        <a:pt x="76787" y="102744"/>
                      </a:lnTo>
                      <a:lnTo>
                        <a:pt x="77137" y="103241"/>
                      </a:lnTo>
                      <a:lnTo>
                        <a:pt x="77920" y="103151"/>
                      </a:lnTo>
                      <a:lnTo>
                        <a:pt x="78816" y="102532"/>
                      </a:lnTo>
                      <a:lnTo>
                        <a:pt x="78759" y="101538"/>
                      </a:lnTo>
                      <a:lnTo>
                        <a:pt x="78099" y="100559"/>
                      </a:lnTo>
                      <a:lnTo>
                        <a:pt x="77920" y="99997"/>
                      </a:lnTo>
                      <a:lnTo>
                        <a:pt x="78205" y="99084"/>
                      </a:lnTo>
                      <a:lnTo>
                        <a:pt x="79566" y="97096"/>
                      </a:lnTo>
                      <a:lnTo>
                        <a:pt x="81065" y="94781"/>
                      </a:lnTo>
                      <a:lnTo>
                        <a:pt x="84276" y="89997"/>
                      </a:lnTo>
                      <a:lnTo>
                        <a:pt x="86208" y="88033"/>
                      </a:lnTo>
                      <a:lnTo>
                        <a:pt x="91212" y="85963"/>
                      </a:lnTo>
                      <a:lnTo>
                        <a:pt x="94985" y="84399"/>
                      </a:lnTo>
                      <a:lnTo>
                        <a:pt x="98620" y="82883"/>
                      </a:lnTo>
                      <a:lnTo>
                        <a:pt x="103550" y="80740"/>
                      </a:lnTo>
                      <a:lnTo>
                        <a:pt x="110510" y="77683"/>
                      </a:lnTo>
                      <a:lnTo>
                        <a:pt x="115506" y="75491"/>
                      </a:lnTo>
                      <a:lnTo>
                        <a:pt x="119964" y="71579"/>
                      </a:lnTo>
                      <a:lnTo>
                        <a:pt x="123420" y="68556"/>
                      </a:lnTo>
                      <a:lnTo>
                        <a:pt x="126378" y="65940"/>
                      </a:lnTo>
                      <a:lnTo>
                        <a:pt x="130127" y="62622"/>
                      </a:lnTo>
                      <a:lnTo>
                        <a:pt x="135196" y="55434"/>
                      </a:lnTo>
                      <a:lnTo>
                        <a:pt x="138692" y="50504"/>
                      </a:lnTo>
                      <a:lnTo>
                        <a:pt x="141243" y="46877"/>
                      </a:lnTo>
                      <a:lnTo>
                        <a:pt x="143003" y="44595"/>
                      </a:lnTo>
                      <a:lnTo>
                        <a:pt x="144405" y="38157"/>
                      </a:lnTo>
                      <a:lnTo>
                        <a:pt x="146019" y="30830"/>
                      </a:lnTo>
                      <a:lnTo>
                        <a:pt x="146728" y="27554"/>
                      </a:lnTo>
                      <a:lnTo>
                        <a:pt x="147037" y="26430"/>
                      </a:lnTo>
                      <a:lnTo>
                        <a:pt x="147722" y="26902"/>
                      </a:lnTo>
                      <a:lnTo>
                        <a:pt x="148521" y="27693"/>
                      </a:lnTo>
                      <a:lnTo>
                        <a:pt x="149491" y="27742"/>
                      </a:lnTo>
                      <a:lnTo>
                        <a:pt x="150403" y="27693"/>
                      </a:lnTo>
                      <a:lnTo>
                        <a:pt x="150966" y="27253"/>
                      </a:lnTo>
                      <a:lnTo>
                        <a:pt x="150118" y="19926"/>
                      </a:lnTo>
                      <a:lnTo>
                        <a:pt x="150249" y="18329"/>
                      </a:lnTo>
                      <a:lnTo>
                        <a:pt x="150721" y="16422"/>
                      </a:lnTo>
                      <a:lnTo>
                        <a:pt x="150623" y="15387"/>
                      </a:lnTo>
                      <a:lnTo>
                        <a:pt x="149091" y="13912"/>
                      </a:lnTo>
                      <a:lnTo>
                        <a:pt x="146622" y="10994"/>
                      </a:lnTo>
                      <a:lnTo>
                        <a:pt x="145595" y="8386"/>
                      </a:lnTo>
                      <a:lnTo>
                        <a:pt x="144976" y="6186"/>
                      </a:lnTo>
                      <a:lnTo>
                        <a:pt x="143248" y="4743"/>
                      </a:lnTo>
                      <a:lnTo>
                        <a:pt x="141479" y="3472"/>
                      </a:lnTo>
                      <a:lnTo>
                        <a:pt x="141618" y="2429"/>
                      </a:lnTo>
                      <a:lnTo>
                        <a:pt x="142678" y="2429"/>
                      </a:lnTo>
                      <a:lnTo>
                        <a:pt x="145350" y="3456"/>
                      </a:lnTo>
                      <a:lnTo>
                        <a:pt x="147274" y="3121"/>
                      </a:lnTo>
                      <a:lnTo>
                        <a:pt x="148708" y="3015"/>
                      </a:lnTo>
                      <a:lnTo>
                        <a:pt x="150102" y="1940"/>
                      </a:lnTo>
                      <a:lnTo>
                        <a:pt x="151585" y="0"/>
                      </a:lnTo>
                      <a:lnTo>
                        <a:pt x="152587" y="0"/>
                      </a:lnTo>
                      <a:lnTo>
                        <a:pt x="153720" y="261"/>
                      </a:lnTo>
                      <a:lnTo>
                        <a:pt x="155798" y="2241"/>
                      </a:lnTo>
                      <a:lnTo>
                        <a:pt x="157037" y="3415"/>
                      </a:lnTo>
                      <a:lnTo>
                        <a:pt x="158512" y="4385"/>
                      </a:lnTo>
                      <a:lnTo>
                        <a:pt x="159914" y="4719"/>
                      </a:lnTo>
                      <a:lnTo>
                        <a:pt x="161186" y="4833"/>
                      </a:lnTo>
                      <a:lnTo>
                        <a:pt x="162074" y="4743"/>
                      </a:lnTo>
                      <a:lnTo>
                        <a:pt x="162603" y="6072"/>
                      </a:lnTo>
                      <a:lnTo>
                        <a:pt x="163223" y="7693"/>
                      </a:lnTo>
                      <a:lnTo>
                        <a:pt x="164804" y="8794"/>
                      </a:lnTo>
                      <a:lnTo>
                        <a:pt x="166670" y="9837"/>
                      </a:lnTo>
                      <a:lnTo>
                        <a:pt x="168194" y="11614"/>
                      </a:lnTo>
                      <a:lnTo>
                        <a:pt x="169213" y="12828"/>
                      </a:lnTo>
                      <a:lnTo>
                        <a:pt x="170419" y="14254"/>
                      </a:lnTo>
                      <a:lnTo>
                        <a:pt x="171593" y="16137"/>
                      </a:lnTo>
                      <a:lnTo>
                        <a:pt x="172660" y="19453"/>
                      </a:lnTo>
                      <a:lnTo>
                        <a:pt x="173198" y="21703"/>
                      </a:lnTo>
                      <a:lnTo>
                        <a:pt x="173809" y="22958"/>
                      </a:lnTo>
                      <a:lnTo>
                        <a:pt x="173671" y="24221"/>
                      </a:lnTo>
                      <a:lnTo>
                        <a:pt x="174918" y="26527"/>
                      </a:lnTo>
                      <a:lnTo>
                        <a:pt x="175847" y="27807"/>
                      </a:lnTo>
                      <a:lnTo>
                        <a:pt x="177477" y="28622"/>
                      </a:lnTo>
                      <a:lnTo>
                        <a:pt x="180606" y="29551"/>
                      </a:lnTo>
                      <a:lnTo>
                        <a:pt x="182285" y="31637"/>
                      </a:lnTo>
                      <a:lnTo>
                        <a:pt x="183768" y="32436"/>
                      </a:lnTo>
                      <a:lnTo>
                        <a:pt x="185349" y="34579"/>
                      </a:lnTo>
                      <a:lnTo>
                        <a:pt x="186743" y="35223"/>
                      </a:lnTo>
                      <a:lnTo>
                        <a:pt x="188512" y="35101"/>
                      </a:lnTo>
                      <a:lnTo>
                        <a:pt x="190288" y="36136"/>
                      </a:lnTo>
                      <a:lnTo>
                        <a:pt x="191625" y="38157"/>
                      </a:lnTo>
                      <a:lnTo>
                        <a:pt x="192489" y="40708"/>
                      </a:lnTo>
                      <a:lnTo>
                        <a:pt x="193833" y="42159"/>
                      </a:lnTo>
                      <a:lnTo>
                        <a:pt x="194502" y="44767"/>
                      </a:lnTo>
                      <a:lnTo>
                        <a:pt x="193735" y="47823"/>
                      </a:lnTo>
                      <a:lnTo>
                        <a:pt x="194445" y="49445"/>
                      </a:lnTo>
                      <a:lnTo>
                        <a:pt x="195838" y="50773"/>
                      </a:lnTo>
                      <a:lnTo>
                        <a:pt x="198087" y="52166"/>
                      </a:lnTo>
                      <a:lnTo>
                        <a:pt x="200149" y="51808"/>
                      </a:lnTo>
                      <a:lnTo>
                        <a:pt x="201209" y="52281"/>
                      </a:lnTo>
                      <a:lnTo>
                        <a:pt x="201877" y="53552"/>
                      </a:lnTo>
                      <a:lnTo>
                        <a:pt x="202260" y="55051"/>
                      </a:lnTo>
                      <a:lnTo>
                        <a:pt x="203157" y="58743"/>
                      </a:lnTo>
                      <a:lnTo>
                        <a:pt x="203621" y="61066"/>
                      </a:lnTo>
                      <a:lnTo>
                        <a:pt x="202782" y="63307"/>
                      </a:lnTo>
                      <a:lnTo>
                        <a:pt x="202480" y="64872"/>
                      </a:lnTo>
                      <a:lnTo>
                        <a:pt x="202928" y="66966"/>
                      </a:lnTo>
                      <a:lnTo>
                        <a:pt x="205072" y="67977"/>
                      </a:lnTo>
                      <a:lnTo>
                        <a:pt x="207011" y="68808"/>
                      </a:lnTo>
                      <a:lnTo>
                        <a:pt x="208226" y="70438"/>
                      </a:lnTo>
                      <a:lnTo>
                        <a:pt x="209554" y="70878"/>
                      </a:lnTo>
                      <a:lnTo>
                        <a:pt x="211445" y="70780"/>
                      </a:lnTo>
                      <a:lnTo>
                        <a:pt x="213849" y="70373"/>
                      </a:lnTo>
                      <a:lnTo>
                        <a:pt x="215185" y="69452"/>
                      </a:lnTo>
                      <a:lnTo>
                        <a:pt x="216049" y="69167"/>
                      </a:lnTo>
                      <a:lnTo>
                        <a:pt x="217003" y="69574"/>
                      </a:lnTo>
                      <a:lnTo>
                        <a:pt x="219146" y="70471"/>
                      </a:lnTo>
                      <a:lnTo>
                        <a:pt x="221746" y="71489"/>
                      </a:lnTo>
                      <a:lnTo>
                        <a:pt x="224109" y="70895"/>
                      </a:lnTo>
                      <a:lnTo>
                        <a:pt x="226147" y="70626"/>
                      </a:lnTo>
                      <a:lnTo>
                        <a:pt x="228168" y="70031"/>
                      </a:lnTo>
                      <a:lnTo>
                        <a:pt x="230230" y="68360"/>
                      </a:lnTo>
                      <a:lnTo>
                        <a:pt x="231950" y="68417"/>
                      </a:lnTo>
                      <a:lnTo>
                        <a:pt x="233237" y="67276"/>
                      </a:lnTo>
                      <a:lnTo>
                        <a:pt x="234851" y="65459"/>
                      </a:lnTo>
                      <a:lnTo>
                        <a:pt x="236456" y="63609"/>
                      </a:lnTo>
                      <a:lnTo>
                        <a:pt x="237703" y="63209"/>
                      </a:lnTo>
                      <a:lnTo>
                        <a:pt x="239716" y="64090"/>
                      </a:lnTo>
                      <a:lnTo>
                        <a:pt x="242487" y="65345"/>
                      </a:lnTo>
                      <a:lnTo>
                        <a:pt x="244060" y="66991"/>
                      </a:lnTo>
                      <a:lnTo>
                        <a:pt x="245266" y="67431"/>
                      </a:lnTo>
                      <a:lnTo>
                        <a:pt x="246521" y="68645"/>
                      </a:lnTo>
                      <a:lnTo>
                        <a:pt x="248917" y="68662"/>
                      </a:lnTo>
                      <a:lnTo>
                        <a:pt x="251493" y="68010"/>
                      </a:lnTo>
                      <a:lnTo>
                        <a:pt x="253554" y="65989"/>
                      </a:lnTo>
                      <a:lnTo>
                        <a:pt x="255690" y="65394"/>
                      </a:lnTo>
                      <a:lnTo>
                        <a:pt x="257140" y="64831"/>
                      </a:lnTo>
                      <a:lnTo>
                        <a:pt x="258485" y="65182"/>
                      </a:lnTo>
                      <a:lnTo>
                        <a:pt x="263676" y="68890"/>
                      </a:lnTo>
                      <a:lnTo>
                        <a:pt x="265095" y="70789"/>
                      </a:lnTo>
                      <a:lnTo>
                        <a:pt x="266879" y="71163"/>
                      </a:lnTo>
                      <a:lnTo>
                        <a:pt x="268354" y="72207"/>
                      </a:lnTo>
                      <a:lnTo>
                        <a:pt x="270799" y="73339"/>
                      </a:lnTo>
                      <a:lnTo>
                        <a:pt x="272136" y="74480"/>
                      </a:lnTo>
                      <a:lnTo>
                        <a:pt x="273864" y="75190"/>
                      </a:lnTo>
                      <a:lnTo>
                        <a:pt x="275102" y="76803"/>
                      </a:lnTo>
                      <a:lnTo>
                        <a:pt x="277083" y="77797"/>
                      </a:lnTo>
                      <a:lnTo>
                        <a:pt x="278786" y="78352"/>
                      </a:lnTo>
                      <a:lnTo>
                        <a:pt x="279560" y="79656"/>
                      </a:lnTo>
                      <a:lnTo>
                        <a:pt x="279569" y="80519"/>
                      </a:lnTo>
                      <a:lnTo>
                        <a:pt x="279332" y="81106"/>
                      </a:lnTo>
                      <a:lnTo>
                        <a:pt x="277523" y="84521"/>
                      </a:lnTo>
                      <a:lnTo>
                        <a:pt x="273978" y="91212"/>
                      </a:lnTo>
                      <a:lnTo>
                        <a:pt x="270775" y="97226"/>
                      </a:lnTo>
                      <a:lnTo>
                        <a:pt x="265747" y="106705"/>
                      </a:lnTo>
                      <a:lnTo>
                        <a:pt x="262935" y="112002"/>
                      </a:lnTo>
                      <a:lnTo>
                        <a:pt x="263652" y="112230"/>
                      </a:lnTo>
                      <a:lnTo>
                        <a:pt x="268028" y="114544"/>
                      </a:lnTo>
                      <a:lnTo>
                        <a:pt x="269112" y="114642"/>
                      </a:lnTo>
                      <a:lnTo>
                        <a:pt x="270718" y="114055"/>
                      </a:lnTo>
                      <a:lnTo>
                        <a:pt x="271761" y="113118"/>
                      </a:lnTo>
                      <a:lnTo>
                        <a:pt x="272747" y="112996"/>
                      </a:lnTo>
                      <a:lnTo>
                        <a:pt x="273766" y="113876"/>
                      </a:lnTo>
                      <a:lnTo>
                        <a:pt x="275208" y="115042"/>
                      </a:lnTo>
                      <a:lnTo>
                        <a:pt x="276243" y="118416"/>
                      </a:lnTo>
                      <a:lnTo>
                        <a:pt x="277009" y="120054"/>
                      </a:lnTo>
                      <a:lnTo>
                        <a:pt x="278811" y="121317"/>
                      </a:lnTo>
                      <a:lnTo>
                        <a:pt x="280742" y="123411"/>
                      </a:lnTo>
                      <a:close/>
                    </a:path>
                  </a:pathLst>
                </a:custGeom>
                <a:solidFill>
                  <a:srgbClr val="D6D6D2"/>
                </a:solidFill>
                <a:ln w="6112" cap="rnd">
                  <a:solidFill>
                    <a:srgbClr val="FFFFFF"/>
                  </a:solidFill>
                  <a:prstDash val="solid"/>
                  <a:round/>
                </a:ln>
              </p:spPr>
              <p:txBody>
                <a:bodyPr rtlCol="0" anchor="ctr"/>
                <a:lstStyle/>
                <a:p>
                  <a:endParaRPr lang="en-US"/>
                </a:p>
              </p:txBody>
            </p:sp>
            <p:sp>
              <p:nvSpPr>
                <p:cNvPr id="650" name="Freeform: Shape 649">
                  <a:extLst>
                    <a:ext uri="{FF2B5EF4-FFF2-40B4-BE49-F238E27FC236}">
                      <a16:creationId xmlns:a16="http://schemas.microsoft.com/office/drawing/2014/main" id="{224A7706-507D-4ADB-B0CB-8E0D8BC0C481}"/>
                    </a:ext>
                  </a:extLst>
                </p:cNvPr>
                <p:cNvSpPr/>
                <p:nvPr/>
              </p:nvSpPr>
              <p:spPr>
                <a:xfrm>
                  <a:off x="3884358" y="4236509"/>
                  <a:ext cx="144641" cy="71522"/>
                </a:xfrm>
                <a:custGeom>
                  <a:avLst/>
                  <a:gdLst>
                    <a:gd name="connsiteX0" fmla="*/ 91081 w 144641"/>
                    <a:gd name="connsiteY0" fmla="*/ 839 h 71522"/>
                    <a:gd name="connsiteX1" fmla="*/ 94651 w 144641"/>
                    <a:gd name="connsiteY1" fmla="*/ 1956 h 71522"/>
                    <a:gd name="connsiteX2" fmla="*/ 97112 w 144641"/>
                    <a:gd name="connsiteY2" fmla="*/ 1809 h 71522"/>
                    <a:gd name="connsiteX3" fmla="*/ 99484 w 144641"/>
                    <a:gd name="connsiteY3" fmla="*/ 2600 h 71522"/>
                    <a:gd name="connsiteX4" fmla="*/ 100511 w 144641"/>
                    <a:gd name="connsiteY4" fmla="*/ 4336 h 71522"/>
                    <a:gd name="connsiteX5" fmla="*/ 101586 w 144641"/>
                    <a:gd name="connsiteY5" fmla="*/ 5077 h 71522"/>
                    <a:gd name="connsiteX6" fmla="*/ 107405 w 144641"/>
                    <a:gd name="connsiteY6" fmla="*/ 4890 h 71522"/>
                    <a:gd name="connsiteX7" fmla="*/ 112181 w 144641"/>
                    <a:gd name="connsiteY7" fmla="*/ 5745 h 71522"/>
                    <a:gd name="connsiteX8" fmla="*/ 122637 w 144641"/>
                    <a:gd name="connsiteY8" fmla="*/ 10872 h 71522"/>
                    <a:gd name="connsiteX9" fmla="*/ 128888 w 144641"/>
                    <a:gd name="connsiteY9" fmla="*/ 15941 h 71522"/>
                    <a:gd name="connsiteX10" fmla="*/ 132197 w 144641"/>
                    <a:gd name="connsiteY10" fmla="*/ 21320 h 71522"/>
                    <a:gd name="connsiteX11" fmla="*/ 140208 w 144641"/>
                    <a:gd name="connsiteY11" fmla="*/ 28280 h 71522"/>
                    <a:gd name="connsiteX12" fmla="*/ 139743 w 144641"/>
                    <a:gd name="connsiteY12" fmla="*/ 28687 h 71522"/>
                    <a:gd name="connsiteX13" fmla="*/ 138374 w 144641"/>
                    <a:gd name="connsiteY13" fmla="*/ 31059 h 71522"/>
                    <a:gd name="connsiteX14" fmla="*/ 137624 w 144641"/>
                    <a:gd name="connsiteY14" fmla="*/ 33088 h 71522"/>
                    <a:gd name="connsiteX15" fmla="*/ 139393 w 144641"/>
                    <a:gd name="connsiteY15" fmla="*/ 35231 h 71522"/>
                    <a:gd name="connsiteX16" fmla="*/ 139923 w 144641"/>
                    <a:gd name="connsiteY16" fmla="*/ 37505 h 71522"/>
                    <a:gd name="connsiteX17" fmla="*/ 140925 w 144641"/>
                    <a:gd name="connsiteY17" fmla="*/ 39974 h 71522"/>
                    <a:gd name="connsiteX18" fmla="*/ 142490 w 144641"/>
                    <a:gd name="connsiteY18" fmla="*/ 42452 h 71522"/>
                    <a:gd name="connsiteX19" fmla="*/ 144234 w 144641"/>
                    <a:gd name="connsiteY19" fmla="*/ 47056 h 71522"/>
                    <a:gd name="connsiteX20" fmla="*/ 144642 w 144641"/>
                    <a:gd name="connsiteY20" fmla="*/ 48907 h 71522"/>
                    <a:gd name="connsiteX21" fmla="*/ 144144 w 144641"/>
                    <a:gd name="connsiteY21" fmla="*/ 50105 h 71522"/>
                    <a:gd name="connsiteX22" fmla="*/ 142482 w 144641"/>
                    <a:gd name="connsiteY22" fmla="*/ 50838 h 71522"/>
                    <a:gd name="connsiteX23" fmla="*/ 140925 w 144641"/>
                    <a:gd name="connsiteY23" fmla="*/ 52998 h 71522"/>
                    <a:gd name="connsiteX24" fmla="*/ 140502 w 144641"/>
                    <a:gd name="connsiteY24" fmla="*/ 55622 h 71522"/>
                    <a:gd name="connsiteX25" fmla="*/ 140803 w 144641"/>
                    <a:gd name="connsiteY25" fmla="*/ 56926 h 71522"/>
                    <a:gd name="connsiteX26" fmla="*/ 136149 w 144641"/>
                    <a:gd name="connsiteY26" fmla="*/ 61123 h 71522"/>
                    <a:gd name="connsiteX27" fmla="*/ 134960 w 144641"/>
                    <a:gd name="connsiteY27" fmla="*/ 61824 h 71522"/>
                    <a:gd name="connsiteX28" fmla="*/ 134161 w 144641"/>
                    <a:gd name="connsiteY28" fmla="*/ 61172 h 71522"/>
                    <a:gd name="connsiteX29" fmla="*/ 133167 w 144641"/>
                    <a:gd name="connsiteY29" fmla="*/ 59069 h 71522"/>
                    <a:gd name="connsiteX30" fmla="*/ 131985 w 144641"/>
                    <a:gd name="connsiteY30" fmla="*/ 57366 h 71522"/>
                    <a:gd name="connsiteX31" fmla="*/ 131349 w 144641"/>
                    <a:gd name="connsiteY31" fmla="*/ 56771 h 71522"/>
                    <a:gd name="connsiteX32" fmla="*/ 130983 w 144641"/>
                    <a:gd name="connsiteY32" fmla="*/ 56747 h 71522"/>
                    <a:gd name="connsiteX33" fmla="*/ 130616 w 144641"/>
                    <a:gd name="connsiteY33" fmla="*/ 57138 h 71522"/>
                    <a:gd name="connsiteX34" fmla="*/ 130445 w 144641"/>
                    <a:gd name="connsiteY34" fmla="*/ 58059 h 71522"/>
                    <a:gd name="connsiteX35" fmla="*/ 131056 w 144641"/>
                    <a:gd name="connsiteY35" fmla="*/ 62003 h 71522"/>
                    <a:gd name="connsiteX36" fmla="*/ 130542 w 144641"/>
                    <a:gd name="connsiteY36" fmla="*/ 63600 h 71522"/>
                    <a:gd name="connsiteX37" fmla="*/ 128970 w 144641"/>
                    <a:gd name="connsiteY37" fmla="*/ 64823 h 71522"/>
                    <a:gd name="connsiteX38" fmla="*/ 127160 w 144641"/>
                    <a:gd name="connsiteY38" fmla="*/ 71245 h 71522"/>
                    <a:gd name="connsiteX39" fmla="*/ 126451 w 144641"/>
                    <a:gd name="connsiteY39" fmla="*/ 70430 h 71522"/>
                    <a:gd name="connsiteX40" fmla="*/ 120494 w 144641"/>
                    <a:gd name="connsiteY40" fmla="*/ 61783 h 71522"/>
                    <a:gd name="connsiteX41" fmla="*/ 115335 w 144641"/>
                    <a:gd name="connsiteY41" fmla="*/ 51074 h 71522"/>
                    <a:gd name="connsiteX42" fmla="*/ 114259 w 144641"/>
                    <a:gd name="connsiteY42" fmla="*/ 46225 h 71522"/>
                    <a:gd name="connsiteX43" fmla="*/ 115596 w 144641"/>
                    <a:gd name="connsiteY43" fmla="*/ 45940 h 71522"/>
                    <a:gd name="connsiteX44" fmla="*/ 116892 w 144641"/>
                    <a:gd name="connsiteY44" fmla="*/ 46046 h 71522"/>
                    <a:gd name="connsiteX45" fmla="*/ 117584 w 144641"/>
                    <a:gd name="connsiteY45" fmla="*/ 45304 h 71522"/>
                    <a:gd name="connsiteX46" fmla="*/ 118391 w 144641"/>
                    <a:gd name="connsiteY46" fmla="*/ 43894 h 71522"/>
                    <a:gd name="connsiteX47" fmla="*/ 117739 w 144641"/>
                    <a:gd name="connsiteY47" fmla="*/ 40618 h 71522"/>
                    <a:gd name="connsiteX48" fmla="*/ 120249 w 144641"/>
                    <a:gd name="connsiteY48" fmla="*/ 38125 h 71522"/>
                    <a:gd name="connsiteX49" fmla="*/ 121195 w 144641"/>
                    <a:gd name="connsiteY49" fmla="*/ 36446 h 71522"/>
                    <a:gd name="connsiteX50" fmla="*/ 121887 w 144641"/>
                    <a:gd name="connsiteY50" fmla="*/ 36641 h 71522"/>
                    <a:gd name="connsiteX51" fmla="*/ 123526 w 144641"/>
                    <a:gd name="connsiteY51" fmla="*/ 39502 h 71522"/>
                    <a:gd name="connsiteX52" fmla="*/ 125913 w 144641"/>
                    <a:gd name="connsiteY52" fmla="*/ 41140 h 71522"/>
                    <a:gd name="connsiteX53" fmla="*/ 128839 w 144641"/>
                    <a:gd name="connsiteY53" fmla="*/ 43520 h 71522"/>
                    <a:gd name="connsiteX54" fmla="*/ 130648 w 144641"/>
                    <a:gd name="connsiteY54" fmla="*/ 44058 h 71522"/>
                    <a:gd name="connsiteX55" fmla="*/ 128358 w 144641"/>
                    <a:gd name="connsiteY55" fmla="*/ 41564 h 71522"/>
                    <a:gd name="connsiteX56" fmla="*/ 124406 w 144641"/>
                    <a:gd name="connsiteY56" fmla="*/ 38279 h 71522"/>
                    <a:gd name="connsiteX57" fmla="*/ 123297 w 144641"/>
                    <a:gd name="connsiteY57" fmla="*/ 36120 h 71522"/>
                    <a:gd name="connsiteX58" fmla="*/ 122246 w 144641"/>
                    <a:gd name="connsiteY58" fmla="*/ 33112 h 71522"/>
                    <a:gd name="connsiteX59" fmla="*/ 120706 w 144641"/>
                    <a:gd name="connsiteY59" fmla="*/ 34416 h 71522"/>
                    <a:gd name="connsiteX60" fmla="*/ 119988 w 144641"/>
                    <a:gd name="connsiteY60" fmla="*/ 35508 h 71522"/>
                    <a:gd name="connsiteX61" fmla="*/ 119182 w 144641"/>
                    <a:gd name="connsiteY61" fmla="*/ 36128 h 71522"/>
                    <a:gd name="connsiteX62" fmla="*/ 118489 w 144641"/>
                    <a:gd name="connsiteY62" fmla="*/ 35386 h 71522"/>
                    <a:gd name="connsiteX63" fmla="*/ 118367 w 144641"/>
                    <a:gd name="connsiteY63" fmla="*/ 34416 h 71522"/>
                    <a:gd name="connsiteX64" fmla="*/ 116028 w 144641"/>
                    <a:gd name="connsiteY64" fmla="*/ 34229 h 71522"/>
                    <a:gd name="connsiteX65" fmla="*/ 115425 w 144641"/>
                    <a:gd name="connsiteY65" fmla="*/ 33349 h 71522"/>
                    <a:gd name="connsiteX66" fmla="*/ 114805 w 144641"/>
                    <a:gd name="connsiteY66" fmla="*/ 32852 h 71522"/>
                    <a:gd name="connsiteX67" fmla="*/ 115082 w 144641"/>
                    <a:gd name="connsiteY67" fmla="*/ 34726 h 71522"/>
                    <a:gd name="connsiteX68" fmla="*/ 115547 w 144641"/>
                    <a:gd name="connsiteY68" fmla="*/ 35883 h 71522"/>
                    <a:gd name="connsiteX69" fmla="*/ 115303 w 144641"/>
                    <a:gd name="connsiteY69" fmla="*/ 37277 h 71522"/>
                    <a:gd name="connsiteX70" fmla="*/ 114544 w 144641"/>
                    <a:gd name="connsiteY70" fmla="*/ 37375 h 71522"/>
                    <a:gd name="connsiteX71" fmla="*/ 113893 w 144641"/>
                    <a:gd name="connsiteY71" fmla="*/ 35932 h 71522"/>
                    <a:gd name="connsiteX72" fmla="*/ 113061 w 144641"/>
                    <a:gd name="connsiteY72" fmla="*/ 34628 h 71522"/>
                    <a:gd name="connsiteX73" fmla="*/ 111953 w 144641"/>
                    <a:gd name="connsiteY73" fmla="*/ 29168 h 71522"/>
                    <a:gd name="connsiteX74" fmla="*/ 109304 w 144641"/>
                    <a:gd name="connsiteY74" fmla="*/ 26593 h 71522"/>
                    <a:gd name="connsiteX75" fmla="*/ 108090 w 144641"/>
                    <a:gd name="connsiteY75" fmla="*/ 25729 h 71522"/>
                    <a:gd name="connsiteX76" fmla="*/ 107088 w 144641"/>
                    <a:gd name="connsiteY76" fmla="*/ 25411 h 71522"/>
                    <a:gd name="connsiteX77" fmla="*/ 105613 w 144641"/>
                    <a:gd name="connsiteY77" fmla="*/ 23659 h 71522"/>
                    <a:gd name="connsiteX78" fmla="*/ 103665 w 144641"/>
                    <a:gd name="connsiteY78" fmla="*/ 22721 h 71522"/>
                    <a:gd name="connsiteX79" fmla="*/ 101016 w 144641"/>
                    <a:gd name="connsiteY79" fmla="*/ 20000 h 71522"/>
                    <a:gd name="connsiteX80" fmla="*/ 97756 w 144641"/>
                    <a:gd name="connsiteY80" fmla="*/ 18052 h 71522"/>
                    <a:gd name="connsiteX81" fmla="*/ 93787 w 144641"/>
                    <a:gd name="connsiteY81" fmla="*/ 17367 h 71522"/>
                    <a:gd name="connsiteX82" fmla="*/ 88954 w 144641"/>
                    <a:gd name="connsiteY82" fmla="*/ 17783 h 71522"/>
                    <a:gd name="connsiteX83" fmla="*/ 87324 w 144641"/>
                    <a:gd name="connsiteY83" fmla="*/ 18867 h 71522"/>
                    <a:gd name="connsiteX84" fmla="*/ 86216 w 144641"/>
                    <a:gd name="connsiteY84" fmla="*/ 20244 h 71522"/>
                    <a:gd name="connsiteX85" fmla="*/ 85711 w 144641"/>
                    <a:gd name="connsiteY85" fmla="*/ 20880 h 71522"/>
                    <a:gd name="connsiteX86" fmla="*/ 82850 w 144641"/>
                    <a:gd name="connsiteY86" fmla="*/ 22453 h 71522"/>
                    <a:gd name="connsiteX87" fmla="*/ 81766 w 144641"/>
                    <a:gd name="connsiteY87" fmla="*/ 24734 h 71522"/>
                    <a:gd name="connsiteX88" fmla="*/ 81090 w 144641"/>
                    <a:gd name="connsiteY88" fmla="*/ 26658 h 71522"/>
                    <a:gd name="connsiteX89" fmla="*/ 79664 w 144641"/>
                    <a:gd name="connsiteY89" fmla="*/ 28834 h 71522"/>
                    <a:gd name="connsiteX90" fmla="*/ 81285 w 144641"/>
                    <a:gd name="connsiteY90" fmla="*/ 30154 h 71522"/>
                    <a:gd name="connsiteX91" fmla="*/ 71978 w 144641"/>
                    <a:gd name="connsiteY91" fmla="*/ 37554 h 71522"/>
                    <a:gd name="connsiteX92" fmla="*/ 70137 w 144641"/>
                    <a:gd name="connsiteY92" fmla="*/ 38622 h 71522"/>
                    <a:gd name="connsiteX93" fmla="*/ 65956 w 144641"/>
                    <a:gd name="connsiteY93" fmla="*/ 39388 h 71522"/>
                    <a:gd name="connsiteX94" fmla="*/ 64986 w 144641"/>
                    <a:gd name="connsiteY94" fmla="*/ 40178 h 71522"/>
                    <a:gd name="connsiteX95" fmla="*/ 63715 w 144641"/>
                    <a:gd name="connsiteY95" fmla="*/ 41637 h 71522"/>
                    <a:gd name="connsiteX96" fmla="*/ 63543 w 144641"/>
                    <a:gd name="connsiteY96" fmla="*/ 43854 h 71522"/>
                    <a:gd name="connsiteX97" fmla="*/ 63731 w 144641"/>
                    <a:gd name="connsiteY97" fmla="*/ 45745 h 71522"/>
                    <a:gd name="connsiteX98" fmla="*/ 64953 w 144641"/>
                    <a:gd name="connsiteY98" fmla="*/ 47203 h 71522"/>
                    <a:gd name="connsiteX99" fmla="*/ 66029 w 144641"/>
                    <a:gd name="connsiteY99" fmla="*/ 48124 h 71522"/>
                    <a:gd name="connsiteX100" fmla="*/ 68621 w 144641"/>
                    <a:gd name="connsiteY100" fmla="*/ 52525 h 71522"/>
                    <a:gd name="connsiteX101" fmla="*/ 73233 w 144641"/>
                    <a:gd name="connsiteY101" fmla="*/ 58075 h 71522"/>
                    <a:gd name="connsiteX102" fmla="*/ 74106 w 144641"/>
                    <a:gd name="connsiteY102" fmla="*/ 60104 h 71522"/>
                    <a:gd name="connsiteX103" fmla="*/ 74814 w 144641"/>
                    <a:gd name="connsiteY103" fmla="*/ 63103 h 71522"/>
                    <a:gd name="connsiteX104" fmla="*/ 73429 w 144641"/>
                    <a:gd name="connsiteY104" fmla="*/ 64513 h 71522"/>
                    <a:gd name="connsiteX105" fmla="*/ 72354 w 144641"/>
                    <a:gd name="connsiteY105" fmla="*/ 65108 h 71522"/>
                    <a:gd name="connsiteX106" fmla="*/ 67969 w 144641"/>
                    <a:gd name="connsiteY106" fmla="*/ 65345 h 71522"/>
                    <a:gd name="connsiteX107" fmla="*/ 66453 w 144641"/>
                    <a:gd name="connsiteY107" fmla="*/ 66543 h 71522"/>
                    <a:gd name="connsiteX108" fmla="*/ 65842 w 144641"/>
                    <a:gd name="connsiteY108" fmla="*/ 68376 h 71522"/>
                    <a:gd name="connsiteX109" fmla="*/ 64212 w 144641"/>
                    <a:gd name="connsiteY109" fmla="*/ 69868 h 71522"/>
                    <a:gd name="connsiteX110" fmla="*/ 58556 w 144641"/>
                    <a:gd name="connsiteY110" fmla="*/ 71351 h 71522"/>
                    <a:gd name="connsiteX111" fmla="*/ 54123 w 144641"/>
                    <a:gd name="connsiteY111" fmla="*/ 71522 h 71522"/>
                    <a:gd name="connsiteX112" fmla="*/ 52737 w 144641"/>
                    <a:gd name="connsiteY112" fmla="*/ 69811 h 71522"/>
                    <a:gd name="connsiteX113" fmla="*/ 52403 w 144641"/>
                    <a:gd name="connsiteY113" fmla="*/ 64994 h 71522"/>
                    <a:gd name="connsiteX114" fmla="*/ 49412 w 144641"/>
                    <a:gd name="connsiteY114" fmla="*/ 56771 h 71522"/>
                    <a:gd name="connsiteX115" fmla="*/ 48703 w 144641"/>
                    <a:gd name="connsiteY115" fmla="*/ 51091 h 71522"/>
                    <a:gd name="connsiteX116" fmla="*/ 47961 w 144641"/>
                    <a:gd name="connsiteY116" fmla="*/ 51800 h 71522"/>
                    <a:gd name="connsiteX117" fmla="*/ 46372 w 144641"/>
                    <a:gd name="connsiteY117" fmla="*/ 52460 h 71522"/>
                    <a:gd name="connsiteX118" fmla="*/ 45842 w 144641"/>
                    <a:gd name="connsiteY118" fmla="*/ 53862 h 71522"/>
                    <a:gd name="connsiteX119" fmla="*/ 45451 w 144641"/>
                    <a:gd name="connsiteY119" fmla="*/ 58050 h 71522"/>
                    <a:gd name="connsiteX120" fmla="*/ 44864 w 144641"/>
                    <a:gd name="connsiteY120" fmla="*/ 59477 h 71522"/>
                    <a:gd name="connsiteX121" fmla="*/ 43642 w 144641"/>
                    <a:gd name="connsiteY121" fmla="*/ 59338 h 71522"/>
                    <a:gd name="connsiteX122" fmla="*/ 41132 w 144641"/>
                    <a:gd name="connsiteY122" fmla="*/ 57839 h 71522"/>
                    <a:gd name="connsiteX123" fmla="*/ 37790 w 144641"/>
                    <a:gd name="connsiteY123" fmla="*/ 56461 h 71522"/>
                    <a:gd name="connsiteX124" fmla="*/ 33536 w 144641"/>
                    <a:gd name="connsiteY124" fmla="*/ 47594 h 71522"/>
                    <a:gd name="connsiteX125" fmla="*/ 33072 w 144641"/>
                    <a:gd name="connsiteY125" fmla="*/ 45924 h 71522"/>
                    <a:gd name="connsiteX126" fmla="*/ 32240 w 144641"/>
                    <a:gd name="connsiteY126" fmla="*/ 43935 h 71522"/>
                    <a:gd name="connsiteX127" fmla="*/ 28956 w 144641"/>
                    <a:gd name="connsiteY127" fmla="*/ 43088 h 71522"/>
                    <a:gd name="connsiteX128" fmla="*/ 26153 w 144641"/>
                    <a:gd name="connsiteY128" fmla="*/ 41596 h 71522"/>
                    <a:gd name="connsiteX129" fmla="*/ 23096 w 144641"/>
                    <a:gd name="connsiteY129" fmla="*/ 41368 h 71522"/>
                    <a:gd name="connsiteX130" fmla="*/ 21532 w 144641"/>
                    <a:gd name="connsiteY130" fmla="*/ 42216 h 71522"/>
                    <a:gd name="connsiteX131" fmla="*/ 19934 w 144641"/>
                    <a:gd name="connsiteY131" fmla="*/ 41148 h 71522"/>
                    <a:gd name="connsiteX132" fmla="*/ 19649 w 144641"/>
                    <a:gd name="connsiteY132" fmla="*/ 38719 h 71522"/>
                    <a:gd name="connsiteX133" fmla="*/ 16438 w 144641"/>
                    <a:gd name="connsiteY133" fmla="*/ 39803 h 71522"/>
                    <a:gd name="connsiteX134" fmla="*/ 12322 w 144641"/>
                    <a:gd name="connsiteY134" fmla="*/ 39429 h 71522"/>
                    <a:gd name="connsiteX135" fmla="*/ 8639 w 144641"/>
                    <a:gd name="connsiteY135" fmla="*/ 38393 h 71522"/>
                    <a:gd name="connsiteX136" fmla="*/ 6112 w 144641"/>
                    <a:gd name="connsiteY136" fmla="*/ 38948 h 71522"/>
                    <a:gd name="connsiteX137" fmla="*/ 4001 w 144641"/>
                    <a:gd name="connsiteY137" fmla="*/ 40675 h 71522"/>
                    <a:gd name="connsiteX138" fmla="*/ 4295 w 144641"/>
                    <a:gd name="connsiteY138" fmla="*/ 45092 h 71522"/>
                    <a:gd name="connsiteX139" fmla="*/ 3676 w 144641"/>
                    <a:gd name="connsiteY139" fmla="*/ 45965 h 71522"/>
                    <a:gd name="connsiteX140" fmla="*/ 3578 w 144641"/>
                    <a:gd name="connsiteY140" fmla="*/ 44163 h 71522"/>
                    <a:gd name="connsiteX141" fmla="*/ 2844 w 144641"/>
                    <a:gd name="connsiteY141" fmla="*/ 42085 h 71522"/>
                    <a:gd name="connsiteX142" fmla="*/ 1956 w 144641"/>
                    <a:gd name="connsiteY142" fmla="*/ 40366 h 71522"/>
                    <a:gd name="connsiteX143" fmla="*/ 98 w 144641"/>
                    <a:gd name="connsiteY143" fmla="*/ 38589 h 71522"/>
                    <a:gd name="connsiteX144" fmla="*/ 0 w 144641"/>
                    <a:gd name="connsiteY144" fmla="*/ 37929 h 71522"/>
                    <a:gd name="connsiteX145" fmla="*/ 733 w 144641"/>
                    <a:gd name="connsiteY145" fmla="*/ 37032 h 71522"/>
                    <a:gd name="connsiteX146" fmla="*/ 4107 w 144641"/>
                    <a:gd name="connsiteY146" fmla="*/ 34449 h 71522"/>
                    <a:gd name="connsiteX147" fmla="*/ 4523 w 144641"/>
                    <a:gd name="connsiteY147" fmla="*/ 33373 h 71522"/>
                    <a:gd name="connsiteX148" fmla="*/ 4580 w 144641"/>
                    <a:gd name="connsiteY148" fmla="*/ 31124 h 71522"/>
                    <a:gd name="connsiteX149" fmla="*/ 4254 w 144641"/>
                    <a:gd name="connsiteY149" fmla="*/ 28980 h 71522"/>
                    <a:gd name="connsiteX150" fmla="*/ 2730 w 144641"/>
                    <a:gd name="connsiteY150" fmla="*/ 25818 h 71522"/>
                    <a:gd name="connsiteX151" fmla="*/ 3594 w 144641"/>
                    <a:gd name="connsiteY151" fmla="*/ 23862 h 71522"/>
                    <a:gd name="connsiteX152" fmla="*/ 5330 w 144641"/>
                    <a:gd name="connsiteY152" fmla="*/ 22289 h 71522"/>
                    <a:gd name="connsiteX153" fmla="*/ 7115 w 144641"/>
                    <a:gd name="connsiteY153" fmla="*/ 21051 h 71522"/>
                    <a:gd name="connsiteX154" fmla="*/ 7416 w 144641"/>
                    <a:gd name="connsiteY154" fmla="*/ 20529 h 71522"/>
                    <a:gd name="connsiteX155" fmla="*/ 7082 w 144641"/>
                    <a:gd name="connsiteY155" fmla="*/ 19462 h 71522"/>
                    <a:gd name="connsiteX156" fmla="*/ 6047 w 144641"/>
                    <a:gd name="connsiteY156" fmla="*/ 18296 h 71522"/>
                    <a:gd name="connsiteX157" fmla="*/ 3610 w 144641"/>
                    <a:gd name="connsiteY157" fmla="*/ 16316 h 71522"/>
                    <a:gd name="connsiteX158" fmla="*/ 2152 w 144641"/>
                    <a:gd name="connsiteY158" fmla="*/ 16185 h 71522"/>
                    <a:gd name="connsiteX159" fmla="*/ 2086 w 144641"/>
                    <a:gd name="connsiteY159" fmla="*/ 10497 h 71522"/>
                    <a:gd name="connsiteX160" fmla="*/ 2168 w 144641"/>
                    <a:gd name="connsiteY160" fmla="*/ 4466 h 71522"/>
                    <a:gd name="connsiteX161" fmla="*/ 2526 w 144641"/>
                    <a:gd name="connsiteY161" fmla="*/ 3863 h 71522"/>
                    <a:gd name="connsiteX162" fmla="*/ 3423 w 144641"/>
                    <a:gd name="connsiteY162" fmla="*/ 3513 h 71522"/>
                    <a:gd name="connsiteX163" fmla="*/ 4140 w 144641"/>
                    <a:gd name="connsiteY163" fmla="*/ 2592 h 71522"/>
                    <a:gd name="connsiteX164" fmla="*/ 4539 w 144641"/>
                    <a:gd name="connsiteY164" fmla="*/ 807 h 71522"/>
                    <a:gd name="connsiteX165" fmla="*/ 5607 w 144641"/>
                    <a:gd name="connsiteY165" fmla="*/ 171 h 71522"/>
                    <a:gd name="connsiteX166" fmla="*/ 7530 w 144641"/>
                    <a:gd name="connsiteY166" fmla="*/ 1548 h 71522"/>
                    <a:gd name="connsiteX167" fmla="*/ 9503 w 144641"/>
                    <a:gd name="connsiteY167" fmla="*/ 2755 h 71522"/>
                    <a:gd name="connsiteX168" fmla="*/ 10318 w 144641"/>
                    <a:gd name="connsiteY168" fmla="*/ 2355 h 71522"/>
                    <a:gd name="connsiteX169" fmla="*/ 10929 w 144641"/>
                    <a:gd name="connsiteY169" fmla="*/ 1760 h 71522"/>
                    <a:gd name="connsiteX170" fmla="*/ 11361 w 144641"/>
                    <a:gd name="connsiteY170" fmla="*/ 1182 h 71522"/>
                    <a:gd name="connsiteX171" fmla="*/ 11499 w 144641"/>
                    <a:gd name="connsiteY171" fmla="*/ 627 h 71522"/>
                    <a:gd name="connsiteX172" fmla="*/ 13064 w 144641"/>
                    <a:gd name="connsiteY172" fmla="*/ 2241 h 71522"/>
                    <a:gd name="connsiteX173" fmla="*/ 16283 w 144641"/>
                    <a:gd name="connsiteY173" fmla="*/ 5094 h 71522"/>
                    <a:gd name="connsiteX174" fmla="*/ 16471 w 144641"/>
                    <a:gd name="connsiteY174" fmla="*/ 6504 h 71522"/>
                    <a:gd name="connsiteX175" fmla="*/ 16169 w 144641"/>
                    <a:gd name="connsiteY175" fmla="*/ 7848 h 71522"/>
                    <a:gd name="connsiteX176" fmla="*/ 17058 w 144641"/>
                    <a:gd name="connsiteY176" fmla="*/ 11711 h 71522"/>
                    <a:gd name="connsiteX177" fmla="*/ 18728 w 144641"/>
                    <a:gd name="connsiteY177" fmla="*/ 12274 h 71522"/>
                    <a:gd name="connsiteX178" fmla="*/ 20399 w 144641"/>
                    <a:gd name="connsiteY178" fmla="*/ 11524 h 71522"/>
                    <a:gd name="connsiteX179" fmla="*/ 20815 w 144641"/>
                    <a:gd name="connsiteY179" fmla="*/ 12241 h 71522"/>
                    <a:gd name="connsiteX180" fmla="*/ 20505 w 144641"/>
                    <a:gd name="connsiteY180" fmla="*/ 12950 h 71522"/>
                    <a:gd name="connsiteX181" fmla="*/ 19641 w 144641"/>
                    <a:gd name="connsiteY181" fmla="*/ 13749 h 71522"/>
                    <a:gd name="connsiteX182" fmla="*/ 19429 w 144641"/>
                    <a:gd name="connsiteY182" fmla="*/ 17065 h 71522"/>
                    <a:gd name="connsiteX183" fmla="*/ 22184 w 144641"/>
                    <a:gd name="connsiteY183" fmla="*/ 18614 h 71522"/>
                    <a:gd name="connsiteX184" fmla="*/ 23553 w 144641"/>
                    <a:gd name="connsiteY184" fmla="*/ 19975 h 71522"/>
                    <a:gd name="connsiteX185" fmla="*/ 28117 w 144641"/>
                    <a:gd name="connsiteY185" fmla="*/ 19331 h 71522"/>
                    <a:gd name="connsiteX186" fmla="*/ 29795 w 144641"/>
                    <a:gd name="connsiteY186" fmla="*/ 19690 h 71522"/>
                    <a:gd name="connsiteX187" fmla="*/ 30937 w 144641"/>
                    <a:gd name="connsiteY187" fmla="*/ 19299 h 71522"/>
                    <a:gd name="connsiteX188" fmla="*/ 29665 w 144641"/>
                    <a:gd name="connsiteY188" fmla="*/ 16634 h 71522"/>
                    <a:gd name="connsiteX189" fmla="*/ 27970 w 144641"/>
                    <a:gd name="connsiteY189" fmla="*/ 14661 h 71522"/>
                    <a:gd name="connsiteX190" fmla="*/ 28108 w 144641"/>
                    <a:gd name="connsiteY190" fmla="*/ 13781 h 71522"/>
                    <a:gd name="connsiteX191" fmla="*/ 29404 w 144641"/>
                    <a:gd name="connsiteY191" fmla="*/ 14441 h 71522"/>
                    <a:gd name="connsiteX192" fmla="*/ 30390 w 144641"/>
                    <a:gd name="connsiteY192" fmla="*/ 15778 h 71522"/>
                    <a:gd name="connsiteX193" fmla="*/ 32632 w 144641"/>
                    <a:gd name="connsiteY193" fmla="*/ 17449 h 71522"/>
                    <a:gd name="connsiteX194" fmla="*/ 36772 w 144641"/>
                    <a:gd name="connsiteY194" fmla="*/ 23227 h 71522"/>
                    <a:gd name="connsiteX195" fmla="*/ 41499 w 144641"/>
                    <a:gd name="connsiteY195" fmla="*/ 24620 h 71522"/>
                    <a:gd name="connsiteX196" fmla="*/ 45239 w 144641"/>
                    <a:gd name="connsiteY196" fmla="*/ 24441 h 71522"/>
                    <a:gd name="connsiteX197" fmla="*/ 48727 w 144641"/>
                    <a:gd name="connsiteY197" fmla="*/ 23659 h 71522"/>
                    <a:gd name="connsiteX198" fmla="*/ 54302 w 144641"/>
                    <a:gd name="connsiteY198" fmla="*/ 21417 h 71522"/>
                    <a:gd name="connsiteX199" fmla="*/ 58320 w 144641"/>
                    <a:gd name="connsiteY199" fmla="*/ 17359 h 71522"/>
                    <a:gd name="connsiteX200" fmla="*/ 61539 w 144641"/>
                    <a:gd name="connsiteY200" fmla="*/ 15550 h 71522"/>
                    <a:gd name="connsiteX201" fmla="*/ 71946 w 144641"/>
                    <a:gd name="connsiteY201" fmla="*/ 11695 h 71522"/>
                    <a:gd name="connsiteX202" fmla="*/ 75646 w 144641"/>
                    <a:gd name="connsiteY202" fmla="*/ 7661 h 71522"/>
                    <a:gd name="connsiteX203" fmla="*/ 77202 w 144641"/>
                    <a:gd name="connsiteY203" fmla="*/ 7131 h 71522"/>
                    <a:gd name="connsiteX204" fmla="*/ 78694 w 144641"/>
                    <a:gd name="connsiteY204" fmla="*/ 6626 h 71522"/>
                    <a:gd name="connsiteX205" fmla="*/ 81970 w 144641"/>
                    <a:gd name="connsiteY205" fmla="*/ 3569 h 71522"/>
                    <a:gd name="connsiteX206" fmla="*/ 83730 w 144641"/>
                    <a:gd name="connsiteY206" fmla="*/ 1190 h 71522"/>
                    <a:gd name="connsiteX207" fmla="*/ 85589 w 144641"/>
                    <a:gd name="connsiteY207" fmla="*/ 0 h 71522"/>
                    <a:gd name="connsiteX208" fmla="*/ 91081 w 144641"/>
                    <a:gd name="connsiteY208" fmla="*/ 839 h 71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Lst>
                  <a:rect l="l" t="t" r="r" b="b"/>
                  <a:pathLst>
                    <a:path w="144641" h="71522">
                      <a:moveTo>
                        <a:pt x="91081" y="839"/>
                      </a:moveTo>
                      <a:lnTo>
                        <a:pt x="94651" y="1956"/>
                      </a:lnTo>
                      <a:lnTo>
                        <a:pt x="97112" y="1809"/>
                      </a:lnTo>
                      <a:lnTo>
                        <a:pt x="99484" y="2600"/>
                      </a:lnTo>
                      <a:lnTo>
                        <a:pt x="100511" y="4336"/>
                      </a:lnTo>
                      <a:lnTo>
                        <a:pt x="101586" y="5077"/>
                      </a:lnTo>
                      <a:lnTo>
                        <a:pt x="107405" y="4890"/>
                      </a:lnTo>
                      <a:lnTo>
                        <a:pt x="112181" y="5745"/>
                      </a:lnTo>
                      <a:lnTo>
                        <a:pt x="122637" y="10872"/>
                      </a:lnTo>
                      <a:lnTo>
                        <a:pt x="128888" y="15941"/>
                      </a:lnTo>
                      <a:lnTo>
                        <a:pt x="132197" y="21320"/>
                      </a:lnTo>
                      <a:lnTo>
                        <a:pt x="140208" y="28280"/>
                      </a:lnTo>
                      <a:lnTo>
                        <a:pt x="139743" y="28687"/>
                      </a:lnTo>
                      <a:lnTo>
                        <a:pt x="138374" y="31059"/>
                      </a:lnTo>
                      <a:lnTo>
                        <a:pt x="137624" y="33088"/>
                      </a:lnTo>
                      <a:lnTo>
                        <a:pt x="139393" y="35231"/>
                      </a:lnTo>
                      <a:lnTo>
                        <a:pt x="139923" y="37505"/>
                      </a:lnTo>
                      <a:lnTo>
                        <a:pt x="140925" y="39974"/>
                      </a:lnTo>
                      <a:lnTo>
                        <a:pt x="142490" y="42452"/>
                      </a:lnTo>
                      <a:lnTo>
                        <a:pt x="144234" y="47056"/>
                      </a:lnTo>
                      <a:lnTo>
                        <a:pt x="144642" y="48907"/>
                      </a:lnTo>
                      <a:lnTo>
                        <a:pt x="144144" y="50105"/>
                      </a:lnTo>
                      <a:lnTo>
                        <a:pt x="142482" y="50838"/>
                      </a:lnTo>
                      <a:lnTo>
                        <a:pt x="140925" y="52998"/>
                      </a:lnTo>
                      <a:lnTo>
                        <a:pt x="140502" y="55622"/>
                      </a:lnTo>
                      <a:lnTo>
                        <a:pt x="140803" y="56926"/>
                      </a:lnTo>
                      <a:lnTo>
                        <a:pt x="136149" y="61123"/>
                      </a:lnTo>
                      <a:lnTo>
                        <a:pt x="134960" y="61824"/>
                      </a:lnTo>
                      <a:lnTo>
                        <a:pt x="134161" y="61172"/>
                      </a:lnTo>
                      <a:lnTo>
                        <a:pt x="133167" y="59069"/>
                      </a:lnTo>
                      <a:lnTo>
                        <a:pt x="131985" y="57366"/>
                      </a:lnTo>
                      <a:lnTo>
                        <a:pt x="131349" y="56771"/>
                      </a:lnTo>
                      <a:lnTo>
                        <a:pt x="130983" y="56747"/>
                      </a:lnTo>
                      <a:lnTo>
                        <a:pt x="130616" y="57138"/>
                      </a:lnTo>
                      <a:lnTo>
                        <a:pt x="130445" y="58059"/>
                      </a:lnTo>
                      <a:lnTo>
                        <a:pt x="131056" y="62003"/>
                      </a:lnTo>
                      <a:lnTo>
                        <a:pt x="130542" y="63600"/>
                      </a:lnTo>
                      <a:lnTo>
                        <a:pt x="128970" y="64823"/>
                      </a:lnTo>
                      <a:lnTo>
                        <a:pt x="127160" y="71245"/>
                      </a:lnTo>
                      <a:lnTo>
                        <a:pt x="126451" y="70430"/>
                      </a:lnTo>
                      <a:lnTo>
                        <a:pt x="120494" y="61783"/>
                      </a:lnTo>
                      <a:lnTo>
                        <a:pt x="115335" y="51074"/>
                      </a:lnTo>
                      <a:lnTo>
                        <a:pt x="114259" y="46225"/>
                      </a:lnTo>
                      <a:lnTo>
                        <a:pt x="115596" y="45940"/>
                      </a:lnTo>
                      <a:lnTo>
                        <a:pt x="116892" y="46046"/>
                      </a:lnTo>
                      <a:lnTo>
                        <a:pt x="117584" y="45304"/>
                      </a:lnTo>
                      <a:lnTo>
                        <a:pt x="118391" y="43894"/>
                      </a:lnTo>
                      <a:lnTo>
                        <a:pt x="117739" y="40618"/>
                      </a:lnTo>
                      <a:lnTo>
                        <a:pt x="120249" y="38125"/>
                      </a:lnTo>
                      <a:lnTo>
                        <a:pt x="121195" y="36446"/>
                      </a:lnTo>
                      <a:lnTo>
                        <a:pt x="121887" y="36641"/>
                      </a:lnTo>
                      <a:lnTo>
                        <a:pt x="123526" y="39502"/>
                      </a:lnTo>
                      <a:lnTo>
                        <a:pt x="125913" y="41140"/>
                      </a:lnTo>
                      <a:lnTo>
                        <a:pt x="128839" y="43520"/>
                      </a:lnTo>
                      <a:lnTo>
                        <a:pt x="130648" y="44058"/>
                      </a:lnTo>
                      <a:lnTo>
                        <a:pt x="128358" y="41564"/>
                      </a:lnTo>
                      <a:lnTo>
                        <a:pt x="124406" y="38279"/>
                      </a:lnTo>
                      <a:lnTo>
                        <a:pt x="123297" y="36120"/>
                      </a:lnTo>
                      <a:lnTo>
                        <a:pt x="122246" y="33112"/>
                      </a:lnTo>
                      <a:lnTo>
                        <a:pt x="120706" y="34416"/>
                      </a:lnTo>
                      <a:lnTo>
                        <a:pt x="119988" y="35508"/>
                      </a:lnTo>
                      <a:lnTo>
                        <a:pt x="119182" y="36128"/>
                      </a:lnTo>
                      <a:lnTo>
                        <a:pt x="118489" y="35386"/>
                      </a:lnTo>
                      <a:lnTo>
                        <a:pt x="118367" y="34416"/>
                      </a:lnTo>
                      <a:lnTo>
                        <a:pt x="116028" y="34229"/>
                      </a:lnTo>
                      <a:lnTo>
                        <a:pt x="115425" y="33349"/>
                      </a:lnTo>
                      <a:lnTo>
                        <a:pt x="114805" y="32852"/>
                      </a:lnTo>
                      <a:lnTo>
                        <a:pt x="115082" y="34726"/>
                      </a:lnTo>
                      <a:lnTo>
                        <a:pt x="115547" y="35883"/>
                      </a:lnTo>
                      <a:lnTo>
                        <a:pt x="115303" y="37277"/>
                      </a:lnTo>
                      <a:lnTo>
                        <a:pt x="114544" y="37375"/>
                      </a:lnTo>
                      <a:lnTo>
                        <a:pt x="113893" y="35932"/>
                      </a:lnTo>
                      <a:lnTo>
                        <a:pt x="113061" y="34628"/>
                      </a:lnTo>
                      <a:lnTo>
                        <a:pt x="111953" y="29168"/>
                      </a:lnTo>
                      <a:lnTo>
                        <a:pt x="109304" y="26593"/>
                      </a:lnTo>
                      <a:lnTo>
                        <a:pt x="108090" y="25729"/>
                      </a:lnTo>
                      <a:lnTo>
                        <a:pt x="107088" y="25411"/>
                      </a:lnTo>
                      <a:lnTo>
                        <a:pt x="105613" y="23659"/>
                      </a:lnTo>
                      <a:lnTo>
                        <a:pt x="103665" y="22721"/>
                      </a:lnTo>
                      <a:lnTo>
                        <a:pt x="101016" y="20000"/>
                      </a:lnTo>
                      <a:lnTo>
                        <a:pt x="97756" y="18052"/>
                      </a:lnTo>
                      <a:lnTo>
                        <a:pt x="93787" y="17367"/>
                      </a:lnTo>
                      <a:lnTo>
                        <a:pt x="88954" y="17783"/>
                      </a:lnTo>
                      <a:lnTo>
                        <a:pt x="87324" y="18867"/>
                      </a:lnTo>
                      <a:lnTo>
                        <a:pt x="86216" y="20244"/>
                      </a:lnTo>
                      <a:lnTo>
                        <a:pt x="85711" y="20880"/>
                      </a:lnTo>
                      <a:lnTo>
                        <a:pt x="82850" y="22453"/>
                      </a:lnTo>
                      <a:lnTo>
                        <a:pt x="81766" y="24734"/>
                      </a:lnTo>
                      <a:lnTo>
                        <a:pt x="81090" y="26658"/>
                      </a:lnTo>
                      <a:lnTo>
                        <a:pt x="79664" y="28834"/>
                      </a:lnTo>
                      <a:lnTo>
                        <a:pt x="81285" y="30154"/>
                      </a:lnTo>
                      <a:lnTo>
                        <a:pt x="71978" y="37554"/>
                      </a:lnTo>
                      <a:lnTo>
                        <a:pt x="70137" y="38622"/>
                      </a:lnTo>
                      <a:lnTo>
                        <a:pt x="65956" y="39388"/>
                      </a:lnTo>
                      <a:lnTo>
                        <a:pt x="64986" y="40178"/>
                      </a:lnTo>
                      <a:lnTo>
                        <a:pt x="63715" y="41637"/>
                      </a:lnTo>
                      <a:lnTo>
                        <a:pt x="63543" y="43854"/>
                      </a:lnTo>
                      <a:lnTo>
                        <a:pt x="63731" y="45745"/>
                      </a:lnTo>
                      <a:lnTo>
                        <a:pt x="64953" y="47203"/>
                      </a:lnTo>
                      <a:lnTo>
                        <a:pt x="66029" y="48124"/>
                      </a:lnTo>
                      <a:lnTo>
                        <a:pt x="68621" y="52525"/>
                      </a:lnTo>
                      <a:lnTo>
                        <a:pt x="73233" y="58075"/>
                      </a:lnTo>
                      <a:lnTo>
                        <a:pt x="74106" y="60104"/>
                      </a:lnTo>
                      <a:lnTo>
                        <a:pt x="74814" y="63103"/>
                      </a:lnTo>
                      <a:lnTo>
                        <a:pt x="73429" y="64513"/>
                      </a:lnTo>
                      <a:lnTo>
                        <a:pt x="72354" y="65108"/>
                      </a:lnTo>
                      <a:lnTo>
                        <a:pt x="67969" y="65345"/>
                      </a:lnTo>
                      <a:lnTo>
                        <a:pt x="66453" y="66543"/>
                      </a:lnTo>
                      <a:lnTo>
                        <a:pt x="65842" y="68376"/>
                      </a:lnTo>
                      <a:lnTo>
                        <a:pt x="64212" y="69868"/>
                      </a:lnTo>
                      <a:lnTo>
                        <a:pt x="58556" y="71351"/>
                      </a:lnTo>
                      <a:lnTo>
                        <a:pt x="54123" y="71522"/>
                      </a:lnTo>
                      <a:lnTo>
                        <a:pt x="52737" y="69811"/>
                      </a:lnTo>
                      <a:lnTo>
                        <a:pt x="52403" y="64994"/>
                      </a:lnTo>
                      <a:lnTo>
                        <a:pt x="49412" y="56771"/>
                      </a:lnTo>
                      <a:lnTo>
                        <a:pt x="48703" y="51091"/>
                      </a:lnTo>
                      <a:lnTo>
                        <a:pt x="47961" y="51800"/>
                      </a:lnTo>
                      <a:lnTo>
                        <a:pt x="46372" y="52460"/>
                      </a:lnTo>
                      <a:lnTo>
                        <a:pt x="45842" y="53862"/>
                      </a:lnTo>
                      <a:lnTo>
                        <a:pt x="45451" y="58050"/>
                      </a:lnTo>
                      <a:lnTo>
                        <a:pt x="44864" y="59477"/>
                      </a:lnTo>
                      <a:lnTo>
                        <a:pt x="43642" y="59338"/>
                      </a:lnTo>
                      <a:lnTo>
                        <a:pt x="41132" y="57839"/>
                      </a:lnTo>
                      <a:lnTo>
                        <a:pt x="37790" y="56461"/>
                      </a:lnTo>
                      <a:lnTo>
                        <a:pt x="33536" y="47594"/>
                      </a:lnTo>
                      <a:lnTo>
                        <a:pt x="33072" y="45924"/>
                      </a:lnTo>
                      <a:lnTo>
                        <a:pt x="32240" y="43935"/>
                      </a:lnTo>
                      <a:lnTo>
                        <a:pt x="28956" y="43088"/>
                      </a:lnTo>
                      <a:lnTo>
                        <a:pt x="26153" y="41596"/>
                      </a:lnTo>
                      <a:lnTo>
                        <a:pt x="23096" y="41368"/>
                      </a:lnTo>
                      <a:lnTo>
                        <a:pt x="21532" y="42216"/>
                      </a:lnTo>
                      <a:lnTo>
                        <a:pt x="19934" y="41148"/>
                      </a:lnTo>
                      <a:lnTo>
                        <a:pt x="19649" y="38719"/>
                      </a:lnTo>
                      <a:lnTo>
                        <a:pt x="16438" y="39803"/>
                      </a:lnTo>
                      <a:lnTo>
                        <a:pt x="12322" y="39429"/>
                      </a:lnTo>
                      <a:lnTo>
                        <a:pt x="8639" y="38393"/>
                      </a:lnTo>
                      <a:lnTo>
                        <a:pt x="6112" y="38948"/>
                      </a:lnTo>
                      <a:lnTo>
                        <a:pt x="4001" y="40675"/>
                      </a:lnTo>
                      <a:lnTo>
                        <a:pt x="4295" y="45092"/>
                      </a:lnTo>
                      <a:lnTo>
                        <a:pt x="3676" y="45965"/>
                      </a:lnTo>
                      <a:lnTo>
                        <a:pt x="3578" y="44163"/>
                      </a:lnTo>
                      <a:lnTo>
                        <a:pt x="2844" y="42085"/>
                      </a:lnTo>
                      <a:lnTo>
                        <a:pt x="1956" y="40366"/>
                      </a:lnTo>
                      <a:lnTo>
                        <a:pt x="98" y="38589"/>
                      </a:lnTo>
                      <a:lnTo>
                        <a:pt x="0" y="37929"/>
                      </a:lnTo>
                      <a:lnTo>
                        <a:pt x="733" y="37032"/>
                      </a:lnTo>
                      <a:lnTo>
                        <a:pt x="4107" y="34449"/>
                      </a:lnTo>
                      <a:lnTo>
                        <a:pt x="4523" y="33373"/>
                      </a:lnTo>
                      <a:lnTo>
                        <a:pt x="4580" y="31124"/>
                      </a:lnTo>
                      <a:lnTo>
                        <a:pt x="4254" y="28980"/>
                      </a:lnTo>
                      <a:lnTo>
                        <a:pt x="2730" y="25818"/>
                      </a:lnTo>
                      <a:lnTo>
                        <a:pt x="3594" y="23862"/>
                      </a:lnTo>
                      <a:lnTo>
                        <a:pt x="5330" y="22289"/>
                      </a:lnTo>
                      <a:lnTo>
                        <a:pt x="7115" y="21051"/>
                      </a:lnTo>
                      <a:lnTo>
                        <a:pt x="7416" y="20529"/>
                      </a:lnTo>
                      <a:lnTo>
                        <a:pt x="7082" y="19462"/>
                      </a:lnTo>
                      <a:lnTo>
                        <a:pt x="6047" y="18296"/>
                      </a:lnTo>
                      <a:lnTo>
                        <a:pt x="3610" y="16316"/>
                      </a:lnTo>
                      <a:lnTo>
                        <a:pt x="2152" y="16185"/>
                      </a:lnTo>
                      <a:lnTo>
                        <a:pt x="2086" y="10497"/>
                      </a:lnTo>
                      <a:lnTo>
                        <a:pt x="2168" y="4466"/>
                      </a:lnTo>
                      <a:lnTo>
                        <a:pt x="2526" y="3863"/>
                      </a:lnTo>
                      <a:lnTo>
                        <a:pt x="3423" y="3513"/>
                      </a:lnTo>
                      <a:lnTo>
                        <a:pt x="4140" y="2592"/>
                      </a:lnTo>
                      <a:lnTo>
                        <a:pt x="4539" y="807"/>
                      </a:lnTo>
                      <a:lnTo>
                        <a:pt x="5607" y="171"/>
                      </a:lnTo>
                      <a:lnTo>
                        <a:pt x="7530" y="1548"/>
                      </a:lnTo>
                      <a:lnTo>
                        <a:pt x="9503" y="2755"/>
                      </a:lnTo>
                      <a:lnTo>
                        <a:pt x="10318" y="2355"/>
                      </a:lnTo>
                      <a:lnTo>
                        <a:pt x="10929" y="1760"/>
                      </a:lnTo>
                      <a:lnTo>
                        <a:pt x="11361" y="1182"/>
                      </a:lnTo>
                      <a:lnTo>
                        <a:pt x="11499" y="627"/>
                      </a:lnTo>
                      <a:lnTo>
                        <a:pt x="13064" y="2241"/>
                      </a:lnTo>
                      <a:lnTo>
                        <a:pt x="16283" y="5094"/>
                      </a:lnTo>
                      <a:lnTo>
                        <a:pt x="16471" y="6504"/>
                      </a:lnTo>
                      <a:lnTo>
                        <a:pt x="16169" y="7848"/>
                      </a:lnTo>
                      <a:lnTo>
                        <a:pt x="17058" y="11711"/>
                      </a:lnTo>
                      <a:lnTo>
                        <a:pt x="18728" y="12274"/>
                      </a:lnTo>
                      <a:lnTo>
                        <a:pt x="20399" y="11524"/>
                      </a:lnTo>
                      <a:lnTo>
                        <a:pt x="20815" y="12241"/>
                      </a:lnTo>
                      <a:lnTo>
                        <a:pt x="20505" y="12950"/>
                      </a:lnTo>
                      <a:lnTo>
                        <a:pt x="19641" y="13749"/>
                      </a:lnTo>
                      <a:lnTo>
                        <a:pt x="19429" y="17065"/>
                      </a:lnTo>
                      <a:lnTo>
                        <a:pt x="22184" y="18614"/>
                      </a:lnTo>
                      <a:lnTo>
                        <a:pt x="23553" y="19975"/>
                      </a:lnTo>
                      <a:lnTo>
                        <a:pt x="28117" y="19331"/>
                      </a:lnTo>
                      <a:lnTo>
                        <a:pt x="29795" y="19690"/>
                      </a:lnTo>
                      <a:lnTo>
                        <a:pt x="30937" y="19299"/>
                      </a:lnTo>
                      <a:lnTo>
                        <a:pt x="29665" y="16634"/>
                      </a:lnTo>
                      <a:lnTo>
                        <a:pt x="27970" y="14661"/>
                      </a:lnTo>
                      <a:lnTo>
                        <a:pt x="28108" y="13781"/>
                      </a:lnTo>
                      <a:lnTo>
                        <a:pt x="29404" y="14441"/>
                      </a:lnTo>
                      <a:lnTo>
                        <a:pt x="30390" y="15778"/>
                      </a:lnTo>
                      <a:lnTo>
                        <a:pt x="32632" y="17449"/>
                      </a:lnTo>
                      <a:lnTo>
                        <a:pt x="36772" y="23227"/>
                      </a:lnTo>
                      <a:lnTo>
                        <a:pt x="41499" y="24620"/>
                      </a:lnTo>
                      <a:lnTo>
                        <a:pt x="45239" y="24441"/>
                      </a:lnTo>
                      <a:lnTo>
                        <a:pt x="48727" y="23659"/>
                      </a:lnTo>
                      <a:lnTo>
                        <a:pt x="54302" y="21417"/>
                      </a:lnTo>
                      <a:lnTo>
                        <a:pt x="58320" y="17359"/>
                      </a:lnTo>
                      <a:lnTo>
                        <a:pt x="61539" y="15550"/>
                      </a:lnTo>
                      <a:lnTo>
                        <a:pt x="71946" y="11695"/>
                      </a:lnTo>
                      <a:lnTo>
                        <a:pt x="75646" y="7661"/>
                      </a:lnTo>
                      <a:lnTo>
                        <a:pt x="77202" y="7131"/>
                      </a:lnTo>
                      <a:lnTo>
                        <a:pt x="78694" y="6626"/>
                      </a:lnTo>
                      <a:lnTo>
                        <a:pt x="81970" y="3569"/>
                      </a:lnTo>
                      <a:lnTo>
                        <a:pt x="83730" y="1190"/>
                      </a:lnTo>
                      <a:lnTo>
                        <a:pt x="85589" y="0"/>
                      </a:lnTo>
                      <a:lnTo>
                        <a:pt x="91081" y="839"/>
                      </a:lnTo>
                      <a:close/>
                    </a:path>
                  </a:pathLst>
                </a:custGeom>
                <a:solidFill>
                  <a:srgbClr val="D6D6D2"/>
                </a:solidFill>
                <a:ln w="6112" cap="rnd">
                  <a:solidFill>
                    <a:srgbClr val="FFFFFF"/>
                  </a:solidFill>
                  <a:prstDash val="solid"/>
                  <a:round/>
                </a:ln>
              </p:spPr>
              <p:txBody>
                <a:bodyPr rtlCol="0" anchor="ctr"/>
                <a:lstStyle/>
                <a:p>
                  <a:endParaRPr lang="en-US"/>
                </a:p>
              </p:txBody>
            </p:sp>
            <p:sp>
              <p:nvSpPr>
                <p:cNvPr id="651" name="Freeform: Shape 650">
                  <a:extLst>
                    <a:ext uri="{FF2B5EF4-FFF2-40B4-BE49-F238E27FC236}">
                      <a16:creationId xmlns:a16="http://schemas.microsoft.com/office/drawing/2014/main" id="{C98DF319-2BAA-47A1-B6A5-9D0B87A51233}"/>
                    </a:ext>
                  </a:extLst>
                </p:cNvPr>
                <p:cNvSpPr/>
                <p:nvPr/>
              </p:nvSpPr>
              <p:spPr>
                <a:xfrm>
                  <a:off x="7452694" y="3375368"/>
                  <a:ext cx="401912" cy="427616"/>
                </a:xfrm>
                <a:custGeom>
                  <a:avLst/>
                  <a:gdLst>
                    <a:gd name="connsiteX0" fmla="*/ 394936 w 401912"/>
                    <a:gd name="connsiteY0" fmla="*/ 45598 h 427616"/>
                    <a:gd name="connsiteX1" fmla="*/ 396060 w 401912"/>
                    <a:gd name="connsiteY1" fmla="*/ 48564 h 427616"/>
                    <a:gd name="connsiteX2" fmla="*/ 397780 w 401912"/>
                    <a:gd name="connsiteY2" fmla="*/ 53063 h 427616"/>
                    <a:gd name="connsiteX3" fmla="*/ 398921 w 401912"/>
                    <a:gd name="connsiteY3" fmla="*/ 56005 h 427616"/>
                    <a:gd name="connsiteX4" fmla="*/ 400185 w 401912"/>
                    <a:gd name="connsiteY4" fmla="*/ 59306 h 427616"/>
                    <a:gd name="connsiteX5" fmla="*/ 400820 w 401912"/>
                    <a:gd name="connsiteY5" fmla="*/ 60960 h 427616"/>
                    <a:gd name="connsiteX6" fmla="*/ 401912 w 401912"/>
                    <a:gd name="connsiteY6" fmla="*/ 63796 h 427616"/>
                    <a:gd name="connsiteX7" fmla="*/ 401464 w 401912"/>
                    <a:gd name="connsiteY7" fmla="*/ 65369 h 427616"/>
                    <a:gd name="connsiteX8" fmla="*/ 400731 w 401912"/>
                    <a:gd name="connsiteY8" fmla="*/ 67683 h 427616"/>
                    <a:gd name="connsiteX9" fmla="*/ 398025 w 401912"/>
                    <a:gd name="connsiteY9" fmla="*/ 69444 h 427616"/>
                    <a:gd name="connsiteX10" fmla="*/ 395327 w 401912"/>
                    <a:gd name="connsiteY10" fmla="*/ 70707 h 427616"/>
                    <a:gd name="connsiteX11" fmla="*/ 394692 w 401912"/>
                    <a:gd name="connsiteY11" fmla="*/ 71440 h 427616"/>
                    <a:gd name="connsiteX12" fmla="*/ 394480 w 401912"/>
                    <a:gd name="connsiteY12" fmla="*/ 72435 h 427616"/>
                    <a:gd name="connsiteX13" fmla="*/ 393176 w 401912"/>
                    <a:gd name="connsiteY13" fmla="*/ 74431 h 427616"/>
                    <a:gd name="connsiteX14" fmla="*/ 390657 w 401912"/>
                    <a:gd name="connsiteY14" fmla="*/ 76110 h 427616"/>
                    <a:gd name="connsiteX15" fmla="*/ 388555 w 401912"/>
                    <a:gd name="connsiteY15" fmla="*/ 75947 h 427616"/>
                    <a:gd name="connsiteX16" fmla="*/ 387235 w 401912"/>
                    <a:gd name="connsiteY16" fmla="*/ 75442 h 427616"/>
                    <a:gd name="connsiteX17" fmla="*/ 380185 w 401912"/>
                    <a:gd name="connsiteY17" fmla="*/ 78352 h 427616"/>
                    <a:gd name="connsiteX18" fmla="*/ 376925 w 401912"/>
                    <a:gd name="connsiteY18" fmla="*/ 78278 h 427616"/>
                    <a:gd name="connsiteX19" fmla="*/ 374374 w 401912"/>
                    <a:gd name="connsiteY19" fmla="*/ 80169 h 427616"/>
                    <a:gd name="connsiteX20" fmla="*/ 372484 w 401912"/>
                    <a:gd name="connsiteY20" fmla="*/ 81880 h 427616"/>
                    <a:gd name="connsiteX21" fmla="*/ 368694 w 401912"/>
                    <a:gd name="connsiteY21" fmla="*/ 83755 h 427616"/>
                    <a:gd name="connsiteX22" fmla="*/ 366127 w 401912"/>
                    <a:gd name="connsiteY22" fmla="*/ 83763 h 427616"/>
                    <a:gd name="connsiteX23" fmla="*/ 362337 w 401912"/>
                    <a:gd name="connsiteY23" fmla="*/ 82655 h 427616"/>
                    <a:gd name="connsiteX24" fmla="*/ 357651 w 401912"/>
                    <a:gd name="connsiteY24" fmla="*/ 80527 h 427616"/>
                    <a:gd name="connsiteX25" fmla="*/ 355760 w 401912"/>
                    <a:gd name="connsiteY25" fmla="*/ 79289 h 427616"/>
                    <a:gd name="connsiteX26" fmla="*/ 354041 w 401912"/>
                    <a:gd name="connsiteY26" fmla="*/ 79370 h 427616"/>
                    <a:gd name="connsiteX27" fmla="*/ 349909 w 401912"/>
                    <a:gd name="connsiteY27" fmla="*/ 79069 h 427616"/>
                    <a:gd name="connsiteX28" fmla="*/ 345858 w 401912"/>
                    <a:gd name="connsiteY28" fmla="*/ 78017 h 427616"/>
                    <a:gd name="connsiteX29" fmla="*/ 341042 w 401912"/>
                    <a:gd name="connsiteY29" fmla="*/ 76770 h 427616"/>
                    <a:gd name="connsiteX30" fmla="*/ 338646 w 401912"/>
                    <a:gd name="connsiteY30" fmla="*/ 76233 h 427616"/>
                    <a:gd name="connsiteX31" fmla="*/ 333756 w 401912"/>
                    <a:gd name="connsiteY31" fmla="*/ 75141 h 427616"/>
                    <a:gd name="connsiteX32" fmla="*/ 330570 w 401912"/>
                    <a:gd name="connsiteY32" fmla="*/ 76599 h 427616"/>
                    <a:gd name="connsiteX33" fmla="*/ 327692 w 401912"/>
                    <a:gd name="connsiteY33" fmla="*/ 77928 h 427616"/>
                    <a:gd name="connsiteX34" fmla="*/ 325346 w 401912"/>
                    <a:gd name="connsiteY34" fmla="*/ 78816 h 427616"/>
                    <a:gd name="connsiteX35" fmla="*/ 323398 w 401912"/>
                    <a:gd name="connsiteY35" fmla="*/ 82899 h 427616"/>
                    <a:gd name="connsiteX36" fmla="*/ 322591 w 401912"/>
                    <a:gd name="connsiteY36" fmla="*/ 84342 h 427616"/>
                    <a:gd name="connsiteX37" fmla="*/ 321645 w 401912"/>
                    <a:gd name="connsiteY37" fmla="*/ 86403 h 427616"/>
                    <a:gd name="connsiteX38" fmla="*/ 321205 w 401912"/>
                    <a:gd name="connsiteY38" fmla="*/ 87854 h 427616"/>
                    <a:gd name="connsiteX39" fmla="*/ 321589 w 401912"/>
                    <a:gd name="connsiteY39" fmla="*/ 89590 h 427616"/>
                    <a:gd name="connsiteX40" fmla="*/ 324433 w 401912"/>
                    <a:gd name="connsiteY40" fmla="*/ 90812 h 427616"/>
                    <a:gd name="connsiteX41" fmla="*/ 325614 w 401912"/>
                    <a:gd name="connsiteY41" fmla="*/ 92499 h 427616"/>
                    <a:gd name="connsiteX42" fmla="*/ 325802 w 401912"/>
                    <a:gd name="connsiteY42" fmla="*/ 93983 h 427616"/>
                    <a:gd name="connsiteX43" fmla="*/ 324767 w 401912"/>
                    <a:gd name="connsiteY43" fmla="*/ 95507 h 427616"/>
                    <a:gd name="connsiteX44" fmla="*/ 323919 w 401912"/>
                    <a:gd name="connsiteY44" fmla="*/ 96705 h 427616"/>
                    <a:gd name="connsiteX45" fmla="*/ 323919 w 401912"/>
                    <a:gd name="connsiteY45" fmla="*/ 97772 h 427616"/>
                    <a:gd name="connsiteX46" fmla="*/ 324367 w 401912"/>
                    <a:gd name="connsiteY46" fmla="*/ 98832 h 427616"/>
                    <a:gd name="connsiteX47" fmla="*/ 325052 w 401912"/>
                    <a:gd name="connsiteY47" fmla="*/ 99630 h 427616"/>
                    <a:gd name="connsiteX48" fmla="*/ 329103 w 401912"/>
                    <a:gd name="connsiteY48" fmla="*/ 100128 h 427616"/>
                    <a:gd name="connsiteX49" fmla="*/ 331490 w 401912"/>
                    <a:gd name="connsiteY49" fmla="*/ 100136 h 427616"/>
                    <a:gd name="connsiteX50" fmla="*/ 332419 w 401912"/>
                    <a:gd name="connsiteY50" fmla="*/ 100568 h 427616"/>
                    <a:gd name="connsiteX51" fmla="*/ 332525 w 401912"/>
                    <a:gd name="connsiteY51" fmla="*/ 102010 h 427616"/>
                    <a:gd name="connsiteX52" fmla="*/ 331645 w 401912"/>
                    <a:gd name="connsiteY52" fmla="*/ 103958 h 427616"/>
                    <a:gd name="connsiteX53" fmla="*/ 328247 w 401912"/>
                    <a:gd name="connsiteY53" fmla="*/ 105531 h 427616"/>
                    <a:gd name="connsiteX54" fmla="*/ 326324 w 401912"/>
                    <a:gd name="connsiteY54" fmla="*/ 107185 h 427616"/>
                    <a:gd name="connsiteX55" fmla="*/ 325720 w 401912"/>
                    <a:gd name="connsiteY55" fmla="*/ 109369 h 427616"/>
                    <a:gd name="connsiteX56" fmla="*/ 325745 w 401912"/>
                    <a:gd name="connsiteY56" fmla="*/ 111113 h 427616"/>
                    <a:gd name="connsiteX57" fmla="*/ 326397 w 401912"/>
                    <a:gd name="connsiteY57" fmla="*/ 112271 h 427616"/>
                    <a:gd name="connsiteX58" fmla="*/ 328035 w 401912"/>
                    <a:gd name="connsiteY58" fmla="*/ 113599 h 427616"/>
                    <a:gd name="connsiteX59" fmla="*/ 329559 w 401912"/>
                    <a:gd name="connsiteY59" fmla="*/ 115123 h 427616"/>
                    <a:gd name="connsiteX60" fmla="*/ 330023 w 401912"/>
                    <a:gd name="connsiteY60" fmla="*/ 116370 h 427616"/>
                    <a:gd name="connsiteX61" fmla="*/ 329836 w 401912"/>
                    <a:gd name="connsiteY61" fmla="*/ 118057 h 427616"/>
                    <a:gd name="connsiteX62" fmla="*/ 329217 w 401912"/>
                    <a:gd name="connsiteY62" fmla="*/ 120380 h 427616"/>
                    <a:gd name="connsiteX63" fmla="*/ 327546 w 401912"/>
                    <a:gd name="connsiteY63" fmla="*/ 123077 h 427616"/>
                    <a:gd name="connsiteX64" fmla="*/ 326160 w 401912"/>
                    <a:gd name="connsiteY64" fmla="*/ 125009 h 427616"/>
                    <a:gd name="connsiteX65" fmla="*/ 326047 w 401912"/>
                    <a:gd name="connsiteY65" fmla="*/ 125693 h 427616"/>
                    <a:gd name="connsiteX66" fmla="*/ 326397 w 401912"/>
                    <a:gd name="connsiteY66" fmla="*/ 126728 h 427616"/>
                    <a:gd name="connsiteX67" fmla="*/ 327513 w 401912"/>
                    <a:gd name="connsiteY67" fmla="*/ 128228 h 427616"/>
                    <a:gd name="connsiteX68" fmla="*/ 329436 w 401912"/>
                    <a:gd name="connsiteY68" fmla="*/ 130436 h 427616"/>
                    <a:gd name="connsiteX69" fmla="*/ 331808 w 401912"/>
                    <a:gd name="connsiteY69" fmla="*/ 132238 h 427616"/>
                    <a:gd name="connsiteX70" fmla="*/ 333332 w 401912"/>
                    <a:gd name="connsiteY70" fmla="*/ 132735 h 427616"/>
                    <a:gd name="connsiteX71" fmla="*/ 333838 w 401912"/>
                    <a:gd name="connsiteY71" fmla="*/ 133167 h 427616"/>
                    <a:gd name="connsiteX72" fmla="*/ 334310 w 401912"/>
                    <a:gd name="connsiteY72" fmla="*/ 135245 h 427616"/>
                    <a:gd name="connsiteX73" fmla="*/ 334489 w 401912"/>
                    <a:gd name="connsiteY73" fmla="*/ 137429 h 427616"/>
                    <a:gd name="connsiteX74" fmla="*/ 333878 w 401912"/>
                    <a:gd name="connsiteY74" fmla="*/ 139067 h 427616"/>
                    <a:gd name="connsiteX75" fmla="*/ 335093 w 401912"/>
                    <a:gd name="connsiteY75" fmla="*/ 140428 h 427616"/>
                    <a:gd name="connsiteX76" fmla="*/ 338287 w 401912"/>
                    <a:gd name="connsiteY76" fmla="*/ 140355 h 427616"/>
                    <a:gd name="connsiteX77" fmla="*/ 340895 w 401912"/>
                    <a:gd name="connsiteY77" fmla="*/ 140933 h 427616"/>
                    <a:gd name="connsiteX78" fmla="*/ 341995 w 401912"/>
                    <a:gd name="connsiteY78" fmla="*/ 140355 h 427616"/>
                    <a:gd name="connsiteX79" fmla="*/ 342753 w 401912"/>
                    <a:gd name="connsiteY79" fmla="*/ 140787 h 427616"/>
                    <a:gd name="connsiteX80" fmla="*/ 342256 w 401912"/>
                    <a:gd name="connsiteY80" fmla="*/ 145660 h 427616"/>
                    <a:gd name="connsiteX81" fmla="*/ 342615 w 401912"/>
                    <a:gd name="connsiteY81" fmla="*/ 148545 h 427616"/>
                    <a:gd name="connsiteX82" fmla="*/ 343315 w 401912"/>
                    <a:gd name="connsiteY82" fmla="*/ 149360 h 427616"/>
                    <a:gd name="connsiteX83" fmla="*/ 345866 w 401912"/>
                    <a:gd name="connsiteY83" fmla="*/ 150534 h 427616"/>
                    <a:gd name="connsiteX84" fmla="*/ 350797 w 401912"/>
                    <a:gd name="connsiteY84" fmla="*/ 150387 h 427616"/>
                    <a:gd name="connsiteX85" fmla="*/ 353682 w 401912"/>
                    <a:gd name="connsiteY85" fmla="*/ 151748 h 427616"/>
                    <a:gd name="connsiteX86" fmla="*/ 356901 w 401912"/>
                    <a:gd name="connsiteY86" fmla="*/ 153321 h 427616"/>
                    <a:gd name="connsiteX87" fmla="*/ 358613 w 401912"/>
                    <a:gd name="connsiteY87" fmla="*/ 155040 h 427616"/>
                    <a:gd name="connsiteX88" fmla="*/ 359379 w 401912"/>
                    <a:gd name="connsiteY88" fmla="*/ 156328 h 427616"/>
                    <a:gd name="connsiteX89" fmla="*/ 359159 w 401912"/>
                    <a:gd name="connsiteY89" fmla="*/ 158406 h 427616"/>
                    <a:gd name="connsiteX90" fmla="*/ 357406 w 401912"/>
                    <a:gd name="connsiteY90" fmla="*/ 160835 h 427616"/>
                    <a:gd name="connsiteX91" fmla="*/ 354546 w 401912"/>
                    <a:gd name="connsiteY91" fmla="*/ 161984 h 427616"/>
                    <a:gd name="connsiteX92" fmla="*/ 352883 w 401912"/>
                    <a:gd name="connsiteY92" fmla="*/ 162489 h 427616"/>
                    <a:gd name="connsiteX93" fmla="*/ 344644 w 401912"/>
                    <a:gd name="connsiteY93" fmla="*/ 167037 h 427616"/>
                    <a:gd name="connsiteX94" fmla="*/ 342068 w 401912"/>
                    <a:gd name="connsiteY94" fmla="*/ 168952 h 427616"/>
                    <a:gd name="connsiteX95" fmla="*/ 340072 w 401912"/>
                    <a:gd name="connsiteY95" fmla="*/ 171258 h 427616"/>
                    <a:gd name="connsiteX96" fmla="*/ 339347 w 401912"/>
                    <a:gd name="connsiteY96" fmla="*/ 172986 h 427616"/>
                    <a:gd name="connsiteX97" fmla="*/ 338956 w 401912"/>
                    <a:gd name="connsiteY97" fmla="*/ 174681 h 427616"/>
                    <a:gd name="connsiteX98" fmla="*/ 340724 w 401912"/>
                    <a:gd name="connsiteY98" fmla="*/ 180786 h 427616"/>
                    <a:gd name="connsiteX99" fmla="*/ 341034 w 401912"/>
                    <a:gd name="connsiteY99" fmla="*/ 182676 h 427616"/>
                    <a:gd name="connsiteX100" fmla="*/ 339575 w 401912"/>
                    <a:gd name="connsiteY100" fmla="*/ 189269 h 427616"/>
                    <a:gd name="connsiteX101" fmla="*/ 339143 w 401912"/>
                    <a:gd name="connsiteY101" fmla="*/ 191722 h 427616"/>
                    <a:gd name="connsiteX102" fmla="*/ 339689 w 401912"/>
                    <a:gd name="connsiteY102" fmla="*/ 193426 h 427616"/>
                    <a:gd name="connsiteX103" fmla="*/ 341441 w 401912"/>
                    <a:gd name="connsiteY103" fmla="*/ 194061 h 427616"/>
                    <a:gd name="connsiteX104" fmla="*/ 341824 w 401912"/>
                    <a:gd name="connsiteY104" fmla="*/ 195488 h 427616"/>
                    <a:gd name="connsiteX105" fmla="*/ 342003 w 401912"/>
                    <a:gd name="connsiteY105" fmla="*/ 196588 h 427616"/>
                    <a:gd name="connsiteX106" fmla="*/ 338947 w 401912"/>
                    <a:gd name="connsiteY106" fmla="*/ 199000 h 427616"/>
                    <a:gd name="connsiteX107" fmla="*/ 335745 w 401912"/>
                    <a:gd name="connsiteY107" fmla="*/ 201135 h 427616"/>
                    <a:gd name="connsiteX108" fmla="*/ 334726 w 401912"/>
                    <a:gd name="connsiteY108" fmla="*/ 201135 h 427616"/>
                    <a:gd name="connsiteX109" fmla="*/ 331645 w 401912"/>
                    <a:gd name="connsiteY109" fmla="*/ 205145 h 427616"/>
                    <a:gd name="connsiteX110" fmla="*/ 326519 w 401912"/>
                    <a:gd name="connsiteY110" fmla="*/ 213173 h 427616"/>
                    <a:gd name="connsiteX111" fmla="*/ 323805 w 401912"/>
                    <a:gd name="connsiteY111" fmla="*/ 215886 h 427616"/>
                    <a:gd name="connsiteX112" fmla="*/ 323618 w 401912"/>
                    <a:gd name="connsiteY112" fmla="*/ 217215 h 427616"/>
                    <a:gd name="connsiteX113" fmla="*/ 323389 w 401912"/>
                    <a:gd name="connsiteY113" fmla="*/ 218560 h 427616"/>
                    <a:gd name="connsiteX114" fmla="*/ 324433 w 401912"/>
                    <a:gd name="connsiteY114" fmla="*/ 220817 h 427616"/>
                    <a:gd name="connsiteX115" fmla="*/ 324661 w 401912"/>
                    <a:gd name="connsiteY115" fmla="*/ 222732 h 427616"/>
                    <a:gd name="connsiteX116" fmla="*/ 323487 w 401912"/>
                    <a:gd name="connsiteY116" fmla="*/ 224672 h 427616"/>
                    <a:gd name="connsiteX117" fmla="*/ 321564 w 401912"/>
                    <a:gd name="connsiteY117" fmla="*/ 226864 h 427616"/>
                    <a:gd name="connsiteX118" fmla="*/ 317823 w 401912"/>
                    <a:gd name="connsiteY118" fmla="*/ 228796 h 427616"/>
                    <a:gd name="connsiteX119" fmla="*/ 313096 w 401912"/>
                    <a:gd name="connsiteY119" fmla="*/ 230776 h 427616"/>
                    <a:gd name="connsiteX120" fmla="*/ 310961 w 401912"/>
                    <a:gd name="connsiteY120" fmla="*/ 231974 h 427616"/>
                    <a:gd name="connsiteX121" fmla="*/ 309372 w 401912"/>
                    <a:gd name="connsiteY121" fmla="*/ 237149 h 427616"/>
                    <a:gd name="connsiteX122" fmla="*/ 307897 w 401912"/>
                    <a:gd name="connsiteY122" fmla="*/ 242348 h 427616"/>
                    <a:gd name="connsiteX123" fmla="*/ 307237 w 401912"/>
                    <a:gd name="connsiteY123" fmla="*/ 244272 h 427616"/>
                    <a:gd name="connsiteX124" fmla="*/ 304678 w 401912"/>
                    <a:gd name="connsiteY124" fmla="*/ 250246 h 427616"/>
                    <a:gd name="connsiteX125" fmla="*/ 300236 w 401912"/>
                    <a:gd name="connsiteY125" fmla="*/ 259039 h 427616"/>
                    <a:gd name="connsiteX126" fmla="*/ 299103 w 401912"/>
                    <a:gd name="connsiteY126" fmla="*/ 260962 h 427616"/>
                    <a:gd name="connsiteX127" fmla="*/ 292209 w 401912"/>
                    <a:gd name="connsiteY127" fmla="*/ 265192 h 427616"/>
                    <a:gd name="connsiteX128" fmla="*/ 285175 w 401912"/>
                    <a:gd name="connsiteY128" fmla="*/ 269797 h 427616"/>
                    <a:gd name="connsiteX129" fmla="*/ 283945 w 401912"/>
                    <a:gd name="connsiteY129" fmla="*/ 271549 h 427616"/>
                    <a:gd name="connsiteX130" fmla="*/ 282502 w 401912"/>
                    <a:gd name="connsiteY130" fmla="*/ 275738 h 427616"/>
                    <a:gd name="connsiteX131" fmla="*/ 281141 w 401912"/>
                    <a:gd name="connsiteY131" fmla="*/ 280326 h 427616"/>
                    <a:gd name="connsiteX132" fmla="*/ 279878 w 401912"/>
                    <a:gd name="connsiteY132" fmla="*/ 282731 h 427616"/>
                    <a:gd name="connsiteX133" fmla="*/ 275404 w 401912"/>
                    <a:gd name="connsiteY133" fmla="*/ 288117 h 427616"/>
                    <a:gd name="connsiteX134" fmla="*/ 273937 w 401912"/>
                    <a:gd name="connsiteY134" fmla="*/ 292241 h 427616"/>
                    <a:gd name="connsiteX135" fmla="*/ 273472 w 401912"/>
                    <a:gd name="connsiteY135" fmla="*/ 294947 h 427616"/>
                    <a:gd name="connsiteX136" fmla="*/ 269674 w 401912"/>
                    <a:gd name="connsiteY136" fmla="*/ 296455 h 427616"/>
                    <a:gd name="connsiteX137" fmla="*/ 265363 w 401912"/>
                    <a:gd name="connsiteY137" fmla="*/ 297889 h 427616"/>
                    <a:gd name="connsiteX138" fmla="*/ 259096 w 401912"/>
                    <a:gd name="connsiteY138" fmla="*/ 298362 h 427616"/>
                    <a:gd name="connsiteX139" fmla="*/ 256472 w 401912"/>
                    <a:gd name="connsiteY139" fmla="*/ 299103 h 427616"/>
                    <a:gd name="connsiteX140" fmla="*/ 248787 w 401912"/>
                    <a:gd name="connsiteY140" fmla="*/ 302828 h 427616"/>
                    <a:gd name="connsiteX141" fmla="*/ 246888 w 401912"/>
                    <a:gd name="connsiteY141" fmla="*/ 302982 h 427616"/>
                    <a:gd name="connsiteX142" fmla="*/ 245380 w 401912"/>
                    <a:gd name="connsiteY142" fmla="*/ 302363 h 427616"/>
                    <a:gd name="connsiteX143" fmla="*/ 244247 w 401912"/>
                    <a:gd name="connsiteY143" fmla="*/ 301092 h 427616"/>
                    <a:gd name="connsiteX144" fmla="*/ 243196 w 401912"/>
                    <a:gd name="connsiteY144" fmla="*/ 298981 h 427616"/>
                    <a:gd name="connsiteX145" fmla="*/ 242699 w 401912"/>
                    <a:gd name="connsiteY145" fmla="*/ 295737 h 427616"/>
                    <a:gd name="connsiteX146" fmla="*/ 241208 w 401912"/>
                    <a:gd name="connsiteY146" fmla="*/ 294262 h 427616"/>
                    <a:gd name="connsiteX147" fmla="*/ 239203 w 401912"/>
                    <a:gd name="connsiteY147" fmla="*/ 293015 h 427616"/>
                    <a:gd name="connsiteX148" fmla="*/ 237100 w 401912"/>
                    <a:gd name="connsiteY148" fmla="*/ 292958 h 427616"/>
                    <a:gd name="connsiteX149" fmla="*/ 234998 w 401912"/>
                    <a:gd name="connsiteY149" fmla="*/ 294336 h 427616"/>
                    <a:gd name="connsiteX150" fmla="*/ 233156 w 401912"/>
                    <a:gd name="connsiteY150" fmla="*/ 295843 h 427616"/>
                    <a:gd name="connsiteX151" fmla="*/ 231901 w 401912"/>
                    <a:gd name="connsiteY151" fmla="*/ 297099 h 427616"/>
                    <a:gd name="connsiteX152" fmla="*/ 230670 w 401912"/>
                    <a:gd name="connsiteY152" fmla="*/ 298549 h 427616"/>
                    <a:gd name="connsiteX153" fmla="*/ 228331 w 401912"/>
                    <a:gd name="connsiteY153" fmla="*/ 303455 h 427616"/>
                    <a:gd name="connsiteX154" fmla="*/ 224517 w 401912"/>
                    <a:gd name="connsiteY154" fmla="*/ 310472 h 427616"/>
                    <a:gd name="connsiteX155" fmla="*/ 220263 w 401912"/>
                    <a:gd name="connsiteY155" fmla="*/ 315574 h 427616"/>
                    <a:gd name="connsiteX156" fmla="*/ 218698 w 401912"/>
                    <a:gd name="connsiteY156" fmla="*/ 317106 h 427616"/>
                    <a:gd name="connsiteX157" fmla="*/ 217704 w 401912"/>
                    <a:gd name="connsiteY157" fmla="*/ 318255 h 427616"/>
                    <a:gd name="connsiteX158" fmla="*/ 216375 w 401912"/>
                    <a:gd name="connsiteY158" fmla="*/ 319958 h 427616"/>
                    <a:gd name="connsiteX159" fmla="*/ 215609 w 401912"/>
                    <a:gd name="connsiteY159" fmla="*/ 321588 h 427616"/>
                    <a:gd name="connsiteX160" fmla="*/ 214550 w 401912"/>
                    <a:gd name="connsiteY160" fmla="*/ 326935 h 427616"/>
                    <a:gd name="connsiteX161" fmla="*/ 213947 w 401912"/>
                    <a:gd name="connsiteY161" fmla="*/ 331678 h 427616"/>
                    <a:gd name="connsiteX162" fmla="*/ 214224 w 401912"/>
                    <a:gd name="connsiteY162" fmla="*/ 332729 h 427616"/>
                    <a:gd name="connsiteX163" fmla="*/ 214868 w 401912"/>
                    <a:gd name="connsiteY163" fmla="*/ 333626 h 427616"/>
                    <a:gd name="connsiteX164" fmla="*/ 217182 w 401912"/>
                    <a:gd name="connsiteY164" fmla="*/ 335003 h 427616"/>
                    <a:gd name="connsiteX165" fmla="*/ 220540 w 401912"/>
                    <a:gd name="connsiteY165" fmla="*/ 337285 h 427616"/>
                    <a:gd name="connsiteX166" fmla="*/ 224900 w 401912"/>
                    <a:gd name="connsiteY166" fmla="*/ 338572 h 427616"/>
                    <a:gd name="connsiteX167" fmla="*/ 228568 w 401912"/>
                    <a:gd name="connsiteY167" fmla="*/ 338809 h 427616"/>
                    <a:gd name="connsiteX168" fmla="*/ 229936 w 401912"/>
                    <a:gd name="connsiteY168" fmla="*/ 339779 h 427616"/>
                    <a:gd name="connsiteX169" fmla="*/ 230751 w 401912"/>
                    <a:gd name="connsiteY169" fmla="*/ 341099 h 427616"/>
                    <a:gd name="connsiteX170" fmla="*/ 230980 w 401912"/>
                    <a:gd name="connsiteY170" fmla="*/ 342207 h 427616"/>
                    <a:gd name="connsiteX171" fmla="*/ 230792 w 401912"/>
                    <a:gd name="connsiteY171" fmla="*/ 346111 h 427616"/>
                    <a:gd name="connsiteX172" fmla="*/ 230385 w 401912"/>
                    <a:gd name="connsiteY172" fmla="*/ 350308 h 427616"/>
                    <a:gd name="connsiteX173" fmla="*/ 229016 w 401912"/>
                    <a:gd name="connsiteY173" fmla="*/ 354815 h 427616"/>
                    <a:gd name="connsiteX174" fmla="*/ 229040 w 401912"/>
                    <a:gd name="connsiteY174" fmla="*/ 357398 h 427616"/>
                    <a:gd name="connsiteX175" fmla="*/ 229578 w 401912"/>
                    <a:gd name="connsiteY175" fmla="*/ 359916 h 427616"/>
                    <a:gd name="connsiteX176" fmla="*/ 233669 w 401912"/>
                    <a:gd name="connsiteY176" fmla="*/ 366322 h 427616"/>
                    <a:gd name="connsiteX177" fmla="*/ 235152 w 401912"/>
                    <a:gd name="connsiteY177" fmla="*/ 366991 h 427616"/>
                    <a:gd name="connsiteX178" fmla="*/ 238217 w 401912"/>
                    <a:gd name="connsiteY178" fmla="*/ 367129 h 427616"/>
                    <a:gd name="connsiteX179" fmla="*/ 239643 w 401912"/>
                    <a:gd name="connsiteY179" fmla="*/ 366999 h 427616"/>
                    <a:gd name="connsiteX180" fmla="*/ 241215 w 401912"/>
                    <a:gd name="connsiteY180" fmla="*/ 366347 h 427616"/>
                    <a:gd name="connsiteX181" fmla="*/ 242340 w 401912"/>
                    <a:gd name="connsiteY181" fmla="*/ 366795 h 427616"/>
                    <a:gd name="connsiteX182" fmla="*/ 243180 w 401912"/>
                    <a:gd name="connsiteY182" fmla="*/ 367577 h 427616"/>
                    <a:gd name="connsiteX183" fmla="*/ 243400 w 401912"/>
                    <a:gd name="connsiteY183" fmla="*/ 368873 h 427616"/>
                    <a:gd name="connsiteX184" fmla="*/ 243261 w 401912"/>
                    <a:gd name="connsiteY184" fmla="*/ 375263 h 427616"/>
                    <a:gd name="connsiteX185" fmla="*/ 244524 w 401912"/>
                    <a:gd name="connsiteY185" fmla="*/ 378147 h 427616"/>
                    <a:gd name="connsiteX186" fmla="*/ 246937 w 401912"/>
                    <a:gd name="connsiteY186" fmla="*/ 382092 h 427616"/>
                    <a:gd name="connsiteX187" fmla="*/ 248868 w 401912"/>
                    <a:gd name="connsiteY187" fmla="*/ 386574 h 427616"/>
                    <a:gd name="connsiteX188" fmla="*/ 250677 w 401912"/>
                    <a:gd name="connsiteY188" fmla="*/ 391961 h 427616"/>
                    <a:gd name="connsiteX189" fmla="*/ 252397 w 401912"/>
                    <a:gd name="connsiteY189" fmla="*/ 396167 h 427616"/>
                    <a:gd name="connsiteX190" fmla="*/ 253073 w 401912"/>
                    <a:gd name="connsiteY190" fmla="*/ 398359 h 427616"/>
                    <a:gd name="connsiteX191" fmla="*/ 251957 w 401912"/>
                    <a:gd name="connsiteY191" fmla="*/ 399418 h 427616"/>
                    <a:gd name="connsiteX192" fmla="*/ 251313 w 401912"/>
                    <a:gd name="connsiteY192" fmla="*/ 400519 h 427616"/>
                    <a:gd name="connsiteX193" fmla="*/ 251142 w 401912"/>
                    <a:gd name="connsiteY193" fmla="*/ 401986 h 427616"/>
                    <a:gd name="connsiteX194" fmla="*/ 251378 w 401912"/>
                    <a:gd name="connsiteY194" fmla="*/ 403542 h 427616"/>
                    <a:gd name="connsiteX195" fmla="*/ 251240 w 401912"/>
                    <a:gd name="connsiteY195" fmla="*/ 404642 h 427616"/>
                    <a:gd name="connsiteX196" fmla="*/ 252047 w 401912"/>
                    <a:gd name="connsiteY196" fmla="*/ 405987 h 427616"/>
                    <a:gd name="connsiteX197" fmla="*/ 253033 w 401912"/>
                    <a:gd name="connsiteY197" fmla="*/ 406435 h 427616"/>
                    <a:gd name="connsiteX198" fmla="*/ 252992 w 401912"/>
                    <a:gd name="connsiteY198" fmla="*/ 407373 h 427616"/>
                    <a:gd name="connsiteX199" fmla="*/ 251468 w 401912"/>
                    <a:gd name="connsiteY199" fmla="*/ 408603 h 427616"/>
                    <a:gd name="connsiteX200" fmla="*/ 250107 w 401912"/>
                    <a:gd name="connsiteY200" fmla="*/ 408562 h 427616"/>
                    <a:gd name="connsiteX201" fmla="*/ 249072 w 401912"/>
                    <a:gd name="connsiteY201" fmla="*/ 409141 h 427616"/>
                    <a:gd name="connsiteX202" fmla="*/ 247059 w 401912"/>
                    <a:gd name="connsiteY202" fmla="*/ 411708 h 427616"/>
                    <a:gd name="connsiteX203" fmla="*/ 246122 w 401912"/>
                    <a:gd name="connsiteY203" fmla="*/ 412222 h 427616"/>
                    <a:gd name="connsiteX204" fmla="*/ 244867 w 401912"/>
                    <a:gd name="connsiteY204" fmla="*/ 412458 h 427616"/>
                    <a:gd name="connsiteX205" fmla="*/ 243449 w 401912"/>
                    <a:gd name="connsiteY205" fmla="*/ 412197 h 427616"/>
                    <a:gd name="connsiteX206" fmla="*/ 241468 w 401912"/>
                    <a:gd name="connsiteY206" fmla="*/ 411170 h 427616"/>
                    <a:gd name="connsiteX207" fmla="*/ 240882 w 401912"/>
                    <a:gd name="connsiteY207" fmla="*/ 409540 h 427616"/>
                    <a:gd name="connsiteX208" fmla="*/ 241110 w 401912"/>
                    <a:gd name="connsiteY208" fmla="*/ 407829 h 427616"/>
                    <a:gd name="connsiteX209" fmla="*/ 240653 w 401912"/>
                    <a:gd name="connsiteY209" fmla="*/ 406802 h 427616"/>
                    <a:gd name="connsiteX210" fmla="*/ 239219 w 401912"/>
                    <a:gd name="connsiteY210" fmla="*/ 406998 h 427616"/>
                    <a:gd name="connsiteX211" fmla="*/ 234264 w 401912"/>
                    <a:gd name="connsiteY211" fmla="*/ 408750 h 427616"/>
                    <a:gd name="connsiteX212" fmla="*/ 229537 w 401912"/>
                    <a:gd name="connsiteY212" fmla="*/ 410901 h 427616"/>
                    <a:gd name="connsiteX213" fmla="*/ 228714 w 401912"/>
                    <a:gd name="connsiteY213" fmla="*/ 412376 h 427616"/>
                    <a:gd name="connsiteX214" fmla="*/ 227614 w 401912"/>
                    <a:gd name="connsiteY214" fmla="*/ 413908 h 427616"/>
                    <a:gd name="connsiteX215" fmla="*/ 225454 w 401912"/>
                    <a:gd name="connsiteY215" fmla="*/ 414544 h 427616"/>
                    <a:gd name="connsiteX216" fmla="*/ 222259 w 401912"/>
                    <a:gd name="connsiteY216" fmla="*/ 414732 h 427616"/>
                    <a:gd name="connsiteX217" fmla="*/ 220051 w 401912"/>
                    <a:gd name="connsiteY217" fmla="*/ 414504 h 427616"/>
                    <a:gd name="connsiteX218" fmla="*/ 218022 w 401912"/>
                    <a:gd name="connsiteY218" fmla="*/ 412857 h 427616"/>
                    <a:gd name="connsiteX219" fmla="*/ 216163 w 401912"/>
                    <a:gd name="connsiteY219" fmla="*/ 411358 h 427616"/>
                    <a:gd name="connsiteX220" fmla="*/ 213295 w 401912"/>
                    <a:gd name="connsiteY220" fmla="*/ 411284 h 427616"/>
                    <a:gd name="connsiteX221" fmla="*/ 208120 w 401912"/>
                    <a:gd name="connsiteY221" fmla="*/ 411504 h 427616"/>
                    <a:gd name="connsiteX222" fmla="*/ 205259 w 401912"/>
                    <a:gd name="connsiteY222" fmla="*/ 411496 h 427616"/>
                    <a:gd name="connsiteX223" fmla="*/ 203572 w 401912"/>
                    <a:gd name="connsiteY223" fmla="*/ 410942 h 427616"/>
                    <a:gd name="connsiteX224" fmla="*/ 201909 w 401912"/>
                    <a:gd name="connsiteY224" fmla="*/ 411358 h 427616"/>
                    <a:gd name="connsiteX225" fmla="*/ 199823 w 401912"/>
                    <a:gd name="connsiteY225" fmla="*/ 410755 h 427616"/>
                    <a:gd name="connsiteX226" fmla="*/ 198910 w 401912"/>
                    <a:gd name="connsiteY226" fmla="*/ 411561 h 427616"/>
                    <a:gd name="connsiteX227" fmla="*/ 198038 w 401912"/>
                    <a:gd name="connsiteY227" fmla="*/ 411643 h 427616"/>
                    <a:gd name="connsiteX228" fmla="*/ 197330 w 401912"/>
                    <a:gd name="connsiteY228" fmla="*/ 410225 h 427616"/>
                    <a:gd name="connsiteX229" fmla="*/ 196857 w 401912"/>
                    <a:gd name="connsiteY229" fmla="*/ 410086 h 427616"/>
                    <a:gd name="connsiteX230" fmla="*/ 196319 w 401912"/>
                    <a:gd name="connsiteY230" fmla="*/ 410290 h 427616"/>
                    <a:gd name="connsiteX231" fmla="*/ 195838 w 401912"/>
                    <a:gd name="connsiteY231" fmla="*/ 410763 h 427616"/>
                    <a:gd name="connsiteX232" fmla="*/ 195553 w 401912"/>
                    <a:gd name="connsiteY232" fmla="*/ 411586 h 427616"/>
                    <a:gd name="connsiteX233" fmla="*/ 195447 w 401912"/>
                    <a:gd name="connsiteY233" fmla="*/ 421007 h 427616"/>
                    <a:gd name="connsiteX234" fmla="*/ 192040 w 401912"/>
                    <a:gd name="connsiteY234" fmla="*/ 420950 h 427616"/>
                    <a:gd name="connsiteX235" fmla="*/ 189604 w 401912"/>
                    <a:gd name="connsiteY235" fmla="*/ 420933 h 427616"/>
                    <a:gd name="connsiteX236" fmla="*/ 186938 w 401912"/>
                    <a:gd name="connsiteY236" fmla="*/ 421447 h 427616"/>
                    <a:gd name="connsiteX237" fmla="*/ 184494 w 401912"/>
                    <a:gd name="connsiteY237" fmla="*/ 422164 h 427616"/>
                    <a:gd name="connsiteX238" fmla="*/ 183295 w 401912"/>
                    <a:gd name="connsiteY238" fmla="*/ 423020 h 427616"/>
                    <a:gd name="connsiteX239" fmla="*/ 181584 w 401912"/>
                    <a:gd name="connsiteY239" fmla="*/ 424373 h 427616"/>
                    <a:gd name="connsiteX240" fmla="*/ 181177 w 401912"/>
                    <a:gd name="connsiteY240" fmla="*/ 426247 h 427616"/>
                    <a:gd name="connsiteX241" fmla="*/ 180354 w 401912"/>
                    <a:gd name="connsiteY241" fmla="*/ 427616 h 427616"/>
                    <a:gd name="connsiteX242" fmla="*/ 179172 w 401912"/>
                    <a:gd name="connsiteY242" fmla="*/ 425587 h 427616"/>
                    <a:gd name="connsiteX243" fmla="*/ 178406 w 401912"/>
                    <a:gd name="connsiteY243" fmla="*/ 424650 h 427616"/>
                    <a:gd name="connsiteX244" fmla="*/ 177526 w 401912"/>
                    <a:gd name="connsiteY244" fmla="*/ 425351 h 427616"/>
                    <a:gd name="connsiteX245" fmla="*/ 176279 w 401912"/>
                    <a:gd name="connsiteY245" fmla="*/ 425261 h 427616"/>
                    <a:gd name="connsiteX246" fmla="*/ 174013 w 401912"/>
                    <a:gd name="connsiteY246" fmla="*/ 422947 h 427616"/>
                    <a:gd name="connsiteX247" fmla="*/ 173002 w 401912"/>
                    <a:gd name="connsiteY247" fmla="*/ 425286 h 427616"/>
                    <a:gd name="connsiteX248" fmla="*/ 169262 w 401912"/>
                    <a:gd name="connsiteY248" fmla="*/ 425815 h 427616"/>
                    <a:gd name="connsiteX249" fmla="*/ 168797 w 401912"/>
                    <a:gd name="connsiteY249" fmla="*/ 424055 h 427616"/>
                    <a:gd name="connsiteX250" fmla="*/ 168708 w 401912"/>
                    <a:gd name="connsiteY250" fmla="*/ 422417 h 427616"/>
                    <a:gd name="connsiteX251" fmla="*/ 166654 w 401912"/>
                    <a:gd name="connsiteY251" fmla="*/ 423599 h 427616"/>
                    <a:gd name="connsiteX252" fmla="*/ 165170 w 401912"/>
                    <a:gd name="connsiteY252" fmla="*/ 421781 h 427616"/>
                    <a:gd name="connsiteX253" fmla="*/ 164510 w 401912"/>
                    <a:gd name="connsiteY253" fmla="*/ 419336 h 427616"/>
                    <a:gd name="connsiteX254" fmla="*/ 163940 w 401912"/>
                    <a:gd name="connsiteY254" fmla="*/ 418660 h 427616"/>
                    <a:gd name="connsiteX255" fmla="*/ 163288 w 401912"/>
                    <a:gd name="connsiteY255" fmla="*/ 417877 h 427616"/>
                    <a:gd name="connsiteX256" fmla="*/ 161740 w 401912"/>
                    <a:gd name="connsiteY256" fmla="*/ 417046 h 427616"/>
                    <a:gd name="connsiteX257" fmla="*/ 160354 w 401912"/>
                    <a:gd name="connsiteY257" fmla="*/ 414438 h 427616"/>
                    <a:gd name="connsiteX258" fmla="*/ 160240 w 401912"/>
                    <a:gd name="connsiteY258" fmla="*/ 411676 h 427616"/>
                    <a:gd name="connsiteX259" fmla="*/ 159841 w 401912"/>
                    <a:gd name="connsiteY259" fmla="*/ 408391 h 427616"/>
                    <a:gd name="connsiteX260" fmla="*/ 156948 w 401912"/>
                    <a:gd name="connsiteY260" fmla="*/ 396207 h 427616"/>
                    <a:gd name="connsiteX261" fmla="*/ 155179 w 401912"/>
                    <a:gd name="connsiteY261" fmla="*/ 395091 h 427616"/>
                    <a:gd name="connsiteX262" fmla="*/ 145326 w 401912"/>
                    <a:gd name="connsiteY262" fmla="*/ 392931 h 427616"/>
                    <a:gd name="connsiteX263" fmla="*/ 144805 w 401912"/>
                    <a:gd name="connsiteY263" fmla="*/ 390788 h 427616"/>
                    <a:gd name="connsiteX264" fmla="*/ 145489 w 401912"/>
                    <a:gd name="connsiteY264" fmla="*/ 385059 h 427616"/>
                    <a:gd name="connsiteX265" fmla="*/ 145212 w 401912"/>
                    <a:gd name="connsiteY265" fmla="*/ 381440 h 427616"/>
                    <a:gd name="connsiteX266" fmla="*/ 142017 w 401912"/>
                    <a:gd name="connsiteY266" fmla="*/ 376664 h 427616"/>
                    <a:gd name="connsiteX267" fmla="*/ 141121 w 401912"/>
                    <a:gd name="connsiteY267" fmla="*/ 373331 h 427616"/>
                    <a:gd name="connsiteX268" fmla="*/ 138521 w 401912"/>
                    <a:gd name="connsiteY268" fmla="*/ 370462 h 427616"/>
                    <a:gd name="connsiteX269" fmla="*/ 135930 w 401912"/>
                    <a:gd name="connsiteY269" fmla="*/ 369631 h 427616"/>
                    <a:gd name="connsiteX270" fmla="*/ 133322 w 401912"/>
                    <a:gd name="connsiteY270" fmla="*/ 370006 h 427616"/>
                    <a:gd name="connsiteX271" fmla="*/ 131911 w 401912"/>
                    <a:gd name="connsiteY271" fmla="*/ 371139 h 427616"/>
                    <a:gd name="connsiteX272" fmla="*/ 131137 w 401912"/>
                    <a:gd name="connsiteY272" fmla="*/ 373046 h 427616"/>
                    <a:gd name="connsiteX273" fmla="*/ 136728 w 401912"/>
                    <a:gd name="connsiteY273" fmla="*/ 372606 h 427616"/>
                    <a:gd name="connsiteX274" fmla="*/ 137975 w 401912"/>
                    <a:gd name="connsiteY274" fmla="*/ 373299 h 427616"/>
                    <a:gd name="connsiteX275" fmla="*/ 139483 w 401912"/>
                    <a:gd name="connsiteY275" fmla="*/ 374562 h 427616"/>
                    <a:gd name="connsiteX276" fmla="*/ 137885 w 401912"/>
                    <a:gd name="connsiteY276" fmla="*/ 374505 h 427616"/>
                    <a:gd name="connsiteX277" fmla="*/ 136019 w 401912"/>
                    <a:gd name="connsiteY277" fmla="*/ 373910 h 427616"/>
                    <a:gd name="connsiteX278" fmla="*/ 133705 w 401912"/>
                    <a:gd name="connsiteY278" fmla="*/ 373959 h 427616"/>
                    <a:gd name="connsiteX279" fmla="*/ 125001 w 401912"/>
                    <a:gd name="connsiteY279" fmla="*/ 375369 h 427616"/>
                    <a:gd name="connsiteX280" fmla="*/ 119939 w 401912"/>
                    <a:gd name="connsiteY280" fmla="*/ 377390 h 427616"/>
                    <a:gd name="connsiteX281" fmla="*/ 113151 w 401912"/>
                    <a:gd name="connsiteY281" fmla="*/ 376795 h 427616"/>
                    <a:gd name="connsiteX282" fmla="*/ 104602 w 401912"/>
                    <a:gd name="connsiteY282" fmla="*/ 378775 h 427616"/>
                    <a:gd name="connsiteX283" fmla="*/ 97536 w 401912"/>
                    <a:gd name="connsiteY283" fmla="*/ 378889 h 427616"/>
                    <a:gd name="connsiteX284" fmla="*/ 94626 w 401912"/>
                    <a:gd name="connsiteY284" fmla="*/ 382768 h 427616"/>
                    <a:gd name="connsiteX285" fmla="*/ 93013 w 401912"/>
                    <a:gd name="connsiteY285" fmla="*/ 382076 h 427616"/>
                    <a:gd name="connsiteX286" fmla="*/ 91766 w 401912"/>
                    <a:gd name="connsiteY286" fmla="*/ 381114 h 427616"/>
                    <a:gd name="connsiteX287" fmla="*/ 82051 w 401912"/>
                    <a:gd name="connsiteY287" fmla="*/ 378074 h 427616"/>
                    <a:gd name="connsiteX288" fmla="*/ 81383 w 401912"/>
                    <a:gd name="connsiteY288" fmla="*/ 376803 h 427616"/>
                    <a:gd name="connsiteX289" fmla="*/ 79753 w 401912"/>
                    <a:gd name="connsiteY289" fmla="*/ 375890 h 427616"/>
                    <a:gd name="connsiteX290" fmla="*/ 77960 w 401912"/>
                    <a:gd name="connsiteY290" fmla="*/ 377520 h 427616"/>
                    <a:gd name="connsiteX291" fmla="*/ 76681 w 401912"/>
                    <a:gd name="connsiteY291" fmla="*/ 377789 h 427616"/>
                    <a:gd name="connsiteX292" fmla="*/ 71359 w 401912"/>
                    <a:gd name="connsiteY292" fmla="*/ 376428 h 427616"/>
                    <a:gd name="connsiteX293" fmla="*/ 67284 w 401912"/>
                    <a:gd name="connsiteY293" fmla="*/ 377455 h 427616"/>
                    <a:gd name="connsiteX294" fmla="*/ 65768 w 401912"/>
                    <a:gd name="connsiteY294" fmla="*/ 379207 h 427616"/>
                    <a:gd name="connsiteX295" fmla="*/ 65670 w 401912"/>
                    <a:gd name="connsiteY295" fmla="*/ 381929 h 427616"/>
                    <a:gd name="connsiteX296" fmla="*/ 60560 w 401912"/>
                    <a:gd name="connsiteY296" fmla="*/ 381407 h 427616"/>
                    <a:gd name="connsiteX297" fmla="*/ 57692 w 401912"/>
                    <a:gd name="connsiteY297" fmla="*/ 380543 h 427616"/>
                    <a:gd name="connsiteX298" fmla="*/ 53845 w 401912"/>
                    <a:gd name="connsiteY298" fmla="*/ 381497 h 427616"/>
                    <a:gd name="connsiteX299" fmla="*/ 45166 w 401912"/>
                    <a:gd name="connsiteY299" fmla="*/ 380234 h 427616"/>
                    <a:gd name="connsiteX300" fmla="*/ 42868 w 401912"/>
                    <a:gd name="connsiteY300" fmla="*/ 380552 h 427616"/>
                    <a:gd name="connsiteX301" fmla="*/ 39714 w 401912"/>
                    <a:gd name="connsiteY301" fmla="*/ 382353 h 427616"/>
                    <a:gd name="connsiteX302" fmla="*/ 38385 w 401912"/>
                    <a:gd name="connsiteY302" fmla="*/ 383763 h 427616"/>
                    <a:gd name="connsiteX303" fmla="*/ 36494 w 401912"/>
                    <a:gd name="connsiteY303" fmla="*/ 384317 h 427616"/>
                    <a:gd name="connsiteX304" fmla="*/ 34848 w 401912"/>
                    <a:gd name="connsiteY304" fmla="*/ 382353 h 427616"/>
                    <a:gd name="connsiteX305" fmla="*/ 33601 w 401912"/>
                    <a:gd name="connsiteY305" fmla="*/ 381489 h 427616"/>
                    <a:gd name="connsiteX306" fmla="*/ 32452 w 401912"/>
                    <a:gd name="connsiteY306" fmla="*/ 382068 h 427616"/>
                    <a:gd name="connsiteX307" fmla="*/ 30896 w 401912"/>
                    <a:gd name="connsiteY307" fmla="*/ 383673 h 427616"/>
                    <a:gd name="connsiteX308" fmla="*/ 26397 w 401912"/>
                    <a:gd name="connsiteY308" fmla="*/ 384431 h 427616"/>
                    <a:gd name="connsiteX309" fmla="*/ 22322 w 401912"/>
                    <a:gd name="connsiteY309" fmla="*/ 384219 h 427616"/>
                    <a:gd name="connsiteX310" fmla="*/ 17930 w 401912"/>
                    <a:gd name="connsiteY310" fmla="*/ 382703 h 427616"/>
                    <a:gd name="connsiteX311" fmla="*/ 18451 w 401912"/>
                    <a:gd name="connsiteY311" fmla="*/ 382198 h 427616"/>
                    <a:gd name="connsiteX312" fmla="*/ 19135 w 401912"/>
                    <a:gd name="connsiteY312" fmla="*/ 379566 h 427616"/>
                    <a:gd name="connsiteX313" fmla="*/ 19755 w 401912"/>
                    <a:gd name="connsiteY313" fmla="*/ 370169 h 427616"/>
                    <a:gd name="connsiteX314" fmla="*/ 20529 w 401912"/>
                    <a:gd name="connsiteY314" fmla="*/ 366779 h 427616"/>
                    <a:gd name="connsiteX315" fmla="*/ 20285 w 401912"/>
                    <a:gd name="connsiteY315" fmla="*/ 364929 h 427616"/>
                    <a:gd name="connsiteX316" fmla="*/ 20447 w 401912"/>
                    <a:gd name="connsiteY316" fmla="*/ 364366 h 427616"/>
                    <a:gd name="connsiteX317" fmla="*/ 22167 w 401912"/>
                    <a:gd name="connsiteY317" fmla="*/ 362720 h 427616"/>
                    <a:gd name="connsiteX318" fmla="*/ 22583 w 401912"/>
                    <a:gd name="connsiteY318" fmla="*/ 362019 h 427616"/>
                    <a:gd name="connsiteX319" fmla="*/ 23235 w 401912"/>
                    <a:gd name="connsiteY319" fmla="*/ 357211 h 427616"/>
                    <a:gd name="connsiteX320" fmla="*/ 23960 w 401912"/>
                    <a:gd name="connsiteY320" fmla="*/ 351873 h 427616"/>
                    <a:gd name="connsiteX321" fmla="*/ 24767 w 401912"/>
                    <a:gd name="connsiteY321" fmla="*/ 349958 h 427616"/>
                    <a:gd name="connsiteX322" fmla="*/ 25452 w 401912"/>
                    <a:gd name="connsiteY322" fmla="*/ 349436 h 427616"/>
                    <a:gd name="connsiteX323" fmla="*/ 30887 w 401912"/>
                    <a:gd name="connsiteY323" fmla="*/ 347040 h 427616"/>
                    <a:gd name="connsiteX324" fmla="*/ 31792 w 401912"/>
                    <a:gd name="connsiteY324" fmla="*/ 345435 h 427616"/>
                    <a:gd name="connsiteX325" fmla="*/ 34612 w 401912"/>
                    <a:gd name="connsiteY325" fmla="*/ 345818 h 427616"/>
                    <a:gd name="connsiteX326" fmla="*/ 34873 w 401912"/>
                    <a:gd name="connsiteY326" fmla="*/ 345435 h 427616"/>
                    <a:gd name="connsiteX327" fmla="*/ 35109 w 401912"/>
                    <a:gd name="connsiteY327" fmla="*/ 343593 h 427616"/>
                    <a:gd name="connsiteX328" fmla="*/ 36413 w 401912"/>
                    <a:gd name="connsiteY328" fmla="*/ 341588 h 427616"/>
                    <a:gd name="connsiteX329" fmla="*/ 38230 w 401912"/>
                    <a:gd name="connsiteY329" fmla="*/ 339958 h 427616"/>
                    <a:gd name="connsiteX330" fmla="*/ 39567 w 401912"/>
                    <a:gd name="connsiteY330" fmla="*/ 339371 h 427616"/>
                    <a:gd name="connsiteX331" fmla="*/ 44465 w 401912"/>
                    <a:gd name="connsiteY331" fmla="*/ 338336 h 427616"/>
                    <a:gd name="connsiteX332" fmla="*/ 47317 w 401912"/>
                    <a:gd name="connsiteY332" fmla="*/ 336902 h 427616"/>
                    <a:gd name="connsiteX333" fmla="*/ 48181 w 401912"/>
                    <a:gd name="connsiteY333" fmla="*/ 336755 h 427616"/>
                    <a:gd name="connsiteX334" fmla="*/ 55777 w 401912"/>
                    <a:gd name="connsiteY334" fmla="*/ 337122 h 427616"/>
                    <a:gd name="connsiteX335" fmla="*/ 57398 w 401912"/>
                    <a:gd name="connsiteY335" fmla="*/ 336568 h 427616"/>
                    <a:gd name="connsiteX336" fmla="*/ 57651 w 401912"/>
                    <a:gd name="connsiteY336" fmla="*/ 336070 h 427616"/>
                    <a:gd name="connsiteX337" fmla="*/ 58091 w 401912"/>
                    <a:gd name="connsiteY337" fmla="*/ 330626 h 427616"/>
                    <a:gd name="connsiteX338" fmla="*/ 59469 w 401912"/>
                    <a:gd name="connsiteY338" fmla="*/ 329771 h 427616"/>
                    <a:gd name="connsiteX339" fmla="*/ 59688 w 401912"/>
                    <a:gd name="connsiteY339" fmla="*/ 329306 h 427616"/>
                    <a:gd name="connsiteX340" fmla="*/ 59216 w 401912"/>
                    <a:gd name="connsiteY340" fmla="*/ 325549 h 427616"/>
                    <a:gd name="connsiteX341" fmla="*/ 59485 w 401912"/>
                    <a:gd name="connsiteY341" fmla="*/ 323023 h 427616"/>
                    <a:gd name="connsiteX342" fmla="*/ 61058 w 401912"/>
                    <a:gd name="connsiteY342" fmla="*/ 321539 h 427616"/>
                    <a:gd name="connsiteX343" fmla="*/ 60952 w 401912"/>
                    <a:gd name="connsiteY343" fmla="*/ 320684 h 427616"/>
                    <a:gd name="connsiteX344" fmla="*/ 59827 w 401912"/>
                    <a:gd name="connsiteY344" fmla="*/ 318899 h 427616"/>
                    <a:gd name="connsiteX345" fmla="*/ 58344 w 401912"/>
                    <a:gd name="connsiteY345" fmla="*/ 317758 h 427616"/>
                    <a:gd name="connsiteX346" fmla="*/ 57610 w 401912"/>
                    <a:gd name="connsiteY346" fmla="*/ 317489 h 427616"/>
                    <a:gd name="connsiteX347" fmla="*/ 51376 w 401912"/>
                    <a:gd name="connsiteY347" fmla="*/ 318565 h 427616"/>
                    <a:gd name="connsiteX348" fmla="*/ 48809 w 401912"/>
                    <a:gd name="connsiteY348" fmla="*/ 318214 h 427616"/>
                    <a:gd name="connsiteX349" fmla="*/ 47603 w 401912"/>
                    <a:gd name="connsiteY349" fmla="*/ 317554 h 427616"/>
                    <a:gd name="connsiteX350" fmla="*/ 47342 w 401912"/>
                    <a:gd name="connsiteY350" fmla="*/ 317073 h 427616"/>
                    <a:gd name="connsiteX351" fmla="*/ 47594 w 401912"/>
                    <a:gd name="connsiteY351" fmla="*/ 315973 h 427616"/>
                    <a:gd name="connsiteX352" fmla="*/ 47635 w 401912"/>
                    <a:gd name="connsiteY352" fmla="*/ 314180 h 427616"/>
                    <a:gd name="connsiteX353" fmla="*/ 48540 w 401912"/>
                    <a:gd name="connsiteY353" fmla="*/ 311393 h 427616"/>
                    <a:gd name="connsiteX354" fmla="*/ 48817 w 401912"/>
                    <a:gd name="connsiteY354" fmla="*/ 309730 h 427616"/>
                    <a:gd name="connsiteX355" fmla="*/ 48083 w 401912"/>
                    <a:gd name="connsiteY355" fmla="*/ 300097 h 427616"/>
                    <a:gd name="connsiteX356" fmla="*/ 47016 w 401912"/>
                    <a:gd name="connsiteY356" fmla="*/ 293684 h 427616"/>
                    <a:gd name="connsiteX357" fmla="*/ 47594 w 401912"/>
                    <a:gd name="connsiteY357" fmla="*/ 287319 h 427616"/>
                    <a:gd name="connsiteX358" fmla="*/ 47480 w 401912"/>
                    <a:gd name="connsiteY358" fmla="*/ 286007 h 427616"/>
                    <a:gd name="connsiteX359" fmla="*/ 47268 w 401912"/>
                    <a:gd name="connsiteY359" fmla="*/ 285705 h 427616"/>
                    <a:gd name="connsiteX360" fmla="*/ 46478 w 401912"/>
                    <a:gd name="connsiteY360" fmla="*/ 285705 h 427616"/>
                    <a:gd name="connsiteX361" fmla="*/ 42680 w 401912"/>
                    <a:gd name="connsiteY361" fmla="*/ 286267 h 427616"/>
                    <a:gd name="connsiteX362" fmla="*/ 39436 w 401912"/>
                    <a:gd name="connsiteY362" fmla="*/ 282176 h 427616"/>
                    <a:gd name="connsiteX363" fmla="*/ 37432 w 401912"/>
                    <a:gd name="connsiteY363" fmla="*/ 280555 h 427616"/>
                    <a:gd name="connsiteX364" fmla="*/ 31922 w 401912"/>
                    <a:gd name="connsiteY364" fmla="*/ 278509 h 427616"/>
                    <a:gd name="connsiteX365" fmla="*/ 29494 w 401912"/>
                    <a:gd name="connsiteY365" fmla="*/ 278118 h 427616"/>
                    <a:gd name="connsiteX366" fmla="*/ 25949 w 401912"/>
                    <a:gd name="connsiteY366" fmla="*/ 276349 h 427616"/>
                    <a:gd name="connsiteX367" fmla="*/ 22681 w 401912"/>
                    <a:gd name="connsiteY367" fmla="*/ 272486 h 427616"/>
                    <a:gd name="connsiteX368" fmla="*/ 19331 w 401912"/>
                    <a:gd name="connsiteY368" fmla="*/ 268534 h 427616"/>
                    <a:gd name="connsiteX369" fmla="*/ 17978 w 401912"/>
                    <a:gd name="connsiteY369" fmla="*/ 266007 h 427616"/>
                    <a:gd name="connsiteX370" fmla="*/ 16487 w 401912"/>
                    <a:gd name="connsiteY370" fmla="*/ 261688 h 427616"/>
                    <a:gd name="connsiteX371" fmla="*/ 12257 w 401912"/>
                    <a:gd name="connsiteY371" fmla="*/ 253416 h 427616"/>
                    <a:gd name="connsiteX372" fmla="*/ 12290 w 401912"/>
                    <a:gd name="connsiteY372" fmla="*/ 251272 h 427616"/>
                    <a:gd name="connsiteX373" fmla="*/ 11768 w 401912"/>
                    <a:gd name="connsiteY373" fmla="*/ 249977 h 427616"/>
                    <a:gd name="connsiteX374" fmla="*/ 7644 w 401912"/>
                    <a:gd name="connsiteY374" fmla="*/ 244524 h 427616"/>
                    <a:gd name="connsiteX375" fmla="*/ 4719 w 401912"/>
                    <a:gd name="connsiteY375" fmla="*/ 240661 h 427616"/>
                    <a:gd name="connsiteX376" fmla="*/ 0 w 401912"/>
                    <a:gd name="connsiteY376" fmla="*/ 234403 h 427616"/>
                    <a:gd name="connsiteX377" fmla="*/ 9446 w 401912"/>
                    <a:gd name="connsiteY377" fmla="*/ 237907 h 427616"/>
                    <a:gd name="connsiteX378" fmla="*/ 16813 w 401912"/>
                    <a:gd name="connsiteY378" fmla="*/ 240588 h 427616"/>
                    <a:gd name="connsiteX379" fmla="*/ 28703 w 401912"/>
                    <a:gd name="connsiteY379" fmla="*/ 244924 h 427616"/>
                    <a:gd name="connsiteX380" fmla="*/ 37937 w 401912"/>
                    <a:gd name="connsiteY380" fmla="*/ 248281 h 427616"/>
                    <a:gd name="connsiteX381" fmla="*/ 40488 w 401912"/>
                    <a:gd name="connsiteY381" fmla="*/ 248828 h 427616"/>
                    <a:gd name="connsiteX382" fmla="*/ 67553 w 401912"/>
                    <a:gd name="connsiteY382" fmla="*/ 245951 h 427616"/>
                    <a:gd name="connsiteX383" fmla="*/ 77561 w 401912"/>
                    <a:gd name="connsiteY383" fmla="*/ 248135 h 427616"/>
                    <a:gd name="connsiteX384" fmla="*/ 80731 w 401912"/>
                    <a:gd name="connsiteY384" fmla="*/ 249349 h 427616"/>
                    <a:gd name="connsiteX385" fmla="*/ 81212 w 401912"/>
                    <a:gd name="connsiteY385" fmla="*/ 248640 h 427616"/>
                    <a:gd name="connsiteX386" fmla="*/ 82557 w 401912"/>
                    <a:gd name="connsiteY386" fmla="*/ 247157 h 427616"/>
                    <a:gd name="connsiteX387" fmla="*/ 84879 w 401912"/>
                    <a:gd name="connsiteY387" fmla="*/ 245674 h 427616"/>
                    <a:gd name="connsiteX388" fmla="*/ 88041 w 401912"/>
                    <a:gd name="connsiteY388" fmla="*/ 244476 h 427616"/>
                    <a:gd name="connsiteX389" fmla="*/ 91203 w 401912"/>
                    <a:gd name="connsiteY389" fmla="*/ 243824 h 427616"/>
                    <a:gd name="connsiteX390" fmla="*/ 95735 w 401912"/>
                    <a:gd name="connsiteY390" fmla="*/ 243742 h 427616"/>
                    <a:gd name="connsiteX391" fmla="*/ 98799 w 401912"/>
                    <a:gd name="connsiteY391" fmla="*/ 243840 h 427616"/>
                    <a:gd name="connsiteX392" fmla="*/ 101073 w 401912"/>
                    <a:gd name="connsiteY392" fmla="*/ 244207 h 427616"/>
                    <a:gd name="connsiteX393" fmla="*/ 105449 w 401912"/>
                    <a:gd name="connsiteY393" fmla="*/ 243987 h 427616"/>
                    <a:gd name="connsiteX394" fmla="*/ 107552 w 401912"/>
                    <a:gd name="connsiteY394" fmla="*/ 243400 h 427616"/>
                    <a:gd name="connsiteX395" fmla="*/ 114764 w 401912"/>
                    <a:gd name="connsiteY395" fmla="*/ 241037 h 427616"/>
                    <a:gd name="connsiteX396" fmla="*/ 119597 w 401912"/>
                    <a:gd name="connsiteY396" fmla="*/ 239447 h 427616"/>
                    <a:gd name="connsiteX397" fmla="*/ 126932 w 401912"/>
                    <a:gd name="connsiteY397" fmla="*/ 236962 h 427616"/>
                    <a:gd name="connsiteX398" fmla="*/ 132278 w 401912"/>
                    <a:gd name="connsiteY398" fmla="*/ 235136 h 427616"/>
                    <a:gd name="connsiteX399" fmla="*/ 133623 w 401912"/>
                    <a:gd name="connsiteY399" fmla="*/ 234174 h 427616"/>
                    <a:gd name="connsiteX400" fmla="*/ 134992 w 401912"/>
                    <a:gd name="connsiteY400" fmla="*/ 232430 h 427616"/>
                    <a:gd name="connsiteX401" fmla="*/ 135652 w 401912"/>
                    <a:gd name="connsiteY401" fmla="*/ 230882 h 427616"/>
                    <a:gd name="connsiteX402" fmla="*/ 134014 w 401912"/>
                    <a:gd name="connsiteY402" fmla="*/ 228469 h 427616"/>
                    <a:gd name="connsiteX403" fmla="*/ 133811 w 401912"/>
                    <a:gd name="connsiteY403" fmla="*/ 226351 h 427616"/>
                    <a:gd name="connsiteX404" fmla="*/ 134878 w 401912"/>
                    <a:gd name="connsiteY404" fmla="*/ 223653 h 427616"/>
                    <a:gd name="connsiteX405" fmla="*/ 135465 w 401912"/>
                    <a:gd name="connsiteY405" fmla="*/ 219554 h 427616"/>
                    <a:gd name="connsiteX406" fmla="*/ 135343 w 401912"/>
                    <a:gd name="connsiteY406" fmla="*/ 213710 h 427616"/>
                    <a:gd name="connsiteX407" fmla="*/ 134992 w 401912"/>
                    <a:gd name="connsiteY407" fmla="*/ 210328 h 427616"/>
                    <a:gd name="connsiteX408" fmla="*/ 136484 w 401912"/>
                    <a:gd name="connsiteY408" fmla="*/ 204061 h 427616"/>
                    <a:gd name="connsiteX409" fmla="*/ 137730 w 401912"/>
                    <a:gd name="connsiteY409" fmla="*/ 200532 h 427616"/>
                    <a:gd name="connsiteX410" fmla="*/ 140224 w 401912"/>
                    <a:gd name="connsiteY410" fmla="*/ 198845 h 427616"/>
                    <a:gd name="connsiteX411" fmla="*/ 141936 w 401912"/>
                    <a:gd name="connsiteY411" fmla="*/ 197818 h 427616"/>
                    <a:gd name="connsiteX412" fmla="*/ 142661 w 401912"/>
                    <a:gd name="connsiteY412" fmla="*/ 197052 h 427616"/>
                    <a:gd name="connsiteX413" fmla="*/ 143370 w 401912"/>
                    <a:gd name="connsiteY413" fmla="*/ 196221 h 427616"/>
                    <a:gd name="connsiteX414" fmla="*/ 146027 w 401912"/>
                    <a:gd name="connsiteY414" fmla="*/ 191429 h 427616"/>
                    <a:gd name="connsiteX415" fmla="*/ 148456 w 401912"/>
                    <a:gd name="connsiteY415" fmla="*/ 189196 h 427616"/>
                    <a:gd name="connsiteX416" fmla="*/ 150819 w 401912"/>
                    <a:gd name="connsiteY416" fmla="*/ 187843 h 427616"/>
                    <a:gd name="connsiteX417" fmla="*/ 153378 w 401912"/>
                    <a:gd name="connsiteY417" fmla="*/ 188022 h 427616"/>
                    <a:gd name="connsiteX418" fmla="*/ 155562 w 401912"/>
                    <a:gd name="connsiteY418" fmla="*/ 189872 h 427616"/>
                    <a:gd name="connsiteX419" fmla="*/ 159808 w 401912"/>
                    <a:gd name="connsiteY419" fmla="*/ 190671 h 427616"/>
                    <a:gd name="connsiteX420" fmla="*/ 163915 w 401912"/>
                    <a:gd name="connsiteY420" fmla="*/ 190133 h 427616"/>
                    <a:gd name="connsiteX421" fmla="*/ 167477 w 401912"/>
                    <a:gd name="connsiteY421" fmla="*/ 188740 h 427616"/>
                    <a:gd name="connsiteX422" fmla="*/ 169099 w 401912"/>
                    <a:gd name="connsiteY422" fmla="*/ 187607 h 427616"/>
                    <a:gd name="connsiteX423" fmla="*/ 170990 w 401912"/>
                    <a:gd name="connsiteY423" fmla="*/ 186604 h 427616"/>
                    <a:gd name="connsiteX424" fmla="*/ 170875 w 401912"/>
                    <a:gd name="connsiteY424" fmla="*/ 185463 h 427616"/>
                    <a:gd name="connsiteX425" fmla="*/ 168740 w 401912"/>
                    <a:gd name="connsiteY425" fmla="*/ 184477 h 427616"/>
                    <a:gd name="connsiteX426" fmla="*/ 167501 w 401912"/>
                    <a:gd name="connsiteY426" fmla="*/ 183067 h 427616"/>
                    <a:gd name="connsiteX427" fmla="*/ 167037 w 401912"/>
                    <a:gd name="connsiteY427" fmla="*/ 181348 h 427616"/>
                    <a:gd name="connsiteX428" fmla="*/ 168227 w 401912"/>
                    <a:gd name="connsiteY428" fmla="*/ 180305 h 427616"/>
                    <a:gd name="connsiteX429" fmla="*/ 171038 w 401912"/>
                    <a:gd name="connsiteY429" fmla="*/ 180003 h 427616"/>
                    <a:gd name="connsiteX430" fmla="*/ 177917 w 401912"/>
                    <a:gd name="connsiteY430" fmla="*/ 175806 h 427616"/>
                    <a:gd name="connsiteX431" fmla="*/ 180720 w 401912"/>
                    <a:gd name="connsiteY431" fmla="*/ 173051 h 427616"/>
                    <a:gd name="connsiteX432" fmla="*/ 181478 w 401912"/>
                    <a:gd name="connsiteY432" fmla="*/ 171756 h 427616"/>
                    <a:gd name="connsiteX433" fmla="*/ 182790 w 401912"/>
                    <a:gd name="connsiteY433" fmla="*/ 171625 h 427616"/>
                    <a:gd name="connsiteX434" fmla="*/ 185423 w 401912"/>
                    <a:gd name="connsiteY434" fmla="*/ 172905 h 427616"/>
                    <a:gd name="connsiteX435" fmla="*/ 188487 w 401912"/>
                    <a:gd name="connsiteY435" fmla="*/ 173328 h 427616"/>
                    <a:gd name="connsiteX436" fmla="*/ 190402 w 401912"/>
                    <a:gd name="connsiteY436" fmla="*/ 172049 h 427616"/>
                    <a:gd name="connsiteX437" fmla="*/ 192309 w 401912"/>
                    <a:gd name="connsiteY437" fmla="*/ 171756 h 427616"/>
                    <a:gd name="connsiteX438" fmla="*/ 194192 w 401912"/>
                    <a:gd name="connsiteY438" fmla="*/ 173157 h 427616"/>
                    <a:gd name="connsiteX439" fmla="*/ 195186 w 401912"/>
                    <a:gd name="connsiteY439" fmla="*/ 174836 h 427616"/>
                    <a:gd name="connsiteX440" fmla="*/ 196889 w 401912"/>
                    <a:gd name="connsiteY440" fmla="*/ 176833 h 427616"/>
                    <a:gd name="connsiteX441" fmla="*/ 199041 w 401912"/>
                    <a:gd name="connsiteY441" fmla="*/ 177224 h 427616"/>
                    <a:gd name="connsiteX442" fmla="*/ 201632 w 401912"/>
                    <a:gd name="connsiteY442" fmla="*/ 176156 h 427616"/>
                    <a:gd name="connsiteX443" fmla="*/ 204355 w 401912"/>
                    <a:gd name="connsiteY443" fmla="*/ 173850 h 427616"/>
                    <a:gd name="connsiteX444" fmla="*/ 206922 w 401912"/>
                    <a:gd name="connsiteY444" fmla="*/ 170631 h 427616"/>
                    <a:gd name="connsiteX445" fmla="*/ 209220 w 401912"/>
                    <a:gd name="connsiteY445" fmla="*/ 167428 h 427616"/>
                    <a:gd name="connsiteX446" fmla="*/ 208649 w 401912"/>
                    <a:gd name="connsiteY446" fmla="*/ 157298 h 427616"/>
                    <a:gd name="connsiteX447" fmla="*/ 208274 w 401912"/>
                    <a:gd name="connsiteY447" fmla="*/ 151316 h 427616"/>
                    <a:gd name="connsiteX448" fmla="*/ 209481 w 401912"/>
                    <a:gd name="connsiteY448" fmla="*/ 148170 h 427616"/>
                    <a:gd name="connsiteX449" fmla="*/ 211217 w 401912"/>
                    <a:gd name="connsiteY449" fmla="*/ 146223 h 427616"/>
                    <a:gd name="connsiteX450" fmla="*/ 212349 w 401912"/>
                    <a:gd name="connsiteY450" fmla="*/ 143223 h 427616"/>
                    <a:gd name="connsiteX451" fmla="*/ 212325 w 401912"/>
                    <a:gd name="connsiteY451" fmla="*/ 140575 h 427616"/>
                    <a:gd name="connsiteX452" fmla="*/ 213531 w 401912"/>
                    <a:gd name="connsiteY452" fmla="*/ 138342 h 427616"/>
                    <a:gd name="connsiteX453" fmla="*/ 214721 w 401912"/>
                    <a:gd name="connsiteY453" fmla="*/ 132246 h 427616"/>
                    <a:gd name="connsiteX454" fmla="*/ 216375 w 401912"/>
                    <a:gd name="connsiteY454" fmla="*/ 130811 h 427616"/>
                    <a:gd name="connsiteX455" fmla="*/ 219749 w 401912"/>
                    <a:gd name="connsiteY455" fmla="*/ 129817 h 427616"/>
                    <a:gd name="connsiteX456" fmla="*/ 225120 w 401912"/>
                    <a:gd name="connsiteY456" fmla="*/ 129238 h 427616"/>
                    <a:gd name="connsiteX457" fmla="*/ 229334 w 401912"/>
                    <a:gd name="connsiteY457" fmla="*/ 126443 h 427616"/>
                    <a:gd name="connsiteX458" fmla="*/ 233571 w 401912"/>
                    <a:gd name="connsiteY458" fmla="*/ 123485 h 427616"/>
                    <a:gd name="connsiteX459" fmla="*/ 234142 w 401912"/>
                    <a:gd name="connsiteY459" fmla="*/ 120869 h 427616"/>
                    <a:gd name="connsiteX460" fmla="*/ 232552 w 401912"/>
                    <a:gd name="connsiteY460" fmla="*/ 118073 h 427616"/>
                    <a:gd name="connsiteX461" fmla="*/ 230417 w 401912"/>
                    <a:gd name="connsiteY461" fmla="*/ 112654 h 427616"/>
                    <a:gd name="connsiteX462" fmla="*/ 228502 w 401912"/>
                    <a:gd name="connsiteY462" fmla="*/ 109410 h 427616"/>
                    <a:gd name="connsiteX463" fmla="*/ 223824 w 401912"/>
                    <a:gd name="connsiteY463" fmla="*/ 103599 h 427616"/>
                    <a:gd name="connsiteX464" fmla="*/ 224354 w 401912"/>
                    <a:gd name="connsiteY464" fmla="*/ 100013 h 427616"/>
                    <a:gd name="connsiteX465" fmla="*/ 226962 w 401912"/>
                    <a:gd name="connsiteY465" fmla="*/ 98555 h 427616"/>
                    <a:gd name="connsiteX466" fmla="*/ 233376 w 401912"/>
                    <a:gd name="connsiteY466" fmla="*/ 101032 h 427616"/>
                    <a:gd name="connsiteX467" fmla="*/ 235169 w 401912"/>
                    <a:gd name="connsiteY467" fmla="*/ 101521 h 427616"/>
                    <a:gd name="connsiteX468" fmla="*/ 237410 w 401912"/>
                    <a:gd name="connsiteY468" fmla="*/ 101872 h 427616"/>
                    <a:gd name="connsiteX469" fmla="*/ 243310 w 401912"/>
                    <a:gd name="connsiteY469" fmla="*/ 101815 h 427616"/>
                    <a:gd name="connsiteX470" fmla="*/ 248135 w 401912"/>
                    <a:gd name="connsiteY470" fmla="*/ 100837 h 427616"/>
                    <a:gd name="connsiteX471" fmla="*/ 253179 w 401912"/>
                    <a:gd name="connsiteY471" fmla="*/ 98620 h 427616"/>
                    <a:gd name="connsiteX472" fmla="*/ 254157 w 401912"/>
                    <a:gd name="connsiteY472" fmla="*/ 96313 h 427616"/>
                    <a:gd name="connsiteX473" fmla="*/ 254101 w 401912"/>
                    <a:gd name="connsiteY473" fmla="*/ 93567 h 427616"/>
                    <a:gd name="connsiteX474" fmla="*/ 254190 w 401912"/>
                    <a:gd name="connsiteY474" fmla="*/ 91293 h 427616"/>
                    <a:gd name="connsiteX475" fmla="*/ 254272 w 401912"/>
                    <a:gd name="connsiteY475" fmla="*/ 88139 h 427616"/>
                    <a:gd name="connsiteX476" fmla="*/ 252462 w 401912"/>
                    <a:gd name="connsiteY476" fmla="*/ 86118 h 427616"/>
                    <a:gd name="connsiteX477" fmla="*/ 251370 w 401912"/>
                    <a:gd name="connsiteY477" fmla="*/ 84309 h 427616"/>
                    <a:gd name="connsiteX478" fmla="*/ 251045 w 401912"/>
                    <a:gd name="connsiteY478" fmla="*/ 82866 h 427616"/>
                    <a:gd name="connsiteX479" fmla="*/ 252299 w 401912"/>
                    <a:gd name="connsiteY479" fmla="*/ 82068 h 427616"/>
                    <a:gd name="connsiteX480" fmla="*/ 253522 w 401912"/>
                    <a:gd name="connsiteY480" fmla="*/ 80585 h 427616"/>
                    <a:gd name="connsiteX481" fmla="*/ 254711 w 401912"/>
                    <a:gd name="connsiteY481" fmla="*/ 77895 h 427616"/>
                    <a:gd name="connsiteX482" fmla="*/ 257491 w 401912"/>
                    <a:gd name="connsiteY482" fmla="*/ 74676 h 427616"/>
                    <a:gd name="connsiteX483" fmla="*/ 259186 w 401912"/>
                    <a:gd name="connsiteY483" fmla="*/ 71775 h 427616"/>
                    <a:gd name="connsiteX484" fmla="*/ 260783 w 401912"/>
                    <a:gd name="connsiteY484" fmla="*/ 70397 h 427616"/>
                    <a:gd name="connsiteX485" fmla="*/ 263188 w 401912"/>
                    <a:gd name="connsiteY485" fmla="*/ 68515 h 427616"/>
                    <a:gd name="connsiteX486" fmla="*/ 264720 w 401912"/>
                    <a:gd name="connsiteY486" fmla="*/ 65744 h 427616"/>
                    <a:gd name="connsiteX487" fmla="*/ 265428 w 401912"/>
                    <a:gd name="connsiteY487" fmla="*/ 64089 h 427616"/>
                    <a:gd name="connsiteX488" fmla="*/ 266822 w 401912"/>
                    <a:gd name="connsiteY488" fmla="*/ 62459 h 427616"/>
                    <a:gd name="connsiteX489" fmla="*/ 267287 w 401912"/>
                    <a:gd name="connsiteY489" fmla="*/ 61400 h 427616"/>
                    <a:gd name="connsiteX490" fmla="*/ 266912 w 401912"/>
                    <a:gd name="connsiteY490" fmla="*/ 60447 h 427616"/>
                    <a:gd name="connsiteX491" fmla="*/ 266219 w 401912"/>
                    <a:gd name="connsiteY491" fmla="*/ 59257 h 427616"/>
                    <a:gd name="connsiteX492" fmla="*/ 265428 w 401912"/>
                    <a:gd name="connsiteY492" fmla="*/ 57904 h 427616"/>
                    <a:gd name="connsiteX493" fmla="*/ 265428 w 401912"/>
                    <a:gd name="connsiteY493" fmla="*/ 56608 h 427616"/>
                    <a:gd name="connsiteX494" fmla="*/ 266081 w 401912"/>
                    <a:gd name="connsiteY494" fmla="*/ 55223 h 427616"/>
                    <a:gd name="connsiteX495" fmla="*/ 266789 w 401912"/>
                    <a:gd name="connsiteY495" fmla="*/ 53984 h 427616"/>
                    <a:gd name="connsiteX496" fmla="*/ 266456 w 401912"/>
                    <a:gd name="connsiteY496" fmla="*/ 52232 h 427616"/>
                    <a:gd name="connsiteX497" fmla="*/ 266081 w 401912"/>
                    <a:gd name="connsiteY497" fmla="*/ 49395 h 427616"/>
                    <a:gd name="connsiteX498" fmla="*/ 264768 w 401912"/>
                    <a:gd name="connsiteY498" fmla="*/ 47725 h 427616"/>
                    <a:gd name="connsiteX499" fmla="*/ 263888 w 401912"/>
                    <a:gd name="connsiteY499" fmla="*/ 43854 h 427616"/>
                    <a:gd name="connsiteX500" fmla="*/ 262503 w 401912"/>
                    <a:gd name="connsiteY500" fmla="*/ 39917 h 427616"/>
                    <a:gd name="connsiteX501" fmla="*/ 261761 w 401912"/>
                    <a:gd name="connsiteY501" fmla="*/ 38385 h 427616"/>
                    <a:gd name="connsiteX502" fmla="*/ 260400 w 401912"/>
                    <a:gd name="connsiteY502" fmla="*/ 36446 h 427616"/>
                    <a:gd name="connsiteX503" fmla="*/ 257360 w 401912"/>
                    <a:gd name="connsiteY503" fmla="*/ 34392 h 427616"/>
                    <a:gd name="connsiteX504" fmla="*/ 256480 w 401912"/>
                    <a:gd name="connsiteY504" fmla="*/ 33023 h 427616"/>
                    <a:gd name="connsiteX505" fmla="*/ 257678 w 401912"/>
                    <a:gd name="connsiteY505" fmla="*/ 30382 h 427616"/>
                    <a:gd name="connsiteX506" fmla="*/ 259650 w 401912"/>
                    <a:gd name="connsiteY506" fmla="*/ 28752 h 427616"/>
                    <a:gd name="connsiteX507" fmla="*/ 263383 w 401912"/>
                    <a:gd name="connsiteY507" fmla="*/ 24702 h 427616"/>
                    <a:gd name="connsiteX508" fmla="*/ 265437 w 401912"/>
                    <a:gd name="connsiteY508" fmla="*/ 21898 h 427616"/>
                    <a:gd name="connsiteX509" fmla="*/ 267287 w 401912"/>
                    <a:gd name="connsiteY509" fmla="*/ 19951 h 427616"/>
                    <a:gd name="connsiteX510" fmla="*/ 269666 w 401912"/>
                    <a:gd name="connsiteY510" fmla="*/ 20276 h 427616"/>
                    <a:gd name="connsiteX511" fmla="*/ 271060 w 401912"/>
                    <a:gd name="connsiteY511" fmla="*/ 20105 h 427616"/>
                    <a:gd name="connsiteX512" fmla="*/ 272291 w 401912"/>
                    <a:gd name="connsiteY512" fmla="*/ 18304 h 427616"/>
                    <a:gd name="connsiteX513" fmla="*/ 274736 w 401912"/>
                    <a:gd name="connsiteY513" fmla="*/ 16707 h 427616"/>
                    <a:gd name="connsiteX514" fmla="*/ 279071 w 401912"/>
                    <a:gd name="connsiteY514" fmla="*/ 13398 h 427616"/>
                    <a:gd name="connsiteX515" fmla="*/ 280579 w 401912"/>
                    <a:gd name="connsiteY515" fmla="*/ 11165 h 427616"/>
                    <a:gd name="connsiteX516" fmla="*/ 282893 w 401912"/>
                    <a:gd name="connsiteY516" fmla="*/ 10049 h 427616"/>
                    <a:gd name="connsiteX517" fmla="*/ 284809 w 401912"/>
                    <a:gd name="connsiteY517" fmla="*/ 9788 h 427616"/>
                    <a:gd name="connsiteX518" fmla="*/ 287392 w 401912"/>
                    <a:gd name="connsiteY518" fmla="*/ 9014 h 427616"/>
                    <a:gd name="connsiteX519" fmla="*/ 289878 w 401912"/>
                    <a:gd name="connsiteY519" fmla="*/ 7807 h 427616"/>
                    <a:gd name="connsiteX520" fmla="*/ 292143 w 401912"/>
                    <a:gd name="connsiteY520" fmla="*/ 6895 h 427616"/>
                    <a:gd name="connsiteX521" fmla="*/ 295705 w 401912"/>
                    <a:gd name="connsiteY521" fmla="*/ 6715 h 427616"/>
                    <a:gd name="connsiteX522" fmla="*/ 301345 w 401912"/>
                    <a:gd name="connsiteY522" fmla="*/ 6161 h 427616"/>
                    <a:gd name="connsiteX523" fmla="*/ 304392 w 401912"/>
                    <a:gd name="connsiteY523" fmla="*/ 5591 h 427616"/>
                    <a:gd name="connsiteX524" fmla="*/ 311703 w 401912"/>
                    <a:gd name="connsiteY524" fmla="*/ 5159 h 427616"/>
                    <a:gd name="connsiteX525" fmla="*/ 319649 w 401912"/>
                    <a:gd name="connsiteY525" fmla="*/ 4955 h 427616"/>
                    <a:gd name="connsiteX526" fmla="*/ 320578 w 401912"/>
                    <a:gd name="connsiteY526" fmla="*/ 4931 h 427616"/>
                    <a:gd name="connsiteX527" fmla="*/ 324017 w 401912"/>
                    <a:gd name="connsiteY527" fmla="*/ 6120 h 427616"/>
                    <a:gd name="connsiteX528" fmla="*/ 326348 w 401912"/>
                    <a:gd name="connsiteY528" fmla="*/ 7107 h 427616"/>
                    <a:gd name="connsiteX529" fmla="*/ 327269 w 401912"/>
                    <a:gd name="connsiteY529" fmla="*/ 7025 h 427616"/>
                    <a:gd name="connsiteX530" fmla="*/ 331132 w 401912"/>
                    <a:gd name="connsiteY530" fmla="*/ 4653 h 427616"/>
                    <a:gd name="connsiteX531" fmla="*/ 336991 w 401912"/>
                    <a:gd name="connsiteY531" fmla="*/ 1768 h 427616"/>
                    <a:gd name="connsiteX532" fmla="*/ 339722 w 401912"/>
                    <a:gd name="connsiteY532" fmla="*/ 481 h 427616"/>
                    <a:gd name="connsiteX533" fmla="*/ 341205 w 401912"/>
                    <a:gd name="connsiteY533" fmla="*/ 0 h 427616"/>
                    <a:gd name="connsiteX534" fmla="*/ 343462 w 401912"/>
                    <a:gd name="connsiteY534" fmla="*/ 33 h 427616"/>
                    <a:gd name="connsiteX535" fmla="*/ 345304 w 401912"/>
                    <a:gd name="connsiteY535" fmla="*/ 791 h 427616"/>
                    <a:gd name="connsiteX536" fmla="*/ 347170 w 401912"/>
                    <a:gd name="connsiteY536" fmla="*/ 1915 h 427616"/>
                    <a:gd name="connsiteX537" fmla="*/ 348360 w 401912"/>
                    <a:gd name="connsiteY537" fmla="*/ 2803 h 427616"/>
                    <a:gd name="connsiteX538" fmla="*/ 349844 w 401912"/>
                    <a:gd name="connsiteY538" fmla="*/ 2274 h 427616"/>
                    <a:gd name="connsiteX539" fmla="*/ 352443 w 401912"/>
                    <a:gd name="connsiteY539" fmla="*/ 1646 h 427616"/>
                    <a:gd name="connsiteX540" fmla="*/ 354709 w 401912"/>
                    <a:gd name="connsiteY540" fmla="*/ 2119 h 427616"/>
                    <a:gd name="connsiteX541" fmla="*/ 359704 w 401912"/>
                    <a:gd name="connsiteY541" fmla="*/ 4099 h 427616"/>
                    <a:gd name="connsiteX542" fmla="*/ 360455 w 401912"/>
                    <a:gd name="connsiteY542" fmla="*/ 5094 h 427616"/>
                    <a:gd name="connsiteX543" fmla="*/ 361628 w 401912"/>
                    <a:gd name="connsiteY543" fmla="*/ 9934 h 427616"/>
                    <a:gd name="connsiteX544" fmla="*/ 362524 w 401912"/>
                    <a:gd name="connsiteY544" fmla="*/ 10366 h 427616"/>
                    <a:gd name="connsiteX545" fmla="*/ 365344 w 401912"/>
                    <a:gd name="connsiteY545" fmla="*/ 9234 h 427616"/>
                    <a:gd name="connsiteX546" fmla="*/ 367659 w 401912"/>
                    <a:gd name="connsiteY546" fmla="*/ 9796 h 427616"/>
                    <a:gd name="connsiteX547" fmla="*/ 370259 w 401912"/>
                    <a:gd name="connsiteY547" fmla="*/ 11369 h 427616"/>
                    <a:gd name="connsiteX548" fmla="*/ 371945 w 401912"/>
                    <a:gd name="connsiteY548" fmla="*/ 12876 h 427616"/>
                    <a:gd name="connsiteX549" fmla="*/ 373054 w 401912"/>
                    <a:gd name="connsiteY549" fmla="*/ 14498 h 427616"/>
                    <a:gd name="connsiteX550" fmla="*/ 374252 w 401912"/>
                    <a:gd name="connsiteY550" fmla="*/ 17123 h 427616"/>
                    <a:gd name="connsiteX551" fmla="*/ 374717 w 401912"/>
                    <a:gd name="connsiteY551" fmla="*/ 19233 h 427616"/>
                    <a:gd name="connsiteX552" fmla="*/ 375279 w 401912"/>
                    <a:gd name="connsiteY552" fmla="*/ 21743 h 427616"/>
                    <a:gd name="connsiteX553" fmla="*/ 375132 w 401912"/>
                    <a:gd name="connsiteY553" fmla="*/ 28817 h 427616"/>
                    <a:gd name="connsiteX554" fmla="*/ 374276 w 401912"/>
                    <a:gd name="connsiteY554" fmla="*/ 29983 h 427616"/>
                    <a:gd name="connsiteX555" fmla="*/ 373551 w 401912"/>
                    <a:gd name="connsiteY555" fmla="*/ 31491 h 427616"/>
                    <a:gd name="connsiteX556" fmla="*/ 373730 w 401912"/>
                    <a:gd name="connsiteY556" fmla="*/ 32794 h 427616"/>
                    <a:gd name="connsiteX557" fmla="*/ 374545 w 401912"/>
                    <a:gd name="connsiteY557" fmla="*/ 33838 h 427616"/>
                    <a:gd name="connsiteX558" fmla="*/ 376167 w 401912"/>
                    <a:gd name="connsiteY558" fmla="*/ 34538 h 427616"/>
                    <a:gd name="connsiteX559" fmla="*/ 377667 w 401912"/>
                    <a:gd name="connsiteY559" fmla="*/ 34979 h 427616"/>
                    <a:gd name="connsiteX560" fmla="*/ 378465 w 401912"/>
                    <a:gd name="connsiteY560" fmla="*/ 36095 h 427616"/>
                    <a:gd name="connsiteX561" fmla="*/ 379582 w 401912"/>
                    <a:gd name="connsiteY561" fmla="*/ 40072 h 427616"/>
                    <a:gd name="connsiteX562" fmla="*/ 380316 w 401912"/>
                    <a:gd name="connsiteY562" fmla="*/ 40683 h 427616"/>
                    <a:gd name="connsiteX563" fmla="*/ 382149 w 401912"/>
                    <a:gd name="connsiteY563" fmla="*/ 40675 h 427616"/>
                    <a:gd name="connsiteX564" fmla="*/ 385482 w 401912"/>
                    <a:gd name="connsiteY564" fmla="*/ 39803 h 427616"/>
                    <a:gd name="connsiteX565" fmla="*/ 388359 w 401912"/>
                    <a:gd name="connsiteY565" fmla="*/ 38442 h 427616"/>
                    <a:gd name="connsiteX566" fmla="*/ 389582 w 401912"/>
                    <a:gd name="connsiteY566" fmla="*/ 38149 h 427616"/>
                    <a:gd name="connsiteX567" fmla="*/ 389883 w 401912"/>
                    <a:gd name="connsiteY567" fmla="*/ 41922 h 427616"/>
                    <a:gd name="connsiteX568" fmla="*/ 391578 w 401912"/>
                    <a:gd name="connsiteY568" fmla="*/ 43365 h 427616"/>
                    <a:gd name="connsiteX569" fmla="*/ 393958 w 401912"/>
                    <a:gd name="connsiteY569" fmla="*/ 45044 h 42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Lst>
                  <a:rect l="l" t="t" r="r" b="b"/>
                  <a:pathLst>
                    <a:path w="401912" h="427616">
                      <a:moveTo>
                        <a:pt x="394936" y="45598"/>
                      </a:moveTo>
                      <a:lnTo>
                        <a:pt x="396060" y="48564"/>
                      </a:lnTo>
                      <a:lnTo>
                        <a:pt x="397780" y="53063"/>
                      </a:lnTo>
                      <a:lnTo>
                        <a:pt x="398921" y="56005"/>
                      </a:lnTo>
                      <a:lnTo>
                        <a:pt x="400185" y="59306"/>
                      </a:lnTo>
                      <a:lnTo>
                        <a:pt x="400820" y="60960"/>
                      </a:lnTo>
                      <a:lnTo>
                        <a:pt x="401912" y="63796"/>
                      </a:lnTo>
                      <a:lnTo>
                        <a:pt x="401464" y="65369"/>
                      </a:lnTo>
                      <a:lnTo>
                        <a:pt x="400731" y="67683"/>
                      </a:lnTo>
                      <a:lnTo>
                        <a:pt x="398025" y="69444"/>
                      </a:lnTo>
                      <a:lnTo>
                        <a:pt x="395327" y="70707"/>
                      </a:lnTo>
                      <a:lnTo>
                        <a:pt x="394692" y="71440"/>
                      </a:lnTo>
                      <a:lnTo>
                        <a:pt x="394480" y="72435"/>
                      </a:lnTo>
                      <a:lnTo>
                        <a:pt x="393176" y="74431"/>
                      </a:lnTo>
                      <a:lnTo>
                        <a:pt x="390657" y="76110"/>
                      </a:lnTo>
                      <a:lnTo>
                        <a:pt x="388555" y="75947"/>
                      </a:lnTo>
                      <a:lnTo>
                        <a:pt x="387235" y="75442"/>
                      </a:lnTo>
                      <a:lnTo>
                        <a:pt x="380185" y="78352"/>
                      </a:lnTo>
                      <a:lnTo>
                        <a:pt x="376925" y="78278"/>
                      </a:lnTo>
                      <a:lnTo>
                        <a:pt x="374374" y="80169"/>
                      </a:lnTo>
                      <a:lnTo>
                        <a:pt x="372484" y="81880"/>
                      </a:lnTo>
                      <a:lnTo>
                        <a:pt x="368694" y="83755"/>
                      </a:lnTo>
                      <a:lnTo>
                        <a:pt x="366127" y="83763"/>
                      </a:lnTo>
                      <a:lnTo>
                        <a:pt x="362337" y="82655"/>
                      </a:lnTo>
                      <a:lnTo>
                        <a:pt x="357651" y="80527"/>
                      </a:lnTo>
                      <a:lnTo>
                        <a:pt x="355760" y="79289"/>
                      </a:lnTo>
                      <a:lnTo>
                        <a:pt x="354041" y="79370"/>
                      </a:lnTo>
                      <a:lnTo>
                        <a:pt x="349909" y="79069"/>
                      </a:lnTo>
                      <a:lnTo>
                        <a:pt x="345858" y="78017"/>
                      </a:lnTo>
                      <a:lnTo>
                        <a:pt x="341042" y="76770"/>
                      </a:lnTo>
                      <a:lnTo>
                        <a:pt x="338646" y="76233"/>
                      </a:lnTo>
                      <a:lnTo>
                        <a:pt x="333756" y="75141"/>
                      </a:lnTo>
                      <a:lnTo>
                        <a:pt x="330570" y="76599"/>
                      </a:lnTo>
                      <a:lnTo>
                        <a:pt x="327692" y="77928"/>
                      </a:lnTo>
                      <a:lnTo>
                        <a:pt x="325346" y="78816"/>
                      </a:lnTo>
                      <a:lnTo>
                        <a:pt x="323398" y="82899"/>
                      </a:lnTo>
                      <a:lnTo>
                        <a:pt x="322591" y="84342"/>
                      </a:lnTo>
                      <a:lnTo>
                        <a:pt x="321645" y="86403"/>
                      </a:lnTo>
                      <a:lnTo>
                        <a:pt x="321205" y="87854"/>
                      </a:lnTo>
                      <a:lnTo>
                        <a:pt x="321589" y="89590"/>
                      </a:lnTo>
                      <a:lnTo>
                        <a:pt x="324433" y="90812"/>
                      </a:lnTo>
                      <a:lnTo>
                        <a:pt x="325614" y="92499"/>
                      </a:lnTo>
                      <a:lnTo>
                        <a:pt x="325802" y="93983"/>
                      </a:lnTo>
                      <a:lnTo>
                        <a:pt x="324767" y="95507"/>
                      </a:lnTo>
                      <a:lnTo>
                        <a:pt x="323919" y="96705"/>
                      </a:lnTo>
                      <a:lnTo>
                        <a:pt x="323919" y="97772"/>
                      </a:lnTo>
                      <a:lnTo>
                        <a:pt x="324367" y="98832"/>
                      </a:lnTo>
                      <a:lnTo>
                        <a:pt x="325052" y="99630"/>
                      </a:lnTo>
                      <a:lnTo>
                        <a:pt x="329103" y="100128"/>
                      </a:lnTo>
                      <a:lnTo>
                        <a:pt x="331490" y="100136"/>
                      </a:lnTo>
                      <a:lnTo>
                        <a:pt x="332419" y="100568"/>
                      </a:lnTo>
                      <a:lnTo>
                        <a:pt x="332525" y="102010"/>
                      </a:lnTo>
                      <a:lnTo>
                        <a:pt x="331645" y="103958"/>
                      </a:lnTo>
                      <a:lnTo>
                        <a:pt x="328247" y="105531"/>
                      </a:lnTo>
                      <a:lnTo>
                        <a:pt x="326324" y="107185"/>
                      </a:lnTo>
                      <a:lnTo>
                        <a:pt x="325720" y="109369"/>
                      </a:lnTo>
                      <a:lnTo>
                        <a:pt x="325745" y="111113"/>
                      </a:lnTo>
                      <a:lnTo>
                        <a:pt x="326397" y="112271"/>
                      </a:lnTo>
                      <a:lnTo>
                        <a:pt x="328035" y="113599"/>
                      </a:lnTo>
                      <a:lnTo>
                        <a:pt x="329559" y="115123"/>
                      </a:lnTo>
                      <a:lnTo>
                        <a:pt x="330023" y="116370"/>
                      </a:lnTo>
                      <a:lnTo>
                        <a:pt x="329836" y="118057"/>
                      </a:lnTo>
                      <a:lnTo>
                        <a:pt x="329217" y="120380"/>
                      </a:lnTo>
                      <a:lnTo>
                        <a:pt x="327546" y="123077"/>
                      </a:lnTo>
                      <a:lnTo>
                        <a:pt x="326160" y="125009"/>
                      </a:lnTo>
                      <a:lnTo>
                        <a:pt x="326047" y="125693"/>
                      </a:lnTo>
                      <a:lnTo>
                        <a:pt x="326397" y="126728"/>
                      </a:lnTo>
                      <a:lnTo>
                        <a:pt x="327513" y="128228"/>
                      </a:lnTo>
                      <a:lnTo>
                        <a:pt x="329436" y="130436"/>
                      </a:lnTo>
                      <a:lnTo>
                        <a:pt x="331808" y="132238"/>
                      </a:lnTo>
                      <a:lnTo>
                        <a:pt x="333332" y="132735"/>
                      </a:lnTo>
                      <a:lnTo>
                        <a:pt x="333838" y="133167"/>
                      </a:lnTo>
                      <a:lnTo>
                        <a:pt x="334310" y="135245"/>
                      </a:lnTo>
                      <a:lnTo>
                        <a:pt x="334489" y="137429"/>
                      </a:lnTo>
                      <a:lnTo>
                        <a:pt x="333878" y="139067"/>
                      </a:lnTo>
                      <a:lnTo>
                        <a:pt x="335093" y="140428"/>
                      </a:lnTo>
                      <a:lnTo>
                        <a:pt x="338287" y="140355"/>
                      </a:lnTo>
                      <a:lnTo>
                        <a:pt x="340895" y="140933"/>
                      </a:lnTo>
                      <a:lnTo>
                        <a:pt x="341995" y="140355"/>
                      </a:lnTo>
                      <a:lnTo>
                        <a:pt x="342753" y="140787"/>
                      </a:lnTo>
                      <a:lnTo>
                        <a:pt x="342256" y="145660"/>
                      </a:lnTo>
                      <a:lnTo>
                        <a:pt x="342615" y="148545"/>
                      </a:lnTo>
                      <a:lnTo>
                        <a:pt x="343315" y="149360"/>
                      </a:lnTo>
                      <a:lnTo>
                        <a:pt x="345866" y="150534"/>
                      </a:lnTo>
                      <a:lnTo>
                        <a:pt x="350797" y="150387"/>
                      </a:lnTo>
                      <a:lnTo>
                        <a:pt x="353682" y="151748"/>
                      </a:lnTo>
                      <a:lnTo>
                        <a:pt x="356901" y="153321"/>
                      </a:lnTo>
                      <a:lnTo>
                        <a:pt x="358613" y="155040"/>
                      </a:lnTo>
                      <a:lnTo>
                        <a:pt x="359379" y="156328"/>
                      </a:lnTo>
                      <a:lnTo>
                        <a:pt x="359159" y="158406"/>
                      </a:lnTo>
                      <a:lnTo>
                        <a:pt x="357406" y="160835"/>
                      </a:lnTo>
                      <a:lnTo>
                        <a:pt x="354546" y="161984"/>
                      </a:lnTo>
                      <a:lnTo>
                        <a:pt x="352883" y="162489"/>
                      </a:lnTo>
                      <a:lnTo>
                        <a:pt x="344644" y="167037"/>
                      </a:lnTo>
                      <a:lnTo>
                        <a:pt x="342068" y="168952"/>
                      </a:lnTo>
                      <a:lnTo>
                        <a:pt x="340072" y="171258"/>
                      </a:lnTo>
                      <a:lnTo>
                        <a:pt x="339347" y="172986"/>
                      </a:lnTo>
                      <a:lnTo>
                        <a:pt x="338956" y="174681"/>
                      </a:lnTo>
                      <a:lnTo>
                        <a:pt x="340724" y="180786"/>
                      </a:lnTo>
                      <a:lnTo>
                        <a:pt x="341034" y="182676"/>
                      </a:lnTo>
                      <a:lnTo>
                        <a:pt x="339575" y="189269"/>
                      </a:lnTo>
                      <a:lnTo>
                        <a:pt x="339143" y="191722"/>
                      </a:lnTo>
                      <a:lnTo>
                        <a:pt x="339689" y="193426"/>
                      </a:lnTo>
                      <a:lnTo>
                        <a:pt x="341441" y="194061"/>
                      </a:lnTo>
                      <a:lnTo>
                        <a:pt x="341824" y="195488"/>
                      </a:lnTo>
                      <a:lnTo>
                        <a:pt x="342003" y="196588"/>
                      </a:lnTo>
                      <a:lnTo>
                        <a:pt x="338947" y="199000"/>
                      </a:lnTo>
                      <a:lnTo>
                        <a:pt x="335745" y="201135"/>
                      </a:lnTo>
                      <a:lnTo>
                        <a:pt x="334726" y="201135"/>
                      </a:lnTo>
                      <a:lnTo>
                        <a:pt x="331645" y="205145"/>
                      </a:lnTo>
                      <a:lnTo>
                        <a:pt x="326519" y="213173"/>
                      </a:lnTo>
                      <a:lnTo>
                        <a:pt x="323805" y="215886"/>
                      </a:lnTo>
                      <a:lnTo>
                        <a:pt x="323618" y="217215"/>
                      </a:lnTo>
                      <a:lnTo>
                        <a:pt x="323389" y="218560"/>
                      </a:lnTo>
                      <a:lnTo>
                        <a:pt x="324433" y="220817"/>
                      </a:lnTo>
                      <a:lnTo>
                        <a:pt x="324661" y="222732"/>
                      </a:lnTo>
                      <a:lnTo>
                        <a:pt x="323487" y="224672"/>
                      </a:lnTo>
                      <a:lnTo>
                        <a:pt x="321564" y="226864"/>
                      </a:lnTo>
                      <a:lnTo>
                        <a:pt x="317823" y="228796"/>
                      </a:lnTo>
                      <a:lnTo>
                        <a:pt x="313096" y="230776"/>
                      </a:lnTo>
                      <a:lnTo>
                        <a:pt x="310961" y="231974"/>
                      </a:lnTo>
                      <a:lnTo>
                        <a:pt x="309372" y="237149"/>
                      </a:lnTo>
                      <a:lnTo>
                        <a:pt x="307897" y="242348"/>
                      </a:lnTo>
                      <a:lnTo>
                        <a:pt x="307237" y="244272"/>
                      </a:lnTo>
                      <a:lnTo>
                        <a:pt x="304678" y="250246"/>
                      </a:lnTo>
                      <a:lnTo>
                        <a:pt x="300236" y="259039"/>
                      </a:lnTo>
                      <a:lnTo>
                        <a:pt x="299103" y="260962"/>
                      </a:lnTo>
                      <a:lnTo>
                        <a:pt x="292209" y="265192"/>
                      </a:lnTo>
                      <a:lnTo>
                        <a:pt x="285175" y="269797"/>
                      </a:lnTo>
                      <a:lnTo>
                        <a:pt x="283945" y="271549"/>
                      </a:lnTo>
                      <a:lnTo>
                        <a:pt x="282502" y="275738"/>
                      </a:lnTo>
                      <a:lnTo>
                        <a:pt x="281141" y="280326"/>
                      </a:lnTo>
                      <a:lnTo>
                        <a:pt x="279878" y="282731"/>
                      </a:lnTo>
                      <a:lnTo>
                        <a:pt x="275404" y="288117"/>
                      </a:lnTo>
                      <a:lnTo>
                        <a:pt x="273937" y="292241"/>
                      </a:lnTo>
                      <a:lnTo>
                        <a:pt x="273472" y="294947"/>
                      </a:lnTo>
                      <a:lnTo>
                        <a:pt x="269674" y="296455"/>
                      </a:lnTo>
                      <a:lnTo>
                        <a:pt x="265363" y="297889"/>
                      </a:lnTo>
                      <a:lnTo>
                        <a:pt x="259096" y="298362"/>
                      </a:lnTo>
                      <a:lnTo>
                        <a:pt x="256472" y="299103"/>
                      </a:lnTo>
                      <a:lnTo>
                        <a:pt x="248787" y="302828"/>
                      </a:lnTo>
                      <a:lnTo>
                        <a:pt x="246888" y="302982"/>
                      </a:lnTo>
                      <a:lnTo>
                        <a:pt x="245380" y="302363"/>
                      </a:lnTo>
                      <a:lnTo>
                        <a:pt x="244247" y="301092"/>
                      </a:lnTo>
                      <a:lnTo>
                        <a:pt x="243196" y="298981"/>
                      </a:lnTo>
                      <a:lnTo>
                        <a:pt x="242699" y="295737"/>
                      </a:lnTo>
                      <a:lnTo>
                        <a:pt x="241208" y="294262"/>
                      </a:lnTo>
                      <a:lnTo>
                        <a:pt x="239203" y="293015"/>
                      </a:lnTo>
                      <a:lnTo>
                        <a:pt x="237100" y="292958"/>
                      </a:lnTo>
                      <a:lnTo>
                        <a:pt x="234998" y="294336"/>
                      </a:lnTo>
                      <a:lnTo>
                        <a:pt x="233156" y="295843"/>
                      </a:lnTo>
                      <a:lnTo>
                        <a:pt x="231901" y="297099"/>
                      </a:lnTo>
                      <a:lnTo>
                        <a:pt x="230670" y="298549"/>
                      </a:lnTo>
                      <a:lnTo>
                        <a:pt x="228331" y="303455"/>
                      </a:lnTo>
                      <a:lnTo>
                        <a:pt x="224517" y="310472"/>
                      </a:lnTo>
                      <a:lnTo>
                        <a:pt x="220263" y="315574"/>
                      </a:lnTo>
                      <a:lnTo>
                        <a:pt x="218698" y="317106"/>
                      </a:lnTo>
                      <a:lnTo>
                        <a:pt x="217704" y="318255"/>
                      </a:lnTo>
                      <a:lnTo>
                        <a:pt x="216375" y="319958"/>
                      </a:lnTo>
                      <a:lnTo>
                        <a:pt x="215609" y="321588"/>
                      </a:lnTo>
                      <a:lnTo>
                        <a:pt x="214550" y="326935"/>
                      </a:lnTo>
                      <a:lnTo>
                        <a:pt x="213947" y="331678"/>
                      </a:lnTo>
                      <a:lnTo>
                        <a:pt x="214224" y="332729"/>
                      </a:lnTo>
                      <a:lnTo>
                        <a:pt x="214868" y="333626"/>
                      </a:lnTo>
                      <a:lnTo>
                        <a:pt x="217182" y="335003"/>
                      </a:lnTo>
                      <a:lnTo>
                        <a:pt x="220540" y="337285"/>
                      </a:lnTo>
                      <a:lnTo>
                        <a:pt x="224900" y="338572"/>
                      </a:lnTo>
                      <a:lnTo>
                        <a:pt x="228568" y="338809"/>
                      </a:lnTo>
                      <a:lnTo>
                        <a:pt x="229936" y="339779"/>
                      </a:lnTo>
                      <a:lnTo>
                        <a:pt x="230751" y="341099"/>
                      </a:lnTo>
                      <a:lnTo>
                        <a:pt x="230980" y="342207"/>
                      </a:lnTo>
                      <a:lnTo>
                        <a:pt x="230792" y="346111"/>
                      </a:lnTo>
                      <a:lnTo>
                        <a:pt x="230385" y="350308"/>
                      </a:lnTo>
                      <a:lnTo>
                        <a:pt x="229016" y="354815"/>
                      </a:lnTo>
                      <a:lnTo>
                        <a:pt x="229040" y="357398"/>
                      </a:lnTo>
                      <a:lnTo>
                        <a:pt x="229578" y="359916"/>
                      </a:lnTo>
                      <a:lnTo>
                        <a:pt x="233669" y="366322"/>
                      </a:lnTo>
                      <a:lnTo>
                        <a:pt x="235152" y="366991"/>
                      </a:lnTo>
                      <a:lnTo>
                        <a:pt x="238217" y="367129"/>
                      </a:lnTo>
                      <a:lnTo>
                        <a:pt x="239643" y="366999"/>
                      </a:lnTo>
                      <a:lnTo>
                        <a:pt x="241215" y="366347"/>
                      </a:lnTo>
                      <a:lnTo>
                        <a:pt x="242340" y="366795"/>
                      </a:lnTo>
                      <a:lnTo>
                        <a:pt x="243180" y="367577"/>
                      </a:lnTo>
                      <a:lnTo>
                        <a:pt x="243400" y="368873"/>
                      </a:lnTo>
                      <a:lnTo>
                        <a:pt x="243261" y="375263"/>
                      </a:lnTo>
                      <a:lnTo>
                        <a:pt x="244524" y="378147"/>
                      </a:lnTo>
                      <a:lnTo>
                        <a:pt x="246937" y="382092"/>
                      </a:lnTo>
                      <a:lnTo>
                        <a:pt x="248868" y="386574"/>
                      </a:lnTo>
                      <a:lnTo>
                        <a:pt x="250677" y="391961"/>
                      </a:lnTo>
                      <a:lnTo>
                        <a:pt x="252397" y="396167"/>
                      </a:lnTo>
                      <a:lnTo>
                        <a:pt x="253073" y="398359"/>
                      </a:lnTo>
                      <a:lnTo>
                        <a:pt x="251957" y="399418"/>
                      </a:lnTo>
                      <a:lnTo>
                        <a:pt x="251313" y="400519"/>
                      </a:lnTo>
                      <a:lnTo>
                        <a:pt x="251142" y="401986"/>
                      </a:lnTo>
                      <a:lnTo>
                        <a:pt x="251378" y="403542"/>
                      </a:lnTo>
                      <a:lnTo>
                        <a:pt x="251240" y="404642"/>
                      </a:lnTo>
                      <a:lnTo>
                        <a:pt x="252047" y="405987"/>
                      </a:lnTo>
                      <a:lnTo>
                        <a:pt x="253033" y="406435"/>
                      </a:lnTo>
                      <a:lnTo>
                        <a:pt x="252992" y="407373"/>
                      </a:lnTo>
                      <a:lnTo>
                        <a:pt x="251468" y="408603"/>
                      </a:lnTo>
                      <a:lnTo>
                        <a:pt x="250107" y="408562"/>
                      </a:lnTo>
                      <a:lnTo>
                        <a:pt x="249072" y="409141"/>
                      </a:lnTo>
                      <a:lnTo>
                        <a:pt x="247059" y="411708"/>
                      </a:lnTo>
                      <a:lnTo>
                        <a:pt x="246122" y="412222"/>
                      </a:lnTo>
                      <a:lnTo>
                        <a:pt x="244867" y="412458"/>
                      </a:lnTo>
                      <a:lnTo>
                        <a:pt x="243449" y="412197"/>
                      </a:lnTo>
                      <a:lnTo>
                        <a:pt x="241468" y="411170"/>
                      </a:lnTo>
                      <a:lnTo>
                        <a:pt x="240882" y="409540"/>
                      </a:lnTo>
                      <a:lnTo>
                        <a:pt x="241110" y="407829"/>
                      </a:lnTo>
                      <a:lnTo>
                        <a:pt x="240653" y="406802"/>
                      </a:lnTo>
                      <a:lnTo>
                        <a:pt x="239219" y="406998"/>
                      </a:lnTo>
                      <a:lnTo>
                        <a:pt x="234264" y="408750"/>
                      </a:lnTo>
                      <a:lnTo>
                        <a:pt x="229537" y="410901"/>
                      </a:lnTo>
                      <a:lnTo>
                        <a:pt x="228714" y="412376"/>
                      </a:lnTo>
                      <a:lnTo>
                        <a:pt x="227614" y="413908"/>
                      </a:lnTo>
                      <a:lnTo>
                        <a:pt x="225454" y="414544"/>
                      </a:lnTo>
                      <a:lnTo>
                        <a:pt x="222259" y="414732"/>
                      </a:lnTo>
                      <a:lnTo>
                        <a:pt x="220051" y="414504"/>
                      </a:lnTo>
                      <a:lnTo>
                        <a:pt x="218022" y="412857"/>
                      </a:lnTo>
                      <a:lnTo>
                        <a:pt x="216163" y="411358"/>
                      </a:lnTo>
                      <a:lnTo>
                        <a:pt x="213295" y="411284"/>
                      </a:lnTo>
                      <a:lnTo>
                        <a:pt x="208120" y="411504"/>
                      </a:lnTo>
                      <a:lnTo>
                        <a:pt x="205259" y="411496"/>
                      </a:lnTo>
                      <a:lnTo>
                        <a:pt x="203572" y="410942"/>
                      </a:lnTo>
                      <a:lnTo>
                        <a:pt x="201909" y="411358"/>
                      </a:lnTo>
                      <a:lnTo>
                        <a:pt x="199823" y="410755"/>
                      </a:lnTo>
                      <a:lnTo>
                        <a:pt x="198910" y="411561"/>
                      </a:lnTo>
                      <a:lnTo>
                        <a:pt x="198038" y="411643"/>
                      </a:lnTo>
                      <a:lnTo>
                        <a:pt x="197330" y="410225"/>
                      </a:lnTo>
                      <a:lnTo>
                        <a:pt x="196857" y="410086"/>
                      </a:lnTo>
                      <a:lnTo>
                        <a:pt x="196319" y="410290"/>
                      </a:lnTo>
                      <a:lnTo>
                        <a:pt x="195838" y="410763"/>
                      </a:lnTo>
                      <a:lnTo>
                        <a:pt x="195553" y="411586"/>
                      </a:lnTo>
                      <a:lnTo>
                        <a:pt x="195447" y="421007"/>
                      </a:lnTo>
                      <a:lnTo>
                        <a:pt x="192040" y="420950"/>
                      </a:lnTo>
                      <a:lnTo>
                        <a:pt x="189604" y="420933"/>
                      </a:lnTo>
                      <a:lnTo>
                        <a:pt x="186938" y="421447"/>
                      </a:lnTo>
                      <a:lnTo>
                        <a:pt x="184494" y="422164"/>
                      </a:lnTo>
                      <a:lnTo>
                        <a:pt x="183295" y="423020"/>
                      </a:lnTo>
                      <a:lnTo>
                        <a:pt x="181584" y="424373"/>
                      </a:lnTo>
                      <a:lnTo>
                        <a:pt x="181177" y="426247"/>
                      </a:lnTo>
                      <a:lnTo>
                        <a:pt x="180354" y="427616"/>
                      </a:lnTo>
                      <a:lnTo>
                        <a:pt x="179172" y="425587"/>
                      </a:lnTo>
                      <a:lnTo>
                        <a:pt x="178406" y="424650"/>
                      </a:lnTo>
                      <a:lnTo>
                        <a:pt x="177526" y="425351"/>
                      </a:lnTo>
                      <a:lnTo>
                        <a:pt x="176279" y="425261"/>
                      </a:lnTo>
                      <a:lnTo>
                        <a:pt x="174013" y="422947"/>
                      </a:lnTo>
                      <a:lnTo>
                        <a:pt x="173002" y="425286"/>
                      </a:lnTo>
                      <a:lnTo>
                        <a:pt x="169262" y="425815"/>
                      </a:lnTo>
                      <a:lnTo>
                        <a:pt x="168797" y="424055"/>
                      </a:lnTo>
                      <a:lnTo>
                        <a:pt x="168708" y="422417"/>
                      </a:lnTo>
                      <a:lnTo>
                        <a:pt x="166654" y="423599"/>
                      </a:lnTo>
                      <a:lnTo>
                        <a:pt x="165170" y="421781"/>
                      </a:lnTo>
                      <a:lnTo>
                        <a:pt x="164510" y="419336"/>
                      </a:lnTo>
                      <a:lnTo>
                        <a:pt x="163940" y="418660"/>
                      </a:lnTo>
                      <a:lnTo>
                        <a:pt x="163288" y="417877"/>
                      </a:lnTo>
                      <a:lnTo>
                        <a:pt x="161740" y="417046"/>
                      </a:lnTo>
                      <a:lnTo>
                        <a:pt x="160354" y="414438"/>
                      </a:lnTo>
                      <a:lnTo>
                        <a:pt x="160240" y="411676"/>
                      </a:lnTo>
                      <a:lnTo>
                        <a:pt x="159841" y="408391"/>
                      </a:lnTo>
                      <a:lnTo>
                        <a:pt x="156948" y="396207"/>
                      </a:lnTo>
                      <a:lnTo>
                        <a:pt x="155179" y="395091"/>
                      </a:lnTo>
                      <a:lnTo>
                        <a:pt x="145326" y="392931"/>
                      </a:lnTo>
                      <a:lnTo>
                        <a:pt x="144805" y="390788"/>
                      </a:lnTo>
                      <a:lnTo>
                        <a:pt x="145489" y="385059"/>
                      </a:lnTo>
                      <a:lnTo>
                        <a:pt x="145212" y="381440"/>
                      </a:lnTo>
                      <a:lnTo>
                        <a:pt x="142017" y="376664"/>
                      </a:lnTo>
                      <a:lnTo>
                        <a:pt x="141121" y="373331"/>
                      </a:lnTo>
                      <a:lnTo>
                        <a:pt x="138521" y="370462"/>
                      </a:lnTo>
                      <a:lnTo>
                        <a:pt x="135930" y="369631"/>
                      </a:lnTo>
                      <a:lnTo>
                        <a:pt x="133322" y="370006"/>
                      </a:lnTo>
                      <a:lnTo>
                        <a:pt x="131911" y="371139"/>
                      </a:lnTo>
                      <a:lnTo>
                        <a:pt x="131137" y="373046"/>
                      </a:lnTo>
                      <a:lnTo>
                        <a:pt x="136728" y="372606"/>
                      </a:lnTo>
                      <a:lnTo>
                        <a:pt x="137975" y="373299"/>
                      </a:lnTo>
                      <a:lnTo>
                        <a:pt x="139483" y="374562"/>
                      </a:lnTo>
                      <a:lnTo>
                        <a:pt x="137885" y="374505"/>
                      </a:lnTo>
                      <a:lnTo>
                        <a:pt x="136019" y="373910"/>
                      </a:lnTo>
                      <a:lnTo>
                        <a:pt x="133705" y="373959"/>
                      </a:lnTo>
                      <a:lnTo>
                        <a:pt x="125001" y="375369"/>
                      </a:lnTo>
                      <a:lnTo>
                        <a:pt x="119939" y="377390"/>
                      </a:lnTo>
                      <a:lnTo>
                        <a:pt x="113151" y="376795"/>
                      </a:lnTo>
                      <a:lnTo>
                        <a:pt x="104602" y="378775"/>
                      </a:lnTo>
                      <a:lnTo>
                        <a:pt x="97536" y="378889"/>
                      </a:lnTo>
                      <a:lnTo>
                        <a:pt x="94626" y="382768"/>
                      </a:lnTo>
                      <a:lnTo>
                        <a:pt x="93013" y="382076"/>
                      </a:lnTo>
                      <a:lnTo>
                        <a:pt x="91766" y="381114"/>
                      </a:lnTo>
                      <a:lnTo>
                        <a:pt x="82051" y="378074"/>
                      </a:lnTo>
                      <a:lnTo>
                        <a:pt x="81383" y="376803"/>
                      </a:lnTo>
                      <a:lnTo>
                        <a:pt x="79753" y="375890"/>
                      </a:lnTo>
                      <a:lnTo>
                        <a:pt x="77960" y="377520"/>
                      </a:lnTo>
                      <a:lnTo>
                        <a:pt x="76681" y="377789"/>
                      </a:lnTo>
                      <a:lnTo>
                        <a:pt x="71359" y="376428"/>
                      </a:lnTo>
                      <a:lnTo>
                        <a:pt x="67284" y="377455"/>
                      </a:lnTo>
                      <a:lnTo>
                        <a:pt x="65768" y="379207"/>
                      </a:lnTo>
                      <a:lnTo>
                        <a:pt x="65670" y="381929"/>
                      </a:lnTo>
                      <a:lnTo>
                        <a:pt x="60560" y="381407"/>
                      </a:lnTo>
                      <a:lnTo>
                        <a:pt x="57692" y="380543"/>
                      </a:lnTo>
                      <a:lnTo>
                        <a:pt x="53845" y="381497"/>
                      </a:lnTo>
                      <a:lnTo>
                        <a:pt x="45166" y="380234"/>
                      </a:lnTo>
                      <a:lnTo>
                        <a:pt x="42868" y="380552"/>
                      </a:lnTo>
                      <a:lnTo>
                        <a:pt x="39714" y="382353"/>
                      </a:lnTo>
                      <a:lnTo>
                        <a:pt x="38385" y="383763"/>
                      </a:lnTo>
                      <a:lnTo>
                        <a:pt x="36494" y="384317"/>
                      </a:lnTo>
                      <a:lnTo>
                        <a:pt x="34848" y="382353"/>
                      </a:lnTo>
                      <a:lnTo>
                        <a:pt x="33601" y="381489"/>
                      </a:lnTo>
                      <a:lnTo>
                        <a:pt x="32452" y="382068"/>
                      </a:lnTo>
                      <a:lnTo>
                        <a:pt x="30896" y="383673"/>
                      </a:lnTo>
                      <a:lnTo>
                        <a:pt x="26397" y="384431"/>
                      </a:lnTo>
                      <a:lnTo>
                        <a:pt x="22322" y="384219"/>
                      </a:lnTo>
                      <a:lnTo>
                        <a:pt x="17930" y="382703"/>
                      </a:lnTo>
                      <a:lnTo>
                        <a:pt x="18451" y="382198"/>
                      </a:lnTo>
                      <a:lnTo>
                        <a:pt x="19135" y="379566"/>
                      </a:lnTo>
                      <a:lnTo>
                        <a:pt x="19755" y="370169"/>
                      </a:lnTo>
                      <a:lnTo>
                        <a:pt x="20529" y="366779"/>
                      </a:lnTo>
                      <a:lnTo>
                        <a:pt x="20285" y="364929"/>
                      </a:lnTo>
                      <a:lnTo>
                        <a:pt x="20447" y="364366"/>
                      </a:lnTo>
                      <a:lnTo>
                        <a:pt x="22167" y="362720"/>
                      </a:lnTo>
                      <a:lnTo>
                        <a:pt x="22583" y="362019"/>
                      </a:lnTo>
                      <a:lnTo>
                        <a:pt x="23235" y="357211"/>
                      </a:lnTo>
                      <a:lnTo>
                        <a:pt x="23960" y="351873"/>
                      </a:lnTo>
                      <a:lnTo>
                        <a:pt x="24767" y="349958"/>
                      </a:lnTo>
                      <a:lnTo>
                        <a:pt x="25452" y="349436"/>
                      </a:lnTo>
                      <a:lnTo>
                        <a:pt x="30887" y="347040"/>
                      </a:lnTo>
                      <a:lnTo>
                        <a:pt x="31792" y="345435"/>
                      </a:lnTo>
                      <a:lnTo>
                        <a:pt x="34612" y="345818"/>
                      </a:lnTo>
                      <a:lnTo>
                        <a:pt x="34873" y="345435"/>
                      </a:lnTo>
                      <a:lnTo>
                        <a:pt x="35109" y="343593"/>
                      </a:lnTo>
                      <a:lnTo>
                        <a:pt x="36413" y="341588"/>
                      </a:lnTo>
                      <a:lnTo>
                        <a:pt x="38230" y="339958"/>
                      </a:lnTo>
                      <a:lnTo>
                        <a:pt x="39567" y="339371"/>
                      </a:lnTo>
                      <a:lnTo>
                        <a:pt x="44465" y="338336"/>
                      </a:lnTo>
                      <a:lnTo>
                        <a:pt x="47317" y="336902"/>
                      </a:lnTo>
                      <a:lnTo>
                        <a:pt x="48181" y="336755"/>
                      </a:lnTo>
                      <a:lnTo>
                        <a:pt x="55777" y="337122"/>
                      </a:lnTo>
                      <a:lnTo>
                        <a:pt x="57398" y="336568"/>
                      </a:lnTo>
                      <a:lnTo>
                        <a:pt x="57651" y="336070"/>
                      </a:lnTo>
                      <a:lnTo>
                        <a:pt x="58091" y="330626"/>
                      </a:lnTo>
                      <a:lnTo>
                        <a:pt x="59469" y="329771"/>
                      </a:lnTo>
                      <a:lnTo>
                        <a:pt x="59688" y="329306"/>
                      </a:lnTo>
                      <a:lnTo>
                        <a:pt x="59216" y="325549"/>
                      </a:lnTo>
                      <a:lnTo>
                        <a:pt x="59485" y="323023"/>
                      </a:lnTo>
                      <a:lnTo>
                        <a:pt x="61058" y="321539"/>
                      </a:lnTo>
                      <a:lnTo>
                        <a:pt x="60952" y="320684"/>
                      </a:lnTo>
                      <a:lnTo>
                        <a:pt x="59827" y="318899"/>
                      </a:lnTo>
                      <a:lnTo>
                        <a:pt x="58344" y="317758"/>
                      </a:lnTo>
                      <a:lnTo>
                        <a:pt x="57610" y="317489"/>
                      </a:lnTo>
                      <a:lnTo>
                        <a:pt x="51376" y="318565"/>
                      </a:lnTo>
                      <a:lnTo>
                        <a:pt x="48809" y="318214"/>
                      </a:lnTo>
                      <a:lnTo>
                        <a:pt x="47603" y="317554"/>
                      </a:lnTo>
                      <a:lnTo>
                        <a:pt x="47342" y="317073"/>
                      </a:lnTo>
                      <a:lnTo>
                        <a:pt x="47594" y="315973"/>
                      </a:lnTo>
                      <a:lnTo>
                        <a:pt x="47635" y="314180"/>
                      </a:lnTo>
                      <a:lnTo>
                        <a:pt x="48540" y="311393"/>
                      </a:lnTo>
                      <a:lnTo>
                        <a:pt x="48817" y="309730"/>
                      </a:lnTo>
                      <a:lnTo>
                        <a:pt x="48083" y="300097"/>
                      </a:lnTo>
                      <a:lnTo>
                        <a:pt x="47016" y="293684"/>
                      </a:lnTo>
                      <a:lnTo>
                        <a:pt x="47594" y="287319"/>
                      </a:lnTo>
                      <a:lnTo>
                        <a:pt x="47480" y="286007"/>
                      </a:lnTo>
                      <a:lnTo>
                        <a:pt x="47268" y="285705"/>
                      </a:lnTo>
                      <a:lnTo>
                        <a:pt x="46478" y="285705"/>
                      </a:lnTo>
                      <a:lnTo>
                        <a:pt x="42680" y="286267"/>
                      </a:lnTo>
                      <a:lnTo>
                        <a:pt x="39436" y="282176"/>
                      </a:lnTo>
                      <a:lnTo>
                        <a:pt x="37432" y="280555"/>
                      </a:lnTo>
                      <a:lnTo>
                        <a:pt x="31922" y="278509"/>
                      </a:lnTo>
                      <a:lnTo>
                        <a:pt x="29494" y="278118"/>
                      </a:lnTo>
                      <a:lnTo>
                        <a:pt x="25949" y="276349"/>
                      </a:lnTo>
                      <a:lnTo>
                        <a:pt x="22681" y="272486"/>
                      </a:lnTo>
                      <a:lnTo>
                        <a:pt x="19331" y="268534"/>
                      </a:lnTo>
                      <a:lnTo>
                        <a:pt x="17978" y="266007"/>
                      </a:lnTo>
                      <a:lnTo>
                        <a:pt x="16487" y="261688"/>
                      </a:lnTo>
                      <a:lnTo>
                        <a:pt x="12257" y="253416"/>
                      </a:lnTo>
                      <a:lnTo>
                        <a:pt x="12290" y="251272"/>
                      </a:lnTo>
                      <a:lnTo>
                        <a:pt x="11768" y="249977"/>
                      </a:lnTo>
                      <a:lnTo>
                        <a:pt x="7644" y="244524"/>
                      </a:lnTo>
                      <a:lnTo>
                        <a:pt x="4719" y="240661"/>
                      </a:lnTo>
                      <a:lnTo>
                        <a:pt x="0" y="234403"/>
                      </a:lnTo>
                      <a:lnTo>
                        <a:pt x="9446" y="237907"/>
                      </a:lnTo>
                      <a:lnTo>
                        <a:pt x="16813" y="240588"/>
                      </a:lnTo>
                      <a:lnTo>
                        <a:pt x="28703" y="244924"/>
                      </a:lnTo>
                      <a:lnTo>
                        <a:pt x="37937" y="248281"/>
                      </a:lnTo>
                      <a:lnTo>
                        <a:pt x="40488" y="248828"/>
                      </a:lnTo>
                      <a:lnTo>
                        <a:pt x="67553" y="245951"/>
                      </a:lnTo>
                      <a:lnTo>
                        <a:pt x="77561" y="248135"/>
                      </a:lnTo>
                      <a:lnTo>
                        <a:pt x="80731" y="249349"/>
                      </a:lnTo>
                      <a:lnTo>
                        <a:pt x="81212" y="248640"/>
                      </a:lnTo>
                      <a:lnTo>
                        <a:pt x="82557" y="247157"/>
                      </a:lnTo>
                      <a:lnTo>
                        <a:pt x="84879" y="245674"/>
                      </a:lnTo>
                      <a:lnTo>
                        <a:pt x="88041" y="244476"/>
                      </a:lnTo>
                      <a:lnTo>
                        <a:pt x="91203" y="243824"/>
                      </a:lnTo>
                      <a:lnTo>
                        <a:pt x="95735" y="243742"/>
                      </a:lnTo>
                      <a:lnTo>
                        <a:pt x="98799" y="243840"/>
                      </a:lnTo>
                      <a:lnTo>
                        <a:pt x="101073" y="244207"/>
                      </a:lnTo>
                      <a:lnTo>
                        <a:pt x="105449" y="243987"/>
                      </a:lnTo>
                      <a:lnTo>
                        <a:pt x="107552" y="243400"/>
                      </a:lnTo>
                      <a:lnTo>
                        <a:pt x="114764" y="241037"/>
                      </a:lnTo>
                      <a:lnTo>
                        <a:pt x="119597" y="239447"/>
                      </a:lnTo>
                      <a:lnTo>
                        <a:pt x="126932" y="236962"/>
                      </a:lnTo>
                      <a:lnTo>
                        <a:pt x="132278" y="235136"/>
                      </a:lnTo>
                      <a:lnTo>
                        <a:pt x="133623" y="234174"/>
                      </a:lnTo>
                      <a:lnTo>
                        <a:pt x="134992" y="232430"/>
                      </a:lnTo>
                      <a:lnTo>
                        <a:pt x="135652" y="230882"/>
                      </a:lnTo>
                      <a:lnTo>
                        <a:pt x="134014" y="228469"/>
                      </a:lnTo>
                      <a:lnTo>
                        <a:pt x="133811" y="226351"/>
                      </a:lnTo>
                      <a:lnTo>
                        <a:pt x="134878" y="223653"/>
                      </a:lnTo>
                      <a:lnTo>
                        <a:pt x="135465" y="219554"/>
                      </a:lnTo>
                      <a:lnTo>
                        <a:pt x="135343" y="213710"/>
                      </a:lnTo>
                      <a:lnTo>
                        <a:pt x="134992" y="210328"/>
                      </a:lnTo>
                      <a:lnTo>
                        <a:pt x="136484" y="204061"/>
                      </a:lnTo>
                      <a:lnTo>
                        <a:pt x="137730" y="200532"/>
                      </a:lnTo>
                      <a:lnTo>
                        <a:pt x="140224" y="198845"/>
                      </a:lnTo>
                      <a:lnTo>
                        <a:pt x="141936" y="197818"/>
                      </a:lnTo>
                      <a:lnTo>
                        <a:pt x="142661" y="197052"/>
                      </a:lnTo>
                      <a:lnTo>
                        <a:pt x="143370" y="196221"/>
                      </a:lnTo>
                      <a:lnTo>
                        <a:pt x="146027" y="191429"/>
                      </a:lnTo>
                      <a:lnTo>
                        <a:pt x="148456" y="189196"/>
                      </a:lnTo>
                      <a:lnTo>
                        <a:pt x="150819" y="187843"/>
                      </a:lnTo>
                      <a:lnTo>
                        <a:pt x="153378" y="188022"/>
                      </a:lnTo>
                      <a:lnTo>
                        <a:pt x="155562" y="189872"/>
                      </a:lnTo>
                      <a:lnTo>
                        <a:pt x="159808" y="190671"/>
                      </a:lnTo>
                      <a:lnTo>
                        <a:pt x="163915" y="190133"/>
                      </a:lnTo>
                      <a:lnTo>
                        <a:pt x="167477" y="188740"/>
                      </a:lnTo>
                      <a:lnTo>
                        <a:pt x="169099" y="187607"/>
                      </a:lnTo>
                      <a:lnTo>
                        <a:pt x="170990" y="186604"/>
                      </a:lnTo>
                      <a:lnTo>
                        <a:pt x="170875" y="185463"/>
                      </a:lnTo>
                      <a:lnTo>
                        <a:pt x="168740" y="184477"/>
                      </a:lnTo>
                      <a:lnTo>
                        <a:pt x="167501" y="183067"/>
                      </a:lnTo>
                      <a:lnTo>
                        <a:pt x="167037" y="181348"/>
                      </a:lnTo>
                      <a:lnTo>
                        <a:pt x="168227" y="180305"/>
                      </a:lnTo>
                      <a:lnTo>
                        <a:pt x="171038" y="180003"/>
                      </a:lnTo>
                      <a:lnTo>
                        <a:pt x="177917" y="175806"/>
                      </a:lnTo>
                      <a:lnTo>
                        <a:pt x="180720" y="173051"/>
                      </a:lnTo>
                      <a:lnTo>
                        <a:pt x="181478" y="171756"/>
                      </a:lnTo>
                      <a:lnTo>
                        <a:pt x="182790" y="171625"/>
                      </a:lnTo>
                      <a:lnTo>
                        <a:pt x="185423" y="172905"/>
                      </a:lnTo>
                      <a:lnTo>
                        <a:pt x="188487" y="173328"/>
                      </a:lnTo>
                      <a:lnTo>
                        <a:pt x="190402" y="172049"/>
                      </a:lnTo>
                      <a:lnTo>
                        <a:pt x="192309" y="171756"/>
                      </a:lnTo>
                      <a:lnTo>
                        <a:pt x="194192" y="173157"/>
                      </a:lnTo>
                      <a:lnTo>
                        <a:pt x="195186" y="174836"/>
                      </a:lnTo>
                      <a:lnTo>
                        <a:pt x="196889" y="176833"/>
                      </a:lnTo>
                      <a:lnTo>
                        <a:pt x="199041" y="177224"/>
                      </a:lnTo>
                      <a:lnTo>
                        <a:pt x="201632" y="176156"/>
                      </a:lnTo>
                      <a:lnTo>
                        <a:pt x="204355" y="173850"/>
                      </a:lnTo>
                      <a:lnTo>
                        <a:pt x="206922" y="170631"/>
                      </a:lnTo>
                      <a:lnTo>
                        <a:pt x="209220" y="167428"/>
                      </a:lnTo>
                      <a:lnTo>
                        <a:pt x="208649" y="157298"/>
                      </a:lnTo>
                      <a:lnTo>
                        <a:pt x="208274" y="151316"/>
                      </a:lnTo>
                      <a:lnTo>
                        <a:pt x="209481" y="148170"/>
                      </a:lnTo>
                      <a:lnTo>
                        <a:pt x="211217" y="146223"/>
                      </a:lnTo>
                      <a:lnTo>
                        <a:pt x="212349" y="143223"/>
                      </a:lnTo>
                      <a:lnTo>
                        <a:pt x="212325" y="140575"/>
                      </a:lnTo>
                      <a:lnTo>
                        <a:pt x="213531" y="138342"/>
                      </a:lnTo>
                      <a:lnTo>
                        <a:pt x="214721" y="132246"/>
                      </a:lnTo>
                      <a:lnTo>
                        <a:pt x="216375" y="130811"/>
                      </a:lnTo>
                      <a:lnTo>
                        <a:pt x="219749" y="129817"/>
                      </a:lnTo>
                      <a:lnTo>
                        <a:pt x="225120" y="129238"/>
                      </a:lnTo>
                      <a:lnTo>
                        <a:pt x="229334" y="126443"/>
                      </a:lnTo>
                      <a:lnTo>
                        <a:pt x="233571" y="123485"/>
                      </a:lnTo>
                      <a:lnTo>
                        <a:pt x="234142" y="120869"/>
                      </a:lnTo>
                      <a:lnTo>
                        <a:pt x="232552" y="118073"/>
                      </a:lnTo>
                      <a:lnTo>
                        <a:pt x="230417" y="112654"/>
                      </a:lnTo>
                      <a:lnTo>
                        <a:pt x="228502" y="109410"/>
                      </a:lnTo>
                      <a:lnTo>
                        <a:pt x="223824" y="103599"/>
                      </a:lnTo>
                      <a:lnTo>
                        <a:pt x="224354" y="100013"/>
                      </a:lnTo>
                      <a:lnTo>
                        <a:pt x="226962" y="98555"/>
                      </a:lnTo>
                      <a:lnTo>
                        <a:pt x="233376" y="101032"/>
                      </a:lnTo>
                      <a:lnTo>
                        <a:pt x="235169" y="101521"/>
                      </a:lnTo>
                      <a:lnTo>
                        <a:pt x="237410" y="101872"/>
                      </a:lnTo>
                      <a:lnTo>
                        <a:pt x="243310" y="101815"/>
                      </a:lnTo>
                      <a:lnTo>
                        <a:pt x="248135" y="100837"/>
                      </a:lnTo>
                      <a:lnTo>
                        <a:pt x="253179" y="98620"/>
                      </a:lnTo>
                      <a:lnTo>
                        <a:pt x="254157" y="96313"/>
                      </a:lnTo>
                      <a:lnTo>
                        <a:pt x="254101" y="93567"/>
                      </a:lnTo>
                      <a:lnTo>
                        <a:pt x="254190" y="91293"/>
                      </a:lnTo>
                      <a:lnTo>
                        <a:pt x="254272" y="88139"/>
                      </a:lnTo>
                      <a:lnTo>
                        <a:pt x="252462" y="86118"/>
                      </a:lnTo>
                      <a:lnTo>
                        <a:pt x="251370" y="84309"/>
                      </a:lnTo>
                      <a:lnTo>
                        <a:pt x="251045" y="82866"/>
                      </a:lnTo>
                      <a:lnTo>
                        <a:pt x="252299" y="82068"/>
                      </a:lnTo>
                      <a:lnTo>
                        <a:pt x="253522" y="80585"/>
                      </a:lnTo>
                      <a:lnTo>
                        <a:pt x="254711" y="77895"/>
                      </a:lnTo>
                      <a:lnTo>
                        <a:pt x="257491" y="74676"/>
                      </a:lnTo>
                      <a:lnTo>
                        <a:pt x="259186" y="71775"/>
                      </a:lnTo>
                      <a:lnTo>
                        <a:pt x="260783" y="70397"/>
                      </a:lnTo>
                      <a:lnTo>
                        <a:pt x="263188" y="68515"/>
                      </a:lnTo>
                      <a:lnTo>
                        <a:pt x="264720" y="65744"/>
                      </a:lnTo>
                      <a:lnTo>
                        <a:pt x="265428" y="64089"/>
                      </a:lnTo>
                      <a:lnTo>
                        <a:pt x="266822" y="62459"/>
                      </a:lnTo>
                      <a:lnTo>
                        <a:pt x="267287" y="61400"/>
                      </a:lnTo>
                      <a:lnTo>
                        <a:pt x="266912" y="60447"/>
                      </a:lnTo>
                      <a:lnTo>
                        <a:pt x="266219" y="59257"/>
                      </a:lnTo>
                      <a:lnTo>
                        <a:pt x="265428" y="57904"/>
                      </a:lnTo>
                      <a:lnTo>
                        <a:pt x="265428" y="56608"/>
                      </a:lnTo>
                      <a:lnTo>
                        <a:pt x="266081" y="55223"/>
                      </a:lnTo>
                      <a:lnTo>
                        <a:pt x="266789" y="53984"/>
                      </a:lnTo>
                      <a:lnTo>
                        <a:pt x="266456" y="52232"/>
                      </a:lnTo>
                      <a:lnTo>
                        <a:pt x="266081" y="49395"/>
                      </a:lnTo>
                      <a:lnTo>
                        <a:pt x="264768" y="47725"/>
                      </a:lnTo>
                      <a:lnTo>
                        <a:pt x="263888" y="43854"/>
                      </a:lnTo>
                      <a:lnTo>
                        <a:pt x="262503" y="39917"/>
                      </a:lnTo>
                      <a:lnTo>
                        <a:pt x="261761" y="38385"/>
                      </a:lnTo>
                      <a:lnTo>
                        <a:pt x="260400" y="36446"/>
                      </a:lnTo>
                      <a:lnTo>
                        <a:pt x="257360" y="34392"/>
                      </a:lnTo>
                      <a:lnTo>
                        <a:pt x="256480" y="33023"/>
                      </a:lnTo>
                      <a:lnTo>
                        <a:pt x="257678" y="30382"/>
                      </a:lnTo>
                      <a:lnTo>
                        <a:pt x="259650" y="28752"/>
                      </a:lnTo>
                      <a:lnTo>
                        <a:pt x="263383" y="24702"/>
                      </a:lnTo>
                      <a:lnTo>
                        <a:pt x="265437" y="21898"/>
                      </a:lnTo>
                      <a:lnTo>
                        <a:pt x="267287" y="19951"/>
                      </a:lnTo>
                      <a:lnTo>
                        <a:pt x="269666" y="20276"/>
                      </a:lnTo>
                      <a:lnTo>
                        <a:pt x="271060" y="20105"/>
                      </a:lnTo>
                      <a:lnTo>
                        <a:pt x="272291" y="18304"/>
                      </a:lnTo>
                      <a:lnTo>
                        <a:pt x="274736" y="16707"/>
                      </a:lnTo>
                      <a:lnTo>
                        <a:pt x="279071" y="13398"/>
                      </a:lnTo>
                      <a:lnTo>
                        <a:pt x="280579" y="11165"/>
                      </a:lnTo>
                      <a:lnTo>
                        <a:pt x="282893" y="10049"/>
                      </a:lnTo>
                      <a:lnTo>
                        <a:pt x="284809" y="9788"/>
                      </a:lnTo>
                      <a:lnTo>
                        <a:pt x="287392" y="9014"/>
                      </a:lnTo>
                      <a:lnTo>
                        <a:pt x="289878" y="7807"/>
                      </a:lnTo>
                      <a:lnTo>
                        <a:pt x="292143" y="6895"/>
                      </a:lnTo>
                      <a:lnTo>
                        <a:pt x="295705" y="6715"/>
                      </a:lnTo>
                      <a:lnTo>
                        <a:pt x="301345" y="6161"/>
                      </a:lnTo>
                      <a:lnTo>
                        <a:pt x="304392" y="5591"/>
                      </a:lnTo>
                      <a:lnTo>
                        <a:pt x="311703" y="5159"/>
                      </a:lnTo>
                      <a:lnTo>
                        <a:pt x="319649" y="4955"/>
                      </a:lnTo>
                      <a:lnTo>
                        <a:pt x="320578" y="4931"/>
                      </a:lnTo>
                      <a:lnTo>
                        <a:pt x="324017" y="6120"/>
                      </a:lnTo>
                      <a:lnTo>
                        <a:pt x="326348" y="7107"/>
                      </a:lnTo>
                      <a:lnTo>
                        <a:pt x="327269" y="7025"/>
                      </a:lnTo>
                      <a:lnTo>
                        <a:pt x="331132" y="4653"/>
                      </a:lnTo>
                      <a:lnTo>
                        <a:pt x="336991" y="1768"/>
                      </a:lnTo>
                      <a:lnTo>
                        <a:pt x="339722" y="481"/>
                      </a:lnTo>
                      <a:lnTo>
                        <a:pt x="341205" y="0"/>
                      </a:lnTo>
                      <a:lnTo>
                        <a:pt x="343462" y="33"/>
                      </a:lnTo>
                      <a:lnTo>
                        <a:pt x="345304" y="791"/>
                      </a:lnTo>
                      <a:lnTo>
                        <a:pt x="347170" y="1915"/>
                      </a:lnTo>
                      <a:lnTo>
                        <a:pt x="348360" y="2803"/>
                      </a:lnTo>
                      <a:lnTo>
                        <a:pt x="349844" y="2274"/>
                      </a:lnTo>
                      <a:lnTo>
                        <a:pt x="352443" y="1646"/>
                      </a:lnTo>
                      <a:lnTo>
                        <a:pt x="354709" y="2119"/>
                      </a:lnTo>
                      <a:lnTo>
                        <a:pt x="359704" y="4099"/>
                      </a:lnTo>
                      <a:lnTo>
                        <a:pt x="360455" y="5094"/>
                      </a:lnTo>
                      <a:lnTo>
                        <a:pt x="361628" y="9934"/>
                      </a:lnTo>
                      <a:lnTo>
                        <a:pt x="362524" y="10366"/>
                      </a:lnTo>
                      <a:lnTo>
                        <a:pt x="365344" y="9234"/>
                      </a:lnTo>
                      <a:lnTo>
                        <a:pt x="367659" y="9796"/>
                      </a:lnTo>
                      <a:lnTo>
                        <a:pt x="370259" y="11369"/>
                      </a:lnTo>
                      <a:lnTo>
                        <a:pt x="371945" y="12876"/>
                      </a:lnTo>
                      <a:lnTo>
                        <a:pt x="373054" y="14498"/>
                      </a:lnTo>
                      <a:lnTo>
                        <a:pt x="374252" y="17123"/>
                      </a:lnTo>
                      <a:lnTo>
                        <a:pt x="374717" y="19233"/>
                      </a:lnTo>
                      <a:lnTo>
                        <a:pt x="375279" y="21743"/>
                      </a:lnTo>
                      <a:lnTo>
                        <a:pt x="375132" y="28817"/>
                      </a:lnTo>
                      <a:lnTo>
                        <a:pt x="374276" y="29983"/>
                      </a:lnTo>
                      <a:lnTo>
                        <a:pt x="373551" y="31491"/>
                      </a:lnTo>
                      <a:lnTo>
                        <a:pt x="373730" y="32794"/>
                      </a:lnTo>
                      <a:lnTo>
                        <a:pt x="374545" y="33838"/>
                      </a:lnTo>
                      <a:lnTo>
                        <a:pt x="376167" y="34538"/>
                      </a:lnTo>
                      <a:lnTo>
                        <a:pt x="377667" y="34979"/>
                      </a:lnTo>
                      <a:lnTo>
                        <a:pt x="378465" y="36095"/>
                      </a:lnTo>
                      <a:lnTo>
                        <a:pt x="379582" y="40072"/>
                      </a:lnTo>
                      <a:lnTo>
                        <a:pt x="380316" y="40683"/>
                      </a:lnTo>
                      <a:lnTo>
                        <a:pt x="382149" y="40675"/>
                      </a:lnTo>
                      <a:lnTo>
                        <a:pt x="385482" y="39803"/>
                      </a:lnTo>
                      <a:lnTo>
                        <a:pt x="388359" y="38442"/>
                      </a:lnTo>
                      <a:lnTo>
                        <a:pt x="389582" y="38149"/>
                      </a:lnTo>
                      <a:lnTo>
                        <a:pt x="389883" y="41922"/>
                      </a:lnTo>
                      <a:lnTo>
                        <a:pt x="391578" y="43365"/>
                      </a:lnTo>
                      <a:lnTo>
                        <a:pt x="393958" y="45044"/>
                      </a:lnTo>
                      <a:close/>
                    </a:path>
                  </a:pathLst>
                </a:custGeom>
                <a:solidFill>
                  <a:srgbClr val="D6D6D2"/>
                </a:solidFill>
                <a:ln w="6112" cap="rnd">
                  <a:solidFill>
                    <a:srgbClr val="FFFFFF"/>
                  </a:solidFill>
                  <a:prstDash val="solid"/>
                  <a:round/>
                </a:ln>
              </p:spPr>
              <p:txBody>
                <a:bodyPr rtlCol="0" anchor="ctr"/>
                <a:lstStyle/>
                <a:p>
                  <a:endParaRPr lang="en-US"/>
                </a:p>
              </p:txBody>
            </p:sp>
            <p:sp>
              <p:nvSpPr>
                <p:cNvPr id="652" name="Freeform: Shape 651">
                  <a:extLst>
                    <a:ext uri="{FF2B5EF4-FFF2-40B4-BE49-F238E27FC236}">
                      <a16:creationId xmlns:a16="http://schemas.microsoft.com/office/drawing/2014/main" id="{8C54383D-3794-4340-8E2A-8FB338592DA7}"/>
                    </a:ext>
                  </a:extLst>
                </p:cNvPr>
                <p:cNvSpPr/>
                <p:nvPr/>
              </p:nvSpPr>
              <p:spPr>
                <a:xfrm>
                  <a:off x="7232716" y="3764575"/>
                  <a:ext cx="195015" cy="257947"/>
                </a:xfrm>
                <a:custGeom>
                  <a:avLst/>
                  <a:gdLst>
                    <a:gd name="connsiteX0" fmla="*/ 109467 w 195015"/>
                    <a:gd name="connsiteY0" fmla="*/ 0 h 257947"/>
                    <a:gd name="connsiteX1" fmla="*/ 111994 w 195015"/>
                    <a:gd name="connsiteY1" fmla="*/ 8256 h 257947"/>
                    <a:gd name="connsiteX2" fmla="*/ 115726 w 195015"/>
                    <a:gd name="connsiteY2" fmla="*/ 15973 h 257947"/>
                    <a:gd name="connsiteX3" fmla="*/ 119043 w 195015"/>
                    <a:gd name="connsiteY3" fmla="*/ 20228 h 257947"/>
                    <a:gd name="connsiteX4" fmla="*/ 122474 w 195015"/>
                    <a:gd name="connsiteY4" fmla="*/ 25998 h 257947"/>
                    <a:gd name="connsiteX5" fmla="*/ 127698 w 195015"/>
                    <a:gd name="connsiteY5" fmla="*/ 31303 h 257947"/>
                    <a:gd name="connsiteX6" fmla="*/ 130102 w 195015"/>
                    <a:gd name="connsiteY6" fmla="*/ 33112 h 257947"/>
                    <a:gd name="connsiteX7" fmla="*/ 139800 w 195015"/>
                    <a:gd name="connsiteY7" fmla="*/ 36845 h 257947"/>
                    <a:gd name="connsiteX8" fmla="*/ 145098 w 195015"/>
                    <a:gd name="connsiteY8" fmla="*/ 38230 h 257947"/>
                    <a:gd name="connsiteX9" fmla="*/ 152424 w 195015"/>
                    <a:gd name="connsiteY9" fmla="*/ 39567 h 257947"/>
                    <a:gd name="connsiteX10" fmla="*/ 157494 w 195015"/>
                    <a:gd name="connsiteY10" fmla="*/ 42460 h 257947"/>
                    <a:gd name="connsiteX11" fmla="*/ 159189 w 195015"/>
                    <a:gd name="connsiteY11" fmla="*/ 42639 h 257947"/>
                    <a:gd name="connsiteX12" fmla="*/ 161837 w 195015"/>
                    <a:gd name="connsiteY12" fmla="*/ 41784 h 257947"/>
                    <a:gd name="connsiteX13" fmla="*/ 163777 w 195015"/>
                    <a:gd name="connsiteY13" fmla="*/ 41857 h 257947"/>
                    <a:gd name="connsiteX14" fmla="*/ 168610 w 195015"/>
                    <a:gd name="connsiteY14" fmla="*/ 45801 h 257947"/>
                    <a:gd name="connsiteX15" fmla="*/ 170036 w 195015"/>
                    <a:gd name="connsiteY15" fmla="*/ 49534 h 257947"/>
                    <a:gd name="connsiteX16" fmla="*/ 172041 w 195015"/>
                    <a:gd name="connsiteY16" fmla="*/ 51506 h 257947"/>
                    <a:gd name="connsiteX17" fmla="*/ 173834 w 195015"/>
                    <a:gd name="connsiteY17" fmla="*/ 54611 h 257947"/>
                    <a:gd name="connsiteX18" fmla="*/ 174991 w 195015"/>
                    <a:gd name="connsiteY18" fmla="*/ 57855 h 257947"/>
                    <a:gd name="connsiteX19" fmla="*/ 179074 w 195015"/>
                    <a:gd name="connsiteY19" fmla="*/ 62802 h 257947"/>
                    <a:gd name="connsiteX20" fmla="*/ 181959 w 195015"/>
                    <a:gd name="connsiteY20" fmla="*/ 68368 h 257947"/>
                    <a:gd name="connsiteX21" fmla="*/ 184885 w 195015"/>
                    <a:gd name="connsiteY21" fmla="*/ 72492 h 257947"/>
                    <a:gd name="connsiteX22" fmla="*/ 187509 w 195015"/>
                    <a:gd name="connsiteY22" fmla="*/ 75051 h 257947"/>
                    <a:gd name="connsiteX23" fmla="*/ 191486 w 195015"/>
                    <a:gd name="connsiteY23" fmla="*/ 76061 h 257947"/>
                    <a:gd name="connsiteX24" fmla="*/ 194656 w 195015"/>
                    <a:gd name="connsiteY24" fmla="*/ 77219 h 257947"/>
                    <a:gd name="connsiteX25" fmla="*/ 195015 w 195015"/>
                    <a:gd name="connsiteY25" fmla="*/ 79973 h 257947"/>
                    <a:gd name="connsiteX26" fmla="*/ 194689 w 195015"/>
                    <a:gd name="connsiteY26" fmla="*/ 83559 h 257947"/>
                    <a:gd name="connsiteX27" fmla="*/ 194078 w 195015"/>
                    <a:gd name="connsiteY27" fmla="*/ 86208 h 257947"/>
                    <a:gd name="connsiteX28" fmla="*/ 191128 w 195015"/>
                    <a:gd name="connsiteY28" fmla="*/ 91367 h 257947"/>
                    <a:gd name="connsiteX29" fmla="*/ 190418 w 195015"/>
                    <a:gd name="connsiteY29" fmla="*/ 94553 h 257947"/>
                    <a:gd name="connsiteX30" fmla="*/ 187085 w 195015"/>
                    <a:gd name="connsiteY30" fmla="*/ 99810 h 257947"/>
                    <a:gd name="connsiteX31" fmla="*/ 183459 w 195015"/>
                    <a:gd name="connsiteY31" fmla="*/ 108611 h 257947"/>
                    <a:gd name="connsiteX32" fmla="*/ 181804 w 195015"/>
                    <a:gd name="connsiteY32" fmla="*/ 110576 h 257947"/>
                    <a:gd name="connsiteX33" fmla="*/ 175944 w 195015"/>
                    <a:gd name="connsiteY33" fmla="*/ 115115 h 257947"/>
                    <a:gd name="connsiteX34" fmla="*/ 171666 w 195015"/>
                    <a:gd name="connsiteY34" fmla="*/ 120575 h 257947"/>
                    <a:gd name="connsiteX35" fmla="*/ 166573 w 195015"/>
                    <a:gd name="connsiteY35" fmla="*/ 130037 h 257947"/>
                    <a:gd name="connsiteX36" fmla="*/ 162693 w 195015"/>
                    <a:gd name="connsiteY36" fmla="*/ 139417 h 257947"/>
                    <a:gd name="connsiteX37" fmla="*/ 161201 w 195015"/>
                    <a:gd name="connsiteY37" fmla="*/ 142416 h 257947"/>
                    <a:gd name="connsiteX38" fmla="*/ 158080 w 195015"/>
                    <a:gd name="connsiteY38" fmla="*/ 143036 h 257947"/>
                    <a:gd name="connsiteX39" fmla="*/ 156035 w 195015"/>
                    <a:gd name="connsiteY39" fmla="*/ 142775 h 257947"/>
                    <a:gd name="connsiteX40" fmla="*/ 154625 w 195015"/>
                    <a:gd name="connsiteY40" fmla="*/ 141895 h 257947"/>
                    <a:gd name="connsiteX41" fmla="*/ 155171 w 195015"/>
                    <a:gd name="connsiteY41" fmla="*/ 139328 h 257947"/>
                    <a:gd name="connsiteX42" fmla="*/ 155505 w 195015"/>
                    <a:gd name="connsiteY42" fmla="*/ 136467 h 257947"/>
                    <a:gd name="connsiteX43" fmla="*/ 153639 w 195015"/>
                    <a:gd name="connsiteY43" fmla="*/ 136769 h 257947"/>
                    <a:gd name="connsiteX44" fmla="*/ 151993 w 195015"/>
                    <a:gd name="connsiteY44" fmla="*/ 137364 h 257947"/>
                    <a:gd name="connsiteX45" fmla="*/ 148121 w 195015"/>
                    <a:gd name="connsiteY45" fmla="*/ 144372 h 257947"/>
                    <a:gd name="connsiteX46" fmla="*/ 146002 w 195015"/>
                    <a:gd name="connsiteY46" fmla="*/ 147445 h 257947"/>
                    <a:gd name="connsiteX47" fmla="*/ 145554 w 195015"/>
                    <a:gd name="connsiteY47" fmla="*/ 151349 h 257947"/>
                    <a:gd name="connsiteX48" fmla="*/ 144527 w 195015"/>
                    <a:gd name="connsiteY48" fmla="*/ 156385 h 257947"/>
                    <a:gd name="connsiteX49" fmla="*/ 143003 w 195015"/>
                    <a:gd name="connsiteY49" fmla="*/ 161014 h 257947"/>
                    <a:gd name="connsiteX50" fmla="*/ 142335 w 195015"/>
                    <a:gd name="connsiteY50" fmla="*/ 164902 h 257947"/>
                    <a:gd name="connsiteX51" fmla="*/ 142360 w 195015"/>
                    <a:gd name="connsiteY51" fmla="*/ 167110 h 257947"/>
                    <a:gd name="connsiteX52" fmla="*/ 143500 w 195015"/>
                    <a:gd name="connsiteY52" fmla="*/ 172497 h 257947"/>
                    <a:gd name="connsiteX53" fmla="*/ 143574 w 195015"/>
                    <a:gd name="connsiteY53" fmla="*/ 178006 h 257947"/>
                    <a:gd name="connsiteX54" fmla="*/ 144234 w 195015"/>
                    <a:gd name="connsiteY54" fmla="*/ 181315 h 257947"/>
                    <a:gd name="connsiteX55" fmla="*/ 144756 w 195015"/>
                    <a:gd name="connsiteY55" fmla="*/ 185284 h 257947"/>
                    <a:gd name="connsiteX56" fmla="*/ 142930 w 195015"/>
                    <a:gd name="connsiteY56" fmla="*/ 186506 h 257947"/>
                    <a:gd name="connsiteX57" fmla="*/ 141390 w 195015"/>
                    <a:gd name="connsiteY57" fmla="*/ 187101 h 257947"/>
                    <a:gd name="connsiteX58" fmla="*/ 135245 w 195015"/>
                    <a:gd name="connsiteY58" fmla="*/ 187533 h 257947"/>
                    <a:gd name="connsiteX59" fmla="*/ 129002 w 195015"/>
                    <a:gd name="connsiteY59" fmla="*/ 188805 h 257947"/>
                    <a:gd name="connsiteX60" fmla="*/ 123558 w 195015"/>
                    <a:gd name="connsiteY60" fmla="*/ 191103 h 257947"/>
                    <a:gd name="connsiteX61" fmla="*/ 120307 w 195015"/>
                    <a:gd name="connsiteY61" fmla="*/ 193393 h 257947"/>
                    <a:gd name="connsiteX62" fmla="*/ 116069 w 195015"/>
                    <a:gd name="connsiteY62" fmla="*/ 198495 h 257947"/>
                    <a:gd name="connsiteX63" fmla="*/ 113485 w 195015"/>
                    <a:gd name="connsiteY63" fmla="*/ 211445 h 257947"/>
                    <a:gd name="connsiteX64" fmla="*/ 109328 w 195015"/>
                    <a:gd name="connsiteY64" fmla="*/ 216905 h 257947"/>
                    <a:gd name="connsiteX65" fmla="*/ 106525 w 195015"/>
                    <a:gd name="connsiteY65" fmla="*/ 218046 h 257947"/>
                    <a:gd name="connsiteX66" fmla="*/ 99761 w 195015"/>
                    <a:gd name="connsiteY66" fmla="*/ 218519 h 257947"/>
                    <a:gd name="connsiteX67" fmla="*/ 90242 w 195015"/>
                    <a:gd name="connsiteY67" fmla="*/ 220035 h 257947"/>
                    <a:gd name="connsiteX68" fmla="*/ 86901 w 195015"/>
                    <a:gd name="connsiteY68" fmla="*/ 221347 h 257947"/>
                    <a:gd name="connsiteX69" fmla="*/ 81351 w 195015"/>
                    <a:gd name="connsiteY69" fmla="*/ 229252 h 257947"/>
                    <a:gd name="connsiteX70" fmla="*/ 80919 w 195015"/>
                    <a:gd name="connsiteY70" fmla="*/ 231729 h 257947"/>
                    <a:gd name="connsiteX71" fmla="*/ 81994 w 195015"/>
                    <a:gd name="connsiteY71" fmla="*/ 233522 h 257947"/>
                    <a:gd name="connsiteX72" fmla="*/ 82345 w 195015"/>
                    <a:gd name="connsiteY72" fmla="*/ 235503 h 257947"/>
                    <a:gd name="connsiteX73" fmla="*/ 81840 w 195015"/>
                    <a:gd name="connsiteY73" fmla="*/ 237369 h 257947"/>
                    <a:gd name="connsiteX74" fmla="*/ 79321 w 195015"/>
                    <a:gd name="connsiteY74" fmla="*/ 242373 h 257947"/>
                    <a:gd name="connsiteX75" fmla="*/ 76599 w 195015"/>
                    <a:gd name="connsiteY75" fmla="*/ 246000 h 257947"/>
                    <a:gd name="connsiteX76" fmla="*/ 69346 w 195015"/>
                    <a:gd name="connsiteY76" fmla="*/ 248273 h 257947"/>
                    <a:gd name="connsiteX77" fmla="*/ 66698 w 195015"/>
                    <a:gd name="connsiteY77" fmla="*/ 246921 h 257947"/>
                    <a:gd name="connsiteX78" fmla="*/ 64261 w 195015"/>
                    <a:gd name="connsiteY78" fmla="*/ 246236 h 257947"/>
                    <a:gd name="connsiteX79" fmla="*/ 59558 w 195015"/>
                    <a:gd name="connsiteY79" fmla="*/ 246163 h 257947"/>
                    <a:gd name="connsiteX80" fmla="*/ 51906 w 195015"/>
                    <a:gd name="connsiteY80" fmla="*/ 247018 h 257947"/>
                    <a:gd name="connsiteX81" fmla="*/ 49077 w 195015"/>
                    <a:gd name="connsiteY81" fmla="*/ 249708 h 257947"/>
                    <a:gd name="connsiteX82" fmla="*/ 44636 w 195015"/>
                    <a:gd name="connsiteY82" fmla="*/ 251607 h 257947"/>
                    <a:gd name="connsiteX83" fmla="*/ 40545 w 195015"/>
                    <a:gd name="connsiteY83" fmla="*/ 254532 h 257947"/>
                    <a:gd name="connsiteX84" fmla="*/ 32794 w 195015"/>
                    <a:gd name="connsiteY84" fmla="*/ 255649 h 257947"/>
                    <a:gd name="connsiteX85" fmla="*/ 27530 w 195015"/>
                    <a:gd name="connsiteY85" fmla="*/ 257947 h 257947"/>
                    <a:gd name="connsiteX86" fmla="*/ 26022 w 195015"/>
                    <a:gd name="connsiteY86" fmla="*/ 253913 h 257947"/>
                    <a:gd name="connsiteX87" fmla="*/ 24514 w 195015"/>
                    <a:gd name="connsiteY87" fmla="*/ 249879 h 257947"/>
                    <a:gd name="connsiteX88" fmla="*/ 23007 w 195015"/>
                    <a:gd name="connsiteY88" fmla="*/ 245845 h 257947"/>
                    <a:gd name="connsiteX89" fmla="*/ 21499 w 195015"/>
                    <a:gd name="connsiteY89" fmla="*/ 241802 h 257947"/>
                    <a:gd name="connsiteX90" fmla="*/ 20447 w 195015"/>
                    <a:gd name="connsiteY90" fmla="*/ 238983 h 257947"/>
                    <a:gd name="connsiteX91" fmla="*/ 18671 w 195015"/>
                    <a:gd name="connsiteY91" fmla="*/ 237980 h 257947"/>
                    <a:gd name="connsiteX92" fmla="*/ 17595 w 195015"/>
                    <a:gd name="connsiteY92" fmla="*/ 234997 h 257947"/>
                    <a:gd name="connsiteX93" fmla="*/ 16495 w 195015"/>
                    <a:gd name="connsiteY93" fmla="*/ 231933 h 257947"/>
                    <a:gd name="connsiteX94" fmla="*/ 15395 w 195015"/>
                    <a:gd name="connsiteY94" fmla="*/ 228877 h 257947"/>
                    <a:gd name="connsiteX95" fmla="*/ 14303 w 195015"/>
                    <a:gd name="connsiteY95" fmla="*/ 225813 h 257947"/>
                    <a:gd name="connsiteX96" fmla="*/ 13203 w 195015"/>
                    <a:gd name="connsiteY96" fmla="*/ 222748 h 257947"/>
                    <a:gd name="connsiteX97" fmla="*/ 12094 w 195015"/>
                    <a:gd name="connsiteY97" fmla="*/ 219684 h 257947"/>
                    <a:gd name="connsiteX98" fmla="*/ 10994 w 195015"/>
                    <a:gd name="connsiteY98" fmla="*/ 216620 h 257947"/>
                    <a:gd name="connsiteX99" fmla="*/ 9902 w 195015"/>
                    <a:gd name="connsiteY99" fmla="*/ 213564 h 257947"/>
                    <a:gd name="connsiteX100" fmla="*/ 8802 w 195015"/>
                    <a:gd name="connsiteY100" fmla="*/ 210491 h 257947"/>
                    <a:gd name="connsiteX101" fmla="*/ 7702 w 195015"/>
                    <a:gd name="connsiteY101" fmla="*/ 207427 h 257947"/>
                    <a:gd name="connsiteX102" fmla="*/ 6601 w 195015"/>
                    <a:gd name="connsiteY102" fmla="*/ 204363 h 257947"/>
                    <a:gd name="connsiteX103" fmla="*/ 5501 w 195015"/>
                    <a:gd name="connsiteY103" fmla="*/ 201298 h 257947"/>
                    <a:gd name="connsiteX104" fmla="*/ 4401 w 195015"/>
                    <a:gd name="connsiteY104" fmla="*/ 198234 h 257947"/>
                    <a:gd name="connsiteX105" fmla="*/ 3292 w 195015"/>
                    <a:gd name="connsiteY105" fmla="*/ 195162 h 257947"/>
                    <a:gd name="connsiteX106" fmla="*/ 2209 w 195015"/>
                    <a:gd name="connsiteY106" fmla="*/ 192089 h 257947"/>
                    <a:gd name="connsiteX107" fmla="*/ 1108 w 195015"/>
                    <a:gd name="connsiteY107" fmla="*/ 189017 h 257947"/>
                    <a:gd name="connsiteX108" fmla="*/ 0 w 195015"/>
                    <a:gd name="connsiteY108" fmla="*/ 185944 h 257947"/>
                    <a:gd name="connsiteX109" fmla="*/ 3496 w 195015"/>
                    <a:gd name="connsiteY109" fmla="*/ 184494 h 257947"/>
                    <a:gd name="connsiteX110" fmla="*/ 7759 w 195015"/>
                    <a:gd name="connsiteY110" fmla="*/ 182733 h 257947"/>
                    <a:gd name="connsiteX111" fmla="*/ 12029 w 195015"/>
                    <a:gd name="connsiteY111" fmla="*/ 180973 h 257947"/>
                    <a:gd name="connsiteX112" fmla="*/ 16292 w 195015"/>
                    <a:gd name="connsiteY112" fmla="*/ 179204 h 257947"/>
                    <a:gd name="connsiteX113" fmla="*/ 20553 w 195015"/>
                    <a:gd name="connsiteY113" fmla="*/ 177444 h 257947"/>
                    <a:gd name="connsiteX114" fmla="*/ 24808 w 195015"/>
                    <a:gd name="connsiteY114" fmla="*/ 175676 h 257947"/>
                    <a:gd name="connsiteX115" fmla="*/ 29070 w 195015"/>
                    <a:gd name="connsiteY115" fmla="*/ 173907 h 257947"/>
                    <a:gd name="connsiteX116" fmla="*/ 33349 w 195015"/>
                    <a:gd name="connsiteY116" fmla="*/ 172138 h 257947"/>
                    <a:gd name="connsiteX117" fmla="*/ 37603 w 195015"/>
                    <a:gd name="connsiteY117" fmla="*/ 170378 h 257947"/>
                    <a:gd name="connsiteX118" fmla="*/ 41865 w 195015"/>
                    <a:gd name="connsiteY118" fmla="*/ 168602 h 257947"/>
                    <a:gd name="connsiteX119" fmla="*/ 46127 w 195015"/>
                    <a:gd name="connsiteY119" fmla="*/ 166833 h 257947"/>
                    <a:gd name="connsiteX120" fmla="*/ 50390 w 195015"/>
                    <a:gd name="connsiteY120" fmla="*/ 165065 h 257947"/>
                    <a:gd name="connsiteX121" fmla="*/ 54660 w 195015"/>
                    <a:gd name="connsiteY121" fmla="*/ 163304 h 257947"/>
                    <a:gd name="connsiteX122" fmla="*/ 58922 w 195015"/>
                    <a:gd name="connsiteY122" fmla="*/ 161536 h 257947"/>
                    <a:gd name="connsiteX123" fmla="*/ 63185 w 195015"/>
                    <a:gd name="connsiteY123" fmla="*/ 159759 h 257947"/>
                    <a:gd name="connsiteX124" fmla="*/ 67447 w 195015"/>
                    <a:gd name="connsiteY124" fmla="*/ 157991 h 257947"/>
                    <a:gd name="connsiteX125" fmla="*/ 71710 w 195015"/>
                    <a:gd name="connsiteY125" fmla="*/ 156222 h 257947"/>
                    <a:gd name="connsiteX126" fmla="*/ 74342 w 195015"/>
                    <a:gd name="connsiteY126" fmla="*/ 155130 h 257947"/>
                    <a:gd name="connsiteX127" fmla="*/ 75442 w 195015"/>
                    <a:gd name="connsiteY127" fmla="*/ 151015 h 257947"/>
                    <a:gd name="connsiteX128" fmla="*/ 76347 w 195015"/>
                    <a:gd name="connsiteY128" fmla="*/ 147592 h 257947"/>
                    <a:gd name="connsiteX129" fmla="*/ 77259 w 195015"/>
                    <a:gd name="connsiteY129" fmla="*/ 144177 h 257947"/>
                    <a:gd name="connsiteX130" fmla="*/ 78156 w 195015"/>
                    <a:gd name="connsiteY130" fmla="*/ 140754 h 257947"/>
                    <a:gd name="connsiteX131" fmla="*/ 79069 w 195015"/>
                    <a:gd name="connsiteY131" fmla="*/ 137331 h 257947"/>
                    <a:gd name="connsiteX132" fmla="*/ 79965 w 195015"/>
                    <a:gd name="connsiteY132" fmla="*/ 133908 h 257947"/>
                    <a:gd name="connsiteX133" fmla="*/ 80878 w 195015"/>
                    <a:gd name="connsiteY133" fmla="*/ 130485 h 257947"/>
                    <a:gd name="connsiteX134" fmla="*/ 81774 w 195015"/>
                    <a:gd name="connsiteY134" fmla="*/ 127063 h 257947"/>
                    <a:gd name="connsiteX135" fmla="*/ 82687 w 195015"/>
                    <a:gd name="connsiteY135" fmla="*/ 123640 h 257947"/>
                    <a:gd name="connsiteX136" fmla="*/ 83592 w 195015"/>
                    <a:gd name="connsiteY136" fmla="*/ 120209 h 257947"/>
                    <a:gd name="connsiteX137" fmla="*/ 84496 w 195015"/>
                    <a:gd name="connsiteY137" fmla="*/ 116777 h 257947"/>
                    <a:gd name="connsiteX138" fmla="*/ 85401 w 195015"/>
                    <a:gd name="connsiteY138" fmla="*/ 113355 h 257947"/>
                    <a:gd name="connsiteX139" fmla="*/ 86305 w 195015"/>
                    <a:gd name="connsiteY139" fmla="*/ 109923 h 257947"/>
                    <a:gd name="connsiteX140" fmla="*/ 87210 w 195015"/>
                    <a:gd name="connsiteY140" fmla="*/ 106492 h 257947"/>
                    <a:gd name="connsiteX141" fmla="*/ 88115 w 195015"/>
                    <a:gd name="connsiteY141" fmla="*/ 103061 h 257947"/>
                    <a:gd name="connsiteX142" fmla="*/ 89028 w 195015"/>
                    <a:gd name="connsiteY142" fmla="*/ 99630 h 257947"/>
                    <a:gd name="connsiteX143" fmla="*/ 89932 w 195015"/>
                    <a:gd name="connsiteY143" fmla="*/ 96191 h 257947"/>
                    <a:gd name="connsiteX144" fmla="*/ 90772 w 195015"/>
                    <a:gd name="connsiteY144" fmla="*/ 93037 h 257947"/>
                    <a:gd name="connsiteX145" fmla="*/ 89199 w 195015"/>
                    <a:gd name="connsiteY145" fmla="*/ 90005 h 257947"/>
                    <a:gd name="connsiteX146" fmla="*/ 87088 w 195015"/>
                    <a:gd name="connsiteY146" fmla="*/ 85931 h 257947"/>
                    <a:gd name="connsiteX147" fmla="*/ 84879 w 195015"/>
                    <a:gd name="connsiteY147" fmla="*/ 81668 h 257947"/>
                    <a:gd name="connsiteX148" fmla="*/ 82801 w 195015"/>
                    <a:gd name="connsiteY148" fmla="*/ 77651 h 257947"/>
                    <a:gd name="connsiteX149" fmla="*/ 81285 w 195015"/>
                    <a:gd name="connsiteY149" fmla="*/ 74725 h 257947"/>
                    <a:gd name="connsiteX150" fmla="*/ 79468 w 195015"/>
                    <a:gd name="connsiteY150" fmla="*/ 71196 h 257947"/>
                    <a:gd name="connsiteX151" fmla="*/ 79672 w 195015"/>
                    <a:gd name="connsiteY151" fmla="*/ 66648 h 257947"/>
                    <a:gd name="connsiteX152" fmla="*/ 79615 w 195015"/>
                    <a:gd name="connsiteY152" fmla="*/ 64383 h 257947"/>
                    <a:gd name="connsiteX153" fmla="*/ 79802 w 195015"/>
                    <a:gd name="connsiteY153" fmla="*/ 60895 h 257947"/>
                    <a:gd name="connsiteX154" fmla="*/ 81555 w 195015"/>
                    <a:gd name="connsiteY154" fmla="*/ 56054 h 257947"/>
                    <a:gd name="connsiteX155" fmla="*/ 83608 w 195015"/>
                    <a:gd name="connsiteY155" fmla="*/ 49892 h 257947"/>
                    <a:gd name="connsiteX156" fmla="*/ 85116 w 195015"/>
                    <a:gd name="connsiteY156" fmla="*/ 45793 h 257947"/>
                    <a:gd name="connsiteX157" fmla="*/ 86420 w 195015"/>
                    <a:gd name="connsiteY157" fmla="*/ 42224 h 257947"/>
                    <a:gd name="connsiteX158" fmla="*/ 87463 w 195015"/>
                    <a:gd name="connsiteY158" fmla="*/ 39355 h 257947"/>
                    <a:gd name="connsiteX159" fmla="*/ 88041 w 195015"/>
                    <a:gd name="connsiteY159" fmla="*/ 36405 h 257947"/>
                    <a:gd name="connsiteX160" fmla="*/ 87732 w 195015"/>
                    <a:gd name="connsiteY160" fmla="*/ 34326 h 257947"/>
                    <a:gd name="connsiteX161" fmla="*/ 87047 w 195015"/>
                    <a:gd name="connsiteY161" fmla="*/ 33569 h 257947"/>
                    <a:gd name="connsiteX162" fmla="*/ 86477 w 195015"/>
                    <a:gd name="connsiteY162" fmla="*/ 32583 h 257947"/>
                    <a:gd name="connsiteX163" fmla="*/ 88449 w 195015"/>
                    <a:gd name="connsiteY163" fmla="*/ 31010 h 257947"/>
                    <a:gd name="connsiteX164" fmla="*/ 92133 w 195015"/>
                    <a:gd name="connsiteY164" fmla="*/ 29983 h 257947"/>
                    <a:gd name="connsiteX165" fmla="*/ 94178 w 195015"/>
                    <a:gd name="connsiteY165" fmla="*/ 30203 h 257947"/>
                    <a:gd name="connsiteX166" fmla="*/ 97031 w 195015"/>
                    <a:gd name="connsiteY166" fmla="*/ 29437 h 257947"/>
                    <a:gd name="connsiteX167" fmla="*/ 99288 w 195015"/>
                    <a:gd name="connsiteY167" fmla="*/ 28752 h 257947"/>
                    <a:gd name="connsiteX168" fmla="*/ 99459 w 195015"/>
                    <a:gd name="connsiteY168" fmla="*/ 27823 h 257947"/>
                    <a:gd name="connsiteX169" fmla="*/ 98816 w 195015"/>
                    <a:gd name="connsiteY169" fmla="*/ 26275 h 257947"/>
                    <a:gd name="connsiteX170" fmla="*/ 97886 w 195015"/>
                    <a:gd name="connsiteY170" fmla="*/ 24009 h 257947"/>
                    <a:gd name="connsiteX171" fmla="*/ 94683 w 195015"/>
                    <a:gd name="connsiteY171" fmla="*/ 23773 h 257947"/>
                    <a:gd name="connsiteX172" fmla="*/ 93722 w 195015"/>
                    <a:gd name="connsiteY172" fmla="*/ 23145 h 257947"/>
                    <a:gd name="connsiteX173" fmla="*/ 94839 w 195015"/>
                    <a:gd name="connsiteY173" fmla="*/ 19787 h 257947"/>
                    <a:gd name="connsiteX174" fmla="*/ 94789 w 195015"/>
                    <a:gd name="connsiteY174" fmla="*/ 18728 h 257947"/>
                    <a:gd name="connsiteX175" fmla="*/ 94366 w 195015"/>
                    <a:gd name="connsiteY175" fmla="*/ 17473 h 257947"/>
                    <a:gd name="connsiteX176" fmla="*/ 93901 w 195015"/>
                    <a:gd name="connsiteY176" fmla="*/ 15370 h 257947"/>
                    <a:gd name="connsiteX177" fmla="*/ 94129 w 195015"/>
                    <a:gd name="connsiteY177" fmla="*/ 12648 h 257947"/>
                    <a:gd name="connsiteX178" fmla="*/ 94781 w 195015"/>
                    <a:gd name="connsiteY178" fmla="*/ 10798 h 257947"/>
                    <a:gd name="connsiteX179" fmla="*/ 94789 w 195015"/>
                    <a:gd name="connsiteY179" fmla="*/ 9315 h 257947"/>
                    <a:gd name="connsiteX180" fmla="*/ 94472 w 195015"/>
                    <a:gd name="connsiteY180" fmla="*/ 6251 h 257947"/>
                    <a:gd name="connsiteX181" fmla="*/ 94586 w 195015"/>
                    <a:gd name="connsiteY181" fmla="*/ 3529 h 257947"/>
                    <a:gd name="connsiteX182" fmla="*/ 95262 w 195015"/>
                    <a:gd name="connsiteY182" fmla="*/ 2168 h 257947"/>
                    <a:gd name="connsiteX183" fmla="*/ 96444 w 195015"/>
                    <a:gd name="connsiteY183" fmla="*/ 905 h 257947"/>
                    <a:gd name="connsiteX184" fmla="*/ 97568 w 195015"/>
                    <a:gd name="connsiteY184" fmla="*/ 269 h 257947"/>
                    <a:gd name="connsiteX185" fmla="*/ 98742 w 195015"/>
                    <a:gd name="connsiteY185" fmla="*/ 310 h 257947"/>
                    <a:gd name="connsiteX186" fmla="*/ 99671 w 195015"/>
                    <a:gd name="connsiteY186" fmla="*/ 848 h 257947"/>
                    <a:gd name="connsiteX187" fmla="*/ 100078 w 195015"/>
                    <a:gd name="connsiteY187" fmla="*/ 2274 h 257947"/>
                    <a:gd name="connsiteX188" fmla="*/ 99810 w 195015"/>
                    <a:gd name="connsiteY188" fmla="*/ 3260 h 257947"/>
                    <a:gd name="connsiteX189" fmla="*/ 99150 w 195015"/>
                    <a:gd name="connsiteY189" fmla="*/ 3390 h 257947"/>
                    <a:gd name="connsiteX190" fmla="*/ 98938 w 195015"/>
                    <a:gd name="connsiteY190" fmla="*/ 3806 h 257947"/>
                    <a:gd name="connsiteX191" fmla="*/ 99867 w 195015"/>
                    <a:gd name="connsiteY191" fmla="*/ 5713 h 257947"/>
                    <a:gd name="connsiteX192" fmla="*/ 101244 w 195015"/>
                    <a:gd name="connsiteY192" fmla="*/ 7571 h 257947"/>
                    <a:gd name="connsiteX193" fmla="*/ 102312 w 195015"/>
                    <a:gd name="connsiteY193" fmla="*/ 7261 h 257947"/>
                    <a:gd name="connsiteX194" fmla="*/ 103502 w 195015"/>
                    <a:gd name="connsiteY194" fmla="*/ 5786 h 257947"/>
                    <a:gd name="connsiteX195" fmla="*/ 104740 w 195015"/>
                    <a:gd name="connsiteY195" fmla="*/ 4605 h 257947"/>
                    <a:gd name="connsiteX196" fmla="*/ 106305 w 195015"/>
                    <a:gd name="connsiteY196" fmla="*/ 3553 h 257947"/>
                    <a:gd name="connsiteX197" fmla="*/ 107438 w 195015"/>
                    <a:gd name="connsiteY197" fmla="*/ 1524 h 257947"/>
                    <a:gd name="connsiteX198" fmla="*/ 108416 w 195015"/>
                    <a:gd name="connsiteY198" fmla="*/ 204 h 257947"/>
                    <a:gd name="connsiteX199" fmla="*/ 109467 w 195015"/>
                    <a:gd name="connsiteY199" fmla="*/ 0 h 257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95015" h="257947">
                      <a:moveTo>
                        <a:pt x="109467" y="0"/>
                      </a:moveTo>
                      <a:lnTo>
                        <a:pt x="111994" y="8256"/>
                      </a:lnTo>
                      <a:lnTo>
                        <a:pt x="115726" y="15973"/>
                      </a:lnTo>
                      <a:lnTo>
                        <a:pt x="119043" y="20228"/>
                      </a:lnTo>
                      <a:lnTo>
                        <a:pt x="122474" y="25998"/>
                      </a:lnTo>
                      <a:lnTo>
                        <a:pt x="127698" y="31303"/>
                      </a:lnTo>
                      <a:lnTo>
                        <a:pt x="130102" y="33112"/>
                      </a:lnTo>
                      <a:lnTo>
                        <a:pt x="139800" y="36845"/>
                      </a:lnTo>
                      <a:lnTo>
                        <a:pt x="145098" y="38230"/>
                      </a:lnTo>
                      <a:lnTo>
                        <a:pt x="152424" y="39567"/>
                      </a:lnTo>
                      <a:lnTo>
                        <a:pt x="157494" y="42460"/>
                      </a:lnTo>
                      <a:lnTo>
                        <a:pt x="159189" y="42639"/>
                      </a:lnTo>
                      <a:lnTo>
                        <a:pt x="161837" y="41784"/>
                      </a:lnTo>
                      <a:lnTo>
                        <a:pt x="163777" y="41857"/>
                      </a:lnTo>
                      <a:lnTo>
                        <a:pt x="168610" y="45801"/>
                      </a:lnTo>
                      <a:lnTo>
                        <a:pt x="170036" y="49534"/>
                      </a:lnTo>
                      <a:lnTo>
                        <a:pt x="172041" y="51506"/>
                      </a:lnTo>
                      <a:lnTo>
                        <a:pt x="173834" y="54611"/>
                      </a:lnTo>
                      <a:lnTo>
                        <a:pt x="174991" y="57855"/>
                      </a:lnTo>
                      <a:lnTo>
                        <a:pt x="179074" y="62802"/>
                      </a:lnTo>
                      <a:lnTo>
                        <a:pt x="181959" y="68368"/>
                      </a:lnTo>
                      <a:lnTo>
                        <a:pt x="184885" y="72492"/>
                      </a:lnTo>
                      <a:lnTo>
                        <a:pt x="187509" y="75051"/>
                      </a:lnTo>
                      <a:lnTo>
                        <a:pt x="191486" y="76061"/>
                      </a:lnTo>
                      <a:lnTo>
                        <a:pt x="194656" y="77219"/>
                      </a:lnTo>
                      <a:lnTo>
                        <a:pt x="195015" y="79973"/>
                      </a:lnTo>
                      <a:lnTo>
                        <a:pt x="194689" y="83559"/>
                      </a:lnTo>
                      <a:lnTo>
                        <a:pt x="194078" y="86208"/>
                      </a:lnTo>
                      <a:lnTo>
                        <a:pt x="191128" y="91367"/>
                      </a:lnTo>
                      <a:lnTo>
                        <a:pt x="190418" y="94553"/>
                      </a:lnTo>
                      <a:lnTo>
                        <a:pt x="187085" y="99810"/>
                      </a:lnTo>
                      <a:lnTo>
                        <a:pt x="183459" y="108611"/>
                      </a:lnTo>
                      <a:lnTo>
                        <a:pt x="181804" y="110576"/>
                      </a:lnTo>
                      <a:lnTo>
                        <a:pt x="175944" y="115115"/>
                      </a:lnTo>
                      <a:lnTo>
                        <a:pt x="171666" y="120575"/>
                      </a:lnTo>
                      <a:lnTo>
                        <a:pt x="166573" y="130037"/>
                      </a:lnTo>
                      <a:lnTo>
                        <a:pt x="162693" y="139417"/>
                      </a:lnTo>
                      <a:lnTo>
                        <a:pt x="161201" y="142416"/>
                      </a:lnTo>
                      <a:lnTo>
                        <a:pt x="158080" y="143036"/>
                      </a:lnTo>
                      <a:lnTo>
                        <a:pt x="156035" y="142775"/>
                      </a:lnTo>
                      <a:lnTo>
                        <a:pt x="154625" y="141895"/>
                      </a:lnTo>
                      <a:lnTo>
                        <a:pt x="155171" y="139328"/>
                      </a:lnTo>
                      <a:lnTo>
                        <a:pt x="155505" y="136467"/>
                      </a:lnTo>
                      <a:lnTo>
                        <a:pt x="153639" y="136769"/>
                      </a:lnTo>
                      <a:lnTo>
                        <a:pt x="151993" y="137364"/>
                      </a:lnTo>
                      <a:lnTo>
                        <a:pt x="148121" y="144372"/>
                      </a:lnTo>
                      <a:lnTo>
                        <a:pt x="146002" y="147445"/>
                      </a:lnTo>
                      <a:lnTo>
                        <a:pt x="145554" y="151349"/>
                      </a:lnTo>
                      <a:lnTo>
                        <a:pt x="144527" y="156385"/>
                      </a:lnTo>
                      <a:lnTo>
                        <a:pt x="143003" y="161014"/>
                      </a:lnTo>
                      <a:lnTo>
                        <a:pt x="142335" y="164902"/>
                      </a:lnTo>
                      <a:lnTo>
                        <a:pt x="142360" y="167110"/>
                      </a:lnTo>
                      <a:lnTo>
                        <a:pt x="143500" y="172497"/>
                      </a:lnTo>
                      <a:lnTo>
                        <a:pt x="143574" y="178006"/>
                      </a:lnTo>
                      <a:lnTo>
                        <a:pt x="144234" y="181315"/>
                      </a:lnTo>
                      <a:lnTo>
                        <a:pt x="144756" y="185284"/>
                      </a:lnTo>
                      <a:lnTo>
                        <a:pt x="142930" y="186506"/>
                      </a:lnTo>
                      <a:lnTo>
                        <a:pt x="141390" y="187101"/>
                      </a:lnTo>
                      <a:lnTo>
                        <a:pt x="135245" y="187533"/>
                      </a:lnTo>
                      <a:lnTo>
                        <a:pt x="129002" y="188805"/>
                      </a:lnTo>
                      <a:lnTo>
                        <a:pt x="123558" y="191103"/>
                      </a:lnTo>
                      <a:lnTo>
                        <a:pt x="120307" y="193393"/>
                      </a:lnTo>
                      <a:lnTo>
                        <a:pt x="116069" y="198495"/>
                      </a:lnTo>
                      <a:lnTo>
                        <a:pt x="113485" y="211445"/>
                      </a:lnTo>
                      <a:lnTo>
                        <a:pt x="109328" y="216905"/>
                      </a:lnTo>
                      <a:lnTo>
                        <a:pt x="106525" y="218046"/>
                      </a:lnTo>
                      <a:lnTo>
                        <a:pt x="99761" y="218519"/>
                      </a:lnTo>
                      <a:lnTo>
                        <a:pt x="90242" y="220035"/>
                      </a:lnTo>
                      <a:lnTo>
                        <a:pt x="86901" y="221347"/>
                      </a:lnTo>
                      <a:lnTo>
                        <a:pt x="81351" y="229252"/>
                      </a:lnTo>
                      <a:lnTo>
                        <a:pt x="80919" y="231729"/>
                      </a:lnTo>
                      <a:lnTo>
                        <a:pt x="81994" y="233522"/>
                      </a:lnTo>
                      <a:lnTo>
                        <a:pt x="82345" y="235503"/>
                      </a:lnTo>
                      <a:lnTo>
                        <a:pt x="81840" y="237369"/>
                      </a:lnTo>
                      <a:lnTo>
                        <a:pt x="79321" y="242373"/>
                      </a:lnTo>
                      <a:lnTo>
                        <a:pt x="76599" y="246000"/>
                      </a:lnTo>
                      <a:lnTo>
                        <a:pt x="69346" y="248273"/>
                      </a:lnTo>
                      <a:lnTo>
                        <a:pt x="66698" y="246921"/>
                      </a:lnTo>
                      <a:lnTo>
                        <a:pt x="64261" y="246236"/>
                      </a:lnTo>
                      <a:lnTo>
                        <a:pt x="59558" y="246163"/>
                      </a:lnTo>
                      <a:lnTo>
                        <a:pt x="51906" y="247018"/>
                      </a:lnTo>
                      <a:lnTo>
                        <a:pt x="49077" y="249708"/>
                      </a:lnTo>
                      <a:lnTo>
                        <a:pt x="44636" y="251607"/>
                      </a:lnTo>
                      <a:lnTo>
                        <a:pt x="40545" y="254532"/>
                      </a:lnTo>
                      <a:lnTo>
                        <a:pt x="32794" y="255649"/>
                      </a:lnTo>
                      <a:lnTo>
                        <a:pt x="27530" y="257947"/>
                      </a:lnTo>
                      <a:lnTo>
                        <a:pt x="26022" y="253913"/>
                      </a:lnTo>
                      <a:lnTo>
                        <a:pt x="24514" y="249879"/>
                      </a:lnTo>
                      <a:lnTo>
                        <a:pt x="23007" y="245845"/>
                      </a:lnTo>
                      <a:lnTo>
                        <a:pt x="21499" y="241802"/>
                      </a:lnTo>
                      <a:lnTo>
                        <a:pt x="20447" y="238983"/>
                      </a:lnTo>
                      <a:lnTo>
                        <a:pt x="18671" y="237980"/>
                      </a:lnTo>
                      <a:lnTo>
                        <a:pt x="17595" y="234997"/>
                      </a:lnTo>
                      <a:lnTo>
                        <a:pt x="16495" y="231933"/>
                      </a:lnTo>
                      <a:lnTo>
                        <a:pt x="15395" y="228877"/>
                      </a:lnTo>
                      <a:lnTo>
                        <a:pt x="14303" y="225813"/>
                      </a:lnTo>
                      <a:lnTo>
                        <a:pt x="13203" y="222748"/>
                      </a:lnTo>
                      <a:lnTo>
                        <a:pt x="12094" y="219684"/>
                      </a:lnTo>
                      <a:lnTo>
                        <a:pt x="10994" y="216620"/>
                      </a:lnTo>
                      <a:lnTo>
                        <a:pt x="9902" y="213564"/>
                      </a:lnTo>
                      <a:lnTo>
                        <a:pt x="8802" y="210491"/>
                      </a:lnTo>
                      <a:lnTo>
                        <a:pt x="7702" y="207427"/>
                      </a:lnTo>
                      <a:lnTo>
                        <a:pt x="6601" y="204363"/>
                      </a:lnTo>
                      <a:lnTo>
                        <a:pt x="5501" y="201298"/>
                      </a:lnTo>
                      <a:lnTo>
                        <a:pt x="4401" y="198234"/>
                      </a:lnTo>
                      <a:lnTo>
                        <a:pt x="3292" y="195162"/>
                      </a:lnTo>
                      <a:lnTo>
                        <a:pt x="2209" y="192089"/>
                      </a:lnTo>
                      <a:lnTo>
                        <a:pt x="1108" y="189017"/>
                      </a:lnTo>
                      <a:lnTo>
                        <a:pt x="0" y="185944"/>
                      </a:lnTo>
                      <a:lnTo>
                        <a:pt x="3496" y="184494"/>
                      </a:lnTo>
                      <a:lnTo>
                        <a:pt x="7759" y="182733"/>
                      </a:lnTo>
                      <a:lnTo>
                        <a:pt x="12029" y="180973"/>
                      </a:lnTo>
                      <a:lnTo>
                        <a:pt x="16292" y="179204"/>
                      </a:lnTo>
                      <a:lnTo>
                        <a:pt x="20553" y="177444"/>
                      </a:lnTo>
                      <a:lnTo>
                        <a:pt x="24808" y="175676"/>
                      </a:lnTo>
                      <a:lnTo>
                        <a:pt x="29070" y="173907"/>
                      </a:lnTo>
                      <a:lnTo>
                        <a:pt x="33349" y="172138"/>
                      </a:lnTo>
                      <a:lnTo>
                        <a:pt x="37603" y="170378"/>
                      </a:lnTo>
                      <a:lnTo>
                        <a:pt x="41865" y="168602"/>
                      </a:lnTo>
                      <a:lnTo>
                        <a:pt x="46127" y="166833"/>
                      </a:lnTo>
                      <a:lnTo>
                        <a:pt x="50390" y="165065"/>
                      </a:lnTo>
                      <a:lnTo>
                        <a:pt x="54660" y="163304"/>
                      </a:lnTo>
                      <a:lnTo>
                        <a:pt x="58922" y="161536"/>
                      </a:lnTo>
                      <a:lnTo>
                        <a:pt x="63185" y="159759"/>
                      </a:lnTo>
                      <a:lnTo>
                        <a:pt x="67447" y="157991"/>
                      </a:lnTo>
                      <a:lnTo>
                        <a:pt x="71710" y="156222"/>
                      </a:lnTo>
                      <a:lnTo>
                        <a:pt x="74342" y="155130"/>
                      </a:lnTo>
                      <a:lnTo>
                        <a:pt x="75442" y="151015"/>
                      </a:lnTo>
                      <a:lnTo>
                        <a:pt x="76347" y="147592"/>
                      </a:lnTo>
                      <a:lnTo>
                        <a:pt x="77259" y="144177"/>
                      </a:lnTo>
                      <a:lnTo>
                        <a:pt x="78156" y="140754"/>
                      </a:lnTo>
                      <a:lnTo>
                        <a:pt x="79069" y="137331"/>
                      </a:lnTo>
                      <a:lnTo>
                        <a:pt x="79965" y="133908"/>
                      </a:lnTo>
                      <a:lnTo>
                        <a:pt x="80878" y="130485"/>
                      </a:lnTo>
                      <a:lnTo>
                        <a:pt x="81774" y="127063"/>
                      </a:lnTo>
                      <a:lnTo>
                        <a:pt x="82687" y="123640"/>
                      </a:lnTo>
                      <a:lnTo>
                        <a:pt x="83592" y="120209"/>
                      </a:lnTo>
                      <a:lnTo>
                        <a:pt x="84496" y="116777"/>
                      </a:lnTo>
                      <a:lnTo>
                        <a:pt x="85401" y="113355"/>
                      </a:lnTo>
                      <a:lnTo>
                        <a:pt x="86305" y="109923"/>
                      </a:lnTo>
                      <a:lnTo>
                        <a:pt x="87210" y="106492"/>
                      </a:lnTo>
                      <a:lnTo>
                        <a:pt x="88115" y="103061"/>
                      </a:lnTo>
                      <a:lnTo>
                        <a:pt x="89028" y="99630"/>
                      </a:lnTo>
                      <a:lnTo>
                        <a:pt x="89932" y="96191"/>
                      </a:lnTo>
                      <a:lnTo>
                        <a:pt x="90772" y="93037"/>
                      </a:lnTo>
                      <a:lnTo>
                        <a:pt x="89199" y="90005"/>
                      </a:lnTo>
                      <a:lnTo>
                        <a:pt x="87088" y="85931"/>
                      </a:lnTo>
                      <a:lnTo>
                        <a:pt x="84879" y="81668"/>
                      </a:lnTo>
                      <a:lnTo>
                        <a:pt x="82801" y="77651"/>
                      </a:lnTo>
                      <a:lnTo>
                        <a:pt x="81285" y="74725"/>
                      </a:lnTo>
                      <a:lnTo>
                        <a:pt x="79468" y="71196"/>
                      </a:lnTo>
                      <a:lnTo>
                        <a:pt x="79672" y="66648"/>
                      </a:lnTo>
                      <a:lnTo>
                        <a:pt x="79615" y="64383"/>
                      </a:lnTo>
                      <a:lnTo>
                        <a:pt x="79802" y="60895"/>
                      </a:lnTo>
                      <a:lnTo>
                        <a:pt x="81555" y="56054"/>
                      </a:lnTo>
                      <a:lnTo>
                        <a:pt x="83608" y="49892"/>
                      </a:lnTo>
                      <a:lnTo>
                        <a:pt x="85116" y="45793"/>
                      </a:lnTo>
                      <a:lnTo>
                        <a:pt x="86420" y="42224"/>
                      </a:lnTo>
                      <a:lnTo>
                        <a:pt x="87463" y="39355"/>
                      </a:lnTo>
                      <a:lnTo>
                        <a:pt x="88041" y="36405"/>
                      </a:lnTo>
                      <a:lnTo>
                        <a:pt x="87732" y="34326"/>
                      </a:lnTo>
                      <a:lnTo>
                        <a:pt x="87047" y="33569"/>
                      </a:lnTo>
                      <a:lnTo>
                        <a:pt x="86477" y="32583"/>
                      </a:lnTo>
                      <a:lnTo>
                        <a:pt x="88449" y="31010"/>
                      </a:lnTo>
                      <a:lnTo>
                        <a:pt x="92133" y="29983"/>
                      </a:lnTo>
                      <a:lnTo>
                        <a:pt x="94178" y="30203"/>
                      </a:lnTo>
                      <a:lnTo>
                        <a:pt x="97031" y="29437"/>
                      </a:lnTo>
                      <a:lnTo>
                        <a:pt x="99288" y="28752"/>
                      </a:lnTo>
                      <a:lnTo>
                        <a:pt x="99459" y="27823"/>
                      </a:lnTo>
                      <a:lnTo>
                        <a:pt x="98816" y="26275"/>
                      </a:lnTo>
                      <a:lnTo>
                        <a:pt x="97886" y="24009"/>
                      </a:lnTo>
                      <a:lnTo>
                        <a:pt x="94683" y="23773"/>
                      </a:lnTo>
                      <a:lnTo>
                        <a:pt x="93722" y="23145"/>
                      </a:lnTo>
                      <a:lnTo>
                        <a:pt x="94839" y="19787"/>
                      </a:lnTo>
                      <a:lnTo>
                        <a:pt x="94789" y="18728"/>
                      </a:lnTo>
                      <a:lnTo>
                        <a:pt x="94366" y="17473"/>
                      </a:lnTo>
                      <a:lnTo>
                        <a:pt x="93901" y="15370"/>
                      </a:lnTo>
                      <a:lnTo>
                        <a:pt x="94129" y="12648"/>
                      </a:lnTo>
                      <a:lnTo>
                        <a:pt x="94781" y="10798"/>
                      </a:lnTo>
                      <a:lnTo>
                        <a:pt x="94789" y="9315"/>
                      </a:lnTo>
                      <a:lnTo>
                        <a:pt x="94472" y="6251"/>
                      </a:lnTo>
                      <a:lnTo>
                        <a:pt x="94586" y="3529"/>
                      </a:lnTo>
                      <a:lnTo>
                        <a:pt x="95262" y="2168"/>
                      </a:lnTo>
                      <a:lnTo>
                        <a:pt x="96444" y="905"/>
                      </a:lnTo>
                      <a:lnTo>
                        <a:pt x="97568" y="269"/>
                      </a:lnTo>
                      <a:lnTo>
                        <a:pt x="98742" y="310"/>
                      </a:lnTo>
                      <a:lnTo>
                        <a:pt x="99671" y="848"/>
                      </a:lnTo>
                      <a:lnTo>
                        <a:pt x="100078" y="2274"/>
                      </a:lnTo>
                      <a:lnTo>
                        <a:pt x="99810" y="3260"/>
                      </a:lnTo>
                      <a:lnTo>
                        <a:pt x="99150" y="3390"/>
                      </a:lnTo>
                      <a:lnTo>
                        <a:pt x="98938" y="3806"/>
                      </a:lnTo>
                      <a:lnTo>
                        <a:pt x="99867" y="5713"/>
                      </a:lnTo>
                      <a:lnTo>
                        <a:pt x="101244" y="7571"/>
                      </a:lnTo>
                      <a:lnTo>
                        <a:pt x="102312" y="7261"/>
                      </a:lnTo>
                      <a:lnTo>
                        <a:pt x="103502" y="5786"/>
                      </a:lnTo>
                      <a:lnTo>
                        <a:pt x="104740" y="4605"/>
                      </a:lnTo>
                      <a:lnTo>
                        <a:pt x="106305" y="3553"/>
                      </a:lnTo>
                      <a:lnTo>
                        <a:pt x="107438" y="1524"/>
                      </a:lnTo>
                      <a:lnTo>
                        <a:pt x="108416" y="204"/>
                      </a:lnTo>
                      <a:lnTo>
                        <a:pt x="109467" y="0"/>
                      </a:lnTo>
                      <a:close/>
                    </a:path>
                  </a:pathLst>
                </a:custGeom>
                <a:solidFill>
                  <a:srgbClr val="D6D6D2"/>
                </a:solidFill>
                <a:ln w="6112" cap="rnd">
                  <a:solidFill>
                    <a:srgbClr val="FFFFFF"/>
                  </a:solidFill>
                  <a:prstDash val="solid"/>
                  <a:round/>
                </a:ln>
              </p:spPr>
              <p:txBody>
                <a:bodyPr rtlCol="0" anchor="ctr"/>
                <a:lstStyle/>
                <a:p>
                  <a:endParaRPr lang="en-US"/>
                </a:p>
              </p:txBody>
            </p:sp>
            <p:sp>
              <p:nvSpPr>
                <p:cNvPr id="653" name="Freeform: Shape 652">
                  <a:extLst>
                    <a:ext uri="{FF2B5EF4-FFF2-40B4-BE49-F238E27FC236}">
                      <a16:creationId xmlns:a16="http://schemas.microsoft.com/office/drawing/2014/main" id="{88B7B790-6CD0-41DF-A060-EA4420B6F134}"/>
                    </a:ext>
                  </a:extLst>
                </p:cNvPr>
                <p:cNvSpPr/>
                <p:nvPr/>
              </p:nvSpPr>
              <p:spPr>
                <a:xfrm>
                  <a:off x="10072719" y="5587450"/>
                  <a:ext cx="299021" cy="438186"/>
                </a:xfrm>
                <a:custGeom>
                  <a:avLst/>
                  <a:gdLst>
                    <a:gd name="connsiteX0" fmla="*/ 41286 w 299021"/>
                    <a:gd name="connsiteY0" fmla="*/ 423884 h 438186"/>
                    <a:gd name="connsiteX1" fmla="*/ 41295 w 299021"/>
                    <a:gd name="connsiteY1" fmla="*/ 425310 h 438186"/>
                    <a:gd name="connsiteX2" fmla="*/ 38703 w 299021"/>
                    <a:gd name="connsiteY2" fmla="*/ 424805 h 438186"/>
                    <a:gd name="connsiteX3" fmla="*/ 38768 w 299021"/>
                    <a:gd name="connsiteY3" fmla="*/ 426394 h 438186"/>
                    <a:gd name="connsiteX4" fmla="*/ 40805 w 299021"/>
                    <a:gd name="connsiteY4" fmla="*/ 427233 h 438186"/>
                    <a:gd name="connsiteX5" fmla="*/ 41555 w 299021"/>
                    <a:gd name="connsiteY5" fmla="*/ 428382 h 438186"/>
                    <a:gd name="connsiteX6" fmla="*/ 43682 w 299021"/>
                    <a:gd name="connsiteY6" fmla="*/ 428048 h 438186"/>
                    <a:gd name="connsiteX7" fmla="*/ 44163 w 299021"/>
                    <a:gd name="connsiteY7" fmla="*/ 429768 h 438186"/>
                    <a:gd name="connsiteX8" fmla="*/ 43666 w 299021"/>
                    <a:gd name="connsiteY8" fmla="*/ 431300 h 438186"/>
                    <a:gd name="connsiteX9" fmla="*/ 42256 w 299021"/>
                    <a:gd name="connsiteY9" fmla="*/ 432425 h 438186"/>
                    <a:gd name="connsiteX10" fmla="*/ 38059 w 299021"/>
                    <a:gd name="connsiteY10" fmla="*/ 432995 h 438186"/>
                    <a:gd name="connsiteX11" fmla="*/ 35354 w 299021"/>
                    <a:gd name="connsiteY11" fmla="*/ 435212 h 438186"/>
                    <a:gd name="connsiteX12" fmla="*/ 32998 w 299021"/>
                    <a:gd name="connsiteY12" fmla="*/ 434878 h 438186"/>
                    <a:gd name="connsiteX13" fmla="*/ 32362 w 299021"/>
                    <a:gd name="connsiteY13" fmla="*/ 435074 h 438186"/>
                    <a:gd name="connsiteX14" fmla="*/ 29665 w 299021"/>
                    <a:gd name="connsiteY14" fmla="*/ 437453 h 438186"/>
                    <a:gd name="connsiteX15" fmla="*/ 26658 w 299021"/>
                    <a:gd name="connsiteY15" fmla="*/ 438186 h 438186"/>
                    <a:gd name="connsiteX16" fmla="*/ 25826 w 299021"/>
                    <a:gd name="connsiteY16" fmla="*/ 438015 h 438186"/>
                    <a:gd name="connsiteX17" fmla="*/ 26250 w 299021"/>
                    <a:gd name="connsiteY17" fmla="*/ 435880 h 438186"/>
                    <a:gd name="connsiteX18" fmla="*/ 28483 w 299021"/>
                    <a:gd name="connsiteY18" fmla="*/ 433851 h 438186"/>
                    <a:gd name="connsiteX19" fmla="*/ 28540 w 299021"/>
                    <a:gd name="connsiteY19" fmla="*/ 431919 h 438186"/>
                    <a:gd name="connsiteX20" fmla="*/ 29102 w 299021"/>
                    <a:gd name="connsiteY20" fmla="*/ 430379 h 438186"/>
                    <a:gd name="connsiteX21" fmla="*/ 31262 w 299021"/>
                    <a:gd name="connsiteY21" fmla="*/ 429279 h 438186"/>
                    <a:gd name="connsiteX22" fmla="*/ 31295 w 299021"/>
                    <a:gd name="connsiteY22" fmla="*/ 427258 h 438186"/>
                    <a:gd name="connsiteX23" fmla="*/ 32753 w 299021"/>
                    <a:gd name="connsiteY23" fmla="*/ 425473 h 438186"/>
                    <a:gd name="connsiteX24" fmla="*/ 31874 w 299021"/>
                    <a:gd name="connsiteY24" fmla="*/ 421593 h 438186"/>
                    <a:gd name="connsiteX25" fmla="*/ 32346 w 299021"/>
                    <a:gd name="connsiteY25" fmla="*/ 418122 h 438186"/>
                    <a:gd name="connsiteX26" fmla="*/ 36600 w 299021"/>
                    <a:gd name="connsiteY26" fmla="*/ 417934 h 438186"/>
                    <a:gd name="connsiteX27" fmla="*/ 41286 w 299021"/>
                    <a:gd name="connsiteY27" fmla="*/ 423884 h 438186"/>
                    <a:gd name="connsiteX28" fmla="*/ 164560 w 299021"/>
                    <a:gd name="connsiteY28" fmla="*/ 229301 h 438186"/>
                    <a:gd name="connsiteX29" fmla="*/ 167428 w 299021"/>
                    <a:gd name="connsiteY29" fmla="*/ 229472 h 438186"/>
                    <a:gd name="connsiteX30" fmla="*/ 170077 w 299021"/>
                    <a:gd name="connsiteY30" fmla="*/ 226953 h 438186"/>
                    <a:gd name="connsiteX31" fmla="*/ 172799 w 299021"/>
                    <a:gd name="connsiteY31" fmla="*/ 224932 h 438186"/>
                    <a:gd name="connsiteX32" fmla="*/ 175651 w 299021"/>
                    <a:gd name="connsiteY32" fmla="*/ 223246 h 438186"/>
                    <a:gd name="connsiteX33" fmla="*/ 180002 w 299021"/>
                    <a:gd name="connsiteY33" fmla="*/ 219391 h 438186"/>
                    <a:gd name="connsiteX34" fmla="*/ 181136 w 299021"/>
                    <a:gd name="connsiteY34" fmla="*/ 218820 h 438186"/>
                    <a:gd name="connsiteX35" fmla="*/ 183964 w 299021"/>
                    <a:gd name="connsiteY35" fmla="*/ 218078 h 438186"/>
                    <a:gd name="connsiteX36" fmla="*/ 185195 w 299021"/>
                    <a:gd name="connsiteY36" fmla="*/ 217166 h 438186"/>
                    <a:gd name="connsiteX37" fmla="*/ 186563 w 299021"/>
                    <a:gd name="connsiteY37" fmla="*/ 216962 h 438186"/>
                    <a:gd name="connsiteX38" fmla="*/ 185341 w 299021"/>
                    <a:gd name="connsiteY38" fmla="*/ 219252 h 438186"/>
                    <a:gd name="connsiteX39" fmla="*/ 183776 w 299021"/>
                    <a:gd name="connsiteY39" fmla="*/ 220010 h 438186"/>
                    <a:gd name="connsiteX40" fmla="*/ 183532 w 299021"/>
                    <a:gd name="connsiteY40" fmla="*/ 220841 h 438186"/>
                    <a:gd name="connsiteX41" fmla="*/ 184404 w 299021"/>
                    <a:gd name="connsiteY41" fmla="*/ 222162 h 438186"/>
                    <a:gd name="connsiteX42" fmla="*/ 183051 w 299021"/>
                    <a:gd name="connsiteY42" fmla="*/ 224020 h 438186"/>
                    <a:gd name="connsiteX43" fmla="*/ 183091 w 299021"/>
                    <a:gd name="connsiteY43" fmla="*/ 226334 h 438186"/>
                    <a:gd name="connsiteX44" fmla="*/ 181503 w 299021"/>
                    <a:gd name="connsiteY44" fmla="*/ 229064 h 438186"/>
                    <a:gd name="connsiteX45" fmla="*/ 183964 w 299021"/>
                    <a:gd name="connsiteY45" fmla="*/ 227948 h 438186"/>
                    <a:gd name="connsiteX46" fmla="*/ 184868 w 299021"/>
                    <a:gd name="connsiteY46" fmla="*/ 226163 h 438186"/>
                    <a:gd name="connsiteX47" fmla="*/ 184396 w 299021"/>
                    <a:gd name="connsiteY47" fmla="*/ 225153 h 438186"/>
                    <a:gd name="connsiteX48" fmla="*/ 185463 w 299021"/>
                    <a:gd name="connsiteY48" fmla="*/ 223180 h 438186"/>
                    <a:gd name="connsiteX49" fmla="*/ 187110 w 299021"/>
                    <a:gd name="connsiteY49" fmla="*/ 222235 h 438186"/>
                    <a:gd name="connsiteX50" fmla="*/ 186458 w 299021"/>
                    <a:gd name="connsiteY50" fmla="*/ 220727 h 438186"/>
                    <a:gd name="connsiteX51" fmla="*/ 186498 w 299021"/>
                    <a:gd name="connsiteY51" fmla="*/ 219537 h 438186"/>
                    <a:gd name="connsiteX52" fmla="*/ 188511 w 299021"/>
                    <a:gd name="connsiteY52" fmla="*/ 219994 h 438186"/>
                    <a:gd name="connsiteX53" fmla="*/ 189522 w 299021"/>
                    <a:gd name="connsiteY53" fmla="*/ 219937 h 438186"/>
                    <a:gd name="connsiteX54" fmla="*/ 190321 w 299021"/>
                    <a:gd name="connsiteY54" fmla="*/ 219456 h 438186"/>
                    <a:gd name="connsiteX55" fmla="*/ 191771 w 299021"/>
                    <a:gd name="connsiteY55" fmla="*/ 219277 h 438186"/>
                    <a:gd name="connsiteX56" fmla="*/ 192065 w 299021"/>
                    <a:gd name="connsiteY56" fmla="*/ 220605 h 438186"/>
                    <a:gd name="connsiteX57" fmla="*/ 194012 w 299021"/>
                    <a:gd name="connsiteY57" fmla="*/ 220434 h 438186"/>
                    <a:gd name="connsiteX58" fmla="*/ 193311 w 299021"/>
                    <a:gd name="connsiteY58" fmla="*/ 222113 h 438186"/>
                    <a:gd name="connsiteX59" fmla="*/ 191812 w 299021"/>
                    <a:gd name="connsiteY59" fmla="*/ 224052 h 438186"/>
                    <a:gd name="connsiteX60" fmla="*/ 191461 w 299021"/>
                    <a:gd name="connsiteY60" fmla="*/ 225242 h 438186"/>
                    <a:gd name="connsiteX61" fmla="*/ 189065 w 299021"/>
                    <a:gd name="connsiteY61" fmla="*/ 227190 h 438186"/>
                    <a:gd name="connsiteX62" fmla="*/ 187468 w 299021"/>
                    <a:gd name="connsiteY62" fmla="*/ 228029 h 438186"/>
                    <a:gd name="connsiteX63" fmla="*/ 189937 w 299021"/>
                    <a:gd name="connsiteY63" fmla="*/ 228258 h 438186"/>
                    <a:gd name="connsiteX64" fmla="*/ 193539 w 299021"/>
                    <a:gd name="connsiteY64" fmla="*/ 225625 h 438186"/>
                    <a:gd name="connsiteX65" fmla="*/ 195691 w 299021"/>
                    <a:gd name="connsiteY65" fmla="*/ 223319 h 438186"/>
                    <a:gd name="connsiteX66" fmla="*/ 195634 w 299021"/>
                    <a:gd name="connsiteY66" fmla="*/ 226204 h 438186"/>
                    <a:gd name="connsiteX67" fmla="*/ 193881 w 299021"/>
                    <a:gd name="connsiteY67" fmla="*/ 228795 h 438186"/>
                    <a:gd name="connsiteX68" fmla="*/ 192390 w 299021"/>
                    <a:gd name="connsiteY68" fmla="*/ 230425 h 438186"/>
                    <a:gd name="connsiteX69" fmla="*/ 190712 w 299021"/>
                    <a:gd name="connsiteY69" fmla="*/ 230931 h 438186"/>
                    <a:gd name="connsiteX70" fmla="*/ 189033 w 299021"/>
                    <a:gd name="connsiteY70" fmla="*/ 232267 h 438186"/>
                    <a:gd name="connsiteX71" fmla="*/ 188218 w 299021"/>
                    <a:gd name="connsiteY71" fmla="*/ 234443 h 438186"/>
                    <a:gd name="connsiteX72" fmla="*/ 188323 w 299021"/>
                    <a:gd name="connsiteY72" fmla="*/ 235894 h 438186"/>
                    <a:gd name="connsiteX73" fmla="*/ 188805 w 299021"/>
                    <a:gd name="connsiteY73" fmla="*/ 237035 h 438186"/>
                    <a:gd name="connsiteX74" fmla="*/ 190508 w 299021"/>
                    <a:gd name="connsiteY74" fmla="*/ 238975 h 438186"/>
                    <a:gd name="connsiteX75" fmla="*/ 188593 w 299021"/>
                    <a:gd name="connsiteY75" fmla="*/ 242707 h 438186"/>
                    <a:gd name="connsiteX76" fmla="*/ 190728 w 299021"/>
                    <a:gd name="connsiteY76" fmla="*/ 242243 h 438186"/>
                    <a:gd name="connsiteX77" fmla="*/ 191902 w 299021"/>
                    <a:gd name="connsiteY77" fmla="*/ 242951 h 438186"/>
                    <a:gd name="connsiteX78" fmla="*/ 193531 w 299021"/>
                    <a:gd name="connsiteY78" fmla="*/ 245103 h 438186"/>
                    <a:gd name="connsiteX79" fmla="*/ 192553 w 299021"/>
                    <a:gd name="connsiteY79" fmla="*/ 247580 h 438186"/>
                    <a:gd name="connsiteX80" fmla="*/ 191861 w 299021"/>
                    <a:gd name="connsiteY80" fmla="*/ 248860 h 438186"/>
                    <a:gd name="connsiteX81" fmla="*/ 187697 w 299021"/>
                    <a:gd name="connsiteY81" fmla="*/ 254109 h 438186"/>
                    <a:gd name="connsiteX82" fmla="*/ 185871 w 299021"/>
                    <a:gd name="connsiteY82" fmla="*/ 256773 h 438186"/>
                    <a:gd name="connsiteX83" fmla="*/ 183727 w 299021"/>
                    <a:gd name="connsiteY83" fmla="*/ 258477 h 438186"/>
                    <a:gd name="connsiteX84" fmla="*/ 183760 w 299021"/>
                    <a:gd name="connsiteY84" fmla="*/ 261288 h 438186"/>
                    <a:gd name="connsiteX85" fmla="*/ 182545 w 299021"/>
                    <a:gd name="connsiteY85" fmla="*/ 263326 h 438186"/>
                    <a:gd name="connsiteX86" fmla="*/ 176320 w 299021"/>
                    <a:gd name="connsiteY86" fmla="*/ 270310 h 438186"/>
                    <a:gd name="connsiteX87" fmla="*/ 175227 w 299021"/>
                    <a:gd name="connsiteY87" fmla="*/ 271834 h 438186"/>
                    <a:gd name="connsiteX88" fmla="*/ 170321 w 299021"/>
                    <a:gd name="connsiteY88" fmla="*/ 282967 h 438186"/>
                    <a:gd name="connsiteX89" fmla="*/ 167183 w 299021"/>
                    <a:gd name="connsiteY89" fmla="*/ 287661 h 438186"/>
                    <a:gd name="connsiteX90" fmla="*/ 165382 w 299021"/>
                    <a:gd name="connsiteY90" fmla="*/ 289266 h 438186"/>
                    <a:gd name="connsiteX91" fmla="*/ 163508 w 299021"/>
                    <a:gd name="connsiteY91" fmla="*/ 290554 h 438186"/>
                    <a:gd name="connsiteX92" fmla="*/ 158944 w 299021"/>
                    <a:gd name="connsiteY92" fmla="*/ 292763 h 438186"/>
                    <a:gd name="connsiteX93" fmla="*/ 156931 w 299021"/>
                    <a:gd name="connsiteY93" fmla="*/ 295305 h 438186"/>
                    <a:gd name="connsiteX94" fmla="*/ 154723 w 299021"/>
                    <a:gd name="connsiteY94" fmla="*/ 297424 h 438186"/>
                    <a:gd name="connsiteX95" fmla="*/ 152376 w 299021"/>
                    <a:gd name="connsiteY95" fmla="*/ 297897 h 438186"/>
                    <a:gd name="connsiteX96" fmla="*/ 152448 w 299021"/>
                    <a:gd name="connsiteY96" fmla="*/ 298834 h 438186"/>
                    <a:gd name="connsiteX97" fmla="*/ 153957 w 299021"/>
                    <a:gd name="connsiteY97" fmla="*/ 299347 h 438186"/>
                    <a:gd name="connsiteX98" fmla="*/ 155129 w 299021"/>
                    <a:gd name="connsiteY98" fmla="*/ 300750 h 438186"/>
                    <a:gd name="connsiteX99" fmla="*/ 154266 w 299021"/>
                    <a:gd name="connsiteY99" fmla="*/ 302306 h 438186"/>
                    <a:gd name="connsiteX100" fmla="*/ 152596 w 299021"/>
                    <a:gd name="connsiteY100" fmla="*/ 303276 h 438186"/>
                    <a:gd name="connsiteX101" fmla="*/ 150852 w 299021"/>
                    <a:gd name="connsiteY101" fmla="*/ 303561 h 438186"/>
                    <a:gd name="connsiteX102" fmla="*/ 149979 w 299021"/>
                    <a:gd name="connsiteY102" fmla="*/ 304555 h 438186"/>
                    <a:gd name="connsiteX103" fmla="*/ 154120 w 299021"/>
                    <a:gd name="connsiteY103" fmla="*/ 303846 h 438186"/>
                    <a:gd name="connsiteX104" fmla="*/ 155285 w 299021"/>
                    <a:gd name="connsiteY104" fmla="*/ 304661 h 438186"/>
                    <a:gd name="connsiteX105" fmla="*/ 155497 w 299021"/>
                    <a:gd name="connsiteY105" fmla="*/ 306381 h 438186"/>
                    <a:gd name="connsiteX106" fmla="*/ 155928 w 299021"/>
                    <a:gd name="connsiteY106" fmla="*/ 307929 h 438186"/>
                    <a:gd name="connsiteX107" fmla="*/ 156931 w 299021"/>
                    <a:gd name="connsiteY107" fmla="*/ 309975 h 438186"/>
                    <a:gd name="connsiteX108" fmla="*/ 160419 w 299021"/>
                    <a:gd name="connsiteY108" fmla="*/ 311287 h 438186"/>
                    <a:gd name="connsiteX109" fmla="*/ 163541 w 299021"/>
                    <a:gd name="connsiteY109" fmla="*/ 311890 h 438186"/>
                    <a:gd name="connsiteX110" fmla="*/ 164160 w 299021"/>
                    <a:gd name="connsiteY110" fmla="*/ 312843 h 438186"/>
                    <a:gd name="connsiteX111" fmla="*/ 164616 w 299021"/>
                    <a:gd name="connsiteY111" fmla="*/ 316120 h 438186"/>
                    <a:gd name="connsiteX112" fmla="*/ 164054 w 299021"/>
                    <a:gd name="connsiteY112" fmla="*/ 317725 h 438186"/>
                    <a:gd name="connsiteX113" fmla="*/ 163353 w 299021"/>
                    <a:gd name="connsiteY113" fmla="*/ 318785 h 438186"/>
                    <a:gd name="connsiteX114" fmla="*/ 162301 w 299021"/>
                    <a:gd name="connsiteY114" fmla="*/ 319160 h 438186"/>
                    <a:gd name="connsiteX115" fmla="*/ 159759 w 299021"/>
                    <a:gd name="connsiteY115" fmla="*/ 319372 h 438186"/>
                    <a:gd name="connsiteX116" fmla="*/ 157208 w 299021"/>
                    <a:gd name="connsiteY116" fmla="*/ 318622 h 438186"/>
                    <a:gd name="connsiteX117" fmla="*/ 155512 w 299021"/>
                    <a:gd name="connsiteY117" fmla="*/ 316641 h 438186"/>
                    <a:gd name="connsiteX118" fmla="*/ 150688 w 299021"/>
                    <a:gd name="connsiteY118" fmla="*/ 317277 h 438186"/>
                    <a:gd name="connsiteX119" fmla="*/ 149400 w 299021"/>
                    <a:gd name="connsiteY119" fmla="*/ 317709 h 438186"/>
                    <a:gd name="connsiteX120" fmla="*/ 148733 w 299021"/>
                    <a:gd name="connsiteY120" fmla="*/ 317359 h 438186"/>
                    <a:gd name="connsiteX121" fmla="*/ 151406 w 299021"/>
                    <a:gd name="connsiteY121" fmla="*/ 315264 h 438186"/>
                    <a:gd name="connsiteX122" fmla="*/ 150004 w 299021"/>
                    <a:gd name="connsiteY122" fmla="*/ 314083 h 438186"/>
                    <a:gd name="connsiteX123" fmla="*/ 148846 w 299021"/>
                    <a:gd name="connsiteY123" fmla="*/ 313634 h 438186"/>
                    <a:gd name="connsiteX124" fmla="*/ 147584 w 299021"/>
                    <a:gd name="connsiteY124" fmla="*/ 314319 h 438186"/>
                    <a:gd name="connsiteX125" fmla="*/ 146736 w 299021"/>
                    <a:gd name="connsiteY125" fmla="*/ 315411 h 438186"/>
                    <a:gd name="connsiteX126" fmla="*/ 146483 w 299021"/>
                    <a:gd name="connsiteY126" fmla="*/ 317212 h 438186"/>
                    <a:gd name="connsiteX127" fmla="*/ 145628 w 299021"/>
                    <a:gd name="connsiteY127" fmla="*/ 318247 h 438186"/>
                    <a:gd name="connsiteX128" fmla="*/ 144291 w 299021"/>
                    <a:gd name="connsiteY128" fmla="*/ 318557 h 438186"/>
                    <a:gd name="connsiteX129" fmla="*/ 142424 w 299021"/>
                    <a:gd name="connsiteY129" fmla="*/ 317049 h 438186"/>
                    <a:gd name="connsiteX130" fmla="*/ 140558 w 299021"/>
                    <a:gd name="connsiteY130" fmla="*/ 314914 h 438186"/>
                    <a:gd name="connsiteX131" fmla="*/ 137820 w 299021"/>
                    <a:gd name="connsiteY131" fmla="*/ 312762 h 438186"/>
                    <a:gd name="connsiteX132" fmla="*/ 138244 w 299021"/>
                    <a:gd name="connsiteY132" fmla="*/ 314091 h 438186"/>
                    <a:gd name="connsiteX133" fmla="*/ 140346 w 299021"/>
                    <a:gd name="connsiteY133" fmla="*/ 317351 h 438186"/>
                    <a:gd name="connsiteX134" fmla="*/ 141414 w 299021"/>
                    <a:gd name="connsiteY134" fmla="*/ 319518 h 438186"/>
                    <a:gd name="connsiteX135" fmla="*/ 138944 w 299021"/>
                    <a:gd name="connsiteY135" fmla="*/ 321246 h 438186"/>
                    <a:gd name="connsiteX136" fmla="*/ 136394 w 299021"/>
                    <a:gd name="connsiteY136" fmla="*/ 322591 h 438186"/>
                    <a:gd name="connsiteX137" fmla="*/ 134234 w 299021"/>
                    <a:gd name="connsiteY137" fmla="*/ 323381 h 438186"/>
                    <a:gd name="connsiteX138" fmla="*/ 132196 w 299021"/>
                    <a:gd name="connsiteY138" fmla="*/ 324612 h 438186"/>
                    <a:gd name="connsiteX139" fmla="*/ 129809 w 299021"/>
                    <a:gd name="connsiteY139" fmla="*/ 326527 h 438186"/>
                    <a:gd name="connsiteX140" fmla="*/ 128497 w 299021"/>
                    <a:gd name="connsiteY140" fmla="*/ 327220 h 438186"/>
                    <a:gd name="connsiteX141" fmla="*/ 124992 w 299021"/>
                    <a:gd name="connsiteY141" fmla="*/ 327252 h 438186"/>
                    <a:gd name="connsiteX142" fmla="*/ 123117 w 299021"/>
                    <a:gd name="connsiteY142" fmla="*/ 327864 h 438186"/>
                    <a:gd name="connsiteX143" fmla="*/ 122499 w 299021"/>
                    <a:gd name="connsiteY143" fmla="*/ 330406 h 438186"/>
                    <a:gd name="connsiteX144" fmla="*/ 121186 w 299021"/>
                    <a:gd name="connsiteY144" fmla="*/ 332012 h 438186"/>
                    <a:gd name="connsiteX145" fmla="*/ 118113 w 299021"/>
                    <a:gd name="connsiteY145" fmla="*/ 332330 h 438186"/>
                    <a:gd name="connsiteX146" fmla="*/ 119239 w 299021"/>
                    <a:gd name="connsiteY146" fmla="*/ 332835 h 438186"/>
                    <a:gd name="connsiteX147" fmla="*/ 119915 w 299021"/>
                    <a:gd name="connsiteY147" fmla="*/ 333658 h 438186"/>
                    <a:gd name="connsiteX148" fmla="*/ 117886 w 299021"/>
                    <a:gd name="connsiteY148" fmla="*/ 341311 h 438186"/>
                    <a:gd name="connsiteX149" fmla="*/ 117437 w 299021"/>
                    <a:gd name="connsiteY149" fmla="*/ 344497 h 438186"/>
                    <a:gd name="connsiteX150" fmla="*/ 117063 w 299021"/>
                    <a:gd name="connsiteY150" fmla="*/ 349941 h 438186"/>
                    <a:gd name="connsiteX151" fmla="*/ 115783 w 299021"/>
                    <a:gd name="connsiteY151" fmla="*/ 354994 h 438186"/>
                    <a:gd name="connsiteX152" fmla="*/ 112131 w 299021"/>
                    <a:gd name="connsiteY152" fmla="*/ 354969 h 438186"/>
                    <a:gd name="connsiteX153" fmla="*/ 112718 w 299021"/>
                    <a:gd name="connsiteY153" fmla="*/ 355858 h 438186"/>
                    <a:gd name="connsiteX154" fmla="*/ 115473 w 299021"/>
                    <a:gd name="connsiteY154" fmla="*/ 357292 h 438186"/>
                    <a:gd name="connsiteX155" fmla="*/ 114968 w 299021"/>
                    <a:gd name="connsiteY155" fmla="*/ 359444 h 438186"/>
                    <a:gd name="connsiteX156" fmla="*/ 111929 w 299021"/>
                    <a:gd name="connsiteY156" fmla="*/ 363388 h 438186"/>
                    <a:gd name="connsiteX157" fmla="*/ 110665 w 299021"/>
                    <a:gd name="connsiteY157" fmla="*/ 365670 h 438186"/>
                    <a:gd name="connsiteX158" fmla="*/ 109434 w 299021"/>
                    <a:gd name="connsiteY158" fmla="*/ 371204 h 438186"/>
                    <a:gd name="connsiteX159" fmla="*/ 107568 w 299021"/>
                    <a:gd name="connsiteY159" fmla="*/ 376322 h 438186"/>
                    <a:gd name="connsiteX160" fmla="*/ 104732 w 299021"/>
                    <a:gd name="connsiteY160" fmla="*/ 382133 h 438186"/>
                    <a:gd name="connsiteX161" fmla="*/ 104708 w 299021"/>
                    <a:gd name="connsiteY161" fmla="*/ 383192 h 438186"/>
                    <a:gd name="connsiteX162" fmla="*/ 105702 w 299021"/>
                    <a:gd name="connsiteY162" fmla="*/ 384667 h 438186"/>
                    <a:gd name="connsiteX163" fmla="*/ 106908 w 299021"/>
                    <a:gd name="connsiteY163" fmla="*/ 385947 h 438186"/>
                    <a:gd name="connsiteX164" fmla="*/ 106973 w 299021"/>
                    <a:gd name="connsiteY164" fmla="*/ 387772 h 438186"/>
                    <a:gd name="connsiteX165" fmla="*/ 106598 w 299021"/>
                    <a:gd name="connsiteY165" fmla="*/ 388717 h 438186"/>
                    <a:gd name="connsiteX166" fmla="*/ 105245 w 299021"/>
                    <a:gd name="connsiteY166" fmla="*/ 388970 h 438186"/>
                    <a:gd name="connsiteX167" fmla="*/ 104072 w 299021"/>
                    <a:gd name="connsiteY167" fmla="*/ 389581 h 438186"/>
                    <a:gd name="connsiteX168" fmla="*/ 97748 w 299021"/>
                    <a:gd name="connsiteY168" fmla="*/ 391195 h 438186"/>
                    <a:gd name="connsiteX169" fmla="*/ 95670 w 299021"/>
                    <a:gd name="connsiteY169" fmla="*/ 392988 h 438186"/>
                    <a:gd name="connsiteX170" fmla="*/ 93967 w 299021"/>
                    <a:gd name="connsiteY170" fmla="*/ 396207 h 438186"/>
                    <a:gd name="connsiteX171" fmla="*/ 91969 w 299021"/>
                    <a:gd name="connsiteY171" fmla="*/ 398962 h 438186"/>
                    <a:gd name="connsiteX172" fmla="*/ 85327 w 299021"/>
                    <a:gd name="connsiteY172" fmla="*/ 405107 h 438186"/>
                    <a:gd name="connsiteX173" fmla="*/ 81416 w 299021"/>
                    <a:gd name="connsiteY173" fmla="*/ 410266 h 438186"/>
                    <a:gd name="connsiteX174" fmla="*/ 80633 w 299021"/>
                    <a:gd name="connsiteY174" fmla="*/ 411749 h 438186"/>
                    <a:gd name="connsiteX175" fmla="*/ 79582 w 299021"/>
                    <a:gd name="connsiteY175" fmla="*/ 412809 h 438186"/>
                    <a:gd name="connsiteX176" fmla="*/ 71033 w 299021"/>
                    <a:gd name="connsiteY176" fmla="*/ 415261 h 438186"/>
                    <a:gd name="connsiteX177" fmla="*/ 65002 w 299021"/>
                    <a:gd name="connsiteY177" fmla="*/ 415628 h 438186"/>
                    <a:gd name="connsiteX178" fmla="*/ 61710 w 299021"/>
                    <a:gd name="connsiteY178" fmla="*/ 415001 h 438186"/>
                    <a:gd name="connsiteX179" fmla="*/ 58531 w 299021"/>
                    <a:gd name="connsiteY179" fmla="*/ 413770 h 438186"/>
                    <a:gd name="connsiteX180" fmla="*/ 56771 w 299021"/>
                    <a:gd name="connsiteY180" fmla="*/ 413346 h 438186"/>
                    <a:gd name="connsiteX181" fmla="*/ 53413 w 299021"/>
                    <a:gd name="connsiteY181" fmla="*/ 414096 h 438186"/>
                    <a:gd name="connsiteX182" fmla="*/ 51947 w 299021"/>
                    <a:gd name="connsiteY182" fmla="*/ 414927 h 438186"/>
                    <a:gd name="connsiteX183" fmla="*/ 49314 w 299021"/>
                    <a:gd name="connsiteY183" fmla="*/ 414112 h 438186"/>
                    <a:gd name="connsiteX184" fmla="*/ 47219 w 299021"/>
                    <a:gd name="connsiteY184" fmla="*/ 414724 h 438186"/>
                    <a:gd name="connsiteX185" fmla="*/ 46608 w 299021"/>
                    <a:gd name="connsiteY185" fmla="*/ 414129 h 438186"/>
                    <a:gd name="connsiteX186" fmla="*/ 45825 w 299021"/>
                    <a:gd name="connsiteY186" fmla="*/ 412605 h 438186"/>
                    <a:gd name="connsiteX187" fmla="*/ 46258 w 299021"/>
                    <a:gd name="connsiteY187" fmla="*/ 410608 h 438186"/>
                    <a:gd name="connsiteX188" fmla="*/ 45679 w 299021"/>
                    <a:gd name="connsiteY188" fmla="*/ 409117 h 438186"/>
                    <a:gd name="connsiteX189" fmla="*/ 44359 w 299021"/>
                    <a:gd name="connsiteY189" fmla="*/ 408106 h 438186"/>
                    <a:gd name="connsiteX190" fmla="*/ 43463 w 299021"/>
                    <a:gd name="connsiteY190" fmla="*/ 406932 h 438186"/>
                    <a:gd name="connsiteX191" fmla="*/ 42452 w 299021"/>
                    <a:gd name="connsiteY191" fmla="*/ 406101 h 438186"/>
                    <a:gd name="connsiteX192" fmla="*/ 39672 w 299021"/>
                    <a:gd name="connsiteY192" fmla="*/ 405767 h 438186"/>
                    <a:gd name="connsiteX193" fmla="*/ 35280 w 299021"/>
                    <a:gd name="connsiteY193" fmla="*/ 406288 h 438186"/>
                    <a:gd name="connsiteX194" fmla="*/ 33830 w 299021"/>
                    <a:gd name="connsiteY194" fmla="*/ 406232 h 438186"/>
                    <a:gd name="connsiteX195" fmla="*/ 30855 w 299021"/>
                    <a:gd name="connsiteY195" fmla="*/ 401309 h 438186"/>
                    <a:gd name="connsiteX196" fmla="*/ 29877 w 299021"/>
                    <a:gd name="connsiteY196" fmla="*/ 400094 h 438186"/>
                    <a:gd name="connsiteX197" fmla="*/ 26331 w 299021"/>
                    <a:gd name="connsiteY197" fmla="*/ 398538 h 438186"/>
                    <a:gd name="connsiteX198" fmla="*/ 25117 w 299021"/>
                    <a:gd name="connsiteY198" fmla="*/ 398750 h 438186"/>
                    <a:gd name="connsiteX199" fmla="*/ 23227 w 299021"/>
                    <a:gd name="connsiteY199" fmla="*/ 401374 h 438186"/>
                    <a:gd name="connsiteX200" fmla="*/ 22101 w 299021"/>
                    <a:gd name="connsiteY200" fmla="*/ 401815 h 438186"/>
                    <a:gd name="connsiteX201" fmla="*/ 15444 w 299021"/>
                    <a:gd name="connsiteY201" fmla="*/ 402100 h 438186"/>
                    <a:gd name="connsiteX202" fmla="*/ 8761 w 299021"/>
                    <a:gd name="connsiteY202" fmla="*/ 401252 h 438186"/>
                    <a:gd name="connsiteX203" fmla="*/ 6299 w 299021"/>
                    <a:gd name="connsiteY203" fmla="*/ 400282 h 438186"/>
                    <a:gd name="connsiteX204" fmla="*/ 5819 w 299021"/>
                    <a:gd name="connsiteY204" fmla="*/ 398008 h 438186"/>
                    <a:gd name="connsiteX205" fmla="*/ 10888 w 299021"/>
                    <a:gd name="connsiteY205" fmla="*/ 391774 h 438186"/>
                    <a:gd name="connsiteX206" fmla="*/ 9388 w 299021"/>
                    <a:gd name="connsiteY206" fmla="*/ 392613 h 438186"/>
                    <a:gd name="connsiteX207" fmla="*/ 6259 w 299021"/>
                    <a:gd name="connsiteY207" fmla="*/ 395156 h 438186"/>
                    <a:gd name="connsiteX208" fmla="*/ 4262 w 299021"/>
                    <a:gd name="connsiteY208" fmla="*/ 394757 h 438186"/>
                    <a:gd name="connsiteX209" fmla="*/ 6169 w 299021"/>
                    <a:gd name="connsiteY209" fmla="*/ 391986 h 438186"/>
                    <a:gd name="connsiteX210" fmla="*/ 6340 w 299021"/>
                    <a:gd name="connsiteY210" fmla="*/ 390755 h 438186"/>
                    <a:gd name="connsiteX211" fmla="*/ 5957 w 299021"/>
                    <a:gd name="connsiteY211" fmla="*/ 389378 h 438186"/>
                    <a:gd name="connsiteX212" fmla="*/ 3341 w 299021"/>
                    <a:gd name="connsiteY212" fmla="*/ 391708 h 438186"/>
                    <a:gd name="connsiteX213" fmla="*/ 383 w 299021"/>
                    <a:gd name="connsiteY213" fmla="*/ 392010 h 438186"/>
                    <a:gd name="connsiteX214" fmla="*/ 0 w 299021"/>
                    <a:gd name="connsiteY214" fmla="*/ 389842 h 438186"/>
                    <a:gd name="connsiteX215" fmla="*/ 261 w 299021"/>
                    <a:gd name="connsiteY215" fmla="*/ 387332 h 438186"/>
                    <a:gd name="connsiteX216" fmla="*/ 871 w 299021"/>
                    <a:gd name="connsiteY216" fmla="*/ 386623 h 438186"/>
                    <a:gd name="connsiteX217" fmla="*/ 8875 w 299021"/>
                    <a:gd name="connsiteY217" fmla="*/ 385328 h 438186"/>
                    <a:gd name="connsiteX218" fmla="*/ 11768 w 299021"/>
                    <a:gd name="connsiteY218" fmla="*/ 384464 h 438186"/>
                    <a:gd name="connsiteX219" fmla="*/ 13023 w 299021"/>
                    <a:gd name="connsiteY219" fmla="*/ 383119 h 438186"/>
                    <a:gd name="connsiteX220" fmla="*/ 8222 w 299021"/>
                    <a:gd name="connsiteY220" fmla="*/ 382654 h 438186"/>
                    <a:gd name="connsiteX221" fmla="*/ 7921 w 299021"/>
                    <a:gd name="connsiteY221" fmla="*/ 380780 h 438186"/>
                    <a:gd name="connsiteX222" fmla="*/ 8622 w 299021"/>
                    <a:gd name="connsiteY222" fmla="*/ 379272 h 438186"/>
                    <a:gd name="connsiteX223" fmla="*/ 12713 w 299021"/>
                    <a:gd name="connsiteY223" fmla="*/ 376754 h 438186"/>
                    <a:gd name="connsiteX224" fmla="*/ 9690 w 299021"/>
                    <a:gd name="connsiteY224" fmla="*/ 377406 h 438186"/>
                    <a:gd name="connsiteX225" fmla="*/ 6340 w 299021"/>
                    <a:gd name="connsiteY225" fmla="*/ 377178 h 438186"/>
                    <a:gd name="connsiteX226" fmla="*/ 6568 w 299021"/>
                    <a:gd name="connsiteY226" fmla="*/ 374537 h 438186"/>
                    <a:gd name="connsiteX227" fmla="*/ 7440 w 299021"/>
                    <a:gd name="connsiteY227" fmla="*/ 372467 h 438186"/>
                    <a:gd name="connsiteX228" fmla="*/ 10953 w 299021"/>
                    <a:gd name="connsiteY228" fmla="*/ 372402 h 438186"/>
                    <a:gd name="connsiteX229" fmla="*/ 9853 w 299021"/>
                    <a:gd name="connsiteY229" fmla="*/ 370984 h 438186"/>
                    <a:gd name="connsiteX230" fmla="*/ 9682 w 299021"/>
                    <a:gd name="connsiteY230" fmla="*/ 369004 h 438186"/>
                    <a:gd name="connsiteX231" fmla="*/ 10668 w 299021"/>
                    <a:gd name="connsiteY231" fmla="*/ 368865 h 438186"/>
                    <a:gd name="connsiteX232" fmla="*/ 14229 w 299021"/>
                    <a:gd name="connsiteY232" fmla="*/ 371538 h 438186"/>
                    <a:gd name="connsiteX233" fmla="*/ 16788 w 299021"/>
                    <a:gd name="connsiteY233" fmla="*/ 372508 h 438186"/>
                    <a:gd name="connsiteX234" fmla="*/ 15713 w 299021"/>
                    <a:gd name="connsiteY234" fmla="*/ 370503 h 438186"/>
                    <a:gd name="connsiteX235" fmla="*/ 15859 w 299021"/>
                    <a:gd name="connsiteY235" fmla="*/ 369240 h 438186"/>
                    <a:gd name="connsiteX236" fmla="*/ 16535 w 299021"/>
                    <a:gd name="connsiteY236" fmla="*/ 368677 h 438186"/>
                    <a:gd name="connsiteX237" fmla="*/ 18638 w 299021"/>
                    <a:gd name="connsiteY237" fmla="*/ 368270 h 438186"/>
                    <a:gd name="connsiteX238" fmla="*/ 18067 w 299021"/>
                    <a:gd name="connsiteY238" fmla="*/ 367919 h 438186"/>
                    <a:gd name="connsiteX239" fmla="*/ 16096 w 299021"/>
                    <a:gd name="connsiteY239" fmla="*/ 367414 h 438186"/>
                    <a:gd name="connsiteX240" fmla="*/ 13757 w 299021"/>
                    <a:gd name="connsiteY240" fmla="*/ 365882 h 438186"/>
                    <a:gd name="connsiteX241" fmla="*/ 13496 w 299021"/>
                    <a:gd name="connsiteY241" fmla="*/ 364277 h 438186"/>
                    <a:gd name="connsiteX242" fmla="*/ 13586 w 299021"/>
                    <a:gd name="connsiteY242" fmla="*/ 362418 h 438186"/>
                    <a:gd name="connsiteX243" fmla="*/ 16120 w 299021"/>
                    <a:gd name="connsiteY243" fmla="*/ 359860 h 438186"/>
                    <a:gd name="connsiteX244" fmla="*/ 17612 w 299021"/>
                    <a:gd name="connsiteY244" fmla="*/ 361383 h 438186"/>
                    <a:gd name="connsiteX245" fmla="*/ 19388 w 299021"/>
                    <a:gd name="connsiteY245" fmla="*/ 360968 h 438186"/>
                    <a:gd name="connsiteX246" fmla="*/ 18035 w 299021"/>
                    <a:gd name="connsiteY246" fmla="*/ 359770 h 438186"/>
                    <a:gd name="connsiteX247" fmla="*/ 17212 w 299021"/>
                    <a:gd name="connsiteY247" fmla="*/ 357985 h 438186"/>
                    <a:gd name="connsiteX248" fmla="*/ 17766 w 299021"/>
                    <a:gd name="connsiteY248" fmla="*/ 356795 h 438186"/>
                    <a:gd name="connsiteX249" fmla="*/ 23129 w 299021"/>
                    <a:gd name="connsiteY249" fmla="*/ 352044 h 438186"/>
                    <a:gd name="connsiteX250" fmla="*/ 24506 w 299021"/>
                    <a:gd name="connsiteY250" fmla="*/ 356607 h 438186"/>
                    <a:gd name="connsiteX251" fmla="*/ 24832 w 299021"/>
                    <a:gd name="connsiteY251" fmla="*/ 355092 h 438186"/>
                    <a:gd name="connsiteX252" fmla="*/ 24905 w 299021"/>
                    <a:gd name="connsiteY252" fmla="*/ 353649 h 438186"/>
                    <a:gd name="connsiteX253" fmla="*/ 24261 w 299021"/>
                    <a:gd name="connsiteY253" fmla="*/ 352402 h 438186"/>
                    <a:gd name="connsiteX254" fmla="*/ 24368 w 299021"/>
                    <a:gd name="connsiteY254" fmla="*/ 351156 h 438186"/>
                    <a:gd name="connsiteX255" fmla="*/ 24978 w 299021"/>
                    <a:gd name="connsiteY255" fmla="*/ 350063 h 438186"/>
                    <a:gd name="connsiteX256" fmla="*/ 27277 w 299021"/>
                    <a:gd name="connsiteY256" fmla="*/ 348996 h 438186"/>
                    <a:gd name="connsiteX257" fmla="*/ 30260 w 299021"/>
                    <a:gd name="connsiteY257" fmla="*/ 345508 h 438186"/>
                    <a:gd name="connsiteX258" fmla="*/ 32469 w 299021"/>
                    <a:gd name="connsiteY258" fmla="*/ 343886 h 438186"/>
                    <a:gd name="connsiteX259" fmla="*/ 34269 w 299021"/>
                    <a:gd name="connsiteY259" fmla="*/ 344938 h 438186"/>
                    <a:gd name="connsiteX260" fmla="*/ 35492 w 299021"/>
                    <a:gd name="connsiteY260" fmla="*/ 346323 h 438186"/>
                    <a:gd name="connsiteX261" fmla="*/ 35304 w 299021"/>
                    <a:gd name="connsiteY261" fmla="*/ 344945 h 438186"/>
                    <a:gd name="connsiteX262" fmla="*/ 34448 w 299021"/>
                    <a:gd name="connsiteY262" fmla="*/ 343788 h 438186"/>
                    <a:gd name="connsiteX263" fmla="*/ 34196 w 299021"/>
                    <a:gd name="connsiteY263" fmla="*/ 340586 h 438186"/>
                    <a:gd name="connsiteX264" fmla="*/ 38222 w 299021"/>
                    <a:gd name="connsiteY264" fmla="*/ 335630 h 438186"/>
                    <a:gd name="connsiteX265" fmla="*/ 42623 w 299021"/>
                    <a:gd name="connsiteY265" fmla="*/ 330920 h 438186"/>
                    <a:gd name="connsiteX266" fmla="*/ 46853 w 299021"/>
                    <a:gd name="connsiteY266" fmla="*/ 325989 h 438186"/>
                    <a:gd name="connsiteX267" fmla="*/ 49102 w 299021"/>
                    <a:gd name="connsiteY267" fmla="*/ 324188 h 438186"/>
                    <a:gd name="connsiteX268" fmla="*/ 53910 w 299021"/>
                    <a:gd name="connsiteY268" fmla="*/ 322151 h 438186"/>
                    <a:gd name="connsiteX269" fmla="*/ 56975 w 299021"/>
                    <a:gd name="connsiteY269" fmla="*/ 322998 h 438186"/>
                    <a:gd name="connsiteX270" fmla="*/ 57773 w 299021"/>
                    <a:gd name="connsiteY270" fmla="*/ 322835 h 438186"/>
                    <a:gd name="connsiteX271" fmla="*/ 62329 w 299021"/>
                    <a:gd name="connsiteY271" fmla="*/ 319282 h 438186"/>
                    <a:gd name="connsiteX272" fmla="*/ 64212 w 299021"/>
                    <a:gd name="connsiteY272" fmla="*/ 318369 h 438186"/>
                    <a:gd name="connsiteX273" fmla="*/ 65931 w 299021"/>
                    <a:gd name="connsiteY273" fmla="*/ 319632 h 438186"/>
                    <a:gd name="connsiteX274" fmla="*/ 67006 w 299021"/>
                    <a:gd name="connsiteY274" fmla="*/ 320097 h 438186"/>
                    <a:gd name="connsiteX275" fmla="*/ 65931 w 299021"/>
                    <a:gd name="connsiteY275" fmla="*/ 316845 h 438186"/>
                    <a:gd name="connsiteX276" fmla="*/ 66771 w 299021"/>
                    <a:gd name="connsiteY276" fmla="*/ 315354 h 438186"/>
                    <a:gd name="connsiteX277" fmla="*/ 70585 w 299021"/>
                    <a:gd name="connsiteY277" fmla="*/ 312738 h 438186"/>
                    <a:gd name="connsiteX278" fmla="*/ 75344 w 299021"/>
                    <a:gd name="connsiteY278" fmla="*/ 310032 h 438186"/>
                    <a:gd name="connsiteX279" fmla="*/ 78970 w 299021"/>
                    <a:gd name="connsiteY279" fmla="*/ 308899 h 438186"/>
                    <a:gd name="connsiteX280" fmla="*/ 81644 w 299021"/>
                    <a:gd name="connsiteY280" fmla="*/ 307065 h 438186"/>
                    <a:gd name="connsiteX281" fmla="*/ 83241 w 299021"/>
                    <a:gd name="connsiteY281" fmla="*/ 307008 h 438186"/>
                    <a:gd name="connsiteX282" fmla="*/ 83005 w 299021"/>
                    <a:gd name="connsiteY282" fmla="*/ 305631 h 438186"/>
                    <a:gd name="connsiteX283" fmla="*/ 83274 w 299021"/>
                    <a:gd name="connsiteY283" fmla="*/ 304311 h 438186"/>
                    <a:gd name="connsiteX284" fmla="*/ 84659 w 299021"/>
                    <a:gd name="connsiteY284" fmla="*/ 304401 h 438186"/>
                    <a:gd name="connsiteX285" fmla="*/ 85083 w 299021"/>
                    <a:gd name="connsiteY285" fmla="*/ 303879 h 438186"/>
                    <a:gd name="connsiteX286" fmla="*/ 83877 w 299021"/>
                    <a:gd name="connsiteY286" fmla="*/ 303170 h 438186"/>
                    <a:gd name="connsiteX287" fmla="*/ 87814 w 299021"/>
                    <a:gd name="connsiteY287" fmla="*/ 300521 h 438186"/>
                    <a:gd name="connsiteX288" fmla="*/ 89941 w 299021"/>
                    <a:gd name="connsiteY288" fmla="*/ 297588 h 438186"/>
                    <a:gd name="connsiteX289" fmla="*/ 91065 w 299021"/>
                    <a:gd name="connsiteY289" fmla="*/ 296984 h 438186"/>
                    <a:gd name="connsiteX290" fmla="*/ 92075 w 299021"/>
                    <a:gd name="connsiteY290" fmla="*/ 296112 h 438186"/>
                    <a:gd name="connsiteX291" fmla="*/ 93331 w 299021"/>
                    <a:gd name="connsiteY291" fmla="*/ 294091 h 438186"/>
                    <a:gd name="connsiteX292" fmla="*/ 94822 w 299021"/>
                    <a:gd name="connsiteY292" fmla="*/ 293431 h 438186"/>
                    <a:gd name="connsiteX293" fmla="*/ 96199 w 299021"/>
                    <a:gd name="connsiteY293" fmla="*/ 293733 h 438186"/>
                    <a:gd name="connsiteX294" fmla="*/ 97194 w 299021"/>
                    <a:gd name="connsiteY294" fmla="*/ 294727 h 438186"/>
                    <a:gd name="connsiteX295" fmla="*/ 96664 w 299021"/>
                    <a:gd name="connsiteY295" fmla="*/ 293080 h 438186"/>
                    <a:gd name="connsiteX296" fmla="*/ 94887 w 299021"/>
                    <a:gd name="connsiteY296" fmla="*/ 292160 h 438186"/>
                    <a:gd name="connsiteX297" fmla="*/ 96786 w 299021"/>
                    <a:gd name="connsiteY297" fmla="*/ 290725 h 438186"/>
                    <a:gd name="connsiteX298" fmla="*/ 98750 w 299021"/>
                    <a:gd name="connsiteY298" fmla="*/ 289723 h 438186"/>
                    <a:gd name="connsiteX299" fmla="*/ 100657 w 299021"/>
                    <a:gd name="connsiteY299" fmla="*/ 290457 h 438186"/>
                    <a:gd name="connsiteX300" fmla="*/ 102539 w 299021"/>
                    <a:gd name="connsiteY300" fmla="*/ 291597 h 438186"/>
                    <a:gd name="connsiteX301" fmla="*/ 100657 w 299021"/>
                    <a:gd name="connsiteY301" fmla="*/ 289837 h 438186"/>
                    <a:gd name="connsiteX302" fmla="*/ 100356 w 299021"/>
                    <a:gd name="connsiteY302" fmla="*/ 288737 h 438186"/>
                    <a:gd name="connsiteX303" fmla="*/ 102638 w 299021"/>
                    <a:gd name="connsiteY303" fmla="*/ 287466 h 438186"/>
                    <a:gd name="connsiteX304" fmla="*/ 103868 w 299021"/>
                    <a:gd name="connsiteY304" fmla="*/ 287083 h 438186"/>
                    <a:gd name="connsiteX305" fmla="*/ 105604 w 299021"/>
                    <a:gd name="connsiteY305" fmla="*/ 289446 h 438186"/>
                    <a:gd name="connsiteX306" fmla="*/ 105360 w 299021"/>
                    <a:gd name="connsiteY306" fmla="*/ 287580 h 438186"/>
                    <a:gd name="connsiteX307" fmla="*/ 105759 w 299021"/>
                    <a:gd name="connsiteY307" fmla="*/ 285925 h 438186"/>
                    <a:gd name="connsiteX308" fmla="*/ 108220 w 299021"/>
                    <a:gd name="connsiteY308" fmla="*/ 283203 h 438186"/>
                    <a:gd name="connsiteX309" fmla="*/ 111431 w 299021"/>
                    <a:gd name="connsiteY309" fmla="*/ 278705 h 438186"/>
                    <a:gd name="connsiteX310" fmla="*/ 112466 w 299021"/>
                    <a:gd name="connsiteY310" fmla="*/ 280253 h 438186"/>
                    <a:gd name="connsiteX311" fmla="*/ 112621 w 299021"/>
                    <a:gd name="connsiteY311" fmla="*/ 282168 h 438186"/>
                    <a:gd name="connsiteX312" fmla="*/ 112475 w 299021"/>
                    <a:gd name="connsiteY312" fmla="*/ 284442 h 438186"/>
                    <a:gd name="connsiteX313" fmla="*/ 113134 w 299021"/>
                    <a:gd name="connsiteY313" fmla="*/ 283643 h 438186"/>
                    <a:gd name="connsiteX314" fmla="*/ 113362 w 299021"/>
                    <a:gd name="connsiteY314" fmla="*/ 281565 h 438186"/>
                    <a:gd name="connsiteX315" fmla="*/ 112858 w 299021"/>
                    <a:gd name="connsiteY315" fmla="*/ 277922 h 438186"/>
                    <a:gd name="connsiteX316" fmla="*/ 116867 w 299021"/>
                    <a:gd name="connsiteY316" fmla="*/ 271174 h 438186"/>
                    <a:gd name="connsiteX317" fmla="*/ 117658 w 299021"/>
                    <a:gd name="connsiteY317" fmla="*/ 270416 h 438186"/>
                    <a:gd name="connsiteX318" fmla="*/ 118546 w 299021"/>
                    <a:gd name="connsiteY318" fmla="*/ 269960 h 438186"/>
                    <a:gd name="connsiteX319" fmla="*/ 119948 w 299021"/>
                    <a:gd name="connsiteY319" fmla="*/ 269780 h 438186"/>
                    <a:gd name="connsiteX320" fmla="*/ 119515 w 299021"/>
                    <a:gd name="connsiteY320" fmla="*/ 268762 h 438186"/>
                    <a:gd name="connsiteX321" fmla="*/ 118432 w 299021"/>
                    <a:gd name="connsiteY321" fmla="*/ 267784 h 438186"/>
                    <a:gd name="connsiteX322" fmla="*/ 119515 w 299021"/>
                    <a:gd name="connsiteY322" fmla="*/ 264353 h 438186"/>
                    <a:gd name="connsiteX323" fmla="*/ 120168 w 299021"/>
                    <a:gd name="connsiteY323" fmla="*/ 260449 h 438186"/>
                    <a:gd name="connsiteX324" fmla="*/ 121105 w 299021"/>
                    <a:gd name="connsiteY324" fmla="*/ 256692 h 438186"/>
                    <a:gd name="connsiteX325" fmla="*/ 122604 w 299021"/>
                    <a:gd name="connsiteY325" fmla="*/ 253033 h 438186"/>
                    <a:gd name="connsiteX326" fmla="*/ 124226 w 299021"/>
                    <a:gd name="connsiteY326" fmla="*/ 246896 h 438186"/>
                    <a:gd name="connsiteX327" fmla="*/ 125465 w 299021"/>
                    <a:gd name="connsiteY327" fmla="*/ 245625 h 438186"/>
                    <a:gd name="connsiteX328" fmla="*/ 128839 w 299021"/>
                    <a:gd name="connsiteY328" fmla="*/ 245184 h 438186"/>
                    <a:gd name="connsiteX329" fmla="*/ 130314 w 299021"/>
                    <a:gd name="connsiteY329" fmla="*/ 244329 h 438186"/>
                    <a:gd name="connsiteX330" fmla="*/ 132767 w 299021"/>
                    <a:gd name="connsiteY330" fmla="*/ 242120 h 438186"/>
                    <a:gd name="connsiteX331" fmla="*/ 135668 w 299021"/>
                    <a:gd name="connsiteY331" fmla="*/ 238127 h 438186"/>
                    <a:gd name="connsiteX332" fmla="*/ 137225 w 299021"/>
                    <a:gd name="connsiteY332" fmla="*/ 234908 h 438186"/>
                    <a:gd name="connsiteX333" fmla="*/ 139287 w 299021"/>
                    <a:gd name="connsiteY333" fmla="*/ 226595 h 438186"/>
                    <a:gd name="connsiteX334" fmla="*/ 140428 w 299021"/>
                    <a:gd name="connsiteY334" fmla="*/ 217916 h 438186"/>
                    <a:gd name="connsiteX335" fmla="*/ 143737 w 299021"/>
                    <a:gd name="connsiteY335" fmla="*/ 211486 h 438186"/>
                    <a:gd name="connsiteX336" fmla="*/ 148577 w 299021"/>
                    <a:gd name="connsiteY336" fmla="*/ 206840 h 438186"/>
                    <a:gd name="connsiteX337" fmla="*/ 152856 w 299021"/>
                    <a:gd name="connsiteY337" fmla="*/ 203295 h 438186"/>
                    <a:gd name="connsiteX338" fmla="*/ 154608 w 299021"/>
                    <a:gd name="connsiteY338" fmla="*/ 202561 h 438186"/>
                    <a:gd name="connsiteX339" fmla="*/ 157559 w 299021"/>
                    <a:gd name="connsiteY339" fmla="*/ 202342 h 438186"/>
                    <a:gd name="connsiteX340" fmla="*/ 160362 w 299021"/>
                    <a:gd name="connsiteY340" fmla="*/ 203320 h 438186"/>
                    <a:gd name="connsiteX341" fmla="*/ 155129 w 299021"/>
                    <a:gd name="connsiteY341" fmla="*/ 204167 h 438186"/>
                    <a:gd name="connsiteX342" fmla="*/ 154608 w 299021"/>
                    <a:gd name="connsiteY342" fmla="*/ 206270 h 438186"/>
                    <a:gd name="connsiteX343" fmla="*/ 154437 w 299021"/>
                    <a:gd name="connsiteY343" fmla="*/ 208389 h 438186"/>
                    <a:gd name="connsiteX344" fmla="*/ 155049 w 299021"/>
                    <a:gd name="connsiteY344" fmla="*/ 210296 h 438186"/>
                    <a:gd name="connsiteX345" fmla="*/ 155986 w 299021"/>
                    <a:gd name="connsiteY345" fmla="*/ 211983 h 438186"/>
                    <a:gd name="connsiteX346" fmla="*/ 158520 w 299021"/>
                    <a:gd name="connsiteY346" fmla="*/ 213588 h 438186"/>
                    <a:gd name="connsiteX347" fmla="*/ 161486 w 299021"/>
                    <a:gd name="connsiteY347" fmla="*/ 214542 h 438186"/>
                    <a:gd name="connsiteX348" fmla="*/ 162816 w 299021"/>
                    <a:gd name="connsiteY348" fmla="*/ 218119 h 438186"/>
                    <a:gd name="connsiteX349" fmla="*/ 163059 w 299021"/>
                    <a:gd name="connsiteY349" fmla="*/ 222390 h 438186"/>
                    <a:gd name="connsiteX350" fmla="*/ 163467 w 299021"/>
                    <a:gd name="connsiteY350" fmla="*/ 226057 h 438186"/>
                    <a:gd name="connsiteX351" fmla="*/ 164560 w 299021"/>
                    <a:gd name="connsiteY351" fmla="*/ 229301 h 438186"/>
                    <a:gd name="connsiteX352" fmla="*/ 168373 w 299021"/>
                    <a:gd name="connsiteY352" fmla="*/ 16617 h 438186"/>
                    <a:gd name="connsiteX353" fmla="*/ 168765 w 299021"/>
                    <a:gd name="connsiteY353" fmla="*/ 18133 h 438186"/>
                    <a:gd name="connsiteX354" fmla="*/ 170134 w 299021"/>
                    <a:gd name="connsiteY354" fmla="*/ 17057 h 438186"/>
                    <a:gd name="connsiteX355" fmla="*/ 171160 w 299021"/>
                    <a:gd name="connsiteY355" fmla="*/ 15354 h 438186"/>
                    <a:gd name="connsiteX356" fmla="*/ 172815 w 299021"/>
                    <a:gd name="connsiteY356" fmla="*/ 13651 h 438186"/>
                    <a:gd name="connsiteX357" fmla="*/ 172587 w 299021"/>
                    <a:gd name="connsiteY357" fmla="*/ 16413 h 438186"/>
                    <a:gd name="connsiteX358" fmla="*/ 173435 w 299021"/>
                    <a:gd name="connsiteY358" fmla="*/ 17016 h 438186"/>
                    <a:gd name="connsiteX359" fmla="*/ 178919 w 299021"/>
                    <a:gd name="connsiteY359" fmla="*/ 18956 h 438186"/>
                    <a:gd name="connsiteX360" fmla="*/ 180052 w 299021"/>
                    <a:gd name="connsiteY360" fmla="*/ 20553 h 438186"/>
                    <a:gd name="connsiteX361" fmla="*/ 181217 w 299021"/>
                    <a:gd name="connsiteY361" fmla="*/ 21026 h 438186"/>
                    <a:gd name="connsiteX362" fmla="*/ 181878 w 299021"/>
                    <a:gd name="connsiteY362" fmla="*/ 20130 h 438186"/>
                    <a:gd name="connsiteX363" fmla="*/ 182652 w 299021"/>
                    <a:gd name="connsiteY363" fmla="*/ 19633 h 438186"/>
                    <a:gd name="connsiteX364" fmla="*/ 184623 w 299021"/>
                    <a:gd name="connsiteY364" fmla="*/ 20651 h 438186"/>
                    <a:gd name="connsiteX365" fmla="*/ 189098 w 299021"/>
                    <a:gd name="connsiteY365" fmla="*/ 23471 h 438186"/>
                    <a:gd name="connsiteX366" fmla="*/ 189473 w 299021"/>
                    <a:gd name="connsiteY366" fmla="*/ 24449 h 438186"/>
                    <a:gd name="connsiteX367" fmla="*/ 189245 w 299021"/>
                    <a:gd name="connsiteY367" fmla="*/ 25900 h 438186"/>
                    <a:gd name="connsiteX368" fmla="*/ 189456 w 299021"/>
                    <a:gd name="connsiteY368" fmla="*/ 27432 h 438186"/>
                    <a:gd name="connsiteX369" fmla="*/ 190068 w 299021"/>
                    <a:gd name="connsiteY369" fmla="*/ 28654 h 438186"/>
                    <a:gd name="connsiteX370" fmla="*/ 191560 w 299021"/>
                    <a:gd name="connsiteY370" fmla="*/ 28940 h 438186"/>
                    <a:gd name="connsiteX371" fmla="*/ 193531 w 299021"/>
                    <a:gd name="connsiteY371" fmla="*/ 27114 h 438186"/>
                    <a:gd name="connsiteX372" fmla="*/ 194460 w 299021"/>
                    <a:gd name="connsiteY372" fmla="*/ 26894 h 438186"/>
                    <a:gd name="connsiteX373" fmla="*/ 195781 w 299021"/>
                    <a:gd name="connsiteY373" fmla="*/ 29453 h 438186"/>
                    <a:gd name="connsiteX374" fmla="*/ 196278 w 299021"/>
                    <a:gd name="connsiteY374" fmla="*/ 30904 h 438186"/>
                    <a:gd name="connsiteX375" fmla="*/ 196066 w 299021"/>
                    <a:gd name="connsiteY375" fmla="*/ 30863 h 438186"/>
                    <a:gd name="connsiteX376" fmla="*/ 196914 w 299021"/>
                    <a:gd name="connsiteY376" fmla="*/ 32297 h 438186"/>
                    <a:gd name="connsiteX377" fmla="*/ 198047 w 299021"/>
                    <a:gd name="connsiteY377" fmla="*/ 33732 h 438186"/>
                    <a:gd name="connsiteX378" fmla="*/ 199994 w 299021"/>
                    <a:gd name="connsiteY378" fmla="*/ 37970 h 438186"/>
                    <a:gd name="connsiteX379" fmla="*/ 199709 w 299021"/>
                    <a:gd name="connsiteY379" fmla="*/ 39453 h 438186"/>
                    <a:gd name="connsiteX380" fmla="*/ 199130 w 299021"/>
                    <a:gd name="connsiteY380" fmla="*/ 40781 h 438186"/>
                    <a:gd name="connsiteX381" fmla="*/ 200932 w 299021"/>
                    <a:gd name="connsiteY381" fmla="*/ 44685 h 438186"/>
                    <a:gd name="connsiteX382" fmla="*/ 199758 w 299021"/>
                    <a:gd name="connsiteY382" fmla="*/ 44962 h 438186"/>
                    <a:gd name="connsiteX383" fmla="*/ 196221 w 299021"/>
                    <a:gd name="connsiteY383" fmla="*/ 44294 h 438186"/>
                    <a:gd name="connsiteX384" fmla="*/ 196335 w 299021"/>
                    <a:gd name="connsiteY384" fmla="*/ 45076 h 438186"/>
                    <a:gd name="connsiteX385" fmla="*/ 198389 w 299021"/>
                    <a:gd name="connsiteY385" fmla="*/ 47937 h 438186"/>
                    <a:gd name="connsiteX386" fmla="*/ 200124 w 299021"/>
                    <a:gd name="connsiteY386" fmla="*/ 51995 h 438186"/>
                    <a:gd name="connsiteX387" fmla="*/ 201527 w 299021"/>
                    <a:gd name="connsiteY387" fmla="*/ 54448 h 438186"/>
                    <a:gd name="connsiteX388" fmla="*/ 206416 w 299021"/>
                    <a:gd name="connsiteY388" fmla="*/ 62036 h 438186"/>
                    <a:gd name="connsiteX389" fmla="*/ 205682 w 299021"/>
                    <a:gd name="connsiteY389" fmla="*/ 64741 h 438186"/>
                    <a:gd name="connsiteX390" fmla="*/ 205805 w 299021"/>
                    <a:gd name="connsiteY390" fmla="*/ 66526 h 438186"/>
                    <a:gd name="connsiteX391" fmla="*/ 205178 w 299021"/>
                    <a:gd name="connsiteY391" fmla="*/ 68059 h 438186"/>
                    <a:gd name="connsiteX392" fmla="*/ 206848 w 299021"/>
                    <a:gd name="connsiteY392" fmla="*/ 72076 h 438186"/>
                    <a:gd name="connsiteX393" fmla="*/ 205805 w 299021"/>
                    <a:gd name="connsiteY393" fmla="*/ 73331 h 438186"/>
                    <a:gd name="connsiteX394" fmla="*/ 205104 w 299021"/>
                    <a:gd name="connsiteY394" fmla="*/ 77455 h 438186"/>
                    <a:gd name="connsiteX395" fmla="*/ 204354 w 299021"/>
                    <a:gd name="connsiteY395" fmla="*/ 78180 h 438186"/>
                    <a:gd name="connsiteX396" fmla="*/ 204444 w 299021"/>
                    <a:gd name="connsiteY396" fmla="*/ 79696 h 438186"/>
                    <a:gd name="connsiteX397" fmla="*/ 206416 w 299021"/>
                    <a:gd name="connsiteY397" fmla="*/ 80104 h 438186"/>
                    <a:gd name="connsiteX398" fmla="*/ 207606 w 299021"/>
                    <a:gd name="connsiteY398" fmla="*/ 80739 h 438186"/>
                    <a:gd name="connsiteX399" fmla="*/ 208633 w 299021"/>
                    <a:gd name="connsiteY399" fmla="*/ 81962 h 438186"/>
                    <a:gd name="connsiteX400" fmla="*/ 209277 w 299021"/>
                    <a:gd name="connsiteY400" fmla="*/ 80487 h 438186"/>
                    <a:gd name="connsiteX401" fmla="*/ 210140 w 299021"/>
                    <a:gd name="connsiteY401" fmla="*/ 80079 h 438186"/>
                    <a:gd name="connsiteX402" fmla="*/ 212496 w 299021"/>
                    <a:gd name="connsiteY402" fmla="*/ 82043 h 438186"/>
                    <a:gd name="connsiteX403" fmla="*/ 217410 w 299021"/>
                    <a:gd name="connsiteY403" fmla="*/ 84007 h 438186"/>
                    <a:gd name="connsiteX404" fmla="*/ 218763 w 299021"/>
                    <a:gd name="connsiteY404" fmla="*/ 84757 h 438186"/>
                    <a:gd name="connsiteX405" fmla="*/ 219431 w 299021"/>
                    <a:gd name="connsiteY405" fmla="*/ 86330 h 438186"/>
                    <a:gd name="connsiteX406" fmla="*/ 219928 w 299021"/>
                    <a:gd name="connsiteY406" fmla="*/ 90177 h 438186"/>
                    <a:gd name="connsiteX407" fmla="*/ 220890 w 299021"/>
                    <a:gd name="connsiteY407" fmla="*/ 91864 h 438186"/>
                    <a:gd name="connsiteX408" fmla="*/ 222765 w 299021"/>
                    <a:gd name="connsiteY408" fmla="*/ 92190 h 438186"/>
                    <a:gd name="connsiteX409" fmla="*/ 224785 w 299021"/>
                    <a:gd name="connsiteY409" fmla="*/ 91684 h 438186"/>
                    <a:gd name="connsiteX410" fmla="*/ 225430 w 299021"/>
                    <a:gd name="connsiteY410" fmla="*/ 90291 h 438186"/>
                    <a:gd name="connsiteX411" fmla="*/ 225014 w 299021"/>
                    <a:gd name="connsiteY411" fmla="*/ 86534 h 438186"/>
                    <a:gd name="connsiteX412" fmla="*/ 223555 w 299021"/>
                    <a:gd name="connsiteY412" fmla="*/ 80503 h 438186"/>
                    <a:gd name="connsiteX413" fmla="*/ 223547 w 299021"/>
                    <a:gd name="connsiteY413" fmla="*/ 78547 h 438186"/>
                    <a:gd name="connsiteX414" fmla="*/ 223751 w 299021"/>
                    <a:gd name="connsiteY414" fmla="*/ 76599 h 438186"/>
                    <a:gd name="connsiteX415" fmla="*/ 223408 w 299021"/>
                    <a:gd name="connsiteY415" fmla="*/ 74651 h 438186"/>
                    <a:gd name="connsiteX416" fmla="*/ 222675 w 299021"/>
                    <a:gd name="connsiteY416" fmla="*/ 72809 h 438186"/>
                    <a:gd name="connsiteX417" fmla="*/ 221892 w 299021"/>
                    <a:gd name="connsiteY417" fmla="*/ 71408 h 438186"/>
                    <a:gd name="connsiteX418" fmla="*/ 220882 w 299021"/>
                    <a:gd name="connsiteY418" fmla="*/ 70226 h 438186"/>
                    <a:gd name="connsiteX419" fmla="*/ 221233 w 299021"/>
                    <a:gd name="connsiteY419" fmla="*/ 68376 h 438186"/>
                    <a:gd name="connsiteX420" fmla="*/ 222757 w 299021"/>
                    <a:gd name="connsiteY420" fmla="*/ 67537 h 438186"/>
                    <a:gd name="connsiteX421" fmla="*/ 223661 w 299021"/>
                    <a:gd name="connsiteY421" fmla="*/ 69102 h 438186"/>
                    <a:gd name="connsiteX422" fmla="*/ 224419 w 299021"/>
                    <a:gd name="connsiteY422" fmla="*/ 70968 h 438186"/>
                    <a:gd name="connsiteX423" fmla="*/ 228225 w 299021"/>
                    <a:gd name="connsiteY423" fmla="*/ 76534 h 438186"/>
                    <a:gd name="connsiteX424" fmla="*/ 230475 w 299021"/>
                    <a:gd name="connsiteY424" fmla="*/ 76143 h 438186"/>
                    <a:gd name="connsiteX425" fmla="*/ 230686 w 299021"/>
                    <a:gd name="connsiteY425" fmla="*/ 78458 h 438186"/>
                    <a:gd name="connsiteX426" fmla="*/ 232210 w 299021"/>
                    <a:gd name="connsiteY426" fmla="*/ 80804 h 438186"/>
                    <a:gd name="connsiteX427" fmla="*/ 233057 w 299021"/>
                    <a:gd name="connsiteY427" fmla="*/ 83543 h 438186"/>
                    <a:gd name="connsiteX428" fmla="*/ 234174 w 299021"/>
                    <a:gd name="connsiteY428" fmla="*/ 91774 h 438186"/>
                    <a:gd name="connsiteX429" fmla="*/ 235878 w 299021"/>
                    <a:gd name="connsiteY429" fmla="*/ 99524 h 438186"/>
                    <a:gd name="connsiteX430" fmla="*/ 238975 w 299021"/>
                    <a:gd name="connsiteY430" fmla="*/ 102907 h 438186"/>
                    <a:gd name="connsiteX431" fmla="*/ 239325 w 299021"/>
                    <a:gd name="connsiteY431" fmla="*/ 104520 h 438186"/>
                    <a:gd name="connsiteX432" fmla="*/ 237458 w 299021"/>
                    <a:gd name="connsiteY432" fmla="*/ 103689 h 438186"/>
                    <a:gd name="connsiteX433" fmla="*/ 236879 w 299021"/>
                    <a:gd name="connsiteY433" fmla="*/ 104170 h 438186"/>
                    <a:gd name="connsiteX434" fmla="*/ 237075 w 299021"/>
                    <a:gd name="connsiteY434" fmla="*/ 104993 h 438186"/>
                    <a:gd name="connsiteX435" fmla="*/ 238819 w 299021"/>
                    <a:gd name="connsiteY435" fmla="*/ 106484 h 438186"/>
                    <a:gd name="connsiteX436" fmla="*/ 240873 w 299021"/>
                    <a:gd name="connsiteY436" fmla="*/ 107218 h 438186"/>
                    <a:gd name="connsiteX437" fmla="*/ 242161 w 299021"/>
                    <a:gd name="connsiteY437" fmla="*/ 107104 h 438186"/>
                    <a:gd name="connsiteX438" fmla="*/ 243359 w 299021"/>
                    <a:gd name="connsiteY438" fmla="*/ 107642 h 438186"/>
                    <a:gd name="connsiteX439" fmla="*/ 251370 w 299021"/>
                    <a:gd name="connsiteY439" fmla="*/ 112686 h 438186"/>
                    <a:gd name="connsiteX440" fmla="*/ 255233 w 299021"/>
                    <a:gd name="connsiteY440" fmla="*/ 114658 h 438186"/>
                    <a:gd name="connsiteX441" fmla="*/ 264948 w 299021"/>
                    <a:gd name="connsiteY441" fmla="*/ 117870 h 438186"/>
                    <a:gd name="connsiteX442" fmla="*/ 267726 w 299021"/>
                    <a:gd name="connsiteY442" fmla="*/ 118122 h 438186"/>
                    <a:gd name="connsiteX443" fmla="*/ 269259 w 299021"/>
                    <a:gd name="connsiteY443" fmla="*/ 118032 h 438186"/>
                    <a:gd name="connsiteX444" fmla="*/ 272168 w 299021"/>
                    <a:gd name="connsiteY444" fmla="*/ 116916 h 438186"/>
                    <a:gd name="connsiteX445" fmla="*/ 274768 w 299021"/>
                    <a:gd name="connsiteY445" fmla="*/ 114911 h 438186"/>
                    <a:gd name="connsiteX446" fmla="*/ 277017 w 299021"/>
                    <a:gd name="connsiteY446" fmla="*/ 111912 h 438186"/>
                    <a:gd name="connsiteX447" fmla="*/ 278957 w 299021"/>
                    <a:gd name="connsiteY447" fmla="*/ 108489 h 438186"/>
                    <a:gd name="connsiteX448" fmla="*/ 281076 w 299021"/>
                    <a:gd name="connsiteY448" fmla="*/ 106835 h 438186"/>
                    <a:gd name="connsiteX449" fmla="*/ 283472 w 299021"/>
                    <a:gd name="connsiteY449" fmla="*/ 105531 h 438186"/>
                    <a:gd name="connsiteX450" fmla="*/ 284670 w 299021"/>
                    <a:gd name="connsiteY450" fmla="*/ 104324 h 438186"/>
                    <a:gd name="connsiteX451" fmla="*/ 285941 w 299021"/>
                    <a:gd name="connsiteY451" fmla="*/ 103469 h 438186"/>
                    <a:gd name="connsiteX452" fmla="*/ 292461 w 299021"/>
                    <a:gd name="connsiteY452" fmla="*/ 103868 h 438186"/>
                    <a:gd name="connsiteX453" fmla="*/ 294670 w 299021"/>
                    <a:gd name="connsiteY453" fmla="*/ 105596 h 438186"/>
                    <a:gd name="connsiteX454" fmla="*/ 297522 w 299021"/>
                    <a:gd name="connsiteY454" fmla="*/ 106973 h 438186"/>
                    <a:gd name="connsiteX455" fmla="*/ 299021 w 299021"/>
                    <a:gd name="connsiteY455" fmla="*/ 108057 h 438186"/>
                    <a:gd name="connsiteX456" fmla="*/ 298517 w 299021"/>
                    <a:gd name="connsiteY456" fmla="*/ 110250 h 438186"/>
                    <a:gd name="connsiteX457" fmla="*/ 296813 w 299021"/>
                    <a:gd name="connsiteY457" fmla="*/ 113485 h 438186"/>
                    <a:gd name="connsiteX458" fmla="*/ 295492 w 299021"/>
                    <a:gd name="connsiteY458" fmla="*/ 117038 h 438186"/>
                    <a:gd name="connsiteX459" fmla="*/ 294335 w 299021"/>
                    <a:gd name="connsiteY459" fmla="*/ 125098 h 438186"/>
                    <a:gd name="connsiteX460" fmla="*/ 293537 w 299021"/>
                    <a:gd name="connsiteY460" fmla="*/ 133240 h 438186"/>
                    <a:gd name="connsiteX461" fmla="*/ 292355 w 299021"/>
                    <a:gd name="connsiteY461" fmla="*/ 136842 h 438186"/>
                    <a:gd name="connsiteX462" fmla="*/ 290195 w 299021"/>
                    <a:gd name="connsiteY462" fmla="*/ 139621 h 438186"/>
                    <a:gd name="connsiteX463" fmla="*/ 287807 w 299021"/>
                    <a:gd name="connsiteY463" fmla="*/ 141650 h 438186"/>
                    <a:gd name="connsiteX464" fmla="*/ 285118 w 299021"/>
                    <a:gd name="connsiteY464" fmla="*/ 142604 h 438186"/>
                    <a:gd name="connsiteX465" fmla="*/ 284026 w 299021"/>
                    <a:gd name="connsiteY465" fmla="*/ 147233 h 438186"/>
                    <a:gd name="connsiteX466" fmla="*/ 283488 w 299021"/>
                    <a:gd name="connsiteY466" fmla="*/ 152677 h 438186"/>
                    <a:gd name="connsiteX467" fmla="*/ 283643 w 299021"/>
                    <a:gd name="connsiteY467" fmla="*/ 154046 h 438186"/>
                    <a:gd name="connsiteX468" fmla="*/ 284506 w 299021"/>
                    <a:gd name="connsiteY468" fmla="*/ 155130 h 438186"/>
                    <a:gd name="connsiteX469" fmla="*/ 284858 w 299021"/>
                    <a:gd name="connsiteY469" fmla="*/ 156744 h 438186"/>
                    <a:gd name="connsiteX470" fmla="*/ 283456 w 299021"/>
                    <a:gd name="connsiteY470" fmla="*/ 160020 h 438186"/>
                    <a:gd name="connsiteX471" fmla="*/ 282624 w 299021"/>
                    <a:gd name="connsiteY471" fmla="*/ 159547 h 438186"/>
                    <a:gd name="connsiteX472" fmla="*/ 281459 w 299021"/>
                    <a:gd name="connsiteY472" fmla="*/ 156817 h 438186"/>
                    <a:gd name="connsiteX473" fmla="*/ 280400 w 299021"/>
                    <a:gd name="connsiteY473" fmla="*/ 155668 h 438186"/>
                    <a:gd name="connsiteX474" fmla="*/ 277164 w 299021"/>
                    <a:gd name="connsiteY474" fmla="*/ 154821 h 438186"/>
                    <a:gd name="connsiteX475" fmla="*/ 273872 w 299021"/>
                    <a:gd name="connsiteY475" fmla="*/ 154421 h 438186"/>
                    <a:gd name="connsiteX476" fmla="*/ 271011 w 299021"/>
                    <a:gd name="connsiteY476" fmla="*/ 154665 h 438186"/>
                    <a:gd name="connsiteX477" fmla="*/ 268257 w 299021"/>
                    <a:gd name="connsiteY477" fmla="*/ 155831 h 438186"/>
                    <a:gd name="connsiteX478" fmla="*/ 264092 w 299021"/>
                    <a:gd name="connsiteY478" fmla="*/ 158203 h 438186"/>
                    <a:gd name="connsiteX479" fmla="*/ 262804 w 299021"/>
                    <a:gd name="connsiteY479" fmla="*/ 159400 h 438186"/>
                    <a:gd name="connsiteX480" fmla="*/ 261671 w 299021"/>
                    <a:gd name="connsiteY480" fmla="*/ 160933 h 438186"/>
                    <a:gd name="connsiteX481" fmla="*/ 259765 w 299021"/>
                    <a:gd name="connsiteY481" fmla="*/ 164331 h 438186"/>
                    <a:gd name="connsiteX482" fmla="*/ 259300 w 299021"/>
                    <a:gd name="connsiteY482" fmla="*/ 168488 h 438186"/>
                    <a:gd name="connsiteX483" fmla="*/ 259398 w 299021"/>
                    <a:gd name="connsiteY483" fmla="*/ 170688 h 438186"/>
                    <a:gd name="connsiteX484" fmla="*/ 260074 w 299021"/>
                    <a:gd name="connsiteY484" fmla="*/ 172359 h 438186"/>
                    <a:gd name="connsiteX485" fmla="*/ 263628 w 299021"/>
                    <a:gd name="connsiteY485" fmla="*/ 174657 h 438186"/>
                    <a:gd name="connsiteX486" fmla="*/ 260107 w 299021"/>
                    <a:gd name="connsiteY486" fmla="*/ 182700 h 438186"/>
                    <a:gd name="connsiteX487" fmla="*/ 256985 w 299021"/>
                    <a:gd name="connsiteY487" fmla="*/ 191078 h 438186"/>
                    <a:gd name="connsiteX488" fmla="*/ 255208 w 299021"/>
                    <a:gd name="connsiteY488" fmla="*/ 193483 h 438186"/>
                    <a:gd name="connsiteX489" fmla="*/ 253179 w 299021"/>
                    <a:gd name="connsiteY489" fmla="*/ 195691 h 438186"/>
                    <a:gd name="connsiteX490" fmla="*/ 251264 w 299021"/>
                    <a:gd name="connsiteY490" fmla="*/ 200736 h 438186"/>
                    <a:gd name="connsiteX491" fmla="*/ 247914 w 299021"/>
                    <a:gd name="connsiteY491" fmla="*/ 205088 h 438186"/>
                    <a:gd name="connsiteX492" fmla="*/ 245657 w 299021"/>
                    <a:gd name="connsiteY492" fmla="*/ 208413 h 438186"/>
                    <a:gd name="connsiteX493" fmla="*/ 243889 w 299021"/>
                    <a:gd name="connsiteY493" fmla="*/ 211860 h 438186"/>
                    <a:gd name="connsiteX494" fmla="*/ 242348 w 299021"/>
                    <a:gd name="connsiteY494" fmla="*/ 215536 h 438186"/>
                    <a:gd name="connsiteX495" fmla="*/ 239047 w 299021"/>
                    <a:gd name="connsiteY495" fmla="*/ 220735 h 438186"/>
                    <a:gd name="connsiteX496" fmla="*/ 237589 w 299021"/>
                    <a:gd name="connsiteY496" fmla="*/ 224174 h 438186"/>
                    <a:gd name="connsiteX497" fmla="*/ 235682 w 299021"/>
                    <a:gd name="connsiteY497" fmla="*/ 227035 h 438186"/>
                    <a:gd name="connsiteX498" fmla="*/ 232128 w 299021"/>
                    <a:gd name="connsiteY498" fmla="*/ 230678 h 438186"/>
                    <a:gd name="connsiteX499" fmla="*/ 228356 w 299021"/>
                    <a:gd name="connsiteY499" fmla="*/ 233824 h 438186"/>
                    <a:gd name="connsiteX500" fmla="*/ 222398 w 299021"/>
                    <a:gd name="connsiteY500" fmla="*/ 238143 h 438186"/>
                    <a:gd name="connsiteX501" fmla="*/ 220743 w 299021"/>
                    <a:gd name="connsiteY501" fmla="*/ 239577 h 438186"/>
                    <a:gd name="connsiteX502" fmla="*/ 218991 w 299021"/>
                    <a:gd name="connsiteY502" fmla="*/ 240629 h 438186"/>
                    <a:gd name="connsiteX503" fmla="*/ 216808 w 299021"/>
                    <a:gd name="connsiteY503" fmla="*/ 239390 h 438186"/>
                    <a:gd name="connsiteX504" fmla="*/ 216375 w 299021"/>
                    <a:gd name="connsiteY504" fmla="*/ 238045 h 438186"/>
                    <a:gd name="connsiteX505" fmla="*/ 215869 w 299021"/>
                    <a:gd name="connsiteY505" fmla="*/ 235103 h 438186"/>
                    <a:gd name="connsiteX506" fmla="*/ 215397 w 299021"/>
                    <a:gd name="connsiteY506" fmla="*/ 234019 h 438186"/>
                    <a:gd name="connsiteX507" fmla="*/ 212634 w 299021"/>
                    <a:gd name="connsiteY507" fmla="*/ 233123 h 438186"/>
                    <a:gd name="connsiteX508" fmla="*/ 208967 w 299021"/>
                    <a:gd name="connsiteY508" fmla="*/ 234549 h 438186"/>
                    <a:gd name="connsiteX509" fmla="*/ 208347 w 299021"/>
                    <a:gd name="connsiteY509" fmla="*/ 234248 h 438186"/>
                    <a:gd name="connsiteX510" fmla="*/ 208193 w 299021"/>
                    <a:gd name="connsiteY510" fmla="*/ 233580 h 438186"/>
                    <a:gd name="connsiteX511" fmla="*/ 208184 w 299021"/>
                    <a:gd name="connsiteY511" fmla="*/ 229260 h 438186"/>
                    <a:gd name="connsiteX512" fmla="*/ 208812 w 299021"/>
                    <a:gd name="connsiteY512" fmla="*/ 228054 h 438186"/>
                    <a:gd name="connsiteX513" fmla="*/ 207956 w 299021"/>
                    <a:gd name="connsiteY513" fmla="*/ 227377 h 438186"/>
                    <a:gd name="connsiteX514" fmla="*/ 207109 w 299021"/>
                    <a:gd name="connsiteY514" fmla="*/ 227654 h 438186"/>
                    <a:gd name="connsiteX515" fmla="*/ 206823 w 299021"/>
                    <a:gd name="connsiteY515" fmla="*/ 228738 h 438186"/>
                    <a:gd name="connsiteX516" fmla="*/ 207346 w 299021"/>
                    <a:gd name="connsiteY516" fmla="*/ 229684 h 438186"/>
                    <a:gd name="connsiteX517" fmla="*/ 205258 w 299021"/>
                    <a:gd name="connsiteY517" fmla="*/ 230874 h 438186"/>
                    <a:gd name="connsiteX518" fmla="*/ 203083 w 299021"/>
                    <a:gd name="connsiteY518" fmla="*/ 230922 h 438186"/>
                    <a:gd name="connsiteX519" fmla="*/ 202423 w 299021"/>
                    <a:gd name="connsiteY519" fmla="*/ 230450 h 438186"/>
                    <a:gd name="connsiteX520" fmla="*/ 202235 w 299021"/>
                    <a:gd name="connsiteY520" fmla="*/ 229651 h 438186"/>
                    <a:gd name="connsiteX521" fmla="*/ 202765 w 299021"/>
                    <a:gd name="connsiteY521" fmla="*/ 228347 h 438186"/>
                    <a:gd name="connsiteX522" fmla="*/ 203466 w 299021"/>
                    <a:gd name="connsiteY522" fmla="*/ 227190 h 438186"/>
                    <a:gd name="connsiteX523" fmla="*/ 207508 w 299021"/>
                    <a:gd name="connsiteY523" fmla="*/ 221770 h 438186"/>
                    <a:gd name="connsiteX524" fmla="*/ 211697 w 299021"/>
                    <a:gd name="connsiteY524" fmla="*/ 214566 h 438186"/>
                    <a:gd name="connsiteX525" fmla="*/ 215307 w 299021"/>
                    <a:gd name="connsiteY525" fmla="*/ 206873 h 438186"/>
                    <a:gd name="connsiteX526" fmla="*/ 216252 w 299021"/>
                    <a:gd name="connsiteY526" fmla="*/ 202912 h 438186"/>
                    <a:gd name="connsiteX527" fmla="*/ 217582 w 299021"/>
                    <a:gd name="connsiteY527" fmla="*/ 195577 h 438186"/>
                    <a:gd name="connsiteX528" fmla="*/ 216489 w 299021"/>
                    <a:gd name="connsiteY528" fmla="*/ 192521 h 438186"/>
                    <a:gd name="connsiteX529" fmla="*/ 215144 w 299021"/>
                    <a:gd name="connsiteY529" fmla="*/ 189652 h 438186"/>
                    <a:gd name="connsiteX530" fmla="*/ 211510 w 299021"/>
                    <a:gd name="connsiteY530" fmla="*/ 184119 h 438186"/>
                    <a:gd name="connsiteX531" fmla="*/ 206669 w 299021"/>
                    <a:gd name="connsiteY531" fmla="*/ 181014 h 438186"/>
                    <a:gd name="connsiteX532" fmla="*/ 203523 w 299021"/>
                    <a:gd name="connsiteY532" fmla="*/ 180566 h 438186"/>
                    <a:gd name="connsiteX533" fmla="*/ 200548 w 299021"/>
                    <a:gd name="connsiteY533" fmla="*/ 179400 h 438186"/>
                    <a:gd name="connsiteX534" fmla="*/ 197744 w 299021"/>
                    <a:gd name="connsiteY534" fmla="*/ 176768 h 438186"/>
                    <a:gd name="connsiteX535" fmla="*/ 195203 w 299021"/>
                    <a:gd name="connsiteY535" fmla="*/ 173671 h 438186"/>
                    <a:gd name="connsiteX536" fmla="*/ 190158 w 299021"/>
                    <a:gd name="connsiteY536" fmla="*/ 171128 h 438186"/>
                    <a:gd name="connsiteX537" fmla="*/ 184852 w 299021"/>
                    <a:gd name="connsiteY537" fmla="*/ 169123 h 438186"/>
                    <a:gd name="connsiteX538" fmla="*/ 181812 w 299021"/>
                    <a:gd name="connsiteY538" fmla="*/ 166303 h 438186"/>
                    <a:gd name="connsiteX539" fmla="*/ 181095 w 299021"/>
                    <a:gd name="connsiteY539" fmla="*/ 164641 h 438186"/>
                    <a:gd name="connsiteX540" fmla="*/ 180606 w 299021"/>
                    <a:gd name="connsiteY540" fmla="*/ 162693 h 438186"/>
                    <a:gd name="connsiteX541" fmla="*/ 180679 w 299021"/>
                    <a:gd name="connsiteY541" fmla="*/ 160900 h 438186"/>
                    <a:gd name="connsiteX542" fmla="*/ 181054 w 299021"/>
                    <a:gd name="connsiteY542" fmla="*/ 159074 h 438186"/>
                    <a:gd name="connsiteX543" fmla="*/ 181666 w 299021"/>
                    <a:gd name="connsiteY543" fmla="*/ 157656 h 438186"/>
                    <a:gd name="connsiteX544" fmla="*/ 182603 w 299021"/>
                    <a:gd name="connsiteY544" fmla="*/ 156646 h 438186"/>
                    <a:gd name="connsiteX545" fmla="*/ 188234 w 299021"/>
                    <a:gd name="connsiteY545" fmla="*/ 152995 h 438186"/>
                    <a:gd name="connsiteX546" fmla="*/ 194192 w 299021"/>
                    <a:gd name="connsiteY546" fmla="*/ 150966 h 438186"/>
                    <a:gd name="connsiteX547" fmla="*/ 195292 w 299021"/>
                    <a:gd name="connsiteY547" fmla="*/ 151014 h 438186"/>
                    <a:gd name="connsiteX548" fmla="*/ 196352 w 299021"/>
                    <a:gd name="connsiteY548" fmla="*/ 150696 h 438186"/>
                    <a:gd name="connsiteX549" fmla="*/ 197843 w 299021"/>
                    <a:gd name="connsiteY549" fmla="*/ 149441 h 438186"/>
                    <a:gd name="connsiteX550" fmla="*/ 200508 w 299021"/>
                    <a:gd name="connsiteY550" fmla="*/ 146606 h 438186"/>
                    <a:gd name="connsiteX551" fmla="*/ 201290 w 299021"/>
                    <a:gd name="connsiteY551" fmla="*/ 144714 h 438186"/>
                    <a:gd name="connsiteX552" fmla="*/ 201803 w 299021"/>
                    <a:gd name="connsiteY552" fmla="*/ 138668 h 438186"/>
                    <a:gd name="connsiteX553" fmla="*/ 202659 w 299021"/>
                    <a:gd name="connsiteY553" fmla="*/ 132727 h 438186"/>
                    <a:gd name="connsiteX554" fmla="*/ 204199 w 299021"/>
                    <a:gd name="connsiteY554" fmla="*/ 125921 h 438186"/>
                    <a:gd name="connsiteX555" fmla="*/ 206522 w 299021"/>
                    <a:gd name="connsiteY555" fmla="*/ 121700 h 438186"/>
                    <a:gd name="connsiteX556" fmla="*/ 207296 w 299021"/>
                    <a:gd name="connsiteY556" fmla="*/ 119125 h 438186"/>
                    <a:gd name="connsiteX557" fmla="*/ 206343 w 299021"/>
                    <a:gd name="connsiteY557" fmla="*/ 114870 h 438186"/>
                    <a:gd name="connsiteX558" fmla="*/ 207215 w 299021"/>
                    <a:gd name="connsiteY558" fmla="*/ 113314 h 438186"/>
                    <a:gd name="connsiteX559" fmla="*/ 208274 w 299021"/>
                    <a:gd name="connsiteY559" fmla="*/ 112377 h 438186"/>
                    <a:gd name="connsiteX560" fmla="*/ 209473 w 299021"/>
                    <a:gd name="connsiteY560" fmla="*/ 111838 h 438186"/>
                    <a:gd name="connsiteX561" fmla="*/ 207443 w 299021"/>
                    <a:gd name="connsiteY561" fmla="*/ 107837 h 438186"/>
                    <a:gd name="connsiteX562" fmla="*/ 205039 w 299021"/>
                    <a:gd name="connsiteY562" fmla="*/ 101822 h 438186"/>
                    <a:gd name="connsiteX563" fmla="*/ 204533 w 299021"/>
                    <a:gd name="connsiteY563" fmla="*/ 99948 h 438186"/>
                    <a:gd name="connsiteX564" fmla="*/ 204908 w 299021"/>
                    <a:gd name="connsiteY564" fmla="*/ 98098 h 438186"/>
                    <a:gd name="connsiteX565" fmla="*/ 205487 w 299021"/>
                    <a:gd name="connsiteY565" fmla="*/ 96281 h 438186"/>
                    <a:gd name="connsiteX566" fmla="*/ 203996 w 299021"/>
                    <a:gd name="connsiteY566" fmla="*/ 95825 h 438186"/>
                    <a:gd name="connsiteX567" fmla="*/ 203131 w 299021"/>
                    <a:gd name="connsiteY567" fmla="*/ 94081 h 438186"/>
                    <a:gd name="connsiteX568" fmla="*/ 200981 w 299021"/>
                    <a:gd name="connsiteY568" fmla="*/ 88237 h 438186"/>
                    <a:gd name="connsiteX569" fmla="*/ 201559 w 299021"/>
                    <a:gd name="connsiteY569" fmla="*/ 87308 h 438186"/>
                    <a:gd name="connsiteX570" fmla="*/ 202806 w 299021"/>
                    <a:gd name="connsiteY570" fmla="*/ 87935 h 438186"/>
                    <a:gd name="connsiteX571" fmla="*/ 204656 w 299021"/>
                    <a:gd name="connsiteY571" fmla="*/ 92149 h 438186"/>
                    <a:gd name="connsiteX572" fmla="*/ 204957 w 299021"/>
                    <a:gd name="connsiteY572" fmla="*/ 89989 h 438186"/>
                    <a:gd name="connsiteX573" fmla="*/ 206376 w 299021"/>
                    <a:gd name="connsiteY573" fmla="*/ 88645 h 438186"/>
                    <a:gd name="connsiteX574" fmla="*/ 207875 w 299021"/>
                    <a:gd name="connsiteY574" fmla="*/ 87960 h 438186"/>
                    <a:gd name="connsiteX575" fmla="*/ 209481 w 299021"/>
                    <a:gd name="connsiteY575" fmla="*/ 87805 h 438186"/>
                    <a:gd name="connsiteX576" fmla="*/ 205837 w 299021"/>
                    <a:gd name="connsiteY576" fmla="*/ 83111 h 438186"/>
                    <a:gd name="connsiteX577" fmla="*/ 204632 w 299021"/>
                    <a:gd name="connsiteY577" fmla="*/ 83290 h 438186"/>
                    <a:gd name="connsiteX578" fmla="*/ 203009 w 299021"/>
                    <a:gd name="connsiteY578" fmla="*/ 84048 h 438186"/>
                    <a:gd name="connsiteX579" fmla="*/ 201372 w 299021"/>
                    <a:gd name="connsiteY579" fmla="*/ 84513 h 438186"/>
                    <a:gd name="connsiteX580" fmla="*/ 199766 w 299021"/>
                    <a:gd name="connsiteY580" fmla="*/ 84089 h 438186"/>
                    <a:gd name="connsiteX581" fmla="*/ 198250 w 299021"/>
                    <a:gd name="connsiteY581" fmla="*/ 83046 h 438186"/>
                    <a:gd name="connsiteX582" fmla="*/ 197484 w 299021"/>
                    <a:gd name="connsiteY582" fmla="*/ 81065 h 438186"/>
                    <a:gd name="connsiteX583" fmla="*/ 196523 w 299021"/>
                    <a:gd name="connsiteY583" fmla="*/ 77267 h 438186"/>
                    <a:gd name="connsiteX584" fmla="*/ 195928 w 299021"/>
                    <a:gd name="connsiteY584" fmla="*/ 75866 h 438186"/>
                    <a:gd name="connsiteX585" fmla="*/ 191136 w 299021"/>
                    <a:gd name="connsiteY585" fmla="*/ 68099 h 438186"/>
                    <a:gd name="connsiteX586" fmla="*/ 192553 w 299021"/>
                    <a:gd name="connsiteY586" fmla="*/ 67863 h 438186"/>
                    <a:gd name="connsiteX587" fmla="*/ 196408 w 299021"/>
                    <a:gd name="connsiteY587" fmla="*/ 71758 h 438186"/>
                    <a:gd name="connsiteX588" fmla="*/ 197166 w 299021"/>
                    <a:gd name="connsiteY588" fmla="*/ 70503 h 438186"/>
                    <a:gd name="connsiteX589" fmla="*/ 197729 w 299021"/>
                    <a:gd name="connsiteY589" fmla="*/ 68719 h 438186"/>
                    <a:gd name="connsiteX590" fmla="*/ 197541 w 299021"/>
                    <a:gd name="connsiteY590" fmla="*/ 66738 h 438186"/>
                    <a:gd name="connsiteX591" fmla="*/ 196620 w 299021"/>
                    <a:gd name="connsiteY591" fmla="*/ 65230 h 438186"/>
                    <a:gd name="connsiteX592" fmla="*/ 195251 w 299021"/>
                    <a:gd name="connsiteY592" fmla="*/ 64252 h 438186"/>
                    <a:gd name="connsiteX593" fmla="*/ 195219 w 299021"/>
                    <a:gd name="connsiteY593" fmla="*/ 62492 h 438186"/>
                    <a:gd name="connsiteX594" fmla="*/ 196261 w 299021"/>
                    <a:gd name="connsiteY594" fmla="*/ 60878 h 438186"/>
                    <a:gd name="connsiteX595" fmla="*/ 196204 w 299021"/>
                    <a:gd name="connsiteY595" fmla="*/ 59746 h 438186"/>
                    <a:gd name="connsiteX596" fmla="*/ 193996 w 299021"/>
                    <a:gd name="connsiteY596" fmla="*/ 57431 h 438186"/>
                    <a:gd name="connsiteX597" fmla="*/ 193107 w 299021"/>
                    <a:gd name="connsiteY597" fmla="*/ 57195 h 438186"/>
                    <a:gd name="connsiteX598" fmla="*/ 192724 w 299021"/>
                    <a:gd name="connsiteY598" fmla="*/ 58271 h 438186"/>
                    <a:gd name="connsiteX599" fmla="*/ 193352 w 299021"/>
                    <a:gd name="connsiteY599" fmla="*/ 59868 h 438186"/>
                    <a:gd name="connsiteX600" fmla="*/ 192765 w 299021"/>
                    <a:gd name="connsiteY600" fmla="*/ 60039 h 438186"/>
                    <a:gd name="connsiteX601" fmla="*/ 187370 w 299021"/>
                    <a:gd name="connsiteY601" fmla="*/ 55834 h 438186"/>
                    <a:gd name="connsiteX602" fmla="*/ 185708 w 299021"/>
                    <a:gd name="connsiteY602" fmla="*/ 52460 h 438186"/>
                    <a:gd name="connsiteX603" fmla="*/ 184339 w 299021"/>
                    <a:gd name="connsiteY603" fmla="*/ 48768 h 438186"/>
                    <a:gd name="connsiteX604" fmla="*/ 184209 w 299021"/>
                    <a:gd name="connsiteY604" fmla="*/ 50276 h 438186"/>
                    <a:gd name="connsiteX605" fmla="*/ 184412 w 299021"/>
                    <a:gd name="connsiteY605" fmla="*/ 52386 h 438186"/>
                    <a:gd name="connsiteX606" fmla="*/ 186539 w 299021"/>
                    <a:gd name="connsiteY606" fmla="*/ 56632 h 438186"/>
                    <a:gd name="connsiteX607" fmla="*/ 189995 w 299021"/>
                    <a:gd name="connsiteY607" fmla="*/ 61375 h 438186"/>
                    <a:gd name="connsiteX608" fmla="*/ 190598 w 299021"/>
                    <a:gd name="connsiteY608" fmla="*/ 62639 h 438186"/>
                    <a:gd name="connsiteX609" fmla="*/ 190084 w 299021"/>
                    <a:gd name="connsiteY609" fmla="*/ 64277 h 438186"/>
                    <a:gd name="connsiteX610" fmla="*/ 188886 w 299021"/>
                    <a:gd name="connsiteY610" fmla="*/ 64741 h 438186"/>
                    <a:gd name="connsiteX611" fmla="*/ 187827 w 299021"/>
                    <a:gd name="connsiteY611" fmla="*/ 63715 h 438186"/>
                    <a:gd name="connsiteX612" fmla="*/ 186246 w 299021"/>
                    <a:gd name="connsiteY612" fmla="*/ 59648 h 438186"/>
                    <a:gd name="connsiteX613" fmla="*/ 185113 w 299021"/>
                    <a:gd name="connsiteY613" fmla="*/ 57602 h 438186"/>
                    <a:gd name="connsiteX614" fmla="*/ 171894 w 299021"/>
                    <a:gd name="connsiteY614" fmla="*/ 36666 h 438186"/>
                    <a:gd name="connsiteX615" fmla="*/ 173589 w 299021"/>
                    <a:gd name="connsiteY615" fmla="*/ 33903 h 438186"/>
                    <a:gd name="connsiteX616" fmla="*/ 176205 w 299021"/>
                    <a:gd name="connsiteY616" fmla="*/ 31588 h 438186"/>
                    <a:gd name="connsiteX617" fmla="*/ 176808 w 299021"/>
                    <a:gd name="connsiteY617" fmla="*/ 30553 h 438186"/>
                    <a:gd name="connsiteX618" fmla="*/ 177199 w 299021"/>
                    <a:gd name="connsiteY618" fmla="*/ 29298 h 438186"/>
                    <a:gd name="connsiteX619" fmla="*/ 176091 w 299021"/>
                    <a:gd name="connsiteY619" fmla="*/ 29086 h 438186"/>
                    <a:gd name="connsiteX620" fmla="*/ 175097 w 299021"/>
                    <a:gd name="connsiteY620" fmla="*/ 29657 h 438186"/>
                    <a:gd name="connsiteX621" fmla="*/ 173964 w 299021"/>
                    <a:gd name="connsiteY621" fmla="*/ 30716 h 438186"/>
                    <a:gd name="connsiteX622" fmla="*/ 172937 w 299021"/>
                    <a:gd name="connsiteY622" fmla="*/ 31931 h 438186"/>
                    <a:gd name="connsiteX623" fmla="*/ 171625 w 299021"/>
                    <a:gd name="connsiteY623" fmla="*/ 34636 h 438186"/>
                    <a:gd name="connsiteX624" fmla="*/ 170997 w 299021"/>
                    <a:gd name="connsiteY624" fmla="*/ 35256 h 438186"/>
                    <a:gd name="connsiteX625" fmla="*/ 169457 w 299021"/>
                    <a:gd name="connsiteY625" fmla="*/ 33389 h 438186"/>
                    <a:gd name="connsiteX626" fmla="*/ 168870 w 299021"/>
                    <a:gd name="connsiteY626" fmla="*/ 32224 h 438186"/>
                    <a:gd name="connsiteX627" fmla="*/ 168895 w 299021"/>
                    <a:gd name="connsiteY627" fmla="*/ 30839 h 438186"/>
                    <a:gd name="connsiteX628" fmla="*/ 168487 w 299021"/>
                    <a:gd name="connsiteY628" fmla="*/ 29975 h 438186"/>
                    <a:gd name="connsiteX629" fmla="*/ 167322 w 299021"/>
                    <a:gd name="connsiteY629" fmla="*/ 29689 h 438186"/>
                    <a:gd name="connsiteX630" fmla="*/ 165643 w 299021"/>
                    <a:gd name="connsiteY630" fmla="*/ 26943 h 438186"/>
                    <a:gd name="connsiteX631" fmla="*/ 164560 w 299021"/>
                    <a:gd name="connsiteY631" fmla="*/ 25533 h 438186"/>
                    <a:gd name="connsiteX632" fmla="*/ 166344 w 299021"/>
                    <a:gd name="connsiteY632" fmla="*/ 22852 h 438186"/>
                    <a:gd name="connsiteX633" fmla="*/ 166401 w 299021"/>
                    <a:gd name="connsiteY633" fmla="*/ 19307 h 438186"/>
                    <a:gd name="connsiteX634" fmla="*/ 164575 w 299021"/>
                    <a:gd name="connsiteY634" fmla="*/ 15590 h 438186"/>
                    <a:gd name="connsiteX635" fmla="*/ 162400 w 299021"/>
                    <a:gd name="connsiteY635" fmla="*/ 12192 h 438186"/>
                    <a:gd name="connsiteX636" fmla="*/ 158210 w 299021"/>
                    <a:gd name="connsiteY636" fmla="*/ 6683 h 438186"/>
                    <a:gd name="connsiteX637" fmla="*/ 154363 w 299021"/>
                    <a:gd name="connsiteY637" fmla="*/ 864 h 438186"/>
                    <a:gd name="connsiteX638" fmla="*/ 158537 w 299021"/>
                    <a:gd name="connsiteY638" fmla="*/ 130 h 438186"/>
                    <a:gd name="connsiteX639" fmla="*/ 162758 w 299021"/>
                    <a:gd name="connsiteY639" fmla="*/ 0 h 438186"/>
                    <a:gd name="connsiteX640" fmla="*/ 160761 w 299021"/>
                    <a:gd name="connsiteY640" fmla="*/ 3488 h 438186"/>
                    <a:gd name="connsiteX641" fmla="*/ 161658 w 299021"/>
                    <a:gd name="connsiteY641" fmla="*/ 5501 h 438186"/>
                    <a:gd name="connsiteX642" fmla="*/ 163003 w 299021"/>
                    <a:gd name="connsiteY642" fmla="*/ 7204 h 438186"/>
                    <a:gd name="connsiteX643" fmla="*/ 165904 w 299021"/>
                    <a:gd name="connsiteY643" fmla="*/ 12420 h 438186"/>
                    <a:gd name="connsiteX644" fmla="*/ 166148 w 299021"/>
                    <a:gd name="connsiteY644" fmla="*/ 13920 h 438186"/>
                    <a:gd name="connsiteX645" fmla="*/ 167632 w 299021"/>
                    <a:gd name="connsiteY645" fmla="*/ 15452 h 438186"/>
                    <a:gd name="connsiteX646" fmla="*/ 168373 w 299021"/>
                    <a:gd name="connsiteY646" fmla="*/ 16617 h 43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Lst>
                  <a:rect l="l" t="t" r="r" b="b"/>
                  <a:pathLst>
                    <a:path w="299021" h="438186">
                      <a:moveTo>
                        <a:pt x="41286" y="423884"/>
                      </a:moveTo>
                      <a:lnTo>
                        <a:pt x="41295" y="425310"/>
                      </a:lnTo>
                      <a:lnTo>
                        <a:pt x="38703" y="424805"/>
                      </a:lnTo>
                      <a:lnTo>
                        <a:pt x="38768" y="426394"/>
                      </a:lnTo>
                      <a:lnTo>
                        <a:pt x="40805" y="427233"/>
                      </a:lnTo>
                      <a:lnTo>
                        <a:pt x="41555" y="428382"/>
                      </a:lnTo>
                      <a:lnTo>
                        <a:pt x="43682" y="428048"/>
                      </a:lnTo>
                      <a:lnTo>
                        <a:pt x="44163" y="429768"/>
                      </a:lnTo>
                      <a:lnTo>
                        <a:pt x="43666" y="431300"/>
                      </a:lnTo>
                      <a:lnTo>
                        <a:pt x="42256" y="432425"/>
                      </a:lnTo>
                      <a:lnTo>
                        <a:pt x="38059" y="432995"/>
                      </a:lnTo>
                      <a:lnTo>
                        <a:pt x="35354" y="435212"/>
                      </a:lnTo>
                      <a:lnTo>
                        <a:pt x="32998" y="434878"/>
                      </a:lnTo>
                      <a:lnTo>
                        <a:pt x="32362" y="435074"/>
                      </a:lnTo>
                      <a:lnTo>
                        <a:pt x="29665" y="437453"/>
                      </a:lnTo>
                      <a:lnTo>
                        <a:pt x="26658" y="438186"/>
                      </a:lnTo>
                      <a:lnTo>
                        <a:pt x="25826" y="438015"/>
                      </a:lnTo>
                      <a:lnTo>
                        <a:pt x="26250" y="435880"/>
                      </a:lnTo>
                      <a:lnTo>
                        <a:pt x="28483" y="433851"/>
                      </a:lnTo>
                      <a:lnTo>
                        <a:pt x="28540" y="431919"/>
                      </a:lnTo>
                      <a:lnTo>
                        <a:pt x="29102" y="430379"/>
                      </a:lnTo>
                      <a:lnTo>
                        <a:pt x="31262" y="429279"/>
                      </a:lnTo>
                      <a:lnTo>
                        <a:pt x="31295" y="427258"/>
                      </a:lnTo>
                      <a:lnTo>
                        <a:pt x="32753" y="425473"/>
                      </a:lnTo>
                      <a:lnTo>
                        <a:pt x="31874" y="421593"/>
                      </a:lnTo>
                      <a:lnTo>
                        <a:pt x="32346" y="418122"/>
                      </a:lnTo>
                      <a:lnTo>
                        <a:pt x="36600" y="417934"/>
                      </a:lnTo>
                      <a:lnTo>
                        <a:pt x="41286" y="423884"/>
                      </a:lnTo>
                      <a:close/>
                      <a:moveTo>
                        <a:pt x="164560" y="229301"/>
                      </a:moveTo>
                      <a:lnTo>
                        <a:pt x="167428" y="229472"/>
                      </a:lnTo>
                      <a:lnTo>
                        <a:pt x="170077" y="226953"/>
                      </a:lnTo>
                      <a:lnTo>
                        <a:pt x="172799" y="224932"/>
                      </a:lnTo>
                      <a:lnTo>
                        <a:pt x="175651" y="223246"/>
                      </a:lnTo>
                      <a:lnTo>
                        <a:pt x="180002" y="219391"/>
                      </a:lnTo>
                      <a:lnTo>
                        <a:pt x="181136" y="218820"/>
                      </a:lnTo>
                      <a:lnTo>
                        <a:pt x="183964" y="218078"/>
                      </a:lnTo>
                      <a:lnTo>
                        <a:pt x="185195" y="217166"/>
                      </a:lnTo>
                      <a:lnTo>
                        <a:pt x="186563" y="216962"/>
                      </a:lnTo>
                      <a:lnTo>
                        <a:pt x="185341" y="219252"/>
                      </a:lnTo>
                      <a:lnTo>
                        <a:pt x="183776" y="220010"/>
                      </a:lnTo>
                      <a:lnTo>
                        <a:pt x="183532" y="220841"/>
                      </a:lnTo>
                      <a:lnTo>
                        <a:pt x="184404" y="222162"/>
                      </a:lnTo>
                      <a:lnTo>
                        <a:pt x="183051" y="224020"/>
                      </a:lnTo>
                      <a:lnTo>
                        <a:pt x="183091" y="226334"/>
                      </a:lnTo>
                      <a:lnTo>
                        <a:pt x="181503" y="229064"/>
                      </a:lnTo>
                      <a:lnTo>
                        <a:pt x="183964" y="227948"/>
                      </a:lnTo>
                      <a:lnTo>
                        <a:pt x="184868" y="226163"/>
                      </a:lnTo>
                      <a:lnTo>
                        <a:pt x="184396" y="225153"/>
                      </a:lnTo>
                      <a:lnTo>
                        <a:pt x="185463" y="223180"/>
                      </a:lnTo>
                      <a:lnTo>
                        <a:pt x="187110" y="222235"/>
                      </a:lnTo>
                      <a:lnTo>
                        <a:pt x="186458" y="220727"/>
                      </a:lnTo>
                      <a:lnTo>
                        <a:pt x="186498" y="219537"/>
                      </a:lnTo>
                      <a:lnTo>
                        <a:pt x="188511" y="219994"/>
                      </a:lnTo>
                      <a:lnTo>
                        <a:pt x="189522" y="219937"/>
                      </a:lnTo>
                      <a:lnTo>
                        <a:pt x="190321" y="219456"/>
                      </a:lnTo>
                      <a:lnTo>
                        <a:pt x="191771" y="219277"/>
                      </a:lnTo>
                      <a:lnTo>
                        <a:pt x="192065" y="220605"/>
                      </a:lnTo>
                      <a:lnTo>
                        <a:pt x="194012" y="220434"/>
                      </a:lnTo>
                      <a:lnTo>
                        <a:pt x="193311" y="222113"/>
                      </a:lnTo>
                      <a:lnTo>
                        <a:pt x="191812" y="224052"/>
                      </a:lnTo>
                      <a:lnTo>
                        <a:pt x="191461" y="225242"/>
                      </a:lnTo>
                      <a:lnTo>
                        <a:pt x="189065" y="227190"/>
                      </a:lnTo>
                      <a:lnTo>
                        <a:pt x="187468" y="228029"/>
                      </a:lnTo>
                      <a:lnTo>
                        <a:pt x="189937" y="228258"/>
                      </a:lnTo>
                      <a:lnTo>
                        <a:pt x="193539" y="225625"/>
                      </a:lnTo>
                      <a:lnTo>
                        <a:pt x="195691" y="223319"/>
                      </a:lnTo>
                      <a:lnTo>
                        <a:pt x="195634" y="226204"/>
                      </a:lnTo>
                      <a:lnTo>
                        <a:pt x="193881" y="228795"/>
                      </a:lnTo>
                      <a:lnTo>
                        <a:pt x="192390" y="230425"/>
                      </a:lnTo>
                      <a:lnTo>
                        <a:pt x="190712" y="230931"/>
                      </a:lnTo>
                      <a:lnTo>
                        <a:pt x="189033" y="232267"/>
                      </a:lnTo>
                      <a:lnTo>
                        <a:pt x="188218" y="234443"/>
                      </a:lnTo>
                      <a:lnTo>
                        <a:pt x="188323" y="235894"/>
                      </a:lnTo>
                      <a:lnTo>
                        <a:pt x="188805" y="237035"/>
                      </a:lnTo>
                      <a:lnTo>
                        <a:pt x="190508" y="238975"/>
                      </a:lnTo>
                      <a:lnTo>
                        <a:pt x="188593" y="242707"/>
                      </a:lnTo>
                      <a:lnTo>
                        <a:pt x="190728" y="242243"/>
                      </a:lnTo>
                      <a:lnTo>
                        <a:pt x="191902" y="242951"/>
                      </a:lnTo>
                      <a:lnTo>
                        <a:pt x="193531" y="245103"/>
                      </a:lnTo>
                      <a:lnTo>
                        <a:pt x="192553" y="247580"/>
                      </a:lnTo>
                      <a:lnTo>
                        <a:pt x="191861" y="248860"/>
                      </a:lnTo>
                      <a:lnTo>
                        <a:pt x="187697" y="254109"/>
                      </a:lnTo>
                      <a:lnTo>
                        <a:pt x="185871" y="256773"/>
                      </a:lnTo>
                      <a:lnTo>
                        <a:pt x="183727" y="258477"/>
                      </a:lnTo>
                      <a:lnTo>
                        <a:pt x="183760" y="261288"/>
                      </a:lnTo>
                      <a:lnTo>
                        <a:pt x="182545" y="263326"/>
                      </a:lnTo>
                      <a:lnTo>
                        <a:pt x="176320" y="270310"/>
                      </a:lnTo>
                      <a:lnTo>
                        <a:pt x="175227" y="271834"/>
                      </a:lnTo>
                      <a:lnTo>
                        <a:pt x="170321" y="282967"/>
                      </a:lnTo>
                      <a:lnTo>
                        <a:pt x="167183" y="287661"/>
                      </a:lnTo>
                      <a:lnTo>
                        <a:pt x="165382" y="289266"/>
                      </a:lnTo>
                      <a:lnTo>
                        <a:pt x="163508" y="290554"/>
                      </a:lnTo>
                      <a:lnTo>
                        <a:pt x="158944" y="292763"/>
                      </a:lnTo>
                      <a:lnTo>
                        <a:pt x="156931" y="295305"/>
                      </a:lnTo>
                      <a:lnTo>
                        <a:pt x="154723" y="297424"/>
                      </a:lnTo>
                      <a:lnTo>
                        <a:pt x="152376" y="297897"/>
                      </a:lnTo>
                      <a:lnTo>
                        <a:pt x="152448" y="298834"/>
                      </a:lnTo>
                      <a:lnTo>
                        <a:pt x="153957" y="299347"/>
                      </a:lnTo>
                      <a:lnTo>
                        <a:pt x="155129" y="300750"/>
                      </a:lnTo>
                      <a:lnTo>
                        <a:pt x="154266" y="302306"/>
                      </a:lnTo>
                      <a:lnTo>
                        <a:pt x="152596" y="303276"/>
                      </a:lnTo>
                      <a:lnTo>
                        <a:pt x="150852" y="303561"/>
                      </a:lnTo>
                      <a:lnTo>
                        <a:pt x="149979" y="304555"/>
                      </a:lnTo>
                      <a:lnTo>
                        <a:pt x="154120" y="303846"/>
                      </a:lnTo>
                      <a:lnTo>
                        <a:pt x="155285" y="304661"/>
                      </a:lnTo>
                      <a:lnTo>
                        <a:pt x="155497" y="306381"/>
                      </a:lnTo>
                      <a:lnTo>
                        <a:pt x="155928" y="307929"/>
                      </a:lnTo>
                      <a:lnTo>
                        <a:pt x="156931" y="309975"/>
                      </a:lnTo>
                      <a:lnTo>
                        <a:pt x="160419" y="311287"/>
                      </a:lnTo>
                      <a:lnTo>
                        <a:pt x="163541" y="311890"/>
                      </a:lnTo>
                      <a:lnTo>
                        <a:pt x="164160" y="312843"/>
                      </a:lnTo>
                      <a:lnTo>
                        <a:pt x="164616" y="316120"/>
                      </a:lnTo>
                      <a:lnTo>
                        <a:pt x="164054" y="317725"/>
                      </a:lnTo>
                      <a:lnTo>
                        <a:pt x="163353" y="318785"/>
                      </a:lnTo>
                      <a:lnTo>
                        <a:pt x="162301" y="319160"/>
                      </a:lnTo>
                      <a:lnTo>
                        <a:pt x="159759" y="319372"/>
                      </a:lnTo>
                      <a:lnTo>
                        <a:pt x="157208" y="318622"/>
                      </a:lnTo>
                      <a:lnTo>
                        <a:pt x="155512" y="316641"/>
                      </a:lnTo>
                      <a:lnTo>
                        <a:pt x="150688" y="317277"/>
                      </a:lnTo>
                      <a:lnTo>
                        <a:pt x="149400" y="317709"/>
                      </a:lnTo>
                      <a:lnTo>
                        <a:pt x="148733" y="317359"/>
                      </a:lnTo>
                      <a:lnTo>
                        <a:pt x="151406" y="315264"/>
                      </a:lnTo>
                      <a:lnTo>
                        <a:pt x="150004" y="314083"/>
                      </a:lnTo>
                      <a:lnTo>
                        <a:pt x="148846" y="313634"/>
                      </a:lnTo>
                      <a:lnTo>
                        <a:pt x="147584" y="314319"/>
                      </a:lnTo>
                      <a:lnTo>
                        <a:pt x="146736" y="315411"/>
                      </a:lnTo>
                      <a:lnTo>
                        <a:pt x="146483" y="317212"/>
                      </a:lnTo>
                      <a:lnTo>
                        <a:pt x="145628" y="318247"/>
                      </a:lnTo>
                      <a:lnTo>
                        <a:pt x="144291" y="318557"/>
                      </a:lnTo>
                      <a:lnTo>
                        <a:pt x="142424" y="317049"/>
                      </a:lnTo>
                      <a:lnTo>
                        <a:pt x="140558" y="314914"/>
                      </a:lnTo>
                      <a:lnTo>
                        <a:pt x="137820" y="312762"/>
                      </a:lnTo>
                      <a:lnTo>
                        <a:pt x="138244" y="314091"/>
                      </a:lnTo>
                      <a:lnTo>
                        <a:pt x="140346" y="317351"/>
                      </a:lnTo>
                      <a:lnTo>
                        <a:pt x="141414" y="319518"/>
                      </a:lnTo>
                      <a:lnTo>
                        <a:pt x="138944" y="321246"/>
                      </a:lnTo>
                      <a:lnTo>
                        <a:pt x="136394" y="322591"/>
                      </a:lnTo>
                      <a:lnTo>
                        <a:pt x="134234" y="323381"/>
                      </a:lnTo>
                      <a:lnTo>
                        <a:pt x="132196" y="324612"/>
                      </a:lnTo>
                      <a:lnTo>
                        <a:pt x="129809" y="326527"/>
                      </a:lnTo>
                      <a:lnTo>
                        <a:pt x="128497" y="327220"/>
                      </a:lnTo>
                      <a:lnTo>
                        <a:pt x="124992" y="327252"/>
                      </a:lnTo>
                      <a:lnTo>
                        <a:pt x="123117" y="327864"/>
                      </a:lnTo>
                      <a:lnTo>
                        <a:pt x="122499" y="330406"/>
                      </a:lnTo>
                      <a:lnTo>
                        <a:pt x="121186" y="332012"/>
                      </a:lnTo>
                      <a:lnTo>
                        <a:pt x="118113" y="332330"/>
                      </a:lnTo>
                      <a:lnTo>
                        <a:pt x="119239" y="332835"/>
                      </a:lnTo>
                      <a:lnTo>
                        <a:pt x="119915" y="333658"/>
                      </a:lnTo>
                      <a:lnTo>
                        <a:pt x="117886" y="341311"/>
                      </a:lnTo>
                      <a:lnTo>
                        <a:pt x="117437" y="344497"/>
                      </a:lnTo>
                      <a:lnTo>
                        <a:pt x="117063" y="349941"/>
                      </a:lnTo>
                      <a:lnTo>
                        <a:pt x="115783" y="354994"/>
                      </a:lnTo>
                      <a:lnTo>
                        <a:pt x="112131" y="354969"/>
                      </a:lnTo>
                      <a:lnTo>
                        <a:pt x="112718" y="355858"/>
                      </a:lnTo>
                      <a:lnTo>
                        <a:pt x="115473" y="357292"/>
                      </a:lnTo>
                      <a:lnTo>
                        <a:pt x="114968" y="359444"/>
                      </a:lnTo>
                      <a:lnTo>
                        <a:pt x="111929" y="363388"/>
                      </a:lnTo>
                      <a:lnTo>
                        <a:pt x="110665" y="365670"/>
                      </a:lnTo>
                      <a:lnTo>
                        <a:pt x="109434" y="371204"/>
                      </a:lnTo>
                      <a:lnTo>
                        <a:pt x="107568" y="376322"/>
                      </a:lnTo>
                      <a:lnTo>
                        <a:pt x="104732" y="382133"/>
                      </a:lnTo>
                      <a:lnTo>
                        <a:pt x="104708" y="383192"/>
                      </a:lnTo>
                      <a:lnTo>
                        <a:pt x="105702" y="384667"/>
                      </a:lnTo>
                      <a:lnTo>
                        <a:pt x="106908" y="385947"/>
                      </a:lnTo>
                      <a:lnTo>
                        <a:pt x="106973" y="387772"/>
                      </a:lnTo>
                      <a:lnTo>
                        <a:pt x="106598" y="388717"/>
                      </a:lnTo>
                      <a:lnTo>
                        <a:pt x="105245" y="388970"/>
                      </a:lnTo>
                      <a:lnTo>
                        <a:pt x="104072" y="389581"/>
                      </a:lnTo>
                      <a:lnTo>
                        <a:pt x="97748" y="391195"/>
                      </a:lnTo>
                      <a:lnTo>
                        <a:pt x="95670" y="392988"/>
                      </a:lnTo>
                      <a:lnTo>
                        <a:pt x="93967" y="396207"/>
                      </a:lnTo>
                      <a:lnTo>
                        <a:pt x="91969" y="398962"/>
                      </a:lnTo>
                      <a:lnTo>
                        <a:pt x="85327" y="405107"/>
                      </a:lnTo>
                      <a:lnTo>
                        <a:pt x="81416" y="410266"/>
                      </a:lnTo>
                      <a:lnTo>
                        <a:pt x="80633" y="411749"/>
                      </a:lnTo>
                      <a:lnTo>
                        <a:pt x="79582" y="412809"/>
                      </a:lnTo>
                      <a:lnTo>
                        <a:pt x="71033" y="415261"/>
                      </a:lnTo>
                      <a:lnTo>
                        <a:pt x="65002" y="415628"/>
                      </a:lnTo>
                      <a:lnTo>
                        <a:pt x="61710" y="415001"/>
                      </a:lnTo>
                      <a:lnTo>
                        <a:pt x="58531" y="413770"/>
                      </a:lnTo>
                      <a:lnTo>
                        <a:pt x="56771" y="413346"/>
                      </a:lnTo>
                      <a:lnTo>
                        <a:pt x="53413" y="414096"/>
                      </a:lnTo>
                      <a:lnTo>
                        <a:pt x="51947" y="414927"/>
                      </a:lnTo>
                      <a:lnTo>
                        <a:pt x="49314" y="414112"/>
                      </a:lnTo>
                      <a:lnTo>
                        <a:pt x="47219" y="414724"/>
                      </a:lnTo>
                      <a:lnTo>
                        <a:pt x="46608" y="414129"/>
                      </a:lnTo>
                      <a:lnTo>
                        <a:pt x="45825" y="412605"/>
                      </a:lnTo>
                      <a:lnTo>
                        <a:pt x="46258" y="410608"/>
                      </a:lnTo>
                      <a:lnTo>
                        <a:pt x="45679" y="409117"/>
                      </a:lnTo>
                      <a:lnTo>
                        <a:pt x="44359" y="408106"/>
                      </a:lnTo>
                      <a:lnTo>
                        <a:pt x="43463" y="406932"/>
                      </a:lnTo>
                      <a:lnTo>
                        <a:pt x="42452" y="406101"/>
                      </a:lnTo>
                      <a:lnTo>
                        <a:pt x="39672" y="405767"/>
                      </a:lnTo>
                      <a:lnTo>
                        <a:pt x="35280" y="406288"/>
                      </a:lnTo>
                      <a:lnTo>
                        <a:pt x="33830" y="406232"/>
                      </a:lnTo>
                      <a:lnTo>
                        <a:pt x="30855" y="401309"/>
                      </a:lnTo>
                      <a:lnTo>
                        <a:pt x="29877" y="400094"/>
                      </a:lnTo>
                      <a:lnTo>
                        <a:pt x="26331" y="398538"/>
                      </a:lnTo>
                      <a:lnTo>
                        <a:pt x="25117" y="398750"/>
                      </a:lnTo>
                      <a:lnTo>
                        <a:pt x="23227" y="401374"/>
                      </a:lnTo>
                      <a:lnTo>
                        <a:pt x="22101" y="401815"/>
                      </a:lnTo>
                      <a:lnTo>
                        <a:pt x="15444" y="402100"/>
                      </a:lnTo>
                      <a:lnTo>
                        <a:pt x="8761" y="401252"/>
                      </a:lnTo>
                      <a:lnTo>
                        <a:pt x="6299" y="400282"/>
                      </a:lnTo>
                      <a:lnTo>
                        <a:pt x="5819" y="398008"/>
                      </a:lnTo>
                      <a:lnTo>
                        <a:pt x="10888" y="391774"/>
                      </a:lnTo>
                      <a:lnTo>
                        <a:pt x="9388" y="392613"/>
                      </a:lnTo>
                      <a:lnTo>
                        <a:pt x="6259" y="395156"/>
                      </a:lnTo>
                      <a:lnTo>
                        <a:pt x="4262" y="394757"/>
                      </a:lnTo>
                      <a:lnTo>
                        <a:pt x="6169" y="391986"/>
                      </a:lnTo>
                      <a:lnTo>
                        <a:pt x="6340" y="390755"/>
                      </a:lnTo>
                      <a:lnTo>
                        <a:pt x="5957" y="389378"/>
                      </a:lnTo>
                      <a:lnTo>
                        <a:pt x="3341" y="391708"/>
                      </a:lnTo>
                      <a:lnTo>
                        <a:pt x="383" y="392010"/>
                      </a:lnTo>
                      <a:lnTo>
                        <a:pt x="0" y="389842"/>
                      </a:lnTo>
                      <a:lnTo>
                        <a:pt x="261" y="387332"/>
                      </a:lnTo>
                      <a:lnTo>
                        <a:pt x="871" y="386623"/>
                      </a:lnTo>
                      <a:lnTo>
                        <a:pt x="8875" y="385328"/>
                      </a:lnTo>
                      <a:lnTo>
                        <a:pt x="11768" y="384464"/>
                      </a:lnTo>
                      <a:lnTo>
                        <a:pt x="13023" y="383119"/>
                      </a:lnTo>
                      <a:lnTo>
                        <a:pt x="8222" y="382654"/>
                      </a:lnTo>
                      <a:lnTo>
                        <a:pt x="7921" y="380780"/>
                      </a:lnTo>
                      <a:lnTo>
                        <a:pt x="8622" y="379272"/>
                      </a:lnTo>
                      <a:lnTo>
                        <a:pt x="12713" y="376754"/>
                      </a:lnTo>
                      <a:lnTo>
                        <a:pt x="9690" y="377406"/>
                      </a:lnTo>
                      <a:lnTo>
                        <a:pt x="6340" y="377178"/>
                      </a:lnTo>
                      <a:lnTo>
                        <a:pt x="6568" y="374537"/>
                      </a:lnTo>
                      <a:lnTo>
                        <a:pt x="7440" y="372467"/>
                      </a:lnTo>
                      <a:lnTo>
                        <a:pt x="10953" y="372402"/>
                      </a:lnTo>
                      <a:lnTo>
                        <a:pt x="9853" y="370984"/>
                      </a:lnTo>
                      <a:lnTo>
                        <a:pt x="9682" y="369004"/>
                      </a:lnTo>
                      <a:lnTo>
                        <a:pt x="10668" y="368865"/>
                      </a:lnTo>
                      <a:lnTo>
                        <a:pt x="14229" y="371538"/>
                      </a:lnTo>
                      <a:lnTo>
                        <a:pt x="16788" y="372508"/>
                      </a:lnTo>
                      <a:lnTo>
                        <a:pt x="15713" y="370503"/>
                      </a:lnTo>
                      <a:lnTo>
                        <a:pt x="15859" y="369240"/>
                      </a:lnTo>
                      <a:lnTo>
                        <a:pt x="16535" y="368677"/>
                      </a:lnTo>
                      <a:lnTo>
                        <a:pt x="18638" y="368270"/>
                      </a:lnTo>
                      <a:lnTo>
                        <a:pt x="18067" y="367919"/>
                      </a:lnTo>
                      <a:lnTo>
                        <a:pt x="16096" y="367414"/>
                      </a:lnTo>
                      <a:lnTo>
                        <a:pt x="13757" y="365882"/>
                      </a:lnTo>
                      <a:lnTo>
                        <a:pt x="13496" y="364277"/>
                      </a:lnTo>
                      <a:lnTo>
                        <a:pt x="13586" y="362418"/>
                      </a:lnTo>
                      <a:lnTo>
                        <a:pt x="16120" y="359860"/>
                      </a:lnTo>
                      <a:lnTo>
                        <a:pt x="17612" y="361383"/>
                      </a:lnTo>
                      <a:lnTo>
                        <a:pt x="19388" y="360968"/>
                      </a:lnTo>
                      <a:lnTo>
                        <a:pt x="18035" y="359770"/>
                      </a:lnTo>
                      <a:lnTo>
                        <a:pt x="17212" y="357985"/>
                      </a:lnTo>
                      <a:lnTo>
                        <a:pt x="17766" y="356795"/>
                      </a:lnTo>
                      <a:lnTo>
                        <a:pt x="23129" y="352044"/>
                      </a:lnTo>
                      <a:lnTo>
                        <a:pt x="24506" y="356607"/>
                      </a:lnTo>
                      <a:lnTo>
                        <a:pt x="24832" y="355092"/>
                      </a:lnTo>
                      <a:lnTo>
                        <a:pt x="24905" y="353649"/>
                      </a:lnTo>
                      <a:lnTo>
                        <a:pt x="24261" y="352402"/>
                      </a:lnTo>
                      <a:lnTo>
                        <a:pt x="24368" y="351156"/>
                      </a:lnTo>
                      <a:lnTo>
                        <a:pt x="24978" y="350063"/>
                      </a:lnTo>
                      <a:lnTo>
                        <a:pt x="27277" y="348996"/>
                      </a:lnTo>
                      <a:lnTo>
                        <a:pt x="30260" y="345508"/>
                      </a:lnTo>
                      <a:lnTo>
                        <a:pt x="32469" y="343886"/>
                      </a:lnTo>
                      <a:lnTo>
                        <a:pt x="34269" y="344938"/>
                      </a:lnTo>
                      <a:lnTo>
                        <a:pt x="35492" y="346323"/>
                      </a:lnTo>
                      <a:lnTo>
                        <a:pt x="35304" y="344945"/>
                      </a:lnTo>
                      <a:lnTo>
                        <a:pt x="34448" y="343788"/>
                      </a:lnTo>
                      <a:lnTo>
                        <a:pt x="34196" y="340586"/>
                      </a:lnTo>
                      <a:lnTo>
                        <a:pt x="38222" y="335630"/>
                      </a:lnTo>
                      <a:lnTo>
                        <a:pt x="42623" y="330920"/>
                      </a:lnTo>
                      <a:lnTo>
                        <a:pt x="46853" y="325989"/>
                      </a:lnTo>
                      <a:lnTo>
                        <a:pt x="49102" y="324188"/>
                      </a:lnTo>
                      <a:lnTo>
                        <a:pt x="53910" y="322151"/>
                      </a:lnTo>
                      <a:lnTo>
                        <a:pt x="56975" y="322998"/>
                      </a:lnTo>
                      <a:lnTo>
                        <a:pt x="57773" y="322835"/>
                      </a:lnTo>
                      <a:lnTo>
                        <a:pt x="62329" y="319282"/>
                      </a:lnTo>
                      <a:lnTo>
                        <a:pt x="64212" y="318369"/>
                      </a:lnTo>
                      <a:lnTo>
                        <a:pt x="65931" y="319632"/>
                      </a:lnTo>
                      <a:lnTo>
                        <a:pt x="67006" y="320097"/>
                      </a:lnTo>
                      <a:lnTo>
                        <a:pt x="65931" y="316845"/>
                      </a:lnTo>
                      <a:lnTo>
                        <a:pt x="66771" y="315354"/>
                      </a:lnTo>
                      <a:lnTo>
                        <a:pt x="70585" y="312738"/>
                      </a:lnTo>
                      <a:lnTo>
                        <a:pt x="75344" y="310032"/>
                      </a:lnTo>
                      <a:lnTo>
                        <a:pt x="78970" y="308899"/>
                      </a:lnTo>
                      <a:lnTo>
                        <a:pt x="81644" y="307065"/>
                      </a:lnTo>
                      <a:lnTo>
                        <a:pt x="83241" y="307008"/>
                      </a:lnTo>
                      <a:lnTo>
                        <a:pt x="83005" y="305631"/>
                      </a:lnTo>
                      <a:lnTo>
                        <a:pt x="83274" y="304311"/>
                      </a:lnTo>
                      <a:lnTo>
                        <a:pt x="84659" y="304401"/>
                      </a:lnTo>
                      <a:lnTo>
                        <a:pt x="85083" y="303879"/>
                      </a:lnTo>
                      <a:lnTo>
                        <a:pt x="83877" y="303170"/>
                      </a:lnTo>
                      <a:lnTo>
                        <a:pt x="87814" y="300521"/>
                      </a:lnTo>
                      <a:lnTo>
                        <a:pt x="89941" y="297588"/>
                      </a:lnTo>
                      <a:lnTo>
                        <a:pt x="91065" y="296984"/>
                      </a:lnTo>
                      <a:lnTo>
                        <a:pt x="92075" y="296112"/>
                      </a:lnTo>
                      <a:lnTo>
                        <a:pt x="93331" y="294091"/>
                      </a:lnTo>
                      <a:lnTo>
                        <a:pt x="94822" y="293431"/>
                      </a:lnTo>
                      <a:lnTo>
                        <a:pt x="96199" y="293733"/>
                      </a:lnTo>
                      <a:lnTo>
                        <a:pt x="97194" y="294727"/>
                      </a:lnTo>
                      <a:lnTo>
                        <a:pt x="96664" y="293080"/>
                      </a:lnTo>
                      <a:lnTo>
                        <a:pt x="94887" y="292160"/>
                      </a:lnTo>
                      <a:lnTo>
                        <a:pt x="96786" y="290725"/>
                      </a:lnTo>
                      <a:lnTo>
                        <a:pt x="98750" y="289723"/>
                      </a:lnTo>
                      <a:lnTo>
                        <a:pt x="100657" y="290457"/>
                      </a:lnTo>
                      <a:lnTo>
                        <a:pt x="102539" y="291597"/>
                      </a:lnTo>
                      <a:lnTo>
                        <a:pt x="100657" y="289837"/>
                      </a:lnTo>
                      <a:lnTo>
                        <a:pt x="100356" y="288737"/>
                      </a:lnTo>
                      <a:lnTo>
                        <a:pt x="102638" y="287466"/>
                      </a:lnTo>
                      <a:lnTo>
                        <a:pt x="103868" y="287083"/>
                      </a:lnTo>
                      <a:lnTo>
                        <a:pt x="105604" y="289446"/>
                      </a:lnTo>
                      <a:lnTo>
                        <a:pt x="105360" y="287580"/>
                      </a:lnTo>
                      <a:lnTo>
                        <a:pt x="105759" y="285925"/>
                      </a:lnTo>
                      <a:lnTo>
                        <a:pt x="108220" y="283203"/>
                      </a:lnTo>
                      <a:lnTo>
                        <a:pt x="111431" y="278705"/>
                      </a:lnTo>
                      <a:lnTo>
                        <a:pt x="112466" y="280253"/>
                      </a:lnTo>
                      <a:lnTo>
                        <a:pt x="112621" y="282168"/>
                      </a:lnTo>
                      <a:lnTo>
                        <a:pt x="112475" y="284442"/>
                      </a:lnTo>
                      <a:lnTo>
                        <a:pt x="113134" y="283643"/>
                      </a:lnTo>
                      <a:lnTo>
                        <a:pt x="113362" y="281565"/>
                      </a:lnTo>
                      <a:lnTo>
                        <a:pt x="112858" y="277922"/>
                      </a:lnTo>
                      <a:lnTo>
                        <a:pt x="116867" y="271174"/>
                      </a:lnTo>
                      <a:lnTo>
                        <a:pt x="117658" y="270416"/>
                      </a:lnTo>
                      <a:lnTo>
                        <a:pt x="118546" y="269960"/>
                      </a:lnTo>
                      <a:lnTo>
                        <a:pt x="119948" y="269780"/>
                      </a:lnTo>
                      <a:lnTo>
                        <a:pt x="119515" y="268762"/>
                      </a:lnTo>
                      <a:lnTo>
                        <a:pt x="118432" y="267784"/>
                      </a:lnTo>
                      <a:lnTo>
                        <a:pt x="119515" y="264353"/>
                      </a:lnTo>
                      <a:lnTo>
                        <a:pt x="120168" y="260449"/>
                      </a:lnTo>
                      <a:lnTo>
                        <a:pt x="121105" y="256692"/>
                      </a:lnTo>
                      <a:lnTo>
                        <a:pt x="122604" y="253033"/>
                      </a:lnTo>
                      <a:lnTo>
                        <a:pt x="124226" y="246896"/>
                      </a:lnTo>
                      <a:lnTo>
                        <a:pt x="125465" y="245625"/>
                      </a:lnTo>
                      <a:lnTo>
                        <a:pt x="128839" y="245184"/>
                      </a:lnTo>
                      <a:lnTo>
                        <a:pt x="130314" y="244329"/>
                      </a:lnTo>
                      <a:lnTo>
                        <a:pt x="132767" y="242120"/>
                      </a:lnTo>
                      <a:lnTo>
                        <a:pt x="135668" y="238127"/>
                      </a:lnTo>
                      <a:lnTo>
                        <a:pt x="137225" y="234908"/>
                      </a:lnTo>
                      <a:lnTo>
                        <a:pt x="139287" y="226595"/>
                      </a:lnTo>
                      <a:lnTo>
                        <a:pt x="140428" y="217916"/>
                      </a:lnTo>
                      <a:lnTo>
                        <a:pt x="143737" y="211486"/>
                      </a:lnTo>
                      <a:lnTo>
                        <a:pt x="148577" y="206840"/>
                      </a:lnTo>
                      <a:lnTo>
                        <a:pt x="152856" y="203295"/>
                      </a:lnTo>
                      <a:lnTo>
                        <a:pt x="154608" y="202561"/>
                      </a:lnTo>
                      <a:lnTo>
                        <a:pt x="157559" y="202342"/>
                      </a:lnTo>
                      <a:lnTo>
                        <a:pt x="160362" y="203320"/>
                      </a:lnTo>
                      <a:lnTo>
                        <a:pt x="155129" y="204167"/>
                      </a:lnTo>
                      <a:lnTo>
                        <a:pt x="154608" y="206270"/>
                      </a:lnTo>
                      <a:lnTo>
                        <a:pt x="154437" y="208389"/>
                      </a:lnTo>
                      <a:lnTo>
                        <a:pt x="155049" y="210296"/>
                      </a:lnTo>
                      <a:lnTo>
                        <a:pt x="155986" y="211983"/>
                      </a:lnTo>
                      <a:lnTo>
                        <a:pt x="158520" y="213588"/>
                      </a:lnTo>
                      <a:lnTo>
                        <a:pt x="161486" y="214542"/>
                      </a:lnTo>
                      <a:lnTo>
                        <a:pt x="162816" y="218119"/>
                      </a:lnTo>
                      <a:lnTo>
                        <a:pt x="163059" y="222390"/>
                      </a:lnTo>
                      <a:lnTo>
                        <a:pt x="163467" y="226057"/>
                      </a:lnTo>
                      <a:lnTo>
                        <a:pt x="164560" y="229301"/>
                      </a:lnTo>
                      <a:close/>
                      <a:moveTo>
                        <a:pt x="168373" y="16617"/>
                      </a:moveTo>
                      <a:lnTo>
                        <a:pt x="168765" y="18133"/>
                      </a:lnTo>
                      <a:lnTo>
                        <a:pt x="170134" y="17057"/>
                      </a:lnTo>
                      <a:lnTo>
                        <a:pt x="171160" y="15354"/>
                      </a:lnTo>
                      <a:lnTo>
                        <a:pt x="172815" y="13651"/>
                      </a:lnTo>
                      <a:lnTo>
                        <a:pt x="172587" y="16413"/>
                      </a:lnTo>
                      <a:lnTo>
                        <a:pt x="173435" y="17016"/>
                      </a:lnTo>
                      <a:lnTo>
                        <a:pt x="178919" y="18956"/>
                      </a:lnTo>
                      <a:lnTo>
                        <a:pt x="180052" y="20553"/>
                      </a:lnTo>
                      <a:lnTo>
                        <a:pt x="181217" y="21026"/>
                      </a:lnTo>
                      <a:lnTo>
                        <a:pt x="181878" y="20130"/>
                      </a:lnTo>
                      <a:lnTo>
                        <a:pt x="182652" y="19633"/>
                      </a:lnTo>
                      <a:lnTo>
                        <a:pt x="184623" y="20651"/>
                      </a:lnTo>
                      <a:lnTo>
                        <a:pt x="189098" y="23471"/>
                      </a:lnTo>
                      <a:lnTo>
                        <a:pt x="189473" y="24449"/>
                      </a:lnTo>
                      <a:lnTo>
                        <a:pt x="189245" y="25900"/>
                      </a:lnTo>
                      <a:lnTo>
                        <a:pt x="189456" y="27432"/>
                      </a:lnTo>
                      <a:lnTo>
                        <a:pt x="190068" y="28654"/>
                      </a:lnTo>
                      <a:lnTo>
                        <a:pt x="191560" y="28940"/>
                      </a:lnTo>
                      <a:lnTo>
                        <a:pt x="193531" y="27114"/>
                      </a:lnTo>
                      <a:lnTo>
                        <a:pt x="194460" y="26894"/>
                      </a:lnTo>
                      <a:lnTo>
                        <a:pt x="195781" y="29453"/>
                      </a:lnTo>
                      <a:lnTo>
                        <a:pt x="196278" y="30904"/>
                      </a:lnTo>
                      <a:lnTo>
                        <a:pt x="196066" y="30863"/>
                      </a:lnTo>
                      <a:lnTo>
                        <a:pt x="196914" y="32297"/>
                      </a:lnTo>
                      <a:lnTo>
                        <a:pt x="198047" y="33732"/>
                      </a:lnTo>
                      <a:lnTo>
                        <a:pt x="199994" y="37970"/>
                      </a:lnTo>
                      <a:lnTo>
                        <a:pt x="199709" y="39453"/>
                      </a:lnTo>
                      <a:lnTo>
                        <a:pt x="199130" y="40781"/>
                      </a:lnTo>
                      <a:lnTo>
                        <a:pt x="200932" y="44685"/>
                      </a:lnTo>
                      <a:lnTo>
                        <a:pt x="199758" y="44962"/>
                      </a:lnTo>
                      <a:lnTo>
                        <a:pt x="196221" y="44294"/>
                      </a:lnTo>
                      <a:lnTo>
                        <a:pt x="196335" y="45076"/>
                      </a:lnTo>
                      <a:lnTo>
                        <a:pt x="198389" y="47937"/>
                      </a:lnTo>
                      <a:lnTo>
                        <a:pt x="200124" y="51995"/>
                      </a:lnTo>
                      <a:lnTo>
                        <a:pt x="201527" y="54448"/>
                      </a:lnTo>
                      <a:lnTo>
                        <a:pt x="206416" y="62036"/>
                      </a:lnTo>
                      <a:lnTo>
                        <a:pt x="205682" y="64741"/>
                      </a:lnTo>
                      <a:lnTo>
                        <a:pt x="205805" y="66526"/>
                      </a:lnTo>
                      <a:lnTo>
                        <a:pt x="205178" y="68059"/>
                      </a:lnTo>
                      <a:lnTo>
                        <a:pt x="206848" y="72076"/>
                      </a:lnTo>
                      <a:lnTo>
                        <a:pt x="205805" y="73331"/>
                      </a:lnTo>
                      <a:lnTo>
                        <a:pt x="205104" y="77455"/>
                      </a:lnTo>
                      <a:lnTo>
                        <a:pt x="204354" y="78180"/>
                      </a:lnTo>
                      <a:lnTo>
                        <a:pt x="204444" y="79696"/>
                      </a:lnTo>
                      <a:lnTo>
                        <a:pt x="206416" y="80104"/>
                      </a:lnTo>
                      <a:lnTo>
                        <a:pt x="207606" y="80739"/>
                      </a:lnTo>
                      <a:lnTo>
                        <a:pt x="208633" y="81962"/>
                      </a:lnTo>
                      <a:lnTo>
                        <a:pt x="209277" y="80487"/>
                      </a:lnTo>
                      <a:lnTo>
                        <a:pt x="210140" y="80079"/>
                      </a:lnTo>
                      <a:lnTo>
                        <a:pt x="212496" y="82043"/>
                      </a:lnTo>
                      <a:lnTo>
                        <a:pt x="217410" y="84007"/>
                      </a:lnTo>
                      <a:lnTo>
                        <a:pt x="218763" y="84757"/>
                      </a:lnTo>
                      <a:lnTo>
                        <a:pt x="219431" y="86330"/>
                      </a:lnTo>
                      <a:lnTo>
                        <a:pt x="219928" y="90177"/>
                      </a:lnTo>
                      <a:lnTo>
                        <a:pt x="220890" y="91864"/>
                      </a:lnTo>
                      <a:lnTo>
                        <a:pt x="222765" y="92190"/>
                      </a:lnTo>
                      <a:lnTo>
                        <a:pt x="224785" y="91684"/>
                      </a:lnTo>
                      <a:lnTo>
                        <a:pt x="225430" y="90291"/>
                      </a:lnTo>
                      <a:lnTo>
                        <a:pt x="225014" y="86534"/>
                      </a:lnTo>
                      <a:lnTo>
                        <a:pt x="223555" y="80503"/>
                      </a:lnTo>
                      <a:lnTo>
                        <a:pt x="223547" y="78547"/>
                      </a:lnTo>
                      <a:lnTo>
                        <a:pt x="223751" y="76599"/>
                      </a:lnTo>
                      <a:lnTo>
                        <a:pt x="223408" y="74651"/>
                      </a:lnTo>
                      <a:lnTo>
                        <a:pt x="222675" y="72809"/>
                      </a:lnTo>
                      <a:lnTo>
                        <a:pt x="221892" y="71408"/>
                      </a:lnTo>
                      <a:lnTo>
                        <a:pt x="220882" y="70226"/>
                      </a:lnTo>
                      <a:lnTo>
                        <a:pt x="221233" y="68376"/>
                      </a:lnTo>
                      <a:lnTo>
                        <a:pt x="222757" y="67537"/>
                      </a:lnTo>
                      <a:lnTo>
                        <a:pt x="223661" y="69102"/>
                      </a:lnTo>
                      <a:lnTo>
                        <a:pt x="224419" y="70968"/>
                      </a:lnTo>
                      <a:lnTo>
                        <a:pt x="228225" y="76534"/>
                      </a:lnTo>
                      <a:lnTo>
                        <a:pt x="230475" y="76143"/>
                      </a:lnTo>
                      <a:lnTo>
                        <a:pt x="230686" y="78458"/>
                      </a:lnTo>
                      <a:lnTo>
                        <a:pt x="232210" y="80804"/>
                      </a:lnTo>
                      <a:lnTo>
                        <a:pt x="233057" y="83543"/>
                      </a:lnTo>
                      <a:lnTo>
                        <a:pt x="234174" y="91774"/>
                      </a:lnTo>
                      <a:lnTo>
                        <a:pt x="235878" y="99524"/>
                      </a:lnTo>
                      <a:lnTo>
                        <a:pt x="238975" y="102907"/>
                      </a:lnTo>
                      <a:lnTo>
                        <a:pt x="239325" y="104520"/>
                      </a:lnTo>
                      <a:lnTo>
                        <a:pt x="237458" y="103689"/>
                      </a:lnTo>
                      <a:lnTo>
                        <a:pt x="236879" y="104170"/>
                      </a:lnTo>
                      <a:lnTo>
                        <a:pt x="237075" y="104993"/>
                      </a:lnTo>
                      <a:lnTo>
                        <a:pt x="238819" y="106484"/>
                      </a:lnTo>
                      <a:lnTo>
                        <a:pt x="240873" y="107218"/>
                      </a:lnTo>
                      <a:lnTo>
                        <a:pt x="242161" y="107104"/>
                      </a:lnTo>
                      <a:lnTo>
                        <a:pt x="243359" y="107642"/>
                      </a:lnTo>
                      <a:lnTo>
                        <a:pt x="251370" y="112686"/>
                      </a:lnTo>
                      <a:lnTo>
                        <a:pt x="255233" y="114658"/>
                      </a:lnTo>
                      <a:lnTo>
                        <a:pt x="264948" y="117870"/>
                      </a:lnTo>
                      <a:lnTo>
                        <a:pt x="267726" y="118122"/>
                      </a:lnTo>
                      <a:lnTo>
                        <a:pt x="269259" y="118032"/>
                      </a:lnTo>
                      <a:lnTo>
                        <a:pt x="272168" y="116916"/>
                      </a:lnTo>
                      <a:lnTo>
                        <a:pt x="274768" y="114911"/>
                      </a:lnTo>
                      <a:lnTo>
                        <a:pt x="277017" y="111912"/>
                      </a:lnTo>
                      <a:lnTo>
                        <a:pt x="278957" y="108489"/>
                      </a:lnTo>
                      <a:lnTo>
                        <a:pt x="281076" y="106835"/>
                      </a:lnTo>
                      <a:lnTo>
                        <a:pt x="283472" y="105531"/>
                      </a:lnTo>
                      <a:lnTo>
                        <a:pt x="284670" y="104324"/>
                      </a:lnTo>
                      <a:lnTo>
                        <a:pt x="285941" y="103469"/>
                      </a:lnTo>
                      <a:lnTo>
                        <a:pt x="292461" y="103868"/>
                      </a:lnTo>
                      <a:lnTo>
                        <a:pt x="294670" y="105596"/>
                      </a:lnTo>
                      <a:lnTo>
                        <a:pt x="297522" y="106973"/>
                      </a:lnTo>
                      <a:lnTo>
                        <a:pt x="299021" y="108057"/>
                      </a:lnTo>
                      <a:lnTo>
                        <a:pt x="298517" y="110250"/>
                      </a:lnTo>
                      <a:lnTo>
                        <a:pt x="296813" y="113485"/>
                      </a:lnTo>
                      <a:lnTo>
                        <a:pt x="295492" y="117038"/>
                      </a:lnTo>
                      <a:lnTo>
                        <a:pt x="294335" y="125098"/>
                      </a:lnTo>
                      <a:lnTo>
                        <a:pt x="293537" y="133240"/>
                      </a:lnTo>
                      <a:lnTo>
                        <a:pt x="292355" y="136842"/>
                      </a:lnTo>
                      <a:lnTo>
                        <a:pt x="290195" y="139621"/>
                      </a:lnTo>
                      <a:lnTo>
                        <a:pt x="287807" y="141650"/>
                      </a:lnTo>
                      <a:lnTo>
                        <a:pt x="285118" y="142604"/>
                      </a:lnTo>
                      <a:lnTo>
                        <a:pt x="284026" y="147233"/>
                      </a:lnTo>
                      <a:lnTo>
                        <a:pt x="283488" y="152677"/>
                      </a:lnTo>
                      <a:lnTo>
                        <a:pt x="283643" y="154046"/>
                      </a:lnTo>
                      <a:lnTo>
                        <a:pt x="284506" y="155130"/>
                      </a:lnTo>
                      <a:lnTo>
                        <a:pt x="284858" y="156744"/>
                      </a:lnTo>
                      <a:lnTo>
                        <a:pt x="283456" y="160020"/>
                      </a:lnTo>
                      <a:lnTo>
                        <a:pt x="282624" y="159547"/>
                      </a:lnTo>
                      <a:lnTo>
                        <a:pt x="281459" y="156817"/>
                      </a:lnTo>
                      <a:lnTo>
                        <a:pt x="280400" y="155668"/>
                      </a:lnTo>
                      <a:lnTo>
                        <a:pt x="277164" y="154821"/>
                      </a:lnTo>
                      <a:lnTo>
                        <a:pt x="273872" y="154421"/>
                      </a:lnTo>
                      <a:lnTo>
                        <a:pt x="271011" y="154665"/>
                      </a:lnTo>
                      <a:lnTo>
                        <a:pt x="268257" y="155831"/>
                      </a:lnTo>
                      <a:lnTo>
                        <a:pt x="264092" y="158203"/>
                      </a:lnTo>
                      <a:lnTo>
                        <a:pt x="262804" y="159400"/>
                      </a:lnTo>
                      <a:lnTo>
                        <a:pt x="261671" y="160933"/>
                      </a:lnTo>
                      <a:lnTo>
                        <a:pt x="259765" y="164331"/>
                      </a:lnTo>
                      <a:lnTo>
                        <a:pt x="259300" y="168488"/>
                      </a:lnTo>
                      <a:lnTo>
                        <a:pt x="259398" y="170688"/>
                      </a:lnTo>
                      <a:lnTo>
                        <a:pt x="260074" y="172359"/>
                      </a:lnTo>
                      <a:lnTo>
                        <a:pt x="263628" y="174657"/>
                      </a:lnTo>
                      <a:lnTo>
                        <a:pt x="260107" y="182700"/>
                      </a:lnTo>
                      <a:lnTo>
                        <a:pt x="256985" y="191078"/>
                      </a:lnTo>
                      <a:lnTo>
                        <a:pt x="255208" y="193483"/>
                      </a:lnTo>
                      <a:lnTo>
                        <a:pt x="253179" y="195691"/>
                      </a:lnTo>
                      <a:lnTo>
                        <a:pt x="251264" y="200736"/>
                      </a:lnTo>
                      <a:lnTo>
                        <a:pt x="247914" y="205088"/>
                      </a:lnTo>
                      <a:lnTo>
                        <a:pt x="245657" y="208413"/>
                      </a:lnTo>
                      <a:lnTo>
                        <a:pt x="243889" y="211860"/>
                      </a:lnTo>
                      <a:lnTo>
                        <a:pt x="242348" y="215536"/>
                      </a:lnTo>
                      <a:lnTo>
                        <a:pt x="239047" y="220735"/>
                      </a:lnTo>
                      <a:lnTo>
                        <a:pt x="237589" y="224174"/>
                      </a:lnTo>
                      <a:lnTo>
                        <a:pt x="235682" y="227035"/>
                      </a:lnTo>
                      <a:lnTo>
                        <a:pt x="232128" y="230678"/>
                      </a:lnTo>
                      <a:lnTo>
                        <a:pt x="228356" y="233824"/>
                      </a:lnTo>
                      <a:lnTo>
                        <a:pt x="222398" y="238143"/>
                      </a:lnTo>
                      <a:lnTo>
                        <a:pt x="220743" y="239577"/>
                      </a:lnTo>
                      <a:lnTo>
                        <a:pt x="218991" y="240629"/>
                      </a:lnTo>
                      <a:lnTo>
                        <a:pt x="216808" y="239390"/>
                      </a:lnTo>
                      <a:lnTo>
                        <a:pt x="216375" y="238045"/>
                      </a:lnTo>
                      <a:lnTo>
                        <a:pt x="215869" y="235103"/>
                      </a:lnTo>
                      <a:lnTo>
                        <a:pt x="215397" y="234019"/>
                      </a:lnTo>
                      <a:lnTo>
                        <a:pt x="212634" y="233123"/>
                      </a:lnTo>
                      <a:lnTo>
                        <a:pt x="208967" y="234549"/>
                      </a:lnTo>
                      <a:lnTo>
                        <a:pt x="208347" y="234248"/>
                      </a:lnTo>
                      <a:lnTo>
                        <a:pt x="208193" y="233580"/>
                      </a:lnTo>
                      <a:lnTo>
                        <a:pt x="208184" y="229260"/>
                      </a:lnTo>
                      <a:lnTo>
                        <a:pt x="208812" y="228054"/>
                      </a:lnTo>
                      <a:lnTo>
                        <a:pt x="207956" y="227377"/>
                      </a:lnTo>
                      <a:lnTo>
                        <a:pt x="207109" y="227654"/>
                      </a:lnTo>
                      <a:lnTo>
                        <a:pt x="206823" y="228738"/>
                      </a:lnTo>
                      <a:lnTo>
                        <a:pt x="207346" y="229684"/>
                      </a:lnTo>
                      <a:lnTo>
                        <a:pt x="205258" y="230874"/>
                      </a:lnTo>
                      <a:lnTo>
                        <a:pt x="203083" y="230922"/>
                      </a:lnTo>
                      <a:lnTo>
                        <a:pt x="202423" y="230450"/>
                      </a:lnTo>
                      <a:lnTo>
                        <a:pt x="202235" y="229651"/>
                      </a:lnTo>
                      <a:lnTo>
                        <a:pt x="202765" y="228347"/>
                      </a:lnTo>
                      <a:lnTo>
                        <a:pt x="203466" y="227190"/>
                      </a:lnTo>
                      <a:lnTo>
                        <a:pt x="207508" y="221770"/>
                      </a:lnTo>
                      <a:lnTo>
                        <a:pt x="211697" y="214566"/>
                      </a:lnTo>
                      <a:lnTo>
                        <a:pt x="215307" y="206873"/>
                      </a:lnTo>
                      <a:lnTo>
                        <a:pt x="216252" y="202912"/>
                      </a:lnTo>
                      <a:lnTo>
                        <a:pt x="217582" y="195577"/>
                      </a:lnTo>
                      <a:lnTo>
                        <a:pt x="216489" y="192521"/>
                      </a:lnTo>
                      <a:lnTo>
                        <a:pt x="215144" y="189652"/>
                      </a:lnTo>
                      <a:lnTo>
                        <a:pt x="211510" y="184119"/>
                      </a:lnTo>
                      <a:lnTo>
                        <a:pt x="206669" y="181014"/>
                      </a:lnTo>
                      <a:lnTo>
                        <a:pt x="203523" y="180566"/>
                      </a:lnTo>
                      <a:lnTo>
                        <a:pt x="200548" y="179400"/>
                      </a:lnTo>
                      <a:lnTo>
                        <a:pt x="197744" y="176768"/>
                      </a:lnTo>
                      <a:lnTo>
                        <a:pt x="195203" y="173671"/>
                      </a:lnTo>
                      <a:lnTo>
                        <a:pt x="190158" y="171128"/>
                      </a:lnTo>
                      <a:lnTo>
                        <a:pt x="184852" y="169123"/>
                      </a:lnTo>
                      <a:lnTo>
                        <a:pt x="181812" y="166303"/>
                      </a:lnTo>
                      <a:lnTo>
                        <a:pt x="181095" y="164641"/>
                      </a:lnTo>
                      <a:lnTo>
                        <a:pt x="180606" y="162693"/>
                      </a:lnTo>
                      <a:lnTo>
                        <a:pt x="180679" y="160900"/>
                      </a:lnTo>
                      <a:lnTo>
                        <a:pt x="181054" y="159074"/>
                      </a:lnTo>
                      <a:lnTo>
                        <a:pt x="181666" y="157656"/>
                      </a:lnTo>
                      <a:lnTo>
                        <a:pt x="182603" y="156646"/>
                      </a:lnTo>
                      <a:lnTo>
                        <a:pt x="188234" y="152995"/>
                      </a:lnTo>
                      <a:lnTo>
                        <a:pt x="194192" y="150966"/>
                      </a:lnTo>
                      <a:lnTo>
                        <a:pt x="195292" y="151014"/>
                      </a:lnTo>
                      <a:lnTo>
                        <a:pt x="196352" y="150696"/>
                      </a:lnTo>
                      <a:lnTo>
                        <a:pt x="197843" y="149441"/>
                      </a:lnTo>
                      <a:lnTo>
                        <a:pt x="200508" y="146606"/>
                      </a:lnTo>
                      <a:lnTo>
                        <a:pt x="201290" y="144714"/>
                      </a:lnTo>
                      <a:lnTo>
                        <a:pt x="201803" y="138668"/>
                      </a:lnTo>
                      <a:lnTo>
                        <a:pt x="202659" y="132727"/>
                      </a:lnTo>
                      <a:lnTo>
                        <a:pt x="204199" y="125921"/>
                      </a:lnTo>
                      <a:lnTo>
                        <a:pt x="206522" y="121700"/>
                      </a:lnTo>
                      <a:lnTo>
                        <a:pt x="207296" y="119125"/>
                      </a:lnTo>
                      <a:lnTo>
                        <a:pt x="206343" y="114870"/>
                      </a:lnTo>
                      <a:lnTo>
                        <a:pt x="207215" y="113314"/>
                      </a:lnTo>
                      <a:lnTo>
                        <a:pt x="208274" y="112377"/>
                      </a:lnTo>
                      <a:lnTo>
                        <a:pt x="209473" y="111838"/>
                      </a:lnTo>
                      <a:lnTo>
                        <a:pt x="207443" y="107837"/>
                      </a:lnTo>
                      <a:lnTo>
                        <a:pt x="205039" y="101822"/>
                      </a:lnTo>
                      <a:lnTo>
                        <a:pt x="204533" y="99948"/>
                      </a:lnTo>
                      <a:lnTo>
                        <a:pt x="204908" y="98098"/>
                      </a:lnTo>
                      <a:lnTo>
                        <a:pt x="205487" y="96281"/>
                      </a:lnTo>
                      <a:lnTo>
                        <a:pt x="203996" y="95825"/>
                      </a:lnTo>
                      <a:lnTo>
                        <a:pt x="203131" y="94081"/>
                      </a:lnTo>
                      <a:lnTo>
                        <a:pt x="200981" y="88237"/>
                      </a:lnTo>
                      <a:lnTo>
                        <a:pt x="201559" y="87308"/>
                      </a:lnTo>
                      <a:lnTo>
                        <a:pt x="202806" y="87935"/>
                      </a:lnTo>
                      <a:lnTo>
                        <a:pt x="204656" y="92149"/>
                      </a:lnTo>
                      <a:lnTo>
                        <a:pt x="204957" y="89989"/>
                      </a:lnTo>
                      <a:lnTo>
                        <a:pt x="206376" y="88645"/>
                      </a:lnTo>
                      <a:lnTo>
                        <a:pt x="207875" y="87960"/>
                      </a:lnTo>
                      <a:lnTo>
                        <a:pt x="209481" y="87805"/>
                      </a:lnTo>
                      <a:lnTo>
                        <a:pt x="205837" y="83111"/>
                      </a:lnTo>
                      <a:lnTo>
                        <a:pt x="204632" y="83290"/>
                      </a:lnTo>
                      <a:lnTo>
                        <a:pt x="203009" y="84048"/>
                      </a:lnTo>
                      <a:lnTo>
                        <a:pt x="201372" y="84513"/>
                      </a:lnTo>
                      <a:lnTo>
                        <a:pt x="199766" y="84089"/>
                      </a:lnTo>
                      <a:lnTo>
                        <a:pt x="198250" y="83046"/>
                      </a:lnTo>
                      <a:lnTo>
                        <a:pt x="197484" y="81065"/>
                      </a:lnTo>
                      <a:lnTo>
                        <a:pt x="196523" y="77267"/>
                      </a:lnTo>
                      <a:lnTo>
                        <a:pt x="195928" y="75866"/>
                      </a:lnTo>
                      <a:lnTo>
                        <a:pt x="191136" y="68099"/>
                      </a:lnTo>
                      <a:lnTo>
                        <a:pt x="192553" y="67863"/>
                      </a:lnTo>
                      <a:lnTo>
                        <a:pt x="196408" y="71758"/>
                      </a:lnTo>
                      <a:lnTo>
                        <a:pt x="197166" y="70503"/>
                      </a:lnTo>
                      <a:lnTo>
                        <a:pt x="197729" y="68719"/>
                      </a:lnTo>
                      <a:lnTo>
                        <a:pt x="197541" y="66738"/>
                      </a:lnTo>
                      <a:lnTo>
                        <a:pt x="196620" y="65230"/>
                      </a:lnTo>
                      <a:lnTo>
                        <a:pt x="195251" y="64252"/>
                      </a:lnTo>
                      <a:lnTo>
                        <a:pt x="195219" y="62492"/>
                      </a:lnTo>
                      <a:lnTo>
                        <a:pt x="196261" y="60878"/>
                      </a:lnTo>
                      <a:lnTo>
                        <a:pt x="196204" y="59746"/>
                      </a:lnTo>
                      <a:lnTo>
                        <a:pt x="193996" y="57431"/>
                      </a:lnTo>
                      <a:lnTo>
                        <a:pt x="193107" y="57195"/>
                      </a:lnTo>
                      <a:lnTo>
                        <a:pt x="192724" y="58271"/>
                      </a:lnTo>
                      <a:lnTo>
                        <a:pt x="193352" y="59868"/>
                      </a:lnTo>
                      <a:lnTo>
                        <a:pt x="192765" y="60039"/>
                      </a:lnTo>
                      <a:lnTo>
                        <a:pt x="187370" y="55834"/>
                      </a:lnTo>
                      <a:lnTo>
                        <a:pt x="185708" y="52460"/>
                      </a:lnTo>
                      <a:lnTo>
                        <a:pt x="184339" y="48768"/>
                      </a:lnTo>
                      <a:lnTo>
                        <a:pt x="184209" y="50276"/>
                      </a:lnTo>
                      <a:lnTo>
                        <a:pt x="184412" y="52386"/>
                      </a:lnTo>
                      <a:lnTo>
                        <a:pt x="186539" y="56632"/>
                      </a:lnTo>
                      <a:lnTo>
                        <a:pt x="189995" y="61375"/>
                      </a:lnTo>
                      <a:lnTo>
                        <a:pt x="190598" y="62639"/>
                      </a:lnTo>
                      <a:lnTo>
                        <a:pt x="190084" y="64277"/>
                      </a:lnTo>
                      <a:lnTo>
                        <a:pt x="188886" y="64741"/>
                      </a:lnTo>
                      <a:lnTo>
                        <a:pt x="187827" y="63715"/>
                      </a:lnTo>
                      <a:lnTo>
                        <a:pt x="186246" y="59648"/>
                      </a:lnTo>
                      <a:lnTo>
                        <a:pt x="185113" y="57602"/>
                      </a:lnTo>
                      <a:lnTo>
                        <a:pt x="171894" y="36666"/>
                      </a:lnTo>
                      <a:lnTo>
                        <a:pt x="173589" y="33903"/>
                      </a:lnTo>
                      <a:lnTo>
                        <a:pt x="176205" y="31588"/>
                      </a:lnTo>
                      <a:lnTo>
                        <a:pt x="176808" y="30553"/>
                      </a:lnTo>
                      <a:lnTo>
                        <a:pt x="177199" y="29298"/>
                      </a:lnTo>
                      <a:lnTo>
                        <a:pt x="176091" y="29086"/>
                      </a:lnTo>
                      <a:lnTo>
                        <a:pt x="175097" y="29657"/>
                      </a:lnTo>
                      <a:lnTo>
                        <a:pt x="173964" y="30716"/>
                      </a:lnTo>
                      <a:lnTo>
                        <a:pt x="172937" y="31931"/>
                      </a:lnTo>
                      <a:lnTo>
                        <a:pt x="171625" y="34636"/>
                      </a:lnTo>
                      <a:lnTo>
                        <a:pt x="170997" y="35256"/>
                      </a:lnTo>
                      <a:lnTo>
                        <a:pt x="169457" y="33389"/>
                      </a:lnTo>
                      <a:lnTo>
                        <a:pt x="168870" y="32224"/>
                      </a:lnTo>
                      <a:lnTo>
                        <a:pt x="168895" y="30839"/>
                      </a:lnTo>
                      <a:lnTo>
                        <a:pt x="168487" y="29975"/>
                      </a:lnTo>
                      <a:lnTo>
                        <a:pt x="167322" y="29689"/>
                      </a:lnTo>
                      <a:lnTo>
                        <a:pt x="165643" y="26943"/>
                      </a:lnTo>
                      <a:lnTo>
                        <a:pt x="164560" y="25533"/>
                      </a:lnTo>
                      <a:lnTo>
                        <a:pt x="166344" y="22852"/>
                      </a:lnTo>
                      <a:lnTo>
                        <a:pt x="166401" y="19307"/>
                      </a:lnTo>
                      <a:lnTo>
                        <a:pt x="164575" y="15590"/>
                      </a:lnTo>
                      <a:lnTo>
                        <a:pt x="162400" y="12192"/>
                      </a:lnTo>
                      <a:lnTo>
                        <a:pt x="158210" y="6683"/>
                      </a:lnTo>
                      <a:lnTo>
                        <a:pt x="154363" y="864"/>
                      </a:lnTo>
                      <a:lnTo>
                        <a:pt x="158537" y="130"/>
                      </a:lnTo>
                      <a:lnTo>
                        <a:pt x="162758" y="0"/>
                      </a:lnTo>
                      <a:lnTo>
                        <a:pt x="160761" y="3488"/>
                      </a:lnTo>
                      <a:lnTo>
                        <a:pt x="161658" y="5501"/>
                      </a:lnTo>
                      <a:lnTo>
                        <a:pt x="163003" y="7204"/>
                      </a:lnTo>
                      <a:lnTo>
                        <a:pt x="165904" y="12420"/>
                      </a:lnTo>
                      <a:lnTo>
                        <a:pt x="166148" y="13920"/>
                      </a:lnTo>
                      <a:lnTo>
                        <a:pt x="167632" y="15452"/>
                      </a:lnTo>
                      <a:lnTo>
                        <a:pt x="168373" y="16617"/>
                      </a:lnTo>
                      <a:close/>
                    </a:path>
                  </a:pathLst>
                </a:custGeom>
                <a:solidFill>
                  <a:srgbClr val="D6D6D2"/>
                </a:solidFill>
                <a:ln w="6112" cap="rnd">
                  <a:solidFill>
                    <a:srgbClr val="FFFFFF"/>
                  </a:solidFill>
                  <a:prstDash val="solid"/>
                  <a:round/>
                </a:ln>
              </p:spPr>
              <p:txBody>
                <a:bodyPr rtlCol="0" anchor="ctr"/>
                <a:lstStyle/>
                <a:p>
                  <a:endParaRPr lang="en-US"/>
                </a:p>
              </p:txBody>
            </p:sp>
            <p:sp>
              <p:nvSpPr>
                <p:cNvPr id="654" name="Freeform: Shape 653">
                  <a:extLst>
                    <a:ext uri="{FF2B5EF4-FFF2-40B4-BE49-F238E27FC236}">
                      <a16:creationId xmlns:a16="http://schemas.microsoft.com/office/drawing/2014/main" id="{465DB682-A83B-4E7A-AB0B-8C2474CD6A54}"/>
                    </a:ext>
                  </a:extLst>
                </p:cNvPr>
                <p:cNvSpPr/>
                <p:nvPr/>
              </p:nvSpPr>
              <p:spPr>
                <a:xfrm>
                  <a:off x="7929094" y="3592787"/>
                  <a:ext cx="201143" cy="128293"/>
                </a:xfrm>
                <a:custGeom>
                  <a:avLst/>
                  <a:gdLst>
                    <a:gd name="connsiteX0" fmla="*/ 199856 w 201143"/>
                    <a:gd name="connsiteY0" fmla="*/ 80446 h 128293"/>
                    <a:gd name="connsiteX1" fmla="*/ 200866 w 201143"/>
                    <a:gd name="connsiteY1" fmla="*/ 81318 h 128293"/>
                    <a:gd name="connsiteX2" fmla="*/ 200956 w 201143"/>
                    <a:gd name="connsiteY2" fmla="*/ 82728 h 128293"/>
                    <a:gd name="connsiteX3" fmla="*/ 200769 w 201143"/>
                    <a:gd name="connsiteY3" fmla="*/ 84309 h 128293"/>
                    <a:gd name="connsiteX4" fmla="*/ 199750 w 201143"/>
                    <a:gd name="connsiteY4" fmla="*/ 87699 h 128293"/>
                    <a:gd name="connsiteX5" fmla="*/ 198821 w 201143"/>
                    <a:gd name="connsiteY5" fmla="*/ 90079 h 128293"/>
                    <a:gd name="connsiteX6" fmla="*/ 197729 w 201143"/>
                    <a:gd name="connsiteY6" fmla="*/ 95107 h 128293"/>
                    <a:gd name="connsiteX7" fmla="*/ 196735 w 201143"/>
                    <a:gd name="connsiteY7" fmla="*/ 103820 h 128293"/>
                    <a:gd name="connsiteX8" fmla="*/ 196962 w 201143"/>
                    <a:gd name="connsiteY8" fmla="*/ 105343 h 128293"/>
                    <a:gd name="connsiteX9" fmla="*/ 199888 w 201143"/>
                    <a:gd name="connsiteY9" fmla="*/ 110331 h 128293"/>
                    <a:gd name="connsiteX10" fmla="*/ 201029 w 201143"/>
                    <a:gd name="connsiteY10" fmla="*/ 114161 h 128293"/>
                    <a:gd name="connsiteX11" fmla="*/ 201143 w 201143"/>
                    <a:gd name="connsiteY11" fmla="*/ 116778 h 128293"/>
                    <a:gd name="connsiteX12" fmla="*/ 199888 w 201143"/>
                    <a:gd name="connsiteY12" fmla="*/ 121146 h 128293"/>
                    <a:gd name="connsiteX13" fmla="*/ 198495 w 201143"/>
                    <a:gd name="connsiteY13" fmla="*/ 126093 h 128293"/>
                    <a:gd name="connsiteX14" fmla="*/ 197794 w 201143"/>
                    <a:gd name="connsiteY14" fmla="*/ 127193 h 128293"/>
                    <a:gd name="connsiteX15" fmla="*/ 197020 w 201143"/>
                    <a:gd name="connsiteY15" fmla="*/ 127600 h 128293"/>
                    <a:gd name="connsiteX16" fmla="*/ 193393 w 201143"/>
                    <a:gd name="connsiteY16" fmla="*/ 125873 h 128293"/>
                    <a:gd name="connsiteX17" fmla="*/ 190916 w 201143"/>
                    <a:gd name="connsiteY17" fmla="*/ 126117 h 128293"/>
                    <a:gd name="connsiteX18" fmla="*/ 188039 w 201143"/>
                    <a:gd name="connsiteY18" fmla="*/ 127071 h 128293"/>
                    <a:gd name="connsiteX19" fmla="*/ 185056 w 201143"/>
                    <a:gd name="connsiteY19" fmla="*/ 126883 h 128293"/>
                    <a:gd name="connsiteX20" fmla="*/ 182587 w 201143"/>
                    <a:gd name="connsiteY20" fmla="*/ 126313 h 128293"/>
                    <a:gd name="connsiteX21" fmla="*/ 179465 w 201143"/>
                    <a:gd name="connsiteY21" fmla="*/ 128293 h 128293"/>
                    <a:gd name="connsiteX22" fmla="*/ 176474 w 201143"/>
                    <a:gd name="connsiteY22" fmla="*/ 127225 h 128293"/>
                    <a:gd name="connsiteX23" fmla="*/ 174559 w 201143"/>
                    <a:gd name="connsiteY23" fmla="*/ 125987 h 128293"/>
                    <a:gd name="connsiteX24" fmla="*/ 173271 w 201143"/>
                    <a:gd name="connsiteY24" fmla="*/ 122572 h 128293"/>
                    <a:gd name="connsiteX25" fmla="*/ 172742 w 201143"/>
                    <a:gd name="connsiteY25" fmla="*/ 122132 h 128293"/>
                    <a:gd name="connsiteX26" fmla="*/ 166450 w 201143"/>
                    <a:gd name="connsiteY26" fmla="*/ 125718 h 128293"/>
                    <a:gd name="connsiteX27" fmla="*/ 164926 w 201143"/>
                    <a:gd name="connsiteY27" fmla="*/ 125930 h 128293"/>
                    <a:gd name="connsiteX28" fmla="*/ 161014 w 201143"/>
                    <a:gd name="connsiteY28" fmla="*/ 124006 h 128293"/>
                    <a:gd name="connsiteX29" fmla="*/ 157812 w 201143"/>
                    <a:gd name="connsiteY29" fmla="*/ 122099 h 128293"/>
                    <a:gd name="connsiteX30" fmla="*/ 156613 w 201143"/>
                    <a:gd name="connsiteY30" fmla="*/ 121529 h 128293"/>
                    <a:gd name="connsiteX31" fmla="*/ 153525 w 201143"/>
                    <a:gd name="connsiteY31" fmla="*/ 120779 h 128293"/>
                    <a:gd name="connsiteX32" fmla="*/ 150737 w 201143"/>
                    <a:gd name="connsiteY32" fmla="*/ 120355 h 128293"/>
                    <a:gd name="connsiteX33" fmla="*/ 147714 w 201143"/>
                    <a:gd name="connsiteY33" fmla="*/ 119157 h 128293"/>
                    <a:gd name="connsiteX34" fmla="*/ 143949 w 201143"/>
                    <a:gd name="connsiteY34" fmla="*/ 120714 h 128293"/>
                    <a:gd name="connsiteX35" fmla="*/ 142433 w 201143"/>
                    <a:gd name="connsiteY35" fmla="*/ 120592 h 128293"/>
                    <a:gd name="connsiteX36" fmla="*/ 141007 w 201143"/>
                    <a:gd name="connsiteY36" fmla="*/ 119467 h 128293"/>
                    <a:gd name="connsiteX37" fmla="*/ 140281 w 201143"/>
                    <a:gd name="connsiteY37" fmla="*/ 117161 h 128293"/>
                    <a:gd name="connsiteX38" fmla="*/ 140086 w 201143"/>
                    <a:gd name="connsiteY38" fmla="*/ 114976 h 128293"/>
                    <a:gd name="connsiteX39" fmla="*/ 138815 w 201143"/>
                    <a:gd name="connsiteY39" fmla="*/ 113477 h 128293"/>
                    <a:gd name="connsiteX40" fmla="*/ 136834 w 201143"/>
                    <a:gd name="connsiteY40" fmla="*/ 113134 h 128293"/>
                    <a:gd name="connsiteX41" fmla="*/ 134047 w 201143"/>
                    <a:gd name="connsiteY41" fmla="*/ 114487 h 128293"/>
                    <a:gd name="connsiteX42" fmla="*/ 129996 w 201143"/>
                    <a:gd name="connsiteY42" fmla="*/ 116264 h 128293"/>
                    <a:gd name="connsiteX43" fmla="*/ 128684 w 201143"/>
                    <a:gd name="connsiteY43" fmla="*/ 115963 h 128293"/>
                    <a:gd name="connsiteX44" fmla="*/ 127478 w 201143"/>
                    <a:gd name="connsiteY44" fmla="*/ 115457 h 128293"/>
                    <a:gd name="connsiteX45" fmla="*/ 127055 w 201143"/>
                    <a:gd name="connsiteY45" fmla="*/ 114976 h 128293"/>
                    <a:gd name="connsiteX46" fmla="*/ 126476 w 201143"/>
                    <a:gd name="connsiteY46" fmla="*/ 112923 h 128293"/>
                    <a:gd name="connsiteX47" fmla="*/ 125840 w 201143"/>
                    <a:gd name="connsiteY47" fmla="*/ 112466 h 128293"/>
                    <a:gd name="connsiteX48" fmla="*/ 124895 w 201143"/>
                    <a:gd name="connsiteY48" fmla="*/ 112409 h 128293"/>
                    <a:gd name="connsiteX49" fmla="*/ 123232 w 201143"/>
                    <a:gd name="connsiteY49" fmla="*/ 111912 h 128293"/>
                    <a:gd name="connsiteX50" fmla="*/ 121162 w 201143"/>
                    <a:gd name="connsiteY50" fmla="*/ 110380 h 128293"/>
                    <a:gd name="connsiteX51" fmla="*/ 114919 w 201143"/>
                    <a:gd name="connsiteY51" fmla="*/ 106770 h 128293"/>
                    <a:gd name="connsiteX52" fmla="*/ 114137 w 201143"/>
                    <a:gd name="connsiteY52" fmla="*/ 105164 h 128293"/>
                    <a:gd name="connsiteX53" fmla="*/ 114169 w 201143"/>
                    <a:gd name="connsiteY53" fmla="*/ 101611 h 128293"/>
                    <a:gd name="connsiteX54" fmla="*/ 113819 w 201143"/>
                    <a:gd name="connsiteY54" fmla="*/ 100152 h 128293"/>
                    <a:gd name="connsiteX55" fmla="*/ 113061 w 201143"/>
                    <a:gd name="connsiteY55" fmla="*/ 98604 h 128293"/>
                    <a:gd name="connsiteX56" fmla="*/ 109850 w 201143"/>
                    <a:gd name="connsiteY56" fmla="*/ 97031 h 128293"/>
                    <a:gd name="connsiteX57" fmla="*/ 103632 w 201143"/>
                    <a:gd name="connsiteY57" fmla="*/ 94512 h 128293"/>
                    <a:gd name="connsiteX58" fmla="*/ 100184 w 201143"/>
                    <a:gd name="connsiteY58" fmla="*/ 92491 h 128293"/>
                    <a:gd name="connsiteX59" fmla="*/ 98546 w 201143"/>
                    <a:gd name="connsiteY59" fmla="*/ 93428 h 128293"/>
                    <a:gd name="connsiteX60" fmla="*/ 95376 w 201143"/>
                    <a:gd name="connsiteY60" fmla="*/ 94276 h 128293"/>
                    <a:gd name="connsiteX61" fmla="*/ 93689 w 201143"/>
                    <a:gd name="connsiteY61" fmla="*/ 96093 h 128293"/>
                    <a:gd name="connsiteX62" fmla="*/ 91652 w 201143"/>
                    <a:gd name="connsiteY62" fmla="*/ 95515 h 128293"/>
                    <a:gd name="connsiteX63" fmla="*/ 86803 w 201143"/>
                    <a:gd name="connsiteY63" fmla="*/ 93600 h 128293"/>
                    <a:gd name="connsiteX64" fmla="*/ 84219 w 201143"/>
                    <a:gd name="connsiteY64" fmla="*/ 93315 h 128293"/>
                    <a:gd name="connsiteX65" fmla="*/ 82646 w 201143"/>
                    <a:gd name="connsiteY65" fmla="*/ 93966 h 128293"/>
                    <a:gd name="connsiteX66" fmla="*/ 82280 w 201143"/>
                    <a:gd name="connsiteY66" fmla="*/ 95067 h 128293"/>
                    <a:gd name="connsiteX67" fmla="*/ 80308 w 201143"/>
                    <a:gd name="connsiteY67" fmla="*/ 96305 h 128293"/>
                    <a:gd name="connsiteX68" fmla="*/ 78425 w 201143"/>
                    <a:gd name="connsiteY68" fmla="*/ 95311 h 128293"/>
                    <a:gd name="connsiteX69" fmla="*/ 74716 w 201143"/>
                    <a:gd name="connsiteY69" fmla="*/ 93975 h 128293"/>
                    <a:gd name="connsiteX70" fmla="*/ 71457 w 201143"/>
                    <a:gd name="connsiteY70" fmla="*/ 93241 h 128293"/>
                    <a:gd name="connsiteX71" fmla="*/ 66510 w 201143"/>
                    <a:gd name="connsiteY71" fmla="*/ 91611 h 128293"/>
                    <a:gd name="connsiteX72" fmla="*/ 65956 w 201143"/>
                    <a:gd name="connsiteY72" fmla="*/ 89142 h 128293"/>
                    <a:gd name="connsiteX73" fmla="*/ 65116 w 201143"/>
                    <a:gd name="connsiteY73" fmla="*/ 86713 h 128293"/>
                    <a:gd name="connsiteX74" fmla="*/ 63934 w 201143"/>
                    <a:gd name="connsiteY74" fmla="*/ 86281 h 128293"/>
                    <a:gd name="connsiteX75" fmla="*/ 59509 w 201143"/>
                    <a:gd name="connsiteY75" fmla="*/ 86762 h 128293"/>
                    <a:gd name="connsiteX76" fmla="*/ 55451 w 201143"/>
                    <a:gd name="connsiteY76" fmla="*/ 84073 h 128293"/>
                    <a:gd name="connsiteX77" fmla="*/ 51091 w 201143"/>
                    <a:gd name="connsiteY77" fmla="*/ 80625 h 128293"/>
                    <a:gd name="connsiteX78" fmla="*/ 49241 w 201143"/>
                    <a:gd name="connsiteY78" fmla="*/ 79492 h 128293"/>
                    <a:gd name="connsiteX79" fmla="*/ 48010 w 201143"/>
                    <a:gd name="connsiteY79" fmla="*/ 79077 h 128293"/>
                    <a:gd name="connsiteX80" fmla="*/ 46959 w 201143"/>
                    <a:gd name="connsiteY80" fmla="*/ 79541 h 128293"/>
                    <a:gd name="connsiteX81" fmla="*/ 45761 w 201143"/>
                    <a:gd name="connsiteY81" fmla="*/ 80324 h 128293"/>
                    <a:gd name="connsiteX82" fmla="*/ 44660 w 201143"/>
                    <a:gd name="connsiteY82" fmla="*/ 80560 h 128293"/>
                    <a:gd name="connsiteX83" fmla="*/ 42297 w 201143"/>
                    <a:gd name="connsiteY83" fmla="*/ 79077 h 128293"/>
                    <a:gd name="connsiteX84" fmla="*/ 39282 w 201143"/>
                    <a:gd name="connsiteY84" fmla="*/ 76950 h 128293"/>
                    <a:gd name="connsiteX85" fmla="*/ 35574 w 201143"/>
                    <a:gd name="connsiteY85" fmla="*/ 74358 h 128293"/>
                    <a:gd name="connsiteX86" fmla="*/ 31230 w 201143"/>
                    <a:gd name="connsiteY86" fmla="*/ 70723 h 128293"/>
                    <a:gd name="connsiteX87" fmla="*/ 29437 w 201143"/>
                    <a:gd name="connsiteY87" fmla="*/ 68670 h 128293"/>
                    <a:gd name="connsiteX88" fmla="*/ 28630 w 201143"/>
                    <a:gd name="connsiteY88" fmla="*/ 67121 h 128293"/>
                    <a:gd name="connsiteX89" fmla="*/ 27717 w 201143"/>
                    <a:gd name="connsiteY89" fmla="*/ 65679 h 128293"/>
                    <a:gd name="connsiteX90" fmla="*/ 23919 w 201143"/>
                    <a:gd name="connsiteY90" fmla="*/ 63299 h 128293"/>
                    <a:gd name="connsiteX91" fmla="*/ 20936 w 201143"/>
                    <a:gd name="connsiteY91" fmla="*/ 61416 h 128293"/>
                    <a:gd name="connsiteX92" fmla="*/ 17335 w 201143"/>
                    <a:gd name="connsiteY92" fmla="*/ 59151 h 128293"/>
                    <a:gd name="connsiteX93" fmla="*/ 16723 w 201143"/>
                    <a:gd name="connsiteY93" fmla="*/ 58703 h 128293"/>
                    <a:gd name="connsiteX94" fmla="*/ 15362 w 201143"/>
                    <a:gd name="connsiteY94" fmla="*/ 57342 h 128293"/>
                    <a:gd name="connsiteX95" fmla="*/ 13276 w 201143"/>
                    <a:gd name="connsiteY95" fmla="*/ 55646 h 128293"/>
                    <a:gd name="connsiteX96" fmla="*/ 11565 w 201143"/>
                    <a:gd name="connsiteY96" fmla="*/ 55149 h 128293"/>
                    <a:gd name="connsiteX97" fmla="*/ 11002 w 201143"/>
                    <a:gd name="connsiteY97" fmla="*/ 56086 h 128293"/>
                    <a:gd name="connsiteX98" fmla="*/ 10603 w 201143"/>
                    <a:gd name="connsiteY98" fmla="*/ 57072 h 128293"/>
                    <a:gd name="connsiteX99" fmla="*/ 9095 w 201143"/>
                    <a:gd name="connsiteY99" fmla="*/ 56844 h 128293"/>
                    <a:gd name="connsiteX100" fmla="*/ 6772 w 201143"/>
                    <a:gd name="connsiteY100" fmla="*/ 55108 h 128293"/>
                    <a:gd name="connsiteX101" fmla="*/ 4336 w 201143"/>
                    <a:gd name="connsiteY101" fmla="*/ 53291 h 128293"/>
                    <a:gd name="connsiteX102" fmla="*/ 2420 w 201143"/>
                    <a:gd name="connsiteY102" fmla="*/ 51612 h 128293"/>
                    <a:gd name="connsiteX103" fmla="*/ 465 w 201143"/>
                    <a:gd name="connsiteY103" fmla="*/ 49885 h 128293"/>
                    <a:gd name="connsiteX104" fmla="*/ 0 w 201143"/>
                    <a:gd name="connsiteY104" fmla="*/ 48605 h 128293"/>
                    <a:gd name="connsiteX105" fmla="*/ 807 w 201143"/>
                    <a:gd name="connsiteY105" fmla="*/ 44652 h 128293"/>
                    <a:gd name="connsiteX106" fmla="*/ 1956 w 201143"/>
                    <a:gd name="connsiteY106" fmla="*/ 41254 h 128293"/>
                    <a:gd name="connsiteX107" fmla="*/ 2917 w 201143"/>
                    <a:gd name="connsiteY107" fmla="*/ 40496 h 128293"/>
                    <a:gd name="connsiteX108" fmla="*/ 4499 w 201143"/>
                    <a:gd name="connsiteY108" fmla="*/ 38247 h 128293"/>
                    <a:gd name="connsiteX109" fmla="*/ 5061 w 201143"/>
                    <a:gd name="connsiteY109" fmla="*/ 34294 h 128293"/>
                    <a:gd name="connsiteX110" fmla="*/ 5036 w 201143"/>
                    <a:gd name="connsiteY110" fmla="*/ 30920 h 128293"/>
                    <a:gd name="connsiteX111" fmla="*/ 6568 w 201143"/>
                    <a:gd name="connsiteY111" fmla="*/ 26161 h 128293"/>
                    <a:gd name="connsiteX112" fmla="*/ 8687 w 201143"/>
                    <a:gd name="connsiteY112" fmla="*/ 21100 h 128293"/>
                    <a:gd name="connsiteX113" fmla="*/ 12323 w 201143"/>
                    <a:gd name="connsiteY113" fmla="*/ 15664 h 128293"/>
                    <a:gd name="connsiteX114" fmla="*/ 13920 w 201143"/>
                    <a:gd name="connsiteY114" fmla="*/ 13871 h 128293"/>
                    <a:gd name="connsiteX115" fmla="*/ 15680 w 201143"/>
                    <a:gd name="connsiteY115" fmla="*/ 12632 h 128293"/>
                    <a:gd name="connsiteX116" fmla="*/ 19054 w 201143"/>
                    <a:gd name="connsiteY116" fmla="*/ 8623 h 128293"/>
                    <a:gd name="connsiteX117" fmla="*/ 19755 w 201143"/>
                    <a:gd name="connsiteY117" fmla="*/ 7962 h 128293"/>
                    <a:gd name="connsiteX118" fmla="*/ 21222 w 201143"/>
                    <a:gd name="connsiteY118" fmla="*/ 6936 h 128293"/>
                    <a:gd name="connsiteX119" fmla="*/ 22672 w 201143"/>
                    <a:gd name="connsiteY119" fmla="*/ 6675 h 128293"/>
                    <a:gd name="connsiteX120" fmla="*/ 23773 w 201143"/>
                    <a:gd name="connsiteY120" fmla="*/ 7172 h 128293"/>
                    <a:gd name="connsiteX121" fmla="*/ 24897 w 201143"/>
                    <a:gd name="connsiteY121" fmla="*/ 9266 h 128293"/>
                    <a:gd name="connsiteX122" fmla="*/ 26242 w 201143"/>
                    <a:gd name="connsiteY122" fmla="*/ 11271 h 128293"/>
                    <a:gd name="connsiteX123" fmla="*/ 27913 w 201143"/>
                    <a:gd name="connsiteY123" fmla="*/ 11165 h 128293"/>
                    <a:gd name="connsiteX124" fmla="*/ 29853 w 201143"/>
                    <a:gd name="connsiteY124" fmla="*/ 9462 h 128293"/>
                    <a:gd name="connsiteX125" fmla="*/ 33862 w 201143"/>
                    <a:gd name="connsiteY125" fmla="*/ 1605 h 128293"/>
                    <a:gd name="connsiteX126" fmla="*/ 39445 w 201143"/>
                    <a:gd name="connsiteY126" fmla="*/ 0 h 128293"/>
                    <a:gd name="connsiteX127" fmla="*/ 44726 w 201143"/>
                    <a:gd name="connsiteY127" fmla="*/ 807 h 128293"/>
                    <a:gd name="connsiteX128" fmla="*/ 49395 w 201143"/>
                    <a:gd name="connsiteY128" fmla="*/ 1956 h 128293"/>
                    <a:gd name="connsiteX129" fmla="*/ 50773 w 201143"/>
                    <a:gd name="connsiteY129" fmla="*/ 4580 h 128293"/>
                    <a:gd name="connsiteX130" fmla="*/ 51685 w 201143"/>
                    <a:gd name="connsiteY130" fmla="*/ 7343 h 128293"/>
                    <a:gd name="connsiteX131" fmla="*/ 52264 w 201143"/>
                    <a:gd name="connsiteY131" fmla="*/ 8753 h 128293"/>
                    <a:gd name="connsiteX132" fmla="*/ 53788 w 201143"/>
                    <a:gd name="connsiteY132" fmla="*/ 10399 h 128293"/>
                    <a:gd name="connsiteX133" fmla="*/ 60389 w 201143"/>
                    <a:gd name="connsiteY133" fmla="*/ 14327 h 128293"/>
                    <a:gd name="connsiteX134" fmla="*/ 64220 w 201143"/>
                    <a:gd name="connsiteY134" fmla="*/ 17864 h 128293"/>
                    <a:gd name="connsiteX135" fmla="*/ 69509 w 201143"/>
                    <a:gd name="connsiteY135" fmla="*/ 22599 h 128293"/>
                    <a:gd name="connsiteX136" fmla="*/ 73470 w 201143"/>
                    <a:gd name="connsiteY136" fmla="*/ 24694 h 128293"/>
                    <a:gd name="connsiteX137" fmla="*/ 76982 w 201143"/>
                    <a:gd name="connsiteY137" fmla="*/ 24873 h 128293"/>
                    <a:gd name="connsiteX138" fmla="*/ 78955 w 201143"/>
                    <a:gd name="connsiteY138" fmla="*/ 26723 h 128293"/>
                    <a:gd name="connsiteX139" fmla="*/ 81929 w 201143"/>
                    <a:gd name="connsiteY139" fmla="*/ 30423 h 128293"/>
                    <a:gd name="connsiteX140" fmla="*/ 84448 w 201143"/>
                    <a:gd name="connsiteY140" fmla="*/ 34669 h 128293"/>
                    <a:gd name="connsiteX141" fmla="*/ 87593 w 201143"/>
                    <a:gd name="connsiteY141" fmla="*/ 38597 h 128293"/>
                    <a:gd name="connsiteX142" fmla="*/ 89761 w 201143"/>
                    <a:gd name="connsiteY142" fmla="*/ 38475 h 128293"/>
                    <a:gd name="connsiteX143" fmla="*/ 92728 w 201143"/>
                    <a:gd name="connsiteY143" fmla="*/ 37195 h 128293"/>
                    <a:gd name="connsiteX144" fmla="*/ 96338 w 201143"/>
                    <a:gd name="connsiteY144" fmla="*/ 35533 h 128293"/>
                    <a:gd name="connsiteX145" fmla="*/ 98473 w 201143"/>
                    <a:gd name="connsiteY145" fmla="*/ 36348 h 128293"/>
                    <a:gd name="connsiteX146" fmla="*/ 100446 w 201143"/>
                    <a:gd name="connsiteY146" fmla="*/ 37432 h 128293"/>
                    <a:gd name="connsiteX147" fmla="*/ 101097 w 201143"/>
                    <a:gd name="connsiteY147" fmla="*/ 39469 h 128293"/>
                    <a:gd name="connsiteX148" fmla="*/ 102288 w 201143"/>
                    <a:gd name="connsiteY148" fmla="*/ 43308 h 128293"/>
                    <a:gd name="connsiteX149" fmla="*/ 103599 w 201143"/>
                    <a:gd name="connsiteY149" fmla="*/ 47285 h 128293"/>
                    <a:gd name="connsiteX150" fmla="*/ 105669 w 201143"/>
                    <a:gd name="connsiteY150" fmla="*/ 48678 h 128293"/>
                    <a:gd name="connsiteX151" fmla="*/ 108106 w 201143"/>
                    <a:gd name="connsiteY151" fmla="*/ 50724 h 128293"/>
                    <a:gd name="connsiteX152" fmla="*/ 109459 w 201143"/>
                    <a:gd name="connsiteY152" fmla="*/ 52346 h 128293"/>
                    <a:gd name="connsiteX153" fmla="*/ 114055 w 201143"/>
                    <a:gd name="connsiteY153" fmla="*/ 55329 h 128293"/>
                    <a:gd name="connsiteX154" fmla="*/ 114708 w 201143"/>
                    <a:gd name="connsiteY154" fmla="*/ 56543 h 128293"/>
                    <a:gd name="connsiteX155" fmla="*/ 115637 w 201143"/>
                    <a:gd name="connsiteY155" fmla="*/ 57374 h 128293"/>
                    <a:gd name="connsiteX156" fmla="*/ 116761 w 201143"/>
                    <a:gd name="connsiteY156" fmla="*/ 57888 h 128293"/>
                    <a:gd name="connsiteX157" fmla="*/ 117682 w 201143"/>
                    <a:gd name="connsiteY157" fmla="*/ 58499 h 128293"/>
                    <a:gd name="connsiteX158" fmla="*/ 119133 w 201143"/>
                    <a:gd name="connsiteY158" fmla="*/ 58711 h 128293"/>
                    <a:gd name="connsiteX159" fmla="*/ 124438 w 201143"/>
                    <a:gd name="connsiteY159" fmla="*/ 56918 h 128293"/>
                    <a:gd name="connsiteX160" fmla="*/ 125856 w 201143"/>
                    <a:gd name="connsiteY160" fmla="*/ 57146 h 128293"/>
                    <a:gd name="connsiteX161" fmla="*/ 126679 w 201143"/>
                    <a:gd name="connsiteY161" fmla="*/ 57480 h 128293"/>
                    <a:gd name="connsiteX162" fmla="*/ 126696 w 201143"/>
                    <a:gd name="connsiteY162" fmla="*/ 58124 h 128293"/>
                    <a:gd name="connsiteX163" fmla="*/ 125742 w 201143"/>
                    <a:gd name="connsiteY163" fmla="*/ 60919 h 128293"/>
                    <a:gd name="connsiteX164" fmla="*/ 124927 w 201143"/>
                    <a:gd name="connsiteY164" fmla="*/ 64489 h 128293"/>
                    <a:gd name="connsiteX165" fmla="*/ 125767 w 201143"/>
                    <a:gd name="connsiteY165" fmla="*/ 66282 h 128293"/>
                    <a:gd name="connsiteX166" fmla="*/ 127983 w 201143"/>
                    <a:gd name="connsiteY166" fmla="*/ 67023 h 128293"/>
                    <a:gd name="connsiteX167" fmla="*/ 132906 w 201143"/>
                    <a:gd name="connsiteY167" fmla="*/ 67553 h 128293"/>
                    <a:gd name="connsiteX168" fmla="*/ 139548 w 201143"/>
                    <a:gd name="connsiteY168" fmla="*/ 67504 h 128293"/>
                    <a:gd name="connsiteX169" fmla="*/ 141569 w 201143"/>
                    <a:gd name="connsiteY169" fmla="*/ 69314 h 128293"/>
                    <a:gd name="connsiteX170" fmla="*/ 143566 w 201143"/>
                    <a:gd name="connsiteY170" fmla="*/ 72027 h 128293"/>
                    <a:gd name="connsiteX171" fmla="*/ 145587 w 201143"/>
                    <a:gd name="connsiteY171" fmla="*/ 76665 h 128293"/>
                    <a:gd name="connsiteX172" fmla="*/ 146394 w 201143"/>
                    <a:gd name="connsiteY172" fmla="*/ 78612 h 128293"/>
                    <a:gd name="connsiteX173" fmla="*/ 147396 w 201143"/>
                    <a:gd name="connsiteY173" fmla="*/ 79183 h 128293"/>
                    <a:gd name="connsiteX174" fmla="*/ 149116 w 201143"/>
                    <a:gd name="connsiteY174" fmla="*/ 78409 h 128293"/>
                    <a:gd name="connsiteX175" fmla="*/ 149409 w 201143"/>
                    <a:gd name="connsiteY175" fmla="*/ 76501 h 128293"/>
                    <a:gd name="connsiteX176" fmla="*/ 149482 w 201143"/>
                    <a:gd name="connsiteY176" fmla="*/ 73674 h 128293"/>
                    <a:gd name="connsiteX177" fmla="*/ 150925 w 201143"/>
                    <a:gd name="connsiteY177" fmla="*/ 72696 h 128293"/>
                    <a:gd name="connsiteX178" fmla="*/ 151854 w 201143"/>
                    <a:gd name="connsiteY178" fmla="*/ 73421 h 128293"/>
                    <a:gd name="connsiteX179" fmla="*/ 152930 w 201143"/>
                    <a:gd name="connsiteY179" fmla="*/ 75630 h 128293"/>
                    <a:gd name="connsiteX180" fmla="*/ 155676 w 201143"/>
                    <a:gd name="connsiteY180" fmla="*/ 77618 h 128293"/>
                    <a:gd name="connsiteX181" fmla="*/ 157665 w 201143"/>
                    <a:gd name="connsiteY181" fmla="*/ 78604 h 128293"/>
                    <a:gd name="connsiteX182" fmla="*/ 159555 w 201143"/>
                    <a:gd name="connsiteY182" fmla="*/ 78254 h 128293"/>
                    <a:gd name="connsiteX183" fmla="*/ 160346 w 201143"/>
                    <a:gd name="connsiteY183" fmla="*/ 77496 h 128293"/>
                    <a:gd name="connsiteX184" fmla="*/ 161283 w 201143"/>
                    <a:gd name="connsiteY184" fmla="*/ 73625 h 128293"/>
                    <a:gd name="connsiteX185" fmla="*/ 162766 w 201143"/>
                    <a:gd name="connsiteY185" fmla="*/ 73054 h 128293"/>
                    <a:gd name="connsiteX186" fmla="*/ 164657 w 201143"/>
                    <a:gd name="connsiteY186" fmla="*/ 73315 h 128293"/>
                    <a:gd name="connsiteX187" fmla="*/ 165382 w 201143"/>
                    <a:gd name="connsiteY187" fmla="*/ 74081 h 128293"/>
                    <a:gd name="connsiteX188" fmla="*/ 166132 w 201143"/>
                    <a:gd name="connsiteY188" fmla="*/ 75630 h 128293"/>
                    <a:gd name="connsiteX189" fmla="*/ 168423 w 201143"/>
                    <a:gd name="connsiteY189" fmla="*/ 76363 h 128293"/>
                    <a:gd name="connsiteX190" fmla="*/ 170688 w 201143"/>
                    <a:gd name="connsiteY190" fmla="*/ 77341 h 128293"/>
                    <a:gd name="connsiteX191" fmla="*/ 172831 w 201143"/>
                    <a:gd name="connsiteY191" fmla="*/ 78604 h 128293"/>
                    <a:gd name="connsiteX192" fmla="*/ 175847 w 201143"/>
                    <a:gd name="connsiteY192" fmla="*/ 81473 h 128293"/>
                    <a:gd name="connsiteX193" fmla="*/ 179538 w 201143"/>
                    <a:gd name="connsiteY193" fmla="*/ 81994 h 128293"/>
                    <a:gd name="connsiteX194" fmla="*/ 183834 w 201143"/>
                    <a:gd name="connsiteY194" fmla="*/ 81937 h 128293"/>
                    <a:gd name="connsiteX195" fmla="*/ 186107 w 201143"/>
                    <a:gd name="connsiteY195" fmla="*/ 81994 h 128293"/>
                    <a:gd name="connsiteX196" fmla="*/ 187778 w 201143"/>
                    <a:gd name="connsiteY196" fmla="*/ 82206 h 128293"/>
                    <a:gd name="connsiteX197" fmla="*/ 189261 w 201143"/>
                    <a:gd name="connsiteY197" fmla="*/ 82011 h 128293"/>
                    <a:gd name="connsiteX198" fmla="*/ 193679 w 201143"/>
                    <a:gd name="connsiteY198" fmla="*/ 79957 h 128293"/>
                    <a:gd name="connsiteX199" fmla="*/ 195480 w 201143"/>
                    <a:gd name="connsiteY199" fmla="*/ 79802 h 128293"/>
                    <a:gd name="connsiteX200" fmla="*/ 197721 w 201143"/>
                    <a:gd name="connsiteY200" fmla="*/ 80039 h 128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01143" h="128293">
                      <a:moveTo>
                        <a:pt x="199856" y="80446"/>
                      </a:moveTo>
                      <a:lnTo>
                        <a:pt x="200866" y="81318"/>
                      </a:lnTo>
                      <a:lnTo>
                        <a:pt x="200956" y="82728"/>
                      </a:lnTo>
                      <a:lnTo>
                        <a:pt x="200769" y="84309"/>
                      </a:lnTo>
                      <a:lnTo>
                        <a:pt x="199750" y="87699"/>
                      </a:lnTo>
                      <a:lnTo>
                        <a:pt x="198821" y="90079"/>
                      </a:lnTo>
                      <a:lnTo>
                        <a:pt x="197729" y="95107"/>
                      </a:lnTo>
                      <a:lnTo>
                        <a:pt x="196735" y="103820"/>
                      </a:lnTo>
                      <a:lnTo>
                        <a:pt x="196962" y="105343"/>
                      </a:lnTo>
                      <a:lnTo>
                        <a:pt x="199888" y="110331"/>
                      </a:lnTo>
                      <a:lnTo>
                        <a:pt x="201029" y="114161"/>
                      </a:lnTo>
                      <a:lnTo>
                        <a:pt x="201143" y="116778"/>
                      </a:lnTo>
                      <a:lnTo>
                        <a:pt x="199888" y="121146"/>
                      </a:lnTo>
                      <a:lnTo>
                        <a:pt x="198495" y="126093"/>
                      </a:lnTo>
                      <a:lnTo>
                        <a:pt x="197794" y="127193"/>
                      </a:lnTo>
                      <a:lnTo>
                        <a:pt x="197020" y="127600"/>
                      </a:lnTo>
                      <a:lnTo>
                        <a:pt x="193393" y="125873"/>
                      </a:lnTo>
                      <a:lnTo>
                        <a:pt x="190916" y="126117"/>
                      </a:lnTo>
                      <a:lnTo>
                        <a:pt x="188039" y="127071"/>
                      </a:lnTo>
                      <a:lnTo>
                        <a:pt x="185056" y="126883"/>
                      </a:lnTo>
                      <a:lnTo>
                        <a:pt x="182587" y="126313"/>
                      </a:lnTo>
                      <a:lnTo>
                        <a:pt x="179465" y="128293"/>
                      </a:lnTo>
                      <a:lnTo>
                        <a:pt x="176474" y="127225"/>
                      </a:lnTo>
                      <a:lnTo>
                        <a:pt x="174559" y="125987"/>
                      </a:lnTo>
                      <a:lnTo>
                        <a:pt x="173271" y="122572"/>
                      </a:lnTo>
                      <a:lnTo>
                        <a:pt x="172742" y="122132"/>
                      </a:lnTo>
                      <a:lnTo>
                        <a:pt x="166450" y="125718"/>
                      </a:lnTo>
                      <a:lnTo>
                        <a:pt x="164926" y="125930"/>
                      </a:lnTo>
                      <a:lnTo>
                        <a:pt x="161014" y="124006"/>
                      </a:lnTo>
                      <a:lnTo>
                        <a:pt x="157812" y="122099"/>
                      </a:lnTo>
                      <a:lnTo>
                        <a:pt x="156613" y="121529"/>
                      </a:lnTo>
                      <a:lnTo>
                        <a:pt x="153525" y="120779"/>
                      </a:lnTo>
                      <a:lnTo>
                        <a:pt x="150737" y="120355"/>
                      </a:lnTo>
                      <a:lnTo>
                        <a:pt x="147714" y="119157"/>
                      </a:lnTo>
                      <a:lnTo>
                        <a:pt x="143949" y="120714"/>
                      </a:lnTo>
                      <a:lnTo>
                        <a:pt x="142433" y="120592"/>
                      </a:lnTo>
                      <a:lnTo>
                        <a:pt x="141007" y="119467"/>
                      </a:lnTo>
                      <a:lnTo>
                        <a:pt x="140281" y="117161"/>
                      </a:lnTo>
                      <a:lnTo>
                        <a:pt x="140086" y="114976"/>
                      </a:lnTo>
                      <a:lnTo>
                        <a:pt x="138815" y="113477"/>
                      </a:lnTo>
                      <a:lnTo>
                        <a:pt x="136834" y="113134"/>
                      </a:lnTo>
                      <a:lnTo>
                        <a:pt x="134047" y="114487"/>
                      </a:lnTo>
                      <a:lnTo>
                        <a:pt x="129996" y="116264"/>
                      </a:lnTo>
                      <a:lnTo>
                        <a:pt x="128684" y="115963"/>
                      </a:lnTo>
                      <a:lnTo>
                        <a:pt x="127478" y="115457"/>
                      </a:lnTo>
                      <a:lnTo>
                        <a:pt x="127055" y="114976"/>
                      </a:lnTo>
                      <a:lnTo>
                        <a:pt x="126476" y="112923"/>
                      </a:lnTo>
                      <a:lnTo>
                        <a:pt x="125840" y="112466"/>
                      </a:lnTo>
                      <a:lnTo>
                        <a:pt x="124895" y="112409"/>
                      </a:lnTo>
                      <a:lnTo>
                        <a:pt x="123232" y="111912"/>
                      </a:lnTo>
                      <a:lnTo>
                        <a:pt x="121162" y="110380"/>
                      </a:lnTo>
                      <a:lnTo>
                        <a:pt x="114919" y="106770"/>
                      </a:lnTo>
                      <a:lnTo>
                        <a:pt x="114137" y="105164"/>
                      </a:lnTo>
                      <a:lnTo>
                        <a:pt x="114169" y="101611"/>
                      </a:lnTo>
                      <a:lnTo>
                        <a:pt x="113819" y="100152"/>
                      </a:lnTo>
                      <a:lnTo>
                        <a:pt x="113061" y="98604"/>
                      </a:lnTo>
                      <a:lnTo>
                        <a:pt x="109850" y="97031"/>
                      </a:lnTo>
                      <a:lnTo>
                        <a:pt x="103632" y="94512"/>
                      </a:lnTo>
                      <a:lnTo>
                        <a:pt x="100184" y="92491"/>
                      </a:lnTo>
                      <a:lnTo>
                        <a:pt x="98546" y="93428"/>
                      </a:lnTo>
                      <a:lnTo>
                        <a:pt x="95376" y="94276"/>
                      </a:lnTo>
                      <a:lnTo>
                        <a:pt x="93689" y="96093"/>
                      </a:lnTo>
                      <a:lnTo>
                        <a:pt x="91652" y="95515"/>
                      </a:lnTo>
                      <a:lnTo>
                        <a:pt x="86803" y="93600"/>
                      </a:lnTo>
                      <a:lnTo>
                        <a:pt x="84219" y="93315"/>
                      </a:lnTo>
                      <a:lnTo>
                        <a:pt x="82646" y="93966"/>
                      </a:lnTo>
                      <a:lnTo>
                        <a:pt x="82280" y="95067"/>
                      </a:lnTo>
                      <a:lnTo>
                        <a:pt x="80308" y="96305"/>
                      </a:lnTo>
                      <a:lnTo>
                        <a:pt x="78425" y="95311"/>
                      </a:lnTo>
                      <a:lnTo>
                        <a:pt x="74716" y="93975"/>
                      </a:lnTo>
                      <a:lnTo>
                        <a:pt x="71457" y="93241"/>
                      </a:lnTo>
                      <a:lnTo>
                        <a:pt x="66510" y="91611"/>
                      </a:lnTo>
                      <a:lnTo>
                        <a:pt x="65956" y="89142"/>
                      </a:lnTo>
                      <a:lnTo>
                        <a:pt x="65116" y="86713"/>
                      </a:lnTo>
                      <a:lnTo>
                        <a:pt x="63934" y="86281"/>
                      </a:lnTo>
                      <a:lnTo>
                        <a:pt x="59509" y="86762"/>
                      </a:lnTo>
                      <a:lnTo>
                        <a:pt x="55451" y="84073"/>
                      </a:lnTo>
                      <a:lnTo>
                        <a:pt x="51091" y="80625"/>
                      </a:lnTo>
                      <a:lnTo>
                        <a:pt x="49241" y="79492"/>
                      </a:lnTo>
                      <a:lnTo>
                        <a:pt x="48010" y="79077"/>
                      </a:lnTo>
                      <a:lnTo>
                        <a:pt x="46959" y="79541"/>
                      </a:lnTo>
                      <a:lnTo>
                        <a:pt x="45761" y="80324"/>
                      </a:lnTo>
                      <a:lnTo>
                        <a:pt x="44660" y="80560"/>
                      </a:lnTo>
                      <a:lnTo>
                        <a:pt x="42297" y="79077"/>
                      </a:lnTo>
                      <a:lnTo>
                        <a:pt x="39282" y="76950"/>
                      </a:lnTo>
                      <a:lnTo>
                        <a:pt x="35574" y="74358"/>
                      </a:lnTo>
                      <a:lnTo>
                        <a:pt x="31230" y="70723"/>
                      </a:lnTo>
                      <a:lnTo>
                        <a:pt x="29437" y="68670"/>
                      </a:lnTo>
                      <a:lnTo>
                        <a:pt x="28630" y="67121"/>
                      </a:lnTo>
                      <a:lnTo>
                        <a:pt x="27717" y="65679"/>
                      </a:lnTo>
                      <a:lnTo>
                        <a:pt x="23919" y="63299"/>
                      </a:lnTo>
                      <a:lnTo>
                        <a:pt x="20936" y="61416"/>
                      </a:lnTo>
                      <a:lnTo>
                        <a:pt x="17335" y="59151"/>
                      </a:lnTo>
                      <a:lnTo>
                        <a:pt x="16723" y="58703"/>
                      </a:lnTo>
                      <a:lnTo>
                        <a:pt x="15362" y="57342"/>
                      </a:lnTo>
                      <a:lnTo>
                        <a:pt x="13276" y="55646"/>
                      </a:lnTo>
                      <a:lnTo>
                        <a:pt x="11565" y="55149"/>
                      </a:lnTo>
                      <a:lnTo>
                        <a:pt x="11002" y="56086"/>
                      </a:lnTo>
                      <a:lnTo>
                        <a:pt x="10603" y="57072"/>
                      </a:lnTo>
                      <a:lnTo>
                        <a:pt x="9095" y="56844"/>
                      </a:lnTo>
                      <a:lnTo>
                        <a:pt x="6772" y="55108"/>
                      </a:lnTo>
                      <a:lnTo>
                        <a:pt x="4336" y="53291"/>
                      </a:lnTo>
                      <a:lnTo>
                        <a:pt x="2420" y="51612"/>
                      </a:lnTo>
                      <a:lnTo>
                        <a:pt x="465" y="49885"/>
                      </a:lnTo>
                      <a:lnTo>
                        <a:pt x="0" y="48605"/>
                      </a:lnTo>
                      <a:lnTo>
                        <a:pt x="807" y="44652"/>
                      </a:lnTo>
                      <a:lnTo>
                        <a:pt x="1956" y="41254"/>
                      </a:lnTo>
                      <a:lnTo>
                        <a:pt x="2917" y="40496"/>
                      </a:lnTo>
                      <a:lnTo>
                        <a:pt x="4499" y="38247"/>
                      </a:lnTo>
                      <a:lnTo>
                        <a:pt x="5061" y="34294"/>
                      </a:lnTo>
                      <a:lnTo>
                        <a:pt x="5036" y="30920"/>
                      </a:lnTo>
                      <a:lnTo>
                        <a:pt x="6568" y="26161"/>
                      </a:lnTo>
                      <a:lnTo>
                        <a:pt x="8687" y="21100"/>
                      </a:lnTo>
                      <a:lnTo>
                        <a:pt x="12323" y="15664"/>
                      </a:lnTo>
                      <a:lnTo>
                        <a:pt x="13920" y="13871"/>
                      </a:lnTo>
                      <a:lnTo>
                        <a:pt x="15680" y="12632"/>
                      </a:lnTo>
                      <a:lnTo>
                        <a:pt x="19054" y="8623"/>
                      </a:lnTo>
                      <a:lnTo>
                        <a:pt x="19755" y="7962"/>
                      </a:lnTo>
                      <a:lnTo>
                        <a:pt x="21222" y="6936"/>
                      </a:lnTo>
                      <a:lnTo>
                        <a:pt x="22672" y="6675"/>
                      </a:lnTo>
                      <a:lnTo>
                        <a:pt x="23773" y="7172"/>
                      </a:lnTo>
                      <a:lnTo>
                        <a:pt x="24897" y="9266"/>
                      </a:lnTo>
                      <a:lnTo>
                        <a:pt x="26242" y="11271"/>
                      </a:lnTo>
                      <a:lnTo>
                        <a:pt x="27913" y="11165"/>
                      </a:lnTo>
                      <a:lnTo>
                        <a:pt x="29853" y="9462"/>
                      </a:lnTo>
                      <a:lnTo>
                        <a:pt x="33862" y="1605"/>
                      </a:lnTo>
                      <a:lnTo>
                        <a:pt x="39445" y="0"/>
                      </a:lnTo>
                      <a:lnTo>
                        <a:pt x="44726" y="807"/>
                      </a:lnTo>
                      <a:lnTo>
                        <a:pt x="49395" y="1956"/>
                      </a:lnTo>
                      <a:lnTo>
                        <a:pt x="50773" y="4580"/>
                      </a:lnTo>
                      <a:lnTo>
                        <a:pt x="51685" y="7343"/>
                      </a:lnTo>
                      <a:lnTo>
                        <a:pt x="52264" y="8753"/>
                      </a:lnTo>
                      <a:lnTo>
                        <a:pt x="53788" y="10399"/>
                      </a:lnTo>
                      <a:lnTo>
                        <a:pt x="60389" y="14327"/>
                      </a:lnTo>
                      <a:lnTo>
                        <a:pt x="64220" y="17864"/>
                      </a:lnTo>
                      <a:lnTo>
                        <a:pt x="69509" y="22599"/>
                      </a:lnTo>
                      <a:lnTo>
                        <a:pt x="73470" y="24694"/>
                      </a:lnTo>
                      <a:lnTo>
                        <a:pt x="76982" y="24873"/>
                      </a:lnTo>
                      <a:lnTo>
                        <a:pt x="78955" y="26723"/>
                      </a:lnTo>
                      <a:lnTo>
                        <a:pt x="81929" y="30423"/>
                      </a:lnTo>
                      <a:lnTo>
                        <a:pt x="84448" y="34669"/>
                      </a:lnTo>
                      <a:lnTo>
                        <a:pt x="87593" y="38597"/>
                      </a:lnTo>
                      <a:lnTo>
                        <a:pt x="89761" y="38475"/>
                      </a:lnTo>
                      <a:lnTo>
                        <a:pt x="92728" y="37195"/>
                      </a:lnTo>
                      <a:lnTo>
                        <a:pt x="96338" y="35533"/>
                      </a:lnTo>
                      <a:lnTo>
                        <a:pt x="98473" y="36348"/>
                      </a:lnTo>
                      <a:lnTo>
                        <a:pt x="100446" y="37432"/>
                      </a:lnTo>
                      <a:lnTo>
                        <a:pt x="101097" y="39469"/>
                      </a:lnTo>
                      <a:lnTo>
                        <a:pt x="102288" y="43308"/>
                      </a:lnTo>
                      <a:lnTo>
                        <a:pt x="103599" y="47285"/>
                      </a:lnTo>
                      <a:lnTo>
                        <a:pt x="105669" y="48678"/>
                      </a:lnTo>
                      <a:lnTo>
                        <a:pt x="108106" y="50724"/>
                      </a:lnTo>
                      <a:lnTo>
                        <a:pt x="109459" y="52346"/>
                      </a:lnTo>
                      <a:lnTo>
                        <a:pt x="114055" y="55329"/>
                      </a:lnTo>
                      <a:lnTo>
                        <a:pt x="114708" y="56543"/>
                      </a:lnTo>
                      <a:lnTo>
                        <a:pt x="115637" y="57374"/>
                      </a:lnTo>
                      <a:lnTo>
                        <a:pt x="116761" y="57888"/>
                      </a:lnTo>
                      <a:lnTo>
                        <a:pt x="117682" y="58499"/>
                      </a:lnTo>
                      <a:lnTo>
                        <a:pt x="119133" y="58711"/>
                      </a:lnTo>
                      <a:lnTo>
                        <a:pt x="124438" y="56918"/>
                      </a:lnTo>
                      <a:lnTo>
                        <a:pt x="125856" y="57146"/>
                      </a:lnTo>
                      <a:lnTo>
                        <a:pt x="126679" y="57480"/>
                      </a:lnTo>
                      <a:lnTo>
                        <a:pt x="126696" y="58124"/>
                      </a:lnTo>
                      <a:lnTo>
                        <a:pt x="125742" y="60919"/>
                      </a:lnTo>
                      <a:lnTo>
                        <a:pt x="124927" y="64489"/>
                      </a:lnTo>
                      <a:lnTo>
                        <a:pt x="125767" y="66282"/>
                      </a:lnTo>
                      <a:lnTo>
                        <a:pt x="127983" y="67023"/>
                      </a:lnTo>
                      <a:lnTo>
                        <a:pt x="132906" y="67553"/>
                      </a:lnTo>
                      <a:lnTo>
                        <a:pt x="139548" y="67504"/>
                      </a:lnTo>
                      <a:lnTo>
                        <a:pt x="141569" y="69314"/>
                      </a:lnTo>
                      <a:lnTo>
                        <a:pt x="143566" y="72027"/>
                      </a:lnTo>
                      <a:lnTo>
                        <a:pt x="145587" y="76665"/>
                      </a:lnTo>
                      <a:lnTo>
                        <a:pt x="146394" y="78612"/>
                      </a:lnTo>
                      <a:lnTo>
                        <a:pt x="147396" y="79183"/>
                      </a:lnTo>
                      <a:lnTo>
                        <a:pt x="149116" y="78409"/>
                      </a:lnTo>
                      <a:lnTo>
                        <a:pt x="149409" y="76501"/>
                      </a:lnTo>
                      <a:lnTo>
                        <a:pt x="149482" y="73674"/>
                      </a:lnTo>
                      <a:lnTo>
                        <a:pt x="150925" y="72696"/>
                      </a:lnTo>
                      <a:lnTo>
                        <a:pt x="151854" y="73421"/>
                      </a:lnTo>
                      <a:lnTo>
                        <a:pt x="152930" y="75630"/>
                      </a:lnTo>
                      <a:lnTo>
                        <a:pt x="155676" y="77618"/>
                      </a:lnTo>
                      <a:lnTo>
                        <a:pt x="157665" y="78604"/>
                      </a:lnTo>
                      <a:lnTo>
                        <a:pt x="159555" y="78254"/>
                      </a:lnTo>
                      <a:lnTo>
                        <a:pt x="160346" y="77496"/>
                      </a:lnTo>
                      <a:lnTo>
                        <a:pt x="161283" y="73625"/>
                      </a:lnTo>
                      <a:lnTo>
                        <a:pt x="162766" y="73054"/>
                      </a:lnTo>
                      <a:lnTo>
                        <a:pt x="164657" y="73315"/>
                      </a:lnTo>
                      <a:lnTo>
                        <a:pt x="165382" y="74081"/>
                      </a:lnTo>
                      <a:lnTo>
                        <a:pt x="166132" y="75630"/>
                      </a:lnTo>
                      <a:lnTo>
                        <a:pt x="168423" y="76363"/>
                      </a:lnTo>
                      <a:lnTo>
                        <a:pt x="170688" y="77341"/>
                      </a:lnTo>
                      <a:lnTo>
                        <a:pt x="172831" y="78604"/>
                      </a:lnTo>
                      <a:lnTo>
                        <a:pt x="175847" y="81473"/>
                      </a:lnTo>
                      <a:lnTo>
                        <a:pt x="179538" y="81994"/>
                      </a:lnTo>
                      <a:lnTo>
                        <a:pt x="183834" y="81937"/>
                      </a:lnTo>
                      <a:lnTo>
                        <a:pt x="186107" y="81994"/>
                      </a:lnTo>
                      <a:lnTo>
                        <a:pt x="187778" y="82206"/>
                      </a:lnTo>
                      <a:lnTo>
                        <a:pt x="189261" y="82011"/>
                      </a:lnTo>
                      <a:lnTo>
                        <a:pt x="193679" y="79957"/>
                      </a:lnTo>
                      <a:lnTo>
                        <a:pt x="195480" y="79802"/>
                      </a:lnTo>
                      <a:lnTo>
                        <a:pt x="197721" y="80039"/>
                      </a:lnTo>
                      <a:close/>
                    </a:path>
                  </a:pathLst>
                </a:custGeom>
                <a:solidFill>
                  <a:srgbClr val="D6D6D2"/>
                </a:solidFill>
                <a:ln w="6112" cap="rnd">
                  <a:solidFill>
                    <a:srgbClr val="FFFFFF"/>
                  </a:solidFill>
                  <a:prstDash val="solid"/>
                  <a:round/>
                </a:ln>
              </p:spPr>
              <p:txBody>
                <a:bodyPr rtlCol="0" anchor="ctr"/>
                <a:lstStyle/>
                <a:p>
                  <a:endParaRPr lang="en-US"/>
                </a:p>
              </p:txBody>
            </p:sp>
            <p:sp>
              <p:nvSpPr>
                <p:cNvPr id="655" name="Freeform: Shape 654">
                  <a:extLst>
                    <a:ext uri="{FF2B5EF4-FFF2-40B4-BE49-F238E27FC236}">
                      <a16:creationId xmlns:a16="http://schemas.microsoft.com/office/drawing/2014/main" id="{E6A6A937-91C0-497B-BC3A-79F2AC615790}"/>
                    </a:ext>
                  </a:extLst>
                </p:cNvPr>
                <p:cNvSpPr/>
                <p:nvPr/>
              </p:nvSpPr>
              <p:spPr>
                <a:xfrm>
                  <a:off x="6300126" y="2166257"/>
                  <a:ext cx="25369" cy="17668"/>
                </a:xfrm>
                <a:custGeom>
                  <a:avLst/>
                  <a:gdLst>
                    <a:gd name="connsiteX0" fmla="*/ 20676 w 25369"/>
                    <a:gd name="connsiteY0" fmla="*/ 2861 h 17668"/>
                    <a:gd name="connsiteX1" fmla="*/ 23895 w 25369"/>
                    <a:gd name="connsiteY1" fmla="*/ 7286 h 17668"/>
                    <a:gd name="connsiteX2" fmla="*/ 25370 w 25369"/>
                    <a:gd name="connsiteY2" fmla="*/ 9877 h 17668"/>
                    <a:gd name="connsiteX3" fmla="*/ 24189 w 25369"/>
                    <a:gd name="connsiteY3" fmla="*/ 14767 h 17668"/>
                    <a:gd name="connsiteX4" fmla="*/ 21051 w 25369"/>
                    <a:gd name="connsiteY4" fmla="*/ 17229 h 17668"/>
                    <a:gd name="connsiteX5" fmla="*/ 16201 w 25369"/>
                    <a:gd name="connsiteY5" fmla="*/ 17669 h 17668"/>
                    <a:gd name="connsiteX6" fmla="*/ 12812 w 25369"/>
                    <a:gd name="connsiteY6" fmla="*/ 17465 h 17668"/>
                    <a:gd name="connsiteX7" fmla="*/ 10668 w 25369"/>
                    <a:gd name="connsiteY7" fmla="*/ 16283 h 17668"/>
                    <a:gd name="connsiteX8" fmla="*/ 10415 w 25369"/>
                    <a:gd name="connsiteY8" fmla="*/ 14947 h 17668"/>
                    <a:gd name="connsiteX9" fmla="*/ 9168 w 25369"/>
                    <a:gd name="connsiteY9" fmla="*/ 14555 h 17668"/>
                    <a:gd name="connsiteX10" fmla="*/ 5917 w 25369"/>
                    <a:gd name="connsiteY10" fmla="*/ 16267 h 17668"/>
                    <a:gd name="connsiteX11" fmla="*/ 3651 w 25369"/>
                    <a:gd name="connsiteY11" fmla="*/ 16495 h 17668"/>
                    <a:gd name="connsiteX12" fmla="*/ 774 w 25369"/>
                    <a:gd name="connsiteY12" fmla="*/ 15167 h 17668"/>
                    <a:gd name="connsiteX13" fmla="*/ 0 w 25369"/>
                    <a:gd name="connsiteY13" fmla="*/ 13056 h 17668"/>
                    <a:gd name="connsiteX14" fmla="*/ 3048 w 25369"/>
                    <a:gd name="connsiteY14" fmla="*/ 10399 h 17668"/>
                    <a:gd name="connsiteX15" fmla="*/ 4474 w 25369"/>
                    <a:gd name="connsiteY15" fmla="*/ 8329 h 17668"/>
                    <a:gd name="connsiteX16" fmla="*/ 7865 w 25369"/>
                    <a:gd name="connsiteY16" fmla="*/ 8508 h 17668"/>
                    <a:gd name="connsiteX17" fmla="*/ 8704 w 25369"/>
                    <a:gd name="connsiteY17" fmla="*/ 9152 h 17668"/>
                    <a:gd name="connsiteX18" fmla="*/ 10635 w 25369"/>
                    <a:gd name="connsiteY18" fmla="*/ 9560 h 17668"/>
                    <a:gd name="connsiteX19" fmla="*/ 11793 w 25369"/>
                    <a:gd name="connsiteY19" fmla="*/ 7074 h 17668"/>
                    <a:gd name="connsiteX20" fmla="*/ 11516 w 25369"/>
                    <a:gd name="connsiteY20" fmla="*/ 5346 h 17668"/>
                    <a:gd name="connsiteX21" fmla="*/ 12363 w 25369"/>
                    <a:gd name="connsiteY21" fmla="*/ 4148 h 17668"/>
                    <a:gd name="connsiteX22" fmla="*/ 16463 w 25369"/>
                    <a:gd name="connsiteY22" fmla="*/ 5012 h 17668"/>
                    <a:gd name="connsiteX23" fmla="*/ 16471 w 25369"/>
                    <a:gd name="connsiteY23" fmla="*/ 334 h 17668"/>
                    <a:gd name="connsiteX24" fmla="*/ 18076 w 25369"/>
                    <a:gd name="connsiteY24" fmla="*/ 0 h 17668"/>
                    <a:gd name="connsiteX25" fmla="*/ 18720 w 25369"/>
                    <a:gd name="connsiteY25" fmla="*/ 179 h 17668"/>
                    <a:gd name="connsiteX26" fmla="*/ 19893 w 25369"/>
                    <a:gd name="connsiteY26" fmla="*/ 1165 h 17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5369" h="17668">
                      <a:moveTo>
                        <a:pt x="20676" y="2861"/>
                      </a:moveTo>
                      <a:lnTo>
                        <a:pt x="23895" y="7286"/>
                      </a:lnTo>
                      <a:lnTo>
                        <a:pt x="25370" y="9877"/>
                      </a:lnTo>
                      <a:lnTo>
                        <a:pt x="24189" y="14767"/>
                      </a:lnTo>
                      <a:lnTo>
                        <a:pt x="21051" y="17229"/>
                      </a:lnTo>
                      <a:lnTo>
                        <a:pt x="16201" y="17669"/>
                      </a:lnTo>
                      <a:lnTo>
                        <a:pt x="12812" y="17465"/>
                      </a:lnTo>
                      <a:lnTo>
                        <a:pt x="10668" y="16283"/>
                      </a:lnTo>
                      <a:lnTo>
                        <a:pt x="10415" y="14947"/>
                      </a:lnTo>
                      <a:lnTo>
                        <a:pt x="9168" y="14555"/>
                      </a:lnTo>
                      <a:lnTo>
                        <a:pt x="5917" y="16267"/>
                      </a:lnTo>
                      <a:lnTo>
                        <a:pt x="3651" y="16495"/>
                      </a:lnTo>
                      <a:lnTo>
                        <a:pt x="774" y="15167"/>
                      </a:lnTo>
                      <a:lnTo>
                        <a:pt x="0" y="13056"/>
                      </a:lnTo>
                      <a:lnTo>
                        <a:pt x="3048" y="10399"/>
                      </a:lnTo>
                      <a:lnTo>
                        <a:pt x="4474" y="8329"/>
                      </a:lnTo>
                      <a:lnTo>
                        <a:pt x="7865" y="8508"/>
                      </a:lnTo>
                      <a:lnTo>
                        <a:pt x="8704" y="9152"/>
                      </a:lnTo>
                      <a:lnTo>
                        <a:pt x="10635" y="9560"/>
                      </a:lnTo>
                      <a:lnTo>
                        <a:pt x="11793" y="7074"/>
                      </a:lnTo>
                      <a:lnTo>
                        <a:pt x="11516" y="5346"/>
                      </a:lnTo>
                      <a:lnTo>
                        <a:pt x="12363" y="4148"/>
                      </a:lnTo>
                      <a:lnTo>
                        <a:pt x="16463" y="5012"/>
                      </a:lnTo>
                      <a:lnTo>
                        <a:pt x="16471" y="334"/>
                      </a:lnTo>
                      <a:lnTo>
                        <a:pt x="18076" y="0"/>
                      </a:lnTo>
                      <a:lnTo>
                        <a:pt x="18720" y="179"/>
                      </a:lnTo>
                      <a:lnTo>
                        <a:pt x="19893" y="1165"/>
                      </a:lnTo>
                      <a:close/>
                    </a:path>
                  </a:pathLst>
                </a:custGeom>
                <a:solidFill>
                  <a:srgbClr val="D6D6D2"/>
                </a:solidFill>
                <a:ln w="8150" cap="flat">
                  <a:noFill/>
                  <a:prstDash val="solid"/>
                  <a:miter/>
                </a:ln>
              </p:spPr>
              <p:txBody>
                <a:bodyPr rtlCol="0" anchor="ctr"/>
                <a:lstStyle/>
                <a:p>
                  <a:endParaRPr lang="en-US"/>
                </a:p>
              </p:txBody>
            </p:sp>
            <p:sp>
              <p:nvSpPr>
                <p:cNvPr id="656" name="Freeform: Shape 655">
                  <a:extLst>
                    <a:ext uri="{FF2B5EF4-FFF2-40B4-BE49-F238E27FC236}">
                      <a16:creationId xmlns:a16="http://schemas.microsoft.com/office/drawing/2014/main" id="{402D2FE8-8319-4BFF-AF2D-E91E629CEC8D}"/>
                    </a:ext>
                  </a:extLst>
                </p:cNvPr>
                <p:cNvSpPr/>
                <p:nvPr/>
              </p:nvSpPr>
              <p:spPr>
                <a:xfrm>
                  <a:off x="6297233" y="2153275"/>
                  <a:ext cx="56811" cy="49387"/>
                </a:xfrm>
                <a:custGeom>
                  <a:avLst/>
                  <a:gdLst>
                    <a:gd name="connsiteX0" fmla="*/ 37293 w 56811"/>
                    <a:gd name="connsiteY0" fmla="*/ 32632 h 49387"/>
                    <a:gd name="connsiteX1" fmla="*/ 37595 w 56811"/>
                    <a:gd name="connsiteY1" fmla="*/ 32933 h 49387"/>
                    <a:gd name="connsiteX2" fmla="*/ 40976 w 56811"/>
                    <a:gd name="connsiteY2" fmla="*/ 28712 h 49387"/>
                    <a:gd name="connsiteX3" fmla="*/ 44709 w 56811"/>
                    <a:gd name="connsiteY3" fmla="*/ 27399 h 49387"/>
                    <a:gd name="connsiteX4" fmla="*/ 44945 w 56811"/>
                    <a:gd name="connsiteY4" fmla="*/ 25916 h 49387"/>
                    <a:gd name="connsiteX5" fmla="*/ 46396 w 56811"/>
                    <a:gd name="connsiteY5" fmla="*/ 24498 h 49387"/>
                    <a:gd name="connsiteX6" fmla="*/ 46225 w 56811"/>
                    <a:gd name="connsiteY6" fmla="*/ 22175 h 49387"/>
                    <a:gd name="connsiteX7" fmla="*/ 46958 w 56811"/>
                    <a:gd name="connsiteY7" fmla="*/ 20277 h 49387"/>
                    <a:gd name="connsiteX8" fmla="*/ 48874 w 56811"/>
                    <a:gd name="connsiteY8" fmla="*/ 19779 h 49387"/>
                    <a:gd name="connsiteX9" fmla="*/ 50072 w 56811"/>
                    <a:gd name="connsiteY9" fmla="*/ 19136 h 49387"/>
                    <a:gd name="connsiteX10" fmla="*/ 51392 w 56811"/>
                    <a:gd name="connsiteY10" fmla="*/ 18785 h 49387"/>
                    <a:gd name="connsiteX11" fmla="*/ 53772 w 56811"/>
                    <a:gd name="connsiteY11" fmla="*/ 20309 h 49387"/>
                    <a:gd name="connsiteX12" fmla="*/ 55133 w 56811"/>
                    <a:gd name="connsiteY12" fmla="*/ 22012 h 49387"/>
                    <a:gd name="connsiteX13" fmla="*/ 56812 w 56811"/>
                    <a:gd name="connsiteY13" fmla="*/ 25810 h 49387"/>
                    <a:gd name="connsiteX14" fmla="*/ 56103 w 56811"/>
                    <a:gd name="connsiteY14" fmla="*/ 29478 h 49387"/>
                    <a:gd name="connsiteX15" fmla="*/ 51612 w 56811"/>
                    <a:gd name="connsiteY15" fmla="*/ 32330 h 49387"/>
                    <a:gd name="connsiteX16" fmla="*/ 48042 w 56811"/>
                    <a:gd name="connsiteY16" fmla="*/ 33626 h 49387"/>
                    <a:gd name="connsiteX17" fmla="*/ 44441 w 56811"/>
                    <a:gd name="connsiteY17" fmla="*/ 36910 h 49387"/>
                    <a:gd name="connsiteX18" fmla="*/ 42623 w 56811"/>
                    <a:gd name="connsiteY18" fmla="*/ 39583 h 49387"/>
                    <a:gd name="connsiteX19" fmla="*/ 41058 w 56811"/>
                    <a:gd name="connsiteY19" fmla="*/ 40154 h 49387"/>
                    <a:gd name="connsiteX20" fmla="*/ 40072 w 56811"/>
                    <a:gd name="connsiteY20" fmla="*/ 39950 h 49387"/>
                    <a:gd name="connsiteX21" fmla="*/ 39200 w 56811"/>
                    <a:gd name="connsiteY21" fmla="*/ 39298 h 49387"/>
                    <a:gd name="connsiteX22" fmla="*/ 37358 w 56811"/>
                    <a:gd name="connsiteY22" fmla="*/ 39290 h 49387"/>
                    <a:gd name="connsiteX23" fmla="*/ 35362 w 56811"/>
                    <a:gd name="connsiteY23" fmla="*/ 41613 h 49387"/>
                    <a:gd name="connsiteX24" fmla="*/ 29282 w 56811"/>
                    <a:gd name="connsiteY24" fmla="*/ 43511 h 49387"/>
                    <a:gd name="connsiteX25" fmla="*/ 26902 w 56811"/>
                    <a:gd name="connsiteY25" fmla="*/ 42957 h 49387"/>
                    <a:gd name="connsiteX26" fmla="*/ 26788 w 56811"/>
                    <a:gd name="connsiteY26" fmla="*/ 40643 h 49387"/>
                    <a:gd name="connsiteX27" fmla="*/ 25370 w 56811"/>
                    <a:gd name="connsiteY27" fmla="*/ 40830 h 49387"/>
                    <a:gd name="connsiteX28" fmla="*/ 23096 w 56811"/>
                    <a:gd name="connsiteY28" fmla="*/ 43609 h 49387"/>
                    <a:gd name="connsiteX29" fmla="*/ 20863 w 56811"/>
                    <a:gd name="connsiteY29" fmla="*/ 44538 h 49387"/>
                    <a:gd name="connsiteX30" fmla="*/ 19356 w 56811"/>
                    <a:gd name="connsiteY30" fmla="*/ 44824 h 49387"/>
                    <a:gd name="connsiteX31" fmla="*/ 16617 w 56811"/>
                    <a:gd name="connsiteY31" fmla="*/ 43780 h 49387"/>
                    <a:gd name="connsiteX32" fmla="*/ 9225 w 56811"/>
                    <a:gd name="connsiteY32" fmla="*/ 48499 h 49387"/>
                    <a:gd name="connsiteX33" fmla="*/ 2290 w 56811"/>
                    <a:gd name="connsiteY33" fmla="*/ 49387 h 49387"/>
                    <a:gd name="connsiteX34" fmla="*/ 8 w 56811"/>
                    <a:gd name="connsiteY34" fmla="*/ 48833 h 49387"/>
                    <a:gd name="connsiteX35" fmla="*/ 0 w 56811"/>
                    <a:gd name="connsiteY35" fmla="*/ 45948 h 49387"/>
                    <a:gd name="connsiteX36" fmla="*/ 4482 w 56811"/>
                    <a:gd name="connsiteY36" fmla="*/ 42248 h 49387"/>
                    <a:gd name="connsiteX37" fmla="*/ 8158 w 56811"/>
                    <a:gd name="connsiteY37" fmla="*/ 39681 h 49387"/>
                    <a:gd name="connsiteX38" fmla="*/ 20790 w 56811"/>
                    <a:gd name="connsiteY38" fmla="*/ 37880 h 49387"/>
                    <a:gd name="connsiteX39" fmla="*/ 28662 w 56811"/>
                    <a:gd name="connsiteY39" fmla="*/ 30236 h 49387"/>
                    <a:gd name="connsiteX40" fmla="*/ 30553 w 56811"/>
                    <a:gd name="connsiteY40" fmla="*/ 21915 h 49387"/>
                    <a:gd name="connsiteX41" fmla="*/ 32428 w 56811"/>
                    <a:gd name="connsiteY41" fmla="*/ 18899 h 49387"/>
                    <a:gd name="connsiteX42" fmla="*/ 31556 w 56811"/>
                    <a:gd name="connsiteY42" fmla="*/ 17196 h 49387"/>
                    <a:gd name="connsiteX43" fmla="*/ 29437 w 56811"/>
                    <a:gd name="connsiteY43" fmla="*/ 16894 h 49387"/>
                    <a:gd name="connsiteX44" fmla="*/ 29298 w 56811"/>
                    <a:gd name="connsiteY44" fmla="*/ 14278 h 49387"/>
                    <a:gd name="connsiteX45" fmla="*/ 30406 w 56811"/>
                    <a:gd name="connsiteY45" fmla="*/ 11418 h 49387"/>
                    <a:gd name="connsiteX46" fmla="*/ 34538 w 56811"/>
                    <a:gd name="connsiteY46" fmla="*/ 7490 h 49387"/>
                    <a:gd name="connsiteX47" fmla="*/ 36836 w 56811"/>
                    <a:gd name="connsiteY47" fmla="*/ 5819 h 49387"/>
                    <a:gd name="connsiteX48" fmla="*/ 40569 w 56811"/>
                    <a:gd name="connsiteY48" fmla="*/ 1068 h 49387"/>
                    <a:gd name="connsiteX49" fmla="*/ 42379 w 56811"/>
                    <a:gd name="connsiteY49" fmla="*/ 0 h 49387"/>
                    <a:gd name="connsiteX50" fmla="*/ 44424 w 56811"/>
                    <a:gd name="connsiteY50" fmla="*/ 0 h 49387"/>
                    <a:gd name="connsiteX51" fmla="*/ 46445 w 56811"/>
                    <a:gd name="connsiteY51" fmla="*/ 1247 h 49387"/>
                    <a:gd name="connsiteX52" fmla="*/ 46086 w 56811"/>
                    <a:gd name="connsiteY52" fmla="*/ 3782 h 49387"/>
                    <a:gd name="connsiteX53" fmla="*/ 43055 w 56811"/>
                    <a:gd name="connsiteY53" fmla="*/ 8370 h 49387"/>
                    <a:gd name="connsiteX54" fmla="*/ 38564 w 56811"/>
                    <a:gd name="connsiteY54" fmla="*/ 12265 h 49387"/>
                    <a:gd name="connsiteX55" fmla="*/ 39111 w 56811"/>
                    <a:gd name="connsiteY55" fmla="*/ 15069 h 49387"/>
                    <a:gd name="connsiteX56" fmla="*/ 40895 w 56811"/>
                    <a:gd name="connsiteY56" fmla="*/ 17367 h 49387"/>
                    <a:gd name="connsiteX57" fmla="*/ 41335 w 56811"/>
                    <a:gd name="connsiteY57" fmla="*/ 21303 h 49387"/>
                    <a:gd name="connsiteX58" fmla="*/ 41441 w 56811"/>
                    <a:gd name="connsiteY58" fmla="*/ 25077 h 49387"/>
                    <a:gd name="connsiteX59" fmla="*/ 38035 w 56811"/>
                    <a:gd name="connsiteY59" fmla="*/ 30178 h 49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56811" h="49387">
                      <a:moveTo>
                        <a:pt x="37293" y="32632"/>
                      </a:moveTo>
                      <a:lnTo>
                        <a:pt x="37595" y="32933"/>
                      </a:lnTo>
                      <a:lnTo>
                        <a:pt x="40976" y="28712"/>
                      </a:lnTo>
                      <a:lnTo>
                        <a:pt x="44709" y="27399"/>
                      </a:lnTo>
                      <a:lnTo>
                        <a:pt x="44945" y="25916"/>
                      </a:lnTo>
                      <a:lnTo>
                        <a:pt x="46396" y="24498"/>
                      </a:lnTo>
                      <a:lnTo>
                        <a:pt x="46225" y="22175"/>
                      </a:lnTo>
                      <a:lnTo>
                        <a:pt x="46958" y="20277"/>
                      </a:lnTo>
                      <a:lnTo>
                        <a:pt x="48874" y="19779"/>
                      </a:lnTo>
                      <a:lnTo>
                        <a:pt x="50072" y="19136"/>
                      </a:lnTo>
                      <a:lnTo>
                        <a:pt x="51392" y="18785"/>
                      </a:lnTo>
                      <a:lnTo>
                        <a:pt x="53772" y="20309"/>
                      </a:lnTo>
                      <a:lnTo>
                        <a:pt x="55133" y="22012"/>
                      </a:lnTo>
                      <a:lnTo>
                        <a:pt x="56812" y="25810"/>
                      </a:lnTo>
                      <a:lnTo>
                        <a:pt x="56103" y="29478"/>
                      </a:lnTo>
                      <a:lnTo>
                        <a:pt x="51612" y="32330"/>
                      </a:lnTo>
                      <a:lnTo>
                        <a:pt x="48042" y="33626"/>
                      </a:lnTo>
                      <a:lnTo>
                        <a:pt x="44441" y="36910"/>
                      </a:lnTo>
                      <a:lnTo>
                        <a:pt x="42623" y="39583"/>
                      </a:lnTo>
                      <a:lnTo>
                        <a:pt x="41058" y="40154"/>
                      </a:lnTo>
                      <a:lnTo>
                        <a:pt x="40072" y="39950"/>
                      </a:lnTo>
                      <a:lnTo>
                        <a:pt x="39200" y="39298"/>
                      </a:lnTo>
                      <a:lnTo>
                        <a:pt x="37358" y="39290"/>
                      </a:lnTo>
                      <a:lnTo>
                        <a:pt x="35362" y="41613"/>
                      </a:lnTo>
                      <a:lnTo>
                        <a:pt x="29282" y="43511"/>
                      </a:lnTo>
                      <a:lnTo>
                        <a:pt x="26902" y="42957"/>
                      </a:lnTo>
                      <a:lnTo>
                        <a:pt x="26788" y="40643"/>
                      </a:lnTo>
                      <a:lnTo>
                        <a:pt x="25370" y="40830"/>
                      </a:lnTo>
                      <a:lnTo>
                        <a:pt x="23096" y="43609"/>
                      </a:lnTo>
                      <a:lnTo>
                        <a:pt x="20863" y="44538"/>
                      </a:lnTo>
                      <a:lnTo>
                        <a:pt x="19356" y="44824"/>
                      </a:lnTo>
                      <a:lnTo>
                        <a:pt x="16617" y="43780"/>
                      </a:lnTo>
                      <a:lnTo>
                        <a:pt x="9225" y="48499"/>
                      </a:lnTo>
                      <a:lnTo>
                        <a:pt x="2290" y="49387"/>
                      </a:lnTo>
                      <a:lnTo>
                        <a:pt x="8" y="48833"/>
                      </a:lnTo>
                      <a:lnTo>
                        <a:pt x="0" y="45948"/>
                      </a:lnTo>
                      <a:lnTo>
                        <a:pt x="4482" y="42248"/>
                      </a:lnTo>
                      <a:lnTo>
                        <a:pt x="8158" y="39681"/>
                      </a:lnTo>
                      <a:lnTo>
                        <a:pt x="20790" y="37880"/>
                      </a:lnTo>
                      <a:lnTo>
                        <a:pt x="28662" y="30236"/>
                      </a:lnTo>
                      <a:lnTo>
                        <a:pt x="30553" y="21915"/>
                      </a:lnTo>
                      <a:lnTo>
                        <a:pt x="32428" y="18899"/>
                      </a:lnTo>
                      <a:lnTo>
                        <a:pt x="31556" y="17196"/>
                      </a:lnTo>
                      <a:lnTo>
                        <a:pt x="29437" y="16894"/>
                      </a:lnTo>
                      <a:lnTo>
                        <a:pt x="29298" y="14278"/>
                      </a:lnTo>
                      <a:lnTo>
                        <a:pt x="30406" y="11418"/>
                      </a:lnTo>
                      <a:lnTo>
                        <a:pt x="34538" y="7490"/>
                      </a:lnTo>
                      <a:lnTo>
                        <a:pt x="36836" y="5819"/>
                      </a:lnTo>
                      <a:lnTo>
                        <a:pt x="40569" y="1068"/>
                      </a:lnTo>
                      <a:lnTo>
                        <a:pt x="42379" y="0"/>
                      </a:lnTo>
                      <a:lnTo>
                        <a:pt x="44424" y="0"/>
                      </a:lnTo>
                      <a:lnTo>
                        <a:pt x="46445" y="1247"/>
                      </a:lnTo>
                      <a:lnTo>
                        <a:pt x="46086" y="3782"/>
                      </a:lnTo>
                      <a:lnTo>
                        <a:pt x="43055" y="8370"/>
                      </a:lnTo>
                      <a:lnTo>
                        <a:pt x="38564" y="12265"/>
                      </a:lnTo>
                      <a:lnTo>
                        <a:pt x="39111" y="15069"/>
                      </a:lnTo>
                      <a:lnTo>
                        <a:pt x="40895" y="17367"/>
                      </a:lnTo>
                      <a:lnTo>
                        <a:pt x="41335" y="21303"/>
                      </a:lnTo>
                      <a:lnTo>
                        <a:pt x="41441" y="25077"/>
                      </a:lnTo>
                      <a:lnTo>
                        <a:pt x="38035" y="30178"/>
                      </a:lnTo>
                      <a:close/>
                    </a:path>
                  </a:pathLst>
                </a:custGeom>
                <a:solidFill>
                  <a:srgbClr val="D6D6D2"/>
                </a:solidFill>
                <a:ln w="8150" cap="flat">
                  <a:noFill/>
                  <a:prstDash val="solid"/>
                  <a:miter/>
                </a:ln>
              </p:spPr>
              <p:txBody>
                <a:bodyPr rtlCol="0" anchor="ctr"/>
                <a:lstStyle/>
                <a:p>
                  <a:endParaRPr lang="en-US"/>
                </a:p>
              </p:txBody>
            </p:sp>
            <p:sp>
              <p:nvSpPr>
                <p:cNvPr id="657" name="Freeform: Shape 656">
                  <a:extLst>
                    <a:ext uri="{FF2B5EF4-FFF2-40B4-BE49-F238E27FC236}">
                      <a16:creationId xmlns:a16="http://schemas.microsoft.com/office/drawing/2014/main" id="{285648BD-00B8-4508-9A05-E60F01B6174E}"/>
                    </a:ext>
                  </a:extLst>
                </p:cNvPr>
                <p:cNvSpPr/>
                <p:nvPr/>
              </p:nvSpPr>
              <p:spPr>
                <a:xfrm>
                  <a:off x="6360564" y="2140235"/>
                  <a:ext cx="31400" cy="25777"/>
                </a:xfrm>
                <a:custGeom>
                  <a:avLst/>
                  <a:gdLst>
                    <a:gd name="connsiteX0" fmla="*/ 17171 w 31400"/>
                    <a:gd name="connsiteY0" fmla="*/ 0 h 25777"/>
                    <a:gd name="connsiteX1" fmla="*/ 20162 w 31400"/>
                    <a:gd name="connsiteY1" fmla="*/ 2535 h 25777"/>
                    <a:gd name="connsiteX2" fmla="*/ 21507 w 31400"/>
                    <a:gd name="connsiteY2" fmla="*/ 1760 h 25777"/>
                    <a:gd name="connsiteX3" fmla="*/ 24139 w 31400"/>
                    <a:gd name="connsiteY3" fmla="*/ 1475 h 25777"/>
                    <a:gd name="connsiteX4" fmla="*/ 26104 w 31400"/>
                    <a:gd name="connsiteY4" fmla="*/ 2363 h 25777"/>
                    <a:gd name="connsiteX5" fmla="*/ 27701 w 31400"/>
                    <a:gd name="connsiteY5" fmla="*/ 3969 h 25777"/>
                    <a:gd name="connsiteX6" fmla="*/ 29608 w 31400"/>
                    <a:gd name="connsiteY6" fmla="*/ 4050 h 25777"/>
                    <a:gd name="connsiteX7" fmla="*/ 30798 w 31400"/>
                    <a:gd name="connsiteY7" fmla="*/ 6153 h 25777"/>
                    <a:gd name="connsiteX8" fmla="*/ 31401 w 31400"/>
                    <a:gd name="connsiteY8" fmla="*/ 8891 h 25777"/>
                    <a:gd name="connsiteX9" fmla="*/ 30023 w 31400"/>
                    <a:gd name="connsiteY9" fmla="*/ 10929 h 25777"/>
                    <a:gd name="connsiteX10" fmla="*/ 28076 w 31400"/>
                    <a:gd name="connsiteY10" fmla="*/ 11858 h 25777"/>
                    <a:gd name="connsiteX11" fmla="*/ 27538 w 31400"/>
                    <a:gd name="connsiteY11" fmla="*/ 14262 h 25777"/>
                    <a:gd name="connsiteX12" fmla="*/ 28288 w 31400"/>
                    <a:gd name="connsiteY12" fmla="*/ 17636 h 25777"/>
                    <a:gd name="connsiteX13" fmla="*/ 23895 w 31400"/>
                    <a:gd name="connsiteY13" fmla="*/ 18785 h 25777"/>
                    <a:gd name="connsiteX14" fmla="*/ 18801 w 31400"/>
                    <a:gd name="connsiteY14" fmla="*/ 19299 h 25777"/>
                    <a:gd name="connsiteX15" fmla="*/ 16805 w 31400"/>
                    <a:gd name="connsiteY15" fmla="*/ 17693 h 25777"/>
                    <a:gd name="connsiteX16" fmla="*/ 12730 w 31400"/>
                    <a:gd name="connsiteY16" fmla="*/ 20643 h 25777"/>
                    <a:gd name="connsiteX17" fmla="*/ 8696 w 31400"/>
                    <a:gd name="connsiteY17" fmla="*/ 25232 h 25777"/>
                    <a:gd name="connsiteX18" fmla="*/ 6756 w 31400"/>
                    <a:gd name="connsiteY18" fmla="*/ 25778 h 25777"/>
                    <a:gd name="connsiteX19" fmla="*/ 6601 w 31400"/>
                    <a:gd name="connsiteY19" fmla="*/ 24319 h 25777"/>
                    <a:gd name="connsiteX20" fmla="*/ 3716 w 31400"/>
                    <a:gd name="connsiteY20" fmla="*/ 23316 h 25777"/>
                    <a:gd name="connsiteX21" fmla="*/ 0 w 31400"/>
                    <a:gd name="connsiteY21" fmla="*/ 23259 h 25777"/>
                    <a:gd name="connsiteX22" fmla="*/ 130 w 31400"/>
                    <a:gd name="connsiteY22" fmla="*/ 22184 h 25777"/>
                    <a:gd name="connsiteX23" fmla="*/ 798 w 31400"/>
                    <a:gd name="connsiteY23" fmla="*/ 21426 h 25777"/>
                    <a:gd name="connsiteX24" fmla="*/ 4001 w 31400"/>
                    <a:gd name="connsiteY24" fmla="*/ 20293 h 25777"/>
                    <a:gd name="connsiteX25" fmla="*/ 4637 w 31400"/>
                    <a:gd name="connsiteY25" fmla="*/ 17970 h 25777"/>
                    <a:gd name="connsiteX26" fmla="*/ 4058 w 31400"/>
                    <a:gd name="connsiteY26" fmla="*/ 13806 h 25777"/>
                    <a:gd name="connsiteX27" fmla="*/ 4621 w 31400"/>
                    <a:gd name="connsiteY27" fmla="*/ 11785 h 25777"/>
                    <a:gd name="connsiteX28" fmla="*/ 4751 w 31400"/>
                    <a:gd name="connsiteY28" fmla="*/ 10391 h 25777"/>
                    <a:gd name="connsiteX29" fmla="*/ 6764 w 31400"/>
                    <a:gd name="connsiteY29" fmla="*/ 8753 h 25777"/>
                    <a:gd name="connsiteX30" fmla="*/ 13651 w 31400"/>
                    <a:gd name="connsiteY30" fmla="*/ 9519 h 25777"/>
                    <a:gd name="connsiteX31" fmla="*/ 14482 w 31400"/>
                    <a:gd name="connsiteY31" fmla="*/ 7962 h 25777"/>
                    <a:gd name="connsiteX32" fmla="*/ 13969 w 31400"/>
                    <a:gd name="connsiteY32" fmla="*/ 6976 h 25777"/>
                    <a:gd name="connsiteX33" fmla="*/ 10399 w 31400"/>
                    <a:gd name="connsiteY33" fmla="*/ 5257 h 25777"/>
                    <a:gd name="connsiteX34" fmla="*/ 10953 w 31400"/>
                    <a:gd name="connsiteY34" fmla="*/ 4108 h 25777"/>
                    <a:gd name="connsiteX35" fmla="*/ 13528 w 31400"/>
                    <a:gd name="connsiteY35" fmla="*/ 3072 h 25777"/>
                    <a:gd name="connsiteX36" fmla="*/ 15957 w 31400"/>
                    <a:gd name="connsiteY36" fmla="*/ 2926 h 25777"/>
                    <a:gd name="connsiteX37" fmla="*/ 16682 w 31400"/>
                    <a:gd name="connsiteY37" fmla="*/ 1182 h 25777"/>
                    <a:gd name="connsiteX38" fmla="*/ 16813 w 31400"/>
                    <a:gd name="connsiteY38" fmla="*/ 416 h 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1400" h="25777">
                      <a:moveTo>
                        <a:pt x="17171" y="0"/>
                      </a:moveTo>
                      <a:lnTo>
                        <a:pt x="20162" y="2535"/>
                      </a:lnTo>
                      <a:lnTo>
                        <a:pt x="21507" y="1760"/>
                      </a:lnTo>
                      <a:lnTo>
                        <a:pt x="24139" y="1475"/>
                      </a:lnTo>
                      <a:lnTo>
                        <a:pt x="26104" y="2363"/>
                      </a:lnTo>
                      <a:lnTo>
                        <a:pt x="27701" y="3969"/>
                      </a:lnTo>
                      <a:lnTo>
                        <a:pt x="29608" y="4050"/>
                      </a:lnTo>
                      <a:lnTo>
                        <a:pt x="30798" y="6153"/>
                      </a:lnTo>
                      <a:lnTo>
                        <a:pt x="31401" y="8891"/>
                      </a:lnTo>
                      <a:lnTo>
                        <a:pt x="30023" y="10929"/>
                      </a:lnTo>
                      <a:lnTo>
                        <a:pt x="28076" y="11858"/>
                      </a:lnTo>
                      <a:lnTo>
                        <a:pt x="27538" y="14262"/>
                      </a:lnTo>
                      <a:lnTo>
                        <a:pt x="28288" y="17636"/>
                      </a:lnTo>
                      <a:lnTo>
                        <a:pt x="23895" y="18785"/>
                      </a:lnTo>
                      <a:lnTo>
                        <a:pt x="18801" y="19299"/>
                      </a:lnTo>
                      <a:lnTo>
                        <a:pt x="16805" y="17693"/>
                      </a:lnTo>
                      <a:lnTo>
                        <a:pt x="12730" y="20643"/>
                      </a:lnTo>
                      <a:lnTo>
                        <a:pt x="8696" y="25232"/>
                      </a:lnTo>
                      <a:lnTo>
                        <a:pt x="6756" y="25778"/>
                      </a:lnTo>
                      <a:lnTo>
                        <a:pt x="6601" y="24319"/>
                      </a:lnTo>
                      <a:lnTo>
                        <a:pt x="3716" y="23316"/>
                      </a:lnTo>
                      <a:lnTo>
                        <a:pt x="0" y="23259"/>
                      </a:lnTo>
                      <a:lnTo>
                        <a:pt x="130" y="22184"/>
                      </a:lnTo>
                      <a:lnTo>
                        <a:pt x="798" y="21426"/>
                      </a:lnTo>
                      <a:lnTo>
                        <a:pt x="4001" y="20293"/>
                      </a:lnTo>
                      <a:lnTo>
                        <a:pt x="4637" y="17970"/>
                      </a:lnTo>
                      <a:lnTo>
                        <a:pt x="4058" y="13806"/>
                      </a:lnTo>
                      <a:lnTo>
                        <a:pt x="4621" y="11785"/>
                      </a:lnTo>
                      <a:lnTo>
                        <a:pt x="4751" y="10391"/>
                      </a:lnTo>
                      <a:lnTo>
                        <a:pt x="6764" y="8753"/>
                      </a:lnTo>
                      <a:lnTo>
                        <a:pt x="13651" y="9519"/>
                      </a:lnTo>
                      <a:lnTo>
                        <a:pt x="14482" y="7962"/>
                      </a:lnTo>
                      <a:lnTo>
                        <a:pt x="13969" y="6976"/>
                      </a:lnTo>
                      <a:lnTo>
                        <a:pt x="10399" y="5257"/>
                      </a:lnTo>
                      <a:lnTo>
                        <a:pt x="10953" y="4108"/>
                      </a:lnTo>
                      <a:lnTo>
                        <a:pt x="13528" y="3072"/>
                      </a:lnTo>
                      <a:lnTo>
                        <a:pt x="15957" y="2926"/>
                      </a:lnTo>
                      <a:lnTo>
                        <a:pt x="16682" y="1182"/>
                      </a:lnTo>
                      <a:lnTo>
                        <a:pt x="16813" y="416"/>
                      </a:lnTo>
                      <a:close/>
                    </a:path>
                  </a:pathLst>
                </a:custGeom>
                <a:solidFill>
                  <a:srgbClr val="D6D6D2"/>
                </a:solidFill>
                <a:ln w="8150" cap="flat">
                  <a:noFill/>
                  <a:prstDash val="solid"/>
                  <a:miter/>
                </a:ln>
              </p:spPr>
              <p:txBody>
                <a:bodyPr rtlCol="0" anchor="ctr"/>
                <a:lstStyle/>
                <a:p>
                  <a:endParaRPr lang="en-US"/>
                </a:p>
              </p:txBody>
            </p:sp>
            <p:sp>
              <p:nvSpPr>
                <p:cNvPr id="658" name="Freeform: Shape 657">
                  <a:extLst>
                    <a:ext uri="{FF2B5EF4-FFF2-40B4-BE49-F238E27FC236}">
                      <a16:creationId xmlns:a16="http://schemas.microsoft.com/office/drawing/2014/main" id="{636AE09D-A17E-4567-93E9-52D411B66592}"/>
                    </a:ext>
                  </a:extLst>
                </p:cNvPr>
                <p:cNvSpPr/>
                <p:nvPr/>
              </p:nvSpPr>
              <p:spPr>
                <a:xfrm>
                  <a:off x="6391598" y="2111206"/>
                  <a:ext cx="38361" cy="31726"/>
                </a:xfrm>
                <a:custGeom>
                  <a:avLst/>
                  <a:gdLst>
                    <a:gd name="connsiteX0" fmla="*/ 29600 w 38361"/>
                    <a:gd name="connsiteY0" fmla="*/ 8093 h 31726"/>
                    <a:gd name="connsiteX1" fmla="*/ 31792 w 38361"/>
                    <a:gd name="connsiteY1" fmla="*/ 10529 h 31726"/>
                    <a:gd name="connsiteX2" fmla="*/ 33748 w 38361"/>
                    <a:gd name="connsiteY2" fmla="*/ 10293 h 31726"/>
                    <a:gd name="connsiteX3" fmla="*/ 34326 w 38361"/>
                    <a:gd name="connsiteY3" fmla="*/ 9372 h 31726"/>
                    <a:gd name="connsiteX4" fmla="*/ 35655 w 38361"/>
                    <a:gd name="connsiteY4" fmla="*/ 8916 h 31726"/>
                    <a:gd name="connsiteX5" fmla="*/ 38361 w 38361"/>
                    <a:gd name="connsiteY5" fmla="*/ 10203 h 31726"/>
                    <a:gd name="connsiteX6" fmla="*/ 37962 w 38361"/>
                    <a:gd name="connsiteY6" fmla="*/ 12388 h 31726"/>
                    <a:gd name="connsiteX7" fmla="*/ 34253 w 38361"/>
                    <a:gd name="connsiteY7" fmla="*/ 15134 h 31726"/>
                    <a:gd name="connsiteX8" fmla="*/ 31580 w 38361"/>
                    <a:gd name="connsiteY8" fmla="*/ 19070 h 31726"/>
                    <a:gd name="connsiteX9" fmla="*/ 28157 w 38361"/>
                    <a:gd name="connsiteY9" fmla="*/ 19983 h 31726"/>
                    <a:gd name="connsiteX10" fmla="*/ 26511 w 38361"/>
                    <a:gd name="connsiteY10" fmla="*/ 19510 h 31726"/>
                    <a:gd name="connsiteX11" fmla="*/ 23463 w 38361"/>
                    <a:gd name="connsiteY11" fmla="*/ 21768 h 31726"/>
                    <a:gd name="connsiteX12" fmla="*/ 21026 w 38361"/>
                    <a:gd name="connsiteY12" fmla="*/ 24123 h 31726"/>
                    <a:gd name="connsiteX13" fmla="*/ 18484 w 38361"/>
                    <a:gd name="connsiteY13" fmla="*/ 27090 h 31726"/>
                    <a:gd name="connsiteX14" fmla="*/ 18337 w 38361"/>
                    <a:gd name="connsiteY14" fmla="*/ 28614 h 31726"/>
                    <a:gd name="connsiteX15" fmla="*/ 17930 w 38361"/>
                    <a:gd name="connsiteY15" fmla="*/ 29795 h 31726"/>
                    <a:gd name="connsiteX16" fmla="*/ 8639 w 38361"/>
                    <a:gd name="connsiteY16" fmla="*/ 30953 h 31726"/>
                    <a:gd name="connsiteX17" fmla="*/ 5273 w 38361"/>
                    <a:gd name="connsiteY17" fmla="*/ 31727 h 31726"/>
                    <a:gd name="connsiteX18" fmla="*/ 1695 w 38361"/>
                    <a:gd name="connsiteY18" fmla="*/ 30733 h 31726"/>
                    <a:gd name="connsiteX19" fmla="*/ 0 w 38361"/>
                    <a:gd name="connsiteY19" fmla="*/ 28769 h 31726"/>
                    <a:gd name="connsiteX20" fmla="*/ 538 w 38361"/>
                    <a:gd name="connsiteY20" fmla="*/ 27701 h 31726"/>
                    <a:gd name="connsiteX21" fmla="*/ 4108 w 38361"/>
                    <a:gd name="connsiteY21" fmla="*/ 27277 h 31726"/>
                    <a:gd name="connsiteX22" fmla="*/ 4230 w 38361"/>
                    <a:gd name="connsiteY22" fmla="*/ 25452 h 31726"/>
                    <a:gd name="connsiteX23" fmla="*/ 5134 w 38361"/>
                    <a:gd name="connsiteY23" fmla="*/ 24335 h 31726"/>
                    <a:gd name="connsiteX24" fmla="*/ 6283 w 38361"/>
                    <a:gd name="connsiteY24" fmla="*/ 23732 h 31726"/>
                    <a:gd name="connsiteX25" fmla="*/ 7131 w 38361"/>
                    <a:gd name="connsiteY25" fmla="*/ 21401 h 31726"/>
                    <a:gd name="connsiteX26" fmla="*/ 8541 w 38361"/>
                    <a:gd name="connsiteY26" fmla="*/ 20798 h 31726"/>
                    <a:gd name="connsiteX27" fmla="*/ 11182 w 38361"/>
                    <a:gd name="connsiteY27" fmla="*/ 21369 h 31726"/>
                    <a:gd name="connsiteX28" fmla="*/ 12950 w 38361"/>
                    <a:gd name="connsiteY28" fmla="*/ 19682 h 31726"/>
                    <a:gd name="connsiteX29" fmla="*/ 13952 w 38361"/>
                    <a:gd name="connsiteY29" fmla="*/ 19396 h 31726"/>
                    <a:gd name="connsiteX30" fmla="*/ 15191 w 38361"/>
                    <a:gd name="connsiteY30" fmla="*/ 20790 h 31726"/>
                    <a:gd name="connsiteX31" fmla="*/ 15786 w 38361"/>
                    <a:gd name="connsiteY31" fmla="*/ 18867 h 31726"/>
                    <a:gd name="connsiteX32" fmla="*/ 15191 w 38361"/>
                    <a:gd name="connsiteY32" fmla="*/ 17114 h 31726"/>
                    <a:gd name="connsiteX33" fmla="*/ 15501 w 38361"/>
                    <a:gd name="connsiteY33" fmla="*/ 15925 h 31726"/>
                    <a:gd name="connsiteX34" fmla="*/ 18907 w 38361"/>
                    <a:gd name="connsiteY34" fmla="*/ 12836 h 31726"/>
                    <a:gd name="connsiteX35" fmla="*/ 20374 w 38361"/>
                    <a:gd name="connsiteY35" fmla="*/ 10586 h 31726"/>
                    <a:gd name="connsiteX36" fmla="*/ 22493 w 38361"/>
                    <a:gd name="connsiteY36" fmla="*/ 9144 h 31726"/>
                    <a:gd name="connsiteX37" fmla="*/ 24531 w 38361"/>
                    <a:gd name="connsiteY37" fmla="*/ 9364 h 31726"/>
                    <a:gd name="connsiteX38" fmla="*/ 25134 w 38361"/>
                    <a:gd name="connsiteY38" fmla="*/ 7229 h 31726"/>
                    <a:gd name="connsiteX39" fmla="*/ 24531 w 38361"/>
                    <a:gd name="connsiteY39" fmla="*/ 5045 h 31726"/>
                    <a:gd name="connsiteX40" fmla="*/ 24767 w 38361"/>
                    <a:gd name="connsiteY40" fmla="*/ 3610 h 31726"/>
                    <a:gd name="connsiteX41" fmla="*/ 26560 w 38361"/>
                    <a:gd name="connsiteY41" fmla="*/ 155 h 31726"/>
                    <a:gd name="connsiteX42" fmla="*/ 28548 w 38361"/>
                    <a:gd name="connsiteY42" fmla="*/ 0 h 31726"/>
                    <a:gd name="connsiteX43" fmla="*/ 29461 w 38361"/>
                    <a:gd name="connsiteY43" fmla="*/ 3081 h 3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361" h="31726">
                      <a:moveTo>
                        <a:pt x="29600" y="8093"/>
                      </a:moveTo>
                      <a:lnTo>
                        <a:pt x="31792" y="10529"/>
                      </a:lnTo>
                      <a:lnTo>
                        <a:pt x="33748" y="10293"/>
                      </a:lnTo>
                      <a:lnTo>
                        <a:pt x="34326" y="9372"/>
                      </a:lnTo>
                      <a:lnTo>
                        <a:pt x="35655" y="8916"/>
                      </a:lnTo>
                      <a:lnTo>
                        <a:pt x="38361" y="10203"/>
                      </a:lnTo>
                      <a:lnTo>
                        <a:pt x="37962" y="12388"/>
                      </a:lnTo>
                      <a:lnTo>
                        <a:pt x="34253" y="15134"/>
                      </a:lnTo>
                      <a:lnTo>
                        <a:pt x="31580" y="19070"/>
                      </a:lnTo>
                      <a:lnTo>
                        <a:pt x="28157" y="19983"/>
                      </a:lnTo>
                      <a:lnTo>
                        <a:pt x="26511" y="19510"/>
                      </a:lnTo>
                      <a:lnTo>
                        <a:pt x="23463" y="21768"/>
                      </a:lnTo>
                      <a:lnTo>
                        <a:pt x="21026" y="24123"/>
                      </a:lnTo>
                      <a:lnTo>
                        <a:pt x="18484" y="27090"/>
                      </a:lnTo>
                      <a:lnTo>
                        <a:pt x="18337" y="28614"/>
                      </a:lnTo>
                      <a:lnTo>
                        <a:pt x="17930" y="29795"/>
                      </a:lnTo>
                      <a:lnTo>
                        <a:pt x="8639" y="30953"/>
                      </a:lnTo>
                      <a:lnTo>
                        <a:pt x="5273" y="31727"/>
                      </a:lnTo>
                      <a:lnTo>
                        <a:pt x="1695" y="30733"/>
                      </a:lnTo>
                      <a:lnTo>
                        <a:pt x="0" y="28769"/>
                      </a:lnTo>
                      <a:lnTo>
                        <a:pt x="538" y="27701"/>
                      </a:lnTo>
                      <a:lnTo>
                        <a:pt x="4108" y="27277"/>
                      </a:lnTo>
                      <a:lnTo>
                        <a:pt x="4230" y="25452"/>
                      </a:lnTo>
                      <a:lnTo>
                        <a:pt x="5134" y="24335"/>
                      </a:lnTo>
                      <a:lnTo>
                        <a:pt x="6283" y="23732"/>
                      </a:lnTo>
                      <a:lnTo>
                        <a:pt x="7131" y="21401"/>
                      </a:lnTo>
                      <a:lnTo>
                        <a:pt x="8541" y="20798"/>
                      </a:lnTo>
                      <a:lnTo>
                        <a:pt x="11182" y="21369"/>
                      </a:lnTo>
                      <a:lnTo>
                        <a:pt x="12950" y="19682"/>
                      </a:lnTo>
                      <a:lnTo>
                        <a:pt x="13952" y="19396"/>
                      </a:lnTo>
                      <a:lnTo>
                        <a:pt x="15191" y="20790"/>
                      </a:lnTo>
                      <a:lnTo>
                        <a:pt x="15786" y="18867"/>
                      </a:lnTo>
                      <a:lnTo>
                        <a:pt x="15191" y="17114"/>
                      </a:lnTo>
                      <a:lnTo>
                        <a:pt x="15501" y="15925"/>
                      </a:lnTo>
                      <a:lnTo>
                        <a:pt x="18907" y="12836"/>
                      </a:lnTo>
                      <a:lnTo>
                        <a:pt x="20374" y="10586"/>
                      </a:lnTo>
                      <a:lnTo>
                        <a:pt x="22493" y="9144"/>
                      </a:lnTo>
                      <a:lnTo>
                        <a:pt x="24531" y="9364"/>
                      </a:lnTo>
                      <a:lnTo>
                        <a:pt x="25134" y="7229"/>
                      </a:lnTo>
                      <a:lnTo>
                        <a:pt x="24531" y="5045"/>
                      </a:lnTo>
                      <a:lnTo>
                        <a:pt x="24767" y="3610"/>
                      </a:lnTo>
                      <a:lnTo>
                        <a:pt x="26560" y="155"/>
                      </a:lnTo>
                      <a:lnTo>
                        <a:pt x="28548" y="0"/>
                      </a:lnTo>
                      <a:lnTo>
                        <a:pt x="29461" y="3081"/>
                      </a:lnTo>
                      <a:close/>
                    </a:path>
                  </a:pathLst>
                </a:custGeom>
                <a:solidFill>
                  <a:srgbClr val="D6D6D2"/>
                </a:solidFill>
                <a:ln w="8150" cap="flat">
                  <a:noFill/>
                  <a:prstDash val="solid"/>
                  <a:miter/>
                </a:ln>
              </p:spPr>
              <p:txBody>
                <a:bodyPr rtlCol="0" anchor="ctr"/>
                <a:lstStyle/>
                <a:p>
                  <a:endParaRPr lang="en-US"/>
                </a:p>
              </p:txBody>
            </p:sp>
            <p:sp>
              <p:nvSpPr>
                <p:cNvPr id="659" name="Freeform: Shape 658">
                  <a:extLst>
                    <a:ext uri="{FF2B5EF4-FFF2-40B4-BE49-F238E27FC236}">
                      <a16:creationId xmlns:a16="http://schemas.microsoft.com/office/drawing/2014/main" id="{A60F239A-B1D5-4517-88C2-35D0D00D3520}"/>
                    </a:ext>
                  </a:extLst>
                </p:cNvPr>
                <p:cNvSpPr/>
                <p:nvPr/>
              </p:nvSpPr>
              <p:spPr>
                <a:xfrm>
                  <a:off x="6512043" y="2094629"/>
                  <a:ext cx="17929" cy="15003"/>
                </a:xfrm>
                <a:custGeom>
                  <a:avLst/>
                  <a:gdLst>
                    <a:gd name="connsiteX0" fmla="*/ 17302 w 17929"/>
                    <a:gd name="connsiteY0" fmla="*/ 3040 h 15003"/>
                    <a:gd name="connsiteX1" fmla="*/ 17758 w 17929"/>
                    <a:gd name="connsiteY1" fmla="*/ 5134 h 15003"/>
                    <a:gd name="connsiteX2" fmla="*/ 17930 w 17929"/>
                    <a:gd name="connsiteY2" fmla="*/ 6878 h 15003"/>
                    <a:gd name="connsiteX3" fmla="*/ 15623 w 17929"/>
                    <a:gd name="connsiteY3" fmla="*/ 9372 h 15003"/>
                    <a:gd name="connsiteX4" fmla="*/ 10285 w 17929"/>
                    <a:gd name="connsiteY4" fmla="*/ 12657 h 15003"/>
                    <a:gd name="connsiteX5" fmla="*/ 10603 w 17929"/>
                    <a:gd name="connsiteY5" fmla="*/ 13537 h 15003"/>
                    <a:gd name="connsiteX6" fmla="*/ 8761 w 17929"/>
                    <a:gd name="connsiteY6" fmla="*/ 14384 h 15003"/>
                    <a:gd name="connsiteX7" fmla="*/ 5982 w 17929"/>
                    <a:gd name="connsiteY7" fmla="*/ 15004 h 15003"/>
                    <a:gd name="connsiteX8" fmla="*/ 4515 w 17929"/>
                    <a:gd name="connsiteY8" fmla="*/ 14401 h 15003"/>
                    <a:gd name="connsiteX9" fmla="*/ 4735 w 17929"/>
                    <a:gd name="connsiteY9" fmla="*/ 11589 h 15003"/>
                    <a:gd name="connsiteX10" fmla="*/ 4287 w 17929"/>
                    <a:gd name="connsiteY10" fmla="*/ 10749 h 15003"/>
                    <a:gd name="connsiteX11" fmla="*/ 2176 w 17929"/>
                    <a:gd name="connsiteY11" fmla="*/ 11858 h 15003"/>
                    <a:gd name="connsiteX12" fmla="*/ 0 w 17929"/>
                    <a:gd name="connsiteY12" fmla="*/ 10432 h 15003"/>
                    <a:gd name="connsiteX13" fmla="*/ 0 w 17929"/>
                    <a:gd name="connsiteY13" fmla="*/ 8989 h 15003"/>
                    <a:gd name="connsiteX14" fmla="*/ 571 w 17929"/>
                    <a:gd name="connsiteY14" fmla="*/ 7750 h 15003"/>
                    <a:gd name="connsiteX15" fmla="*/ 2592 w 17929"/>
                    <a:gd name="connsiteY15" fmla="*/ 5843 h 15003"/>
                    <a:gd name="connsiteX16" fmla="*/ 5966 w 17929"/>
                    <a:gd name="connsiteY16" fmla="*/ 4539 h 15003"/>
                    <a:gd name="connsiteX17" fmla="*/ 8191 w 17929"/>
                    <a:gd name="connsiteY17" fmla="*/ 5028 h 15003"/>
                    <a:gd name="connsiteX18" fmla="*/ 15591 w 17929"/>
                    <a:gd name="connsiteY18" fmla="*/ 0 h 15003"/>
                    <a:gd name="connsiteX19" fmla="*/ 16397 w 17929"/>
                    <a:gd name="connsiteY19" fmla="*/ 1051 h 1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929" h="15003">
                      <a:moveTo>
                        <a:pt x="17302" y="3040"/>
                      </a:moveTo>
                      <a:lnTo>
                        <a:pt x="17758" y="5134"/>
                      </a:lnTo>
                      <a:lnTo>
                        <a:pt x="17930" y="6878"/>
                      </a:lnTo>
                      <a:lnTo>
                        <a:pt x="15623" y="9372"/>
                      </a:lnTo>
                      <a:lnTo>
                        <a:pt x="10285" y="12657"/>
                      </a:lnTo>
                      <a:lnTo>
                        <a:pt x="10603" y="13537"/>
                      </a:lnTo>
                      <a:lnTo>
                        <a:pt x="8761" y="14384"/>
                      </a:lnTo>
                      <a:lnTo>
                        <a:pt x="5982" y="15004"/>
                      </a:lnTo>
                      <a:lnTo>
                        <a:pt x="4515" y="14401"/>
                      </a:lnTo>
                      <a:lnTo>
                        <a:pt x="4735" y="11589"/>
                      </a:lnTo>
                      <a:lnTo>
                        <a:pt x="4287" y="10749"/>
                      </a:lnTo>
                      <a:lnTo>
                        <a:pt x="2176" y="11858"/>
                      </a:lnTo>
                      <a:lnTo>
                        <a:pt x="0" y="10432"/>
                      </a:lnTo>
                      <a:lnTo>
                        <a:pt x="0" y="8989"/>
                      </a:lnTo>
                      <a:lnTo>
                        <a:pt x="571" y="7750"/>
                      </a:lnTo>
                      <a:lnTo>
                        <a:pt x="2592" y="5843"/>
                      </a:lnTo>
                      <a:lnTo>
                        <a:pt x="5966" y="4539"/>
                      </a:lnTo>
                      <a:lnTo>
                        <a:pt x="8191" y="5028"/>
                      </a:lnTo>
                      <a:lnTo>
                        <a:pt x="15591" y="0"/>
                      </a:lnTo>
                      <a:lnTo>
                        <a:pt x="16397" y="1051"/>
                      </a:lnTo>
                      <a:close/>
                    </a:path>
                  </a:pathLst>
                </a:custGeom>
                <a:solidFill>
                  <a:srgbClr val="D6D6D2"/>
                </a:solidFill>
                <a:ln w="8150" cap="flat">
                  <a:noFill/>
                  <a:prstDash val="solid"/>
                  <a:miter/>
                </a:ln>
              </p:spPr>
              <p:txBody>
                <a:bodyPr rtlCol="0" anchor="ctr"/>
                <a:lstStyle/>
                <a:p>
                  <a:endParaRPr lang="en-US"/>
                </a:p>
              </p:txBody>
            </p:sp>
            <p:sp>
              <p:nvSpPr>
                <p:cNvPr id="660" name="Freeform: Shape 659">
                  <a:extLst>
                    <a:ext uri="{FF2B5EF4-FFF2-40B4-BE49-F238E27FC236}">
                      <a16:creationId xmlns:a16="http://schemas.microsoft.com/office/drawing/2014/main" id="{4998C3E5-DC3D-4C00-9B8B-CA26F987CD0C}"/>
                    </a:ext>
                  </a:extLst>
                </p:cNvPr>
                <p:cNvSpPr/>
                <p:nvPr/>
              </p:nvSpPr>
              <p:spPr>
                <a:xfrm>
                  <a:off x="6489143" y="2084475"/>
                  <a:ext cx="35866" cy="15003"/>
                </a:xfrm>
                <a:custGeom>
                  <a:avLst/>
                  <a:gdLst>
                    <a:gd name="connsiteX0" fmla="*/ 35867 w 35866"/>
                    <a:gd name="connsiteY0" fmla="*/ 1206 h 15003"/>
                    <a:gd name="connsiteX1" fmla="*/ 35378 w 35866"/>
                    <a:gd name="connsiteY1" fmla="*/ 2616 h 15003"/>
                    <a:gd name="connsiteX2" fmla="*/ 34547 w 35866"/>
                    <a:gd name="connsiteY2" fmla="*/ 3993 h 15003"/>
                    <a:gd name="connsiteX3" fmla="*/ 32509 w 35866"/>
                    <a:gd name="connsiteY3" fmla="*/ 5452 h 15003"/>
                    <a:gd name="connsiteX4" fmla="*/ 26633 w 35866"/>
                    <a:gd name="connsiteY4" fmla="*/ 11181 h 15003"/>
                    <a:gd name="connsiteX5" fmla="*/ 23178 w 35866"/>
                    <a:gd name="connsiteY5" fmla="*/ 12111 h 15003"/>
                    <a:gd name="connsiteX6" fmla="*/ 22077 w 35866"/>
                    <a:gd name="connsiteY6" fmla="*/ 13007 h 15003"/>
                    <a:gd name="connsiteX7" fmla="*/ 20701 w 35866"/>
                    <a:gd name="connsiteY7" fmla="*/ 13537 h 15003"/>
                    <a:gd name="connsiteX8" fmla="*/ 16405 w 35866"/>
                    <a:gd name="connsiteY8" fmla="*/ 12754 h 15003"/>
                    <a:gd name="connsiteX9" fmla="*/ 15150 w 35866"/>
                    <a:gd name="connsiteY9" fmla="*/ 13920 h 15003"/>
                    <a:gd name="connsiteX10" fmla="*/ 13961 w 35866"/>
                    <a:gd name="connsiteY10" fmla="*/ 14694 h 15003"/>
                    <a:gd name="connsiteX11" fmla="*/ 10847 w 35866"/>
                    <a:gd name="connsiteY11" fmla="*/ 15004 h 15003"/>
                    <a:gd name="connsiteX12" fmla="*/ 9038 w 35866"/>
                    <a:gd name="connsiteY12" fmla="*/ 14751 h 15003"/>
                    <a:gd name="connsiteX13" fmla="*/ 4328 w 35866"/>
                    <a:gd name="connsiteY13" fmla="*/ 12632 h 15003"/>
                    <a:gd name="connsiteX14" fmla="*/ 1524 w 35866"/>
                    <a:gd name="connsiteY14" fmla="*/ 10318 h 15003"/>
                    <a:gd name="connsiteX15" fmla="*/ 0 w 35866"/>
                    <a:gd name="connsiteY15" fmla="*/ 8353 h 15003"/>
                    <a:gd name="connsiteX16" fmla="*/ 4352 w 35866"/>
                    <a:gd name="connsiteY16" fmla="*/ 8386 h 15003"/>
                    <a:gd name="connsiteX17" fmla="*/ 5909 w 35866"/>
                    <a:gd name="connsiteY17" fmla="*/ 7913 h 15003"/>
                    <a:gd name="connsiteX18" fmla="*/ 8826 w 35866"/>
                    <a:gd name="connsiteY18" fmla="*/ 8329 h 15003"/>
                    <a:gd name="connsiteX19" fmla="*/ 10579 w 35866"/>
                    <a:gd name="connsiteY19" fmla="*/ 6308 h 15003"/>
                    <a:gd name="connsiteX20" fmla="*/ 14295 w 35866"/>
                    <a:gd name="connsiteY20" fmla="*/ 6552 h 15003"/>
                    <a:gd name="connsiteX21" fmla="*/ 21417 w 35866"/>
                    <a:gd name="connsiteY21" fmla="*/ 5142 h 15003"/>
                    <a:gd name="connsiteX22" fmla="*/ 24034 w 35866"/>
                    <a:gd name="connsiteY22" fmla="*/ 5925 h 15003"/>
                    <a:gd name="connsiteX23" fmla="*/ 30007 w 35866"/>
                    <a:gd name="connsiteY23" fmla="*/ 1222 h 15003"/>
                    <a:gd name="connsiteX24" fmla="*/ 31882 w 35866"/>
                    <a:gd name="connsiteY24" fmla="*/ 1345 h 15003"/>
                    <a:gd name="connsiteX25" fmla="*/ 34751 w 35866"/>
                    <a:gd name="connsiteY25" fmla="*/ 0 h 1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866" h="15003">
                      <a:moveTo>
                        <a:pt x="35867" y="1206"/>
                      </a:moveTo>
                      <a:lnTo>
                        <a:pt x="35378" y="2616"/>
                      </a:lnTo>
                      <a:lnTo>
                        <a:pt x="34547" y="3993"/>
                      </a:lnTo>
                      <a:lnTo>
                        <a:pt x="32509" y="5452"/>
                      </a:lnTo>
                      <a:lnTo>
                        <a:pt x="26633" y="11181"/>
                      </a:lnTo>
                      <a:lnTo>
                        <a:pt x="23178" y="12111"/>
                      </a:lnTo>
                      <a:lnTo>
                        <a:pt x="22077" y="13007"/>
                      </a:lnTo>
                      <a:lnTo>
                        <a:pt x="20701" y="13537"/>
                      </a:lnTo>
                      <a:lnTo>
                        <a:pt x="16405" y="12754"/>
                      </a:lnTo>
                      <a:lnTo>
                        <a:pt x="15150" y="13920"/>
                      </a:lnTo>
                      <a:lnTo>
                        <a:pt x="13961" y="14694"/>
                      </a:lnTo>
                      <a:lnTo>
                        <a:pt x="10847" y="15004"/>
                      </a:lnTo>
                      <a:lnTo>
                        <a:pt x="9038" y="14751"/>
                      </a:lnTo>
                      <a:lnTo>
                        <a:pt x="4328" y="12632"/>
                      </a:lnTo>
                      <a:lnTo>
                        <a:pt x="1524" y="10318"/>
                      </a:lnTo>
                      <a:lnTo>
                        <a:pt x="0" y="8353"/>
                      </a:lnTo>
                      <a:lnTo>
                        <a:pt x="4352" y="8386"/>
                      </a:lnTo>
                      <a:lnTo>
                        <a:pt x="5909" y="7913"/>
                      </a:lnTo>
                      <a:lnTo>
                        <a:pt x="8826" y="8329"/>
                      </a:lnTo>
                      <a:lnTo>
                        <a:pt x="10579" y="6308"/>
                      </a:lnTo>
                      <a:lnTo>
                        <a:pt x="14295" y="6552"/>
                      </a:lnTo>
                      <a:lnTo>
                        <a:pt x="21417" y="5142"/>
                      </a:lnTo>
                      <a:lnTo>
                        <a:pt x="24034" y="5925"/>
                      </a:lnTo>
                      <a:lnTo>
                        <a:pt x="30007" y="1222"/>
                      </a:lnTo>
                      <a:lnTo>
                        <a:pt x="31882" y="1345"/>
                      </a:lnTo>
                      <a:lnTo>
                        <a:pt x="34751" y="0"/>
                      </a:lnTo>
                      <a:close/>
                    </a:path>
                  </a:pathLst>
                </a:custGeom>
                <a:solidFill>
                  <a:srgbClr val="D6D6D2"/>
                </a:solidFill>
                <a:ln w="8150" cap="flat">
                  <a:noFill/>
                  <a:prstDash val="solid"/>
                  <a:miter/>
                </a:ln>
              </p:spPr>
              <p:txBody>
                <a:bodyPr rtlCol="0" anchor="ctr"/>
                <a:lstStyle/>
                <a:p>
                  <a:endParaRPr lang="en-US"/>
                </a:p>
              </p:txBody>
            </p:sp>
            <p:sp>
              <p:nvSpPr>
                <p:cNvPr id="661" name="Freeform: Shape 660">
                  <a:extLst>
                    <a:ext uri="{FF2B5EF4-FFF2-40B4-BE49-F238E27FC236}">
                      <a16:creationId xmlns:a16="http://schemas.microsoft.com/office/drawing/2014/main" id="{7D9C77C4-CFD8-4EFF-BD8A-C468E9F64B75}"/>
                    </a:ext>
                  </a:extLst>
                </p:cNvPr>
                <p:cNvSpPr/>
                <p:nvPr/>
              </p:nvSpPr>
              <p:spPr>
                <a:xfrm>
                  <a:off x="6065414" y="2073245"/>
                  <a:ext cx="646102" cy="548737"/>
                </a:xfrm>
                <a:custGeom>
                  <a:avLst/>
                  <a:gdLst>
                    <a:gd name="connsiteX0" fmla="*/ 570155 w 646102"/>
                    <a:gd name="connsiteY0" fmla="*/ 18647 h 548737"/>
                    <a:gd name="connsiteX1" fmla="*/ 572649 w 646102"/>
                    <a:gd name="connsiteY1" fmla="*/ 19258 h 548737"/>
                    <a:gd name="connsiteX2" fmla="*/ 578028 w 646102"/>
                    <a:gd name="connsiteY2" fmla="*/ 17449 h 548737"/>
                    <a:gd name="connsiteX3" fmla="*/ 579421 w 646102"/>
                    <a:gd name="connsiteY3" fmla="*/ 19095 h 548737"/>
                    <a:gd name="connsiteX4" fmla="*/ 577710 w 646102"/>
                    <a:gd name="connsiteY4" fmla="*/ 23186 h 548737"/>
                    <a:gd name="connsiteX5" fmla="*/ 577425 w 646102"/>
                    <a:gd name="connsiteY5" fmla="*/ 29323 h 548737"/>
                    <a:gd name="connsiteX6" fmla="*/ 576789 w 646102"/>
                    <a:gd name="connsiteY6" fmla="*/ 32900 h 548737"/>
                    <a:gd name="connsiteX7" fmla="*/ 576789 w 646102"/>
                    <a:gd name="connsiteY7" fmla="*/ 36160 h 548737"/>
                    <a:gd name="connsiteX8" fmla="*/ 577466 w 646102"/>
                    <a:gd name="connsiteY8" fmla="*/ 37913 h 548737"/>
                    <a:gd name="connsiteX9" fmla="*/ 579625 w 646102"/>
                    <a:gd name="connsiteY9" fmla="*/ 30977 h 548737"/>
                    <a:gd name="connsiteX10" fmla="*/ 580367 w 646102"/>
                    <a:gd name="connsiteY10" fmla="*/ 29192 h 548737"/>
                    <a:gd name="connsiteX11" fmla="*/ 583529 w 646102"/>
                    <a:gd name="connsiteY11" fmla="*/ 26576 h 548737"/>
                    <a:gd name="connsiteX12" fmla="*/ 584703 w 646102"/>
                    <a:gd name="connsiteY12" fmla="*/ 21303 h 548737"/>
                    <a:gd name="connsiteX13" fmla="*/ 587791 w 646102"/>
                    <a:gd name="connsiteY13" fmla="*/ 14971 h 548737"/>
                    <a:gd name="connsiteX14" fmla="*/ 591279 w 646102"/>
                    <a:gd name="connsiteY14" fmla="*/ 11279 h 548737"/>
                    <a:gd name="connsiteX15" fmla="*/ 593300 w 646102"/>
                    <a:gd name="connsiteY15" fmla="*/ 10269 h 548737"/>
                    <a:gd name="connsiteX16" fmla="*/ 600024 w 646102"/>
                    <a:gd name="connsiteY16" fmla="*/ 10415 h 548737"/>
                    <a:gd name="connsiteX17" fmla="*/ 602901 w 646102"/>
                    <a:gd name="connsiteY17" fmla="*/ 11809 h 548737"/>
                    <a:gd name="connsiteX18" fmla="*/ 605443 w 646102"/>
                    <a:gd name="connsiteY18" fmla="*/ 14890 h 548737"/>
                    <a:gd name="connsiteX19" fmla="*/ 607351 w 646102"/>
                    <a:gd name="connsiteY19" fmla="*/ 16120 h 548737"/>
                    <a:gd name="connsiteX20" fmla="*/ 613325 w 646102"/>
                    <a:gd name="connsiteY20" fmla="*/ 17424 h 548737"/>
                    <a:gd name="connsiteX21" fmla="*/ 615394 w 646102"/>
                    <a:gd name="connsiteY21" fmla="*/ 19062 h 548737"/>
                    <a:gd name="connsiteX22" fmla="*/ 615777 w 646102"/>
                    <a:gd name="connsiteY22" fmla="*/ 20040 h 548737"/>
                    <a:gd name="connsiteX23" fmla="*/ 617236 w 646102"/>
                    <a:gd name="connsiteY23" fmla="*/ 20236 h 548737"/>
                    <a:gd name="connsiteX24" fmla="*/ 621270 w 646102"/>
                    <a:gd name="connsiteY24" fmla="*/ 17905 h 548737"/>
                    <a:gd name="connsiteX25" fmla="*/ 623911 w 646102"/>
                    <a:gd name="connsiteY25" fmla="*/ 17514 h 548737"/>
                    <a:gd name="connsiteX26" fmla="*/ 628182 w 646102"/>
                    <a:gd name="connsiteY26" fmla="*/ 21157 h 548737"/>
                    <a:gd name="connsiteX27" fmla="*/ 627326 w 646102"/>
                    <a:gd name="connsiteY27" fmla="*/ 23846 h 548737"/>
                    <a:gd name="connsiteX28" fmla="*/ 627562 w 646102"/>
                    <a:gd name="connsiteY28" fmla="*/ 24702 h 548737"/>
                    <a:gd name="connsiteX29" fmla="*/ 632753 w 646102"/>
                    <a:gd name="connsiteY29" fmla="*/ 24523 h 548737"/>
                    <a:gd name="connsiteX30" fmla="*/ 637064 w 646102"/>
                    <a:gd name="connsiteY30" fmla="*/ 25582 h 548737"/>
                    <a:gd name="connsiteX31" fmla="*/ 645255 w 646102"/>
                    <a:gd name="connsiteY31" fmla="*/ 31083 h 548737"/>
                    <a:gd name="connsiteX32" fmla="*/ 646103 w 646102"/>
                    <a:gd name="connsiteY32" fmla="*/ 33642 h 548737"/>
                    <a:gd name="connsiteX33" fmla="*/ 645703 w 646102"/>
                    <a:gd name="connsiteY33" fmla="*/ 36755 h 548737"/>
                    <a:gd name="connsiteX34" fmla="*/ 633919 w 646102"/>
                    <a:gd name="connsiteY34" fmla="*/ 40186 h 548737"/>
                    <a:gd name="connsiteX35" fmla="*/ 628809 w 646102"/>
                    <a:gd name="connsiteY35" fmla="*/ 43446 h 548737"/>
                    <a:gd name="connsiteX36" fmla="*/ 620439 w 646102"/>
                    <a:gd name="connsiteY36" fmla="*/ 44718 h 548737"/>
                    <a:gd name="connsiteX37" fmla="*/ 592053 w 646102"/>
                    <a:gd name="connsiteY37" fmla="*/ 42525 h 548737"/>
                    <a:gd name="connsiteX38" fmla="*/ 592632 w 646102"/>
                    <a:gd name="connsiteY38" fmla="*/ 44889 h 548737"/>
                    <a:gd name="connsiteX39" fmla="*/ 612403 w 646102"/>
                    <a:gd name="connsiteY39" fmla="*/ 50056 h 548737"/>
                    <a:gd name="connsiteX40" fmla="*/ 613520 w 646102"/>
                    <a:gd name="connsiteY40" fmla="*/ 51531 h 548737"/>
                    <a:gd name="connsiteX41" fmla="*/ 612884 w 646102"/>
                    <a:gd name="connsiteY41" fmla="*/ 54628 h 548737"/>
                    <a:gd name="connsiteX42" fmla="*/ 612876 w 646102"/>
                    <a:gd name="connsiteY42" fmla="*/ 57121 h 548737"/>
                    <a:gd name="connsiteX43" fmla="*/ 613259 w 646102"/>
                    <a:gd name="connsiteY43" fmla="*/ 58817 h 548737"/>
                    <a:gd name="connsiteX44" fmla="*/ 614710 w 646102"/>
                    <a:gd name="connsiteY44" fmla="*/ 60398 h 548737"/>
                    <a:gd name="connsiteX45" fmla="*/ 617130 w 646102"/>
                    <a:gd name="connsiteY45" fmla="*/ 61139 h 548737"/>
                    <a:gd name="connsiteX46" fmla="*/ 622044 w 646102"/>
                    <a:gd name="connsiteY46" fmla="*/ 60748 h 548737"/>
                    <a:gd name="connsiteX47" fmla="*/ 624473 w 646102"/>
                    <a:gd name="connsiteY47" fmla="*/ 61596 h 548737"/>
                    <a:gd name="connsiteX48" fmla="*/ 626128 w 646102"/>
                    <a:gd name="connsiteY48" fmla="*/ 60332 h 548737"/>
                    <a:gd name="connsiteX49" fmla="*/ 626739 w 646102"/>
                    <a:gd name="connsiteY49" fmla="*/ 56095 h 548737"/>
                    <a:gd name="connsiteX50" fmla="*/ 628182 w 646102"/>
                    <a:gd name="connsiteY50" fmla="*/ 55166 h 548737"/>
                    <a:gd name="connsiteX51" fmla="*/ 630936 w 646102"/>
                    <a:gd name="connsiteY51" fmla="*/ 56396 h 548737"/>
                    <a:gd name="connsiteX52" fmla="*/ 632134 w 646102"/>
                    <a:gd name="connsiteY52" fmla="*/ 60919 h 548737"/>
                    <a:gd name="connsiteX53" fmla="*/ 632900 w 646102"/>
                    <a:gd name="connsiteY53" fmla="*/ 61392 h 548737"/>
                    <a:gd name="connsiteX54" fmla="*/ 634302 w 646102"/>
                    <a:gd name="connsiteY54" fmla="*/ 58157 h 548737"/>
                    <a:gd name="connsiteX55" fmla="*/ 637024 w 646102"/>
                    <a:gd name="connsiteY55" fmla="*/ 58393 h 548737"/>
                    <a:gd name="connsiteX56" fmla="*/ 639998 w 646102"/>
                    <a:gd name="connsiteY56" fmla="*/ 58124 h 548737"/>
                    <a:gd name="connsiteX57" fmla="*/ 643853 w 646102"/>
                    <a:gd name="connsiteY57" fmla="*/ 58670 h 548737"/>
                    <a:gd name="connsiteX58" fmla="*/ 645206 w 646102"/>
                    <a:gd name="connsiteY58" fmla="*/ 64521 h 548737"/>
                    <a:gd name="connsiteX59" fmla="*/ 645165 w 646102"/>
                    <a:gd name="connsiteY59" fmla="*/ 66567 h 548737"/>
                    <a:gd name="connsiteX60" fmla="*/ 644530 w 646102"/>
                    <a:gd name="connsiteY60" fmla="*/ 68539 h 548737"/>
                    <a:gd name="connsiteX61" fmla="*/ 643633 w 646102"/>
                    <a:gd name="connsiteY61" fmla="*/ 69566 h 548737"/>
                    <a:gd name="connsiteX62" fmla="*/ 641849 w 646102"/>
                    <a:gd name="connsiteY62" fmla="*/ 69990 h 548737"/>
                    <a:gd name="connsiteX63" fmla="*/ 637553 w 646102"/>
                    <a:gd name="connsiteY63" fmla="*/ 69811 h 548737"/>
                    <a:gd name="connsiteX64" fmla="*/ 631702 w 646102"/>
                    <a:gd name="connsiteY64" fmla="*/ 67496 h 548737"/>
                    <a:gd name="connsiteX65" fmla="*/ 627929 w 646102"/>
                    <a:gd name="connsiteY65" fmla="*/ 65320 h 548737"/>
                    <a:gd name="connsiteX66" fmla="*/ 626747 w 646102"/>
                    <a:gd name="connsiteY66" fmla="*/ 65231 h 548737"/>
                    <a:gd name="connsiteX67" fmla="*/ 626250 w 646102"/>
                    <a:gd name="connsiteY67" fmla="*/ 65499 h 548737"/>
                    <a:gd name="connsiteX68" fmla="*/ 627154 w 646102"/>
                    <a:gd name="connsiteY68" fmla="*/ 67684 h 548737"/>
                    <a:gd name="connsiteX69" fmla="*/ 626918 w 646102"/>
                    <a:gd name="connsiteY69" fmla="*/ 69362 h 548737"/>
                    <a:gd name="connsiteX70" fmla="*/ 626348 w 646102"/>
                    <a:gd name="connsiteY70" fmla="*/ 71188 h 548737"/>
                    <a:gd name="connsiteX71" fmla="*/ 625557 w 646102"/>
                    <a:gd name="connsiteY71" fmla="*/ 72842 h 548737"/>
                    <a:gd name="connsiteX72" fmla="*/ 624449 w 646102"/>
                    <a:gd name="connsiteY72" fmla="*/ 74236 h 548737"/>
                    <a:gd name="connsiteX73" fmla="*/ 622134 w 646102"/>
                    <a:gd name="connsiteY73" fmla="*/ 76021 h 548737"/>
                    <a:gd name="connsiteX74" fmla="*/ 618133 w 646102"/>
                    <a:gd name="connsiteY74" fmla="*/ 77447 h 548737"/>
                    <a:gd name="connsiteX75" fmla="*/ 607114 w 646102"/>
                    <a:gd name="connsiteY75" fmla="*/ 80202 h 548737"/>
                    <a:gd name="connsiteX76" fmla="*/ 606242 w 646102"/>
                    <a:gd name="connsiteY76" fmla="*/ 81424 h 548737"/>
                    <a:gd name="connsiteX77" fmla="*/ 602689 w 646102"/>
                    <a:gd name="connsiteY77" fmla="*/ 89093 h 548737"/>
                    <a:gd name="connsiteX78" fmla="*/ 601719 w 646102"/>
                    <a:gd name="connsiteY78" fmla="*/ 90209 h 548737"/>
                    <a:gd name="connsiteX79" fmla="*/ 600415 w 646102"/>
                    <a:gd name="connsiteY79" fmla="*/ 91163 h 548737"/>
                    <a:gd name="connsiteX80" fmla="*/ 596634 w 646102"/>
                    <a:gd name="connsiteY80" fmla="*/ 92402 h 548737"/>
                    <a:gd name="connsiteX81" fmla="*/ 594792 w 646102"/>
                    <a:gd name="connsiteY81" fmla="*/ 90690 h 548737"/>
                    <a:gd name="connsiteX82" fmla="*/ 593325 w 646102"/>
                    <a:gd name="connsiteY82" fmla="*/ 88115 h 548737"/>
                    <a:gd name="connsiteX83" fmla="*/ 593667 w 646102"/>
                    <a:gd name="connsiteY83" fmla="*/ 85556 h 548737"/>
                    <a:gd name="connsiteX84" fmla="*/ 598109 w 646102"/>
                    <a:gd name="connsiteY84" fmla="*/ 80650 h 548737"/>
                    <a:gd name="connsiteX85" fmla="*/ 602249 w 646102"/>
                    <a:gd name="connsiteY85" fmla="*/ 77170 h 548737"/>
                    <a:gd name="connsiteX86" fmla="*/ 603406 w 646102"/>
                    <a:gd name="connsiteY86" fmla="*/ 75964 h 548737"/>
                    <a:gd name="connsiteX87" fmla="*/ 605745 w 646102"/>
                    <a:gd name="connsiteY87" fmla="*/ 72459 h 548737"/>
                    <a:gd name="connsiteX88" fmla="*/ 600986 w 646102"/>
                    <a:gd name="connsiteY88" fmla="*/ 63649 h 548737"/>
                    <a:gd name="connsiteX89" fmla="*/ 592526 w 646102"/>
                    <a:gd name="connsiteY89" fmla="*/ 60976 h 548737"/>
                    <a:gd name="connsiteX90" fmla="*/ 582893 w 646102"/>
                    <a:gd name="connsiteY90" fmla="*/ 56918 h 548737"/>
                    <a:gd name="connsiteX91" fmla="*/ 579356 w 646102"/>
                    <a:gd name="connsiteY91" fmla="*/ 54750 h 548737"/>
                    <a:gd name="connsiteX92" fmla="*/ 573847 w 646102"/>
                    <a:gd name="connsiteY92" fmla="*/ 50284 h 548737"/>
                    <a:gd name="connsiteX93" fmla="*/ 569952 w 646102"/>
                    <a:gd name="connsiteY93" fmla="*/ 46266 h 548737"/>
                    <a:gd name="connsiteX94" fmla="*/ 566423 w 646102"/>
                    <a:gd name="connsiteY94" fmla="*/ 46128 h 548737"/>
                    <a:gd name="connsiteX95" fmla="*/ 562543 w 646102"/>
                    <a:gd name="connsiteY95" fmla="*/ 47138 h 548737"/>
                    <a:gd name="connsiteX96" fmla="*/ 556504 w 646102"/>
                    <a:gd name="connsiteY96" fmla="*/ 50805 h 548737"/>
                    <a:gd name="connsiteX97" fmla="*/ 552976 w 646102"/>
                    <a:gd name="connsiteY97" fmla="*/ 52647 h 548737"/>
                    <a:gd name="connsiteX98" fmla="*/ 551036 w 646102"/>
                    <a:gd name="connsiteY98" fmla="*/ 53185 h 548737"/>
                    <a:gd name="connsiteX99" fmla="*/ 550572 w 646102"/>
                    <a:gd name="connsiteY99" fmla="*/ 53267 h 548737"/>
                    <a:gd name="connsiteX100" fmla="*/ 546244 w 646102"/>
                    <a:gd name="connsiteY100" fmla="*/ 52224 h 548737"/>
                    <a:gd name="connsiteX101" fmla="*/ 541435 w 646102"/>
                    <a:gd name="connsiteY101" fmla="*/ 52012 h 548737"/>
                    <a:gd name="connsiteX102" fmla="*/ 537565 w 646102"/>
                    <a:gd name="connsiteY102" fmla="*/ 52305 h 548737"/>
                    <a:gd name="connsiteX103" fmla="*/ 536098 w 646102"/>
                    <a:gd name="connsiteY103" fmla="*/ 52802 h 548737"/>
                    <a:gd name="connsiteX104" fmla="*/ 530719 w 646102"/>
                    <a:gd name="connsiteY104" fmla="*/ 58735 h 548737"/>
                    <a:gd name="connsiteX105" fmla="*/ 526946 w 646102"/>
                    <a:gd name="connsiteY105" fmla="*/ 61726 h 548737"/>
                    <a:gd name="connsiteX106" fmla="*/ 524867 w 646102"/>
                    <a:gd name="connsiteY106" fmla="*/ 62761 h 548737"/>
                    <a:gd name="connsiteX107" fmla="*/ 523360 w 646102"/>
                    <a:gd name="connsiteY107" fmla="*/ 64489 h 548737"/>
                    <a:gd name="connsiteX108" fmla="*/ 522113 w 646102"/>
                    <a:gd name="connsiteY108" fmla="*/ 67333 h 548737"/>
                    <a:gd name="connsiteX109" fmla="*/ 519366 w 646102"/>
                    <a:gd name="connsiteY109" fmla="*/ 77178 h 548737"/>
                    <a:gd name="connsiteX110" fmla="*/ 517304 w 646102"/>
                    <a:gd name="connsiteY110" fmla="*/ 80886 h 548737"/>
                    <a:gd name="connsiteX111" fmla="*/ 516840 w 646102"/>
                    <a:gd name="connsiteY111" fmla="*/ 83152 h 548737"/>
                    <a:gd name="connsiteX112" fmla="*/ 517321 w 646102"/>
                    <a:gd name="connsiteY112" fmla="*/ 90006 h 548737"/>
                    <a:gd name="connsiteX113" fmla="*/ 516832 w 646102"/>
                    <a:gd name="connsiteY113" fmla="*/ 93803 h 548737"/>
                    <a:gd name="connsiteX114" fmla="*/ 514305 w 646102"/>
                    <a:gd name="connsiteY114" fmla="*/ 96925 h 548737"/>
                    <a:gd name="connsiteX115" fmla="*/ 512545 w 646102"/>
                    <a:gd name="connsiteY115" fmla="*/ 98343 h 548737"/>
                    <a:gd name="connsiteX116" fmla="*/ 510197 w 646102"/>
                    <a:gd name="connsiteY116" fmla="*/ 98620 h 548737"/>
                    <a:gd name="connsiteX117" fmla="*/ 507133 w 646102"/>
                    <a:gd name="connsiteY117" fmla="*/ 99427 h 548737"/>
                    <a:gd name="connsiteX118" fmla="*/ 504460 w 646102"/>
                    <a:gd name="connsiteY118" fmla="*/ 101236 h 548737"/>
                    <a:gd name="connsiteX119" fmla="*/ 502553 w 646102"/>
                    <a:gd name="connsiteY119" fmla="*/ 103697 h 548737"/>
                    <a:gd name="connsiteX120" fmla="*/ 500426 w 646102"/>
                    <a:gd name="connsiteY120" fmla="*/ 109223 h 548737"/>
                    <a:gd name="connsiteX121" fmla="*/ 496824 w 646102"/>
                    <a:gd name="connsiteY121" fmla="*/ 111252 h 548737"/>
                    <a:gd name="connsiteX122" fmla="*/ 493368 w 646102"/>
                    <a:gd name="connsiteY122" fmla="*/ 110673 h 548737"/>
                    <a:gd name="connsiteX123" fmla="*/ 490915 w 646102"/>
                    <a:gd name="connsiteY123" fmla="*/ 108636 h 548737"/>
                    <a:gd name="connsiteX124" fmla="*/ 485634 w 646102"/>
                    <a:gd name="connsiteY124" fmla="*/ 107071 h 548737"/>
                    <a:gd name="connsiteX125" fmla="*/ 481706 w 646102"/>
                    <a:gd name="connsiteY125" fmla="*/ 106061 h 548737"/>
                    <a:gd name="connsiteX126" fmla="*/ 477289 w 646102"/>
                    <a:gd name="connsiteY126" fmla="*/ 103893 h 548737"/>
                    <a:gd name="connsiteX127" fmla="*/ 473410 w 646102"/>
                    <a:gd name="connsiteY127" fmla="*/ 102238 h 548737"/>
                    <a:gd name="connsiteX128" fmla="*/ 469848 w 646102"/>
                    <a:gd name="connsiteY128" fmla="*/ 101921 h 548737"/>
                    <a:gd name="connsiteX129" fmla="*/ 467827 w 646102"/>
                    <a:gd name="connsiteY129" fmla="*/ 104007 h 548737"/>
                    <a:gd name="connsiteX130" fmla="*/ 466206 w 646102"/>
                    <a:gd name="connsiteY130" fmla="*/ 105955 h 548737"/>
                    <a:gd name="connsiteX131" fmla="*/ 460142 w 646102"/>
                    <a:gd name="connsiteY131" fmla="*/ 107552 h 548737"/>
                    <a:gd name="connsiteX132" fmla="*/ 456703 w 646102"/>
                    <a:gd name="connsiteY132" fmla="*/ 108807 h 548737"/>
                    <a:gd name="connsiteX133" fmla="*/ 452237 w 646102"/>
                    <a:gd name="connsiteY133" fmla="*/ 109084 h 548737"/>
                    <a:gd name="connsiteX134" fmla="*/ 450444 w 646102"/>
                    <a:gd name="connsiteY134" fmla="*/ 107699 h 548737"/>
                    <a:gd name="connsiteX135" fmla="*/ 443981 w 646102"/>
                    <a:gd name="connsiteY135" fmla="*/ 106778 h 548737"/>
                    <a:gd name="connsiteX136" fmla="*/ 436280 w 646102"/>
                    <a:gd name="connsiteY136" fmla="*/ 105678 h 548737"/>
                    <a:gd name="connsiteX137" fmla="*/ 434055 w 646102"/>
                    <a:gd name="connsiteY137" fmla="*/ 105702 h 548737"/>
                    <a:gd name="connsiteX138" fmla="*/ 433362 w 646102"/>
                    <a:gd name="connsiteY138" fmla="*/ 103200 h 548737"/>
                    <a:gd name="connsiteX139" fmla="*/ 431317 w 646102"/>
                    <a:gd name="connsiteY139" fmla="*/ 99720 h 548737"/>
                    <a:gd name="connsiteX140" fmla="*/ 425840 w 646102"/>
                    <a:gd name="connsiteY140" fmla="*/ 93681 h 548737"/>
                    <a:gd name="connsiteX141" fmla="*/ 423607 w 646102"/>
                    <a:gd name="connsiteY141" fmla="*/ 91554 h 548737"/>
                    <a:gd name="connsiteX142" fmla="*/ 419393 w 646102"/>
                    <a:gd name="connsiteY142" fmla="*/ 86550 h 548737"/>
                    <a:gd name="connsiteX143" fmla="*/ 414487 w 646102"/>
                    <a:gd name="connsiteY143" fmla="*/ 81416 h 548737"/>
                    <a:gd name="connsiteX144" fmla="*/ 413794 w 646102"/>
                    <a:gd name="connsiteY144" fmla="*/ 81285 h 548737"/>
                    <a:gd name="connsiteX145" fmla="*/ 410502 w 646102"/>
                    <a:gd name="connsiteY145" fmla="*/ 81114 h 548737"/>
                    <a:gd name="connsiteX146" fmla="*/ 405678 w 646102"/>
                    <a:gd name="connsiteY146" fmla="*/ 81285 h 548737"/>
                    <a:gd name="connsiteX147" fmla="*/ 402621 w 646102"/>
                    <a:gd name="connsiteY147" fmla="*/ 82451 h 548737"/>
                    <a:gd name="connsiteX148" fmla="*/ 400698 w 646102"/>
                    <a:gd name="connsiteY148" fmla="*/ 83918 h 548737"/>
                    <a:gd name="connsiteX149" fmla="*/ 400364 w 646102"/>
                    <a:gd name="connsiteY149" fmla="*/ 85132 h 548737"/>
                    <a:gd name="connsiteX150" fmla="*/ 402238 w 646102"/>
                    <a:gd name="connsiteY150" fmla="*/ 89802 h 548737"/>
                    <a:gd name="connsiteX151" fmla="*/ 401651 w 646102"/>
                    <a:gd name="connsiteY151" fmla="*/ 90967 h 548737"/>
                    <a:gd name="connsiteX152" fmla="*/ 400698 w 646102"/>
                    <a:gd name="connsiteY152" fmla="*/ 91522 h 548737"/>
                    <a:gd name="connsiteX153" fmla="*/ 396322 w 646102"/>
                    <a:gd name="connsiteY153" fmla="*/ 90218 h 548737"/>
                    <a:gd name="connsiteX154" fmla="*/ 391032 w 646102"/>
                    <a:gd name="connsiteY154" fmla="*/ 90299 h 548737"/>
                    <a:gd name="connsiteX155" fmla="*/ 389687 w 646102"/>
                    <a:gd name="connsiteY155" fmla="*/ 91742 h 548737"/>
                    <a:gd name="connsiteX156" fmla="*/ 386460 w 646102"/>
                    <a:gd name="connsiteY156" fmla="*/ 91896 h 548737"/>
                    <a:gd name="connsiteX157" fmla="*/ 377153 w 646102"/>
                    <a:gd name="connsiteY157" fmla="*/ 92451 h 548737"/>
                    <a:gd name="connsiteX158" fmla="*/ 381261 w 646102"/>
                    <a:gd name="connsiteY158" fmla="*/ 96265 h 548737"/>
                    <a:gd name="connsiteX159" fmla="*/ 382622 w 646102"/>
                    <a:gd name="connsiteY159" fmla="*/ 97780 h 548737"/>
                    <a:gd name="connsiteX160" fmla="*/ 382891 w 646102"/>
                    <a:gd name="connsiteY160" fmla="*/ 100030 h 548737"/>
                    <a:gd name="connsiteX161" fmla="*/ 382190 w 646102"/>
                    <a:gd name="connsiteY161" fmla="*/ 104194 h 548737"/>
                    <a:gd name="connsiteX162" fmla="*/ 380210 w 646102"/>
                    <a:gd name="connsiteY162" fmla="*/ 107748 h 548737"/>
                    <a:gd name="connsiteX163" fmla="*/ 377919 w 646102"/>
                    <a:gd name="connsiteY163" fmla="*/ 110633 h 548737"/>
                    <a:gd name="connsiteX164" fmla="*/ 373486 w 646102"/>
                    <a:gd name="connsiteY164" fmla="*/ 113501 h 548737"/>
                    <a:gd name="connsiteX165" fmla="*/ 380210 w 646102"/>
                    <a:gd name="connsiteY165" fmla="*/ 116321 h 548737"/>
                    <a:gd name="connsiteX166" fmla="*/ 375654 w 646102"/>
                    <a:gd name="connsiteY166" fmla="*/ 120143 h 548737"/>
                    <a:gd name="connsiteX167" fmla="*/ 373510 w 646102"/>
                    <a:gd name="connsiteY167" fmla="*/ 121635 h 548737"/>
                    <a:gd name="connsiteX168" fmla="*/ 371041 w 646102"/>
                    <a:gd name="connsiteY168" fmla="*/ 121374 h 548737"/>
                    <a:gd name="connsiteX169" fmla="*/ 366599 w 646102"/>
                    <a:gd name="connsiteY169" fmla="*/ 120054 h 548737"/>
                    <a:gd name="connsiteX170" fmla="*/ 355882 w 646102"/>
                    <a:gd name="connsiteY170" fmla="*/ 116859 h 548737"/>
                    <a:gd name="connsiteX171" fmla="*/ 350764 w 646102"/>
                    <a:gd name="connsiteY171" fmla="*/ 115661 h 548737"/>
                    <a:gd name="connsiteX172" fmla="*/ 346200 w 646102"/>
                    <a:gd name="connsiteY172" fmla="*/ 115294 h 548737"/>
                    <a:gd name="connsiteX173" fmla="*/ 343748 w 646102"/>
                    <a:gd name="connsiteY173" fmla="*/ 115343 h 548737"/>
                    <a:gd name="connsiteX174" fmla="*/ 334041 w 646102"/>
                    <a:gd name="connsiteY174" fmla="*/ 112605 h 548737"/>
                    <a:gd name="connsiteX175" fmla="*/ 332175 w 646102"/>
                    <a:gd name="connsiteY175" fmla="*/ 112906 h 548737"/>
                    <a:gd name="connsiteX176" fmla="*/ 328695 w 646102"/>
                    <a:gd name="connsiteY176" fmla="*/ 114096 h 548737"/>
                    <a:gd name="connsiteX177" fmla="*/ 328304 w 646102"/>
                    <a:gd name="connsiteY177" fmla="*/ 116753 h 548737"/>
                    <a:gd name="connsiteX178" fmla="*/ 328532 w 646102"/>
                    <a:gd name="connsiteY178" fmla="*/ 123354 h 548737"/>
                    <a:gd name="connsiteX179" fmla="*/ 329037 w 646102"/>
                    <a:gd name="connsiteY179" fmla="*/ 128440 h 548737"/>
                    <a:gd name="connsiteX180" fmla="*/ 327750 w 646102"/>
                    <a:gd name="connsiteY180" fmla="*/ 131374 h 548737"/>
                    <a:gd name="connsiteX181" fmla="*/ 326470 w 646102"/>
                    <a:gd name="connsiteY181" fmla="*/ 133362 h 548737"/>
                    <a:gd name="connsiteX182" fmla="*/ 322591 w 646102"/>
                    <a:gd name="connsiteY182" fmla="*/ 138717 h 548737"/>
                    <a:gd name="connsiteX183" fmla="*/ 313862 w 646102"/>
                    <a:gd name="connsiteY183" fmla="*/ 135074 h 548737"/>
                    <a:gd name="connsiteX184" fmla="*/ 307905 w 646102"/>
                    <a:gd name="connsiteY184" fmla="*/ 132661 h 548737"/>
                    <a:gd name="connsiteX185" fmla="*/ 304091 w 646102"/>
                    <a:gd name="connsiteY185" fmla="*/ 135872 h 548737"/>
                    <a:gd name="connsiteX186" fmla="*/ 294491 w 646102"/>
                    <a:gd name="connsiteY186" fmla="*/ 141756 h 548737"/>
                    <a:gd name="connsiteX187" fmla="*/ 289576 w 646102"/>
                    <a:gd name="connsiteY187" fmla="*/ 153345 h 548737"/>
                    <a:gd name="connsiteX188" fmla="*/ 289291 w 646102"/>
                    <a:gd name="connsiteY188" fmla="*/ 153720 h 548737"/>
                    <a:gd name="connsiteX189" fmla="*/ 286390 w 646102"/>
                    <a:gd name="connsiteY189" fmla="*/ 156662 h 548737"/>
                    <a:gd name="connsiteX190" fmla="*/ 282673 w 646102"/>
                    <a:gd name="connsiteY190" fmla="*/ 158015 h 548737"/>
                    <a:gd name="connsiteX191" fmla="*/ 279854 w 646102"/>
                    <a:gd name="connsiteY191" fmla="*/ 158683 h 548737"/>
                    <a:gd name="connsiteX192" fmla="*/ 278216 w 646102"/>
                    <a:gd name="connsiteY192" fmla="*/ 162115 h 548737"/>
                    <a:gd name="connsiteX193" fmla="*/ 282038 w 646102"/>
                    <a:gd name="connsiteY193" fmla="*/ 167029 h 548737"/>
                    <a:gd name="connsiteX194" fmla="*/ 284002 w 646102"/>
                    <a:gd name="connsiteY194" fmla="*/ 169629 h 548737"/>
                    <a:gd name="connsiteX195" fmla="*/ 285819 w 646102"/>
                    <a:gd name="connsiteY195" fmla="*/ 173818 h 548737"/>
                    <a:gd name="connsiteX196" fmla="*/ 285485 w 646102"/>
                    <a:gd name="connsiteY196" fmla="*/ 176466 h 548737"/>
                    <a:gd name="connsiteX197" fmla="*/ 285061 w 646102"/>
                    <a:gd name="connsiteY197" fmla="*/ 178129 h 548737"/>
                    <a:gd name="connsiteX198" fmla="*/ 280945 w 646102"/>
                    <a:gd name="connsiteY198" fmla="*/ 181503 h 548737"/>
                    <a:gd name="connsiteX199" fmla="*/ 272176 w 646102"/>
                    <a:gd name="connsiteY199" fmla="*/ 190435 h 548737"/>
                    <a:gd name="connsiteX200" fmla="*/ 264060 w 646102"/>
                    <a:gd name="connsiteY200" fmla="*/ 199726 h 548737"/>
                    <a:gd name="connsiteX201" fmla="*/ 260734 w 646102"/>
                    <a:gd name="connsiteY201" fmla="*/ 202390 h 548737"/>
                    <a:gd name="connsiteX202" fmla="*/ 262250 w 646102"/>
                    <a:gd name="connsiteY202" fmla="*/ 210255 h 548737"/>
                    <a:gd name="connsiteX203" fmla="*/ 259552 w 646102"/>
                    <a:gd name="connsiteY203" fmla="*/ 212553 h 548737"/>
                    <a:gd name="connsiteX204" fmla="*/ 254060 w 646102"/>
                    <a:gd name="connsiteY204" fmla="*/ 215161 h 548737"/>
                    <a:gd name="connsiteX205" fmla="*/ 251240 w 646102"/>
                    <a:gd name="connsiteY205" fmla="*/ 216164 h 548737"/>
                    <a:gd name="connsiteX206" fmla="*/ 248216 w 646102"/>
                    <a:gd name="connsiteY206" fmla="*/ 216758 h 548737"/>
                    <a:gd name="connsiteX207" fmla="*/ 238917 w 646102"/>
                    <a:gd name="connsiteY207" fmla="*/ 217793 h 548737"/>
                    <a:gd name="connsiteX208" fmla="*/ 240580 w 646102"/>
                    <a:gd name="connsiteY208" fmla="*/ 226188 h 548737"/>
                    <a:gd name="connsiteX209" fmla="*/ 241208 w 646102"/>
                    <a:gd name="connsiteY209" fmla="*/ 229888 h 548737"/>
                    <a:gd name="connsiteX210" fmla="*/ 241191 w 646102"/>
                    <a:gd name="connsiteY210" fmla="*/ 232088 h 548737"/>
                    <a:gd name="connsiteX211" fmla="*/ 240230 w 646102"/>
                    <a:gd name="connsiteY211" fmla="*/ 234231 h 548737"/>
                    <a:gd name="connsiteX212" fmla="*/ 239072 w 646102"/>
                    <a:gd name="connsiteY212" fmla="*/ 238323 h 548737"/>
                    <a:gd name="connsiteX213" fmla="*/ 237345 w 646102"/>
                    <a:gd name="connsiteY213" fmla="*/ 252919 h 548737"/>
                    <a:gd name="connsiteX214" fmla="*/ 236016 w 646102"/>
                    <a:gd name="connsiteY214" fmla="*/ 254484 h 548737"/>
                    <a:gd name="connsiteX215" fmla="*/ 234182 w 646102"/>
                    <a:gd name="connsiteY215" fmla="*/ 258428 h 548737"/>
                    <a:gd name="connsiteX216" fmla="*/ 228315 w 646102"/>
                    <a:gd name="connsiteY216" fmla="*/ 267898 h 548737"/>
                    <a:gd name="connsiteX217" fmla="*/ 223588 w 646102"/>
                    <a:gd name="connsiteY217" fmla="*/ 274165 h 548737"/>
                    <a:gd name="connsiteX218" fmla="*/ 216775 w 646102"/>
                    <a:gd name="connsiteY218" fmla="*/ 283195 h 548737"/>
                    <a:gd name="connsiteX219" fmla="*/ 222309 w 646102"/>
                    <a:gd name="connsiteY219" fmla="*/ 286048 h 548737"/>
                    <a:gd name="connsiteX220" fmla="*/ 227369 w 646102"/>
                    <a:gd name="connsiteY220" fmla="*/ 288126 h 548737"/>
                    <a:gd name="connsiteX221" fmla="*/ 228421 w 646102"/>
                    <a:gd name="connsiteY221" fmla="*/ 291312 h 548737"/>
                    <a:gd name="connsiteX222" fmla="*/ 229122 w 646102"/>
                    <a:gd name="connsiteY222" fmla="*/ 296634 h 548737"/>
                    <a:gd name="connsiteX223" fmla="*/ 228959 w 646102"/>
                    <a:gd name="connsiteY223" fmla="*/ 300261 h 548737"/>
                    <a:gd name="connsiteX224" fmla="*/ 227019 w 646102"/>
                    <a:gd name="connsiteY224" fmla="*/ 303512 h 548737"/>
                    <a:gd name="connsiteX225" fmla="*/ 225511 w 646102"/>
                    <a:gd name="connsiteY225" fmla="*/ 305794 h 548737"/>
                    <a:gd name="connsiteX226" fmla="*/ 224476 w 646102"/>
                    <a:gd name="connsiteY226" fmla="*/ 306903 h 548737"/>
                    <a:gd name="connsiteX227" fmla="*/ 217272 w 646102"/>
                    <a:gd name="connsiteY227" fmla="*/ 305794 h 548737"/>
                    <a:gd name="connsiteX228" fmla="*/ 208079 w 646102"/>
                    <a:gd name="connsiteY228" fmla="*/ 304368 h 548737"/>
                    <a:gd name="connsiteX229" fmla="*/ 205691 w 646102"/>
                    <a:gd name="connsiteY229" fmla="*/ 304360 h 548737"/>
                    <a:gd name="connsiteX230" fmla="*/ 200336 w 646102"/>
                    <a:gd name="connsiteY230" fmla="*/ 305387 h 548737"/>
                    <a:gd name="connsiteX231" fmla="*/ 195504 w 646102"/>
                    <a:gd name="connsiteY231" fmla="*/ 307481 h 548737"/>
                    <a:gd name="connsiteX232" fmla="*/ 192961 w 646102"/>
                    <a:gd name="connsiteY232" fmla="*/ 309258 h 548737"/>
                    <a:gd name="connsiteX233" fmla="*/ 192277 w 646102"/>
                    <a:gd name="connsiteY233" fmla="*/ 309967 h 548737"/>
                    <a:gd name="connsiteX234" fmla="*/ 189049 w 646102"/>
                    <a:gd name="connsiteY234" fmla="*/ 313993 h 548737"/>
                    <a:gd name="connsiteX235" fmla="*/ 183328 w 646102"/>
                    <a:gd name="connsiteY235" fmla="*/ 321148 h 548737"/>
                    <a:gd name="connsiteX236" fmla="*/ 180190 w 646102"/>
                    <a:gd name="connsiteY236" fmla="*/ 324270 h 548737"/>
                    <a:gd name="connsiteX237" fmla="*/ 181103 w 646102"/>
                    <a:gd name="connsiteY237" fmla="*/ 328556 h 548737"/>
                    <a:gd name="connsiteX238" fmla="*/ 175839 w 646102"/>
                    <a:gd name="connsiteY238" fmla="*/ 336861 h 548737"/>
                    <a:gd name="connsiteX239" fmla="*/ 179278 w 646102"/>
                    <a:gd name="connsiteY239" fmla="*/ 345215 h 548737"/>
                    <a:gd name="connsiteX240" fmla="*/ 179432 w 646102"/>
                    <a:gd name="connsiteY240" fmla="*/ 345492 h 548737"/>
                    <a:gd name="connsiteX241" fmla="*/ 181250 w 646102"/>
                    <a:gd name="connsiteY241" fmla="*/ 348866 h 548737"/>
                    <a:gd name="connsiteX242" fmla="*/ 179343 w 646102"/>
                    <a:gd name="connsiteY242" fmla="*/ 351042 h 548737"/>
                    <a:gd name="connsiteX243" fmla="*/ 178536 w 646102"/>
                    <a:gd name="connsiteY243" fmla="*/ 352207 h 548737"/>
                    <a:gd name="connsiteX244" fmla="*/ 178813 w 646102"/>
                    <a:gd name="connsiteY244" fmla="*/ 356054 h 548737"/>
                    <a:gd name="connsiteX245" fmla="*/ 179311 w 646102"/>
                    <a:gd name="connsiteY245" fmla="*/ 360349 h 548737"/>
                    <a:gd name="connsiteX246" fmla="*/ 178870 w 646102"/>
                    <a:gd name="connsiteY246" fmla="*/ 362867 h 548737"/>
                    <a:gd name="connsiteX247" fmla="*/ 178691 w 646102"/>
                    <a:gd name="connsiteY247" fmla="*/ 365662 h 548737"/>
                    <a:gd name="connsiteX248" fmla="*/ 183369 w 646102"/>
                    <a:gd name="connsiteY248" fmla="*/ 378197 h 548737"/>
                    <a:gd name="connsiteX249" fmla="*/ 183320 w 646102"/>
                    <a:gd name="connsiteY249" fmla="*/ 381130 h 548737"/>
                    <a:gd name="connsiteX250" fmla="*/ 183083 w 646102"/>
                    <a:gd name="connsiteY250" fmla="*/ 383029 h 548737"/>
                    <a:gd name="connsiteX251" fmla="*/ 181641 w 646102"/>
                    <a:gd name="connsiteY251" fmla="*/ 390796 h 548737"/>
                    <a:gd name="connsiteX252" fmla="*/ 179702 w 646102"/>
                    <a:gd name="connsiteY252" fmla="*/ 401219 h 548737"/>
                    <a:gd name="connsiteX253" fmla="*/ 183083 w 646102"/>
                    <a:gd name="connsiteY253" fmla="*/ 403950 h 548737"/>
                    <a:gd name="connsiteX254" fmla="*/ 187916 w 646102"/>
                    <a:gd name="connsiteY254" fmla="*/ 407218 h 548737"/>
                    <a:gd name="connsiteX255" fmla="*/ 190630 w 646102"/>
                    <a:gd name="connsiteY255" fmla="*/ 408497 h 548737"/>
                    <a:gd name="connsiteX256" fmla="*/ 194632 w 646102"/>
                    <a:gd name="connsiteY256" fmla="*/ 412377 h 548737"/>
                    <a:gd name="connsiteX257" fmla="*/ 197688 w 646102"/>
                    <a:gd name="connsiteY257" fmla="*/ 416158 h 548737"/>
                    <a:gd name="connsiteX258" fmla="*/ 197256 w 646102"/>
                    <a:gd name="connsiteY258" fmla="*/ 418660 h 548737"/>
                    <a:gd name="connsiteX259" fmla="*/ 196392 w 646102"/>
                    <a:gd name="connsiteY259" fmla="*/ 421439 h 548737"/>
                    <a:gd name="connsiteX260" fmla="*/ 195105 w 646102"/>
                    <a:gd name="connsiteY260" fmla="*/ 423370 h 548737"/>
                    <a:gd name="connsiteX261" fmla="*/ 193890 w 646102"/>
                    <a:gd name="connsiteY261" fmla="*/ 426027 h 548737"/>
                    <a:gd name="connsiteX262" fmla="*/ 193361 w 646102"/>
                    <a:gd name="connsiteY262" fmla="*/ 427975 h 548737"/>
                    <a:gd name="connsiteX263" fmla="*/ 192782 w 646102"/>
                    <a:gd name="connsiteY263" fmla="*/ 428505 h 548737"/>
                    <a:gd name="connsiteX264" fmla="*/ 187444 w 646102"/>
                    <a:gd name="connsiteY264" fmla="*/ 428717 h 548737"/>
                    <a:gd name="connsiteX265" fmla="*/ 184616 w 646102"/>
                    <a:gd name="connsiteY265" fmla="*/ 429458 h 548737"/>
                    <a:gd name="connsiteX266" fmla="*/ 183141 w 646102"/>
                    <a:gd name="connsiteY266" fmla="*/ 430281 h 548737"/>
                    <a:gd name="connsiteX267" fmla="*/ 183654 w 646102"/>
                    <a:gd name="connsiteY267" fmla="*/ 434739 h 548737"/>
                    <a:gd name="connsiteX268" fmla="*/ 186890 w 646102"/>
                    <a:gd name="connsiteY268" fmla="*/ 442881 h 548737"/>
                    <a:gd name="connsiteX269" fmla="*/ 189587 w 646102"/>
                    <a:gd name="connsiteY269" fmla="*/ 448667 h 548737"/>
                    <a:gd name="connsiteX270" fmla="*/ 190443 w 646102"/>
                    <a:gd name="connsiteY270" fmla="*/ 452481 h 548737"/>
                    <a:gd name="connsiteX271" fmla="*/ 189554 w 646102"/>
                    <a:gd name="connsiteY271" fmla="*/ 456336 h 548737"/>
                    <a:gd name="connsiteX272" fmla="*/ 188634 w 646102"/>
                    <a:gd name="connsiteY272" fmla="*/ 458308 h 548737"/>
                    <a:gd name="connsiteX273" fmla="*/ 188609 w 646102"/>
                    <a:gd name="connsiteY273" fmla="*/ 460965 h 548737"/>
                    <a:gd name="connsiteX274" fmla="*/ 187908 w 646102"/>
                    <a:gd name="connsiteY274" fmla="*/ 466246 h 548737"/>
                    <a:gd name="connsiteX275" fmla="*/ 185814 w 646102"/>
                    <a:gd name="connsiteY275" fmla="*/ 468911 h 548737"/>
                    <a:gd name="connsiteX276" fmla="*/ 183083 w 646102"/>
                    <a:gd name="connsiteY276" fmla="*/ 471821 h 548737"/>
                    <a:gd name="connsiteX277" fmla="*/ 180036 w 646102"/>
                    <a:gd name="connsiteY277" fmla="*/ 473997 h 548737"/>
                    <a:gd name="connsiteX278" fmla="*/ 177632 w 646102"/>
                    <a:gd name="connsiteY278" fmla="*/ 474600 h 548737"/>
                    <a:gd name="connsiteX279" fmla="*/ 175561 w 646102"/>
                    <a:gd name="connsiteY279" fmla="*/ 474852 h 548737"/>
                    <a:gd name="connsiteX280" fmla="*/ 174160 w 646102"/>
                    <a:gd name="connsiteY280" fmla="*/ 475944 h 548737"/>
                    <a:gd name="connsiteX281" fmla="*/ 172905 w 646102"/>
                    <a:gd name="connsiteY281" fmla="*/ 479188 h 548737"/>
                    <a:gd name="connsiteX282" fmla="*/ 171731 w 646102"/>
                    <a:gd name="connsiteY282" fmla="*/ 482578 h 548737"/>
                    <a:gd name="connsiteX283" fmla="*/ 167925 w 646102"/>
                    <a:gd name="connsiteY283" fmla="*/ 486751 h 548737"/>
                    <a:gd name="connsiteX284" fmla="*/ 168023 w 646102"/>
                    <a:gd name="connsiteY284" fmla="*/ 488210 h 548737"/>
                    <a:gd name="connsiteX285" fmla="*/ 169474 w 646102"/>
                    <a:gd name="connsiteY285" fmla="*/ 493148 h 548737"/>
                    <a:gd name="connsiteX286" fmla="*/ 170843 w 646102"/>
                    <a:gd name="connsiteY286" fmla="*/ 498764 h 548737"/>
                    <a:gd name="connsiteX287" fmla="*/ 169685 w 646102"/>
                    <a:gd name="connsiteY287" fmla="*/ 504004 h 548737"/>
                    <a:gd name="connsiteX288" fmla="*/ 168708 w 646102"/>
                    <a:gd name="connsiteY288" fmla="*/ 509497 h 548737"/>
                    <a:gd name="connsiteX289" fmla="*/ 166980 w 646102"/>
                    <a:gd name="connsiteY289" fmla="*/ 513156 h 548737"/>
                    <a:gd name="connsiteX290" fmla="*/ 164519 w 646102"/>
                    <a:gd name="connsiteY290" fmla="*/ 514460 h 548737"/>
                    <a:gd name="connsiteX291" fmla="*/ 162718 w 646102"/>
                    <a:gd name="connsiteY291" fmla="*/ 513800 h 548737"/>
                    <a:gd name="connsiteX292" fmla="*/ 160664 w 646102"/>
                    <a:gd name="connsiteY292" fmla="*/ 508788 h 548737"/>
                    <a:gd name="connsiteX293" fmla="*/ 160631 w 646102"/>
                    <a:gd name="connsiteY293" fmla="*/ 507631 h 548737"/>
                    <a:gd name="connsiteX294" fmla="*/ 160118 w 646102"/>
                    <a:gd name="connsiteY294" fmla="*/ 506098 h 548737"/>
                    <a:gd name="connsiteX295" fmla="*/ 154315 w 646102"/>
                    <a:gd name="connsiteY295" fmla="*/ 504566 h 548737"/>
                    <a:gd name="connsiteX296" fmla="*/ 153296 w 646102"/>
                    <a:gd name="connsiteY296" fmla="*/ 504623 h 548737"/>
                    <a:gd name="connsiteX297" fmla="*/ 151014 w 646102"/>
                    <a:gd name="connsiteY297" fmla="*/ 503727 h 548737"/>
                    <a:gd name="connsiteX298" fmla="*/ 149678 w 646102"/>
                    <a:gd name="connsiteY298" fmla="*/ 503474 h 548737"/>
                    <a:gd name="connsiteX299" fmla="*/ 146939 w 646102"/>
                    <a:gd name="connsiteY299" fmla="*/ 502961 h 548737"/>
                    <a:gd name="connsiteX300" fmla="*/ 144658 w 646102"/>
                    <a:gd name="connsiteY300" fmla="*/ 498511 h 548737"/>
                    <a:gd name="connsiteX301" fmla="*/ 142229 w 646102"/>
                    <a:gd name="connsiteY301" fmla="*/ 494827 h 548737"/>
                    <a:gd name="connsiteX302" fmla="*/ 141887 w 646102"/>
                    <a:gd name="connsiteY302" fmla="*/ 493271 h 548737"/>
                    <a:gd name="connsiteX303" fmla="*/ 141977 w 646102"/>
                    <a:gd name="connsiteY303" fmla="*/ 486352 h 548737"/>
                    <a:gd name="connsiteX304" fmla="*/ 141235 w 646102"/>
                    <a:gd name="connsiteY304" fmla="*/ 483263 h 548737"/>
                    <a:gd name="connsiteX305" fmla="*/ 140998 w 646102"/>
                    <a:gd name="connsiteY305" fmla="*/ 479897 h 548737"/>
                    <a:gd name="connsiteX306" fmla="*/ 139483 w 646102"/>
                    <a:gd name="connsiteY306" fmla="*/ 482635 h 548737"/>
                    <a:gd name="connsiteX307" fmla="*/ 140363 w 646102"/>
                    <a:gd name="connsiteY307" fmla="*/ 486963 h 548737"/>
                    <a:gd name="connsiteX308" fmla="*/ 138488 w 646102"/>
                    <a:gd name="connsiteY308" fmla="*/ 488772 h 548737"/>
                    <a:gd name="connsiteX309" fmla="*/ 136109 w 646102"/>
                    <a:gd name="connsiteY309" fmla="*/ 489652 h 548737"/>
                    <a:gd name="connsiteX310" fmla="*/ 136345 w 646102"/>
                    <a:gd name="connsiteY310" fmla="*/ 492179 h 548737"/>
                    <a:gd name="connsiteX311" fmla="*/ 137315 w 646102"/>
                    <a:gd name="connsiteY311" fmla="*/ 492659 h 548737"/>
                    <a:gd name="connsiteX312" fmla="*/ 137510 w 646102"/>
                    <a:gd name="connsiteY312" fmla="*/ 495284 h 548737"/>
                    <a:gd name="connsiteX313" fmla="*/ 136940 w 646102"/>
                    <a:gd name="connsiteY313" fmla="*/ 499163 h 548737"/>
                    <a:gd name="connsiteX314" fmla="*/ 132270 w 646102"/>
                    <a:gd name="connsiteY314" fmla="*/ 507777 h 548737"/>
                    <a:gd name="connsiteX315" fmla="*/ 131325 w 646102"/>
                    <a:gd name="connsiteY315" fmla="*/ 508698 h 548737"/>
                    <a:gd name="connsiteX316" fmla="*/ 130681 w 646102"/>
                    <a:gd name="connsiteY316" fmla="*/ 509864 h 548737"/>
                    <a:gd name="connsiteX317" fmla="*/ 128301 w 646102"/>
                    <a:gd name="connsiteY317" fmla="*/ 509089 h 548737"/>
                    <a:gd name="connsiteX318" fmla="*/ 125237 w 646102"/>
                    <a:gd name="connsiteY318" fmla="*/ 511494 h 548737"/>
                    <a:gd name="connsiteX319" fmla="*/ 122336 w 646102"/>
                    <a:gd name="connsiteY319" fmla="*/ 511868 h 548737"/>
                    <a:gd name="connsiteX320" fmla="*/ 121292 w 646102"/>
                    <a:gd name="connsiteY320" fmla="*/ 509163 h 548737"/>
                    <a:gd name="connsiteX321" fmla="*/ 117185 w 646102"/>
                    <a:gd name="connsiteY321" fmla="*/ 505577 h 548737"/>
                    <a:gd name="connsiteX322" fmla="*/ 115262 w 646102"/>
                    <a:gd name="connsiteY322" fmla="*/ 505781 h 548737"/>
                    <a:gd name="connsiteX323" fmla="*/ 116998 w 646102"/>
                    <a:gd name="connsiteY323" fmla="*/ 507541 h 548737"/>
                    <a:gd name="connsiteX324" fmla="*/ 118701 w 646102"/>
                    <a:gd name="connsiteY324" fmla="*/ 509847 h 548737"/>
                    <a:gd name="connsiteX325" fmla="*/ 117723 w 646102"/>
                    <a:gd name="connsiteY325" fmla="*/ 511371 h 548737"/>
                    <a:gd name="connsiteX326" fmla="*/ 116777 w 646102"/>
                    <a:gd name="connsiteY326" fmla="*/ 512366 h 548737"/>
                    <a:gd name="connsiteX327" fmla="*/ 115107 w 646102"/>
                    <a:gd name="connsiteY327" fmla="*/ 512879 h 548737"/>
                    <a:gd name="connsiteX328" fmla="*/ 109125 w 646102"/>
                    <a:gd name="connsiteY328" fmla="*/ 515886 h 548737"/>
                    <a:gd name="connsiteX329" fmla="*/ 111252 w 646102"/>
                    <a:gd name="connsiteY329" fmla="*/ 517907 h 548737"/>
                    <a:gd name="connsiteX330" fmla="*/ 109443 w 646102"/>
                    <a:gd name="connsiteY330" fmla="*/ 520197 h 548737"/>
                    <a:gd name="connsiteX331" fmla="*/ 107356 w 646102"/>
                    <a:gd name="connsiteY331" fmla="*/ 520532 h 548737"/>
                    <a:gd name="connsiteX332" fmla="*/ 106240 w 646102"/>
                    <a:gd name="connsiteY332" fmla="*/ 521599 h 548737"/>
                    <a:gd name="connsiteX333" fmla="*/ 105849 w 646102"/>
                    <a:gd name="connsiteY333" fmla="*/ 523058 h 548737"/>
                    <a:gd name="connsiteX334" fmla="*/ 99663 w 646102"/>
                    <a:gd name="connsiteY334" fmla="*/ 527190 h 548737"/>
                    <a:gd name="connsiteX335" fmla="*/ 89565 w 646102"/>
                    <a:gd name="connsiteY335" fmla="*/ 537785 h 548737"/>
                    <a:gd name="connsiteX336" fmla="*/ 84382 w 646102"/>
                    <a:gd name="connsiteY336" fmla="*/ 540767 h 548737"/>
                    <a:gd name="connsiteX337" fmla="*/ 80756 w 646102"/>
                    <a:gd name="connsiteY337" fmla="*/ 543864 h 548737"/>
                    <a:gd name="connsiteX338" fmla="*/ 77561 w 646102"/>
                    <a:gd name="connsiteY338" fmla="*/ 543791 h 548737"/>
                    <a:gd name="connsiteX339" fmla="*/ 73543 w 646102"/>
                    <a:gd name="connsiteY339" fmla="*/ 546431 h 548737"/>
                    <a:gd name="connsiteX340" fmla="*/ 63389 w 646102"/>
                    <a:gd name="connsiteY340" fmla="*/ 548738 h 548737"/>
                    <a:gd name="connsiteX341" fmla="*/ 56641 w 646102"/>
                    <a:gd name="connsiteY341" fmla="*/ 547695 h 548737"/>
                    <a:gd name="connsiteX342" fmla="*/ 51946 w 646102"/>
                    <a:gd name="connsiteY342" fmla="*/ 548616 h 548737"/>
                    <a:gd name="connsiteX343" fmla="*/ 49428 w 646102"/>
                    <a:gd name="connsiteY343" fmla="*/ 546806 h 548737"/>
                    <a:gd name="connsiteX344" fmla="*/ 49110 w 646102"/>
                    <a:gd name="connsiteY344" fmla="*/ 545559 h 548737"/>
                    <a:gd name="connsiteX345" fmla="*/ 49233 w 646102"/>
                    <a:gd name="connsiteY345" fmla="*/ 544834 h 548737"/>
                    <a:gd name="connsiteX346" fmla="*/ 49656 w 646102"/>
                    <a:gd name="connsiteY346" fmla="*/ 543962 h 548737"/>
                    <a:gd name="connsiteX347" fmla="*/ 48776 w 646102"/>
                    <a:gd name="connsiteY347" fmla="*/ 543652 h 548737"/>
                    <a:gd name="connsiteX348" fmla="*/ 46943 w 646102"/>
                    <a:gd name="connsiteY348" fmla="*/ 543506 h 548737"/>
                    <a:gd name="connsiteX349" fmla="*/ 46160 w 646102"/>
                    <a:gd name="connsiteY349" fmla="*/ 544386 h 548737"/>
                    <a:gd name="connsiteX350" fmla="*/ 46046 w 646102"/>
                    <a:gd name="connsiteY350" fmla="*/ 546366 h 548737"/>
                    <a:gd name="connsiteX351" fmla="*/ 45166 w 646102"/>
                    <a:gd name="connsiteY351" fmla="*/ 546888 h 548737"/>
                    <a:gd name="connsiteX352" fmla="*/ 41678 w 646102"/>
                    <a:gd name="connsiteY352" fmla="*/ 545755 h 548737"/>
                    <a:gd name="connsiteX353" fmla="*/ 40797 w 646102"/>
                    <a:gd name="connsiteY353" fmla="*/ 544720 h 548737"/>
                    <a:gd name="connsiteX354" fmla="*/ 42052 w 646102"/>
                    <a:gd name="connsiteY354" fmla="*/ 542650 h 548737"/>
                    <a:gd name="connsiteX355" fmla="*/ 44212 w 646102"/>
                    <a:gd name="connsiteY355" fmla="*/ 540784 h 548737"/>
                    <a:gd name="connsiteX356" fmla="*/ 43813 w 646102"/>
                    <a:gd name="connsiteY356" fmla="*/ 540401 h 548737"/>
                    <a:gd name="connsiteX357" fmla="*/ 43397 w 646102"/>
                    <a:gd name="connsiteY357" fmla="*/ 539268 h 548737"/>
                    <a:gd name="connsiteX358" fmla="*/ 42338 w 646102"/>
                    <a:gd name="connsiteY358" fmla="*/ 539121 h 548737"/>
                    <a:gd name="connsiteX359" fmla="*/ 39225 w 646102"/>
                    <a:gd name="connsiteY359" fmla="*/ 539390 h 548737"/>
                    <a:gd name="connsiteX360" fmla="*/ 36674 w 646102"/>
                    <a:gd name="connsiteY360" fmla="*/ 539064 h 548737"/>
                    <a:gd name="connsiteX361" fmla="*/ 28377 w 646102"/>
                    <a:gd name="connsiteY361" fmla="*/ 534859 h 548737"/>
                    <a:gd name="connsiteX362" fmla="*/ 26446 w 646102"/>
                    <a:gd name="connsiteY362" fmla="*/ 532609 h 548737"/>
                    <a:gd name="connsiteX363" fmla="*/ 19763 w 646102"/>
                    <a:gd name="connsiteY363" fmla="*/ 529015 h 548737"/>
                    <a:gd name="connsiteX364" fmla="*/ 16764 w 646102"/>
                    <a:gd name="connsiteY364" fmla="*/ 525201 h 548737"/>
                    <a:gd name="connsiteX365" fmla="*/ 15060 w 646102"/>
                    <a:gd name="connsiteY365" fmla="*/ 521029 h 548737"/>
                    <a:gd name="connsiteX366" fmla="*/ 15183 w 646102"/>
                    <a:gd name="connsiteY366" fmla="*/ 517239 h 548737"/>
                    <a:gd name="connsiteX367" fmla="*/ 16006 w 646102"/>
                    <a:gd name="connsiteY367" fmla="*/ 511208 h 548737"/>
                    <a:gd name="connsiteX368" fmla="*/ 17416 w 646102"/>
                    <a:gd name="connsiteY368" fmla="*/ 509725 h 548737"/>
                    <a:gd name="connsiteX369" fmla="*/ 23406 w 646102"/>
                    <a:gd name="connsiteY369" fmla="*/ 511836 h 548737"/>
                    <a:gd name="connsiteX370" fmla="*/ 29486 w 646102"/>
                    <a:gd name="connsiteY370" fmla="*/ 515357 h 548737"/>
                    <a:gd name="connsiteX371" fmla="*/ 30431 w 646102"/>
                    <a:gd name="connsiteY371" fmla="*/ 515185 h 548737"/>
                    <a:gd name="connsiteX372" fmla="*/ 32346 w 646102"/>
                    <a:gd name="connsiteY372" fmla="*/ 512414 h 548737"/>
                    <a:gd name="connsiteX373" fmla="*/ 36038 w 646102"/>
                    <a:gd name="connsiteY373" fmla="*/ 510198 h 548737"/>
                    <a:gd name="connsiteX374" fmla="*/ 34987 w 646102"/>
                    <a:gd name="connsiteY374" fmla="*/ 509586 h 548737"/>
                    <a:gd name="connsiteX375" fmla="*/ 29494 w 646102"/>
                    <a:gd name="connsiteY375" fmla="*/ 512129 h 548737"/>
                    <a:gd name="connsiteX376" fmla="*/ 27448 w 646102"/>
                    <a:gd name="connsiteY376" fmla="*/ 510711 h 548737"/>
                    <a:gd name="connsiteX377" fmla="*/ 24278 w 646102"/>
                    <a:gd name="connsiteY377" fmla="*/ 507842 h 548737"/>
                    <a:gd name="connsiteX378" fmla="*/ 24278 w 646102"/>
                    <a:gd name="connsiteY378" fmla="*/ 506359 h 548737"/>
                    <a:gd name="connsiteX379" fmla="*/ 25753 w 646102"/>
                    <a:gd name="connsiteY379" fmla="*/ 504876 h 548737"/>
                    <a:gd name="connsiteX380" fmla="*/ 26250 w 646102"/>
                    <a:gd name="connsiteY380" fmla="*/ 502871 h 548737"/>
                    <a:gd name="connsiteX381" fmla="*/ 25476 w 646102"/>
                    <a:gd name="connsiteY381" fmla="*/ 500980 h 548737"/>
                    <a:gd name="connsiteX382" fmla="*/ 25835 w 646102"/>
                    <a:gd name="connsiteY382" fmla="*/ 498389 h 548737"/>
                    <a:gd name="connsiteX383" fmla="*/ 28288 w 646102"/>
                    <a:gd name="connsiteY383" fmla="*/ 495659 h 548737"/>
                    <a:gd name="connsiteX384" fmla="*/ 31963 w 646102"/>
                    <a:gd name="connsiteY384" fmla="*/ 492879 h 548737"/>
                    <a:gd name="connsiteX385" fmla="*/ 34612 w 646102"/>
                    <a:gd name="connsiteY385" fmla="*/ 490198 h 548737"/>
                    <a:gd name="connsiteX386" fmla="*/ 37326 w 646102"/>
                    <a:gd name="connsiteY386" fmla="*/ 488552 h 548737"/>
                    <a:gd name="connsiteX387" fmla="*/ 37040 w 646102"/>
                    <a:gd name="connsiteY387" fmla="*/ 487998 h 548737"/>
                    <a:gd name="connsiteX388" fmla="*/ 33936 w 646102"/>
                    <a:gd name="connsiteY388" fmla="*/ 489057 h 548737"/>
                    <a:gd name="connsiteX389" fmla="*/ 30969 w 646102"/>
                    <a:gd name="connsiteY389" fmla="*/ 490834 h 548737"/>
                    <a:gd name="connsiteX390" fmla="*/ 27457 w 646102"/>
                    <a:gd name="connsiteY390" fmla="*/ 493817 h 548737"/>
                    <a:gd name="connsiteX391" fmla="*/ 23194 w 646102"/>
                    <a:gd name="connsiteY391" fmla="*/ 496237 h 548737"/>
                    <a:gd name="connsiteX392" fmla="*/ 20032 w 646102"/>
                    <a:gd name="connsiteY392" fmla="*/ 497174 h 548737"/>
                    <a:gd name="connsiteX393" fmla="*/ 18532 w 646102"/>
                    <a:gd name="connsiteY393" fmla="*/ 497949 h 548737"/>
                    <a:gd name="connsiteX394" fmla="*/ 16210 w 646102"/>
                    <a:gd name="connsiteY394" fmla="*/ 498707 h 548737"/>
                    <a:gd name="connsiteX395" fmla="*/ 13814 w 646102"/>
                    <a:gd name="connsiteY395" fmla="*/ 502170 h 548737"/>
                    <a:gd name="connsiteX396" fmla="*/ 11214 w 646102"/>
                    <a:gd name="connsiteY396" fmla="*/ 503645 h 548737"/>
                    <a:gd name="connsiteX397" fmla="*/ 6528 w 646102"/>
                    <a:gd name="connsiteY397" fmla="*/ 503800 h 548737"/>
                    <a:gd name="connsiteX398" fmla="*/ 5501 w 646102"/>
                    <a:gd name="connsiteY398" fmla="*/ 501274 h 548737"/>
                    <a:gd name="connsiteX399" fmla="*/ 6813 w 646102"/>
                    <a:gd name="connsiteY399" fmla="*/ 492260 h 548737"/>
                    <a:gd name="connsiteX400" fmla="*/ 8239 w 646102"/>
                    <a:gd name="connsiteY400" fmla="*/ 487867 h 548737"/>
                    <a:gd name="connsiteX401" fmla="*/ 9788 w 646102"/>
                    <a:gd name="connsiteY401" fmla="*/ 484754 h 548737"/>
                    <a:gd name="connsiteX402" fmla="*/ 12233 w 646102"/>
                    <a:gd name="connsiteY402" fmla="*/ 484224 h 548737"/>
                    <a:gd name="connsiteX403" fmla="*/ 13944 w 646102"/>
                    <a:gd name="connsiteY403" fmla="*/ 481951 h 548737"/>
                    <a:gd name="connsiteX404" fmla="*/ 15362 w 646102"/>
                    <a:gd name="connsiteY404" fmla="*/ 481951 h 548737"/>
                    <a:gd name="connsiteX405" fmla="*/ 16601 w 646102"/>
                    <a:gd name="connsiteY405" fmla="*/ 482994 h 548737"/>
                    <a:gd name="connsiteX406" fmla="*/ 21377 w 646102"/>
                    <a:gd name="connsiteY406" fmla="*/ 484021 h 548737"/>
                    <a:gd name="connsiteX407" fmla="*/ 23740 w 646102"/>
                    <a:gd name="connsiteY407" fmla="*/ 481119 h 548737"/>
                    <a:gd name="connsiteX408" fmla="*/ 26804 w 646102"/>
                    <a:gd name="connsiteY408" fmla="*/ 480696 h 548737"/>
                    <a:gd name="connsiteX409" fmla="*/ 32403 w 646102"/>
                    <a:gd name="connsiteY409" fmla="*/ 477754 h 548737"/>
                    <a:gd name="connsiteX410" fmla="*/ 32289 w 646102"/>
                    <a:gd name="connsiteY410" fmla="*/ 477224 h 548737"/>
                    <a:gd name="connsiteX411" fmla="*/ 28508 w 646102"/>
                    <a:gd name="connsiteY411" fmla="*/ 477868 h 548737"/>
                    <a:gd name="connsiteX412" fmla="*/ 26201 w 646102"/>
                    <a:gd name="connsiteY412" fmla="*/ 477957 h 548737"/>
                    <a:gd name="connsiteX413" fmla="*/ 22917 w 646102"/>
                    <a:gd name="connsiteY413" fmla="*/ 478699 h 548737"/>
                    <a:gd name="connsiteX414" fmla="*/ 21165 w 646102"/>
                    <a:gd name="connsiteY414" fmla="*/ 478177 h 548737"/>
                    <a:gd name="connsiteX415" fmla="*/ 20342 w 646102"/>
                    <a:gd name="connsiteY415" fmla="*/ 475977 h 548737"/>
                    <a:gd name="connsiteX416" fmla="*/ 21662 w 646102"/>
                    <a:gd name="connsiteY416" fmla="*/ 473997 h 548737"/>
                    <a:gd name="connsiteX417" fmla="*/ 26943 w 646102"/>
                    <a:gd name="connsiteY417" fmla="*/ 469254 h 548737"/>
                    <a:gd name="connsiteX418" fmla="*/ 28760 w 646102"/>
                    <a:gd name="connsiteY418" fmla="*/ 467175 h 548737"/>
                    <a:gd name="connsiteX419" fmla="*/ 29795 w 646102"/>
                    <a:gd name="connsiteY419" fmla="*/ 465228 h 548737"/>
                    <a:gd name="connsiteX420" fmla="*/ 29640 w 646102"/>
                    <a:gd name="connsiteY420" fmla="*/ 463915 h 548737"/>
                    <a:gd name="connsiteX421" fmla="*/ 30513 w 646102"/>
                    <a:gd name="connsiteY421" fmla="*/ 461177 h 548737"/>
                    <a:gd name="connsiteX422" fmla="*/ 35679 w 646102"/>
                    <a:gd name="connsiteY422" fmla="*/ 456393 h 548737"/>
                    <a:gd name="connsiteX423" fmla="*/ 39885 w 646102"/>
                    <a:gd name="connsiteY423" fmla="*/ 454209 h 548737"/>
                    <a:gd name="connsiteX424" fmla="*/ 41270 w 646102"/>
                    <a:gd name="connsiteY424" fmla="*/ 456092 h 548737"/>
                    <a:gd name="connsiteX425" fmla="*/ 40089 w 646102"/>
                    <a:gd name="connsiteY425" fmla="*/ 461976 h 548737"/>
                    <a:gd name="connsiteX426" fmla="*/ 40097 w 646102"/>
                    <a:gd name="connsiteY426" fmla="*/ 464404 h 548737"/>
                    <a:gd name="connsiteX427" fmla="*/ 43413 w 646102"/>
                    <a:gd name="connsiteY427" fmla="*/ 455831 h 548737"/>
                    <a:gd name="connsiteX428" fmla="*/ 44889 w 646102"/>
                    <a:gd name="connsiteY428" fmla="*/ 453785 h 548737"/>
                    <a:gd name="connsiteX429" fmla="*/ 46551 w 646102"/>
                    <a:gd name="connsiteY429" fmla="*/ 452343 h 548737"/>
                    <a:gd name="connsiteX430" fmla="*/ 50585 w 646102"/>
                    <a:gd name="connsiteY430" fmla="*/ 451381 h 548737"/>
                    <a:gd name="connsiteX431" fmla="*/ 51718 w 646102"/>
                    <a:gd name="connsiteY431" fmla="*/ 450020 h 548737"/>
                    <a:gd name="connsiteX432" fmla="*/ 47040 w 646102"/>
                    <a:gd name="connsiteY432" fmla="*/ 450468 h 548737"/>
                    <a:gd name="connsiteX433" fmla="*/ 35639 w 646102"/>
                    <a:gd name="connsiteY433" fmla="*/ 453745 h 548737"/>
                    <a:gd name="connsiteX434" fmla="*/ 30839 w 646102"/>
                    <a:gd name="connsiteY434" fmla="*/ 456670 h 548737"/>
                    <a:gd name="connsiteX435" fmla="*/ 29551 w 646102"/>
                    <a:gd name="connsiteY435" fmla="*/ 458911 h 548737"/>
                    <a:gd name="connsiteX436" fmla="*/ 26226 w 646102"/>
                    <a:gd name="connsiteY436" fmla="*/ 462294 h 548737"/>
                    <a:gd name="connsiteX437" fmla="*/ 24661 w 646102"/>
                    <a:gd name="connsiteY437" fmla="*/ 464494 h 548737"/>
                    <a:gd name="connsiteX438" fmla="*/ 23968 w 646102"/>
                    <a:gd name="connsiteY438" fmla="*/ 467713 h 548737"/>
                    <a:gd name="connsiteX439" fmla="*/ 22094 w 646102"/>
                    <a:gd name="connsiteY439" fmla="*/ 469465 h 548737"/>
                    <a:gd name="connsiteX440" fmla="*/ 19559 w 646102"/>
                    <a:gd name="connsiteY440" fmla="*/ 470109 h 548737"/>
                    <a:gd name="connsiteX441" fmla="*/ 16047 w 646102"/>
                    <a:gd name="connsiteY441" fmla="*/ 474184 h 548737"/>
                    <a:gd name="connsiteX442" fmla="*/ 14482 w 646102"/>
                    <a:gd name="connsiteY442" fmla="*/ 477468 h 548737"/>
                    <a:gd name="connsiteX443" fmla="*/ 11002 w 646102"/>
                    <a:gd name="connsiteY443" fmla="*/ 480076 h 548737"/>
                    <a:gd name="connsiteX444" fmla="*/ 8769 w 646102"/>
                    <a:gd name="connsiteY444" fmla="*/ 482081 h 548737"/>
                    <a:gd name="connsiteX445" fmla="*/ 8035 w 646102"/>
                    <a:gd name="connsiteY445" fmla="*/ 482790 h 548737"/>
                    <a:gd name="connsiteX446" fmla="*/ 6845 w 646102"/>
                    <a:gd name="connsiteY446" fmla="*/ 484762 h 548737"/>
                    <a:gd name="connsiteX447" fmla="*/ 5843 w 646102"/>
                    <a:gd name="connsiteY447" fmla="*/ 484909 h 548737"/>
                    <a:gd name="connsiteX448" fmla="*/ 4971 w 646102"/>
                    <a:gd name="connsiteY448" fmla="*/ 483752 h 548737"/>
                    <a:gd name="connsiteX449" fmla="*/ 4833 w 646102"/>
                    <a:gd name="connsiteY449" fmla="*/ 481209 h 548737"/>
                    <a:gd name="connsiteX450" fmla="*/ 5191 w 646102"/>
                    <a:gd name="connsiteY450" fmla="*/ 477142 h 548737"/>
                    <a:gd name="connsiteX451" fmla="*/ 6870 w 646102"/>
                    <a:gd name="connsiteY451" fmla="*/ 474225 h 548737"/>
                    <a:gd name="connsiteX452" fmla="*/ 7669 w 646102"/>
                    <a:gd name="connsiteY452" fmla="*/ 471356 h 548737"/>
                    <a:gd name="connsiteX453" fmla="*/ 6553 w 646102"/>
                    <a:gd name="connsiteY453" fmla="*/ 468691 h 548737"/>
                    <a:gd name="connsiteX454" fmla="*/ 7327 w 646102"/>
                    <a:gd name="connsiteY454" fmla="*/ 467004 h 548737"/>
                    <a:gd name="connsiteX455" fmla="*/ 8810 w 646102"/>
                    <a:gd name="connsiteY455" fmla="*/ 467053 h 548737"/>
                    <a:gd name="connsiteX456" fmla="*/ 11565 w 646102"/>
                    <a:gd name="connsiteY456" fmla="*/ 467827 h 548737"/>
                    <a:gd name="connsiteX457" fmla="*/ 14482 w 646102"/>
                    <a:gd name="connsiteY457" fmla="*/ 467705 h 548737"/>
                    <a:gd name="connsiteX458" fmla="*/ 19307 w 646102"/>
                    <a:gd name="connsiteY458" fmla="*/ 465594 h 548737"/>
                    <a:gd name="connsiteX459" fmla="*/ 18532 w 646102"/>
                    <a:gd name="connsiteY459" fmla="*/ 464355 h 548737"/>
                    <a:gd name="connsiteX460" fmla="*/ 16454 w 646102"/>
                    <a:gd name="connsiteY460" fmla="*/ 464184 h 548737"/>
                    <a:gd name="connsiteX461" fmla="*/ 12575 w 646102"/>
                    <a:gd name="connsiteY461" fmla="*/ 464355 h 548737"/>
                    <a:gd name="connsiteX462" fmla="*/ 9323 w 646102"/>
                    <a:gd name="connsiteY462" fmla="*/ 462285 h 548737"/>
                    <a:gd name="connsiteX463" fmla="*/ 6780 w 646102"/>
                    <a:gd name="connsiteY463" fmla="*/ 458186 h 548737"/>
                    <a:gd name="connsiteX464" fmla="*/ 5631 w 646102"/>
                    <a:gd name="connsiteY464" fmla="*/ 452685 h 548737"/>
                    <a:gd name="connsiteX465" fmla="*/ 6389 w 646102"/>
                    <a:gd name="connsiteY465" fmla="*/ 451112 h 548737"/>
                    <a:gd name="connsiteX466" fmla="*/ 15786 w 646102"/>
                    <a:gd name="connsiteY466" fmla="*/ 445497 h 548737"/>
                    <a:gd name="connsiteX467" fmla="*/ 18296 w 646102"/>
                    <a:gd name="connsiteY467" fmla="*/ 442946 h 548737"/>
                    <a:gd name="connsiteX468" fmla="*/ 16837 w 646102"/>
                    <a:gd name="connsiteY468" fmla="*/ 442702 h 548737"/>
                    <a:gd name="connsiteX469" fmla="*/ 13325 w 646102"/>
                    <a:gd name="connsiteY469" fmla="*/ 445790 h 548737"/>
                    <a:gd name="connsiteX470" fmla="*/ 8288 w 646102"/>
                    <a:gd name="connsiteY470" fmla="*/ 447706 h 548737"/>
                    <a:gd name="connsiteX471" fmla="*/ 5102 w 646102"/>
                    <a:gd name="connsiteY471" fmla="*/ 445041 h 548737"/>
                    <a:gd name="connsiteX472" fmla="*/ 3439 w 646102"/>
                    <a:gd name="connsiteY472" fmla="*/ 442164 h 548737"/>
                    <a:gd name="connsiteX473" fmla="*/ 2502 w 646102"/>
                    <a:gd name="connsiteY473" fmla="*/ 436092 h 548737"/>
                    <a:gd name="connsiteX474" fmla="*/ 2836 w 646102"/>
                    <a:gd name="connsiteY474" fmla="*/ 432963 h 548737"/>
                    <a:gd name="connsiteX475" fmla="*/ 2437 w 646102"/>
                    <a:gd name="connsiteY475" fmla="*/ 428847 h 548737"/>
                    <a:gd name="connsiteX476" fmla="*/ 4596 w 646102"/>
                    <a:gd name="connsiteY476" fmla="*/ 427511 h 548737"/>
                    <a:gd name="connsiteX477" fmla="*/ 7001 w 646102"/>
                    <a:gd name="connsiteY477" fmla="*/ 428220 h 548737"/>
                    <a:gd name="connsiteX478" fmla="*/ 9364 w 646102"/>
                    <a:gd name="connsiteY478" fmla="*/ 428489 h 548737"/>
                    <a:gd name="connsiteX479" fmla="*/ 14767 w 646102"/>
                    <a:gd name="connsiteY479" fmla="*/ 428130 h 548737"/>
                    <a:gd name="connsiteX480" fmla="*/ 26633 w 646102"/>
                    <a:gd name="connsiteY480" fmla="*/ 425652 h 548737"/>
                    <a:gd name="connsiteX481" fmla="*/ 34286 w 646102"/>
                    <a:gd name="connsiteY481" fmla="*/ 427127 h 548737"/>
                    <a:gd name="connsiteX482" fmla="*/ 37399 w 646102"/>
                    <a:gd name="connsiteY482" fmla="*/ 426989 h 548737"/>
                    <a:gd name="connsiteX483" fmla="*/ 42150 w 646102"/>
                    <a:gd name="connsiteY483" fmla="*/ 424862 h 548737"/>
                    <a:gd name="connsiteX484" fmla="*/ 46323 w 646102"/>
                    <a:gd name="connsiteY484" fmla="*/ 424642 h 548737"/>
                    <a:gd name="connsiteX485" fmla="*/ 49428 w 646102"/>
                    <a:gd name="connsiteY485" fmla="*/ 426272 h 548737"/>
                    <a:gd name="connsiteX486" fmla="*/ 51139 w 646102"/>
                    <a:gd name="connsiteY486" fmla="*/ 428138 h 548737"/>
                    <a:gd name="connsiteX487" fmla="*/ 51351 w 646102"/>
                    <a:gd name="connsiteY487" fmla="*/ 430624 h 548737"/>
                    <a:gd name="connsiteX488" fmla="*/ 52794 w 646102"/>
                    <a:gd name="connsiteY488" fmla="*/ 432286 h 548737"/>
                    <a:gd name="connsiteX489" fmla="*/ 53772 w 646102"/>
                    <a:gd name="connsiteY489" fmla="*/ 431748 h 548737"/>
                    <a:gd name="connsiteX490" fmla="*/ 52990 w 646102"/>
                    <a:gd name="connsiteY490" fmla="*/ 429776 h 548737"/>
                    <a:gd name="connsiteX491" fmla="*/ 52827 w 646102"/>
                    <a:gd name="connsiteY491" fmla="*/ 426712 h 548737"/>
                    <a:gd name="connsiteX492" fmla="*/ 65353 w 646102"/>
                    <a:gd name="connsiteY492" fmla="*/ 423240 h 548737"/>
                    <a:gd name="connsiteX493" fmla="*/ 66819 w 646102"/>
                    <a:gd name="connsiteY493" fmla="*/ 421887 h 548737"/>
                    <a:gd name="connsiteX494" fmla="*/ 61848 w 646102"/>
                    <a:gd name="connsiteY494" fmla="*/ 421423 h 548737"/>
                    <a:gd name="connsiteX495" fmla="*/ 60430 w 646102"/>
                    <a:gd name="connsiteY495" fmla="*/ 418252 h 548737"/>
                    <a:gd name="connsiteX496" fmla="*/ 63054 w 646102"/>
                    <a:gd name="connsiteY496" fmla="*/ 413452 h 548737"/>
                    <a:gd name="connsiteX497" fmla="*/ 62802 w 646102"/>
                    <a:gd name="connsiteY497" fmla="*/ 412825 h 548737"/>
                    <a:gd name="connsiteX498" fmla="*/ 60039 w 646102"/>
                    <a:gd name="connsiteY498" fmla="*/ 415359 h 548737"/>
                    <a:gd name="connsiteX499" fmla="*/ 58686 w 646102"/>
                    <a:gd name="connsiteY499" fmla="*/ 418921 h 548737"/>
                    <a:gd name="connsiteX500" fmla="*/ 59224 w 646102"/>
                    <a:gd name="connsiteY500" fmla="*/ 421765 h 548737"/>
                    <a:gd name="connsiteX501" fmla="*/ 58678 w 646102"/>
                    <a:gd name="connsiteY501" fmla="*/ 423085 h 548737"/>
                    <a:gd name="connsiteX502" fmla="*/ 56143 w 646102"/>
                    <a:gd name="connsiteY502" fmla="*/ 423696 h 548737"/>
                    <a:gd name="connsiteX503" fmla="*/ 50414 w 646102"/>
                    <a:gd name="connsiteY503" fmla="*/ 423908 h 548737"/>
                    <a:gd name="connsiteX504" fmla="*/ 46722 w 646102"/>
                    <a:gd name="connsiteY504" fmla="*/ 422702 h 548737"/>
                    <a:gd name="connsiteX505" fmla="*/ 43324 w 646102"/>
                    <a:gd name="connsiteY505" fmla="*/ 422050 h 548737"/>
                    <a:gd name="connsiteX506" fmla="*/ 42167 w 646102"/>
                    <a:gd name="connsiteY506" fmla="*/ 421137 h 548737"/>
                    <a:gd name="connsiteX507" fmla="*/ 42558 w 646102"/>
                    <a:gd name="connsiteY507" fmla="*/ 419108 h 548737"/>
                    <a:gd name="connsiteX508" fmla="*/ 41914 w 646102"/>
                    <a:gd name="connsiteY508" fmla="*/ 418692 h 548737"/>
                    <a:gd name="connsiteX509" fmla="*/ 40496 w 646102"/>
                    <a:gd name="connsiteY509" fmla="*/ 420518 h 548737"/>
                    <a:gd name="connsiteX510" fmla="*/ 39241 w 646102"/>
                    <a:gd name="connsiteY510" fmla="*/ 424153 h 548737"/>
                    <a:gd name="connsiteX511" fmla="*/ 36535 w 646102"/>
                    <a:gd name="connsiteY511" fmla="*/ 424984 h 548737"/>
                    <a:gd name="connsiteX512" fmla="*/ 29070 w 646102"/>
                    <a:gd name="connsiteY512" fmla="*/ 423639 h 548737"/>
                    <a:gd name="connsiteX513" fmla="*/ 18272 w 646102"/>
                    <a:gd name="connsiteY513" fmla="*/ 424430 h 548737"/>
                    <a:gd name="connsiteX514" fmla="*/ 13422 w 646102"/>
                    <a:gd name="connsiteY514" fmla="*/ 426264 h 548737"/>
                    <a:gd name="connsiteX515" fmla="*/ 10277 w 646102"/>
                    <a:gd name="connsiteY515" fmla="*/ 426027 h 548737"/>
                    <a:gd name="connsiteX516" fmla="*/ 4882 w 646102"/>
                    <a:gd name="connsiteY516" fmla="*/ 422824 h 548737"/>
                    <a:gd name="connsiteX517" fmla="*/ 2763 w 646102"/>
                    <a:gd name="connsiteY517" fmla="*/ 420274 h 548737"/>
                    <a:gd name="connsiteX518" fmla="*/ 1972 w 646102"/>
                    <a:gd name="connsiteY518" fmla="*/ 415131 h 548737"/>
                    <a:gd name="connsiteX519" fmla="*/ 2290 w 646102"/>
                    <a:gd name="connsiteY519" fmla="*/ 412865 h 548737"/>
                    <a:gd name="connsiteX520" fmla="*/ 6512 w 646102"/>
                    <a:gd name="connsiteY520" fmla="*/ 411920 h 548737"/>
                    <a:gd name="connsiteX521" fmla="*/ 8639 w 646102"/>
                    <a:gd name="connsiteY521" fmla="*/ 411985 h 548737"/>
                    <a:gd name="connsiteX522" fmla="*/ 10635 w 646102"/>
                    <a:gd name="connsiteY522" fmla="*/ 410763 h 548737"/>
                    <a:gd name="connsiteX523" fmla="*/ 8859 w 646102"/>
                    <a:gd name="connsiteY523" fmla="*/ 409972 h 548737"/>
                    <a:gd name="connsiteX524" fmla="*/ 6373 w 646102"/>
                    <a:gd name="connsiteY524" fmla="*/ 408416 h 548737"/>
                    <a:gd name="connsiteX525" fmla="*/ 4686 w 646102"/>
                    <a:gd name="connsiteY525" fmla="*/ 405294 h 548737"/>
                    <a:gd name="connsiteX526" fmla="*/ 2143 w 646102"/>
                    <a:gd name="connsiteY526" fmla="*/ 404284 h 548737"/>
                    <a:gd name="connsiteX527" fmla="*/ 432 w 646102"/>
                    <a:gd name="connsiteY527" fmla="*/ 401627 h 548737"/>
                    <a:gd name="connsiteX528" fmla="*/ 0 w 646102"/>
                    <a:gd name="connsiteY528" fmla="*/ 397609 h 548737"/>
                    <a:gd name="connsiteX529" fmla="*/ 497 w 646102"/>
                    <a:gd name="connsiteY529" fmla="*/ 394814 h 548737"/>
                    <a:gd name="connsiteX530" fmla="*/ 1866 w 646102"/>
                    <a:gd name="connsiteY530" fmla="*/ 393909 h 548737"/>
                    <a:gd name="connsiteX531" fmla="*/ 5126 w 646102"/>
                    <a:gd name="connsiteY531" fmla="*/ 394520 h 548737"/>
                    <a:gd name="connsiteX532" fmla="*/ 13773 w 646102"/>
                    <a:gd name="connsiteY532" fmla="*/ 394048 h 548737"/>
                    <a:gd name="connsiteX533" fmla="*/ 21914 w 646102"/>
                    <a:gd name="connsiteY533" fmla="*/ 396892 h 548737"/>
                    <a:gd name="connsiteX534" fmla="*/ 27424 w 646102"/>
                    <a:gd name="connsiteY534" fmla="*/ 398497 h 548737"/>
                    <a:gd name="connsiteX535" fmla="*/ 38605 w 646102"/>
                    <a:gd name="connsiteY535" fmla="*/ 397699 h 548737"/>
                    <a:gd name="connsiteX536" fmla="*/ 45149 w 646102"/>
                    <a:gd name="connsiteY536" fmla="*/ 395156 h 548737"/>
                    <a:gd name="connsiteX537" fmla="*/ 43952 w 646102"/>
                    <a:gd name="connsiteY537" fmla="*/ 394455 h 548737"/>
                    <a:gd name="connsiteX538" fmla="*/ 36845 w 646102"/>
                    <a:gd name="connsiteY538" fmla="*/ 395922 h 548737"/>
                    <a:gd name="connsiteX539" fmla="*/ 30284 w 646102"/>
                    <a:gd name="connsiteY539" fmla="*/ 395865 h 548737"/>
                    <a:gd name="connsiteX540" fmla="*/ 18712 w 646102"/>
                    <a:gd name="connsiteY540" fmla="*/ 392996 h 548737"/>
                    <a:gd name="connsiteX541" fmla="*/ 13961 w 646102"/>
                    <a:gd name="connsiteY541" fmla="*/ 392075 h 548737"/>
                    <a:gd name="connsiteX542" fmla="*/ 8842 w 646102"/>
                    <a:gd name="connsiteY542" fmla="*/ 392475 h 548737"/>
                    <a:gd name="connsiteX543" fmla="*/ 6185 w 646102"/>
                    <a:gd name="connsiteY543" fmla="*/ 391611 h 548737"/>
                    <a:gd name="connsiteX544" fmla="*/ 4621 w 646102"/>
                    <a:gd name="connsiteY544" fmla="*/ 388767 h 548737"/>
                    <a:gd name="connsiteX545" fmla="*/ 5770 w 646102"/>
                    <a:gd name="connsiteY545" fmla="*/ 383331 h 548737"/>
                    <a:gd name="connsiteX546" fmla="*/ 8198 w 646102"/>
                    <a:gd name="connsiteY546" fmla="*/ 382157 h 548737"/>
                    <a:gd name="connsiteX547" fmla="*/ 9511 w 646102"/>
                    <a:gd name="connsiteY547" fmla="*/ 383575 h 548737"/>
                    <a:gd name="connsiteX548" fmla="*/ 11091 w 646102"/>
                    <a:gd name="connsiteY548" fmla="*/ 383665 h 548737"/>
                    <a:gd name="connsiteX549" fmla="*/ 12706 w 646102"/>
                    <a:gd name="connsiteY549" fmla="*/ 381399 h 548737"/>
                    <a:gd name="connsiteX550" fmla="*/ 14238 w 646102"/>
                    <a:gd name="connsiteY550" fmla="*/ 380104 h 548737"/>
                    <a:gd name="connsiteX551" fmla="*/ 15460 w 646102"/>
                    <a:gd name="connsiteY551" fmla="*/ 377161 h 548737"/>
                    <a:gd name="connsiteX552" fmla="*/ 20040 w 646102"/>
                    <a:gd name="connsiteY552" fmla="*/ 374382 h 548737"/>
                    <a:gd name="connsiteX553" fmla="*/ 21972 w 646102"/>
                    <a:gd name="connsiteY553" fmla="*/ 374154 h 548737"/>
                    <a:gd name="connsiteX554" fmla="*/ 24751 w 646102"/>
                    <a:gd name="connsiteY554" fmla="*/ 372867 h 548737"/>
                    <a:gd name="connsiteX555" fmla="*/ 26535 w 646102"/>
                    <a:gd name="connsiteY555" fmla="*/ 373233 h 548737"/>
                    <a:gd name="connsiteX556" fmla="*/ 27669 w 646102"/>
                    <a:gd name="connsiteY556" fmla="*/ 374513 h 548737"/>
                    <a:gd name="connsiteX557" fmla="*/ 29103 w 646102"/>
                    <a:gd name="connsiteY557" fmla="*/ 375580 h 548737"/>
                    <a:gd name="connsiteX558" fmla="*/ 32207 w 646102"/>
                    <a:gd name="connsiteY558" fmla="*/ 375450 h 548737"/>
                    <a:gd name="connsiteX559" fmla="*/ 41417 w 646102"/>
                    <a:gd name="connsiteY559" fmla="*/ 373225 h 548737"/>
                    <a:gd name="connsiteX560" fmla="*/ 42403 w 646102"/>
                    <a:gd name="connsiteY560" fmla="*/ 372565 h 548737"/>
                    <a:gd name="connsiteX561" fmla="*/ 44204 w 646102"/>
                    <a:gd name="connsiteY561" fmla="*/ 370740 h 548737"/>
                    <a:gd name="connsiteX562" fmla="*/ 38369 w 646102"/>
                    <a:gd name="connsiteY562" fmla="*/ 371554 h 548737"/>
                    <a:gd name="connsiteX563" fmla="*/ 33512 w 646102"/>
                    <a:gd name="connsiteY563" fmla="*/ 372850 h 548737"/>
                    <a:gd name="connsiteX564" fmla="*/ 30415 w 646102"/>
                    <a:gd name="connsiteY564" fmla="*/ 373217 h 548737"/>
                    <a:gd name="connsiteX565" fmla="*/ 29975 w 646102"/>
                    <a:gd name="connsiteY565" fmla="*/ 371587 h 548737"/>
                    <a:gd name="connsiteX566" fmla="*/ 31108 w 646102"/>
                    <a:gd name="connsiteY566" fmla="*/ 370145 h 548737"/>
                    <a:gd name="connsiteX567" fmla="*/ 32917 w 646102"/>
                    <a:gd name="connsiteY567" fmla="*/ 368604 h 548737"/>
                    <a:gd name="connsiteX568" fmla="*/ 33805 w 646102"/>
                    <a:gd name="connsiteY568" fmla="*/ 365988 h 548737"/>
                    <a:gd name="connsiteX569" fmla="*/ 35785 w 646102"/>
                    <a:gd name="connsiteY569" fmla="*/ 364872 h 548737"/>
                    <a:gd name="connsiteX570" fmla="*/ 37929 w 646102"/>
                    <a:gd name="connsiteY570" fmla="*/ 364937 h 548737"/>
                    <a:gd name="connsiteX571" fmla="*/ 42362 w 646102"/>
                    <a:gd name="connsiteY571" fmla="*/ 364456 h 548737"/>
                    <a:gd name="connsiteX572" fmla="*/ 45500 w 646102"/>
                    <a:gd name="connsiteY572" fmla="*/ 363780 h 548737"/>
                    <a:gd name="connsiteX573" fmla="*/ 50862 w 646102"/>
                    <a:gd name="connsiteY573" fmla="*/ 364228 h 548737"/>
                    <a:gd name="connsiteX574" fmla="*/ 58874 w 646102"/>
                    <a:gd name="connsiteY574" fmla="*/ 365238 h 548737"/>
                    <a:gd name="connsiteX575" fmla="*/ 64032 w 646102"/>
                    <a:gd name="connsiteY575" fmla="*/ 367667 h 548737"/>
                    <a:gd name="connsiteX576" fmla="*/ 65972 w 646102"/>
                    <a:gd name="connsiteY576" fmla="*/ 367455 h 548737"/>
                    <a:gd name="connsiteX577" fmla="*/ 68034 w 646102"/>
                    <a:gd name="connsiteY577" fmla="*/ 366803 h 548737"/>
                    <a:gd name="connsiteX578" fmla="*/ 68963 w 646102"/>
                    <a:gd name="connsiteY578" fmla="*/ 365923 h 548737"/>
                    <a:gd name="connsiteX579" fmla="*/ 64912 w 646102"/>
                    <a:gd name="connsiteY579" fmla="*/ 364912 h 548737"/>
                    <a:gd name="connsiteX580" fmla="*/ 64685 w 646102"/>
                    <a:gd name="connsiteY580" fmla="*/ 363462 h 548737"/>
                    <a:gd name="connsiteX581" fmla="*/ 65181 w 646102"/>
                    <a:gd name="connsiteY581" fmla="*/ 362378 h 548737"/>
                    <a:gd name="connsiteX582" fmla="*/ 71791 w 646102"/>
                    <a:gd name="connsiteY582" fmla="*/ 360365 h 548737"/>
                    <a:gd name="connsiteX583" fmla="*/ 78995 w 646102"/>
                    <a:gd name="connsiteY583" fmla="*/ 359917 h 548737"/>
                    <a:gd name="connsiteX584" fmla="*/ 77765 w 646102"/>
                    <a:gd name="connsiteY584" fmla="*/ 358303 h 548737"/>
                    <a:gd name="connsiteX585" fmla="*/ 61962 w 646102"/>
                    <a:gd name="connsiteY585" fmla="*/ 360748 h 548737"/>
                    <a:gd name="connsiteX586" fmla="*/ 57839 w 646102"/>
                    <a:gd name="connsiteY586" fmla="*/ 359069 h 548737"/>
                    <a:gd name="connsiteX587" fmla="*/ 54578 w 646102"/>
                    <a:gd name="connsiteY587" fmla="*/ 359094 h 548737"/>
                    <a:gd name="connsiteX588" fmla="*/ 52451 w 646102"/>
                    <a:gd name="connsiteY588" fmla="*/ 360047 h 548737"/>
                    <a:gd name="connsiteX589" fmla="*/ 46380 w 646102"/>
                    <a:gd name="connsiteY589" fmla="*/ 361196 h 548737"/>
                    <a:gd name="connsiteX590" fmla="*/ 45255 w 646102"/>
                    <a:gd name="connsiteY590" fmla="*/ 360373 h 548737"/>
                    <a:gd name="connsiteX591" fmla="*/ 46404 w 646102"/>
                    <a:gd name="connsiteY591" fmla="*/ 357545 h 548737"/>
                    <a:gd name="connsiteX592" fmla="*/ 50047 w 646102"/>
                    <a:gd name="connsiteY592" fmla="*/ 352892 h 548737"/>
                    <a:gd name="connsiteX593" fmla="*/ 50357 w 646102"/>
                    <a:gd name="connsiteY593" fmla="*/ 351751 h 548737"/>
                    <a:gd name="connsiteX594" fmla="*/ 52044 w 646102"/>
                    <a:gd name="connsiteY594" fmla="*/ 350626 h 548737"/>
                    <a:gd name="connsiteX595" fmla="*/ 61482 w 646102"/>
                    <a:gd name="connsiteY595" fmla="*/ 347928 h 548737"/>
                    <a:gd name="connsiteX596" fmla="*/ 66021 w 646102"/>
                    <a:gd name="connsiteY596" fmla="*/ 344791 h 548737"/>
                    <a:gd name="connsiteX597" fmla="*/ 68059 w 646102"/>
                    <a:gd name="connsiteY597" fmla="*/ 344391 h 548737"/>
                    <a:gd name="connsiteX598" fmla="*/ 70088 w 646102"/>
                    <a:gd name="connsiteY598" fmla="*/ 344611 h 548737"/>
                    <a:gd name="connsiteX599" fmla="*/ 73176 w 646102"/>
                    <a:gd name="connsiteY599" fmla="*/ 344245 h 548737"/>
                    <a:gd name="connsiteX600" fmla="*/ 79134 w 646102"/>
                    <a:gd name="connsiteY600" fmla="*/ 345133 h 548737"/>
                    <a:gd name="connsiteX601" fmla="*/ 81872 w 646102"/>
                    <a:gd name="connsiteY601" fmla="*/ 349077 h 548737"/>
                    <a:gd name="connsiteX602" fmla="*/ 84333 w 646102"/>
                    <a:gd name="connsiteY602" fmla="*/ 350308 h 548737"/>
                    <a:gd name="connsiteX603" fmla="*/ 92092 w 646102"/>
                    <a:gd name="connsiteY603" fmla="*/ 355214 h 548737"/>
                    <a:gd name="connsiteX604" fmla="*/ 91742 w 646102"/>
                    <a:gd name="connsiteY604" fmla="*/ 353804 h 548737"/>
                    <a:gd name="connsiteX605" fmla="*/ 85034 w 646102"/>
                    <a:gd name="connsiteY605" fmla="*/ 347154 h 548737"/>
                    <a:gd name="connsiteX606" fmla="*/ 82459 w 646102"/>
                    <a:gd name="connsiteY606" fmla="*/ 345500 h 548737"/>
                    <a:gd name="connsiteX607" fmla="*/ 80552 w 646102"/>
                    <a:gd name="connsiteY607" fmla="*/ 342232 h 548737"/>
                    <a:gd name="connsiteX608" fmla="*/ 81212 w 646102"/>
                    <a:gd name="connsiteY608" fmla="*/ 339143 h 548737"/>
                    <a:gd name="connsiteX609" fmla="*/ 83372 w 646102"/>
                    <a:gd name="connsiteY609" fmla="*/ 337073 h 548737"/>
                    <a:gd name="connsiteX610" fmla="*/ 91032 w 646102"/>
                    <a:gd name="connsiteY610" fmla="*/ 335965 h 548737"/>
                    <a:gd name="connsiteX611" fmla="*/ 92393 w 646102"/>
                    <a:gd name="connsiteY611" fmla="*/ 334775 h 548737"/>
                    <a:gd name="connsiteX612" fmla="*/ 92540 w 646102"/>
                    <a:gd name="connsiteY612" fmla="*/ 332713 h 548737"/>
                    <a:gd name="connsiteX613" fmla="*/ 91358 w 646102"/>
                    <a:gd name="connsiteY613" fmla="*/ 331303 h 548737"/>
                    <a:gd name="connsiteX614" fmla="*/ 88539 w 646102"/>
                    <a:gd name="connsiteY614" fmla="*/ 331376 h 548737"/>
                    <a:gd name="connsiteX615" fmla="*/ 86216 w 646102"/>
                    <a:gd name="connsiteY615" fmla="*/ 330512 h 548737"/>
                    <a:gd name="connsiteX616" fmla="*/ 85580 w 646102"/>
                    <a:gd name="connsiteY616" fmla="*/ 328296 h 548737"/>
                    <a:gd name="connsiteX617" fmla="*/ 86509 w 646102"/>
                    <a:gd name="connsiteY617" fmla="*/ 326788 h 548737"/>
                    <a:gd name="connsiteX618" fmla="*/ 90918 w 646102"/>
                    <a:gd name="connsiteY618" fmla="*/ 324058 h 548737"/>
                    <a:gd name="connsiteX619" fmla="*/ 93347 w 646102"/>
                    <a:gd name="connsiteY619" fmla="*/ 323161 h 548737"/>
                    <a:gd name="connsiteX620" fmla="*/ 97520 w 646102"/>
                    <a:gd name="connsiteY620" fmla="*/ 322200 h 548737"/>
                    <a:gd name="connsiteX621" fmla="*/ 104797 w 646102"/>
                    <a:gd name="connsiteY621" fmla="*/ 324359 h 548737"/>
                    <a:gd name="connsiteX622" fmla="*/ 105360 w 646102"/>
                    <a:gd name="connsiteY622" fmla="*/ 325500 h 548737"/>
                    <a:gd name="connsiteX623" fmla="*/ 103314 w 646102"/>
                    <a:gd name="connsiteY623" fmla="*/ 328222 h 548737"/>
                    <a:gd name="connsiteX624" fmla="*/ 103518 w 646102"/>
                    <a:gd name="connsiteY624" fmla="*/ 329755 h 548737"/>
                    <a:gd name="connsiteX625" fmla="*/ 105311 w 646102"/>
                    <a:gd name="connsiteY625" fmla="*/ 329926 h 548737"/>
                    <a:gd name="connsiteX626" fmla="*/ 109459 w 646102"/>
                    <a:gd name="connsiteY626" fmla="*/ 325329 h 548737"/>
                    <a:gd name="connsiteX627" fmla="*/ 114349 w 646102"/>
                    <a:gd name="connsiteY627" fmla="*/ 324694 h 548737"/>
                    <a:gd name="connsiteX628" fmla="*/ 116370 w 646102"/>
                    <a:gd name="connsiteY628" fmla="*/ 323707 h 548737"/>
                    <a:gd name="connsiteX629" fmla="*/ 118717 w 646102"/>
                    <a:gd name="connsiteY629" fmla="*/ 323080 h 548737"/>
                    <a:gd name="connsiteX630" fmla="*/ 122083 w 646102"/>
                    <a:gd name="connsiteY630" fmla="*/ 327236 h 548737"/>
                    <a:gd name="connsiteX631" fmla="*/ 123550 w 646102"/>
                    <a:gd name="connsiteY631" fmla="*/ 328573 h 548737"/>
                    <a:gd name="connsiteX632" fmla="*/ 124650 w 646102"/>
                    <a:gd name="connsiteY632" fmla="*/ 329119 h 548737"/>
                    <a:gd name="connsiteX633" fmla="*/ 125726 w 646102"/>
                    <a:gd name="connsiteY633" fmla="*/ 332574 h 548737"/>
                    <a:gd name="connsiteX634" fmla="*/ 126769 w 646102"/>
                    <a:gd name="connsiteY634" fmla="*/ 332762 h 548737"/>
                    <a:gd name="connsiteX635" fmla="*/ 128236 w 646102"/>
                    <a:gd name="connsiteY635" fmla="*/ 331034 h 548737"/>
                    <a:gd name="connsiteX636" fmla="*/ 130909 w 646102"/>
                    <a:gd name="connsiteY636" fmla="*/ 330113 h 548737"/>
                    <a:gd name="connsiteX637" fmla="*/ 134674 w 646102"/>
                    <a:gd name="connsiteY637" fmla="*/ 329518 h 548737"/>
                    <a:gd name="connsiteX638" fmla="*/ 140892 w 646102"/>
                    <a:gd name="connsiteY638" fmla="*/ 330431 h 548737"/>
                    <a:gd name="connsiteX639" fmla="*/ 143712 w 646102"/>
                    <a:gd name="connsiteY639" fmla="*/ 329755 h 548737"/>
                    <a:gd name="connsiteX640" fmla="*/ 145098 w 646102"/>
                    <a:gd name="connsiteY640" fmla="*/ 329852 h 548737"/>
                    <a:gd name="connsiteX641" fmla="*/ 143769 w 646102"/>
                    <a:gd name="connsiteY641" fmla="*/ 326739 h 548737"/>
                    <a:gd name="connsiteX642" fmla="*/ 142946 w 646102"/>
                    <a:gd name="connsiteY642" fmla="*/ 325843 h 548737"/>
                    <a:gd name="connsiteX643" fmla="*/ 144226 w 646102"/>
                    <a:gd name="connsiteY643" fmla="*/ 323064 h 548737"/>
                    <a:gd name="connsiteX644" fmla="*/ 145554 w 646102"/>
                    <a:gd name="connsiteY644" fmla="*/ 321980 h 548737"/>
                    <a:gd name="connsiteX645" fmla="*/ 149865 w 646102"/>
                    <a:gd name="connsiteY645" fmla="*/ 320032 h 548737"/>
                    <a:gd name="connsiteX646" fmla="*/ 153964 w 646102"/>
                    <a:gd name="connsiteY646" fmla="*/ 319160 h 548737"/>
                    <a:gd name="connsiteX647" fmla="*/ 156638 w 646102"/>
                    <a:gd name="connsiteY647" fmla="*/ 317302 h 548737"/>
                    <a:gd name="connsiteX648" fmla="*/ 160232 w 646102"/>
                    <a:gd name="connsiteY648" fmla="*/ 315607 h 548737"/>
                    <a:gd name="connsiteX649" fmla="*/ 159678 w 646102"/>
                    <a:gd name="connsiteY649" fmla="*/ 314229 h 548737"/>
                    <a:gd name="connsiteX650" fmla="*/ 158675 w 646102"/>
                    <a:gd name="connsiteY650" fmla="*/ 312656 h 548737"/>
                    <a:gd name="connsiteX651" fmla="*/ 156353 w 646102"/>
                    <a:gd name="connsiteY651" fmla="*/ 312559 h 548737"/>
                    <a:gd name="connsiteX652" fmla="*/ 155383 w 646102"/>
                    <a:gd name="connsiteY652" fmla="*/ 311687 h 548737"/>
                    <a:gd name="connsiteX653" fmla="*/ 158349 w 646102"/>
                    <a:gd name="connsiteY653" fmla="*/ 309649 h 548737"/>
                    <a:gd name="connsiteX654" fmla="*/ 162391 w 646102"/>
                    <a:gd name="connsiteY654" fmla="*/ 307367 h 548737"/>
                    <a:gd name="connsiteX655" fmla="*/ 161682 w 646102"/>
                    <a:gd name="connsiteY655" fmla="*/ 306463 h 548737"/>
                    <a:gd name="connsiteX656" fmla="*/ 158651 w 646102"/>
                    <a:gd name="connsiteY656" fmla="*/ 305444 h 548737"/>
                    <a:gd name="connsiteX657" fmla="*/ 156345 w 646102"/>
                    <a:gd name="connsiteY657" fmla="*/ 306218 h 548737"/>
                    <a:gd name="connsiteX658" fmla="*/ 152905 w 646102"/>
                    <a:gd name="connsiteY658" fmla="*/ 307978 h 548737"/>
                    <a:gd name="connsiteX659" fmla="*/ 148920 w 646102"/>
                    <a:gd name="connsiteY659" fmla="*/ 310774 h 548737"/>
                    <a:gd name="connsiteX660" fmla="*/ 150224 w 646102"/>
                    <a:gd name="connsiteY660" fmla="*/ 311581 h 548737"/>
                    <a:gd name="connsiteX661" fmla="*/ 152213 w 646102"/>
                    <a:gd name="connsiteY661" fmla="*/ 313920 h 548737"/>
                    <a:gd name="connsiteX662" fmla="*/ 149425 w 646102"/>
                    <a:gd name="connsiteY662" fmla="*/ 317041 h 548737"/>
                    <a:gd name="connsiteX663" fmla="*/ 134658 w 646102"/>
                    <a:gd name="connsiteY663" fmla="*/ 325297 h 548737"/>
                    <a:gd name="connsiteX664" fmla="*/ 127600 w 646102"/>
                    <a:gd name="connsiteY664" fmla="*/ 327717 h 548737"/>
                    <a:gd name="connsiteX665" fmla="*/ 124357 w 646102"/>
                    <a:gd name="connsiteY665" fmla="*/ 327342 h 548737"/>
                    <a:gd name="connsiteX666" fmla="*/ 123583 w 646102"/>
                    <a:gd name="connsiteY666" fmla="*/ 325085 h 548737"/>
                    <a:gd name="connsiteX667" fmla="*/ 122083 w 646102"/>
                    <a:gd name="connsiteY667" fmla="*/ 323414 h 548737"/>
                    <a:gd name="connsiteX668" fmla="*/ 120469 w 646102"/>
                    <a:gd name="connsiteY668" fmla="*/ 319975 h 548737"/>
                    <a:gd name="connsiteX669" fmla="*/ 117731 w 646102"/>
                    <a:gd name="connsiteY669" fmla="*/ 320064 h 548737"/>
                    <a:gd name="connsiteX670" fmla="*/ 116182 w 646102"/>
                    <a:gd name="connsiteY670" fmla="*/ 320831 h 548737"/>
                    <a:gd name="connsiteX671" fmla="*/ 115514 w 646102"/>
                    <a:gd name="connsiteY671" fmla="*/ 319698 h 548737"/>
                    <a:gd name="connsiteX672" fmla="*/ 116680 w 646102"/>
                    <a:gd name="connsiteY672" fmla="*/ 316014 h 548737"/>
                    <a:gd name="connsiteX673" fmla="*/ 118994 w 646102"/>
                    <a:gd name="connsiteY673" fmla="*/ 313105 h 548737"/>
                    <a:gd name="connsiteX674" fmla="*/ 122873 w 646102"/>
                    <a:gd name="connsiteY674" fmla="*/ 310904 h 548737"/>
                    <a:gd name="connsiteX675" fmla="*/ 124740 w 646102"/>
                    <a:gd name="connsiteY675" fmla="*/ 308247 h 548737"/>
                    <a:gd name="connsiteX676" fmla="*/ 126484 w 646102"/>
                    <a:gd name="connsiteY676" fmla="*/ 304018 h 548737"/>
                    <a:gd name="connsiteX677" fmla="*/ 132099 w 646102"/>
                    <a:gd name="connsiteY677" fmla="*/ 300000 h 548737"/>
                    <a:gd name="connsiteX678" fmla="*/ 140265 w 646102"/>
                    <a:gd name="connsiteY678" fmla="*/ 290033 h 548737"/>
                    <a:gd name="connsiteX679" fmla="*/ 146924 w 646102"/>
                    <a:gd name="connsiteY679" fmla="*/ 286846 h 548737"/>
                    <a:gd name="connsiteX680" fmla="*/ 149368 w 646102"/>
                    <a:gd name="connsiteY680" fmla="*/ 283358 h 548737"/>
                    <a:gd name="connsiteX681" fmla="*/ 153280 w 646102"/>
                    <a:gd name="connsiteY681" fmla="*/ 281818 h 548737"/>
                    <a:gd name="connsiteX682" fmla="*/ 156630 w 646102"/>
                    <a:gd name="connsiteY682" fmla="*/ 279096 h 548737"/>
                    <a:gd name="connsiteX683" fmla="*/ 159254 w 646102"/>
                    <a:gd name="connsiteY683" fmla="*/ 278819 h 548737"/>
                    <a:gd name="connsiteX684" fmla="*/ 164038 w 646102"/>
                    <a:gd name="connsiteY684" fmla="*/ 276374 h 548737"/>
                    <a:gd name="connsiteX685" fmla="*/ 166735 w 646102"/>
                    <a:gd name="connsiteY685" fmla="*/ 273448 h 548737"/>
                    <a:gd name="connsiteX686" fmla="*/ 164975 w 646102"/>
                    <a:gd name="connsiteY686" fmla="*/ 273269 h 548737"/>
                    <a:gd name="connsiteX687" fmla="*/ 160778 w 646102"/>
                    <a:gd name="connsiteY687" fmla="*/ 275176 h 548737"/>
                    <a:gd name="connsiteX688" fmla="*/ 158398 w 646102"/>
                    <a:gd name="connsiteY688" fmla="*/ 275934 h 548737"/>
                    <a:gd name="connsiteX689" fmla="*/ 158561 w 646102"/>
                    <a:gd name="connsiteY689" fmla="*/ 272804 h 548737"/>
                    <a:gd name="connsiteX690" fmla="*/ 159718 w 646102"/>
                    <a:gd name="connsiteY690" fmla="*/ 269585 h 548737"/>
                    <a:gd name="connsiteX691" fmla="*/ 163182 w 646102"/>
                    <a:gd name="connsiteY691" fmla="*/ 266651 h 548737"/>
                    <a:gd name="connsiteX692" fmla="*/ 179807 w 646102"/>
                    <a:gd name="connsiteY692" fmla="*/ 258094 h 548737"/>
                    <a:gd name="connsiteX693" fmla="*/ 181470 w 646102"/>
                    <a:gd name="connsiteY693" fmla="*/ 259504 h 548737"/>
                    <a:gd name="connsiteX694" fmla="*/ 183442 w 646102"/>
                    <a:gd name="connsiteY694" fmla="*/ 262014 h 548737"/>
                    <a:gd name="connsiteX695" fmla="*/ 188454 w 646102"/>
                    <a:gd name="connsiteY695" fmla="*/ 261443 h 548737"/>
                    <a:gd name="connsiteX696" fmla="*/ 194151 w 646102"/>
                    <a:gd name="connsiteY696" fmla="*/ 256594 h 548737"/>
                    <a:gd name="connsiteX697" fmla="*/ 198544 w 646102"/>
                    <a:gd name="connsiteY697" fmla="*/ 251321 h 548737"/>
                    <a:gd name="connsiteX698" fmla="*/ 196180 w 646102"/>
                    <a:gd name="connsiteY698" fmla="*/ 252242 h 548737"/>
                    <a:gd name="connsiteX699" fmla="*/ 193581 w 646102"/>
                    <a:gd name="connsiteY699" fmla="*/ 254402 h 548737"/>
                    <a:gd name="connsiteX700" fmla="*/ 188536 w 646102"/>
                    <a:gd name="connsiteY700" fmla="*/ 257393 h 548737"/>
                    <a:gd name="connsiteX701" fmla="*/ 186205 w 646102"/>
                    <a:gd name="connsiteY701" fmla="*/ 257874 h 548737"/>
                    <a:gd name="connsiteX702" fmla="*/ 184869 w 646102"/>
                    <a:gd name="connsiteY702" fmla="*/ 257483 h 548737"/>
                    <a:gd name="connsiteX703" fmla="*/ 184127 w 646102"/>
                    <a:gd name="connsiteY703" fmla="*/ 255486 h 548737"/>
                    <a:gd name="connsiteX704" fmla="*/ 182375 w 646102"/>
                    <a:gd name="connsiteY704" fmla="*/ 254834 h 548737"/>
                    <a:gd name="connsiteX705" fmla="*/ 180802 w 646102"/>
                    <a:gd name="connsiteY705" fmla="*/ 255282 h 548737"/>
                    <a:gd name="connsiteX706" fmla="*/ 179164 w 646102"/>
                    <a:gd name="connsiteY706" fmla="*/ 253864 h 548737"/>
                    <a:gd name="connsiteX707" fmla="*/ 178870 w 646102"/>
                    <a:gd name="connsiteY707" fmla="*/ 250343 h 548737"/>
                    <a:gd name="connsiteX708" fmla="*/ 180957 w 646102"/>
                    <a:gd name="connsiteY708" fmla="*/ 245111 h 548737"/>
                    <a:gd name="connsiteX709" fmla="*/ 182603 w 646102"/>
                    <a:gd name="connsiteY709" fmla="*/ 241631 h 548737"/>
                    <a:gd name="connsiteX710" fmla="*/ 184396 w 646102"/>
                    <a:gd name="connsiteY710" fmla="*/ 239015 h 548737"/>
                    <a:gd name="connsiteX711" fmla="*/ 191413 w 646102"/>
                    <a:gd name="connsiteY711" fmla="*/ 231542 h 548737"/>
                    <a:gd name="connsiteX712" fmla="*/ 192928 w 646102"/>
                    <a:gd name="connsiteY712" fmla="*/ 227459 h 548737"/>
                    <a:gd name="connsiteX713" fmla="*/ 196107 w 646102"/>
                    <a:gd name="connsiteY713" fmla="*/ 225299 h 548737"/>
                    <a:gd name="connsiteX714" fmla="*/ 200223 w 646102"/>
                    <a:gd name="connsiteY714" fmla="*/ 225788 h 548737"/>
                    <a:gd name="connsiteX715" fmla="*/ 201470 w 646102"/>
                    <a:gd name="connsiteY715" fmla="*/ 225161 h 548737"/>
                    <a:gd name="connsiteX716" fmla="*/ 200044 w 646102"/>
                    <a:gd name="connsiteY716" fmla="*/ 222488 h 548737"/>
                    <a:gd name="connsiteX717" fmla="*/ 195561 w 646102"/>
                    <a:gd name="connsiteY717" fmla="*/ 220361 h 548737"/>
                    <a:gd name="connsiteX718" fmla="*/ 195284 w 646102"/>
                    <a:gd name="connsiteY718" fmla="*/ 219024 h 548737"/>
                    <a:gd name="connsiteX719" fmla="*/ 210247 w 646102"/>
                    <a:gd name="connsiteY719" fmla="*/ 215512 h 548737"/>
                    <a:gd name="connsiteX720" fmla="*/ 217378 w 646102"/>
                    <a:gd name="connsiteY720" fmla="*/ 215634 h 548737"/>
                    <a:gd name="connsiteX721" fmla="*/ 219489 w 646102"/>
                    <a:gd name="connsiteY721" fmla="*/ 213882 h 548737"/>
                    <a:gd name="connsiteX722" fmla="*/ 223352 w 646102"/>
                    <a:gd name="connsiteY722" fmla="*/ 212757 h 548737"/>
                    <a:gd name="connsiteX723" fmla="*/ 226302 w 646102"/>
                    <a:gd name="connsiteY723" fmla="*/ 210614 h 548737"/>
                    <a:gd name="connsiteX724" fmla="*/ 224778 w 646102"/>
                    <a:gd name="connsiteY724" fmla="*/ 209668 h 548737"/>
                    <a:gd name="connsiteX725" fmla="*/ 217541 w 646102"/>
                    <a:gd name="connsiteY725" fmla="*/ 211640 h 548737"/>
                    <a:gd name="connsiteX726" fmla="*/ 213018 w 646102"/>
                    <a:gd name="connsiteY726" fmla="*/ 212561 h 548737"/>
                    <a:gd name="connsiteX727" fmla="*/ 210972 w 646102"/>
                    <a:gd name="connsiteY727" fmla="*/ 212537 h 548737"/>
                    <a:gd name="connsiteX728" fmla="*/ 209375 w 646102"/>
                    <a:gd name="connsiteY728" fmla="*/ 213213 h 548737"/>
                    <a:gd name="connsiteX729" fmla="*/ 203597 w 646102"/>
                    <a:gd name="connsiteY729" fmla="*/ 213474 h 548737"/>
                    <a:gd name="connsiteX730" fmla="*/ 202342 w 646102"/>
                    <a:gd name="connsiteY730" fmla="*/ 204917 h 548737"/>
                    <a:gd name="connsiteX731" fmla="*/ 203238 w 646102"/>
                    <a:gd name="connsiteY731" fmla="*/ 200272 h 548737"/>
                    <a:gd name="connsiteX732" fmla="*/ 205389 w 646102"/>
                    <a:gd name="connsiteY732" fmla="*/ 200369 h 548737"/>
                    <a:gd name="connsiteX733" fmla="*/ 205887 w 646102"/>
                    <a:gd name="connsiteY733" fmla="*/ 195928 h 548737"/>
                    <a:gd name="connsiteX734" fmla="*/ 208372 w 646102"/>
                    <a:gd name="connsiteY734" fmla="*/ 193312 h 548737"/>
                    <a:gd name="connsiteX735" fmla="*/ 211811 w 646102"/>
                    <a:gd name="connsiteY735" fmla="*/ 192717 h 548737"/>
                    <a:gd name="connsiteX736" fmla="*/ 213547 w 646102"/>
                    <a:gd name="connsiteY736" fmla="*/ 191600 h 548737"/>
                    <a:gd name="connsiteX737" fmla="*/ 216049 w 646102"/>
                    <a:gd name="connsiteY737" fmla="*/ 189310 h 548737"/>
                    <a:gd name="connsiteX738" fmla="*/ 220197 w 646102"/>
                    <a:gd name="connsiteY738" fmla="*/ 189848 h 548737"/>
                    <a:gd name="connsiteX739" fmla="*/ 224443 w 646102"/>
                    <a:gd name="connsiteY739" fmla="*/ 189335 h 548737"/>
                    <a:gd name="connsiteX740" fmla="*/ 223384 w 646102"/>
                    <a:gd name="connsiteY740" fmla="*/ 188259 h 548737"/>
                    <a:gd name="connsiteX741" fmla="*/ 218111 w 646102"/>
                    <a:gd name="connsiteY741" fmla="*/ 186882 h 548737"/>
                    <a:gd name="connsiteX742" fmla="*/ 216807 w 646102"/>
                    <a:gd name="connsiteY742" fmla="*/ 184485 h 548737"/>
                    <a:gd name="connsiteX743" fmla="*/ 218665 w 646102"/>
                    <a:gd name="connsiteY743" fmla="*/ 183157 h 548737"/>
                    <a:gd name="connsiteX744" fmla="*/ 220695 w 646102"/>
                    <a:gd name="connsiteY744" fmla="*/ 182179 h 548737"/>
                    <a:gd name="connsiteX745" fmla="*/ 222480 w 646102"/>
                    <a:gd name="connsiteY745" fmla="*/ 182000 h 548737"/>
                    <a:gd name="connsiteX746" fmla="*/ 226008 w 646102"/>
                    <a:gd name="connsiteY746" fmla="*/ 177338 h 548737"/>
                    <a:gd name="connsiteX747" fmla="*/ 228144 w 646102"/>
                    <a:gd name="connsiteY747" fmla="*/ 175350 h 548737"/>
                    <a:gd name="connsiteX748" fmla="*/ 230548 w 646102"/>
                    <a:gd name="connsiteY748" fmla="*/ 175700 h 548737"/>
                    <a:gd name="connsiteX749" fmla="*/ 233881 w 646102"/>
                    <a:gd name="connsiteY749" fmla="*/ 173638 h 548737"/>
                    <a:gd name="connsiteX750" fmla="*/ 237173 w 646102"/>
                    <a:gd name="connsiteY750" fmla="*/ 174339 h 548737"/>
                    <a:gd name="connsiteX751" fmla="*/ 240344 w 646102"/>
                    <a:gd name="connsiteY751" fmla="*/ 172994 h 548737"/>
                    <a:gd name="connsiteX752" fmla="*/ 244687 w 646102"/>
                    <a:gd name="connsiteY752" fmla="*/ 172114 h 548737"/>
                    <a:gd name="connsiteX753" fmla="*/ 260563 w 646102"/>
                    <a:gd name="connsiteY753" fmla="*/ 171764 h 548737"/>
                    <a:gd name="connsiteX754" fmla="*/ 261036 w 646102"/>
                    <a:gd name="connsiteY754" fmla="*/ 169857 h 548737"/>
                    <a:gd name="connsiteX755" fmla="*/ 257695 w 646102"/>
                    <a:gd name="connsiteY755" fmla="*/ 169417 h 548737"/>
                    <a:gd name="connsiteX756" fmla="*/ 245894 w 646102"/>
                    <a:gd name="connsiteY756" fmla="*/ 168920 h 548737"/>
                    <a:gd name="connsiteX757" fmla="*/ 239871 w 646102"/>
                    <a:gd name="connsiteY757" fmla="*/ 168960 h 548737"/>
                    <a:gd name="connsiteX758" fmla="*/ 237337 w 646102"/>
                    <a:gd name="connsiteY758" fmla="*/ 169449 h 548737"/>
                    <a:gd name="connsiteX759" fmla="*/ 236407 w 646102"/>
                    <a:gd name="connsiteY759" fmla="*/ 168789 h 548737"/>
                    <a:gd name="connsiteX760" fmla="*/ 236571 w 646102"/>
                    <a:gd name="connsiteY760" fmla="*/ 167648 h 548737"/>
                    <a:gd name="connsiteX761" fmla="*/ 238755 w 646102"/>
                    <a:gd name="connsiteY761" fmla="*/ 165839 h 548737"/>
                    <a:gd name="connsiteX762" fmla="*/ 239798 w 646102"/>
                    <a:gd name="connsiteY762" fmla="*/ 163834 h 548737"/>
                    <a:gd name="connsiteX763" fmla="*/ 244174 w 646102"/>
                    <a:gd name="connsiteY763" fmla="*/ 158944 h 548737"/>
                    <a:gd name="connsiteX764" fmla="*/ 249309 w 646102"/>
                    <a:gd name="connsiteY764" fmla="*/ 155684 h 548737"/>
                    <a:gd name="connsiteX765" fmla="*/ 253237 w 646102"/>
                    <a:gd name="connsiteY765" fmla="*/ 156516 h 548737"/>
                    <a:gd name="connsiteX766" fmla="*/ 257425 w 646102"/>
                    <a:gd name="connsiteY766" fmla="*/ 159637 h 548737"/>
                    <a:gd name="connsiteX767" fmla="*/ 260400 w 646102"/>
                    <a:gd name="connsiteY767" fmla="*/ 160020 h 548737"/>
                    <a:gd name="connsiteX768" fmla="*/ 261786 w 646102"/>
                    <a:gd name="connsiteY768" fmla="*/ 161031 h 548737"/>
                    <a:gd name="connsiteX769" fmla="*/ 263970 w 646102"/>
                    <a:gd name="connsiteY769" fmla="*/ 165317 h 548737"/>
                    <a:gd name="connsiteX770" fmla="*/ 264997 w 646102"/>
                    <a:gd name="connsiteY770" fmla="*/ 165456 h 548737"/>
                    <a:gd name="connsiteX771" fmla="*/ 264524 w 646102"/>
                    <a:gd name="connsiteY771" fmla="*/ 161332 h 548737"/>
                    <a:gd name="connsiteX772" fmla="*/ 267401 w 646102"/>
                    <a:gd name="connsiteY772" fmla="*/ 157974 h 548737"/>
                    <a:gd name="connsiteX773" fmla="*/ 266651 w 646102"/>
                    <a:gd name="connsiteY773" fmla="*/ 157045 h 548737"/>
                    <a:gd name="connsiteX774" fmla="*/ 262348 w 646102"/>
                    <a:gd name="connsiteY774" fmla="*/ 158260 h 548737"/>
                    <a:gd name="connsiteX775" fmla="*/ 259031 w 646102"/>
                    <a:gd name="connsiteY775" fmla="*/ 157005 h 548737"/>
                    <a:gd name="connsiteX776" fmla="*/ 256423 w 646102"/>
                    <a:gd name="connsiteY776" fmla="*/ 154470 h 548737"/>
                    <a:gd name="connsiteX777" fmla="*/ 255673 w 646102"/>
                    <a:gd name="connsiteY777" fmla="*/ 152172 h 548737"/>
                    <a:gd name="connsiteX778" fmla="*/ 257287 w 646102"/>
                    <a:gd name="connsiteY778" fmla="*/ 149882 h 548737"/>
                    <a:gd name="connsiteX779" fmla="*/ 258827 w 646102"/>
                    <a:gd name="connsiteY779" fmla="*/ 148741 h 548737"/>
                    <a:gd name="connsiteX780" fmla="*/ 257784 w 646102"/>
                    <a:gd name="connsiteY780" fmla="*/ 147396 h 548737"/>
                    <a:gd name="connsiteX781" fmla="*/ 251264 w 646102"/>
                    <a:gd name="connsiteY781" fmla="*/ 150990 h 548737"/>
                    <a:gd name="connsiteX782" fmla="*/ 246652 w 646102"/>
                    <a:gd name="connsiteY782" fmla="*/ 151821 h 548737"/>
                    <a:gd name="connsiteX783" fmla="*/ 244826 w 646102"/>
                    <a:gd name="connsiteY783" fmla="*/ 151324 h 548737"/>
                    <a:gd name="connsiteX784" fmla="*/ 245812 w 646102"/>
                    <a:gd name="connsiteY784" fmla="*/ 148064 h 548737"/>
                    <a:gd name="connsiteX785" fmla="*/ 245266 w 646102"/>
                    <a:gd name="connsiteY785" fmla="*/ 145481 h 548737"/>
                    <a:gd name="connsiteX786" fmla="*/ 251460 w 646102"/>
                    <a:gd name="connsiteY786" fmla="*/ 139108 h 548737"/>
                    <a:gd name="connsiteX787" fmla="*/ 253579 w 646102"/>
                    <a:gd name="connsiteY787" fmla="*/ 138374 h 548737"/>
                    <a:gd name="connsiteX788" fmla="*/ 257059 w 646102"/>
                    <a:gd name="connsiteY788" fmla="*/ 138880 h 548737"/>
                    <a:gd name="connsiteX789" fmla="*/ 260197 w 646102"/>
                    <a:gd name="connsiteY789" fmla="*/ 140689 h 548737"/>
                    <a:gd name="connsiteX790" fmla="*/ 262812 w 646102"/>
                    <a:gd name="connsiteY790" fmla="*/ 140395 h 548737"/>
                    <a:gd name="connsiteX791" fmla="*/ 265665 w 646102"/>
                    <a:gd name="connsiteY791" fmla="*/ 139442 h 548737"/>
                    <a:gd name="connsiteX792" fmla="*/ 265274 w 646102"/>
                    <a:gd name="connsiteY792" fmla="*/ 137714 h 548737"/>
                    <a:gd name="connsiteX793" fmla="*/ 259096 w 646102"/>
                    <a:gd name="connsiteY793" fmla="*/ 137030 h 548737"/>
                    <a:gd name="connsiteX794" fmla="*/ 257515 w 646102"/>
                    <a:gd name="connsiteY794" fmla="*/ 135595 h 548737"/>
                    <a:gd name="connsiteX795" fmla="*/ 258085 w 646102"/>
                    <a:gd name="connsiteY795" fmla="*/ 134194 h 548737"/>
                    <a:gd name="connsiteX796" fmla="*/ 262331 w 646102"/>
                    <a:gd name="connsiteY796" fmla="*/ 132702 h 548737"/>
                    <a:gd name="connsiteX797" fmla="*/ 266529 w 646102"/>
                    <a:gd name="connsiteY797" fmla="*/ 130021 h 548737"/>
                    <a:gd name="connsiteX798" fmla="*/ 271362 w 646102"/>
                    <a:gd name="connsiteY798" fmla="*/ 129247 h 548737"/>
                    <a:gd name="connsiteX799" fmla="*/ 275249 w 646102"/>
                    <a:gd name="connsiteY799" fmla="*/ 127209 h 548737"/>
                    <a:gd name="connsiteX800" fmla="*/ 275999 w 646102"/>
                    <a:gd name="connsiteY800" fmla="*/ 127666 h 548737"/>
                    <a:gd name="connsiteX801" fmla="*/ 276643 w 646102"/>
                    <a:gd name="connsiteY801" fmla="*/ 128472 h 548737"/>
                    <a:gd name="connsiteX802" fmla="*/ 278044 w 646102"/>
                    <a:gd name="connsiteY802" fmla="*/ 135995 h 548737"/>
                    <a:gd name="connsiteX803" fmla="*/ 281524 w 646102"/>
                    <a:gd name="connsiteY803" fmla="*/ 142123 h 548737"/>
                    <a:gd name="connsiteX804" fmla="*/ 282796 w 646102"/>
                    <a:gd name="connsiteY804" fmla="*/ 142343 h 548737"/>
                    <a:gd name="connsiteX805" fmla="*/ 281467 w 646102"/>
                    <a:gd name="connsiteY805" fmla="*/ 137136 h 548737"/>
                    <a:gd name="connsiteX806" fmla="*/ 282714 w 646102"/>
                    <a:gd name="connsiteY806" fmla="*/ 135636 h 548737"/>
                    <a:gd name="connsiteX807" fmla="*/ 284287 w 646102"/>
                    <a:gd name="connsiteY807" fmla="*/ 134495 h 548737"/>
                    <a:gd name="connsiteX808" fmla="*/ 284768 w 646102"/>
                    <a:gd name="connsiteY808" fmla="*/ 133191 h 548737"/>
                    <a:gd name="connsiteX809" fmla="*/ 282975 w 646102"/>
                    <a:gd name="connsiteY809" fmla="*/ 132751 h 548737"/>
                    <a:gd name="connsiteX810" fmla="*/ 281500 w 646102"/>
                    <a:gd name="connsiteY810" fmla="*/ 130885 h 548737"/>
                    <a:gd name="connsiteX811" fmla="*/ 279389 w 646102"/>
                    <a:gd name="connsiteY811" fmla="*/ 124911 h 548737"/>
                    <a:gd name="connsiteX812" fmla="*/ 280098 w 646102"/>
                    <a:gd name="connsiteY812" fmla="*/ 123363 h 548737"/>
                    <a:gd name="connsiteX813" fmla="*/ 284678 w 646102"/>
                    <a:gd name="connsiteY813" fmla="*/ 120176 h 548737"/>
                    <a:gd name="connsiteX814" fmla="*/ 290399 w 646102"/>
                    <a:gd name="connsiteY814" fmla="*/ 119443 h 548737"/>
                    <a:gd name="connsiteX815" fmla="*/ 296504 w 646102"/>
                    <a:gd name="connsiteY815" fmla="*/ 121676 h 548737"/>
                    <a:gd name="connsiteX816" fmla="*/ 298647 w 646102"/>
                    <a:gd name="connsiteY816" fmla="*/ 121700 h 548737"/>
                    <a:gd name="connsiteX817" fmla="*/ 302184 w 646102"/>
                    <a:gd name="connsiteY817" fmla="*/ 121105 h 548737"/>
                    <a:gd name="connsiteX818" fmla="*/ 308182 w 646102"/>
                    <a:gd name="connsiteY818" fmla="*/ 119271 h 548737"/>
                    <a:gd name="connsiteX819" fmla="*/ 311727 w 646102"/>
                    <a:gd name="connsiteY819" fmla="*/ 118570 h 548737"/>
                    <a:gd name="connsiteX820" fmla="*/ 313569 w 646102"/>
                    <a:gd name="connsiteY820" fmla="*/ 118570 h 548737"/>
                    <a:gd name="connsiteX821" fmla="*/ 314017 w 646102"/>
                    <a:gd name="connsiteY821" fmla="*/ 117641 h 548737"/>
                    <a:gd name="connsiteX822" fmla="*/ 312314 w 646102"/>
                    <a:gd name="connsiteY822" fmla="*/ 117046 h 548737"/>
                    <a:gd name="connsiteX823" fmla="*/ 311760 w 646102"/>
                    <a:gd name="connsiteY823" fmla="*/ 116468 h 548737"/>
                    <a:gd name="connsiteX824" fmla="*/ 310423 w 646102"/>
                    <a:gd name="connsiteY824" fmla="*/ 116134 h 548737"/>
                    <a:gd name="connsiteX825" fmla="*/ 304873 w 646102"/>
                    <a:gd name="connsiteY825" fmla="*/ 117128 h 548737"/>
                    <a:gd name="connsiteX826" fmla="*/ 289552 w 646102"/>
                    <a:gd name="connsiteY826" fmla="*/ 116810 h 548737"/>
                    <a:gd name="connsiteX827" fmla="*/ 288085 w 646102"/>
                    <a:gd name="connsiteY827" fmla="*/ 115751 h 548737"/>
                    <a:gd name="connsiteX828" fmla="*/ 287808 w 646102"/>
                    <a:gd name="connsiteY828" fmla="*/ 113917 h 548737"/>
                    <a:gd name="connsiteX829" fmla="*/ 289438 w 646102"/>
                    <a:gd name="connsiteY829" fmla="*/ 111276 h 548737"/>
                    <a:gd name="connsiteX830" fmla="*/ 291214 w 646102"/>
                    <a:gd name="connsiteY830" fmla="*/ 109818 h 548737"/>
                    <a:gd name="connsiteX831" fmla="*/ 296993 w 646102"/>
                    <a:gd name="connsiteY831" fmla="*/ 107210 h 548737"/>
                    <a:gd name="connsiteX832" fmla="*/ 303097 w 646102"/>
                    <a:gd name="connsiteY832" fmla="*/ 106851 h 548737"/>
                    <a:gd name="connsiteX833" fmla="*/ 309543 w 646102"/>
                    <a:gd name="connsiteY833" fmla="*/ 102206 h 548737"/>
                    <a:gd name="connsiteX834" fmla="*/ 311996 w 646102"/>
                    <a:gd name="connsiteY834" fmla="*/ 98710 h 548737"/>
                    <a:gd name="connsiteX835" fmla="*/ 313406 w 646102"/>
                    <a:gd name="connsiteY835" fmla="*/ 93323 h 548737"/>
                    <a:gd name="connsiteX836" fmla="*/ 317326 w 646102"/>
                    <a:gd name="connsiteY836" fmla="*/ 88946 h 548737"/>
                    <a:gd name="connsiteX837" fmla="*/ 327179 w 646102"/>
                    <a:gd name="connsiteY837" fmla="*/ 86477 h 548737"/>
                    <a:gd name="connsiteX838" fmla="*/ 327562 w 646102"/>
                    <a:gd name="connsiteY838" fmla="*/ 85368 h 548737"/>
                    <a:gd name="connsiteX839" fmla="*/ 326527 w 646102"/>
                    <a:gd name="connsiteY839" fmla="*/ 83095 h 548737"/>
                    <a:gd name="connsiteX840" fmla="*/ 326609 w 646102"/>
                    <a:gd name="connsiteY840" fmla="*/ 79004 h 548737"/>
                    <a:gd name="connsiteX841" fmla="*/ 329306 w 646102"/>
                    <a:gd name="connsiteY841" fmla="*/ 74228 h 548737"/>
                    <a:gd name="connsiteX842" fmla="*/ 331099 w 646102"/>
                    <a:gd name="connsiteY842" fmla="*/ 72557 h 548737"/>
                    <a:gd name="connsiteX843" fmla="*/ 331931 w 646102"/>
                    <a:gd name="connsiteY843" fmla="*/ 72362 h 548737"/>
                    <a:gd name="connsiteX844" fmla="*/ 334050 w 646102"/>
                    <a:gd name="connsiteY844" fmla="*/ 73926 h 548737"/>
                    <a:gd name="connsiteX845" fmla="*/ 336633 w 646102"/>
                    <a:gd name="connsiteY845" fmla="*/ 77251 h 548737"/>
                    <a:gd name="connsiteX846" fmla="*/ 340667 w 646102"/>
                    <a:gd name="connsiteY846" fmla="*/ 79158 h 548737"/>
                    <a:gd name="connsiteX847" fmla="*/ 345964 w 646102"/>
                    <a:gd name="connsiteY847" fmla="*/ 79484 h 548737"/>
                    <a:gd name="connsiteX848" fmla="*/ 347374 w 646102"/>
                    <a:gd name="connsiteY848" fmla="*/ 78547 h 548737"/>
                    <a:gd name="connsiteX849" fmla="*/ 343250 w 646102"/>
                    <a:gd name="connsiteY849" fmla="*/ 76648 h 548737"/>
                    <a:gd name="connsiteX850" fmla="*/ 340137 w 646102"/>
                    <a:gd name="connsiteY850" fmla="*/ 74171 h 548737"/>
                    <a:gd name="connsiteX851" fmla="*/ 339893 w 646102"/>
                    <a:gd name="connsiteY851" fmla="*/ 71677 h 548737"/>
                    <a:gd name="connsiteX852" fmla="*/ 341376 w 646102"/>
                    <a:gd name="connsiteY852" fmla="*/ 70357 h 548737"/>
                    <a:gd name="connsiteX853" fmla="*/ 343674 w 646102"/>
                    <a:gd name="connsiteY853" fmla="*/ 70503 h 548737"/>
                    <a:gd name="connsiteX854" fmla="*/ 346559 w 646102"/>
                    <a:gd name="connsiteY854" fmla="*/ 70226 h 548737"/>
                    <a:gd name="connsiteX855" fmla="*/ 349232 w 646102"/>
                    <a:gd name="connsiteY855" fmla="*/ 68547 h 548737"/>
                    <a:gd name="connsiteX856" fmla="*/ 349623 w 646102"/>
                    <a:gd name="connsiteY856" fmla="*/ 67366 h 548737"/>
                    <a:gd name="connsiteX857" fmla="*/ 349738 w 646102"/>
                    <a:gd name="connsiteY857" fmla="*/ 65768 h 548737"/>
                    <a:gd name="connsiteX858" fmla="*/ 350406 w 646102"/>
                    <a:gd name="connsiteY858" fmla="*/ 64138 h 548737"/>
                    <a:gd name="connsiteX859" fmla="*/ 354350 w 646102"/>
                    <a:gd name="connsiteY859" fmla="*/ 60251 h 548737"/>
                    <a:gd name="connsiteX860" fmla="*/ 366502 w 646102"/>
                    <a:gd name="connsiteY860" fmla="*/ 57725 h 548737"/>
                    <a:gd name="connsiteX861" fmla="*/ 367374 w 646102"/>
                    <a:gd name="connsiteY861" fmla="*/ 58751 h 548737"/>
                    <a:gd name="connsiteX862" fmla="*/ 366722 w 646102"/>
                    <a:gd name="connsiteY862" fmla="*/ 66249 h 548737"/>
                    <a:gd name="connsiteX863" fmla="*/ 365328 w 646102"/>
                    <a:gd name="connsiteY863" fmla="*/ 71098 h 548737"/>
                    <a:gd name="connsiteX864" fmla="*/ 365377 w 646102"/>
                    <a:gd name="connsiteY864" fmla="*/ 74635 h 548737"/>
                    <a:gd name="connsiteX865" fmla="*/ 367732 w 646102"/>
                    <a:gd name="connsiteY865" fmla="*/ 71098 h 548737"/>
                    <a:gd name="connsiteX866" fmla="*/ 370910 w 646102"/>
                    <a:gd name="connsiteY866" fmla="*/ 61400 h 548737"/>
                    <a:gd name="connsiteX867" fmla="*/ 373282 w 646102"/>
                    <a:gd name="connsiteY867" fmla="*/ 56836 h 548737"/>
                    <a:gd name="connsiteX868" fmla="*/ 375980 w 646102"/>
                    <a:gd name="connsiteY868" fmla="*/ 54220 h 548737"/>
                    <a:gd name="connsiteX869" fmla="*/ 377895 w 646102"/>
                    <a:gd name="connsiteY869" fmla="*/ 53617 h 548737"/>
                    <a:gd name="connsiteX870" fmla="*/ 379802 w 646102"/>
                    <a:gd name="connsiteY870" fmla="*/ 52264 h 548737"/>
                    <a:gd name="connsiteX871" fmla="*/ 382296 w 646102"/>
                    <a:gd name="connsiteY871" fmla="*/ 51457 h 548737"/>
                    <a:gd name="connsiteX872" fmla="*/ 383070 w 646102"/>
                    <a:gd name="connsiteY872" fmla="*/ 52501 h 548737"/>
                    <a:gd name="connsiteX873" fmla="*/ 383869 w 646102"/>
                    <a:gd name="connsiteY873" fmla="*/ 54921 h 548737"/>
                    <a:gd name="connsiteX874" fmla="*/ 382516 w 646102"/>
                    <a:gd name="connsiteY874" fmla="*/ 63405 h 548737"/>
                    <a:gd name="connsiteX875" fmla="*/ 382638 w 646102"/>
                    <a:gd name="connsiteY875" fmla="*/ 66078 h 548737"/>
                    <a:gd name="connsiteX876" fmla="*/ 381138 w 646102"/>
                    <a:gd name="connsiteY876" fmla="*/ 69672 h 548737"/>
                    <a:gd name="connsiteX877" fmla="*/ 375344 w 646102"/>
                    <a:gd name="connsiteY877" fmla="*/ 77659 h 548737"/>
                    <a:gd name="connsiteX878" fmla="*/ 375613 w 646102"/>
                    <a:gd name="connsiteY878" fmla="*/ 78678 h 548737"/>
                    <a:gd name="connsiteX879" fmla="*/ 376917 w 646102"/>
                    <a:gd name="connsiteY879" fmla="*/ 78294 h 548737"/>
                    <a:gd name="connsiteX880" fmla="*/ 379158 w 646102"/>
                    <a:gd name="connsiteY880" fmla="*/ 76982 h 548737"/>
                    <a:gd name="connsiteX881" fmla="*/ 386330 w 646102"/>
                    <a:gd name="connsiteY881" fmla="*/ 69395 h 548737"/>
                    <a:gd name="connsiteX882" fmla="*/ 392605 w 646102"/>
                    <a:gd name="connsiteY882" fmla="*/ 70349 h 548737"/>
                    <a:gd name="connsiteX883" fmla="*/ 392678 w 646102"/>
                    <a:gd name="connsiteY883" fmla="*/ 69729 h 548737"/>
                    <a:gd name="connsiteX884" fmla="*/ 390674 w 646102"/>
                    <a:gd name="connsiteY884" fmla="*/ 67496 h 548737"/>
                    <a:gd name="connsiteX885" fmla="*/ 388213 w 646102"/>
                    <a:gd name="connsiteY885" fmla="*/ 65369 h 548737"/>
                    <a:gd name="connsiteX886" fmla="*/ 387479 w 646102"/>
                    <a:gd name="connsiteY886" fmla="*/ 62720 h 548737"/>
                    <a:gd name="connsiteX887" fmla="*/ 387797 w 646102"/>
                    <a:gd name="connsiteY887" fmla="*/ 55655 h 548737"/>
                    <a:gd name="connsiteX888" fmla="*/ 389687 w 646102"/>
                    <a:gd name="connsiteY888" fmla="*/ 52859 h 548737"/>
                    <a:gd name="connsiteX889" fmla="*/ 395107 w 646102"/>
                    <a:gd name="connsiteY889" fmla="*/ 53153 h 548737"/>
                    <a:gd name="connsiteX890" fmla="*/ 398343 w 646102"/>
                    <a:gd name="connsiteY890" fmla="*/ 52761 h 548737"/>
                    <a:gd name="connsiteX891" fmla="*/ 399867 w 646102"/>
                    <a:gd name="connsiteY891" fmla="*/ 54041 h 548737"/>
                    <a:gd name="connsiteX892" fmla="*/ 403110 w 646102"/>
                    <a:gd name="connsiteY892" fmla="*/ 53943 h 548737"/>
                    <a:gd name="connsiteX893" fmla="*/ 405360 w 646102"/>
                    <a:gd name="connsiteY893" fmla="*/ 48874 h 548737"/>
                    <a:gd name="connsiteX894" fmla="*/ 409801 w 646102"/>
                    <a:gd name="connsiteY894" fmla="*/ 48426 h 548737"/>
                    <a:gd name="connsiteX895" fmla="*/ 413705 w 646102"/>
                    <a:gd name="connsiteY895" fmla="*/ 51783 h 548737"/>
                    <a:gd name="connsiteX896" fmla="*/ 418399 w 646102"/>
                    <a:gd name="connsiteY896" fmla="*/ 54041 h 548737"/>
                    <a:gd name="connsiteX897" fmla="*/ 422172 w 646102"/>
                    <a:gd name="connsiteY897" fmla="*/ 57276 h 548737"/>
                    <a:gd name="connsiteX898" fmla="*/ 423248 w 646102"/>
                    <a:gd name="connsiteY898" fmla="*/ 56396 h 548737"/>
                    <a:gd name="connsiteX899" fmla="*/ 421203 w 646102"/>
                    <a:gd name="connsiteY899" fmla="*/ 48833 h 548737"/>
                    <a:gd name="connsiteX900" fmla="*/ 418978 w 646102"/>
                    <a:gd name="connsiteY900" fmla="*/ 46070 h 548737"/>
                    <a:gd name="connsiteX901" fmla="*/ 414129 w 646102"/>
                    <a:gd name="connsiteY901" fmla="*/ 44628 h 548737"/>
                    <a:gd name="connsiteX902" fmla="*/ 409002 w 646102"/>
                    <a:gd name="connsiteY902" fmla="*/ 41221 h 548737"/>
                    <a:gd name="connsiteX903" fmla="*/ 407658 w 646102"/>
                    <a:gd name="connsiteY903" fmla="*/ 39714 h 548737"/>
                    <a:gd name="connsiteX904" fmla="*/ 407894 w 646102"/>
                    <a:gd name="connsiteY904" fmla="*/ 38597 h 548737"/>
                    <a:gd name="connsiteX905" fmla="*/ 412426 w 646102"/>
                    <a:gd name="connsiteY905" fmla="*/ 37497 h 548737"/>
                    <a:gd name="connsiteX906" fmla="*/ 418415 w 646102"/>
                    <a:gd name="connsiteY906" fmla="*/ 38752 h 548737"/>
                    <a:gd name="connsiteX907" fmla="*/ 423753 w 646102"/>
                    <a:gd name="connsiteY907" fmla="*/ 35908 h 548737"/>
                    <a:gd name="connsiteX908" fmla="*/ 425212 w 646102"/>
                    <a:gd name="connsiteY908" fmla="*/ 36682 h 548737"/>
                    <a:gd name="connsiteX909" fmla="*/ 429303 w 646102"/>
                    <a:gd name="connsiteY909" fmla="*/ 35199 h 548737"/>
                    <a:gd name="connsiteX910" fmla="*/ 431846 w 646102"/>
                    <a:gd name="connsiteY910" fmla="*/ 37195 h 548737"/>
                    <a:gd name="connsiteX911" fmla="*/ 433411 w 646102"/>
                    <a:gd name="connsiteY911" fmla="*/ 36609 h 548737"/>
                    <a:gd name="connsiteX912" fmla="*/ 434316 w 646102"/>
                    <a:gd name="connsiteY912" fmla="*/ 33919 h 548737"/>
                    <a:gd name="connsiteX913" fmla="*/ 440844 w 646102"/>
                    <a:gd name="connsiteY913" fmla="*/ 32257 h 548737"/>
                    <a:gd name="connsiteX914" fmla="*/ 444984 w 646102"/>
                    <a:gd name="connsiteY914" fmla="*/ 33797 h 548737"/>
                    <a:gd name="connsiteX915" fmla="*/ 447208 w 646102"/>
                    <a:gd name="connsiteY915" fmla="*/ 35386 h 548737"/>
                    <a:gd name="connsiteX916" fmla="*/ 448243 w 646102"/>
                    <a:gd name="connsiteY916" fmla="*/ 38442 h 548737"/>
                    <a:gd name="connsiteX917" fmla="*/ 449816 w 646102"/>
                    <a:gd name="connsiteY917" fmla="*/ 44465 h 548737"/>
                    <a:gd name="connsiteX918" fmla="*/ 453068 w 646102"/>
                    <a:gd name="connsiteY918" fmla="*/ 47717 h 548737"/>
                    <a:gd name="connsiteX919" fmla="*/ 455056 w 646102"/>
                    <a:gd name="connsiteY919" fmla="*/ 49322 h 548737"/>
                    <a:gd name="connsiteX920" fmla="*/ 457445 w 646102"/>
                    <a:gd name="connsiteY920" fmla="*/ 49762 h 548737"/>
                    <a:gd name="connsiteX921" fmla="*/ 458594 w 646102"/>
                    <a:gd name="connsiteY921" fmla="*/ 48141 h 548737"/>
                    <a:gd name="connsiteX922" fmla="*/ 456369 w 646102"/>
                    <a:gd name="connsiteY922" fmla="*/ 46176 h 548737"/>
                    <a:gd name="connsiteX923" fmla="*/ 455766 w 646102"/>
                    <a:gd name="connsiteY923" fmla="*/ 44335 h 548737"/>
                    <a:gd name="connsiteX924" fmla="*/ 456833 w 646102"/>
                    <a:gd name="connsiteY924" fmla="*/ 39763 h 548737"/>
                    <a:gd name="connsiteX925" fmla="*/ 458080 w 646102"/>
                    <a:gd name="connsiteY925" fmla="*/ 37961 h 548737"/>
                    <a:gd name="connsiteX926" fmla="*/ 465065 w 646102"/>
                    <a:gd name="connsiteY926" fmla="*/ 31140 h 548737"/>
                    <a:gd name="connsiteX927" fmla="*/ 470924 w 646102"/>
                    <a:gd name="connsiteY927" fmla="*/ 27595 h 548737"/>
                    <a:gd name="connsiteX928" fmla="*/ 474421 w 646102"/>
                    <a:gd name="connsiteY928" fmla="*/ 27302 h 548737"/>
                    <a:gd name="connsiteX929" fmla="*/ 480549 w 646102"/>
                    <a:gd name="connsiteY929" fmla="*/ 19347 h 548737"/>
                    <a:gd name="connsiteX930" fmla="*/ 482293 w 646102"/>
                    <a:gd name="connsiteY930" fmla="*/ 17897 h 548737"/>
                    <a:gd name="connsiteX931" fmla="*/ 483890 w 646102"/>
                    <a:gd name="connsiteY931" fmla="*/ 17563 h 548737"/>
                    <a:gd name="connsiteX932" fmla="*/ 483483 w 646102"/>
                    <a:gd name="connsiteY932" fmla="*/ 15615 h 548737"/>
                    <a:gd name="connsiteX933" fmla="*/ 480117 w 646102"/>
                    <a:gd name="connsiteY933" fmla="*/ 14384 h 548737"/>
                    <a:gd name="connsiteX934" fmla="*/ 480011 w 646102"/>
                    <a:gd name="connsiteY934" fmla="*/ 11964 h 548737"/>
                    <a:gd name="connsiteX935" fmla="*/ 484428 w 646102"/>
                    <a:gd name="connsiteY935" fmla="*/ 9014 h 548737"/>
                    <a:gd name="connsiteX936" fmla="*/ 489791 w 646102"/>
                    <a:gd name="connsiteY936" fmla="*/ 4083 h 548737"/>
                    <a:gd name="connsiteX937" fmla="*/ 492431 w 646102"/>
                    <a:gd name="connsiteY937" fmla="*/ 3741 h 548737"/>
                    <a:gd name="connsiteX938" fmla="*/ 494094 w 646102"/>
                    <a:gd name="connsiteY938" fmla="*/ 5126 h 548737"/>
                    <a:gd name="connsiteX939" fmla="*/ 499318 w 646102"/>
                    <a:gd name="connsiteY939" fmla="*/ 7351 h 548737"/>
                    <a:gd name="connsiteX940" fmla="*/ 502521 w 646102"/>
                    <a:gd name="connsiteY940" fmla="*/ 9902 h 548737"/>
                    <a:gd name="connsiteX941" fmla="*/ 504827 w 646102"/>
                    <a:gd name="connsiteY941" fmla="*/ 11190 h 548737"/>
                    <a:gd name="connsiteX942" fmla="*/ 506343 w 646102"/>
                    <a:gd name="connsiteY942" fmla="*/ 10929 h 548737"/>
                    <a:gd name="connsiteX943" fmla="*/ 507582 w 646102"/>
                    <a:gd name="connsiteY943" fmla="*/ 9005 h 548737"/>
                    <a:gd name="connsiteX944" fmla="*/ 509081 w 646102"/>
                    <a:gd name="connsiteY944" fmla="*/ 8109 h 548737"/>
                    <a:gd name="connsiteX945" fmla="*/ 512406 w 646102"/>
                    <a:gd name="connsiteY945" fmla="*/ 8614 h 548737"/>
                    <a:gd name="connsiteX946" fmla="*/ 514387 w 646102"/>
                    <a:gd name="connsiteY946" fmla="*/ 9845 h 548737"/>
                    <a:gd name="connsiteX947" fmla="*/ 515927 w 646102"/>
                    <a:gd name="connsiteY947" fmla="*/ 10000 h 548737"/>
                    <a:gd name="connsiteX948" fmla="*/ 517321 w 646102"/>
                    <a:gd name="connsiteY948" fmla="*/ 10749 h 548737"/>
                    <a:gd name="connsiteX949" fmla="*/ 517655 w 646102"/>
                    <a:gd name="connsiteY949" fmla="*/ 12388 h 548737"/>
                    <a:gd name="connsiteX950" fmla="*/ 514778 w 646102"/>
                    <a:gd name="connsiteY950" fmla="*/ 14181 h 548737"/>
                    <a:gd name="connsiteX951" fmla="*/ 509888 w 646102"/>
                    <a:gd name="connsiteY951" fmla="*/ 18916 h 548737"/>
                    <a:gd name="connsiteX952" fmla="*/ 505055 w 646102"/>
                    <a:gd name="connsiteY952" fmla="*/ 24286 h 548737"/>
                    <a:gd name="connsiteX953" fmla="*/ 503466 w 646102"/>
                    <a:gd name="connsiteY953" fmla="*/ 27114 h 548737"/>
                    <a:gd name="connsiteX954" fmla="*/ 501901 w 646102"/>
                    <a:gd name="connsiteY954" fmla="*/ 34530 h 548737"/>
                    <a:gd name="connsiteX955" fmla="*/ 498128 w 646102"/>
                    <a:gd name="connsiteY955" fmla="*/ 39265 h 548737"/>
                    <a:gd name="connsiteX956" fmla="*/ 497843 w 646102"/>
                    <a:gd name="connsiteY956" fmla="*/ 42582 h 548737"/>
                    <a:gd name="connsiteX957" fmla="*/ 499367 w 646102"/>
                    <a:gd name="connsiteY957" fmla="*/ 44155 h 548737"/>
                    <a:gd name="connsiteX958" fmla="*/ 503515 w 646102"/>
                    <a:gd name="connsiteY958" fmla="*/ 42925 h 548737"/>
                    <a:gd name="connsiteX959" fmla="*/ 508657 w 646102"/>
                    <a:gd name="connsiteY959" fmla="*/ 38499 h 548737"/>
                    <a:gd name="connsiteX960" fmla="*/ 509937 w 646102"/>
                    <a:gd name="connsiteY960" fmla="*/ 33789 h 548737"/>
                    <a:gd name="connsiteX961" fmla="*/ 522781 w 646102"/>
                    <a:gd name="connsiteY961" fmla="*/ 21010 h 548737"/>
                    <a:gd name="connsiteX962" fmla="*/ 528811 w 646102"/>
                    <a:gd name="connsiteY962" fmla="*/ 13936 h 548737"/>
                    <a:gd name="connsiteX963" fmla="*/ 535649 w 646102"/>
                    <a:gd name="connsiteY963" fmla="*/ 8060 h 548737"/>
                    <a:gd name="connsiteX964" fmla="*/ 539472 w 646102"/>
                    <a:gd name="connsiteY964" fmla="*/ 6846 h 548737"/>
                    <a:gd name="connsiteX965" fmla="*/ 541281 w 646102"/>
                    <a:gd name="connsiteY965" fmla="*/ 10741 h 548737"/>
                    <a:gd name="connsiteX966" fmla="*/ 539830 w 646102"/>
                    <a:gd name="connsiteY966" fmla="*/ 15802 h 548737"/>
                    <a:gd name="connsiteX967" fmla="*/ 536921 w 646102"/>
                    <a:gd name="connsiteY967" fmla="*/ 19038 h 548737"/>
                    <a:gd name="connsiteX968" fmla="*/ 539064 w 646102"/>
                    <a:gd name="connsiteY968" fmla="*/ 20521 h 548737"/>
                    <a:gd name="connsiteX969" fmla="*/ 538656 w 646102"/>
                    <a:gd name="connsiteY969" fmla="*/ 24360 h 548737"/>
                    <a:gd name="connsiteX970" fmla="*/ 537980 w 646102"/>
                    <a:gd name="connsiteY970" fmla="*/ 26487 h 548737"/>
                    <a:gd name="connsiteX971" fmla="*/ 537556 w 646102"/>
                    <a:gd name="connsiteY971" fmla="*/ 28712 h 548737"/>
                    <a:gd name="connsiteX972" fmla="*/ 537581 w 646102"/>
                    <a:gd name="connsiteY972" fmla="*/ 30676 h 548737"/>
                    <a:gd name="connsiteX973" fmla="*/ 539594 w 646102"/>
                    <a:gd name="connsiteY973" fmla="*/ 30162 h 548737"/>
                    <a:gd name="connsiteX974" fmla="*/ 547613 w 646102"/>
                    <a:gd name="connsiteY974" fmla="*/ 26128 h 548737"/>
                    <a:gd name="connsiteX975" fmla="*/ 549650 w 646102"/>
                    <a:gd name="connsiteY975" fmla="*/ 21768 h 548737"/>
                    <a:gd name="connsiteX976" fmla="*/ 551533 w 646102"/>
                    <a:gd name="connsiteY976" fmla="*/ 18500 h 548737"/>
                    <a:gd name="connsiteX977" fmla="*/ 552429 w 646102"/>
                    <a:gd name="connsiteY977" fmla="*/ 15664 h 548737"/>
                    <a:gd name="connsiteX978" fmla="*/ 555551 w 646102"/>
                    <a:gd name="connsiteY978" fmla="*/ 12991 h 548737"/>
                    <a:gd name="connsiteX979" fmla="*/ 561427 w 646102"/>
                    <a:gd name="connsiteY979" fmla="*/ 12966 h 548737"/>
                    <a:gd name="connsiteX980" fmla="*/ 561655 w 646102"/>
                    <a:gd name="connsiteY980" fmla="*/ 11915 h 548737"/>
                    <a:gd name="connsiteX981" fmla="*/ 554557 w 646102"/>
                    <a:gd name="connsiteY981" fmla="*/ 8191 h 548737"/>
                    <a:gd name="connsiteX982" fmla="*/ 553709 w 646102"/>
                    <a:gd name="connsiteY982" fmla="*/ 6512 h 548737"/>
                    <a:gd name="connsiteX983" fmla="*/ 556097 w 646102"/>
                    <a:gd name="connsiteY983" fmla="*/ 4279 h 548737"/>
                    <a:gd name="connsiteX984" fmla="*/ 562682 w 646102"/>
                    <a:gd name="connsiteY984" fmla="*/ 0 h 548737"/>
                    <a:gd name="connsiteX985" fmla="*/ 566064 w 646102"/>
                    <a:gd name="connsiteY985" fmla="*/ 473 h 548737"/>
                    <a:gd name="connsiteX986" fmla="*/ 568093 w 646102"/>
                    <a:gd name="connsiteY986" fmla="*/ 1443 h 548737"/>
                    <a:gd name="connsiteX987" fmla="*/ 576194 w 646102"/>
                    <a:gd name="connsiteY987" fmla="*/ 2184 h 548737"/>
                    <a:gd name="connsiteX988" fmla="*/ 582412 w 646102"/>
                    <a:gd name="connsiteY988" fmla="*/ 5240 h 548737"/>
                    <a:gd name="connsiteX989" fmla="*/ 582176 w 646102"/>
                    <a:gd name="connsiteY989" fmla="*/ 10016 h 548737"/>
                    <a:gd name="connsiteX990" fmla="*/ 580782 w 646102"/>
                    <a:gd name="connsiteY990" fmla="*/ 12013 h 548737"/>
                    <a:gd name="connsiteX991" fmla="*/ 579421 w 646102"/>
                    <a:gd name="connsiteY991" fmla="*/ 13243 h 548737"/>
                    <a:gd name="connsiteX992" fmla="*/ 571467 w 646102"/>
                    <a:gd name="connsiteY992" fmla="*/ 16862 h 54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Lst>
                  <a:rect l="l" t="t" r="r" b="b"/>
                  <a:pathLst>
                    <a:path w="646102" h="548737">
                      <a:moveTo>
                        <a:pt x="570155" y="18647"/>
                      </a:moveTo>
                      <a:lnTo>
                        <a:pt x="572649" y="19258"/>
                      </a:lnTo>
                      <a:lnTo>
                        <a:pt x="578028" y="17449"/>
                      </a:lnTo>
                      <a:lnTo>
                        <a:pt x="579421" y="19095"/>
                      </a:lnTo>
                      <a:lnTo>
                        <a:pt x="577710" y="23186"/>
                      </a:lnTo>
                      <a:lnTo>
                        <a:pt x="577425" y="29323"/>
                      </a:lnTo>
                      <a:lnTo>
                        <a:pt x="576789" y="32900"/>
                      </a:lnTo>
                      <a:lnTo>
                        <a:pt x="576789" y="36160"/>
                      </a:lnTo>
                      <a:lnTo>
                        <a:pt x="577466" y="37913"/>
                      </a:lnTo>
                      <a:lnTo>
                        <a:pt x="579625" y="30977"/>
                      </a:lnTo>
                      <a:lnTo>
                        <a:pt x="580367" y="29192"/>
                      </a:lnTo>
                      <a:lnTo>
                        <a:pt x="583529" y="26576"/>
                      </a:lnTo>
                      <a:lnTo>
                        <a:pt x="584703" y="21303"/>
                      </a:lnTo>
                      <a:lnTo>
                        <a:pt x="587791" y="14971"/>
                      </a:lnTo>
                      <a:lnTo>
                        <a:pt x="591279" y="11279"/>
                      </a:lnTo>
                      <a:lnTo>
                        <a:pt x="593300" y="10269"/>
                      </a:lnTo>
                      <a:lnTo>
                        <a:pt x="600024" y="10415"/>
                      </a:lnTo>
                      <a:lnTo>
                        <a:pt x="602901" y="11809"/>
                      </a:lnTo>
                      <a:lnTo>
                        <a:pt x="605443" y="14890"/>
                      </a:lnTo>
                      <a:lnTo>
                        <a:pt x="607351" y="16120"/>
                      </a:lnTo>
                      <a:lnTo>
                        <a:pt x="613325" y="17424"/>
                      </a:lnTo>
                      <a:lnTo>
                        <a:pt x="615394" y="19062"/>
                      </a:lnTo>
                      <a:lnTo>
                        <a:pt x="615777" y="20040"/>
                      </a:lnTo>
                      <a:lnTo>
                        <a:pt x="617236" y="20236"/>
                      </a:lnTo>
                      <a:lnTo>
                        <a:pt x="621270" y="17905"/>
                      </a:lnTo>
                      <a:lnTo>
                        <a:pt x="623911" y="17514"/>
                      </a:lnTo>
                      <a:lnTo>
                        <a:pt x="628182" y="21157"/>
                      </a:lnTo>
                      <a:lnTo>
                        <a:pt x="627326" y="23846"/>
                      </a:lnTo>
                      <a:lnTo>
                        <a:pt x="627562" y="24702"/>
                      </a:lnTo>
                      <a:lnTo>
                        <a:pt x="632753" y="24523"/>
                      </a:lnTo>
                      <a:lnTo>
                        <a:pt x="637064" y="25582"/>
                      </a:lnTo>
                      <a:lnTo>
                        <a:pt x="645255" y="31083"/>
                      </a:lnTo>
                      <a:lnTo>
                        <a:pt x="646103" y="33642"/>
                      </a:lnTo>
                      <a:lnTo>
                        <a:pt x="645703" y="36755"/>
                      </a:lnTo>
                      <a:lnTo>
                        <a:pt x="633919" y="40186"/>
                      </a:lnTo>
                      <a:lnTo>
                        <a:pt x="628809" y="43446"/>
                      </a:lnTo>
                      <a:lnTo>
                        <a:pt x="620439" y="44718"/>
                      </a:lnTo>
                      <a:lnTo>
                        <a:pt x="592053" y="42525"/>
                      </a:lnTo>
                      <a:lnTo>
                        <a:pt x="592632" y="44889"/>
                      </a:lnTo>
                      <a:lnTo>
                        <a:pt x="612403" y="50056"/>
                      </a:lnTo>
                      <a:lnTo>
                        <a:pt x="613520" y="51531"/>
                      </a:lnTo>
                      <a:lnTo>
                        <a:pt x="612884" y="54628"/>
                      </a:lnTo>
                      <a:lnTo>
                        <a:pt x="612876" y="57121"/>
                      </a:lnTo>
                      <a:lnTo>
                        <a:pt x="613259" y="58817"/>
                      </a:lnTo>
                      <a:lnTo>
                        <a:pt x="614710" y="60398"/>
                      </a:lnTo>
                      <a:lnTo>
                        <a:pt x="617130" y="61139"/>
                      </a:lnTo>
                      <a:lnTo>
                        <a:pt x="622044" y="60748"/>
                      </a:lnTo>
                      <a:lnTo>
                        <a:pt x="624473" y="61596"/>
                      </a:lnTo>
                      <a:lnTo>
                        <a:pt x="626128" y="60332"/>
                      </a:lnTo>
                      <a:lnTo>
                        <a:pt x="626739" y="56095"/>
                      </a:lnTo>
                      <a:lnTo>
                        <a:pt x="628182" y="55166"/>
                      </a:lnTo>
                      <a:lnTo>
                        <a:pt x="630936" y="56396"/>
                      </a:lnTo>
                      <a:lnTo>
                        <a:pt x="632134" y="60919"/>
                      </a:lnTo>
                      <a:lnTo>
                        <a:pt x="632900" y="61392"/>
                      </a:lnTo>
                      <a:lnTo>
                        <a:pt x="634302" y="58157"/>
                      </a:lnTo>
                      <a:lnTo>
                        <a:pt x="637024" y="58393"/>
                      </a:lnTo>
                      <a:lnTo>
                        <a:pt x="639998" y="58124"/>
                      </a:lnTo>
                      <a:lnTo>
                        <a:pt x="643853" y="58670"/>
                      </a:lnTo>
                      <a:lnTo>
                        <a:pt x="645206" y="64521"/>
                      </a:lnTo>
                      <a:lnTo>
                        <a:pt x="645165" y="66567"/>
                      </a:lnTo>
                      <a:lnTo>
                        <a:pt x="644530" y="68539"/>
                      </a:lnTo>
                      <a:lnTo>
                        <a:pt x="643633" y="69566"/>
                      </a:lnTo>
                      <a:lnTo>
                        <a:pt x="641849" y="69990"/>
                      </a:lnTo>
                      <a:lnTo>
                        <a:pt x="637553" y="69811"/>
                      </a:lnTo>
                      <a:lnTo>
                        <a:pt x="631702" y="67496"/>
                      </a:lnTo>
                      <a:lnTo>
                        <a:pt x="627929" y="65320"/>
                      </a:lnTo>
                      <a:lnTo>
                        <a:pt x="626747" y="65231"/>
                      </a:lnTo>
                      <a:lnTo>
                        <a:pt x="626250" y="65499"/>
                      </a:lnTo>
                      <a:lnTo>
                        <a:pt x="627154" y="67684"/>
                      </a:lnTo>
                      <a:lnTo>
                        <a:pt x="626918" y="69362"/>
                      </a:lnTo>
                      <a:lnTo>
                        <a:pt x="626348" y="71188"/>
                      </a:lnTo>
                      <a:lnTo>
                        <a:pt x="625557" y="72842"/>
                      </a:lnTo>
                      <a:lnTo>
                        <a:pt x="624449" y="74236"/>
                      </a:lnTo>
                      <a:lnTo>
                        <a:pt x="622134" y="76021"/>
                      </a:lnTo>
                      <a:lnTo>
                        <a:pt x="618133" y="77447"/>
                      </a:lnTo>
                      <a:lnTo>
                        <a:pt x="607114" y="80202"/>
                      </a:lnTo>
                      <a:lnTo>
                        <a:pt x="606242" y="81424"/>
                      </a:lnTo>
                      <a:lnTo>
                        <a:pt x="602689" y="89093"/>
                      </a:lnTo>
                      <a:lnTo>
                        <a:pt x="601719" y="90209"/>
                      </a:lnTo>
                      <a:lnTo>
                        <a:pt x="600415" y="91163"/>
                      </a:lnTo>
                      <a:lnTo>
                        <a:pt x="596634" y="92402"/>
                      </a:lnTo>
                      <a:lnTo>
                        <a:pt x="594792" y="90690"/>
                      </a:lnTo>
                      <a:lnTo>
                        <a:pt x="593325" y="88115"/>
                      </a:lnTo>
                      <a:lnTo>
                        <a:pt x="593667" y="85556"/>
                      </a:lnTo>
                      <a:lnTo>
                        <a:pt x="598109" y="80650"/>
                      </a:lnTo>
                      <a:lnTo>
                        <a:pt x="602249" y="77170"/>
                      </a:lnTo>
                      <a:lnTo>
                        <a:pt x="603406" y="75964"/>
                      </a:lnTo>
                      <a:lnTo>
                        <a:pt x="605745" y="72459"/>
                      </a:lnTo>
                      <a:lnTo>
                        <a:pt x="600986" y="63649"/>
                      </a:lnTo>
                      <a:lnTo>
                        <a:pt x="592526" y="60976"/>
                      </a:lnTo>
                      <a:lnTo>
                        <a:pt x="582893" y="56918"/>
                      </a:lnTo>
                      <a:lnTo>
                        <a:pt x="579356" y="54750"/>
                      </a:lnTo>
                      <a:lnTo>
                        <a:pt x="573847" y="50284"/>
                      </a:lnTo>
                      <a:lnTo>
                        <a:pt x="569952" y="46266"/>
                      </a:lnTo>
                      <a:lnTo>
                        <a:pt x="566423" y="46128"/>
                      </a:lnTo>
                      <a:lnTo>
                        <a:pt x="562543" y="47138"/>
                      </a:lnTo>
                      <a:lnTo>
                        <a:pt x="556504" y="50805"/>
                      </a:lnTo>
                      <a:lnTo>
                        <a:pt x="552976" y="52647"/>
                      </a:lnTo>
                      <a:lnTo>
                        <a:pt x="551036" y="53185"/>
                      </a:lnTo>
                      <a:lnTo>
                        <a:pt x="550572" y="53267"/>
                      </a:lnTo>
                      <a:lnTo>
                        <a:pt x="546244" y="52224"/>
                      </a:lnTo>
                      <a:lnTo>
                        <a:pt x="541435" y="52012"/>
                      </a:lnTo>
                      <a:lnTo>
                        <a:pt x="537565" y="52305"/>
                      </a:lnTo>
                      <a:lnTo>
                        <a:pt x="536098" y="52802"/>
                      </a:lnTo>
                      <a:lnTo>
                        <a:pt x="530719" y="58735"/>
                      </a:lnTo>
                      <a:lnTo>
                        <a:pt x="526946" y="61726"/>
                      </a:lnTo>
                      <a:lnTo>
                        <a:pt x="524867" y="62761"/>
                      </a:lnTo>
                      <a:lnTo>
                        <a:pt x="523360" y="64489"/>
                      </a:lnTo>
                      <a:lnTo>
                        <a:pt x="522113" y="67333"/>
                      </a:lnTo>
                      <a:lnTo>
                        <a:pt x="519366" y="77178"/>
                      </a:lnTo>
                      <a:lnTo>
                        <a:pt x="517304" y="80886"/>
                      </a:lnTo>
                      <a:lnTo>
                        <a:pt x="516840" y="83152"/>
                      </a:lnTo>
                      <a:lnTo>
                        <a:pt x="517321" y="90006"/>
                      </a:lnTo>
                      <a:lnTo>
                        <a:pt x="516832" y="93803"/>
                      </a:lnTo>
                      <a:lnTo>
                        <a:pt x="514305" y="96925"/>
                      </a:lnTo>
                      <a:lnTo>
                        <a:pt x="512545" y="98343"/>
                      </a:lnTo>
                      <a:lnTo>
                        <a:pt x="510197" y="98620"/>
                      </a:lnTo>
                      <a:lnTo>
                        <a:pt x="507133" y="99427"/>
                      </a:lnTo>
                      <a:lnTo>
                        <a:pt x="504460" y="101236"/>
                      </a:lnTo>
                      <a:lnTo>
                        <a:pt x="502553" y="103697"/>
                      </a:lnTo>
                      <a:lnTo>
                        <a:pt x="500426" y="109223"/>
                      </a:lnTo>
                      <a:lnTo>
                        <a:pt x="496824" y="111252"/>
                      </a:lnTo>
                      <a:lnTo>
                        <a:pt x="493368" y="110673"/>
                      </a:lnTo>
                      <a:lnTo>
                        <a:pt x="490915" y="108636"/>
                      </a:lnTo>
                      <a:lnTo>
                        <a:pt x="485634" y="107071"/>
                      </a:lnTo>
                      <a:lnTo>
                        <a:pt x="481706" y="106061"/>
                      </a:lnTo>
                      <a:lnTo>
                        <a:pt x="477289" y="103893"/>
                      </a:lnTo>
                      <a:lnTo>
                        <a:pt x="473410" y="102238"/>
                      </a:lnTo>
                      <a:lnTo>
                        <a:pt x="469848" y="101921"/>
                      </a:lnTo>
                      <a:lnTo>
                        <a:pt x="467827" y="104007"/>
                      </a:lnTo>
                      <a:lnTo>
                        <a:pt x="466206" y="105955"/>
                      </a:lnTo>
                      <a:lnTo>
                        <a:pt x="460142" y="107552"/>
                      </a:lnTo>
                      <a:lnTo>
                        <a:pt x="456703" y="108807"/>
                      </a:lnTo>
                      <a:lnTo>
                        <a:pt x="452237" y="109084"/>
                      </a:lnTo>
                      <a:lnTo>
                        <a:pt x="450444" y="107699"/>
                      </a:lnTo>
                      <a:lnTo>
                        <a:pt x="443981" y="106778"/>
                      </a:lnTo>
                      <a:lnTo>
                        <a:pt x="436280" y="105678"/>
                      </a:lnTo>
                      <a:lnTo>
                        <a:pt x="434055" y="105702"/>
                      </a:lnTo>
                      <a:lnTo>
                        <a:pt x="433362" y="103200"/>
                      </a:lnTo>
                      <a:lnTo>
                        <a:pt x="431317" y="99720"/>
                      </a:lnTo>
                      <a:lnTo>
                        <a:pt x="425840" y="93681"/>
                      </a:lnTo>
                      <a:lnTo>
                        <a:pt x="423607" y="91554"/>
                      </a:lnTo>
                      <a:lnTo>
                        <a:pt x="419393" y="86550"/>
                      </a:lnTo>
                      <a:lnTo>
                        <a:pt x="414487" y="81416"/>
                      </a:lnTo>
                      <a:lnTo>
                        <a:pt x="413794" y="81285"/>
                      </a:lnTo>
                      <a:lnTo>
                        <a:pt x="410502" y="81114"/>
                      </a:lnTo>
                      <a:lnTo>
                        <a:pt x="405678" y="81285"/>
                      </a:lnTo>
                      <a:lnTo>
                        <a:pt x="402621" y="82451"/>
                      </a:lnTo>
                      <a:lnTo>
                        <a:pt x="400698" y="83918"/>
                      </a:lnTo>
                      <a:lnTo>
                        <a:pt x="400364" y="85132"/>
                      </a:lnTo>
                      <a:lnTo>
                        <a:pt x="402238" y="89802"/>
                      </a:lnTo>
                      <a:lnTo>
                        <a:pt x="401651" y="90967"/>
                      </a:lnTo>
                      <a:lnTo>
                        <a:pt x="400698" y="91522"/>
                      </a:lnTo>
                      <a:lnTo>
                        <a:pt x="396322" y="90218"/>
                      </a:lnTo>
                      <a:lnTo>
                        <a:pt x="391032" y="90299"/>
                      </a:lnTo>
                      <a:lnTo>
                        <a:pt x="389687" y="91742"/>
                      </a:lnTo>
                      <a:lnTo>
                        <a:pt x="386460" y="91896"/>
                      </a:lnTo>
                      <a:lnTo>
                        <a:pt x="377153" y="92451"/>
                      </a:lnTo>
                      <a:lnTo>
                        <a:pt x="381261" y="96265"/>
                      </a:lnTo>
                      <a:lnTo>
                        <a:pt x="382622" y="97780"/>
                      </a:lnTo>
                      <a:lnTo>
                        <a:pt x="382891" y="100030"/>
                      </a:lnTo>
                      <a:lnTo>
                        <a:pt x="382190" y="104194"/>
                      </a:lnTo>
                      <a:lnTo>
                        <a:pt x="380210" y="107748"/>
                      </a:lnTo>
                      <a:lnTo>
                        <a:pt x="377919" y="110633"/>
                      </a:lnTo>
                      <a:lnTo>
                        <a:pt x="373486" y="113501"/>
                      </a:lnTo>
                      <a:lnTo>
                        <a:pt x="380210" y="116321"/>
                      </a:lnTo>
                      <a:lnTo>
                        <a:pt x="375654" y="120143"/>
                      </a:lnTo>
                      <a:lnTo>
                        <a:pt x="373510" y="121635"/>
                      </a:lnTo>
                      <a:lnTo>
                        <a:pt x="371041" y="121374"/>
                      </a:lnTo>
                      <a:lnTo>
                        <a:pt x="366599" y="120054"/>
                      </a:lnTo>
                      <a:lnTo>
                        <a:pt x="355882" y="116859"/>
                      </a:lnTo>
                      <a:lnTo>
                        <a:pt x="350764" y="115661"/>
                      </a:lnTo>
                      <a:lnTo>
                        <a:pt x="346200" y="115294"/>
                      </a:lnTo>
                      <a:lnTo>
                        <a:pt x="343748" y="115343"/>
                      </a:lnTo>
                      <a:lnTo>
                        <a:pt x="334041" y="112605"/>
                      </a:lnTo>
                      <a:lnTo>
                        <a:pt x="332175" y="112906"/>
                      </a:lnTo>
                      <a:lnTo>
                        <a:pt x="328695" y="114096"/>
                      </a:lnTo>
                      <a:lnTo>
                        <a:pt x="328304" y="116753"/>
                      </a:lnTo>
                      <a:lnTo>
                        <a:pt x="328532" y="123354"/>
                      </a:lnTo>
                      <a:lnTo>
                        <a:pt x="329037" y="128440"/>
                      </a:lnTo>
                      <a:lnTo>
                        <a:pt x="327750" y="131374"/>
                      </a:lnTo>
                      <a:lnTo>
                        <a:pt x="326470" y="133362"/>
                      </a:lnTo>
                      <a:lnTo>
                        <a:pt x="322591" y="138717"/>
                      </a:lnTo>
                      <a:lnTo>
                        <a:pt x="313862" y="135074"/>
                      </a:lnTo>
                      <a:lnTo>
                        <a:pt x="307905" y="132661"/>
                      </a:lnTo>
                      <a:lnTo>
                        <a:pt x="304091" y="135872"/>
                      </a:lnTo>
                      <a:lnTo>
                        <a:pt x="294491" y="141756"/>
                      </a:lnTo>
                      <a:lnTo>
                        <a:pt x="289576" y="153345"/>
                      </a:lnTo>
                      <a:lnTo>
                        <a:pt x="289291" y="153720"/>
                      </a:lnTo>
                      <a:lnTo>
                        <a:pt x="286390" y="156662"/>
                      </a:lnTo>
                      <a:lnTo>
                        <a:pt x="282673" y="158015"/>
                      </a:lnTo>
                      <a:lnTo>
                        <a:pt x="279854" y="158683"/>
                      </a:lnTo>
                      <a:lnTo>
                        <a:pt x="278216" y="162115"/>
                      </a:lnTo>
                      <a:lnTo>
                        <a:pt x="282038" y="167029"/>
                      </a:lnTo>
                      <a:lnTo>
                        <a:pt x="284002" y="169629"/>
                      </a:lnTo>
                      <a:lnTo>
                        <a:pt x="285819" y="173818"/>
                      </a:lnTo>
                      <a:lnTo>
                        <a:pt x="285485" y="176466"/>
                      </a:lnTo>
                      <a:lnTo>
                        <a:pt x="285061" y="178129"/>
                      </a:lnTo>
                      <a:lnTo>
                        <a:pt x="280945" y="181503"/>
                      </a:lnTo>
                      <a:lnTo>
                        <a:pt x="272176" y="190435"/>
                      </a:lnTo>
                      <a:lnTo>
                        <a:pt x="264060" y="199726"/>
                      </a:lnTo>
                      <a:lnTo>
                        <a:pt x="260734" y="202390"/>
                      </a:lnTo>
                      <a:lnTo>
                        <a:pt x="262250" y="210255"/>
                      </a:lnTo>
                      <a:lnTo>
                        <a:pt x="259552" y="212553"/>
                      </a:lnTo>
                      <a:lnTo>
                        <a:pt x="254060" y="215161"/>
                      </a:lnTo>
                      <a:lnTo>
                        <a:pt x="251240" y="216164"/>
                      </a:lnTo>
                      <a:lnTo>
                        <a:pt x="248216" y="216758"/>
                      </a:lnTo>
                      <a:lnTo>
                        <a:pt x="238917" y="217793"/>
                      </a:lnTo>
                      <a:lnTo>
                        <a:pt x="240580" y="226188"/>
                      </a:lnTo>
                      <a:lnTo>
                        <a:pt x="241208" y="229888"/>
                      </a:lnTo>
                      <a:lnTo>
                        <a:pt x="241191" y="232088"/>
                      </a:lnTo>
                      <a:lnTo>
                        <a:pt x="240230" y="234231"/>
                      </a:lnTo>
                      <a:lnTo>
                        <a:pt x="239072" y="238323"/>
                      </a:lnTo>
                      <a:lnTo>
                        <a:pt x="237345" y="252919"/>
                      </a:lnTo>
                      <a:lnTo>
                        <a:pt x="236016" y="254484"/>
                      </a:lnTo>
                      <a:lnTo>
                        <a:pt x="234182" y="258428"/>
                      </a:lnTo>
                      <a:lnTo>
                        <a:pt x="228315" y="267898"/>
                      </a:lnTo>
                      <a:lnTo>
                        <a:pt x="223588" y="274165"/>
                      </a:lnTo>
                      <a:lnTo>
                        <a:pt x="216775" y="283195"/>
                      </a:lnTo>
                      <a:lnTo>
                        <a:pt x="222309" y="286048"/>
                      </a:lnTo>
                      <a:lnTo>
                        <a:pt x="227369" y="288126"/>
                      </a:lnTo>
                      <a:lnTo>
                        <a:pt x="228421" y="291312"/>
                      </a:lnTo>
                      <a:lnTo>
                        <a:pt x="229122" y="296634"/>
                      </a:lnTo>
                      <a:lnTo>
                        <a:pt x="228959" y="300261"/>
                      </a:lnTo>
                      <a:lnTo>
                        <a:pt x="227019" y="303512"/>
                      </a:lnTo>
                      <a:lnTo>
                        <a:pt x="225511" y="305794"/>
                      </a:lnTo>
                      <a:lnTo>
                        <a:pt x="224476" y="306903"/>
                      </a:lnTo>
                      <a:lnTo>
                        <a:pt x="217272" y="305794"/>
                      </a:lnTo>
                      <a:lnTo>
                        <a:pt x="208079" y="304368"/>
                      </a:lnTo>
                      <a:lnTo>
                        <a:pt x="205691" y="304360"/>
                      </a:lnTo>
                      <a:lnTo>
                        <a:pt x="200336" y="305387"/>
                      </a:lnTo>
                      <a:lnTo>
                        <a:pt x="195504" y="307481"/>
                      </a:lnTo>
                      <a:lnTo>
                        <a:pt x="192961" y="309258"/>
                      </a:lnTo>
                      <a:lnTo>
                        <a:pt x="192277" y="309967"/>
                      </a:lnTo>
                      <a:lnTo>
                        <a:pt x="189049" y="313993"/>
                      </a:lnTo>
                      <a:lnTo>
                        <a:pt x="183328" y="321148"/>
                      </a:lnTo>
                      <a:lnTo>
                        <a:pt x="180190" y="324270"/>
                      </a:lnTo>
                      <a:lnTo>
                        <a:pt x="181103" y="328556"/>
                      </a:lnTo>
                      <a:lnTo>
                        <a:pt x="175839" y="336861"/>
                      </a:lnTo>
                      <a:lnTo>
                        <a:pt x="179278" y="345215"/>
                      </a:lnTo>
                      <a:lnTo>
                        <a:pt x="179432" y="345492"/>
                      </a:lnTo>
                      <a:lnTo>
                        <a:pt x="181250" y="348866"/>
                      </a:lnTo>
                      <a:lnTo>
                        <a:pt x="179343" y="351042"/>
                      </a:lnTo>
                      <a:lnTo>
                        <a:pt x="178536" y="352207"/>
                      </a:lnTo>
                      <a:lnTo>
                        <a:pt x="178813" y="356054"/>
                      </a:lnTo>
                      <a:lnTo>
                        <a:pt x="179311" y="360349"/>
                      </a:lnTo>
                      <a:lnTo>
                        <a:pt x="178870" y="362867"/>
                      </a:lnTo>
                      <a:lnTo>
                        <a:pt x="178691" y="365662"/>
                      </a:lnTo>
                      <a:lnTo>
                        <a:pt x="183369" y="378197"/>
                      </a:lnTo>
                      <a:lnTo>
                        <a:pt x="183320" y="381130"/>
                      </a:lnTo>
                      <a:lnTo>
                        <a:pt x="183083" y="383029"/>
                      </a:lnTo>
                      <a:lnTo>
                        <a:pt x="181641" y="390796"/>
                      </a:lnTo>
                      <a:lnTo>
                        <a:pt x="179702" y="401219"/>
                      </a:lnTo>
                      <a:lnTo>
                        <a:pt x="183083" y="403950"/>
                      </a:lnTo>
                      <a:lnTo>
                        <a:pt x="187916" y="407218"/>
                      </a:lnTo>
                      <a:lnTo>
                        <a:pt x="190630" y="408497"/>
                      </a:lnTo>
                      <a:lnTo>
                        <a:pt x="194632" y="412377"/>
                      </a:lnTo>
                      <a:lnTo>
                        <a:pt x="197688" y="416158"/>
                      </a:lnTo>
                      <a:lnTo>
                        <a:pt x="197256" y="418660"/>
                      </a:lnTo>
                      <a:lnTo>
                        <a:pt x="196392" y="421439"/>
                      </a:lnTo>
                      <a:lnTo>
                        <a:pt x="195105" y="423370"/>
                      </a:lnTo>
                      <a:lnTo>
                        <a:pt x="193890" y="426027"/>
                      </a:lnTo>
                      <a:lnTo>
                        <a:pt x="193361" y="427975"/>
                      </a:lnTo>
                      <a:lnTo>
                        <a:pt x="192782" y="428505"/>
                      </a:lnTo>
                      <a:lnTo>
                        <a:pt x="187444" y="428717"/>
                      </a:lnTo>
                      <a:lnTo>
                        <a:pt x="184616" y="429458"/>
                      </a:lnTo>
                      <a:lnTo>
                        <a:pt x="183141" y="430281"/>
                      </a:lnTo>
                      <a:lnTo>
                        <a:pt x="183654" y="434739"/>
                      </a:lnTo>
                      <a:lnTo>
                        <a:pt x="186890" y="442881"/>
                      </a:lnTo>
                      <a:lnTo>
                        <a:pt x="189587" y="448667"/>
                      </a:lnTo>
                      <a:lnTo>
                        <a:pt x="190443" y="452481"/>
                      </a:lnTo>
                      <a:lnTo>
                        <a:pt x="189554" y="456336"/>
                      </a:lnTo>
                      <a:lnTo>
                        <a:pt x="188634" y="458308"/>
                      </a:lnTo>
                      <a:lnTo>
                        <a:pt x="188609" y="460965"/>
                      </a:lnTo>
                      <a:lnTo>
                        <a:pt x="187908" y="466246"/>
                      </a:lnTo>
                      <a:lnTo>
                        <a:pt x="185814" y="468911"/>
                      </a:lnTo>
                      <a:lnTo>
                        <a:pt x="183083" y="471821"/>
                      </a:lnTo>
                      <a:lnTo>
                        <a:pt x="180036" y="473997"/>
                      </a:lnTo>
                      <a:lnTo>
                        <a:pt x="177632" y="474600"/>
                      </a:lnTo>
                      <a:lnTo>
                        <a:pt x="175561" y="474852"/>
                      </a:lnTo>
                      <a:lnTo>
                        <a:pt x="174160" y="475944"/>
                      </a:lnTo>
                      <a:lnTo>
                        <a:pt x="172905" y="479188"/>
                      </a:lnTo>
                      <a:lnTo>
                        <a:pt x="171731" y="482578"/>
                      </a:lnTo>
                      <a:lnTo>
                        <a:pt x="167925" y="486751"/>
                      </a:lnTo>
                      <a:lnTo>
                        <a:pt x="168023" y="488210"/>
                      </a:lnTo>
                      <a:lnTo>
                        <a:pt x="169474" y="493148"/>
                      </a:lnTo>
                      <a:lnTo>
                        <a:pt x="170843" y="498764"/>
                      </a:lnTo>
                      <a:lnTo>
                        <a:pt x="169685" y="504004"/>
                      </a:lnTo>
                      <a:lnTo>
                        <a:pt x="168708" y="509497"/>
                      </a:lnTo>
                      <a:lnTo>
                        <a:pt x="166980" y="513156"/>
                      </a:lnTo>
                      <a:lnTo>
                        <a:pt x="164519" y="514460"/>
                      </a:lnTo>
                      <a:lnTo>
                        <a:pt x="162718" y="513800"/>
                      </a:lnTo>
                      <a:lnTo>
                        <a:pt x="160664" y="508788"/>
                      </a:lnTo>
                      <a:lnTo>
                        <a:pt x="160631" y="507631"/>
                      </a:lnTo>
                      <a:lnTo>
                        <a:pt x="160118" y="506098"/>
                      </a:lnTo>
                      <a:lnTo>
                        <a:pt x="154315" y="504566"/>
                      </a:lnTo>
                      <a:lnTo>
                        <a:pt x="153296" y="504623"/>
                      </a:lnTo>
                      <a:lnTo>
                        <a:pt x="151014" y="503727"/>
                      </a:lnTo>
                      <a:lnTo>
                        <a:pt x="149678" y="503474"/>
                      </a:lnTo>
                      <a:lnTo>
                        <a:pt x="146939" y="502961"/>
                      </a:lnTo>
                      <a:lnTo>
                        <a:pt x="144658" y="498511"/>
                      </a:lnTo>
                      <a:lnTo>
                        <a:pt x="142229" y="494827"/>
                      </a:lnTo>
                      <a:lnTo>
                        <a:pt x="141887" y="493271"/>
                      </a:lnTo>
                      <a:lnTo>
                        <a:pt x="141977" y="486352"/>
                      </a:lnTo>
                      <a:lnTo>
                        <a:pt x="141235" y="483263"/>
                      </a:lnTo>
                      <a:lnTo>
                        <a:pt x="140998" y="479897"/>
                      </a:lnTo>
                      <a:lnTo>
                        <a:pt x="139483" y="482635"/>
                      </a:lnTo>
                      <a:lnTo>
                        <a:pt x="140363" y="486963"/>
                      </a:lnTo>
                      <a:lnTo>
                        <a:pt x="138488" y="488772"/>
                      </a:lnTo>
                      <a:lnTo>
                        <a:pt x="136109" y="489652"/>
                      </a:lnTo>
                      <a:lnTo>
                        <a:pt x="136345" y="492179"/>
                      </a:lnTo>
                      <a:lnTo>
                        <a:pt x="137315" y="492659"/>
                      </a:lnTo>
                      <a:lnTo>
                        <a:pt x="137510" y="495284"/>
                      </a:lnTo>
                      <a:lnTo>
                        <a:pt x="136940" y="499163"/>
                      </a:lnTo>
                      <a:lnTo>
                        <a:pt x="132270" y="507777"/>
                      </a:lnTo>
                      <a:lnTo>
                        <a:pt x="131325" y="508698"/>
                      </a:lnTo>
                      <a:lnTo>
                        <a:pt x="130681" y="509864"/>
                      </a:lnTo>
                      <a:lnTo>
                        <a:pt x="128301" y="509089"/>
                      </a:lnTo>
                      <a:lnTo>
                        <a:pt x="125237" y="511494"/>
                      </a:lnTo>
                      <a:lnTo>
                        <a:pt x="122336" y="511868"/>
                      </a:lnTo>
                      <a:lnTo>
                        <a:pt x="121292" y="509163"/>
                      </a:lnTo>
                      <a:lnTo>
                        <a:pt x="117185" y="505577"/>
                      </a:lnTo>
                      <a:lnTo>
                        <a:pt x="115262" y="505781"/>
                      </a:lnTo>
                      <a:lnTo>
                        <a:pt x="116998" y="507541"/>
                      </a:lnTo>
                      <a:lnTo>
                        <a:pt x="118701" y="509847"/>
                      </a:lnTo>
                      <a:lnTo>
                        <a:pt x="117723" y="511371"/>
                      </a:lnTo>
                      <a:lnTo>
                        <a:pt x="116777" y="512366"/>
                      </a:lnTo>
                      <a:lnTo>
                        <a:pt x="115107" y="512879"/>
                      </a:lnTo>
                      <a:lnTo>
                        <a:pt x="109125" y="515886"/>
                      </a:lnTo>
                      <a:lnTo>
                        <a:pt x="111252" y="517907"/>
                      </a:lnTo>
                      <a:lnTo>
                        <a:pt x="109443" y="520197"/>
                      </a:lnTo>
                      <a:lnTo>
                        <a:pt x="107356" y="520532"/>
                      </a:lnTo>
                      <a:lnTo>
                        <a:pt x="106240" y="521599"/>
                      </a:lnTo>
                      <a:lnTo>
                        <a:pt x="105849" y="523058"/>
                      </a:lnTo>
                      <a:lnTo>
                        <a:pt x="99663" y="527190"/>
                      </a:lnTo>
                      <a:lnTo>
                        <a:pt x="89565" y="537785"/>
                      </a:lnTo>
                      <a:lnTo>
                        <a:pt x="84382" y="540767"/>
                      </a:lnTo>
                      <a:lnTo>
                        <a:pt x="80756" y="543864"/>
                      </a:lnTo>
                      <a:lnTo>
                        <a:pt x="77561" y="543791"/>
                      </a:lnTo>
                      <a:lnTo>
                        <a:pt x="73543" y="546431"/>
                      </a:lnTo>
                      <a:lnTo>
                        <a:pt x="63389" y="548738"/>
                      </a:lnTo>
                      <a:lnTo>
                        <a:pt x="56641" y="547695"/>
                      </a:lnTo>
                      <a:lnTo>
                        <a:pt x="51946" y="548616"/>
                      </a:lnTo>
                      <a:lnTo>
                        <a:pt x="49428" y="546806"/>
                      </a:lnTo>
                      <a:lnTo>
                        <a:pt x="49110" y="545559"/>
                      </a:lnTo>
                      <a:lnTo>
                        <a:pt x="49233" y="544834"/>
                      </a:lnTo>
                      <a:lnTo>
                        <a:pt x="49656" y="543962"/>
                      </a:lnTo>
                      <a:lnTo>
                        <a:pt x="48776" y="543652"/>
                      </a:lnTo>
                      <a:lnTo>
                        <a:pt x="46943" y="543506"/>
                      </a:lnTo>
                      <a:lnTo>
                        <a:pt x="46160" y="544386"/>
                      </a:lnTo>
                      <a:lnTo>
                        <a:pt x="46046" y="546366"/>
                      </a:lnTo>
                      <a:lnTo>
                        <a:pt x="45166" y="546888"/>
                      </a:lnTo>
                      <a:lnTo>
                        <a:pt x="41678" y="545755"/>
                      </a:lnTo>
                      <a:lnTo>
                        <a:pt x="40797" y="544720"/>
                      </a:lnTo>
                      <a:lnTo>
                        <a:pt x="42052" y="542650"/>
                      </a:lnTo>
                      <a:lnTo>
                        <a:pt x="44212" y="540784"/>
                      </a:lnTo>
                      <a:lnTo>
                        <a:pt x="43813" y="540401"/>
                      </a:lnTo>
                      <a:lnTo>
                        <a:pt x="43397" y="539268"/>
                      </a:lnTo>
                      <a:lnTo>
                        <a:pt x="42338" y="539121"/>
                      </a:lnTo>
                      <a:lnTo>
                        <a:pt x="39225" y="539390"/>
                      </a:lnTo>
                      <a:lnTo>
                        <a:pt x="36674" y="539064"/>
                      </a:lnTo>
                      <a:lnTo>
                        <a:pt x="28377" y="534859"/>
                      </a:lnTo>
                      <a:lnTo>
                        <a:pt x="26446" y="532609"/>
                      </a:lnTo>
                      <a:lnTo>
                        <a:pt x="19763" y="529015"/>
                      </a:lnTo>
                      <a:lnTo>
                        <a:pt x="16764" y="525201"/>
                      </a:lnTo>
                      <a:lnTo>
                        <a:pt x="15060" y="521029"/>
                      </a:lnTo>
                      <a:lnTo>
                        <a:pt x="15183" y="517239"/>
                      </a:lnTo>
                      <a:lnTo>
                        <a:pt x="16006" y="511208"/>
                      </a:lnTo>
                      <a:lnTo>
                        <a:pt x="17416" y="509725"/>
                      </a:lnTo>
                      <a:lnTo>
                        <a:pt x="23406" y="511836"/>
                      </a:lnTo>
                      <a:lnTo>
                        <a:pt x="29486" y="515357"/>
                      </a:lnTo>
                      <a:lnTo>
                        <a:pt x="30431" y="515185"/>
                      </a:lnTo>
                      <a:lnTo>
                        <a:pt x="32346" y="512414"/>
                      </a:lnTo>
                      <a:lnTo>
                        <a:pt x="36038" y="510198"/>
                      </a:lnTo>
                      <a:lnTo>
                        <a:pt x="34987" y="509586"/>
                      </a:lnTo>
                      <a:lnTo>
                        <a:pt x="29494" y="512129"/>
                      </a:lnTo>
                      <a:lnTo>
                        <a:pt x="27448" y="510711"/>
                      </a:lnTo>
                      <a:lnTo>
                        <a:pt x="24278" y="507842"/>
                      </a:lnTo>
                      <a:lnTo>
                        <a:pt x="24278" y="506359"/>
                      </a:lnTo>
                      <a:lnTo>
                        <a:pt x="25753" y="504876"/>
                      </a:lnTo>
                      <a:lnTo>
                        <a:pt x="26250" y="502871"/>
                      </a:lnTo>
                      <a:lnTo>
                        <a:pt x="25476" y="500980"/>
                      </a:lnTo>
                      <a:lnTo>
                        <a:pt x="25835" y="498389"/>
                      </a:lnTo>
                      <a:lnTo>
                        <a:pt x="28288" y="495659"/>
                      </a:lnTo>
                      <a:lnTo>
                        <a:pt x="31963" y="492879"/>
                      </a:lnTo>
                      <a:lnTo>
                        <a:pt x="34612" y="490198"/>
                      </a:lnTo>
                      <a:lnTo>
                        <a:pt x="37326" y="488552"/>
                      </a:lnTo>
                      <a:lnTo>
                        <a:pt x="37040" y="487998"/>
                      </a:lnTo>
                      <a:lnTo>
                        <a:pt x="33936" y="489057"/>
                      </a:lnTo>
                      <a:lnTo>
                        <a:pt x="30969" y="490834"/>
                      </a:lnTo>
                      <a:lnTo>
                        <a:pt x="27457" y="493817"/>
                      </a:lnTo>
                      <a:lnTo>
                        <a:pt x="23194" y="496237"/>
                      </a:lnTo>
                      <a:lnTo>
                        <a:pt x="20032" y="497174"/>
                      </a:lnTo>
                      <a:lnTo>
                        <a:pt x="18532" y="497949"/>
                      </a:lnTo>
                      <a:lnTo>
                        <a:pt x="16210" y="498707"/>
                      </a:lnTo>
                      <a:lnTo>
                        <a:pt x="13814" y="502170"/>
                      </a:lnTo>
                      <a:lnTo>
                        <a:pt x="11214" y="503645"/>
                      </a:lnTo>
                      <a:lnTo>
                        <a:pt x="6528" y="503800"/>
                      </a:lnTo>
                      <a:lnTo>
                        <a:pt x="5501" y="501274"/>
                      </a:lnTo>
                      <a:lnTo>
                        <a:pt x="6813" y="492260"/>
                      </a:lnTo>
                      <a:lnTo>
                        <a:pt x="8239" y="487867"/>
                      </a:lnTo>
                      <a:lnTo>
                        <a:pt x="9788" y="484754"/>
                      </a:lnTo>
                      <a:lnTo>
                        <a:pt x="12233" y="484224"/>
                      </a:lnTo>
                      <a:lnTo>
                        <a:pt x="13944" y="481951"/>
                      </a:lnTo>
                      <a:lnTo>
                        <a:pt x="15362" y="481951"/>
                      </a:lnTo>
                      <a:lnTo>
                        <a:pt x="16601" y="482994"/>
                      </a:lnTo>
                      <a:lnTo>
                        <a:pt x="21377" y="484021"/>
                      </a:lnTo>
                      <a:lnTo>
                        <a:pt x="23740" y="481119"/>
                      </a:lnTo>
                      <a:lnTo>
                        <a:pt x="26804" y="480696"/>
                      </a:lnTo>
                      <a:lnTo>
                        <a:pt x="32403" y="477754"/>
                      </a:lnTo>
                      <a:lnTo>
                        <a:pt x="32289" y="477224"/>
                      </a:lnTo>
                      <a:lnTo>
                        <a:pt x="28508" y="477868"/>
                      </a:lnTo>
                      <a:lnTo>
                        <a:pt x="26201" y="477957"/>
                      </a:lnTo>
                      <a:lnTo>
                        <a:pt x="22917" y="478699"/>
                      </a:lnTo>
                      <a:lnTo>
                        <a:pt x="21165" y="478177"/>
                      </a:lnTo>
                      <a:lnTo>
                        <a:pt x="20342" y="475977"/>
                      </a:lnTo>
                      <a:lnTo>
                        <a:pt x="21662" y="473997"/>
                      </a:lnTo>
                      <a:lnTo>
                        <a:pt x="26943" y="469254"/>
                      </a:lnTo>
                      <a:lnTo>
                        <a:pt x="28760" y="467175"/>
                      </a:lnTo>
                      <a:lnTo>
                        <a:pt x="29795" y="465228"/>
                      </a:lnTo>
                      <a:lnTo>
                        <a:pt x="29640" y="463915"/>
                      </a:lnTo>
                      <a:lnTo>
                        <a:pt x="30513" y="461177"/>
                      </a:lnTo>
                      <a:lnTo>
                        <a:pt x="35679" y="456393"/>
                      </a:lnTo>
                      <a:lnTo>
                        <a:pt x="39885" y="454209"/>
                      </a:lnTo>
                      <a:lnTo>
                        <a:pt x="41270" y="456092"/>
                      </a:lnTo>
                      <a:lnTo>
                        <a:pt x="40089" y="461976"/>
                      </a:lnTo>
                      <a:lnTo>
                        <a:pt x="40097" y="464404"/>
                      </a:lnTo>
                      <a:lnTo>
                        <a:pt x="43413" y="455831"/>
                      </a:lnTo>
                      <a:lnTo>
                        <a:pt x="44889" y="453785"/>
                      </a:lnTo>
                      <a:lnTo>
                        <a:pt x="46551" y="452343"/>
                      </a:lnTo>
                      <a:lnTo>
                        <a:pt x="50585" y="451381"/>
                      </a:lnTo>
                      <a:lnTo>
                        <a:pt x="51718" y="450020"/>
                      </a:lnTo>
                      <a:lnTo>
                        <a:pt x="47040" y="450468"/>
                      </a:lnTo>
                      <a:lnTo>
                        <a:pt x="35639" y="453745"/>
                      </a:lnTo>
                      <a:lnTo>
                        <a:pt x="30839" y="456670"/>
                      </a:lnTo>
                      <a:lnTo>
                        <a:pt x="29551" y="458911"/>
                      </a:lnTo>
                      <a:lnTo>
                        <a:pt x="26226" y="462294"/>
                      </a:lnTo>
                      <a:lnTo>
                        <a:pt x="24661" y="464494"/>
                      </a:lnTo>
                      <a:lnTo>
                        <a:pt x="23968" y="467713"/>
                      </a:lnTo>
                      <a:lnTo>
                        <a:pt x="22094" y="469465"/>
                      </a:lnTo>
                      <a:lnTo>
                        <a:pt x="19559" y="470109"/>
                      </a:lnTo>
                      <a:lnTo>
                        <a:pt x="16047" y="474184"/>
                      </a:lnTo>
                      <a:lnTo>
                        <a:pt x="14482" y="477468"/>
                      </a:lnTo>
                      <a:lnTo>
                        <a:pt x="11002" y="480076"/>
                      </a:lnTo>
                      <a:lnTo>
                        <a:pt x="8769" y="482081"/>
                      </a:lnTo>
                      <a:lnTo>
                        <a:pt x="8035" y="482790"/>
                      </a:lnTo>
                      <a:lnTo>
                        <a:pt x="6845" y="484762"/>
                      </a:lnTo>
                      <a:lnTo>
                        <a:pt x="5843" y="484909"/>
                      </a:lnTo>
                      <a:lnTo>
                        <a:pt x="4971" y="483752"/>
                      </a:lnTo>
                      <a:lnTo>
                        <a:pt x="4833" y="481209"/>
                      </a:lnTo>
                      <a:lnTo>
                        <a:pt x="5191" y="477142"/>
                      </a:lnTo>
                      <a:lnTo>
                        <a:pt x="6870" y="474225"/>
                      </a:lnTo>
                      <a:lnTo>
                        <a:pt x="7669" y="471356"/>
                      </a:lnTo>
                      <a:lnTo>
                        <a:pt x="6553" y="468691"/>
                      </a:lnTo>
                      <a:lnTo>
                        <a:pt x="7327" y="467004"/>
                      </a:lnTo>
                      <a:lnTo>
                        <a:pt x="8810" y="467053"/>
                      </a:lnTo>
                      <a:lnTo>
                        <a:pt x="11565" y="467827"/>
                      </a:lnTo>
                      <a:lnTo>
                        <a:pt x="14482" y="467705"/>
                      </a:lnTo>
                      <a:lnTo>
                        <a:pt x="19307" y="465594"/>
                      </a:lnTo>
                      <a:lnTo>
                        <a:pt x="18532" y="464355"/>
                      </a:lnTo>
                      <a:lnTo>
                        <a:pt x="16454" y="464184"/>
                      </a:lnTo>
                      <a:lnTo>
                        <a:pt x="12575" y="464355"/>
                      </a:lnTo>
                      <a:lnTo>
                        <a:pt x="9323" y="462285"/>
                      </a:lnTo>
                      <a:lnTo>
                        <a:pt x="6780" y="458186"/>
                      </a:lnTo>
                      <a:lnTo>
                        <a:pt x="5631" y="452685"/>
                      </a:lnTo>
                      <a:lnTo>
                        <a:pt x="6389" y="451112"/>
                      </a:lnTo>
                      <a:lnTo>
                        <a:pt x="15786" y="445497"/>
                      </a:lnTo>
                      <a:lnTo>
                        <a:pt x="18296" y="442946"/>
                      </a:lnTo>
                      <a:lnTo>
                        <a:pt x="16837" y="442702"/>
                      </a:lnTo>
                      <a:lnTo>
                        <a:pt x="13325" y="445790"/>
                      </a:lnTo>
                      <a:lnTo>
                        <a:pt x="8288" y="447706"/>
                      </a:lnTo>
                      <a:lnTo>
                        <a:pt x="5102" y="445041"/>
                      </a:lnTo>
                      <a:lnTo>
                        <a:pt x="3439" y="442164"/>
                      </a:lnTo>
                      <a:lnTo>
                        <a:pt x="2502" y="436092"/>
                      </a:lnTo>
                      <a:lnTo>
                        <a:pt x="2836" y="432963"/>
                      </a:lnTo>
                      <a:lnTo>
                        <a:pt x="2437" y="428847"/>
                      </a:lnTo>
                      <a:lnTo>
                        <a:pt x="4596" y="427511"/>
                      </a:lnTo>
                      <a:lnTo>
                        <a:pt x="7001" y="428220"/>
                      </a:lnTo>
                      <a:lnTo>
                        <a:pt x="9364" y="428489"/>
                      </a:lnTo>
                      <a:lnTo>
                        <a:pt x="14767" y="428130"/>
                      </a:lnTo>
                      <a:lnTo>
                        <a:pt x="26633" y="425652"/>
                      </a:lnTo>
                      <a:lnTo>
                        <a:pt x="34286" y="427127"/>
                      </a:lnTo>
                      <a:lnTo>
                        <a:pt x="37399" y="426989"/>
                      </a:lnTo>
                      <a:lnTo>
                        <a:pt x="42150" y="424862"/>
                      </a:lnTo>
                      <a:lnTo>
                        <a:pt x="46323" y="424642"/>
                      </a:lnTo>
                      <a:lnTo>
                        <a:pt x="49428" y="426272"/>
                      </a:lnTo>
                      <a:lnTo>
                        <a:pt x="51139" y="428138"/>
                      </a:lnTo>
                      <a:lnTo>
                        <a:pt x="51351" y="430624"/>
                      </a:lnTo>
                      <a:lnTo>
                        <a:pt x="52794" y="432286"/>
                      </a:lnTo>
                      <a:lnTo>
                        <a:pt x="53772" y="431748"/>
                      </a:lnTo>
                      <a:lnTo>
                        <a:pt x="52990" y="429776"/>
                      </a:lnTo>
                      <a:lnTo>
                        <a:pt x="52827" y="426712"/>
                      </a:lnTo>
                      <a:lnTo>
                        <a:pt x="65353" y="423240"/>
                      </a:lnTo>
                      <a:lnTo>
                        <a:pt x="66819" y="421887"/>
                      </a:lnTo>
                      <a:lnTo>
                        <a:pt x="61848" y="421423"/>
                      </a:lnTo>
                      <a:lnTo>
                        <a:pt x="60430" y="418252"/>
                      </a:lnTo>
                      <a:lnTo>
                        <a:pt x="63054" y="413452"/>
                      </a:lnTo>
                      <a:lnTo>
                        <a:pt x="62802" y="412825"/>
                      </a:lnTo>
                      <a:lnTo>
                        <a:pt x="60039" y="415359"/>
                      </a:lnTo>
                      <a:lnTo>
                        <a:pt x="58686" y="418921"/>
                      </a:lnTo>
                      <a:lnTo>
                        <a:pt x="59224" y="421765"/>
                      </a:lnTo>
                      <a:lnTo>
                        <a:pt x="58678" y="423085"/>
                      </a:lnTo>
                      <a:lnTo>
                        <a:pt x="56143" y="423696"/>
                      </a:lnTo>
                      <a:lnTo>
                        <a:pt x="50414" y="423908"/>
                      </a:lnTo>
                      <a:lnTo>
                        <a:pt x="46722" y="422702"/>
                      </a:lnTo>
                      <a:lnTo>
                        <a:pt x="43324" y="422050"/>
                      </a:lnTo>
                      <a:lnTo>
                        <a:pt x="42167" y="421137"/>
                      </a:lnTo>
                      <a:lnTo>
                        <a:pt x="42558" y="419108"/>
                      </a:lnTo>
                      <a:lnTo>
                        <a:pt x="41914" y="418692"/>
                      </a:lnTo>
                      <a:lnTo>
                        <a:pt x="40496" y="420518"/>
                      </a:lnTo>
                      <a:lnTo>
                        <a:pt x="39241" y="424153"/>
                      </a:lnTo>
                      <a:lnTo>
                        <a:pt x="36535" y="424984"/>
                      </a:lnTo>
                      <a:lnTo>
                        <a:pt x="29070" y="423639"/>
                      </a:lnTo>
                      <a:lnTo>
                        <a:pt x="18272" y="424430"/>
                      </a:lnTo>
                      <a:lnTo>
                        <a:pt x="13422" y="426264"/>
                      </a:lnTo>
                      <a:lnTo>
                        <a:pt x="10277" y="426027"/>
                      </a:lnTo>
                      <a:lnTo>
                        <a:pt x="4882" y="422824"/>
                      </a:lnTo>
                      <a:lnTo>
                        <a:pt x="2763" y="420274"/>
                      </a:lnTo>
                      <a:lnTo>
                        <a:pt x="1972" y="415131"/>
                      </a:lnTo>
                      <a:lnTo>
                        <a:pt x="2290" y="412865"/>
                      </a:lnTo>
                      <a:lnTo>
                        <a:pt x="6512" y="411920"/>
                      </a:lnTo>
                      <a:lnTo>
                        <a:pt x="8639" y="411985"/>
                      </a:lnTo>
                      <a:lnTo>
                        <a:pt x="10635" y="410763"/>
                      </a:lnTo>
                      <a:lnTo>
                        <a:pt x="8859" y="409972"/>
                      </a:lnTo>
                      <a:lnTo>
                        <a:pt x="6373" y="408416"/>
                      </a:lnTo>
                      <a:lnTo>
                        <a:pt x="4686" y="405294"/>
                      </a:lnTo>
                      <a:lnTo>
                        <a:pt x="2143" y="404284"/>
                      </a:lnTo>
                      <a:lnTo>
                        <a:pt x="432" y="401627"/>
                      </a:lnTo>
                      <a:lnTo>
                        <a:pt x="0" y="397609"/>
                      </a:lnTo>
                      <a:lnTo>
                        <a:pt x="497" y="394814"/>
                      </a:lnTo>
                      <a:lnTo>
                        <a:pt x="1866" y="393909"/>
                      </a:lnTo>
                      <a:lnTo>
                        <a:pt x="5126" y="394520"/>
                      </a:lnTo>
                      <a:lnTo>
                        <a:pt x="13773" y="394048"/>
                      </a:lnTo>
                      <a:lnTo>
                        <a:pt x="21914" y="396892"/>
                      </a:lnTo>
                      <a:lnTo>
                        <a:pt x="27424" y="398497"/>
                      </a:lnTo>
                      <a:lnTo>
                        <a:pt x="38605" y="397699"/>
                      </a:lnTo>
                      <a:lnTo>
                        <a:pt x="45149" y="395156"/>
                      </a:lnTo>
                      <a:lnTo>
                        <a:pt x="43952" y="394455"/>
                      </a:lnTo>
                      <a:lnTo>
                        <a:pt x="36845" y="395922"/>
                      </a:lnTo>
                      <a:lnTo>
                        <a:pt x="30284" y="395865"/>
                      </a:lnTo>
                      <a:lnTo>
                        <a:pt x="18712" y="392996"/>
                      </a:lnTo>
                      <a:lnTo>
                        <a:pt x="13961" y="392075"/>
                      </a:lnTo>
                      <a:lnTo>
                        <a:pt x="8842" y="392475"/>
                      </a:lnTo>
                      <a:lnTo>
                        <a:pt x="6185" y="391611"/>
                      </a:lnTo>
                      <a:lnTo>
                        <a:pt x="4621" y="388767"/>
                      </a:lnTo>
                      <a:lnTo>
                        <a:pt x="5770" y="383331"/>
                      </a:lnTo>
                      <a:lnTo>
                        <a:pt x="8198" y="382157"/>
                      </a:lnTo>
                      <a:lnTo>
                        <a:pt x="9511" y="383575"/>
                      </a:lnTo>
                      <a:lnTo>
                        <a:pt x="11091" y="383665"/>
                      </a:lnTo>
                      <a:lnTo>
                        <a:pt x="12706" y="381399"/>
                      </a:lnTo>
                      <a:lnTo>
                        <a:pt x="14238" y="380104"/>
                      </a:lnTo>
                      <a:lnTo>
                        <a:pt x="15460" y="377161"/>
                      </a:lnTo>
                      <a:lnTo>
                        <a:pt x="20040" y="374382"/>
                      </a:lnTo>
                      <a:lnTo>
                        <a:pt x="21972" y="374154"/>
                      </a:lnTo>
                      <a:lnTo>
                        <a:pt x="24751" y="372867"/>
                      </a:lnTo>
                      <a:lnTo>
                        <a:pt x="26535" y="373233"/>
                      </a:lnTo>
                      <a:lnTo>
                        <a:pt x="27669" y="374513"/>
                      </a:lnTo>
                      <a:lnTo>
                        <a:pt x="29103" y="375580"/>
                      </a:lnTo>
                      <a:lnTo>
                        <a:pt x="32207" y="375450"/>
                      </a:lnTo>
                      <a:lnTo>
                        <a:pt x="41417" y="373225"/>
                      </a:lnTo>
                      <a:lnTo>
                        <a:pt x="42403" y="372565"/>
                      </a:lnTo>
                      <a:lnTo>
                        <a:pt x="44204" y="370740"/>
                      </a:lnTo>
                      <a:lnTo>
                        <a:pt x="38369" y="371554"/>
                      </a:lnTo>
                      <a:lnTo>
                        <a:pt x="33512" y="372850"/>
                      </a:lnTo>
                      <a:lnTo>
                        <a:pt x="30415" y="373217"/>
                      </a:lnTo>
                      <a:lnTo>
                        <a:pt x="29975" y="371587"/>
                      </a:lnTo>
                      <a:lnTo>
                        <a:pt x="31108" y="370145"/>
                      </a:lnTo>
                      <a:lnTo>
                        <a:pt x="32917" y="368604"/>
                      </a:lnTo>
                      <a:lnTo>
                        <a:pt x="33805" y="365988"/>
                      </a:lnTo>
                      <a:lnTo>
                        <a:pt x="35785" y="364872"/>
                      </a:lnTo>
                      <a:lnTo>
                        <a:pt x="37929" y="364937"/>
                      </a:lnTo>
                      <a:lnTo>
                        <a:pt x="42362" y="364456"/>
                      </a:lnTo>
                      <a:lnTo>
                        <a:pt x="45500" y="363780"/>
                      </a:lnTo>
                      <a:lnTo>
                        <a:pt x="50862" y="364228"/>
                      </a:lnTo>
                      <a:lnTo>
                        <a:pt x="58874" y="365238"/>
                      </a:lnTo>
                      <a:lnTo>
                        <a:pt x="64032" y="367667"/>
                      </a:lnTo>
                      <a:lnTo>
                        <a:pt x="65972" y="367455"/>
                      </a:lnTo>
                      <a:lnTo>
                        <a:pt x="68034" y="366803"/>
                      </a:lnTo>
                      <a:lnTo>
                        <a:pt x="68963" y="365923"/>
                      </a:lnTo>
                      <a:lnTo>
                        <a:pt x="64912" y="364912"/>
                      </a:lnTo>
                      <a:lnTo>
                        <a:pt x="64685" y="363462"/>
                      </a:lnTo>
                      <a:lnTo>
                        <a:pt x="65181" y="362378"/>
                      </a:lnTo>
                      <a:lnTo>
                        <a:pt x="71791" y="360365"/>
                      </a:lnTo>
                      <a:lnTo>
                        <a:pt x="78995" y="359917"/>
                      </a:lnTo>
                      <a:lnTo>
                        <a:pt x="77765" y="358303"/>
                      </a:lnTo>
                      <a:lnTo>
                        <a:pt x="61962" y="360748"/>
                      </a:lnTo>
                      <a:lnTo>
                        <a:pt x="57839" y="359069"/>
                      </a:lnTo>
                      <a:lnTo>
                        <a:pt x="54578" y="359094"/>
                      </a:lnTo>
                      <a:lnTo>
                        <a:pt x="52451" y="360047"/>
                      </a:lnTo>
                      <a:lnTo>
                        <a:pt x="46380" y="361196"/>
                      </a:lnTo>
                      <a:lnTo>
                        <a:pt x="45255" y="360373"/>
                      </a:lnTo>
                      <a:lnTo>
                        <a:pt x="46404" y="357545"/>
                      </a:lnTo>
                      <a:lnTo>
                        <a:pt x="50047" y="352892"/>
                      </a:lnTo>
                      <a:lnTo>
                        <a:pt x="50357" y="351751"/>
                      </a:lnTo>
                      <a:lnTo>
                        <a:pt x="52044" y="350626"/>
                      </a:lnTo>
                      <a:lnTo>
                        <a:pt x="61482" y="347928"/>
                      </a:lnTo>
                      <a:lnTo>
                        <a:pt x="66021" y="344791"/>
                      </a:lnTo>
                      <a:lnTo>
                        <a:pt x="68059" y="344391"/>
                      </a:lnTo>
                      <a:lnTo>
                        <a:pt x="70088" y="344611"/>
                      </a:lnTo>
                      <a:lnTo>
                        <a:pt x="73176" y="344245"/>
                      </a:lnTo>
                      <a:lnTo>
                        <a:pt x="79134" y="345133"/>
                      </a:lnTo>
                      <a:lnTo>
                        <a:pt x="81872" y="349077"/>
                      </a:lnTo>
                      <a:lnTo>
                        <a:pt x="84333" y="350308"/>
                      </a:lnTo>
                      <a:lnTo>
                        <a:pt x="92092" y="355214"/>
                      </a:lnTo>
                      <a:lnTo>
                        <a:pt x="91742" y="353804"/>
                      </a:lnTo>
                      <a:lnTo>
                        <a:pt x="85034" y="347154"/>
                      </a:lnTo>
                      <a:lnTo>
                        <a:pt x="82459" y="345500"/>
                      </a:lnTo>
                      <a:lnTo>
                        <a:pt x="80552" y="342232"/>
                      </a:lnTo>
                      <a:lnTo>
                        <a:pt x="81212" y="339143"/>
                      </a:lnTo>
                      <a:lnTo>
                        <a:pt x="83372" y="337073"/>
                      </a:lnTo>
                      <a:lnTo>
                        <a:pt x="91032" y="335965"/>
                      </a:lnTo>
                      <a:lnTo>
                        <a:pt x="92393" y="334775"/>
                      </a:lnTo>
                      <a:lnTo>
                        <a:pt x="92540" y="332713"/>
                      </a:lnTo>
                      <a:lnTo>
                        <a:pt x="91358" y="331303"/>
                      </a:lnTo>
                      <a:lnTo>
                        <a:pt x="88539" y="331376"/>
                      </a:lnTo>
                      <a:lnTo>
                        <a:pt x="86216" y="330512"/>
                      </a:lnTo>
                      <a:lnTo>
                        <a:pt x="85580" y="328296"/>
                      </a:lnTo>
                      <a:lnTo>
                        <a:pt x="86509" y="326788"/>
                      </a:lnTo>
                      <a:lnTo>
                        <a:pt x="90918" y="324058"/>
                      </a:lnTo>
                      <a:lnTo>
                        <a:pt x="93347" y="323161"/>
                      </a:lnTo>
                      <a:lnTo>
                        <a:pt x="97520" y="322200"/>
                      </a:lnTo>
                      <a:lnTo>
                        <a:pt x="104797" y="324359"/>
                      </a:lnTo>
                      <a:lnTo>
                        <a:pt x="105360" y="325500"/>
                      </a:lnTo>
                      <a:lnTo>
                        <a:pt x="103314" y="328222"/>
                      </a:lnTo>
                      <a:lnTo>
                        <a:pt x="103518" y="329755"/>
                      </a:lnTo>
                      <a:lnTo>
                        <a:pt x="105311" y="329926"/>
                      </a:lnTo>
                      <a:lnTo>
                        <a:pt x="109459" y="325329"/>
                      </a:lnTo>
                      <a:lnTo>
                        <a:pt x="114349" y="324694"/>
                      </a:lnTo>
                      <a:lnTo>
                        <a:pt x="116370" y="323707"/>
                      </a:lnTo>
                      <a:lnTo>
                        <a:pt x="118717" y="323080"/>
                      </a:lnTo>
                      <a:lnTo>
                        <a:pt x="122083" y="327236"/>
                      </a:lnTo>
                      <a:lnTo>
                        <a:pt x="123550" y="328573"/>
                      </a:lnTo>
                      <a:lnTo>
                        <a:pt x="124650" y="329119"/>
                      </a:lnTo>
                      <a:lnTo>
                        <a:pt x="125726" y="332574"/>
                      </a:lnTo>
                      <a:lnTo>
                        <a:pt x="126769" y="332762"/>
                      </a:lnTo>
                      <a:lnTo>
                        <a:pt x="128236" y="331034"/>
                      </a:lnTo>
                      <a:lnTo>
                        <a:pt x="130909" y="330113"/>
                      </a:lnTo>
                      <a:lnTo>
                        <a:pt x="134674" y="329518"/>
                      </a:lnTo>
                      <a:lnTo>
                        <a:pt x="140892" y="330431"/>
                      </a:lnTo>
                      <a:lnTo>
                        <a:pt x="143712" y="329755"/>
                      </a:lnTo>
                      <a:lnTo>
                        <a:pt x="145098" y="329852"/>
                      </a:lnTo>
                      <a:lnTo>
                        <a:pt x="143769" y="326739"/>
                      </a:lnTo>
                      <a:lnTo>
                        <a:pt x="142946" y="325843"/>
                      </a:lnTo>
                      <a:lnTo>
                        <a:pt x="144226" y="323064"/>
                      </a:lnTo>
                      <a:lnTo>
                        <a:pt x="145554" y="321980"/>
                      </a:lnTo>
                      <a:lnTo>
                        <a:pt x="149865" y="320032"/>
                      </a:lnTo>
                      <a:lnTo>
                        <a:pt x="153964" y="319160"/>
                      </a:lnTo>
                      <a:lnTo>
                        <a:pt x="156638" y="317302"/>
                      </a:lnTo>
                      <a:lnTo>
                        <a:pt x="160232" y="315607"/>
                      </a:lnTo>
                      <a:lnTo>
                        <a:pt x="159678" y="314229"/>
                      </a:lnTo>
                      <a:lnTo>
                        <a:pt x="158675" y="312656"/>
                      </a:lnTo>
                      <a:lnTo>
                        <a:pt x="156353" y="312559"/>
                      </a:lnTo>
                      <a:lnTo>
                        <a:pt x="155383" y="311687"/>
                      </a:lnTo>
                      <a:lnTo>
                        <a:pt x="158349" y="309649"/>
                      </a:lnTo>
                      <a:lnTo>
                        <a:pt x="162391" y="307367"/>
                      </a:lnTo>
                      <a:lnTo>
                        <a:pt x="161682" y="306463"/>
                      </a:lnTo>
                      <a:lnTo>
                        <a:pt x="158651" y="305444"/>
                      </a:lnTo>
                      <a:lnTo>
                        <a:pt x="156345" y="306218"/>
                      </a:lnTo>
                      <a:lnTo>
                        <a:pt x="152905" y="307978"/>
                      </a:lnTo>
                      <a:lnTo>
                        <a:pt x="148920" y="310774"/>
                      </a:lnTo>
                      <a:lnTo>
                        <a:pt x="150224" y="311581"/>
                      </a:lnTo>
                      <a:lnTo>
                        <a:pt x="152213" y="313920"/>
                      </a:lnTo>
                      <a:lnTo>
                        <a:pt x="149425" y="317041"/>
                      </a:lnTo>
                      <a:lnTo>
                        <a:pt x="134658" y="325297"/>
                      </a:lnTo>
                      <a:lnTo>
                        <a:pt x="127600" y="327717"/>
                      </a:lnTo>
                      <a:lnTo>
                        <a:pt x="124357" y="327342"/>
                      </a:lnTo>
                      <a:lnTo>
                        <a:pt x="123583" y="325085"/>
                      </a:lnTo>
                      <a:lnTo>
                        <a:pt x="122083" y="323414"/>
                      </a:lnTo>
                      <a:lnTo>
                        <a:pt x="120469" y="319975"/>
                      </a:lnTo>
                      <a:lnTo>
                        <a:pt x="117731" y="320064"/>
                      </a:lnTo>
                      <a:lnTo>
                        <a:pt x="116182" y="320831"/>
                      </a:lnTo>
                      <a:lnTo>
                        <a:pt x="115514" y="319698"/>
                      </a:lnTo>
                      <a:lnTo>
                        <a:pt x="116680" y="316014"/>
                      </a:lnTo>
                      <a:lnTo>
                        <a:pt x="118994" y="313105"/>
                      </a:lnTo>
                      <a:lnTo>
                        <a:pt x="122873" y="310904"/>
                      </a:lnTo>
                      <a:lnTo>
                        <a:pt x="124740" y="308247"/>
                      </a:lnTo>
                      <a:lnTo>
                        <a:pt x="126484" y="304018"/>
                      </a:lnTo>
                      <a:lnTo>
                        <a:pt x="132099" y="300000"/>
                      </a:lnTo>
                      <a:lnTo>
                        <a:pt x="140265" y="290033"/>
                      </a:lnTo>
                      <a:lnTo>
                        <a:pt x="146924" y="286846"/>
                      </a:lnTo>
                      <a:lnTo>
                        <a:pt x="149368" y="283358"/>
                      </a:lnTo>
                      <a:lnTo>
                        <a:pt x="153280" y="281818"/>
                      </a:lnTo>
                      <a:lnTo>
                        <a:pt x="156630" y="279096"/>
                      </a:lnTo>
                      <a:lnTo>
                        <a:pt x="159254" y="278819"/>
                      </a:lnTo>
                      <a:lnTo>
                        <a:pt x="164038" y="276374"/>
                      </a:lnTo>
                      <a:lnTo>
                        <a:pt x="166735" y="273448"/>
                      </a:lnTo>
                      <a:lnTo>
                        <a:pt x="164975" y="273269"/>
                      </a:lnTo>
                      <a:lnTo>
                        <a:pt x="160778" y="275176"/>
                      </a:lnTo>
                      <a:lnTo>
                        <a:pt x="158398" y="275934"/>
                      </a:lnTo>
                      <a:lnTo>
                        <a:pt x="158561" y="272804"/>
                      </a:lnTo>
                      <a:lnTo>
                        <a:pt x="159718" y="269585"/>
                      </a:lnTo>
                      <a:lnTo>
                        <a:pt x="163182" y="266651"/>
                      </a:lnTo>
                      <a:lnTo>
                        <a:pt x="179807" y="258094"/>
                      </a:lnTo>
                      <a:lnTo>
                        <a:pt x="181470" y="259504"/>
                      </a:lnTo>
                      <a:lnTo>
                        <a:pt x="183442" y="262014"/>
                      </a:lnTo>
                      <a:lnTo>
                        <a:pt x="188454" y="261443"/>
                      </a:lnTo>
                      <a:lnTo>
                        <a:pt x="194151" y="256594"/>
                      </a:lnTo>
                      <a:lnTo>
                        <a:pt x="198544" y="251321"/>
                      </a:lnTo>
                      <a:lnTo>
                        <a:pt x="196180" y="252242"/>
                      </a:lnTo>
                      <a:lnTo>
                        <a:pt x="193581" y="254402"/>
                      </a:lnTo>
                      <a:lnTo>
                        <a:pt x="188536" y="257393"/>
                      </a:lnTo>
                      <a:lnTo>
                        <a:pt x="186205" y="257874"/>
                      </a:lnTo>
                      <a:lnTo>
                        <a:pt x="184869" y="257483"/>
                      </a:lnTo>
                      <a:lnTo>
                        <a:pt x="184127" y="255486"/>
                      </a:lnTo>
                      <a:lnTo>
                        <a:pt x="182375" y="254834"/>
                      </a:lnTo>
                      <a:lnTo>
                        <a:pt x="180802" y="255282"/>
                      </a:lnTo>
                      <a:lnTo>
                        <a:pt x="179164" y="253864"/>
                      </a:lnTo>
                      <a:lnTo>
                        <a:pt x="178870" y="250343"/>
                      </a:lnTo>
                      <a:lnTo>
                        <a:pt x="180957" y="245111"/>
                      </a:lnTo>
                      <a:lnTo>
                        <a:pt x="182603" y="241631"/>
                      </a:lnTo>
                      <a:lnTo>
                        <a:pt x="184396" y="239015"/>
                      </a:lnTo>
                      <a:lnTo>
                        <a:pt x="191413" y="231542"/>
                      </a:lnTo>
                      <a:lnTo>
                        <a:pt x="192928" y="227459"/>
                      </a:lnTo>
                      <a:lnTo>
                        <a:pt x="196107" y="225299"/>
                      </a:lnTo>
                      <a:lnTo>
                        <a:pt x="200223" y="225788"/>
                      </a:lnTo>
                      <a:lnTo>
                        <a:pt x="201470" y="225161"/>
                      </a:lnTo>
                      <a:lnTo>
                        <a:pt x="200044" y="222488"/>
                      </a:lnTo>
                      <a:lnTo>
                        <a:pt x="195561" y="220361"/>
                      </a:lnTo>
                      <a:lnTo>
                        <a:pt x="195284" y="219024"/>
                      </a:lnTo>
                      <a:lnTo>
                        <a:pt x="210247" y="215512"/>
                      </a:lnTo>
                      <a:lnTo>
                        <a:pt x="217378" y="215634"/>
                      </a:lnTo>
                      <a:lnTo>
                        <a:pt x="219489" y="213882"/>
                      </a:lnTo>
                      <a:lnTo>
                        <a:pt x="223352" y="212757"/>
                      </a:lnTo>
                      <a:lnTo>
                        <a:pt x="226302" y="210614"/>
                      </a:lnTo>
                      <a:lnTo>
                        <a:pt x="224778" y="209668"/>
                      </a:lnTo>
                      <a:lnTo>
                        <a:pt x="217541" y="211640"/>
                      </a:lnTo>
                      <a:lnTo>
                        <a:pt x="213018" y="212561"/>
                      </a:lnTo>
                      <a:lnTo>
                        <a:pt x="210972" y="212537"/>
                      </a:lnTo>
                      <a:lnTo>
                        <a:pt x="209375" y="213213"/>
                      </a:lnTo>
                      <a:lnTo>
                        <a:pt x="203597" y="213474"/>
                      </a:lnTo>
                      <a:lnTo>
                        <a:pt x="202342" y="204917"/>
                      </a:lnTo>
                      <a:lnTo>
                        <a:pt x="203238" y="200272"/>
                      </a:lnTo>
                      <a:lnTo>
                        <a:pt x="205389" y="200369"/>
                      </a:lnTo>
                      <a:lnTo>
                        <a:pt x="205887" y="195928"/>
                      </a:lnTo>
                      <a:lnTo>
                        <a:pt x="208372" y="193312"/>
                      </a:lnTo>
                      <a:lnTo>
                        <a:pt x="211811" y="192717"/>
                      </a:lnTo>
                      <a:lnTo>
                        <a:pt x="213547" y="191600"/>
                      </a:lnTo>
                      <a:lnTo>
                        <a:pt x="216049" y="189310"/>
                      </a:lnTo>
                      <a:lnTo>
                        <a:pt x="220197" y="189848"/>
                      </a:lnTo>
                      <a:lnTo>
                        <a:pt x="224443" y="189335"/>
                      </a:lnTo>
                      <a:lnTo>
                        <a:pt x="223384" y="188259"/>
                      </a:lnTo>
                      <a:lnTo>
                        <a:pt x="218111" y="186882"/>
                      </a:lnTo>
                      <a:lnTo>
                        <a:pt x="216807" y="184485"/>
                      </a:lnTo>
                      <a:lnTo>
                        <a:pt x="218665" y="183157"/>
                      </a:lnTo>
                      <a:lnTo>
                        <a:pt x="220695" y="182179"/>
                      </a:lnTo>
                      <a:lnTo>
                        <a:pt x="222480" y="182000"/>
                      </a:lnTo>
                      <a:lnTo>
                        <a:pt x="226008" y="177338"/>
                      </a:lnTo>
                      <a:lnTo>
                        <a:pt x="228144" y="175350"/>
                      </a:lnTo>
                      <a:lnTo>
                        <a:pt x="230548" y="175700"/>
                      </a:lnTo>
                      <a:lnTo>
                        <a:pt x="233881" y="173638"/>
                      </a:lnTo>
                      <a:lnTo>
                        <a:pt x="237173" y="174339"/>
                      </a:lnTo>
                      <a:lnTo>
                        <a:pt x="240344" y="172994"/>
                      </a:lnTo>
                      <a:lnTo>
                        <a:pt x="244687" y="172114"/>
                      </a:lnTo>
                      <a:lnTo>
                        <a:pt x="260563" y="171764"/>
                      </a:lnTo>
                      <a:lnTo>
                        <a:pt x="261036" y="169857"/>
                      </a:lnTo>
                      <a:lnTo>
                        <a:pt x="257695" y="169417"/>
                      </a:lnTo>
                      <a:lnTo>
                        <a:pt x="245894" y="168920"/>
                      </a:lnTo>
                      <a:lnTo>
                        <a:pt x="239871" y="168960"/>
                      </a:lnTo>
                      <a:lnTo>
                        <a:pt x="237337" y="169449"/>
                      </a:lnTo>
                      <a:lnTo>
                        <a:pt x="236407" y="168789"/>
                      </a:lnTo>
                      <a:lnTo>
                        <a:pt x="236571" y="167648"/>
                      </a:lnTo>
                      <a:lnTo>
                        <a:pt x="238755" y="165839"/>
                      </a:lnTo>
                      <a:lnTo>
                        <a:pt x="239798" y="163834"/>
                      </a:lnTo>
                      <a:lnTo>
                        <a:pt x="244174" y="158944"/>
                      </a:lnTo>
                      <a:lnTo>
                        <a:pt x="249309" y="155684"/>
                      </a:lnTo>
                      <a:lnTo>
                        <a:pt x="253237" y="156516"/>
                      </a:lnTo>
                      <a:lnTo>
                        <a:pt x="257425" y="159637"/>
                      </a:lnTo>
                      <a:lnTo>
                        <a:pt x="260400" y="160020"/>
                      </a:lnTo>
                      <a:lnTo>
                        <a:pt x="261786" y="161031"/>
                      </a:lnTo>
                      <a:lnTo>
                        <a:pt x="263970" y="165317"/>
                      </a:lnTo>
                      <a:lnTo>
                        <a:pt x="264997" y="165456"/>
                      </a:lnTo>
                      <a:lnTo>
                        <a:pt x="264524" y="161332"/>
                      </a:lnTo>
                      <a:lnTo>
                        <a:pt x="267401" y="157974"/>
                      </a:lnTo>
                      <a:lnTo>
                        <a:pt x="266651" y="157045"/>
                      </a:lnTo>
                      <a:lnTo>
                        <a:pt x="262348" y="158260"/>
                      </a:lnTo>
                      <a:lnTo>
                        <a:pt x="259031" y="157005"/>
                      </a:lnTo>
                      <a:lnTo>
                        <a:pt x="256423" y="154470"/>
                      </a:lnTo>
                      <a:lnTo>
                        <a:pt x="255673" y="152172"/>
                      </a:lnTo>
                      <a:lnTo>
                        <a:pt x="257287" y="149882"/>
                      </a:lnTo>
                      <a:lnTo>
                        <a:pt x="258827" y="148741"/>
                      </a:lnTo>
                      <a:lnTo>
                        <a:pt x="257784" y="147396"/>
                      </a:lnTo>
                      <a:lnTo>
                        <a:pt x="251264" y="150990"/>
                      </a:lnTo>
                      <a:lnTo>
                        <a:pt x="246652" y="151821"/>
                      </a:lnTo>
                      <a:lnTo>
                        <a:pt x="244826" y="151324"/>
                      </a:lnTo>
                      <a:lnTo>
                        <a:pt x="245812" y="148064"/>
                      </a:lnTo>
                      <a:lnTo>
                        <a:pt x="245266" y="145481"/>
                      </a:lnTo>
                      <a:lnTo>
                        <a:pt x="251460" y="139108"/>
                      </a:lnTo>
                      <a:lnTo>
                        <a:pt x="253579" y="138374"/>
                      </a:lnTo>
                      <a:lnTo>
                        <a:pt x="257059" y="138880"/>
                      </a:lnTo>
                      <a:lnTo>
                        <a:pt x="260197" y="140689"/>
                      </a:lnTo>
                      <a:lnTo>
                        <a:pt x="262812" y="140395"/>
                      </a:lnTo>
                      <a:lnTo>
                        <a:pt x="265665" y="139442"/>
                      </a:lnTo>
                      <a:lnTo>
                        <a:pt x="265274" y="137714"/>
                      </a:lnTo>
                      <a:lnTo>
                        <a:pt x="259096" y="137030"/>
                      </a:lnTo>
                      <a:lnTo>
                        <a:pt x="257515" y="135595"/>
                      </a:lnTo>
                      <a:lnTo>
                        <a:pt x="258085" y="134194"/>
                      </a:lnTo>
                      <a:lnTo>
                        <a:pt x="262331" y="132702"/>
                      </a:lnTo>
                      <a:lnTo>
                        <a:pt x="266529" y="130021"/>
                      </a:lnTo>
                      <a:lnTo>
                        <a:pt x="271362" y="129247"/>
                      </a:lnTo>
                      <a:lnTo>
                        <a:pt x="275249" y="127209"/>
                      </a:lnTo>
                      <a:lnTo>
                        <a:pt x="275999" y="127666"/>
                      </a:lnTo>
                      <a:lnTo>
                        <a:pt x="276643" y="128472"/>
                      </a:lnTo>
                      <a:lnTo>
                        <a:pt x="278044" y="135995"/>
                      </a:lnTo>
                      <a:lnTo>
                        <a:pt x="281524" y="142123"/>
                      </a:lnTo>
                      <a:lnTo>
                        <a:pt x="282796" y="142343"/>
                      </a:lnTo>
                      <a:lnTo>
                        <a:pt x="281467" y="137136"/>
                      </a:lnTo>
                      <a:lnTo>
                        <a:pt x="282714" y="135636"/>
                      </a:lnTo>
                      <a:lnTo>
                        <a:pt x="284287" y="134495"/>
                      </a:lnTo>
                      <a:lnTo>
                        <a:pt x="284768" y="133191"/>
                      </a:lnTo>
                      <a:lnTo>
                        <a:pt x="282975" y="132751"/>
                      </a:lnTo>
                      <a:lnTo>
                        <a:pt x="281500" y="130885"/>
                      </a:lnTo>
                      <a:lnTo>
                        <a:pt x="279389" y="124911"/>
                      </a:lnTo>
                      <a:lnTo>
                        <a:pt x="280098" y="123363"/>
                      </a:lnTo>
                      <a:lnTo>
                        <a:pt x="284678" y="120176"/>
                      </a:lnTo>
                      <a:lnTo>
                        <a:pt x="290399" y="119443"/>
                      </a:lnTo>
                      <a:lnTo>
                        <a:pt x="296504" y="121676"/>
                      </a:lnTo>
                      <a:lnTo>
                        <a:pt x="298647" y="121700"/>
                      </a:lnTo>
                      <a:lnTo>
                        <a:pt x="302184" y="121105"/>
                      </a:lnTo>
                      <a:lnTo>
                        <a:pt x="308182" y="119271"/>
                      </a:lnTo>
                      <a:lnTo>
                        <a:pt x="311727" y="118570"/>
                      </a:lnTo>
                      <a:lnTo>
                        <a:pt x="313569" y="118570"/>
                      </a:lnTo>
                      <a:lnTo>
                        <a:pt x="314017" y="117641"/>
                      </a:lnTo>
                      <a:lnTo>
                        <a:pt x="312314" y="117046"/>
                      </a:lnTo>
                      <a:lnTo>
                        <a:pt x="311760" y="116468"/>
                      </a:lnTo>
                      <a:lnTo>
                        <a:pt x="310423" y="116134"/>
                      </a:lnTo>
                      <a:lnTo>
                        <a:pt x="304873" y="117128"/>
                      </a:lnTo>
                      <a:lnTo>
                        <a:pt x="289552" y="116810"/>
                      </a:lnTo>
                      <a:lnTo>
                        <a:pt x="288085" y="115751"/>
                      </a:lnTo>
                      <a:lnTo>
                        <a:pt x="287808" y="113917"/>
                      </a:lnTo>
                      <a:lnTo>
                        <a:pt x="289438" y="111276"/>
                      </a:lnTo>
                      <a:lnTo>
                        <a:pt x="291214" y="109818"/>
                      </a:lnTo>
                      <a:lnTo>
                        <a:pt x="296993" y="107210"/>
                      </a:lnTo>
                      <a:lnTo>
                        <a:pt x="303097" y="106851"/>
                      </a:lnTo>
                      <a:lnTo>
                        <a:pt x="309543" y="102206"/>
                      </a:lnTo>
                      <a:lnTo>
                        <a:pt x="311996" y="98710"/>
                      </a:lnTo>
                      <a:lnTo>
                        <a:pt x="313406" y="93323"/>
                      </a:lnTo>
                      <a:lnTo>
                        <a:pt x="317326" y="88946"/>
                      </a:lnTo>
                      <a:lnTo>
                        <a:pt x="327179" y="86477"/>
                      </a:lnTo>
                      <a:lnTo>
                        <a:pt x="327562" y="85368"/>
                      </a:lnTo>
                      <a:lnTo>
                        <a:pt x="326527" y="83095"/>
                      </a:lnTo>
                      <a:lnTo>
                        <a:pt x="326609" y="79004"/>
                      </a:lnTo>
                      <a:lnTo>
                        <a:pt x="329306" y="74228"/>
                      </a:lnTo>
                      <a:lnTo>
                        <a:pt x="331099" y="72557"/>
                      </a:lnTo>
                      <a:lnTo>
                        <a:pt x="331931" y="72362"/>
                      </a:lnTo>
                      <a:lnTo>
                        <a:pt x="334050" y="73926"/>
                      </a:lnTo>
                      <a:lnTo>
                        <a:pt x="336633" y="77251"/>
                      </a:lnTo>
                      <a:lnTo>
                        <a:pt x="340667" y="79158"/>
                      </a:lnTo>
                      <a:lnTo>
                        <a:pt x="345964" y="79484"/>
                      </a:lnTo>
                      <a:lnTo>
                        <a:pt x="347374" y="78547"/>
                      </a:lnTo>
                      <a:lnTo>
                        <a:pt x="343250" y="76648"/>
                      </a:lnTo>
                      <a:lnTo>
                        <a:pt x="340137" y="74171"/>
                      </a:lnTo>
                      <a:lnTo>
                        <a:pt x="339893" y="71677"/>
                      </a:lnTo>
                      <a:lnTo>
                        <a:pt x="341376" y="70357"/>
                      </a:lnTo>
                      <a:lnTo>
                        <a:pt x="343674" y="70503"/>
                      </a:lnTo>
                      <a:lnTo>
                        <a:pt x="346559" y="70226"/>
                      </a:lnTo>
                      <a:lnTo>
                        <a:pt x="349232" y="68547"/>
                      </a:lnTo>
                      <a:lnTo>
                        <a:pt x="349623" y="67366"/>
                      </a:lnTo>
                      <a:lnTo>
                        <a:pt x="349738" y="65768"/>
                      </a:lnTo>
                      <a:lnTo>
                        <a:pt x="350406" y="64138"/>
                      </a:lnTo>
                      <a:lnTo>
                        <a:pt x="354350" y="60251"/>
                      </a:lnTo>
                      <a:lnTo>
                        <a:pt x="366502" y="57725"/>
                      </a:lnTo>
                      <a:lnTo>
                        <a:pt x="367374" y="58751"/>
                      </a:lnTo>
                      <a:lnTo>
                        <a:pt x="366722" y="66249"/>
                      </a:lnTo>
                      <a:lnTo>
                        <a:pt x="365328" y="71098"/>
                      </a:lnTo>
                      <a:lnTo>
                        <a:pt x="365377" y="74635"/>
                      </a:lnTo>
                      <a:lnTo>
                        <a:pt x="367732" y="71098"/>
                      </a:lnTo>
                      <a:lnTo>
                        <a:pt x="370910" y="61400"/>
                      </a:lnTo>
                      <a:lnTo>
                        <a:pt x="373282" y="56836"/>
                      </a:lnTo>
                      <a:lnTo>
                        <a:pt x="375980" y="54220"/>
                      </a:lnTo>
                      <a:lnTo>
                        <a:pt x="377895" y="53617"/>
                      </a:lnTo>
                      <a:lnTo>
                        <a:pt x="379802" y="52264"/>
                      </a:lnTo>
                      <a:lnTo>
                        <a:pt x="382296" y="51457"/>
                      </a:lnTo>
                      <a:lnTo>
                        <a:pt x="383070" y="52501"/>
                      </a:lnTo>
                      <a:lnTo>
                        <a:pt x="383869" y="54921"/>
                      </a:lnTo>
                      <a:lnTo>
                        <a:pt x="382516" y="63405"/>
                      </a:lnTo>
                      <a:lnTo>
                        <a:pt x="382638" y="66078"/>
                      </a:lnTo>
                      <a:lnTo>
                        <a:pt x="381138" y="69672"/>
                      </a:lnTo>
                      <a:lnTo>
                        <a:pt x="375344" y="77659"/>
                      </a:lnTo>
                      <a:lnTo>
                        <a:pt x="375613" y="78678"/>
                      </a:lnTo>
                      <a:lnTo>
                        <a:pt x="376917" y="78294"/>
                      </a:lnTo>
                      <a:lnTo>
                        <a:pt x="379158" y="76982"/>
                      </a:lnTo>
                      <a:lnTo>
                        <a:pt x="386330" y="69395"/>
                      </a:lnTo>
                      <a:lnTo>
                        <a:pt x="392605" y="70349"/>
                      </a:lnTo>
                      <a:lnTo>
                        <a:pt x="392678" y="69729"/>
                      </a:lnTo>
                      <a:lnTo>
                        <a:pt x="390674" y="67496"/>
                      </a:lnTo>
                      <a:lnTo>
                        <a:pt x="388213" y="65369"/>
                      </a:lnTo>
                      <a:lnTo>
                        <a:pt x="387479" y="62720"/>
                      </a:lnTo>
                      <a:lnTo>
                        <a:pt x="387797" y="55655"/>
                      </a:lnTo>
                      <a:lnTo>
                        <a:pt x="389687" y="52859"/>
                      </a:lnTo>
                      <a:lnTo>
                        <a:pt x="395107" y="53153"/>
                      </a:lnTo>
                      <a:lnTo>
                        <a:pt x="398343" y="52761"/>
                      </a:lnTo>
                      <a:lnTo>
                        <a:pt x="399867" y="54041"/>
                      </a:lnTo>
                      <a:lnTo>
                        <a:pt x="403110" y="53943"/>
                      </a:lnTo>
                      <a:lnTo>
                        <a:pt x="405360" y="48874"/>
                      </a:lnTo>
                      <a:lnTo>
                        <a:pt x="409801" y="48426"/>
                      </a:lnTo>
                      <a:lnTo>
                        <a:pt x="413705" y="51783"/>
                      </a:lnTo>
                      <a:lnTo>
                        <a:pt x="418399" y="54041"/>
                      </a:lnTo>
                      <a:lnTo>
                        <a:pt x="422172" y="57276"/>
                      </a:lnTo>
                      <a:lnTo>
                        <a:pt x="423248" y="56396"/>
                      </a:lnTo>
                      <a:lnTo>
                        <a:pt x="421203" y="48833"/>
                      </a:lnTo>
                      <a:lnTo>
                        <a:pt x="418978" y="46070"/>
                      </a:lnTo>
                      <a:lnTo>
                        <a:pt x="414129" y="44628"/>
                      </a:lnTo>
                      <a:lnTo>
                        <a:pt x="409002" y="41221"/>
                      </a:lnTo>
                      <a:lnTo>
                        <a:pt x="407658" y="39714"/>
                      </a:lnTo>
                      <a:lnTo>
                        <a:pt x="407894" y="38597"/>
                      </a:lnTo>
                      <a:lnTo>
                        <a:pt x="412426" y="37497"/>
                      </a:lnTo>
                      <a:lnTo>
                        <a:pt x="418415" y="38752"/>
                      </a:lnTo>
                      <a:lnTo>
                        <a:pt x="423753" y="35908"/>
                      </a:lnTo>
                      <a:lnTo>
                        <a:pt x="425212" y="36682"/>
                      </a:lnTo>
                      <a:lnTo>
                        <a:pt x="429303" y="35199"/>
                      </a:lnTo>
                      <a:lnTo>
                        <a:pt x="431846" y="37195"/>
                      </a:lnTo>
                      <a:lnTo>
                        <a:pt x="433411" y="36609"/>
                      </a:lnTo>
                      <a:lnTo>
                        <a:pt x="434316" y="33919"/>
                      </a:lnTo>
                      <a:lnTo>
                        <a:pt x="440844" y="32257"/>
                      </a:lnTo>
                      <a:lnTo>
                        <a:pt x="444984" y="33797"/>
                      </a:lnTo>
                      <a:lnTo>
                        <a:pt x="447208" y="35386"/>
                      </a:lnTo>
                      <a:lnTo>
                        <a:pt x="448243" y="38442"/>
                      </a:lnTo>
                      <a:lnTo>
                        <a:pt x="449816" y="44465"/>
                      </a:lnTo>
                      <a:lnTo>
                        <a:pt x="453068" y="47717"/>
                      </a:lnTo>
                      <a:lnTo>
                        <a:pt x="455056" y="49322"/>
                      </a:lnTo>
                      <a:lnTo>
                        <a:pt x="457445" y="49762"/>
                      </a:lnTo>
                      <a:lnTo>
                        <a:pt x="458594" y="48141"/>
                      </a:lnTo>
                      <a:lnTo>
                        <a:pt x="456369" y="46176"/>
                      </a:lnTo>
                      <a:lnTo>
                        <a:pt x="455766" y="44335"/>
                      </a:lnTo>
                      <a:lnTo>
                        <a:pt x="456833" y="39763"/>
                      </a:lnTo>
                      <a:lnTo>
                        <a:pt x="458080" y="37961"/>
                      </a:lnTo>
                      <a:lnTo>
                        <a:pt x="465065" y="31140"/>
                      </a:lnTo>
                      <a:lnTo>
                        <a:pt x="470924" y="27595"/>
                      </a:lnTo>
                      <a:lnTo>
                        <a:pt x="474421" y="27302"/>
                      </a:lnTo>
                      <a:lnTo>
                        <a:pt x="480549" y="19347"/>
                      </a:lnTo>
                      <a:lnTo>
                        <a:pt x="482293" y="17897"/>
                      </a:lnTo>
                      <a:lnTo>
                        <a:pt x="483890" y="17563"/>
                      </a:lnTo>
                      <a:lnTo>
                        <a:pt x="483483" y="15615"/>
                      </a:lnTo>
                      <a:lnTo>
                        <a:pt x="480117" y="14384"/>
                      </a:lnTo>
                      <a:lnTo>
                        <a:pt x="480011" y="11964"/>
                      </a:lnTo>
                      <a:lnTo>
                        <a:pt x="484428" y="9014"/>
                      </a:lnTo>
                      <a:lnTo>
                        <a:pt x="489791" y="4083"/>
                      </a:lnTo>
                      <a:lnTo>
                        <a:pt x="492431" y="3741"/>
                      </a:lnTo>
                      <a:lnTo>
                        <a:pt x="494094" y="5126"/>
                      </a:lnTo>
                      <a:lnTo>
                        <a:pt x="499318" y="7351"/>
                      </a:lnTo>
                      <a:lnTo>
                        <a:pt x="502521" y="9902"/>
                      </a:lnTo>
                      <a:lnTo>
                        <a:pt x="504827" y="11190"/>
                      </a:lnTo>
                      <a:lnTo>
                        <a:pt x="506343" y="10929"/>
                      </a:lnTo>
                      <a:lnTo>
                        <a:pt x="507582" y="9005"/>
                      </a:lnTo>
                      <a:lnTo>
                        <a:pt x="509081" y="8109"/>
                      </a:lnTo>
                      <a:lnTo>
                        <a:pt x="512406" y="8614"/>
                      </a:lnTo>
                      <a:lnTo>
                        <a:pt x="514387" y="9845"/>
                      </a:lnTo>
                      <a:lnTo>
                        <a:pt x="515927" y="10000"/>
                      </a:lnTo>
                      <a:lnTo>
                        <a:pt x="517321" y="10749"/>
                      </a:lnTo>
                      <a:lnTo>
                        <a:pt x="517655" y="12388"/>
                      </a:lnTo>
                      <a:lnTo>
                        <a:pt x="514778" y="14181"/>
                      </a:lnTo>
                      <a:lnTo>
                        <a:pt x="509888" y="18916"/>
                      </a:lnTo>
                      <a:lnTo>
                        <a:pt x="505055" y="24286"/>
                      </a:lnTo>
                      <a:lnTo>
                        <a:pt x="503466" y="27114"/>
                      </a:lnTo>
                      <a:lnTo>
                        <a:pt x="501901" y="34530"/>
                      </a:lnTo>
                      <a:lnTo>
                        <a:pt x="498128" y="39265"/>
                      </a:lnTo>
                      <a:lnTo>
                        <a:pt x="497843" y="42582"/>
                      </a:lnTo>
                      <a:lnTo>
                        <a:pt x="499367" y="44155"/>
                      </a:lnTo>
                      <a:lnTo>
                        <a:pt x="503515" y="42925"/>
                      </a:lnTo>
                      <a:lnTo>
                        <a:pt x="508657" y="38499"/>
                      </a:lnTo>
                      <a:lnTo>
                        <a:pt x="509937" y="33789"/>
                      </a:lnTo>
                      <a:lnTo>
                        <a:pt x="522781" y="21010"/>
                      </a:lnTo>
                      <a:lnTo>
                        <a:pt x="528811" y="13936"/>
                      </a:lnTo>
                      <a:lnTo>
                        <a:pt x="535649" y="8060"/>
                      </a:lnTo>
                      <a:lnTo>
                        <a:pt x="539472" y="6846"/>
                      </a:lnTo>
                      <a:lnTo>
                        <a:pt x="541281" y="10741"/>
                      </a:lnTo>
                      <a:lnTo>
                        <a:pt x="539830" y="15802"/>
                      </a:lnTo>
                      <a:lnTo>
                        <a:pt x="536921" y="19038"/>
                      </a:lnTo>
                      <a:lnTo>
                        <a:pt x="539064" y="20521"/>
                      </a:lnTo>
                      <a:lnTo>
                        <a:pt x="538656" y="24360"/>
                      </a:lnTo>
                      <a:lnTo>
                        <a:pt x="537980" y="26487"/>
                      </a:lnTo>
                      <a:lnTo>
                        <a:pt x="537556" y="28712"/>
                      </a:lnTo>
                      <a:lnTo>
                        <a:pt x="537581" y="30676"/>
                      </a:lnTo>
                      <a:lnTo>
                        <a:pt x="539594" y="30162"/>
                      </a:lnTo>
                      <a:lnTo>
                        <a:pt x="547613" y="26128"/>
                      </a:lnTo>
                      <a:lnTo>
                        <a:pt x="549650" y="21768"/>
                      </a:lnTo>
                      <a:lnTo>
                        <a:pt x="551533" y="18500"/>
                      </a:lnTo>
                      <a:lnTo>
                        <a:pt x="552429" y="15664"/>
                      </a:lnTo>
                      <a:lnTo>
                        <a:pt x="555551" y="12991"/>
                      </a:lnTo>
                      <a:lnTo>
                        <a:pt x="561427" y="12966"/>
                      </a:lnTo>
                      <a:lnTo>
                        <a:pt x="561655" y="11915"/>
                      </a:lnTo>
                      <a:lnTo>
                        <a:pt x="554557" y="8191"/>
                      </a:lnTo>
                      <a:lnTo>
                        <a:pt x="553709" y="6512"/>
                      </a:lnTo>
                      <a:lnTo>
                        <a:pt x="556097" y="4279"/>
                      </a:lnTo>
                      <a:lnTo>
                        <a:pt x="562682" y="0"/>
                      </a:lnTo>
                      <a:lnTo>
                        <a:pt x="566064" y="473"/>
                      </a:lnTo>
                      <a:lnTo>
                        <a:pt x="568093" y="1443"/>
                      </a:lnTo>
                      <a:lnTo>
                        <a:pt x="576194" y="2184"/>
                      </a:lnTo>
                      <a:lnTo>
                        <a:pt x="582412" y="5240"/>
                      </a:lnTo>
                      <a:lnTo>
                        <a:pt x="582176" y="10016"/>
                      </a:lnTo>
                      <a:lnTo>
                        <a:pt x="580782" y="12013"/>
                      </a:lnTo>
                      <a:lnTo>
                        <a:pt x="579421" y="13243"/>
                      </a:lnTo>
                      <a:lnTo>
                        <a:pt x="571467" y="16862"/>
                      </a:lnTo>
                      <a:close/>
                    </a:path>
                  </a:pathLst>
                </a:custGeom>
                <a:solidFill>
                  <a:srgbClr val="D6D6D2"/>
                </a:solidFill>
                <a:ln w="6112" cap="rnd">
                  <a:solidFill>
                    <a:srgbClr val="FFFFFF"/>
                  </a:solidFill>
                  <a:prstDash val="solid"/>
                  <a:round/>
                </a:ln>
              </p:spPr>
              <p:txBody>
                <a:bodyPr rtlCol="0" anchor="ctr"/>
                <a:lstStyle/>
                <a:p>
                  <a:endParaRPr lang="en-US"/>
                </a:p>
              </p:txBody>
            </p:sp>
            <p:sp>
              <p:nvSpPr>
                <p:cNvPr id="662" name="Freeform: Shape 661">
                  <a:extLst>
                    <a:ext uri="{FF2B5EF4-FFF2-40B4-BE49-F238E27FC236}">
                      <a16:creationId xmlns:a16="http://schemas.microsoft.com/office/drawing/2014/main" id="{4E173E0A-30C3-427E-9F37-99B287DFB0F0}"/>
                    </a:ext>
                  </a:extLst>
                </p:cNvPr>
                <p:cNvSpPr/>
                <p:nvPr/>
              </p:nvSpPr>
              <p:spPr>
                <a:xfrm>
                  <a:off x="6445321" y="1716588"/>
                  <a:ext cx="115930" cy="65915"/>
                </a:xfrm>
                <a:custGeom>
                  <a:avLst/>
                  <a:gdLst>
                    <a:gd name="connsiteX0" fmla="*/ 34229 w 115930"/>
                    <a:gd name="connsiteY0" fmla="*/ 90 h 65915"/>
                    <a:gd name="connsiteX1" fmla="*/ 37644 w 115930"/>
                    <a:gd name="connsiteY1" fmla="*/ 1271 h 65915"/>
                    <a:gd name="connsiteX2" fmla="*/ 45035 w 115930"/>
                    <a:gd name="connsiteY2" fmla="*/ 1027 h 65915"/>
                    <a:gd name="connsiteX3" fmla="*/ 49102 w 115930"/>
                    <a:gd name="connsiteY3" fmla="*/ 9478 h 65915"/>
                    <a:gd name="connsiteX4" fmla="*/ 51385 w 115930"/>
                    <a:gd name="connsiteY4" fmla="*/ 18418 h 65915"/>
                    <a:gd name="connsiteX5" fmla="*/ 55101 w 115930"/>
                    <a:gd name="connsiteY5" fmla="*/ 19062 h 65915"/>
                    <a:gd name="connsiteX6" fmla="*/ 62175 w 115930"/>
                    <a:gd name="connsiteY6" fmla="*/ 17832 h 65915"/>
                    <a:gd name="connsiteX7" fmla="*/ 68482 w 115930"/>
                    <a:gd name="connsiteY7" fmla="*/ 17229 h 65915"/>
                    <a:gd name="connsiteX8" fmla="*/ 71710 w 115930"/>
                    <a:gd name="connsiteY8" fmla="*/ 17897 h 65915"/>
                    <a:gd name="connsiteX9" fmla="*/ 77480 w 115930"/>
                    <a:gd name="connsiteY9" fmla="*/ 20497 h 65915"/>
                    <a:gd name="connsiteX10" fmla="*/ 79965 w 115930"/>
                    <a:gd name="connsiteY10" fmla="*/ 22322 h 65915"/>
                    <a:gd name="connsiteX11" fmla="*/ 77805 w 115930"/>
                    <a:gd name="connsiteY11" fmla="*/ 23765 h 65915"/>
                    <a:gd name="connsiteX12" fmla="*/ 72525 w 115930"/>
                    <a:gd name="connsiteY12" fmla="*/ 25370 h 65915"/>
                    <a:gd name="connsiteX13" fmla="*/ 71653 w 115930"/>
                    <a:gd name="connsiteY13" fmla="*/ 30162 h 65915"/>
                    <a:gd name="connsiteX14" fmla="*/ 76966 w 115930"/>
                    <a:gd name="connsiteY14" fmla="*/ 31833 h 65915"/>
                    <a:gd name="connsiteX15" fmla="*/ 85727 w 115930"/>
                    <a:gd name="connsiteY15" fmla="*/ 35908 h 65915"/>
                    <a:gd name="connsiteX16" fmla="*/ 90658 w 115930"/>
                    <a:gd name="connsiteY16" fmla="*/ 36446 h 65915"/>
                    <a:gd name="connsiteX17" fmla="*/ 99468 w 115930"/>
                    <a:gd name="connsiteY17" fmla="*/ 34775 h 65915"/>
                    <a:gd name="connsiteX18" fmla="*/ 107731 w 115930"/>
                    <a:gd name="connsiteY18" fmla="*/ 37945 h 65915"/>
                    <a:gd name="connsiteX19" fmla="*/ 115930 w 115930"/>
                    <a:gd name="connsiteY19" fmla="*/ 41792 h 65915"/>
                    <a:gd name="connsiteX20" fmla="*/ 96778 w 115930"/>
                    <a:gd name="connsiteY20" fmla="*/ 46649 h 65915"/>
                    <a:gd name="connsiteX21" fmla="*/ 95091 w 115930"/>
                    <a:gd name="connsiteY21" fmla="*/ 48010 h 65915"/>
                    <a:gd name="connsiteX22" fmla="*/ 92451 w 115930"/>
                    <a:gd name="connsiteY22" fmla="*/ 51604 h 65915"/>
                    <a:gd name="connsiteX23" fmla="*/ 89623 w 115930"/>
                    <a:gd name="connsiteY23" fmla="*/ 54562 h 65915"/>
                    <a:gd name="connsiteX24" fmla="*/ 87015 w 115930"/>
                    <a:gd name="connsiteY24" fmla="*/ 56298 h 65915"/>
                    <a:gd name="connsiteX25" fmla="*/ 81285 w 115930"/>
                    <a:gd name="connsiteY25" fmla="*/ 59289 h 65915"/>
                    <a:gd name="connsiteX26" fmla="*/ 78205 w 115930"/>
                    <a:gd name="connsiteY26" fmla="*/ 60332 h 65915"/>
                    <a:gd name="connsiteX27" fmla="*/ 71269 w 115930"/>
                    <a:gd name="connsiteY27" fmla="*/ 60096 h 65915"/>
                    <a:gd name="connsiteX28" fmla="*/ 68678 w 115930"/>
                    <a:gd name="connsiteY28" fmla="*/ 61286 h 65915"/>
                    <a:gd name="connsiteX29" fmla="*/ 66266 w 115930"/>
                    <a:gd name="connsiteY29" fmla="*/ 63723 h 65915"/>
                    <a:gd name="connsiteX30" fmla="*/ 63837 w 115930"/>
                    <a:gd name="connsiteY30" fmla="*/ 65459 h 65915"/>
                    <a:gd name="connsiteX31" fmla="*/ 57684 w 115930"/>
                    <a:gd name="connsiteY31" fmla="*/ 65915 h 65915"/>
                    <a:gd name="connsiteX32" fmla="*/ 54555 w 115930"/>
                    <a:gd name="connsiteY32" fmla="*/ 63495 h 65915"/>
                    <a:gd name="connsiteX33" fmla="*/ 55590 w 115930"/>
                    <a:gd name="connsiteY33" fmla="*/ 62745 h 65915"/>
                    <a:gd name="connsiteX34" fmla="*/ 56021 w 115930"/>
                    <a:gd name="connsiteY34" fmla="*/ 61327 h 65915"/>
                    <a:gd name="connsiteX35" fmla="*/ 54938 w 115930"/>
                    <a:gd name="connsiteY35" fmla="*/ 57920 h 65915"/>
                    <a:gd name="connsiteX36" fmla="*/ 60797 w 115930"/>
                    <a:gd name="connsiteY36" fmla="*/ 54432 h 65915"/>
                    <a:gd name="connsiteX37" fmla="*/ 62126 w 115930"/>
                    <a:gd name="connsiteY37" fmla="*/ 52509 h 65915"/>
                    <a:gd name="connsiteX38" fmla="*/ 60960 w 115930"/>
                    <a:gd name="connsiteY38" fmla="*/ 51808 h 65915"/>
                    <a:gd name="connsiteX39" fmla="*/ 59347 w 115930"/>
                    <a:gd name="connsiteY39" fmla="*/ 52003 h 65915"/>
                    <a:gd name="connsiteX40" fmla="*/ 55076 w 115930"/>
                    <a:gd name="connsiteY40" fmla="*/ 50944 h 65915"/>
                    <a:gd name="connsiteX41" fmla="*/ 53805 w 115930"/>
                    <a:gd name="connsiteY41" fmla="*/ 50993 h 65915"/>
                    <a:gd name="connsiteX42" fmla="*/ 50268 w 115930"/>
                    <a:gd name="connsiteY42" fmla="*/ 53022 h 65915"/>
                    <a:gd name="connsiteX43" fmla="*/ 45370 w 115930"/>
                    <a:gd name="connsiteY43" fmla="*/ 54391 h 65915"/>
                    <a:gd name="connsiteX44" fmla="*/ 40382 w 115930"/>
                    <a:gd name="connsiteY44" fmla="*/ 54734 h 65915"/>
                    <a:gd name="connsiteX45" fmla="*/ 20391 w 115930"/>
                    <a:gd name="connsiteY45" fmla="*/ 57350 h 65915"/>
                    <a:gd name="connsiteX46" fmla="*/ 17375 w 115930"/>
                    <a:gd name="connsiteY46" fmla="*/ 56429 h 65915"/>
                    <a:gd name="connsiteX47" fmla="*/ 16006 w 115930"/>
                    <a:gd name="connsiteY47" fmla="*/ 51229 h 65915"/>
                    <a:gd name="connsiteX48" fmla="*/ 24140 w 115930"/>
                    <a:gd name="connsiteY48" fmla="*/ 48556 h 65915"/>
                    <a:gd name="connsiteX49" fmla="*/ 25395 w 115930"/>
                    <a:gd name="connsiteY49" fmla="*/ 44041 h 65915"/>
                    <a:gd name="connsiteX50" fmla="*/ 27440 w 115930"/>
                    <a:gd name="connsiteY50" fmla="*/ 41042 h 65915"/>
                    <a:gd name="connsiteX51" fmla="*/ 29836 w 115930"/>
                    <a:gd name="connsiteY51" fmla="*/ 39054 h 65915"/>
                    <a:gd name="connsiteX52" fmla="*/ 34237 w 115930"/>
                    <a:gd name="connsiteY52" fmla="*/ 33903 h 65915"/>
                    <a:gd name="connsiteX53" fmla="*/ 35354 w 115930"/>
                    <a:gd name="connsiteY53" fmla="*/ 33536 h 65915"/>
                    <a:gd name="connsiteX54" fmla="*/ 24376 w 115930"/>
                    <a:gd name="connsiteY54" fmla="*/ 29461 h 65915"/>
                    <a:gd name="connsiteX55" fmla="*/ 20032 w 115930"/>
                    <a:gd name="connsiteY55" fmla="*/ 26813 h 65915"/>
                    <a:gd name="connsiteX56" fmla="*/ 15306 w 115930"/>
                    <a:gd name="connsiteY56" fmla="*/ 21515 h 65915"/>
                    <a:gd name="connsiteX57" fmla="*/ 13855 w 115930"/>
                    <a:gd name="connsiteY57" fmla="*/ 17220 h 65915"/>
                    <a:gd name="connsiteX58" fmla="*/ 7457 w 115930"/>
                    <a:gd name="connsiteY58" fmla="*/ 13569 h 65915"/>
                    <a:gd name="connsiteX59" fmla="*/ 8248 w 115930"/>
                    <a:gd name="connsiteY59" fmla="*/ 8891 h 65915"/>
                    <a:gd name="connsiteX60" fmla="*/ 3594 w 115930"/>
                    <a:gd name="connsiteY60" fmla="*/ 9258 h 65915"/>
                    <a:gd name="connsiteX61" fmla="*/ 0 w 115930"/>
                    <a:gd name="connsiteY61" fmla="*/ 5982 h 65915"/>
                    <a:gd name="connsiteX62" fmla="*/ 3342 w 115930"/>
                    <a:gd name="connsiteY62" fmla="*/ 4140 h 65915"/>
                    <a:gd name="connsiteX63" fmla="*/ 20318 w 115930"/>
                    <a:gd name="connsiteY63" fmla="*/ 2037 h 65915"/>
                    <a:gd name="connsiteX64" fmla="*/ 30440 w 115930"/>
                    <a:gd name="connsiteY64" fmla="*/ 0 h 6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15930" h="65915">
                      <a:moveTo>
                        <a:pt x="34229" y="90"/>
                      </a:moveTo>
                      <a:lnTo>
                        <a:pt x="37644" y="1271"/>
                      </a:lnTo>
                      <a:lnTo>
                        <a:pt x="45035" y="1027"/>
                      </a:lnTo>
                      <a:lnTo>
                        <a:pt x="49102" y="9478"/>
                      </a:lnTo>
                      <a:lnTo>
                        <a:pt x="51385" y="18418"/>
                      </a:lnTo>
                      <a:lnTo>
                        <a:pt x="55101" y="19062"/>
                      </a:lnTo>
                      <a:lnTo>
                        <a:pt x="62175" y="17832"/>
                      </a:lnTo>
                      <a:lnTo>
                        <a:pt x="68482" y="17229"/>
                      </a:lnTo>
                      <a:lnTo>
                        <a:pt x="71710" y="17897"/>
                      </a:lnTo>
                      <a:lnTo>
                        <a:pt x="77480" y="20497"/>
                      </a:lnTo>
                      <a:lnTo>
                        <a:pt x="79965" y="22322"/>
                      </a:lnTo>
                      <a:lnTo>
                        <a:pt x="77805" y="23765"/>
                      </a:lnTo>
                      <a:lnTo>
                        <a:pt x="72525" y="25370"/>
                      </a:lnTo>
                      <a:lnTo>
                        <a:pt x="71653" y="30162"/>
                      </a:lnTo>
                      <a:lnTo>
                        <a:pt x="76966" y="31833"/>
                      </a:lnTo>
                      <a:lnTo>
                        <a:pt x="85727" y="35908"/>
                      </a:lnTo>
                      <a:lnTo>
                        <a:pt x="90658" y="36446"/>
                      </a:lnTo>
                      <a:lnTo>
                        <a:pt x="99468" y="34775"/>
                      </a:lnTo>
                      <a:lnTo>
                        <a:pt x="107731" y="37945"/>
                      </a:lnTo>
                      <a:lnTo>
                        <a:pt x="115930" y="41792"/>
                      </a:lnTo>
                      <a:lnTo>
                        <a:pt x="96778" y="46649"/>
                      </a:lnTo>
                      <a:lnTo>
                        <a:pt x="95091" y="48010"/>
                      </a:lnTo>
                      <a:lnTo>
                        <a:pt x="92451" y="51604"/>
                      </a:lnTo>
                      <a:lnTo>
                        <a:pt x="89623" y="54562"/>
                      </a:lnTo>
                      <a:lnTo>
                        <a:pt x="87015" y="56298"/>
                      </a:lnTo>
                      <a:lnTo>
                        <a:pt x="81285" y="59289"/>
                      </a:lnTo>
                      <a:lnTo>
                        <a:pt x="78205" y="60332"/>
                      </a:lnTo>
                      <a:lnTo>
                        <a:pt x="71269" y="60096"/>
                      </a:lnTo>
                      <a:lnTo>
                        <a:pt x="68678" y="61286"/>
                      </a:lnTo>
                      <a:lnTo>
                        <a:pt x="66266" y="63723"/>
                      </a:lnTo>
                      <a:lnTo>
                        <a:pt x="63837" y="65459"/>
                      </a:lnTo>
                      <a:lnTo>
                        <a:pt x="57684" y="65915"/>
                      </a:lnTo>
                      <a:lnTo>
                        <a:pt x="54555" y="63495"/>
                      </a:lnTo>
                      <a:lnTo>
                        <a:pt x="55590" y="62745"/>
                      </a:lnTo>
                      <a:lnTo>
                        <a:pt x="56021" y="61327"/>
                      </a:lnTo>
                      <a:lnTo>
                        <a:pt x="54938" y="57920"/>
                      </a:lnTo>
                      <a:lnTo>
                        <a:pt x="60797" y="54432"/>
                      </a:lnTo>
                      <a:lnTo>
                        <a:pt x="62126" y="52509"/>
                      </a:lnTo>
                      <a:lnTo>
                        <a:pt x="60960" y="51808"/>
                      </a:lnTo>
                      <a:lnTo>
                        <a:pt x="59347" y="52003"/>
                      </a:lnTo>
                      <a:lnTo>
                        <a:pt x="55076" y="50944"/>
                      </a:lnTo>
                      <a:lnTo>
                        <a:pt x="53805" y="50993"/>
                      </a:lnTo>
                      <a:lnTo>
                        <a:pt x="50268" y="53022"/>
                      </a:lnTo>
                      <a:lnTo>
                        <a:pt x="45370" y="54391"/>
                      </a:lnTo>
                      <a:lnTo>
                        <a:pt x="40382" y="54734"/>
                      </a:lnTo>
                      <a:lnTo>
                        <a:pt x="20391" y="57350"/>
                      </a:lnTo>
                      <a:lnTo>
                        <a:pt x="17375" y="56429"/>
                      </a:lnTo>
                      <a:lnTo>
                        <a:pt x="16006" y="51229"/>
                      </a:lnTo>
                      <a:lnTo>
                        <a:pt x="24140" y="48556"/>
                      </a:lnTo>
                      <a:lnTo>
                        <a:pt x="25395" y="44041"/>
                      </a:lnTo>
                      <a:lnTo>
                        <a:pt x="27440" y="41042"/>
                      </a:lnTo>
                      <a:lnTo>
                        <a:pt x="29836" y="39054"/>
                      </a:lnTo>
                      <a:lnTo>
                        <a:pt x="34237" y="33903"/>
                      </a:lnTo>
                      <a:lnTo>
                        <a:pt x="35354" y="33536"/>
                      </a:lnTo>
                      <a:lnTo>
                        <a:pt x="24376" y="29461"/>
                      </a:lnTo>
                      <a:lnTo>
                        <a:pt x="20032" y="26813"/>
                      </a:lnTo>
                      <a:lnTo>
                        <a:pt x="15306" y="21515"/>
                      </a:lnTo>
                      <a:lnTo>
                        <a:pt x="13855" y="17220"/>
                      </a:lnTo>
                      <a:lnTo>
                        <a:pt x="7457" y="13569"/>
                      </a:lnTo>
                      <a:lnTo>
                        <a:pt x="8248" y="8891"/>
                      </a:lnTo>
                      <a:lnTo>
                        <a:pt x="3594" y="9258"/>
                      </a:lnTo>
                      <a:lnTo>
                        <a:pt x="0" y="5982"/>
                      </a:lnTo>
                      <a:lnTo>
                        <a:pt x="3342" y="4140"/>
                      </a:lnTo>
                      <a:lnTo>
                        <a:pt x="20318" y="2037"/>
                      </a:lnTo>
                      <a:lnTo>
                        <a:pt x="30440" y="0"/>
                      </a:lnTo>
                      <a:close/>
                    </a:path>
                  </a:pathLst>
                </a:custGeom>
                <a:solidFill>
                  <a:srgbClr val="D6D6D2"/>
                </a:solidFill>
                <a:ln w="8150" cap="flat">
                  <a:noFill/>
                  <a:prstDash val="solid"/>
                  <a:miter/>
                </a:ln>
              </p:spPr>
              <p:txBody>
                <a:bodyPr rtlCol="0" anchor="ctr"/>
                <a:lstStyle/>
                <a:p>
                  <a:endParaRPr lang="en-US"/>
                </a:p>
              </p:txBody>
            </p:sp>
            <p:sp>
              <p:nvSpPr>
                <p:cNvPr id="663" name="Freeform: Shape 662">
                  <a:extLst>
                    <a:ext uri="{FF2B5EF4-FFF2-40B4-BE49-F238E27FC236}">
                      <a16:creationId xmlns:a16="http://schemas.microsoft.com/office/drawing/2014/main" id="{CEA95D63-2434-49ED-B1C1-F353FDDC2039}"/>
                    </a:ext>
                  </a:extLst>
                </p:cNvPr>
                <p:cNvSpPr/>
                <p:nvPr/>
              </p:nvSpPr>
              <p:spPr>
                <a:xfrm>
                  <a:off x="6205483" y="1701291"/>
                  <a:ext cx="38661" cy="33878"/>
                </a:xfrm>
                <a:custGeom>
                  <a:avLst/>
                  <a:gdLst>
                    <a:gd name="connsiteX0" fmla="*/ 17179 w 38661"/>
                    <a:gd name="connsiteY0" fmla="*/ 14645 h 33878"/>
                    <a:gd name="connsiteX1" fmla="*/ 17456 w 38661"/>
                    <a:gd name="connsiteY1" fmla="*/ 18092 h 33878"/>
                    <a:gd name="connsiteX2" fmla="*/ 21491 w 38661"/>
                    <a:gd name="connsiteY2" fmla="*/ 17742 h 33878"/>
                    <a:gd name="connsiteX3" fmla="*/ 26250 w 38661"/>
                    <a:gd name="connsiteY3" fmla="*/ 21409 h 33878"/>
                    <a:gd name="connsiteX4" fmla="*/ 31450 w 38661"/>
                    <a:gd name="connsiteY4" fmla="*/ 23357 h 33878"/>
                    <a:gd name="connsiteX5" fmla="*/ 32925 w 38661"/>
                    <a:gd name="connsiteY5" fmla="*/ 24694 h 33878"/>
                    <a:gd name="connsiteX6" fmla="*/ 34017 w 38661"/>
                    <a:gd name="connsiteY6" fmla="*/ 26405 h 33878"/>
                    <a:gd name="connsiteX7" fmla="*/ 37163 w 38661"/>
                    <a:gd name="connsiteY7" fmla="*/ 29861 h 33878"/>
                    <a:gd name="connsiteX8" fmla="*/ 38662 w 38661"/>
                    <a:gd name="connsiteY8" fmla="*/ 33495 h 33878"/>
                    <a:gd name="connsiteX9" fmla="*/ 34905 w 38661"/>
                    <a:gd name="connsiteY9" fmla="*/ 33878 h 33878"/>
                    <a:gd name="connsiteX10" fmla="*/ 29730 w 38661"/>
                    <a:gd name="connsiteY10" fmla="*/ 28695 h 33878"/>
                    <a:gd name="connsiteX11" fmla="*/ 25517 w 38661"/>
                    <a:gd name="connsiteY11" fmla="*/ 25745 h 33878"/>
                    <a:gd name="connsiteX12" fmla="*/ 20203 w 38661"/>
                    <a:gd name="connsiteY12" fmla="*/ 23227 h 33878"/>
                    <a:gd name="connsiteX13" fmla="*/ 15916 w 38661"/>
                    <a:gd name="connsiteY13" fmla="*/ 23104 h 33878"/>
                    <a:gd name="connsiteX14" fmla="*/ 13985 w 38661"/>
                    <a:gd name="connsiteY14" fmla="*/ 21996 h 33878"/>
                    <a:gd name="connsiteX15" fmla="*/ 7017 w 38661"/>
                    <a:gd name="connsiteY15" fmla="*/ 12934 h 33878"/>
                    <a:gd name="connsiteX16" fmla="*/ 5729 w 38661"/>
                    <a:gd name="connsiteY16" fmla="*/ 10847 h 33878"/>
                    <a:gd name="connsiteX17" fmla="*/ 1744 w 38661"/>
                    <a:gd name="connsiteY17" fmla="*/ 7473 h 33878"/>
                    <a:gd name="connsiteX18" fmla="*/ 0 w 38661"/>
                    <a:gd name="connsiteY18" fmla="*/ 3276 h 33878"/>
                    <a:gd name="connsiteX19" fmla="*/ 16 w 38661"/>
                    <a:gd name="connsiteY19" fmla="*/ 0 h 33878"/>
                    <a:gd name="connsiteX20" fmla="*/ 5338 w 38661"/>
                    <a:gd name="connsiteY20" fmla="*/ 774 h 33878"/>
                    <a:gd name="connsiteX21" fmla="*/ 10000 w 38661"/>
                    <a:gd name="connsiteY21" fmla="*/ 2836 h 33878"/>
                    <a:gd name="connsiteX22" fmla="*/ 14042 w 38661"/>
                    <a:gd name="connsiteY22" fmla="*/ 7498 h 33878"/>
                    <a:gd name="connsiteX23" fmla="*/ 14767 w 38661"/>
                    <a:gd name="connsiteY23" fmla="*/ 8940 h 33878"/>
                    <a:gd name="connsiteX24" fmla="*/ 12917 w 38661"/>
                    <a:gd name="connsiteY24" fmla="*/ 10872 h 33878"/>
                    <a:gd name="connsiteX25" fmla="*/ 14816 w 38661"/>
                    <a:gd name="connsiteY25" fmla="*/ 13146 h 33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661" h="33878">
                      <a:moveTo>
                        <a:pt x="17179" y="14645"/>
                      </a:moveTo>
                      <a:lnTo>
                        <a:pt x="17456" y="18092"/>
                      </a:lnTo>
                      <a:lnTo>
                        <a:pt x="21491" y="17742"/>
                      </a:lnTo>
                      <a:lnTo>
                        <a:pt x="26250" y="21409"/>
                      </a:lnTo>
                      <a:lnTo>
                        <a:pt x="31450" y="23357"/>
                      </a:lnTo>
                      <a:lnTo>
                        <a:pt x="32925" y="24694"/>
                      </a:lnTo>
                      <a:lnTo>
                        <a:pt x="34017" y="26405"/>
                      </a:lnTo>
                      <a:lnTo>
                        <a:pt x="37163" y="29861"/>
                      </a:lnTo>
                      <a:lnTo>
                        <a:pt x="38662" y="33495"/>
                      </a:lnTo>
                      <a:lnTo>
                        <a:pt x="34905" y="33878"/>
                      </a:lnTo>
                      <a:lnTo>
                        <a:pt x="29730" y="28695"/>
                      </a:lnTo>
                      <a:lnTo>
                        <a:pt x="25517" y="25745"/>
                      </a:lnTo>
                      <a:lnTo>
                        <a:pt x="20203" y="23227"/>
                      </a:lnTo>
                      <a:lnTo>
                        <a:pt x="15916" y="23104"/>
                      </a:lnTo>
                      <a:lnTo>
                        <a:pt x="13985" y="21996"/>
                      </a:lnTo>
                      <a:lnTo>
                        <a:pt x="7017" y="12934"/>
                      </a:lnTo>
                      <a:lnTo>
                        <a:pt x="5729" y="10847"/>
                      </a:lnTo>
                      <a:lnTo>
                        <a:pt x="1744" y="7473"/>
                      </a:lnTo>
                      <a:lnTo>
                        <a:pt x="0" y="3276"/>
                      </a:lnTo>
                      <a:lnTo>
                        <a:pt x="16" y="0"/>
                      </a:lnTo>
                      <a:lnTo>
                        <a:pt x="5338" y="774"/>
                      </a:lnTo>
                      <a:lnTo>
                        <a:pt x="10000" y="2836"/>
                      </a:lnTo>
                      <a:lnTo>
                        <a:pt x="14042" y="7498"/>
                      </a:lnTo>
                      <a:lnTo>
                        <a:pt x="14767" y="8940"/>
                      </a:lnTo>
                      <a:lnTo>
                        <a:pt x="12917" y="10872"/>
                      </a:lnTo>
                      <a:lnTo>
                        <a:pt x="14816" y="13146"/>
                      </a:lnTo>
                      <a:close/>
                    </a:path>
                  </a:pathLst>
                </a:custGeom>
                <a:solidFill>
                  <a:srgbClr val="D6D6D2"/>
                </a:solidFill>
                <a:ln w="8150" cap="flat">
                  <a:noFill/>
                  <a:prstDash val="solid"/>
                  <a:miter/>
                </a:ln>
              </p:spPr>
              <p:txBody>
                <a:bodyPr rtlCol="0" anchor="ctr"/>
                <a:lstStyle/>
                <a:p>
                  <a:endParaRPr lang="en-US"/>
                </a:p>
              </p:txBody>
            </p:sp>
            <p:sp>
              <p:nvSpPr>
                <p:cNvPr id="664" name="Freeform: Shape 663">
                  <a:extLst>
                    <a:ext uri="{FF2B5EF4-FFF2-40B4-BE49-F238E27FC236}">
                      <a16:creationId xmlns:a16="http://schemas.microsoft.com/office/drawing/2014/main" id="{A6F6B822-AE18-40A9-BB9A-6195B6D33400}"/>
                    </a:ext>
                  </a:extLst>
                </p:cNvPr>
                <p:cNvSpPr/>
                <p:nvPr/>
              </p:nvSpPr>
              <p:spPr>
                <a:xfrm>
                  <a:off x="6208564" y="1643077"/>
                  <a:ext cx="265550" cy="172986"/>
                </a:xfrm>
                <a:custGeom>
                  <a:avLst/>
                  <a:gdLst>
                    <a:gd name="connsiteX0" fmla="*/ 151414 w 265550"/>
                    <a:gd name="connsiteY0" fmla="*/ 7441 h 172986"/>
                    <a:gd name="connsiteX1" fmla="*/ 152693 w 265550"/>
                    <a:gd name="connsiteY1" fmla="*/ 7530 h 172986"/>
                    <a:gd name="connsiteX2" fmla="*/ 153949 w 265550"/>
                    <a:gd name="connsiteY2" fmla="*/ 6992 h 172986"/>
                    <a:gd name="connsiteX3" fmla="*/ 154853 w 265550"/>
                    <a:gd name="connsiteY3" fmla="*/ 5566 h 172986"/>
                    <a:gd name="connsiteX4" fmla="*/ 155872 w 265550"/>
                    <a:gd name="connsiteY4" fmla="*/ 4784 h 172986"/>
                    <a:gd name="connsiteX5" fmla="*/ 162147 w 265550"/>
                    <a:gd name="connsiteY5" fmla="*/ 5705 h 172986"/>
                    <a:gd name="connsiteX6" fmla="*/ 171046 w 265550"/>
                    <a:gd name="connsiteY6" fmla="*/ 8557 h 172986"/>
                    <a:gd name="connsiteX7" fmla="*/ 173687 w 265550"/>
                    <a:gd name="connsiteY7" fmla="*/ 9967 h 172986"/>
                    <a:gd name="connsiteX8" fmla="*/ 177403 w 265550"/>
                    <a:gd name="connsiteY8" fmla="*/ 12868 h 172986"/>
                    <a:gd name="connsiteX9" fmla="*/ 180419 w 265550"/>
                    <a:gd name="connsiteY9" fmla="*/ 17742 h 172986"/>
                    <a:gd name="connsiteX10" fmla="*/ 178023 w 265550"/>
                    <a:gd name="connsiteY10" fmla="*/ 21255 h 172986"/>
                    <a:gd name="connsiteX11" fmla="*/ 174877 w 265550"/>
                    <a:gd name="connsiteY11" fmla="*/ 24571 h 172986"/>
                    <a:gd name="connsiteX12" fmla="*/ 173752 w 265550"/>
                    <a:gd name="connsiteY12" fmla="*/ 26405 h 172986"/>
                    <a:gd name="connsiteX13" fmla="*/ 174909 w 265550"/>
                    <a:gd name="connsiteY13" fmla="*/ 29046 h 172986"/>
                    <a:gd name="connsiteX14" fmla="*/ 174445 w 265550"/>
                    <a:gd name="connsiteY14" fmla="*/ 31605 h 172986"/>
                    <a:gd name="connsiteX15" fmla="*/ 173296 w 265550"/>
                    <a:gd name="connsiteY15" fmla="*/ 33870 h 172986"/>
                    <a:gd name="connsiteX16" fmla="*/ 178064 w 265550"/>
                    <a:gd name="connsiteY16" fmla="*/ 31287 h 172986"/>
                    <a:gd name="connsiteX17" fmla="*/ 188251 w 265550"/>
                    <a:gd name="connsiteY17" fmla="*/ 22999 h 172986"/>
                    <a:gd name="connsiteX18" fmla="*/ 189775 w 265550"/>
                    <a:gd name="connsiteY18" fmla="*/ 22485 h 172986"/>
                    <a:gd name="connsiteX19" fmla="*/ 191364 w 265550"/>
                    <a:gd name="connsiteY19" fmla="*/ 22770 h 172986"/>
                    <a:gd name="connsiteX20" fmla="*/ 195936 w 265550"/>
                    <a:gd name="connsiteY20" fmla="*/ 24474 h 172986"/>
                    <a:gd name="connsiteX21" fmla="*/ 200076 w 265550"/>
                    <a:gd name="connsiteY21" fmla="*/ 28695 h 172986"/>
                    <a:gd name="connsiteX22" fmla="*/ 200981 w 265550"/>
                    <a:gd name="connsiteY22" fmla="*/ 30089 h 172986"/>
                    <a:gd name="connsiteX23" fmla="*/ 201722 w 265550"/>
                    <a:gd name="connsiteY23" fmla="*/ 31808 h 172986"/>
                    <a:gd name="connsiteX24" fmla="*/ 202154 w 265550"/>
                    <a:gd name="connsiteY24" fmla="*/ 33935 h 172986"/>
                    <a:gd name="connsiteX25" fmla="*/ 201918 w 265550"/>
                    <a:gd name="connsiteY25" fmla="*/ 36364 h 172986"/>
                    <a:gd name="connsiteX26" fmla="*/ 201535 w 265550"/>
                    <a:gd name="connsiteY26" fmla="*/ 38059 h 172986"/>
                    <a:gd name="connsiteX27" fmla="*/ 199359 w 265550"/>
                    <a:gd name="connsiteY27" fmla="*/ 39143 h 172986"/>
                    <a:gd name="connsiteX28" fmla="*/ 198315 w 265550"/>
                    <a:gd name="connsiteY28" fmla="*/ 40146 h 172986"/>
                    <a:gd name="connsiteX29" fmla="*/ 200663 w 265550"/>
                    <a:gd name="connsiteY29" fmla="*/ 40219 h 172986"/>
                    <a:gd name="connsiteX30" fmla="*/ 203336 w 265550"/>
                    <a:gd name="connsiteY30" fmla="*/ 41531 h 172986"/>
                    <a:gd name="connsiteX31" fmla="*/ 205789 w 265550"/>
                    <a:gd name="connsiteY31" fmla="*/ 44318 h 172986"/>
                    <a:gd name="connsiteX32" fmla="*/ 208527 w 265550"/>
                    <a:gd name="connsiteY32" fmla="*/ 45418 h 172986"/>
                    <a:gd name="connsiteX33" fmla="*/ 218461 w 265550"/>
                    <a:gd name="connsiteY33" fmla="*/ 44489 h 172986"/>
                    <a:gd name="connsiteX34" fmla="*/ 224932 w 265550"/>
                    <a:gd name="connsiteY34" fmla="*/ 45940 h 172986"/>
                    <a:gd name="connsiteX35" fmla="*/ 228470 w 265550"/>
                    <a:gd name="connsiteY35" fmla="*/ 50496 h 172986"/>
                    <a:gd name="connsiteX36" fmla="*/ 233938 w 265550"/>
                    <a:gd name="connsiteY36" fmla="*/ 49469 h 172986"/>
                    <a:gd name="connsiteX37" fmla="*/ 233954 w 265550"/>
                    <a:gd name="connsiteY37" fmla="*/ 47040 h 172986"/>
                    <a:gd name="connsiteX38" fmla="*/ 235152 w 265550"/>
                    <a:gd name="connsiteY38" fmla="*/ 45997 h 172986"/>
                    <a:gd name="connsiteX39" fmla="*/ 242463 w 265550"/>
                    <a:gd name="connsiteY39" fmla="*/ 46820 h 172986"/>
                    <a:gd name="connsiteX40" fmla="*/ 246260 w 265550"/>
                    <a:gd name="connsiteY40" fmla="*/ 47961 h 172986"/>
                    <a:gd name="connsiteX41" fmla="*/ 250140 w 265550"/>
                    <a:gd name="connsiteY41" fmla="*/ 50357 h 172986"/>
                    <a:gd name="connsiteX42" fmla="*/ 243522 w 265550"/>
                    <a:gd name="connsiteY42" fmla="*/ 54269 h 172986"/>
                    <a:gd name="connsiteX43" fmla="*/ 248974 w 265550"/>
                    <a:gd name="connsiteY43" fmla="*/ 58018 h 172986"/>
                    <a:gd name="connsiteX44" fmla="*/ 258143 w 265550"/>
                    <a:gd name="connsiteY44" fmla="*/ 60732 h 172986"/>
                    <a:gd name="connsiteX45" fmla="*/ 263652 w 265550"/>
                    <a:gd name="connsiteY45" fmla="*/ 63584 h 172986"/>
                    <a:gd name="connsiteX46" fmla="*/ 264654 w 265550"/>
                    <a:gd name="connsiteY46" fmla="*/ 64774 h 172986"/>
                    <a:gd name="connsiteX47" fmla="*/ 265551 w 265550"/>
                    <a:gd name="connsiteY47" fmla="*/ 66363 h 172986"/>
                    <a:gd name="connsiteX48" fmla="*/ 261965 w 265550"/>
                    <a:gd name="connsiteY48" fmla="*/ 68409 h 172986"/>
                    <a:gd name="connsiteX49" fmla="*/ 258306 w 265550"/>
                    <a:gd name="connsiteY49" fmla="*/ 69574 h 172986"/>
                    <a:gd name="connsiteX50" fmla="*/ 249080 w 265550"/>
                    <a:gd name="connsiteY50" fmla="*/ 69770 h 172986"/>
                    <a:gd name="connsiteX51" fmla="*/ 240719 w 265550"/>
                    <a:gd name="connsiteY51" fmla="*/ 71221 h 172986"/>
                    <a:gd name="connsiteX52" fmla="*/ 225381 w 265550"/>
                    <a:gd name="connsiteY52" fmla="*/ 72247 h 172986"/>
                    <a:gd name="connsiteX53" fmla="*/ 223090 w 265550"/>
                    <a:gd name="connsiteY53" fmla="*/ 72907 h 172986"/>
                    <a:gd name="connsiteX54" fmla="*/ 222553 w 265550"/>
                    <a:gd name="connsiteY54" fmla="*/ 73494 h 172986"/>
                    <a:gd name="connsiteX55" fmla="*/ 221648 w 265550"/>
                    <a:gd name="connsiteY55" fmla="*/ 75279 h 172986"/>
                    <a:gd name="connsiteX56" fmla="*/ 215748 w 265550"/>
                    <a:gd name="connsiteY56" fmla="*/ 79387 h 172986"/>
                    <a:gd name="connsiteX57" fmla="*/ 210043 w 265550"/>
                    <a:gd name="connsiteY57" fmla="*/ 84407 h 172986"/>
                    <a:gd name="connsiteX58" fmla="*/ 207696 w 265550"/>
                    <a:gd name="connsiteY58" fmla="*/ 87414 h 172986"/>
                    <a:gd name="connsiteX59" fmla="*/ 205903 w 265550"/>
                    <a:gd name="connsiteY59" fmla="*/ 91627 h 172986"/>
                    <a:gd name="connsiteX60" fmla="*/ 205251 w 265550"/>
                    <a:gd name="connsiteY60" fmla="*/ 94195 h 172986"/>
                    <a:gd name="connsiteX61" fmla="*/ 206522 w 265550"/>
                    <a:gd name="connsiteY61" fmla="*/ 96697 h 172986"/>
                    <a:gd name="connsiteX62" fmla="*/ 206188 w 265550"/>
                    <a:gd name="connsiteY62" fmla="*/ 99215 h 172986"/>
                    <a:gd name="connsiteX63" fmla="*/ 201901 w 265550"/>
                    <a:gd name="connsiteY63" fmla="*/ 101187 h 172986"/>
                    <a:gd name="connsiteX64" fmla="*/ 199171 w 265550"/>
                    <a:gd name="connsiteY64" fmla="*/ 101269 h 172986"/>
                    <a:gd name="connsiteX65" fmla="*/ 195756 w 265550"/>
                    <a:gd name="connsiteY65" fmla="*/ 100877 h 172986"/>
                    <a:gd name="connsiteX66" fmla="*/ 192407 w 265550"/>
                    <a:gd name="connsiteY66" fmla="*/ 102010 h 172986"/>
                    <a:gd name="connsiteX67" fmla="*/ 192187 w 265550"/>
                    <a:gd name="connsiteY67" fmla="*/ 103722 h 172986"/>
                    <a:gd name="connsiteX68" fmla="*/ 192391 w 265550"/>
                    <a:gd name="connsiteY68" fmla="*/ 106134 h 172986"/>
                    <a:gd name="connsiteX69" fmla="*/ 191519 w 265550"/>
                    <a:gd name="connsiteY69" fmla="*/ 113461 h 172986"/>
                    <a:gd name="connsiteX70" fmla="*/ 190492 w 265550"/>
                    <a:gd name="connsiteY70" fmla="*/ 118970 h 172986"/>
                    <a:gd name="connsiteX71" fmla="*/ 188911 w 265550"/>
                    <a:gd name="connsiteY71" fmla="*/ 124088 h 172986"/>
                    <a:gd name="connsiteX72" fmla="*/ 187158 w 265550"/>
                    <a:gd name="connsiteY72" fmla="*/ 126842 h 172986"/>
                    <a:gd name="connsiteX73" fmla="*/ 184909 w 265550"/>
                    <a:gd name="connsiteY73" fmla="*/ 127609 h 172986"/>
                    <a:gd name="connsiteX74" fmla="*/ 177713 w 265550"/>
                    <a:gd name="connsiteY74" fmla="*/ 128114 h 172986"/>
                    <a:gd name="connsiteX75" fmla="*/ 172163 w 265550"/>
                    <a:gd name="connsiteY75" fmla="*/ 132906 h 172986"/>
                    <a:gd name="connsiteX76" fmla="*/ 167689 w 265550"/>
                    <a:gd name="connsiteY76" fmla="*/ 141455 h 172986"/>
                    <a:gd name="connsiteX77" fmla="*/ 165358 w 265550"/>
                    <a:gd name="connsiteY77" fmla="*/ 144804 h 172986"/>
                    <a:gd name="connsiteX78" fmla="*/ 160493 w 265550"/>
                    <a:gd name="connsiteY78" fmla="*/ 150085 h 172986"/>
                    <a:gd name="connsiteX79" fmla="*/ 161365 w 265550"/>
                    <a:gd name="connsiteY79" fmla="*/ 151960 h 172986"/>
                    <a:gd name="connsiteX80" fmla="*/ 162880 w 265550"/>
                    <a:gd name="connsiteY80" fmla="*/ 153989 h 172986"/>
                    <a:gd name="connsiteX81" fmla="*/ 160232 w 265550"/>
                    <a:gd name="connsiteY81" fmla="*/ 157616 h 172986"/>
                    <a:gd name="connsiteX82" fmla="*/ 156124 w 265550"/>
                    <a:gd name="connsiteY82" fmla="*/ 161683 h 172986"/>
                    <a:gd name="connsiteX83" fmla="*/ 156206 w 265550"/>
                    <a:gd name="connsiteY83" fmla="*/ 163247 h 172986"/>
                    <a:gd name="connsiteX84" fmla="*/ 157583 w 265550"/>
                    <a:gd name="connsiteY84" fmla="*/ 166124 h 172986"/>
                    <a:gd name="connsiteX85" fmla="*/ 158251 w 265550"/>
                    <a:gd name="connsiteY85" fmla="*/ 169115 h 172986"/>
                    <a:gd name="connsiteX86" fmla="*/ 155098 w 265550"/>
                    <a:gd name="connsiteY86" fmla="*/ 171682 h 172986"/>
                    <a:gd name="connsiteX87" fmla="*/ 149279 w 265550"/>
                    <a:gd name="connsiteY87" fmla="*/ 172986 h 172986"/>
                    <a:gd name="connsiteX88" fmla="*/ 143354 w 265550"/>
                    <a:gd name="connsiteY88" fmla="*/ 171536 h 172986"/>
                    <a:gd name="connsiteX89" fmla="*/ 140485 w 265550"/>
                    <a:gd name="connsiteY89" fmla="*/ 169808 h 172986"/>
                    <a:gd name="connsiteX90" fmla="*/ 137804 w 265550"/>
                    <a:gd name="connsiteY90" fmla="*/ 167045 h 172986"/>
                    <a:gd name="connsiteX91" fmla="*/ 134976 w 265550"/>
                    <a:gd name="connsiteY91" fmla="*/ 165236 h 172986"/>
                    <a:gd name="connsiteX92" fmla="*/ 132009 w 265550"/>
                    <a:gd name="connsiteY92" fmla="*/ 164160 h 172986"/>
                    <a:gd name="connsiteX93" fmla="*/ 120665 w 265550"/>
                    <a:gd name="connsiteY93" fmla="*/ 158031 h 172986"/>
                    <a:gd name="connsiteX94" fmla="*/ 110176 w 265550"/>
                    <a:gd name="connsiteY94" fmla="*/ 148317 h 172986"/>
                    <a:gd name="connsiteX95" fmla="*/ 100608 w 265550"/>
                    <a:gd name="connsiteY95" fmla="*/ 144536 h 172986"/>
                    <a:gd name="connsiteX96" fmla="*/ 94374 w 265550"/>
                    <a:gd name="connsiteY96" fmla="*/ 142743 h 172986"/>
                    <a:gd name="connsiteX97" fmla="*/ 91367 w 265550"/>
                    <a:gd name="connsiteY97" fmla="*/ 140999 h 172986"/>
                    <a:gd name="connsiteX98" fmla="*/ 88441 w 265550"/>
                    <a:gd name="connsiteY98" fmla="*/ 138660 h 172986"/>
                    <a:gd name="connsiteX99" fmla="*/ 85906 w 265550"/>
                    <a:gd name="connsiteY99" fmla="*/ 136043 h 172986"/>
                    <a:gd name="connsiteX100" fmla="*/ 83543 w 265550"/>
                    <a:gd name="connsiteY100" fmla="*/ 132718 h 172986"/>
                    <a:gd name="connsiteX101" fmla="*/ 82402 w 265550"/>
                    <a:gd name="connsiteY101" fmla="*/ 130648 h 172986"/>
                    <a:gd name="connsiteX102" fmla="*/ 82190 w 265550"/>
                    <a:gd name="connsiteY102" fmla="*/ 127551 h 172986"/>
                    <a:gd name="connsiteX103" fmla="*/ 82940 w 265550"/>
                    <a:gd name="connsiteY103" fmla="*/ 125734 h 172986"/>
                    <a:gd name="connsiteX104" fmla="*/ 84065 w 265550"/>
                    <a:gd name="connsiteY104" fmla="*/ 124805 h 172986"/>
                    <a:gd name="connsiteX105" fmla="*/ 91668 w 265550"/>
                    <a:gd name="connsiteY105" fmla="*/ 124031 h 172986"/>
                    <a:gd name="connsiteX106" fmla="*/ 94398 w 265550"/>
                    <a:gd name="connsiteY106" fmla="*/ 124463 h 172986"/>
                    <a:gd name="connsiteX107" fmla="*/ 97087 w 265550"/>
                    <a:gd name="connsiteY107" fmla="*/ 126093 h 172986"/>
                    <a:gd name="connsiteX108" fmla="*/ 99533 w 265550"/>
                    <a:gd name="connsiteY108" fmla="*/ 126720 h 172986"/>
                    <a:gd name="connsiteX109" fmla="*/ 105140 w 265550"/>
                    <a:gd name="connsiteY109" fmla="*/ 118652 h 172986"/>
                    <a:gd name="connsiteX110" fmla="*/ 137013 w 265550"/>
                    <a:gd name="connsiteY110" fmla="*/ 114023 h 172986"/>
                    <a:gd name="connsiteX111" fmla="*/ 147257 w 265550"/>
                    <a:gd name="connsiteY111" fmla="*/ 113216 h 172986"/>
                    <a:gd name="connsiteX112" fmla="*/ 157534 w 265550"/>
                    <a:gd name="connsiteY112" fmla="*/ 113273 h 172986"/>
                    <a:gd name="connsiteX113" fmla="*/ 155929 w 265550"/>
                    <a:gd name="connsiteY113" fmla="*/ 111089 h 172986"/>
                    <a:gd name="connsiteX114" fmla="*/ 154568 w 265550"/>
                    <a:gd name="connsiteY114" fmla="*/ 108310 h 172986"/>
                    <a:gd name="connsiteX115" fmla="*/ 153060 w 265550"/>
                    <a:gd name="connsiteY115" fmla="*/ 107642 h 172986"/>
                    <a:gd name="connsiteX116" fmla="*/ 145285 w 265550"/>
                    <a:gd name="connsiteY116" fmla="*/ 109190 h 172986"/>
                    <a:gd name="connsiteX117" fmla="*/ 133395 w 265550"/>
                    <a:gd name="connsiteY117" fmla="*/ 110828 h 172986"/>
                    <a:gd name="connsiteX118" fmla="*/ 127592 w 265550"/>
                    <a:gd name="connsiteY118" fmla="*/ 110828 h 172986"/>
                    <a:gd name="connsiteX119" fmla="*/ 121610 w 265550"/>
                    <a:gd name="connsiteY119" fmla="*/ 109736 h 172986"/>
                    <a:gd name="connsiteX120" fmla="*/ 115653 w 265550"/>
                    <a:gd name="connsiteY120" fmla="*/ 110339 h 172986"/>
                    <a:gd name="connsiteX121" fmla="*/ 109500 w 265550"/>
                    <a:gd name="connsiteY121" fmla="*/ 112703 h 172986"/>
                    <a:gd name="connsiteX122" fmla="*/ 103298 w 265550"/>
                    <a:gd name="connsiteY122" fmla="*/ 114210 h 172986"/>
                    <a:gd name="connsiteX123" fmla="*/ 97275 w 265550"/>
                    <a:gd name="connsiteY123" fmla="*/ 114822 h 172986"/>
                    <a:gd name="connsiteX124" fmla="*/ 84529 w 265550"/>
                    <a:gd name="connsiteY124" fmla="*/ 114569 h 172986"/>
                    <a:gd name="connsiteX125" fmla="*/ 81359 w 265550"/>
                    <a:gd name="connsiteY125" fmla="*/ 113338 h 172986"/>
                    <a:gd name="connsiteX126" fmla="*/ 77113 w 265550"/>
                    <a:gd name="connsiteY126" fmla="*/ 110502 h 172986"/>
                    <a:gd name="connsiteX127" fmla="*/ 76077 w 265550"/>
                    <a:gd name="connsiteY127" fmla="*/ 109035 h 172986"/>
                    <a:gd name="connsiteX128" fmla="*/ 75205 w 265550"/>
                    <a:gd name="connsiteY128" fmla="*/ 107250 h 172986"/>
                    <a:gd name="connsiteX129" fmla="*/ 74374 w 265550"/>
                    <a:gd name="connsiteY129" fmla="*/ 101864 h 172986"/>
                    <a:gd name="connsiteX130" fmla="*/ 75295 w 265550"/>
                    <a:gd name="connsiteY130" fmla="*/ 100397 h 172986"/>
                    <a:gd name="connsiteX131" fmla="*/ 76591 w 265550"/>
                    <a:gd name="connsiteY131" fmla="*/ 99557 h 172986"/>
                    <a:gd name="connsiteX132" fmla="*/ 77936 w 265550"/>
                    <a:gd name="connsiteY132" fmla="*/ 99044 h 172986"/>
                    <a:gd name="connsiteX133" fmla="*/ 80731 w 265550"/>
                    <a:gd name="connsiteY133" fmla="*/ 99019 h 172986"/>
                    <a:gd name="connsiteX134" fmla="*/ 83486 w 265550"/>
                    <a:gd name="connsiteY134" fmla="*/ 99940 h 172986"/>
                    <a:gd name="connsiteX135" fmla="*/ 89916 w 265550"/>
                    <a:gd name="connsiteY135" fmla="*/ 103004 h 172986"/>
                    <a:gd name="connsiteX136" fmla="*/ 88457 w 265550"/>
                    <a:gd name="connsiteY136" fmla="*/ 99720 h 172986"/>
                    <a:gd name="connsiteX137" fmla="*/ 106973 w 265550"/>
                    <a:gd name="connsiteY137" fmla="*/ 95751 h 172986"/>
                    <a:gd name="connsiteX138" fmla="*/ 115571 w 265550"/>
                    <a:gd name="connsiteY138" fmla="*/ 92288 h 172986"/>
                    <a:gd name="connsiteX139" fmla="*/ 119980 w 265550"/>
                    <a:gd name="connsiteY139" fmla="*/ 91701 h 172986"/>
                    <a:gd name="connsiteX140" fmla="*/ 124406 w 265550"/>
                    <a:gd name="connsiteY140" fmla="*/ 91953 h 172986"/>
                    <a:gd name="connsiteX141" fmla="*/ 123436 w 265550"/>
                    <a:gd name="connsiteY141" fmla="*/ 90112 h 172986"/>
                    <a:gd name="connsiteX142" fmla="*/ 123395 w 265550"/>
                    <a:gd name="connsiteY142" fmla="*/ 88400 h 172986"/>
                    <a:gd name="connsiteX143" fmla="*/ 126541 w 265550"/>
                    <a:gd name="connsiteY143" fmla="*/ 87007 h 172986"/>
                    <a:gd name="connsiteX144" fmla="*/ 128814 w 265550"/>
                    <a:gd name="connsiteY144" fmla="*/ 86403 h 172986"/>
                    <a:gd name="connsiteX145" fmla="*/ 135620 w 265550"/>
                    <a:gd name="connsiteY145" fmla="*/ 85719 h 172986"/>
                    <a:gd name="connsiteX146" fmla="*/ 151161 w 265550"/>
                    <a:gd name="connsiteY146" fmla="*/ 85841 h 172986"/>
                    <a:gd name="connsiteX147" fmla="*/ 156776 w 265550"/>
                    <a:gd name="connsiteY147" fmla="*/ 84896 h 172986"/>
                    <a:gd name="connsiteX148" fmla="*/ 160957 w 265550"/>
                    <a:gd name="connsiteY148" fmla="*/ 82516 h 172986"/>
                    <a:gd name="connsiteX149" fmla="*/ 156499 w 265550"/>
                    <a:gd name="connsiteY149" fmla="*/ 83347 h 172986"/>
                    <a:gd name="connsiteX150" fmla="*/ 152017 w 265550"/>
                    <a:gd name="connsiteY150" fmla="*/ 83510 h 172986"/>
                    <a:gd name="connsiteX151" fmla="*/ 149922 w 265550"/>
                    <a:gd name="connsiteY151" fmla="*/ 83021 h 172986"/>
                    <a:gd name="connsiteX152" fmla="*/ 145188 w 265550"/>
                    <a:gd name="connsiteY152" fmla="*/ 80935 h 172986"/>
                    <a:gd name="connsiteX153" fmla="*/ 143036 w 265550"/>
                    <a:gd name="connsiteY153" fmla="*/ 78205 h 172986"/>
                    <a:gd name="connsiteX154" fmla="*/ 149173 w 265550"/>
                    <a:gd name="connsiteY154" fmla="*/ 72745 h 172986"/>
                    <a:gd name="connsiteX155" fmla="*/ 151316 w 265550"/>
                    <a:gd name="connsiteY155" fmla="*/ 70210 h 172986"/>
                    <a:gd name="connsiteX156" fmla="*/ 145049 w 265550"/>
                    <a:gd name="connsiteY156" fmla="*/ 70569 h 172986"/>
                    <a:gd name="connsiteX157" fmla="*/ 142971 w 265550"/>
                    <a:gd name="connsiteY157" fmla="*/ 71457 h 172986"/>
                    <a:gd name="connsiteX158" fmla="*/ 135815 w 265550"/>
                    <a:gd name="connsiteY158" fmla="*/ 76477 h 172986"/>
                    <a:gd name="connsiteX159" fmla="*/ 130510 w 265550"/>
                    <a:gd name="connsiteY159" fmla="*/ 78735 h 172986"/>
                    <a:gd name="connsiteX160" fmla="*/ 123982 w 265550"/>
                    <a:gd name="connsiteY160" fmla="*/ 79818 h 172986"/>
                    <a:gd name="connsiteX161" fmla="*/ 117454 w 265550"/>
                    <a:gd name="connsiteY161" fmla="*/ 79721 h 172986"/>
                    <a:gd name="connsiteX162" fmla="*/ 116036 w 265550"/>
                    <a:gd name="connsiteY162" fmla="*/ 79004 h 172986"/>
                    <a:gd name="connsiteX163" fmla="*/ 114031 w 265550"/>
                    <a:gd name="connsiteY163" fmla="*/ 75687 h 172986"/>
                    <a:gd name="connsiteX164" fmla="*/ 113412 w 265550"/>
                    <a:gd name="connsiteY164" fmla="*/ 73934 h 172986"/>
                    <a:gd name="connsiteX165" fmla="*/ 113672 w 265550"/>
                    <a:gd name="connsiteY165" fmla="*/ 72973 h 172986"/>
                    <a:gd name="connsiteX166" fmla="*/ 115742 w 265550"/>
                    <a:gd name="connsiteY166" fmla="*/ 70226 h 172986"/>
                    <a:gd name="connsiteX167" fmla="*/ 116818 w 265550"/>
                    <a:gd name="connsiteY167" fmla="*/ 67317 h 172986"/>
                    <a:gd name="connsiteX168" fmla="*/ 116631 w 265550"/>
                    <a:gd name="connsiteY168" fmla="*/ 64815 h 172986"/>
                    <a:gd name="connsiteX169" fmla="*/ 115107 w 265550"/>
                    <a:gd name="connsiteY169" fmla="*/ 64310 h 172986"/>
                    <a:gd name="connsiteX170" fmla="*/ 112686 w 265550"/>
                    <a:gd name="connsiteY170" fmla="*/ 66771 h 172986"/>
                    <a:gd name="connsiteX171" fmla="*/ 110510 w 265550"/>
                    <a:gd name="connsiteY171" fmla="*/ 70169 h 172986"/>
                    <a:gd name="connsiteX172" fmla="*/ 107503 w 265550"/>
                    <a:gd name="connsiteY172" fmla="*/ 71872 h 172986"/>
                    <a:gd name="connsiteX173" fmla="*/ 104414 w 265550"/>
                    <a:gd name="connsiteY173" fmla="*/ 71416 h 172986"/>
                    <a:gd name="connsiteX174" fmla="*/ 103094 w 265550"/>
                    <a:gd name="connsiteY174" fmla="*/ 70104 h 172986"/>
                    <a:gd name="connsiteX175" fmla="*/ 101953 w 265550"/>
                    <a:gd name="connsiteY175" fmla="*/ 68107 h 172986"/>
                    <a:gd name="connsiteX176" fmla="*/ 100731 w 265550"/>
                    <a:gd name="connsiteY176" fmla="*/ 67333 h 172986"/>
                    <a:gd name="connsiteX177" fmla="*/ 99394 w 265550"/>
                    <a:gd name="connsiteY177" fmla="*/ 67333 h 172986"/>
                    <a:gd name="connsiteX178" fmla="*/ 96623 w 265550"/>
                    <a:gd name="connsiteY178" fmla="*/ 68140 h 172986"/>
                    <a:gd name="connsiteX179" fmla="*/ 93893 w 265550"/>
                    <a:gd name="connsiteY179" fmla="*/ 69615 h 172986"/>
                    <a:gd name="connsiteX180" fmla="*/ 94822 w 265550"/>
                    <a:gd name="connsiteY180" fmla="*/ 71856 h 172986"/>
                    <a:gd name="connsiteX181" fmla="*/ 95083 w 265550"/>
                    <a:gd name="connsiteY181" fmla="*/ 74358 h 172986"/>
                    <a:gd name="connsiteX182" fmla="*/ 93909 w 265550"/>
                    <a:gd name="connsiteY182" fmla="*/ 76339 h 172986"/>
                    <a:gd name="connsiteX183" fmla="*/ 93013 w 265550"/>
                    <a:gd name="connsiteY183" fmla="*/ 78751 h 172986"/>
                    <a:gd name="connsiteX184" fmla="*/ 95825 w 265550"/>
                    <a:gd name="connsiteY184" fmla="*/ 80283 h 172986"/>
                    <a:gd name="connsiteX185" fmla="*/ 98131 w 265550"/>
                    <a:gd name="connsiteY185" fmla="*/ 82638 h 172986"/>
                    <a:gd name="connsiteX186" fmla="*/ 94692 w 265550"/>
                    <a:gd name="connsiteY186" fmla="*/ 83755 h 172986"/>
                    <a:gd name="connsiteX187" fmla="*/ 91309 w 265550"/>
                    <a:gd name="connsiteY187" fmla="*/ 85368 h 172986"/>
                    <a:gd name="connsiteX188" fmla="*/ 88205 w 265550"/>
                    <a:gd name="connsiteY188" fmla="*/ 87862 h 172986"/>
                    <a:gd name="connsiteX189" fmla="*/ 85034 w 265550"/>
                    <a:gd name="connsiteY189" fmla="*/ 89810 h 172986"/>
                    <a:gd name="connsiteX190" fmla="*/ 80014 w 265550"/>
                    <a:gd name="connsiteY190" fmla="*/ 90014 h 172986"/>
                    <a:gd name="connsiteX191" fmla="*/ 73739 w 265550"/>
                    <a:gd name="connsiteY191" fmla="*/ 91081 h 172986"/>
                    <a:gd name="connsiteX192" fmla="*/ 61213 w 265550"/>
                    <a:gd name="connsiteY192" fmla="*/ 91464 h 172986"/>
                    <a:gd name="connsiteX193" fmla="*/ 55337 w 265550"/>
                    <a:gd name="connsiteY193" fmla="*/ 88302 h 172986"/>
                    <a:gd name="connsiteX194" fmla="*/ 54261 w 265550"/>
                    <a:gd name="connsiteY194" fmla="*/ 86795 h 172986"/>
                    <a:gd name="connsiteX195" fmla="*/ 53087 w 265550"/>
                    <a:gd name="connsiteY195" fmla="*/ 85792 h 172986"/>
                    <a:gd name="connsiteX196" fmla="*/ 49183 w 265550"/>
                    <a:gd name="connsiteY196" fmla="*/ 84130 h 172986"/>
                    <a:gd name="connsiteX197" fmla="*/ 43479 w 265550"/>
                    <a:gd name="connsiteY197" fmla="*/ 79232 h 172986"/>
                    <a:gd name="connsiteX198" fmla="*/ 39086 w 265550"/>
                    <a:gd name="connsiteY198" fmla="*/ 73649 h 172986"/>
                    <a:gd name="connsiteX199" fmla="*/ 36120 w 265550"/>
                    <a:gd name="connsiteY199" fmla="*/ 73111 h 172986"/>
                    <a:gd name="connsiteX200" fmla="*/ 31743 w 265550"/>
                    <a:gd name="connsiteY200" fmla="*/ 71261 h 172986"/>
                    <a:gd name="connsiteX201" fmla="*/ 29355 w 265550"/>
                    <a:gd name="connsiteY201" fmla="*/ 69672 h 172986"/>
                    <a:gd name="connsiteX202" fmla="*/ 27090 w 265550"/>
                    <a:gd name="connsiteY202" fmla="*/ 67569 h 172986"/>
                    <a:gd name="connsiteX203" fmla="*/ 26405 w 265550"/>
                    <a:gd name="connsiteY203" fmla="*/ 65067 h 172986"/>
                    <a:gd name="connsiteX204" fmla="*/ 26617 w 265550"/>
                    <a:gd name="connsiteY204" fmla="*/ 62794 h 172986"/>
                    <a:gd name="connsiteX205" fmla="*/ 29241 w 265550"/>
                    <a:gd name="connsiteY205" fmla="*/ 61775 h 172986"/>
                    <a:gd name="connsiteX206" fmla="*/ 23039 w 265550"/>
                    <a:gd name="connsiteY206" fmla="*/ 59216 h 172986"/>
                    <a:gd name="connsiteX207" fmla="*/ 16960 w 265550"/>
                    <a:gd name="connsiteY207" fmla="*/ 55818 h 172986"/>
                    <a:gd name="connsiteX208" fmla="*/ 19209 w 265550"/>
                    <a:gd name="connsiteY208" fmla="*/ 54685 h 172986"/>
                    <a:gd name="connsiteX209" fmla="*/ 21475 w 265550"/>
                    <a:gd name="connsiteY209" fmla="*/ 54188 h 172986"/>
                    <a:gd name="connsiteX210" fmla="*/ 39510 w 265550"/>
                    <a:gd name="connsiteY210" fmla="*/ 58132 h 172986"/>
                    <a:gd name="connsiteX211" fmla="*/ 40716 w 265550"/>
                    <a:gd name="connsiteY211" fmla="*/ 57643 h 172986"/>
                    <a:gd name="connsiteX212" fmla="*/ 42697 w 265550"/>
                    <a:gd name="connsiteY212" fmla="*/ 55679 h 172986"/>
                    <a:gd name="connsiteX213" fmla="*/ 41996 w 265550"/>
                    <a:gd name="connsiteY213" fmla="*/ 55019 h 172986"/>
                    <a:gd name="connsiteX214" fmla="*/ 38980 w 265550"/>
                    <a:gd name="connsiteY214" fmla="*/ 54571 h 172986"/>
                    <a:gd name="connsiteX215" fmla="*/ 34865 w 265550"/>
                    <a:gd name="connsiteY215" fmla="*/ 54579 h 172986"/>
                    <a:gd name="connsiteX216" fmla="*/ 33830 w 265550"/>
                    <a:gd name="connsiteY216" fmla="*/ 54179 h 172986"/>
                    <a:gd name="connsiteX217" fmla="*/ 32240 w 265550"/>
                    <a:gd name="connsiteY217" fmla="*/ 52060 h 172986"/>
                    <a:gd name="connsiteX218" fmla="*/ 30855 w 265550"/>
                    <a:gd name="connsiteY218" fmla="*/ 49444 h 172986"/>
                    <a:gd name="connsiteX219" fmla="*/ 30260 w 265550"/>
                    <a:gd name="connsiteY219" fmla="*/ 47700 h 172986"/>
                    <a:gd name="connsiteX220" fmla="*/ 30040 w 265550"/>
                    <a:gd name="connsiteY220" fmla="*/ 45663 h 172986"/>
                    <a:gd name="connsiteX221" fmla="*/ 33088 w 265550"/>
                    <a:gd name="connsiteY221" fmla="*/ 42599 h 172986"/>
                    <a:gd name="connsiteX222" fmla="*/ 34767 w 265550"/>
                    <a:gd name="connsiteY222" fmla="*/ 39852 h 172986"/>
                    <a:gd name="connsiteX223" fmla="*/ 32159 w 265550"/>
                    <a:gd name="connsiteY223" fmla="*/ 38581 h 172986"/>
                    <a:gd name="connsiteX224" fmla="*/ 24743 w 265550"/>
                    <a:gd name="connsiteY224" fmla="*/ 38662 h 172986"/>
                    <a:gd name="connsiteX225" fmla="*/ 22273 w 265550"/>
                    <a:gd name="connsiteY225" fmla="*/ 39054 h 172986"/>
                    <a:gd name="connsiteX226" fmla="*/ 23178 w 265550"/>
                    <a:gd name="connsiteY226" fmla="*/ 42998 h 172986"/>
                    <a:gd name="connsiteX227" fmla="*/ 20823 w 265550"/>
                    <a:gd name="connsiteY227" fmla="*/ 45712 h 172986"/>
                    <a:gd name="connsiteX228" fmla="*/ 16299 w 265550"/>
                    <a:gd name="connsiteY228" fmla="*/ 47839 h 172986"/>
                    <a:gd name="connsiteX229" fmla="*/ 13048 w 265550"/>
                    <a:gd name="connsiteY229" fmla="*/ 46812 h 172986"/>
                    <a:gd name="connsiteX230" fmla="*/ 10546 w 265550"/>
                    <a:gd name="connsiteY230" fmla="*/ 41604 h 172986"/>
                    <a:gd name="connsiteX231" fmla="*/ 7278 w 265550"/>
                    <a:gd name="connsiteY231" fmla="*/ 37970 h 172986"/>
                    <a:gd name="connsiteX232" fmla="*/ 6047 w 265550"/>
                    <a:gd name="connsiteY232" fmla="*/ 35680 h 172986"/>
                    <a:gd name="connsiteX233" fmla="*/ 5110 w 265550"/>
                    <a:gd name="connsiteY233" fmla="*/ 32379 h 172986"/>
                    <a:gd name="connsiteX234" fmla="*/ 3781 w 265550"/>
                    <a:gd name="connsiteY234" fmla="*/ 29975 h 172986"/>
                    <a:gd name="connsiteX235" fmla="*/ 1377 w 265550"/>
                    <a:gd name="connsiteY235" fmla="*/ 27073 h 172986"/>
                    <a:gd name="connsiteX236" fmla="*/ 1067 w 265550"/>
                    <a:gd name="connsiteY236" fmla="*/ 25280 h 172986"/>
                    <a:gd name="connsiteX237" fmla="*/ 1361 w 265550"/>
                    <a:gd name="connsiteY237" fmla="*/ 23968 h 172986"/>
                    <a:gd name="connsiteX238" fmla="*/ 3194 w 265550"/>
                    <a:gd name="connsiteY238" fmla="*/ 20945 h 172986"/>
                    <a:gd name="connsiteX239" fmla="*/ 1801 w 265550"/>
                    <a:gd name="connsiteY239" fmla="*/ 18443 h 172986"/>
                    <a:gd name="connsiteX240" fmla="*/ 106 w 265550"/>
                    <a:gd name="connsiteY240" fmla="*/ 16242 h 172986"/>
                    <a:gd name="connsiteX241" fmla="*/ 0 w 265550"/>
                    <a:gd name="connsiteY241" fmla="*/ 14996 h 172986"/>
                    <a:gd name="connsiteX242" fmla="*/ 1605 w 265550"/>
                    <a:gd name="connsiteY242" fmla="*/ 13447 h 172986"/>
                    <a:gd name="connsiteX243" fmla="*/ 3032 w 265550"/>
                    <a:gd name="connsiteY243" fmla="*/ 12934 h 172986"/>
                    <a:gd name="connsiteX244" fmla="*/ 4564 w 265550"/>
                    <a:gd name="connsiteY244" fmla="*/ 13040 h 172986"/>
                    <a:gd name="connsiteX245" fmla="*/ 9120 w 265550"/>
                    <a:gd name="connsiteY245" fmla="*/ 14890 h 172986"/>
                    <a:gd name="connsiteX246" fmla="*/ 11613 w 265550"/>
                    <a:gd name="connsiteY246" fmla="*/ 17090 h 172986"/>
                    <a:gd name="connsiteX247" fmla="*/ 12485 w 265550"/>
                    <a:gd name="connsiteY247" fmla="*/ 16911 h 172986"/>
                    <a:gd name="connsiteX248" fmla="*/ 14107 w 265550"/>
                    <a:gd name="connsiteY248" fmla="*/ 13643 h 172986"/>
                    <a:gd name="connsiteX249" fmla="*/ 16413 w 265550"/>
                    <a:gd name="connsiteY249" fmla="*/ 12901 h 172986"/>
                    <a:gd name="connsiteX250" fmla="*/ 25305 w 265550"/>
                    <a:gd name="connsiteY250" fmla="*/ 11825 h 172986"/>
                    <a:gd name="connsiteX251" fmla="*/ 35215 w 265550"/>
                    <a:gd name="connsiteY251" fmla="*/ 16047 h 172986"/>
                    <a:gd name="connsiteX252" fmla="*/ 37774 w 265550"/>
                    <a:gd name="connsiteY252" fmla="*/ 16992 h 172986"/>
                    <a:gd name="connsiteX253" fmla="*/ 39836 w 265550"/>
                    <a:gd name="connsiteY253" fmla="*/ 17294 h 172986"/>
                    <a:gd name="connsiteX254" fmla="*/ 38776 w 265550"/>
                    <a:gd name="connsiteY254" fmla="*/ 15411 h 172986"/>
                    <a:gd name="connsiteX255" fmla="*/ 38133 w 265550"/>
                    <a:gd name="connsiteY255" fmla="*/ 12974 h 172986"/>
                    <a:gd name="connsiteX256" fmla="*/ 39640 w 265550"/>
                    <a:gd name="connsiteY256" fmla="*/ 12062 h 172986"/>
                    <a:gd name="connsiteX257" fmla="*/ 47627 w 265550"/>
                    <a:gd name="connsiteY257" fmla="*/ 14229 h 172986"/>
                    <a:gd name="connsiteX258" fmla="*/ 51376 w 265550"/>
                    <a:gd name="connsiteY258" fmla="*/ 14099 h 172986"/>
                    <a:gd name="connsiteX259" fmla="*/ 60161 w 265550"/>
                    <a:gd name="connsiteY259" fmla="*/ 11255 h 172986"/>
                    <a:gd name="connsiteX260" fmla="*/ 74684 w 265550"/>
                    <a:gd name="connsiteY260" fmla="*/ 9772 h 172986"/>
                    <a:gd name="connsiteX261" fmla="*/ 80169 w 265550"/>
                    <a:gd name="connsiteY261" fmla="*/ 12013 h 172986"/>
                    <a:gd name="connsiteX262" fmla="*/ 80462 w 265550"/>
                    <a:gd name="connsiteY262" fmla="*/ 13211 h 172986"/>
                    <a:gd name="connsiteX263" fmla="*/ 80340 w 265550"/>
                    <a:gd name="connsiteY263" fmla="*/ 14816 h 172986"/>
                    <a:gd name="connsiteX264" fmla="*/ 79998 w 265550"/>
                    <a:gd name="connsiteY264" fmla="*/ 15305 h 172986"/>
                    <a:gd name="connsiteX265" fmla="*/ 76778 w 265550"/>
                    <a:gd name="connsiteY265" fmla="*/ 17180 h 172986"/>
                    <a:gd name="connsiteX266" fmla="*/ 58466 w 265550"/>
                    <a:gd name="connsiteY266" fmla="*/ 18712 h 172986"/>
                    <a:gd name="connsiteX267" fmla="*/ 46469 w 265550"/>
                    <a:gd name="connsiteY267" fmla="*/ 24580 h 172986"/>
                    <a:gd name="connsiteX268" fmla="*/ 62826 w 265550"/>
                    <a:gd name="connsiteY268" fmla="*/ 23634 h 172986"/>
                    <a:gd name="connsiteX269" fmla="*/ 65776 w 265550"/>
                    <a:gd name="connsiteY269" fmla="*/ 24311 h 172986"/>
                    <a:gd name="connsiteX270" fmla="*/ 67007 w 265550"/>
                    <a:gd name="connsiteY270" fmla="*/ 29070 h 172986"/>
                    <a:gd name="connsiteX271" fmla="*/ 68197 w 265550"/>
                    <a:gd name="connsiteY271" fmla="*/ 29575 h 172986"/>
                    <a:gd name="connsiteX272" fmla="*/ 72410 w 265550"/>
                    <a:gd name="connsiteY272" fmla="*/ 30268 h 172986"/>
                    <a:gd name="connsiteX273" fmla="*/ 75255 w 265550"/>
                    <a:gd name="connsiteY273" fmla="*/ 31686 h 172986"/>
                    <a:gd name="connsiteX274" fmla="*/ 78172 w 265550"/>
                    <a:gd name="connsiteY274" fmla="*/ 34384 h 172986"/>
                    <a:gd name="connsiteX275" fmla="*/ 81228 w 265550"/>
                    <a:gd name="connsiteY275" fmla="*/ 36217 h 172986"/>
                    <a:gd name="connsiteX276" fmla="*/ 83029 w 265550"/>
                    <a:gd name="connsiteY276" fmla="*/ 35981 h 172986"/>
                    <a:gd name="connsiteX277" fmla="*/ 83682 w 265550"/>
                    <a:gd name="connsiteY277" fmla="*/ 34017 h 172986"/>
                    <a:gd name="connsiteX278" fmla="*/ 82948 w 265550"/>
                    <a:gd name="connsiteY278" fmla="*/ 31670 h 172986"/>
                    <a:gd name="connsiteX279" fmla="*/ 82573 w 265550"/>
                    <a:gd name="connsiteY279" fmla="*/ 29013 h 172986"/>
                    <a:gd name="connsiteX280" fmla="*/ 82793 w 265550"/>
                    <a:gd name="connsiteY280" fmla="*/ 26136 h 172986"/>
                    <a:gd name="connsiteX281" fmla="*/ 83282 w 265550"/>
                    <a:gd name="connsiteY281" fmla="*/ 23756 h 172986"/>
                    <a:gd name="connsiteX282" fmla="*/ 86721 w 265550"/>
                    <a:gd name="connsiteY282" fmla="*/ 22086 h 172986"/>
                    <a:gd name="connsiteX283" fmla="*/ 91717 w 265550"/>
                    <a:gd name="connsiteY283" fmla="*/ 16634 h 172986"/>
                    <a:gd name="connsiteX284" fmla="*/ 97022 w 265550"/>
                    <a:gd name="connsiteY284" fmla="*/ 12942 h 172986"/>
                    <a:gd name="connsiteX285" fmla="*/ 102923 w 265550"/>
                    <a:gd name="connsiteY285" fmla="*/ 14572 h 172986"/>
                    <a:gd name="connsiteX286" fmla="*/ 108391 w 265550"/>
                    <a:gd name="connsiteY286" fmla="*/ 19209 h 172986"/>
                    <a:gd name="connsiteX287" fmla="*/ 113330 w 265550"/>
                    <a:gd name="connsiteY287" fmla="*/ 25794 h 172986"/>
                    <a:gd name="connsiteX288" fmla="*/ 118114 w 265550"/>
                    <a:gd name="connsiteY288" fmla="*/ 32819 h 172986"/>
                    <a:gd name="connsiteX289" fmla="*/ 123477 w 265550"/>
                    <a:gd name="connsiteY289" fmla="*/ 41507 h 172986"/>
                    <a:gd name="connsiteX290" fmla="*/ 126044 w 265550"/>
                    <a:gd name="connsiteY290" fmla="*/ 44563 h 172986"/>
                    <a:gd name="connsiteX291" fmla="*/ 128383 w 265550"/>
                    <a:gd name="connsiteY291" fmla="*/ 45280 h 172986"/>
                    <a:gd name="connsiteX292" fmla="*/ 139213 w 265550"/>
                    <a:gd name="connsiteY292" fmla="*/ 54285 h 172986"/>
                    <a:gd name="connsiteX293" fmla="*/ 140428 w 265550"/>
                    <a:gd name="connsiteY293" fmla="*/ 54530 h 172986"/>
                    <a:gd name="connsiteX294" fmla="*/ 138195 w 265550"/>
                    <a:gd name="connsiteY294" fmla="*/ 47692 h 172986"/>
                    <a:gd name="connsiteX295" fmla="*/ 132588 w 265550"/>
                    <a:gd name="connsiteY295" fmla="*/ 36071 h 172986"/>
                    <a:gd name="connsiteX296" fmla="*/ 128806 w 265550"/>
                    <a:gd name="connsiteY296" fmla="*/ 27130 h 172986"/>
                    <a:gd name="connsiteX297" fmla="*/ 127959 w 265550"/>
                    <a:gd name="connsiteY297" fmla="*/ 23691 h 172986"/>
                    <a:gd name="connsiteX298" fmla="*/ 127348 w 265550"/>
                    <a:gd name="connsiteY298" fmla="*/ 18883 h 172986"/>
                    <a:gd name="connsiteX299" fmla="*/ 127576 w 265550"/>
                    <a:gd name="connsiteY299" fmla="*/ 17497 h 172986"/>
                    <a:gd name="connsiteX300" fmla="*/ 128057 w 265550"/>
                    <a:gd name="connsiteY300" fmla="*/ 16242 h 172986"/>
                    <a:gd name="connsiteX301" fmla="*/ 130803 w 265550"/>
                    <a:gd name="connsiteY301" fmla="*/ 11092 h 172986"/>
                    <a:gd name="connsiteX302" fmla="*/ 134389 w 265550"/>
                    <a:gd name="connsiteY302" fmla="*/ 8574 h 172986"/>
                    <a:gd name="connsiteX303" fmla="*/ 133305 w 265550"/>
                    <a:gd name="connsiteY303" fmla="*/ 5028 h 172986"/>
                    <a:gd name="connsiteX304" fmla="*/ 134226 w 265550"/>
                    <a:gd name="connsiteY304" fmla="*/ 2306 h 172986"/>
                    <a:gd name="connsiteX305" fmla="*/ 137991 w 265550"/>
                    <a:gd name="connsiteY305" fmla="*/ 155 h 172986"/>
                    <a:gd name="connsiteX306" fmla="*/ 141496 w 265550"/>
                    <a:gd name="connsiteY306" fmla="*/ 0 h 172986"/>
                    <a:gd name="connsiteX307" fmla="*/ 144902 w 265550"/>
                    <a:gd name="connsiteY307" fmla="*/ 1638 h 172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Lst>
                  <a:rect l="l" t="t" r="r" b="b"/>
                  <a:pathLst>
                    <a:path w="265550" h="172986">
                      <a:moveTo>
                        <a:pt x="151414" y="7441"/>
                      </a:moveTo>
                      <a:lnTo>
                        <a:pt x="152693" y="7530"/>
                      </a:lnTo>
                      <a:lnTo>
                        <a:pt x="153949" y="6992"/>
                      </a:lnTo>
                      <a:lnTo>
                        <a:pt x="154853" y="5566"/>
                      </a:lnTo>
                      <a:lnTo>
                        <a:pt x="155872" y="4784"/>
                      </a:lnTo>
                      <a:lnTo>
                        <a:pt x="162147" y="5705"/>
                      </a:lnTo>
                      <a:lnTo>
                        <a:pt x="171046" y="8557"/>
                      </a:lnTo>
                      <a:lnTo>
                        <a:pt x="173687" y="9967"/>
                      </a:lnTo>
                      <a:lnTo>
                        <a:pt x="177403" y="12868"/>
                      </a:lnTo>
                      <a:lnTo>
                        <a:pt x="180419" y="17742"/>
                      </a:lnTo>
                      <a:lnTo>
                        <a:pt x="178023" y="21255"/>
                      </a:lnTo>
                      <a:lnTo>
                        <a:pt x="174877" y="24571"/>
                      </a:lnTo>
                      <a:lnTo>
                        <a:pt x="173752" y="26405"/>
                      </a:lnTo>
                      <a:lnTo>
                        <a:pt x="174909" y="29046"/>
                      </a:lnTo>
                      <a:lnTo>
                        <a:pt x="174445" y="31605"/>
                      </a:lnTo>
                      <a:lnTo>
                        <a:pt x="173296" y="33870"/>
                      </a:lnTo>
                      <a:lnTo>
                        <a:pt x="178064" y="31287"/>
                      </a:lnTo>
                      <a:lnTo>
                        <a:pt x="188251" y="22999"/>
                      </a:lnTo>
                      <a:lnTo>
                        <a:pt x="189775" y="22485"/>
                      </a:lnTo>
                      <a:lnTo>
                        <a:pt x="191364" y="22770"/>
                      </a:lnTo>
                      <a:lnTo>
                        <a:pt x="195936" y="24474"/>
                      </a:lnTo>
                      <a:lnTo>
                        <a:pt x="200076" y="28695"/>
                      </a:lnTo>
                      <a:lnTo>
                        <a:pt x="200981" y="30089"/>
                      </a:lnTo>
                      <a:lnTo>
                        <a:pt x="201722" y="31808"/>
                      </a:lnTo>
                      <a:lnTo>
                        <a:pt x="202154" y="33935"/>
                      </a:lnTo>
                      <a:lnTo>
                        <a:pt x="201918" y="36364"/>
                      </a:lnTo>
                      <a:lnTo>
                        <a:pt x="201535" y="38059"/>
                      </a:lnTo>
                      <a:lnTo>
                        <a:pt x="199359" y="39143"/>
                      </a:lnTo>
                      <a:lnTo>
                        <a:pt x="198315" y="40146"/>
                      </a:lnTo>
                      <a:lnTo>
                        <a:pt x="200663" y="40219"/>
                      </a:lnTo>
                      <a:lnTo>
                        <a:pt x="203336" y="41531"/>
                      </a:lnTo>
                      <a:lnTo>
                        <a:pt x="205789" y="44318"/>
                      </a:lnTo>
                      <a:lnTo>
                        <a:pt x="208527" y="45418"/>
                      </a:lnTo>
                      <a:lnTo>
                        <a:pt x="218461" y="44489"/>
                      </a:lnTo>
                      <a:lnTo>
                        <a:pt x="224932" y="45940"/>
                      </a:lnTo>
                      <a:lnTo>
                        <a:pt x="228470" y="50496"/>
                      </a:lnTo>
                      <a:lnTo>
                        <a:pt x="233938" y="49469"/>
                      </a:lnTo>
                      <a:lnTo>
                        <a:pt x="233954" y="47040"/>
                      </a:lnTo>
                      <a:lnTo>
                        <a:pt x="235152" y="45997"/>
                      </a:lnTo>
                      <a:lnTo>
                        <a:pt x="242463" y="46820"/>
                      </a:lnTo>
                      <a:lnTo>
                        <a:pt x="246260" y="47961"/>
                      </a:lnTo>
                      <a:lnTo>
                        <a:pt x="250140" y="50357"/>
                      </a:lnTo>
                      <a:lnTo>
                        <a:pt x="243522" y="54269"/>
                      </a:lnTo>
                      <a:lnTo>
                        <a:pt x="248974" y="58018"/>
                      </a:lnTo>
                      <a:lnTo>
                        <a:pt x="258143" y="60732"/>
                      </a:lnTo>
                      <a:lnTo>
                        <a:pt x="263652" y="63584"/>
                      </a:lnTo>
                      <a:lnTo>
                        <a:pt x="264654" y="64774"/>
                      </a:lnTo>
                      <a:lnTo>
                        <a:pt x="265551" y="66363"/>
                      </a:lnTo>
                      <a:lnTo>
                        <a:pt x="261965" y="68409"/>
                      </a:lnTo>
                      <a:lnTo>
                        <a:pt x="258306" y="69574"/>
                      </a:lnTo>
                      <a:lnTo>
                        <a:pt x="249080" y="69770"/>
                      </a:lnTo>
                      <a:lnTo>
                        <a:pt x="240719" y="71221"/>
                      </a:lnTo>
                      <a:lnTo>
                        <a:pt x="225381" y="72247"/>
                      </a:lnTo>
                      <a:lnTo>
                        <a:pt x="223090" y="72907"/>
                      </a:lnTo>
                      <a:lnTo>
                        <a:pt x="222553" y="73494"/>
                      </a:lnTo>
                      <a:lnTo>
                        <a:pt x="221648" y="75279"/>
                      </a:lnTo>
                      <a:lnTo>
                        <a:pt x="215748" y="79387"/>
                      </a:lnTo>
                      <a:lnTo>
                        <a:pt x="210043" y="84407"/>
                      </a:lnTo>
                      <a:lnTo>
                        <a:pt x="207696" y="87414"/>
                      </a:lnTo>
                      <a:lnTo>
                        <a:pt x="205903" y="91627"/>
                      </a:lnTo>
                      <a:lnTo>
                        <a:pt x="205251" y="94195"/>
                      </a:lnTo>
                      <a:lnTo>
                        <a:pt x="206522" y="96697"/>
                      </a:lnTo>
                      <a:lnTo>
                        <a:pt x="206188" y="99215"/>
                      </a:lnTo>
                      <a:lnTo>
                        <a:pt x="201901" y="101187"/>
                      </a:lnTo>
                      <a:lnTo>
                        <a:pt x="199171" y="101269"/>
                      </a:lnTo>
                      <a:lnTo>
                        <a:pt x="195756" y="100877"/>
                      </a:lnTo>
                      <a:lnTo>
                        <a:pt x="192407" y="102010"/>
                      </a:lnTo>
                      <a:lnTo>
                        <a:pt x="192187" y="103722"/>
                      </a:lnTo>
                      <a:lnTo>
                        <a:pt x="192391" y="106134"/>
                      </a:lnTo>
                      <a:lnTo>
                        <a:pt x="191519" y="113461"/>
                      </a:lnTo>
                      <a:lnTo>
                        <a:pt x="190492" y="118970"/>
                      </a:lnTo>
                      <a:lnTo>
                        <a:pt x="188911" y="124088"/>
                      </a:lnTo>
                      <a:lnTo>
                        <a:pt x="187158" y="126842"/>
                      </a:lnTo>
                      <a:lnTo>
                        <a:pt x="184909" y="127609"/>
                      </a:lnTo>
                      <a:lnTo>
                        <a:pt x="177713" y="128114"/>
                      </a:lnTo>
                      <a:lnTo>
                        <a:pt x="172163" y="132906"/>
                      </a:lnTo>
                      <a:lnTo>
                        <a:pt x="167689" y="141455"/>
                      </a:lnTo>
                      <a:lnTo>
                        <a:pt x="165358" y="144804"/>
                      </a:lnTo>
                      <a:lnTo>
                        <a:pt x="160493" y="150085"/>
                      </a:lnTo>
                      <a:lnTo>
                        <a:pt x="161365" y="151960"/>
                      </a:lnTo>
                      <a:lnTo>
                        <a:pt x="162880" y="153989"/>
                      </a:lnTo>
                      <a:lnTo>
                        <a:pt x="160232" y="157616"/>
                      </a:lnTo>
                      <a:lnTo>
                        <a:pt x="156124" y="161683"/>
                      </a:lnTo>
                      <a:lnTo>
                        <a:pt x="156206" y="163247"/>
                      </a:lnTo>
                      <a:lnTo>
                        <a:pt x="157583" y="166124"/>
                      </a:lnTo>
                      <a:lnTo>
                        <a:pt x="158251" y="169115"/>
                      </a:lnTo>
                      <a:lnTo>
                        <a:pt x="155098" y="171682"/>
                      </a:lnTo>
                      <a:lnTo>
                        <a:pt x="149279" y="172986"/>
                      </a:lnTo>
                      <a:lnTo>
                        <a:pt x="143354" y="171536"/>
                      </a:lnTo>
                      <a:lnTo>
                        <a:pt x="140485" y="169808"/>
                      </a:lnTo>
                      <a:lnTo>
                        <a:pt x="137804" y="167045"/>
                      </a:lnTo>
                      <a:lnTo>
                        <a:pt x="134976" y="165236"/>
                      </a:lnTo>
                      <a:lnTo>
                        <a:pt x="132009" y="164160"/>
                      </a:lnTo>
                      <a:lnTo>
                        <a:pt x="120665" y="158031"/>
                      </a:lnTo>
                      <a:lnTo>
                        <a:pt x="110176" y="148317"/>
                      </a:lnTo>
                      <a:lnTo>
                        <a:pt x="100608" y="144536"/>
                      </a:lnTo>
                      <a:lnTo>
                        <a:pt x="94374" y="142743"/>
                      </a:lnTo>
                      <a:lnTo>
                        <a:pt x="91367" y="140999"/>
                      </a:lnTo>
                      <a:lnTo>
                        <a:pt x="88441" y="138660"/>
                      </a:lnTo>
                      <a:lnTo>
                        <a:pt x="85906" y="136043"/>
                      </a:lnTo>
                      <a:lnTo>
                        <a:pt x="83543" y="132718"/>
                      </a:lnTo>
                      <a:lnTo>
                        <a:pt x="82402" y="130648"/>
                      </a:lnTo>
                      <a:lnTo>
                        <a:pt x="82190" y="127551"/>
                      </a:lnTo>
                      <a:lnTo>
                        <a:pt x="82940" y="125734"/>
                      </a:lnTo>
                      <a:lnTo>
                        <a:pt x="84065" y="124805"/>
                      </a:lnTo>
                      <a:lnTo>
                        <a:pt x="91668" y="124031"/>
                      </a:lnTo>
                      <a:lnTo>
                        <a:pt x="94398" y="124463"/>
                      </a:lnTo>
                      <a:lnTo>
                        <a:pt x="97087" y="126093"/>
                      </a:lnTo>
                      <a:lnTo>
                        <a:pt x="99533" y="126720"/>
                      </a:lnTo>
                      <a:lnTo>
                        <a:pt x="105140" y="118652"/>
                      </a:lnTo>
                      <a:lnTo>
                        <a:pt x="137013" y="114023"/>
                      </a:lnTo>
                      <a:lnTo>
                        <a:pt x="147257" y="113216"/>
                      </a:lnTo>
                      <a:lnTo>
                        <a:pt x="157534" y="113273"/>
                      </a:lnTo>
                      <a:lnTo>
                        <a:pt x="155929" y="111089"/>
                      </a:lnTo>
                      <a:lnTo>
                        <a:pt x="154568" y="108310"/>
                      </a:lnTo>
                      <a:lnTo>
                        <a:pt x="153060" y="107642"/>
                      </a:lnTo>
                      <a:lnTo>
                        <a:pt x="145285" y="109190"/>
                      </a:lnTo>
                      <a:lnTo>
                        <a:pt x="133395" y="110828"/>
                      </a:lnTo>
                      <a:lnTo>
                        <a:pt x="127592" y="110828"/>
                      </a:lnTo>
                      <a:lnTo>
                        <a:pt x="121610" y="109736"/>
                      </a:lnTo>
                      <a:lnTo>
                        <a:pt x="115653" y="110339"/>
                      </a:lnTo>
                      <a:lnTo>
                        <a:pt x="109500" y="112703"/>
                      </a:lnTo>
                      <a:lnTo>
                        <a:pt x="103298" y="114210"/>
                      </a:lnTo>
                      <a:lnTo>
                        <a:pt x="97275" y="114822"/>
                      </a:lnTo>
                      <a:lnTo>
                        <a:pt x="84529" y="114569"/>
                      </a:lnTo>
                      <a:lnTo>
                        <a:pt x="81359" y="113338"/>
                      </a:lnTo>
                      <a:lnTo>
                        <a:pt x="77113" y="110502"/>
                      </a:lnTo>
                      <a:lnTo>
                        <a:pt x="76077" y="109035"/>
                      </a:lnTo>
                      <a:lnTo>
                        <a:pt x="75205" y="107250"/>
                      </a:lnTo>
                      <a:lnTo>
                        <a:pt x="74374" y="101864"/>
                      </a:lnTo>
                      <a:lnTo>
                        <a:pt x="75295" y="100397"/>
                      </a:lnTo>
                      <a:lnTo>
                        <a:pt x="76591" y="99557"/>
                      </a:lnTo>
                      <a:lnTo>
                        <a:pt x="77936" y="99044"/>
                      </a:lnTo>
                      <a:lnTo>
                        <a:pt x="80731" y="99019"/>
                      </a:lnTo>
                      <a:lnTo>
                        <a:pt x="83486" y="99940"/>
                      </a:lnTo>
                      <a:lnTo>
                        <a:pt x="89916" y="103004"/>
                      </a:lnTo>
                      <a:lnTo>
                        <a:pt x="88457" y="99720"/>
                      </a:lnTo>
                      <a:lnTo>
                        <a:pt x="106973" y="95751"/>
                      </a:lnTo>
                      <a:lnTo>
                        <a:pt x="115571" y="92288"/>
                      </a:lnTo>
                      <a:lnTo>
                        <a:pt x="119980" y="91701"/>
                      </a:lnTo>
                      <a:lnTo>
                        <a:pt x="124406" y="91953"/>
                      </a:lnTo>
                      <a:lnTo>
                        <a:pt x="123436" y="90112"/>
                      </a:lnTo>
                      <a:lnTo>
                        <a:pt x="123395" y="88400"/>
                      </a:lnTo>
                      <a:lnTo>
                        <a:pt x="126541" y="87007"/>
                      </a:lnTo>
                      <a:lnTo>
                        <a:pt x="128814" y="86403"/>
                      </a:lnTo>
                      <a:lnTo>
                        <a:pt x="135620" y="85719"/>
                      </a:lnTo>
                      <a:lnTo>
                        <a:pt x="151161" y="85841"/>
                      </a:lnTo>
                      <a:lnTo>
                        <a:pt x="156776" y="84896"/>
                      </a:lnTo>
                      <a:lnTo>
                        <a:pt x="160957" y="82516"/>
                      </a:lnTo>
                      <a:lnTo>
                        <a:pt x="156499" y="83347"/>
                      </a:lnTo>
                      <a:lnTo>
                        <a:pt x="152017" y="83510"/>
                      </a:lnTo>
                      <a:lnTo>
                        <a:pt x="149922" y="83021"/>
                      </a:lnTo>
                      <a:lnTo>
                        <a:pt x="145188" y="80935"/>
                      </a:lnTo>
                      <a:lnTo>
                        <a:pt x="143036" y="78205"/>
                      </a:lnTo>
                      <a:lnTo>
                        <a:pt x="149173" y="72745"/>
                      </a:lnTo>
                      <a:lnTo>
                        <a:pt x="151316" y="70210"/>
                      </a:lnTo>
                      <a:lnTo>
                        <a:pt x="145049" y="70569"/>
                      </a:lnTo>
                      <a:lnTo>
                        <a:pt x="142971" y="71457"/>
                      </a:lnTo>
                      <a:lnTo>
                        <a:pt x="135815" y="76477"/>
                      </a:lnTo>
                      <a:lnTo>
                        <a:pt x="130510" y="78735"/>
                      </a:lnTo>
                      <a:lnTo>
                        <a:pt x="123982" y="79818"/>
                      </a:lnTo>
                      <a:lnTo>
                        <a:pt x="117454" y="79721"/>
                      </a:lnTo>
                      <a:lnTo>
                        <a:pt x="116036" y="79004"/>
                      </a:lnTo>
                      <a:lnTo>
                        <a:pt x="114031" y="75687"/>
                      </a:lnTo>
                      <a:lnTo>
                        <a:pt x="113412" y="73934"/>
                      </a:lnTo>
                      <a:lnTo>
                        <a:pt x="113672" y="72973"/>
                      </a:lnTo>
                      <a:lnTo>
                        <a:pt x="115742" y="70226"/>
                      </a:lnTo>
                      <a:lnTo>
                        <a:pt x="116818" y="67317"/>
                      </a:lnTo>
                      <a:lnTo>
                        <a:pt x="116631" y="64815"/>
                      </a:lnTo>
                      <a:lnTo>
                        <a:pt x="115107" y="64310"/>
                      </a:lnTo>
                      <a:lnTo>
                        <a:pt x="112686" y="66771"/>
                      </a:lnTo>
                      <a:lnTo>
                        <a:pt x="110510" y="70169"/>
                      </a:lnTo>
                      <a:lnTo>
                        <a:pt x="107503" y="71872"/>
                      </a:lnTo>
                      <a:lnTo>
                        <a:pt x="104414" y="71416"/>
                      </a:lnTo>
                      <a:lnTo>
                        <a:pt x="103094" y="70104"/>
                      </a:lnTo>
                      <a:lnTo>
                        <a:pt x="101953" y="68107"/>
                      </a:lnTo>
                      <a:lnTo>
                        <a:pt x="100731" y="67333"/>
                      </a:lnTo>
                      <a:lnTo>
                        <a:pt x="99394" y="67333"/>
                      </a:lnTo>
                      <a:lnTo>
                        <a:pt x="96623" y="68140"/>
                      </a:lnTo>
                      <a:lnTo>
                        <a:pt x="93893" y="69615"/>
                      </a:lnTo>
                      <a:lnTo>
                        <a:pt x="94822" y="71856"/>
                      </a:lnTo>
                      <a:lnTo>
                        <a:pt x="95083" y="74358"/>
                      </a:lnTo>
                      <a:lnTo>
                        <a:pt x="93909" y="76339"/>
                      </a:lnTo>
                      <a:lnTo>
                        <a:pt x="93013" y="78751"/>
                      </a:lnTo>
                      <a:lnTo>
                        <a:pt x="95825" y="80283"/>
                      </a:lnTo>
                      <a:lnTo>
                        <a:pt x="98131" y="82638"/>
                      </a:lnTo>
                      <a:lnTo>
                        <a:pt x="94692" y="83755"/>
                      </a:lnTo>
                      <a:lnTo>
                        <a:pt x="91309" y="85368"/>
                      </a:lnTo>
                      <a:lnTo>
                        <a:pt x="88205" y="87862"/>
                      </a:lnTo>
                      <a:lnTo>
                        <a:pt x="85034" y="89810"/>
                      </a:lnTo>
                      <a:lnTo>
                        <a:pt x="80014" y="90014"/>
                      </a:lnTo>
                      <a:lnTo>
                        <a:pt x="73739" y="91081"/>
                      </a:lnTo>
                      <a:lnTo>
                        <a:pt x="61213" y="91464"/>
                      </a:lnTo>
                      <a:lnTo>
                        <a:pt x="55337" y="88302"/>
                      </a:lnTo>
                      <a:lnTo>
                        <a:pt x="54261" y="86795"/>
                      </a:lnTo>
                      <a:lnTo>
                        <a:pt x="53087" y="85792"/>
                      </a:lnTo>
                      <a:lnTo>
                        <a:pt x="49183" y="84130"/>
                      </a:lnTo>
                      <a:lnTo>
                        <a:pt x="43479" y="79232"/>
                      </a:lnTo>
                      <a:lnTo>
                        <a:pt x="39086" y="73649"/>
                      </a:lnTo>
                      <a:lnTo>
                        <a:pt x="36120" y="73111"/>
                      </a:lnTo>
                      <a:lnTo>
                        <a:pt x="31743" y="71261"/>
                      </a:lnTo>
                      <a:lnTo>
                        <a:pt x="29355" y="69672"/>
                      </a:lnTo>
                      <a:lnTo>
                        <a:pt x="27090" y="67569"/>
                      </a:lnTo>
                      <a:lnTo>
                        <a:pt x="26405" y="65067"/>
                      </a:lnTo>
                      <a:lnTo>
                        <a:pt x="26617" y="62794"/>
                      </a:lnTo>
                      <a:lnTo>
                        <a:pt x="29241" y="61775"/>
                      </a:lnTo>
                      <a:lnTo>
                        <a:pt x="23039" y="59216"/>
                      </a:lnTo>
                      <a:lnTo>
                        <a:pt x="16960" y="55818"/>
                      </a:lnTo>
                      <a:lnTo>
                        <a:pt x="19209" y="54685"/>
                      </a:lnTo>
                      <a:lnTo>
                        <a:pt x="21475" y="54188"/>
                      </a:lnTo>
                      <a:lnTo>
                        <a:pt x="39510" y="58132"/>
                      </a:lnTo>
                      <a:lnTo>
                        <a:pt x="40716" y="57643"/>
                      </a:lnTo>
                      <a:lnTo>
                        <a:pt x="42697" y="55679"/>
                      </a:lnTo>
                      <a:lnTo>
                        <a:pt x="41996" y="55019"/>
                      </a:lnTo>
                      <a:lnTo>
                        <a:pt x="38980" y="54571"/>
                      </a:lnTo>
                      <a:lnTo>
                        <a:pt x="34865" y="54579"/>
                      </a:lnTo>
                      <a:lnTo>
                        <a:pt x="33830" y="54179"/>
                      </a:lnTo>
                      <a:lnTo>
                        <a:pt x="32240" y="52060"/>
                      </a:lnTo>
                      <a:lnTo>
                        <a:pt x="30855" y="49444"/>
                      </a:lnTo>
                      <a:lnTo>
                        <a:pt x="30260" y="47700"/>
                      </a:lnTo>
                      <a:lnTo>
                        <a:pt x="30040" y="45663"/>
                      </a:lnTo>
                      <a:lnTo>
                        <a:pt x="33088" y="42599"/>
                      </a:lnTo>
                      <a:lnTo>
                        <a:pt x="34767" y="39852"/>
                      </a:lnTo>
                      <a:lnTo>
                        <a:pt x="32159" y="38581"/>
                      </a:lnTo>
                      <a:lnTo>
                        <a:pt x="24743" y="38662"/>
                      </a:lnTo>
                      <a:lnTo>
                        <a:pt x="22273" y="39054"/>
                      </a:lnTo>
                      <a:lnTo>
                        <a:pt x="23178" y="42998"/>
                      </a:lnTo>
                      <a:lnTo>
                        <a:pt x="20823" y="45712"/>
                      </a:lnTo>
                      <a:lnTo>
                        <a:pt x="16299" y="47839"/>
                      </a:lnTo>
                      <a:lnTo>
                        <a:pt x="13048" y="46812"/>
                      </a:lnTo>
                      <a:lnTo>
                        <a:pt x="10546" y="41604"/>
                      </a:lnTo>
                      <a:lnTo>
                        <a:pt x="7278" y="37970"/>
                      </a:lnTo>
                      <a:lnTo>
                        <a:pt x="6047" y="35680"/>
                      </a:lnTo>
                      <a:lnTo>
                        <a:pt x="5110" y="32379"/>
                      </a:lnTo>
                      <a:lnTo>
                        <a:pt x="3781" y="29975"/>
                      </a:lnTo>
                      <a:lnTo>
                        <a:pt x="1377" y="27073"/>
                      </a:lnTo>
                      <a:lnTo>
                        <a:pt x="1067" y="25280"/>
                      </a:lnTo>
                      <a:lnTo>
                        <a:pt x="1361" y="23968"/>
                      </a:lnTo>
                      <a:lnTo>
                        <a:pt x="3194" y="20945"/>
                      </a:lnTo>
                      <a:lnTo>
                        <a:pt x="1801" y="18443"/>
                      </a:lnTo>
                      <a:lnTo>
                        <a:pt x="106" y="16242"/>
                      </a:lnTo>
                      <a:lnTo>
                        <a:pt x="0" y="14996"/>
                      </a:lnTo>
                      <a:lnTo>
                        <a:pt x="1605" y="13447"/>
                      </a:lnTo>
                      <a:lnTo>
                        <a:pt x="3032" y="12934"/>
                      </a:lnTo>
                      <a:lnTo>
                        <a:pt x="4564" y="13040"/>
                      </a:lnTo>
                      <a:lnTo>
                        <a:pt x="9120" y="14890"/>
                      </a:lnTo>
                      <a:lnTo>
                        <a:pt x="11613" y="17090"/>
                      </a:lnTo>
                      <a:lnTo>
                        <a:pt x="12485" y="16911"/>
                      </a:lnTo>
                      <a:lnTo>
                        <a:pt x="14107" y="13643"/>
                      </a:lnTo>
                      <a:lnTo>
                        <a:pt x="16413" y="12901"/>
                      </a:lnTo>
                      <a:lnTo>
                        <a:pt x="25305" y="11825"/>
                      </a:lnTo>
                      <a:lnTo>
                        <a:pt x="35215" y="16047"/>
                      </a:lnTo>
                      <a:lnTo>
                        <a:pt x="37774" y="16992"/>
                      </a:lnTo>
                      <a:lnTo>
                        <a:pt x="39836" y="17294"/>
                      </a:lnTo>
                      <a:lnTo>
                        <a:pt x="38776" y="15411"/>
                      </a:lnTo>
                      <a:lnTo>
                        <a:pt x="38133" y="12974"/>
                      </a:lnTo>
                      <a:lnTo>
                        <a:pt x="39640" y="12062"/>
                      </a:lnTo>
                      <a:lnTo>
                        <a:pt x="47627" y="14229"/>
                      </a:lnTo>
                      <a:lnTo>
                        <a:pt x="51376" y="14099"/>
                      </a:lnTo>
                      <a:lnTo>
                        <a:pt x="60161" y="11255"/>
                      </a:lnTo>
                      <a:lnTo>
                        <a:pt x="74684" y="9772"/>
                      </a:lnTo>
                      <a:lnTo>
                        <a:pt x="80169" y="12013"/>
                      </a:lnTo>
                      <a:lnTo>
                        <a:pt x="80462" y="13211"/>
                      </a:lnTo>
                      <a:lnTo>
                        <a:pt x="80340" y="14816"/>
                      </a:lnTo>
                      <a:lnTo>
                        <a:pt x="79998" y="15305"/>
                      </a:lnTo>
                      <a:lnTo>
                        <a:pt x="76778" y="17180"/>
                      </a:lnTo>
                      <a:lnTo>
                        <a:pt x="58466" y="18712"/>
                      </a:lnTo>
                      <a:lnTo>
                        <a:pt x="46469" y="24580"/>
                      </a:lnTo>
                      <a:lnTo>
                        <a:pt x="62826" y="23634"/>
                      </a:lnTo>
                      <a:lnTo>
                        <a:pt x="65776" y="24311"/>
                      </a:lnTo>
                      <a:lnTo>
                        <a:pt x="67007" y="29070"/>
                      </a:lnTo>
                      <a:lnTo>
                        <a:pt x="68197" y="29575"/>
                      </a:lnTo>
                      <a:lnTo>
                        <a:pt x="72410" y="30268"/>
                      </a:lnTo>
                      <a:lnTo>
                        <a:pt x="75255" y="31686"/>
                      </a:lnTo>
                      <a:lnTo>
                        <a:pt x="78172" y="34384"/>
                      </a:lnTo>
                      <a:lnTo>
                        <a:pt x="81228" y="36217"/>
                      </a:lnTo>
                      <a:lnTo>
                        <a:pt x="83029" y="35981"/>
                      </a:lnTo>
                      <a:lnTo>
                        <a:pt x="83682" y="34017"/>
                      </a:lnTo>
                      <a:lnTo>
                        <a:pt x="82948" y="31670"/>
                      </a:lnTo>
                      <a:lnTo>
                        <a:pt x="82573" y="29013"/>
                      </a:lnTo>
                      <a:lnTo>
                        <a:pt x="82793" y="26136"/>
                      </a:lnTo>
                      <a:lnTo>
                        <a:pt x="83282" y="23756"/>
                      </a:lnTo>
                      <a:lnTo>
                        <a:pt x="86721" y="22086"/>
                      </a:lnTo>
                      <a:lnTo>
                        <a:pt x="91717" y="16634"/>
                      </a:lnTo>
                      <a:lnTo>
                        <a:pt x="97022" y="12942"/>
                      </a:lnTo>
                      <a:lnTo>
                        <a:pt x="102923" y="14572"/>
                      </a:lnTo>
                      <a:lnTo>
                        <a:pt x="108391" y="19209"/>
                      </a:lnTo>
                      <a:lnTo>
                        <a:pt x="113330" y="25794"/>
                      </a:lnTo>
                      <a:lnTo>
                        <a:pt x="118114" y="32819"/>
                      </a:lnTo>
                      <a:lnTo>
                        <a:pt x="123477" y="41507"/>
                      </a:lnTo>
                      <a:lnTo>
                        <a:pt x="126044" y="44563"/>
                      </a:lnTo>
                      <a:lnTo>
                        <a:pt x="128383" y="45280"/>
                      </a:lnTo>
                      <a:lnTo>
                        <a:pt x="139213" y="54285"/>
                      </a:lnTo>
                      <a:lnTo>
                        <a:pt x="140428" y="54530"/>
                      </a:lnTo>
                      <a:lnTo>
                        <a:pt x="138195" y="47692"/>
                      </a:lnTo>
                      <a:lnTo>
                        <a:pt x="132588" y="36071"/>
                      </a:lnTo>
                      <a:lnTo>
                        <a:pt x="128806" y="27130"/>
                      </a:lnTo>
                      <a:lnTo>
                        <a:pt x="127959" y="23691"/>
                      </a:lnTo>
                      <a:lnTo>
                        <a:pt x="127348" y="18883"/>
                      </a:lnTo>
                      <a:lnTo>
                        <a:pt x="127576" y="17497"/>
                      </a:lnTo>
                      <a:lnTo>
                        <a:pt x="128057" y="16242"/>
                      </a:lnTo>
                      <a:lnTo>
                        <a:pt x="130803" y="11092"/>
                      </a:lnTo>
                      <a:lnTo>
                        <a:pt x="134389" y="8574"/>
                      </a:lnTo>
                      <a:lnTo>
                        <a:pt x="133305" y="5028"/>
                      </a:lnTo>
                      <a:lnTo>
                        <a:pt x="134226" y="2306"/>
                      </a:lnTo>
                      <a:lnTo>
                        <a:pt x="137991" y="155"/>
                      </a:lnTo>
                      <a:lnTo>
                        <a:pt x="141496" y="0"/>
                      </a:lnTo>
                      <a:lnTo>
                        <a:pt x="144902" y="1638"/>
                      </a:lnTo>
                      <a:close/>
                    </a:path>
                  </a:pathLst>
                </a:custGeom>
                <a:solidFill>
                  <a:srgbClr val="D6D6D2"/>
                </a:solidFill>
                <a:ln w="8150" cap="flat">
                  <a:noFill/>
                  <a:prstDash val="solid"/>
                  <a:miter/>
                </a:ln>
              </p:spPr>
              <p:txBody>
                <a:bodyPr rtlCol="0" anchor="ctr"/>
                <a:lstStyle/>
                <a:p>
                  <a:endParaRPr lang="en-US"/>
                </a:p>
              </p:txBody>
            </p:sp>
            <p:sp>
              <p:nvSpPr>
                <p:cNvPr id="665" name="Freeform: Shape 664">
                  <a:extLst>
                    <a:ext uri="{FF2B5EF4-FFF2-40B4-BE49-F238E27FC236}">
                      <a16:creationId xmlns:a16="http://schemas.microsoft.com/office/drawing/2014/main" id="{8EC4DED8-3FFF-4085-92DF-5755B0CF656B}"/>
                    </a:ext>
                  </a:extLst>
                </p:cNvPr>
                <p:cNvSpPr/>
                <p:nvPr/>
              </p:nvSpPr>
              <p:spPr>
                <a:xfrm>
                  <a:off x="6724450" y="1633371"/>
                  <a:ext cx="53258" cy="8231"/>
                </a:xfrm>
                <a:custGeom>
                  <a:avLst/>
                  <a:gdLst>
                    <a:gd name="connsiteX0" fmla="*/ 25900 w 53258"/>
                    <a:gd name="connsiteY0" fmla="*/ 6308 h 8231"/>
                    <a:gd name="connsiteX1" fmla="*/ 2372 w 53258"/>
                    <a:gd name="connsiteY1" fmla="*/ 8231 h 8231"/>
                    <a:gd name="connsiteX2" fmla="*/ 0 w 53258"/>
                    <a:gd name="connsiteY2" fmla="*/ 6878 h 8231"/>
                    <a:gd name="connsiteX3" fmla="*/ 38133 w 53258"/>
                    <a:gd name="connsiteY3" fmla="*/ 1247 h 8231"/>
                    <a:gd name="connsiteX4" fmla="*/ 40097 w 53258"/>
                    <a:gd name="connsiteY4" fmla="*/ 701 h 8231"/>
                    <a:gd name="connsiteX5" fmla="*/ 47179 w 53258"/>
                    <a:gd name="connsiteY5" fmla="*/ 0 h 8231"/>
                    <a:gd name="connsiteX6" fmla="*/ 53259 w 53258"/>
                    <a:gd name="connsiteY6" fmla="*/ 1280 h 8231"/>
                    <a:gd name="connsiteX7" fmla="*/ 51466 w 53258"/>
                    <a:gd name="connsiteY7" fmla="*/ 2266 h 8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58" h="8231">
                      <a:moveTo>
                        <a:pt x="25900" y="6308"/>
                      </a:moveTo>
                      <a:lnTo>
                        <a:pt x="2372" y="8231"/>
                      </a:lnTo>
                      <a:lnTo>
                        <a:pt x="0" y="6878"/>
                      </a:lnTo>
                      <a:lnTo>
                        <a:pt x="38133" y="1247"/>
                      </a:lnTo>
                      <a:lnTo>
                        <a:pt x="40097" y="701"/>
                      </a:lnTo>
                      <a:lnTo>
                        <a:pt x="47179" y="0"/>
                      </a:lnTo>
                      <a:lnTo>
                        <a:pt x="53259" y="1280"/>
                      </a:lnTo>
                      <a:lnTo>
                        <a:pt x="51466" y="2266"/>
                      </a:lnTo>
                      <a:close/>
                    </a:path>
                  </a:pathLst>
                </a:custGeom>
                <a:solidFill>
                  <a:srgbClr val="D6D6D2"/>
                </a:solidFill>
                <a:ln w="8150" cap="flat">
                  <a:noFill/>
                  <a:prstDash val="solid"/>
                  <a:miter/>
                </a:ln>
              </p:spPr>
              <p:txBody>
                <a:bodyPr rtlCol="0" anchor="ctr"/>
                <a:lstStyle/>
                <a:p>
                  <a:endParaRPr lang="en-US"/>
                </a:p>
              </p:txBody>
            </p:sp>
            <p:sp>
              <p:nvSpPr>
                <p:cNvPr id="666" name="Freeform: Shape 665">
                  <a:extLst>
                    <a:ext uri="{FF2B5EF4-FFF2-40B4-BE49-F238E27FC236}">
                      <a16:creationId xmlns:a16="http://schemas.microsoft.com/office/drawing/2014/main" id="{728CAE82-38B4-4AC2-AE8C-F7FF61C299F3}"/>
                    </a:ext>
                  </a:extLst>
                </p:cNvPr>
                <p:cNvSpPr/>
                <p:nvPr/>
              </p:nvSpPr>
              <p:spPr>
                <a:xfrm>
                  <a:off x="6388005" y="1621293"/>
                  <a:ext cx="230213" cy="65328"/>
                </a:xfrm>
                <a:custGeom>
                  <a:avLst/>
                  <a:gdLst>
                    <a:gd name="connsiteX0" fmla="*/ 73934 w 230213"/>
                    <a:gd name="connsiteY0" fmla="*/ 11695 h 65328"/>
                    <a:gd name="connsiteX1" fmla="*/ 76428 w 230213"/>
                    <a:gd name="connsiteY1" fmla="*/ 12257 h 65328"/>
                    <a:gd name="connsiteX2" fmla="*/ 90095 w 230213"/>
                    <a:gd name="connsiteY2" fmla="*/ 12045 h 65328"/>
                    <a:gd name="connsiteX3" fmla="*/ 92719 w 230213"/>
                    <a:gd name="connsiteY3" fmla="*/ 13300 h 65328"/>
                    <a:gd name="connsiteX4" fmla="*/ 93754 w 230213"/>
                    <a:gd name="connsiteY4" fmla="*/ 16332 h 65328"/>
                    <a:gd name="connsiteX5" fmla="*/ 95832 w 230213"/>
                    <a:gd name="connsiteY5" fmla="*/ 17375 h 65328"/>
                    <a:gd name="connsiteX6" fmla="*/ 98734 w 230213"/>
                    <a:gd name="connsiteY6" fmla="*/ 17701 h 65328"/>
                    <a:gd name="connsiteX7" fmla="*/ 105995 w 230213"/>
                    <a:gd name="connsiteY7" fmla="*/ 21417 h 65328"/>
                    <a:gd name="connsiteX8" fmla="*/ 108464 w 230213"/>
                    <a:gd name="connsiteY8" fmla="*/ 21955 h 65328"/>
                    <a:gd name="connsiteX9" fmla="*/ 110608 w 230213"/>
                    <a:gd name="connsiteY9" fmla="*/ 19885 h 65328"/>
                    <a:gd name="connsiteX10" fmla="*/ 112254 w 230213"/>
                    <a:gd name="connsiteY10" fmla="*/ 14743 h 65328"/>
                    <a:gd name="connsiteX11" fmla="*/ 112344 w 230213"/>
                    <a:gd name="connsiteY11" fmla="*/ 8704 h 65328"/>
                    <a:gd name="connsiteX12" fmla="*/ 111635 w 230213"/>
                    <a:gd name="connsiteY12" fmla="*/ 5770 h 65328"/>
                    <a:gd name="connsiteX13" fmla="*/ 112458 w 230213"/>
                    <a:gd name="connsiteY13" fmla="*/ 3887 h 65328"/>
                    <a:gd name="connsiteX14" fmla="*/ 114895 w 230213"/>
                    <a:gd name="connsiteY14" fmla="*/ 3154 h 65328"/>
                    <a:gd name="connsiteX15" fmla="*/ 117943 w 230213"/>
                    <a:gd name="connsiteY15" fmla="*/ 3350 h 65328"/>
                    <a:gd name="connsiteX16" fmla="*/ 120926 w 230213"/>
                    <a:gd name="connsiteY16" fmla="*/ 2306 h 65328"/>
                    <a:gd name="connsiteX17" fmla="*/ 123517 w 230213"/>
                    <a:gd name="connsiteY17" fmla="*/ 456 h 65328"/>
                    <a:gd name="connsiteX18" fmla="*/ 126272 w 230213"/>
                    <a:gd name="connsiteY18" fmla="*/ 204 h 65328"/>
                    <a:gd name="connsiteX19" fmla="*/ 132303 w 230213"/>
                    <a:gd name="connsiteY19" fmla="*/ 1606 h 65328"/>
                    <a:gd name="connsiteX20" fmla="*/ 133900 w 230213"/>
                    <a:gd name="connsiteY20" fmla="*/ 2706 h 65328"/>
                    <a:gd name="connsiteX21" fmla="*/ 132286 w 230213"/>
                    <a:gd name="connsiteY21" fmla="*/ 4979 h 65328"/>
                    <a:gd name="connsiteX22" fmla="*/ 131642 w 230213"/>
                    <a:gd name="connsiteY22" fmla="*/ 8223 h 65328"/>
                    <a:gd name="connsiteX23" fmla="*/ 128920 w 230213"/>
                    <a:gd name="connsiteY23" fmla="*/ 14914 h 65328"/>
                    <a:gd name="connsiteX24" fmla="*/ 134837 w 230213"/>
                    <a:gd name="connsiteY24" fmla="*/ 15330 h 65328"/>
                    <a:gd name="connsiteX25" fmla="*/ 143142 w 230213"/>
                    <a:gd name="connsiteY25" fmla="*/ 13920 h 65328"/>
                    <a:gd name="connsiteX26" fmla="*/ 145244 w 230213"/>
                    <a:gd name="connsiteY26" fmla="*/ 11980 h 65328"/>
                    <a:gd name="connsiteX27" fmla="*/ 149711 w 230213"/>
                    <a:gd name="connsiteY27" fmla="*/ 8891 h 65328"/>
                    <a:gd name="connsiteX28" fmla="*/ 154429 w 230213"/>
                    <a:gd name="connsiteY28" fmla="*/ 9372 h 65328"/>
                    <a:gd name="connsiteX29" fmla="*/ 156687 w 230213"/>
                    <a:gd name="connsiteY29" fmla="*/ 8965 h 65328"/>
                    <a:gd name="connsiteX30" fmla="*/ 157827 w 230213"/>
                    <a:gd name="connsiteY30" fmla="*/ 7620 h 65328"/>
                    <a:gd name="connsiteX31" fmla="*/ 158268 w 230213"/>
                    <a:gd name="connsiteY31" fmla="*/ 6039 h 65328"/>
                    <a:gd name="connsiteX32" fmla="*/ 160867 w 230213"/>
                    <a:gd name="connsiteY32" fmla="*/ 6300 h 65328"/>
                    <a:gd name="connsiteX33" fmla="*/ 164437 w 230213"/>
                    <a:gd name="connsiteY33" fmla="*/ 9372 h 65328"/>
                    <a:gd name="connsiteX34" fmla="*/ 166100 w 230213"/>
                    <a:gd name="connsiteY34" fmla="*/ 9853 h 65328"/>
                    <a:gd name="connsiteX35" fmla="*/ 169148 w 230213"/>
                    <a:gd name="connsiteY35" fmla="*/ 9054 h 65328"/>
                    <a:gd name="connsiteX36" fmla="*/ 170370 w 230213"/>
                    <a:gd name="connsiteY36" fmla="*/ 9095 h 65328"/>
                    <a:gd name="connsiteX37" fmla="*/ 173377 w 230213"/>
                    <a:gd name="connsiteY37" fmla="*/ 10318 h 65328"/>
                    <a:gd name="connsiteX38" fmla="*/ 187362 w 230213"/>
                    <a:gd name="connsiteY38" fmla="*/ 12559 h 65328"/>
                    <a:gd name="connsiteX39" fmla="*/ 192220 w 230213"/>
                    <a:gd name="connsiteY39" fmla="*/ 13749 h 65328"/>
                    <a:gd name="connsiteX40" fmla="*/ 194322 w 230213"/>
                    <a:gd name="connsiteY40" fmla="*/ 14857 h 65328"/>
                    <a:gd name="connsiteX41" fmla="*/ 196433 w 230213"/>
                    <a:gd name="connsiteY41" fmla="*/ 15517 h 65328"/>
                    <a:gd name="connsiteX42" fmla="*/ 211323 w 230213"/>
                    <a:gd name="connsiteY42" fmla="*/ 15509 h 65328"/>
                    <a:gd name="connsiteX43" fmla="*/ 221835 w 230213"/>
                    <a:gd name="connsiteY43" fmla="*/ 16291 h 65328"/>
                    <a:gd name="connsiteX44" fmla="*/ 225715 w 230213"/>
                    <a:gd name="connsiteY44" fmla="*/ 18060 h 65328"/>
                    <a:gd name="connsiteX45" fmla="*/ 228967 w 230213"/>
                    <a:gd name="connsiteY45" fmla="*/ 21442 h 65328"/>
                    <a:gd name="connsiteX46" fmla="*/ 230214 w 230213"/>
                    <a:gd name="connsiteY46" fmla="*/ 29233 h 65328"/>
                    <a:gd name="connsiteX47" fmla="*/ 227271 w 230213"/>
                    <a:gd name="connsiteY47" fmla="*/ 31328 h 65328"/>
                    <a:gd name="connsiteX48" fmla="*/ 205976 w 230213"/>
                    <a:gd name="connsiteY48" fmla="*/ 40879 h 65328"/>
                    <a:gd name="connsiteX49" fmla="*/ 200622 w 230213"/>
                    <a:gd name="connsiteY49" fmla="*/ 43952 h 65328"/>
                    <a:gd name="connsiteX50" fmla="*/ 198055 w 230213"/>
                    <a:gd name="connsiteY50" fmla="*/ 46779 h 65328"/>
                    <a:gd name="connsiteX51" fmla="*/ 193694 w 230213"/>
                    <a:gd name="connsiteY51" fmla="*/ 52941 h 65328"/>
                    <a:gd name="connsiteX52" fmla="*/ 191584 w 230213"/>
                    <a:gd name="connsiteY52" fmla="*/ 54791 h 65328"/>
                    <a:gd name="connsiteX53" fmla="*/ 181600 w 230213"/>
                    <a:gd name="connsiteY53" fmla="*/ 57716 h 65328"/>
                    <a:gd name="connsiteX54" fmla="*/ 179278 w 230213"/>
                    <a:gd name="connsiteY54" fmla="*/ 58034 h 65328"/>
                    <a:gd name="connsiteX55" fmla="*/ 171780 w 230213"/>
                    <a:gd name="connsiteY55" fmla="*/ 56600 h 65328"/>
                    <a:gd name="connsiteX56" fmla="*/ 169498 w 230213"/>
                    <a:gd name="connsiteY56" fmla="*/ 56738 h 65328"/>
                    <a:gd name="connsiteX57" fmla="*/ 160395 w 230213"/>
                    <a:gd name="connsiteY57" fmla="*/ 59909 h 65328"/>
                    <a:gd name="connsiteX58" fmla="*/ 157257 w 230213"/>
                    <a:gd name="connsiteY58" fmla="*/ 61840 h 65328"/>
                    <a:gd name="connsiteX59" fmla="*/ 154168 w 230213"/>
                    <a:gd name="connsiteY59" fmla="*/ 64269 h 65328"/>
                    <a:gd name="connsiteX60" fmla="*/ 149588 w 230213"/>
                    <a:gd name="connsiteY60" fmla="*/ 65328 h 65328"/>
                    <a:gd name="connsiteX61" fmla="*/ 144894 w 230213"/>
                    <a:gd name="connsiteY61" fmla="*/ 64766 h 65328"/>
                    <a:gd name="connsiteX62" fmla="*/ 123689 w 230213"/>
                    <a:gd name="connsiteY62" fmla="*/ 63495 h 65328"/>
                    <a:gd name="connsiteX63" fmla="*/ 120852 w 230213"/>
                    <a:gd name="connsiteY63" fmla="*/ 61791 h 65328"/>
                    <a:gd name="connsiteX64" fmla="*/ 118538 w 230213"/>
                    <a:gd name="connsiteY64" fmla="*/ 58523 h 65328"/>
                    <a:gd name="connsiteX65" fmla="*/ 122743 w 230213"/>
                    <a:gd name="connsiteY65" fmla="*/ 54342 h 65328"/>
                    <a:gd name="connsiteX66" fmla="*/ 99076 w 230213"/>
                    <a:gd name="connsiteY66" fmla="*/ 55907 h 65328"/>
                    <a:gd name="connsiteX67" fmla="*/ 73021 w 230213"/>
                    <a:gd name="connsiteY67" fmla="*/ 55051 h 65328"/>
                    <a:gd name="connsiteX68" fmla="*/ 71644 w 230213"/>
                    <a:gd name="connsiteY68" fmla="*/ 54465 h 65328"/>
                    <a:gd name="connsiteX69" fmla="*/ 70536 w 230213"/>
                    <a:gd name="connsiteY69" fmla="*/ 52851 h 65328"/>
                    <a:gd name="connsiteX70" fmla="*/ 61579 w 230213"/>
                    <a:gd name="connsiteY70" fmla="*/ 51743 h 65328"/>
                    <a:gd name="connsiteX71" fmla="*/ 54856 w 230213"/>
                    <a:gd name="connsiteY71" fmla="*/ 50406 h 65328"/>
                    <a:gd name="connsiteX72" fmla="*/ 49192 w 230213"/>
                    <a:gd name="connsiteY72" fmla="*/ 48165 h 65328"/>
                    <a:gd name="connsiteX73" fmla="*/ 43609 w 230213"/>
                    <a:gd name="connsiteY73" fmla="*/ 45264 h 65328"/>
                    <a:gd name="connsiteX74" fmla="*/ 45378 w 230213"/>
                    <a:gd name="connsiteY74" fmla="*/ 43903 h 65328"/>
                    <a:gd name="connsiteX75" fmla="*/ 47236 w 230213"/>
                    <a:gd name="connsiteY75" fmla="*/ 43112 h 65328"/>
                    <a:gd name="connsiteX76" fmla="*/ 52044 w 230213"/>
                    <a:gd name="connsiteY76" fmla="*/ 42770 h 65328"/>
                    <a:gd name="connsiteX77" fmla="*/ 56306 w 230213"/>
                    <a:gd name="connsiteY77" fmla="*/ 43177 h 65328"/>
                    <a:gd name="connsiteX78" fmla="*/ 63910 w 230213"/>
                    <a:gd name="connsiteY78" fmla="*/ 43153 h 65328"/>
                    <a:gd name="connsiteX79" fmla="*/ 65678 w 230213"/>
                    <a:gd name="connsiteY79" fmla="*/ 40219 h 65328"/>
                    <a:gd name="connsiteX80" fmla="*/ 68710 w 230213"/>
                    <a:gd name="connsiteY80" fmla="*/ 39371 h 65328"/>
                    <a:gd name="connsiteX81" fmla="*/ 71115 w 230213"/>
                    <a:gd name="connsiteY81" fmla="*/ 37269 h 65328"/>
                    <a:gd name="connsiteX82" fmla="*/ 63095 w 230213"/>
                    <a:gd name="connsiteY82" fmla="*/ 35948 h 65328"/>
                    <a:gd name="connsiteX83" fmla="*/ 54725 w 230213"/>
                    <a:gd name="connsiteY83" fmla="*/ 35745 h 65328"/>
                    <a:gd name="connsiteX84" fmla="*/ 49151 w 230213"/>
                    <a:gd name="connsiteY84" fmla="*/ 37489 h 65328"/>
                    <a:gd name="connsiteX85" fmla="*/ 42688 w 230213"/>
                    <a:gd name="connsiteY85" fmla="*/ 38287 h 65328"/>
                    <a:gd name="connsiteX86" fmla="*/ 36796 w 230213"/>
                    <a:gd name="connsiteY86" fmla="*/ 38393 h 65328"/>
                    <a:gd name="connsiteX87" fmla="*/ 25435 w 230213"/>
                    <a:gd name="connsiteY87" fmla="*/ 37888 h 65328"/>
                    <a:gd name="connsiteX88" fmla="*/ 20040 w 230213"/>
                    <a:gd name="connsiteY88" fmla="*/ 36658 h 65328"/>
                    <a:gd name="connsiteX89" fmla="*/ 12689 w 230213"/>
                    <a:gd name="connsiteY89" fmla="*/ 33406 h 65328"/>
                    <a:gd name="connsiteX90" fmla="*/ 10114 w 230213"/>
                    <a:gd name="connsiteY90" fmla="*/ 31613 h 65328"/>
                    <a:gd name="connsiteX91" fmla="*/ 9128 w 230213"/>
                    <a:gd name="connsiteY91" fmla="*/ 30203 h 65328"/>
                    <a:gd name="connsiteX92" fmla="*/ 8402 w 230213"/>
                    <a:gd name="connsiteY92" fmla="*/ 28076 h 65328"/>
                    <a:gd name="connsiteX93" fmla="*/ 16821 w 230213"/>
                    <a:gd name="connsiteY93" fmla="*/ 26161 h 65328"/>
                    <a:gd name="connsiteX94" fmla="*/ 20081 w 230213"/>
                    <a:gd name="connsiteY94" fmla="*/ 24653 h 65328"/>
                    <a:gd name="connsiteX95" fmla="*/ 23292 w 230213"/>
                    <a:gd name="connsiteY95" fmla="*/ 22591 h 65328"/>
                    <a:gd name="connsiteX96" fmla="*/ 10595 w 230213"/>
                    <a:gd name="connsiteY96" fmla="*/ 21426 h 65328"/>
                    <a:gd name="connsiteX97" fmla="*/ 5289 w 230213"/>
                    <a:gd name="connsiteY97" fmla="*/ 19698 h 65328"/>
                    <a:gd name="connsiteX98" fmla="*/ 0 w 230213"/>
                    <a:gd name="connsiteY98" fmla="*/ 17155 h 65328"/>
                    <a:gd name="connsiteX99" fmla="*/ 4278 w 230213"/>
                    <a:gd name="connsiteY99" fmla="*/ 15729 h 65328"/>
                    <a:gd name="connsiteX100" fmla="*/ 21393 w 230213"/>
                    <a:gd name="connsiteY100" fmla="*/ 14580 h 65328"/>
                    <a:gd name="connsiteX101" fmla="*/ 25933 w 230213"/>
                    <a:gd name="connsiteY101" fmla="*/ 15533 h 65328"/>
                    <a:gd name="connsiteX102" fmla="*/ 30415 w 230213"/>
                    <a:gd name="connsiteY102" fmla="*/ 17392 h 65328"/>
                    <a:gd name="connsiteX103" fmla="*/ 35386 w 230213"/>
                    <a:gd name="connsiteY103" fmla="*/ 18516 h 65328"/>
                    <a:gd name="connsiteX104" fmla="*/ 40195 w 230213"/>
                    <a:gd name="connsiteY104" fmla="*/ 16128 h 65328"/>
                    <a:gd name="connsiteX105" fmla="*/ 35663 w 230213"/>
                    <a:gd name="connsiteY105" fmla="*/ 14996 h 65328"/>
                    <a:gd name="connsiteX106" fmla="*/ 31613 w 230213"/>
                    <a:gd name="connsiteY106" fmla="*/ 11010 h 65328"/>
                    <a:gd name="connsiteX107" fmla="*/ 30757 w 230213"/>
                    <a:gd name="connsiteY107" fmla="*/ 9030 h 65328"/>
                    <a:gd name="connsiteX108" fmla="*/ 31295 w 230213"/>
                    <a:gd name="connsiteY108" fmla="*/ 7514 h 65328"/>
                    <a:gd name="connsiteX109" fmla="*/ 33414 w 230213"/>
                    <a:gd name="connsiteY109" fmla="*/ 7286 h 65328"/>
                    <a:gd name="connsiteX110" fmla="*/ 34987 w 230213"/>
                    <a:gd name="connsiteY110" fmla="*/ 7938 h 65328"/>
                    <a:gd name="connsiteX111" fmla="*/ 40969 w 230213"/>
                    <a:gd name="connsiteY111" fmla="*/ 11695 h 65328"/>
                    <a:gd name="connsiteX112" fmla="*/ 45492 w 230213"/>
                    <a:gd name="connsiteY112" fmla="*/ 12852 h 65328"/>
                    <a:gd name="connsiteX113" fmla="*/ 46763 w 230213"/>
                    <a:gd name="connsiteY113" fmla="*/ 9397 h 65328"/>
                    <a:gd name="connsiteX114" fmla="*/ 46967 w 230213"/>
                    <a:gd name="connsiteY114" fmla="*/ 7750 h 65328"/>
                    <a:gd name="connsiteX115" fmla="*/ 46144 w 230213"/>
                    <a:gd name="connsiteY115" fmla="*/ 6389 h 65328"/>
                    <a:gd name="connsiteX116" fmla="*/ 44008 w 230213"/>
                    <a:gd name="connsiteY116" fmla="*/ 3879 h 65328"/>
                    <a:gd name="connsiteX117" fmla="*/ 42110 w 230213"/>
                    <a:gd name="connsiteY117" fmla="*/ 791 h 65328"/>
                    <a:gd name="connsiteX118" fmla="*/ 45051 w 230213"/>
                    <a:gd name="connsiteY118" fmla="*/ 0 h 65328"/>
                    <a:gd name="connsiteX119" fmla="*/ 47977 w 230213"/>
                    <a:gd name="connsiteY119" fmla="*/ 342 h 65328"/>
                    <a:gd name="connsiteX120" fmla="*/ 54253 w 230213"/>
                    <a:gd name="connsiteY120" fmla="*/ 2461 h 65328"/>
                    <a:gd name="connsiteX121" fmla="*/ 60585 w 230213"/>
                    <a:gd name="connsiteY121" fmla="*/ 3953 h 65328"/>
                    <a:gd name="connsiteX122" fmla="*/ 63470 w 230213"/>
                    <a:gd name="connsiteY122" fmla="*/ 5460 h 65328"/>
                    <a:gd name="connsiteX123" fmla="*/ 68865 w 230213"/>
                    <a:gd name="connsiteY123" fmla="*/ 9193 h 6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230213" h="65328">
                      <a:moveTo>
                        <a:pt x="73934" y="11695"/>
                      </a:moveTo>
                      <a:lnTo>
                        <a:pt x="76428" y="12257"/>
                      </a:lnTo>
                      <a:lnTo>
                        <a:pt x="90095" y="12045"/>
                      </a:lnTo>
                      <a:lnTo>
                        <a:pt x="92719" y="13300"/>
                      </a:lnTo>
                      <a:lnTo>
                        <a:pt x="93754" y="16332"/>
                      </a:lnTo>
                      <a:lnTo>
                        <a:pt x="95832" y="17375"/>
                      </a:lnTo>
                      <a:lnTo>
                        <a:pt x="98734" y="17701"/>
                      </a:lnTo>
                      <a:lnTo>
                        <a:pt x="105995" y="21417"/>
                      </a:lnTo>
                      <a:lnTo>
                        <a:pt x="108464" y="21955"/>
                      </a:lnTo>
                      <a:lnTo>
                        <a:pt x="110608" y="19885"/>
                      </a:lnTo>
                      <a:lnTo>
                        <a:pt x="112254" y="14743"/>
                      </a:lnTo>
                      <a:lnTo>
                        <a:pt x="112344" y="8704"/>
                      </a:lnTo>
                      <a:lnTo>
                        <a:pt x="111635" y="5770"/>
                      </a:lnTo>
                      <a:lnTo>
                        <a:pt x="112458" y="3887"/>
                      </a:lnTo>
                      <a:lnTo>
                        <a:pt x="114895" y="3154"/>
                      </a:lnTo>
                      <a:lnTo>
                        <a:pt x="117943" y="3350"/>
                      </a:lnTo>
                      <a:lnTo>
                        <a:pt x="120926" y="2306"/>
                      </a:lnTo>
                      <a:lnTo>
                        <a:pt x="123517" y="456"/>
                      </a:lnTo>
                      <a:lnTo>
                        <a:pt x="126272" y="204"/>
                      </a:lnTo>
                      <a:lnTo>
                        <a:pt x="132303" y="1606"/>
                      </a:lnTo>
                      <a:lnTo>
                        <a:pt x="133900" y="2706"/>
                      </a:lnTo>
                      <a:lnTo>
                        <a:pt x="132286" y="4979"/>
                      </a:lnTo>
                      <a:lnTo>
                        <a:pt x="131642" y="8223"/>
                      </a:lnTo>
                      <a:lnTo>
                        <a:pt x="128920" y="14914"/>
                      </a:lnTo>
                      <a:lnTo>
                        <a:pt x="134837" y="15330"/>
                      </a:lnTo>
                      <a:lnTo>
                        <a:pt x="143142" y="13920"/>
                      </a:lnTo>
                      <a:lnTo>
                        <a:pt x="145244" y="11980"/>
                      </a:lnTo>
                      <a:lnTo>
                        <a:pt x="149711" y="8891"/>
                      </a:lnTo>
                      <a:lnTo>
                        <a:pt x="154429" y="9372"/>
                      </a:lnTo>
                      <a:lnTo>
                        <a:pt x="156687" y="8965"/>
                      </a:lnTo>
                      <a:lnTo>
                        <a:pt x="157827" y="7620"/>
                      </a:lnTo>
                      <a:lnTo>
                        <a:pt x="158268" y="6039"/>
                      </a:lnTo>
                      <a:lnTo>
                        <a:pt x="160867" y="6300"/>
                      </a:lnTo>
                      <a:lnTo>
                        <a:pt x="164437" y="9372"/>
                      </a:lnTo>
                      <a:lnTo>
                        <a:pt x="166100" y="9853"/>
                      </a:lnTo>
                      <a:lnTo>
                        <a:pt x="169148" y="9054"/>
                      </a:lnTo>
                      <a:lnTo>
                        <a:pt x="170370" y="9095"/>
                      </a:lnTo>
                      <a:lnTo>
                        <a:pt x="173377" y="10318"/>
                      </a:lnTo>
                      <a:lnTo>
                        <a:pt x="187362" y="12559"/>
                      </a:lnTo>
                      <a:lnTo>
                        <a:pt x="192220" y="13749"/>
                      </a:lnTo>
                      <a:lnTo>
                        <a:pt x="194322" y="14857"/>
                      </a:lnTo>
                      <a:lnTo>
                        <a:pt x="196433" y="15517"/>
                      </a:lnTo>
                      <a:lnTo>
                        <a:pt x="211323" y="15509"/>
                      </a:lnTo>
                      <a:lnTo>
                        <a:pt x="221835" y="16291"/>
                      </a:lnTo>
                      <a:lnTo>
                        <a:pt x="225715" y="18060"/>
                      </a:lnTo>
                      <a:lnTo>
                        <a:pt x="228967" y="21442"/>
                      </a:lnTo>
                      <a:lnTo>
                        <a:pt x="230214" y="29233"/>
                      </a:lnTo>
                      <a:lnTo>
                        <a:pt x="227271" y="31328"/>
                      </a:lnTo>
                      <a:lnTo>
                        <a:pt x="205976" y="40879"/>
                      </a:lnTo>
                      <a:lnTo>
                        <a:pt x="200622" y="43952"/>
                      </a:lnTo>
                      <a:lnTo>
                        <a:pt x="198055" y="46779"/>
                      </a:lnTo>
                      <a:lnTo>
                        <a:pt x="193694" y="52941"/>
                      </a:lnTo>
                      <a:lnTo>
                        <a:pt x="191584" y="54791"/>
                      </a:lnTo>
                      <a:lnTo>
                        <a:pt x="181600" y="57716"/>
                      </a:lnTo>
                      <a:lnTo>
                        <a:pt x="179278" y="58034"/>
                      </a:lnTo>
                      <a:lnTo>
                        <a:pt x="171780" y="56600"/>
                      </a:lnTo>
                      <a:lnTo>
                        <a:pt x="169498" y="56738"/>
                      </a:lnTo>
                      <a:lnTo>
                        <a:pt x="160395" y="59909"/>
                      </a:lnTo>
                      <a:lnTo>
                        <a:pt x="157257" y="61840"/>
                      </a:lnTo>
                      <a:lnTo>
                        <a:pt x="154168" y="64269"/>
                      </a:lnTo>
                      <a:lnTo>
                        <a:pt x="149588" y="65328"/>
                      </a:lnTo>
                      <a:lnTo>
                        <a:pt x="144894" y="64766"/>
                      </a:lnTo>
                      <a:lnTo>
                        <a:pt x="123689" y="63495"/>
                      </a:lnTo>
                      <a:lnTo>
                        <a:pt x="120852" y="61791"/>
                      </a:lnTo>
                      <a:lnTo>
                        <a:pt x="118538" y="58523"/>
                      </a:lnTo>
                      <a:lnTo>
                        <a:pt x="122743" y="54342"/>
                      </a:lnTo>
                      <a:lnTo>
                        <a:pt x="99076" y="55907"/>
                      </a:lnTo>
                      <a:lnTo>
                        <a:pt x="73021" y="55051"/>
                      </a:lnTo>
                      <a:lnTo>
                        <a:pt x="71644" y="54465"/>
                      </a:lnTo>
                      <a:lnTo>
                        <a:pt x="70536" y="52851"/>
                      </a:lnTo>
                      <a:lnTo>
                        <a:pt x="61579" y="51743"/>
                      </a:lnTo>
                      <a:lnTo>
                        <a:pt x="54856" y="50406"/>
                      </a:lnTo>
                      <a:lnTo>
                        <a:pt x="49192" y="48165"/>
                      </a:lnTo>
                      <a:lnTo>
                        <a:pt x="43609" y="45264"/>
                      </a:lnTo>
                      <a:lnTo>
                        <a:pt x="45378" y="43903"/>
                      </a:lnTo>
                      <a:lnTo>
                        <a:pt x="47236" y="43112"/>
                      </a:lnTo>
                      <a:lnTo>
                        <a:pt x="52044" y="42770"/>
                      </a:lnTo>
                      <a:lnTo>
                        <a:pt x="56306" y="43177"/>
                      </a:lnTo>
                      <a:lnTo>
                        <a:pt x="63910" y="43153"/>
                      </a:lnTo>
                      <a:lnTo>
                        <a:pt x="65678" y="40219"/>
                      </a:lnTo>
                      <a:lnTo>
                        <a:pt x="68710" y="39371"/>
                      </a:lnTo>
                      <a:lnTo>
                        <a:pt x="71115" y="37269"/>
                      </a:lnTo>
                      <a:lnTo>
                        <a:pt x="63095" y="35948"/>
                      </a:lnTo>
                      <a:lnTo>
                        <a:pt x="54725" y="35745"/>
                      </a:lnTo>
                      <a:lnTo>
                        <a:pt x="49151" y="37489"/>
                      </a:lnTo>
                      <a:lnTo>
                        <a:pt x="42688" y="38287"/>
                      </a:lnTo>
                      <a:lnTo>
                        <a:pt x="36796" y="38393"/>
                      </a:lnTo>
                      <a:lnTo>
                        <a:pt x="25435" y="37888"/>
                      </a:lnTo>
                      <a:lnTo>
                        <a:pt x="20040" y="36658"/>
                      </a:lnTo>
                      <a:lnTo>
                        <a:pt x="12689" y="33406"/>
                      </a:lnTo>
                      <a:lnTo>
                        <a:pt x="10114" y="31613"/>
                      </a:lnTo>
                      <a:lnTo>
                        <a:pt x="9128" y="30203"/>
                      </a:lnTo>
                      <a:lnTo>
                        <a:pt x="8402" y="28076"/>
                      </a:lnTo>
                      <a:lnTo>
                        <a:pt x="16821" y="26161"/>
                      </a:lnTo>
                      <a:lnTo>
                        <a:pt x="20081" y="24653"/>
                      </a:lnTo>
                      <a:lnTo>
                        <a:pt x="23292" y="22591"/>
                      </a:lnTo>
                      <a:lnTo>
                        <a:pt x="10595" y="21426"/>
                      </a:lnTo>
                      <a:lnTo>
                        <a:pt x="5289" y="19698"/>
                      </a:lnTo>
                      <a:lnTo>
                        <a:pt x="0" y="17155"/>
                      </a:lnTo>
                      <a:lnTo>
                        <a:pt x="4278" y="15729"/>
                      </a:lnTo>
                      <a:lnTo>
                        <a:pt x="21393" y="14580"/>
                      </a:lnTo>
                      <a:lnTo>
                        <a:pt x="25933" y="15533"/>
                      </a:lnTo>
                      <a:lnTo>
                        <a:pt x="30415" y="17392"/>
                      </a:lnTo>
                      <a:lnTo>
                        <a:pt x="35386" y="18516"/>
                      </a:lnTo>
                      <a:lnTo>
                        <a:pt x="40195" y="16128"/>
                      </a:lnTo>
                      <a:lnTo>
                        <a:pt x="35663" y="14996"/>
                      </a:lnTo>
                      <a:lnTo>
                        <a:pt x="31613" y="11010"/>
                      </a:lnTo>
                      <a:lnTo>
                        <a:pt x="30757" y="9030"/>
                      </a:lnTo>
                      <a:lnTo>
                        <a:pt x="31295" y="7514"/>
                      </a:lnTo>
                      <a:lnTo>
                        <a:pt x="33414" y="7286"/>
                      </a:lnTo>
                      <a:lnTo>
                        <a:pt x="34987" y="7938"/>
                      </a:lnTo>
                      <a:lnTo>
                        <a:pt x="40969" y="11695"/>
                      </a:lnTo>
                      <a:lnTo>
                        <a:pt x="45492" y="12852"/>
                      </a:lnTo>
                      <a:lnTo>
                        <a:pt x="46763" y="9397"/>
                      </a:lnTo>
                      <a:lnTo>
                        <a:pt x="46967" y="7750"/>
                      </a:lnTo>
                      <a:lnTo>
                        <a:pt x="46144" y="6389"/>
                      </a:lnTo>
                      <a:lnTo>
                        <a:pt x="44008" y="3879"/>
                      </a:lnTo>
                      <a:lnTo>
                        <a:pt x="42110" y="791"/>
                      </a:lnTo>
                      <a:lnTo>
                        <a:pt x="45051" y="0"/>
                      </a:lnTo>
                      <a:lnTo>
                        <a:pt x="47977" y="342"/>
                      </a:lnTo>
                      <a:lnTo>
                        <a:pt x="54253" y="2461"/>
                      </a:lnTo>
                      <a:lnTo>
                        <a:pt x="60585" y="3953"/>
                      </a:lnTo>
                      <a:lnTo>
                        <a:pt x="63470" y="5460"/>
                      </a:lnTo>
                      <a:lnTo>
                        <a:pt x="68865" y="9193"/>
                      </a:lnTo>
                      <a:close/>
                    </a:path>
                  </a:pathLst>
                </a:custGeom>
                <a:solidFill>
                  <a:srgbClr val="D6D6D2"/>
                </a:solidFill>
                <a:ln w="8150" cap="flat">
                  <a:noFill/>
                  <a:prstDash val="solid"/>
                  <a:miter/>
                </a:ln>
              </p:spPr>
              <p:txBody>
                <a:bodyPr rtlCol="0" anchor="ctr"/>
                <a:lstStyle/>
                <a:p>
                  <a:endParaRPr lang="en-US"/>
                </a:p>
              </p:txBody>
            </p:sp>
            <p:sp>
              <p:nvSpPr>
                <p:cNvPr id="667" name="Freeform: Shape 666">
                  <a:extLst>
                    <a:ext uri="{FF2B5EF4-FFF2-40B4-BE49-F238E27FC236}">
                      <a16:creationId xmlns:a16="http://schemas.microsoft.com/office/drawing/2014/main" id="{4F036A9F-0A00-44ED-B0DC-274755BC00F1}"/>
                    </a:ext>
                  </a:extLst>
                </p:cNvPr>
                <p:cNvSpPr/>
                <p:nvPr/>
              </p:nvSpPr>
              <p:spPr>
                <a:xfrm>
                  <a:off x="6029172" y="2797495"/>
                  <a:ext cx="92988" cy="99785"/>
                </a:xfrm>
                <a:custGeom>
                  <a:avLst/>
                  <a:gdLst>
                    <a:gd name="connsiteX0" fmla="*/ 19274 w 92988"/>
                    <a:gd name="connsiteY0" fmla="*/ 76396 h 99785"/>
                    <a:gd name="connsiteX1" fmla="*/ 17106 w 92988"/>
                    <a:gd name="connsiteY1" fmla="*/ 75850 h 99785"/>
                    <a:gd name="connsiteX2" fmla="*/ 13830 w 92988"/>
                    <a:gd name="connsiteY2" fmla="*/ 74309 h 99785"/>
                    <a:gd name="connsiteX3" fmla="*/ 9250 w 92988"/>
                    <a:gd name="connsiteY3" fmla="*/ 75556 h 99785"/>
                    <a:gd name="connsiteX4" fmla="*/ 6072 w 92988"/>
                    <a:gd name="connsiteY4" fmla="*/ 74057 h 99785"/>
                    <a:gd name="connsiteX5" fmla="*/ 3423 w 92988"/>
                    <a:gd name="connsiteY5" fmla="*/ 73910 h 99785"/>
                    <a:gd name="connsiteX6" fmla="*/ 1769 w 92988"/>
                    <a:gd name="connsiteY6" fmla="*/ 72720 h 99785"/>
                    <a:gd name="connsiteX7" fmla="*/ 0 w 92988"/>
                    <a:gd name="connsiteY7" fmla="*/ 70699 h 99785"/>
                    <a:gd name="connsiteX8" fmla="*/ 1263 w 92988"/>
                    <a:gd name="connsiteY8" fmla="*/ 69371 h 99785"/>
                    <a:gd name="connsiteX9" fmla="*/ 2461 w 92988"/>
                    <a:gd name="connsiteY9" fmla="*/ 68914 h 99785"/>
                    <a:gd name="connsiteX10" fmla="*/ 7311 w 92988"/>
                    <a:gd name="connsiteY10" fmla="*/ 68662 h 99785"/>
                    <a:gd name="connsiteX11" fmla="*/ 10847 w 92988"/>
                    <a:gd name="connsiteY11" fmla="*/ 69468 h 99785"/>
                    <a:gd name="connsiteX12" fmla="*/ 17163 w 92988"/>
                    <a:gd name="connsiteY12" fmla="*/ 73837 h 99785"/>
                    <a:gd name="connsiteX13" fmla="*/ 18769 w 92988"/>
                    <a:gd name="connsiteY13" fmla="*/ 73804 h 99785"/>
                    <a:gd name="connsiteX14" fmla="*/ 20464 w 92988"/>
                    <a:gd name="connsiteY14" fmla="*/ 73258 h 99785"/>
                    <a:gd name="connsiteX15" fmla="*/ 19608 w 92988"/>
                    <a:gd name="connsiteY15" fmla="*/ 72068 h 99785"/>
                    <a:gd name="connsiteX16" fmla="*/ 18019 w 92988"/>
                    <a:gd name="connsiteY16" fmla="*/ 71506 h 99785"/>
                    <a:gd name="connsiteX17" fmla="*/ 15664 w 92988"/>
                    <a:gd name="connsiteY17" fmla="*/ 70324 h 99785"/>
                    <a:gd name="connsiteX18" fmla="*/ 13797 w 92988"/>
                    <a:gd name="connsiteY18" fmla="*/ 68678 h 99785"/>
                    <a:gd name="connsiteX19" fmla="*/ 18199 w 92988"/>
                    <a:gd name="connsiteY19" fmla="*/ 68148 h 99785"/>
                    <a:gd name="connsiteX20" fmla="*/ 17595 w 92988"/>
                    <a:gd name="connsiteY20" fmla="*/ 67292 h 99785"/>
                    <a:gd name="connsiteX21" fmla="*/ 17017 w 92988"/>
                    <a:gd name="connsiteY21" fmla="*/ 65825 h 99785"/>
                    <a:gd name="connsiteX22" fmla="*/ 12363 w 92988"/>
                    <a:gd name="connsiteY22" fmla="*/ 60740 h 99785"/>
                    <a:gd name="connsiteX23" fmla="*/ 13162 w 92988"/>
                    <a:gd name="connsiteY23" fmla="*/ 59363 h 99785"/>
                    <a:gd name="connsiteX24" fmla="*/ 14336 w 92988"/>
                    <a:gd name="connsiteY24" fmla="*/ 56404 h 99785"/>
                    <a:gd name="connsiteX25" fmla="*/ 15794 w 92988"/>
                    <a:gd name="connsiteY25" fmla="*/ 53943 h 99785"/>
                    <a:gd name="connsiteX26" fmla="*/ 16960 w 92988"/>
                    <a:gd name="connsiteY26" fmla="*/ 53291 h 99785"/>
                    <a:gd name="connsiteX27" fmla="*/ 18867 w 92988"/>
                    <a:gd name="connsiteY27" fmla="*/ 51539 h 99785"/>
                    <a:gd name="connsiteX28" fmla="*/ 23023 w 92988"/>
                    <a:gd name="connsiteY28" fmla="*/ 46429 h 99785"/>
                    <a:gd name="connsiteX29" fmla="*/ 25663 w 92988"/>
                    <a:gd name="connsiteY29" fmla="*/ 42256 h 99785"/>
                    <a:gd name="connsiteX30" fmla="*/ 27628 w 92988"/>
                    <a:gd name="connsiteY30" fmla="*/ 37301 h 99785"/>
                    <a:gd name="connsiteX31" fmla="*/ 30513 w 92988"/>
                    <a:gd name="connsiteY31" fmla="*/ 23626 h 99785"/>
                    <a:gd name="connsiteX32" fmla="*/ 31360 w 92988"/>
                    <a:gd name="connsiteY32" fmla="*/ 21295 h 99785"/>
                    <a:gd name="connsiteX33" fmla="*/ 32754 w 92988"/>
                    <a:gd name="connsiteY33" fmla="*/ 18712 h 99785"/>
                    <a:gd name="connsiteX34" fmla="*/ 34506 w 92988"/>
                    <a:gd name="connsiteY34" fmla="*/ 19201 h 99785"/>
                    <a:gd name="connsiteX35" fmla="*/ 35704 w 92988"/>
                    <a:gd name="connsiteY35" fmla="*/ 19942 h 99785"/>
                    <a:gd name="connsiteX36" fmla="*/ 39999 w 92988"/>
                    <a:gd name="connsiteY36" fmla="*/ 17995 h 99785"/>
                    <a:gd name="connsiteX37" fmla="*/ 47374 w 92988"/>
                    <a:gd name="connsiteY37" fmla="*/ 12917 h 99785"/>
                    <a:gd name="connsiteX38" fmla="*/ 49551 w 92988"/>
                    <a:gd name="connsiteY38" fmla="*/ 8508 h 99785"/>
                    <a:gd name="connsiteX39" fmla="*/ 51686 w 92988"/>
                    <a:gd name="connsiteY39" fmla="*/ 6455 h 99785"/>
                    <a:gd name="connsiteX40" fmla="*/ 60154 w 92988"/>
                    <a:gd name="connsiteY40" fmla="*/ 2469 h 99785"/>
                    <a:gd name="connsiteX41" fmla="*/ 64831 w 92988"/>
                    <a:gd name="connsiteY41" fmla="*/ 1271 h 99785"/>
                    <a:gd name="connsiteX42" fmla="*/ 72052 w 92988"/>
                    <a:gd name="connsiteY42" fmla="*/ 970 h 99785"/>
                    <a:gd name="connsiteX43" fmla="*/ 77276 w 92988"/>
                    <a:gd name="connsiteY43" fmla="*/ 261 h 99785"/>
                    <a:gd name="connsiteX44" fmla="*/ 83535 w 92988"/>
                    <a:gd name="connsiteY44" fmla="*/ 0 h 99785"/>
                    <a:gd name="connsiteX45" fmla="*/ 85931 w 92988"/>
                    <a:gd name="connsiteY45" fmla="*/ 2469 h 99785"/>
                    <a:gd name="connsiteX46" fmla="*/ 87308 w 92988"/>
                    <a:gd name="connsiteY46" fmla="*/ 4270 h 99785"/>
                    <a:gd name="connsiteX47" fmla="*/ 89533 w 92988"/>
                    <a:gd name="connsiteY47" fmla="*/ 5273 h 99785"/>
                    <a:gd name="connsiteX48" fmla="*/ 92989 w 92988"/>
                    <a:gd name="connsiteY48" fmla="*/ 5957 h 99785"/>
                    <a:gd name="connsiteX49" fmla="*/ 92785 w 92988"/>
                    <a:gd name="connsiteY49" fmla="*/ 9519 h 99785"/>
                    <a:gd name="connsiteX50" fmla="*/ 92809 w 92988"/>
                    <a:gd name="connsiteY50" fmla="*/ 16544 h 99785"/>
                    <a:gd name="connsiteX51" fmla="*/ 92556 w 92988"/>
                    <a:gd name="connsiteY51" fmla="*/ 17783 h 99785"/>
                    <a:gd name="connsiteX52" fmla="*/ 91008 w 92988"/>
                    <a:gd name="connsiteY52" fmla="*/ 20741 h 99785"/>
                    <a:gd name="connsiteX53" fmla="*/ 89370 w 92988"/>
                    <a:gd name="connsiteY53" fmla="*/ 26047 h 99785"/>
                    <a:gd name="connsiteX54" fmla="*/ 88930 w 92988"/>
                    <a:gd name="connsiteY54" fmla="*/ 29526 h 99785"/>
                    <a:gd name="connsiteX55" fmla="*/ 88433 w 92988"/>
                    <a:gd name="connsiteY55" fmla="*/ 30195 h 99785"/>
                    <a:gd name="connsiteX56" fmla="*/ 81856 w 92988"/>
                    <a:gd name="connsiteY56" fmla="*/ 30178 h 99785"/>
                    <a:gd name="connsiteX57" fmla="*/ 80927 w 92988"/>
                    <a:gd name="connsiteY57" fmla="*/ 30782 h 99785"/>
                    <a:gd name="connsiteX58" fmla="*/ 80789 w 92988"/>
                    <a:gd name="connsiteY58" fmla="*/ 31531 h 99785"/>
                    <a:gd name="connsiteX59" fmla="*/ 81123 w 92988"/>
                    <a:gd name="connsiteY59" fmla="*/ 32428 h 99785"/>
                    <a:gd name="connsiteX60" fmla="*/ 80960 w 92988"/>
                    <a:gd name="connsiteY60" fmla="*/ 33308 h 99785"/>
                    <a:gd name="connsiteX61" fmla="*/ 80454 w 92988"/>
                    <a:gd name="connsiteY61" fmla="*/ 34033 h 99785"/>
                    <a:gd name="connsiteX62" fmla="*/ 80731 w 92988"/>
                    <a:gd name="connsiteY62" fmla="*/ 35191 h 99785"/>
                    <a:gd name="connsiteX63" fmla="*/ 81864 w 92988"/>
                    <a:gd name="connsiteY63" fmla="*/ 36503 h 99785"/>
                    <a:gd name="connsiteX64" fmla="*/ 83942 w 92988"/>
                    <a:gd name="connsiteY64" fmla="*/ 37309 h 99785"/>
                    <a:gd name="connsiteX65" fmla="*/ 86159 w 92988"/>
                    <a:gd name="connsiteY65" fmla="*/ 37383 h 99785"/>
                    <a:gd name="connsiteX66" fmla="*/ 87308 w 92988"/>
                    <a:gd name="connsiteY66" fmla="*/ 37244 h 99785"/>
                    <a:gd name="connsiteX67" fmla="*/ 88148 w 92988"/>
                    <a:gd name="connsiteY67" fmla="*/ 38173 h 99785"/>
                    <a:gd name="connsiteX68" fmla="*/ 88979 w 92988"/>
                    <a:gd name="connsiteY68" fmla="*/ 39616 h 99785"/>
                    <a:gd name="connsiteX69" fmla="*/ 88914 w 92988"/>
                    <a:gd name="connsiteY69" fmla="*/ 41425 h 99785"/>
                    <a:gd name="connsiteX70" fmla="*/ 88596 w 92988"/>
                    <a:gd name="connsiteY70" fmla="*/ 43854 h 99785"/>
                    <a:gd name="connsiteX71" fmla="*/ 87544 w 92988"/>
                    <a:gd name="connsiteY71" fmla="*/ 46103 h 99785"/>
                    <a:gd name="connsiteX72" fmla="*/ 84513 w 92988"/>
                    <a:gd name="connsiteY72" fmla="*/ 48687 h 99785"/>
                    <a:gd name="connsiteX73" fmla="*/ 83127 w 92988"/>
                    <a:gd name="connsiteY73" fmla="*/ 49591 h 99785"/>
                    <a:gd name="connsiteX74" fmla="*/ 81848 w 92988"/>
                    <a:gd name="connsiteY74" fmla="*/ 50056 h 99785"/>
                    <a:gd name="connsiteX75" fmla="*/ 81245 w 92988"/>
                    <a:gd name="connsiteY75" fmla="*/ 50740 h 99785"/>
                    <a:gd name="connsiteX76" fmla="*/ 80960 w 92988"/>
                    <a:gd name="connsiteY76" fmla="*/ 51596 h 99785"/>
                    <a:gd name="connsiteX77" fmla="*/ 81025 w 92988"/>
                    <a:gd name="connsiteY77" fmla="*/ 52362 h 99785"/>
                    <a:gd name="connsiteX78" fmla="*/ 83185 w 92988"/>
                    <a:gd name="connsiteY78" fmla="*/ 54440 h 99785"/>
                    <a:gd name="connsiteX79" fmla="*/ 83127 w 92988"/>
                    <a:gd name="connsiteY79" fmla="*/ 54929 h 99785"/>
                    <a:gd name="connsiteX80" fmla="*/ 82492 w 92988"/>
                    <a:gd name="connsiteY80" fmla="*/ 56005 h 99785"/>
                    <a:gd name="connsiteX81" fmla="*/ 81660 w 92988"/>
                    <a:gd name="connsiteY81" fmla="*/ 57024 h 99785"/>
                    <a:gd name="connsiteX82" fmla="*/ 76102 w 92988"/>
                    <a:gd name="connsiteY82" fmla="*/ 59126 h 99785"/>
                    <a:gd name="connsiteX83" fmla="*/ 73812 w 92988"/>
                    <a:gd name="connsiteY83" fmla="*/ 58963 h 99785"/>
                    <a:gd name="connsiteX84" fmla="*/ 72500 w 92988"/>
                    <a:gd name="connsiteY84" fmla="*/ 60007 h 99785"/>
                    <a:gd name="connsiteX85" fmla="*/ 72085 w 92988"/>
                    <a:gd name="connsiteY85" fmla="*/ 60202 h 99785"/>
                    <a:gd name="connsiteX86" fmla="*/ 70634 w 92988"/>
                    <a:gd name="connsiteY86" fmla="*/ 59241 h 99785"/>
                    <a:gd name="connsiteX87" fmla="*/ 67398 w 92988"/>
                    <a:gd name="connsiteY87" fmla="*/ 58132 h 99785"/>
                    <a:gd name="connsiteX88" fmla="*/ 66184 w 92988"/>
                    <a:gd name="connsiteY88" fmla="*/ 58515 h 99785"/>
                    <a:gd name="connsiteX89" fmla="*/ 65499 w 92988"/>
                    <a:gd name="connsiteY89" fmla="*/ 59126 h 99785"/>
                    <a:gd name="connsiteX90" fmla="*/ 63462 w 92988"/>
                    <a:gd name="connsiteY90" fmla="*/ 59868 h 99785"/>
                    <a:gd name="connsiteX91" fmla="*/ 61995 w 92988"/>
                    <a:gd name="connsiteY91" fmla="*/ 61017 h 99785"/>
                    <a:gd name="connsiteX92" fmla="*/ 61987 w 92988"/>
                    <a:gd name="connsiteY92" fmla="*/ 62517 h 99785"/>
                    <a:gd name="connsiteX93" fmla="*/ 64571 w 92988"/>
                    <a:gd name="connsiteY93" fmla="*/ 66363 h 99785"/>
                    <a:gd name="connsiteX94" fmla="*/ 65475 w 92988"/>
                    <a:gd name="connsiteY94" fmla="*/ 67121 h 99785"/>
                    <a:gd name="connsiteX95" fmla="*/ 65524 w 92988"/>
                    <a:gd name="connsiteY95" fmla="*/ 68556 h 99785"/>
                    <a:gd name="connsiteX96" fmla="*/ 66771 w 92988"/>
                    <a:gd name="connsiteY96" fmla="*/ 70357 h 99785"/>
                    <a:gd name="connsiteX97" fmla="*/ 68059 w 92988"/>
                    <a:gd name="connsiteY97" fmla="*/ 72614 h 99785"/>
                    <a:gd name="connsiteX98" fmla="*/ 68197 w 92988"/>
                    <a:gd name="connsiteY98" fmla="*/ 74049 h 99785"/>
                    <a:gd name="connsiteX99" fmla="*/ 68051 w 92988"/>
                    <a:gd name="connsiteY99" fmla="*/ 75499 h 99785"/>
                    <a:gd name="connsiteX100" fmla="*/ 67382 w 92988"/>
                    <a:gd name="connsiteY100" fmla="*/ 77553 h 99785"/>
                    <a:gd name="connsiteX101" fmla="*/ 65149 w 92988"/>
                    <a:gd name="connsiteY101" fmla="*/ 82378 h 99785"/>
                    <a:gd name="connsiteX102" fmla="*/ 65116 w 92988"/>
                    <a:gd name="connsiteY102" fmla="*/ 83307 h 99785"/>
                    <a:gd name="connsiteX103" fmla="*/ 65304 w 92988"/>
                    <a:gd name="connsiteY103" fmla="*/ 83999 h 99785"/>
                    <a:gd name="connsiteX104" fmla="*/ 66078 w 92988"/>
                    <a:gd name="connsiteY104" fmla="*/ 84195 h 99785"/>
                    <a:gd name="connsiteX105" fmla="*/ 66649 w 92988"/>
                    <a:gd name="connsiteY105" fmla="*/ 84562 h 99785"/>
                    <a:gd name="connsiteX106" fmla="*/ 66477 w 92988"/>
                    <a:gd name="connsiteY106" fmla="*/ 85205 h 99785"/>
                    <a:gd name="connsiteX107" fmla="*/ 62280 w 92988"/>
                    <a:gd name="connsiteY107" fmla="*/ 88539 h 99785"/>
                    <a:gd name="connsiteX108" fmla="*/ 61759 w 92988"/>
                    <a:gd name="connsiteY108" fmla="*/ 89126 h 99785"/>
                    <a:gd name="connsiteX109" fmla="*/ 59990 w 92988"/>
                    <a:gd name="connsiteY109" fmla="*/ 88954 h 99785"/>
                    <a:gd name="connsiteX110" fmla="*/ 59721 w 92988"/>
                    <a:gd name="connsiteY110" fmla="*/ 89509 h 99785"/>
                    <a:gd name="connsiteX111" fmla="*/ 59966 w 92988"/>
                    <a:gd name="connsiteY111" fmla="*/ 90413 h 99785"/>
                    <a:gd name="connsiteX112" fmla="*/ 60642 w 92988"/>
                    <a:gd name="connsiteY112" fmla="*/ 91204 h 99785"/>
                    <a:gd name="connsiteX113" fmla="*/ 62142 w 92988"/>
                    <a:gd name="connsiteY113" fmla="*/ 91619 h 99785"/>
                    <a:gd name="connsiteX114" fmla="*/ 63430 w 92988"/>
                    <a:gd name="connsiteY114" fmla="*/ 92467 h 99785"/>
                    <a:gd name="connsiteX115" fmla="*/ 64456 w 92988"/>
                    <a:gd name="connsiteY115" fmla="*/ 94121 h 99785"/>
                    <a:gd name="connsiteX116" fmla="*/ 63104 w 92988"/>
                    <a:gd name="connsiteY116" fmla="*/ 99785 h 99785"/>
                    <a:gd name="connsiteX117" fmla="*/ 58230 w 92988"/>
                    <a:gd name="connsiteY117" fmla="*/ 99639 h 99785"/>
                    <a:gd name="connsiteX118" fmla="*/ 56983 w 92988"/>
                    <a:gd name="connsiteY118" fmla="*/ 99459 h 99785"/>
                    <a:gd name="connsiteX119" fmla="*/ 55655 w 92988"/>
                    <a:gd name="connsiteY119" fmla="*/ 98905 h 99785"/>
                    <a:gd name="connsiteX120" fmla="*/ 55655 w 92988"/>
                    <a:gd name="connsiteY120" fmla="*/ 98905 h 99785"/>
                    <a:gd name="connsiteX121" fmla="*/ 55051 w 92988"/>
                    <a:gd name="connsiteY121" fmla="*/ 97756 h 99785"/>
                    <a:gd name="connsiteX122" fmla="*/ 54318 w 92988"/>
                    <a:gd name="connsiteY122" fmla="*/ 96379 h 99785"/>
                    <a:gd name="connsiteX123" fmla="*/ 54505 w 92988"/>
                    <a:gd name="connsiteY123" fmla="*/ 95531 h 99785"/>
                    <a:gd name="connsiteX124" fmla="*/ 56714 w 92988"/>
                    <a:gd name="connsiteY124" fmla="*/ 93127 h 99785"/>
                    <a:gd name="connsiteX125" fmla="*/ 57048 w 92988"/>
                    <a:gd name="connsiteY125" fmla="*/ 92459 h 99785"/>
                    <a:gd name="connsiteX126" fmla="*/ 56820 w 92988"/>
                    <a:gd name="connsiteY126" fmla="*/ 92100 h 99785"/>
                    <a:gd name="connsiteX127" fmla="*/ 57048 w 92988"/>
                    <a:gd name="connsiteY127" fmla="*/ 91041 h 99785"/>
                    <a:gd name="connsiteX128" fmla="*/ 58743 w 92988"/>
                    <a:gd name="connsiteY128" fmla="*/ 87455 h 99785"/>
                    <a:gd name="connsiteX129" fmla="*/ 58955 w 92988"/>
                    <a:gd name="connsiteY129" fmla="*/ 86012 h 99785"/>
                    <a:gd name="connsiteX130" fmla="*/ 58197 w 92988"/>
                    <a:gd name="connsiteY130" fmla="*/ 85002 h 99785"/>
                    <a:gd name="connsiteX131" fmla="*/ 57097 w 92988"/>
                    <a:gd name="connsiteY131" fmla="*/ 84399 h 99785"/>
                    <a:gd name="connsiteX132" fmla="*/ 53536 w 92988"/>
                    <a:gd name="connsiteY132" fmla="*/ 83331 h 99785"/>
                    <a:gd name="connsiteX133" fmla="*/ 51832 w 92988"/>
                    <a:gd name="connsiteY133" fmla="*/ 81831 h 99785"/>
                    <a:gd name="connsiteX134" fmla="*/ 51050 w 92988"/>
                    <a:gd name="connsiteY134" fmla="*/ 80511 h 99785"/>
                    <a:gd name="connsiteX135" fmla="*/ 50251 w 92988"/>
                    <a:gd name="connsiteY135" fmla="*/ 80144 h 99785"/>
                    <a:gd name="connsiteX136" fmla="*/ 49086 w 92988"/>
                    <a:gd name="connsiteY136" fmla="*/ 80593 h 99785"/>
                    <a:gd name="connsiteX137" fmla="*/ 46144 w 92988"/>
                    <a:gd name="connsiteY137" fmla="*/ 81082 h 99785"/>
                    <a:gd name="connsiteX138" fmla="*/ 43740 w 92988"/>
                    <a:gd name="connsiteY138" fmla="*/ 80381 h 99785"/>
                    <a:gd name="connsiteX139" fmla="*/ 40903 w 92988"/>
                    <a:gd name="connsiteY139" fmla="*/ 77895 h 99785"/>
                    <a:gd name="connsiteX140" fmla="*/ 40252 w 92988"/>
                    <a:gd name="connsiteY140" fmla="*/ 75662 h 99785"/>
                    <a:gd name="connsiteX141" fmla="*/ 39901 w 92988"/>
                    <a:gd name="connsiteY141" fmla="*/ 73959 h 99785"/>
                    <a:gd name="connsiteX142" fmla="*/ 39192 w 92988"/>
                    <a:gd name="connsiteY142" fmla="*/ 73372 h 99785"/>
                    <a:gd name="connsiteX143" fmla="*/ 38247 w 92988"/>
                    <a:gd name="connsiteY143" fmla="*/ 74244 h 99785"/>
                    <a:gd name="connsiteX144" fmla="*/ 37040 w 92988"/>
                    <a:gd name="connsiteY144" fmla="*/ 75630 h 99785"/>
                    <a:gd name="connsiteX145" fmla="*/ 34661 w 92988"/>
                    <a:gd name="connsiteY145" fmla="*/ 75801 h 99785"/>
                    <a:gd name="connsiteX146" fmla="*/ 33984 w 92988"/>
                    <a:gd name="connsiteY146" fmla="*/ 75467 h 99785"/>
                    <a:gd name="connsiteX147" fmla="*/ 33862 w 92988"/>
                    <a:gd name="connsiteY147" fmla="*/ 74709 h 99785"/>
                    <a:gd name="connsiteX148" fmla="*/ 33724 w 92988"/>
                    <a:gd name="connsiteY148" fmla="*/ 73975 h 99785"/>
                    <a:gd name="connsiteX149" fmla="*/ 33071 w 92988"/>
                    <a:gd name="connsiteY149" fmla="*/ 73071 h 99785"/>
                    <a:gd name="connsiteX150" fmla="*/ 32363 w 92988"/>
                    <a:gd name="connsiteY150" fmla="*/ 72565 h 99785"/>
                    <a:gd name="connsiteX151" fmla="*/ 29347 w 92988"/>
                    <a:gd name="connsiteY151" fmla="*/ 75124 h 99785"/>
                    <a:gd name="connsiteX152" fmla="*/ 28223 w 92988"/>
                    <a:gd name="connsiteY152" fmla="*/ 75116 h 99785"/>
                    <a:gd name="connsiteX153" fmla="*/ 26813 w 92988"/>
                    <a:gd name="connsiteY153" fmla="*/ 74130 h 99785"/>
                    <a:gd name="connsiteX154" fmla="*/ 26104 w 92988"/>
                    <a:gd name="connsiteY154" fmla="*/ 73160 h 99785"/>
                    <a:gd name="connsiteX155" fmla="*/ 24555 w 92988"/>
                    <a:gd name="connsiteY155" fmla="*/ 73706 h 99785"/>
                    <a:gd name="connsiteX156" fmla="*/ 23170 w 92988"/>
                    <a:gd name="connsiteY156" fmla="*/ 74896 h 99785"/>
                    <a:gd name="connsiteX157" fmla="*/ 23642 w 92988"/>
                    <a:gd name="connsiteY157" fmla="*/ 77121 h 99785"/>
                    <a:gd name="connsiteX158" fmla="*/ 22893 w 92988"/>
                    <a:gd name="connsiteY158" fmla="*/ 77528 h 99785"/>
                    <a:gd name="connsiteX159" fmla="*/ 21173 w 92988"/>
                    <a:gd name="connsiteY159" fmla="*/ 77333 h 99785"/>
                    <a:gd name="connsiteX160" fmla="*/ 19274 w 92988"/>
                    <a:gd name="connsiteY160" fmla="*/ 76396 h 99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Lst>
                  <a:rect l="l" t="t" r="r" b="b"/>
                  <a:pathLst>
                    <a:path w="92988" h="99785">
                      <a:moveTo>
                        <a:pt x="19274" y="76396"/>
                      </a:moveTo>
                      <a:lnTo>
                        <a:pt x="17106" y="75850"/>
                      </a:lnTo>
                      <a:lnTo>
                        <a:pt x="13830" y="74309"/>
                      </a:lnTo>
                      <a:lnTo>
                        <a:pt x="9250" y="75556"/>
                      </a:lnTo>
                      <a:lnTo>
                        <a:pt x="6072" y="74057"/>
                      </a:lnTo>
                      <a:lnTo>
                        <a:pt x="3423" y="73910"/>
                      </a:lnTo>
                      <a:lnTo>
                        <a:pt x="1769" y="72720"/>
                      </a:lnTo>
                      <a:lnTo>
                        <a:pt x="0" y="70699"/>
                      </a:lnTo>
                      <a:lnTo>
                        <a:pt x="1263" y="69371"/>
                      </a:lnTo>
                      <a:lnTo>
                        <a:pt x="2461" y="68914"/>
                      </a:lnTo>
                      <a:lnTo>
                        <a:pt x="7311" y="68662"/>
                      </a:lnTo>
                      <a:lnTo>
                        <a:pt x="10847" y="69468"/>
                      </a:lnTo>
                      <a:lnTo>
                        <a:pt x="17163" y="73837"/>
                      </a:lnTo>
                      <a:lnTo>
                        <a:pt x="18769" y="73804"/>
                      </a:lnTo>
                      <a:lnTo>
                        <a:pt x="20464" y="73258"/>
                      </a:lnTo>
                      <a:lnTo>
                        <a:pt x="19608" y="72068"/>
                      </a:lnTo>
                      <a:lnTo>
                        <a:pt x="18019" y="71506"/>
                      </a:lnTo>
                      <a:lnTo>
                        <a:pt x="15664" y="70324"/>
                      </a:lnTo>
                      <a:lnTo>
                        <a:pt x="13797" y="68678"/>
                      </a:lnTo>
                      <a:lnTo>
                        <a:pt x="18199" y="68148"/>
                      </a:lnTo>
                      <a:lnTo>
                        <a:pt x="17595" y="67292"/>
                      </a:lnTo>
                      <a:lnTo>
                        <a:pt x="17017" y="65825"/>
                      </a:lnTo>
                      <a:lnTo>
                        <a:pt x="12363" y="60740"/>
                      </a:lnTo>
                      <a:lnTo>
                        <a:pt x="13162" y="59363"/>
                      </a:lnTo>
                      <a:lnTo>
                        <a:pt x="14336" y="56404"/>
                      </a:lnTo>
                      <a:lnTo>
                        <a:pt x="15794" y="53943"/>
                      </a:lnTo>
                      <a:lnTo>
                        <a:pt x="16960" y="53291"/>
                      </a:lnTo>
                      <a:lnTo>
                        <a:pt x="18867" y="51539"/>
                      </a:lnTo>
                      <a:lnTo>
                        <a:pt x="23023" y="46429"/>
                      </a:lnTo>
                      <a:lnTo>
                        <a:pt x="25663" y="42256"/>
                      </a:lnTo>
                      <a:lnTo>
                        <a:pt x="27628" y="37301"/>
                      </a:lnTo>
                      <a:lnTo>
                        <a:pt x="30513" y="23626"/>
                      </a:lnTo>
                      <a:lnTo>
                        <a:pt x="31360" y="21295"/>
                      </a:lnTo>
                      <a:lnTo>
                        <a:pt x="32754" y="18712"/>
                      </a:lnTo>
                      <a:lnTo>
                        <a:pt x="34506" y="19201"/>
                      </a:lnTo>
                      <a:lnTo>
                        <a:pt x="35704" y="19942"/>
                      </a:lnTo>
                      <a:lnTo>
                        <a:pt x="39999" y="17995"/>
                      </a:lnTo>
                      <a:lnTo>
                        <a:pt x="47374" y="12917"/>
                      </a:lnTo>
                      <a:lnTo>
                        <a:pt x="49551" y="8508"/>
                      </a:lnTo>
                      <a:lnTo>
                        <a:pt x="51686" y="6455"/>
                      </a:lnTo>
                      <a:lnTo>
                        <a:pt x="60154" y="2469"/>
                      </a:lnTo>
                      <a:lnTo>
                        <a:pt x="64831" y="1271"/>
                      </a:lnTo>
                      <a:lnTo>
                        <a:pt x="72052" y="970"/>
                      </a:lnTo>
                      <a:lnTo>
                        <a:pt x="77276" y="261"/>
                      </a:lnTo>
                      <a:lnTo>
                        <a:pt x="83535" y="0"/>
                      </a:lnTo>
                      <a:lnTo>
                        <a:pt x="85931" y="2469"/>
                      </a:lnTo>
                      <a:lnTo>
                        <a:pt x="87308" y="4270"/>
                      </a:lnTo>
                      <a:lnTo>
                        <a:pt x="89533" y="5273"/>
                      </a:lnTo>
                      <a:lnTo>
                        <a:pt x="92989" y="5957"/>
                      </a:lnTo>
                      <a:lnTo>
                        <a:pt x="92785" y="9519"/>
                      </a:lnTo>
                      <a:lnTo>
                        <a:pt x="92809" y="16544"/>
                      </a:lnTo>
                      <a:lnTo>
                        <a:pt x="92556" y="17783"/>
                      </a:lnTo>
                      <a:lnTo>
                        <a:pt x="91008" y="20741"/>
                      </a:lnTo>
                      <a:lnTo>
                        <a:pt x="89370" y="26047"/>
                      </a:lnTo>
                      <a:lnTo>
                        <a:pt x="88930" y="29526"/>
                      </a:lnTo>
                      <a:lnTo>
                        <a:pt x="88433" y="30195"/>
                      </a:lnTo>
                      <a:lnTo>
                        <a:pt x="81856" y="30178"/>
                      </a:lnTo>
                      <a:lnTo>
                        <a:pt x="80927" y="30782"/>
                      </a:lnTo>
                      <a:lnTo>
                        <a:pt x="80789" y="31531"/>
                      </a:lnTo>
                      <a:lnTo>
                        <a:pt x="81123" y="32428"/>
                      </a:lnTo>
                      <a:lnTo>
                        <a:pt x="80960" y="33308"/>
                      </a:lnTo>
                      <a:lnTo>
                        <a:pt x="80454" y="34033"/>
                      </a:lnTo>
                      <a:lnTo>
                        <a:pt x="80731" y="35191"/>
                      </a:lnTo>
                      <a:lnTo>
                        <a:pt x="81864" y="36503"/>
                      </a:lnTo>
                      <a:lnTo>
                        <a:pt x="83942" y="37309"/>
                      </a:lnTo>
                      <a:lnTo>
                        <a:pt x="86159" y="37383"/>
                      </a:lnTo>
                      <a:lnTo>
                        <a:pt x="87308" y="37244"/>
                      </a:lnTo>
                      <a:lnTo>
                        <a:pt x="88148" y="38173"/>
                      </a:lnTo>
                      <a:lnTo>
                        <a:pt x="88979" y="39616"/>
                      </a:lnTo>
                      <a:lnTo>
                        <a:pt x="88914" y="41425"/>
                      </a:lnTo>
                      <a:lnTo>
                        <a:pt x="88596" y="43854"/>
                      </a:lnTo>
                      <a:lnTo>
                        <a:pt x="87544" y="46103"/>
                      </a:lnTo>
                      <a:lnTo>
                        <a:pt x="84513" y="48687"/>
                      </a:lnTo>
                      <a:lnTo>
                        <a:pt x="83127" y="49591"/>
                      </a:lnTo>
                      <a:lnTo>
                        <a:pt x="81848" y="50056"/>
                      </a:lnTo>
                      <a:lnTo>
                        <a:pt x="81245" y="50740"/>
                      </a:lnTo>
                      <a:lnTo>
                        <a:pt x="80960" y="51596"/>
                      </a:lnTo>
                      <a:lnTo>
                        <a:pt x="81025" y="52362"/>
                      </a:lnTo>
                      <a:lnTo>
                        <a:pt x="83185" y="54440"/>
                      </a:lnTo>
                      <a:lnTo>
                        <a:pt x="83127" y="54929"/>
                      </a:lnTo>
                      <a:lnTo>
                        <a:pt x="82492" y="56005"/>
                      </a:lnTo>
                      <a:lnTo>
                        <a:pt x="81660" y="57024"/>
                      </a:lnTo>
                      <a:lnTo>
                        <a:pt x="76102" y="59126"/>
                      </a:lnTo>
                      <a:lnTo>
                        <a:pt x="73812" y="58963"/>
                      </a:lnTo>
                      <a:lnTo>
                        <a:pt x="72500" y="60007"/>
                      </a:lnTo>
                      <a:lnTo>
                        <a:pt x="72085" y="60202"/>
                      </a:lnTo>
                      <a:lnTo>
                        <a:pt x="70634" y="59241"/>
                      </a:lnTo>
                      <a:lnTo>
                        <a:pt x="67398" y="58132"/>
                      </a:lnTo>
                      <a:lnTo>
                        <a:pt x="66184" y="58515"/>
                      </a:lnTo>
                      <a:lnTo>
                        <a:pt x="65499" y="59126"/>
                      </a:lnTo>
                      <a:lnTo>
                        <a:pt x="63462" y="59868"/>
                      </a:lnTo>
                      <a:lnTo>
                        <a:pt x="61995" y="61017"/>
                      </a:lnTo>
                      <a:lnTo>
                        <a:pt x="61987" y="62517"/>
                      </a:lnTo>
                      <a:lnTo>
                        <a:pt x="64571" y="66363"/>
                      </a:lnTo>
                      <a:lnTo>
                        <a:pt x="65475" y="67121"/>
                      </a:lnTo>
                      <a:lnTo>
                        <a:pt x="65524" y="68556"/>
                      </a:lnTo>
                      <a:lnTo>
                        <a:pt x="66771" y="70357"/>
                      </a:lnTo>
                      <a:lnTo>
                        <a:pt x="68059" y="72614"/>
                      </a:lnTo>
                      <a:lnTo>
                        <a:pt x="68197" y="74049"/>
                      </a:lnTo>
                      <a:lnTo>
                        <a:pt x="68051" y="75499"/>
                      </a:lnTo>
                      <a:lnTo>
                        <a:pt x="67382" y="77553"/>
                      </a:lnTo>
                      <a:lnTo>
                        <a:pt x="65149" y="82378"/>
                      </a:lnTo>
                      <a:lnTo>
                        <a:pt x="65116" y="83307"/>
                      </a:lnTo>
                      <a:lnTo>
                        <a:pt x="65304" y="83999"/>
                      </a:lnTo>
                      <a:lnTo>
                        <a:pt x="66078" y="84195"/>
                      </a:lnTo>
                      <a:lnTo>
                        <a:pt x="66649" y="84562"/>
                      </a:lnTo>
                      <a:lnTo>
                        <a:pt x="66477" y="85205"/>
                      </a:lnTo>
                      <a:lnTo>
                        <a:pt x="62280" y="88539"/>
                      </a:lnTo>
                      <a:lnTo>
                        <a:pt x="61759" y="89126"/>
                      </a:lnTo>
                      <a:lnTo>
                        <a:pt x="59990" y="88954"/>
                      </a:lnTo>
                      <a:lnTo>
                        <a:pt x="59721" y="89509"/>
                      </a:lnTo>
                      <a:lnTo>
                        <a:pt x="59966" y="90413"/>
                      </a:lnTo>
                      <a:lnTo>
                        <a:pt x="60642" y="91204"/>
                      </a:lnTo>
                      <a:lnTo>
                        <a:pt x="62142" y="91619"/>
                      </a:lnTo>
                      <a:lnTo>
                        <a:pt x="63430" y="92467"/>
                      </a:lnTo>
                      <a:lnTo>
                        <a:pt x="64456" y="94121"/>
                      </a:lnTo>
                      <a:lnTo>
                        <a:pt x="63104" y="99785"/>
                      </a:lnTo>
                      <a:lnTo>
                        <a:pt x="58230" y="99639"/>
                      </a:lnTo>
                      <a:lnTo>
                        <a:pt x="56983" y="99459"/>
                      </a:lnTo>
                      <a:lnTo>
                        <a:pt x="55655" y="98905"/>
                      </a:lnTo>
                      <a:lnTo>
                        <a:pt x="55655" y="98905"/>
                      </a:lnTo>
                      <a:lnTo>
                        <a:pt x="55051" y="97756"/>
                      </a:lnTo>
                      <a:lnTo>
                        <a:pt x="54318" y="96379"/>
                      </a:lnTo>
                      <a:lnTo>
                        <a:pt x="54505" y="95531"/>
                      </a:lnTo>
                      <a:lnTo>
                        <a:pt x="56714" y="93127"/>
                      </a:lnTo>
                      <a:lnTo>
                        <a:pt x="57048" y="92459"/>
                      </a:lnTo>
                      <a:lnTo>
                        <a:pt x="56820" y="92100"/>
                      </a:lnTo>
                      <a:lnTo>
                        <a:pt x="57048" y="91041"/>
                      </a:lnTo>
                      <a:lnTo>
                        <a:pt x="58743" y="87455"/>
                      </a:lnTo>
                      <a:lnTo>
                        <a:pt x="58955" y="86012"/>
                      </a:lnTo>
                      <a:lnTo>
                        <a:pt x="58197" y="85002"/>
                      </a:lnTo>
                      <a:lnTo>
                        <a:pt x="57097" y="84399"/>
                      </a:lnTo>
                      <a:lnTo>
                        <a:pt x="53536" y="83331"/>
                      </a:lnTo>
                      <a:lnTo>
                        <a:pt x="51832" y="81831"/>
                      </a:lnTo>
                      <a:lnTo>
                        <a:pt x="51050" y="80511"/>
                      </a:lnTo>
                      <a:lnTo>
                        <a:pt x="50251" y="80144"/>
                      </a:lnTo>
                      <a:lnTo>
                        <a:pt x="49086" y="80593"/>
                      </a:lnTo>
                      <a:lnTo>
                        <a:pt x="46144" y="81082"/>
                      </a:lnTo>
                      <a:lnTo>
                        <a:pt x="43740" y="80381"/>
                      </a:lnTo>
                      <a:lnTo>
                        <a:pt x="40903" y="77895"/>
                      </a:lnTo>
                      <a:lnTo>
                        <a:pt x="40252" y="75662"/>
                      </a:lnTo>
                      <a:lnTo>
                        <a:pt x="39901" y="73959"/>
                      </a:lnTo>
                      <a:lnTo>
                        <a:pt x="39192" y="73372"/>
                      </a:lnTo>
                      <a:lnTo>
                        <a:pt x="38247" y="74244"/>
                      </a:lnTo>
                      <a:lnTo>
                        <a:pt x="37040" y="75630"/>
                      </a:lnTo>
                      <a:lnTo>
                        <a:pt x="34661" y="75801"/>
                      </a:lnTo>
                      <a:lnTo>
                        <a:pt x="33984" y="75467"/>
                      </a:lnTo>
                      <a:lnTo>
                        <a:pt x="33862" y="74709"/>
                      </a:lnTo>
                      <a:lnTo>
                        <a:pt x="33724" y="73975"/>
                      </a:lnTo>
                      <a:lnTo>
                        <a:pt x="33071" y="73071"/>
                      </a:lnTo>
                      <a:lnTo>
                        <a:pt x="32363" y="72565"/>
                      </a:lnTo>
                      <a:lnTo>
                        <a:pt x="29347" y="75124"/>
                      </a:lnTo>
                      <a:lnTo>
                        <a:pt x="28223" y="75116"/>
                      </a:lnTo>
                      <a:lnTo>
                        <a:pt x="26813" y="74130"/>
                      </a:lnTo>
                      <a:lnTo>
                        <a:pt x="26104" y="73160"/>
                      </a:lnTo>
                      <a:lnTo>
                        <a:pt x="24555" y="73706"/>
                      </a:lnTo>
                      <a:lnTo>
                        <a:pt x="23170" y="74896"/>
                      </a:lnTo>
                      <a:lnTo>
                        <a:pt x="23642" y="77121"/>
                      </a:lnTo>
                      <a:lnTo>
                        <a:pt x="22893" y="77528"/>
                      </a:lnTo>
                      <a:lnTo>
                        <a:pt x="21173" y="77333"/>
                      </a:lnTo>
                      <a:lnTo>
                        <a:pt x="19274" y="76396"/>
                      </a:lnTo>
                      <a:close/>
                    </a:path>
                  </a:pathLst>
                </a:custGeom>
                <a:solidFill>
                  <a:srgbClr val="D6D6D2"/>
                </a:solidFill>
                <a:ln w="6112" cap="rnd">
                  <a:solidFill>
                    <a:srgbClr val="FFFFFF"/>
                  </a:solidFill>
                  <a:prstDash val="solid"/>
                  <a:round/>
                </a:ln>
              </p:spPr>
              <p:txBody>
                <a:bodyPr rtlCol="0" anchor="ctr"/>
                <a:lstStyle/>
                <a:p>
                  <a:endParaRPr lang="en-US"/>
                </a:p>
              </p:txBody>
            </p:sp>
            <p:sp>
              <p:nvSpPr>
                <p:cNvPr id="668" name="Freeform: Shape 667">
                  <a:extLst>
                    <a:ext uri="{FF2B5EF4-FFF2-40B4-BE49-F238E27FC236}">
                      <a16:creationId xmlns:a16="http://schemas.microsoft.com/office/drawing/2014/main" id="{98A0F02D-9F2C-4485-B150-2111E5AE79FE}"/>
                    </a:ext>
                  </a:extLst>
                </p:cNvPr>
                <p:cNvSpPr/>
                <p:nvPr/>
              </p:nvSpPr>
              <p:spPr>
                <a:xfrm>
                  <a:off x="3769210" y="4072594"/>
                  <a:ext cx="111928" cy="129556"/>
                </a:xfrm>
                <a:custGeom>
                  <a:avLst/>
                  <a:gdLst>
                    <a:gd name="connsiteX0" fmla="*/ 111929 w 111928"/>
                    <a:gd name="connsiteY0" fmla="*/ 448 h 129556"/>
                    <a:gd name="connsiteX1" fmla="*/ 111236 w 111928"/>
                    <a:gd name="connsiteY1" fmla="*/ 1565 h 129556"/>
                    <a:gd name="connsiteX2" fmla="*/ 110478 w 111928"/>
                    <a:gd name="connsiteY2" fmla="*/ 2298 h 129556"/>
                    <a:gd name="connsiteX3" fmla="*/ 108889 w 111928"/>
                    <a:gd name="connsiteY3" fmla="*/ 5941 h 129556"/>
                    <a:gd name="connsiteX4" fmla="*/ 108343 w 111928"/>
                    <a:gd name="connsiteY4" fmla="*/ 6267 h 129556"/>
                    <a:gd name="connsiteX5" fmla="*/ 108237 w 111928"/>
                    <a:gd name="connsiteY5" fmla="*/ 3570 h 129556"/>
                    <a:gd name="connsiteX6" fmla="*/ 107291 w 111928"/>
                    <a:gd name="connsiteY6" fmla="*/ 3227 h 129556"/>
                    <a:gd name="connsiteX7" fmla="*/ 106183 w 111928"/>
                    <a:gd name="connsiteY7" fmla="*/ 4181 h 129556"/>
                    <a:gd name="connsiteX8" fmla="*/ 105572 w 111928"/>
                    <a:gd name="connsiteY8" fmla="*/ 5558 h 129556"/>
                    <a:gd name="connsiteX9" fmla="*/ 106533 w 111928"/>
                    <a:gd name="connsiteY9" fmla="*/ 7368 h 129556"/>
                    <a:gd name="connsiteX10" fmla="*/ 107381 w 111928"/>
                    <a:gd name="connsiteY10" fmla="*/ 7384 h 129556"/>
                    <a:gd name="connsiteX11" fmla="*/ 108408 w 111928"/>
                    <a:gd name="connsiteY11" fmla="*/ 7881 h 129556"/>
                    <a:gd name="connsiteX12" fmla="*/ 111170 w 111928"/>
                    <a:gd name="connsiteY12" fmla="*/ 20326 h 129556"/>
                    <a:gd name="connsiteX13" fmla="*/ 110576 w 111928"/>
                    <a:gd name="connsiteY13" fmla="*/ 22550 h 129556"/>
                    <a:gd name="connsiteX14" fmla="*/ 108872 w 111928"/>
                    <a:gd name="connsiteY14" fmla="*/ 25998 h 129556"/>
                    <a:gd name="connsiteX15" fmla="*/ 107234 w 111928"/>
                    <a:gd name="connsiteY15" fmla="*/ 28932 h 129556"/>
                    <a:gd name="connsiteX16" fmla="*/ 105604 w 111928"/>
                    <a:gd name="connsiteY16" fmla="*/ 30773 h 129556"/>
                    <a:gd name="connsiteX17" fmla="*/ 103591 w 111928"/>
                    <a:gd name="connsiteY17" fmla="*/ 38597 h 129556"/>
                    <a:gd name="connsiteX18" fmla="*/ 101758 w 111928"/>
                    <a:gd name="connsiteY18" fmla="*/ 51311 h 129556"/>
                    <a:gd name="connsiteX19" fmla="*/ 103070 w 111928"/>
                    <a:gd name="connsiteY19" fmla="*/ 62720 h 129556"/>
                    <a:gd name="connsiteX20" fmla="*/ 102410 w 111928"/>
                    <a:gd name="connsiteY20" fmla="*/ 73266 h 129556"/>
                    <a:gd name="connsiteX21" fmla="*/ 102980 w 111928"/>
                    <a:gd name="connsiteY21" fmla="*/ 75752 h 129556"/>
                    <a:gd name="connsiteX22" fmla="*/ 103159 w 111928"/>
                    <a:gd name="connsiteY22" fmla="*/ 78849 h 129556"/>
                    <a:gd name="connsiteX23" fmla="*/ 101806 w 111928"/>
                    <a:gd name="connsiteY23" fmla="*/ 79411 h 129556"/>
                    <a:gd name="connsiteX24" fmla="*/ 101057 w 111928"/>
                    <a:gd name="connsiteY24" fmla="*/ 79313 h 129556"/>
                    <a:gd name="connsiteX25" fmla="*/ 100274 w 111928"/>
                    <a:gd name="connsiteY25" fmla="*/ 77414 h 129556"/>
                    <a:gd name="connsiteX26" fmla="*/ 100364 w 111928"/>
                    <a:gd name="connsiteY26" fmla="*/ 75735 h 129556"/>
                    <a:gd name="connsiteX27" fmla="*/ 101171 w 111928"/>
                    <a:gd name="connsiteY27" fmla="*/ 73780 h 129556"/>
                    <a:gd name="connsiteX28" fmla="*/ 101489 w 111928"/>
                    <a:gd name="connsiteY28" fmla="*/ 71123 h 129556"/>
                    <a:gd name="connsiteX29" fmla="*/ 101114 w 111928"/>
                    <a:gd name="connsiteY29" fmla="*/ 69729 h 129556"/>
                    <a:gd name="connsiteX30" fmla="*/ 100323 w 111928"/>
                    <a:gd name="connsiteY30" fmla="*/ 72761 h 129556"/>
                    <a:gd name="connsiteX31" fmla="*/ 98921 w 111928"/>
                    <a:gd name="connsiteY31" fmla="*/ 74122 h 129556"/>
                    <a:gd name="connsiteX32" fmla="*/ 98009 w 111928"/>
                    <a:gd name="connsiteY32" fmla="*/ 74586 h 129556"/>
                    <a:gd name="connsiteX33" fmla="*/ 97129 w 111928"/>
                    <a:gd name="connsiteY33" fmla="*/ 76118 h 129556"/>
                    <a:gd name="connsiteX34" fmla="*/ 98066 w 111928"/>
                    <a:gd name="connsiteY34" fmla="*/ 79004 h 129556"/>
                    <a:gd name="connsiteX35" fmla="*/ 99280 w 111928"/>
                    <a:gd name="connsiteY35" fmla="*/ 81114 h 129556"/>
                    <a:gd name="connsiteX36" fmla="*/ 99680 w 111928"/>
                    <a:gd name="connsiteY36" fmla="*/ 82630 h 129556"/>
                    <a:gd name="connsiteX37" fmla="*/ 99231 w 111928"/>
                    <a:gd name="connsiteY37" fmla="*/ 84431 h 129556"/>
                    <a:gd name="connsiteX38" fmla="*/ 98954 w 111928"/>
                    <a:gd name="connsiteY38" fmla="*/ 90584 h 129556"/>
                    <a:gd name="connsiteX39" fmla="*/ 98522 w 111928"/>
                    <a:gd name="connsiteY39" fmla="*/ 90421 h 129556"/>
                    <a:gd name="connsiteX40" fmla="*/ 98082 w 111928"/>
                    <a:gd name="connsiteY40" fmla="*/ 89582 h 129556"/>
                    <a:gd name="connsiteX41" fmla="*/ 96802 w 111928"/>
                    <a:gd name="connsiteY41" fmla="*/ 89533 h 129556"/>
                    <a:gd name="connsiteX42" fmla="*/ 96648 w 111928"/>
                    <a:gd name="connsiteY42" fmla="*/ 92011 h 129556"/>
                    <a:gd name="connsiteX43" fmla="*/ 96754 w 111928"/>
                    <a:gd name="connsiteY43" fmla="*/ 93388 h 129556"/>
                    <a:gd name="connsiteX44" fmla="*/ 95662 w 111928"/>
                    <a:gd name="connsiteY44" fmla="*/ 94464 h 129556"/>
                    <a:gd name="connsiteX45" fmla="*/ 95270 w 111928"/>
                    <a:gd name="connsiteY45" fmla="*/ 95531 h 129556"/>
                    <a:gd name="connsiteX46" fmla="*/ 96167 w 111928"/>
                    <a:gd name="connsiteY46" fmla="*/ 96281 h 129556"/>
                    <a:gd name="connsiteX47" fmla="*/ 97145 w 111928"/>
                    <a:gd name="connsiteY47" fmla="*/ 96729 h 129556"/>
                    <a:gd name="connsiteX48" fmla="*/ 98351 w 111928"/>
                    <a:gd name="connsiteY48" fmla="*/ 96631 h 129556"/>
                    <a:gd name="connsiteX49" fmla="*/ 99353 w 111928"/>
                    <a:gd name="connsiteY49" fmla="*/ 99680 h 129556"/>
                    <a:gd name="connsiteX50" fmla="*/ 99663 w 111928"/>
                    <a:gd name="connsiteY50" fmla="*/ 102149 h 129556"/>
                    <a:gd name="connsiteX51" fmla="*/ 97349 w 111928"/>
                    <a:gd name="connsiteY51" fmla="*/ 104439 h 129556"/>
                    <a:gd name="connsiteX52" fmla="*/ 96574 w 111928"/>
                    <a:gd name="connsiteY52" fmla="*/ 106330 h 129556"/>
                    <a:gd name="connsiteX53" fmla="*/ 95262 w 111928"/>
                    <a:gd name="connsiteY53" fmla="*/ 108620 h 129556"/>
                    <a:gd name="connsiteX54" fmla="*/ 94521 w 111928"/>
                    <a:gd name="connsiteY54" fmla="*/ 110877 h 129556"/>
                    <a:gd name="connsiteX55" fmla="*/ 94309 w 111928"/>
                    <a:gd name="connsiteY55" fmla="*/ 112499 h 129556"/>
                    <a:gd name="connsiteX56" fmla="*/ 95197 w 111928"/>
                    <a:gd name="connsiteY56" fmla="*/ 117625 h 129556"/>
                    <a:gd name="connsiteX57" fmla="*/ 96786 w 111928"/>
                    <a:gd name="connsiteY57" fmla="*/ 121252 h 129556"/>
                    <a:gd name="connsiteX58" fmla="*/ 98123 w 111928"/>
                    <a:gd name="connsiteY58" fmla="*/ 123566 h 129556"/>
                    <a:gd name="connsiteX59" fmla="*/ 99908 w 111928"/>
                    <a:gd name="connsiteY59" fmla="*/ 124063 h 129556"/>
                    <a:gd name="connsiteX60" fmla="*/ 99484 w 111928"/>
                    <a:gd name="connsiteY60" fmla="*/ 126492 h 129556"/>
                    <a:gd name="connsiteX61" fmla="*/ 98155 w 111928"/>
                    <a:gd name="connsiteY61" fmla="*/ 128032 h 129556"/>
                    <a:gd name="connsiteX62" fmla="*/ 95711 w 111928"/>
                    <a:gd name="connsiteY62" fmla="*/ 129320 h 129556"/>
                    <a:gd name="connsiteX63" fmla="*/ 93029 w 111928"/>
                    <a:gd name="connsiteY63" fmla="*/ 129556 h 129556"/>
                    <a:gd name="connsiteX64" fmla="*/ 88645 w 111928"/>
                    <a:gd name="connsiteY64" fmla="*/ 128342 h 129556"/>
                    <a:gd name="connsiteX65" fmla="*/ 86852 w 111928"/>
                    <a:gd name="connsiteY65" fmla="*/ 128195 h 129556"/>
                    <a:gd name="connsiteX66" fmla="*/ 86151 w 111928"/>
                    <a:gd name="connsiteY66" fmla="*/ 127560 h 129556"/>
                    <a:gd name="connsiteX67" fmla="*/ 85947 w 111928"/>
                    <a:gd name="connsiteY67" fmla="*/ 126362 h 129556"/>
                    <a:gd name="connsiteX68" fmla="*/ 84692 w 111928"/>
                    <a:gd name="connsiteY68" fmla="*/ 124560 h 129556"/>
                    <a:gd name="connsiteX69" fmla="*/ 82386 w 111928"/>
                    <a:gd name="connsiteY69" fmla="*/ 122173 h 129556"/>
                    <a:gd name="connsiteX70" fmla="*/ 81057 w 111928"/>
                    <a:gd name="connsiteY70" fmla="*/ 122336 h 129556"/>
                    <a:gd name="connsiteX71" fmla="*/ 78898 w 111928"/>
                    <a:gd name="connsiteY71" fmla="*/ 121814 h 129556"/>
                    <a:gd name="connsiteX72" fmla="*/ 75295 w 111928"/>
                    <a:gd name="connsiteY72" fmla="*/ 120192 h 129556"/>
                    <a:gd name="connsiteX73" fmla="*/ 73641 w 111928"/>
                    <a:gd name="connsiteY73" fmla="*/ 119988 h 129556"/>
                    <a:gd name="connsiteX74" fmla="*/ 71253 w 111928"/>
                    <a:gd name="connsiteY74" fmla="*/ 121390 h 129556"/>
                    <a:gd name="connsiteX75" fmla="*/ 68474 w 111928"/>
                    <a:gd name="connsiteY75" fmla="*/ 123216 h 129556"/>
                    <a:gd name="connsiteX76" fmla="*/ 61783 w 111928"/>
                    <a:gd name="connsiteY76" fmla="*/ 120363 h 129556"/>
                    <a:gd name="connsiteX77" fmla="*/ 57089 w 111928"/>
                    <a:gd name="connsiteY77" fmla="*/ 118350 h 129556"/>
                    <a:gd name="connsiteX78" fmla="*/ 52859 w 111928"/>
                    <a:gd name="connsiteY78" fmla="*/ 116533 h 129556"/>
                    <a:gd name="connsiteX79" fmla="*/ 51743 w 111928"/>
                    <a:gd name="connsiteY79" fmla="*/ 115840 h 129556"/>
                    <a:gd name="connsiteX80" fmla="*/ 50814 w 111928"/>
                    <a:gd name="connsiteY80" fmla="*/ 115987 h 129556"/>
                    <a:gd name="connsiteX81" fmla="*/ 50015 w 111928"/>
                    <a:gd name="connsiteY81" fmla="*/ 116941 h 129556"/>
                    <a:gd name="connsiteX82" fmla="*/ 49102 w 111928"/>
                    <a:gd name="connsiteY82" fmla="*/ 118619 h 129556"/>
                    <a:gd name="connsiteX83" fmla="*/ 48792 w 111928"/>
                    <a:gd name="connsiteY83" fmla="*/ 119100 h 129556"/>
                    <a:gd name="connsiteX84" fmla="*/ 48312 w 111928"/>
                    <a:gd name="connsiteY84" fmla="*/ 119565 h 129556"/>
                    <a:gd name="connsiteX85" fmla="*/ 47766 w 111928"/>
                    <a:gd name="connsiteY85" fmla="*/ 119687 h 129556"/>
                    <a:gd name="connsiteX86" fmla="*/ 47741 w 111928"/>
                    <a:gd name="connsiteY86" fmla="*/ 118888 h 129556"/>
                    <a:gd name="connsiteX87" fmla="*/ 45679 w 111928"/>
                    <a:gd name="connsiteY87" fmla="*/ 115563 h 129556"/>
                    <a:gd name="connsiteX88" fmla="*/ 42387 w 111928"/>
                    <a:gd name="connsiteY88" fmla="*/ 111545 h 129556"/>
                    <a:gd name="connsiteX89" fmla="*/ 29795 w 111928"/>
                    <a:gd name="connsiteY89" fmla="*/ 99239 h 129556"/>
                    <a:gd name="connsiteX90" fmla="*/ 25166 w 111928"/>
                    <a:gd name="connsiteY90" fmla="*/ 91880 h 129556"/>
                    <a:gd name="connsiteX91" fmla="*/ 22681 w 111928"/>
                    <a:gd name="connsiteY91" fmla="*/ 86583 h 129556"/>
                    <a:gd name="connsiteX92" fmla="*/ 20317 w 111928"/>
                    <a:gd name="connsiteY92" fmla="*/ 83820 h 129556"/>
                    <a:gd name="connsiteX93" fmla="*/ 13520 w 111928"/>
                    <a:gd name="connsiteY93" fmla="*/ 78172 h 129556"/>
                    <a:gd name="connsiteX94" fmla="*/ 11948 w 111928"/>
                    <a:gd name="connsiteY94" fmla="*/ 75923 h 129556"/>
                    <a:gd name="connsiteX95" fmla="*/ 5208 w 111928"/>
                    <a:gd name="connsiteY95" fmla="*/ 68376 h 129556"/>
                    <a:gd name="connsiteX96" fmla="*/ 65 w 111928"/>
                    <a:gd name="connsiteY96" fmla="*/ 63951 h 129556"/>
                    <a:gd name="connsiteX97" fmla="*/ 0 w 111928"/>
                    <a:gd name="connsiteY97" fmla="*/ 62068 h 129556"/>
                    <a:gd name="connsiteX98" fmla="*/ 2111 w 111928"/>
                    <a:gd name="connsiteY98" fmla="*/ 59713 h 129556"/>
                    <a:gd name="connsiteX99" fmla="*/ 3146 w 111928"/>
                    <a:gd name="connsiteY99" fmla="*/ 59819 h 129556"/>
                    <a:gd name="connsiteX100" fmla="*/ 4279 w 111928"/>
                    <a:gd name="connsiteY100" fmla="*/ 61506 h 129556"/>
                    <a:gd name="connsiteX101" fmla="*/ 6096 w 111928"/>
                    <a:gd name="connsiteY101" fmla="*/ 63413 h 129556"/>
                    <a:gd name="connsiteX102" fmla="*/ 6960 w 111928"/>
                    <a:gd name="connsiteY102" fmla="*/ 63430 h 129556"/>
                    <a:gd name="connsiteX103" fmla="*/ 8223 w 111928"/>
                    <a:gd name="connsiteY103" fmla="*/ 62541 h 129556"/>
                    <a:gd name="connsiteX104" fmla="*/ 8256 w 111928"/>
                    <a:gd name="connsiteY104" fmla="*/ 61653 h 129556"/>
                    <a:gd name="connsiteX105" fmla="*/ 15150 w 111928"/>
                    <a:gd name="connsiteY105" fmla="*/ 61286 h 129556"/>
                    <a:gd name="connsiteX106" fmla="*/ 16389 w 111928"/>
                    <a:gd name="connsiteY106" fmla="*/ 60789 h 129556"/>
                    <a:gd name="connsiteX107" fmla="*/ 17644 w 111928"/>
                    <a:gd name="connsiteY107" fmla="*/ 59395 h 129556"/>
                    <a:gd name="connsiteX108" fmla="*/ 18280 w 111928"/>
                    <a:gd name="connsiteY108" fmla="*/ 57456 h 129556"/>
                    <a:gd name="connsiteX109" fmla="*/ 18386 w 111928"/>
                    <a:gd name="connsiteY109" fmla="*/ 55581 h 129556"/>
                    <a:gd name="connsiteX110" fmla="*/ 18655 w 111928"/>
                    <a:gd name="connsiteY110" fmla="*/ 54236 h 129556"/>
                    <a:gd name="connsiteX111" fmla="*/ 19755 w 111928"/>
                    <a:gd name="connsiteY111" fmla="*/ 52941 h 129556"/>
                    <a:gd name="connsiteX112" fmla="*/ 21776 w 111928"/>
                    <a:gd name="connsiteY112" fmla="*/ 52541 h 129556"/>
                    <a:gd name="connsiteX113" fmla="*/ 23333 w 111928"/>
                    <a:gd name="connsiteY113" fmla="*/ 52395 h 129556"/>
                    <a:gd name="connsiteX114" fmla="*/ 23797 w 111928"/>
                    <a:gd name="connsiteY114" fmla="*/ 51523 h 129556"/>
                    <a:gd name="connsiteX115" fmla="*/ 23325 w 111928"/>
                    <a:gd name="connsiteY115" fmla="*/ 48670 h 129556"/>
                    <a:gd name="connsiteX116" fmla="*/ 22485 w 111928"/>
                    <a:gd name="connsiteY116" fmla="*/ 41751 h 129556"/>
                    <a:gd name="connsiteX117" fmla="*/ 22314 w 111928"/>
                    <a:gd name="connsiteY117" fmla="*/ 39820 h 129556"/>
                    <a:gd name="connsiteX118" fmla="*/ 22599 w 111928"/>
                    <a:gd name="connsiteY118" fmla="*/ 38377 h 129556"/>
                    <a:gd name="connsiteX119" fmla="*/ 23235 w 111928"/>
                    <a:gd name="connsiteY119" fmla="*/ 37856 h 129556"/>
                    <a:gd name="connsiteX120" fmla="*/ 26291 w 111928"/>
                    <a:gd name="connsiteY120" fmla="*/ 37505 h 129556"/>
                    <a:gd name="connsiteX121" fmla="*/ 32077 w 111928"/>
                    <a:gd name="connsiteY121" fmla="*/ 38092 h 129556"/>
                    <a:gd name="connsiteX122" fmla="*/ 33194 w 111928"/>
                    <a:gd name="connsiteY122" fmla="*/ 37652 h 129556"/>
                    <a:gd name="connsiteX123" fmla="*/ 35517 w 111928"/>
                    <a:gd name="connsiteY123" fmla="*/ 33715 h 129556"/>
                    <a:gd name="connsiteX124" fmla="*/ 37676 w 111928"/>
                    <a:gd name="connsiteY124" fmla="*/ 30831 h 129556"/>
                    <a:gd name="connsiteX125" fmla="*/ 39208 w 111928"/>
                    <a:gd name="connsiteY125" fmla="*/ 29535 h 129556"/>
                    <a:gd name="connsiteX126" fmla="*/ 40423 w 111928"/>
                    <a:gd name="connsiteY126" fmla="*/ 29144 h 129556"/>
                    <a:gd name="connsiteX127" fmla="*/ 41825 w 111928"/>
                    <a:gd name="connsiteY127" fmla="*/ 31711 h 129556"/>
                    <a:gd name="connsiteX128" fmla="*/ 46714 w 111928"/>
                    <a:gd name="connsiteY128" fmla="*/ 35394 h 129556"/>
                    <a:gd name="connsiteX129" fmla="*/ 47546 w 111928"/>
                    <a:gd name="connsiteY129" fmla="*/ 35158 h 129556"/>
                    <a:gd name="connsiteX130" fmla="*/ 48026 w 111928"/>
                    <a:gd name="connsiteY130" fmla="*/ 34962 h 129556"/>
                    <a:gd name="connsiteX131" fmla="*/ 48173 w 111928"/>
                    <a:gd name="connsiteY131" fmla="*/ 34433 h 129556"/>
                    <a:gd name="connsiteX132" fmla="*/ 48092 w 111928"/>
                    <a:gd name="connsiteY132" fmla="*/ 32737 h 129556"/>
                    <a:gd name="connsiteX133" fmla="*/ 49314 w 111928"/>
                    <a:gd name="connsiteY133" fmla="*/ 31197 h 129556"/>
                    <a:gd name="connsiteX134" fmla="*/ 51849 w 111928"/>
                    <a:gd name="connsiteY134" fmla="*/ 29804 h 129556"/>
                    <a:gd name="connsiteX135" fmla="*/ 54391 w 111928"/>
                    <a:gd name="connsiteY135" fmla="*/ 27367 h 129556"/>
                    <a:gd name="connsiteX136" fmla="*/ 56959 w 111928"/>
                    <a:gd name="connsiteY136" fmla="*/ 23854 h 129556"/>
                    <a:gd name="connsiteX137" fmla="*/ 59175 w 111928"/>
                    <a:gd name="connsiteY137" fmla="*/ 21801 h 129556"/>
                    <a:gd name="connsiteX138" fmla="*/ 61058 w 111928"/>
                    <a:gd name="connsiteY138" fmla="*/ 21181 h 129556"/>
                    <a:gd name="connsiteX139" fmla="*/ 61775 w 111928"/>
                    <a:gd name="connsiteY139" fmla="*/ 20228 h 129556"/>
                    <a:gd name="connsiteX140" fmla="*/ 61327 w 111928"/>
                    <a:gd name="connsiteY140" fmla="*/ 18932 h 129556"/>
                    <a:gd name="connsiteX141" fmla="*/ 61473 w 111928"/>
                    <a:gd name="connsiteY141" fmla="*/ 17090 h 129556"/>
                    <a:gd name="connsiteX142" fmla="*/ 62223 w 111928"/>
                    <a:gd name="connsiteY142" fmla="*/ 14694 h 129556"/>
                    <a:gd name="connsiteX143" fmla="*/ 63324 w 111928"/>
                    <a:gd name="connsiteY143" fmla="*/ 13317 h 129556"/>
                    <a:gd name="connsiteX144" fmla="*/ 64750 w 111928"/>
                    <a:gd name="connsiteY144" fmla="*/ 12942 h 129556"/>
                    <a:gd name="connsiteX145" fmla="*/ 65320 w 111928"/>
                    <a:gd name="connsiteY145" fmla="*/ 12184 h 129556"/>
                    <a:gd name="connsiteX146" fmla="*/ 65019 w 111928"/>
                    <a:gd name="connsiteY146" fmla="*/ 11059 h 129556"/>
                    <a:gd name="connsiteX147" fmla="*/ 65296 w 111928"/>
                    <a:gd name="connsiteY147" fmla="*/ 9821 h 129556"/>
                    <a:gd name="connsiteX148" fmla="*/ 66591 w 111928"/>
                    <a:gd name="connsiteY148" fmla="*/ 7783 h 129556"/>
                    <a:gd name="connsiteX149" fmla="*/ 69688 w 111928"/>
                    <a:gd name="connsiteY149" fmla="*/ 6031 h 129556"/>
                    <a:gd name="connsiteX150" fmla="*/ 71457 w 111928"/>
                    <a:gd name="connsiteY150" fmla="*/ 6626 h 129556"/>
                    <a:gd name="connsiteX151" fmla="*/ 72932 w 111928"/>
                    <a:gd name="connsiteY151" fmla="*/ 8965 h 129556"/>
                    <a:gd name="connsiteX152" fmla="*/ 75010 w 111928"/>
                    <a:gd name="connsiteY152" fmla="*/ 10554 h 129556"/>
                    <a:gd name="connsiteX153" fmla="*/ 77692 w 111928"/>
                    <a:gd name="connsiteY153" fmla="*/ 11402 h 129556"/>
                    <a:gd name="connsiteX154" fmla="*/ 79778 w 111928"/>
                    <a:gd name="connsiteY154" fmla="*/ 11092 h 129556"/>
                    <a:gd name="connsiteX155" fmla="*/ 81261 w 111928"/>
                    <a:gd name="connsiteY155" fmla="*/ 9625 h 129556"/>
                    <a:gd name="connsiteX156" fmla="*/ 82606 w 111928"/>
                    <a:gd name="connsiteY156" fmla="*/ 9177 h 129556"/>
                    <a:gd name="connsiteX157" fmla="*/ 83787 w 111928"/>
                    <a:gd name="connsiteY157" fmla="*/ 9763 h 129556"/>
                    <a:gd name="connsiteX158" fmla="*/ 84423 w 111928"/>
                    <a:gd name="connsiteY158" fmla="*/ 9438 h 129556"/>
                    <a:gd name="connsiteX159" fmla="*/ 84480 w 111928"/>
                    <a:gd name="connsiteY159" fmla="*/ 8207 h 129556"/>
                    <a:gd name="connsiteX160" fmla="*/ 85100 w 111928"/>
                    <a:gd name="connsiteY160" fmla="*/ 7913 h 129556"/>
                    <a:gd name="connsiteX161" fmla="*/ 86257 w 111928"/>
                    <a:gd name="connsiteY161" fmla="*/ 8582 h 129556"/>
                    <a:gd name="connsiteX162" fmla="*/ 87292 w 111928"/>
                    <a:gd name="connsiteY162" fmla="*/ 8753 h 129556"/>
                    <a:gd name="connsiteX163" fmla="*/ 88188 w 111928"/>
                    <a:gd name="connsiteY163" fmla="*/ 8435 h 129556"/>
                    <a:gd name="connsiteX164" fmla="*/ 88539 w 111928"/>
                    <a:gd name="connsiteY164" fmla="*/ 7832 h 129556"/>
                    <a:gd name="connsiteX165" fmla="*/ 88726 w 111928"/>
                    <a:gd name="connsiteY165" fmla="*/ 7221 h 129556"/>
                    <a:gd name="connsiteX166" fmla="*/ 89394 w 111928"/>
                    <a:gd name="connsiteY166" fmla="*/ 6756 h 129556"/>
                    <a:gd name="connsiteX167" fmla="*/ 91717 w 111928"/>
                    <a:gd name="connsiteY167" fmla="*/ 7213 h 129556"/>
                    <a:gd name="connsiteX168" fmla="*/ 94325 w 111928"/>
                    <a:gd name="connsiteY168" fmla="*/ 6504 h 129556"/>
                    <a:gd name="connsiteX169" fmla="*/ 97210 w 111928"/>
                    <a:gd name="connsiteY169" fmla="*/ 4621 h 129556"/>
                    <a:gd name="connsiteX170" fmla="*/ 99125 w 111928"/>
                    <a:gd name="connsiteY170" fmla="*/ 3790 h 129556"/>
                    <a:gd name="connsiteX171" fmla="*/ 100071 w 111928"/>
                    <a:gd name="connsiteY171" fmla="*/ 4001 h 129556"/>
                    <a:gd name="connsiteX172" fmla="*/ 101212 w 111928"/>
                    <a:gd name="connsiteY172" fmla="*/ 3064 h 129556"/>
                    <a:gd name="connsiteX173" fmla="*/ 102532 w 111928"/>
                    <a:gd name="connsiteY173" fmla="*/ 945 h 129556"/>
                    <a:gd name="connsiteX174" fmla="*/ 105539 w 111928"/>
                    <a:gd name="connsiteY174" fmla="*/ 0 h 12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11928" h="129556">
                      <a:moveTo>
                        <a:pt x="111929" y="448"/>
                      </a:moveTo>
                      <a:lnTo>
                        <a:pt x="111236" y="1565"/>
                      </a:lnTo>
                      <a:lnTo>
                        <a:pt x="110478" y="2298"/>
                      </a:lnTo>
                      <a:lnTo>
                        <a:pt x="108889" y="5941"/>
                      </a:lnTo>
                      <a:lnTo>
                        <a:pt x="108343" y="6267"/>
                      </a:lnTo>
                      <a:lnTo>
                        <a:pt x="108237" y="3570"/>
                      </a:lnTo>
                      <a:lnTo>
                        <a:pt x="107291" y="3227"/>
                      </a:lnTo>
                      <a:lnTo>
                        <a:pt x="106183" y="4181"/>
                      </a:lnTo>
                      <a:lnTo>
                        <a:pt x="105572" y="5558"/>
                      </a:lnTo>
                      <a:lnTo>
                        <a:pt x="106533" y="7368"/>
                      </a:lnTo>
                      <a:lnTo>
                        <a:pt x="107381" y="7384"/>
                      </a:lnTo>
                      <a:lnTo>
                        <a:pt x="108408" y="7881"/>
                      </a:lnTo>
                      <a:lnTo>
                        <a:pt x="111170" y="20326"/>
                      </a:lnTo>
                      <a:lnTo>
                        <a:pt x="110576" y="22550"/>
                      </a:lnTo>
                      <a:lnTo>
                        <a:pt x="108872" y="25998"/>
                      </a:lnTo>
                      <a:lnTo>
                        <a:pt x="107234" y="28932"/>
                      </a:lnTo>
                      <a:lnTo>
                        <a:pt x="105604" y="30773"/>
                      </a:lnTo>
                      <a:lnTo>
                        <a:pt x="103591" y="38597"/>
                      </a:lnTo>
                      <a:lnTo>
                        <a:pt x="101758" y="51311"/>
                      </a:lnTo>
                      <a:lnTo>
                        <a:pt x="103070" y="62720"/>
                      </a:lnTo>
                      <a:lnTo>
                        <a:pt x="102410" y="73266"/>
                      </a:lnTo>
                      <a:lnTo>
                        <a:pt x="102980" y="75752"/>
                      </a:lnTo>
                      <a:lnTo>
                        <a:pt x="103159" y="78849"/>
                      </a:lnTo>
                      <a:lnTo>
                        <a:pt x="101806" y="79411"/>
                      </a:lnTo>
                      <a:lnTo>
                        <a:pt x="101057" y="79313"/>
                      </a:lnTo>
                      <a:lnTo>
                        <a:pt x="100274" y="77414"/>
                      </a:lnTo>
                      <a:lnTo>
                        <a:pt x="100364" y="75735"/>
                      </a:lnTo>
                      <a:lnTo>
                        <a:pt x="101171" y="73780"/>
                      </a:lnTo>
                      <a:lnTo>
                        <a:pt x="101489" y="71123"/>
                      </a:lnTo>
                      <a:lnTo>
                        <a:pt x="101114" y="69729"/>
                      </a:lnTo>
                      <a:lnTo>
                        <a:pt x="100323" y="72761"/>
                      </a:lnTo>
                      <a:lnTo>
                        <a:pt x="98921" y="74122"/>
                      </a:lnTo>
                      <a:lnTo>
                        <a:pt x="98009" y="74586"/>
                      </a:lnTo>
                      <a:lnTo>
                        <a:pt x="97129" y="76118"/>
                      </a:lnTo>
                      <a:lnTo>
                        <a:pt x="98066" y="79004"/>
                      </a:lnTo>
                      <a:lnTo>
                        <a:pt x="99280" y="81114"/>
                      </a:lnTo>
                      <a:lnTo>
                        <a:pt x="99680" y="82630"/>
                      </a:lnTo>
                      <a:lnTo>
                        <a:pt x="99231" y="84431"/>
                      </a:lnTo>
                      <a:lnTo>
                        <a:pt x="98954" y="90584"/>
                      </a:lnTo>
                      <a:lnTo>
                        <a:pt x="98522" y="90421"/>
                      </a:lnTo>
                      <a:lnTo>
                        <a:pt x="98082" y="89582"/>
                      </a:lnTo>
                      <a:lnTo>
                        <a:pt x="96802" y="89533"/>
                      </a:lnTo>
                      <a:lnTo>
                        <a:pt x="96648" y="92011"/>
                      </a:lnTo>
                      <a:lnTo>
                        <a:pt x="96754" y="93388"/>
                      </a:lnTo>
                      <a:lnTo>
                        <a:pt x="95662" y="94464"/>
                      </a:lnTo>
                      <a:lnTo>
                        <a:pt x="95270" y="95531"/>
                      </a:lnTo>
                      <a:lnTo>
                        <a:pt x="96167" y="96281"/>
                      </a:lnTo>
                      <a:lnTo>
                        <a:pt x="97145" y="96729"/>
                      </a:lnTo>
                      <a:lnTo>
                        <a:pt x="98351" y="96631"/>
                      </a:lnTo>
                      <a:lnTo>
                        <a:pt x="99353" y="99680"/>
                      </a:lnTo>
                      <a:lnTo>
                        <a:pt x="99663" y="102149"/>
                      </a:lnTo>
                      <a:lnTo>
                        <a:pt x="97349" y="104439"/>
                      </a:lnTo>
                      <a:lnTo>
                        <a:pt x="96574" y="106330"/>
                      </a:lnTo>
                      <a:lnTo>
                        <a:pt x="95262" y="108620"/>
                      </a:lnTo>
                      <a:lnTo>
                        <a:pt x="94521" y="110877"/>
                      </a:lnTo>
                      <a:lnTo>
                        <a:pt x="94309" y="112499"/>
                      </a:lnTo>
                      <a:lnTo>
                        <a:pt x="95197" y="117625"/>
                      </a:lnTo>
                      <a:lnTo>
                        <a:pt x="96786" y="121252"/>
                      </a:lnTo>
                      <a:lnTo>
                        <a:pt x="98123" y="123566"/>
                      </a:lnTo>
                      <a:lnTo>
                        <a:pt x="99908" y="124063"/>
                      </a:lnTo>
                      <a:lnTo>
                        <a:pt x="99484" y="126492"/>
                      </a:lnTo>
                      <a:lnTo>
                        <a:pt x="98155" y="128032"/>
                      </a:lnTo>
                      <a:lnTo>
                        <a:pt x="95711" y="129320"/>
                      </a:lnTo>
                      <a:lnTo>
                        <a:pt x="93029" y="129556"/>
                      </a:lnTo>
                      <a:lnTo>
                        <a:pt x="88645" y="128342"/>
                      </a:lnTo>
                      <a:lnTo>
                        <a:pt x="86852" y="128195"/>
                      </a:lnTo>
                      <a:lnTo>
                        <a:pt x="86151" y="127560"/>
                      </a:lnTo>
                      <a:lnTo>
                        <a:pt x="85947" y="126362"/>
                      </a:lnTo>
                      <a:lnTo>
                        <a:pt x="84692" y="124560"/>
                      </a:lnTo>
                      <a:lnTo>
                        <a:pt x="82386" y="122173"/>
                      </a:lnTo>
                      <a:lnTo>
                        <a:pt x="81057" y="122336"/>
                      </a:lnTo>
                      <a:lnTo>
                        <a:pt x="78898" y="121814"/>
                      </a:lnTo>
                      <a:lnTo>
                        <a:pt x="75295" y="120192"/>
                      </a:lnTo>
                      <a:lnTo>
                        <a:pt x="73641" y="119988"/>
                      </a:lnTo>
                      <a:lnTo>
                        <a:pt x="71253" y="121390"/>
                      </a:lnTo>
                      <a:lnTo>
                        <a:pt x="68474" y="123216"/>
                      </a:lnTo>
                      <a:lnTo>
                        <a:pt x="61783" y="120363"/>
                      </a:lnTo>
                      <a:lnTo>
                        <a:pt x="57089" y="118350"/>
                      </a:lnTo>
                      <a:lnTo>
                        <a:pt x="52859" y="116533"/>
                      </a:lnTo>
                      <a:lnTo>
                        <a:pt x="51743" y="115840"/>
                      </a:lnTo>
                      <a:lnTo>
                        <a:pt x="50814" y="115987"/>
                      </a:lnTo>
                      <a:lnTo>
                        <a:pt x="50015" y="116941"/>
                      </a:lnTo>
                      <a:lnTo>
                        <a:pt x="49102" y="118619"/>
                      </a:lnTo>
                      <a:lnTo>
                        <a:pt x="48792" y="119100"/>
                      </a:lnTo>
                      <a:lnTo>
                        <a:pt x="48312" y="119565"/>
                      </a:lnTo>
                      <a:lnTo>
                        <a:pt x="47766" y="119687"/>
                      </a:lnTo>
                      <a:lnTo>
                        <a:pt x="47741" y="118888"/>
                      </a:lnTo>
                      <a:lnTo>
                        <a:pt x="45679" y="115563"/>
                      </a:lnTo>
                      <a:lnTo>
                        <a:pt x="42387" y="111545"/>
                      </a:lnTo>
                      <a:lnTo>
                        <a:pt x="29795" y="99239"/>
                      </a:lnTo>
                      <a:lnTo>
                        <a:pt x="25166" y="91880"/>
                      </a:lnTo>
                      <a:lnTo>
                        <a:pt x="22681" y="86583"/>
                      </a:lnTo>
                      <a:lnTo>
                        <a:pt x="20317" y="83820"/>
                      </a:lnTo>
                      <a:lnTo>
                        <a:pt x="13520" y="78172"/>
                      </a:lnTo>
                      <a:lnTo>
                        <a:pt x="11948" y="75923"/>
                      </a:lnTo>
                      <a:lnTo>
                        <a:pt x="5208" y="68376"/>
                      </a:lnTo>
                      <a:lnTo>
                        <a:pt x="65" y="63951"/>
                      </a:lnTo>
                      <a:lnTo>
                        <a:pt x="0" y="62068"/>
                      </a:lnTo>
                      <a:lnTo>
                        <a:pt x="2111" y="59713"/>
                      </a:lnTo>
                      <a:lnTo>
                        <a:pt x="3146" y="59819"/>
                      </a:lnTo>
                      <a:lnTo>
                        <a:pt x="4279" y="61506"/>
                      </a:lnTo>
                      <a:lnTo>
                        <a:pt x="6096" y="63413"/>
                      </a:lnTo>
                      <a:lnTo>
                        <a:pt x="6960" y="63430"/>
                      </a:lnTo>
                      <a:lnTo>
                        <a:pt x="8223" y="62541"/>
                      </a:lnTo>
                      <a:lnTo>
                        <a:pt x="8256" y="61653"/>
                      </a:lnTo>
                      <a:lnTo>
                        <a:pt x="15150" y="61286"/>
                      </a:lnTo>
                      <a:lnTo>
                        <a:pt x="16389" y="60789"/>
                      </a:lnTo>
                      <a:lnTo>
                        <a:pt x="17644" y="59395"/>
                      </a:lnTo>
                      <a:lnTo>
                        <a:pt x="18280" y="57456"/>
                      </a:lnTo>
                      <a:lnTo>
                        <a:pt x="18386" y="55581"/>
                      </a:lnTo>
                      <a:lnTo>
                        <a:pt x="18655" y="54236"/>
                      </a:lnTo>
                      <a:lnTo>
                        <a:pt x="19755" y="52941"/>
                      </a:lnTo>
                      <a:lnTo>
                        <a:pt x="21776" y="52541"/>
                      </a:lnTo>
                      <a:lnTo>
                        <a:pt x="23333" y="52395"/>
                      </a:lnTo>
                      <a:lnTo>
                        <a:pt x="23797" y="51523"/>
                      </a:lnTo>
                      <a:lnTo>
                        <a:pt x="23325" y="48670"/>
                      </a:lnTo>
                      <a:lnTo>
                        <a:pt x="22485" y="41751"/>
                      </a:lnTo>
                      <a:lnTo>
                        <a:pt x="22314" y="39820"/>
                      </a:lnTo>
                      <a:lnTo>
                        <a:pt x="22599" y="38377"/>
                      </a:lnTo>
                      <a:lnTo>
                        <a:pt x="23235" y="37856"/>
                      </a:lnTo>
                      <a:lnTo>
                        <a:pt x="26291" y="37505"/>
                      </a:lnTo>
                      <a:lnTo>
                        <a:pt x="32077" y="38092"/>
                      </a:lnTo>
                      <a:lnTo>
                        <a:pt x="33194" y="37652"/>
                      </a:lnTo>
                      <a:lnTo>
                        <a:pt x="35517" y="33715"/>
                      </a:lnTo>
                      <a:lnTo>
                        <a:pt x="37676" y="30831"/>
                      </a:lnTo>
                      <a:lnTo>
                        <a:pt x="39208" y="29535"/>
                      </a:lnTo>
                      <a:lnTo>
                        <a:pt x="40423" y="29144"/>
                      </a:lnTo>
                      <a:lnTo>
                        <a:pt x="41825" y="31711"/>
                      </a:lnTo>
                      <a:lnTo>
                        <a:pt x="46714" y="35394"/>
                      </a:lnTo>
                      <a:lnTo>
                        <a:pt x="47546" y="35158"/>
                      </a:lnTo>
                      <a:lnTo>
                        <a:pt x="48026" y="34962"/>
                      </a:lnTo>
                      <a:lnTo>
                        <a:pt x="48173" y="34433"/>
                      </a:lnTo>
                      <a:lnTo>
                        <a:pt x="48092" y="32737"/>
                      </a:lnTo>
                      <a:lnTo>
                        <a:pt x="49314" y="31197"/>
                      </a:lnTo>
                      <a:lnTo>
                        <a:pt x="51849" y="29804"/>
                      </a:lnTo>
                      <a:lnTo>
                        <a:pt x="54391" y="27367"/>
                      </a:lnTo>
                      <a:lnTo>
                        <a:pt x="56959" y="23854"/>
                      </a:lnTo>
                      <a:lnTo>
                        <a:pt x="59175" y="21801"/>
                      </a:lnTo>
                      <a:lnTo>
                        <a:pt x="61058" y="21181"/>
                      </a:lnTo>
                      <a:lnTo>
                        <a:pt x="61775" y="20228"/>
                      </a:lnTo>
                      <a:lnTo>
                        <a:pt x="61327" y="18932"/>
                      </a:lnTo>
                      <a:lnTo>
                        <a:pt x="61473" y="17090"/>
                      </a:lnTo>
                      <a:lnTo>
                        <a:pt x="62223" y="14694"/>
                      </a:lnTo>
                      <a:lnTo>
                        <a:pt x="63324" y="13317"/>
                      </a:lnTo>
                      <a:lnTo>
                        <a:pt x="64750" y="12942"/>
                      </a:lnTo>
                      <a:lnTo>
                        <a:pt x="65320" y="12184"/>
                      </a:lnTo>
                      <a:lnTo>
                        <a:pt x="65019" y="11059"/>
                      </a:lnTo>
                      <a:lnTo>
                        <a:pt x="65296" y="9821"/>
                      </a:lnTo>
                      <a:lnTo>
                        <a:pt x="66591" y="7783"/>
                      </a:lnTo>
                      <a:lnTo>
                        <a:pt x="69688" y="6031"/>
                      </a:lnTo>
                      <a:lnTo>
                        <a:pt x="71457" y="6626"/>
                      </a:lnTo>
                      <a:lnTo>
                        <a:pt x="72932" y="8965"/>
                      </a:lnTo>
                      <a:lnTo>
                        <a:pt x="75010" y="10554"/>
                      </a:lnTo>
                      <a:lnTo>
                        <a:pt x="77692" y="11402"/>
                      </a:lnTo>
                      <a:lnTo>
                        <a:pt x="79778" y="11092"/>
                      </a:lnTo>
                      <a:lnTo>
                        <a:pt x="81261" y="9625"/>
                      </a:lnTo>
                      <a:lnTo>
                        <a:pt x="82606" y="9177"/>
                      </a:lnTo>
                      <a:lnTo>
                        <a:pt x="83787" y="9763"/>
                      </a:lnTo>
                      <a:lnTo>
                        <a:pt x="84423" y="9438"/>
                      </a:lnTo>
                      <a:lnTo>
                        <a:pt x="84480" y="8207"/>
                      </a:lnTo>
                      <a:lnTo>
                        <a:pt x="85100" y="7913"/>
                      </a:lnTo>
                      <a:lnTo>
                        <a:pt x="86257" y="8582"/>
                      </a:lnTo>
                      <a:lnTo>
                        <a:pt x="87292" y="8753"/>
                      </a:lnTo>
                      <a:lnTo>
                        <a:pt x="88188" y="8435"/>
                      </a:lnTo>
                      <a:lnTo>
                        <a:pt x="88539" y="7832"/>
                      </a:lnTo>
                      <a:lnTo>
                        <a:pt x="88726" y="7221"/>
                      </a:lnTo>
                      <a:lnTo>
                        <a:pt x="89394" y="6756"/>
                      </a:lnTo>
                      <a:lnTo>
                        <a:pt x="91717" y="7213"/>
                      </a:lnTo>
                      <a:lnTo>
                        <a:pt x="94325" y="6504"/>
                      </a:lnTo>
                      <a:lnTo>
                        <a:pt x="97210" y="4621"/>
                      </a:lnTo>
                      <a:lnTo>
                        <a:pt x="99125" y="3790"/>
                      </a:lnTo>
                      <a:lnTo>
                        <a:pt x="100071" y="4001"/>
                      </a:lnTo>
                      <a:lnTo>
                        <a:pt x="101212" y="3064"/>
                      </a:lnTo>
                      <a:lnTo>
                        <a:pt x="102532" y="945"/>
                      </a:lnTo>
                      <a:lnTo>
                        <a:pt x="105539" y="0"/>
                      </a:lnTo>
                      <a:close/>
                    </a:path>
                  </a:pathLst>
                </a:custGeom>
                <a:solidFill>
                  <a:srgbClr val="D6D6D2"/>
                </a:solidFill>
                <a:ln w="6112" cap="rnd">
                  <a:solidFill>
                    <a:srgbClr val="FFFFFF"/>
                  </a:solidFill>
                  <a:prstDash val="solid"/>
                  <a:round/>
                </a:ln>
              </p:spPr>
              <p:txBody>
                <a:bodyPr rtlCol="0" anchor="ctr"/>
                <a:lstStyle/>
                <a:p>
                  <a:endParaRPr lang="en-US"/>
                </a:p>
              </p:txBody>
            </p:sp>
            <p:sp>
              <p:nvSpPr>
                <p:cNvPr id="669" name="Freeform: Shape 668">
                  <a:extLst>
                    <a:ext uri="{FF2B5EF4-FFF2-40B4-BE49-F238E27FC236}">
                      <a16:creationId xmlns:a16="http://schemas.microsoft.com/office/drawing/2014/main" id="{14ED1EFB-1C35-4F59-9297-AE53591F6800}"/>
                    </a:ext>
                  </a:extLst>
                </p:cNvPr>
                <p:cNvSpPr/>
                <p:nvPr/>
              </p:nvSpPr>
              <p:spPr>
                <a:xfrm>
                  <a:off x="6010338" y="4107067"/>
                  <a:ext cx="296079" cy="289274"/>
                </a:xfrm>
                <a:custGeom>
                  <a:avLst/>
                  <a:gdLst>
                    <a:gd name="connsiteX0" fmla="*/ 78090 w 296079"/>
                    <a:gd name="connsiteY0" fmla="*/ 3317 h 289274"/>
                    <a:gd name="connsiteX1" fmla="*/ 86672 w 296079"/>
                    <a:gd name="connsiteY1" fmla="*/ 6406 h 289274"/>
                    <a:gd name="connsiteX2" fmla="*/ 88237 w 296079"/>
                    <a:gd name="connsiteY2" fmla="*/ 6121 h 289274"/>
                    <a:gd name="connsiteX3" fmla="*/ 89533 w 296079"/>
                    <a:gd name="connsiteY3" fmla="*/ 6552 h 289274"/>
                    <a:gd name="connsiteX4" fmla="*/ 91684 w 296079"/>
                    <a:gd name="connsiteY4" fmla="*/ 8231 h 289274"/>
                    <a:gd name="connsiteX5" fmla="*/ 94863 w 296079"/>
                    <a:gd name="connsiteY5" fmla="*/ 11817 h 289274"/>
                    <a:gd name="connsiteX6" fmla="*/ 96737 w 296079"/>
                    <a:gd name="connsiteY6" fmla="*/ 14132 h 289274"/>
                    <a:gd name="connsiteX7" fmla="*/ 97642 w 296079"/>
                    <a:gd name="connsiteY7" fmla="*/ 15493 h 289274"/>
                    <a:gd name="connsiteX8" fmla="*/ 102051 w 296079"/>
                    <a:gd name="connsiteY8" fmla="*/ 23276 h 289274"/>
                    <a:gd name="connsiteX9" fmla="*/ 103689 w 296079"/>
                    <a:gd name="connsiteY9" fmla="*/ 25232 h 289274"/>
                    <a:gd name="connsiteX10" fmla="*/ 105343 w 296079"/>
                    <a:gd name="connsiteY10" fmla="*/ 26291 h 289274"/>
                    <a:gd name="connsiteX11" fmla="*/ 107022 w 296079"/>
                    <a:gd name="connsiteY11" fmla="*/ 26674 h 289274"/>
                    <a:gd name="connsiteX12" fmla="*/ 108302 w 296079"/>
                    <a:gd name="connsiteY12" fmla="*/ 26535 h 289274"/>
                    <a:gd name="connsiteX13" fmla="*/ 109532 w 296079"/>
                    <a:gd name="connsiteY13" fmla="*/ 25655 h 289274"/>
                    <a:gd name="connsiteX14" fmla="*/ 111187 w 296079"/>
                    <a:gd name="connsiteY14" fmla="*/ 23919 h 289274"/>
                    <a:gd name="connsiteX15" fmla="*/ 113705 w 296079"/>
                    <a:gd name="connsiteY15" fmla="*/ 23137 h 289274"/>
                    <a:gd name="connsiteX16" fmla="*/ 115767 w 296079"/>
                    <a:gd name="connsiteY16" fmla="*/ 23292 h 289274"/>
                    <a:gd name="connsiteX17" fmla="*/ 126459 w 296079"/>
                    <a:gd name="connsiteY17" fmla="*/ 16291 h 289274"/>
                    <a:gd name="connsiteX18" fmla="*/ 127494 w 296079"/>
                    <a:gd name="connsiteY18" fmla="*/ 16194 h 289274"/>
                    <a:gd name="connsiteX19" fmla="*/ 130608 w 296079"/>
                    <a:gd name="connsiteY19" fmla="*/ 16739 h 289274"/>
                    <a:gd name="connsiteX20" fmla="*/ 134055 w 296079"/>
                    <a:gd name="connsiteY20" fmla="*/ 17701 h 289274"/>
                    <a:gd name="connsiteX21" fmla="*/ 143020 w 296079"/>
                    <a:gd name="connsiteY21" fmla="*/ 24726 h 289274"/>
                    <a:gd name="connsiteX22" fmla="*/ 150322 w 296079"/>
                    <a:gd name="connsiteY22" fmla="*/ 29314 h 289274"/>
                    <a:gd name="connsiteX23" fmla="*/ 155456 w 296079"/>
                    <a:gd name="connsiteY23" fmla="*/ 30855 h 289274"/>
                    <a:gd name="connsiteX24" fmla="*/ 161503 w 296079"/>
                    <a:gd name="connsiteY24" fmla="*/ 31947 h 289274"/>
                    <a:gd name="connsiteX25" fmla="*/ 171780 w 296079"/>
                    <a:gd name="connsiteY25" fmla="*/ 32273 h 289274"/>
                    <a:gd name="connsiteX26" fmla="*/ 179555 w 296079"/>
                    <a:gd name="connsiteY26" fmla="*/ 22428 h 289274"/>
                    <a:gd name="connsiteX27" fmla="*/ 182432 w 296079"/>
                    <a:gd name="connsiteY27" fmla="*/ 20277 h 289274"/>
                    <a:gd name="connsiteX28" fmla="*/ 185895 w 296079"/>
                    <a:gd name="connsiteY28" fmla="*/ 18337 h 289274"/>
                    <a:gd name="connsiteX29" fmla="*/ 187004 w 296079"/>
                    <a:gd name="connsiteY29" fmla="*/ 18003 h 289274"/>
                    <a:gd name="connsiteX30" fmla="*/ 193116 w 296079"/>
                    <a:gd name="connsiteY30" fmla="*/ 16511 h 289274"/>
                    <a:gd name="connsiteX31" fmla="*/ 205096 w 296079"/>
                    <a:gd name="connsiteY31" fmla="*/ 15256 h 289274"/>
                    <a:gd name="connsiteX32" fmla="*/ 216342 w 296079"/>
                    <a:gd name="connsiteY32" fmla="*/ 15794 h 289274"/>
                    <a:gd name="connsiteX33" fmla="*/ 218552 w 296079"/>
                    <a:gd name="connsiteY33" fmla="*/ 16194 h 289274"/>
                    <a:gd name="connsiteX34" fmla="*/ 223319 w 296079"/>
                    <a:gd name="connsiteY34" fmla="*/ 17498 h 289274"/>
                    <a:gd name="connsiteX35" fmla="*/ 230670 w 296079"/>
                    <a:gd name="connsiteY35" fmla="*/ 20708 h 289274"/>
                    <a:gd name="connsiteX36" fmla="*/ 233840 w 296079"/>
                    <a:gd name="connsiteY36" fmla="*/ 23781 h 289274"/>
                    <a:gd name="connsiteX37" fmla="*/ 238836 w 296079"/>
                    <a:gd name="connsiteY37" fmla="*/ 24286 h 289274"/>
                    <a:gd name="connsiteX38" fmla="*/ 242405 w 296079"/>
                    <a:gd name="connsiteY38" fmla="*/ 23683 h 289274"/>
                    <a:gd name="connsiteX39" fmla="*/ 243579 w 296079"/>
                    <a:gd name="connsiteY39" fmla="*/ 20627 h 289274"/>
                    <a:gd name="connsiteX40" fmla="*/ 247165 w 296079"/>
                    <a:gd name="connsiteY40" fmla="*/ 16609 h 289274"/>
                    <a:gd name="connsiteX41" fmla="*/ 249773 w 296079"/>
                    <a:gd name="connsiteY41" fmla="*/ 14979 h 289274"/>
                    <a:gd name="connsiteX42" fmla="*/ 252544 w 296079"/>
                    <a:gd name="connsiteY42" fmla="*/ 12901 h 289274"/>
                    <a:gd name="connsiteX43" fmla="*/ 256928 w 296079"/>
                    <a:gd name="connsiteY43" fmla="*/ 10301 h 289274"/>
                    <a:gd name="connsiteX44" fmla="*/ 260530 w 296079"/>
                    <a:gd name="connsiteY44" fmla="*/ 9136 h 289274"/>
                    <a:gd name="connsiteX45" fmla="*/ 263758 w 296079"/>
                    <a:gd name="connsiteY45" fmla="*/ 6161 h 289274"/>
                    <a:gd name="connsiteX46" fmla="*/ 266317 w 296079"/>
                    <a:gd name="connsiteY46" fmla="*/ 5224 h 289274"/>
                    <a:gd name="connsiteX47" fmla="*/ 270758 w 296079"/>
                    <a:gd name="connsiteY47" fmla="*/ 5134 h 289274"/>
                    <a:gd name="connsiteX48" fmla="*/ 274662 w 296079"/>
                    <a:gd name="connsiteY48" fmla="*/ 11662 h 289274"/>
                    <a:gd name="connsiteX49" fmla="*/ 278851 w 296079"/>
                    <a:gd name="connsiteY49" fmla="*/ 18671 h 289274"/>
                    <a:gd name="connsiteX50" fmla="*/ 282111 w 296079"/>
                    <a:gd name="connsiteY50" fmla="*/ 24140 h 289274"/>
                    <a:gd name="connsiteX51" fmla="*/ 284499 w 296079"/>
                    <a:gd name="connsiteY51" fmla="*/ 38255 h 289274"/>
                    <a:gd name="connsiteX52" fmla="*/ 284743 w 296079"/>
                    <a:gd name="connsiteY52" fmla="*/ 40944 h 289274"/>
                    <a:gd name="connsiteX53" fmla="*/ 284923 w 296079"/>
                    <a:gd name="connsiteY53" fmla="*/ 42150 h 289274"/>
                    <a:gd name="connsiteX54" fmla="*/ 285102 w 296079"/>
                    <a:gd name="connsiteY54" fmla="*/ 43267 h 289274"/>
                    <a:gd name="connsiteX55" fmla="*/ 285412 w 296079"/>
                    <a:gd name="connsiteY55" fmla="*/ 45182 h 289274"/>
                    <a:gd name="connsiteX56" fmla="*/ 287278 w 296079"/>
                    <a:gd name="connsiteY56" fmla="*/ 46013 h 289274"/>
                    <a:gd name="connsiteX57" fmla="*/ 290823 w 296079"/>
                    <a:gd name="connsiteY57" fmla="*/ 46380 h 289274"/>
                    <a:gd name="connsiteX58" fmla="*/ 293390 w 296079"/>
                    <a:gd name="connsiteY58" fmla="*/ 47774 h 289274"/>
                    <a:gd name="connsiteX59" fmla="*/ 294922 w 296079"/>
                    <a:gd name="connsiteY59" fmla="*/ 50080 h 289274"/>
                    <a:gd name="connsiteX60" fmla="*/ 295086 w 296079"/>
                    <a:gd name="connsiteY60" fmla="*/ 50463 h 289274"/>
                    <a:gd name="connsiteX61" fmla="*/ 295900 w 296079"/>
                    <a:gd name="connsiteY61" fmla="*/ 52232 h 289274"/>
                    <a:gd name="connsiteX62" fmla="*/ 296079 w 296079"/>
                    <a:gd name="connsiteY62" fmla="*/ 53511 h 289274"/>
                    <a:gd name="connsiteX63" fmla="*/ 295852 w 296079"/>
                    <a:gd name="connsiteY63" fmla="*/ 57211 h 289274"/>
                    <a:gd name="connsiteX64" fmla="*/ 295338 w 296079"/>
                    <a:gd name="connsiteY64" fmla="*/ 61954 h 289274"/>
                    <a:gd name="connsiteX65" fmla="*/ 294474 w 296079"/>
                    <a:gd name="connsiteY65" fmla="*/ 65010 h 289274"/>
                    <a:gd name="connsiteX66" fmla="*/ 294963 w 296079"/>
                    <a:gd name="connsiteY66" fmla="*/ 69175 h 289274"/>
                    <a:gd name="connsiteX67" fmla="*/ 294809 w 296079"/>
                    <a:gd name="connsiteY67" fmla="*/ 70952 h 289274"/>
                    <a:gd name="connsiteX68" fmla="*/ 294417 w 296079"/>
                    <a:gd name="connsiteY68" fmla="*/ 72166 h 289274"/>
                    <a:gd name="connsiteX69" fmla="*/ 292828 w 296079"/>
                    <a:gd name="connsiteY69" fmla="*/ 73568 h 289274"/>
                    <a:gd name="connsiteX70" fmla="*/ 290676 w 296079"/>
                    <a:gd name="connsiteY70" fmla="*/ 74929 h 289274"/>
                    <a:gd name="connsiteX71" fmla="*/ 285550 w 296079"/>
                    <a:gd name="connsiteY71" fmla="*/ 78946 h 289274"/>
                    <a:gd name="connsiteX72" fmla="*/ 284075 w 296079"/>
                    <a:gd name="connsiteY72" fmla="*/ 79541 h 289274"/>
                    <a:gd name="connsiteX73" fmla="*/ 281923 w 296079"/>
                    <a:gd name="connsiteY73" fmla="*/ 79647 h 289274"/>
                    <a:gd name="connsiteX74" fmla="*/ 280058 w 296079"/>
                    <a:gd name="connsiteY74" fmla="*/ 80650 h 289274"/>
                    <a:gd name="connsiteX75" fmla="*/ 277848 w 296079"/>
                    <a:gd name="connsiteY75" fmla="*/ 82817 h 289274"/>
                    <a:gd name="connsiteX76" fmla="*/ 273081 w 296079"/>
                    <a:gd name="connsiteY76" fmla="*/ 90886 h 289274"/>
                    <a:gd name="connsiteX77" fmla="*/ 268998 w 296079"/>
                    <a:gd name="connsiteY77" fmla="*/ 98978 h 289274"/>
                    <a:gd name="connsiteX78" fmla="*/ 267588 w 296079"/>
                    <a:gd name="connsiteY78" fmla="*/ 105678 h 289274"/>
                    <a:gd name="connsiteX79" fmla="*/ 266007 w 296079"/>
                    <a:gd name="connsiteY79" fmla="*/ 112075 h 289274"/>
                    <a:gd name="connsiteX80" fmla="*/ 262413 w 296079"/>
                    <a:gd name="connsiteY80" fmla="*/ 116158 h 289274"/>
                    <a:gd name="connsiteX81" fmla="*/ 261916 w 296079"/>
                    <a:gd name="connsiteY81" fmla="*/ 118456 h 289274"/>
                    <a:gd name="connsiteX82" fmla="*/ 261761 w 296079"/>
                    <a:gd name="connsiteY82" fmla="*/ 119785 h 289274"/>
                    <a:gd name="connsiteX83" fmla="*/ 261639 w 296079"/>
                    <a:gd name="connsiteY83" fmla="*/ 122857 h 289274"/>
                    <a:gd name="connsiteX84" fmla="*/ 261207 w 296079"/>
                    <a:gd name="connsiteY84" fmla="*/ 127951 h 289274"/>
                    <a:gd name="connsiteX85" fmla="*/ 260645 w 296079"/>
                    <a:gd name="connsiteY85" fmla="*/ 130404 h 289274"/>
                    <a:gd name="connsiteX86" fmla="*/ 260066 w 296079"/>
                    <a:gd name="connsiteY86" fmla="*/ 131129 h 289274"/>
                    <a:gd name="connsiteX87" fmla="*/ 256195 w 296079"/>
                    <a:gd name="connsiteY87" fmla="*/ 132669 h 289274"/>
                    <a:gd name="connsiteX88" fmla="*/ 253970 w 296079"/>
                    <a:gd name="connsiteY88" fmla="*/ 134544 h 289274"/>
                    <a:gd name="connsiteX89" fmla="*/ 252633 w 296079"/>
                    <a:gd name="connsiteY89" fmla="*/ 138244 h 289274"/>
                    <a:gd name="connsiteX90" fmla="*/ 252136 w 296079"/>
                    <a:gd name="connsiteY90" fmla="*/ 142246 h 289274"/>
                    <a:gd name="connsiteX91" fmla="*/ 251354 w 296079"/>
                    <a:gd name="connsiteY91" fmla="*/ 146801 h 289274"/>
                    <a:gd name="connsiteX92" fmla="*/ 250914 w 296079"/>
                    <a:gd name="connsiteY92" fmla="*/ 150803 h 289274"/>
                    <a:gd name="connsiteX93" fmla="*/ 250303 w 296079"/>
                    <a:gd name="connsiteY93" fmla="*/ 152873 h 289274"/>
                    <a:gd name="connsiteX94" fmla="*/ 249047 w 296079"/>
                    <a:gd name="connsiteY94" fmla="*/ 155049 h 289274"/>
                    <a:gd name="connsiteX95" fmla="*/ 247067 w 296079"/>
                    <a:gd name="connsiteY95" fmla="*/ 157396 h 289274"/>
                    <a:gd name="connsiteX96" fmla="*/ 245364 w 296079"/>
                    <a:gd name="connsiteY96" fmla="*/ 158708 h 289274"/>
                    <a:gd name="connsiteX97" fmla="*/ 240914 w 296079"/>
                    <a:gd name="connsiteY97" fmla="*/ 159564 h 289274"/>
                    <a:gd name="connsiteX98" fmla="*/ 238640 w 296079"/>
                    <a:gd name="connsiteY98" fmla="*/ 164853 h 289274"/>
                    <a:gd name="connsiteX99" fmla="*/ 236709 w 296079"/>
                    <a:gd name="connsiteY99" fmla="*/ 168993 h 289274"/>
                    <a:gd name="connsiteX100" fmla="*/ 236644 w 296079"/>
                    <a:gd name="connsiteY100" fmla="*/ 170647 h 289274"/>
                    <a:gd name="connsiteX101" fmla="*/ 234777 w 296079"/>
                    <a:gd name="connsiteY101" fmla="*/ 179221 h 289274"/>
                    <a:gd name="connsiteX102" fmla="*/ 231542 w 296079"/>
                    <a:gd name="connsiteY102" fmla="*/ 185675 h 289274"/>
                    <a:gd name="connsiteX103" fmla="*/ 231322 w 296079"/>
                    <a:gd name="connsiteY103" fmla="*/ 187957 h 289274"/>
                    <a:gd name="connsiteX104" fmla="*/ 231305 w 296079"/>
                    <a:gd name="connsiteY104" fmla="*/ 189824 h 289274"/>
                    <a:gd name="connsiteX105" fmla="*/ 227255 w 296079"/>
                    <a:gd name="connsiteY105" fmla="*/ 195512 h 289274"/>
                    <a:gd name="connsiteX106" fmla="*/ 226179 w 296079"/>
                    <a:gd name="connsiteY106" fmla="*/ 197191 h 289274"/>
                    <a:gd name="connsiteX107" fmla="*/ 225144 w 296079"/>
                    <a:gd name="connsiteY107" fmla="*/ 199375 h 289274"/>
                    <a:gd name="connsiteX108" fmla="*/ 226163 w 296079"/>
                    <a:gd name="connsiteY108" fmla="*/ 201486 h 289274"/>
                    <a:gd name="connsiteX109" fmla="*/ 227321 w 296079"/>
                    <a:gd name="connsiteY109" fmla="*/ 203409 h 289274"/>
                    <a:gd name="connsiteX110" fmla="*/ 227492 w 296079"/>
                    <a:gd name="connsiteY110" fmla="*/ 204061 h 289274"/>
                    <a:gd name="connsiteX111" fmla="*/ 225642 w 296079"/>
                    <a:gd name="connsiteY111" fmla="*/ 205870 h 289274"/>
                    <a:gd name="connsiteX112" fmla="*/ 222422 w 296079"/>
                    <a:gd name="connsiteY112" fmla="*/ 209016 h 289274"/>
                    <a:gd name="connsiteX113" fmla="*/ 220507 w 296079"/>
                    <a:gd name="connsiteY113" fmla="*/ 210899 h 289274"/>
                    <a:gd name="connsiteX114" fmla="*/ 220075 w 296079"/>
                    <a:gd name="connsiteY114" fmla="*/ 211926 h 289274"/>
                    <a:gd name="connsiteX115" fmla="*/ 219798 w 296079"/>
                    <a:gd name="connsiteY115" fmla="*/ 216661 h 289274"/>
                    <a:gd name="connsiteX116" fmla="*/ 219236 w 296079"/>
                    <a:gd name="connsiteY116" fmla="*/ 217924 h 289274"/>
                    <a:gd name="connsiteX117" fmla="*/ 217965 w 296079"/>
                    <a:gd name="connsiteY117" fmla="*/ 219660 h 289274"/>
                    <a:gd name="connsiteX118" fmla="*/ 216090 w 296079"/>
                    <a:gd name="connsiteY118" fmla="*/ 221567 h 289274"/>
                    <a:gd name="connsiteX119" fmla="*/ 214183 w 296079"/>
                    <a:gd name="connsiteY119" fmla="*/ 223042 h 289274"/>
                    <a:gd name="connsiteX120" fmla="*/ 212007 w 296079"/>
                    <a:gd name="connsiteY120" fmla="*/ 224069 h 289274"/>
                    <a:gd name="connsiteX121" fmla="*/ 209929 w 296079"/>
                    <a:gd name="connsiteY121" fmla="*/ 224444 h 289274"/>
                    <a:gd name="connsiteX122" fmla="*/ 208763 w 296079"/>
                    <a:gd name="connsiteY122" fmla="*/ 223849 h 289274"/>
                    <a:gd name="connsiteX123" fmla="*/ 208095 w 296079"/>
                    <a:gd name="connsiteY123" fmla="*/ 222414 h 289274"/>
                    <a:gd name="connsiteX124" fmla="*/ 206930 w 296079"/>
                    <a:gd name="connsiteY124" fmla="*/ 216636 h 289274"/>
                    <a:gd name="connsiteX125" fmla="*/ 206335 w 296079"/>
                    <a:gd name="connsiteY125" fmla="*/ 215397 h 289274"/>
                    <a:gd name="connsiteX126" fmla="*/ 204990 w 296079"/>
                    <a:gd name="connsiteY126" fmla="*/ 214273 h 289274"/>
                    <a:gd name="connsiteX127" fmla="*/ 202317 w 296079"/>
                    <a:gd name="connsiteY127" fmla="*/ 211119 h 289274"/>
                    <a:gd name="connsiteX128" fmla="*/ 199611 w 296079"/>
                    <a:gd name="connsiteY128" fmla="*/ 207916 h 289274"/>
                    <a:gd name="connsiteX129" fmla="*/ 196360 w 296079"/>
                    <a:gd name="connsiteY129" fmla="*/ 205667 h 289274"/>
                    <a:gd name="connsiteX130" fmla="*/ 195659 w 296079"/>
                    <a:gd name="connsiteY130" fmla="*/ 205829 h 289274"/>
                    <a:gd name="connsiteX131" fmla="*/ 195121 w 296079"/>
                    <a:gd name="connsiteY131" fmla="*/ 206441 h 289274"/>
                    <a:gd name="connsiteX132" fmla="*/ 194200 w 296079"/>
                    <a:gd name="connsiteY132" fmla="*/ 209660 h 289274"/>
                    <a:gd name="connsiteX133" fmla="*/ 193287 w 296079"/>
                    <a:gd name="connsiteY133" fmla="*/ 210834 h 289274"/>
                    <a:gd name="connsiteX134" fmla="*/ 191575 w 296079"/>
                    <a:gd name="connsiteY134" fmla="*/ 211241 h 289274"/>
                    <a:gd name="connsiteX135" fmla="*/ 188601 w 296079"/>
                    <a:gd name="connsiteY135" fmla="*/ 211266 h 289274"/>
                    <a:gd name="connsiteX136" fmla="*/ 186425 w 296079"/>
                    <a:gd name="connsiteY136" fmla="*/ 210817 h 289274"/>
                    <a:gd name="connsiteX137" fmla="*/ 185928 w 296079"/>
                    <a:gd name="connsiteY137" fmla="*/ 210173 h 289274"/>
                    <a:gd name="connsiteX138" fmla="*/ 185488 w 296079"/>
                    <a:gd name="connsiteY138" fmla="*/ 208780 h 289274"/>
                    <a:gd name="connsiteX139" fmla="*/ 184885 w 296079"/>
                    <a:gd name="connsiteY139" fmla="*/ 207663 h 289274"/>
                    <a:gd name="connsiteX140" fmla="*/ 182293 w 296079"/>
                    <a:gd name="connsiteY140" fmla="*/ 209913 h 289274"/>
                    <a:gd name="connsiteX141" fmla="*/ 178210 w 296079"/>
                    <a:gd name="connsiteY141" fmla="*/ 213466 h 289274"/>
                    <a:gd name="connsiteX142" fmla="*/ 176882 w 296079"/>
                    <a:gd name="connsiteY142" fmla="*/ 214045 h 289274"/>
                    <a:gd name="connsiteX143" fmla="*/ 175871 w 296079"/>
                    <a:gd name="connsiteY143" fmla="*/ 214762 h 289274"/>
                    <a:gd name="connsiteX144" fmla="*/ 174518 w 296079"/>
                    <a:gd name="connsiteY144" fmla="*/ 218062 h 289274"/>
                    <a:gd name="connsiteX145" fmla="*/ 172896 w 296079"/>
                    <a:gd name="connsiteY145" fmla="*/ 221616 h 289274"/>
                    <a:gd name="connsiteX146" fmla="*/ 170769 w 296079"/>
                    <a:gd name="connsiteY146" fmla="*/ 223466 h 289274"/>
                    <a:gd name="connsiteX147" fmla="*/ 168683 w 296079"/>
                    <a:gd name="connsiteY147" fmla="*/ 225022 h 289274"/>
                    <a:gd name="connsiteX148" fmla="*/ 167493 w 296079"/>
                    <a:gd name="connsiteY148" fmla="*/ 226383 h 289274"/>
                    <a:gd name="connsiteX149" fmla="*/ 165790 w 296079"/>
                    <a:gd name="connsiteY149" fmla="*/ 227997 h 289274"/>
                    <a:gd name="connsiteX150" fmla="*/ 162448 w 296079"/>
                    <a:gd name="connsiteY150" fmla="*/ 232006 h 289274"/>
                    <a:gd name="connsiteX151" fmla="*/ 158023 w 296079"/>
                    <a:gd name="connsiteY151" fmla="*/ 237320 h 289274"/>
                    <a:gd name="connsiteX152" fmla="*/ 156459 w 296079"/>
                    <a:gd name="connsiteY152" fmla="*/ 240058 h 289274"/>
                    <a:gd name="connsiteX153" fmla="*/ 154918 w 296079"/>
                    <a:gd name="connsiteY153" fmla="*/ 244158 h 289274"/>
                    <a:gd name="connsiteX154" fmla="*/ 154030 w 296079"/>
                    <a:gd name="connsiteY154" fmla="*/ 248705 h 289274"/>
                    <a:gd name="connsiteX155" fmla="*/ 153044 w 296079"/>
                    <a:gd name="connsiteY155" fmla="*/ 253685 h 289274"/>
                    <a:gd name="connsiteX156" fmla="*/ 151601 w 296079"/>
                    <a:gd name="connsiteY156" fmla="*/ 261680 h 289274"/>
                    <a:gd name="connsiteX157" fmla="*/ 149482 w 296079"/>
                    <a:gd name="connsiteY157" fmla="*/ 266195 h 289274"/>
                    <a:gd name="connsiteX158" fmla="*/ 147624 w 296079"/>
                    <a:gd name="connsiteY158" fmla="*/ 269789 h 289274"/>
                    <a:gd name="connsiteX159" fmla="*/ 146239 w 296079"/>
                    <a:gd name="connsiteY159" fmla="*/ 272608 h 289274"/>
                    <a:gd name="connsiteX160" fmla="*/ 145513 w 296079"/>
                    <a:gd name="connsiteY160" fmla="*/ 274939 h 289274"/>
                    <a:gd name="connsiteX161" fmla="*/ 145212 w 296079"/>
                    <a:gd name="connsiteY161" fmla="*/ 274866 h 289274"/>
                    <a:gd name="connsiteX162" fmla="*/ 144495 w 296079"/>
                    <a:gd name="connsiteY162" fmla="*/ 275852 h 289274"/>
                    <a:gd name="connsiteX163" fmla="*/ 142425 w 296079"/>
                    <a:gd name="connsiteY163" fmla="*/ 275208 h 289274"/>
                    <a:gd name="connsiteX164" fmla="*/ 141496 w 296079"/>
                    <a:gd name="connsiteY164" fmla="*/ 273179 h 289274"/>
                    <a:gd name="connsiteX165" fmla="*/ 140216 w 296079"/>
                    <a:gd name="connsiteY165" fmla="*/ 272853 h 289274"/>
                    <a:gd name="connsiteX166" fmla="*/ 138007 w 296079"/>
                    <a:gd name="connsiteY166" fmla="*/ 269870 h 289274"/>
                    <a:gd name="connsiteX167" fmla="*/ 137535 w 296079"/>
                    <a:gd name="connsiteY167" fmla="*/ 270375 h 289274"/>
                    <a:gd name="connsiteX168" fmla="*/ 139866 w 296079"/>
                    <a:gd name="connsiteY168" fmla="*/ 277914 h 289274"/>
                    <a:gd name="connsiteX169" fmla="*/ 139002 w 296079"/>
                    <a:gd name="connsiteY169" fmla="*/ 280864 h 289274"/>
                    <a:gd name="connsiteX170" fmla="*/ 132433 w 296079"/>
                    <a:gd name="connsiteY170" fmla="*/ 280929 h 289274"/>
                    <a:gd name="connsiteX171" fmla="*/ 126801 w 296079"/>
                    <a:gd name="connsiteY171" fmla="*/ 281924 h 289274"/>
                    <a:gd name="connsiteX172" fmla="*/ 122906 w 296079"/>
                    <a:gd name="connsiteY172" fmla="*/ 281826 h 289274"/>
                    <a:gd name="connsiteX173" fmla="*/ 120958 w 296079"/>
                    <a:gd name="connsiteY173" fmla="*/ 280766 h 289274"/>
                    <a:gd name="connsiteX174" fmla="*/ 120094 w 296079"/>
                    <a:gd name="connsiteY174" fmla="*/ 277939 h 289274"/>
                    <a:gd name="connsiteX175" fmla="*/ 119768 w 296079"/>
                    <a:gd name="connsiteY175" fmla="*/ 278232 h 289274"/>
                    <a:gd name="connsiteX176" fmla="*/ 119573 w 296079"/>
                    <a:gd name="connsiteY176" fmla="*/ 279748 h 289274"/>
                    <a:gd name="connsiteX177" fmla="*/ 118350 w 296079"/>
                    <a:gd name="connsiteY177" fmla="*/ 280937 h 289274"/>
                    <a:gd name="connsiteX178" fmla="*/ 113998 w 296079"/>
                    <a:gd name="connsiteY178" fmla="*/ 281158 h 289274"/>
                    <a:gd name="connsiteX179" fmla="*/ 112075 w 296079"/>
                    <a:gd name="connsiteY179" fmla="*/ 279234 h 289274"/>
                    <a:gd name="connsiteX180" fmla="*/ 110518 w 296079"/>
                    <a:gd name="connsiteY180" fmla="*/ 277067 h 289274"/>
                    <a:gd name="connsiteX181" fmla="*/ 108847 w 296079"/>
                    <a:gd name="connsiteY181" fmla="*/ 276105 h 289274"/>
                    <a:gd name="connsiteX182" fmla="*/ 109109 w 296079"/>
                    <a:gd name="connsiteY182" fmla="*/ 277009 h 289274"/>
                    <a:gd name="connsiteX183" fmla="*/ 111016 w 296079"/>
                    <a:gd name="connsiteY183" fmla="*/ 279120 h 289274"/>
                    <a:gd name="connsiteX184" fmla="*/ 110779 w 296079"/>
                    <a:gd name="connsiteY184" fmla="*/ 282152 h 289274"/>
                    <a:gd name="connsiteX185" fmla="*/ 107275 w 296079"/>
                    <a:gd name="connsiteY185" fmla="*/ 285664 h 289274"/>
                    <a:gd name="connsiteX186" fmla="*/ 105042 w 296079"/>
                    <a:gd name="connsiteY186" fmla="*/ 285860 h 289274"/>
                    <a:gd name="connsiteX187" fmla="*/ 103664 w 296079"/>
                    <a:gd name="connsiteY187" fmla="*/ 284344 h 289274"/>
                    <a:gd name="connsiteX188" fmla="*/ 102963 w 296079"/>
                    <a:gd name="connsiteY188" fmla="*/ 281875 h 289274"/>
                    <a:gd name="connsiteX189" fmla="*/ 102597 w 296079"/>
                    <a:gd name="connsiteY189" fmla="*/ 278224 h 289274"/>
                    <a:gd name="connsiteX190" fmla="*/ 101684 w 296079"/>
                    <a:gd name="connsiteY190" fmla="*/ 275844 h 289274"/>
                    <a:gd name="connsiteX191" fmla="*/ 101179 w 296079"/>
                    <a:gd name="connsiteY191" fmla="*/ 275844 h 289274"/>
                    <a:gd name="connsiteX192" fmla="*/ 101643 w 296079"/>
                    <a:gd name="connsiteY192" fmla="*/ 278028 h 289274"/>
                    <a:gd name="connsiteX193" fmla="*/ 101798 w 296079"/>
                    <a:gd name="connsiteY193" fmla="*/ 279813 h 289274"/>
                    <a:gd name="connsiteX194" fmla="*/ 101822 w 296079"/>
                    <a:gd name="connsiteY194" fmla="*/ 283521 h 289274"/>
                    <a:gd name="connsiteX195" fmla="*/ 103493 w 296079"/>
                    <a:gd name="connsiteY195" fmla="*/ 286398 h 289274"/>
                    <a:gd name="connsiteX196" fmla="*/ 100926 w 296079"/>
                    <a:gd name="connsiteY196" fmla="*/ 287286 h 289274"/>
                    <a:gd name="connsiteX197" fmla="*/ 99883 w 296079"/>
                    <a:gd name="connsiteY197" fmla="*/ 287327 h 289274"/>
                    <a:gd name="connsiteX198" fmla="*/ 97854 w 296079"/>
                    <a:gd name="connsiteY198" fmla="*/ 287392 h 289274"/>
                    <a:gd name="connsiteX199" fmla="*/ 97463 w 296079"/>
                    <a:gd name="connsiteY199" fmla="*/ 286325 h 289274"/>
                    <a:gd name="connsiteX200" fmla="*/ 97063 w 296079"/>
                    <a:gd name="connsiteY200" fmla="*/ 283945 h 289274"/>
                    <a:gd name="connsiteX201" fmla="*/ 96542 w 296079"/>
                    <a:gd name="connsiteY201" fmla="*/ 283317 h 289274"/>
                    <a:gd name="connsiteX202" fmla="*/ 95906 w 296079"/>
                    <a:gd name="connsiteY202" fmla="*/ 287360 h 289274"/>
                    <a:gd name="connsiteX203" fmla="*/ 94553 w 296079"/>
                    <a:gd name="connsiteY203" fmla="*/ 287645 h 289274"/>
                    <a:gd name="connsiteX204" fmla="*/ 93616 w 296079"/>
                    <a:gd name="connsiteY204" fmla="*/ 287612 h 289274"/>
                    <a:gd name="connsiteX205" fmla="*/ 89590 w 296079"/>
                    <a:gd name="connsiteY205" fmla="*/ 288484 h 289274"/>
                    <a:gd name="connsiteX206" fmla="*/ 88701 w 296079"/>
                    <a:gd name="connsiteY206" fmla="*/ 288313 h 289274"/>
                    <a:gd name="connsiteX207" fmla="*/ 88514 w 296079"/>
                    <a:gd name="connsiteY207" fmla="*/ 287572 h 289274"/>
                    <a:gd name="connsiteX208" fmla="*/ 88987 w 296079"/>
                    <a:gd name="connsiteY208" fmla="*/ 286455 h 289274"/>
                    <a:gd name="connsiteX209" fmla="*/ 88889 w 296079"/>
                    <a:gd name="connsiteY209" fmla="*/ 284638 h 289274"/>
                    <a:gd name="connsiteX210" fmla="*/ 87479 w 296079"/>
                    <a:gd name="connsiteY210" fmla="*/ 286031 h 289274"/>
                    <a:gd name="connsiteX211" fmla="*/ 87259 w 296079"/>
                    <a:gd name="connsiteY211" fmla="*/ 288827 h 289274"/>
                    <a:gd name="connsiteX212" fmla="*/ 86461 w 296079"/>
                    <a:gd name="connsiteY212" fmla="*/ 289275 h 289274"/>
                    <a:gd name="connsiteX213" fmla="*/ 84065 w 296079"/>
                    <a:gd name="connsiteY213" fmla="*/ 288875 h 289274"/>
                    <a:gd name="connsiteX214" fmla="*/ 81440 w 296079"/>
                    <a:gd name="connsiteY214" fmla="*/ 287441 h 289274"/>
                    <a:gd name="connsiteX215" fmla="*/ 79851 w 296079"/>
                    <a:gd name="connsiteY215" fmla="*/ 285966 h 289274"/>
                    <a:gd name="connsiteX216" fmla="*/ 77178 w 296079"/>
                    <a:gd name="connsiteY216" fmla="*/ 283920 h 289274"/>
                    <a:gd name="connsiteX217" fmla="*/ 71946 w 296079"/>
                    <a:gd name="connsiteY217" fmla="*/ 278183 h 289274"/>
                    <a:gd name="connsiteX218" fmla="*/ 71098 w 296079"/>
                    <a:gd name="connsiteY218" fmla="*/ 275608 h 289274"/>
                    <a:gd name="connsiteX219" fmla="*/ 69599 w 296079"/>
                    <a:gd name="connsiteY219" fmla="*/ 272445 h 289274"/>
                    <a:gd name="connsiteX220" fmla="*/ 68474 w 296079"/>
                    <a:gd name="connsiteY220" fmla="*/ 269226 h 289274"/>
                    <a:gd name="connsiteX221" fmla="*/ 66868 w 296079"/>
                    <a:gd name="connsiteY221" fmla="*/ 263733 h 289274"/>
                    <a:gd name="connsiteX222" fmla="*/ 67366 w 296079"/>
                    <a:gd name="connsiteY222" fmla="*/ 263334 h 289274"/>
                    <a:gd name="connsiteX223" fmla="*/ 68580 w 296079"/>
                    <a:gd name="connsiteY223" fmla="*/ 263807 h 289274"/>
                    <a:gd name="connsiteX224" fmla="*/ 69167 w 296079"/>
                    <a:gd name="connsiteY224" fmla="*/ 262984 h 289274"/>
                    <a:gd name="connsiteX225" fmla="*/ 66991 w 296079"/>
                    <a:gd name="connsiteY225" fmla="*/ 262381 h 289274"/>
                    <a:gd name="connsiteX226" fmla="*/ 66534 w 296079"/>
                    <a:gd name="connsiteY226" fmla="*/ 261745 h 289274"/>
                    <a:gd name="connsiteX227" fmla="*/ 66388 w 296079"/>
                    <a:gd name="connsiteY227" fmla="*/ 259821 h 289274"/>
                    <a:gd name="connsiteX228" fmla="*/ 66477 w 296079"/>
                    <a:gd name="connsiteY228" fmla="*/ 257466 h 289274"/>
                    <a:gd name="connsiteX229" fmla="*/ 68254 w 296079"/>
                    <a:gd name="connsiteY229" fmla="*/ 256635 h 289274"/>
                    <a:gd name="connsiteX230" fmla="*/ 69786 w 296079"/>
                    <a:gd name="connsiteY230" fmla="*/ 256228 h 289274"/>
                    <a:gd name="connsiteX231" fmla="*/ 70552 w 296079"/>
                    <a:gd name="connsiteY231" fmla="*/ 254801 h 289274"/>
                    <a:gd name="connsiteX232" fmla="*/ 71000 w 296079"/>
                    <a:gd name="connsiteY232" fmla="*/ 253367 h 289274"/>
                    <a:gd name="connsiteX233" fmla="*/ 66934 w 296079"/>
                    <a:gd name="connsiteY233" fmla="*/ 255551 h 289274"/>
                    <a:gd name="connsiteX234" fmla="*/ 63128 w 296079"/>
                    <a:gd name="connsiteY234" fmla="*/ 253082 h 289274"/>
                    <a:gd name="connsiteX235" fmla="*/ 62304 w 296079"/>
                    <a:gd name="connsiteY235" fmla="*/ 251590 h 289274"/>
                    <a:gd name="connsiteX236" fmla="*/ 62712 w 296079"/>
                    <a:gd name="connsiteY236" fmla="*/ 250441 h 289274"/>
                    <a:gd name="connsiteX237" fmla="*/ 64529 w 296079"/>
                    <a:gd name="connsiteY237" fmla="*/ 250270 h 289274"/>
                    <a:gd name="connsiteX238" fmla="*/ 67129 w 296079"/>
                    <a:gd name="connsiteY238" fmla="*/ 250360 h 289274"/>
                    <a:gd name="connsiteX239" fmla="*/ 68686 w 296079"/>
                    <a:gd name="connsiteY239" fmla="*/ 249243 h 289274"/>
                    <a:gd name="connsiteX240" fmla="*/ 67724 w 296079"/>
                    <a:gd name="connsiteY240" fmla="*/ 248852 h 289274"/>
                    <a:gd name="connsiteX241" fmla="*/ 66045 w 296079"/>
                    <a:gd name="connsiteY241" fmla="*/ 248893 h 289274"/>
                    <a:gd name="connsiteX242" fmla="*/ 65434 w 296079"/>
                    <a:gd name="connsiteY242" fmla="*/ 248151 h 289274"/>
                    <a:gd name="connsiteX243" fmla="*/ 65483 w 296079"/>
                    <a:gd name="connsiteY243" fmla="*/ 246366 h 289274"/>
                    <a:gd name="connsiteX244" fmla="*/ 64937 w 296079"/>
                    <a:gd name="connsiteY244" fmla="*/ 246757 h 289274"/>
                    <a:gd name="connsiteX245" fmla="*/ 64220 w 296079"/>
                    <a:gd name="connsiteY245" fmla="*/ 248339 h 289274"/>
                    <a:gd name="connsiteX246" fmla="*/ 61661 w 296079"/>
                    <a:gd name="connsiteY246" fmla="*/ 249504 h 289274"/>
                    <a:gd name="connsiteX247" fmla="*/ 60153 w 296079"/>
                    <a:gd name="connsiteY247" fmla="*/ 248339 h 289274"/>
                    <a:gd name="connsiteX248" fmla="*/ 60006 w 296079"/>
                    <a:gd name="connsiteY248" fmla="*/ 245747 h 289274"/>
                    <a:gd name="connsiteX249" fmla="*/ 59672 w 296079"/>
                    <a:gd name="connsiteY249" fmla="*/ 244574 h 289274"/>
                    <a:gd name="connsiteX250" fmla="*/ 58409 w 296079"/>
                    <a:gd name="connsiteY250" fmla="*/ 243661 h 289274"/>
                    <a:gd name="connsiteX251" fmla="*/ 53910 w 296079"/>
                    <a:gd name="connsiteY251" fmla="*/ 236790 h 289274"/>
                    <a:gd name="connsiteX252" fmla="*/ 48287 w 296079"/>
                    <a:gd name="connsiteY252" fmla="*/ 231061 h 289274"/>
                    <a:gd name="connsiteX253" fmla="*/ 43259 w 296079"/>
                    <a:gd name="connsiteY253" fmla="*/ 227117 h 289274"/>
                    <a:gd name="connsiteX254" fmla="*/ 35687 w 296079"/>
                    <a:gd name="connsiteY254" fmla="*/ 225234 h 289274"/>
                    <a:gd name="connsiteX255" fmla="*/ 19828 w 296079"/>
                    <a:gd name="connsiteY255" fmla="*/ 225307 h 289274"/>
                    <a:gd name="connsiteX256" fmla="*/ 18948 w 296079"/>
                    <a:gd name="connsiteY256" fmla="*/ 224762 h 289274"/>
                    <a:gd name="connsiteX257" fmla="*/ 19918 w 296079"/>
                    <a:gd name="connsiteY257" fmla="*/ 223857 h 289274"/>
                    <a:gd name="connsiteX258" fmla="*/ 21311 w 296079"/>
                    <a:gd name="connsiteY258" fmla="*/ 223254 h 289274"/>
                    <a:gd name="connsiteX259" fmla="*/ 26413 w 296079"/>
                    <a:gd name="connsiteY259" fmla="*/ 220059 h 289274"/>
                    <a:gd name="connsiteX260" fmla="*/ 25557 w 296079"/>
                    <a:gd name="connsiteY260" fmla="*/ 219635 h 289274"/>
                    <a:gd name="connsiteX261" fmla="*/ 20252 w 296079"/>
                    <a:gd name="connsiteY261" fmla="*/ 221632 h 289274"/>
                    <a:gd name="connsiteX262" fmla="*/ 18443 w 296079"/>
                    <a:gd name="connsiteY262" fmla="*/ 221819 h 289274"/>
                    <a:gd name="connsiteX263" fmla="*/ 16096 w 296079"/>
                    <a:gd name="connsiteY263" fmla="*/ 225666 h 289274"/>
                    <a:gd name="connsiteX264" fmla="*/ 2135 w 296079"/>
                    <a:gd name="connsiteY264" fmla="*/ 226302 h 289274"/>
                    <a:gd name="connsiteX265" fmla="*/ 489 w 296079"/>
                    <a:gd name="connsiteY265" fmla="*/ 226497 h 289274"/>
                    <a:gd name="connsiteX266" fmla="*/ 530 w 296079"/>
                    <a:gd name="connsiteY266" fmla="*/ 224745 h 289274"/>
                    <a:gd name="connsiteX267" fmla="*/ 1214 w 296079"/>
                    <a:gd name="connsiteY267" fmla="*/ 219692 h 289274"/>
                    <a:gd name="connsiteX268" fmla="*/ 1662 w 296079"/>
                    <a:gd name="connsiteY268" fmla="*/ 217712 h 289274"/>
                    <a:gd name="connsiteX269" fmla="*/ 2176 w 296079"/>
                    <a:gd name="connsiteY269" fmla="*/ 216212 h 289274"/>
                    <a:gd name="connsiteX270" fmla="*/ 1646 w 296079"/>
                    <a:gd name="connsiteY270" fmla="*/ 214403 h 289274"/>
                    <a:gd name="connsiteX271" fmla="*/ 1125 w 296079"/>
                    <a:gd name="connsiteY271" fmla="*/ 211966 h 289274"/>
                    <a:gd name="connsiteX272" fmla="*/ 872 w 296079"/>
                    <a:gd name="connsiteY272" fmla="*/ 208136 h 289274"/>
                    <a:gd name="connsiteX273" fmla="*/ 1516 w 296079"/>
                    <a:gd name="connsiteY273" fmla="*/ 206946 h 289274"/>
                    <a:gd name="connsiteX274" fmla="*/ 1744 w 296079"/>
                    <a:gd name="connsiteY274" fmla="*/ 205504 h 289274"/>
                    <a:gd name="connsiteX275" fmla="*/ 1589 w 296079"/>
                    <a:gd name="connsiteY275" fmla="*/ 203238 h 289274"/>
                    <a:gd name="connsiteX276" fmla="*/ 1581 w 296079"/>
                    <a:gd name="connsiteY276" fmla="*/ 195675 h 289274"/>
                    <a:gd name="connsiteX277" fmla="*/ 1964 w 296079"/>
                    <a:gd name="connsiteY277" fmla="*/ 194852 h 289274"/>
                    <a:gd name="connsiteX278" fmla="*/ 2420 w 296079"/>
                    <a:gd name="connsiteY278" fmla="*/ 194216 h 289274"/>
                    <a:gd name="connsiteX279" fmla="*/ 2453 w 296079"/>
                    <a:gd name="connsiteY279" fmla="*/ 193214 h 289274"/>
                    <a:gd name="connsiteX280" fmla="*/ 1605 w 296079"/>
                    <a:gd name="connsiteY280" fmla="*/ 191258 h 289274"/>
                    <a:gd name="connsiteX281" fmla="*/ 823 w 296079"/>
                    <a:gd name="connsiteY281" fmla="*/ 189017 h 289274"/>
                    <a:gd name="connsiteX282" fmla="*/ 848 w 296079"/>
                    <a:gd name="connsiteY282" fmla="*/ 185806 h 289274"/>
                    <a:gd name="connsiteX283" fmla="*/ 530 w 296079"/>
                    <a:gd name="connsiteY283" fmla="*/ 182692 h 289274"/>
                    <a:gd name="connsiteX284" fmla="*/ 0 w 296079"/>
                    <a:gd name="connsiteY284" fmla="*/ 181274 h 289274"/>
                    <a:gd name="connsiteX285" fmla="*/ 407 w 296079"/>
                    <a:gd name="connsiteY285" fmla="*/ 175977 h 289274"/>
                    <a:gd name="connsiteX286" fmla="*/ 636 w 296079"/>
                    <a:gd name="connsiteY286" fmla="*/ 169262 h 289274"/>
                    <a:gd name="connsiteX287" fmla="*/ 424 w 296079"/>
                    <a:gd name="connsiteY287" fmla="*/ 166287 h 289274"/>
                    <a:gd name="connsiteX288" fmla="*/ 929 w 296079"/>
                    <a:gd name="connsiteY288" fmla="*/ 164176 h 289274"/>
                    <a:gd name="connsiteX289" fmla="*/ 1198 w 296079"/>
                    <a:gd name="connsiteY289" fmla="*/ 158993 h 289274"/>
                    <a:gd name="connsiteX290" fmla="*/ 1157 w 296079"/>
                    <a:gd name="connsiteY290" fmla="*/ 153916 h 289274"/>
                    <a:gd name="connsiteX291" fmla="*/ 2192 w 296079"/>
                    <a:gd name="connsiteY291" fmla="*/ 145905 h 289274"/>
                    <a:gd name="connsiteX292" fmla="*/ 5256 w 296079"/>
                    <a:gd name="connsiteY292" fmla="*/ 145514 h 289274"/>
                    <a:gd name="connsiteX293" fmla="*/ 8891 w 296079"/>
                    <a:gd name="connsiteY293" fmla="*/ 144837 h 289274"/>
                    <a:gd name="connsiteX294" fmla="*/ 10513 w 296079"/>
                    <a:gd name="connsiteY294" fmla="*/ 141683 h 289274"/>
                    <a:gd name="connsiteX295" fmla="*/ 11442 w 296079"/>
                    <a:gd name="connsiteY295" fmla="*/ 137698 h 289274"/>
                    <a:gd name="connsiteX296" fmla="*/ 11149 w 296079"/>
                    <a:gd name="connsiteY296" fmla="*/ 133745 h 289274"/>
                    <a:gd name="connsiteX297" fmla="*/ 11858 w 296079"/>
                    <a:gd name="connsiteY297" fmla="*/ 132449 h 289274"/>
                    <a:gd name="connsiteX298" fmla="*/ 13316 w 296079"/>
                    <a:gd name="connsiteY298" fmla="*/ 130306 h 289274"/>
                    <a:gd name="connsiteX299" fmla="*/ 15949 w 296079"/>
                    <a:gd name="connsiteY299" fmla="*/ 127250 h 289274"/>
                    <a:gd name="connsiteX300" fmla="*/ 15843 w 296079"/>
                    <a:gd name="connsiteY300" fmla="*/ 123892 h 289274"/>
                    <a:gd name="connsiteX301" fmla="*/ 16568 w 296079"/>
                    <a:gd name="connsiteY301" fmla="*/ 122857 h 289274"/>
                    <a:gd name="connsiteX302" fmla="*/ 17815 w 296079"/>
                    <a:gd name="connsiteY302" fmla="*/ 122075 h 289274"/>
                    <a:gd name="connsiteX303" fmla="*/ 19600 w 296079"/>
                    <a:gd name="connsiteY303" fmla="*/ 121675 h 289274"/>
                    <a:gd name="connsiteX304" fmla="*/ 21589 w 296079"/>
                    <a:gd name="connsiteY304" fmla="*/ 120005 h 289274"/>
                    <a:gd name="connsiteX305" fmla="*/ 22705 w 296079"/>
                    <a:gd name="connsiteY305" fmla="*/ 117071 h 289274"/>
                    <a:gd name="connsiteX306" fmla="*/ 23797 w 296079"/>
                    <a:gd name="connsiteY306" fmla="*/ 112377 h 289274"/>
                    <a:gd name="connsiteX307" fmla="*/ 22077 w 296079"/>
                    <a:gd name="connsiteY307" fmla="*/ 109109 h 289274"/>
                    <a:gd name="connsiteX308" fmla="*/ 22118 w 296079"/>
                    <a:gd name="connsiteY308" fmla="*/ 108383 h 289274"/>
                    <a:gd name="connsiteX309" fmla="*/ 22762 w 296079"/>
                    <a:gd name="connsiteY309" fmla="*/ 106623 h 289274"/>
                    <a:gd name="connsiteX310" fmla="*/ 23821 w 296079"/>
                    <a:gd name="connsiteY310" fmla="*/ 104871 h 289274"/>
                    <a:gd name="connsiteX311" fmla="*/ 24653 w 296079"/>
                    <a:gd name="connsiteY311" fmla="*/ 104309 h 289274"/>
                    <a:gd name="connsiteX312" fmla="*/ 26593 w 296079"/>
                    <a:gd name="connsiteY312" fmla="*/ 104757 h 289274"/>
                    <a:gd name="connsiteX313" fmla="*/ 26918 w 296079"/>
                    <a:gd name="connsiteY313" fmla="*/ 104610 h 289274"/>
                    <a:gd name="connsiteX314" fmla="*/ 27220 w 296079"/>
                    <a:gd name="connsiteY314" fmla="*/ 104056 h 289274"/>
                    <a:gd name="connsiteX315" fmla="*/ 28467 w 296079"/>
                    <a:gd name="connsiteY315" fmla="*/ 98872 h 289274"/>
                    <a:gd name="connsiteX316" fmla="*/ 28344 w 296079"/>
                    <a:gd name="connsiteY316" fmla="*/ 97471 h 289274"/>
                    <a:gd name="connsiteX317" fmla="*/ 26543 w 296079"/>
                    <a:gd name="connsiteY317" fmla="*/ 93999 h 289274"/>
                    <a:gd name="connsiteX318" fmla="*/ 26242 w 296079"/>
                    <a:gd name="connsiteY318" fmla="*/ 91530 h 289274"/>
                    <a:gd name="connsiteX319" fmla="*/ 25981 w 296079"/>
                    <a:gd name="connsiteY319" fmla="*/ 87854 h 289274"/>
                    <a:gd name="connsiteX320" fmla="*/ 25541 w 296079"/>
                    <a:gd name="connsiteY320" fmla="*/ 84610 h 289274"/>
                    <a:gd name="connsiteX321" fmla="*/ 25020 w 296079"/>
                    <a:gd name="connsiteY321" fmla="*/ 83380 h 289274"/>
                    <a:gd name="connsiteX322" fmla="*/ 24050 w 296079"/>
                    <a:gd name="connsiteY322" fmla="*/ 82345 h 289274"/>
                    <a:gd name="connsiteX323" fmla="*/ 23626 w 296079"/>
                    <a:gd name="connsiteY323" fmla="*/ 81668 h 289274"/>
                    <a:gd name="connsiteX324" fmla="*/ 19869 w 296079"/>
                    <a:gd name="connsiteY324" fmla="*/ 75059 h 289274"/>
                    <a:gd name="connsiteX325" fmla="*/ 19942 w 296079"/>
                    <a:gd name="connsiteY325" fmla="*/ 71921 h 289274"/>
                    <a:gd name="connsiteX326" fmla="*/ 21507 w 296079"/>
                    <a:gd name="connsiteY326" fmla="*/ 67912 h 289274"/>
                    <a:gd name="connsiteX327" fmla="*/ 22542 w 296079"/>
                    <a:gd name="connsiteY327" fmla="*/ 65964 h 289274"/>
                    <a:gd name="connsiteX328" fmla="*/ 23977 w 296079"/>
                    <a:gd name="connsiteY328" fmla="*/ 64888 h 289274"/>
                    <a:gd name="connsiteX329" fmla="*/ 24262 w 296079"/>
                    <a:gd name="connsiteY329" fmla="*/ 63967 h 289274"/>
                    <a:gd name="connsiteX330" fmla="*/ 23821 w 296079"/>
                    <a:gd name="connsiteY330" fmla="*/ 62834 h 289274"/>
                    <a:gd name="connsiteX331" fmla="*/ 23113 w 296079"/>
                    <a:gd name="connsiteY331" fmla="*/ 61987 h 289274"/>
                    <a:gd name="connsiteX332" fmla="*/ 22942 w 296079"/>
                    <a:gd name="connsiteY332" fmla="*/ 60186 h 289274"/>
                    <a:gd name="connsiteX333" fmla="*/ 23137 w 296079"/>
                    <a:gd name="connsiteY333" fmla="*/ 58988 h 289274"/>
                    <a:gd name="connsiteX334" fmla="*/ 23642 w 296079"/>
                    <a:gd name="connsiteY334" fmla="*/ 57676 h 289274"/>
                    <a:gd name="connsiteX335" fmla="*/ 23447 w 296079"/>
                    <a:gd name="connsiteY335" fmla="*/ 54913 h 289274"/>
                    <a:gd name="connsiteX336" fmla="*/ 23487 w 296079"/>
                    <a:gd name="connsiteY336" fmla="*/ 50675 h 289274"/>
                    <a:gd name="connsiteX337" fmla="*/ 23724 w 296079"/>
                    <a:gd name="connsiteY337" fmla="*/ 44506 h 289274"/>
                    <a:gd name="connsiteX338" fmla="*/ 23805 w 296079"/>
                    <a:gd name="connsiteY338" fmla="*/ 40732 h 289274"/>
                    <a:gd name="connsiteX339" fmla="*/ 26837 w 296079"/>
                    <a:gd name="connsiteY339" fmla="*/ 37937 h 289274"/>
                    <a:gd name="connsiteX340" fmla="*/ 31270 w 296079"/>
                    <a:gd name="connsiteY340" fmla="*/ 33308 h 289274"/>
                    <a:gd name="connsiteX341" fmla="*/ 33520 w 296079"/>
                    <a:gd name="connsiteY341" fmla="*/ 28467 h 289274"/>
                    <a:gd name="connsiteX342" fmla="*/ 34718 w 296079"/>
                    <a:gd name="connsiteY342" fmla="*/ 24800 h 289274"/>
                    <a:gd name="connsiteX343" fmla="*/ 36209 w 296079"/>
                    <a:gd name="connsiteY343" fmla="*/ 12591 h 289274"/>
                    <a:gd name="connsiteX344" fmla="*/ 37293 w 296079"/>
                    <a:gd name="connsiteY344" fmla="*/ 11858 h 289274"/>
                    <a:gd name="connsiteX345" fmla="*/ 38564 w 296079"/>
                    <a:gd name="connsiteY345" fmla="*/ 11279 h 289274"/>
                    <a:gd name="connsiteX346" fmla="*/ 43006 w 296079"/>
                    <a:gd name="connsiteY346" fmla="*/ 6838 h 289274"/>
                    <a:gd name="connsiteX347" fmla="*/ 46437 w 296079"/>
                    <a:gd name="connsiteY347" fmla="*/ 5191 h 289274"/>
                    <a:gd name="connsiteX348" fmla="*/ 49045 w 296079"/>
                    <a:gd name="connsiteY348" fmla="*/ 4230 h 289274"/>
                    <a:gd name="connsiteX349" fmla="*/ 52981 w 296079"/>
                    <a:gd name="connsiteY349" fmla="*/ 3423 h 289274"/>
                    <a:gd name="connsiteX350" fmla="*/ 55410 w 296079"/>
                    <a:gd name="connsiteY350" fmla="*/ 3749 h 289274"/>
                    <a:gd name="connsiteX351" fmla="*/ 59852 w 296079"/>
                    <a:gd name="connsiteY351" fmla="*/ 3945 h 289274"/>
                    <a:gd name="connsiteX352" fmla="*/ 63356 w 296079"/>
                    <a:gd name="connsiteY352" fmla="*/ 3504 h 289274"/>
                    <a:gd name="connsiteX353" fmla="*/ 66330 w 296079"/>
                    <a:gd name="connsiteY353" fmla="*/ 1092 h 289274"/>
                    <a:gd name="connsiteX354" fmla="*/ 67676 w 296079"/>
                    <a:gd name="connsiteY354" fmla="*/ 416 h 289274"/>
                    <a:gd name="connsiteX355" fmla="*/ 69566 w 296079"/>
                    <a:gd name="connsiteY355" fmla="*/ 0 h 289274"/>
                    <a:gd name="connsiteX356" fmla="*/ 78090 w 296079"/>
                    <a:gd name="connsiteY356" fmla="*/ 3317 h 289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Lst>
                  <a:rect l="l" t="t" r="r" b="b"/>
                  <a:pathLst>
                    <a:path w="296079" h="289274">
                      <a:moveTo>
                        <a:pt x="78090" y="3317"/>
                      </a:moveTo>
                      <a:lnTo>
                        <a:pt x="86672" y="6406"/>
                      </a:lnTo>
                      <a:lnTo>
                        <a:pt x="88237" y="6121"/>
                      </a:lnTo>
                      <a:lnTo>
                        <a:pt x="89533" y="6552"/>
                      </a:lnTo>
                      <a:lnTo>
                        <a:pt x="91684" y="8231"/>
                      </a:lnTo>
                      <a:lnTo>
                        <a:pt x="94863" y="11817"/>
                      </a:lnTo>
                      <a:lnTo>
                        <a:pt x="96737" y="14132"/>
                      </a:lnTo>
                      <a:lnTo>
                        <a:pt x="97642" y="15493"/>
                      </a:lnTo>
                      <a:lnTo>
                        <a:pt x="102051" y="23276"/>
                      </a:lnTo>
                      <a:lnTo>
                        <a:pt x="103689" y="25232"/>
                      </a:lnTo>
                      <a:lnTo>
                        <a:pt x="105343" y="26291"/>
                      </a:lnTo>
                      <a:lnTo>
                        <a:pt x="107022" y="26674"/>
                      </a:lnTo>
                      <a:lnTo>
                        <a:pt x="108302" y="26535"/>
                      </a:lnTo>
                      <a:lnTo>
                        <a:pt x="109532" y="25655"/>
                      </a:lnTo>
                      <a:lnTo>
                        <a:pt x="111187" y="23919"/>
                      </a:lnTo>
                      <a:lnTo>
                        <a:pt x="113705" y="23137"/>
                      </a:lnTo>
                      <a:lnTo>
                        <a:pt x="115767" y="23292"/>
                      </a:lnTo>
                      <a:lnTo>
                        <a:pt x="126459" y="16291"/>
                      </a:lnTo>
                      <a:lnTo>
                        <a:pt x="127494" y="16194"/>
                      </a:lnTo>
                      <a:lnTo>
                        <a:pt x="130608" y="16739"/>
                      </a:lnTo>
                      <a:lnTo>
                        <a:pt x="134055" y="17701"/>
                      </a:lnTo>
                      <a:lnTo>
                        <a:pt x="143020" y="24726"/>
                      </a:lnTo>
                      <a:lnTo>
                        <a:pt x="150322" y="29314"/>
                      </a:lnTo>
                      <a:lnTo>
                        <a:pt x="155456" y="30855"/>
                      </a:lnTo>
                      <a:lnTo>
                        <a:pt x="161503" y="31947"/>
                      </a:lnTo>
                      <a:lnTo>
                        <a:pt x="171780" y="32273"/>
                      </a:lnTo>
                      <a:lnTo>
                        <a:pt x="179555" y="22428"/>
                      </a:lnTo>
                      <a:lnTo>
                        <a:pt x="182432" y="20277"/>
                      </a:lnTo>
                      <a:lnTo>
                        <a:pt x="185895" y="18337"/>
                      </a:lnTo>
                      <a:lnTo>
                        <a:pt x="187004" y="18003"/>
                      </a:lnTo>
                      <a:lnTo>
                        <a:pt x="193116" y="16511"/>
                      </a:lnTo>
                      <a:lnTo>
                        <a:pt x="205096" y="15256"/>
                      </a:lnTo>
                      <a:lnTo>
                        <a:pt x="216342" y="15794"/>
                      </a:lnTo>
                      <a:lnTo>
                        <a:pt x="218552" y="16194"/>
                      </a:lnTo>
                      <a:lnTo>
                        <a:pt x="223319" y="17498"/>
                      </a:lnTo>
                      <a:lnTo>
                        <a:pt x="230670" y="20708"/>
                      </a:lnTo>
                      <a:lnTo>
                        <a:pt x="233840" y="23781"/>
                      </a:lnTo>
                      <a:lnTo>
                        <a:pt x="238836" y="24286"/>
                      </a:lnTo>
                      <a:lnTo>
                        <a:pt x="242405" y="23683"/>
                      </a:lnTo>
                      <a:lnTo>
                        <a:pt x="243579" y="20627"/>
                      </a:lnTo>
                      <a:lnTo>
                        <a:pt x="247165" y="16609"/>
                      </a:lnTo>
                      <a:lnTo>
                        <a:pt x="249773" y="14979"/>
                      </a:lnTo>
                      <a:lnTo>
                        <a:pt x="252544" y="12901"/>
                      </a:lnTo>
                      <a:lnTo>
                        <a:pt x="256928" y="10301"/>
                      </a:lnTo>
                      <a:lnTo>
                        <a:pt x="260530" y="9136"/>
                      </a:lnTo>
                      <a:lnTo>
                        <a:pt x="263758" y="6161"/>
                      </a:lnTo>
                      <a:lnTo>
                        <a:pt x="266317" y="5224"/>
                      </a:lnTo>
                      <a:lnTo>
                        <a:pt x="270758" y="5134"/>
                      </a:lnTo>
                      <a:lnTo>
                        <a:pt x="274662" y="11662"/>
                      </a:lnTo>
                      <a:lnTo>
                        <a:pt x="278851" y="18671"/>
                      </a:lnTo>
                      <a:lnTo>
                        <a:pt x="282111" y="24140"/>
                      </a:lnTo>
                      <a:lnTo>
                        <a:pt x="284499" y="38255"/>
                      </a:lnTo>
                      <a:lnTo>
                        <a:pt x="284743" y="40944"/>
                      </a:lnTo>
                      <a:lnTo>
                        <a:pt x="284923" y="42150"/>
                      </a:lnTo>
                      <a:lnTo>
                        <a:pt x="285102" y="43267"/>
                      </a:lnTo>
                      <a:lnTo>
                        <a:pt x="285412" y="45182"/>
                      </a:lnTo>
                      <a:lnTo>
                        <a:pt x="287278" y="46013"/>
                      </a:lnTo>
                      <a:lnTo>
                        <a:pt x="290823" y="46380"/>
                      </a:lnTo>
                      <a:lnTo>
                        <a:pt x="293390" y="47774"/>
                      </a:lnTo>
                      <a:lnTo>
                        <a:pt x="294922" y="50080"/>
                      </a:lnTo>
                      <a:lnTo>
                        <a:pt x="295086" y="50463"/>
                      </a:lnTo>
                      <a:lnTo>
                        <a:pt x="295900" y="52232"/>
                      </a:lnTo>
                      <a:lnTo>
                        <a:pt x="296079" y="53511"/>
                      </a:lnTo>
                      <a:lnTo>
                        <a:pt x="295852" y="57211"/>
                      </a:lnTo>
                      <a:lnTo>
                        <a:pt x="295338" y="61954"/>
                      </a:lnTo>
                      <a:lnTo>
                        <a:pt x="294474" y="65010"/>
                      </a:lnTo>
                      <a:lnTo>
                        <a:pt x="294963" y="69175"/>
                      </a:lnTo>
                      <a:lnTo>
                        <a:pt x="294809" y="70952"/>
                      </a:lnTo>
                      <a:lnTo>
                        <a:pt x="294417" y="72166"/>
                      </a:lnTo>
                      <a:lnTo>
                        <a:pt x="292828" y="73568"/>
                      </a:lnTo>
                      <a:lnTo>
                        <a:pt x="290676" y="74929"/>
                      </a:lnTo>
                      <a:lnTo>
                        <a:pt x="285550" y="78946"/>
                      </a:lnTo>
                      <a:lnTo>
                        <a:pt x="284075" y="79541"/>
                      </a:lnTo>
                      <a:lnTo>
                        <a:pt x="281923" y="79647"/>
                      </a:lnTo>
                      <a:lnTo>
                        <a:pt x="280058" y="80650"/>
                      </a:lnTo>
                      <a:lnTo>
                        <a:pt x="277848" y="82817"/>
                      </a:lnTo>
                      <a:lnTo>
                        <a:pt x="273081" y="90886"/>
                      </a:lnTo>
                      <a:lnTo>
                        <a:pt x="268998" y="98978"/>
                      </a:lnTo>
                      <a:lnTo>
                        <a:pt x="267588" y="105678"/>
                      </a:lnTo>
                      <a:lnTo>
                        <a:pt x="266007" y="112075"/>
                      </a:lnTo>
                      <a:lnTo>
                        <a:pt x="262413" y="116158"/>
                      </a:lnTo>
                      <a:lnTo>
                        <a:pt x="261916" y="118456"/>
                      </a:lnTo>
                      <a:lnTo>
                        <a:pt x="261761" y="119785"/>
                      </a:lnTo>
                      <a:lnTo>
                        <a:pt x="261639" y="122857"/>
                      </a:lnTo>
                      <a:lnTo>
                        <a:pt x="261207" y="127951"/>
                      </a:lnTo>
                      <a:lnTo>
                        <a:pt x="260645" y="130404"/>
                      </a:lnTo>
                      <a:lnTo>
                        <a:pt x="260066" y="131129"/>
                      </a:lnTo>
                      <a:lnTo>
                        <a:pt x="256195" y="132669"/>
                      </a:lnTo>
                      <a:lnTo>
                        <a:pt x="253970" y="134544"/>
                      </a:lnTo>
                      <a:lnTo>
                        <a:pt x="252633" y="138244"/>
                      </a:lnTo>
                      <a:lnTo>
                        <a:pt x="252136" y="142246"/>
                      </a:lnTo>
                      <a:lnTo>
                        <a:pt x="251354" y="146801"/>
                      </a:lnTo>
                      <a:lnTo>
                        <a:pt x="250914" y="150803"/>
                      </a:lnTo>
                      <a:lnTo>
                        <a:pt x="250303" y="152873"/>
                      </a:lnTo>
                      <a:lnTo>
                        <a:pt x="249047" y="155049"/>
                      </a:lnTo>
                      <a:lnTo>
                        <a:pt x="247067" y="157396"/>
                      </a:lnTo>
                      <a:lnTo>
                        <a:pt x="245364" y="158708"/>
                      </a:lnTo>
                      <a:lnTo>
                        <a:pt x="240914" y="159564"/>
                      </a:lnTo>
                      <a:lnTo>
                        <a:pt x="238640" y="164853"/>
                      </a:lnTo>
                      <a:lnTo>
                        <a:pt x="236709" y="168993"/>
                      </a:lnTo>
                      <a:lnTo>
                        <a:pt x="236644" y="170647"/>
                      </a:lnTo>
                      <a:lnTo>
                        <a:pt x="234777" y="179221"/>
                      </a:lnTo>
                      <a:lnTo>
                        <a:pt x="231542" y="185675"/>
                      </a:lnTo>
                      <a:lnTo>
                        <a:pt x="231322" y="187957"/>
                      </a:lnTo>
                      <a:lnTo>
                        <a:pt x="231305" y="189824"/>
                      </a:lnTo>
                      <a:lnTo>
                        <a:pt x="227255" y="195512"/>
                      </a:lnTo>
                      <a:lnTo>
                        <a:pt x="226179" y="197191"/>
                      </a:lnTo>
                      <a:lnTo>
                        <a:pt x="225144" y="199375"/>
                      </a:lnTo>
                      <a:lnTo>
                        <a:pt x="226163" y="201486"/>
                      </a:lnTo>
                      <a:lnTo>
                        <a:pt x="227321" y="203409"/>
                      </a:lnTo>
                      <a:lnTo>
                        <a:pt x="227492" y="204061"/>
                      </a:lnTo>
                      <a:lnTo>
                        <a:pt x="225642" y="205870"/>
                      </a:lnTo>
                      <a:lnTo>
                        <a:pt x="222422" y="209016"/>
                      </a:lnTo>
                      <a:lnTo>
                        <a:pt x="220507" y="210899"/>
                      </a:lnTo>
                      <a:lnTo>
                        <a:pt x="220075" y="211926"/>
                      </a:lnTo>
                      <a:lnTo>
                        <a:pt x="219798" y="216661"/>
                      </a:lnTo>
                      <a:lnTo>
                        <a:pt x="219236" y="217924"/>
                      </a:lnTo>
                      <a:lnTo>
                        <a:pt x="217965" y="219660"/>
                      </a:lnTo>
                      <a:lnTo>
                        <a:pt x="216090" y="221567"/>
                      </a:lnTo>
                      <a:lnTo>
                        <a:pt x="214183" y="223042"/>
                      </a:lnTo>
                      <a:lnTo>
                        <a:pt x="212007" y="224069"/>
                      </a:lnTo>
                      <a:lnTo>
                        <a:pt x="209929" y="224444"/>
                      </a:lnTo>
                      <a:lnTo>
                        <a:pt x="208763" y="223849"/>
                      </a:lnTo>
                      <a:lnTo>
                        <a:pt x="208095" y="222414"/>
                      </a:lnTo>
                      <a:lnTo>
                        <a:pt x="206930" y="216636"/>
                      </a:lnTo>
                      <a:lnTo>
                        <a:pt x="206335" y="215397"/>
                      </a:lnTo>
                      <a:lnTo>
                        <a:pt x="204990" y="214273"/>
                      </a:lnTo>
                      <a:lnTo>
                        <a:pt x="202317" y="211119"/>
                      </a:lnTo>
                      <a:lnTo>
                        <a:pt x="199611" y="207916"/>
                      </a:lnTo>
                      <a:lnTo>
                        <a:pt x="196360" y="205667"/>
                      </a:lnTo>
                      <a:lnTo>
                        <a:pt x="195659" y="205829"/>
                      </a:lnTo>
                      <a:lnTo>
                        <a:pt x="195121" y="206441"/>
                      </a:lnTo>
                      <a:lnTo>
                        <a:pt x="194200" y="209660"/>
                      </a:lnTo>
                      <a:lnTo>
                        <a:pt x="193287" y="210834"/>
                      </a:lnTo>
                      <a:lnTo>
                        <a:pt x="191575" y="211241"/>
                      </a:lnTo>
                      <a:lnTo>
                        <a:pt x="188601" y="211266"/>
                      </a:lnTo>
                      <a:lnTo>
                        <a:pt x="186425" y="210817"/>
                      </a:lnTo>
                      <a:lnTo>
                        <a:pt x="185928" y="210173"/>
                      </a:lnTo>
                      <a:lnTo>
                        <a:pt x="185488" y="208780"/>
                      </a:lnTo>
                      <a:lnTo>
                        <a:pt x="184885" y="207663"/>
                      </a:lnTo>
                      <a:lnTo>
                        <a:pt x="182293" y="209913"/>
                      </a:lnTo>
                      <a:lnTo>
                        <a:pt x="178210" y="213466"/>
                      </a:lnTo>
                      <a:lnTo>
                        <a:pt x="176882" y="214045"/>
                      </a:lnTo>
                      <a:lnTo>
                        <a:pt x="175871" y="214762"/>
                      </a:lnTo>
                      <a:lnTo>
                        <a:pt x="174518" y="218062"/>
                      </a:lnTo>
                      <a:lnTo>
                        <a:pt x="172896" y="221616"/>
                      </a:lnTo>
                      <a:lnTo>
                        <a:pt x="170769" y="223466"/>
                      </a:lnTo>
                      <a:lnTo>
                        <a:pt x="168683" y="225022"/>
                      </a:lnTo>
                      <a:lnTo>
                        <a:pt x="167493" y="226383"/>
                      </a:lnTo>
                      <a:lnTo>
                        <a:pt x="165790" y="227997"/>
                      </a:lnTo>
                      <a:lnTo>
                        <a:pt x="162448" y="232006"/>
                      </a:lnTo>
                      <a:lnTo>
                        <a:pt x="158023" y="237320"/>
                      </a:lnTo>
                      <a:lnTo>
                        <a:pt x="156459" y="240058"/>
                      </a:lnTo>
                      <a:lnTo>
                        <a:pt x="154918" y="244158"/>
                      </a:lnTo>
                      <a:lnTo>
                        <a:pt x="154030" y="248705"/>
                      </a:lnTo>
                      <a:lnTo>
                        <a:pt x="153044" y="253685"/>
                      </a:lnTo>
                      <a:lnTo>
                        <a:pt x="151601" y="261680"/>
                      </a:lnTo>
                      <a:lnTo>
                        <a:pt x="149482" y="266195"/>
                      </a:lnTo>
                      <a:lnTo>
                        <a:pt x="147624" y="269789"/>
                      </a:lnTo>
                      <a:lnTo>
                        <a:pt x="146239" y="272608"/>
                      </a:lnTo>
                      <a:lnTo>
                        <a:pt x="145513" y="274939"/>
                      </a:lnTo>
                      <a:lnTo>
                        <a:pt x="145212" y="274866"/>
                      </a:lnTo>
                      <a:lnTo>
                        <a:pt x="144495" y="275852"/>
                      </a:lnTo>
                      <a:lnTo>
                        <a:pt x="142425" y="275208"/>
                      </a:lnTo>
                      <a:lnTo>
                        <a:pt x="141496" y="273179"/>
                      </a:lnTo>
                      <a:lnTo>
                        <a:pt x="140216" y="272853"/>
                      </a:lnTo>
                      <a:lnTo>
                        <a:pt x="138007" y="269870"/>
                      </a:lnTo>
                      <a:lnTo>
                        <a:pt x="137535" y="270375"/>
                      </a:lnTo>
                      <a:lnTo>
                        <a:pt x="139866" y="277914"/>
                      </a:lnTo>
                      <a:lnTo>
                        <a:pt x="139002" y="280864"/>
                      </a:lnTo>
                      <a:lnTo>
                        <a:pt x="132433" y="280929"/>
                      </a:lnTo>
                      <a:lnTo>
                        <a:pt x="126801" y="281924"/>
                      </a:lnTo>
                      <a:lnTo>
                        <a:pt x="122906" y="281826"/>
                      </a:lnTo>
                      <a:lnTo>
                        <a:pt x="120958" y="280766"/>
                      </a:lnTo>
                      <a:lnTo>
                        <a:pt x="120094" y="277939"/>
                      </a:lnTo>
                      <a:lnTo>
                        <a:pt x="119768" y="278232"/>
                      </a:lnTo>
                      <a:lnTo>
                        <a:pt x="119573" y="279748"/>
                      </a:lnTo>
                      <a:lnTo>
                        <a:pt x="118350" y="280937"/>
                      </a:lnTo>
                      <a:lnTo>
                        <a:pt x="113998" y="281158"/>
                      </a:lnTo>
                      <a:lnTo>
                        <a:pt x="112075" y="279234"/>
                      </a:lnTo>
                      <a:lnTo>
                        <a:pt x="110518" y="277067"/>
                      </a:lnTo>
                      <a:lnTo>
                        <a:pt x="108847" y="276105"/>
                      </a:lnTo>
                      <a:lnTo>
                        <a:pt x="109109" y="277009"/>
                      </a:lnTo>
                      <a:lnTo>
                        <a:pt x="111016" y="279120"/>
                      </a:lnTo>
                      <a:lnTo>
                        <a:pt x="110779" y="282152"/>
                      </a:lnTo>
                      <a:lnTo>
                        <a:pt x="107275" y="285664"/>
                      </a:lnTo>
                      <a:lnTo>
                        <a:pt x="105042" y="285860"/>
                      </a:lnTo>
                      <a:lnTo>
                        <a:pt x="103664" y="284344"/>
                      </a:lnTo>
                      <a:lnTo>
                        <a:pt x="102963" y="281875"/>
                      </a:lnTo>
                      <a:lnTo>
                        <a:pt x="102597" y="278224"/>
                      </a:lnTo>
                      <a:lnTo>
                        <a:pt x="101684" y="275844"/>
                      </a:lnTo>
                      <a:lnTo>
                        <a:pt x="101179" y="275844"/>
                      </a:lnTo>
                      <a:lnTo>
                        <a:pt x="101643" y="278028"/>
                      </a:lnTo>
                      <a:lnTo>
                        <a:pt x="101798" y="279813"/>
                      </a:lnTo>
                      <a:lnTo>
                        <a:pt x="101822" y="283521"/>
                      </a:lnTo>
                      <a:lnTo>
                        <a:pt x="103493" y="286398"/>
                      </a:lnTo>
                      <a:lnTo>
                        <a:pt x="100926" y="287286"/>
                      </a:lnTo>
                      <a:lnTo>
                        <a:pt x="99883" y="287327"/>
                      </a:lnTo>
                      <a:lnTo>
                        <a:pt x="97854" y="287392"/>
                      </a:lnTo>
                      <a:lnTo>
                        <a:pt x="97463" y="286325"/>
                      </a:lnTo>
                      <a:lnTo>
                        <a:pt x="97063" y="283945"/>
                      </a:lnTo>
                      <a:lnTo>
                        <a:pt x="96542" y="283317"/>
                      </a:lnTo>
                      <a:lnTo>
                        <a:pt x="95906" y="287360"/>
                      </a:lnTo>
                      <a:lnTo>
                        <a:pt x="94553" y="287645"/>
                      </a:lnTo>
                      <a:lnTo>
                        <a:pt x="93616" y="287612"/>
                      </a:lnTo>
                      <a:lnTo>
                        <a:pt x="89590" y="288484"/>
                      </a:lnTo>
                      <a:lnTo>
                        <a:pt x="88701" y="288313"/>
                      </a:lnTo>
                      <a:lnTo>
                        <a:pt x="88514" y="287572"/>
                      </a:lnTo>
                      <a:lnTo>
                        <a:pt x="88987" y="286455"/>
                      </a:lnTo>
                      <a:lnTo>
                        <a:pt x="88889" y="284638"/>
                      </a:lnTo>
                      <a:lnTo>
                        <a:pt x="87479" y="286031"/>
                      </a:lnTo>
                      <a:lnTo>
                        <a:pt x="87259" y="288827"/>
                      </a:lnTo>
                      <a:lnTo>
                        <a:pt x="86461" y="289275"/>
                      </a:lnTo>
                      <a:lnTo>
                        <a:pt x="84065" y="288875"/>
                      </a:lnTo>
                      <a:lnTo>
                        <a:pt x="81440" y="287441"/>
                      </a:lnTo>
                      <a:lnTo>
                        <a:pt x="79851" y="285966"/>
                      </a:lnTo>
                      <a:lnTo>
                        <a:pt x="77178" y="283920"/>
                      </a:lnTo>
                      <a:lnTo>
                        <a:pt x="71946" y="278183"/>
                      </a:lnTo>
                      <a:lnTo>
                        <a:pt x="71098" y="275608"/>
                      </a:lnTo>
                      <a:lnTo>
                        <a:pt x="69599" y="272445"/>
                      </a:lnTo>
                      <a:lnTo>
                        <a:pt x="68474" y="269226"/>
                      </a:lnTo>
                      <a:lnTo>
                        <a:pt x="66868" y="263733"/>
                      </a:lnTo>
                      <a:lnTo>
                        <a:pt x="67366" y="263334"/>
                      </a:lnTo>
                      <a:lnTo>
                        <a:pt x="68580" y="263807"/>
                      </a:lnTo>
                      <a:lnTo>
                        <a:pt x="69167" y="262984"/>
                      </a:lnTo>
                      <a:lnTo>
                        <a:pt x="66991" y="262381"/>
                      </a:lnTo>
                      <a:lnTo>
                        <a:pt x="66534" y="261745"/>
                      </a:lnTo>
                      <a:lnTo>
                        <a:pt x="66388" y="259821"/>
                      </a:lnTo>
                      <a:lnTo>
                        <a:pt x="66477" y="257466"/>
                      </a:lnTo>
                      <a:lnTo>
                        <a:pt x="68254" y="256635"/>
                      </a:lnTo>
                      <a:lnTo>
                        <a:pt x="69786" y="256228"/>
                      </a:lnTo>
                      <a:lnTo>
                        <a:pt x="70552" y="254801"/>
                      </a:lnTo>
                      <a:lnTo>
                        <a:pt x="71000" y="253367"/>
                      </a:lnTo>
                      <a:lnTo>
                        <a:pt x="66934" y="255551"/>
                      </a:lnTo>
                      <a:lnTo>
                        <a:pt x="63128" y="253082"/>
                      </a:lnTo>
                      <a:lnTo>
                        <a:pt x="62304" y="251590"/>
                      </a:lnTo>
                      <a:lnTo>
                        <a:pt x="62712" y="250441"/>
                      </a:lnTo>
                      <a:lnTo>
                        <a:pt x="64529" y="250270"/>
                      </a:lnTo>
                      <a:lnTo>
                        <a:pt x="67129" y="250360"/>
                      </a:lnTo>
                      <a:lnTo>
                        <a:pt x="68686" y="249243"/>
                      </a:lnTo>
                      <a:lnTo>
                        <a:pt x="67724" y="248852"/>
                      </a:lnTo>
                      <a:lnTo>
                        <a:pt x="66045" y="248893"/>
                      </a:lnTo>
                      <a:lnTo>
                        <a:pt x="65434" y="248151"/>
                      </a:lnTo>
                      <a:lnTo>
                        <a:pt x="65483" y="246366"/>
                      </a:lnTo>
                      <a:lnTo>
                        <a:pt x="64937" y="246757"/>
                      </a:lnTo>
                      <a:lnTo>
                        <a:pt x="64220" y="248339"/>
                      </a:lnTo>
                      <a:lnTo>
                        <a:pt x="61661" y="249504"/>
                      </a:lnTo>
                      <a:lnTo>
                        <a:pt x="60153" y="248339"/>
                      </a:lnTo>
                      <a:lnTo>
                        <a:pt x="60006" y="245747"/>
                      </a:lnTo>
                      <a:lnTo>
                        <a:pt x="59672" y="244574"/>
                      </a:lnTo>
                      <a:lnTo>
                        <a:pt x="58409" y="243661"/>
                      </a:lnTo>
                      <a:lnTo>
                        <a:pt x="53910" y="236790"/>
                      </a:lnTo>
                      <a:lnTo>
                        <a:pt x="48287" y="231061"/>
                      </a:lnTo>
                      <a:lnTo>
                        <a:pt x="43259" y="227117"/>
                      </a:lnTo>
                      <a:lnTo>
                        <a:pt x="35687" y="225234"/>
                      </a:lnTo>
                      <a:lnTo>
                        <a:pt x="19828" y="225307"/>
                      </a:lnTo>
                      <a:lnTo>
                        <a:pt x="18948" y="224762"/>
                      </a:lnTo>
                      <a:lnTo>
                        <a:pt x="19918" y="223857"/>
                      </a:lnTo>
                      <a:lnTo>
                        <a:pt x="21311" y="223254"/>
                      </a:lnTo>
                      <a:lnTo>
                        <a:pt x="26413" y="220059"/>
                      </a:lnTo>
                      <a:lnTo>
                        <a:pt x="25557" y="219635"/>
                      </a:lnTo>
                      <a:lnTo>
                        <a:pt x="20252" y="221632"/>
                      </a:lnTo>
                      <a:lnTo>
                        <a:pt x="18443" y="221819"/>
                      </a:lnTo>
                      <a:lnTo>
                        <a:pt x="16096" y="225666"/>
                      </a:lnTo>
                      <a:lnTo>
                        <a:pt x="2135" y="226302"/>
                      </a:lnTo>
                      <a:lnTo>
                        <a:pt x="489" y="226497"/>
                      </a:lnTo>
                      <a:lnTo>
                        <a:pt x="530" y="224745"/>
                      </a:lnTo>
                      <a:lnTo>
                        <a:pt x="1214" y="219692"/>
                      </a:lnTo>
                      <a:lnTo>
                        <a:pt x="1662" y="217712"/>
                      </a:lnTo>
                      <a:lnTo>
                        <a:pt x="2176" y="216212"/>
                      </a:lnTo>
                      <a:lnTo>
                        <a:pt x="1646" y="214403"/>
                      </a:lnTo>
                      <a:lnTo>
                        <a:pt x="1125" y="211966"/>
                      </a:lnTo>
                      <a:lnTo>
                        <a:pt x="872" y="208136"/>
                      </a:lnTo>
                      <a:lnTo>
                        <a:pt x="1516" y="206946"/>
                      </a:lnTo>
                      <a:lnTo>
                        <a:pt x="1744" y="205504"/>
                      </a:lnTo>
                      <a:lnTo>
                        <a:pt x="1589" y="203238"/>
                      </a:lnTo>
                      <a:lnTo>
                        <a:pt x="1581" y="195675"/>
                      </a:lnTo>
                      <a:lnTo>
                        <a:pt x="1964" y="194852"/>
                      </a:lnTo>
                      <a:lnTo>
                        <a:pt x="2420" y="194216"/>
                      </a:lnTo>
                      <a:lnTo>
                        <a:pt x="2453" y="193214"/>
                      </a:lnTo>
                      <a:lnTo>
                        <a:pt x="1605" y="191258"/>
                      </a:lnTo>
                      <a:lnTo>
                        <a:pt x="823" y="189017"/>
                      </a:lnTo>
                      <a:lnTo>
                        <a:pt x="848" y="185806"/>
                      </a:lnTo>
                      <a:lnTo>
                        <a:pt x="530" y="182692"/>
                      </a:lnTo>
                      <a:lnTo>
                        <a:pt x="0" y="181274"/>
                      </a:lnTo>
                      <a:lnTo>
                        <a:pt x="407" y="175977"/>
                      </a:lnTo>
                      <a:lnTo>
                        <a:pt x="636" y="169262"/>
                      </a:lnTo>
                      <a:lnTo>
                        <a:pt x="424" y="166287"/>
                      </a:lnTo>
                      <a:lnTo>
                        <a:pt x="929" y="164176"/>
                      </a:lnTo>
                      <a:lnTo>
                        <a:pt x="1198" y="158993"/>
                      </a:lnTo>
                      <a:lnTo>
                        <a:pt x="1157" y="153916"/>
                      </a:lnTo>
                      <a:lnTo>
                        <a:pt x="2192" y="145905"/>
                      </a:lnTo>
                      <a:lnTo>
                        <a:pt x="5256" y="145514"/>
                      </a:lnTo>
                      <a:lnTo>
                        <a:pt x="8891" y="144837"/>
                      </a:lnTo>
                      <a:lnTo>
                        <a:pt x="10513" y="141683"/>
                      </a:lnTo>
                      <a:lnTo>
                        <a:pt x="11442" y="137698"/>
                      </a:lnTo>
                      <a:lnTo>
                        <a:pt x="11149" y="133745"/>
                      </a:lnTo>
                      <a:lnTo>
                        <a:pt x="11858" y="132449"/>
                      </a:lnTo>
                      <a:lnTo>
                        <a:pt x="13316" y="130306"/>
                      </a:lnTo>
                      <a:lnTo>
                        <a:pt x="15949" y="127250"/>
                      </a:lnTo>
                      <a:lnTo>
                        <a:pt x="15843" y="123892"/>
                      </a:lnTo>
                      <a:lnTo>
                        <a:pt x="16568" y="122857"/>
                      </a:lnTo>
                      <a:lnTo>
                        <a:pt x="17815" y="122075"/>
                      </a:lnTo>
                      <a:lnTo>
                        <a:pt x="19600" y="121675"/>
                      </a:lnTo>
                      <a:lnTo>
                        <a:pt x="21589" y="120005"/>
                      </a:lnTo>
                      <a:lnTo>
                        <a:pt x="22705" y="117071"/>
                      </a:lnTo>
                      <a:lnTo>
                        <a:pt x="23797" y="112377"/>
                      </a:lnTo>
                      <a:lnTo>
                        <a:pt x="22077" y="109109"/>
                      </a:lnTo>
                      <a:lnTo>
                        <a:pt x="22118" y="108383"/>
                      </a:lnTo>
                      <a:lnTo>
                        <a:pt x="22762" y="106623"/>
                      </a:lnTo>
                      <a:lnTo>
                        <a:pt x="23821" y="104871"/>
                      </a:lnTo>
                      <a:lnTo>
                        <a:pt x="24653" y="104309"/>
                      </a:lnTo>
                      <a:lnTo>
                        <a:pt x="26593" y="104757"/>
                      </a:lnTo>
                      <a:lnTo>
                        <a:pt x="26918" y="104610"/>
                      </a:lnTo>
                      <a:lnTo>
                        <a:pt x="27220" y="104056"/>
                      </a:lnTo>
                      <a:lnTo>
                        <a:pt x="28467" y="98872"/>
                      </a:lnTo>
                      <a:lnTo>
                        <a:pt x="28344" y="97471"/>
                      </a:lnTo>
                      <a:lnTo>
                        <a:pt x="26543" y="93999"/>
                      </a:lnTo>
                      <a:lnTo>
                        <a:pt x="26242" y="91530"/>
                      </a:lnTo>
                      <a:lnTo>
                        <a:pt x="25981" y="87854"/>
                      </a:lnTo>
                      <a:lnTo>
                        <a:pt x="25541" y="84610"/>
                      </a:lnTo>
                      <a:lnTo>
                        <a:pt x="25020" y="83380"/>
                      </a:lnTo>
                      <a:lnTo>
                        <a:pt x="24050" y="82345"/>
                      </a:lnTo>
                      <a:lnTo>
                        <a:pt x="23626" y="81668"/>
                      </a:lnTo>
                      <a:lnTo>
                        <a:pt x="19869" y="75059"/>
                      </a:lnTo>
                      <a:lnTo>
                        <a:pt x="19942" y="71921"/>
                      </a:lnTo>
                      <a:lnTo>
                        <a:pt x="21507" y="67912"/>
                      </a:lnTo>
                      <a:lnTo>
                        <a:pt x="22542" y="65964"/>
                      </a:lnTo>
                      <a:lnTo>
                        <a:pt x="23977" y="64888"/>
                      </a:lnTo>
                      <a:lnTo>
                        <a:pt x="24262" y="63967"/>
                      </a:lnTo>
                      <a:lnTo>
                        <a:pt x="23821" y="62834"/>
                      </a:lnTo>
                      <a:lnTo>
                        <a:pt x="23113" y="61987"/>
                      </a:lnTo>
                      <a:lnTo>
                        <a:pt x="22942" y="60186"/>
                      </a:lnTo>
                      <a:lnTo>
                        <a:pt x="23137" y="58988"/>
                      </a:lnTo>
                      <a:lnTo>
                        <a:pt x="23642" y="57676"/>
                      </a:lnTo>
                      <a:lnTo>
                        <a:pt x="23447" y="54913"/>
                      </a:lnTo>
                      <a:lnTo>
                        <a:pt x="23487" y="50675"/>
                      </a:lnTo>
                      <a:lnTo>
                        <a:pt x="23724" y="44506"/>
                      </a:lnTo>
                      <a:lnTo>
                        <a:pt x="23805" y="40732"/>
                      </a:lnTo>
                      <a:lnTo>
                        <a:pt x="26837" y="37937"/>
                      </a:lnTo>
                      <a:lnTo>
                        <a:pt x="31270" y="33308"/>
                      </a:lnTo>
                      <a:lnTo>
                        <a:pt x="33520" y="28467"/>
                      </a:lnTo>
                      <a:lnTo>
                        <a:pt x="34718" y="24800"/>
                      </a:lnTo>
                      <a:lnTo>
                        <a:pt x="36209" y="12591"/>
                      </a:lnTo>
                      <a:lnTo>
                        <a:pt x="37293" y="11858"/>
                      </a:lnTo>
                      <a:lnTo>
                        <a:pt x="38564" y="11279"/>
                      </a:lnTo>
                      <a:lnTo>
                        <a:pt x="43006" y="6838"/>
                      </a:lnTo>
                      <a:lnTo>
                        <a:pt x="46437" y="5191"/>
                      </a:lnTo>
                      <a:lnTo>
                        <a:pt x="49045" y="4230"/>
                      </a:lnTo>
                      <a:lnTo>
                        <a:pt x="52981" y="3423"/>
                      </a:lnTo>
                      <a:lnTo>
                        <a:pt x="55410" y="3749"/>
                      </a:lnTo>
                      <a:lnTo>
                        <a:pt x="59852" y="3945"/>
                      </a:lnTo>
                      <a:lnTo>
                        <a:pt x="63356" y="3504"/>
                      </a:lnTo>
                      <a:lnTo>
                        <a:pt x="66330" y="1092"/>
                      </a:lnTo>
                      <a:lnTo>
                        <a:pt x="67676" y="416"/>
                      </a:lnTo>
                      <a:lnTo>
                        <a:pt x="69566" y="0"/>
                      </a:lnTo>
                      <a:lnTo>
                        <a:pt x="78090" y="3317"/>
                      </a:lnTo>
                      <a:close/>
                    </a:path>
                  </a:pathLst>
                </a:custGeom>
                <a:solidFill>
                  <a:srgbClr val="D6D6D2"/>
                </a:solidFill>
                <a:ln w="6112" cap="rnd">
                  <a:solidFill>
                    <a:srgbClr val="FFFFFF"/>
                  </a:solidFill>
                  <a:prstDash val="solid"/>
                  <a:round/>
                </a:ln>
              </p:spPr>
              <p:txBody>
                <a:bodyPr rtlCol="0" anchor="ctr"/>
                <a:lstStyle/>
                <a:p>
                  <a:endParaRPr lang="en-US"/>
                </a:p>
              </p:txBody>
            </p:sp>
            <p:sp>
              <p:nvSpPr>
                <p:cNvPr id="670" name="Freeform: Shape 669">
                  <a:extLst>
                    <a:ext uri="{FF2B5EF4-FFF2-40B4-BE49-F238E27FC236}">
                      <a16:creationId xmlns:a16="http://schemas.microsoft.com/office/drawing/2014/main" id="{A27327E4-F529-4E78-9103-A67E35EFDAC0}"/>
                    </a:ext>
                  </a:extLst>
                </p:cNvPr>
                <p:cNvSpPr/>
                <p:nvPr/>
              </p:nvSpPr>
              <p:spPr>
                <a:xfrm>
                  <a:off x="5947691" y="3810344"/>
                  <a:ext cx="391855" cy="362760"/>
                </a:xfrm>
                <a:custGeom>
                  <a:avLst/>
                  <a:gdLst>
                    <a:gd name="connsiteX0" fmla="*/ 367455 w 391855"/>
                    <a:gd name="connsiteY0" fmla="*/ 16283 h 362760"/>
                    <a:gd name="connsiteX1" fmla="*/ 370185 w 391855"/>
                    <a:gd name="connsiteY1" fmla="*/ 34278 h 362760"/>
                    <a:gd name="connsiteX2" fmla="*/ 372247 w 391855"/>
                    <a:gd name="connsiteY2" fmla="*/ 49705 h 362760"/>
                    <a:gd name="connsiteX3" fmla="*/ 372386 w 391855"/>
                    <a:gd name="connsiteY3" fmla="*/ 59526 h 362760"/>
                    <a:gd name="connsiteX4" fmla="*/ 372484 w 391855"/>
                    <a:gd name="connsiteY4" fmla="*/ 62085 h 362760"/>
                    <a:gd name="connsiteX5" fmla="*/ 373315 w 391855"/>
                    <a:gd name="connsiteY5" fmla="*/ 63821 h 362760"/>
                    <a:gd name="connsiteX6" fmla="*/ 375254 w 391855"/>
                    <a:gd name="connsiteY6" fmla="*/ 65548 h 362760"/>
                    <a:gd name="connsiteX7" fmla="*/ 383045 w 391855"/>
                    <a:gd name="connsiteY7" fmla="*/ 79721 h 362760"/>
                    <a:gd name="connsiteX8" fmla="*/ 381383 w 391855"/>
                    <a:gd name="connsiteY8" fmla="*/ 82182 h 362760"/>
                    <a:gd name="connsiteX9" fmla="*/ 382532 w 391855"/>
                    <a:gd name="connsiteY9" fmla="*/ 86558 h 362760"/>
                    <a:gd name="connsiteX10" fmla="*/ 384553 w 391855"/>
                    <a:gd name="connsiteY10" fmla="*/ 88441 h 362760"/>
                    <a:gd name="connsiteX11" fmla="*/ 391016 w 391855"/>
                    <a:gd name="connsiteY11" fmla="*/ 96876 h 362760"/>
                    <a:gd name="connsiteX12" fmla="*/ 391855 w 391855"/>
                    <a:gd name="connsiteY12" fmla="*/ 98530 h 362760"/>
                    <a:gd name="connsiteX13" fmla="*/ 391513 w 391855"/>
                    <a:gd name="connsiteY13" fmla="*/ 99859 h 362760"/>
                    <a:gd name="connsiteX14" fmla="*/ 386974 w 391855"/>
                    <a:gd name="connsiteY14" fmla="*/ 109760 h 362760"/>
                    <a:gd name="connsiteX15" fmla="*/ 386208 w 391855"/>
                    <a:gd name="connsiteY15" fmla="*/ 112189 h 362760"/>
                    <a:gd name="connsiteX16" fmla="*/ 385295 w 391855"/>
                    <a:gd name="connsiteY16" fmla="*/ 124797 h 362760"/>
                    <a:gd name="connsiteX17" fmla="*/ 384667 w 391855"/>
                    <a:gd name="connsiteY17" fmla="*/ 133680 h 362760"/>
                    <a:gd name="connsiteX18" fmla="*/ 383787 w 391855"/>
                    <a:gd name="connsiteY18" fmla="*/ 145872 h 362760"/>
                    <a:gd name="connsiteX19" fmla="*/ 382752 w 391855"/>
                    <a:gd name="connsiteY19" fmla="*/ 160427 h 362760"/>
                    <a:gd name="connsiteX20" fmla="*/ 381905 w 391855"/>
                    <a:gd name="connsiteY20" fmla="*/ 172709 h 362760"/>
                    <a:gd name="connsiteX21" fmla="*/ 380780 w 391855"/>
                    <a:gd name="connsiteY21" fmla="*/ 188919 h 362760"/>
                    <a:gd name="connsiteX22" fmla="*/ 379737 w 391855"/>
                    <a:gd name="connsiteY22" fmla="*/ 204240 h 362760"/>
                    <a:gd name="connsiteX23" fmla="*/ 373233 w 391855"/>
                    <a:gd name="connsiteY23" fmla="*/ 212635 h 362760"/>
                    <a:gd name="connsiteX24" fmla="*/ 361693 w 391855"/>
                    <a:gd name="connsiteY24" fmla="*/ 227524 h 362760"/>
                    <a:gd name="connsiteX25" fmla="*/ 352297 w 391855"/>
                    <a:gd name="connsiteY25" fmla="*/ 239626 h 362760"/>
                    <a:gd name="connsiteX26" fmla="*/ 347586 w 391855"/>
                    <a:gd name="connsiteY26" fmla="*/ 247719 h 362760"/>
                    <a:gd name="connsiteX27" fmla="*/ 338393 w 391855"/>
                    <a:gd name="connsiteY27" fmla="*/ 263530 h 362760"/>
                    <a:gd name="connsiteX28" fmla="*/ 334294 w 391855"/>
                    <a:gd name="connsiteY28" fmla="*/ 273733 h 362760"/>
                    <a:gd name="connsiteX29" fmla="*/ 331116 w 391855"/>
                    <a:gd name="connsiteY29" fmla="*/ 279071 h 362760"/>
                    <a:gd name="connsiteX30" fmla="*/ 329486 w 391855"/>
                    <a:gd name="connsiteY30" fmla="*/ 281345 h 362760"/>
                    <a:gd name="connsiteX31" fmla="*/ 330912 w 391855"/>
                    <a:gd name="connsiteY31" fmla="*/ 288834 h 362760"/>
                    <a:gd name="connsiteX32" fmla="*/ 333405 w 391855"/>
                    <a:gd name="connsiteY32" fmla="*/ 301891 h 362760"/>
                    <a:gd name="connsiteX33" fmla="*/ 328964 w 391855"/>
                    <a:gd name="connsiteY33" fmla="*/ 301980 h 362760"/>
                    <a:gd name="connsiteX34" fmla="*/ 326405 w 391855"/>
                    <a:gd name="connsiteY34" fmla="*/ 302917 h 362760"/>
                    <a:gd name="connsiteX35" fmla="*/ 323177 w 391855"/>
                    <a:gd name="connsiteY35" fmla="*/ 305892 h 362760"/>
                    <a:gd name="connsiteX36" fmla="*/ 319576 w 391855"/>
                    <a:gd name="connsiteY36" fmla="*/ 307057 h 362760"/>
                    <a:gd name="connsiteX37" fmla="*/ 315191 w 391855"/>
                    <a:gd name="connsiteY37" fmla="*/ 309649 h 362760"/>
                    <a:gd name="connsiteX38" fmla="*/ 312420 w 391855"/>
                    <a:gd name="connsiteY38" fmla="*/ 311735 h 362760"/>
                    <a:gd name="connsiteX39" fmla="*/ 309804 w 391855"/>
                    <a:gd name="connsiteY39" fmla="*/ 313365 h 362760"/>
                    <a:gd name="connsiteX40" fmla="*/ 306218 w 391855"/>
                    <a:gd name="connsiteY40" fmla="*/ 317383 h 362760"/>
                    <a:gd name="connsiteX41" fmla="*/ 305044 w 391855"/>
                    <a:gd name="connsiteY41" fmla="*/ 320431 h 362760"/>
                    <a:gd name="connsiteX42" fmla="*/ 301483 w 391855"/>
                    <a:gd name="connsiteY42" fmla="*/ 321034 h 362760"/>
                    <a:gd name="connsiteX43" fmla="*/ 296487 w 391855"/>
                    <a:gd name="connsiteY43" fmla="*/ 320529 h 362760"/>
                    <a:gd name="connsiteX44" fmla="*/ 293317 w 391855"/>
                    <a:gd name="connsiteY44" fmla="*/ 317457 h 362760"/>
                    <a:gd name="connsiteX45" fmla="*/ 285966 w 391855"/>
                    <a:gd name="connsiteY45" fmla="*/ 314245 h 362760"/>
                    <a:gd name="connsiteX46" fmla="*/ 281199 w 391855"/>
                    <a:gd name="connsiteY46" fmla="*/ 312941 h 362760"/>
                    <a:gd name="connsiteX47" fmla="*/ 278982 w 391855"/>
                    <a:gd name="connsiteY47" fmla="*/ 312542 h 362760"/>
                    <a:gd name="connsiteX48" fmla="*/ 267735 w 391855"/>
                    <a:gd name="connsiteY48" fmla="*/ 312004 h 362760"/>
                    <a:gd name="connsiteX49" fmla="*/ 255763 w 391855"/>
                    <a:gd name="connsiteY49" fmla="*/ 313259 h 362760"/>
                    <a:gd name="connsiteX50" fmla="*/ 249651 w 391855"/>
                    <a:gd name="connsiteY50" fmla="*/ 314751 h 362760"/>
                    <a:gd name="connsiteX51" fmla="*/ 248542 w 391855"/>
                    <a:gd name="connsiteY51" fmla="*/ 315077 h 362760"/>
                    <a:gd name="connsiteX52" fmla="*/ 245079 w 391855"/>
                    <a:gd name="connsiteY52" fmla="*/ 317025 h 362760"/>
                    <a:gd name="connsiteX53" fmla="*/ 242202 w 391855"/>
                    <a:gd name="connsiteY53" fmla="*/ 319176 h 362760"/>
                    <a:gd name="connsiteX54" fmla="*/ 234427 w 391855"/>
                    <a:gd name="connsiteY54" fmla="*/ 329013 h 362760"/>
                    <a:gd name="connsiteX55" fmla="*/ 224158 w 391855"/>
                    <a:gd name="connsiteY55" fmla="*/ 328687 h 362760"/>
                    <a:gd name="connsiteX56" fmla="*/ 218103 w 391855"/>
                    <a:gd name="connsiteY56" fmla="*/ 327595 h 362760"/>
                    <a:gd name="connsiteX57" fmla="*/ 212977 w 391855"/>
                    <a:gd name="connsiteY57" fmla="*/ 326054 h 362760"/>
                    <a:gd name="connsiteX58" fmla="*/ 205667 w 391855"/>
                    <a:gd name="connsiteY58" fmla="*/ 321466 h 362760"/>
                    <a:gd name="connsiteX59" fmla="*/ 196702 w 391855"/>
                    <a:gd name="connsiteY59" fmla="*/ 314441 h 362760"/>
                    <a:gd name="connsiteX60" fmla="*/ 193263 w 391855"/>
                    <a:gd name="connsiteY60" fmla="*/ 313479 h 362760"/>
                    <a:gd name="connsiteX61" fmla="*/ 190149 w 391855"/>
                    <a:gd name="connsiteY61" fmla="*/ 312933 h 362760"/>
                    <a:gd name="connsiteX62" fmla="*/ 189115 w 391855"/>
                    <a:gd name="connsiteY62" fmla="*/ 313023 h 362760"/>
                    <a:gd name="connsiteX63" fmla="*/ 178422 w 391855"/>
                    <a:gd name="connsiteY63" fmla="*/ 320024 h 362760"/>
                    <a:gd name="connsiteX64" fmla="*/ 176360 w 391855"/>
                    <a:gd name="connsiteY64" fmla="*/ 319869 h 362760"/>
                    <a:gd name="connsiteX65" fmla="*/ 173850 w 391855"/>
                    <a:gd name="connsiteY65" fmla="*/ 320659 h 362760"/>
                    <a:gd name="connsiteX66" fmla="*/ 172196 w 391855"/>
                    <a:gd name="connsiteY66" fmla="*/ 322387 h 362760"/>
                    <a:gd name="connsiteX67" fmla="*/ 170957 w 391855"/>
                    <a:gd name="connsiteY67" fmla="*/ 323267 h 362760"/>
                    <a:gd name="connsiteX68" fmla="*/ 169678 w 391855"/>
                    <a:gd name="connsiteY68" fmla="*/ 323406 h 362760"/>
                    <a:gd name="connsiteX69" fmla="*/ 167999 w 391855"/>
                    <a:gd name="connsiteY69" fmla="*/ 323023 h 362760"/>
                    <a:gd name="connsiteX70" fmla="*/ 166344 w 391855"/>
                    <a:gd name="connsiteY70" fmla="*/ 321963 h 362760"/>
                    <a:gd name="connsiteX71" fmla="*/ 164706 w 391855"/>
                    <a:gd name="connsiteY71" fmla="*/ 320007 h 362760"/>
                    <a:gd name="connsiteX72" fmla="*/ 160297 w 391855"/>
                    <a:gd name="connsiteY72" fmla="*/ 312224 h 362760"/>
                    <a:gd name="connsiteX73" fmla="*/ 159384 w 391855"/>
                    <a:gd name="connsiteY73" fmla="*/ 310863 h 362760"/>
                    <a:gd name="connsiteX74" fmla="*/ 157510 w 391855"/>
                    <a:gd name="connsiteY74" fmla="*/ 308549 h 362760"/>
                    <a:gd name="connsiteX75" fmla="*/ 154332 w 391855"/>
                    <a:gd name="connsiteY75" fmla="*/ 304963 h 362760"/>
                    <a:gd name="connsiteX76" fmla="*/ 152188 w 391855"/>
                    <a:gd name="connsiteY76" fmla="*/ 303284 h 362760"/>
                    <a:gd name="connsiteX77" fmla="*/ 150884 w 391855"/>
                    <a:gd name="connsiteY77" fmla="*/ 302852 h 362760"/>
                    <a:gd name="connsiteX78" fmla="*/ 149320 w 391855"/>
                    <a:gd name="connsiteY78" fmla="*/ 303137 h 362760"/>
                    <a:gd name="connsiteX79" fmla="*/ 140738 w 391855"/>
                    <a:gd name="connsiteY79" fmla="*/ 300040 h 362760"/>
                    <a:gd name="connsiteX80" fmla="*/ 132164 w 391855"/>
                    <a:gd name="connsiteY80" fmla="*/ 296781 h 362760"/>
                    <a:gd name="connsiteX81" fmla="*/ 130265 w 391855"/>
                    <a:gd name="connsiteY81" fmla="*/ 297196 h 362760"/>
                    <a:gd name="connsiteX82" fmla="*/ 128920 w 391855"/>
                    <a:gd name="connsiteY82" fmla="*/ 297881 h 362760"/>
                    <a:gd name="connsiteX83" fmla="*/ 125946 w 391855"/>
                    <a:gd name="connsiteY83" fmla="*/ 300293 h 362760"/>
                    <a:gd name="connsiteX84" fmla="*/ 122441 w 391855"/>
                    <a:gd name="connsiteY84" fmla="*/ 300733 h 362760"/>
                    <a:gd name="connsiteX85" fmla="*/ 118000 w 391855"/>
                    <a:gd name="connsiteY85" fmla="*/ 300538 h 362760"/>
                    <a:gd name="connsiteX86" fmla="*/ 115571 w 391855"/>
                    <a:gd name="connsiteY86" fmla="*/ 300212 h 362760"/>
                    <a:gd name="connsiteX87" fmla="*/ 111635 w 391855"/>
                    <a:gd name="connsiteY87" fmla="*/ 301019 h 362760"/>
                    <a:gd name="connsiteX88" fmla="*/ 109027 w 391855"/>
                    <a:gd name="connsiteY88" fmla="*/ 301980 h 362760"/>
                    <a:gd name="connsiteX89" fmla="*/ 105596 w 391855"/>
                    <a:gd name="connsiteY89" fmla="*/ 303626 h 362760"/>
                    <a:gd name="connsiteX90" fmla="*/ 101154 w 391855"/>
                    <a:gd name="connsiteY90" fmla="*/ 308076 h 362760"/>
                    <a:gd name="connsiteX91" fmla="*/ 99883 w 391855"/>
                    <a:gd name="connsiteY91" fmla="*/ 308646 h 362760"/>
                    <a:gd name="connsiteX92" fmla="*/ 98799 w 391855"/>
                    <a:gd name="connsiteY92" fmla="*/ 309388 h 362760"/>
                    <a:gd name="connsiteX93" fmla="*/ 97308 w 391855"/>
                    <a:gd name="connsiteY93" fmla="*/ 321597 h 362760"/>
                    <a:gd name="connsiteX94" fmla="*/ 96110 w 391855"/>
                    <a:gd name="connsiteY94" fmla="*/ 325256 h 362760"/>
                    <a:gd name="connsiteX95" fmla="*/ 93852 w 391855"/>
                    <a:gd name="connsiteY95" fmla="*/ 330097 h 362760"/>
                    <a:gd name="connsiteX96" fmla="*/ 89419 w 391855"/>
                    <a:gd name="connsiteY96" fmla="*/ 334734 h 362760"/>
                    <a:gd name="connsiteX97" fmla="*/ 86387 w 391855"/>
                    <a:gd name="connsiteY97" fmla="*/ 337521 h 362760"/>
                    <a:gd name="connsiteX98" fmla="*/ 86314 w 391855"/>
                    <a:gd name="connsiteY98" fmla="*/ 341303 h 362760"/>
                    <a:gd name="connsiteX99" fmla="*/ 86069 w 391855"/>
                    <a:gd name="connsiteY99" fmla="*/ 347472 h 362760"/>
                    <a:gd name="connsiteX100" fmla="*/ 86028 w 391855"/>
                    <a:gd name="connsiteY100" fmla="*/ 351710 h 362760"/>
                    <a:gd name="connsiteX101" fmla="*/ 86232 w 391855"/>
                    <a:gd name="connsiteY101" fmla="*/ 354464 h 362760"/>
                    <a:gd name="connsiteX102" fmla="*/ 85719 w 391855"/>
                    <a:gd name="connsiteY102" fmla="*/ 355785 h 362760"/>
                    <a:gd name="connsiteX103" fmla="*/ 85523 w 391855"/>
                    <a:gd name="connsiteY103" fmla="*/ 356983 h 362760"/>
                    <a:gd name="connsiteX104" fmla="*/ 85686 w 391855"/>
                    <a:gd name="connsiteY104" fmla="*/ 358784 h 362760"/>
                    <a:gd name="connsiteX105" fmla="*/ 86395 w 391855"/>
                    <a:gd name="connsiteY105" fmla="*/ 359631 h 362760"/>
                    <a:gd name="connsiteX106" fmla="*/ 86835 w 391855"/>
                    <a:gd name="connsiteY106" fmla="*/ 360764 h 362760"/>
                    <a:gd name="connsiteX107" fmla="*/ 86550 w 391855"/>
                    <a:gd name="connsiteY107" fmla="*/ 361685 h 362760"/>
                    <a:gd name="connsiteX108" fmla="*/ 85116 w 391855"/>
                    <a:gd name="connsiteY108" fmla="*/ 362761 h 362760"/>
                    <a:gd name="connsiteX109" fmla="*/ 83535 w 391855"/>
                    <a:gd name="connsiteY109" fmla="*/ 360006 h 362760"/>
                    <a:gd name="connsiteX110" fmla="*/ 81505 w 391855"/>
                    <a:gd name="connsiteY110" fmla="*/ 358050 h 362760"/>
                    <a:gd name="connsiteX111" fmla="*/ 79272 w 391855"/>
                    <a:gd name="connsiteY111" fmla="*/ 357186 h 362760"/>
                    <a:gd name="connsiteX112" fmla="*/ 77765 w 391855"/>
                    <a:gd name="connsiteY112" fmla="*/ 355777 h 362760"/>
                    <a:gd name="connsiteX113" fmla="*/ 76974 w 391855"/>
                    <a:gd name="connsiteY113" fmla="*/ 353812 h 362760"/>
                    <a:gd name="connsiteX114" fmla="*/ 74065 w 391855"/>
                    <a:gd name="connsiteY114" fmla="*/ 349998 h 362760"/>
                    <a:gd name="connsiteX115" fmla="*/ 67317 w 391855"/>
                    <a:gd name="connsiteY115" fmla="*/ 342435 h 362760"/>
                    <a:gd name="connsiteX116" fmla="*/ 66640 w 391855"/>
                    <a:gd name="connsiteY116" fmla="*/ 342256 h 362760"/>
                    <a:gd name="connsiteX117" fmla="*/ 65524 w 391855"/>
                    <a:gd name="connsiteY117" fmla="*/ 341947 h 362760"/>
                    <a:gd name="connsiteX118" fmla="*/ 63609 w 391855"/>
                    <a:gd name="connsiteY118" fmla="*/ 342867 h 362760"/>
                    <a:gd name="connsiteX119" fmla="*/ 62435 w 391855"/>
                    <a:gd name="connsiteY119" fmla="*/ 344098 h 362760"/>
                    <a:gd name="connsiteX120" fmla="*/ 61620 w 391855"/>
                    <a:gd name="connsiteY120" fmla="*/ 344595 h 362760"/>
                    <a:gd name="connsiteX121" fmla="*/ 60389 w 391855"/>
                    <a:gd name="connsiteY121" fmla="*/ 344660 h 362760"/>
                    <a:gd name="connsiteX122" fmla="*/ 57178 w 391855"/>
                    <a:gd name="connsiteY122" fmla="*/ 345622 h 362760"/>
                    <a:gd name="connsiteX123" fmla="*/ 54628 w 391855"/>
                    <a:gd name="connsiteY123" fmla="*/ 346853 h 362760"/>
                    <a:gd name="connsiteX124" fmla="*/ 54546 w 391855"/>
                    <a:gd name="connsiteY124" fmla="*/ 347871 h 362760"/>
                    <a:gd name="connsiteX125" fmla="*/ 55785 w 391855"/>
                    <a:gd name="connsiteY125" fmla="*/ 353601 h 362760"/>
                    <a:gd name="connsiteX126" fmla="*/ 55190 w 391855"/>
                    <a:gd name="connsiteY126" fmla="*/ 356689 h 362760"/>
                    <a:gd name="connsiteX127" fmla="*/ 54065 w 391855"/>
                    <a:gd name="connsiteY127" fmla="*/ 355206 h 362760"/>
                    <a:gd name="connsiteX128" fmla="*/ 50357 w 391855"/>
                    <a:gd name="connsiteY128" fmla="*/ 349444 h 362760"/>
                    <a:gd name="connsiteX129" fmla="*/ 47815 w 391855"/>
                    <a:gd name="connsiteY129" fmla="*/ 345157 h 362760"/>
                    <a:gd name="connsiteX130" fmla="*/ 47350 w 391855"/>
                    <a:gd name="connsiteY130" fmla="*/ 344204 h 362760"/>
                    <a:gd name="connsiteX131" fmla="*/ 46991 w 391855"/>
                    <a:gd name="connsiteY131" fmla="*/ 342737 h 362760"/>
                    <a:gd name="connsiteX132" fmla="*/ 47252 w 391855"/>
                    <a:gd name="connsiteY132" fmla="*/ 342093 h 362760"/>
                    <a:gd name="connsiteX133" fmla="*/ 48263 w 391855"/>
                    <a:gd name="connsiteY133" fmla="*/ 341653 h 362760"/>
                    <a:gd name="connsiteX134" fmla="*/ 50602 w 391855"/>
                    <a:gd name="connsiteY134" fmla="*/ 341074 h 362760"/>
                    <a:gd name="connsiteX135" fmla="*/ 51025 w 391855"/>
                    <a:gd name="connsiteY135" fmla="*/ 340634 h 362760"/>
                    <a:gd name="connsiteX136" fmla="*/ 51156 w 391855"/>
                    <a:gd name="connsiteY136" fmla="*/ 339461 h 362760"/>
                    <a:gd name="connsiteX137" fmla="*/ 50789 w 391855"/>
                    <a:gd name="connsiteY137" fmla="*/ 337269 h 362760"/>
                    <a:gd name="connsiteX138" fmla="*/ 49510 w 391855"/>
                    <a:gd name="connsiteY138" fmla="*/ 334302 h 362760"/>
                    <a:gd name="connsiteX139" fmla="*/ 48140 w 391855"/>
                    <a:gd name="connsiteY139" fmla="*/ 332330 h 362760"/>
                    <a:gd name="connsiteX140" fmla="*/ 47366 w 391855"/>
                    <a:gd name="connsiteY140" fmla="*/ 331947 h 362760"/>
                    <a:gd name="connsiteX141" fmla="*/ 45973 w 391855"/>
                    <a:gd name="connsiteY141" fmla="*/ 331881 h 362760"/>
                    <a:gd name="connsiteX142" fmla="*/ 44457 w 391855"/>
                    <a:gd name="connsiteY142" fmla="*/ 332142 h 362760"/>
                    <a:gd name="connsiteX143" fmla="*/ 41588 w 391855"/>
                    <a:gd name="connsiteY143" fmla="*/ 334555 h 362760"/>
                    <a:gd name="connsiteX144" fmla="*/ 40333 w 391855"/>
                    <a:gd name="connsiteY144" fmla="*/ 334995 h 362760"/>
                    <a:gd name="connsiteX145" fmla="*/ 37391 w 391855"/>
                    <a:gd name="connsiteY145" fmla="*/ 334799 h 362760"/>
                    <a:gd name="connsiteX146" fmla="*/ 34750 w 391855"/>
                    <a:gd name="connsiteY146" fmla="*/ 334335 h 362760"/>
                    <a:gd name="connsiteX147" fmla="*/ 33153 w 391855"/>
                    <a:gd name="connsiteY147" fmla="*/ 333080 h 362760"/>
                    <a:gd name="connsiteX148" fmla="*/ 28394 w 391855"/>
                    <a:gd name="connsiteY148" fmla="*/ 328304 h 362760"/>
                    <a:gd name="connsiteX149" fmla="*/ 23145 w 391855"/>
                    <a:gd name="connsiteY149" fmla="*/ 323235 h 362760"/>
                    <a:gd name="connsiteX150" fmla="*/ 20928 w 391855"/>
                    <a:gd name="connsiteY150" fmla="*/ 322526 h 362760"/>
                    <a:gd name="connsiteX151" fmla="*/ 20432 w 391855"/>
                    <a:gd name="connsiteY151" fmla="*/ 322004 h 362760"/>
                    <a:gd name="connsiteX152" fmla="*/ 20081 w 391855"/>
                    <a:gd name="connsiteY152" fmla="*/ 318108 h 362760"/>
                    <a:gd name="connsiteX153" fmla="*/ 20162 w 391855"/>
                    <a:gd name="connsiteY153" fmla="*/ 313430 h 362760"/>
                    <a:gd name="connsiteX154" fmla="*/ 20456 w 391855"/>
                    <a:gd name="connsiteY154" fmla="*/ 312200 h 362760"/>
                    <a:gd name="connsiteX155" fmla="*/ 22648 w 391855"/>
                    <a:gd name="connsiteY155" fmla="*/ 312933 h 362760"/>
                    <a:gd name="connsiteX156" fmla="*/ 24979 w 391855"/>
                    <a:gd name="connsiteY156" fmla="*/ 313276 h 362760"/>
                    <a:gd name="connsiteX157" fmla="*/ 25729 w 391855"/>
                    <a:gd name="connsiteY157" fmla="*/ 312428 h 362760"/>
                    <a:gd name="connsiteX158" fmla="*/ 23862 w 391855"/>
                    <a:gd name="connsiteY158" fmla="*/ 310766 h 362760"/>
                    <a:gd name="connsiteX159" fmla="*/ 21181 w 391855"/>
                    <a:gd name="connsiteY159" fmla="*/ 309079 h 362760"/>
                    <a:gd name="connsiteX160" fmla="*/ 20187 w 391855"/>
                    <a:gd name="connsiteY160" fmla="*/ 306528 h 362760"/>
                    <a:gd name="connsiteX161" fmla="*/ 19413 w 391855"/>
                    <a:gd name="connsiteY161" fmla="*/ 305639 h 362760"/>
                    <a:gd name="connsiteX162" fmla="*/ 18207 w 391855"/>
                    <a:gd name="connsiteY162" fmla="*/ 304727 h 362760"/>
                    <a:gd name="connsiteX163" fmla="*/ 16829 w 391855"/>
                    <a:gd name="connsiteY163" fmla="*/ 304262 h 362760"/>
                    <a:gd name="connsiteX164" fmla="*/ 15427 w 391855"/>
                    <a:gd name="connsiteY164" fmla="*/ 303545 h 362760"/>
                    <a:gd name="connsiteX165" fmla="*/ 14482 w 391855"/>
                    <a:gd name="connsiteY165" fmla="*/ 302803 h 362760"/>
                    <a:gd name="connsiteX166" fmla="*/ 12925 w 391855"/>
                    <a:gd name="connsiteY166" fmla="*/ 302477 h 362760"/>
                    <a:gd name="connsiteX167" fmla="*/ 11279 w 391855"/>
                    <a:gd name="connsiteY167" fmla="*/ 301931 h 362760"/>
                    <a:gd name="connsiteX168" fmla="*/ 8899 w 391855"/>
                    <a:gd name="connsiteY168" fmla="*/ 297783 h 362760"/>
                    <a:gd name="connsiteX169" fmla="*/ 6585 w 391855"/>
                    <a:gd name="connsiteY169" fmla="*/ 293765 h 362760"/>
                    <a:gd name="connsiteX170" fmla="*/ 5207 w 391855"/>
                    <a:gd name="connsiteY170" fmla="*/ 290595 h 362760"/>
                    <a:gd name="connsiteX171" fmla="*/ 4735 w 391855"/>
                    <a:gd name="connsiteY171" fmla="*/ 288696 h 362760"/>
                    <a:gd name="connsiteX172" fmla="*/ 5428 w 391855"/>
                    <a:gd name="connsiteY172" fmla="*/ 285444 h 362760"/>
                    <a:gd name="connsiteX173" fmla="*/ 4727 w 391855"/>
                    <a:gd name="connsiteY173" fmla="*/ 284157 h 362760"/>
                    <a:gd name="connsiteX174" fmla="*/ 2151 w 391855"/>
                    <a:gd name="connsiteY174" fmla="*/ 280864 h 362760"/>
                    <a:gd name="connsiteX175" fmla="*/ 0 w 391855"/>
                    <a:gd name="connsiteY175" fmla="*/ 277800 h 362760"/>
                    <a:gd name="connsiteX176" fmla="*/ 530 w 391855"/>
                    <a:gd name="connsiteY176" fmla="*/ 273065 h 362760"/>
                    <a:gd name="connsiteX177" fmla="*/ 962 w 391855"/>
                    <a:gd name="connsiteY177" fmla="*/ 269112 h 362760"/>
                    <a:gd name="connsiteX178" fmla="*/ 994 w 391855"/>
                    <a:gd name="connsiteY178" fmla="*/ 266602 h 362760"/>
                    <a:gd name="connsiteX179" fmla="*/ 1337 w 391855"/>
                    <a:gd name="connsiteY179" fmla="*/ 265184 h 362760"/>
                    <a:gd name="connsiteX180" fmla="*/ 1614 w 391855"/>
                    <a:gd name="connsiteY180" fmla="*/ 263603 h 362760"/>
                    <a:gd name="connsiteX181" fmla="*/ 3040 w 391855"/>
                    <a:gd name="connsiteY181" fmla="*/ 263098 h 362760"/>
                    <a:gd name="connsiteX182" fmla="*/ 6674 w 391855"/>
                    <a:gd name="connsiteY182" fmla="*/ 263130 h 362760"/>
                    <a:gd name="connsiteX183" fmla="*/ 13765 w 391855"/>
                    <a:gd name="connsiteY183" fmla="*/ 263872 h 362760"/>
                    <a:gd name="connsiteX184" fmla="*/ 19437 w 391855"/>
                    <a:gd name="connsiteY184" fmla="*/ 263033 h 362760"/>
                    <a:gd name="connsiteX185" fmla="*/ 19755 w 391855"/>
                    <a:gd name="connsiteY185" fmla="*/ 262894 h 362760"/>
                    <a:gd name="connsiteX186" fmla="*/ 23748 w 391855"/>
                    <a:gd name="connsiteY186" fmla="*/ 258656 h 362760"/>
                    <a:gd name="connsiteX187" fmla="*/ 28182 w 391855"/>
                    <a:gd name="connsiteY187" fmla="*/ 254198 h 362760"/>
                    <a:gd name="connsiteX188" fmla="*/ 34856 w 391855"/>
                    <a:gd name="connsiteY188" fmla="*/ 253766 h 362760"/>
                    <a:gd name="connsiteX189" fmla="*/ 42061 w 391855"/>
                    <a:gd name="connsiteY189" fmla="*/ 253294 h 362760"/>
                    <a:gd name="connsiteX190" fmla="*/ 47725 w 391855"/>
                    <a:gd name="connsiteY190" fmla="*/ 253066 h 362760"/>
                    <a:gd name="connsiteX191" fmla="*/ 55981 w 391855"/>
                    <a:gd name="connsiteY191" fmla="*/ 252731 h 362760"/>
                    <a:gd name="connsiteX192" fmla="*/ 62647 w 391855"/>
                    <a:gd name="connsiteY192" fmla="*/ 252438 h 362760"/>
                    <a:gd name="connsiteX193" fmla="*/ 70373 w 391855"/>
                    <a:gd name="connsiteY193" fmla="*/ 252104 h 362760"/>
                    <a:gd name="connsiteX194" fmla="*/ 70609 w 391855"/>
                    <a:gd name="connsiteY194" fmla="*/ 250050 h 362760"/>
                    <a:gd name="connsiteX195" fmla="*/ 71074 w 391855"/>
                    <a:gd name="connsiteY195" fmla="*/ 249545 h 362760"/>
                    <a:gd name="connsiteX196" fmla="*/ 71840 w 391855"/>
                    <a:gd name="connsiteY196" fmla="*/ 249471 h 362760"/>
                    <a:gd name="connsiteX197" fmla="*/ 77504 w 391855"/>
                    <a:gd name="connsiteY197" fmla="*/ 250572 h 362760"/>
                    <a:gd name="connsiteX198" fmla="*/ 82850 w 391855"/>
                    <a:gd name="connsiteY198" fmla="*/ 251631 h 362760"/>
                    <a:gd name="connsiteX199" fmla="*/ 83250 w 391855"/>
                    <a:gd name="connsiteY199" fmla="*/ 247776 h 362760"/>
                    <a:gd name="connsiteX200" fmla="*/ 87944 w 391855"/>
                    <a:gd name="connsiteY200" fmla="*/ 242935 h 362760"/>
                    <a:gd name="connsiteX201" fmla="*/ 90601 w 391855"/>
                    <a:gd name="connsiteY201" fmla="*/ 241949 h 362760"/>
                    <a:gd name="connsiteX202" fmla="*/ 91253 w 391855"/>
                    <a:gd name="connsiteY202" fmla="*/ 241102 h 362760"/>
                    <a:gd name="connsiteX203" fmla="*/ 92100 w 391855"/>
                    <a:gd name="connsiteY203" fmla="*/ 239464 h 362760"/>
                    <a:gd name="connsiteX204" fmla="*/ 92614 w 391855"/>
                    <a:gd name="connsiteY204" fmla="*/ 236945 h 362760"/>
                    <a:gd name="connsiteX205" fmla="*/ 92841 w 391855"/>
                    <a:gd name="connsiteY205" fmla="*/ 235152 h 362760"/>
                    <a:gd name="connsiteX206" fmla="*/ 93828 w 391855"/>
                    <a:gd name="connsiteY206" fmla="*/ 233653 h 362760"/>
                    <a:gd name="connsiteX207" fmla="*/ 94553 w 391855"/>
                    <a:gd name="connsiteY207" fmla="*/ 230914 h 362760"/>
                    <a:gd name="connsiteX208" fmla="*/ 95515 w 391855"/>
                    <a:gd name="connsiteY208" fmla="*/ 226114 h 362760"/>
                    <a:gd name="connsiteX209" fmla="*/ 98155 w 391855"/>
                    <a:gd name="connsiteY209" fmla="*/ 221070 h 362760"/>
                    <a:gd name="connsiteX210" fmla="*/ 99655 w 391855"/>
                    <a:gd name="connsiteY210" fmla="*/ 214224 h 362760"/>
                    <a:gd name="connsiteX211" fmla="*/ 99891 w 391855"/>
                    <a:gd name="connsiteY211" fmla="*/ 207598 h 362760"/>
                    <a:gd name="connsiteX212" fmla="*/ 100184 w 391855"/>
                    <a:gd name="connsiteY212" fmla="*/ 202570 h 362760"/>
                    <a:gd name="connsiteX213" fmla="*/ 100959 w 391855"/>
                    <a:gd name="connsiteY213" fmla="*/ 201543 h 362760"/>
                    <a:gd name="connsiteX214" fmla="*/ 100942 w 391855"/>
                    <a:gd name="connsiteY214" fmla="*/ 192603 h 362760"/>
                    <a:gd name="connsiteX215" fmla="*/ 100926 w 391855"/>
                    <a:gd name="connsiteY215" fmla="*/ 183597 h 362760"/>
                    <a:gd name="connsiteX216" fmla="*/ 100902 w 391855"/>
                    <a:gd name="connsiteY216" fmla="*/ 175985 h 362760"/>
                    <a:gd name="connsiteX217" fmla="*/ 100877 w 391855"/>
                    <a:gd name="connsiteY217" fmla="*/ 166499 h 362760"/>
                    <a:gd name="connsiteX218" fmla="*/ 100853 w 391855"/>
                    <a:gd name="connsiteY218" fmla="*/ 158170 h 362760"/>
                    <a:gd name="connsiteX219" fmla="*/ 100829 w 391855"/>
                    <a:gd name="connsiteY219" fmla="*/ 149148 h 362760"/>
                    <a:gd name="connsiteX220" fmla="*/ 100804 w 391855"/>
                    <a:gd name="connsiteY220" fmla="*/ 141031 h 362760"/>
                    <a:gd name="connsiteX221" fmla="*/ 100788 w 391855"/>
                    <a:gd name="connsiteY221" fmla="*/ 135652 h 362760"/>
                    <a:gd name="connsiteX222" fmla="*/ 106207 w 391855"/>
                    <a:gd name="connsiteY222" fmla="*/ 134365 h 362760"/>
                    <a:gd name="connsiteX223" fmla="*/ 111798 w 391855"/>
                    <a:gd name="connsiteY223" fmla="*/ 133036 h 362760"/>
                    <a:gd name="connsiteX224" fmla="*/ 119980 w 391855"/>
                    <a:gd name="connsiteY224" fmla="*/ 131080 h 362760"/>
                    <a:gd name="connsiteX225" fmla="*/ 128847 w 391855"/>
                    <a:gd name="connsiteY225" fmla="*/ 128978 h 362760"/>
                    <a:gd name="connsiteX226" fmla="*/ 138513 w 391855"/>
                    <a:gd name="connsiteY226" fmla="*/ 126671 h 362760"/>
                    <a:gd name="connsiteX227" fmla="*/ 140697 w 391855"/>
                    <a:gd name="connsiteY227" fmla="*/ 125286 h 362760"/>
                    <a:gd name="connsiteX228" fmla="*/ 147991 w 391855"/>
                    <a:gd name="connsiteY228" fmla="*/ 117495 h 362760"/>
                    <a:gd name="connsiteX229" fmla="*/ 151283 w 391855"/>
                    <a:gd name="connsiteY229" fmla="*/ 113974 h 362760"/>
                    <a:gd name="connsiteX230" fmla="*/ 157828 w 391855"/>
                    <a:gd name="connsiteY230" fmla="*/ 106973 h 362760"/>
                    <a:gd name="connsiteX231" fmla="*/ 162872 w 391855"/>
                    <a:gd name="connsiteY231" fmla="*/ 101562 h 362760"/>
                    <a:gd name="connsiteX232" fmla="*/ 169286 w 391855"/>
                    <a:gd name="connsiteY232" fmla="*/ 94692 h 362760"/>
                    <a:gd name="connsiteX233" fmla="*/ 176083 w 391855"/>
                    <a:gd name="connsiteY233" fmla="*/ 87764 h 362760"/>
                    <a:gd name="connsiteX234" fmla="*/ 181503 w 391855"/>
                    <a:gd name="connsiteY234" fmla="*/ 82239 h 362760"/>
                    <a:gd name="connsiteX235" fmla="*/ 190027 w 391855"/>
                    <a:gd name="connsiteY235" fmla="*/ 75964 h 362760"/>
                    <a:gd name="connsiteX236" fmla="*/ 202855 w 391855"/>
                    <a:gd name="connsiteY236" fmla="*/ 66510 h 362760"/>
                    <a:gd name="connsiteX237" fmla="*/ 215715 w 391855"/>
                    <a:gd name="connsiteY237" fmla="*/ 57040 h 362760"/>
                    <a:gd name="connsiteX238" fmla="*/ 228559 w 391855"/>
                    <a:gd name="connsiteY238" fmla="*/ 47554 h 362760"/>
                    <a:gd name="connsiteX239" fmla="*/ 241387 w 391855"/>
                    <a:gd name="connsiteY239" fmla="*/ 38067 h 362760"/>
                    <a:gd name="connsiteX240" fmla="*/ 254239 w 391855"/>
                    <a:gd name="connsiteY240" fmla="*/ 28565 h 362760"/>
                    <a:gd name="connsiteX241" fmla="*/ 267083 w 391855"/>
                    <a:gd name="connsiteY241" fmla="*/ 19062 h 362760"/>
                    <a:gd name="connsiteX242" fmla="*/ 279919 w 391855"/>
                    <a:gd name="connsiteY242" fmla="*/ 9535 h 362760"/>
                    <a:gd name="connsiteX243" fmla="*/ 292779 w 391855"/>
                    <a:gd name="connsiteY243" fmla="*/ 0 h 362760"/>
                    <a:gd name="connsiteX244" fmla="*/ 305688 w 391855"/>
                    <a:gd name="connsiteY244" fmla="*/ 3635 h 362760"/>
                    <a:gd name="connsiteX245" fmla="*/ 317953 w 391855"/>
                    <a:gd name="connsiteY245" fmla="*/ 7082 h 362760"/>
                    <a:gd name="connsiteX246" fmla="*/ 330308 w 391855"/>
                    <a:gd name="connsiteY246" fmla="*/ 10546 h 362760"/>
                    <a:gd name="connsiteX247" fmla="*/ 333210 w 391855"/>
                    <a:gd name="connsiteY247" fmla="*/ 12436 h 362760"/>
                    <a:gd name="connsiteX248" fmla="*/ 339762 w 391855"/>
                    <a:gd name="connsiteY248" fmla="*/ 19217 h 362760"/>
                    <a:gd name="connsiteX249" fmla="*/ 348148 w 391855"/>
                    <a:gd name="connsiteY249" fmla="*/ 27888 h 362760"/>
                    <a:gd name="connsiteX250" fmla="*/ 348515 w 391855"/>
                    <a:gd name="connsiteY250" fmla="*/ 28010 h 362760"/>
                    <a:gd name="connsiteX251" fmla="*/ 348890 w 391855"/>
                    <a:gd name="connsiteY251" fmla="*/ 28051 h 362760"/>
                    <a:gd name="connsiteX252" fmla="*/ 356958 w 391855"/>
                    <a:gd name="connsiteY252" fmla="*/ 22942 h 362760"/>
                    <a:gd name="connsiteX253" fmla="*/ 367455 w 391855"/>
                    <a:gd name="connsiteY253" fmla="*/ 16275 h 362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1855" h="362760">
                      <a:moveTo>
                        <a:pt x="367455" y="16283"/>
                      </a:moveTo>
                      <a:lnTo>
                        <a:pt x="370185" y="34278"/>
                      </a:lnTo>
                      <a:lnTo>
                        <a:pt x="372247" y="49705"/>
                      </a:lnTo>
                      <a:lnTo>
                        <a:pt x="372386" y="59526"/>
                      </a:lnTo>
                      <a:lnTo>
                        <a:pt x="372484" y="62085"/>
                      </a:lnTo>
                      <a:lnTo>
                        <a:pt x="373315" y="63821"/>
                      </a:lnTo>
                      <a:lnTo>
                        <a:pt x="375254" y="65548"/>
                      </a:lnTo>
                      <a:lnTo>
                        <a:pt x="383045" y="79721"/>
                      </a:lnTo>
                      <a:lnTo>
                        <a:pt x="381383" y="82182"/>
                      </a:lnTo>
                      <a:lnTo>
                        <a:pt x="382532" y="86558"/>
                      </a:lnTo>
                      <a:lnTo>
                        <a:pt x="384553" y="88441"/>
                      </a:lnTo>
                      <a:lnTo>
                        <a:pt x="391016" y="96876"/>
                      </a:lnTo>
                      <a:lnTo>
                        <a:pt x="391855" y="98530"/>
                      </a:lnTo>
                      <a:lnTo>
                        <a:pt x="391513" y="99859"/>
                      </a:lnTo>
                      <a:lnTo>
                        <a:pt x="386974" y="109760"/>
                      </a:lnTo>
                      <a:lnTo>
                        <a:pt x="386208" y="112189"/>
                      </a:lnTo>
                      <a:lnTo>
                        <a:pt x="385295" y="124797"/>
                      </a:lnTo>
                      <a:lnTo>
                        <a:pt x="384667" y="133680"/>
                      </a:lnTo>
                      <a:lnTo>
                        <a:pt x="383787" y="145872"/>
                      </a:lnTo>
                      <a:lnTo>
                        <a:pt x="382752" y="160427"/>
                      </a:lnTo>
                      <a:lnTo>
                        <a:pt x="381905" y="172709"/>
                      </a:lnTo>
                      <a:lnTo>
                        <a:pt x="380780" y="188919"/>
                      </a:lnTo>
                      <a:lnTo>
                        <a:pt x="379737" y="204240"/>
                      </a:lnTo>
                      <a:lnTo>
                        <a:pt x="373233" y="212635"/>
                      </a:lnTo>
                      <a:lnTo>
                        <a:pt x="361693" y="227524"/>
                      </a:lnTo>
                      <a:lnTo>
                        <a:pt x="352297" y="239626"/>
                      </a:lnTo>
                      <a:lnTo>
                        <a:pt x="347586" y="247719"/>
                      </a:lnTo>
                      <a:lnTo>
                        <a:pt x="338393" y="263530"/>
                      </a:lnTo>
                      <a:lnTo>
                        <a:pt x="334294" y="273733"/>
                      </a:lnTo>
                      <a:lnTo>
                        <a:pt x="331116" y="279071"/>
                      </a:lnTo>
                      <a:lnTo>
                        <a:pt x="329486" y="281345"/>
                      </a:lnTo>
                      <a:lnTo>
                        <a:pt x="330912" y="288834"/>
                      </a:lnTo>
                      <a:lnTo>
                        <a:pt x="333405" y="301891"/>
                      </a:lnTo>
                      <a:lnTo>
                        <a:pt x="328964" y="301980"/>
                      </a:lnTo>
                      <a:lnTo>
                        <a:pt x="326405" y="302917"/>
                      </a:lnTo>
                      <a:lnTo>
                        <a:pt x="323177" y="305892"/>
                      </a:lnTo>
                      <a:lnTo>
                        <a:pt x="319576" y="307057"/>
                      </a:lnTo>
                      <a:lnTo>
                        <a:pt x="315191" y="309649"/>
                      </a:lnTo>
                      <a:lnTo>
                        <a:pt x="312420" y="311735"/>
                      </a:lnTo>
                      <a:lnTo>
                        <a:pt x="309804" y="313365"/>
                      </a:lnTo>
                      <a:lnTo>
                        <a:pt x="306218" y="317383"/>
                      </a:lnTo>
                      <a:lnTo>
                        <a:pt x="305044" y="320431"/>
                      </a:lnTo>
                      <a:lnTo>
                        <a:pt x="301483" y="321034"/>
                      </a:lnTo>
                      <a:lnTo>
                        <a:pt x="296487" y="320529"/>
                      </a:lnTo>
                      <a:lnTo>
                        <a:pt x="293317" y="317457"/>
                      </a:lnTo>
                      <a:lnTo>
                        <a:pt x="285966" y="314245"/>
                      </a:lnTo>
                      <a:lnTo>
                        <a:pt x="281199" y="312941"/>
                      </a:lnTo>
                      <a:lnTo>
                        <a:pt x="278982" y="312542"/>
                      </a:lnTo>
                      <a:lnTo>
                        <a:pt x="267735" y="312004"/>
                      </a:lnTo>
                      <a:lnTo>
                        <a:pt x="255763" y="313259"/>
                      </a:lnTo>
                      <a:lnTo>
                        <a:pt x="249651" y="314751"/>
                      </a:lnTo>
                      <a:lnTo>
                        <a:pt x="248542" y="315077"/>
                      </a:lnTo>
                      <a:lnTo>
                        <a:pt x="245079" y="317025"/>
                      </a:lnTo>
                      <a:lnTo>
                        <a:pt x="242202" y="319176"/>
                      </a:lnTo>
                      <a:lnTo>
                        <a:pt x="234427" y="329013"/>
                      </a:lnTo>
                      <a:lnTo>
                        <a:pt x="224158" y="328687"/>
                      </a:lnTo>
                      <a:lnTo>
                        <a:pt x="218103" y="327595"/>
                      </a:lnTo>
                      <a:lnTo>
                        <a:pt x="212977" y="326054"/>
                      </a:lnTo>
                      <a:lnTo>
                        <a:pt x="205667" y="321466"/>
                      </a:lnTo>
                      <a:lnTo>
                        <a:pt x="196702" y="314441"/>
                      </a:lnTo>
                      <a:lnTo>
                        <a:pt x="193263" y="313479"/>
                      </a:lnTo>
                      <a:lnTo>
                        <a:pt x="190149" y="312933"/>
                      </a:lnTo>
                      <a:lnTo>
                        <a:pt x="189115" y="313023"/>
                      </a:lnTo>
                      <a:lnTo>
                        <a:pt x="178422" y="320024"/>
                      </a:lnTo>
                      <a:lnTo>
                        <a:pt x="176360" y="319869"/>
                      </a:lnTo>
                      <a:lnTo>
                        <a:pt x="173850" y="320659"/>
                      </a:lnTo>
                      <a:lnTo>
                        <a:pt x="172196" y="322387"/>
                      </a:lnTo>
                      <a:lnTo>
                        <a:pt x="170957" y="323267"/>
                      </a:lnTo>
                      <a:lnTo>
                        <a:pt x="169678" y="323406"/>
                      </a:lnTo>
                      <a:lnTo>
                        <a:pt x="167999" y="323023"/>
                      </a:lnTo>
                      <a:lnTo>
                        <a:pt x="166344" y="321963"/>
                      </a:lnTo>
                      <a:lnTo>
                        <a:pt x="164706" y="320007"/>
                      </a:lnTo>
                      <a:lnTo>
                        <a:pt x="160297" y="312224"/>
                      </a:lnTo>
                      <a:lnTo>
                        <a:pt x="159384" y="310863"/>
                      </a:lnTo>
                      <a:lnTo>
                        <a:pt x="157510" y="308549"/>
                      </a:lnTo>
                      <a:lnTo>
                        <a:pt x="154332" y="304963"/>
                      </a:lnTo>
                      <a:lnTo>
                        <a:pt x="152188" y="303284"/>
                      </a:lnTo>
                      <a:lnTo>
                        <a:pt x="150884" y="302852"/>
                      </a:lnTo>
                      <a:lnTo>
                        <a:pt x="149320" y="303137"/>
                      </a:lnTo>
                      <a:lnTo>
                        <a:pt x="140738" y="300040"/>
                      </a:lnTo>
                      <a:lnTo>
                        <a:pt x="132164" y="296781"/>
                      </a:lnTo>
                      <a:lnTo>
                        <a:pt x="130265" y="297196"/>
                      </a:lnTo>
                      <a:lnTo>
                        <a:pt x="128920" y="297881"/>
                      </a:lnTo>
                      <a:lnTo>
                        <a:pt x="125946" y="300293"/>
                      </a:lnTo>
                      <a:lnTo>
                        <a:pt x="122441" y="300733"/>
                      </a:lnTo>
                      <a:lnTo>
                        <a:pt x="118000" y="300538"/>
                      </a:lnTo>
                      <a:lnTo>
                        <a:pt x="115571" y="300212"/>
                      </a:lnTo>
                      <a:lnTo>
                        <a:pt x="111635" y="301019"/>
                      </a:lnTo>
                      <a:lnTo>
                        <a:pt x="109027" y="301980"/>
                      </a:lnTo>
                      <a:lnTo>
                        <a:pt x="105596" y="303626"/>
                      </a:lnTo>
                      <a:lnTo>
                        <a:pt x="101154" y="308076"/>
                      </a:lnTo>
                      <a:lnTo>
                        <a:pt x="99883" y="308646"/>
                      </a:lnTo>
                      <a:lnTo>
                        <a:pt x="98799" y="309388"/>
                      </a:lnTo>
                      <a:lnTo>
                        <a:pt x="97308" y="321597"/>
                      </a:lnTo>
                      <a:lnTo>
                        <a:pt x="96110" y="325256"/>
                      </a:lnTo>
                      <a:lnTo>
                        <a:pt x="93852" y="330097"/>
                      </a:lnTo>
                      <a:lnTo>
                        <a:pt x="89419" y="334734"/>
                      </a:lnTo>
                      <a:lnTo>
                        <a:pt x="86387" y="337521"/>
                      </a:lnTo>
                      <a:lnTo>
                        <a:pt x="86314" y="341303"/>
                      </a:lnTo>
                      <a:lnTo>
                        <a:pt x="86069" y="347472"/>
                      </a:lnTo>
                      <a:lnTo>
                        <a:pt x="86028" y="351710"/>
                      </a:lnTo>
                      <a:lnTo>
                        <a:pt x="86232" y="354464"/>
                      </a:lnTo>
                      <a:lnTo>
                        <a:pt x="85719" y="355785"/>
                      </a:lnTo>
                      <a:lnTo>
                        <a:pt x="85523" y="356983"/>
                      </a:lnTo>
                      <a:lnTo>
                        <a:pt x="85686" y="358784"/>
                      </a:lnTo>
                      <a:lnTo>
                        <a:pt x="86395" y="359631"/>
                      </a:lnTo>
                      <a:lnTo>
                        <a:pt x="86835" y="360764"/>
                      </a:lnTo>
                      <a:lnTo>
                        <a:pt x="86550" y="361685"/>
                      </a:lnTo>
                      <a:lnTo>
                        <a:pt x="85116" y="362761"/>
                      </a:lnTo>
                      <a:lnTo>
                        <a:pt x="83535" y="360006"/>
                      </a:lnTo>
                      <a:lnTo>
                        <a:pt x="81505" y="358050"/>
                      </a:lnTo>
                      <a:lnTo>
                        <a:pt x="79272" y="357186"/>
                      </a:lnTo>
                      <a:lnTo>
                        <a:pt x="77765" y="355777"/>
                      </a:lnTo>
                      <a:lnTo>
                        <a:pt x="76974" y="353812"/>
                      </a:lnTo>
                      <a:lnTo>
                        <a:pt x="74065" y="349998"/>
                      </a:lnTo>
                      <a:lnTo>
                        <a:pt x="67317" y="342435"/>
                      </a:lnTo>
                      <a:lnTo>
                        <a:pt x="66640" y="342256"/>
                      </a:lnTo>
                      <a:lnTo>
                        <a:pt x="65524" y="341947"/>
                      </a:lnTo>
                      <a:lnTo>
                        <a:pt x="63609" y="342867"/>
                      </a:lnTo>
                      <a:lnTo>
                        <a:pt x="62435" y="344098"/>
                      </a:lnTo>
                      <a:lnTo>
                        <a:pt x="61620" y="344595"/>
                      </a:lnTo>
                      <a:lnTo>
                        <a:pt x="60389" y="344660"/>
                      </a:lnTo>
                      <a:lnTo>
                        <a:pt x="57178" y="345622"/>
                      </a:lnTo>
                      <a:lnTo>
                        <a:pt x="54628" y="346853"/>
                      </a:lnTo>
                      <a:lnTo>
                        <a:pt x="54546" y="347871"/>
                      </a:lnTo>
                      <a:lnTo>
                        <a:pt x="55785" y="353601"/>
                      </a:lnTo>
                      <a:lnTo>
                        <a:pt x="55190" y="356689"/>
                      </a:lnTo>
                      <a:lnTo>
                        <a:pt x="54065" y="355206"/>
                      </a:lnTo>
                      <a:lnTo>
                        <a:pt x="50357" y="349444"/>
                      </a:lnTo>
                      <a:lnTo>
                        <a:pt x="47815" y="345157"/>
                      </a:lnTo>
                      <a:lnTo>
                        <a:pt x="47350" y="344204"/>
                      </a:lnTo>
                      <a:lnTo>
                        <a:pt x="46991" y="342737"/>
                      </a:lnTo>
                      <a:lnTo>
                        <a:pt x="47252" y="342093"/>
                      </a:lnTo>
                      <a:lnTo>
                        <a:pt x="48263" y="341653"/>
                      </a:lnTo>
                      <a:lnTo>
                        <a:pt x="50602" y="341074"/>
                      </a:lnTo>
                      <a:lnTo>
                        <a:pt x="51025" y="340634"/>
                      </a:lnTo>
                      <a:lnTo>
                        <a:pt x="51156" y="339461"/>
                      </a:lnTo>
                      <a:lnTo>
                        <a:pt x="50789" y="337269"/>
                      </a:lnTo>
                      <a:lnTo>
                        <a:pt x="49510" y="334302"/>
                      </a:lnTo>
                      <a:lnTo>
                        <a:pt x="48140" y="332330"/>
                      </a:lnTo>
                      <a:lnTo>
                        <a:pt x="47366" y="331947"/>
                      </a:lnTo>
                      <a:lnTo>
                        <a:pt x="45973" y="331881"/>
                      </a:lnTo>
                      <a:lnTo>
                        <a:pt x="44457" y="332142"/>
                      </a:lnTo>
                      <a:lnTo>
                        <a:pt x="41588" y="334555"/>
                      </a:lnTo>
                      <a:lnTo>
                        <a:pt x="40333" y="334995"/>
                      </a:lnTo>
                      <a:lnTo>
                        <a:pt x="37391" y="334799"/>
                      </a:lnTo>
                      <a:lnTo>
                        <a:pt x="34750" y="334335"/>
                      </a:lnTo>
                      <a:lnTo>
                        <a:pt x="33153" y="333080"/>
                      </a:lnTo>
                      <a:lnTo>
                        <a:pt x="28394" y="328304"/>
                      </a:lnTo>
                      <a:lnTo>
                        <a:pt x="23145" y="323235"/>
                      </a:lnTo>
                      <a:lnTo>
                        <a:pt x="20928" y="322526"/>
                      </a:lnTo>
                      <a:lnTo>
                        <a:pt x="20432" y="322004"/>
                      </a:lnTo>
                      <a:lnTo>
                        <a:pt x="20081" y="318108"/>
                      </a:lnTo>
                      <a:lnTo>
                        <a:pt x="20162" y="313430"/>
                      </a:lnTo>
                      <a:lnTo>
                        <a:pt x="20456" y="312200"/>
                      </a:lnTo>
                      <a:lnTo>
                        <a:pt x="22648" y="312933"/>
                      </a:lnTo>
                      <a:lnTo>
                        <a:pt x="24979" y="313276"/>
                      </a:lnTo>
                      <a:lnTo>
                        <a:pt x="25729" y="312428"/>
                      </a:lnTo>
                      <a:lnTo>
                        <a:pt x="23862" y="310766"/>
                      </a:lnTo>
                      <a:lnTo>
                        <a:pt x="21181" y="309079"/>
                      </a:lnTo>
                      <a:lnTo>
                        <a:pt x="20187" y="306528"/>
                      </a:lnTo>
                      <a:lnTo>
                        <a:pt x="19413" y="305639"/>
                      </a:lnTo>
                      <a:lnTo>
                        <a:pt x="18207" y="304727"/>
                      </a:lnTo>
                      <a:lnTo>
                        <a:pt x="16829" y="304262"/>
                      </a:lnTo>
                      <a:lnTo>
                        <a:pt x="15427" y="303545"/>
                      </a:lnTo>
                      <a:lnTo>
                        <a:pt x="14482" y="302803"/>
                      </a:lnTo>
                      <a:lnTo>
                        <a:pt x="12925" y="302477"/>
                      </a:lnTo>
                      <a:lnTo>
                        <a:pt x="11279" y="301931"/>
                      </a:lnTo>
                      <a:lnTo>
                        <a:pt x="8899" y="297783"/>
                      </a:lnTo>
                      <a:lnTo>
                        <a:pt x="6585" y="293765"/>
                      </a:lnTo>
                      <a:lnTo>
                        <a:pt x="5207" y="290595"/>
                      </a:lnTo>
                      <a:lnTo>
                        <a:pt x="4735" y="288696"/>
                      </a:lnTo>
                      <a:lnTo>
                        <a:pt x="5428" y="285444"/>
                      </a:lnTo>
                      <a:lnTo>
                        <a:pt x="4727" y="284157"/>
                      </a:lnTo>
                      <a:lnTo>
                        <a:pt x="2151" y="280864"/>
                      </a:lnTo>
                      <a:lnTo>
                        <a:pt x="0" y="277800"/>
                      </a:lnTo>
                      <a:lnTo>
                        <a:pt x="530" y="273065"/>
                      </a:lnTo>
                      <a:lnTo>
                        <a:pt x="962" y="269112"/>
                      </a:lnTo>
                      <a:lnTo>
                        <a:pt x="994" y="266602"/>
                      </a:lnTo>
                      <a:lnTo>
                        <a:pt x="1337" y="265184"/>
                      </a:lnTo>
                      <a:lnTo>
                        <a:pt x="1614" y="263603"/>
                      </a:lnTo>
                      <a:lnTo>
                        <a:pt x="3040" y="263098"/>
                      </a:lnTo>
                      <a:lnTo>
                        <a:pt x="6674" y="263130"/>
                      </a:lnTo>
                      <a:lnTo>
                        <a:pt x="13765" y="263872"/>
                      </a:lnTo>
                      <a:lnTo>
                        <a:pt x="19437" y="263033"/>
                      </a:lnTo>
                      <a:lnTo>
                        <a:pt x="19755" y="262894"/>
                      </a:lnTo>
                      <a:lnTo>
                        <a:pt x="23748" y="258656"/>
                      </a:lnTo>
                      <a:lnTo>
                        <a:pt x="28182" y="254198"/>
                      </a:lnTo>
                      <a:lnTo>
                        <a:pt x="34856" y="253766"/>
                      </a:lnTo>
                      <a:lnTo>
                        <a:pt x="42061" y="253294"/>
                      </a:lnTo>
                      <a:lnTo>
                        <a:pt x="47725" y="253066"/>
                      </a:lnTo>
                      <a:lnTo>
                        <a:pt x="55981" y="252731"/>
                      </a:lnTo>
                      <a:lnTo>
                        <a:pt x="62647" y="252438"/>
                      </a:lnTo>
                      <a:lnTo>
                        <a:pt x="70373" y="252104"/>
                      </a:lnTo>
                      <a:lnTo>
                        <a:pt x="70609" y="250050"/>
                      </a:lnTo>
                      <a:lnTo>
                        <a:pt x="71074" y="249545"/>
                      </a:lnTo>
                      <a:lnTo>
                        <a:pt x="71840" y="249471"/>
                      </a:lnTo>
                      <a:lnTo>
                        <a:pt x="77504" y="250572"/>
                      </a:lnTo>
                      <a:lnTo>
                        <a:pt x="82850" y="251631"/>
                      </a:lnTo>
                      <a:lnTo>
                        <a:pt x="83250" y="247776"/>
                      </a:lnTo>
                      <a:lnTo>
                        <a:pt x="87944" y="242935"/>
                      </a:lnTo>
                      <a:lnTo>
                        <a:pt x="90601" y="241949"/>
                      </a:lnTo>
                      <a:lnTo>
                        <a:pt x="91253" y="241102"/>
                      </a:lnTo>
                      <a:lnTo>
                        <a:pt x="92100" y="239464"/>
                      </a:lnTo>
                      <a:lnTo>
                        <a:pt x="92614" y="236945"/>
                      </a:lnTo>
                      <a:lnTo>
                        <a:pt x="92841" y="235152"/>
                      </a:lnTo>
                      <a:lnTo>
                        <a:pt x="93828" y="233653"/>
                      </a:lnTo>
                      <a:lnTo>
                        <a:pt x="94553" y="230914"/>
                      </a:lnTo>
                      <a:lnTo>
                        <a:pt x="95515" y="226114"/>
                      </a:lnTo>
                      <a:lnTo>
                        <a:pt x="98155" y="221070"/>
                      </a:lnTo>
                      <a:lnTo>
                        <a:pt x="99655" y="214224"/>
                      </a:lnTo>
                      <a:lnTo>
                        <a:pt x="99891" y="207598"/>
                      </a:lnTo>
                      <a:lnTo>
                        <a:pt x="100184" y="202570"/>
                      </a:lnTo>
                      <a:lnTo>
                        <a:pt x="100959" y="201543"/>
                      </a:lnTo>
                      <a:lnTo>
                        <a:pt x="100942" y="192603"/>
                      </a:lnTo>
                      <a:lnTo>
                        <a:pt x="100926" y="183597"/>
                      </a:lnTo>
                      <a:lnTo>
                        <a:pt x="100902" y="175985"/>
                      </a:lnTo>
                      <a:lnTo>
                        <a:pt x="100877" y="166499"/>
                      </a:lnTo>
                      <a:lnTo>
                        <a:pt x="100853" y="158170"/>
                      </a:lnTo>
                      <a:lnTo>
                        <a:pt x="100829" y="149148"/>
                      </a:lnTo>
                      <a:lnTo>
                        <a:pt x="100804" y="141031"/>
                      </a:lnTo>
                      <a:lnTo>
                        <a:pt x="100788" y="135652"/>
                      </a:lnTo>
                      <a:lnTo>
                        <a:pt x="106207" y="134365"/>
                      </a:lnTo>
                      <a:lnTo>
                        <a:pt x="111798" y="133036"/>
                      </a:lnTo>
                      <a:lnTo>
                        <a:pt x="119980" y="131080"/>
                      </a:lnTo>
                      <a:lnTo>
                        <a:pt x="128847" y="128978"/>
                      </a:lnTo>
                      <a:lnTo>
                        <a:pt x="138513" y="126671"/>
                      </a:lnTo>
                      <a:lnTo>
                        <a:pt x="140697" y="125286"/>
                      </a:lnTo>
                      <a:lnTo>
                        <a:pt x="147991" y="117495"/>
                      </a:lnTo>
                      <a:lnTo>
                        <a:pt x="151283" y="113974"/>
                      </a:lnTo>
                      <a:lnTo>
                        <a:pt x="157828" y="106973"/>
                      </a:lnTo>
                      <a:lnTo>
                        <a:pt x="162872" y="101562"/>
                      </a:lnTo>
                      <a:lnTo>
                        <a:pt x="169286" y="94692"/>
                      </a:lnTo>
                      <a:lnTo>
                        <a:pt x="176083" y="87764"/>
                      </a:lnTo>
                      <a:lnTo>
                        <a:pt x="181503" y="82239"/>
                      </a:lnTo>
                      <a:lnTo>
                        <a:pt x="190027" y="75964"/>
                      </a:lnTo>
                      <a:lnTo>
                        <a:pt x="202855" y="66510"/>
                      </a:lnTo>
                      <a:lnTo>
                        <a:pt x="215715" y="57040"/>
                      </a:lnTo>
                      <a:lnTo>
                        <a:pt x="228559" y="47554"/>
                      </a:lnTo>
                      <a:lnTo>
                        <a:pt x="241387" y="38067"/>
                      </a:lnTo>
                      <a:lnTo>
                        <a:pt x="254239" y="28565"/>
                      </a:lnTo>
                      <a:lnTo>
                        <a:pt x="267083" y="19062"/>
                      </a:lnTo>
                      <a:lnTo>
                        <a:pt x="279919" y="9535"/>
                      </a:lnTo>
                      <a:lnTo>
                        <a:pt x="292779" y="0"/>
                      </a:lnTo>
                      <a:lnTo>
                        <a:pt x="305688" y="3635"/>
                      </a:lnTo>
                      <a:lnTo>
                        <a:pt x="317953" y="7082"/>
                      </a:lnTo>
                      <a:lnTo>
                        <a:pt x="330308" y="10546"/>
                      </a:lnTo>
                      <a:lnTo>
                        <a:pt x="333210" y="12436"/>
                      </a:lnTo>
                      <a:lnTo>
                        <a:pt x="339762" y="19217"/>
                      </a:lnTo>
                      <a:lnTo>
                        <a:pt x="348148" y="27888"/>
                      </a:lnTo>
                      <a:lnTo>
                        <a:pt x="348515" y="28010"/>
                      </a:lnTo>
                      <a:lnTo>
                        <a:pt x="348890" y="28051"/>
                      </a:lnTo>
                      <a:lnTo>
                        <a:pt x="356958" y="22942"/>
                      </a:lnTo>
                      <a:lnTo>
                        <a:pt x="367455" y="16275"/>
                      </a:lnTo>
                      <a:close/>
                    </a:path>
                  </a:pathLst>
                </a:custGeom>
                <a:solidFill>
                  <a:srgbClr val="D6D6D2"/>
                </a:solidFill>
                <a:ln w="6112" cap="rnd">
                  <a:solidFill>
                    <a:srgbClr val="FFFFFF"/>
                  </a:solidFill>
                  <a:prstDash val="solid"/>
                  <a:round/>
                </a:ln>
              </p:spPr>
              <p:txBody>
                <a:bodyPr rtlCol="0" anchor="ctr"/>
                <a:lstStyle/>
                <a:p>
                  <a:endParaRPr lang="en-US"/>
                </a:p>
              </p:txBody>
            </p:sp>
            <p:sp>
              <p:nvSpPr>
                <p:cNvPr id="671" name="Freeform: Shape 670">
                  <a:extLst>
                    <a:ext uri="{FF2B5EF4-FFF2-40B4-BE49-F238E27FC236}">
                      <a16:creationId xmlns:a16="http://schemas.microsoft.com/office/drawing/2014/main" id="{81F647E6-0522-4ECE-8D69-1A56901DBA3B}"/>
                    </a:ext>
                  </a:extLst>
                </p:cNvPr>
                <p:cNvSpPr/>
                <p:nvPr/>
              </p:nvSpPr>
              <p:spPr>
                <a:xfrm>
                  <a:off x="10012109" y="5133795"/>
                  <a:ext cx="73592" cy="69272"/>
                </a:xfrm>
                <a:custGeom>
                  <a:avLst/>
                  <a:gdLst>
                    <a:gd name="connsiteX0" fmla="*/ 4099 w 73592"/>
                    <a:gd name="connsiteY0" fmla="*/ 3243 h 69272"/>
                    <a:gd name="connsiteX1" fmla="*/ 6902 w 73592"/>
                    <a:gd name="connsiteY1" fmla="*/ 5175 h 69272"/>
                    <a:gd name="connsiteX2" fmla="*/ 9902 w 73592"/>
                    <a:gd name="connsiteY2" fmla="*/ 4344 h 69272"/>
                    <a:gd name="connsiteX3" fmla="*/ 13675 w 73592"/>
                    <a:gd name="connsiteY3" fmla="*/ 7408 h 69272"/>
                    <a:gd name="connsiteX4" fmla="*/ 23292 w 73592"/>
                    <a:gd name="connsiteY4" fmla="*/ 16682 h 69272"/>
                    <a:gd name="connsiteX5" fmla="*/ 26674 w 73592"/>
                    <a:gd name="connsiteY5" fmla="*/ 18638 h 69272"/>
                    <a:gd name="connsiteX6" fmla="*/ 28654 w 73592"/>
                    <a:gd name="connsiteY6" fmla="*/ 19396 h 69272"/>
                    <a:gd name="connsiteX7" fmla="*/ 30154 w 73592"/>
                    <a:gd name="connsiteY7" fmla="*/ 20920 h 69272"/>
                    <a:gd name="connsiteX8" fmla="*/ 31499 w 73592"/>
                    <a:gd name="connsiteY8" fmla="*/ 23055 h 69272"/>
                    <a:gd name="connsiteX9" fmla="*/ 33332 w 73592"/>
                    <a:gd name="connsiteY9" fmla="*/ 24580 h 69272"/>
                    <a:gd name="connsiteX10" fmla="*/ 34131 w 73592"/>
                    <a:gd name="connsiteY10" fmla="*/ 25989 h 69272"/>
                    <a:gd name="connsiteX11" fmla="*/ 34327 w 73592"/>
                    <a:gd name="connsiteY11" fmla="*/ 27888 h 69272"/>
                    <a:gd name="connsiteX12" fmla="*/ 34987 w 73592"/>
                    <a:gd name="connsiteY12" fmla="*/ 29062 h 69272"/>
                    <a:gd name="connsiteX13" fmla="*/ 38336 w 73592"/>
                    <a:gd name="connsiteY13" fmla="*/ 32143 h 69272"/>
                    <a:gd name="connsiteX14" fmla="*/ 40333 w 73592"/>
                    <a:gd name="connsiteY14" fmla="*/ 34848 h 69272"/>
                    <a:gd name="connsiteX15" fmla="*/ 43103 w 73592"/>
                    <a:gd name="connsiteY15" fmla="*/ 36226 h 69272"/>
                    <a:gd name="connsiteX16" fmla="*/ 44293 w 73592"/>
                    <a:gd name="connsiteY16" fmla="*/ 37839 h 69272"/>
                    <a:gd name="connsiteX17" fmla="*/ 45850 w 73592"/>
                    <a:gd name="connsiteY17" fmla="*/ 38630 h 69272"/>
                    <a:gd name="connsiteX18" fmla="*/ 47439 w 73592"/>
                    <a:gd name="connsiteY18" fmla="*/ 40276 h 69272"/>
                    <a:gd name="connsiteX19" fmla="*/ 50121 w 73592"/>
                    <a:gd name="connsiteY19" fmla="*/ 41555 h 69272"/>
                    <a:gd name="connsiteX20" fmla="*/ 56208 w 73592"/>
                    <a:gd name="connsiteY20" fmla="*/ 46323 h 69272"/>
                    <a:gd name="connsiteX21" fmla="*/ 60919 w 73592"/>
                    <a:gd name="connsiteY21" fmla="*/ 50838 h 69272"/>
                    <a:gd name="connsiteX22" fmla="*/ 63250 w 73592"/>
                    <a:gd name="connsiteY22" fmla="*/ 53633 h 69272"/>
                    <a:gd name="connsiteX23" fmla="*/ 65793 w 73592"/>
                    <a:gd name="connsiteY23" fmla="*/ 56127 h 69272"/>
                    <a:gd name="connsiteX24" fmla="*/ 69020 w 73592"/>
                    <a:gd name="connsiteY24" fmla="*/ 58124 h 69272"/>
                    <a:gd name="connsiteX25" fmla="*/ 72060 w 73592"/>
                    <a:gd name="connsiteY25" fmla="*/ 60390 h 69272"/>
                    <a:gd name="connsiteX26" fmla="*/ 73592 w 73592"/>
                    <a:gd name="connsiteY26" fmla="*/ 65719 h 69272"/>
                    <a:gd name="connsiteX27" fmla="*/ 72745 w 73592"/>
                    <a:gd name="connsiteY27" fmla="*/ 67618 h 69272"/>
                    <a:gd name="connsiteX28" fmla="*/ 71001 w 73592"/>
                    <a:gd name="connsiteY28" fmla="*/ 68555 h 69272"/>
                    <a:gd name="connsiteX29" fmla="*/ 69378 w 73592"/>
                    <a:gd name="connsiteY29" fmla="*/ 68629 h 69272"/>
                    <a:gd name="connsiteX30" fmla="*/ 67863 w 73592"/>
                    <a:gd name="connsiteY30" fmla="*/ 69273 h 69272"/>
                    <a:gd name="connsiteX31" fmla="*/ 62826 w 73592"/>
                    <a:gd name="connsiteY31" fmla="*/ 65825 h 69272"/>
                    <a:gd name="connsiteX32" fmla="*/ 61628 w 73592"/>
                    <a:gd name="connsiteY32" fmla="*/ 65320 h 69272"/>
                    <a:gd name="connsiteX33" fmla="*/ 60283 w 73592"/>
                    <a:gd name="connsiteY33" fmla="*/ 65532 h 69272"/>
                    <a:gd name="connsiteX34" fmla="*/ 59533 w 73592"/>
                    <a:gd name="connsiteY34" fmla="*/ 64758 h 69272"/>
                    <a:gd name="connsiteX35" fmla="*/ 59004 w 73592"/>
                    <a:gd name="connsiteY35" fmla="*/ 63666 h 69272"/>
                    <a:gd name="connsiteX36" fmla="*/ 55932 w 73592"/>
                    <a:gd name="connsiteY36" fmla="*/ 62394 h 69272"/>
                    <a:gd name="connsiteX37" fmla="*/ 53055 w 73592"/>
                    <a:gd name="connsiteY37" fmla="*/ 60341 h 69272"/>
                    <a:gd name="connsiteX38" fmla="*/ 52223 w 73592"/>
                    <a:gd name="connsiteY38" fmla="*/ 58955 h 69272"/>
                    <a:gd name="connsiteX39" fmla="*/ 51735 w 73592"/>
                    <a:gd name="connsiteY39" fmla="*/ 57211 h 69272"/>
                    <a:gd name="connsiteX40" fmla="*/ 51050 w 73592"/>
                    <a:gd name="connsiteY40" fmla="*/ 56217 h 69272"/>
                    <a:gd name="connsiteX41" fmla="*/ 47007 w 73592"/>
                    <a:gd name="connsiteY41" fmla="*/ 54709 h 69272"/>
                    <a:gd name="connsiteX42" fmla="*/ 44285 w 73592"/>
                    <a:gd name="connsiteY42" fmla="*/ 53030 h 69272"/>
                    <a:gd name="connsiteX43" fmla="*/ 42322 w 73592"/>
                    <a:gd name="connsiteY43" fmla="*/ 50642 h 69272"/>
                    <a:gd name="connsiteX44" fmla="*/ 39249 w 73592"/>
                    <a:gd name="connsiteY44" fmla="*/ 48996 h 69272"/>
                    <a:gd name="connsiteX45" fmla="*/ 34473 w 73592"/>
                    <a:gd name="connsiteY45" fmla="*/ 45614 h 69272"/>
                    <a:gd name="connsiteX46" fmla="*/ 32020 w 73592"/>
                    <a:gd name="connsiteY46" fmla="*/ 44530 h 69272"/>
                    <a:gd name="connsiteX47" fmla="*/ 29869 w 73592"/>
                    <a:gd name="connsiteY47" fmla="*/ 42835 h 69272"/>
                    <a:gd name="connsiteX48" fmla="*/ 24115 w 73592"/>
                    <a:gd name="connsiteY48" fmla="*/ 36674 h 69272"/>
                    <a:gd name="connsiteX49" fmla="*/ 22070 w 73592"/>
                    <a:gd name="connsiteY49" fmla="*/ 35533 h 69272"/>
                    <a:gd name="connsiteX50" fmla="*/ 20268 w 73592"/>
                    <a:gd name="connsiteY50" fmla="*/ 32786 h 69272"/>
                    <a:gd name="connsiteX51" fmla="*/ 15322 w 73592"/>
                    <a:gd name="connsiteY51" fmla="*/ 26299 h 69272"/>
                    <a:gd name="connsiteX52" fmla="*/ 12942 w 73592"/>
                    <a:gd name="connsiteY52" fmla="*/ 23634 h 69272"/>
                    <a:gd name="connsiteX53" fmla="*/ 10341 w 73592"/>
                    <a:gd name="connsiteY53" fmla="*/ 21255 h 69272"/>
                    <a:gd name="connsiteX54" fmla="*/ 8354 w 73592"/>
                    <a:gd name="connsiteY54" fmla="*/ 18467 h 69272"/>
                    <a:gd name="connsiteX55" fmla="*/ 6822 w 73592"/>
                    <a:gd name="connsiteY55" fmla="*/ 15183 h 69272"/>
                    <a:gd name="connsiteX56" fmla="*/ 3276 w 73592"/>
                    <a:gd name="connsiteY56" fmla="*/ 10456 h 69272"/>
                    <a:gd name="connsiteX57" fmla="*/ 2836 w 73592"/>
                    <a:gd name="connsiteY57" fmla="*/ 8443 h 69272"/>
                    <a:gd name="connsiteX58" fmla="*/ 2990 w 73592"/>
                    <a:gd name="connsiteY58" fmla="*/ 6373 h 69272"/>
                    <a:gd name="connsiteX59" fmla="*/ 2135 w 73592"/>
                    <a:gd name="connsiteY59" fmla="*/ 5045 h 69272"/>
                    <a:gd name="connsiteX60" fmla="*/ 684 w 73592"/>
                    <a:gd name="connsiteY60" fmla="*/ 4230 h 69272"/>
                    <a:gd name="connsiteX61" fmla="*/ 0 w 73592"/>
                    <a:gd name="connsiteY61" fmla="*/ 2836 h 69272"/>
                    <a:gd name="connsiteX62" fmla="*/ 74 w 73592"/>
                    <a:gd name="connsiteY62" fmla="*/ 962 h 69272"/>
                    <a:gd name="connsiteX63" fmla="*/ 554 w 73592"/>
                    <a:gd name="connsiteY63" fmla="*/ 0 h 69272"/>
                    <a:gd name="connsiteX64" fmla="*/ 4099 w 73592"/>
                    <a:gd name="connsiteY64" fmla="*/ 3243 h 6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73592" h="69272">
                      <a:moveTo>
                        <a:pt x="4099" y="3243"/>
                      </a:moveTo>
                      <a:lnTo>
                        <a:pt x="6902" y="5175"/>
                      </a:lnTo>
                      <a:lnTo>
                        <a:pt x="9902" y="4344"/>
                      </a:lnTo>
                      <a:lnTo>
                        <a:pt x="13675" y="7408"/>
                      </a:lnTo>
                      <a:lnTo>
                        <a:pt x="23292" y="16682"/>
                      </a:lnTo>
                      <a:lnTo>
                        <a:pt x="26674" y="18638"/>
                      </a:lnTo>
                      <a:lnTo>
                        <a:pt x="28654" y="19396"/>
                      </a:lnTo>
                      <a:lnTo>
                        <a:pt x="30154" y="20920"/>
                      </a:lnTo>
                      <a:lnTo>
                        <a:pt x="31499" y="23055"/>
                      </a:lnTo>
                      <a:lnTo>
                        <a:pt x="33332" y="24580"/>
                      </a:lnTo>
                      <a:lnTo>
                        <a:pt x="34131" y="25989"/>
                      </a:lnTo>
                      <a:lnTo>
                        <a:pt x="34327" y="27888"/>
                      </a:lnTo>
                      <a:lnTo>
                        <a:pt x="34987" y="29062"/>
                      </a:lnTo>
                      <a:lnTo>
                        <a:pt x="38336" y="32143"/>
                      </a:lnTo>
                      <a:lnTo>
                        <a:pt x="40333" y="34848"/>
                      </a:lnTo>
                      <a:lnTo>
                        <a:pt x="43103" y="36226"/>
                      </a:lnTo>
                      <a:lnTo>
                        <a:pt x="44293" y="37839"/>
                      </a:lnTo>
                      <a:lnTo>
                        <a:pt x="45850" y="38630"/>
                      </a:lnTo>
                      <a:lnTo>
                        <a:pt x="47439" y="40276"/>
                      </a:lnTo>
                      <a:lnTo>
                        <a:pt x="50121" y="41555"/>
                      </a:lnTo>
                      <a:lnTo>
                        <a:pt x="56208" y="46323"/>
                      </a:lnTo>
                      <a:lnTo>
                        <a:pt x="60919" y="50838"/>
                      </a:lnTo>
                      <a:lnTo>
                        <a:pt x="63250" y="53633"/>
                      </a:lnTo>
                      <a:lnTo>
                        <a:pt x="65793" y="56127"/>
                      </a:lnTo>
                      <a:lnTo>
                        <a:pt x="69020" y="58124"/>
                      </a:lnTo>
                      <a:lnTo>
                        <a:pt x="72060" y="60390"/>
                      </a:lnTo>
                      <a:lnTo>
                        <a:pt x="73592" y="65719"/>
                      </a:lnTo>
                      <a:lnTo>
                        <a:pt x="72745" y="67618"/>
                      </a:lnTo>
                      <a:lnTo>
                        <a:pt x="71001" y="68555"/>
                      </a:lnTo>
                      <a:lnTo>
                        <a:pt x="69378" y="68629"/>
                      </a:lnTo>
                      <a:lnTo>
                        <a:pt x="67863" y="69273"/>
                      </a:lnTo>
                      <a:lnTo>
                        <a:pt x="62826" y="65825"/>
                      </a:lnTo>
                      <a:lnTo>
                        <a:pt x="61628" y="65320"/>
                      </a:lnTo>
                      <a:lnTo>
                        <a:pt x="60283" y="65532"/>
                      </a:lnTo>
                      <a:lnTo>
                        <a:pt x="59533" y="64758"/>
                      </a:lnTo>
                      <a:lnTo>
                        <a:pt x="59004" y="63666"/>
                      </a:lnTo>
                      <a:lnTo>
                        <a:pt x="55932" y="62394"/>
                      </a:lnTo>
                      <a:lnTo>
                        <a:pt x="53055" y="60341"/>
                      </a:lnTo>
                      <a:lnTo>
                        <a:pt x="52223" y="58955"/>
                      </a:lnTo>
                      <a:lnTo>
                        <a:pt x="51735" y="57211"/>
                      </a:lnTo>
                      <a:lnTo>
                        <a:pt x="51050" y="56217"/>
                      </a:lnTo>
                      <a:lnTo>
                        <a:pt x="47007" y="54709"/>
                      </a:lnTo>
                      <a:lnTo>
                        <a:pt x="44285" y="53030"/>
                      </a:lnTo>
                      <a:lnTo>
                        <a:pt x="42322" y="50642"/>
                      </a:lnTo>
                      <a:lnTo>
                        <a:pt x="39249" y="48996"/>
                      </a:lnTo>
                      <a:lnTo>
                        <a:pt x="34473" y="45614"/>
                      </a:lnTo>
                      <a:lnTo>
                        <a:pt x="32020" y="44530"/>
                      </a:lnTo>
                      <a:lnTo>
                        <a:pt x="29869" y="42835"/>
                      </a:lnTo>
                      <a:lnTo>
                        <a:pt x="24115" y="36674"/>
                      </a:lnTo>
                      <a:lnTo>
                        <a:pt x="22070" y="35533"/>
                      </a:lnTo>
                      <a:lnTo>
                        <a:pt x="20268" y="32786"/>
                      </a:lnTo>
                      <a:lnTo>
                        <a:pt x="15322" y="26299"/>
                      </a:lnTo>
                      <a:lnTo>
                        <a:pt x="12942" y="23634"/>
                      </a:lnTo>
                      <a:lnTo>
                        <a:pt x="10341" y="21255"/>
                      </a:lnTo>
                      <a:lnTo>
                        <a:pt x="8354" y="18467"/>
                      </a:lnTo>
                      <a:lnTo>
                        <a:pt x="6822" y="15183"/>
                      </a:lnTo>
                      <a:lnTo>
                        <a:pt x="3276" y="10456"/>
                      </a:lnTo>
                      <a:lnTo>
                        <a:pt x="2836" y="8443"/>
                      </a:lnTo>
                      <a:lnTo>
                        <a:pt x="2990" y="6373"/>
                      </a:lnTo>
                      <a:lnTo>
                        <a:pt x="2135" y="5045"/>
                      </a:lnTo>
                      <a:lnTo>
                        <a:pt x="684" y="4230"/>
                      </a:lnTo>
                      <a:lnTo>
                        <a:pt x="0" y="2836"/>
                      </a:lnTo>
                      <a:lnTo>
                        <a:pt x="74" y="962"/>
                      </a:lnTo>
                      <a:lnTo>
                        <a:pt x="554" y="0"/>
                      </a:lnTo>
                      <a:lnTo>
                        <a:pt x="4099" y="3243"/>
                      </a:lnTo>
                      <a:close/>
                    </a:path>
                  </a:pathLst>
                </a:custGeom>
                <a:solidFill>
                  <a:srgbClr val="D6D6D2"/>
                </a:solidFill>
                <a:ln w="8150" cap="flat">
                  <a:noFill/>
                  <a:prstDash val="solid"/>
                  <a:miter/>
                </a:ln>
              </p:spPr>
              <p:txBody>
                <a:bodyPr rtlCol="0" anchor="ctr"/>
                <a:lstStyle/>
                <a:p>
                  <a:endParaRPr lang="en-US"/>
                </a:p>
              </p:txBody>
            </p:sp>
            <p:sp>
              <p:nvSpPr>
                <p:cNvPr id="672" name="Freeform: Shape 671">
                  <a:extLst>
                    <a:ext uri="{FF2B5EF4-FFF2-40B4-BE49-F238E27FC236}">
                      <a16:creationId xmlns:a16="http://schemas.microsoft.com/office/drawing/2014/main" id="{93F41F5B-417C-4C56-8F30-D9FA6D64CBDB}"/>
                    </a:ext>
                  </a:extLst>
                </p:cNvPr>
                <p:cNvSpPr/>
                <p:nvPr/>
              </p:nvSpPr>
              <p:spPr>
                <a:xfrm>
                  <a:off x="6234357" y="5036243"/>
                  <a:ext cx="335744" cy="373559"/>
                </a:xfrm>
                <a:custGeom>
                  <a:avLst/>
                  <a:gdLst>
                    <a:gd name="connsiteX0" fmla="*/ 289169 w 335744"/>
                    <a:gd name="connsiteY0" fmla="*/ 20611 h 373559"/>
                    <a:gd name="connsiteX1" fmla="*/ 294483 w 335744"/>
                    <a:gd name="connsiteY1" fmla="*/ 19356 h 373559"/>
                    <a:gd name="connsiteX2" fmla="*/ 299543 w 335744"/>
                    <a:gd name="connsiteY2" fmla="*/ 18149 h 373559"/>
                    <a:gd name="connsiteX3" fmla="*/ 305444 w 335744"/>
                    <a:gd name="connsiteY3" fmla="*/ 16943 h 373559"/>
                    <a:gd name="connsiteX4" fmla="*/ 310154 w 335744"/>
                    <a:gd name="connsiteY4" fmla="*/ 15982 h 373559"/>
                    <a:gd name="connsiteX5" fmla="*/ 311353 w 335744"/>
                    <a:gd name="connsiteY5" fmla="*/ 15729 h 373559"/>
                    <a:gd name="connsiteX6" fmla="*/ 322697 w 335744"/>
                    <a:gd name="connsiteY6" fmla="*/ 16845 h 373559"/>
                    <a:gd name="connsiteX7" fmla="*/ 327652 w 335744"/>
                    <a:gd name="connsiteY7" fmla="*/ 17636 h 373559"/>
                    <a:gd name="connsiteX8" fmla="*/ 329380 w 335744"/>
                    <a:gd name="connsiteY8" fmla="*/ 18402 h 373559"/>
                    <a:gd name="connsiteX9" fmla="*/ 331613 w 335744"/>
                    <a:gd name="connsiteY9" fmla="*/ 20423 h 373559"/>
                    <a:gd name="connsiteX10" fmla="*/ 335745 w 335744"/>
                    <a:gd name="connsiteY10" fmla="*/ 25305 h 373559"/>
                    <a:gd name="connsiteX11" fmla="*/ 334693 w 335744"/>
                    <a:gd name="connsiteY11" fmla="*/ 25117 h 373559"/>
                    <a:gd name="connsiteX12" fmla="*/ 327073 w 335744"/>
                    <a:gd name="connsiteY12" fmla="*/ 26161 h 373559"/>
                    <a:gd name="connsiteX13" fmla="*/ 324172 w 335744"/>
                    <a:gd name="connsiteY13" fmla="*/ 27489 h 373559"/>
                    <a:gd name="connsiteX14" fmla="*/ 317693 w 335744"/>
                    <a:gd name="connsiteY14" fmla="*/ 33259 h 373559"/>
                    <a:gd name="connsiteX15" fmla="*/ 316300 w 335744"/>
                    <a:gd name="connsiteY15" fmla="*/ 32509 h 373559"/>
                    <a:gd name="connsiteX16" fmla="*/ 314751 w 335744"/>
                    <a:gd name="connsiteY16" fmla="*/ 31319 h 373559"/>
                    <a:gd name="connsiteX17" fmla="*/ 313430 w 335744"/>
                    <a:gd name="connsiteY17" fmla="*/ 30977 h 373559"/>
                    <a:gd name="connsiteX18" fmla="*/ 310578 w 335744"/>
                    <a:gd name="connsiteY18" fmla="*/ 32354 h 373559"/>
                    <a:gd name="connsiteX19" fmla="*/ 307734 w 335744"/>
                    <a:gd name="connsiteY19" fmla="*/ 34025 h 373559"/>
                    <a:gd name="connsiteX20" fmla="*/ 304596 w 335744"/>
                    <a:gd name="connsiteY20" fmla="*/ 36372 h 373559"/>
                    <a:gd name="connsiteX21" fmla="*/ 301997 w 335744"/>
                    <a:gd name="connsiteY21" fmla="*/ 38670 h 373559"/>
                    <a:gd name="connsiteX22" fmla="*/ 301157 w 335744"/>
                    <a:gd name="connsiteY22" fmla="*/ 39909 h 373559"/>
                    <a:gd name="connsiteX23" fmla="*/ 297107 w 335744"/>
                    <a:gd name="connsiteY23" fmla="*/ 44669 h 373559"/>
                    <a:gd name="connsiteX24" fmla="*/ 295779 w 335744"/>
                    <a:gd name="connsiteY24" fmla="*/ 45435 h 373559"/>
                    <a:gd name="connsiteX25" fmla="*/ 294597 w 335744"/>
                    <a:gd name="connsiteY25" fmla="*/ 45761 h 373559"/>
                    <a:gd name="connsiteX26" fmla="*/ 294116 w 335744"/>
                    <a:gd name="connsiteY26" fmla="*/ 45549 h 373559"/>
                    <a:gd name="connsiteX27" fmla="*/ 293619 w 335744"/>
                    <a:gd name="connsiteY27" fmla="*/ 43503 h 373559"/>
                    <a:gd name="connsiteX28" fmla="*/ 291125 w 335744"/>
                    <a:gd name="connsiteY28" fmla="*/ 38727 h 373559"/>
                    <a:gd name="connsiteX29" fmla="*/ 287123 w 335744"/>
                    <a:gd name="connsiteY29" fmla="*/ 32477 h 373559"/>
                    <a:gd name="connsiteX30" fmla="*/ 285958 w 335744"/>
                    <a:gd name="connsiteY30" fmla="*/ 31865 h 373559"/>
                    <a:gd name="connsiteX31" fmla="*/ 285168 w 335744"/>
                    <a:gd name="connsiteY31" fmla="*/ 31629 h 373559"/>
                    <a:gd name="connsiteX32" fmla="*/ 282201 w 335744"/>
                    <a:gd name="connsiteY32" fmla="*/ 31931 h 373559"/>
                    <a:gd name="connsiteX33" fmla="*/ 273595 w 335744"/>
                    <a:gd name="connsiteY33" fmla="*/ 33707 h 373559"/>
                    <a:gd name="connsiteX34" fmla="*/ 266333 w 335744"/>
                    <a:gd name="connsiteY34" fmla="*/ 35190 h 373559"/>
                    <a:gd name="connsiteX35" fmla="*/ 255201 w 335744"/>
                    <a:gd name="connsiteY35" fmla="*/ 37741 h 373559"/>
                    <a:gd name="connsiteX36" fmla="*/ 243253 w 335744"/>
                    <a:gd name="connsiteY36" fmla="*/ 39787 h 373559"/>
                    <a:gd name="connsiteX37" fmla="*/ 235886 w 335744"/>
                    <a:gd name="connsiteY37" fmla="*/ 41058 h 373559"/>
                    <a:gd name="connsiteX38" fmla="*/ 229480 w 335744"/>
                    <a:gd name="connsiteY38" fmla="*/ 41425 h 373559"/>
                    <a:gd name="connsiteX39" fmla="*/ 229480 w 335744"/>
                    <a:gd name="connsiteY39" fmla="*/ 47627 h 373559"/>
                    <a:gd name="connsiteX40" fmla="*/ 229505 w 335744"/>
                    <a:gd name="connsiteY40" fmla="*/ 60178 h 373559"/>
                    <a:gd name="connsiteX41" fmla="*/ 229521 w 335744"/>
                    <a:gd name="connsiteY41" fmla="*/ 72728 h 373559"/>
                    <a:gd name="connsiteX42" fmla="*/ 229538 w 335744"/>
                    <a:gd name="connsiteY42" fmla="*/ 85311 h 373559"/>
                    <a:gd name="connsiteX43" fmla="*/ 229546 w 335744"/>
                    <a:gd name="connsiteY43" fmla="*/ 97903 h 373559"/>
                    <a:gd name="connsiteX44" fmla="*/ 229562 w 335744"/>
                    <a:gd name="connsiteY44" fmla="*/ 110510 h 373559"/>
                    <a:gd name="connsiteX45" fmla="*/ 229570 w 335744"/>
                    <a:gd name="connsiteY45" fmla="*/ 123142 h 373559"/>
                    <a:gd name="connsiteX46" fmla="*/ 229586 w 335744"/>
                    <a:gd name="connsiteY46" fmla="*/ 135766 h 373559"/>
                    <a:gd name="connsiteX47" fmla="*/ 229603 w 335744"/>
                    <a:gd name="connsiteY47" fmla="*/ 148431 h 373559"/>
                    <a:gd name="connsiteX48" fmla="*/ 229611 w 335744"/>
                    <a:gd name="connsiteY48" fmla="*/ 153948 h 373559"/>
                    <a:gd name="connsiteX49" fmla="*/ 229399 w 335744"/>
                    <a:gd name="connsiteY49" fmla="*/ 155138 h 373559"/>
                    <a:gd name="connsiteX50" fmla="*/ 225731 w 335744"/>
                    <a:gd name="connsiteY50" fmla="*/ 155138 h 373559"/>
                    <a:gd name="connsiteX51" fmla="*/ 217410 w 335744"/>
                    <a:gd name="connsiteY51" fmla="*/ 155138 h 373559"/>
                    <a:gd name="connsiteX52" fmla="*/ 210410 w 335744"/>
                    <a:gd name="connsiteY52" fmla="*/ 155138 h 373559"/>
                    <a:gd name="connsiteX53" fmla="*/ 204754 w 335744"/>
                    <a:gd name="connsiteY53" fmla="*/ 155138 h 373559"/>
                    <a:gd name="connsiteX54" fmla="*/ 204762 w 335744"/>
                    <a:gd name="connsiteY54" fmla="*/ 162677 h 373559"/>
                    <a:gd name="connsiteX55" fmla="*/ 204770 w 335744"/>
                    <a:gd name="connsiteY55" fmla="*/ 171593 h 373559"/>
                    <a:gd name="connsiteX56" fmla="*/ 204778 w 335744"/>
                    <a:gd name="connsiteY56" fmla="*/ 180517 h 373559"/>
                    <a:gd name="connsiteX57" fmla="*/ 204778 w 335744"/>
                    <a:gd name="connsiteY57" fmla="*/ 189457 h 373559"/>
                    <a:gd name="connsiteX58" fmla="*/ 204786 w 335744"/>
                    <a:gd name="connsiteY58" fmla="*/ 198405 h 373559"/>
                    <a:gd name="connsiteX59" fmla="*/ 204795 w 335744"/>
                    <a:gd name="connsiteY59" fmla="*/ 207354 h 373559"/>
                    <a:gd name="connsiteX60" fmla="*/ 204803 w 335744"/>
                    <a:gd name="connsiteY60" fmla="*/ 216310 h 373559"/>
                    <a:gd name="connsiteX61" fmla="*/ 204811 w 335744"/>
                    <a:gd name="connsiteY61" fmla="*/ 225283 h 373559"/>
                    <a:gd name="connsiteX62" fmla="*/ 204819 w 335744"/>
                    <a:gd name="connsiteY62" fmla="*/ 234264 h 373559"/>
                    <a:gd name="connsiteX63" fmla="*/ 204827 w 335744"/>
                    <a:gd name="connsiteY63" fmla="*/ 241053 h 373559"/>
                    <a:gd name="connsiteX64" fmla="*/ 204827 w 335744"/>
                    <a:gd name="connsiteY64" fmla="*/ 241835 h 373559"/>
                    <a:gd name="connsiteX65" fmla="*/ 204827 w 335744"/>
                    <a:gd name="connsiteY65" fmla="*/ 255030 h 373559"/>
                    <a:gd name="connsiteX66" fmla="*/ 204827 w 335744"/>
                    <a:gd name="connsiteY66" fmla="*/ 269015 h 373559"/>
                    <a:gd name="connsiteX67" fmla="*/ 204827 w 335744"/>
                    <a:gd name="connsiteY67" fmla="*/ 283040 h 373559"/>
                    <a:gd name="connsiteX68" fmla="*/ 204827 w 335744"/>
                    <a:gd name="connsiteY68" fmla="*/ 297082 h 373559"/>
                    <a:gd name="connsiteX69" fmla="*/ 204827 w 335744"/>
                    <a:gd name="connsiteY69" fmla="*/ 311149 h 373559"/>
                    <a:gd name="connsiteX70" fmla="*/ 204827 w 335744"/>
                    <a:gd name="connsiteY70" fmla="*/ 325248 h 373559"/>
                    <a:gd name="connsiteX71" fmla="*/ 204827 w 335744"/>
                    <a:gd name="connsiteY71" fmla="*/ 339371 h 373559"/>
                    <a:gd name="connsiteX72" fmla="*/ 204827 w 335744"/>
                    <a:gd name="connsiteY72" fmla="*/ 353519 h 373559"/>
                    <a:gd name="connsiteX73" fmla="*/ 204827 w 335744"/>
                    <a:gd name="connsiteY73" fmla="*/ 358009 h 373559"/>
                    <a:gd name="connsiteX74" fmla="*/ 202284 w 335744"/>
                    <a:gd name="connsiteY74" fmla="*/ 357953 h 373559"/>
                    <a:gd name="connsiteX75" fmla="*/ 197166 w 335744"/>
                    <a:gd name="connsiteY75" fmla="*/ 359680 h 373559"/>
                    <a:gd name="connsiteX76" fmla="*/ 193907 w 335744"/>
                    <a:gd name="connsiteY76" fmla="*/ 361938 h 373559"/>
                    <a:gd name="connsiteX77" fmla="*/ 192497 w 335744"/>
                    <a:gd name="connsiteY77" fmla="*/ 364717 h 373559"/>
                    <a:gd name="connsiteX78" fmla="*/ 190614 w 335744"/>
                    <a:gd name="connsiteY78" fmla="*/ 366388 h 373559"/>
                    <a:gd name="connsiteX79" fmla="*/ 188267 w 335744"/>
                    <a:gd name="connsiteY79" fmla="*/ 366999 h 373559"/>
                    <a:gd name="connsiteX80" fmla="*/ 187232 w 335744"/>
                    <a:gd name="connsiteY80" fmla="*/ 368409 h 373559"/>
                    <a:gd name="connsiteX81" fmla="*/ 187509 w 335744"/>
                    <a:gd name="connsiteY81" fmla="*/ 370666 h 373559"/>
                    <a:gd name="connsiteX82" fmla="*/ 186613 w 335744"/>
                    <a:gd name="connsiteY82" fmla="*/ 372386 h 373559"/>
                    <a:gd name="connsiteX83" fmla="*/ 184526 w 335744"/>
                    <a:gd name="connsiteY83" fmla="*/ 373559 h 373559"/>
                    <a:gd name="connsiteX84" fmla="*/ 181160 w 335744"/>
                    <a:gd name="connsiteY84" fmla="*/ 373217 h 373559"/>
                    <a:gd name="connsiteX85" fmla="*/ 176515 w 335744"/>
                    <a:gd name="connsiteY85" fmla="*/ 371343 h 373559"/>
                    <a:gd name="connsiteX86" fmla="*/ 170607 w 335744"/>
                    <a:gd name="connsiteY86" fmla="*/ 370894 h 373559"/>
                    <a:gd name="connsiteX87" fmla="*/ 163418 w 335744"/>
                    <a:gd name="connsiteY87" fmla="*/ 371872 h 373559"/>
                    <a:gd name="connsiteX88" fmla="*/ 158260 w 335744"/>
                    <a:gd name="connsiteY88" fmla="*/ 371416 h 373559"/>
                    <a:gd name="connsiteX89" fmla="*/ 155130 w 335744"/>
                    <a:gd name="connsiteY89" fmla="*/ 369492 h 373559"/>
                    <a:gd name="connsiteX90" fmla="*/ 151789 w 335744"/>
                    <a:gd name="connsiteY90" fmla="*/ 368392 h 373559"/>
                    <a:gd name="connsiteX91" fmla="*/ 148252 w 335744"/>
                    <a:gd name="connsiteY91" fmla="*/ 368115 h 373559"/>
                    <a:gd name="connsiteX92" fmla="*/ 146206 w 335744"/>
                    <a:gd name="connsiteY92" fmla="*/ 367316 h 373559"/>
                    <a:gd name="connsiteX93" fmla="*/ 142017 w 335744"/>
                    <a:gd name="connsiteY93" fmla="*/ 365882 h 373559"/>
                    <a:gd name="connsiteX94" fmla="*/ 141227 w 335744"/>
                    <a:gd name="connsiteY94" fmla="*/ 363421 h 373559"/>
                    <a:gd name="connsiteX95" fmla="*/ 140730 w 335744"/>
                    <a:gd name="connsiteY95" fmla="*/ 361555 h 373559"/>
                    <a:gd name="connsiteX96" fmla="*/ 139548 w 335744"/>
                    <a:gd name="connsiteY96" fmla="*/ 359599 h 373559"/>
                    <a:gd name="connsiteX97" fmla="*/ 139409 w 335744"/>
                    <a:gd name="connsiteY97" fmla="*/ 358018 h 373559"/>
                    <a:gd name="connsiteX98" fmla="*/ 140339 w 335744"/>
                    <a:gd name="connsiteY98" fmla="*/ 356820 h 373559"/>
                    <a:gd name="connsiteX99" fmla="*/ 140477 w 335744"/>
                    <a:gd name="connsiteY99" fmla="*/ 354880 h 373559"/>
                    <a:gd name="connsiteX100" fmla="*/ 139809 w 335744"/>
                    <a:gd name="connsiteY100" fmla="*/ 352215 h 373559"/>
                    <a:gd name="connsiteX101" fmla="*/ 138643 w 335744"/>
                    <a:gd name="connsiteY101" fmla="*/ 350919 h 373559"/>
                    <a:gd name="connsiteX102" fmla="*/ 137005 w 335744"/>
                    <a:gd name="connsiteY102" fmla="*/ 350984 h 373559"/>
                    <a:gd name="connsiteX103" fmla="*/ 135987 w 335744"/>
                    <a:gd name="connsiteY103" fmla="*/ 349966 h 373559"/>
                    <a:gd name="connsiteX104" fmla="*/ 135579 w 335744"/>
                    <a:gd name="connsiteY104" fmla="*/ 347863 h 373559"/>
                    <a:gd name="connsiteX105" fmla="*/ 134609 w 335744"/>
                    <a:gd name="connsiteY105" fmla="*/ 346258 h 373559"/>
                    <a:gd name="connsiteX106" fmla="*/ 132303 w 335744"/>
                    <a:gd name="connsiteY106" fmla="*/ 344636 h 373559"/>
                    <a:gd name="connsiteX107" fmla="*/ 129255 w 335744"/>
                    <a:gd name="connsiteY107" fmla="*/ 345866 h 373559"/>
                    <a:gd name="connsiteX108" fmla="*/ 127821 w 335744"/>
                    <a:gd name="connsiteY108" fmla="*/ 347708 h 373559"/>
                    <a:gd name="connsiteX109" fmla="*/ 126981 w 335744"/>
                    <a:gd name="connsiteY109" fmla="*/ 350610 h 373559"/>
                    <a:gd name="connsiteX110" fmla="*/ 126198 w 335744"/>
                    <a:gd name="connsiteY110" fmla="*/ 352052 h 373559"/>
                    <a:gd name="connsiteX111" fmla="*/ 125815 w 335744"/>
                    <a:gd name="connsiteY111" fmla="*/ 354481 h 373559"/>
                    <a:gd name="connsiteX112" fmla="*/ 125644 w 335744"/>
                    <a:gd name="connsiteY112" fmla="*/ 356209 h 373559"/>
                    <a:gd name="connsiteX113" fmla="*/ 124854 w 335744"/>
                    <a:gd name="connsiteY113" fmla="*/ 358034 h 373559"/>
                    <a:gd name="connsiteX114" fmla="*/ 124039 w 335744"/>
                    <a:gd name="connsiteY114" fmla="*/ 358784 h 373559"/>
                    <a:gd name="connsiteX115" fmla="*/ 123216 w 335744"/>
                    <a:gd name="connsiteY115" fmla="*/ 358441 h 373559"/>
                    <a:gd name="connsiteX116" fmla="*/ 121635 w 335744"/>
                    <a:gd name="connsiteY116" fmla="*/ 359175 h 373559"/>
                    <a:gd name="connsiteX117" fmla="*/ 118188 w 335744"/>
                    <a:gd name="connsiteY117" fmla="*/ 361881 h 373559"/>
                    <a:gd name="connsiteX118" fmla="*/ 117210 w 335744"/>
                    <a:gd name="connsiteY118" fmla="*/ 363315 h 373559"/>
                    <a:gd name="connsiteX119" fmla="*/ 114423 w 335744"/>
                    <a:gd name="connsiteY119" fmla="*/ 360715 h 373559"/>
                    <a:gd name="connsiteX120" fmla="*/ 106289 w 335744"/>
                    <a:gd name="connsiteY120" fmla="*/ 351017 h 373559"/>
                    <a:gd name="connsiteX121" fmla="*/ 103404 w 335744"/>
                    <a:gd name="connsiteY121" fmla="*/ 348491 h 373559"/>
                    <a:gd name="connsiteX122" fmla="*/ 99142 w 335744"/>
                    <a:gd name="connsiteY122" fmla="*/ 342558 h 373559"/>
                    <a:gd name="connsiteX123" fmla="*/ 89777 w 335744"/>
                    <a:gd name="connsiteY123" fmla="*/ 324164 h 373559"/>
                    <a:gd name="connsiteX124" fmla="*/ 88441 w 335744"/>
                    <a:gd name="connsiteY124" fmla="*/ 320627 h 373559"/>
                    <a:gd name="connsiteX125" fmla="*/ 86648 w 335744"/>
                    <a:gd name="connsiteY125" fmla="*/ 311752 h 373559"/>
                    <a:gd name="connsiteX126" fmla="*/ 84594 w 335744"/>
                    <a:gd name="connsiteY126" fmla="*/ 305183 h 373559"/>
                    <a:gd name="connsiteX127" fmla="*/ 84374 w 335744"/>
                    <a:gd name="connsiteY127" fmla="*/ 301410 h 373559"/>
                    <a:gd name="connsiteX128" fmla="*/ 85352 w 335744"/>
                    <a:gd name="connsiteY128" fmla="*/ 299266 h 373559"/>
                    <a:gd name="connsiteX129" fmla="*/ 84749 w 335744"/>
                    <a:gd name="connsiteY129" fmla="*/ 296341 h 373559"/>
                    <a:gd name="connsiteX130" fmla="*/ 83698 w 335744"/>
                    <a:gd name="connsiteY130" fmla="*/ 293741 h 373559"/>
                    <a:gd name="connsiteX131" fmla="*/ 80503 w 335744"/>
                    <a:gd name="connsiteY131" fmla="*/ 290350 h 373559"/>
                    <a:gd name="connsiteX132" fmla="*/ 79599 w 335744"/>
                    <a:gd name="connsiteY132" fmla="*/ 278998 h 373559"/>
                    <a:gd name="connsiteX133" fmla="*/ 77463 w 335744"/>
                    <a:gd name="connsiteY133" fmla="*/ 271671 h 373559"/>
                    <a:gd name="connsiteX134" fmla="*/ 77920 w 335744"/>
                    <a:gd name="connsiteY134" fmla="*/ 265624 h 373559"/>
                    <a:gd name="connsiteX135" fmla="*/ 76909 w 335744"/>
                    <a:gd name="connsiteY135" fmla="*/ 260115 h 373559"/>
                    <a:gd name="connsiteX136" fmla="*/ 76803 w 335744"/>
                    <a:gd name="connsiteY136" fmla="*/ 256586 h 373559"/>
                    <a:gd name="connsiteX137" fmla="*/ 77259 w 335744"/>
                    <a:gd name="connsiteY137" fmla="*/ 249871 h 373559"/>
                    <a:gd name="connsiteX138" fmla="*/ 75556 w 335744"/>
                    <a:gd name="connsiteY138" fmla="*/ 242186 h 373559"/>
                    <a:gd name="connsiteX139" fmla="*/ 72076 w 335744"/>
                    <a:gd name="connsiteY139" fmla="*/ 234655 h 373559"/>
                    <a:gd name="connsiteX140" fmla="*/ 68955 w 335744"/>
                    <a:gd name="connsiteY140" fmla="*/ 223816 h 373559"/>
                    <a:gd name="connsiteX141" fmla="*/ 68490 w 335744"/>
                    <a:gd name="connsiteY141" fmla="*/ 219065 h 373559"/>
                    <a:gd name="connsiteX142" fmla="*/ 68825 w 335744"/>
                    <a:gd name="connsiteY142" fmla="*/ 206327 h 373559"/>
                    <a:gd name="connsiteX143" fmla="*/ 68222 w 335744"/>
                    <a:gd name="connsiteY143" fmla="*/ 201135 h 373559"/>
                    <a:gd name="connsiteX144" fmla="*/ 68262 w 335744"/>
                    <a:gd name="connsiteY144" fmla="*/ 195023 h 373559"/>
                    <a:gd name="connsiteX145" fmla="*/ 67015 w 335744"/>
                    <a:gd name="connsiteY145" fmla="*/ 188699 h 373559"/>
                    <a:gd name="connsiteX146" fmla="*/ 66502 w 335744"/>
                    <a:gd name="connsiteY146" fmla="*/ 185268 h 373559"/>
                    <a:gd name="connsiteX147" fmla="*/ 67374 w 335744"/>
                    <a:gd name="connsiteY147" fmla="*/ 182530 h 373559"/>
                    <a:gd name="connsiteX148" fmla="*/ 67904 w 335744"/>
                    <a:gd name="connsiteY148" fmla="*/ 183393 h 373559"/>
                    <a:gd name="connsiteX149" fmla="*/ 68792 w 335744"/>
                    <a:gd name="connsiteY149" fmla="*/ 183809 h 373559"/>
                    <a:gd name="connsiteX150" fmla="*/ 69395 w 335744"/>
                    <a:gd name="connsiteY150" fmla="*/ 180183 h 373559"/>
                    <a:gd name="connsiteX151" fmla="*/ 69550 w 335744"/>
                    <a:gd name="connsiteY151" fmla="*/ 176988 h 373559"/>
                    <a:gd name="connsiteX152" fmla="*/ 67977 w 335744"/>
                    <a:gd name="connsiteY152" fmla="*/ 169099 h 373559"/>
                    <a:gd name="connsiteX153" fmla="*/ 64497 w 335744"/>
                    <a:gd name="connsiteY153" fmla="*/ 161031 h 373559"/>
                    <a:gd name="connsiteX154" fmla="*/ 55842 w 335744"/>
                    <a:gd name="connsiteY154" fmla="*/ 147918 h 373559"/>
                    <a:gd name="connsiteX155" fmla="*/ 53731 w 335744"/>
                    <a:gd name="connsiteY155" fmla="*/ 142914 h 373559"/>
                    <a:gd name="connsiteX156" fmla="*/ 52525 w 335744"/>
                    <a:gd name="connsiteY156" fmla="*/ 138782 h 373559"/>
                    <a:gd name="connsiteX157" fmla="*/ 42876 w 335744"/>
                    <a:gd name="connsiteY157" fmla="*/ 121537 h 373559"/>
                    <a:gd name="connsiteX158" fmla="*/ 38744 w 335744"/>
                    <a:gd name="connsiteY158" fmla="*/ 109377 h 373559"/>
                    <a:gd name="connsiteX159" fmla="*/ 35883 w 335744"/>
                    <a:gd name="connsiteY159" fmla="*/ 98889 h 373559"/>
                    <a:gd name="connsiteX160" fmla="*/ 32746 w 335744"/>
                    <a:gd name="connsiteY160" fmla="*/ 94064 h 373559"/>
                    <a:gd name="connsiteX161" fmla="*/ 18264 w 335744"/>
                    <a:gd name="connsiteY161" fmla="*/ 60120 h 373559"/>
                    <a:gd name="connsiteX162" fmla="*/ 15052 w 335744"/>
                    <a:gd name="connsiteY162" fmla="*/ 54709 h 373559"/>
                    <a:gd name="connsiteX163" fmla="*/ 9266 w 335744"/>
                    <a:gd name="connsiteY163" fmla="*/ 48263 h 373559"/>
                    <a:gd name="connsiteX164" fmla="*/ 7921 w 335744"/>
                    <a:gd name="connsiteY164" fmla="*/ 46095 h 373559"/>
                    <a:gd name="connsiteX165" fmla="*/ 5697 w 335744"/>
                    <a:gd name="connsiteY165" fmla="*/ 39950 h 373559"/>
                    <a:gd name="connsiteX166" fmla="*/ 1337 w 335744"/>
                    <a:gd name="connsiteY166" fmla="*/ 31694 h 373559"/>
                    <a:gd name="connsiteX167" fmla="*/ 293 w 335744"/>
                    <a:gd name="connsiteY167" fmla="*/ 24001 h 373559"/>
                    <a:gd name="connsiteX168" fmla="*/ 0 w 335744"/>
                    <a:gd name="connsiteY168" fmla="*/ 15289 h 373559"/>
                    <a:gd name="connsiteX169" fmla="*/ 522 w 335744"/>
                    <a:gd name="connsiteY169" fmla="*/ 8622 h 373559"/>
                    <a:gd name="connsiteX170" fmla="*/ 4482 w 335744"/>
                    <a:gd name="connsiteY170" fmla="*/ 7921 h 373559"/>
                    <a:gd name="connsiteX171" fmla="*/ 7253 w 335744"/>
                    <a:gd name="connsiteY171" fmla="*/ 6145 h 373559"/>
                    <a:gd name="connsiteX172" fmla="*/ 9739 w 335744"/>
                    <a:gd name="connsiteY172" fmla="*/ 6015 h 373559"/>
                    <a:gd name="connsiteX173" fmla="*/ 12192 w 335744"/>
                    <a:gd name="connsiteY173" fmla="*/ 7416 h 373559"/>
                    <a:gd name="connsiteX174" fmla="*/ 14800 w 335744"/>
                    <a:gd name="connsiteY174" fmla="*/ 7522 h 373559"/>
                    <a:gd name="connsiteX175" fmla="*/ 15811 w 335744"/>
                    <a:gd name="connsiteY175" fmla="*/ 7294 h 373559"/>
                    <a:gd name="connsiteX176" fmla="*/ 20497 w 335744"/>
                    <a:gd name="connsiteY176" fmla="*/ 7506 h 373559"/>
                    <a:gd name="connsiteX177" fmla="*/ 23178 w 335744"/>
                    <a:gd name="connsiteY177" fmla="*/ 5909 h 373559"/>
                    <a:gd name="connsiteX178" fmla="*/ 26373 w 335744"/>
                    <a:gd name="connsiteY178" fmla="*/ 4311 h 373559"/>
                    <a:gd name="connsiteX179" fmla="*/ 28206 w 335744"/>
                    <a:gd name="connsiteY179" fmla="*/ 2918 h 373559"/>
                    <a:gd name="connsiteX180" fmla="*/ 30790 w 335744"/>
                    <a:gd name="connsiteY180" fmla="*/ 1467 h 373559"/>
                    <a:gd name="connsiteX181" fmla="*/ 34221 w 335744"/>
                    <a:gd name="connsiteY181" fmla="*/ 0 h 373559"/>
                    <a:gd name="connsiteX182" fmla="*/ 36153 w 335744"/>
                    <a:gd name="connsiteY182" fmla="*/ 130 h 373559"/>
                    <a:gd name="connsiteX183" fmla="*/ 38532 w 335744"/>
                    <a:gd name="connsiteY183" fmla="*/ 660 h 373559"/>
                    <a:gd name="connsiteX184" fmla="*/ 41719 w 335744"/>
                    <a:gd name="connsiteY184" fmla="*/ 1231 h 373559"/>
                    <a:gd name="connsiteX185" fmla="*/ 43495 w 335744"/>
                    <a:gd name="connsiteY185" fmla="*/ 2217 h 373559"/>
                    <a:gd name="connsiteX186" fmla="*/ 45630 w 335744"/>
                    <a:gd name="connsiteY186" fmla="*/ 5314 h 373559"/>
                    <a:gd name="connsiteX187" fmla="*/ 48923 w 335744"/>
                    <a:gd name="connsiteY187" fmla="*/ 8142 h 373559"/>
                    <a:gd name="connsiteX188" fmla="*/ 51335 w 335744"/>
                    <a:gd name="connsiteY188" fmla="*/ 9812 h 373559"/>
                    <a:gd name="connsiteX189" fmla="*/ 54122 w 335744"/>
                    <a:gd name="connsiteY189" fmla="*/ 12037 h 373559"/>
                    <a:gd name="connsiteX190" fmla="*/ 54962 w 335744"/>
                    <a:gd name="connsiteY190" fmla="*/ 12893 h 373559"/>
                    <a:gd name="connsiteX191" fmla="*/ 56201 w 335744"/>
                    <a:gd name="connsiteY191" fmla="*/ 13365 h 373559"/>
                    <a:gd name="connsiteX192" fmla="*/ 56934 w 335744"/>
                    <a:gd name="connsiteY192" fmla="*/ 13512 h 373559"/>
                    <a:gd name="connsiteX193" fmla="*/ 62109 w 335744"/>
                    <a:gd name="connsiteY193" fmla="*/ 13162 h 373559"/>
                    <a:gd name="connsiteX194" fmla="*/ 66795 w 335744"/>
                    <a:gd name="connsiteY194" fmla="*/ 12852 h 373559"/>
                    <a:gd name="connsiteX195" fmla="*/ 71832 w 335744"/>
                    <a:gd name="connsiteY195" fmla="*/ 12869 h 373559"/>
                    <a:gd name="connsiteX196" fmla="*/ 81318 w 335744"/>
                    <a:gd name="connsiteY196" fmla="*/ 12885 h 373559"/>
                    <a:gd name="connsiteX197" fmla="*/ 90805 w 335744"/>
                    <a:gd name="connsiteY197" fmla="*/ 12901 h 373559"/>
                    <a:gd name="connsiteX198" fmla="*/ 100299 w 335744"/>
                    <a:gd name="connsiteY198" fmla="*/ 12917 h 373559"/>
                    <a:gd name="connsiteX199" fmla="*/ 109793 w 335744"/>
                    <a:gd name="connsiteY199" fmla="*/ 12942 h 373559"/>
                    <a:gd name="connsiteX200" fmla="*/ 119271 w 335744"/>
                    <a:gd name="connsiteY200" fmla="*/ 12958 h 373559"/>
                    <a:gd name="connsiteX201" fmla="*/ 128774 w 335744"/>
                    <a:gd name="connsiteY201" fmla="*/ 12974 h 373559"/>
                    <a:gd name="connsiteX202" fmla="*/ 138252 w 335744"/>
                    <a:gd name="connsiteY202" fmla="*/ 12999 h 373559"/>
                    <a:gd name="connsiteX203" fmla="*/ 147738 w 335744"/>
                    <a:gd name="connsiteY203" fmla="*/ 13015 h 373559"/>
                    <a:gd name="connsiteX204" fmla="*/ 151634 w 335744"/>
                    <a:gd name="connsiteY204" fmla="*/ 13023 h 373559"/>
                    <a:gd name="connsiteX205" fmla="*/ 158414 w 335744"/>
                    <a:gd name="connsiteY205" fmla="*/ 13113 h 373559"/>
                    <a:gd name="connsiteX206" fmla="*/ 165554 w 335744"/>
                    <a:gd name="connsiteY206" fmla="*/ 13219 h 373559"/>
                    <a:gd name="connsiteX207" fmla="*/ 166336 w 335744"/>
                    <a:gd name="connsiteY207" fmla="*/ 13398 h 373559"/>
                    <a:gd name="connsiteX208" fmla="*/ 167127 w 335744"/>
                    <a:gd name="connsiteY208" fmla="*/ 13993 h 373559"/>
                    <a:gd name="connsiteX209" fmla="*/ 167779 w 335744"/>
                    <a:gd name="connsiteY209" fmla="*/ 14547 h 373559"/>
                    <a:gd name="connsiteX210" fmla="*/ 170297 w 335744"/>
                    <a:gd name="connsiteY210" fmla="*/ 18451 h 373559"/>
                    <a:gd name="connsiteX211" fmla="*/ 173524 w 335744"/>
                    <a:gd name="connsiteY211" fmla="*/ 22534 h 373559"/>
                    <a:gd name="connsiteX212" fmla="*/ 176206 w 335744"/>
                    <a:gd name="connsiteY212" fmla="*/ 24465 h 373559"/>
                    <a:gd name="connsiteX213" fmla="*/ 179409 w 335744"/>
                    <a:gd name="connsiteY213" fmla="*/ 25615 h 373559"/>
                    <a:gd name="connsiteX214" fmla="*/ 182407 w 335744"/>
                    <a:gd name="connsiteY214" fmla="*/ 26046 h 373559"/>
                    <a:gd name="connsiteX215" fmla="*/ 185211 w 335744"/>
                    <a:gd name="connsiteY215" fmla="*/ 25761 h 373559"/>
                    <a:gd name="connsiteX216" fmla="*/ 189856 w 335744"/>
                    <a:gd name="connsiteY216" fmla="*/ 26275 h 373559"/>
                    <a:gd name="connsiteX217" fmla="*/ 196368 w 335744"/>
                    <a:gd name="connsiteY217" fmla="*/ 27603 h 373559"/>
                    <a:gd name="connsiteX218" fmla="*/ 203124 w 335744"/>
                    <a:gd name="connsiteY218" fmla="*/ 28003 h 373559"/>
                    <a:gd name="connsiteX219" fmla="*/ 210141 w 335744"/>
                    <a:gd name="connsiteY219" fmla="*/ 27448 h 373559"/>
                    <a:gd name="connsiteX220" fmla="*/ 215064 w 335744"/>
                    <a:gd name="connsiteY220" fmla="*/ 28190 h 373559"/>
                    <a:gd name="connsiteX221" fmla="*/ 217916 w 335744"/>
                    <a:gd name="connsiteY221" fmla="*/ 30178 h 373559"/>
                    <a:gd name="connsiteX222" fmla="*/ 220817 w 335744"/>
                    <a:gd name="connsiteY222" fmla="*/ 31531 h 373559"/>
                    <a:gd name="connsiteX223" fmla="*/ 223800 w 335744"/>
                    <a:gd name="connsiteY223" fmla="*/ 32232 h 373559"/>
                    <a:gd name="connsiteX224" fmla="*/ 227850 w 335744"/>
                    <a:gd name="connsiteY224" fmla="*/ 31816 h 373559"/>
                    <a:gd name="connsiteX225" fmla="*/ 232936 w 335744"/>
                    <a:gd name="connsiteY225" fmla="*/ 30284 h 373559"/>
                    <a:gd name="connsiteX226" fmla="*/ 237263 w 335744"/>
                    <a:gd name="connsiteY226" fmla="*/ 30496 h 373559"/>
                    <a:gd name="connsiteX227" fmla="*/ 239268 w 335744"/>
                    <a:gd name="connsiteY227" fmla="*/ 31621 h 373559"/>
                    <a:gd name="connsiteX228" fmla="*/ 240458 w 335744"/>
                    <a:gd name="connsiteY228" fmla="*/ 31654 h 373559"/>
                    <a:gd name="connsiteX229" fmla="*/ 247940 w 335744"/>
                    <a:gd name="connsiteY229" fmla="*/ 30040 h 373559"/>
                    <a:gd name="connsiteX230" fmla="*/ 253954 w 335744"/>
                    <a:gd name="connsiteY230" fmla="*/ 28736 h 373559"/>
                    <a:gd name="connsiteX231" fmla="*/ 262959 w 335744"/>
                    <a:gd name="connsiteY231" fmla="*/ 26650 h 373559"/>
                    <a:gd name="connsiteX232" fmla="*/ 270400 w 335744"/>
                    <a:gd name="connsiteY232" fmla="*/ 24938 h 373559"/>
                    <a:gd name="connsiteX233" fmla="*/ 281418 w 335744"/>
                    <a:gd name="connsiteY233" fmla="*/ 22395 h 373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335744" h="373559">
                      <a:moveTo>
                        <a:pt x="289169" y="20611"/>
                      </a:moveTo>
                      <a:lnTo>
                        <a:pt x="294483" y="19356"/>
                      </a:lnTo>
                      <a:lnTo>
                        <a:pt x="299543" y="18149"/>
                      </a:lnTo>
                      <a:lnTo>
                        <a:pt x="305444" y="16943"/>
                      </a:lnTo>
                      <a:lnTo>
                        <a:pt x="310154" y="15982"/>
                      </a:lnTo>
                      <a:lnTo>
                        <a:pt x="311353" y="15729"/>
                      </a:lnTo>
                      <a:lnTo>
                        <a:pt x="322697" y="16845"/>
                      </a:lnTo>
                      <a:lnTo>
                        <a:pt x="327652" y="17636"/>
                      </a:lnTo>
                      <a:lnTo>
                        <a:pt x="329380" y="18402"/>
                      </a:lnTo>
                      <a:lnTo>
                        <a:pt x="331613" y="20423"/>
                      </a:lnTo>
                      <a:lnTo>
                        <a:pt x="335745" y="25305"/>
                      </a:lnTo>
                      <a:lnTo>
                        <a:pt x="334693" y="25117"/>
                      </a:lnTo>
                      <a:lnTo>
                        <a:pt x="327073" y="26161"/>
                      </a:lnTo>
                      <a:lnTo>
                        <a:pt x="324172" y="27489"/>
                      </a:lnTo>
                      <a:lnTo>
                        <a:pt x="317693" y="33259"/>
                      </a:lnTo>
                      <a:lnTo>
                        <a:pt x="316300" y="32509"/>
                      </a:lnTo>
                      <a:lnTo>
                        <a:pt x="314751" y="31319"/>
                      </a:lnTo>
                      <a:lnTo>
                        <a:pt x="313430" y="30977"/>
                      </a:lnTo>
                      <a:lnTo>
                        <a:pt x="310578" y="32354"/>
                      </a:lnTo>
                      <a:lnTo>
                        <a:pt x="307734" y="34025"/>
                      </a:lnTo>
                      <a:lnTo>
                        <a:pt x="304596" y="36372"/>
                      </a:lnTo>
                      <a:lnTo>
                        <a:pt x="301997" y="38670"/>
                      </a:lnTo>
                      <a:lnTo>
                        <a:pt x="301157" y="39909"/>
                      </a:lnTo>
                      <a:lnTo>
                        <a:pt x="297107" y="44669"/>
                      </a:lnTo>
                      <a:lnTo>
                        <a:pt x="295779" y="45435"/>
                      </a:lnTo>
                      <a:lnTo>
                        <a:pt x="294597" y="45761"/>
                      </a:lnTo>
                      <a:lnTo>
                        <a:pt x="294116" y="45549"/>
                      </a:lnTo>
                      <a:lnTo>
                        <a:pt x="293619" y="43503"/>
                      </a:lnTo>
                      <a:lnTo>
                        <a:pt x="291125" y="38727"/>
                      </a:lnTo>
                      <a:lnTo>
                        <a:pt x="287123" y="32477"/>
                      </a:lnTo>
                      <a:lnTo>
                        <a:pt x="285958" y="31865"/>
                      </a:lnTo>
                      <a:lnTo>
                        <a:pt x="285168" y="31629"/>
                      </a:lnTo>
                      <a:lnTo>
                        <a:pt x="282201" y="31931"/>
                      </a:lnTo>
                      <a:lnTo>
                        <a:pt x="273595" y="33707"/>
                      </a:lnTo>
                      <a:lnTo>
                        <a:pt x="266333" y="35190"/>
                      </a:lnTo>
                      <a:lnTo>
                        <a:pt x="255201" y="37741"/>
                      </a:lnTo>
                      <a:lnTo>
                        <a:pt x="243253" y="39787"/>
                      </a:lnTo>
                      <a:lnTo>
                        <a:pt x="235886" y="41058"/>
                      </a:lnTo>
                      <a:lnTo>
                        <a:pt x="229480" y="41425"/>
                      </a:lnTo>
                      <a:lnTo>
                        <a:pt x="229480" y="47627"/>
                      </a:lnTo>
                      <a:lnTo>
                        <a:pt x="229505" y="60178"/>
                      </a:lnTo>
                      <a:lnTo>
                        <a:pt x="229521" y="72728"/>
                      </a:lnTo>
                      <a:lnTo>
                        <a:pt x="229538" y="85311"/>
                      </a:lnTo>
                      <a:lnTo>
                        <a:pt x="229546" y="97903"/>
                      </a:lnTo>
                      <a:lnTo>
                        <a:pt x="229562" y="110510"/>
                      </a:lnTo>
                      <a:lnTo>
                        <a:pt x="229570" y="123142"/>
                      </a:lnTo>
                      <a:lnTo>
                        <a:pt x="229586" y="135766"/>
                      </a:lnTo>
                      <a:lnTo>
                        <a:pt x="229603" y="148431"/>
                      </a:lnTo>
                      <a:lnTo>
                        <a:pt x="229611" y="153948"/>
                      </a:lnTo>
                      <a:lnTo>
                        <a:pt x="229399" y="155138"/>
                      </a:lnTo>
                      <a:lnTo>
                        <a:pt x="225731" y="155138"/>
                      </a:lnTo>
                      <a:lnTo>
                        <a:pt x="217410" y="155138"/>
                      </a:lnTo>
                      <a:lnTo>
                        <a:pt x="210410" y="155138"/>
                      </a:lnTo>
                      <a:lnTo>
                        <a:pt x="204754" y="155138"/>
                      </a:lnTo>
                      <a:lnTo>
                        <a:pt x="204762" y="162677"/>
                      </a:lnTo>
                      <a:lnTo>
                        <a:pt x="204770" y="171593"/>
                      </a:lnTo>
                      <a:lnTo>
                        <a:pt x="204778" y="180517"/>
                      </a:lnTo>
                      <a:lnTo>
                        <a:pt x="204778" y="189457"/>
                      </a:lnTo>
                      <a:lnTo>
                        <a:pt x="204786" y="198405"/>
                      </a:lnTo>
                      <a:lnTo>
                        <a:pt x="204795" y="207354"/>
                      </a:lnTo>
                      <a:lnTo>
                        <a:pt x="204803" y="216310"/>
                      </a:lnTo>
                      <a:lnTo>
                        <a:pt x="204811" y="225283"/>
                      </a:lnTo>
                      <a:lnTo>
                        <a:pt x="204819" y="234264"/>
                      </a:lnTo>
                      <a:lnTo>
                        <a:pt x="204827" y="241053"/>
                      </a:lnTo>
                      <a:lnTo>
                        <a:pt x="204827" y="241835"/>
                      </a:lnTo>
                      <a:lnTo>
                        <a:pt x="204827" y="255030"/>
                      </a:lnTo>
                      <a:lnTo>
                        <a:pt x="204827" y="269015"/>
                      </a:lnTo>
                      <a:lnTo>
                        <a:pt x="204827" y="283040"/>
                      </a:lnTo>
                      <a:lnTo>
                        <a:pt x="204827" y="297082"/>
                      </a:lnTo>
                      <a:lnTo>
                        <a:pt x="204827" y="311149"/>
                      </a:lnTo>
                      <a:lnTo>
                        <a:pt x="204827" y="325248"/>
                      </a:lnTo>
                      <a:lnTo>
                        <a:pt x="204827" y="339371"/>
                      </a:lnTo>
                      <a:lnTo>
                        <a:pt x="204827" y="353519"/>
                      </a:lnTo>
                      <a:lnTo>
                        <a:pt x="204827" y="358009"/>
                      </a:lnTo>
                      <a:lnTo>
                        <a:pt x="202284" y="357953"/>
                      </a:lnTo>
                      <a:lnTo>
                        <a:pt x="197166" y="359680"/>
                      </a:lnTo>
                      <a:lnTo>
                        <a:pt x="193907" y="361938"/>
                      </a:lnTo>
                      <a:lnTo>
                        <a:pt x="192497" y="364717"/>
                      </a:lnTo>
                      <a:lnTo>
                        <a:pt x="190614" y="366388"/>
                      </a:lnTo>
                      <a:lnTo>
                        <a:pt x="188267" y="366999"/>
                      </a:lnTo>
                      <a:lnTo>
                        <a:pt x="187232" y="368409"/>
                      </a:lnTo>
                      <a:lnTo>
                        <a:pt x="187509" y="370666"/>
                      </a:lnTo>
                      <a:lnTo>
                        <a:pt x="186613" y="372386"/>
                      </a:lnTo>
                      <a:lnTo>
                        <a:pt x="184526" y="373559"/>
                      </a:lnTo>
                      <a:lnTo>
                        <a:pt x="181160" y="373217"/>
                      </a:lnTo>
                      <a:lnTo>
                        <a:pt x="176515" y="371343"/>
                      </a:lnTo>
                      <a:lnTo>
                        <a:pt x="170607" y="370894"/>
                      </a:lnTo>
                      <a:lnTo>
                        <a:pt x="163418" y="371872"/>
                      </a:lnTo>
                      <a:lnTo>
                        <a:pt x="158260" y="371416"/>
                      </a:lnTo>
                      <a:lnTo>
                        <a:pt x="155130" y="369492"/>
                      </a:lnTo>
                      <a:lnTo>
                        <a:pt x="151789" y="368392"/>
                      </a:lnTo>
                      <a:lnTo>
                        <a:pt x="148252" y="368115"/>
                      </a:lnTo>
                      <a:lnTo>
                        <a:pt x="146206" y="367316"/>
                      </a:lnTo>
                      <a:lnTo>
                        <a:pt x="142017" y="365882"/>
                      </a:lnTo>
                      <a:lnTo>
                        <a:pt x="141227" y="363421"/>
                      </a:lnTo>
                      <a:lnTo>
                        <a:pt x="140730" y="361555"/>
                      </a:lnTo>
                      <a:lnTo>
                        <a:pt x="139548" y="359599"/>
                      </a:lnTo>
                      <a:lnTo>
                        <a:pt x="139409" y="358018"/>
                      </a:lnTo>
                      <a:lnTo>
                        <a:pt x="140339" y="356820"/>
                      </a:lnTo>
                      <a:lnTo>
                        <a:pt x="140477" y="354880"/>
                      </a:lnTo>
                      <a:lnTo>
                        <a:pt x="139809" y="352215"/>
                      </a:lnTo>
                      <a:lnTo>
                        <a:pt x="138643" y="350919"/>
                      </a:lnTo>
                      <a:lnTo>
                        <a:pt x="137005" y="350984"/>
                      </a:lnTo>
                      <a:lnTo>
                        <a:pt x="135987" y="349966"/>
                      </a:lnTo>
                      <a:lnTo>
                        <a:pt x="135579" y="347863"/>
                      </a:lnTo>
                      <a:lnTo>
                        <a:pt x="134609" y="346258"/>
                      </a:lnTo>
                      <a:lnTo>
                        <a:pt x="132303" y="344636"/>
                      </a:lnTo>
                      <a:lnTo>
                        <a:pt x="129255" y="345866"/>
                      </a:lnTo>
                      <a:lnTo>
                        <a:pt x="127821" y="347708"/>
                      </a:lnTo>
                      <a:lnTo>
                        <a:pt x="126981" y="350610"/>
                      </a:lnTo>
                      <a:lnTo>
                        <a:pt x="126198" y="352052"/>
                      </a:lnTo>
                      <a:lnTo>
                        <a:pt x="125815" y="354481"/>
                      </a:lnTo>
                      <a:lnTo>
                        <a:pt x="125644" y="356209"/>
                      </a:lnTo>
                      <a:lnTo>
                        <a:pt x="124854" y="358034"/>
                      </a:lnTo>
                      <a:lnTo>
                        <a:pt x="124039" y="358784"/>
                      </a:lnTo>
                      <a:lnTo>
                        <a:pt x="123216" y="358441"/>
                      </a:lnTo>
                      <a:lnTo>
                        <a:pt x="121635" y="359175"/>
                      </a:lnTo>
                      <a:lnTo>
                        <a:pt x="118188" y="361881"/>
                      </a:lnTo>
                      <a:lnTo>
                        <a:pt x="117210" y="363315"/>
                      </a:lnTo>
                      <a:lnTo>
                        <a:pt x="114423" y="360715"/>
                      </a:lnTo>
                      <a:lnTo>
                        <a:pt x="106289" y="351017"/>
                      </a:lnTo>
                      <a:lnTo>
                        <a:pt x="103404" y="348491"/>
                      </a:lnTo>
                      <a:lnTo>
                        <a:pt x="99142" y="342558"/>
                      </a:lnTo>
                      <a:lnTo>
                        <a:pt x="89777" y="324164"/>
                      </a:lnTo>
                      <a:lnTo>
                        <a:pt x="88441" y="320627"/>
                      </a:lnTo>
                      <a:lnTo>
                        <a:pt x="86648" y="311752"/>
                      </a:lnTo>
                      <a:lnTo>
                        <a:pt x="84594" y="305183"/>
                      </a:lnTo>
                      <a:lnTo>
                        <a:pt x="84374" y="301410"/>
                      </a:lnTo>
                      <a:lnTo>
                        <a:pt x="85352" y="299266"/>
                      </a:lnTo>
                      <a:lnTo>
                        <a:pt x="84749" y="296341"/>
                      </a:lnTo>
                      <a:lnTo>
                        <a:pt x="83698" y="293741"/>
                      </a:lnTo>
                      <a:lnTo>
                        <a:pt x="80503" y="290350"/>
                      </a:lnTo>
                      <a:lnTo>
                        <a:pt x="79599" y="278998"/>
                      </a:lnTo>
                      <a:lnTo>
                        <a:pt x="77463" y="271671"/>
                      </a:lnTo>
                      <a:lnTo>
                        <a:pt x="77920" y="265624"/>
                      </a:lnTo>
                      <a:lnTo>
                        <a:pt x="76909" y="260115"/>
                      </a:lnTo>
                      <a:lnTo>
                        <a:pt x="76803" y="256586"/>
                      </a:lnTo>
                      <a:lnTo>
                        <a:pt x="77259" y="249871"/>
                      </a:lnTo>
                      <a:lnTo>
                        <a:pt x="75556" y="242186"/>
                      </a:lnTo>
                      <a:lnTo>
                        <a:pt x="72076" y="234655"/>
                      </a:lnTo>
                      <a:lnTo>
                        <a:pt x="68955" y="223816"/>
                      </a:lnTo>
                      <a:lnTo>
                        <a:pt x="68490" y="219065"/>
                      </a:lnTo>
                      <a:lnTo>
                        <a:pt x="68825" y="206327"/>
                      </a:lnTo>
                      <a:lnTo>
                        <a:pt x="68222" y="201135"/>
                      </a:lnTo>
                      <a:lnTo>
                        <a:pt x="68262" y="195023"/>
                      </a:lnTo>
                      <a:lnTo>
                        <a:pt x="67015" y="188699"/>
                      </a:lnTo>
                      <a:lnTo>
                        <a:pt x="66502" y="185268"/>
                      </a:lnTo>
                      <a:lnTo>
                        <a:pt x="67374" y="182530"/>
                      </a:lnTo>
                      <a:lnTo>
                        <a:pt x="67904" y="183393"/>
                      </a:lnTo>
                      <a:lnTo>
                        <a:pt x="68792" y="183809"/>
                      </a:lnTo>
                      <a:lnTo>
                        <a:pt x="69395" y="180183"/>
                      </a:lnTo>
                      <a:lnTo>
                        <a:pt x="69550" y="176988"/>
                      </a:lnTo>
                      <a:lnTo>
                        <a:pt x="67977" y="169099"/>
                      </a:lnTo>
                      <a:lnTo>
                        <a:pt x="64497" y="161031"/>
                      </a:lnTo>
                      <a:lnTo>
                        <a:pt x="55842" y="147918"/>
                      </a:lnTo>
                      <a:lnTo>
                        <a:pt x="53731" y="142914"/>
                      </a:lnTo>
                      <a:lnTo>
                        <a:pt x="52525" y="138782"/>
                      </a:lnTo>
                      <a:lnTo>
                        <a:pt x="42876" y="121537"/>
                      </a:lnTo>
                      <a:lnTo>
                        <a:pt x="38744" y="109377"/>
                      </a:lnTo>
                      <a:lnTo>
                        <a:pt x="35883" y="98889"/>
                      </a:lnTo>
                      <a:lnTo>
                        <a:pt x="32746" y="94064"/>
                      </a:lnTo>
                      <a:lnTo>
                        <a:pt x="18264" y="60120"/>
                      </a:lnTo>
                      <a:lnTo>
                        <a:pt x="15052" y="54709"/>
                      </a:lnTo>
                      <a:lnTo>
                        <a:pt x="9266" y="48263"/>
                      </a:lnTo>
                      <a:lnTo>
                        <a:pt x="7921" y="46095"/>
                      </a:lnTo>
                      <a:lnTo>
                        <a:pt x="5697" y="39950"/>
                      </a:lnTo>
                      <a:lnTo>
                        <a:pt x="1337" y="31694"/>
                      </a:lnTo>
                      <a:lnTo>
                        <a:pt x="293" y="24001"/>
                      </a:lnTo>
                      <a:lnTo>
                        <a:pt x="0" y="15289"/>
                      </a:lnTo>
                      <a:lnTo>
                        <a:pt x="522" y="8622"/>
                      </a:lnTo>
                      <a:lnTo>
                        <a:pt x="4482" y="7921"/>
                      </a:lnTo>
                      <a:lnTo>
                        <a:pt x="7253" y="6145"/>
                      </a:lnTo>
                      <a:lnTo>
                        <a:pt x="9739" y="6015"/>
                      </a:lnTo>
                      <a:lnTo>
                        <a:pt x="12192" y="7416"/>
                      </a:lnTo>
                      <a:lnTo>
                        <a:pt x="14800" y="7522"/>
                      </a:lnTo>
                      <a:lnTo>
                        <a:pt x="15811" y="7294"/>
                      </a:lnTo>
                      <a:lnTo>
                        <a:pt x="20497" y="7506"/>
                      </a:lnTo>
                      <a:lnTo>
                        <a:pt x="23178" y="5909"/>
                      </a:lnTo>
                      <a:lnTo>
                        <a:pt x="26373" y="4311"/>
                      </a:lnTo>
                      <a:lnTo>
                        <a:pt x="28206" y="2918"/>
                      </a:lnTo>
                      <a:lnTo>
                        <a:pt x="30790" y="1467"/>
                      </a:lnTo>
                      <a:lnTo>
                        <a:pt x="34221" y="0"/>
                      </a:lnTo>
                      <a:lnTo>
                        <a:pt x="36153" y="130"/>
                      </a:lnTo>
                      <a:lnTo>
                        <a:pt x="38532" y="660"/>
                      </a:lnTo>
                      <a:lnTo>
                        <a:pt x="41719" y="1231"/>
                      </a:lnTo>
                      <a:lnTo>
                        <a:pt x="43495" y="2217"/>
                      </a:lnTo>
                      <a:lnTo>
                        <a:pt x="45630" y="5314"/>
                      </a:lnTo>
                      <a:lnTo>
                        <a:pt x="48923" y="8142"/>
                      </a:lnTo>
                      <a:lnTo>
                        <a:pt x="51335" y="9812"/>
                      </a:lnTo>
                      <a:lnTo>
                        <a:pt x="54122" y="12037"/>
                      </a:lnTo>
                      <a:lnTo>
                        <a:pt x="54962" y="12893"/>
                      </a:lnTo>
                      <a:lnTo>
                        <a:pt x="56201" y="13365"/>
                      </a:lnTo>
                      <a:lnTo>
                        <a:pt x="56934" y="13512"/>
                      </a:lnTo>
                      <a:lnTo>
                        <a:pt x="62109" y="13162"/>
                      </a:lnTo>
                      <a:lnTo>
                        <a:pt x="66795" y="12852"/>
                      </a:lnTo>
                      <a:lnTo>
                        <a:pt x="71832" y="12869"/>
                      </a:lnTo>
                      <a:lnTo>
                        <a:pt x="81318" y="12885"/>
                      </a:lnTo>
                      <a:lnTo>
                        <a:pt x="90805" y="12901"/>
                      </a:lnTo>
                      <a:lnTo>
                        <a:pt x="100299" y="12917"/>
                      </a:lnTo>
                      <a:lnTo>
                        <a:pt x="109793" y="12942"/>
                      </a:lnTo>
                      <a:lnTo>
                        <a:pt x="119271" y="12958"/>
                      </a:lnTo>
                      <a:lnTo>
                        <a:pt x="128774" y="12974"/>
                      </a:lnTo>
                      <a:lnTo>
                        <a:pt x="138252" y="12999"/>
                      </a:lnTo>
                      <a:lnTo>
                        <a:pt x="147738" y="13015"/>
                      </a:lnTo>
                      <a:lnTo>
                        <a:pt x="151634" y="13023"/>
                      </a:lnTo>
                      <a:lnTo>
                        <a:pt x="158414" y="13113"/>
                      </a:lnTo>
                      <a:lnTo>
                        <a:pt x="165554" y="13219"/>
                      </a:lnTo>
                      <a:lnTo>
                        <a:pt x="166336" y="13398"/>
                      </a:lnTo>
                      <a:lnTo>
                        <a:pt x="167127" y="13993"/>
                      </a:lnTo>
                      <a:lnTo>
                        <a:pt x="167779" y="14547"/>
                      </a:lnTo>
                      <a:lnTo>
                        <a:pt x="170297" y="18451"/>
                      </a:lnTo>
                      <a:lnTo>
                        <a:pt x="173524" y="22534"/>
                      </a:lnTo>
                      <a:lnTo>
                        <a:pt x="176206" y="24465"/>
                      </a:lnTo>
                      <a:lnTo>
                        <a:pt x="179409" y="25615"/>
                      </a:lnTo>
                      <a:lnTo>
                        <a:pt x="182407" y="26046"/>
                      </a:lnTo>
                      <a:lnTo>
                        <a:pt x="185211" y="25761"/>
                      </a:lnTo>
                      <a:lnTo>
                        <a:pt x="189856" y="26275"/>
                      </a:lnTo>
                      <a:lnTo>
                        <a:pt x="196368" y="27603"/>
                      </a:lnTo>
                      <a:lnTo>
                        <a:pt x="203124" y="28003"/>
                      </a:lnTo>
                      <a:lnTo>
                        <a:pt x="210141" y="27448"/>
                      </a:lnTo>
                      <a:lnTo>
                        <a:pt x="215064" y="28190"/>
                      </a:lnTo>
                      <a:lnTo>
                        <a:pt x="217916" y="30178"/>
                      </a:lnTo>
                      <a:lnTo>
                        <a:pt x="220817" y="31531"/>
                      </a:lnTo>
                      <a:lnTo>
                        <a:pt x="223800" y="32232"/>
                      </a:lnTo>
                      <a:lnTo>
                        <a:pt x="227850" y="31816"/>
                      </a:lnTo>
                      <a:lnTo>
                        <a:pt x="232936" y="30284"/>
                      </a:lnTo>
                      <a:lnTo>
                        <a:pt x="237263" y="30496"/>
                      </a:lnTo>
                      <a:lnTo>
                        <a:pt x="239268" y="31621"/>
                      </a:lnTo>
                      <a:lnTo>
                        <a:pt x="240458" y="31654"/>
                      </a:lnTo>
                      <a:lnTo>
                        <a:pt x="247940" y="30040"/>
                      </a:lnTo>
                      <a:lnTo>
                        <a:pt x="253954" y="28736"/>
                      </a:lnTo>
                      <a:lnTo>
                        <a:pt x="262959" y="26650"/>
                      </a:lnTo>
                      <a:lnTo>
                        <a:pt x="270400" y="24938"/>
                      </a:lnTo>
                      <a:lnTo>
                        <a:pt x="281418" y="22395"/>
                      </a:lnTo>
                      <a:close/>
                    </a:path>
                  </a:pathLst>
                </a:custGeom>
                <a:solidFill>
                  <a:srgbClr val="D6D6D2"/>
                </a:solidFill>
                <a:ln w="6112" cap="rnd">
                  <a:solidFill>
                    <a:srgbClr val="FFFFFF"/>
                  </a:solidFill>
                  <a:prstDash val="solid"/>
                  <a:round/>
                </a:ln>
              </p:spPr>
              <p:txBody>
                <a:bodyPr rtlCol="0" anchor="ctr"/>
                <a:lstStyle/>
                <a:p>
                  <a:endParaRPr lang="en-US"/>
                </a:p>
              </p:txBody>
            </p:sp>
            <p:sp>
              <p:nvSpPr>
                <p:cNvPr id="673" name="Freeform: Shape 672">
                  <a:extLst>
                    <a:ext uri="{FF2B5EF4-FFF2-40B4-BE49-F238E27FC236}">
                      <a16:creationId xmlns:a16="http://schemas.microsoft.com/office/drawing/2014/main" id="{68F877F8-7CF2-449D-BE8B-C5739AB3F501}"/>
                    </a:ext>
                  </a:extLst>
                </p:cNvPr>
                <p:cNvSpPr/>
                <p:nvPr/>
              </p:nvSpPr>
              <p:spPr>
                <a:xfrm>
                  <a:off x="8426831" y="4314967"/>
                  <a:ext cx="474860" cy="183776"/>
                </a:xfrm>
                <a:custGeom>
                  <a:avLst/>
                  <a:gdLst>
                    <a:gd name="connsiteX0" fmla="*/ 11010 w 474860"/>
                    <a:gd name="connsiteY0" fmla="*/ 15704 h 183776"/>
                    <a:gd name="connsiteX1" fmla="*/ 12640 w 474860"/>
                    <a:gd name="connsiteY1" fmla="*/ 16291 h 183776"/>
                    <a:gd name="connsiteX2" fmla="*/ 14776 w 474860"/>
                    <a:gd name="connsiteY2" fmla="*/ 15313 h 183776"/>
                    <a:gd name="connsiteX3" fmla="*/ 15737 w 474860"/>
                    <a:gd name="connsiteY3" fmla="*/ 15924 h 183776"/>
                    <a:gd name="connsiteX4" fmla="*/ 16707 w 474860"/>
                    <a:gd name="connsiteY4" fmla="*/ 16943 h 183776"/>
                    <a:gd name="connsiteX5" fmla="*/ 17277 w 474860"/>
                    <a:gd name="connsiteY5" fmla="*/ 19779 h 183776"/>
                    <a:gd name="connsiteX6" fmla="*/ 18696 w 474860"/>
                    <a:gd name="connsiteY6" fmla="*/ 22371 h 183776"/>
                    <a:gd name="connsiteX7" fmla="*/ 21556 w 474860"/>
                    <a:gd name="connsiteY7" fmla="*/ 22004 h 183776"/>
                    <a:gd name="connsiteX8" fmla="*/ 22559 w 474860"/>
                    <a:gd name="connsiteY8" fmla="*/ 22371 h 183776"/>
                    <a:gd name="connsiteX9" fmla="*/ 23153 w 474860"/>
                    <a:gd name="connsiteY9" fmla="*/ 22452 h 183776"/>
                    <a:gd name="connsiteX10" fmla="*/ 23716 w 474860"/>
                    <a:gd name="connsiteY10" fmla="*/ 24751 h 183776"/>
                    <a:gd name="connsiteX11" fmla="*/ 23960 w 474860"/>
                    <a:gd name="connsiteY11" fmla="*/ 28728 h 183776"/>
                    <a:gd name="connsiteX12" fmla="*/ 23700 w 474860"/>
                    <a:gd name="connsiteY12" fmla="*/ 31042 h 183776"/>
                    <a:gd name="connsiteX13" fmla="*/ 21646 w 474860"/>
                    <a:gd name="connsiteY13" fmla="*/ 34351 h 183776"/>
                    <a:gd name="connsiteX14" fmla="*/ 21361 w 474860"/>
                    <a:gd name="connsiteY14" fmla="*/ 36600 h 183776"/>
                    <a:gd name="connsiteX15" fmla="*/ 22453 w 474860"/>
                    <a:gd name="connsiteY15" fmla="*/ 37994 h 183776"/>
                    <a:gd name="connsiteX16" fmla="*/ 23854 w 474860"/>
                    <a:gd name="connsiteY16" fmla="*/ 39485 h 183776"/>
                    <a:gd name="connsiteX17" fmla="*/ 24653 w 474860"/>
                    <a:gd name="connsiteY17" fmla="*/ 40635 h 183776"/>
                    <a:gd name="connsiteX18" fmla="*/ 25493 w 474860"/>
                    <a:gd name="connsiteY18" fmla="*/ 40447 h 183776"/>
                    <a:gd name="connsiteX19" fmla="*/ 26568 w 474860"/>
                    <a:gd name="connsiteY19" fmla="*/ 39681 h 183776"/>
                    <a:gd name="connsiteX20" fmla="*/ 27538 w 474860"/>
                    <a:gd name="connsiteY20" fmla="*/ 37725 h 183776"/>
                    <a:gd name="connsiteX21" fmla="*/ 28206 w 474860"/>
                    <a:gd name="connsiteY21" fmla="*/ 36054 h 183776"/>
                    <a:gd name="connsiteX22" fmla="*/ 31857 w 474860"/>
                    <a:gd name="connsiteY22" fmla="*/ 34188 h 183776"/>
                    <a:gd name="connsiteX23" fmla="*/ 35631 w 474860"/>
                    <a:gd name="connsiteY23" fmla="*/ 32501 h 183776"/>
                    <a:gd name="connsiteX24" fmla="*/ 36136 w 474860"/>
                    <a:gd name="connsiteY24" fmla="*/ 32672 h 183776"/>
                    <a:gd name="connsiteX25" fmla="*/ 36739 w 474860"/>
                    <a:gd name="connsiteY25" fmla="*/ 33414 h 183776"/>
                    <a:gd name="connsiteX26" fmla="*/ 37954 w 474860"/>
                    <a:gd name="connsiteY26" fmla="*/ 35851 h 183776"/>
                    <a:gd name="connsiteX27" fmla="*/ 38655 w 474860"/>
                    <a:gd name="connsiteY27" fmla="*/ 36364 h 183776"/>
                    <a:gd name="connsiteX28" fmla="*/ 39673 w 474860"/>
                    <a:gd name="connsiteY28" fmla="*/ 36608 h 183776"/>
                    <a:gd name="connsiteX29" fmla="*/ 41442 w 474860"/>
                    <a:gd name="connsiteY29" fmla="*/ 36348 h 183776"/>
                    <a:gd name="connsiteX30" fmla="*/ 43495 w 474860"/>
                    <a:gd name="connsiteY30" fmla="*/ 34970 h 183776"/>
                    <a:gd name="connsiteX31" fmla="*/ 44571 w 474860"/>
                    <a:gd name="connsiteY31" fmla="*/ 32387 h 183776"/>
                    <a:gd name="connsiteX32" fmla="*/ 45044 w 474860"/>
                    <a:gd name="connsiteY32" fmla="*/ 30341 h 183776"/>
                    <a:gd name="connsiteX33" fmla="*/ 47994 w 474860"/>
                    <a:gd name="connsiteY33" fmla="*/ 26821 h 183776"/>
                    <a:gd name="connsiteX34" fmla="*/ 48328 w 474860"/>
                    <a:gd name="connsiteY34" fmla="*/ 24180 h 183776"/>
                    <a:gd name="connsiteX35" fmla="*/ 49135 w 474860"/>
                    <a:gd name="connsiteY35" fmla="*/ 22452 h 183776"/>
                    <a:gd name="connsiteX36" fmla="*/ 53422 w 474860"/>
                    <a:gd name="connsiteY36" fmla="*/ 23626 h 183776"/>
                    <a:gd name="connsiteX37" fmla="*/ 55068 w 474860"/>
                    <a:gd name="connsiteY37" fmla="*/ 24571 h 183776"/>
                    <a:gd name="connsiteX38" fmla="*/ 59884 w 474860"/>
                    <a:gd name="connsiteY38" fmla="*/ 33862 h 183776"/>
                    <a:gd name="connsiteX39" fmla="*/ 66233 w 474860"/>
                    <a:gd name="connsiteY39" fmla="*/ 40390 h 183776"/>
                    <a:gd name="connsiteX40" fmla="*/ 68914 w 474860"/>
                    <a:gd name="connsiteY40" fmla="*/ 42827 h 183776"/>
                    <a:gd name="connsiteX41" fmla="*/ 70992 w 474860"/>
                    <a:gd name="connsiteY41" fmla="*/ 43992 h 183776"/>
                    <a:gd name="connsiteX42" fmla="*/ 73845 w 474860"/>
                    <a:gd name="connsiteY42" fmla="*/ 47488 h 183776"/>
                    <a:gd name="connsiteX43" fmla="*/ 76323 w 474860"/>
                    <a:gd name="connsiteY43" fmla="*/ 51881 h 183776"/>
                    <a:gd name="connsiteX44" fmla="*/ 81750 w 474860"/>
                    <a:gd name="connsiteY44" fmla="*/ 64236 h 183776"/>
                    <a:gd name="connsiteX45" fmla="*/ 82687 w 474860"/>
                    <a:gd name="connsiteY45" fmla="*/ 69664 h 183776"/>
                    <a:gd name="connsiteX46" fmla="*/ 83062 w 474860"/>
                    <a:gd name="connsiteY46" fmla="*/ 77944 h 183776"/>
                    <a:gd name="connsiteX47" fmla="*/ 81864 w 474860"/>
                    <a:gd name="connsiteY47" fmla="*/ 90429 h 183776"/>
                    <a:gd name="connsiteX48" fmla="*/ 80413 w 474860"/>
                    <a:gd name="connsiteY48" fmla="*/ 96656 h 183776"/>
                    <a:gd name="connsiteX49" fmla="*/ 80699 w 474860"/>
                    <a:gd name="connsiteY49" fmla="*/ 99590 h 183776"/>
                    <a:gd name="connsiteX50" fmla="*/ 82687 w 474860"/>
                    <a:gd name="connsiteY50" fmla="*/ 104096 h 183776"/>
                    <a:gd name="connsiteX51" fmla="*/ 82084 w 474860"/>
                    <a:gd name="connsiteY51" fmla="*/ 108351 h 183776"/>
                    <a:gd name="connsiteX52" fmla="*/ 82475 w 474860"/>
                    <a:gd name="connsiteY52" fmla="*/ 111887 h 183776"/>
                    <a:gd name="connsiteX53" fmla="*/ 82337 w 474860"/>
                    <a:gd name="connsiteY53" fmla="*/ 121700 h 183776"/>
                    <a:gd name="connsiteX54" fmla="*/ 83478 w 474860"/>
                    <a:gd name="connsiteY54" fmla="*/ 124585 h 183776"/>
                    <a:gd name="connsiteX55" fmla="*/ 84765 w 474860"/>
                    <a:gd name="connsiteY55" fmla="*/ 126443 h 183776"/>
                    <a:gd name="connsiteX56" fmla="*/ 91587 w 474860"/>
                    <a:gd name="connsiteY56" fmla="*/ 132262 h 183776"/>
                    <a:gd name="connsiteX57" fmla="*/ 92084 w 474860"/>
                    <a:gd name="connsiteY57" fmla="*/ 134413 h 183776"/>
                    <a:gd name="connsiteX58" fmla="*/ 95434 w 474860"/>
                    <a:gd name="connsiteY58" fmla="*/ 141821 h 183776"/>
                    <a:gd name="connsiteX59" fmla="*/ 101668 w 474860"/>
                    <a:gd name="connsiteY59" fmla="*/ 157950 h 183776"/>
                    <a:gd name="connsiteX60" fmla="*/ 103396 w 474860"/>
                    <a:gd name="connsiteY60" fmla="*/ 165203 h 183776"/>
                    <a:gd name="connsiteX61" fmla="*/ 103200 w 474860"/>
                    <a:gd name="connsiteY61" fmla="*/ 167151 h 183776"/>
                    <a:gd name="connsiteX62" fmla="*/ 102451 w 474860"/>
                    <a:gd name="connsiteY62" fmla="*/ 167966 h 183776"/>
                    <a:gd name="connsiteX63" fmla="*/ 100617 w 474860"/>
                    <a:gd name="connsiteY63" fmla="*/ 168675 h 183776"/>
                    <a:gd name="connsiteX64" fmla="*/ 99085 w 474860"/>
                    <a:gd name="connsiteY64" fmla="*/ 167257 h 183776"/>
                    <a:gd name="connsiteX65" fmla="*/ 98579 w 474860"/>
                    <a:gd name="connsiteY65" fmla="*/ 166238 h 183776"/>
                    <a:gd name="connsiteX66" fmla="*/ 98742 w 474860"/>
                    <a:gd name="connsiteY66" fmla="*/ 164975 h 183776"/>
                    <a:gd name="connsiteX67" fmla="*/ 98140 w 474860"/>
                    <a:gd name="connsiteY67" fmla="*/ 163736 h 183776"/>
                    <a:gd name="connsiteX68" fmla="*/ 96640 w 474860"/>
                    <a:gd name="connsiteY68" fmla="*/ 162253 h 183776"/>
                    <a:gd name="connsiteX69" fmla="*/ 95784 w 474860"/>
                    <a:gd name="connsiteY69" fmla="*/ 160924 h 183776"/>
                    <a:gd name="connsiteX70" fmla="*/ 96036 w 474860"/>
                    <a:gd name="connsiteY70" fmla="*/ 163125 h 183776"/>
                    <a:gd name="connsiteX71" fmla="*/ 96036 w 474860"/>
                    <a:gd name="connsiteY71" fmla="*/ 165977 h 183776"/>
                    <a:gd name="connsiteX72" fmla="*/ 94146 w 474860"/>
                    <a:gd name="connsiteY72" fmla="*/ 166222 h 183776"/>
                    <a:gd name="connsiteX73" fmla="*/ 91709 w 474860"/>
                    <a:gd name="connsiteY73" fmla="*/ 165334 h 183776"/>
                    <a:gd name="connsiteX74" fmla="*/ 88669 w 474860"/>
                    <a:gd name="connsiteY74" fmla="*/ 166140 h 183776"/>
                    <a:gd name="connsiteX75" fmla="*/ 85083 w 474860"/>
                    <a:gd name="connsiteY75" fmla="*/ 169636 h 183776"/>
                    <a:gd name="connsiteX76" fmla="*/ 83356 w 474860"/>
                    <a:gd name="connsiteY76" fmla="*/ 169734 h 183776"/>
                    <a:gd name="connsiteX77" fmla="*/ 82043 w 474860"/>
                    <a:gd name="connsiteY77" fmla="*/ 166735 h 183776"/>
                    <a:gd name="connsiteX78" fmla="*/ 81383 w 474860"/>
                    <a:gd name="connsiteY78" fmla="*/ 164698 h 183776"/>
                    <a:gd name="connsiteX79" fmla="*/ 80308 w 474860"/>
                    <a:gd name="connsiteY79" fmla="*/ 163247 h 183776"/>
                    <a:gd name="connsiteX80" fmla="*/ 68898 w 474860"/>
                    <a:gd name="connsiteY80" fmla="*/ 155872 h 183776"/>
                    <a:gd name="connsiteX81" fmla="*/ 64685 w 474860"/>
                    <a:gd name="connsiteY81" fmla="*/ 153981 h 183776"/>
                    <a:gd name="connsiteX82" fmla="*/ 60243 w 474860"/>
                    <a:gd name="connsiteY82" fmla="*/ 148382 h 183776"/>
                    <a:gd name="connsiteX83" fmla="*/ 50260 w 474860"/>
                    <a:gd name="connsiteY83" fmla="*/ 142213 h 183776"/>
                    <a:gd name="connsiteX84" fmla="*/ 43919 w 474860"/>
                    <a:gd name="connsiteY84" fmla="*/ 136198 h 183776"/>
                    <a:gd name="connsiteX85" fmla="*/ 41222 w 474860"/>
                    <a:gd name="connsiteY85" fmla="*/ 132474 h 183776"/>
                    <a:gd name="connsiteX86" fmla="*/ 34742 w 474860"/>
                    <a:gd name="connsiteY86" fmla="*/ 129181 h 183776"/>
                    <a:gd name="connsiteX87" fmla="*/ 31931 w 474860"/>
                    <a:gd name="connsiteY87" fmla="*/ 125286 h 183776"/>
                    <a:gd name="connsiteX88" fmla="*/ 30554 w 474860"/>
                    <a:gd name="connsiteY88" fmla="*/ 124528 h 183776"/>
                    <a:gd name="connsiteX89" fmla="*/ 29168 w 474860"/>
                    <a:gd name="connsiteY89" fmla="*/ 123142 h 183776"/>
                    <a:gd name="connsiteX90" fmla="*/ 30627 w 474860"/>
                    <a:gd name="connsiteY90" fmla="*/ 119377 h 183776"/>
                    <a:gd name="connsiteX91" fmla="*/ 30040 w 474860"/>
                    <a:gd name="connsiteY91" fmla="*/ 115441 h 183776"/>
                    <a:gd name="connsiteX92" fmla="*/ 29282 w 474860"/>
                    <a:gd name="connsiteY92" fmla="*/ 112124 h 183776"/>
                    <a:gd name="connsiteX93" fmla="*/ 24702 w 474860"/>
                    <a:gd name="connsiteY93" fmla="*/ 105563 h 183776"/>
                    <a:gd name="connsiteX94" fmla="*/ 22461 w 474860"/>
                    <a:gd name="connsiteY94" fmla="*/ 100991 h 183776"/>
                    <a:gd name="connsiteX95" fmla="*/ 18166 w 474860"/>
                    <a:gd name="connsiteY95" fmla="*/ 96428 h 183776"/>
                    <a:gd name="connsiteX96" fmla="*/ 16438 w 474860"/>
                    <a:gd name="connsiteY96" fmla="*/ 93803 h 183776"/>
                    <a:gd name="connsiteX97" fmla="*/ 14792 w 474860"/>
                    <a:gd name="connsiteY97" fmla="*/ 90747 h 183776"/>
                    <a:gd name="connsiteX98" fmla="*/ 15827 w 474860"/>
                    <a:gd name="connsiteY98" fmla="*/ 89680 h 183776"/>
                    <a:gd name="connsiteX99" fmla="*/ 16773 w 474860"/>
                    <a:gd name="connsiteY99" fmla="*/ 89028 h 183776"/>
                    <a:gd name="connsiteX100" fmla="*/ 15901 w 474860"/>
                    <a:gd name="connsiteY100" fmla="*/ 86819 h 183776"/>
                    <a:gd name="connsiteX101" fmla="*/ 13439 w 474860"/>
                    <a:gd name="connsiteY101" fmla="*/ 82964 h 183776"/>
                    <a:gd name="connsiteX102" fmla="*/ 12282 w 474860"/>
                    <a:gd name="connsiteY102" fmla="*/ 78539 h 183776"/>
                    <a:gd name="connsiteX103" fmla="*/ 12282 w 474860"/>
                    <a:gd name="connsiteY103" fmla="*/ 70185 h 183776"/>
                    <a:gd name="connsiteX104" fmla="*/ 8777 w 474860"/>
                    <a:gd name="connsiteY104" fmla="*/ 58425 h 183776"/>
                    <a:gd name="connsiteX105" fmla="*/ 5794 w 474860"/>
                    <a:gd name="connsiteY105" fmla="*/ 42126 h 183776"/>
                    <a:gd name="connsiteX106" fmla="*/ 6308 w 474860"/>
                    <a:gd name="connsiteY106" fmla="*/ 36413 h 183776"/>
                    <a:gd name="connsiteX107" fmla="*/ 5550 w 474860"/>
                    <a:gd name="connsiteY107" fmla="*/ 30227 h 183776"/>
                    <a:gd name="connsiteX108" fmla="*/ 3562 w 474860"/>
                    <a:gd name="connsiteY108" fmla="*/ 24278 h 183776"/>
                    <a:gd name="connsiteX109" fmla="*/ 970 w 474860"/>
                    <a:gd name="connsiteY109" fmla="*/ 20024 h 183776"/>
                    <a:gd name="connsiteX110" fmla="*/ 0 w 474860"/>
                    <a:gd name="connsiteY110" fmla="*/ 16487 h 183776"/>
                    <a:gd name="connsiteX111" fmla="*/ 473 w 474860"/>
                    <a:gd name="connsiteY111" fmla="*/ 15085 h 183776"/>
                    <a:gd name="connsiteX112" fmla="*/ 1035 w 474860"/>
                    <a:gd name="connsiteY112" fmla="*/ 10497 h 183776"/>
                    <a:gd name="connsiteX113" fmla="*/ 1427 w 474860"/>
                    <a:gd name="connsiteY113" fmla="*/ 9592 h 183776"/>
                    <a:gd name="connsiteX114" fmla="*/ 2412 w 474860"/>
                    <a:gd name="connsiteY114" fmla="*/ 9144 h 183776"/>
                    <a:gd name="connsiteX115" fmla="*/ 3521 w 474860"/>
                    <a:gd name="connsiteY115" fmla="*/ 9258 h 183776"/>
                    <a:gd name="connsiteX116" fmla="*/ 5615 w 474860"/>
                    <a:gd name="connsiteY116" fmla="*/ 13251 h 183776"/>
                    <a:gd name="connsiteX117" fmla="*/ 11010 w 474860"/>
                    <a:gd name="connsiteY117" fmla="*/ 15704 h 183776"/>
                    <a:gd name="connsiteX118" fmla="*/ 413892 w 474860"/>
                    <a:gd name="connsiteY118" fmla="*/ 8989 h 183776"/>
                    <a:gd name="connsiteX119" fmla="*/ 413403 w 474860"/>
                    <a:gd name="connsiteY119" fmla="*/ 11532 h 183776"/>
                    <a:gd name="connsiteX120" fmla="*/ 413998 w 474860"/>
                    <a:gd name="connsiteY120" fmla="*/ 11483 h 183776"/>
                    <a:gd name="connsiteX121" fmla="*/ 416508 w 474860"/>
                    <a:gd name="connsiteY121" fmla="*/ 9926 h 183776"/>
                    <a:gd name="connsiteX122" fmla="*/ 419108 w 474860"/>
                    <a:gd name="connsiteY122" fmla="*/ 5786 h 183776"/>
                    <a:gd name="connsiteX123" fmla="*/ 420583 w 474860"/>
                    <a:gd name="connsiteY123" fmla="*/ 2200 h 183776"/>
                    <a:gd name="connsiteX124" fmla="*/ 421847 w 474860"/>
                    <a:gd name="connsiteY124" fmla="*/ 635 h 183776"/>
                    <a:gd name="connsiteX125" fmla="*/ 424365 w 474860"/>
                    <a:gd name="connsiteY125" fmla="*/ 1499 h 183776"/>
                    <a:gd name="connsiteX126" fmla="*/ 424919 w 474860"/>
                    <a:gd name="connsiteY126" fmla="*/ 2127 h 183776"/>
                    <a:gd name="connsiteX127" fmla="*/ 424748 w 474860"/>
                    <a:gd name="connsiteY127" fmla="*/ 4702 h 183776"/>
                    <a:gd name="connsiteX128" fmla="*/ 424984 w 474860"/>
                    <a:gd name="connsiteY128" fmla="*/ 6202 h 183776"/>
                    <a:gd name="connsiteX129" fmla="*/ 425946 w 474860"/>
                    <a:gd name="connsiteY129" fmla="*/ 9405 h 183776"/>
                    <a:gd name="connsiteX130" fmla="*/ 428089 w 474860"/>
                    <a:gd name="connsiteY130" fmla="*/ 11352 h 183776"/>
                    <a:gd name="connsiteX131" fmla="*/ 431039 w 474860"/>
                    <a:gd name="connsiteY131" fmla="*/ 12575 h 183776"/>
                    <a:gd name="connsiteX132" fmla="*/ 433786 w 474860"/>
                    <a:gd name="connsiteY132" fmla="*/ 14343 h 183776"/>
                    <a:gd name="connsiteX133" fmla="*/ 434666 w 474860"/>
                    <a:gd name="connsiteY133" fmla="*/ 15517 h 183776"/>
                    <a:gd name="connsiteX134" fmla="*/ 435261 w 474860"/>
                    <a:gd name="connsiteY134" fmla="*/ 16927 h 183776"/>
                    <a:gd name="connsiteX135" fmla="*/ 435864 w 474860"/>
                    <a:gd name="connsiteY135" fmla="*/ 19233 h 183776"/>
                    <a:gd name="connsiteX136" fmla="*/ 435905 w 474860"/>
                    <a:gd name="connsiteY136" fmla="*/ 21564 h 183776"/>
                    <a:gd name="connsiteX137" fmla="*/ 433932 w 474860"/>
                    <a:gd name="connsiteY137" fmla="*/ 23838 h 183776"/>
                    <a:gd name="connsiteX138" fmla="*/ 434772 w 474860"/>
                    <a:gd name="connsiteY138" fmla="*/ 27530 h 183776"/>
                    <a:gd name="connsiteX139" fmla="*/ 434642 w 474860"/>
                    <a:gd name="connsiteY139" fmla="*/ 29689 h 183776"/>
                    <a:gd name="connsiteX140" fmla="*/ 433965 w 474860"/>
                    <a:gd name="connsiteY140" fmla="*/ 31523 h 183776"/>
                    <a:gd name="connsiteX141" fmla="*/ 431080 w 474860"/>
                    <a:gd name="connsiteY141" fmla="*/ 33202 h 183776"/>
                    <a:gd name="connsiteX142" fmla="*/ 438929 w 474860"/>
                    <a:gd name="connsiteY142" fmla="*/ 31531 h 183776"/>
                    <a:gd name="connsiteX143" fmla="*/ 440868 w 474860"/>
                    <a:gd name="connsiteY143" fmla="*/ 30578 h 183776"/>
                    <a:gd name="connsiteX144" fmla="*/ 443541 w 474860"/>
                    <a:gd name="connsiteY144" fmla="*/ 28141 h 183776"/>
                    <a:gd name="connsiteX145" fmla="*/ 444984 w 474860"/>
                    <a:gd name="connsiteY145" fmla="*/ 30235 h 183776"/>
                    <a:gd name="connsiteX146" fmla="*/ 446329 w 474860"/>
                    <a:gd name="connsiteY146" fmla="*/ 33870 h 183776"/>
                    <a:gd name="connsiteX147" fmla="*/ 445244 w 474860"/>
                    <a:gd name="connsiteY147" fmla="*/ 34783 h 183776"/>
                    <a:gd name="connsiteX148" fmla="*/ 441838 w 474860"/>
                    <a:gd name="connsiteY148" fmla="*/ 36128 h 183776"/>
                    <a:gd name="connsiteX149" fmla="*/ 441667 w 474860"/>
                    <a:gd name="connsiteY149" fmla="*/ 36674 h 183776"/>
                    <a:gd name="connsiteX150" fmla="*/ 442800 w 474860"/>
                    <a:gd name="connsiteY150" fmla="*/ 38556 h 183776"/>
                    <a:gd name="connsiteX151" fmla="*/ 444226 w 474860"/>
                    <a:gd name="connsiteY151" fmla="*/ 38385 h 183776"/>
                    <a:gd name="connsiteX152" fmla="*/ 447045 w 474860"/>
                    <a:gd name="connsiteY152" fmla="*/ 37122 h 183776"/>
                    <a:gd name="connsiteX153" fmla="*/ 449637 w 474860"/>
                    <a:gd name="connsiteY153" fmla="*/ 35125 h 183776"/>
                    <a:gd name="connsiteX154" fmla="*/ 450893 w 474860"/>
                    <a:gd name="connsiteY154" fmla="*/ 35150 h 183776"/>
                    <a:gd name="connsiteX155" fmla="*/ 452213 w 474860"/>
                    <a:gd name="connsiteY155" fmla="*/ 35565 h 183776"/>
                    <a:gd name="connsiteX156" fmla="*/ 454771 w 474860"/>
                    <a:gd name="connsiteY156" fmla="*/ 36845 h 183776"/>
                    <a:gd name="connsiteX157" fmla="*/ 456206 w 474860"/>
                    <a:gd name="connsiteY157" fmla="*/ 37872 h 183776"/>
                    <a:gd name="connsiteX158" fmla="*/ 457412 w 474860"/>
                    <a:gd name="connsiteY158" fmla="*/ 39208 h 183776"/>
                    <a:gd name="connsiteX159" fmla="*/ 458211 w 474860"/>
                    <a:gd name="connsiteY159" fmla="*/ 41979 h 183776"/>
                    <a:gd name="connsiteX160" fmla="*/ 461153 w 474860"/>
                    <a:gd name="connsiteY160" fmla="*/ 42990 h 183776"/>
                    <a:gd name="connsiteX161" fmla="*/ 467192 w 474860"/>
                    <a:gd name="connsiteY161" fmla="*/ 46877 h 183776"/>
                    <a:gd name="connsiteX162" fmla="*/ 468317 w 474860"/>
                    <a:gd name="connsiteY162" fmla="*/ 47219 h 183776"/>
                    <a:gd name="connsiteX163" fmla="*/ 469498 w 474860"/>
                    <a:gd name="connsiteY163" fmla="*/ 47293 h 183776"/>
                    <a:gd name="connsiteX164" fmla="*/ 472685 w 474860"/>
                    <a:gd name="connsiteY164" fmla="*/ 46828 h 183776"/>
                    <a:gd name="connsiteX165" fmla="*/ 473801 w 474860"/>
                    <a:gd name="connsiteY165" fmla="*/ 47374 h 183776"/>
                    <a:gd name="connsiteX166" fmla="*/ 474608 w 474860"/>
                    <a:gd name="connsiteY166" fmla="*/ 48776 h 183776"/>
                    <a:gd name="connsiteX167" fmla="*/ 474861 w 474860"/>
                    <a:gd name="connsiteY167" fmla="*/ 50504 h 183776"/>
                    <a:gd name="connsiteX168" fmla="*/ 474779 w 474860"/>
                    <a:gd name="connsiteY168" fmla="*/ 52370 h 183776"/>
                    <a:gd name="connsiteX169" fmla="*/ 474453 w 474860"/>
                    <a:gd name="connsiteY169" fmla="*/ 53780 h 183776"/>
                    <a:gd name="connsiteX170" fmla="*/ 473703 w 474860"/>
                    <a:gd name="connsiteY170" fmla="*/ 54953 h 183776"/>
                    <a:gd name="connsiteX171" fmla="*/ 471535 w 474860"/>
                    <a:gd name="connsiteY171" fmla="*/ 56738 h 183776"/>
                    <a:gd name="connsiteX172" fmla="*/ 466083 w 474860"/>
                    <a:gd name="connsiteY172" fmla="*/ 59061 h 183776"/>
                    <a:gd name="connsiteX173" fmla="*/ 460126 w 474860"/>
                    <a:gd name="connsiteY173" fmla="*/ 60821 h 183776"/>
                    <a:gd name="connsiteX174" fmla="*/ 457135 w 474860"/>
                    <a:gd name="connsiteY174" fmla="*/ 60699 h 183776"/>
                    <a:gd name="connsiteX175" fmla="*/ 452930 w 474860"/>
                    <a:gd name="connsiteY175" fmla="*/ 59192 h 183776"/>
                    <a:gd name="connsiteX176" fmla="*/ 451397 w 474860"/>
                    <a:gd name="connsiteY176" fmla="*/ 59379 h 183776"/>
                    <a:gd name="connsiteX177" fmla="*/ 449923 w 474860"/>
                    <a:gd name="connsiteY177" fmla="*/ 60071 h 183776"/>
                    <a:gd name="connsiteX178" fmla="*/ 448056 w 474860"/>
                    <a:gd name="connsiteY178" fmla="*/ 64880 h 183776"/>
                    <a:gd name="connsiteX179" fmla="*/ 451495 w 474860"/>
                    <a:gd name="connsiteY179" fmla="*/ 69680 h 183776"/>
                    <a:gd name="connsiteX180" fmla="*/ 457420 w 474860"/>
                    <a:gd name="connsiteY180" fmla="*/ 74676 h 183776"/>
                    <a:gd name="connsiteX181" fmla="*/ 458235 w 474860"/>
                    <a:gd name="connsiteY181" fmla="*/ 75923 h 183776"/>
                    <a:gd name="connsiteX182" fmla="*/ 458015 w 474860"/>
                    <a:gd name="connsiteY182" fmla="*/ 77455 h 183776"/>
                    <a:gd name="connsiteX183" fmla="*/ 457078 w 474860"/>
                    <a:gd name="connsiteY183" fmla="*/ 78368 h 183776"/>
                    <a:gd name="connsiteX184" fmla="*/ 455823 w 474860"/>
                    <a:gd name="connsiteY184" fmla="*/ 78873 h 183776"/>
                    <a:gd name="connsiteX185" fmla="*/ 452506 w 474860"/>
                    <a:gd name="connsiteY185" fmla="*/ 79672 h 183776"/>
                    <a:gd name="connsiteX186" fmla="*/ 449148 w 474860"/>
                    <a:gd name="connsiteY186" fmla="*/ 80267 h 183776"/>
                    <a:gd name="connsiteX187" fmla="*/ 446377 w 474860"/>
                    <a:gd name="connsiteY187" fmla="*/ 81114 h 183776"/>
                    <a:gd name="connsiteX188" fmla="*/ 443680 w 474860"/>
                    <a:gd name="connsiteY188" fmla="*/ 82239 h 183776"/>
                    <a:gd name="connsiteX189" fmla="*/ 440884 w 474860"/>
                    <a:gd name="connsiteY189" fmla="*/ 81856 h 183776"/>
                    <a:gd name="connsiteX190" fmla="*/ 437046 w 474860"/>
                    <a:gd name="connsiteY190" fmla="*/ 79623 h 183776"/>
                    <a:gd name="connsiteX191" fmla="*/ 435946 w 474860"/>
                    <a:gd name="connsiteY191" fmla="*/ 79460 h 183776"/>
                    <a:gd name="connsiteX192" fmla="*/ 434780 w 474860"/>
                    <a:gd name="connsiteY192" fmla="*/ 80609 h 183776"/>
                    <a:gd name="connsiteX193" fmla="*/ 433631 w 474860"/>
                    <a:gd name="connsiteY193" fmla="*/ 83747 h 183776"/>
                    <a:gd name="connsiteX194" fmla="*/ 432914 w 474860"/>
                    <a:gd name="connsiteY194" fmla="*/ 84627 h 183776"/>
                    <a:gd name="connsiteX195" fmla="*/ 431985 w 474860"/>
                    <a:gd name="connsiteY195" fmla="*/ 84602 h 183776"/>
                    <a:gd name="connsiteX196" fmla="*/ 429842 w 474860"/>
                    <a:gd name="connsiteY196" fmla="*/ 83958 h 183776"/>
                    <a:gd name="connsiteX197" fmla="*/ 425546 w 474860"/>
                    <a:gd name="connsiteY197" fmla="*/ 80764 h 183776"/>
                    <a:gd name="connsiteX198" fmla="*/ 421162 w 474860"/>
                    <a:gd name="connsiteY198" fmla="*/ 79631 h 183776"/>
                    <a:gd name="connsiteX199" fmla="*/ 414781 w 474860"/>
                    <a:gd name="connsiteY199" fmla="*/ 79541 h 183776"/>
                    <a:gd name="connsiteX200" fmla="*/ 411178 w 474860"/>
                    <a:gd name="connsiteY200" fmla="*/ 79093 h 183776"/>
                    <a:gd name="connsiteX201" fmla="*/ 409704 w 474860"/>
                    <a:gd name="connsiteY201" fmla="*/ 79574 h 183776"/>
                    <a:gd name="connsiteX202" fmla="*/ 408481 w 474860"/>
                    <a:gd name="connsiteY202" fmla="*/ 79598 h 183776"/>
                    <a:gd name="connsiteX203" fmla="*/ 407593 w 474860"/>
                    <a:gd name="connsiteY203" fmla="*/ 78955 h 183776"/>
                    <a:gd name="connsiteX204" fmla="*/ 406639 w 474860"/>
                    <a:gd name="connsiteY204" fmla="*/ 78628 h 183776"/>
                    <a:gd name="connsiteX205" fmla="*/ 404153 w 474860"/>
                    <a:gd name="connsiteY205" fmla="*/ 80495 h 183776"/>
                    <a:gd name="connsiteX206" fmla="*/ 402988 w 474860"/>
                    <a:gd name="connsiteY206" fmla="*/ 79924 h 183776"/>
                    <a:gd name="connsiteX207" fmla="*/ 401807 w 474860"/>
                    <a:gd name="connsiteY207" fmla="*/ 79134 h 183776"/>
                    <a:gd name="connsiteX208" fmla="*/ 399728 w 474860"/>
                    <a:gd name="connsiteY208" fmla="*/ 78873 h 183776"/>
                    <a:gd name="connsiteX209" fmla="*/ 397194 w 474860"/>
                    <a:gd name="connsiteY209" fmla="*/ 79093 h 183776"/>
                    <a:gd name="connsiteX210" fmla="*/ 394399 w 474860"/>
                    <a:gd name="connsiteY210" fmla="*/ 81025 h 183776"/>
                    <a:gd name="connsiteX211" fmla="*/ 391285 w 474860"/>
                    <a:gd name="connsiteY211" fmla="*/ 79289 h 183776"/>
                    <a:gd name="connsiteX212" fmla="*/ 390405 w 474860"/>
                    <a:gd name="connsiteY212" fmla="*/ 79305 h 183776"/>
                    <a:gd name="connsiteX213" fmla="*/ 389810 w 474860"/>
                    <a:gd name="connsiteY213" fmla="*/ 79753 h 183776"/>
                    <a:gd name="connsiteX214" fmla="*/ 388474 w 474860"/>
                    <a:gd name="connsiteY214" fmla="*/ 82133 h 183776"/>
                    <a:gd name="connsiteX215" fmla="*/ 385898 w 474860"/>
                    <a:gd name="connsiteY215" fmla="*/ 83958 h 183776"/>
                    <a:gd name="connsiteX216" fmla="*/ 384635 w 474860"/>
                    <a:gd name="connsiteY216" fmla="*/ 87284 h 183776"/>
                    <a:gd name="connsiteX217" fmla="*/ 383844 w 474860"/>
                    <a:gd name="connsiteY217" fmla="*/ 90478 h 183776"/>
                    <a:gd name="connsiteX218" fmla="*/ 383160 w 474860"/>
                    <a:gd name="connsiteY218" fmla="*/ 91579 h 183776"/>
                    <a:gd name="connsiteX219" fmla="*/ 382972 w 474860"/>
                    <a:gd name="connsiteY219" fmla="*/ 97748 h 183776"/>
                    <a:gd name="connsiteX220" fmla="*/ 382565 w 474860"/>
                    <a:gd name="connsiteY220" fmla="*/ 100722 h 183776"/>
                    <a:gd name="connsiteX221" fmla="*/ 383217 w 474860"/>
                    <a:gd name="connsiteY221" fmla="*/ 104659 h 183776"/>
                    <a:gd name="connsiteX222" fmla="*/ 383103 w 474860"/>
                    <a:gd name="connsiteY222" fmla="*/ 106354 h 183776"/>
                    <a:gd name="connsiteX223" fmla="*/ 381954 w 474860"/>
                    <a:gd name="connsiteY223" fmla="*/ 108872 h 183776"/>
                    <a:gd name="connsiteX224" fmla="*/ 381815 w 474860"/>
                    <a:gd name="connsiteY224" fmla="*/ 109459 h 183776"/>
                    <a:gd name="connsiteX225" fmla="*/ 381204 w 474860"/>
                    <a:gd name="connsiteY225" fmla="*/ 113469 h 183776"/>
                    <a:gd name="connsiteX226" fmla="*/ 381432 w 474860"/>
                    <a:gd name="connsiteY226" fmla="*/ 114528 h 183776"/>
                    <a:gd name="connsiteX227" fmla="*/ 381277 w 474860"/>
                    <a:gd name="connsiteY227" fmla="*/ 115881 h 183776"/>
                    <a:gd name="connsiteX228" fmla="*/ 380324 w 474860"/>
                    <a:gd name="connsiteY228" fmla="*/ 118684 h 183776"/>
                    <a:gd name="connsiteX229" fmla="*/ 378580 w 474860"/>
                    <a:gd name="connsiteY229" fmla="*/ 119450 h 183776"/>
                    <a:gd name="connsiteX230" fmla="*/ 376738 w 474860"/>
                    <a:gd name="connsiteY230" fmla="*/ 119891 h 183776"/>
                    <a:gd name="connsiteX231" fmla="*/ 375173 w 474860"/>
                    <a:gd name="connsiteY231" fmla="*/ 118937 h 183776"/>
                    <a:gd name="connsiteX232" fmla="*/ 373763 w 474860"/>
                    <a:gd name="connsiteY232" fmla="*/ 120477 h 183776"/>
                    <a:gd name="connsiteX233" fmla="*/ 371962 w 474860"/>
                    <a:gd name="connsiteY233" fmla="*/ 122857 h 183776"/>
                    <a:gd name="connsiteX234" fmla="*/ 371188 w 474860"/>
                    <a:gd name="connsiteY234" fmla="*/ 124462 h 183776"/>
                    <a:gd name="connsiteX235" fmla="*/ 371196 w 474860"/>
                    <a:gd name="connsiteY235" fmla="*/ 125962 h 183776"/>
                    <a:gd name="connsiteX236" fmla="*/ 371367 w 474860"/>
                    <a:gd name="connsiteY236" fmla="*/ 126965 h 183776"/>
                    <a:gd name="connsiteX237" fmla="*/ 371000 w 474860"/>
                    <a:gd name="connsiteY237" fmla="*/ 128000 h 183776"/>
                    <a:gd name="connsiteX238" fmla="*/ 370952 w 474860"/>
                    <a:gd name="connsiteY238" fmla="*/ 129092 h 183776"/>
                    <a:gd name="connsiteX239" fmla="*/ 371041 w 474860"/>
                    <a:gd name="connsiteY239" fmla="*/ 130673 h 183776"/>
                    <a:gd name="connsiteX240" fmla="*/ 372255 w 474860"/>
                    <a:gd name="connsiteY240" fmla="*/ 131333 h 183776"/>
                    <a:gd name="connsiteX241" fmla="*/ 373527 w 474860"/>
                    <a:gd name="connsiteY241" fmla="*/ 132694 h 183776"/>
                    <a:gd name="connsiteX242" fmla="*/ 373478 w 474860"/>
                    <a:gd name="connsiteY242" fmla="*/ 133998 h 183776"/>
                    <a:gd name="connsiteX243" fmla="*/ 372769 w 474860"/>
                    <a:gd name="connsiteY243" fmla="*/ 134902 h 183776"/>
                    <a:gd name="connsiteX244" fmla="*/ 371188 w 474860"/>
                    <a:gd name="connsiteY244" fmla="*/ 136304 h 183776"/>
                    <a:gd name="connsiteX245" fmla="*/ 368271 w 474860"/>
                    <a:gd name="connsiteY245" fmla="*/ 139165 h 183776"/>
                    <a:gd name="connsiteX246" fmla="*/ 364978 w 474860"/>
                    <a:gd name="connsiteY246" fmla="*/ 141602 h 183776"/>
                    <a:gd name="connsiteX247" fmla="*/ 363747 w 474860"/>
                    <a:gd name="connsiteY247" fmla="*/ 142164 h 183776"/>
                    <a:gd name="connsiteX248" fmla="*/ 363299 w 474860"/>
                    <a:gd name="connsiteY248" fmla="*/ 143289 h 183776"/>
                    <a:gd name="connsiteX249" fmla="*/ 363063 w 474860"/>
                    <a:gd name="connsiteY249" fmla="*/ 144804 h 183776"/>
                    <a:gd name="connsiteX250" fmla="*/ 363788 w 474860"/>
                    <a:gd name="connsiteY250" fmla="*/ 148121 h 183776"/>
                    <a:gd name="connsiteX251" fmla="*/ 364473 w 474860"/>
                    <a:gd name="connsiteY251" fmla="*/ 149099 h 183776"/>
                    <a:gd name="connsiteX252" fmla="*/ 364839 w 474860"/>
                    <a:gd name="connsiteY252" fmla="*/ 150265 h 183776"/>
                    <a:gd name="connsiteX253" fmla="*/ 364399 w 474860"/>
                    <a:gd name="connsiteY253" fmla="*/ 151650 h 183776"/>
                    <a:gd name="connsiteX254" fmla="*/ 364081 w 474860"/>
                    <a:gd name="connsiteY254" fmla="*/ 152840 h 183776"/>
                    <a:gd name="connsiteX255" fmla="*/ 362875 w 474860"/>
                    <a:gd name="connsiteY255" fmla="*/ 153582 h 183776"/>
                    <a:gd name="connsiteX256" fmla="*/ 361685 w 474860"/>
                    <a:gd name="connsiteY256" fmla="*/ 154128 h 183776"/>
                    <a:gd name="connsiteX257" fmla="*/ 361253 w 474860"/>
                    <a:gd name="connsiteY257" fmla="*/ 155073 h 183776"/>
                    <a:gd name="connsiteX258" fmla="*/ 360634 w 474860"/>
                    <a:gd name="connsiteY258" fmla="*/ 159050 h 183776"/>
                    <a:gd name="connsiteX259" fmla="*/ 359925 w 474860"/>
                    <a:gd name="connsiteY259" fmla="*/ 161120 h 183776"/>
                    <a:gd name="connsiteX260" fmla="*/ 358320 w 474860"/>
                    <a:gd name="connsiteY260" fmla="*/ 164201 h 183776"/>
                    <a:gd name="connsiteX261" fmla="*/ 357790 w 474860"/>
                    <a:gd name="connsiteY261" fmla="*/ 165611 h 183776"/>
                    <a:gd name="connsiteX262" fmla="*/ 356959 w 474860"/>
                    <a:gd name="connsiteY262" fmla="*/ 166067 h 183776"/>
                    <a:gd name="connsiteX263" fmla="*/ 353845 w 474860"/>
                    <a:gd name="connsiteY263" fmla="*/ 164624 h 183776"/>
                    <a:gd name="connsiteX264" fmla="*/ 351050 w 474860"/>
                    <a:gd name="connsiteY264" fmla="*/ 165496 h 183776"/>
                    <a:gd name="connsiteX265" fmla="*/ 347366 w 474860"/>
                    <a:gd name="connsiteY265" fmla="*/ 166059 h 183776"/>
                    <a:gd name="connsiteX266" fmla="*/ 344237 w 474860"/>
                    <a:gd name="connsiteY266" fmla="*/ 165969 h 183776"/>
                    <a:gd name="connsiteX267" fmla="*/ 341816 w 474860"/>
                    <a:gd name="connsiteY267" fmla="*/ 166605 h 183776"/>
                    <a:gd name="connsiteX268" fmla="*/ 340154 w 474860"/>
                    <a:gd name="connsiteY268" fmla="*/ 168235 h 183776"/>
                    <a:gd name="connsiteX269" fmla="*/ 338288 w 474860"/>
                    <a:gd name="connsiteY269" fmla="*/ 170280 h 183776"/>
                    <a:gd name="connsiteX270" fmla="*/ 336340 w 474860"/>
                    <a:gd name="connsiteY270" fmla="*/ 171804 h 183776"/>
                    <a:gd name="connsiteX271" fmla="*/ 334865 w 474860"/>
                    <a:gd name="connsiteY271" fmla="*/ 172546 h 183776"/>
                    <a:gd name="connsiteX272" fmla="*/ 332159 w 474860"/>
                    <a:gd name="connsiteY272" fmla="*/ 170370 h 183776"/>
                    <a:gd name="connsiteX273" fmla="*/ 330790 w 474860"/>
                    <a:gd name="connsiteY273" fmla="*/ 170566 h 183776"/>
                    <a:gd name="connsiteX274" fmla="*/ 328337 w 474860"/>
                    <a:gd name="connsiteY274" fmla="*/ 169816 h 183776"/>
                    <a:gd name="connsiteX275" fmla="*/ 322559 w 474860"/>
                    <a:gd name="connsiteY275" fmla="*/ 167395 h 183776"/>
                    <a:gd name="connsiteX276" fmla="*/ 321133 w 474860"/>
                    <a:gd name="connsiteY276" fmla="*/ 166686 h 183776"/>
                    <a:gd name="connsiteX277" fmla="*/ 319592 w 474860"/>
                    <a:gd name="connsiteY277" fmla="*/ 166621 h 183776"/>
                    <a:gd name="connsiteX278" fmla="*/ 319144 w 474860"/>
                    <a:gd name="connsiteY278" fmla="*/ 165928 h 183776"/>
                    <a:gd name="connsiteX279" fmla="*/ 319380 w 474860"/>
                    <a:gd name="connsiteY279" fmla="*/ 164755 h 183776"/>
                    <a:gd name="connsiteX280" fmla="*/ 319144 w 474860"/>
                    <a:gd name="connsiteY280" fmla="*/ 163223 h 183776"/>
                    <a:gd name="connsiteX281" fmla="*/ 318003 w 474860"/>
                    <a:gd name="connsiteY281" fmla="*/ 162644 h 183776"/>
                    <a:gd name="connsiteX282" fmla="*/ 306430 w 474860"/>
                    <a:gd name="connsiteY282" fmla="*/ 162880 h 183776"/>
                    <a:gd name="connsiteX283" fmla="*/ 303097 w 474860"/>
                    <a:gd name="connsiteY283" fmla="*/ 164209 h 183776"/>
                    <a:gd name="connsiteX284" fmla="*/ 300839 w 474860"/>
                    <a:gd name="connsiteY284" fmla="*/ 165260 h 183776"/>
                    <a:gd name="connsiteX285" fmla="*/ 299242 w 474860"/>
                    <a:gd name="connsiteY285" fmla="*/ 166474 h 183776"/>
                    <a:gd name="connsiteX286" fmla="*/ 298786 w 474860"/>
                    <a:gd name="connsiteY286" fmla="*/ 169498 h 183776"/>
                    <a:gd name="connsiteX287" fmla="*/ 297816 w 474860"/>
                    <a:gd name="connsiteY287" fmla="*/ 172326 h 183776"/>
                    <a:gd name="connsiteX288" fmla="*/ 296577 w 474860"/>
                    <a:gd name="connsiteY288" fmla="*/ 175333 h 183776"/>
                    <a:gd name="connsiteX289" fmla="*/ 292714 w 474860"/>
                    <a:gd name="connsiteY289" fmla="*/ 176238 h 183776"/>
                    <a:gd name="connsiteX290" fmla="*/ 289886 w 474860"/>
                    <a:gd name="connsiteY290" fmla="*/ 179278 h 183776"/>
                    <a:gd name="connsiteX291" fmla="*/ 288908 w 474860"/>
                    <a:gd name="connsiteY291" fmla="*/ 179645 h 183776"/>
                    <a:gd name="connsiteX292" fmla="*/ 286969 w 474860"/>
                    <a:gd name="connsiteY292" fmla="*/ 179204 h 183776"/>
                    <a:gd name="connsiteX293" fmla="*/ 284890 w 474860"/>
                    <a:gd name="connsiteY293" fmla="*/ 178952 h 183776"/>
                    <a:gd name="connsiteX294" fmla="*/ 283383 w 474860"/>
                    <a:gd name="connsiteY294" fmla="*/ 179799 h 183776"/>
                    <a:gd name="connsiteX295" fmla="*/ 281810 w 474860"/>
                    <a:gd name="connsiteY295" fmla="*/ 179767 h 183776"/>
                    <a:gd name="connsiteX296" fmla="*/ 276928 w 474860"/>
                    <a:gd name="connsiteY296" fmla="*/ 178349 h 183776"/>
                    <a:gd name="connsiteX297" fmla="*/ 272340 w 474860"/>
                    <a:gd name="connsiteY297" fmla="*/ 178129 h 183776"/>
                    <a:gd name="connsiteX298" fmla="*/ 269724 w 474860"/>
                    <a:gd name="connsiteY298" fmla="*/ 178854 h 183776"/>
                    <a:gd name="connsiteX299" fmla="*/ 268290 w 474860"/>
                    <a:gd name="connsiteY299" fmla="*/ 179123 h 183776"/>
                    <a:gd name="connsiteX300" fmla="*/ 260278 w 474860"/>
                    <a:gd name="connsiteY300" fmla="*/ 183279 h 183776"/>
                    <a:gd name="connsiteX301" fmla="*/ 257573 w 474860"/>
                    <a:gd name="connsiteY301" fmla="*/ 183776 h 183776"/>
                    <a:gd name="connsiteX302" fmla="*/ 256480 w 474860"/>
                    <a:gd name="connsiteY302" fmla="*/ 183173 h 183776"/>
                    <a:gd name="connsiteX303" fmla="*/ 254924 w 474860"/>
                    <a:gd name="connsiteY303" fmla="*/ 181470 h 183776"/>
                    <a:gd name="connsiteX304" fmla="*/ 252846 w 474860"/>
                    <a:gd name="connsiteY304" fmla="*/ 179767 h 183776"/>
                    <a:gd name="connsiteX305" fmla="*/ 247874 w 474860"/>
                    <a:gd name="connsiteY305" fmla="*/ 173956 h 183776"/>
                    <a:gd name="connsiteX306" fmla="*/ 246049 w 474860"/>
                    <a:gd name="connsiteY306" fmla="*/ 172587 h 183776"/>
                    <a:gd name="connsiteX307" fmla="*/ 244818 w 474860"/>
                    <a:gd name="connsiteY307" fmla="*/ 171185 h 183776"/>
                    <a:gd name="connsiteX308" fmla="*/ 243661 w 474860"/>
                    <a:gd name="connsiteY308" fmla="*/ 169523 h 183776"/>
                    <a:gd name="connsiteX309" fmla="*/ 242023 w 474860"/>
                    <a:gd name="connsiteY309" fmla="*/ 167730 h 183776"/>
                    <a:gd name="connsiteX310" fmla="*/ 240515 w 474860"/>
                    <a:gd name="connsiteY310" fmla="*/ 166499 h 183776"/>
                    <a:gd name="connsiteX311" fmla="*/ 238470 w 474860"/>
                    <a:gd name="connsiteY311" fmla="*/ 163981 h 183776"/>
                    <a:gd name="connsiteX312" fmla="*/ 236448 w 474860"/>
                    <a:gd name="connsiteY312" fmla="*/ 161226 h 183776"/>
                    <a:gd name="connsiteX313" fmla="*/ 235992 w 474860"/>
                    <a:gd name="connsiteY313" fmla="*/ 156377 h 183776"/>
                    <a:gd name="connsiteX314" fmla="*/ 234378 w 474860"/>
                    <a:gd name="connsiteY314" fmla="*/ 155497 h 183776"/>
                    <a:gd name="connsiteX315" fmla="*/ 233840 w 474860"/>
                    <a:gd name="connsiteY315" fmla="*/ 154234 h 183776"/>
                    <a:gd name="connsiteX316" fmla="*/ 233596 w 474860"/>
                    <a:gd name="connsiteY316" fmla="*/ 152799 h 183776"/>
                    <a:gd name="connsiteX317" fmla="*/ 235821 w 474860"/>
                    <a:gd name="connsiteY317" fmla="*/ 148871 h 183776"/>
                    <a:gd name="connsiteX318" fmla="*/ 237443 w 474860"/>
                    <a:gd name="connsiteY318" fmla="*/ 153027 h 183776"/>
                    <a:gd name="connsiteX319" fmla="*/ 238070 w 474860"/>
                    <a:gd name="connsiteY319" fmla="*/ 153957 h 183776"/>
                    <a:gd name="connsiteX320" fmla="*/ 241664 w 474860"/>
                    <a:gd name="connsiteY320" fmla="*/ 156752 h 183776"/>
                    <a:gd name="connsiteX321" fmla="*/ 244631 w 474860"/>
                    <a:gd name="connsiteY321" fmla="*/ 158154 h 183776"/>
                    <a:gd name="connsiteX322" fmla="*/ 247850 w 474860"/>
                    <a:gd name="connsiteY322" fmla="*/ 158724 h 183776"/>
                    <a:gd name="connsiteX323" fmla="*/ 251118 w 474860"/>
                    <a:gd name="connsiteY323" fmla="*/ 158838 h 183776"/>
                    <a:gd name="connsiteX324" fmla="*/ 252422 w 474860"/>
                    <a:gd name="connsiteY324" fmla="*/ 158642 h 183776"/>
                    <a:gd name="connsiteX325" fmla="*/ 253677 w 474860"/>
                    <a:gd name="connsiteY325" fmla="*/ 158088 h 183776"/>
                    <a:gd name="connsiteX326" fmla="*/ 254924 w 474860"/>
                    <a:gd name="connsiteY326" fmla="*/ 158683 h 183776"/>
                    <a:gd name="connsiteX327" fmla="*/ 261761 w 474860"/>
                    <a:gd name="connsiteY327" fmla="*/ 163231 h 183776"/>
                    <a:gd name="connsiteX328" fmla="*/ 264410 w 474860"/>
                    <a:gd name="connsiteY328" fmla="*/ 164046 h 183776"/>
                    <a:gd name="connsiteX329" fmla="*/ 267214 w 474860"/>
                    <a:gd name="connsiteY329" fmla="*/ 163696 h 183776"/>
                    <a:gd name="connsiteX330" fmla="*/ 268363 w 474860"/>
                    <a:gd name="connsiteY330" fmla="*/ 164103 h 183776"/>
                    <a:gd name="connsiteX331" fmla="*/ 272283 w 474860"/>
                    <a:gd name="connsiteY331" fmla="*/ 167591 h 183776"/>
                    <a:gd name="connsiteX332" fmla="*/ 273456 w 474860"/>
                    <a:gd name="connsiteY332" fmla="*/ 168007 h 183776"/>
                    <a:gd name="connsiteX333" fmla="*/ 275388 w 474860"/>
                    <a:gd name="connsiteY333" fmla="*/ 167746 h 183776"/>
                    <a:gd name="connsiteX334" fmla="*/ 272910 w 474860"/>
                    <a:gd name="connsiteY334" fmla="*/ 166149 h 183776"/>
                    <a:gd name="connsiteX335" fmla="*/ 271289 w 474860"/>
                    <a:gd name="connsiteY335" fmla="*/ 165024 h 183776"/>
                    <a:gd name="connsiteX336" fmla="*/ 270555 w 474860"/>
                    <a:gd name="connsiteY336" fmla="*/ 162889 h 183776"/>
                    <a:gd name="connsiteX337" fmla="*/ 271003 w 474860"/>
                    <a:gd name="connsiteY337" fmla="*/ 160623 h 183776"/>
                    <a:gd name="connsiteX338" fmla="*/ 272576 w 474860"/>
                    <a:gd name="connsiteY338" fmla="*/ 159107 h 183776"/>
                    <a:gd name="connsiteX339" fmla="*/ 273676 w 474860"/>
                    <a:gd name="connsiteY339" fmla="*/ 157469 h 183776"/>
                    <a:gd name="connsiteX340" fmla="*/ 274068 w 474860"/>
                    <a:gd name="connsiteY340" fmla="*/ 152571 h 183776"/>
                    <a:gd name="connsiteX341" fmla="*/ 274761 w 474860"/>
                    <a:gd name="connsiteY341" fmla="*/ 150094 h 183776"/>
                    <a:gd name="connsiteX342" fmla="*/ 276072 w 474860"/>
                    <a:gd name="connsiteY342" fmla="*/ 147730 h 183776"/>
                    <a:gd name="connsiteX343" fmla="*/ 276512 w 474860"/>
                    <a:gd name="connsiteY343" fmla="*/ 145456 h 183776"/>
                    <a:gd name="connsiteX344" fmla="*/ 275029 w 474860"/>
                    <a:gd name="connsiteY344" fmla="*/ 143720 h 183776"/>
                    <a:gd name="connsiteX345" fmla="*/ 274695 w 474860"/>
                    <a:gd name="connsiteY345" fmla="*/ 140746 h 183776"/>
                    <a:gd name="connsiteX346" fmla="*/ 275029 w 474860"/>
                    <a:gd name="connsiteY346" fmla="*/ 138276 h 183776"/>
                    <a:gd name="connsiteX347" fmla="*/ 275860 w 474860"/>
                    <a:gd name="connsiteY347" fmla="*/ 136598 h 183776"/>
                    <a:gd name="connsiteX348" fmla="*/ 277181 w 474860"/>
                    <a:gd name="connsiteY348" fmla="*/ 137698 h 183776"/>
                    <a:gd name="connsiteX349" fmla="*/ 278566 w 474860"/>
                    <a:gd name="connsiteY349" fmla="*/ 138725 h 183776"/>
                    <a:gd name="connsiteX350" fmla="*/ 279927 w 474860"/>
                    <a:gd name="connsiteY350" fmla="*/ 138627 h 183776"/>
                    <a:gd name="connsiteX351" fmla="*/ 280856 w 474860"/>
                    <a:gd name="connsiteY351" fmla="*/ 138219 h 183776"/>
                    <a:gd name="connsiteX352" fmla="*/ 281028 w 474860"/>
                    <a:gd name="connsiteY352" fmla="*/ 136948 h 183776"/>
                    <a:gd name="connsiteX353" fmla="*/ 280783 w 474860"/>
                    <a:gd name="connsiteY353" fmla="*/ 134731 h 183776"/>
                    <a:gd name="connsiteX354" fmla="*/ 280848 w 474860"/>
                    <a:gd name="connsiteY354" fmla="*/ 130648 h 183776"/>
                    <a:gd name="connsiteX355" fmla="*/ 282568 w 474860"/>
                    <a:gd name="connsiteY355" fmla="*/ 127397 h 183776"/>
                    <a:gd name="connsiteX356" fmla="*/ 285314 w 474860"/>
                    <a:gd name="connsiteY356" fmla="*/ 125155 h 183776"/>
                    <a:gd name="connsiteX357" fmla="*/ 287906 w 474860"/>
                    <a:gd name="connsiteY357" fmla="*/ 124079 h 183776"/>
                    <a:gd name="connsiteX358" fmla="*/ 297596 w 474860"/>
                    <a:gd name="connsiteY358" fmla="*/ 122254 h 183776"/>
                    <a:gd name="connsiteX359" fmla="*/ 312934 w 474860"/>
                    <a:gd name="connsiteY359" fmla="*/ 117584 h 183776"/>
                    <a:gd name="connsiteX360" fmla="*/ 317489 w 474860"/>
                    <a:gd name="connsiteY360" fmla="*/ 115775 h 183776"/>
                    <a:gd name="connsiteX361" fmla="*/ 319160 w 474860"/>
                    <a:gd name="connsiteY361" fmla="*/ 114838 h 183776"/>
                    <a:gd name="connsiteX362" fmla="*/ 320570 w 474860"/>
                    <a:gd name="connsiteY362" fmla="*/ 113542 h 183776"/>
                    <a:gd name="connsiteX363" fmla="*/ 322942 w 474860"/>
                    <a:gd name="connsiteY363" fmla="*/ 109394 h 183776"/>
                    <a:gd name="connsiteX364" fmla="*/ 327400 w 474860"/>
                    <a:gd name="connsiteY364" fmla="*/ 102866 h 183776"/>
                    <a:gd name="connsiteX365" fmla="*/ 330529 w 474860"/>
                    <a:gd name="connsiteY365" fmla="*/ 97495 h 183776"/>
                    <a:gd name="connsiteX366" fmla="*/ 337130 w 474860"/>
                    <a:gd name="connsiteY366" fmla="*/ 89680 h 183776"/>
                    <a:gd name="connsiteX367" fmla="*/ 342387 w 474860"/>
                    <a:gd name="connsiteY367" fmla="*/ 82434 h 183776"/>
                    <a:gd name="connsiteX368" fmla="*/ 343104 w 474860"/>
                    <a:gd name="connsiteY368" fmla="*/ 81074 h 183776"/>
                    <a:gd name="connsiteX369" fmla="*/ 343976 w 474860"/>
                    <a:gd name="connsiteY369" fmla="*/ 77113 h 183776"/>
                    <a:gd name="connsiteX370" fmla="*/ 344033 w 474860"/>
                    <a:gd name="connsiteY370" fmla="*/ 75254 h 183776"/>
                    <a:gd name="connsiteX371" fmla="*/ 343878 w 474860"/>
                    <a:gd name="connsiteY371" fmla="*/ 73364 h 183776"/>
                    <a:gd name="connsiteX372" fmla="*/ 344579 w 474860"/>
                    <a:gd name="connsiteY372" fmla="*/ 72484 h 183776"/>
                    <a:gd name="connsiteX373" fmla="*/ 345598 w 474860"/>
                    <a:gd name="connsiteY373" fmla="*/ 71954 h 183776"/>
                    <a:gd name="connsiteX374" fmla="*/ 345850 w 474860"/>
                    <a:gd name="connsiteY374" fmla="*/ 71962 h 183776"/>
                    <a:gd name="connsiteX375" fmla="*/ 346633 w 474860"/>
                    <a:gd name="connsiteY375" fmla="*/ 72785 h 183776"/>
                    <a:gd name="connsiteX376" fmla="*/ 348466 w 474860"/>
                    <a:gd name="connsiteY376" fmla="*/ 73934 h 183776"/>
                    <a:gd name="connsiteX377" fmla="*/ 349828 w 474860"/>
                    <a:gd name="connsiteY377" fmla="*/ 75409 h 183776"/>
                    <a:gd name="connsiteX378" fmla="*/ 350748 w 474860"/>
                    <a:gd name="connsiteY378" fmla="*/ 77324 h 183776"/>
                    <a:gd name="connsiteX379" fmla="*/ 351408 w 474860"/>
                    <a:gd name="connsiteY379" fmla="*/ 79101 h 183776"/>
                    <a:gd name="connsiteX380" fmla="*/ 351457 w 474860"/>
                    <a:gd name="connsiteY380" fmla="*/ 80617 h 183776"/>
                    <a:gd name="connsiteX381" fmla="*/ 352289 w 474860"/>
                    <a:gd name="connsiteY381" fmla="*/ 81864 h 183776"/>
                    <a:gd name="connsiteX382" fmla="*/ 354603 w 474860"/>
                    <a:gd name="connsiteY382" fmla="*/ 82068 h 183776"/>
                    <a:gd name="connsiteX383" fmla="*/ 355361 w 474860"/>
                    <a:gd name="connsiteY383" fmla="*/ 83632 h 183776"/>
                    <a:gd name="connsiteX384" fmla="*/ 356983 w 474860"/>
                    <a:gd name="connsiteY384" fmla="*/ 86330 h 183776"/>
                    <a:gd name="connsiteX385" fmla="*/ 358458 w 474860"/>
                    <a:gd name="connsiteY385" fmla="*/ 88270 h 183776"/>
                    <a:gd name="connsiteX386" fmla="*/ 359363 w 474860"/>
                    <a:gd name="connsiteY386" fmla="*/ 89019 h 183776"/>
                    <a:gd name="connsiteX387" fmla="*/ 360504 w 474860"/>
                    <a:gd name="connsiteY387" fmla="*/ 88612 h 183776"/>
                    <a:gd name="connsiteX388" fmla="*/ 362264 w 474860"/>
                    <a:gd name="connsiteY388" fmla="*/ 86852 h 183776"/>
                    <a:gd name="connsiteX389" fmla="*/ 363527 w 474860"/>
                    <a:gd name="connsiteY389" fmla="*/ 84684 h 183776"/>
                    <a:gd name="connsiteX390" fmla="*/ 364375 w 474860"/>
                    <a:gd name="connsiteY390" fmla="*/ 81758 h 183776"/>
                    <a:gd name="connsiteX391" fmla="*/ 363707 w 474860"/>
                    <a:gd name="connsiteY391" fmla="*/ 81326 h 183776"/>
                    <a:gd name="connsiteX392" fmla="*/ 364880 w 474860"/>
                    <a:gd name="connsiteY392" fmla="*/ 79117 h 183776"/>
                    <a:gd name="connsiteX393" fmla="*/ 365108 w 474860"/>
                    <a:gd name="connsiteY393" fmla="*/ 77952 h 183776"/>
                    <a:gd name="connsiteX394" fmla="*/ 364570 w 474860"/>
                    <a:gd name="connsiteY394" fmla="*/ 76893 h 183776"/>
                    <a:gd name="connsiteX395" fmla="*/ 363869 w 474860"/>
                    <a:gd name="connsiteY395" fmla="*/ 75833 h 183776"/>
                    <a:gd name="connsiteX396" fmla="*/ 363601 w 474860"/>
                    <a:gd name="connsiteY396" fmla="*/ 73160 h 183776"/>
                    <a:gd name="connsiteX397" fmla="*/ 363128 w 474860"/>
                    <a:gd name="connsiteY397" fmla="*/ 69762 h 183776"/>
                    <a:gd name="connsiteX398" fmla="*/ 362794 w 474860"/>
                    <a:gd name="connsiteY398" fmla="*/ 68213 h 183776"/>
                    <a:gd name="connsiteX399" fmla="*/ 363723 w 474860"/>
                    <a:gd name="connsiteY399" fmla="*/ 67113 h 183776"/>
                    <a:gd name="connsiteX400" fmla="*/ 365711 w 474860"/>
                    <a:gd name="connsiteY400" fmla="*/ 65711 h 183776"/>
                    <a:gd name="connsiteX401" fmla="*/ 367700 w 474860"/>
                    <a:gd name="connsiteY401" fmla="*/ 64073 h 183776"/>
                    <a:gd name="connsiteX402" fmla="*/ 369737 w 474860"/>
                    <a:gd name="connsiteY402" fmla="*/ 62769 h 183776"/>
                    <a:gd name="connsiteX403" fmla="*/ 369786 w 474860"/>
                    <a:gd name="connsiteY403" fmla="*/ 65132 h 183776"/>
                    <a:gd name="connsiteX404" fmla="*/ 369737 w 474860"/>
                    <a:gd name="connsiteY404" fmla="*/ 69020 h 183776"/>
                    <a:gd name="connsiteX405" fmla="*/ 370348 w 474860"/>
                    <a:gd name="connsiteY405" fmla="*/ 72280 h 183776"/>
                    <a:gd name="connsiteX406" fmla="*/ 371726 w 474860"/>
                    <a:gd name="connsiteY406" fmla="*/ 78042 h 183776"/>
                    <a:gd name="connsiteX407" fmla="*/ 373299 w 474860"/>
                    <a:gd name="connsiteY407" fmla="*/ 78824 h 183776"/>
                    <a:gd name="connsiteX408" fmla="*/ 375181 w 474860"/>
                    <a:gd name="connsiteY408" fmla="*/ 79338 h 183776"/>
                    <a:gd name="connsiteX409" fmla="*/ 376274 w 474860"/>
                    <a:gd name="connsiteY409" fmla="*/ 79166 h 183776"/>
                    <a:gd name="connsiteX410" fmla="*/ 376982 w 474860"/>
                    <a:gd name="connsiteY410" fmla="*/ 78792 h 183776"/>
                    <a:gd name="connsiteX411" fmla="*/ 377170 w 474860"/>
                    <a:gd name="connsiteY411" fmla="*/ 78327 h 183776"/>
                    <a:gd name="connsiteX412" fmla="*/ 375988 w 474860"/>
                    <a:gd name="connsiteY412" fmla="*/ 76061 h 183776"/>
                    <a:gd name="connsiteX413" fmla="*/ 375679 w 474860"/>
                    <a:gd name="connsiteY413" fmla="*/ 70731 h 183776"/>
                    <a:gd name="connsiteX414" fmla="*/ 374717 w 474860"/>
                    <a:gd name="connsiteY414" fmla="*/ 67235 h 183776"/>
                    <a:gd name="connsiteX415" fmla="*/ 373242 w 474860"/>
                    <a:gd name="connsiteY415" fmla="*/ 63755 h 183776"/>
                    <a:gd name="connsiteX416" fmla="*/ 372532 w 474860"/>
                    <a:gd name="connsiteY416" fmla="*/ 62761 h 183776"/>
                    <a:gd name="connsiteX417" fmla="*/ 378360 w 474860"/>
                    <a:gd name="connsiteY417" fmla="*/ 61767 h 183776"/>
                    <a:gd name="connsiteX418" fmla="*/ 379672 w 474860"/>
                    <a:gd name="connsiteY418" fmla="*/ 60675 h 183776"/>
                    <a:gd name="connsiteX419" fmla="*/ 381946 w 474860"/>
                    <a:gd name="connsiteY419" fmla="*/ 58287 h 183776"/>
                    <a:gd name="connsiteX420" fmla="*/ 382810 w 474860"/>
                    <a:gd name="connsiteY420" fmla="*/ 56950 h 183776"/>
                    <a:gd name="connsiteX421" fmla="*/ 383494 w 474860"/>
                    <a:gd name="connsiteY421" fmla="*/ 53935 h 183776"/>
                    <a:gd name="connsiteX422" fmla="*/ 380625 w 474860"/>
                    <a:gd name="connsiteY422" fmla="*/ 52142 h 183776"/>
                    <a:gd name="connsiteX423" fmla="*/ 379509 w 474860"/>
                    <a:gd name="connsiteY423" fmla="*/ 49844 h 183776"/>
                    <a:gd name="connsiteX424" fmla="*/ 379436 w 474860"/>
                    <a:gd name="connsiteY424" fmla="*/ 47358 h 183776"/>
                    <a:gd name="connsiteX425" fmla="*/ 382842 w 474860"/>
                    <a:gd name="connsiteY425" fmla="*/ 42753 h 183776"/>
                    <a:gd name="connsiteX426" fmla="*/ 384024 w 474860"/>
                    <a:gd name="connsiteY426" fmla="*/ 41653 h 183776"/>
                    <a:gd name="connsiteX427" fmla="*/ 384537 w 474860"/>
                    <a:gd name="connsiteY427" fmla="*/ 43291 h 183776"/>
                    <a:gd name="connsiteX428" fmla="*/ 386037 w 474860"/>
                    <a:gd name="connsiteY428" fmla="*/ 43707 h 183776"/>
                    <a:gd name="connsiteX429" fmla="*/ 387422 w 474860"/>
                    <a:gd name="connsiteY429" fmla="*/ 43772 h 183776"/>
                    <a:gd name="connsiteX430" fmla="*/ 388816 w 474860"/>
                    <a:gd name="connsiteY430" fmla="*/ 43674 h 183776"/>
                    <a:gd name="connsiteX431" fmla="*/ 390796 w 474860"/>
                    <a:gd name="connsiteY431" fmla="*/ 41352 h 183776"/>
                    <a:gd name="connsiteX432" fmla="*/ 391831 w 474860"/>
                    <a:gd name="connsiteY432" fmla="*/ 38002 h 183776"/>
                    <a:gd name="connsiteX433" fmla="*/ 395336 w 474860"/>
                    <a:gd name="connsiteY433" fmla="*/ 33275 h 183776"/>
                    <a:gd name="connsiteX434" fmla="*/ 396574 w 474860"/>
                    <a:gd name="connsiteY434" fmla="*/ 29649 h 183776"/>
                    <a:gd name="connsiteX435" fmla="*/ 397284 w 474860"/>
                    <a:gd name="connsiteY435" fmla="*/ 25859 h 183776"/>
                    <a:gd name="connsiteX436" fmla="*/ 406126 w 474860"/>
                    <a:gd name="connsiteY436" fmla="*/ 14083 h 183776"/>
                    <a:gd name="connsiteX437" fmla="*/ 407202 w 474860"/>
                    <a:gd name="connsiteY437" fmla="*/ 12249 h 183776"/>
                    <a:gd name="connsiteX438" fmla="*/ 412458 w 474860"/>
                    <a:gd name="connsiteY438" fmla="*/ 391 h 183776"/>
                    <a:gd name="connsiteX439" fmla="*/ 413110 w 474860"/>
                    <a:gd name="connsiteY439" fmla="*/ 0 h 183776"/>
                    <a:gd name="connsiteX440" fmla="*/ 414520 w 474860"/>
                    <a:gd name="connsiteY440" fmla="*/ 1149 h 183776"/>
                    <a:gd name="connsiteX441" fmla="*/ 414944 w 474860"/>
                    <a:gd name="connsiteY441" fmla="*/ 4914 h 183776"/>
                    <a:gd name="connsiteX442" fmla="*/ 414748 w 474860"/>
                    <a:gd name="connsiteY442" fmla="*/ 6560 h 183776"/>
                    <a:gd name="connsiteX443" fmla="*/ 413892 w 474860"/>
                    <a:gd name="connsiteY443" fmla="*/ 8989 h 183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Lst>
                  <a:rect l="l" t="t" r="r" b="b"/>
                  <a:pathLst>
                    <a:path w="474860" h="183776">
                      <a:moveTo>
                        <a:pt x="11010" y="15704"/>
                      </a:moveTo>
                      <a:lnTo>
                        <a:pt x="12640" y="16291"/>
                      </a:lnTo>
                      <a:lnTo>
                        <a:pt x="14776" y="15313"/>
                      </a:lnTo>
                      <a:lnTo>
                        <a:pt x="15737" y="15924"/>
                      </a:lnTo>
                      <a:lnTo>
                        <a:pt x="16707" y="16943"/>
                      </a:lnTo>
                      <a:lnTo>
                        <a:pt x="17277" y="19779"/>
                      </a:lnTo>
                      <a:lnTo>
                        <a:pt x="18696" y="22371"/>
                      </a:lnTo>
                      <a:lnTo>
                        <a:pt x="21556" y="22004"/>
                      </a:lnTo>
                      <a:lnTo>
                        <a:pt x="22559" y="22371"/>
                      </a:lnTo>
                      <a:lnTo>
                        <a:pt x="23153" y="22452"/>
                      </a:lnTo>
                      <a:lnTo>
                        <a:pt x="23716" y="24751"/>
                      </a:lnTo>
                      <a:lnTo>
                        <a:pt x="23960" y="28728"/>
                      </a:lnTo>
                      <a:lnTo>
                        <a:pt x="23700" y="31042"/>
                      </a:lnTo>
                      <a:lnTo>
                        <a:pt x="21646" y="34351"/>
                      </a:lnTo>
                      <a:lnTo>
                        <a:pt x="21361" y="36600"/>
                      </a:lnTo>
                      <a:lnTo>
                        <a:pt x="22453" y="37994"/>
                      </a:lnTo>
                      <a:lnTo>
                        <a:pt x="23854" y="39485"/>
                      </a:lnTo>
                      <a:lnTo>
                        <a:pt x="24653" y="40635"/>
                      </a:lnTo>
                      <a:lnTo>
                        <a:pt x="25493" y="40447"/>
                      </a:lnTo>
                      <a:lnTo>
                        <a:pt x="26568" y="39681"/>
                      </a:lnTo>
                      <a:lnTo>
                        <a:pt x="27538" y="37725"/>
                      </a:lnTo>
                      <a:lnTo>
                        <a:pt x="28206" y="36054"/>
                      </a:lnTo>
                      <a:lnTo>
                        <a:pt x="31857" y="34188"/>
                      </a:lnTo>
                      <a:lnTo>
                        <a:pt x="35631" y="32501"/>
                      </a:lnTo>
                      <a:lnTo>
                        <a:pt x="36136" y="32672"/>
                      </a:lnTo>
                      <a:lnTo>
                        <a:pt x="36739" y="33414"/>
                      </a:lnTo>
                      <a:lnTo>
                        <a:pt x="37954" y="35851"/>
                      </a:lnTo>
                      <a:lnTo>
                        <a:pt x="38655" y="36364"/>
                      </a:lnTo>
                      <a:lnTo>
                        <a:pt x="39673" y="36608"/>
                      </a:lnTo>
                      <a:lnTo>
                        <a:pt x="41442" y="36348"/>
                      </a:lnTo>
                      <a:lnTo>
                        <a:pt x="43495" y="34970"/>
                      </a:lnTo>
                      <a:lnTo>
                        <a:pt x="44571" y="32387"/>
                      </a:lnTo>
                      <a:lnTo>
                        <a:pt x="45044" y="30341"/>
                      </a:lnTo>
                      <a:lnTo>
                        <a:pt x="47994" y="26821"/>
                      </a:lnTo>
                      <a:lnTo>
                        <a:pt x="48328" y="24180"/>
                      </a:lnTo>
                      <a:lnTo>
                        <a:pt x="49135" y="22452"/>
                      </a:lnTo>
                      <a:lnTo>
                        <a:pt x="53422" y="23626"/>
                      </a:lnTo>
                      <a:lnTo>
                        <a:pt x="55068" y="24571"/>
                      </a:lnTo>
                      <a:lnTo>
                        <a:pt x="59884" y="33862"/>
                      </a:lnTo>
                      <a:lnTo>
                        <a:pt x="66233" y="40390"/>
                      </a:lnTo>
                      <a:lnTo>
                        <a:pt x="68914" y="42827"/>
                      </a:lnTo>
                      <a:lnTo>
                        <a:pt x="70992" y="43992"/>
                      </a:lnTo>
                      <a:lnTo>
                        <a:pt x="73845" y="47488"/>
                      </a:lnTo>
                      <a:lnTo>
                        <a:pt x="76323" y="51881"/>
                      </a:lnTo>
                      <a:lnTo>
                        <a:pt x="81750" y="64236"/>
                      </a:lnTo>
                      <a:lnTo>
                        <a:pt x="82687" y="69664"/>
                      </a:lnTo>
                      <a:lnTo>
                        <a:pt x="83062" y="77944"/>
                      </a:lnTo>
                      <a:lnTo>
                        <a:pt x="81864" y="90429"/>
                      </a:lnTo>
                      <a:lnTo>
                        <a:pt x="80413" y="96656"/>
                      </a:lnTo>
                      <a:lnTo>
                        <a:pt x="80699" y="99590"/>
                      </a:lnTo>
                      <a:lnTo>
                        <a:pt x="82687" y="104096"/>
                      </a:lnTo>
                      <a:lnTo>
                        <a:pt x="82084" y="108351"/>
                      </a:lnTo>
                      <a:lnTo>
                        <a:pt x="82475" y="111887"/>
                      </a:lnTo>
                      <a:lnTo>
                        <a:pt x="82337" y="121700"/>
                      </a:lnTo>
                      <a:lnTo>
                        <a:pt x="83478" y="124585"/>
                      </a:lnTo>
                      <a:lnTo>
                        <a:pt x="84765" y="126443"/>
                      </a:lnTo>
                      <a:lnTo>
                        <a:pt x="91587" y="132262"/>
                      </a:lnTo>
                      <a:lnTo>
                        <a:pt x="92084" y="134413"/>
                      </a:lnTo>
                      <a:lnTo>
                        <a:pt x="95434" y="141821"/>
                      </a:lnTo>
                      <a:lnTo>
                        <a:pt x="101668" y="157950"/>
                      </a:lnTo>
                      <a:lnTo>
                        <a:pt x="103396" y="165203"/>
                      </a:lnTo>
                      <a:lnTo>
                        <a:pt x="103200" y="167151"/>
                      </a:lnTo>
                      <a:lnTo>
                        <a:pt x="102451" y="167966"/>
                      </a:lnTo>
                      <a:lnTo>
                        <a:pt x="100617" y="168675"/>
                      </a:lnTo>
                      <a:lnTo>
                        <a:pt x="99085" y="167257"/>
                      </a:lnTo>
                      <a:lnTo>
                        <a:pt x="98579" y="166238"/>
                      </a:lnTo>
                      <a:lnTo>
                        <a:pt x="98742" y="164975"/>
                      </a:lnTo>
                      <a:lnTo>
                        <a:pt x="98140" y="163736"/>
                      </a:lnTo>
                      <a:lnTo>
                        <a:pt x="96640" y="162253"/>
                      </a:lnTo>
                      <a:lnTo>
                        <a:pt x="95784" y="160924"/>
                      </a:lnTo>
                      <a:lnTo>
                        <a:pt x="96036" y="163125"/>
                      </a:lnTo>
                      <a:lnTo>
                        <a:pt x="96036" y="165977"/>
                      </a:lnTo>
                      <a:lnTo>
                        <a:pt x="94146" y="166222"/>
                      </a:lnTo>
                      <a:lnTo>
                        <a:pt x="91709" y="165334"/>
                      </a:lnTo>
                      <a:lnTo>
                        <a:pt x="88669" y="166140"/>
                      </a:lnTo>
                      <a:lnTo>
                        <a:pt x="85083" y="169636"/>
                      </a:lnTo>
                      <a:lnTo>
                        <a:pt x="83356" y="169734"/>
                      </a:lnTo>
                      <a:lnTo>
                        <a:pt x="82043" y="166735"/>
                      </a:lnTo>
                      <a:lnTo>
                        <a:pt x="81383" y="164698"/>
                      </a:lnTo>
                      <a:lnTo>
                        <a:pt x="80308" y="163247"/>
                      </a:lnTo>
                      <a:lnTo>
                        <a:pt x="68898" y="155872"/>
                      </a:lnTo>
                      <a:lnTo>
                        <a:pt x="64685" y="153981"/>
                      </a:lnTo>
                      <a:lnTo>
                        <a:pt x="60243" y="148382"/>
                      </a:lnTo>
                      <a:lnTo>
                        <a:pt x="50260" y="142213"/>
                      </a:lnTo>
                      <a:lnTo>
                        <a:pt x="43919" y="136198"/>
                      </a:lnTo>
                      <a:lnTo>
                        <a:pt x="41222" y="132474"/>
                      </a:lnTo>
                      <a:lnTo>
                        <a:pt x="34742" y="129181"/>
                      </a:lnTo>
                      <a:lnTo>
                        <a:pt x="31931" y="125286"/>
                      </a:lnTo>
                      <a:lnTo>
                        <a:pt x="30554" y="124528"/>
                      </a:lnTo>
                      <a:lnTo>
                        <a:pt x="29168" y="123142"/>
                      </a:lnTo>
                      <a:lnTo>
                        <a:pt x="30627" y="119377"/>
                      </a:lnTo>
                      <a:lnTo>
                        <a:pt x="30040" y="115441"/>
                      </a:lnTo>
                      <a:lnTo>
                        <a:pt x="29282" y="112124"/>
                      </a:lnTo>
                      <a:lnTo>
                        <a:pt x="24702" y="105563"/>
                      </a:lnTo>
                      <a:lnTo>
                        <a:pt x="22461" y="100991"/>
                      </a:lnTo>
                      <a:lnTo>
                        <a:pt x="18166" y="96428"/>
                      </a:lnTo>
                      <a:lnTo>
                        <a:pt x="16438" y="93803"/>
                      </a:lnTo>
                      <a:lnTo>
                        <a:pt x="14792" y="90747"/>
                      </a:lnTo>
                      <a:lnTo>
                        <a:pt x="15827" y="89680"/>
                      </a:lnTo>
                      <a:lnTo>
                        <a:pt x="16773" y="89028"/>
                      </a:lnTo>
                      <a:lnTo>
                        <a:pt x="15901" y="86819"/>
                      </a:lnTo>
                      <a:lnTo>
                        <a:pt x="13439" y="82964"/>
                      </a:lnTo>
                      <a:lnTo>
                        <a:pt x="12282" y="78539"/>
                      </a:lnTo>
                      <a:lnTo>
                        <a:pt x="12282" y="70185"/>
                      </a:lnTo>
                      <a:lnTo>
                        <a:pt x="8777" y="58425"/>
                      </a:lnTo>
                      <a:lnTo>
                        <a:pt x="5794" y="42126"/>
                      </a:lnTo>
                      <a:lnTo>
                        <a:pt x="6308" y="36413"/>
                      </a:lnTo>
                      <a:lnTo>
                        <a:pt x="5550" y="30227"/>
                      </a:lnTo>
                      <a:lnTo>
                        <a:pt x="3562" y="24278"/>
                      </a:lnTo>
                      <a:lnTo>
                        <a:pt x="970" y="20024"/>
                      </a:lnTo>
                      <a:lnTo>
                        <a:pt x="0" y="16487"/>
                      </a:lnTo>
                      <a:lnTo>
                        <a:pt x="473" y="15085"/>
                      </a:lnTo>
                      <a:lnTo>
                        <a:pt x="1035" y="10497"/>
                      </a:lnTo>
                      <a:lnTo>
                        <a:pt x="1427" y="9592"/>
                      </a:lnTo>
                      <a:lnTo>
                        <a:pt x="2412" y="9144"/>
                      </a:lnTo>
                      <a:lnTo>
                        <a:pt x="3521" y="9258"/>
                      </a:lnTo>
                      <a:lnTo>
                        <a:pt x="5615" y="13251"/>
                      </a:lnTo>
                      <a:lnTo>
                        <a:pt x="11010" y="15704"/>
                      </a:lnTo>
                      <a:close/>
                      <a:moveTo>
                        <a:pt x="413892" y="8989"/>
                      </a:moveTo>
                      <a:lnTo>
                        <a:pt x="413403" y="11532"/>
                      </a:lnTo>
                      <a:lnTo>
                        <a:pt x="413998" y="11483"/>
                      </a:lnTo>
                      <a:lnTo>
                        <a:pt x="416508" y="9926"/>
                      </a:lnTo>
                      <a:lnTo>
                        <a:pt x="419108" y="5786"/>
                      </a:lnTo>
                      <a:lnTo>
                        <a:pt x="420583" y="2200"/>
                      </a:lnTo>
                      <a:lnTo>
                        <a:pt x="421847" y="635"/>
                      </a:lnTo>
                      <a:lnTo>
                        <a:pt x="424365" y="1499"/>
                      </a:lnTo>
                      <a:lnTo>
                        <a:pt x="424919" y="2127"/>
                      </a:lnTo>
                      <a:lnTo>
                        <a:pt x="424748" y="4702"/>
                      </a:lnTo>
                      <a:lnTo>
                        <a:pt x="424984" y="6202"/>
                      </a:lnTo>
                      <a:lnTo>
                        <a:pt x="425946" y="9405"/>
                      </a:lnTo>
                      <a:lnTo>
                        <a:pt x="428089" y="11352"/>
                      </a:lnTo>
                      <a:lnTo>
                        <a:pt x="431039" y="12575"/>
                      </a:lnTo>
                      <a:lnTo>
                        <a:pt x="433786" y="14343"/>
                      </a:lnTo>
                      <a:lnTo>
                        <a:pt x="434666" y="15517"/>
                      </a:lnTo>
                      <a:lnTo>
                        <a:pt x="435261" y="16927"/>
                      </a:lnTo>
                      <a:lnTo>
                        <a:pt x="435864" y="19233"/>
                      </a:lnTo>
                      <a:lnTo>
                        <a:pt x="435905" y="21564"/>
                      </a:lnTo>
                      <a:lnTo>
                        <a:pt x="433932" y="23838"/>
                      </a:lnTo>
                      <a:lnTo>
                        <a:pt x="434772" y="27530"/>
                      </a:lnTo>
                      <a:lnTo>
                        <a:pt x="434642" y="29689"/>
                      </a:lnTo>
                      <a:lnTo>
                        <a:pt x="433965" y="31523"/>
                      </a:lnTo>
                      <a:lnTo>
                        <a:pt x="431080" y="33202"/>
                      </a:lnTo>
                      <a:lnTo>
                        <a:pt x="438929" y="31531"/>
                      </a:lnTo>
                      <a:lnTo>
                        <a:pt x="440868" y="30578"/>
                      </a:lnTo>
                      <a:lnTo>
                        <a:pt x="443541" y="28141"/>
                      </a:lnTo>
                      <a:lnTo>
                        <a:pt x="444984" y="30235"/>
                      </a:lnTo>
                      <a:lnTo>
                        <a:pt x="446329" y="33870"/>
                      </a:lnTo>
                      <a:lnTo>
                        <a:pt x="445244" y="34783"/>
                      </a:lnTo>
                      <a:lnTo>
                        <a:pt x="441838" y="36128"/>
                      </a:lnTo>
                      <a:lnTo>
                        <a:pt x="441667" y="36674"/>
                      </a:lnTo>
                      <a:lnTo>
                        <a:pt x="442800" y="38556"/>
                      </a:lnTo>
                      <a:lnTo>
                        <a:pt x="444226" y="38385"/>
                      </a:lnTo>
                      <a:lnTo>
                        <a:pt x="447045" y="37122"/>
                      </a:lnTo>
                      <a:lnTo>
                        <a:pt x="449637" y="35125"/>
                      </a:lnTo>
                      <a:lnTo>
                        <a:pt x="450893" y="35150"/>
                      </a:lnTo>
                      <a:lnTo>
                        <a:pt x="452213" y="35565"/>
                      </a:lnTo>
                      <a:lnTo>
                        <a:pt x="454771" y="36845"/>
                      </a:lnTo>
                      <a:lnTo>
                        <a:pt x="456206" y="37872"/>
                      </a:lnTo>
                      <a:lnTo>
                        <a:pt x="457412" y="39208"/>
                      </a:lnTo>
                      <a:lnTo>
                        <a:pt x="458211" y="41979"/>
                      </a:lnTo>
                      <a:lnTo>
                        <a:pt x="461153" y="42990"/>
                      </a:lnTo>
                      <a:lnTo>
                        <a:pt x="467192" y="46877"/>
                      </a:lnTo>
                      <a:lnTo>
                        <a:pt x="468317" y="47219"/>
                      </a:lnTo>
                      <a:lnTo>
                        <a:pt x="469498" y="47293"/>
                      </a:lnTo>
                      <a:lnTo>
                        <a:pt x="472685" y="46828"/>
                      </a:lnTo>
                      <a:lnTo>
                        <a:pt x="473801" y="47374"/>
                      </a:lnTo>
                      <a:lnTo>
                        <a:pt x="474608" y="48776"/>
                      </a:lnTo>
                      <a:lnTo>
                        <a:pt x="474861" y="50504"/>
                      </a:lnTo>
                      <a:lnTo>
                        <a:pt x="474779" y="52370"/>
                      </a:lnTo>
                      <a:lnTo>
                        <a:pt x="474453" y="53780"/>
                      </a:lnTo>
                      <a:lnTo>
                        <a:pt x="473703" y="54953"/>
                      </a:lnTo>
                      <a:lnTo>
                        <a:pt x="471535" y="56738"/>
                      </a:lnTo>
                      <a:lnTo>
                        <a:pt x="466083" y="59061"/>
                      </a:lnTo>
                      <a:lnTo>
                        <a:pt x="460126" y="60821"/>
                      </a:lnTo>
                      <a:lnTo>
                        <a:pt x="457135" y="60699"/>
                      </a:lnTo>
                      <a:lnTo>
                        <a:pt x="452930" y="59192"/>
                      </a:lnTo>
                      <a:lnTo>
                        <a:pt x="451397" y="59379"/>
                      </a:lnTo>
                      <a:lnTo>
                        <a:pt x="449923" y="60071"/>
                      </a:lnTo>
                      <a:lnTo>
                        <a:pt x="448056" y="64880"/>
                      </a:lnTo>
                      <a:lnTo>
                        <a:pt x="451495" y="69680"/>
                      </a:lnTo>
                      <a:lnTo>
                        <a:pt x="457420" y="74676"/>
                      </a:lnTo>
                      <a:lnTo>
                        <a:pt x="458235" y="75923"/>
                      </a:lnTo>
                      <a:lnTo>
                        <a:pt x="458015" y="77455"/>
                      </a:lnTo>
                      <a:lnTo>
                        <a:pt x="457078" y="78368"/>
                      </a:lnTo>
                      <a:lnTo>
                        <a:pt x="455823" y="78873"/>
                      </a:lnTo>
                      <a:lnTo>
                        <a:pt x="452506" y="79672"/>
                      </a:lnTo>
                      <a:lnTo>
                        <a:pt x="449148" y="80267"/>
                      </a:lnTo>
                      <a:lnTo>
                        <a:pt x="446377" y="81114"/>
                      </a:lnTo>
                      <a:lnTo>
                        <a:pt x="443680" y="82239"/>
                      </a:lnTo>
                      <a:lnTo>
                        <a:pt x="440884" y="81856"/>
                      </a:lnTo>
                      <a:lnTo>
                        <a:pt x="437046" y="79623"/>
                      </a:lnTo>
                      <a:lnTo>
                        <a:pt x="435946" y="79460"/>
                      </a:lnTo>
                      <a:lnTo>
                        <a:pt x="434780" y="80609"/>
                      </a:lnTo>
                      <a:lnTo>
                        <a:pt x="433631" y="83747"/>
                      </a:lnTo>
                      <a:lnTo>
                        <a:pt x="432914" y="84627"/>
                      </a:lnTo>
                      <a:lnTo>
                        <a:pt x="431985" y="84602"/>
                      </a:lnTo>
                      <a:lnTo>
                        <a:pt x="429842" y="83958"/>
                      </a:lnTo>
                      <a:lnTo>
                        <a:pt x="425546" y="80764"/>
                      </a:lnTo>
                      <a:lnTo>
                        <a:pt x="421162" y="79631"/>
                      </a:lnTo>
                      <a:lnTo>
                        <a:pt x="414781" y="79541"/>
                      </a:lnTo>
                      <a:lnTo>
                        <a:pt x="411178" y="79093"/>
                      </a:lnTo>
                      <a:lnTo>
                        <a:pt x="409704" y="79574"/>
                      </a:lnTo>
                      <a:lnTo>
                        <a:pt x="408481" y="79598"/>
                      </a:lnTo>
                      <a:lnTo>
                        <a:pt x="407593" y="78955"/>
                      </a:lnTo>
                      <a:lnTo>
                        <a:pt x="406639" y="78628"/>
                      </a:lnTo>
                      <a:lnTo>
                        <a:pt x="404153" y="80495"/>
                      </a:lnTo>
                      <a:lnTo>
                        <a:pt x="402988" y="79924"/>
                      </a:lnTo>
                      <a:lnTo>
                        <a:pt x="401807" y="79134"/>
                      </a:lnTo>
                      <a:lnTo>
                        <a:pt x="399728" y="78873"/>
                      </a:lnTo>
                      <a:lnTo>
                        <a:pt x="397194" y="79093"/>
                      </a:lnTo>
                      <a:lnTo>
                        <a:pt x="394399" y="81025"/>
                      </a:lnTo>
                      <a:lnTo>
                        <a:pt x="391285" y="79289"/>
                      </a:lnTo>
                      <a:lnTo>
                        <a:pt x="390405" y="79305"/>
                      </a:lnTo>
                      <a:lnTo>
                        <a:pt x="389810" y="79753"/>
                      </a:lnTo>
                      <a:lnTo>
                        <a:pt x="388474" y="82133"/>
                      </a:lnTo>
                      <a:lnTo>
                        <a:pt x="385898" y="83958"/>
                      </a:lnTo>
                      <a:lnTo>
                        <a:pt x="384635" y="87284"/>
                      </a:lnTo>
                      <a:lnTo>
                        <a:pt x="383844" y="90478"/>
                      </a:lnTo>
                      <a:lnTo>
                        <a:pt x="383160" y="91579"/>
                      </a:lnTo>
                      <a:lnTo>
                        <a:pt x="382972" y="97748"/>
                      </a:lnTo>
                      <a:lnTo>
                        <a:pt x="382565" y="100722"/>
                      </a:lnTo>
                      <a:lnTo>
                        <a:pt x="383217" y="104659"/>
                      </a:lnTo>
                      <a:lnTo>
                        <a:pt x="383103" y="106354"/>
                      </a:lnTo>
                      <a:lnTo>
                        <a:pt x="381954" y="108872"/>
                      </a:lnTo>
                      <a:lnTo>
                        <a:pt x="381815" y="109459"/>
                      </a:lnTo>
                      <a:lnTo>
                        <a:pt x="381204" y="113469"/>
                      </a:lnTo>
                      <a:lnTo>
                        <a:pt x="381432" y="114528"/>
                      </a:lnTo>
                      <a:lnTo>
                        <a:pt x="381277" y="115881"/>
                      </a:lnTo>
                      <a:lnTo>
                        <a:pt x="380324" y="118684"/>
                      </a:lnTo>
                      <a:lnTo>
                        <a:pt x="378580" y="119450"/>
                      </a:lnTo>
                      <a:lnTo>
                        <a:pt x="376738" y="119891"/>
                      </a:lnTo>
                      <a:lnTo>
                        <a:pt x="375173" y="118937"/>
                      </a:lnTo>
                      <a:lnTo>
                        <a:pt x="373763" y="120477"/>
                      </a:lnTo>
                      <a:lnTo>
                        <a:pt x="371962" y="122857"/>
                      </a:lnTo>
                      <a:lnTo>
                        <a:pt x="371188" y="124462"/>
                      </a:lnTo>
                      <a:lnTo>
                        <a:pt x="371196" y="125962"/>
                      </a:lnTo>
                      <a:lnTo>
                        <a:pt x="371367" y="126965"/>
                      </a:lnTo>
                      <a:lnTo>
                        <a:pt x="371000" y="128000"/>
                      </a:lnTo>
                      <a:lnTo>
                        <a:pt x="370952" y="129092"/>
                      </a:lnTo>
                      <a:lnTo>
                        <a:pt x="371041" y="130673"/>
                      </a:lnTo>
                      <a:lnTo>
                        <a:pt x="372255" y="131333"/>
                      </a:lnTo>
                      <a:lnTo>
                        <a:pt x="373527" y="132694"/>
                      </a:lnTo>
                      <a:lnTo>
                        <a:pt x="373478" y="133998"/>
                      </a:lnTo>
                      <a:lnTo>
                        <a:pt x="372769" y="134902"/>
                      </a:lnTo>
                      <a:lnTo>
                        <a:pt x="371188" y="136304"/>
                      </a:lnTo>
                      <a:lnTo>
                        <a:pt x="368271" y="139165"/>
                      </a:lnTo>
                      <a:lnTo>
                        <a:pt x="364978" y="141602"/>
                      </a:lnTo>
                      <a:lnTo>
                        <a:pt x="363747" y="142164"/>
                      </a:lnTo>
                      <a:lnTo>
                        <a:pt x="363299" y="143289"/>
                      </a:lnTo>
                      <a:lnTo>
                        <a:pt x="363063" y="144804"/>
                      </a:lnTo>
                      <a:lnTo>
                        <a:pt x="363788" y="148121"/>
                      </a:lnTo>
                      <a:lnTo>
                        <a:pt x="364473" y="149099"/>
                      </a:lnTo>
                      <a:lnTo>
                        <a:pt x="364839" y="150265"/>
                      </a:lnTo>
                      <a:lnTo>
                        <a:pt x="364399" y="151650"/>
                      </a:lnTo>
                      <a:lnTo>
                        <a:pt x="364081" y="152840"/>
                      </a:lnTo>
                      <a:lnTo>
                        <a:pt x="362875" y="153582"/>
                      </a:lnTo>
                      <a:lnTo>
                        <a:pt x="361685" y="154128"/>
                      </a:lnTo>
                      <a:lnTo>
                        <a:pt x="361253" y="155073"/>
                      </a:lnTo>
                      <a:lnTo>
                        <a:pt x="360634" y="159050"/>
                      </a:lnTo>
                      <a:lnTo>
                        <a:pt x="359925" y="161120"/>
                      </a:lnTo>
                      <a:lnTo>
                        <a:pt x="358320" y="164201"/>
                      </a:lnTo>
                      <a:lnTo>
                        <a:pt x="357790" y="165611"/>
                      </a:lnTo>
                      <a:lnTo>
                        <a:pt x="356959" y="166067"/>
                      </a:lnTo>
                      <a:lnTo>
                        <a:pt x="353845" y="164624"/>
                      </a:lnTo>
                      <a:lnTo>
                        <a:pt x="351050" y="165496"/>
                      </a:lnTo>
                      <a:lnTo>
                        <a:pt x="347366" y="166059"/>
                      </a:lnTo>
                      <a:lnTo>
                        <a:pt x="344237" y="165969"/>
                      </a:lnTo>
                      <a:lnTo>
                        <a:pt x="341816" y="166605"/>
                      </a:lnTo>
                      <a:lnTo>
                        <a:pt x="340154" y="168235"/>
                      </a:lnTo>
                      <a:lnTo>
                        <a:pt x="338288" y="170280"/>
                      </a:lnTo>
                      <a:lnTo>
                        <a:pt x="336340" y="171804"/>
                      </a:lnTo>
                      <a:lnTo>
                        <a:pt x="334865" y="172546"/>
                      </a:lnTo>
                      <a:lnTo>
                        <a:pt x="332159" y="170370"/>
                      </a:lnTo>
                      <a:lnTo>
                        <a:pt x="330790" y="170566"/>
                      </a:lnTo>
                      <a:lnTo>
                        <a:pt x="328337" y="169816"/>
                      </a:lnTo>
                      <a:lnTo>
                        <a:pt x="322559" y="167395"/>
                      </a:lnTo>
                      <a:lnTo>
                        <a:pt x="321133" y="166686"/>
                      </a:lnTo>
                      <a:lnTo>
                        <a:pt x="319592" y="166621"/>
                      </a:lnTo>
                      <a:lnTo>
                        <a:pt x="319144" y="165928"/>
                      </a:lnTo>
                      <a:lnTo>
                        <a:pt x="319380" y="164755"/>
                      </a:lnTo>
                      <a:lnTo>
                        <a:pt x="319144" y="163223"/>
                      </a:lnTo>
                      <a:lnTo>
                        <a:pt x="318003" y="162644"/>
                      </a:lnTo>
                      <a:lnTo>
                        <a:pt x="306430" y="162880"/>
                      </a:lnTo>
                      <a:lnTo>
                        <a:pt x="303097" y="164209"/>
                      </a:lnTo>
                      <a:lnTo>
                        <a:pt x="300839" y="165260"/>
                      </a:lnTo>
                      <a:lnTo>
                        <a:pt x="299242" y="166474"/>
                      </a:lnTo>
                      <a:lnTo>
                        <a:pt x="298786" y="169498"/>
                      </a:lnTo>
                      <a:lnTo>
                        <a:pt x="297816" y="172326"/>
                      </a:lnTo>
                      <a:lnTo>
                        <a:pt x="296577" y="175333"/>
                      </a:lnTo>
                      <a:lnTo>
                        <a:pt x="292714" y="176238"/>
                      </a:lnTo>
                      <a:lnTo>
                        <a:pt x="289886" y="179278"/>
                      </a:lnTo>
                      <a:lnTo>
                        <a:pt x="288908" y="179645"/>
                      </a:lnTo>
                      <a:lnTo>
                        <a:pt x="286969" y="179204"/>
                      </a:lnTo>
                      <a:lnTo>
                        <a:pt x="284890" y="178952"/>
                      </a:lnTo>
                      <a:lnTo>
                        <a:pt x="283383" y="179799"/>
                      </a:lnTo>
                      <a:lnTo>
                        <a:pt x="281810" y="179767"/>
                      </a:lnTo>
                      <a:lnTo>
                        <a:pt x="276928" y="178349"/>
                      </a:lnTo>
                      <a:lnTo>
                        <a:pt x="272340" y="178129"/>
                      </a:lnTo>
                      <a:lnTo>
                        <a:pt x="269724" y="178854"/>
                      </a:lnTo>
                      <a:lnTo>
                        <a:pt x="268290" y="179123"/>
                      </a:lnTo>
                      <a:lnTo>
                        <a:pt x="260278" y="183279"/>
                      </a:lnTo>
                      <a:lnTo>
                        <a:pt x="257573" y="183776"/>
                      </a:lnTo>
                      <a:lnTo>
                        <a:pt x="256480" y="183173"/>
                      </a:lnTo>
                      <a:lnTo>
                        <a:pt x="254924" y="181470"/>
                      </a:lnTo>
                      <a:lnTo>
                        <a:pt x="252846" y="179767"/>
                      </a:lnTo>
                      <a:lnTo>
                        <a:pt x="247874" y="173956"/>
                      </a:lnTo>
                      <a:lnTo>
                        <a:pt x="246049" y="172587"/>
                      </a:lnTo>
                      <a:lnTo>
                        <a:pt x="244818" y="171185"/>
                      </a:lnTo>
                      <a:lnTo>
                        <a:pt x="243661" y="169523"/>
                      </a:lnTo>
                      <a:lnTo>
                        <a:pt x="242023" y="167730"/>
                      </a:lnTo>
                      <a:lnTo>
                        <a:pt x="240515" y="166499"/>
                      </a:lnTo>
                      <a:lnTo>
                        <a:pt x="238470" y="163981"/>
                      </a:lnTo>
                      <a:lnTo>
                        <a:pt x="236448" y="161226"/>
                      </a:lnTo>
                      <a:lnTo>
                        <a:pt x="235992" y="156377"/>
                      </a:lnTo>
                      <a:lnTo>
                        <a:pt x="234378" y="155497"/>
                      </a:lnTo>
                      <a:lnTo>
                        <a:pt x="233840" y="154234"/>
                      </a:lnTo>
                      <a:lnTo>
                        <a:pt x="233596" y="152799"/>
                      </a:lnTo>
                      <a:lnTo>
                        <a:pt x="235821" y="148871"/>
                      </a:lnTo>
                      <a:lnTo>
                        <a:pt x="237443" y="153027"/>
                      </a:lnTo>
                      <a:lnTo>
                        <a:pt x="238070" y="153957"/>
                      </a:lnTo>
                      <a:lnTo>
                        <a:pt x="241664" y="156752"/>
                      </a:lnTo>
                      <a:lnTo>
                        <a:pt x="244631" y="158154"/>
                      </a:lnTo>
                      <a:lnTo>
                        <a:pt x="247850" y="158724"/>
                      </a:lnTo>
                      <a:lnTo>
                        <a:pt x="251118" y="158838"/>
                      </a:lnTo>
                      <a:lnTo>
                        <a:pt x="252422" y="158642"/>
                      </a:lnTo>
                      <a:lnTo>
                        <a:pt x="253677" y="158088"/>
                      </a:lnTo>
                      <a:lnTo>
                        <a:pt x="254924" y="158683"/>
                      </a:lnTo>
                      <a:lnTo>
                        <a:pt x="261761" y="163231"/>
                      </a:lnTo>
                      <a:lnTo>
                        <a:pt x="264410" y="164046"/>
                      </a:lnTo>
                      <a:lnTo>
                        <a:pt x="267214" y="163696"/>
                      </a:lnTo>
                      <a:lnTo>
                        <a:pt x="268363" y="164103"/>
                      </a:lnTo>
                      <a:lnTo>
                        <a:pt x="272283" y="167591"/>
                      </a:lnTo>
                      <a:lnTo>
                        <a:pt x="273456" y="168007"/>
                      </a:lnTo>
                      <a:lnTo>
                        <a:pt x="275388" y="167746"/>
                      </a:lnTo>
                      <a:lnTo>
                        <a:pt x="272910" y="166149"/>
                      </a:lnTo>
                      <a:lnTo>
                        <a:pt x="271289" y="165024"/>
                      </a:lnTo>
                      <a:lnTo>
                        <a:pt x="270555" y="162889"/>
                      </a:lnTo>
                      <a:lnTo>
                        <a:pt x="271003" y="160623"/>
                      </a:lnTo>
                      <a:lnTo>
                        <a:pt x="272576" y="159107"/>
                      </a:lnTo>
                      <a:lnTo>
                        <a:pt x="273676" y="157469"/>
                      </a:lnTo>
                      <a:lnTo>
                        <a:pt x="274068" y="152571"/>
                      </a:lnTo>
                      <a:lnTo>
                        <a:pt x="274761" y="150094"/>
                      </a:lnTo>
                      <a:lnTo>
                        <a:pt x="276072" y="147730"/>
                      </a:lnTo>
                      <a:lnTo>
                        <a:pt x="276512" y="145456"/>
                      </a:lnTo>
                      <a:lnTo>
                        <a:pt x="275029" y="143720"/>
                      </a:lnTo>
                      <a:lnTo>
                        <a:pt x="274695" y="140746"/>
                      </a:lnTo>
                      <a:lnTo>
                        <a:pt x="275029" y="138276"/>
                      </a:lnTo>
                      <a:lnTo>
                        <a:pt x="275860" y="136598"/>
                      </a:lnTo>
                      <a:lnTo>
                        <a:pt x="277181" y="137698"/>
                      </a:lnTo>
                      <a:lnTo>
                        <a:pt x="278566" y="138725"/>
                      </a:lnTo>
                      <a:lnTo>
                        <a:pt x="279927" y="138627"/>
                      </a:lnTo>
                      <a:lnTo>
                        <a:pt x="280856" y="138219"/>
                      </a:lnTo>
                      <a:lnTo>
                        <a:pt x="281028" y="136948"/>
                      </a:lnTo>
                      <a:lnTo>
                        <a:pt x="280783" y="134731"/>
                      </a:lnTo>
                      <a:lnTo>
                        <a:pt x="280848" y="130648"/>
                      </a:lnTo>
                      <a:lnTo>
                        <a:pt x="282568" y="127397"/>
                      </a:lnTo>
                      <a:lnTo>
                        <a:pt x="285314" y="125155"/>
                      </a:lnTo>
                      <a:lnTo>
                        <a:pt x="287906" y="124079"/>
                      </a:lnTo>
                      <a:lnTo>
                        <a:pt x="297596" y="122254"/>
                      </a:lnTo>
                      <a:lnTo>
                        <a:pt x="312934" y="117584"/>
                      </a:lnTo>
                      <a:lnTo>
                        <a:pt x="317489" y="115775"/>
                      </a:lnTo>
                      <a:lnTo>
                        <a:pt x="319160" y="114838"/>
                      </a:lnTo>
                      <a:lnTo>
                        <a:pt x="320570" y="113542"/>
                      </a:lnTo>
                      <a:lnTo>
                        <a:pt x="322942" y="109394"/>
                      </a:lnTo>
                      <a:lnTo>
                        <a:pt x="327400" y="102866"/>
                      </a:lnTo>
                      <a:lnTo>
                        <a:pt x="330529" y="97495"/>
                      </a:lnTo>
                      <a:lnTo>
                        <a:pt x="337130" y="89680"/>
                      </a:lnTo>
                      <a:lnTo>
                        <a:pt x="342387" y="82434"/>
                      </a:lnTo>
                      <a:lnTo>
                        <a:pt x="343104" y="81074"/>
                      </a:lnTo>
                      <a:lnTo>
                        <a:pt x="343976" y="77113"/>
                      </a:lnTo>
                      <a:lnTo>
                        <a:pt x="344033" y="75254"/>
                      </a:lnTo>
                      <a:lnTo>
                        <a:pt x="343878" y="73364"/>
                      </a:lnTo>
                      <a:lnTo>
                        <a:pt x="344579" y="72484"/>
                      </a:lnTo>
                      <a:lnTo>
                        <a:pt x="345598" y="71954"/>
                      </a:lnTo>
                      <a:lnTo>
                        <a:pt x="345850" y="71962"/>
                      </a:lnTo>
                      <a:lnTo>
                        <a:pt x="346633" y="72785"/>
                      </a:lnTo>
                      <a:lnTo>
                        <a:pt x="348466" y="73934"/>
                      </a:lnTo>
                      <a:lnTo>
                        <a:pt x="349828" y="75409"/>
                      </a:lnTo>
                      <a:lnTo>
                        <a:pt x="350748" y="77324"/>
                      </a:lnTo>
                      <a:lnTo>
                        <a:pt x="351408" y="79101"/>
                      </a:lnTo>
                      <a:lnTo>
                        <a:pt x="351457" y="80617"/>
                      </a:lnTo>
                      <a:lnTo>
                        <a:pt x="352289" y="81864"/>
                      </a:lnTo>
                      <a:lnTo>
                        <a:pt x="354603" y="82068"/>
                      </a:lnTo>
                      <a:lnTo>
                        <a:pt x="355361" y="83632"/>
                      </a:lnTo>
                      <a:lnTo>
                        <a:pt x="356983" y="86330"/>
                      </a:lnTo>
                      <a:lnTo>
                        <a:pt x="358458" y="88270"/>
                      </a:lnTo>
                      <a:lnTo>
                        <a:pt x="359363" y="89019"/>
                      </a:lnTo>
                      <a:lnTo>
                        <a:pt x="360504" y="88612"/>
                      </a:lnTo>
                      <a:lnTo>
                        <a:pt x="362264" y="86852"/>
                      </a:lnTo>
                      <a:lnTo>
                        <a:pt x="363527" y="84684"/>
                      </a:lnTo>
                      <a:lnTo>
                        <a:pt x="364375" y="81758"/>
                      </a:lnTo>
                      <a:lnTo>
                        <a:pt x="363707" y="81326"/>
                      </a:lnTo>
                      <a:lnTo>
                        <a:pt x="364880" y="79117"/>
                      </a:lnTo>
                      <a:lnTo>
                        <a:pt x="365108" y="77952"/>
                      </a:lnTo>
                      <a:lnTo>
                        <a:pt x="364570" y="76893"/>
                      </a:lnTo>
                      <a:lnTo>
                        <a:pt x="363869" y="75833"/>
                      </a:lnTo>
                      <a:lnTo>
                        <a:pt x="363601" y="73160"/>
                      </a:lnTo>
                      <a:lnTo>
                        <a:pt x="363128" y="69762"/>
                      </a:lnTo>
                      <a:lnTo>
                        <a:pt x="362794" y="68213"/>
                      </a:lnTo>
                      <a:lnTo>
                        <a:pt x="363723" y="67113"/>
                      </a:lnTo>
                      <a:lnTo>
                        <a:pt x="365711" y="65711"/>
                      </a:lnTo>
                      <a:lnTo>
                        <a:pt x="367700" y="64073"/>
                      </a:lnTo>
                      <a:lnTo>
                        <a:pt x="369737" y="62769"/>
                      </a:lnTo>
                      <a:lnTo>
                        <a:pt x="369786" y="65132"/>
                      </a:lnTo>
                      <a:lnTo>
                        <a:pt x="369737" y="69020"/>
                      </a:lnTo>
                      <a:lnTo>
                        <a:pt x="370348" y="72280"/>
                      </a:lnTo>
                      <a:lnTo>
                        <a:pt x="371726" y="78042"/>
                      </a:lnTo>
                      <a:lnTo>
                        <a:pt x="373299" y="78824"/>
                      </a:lnTo>
                      <a:lnTo>
                        <a:pt x="375181" y="79338"/>
                      </a:lnTo>
                      <a:lnTo>
                        <a:pt x="376274" y="79166"/>
                      </a:lnTo>
                      <a:lnTo>
                        <a:pt x="376982" y="78792"/>
                      </a:lnTo>
                      <a:lnTo>
                        <a:pt x="377170" y="78327"/>
                      </a:lnTo>
                      <a:lnTo>
                        <a:pt x="375988" y="76061"/>
                      </a:lnTo>
                      <a:lnTo>
                        <a:pt x="375679" y="70731"/>
                      </a:lnTo>
                      <a:lnTo>
                        <a:pt x="374717" y="67235"/>
                      </a:lnTo>
                      <a:lnTo>
                        <a:pt x="373242" y="63755"/>
                      </a:lnTo>
                      <a:lnTo>
                        <a:pt x="372532" y="62761"/>
                      </a:lnTo>
                      <a:lnTo>
                        <a:pt x="378360" y="61767"/>
                      </a:lnTo>
                      <a:lnTo>
                        <a:pt x="379672" y="60675"/>
                      </a:lnTo>
                      <a:lnTo>
                        <a:pt x="381946" y="58287"/>
                      </a:lnTo>
                      <a:lnTo>
                        <a:pt x="382810" y="56950"/>
                      </a:lnTo>
                      <a:lnTo>
                        <a:pt x="383494" y="53935"/>
                      </a:lnTo>
                      <a:lnTo>
                        <a:pt x="380625" y="52142"/>
                      </a:lnTo>
                      <a:lnTo>
                        <a:pt x="379509" y="49844"/>
                      </a:lnTo>
                      <a:lnTo>
                        <a:pt x="379436" y="47358"/>
                      </a:lnTo>
                      <a:lnTo>
                        <a:pt x="382842" y="42753"/>
                      </a:lnTo>
                      <a:lnTo>
                        <a:pt x="384024" y="41653"/>
                      </a:lnTo>
                      <a:lnTo>
                        <a:pt x="384537" y="43291"/>
                      </a:lnTo>
                      <a:lnTo>
                        <a:pt x="386037" y="43707"/>
                      </a:lnTo>
                      <a:lnTo>
                        <a:pt x="387422" y="43772"/>
                      </a:lnTo>
                      <a:lnTo>
                        <a:pt x="388816" y="43674"/>
                      </a:lnTo>
                      <a:lnTo>
                        <a:pt x="390796" y="41352"/>
                      </a:lnTo>
                      <a:lnTo>
                        <a:pt x="391831" y="38002"/>
                      </a:lnTo>
                      <a:lnTo>
                        <a:pt x="395336" y="33275"/>
                      </a:lnTo>
                      <a:lnTo>
                        <a:pt x="396574" y="29649"/>
                      </a:lnTo>
                      <a:lnTo>
                        <a:pt x="397284" y="25859"/>
                      </a:lnTo>
                      <a:lnTo>
                        <a:pt x="406126" y="14083"/>
                      </a:lnTo>
                      <a:lnTo>
                        <a:pt x="407202" y="12249"/>
                      </a:lnTo>
                      <a:lnTo>
                        <a:pt x="412458" y="391"/>
                      </a:lnTo>
                      <a:lnTo>
                        <a:pt x="413110" y="0"/>
                      </a:lnTo>
                      <a:lnTo>
                        <a:pt x="414520" y="1149"/>
                      </a:lnTo>
                      <a:lnTo>
                        <a:pt x="414944" y="4914"/>
                      </a:lnTo>
                      <a:lnTo>
                        <a:pt x="414748" y="6560"/>
                      </a:lnTo>
                      <a:lnTo>
                        <a:pt x="413892" y="8989"/>
                      </a:lnTo>
                      <a:close/>
                    </a:path>
                  </a:pathLst>
                </a:custGeom>
                <a:solidFill>
                  <a:srgbClr val="D6D6D2"/>
                </a:solidFill>
                <a:ln w="6112" cap="rnd">
                  <a:solidFill>
                    <a:srgbClr val="FFFFFF"/>
                  </a:solidFill>
                  <a:prstDash val="solid"/>
                  <a:round/>
                </a:ln>
              </p:spPr>
              <p:txBody>
                <a:bodyPr rtlCol="0" anchor="ctr"/>
                <a:lstStyle/>
                <a:p>
                  <a:endParaRPr lang="en-US"/>
                </a:p>
              </p:txBody>
            </p:sp>
            <p:sp>
              <p:nvSpPr>
                <p:cNvPr id="674" name="Freeform: Shape 673">
                  <a:extLst>
                    <a:ext uri="{FF2B5EF4-FFF2-40B4-BE49-F238E27FC236}">
                      <a16:creationId xmlns:a16="http://schemas.microsoft.com/office/drawing/2014/main" id="{1389EC53-AE5F-4CAA-99AD-30BE07D597D5}"/>
                    </a:ext>
                  </a:extLst>
                </p:cNvPr>
                <p:cNvSpPr/>
                <p:nvPr/>
              </p:nvSpPr>
              <p:spPr>
                <a:xfrm>
                  <a:off x="6753919" y="4806363"/>
                  <a:ext cx="79940" cy="234875"/>
                </a:xfrm>
                <a:custGeom>
                  <a:avLst/>
                  <a:gdLst>
                    <a:gd name="connsiteX0" fmla="*/ 16389 w 79940"/>
                    <a:gd name="connsiteY0" fmla="*/ 3790 h 234875"/>
                    <a:gd name="connsiteX1" fmla="*/ 18622 w 79940"/>
                    <a:gd name="connsiteY1" fmla="*/ 6471 h 234875"/>
                    <a:gd name="connsiteX2" fmla="*/ 19779 w 79940"/>
                    <a:gd name="connsiteY2" fmla="*/ 6821 h 234875"/>
                    <a:gd name="connsiteX3" fmla="*/ 21263 w 79940"/>
                    <a:gd name="connsiteY3" fmla="*/ 6455 h 234875"/>
                    <a:gd name="connsiteX4" fmla="*/ 25492 w 79940"/>
                    <a:gd name="connsiteY4" fmla="*/ 6169 h 234875"/>
                    <a:gd name="connsiteX5" fmla="*/ 27187 w 79940"/>
                    <a:gd name="connsiteY5" fmla="*/ 6552 h 234875"/>
                    <a:gd name="connsiteX6" fmla="*/ 29372 w 79940"/>
                    <a:gd name="connsiteY6" fmla="*/ 8125 h 234875"/>
                    <a:gd name="connsiteX7" fmla="*/ 30236 w 79940"/>
                    <a:gd name="connsiteY7" fmla="*/ 8345 h 234875"/>
                    <a:gd name="connsiteX8" fmla="*/ 31605 w 79940"/>
                    <a:gd name="connsiteY8" fmla="*/ 8410 h 234875"/>
                    <a:gd name="connsiteX9" fmla="*/ 31841 w 79940"/>
                    <a:gd name="connsiteY9" fmla="*/ 7979 h 234875"/>
                    <a:gd name="connsiteX10" fmla="*/ 31988 w 79940"/>
                    <a:gd name="connsiteY10" fmla="*/ 7058 h 234875"/>
                    <a:gd name="connsiteX11" fmla="*/ 31743 w 79940"/>
                    <a:gd name="connsiteY11" fmla="*/ 5183 h 234875"/>
                    <a:gd name="connsiteX12" fmla="*/ 32061 w 79940"/>
                    <a:gd name="connsiteY12" fmla="*/ 4181 h 234875"/>
                    <a:gd name="connsiteX13" fmla="*/ 32892 w 79940"/>
                    <a:gd name="connsiteY13" fmla="*/ 3081 h 234875"/>
                    <a:gd name="connsiteX14" fmla="*/ 35190 w 79940"/>
                    <a:gd name="connsiteY14" fmla="*/ 4344 h 234875"/>
                    <a:gd name="connsiteX15" fmla="*/ 40953 w 79940"/>
                    <a:gd name="connsiteY15" fmla="*/ 10187 h 234875"/>
                    <a:gd name="connsiteX16" fmla="*/ 41124 w 79940"/>
                    <a:gd name="connsiteY16" fmla="*/ 10945 h 234875"/>
                    <a:gd name="connsiteX17" fmla="*/ 44799 w 79940"/>
                    <a:gd name="connsiteY17" fmla="*/ 16756 h 234875"/>
                    <a:gd name="connsiteX18" fmla="*/ 45989 w 79940"/>
                    <a:gd name="connsiteY18" fmla="*/ 19209 h 234875"/>
                    <a:gd name="connsiteX19" fmla="*/ 45989 w 79940"/>
                    <a:gd name="connsiteY19" fmla="*/ 20496 h 234875"/>
                    <a:gd name="connsiteX20" fmla="*/ 47130 w 79940"/>
                    <a:gd name="connsiteY20" fmla="*/ 25566 h 234875"/>
                    <a:gd name="connsiteX21" fmla="*/ 47374 w 79940"/>
                    <a:gd name="connsiteY21" fmla="*/ 27945 h 234875"/>
                    <a:gd name="connsiteX22" fmla="*/ 47122 w 79940"/>
                    <a:gd name="connsiteY22" fmla="*/ 29755 h 234875"/>
                    <a:gd name="connsiteX23" fmla="*/ 47171 w 79940"/>
                    <a:gd name="connsiteY23" fmla="*/ 31197 h 234875"/>
                    <a:gd name="connsiteX24" fmla="*/ 47611 w 79940"/>
                    <a:gd name="connsiteY24" fmla="*/ 33275 h 234875"/>
                    <a:gd name="connsiteX25" fmla="*/ 47464 w 79940"/>
                    <a:gd name="connsiteY25" fmla="*/ 34139 h 234875"/>
                    <a:gd name="connsiteX26" fmla="*/ 48776 w 79940"/>
                    <a:gd name="connsiteY26" fmla="*/ 37179 h 234875"/>
                    <a:gd name="connsiteX27" fmla="*/ 49404 w 79940"/>
                    <a:gd name="connsiteY27" fmla="*/ 39722 h 234875"/>
                    <a:gd name="connsiteX28" fmla="*/ 49526 w 79940"/>
                    <a:gd name="connsiteY28" fmla="*/ 42224 h 234875"/>
                    <a:gd name="connsiteX29" fmla="*/ 49168 w 79940"/>
                    <a:gd name="connsiteY29" fmla="*/ 44636 h 234875"/>
                    <a:gd name="connsiteX30" fmla="*/ 48018 w 79940"/>
                    <a:gd name="connsiteY30" fmla="*/ 48189 h 234875"/>
                    <a:gd name="connsiteX31" fmla="*/ 47815 w 79940"/>
                    <a:gd name="connsiteY31" fmla="*/ 49624 h 234875"/>
                    <a:gd name="connsiteX32" fmla="*/ 48059 w 79940"/>
                    <a:gd name="connsiteY32" fmla="*/ 50919 h 234875"/>
                    <a:gd name="connsiteX33" fmla="*/ 48817 w 79940"/>
                    <a:gd name="connsiteY33" fmla="*/ 52338 h 234875"/>
                    <a:gd name="connsiteX34" fmla="*/ 50064 w 79940"/>
                    <a:gd name="connsiteY34" fmla="*/ 53862 h 234875"/>
                    <a:gd name="connsiteX35" fmla="*/ 50993 w 79940"/>
                    <a:gd name="connsiteY35" fmla="*/ 55695 h 234875"/>
                    <a:gd name="connsiteX36" fmla="*/ 51637 w 79940"/>
                    <a:gd name="connsiteY36" fmla="*/ 57855 h 234875"/>
                    <a:gd name="connsiteX37" fmla="*/ 52166 w 79940"/>
                    <a:gd name="connsiteY37" fmla="*/ 58825 h 234875"/>
                    <a:gd name="connsiteX38" fmla="*/ 52843 w 79940"/>
                    <a:gd name="connsiteY38" fmla="*/ 58800 h 234875"/>
                    <a:gd name="connsiteX39" fmla="*/ 54074 w 79940"/>
                    <a:gd name="connsiteY39" fmla="*/ 59143 h 234875"/>
                    <a:gd name="connsiteX40" fmla="*/ 55068 w 79940"/>
                    <a:gd name="connsiteY40" fmla="*/ 60398 h 234875"/>
                    <a:gd name="connsiteX41" fmla="*/ 56225 w 79940"/>
                    <a:gd name="connsiteY41" fmla="*/ 62500 h 234875"/>
                    <a:gd name="connsiteX42" fmla="*/ 56608 w 79940"/>
                    <a:gd name="connsiteY42" fmla="*/ 64937 h 234875"/>
                    <a:gd name="connsiteX43" fmla="*/ 56779 w 79940"/>
                    <a:gd name="connsiteY43" fmla="*/ 65980 h 234875"/>
                    <a:gd name="connsiteX44" fmla="*/ 53479 w 79940"/>
                    <a:gd name="connsiteY44" fmla="*/ 65907 h 234875"/>
                    <a:gd name="connsiteX45" fmla="*/ 49330 w 79940"/>
                    <a:gd name="connsiteY45" fmla="*/ 66298 h 234875"/>
                    <a:gd name="connsiteX46" fmla="*/ 48320 w 79940"/>
                    <a:gd name="connsiteY46" fmla="*/ 67251 h 234875"/>
                    <a:gd name="connsiteX47" fmla="*/ 48010 w 79940"/>
                    <a:gd name="connsiteY47" fmla="*/ 69370 h 234875"/>
                    <a:gd name="connsiteX48" fmla="*/ 46714 w 79940"/>
                    <a:gd name="connsiteY48" fmla="*/ 73714 h 234875"/>
                    <a:gd name="connsiteX49" fmla="*/ 45997 w 79940"/>
                    <a:gd name="connsiteY49" fmla="*/ 75320 h 234875"/>
                    <a:gd name="connsiteX50" fmla="*/ 44465 w 79940"/>
                    <a:gd name="connsiteY50" fmla="*/ 78254 h 234875"/>
                    <a:gd name="connsiteX51" fmla="*/ 42305 w 79940"/>
                    <a:gd name="connsiteY51" fmla="*/ 82378 h 234875"/>
                    <a:gd name="connsiteX52" fmla="*/ 41849 w 79940"/>
                    <a:gd name="connsiteY52" fmla="*/ 83730 h 234875"/>
                    <a:gd name="connsiteX53" fmla="*/ 41922 w 79940"/>
                    <a:gd name="connsiteY53" fmla="*/ 85116 h 234875"/>
                    <a:gd name="connsiteX54" fmla="*/ 43202 w 79940"/>
                    <a:gd name="connsiteY54" fmla="*/ 90723 h 234875"/>
                    <a:gd name="connsiteX55" fmla="*/ 44538 w 79940"/>
                    <a:gd name="connsiteY55" fmla="*/ 96623 h 234875"/>
                    <a:gd name="connsiteX56" fmla="*/ 44954 w 79940"/>
                    <a:gd name="connsiteY56" fmla="*/ 98938 h 234875"/>
                    <a:gd name="connsiteX57" fmla="*/ 45899 w 79940"/>
                    <a:gd name="connsiteY57" fmla="*/ 106786 h 234875"/>
                    <a:gd name="connsiteX58" fmla="*/ 46429 w 79940"/>
                    <a:gd name="connsiteY58" fmla="*/ 112336 h 234875"/>
                    <a:gd name="connsiteX59" fmla="*/ 46519 w 79940"/>
                    <a:gd name="connsiteY59" fmla="*/ 115596 h 234875"/>
                    <a:gd name="connsiteX60" fmla="*/ 46959 w 79940"/>
                    <a:gd name="connsiteY60" fmla="*/ 119964 h 234875"/>
                    <a:gd name="connsiteX61" fmla="*/ 48149 w 79940"/>
                    <a:gd name="connsiteY61" fmla="*/ 122319 h 234875"/>
                    <a:gd name="connsiteX62" fmla="*/ 49387 w 79940"/>
                    <a:gd name="connsiteY62" fmla="*/ 123803 h 234875"/>
                    <a:gd name="connsiteX63" fmla="*/ 54074 w 79940"/>
                    <a:gd name="connsiteY63" fmla="*/ 124699 h 234875"/>
                    <a:gd name="connsiteX64" fmla="*/ 55459 w 79940"/>
                    <a:gd name="connsiteY64" fmla="*/ 125775 h 234875"/>
                    <a:gd name="connsiteX65" fmla="*/ 58124 w 79940"/>
                    <a:gd name="connsiteY65" fmla="*/ 128562 h 234875"/>
                    <a:gd name="connsiteX66" fmla="*/ 63918 w 79940"/>
                    <a:gd name="connsiteY66" fmla="*/ 136255 h 234875"/>
                    <a:gd name="connsiteX67" fmla="*/ 67105 w 79940"/>
                    <a:gd name="connsiteY67" fmla="*/ 141178 h 234875"/>
                    <a:gd name="connsiteX68" fmla="*/ 69900 w 79940"/>
                    <a:gd name="connsiteY68" fmla="*/ 145489 h 234875"/>
                    <a:gd name="connsiteX69" fmla="*/ 74904 w 79940"/>
                    <a:gd name="connsiteY69" fmla="*/ 153541 h 234875"/>
                    <a:gd name="connsiteX70" fmla="*/ 78791 w 79940"/>
                    <a:gd name="connsiteY70" fmla="*/ 159792 h 234875"/>
                    <a:gd name="connsiteX71" fmla="*/ 79280 w 79940"/>
                    <a:gd name="connsiteY71" fmla="*/ 165660 h 234875"/>
                    <a:gd name="connsiteX72" fmla="*/ 79941 w 79940"/>
                    <a:gd name="connsiteY72" fmla="*/ 166515 h 234875"/>
                    <a:gd name="connsiteX73" fmla="*/ 78629 w 79940"/>
                    <a:gd name="connsiteY73" fmla="*/ 170859 h 234875"/>
                    <a:gd name="connsiteX74" fmla="*/ 77773 w 79940"/>
                    <a:gd name="connsiteY74" fmla="*/ 177901 h 234875"/>
                    <a:gd name="connsiteX75" fmla="*/ 78384 w 79940"/>
                    <a:gd name="connsiteY75" fmla="*/ 182570 h 234875"/>
                    <a:gd name="connsiteX76" fmla="*/ 78123 w 79940"/>
                    <a:gd name="connsiteY76" fmla="*/ 190549 h 234875"/>
                    <a:gd name="connsiteX77" fmla="*/ 77415 w 79940"/>
                    <a:gd name="connsiteY77" fmla="*/ 199033 h 234875"/>
                    <a:gd name="connsiteX78" fmla="*/ 76526 w 79940"/>
                    <a:gd name="connsiteY78" fmla="*/ 202081 h 234875"/>
                    <a:gd name="connsiteX79" fmla="*/ 75377 w 79940"/>
                    <a:gd name="connsiteY79" fmla="*/ 203230 h 234875"/>
                    <a:gd name="connsiteX80" fmla="*/ 72663 w 79940"/>
                    <a:gd name="connsiteY80" fmla="*/ 204151 h 234875"/>
                    <a:gd name="connsiteX81" fmla="*/ 66689 w 79940"/>
                    <a:gd name="connsiteY81" fmla="*/ 205210 h 234875"/>
                    <a:gd name="connsiteX82" fmla="*/ 65793 w 79940"/>
                    <a:gd name="connsiteY82" fmla="*/ 206196 h 234875"/>
                    <a:gd name="connsiteX83" fmla="*/ 65035 w 79940"/>
                    <a:gd name="connsiteY83" fmla="*/ 207851 h 234875"/>
                    <a:gd name="connsiteX84" fmla="*/ 63821 w 79940"/>
                    <a:gd name="connsiteY84" fmla="*/ 211763 h 234875"/>
                    <a:gd name="connsiteX85" fmla="*/ 62394 w 79940"/>
                    <a:gd name="connsiteY85" fmla="*/ 215715 h 234875"/>
                    <a:gd name="connsiteX86" fmla="*/ 61938 w 79940"/>
                    <a:gd name="connsiteY86" fmla="*/ 217410 h 234875"/>
                    <a:gd name="connsiteX87" fmla="*/ 62223 w 79940"/>
                    <a:gd name="connsiteY87" fmla="*/ 217810 h 234875"/>
                    <a:gd name="connsiteX88" fmla="*/ 63495 w 79940"/>
                    <a:gd name="connsiteY88" fmla="*/ 219823 h 234875"/>
                    <a:gd name="connsiteX89" fmla="*/ 64766 w 79940"/>
                    <a:gd name="connsiteY89" fmla="*/ 224990 h 234875"/>
                    <a:gd name="connsiteX90" fmla="*/ 64994 w 79940"/>
                    <a:gd name="connsiteY90" fmla="*/ 233840 h 234875"/>
                    <a:gd name="connsiteX91" fmla="*/ 64554 w 79940"/>
                    <a:gd name="connsiteY91" fmla="*/ 234492 h 234875"/>
                    <a:gd name="connsiteX92" fmla="*/ 62777 w 79940"/>
                    <a:gd name="connsiteY92" fmla="*/ 234875 h 234875"/>
                    <a:gd name="connsiteX93" fmla="*/ 60878 w 79940"/>
                    <a:gd name="connsiteY93" fmla="*/ 234753 h 234875"/>
                    <a:gd name="connsiteX94" fmla="*/ 60096 w 79940"/>
                    <a:gd name="connsiteY94" fmla="*/ 234256 h 234875"/>
                    <a:gd name="connsiteX95" fmla="*/ 59387 w 79940"/>
                    <a:gd name="connsiteY95" fmla="*/ 233270 h 234875"/>
                    <a:gd name="connsiteX96" fmla="*/ 58874 w 79940"/>
                    <a:gd name="connsiteY96" fmla="*/ 231387 h 234875"/>
                    <a:gd name="connsiteX97" fmla="*/ 60121 w 79940"/>
                    <a:gd name="connsiteY97" fmla="*/ 230067 h 234875"/>
                    <a:gd name="connsiteX98" fmla="*/ 60577 w 79940"/>
                    <a:gd name="connsiteY98" fmla="*/ 227760 h 234875"/>
                    <a:gd name="connsiteX99" fmla="*/ 59762 w 79940"/>
                    <a:gd name="connsiteY99" fmla="*/ 225788 h 234875"/>
                    <a:gd name="connsiteX100" fmla="*/ 58165 w 79940"/>
                    <a:gd name="connsiteY100" fmla="*/ 225340 h 234875"/>
                    <a:gd name="connsiteX101" fmla="*/ 56135 w 79940"/>
                    <a:gd name="connsiteY101" fmla="*/ 223531 h 234875"/>
                    <a:gd name="connsiteX102" fmla="*/ 51816 w 79940"/>
                    <a:gd name="connsiteY102" fmla="*/ 217614 h 234875"/>
                    <a:gd name="connsiteX103" fmla="*/ 48190 w 79940"/>
                    <a:gd name="connsiteY103" fmla="*/ 213466 h 234875"/>
                    <a:gd name="connsiteX104" fmla="*/ 46086 w 79940"/>
                    <a:gd name="connsiteY104" fmla="*/ 210043 h 234875"/>
                    <a:gd name="connsiteX105" fmla="*/ 43935 w 79940"/>
                    <a:gd name="connsiteY105" fmla="*/ 208666 h 234875"/>
                    <a:gd name="connsiteX106" fmla="*/ 43316 w 79940"/>
                    <a:gd name="connsiteY106" fmla="*/ 207826 h 234875"/>
                    <a:gd name="connsiteX107" fmla="*/ 42803 w 79940"/>
                    <a:gd name="connsiteY107" fmla="*/ 206359 h 234875"/>
                    <a:gd name="connsiteX108" fmla="*/ 42786 w 79940"/>
                    <a:gd name="connsiteY108" fmla="*/ 204281 h 234875"/>
                    <a:gd name="connsiteX109" fmla="*/ 42982 w 79940"/>
                    <a:gd name="connsiteY109" fmla="*/ 202725 h 234875"/>
                    <a:gd name="connsiteX110" fmla="*/ 42314 w 79940"/>
                    <a:gd name="connsiteY110" fmla="*/ 201005 h 234875"/>
                    <a:gd name="connsiteX111" fmla="*/ 40129 w 79940"/>
                    <a:gd name="connsiteY111" fmla="*/ 198332 h 234875"/>
                    <a:gd name="connsiteX112" fmla="*/ 39143 w 79940"/>
                    <a:gd name="connsiteY112" fmla="*/ 196849 h 234875"/>
                    <a:gd name="connsiteX113" fmla="*/ 39086 w 79940"/>
                    <a:gd name="connsiteY113" fmla="*/ 195080 h 234875"/>
                    <a:gd name="connsiteX114" fmla="*/ 39999 w 79940"/>
                    <a:gd name="connsiteY114" fmla="*/ 193360 h 234875"/>
                    <a:gd name="connsiteX115" fmla="*/ 41865 w 79940"/>
                    <a:gd name="connsiteY115" fmla="*/ 191282 h 234875"/>
                    <a:gd name="connsiteX116" fmla="*/ 43275 w 79940"/>
                    <a:gd name="connsiteY116" fmla="*/ 187053 h 234875"/>
                    <a:gd name="connsiteX117" fmla="*/ 43772 w 79940"/>
                    <a:gd name="connsiteY117" fmla="*/ 184323 h 234875"/>
                    <a:gd name="connsiteX118" fmla="*/ 46396 w 79940"/>
                    <a:gd name="connsiteY118" fmla="*/ 178838 h 234875"/>
                    <a:gd name="connsiteX119" fmla="*/ 46763 w 79940"/>
                    <a:gd name="connsiteY119" fmla="*/ 174070 h 234875"/>
                    <a:gd name="connsiteX120" fmla="*/ 46820 w 79940"/>
                    <a:gd name="connsiteY120" fmla="*/ 170264 h 234875"/>
                    <a:gd name="connsiteX121" fmla="*/ 46657 w 79940"/>
                    <a:gd name="connsiteY121" fmla="*/ 167412 h 234875"/>
                    <a:gd name="connsiteX122" fmla="*/ 45989 w 79940"/>
                    <a:gd name="connsiteY122" fmla="*/ 161568 h 234875"/>
                    <a:gd name="connsiteX123" fmla="*/ 45516 w 79940"/>
                    <a:gd name="connsiteY123" fmla="*/ 157551 h 234875"/>
                    <a:gd name="connsiteX124" fmla="*/ 42281 w 79940"/>
                    <a:gd name="connsiteY124" fmla="*/ 152270 h 234875"/>
                    <a:gd name="connsiteX125" fmla="*/ 41238 w 79940"/>
                    <a:gd name="connsiteY125" fmla="*/ 151772 h 234875"/>
                    <a:gd name="connsiteX126" fmla="*/ 38165 w 79940"/>
                    <a:gd name="connsiteY126" fmla="*/ 152237 h 234875"/>
                    <a:gd name="connsiteX127" fmla="*/ 35508 w 79940"/>
                    <a:gd name="connsiteY127" fmla="*/ 153019 h 234875"/>
                    <a:gd name="connsiteX128" fmla="*/ 34213 w 79940"/>
                    <a:gd name="connsiteY128" fmla="*/ 154111 h 234875"/>
                    <a:gd name="connsiteX129" fmla="*/ 32248 w 79940"/>
                    <a:gd name="connsiteY129" fmla="*/ 154168 h 234875"/>
                    <a:gd name="connsiteX130" fmla="*/ 27074 w 79940"/>
                    <a:gd name="connsiteY130" fmla="*/ 155089 h 234875"/>
                    <a:gd name="connsiteX131" fmla="*/ 25452 w 79940"/>
                    <a:gd name="connsiteY131" fmla="*/ 155481 h 234875"/>
                    <a:gd name="connsiteX132" fmla="*/ 24522 w 79940"/>
                    <a:gd name="connsiteY132" fmla="*/ 156426 h 234875"/>
                    <a:gd name="connsiteX133" fmla="*/ 23977 w 79940"/>
                    <a:gd name="connsiteY133" fmla="*/ 156630 h 234875"/>
                    <a:gd name="connsiteX134" fmla="*/ 20733 w 79940"/>
                    <a:gd name="connsiteY134" fmla="*/ 152555 h 234875"/>
                    <a:gd name="connsiteX135" fmla="*/ 17864 w 79940"/>
                    <a:gd name="connsiteY135" fmla="*/ 148154 h 234875"/>
                    <a:gd name="connsiteX136" fmla="*/ 14238 w 79940"/>
                    <a:gd name="connsiteY136" fmla="*/ 140656 h 234875"/>
                    <a:gd name="connsiteX137" fmla="*/ 13195 w 79940"/>
                    <a:gd name="connsiteY137" fmla="*/ 139760 h 234875"/>
                    <a:gd name="connsiteX138" fmla="*/ 11866 w 79940"/>
                    <a:gd name="connsiteY138" fmla="*/ 137551 h 234875"/>
                    <a:gd name="connsiteX139" fmla="*/ 10766 w 79940"/>
                    <a:gd name="connsiteY139" fmla="*/ 138105 h 234875"/>
                    <a:gd name="connsiteX140" fmla="*/ 9242 w 79940"/>
                    <a:gd name="connsiteY140" fmla="*/ 139646 h 234875"/>
                    <a:gd name="connsiteX141" fmla="*/ 8419 w 79940"/>
                    <a:gd name="connsiteY141" fmla="*/ 140069 h 234875"/>
                    <a:gd name="connsiteX142" fmla="*/ 7995 w 79940"/>
                    <a:gd name="connsiteY142" fmla="*/ 140021 h 234875"/>
                    <a:gd name="connsiteX143" fmla="*/ 7718 w 79940"/>
                    <a:gd name="connsiteY143" fmla="*/ 139629 h 234875"/>
                    <a:gd name="connsiteX144" fmla="*/ 7375 w 79940"/>
                    <a:gd name="connsiteY144" fmla="*/ 138643 h 234875"/>
                    <a:gd name="connsiteX145" fmla="*/ 6202 w 79940"/>
                    <a:gd name="connsiteY145" fmla="*/ 135807 h 234875"/>
                    <a:gd name="connsiteX146" fmla="*/ 4890 w 79940"/>
                    <a:gd name="connsiteY146" fmla="*/ 133794 h 234875"/>
                    <a:gd name="connsiteX147" fmla="*/ 3504 w 79940"/>
                    <a:gd name="connsiteY147" fmla="*/ 133004 h 234875"/>
                    <a:gd name="connsiteX148" fmla="*/ 2355 w 79940"/>
                    <a:gd name="connsiteY148" fmla="*/ 132083 h 234875"/>
                    <a:gd name="connsiteX149" fmla="*/ 2861 w 79940"/>
                    <a:gd name="connsiteY149" fmla="*/ 131186 h 234875"/>
                    <a:gd name="connsiteX150" fmla="*/ 3374 w 79940"/>
                    <a:gd name="connsiteY150" fmla="*/ 130550 h 234875"/>
                    <a:gd name="connsiteX151" fmla="*/ 3154 w 79940"/>
                    <a:gd name="connsiteY151" fmla="*/ 129882 h 234875"/>
                    <a:gd name="connsiteX152" fmla="*/ 2518 w 79940"/>
                    <a:gd name="connsiteY152" fmla="*/ 128912 h 234875"/>
                    <a:gd name="connsiteX153" fmla="*/ 49 w 79940"/>
                    <a:gd name="connsiteY153" fmla="*/ 127511 h 234875"/>
                    <a:gd name="connsiteX154" fmla="*/ 0 w 79940"/>
                    <a:gd name="connsiteY154" fmla="*/ 126908 h 234875"/>
                    <a:gd name="connsiteX155" fmla="*/ 2192 w 79940"/>
                    <a:gd name="connsiteY155" fmla="*/ 125693 h 234875"/>
                    <a:gd name="connsiteX156" fmla="*/ 3562 w 79940"/>
                    <a:gd name="connsiteY156" fmla="*/ 124243 h 234875"/>
                    <a:gd name="connsiteX157" fmla="*/ 4507 w 79940"/>
                    <a:gd name="connsiteY157" fmla="*/ 122857 h 234875"/>
                    <a:gd name="connsiteX158" fmla="*/ 5688 w 79940"/>
                    <a:gd name="connsiteY158" fmla="*/ 119826 h 234875"/>
                    <a:gd name="connsiteX159" fmla="*/ 6658 w 79940"/>
                    <a:gd name="connsiteY159" fmla="*/ 116802 h 234875"/>
                    <a:gd name="connsiteX160" fmla="*/ 7367 w 79940"/>
                    <a:gd name="connsiteY160" fmla="*/ 115816 h 234875"/>
                    <a:gd name="connsiteX161" fmla="*/ 7620 w 79940"/>
                    <a:gd name="connsiteY161" fmla="*/ 113819 h 234875"/>
                    <a:gd name="connsiteX162" fmla="*/ 7457 w 79940"/>
                    <a:gd name="connsiteY162" fmla="*/ 111545 h 234875"/>
                    <a:gd name="connsiteX163" fmla="*/ 7938 w 79940"/>
                    <a:gd name="connsiteY163" fmla="*/ 108677 h 234875"/>
                    <a:gd name="connsiteX164" fmla="*/ 8174 w 79940"/>
                    <a:gd name="connsiteY164" fmla="*/ 105955 h 234875"/>
                    <a:gd name="connsiteX165" fmla="*/ 7441 w 79940"/>
                    <a:gd name="connsiteY165" fmla="*/ 104895 h 234875"/>
                    <a:gd name="connsiteX166" fmla="*/ 6830 w 79940"/>
                    <a:gd name="connsiteY166" fmla="*/ 103061 h 234875"/>
                    <a:gd name="connsiteX167" fmla="*/ 7563 w 79940"/>
                    <a:gd name="connsiteY167" fmla="*/ 99932 h 234875"/>
                    <a:gd name="connsiteX168" fmla="*/ 8712 w 79940"/>
                    <a:gd name="connsiteY168" fmla="*/ 97780 h 234875"/>
                    <a:gd name="connsiteX169" fmla="*/ 14213 w 79940"/>
                    <a:gd name="connsiteY169" fmla="*/ 95547 h 234875"/>
                    <a:gd name="connsiteX170" fmla="*/ 18051 w 79940"/>
                    <a:gd name="connsiteY170" fmla="*/ 93518 h 234875"/>
                    <a:gd name="connsiteX171" fmla="*/ 18867 w 79940"/>
                    <a:gd name="connsiteY171" fmla="*/ 92638 h 234875"/>
                    <a:gd name="connsiteX172" fmla="*/ 20162 w 79940"/>
                    <a:gd name="connsiteY172" fmla="*/ 90910 h 234875"/>
                    <a:gd name="connsiteX173" fmla="*/ 20896 w 79940"/>
                    <a:gd name="connsiteY173" fmla="*/ 89223 h 234875"/>
                    <a:gd name="connsiteX174" fmla="*/ 20374 w 79940"/>
                    <a:gd name="connsiteY174" fmla="*/ 88718 h 234875"/>
                    <a:gd name="connsiteX175" fmla="*/ 17375 w 79940"/>
                    <a:gd name="connsiteY175" fmla="*/ 88685 h 234875"/>
                    <a:gd name="connsiteX176" fmla="*/ 16617 w 79940"/>
                    <a:gd name="connsiteY176" fmla="*/ 88025 h 234875"/>
                    <a:gd name="connsiteX177" fmla="*/ 14441 w 79940"/>
                    <a:gd name="connsiteY177" fmla="*/ 82100 h 234875"/>
                    <a:gd name="connsiteX178" fmla="*/ 15647 w 79940"/>
                    <a:gd name="connsiteY178" fmla="*/ 75303 h 234875"/>
                    <a:gd name="connsiteX179" fmla="*/ 15753 w 79940"/>
                    <a:gd name="connsiteY179" fmla="*/ 72647 h 234875"/>
                    <a:gd name="connsiteX180" fmla="*/ 15721 w 79940"/>
                    <a:gd name="connsiteY180" fmla="*/ 69338 h 234875"/>
                    <a:gd name="connsiteX181" fmla="*/ 15329 w 79940"/>
                    <a:gd name="connsiteY181" fmla="*/ 66926 h 234875"/>
                    <a:gd name="connsiteX182" fmla="*/ 14392 w 79940"/>
                    <a:gd name="connsiteY182" fmla="*/ 65923 h 234875"/>
                    <a:gd name="connsiteX183" fmla="*/ 13797 w 79940"/>
                    <a:gd name="connsiteY183" fmla="*/ 64627 h 234875"/>
                    <a:gd name="connsiteX184" fmla="*/ 13961 w 79940"/>
                    <a:gd name="connsiteY184" fmla="*/ 61074 h 234875"/>
                    <a:gd name="connsiteX185" fmla="*/ 14841 w 79940"/>
                    <a:gd name="connsiteY185" fmla="*/ 60658 h 234875"/>
                    <a:gd name="connsiteX186" fmla="*/ 16756 w 79940"/>
                    <a:gd name="connsiteY186" fmla="*/ 55972 h 234875"/>
                    <a:gd name="connsiteX187" fmla="*/ 17603 w 79940"/>
                    <a:gd name="connsiteY187" fmla="*/ 53218 h 234875"/>
                    <a:gd name="connsiteX188" fmla="*/ 16584 w 79940"/>
                    <a:gd name="connsiteY188" fmla="*/ 51025 h 234875"/>
                    <a:gd name="connsiteX189" fmla="*/ 15452 w 79940"/>
                    <a:gd name="connsiteY189" fmla="*/ 47880 h 234875"/>
                    <a:gd name="connsiteX190" fmla="*/ 14955 w 79940"/>
                    <a:gd name="connsiteY190" fmla="*/ 45875 h 234875"/>
                    <a:gd name="connsiteX191" fmla="*/ 14661 w 79940"/>
                    <a:gd name="connsiteY191" fmla="*/ 45223 h 234875"/>
                    <a:gd name="connsiteX192" fmla="*/ 15452 w 79940"/>
                    <a:gd name="connsiteY192" fmla="*/ 43984 h 234875"/>
                    <a:gd name="connsiteX193" fmla="*/ 16740 w 79940"/>
                    <a:gd name="connsiteY193" fmla="*/ 42794 h 234875"/>
                    <a:gd name="connsiteX194" fmla="*/ 18190 w 79940"/>
                    <a:gd name="connsiteY194" fmla="*/ 42460 h 234875"/>
                    <a:gd name="connsiteX195" fmla="*/ 19714 w 79940"/>
                    <a:gd name="connsiteY195" fmla="*/ 41906 h 234875"/>
                    <a:gd name="connsiteX196" fmla="*/ 24539 w 79940"/>
                    <a:gd name="connsiteY196" fmla="*/ 36079 h 234875"/>
                    <a:gd name="connsiteX197" fmla="*/ 24604 w 79940"/>
                    <a:gd name="connsiteY197" fmla="*/ 34954 h 234875"/>
                    <a:gd name="connsiteX198" fmla="*/ 23724 w 79940"/>
                    <a:gd name="connsiteY198" fmla="*/ 32998 h 234875"/>
                    <a:gd name="connsiteX199" fmla="*/ 21923 w 79940"/>
                    <a:gd name="connsiteY199" fmla="*/ 30064 h 234875"/>
                    <a:gd name="connsiteX200" fmla="*/ 21523 w 79940"/>
                    <a:gd name="connsiteY200" fmla="*/ 28874 h 234875"/>
                    <a:gd name="connsiteX201" fmla="*/ 21311 w 79940"/>
                    <a:gd name="connsiteY201" fmla="*/ 25338 h 234875"/>
                    <a:gd name="connsiteX202" fmla="*/ 20594 w 79940"/>
                    <a:gd name="connsiteY202" fmla="*/ 24286 h 234875"/>
                    <a:gd name="connsiteX203" fmla="*/ 17954 w 79940"/>
                    <a:gd name="connsiteY203" fmla="*/ 21906 h 234875"/>
                    <a:gd name="connsiteX204" fmla="*/ 15924 w 79940"/>
                    <a:gd name="connsiteY204" fmla="*/ 19404 h 234875"/>
                    <a:gd name="connsiteX205" fmla="*/ 16552 w 79940"/>
                    <a:gd name="connsiteY205" fmla="*/ 16862 h 234875"/>
                    <a:gd name="connsiteX206" fmla="*/ 16902 w 79940"/>
                    <a:gd name="connsiteY206" fmla="*/ 14091 h 234875"/>
                    <a:gd name="connsiteX207" fmla="*/ 15892 w 79940"/>
                    <a:gd name="connsiteY207" fmla="*/ 12575 h 234875"/>
                    <a:gd name="connsiteX208" fmla="*/ 14400 w 79940"/>
                    <a:gd name="connsiteY208" fmla="*/ 11002 h 234875"/>
                    <a:gd name="connsiteX209" fmla="*/ 13472 w 79940"/>
                    <a:gd name="connsiteY209" fmla="*/ 8696 h 234875"/>
                    <a:gd name="connsiteX210" fmla="*/ 13048 w 79940"/>
                    <a:gd name="connsiteY210" fmla="*/ 6984 h 234875"/>
                    <a:gd name="connsiteX211" fmla="*/ 11858 w 79940"/>
                    <a:gd name="connsiteY211" fmla="*/ 6300 h 234875"/>
                    <a:gd name="connsiteX212" fmla="*/ 10782 w 79940"/>
                    <a:gd name="connsiteY212" fmla="*/ 6267 h 234875"/>
                    <a:gd name="connsiteX213" fmla="*/ 9983 w 79940"/>
                    <a:gd name="connsiteY213" fmla="*/ 7351 h 234875"/>
                    <a:gd name="connsiteX214" fmla="*/ 9128 w 79940"/>
                    <a:gd name="connsiteY214" fmla="*/ 7245 h 234875"/>
                    <a:gd name="connsiteX215" fmla="*/ 8085 w 79940"/>
                    <a:gd name="connsiteY215" fmla="*/ 6878 h 234875"/>
                    <a:gd name="connsiteX216" fmla="*/ 7742 w 79940"/>
                    <a:gd name="connsiteY216" fmla="*/ 5387 h 234875"/>
                    <a:gd name="connsiteX217" fmla="*/ 7685 w 79940"/>
                    <a:gd name="connsiteY217" fmla="*/ 3790 h 234875"/>
                    <a:gd name="connsiteX218" fmla="*/ 6968 w 79940"/>
                    <a:gd name="connsiteY218" fmla="*/ 2698 h 234875"/>
                    <a:gd name="connsiteX219" fmla="*/ 6291 w 79940"/>
                    <a:gd name="connsiteY219" fmla="*/ 1173 h 234875"/>
                    <a:gd name="connsiteX220" fmla="*/ 6194 w 79940"/>
                    <a:gd name="connsiteY220" fmla="*/ 375 h 234875"/>
                    <a:gd name="connsiteX221" fmla="*/ 6634 w 79940"/>
                    <a:gd name="connsiteY221" fmla="*/ 139 h 234875"/>
                    <a:gd name="connsiteX222" fmla="*/ 7538 w 79940"/>
                    <a:gd name="connsiteY222" fmla="*/ 0 h 234875"/>
                    <a:gd name="connsiteX223" fmla="*/ 11418 w 79940"/>
                    <a:gd name="connsiteY223" fmla="*/ 3040 h 234875"/>
                    <a:gd name="connsiteX224" fmla="*/ 13773 w 79940"/>
                    <a:gd name="connsiteY224" fmla="*/ 3186 h 234875"/>
                    <a:gd name="connsiteX225" fmla="*/ 16389 w 79940"/>
                    <a:gd name="connsiteY225" fmla="*/ 3790 h 23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Lst>
                  <a:rect l="l" t="t" r="r" b="b"/>
                  <a:pathLst>
                    <a:path w="79940" h="234875">
                      <a:moveTo>
                        <a:pt x="16389" y="3790"/>
                      </a:moveTo>
                      <a:lnTo>
                        <a:pt x="18622" y="6471"/>
                      </a:lnTo>
                      <a:lnTo>
                        <a:pt x="19779" y="6821"/>
                      </a:lnTo>
                      <a:lnTo>
                        <a:pt x="21263" y="6455"/>
                      </a:lnTo>
                      <a:lnTo>
                        <a:pt x="25492" y="6169"/>
                      </a:lnTo>
                      <a:lnTo>
                        <a:pt x="27187" y="6552"/>
                      </a:lnTo>
                      <a:lnTo>
                        <a:pt x="29372" y="8125"/>
                      </a:lnTo>
                      <a:lnTo>
                        <a:pt x="30236" y="8345"/>
                      </a:lnTo>
                      <a:lnTo>
                        <a:pt x="31605" y="8410"/>
                      </a:lnTo>
                      <a:lnTo>
                        <a:pt x="31841" y="7979"/>
                      </a:lnTo>
                      <a:lnTo>
                        <a:pt x="31988" y="7058"/>
                      </a:lnTo>
                      <a:lnTo>
                        <a:pt x="31743" y="5183"/>
                      </a:lnTo>
                      <a:lnTo>
                        <a:pt x="32061" y="4181"/>
                      </a:lnTo>
                      <a:lnTo>
                        <a:pt x="32892" y="3081"/>
                      </a:lnTo>
                      <a:lnTo>
                        <a:pt x="35190" y="4344"/>
                      </a:lnTo>
                      <a:lnTo>
                        <a:pt x="40953" y="10187"/>
                      </a:lnTo>
                      <a:lnTo>
                        <a:pt x="41124" y="10945"/>
                      </a:lnTo>
                      <a:lnTo>
                        <a:pt x="44799" y="16756"/>
                      </a:lnTo>
                      <a:lnTo>
                        <a:pt x="45989" y="19209"/>
                      </a:lnTo>
                      <a:lnTo>
                        <a:pt x="45989" y="20496"/>
                      </a:lnTo>
                      <a:lnTo>
                        <a:pt x="47130" y="25566"/>
                      </a:lnTo>
                      <a:lnTo>
                        <a:pt x="47374" y="27945"/>
                      </a:lnTo>
                      <a:lnTo>
                        <a:pt x="47122" y="29755"/>
                      </a:lnTo>
                      <a:lnTo>
                        <a:pt x="47171" y="31197"/>
                      </a:lnTo>
                      <a:lnTo>
                        <a:pt x="47611" y="33275"/>
                      </a:lnTo>
                      <a:lnTo>
                        <a:pt x="47464" y="34139"/>
                      </a:lnTo>
                      <a:lnTo>
                        <a:pt x="48776" y="37179"/>
                      </a:lnTo>
                      <a:lnTo>
                        <a:pt x="49404" y="39722"/>
                      </a:lnTo>
                      <a:lnTo>
                        <a:pt x="49526" y="42224"/>
                      </a:lnTo>
                      <a:lnTo>
                        <a:pt x="49168" y="44636"/>
                      </a:lnTo>
                      <a:lnTo>
                        <a:pt x="48018" y="48189"/>
                      </a:lnTo>
                      <a:lnTo>
                        <a:pt x="47815" y="49624"/>
                      </a:lnTo>
                      <a:lnTo>
                        <a:pt x="48059" y="50919"/>
                      </a:lnTo>
                      <a:lnTo>
                        <a:pt x="48817" y="52338"/>
                      </a:lnTo>
                      <a:lnTo>
                        <a:pt x="50064" y="53862"/>
                      </a:lnTo>
                      <a:lnTo>
                        <a:pt x="50993" y="55695"/>
                      </a:lnTo>
                      <a:lnTo>
                        <a:pt x="51637" y="57855"/>
                      </a:lnTo>
                      <a:lnTo>
                        <a:pt x="52166" y="58825"/>
                      </a:lnTo>
                      <a:lnTo>
                        <a:pt x="52843" y="58800"/>
                      </a:lnTo>
                      <a:lnTo>
                        <a:pt x="54074" y="59143"/>
                      </a:lnTo>
                      <a:lnTo>
                        <a:pt x="55068" y="60398"/>
                      </a:lnTo>
                      <a:lnTo>
                        <a:pt x="56225" y="62500"/>
                      </a:lnTo>
                      <a:lnTo>
                        <a:pt x="56608" y="64937"/>
                      </a:lnTo>
                      <a:lnTo>
                        <a:pt x="56779" y="65980"/>
                      </a:lnTo>
                      <a:lnTo>
                        <a:pt x="53479" y="65907"/>
                      </a:lnTo>
                      <a:lnTo>
                        <a:pt x="49330" y="66298"/>
                      </a:lnTo>
                      <a:lnTo>
                        <a:pt x="48320" y="67251"/>
                      </a:lnTo>
                      <a:lnTo>
                        <a:pt x="48010" y="69370"/>
                      </a:lnTo>
                      <a:lnTo>
                        <a:pt x="46714" y="73714"/>
                      </a:lnTo>
                      <a:lnTo>
                        <a:pt x="45997" y="75320"/>
                      </a:lnTo>
                      <a:lnTo>
                        <a:pt x="44465" y="78254"/>
                      </a:lnTo>
                      <a:lnTo>
                        <a:pt x="42305" y="82378"/>
                      </a:lnTo>
                      <a:lnTo>
                        <a:pt x="41849" y="83730"/>
                      </a:lnTo>
                      <a:lnTo>
                        <a:pt x="41922" y="85116"/>
                      </a:lnTo>
                      <a:lnTo>
                        <a:pt x="43202" y="90723"/>
                      </a:lnTo>
                      <a:lnTo>
                        <a:pt x="44538" y="96623"/>
                      </a:lnTo>
                      <a:lnTo>
                        <a:pt x="44954" y="98938"/>
                      </a:lnTo>
                      <a:lnTo>
                        <a:pt x="45899" y="106786"/>
                      </a:lnTo>
                      <a:lnTo>
                        <a:pt x="46429" y="112336"/>
                      </a:lnTo>
                      <a:lnTo>
                        <a:pt x="46519" y="115596"/>
                      </a:lnTo>
                      <a:lnTo>
                        <a:pt x="46959" y="119964"/>
                      </a:lnTo>
                      <a:lnTo>
                        <a:pt x="48149" y="122319"/>
                      </a:lnTo>
                      <a:lnTo>
                        <a:pt x="49387" y="123803"/>
                      </a:lnTo>
                      <a:lnTo>
                        <a:pt x="54074" y="124699"/>
                      </a:lnTo>
                      <a:lnTo>
                        <a:pt x="55459" y="125775"/>
                      </a:lnTo>
                      <a:lnTo>
                        <a:pt x="58124" y="128562"/>
                      </a:lnTo>
                      <a:lnTo>
                        <a:pt x="63918" y="136255"/>
                      </a:lnTo>
                      <a:lnTo>
                        <a:pt x="67105" y="141178"/>
                      </a:lnTo>
                      <a:lnTo>
                        <a:pt x="69900" y="145489"/>
                      </a:lnTo>
                      <a:lnTo>
                        <a:pt x="74904" y="153541"/>
                      </a:lnTo>
                      <a:lnTo>
                        <a:pt x="78791" y="159792"/>
                      </a:lnTo>
                      <a:lnTo>
                        <a:pt x="79280" y="165660"/>
                      </a:lnTo>
                      <a:lnTo>
                        <a:pt x="79941" y="166515"/>
                      </a:lnTo>
                      <a:lnTo>
                        <a:pt x="78629" y="170859"/>
                      </a:lnTo>
                      <a:lnTo>
                        <a:pt x="77773" y="177901"/>
                      </a:lnTo>
                      <a:lnTo>
                        <a:pt x="78384" y="182570"/>
                      </a:lnTo>
                      <a:lnTo>
                        <a:pt x="78123" y="190549"/>
                      </a:lnTo>
                      <a:lnTo>
                        <a:pt x="77415" y="199033"/>
                      </a:lnTo>
                      <a:lnTo>
                        <a:pt x="76526" y="202081"/>
                      </a:lnTo>
                      <a:lnTo>
                        <a:pt x="75377" y="203230"/>
                      </a:lnTo>
                      <a:lnTo>
                        <a:pt x="72663" y="204151"/>
                      </a:lnTo>
                      <a:lnTo>
                        <a:pt x="66689" y="205210"/>
                      </a:lnTo>
                      <a:lnTo>
                        <a:pt x="65793" y="206196"/>
                      </a:lnTo>
                      <a:lnTo>
                        <a:pt x="65035" y="207851"/>
                      </a:lnTo>
                      <a:lnTo>
                        <a:pt x="63821" y="211763"/>
                      </a:lnTo>
                      <a:lnTo>
                        <a:pt x="62394" y="215715"/>
                      </a:lnTo>
                      <a:lnTo>
                        <a:pt x="61938" y="217410"/>
                      </a:lnTo>
                      <a:lnTo>
                        <a:pt x="62223" y="217810"/>
                      </a:lnTo>
                      <a:lnTo>
                        <a:pt x="63495" y="219823"/>
                      </a:lnTo>
                      <a:lnTo>
                        <a:pt x="64766" y="224990"/>
                      </a:lnTo>
                      <a:lnTo>
                        <a:pt x="64994" y="233840"/>
                      </a:lnTo>
                      <a:lnTo>
                        <a:pt x="64554" y="234492"/>
                      </a:lnTo>
                      <a:lnTo>
                        <a:pt x="62777" y="234875"/>
                      </a:lnTo>
                      <a:lnTo>
                        <a:pt x="60878" y="234753"/>
                      </a:lnTo>
                      <a:lnTo>
                        <a:pt x="60096" y="234256"/>
                      </a:lnTo>
                      <a:lnTo>
                        <a:pt x="59387" y="233270"/>
                      </a:lnTo>
                      <a:lnTo>
                        <a:pt x="58874" y="231387"/>
                      </a:lnTo>
                      <a:lnTo>
                        <a:pt x="60121" y="230067"/>
                      </a:lnTo>
                      <a:lnTo>
                        <a:pt x="60577" y="227760"/>
                      </a:lnTo>
                      <a:lnTo>
                        <a:pt x="59762" y="225788"/>
                      </a:lnTo>
                      <a:lnTo>
                        <a:pt x="58165" y="225340"/>
                      </a:lnTo>
                      <a:lnTo>
                        <a:pt x="56135" y="223531"/>
                      </a:lnTo>
                      <a:lnTo>
                        <a:pt x="51816" y="217614"/>
                      </a:lnTo>
                      <a:lnTo>
                        <a:pt x="48190" y="213466"/>
                      </a:lnTo>
                      <a:lnTo>
                        <a:pt x="46086" y="210043"/>
                      </a:lnTo>
                      <a:lnTo>
                        <a:pt x="43935" y="208666"/>
                      </a:lnTo>
                      <a:lnTo>
                        <a:pt x="43316" y="207826"/>
                      </a:lnTo>
                      <a:lnTo>
                        <a:pt x="42803" y="206359"/>
                      </a:lnTo>
                      <a:lnTo>
                        <a:pt x="42786" y="204281"/>
                      </a:lnTo>
                      <a:lnTo>
                        <a:pt x="42982" y="202725"/>
                      </a:lnTo>
                      <a:lnTo>
                        <a:pt x="42314" y="201005"/>
                      </a:lnTo>
                      <a:lnTo>
                        <a:pt x="40129" y="198332"/>
                      </a:lnTo>
                      <a:lnTo>
                        <a:pt x="39143" y="196849"/>
                      </a:lnTo>
                      <a:lnTo>
                        <a:pt x="39086" y="195080"/>
                      </a:lnTo>
                      <a:lnTo>
                        <a:pt x="39999" y="193360"/>
                      </a:lnTo>
                      <a:lnTo>
                        <a:pt x="41865" y="191282"/>
                      </a:lnTo>
                      <a:lnTo>
                        <a:pt x="43275" y="187053"/>
                      </a:lnTo>
                      <a:lnTo>
                        <a:pt x="43772" y="184323"/>
                      </a:lnTo>
                      <a:lnTo>
                        <a:pt x="46396" y="178838"/>
                      </a:lnTo>
                      <a:lnTo>
                        <a:pt x="46763" y="174070"/>
                      </a:lnTo>
                      <a:lnTo>
                        <a:pt x="46820" y="170264"/>
                      </a:lnTo>
                      <a:lnTo>
                        <a:pt x="46657" y="167412"/>
                      </a:lnTo>
                      <a:lnTo>
                        <a:pt x="45989" y="161568"/>
                      </a:lnTo>
                      <a:lnTo>
                        <a:pt x="45516" y="157551"/>
                      </a:lnTo>
                      <a:lnTo>
                        <a:pt x="42281" y="152270"/>
                      </a:lnTo>
                      <a:lnTo>
                        <a:pt x="41238" y="151772"/>
                      </a:lnTo>
                      <a:lnTo>
                        <a:pt x="38165" y="152237"/>
                      </a:lnTo>
                      <a:lnTo>
                        <a:pt x="35508" y="153019"/>
                      </a:lnTo>
                      <a:lnTo>
                        <a:pt x="34213" y="154111"/>
                      </a:lnTo>
                      <a:lnTo>
                        <a:pt x="32248" y="154168"/>
                      </a:lnTo>
                      <a:lnTo>
                        <a:pt x="27074" y="155089"/>
                      </a:lnTo>
                      <a:lnTo>
                        <a:pt x="25452" y="155481"/>
                      </a:lnTo>
                      <a:lnTo>
                        <a:pt x="24522" y="156426"/>
                      </a:lnTo>
                      <a:lnTo>
                        <a:pt x="23977" y="156630"/>
                      </a:lnTo>
                      <a:lnTo>
                        <a:pt x="20733" y="152555"/>
                      </a:lnTo>
                      <a:lnTo>
                        <a:pt x="17864" y="148154"/>
                      </a:lnTo>
                      <a:lnTo>
                        <a:pt x="14238" y="140656"/>
                      </a:lnTo>
                      <a:lnTo>
                        <a:pt x="13195" y="139760"/>
                      </a:lnTo>
                      <a:lnTo>
                        <a:pt x="11866" y="137551"/>
                      </a:lnTo>
                      <a:lnTo>
                        <a:pt x="10766" y="138105"/>
                      </a:lnTo>
                      <a:lnTo>
                        <a:pt x="9242" y="139646"/>
                      </a:lnTo>
                      <a:lnTo>
                        <a:pt x="8419" y="140069"/>
                      </a:lnTo>
                      <a:lnTo>
                        <a:pt x="7995" y="140021"/>
                      </a:lnTo>
                      <a:lnTo>
                        <a:pt x="7718" y="139629"/>
                      </a:lnTo>
                      <a:lnTo>
                        <a:pt x="7375" y="138643"/>
                      </a:lnTo>
                      <a:lnTo>
                        <a:pt x="6202" y="135807"/>
                      </a:lnTo>
                      <a:lnTo>
                        <a:pt x="4890" y="133794"/>
                      </a:lnTo>
                      <a:lnTo>
                        <a:pt x="3504" y="133004"/>
                      </a:lnTo>
                      <a:lnTo>
                        <a:pt x="2355" y="132083"/>
                      </a:lnTo>
                      <a:lnTo>
                        <a:pt x="2861" y="131186"/>
                      </a:lnTo>
                      <a:lnTo>
                        <a:pt x="3374" y="130550"/>
                      </a:lnTo>
                      <a:lnTo>
                        <a:pt x="3154" y="129882"/>
                      </a:lnTo>
                      <a:lnTo>
                        <a:pt x="2518" y="128912"/>
                      </a:lnTo>
                      <a:lnTo>
                        <a:pt x="49" y="127511"/>
                      </a:lnTo>
                      <a:lnTo>
                        <a:pt x="0" y="126908"/>
                      </a:lnTo>
                      <a:lnTo>
                        <a:pt x="2192" y="125693"/>
                      </a:lnTo>
                      <a:lnTo>
                        <a:pt x="3562" y="124243"/>
                      </a:lnTo>
                      <a:lnTo>
                        <a:pt x="4507" y="122857"/>
                      </a:lnTo>
                      <a:lnTo>
                        <a:pt x="5688" y="119826"/>
                      </a:lnTo>
                      <a:lnTo>
                        <a:pt x="6658" y="116802"/>
                      </a:lnTo>
                      <a:lnTo>
                        <a:pt x="7367" y="115816"/>
                      </a:lnTo>
                      <a:lnTo>
                        <a:pt x="7620" y="113819"/>
                      </a:lnTo>
                      <a:lnTo>
                        <a:pt x="7457" y="111545"/>
                      </a:lnTo>
                      <a:lnTo>
                        <a:pt x="7938" y="108677"/>
                      </a:lnTo>
                      <a:lnTo>
                        <a:pt x="8174" y="105955"/>
                      </a:lnTo>
                      <a:lnTo>
                        <a:pt x="7441" y="104895"/>
                      </a:lnTo>
                      <a:lnTo>
                        <a:pt x="6830" y="103061"/>
                      </a:lnTo>
                      <a:lnTo>
                        <a:pt x="7563" y="99932"/>
                      </a:lnTo>
                      <a:lnTo>
                        <a:pt x="8712" y="97780"/>
                      </a:lnTo>
                      <a:lnTo>
                        <a:pt x="14213" y="95547"/>
                      </a:lnTo>
                      <a:lnTo>
                        <a:pt x="18051" y="93518"/>
                      </a:lnTo>
                      <a:lnTo>
                        <a:pt x="18867" y="92638"/>
                      </a:lnTo>
                      <a:lnTo>
                        <a:pt x="20162" y="90910"/>
                      </a:lnTo>
                      <a:lnTo>
                        <a:pt x="20896" y="89223"/>
                      </a:lnTo>
                      <a:lnTo>
                        <a:pt x="20374" y="88718"/>
                      </a:lnTo>
                      <a:lnTo>
                        <a:pt x="17375" y="88685"/>
                      </a:lnTo>
                      <a:lnTo>
                        <a:pt x="16617" y="88025"/>
                      </a:lnTo>
                      <a:lnTo>
                        <a:pt x="14441" y="82100"/>
                      </a:lnTo>
                      <a:lnTo>
                        <a:pt x="15647" y="75303"/>
                      </a:lnTo>
                      <a:lnTo>
                        <a:pt x="15753" y="72647"/>
                      </a:lnTo>
                      <a:lnTo>
                        <a:pt x="15721" y="69338"/>
                      </a:lnTo>
                      <a:lnTo>
                        <a:pt x="15329" y="66926"/>
                      </a:lnTo>
                      <a:lnTo>
                        <a:pt x="14392" y="65923"/>
                      </a:lnTo>
                      <a:lnTo>
                        <a:pt x="13797" y="64627"/>
                      </a:lnTo>
                      <a:lnTo>
                        <a:pt x="13961" y="61074"/>
                      </a:lnTo>
                      <a:lnTo>
                        <a:pt x="14841" y="60658"/>
                      </a:lnTo>
                      <a:lnTo>
                        <a:pt x="16756" y="55972"/>
                      </a:lnTo>
                      <a:lnTo>
                        <a:pt x="17603" y="53218"/>
                      </a:lnTo>
                      <a:lnTo>
                        <a:pt x="16584" y="51025"/>
                      </a:lnTo>
                      <a:lnTo>
                        <a:pt x="15452" y="47880"/>
                      </a:lnTo>
                      <a:lnTo>
                        <a:pt x="14955" y="45875"/>
                      </a:lnTo>
                      <a:lnTo>
                        <a:pt x="14661" y="45223"/>
                      </a:lnTo>
                      <a:lnTo>
                        <a:pt x="15452" y="43984"/>
                      </a:lnTo>
                      <a:lnTo>
                        <a:pt x="16740" y="42794"/>
                      </a:lnTo>
                      <a:lnTo>
                        <a:pt x="18190" y="42460"/>
                      </a:lnTo>
                      <a:lnTo>
                        <a:pt x="19714" y="41906"/>
                      </a:lnTo>
                      <a:lnTo>
                        <a:pt x="24539" y="36079"/>
                      </a:lnTo>
                      <a:lnTo>
                        <a:pt x="24604" y="34954"/>
                      </a:lnTo>
                      <a:lnTo>
                        <a:pt x="23724" y="32998"/>
                      </a:lnTo>
                      <a:lnTo>
                        <a:pt x="21923" y="30064"/>
                      </a:lnTo>
                      <a:lnTo>
                        <a:pt x="21523" y="28874"/>
                      </a:lnTo>
                      <a:lnTo>
                        <a:pt x="21311" y="25338"/>
                      </a:lnTo>
                      <a:lnTo>
                        <a:pt x="20594" y="24286"/>
                      </a:lnTo>
                      <a:lnTo>
                        <a:pt x="17954" y="21906"/>
                      </a:lnTo>
                      <a:lnTo>
                        <a:pt x="15924" y="19404"/>
                      </a:lnTo>
                      <a:lnTo>
                        <a:pt x="16552" y="16862"/>
                      </a:lnTo>
                      <a:lnTo>
                        <a:pt x="16902" y="14091"/>
                      </a:lnTo>
                      <a:lnTo>
                        <a:pt x="15892" y="12575"/>
                      </a:lnTo>
                      <a:lnTo>
                        <a:pt x="14400" y="11002"/>
                      </a:lnTo>
                      <a:lnTo>
                        <a:pt x="13472" y="8696"/>
                      </a:lnTo>
                      <a:lnTo>
                        <a:pt x="13048" y="6984"/>
                      </a:lnTo>
                      <a:lnTo>
                        <a:pt x="11858" y="6300"/>
                      </a:lnTo>
                      <a:lnTo>
                        <a:pt x="10782" y="6267"/>
                      </a:lnTo>
                      <a:lnTo>
                        <a:pt x="9983" y="7351"/>
                      </a:lnTo>
                      <a:lnTo>
                        <a:pt x="9128" y="7245"/>
                      </a:lnTo>
                      <a:lnTo>
                        <a:pt x="8085" y="6878"/>
                      </a:lnTo>
                      <a:lnTo>
                        <a:pt x="7742" y="5387"/>
                      </a:lnTo>
                      <a:lnTo>
                        <a:pt x="7685" y="3790"/>
                      </a:lnTo>
                      <a:lnTo>
                        <a:pt x="6968" y="2698"/>
                      </a:lnTo>
                      <a:lnTo>
                        <a:pt x="6291" y="1173"/>
                      </a:lnTo>
                      <a:lnTo>
                        <a:pt x="6194" y="375"/>
                      </a:lnTo>
                      <a:lnTo>
                        <a:pt x="6634" y="139"/>
                      </a:lnTo>
                      <a:lnTo>
                        <a:pt x="7538" y="0"/>
                      </a:lnTo>
                      <a:lnTo>
                        <a:pt x="11418" y="3040"/>
                      </a:lnTo>
                      <a:lnTo>
                        <a:pt x="13773" y="3186"/>
                      </a:lnTo>
                      <a:lnTo>
                        <a:pt x="16389" y="3790"/>
                      </a:lnTo>
                      <a:close/>
                    </a:path>
                  </a:pathLst>
                </a:custGeom>
                <a:solidFill>
                  <a:srgbClr val="D6D6D2"/>
                </a:solidFill>
                <a:ln w="6112" cap="rnd">
                  <a:solidFill>
                    <a:srgbClr val="FFFFFF"/>
                  </a:solidFill>
                  <a:prstDash val="solid"/>
                  <a:round/>
                </a:ln>
              </p:spPr>
              <p:txBody>
                <a:bodyPr rtlCol="0" anchor="ctr"/>
                <a:lstStyle/>
                <a:p>
                  <a:endParaRPr lang="en-US"/>
                </a:p>
              </p:txBody>
            </p:sp>
            <p:sp>
              <p:nvSpPr>
                <p:cNvPr id="675" name="Freeform: Shape 674">
                  <a:extLst>
                    <a:ext uri="{FF2B5EF4-FFF2-40B4-BE49-F238E27FC236}">
                      <a16:creationId xmlns:a16="http://schemas.microsoft.com/office/drawing/2014/main" id="{B19D86B3-425C-43E3-803A-223D52E64DA7}"/>
                    </a:ext>
                  </a:extLst>
                </p:cNvPr>
                <p:cNvSpPr/>
                <p:nvPr/>
              </p:nvSpPr>
              <p:spPr>
                <a:xfrm>
                  <a:off x="5520425" y="3691895"/>
                  <a:ext cx="303585" cy="388717"/>
                </a:xfrm>
                <a:custGeom>
                  <a:avLst/>
                  <a:gdLst>
                    <a:gd name="connsiteX0" fmla="*/ 270205 w 303585"/>
                    <a:gd name="connsiteY0" fmla="*/ 187908 h 388717"/>
                    <a:gd name="connsiteX1" fmla="*/ 270913 w 303585"/>
                    <a:gd name="connsiteY1" fmla="*/ 195610 h 388717"/>
                    <a:gd name="connsiteX2" fmla="*/ 271614 w 303585"/>
                    <a:gd name="connsiteY2" fmla="*/ 203303 h 388717"/>
                    <a:gd name="connsiteX3" fmla="*/ 272323 w 303585"/>
                    <a:gd name="connsiteY3" fmla="*/ 210996 h 388717"/>
                    <a:gd name="connsiteX4" fmla="*/ 273032 w 303585"/>
                    <a:gd name="connsiteY4" fmla="*/ 218682 h 388717"/>
                    <a:gd name="connsiteX5" fmla="*/ 273733 w 303585"/>
                    <a:gd name="connsiteY5" fmla="*/ 226359 h 388717"/>
                    <a:gd name="connsiteX6" fmla="*/ 274442 w 303585"/>
                    <a:gd name="connsiteY6" fmla="*/ 234036 h 388717"/>
                    <a:gd name="connsiteX7" fmla="*/ 275143 w 303585"/>
                    <a:gd name="connsiteY7" fmla="*/ 241705 h 388717"/>
                    <a:gd name="connsiteX8" fmla="*/ 275844 w 303585"/>
                    <a:gd name="connsiteY8" fmla="*/ 249357 h 388717"/>
                    <a:gd name="connsiteX9" fmla="*/ 276553 w 303585"/>
                    <a:gd name="connsiteY9" fmla="*/ 257018 h 388717"/>
                    <a:gd name="connsiteX10" fmla="*/ 277254 w 303585"/>
                    <a:gd name="connsiteY10" fmla="*/ 264671 h 388717"/>
                    <a:gd name="connsiteX11" fmla="*/ 277955 w 303585"/>
                    <a:gd name="connsiteY11" fmla="*/ 272315 h 388717"/>
                    <a:gd name="connsiteX12" fmla="*/ 278664 w 303585"/>
                    <a:gd name="connsiteY12" fmla="*/ 279960 h 388717"/>
                    <a:gd name="connsiteX13" fmla="*/ 279365 w 303585"/>
                    <a:gd name="connsiteY13" fmla="*/ 287596 h 388717"/>
                    <a:gd name="connsiteX14" fmla="*/ 280065 w 303585"/>
                    <a:gd name="connsiteY14" fmla="*/ 295224 h 388717"/>
                    <a:gd name="connsiteX15" fmla="*/ 280775 w 303585"/>
                    <a:gd name="connsiteY15" fmla="*/ 302852 h 388717"/>
                    <a:gd name="connsiteX16" fmla="*/ 281476 w 303585"/>
                    <a:gd name="connsiteY16" fmla="*/ 310472 h 388717"/>
                    <a:gd name="connsiteX17" fmla="*/ 282185 w 303585"/>
                    <a:gd name="connsiteY17" fmla="*/ 318084 h 388717"/>
                    <a:gd name="connsiteX18" fmla="*/ 282885 w 303585"/>
                    <a:gd name="connsiteY18" fmla="*/ 325696 h 388717"/>
                    <a:gd name="connsiteX19" fmla="*/ 283562 w 303585"/>
                    <a:gd name="connsiteY19" fmla="*/ 333063 h 388717"/>
                    <a:gd name="connsiteX20" fmla="*/ 286520 w 303585"/>
                    <a:gd name="connsiteY20" fmla="*/ 336934 h 388717"/>
                    <a:gd name="connsiteX21" fmla="*/ 290236 w 303585"/>
                    <a:gd name="connsiteY21" fmla="*/ 341800 h 388717"/>
                    <a:gd name="connsiteX22" fmla="*/ 289152 w 303585"/>
                    <a:gd name="connsiteY22" fmla="*/ 348670 h 388717"/>
                    <a:gd name="connsiteX23" fmla="*/ 287889 w 303585"/>
                    <a:gd name="connsiteY23" fmla="*/ 356869 h 388717"/>
                    <a:gd name="connsiteX24" fmla="*/ 286479 w 303585"/>
                    <a:gd name="connsiteY24" fmla="*/ 365817 h 388717"/>
                    <a:gd name="connsiteX25" fmla="*/ 281239 w 303585"/>
                    <a:gd name="connsiteY25" fmla="*/ 365817 h 388717"/>
                    <a:gd name="connsiteX26" fmla="*/ 276178 w 303585"/>
                    <a:gd name="connsiteY26" fmla="*/ 365817 h 388717"/>
                    <a:gd name="connsiteX27" fmla="*/ 271117 w 303585"/>
                    <a:gd name="connsiteY27" fmla="*/ 365817 h 388717"/>
                    <a:gd name="connsiteX28" fmla="*/ 266056 w 303585"/>
                    <a:gd name="connsiteY28" fmla="*/ 365817 h 388717"/>
                    <a:gd name="connsiteX29" fmla="*/ 260995 w 303585"/>
                    <a:gd name="connsiteY29" fmla="*/ 365817 h 388717"/>
                    <a:gd name="connsiteX30" fmla="*/ 255934 w 303585"/>
                    <a:gd name="connsiteY30" fmla="*/ 365817 h 388717"/>
                    <a:gd name="connsiteX31" fmla="*/ 250881 w 303585"/>
                    <a:gd name="connsiteY31" fmla="*/ 365817 h 388717"/>
                    <a:gd name="connsiteX32" fmla="*/ 245821 w 303585"/>
                    <a:gd name="connsiteY32" fmla="*/ 365817 h 388717"/>
                    <a:gd name="connsiteX33" fmla="*/ 240759 w 303585"/>
                    <a:gd name="connsiteY33" fmla="*/ 365817 h 388717"/>
                    <a:gd name="connsiteX34" fmla="*/ 235699 w 303585"/>
                    <a:gd name="connsiteY34" fmla="*/ 365817 h 388717"/>
                    <a:gd name="connsiteX35" fmla="*/ 230637 w 303585"/>
                    <a:gd name="connsiteY35" fmla="*/ 365817 h 388717"/>
                    <a:gd name="connsiteX36" fmla="*/ 225585 w 303585"/>
                    <a:gd name="connsiteY36" fmla="*/ 365817 h 388717"/>
                    <a:gd name="connsiteX37" fmla="*/ 220524 w 303585"/>
                    <a:gd name="connsiteY37" fmla="*/ 365817 h 388717"/>
                    <a:gd name="connsiteX38" fmla="*/ 215463 w 303585"/>
                    <a:gd name="connsiteY38" fmla="*/ 365817 h 388717"/>
                    <a:gd name="connsiteX39" fmla="*/ 210402 w 303585"/>
                    <a:gd name="connsiteY39" fmla="*/ 365817 h 388717"/>
                    <a:gd name="connsiteX40" fmla="*/ 205341 w 303585"/>
                    <a:gd name="connsiteY40" fmla="*/ 365817 h 388717"/>
                    <a:gd name="connsiteX41" fmla="*/ 200280 w 303585"/>
                    <a:gd name="connsiteY41" fmla="*/ 365817 h 388717"/>
                    <a:gd name="connsiteX42" fmla="*/ 195577 w 303585"/>
                    <a:gd name="connsiteY42" fmla="*/ 365817 h 388717"/>
                    <a:gd name="connsiteX43" fmla="*/ 192684 w 303585"/>
                    <a:gd name="connsiteY43" fmla="*/ 365605 h 388717"/>
                    <a:gd name="connsiteX44" fmla="*/ 191649 w 303585"/>
                    <a:gd name="connsiteY44" fmla="*/ 364912 h 388717"/>
                    <a:gd name="connsiteX45" fmla="*/ 191274 w 303585"/>
                    <a:gd name="connsiteY45" fmla="*/ 360283 h 388717"/>
                    <a:gd name="connsiteX46" fmla="*/ 190418 w 303585"/>
                    <a:gd name="connsiteY46" fmla="*/ 360585 h 388717"/>
                    <a:gd name="connsiteX47" fmla="*/ 189400 w 303585"/>
                    <a:gd name="connsiteY47" fmla="*/ 361946 h 388717"/>
                    <a:gd name="connsiteX48" fmla="*/ 188878 w 303585"/>
                    <a:gd name="connsiteY48" fmla="*/ 363421 h 388717"/>
                    <a:gd name="connsiteX49" fmla="*/ 189057 w 303585"/>
                    <a:gd name="connsiteY49" fmla="*/ 365352 h 388717"/>
                    <a:gd name="connsiteX50" fmla="*/ 188894 w 303585"/>
                    <a:gd name="connsiteY50" fmla="*/ 366982 h 388717"/>
                    <a:gd name="connsiteX51" fmla="*/ 185651 w 303585"/>
                    <a:gd name="connsiteY51" fmla="*/ 367618 h 388717"/>
                    <a:gd name="connsiteX52" fmla="*/ 181250 w 303585"/>
                    <a:gd name="connsiteY52" fmla="*/ 368710 h 388717"/>
                    <a:gd name="connsiteX53" fmla="*/ 176629 w 303585"/>
                    <a:gd name="connsiteY53" fmla="*/ 369558 h 388717"/>
                    <a:gd name="connsiteX54" fmla="*/ 171968 w 303585"/>
                    <a:gd name="connsiteY54" fmla="*/ 369256 h 388717"/>
                    <a:gd name="connsiteX55" fmla="*/ 170370 w 303585"/>
                    <a:gd name="connsiteY55" fmla="*/ 368881 h 388717"/>
                    <a:gd name="connsiteX56" fmla="*/ 168675 w 303585"/>
                    <a:gd name="connsiteY56" fmla="*/ 368270 h 388717"/>
                    <a:gd name="connsiteX57" fmla="*/ 164959 w 303585"/>
                    <a:gd name="connsiteY57" fmla="*/ 367602 h 388717"/>
                    <a:gd name="connsiteX58" fmla="*/ 162938 w 303585"/>
                    <a:gd name="connsiteY58" fmla="*/ 367545 h 388717"/>
                    <a:gd name="connsiteX59" fmla="*/ 160623 w 303585"/>
                    <a:gd name="connsiteY59" fmla="*/ 367699 h 388717"/>
                    <a:gd name="connsiteX60" fmla="*/ 157901 w 303585"/>
                    <a:gd name="connsiteY60" fmla="*/ 368075 h 388717"/>
                    <a:gd name="connsiteX61" fmla="*/ 157029 w 303585"/>
                    <a:gd name="connsiteY61" fmla="*/ 368914 h 388717"/>
                    <a:gd name="connsiteX62" fmla="*/ 154967 w 303585"/>
                    <a:gd name="connsiteY62" fmla="*/ 372369 h 388717"/>
                    <a:gd name="connsiteX63" fmla="*/ 152962 w 303585"/>
                    <a:gd name="connsiteY63" fmla="*/ 376371 h 388717"/>
                    <a:gd name="connsiteX64" fmla="*/ 151658 w 303585"/>
                    <a:gd name="connsiteY64" fmla="*/ 376355 h 388717"/>
                    <a:gd name="connsiteX65" fmla="*/ 150183 w 303585"/>
                    <a:gd name="connsiteY65" fmla="*/ 374162 h 388717"/>
                    <a:gd name="connsiteX66" fmla="*/ 146165 w 303585"/>
                    <a:gd name="connsiteY66" fmla="*/ 370030 h 388717"/>
                    <a:gd name="connsiteX67" fmla="*/ 141300 w 303585"/>
                    <a:gd name="connsiteY67" fmla="*/ 364595 h 388717"/>
                    <a:gd name="connsiteX68" fmla="*/ 139083 w 303585"/>
                    <a:gd name="connsiteY68" fmla="*/ 361889 h 388717"/>
                    <a:gd name="connsiteX69" fmla="*/ 137902 w 303585"/>
                    <a:gd name="connsiteY69" fmla="*/ 361538 h 388717"/>
                    <a:gd name="connsiteX70" fmla="*/ 135571 w 303585"/>
                    <a:gd name="connsiteY70" fmla="*/ 363478 h 388717"/>
                    <a:gd name="connsiteX71" fmla="*/ 133607 w 303585"/>
                    <a:gd name="connsiteY71" fmla="*/ 365344 h 388717"/>
                    <a:gd name="connsiteX72" fmla="*/ 131520 w 303585"/>
                    <a:gd name="connsiteY72" fmla="*/ 367985 h 388717"/>
                    <a:gd name="connsiteX73" fmla="*/ 130575 w 303585"/>
                    <a:gd name="connsiteY73" fmla="*/ 370511 h 388717"/>
                    <a:gd name="connsiteX74" fmla="*/ 129825 w 303585"/>
                    <a:gd name="connsiteY74" fmla="*/ 373502 h 388717"/>
                    <a:gd name="connsiteX75" fmla="*/ 129491 w 303585"/>
                    <a:gd name="connsiteY75" fmla="*/ 377015 h 388717"/>
                    <a:gd name="connsiteX76" fmla="*/ 128733 w 303585"/>
                    <a:gd name="connsiteY76" fmla="*/ 381106 h 388717"/>
                    <a:gd name="connsiteX77" fmla="*/ 127038 w 303585"/>
                    <a:gd name="connsiteY77" fmla="*/ 384398 h 388717"/>
                    <a:gd name="connsiteX78" fmla="*/ 125041 w 303585"/>
                    <a:gd name="connsiteY78" fmla="*/ 386900 h 388717"/>
                    <a:gd name="connsiteX79" fmla="*/ 123558 w 303585"/>
                    <a:gd name="connsiteY79" fmla="*/ 388074 h 388717"/>
                    <a:gd name="connsiteX80" fmla="*/ 122979 w 303585"/>
                    <a:gd name="connsiteY80" fmla="*/ 388718 h 388717"/>
                    <a:gd name="connsiteX81" fmla="*/ 118619 w 303585"/>
                    <a:gd name="connsiteY81" fmla="*/ 386778 h 388717"/>
                    <a:gd name="connsiteX82" fmla="*/ 118082 w 303585"/>
                    <a:gd name="connsiteY82" fmla="*/ 386542 h 388717"/>
                    <a:gd name="connsiteX83" fmla="*/ 115449 w 303585"/>
                    <a:gd name="connsiteY83" fmla="*/ 384341 h 388717"/>
                    <a:gd name="connsiteX84" fmla="*/ 114178 w 303585"/>
                    <a:gd name="connsiteY84" fmla="*/ 381733 h 388717"/>
                    <a:gd name="connsiteX85" fmla="*/ 112100 w 303585"/>
                    <a:gd name="connsiteY85" fmla="*/ 379769 h 388717"/>
                    <a:gd name="connsiteX86" fmla="*/ 109223 w 303585"/>
                    <a:gd name="connsiteY86" fmla="*/ 378457 h 388717"/>
                    <a:gd name="connsiteX87" fmla="*/ 107348 w 303585"/>
                    <a:gd name="connsiteY87" fmla="*/ 376958 h 388717"/>
                    <a:gd name="connsiteX88" fmla="*/ 106476 w 303585"/>
                    <a:gd name="connsiteY88" fmla="*/ 375271 h 388717"/>
                    <a:gd name="connsiteX89" fmla="*/ 105417 w 303585"/>
                    <a:gd name="connsiteY89" fmla="*/ 374146 h 388717"/>
                    <a:gd name="connsiteX90" fmla="*/ 104292 w 303585"/>
                    <a:gd name="connsiteY90" fmla="*/ 373567 h 388717"/>
                    <a:gd name="connsiteX91" fmla="*/ 104186 w 303585"/>
                    <a:gd name="connsiteY91" fmla="*/ 372964 h 388717"/>
                    <a:gd name="connsiteX92" fmla="*/ 104455 w 303585"/>
                    <a:gd name="connsiteY92" fmla="*/ 372133 h 388717"/>
                    <a:gd name="connsiteX93" fmla="*/ 104186 w 303585"/>
                    <a:gd name="connsiteY93" fmla="*/ 370593 h 388717"/>
                    <a:gd name="connsiteX94" fmla="*/ 102491 w 303585"/>
                    <a:gd name="connsiteY94" fmla="*/ 367154 h 388717"/>
                    <a:gd name="connsiteX95" fmla="*/ 100918 w 303585"/>
                    <a:gd name="connsiteY95" fmla="*/ 365572 h 388717"/>
                    <a:gd name="connsiteX96" fmla="*/ 99573 w 303585"/>
                    <a:gd name="connsiteY96" fmla="*/ 365825 h 388717"/>
                    <a:gd name="connsiteX97" fmla="*/ 98807 w 303585"/>
                    <a:gd name="connsiteY97" fmla="*/ 365409 h 388717"/>
                    <a:gd name="connsiteX98" fmla="*/ 98343 w 303585"/>
                    <a:gd name="connsiteY98" fmla="*/ 364652 h 388717"/>
                    <a:gd name="connsiteX99" fmla="*/ 98164 w 303585"/>
                    <a:gd name="connsiteY99" fmla="*/ 363535 h 388717"/>
                    <a:gd name="connsiteX100" fmla="*/ 97243 w 303585"/>
                    <a:gd name="connsiteY100" fmla="*/ 362573 h 388717"/>
                    <a:gd name="connsiteX101" fmla="*/ 95653 w 303585"/>
                    <a:gd name="connsiteY101" fmla="*/ 362166 h 388717"/>
                    <a:gd name="connsiteX102" fmla="*/ 94374 w 303585"/>
                    <a:gd name="connsiteY102" fmla="*/ 359623 h 388717"/>
                    <a:gd name="connsiteX103" fmla="*/ 93404 w 303585"/>
                    <a:gd name="connsiteY103" fmla="*/ 354937 h 388717"/>
                    <a:gd name="connsiteX104" fmla="*/ 92149 w 303585"/>
                    <a:gd name="connsiteY104" fmla="*/ 351286 h 388717"/>
                    <a:gd name="connsiteX105" fmla="*/ 90609 w 303585"/>
                    <a:gd name="connsiteY105" fmla="*/ 348670 h 388717"/>
                    <a:gd name="connsiteX106" fmla="*/ 89509 w 303585"/>
                    <a:gd name="connsiteY106" fmla="*/ 347692 h 388717"/>
                    <a:gd name="connsiteX107" fmla="*/ 88694 w 303585"/>
                    <a:gd name="connsiteY107" fmla="*/ 347513 h 388717"/>
                    <a:gd name="connsiteX108" fmla="*/ 88416 w 303585"/>
                    <a:gd name="connsiteY108" fmla="*/ 347105 h 388717"/>
                    <a:gd name="connsiteX109" fmla="*/ 88196 w 303585"/>
                    <a:gd name="connsiteY109" fmla="*/ 346347 h 388717"/>
                    <a:gd name="connsiteX110" fmla="*/ 86990 w 303585"/>
                    <a:gd name="connsiteY110" fmla="*/ 346070 h 388717"/>
                    <a:gd name="connsiteX111" fmla="*/ 85303 w 303585"/>
                    <a:gd name="connsiteY111" fmla="*/ 346861 h 388717"/>
                    <a:gd name="connsiteX112" fmla="*/ 83779 w 303585"/>
                    <a:gd name="connsiteY112" fmla="*/ 346600 h 388717"/>
                    <a:gd name="connsiteX113" fmla="*/ 83029 w 303585"/>
                    <a:gd name="connsiteY113" fmla="*/ 345320 h 388717"/>
                    <a:gd name="connsiteX114" fmla="*/ 82003 w 303585"/>
                    <a:gd name="connsiteY114" fmla="*/ 345198 h 388717"/>
                    <a:gd name="connsiteX115" fmla="*/ 80682 w 303585"/>
                    <a:gd name="connsiteY115" fmla="*/ 346258 h 388717"/>
                    <a:gd name="connsiteX116" fmla="*/ 79232 w 303585"/>
                    <a:gd name="connsiteY116" fmla="*/ 345948 h 388717"/>
                    <a:gd name="connsiteX117" fmla="*/ 77643 w 303585"/>
                    <a:gd name="connsiteY117" fmla="*/ 344277 h 388717"/>
                    <a:gd name="connsiteX118" fmla="*/ 76762 w 303585"/>
                    <a:gd name="connsiteY118" fmla="*/ 342615 h 388717"/>
                    <a:gd name="connsiteX119" fmla="*/ 76591 w 303585"/>
                    <a:gd name="connsiteY119" fmla="*/ 340968 h 388717"/>
                    <a:gd name="connsiteX120" fmla="*/ 73853 w 303585"/>
                    <a:gd name="connsiteY120" fmla="*/ 337676 h 388717"/>
                    <a:gd name="connsiteX121" fmla="*/ 68531 w 303585"/>
                    <a:gd name="connsiteY121" fmla="*/ 332745 h 388717"/>
                    <a:gd name="connsiteX122" fmla="*/ 62737 w 303585"/>
                    <a:gd name="connsiteY122" fmla="*/ 330431 h 388717"/>
                    <a:gd name="connsiteX123" fmla="*/ 56461 w 303585"/>
                    <a:gd name="connsiteY123" fmla="*/ 330732 h 388717"/>
                    <a:gd name="connsiteX124" fmla="*/ 52941 w 303585"/>
                    <a:gd name="connsiteY124" fmla="*/ 330504 h 388717"/>
                    <a:gd name="connsiteX125" fmla="*/ 52175 w 303585"/>
                    <a:gd name="connsiteY125" fmla="*/ 329722 h 388717"/>
                    <a:gd name="connsiteX126" fmla="*/ 51400 w 303585"/>
                    <a:gd name="connsiteY126" fmla="*/ 329787 h 388717"/>
                    <a:gd name="connsiteX127" fmla="*/ 50618 w 303585"/>
                    <a:gd name="connsiteY127" fmla="*/ 330692 h 388717"/>
                    <a:gd name="connsiteX128" fmla="*/ 49795 w 303585"/>
                    <a:gd name="connsiteY128" fmla="*/ 330887 h 388717"/>
                    <a:gd name="connsiteX129" fmla="*/ 48915 w 303585"/>
                    <a:gd name="connsiteY129" fmla="*/ 330382 h 388717"/>
                    <a:gd name="connsiteX130" fmla="*/ 48369 w 303585"/>
                    <a:gd name="connsiteY130" fmla="*/ 330757 h 388717"/>
                    <a:gd name="connsiteX131" fmla="*/ 48149 w 303585"/>
                    <a:gd name="connsiteY131" fmla="*/ 332028 h 388717"/>
                    <a:gd name="connsiteX132" fmla="*/ 45940 w 303585"/>
                    <a:gd name="connsiteY132" fmla="*/ 332672 h 388717"/>
                    <a:gd name="connsiteX133" fmla="*/ 41735 w 303585"/>
                    <a:gd name="connsiteY133" fmla="*/ 332688 h 388717"/>
                    <a:gd name="connsiteX134" fmla="*/ 38344 w 303585"/>
                    <a:gd name="connsiteY134" fmla="*/ 333471 h 388717"/>
                    <a:gd name="connsiteX135" fmla="*/ 35769 w 303585"/>
                    <a:gd name="connsiteY135" fmla="*/ 335003 h 388717"/>
                    <a:gd name="connsiteX136" fmla="*/ 32110 w 303585"/>
                    <a:gd name="connsiteY136" fmla="*/ 335663 h 388717"/>
                    <a:gd name="connsiteX137" fmla="*/ 27375 w 303585"/>
                    <a:gd name="connsiteY137" fmla="*/ 335451 h 388717"/>
                    <a:gd name="connsiteX138" fmla="*/ 24523 w 303585"/>
                    <a:gd name="connsiteY138" fmla="*/ 334889 h 388717"/>
                    <a:gd name="connsiteX139" fmla="*/ 23545 w 303585"/>
                    <a:gd name="connsiteY139" fmla="*/ 333984 h 388717"/>
                    <a:gd name="connsiteX140" fmla="*/ 22175 w 303585"/>
                    <a:gd name="connsiteY140" fmla="*/ 333772 h 388717"/>
                    <a:gd name="connsiteX141" fmla="*/ 20423 w 303585"/>
                    <a:gd name="connsiteY141" fmla="*/ 334261 h 388717"/>
                    <a:gd name="connsiteX142" fmla="*/ 18858 w 303585"/>
                    <a:gd name="connsiteY142" fmla="*/ 336706 h 388717"/>
                    <a:gd name="connsiteX143" fmla="*/ 17481 w 303585"/>
                    <a:gd name="connsiteY143" fmla="*/ 341107 h 388717"/>
                    <a:gd name="connsiteX144" fmla="*/ 16332 w 303585"/>
                    <a:gd name="connsiteY144" fmla="*/ 343625 h 388717"/>
                    <a:gd name="connsiteX145" fmla="*/ 15427 w 303585"/>
                    <a:gd name="connsiteY145" fmla="*/ 344245 h 388717"/>
                    <a:gd name="connsiteX146" fmla="*/ 14458 w 303585"/>
                    <a:gd name="connsiteY146" fmla="*/ 347521 h 388717"/>
                    <a:gd name="connsiteX147" fmla="*/ 13912 w 303585"/>
                    <a:gd name="connsiteY147" fmla="*/ 353014 h 388717"/>
                    <a:gd name="connsiteX148" fmla="*/ 13088 w 303585"/>
                    <a:gd name="connsiteY148" fmla="*/ 355426 h 388717"/>
                    <a:gd name="connsiteX149" fmla="*/ 13080 w 303585"/>
                    <a:gd name="connsiteY149" fmla="*/ 341726 h 388717"/>
                    <a:gd name="connsiteX150" fmla="*/ 14425 w 303585"/>
                    <a:gd name="connsiteY150" fmla="*/ 336616 h 388717"/>
                    <a:gd name="connsiteX151" fmla="*/ 14865 w 303585"/>
                    <a:gd name="connsiteY151" fmla="*/ 332118 h 388717"/>
                    <a:gd name="connsiteX152" fmla="*/ 17766 w 303585"/>
                    <a:gd name="connsiteY152" fmla="*/ 322175 h 388717"/>
                    <a:gd name="connsiteX153" fmla="*/ 21214 w 303585"/>
                    <a:gd name="connsiteY153" fmla="*/ 314025 h 388717"/>
                    <a:gd name="connsiteX154" fmla="*/ 24400 w 303585"/>
                    <a:gd name="connsiteY154" fmla="*/ 303202 h 388717"/>
                    <a:gd name="connsiteX155" fmla="*/ 25606 w 303585"/>
                    <a:gd name="connsiteY155" fmla="*/ 292706 h 388717"/>
                    <a:gd name="connsiteX156" fmla="*/ 25199 w 303585"/>
                    <a:gd name="connsiteY156" fmla="*/ 282413 h 388717"/>
                    <a:gd name="connsiteX157" fmla="*/ 24254 w 303585"/>
                    <a:gd name="connsiteY157" fmla="*/ 273252 h 388717"/>
                    <a:gd name="connsiteX158" fmla="*/ 22640 w 303585"/>
                    <a:gd name="connsiteY158" fmla="*/ 267197 h 388717"/>
                    <a:gd name="connsiteX159" fmla="*/ 21083 w 303585"/>
                    <a:gd name="connsiteY159" fmla="*/ 258428 h 388717"/>
                    <a:gd name="connsiteX160" fmla="*/ 18777 w 303585"/>
                    <a:gd name="connsiteY160" fmla="*/ 253799 h 388717"/>
                    <a:gd name="connsiteX161" fmla="*/ 14556 w 303585"/>
                    <a:gd name="connsiteY161" fmla="*/ 249757 h 388717"/>
                    <a:gd name="connsiteX162" fmla="*/ 13602 w 303585"/>
                    <a:gd name="connsiteY162" fmla="*/ 247385 h 388717"/>
                    <a:gd name="connsiteX163" fmla="*/ 14588 w 303585"/>
                    <a:gd name="connsiteY163" fmla="*/ 246497 h 388717"/>
                    <a:gd name="connsiteX164" fmla="*/ 17155 w 303585"/>
                    <a:gd name="connsiteY164" fmla="*/ 245902 h 388717"/>
                    <a:gd name="connsiteX165" fmla="*/ 18793 w 303585"/>
                    <a:gd name="connsiteY165" fmla="*/ 242740 h 388717"/>
                    <a:gd name="connsiteX166" fmla="*/ 15338 w 303585"/>
                    <a:gd name="connsiteY166" fmla="*/ 243954 h 388717"/>
                    <a:gd name="connsiteX167" fmla="*/ 19339 w 303585"/>
                    <a:gd name="connsiteY167" fmla="*/ 234272 h 388717"/>
                    <a:gd name="connsiteX168" fmla="*/ 20586 w 303585"/>
                    <a:gd name="connsiteY168" fmla="*/ 227671 h 388717"/>
                    <a:gd name="connsiteX169" fmla="*/ 20391 w 303585"/>
                    <a:gd name="connsiteY169" fmla="*/ 223335 h 388717"/>
                    <a:gd name="connsiteX170" fmla="*/ 21157 w 303585"/>
                    <a:gd name="connsiteY170" fmla="*/ 220654 h 388717"/>
                    <a:gd name="connsiteX171" fmla="*/ 18101 w 303585"/>
                    <a:gd name="connsiteY171" fmla="*/ 214851 h 388717"/>
                    <a:gd name="connsiteX172" fmla="*/ 15721 w 303585"/>
                    <a:gd name="connsiteY172" fmla="*/ 207541 h 388717"/>
                    <a:gd name="connsiteX173" fmla="*/ 14498 w 303585"/>
                    <a:gd name="connsiteY173" fmla="*/ 206384 h 388717"/>
                    <a:gd name="connsiteX174" fmla="*/ 13227 w 303585"/>
                    <a:gd name="connsiteY174" fmla="*/ 205773 h 388717"/>
                    <a:gd name="connsiteX175" fmla="*/ 13113 w 303585"/>
                    <a:gd name="connsiteY175" fmla="*/ 207492 h 388717"/>
                    <a:gd name="connsiteX176" fmla="*/ 12428 w 303585"/>
                    <a:gd name="connsiteY176" fmla="*/ 209032 h 388717"/>
                    <a:gd name="connsiteX177" fmla="*/ 10945 w 303585"/>
                    <a:gd name="connsiteY177" fmla="*/ 208103 h 388717"/>
                    <a:gd name="connsiteX178" fmla="*/ 8321 w 303585"/>
                    <a:gd name="connsiteY178" fmla="*/ 202782 h 388717"/>
                    <a:gd name="connsiteX179" fmla="*/ 4654 w 303585"/>
                    <a:gd name="connsiteY179" fmla="*/ 194118 h 388717"/>
                    <a:gd name="connsiteX180" fmla="*/ 3366 w 303585"/>
                    <a:gd name="connsiteY180" fmla="*/ 193230 h 388717"/>
                    <a:gd name="connsiteX181" fmla="*/ 2298 w 303585"/>
                    <a:gd name="connsiteY181" fmla="*/ 194420 h 388717"/>
                    <a:gd name="connsiteX182" fmla="*/ 1630 w 303585"/>
                    <a:gd name="connsiteY182" fmla="*/ 195561 h 388717"/>
                    <a:gd name="connsiteX183" fmla="*/ 391 w 303585"/>
                    <a:gd name="connsiteY183" fmla="*/ 202798 h 388717"/>
                    <a:gd name="connsiteX184" fmla="*/ 0 w 303585"/>
                    <a:gd name="connsiteY184" fmla="*/ 199929 h 388717"/>
                    <a:gd name="connsiteX185" fmla="*/ 538 w 303585"/>
                    <a:gd name="connsiteY185" fmla="*/ 196547 h 388717"/>
                    <a:gd name="connsiteX186" fmla="*/ 1443 w 303585"/>
                    <a:gd name="connsiteY186" fmla="*/ 192382 h 388717"/>
                    <a:gd name="connsiteX187" fmla="*/ 2461 w 303585"/>
                    <a:gd name="connsiteY187" fmla="*/ 186596 h 388717"/>
                    <a:gd name="connsiteX188" fmla="*/ 5640 w 303585"/>
                    <a:gd name="connsiteY188" fmla="*/ 186596 h 388717"/>
                    <a:gd name="connsiteX189" fmla="*/ 11320 w 303585"/>
                    <a:gd name="connsiteY189" fmla="*/ 186588 h 388717"/>
                    <a:gd name="connsiteX190" fmla="*/ 17009 w 303585"/>
                    <a:gd name="connsiteY190" fmla="*/ 186580 h 388717"/>
                    <a:gd name="connsiteX191" fmla="*/ 22697 w 303585"/>
                    <a:gd name="connsiteY191" fmla="*/ 186580 h 388717"/>
                    <a:gd name="connsiteX192" fmla="*/ 28386 w 303585"/>
                    <a:gd name="connsiteY192" fmla="*/ 186572 h 388717"/>
                    <a:gd name="connsiteX193" fmla="*/ 34074 w 303585"/>
                    <a:gd name="connsiteY193" fmla="*/ 186564 h 388717"/>
                    <a:gd name="connsiteX194" fmla="*/ 39754 w 303585"/>
                    <a:gd name="connsiteY194" fmla="*/ 186555 h 388717"/>
                    <a:gd name="connsiteX195" fmla="*/ 45443 w 303585"/>
                    <a:gd name="connsiteY195" fmla="*/ 186547 h 388717"/>
                    <a:gd name="connsiteX196" fmla="*/ 51123 w 303585"/>
                    <a:gd name="connsiteY196" fmla="*/ 186539 h 388717"/>
                    <a:gd name="connsiteX197" fmla="*/ 56820 w 303585"/>
                    <a:gd name="connsiteY197" fmla="*/ 186531 h 388717"/>
                    <a:gd name="connsiteX198" fmla="*/ 62500 w 303585"/>
                    <a:gd name="connsiteY198" fmla="*/ 186531 h 388717"/>
                    <a:gd name="connsiteX199" fmla="*/ 68189 w 303585"/>
                    <a:gd name="connsiteY199" fmla="*/ 186523 h 388717"/>
                    <a:gd name="connsiteX200" fmla="*/ 73877 w 303585"/>
                    <a:gd name="connsiteY200" fmla="*/ 186515 h 388717"/>
                    <a:gd name="connsiteX201" fmla="*/ 79566 w 303585"/>
                    <a:gd name="connsiteY201" fmla="*/ 186506 h 388717"/>
                    <a:gd name="connsiteX202" fmla="*/ 85254 w 303585"/>
                    <a:gd name="connsiteY202" fmla="*/ 186498 h 388717"/>
                    <a:gd name="connsiteX203" fmla="*/ 90935 w 303585"/>
                    <a:gd name="connsiteY203" fmla="*/ 186490 h 388717"/>
                    <a:gd name="connsiteX204" fmla="*/ 96623 w 303585"/>
                    <a:gd name="connsiteY204" fmla="*/ 186482 h 388717"/>
                    <a:gd name="connsiteX205" fmla="*/ 100372 w 303585"/>
                    <a:gd name="connsiteY205" fmla="*/ 186482 h 388717"/>
                    <a:gd name="connsiteX206" fmla="*/ 100152 w 303585"/>
                    <a:gd name="connsiteY206" fmla="*/ 182358 h 388717"/>
                    <a:gd name="connsiteX207" fmla="*/ 99981 w 303585"/>
                    <a:gd name="connsiteY207" fmla="*/ 179098 h 388717"/>
                    <a:gd name="connsiteX208" fmla="*/ 99745 w 303585"/>
                    <a:gd name="connsiteY208" fmla="*/ 174697 h 388717"/>
                    <a:gd name="connsiteX209" fmla="*/ 99508 w 303585"/>
                    <a:gd name="connsiteY209" fmla="*/ 170321 h 388717"/>
                    <a:gd name="connsiteX210" fmla="*/ 99272 w 303585"/>
                    <a:gd name="connsiteY210" fmla="*/ 165945 h 388717"/>
                    <a:gd name="connsiteX211" fmla="*/ 99052 w 303585"/>
                    <a:gd name="connsiteY211" fmla="*/ 161829 h 388717"/>
                    <a:gd name="connsiteX212" fmla="*/ 98832 w 303585"/>
                    <a:gd name="connsiteY212" fmla="*/ 157714 h 388717"/>
                    <a:gd name="connsiteX213" fmla="*/ 98628 w 303585"/>
                    <a:gd name="connsiteY213" fmla="*/ 153891 h 388717"/>
                    <a:gd name="connsiteX214" fmla="*/ 98441 w 303585"/>
                    <a:gd name="connsiteY214" fmla="*/ 150387 h 388717"/>
                    <a:gd name="connsiteX215" fmla="*/ 98123 w 303585"/>
                    <a:gd name="connsiteY215" fmla="*/ 148366 h 388717"/>
                    <a:gd name="connsiteX216" fmla="*/ 96917 w 303585"/>
                    <a:gd name="connsiteY216" fmla="*/ 144364 h 388717"/>
                    <a:gd name="connsiteX217" fmla="*/ 96648 w 303585"/>
                    <a:gd name="connsiteY217" fmla="*/ 142376 h 388717"/>
                    <a:gd name="connsiteX218" fmla="*/ 96982 w 303585"/>
                    <a:gd name="connsiteY218" fmla="*/ 140281 h 388717"/>
                    <a:gd name="connsiteX219" fmla="*/ 97780 w 303585"/>
                    <a:gd name="connsiteY219" fmla="*/ 138301 h 388717"/>
                    <a:gd name="connsiteX220" fmla="*/ 99997 w 303585"/>
                    <a:gd name="connsiteY220" fmla="*/ 134682 h 388717"/>
                    <a:gd name="connsiteX221" fmla="*/ 103363 w 303585"/>
                    <a:gd name="connsiteY221" fmla="*/ 131895 h 388717"/>
                    <a:gd name="connsiteX222" fmla="*/ 107242 w 303585"/>
                    <a:gd name="connsiteY222" fmla="*/ 128676 h 388717"/>
                    <a:gd name="connsiteX223" fmla="*/ 110201 w 303585"/>
                    <a:gd name="connsiteY223" fmla="*/ 126223 h 388717"/>
                    <a:gd name="connsiteX224" fmla="*/ 111717 w 303585"/>
                    <a:gd name="connsiteY224" fmla="*/ 125620 h 388717"/>
                    <a:gd name="connsiteX225" fmla="*/ 116346 w 303585"/>
                    <a:gd name="connsiteY225" fmla="*/ 124772 h 388717"/>
                    <a:gd name="connsiteX226" fmla="*/ 119980 w 303585"/>
                    <a:gd name="connsiteY226" fmla="*/ 122914 h 388717"/>
                    <a:gd name="connsiteX227" fmla="*/ 123526 w 303585"/>
                    <a:gd name="connsiteY227" fmla="*/ 121105 h 388717"/>
                    <a:gd name="connsiteX228" fmla="*/ 125009 w 303585"/>
                    <a:gd name="connsiteY228" fmla="*/ 120103 h 388717"/>
                    <a:gd name="connsiteX229" fmla="*/ 125180 w 303585"/>
                    <a:gd name="connsiteY229" fmla="*/ 116696 h 388717"/>
                    <a:gd name="connsiteX230" fmla="*/ 125180 w 303585"/>
                    <a:gd name="connsiteY230" fmla="*/ 112898 h 388717"/>
                    <a:gd name="connsiteX231" fmla="*/ 125180 w 303585"/>
                    <a:gd name="connsiteY231" fmla="*/ 108644 h 388717"/>
                    <a:gd name="connsiteX232" fmla="*/ 125180 w 303585"/>
                    <a:gd name="connsiteY232" fmla="*/ 104390 h 388717"/>
                    <a:gd name="connsiteX233" fmla="*/ 125180 w 303585"/>
                    <a:gd name="connsiteY233" fmla="*/ 100136 h 388717"/>
                    <a:gd name="connsiteX234" fmla="*/ 125180 w 303585"/>
                    <a:gd name="connsiteY234" fmla="*/ 95873 h 388717"/>
                    <a:gd name="connsiteX235" fmla="*/ 125180 w 303585"/>
                    <a:gd name="connsiteY235" fmla="*/ 91611 h 388717"/>
                    <a:gd name="connsiteX236" fmla="*/ 125180 w 303585"/>
                    <a:gd name="connsiteY236" fmla="*/ 87341 h 388717"/>
                    <a:gd name="connsiteX237" fmla="*/ 125180 w 303585"/>
                    <a:gd name="connsiteY237" fmla="*/ 83070 h 388717"/>
                    <a:gd name="connsiteX238" fmla="*/ 125180 w 303585"/>
                    <a:gd name="connsiteY238" fmla="*/ 78800 h 388717"/>
                    <a:gd name="connsiteX239" fmla="*/ 125180 w 303585"/>
                    <a:gd name="connsiteY239" fmla="*/ 74529 h 388717"/>
                    <a:gd name="connsiteX240" fmla="*/ 125180 w 303585"/>
                    <a:gd name="connsiteY240" fmla="*/ 70259 h 388717"/>
                    <a:gd name="connsiteX241" fmla="*/ 125180 w 303585"/>
                    <a:gd name="connsiteY241" fmla="*/ 65980 h 388717"/>
                    <a:gd name="connsiteX242" fmla="*/ 125180 w 303585"/>
                    <a:gd name="connsiteY242" fmla="*/ 61693 h 388717"/>
                    <a:gd name="connsiteX243" fmla="*/ 125180 w 303585"/>
                    <a:gd name="connsiteY243" fmla="*/ 57415 h 388717"/>
                    <a:gd name="connsiteX244" fmla="*/ 125180 w 303585"/>
                    <a:gd name="connsiteY244" fmla="*/ 53128 h 388717"/>
                    <a:gd name="connsiteX245" fmla="*/ 125180 w 303585"/>
                    <a:gd name="connsiteY245" fmla="*/ 48841 h 388717"/>
                    <a:gd name="connsiteX246" fmla="*/ 125180 w 303585"/>
                    <a:gd name="connsiteY246" fmla="*/ 44554 h 388717"/>
                    <a:gd name="connsiteX247" fmla="*/ 125180 w 303585"/>
                    <a:gd name="connsiteY247" fmla="*/ 40797 h 388717"/>
                    <a:gd name="connsiteX248" fmla="*/ 128896 w 303585"/>
                    <a:gd name="connsiteY248" fmla="*/ 40797 h 388717"/>
                    <a:gd name="connsiteX249" fmla="*/ 133517 w 303585"/>
                    <a:gd name="connsiteY249" fmla="*/ 40797 h 388717"/>
                    <a:gd name="connsiteX250" fmla="*/ 138138 w 303585"/>
                    <a:gd name="connsiteY250" fmla="*/ 40797 h 388717"/>
                    <a:gd name="connsiteX251" fmla="*/ 142759 w 303585"/>
                    <a:gd name="connsiteY251" fmla="*/ 40797 h 388717"/>
                    <a:gd name="connsiteX252" fmla="*/ 147380 w 303585"/>
                    <a:gd name="connsiteY252" fmla="*/ 40797 h 388717"/>
                    <a:gd name="connsiteX253" fmla="*/ 151992 w 303585"/>
                    <a:gd name="connsiteY253" fmla="*/ 40797 h 388717"/>
                    <a:gd name="connsiteX254" fmla="*/ 156614 w 303585"/>
                    <a:gd name="connsiteY254" fmla="*/ 40797 h 388717"/>
                    <a:gd name="connsiteX255" fmla="*/ 161234 w 303585"/>
                    <a:gd name="connsiteY255" fmla="*/ 40797 h 388717"/>
                    <a:gd name="connsiteX256" fmla="*/ 165855 w 303585"/>
                    <a:gd name="connsiteY256" fmla="*/ 40797 h 388717"/>
                    <a:gd name="connsiteX257" fmla="*/ 170476 w 303585"/>
                    <a:gd name="connsiteY257" fmla="*/ 40797 h 388717"/>
                    <a:gd name="connsiteX258" fmla="*/ 175089 w 303585"/>
                    <a:gd name="connsiteY258" fmla="*/ 40797 h 388717"/>
                    <a:gd name="connsiteX259" fmla="*/ 179710 w 303585"/>
                    <a:gd name="connsiteY259" fmla="*/ 40797 h 388717"/>
                    <a:gd name="connsiteX260" fmla="*/ 184331 w 303585"/>
                    <a:gd name="connsiteY260" fmla="*/ 40797 h 388717"/>
                    <a:gd name="connsiteX261" fmla="*/ 188952 w 303585"/>
                    <a:gd name="connsiteY261" fmla="*/ 40797 h 388717"/>
                    <a:gd name="connsiteX262" fmla="*/ 193573 w 303585"/>
                    <a:gd name="connsiteY262" fmla="*/ 40797 h 388717"/>
                    <a:gd name="connsiteX263" fmla="*/ 198193 w 303585"/>
                    <a:gd name="connsiteY263" fmla="*/ 40797 h 388717"/>
                    <a:gd name="connsiteX264" fmla="*/ 202814 w 303585"/>
                    <a:gd name="connsiteY264" fmla="*/ 40797 h 388717"/>
                    <a:gd name="connsiteX265" fmla="*/ 207859 w 303585"/>
                    <a:gd name="connsiteY265" fmla="*/ 40797 h 388717"/>
                    <a:gd name="connsiteX266" fmla="*/ 207859 w 303585"/>
                    <a:gd name="connsiteY266" fmla="*/ 37204 h 388717"/>
                    <a:gd name="connsiteX267" fmla="*/ 207859 w 303585"/>
                    <a:gd name="connsiteY267" fmla="*/ 32045 h 388717"/>
                    <a:gd name="connsiteX268" fmla="*/ 207859 w 303585"/>
                    <a:gd name="connsiteY268" fmla="*/ 24946 h 388717"/>
                    <a:gd name="connsiteX269" fmla="*/ 207851 w 303585"/>
                    <a:gd name="connsiteY269" fmla="*/ 17815 h 388717"/>
                    <a:gd name="connsiteX270" fmla="*/ 207851 w 303585"/>
                    <a:gd name="connsiteY270" fmla="*/ 11540 h 388717"/>
                    <a:gd name="connsiteX271" fmla="*/ 207851 w 303585"/>
                    <a:gd name="connsiteY271" fmla="*/ 5273 h 388717"/>
                    <a:gd name="connsiteX272" fmla="*/ 207843 w 303585"/>
                    <a:gd name="connsiteY272" fmla="*/ 0 h 388717"/>
                    <a:gd name="connsiteX273" fmla="*/ 212504 w 303585"/>
                    <a:gd name="connsiteY273" fmla="*/ 3496 h 388717"/>
                    <a:gd name="connsiteX274" fmla="*/ 217174 w 303585"/>
                    <a:gd name="connsiteY274" fmla="*/ 7009 h 388717"/>
                    <a:gd name="connsiteX275" fmla="*/ 221835 w 303585"/>
                    <a:gd name="connsiteY275" fmla="*/ 10505 h 388717"/>
                    <a:gd name="connsiteX276" fmla="*/ 226497 w 303585"/>
                    <a:gd name="connsiteY276" fmla="*/ 14009 h 388717"/>
                    <a:gd name="connsiteX277" fmla="*/ 231159 w 303585"/>
                    <a:gd name="connsiteY277" fmla="*/ 17505 h 388717"/>
                    <a:gd name="connsiteX278" fmla="*/ 235820 w 303585"/>
                    <a:gd name="connsiteY278" fmla="*/ 21002 h 388717"/>
                    <a:gd name="connsiteX279" fmla="*/ 240490 w 303585"/>
                    <a:gd name="connsiteY279" fmla="*/ 24498 h 388717"/>
                    <a:gd name="connsiteX280" fmla="*/ 245152 w 303585"/>
                    <a:gd name="connsiteY280" fmla="*/ 27994 h 388717"/>
                    <a:gd name="connsiteX281" fmla="*/ 249814 w 303585"/>
                    <a:gd name="connsiteY281" fmla="*/ 31490 h 388717"/>
                    <a:gd name="connsiteX282" fmla="*/ 254475 w 303585"/>
                    <a:gd name="connsiteY282" fmla="*/ 34979 h 388717"/>
                    <a:gd name="connsiteX283" fmla="*/ 259145 w 303585"/>
                    <a:gd name="connsiteY283" fmla="*/ 38467 h 388717"/>
                    <a:gd name="connsiteX284" fmla="*/ 263807 w 303585"/>
                    <a:gd name="connsiteY284" fmla="*/ 41963 h 388717"/>
                    <a:gd name="connsiteX285" fmla="*/ 268469 w 303585"/>
                    <a:gd name="connsiteY285" fmla="*/ 45451 h 388717"/>
                    <a:gd name="connsiteX286" fmla="*/ 273138 w 303585"/>
                    <a:gd name="connsiteY286" fmla="*/ 48931 h 388717"/>
                    <a:gd name="connsiteX287" fmla="*/ 277800 w 303585"/>
                    <a:gd name="connsiteY287" fmla="*/ 52419 h 388717"/>
                    <a:gd name="connsiteX288" fmla="*/ 282462 w 303585"/>
                    <a:gd name="connsiteY288" fmla="*/ 55899 h 388717"/>
                    <a:gd name="connsiteX289" fmla="*/ 286365 w 303585"/>
                    <a:gd name="connsiteY289" fmla="*/ 58808 h 388717"/>
                    <a:gd name="connsiteX290" fmla="*/ 292364 w 303585"/>
                    <a:gd name="connsiteY290" fmla="*/ 63503 h 388717"/>
                    <a:gd name="connsiteX291" fmla="*/ 297954 w 303585"/>
                    <a:gd name="connsiteY291" fmla="*/ 67879 h 388717"/>
                    <a:gd name="connsiteX292" fmla="*/ 303586 w 303585"/>
                    <a:gd name="connsiteY292" fmla="*/ 72280 h 388717"/>
                    <a:gd name="connsiteX293" fmla="*/ 294898 w 303585"/>
                    <a:gd name="connsiteY293" fmla="*/ 72288 h 388717"/>
                    <a:gd name="connsiteX294" fmla="*/ 283301 w 303585"/>
                    <a:gd name="connsiteY294" fmla="*/ 72288 h 388717"/>
                    <a:gd name="connsiteX295" fmla="*/ 275388 w 303585"/>
                    <a:gd name="connsiteY295" fmla="*/ 72296 h 388717"/>
                    <a:gd name="connsiteX296" fmla="*/ 267270 w 303585"/>
                    <a:gd name="connsiteY296" fmla="*/ 72304 h 388717"/>
                    <a:gd name="connsiteX297" fmla="*/ 259659 w 303585"/>
                    <a:gd name="connsiteY297" fmla="*/ 72304 h 388717"/>
                    <a:gd name="connsiteX298" fmla="*/ 260319 w 303585"/>
                    <a:gd name="connsiteY298" fmla="*/ 79452 h 388717"/>
                    <a:gd name="connsiteX299" fmla="*/ 261020 w 303585"/>
                    <a:gd name="connsiteY299" fmla="*/ 87259 h 388717"/>
                    <a:gd name="connsiteX300" fmla="*/ 261729 w 303585"/>
                    <a:gd name="connsiteY300" fmla="*/ 95050 h 388717"/>
                    <a:gd name="connsiteX301" fmla="*/ 262429 w 303585"/>
                    <a:gd name="connsiteY301" fmla="*/ 102841 h 388717"/>
                    <a:gd name="connsiteX302" fmla="*/ 263139 w 303585"/>
                    <a:gd name="connsiteY302" fmla="*/ 110616 h 388717"/>
                    <a:gd name="connsiteX303" fmla="*/ 263840 w 303585"/>
                    <a:gd name="connsiteY303" fmla="*/ 118391 h 388717"/>
                    <a:gd name="connsiteX304" fmla="*/ 264541 w 303585"/>
                    <a:gd name="connsiteY304" fmla="*/ 126158 h 388717"/>
                    <a:gd name="connsiteX305" fmla="*/ 265249 w 303585"/>
                    <a:gd name="connsiteY305" fmla="*/ 133916 h 388717"/>
                    <a:gd name="connsiteX306" fmla="*/ 265950 w 303585"/>
                    <a:gd name="connsiteY306" fmla="*/ 141667 h 388717"/>
                    <a:gd name="connsiteX307" fmla="*/ 266659 w 303585"/>
                    <a:gd name="connsiteY307" fmla="*/ 149409 h 388717"/>
                    <a:gd name="connsiteX308" fmla="*/ 267360 w 303585"/>
                    <a:gd name="connsiteY308" fmla="*/ 157143 h 388717"/>
                    <a:gd name="connsiteX309" fmla="*/ 268069 w 303585"/>
                    <a:gd name="connsiteY309" fmla="*/ 164877 h 388717"/>
                    <a:gd name="connsiteX310" fmla="*/ 268778 w 303585"/>
                    <a:gd name="connsiteY310" fmla="*/ 172595 h 388717"/>
                    <a:gd name="connsiteX311" fmla="*/ 269479 w 303585"/>
                    <a:gd name="connsiteY311" fmla="*/ 180321 h 388717"/>
                    <a:gd name="connsiteX312" fmla="*/ 270205 w 303585"/>
                    <a:gd name="connsiteY312" fmla="*/ 187908 h 388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303585" h="388717">
                      <a:moveTo>
                        <a:pt x="270205" y="187908"/>
                      </a:moveTo>
                      <a:lnTo>
                        <a:pt x="270913" y="195610"/>
                      </a:lnTo>
                      <a:lnTo>
                        <a:pt x="271614" y="203303"/>
                      </a:lnTo>
                      <a:lnTo>
                        <a:pt x="272323" y="210996"/>
                      </a:lnTo>
                      <a:lnTo>
                        <a:pt x="273032" y="218682"/>
                      </a:lnTo>
                      <a:lnTo>
                        <a:pt x="273733" y="226359"/>
                      </a:lnTo>
                      <a:lnTo>
                        <a:pt x="274442" y="234036"/>
                      </a:lnTo>
                      <a:lnTo>
                        <a:pt x="275143" y="241705"/>
                      </a:lnTo>
                      <a:lnTo>
                        <a:pt x="275844" y="249357"/>
                      </a:lnTo>
                      <a:lnTo>
                        <a:pt x="276553" y="257018"/>
                      </a:lnTo>
                      <a:lnTo>
                        <a:pt x="277254" y="264671"/>
                      </a:lnTo>
                      <a:lnTo>
                        <a:pt x="277955" y="272315"/>
                      </a:lnTo>
                      <a:lnTo>
                        <a:pt x="278664" y="279960"/>
                      </a:lnTo>
                      <a:lnTo>
                        <a:pt x="279365" y="287596"/>
                      </a:lnTo>
                      <a:lnTo>
                        <a:pt x="280065" y="295224"/>
                      </a:lnTo>
                      <a:lnTo>
                        <a:pt x="280775" y="302852"/>
                      </a:lnTo>
                      <a:lnTo>
                        <a:pt x="281476" y="310472"/>
                      </a:lnTo>
                      <a:lnTo>
                        <a:pt x="282185" y="318084"/>
                      </a:lnTo>
                      <a:lnTo>
                        <a:pt x="282885" y="325696"/>
                      </a:lnTo>
                      <a:lnTo>
                        <a:pt x="283562" y="333063"/>
                      </a:lnTo>
                      <a:lnTo>
                        <a:pt x="286520" y="336934"/>
                      </a:lnTo>
                      <a:lnTo>
                        <a:pt x="290236" y="341800"/>
                      </a:lnTo>
                      <a:lnTo>
                        <a:pt x="289152" y="348670"/>
                      </a:lnTo>
                      <a:lnTo>
                        <a:pt x="287889" y="356869"/>
                      </a:lnTo>
                      <a:lnTo>
                        <a:pt x="286479" y="365817"/>
                      </a:lnTo>
                      <a:lnTo>
                        <a:pt x="281239" y="365817"/>
                      </a:lnTo>
                      <a:lnTo>
                        <a:pt x="276178" y="365817"/>
                      </a:lnTo>
                      <a:lnTo>
                        <a:pt x="271117" y="365817"/>
                      </a:lnTo>
                      <a:lnTo>
                        <a:pt x="266056" y="365817"/>
                      </a:lnTo>
                      <a:lnTo>
                        <a:pt x="260995" y="365817"/>
                      </a:lnTo>
                      <a:lnTo>
                        <a:pt x="255934" y="365817"/>
                      </a:lnTo>
                      <a:lnTo>
                        <a:pt x="250881" y="365817"/>
                      </a:lnTo>
                      <a:lnTo>
                        <a:pt x="245821" y="365817"/>
                      </a:lnTo>
                      <a:lnTo>
                        <a:pt x="240759" y="365817"/>
                      </a:lnTo>
                      <a:lnTo>
                        <a:pt x="235699" y="365817"/>
                      </a:lnTo>
                      <a:lnTo>
                        <a:pt x="230637" y="365817"/>
                      </a:lnTo>
                      <a:lnTo>
                        <a:pt x="225585" y="365817"/>
                      </a:lnTo>
                      <a:lnTo>
                        <a:pt x="220524" y="365817"/>
                      </a:lnTo>
                      <a:lnTo>
                        <a:pt x="215463" y="365817"/>
                      </a:lnTo>
                      <a:lnTo>
                        <a:pt x="210402" y="365817"/>
                      </a:lnTo>
                      <a:lnTo>
                        <a:pt x="205341" y="365817"/>
                      </a:lnTo>
                      <a:lnTo>
                        <a:pt x="200280" y="365817"/>
                      </a:lnTo>
                      <a:lnTo>
                        <a:pt x="195577" y="365817"/>
                      </a:lnTo>
                      <a:lnTo>
                        <a:pt x="192684" y="365605"/>
                      </a:lnTo>
                      <a:lnTo>
                        <a:pt x="191649" y="364912"/>
                      </a:lnTo>
                      <a:lnTo>
                        <a:pt x="191274" y="360283"/>
                      </a:lnTo>
                      <a:lnTo>
                        <a:pt x="190418" y="360585"/>
                      </a:lnTo>
                      <a:lnTo>
                        <a:pt x="189400" y="361946"/>
                      </a:lnTo>
                      <a:lnTo>
                        <a:pt x="188878" y="363421"/>
                      </a:lnTo>
                      <a:lnTo>
                        <a:pt x="189057" y="365352"/>
                      </a:lnTo>
                      <a:lnTo>
                        <a:pt x="188894" y="366982"/>
                      </a:lnTo>
                      <a:lnTo>
                        <a:pt x="185651" y="367618"/>
                      </a:lnTo>
                      <a:lnTo>
                        <a:pt x="181250" y="368710"/>
                      </a:lnTo>
                      <a:lnTo>
                        <a:pt x="176629" y="369558"/>
                      </a:lnTo>
                      <a:lnTo>
                        <a:pt x="171968" y="369256"/>
                      </a:lnTo>
                      <a:lnTo>
                        <a:pt x="170370" y="368881"/>
                      </a:lnTo>
                      <a:lnTo>
                        <a:pt x="168675" y="368270"/>
                      </a:lnTo>
                      <a:lnTo>
                        <a:pt x="164959" y="367602"/>
                      </a:lnTo>
                      <a:lnTo>
                        <a:pt x="162938" y="367545"/>
                      </a:lnTo>
                      <a:lnTo>
                        <a:pt x="160623" y="367699"/>
                      </a:lnTo>
                      <a:lnTo>
                        <a:pt x="157901" y="368075"/>
                      </a:lnTo>
                      <a:lnTo>
                        <a:pt x="157029" y="368914"/>
                      </a:lnTo>
                      <a:lnTo>
                        <a:pt x="154967" y="372369"/>
                      </a:lnTo>
                      <a:lnTo>
                        <a:pt x="152962" y="376371"/>
                      </a:lnTo>
                      <a:lnTo>
                        <a:pt x="151658" y="376355"/>
                      </a:lnTo>
                      <a:lnTo>
                        <a:pt x="150183" y="374162"/>
                      </a:lnTo>
                      <a:lnTo>
                        <a:pt x="146165" y="370030"/>
                      </a:lnTo>
                      <a:lnTo>
                        <a:pt x="141300" y="364595"/>
                      </a:lnTo>
                      <a:lnTo>
                        <a:pt x="139083" y="361889"/>
                      </a:lnTo>
                      <a:lnTo>
                        <a:pt x="137902" y="361538"/>
                      </a:lnTo>
                      <a:lnTo>
                        <a:pt x="135571" y="363478"/>
                      </a:lnTo>
                      <a:lnTo>
                        <a:pt x="133607" y="365344"/>
                      </a:lnTo>
                      <a:lnTo>
                        <a:pt x="131520" y="367985"/>
                      </a:lnTo>
                      <a:lnTo>
                        <a:pt x="130575" y="370511"/>
                      </a:lnTo>
                      <a:lnTo>
                        <a:pt x="129825" y="373502"/>
                      </a:lnTo>
                      <a:lnTo>
                        <a:pt x="129491" y="377015"/>
                      </a:lnTo>
                      <a:lnTo>
                        <a:pt x="128733" y="381106"/>
                      </a:lnTo>
                      <a:lnTo>
                        <a:pt x="127038" y="384398"/>
                      </a:lnTo>
                      <a:lnTo>
                        <a:pt x="125041" y="386900"/>
                      </a:lnTo>
                      <a:lnTo>
                        <a:pt x="123558" y="388074"/>
                      </a:lnTo>
                      <a:lnTo>
                        <a:pt x="122979" y="388718"/>
                      </a:lnTo>
                      <a:lnTo>
                        <a:pt x="118619" y="386778"/>
                      </a:lnTo>
                      <a:lnTo>
                        <a:pt x="118082" y="386542"/>
                      </a:lnTo>
                      <a:lnTo>
                        <a:pt x="115449" y="384341"/>
                      </a:lnTo>
                      <a:lnTo>
                        <a:pt x="114178" y="381733"/>
                      </a:lnTo>
                      <a:lnTo>
                        <a:pt x="112100" y="379769"/>
                      </a:lnTo>
                      <a:lnTo>
                        <a:pt x="109223" y="378457"/>
                      </a:lnTo>
                      <a:lnTo>
                        <a:pt x="107348" y="376958"/>
                      </a:lnTo>
                      <a:lnTo>
                        <a:pt x="106476" y="375271"/>
                      </a:lnTo>
                      <a:lnTo>
                        <a:pt x="105417" y="374146"/>
                      </a:lnTo>
                      <a:lnTo>
                        <a:pt x="104292" y="373567"/>
                      </a:lnTo>
                      <a:lnTo>
                        <a:pt x="104186" y="372964"/>
                      </a:lnTo>
                      <a:lnTo>
                        <a:pt x="104455" y="372133"/>
                      </a:lnTo>
                      <a:lnTo>
                        <a:pt x="104186" y="370593"/>
                      </a:lnTo>
                      <a:lnTo>
                        <a:pt x="102491" y="367154"/>
                      </a:lnTo>
                      <a:lnTo>
                        <a:pt x="100918" y="365572"/>
                      </a:lnTo>
                      <a:lnTo>
                        <a:pt x="99573" y="365825"/>
                      </a:lnTo>
                      <a:lnTo>
                        <a:pt x="98807" y="365409"/>
                      </a:lnTo>
                      <a:lnTo>
                        <a:pt x="98343" y="364652"/>
                      </a:lnTo>
                      <a:lnTo>
                        <a:pt x="98164" y="363535"/>
                      </a:lnTo>
                      <a:lnTo>
                        <a:pt x="97243" y="362573"/>
                      </a:lnTo>
                      <a:lnTo>
                        <a:pt x="95653" y="362166"/>
                      </a:lnTo>
                      <a:lnTo>
                        <a:pt x="94374" y="359623"/>
                      </a:lnTo>
                      <a:lnTo>
                        <a:pt x="93404" y="354937"/>
                      </a:lnTo>
                      <a:lnTo>
                        <a:pt x="92149" y="351286"/>
                      </a:lnTo>
                      <a:lnTo>
                        <a:pt x="90609" y="348670"/>
                      </a:lnTo>
                      <a:lnTo>
                        <a:pt x="89509" y="347692"/>
                      </a:lnTo>
                      <a:lnTo>
                        <a:pt x="88694" y="347513"/>
                      </a:lnTo>
                      <a:lnTo>
                        <a:pt x="88416" y="347105"/>
                      </a:lnTo>
                      <a:lnTo>
                        <a:pt x="88196" y="346347"/>
                      </a:lnTo>
                      <a:lnTo>
                        <a:pt x="86990" y="346070"/>
                      </a:lnTo>
                      <a:lnTo>
                        <a:pt x="85303" y="346861"/>
                      </a:lnTo>
                      <a:lnTo>
                        <a:pt x="83779" y="346600"/>
                      </a:lnTo>
                      <a:lnTo>
                        <a:pt x="83029" y="345320"/>
                      </a:lnTo>
                      <a:lnTo>
                        <a:pt x="82003" y="345198"/>
                      </a:lnTo>
                      <a:lnTo>
                        <a:pt x="80682" y="346258"/>
                      </a:lnTo>
                      <a:lnTo>
                        <a:pt x="79232" y="345948"/>
                      </a:lnTo>
                      <a:lnTo>
                        <a:pt x="77643" y="344277"/>
                      </a:lnTo>
                      <a:lnTo>
                        <a:pt x="76762" y="342615"/>
                      </a:lnTo>
                      <a:lnTo>
                        <a:pt x="76591" y="340968"/>
                      </a:lnTo>
                      <a:lnTo>
                        <a:pt x="73853" y="337676"/>
                      </a:lnTo>
                      <a:lnTo>
                        <a:pt x="68531" y="332745"/>
                      </a:lnTo>
                      <a:lnTo>
                        <a:pt x="62737" y="330431"/>
                      </a:lnTo>
                      <a:lnTo>
                        <a:pt x="56461" y="330732"/>
                      </a:lnTo>
                      <a:lnTo>
                        <a:pt x="52941" y="330504"/>
                      </a:lnTo>
                      <a:lnTo>
                        <a:pt x="52175" y="329722"/>
                      </a:lnTo>
                      <a:lnTo>
                        <a:pt x="51400" y="329787"/>
                      </a:lnTo>
                      <a:lnTo>
                        <a:pt x="50618" y="330692"/>
                      </a:lnTo>
                      <a:lnTo>
                        <a:pt x="49795" y="330887"/>
                      </a:lnTo>
                      <a:lnTo>
                        <a:pt x="48915" y="330382"/>
                      </a:lnTo>
                      <a:lnTo>
                        <a:pt x="48369" y="330757"/>
                      </a:lnTo>
                      <a:lnTo>
                        <a:pt x="48149" y="332028"/>
                      </a:lnTo>
                      <a:lnTo>
                        <a:pt x="45940" y="332672"/>
                      </a:lnTo>
                      <a:lnTo>
                        <a:pt x="41735" y="332688"/>
                      </a:lnTo>
                      <a:lnTo>
                        <a:pt x="38344" y="333471"/>
                      </a:lnTo>
                      <a:lnTo>
                        <a:pt x="35769" y="335003"/>
                      </a:lnTo>
                      <a:lnTo>
                        <a:pt x="32110" y="335663"/>
                      </a:lnTo>
                      <a:lnTo>
                        <a:pt x="27375" y="335451"/>
                      </a:lnTo>
                      <a:lnTo>
                        <a:pt x="24523" y="334889"/>
                      </a:lnTo>
                      <a:lnTo>
                        <a:pt x="23545" y="333984"/>
                      </a:lnTo>
                      <a:lnTo>
                        <a:pt x="22175" y="333772"/>
                      </a:lnTo>
                      <a:lnTo>
                        <a:pt x="20423" y="334261"/>
                      </a:lnTo>
                      <a:lnTo>
                        <a:pt x="18858" y="336706"/>
                      </a:lnTo>
                      <a:lnTo>
                        <a:pt x="17481" y="341107"/>
                      </a:lnTo>
                      <a:lnTo>
                        <a:pt x="16332" y="343625"/>
                      </a:lnTo>
                      <a:lnTo>
                        <a:pt x="15427" y="344245"/>
                      </a:lnTo>
                      <a:lnTo>
                        <a:pt x="14458" y="347521"/>
                      </a:lnTo>
                      <a:lnTo>
                        <a:pt x="13912" y="353014"/>
                      </a:lnTo>
                      <a:lnTo>
                        <a:pt x="13088" y="355426"/>
                      </a:lnTo>
                      <a:lnTo>
                        <a:pt x="13080" y="341726"/>
                      </a:lnTo>
                      <a:lnTo>
                        <a:pt x="14425" y="336616"/>
                      </a:lnTo>
                      <a:lnTo>
                        <a:pt x="14865" y="332118"/>
                      </a:lnTo>
                      <a:lnTo>
                        <a:pt x="17766" y="322175"/>
                      </a:lnTo>
                      <a:lnTo>
                        <a:pt x="21214" y="314025"/>
                      </a:lnTo>
                      <a:lnTo>
                        <a:pt x="24400" y="303202"/>
                      </a:lnTo>
                      <a:lnTo>
                        <a:pt x="25606" y="292706"/>
                      </a:lnTo>
                      <a:lnTo>
                        <a:pt x="25199" y="282413"/>
                      </a:lnTo>
                      <a:lnTo>
                        <a:pt x="24254" y="273252"/>
                      </a:lnTo>
                      <a:lnTo>
                        <a:pt x="22640" y="267197"/>
                      </a:lnTo>
                      <a:lnTo>
                        <a:pt x="21083" y="258428"/>
                      </a:lnTo>
                      <a:lnTo>
                        <a:pt x="18777" y="253799"/>
                      </a:lnTo>
                      <a:lnTo>
                        <a:pt x="14556" y="249757"/>
                      </a:lnTo>
                      <a:lnTo>
                        <a:pt x="13602" y="247385"/>
                      </a:lnTo>
                      <a:lnTo>
                        <a:pt x="14588" y="246497"/>
                      </a:lnTo>
                      <a:lnTo>
                        <a:pt x="17155" y="245902"/>
                      </a:lnTo>
                      <a:lnTo>
                        <a:pt x="18793" y="242740"/>
                      </a:lnTo>
                      <a:lnTo>
                        <a:pt x="15338" y="243954"/>
                      </a:lnTo>
                      <a:lnTo>
                        <a:pt x="19339" y="234272"/>
                      </a:lnTo>
                      <a:lnTo>
                        <a:pt x="20586" y="227671"/>
                      </a:lnTo>
                      <a:lnTo>
                        <a:pt x="20391" y="223335"/>
                      </a:lnTo>
                      <a:lnTo>
                        <a:pt x="21157" y="220654"/>
                      </a:lnTo>
                      <a:lnTo>
                        <a:pt x="18101" y="214851"/>
                      </a:lnTo>
                      <a:lnTo>
                        <a:pt x="15721" y="207541"/>
                      </a:lnTo>
                      <a:lnTo>
                        <a:pt x="14498" y="206384"/>
                      </a:lnTo>
                      <a:lnTo>
                        <a:pt x="13227" y="205773"/>
                      </a:lnTo>
                      <a:lnTo>
                        <a:pt x="13113" y="207492"/>
                      </a:lnTo>
                      <a:lnTo>
                        <a:pt x="12428" y="209032"/>
                      </a:lnTo>
                      <a:lnTo>
                        <a:pt x="10945" y="208103"/>
                      </a:lnTo>
                      <a:lnTo>
                        <a:pt x="8321" y="202782"/>
                      </a:lnTo>
                      <a:lnTo>
                        <a:pt x="4654" y="194118"/>
                      </a:lnTo>
                      <a:lnTo>
                        <a:pt x="3366" y="193230"/>
                      </a:lnTo>
                      <a:lnTo>
                        <a:pt x="2298" y="194420"/>
                      </a:lnTo>
                      <a:lnTo>
                        <a:pt x="1630" y="195561"/>
                      </a:lnTo>
                      <a:lnTo>
                        <a:pt x="391" y="202798"/>
                      </a:lnTo>
                      <a:lnTo>
                        <a:pt x="0" y="199929"/>
                      </a:lnTo>
                      <a:lnTo>
                        <a:pt x="538" y="196547"/>
                      </a:lnTo>
                      <a:lnTo>
                        <a:pt x="1443" y="192382"/>
                      </a:lnTo>
                      <a:lnTo>
                        <a:pt x="2461" y="186596"/>
                      </a:lnTo>
                      <a:lnTo>
                        <a:pt x="5640" y="186596"/>
                      </a:lnTo>
                      <a:lnTo>
                        <a:pt x="11320" y="186588"/>
                      </a:lnTo>
                      <a:lnTo>
                        <a:pt x="17009" y="186580"/>
                      </a:lnTo>
                      <a:lnTo>
                        <a:pt x="22697" y="186580"/>
                      </a:lnTo>
                      <a:lnTo>
                        <a:pt x="28386" y="186572"/>
                      </a:lnTo>
                      <a:lnTo>
                        <a:pt x="34074" y="186564"/>
                      </a:lnTo>
                      <a:lnTo>
                        <a:pt x="39754" y="186555"/>
                      </a:lnTo>
                      <a:lnTo>
                        <a:pt x="45443" y="186547"/>
                      </a:lnTo>
                      <a:lnTo>
                        <a:pt x="51123" y="186539"/>
                      </a:lnTo>
                      <a:lnTo>
                        <a:pt x="56820" y="186531"/>
                      </a:lnTo>
                      <a:lnTo>
                        <a:pt x="62500" y="186531"/>
                      </a:lnTo>
                      <a:lnTo>
                        <a:pt x="68189" y="186523"/>
                      </a:lnTo>
                      <a:lnTo>
                        <a:pt x="73877" y="186515"/>
                      </a:lnTo>
                      <a:lnTo>
                        <a:pt x="79566" y="186506"/>
                      </a:lnTo>
                      <a:lnTo>
                        <a:pt x="85254" y="186498"/>
                      </a:lnTo>
                      <a:lnTo>
                        <a:pt x="90935" y="186490"/>
                      </a:lnTo>
                      <a:lnTo>
                        <a:pt x="96623" y="186482"/>
                      </a:lnTo>
                      <a:lnTo>
                        <a:pt x="100372" y="186482"/>
                      </a:lnTo>
                      <a:lnTo>
                        <a:pt x="100152" y="182358"/>
                      </a:lnTo>
                      <a:lnTo>
                        <a:pt x="99981" y="179098"/>
                      </a:lnTo>
                      <a:lnTo>
                        <a:pt x="99745" y="174697"/>
                      </a:lnTo>
                      <a:lnTo>
                        <a:pt x="99508" y="170321"/>
                      </a:lnTo>
                      <a:lnTo>
                        <a:pt x="99272" y="165945"/>
                      </a:lnTo>
                      <a:lnTo>
                        <a:pt x="99052" y="161829"/>
                      </a:lnTo>
                      <a:lnTo>
                        <a:pt x="98832" y="157714"/>
                      </a:lnTo>
                      <a:lnTo>
                        <a:pt x="98628" y="153891"/>
                      </a:lnTo>
                      <a:lnTo>
                        <a:pt x="98441" y="150387"/>
                      </a:lnTo>
                      <a:lnTo>
                        <a:pt x="98123" y="148366"/>
                      </a:lnTo>
                      <a:lnTo>
                        <a:pt x="96917" y="144364"/>
                      </a:lnTo>
                      <a:lnTo>
                        <a:pt x="96648" y="142376"/>
                      </a:lnTo>
                      <a:lnTo>
                        <a:pt x="96982" y="140281"/>
                      </a:lnTo>
                      <a:lnTo>
                        <a:pt x="97780" y="138301"/>
                      </a:lnTo>
                      <a:lnTo>
                        <a:pt x="99997" y="134682"/>
                      </a:lnTo>
                      <a:lnTo>
                        <a:pt x="103363" y="131895"/>
                      </a:lnTo>
                      <a:lnTo>
                        <a:pt x="107242" y="128676"/>
                      </a:lnTo>
                      <a:lnTo>
                        <a:pt x="110201" y="126223"/>
                      </a:lnTo>
                      <a:lnTo>
                        <a:pt x="111717" y="125620"/>
                      </a:lnTo>
                      <a:lnTo>
                        <a:pt x="116346" y="124772"/>
                      </a:lnTo>
                      <a:lnTo>
                        <a:pt x="119980" y="122914"/>
                      </a:lnTo>
                      <a:lnTo>
                        <a:pt x="123526" y="121105"/>
                      </a:lnTo>
                      <a:lnTo>
                        <a:pt x="125009" y="120103"/>
                      </a:lnTo>
                      <a:lnTo>
                        <a:pt x="125180" y="116696"/>
                      </a:lnTo>
                      <a:lnTo>
                        <a:pt x="125180" y="112898"/>
                      </a:lnTo>
                      <a:lnTo>
                        <a:pt x="125180" y="108644"/>
                      </a:lnTo>
                      <a:lnTo>
                        <a:pt x="125180" y="104390"/>
                      </a:lnTo>
                      <a:lnTo>
                        <a:pt x="125180" y="100136"/>
                      </a:lnTo>
                      <a:lnTo>
                        <a:pt x="125180" y="95873"/>
                      </a:lnTo>
                      <a:lnTo>
                        <a:pt x="125180" y="91611"/>
                      </a:lnTo>
                      <a:lnTo>
                        <a:pt x="125180" y="87341"/>
                      </a:lnTo>
                      <a:lnTo>
                        <a:pt x="125180" y="83070"/>
                      </a:lnTo>
                      <a:lnTo>
                        <a:pt x="125180" y="78800"/>
                      </a:lnTo>
                      <a:lnTo>
                        <a:pt x="125180" y="74529"/>
                      </a:lnTo>
                      <a:lnTo>
                        <a:pt x="125180" y="70259"/>
                      </a:lnTo>
                      <a:lnTo>
                        <a:pt x="125180" y="65980"/>
                      </a:lnTo>
                      <a:lnTo>
                        <a:pt x="125180" y="61693"/>
                      </a:lnTo>
                      <a:lnTo>
                        <a:pt x="125180" y="57415"/>
                      </a:lnTo>
                      <a:lnTo>
                        <a:pt x="125180" y="53128"/>
                      </a:lnTo>
                      <a:lnTo>
                        <a:pt x="125180" y="48841"/>
                      </a:lnTo>
                      <a:lnTo>
                        <a:pt x="125180" y="44554"/>
                      </a:lnTo>
                      <a:lnTo>
                        <a:pt x="125180" y="40797"/>
                      </a:lnTo>
                      <a:lnTo>
                        <a:pt x="128896" y="40797"/>
                      </a:lnTo>
                      <a:lnTo>
                        <a:pt x="133517" y="40797"/>
                      </a:lnTo>
                      <a:lnTo>
                        <a:pt x="138138" y="40797"/>
                      </a:lnTo>
                      <a:lnTo>
                        <a:pt x="142759" y="40797"/>
                      </a:lnTo>
                      <a:lnTo>
                        <a:pt x="147380" y="40797"/>
                      </a:lnTo>
                      <a:lnTo>
                        <a:pt x="151992" y="40797"/>
                      </a:lnTo>
                      <a:lnTo>
                        <a:pt x="156614" y="40797"/>
                      </a:lnTo>
                      <a:lnTo>
                        <a:pt x="161234" y="40797"/>
                      </a:lnTo>
                      <a:lnTo>
                        <a:pt x="165855" y="40797"/>
                      </a:lnTo>
                      <a:lnTo>
                        <a:pt x="170476" y="40797"/>
                      </a:lnTo>
                      <a:lnTo>
                        <a:pt x="175089" y="40797"/>
                      </a:lnTo>
                      <a:lnTo>
                        <a:pt x="179710" y="40797"/>
                      </a:lnTo>
                      <a:lnTo>
                        <a:pt x="184331" y="40797"/>
                      </a:lnTo>
                      <a:lnTo>
                        <a:pt x="188952" y="40797"/>
                      </a:lnTo>
                      <a:lnTo>
                        <a:pt x="193573" y="40797"/>
                      </a:lnTo>
                      <a:lnTo>
                        <a:pt x="198193" y="40797"/>
                      </a:lnTo>
                      <a:lnTo>
                        <a:pt x="202814" y="40797"/>
                      </a:lnTo>
                      <a:lnTo>
                        <a:pt x="207859" y="40797"/>
                      </a:lnTo>
                      <a:lnTo>
                        <a:pt x="207859" y="37204"/>
                      </a:lnTo>
                      <a:lnTo>
                        <a:pt x="207859" y="32045"/>
                      </a:lnTo>
                      <a:lnTo>
                        <a:pt x="207859" y="24946"/>
                      </a:lnTo>
                      <a:lnTo>
                        <a:pt x="207851" y="17815"/>
                      </a:lnTo>
                      <a:lnTo>
                        <a:pt x="207851" y="11540"/>
                      </a:lnTo>
                      <a:lnTo>
                        <a:pt x="207851" y="5273"/>
                      </a:lnTo>
                      <a:lnTo>
                        <a:pt x="207843" y="0"/>
                      </a:lnTo>
                      <a:lnTo>
                        <a:pt x="212504" y="3496"/>
                      </a:lnTo>
                      <a:lnTo>
                        <a:pt x="217174" y="7009"/>
                      </a:lnTo>
                      <a:lnTo>
                        <a:pt x="221835" y="10505"/>
                      </a:lnTo>
                      <a:lnTo>
                        <a:pt x="226497" y="14009"/>
                      </a:lnTo>
                      <a:lnTo>
                        <a:pt x="231159" y="17505"/>
                      </a:lnTo>
                      <a:lnTo>
                        <a:pt x="235820" y="21002"/>
                      </a:lnTo>
                      <a:lnTo>
                        <a:pt x="240490" y="24498"/>
                      </a:lnTo>
                      <a:lnTo>
                        <a:pt x="245152" y="27994"/>
                      </a:lnTo>
                      <a:lnTo>
                        <a:pt x="249814" y="31490"/>
                      </a:lnTo>
                      <a:lnTo>
                        <a:pt x="254475" y="34979"/>
                      </a:lnTo>
                      <a:lnTo>
                        <a:pt x="259145" y="38467"/>
                      </a:lnTo>
                      <a:lnTo>
                        <a:pt x="263807" y="41963"/>
                      </a:lnTo>
                      <a:lnTo>
                        <a:pt x="268469" y="45451"/>
                      </a:lnTo>
                      <a:lnTo>
                        <a:pt x="273138" y="48931"/>
                      </a:lnTo>
                      <a:lnTo>
                        <a:pt x="277800" y="52419"/>
                      </a:lnTo>
                      <a:lnTo>
                        <a:pt x="282462" y="55899"/>
                      </a:lnTo>
                      <a:lnTo>
                        <a:pt x="286365" y="58808"/>
                      </a:lnTo>
                      <a:lnTo>
                        <a:pt x="292364" y="63503"/>
                      </a:lnTo>
                      <a:lnTo>
                        <a:pt x="297954" y="67879"/>
                      </a:lnTo>
                      <a:lnTo>
                        <a:pt x="303586" y="72280"/>
                      </a:lnTo>
                      <a:lnTo>
                        <a:pt x="294898" y="72288"/>
                      </a:lnTo>
                      <a:lnTo>
                        <a:pt x="283301" y="72288"/>
                      </a:lnTo>
                      <a:lnTo>
                        <a:pt x="275388" y="72296"/>
                      </a:lnTo>
                      <a:lnTo>
                        <a:pt x="267270" y="72304"/>
                      </a:lnTo>
                      <a:lnTo>
                        <a:pt x="259659" y="72304"/>
                      </a:lnTo>
                      <a:lnTo>
                        <a:pt x="260319" y="79452"/>
                      </a:lnTo>
                      <a:lnTo>
                        <a:pt x="261020" y="87259"/>
                      </a:lnTo>
                      <a:lnTo>
                        <a:pt x="261729" y="95050"/>
                      </a:lnTo>
                      <a:lnTo>
                        <a:pt x="262429" y="102841"/>
                      </a:lnTo>
                      <a:lnTo>
                        <a:pt x="263139" y="110616"/>
                      </a:lnTo>
                      <a:lnTo>
                        <a:pt x="263840" y="118391"/>
                      </a:lnTo>
                      <a:lnTo>
                        <a:pt x="264541" y="126158"/>
                      </a:lnTo>
                      <a:lnTo>
                        <a:pt x="265249" y="133916"/>
                      </a:lnTo>
                      <a:lnTo>
                        <a:pt x="265950" y="141667"/>
                      </a:lnTo>
                      <a:lnTo>
                        <a:pt x="266659" y="149409"/>
                      </a:lnTo>
                      <a:lnTo>
                        <a:pt x="267360" y="157143"/>
                      </a:lnTo>
                      <a:lnTo>
                        <a:pt x="268069" y="164877"/>
                      </a:lnTo>
                      <a:lnTo>
                        <a:pt x="268778" y="172595"/>
                      </a:lnTo>
                      <a:lnTo>
                        <a:pt x="269479" y="180321"/>
                      </a:lnTo>
                      <a:lnTo>
                        <a:pt x="270205" y="187908"/>
                      </a:lnTo>
                      <a:close/>
                    </a:path>
                  </a:pathLst>
                </a:custGeom>
                <a:solidFill>
                  <a:srgbClr val="D6D6D2"/>
                </a:solidFill>
                <a:ln w="6112" cap="rnd">
                  <a:solidFill>
                    <a:srgbClr val="FFFFFF"/>
                  </a:solidFill>
                  <a:prstDash val="solid"/>
                  <a:round/>
                </a:ln>
              </p:spPr>
              <p:txBody>
                <a:bodyPr rtlCol="0" anchor="ctr"/>
                <a:lstStyle/>
                <a:p>
                  <a:endParaRPr lang="en-US"/>
                </a:p>
              </p:txBody>
            </p:sp>
            <p:sp>
              <p:nvSpPr>
                <p:cNvPr id="676" name="Freeform: Shape 675">
                  <a:extLst>
                    <a:ext uri="{FF2B5EF4-FFF2-40B4-BE49-F238E27FC236}">
                      <a16:creationId xmlns:a16="http://schemas.microsoft.com/office/drawing/2014/main" id="{5A8A22F5-B563-4CDB-80D0-1F23AEFE78A8}"/>
                    </a:ext>
                  </a:extLst>
                </p:cNvPr>
                <p:cNvSpPr/>
                <p:nvPr/>
              </p:nvSpPr>
              <p:spPr>
                <a:xfrm>
                  <a:off x="6693171" y="4838693"/>
                  <a:ext cx="263504" cy="505087"/>
                </a:xfrm>
                <a:custGeom>
                  <a:avLst/>
                  <a:gdLst>
                    <a:gd name="connsiteX0" fmla="*/ 66111 w 263504"/>
                    <a:gd name="connsiteY0" fmla="*/ 504696 h 505087"/>
                    <a:gd name="connsiteX1" fmla="*/ 63397 w 263504"/>
                    <a:gd name="connsiteY1" fmla="*/ 504745 h 505087"/>
                    <a:gd name="connsiteX2" fmla="*/ 58743 w 263504"/>
                    <a:gd name="connsiteY2" fmla="*/ 504900 h 505087"/>
                    <a:gd name="connsiteX3" fmla="*/ 55980 w 263504"/>
                    <a:gd name="connsiteY3" fmla="*/ 504990 h 505087"/>
                    <a:gd name="connsiteX4" fmla="*/ 52900 w 263504"/>
                    <a:gd name="connsiteY4" fmla="*/ 505088 h 505087"/>
                    <a:gd name="connsiteX5" fmla="*/ 49077 w 263504"/>
                    <a:gd name="connsiteY5" fmla="*/ 504207 h 505087"/>
                    <a:gd name="connsiteX6" fmla="*/ 46926 w 263504"/>
                    <a:gd name="connsiteY6" fmla="*/ 504379 h 505087"/>
                    <a:gd name="connsiteX7" fmla="*/ 46755 w 263504"/>
                    <a:gd name="connsiteY7" fmla="*/ 494297 h 505087"/>
                    <a:gd name="connsiteX8" fmla="*/ 46070 w 263504"/>
                    <a:gd name="connsiteY8" fmla="*/ 492073 h 505087"/>
                    <a:gd name="connsiteX9" fmla="*/ 45337 w 263504"/>
                    <a:gd name="connsiteY9" fmla="*/ 488837 h 505087"/>
                    <a:gd name="connsiteX10" fmla="*/ 45157 w 263504"/>
                    <a:gd name="connsiteY10" fmla="*/ 486751 h 505087"/>
                    <a:gd name="connsiteX11" fmla="*/ 45622 w 263504"/>
                    <a:gd name="connsiteY11" fmla="*/ 484664 h 505087"/>
                    <a:gd name="connsiteX12" fmla="*/ 45842 w 263504"/>
                    <a:gd name="connsiteY12" fmla="*/ 481356 h 505087"/>
                    <a:gd name="connsiteX13" fmla="*/ 45638 w 263504"/>
                    <a:gd name="connsiteY13" fmla="*/ 478463 h 505087"/>
                    <a:gd name="connsiteX14" fmla="*/ 43356 w 263504"/>
                    <a:gd name="connsiteY14" fmla="*/ 477004 h 505087"/>
                    <a:gd name="connsiteX15" fmla="*/ 42851 w 263504"/>
                    <a:gd name="connsiteY15" fmla="*/ 476547 h 505087"/>
                    <a:gd name="connsiteX16" fmla="*/ 42354 w 263504"/>
                    <a:gd name="connsiteY16" fmla="*/ 474273 h 505087"/>
                    <a:gd name="connsiteX17" fmla="*/ 42158 w 263504"/>
                    <a:gd name="connsiteY17" fmla="*/ 470761 h 505087"/>
                    <a:gd name="connsiteX18" fmla="*/ 43756 w 263504"/>
                    <a:gd name="connsiteY18" fmla="*/ 466287 h 505087"/>
                    <a:gd name="connsiteX19" fmla="*/ 43617 w 263504"/>
                    <a:gd name="connsiteY19" fmla="*/ 457705 h 505087"/>
                    <a:gd name="connsiteX20" fmla="*/ 43805 w 263504"/>
                    <a:gd name="connsiteY20" fmla="*/ 454690 h 505087"/>
                    <a:gd name="connsiteX21" fmla="*/ 43772 w 263504"/>
                    <a:gd name="connsiteY21" fmla="*/ 448732 h 505087"/>
                    <a:gd name="connsiteX22" fmla="*/ 43740 w 263504"/>
                    <a:gd name="connsiteY22" fmla="*/ 441503 h 505087"/>
                    <a:gd name="connsiteX23" fmla="*/ 43707 w 263504"/>
                    <a:gd name="connsiteY23" fmla="*/ 435057 h 505087"/>
                    <a:gd name="connsiteX24" fmla="*/ 43772 w 263504"/>
                    <a:gd name="connsiteY24" fmla="*/ 429483 h 505087"/>
                    <a:gd name="connsiteX25" fmla="*/ 43291 w 263504"/>
                    <a:gd name="connsiteY25" fmla="*/ 426842 h 505087"/>
                    <a:gd name="connsiteX26" fmla="*/ 42900 w 263504"/>
                    <a:gd name="connsiteY26" fmla="*/ 425392 h 505087"/>
                    <a:gd name="connsiteX27" fmla="*/ 41841 w 263504"/>
                    <a:gd name="connsiteY27" fmla="*/ 422450 h 505087"/>
                    <a:gd name="connsiteX28" fmla="*/ 40618 w 263504"/>
                    <a:gd name="connsiteY28" fmla="*/ 416313 h 505087"/>
                    <a:gd name="connsiteX29" fmla="*/ 39151 w 263504"/>
                    <a:gd name="connsiteY29" fmla="*/ 411684 h 505087"/>
                    <a:gd name="connsiteX30" fmla="*/ 37277 w 263504"/>
                    <a:gd name="connsiteY30" fmla="*/ 408636 h 505087"/>
                    <a:gd name="connsiteX31" fmla="*/ 36682 w 263504"/>
                    <a:gd name="connsiteY31" fmla="*/ 407030 h 505087"/>
                    <a:gd name="connsiteX32" fmla="*/ 36079 w 263504"/>
                    <a:gd name="connsiteY32" fmla="*/ 404870 h 505087"/>
                    <a:gd name="connsiteX33" fmla="*/ 34310 w 263504"/>
                    <a:gd name="connsiteY33" fmla="*/ 401081 h 505087"/>
                    <a:gd name="connsiteX34" fmla="*/ 32852 w 263504"/>
                    <a:gd name="connsiteY34" fmla="*/ 398872 h 505087"/>
                    <a:gd name="connsiteX35" fmla="*/ 32460 w 263504"/>
                    <a:gd name="connsiteY35" fmla="*/ 397096 h 505087"/>
                    <a:gd name="connsiteX36" fmla="*/ 32517 w 263504"/>
                    <a:gd name="connsiteY36" fmla="*/ 392540 h 505087"/>
                    <a:gd name="connsiteX37" fmla="*/ 30895 w 263504"/>
                    <a:gd name="connsiteY37" fmla="*/ 384333 h 505087"/>
                    <a:gd name="connsiteX38" fmla="*/ 29722 w 263504"/>
                    <a:gd name="connsiteY38" fmla="*/ 378359 h 505087"/>
                    <a:gd name="connsiteX39" fmla="*/ 27945 w 263504"/>
                    <a:gd name="connsiteY39" fmla="*/ 371897 h 505087"/>
                    <a:gd name="connsiteX40" fmla="*/ 26764 w 263504"/>
                    <a:gd name="connsiteY40" fmla="*/ 367577 h 505087"/>
                    <a:gd name="connsiteX41" fmla="*/ 26593 w 263504"/>
                    <a:gd name="connsiteY41" fmla="*/ 366819 h 505087"/>
                    <a:gd name="connsiteX42" fmla="*/ 26454 w 263504"/>
                    <a:gd name="connsiteY42" fmla="*/ 365189 h 505087"/>
                    <a:gd name="connsiteX43" fmla="*/ 29975 w 263504"/>
                    <a:gd name="connsiteY43" fmla="*/ 361978 h 505087"/>
                    <a:gd name="connsiteX44" fmla="*/ 33495 w 263504"/>
                    <a:gd name="connsiteY44" fmla="*/ 357464 h 505087"/>
                    <a:gd name="connsiteX45" fmla="*/ 37627 w 263504"/>
                    <a:gd name="connsiteY45" fmla="*/ 352174 h 505087"/>
                    <a:gd name="connsiteX46" fmla="*/ 41294 w 263504"/>
                    <a:gd name="connsiteY46" fmla="*/ 347455 h 505087"/>
                    <a:gd name="connsiteX47" fmla="*/ 44522 w 263504"/>
                    <a:gd name="connsiteY47" fmla="*/ 343315 h 505087"/>
                    <a:gd name="connsiteX48" fmla="*/ 48947 w 263504"/>
                    <a:gd name="connsiteY48" fmla="*/ 337643 h 505087"/>
                    <a:gd name="connsiteX49" fmla="*/ 53323 w 263504"/>
                    <a:gd name="connsiteY49" fmla="*/ 332044 h 505087"/>
                    <a:gd name="connsiteX50" fmla="*/ 54350 w 263504"/>
                    <a:gd name="connsiteY50" fmla="*/ 331327 h 505087"/>
                    <a:gd name="connsiteX51" fmla="*/ 54782 w 263504"/>
                    <a:gd name="connsiteY51" fmla="*/ 330871 h 505087"/>
                    <a:gd name="connsiteX52" fmla="*/ 52892 w 263504"/>
                    <a:gd name="connsiteY52" fmla="*/ 325900 h 505087"/>
                    <a:gd name="connsiteX53" fmla="*/ 55939 w 263504"/>
                    <a:gd name="connsiteY53" fmla="*/ 320129 h 505087"/>
                    <a:gd name="connsiteX54" fmla="*/ 56103 w 263504"/>
                    <a:gd name="connsiteY54" fmla="*/ 316381 h 505087"/>
                    <a:gd name="connsiteX55" fmla="*/ 55972 w 263504"/>
                    <a:gd name="connsiteY55" fmla="*/ 312787 h 505087"/>
                    <a:gd name="connsiteX56" fmla="*/ 56347 w 263504"/>
                    <a:gd name="connsiteY56" fmla="*/ 311132 h 505087"/>
                    <a:gd name="connsiteX57" fmla="*/ 57244 w 263504"/>
                    <a:gd name="connsiteY57" fmla="*/ 309690 h 505087"/>
                    <a:gd name="connsiteX58" fmla="*/ 60805 w 263504"/>
                    <a:gd name="connsiteY58" fmla="*/ 306699 h 505087"/>
                    <a:gd name="connsiteX59" fmla="*/ 63494 w 263504"/>
                    <a:gd name="connsiteY59" fmla="*/ 301915 h 505087"/>
                    <a:gd name="connsiteX60" fmla="*/ 65703 w 263504"/>
                    <a:gd name="connsiteY60" fmla="*/ 297457 h 505087"/>
                    <a:gd name="connsiteX61" fmla="*/ 68751 w 263504"/>
                    <a:gd name="connsiteY61" fmla="*/ 290277 h 505087"/>
                    <a:gd name="connsiteX62" fmla="*/ 69052 w 263504"/>
                    <a:gd name="connsiteY62" fmla="*/ 288590 h 505087"/>
                    <a:gd name="connsiteX63" fmla="*/ 69102 w 263504"/>
                    <a:gd name="connsiteY63" fmla="*/ 286862 h 505087"/>
                    <a:gd name="connsiteX64" fmla="*/ 68254 w 263504"/>
                    <a:gd name="connsiteY64" fmla="*/ 284434 h 505087"/>
                    <a:gd name="connsiteX65" fmla="*/ 66208 w 263504"/>
                    <a:gd name="connsiteY65" fmla="*/ 280514 h 505087"/>
                    <a:gd name="connsiteX66" fmla="*/ 64725 w 263504"/>
                    <a:gd name="connsiteY66" fmla="*/ 277123 h 505087"/>
                    <a:gd name="connsiteX67" fmla="*/ 63421 w 263504"/>
                    <a:gd name="connsiteY67" fmla="*/ 271908 h 505087"/>
                    <a:gd name="connsiteX68" fmla="*/ 64733 w 263504"/>
                    <a:gd name="connsiteY68" fmla="*/ 267360 h 505087"/>
                    <a:gd name="connsiteX69" fmla="*/ 65206 w 263504"/>
                    <a:gd name="connsiteY69" fmla="*/ 264614 h 505087"/>
                    <a:gd name="connsiteX70" fmla="*/ 65206 w 263504"/>
                    <a:gd name="connsiteY70" fmla="*/ 263130 h 505087"/>
                    <a:gd name="connsiteX71" fmla="*/ 64619 w 263504"/>
                    <a:gd name="connsiteY71" fmla="*/ 261720 h 505087"/>
                    <a:gd name="connsiteX72" fmla="*/ 63128 w 263504"/>
                    <a:gd name="connsiteY72" fmla="*/ 260669 h 505087"/>
                    <a:gd name="connsiteX73" fmla="*/ 61905 w 263504"/>
                    <a:gd name="connsiteY73" fmla="*/ 259976 h 505087"/>
                    <a:gd name="connsiteX74" fmla="*/ 61481 w 263504"/>
                    <a:gd name="connsiteY74" fmla="*/ 258110 h 505087"/>
                    <a:gd name="connsiteX75" fmla="*/ 61473 w 263504"/>
                    <a:gd name="connsiteY75" fmla="*/ 255885 h 505087"/>
                    <a:gd name="connsiteX76" fmla="*/ 62027 w 263504"/>
                    <a:gd name="connsiteY76" fmla="*/ 254646 h 505087"/>
                    <a:gd name="connsiteX77" fmla="*/ 65320 w 263504"/>
                    <a:gd name="connsiteY77" fmla="*/ 252658 h 505087"/>
                    <a:gd name="connsiteX78" fmla="*/ 66061 w 263504"/>
                    <a:gd name="connsiteY78" fmla="*/ 251574 h 505087"/>
                    <a:gd name="connsiteX79" fmla="*/ 66453 w 263504"/>
                    <a:gd name="connsiteY79" fmla="*/ 250368 h 505087"/>
                    <a:gd name="connsiteX80" fmla="*/ 66485 w 263504"/>
                    <a:gd name="connsiteY80" fmla="*/ 248640 h 505087"/>
                    <a:gd name="connsiteX81" fmla="*/ 67496 w 263504"/>
                    <a:gd name="connsiteY81" fmla="*/ 244329 h 505087"/>
                    <a:gd name="connsiteX82" fmla="*/ 68751 w 263504"/>
                    <a:gd name="connsiteY82" fmla="*/ 240238 h 505087"/>
                    <a:gd name="connsiteX83" fmla="*/ 68840 w 263504"/>
                    <a:gd name="connsiteY83" fmla="*/ 238795 h 505087"/>
                    <a:gd name="connsiteX84" fmla="*/ 68392 w 263504"/>
                    <a:gd name="connsiteY84" fmla="*/ 237532 h 505087"/>
                    <a:gd name="connsiteX85" fmla="*/ 68050 w 263504"/>
                    <a:gd name="connsiteY85" fmla="*/ 235234 h 505087"/>
                    <a:gd name="connsiteX86" fmla="*/ 67822 w 263504"/>
                    <a:gd name="connsiteY86" fmla="*/ 231746 h 505087"/>
                    <a:gd name="connsiteX87" fmla="*/ 67805 w 263504"/>
                    <a:gd name="connsiteY87" fmla="*/ 221999 h 505087"/>
                    <a:gd name="connsiteX88" fmla="*/ 68450 w 263504"/>
                    <a:gd name="connsiteY88" fmla="*/ 211958 h 505087"/>
                    <a:gd name="connsiteX89" fmla="*/ 68164 w 263504"/>
                    <a:gd name="connsiteY89" fmla="*/ 206270 h 505087"/>
                    <a:gd name="connsiteX90" fmla="*/ 66061 w 263504"/>
                    <a:gd name="connsiteY90" fmla="*/ 199717 h 505087"/>
                    <a:gd name="connsiteX91" fmla="*/ 65858 w 263504"/>
                    <a:gd name="connsiteY91" fmla="*/ 194998 h 505087"/>
                    <a:gd name="connsiteX92" fmla="*/ 67390 w 263504"/>
                    <a:gd name="connsiteY92" fmla="*/ 191706 h 505087"/>
                    <a:gd name="connsiteX93" fmla="*/ 67634 w 263504"/>
                    <a:gd name="connsiteY93" fmla="*/ 189766 h 505087"/>
                    <a:gd name="connsiteX94" fmla="*/ 66510 w 263504"/>
                    <a:gd name="connsiteY94" fmla="*/ 189514 h 505087"/>
                    <a:gd name="connsiteX95" fmla="*/ 64220 w 263504"/>
                    <a:gd name="connsiteY95" fmla="*/ 189318 h 505087"/>
                    <a:gd name="connsiteX96" fmla="*/ 62516 w 263504"/>
                    <a:gd name="connsiteY96" fmla="*/ 188707 h 505087"/>
                    <a:gd name="connsiteX97" fmla="*/ 59892 w 263504"/>
                    <a:gd name="connsiteY97" fmla="*/ 186009 h 505087"/>
                    <a:gd name="connsiteX98" fmla="*/ 55329 w 263504"/>
                    <a:gd name="connsiteY98" fmla="*/ 183760 h 505087"/>
                    <a:gd name="connsiteX99" fmla="*/ 50153 w 263504"/>
                    <a:gd name="connsiteY99" fmla="*/ 181715 h 505087"/>
                    <a:gd name="connsiteX100" fmla="*/ 42615 w 263504"/>
                    <a:gd name="connsiteY100" fmla="*/ 181111 h 505087"/>
                    <a:gd name="connsiteX101" fmla="*/ 36364 w 263504"/>
                    <a:gd name="connsiteY101" fmla="*/ 174543 h 505087"/>
                    <a:gd name="connsiteX102" fmla="*/ 31458 w 263504"/>
                    <a:gd name="connsiteY102" fmla="*/ 173491 h 505087"/>
                    <a:gd name="connsiteX103" fmla="*/ 29877 w 263504"/>
                    <a:gd name="connsiteY103" fmla="*/ 172652 h 505087"/>
                    <a:gd name="connsiteX104" fmla="*/ 25166 w 263504"/>
                    <a:gd name="connsiteY104" fmla="*/ 168724 h 505087"/>
                    <a:gd name="connsiteX105" fmla="*/ 17799 w 263504"/>
                    <a:gd name="connsiteY105" fmla="*/ 168357 h 505087"/>
                    <a:gd name="connsiteX106" fmla="*/ 10146 w 263504"/>
                    <a:gd name="connsiteY106" fmla="*/ 167974 h 505087"/>
                    <a:gd name="connsiteX107" fmla="*/ 5371 w 263504"/>
                    <a:gd name="connsiteY107" fmla="*/ 167852 h 505087"/>
                    <a:gd name="connsiteX108" fmla="*/ 4670 w 263504"/>
                    <a:gd name="connsiteY108" fmla="*/ 167338 h 505087"/>
                    <a:gd name="connsiteX109" fmla="*/ 4393 w 263504"/>
                    <a:gd name="connsiteY109" fmla="*/ 161927 h 505087"/>
                    <a:gd name="connsiteX110" fmla="*/ 4336 w 263504"/>
                    <a:gd name="connsiteY110" fmla="*/ 157102 h 505087"/>
                    <a:gd name="connsiteX111" fmla="*/ 3928 w 263504"/>
                    <a:gd name="connsiteY111" fmla="*/ 152921 h 505087"/>
                    <a:gd name="connsiteX112" fmla="*/ 3203 w 263504"/>
                    <a:gd name="connsiteY112" fmla="*/ 148162 h 505087"/>
                    <a:gd name="connsiteX113" fmla="*/ 2086 w 263504"/>
                    <a:gd name="connsiteY113" fmla="*/ 146296 h 505087"/>
                    <a:gd name="connsiteX114" fmla="*/ 766 w 263504"/>
                    <a:gd name="connsiteY114" fmla="*/ 143085 h 505087"/>
                    <a:gd name="connsiteX115" fmla="*/ 90 w 263504"/>
                    <a:gd name="connsiteY115" fmla="*/ 139523 h 505087"/>
                    <a:gd name="connsiteX116" fmla="*/ 0 w 263504"/>
                    <a:gd name="connsiteY116" fmla="*/ 137820 h 505087"/>
                    <a:gd name="connsiteX117" fmla="*/ 253 w 263504"/>
                    <a:gd name="connsiteY117" fmla="*/ 137201 h 505087"/>
                    <a:gd name="connsiteX118" fmla="*/ 5558 w 263504"/>
                    <a:gd name="connsiteY118" fmla="*/ 134666 h 505087"/>
                    <a:gd name="connsiteX119" fmla="*/ 7840 w 263504"/>
                    <a:gd name="connsiteY119" fmla="*/ 133419 h 505087"/>
                    <a:gd name="connsiteX120" fmla="*/ 11197 w 263504"/>
                    <a:gd name="connsiteY120" fmla="*/ 131977 h 505087"/>
                    <a:gd name="connsiteX121" fmla="*/ 17196 w 263504"/>
                    <a:gd name="connsiteY121" fmla="*/ 129980 h 505087"/>
                    <a:gd name="connsiteX122" fmla="*/ 22550 w 263504"/>
                    <a:gd name="connsiteY122" fmla="*/ 128187 h 505087"/>
                    <a:gd name="connsiteX123" fmla="*/ 27440 w 263504"/>
                    <a:gd name="connsiteY123" fmla="*/ 126459 h 505087"/>
                    <a:gd name="connsiteX124" fmla="*/ 32648 w 263504"/>
                    <a:gd name="connsiteY124" fmla="*/ 124617 h 505087"/>
                    <a:gd name="connsiteX125" fmla="*/ 34758 w 263504"/>
                    <a:gd name="connsiteY125" fmla="*/ 123387 h 505087"/>
                    <a:gd name="connsiteX126" fmla="*/ 37383 w 263504"/>
                    <a:gd name="connsiteY126" fmla="*/ 122156 h 505087"/>
                    <a:gd name="connsiteX127" fmla="*/ 43666 w 263504"/>
                    <a:gd name="connsiteY127" fmla="*/ 119671 h 505087"/>
                    <a:gd name="connsiteX128" fmla="*/ 45459 w 263504"/>
                    <a:gd name="connsiteY128" fmla="*/ 118823 h 505087"/>
                    <a:gd name="connsiteX129" fmla="*/ 49061 w 263504"/>
                    <a:gd name="connsiteY129" fmla="*/ 117429 h 505087"/>
                    <a:gd name="connsiteX130" fmla="*/ 50871 w 263504"/>
                    <a:gd name="connsiteY130" fmla="*/ 116892 h 505087"/>
                    <a:gd name="connsiteX131" fmla="*/ 57830 w 263504"/>
                    <a:gd name="connsiteY131" fmla="*/ 114047 h 505087"/>
                    <a:gd name="connsiteX132" fmla="*/ 65801 w 263504"/>
                    <a:gd name="connsiteY132" fmla="*/ 110787 h 505087"/>
                    <a:gd name="connsiteX133" fmla="*/ 68596 w 263504"/>
                    <a:gd name="connsiteY133" fmla="*/ 109655 h 505087"/>
                    <a:gd name="connsiteX134" fmla="*/ 73918 w 263504"/>
                    <a:gd name="connsiteY134" fmla="*/ 107470 h 505087"/>
                    <a:gd name="connsiteX135" fmla="*/ 74961 w 263504"/>
                    <a:gd name="connsiteY135" fmla="*/ 108367 h 505087"/>
                    <a:gd name="connsiteX136" fmla="*/ 78588 w 263504"/>
                    <a:gd name="connsiteY136" fmla="*/ 115865 h 505087"/>
                    <a:gd name="connsiteX137" fmla="*/ 81457 w 263504"/>
                    <a:gd name="connsiteY137" fmla="*/ 120266 h 505087"/>
                    <a:gd name="connsiteX138" fmla="*/ 84700 w 263504"/>
                    <a:gd name="connsiteY138" fmla="*/ 124340 h 505087"/>
                    <a:gd name="connsiteX139" fmla="*/ 85246 w 263504"/>
                    <a:gd name="connsiteY139" fmla="*/ 124137 h 505087"/>
                    <a:gd name="connsiteX140" fmla="*/ 86175 w 263504"/>
                    <a:gd name="connsiteY140" fmla="*/ 123191 h 505087"/>
                    <a:gd name="connsiteX141" fmla="*/ 87797 w 263504"/>
                    <a:gd name="connsiteY141" fmla="*/ 122800 h 505087"/>
                    <a:gd name="connsiteX142" fmla="*/ 92972 w 263504"/>
                    <a:gd name="connsiteY142" fmla="*/ 121879 h 505087"/>
                    <a:gd name="connsiteX143" fmla="*/ 94936 w 263504"/>
                    <a:gd name="connsiteY143" fmla="*/ 121822 h 505087"/>
                    <a:gd name="connsiteX144" fmla="*/ 96232 w 263504"/>
                    <a:gd name="connsiteY144" fmla="*/ 120730 h 505087"/>
                    <a:gd name="connsiteX145" fmla="*/ 98889 w 263504"/>
                    <a:gd name="connsiteY145" fmla="*/ 119948 h 505087"/>
                    <a:gd name="connsiteX146" fmla="*/ 101961 w 263504"/>
                    <a:gd name="connsiteY146" fmla="*/ 119483 h 505087"/>
                    <a:gd name="connsiteX147" fmla="*/ 103004 w 263504"/>
                    <a:gd name="connsiteY147" fmla="*/ 119980 h 505087"/>
                    <a:gd name="connsiteX148" fmla="*/ 106240 w 263504"/>
                    <a:gd name="connsiteY148" fmla="*/ 125261 h 505087"/>
                    <a:gd name="connsiteX149" fmla="*/ 106713 w 263504"/>
                    <a:gd name="connsiteY149" fmla="*/ 129279 h 505087"/>
                    <a:gd name="connsiteX150" fmla="*/ 107381 w 263504"/>
                    <a:gd name="connsiteY150" fmla="*/ 135122 h 505087"/>
                    <a:gd name="connsiteX151" fmla="*/ 107544 w 263504"/>
                    <a:gd name="connsiteY151" fmla="*/ 137975 h 505087"/>
                    <a:gd name="connsiteX152" fmla="*/ 107487 w 263504"/>
                    <a:gd name="connsiteY152" fmla="*/ 141781 h 505087"/>
                    <a:gd name="connsiteX153" fmla="*/ 107120 w 263504"/>
                    <a:gd name="connsiteY153" fmla="*/ 146548 h 505087"/>
                    <a:gd name="connsiteX154" fmla="*/ 104496 w 263504"/>
                    <a:gd name="connsiteY154" fmla="*/ 152033 h 505087"/>
                    <a:gd name="connsiteX155" fmla="*/ 103999 w 263504"/>
                    <a:gd name="connsiteY155" fmla="*/ 154763 h 505087"/>
                    <a:gd name="connsiteX156" fmla="*/ 102588 w 263504"/>
                    <a:gd name="connsiteY156" fmla="*/ 158993 h 505087"/>
                    <a:gd name="connsiteX157" fmla="*/ 100722 w 263504"/>
                    <a:gd name="connsiteY157" fmla="*/ 161071 h 505087"/>
                    <a:gd name="connsiteX158" fmla="*/ 99809 w 263504"/>
                    <a:gd name="connsiteY158" fmla="*/ 162791 h 505087"/>
                    <a:gd name="connsiteX159" fmla="*/ 99867 w 263504"/>
                    <a:gd name="connsiteY159" fmla="*/ 164559 h 505087"/>
                    <a:gd name="connsiteX160" fmla="*/ 100853 w 263504"/>
                    <a:gd name="connsiteY160" fmla="*/ 166043 h 505087"/>
                    <a:gd name="connsiteX161" fmla="*/ 103037 w 263504"/>
                    <a:gd name="connsiteY161" fmla="*/ 168716 h 505087"/>
                    <a:gd name="connsiteX162" fmla="*/ 103705 w 263504"/>
                    <a:gd name="connsiteY162" fmla="*/ 170435 h 505087"/>
                    <a:gd name="connsiteX163" fmla="*/ 103510 w 263504"/>
                    <a:gd name="connsiteY163" fmla="*/ 171992 h 505087"/>
                    <a:gd name="connsiteX164" fmla="*/ 103526 w 263504"/>
                    <a:gd name="connsiteY164" fmla="*/ 174070 h 505087"/>
                    <a:gd name="connsiteX165" fmla="*/ 104039 w 263504"/>
                    <a:gd name="connsiteY165" fmla="*/ 175537 h 505087"/>
                    <a:gd name="connsiteX166" fmla="*/ 104659 w 263504"/>
                    <a:gd name="connsiteY166" fmla="*/ 176376 h 505087"/>
                    <a:gd name="connsiteX167" fmla="*/ 106810 w 263504"/>
                    <a:gd name="connsiteY167" fmla="*/ 177754 h 505087"/>
                    <a:gd name="connsiteX168" fmla="*/ 108913 w 263504"/>
                    <a:gd name="connsiteY168" fmla="*/ 181177 h 505087"/>
                    <a:gd name="connsiteX169" fmla="*/ 112539 w 263504"/>
                    <a:gd name="connsiteY169" fmla="*/ 185325 h 505087"/>
                    <a:gd name="connsiteX170" fmla="*/ 116859 w 263504"/>
                    <a:gd name="connsiteY170" fmla="*/ 191241 h 505087"/>
                    <a:gd name="connsiteX171" fmla="*/ 118888 w 263504"/>
                    <a:gd name="connsiteY171" fmla="*/ 193051 h 505087"/>
                    <a:gd name="connsiteX172" fmla="*/ 120486 w 263504"/>
                    <a:gd name="connsiteY172" fmla="*/ 193499 h 505087"/>
                    <a:gd name="connsiteX173" fmla="*/ 121300 w 263504"/>
                    <a:gd name="connsiteY173" fmla="*/ 195471 h 505087"/>
                    <a:gd name="connsiteX174" fmla="*/ 120844 w 263504"/>
                    <a:gd name="connsiteY174" fmla="*/ 197777 h 505087"/>
                    <a:gd name="connsiteX175" fmla="*/ 119597 w 263504"/>
                    <a:gd name="connsiteY175" fmla="*/ 199098 h 505087"/>
                    <a:gd name="connsiteX176" fmla="*/ 120111 w 263504"/>
                    <a:gd name="connsiteY176" fmla="*/ 200980 h 505087"/>
                    <a:gd name="connsiteX177" fmla="*/ 120819 w 263504"/>
                    <a:gd name="connsiteY177" fmla="*/ 201967 h 505087"/>
                    <a:gd name="connsiteX178" fmla="*/ 121602 w 263504"/>
                    <a:gd name="connsiteY178" fmla="*/ 202464 h 505087"/>
                    <a:gd name="connsiteX179" fmla="*/ 123501 w 263504"/>
                    <a:gd name="connsiteY179" fmla="*/ 202586 h 505087"/>
                    <a:gd name="connsiteX180" fmla="*/ 125277 w 263504"/>
                    <a:gd name="connsiteY180" fmla="*/ 202203 h 505087"/>
                    <a:gd name="connsiteX181" fmla="*/ 125717 w 263504"/>
                    <a:gd name="connsiteY181" fmla="*/ 201551 h 505087"/>
                    <a:gd name="connsiteX182" fmla="*/ 125489 w 263504"/>
                    <a:gd name="connsiteY182" fmla="*/ 192700 h 505087"/>
                    <a:gd name="connsiteX183" fmla="*/ 124218 w 263504"/>
                    <a:gd name="connsiteY183" fmla="*/ 187533 h 505087"/>
                    <a:gd name="connsiteX184" fmla="*/ 122947 w 263504"/>
                    <a:gd name="connsiteY184" fmla="*/ 185520 h 505087"/>
                    <a:gd name="connsiteX185" fmla="*/ 122661 w 263504"/>
                    <a:gd name="connsiteY185" fmla="*/ 185121 h 505087"/>
                    <a:gd name="connsiteX186" fmla="*/ 123118 w 263504"/>
                    <a:gd name="connsiteY186" fmla="*/ 183426 h 505087"/>
                    <a:gd name="connsiteX187" fmla="*/ 124544 w 263504"/>
                    <a:gd name="connsiteY187" fmla="*/ 179473 h 505087"/>
                    <a:gd name="connsiteX188" fmla="*/ 125758 w 263504"/>
                    <a:gd name="connsiteY188" fmla="*/ 175561 h 505087"/>
                    <a:gd name="connsiteX189" fmla="*/ 126516 w 263504"/>
                    <a:gd name="connsiteY189" fmla="*/ 173907 h 505087"/>
                    <a:gd name="connsiteX190" fmla="*/ 127413 w 263504"/>
                    <a:gd name="connsiteY190" fmla="*/ 172921 h 505087"/>
                    <a:gd name="connsiteX191" fmla="*/ 133387 w 263504"/>
                    <a:gd name="connsiteY191" fmla="*/ 171861 h 505087"/>
                    <a:gd name="connsiteX192" fmla="*/ 136100 w 263504"/>
                    <a:gd name="connsiteY192" fmla="*/ 170940 h 505087"/>
                    <a:gd name="connsiteX193" fmla="*/ 137250 w 263504"/>
                    <a:gd name="connsiteY193" fmla="*/ 169791 h 505087"/>
                    <a:gd name="connsiteX194" fmla="*/ 138138 w 263504"/>
                    <a:gd name="connsiteY194" fmla="*/ 166743 h 505087"/>
                    <a:gd name="connsiteX195" fmla="*/ 138847 w 263504"/>
                    <a:gd name="connsiteY195" fmla="*/ 158259 h 505087"/>
                    <a:gd name="connsiteX196" fmla="*/ 139108 w 263504"/>
                    <a:gd name="connsiteY196" fmla="*/ 150281 h 505087"/>
                    <a:gd name="connsiteX197" fmla="*/ 138496 w 263504"/>
                    <a:gd name="connsiteY197" fmla="*/ 145611 h 505087"/>
                    <a:gd name="connsiteX198" fmla="*/ 139352 w 263504"/>
                    <a:gd name="connsiteY198" fmla="*/ 138570 h 505087"/>
                    <a:gd name="connsiteX199" fmla="*/ 140664 w 263504"/>
                    <a:gd name="connsiteY199" fmla="*/ 134226 h 505087"/>
                    <a:gd name="connsiteX200" fmla="*/ 140004 w 263504"/>
                    <a:gd name="connsiteY200" fmla="*/ 133370 h 505087"/>
                    <a:gd name="connsiteX201" fmla="*/ 139515 w 263504"/>
                    <a:gd name="connsiteY201" fmla="*/ 127502 h 505087"/>
                    <a:gd name="connsiteX202" fmla="*/ 135660 w 263504"/>
                    <a:gd name="connsiteY202" fmla="*/ 121211 h 505087"/>
                    <a:gd name="connsiteX203" fmla="*/ 130656 w 263504"/>
                    <a:gd name="connsiteY203" fmla="*/ 113159 h 505087"/>
                    <a:gd name="connsiteX204" fmla="*/ 127861 w 263504"/>
                    <a:gd name="connsiteY204" fmla="*/ 108848 h 505087"/>
                    <a:gd name="connsiteX205" fmla="*/ 124674 w 263504"/>
                    <a:gd name="connsiteY205" fmla="*/ 103925 h 505087"/>
                    <a:gd name="connsiteX206" fmla="*/ 118880 w 263504"/>
                    <a:gd name="connsiteY206" fmla="*/ 96232 h 505087"/>
                    <a:gd name="connsiteX207" fmla="*/ 116215 w 263504"/>
                    <a:gd name="connsiteY207" fmla="*/ 93445 h 505087"/>
                    <a:gd name="connsiteX208" fmla="*/ 114829 w 263504"/>
                    <a:gd name="connsiteY208" fmla="*/ 92369 h 505087"/>
                    <a:gd name="connsiteX209" fmla="*/ 110143 w 263504"/>
                    <a:gd name="connsiteY209" fmla="*/ 91473 h 505087"/>
                    <a:gd name="connsiteX210" fmla="*/ 108905 w 263504"/>
                    <a:gd name="connsiteY210" fmla="*/ 89989 h 505087"/>
                    <a:gd name="connsiteX211" fmla="*/ 107715 w 263504"/>
                    <a:gd name="connsiteY211" fmla="*/ 87634 h 505087"/>
                    <a:gd name="connsiteX212" fmla="*/ 107275 w 263504"/>
                    <a:gd name="connsiteY212" fmla="*/ 83266 h 505087"/>
                    <a:gd name="connsiteX213" fmla="*/ 107185 w 263504"/>
                    <a:gd name="connsiteY213" fmla="*/ 80006 h 505087"/>
                    <a:gd name="connsiteX214" fmla="*/ 106655 w 263504"/>
                    <a:gd name="connsiteY214" fmla="*/ 74456 h 505087"/>
                    <a:gd name="connsiteX215" fmla="*/ 105710 w 263504"/>
                    <a:gd name="connsiteY215" fmla="*/ 66608 h 505087"/>
                    <a:gd name="connsiteX216" fmla="*/ 105294 w 263504"/>
                    <a:gd name="connsiteY216" fmla="*/ 64293 h 505087"/>
                    <a:gd name="connsiteX217" fmla="*/ 103958 w 263504"/>
                    <a:gd name="connsiteY217" fmla="*/ 58393 h 505087"/>
                    <a:gd name="connsiteX218" fmla="*/ 102678 w 263504"/>
                    <a:gd name="connsiteY218" fmla="*/ 52786 h 505087"/>
                    <a:gd name="connsiteX219" fmla="*/ 102605 w 263504"/>
                    <a:gd name="connsiteY219" fmla="*/ 51400 h 505087"/>
                    <a:gd name="connsiteX220" fmla="*/ 103061 w 263504"/>
                    <a:gd name="connsiteY220" fmla="*/ 50047 h 505087"/>
                    <a:gd name="connsiteX221" fmla="*/ 105221 w 263504"/>
                    <a:gd name="connsiteY221" fmla="*/ 45924 h 505087"/>
                    <a:gd name="connsiteX222" fmla="*/ 106753 w 263504"/>
                    <a:gd name="connsiteY222" fmla="*/ 42990 h 505087"/>
                    <a:gd name="connsiteX223" fmla="*/ 107470 w 263504"/>
                    <a:gd name="connsiteY223" fmla="*/ 41384 h 505087"/>
                    <a:gd name="connsiteX224" fmla="*/ 108766 w 263504"/>
                    <a:gd name="connsiteY224" fmla="*/ 37040 h 505087"/>
                    <a:gd name="connsiteX225" fmla="*/ 109076 w 263504"/>
                    <a:gd name="connsiteY225" fmla="*/ 34921 h 505087"/>
                    <a:gd name="connsiteX226" fmla="*/ 110087 w 263504"/>
                    <a:gd name="connsiteY226" fmla="*/ 33968 h 505087"/>
                    <a:gd name="connsiteX227" fmla="*/ 114235 w 263504"/>
                    <a:gd name="connsiteY227" fmla="*/ 33577 h 505087"/>
                    <a:gd name="connsiteX228" fmla="*/ 117535 w 263504"/>
                    <a:gd name="connsiteY228" fmla="*/ 33650 h 505087"/>
                    <a:gd name="connsiteX229" fmla="*/ 123061 w 263504"/>
                    <a:gd name="connsiteY229" fmla="*/ 33544 h 505087"/>
                    <a:gd name="connsiteX230" fmla="*/ 128920 w 263504"/>
                    <a:gd name="connsiteY230" fmla="*/ 33789 h 505087"/>
                    <a:gd name="connsiteX231" fmla="*/ 129744 w 263504"/>
                    <a:gd name="connsiteY231" fmla="*/ 33984 h 505087"/>
                    <a:gd name="connsiteX232" fmla="*/ 131056 w 263504"/>
                    <a:gd name="connsiteY232" fmla="*/ 34449 h 505087"/>
                    <a:gd name="connsiteX233" fmla="*/ 132547 w 263504"/>
                    <a:gd name="connsiteY233" fmla="*/ 34375 h 505087"/>
                    <a:gd name="connsiteX234" fmla="*/ 134194 w 263504"/>
                    <a:gd name="connsiteY234" fmla="*/ 33764 h 505087"/>
                    <a:gd name="connsiteX235" fmla="*/ 136019 w 263504"/>
                    <a:gd name="connsiteY235" fmla="*/ 32248 h 505087"/>
                    <a:gd name="connsiteX236" fmla="*/ 138032 w 263504"/>
                    <a:gd name="connsiteY236" fmla="*/ 29852 h 505087"/>
                    <a:gd name="connsiteX237" fmla="*/ 141153 w 263504"/>
                    <a:gd name="connsiteY237" fmla="*/ 29909 h 505087"/>
                    <a:gd name="connsiteX238" fmla="*/ 145391 w 263504"/>
                    <a:gd name="connsiteY238" fmla="*/ 32411 h 505087"/>
                    <a:gd name="connsiteX239" fmla="*/ 147705 w 263504"/>
                    <a:gd name="connsiteY239" fmla="*/ 34596 h 505087"/>
                    <a:gd name="connsiteX240" fmla="*/ 148105 w 263504"/>
                    <a:gd name="connsiteY240" fmla="*/ 36445 h 505087"/>
                    <a:gd name="connsiteX241" fmla="*/ 150941 w 263504"/>
                    <a:gd name="connsiteY241" fmla="*/ 37529 h 505087"/>
                    <a:gd name="connsiteX242" fmla="*/ 156222 w 263504"/>
                    <a:gd name="connsiteY242" fmla="*/ 37831 h 505087"/>
                    <a:gd name="connsiteX243" fmla="*/ 160060 w 263504"/>
                    <a:gd name="connsiteY243" fmla="*/ 36861 h 505087"/>
                    <a:gd name="connsiteX244" fmla="*/ 162481 w 263504"/>
                    <a:gd name="connsiteY244" fmla="*/ 34620 h 505087"/>
                    <a:gd name="connsiteX245" fmla="*/ 165007 w 263504"/>
                    <a:gd name="connsiteY245" fmla="*/ 33438 h 505087"/>
                    <a:gd name="connsiteX246" fmla="*/ 167640 w 263504"/>
                    <a:gd name="connsiteY246" fmla="*/ 33316 h 505087"/>
                    <a:gd name="connsiteX247" fmla="*/ 169637 w 263504"/>
                    <a:gd name="connsiteY247" fmla="*/ 34082 h 505087"/>
                    <a:gd name="connsiteX248" fmla="*/ 170981 w 263504"/>
                    <a:gd name="connsiteY248" fmla="*/ 35745 h 505087"/>
                    <a:gd name="connsiteX249" fmla="*/ 173573 w 263504"/>
                    <a:gd name="connsiteY249" fmla="*/ 36934 h 505087"/>
                    <a:gd name="connsiteX250" fmla="*/ 177411 w 263504"/>
                    <a:gd name="connsiteY250" fmla="*/ 37660 h 505087"/>
                    <a:gd name="connsiteX251" fmla="*/ 181592 w 263504"/>
                    <a:gd name="connsiteY251" fmla="*/ 36584 h 505087"/>
                    <a:gd name="connsiteX252" fmla="*/ 186140 w 263504"/>
                    <a:gd name="connsiteY252" fmla="*/ 33732 h 505087"/>
                    <a:gd name="connsiteX253" fmla="*/ 188731 w 263504"/>
                    <a:gd name="connsiteY253" fmla="*/ 30749 h 505087"/>
                    <a:gd name="connsiteX254" fmla="*/ 189367 w 263504"/>
                    <a:gd name="connsiteY254" fmla="*/ 27636 h 505087"/>
                    <a:gd name="connsiteX255" fmla="*/ 190117 w 263504"/>
                    <a:gd name="connsiteY255" fmla="*/ 25745 h 505087"/>
                    <a:gd name="connsiteX256" fmla="*/ 190981 w 263504"/>
                    <a:gd name="connsiteY256" fmla="*/ 25093 h 505087"/>
                    <a:gd name="connsiteX257" fmla="*/ 193393 w 263504"/>
                    <a:gd name="connsiteY257" fmla="*/ 24702 h 505087"/>
                    <a:gd name="connsiteX258" fmla="*/ 197329 w 263504"/>
                    <a:gd name="connsiteY258" fmla="*/ 24596 h 505087"/>
                    <a:gd name="connsiteX259" fmla="*/ 200768 w 263504"/>
                    <a:gd name="connsiteY259" fmla="*/ 25582 h 505087"/>
                    <a:gd name="connsiteX260" fmla="*/ 205161 w 263504"/>
                    <a:gd name="connsiteY260" fmla="*/ 28671 h 505087"/>
                    <a:gd name="connsiteX261" fmla="*/ 207924 w 263504"/>
                    <a:gd name="connsiteY261" fmla="*/ 26609 h 505087"/>
                    <a:gd name="connsiteX262" fmla="*/ 212667 w 263504"/>
                    <a:gd name="connsiteY262" fmla="*/ 23088 h 505087"/>
                    <a:gd name="connsiteX263" fmla="*/ 217451 w 263504"/>
                    <a:gd name="connsiteY263" fmla="*/ 21222 h 505087"/>
                    <a:gd name="connsiteX264" fmla="*/ 222007 w 263504"/>
                    <a:gd name="connsiteY264" fmla="*/ 21214 h 505087"/>
                    <a:gd name="connsiteX265" fmla="*/ 225739 w 263504"/>
                    <a:gd name="connsiteY265" fmla="*/ 19869 h 505087"/>
                    <a:gd name="connsiteX266" fmla="*/ 228657 w 263504"/>
                    <a:gd name="connsiteY266" fmla="*/ 17212 h 505087"/>
                    <a:gd name="connsiteX267" fmla="*/ 231738 w 263504"/>
                    <a:gd name="connsiteY267" fmla="*/ 15517 h 505087"/>
                    <a:gd name="connsiteX268" fmla="*/ 234973 w 263504"/>
                    <a:gd name="connsiteY268" fmla="*/ 14808 h 505087"/>
                    <a:gd name="connsiteX269" fmla="*/ 238021 w 263504"/>
                    <a:gd name="connsiteY269" fmla="*/ 13520 h 505087"/>
                    <a:gd name="connsiteX270" fmla="*/ 242275 w 263504"/>
                    <a:gd name="connsiteY270" fmla="*/ 10757 h 505087"/>
                    <a:gd name="connsiteX271" fmla="*/ 246676 w 263504"/>
                    <a:gd name="connsiteY271" fmla="*/ 6723 h 505087"/>
                    <a:gd name="connsiteX272" fmla="*/ 251174 w 263504"/>
                    <a:gd name="connsiteY272" fmla="*/ 2616 h 505087"/>
                    <a:gd name="connsiteX273" fmla="*/ 254059 w 263504"/>
                    <a:gd name="connsiteY273" fmla="*/ 0 h 505087"/>
                    <a:gd name="connsiteX274" fmla="*/ 255380 w 263504"/>
                    <a:gd name="connsiteY274" fmla="*/ 3105 h 505087"/>
                    <a:gd name="connsiteX275" fmla="*/ 257727 w 263504"/>
                    <a:gd name="connsiteY275" fmla="*/ 5941 h 505087"/>
                    <a:gd name="connsiteX276" fmla="*/ 256325 w 263504"/>
                    <a:gd name="connsiteY276" fmla="*/ 7604 h 505087"/>
                    <a:gd name="connsiteX277" fmla="*/ 254630 w 263504"/>
                    <a:gd name="connsiteY277" fmla="*/ 9079 h 505087"/>
                    <a:gd name="connsiteX278" fmla="*/ 257368 w 263504"/>
                    <a:gd name="connsiteY278" fmla="*/ 11067 h 505087"/>
                    <a:gd name="connsiteX279" fmla="*/ 255364 w 263504"/>
                    <a:gd name="connsiteY279" fmla="*/ 14042 h 505087"/>
                    <a:gd name="connsiteX280" fmla="*/ 255127 w 263504"/>
                    <a:gd name="connsiteY280" fmla="*/ 16128 h 505087"/>
                    <a:gd name="connsiteX281" fmla="*/ 255633 w 263504"/>
                    <a:gd name="connsiteY281" fmla="*/ 16943 h 505087"/>
                    <a:gd name="connsiteX282" fmla="*/ 256072 w 263504"/>
                    <a:gd name="connsiteY282" fmla="*/ 18158 h 505087"/>
                    <a:gd name="connsiteX283" fmla="*/ 254760 w 263504"/>
                    <a:gd name="connsiteY283" fmla="*/ 21589 h 505087"/>
                    <a:gd name="connsiteX284" fmla="*/ 253016 w 263504"/>
                    <a:gd name="connsiteY284" fmla="*/ 24197 h 505087"/>
                    <a:gd name="connsiteX285" fmla="*/ 252560 w 263504"/>
                    <a:gd name="connsiteY285" fmla="*/ 26209 h 505087"/>
                    <a:gd name="connsiteX286" fmla="*/ 254100 w 263504"/>
                    <a:gd name="connsiteY286" fmla="*/ 29763 h 505087"/>
                    <a:gd name="connsiteX287" fmla="*/ 253302 w 263504"/>
                    <a:gd name="connsiteY287" fmla="*/ 36046 h 505087"/>
                    <a:gd name="connsiteX288" fmla="*/ 254809 w 263504"/>
                    <a:gd name="connsiteY288" fmla="*/ 41710 h 505087"/>
                    <a:gd name="connsiteX289" fmla="*/ 255225 w 263504"/>
                    <a:gd name="connsiteY289" fmla="*/ 44612 h 505087"/>
                    <a:gd name="connsiteX290" fmla="*/ 255747 w 263504"/>
                    <a:gd name="connsiteY290" fmla="*/ 46543 h 505087"/>
                    <a:gd name="connsiteX291" fmla="*/ 254989 w 263504"/>
                    <a:gd name="connsiteY291" fmla="*/ 50015 h 505087"/>
                    <a:gd name="connsiteX292" fmla="*/ 255184 w 263504"/>
                    <a:gd name="connsiteY292" fmla="*/ 55883 h 505087"/>
                    <a:gd name="connsiteX293" fmla="*/ 255535 w 263504"/>
                    <a:gd name="connsiteY293" fmla="*/ 58303 h 505087"/>
                    <a:gd name="connsiteX294" fmla="*/ 254646 w 263504"/>
                    <a:gd name="connsiteY294" fmla="*/ 61310 h 505087"/>
                    <a:gd name="connsiteX295" fmla="*/ 256162 w 263504"/>
                    <a:gd name="connsiteY295" fmla="*/ 62362 h 505087"/>
                    <a:gd name="connsiteX296" fmla="*/ 256977 w 263504"/>
                    <a:gd name="connsiteY296" fmla="*/ 65654 h 505087"/>
                    <a:gd name="connsiteX297" fmla="*/ 256757 w 263504"/>
                    <a:gd name="connsiteY297" fmla="*/ 69387 h 505087"/>
                    <a:gd name="connsiteX298" fmla="*/ 256293 w 263504"/>
                    <a:gd name="connsiteY298" fmla="*/ 71383 h 505087"/>
                    <a:gd name="connsiteX299" fmla="*/ 253668 w 263504"/>
                    <a:gd name="connsiteY299" fmla="*/ 73812 h 505087"/>
                    <a:gd name="connsiteX300" fmla="*/ 253359 w 263504"/>
                    <a:gd name="connsiteY300" fmla="*/ 74765 h 505087"/>
                    <a:gd name="connsiteX301" fmla="*/ 253408 w 263504"/>
                    <a:gd name="connsiteY301" fmla="*/ 76192 h 505087"/>
                    <a:gd name="connsiteX302" fmla="*/ 256667 w 263504"/>
                    <a:gd name="connsiteY302" fmla="*/ 76232 h 505087"/>
                    <a:gd name="connsiteX303" fmla="*/ 256790 w 263504"/>
                    <a:gd name="connsiteY303" fmla="*/ 78457 h 505087"/>
                    <a:gd name="connsiteX304" fmla="*/ 256570 w 263504"/>
                    <a:gd name="connsiteY304" fmla="*/ 80193 h 505087"/>
                    <a:gd name="connsiteX305" fmla="*/ 256700 w 263504"/>
                    <a:gd name="connsiteY305" fmla="*/ 83478 h 505087"/>
                    <a:gd name="connsiteX306" fmla="*/ 256268 w 263504"/>
                    <a:gd name="connsiteY306" fmla="*/ 85621 h 505087"/>
                    <a:gd name="connsiteX307" fmla="*/ 257034 w 263504"/>
                    <a:gd name="connsiteY307" fmla="*/ 88058 h 505087"/>
                    <a:gd name="connsiteX308" fmla="*/ 256097 w 263504"/>
                    <a:gd name="connsiteY308" fmla="*/ 90755 h 505087"/>
                    <a:gd name="connsiteX309" fmla="*/ 256423 w 263504"/>
                    <a:gd name="connsiteY309" fmla="*/ 92834 h 505087"/>
                    <a:gd name="connsiteX310" fmla="*/ 256472 w 263504"/>
                    <a:gd name="connsiteY310" fmla="*/ 95539 h 505087"/>
                    <a:gd name="connsiteX311" fmla="*/ 257230 w 263504"/>
                    <a:gd name="connsiteY311" fmla="*/ 102352 h 505087"/>
                    <a:gd name="connsiteX312" fmla="*/ 257352 w 263504"/>
                    <a:gd name="connsiteY312" fmla="*/ 110795 h 505087"/>
                    <a:gd name="connsiteX313" fmla="*/ 257523 w 263504"/>
                    <a:gd name="connsiteY313" fmla="*/ 112148 h 505087"/>
                    <a:gd name="connsiteX314" fmla="*/ 258689 w 263504"/>
                    <a:gd name="connsiteY314" fmla="*/ 113102 h 505087"/>
                    <a:gd name="connsiteX315" fmla="*/ 260327 w 263504"/>
                    <a:gd name="connsiteY315" fmla="*/ 113591 h 505087"/>
                    <a:gd name="connsiteX316" fmla="*/ 260270 w 263504"/>
                    <a:gd name="connsiteY316" fmla="*/ 115897 h 505087"/>
                    <a:gd name="connsiteX317" fmla="*/ 258452 w 263504"/>
                    <a:gd name="connsiteY317" fmla="*/ 118929 h 505087"/>
                    <a:gd name="connsiteX318" fmla="*/ 258338 w 263504"/>
                    <a:gd name="connsiteY318" fmla="*/ 120803 h 505087"/>
                    <a:gd name="connsiteX319" fmla="*/ 258607 w 263504"/>
                    <a:gd name="connsiteY319" fmla="*/ 123436 h 505087"/>
                    <a:gd name="connsiteX320" fmla="*/ 260595 w 263504"/>
                    <a:gd name="connsiteY320" fmla="*/ 119850 h 505087"/>
                    <a:gd name="connsiteX321" fmla="*/ 261785 w 263504"/>
                    <a:gd name="connsiteY321" fmla="*/ 119866 h 505087"/>
                    <a:gd name="connsiteX322" fmla="*/ 262861 w 263504"/>
                    <a:gd name="connsiteY322" fmla="*/ 121284 h 505087"/>
                    <a:gd name="connsiteX323" fmla="*/ 262707 w 263504"/>
                    <a:gd name="connsiteY323" fmla="*/ 123354 h 505087"/>
                    <a:gd name="connsiteX324" fmla="*/ 263073 w 263504"/>
                    <a:gd name="connsiteY324" fmla="*/ 124365 h 505087"/>
                    <a:gd name="connsiteX325" fmla="*/ 262918 w 263504"/>
                    <a:gd name="connsiteY325" fmla="*/ 126370 h 505087"/>
                    <a:gd name="connsiteX326" fmla="*/ 263505 w 263504"/>
                    <a:gd name="connsiteY326" fmla="*/ 128912 h 505087"/>
                    <a:gd name="connsiteX327" fmla="*/ 263269 w 263504"/>
                    <a:gd name="connsiteY327" fmla="*/ 131137 h 505087"/>
                    <a:gd name="connsiteX328" fmla="*/ 261802 w 263504"/>
                    <a:gd name="connsiteY328" fmla="*/ 132678 h 505087"/>
                    <a:gd name="connsiteX329" fmla="*/ 259935 w 263504"/>
                    <a:gd name="connsiteY329" fmla="*/ 135334 h 505087"/>
                    <a:gd name="connsiteX330" fmla="*/ 259610 w 263504"/>
                    <a:gd name="connsiteY330" fmla="*/ 137828 h 505087"/>
                    <a:gd name="connsiteX331" fmla="*/ 259781 w 263504"/>
                    <a:gd name="connsiteY331" fmla="*/ 139466 h 505087"/>
                    <a:gd name="connsiteX332" fmla="*/ 258477 w 263504"/>
                    <a:gd name="connsiteY332" fmla="*/ 139988 h 505087"/>
                    <a:gd name="connsiteX333" fmla="*/ 257882 w 263504"/>
                    <a:gd name="connsiteY333" fmla="*/ 140990 h 505087"/>
                    <a:gd name="connsiteX334" fmla="*/ 258754 w 263504"/>
                    <a:gd name="connsiteY334" fmla="*/ 143337 h 505087"/>
                    <a:gd name="connsiteX335" fmla="*/ 258697 w 263504"/>
                    <a:gd name="connsiteY335" fmla="*/ 145424 h 505087"/>
                    <a:gd name="connsiteX336" fmla="*/ 256423 w 263504"/>
                    <a:gd name="connsiteY336" fmla="*/ 151903 h 505087"/>
                    <a:gd name="connsiteX337" fmla="*/ 250343 w 263504"/>
                    <a:gd name="connsiteY337" fmla="*/ 160761 h 505087"/>
                    <a:gd name="connsiteX338" fmla="*/ 247719 w 263504"/>
                    <a:gd name="connsiteY338" fmla="*/ 163907 h 505087"/>
                    <a:gd name="connsiteX339" fmla="*/ 245250 w 263504"/>
                    <a:gd name="connsiteY339" fmla="*/ 167347 h 505087"/>
                    <a:gd name="connsiteX340" fmla="*/ 245250 w 263504"/>
                    <a:gd name="connsiteY340" fmla="*/ 168740 h 505087"/>
                    <a:gd name="connsiteX341" fmla="*/ 245022 w 263504"/>
                    <a:gd name="connsiteY341" fmla="*/ 169963 h 505087"/>
                    <a:gd name="connsiteX342" fmla="*/ 242153 w 263504"/>
                    <a:gd name="connsiteY342" fmla="*/ 174861 h 505087"/>
                    <a:gd name="connsiteX343" fmla="*/ 239081 w 263504"/>
                    <a:gd name="connsiteY343" fmla="*/ 175667 h 505087"/>
                    <a:gd name="connsiteX344" fmla="*/ 237369 w 263504"/>
                    <a:gd name="connsiteY344" fmla="*/ 176971 h 505087"/>
                    <a:gd name="connsiteX345" fmla="*/ 238698 w 263504"/>
                    <a:gd name="connsiteY345" fmla="*/ 181274 h 505087"/>
                    <a:gd name="connsiteX346" fmla="*/ 236709 w 263504"/>
                    <a:gd name="connsiteY346" fmla="*/ 182269 h 505087"/>
                    <a:gd name="connsiteX347" fmla="*/ 233261 w 263504"/>
                    <a:gd name="connsiteY347" fmla="*/ 185667 h 505087"/>
                    <a:gd name="connsiteX348" fmla="*/ 223759 w 263504"/>
                    <a:gd name="connsiteY348" fmla="*/ 192195 h 505087"/>
                    <a:gd name="connsiteX349" fmla="*/ 222251 w 263504"/>
                    <a:gd name="connsiteY349" fmla="*/ 193711 h 505087"/>
                    <a:gd name="connsiteX350" fmla="*/ 219839 w 263504"/>
                    <a:gd name="connsiteY350" fmla="*/ 197712 h 505087"/>
                    <a:gd name="connsiteX351" fmla="*/ 216644 w 263504"/>
                    <a:gd name="connsiteY351" fmla="*/ 198682 h 505087"/>
                    <a:gd name="connsiteX352" fmla="*/ 214884 w 263504"/>
                    <a:gd name="connsiteY352" fmla="*/ 199823 h 505087"/>
                    <a:gd name="connsiteX353" fmla="*/ 211730 w 263504"/>
                    <a:gd name="connsiteY353" fmla="*/ 200231 h 505087"/>
                    <a:gd name="connsiteX354" fmla="*/ 210630 w 263504"/>
                    <a:gd name="connsiteY354" fmla="*/ 199946 h 505087"/>
                    <a:gd name="connsiteX355" fmla="*/ 209554 w 263504"/>
                    <a:gd name="connsiteY355" fmla="*/ 200092 h 505087"/>
                    <a:gd name="connsiteX356" fmla="*/ 208649 w 263504"/>
                    <a:gd name="connsiteY356" fmla="*/ 200940 h 505087"/>
                    <a:gd name="connsiteX357" fmla="*/ 202374 w 263504"/>
                    <a:gd name="connsiteY357" fmla="*/ 203751 h 505087"/>
                    <a:gd name="connsiteX358" fmla="*/ 196531 w 263504"/>
                    <a:gd name="connsiteY358" fmla="*/ 205976 h 505087"/>
                    <a:gd name="connsiteX359" fmla="*/ 195088 w 263504"/>
                    <a:gd name="connsiteY359" fmla="*/ 206987 h 505087"/>
                    <a:gd name="connsiteX360" fmla="*/ 194118 w 263504"/>
                    <a:gd name="connsiteY360" fmla="*/ 208381 h 505087"/>
                    <a:gd name="connsiteX361" fmla="*/ 188952 w 263504"/>
                    <a:gd name="connsiteY361" fmla="*/ 210589 h 505087"/>
                    <a:gd name="connsiteX362" fmla="*/ 180834 w 263504"/>
                    <a:gd name="connsiteY362" fmla="*/ 216025 h 505087"/>
                    <a:gd name="connsiteX363" fmla="*/ 174201 w 263504"/>
                    <a:gd name="connsiteY363" fmla="*/ 221224 h 505087"/>
                    <a:gd name="connsiteX364" fmla="*/ 169384 w 263504"/>
                    <a:gd name="connsiteY364" fmla="*/ 226416 h 505087"/>
                    <a:gd name="connsiteX365" fmla="*/ 168121 w 263504"/>
                    <a:gd name="connsiteY365" fmla="*/ 227214 h 505087"/>
                    <a:gd name="connsiteX366" fmla="*/ 166629 w 263504"/>
                    <a:gd name="connsiteY366" fmla="*/ 229015 h 505087"/>
                    <a:gd name="connsiteX367" fmla="*/ 166124 w 263504"/>
                    <a:gd name="connsiteY367" fmla="*/ 231672 h 505087"/>
                    <a:gd name="connsiteX368" fmla="*/ 165635 w 263504"/>
                    <a:gd name="connsiteY368" fmla="*/ 233164 h 505087"/>
                    <a:gd name="connsiteX369" fmla="*/ 162065 w 263504"/>
                    <a:gd name="connsiteY369" fmla="*/ 238649 h 505087"/>
                    <a:gd name="connsiteX370" fmla="*/ 156719 w 263504"/>
                    <a:gd name="connsiteY370" fmla="*/ 245136 h 505087"/>
                    <a:gd name="connsiteX371" fmla="*/ 155668 w 263504"/>
                    <a:gd name="connsiteY371" fmla="*/ 246888 h 505087"/>
                    <a:gd name="connsiteX372" fmla="*/ 153541 w 263504"/>
                    <a:gd name="connsiteY372" fmla="*/ 250498 h 505087"/>
                    <a:gd name="connsiteX373" fmla="*/ 153329 w 263504"/>
                    <a:gd name="connsiteY373" fmla="*/ 252862 h 505087"/>
                    <a:gd name="connsiteX374" fmla="*/ 151430 w 263504"/>
                    <a:gd name="connsiteY374" fmla="*/ 253579 h 505087"/>
                    <a:gd name="connsiteX375" fmla="*/ 149841 w 263504"/>
                    <a:gd name="connsiteY375" fmla="*/ 251321 h 505087"/>
                    <a:gd name="connsiteX376" fmla="*/ 149172 w 263504"/>
                    <a:gd name="connsiteY376" fmla="*/ 255673 h 505087"/>
                    <a:gd name="connsiteX377" fmla="*/ 147869 w 263504"/>
                    <a:gd name="connsiteY377" fmla="*/ 255983 h 505087"/>
                    <a:gd name="connsiteX378" fmla="*/ 146418 w 263504"/>
                    <a:gd name="connsiteY378" fmla="*/ 255095 h 505087"/>
                    <a:gd name="connsiteX379" fmla="*/ 142832 w 263504"/>
                    <a:gd name="connsiteY379" fmla="*/ 257262 h 505087"/>
                    <a:gd name="connsiteX380" fmla="*/ 139695 w 263504"/>
                    <a:gd name="connsiteY380" fmla="*/ 259748 h 505087"/>
                    <a:gd name="connsiteX381" fmla="*/ 134682 w 263504"/>
                    <a:gd name="connsiteY381" fmla="*/ 265005 h 505087"/>
                    <a:gd name="connsiteX382" fmla="*/ 127584 w 263504"/>
                    <a:gd name="connsiteY382" fmla="*/ 275176 h 505087"/>
                    <a:gd name="connsiteX383" fmla="*/ 117226 w 263504"/>
                    <a:gd name="connsiteY383" fmla="*/ 285004 h 505087"/>
                    <a:gd name="connsiteX384" fmla="*/ 115807 w 263504"/>
                    <a:gd name="connsiteY384" fmla="*/ 285281 h 505087"/>
                    <a:gd name="connsiteX385" fmla="*/ 114862 w 263504"/>
                    <a:gd name="connsiteY385" fmla="*/ 285232 h 505087"/>
                    <a:gd name="connsiteX386" fmla="*/ 111602 w 263504"/>
                    <a:gd name="connsiteY386" fmla="*/ 281818 h 505087"/>
                    <a:gd name="connsiteX387" fmla="*/ 109825 w 263504"/>
                    <a:gd name="connsiteY387" fmla="*/ 281565 h 505087"/>
                    <a:gd name="connsiteX388" fmla="*/ 111407 w 263504"/>
                    <a:gd name="connsiteY388" fmla="*/ 283594 h 505087"/>
                    <a:gd name="connsiteX389" fmla="*/ 112458 w 263504"/>
                    <a:gd name="connsiteY389" fmla="*/ 285281 h 505087"/>
                    <a:gd name="connsiteX390" fmla="*/ 112197 w 263504"/>
                    <a:gd name="connsiteY390" fmla="*/ 288598 h 505087"/>
                    <a:gd name="connsiteX391" fmla="*/ 112327 w 263504"/>
                    <a:gd name="connsiteY391" fmla="*/ 293578 h 505087"/>
                    <a:gd name="connsiteX392" fmla="*/ 111040 w 263504"/>
                    <a:gd name="connsiteY392" fmla="*/ 303260 h 505087"/>
                    <a:gd name="connsiteX393" fmla="*/ 111211 w 263504"/>
                    <a:gd name="connsiteY393" fmla="*/ 305387 h 505087"/>
                    <a:gd name="connsiteX394" fmla="*/ 112695 w 263504"/>
                    <a:gd name="connsiteY394" fmla="*/ 308133 h 505087"/>
                    <a:gd name="connsiteX395" fmla="*/ 115482 w 263504"/>
                    <a:gd name="connsiteY395" fmla="*/ 311507 h 505087"/>
                    <a:gd name="connsiteX396" fmla="*/ 118090 w 263504"/>
                    <a:gd name="connsiteY396" fmla="*/ 315696 h 505087"/>
                    <a:gd name="connsiteX397" fmla="*/ 121439 w 263504"/>
                    <a:gd name="connsiteY397" fmla="*/ 327741 h 505087"/>
                    <a:gd name="connsiteX398" fmla="*/ 121700 w 263504"/>
                    <a:gd name="connsiteY398" fmla="*/ 333951 h 505087"/>
                    <a:gd name="connsiteX399" fmla="*/ 125155 w 263504"/>
                    <a:gd name="connsiteY399" fmla="*/ 341873 h 505087"/>
                    <a:gd name="connsiteX400" fmla="*/ 125294 w 263504"/>
                    <a:gd name="connsiteY400" fmla="*/ 345320 h 505087"/>
                    <a:gd name="connsiteX401" fmla="*/ 126695 w 263504"/>
                    <a:gd name="connsiteY401" fmla="*/ 353894 h 505087"/>
                    <a:gd name="connsiteX402" fmla="*/ 126606 w 263504"/>
                    <a:gd name="connsiteY402" fmla="*/ 360821 h 505087"/>
                    <a:gd name="connsiteX403" fmla="*/ 126362 w 263504"/>
                    <a:gd name="connsiteY403" fmla="*/ 365067 h 505087"/>
                    <a:gd name="connsiteX404" fmla="*/ 128024 w 263504"/>
                    <a:gd name="connsiteY404" fmla="*/ 366860 h 505087"/>
                    <a:gd name="connsiteX405" fmla="*/ 128635 w 263504"/>
                    <a:gd name="connsiteY405" fmla="*/ 365255 h 505087"/>
                    <a:gd name="connsiteX406" fmla="*/ 128464 w 263504"/>
                    <a:gd name="connsiteY406" fmla="*/ 362573 h 505087"/>
                    <a:gd name="connsiteX407" fmla="*/ 128920 w 263504"/>
                    <a:gd name="connsiteY407" fmla="*/ 358262 h 505087"/>
                    <a:gd name="connsiteX408" fmla="*/ 129833 w 263504"/>
                    <a:gd name="connsiteY408" fmla="*/ 356339 h 505087"/>
                    <a:gd name="connsiteX409" fmla="*/ 130762 w 263504"/>
                    <a:gd name="connsiteY409" fmla="*/ 356608 h 505087"/>
                    <a:gd name="connsiteX410" fmla="*/ 131047 w 263504"/>
                    <a:gd name="connsiteY410" fmla="*/ 358637 h 505087"/>
                    <a:gd name="connsiteX411" fmla="*/ 131667 w 263504"/>
                    <a:gd name="connsiteY411" fmla="*/ 360454 h 505087"/>
                    <a:gd name="connsiteX412" fmla="*/ 131911 w 263504"/>
                    <a:gd name="connsiteY412" fmla="*/ 362150 h 505087"/>
                    <a:gd name="connsiteX413" fmla="*/ 131952 w 263504"/>
                    <a:gd name="connsiteY413" fmla="*/ 364440 h 505087"/>
                    <a:gd name="connsiteX414" fmla="*/ 130673 w 263504"/>
                    <a:gd name="connsiteY414" fmla="*/ 373192 h 505087"/>
                    <a:gd name="connsiteX415" fmla="*/ 131072 w 263504"/>
                    <a:gd name="connsiteY415" fmla="*/ 376762 h 505087"/>
                    <a:gd name="connsiteX416" fmla="*/ 132783 w 263504"/>
                    <a:gd name="connsiteY416" fmla="*/ 382703 h 505087"/>
                    <a:gd name="connsiteX417" fmla="*/ 130779 w 263504"/>
                    <a:gd name="connsiteY417" fmla="*/ 389639 h 505087"/>
                    <a:gd name="connsiteX418" fmla="*/ 127877 w 263504"/>
                    <a:gd name="connsiteY418" fmla="*/ 405971 h 505087"/>
                    <a:gd name="connsiteX419" fmla="*/ 127706 w 263504"/>
                    <a:gd name="connsiteY419" fmla="*/ 408790 h 505087"/>
                    <a:gd name="connsiteX420" fmla="*/ 128415 w 263504"/>
                    <a:gd name="connsiteY420" fmla="*/ 410021 h 505087"/>
                    <a:gd name="connsiteX421" fmla="*/ 129980 w 263504"/>
                    <a:gd name="connsiteY421" fmla="*/ 410445 h 505087"/>
                    <a:gd name="connsiteX422" fmla="*/ 130550 w 263504"/>
                    <a:gd name="connsiteY422" fmla="*/ 408359 h 505087"/>
                    <a:gd name="connsiteX423" fmla="*/ 131471 w 263504"/>
                    <a:gd name="connsiteY423" fmla="*/ 408375 h 505087"/>
                    <a:gd name="connsiteX424" fmla="*/ 131952 w 263504"/>
                    <a:gd name="connsiteY424" fmla="*/ 409605 h 505087"/>
                    <a:gd name="connsiteX425" fmla="*/ 130656 w 263504"/>
                    <a:gd name="connsiteY425" fmla="*/ 417152 h 505087"/>
                    <a:gd name="connsiteX426" fmla="*/ 129385 w 263504"/>
                    <a:gd name="connsiteY426" fmla="*/ 420453 h 505087"/>
                    <a:gd name="connsiteX427" fmla="*/ 124838 w 263504"/>
                    <a:gd name="connsiteY427" fmla="*/ 428570 h 505087"/>
                    <a:gd name="connsiteX428" fmla="*/ 122376 w 263504"/>
                    <a:gd name="connsiteY428" fmla="*/ 432058 h 505087"/>
                    <a:gd name="connsiteX429" fmla="*/ 118318 w 263504"/>
                    <a:gd name="connsiteY429" fmla="*/ 435481 h 505087"/>
                    <a:gd name="connsiteX430" fmla="*/ 108766 w 263504"/>
                    <a:gd name="connsiteY430" fmla="*/ 440835 h 505087"/>
                    <a:gd name="connsiteX431" fmla="*/ 89639 w 263504"/>
                    <a:gd name="connsiteY431" fmla="*/ 448586 h 505087"/>
                    <a:gd name="connsiteX432" fmla="*/ 82051 w 263504"/>
                    <a:gd name="connsiteY432" fmla="*/ 452383 h 505087"/>
                    <a:gd name="connsiteX433" fmla="*/ 77512 w 263504"/>
                    <a:gd name="connsiteY433" fmla="*/ 454649 h 505087"/>
                    <a:gd name="connsiteX434" fmla="*/ 67928 w 263504"/>
                    <a:gd name="connsiteY434" fmla="*/ 461870 h 505087"/>
                    <a:gd name="connsiteX435" fmla="*/ 63747 w 263504"/>
                    <a:gd name="connsiteY435" fmla="*/ 466719 h 505087"/>
                    <a:gd name="connsiteX436" fmla="*/ 62011 w 263504"/>
                    <a:gd name="connsiteY436" fmla="*/ 472285 h 505087"/>
                    <a:gd name="connsiteX437" fmla="*/ 60365 w 263504"/>
                    <a:gd name="connsiteY437" fmla="*/ 474828 h 505087"/>
                    <a:gd name="connsiteX438" fmla="*/ 58735 w 263504"/>
                    <a:gd name="connsiteY438" fmla="*/ 478055 h 505087"/>
                    <a:gd name="connsiteX439" fmla="*/ 60153 w 263504"/>
                    <a:gd name="connsiteY439" fmla="*/ 480834 h 505087"/>
                    <a:gd name="connsiteX440" fmla="*/ 61547 w 263504"/>
                    <a:gd name="connsiteY440" fmla="*/ 482929 h 505087"/>
                    <a:gd name="connsiteX441" fmla="*/ 63185 w 263504"/>
                    <a:gd name="connsiteY441" fmla="*/ 484330 h 505087"/>
                    <a:gd name="connsiteX442" fmla="*/ 64032 w 263504"/>
                    <a:gd name="connsiteY442" fmla="*/ 485537 h 505087"/>
                    <a:gd name="connsiteX443" fmla="*/ 65141 w 263504"/>
                    <a:gd name="connsiteY443" fmla="*/ 486384 h 505087"/>
                    <a:gd name="connsiteX444" fmla="*/ 66265 w 263504"/>
                    <a:gd name="connsiteY444" fmla="*/ 482016 h 505087"/>
                    <a:gd name="connsiteX445" fmla="*/ 66819 w 263504"/>
                    <a:gd name="connsiteY445" fmla="*/ 480663 h 505087"/>
                    <a:gd name="connsiteX446" fmla="*/ 67773 w 263504"/>
                    <a:gd name="connsiteY446" fmla="*/ 480565 h 505087"/>
                    <a:gd name="connsiteX447" fmla="*/ 67243 w 263504"/>
                    <a:gd name="connsiteY447" fmla="*/ 485871 h 505087"/>
                    <a:gd name="connsiteX448" fmla="*/ 66151 w 263504"/>
                    <a:gd name="connsiteY448" fmla="*/ 504142 h 505087"/>
                    <a:gd name="connsiteX449" fmla="*/ 66111 w 263504"/>
                    <a:gd name="connsiteY449" fmla="*/ 504696 h 5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Lst>
                  <a:rect l="l" t="t" r="r" b="b"/>
                  <a:pathLst>
                    <a:path w="263504" h="505087">
                      <a:moveTo>
                        <a:pt x="66111" y="504696"/>
                      </a:moveTo>
                      <a:lnTo>
                        <a:pt x="63397" y="504745"/>
                      </a:lnTo>
                      <a:lnTo>
                        <a:pt x="58743" y="504900"/>
                      </a:lnTo>
                      <a:lnTo>
                        <a:pt x="55980" y="504990"/>
                      </a:lnTo>
                      <a:lnTo>
                        <a:pt x="52900" y="505088"/>
                      </a:lnTo>
                      <a:lnTo>
                        <a:pt x="49077" y="504207"/>
                      </a:lnTo>
                      <a:lnTo>
                        <a:pt x="46926" y="504379"/>
                      </a:lnTo>
                      <a:lnTo>
                        <a:pt x="46755" y="494297"/>
                      </a:lnTo>
                      <a:lnTo>
                        <a:pt x="46070" y="492073"/>
                      </a:lnTo>
                      <a:lnTo>
                        <a:pt x="45337" y="488837"/>
                      </a:lnTo>
                      <a:lnTo>
                        <a:pt x="45157" y="486751"/>
                      </a:lnTo>
                      <a:lnTo>
                        <a:pt x="45622" y="484664"/>
                      </a:lnTo>
                      <a:lnTo>
                        <a:pt x="45842" y="481356"/>
                      </a:lnTo>
                      <a:lnTo>
                        <a:pt x="45638" y="478463"/>
                      </a:lnTo>
                      <a:lnTo>
                        <a:pt x="43356" y="477004"/>
                      </a:lnTo>
                      <a:lnTo>
                        <a:pt x="42851" y="476547"/>
                      </a:lnTo>
                      <a:lnTo>
                        <a:pt x="42354" y="474273"/>
                      </a:lnTo>
                      <a:lnTo>
                        <a:pt x="42158" y="470761"/>
                      </a:lnTo>
                      <a:lnTo>
                        <a:pt x="43756" y="466287"/>
                      </a:lnTo>
                      <a:lnTo>
                        <a:pt x="43617" y="457705"/>
                      </a:lnTo>
                      <a:lnTo>
                        <a:pt x="43805" y="454690"/>
                      </a:lnTo>
                      <a:lnTo>
                        <a:pt x="43772" y="448732"/>
                      </a:lnTo>
                      <a:lnTo>
                        <a:pt x="43740" y="441503"/>
                      </a:lnTo>
                      <a:lnTo>
                        <a:pt x="43707" y="435057"/>
                      </a:lnTo>
                      <a:lnTo>
                        <a:pt x="43772" y="429483"/>
                      </a:lnTo>
                      <a:lnTo>
                        <a:pt x="43291" y="426842"/>
                      </a:lnTo>
                      <a:lnTo>
                        <a:pt x="42900" y="425392"/>
                      </a:lnTo>
                      <a:lnTo>
                        <a:pt x="41841" y="422450"/>
                      </a:lnTo>
                      <a:lnTo>
                        <a:pt x="40618" y="416313"/>
                      </a:lnTo>
                      <a:lnTo>
                        <a:pt x="39151" y="411684"/>
                      </a:lnTo>
                      <a:lnTo>
                        <a:pt x="37277" y="408636"/>
                      </a:lnTo>
                      <a:lnTo>
                        <a:pt x="36682" y="407030"/>
                      </a:lnTo>
                      <a:lnTo>
                        <a:pt x="36079" y="404870"/>
                      </a:lnTo>
                      <a:lnTo>
                        <a:pt x="34310" y="401081"/>
                      </a:lnTo>
                      <a:lnTo>
                        <a:pt x="32852" y="398872"/>
                      </a:lnTo>
                      <a:lnTo>
                        <a:pt x="32460" y="397096"/>
                      </a:lnTo>
                      <a:lnTo>
                        <a:pt x="32517" y="392540"/>
                      </a:lnTo>
                      <a:lnTo>
                        <a:pt x="30895" y="384333"/>
                      </a:lnTo>
                      <a:lnTo>
                        <a:pt x="29722" y="378359"/>
                      </a:lnTo>
                      <a:lnTo>
                        <a:pt x="27945" y="371897"/>
                      </a:lnTo>
                      <a:lnTo>
                        <a:pt x="26764" y="367577"/>
                      </a:lnTo>
                      <a:lnTo>
                        <a:pt x="26593" y="366819"/>
                      </a:lnTo>
                      <a:lnTo>
                        <a:pt x="26454" y="365189"/>
                      </a:lnTo>
                      <a:lnTo>
                        <a:pt x="29975" y="361978"/>
                      </a:lnTo>
                      <a:lnTo>
                        <a:pt x="33495" y="357464"/>
                      </a:lnTo>
                      <a:lnTo>
                        <a:pt x="37627" y="352174"/>
                      </a:lnTo>
                      <a:lnTo>
                        <a:pt x="41294" y="347455"/>
                      </a:lnTo>
                      <a:lnTo>
                        <a:pt x="44522" y="343315"/>
                      </a:lnTo>
                      <a:lnTo>
                        <a:pt x="48947" y="337643"/>
                      </a:lnTo>
                      <a:lnTo>
                        <a:pt x="53323" y="332044"/>
                      </a:lnTo>
                      <a:lnTo>
                        <a:pt x="54350" y="331327"/>
                      </a:lnTo>
                      <a:lnTo>
                        <a:pt x="54782" y="330871"/>
                      </a:lnTo>
                      <a:lnTo>
                        <a:pt x="52892" y="325900"/>
                      </a:lnTo>
                      <a:lnTo>
                        <a:pt x="55939" y="320129"/>
                      </a:lnTo>
                      <a:lnTo>
                        <a:pt x="56103" y="316381"/>
                      </a:lnTo>
                      <a:lnTo>
                        <a:pt x="55972" y="312787"/>
                      </a:lnTo>
                      <a:lnTo>
                        <a:pt x="56347" y="311132"/>
                      </a:lnTo>
                      <a:lnTo>
                        <a:pt x="57244" y="309690"/>
                      </a:lnTo>
                      <a:lnTo>
                        <a:pt x="60805" y="306699"/>
                      </a:lnTo>
                      <a:lnTo>
                        <a:pt x="63494" y="301915"/>
                      </a:lnTo>
                      <a:lnTo>
                        <a:pt x="65703" y="297457"/>
                      </a:lnTo>
                      <a:lnTo>
                        <a:pt x="68751" y="290277"/>
                      </a:lnTo>
                      <a:lnTo>
                        <a:pt x="69052" y="288590"/>
                      </a:lnTo>
                      <a:lnTo>
                        <a:pt x="69102" y="286862"/>
                      </a:lnTo>
                      <a:lnTo>
                        <a:pt x="68254" y="284434"/>
                      </a:lnTo>
                      <a:lnTo>
                        <a:pt x="66208" y="280514"/>
                      </a:lnTo>
                      <a:lnTo>
                        <a:pt x="64725" y="277123"/>
                      </a:lnTo>
                      <a:lnTo>
                        <a:pt x="63421" y="271908"/>
                      </a:lnTo>
                      <a:lnTo>
                        <a:pt x="64733" y="267360"/>
                      </a:lnTo>
                      <a:lnTo>
                        <a:pt x="65206" y="264614"/>
                      </a:lnTo>
                      <a:lnTo>
                        <a:pt x="65206" y="263130"/>
                      </a:lnTo>
                      <a:lnTo>
                        <a:pt x="64619" y="261720"/>
                      </a:lnTo>
                      <a:lnTo>
                        <a:pt x="63128" y="260669"/>
                      </a:lnTo>
                      <a:lnTo>
                        <a:pt x="61905" y="259976"/>
                      </a:lnTo>
                      <a:lnTo>
                        <a:pt x="61481" y="258110"/>
                      </a:lnTo>
                      <a:lnTo>
                        <a:pt x="61473" y="255885"/>
                      </a:lnTo>
                      <a:lnTo>
                        <a:pt x="62027" y="254646"/>
                      </a:lnTo>
                      <a:lnTo>
                        <a:pt x="65320" y="252658"/>
                      </a:lnTo>
                      <a:lnTo>
                        <a:pt x="66061" y="251574"/>
                      </a:lnTo>
                      <a:lnTo>
                        <a:pt x="66453" y="250368"/>
                      </a:lnTo>
                      <a:lnTo>
                        <a:pt x="66485" y="248640"/>
                      </a:lnTo>
                      <a:lnTo>
                        <a:pt x="67496" y="244329"/>
                      </a:lnTo>
                      <a:lnTo>
                        <a:pt x="68751" y="240238"/>
                      </a:lnTo>
                      <a:lnTo>
                        <a:pt x="68840" y="238795"/>
                      </a:lnTo>
                      <a:lnTo>
                        <a:pt x="68392" y="237532"/>
                      </a:lnTo>
                      <a:lnTo>
                        <a:pt x="68050" y="235234"/>
                      </a:lnTo>
                      <a:lnTo>
                        <a:pt x="67822" y="231746"/>
                      </a:lnTo>
                      <a:lnTo>
                        <a:pt x="67805" y="221999"/>
                      </a:lnTo>
                      <a:lnTo>
                        <a:pt x="68450" y="211958"/>
                      </a:lnTo>
                      <a:lnTo>
                        <a:pt x="68164" y="206270"/>
                      </a:lnTo>
                      <a:lnTo>
                        <a:pt x="66061" y="199717"/>
                      </a:lnTo>
                      <a:lnTo>
                        <a:pt x="65858" y="194998"/>
                      </a:lnTo>
                      <a:lnTo>
                        <a:pt x="67390" y="191706"/>
                      </a:lnTo>
                      <a:lnTo>
                        <a:pt x="67634" y="189766"/>
                      </a:lnTo>
                      <a:lnTo>
                        <a:pt x="66510" y="189514"/>
                      </a:lnTo>
                      <a:lnTo>
                        <a:pt x="64220" y="189318"/>
                      </a:lnTo>
                      <a:lnTo>
                        <a:pt x="62516" y="188707"/>
                      </a:lnTo>
                      <a:lnTo>
                        <a:pt x="59892" y="186009"/>
                      </a:lnTo>
                      <a:lnTo>
                        <a:pt x="55329" y="183760"/>
                      </a:lnTo>
                      <a:lnTo>
                        <a:pt x="50153" y="181715"/>
                      </a:lnTo>
                      <a:lnTo>
                        <a:pt x="42615" y="181111"/>
                      </a:lnTo>
                      <a:lnTo>
                        <a:pt x="36364" y="174543"/>
                      </a:lnTo>
                      <a:lnTo>
                        <a:pt x="31458" y="173491"/>
                      </a:lnTo>
                      <a:lnTo>
                        <a:pt x="29877" y="172652"/>
                      </a:lnTo>
                      <a:lnTo>
                        <a:pt x="25166" y="168724"/>
                      </a:lnTo>
                      <a:lnTo>
                        <a:pt x="17799" y="168357"/>
                      </a:lnTo>
                      <a:lnTo>
                        <a:pt x="10146" y="167974"/>
                      </a:lnTo>
                      <a:lnTo>
                        <a:pt x="5371" y="167852"/>
                      </a:lnTo>
                      <a:lnTo>
                        <a:pt x="4670" y="167338"/>
                      </a:lnTo>
                      <a:lnTo>
                        <a:pt x="4393" y="161927"/>
                      </a:lnTo>
                      <a:lnTo>
                        <a:pt x="4336" y="157102"/>
                      </a:lnTo>
                      <a:lnTo>
                        <a:pt x="3928" y="152921"/>
                      </a:lnTo>
                      <a:lnTo>
                        <a:pt x="3203" y="148162"/>
                      </a:lnTo>
                      <a:lnTo>
                        <a:pt x="2086" y="146296"/>
                      </a:lnTo>
                      <a:lnTo>
                        <a:pt x="766" y="143085"/>
                      </a:lnTo>
                      <a:lnTo>
                        <a:pt x="90" y="139523"/>
                      </a:lnTo>
                      <a:lnTo>
                        <a:pt x="0" y="137820"/>
                      </a:lnTo>
                      <a:lnTo>
                        <a:pt x="253" y="137201"/>
                      </a:lnTo>
                      <a:lnTo>
                        <a:pt x="5558" y="134666"/>
                      </a:lnTo>
                      <a:lnTo>
                        <a:pt x="7840" y="133419"/>
                      </a:lnTo>
                      <a:lnTo>
                        <a:pt x="11197" y="131977"/>
                      </a:lnTo>
                      <a:lnTo>
                        <a:pt x="17196" y="129980"/>
                      </a:lnTo>
                      <a:lnTo>
                        <a:pt x="22550" y="128187"/>
                      </a:lnTo>
                      <a:lnTo>
                        <a:pt x="27440" y="126459"/>
                      </a:lnTo>
                      <a:lnTo>
                        <a:pt x="32648" y="124617"/>
                      </a:lnTo>
                      <a:lnTo>
                        <a:pt x="34758" y="123387"/>
                      </a:lnTo>
                      <a:lnTo>
                        <a:pt x="37383" y="122156"/>
                      </a:lnTo>
                      <a:lnTo>
                        <a:pt x="43666" y="119671"/>
                      </a:lnTo>
                      <a:lnTo>
                        <a:pt x="45459" y="118823"/>
                      </a:lnTo>
                      <a:lnTo>
                        <a:pt x="49061" y="117429"/>
                      </a:lnTo>
                      <a:lnTo>
                        <a:pt x="50871" y="116892"/>
                      </a:lnTo>
                      <a:lnTo>
                        <a:pt x="57830" y="114047"/>
                      </a:lnTo>
                      <a:lnTo>
                        <a:pt x="65801" y="110787"/>
                      </a:lnTo>
                      <a:lnTo>
                        <a:pt x="68596" y="109655"/>
                      </a:lnTo>
                      <a:lnTo>
                        <a:pt x="73918" y="107470"/>
                      </a:lnTo>
                      <a:lnTo>
                        <a:pt x="74961" y="108367"/>
                      </a:lnTo>
                      <a:lnTo>
                        <a:pt x="78588" y="115865"/>
                      </a:lnTo>
                      <a:lnTo>
                        <a:pt x="81457" y="120266"/>
                      </a:lnTo>
                      <a:lnTo>
                        <a:pt x="84700" y="124340"/>
                      </a:lnTo>
                      <a:lnTo>
                        <a:pt x="85246" y="124137"/>
                      </a:lnTo>
                      <a:lnTo>
                        <a:pt x="86175" y="123191"/>
                      </a:lnTo>
                      <a:lnTo>
                        <a:pt x="87797" y="122800"/>
                      </a:lnTo>
                      <a:lnTo>
                        <a:pt x="92972" y="121879"/>
                      </a:lnTo>
                      <a:lnTo>
                        <a:pt x="94936" y="121822"/>
                      </a:lnTo>
                      <a:lnTo>
                        <a:pt x="96232" y="120730"/>
                      </a:lnTo>
                      <a:lnTo>
                        <a:pt x="98889" y="119948"/>
                      </a:lnTo>
                      <a:lnTo>
                        <a:pt x="101961" y="119483"/>
                      </a:lnTo>
                      <a:lnTo>
                        <a:pt x="103004" y="119980"/>
                      </a:lnTo>
                      <a:lnTo>
                        <a:pt x="106240" y="125261"/>
                      </a:lnTo>
                      <a:lnTo>
                        <a:pt x="106713" y="129279"/>
                      </a:lnTo>
                      <a:lnTo>
                        <a:pt x="107381" y="135122"/>
                      </a:lnTo>
                      <a:lnTo>
                        <a:pt x="107544" y="137975"/>
                      </a:lnTo>
                      <a:lnTo>
                        <a:pt x="107487" y="141781"/>
                      </a:lnTo>
                      <a:lnTo>
                        <a:pt x="107120" y="146548"/>
                      </a:lnTo>
                      <a:lnTo>
                        <a:pt x="104496" y="152033"/>
                      </a:lnTo>
                      <a:lnTo>
                        <a:pt x="103999" y="154763"/>
                      </a:lnTo>
                      <a:lnTo>
                        <a:pt x="102588" y="158993"/>
                      </a:lnTo>
                      <a:lnTo>
                        <a:pt x="100722" y="161071"/>
                      </a:lnTo>
                      <a:lnTo>
                        <a:pt x="99809" y="162791"/>
                      </a:lnTo>
                      <a:lnTo>
                        <a:pt x="99867" y="164559"/>
                      </a:lnTo>
                      <a:lnTo>
                        <a:pt x="100853" y="166043"/>
                      </a:lnTo>
                      <a:lnTo>
                        <a:pt x="103037" y="168716"/>
                      </a:lnTo>
                      <a:lnTo>
                        <a:pt x="103705" y="170435"/>
                      </a:lnTo>
                      <a:lnTo>
                        <a:pt x="103510" y="171992"/>
                      </a:lnTo>
                      <a:lnTo>
                        <a:pt x="103526" y="174070"/>
                      </a:lnTo>
                      <a:lnTo>
                        <a:pt x="104039" y="175537"/>
                      </a:lnTo>
                      <a:lnTo>
                        <a:pt x="104659" y="176376"/>
                      </a:lnTo>
                      <a:lnTo>
                        <a:pt x="106810" y="177754"/>
                      </a:lnTo>
                      <a:lnTo>
                        <a:pt x="108913" y="181177"/>
                      </a:lnTo>
                      <a:lnTo>
                        <a:pt x="112539" y="185325"/>
                      </a:lnTo>
                      <a:lnTo>
                        <a:pt x="116859" y="191241"/>
                      </a:lnTo>
                      <a:lnTo>
                        <a:pt x="118888" y="193051"/>
                      </a:lnTo>
                      <a:lnTo>
                        <a:pt x="120486" y="193499"/>
                      </a:lnTo>
                      <a:lnTo>
                        <a:pt x="121300" y="195471"/>
                      </a:lnTo>
                      <a:lnTo>
                        <a:pt x="120844" y="197777"/>
                      </a:lnTo>
                      <a:lnTo>
                        <a:pt x="119597" y="199098"/>
                      </a:lnTo>
                      <a:lnTo>
                        <a:pt x="120111" y="200980"/>
                      </a:lnTo>
                      <a:lnTo>
                        <a:pt x="120819" y="201967"/>
                      </a:lnTo>
                      <a:lnTo>
                        <a:pt x="121602" y="202464"/>
                      </a:lnTo>
                      <a:lnTo>
                        <a:pt x="123501" y="202586"/>
                      </a:lnTo>
                      <a:lnTo>
                        <a:pt x="125277" y="202203"/>
                      </a:lnTo>
                      <a:lnTo>
                        <a:pt x="125717" y="201551"/>
                      </a:lnTo>
                      <a:lnTo>
                        <a:pt x="125489" y="192700"/>
                      </a:lnTo>
                      <a:lnTo>
                        <a:pt x="124218" y="187533"/>
                      </a:lnTo>
                      <a:lnTo>
                        <a:pt x="122947" y="185520"/>
                      </a:lnTo>
                      <a:lnTo>
                        <a:pt x="122661" y="185121"/>
                      </a:lnTo>
                      <a:lnTo>
                        <a:pt x="123118" y="183426"/>
                      </a:lnTo>
                      <a:lnTo>
                        <a:pt x="124544" y="179473"/>
                      </a:lnTo>
                      <a:lnTo>
                        <a:pt x="125758" y="175561"/>
                      </a:lnTo>
                      <a:lnTo>
                        <a:pt x="126516" y="173907"/>
                      </a:lnTo>
                      <a:lnTo>
                        <a:pt x="127413" y="172921"/>
                      </a:lnTo>
                      <a:lnTo>
                        <a:pt x="133387" y="171861"/>
                      </a:lnTo>
                      <a:lnTo>
                        <a:pt x="136100" y="170940"/>
                      </a:lnTo>
                      <a:lnTo>
                        <a:pt x="137250" y="169791"/>
                      </a:lnTo>
                      <a:lnTo>
                        <a:pt x="138138" y="166743"/>
                      </a:lnTo>
                      <a:lnTo>
                        <a:pt x="138847" y="158259"/>
                      </a:lnTo>
                      <a:lnTo>
                        <a:pt x="139108" y="150281"/>
                      </a:lnTo>
                      <a:lnTo>
                        <a:pt x="138496" y="145611"/>
                      </a:lnTo>
                      <a:lnTo>
                        <a:pt x="139352" y="138570"/>
                      </a:lnTo>
                      <a:lnTo>
                        <a:pt x="140664" y="134226"/>
                      </a:lnTo>
                      <a:lnTo>
                        <a:pt x="140004" y="133370"/>
                      </a:lnTo>
                      <a:lnTo>
                        <a:pt x="139515" y="127502"/>
                      </a:lnTo>
                      <a:lnTo>
                        <a:pt x="135660" y="121211"/>
                      </a:lnTo>
                      <a:lnTo>
                        <a:pt x="130656" y="113159"/>
                      </a:lnTo>
                      <a:lnTo>
                        <a:pt x="127861" y="108848"/>
                      </a:lnTo>
                      <a:lnTo>
                        <a:pt x="124674" y="103925"/>
                      </a:lnTo>
                      <a:lnTo>
                        <a:pt x="118880" y="96232"/>
                      </a:lnTo>
                      <a:lnTo>
                        <a:pt x="116215" y="93445"/>
                      </a:lnTo>
                      <a:lnTo>
                        <a:pt x="114829" y="92369"/>
                      </a:lnTo>
                      <a:lnTo>
                        <a:pt x="110143" y="91473"/>
                      </a:lnTo>
                      <a:lnTo>
                        <a:pt x="108905" y="89989"/>
                      </a:lnTo>
                      <a:lnTo>
                        <a:pt x="107715" y="87634"/>
                      </a:lnTo>
                      <a:lnTo>
                        <a:pt x="107275" y="83266"/>
                      </a:lnTo>
                      <a:lnTo>
                        <a:pt x="107185" y="80006"/>
                      </a:lnTo>
                      <a:lnTo>
                        <a:pt x="106655" y="74456"/>
                      </a:lnTo>
                      <a:lnTo>
                        <a:pt x="105710" y="66608"/>
                      </a:lnTo>
                      <a:lnTo>
                        <a:pt x="105294" y="64293"/>
                      </a:lnTo>
                      <a:lnTo>
                        <a:pt x="103958" y="58393"/>
                      </a:lnTo>
                      <a:lnTo>
                        <a:pt x="102678" y="52786"/>
                      </a:lnTo>
                      <a:lnTo>
                        <a:pt x="102605" y="51400"/>
                      </a:lnTo>
                      <a:lnTo>
                        <a:pt x="103061" y="50047"/>
                      </a:lnTo>
                      <a:lnTo>
                        <a:pt x="105221" y="45924"/>
                      </a:lnTo>
                      <a:lnTo>
                        <a:pt x="106753" y="42990"/>
                      </a:lnTo>
                      <a:lnTo>
                        <a:pt x="107470" y="41384"/>
                      </a:lnTo>
                      <a:lnTo>
                        <a:pt x="108766" y="37040"/>
                      </a:lnTo>
                      <a:lnTo>
                        <a:pt x="109076" y="34921"/>
                      </a:lnTo>
                      <a:lnTo>
                        <a:pt x="110087" y="33968"/>
                      </a:lnTo>
                      <a:lnTo>
                        <a:pt x="114235" y="33577"/>
                      </a:lnTo>
                      <a:lnTo>
                        <a:pt x="117535" y="33650"/>
                      </a:lnTo>
                      <a:lnTo>
                        <a:pt x="123061" y="33544"/>
                      </a:lnTo>
                      <a:lnTo>
                        <a:pt x="128920" y="33789"/>
                      </a:lnTo>
                      <a:lnTo>
                        <a:pt x="129744" y="33984"/>
                      </a:lnTo>
                      <a:lnTo>
                        <a:pt x="131056" y="34449"/>
                      </a:lnTo>
                      <a:lnTo>
                        <a:pt x="132547" y="34375"/>
                      </a:lnTo>
                      <a:lnTo>
                        <a:pt x="134194" y="33764"/>
                      </a:lnTo>
                      <a:lnTo>
                        <a:pt x="136019" y="32248"/>
                      </a:lnTo>
                      <a:lnTo>
                        <a:pt x="138032" y="29852"/>
                      </a:lnTo>
                      <a:lnTo>
                        <a:pt x="141153" y="29909"/>
                      </a:lnTo>
                      <a:lnTo>
                        <a:pt x="145391" y="32411"/>
                      </a:lnTo>
                      <a:lnTo>
                        <a:pt x="147705" y="34596"/>
                      </a:lnTo>
                      <a:lnTo>
                        <a:pt x="148105" y="36445"/>
                      </a:lnTo>
                      <a:lnTo>
                        <a:pt x="150941" y="37529"/>
                      </a:lnTo>
                      <a:lnTo>
                        <a:pt x="156222" y="37831"/>
                      </a:lnTo>
                      <a:lnTo>
                        <a:pt x="160060" y="36861"/>
                      </a:lnTo>
                      <a:lnTo>
                        <a:pt x="162481" y="34620"/>
                      </a:lnTo>
                      <a:lnTo>
                        <a:pt x="165007" y="33438"/>
                      </a:lnTo>
                      <a:lnTo>
                        <a:pt x="167640" y="33316"/>
                      </a:lnTo>
                      <a:lnTo>
                        <a:pt x="169637" y="34082"/>
                      </a:lnTo>
                      <a:lnTo>
                        <a:pt x="170981" y="35745"/>
                      </a:lnTo>
                      <a:lnTo>
                        <a:pt x="173573" y="36934"/>
                      </a:lnTo>
                      <a:lnTo>
                        <a:pt x="177411" y="37660"/>
                      </a:lnTo>
                      <a:lnTo>
                        <a:pt x="181592" y="36584"/>
                      </a:lnTo>
                      <a:lnTo>
                        <a:pt x="186140" y="33732"/>
                      </a:lnTo>
                      <a:lnTo>
                        <a:pt x="188731" y="30749"/>
                      </a:lnTo>
                      <a:lnTo>
                        <a:pt x="189367" y="27636"/>
                      </a:lnTo>
                      <a:lnTo>
                        <a:pt x="190117" y="25745"/>
                      </a:lnTo>
                      <a:lnTo>
                        <a:pt x="190981" y="25093"/>
                      </a:lnTo>
                      <a:lnTo>
                        <a:pt x="193393" y="24702"/>
                      </a:lnTo>
                      <a:lnTo>
                        <a:pt x="197329" y="24596"/>
                      </a:lnTo>
                      <a:lnTo>
                        <a:pt x="200768" y="25582"/>
                      </a:lnTo>
                      <a:lnTo>
                        <a:pt x="205161" y="28671"/>
                      </a:lnTo>
                      <a:lnTo>
                        <a:pt x="207924" y="26609"/>
                      </a:lnTo>
                      <a:lnTo>
                        <a:pt x="212667" y="23088"/>
                      </a:lnTo>
                      <a:lnTo>
                        <a:pt x="217451" y="21222"/>
                      </a:lnTo>
                      <a:lnTo>
                        <a:pt x="222007" y="21214"/>
                      </a:lnTo>
                      <a:lnTo>
                        <a:pt x="225739" y="19869"/>
                      </a:lnTo>
                      <a:lnTo>
                        <a:pt x="228657" y="17212"/>
                      </a:lnTo>
                      <a:lnTo>
                        <a:pt x="231738" y="15517"/>
                      </a:lnTo>
                      <a:lnTo>
                        <a:pt x="234973" y="14808"/>
                      </a:lnTo>
                      <a:lnTo>
                        <a:pt x="238021" y="13520"/>
                      </a:lnTo>
                      <a:lnTo>
                        <a:pt x="242275" y="10757"/>
                      </a:lnTo>
                      <a:lnTo>
                        <a:pt x="246676" y="6723"/>
                      </a:lnTo>
                      <a:lnTo>
                        <a:pt x="251174" y="2616"/>
                      </a:lnTo>
                      <a:lnTo>
                        <a:pt x="254059" y="0"/>
                      </a:lnTo>
                      <a:lnTo>
                        <a:pt x="255380" y="3105"/>
                      </a:lnTo>
                      <a:lnTo>
                        <a:pt x="257727" y="5941"/>
                      </a:lnTo>
                      <a:lnTo>
                        <a:pt x="256325" y="7604"/>
                      </a:lnTo>
                      <a:lnTo>
                        <a:pt x="254630" y="9079"/>
                      </a:lnTo>
                      <a:lnTo>
                        <a:pt x="257368" y="11067"/>
                      </a:lnTo>
                      <a:lnTo>
                        <a:pt x="255364" y="14042"/>
                      </a:lnTo>
                      <a:lnTo>
                        <a:pt x="255127" y="16128"/>
                      </a:lnTo>
                      <a:lnTo>
                        <a:pt x="255633" y="16943"/>
                      </a:lnTo>
                      <a:lnTo>
                        <a:pt x="256072" y="18158"/>
                      </a:lnTo>
                      <a:lnTo>
                        <a:pt x="254760" y="21589"/>
                      </a:lnTo>
                      <a:lnTo>
                        <a:pt x="253016" y="24197"/>
                      </a:lnTo>
                      <a:lnTo>
                        <a:pt x="252560" y="26209"/>
                      </a:lnTo>
                      <a:lnTo>
                        <a:pt x="254100" y="29763"/>
                      </a:lnTo>
                      <a:lnTo>
                        <a:pt x="253302" y="36046"/>
                      </a:lnTo>
                      <a:lnTo>
                        <a:pt x="254809" y="41710"/>
                      </a:lnTo>
                      <a:lnTo>
                        <a:pt x="255225" y="44612"/>
                      </a:lnTo>
                      <a:lnTo>
                        <a:pt x="255747" y="46543"/>
                      </a:lnTo>
                      <a:lnTo>
                        <a:pt x="254989" y="50015"/>
                      </a:lnTo>
                      <a:lnTo>
                        <a:pt x="255184" y="55883"/>
                      </a:lnTo>
                      <a:lnTo>
                        <a:pt x="255535" y="58303"/>
                      </a:lnTo>
                      <a:lnTo>
                        <a:pt x="254646" y="61310"/>
                      </a:lnTo>
                      <a:lnTo>
                        <a:pt x="256162" y="62362"/>
                      </a:lnTo>
                      <a:lnTo>
                        <a:pt x="256977" y="65654"/>
                      </a:lnTo>
                      <a:lnTo>
                        <a:pt x="256757" y="69387"/>
                      </a:lnTo>
                      <a:lnTo>
                        <a:pt x="256293" y="71383"/>
                      </a:lnTo>
                      <a:lnTo>
                        <a:pt x="253668" y="73812"/>
                      </a:lnTo>
                      <a:lnTo>
                        <a:pt x="253359" y="74765"/>
                      </a:lnTo>
                      <a:lnTo>
                        <a:pt x="253408" y="76192"/>
                      </a:lnTo>
                      <a:lnTo>
                        <a:pt x="256667" y="76232"/>
                      </a:lnTo>
                      <a:lnTo>
                        <a:pt x="256790" y="78457"/>
                      </a:lnTo>
                      <a:lnTo>
                        <a:pt x="256570" y="80193"/>
                      </a:lnTo>
                      <a:lnTo>
                        <a:pt x="256700" y="83478"/>
                      </a:lnTo>
                      <a:lnTo>
                        <a:pt x="256268" y="85621"/>
                      </a:lnTo>
                      <a:lnTo>
                        <a:pt x="257034" y="88058"/>
                      </a:lnTo>
                      <a:lnTo>
                        <a:pt x="256097" y="90755"/>
                      </a:lnTo>
                      <a:lnTo>
                        <a:pt x="256423" y="92834"/>
                      </a:lnTo>
                      <a:lnTo>
                        <a:pt x="256472" y="95539"/>
                      </a:lnTo>
                      <a:lnTo>
                        <a:pt x="257230" y="102352"/>
                      </a:lnTo>
                      <a:lnTo>
                        <a:pt x="257352" y="110795"/>
                      </a:lnTo>
                      <a:lnTo>
                        <a:pt x="257523" y="112148"/>
                      </a:lnTo>
                      <a:lnTo>
                        <a:pt x="258689" y="113102"/>
                      </a:lnTo>
                      <a:lnTo>
                        <a:pt x="260327" y="113591"/>
                      </a:lnTo>
                      <a:lnTo>
                        <a:pt x="260270" y="115897"/>
                      </a:lnTo>
                      <a:lnTo>
                        <a:pt x="258452" y="118929"/>
                      </a:lnTo>
                      <a:lnTo>
                        <a:pt x="258338" y="120803"/>
                      </a:lnTo>
                      <a:lnTo>
                        <a:pt x="258607" y="123436"/>
                      </a:lnTo>
                      <a:lnTo>
                        <a:pt x="260595" y="119850"/>
                      </a:lnTo>
                      <a:lnTo>
                        <a:pt x="261785" y="119866"/>
                      </a:lnTo>
                      <a:lnTo>
                        <a:pt x="262861" y="121284"/>
                      </a:lnTo>
                      <a:lnTo>
                        <a:pt x="262707" y="123354"/>
                      </a:lnTo>
                      <a:lnTo>
                        <a:pt x="263073" y="124365"/>
                      </a:lnTo>
                      <a:lnTo>
                        <a:pt x="262918" y="126370"/>
                      </a:lnTo>
                      <a:lnTo>
                        <a:pt x="263505" y="128912"/>
                      </a:lnTo>
                      <a:lnTo>
                        <a:pt x="263269" y="131137"/>
                      </a:lnTo>
                      <a:lnTo>
                        <a:pt x="261802" y="132678"/>
                      </a:lnTo>
                      <a:lnTo>
                        <a:pt x="259935" y="135334"/>
                      </a:lnTo>
                      <a:lnTo>
                        <a:pt x="259610" y="137828"/>
                      </a:lnTo>
                      <a:lnTo>
                        <a:pt x="259781" y="139466"/>
                      </a:lnTo>
                      <a:lnTo>
                        <a:pt x="258477" y="139988"/>
                      </a:lnTo>
                      <a:lnTo>
                        <a:pt x="257882" y="140990"/>
                      </a:lnTo>
                      <a:lnTo>
                        <a:pt x="258754" y="143337"/>
                      </a:lnTo>
                      <a:lnTo>
                        <a:pt x="258697" y="145424"/>
                      </a:lnTo>
                      <a:lnTo>
                        <a:pt x="256423" y="151903"/>
                      </a:lnTo>
                      <a:lnTo>
                        <a:pt x="250343" y="160761"/>
                      </a:lnTo>
                      <a:lnTo>
                        <a:pt x="247719" y="163907"/>
                      </a:lnTo>
                      <a:lnTo>
                        <a:pt x="245250" y="167347"/>
                      </a:lnTo>
                      <a:lnTo>
                        <a:pt x="245250" y="168740"/>
                      </a:lnTo>
                      <a:lnTo>
                        <a:pt x="245022" y="169963"/>
                      </a:lnTo>
                      <a:lnTo>
                        <a:pt x="242153" y="174861"/>
                      </a:lnTo>
                      <a:lnTo>
                        <a:pt x="239081" y="175667"/>
                      </a:lnTo>
                      <a:lnTo>
                        <a:pt x="237369" y="176971"/>
                      </a:lnTo>
                      <a:lnTo>
                        <a:pt x="238698" y="181274"/>
                      </a:lnTo>
                      <a:lnTo>
                        <a:pt x="236709" y="182269"/>
                      </a:lnTo>
                      <a:lnTo>
                        <a:pt x="233261" y="185667"/>
                      </a:lnTo>
                      <a:lnTo>
                        <a:pt x="223759" y="192195"/>
                      </a:lnTo>
                      <a:lnTo>
                        <a:pt x="222251" y="193711"/>
                      </a:lnTo>
                      <a:lnTo>
                        <a:pt x="219839" y="197712"/>
                      </a:lnTo>
                      <a:lnTo>
                        <a:pt x="216644" y="198682"/>
                      </a:lnTo>
                      <a:lnTo>
                        <a:pt x="214884" y="199823"/>
                      </a:lnTo>
                      <a:lnTo>
                        <a:pt x="211730" y="200231"/>
                      </a:lnTo>
                      <a:lnTo>
                        <a:pt x="210630" y="199946"/>
                      </a:lnTo>
                      <a:lnTo>
                        <a:pt x="209554" y="200092"/>
                      </a:lnTo>
                      <a:lnTo>
                        <a:pt x="208649" y="200940"/>
                      </a:lnTo>
                      <a:lnTo>
                        <a:pt x="202374" y="203751"/>
                      </a:lnTo>
                      <a:lnTo>
                        <a:pt x="196531" y="205976"/>
                      </a:lnTo>
                      <a:lnTo>
                        <a:pt x="195088" y="206987"/>
                      </a:lnTo>
                      <a:lnTo>
                        <a:pt x="194118" y="208381"/>
                      </a:lnTo>
                      <a:lnTo>
                        <a:pt x="188952" y="210589"/>
                      </a:lnTo>
                      <a:lnTo>
                        <a:pt x="180834" y="216025"/>
                      </a:lnTo>
                      <a:lnTo>
                        <a:pt x="174201" y="221224"/>
                      </a:lnTo>
                      <a:lnTo>
                        <a:pt x="169384" y="226416"/>
                      </a:lnTo>
                      <a:lnTo>
                        <a:pt x="168121" y="227214"/>
                      </a:lnTo>
                      <a:lnTo>
                        <a:pt x="166629" y="229015"/>
                      </a:lnTo>
                      <a:lnTo>
                        <a:pt x="166124" y="231672"/>
                      </a:lnTo>
                      <a:lnTo>
                        <a:pt x="165635" y="233164"/>
                      </a:lnTo>
                      <a:lnTo>
                        <a:pt x="162065" y="238649"/>
                      </a:lnTo>
                      <a:lnTo>
                        <a:pt x="156719" y="245136"/>
                      </a:lnTo>
                      <a:lnTo>
                        <a:pt x="155668" y="246888"/>
                      </a:lnTo>
                      <a:lnTo>
                        <a:pt x="153541" y="250498"/>
                      </a:lnTo>
                      <a:lnTo>
                        <a:pt x="153329" y="252862"/>
                      </a:lnTo>
                      <a:lnTo>
                        <a:pt x="151430" y="253579"/>
                      </a:lnTo>
                      <a:lnTo>
                        <a:pt x="149841" y="251321"/>
                      </a:lnTo>
                      <a:lnTo>
                        <a:pt x="149172" y="255673"/>
                      </a:lnTo>
                      <a:lnTo>
                        <a:pt x="147869" y="255983"/>
                      </a:lnTo>
                      <a:lnTo>
                        <a:pt x="146418" y="255095"/>
                      </a:lnTo>
                      <a:lnTo>
                        <a:pt x="142832" y="257262"/>
                      </a:lnTo>
                      <a:lnTo>
                        <a:pt x="139695" y="259748"/>
                      </a:lnTo>
                      <a:lnTo>
                        <a:pt x="134682" y="265005"/>
                      </a:lnTo>
                      <a:lnTo>
                        <a:pt x="127584" y="275176"/>
                      </a:lnTo>
                      <a:lnTo>
                        <a:pt x="117226" y="285004"/>
                      </a:lnTo>
                      <a:lnTo>
                        <a:pt x="115807" y="285281"/>
                      </a:lnTo>
                      <a:lnTo>
                        <a:pt x="114862" y="285232"/>
                      </a:lnTo>
                      <a:lnTo>
                        <a:pt x="111602" y="281818"/>
                      </a:lnTo>
                      <a:lnTo>
                        <a:pt x="109825" y="281565"/>
                      </a:lnTo>
                      <a:lnTo>
                        <a:pt x="111407" y="283594"/>
                      </a:lnTo>
                      <a:lnTo>
                        <a:pt x="112458" y="285281"/>
                      </a:lnTo>
                      <a:lnTo>
                        <a:pt x="112197" y="288598"/>
                      </a:lnTo>
                      <a:lnTo>
                        <a:pt x="112327" y="293578"/>
                      </a:lnTo>
                      <a:lnTo>
                        <a:pt x="111040" y="303260"/>
                      </a:lnTo>
                      <a:lnTo>
                        <a:pt x="111211" y="305387"/>
                      </a:lnTo>
                      <a:lnTo>
                        <a:pt x="112695" y="308133"/>
                      </a:lnTo>
                      <a:lnTo>
                        <a:pt x="115482" y="311507"/>
                      </a:lnTo>
                      <a:lnTo>
                        <a:pt x="118090" y="315696"/>
                      </a:lnTo>
                      <a:lnTo>
                        <a:pt x="121439" y="327741"/>
                      </a:lnTo>
                      <a:lnTo>
                        <a:pt x="121700" y="333951"/>
                      </a:lnTo>
                      <a:lnTo>
                        <a:pt x="125155" y="341873"/>
                      </a:lnTo>
                      <a:lnTo>
                        <a:pt x="125294" y="345320"/>
                      </a:lnTo>
                      <a:lnTo>
                        <a:pt x="126695" y="353894"/>
                      </a:lnTo>
                      <a:lnTo>
                        <a:pt x="126606" y="360821"/>
                      </a:lnTo>
                      <a:lnTo>
                        <a:pt x="126362" y="365067"/>
                      </a:lnTo>
                      <a:lnTo>
                        <a:pt x="128024" y="366860"/>
                      </a:lnTo>
                      <a:lnTo>
                        <a:pt x="128635" y="365255"/>
                      </a:lnTo>
                      <a:lnTo>
                        <a:pt x="128464" y="362573"/>
                      </a:lnTo>
                      <a:lnTo>
                        <a:pt x="128920" y="358262"/>
                      </a:lnTo>
                      <a:lnTo>
                        <a:pt x="129833" y="356339"/>
                      </a:lnTo>
                      <a:lnTo>
                        <a:pt x="130762" y="356608"/>
                      </a:lnTo>
                      <a:lnTo>
                        <a:pt x="131047" y="358637"/>
                      </a:lnTo>
                      <a:lnTo>
                        <a:pt x="131667" y="360454"/>
                      </a:lnTo>
                      <a:lnTo>
                        <a:pt x="131911" y="362150"/>
                      </a:lnTo>
                      <a:lnTo>
                        <a:pt x="131952" y="364440"/>
                      </a:lnTo>
                      <a:lnTo>
                        <a:pt x="130673" y="373192"/>
                      </a:lnTo>
                      <a:lnTo>
                        <a:pt x="131072" y="376762"/>
                      </a:lnTo>
                      <a:lnTo>
                        <a:pt x="132783" y="382703"/>
                      </a:lnTo>
                      <a:lnTo>
                        <a:pt x="130779" y="389639"/>
                      </a:lnTo>
                      <a:lnTo>
                        <a:pt x="127877" y="405971"/>
                      </a:lnTo>
                      <a:lnTo>
                        <a:pt x="127706" y="408790"/>
                      </a:lnTo>
                      <a:lnTo>
                        <a:pt x="128415" y="410021"/>
                      </a:lnTo>
                      <a:lnTo>
                        <a:pt x="129980" y="410445"/>
                      </a:lnTo>
                      <a:lnTo>
                        <a:pt x="130550" y="408359"/>
                      </a:lnTo>
                      <a:lnTo>
                        <a:pt x="131471" y="408375"/>
                      </a:lnTo>
                      <a:lnTo>
                        <a:pt x="131952" y="409605"/>
                      </a:lnTo>
                      <a:lnTo>
                        <a:pt x="130656" y="417152"/>
                      </a:lnTo>
                      <a:lnTo>
                        <a:pt x="129385" y="420453"/>
                      </a:lnTo>
                      <a:lnTo>
                        <a:pt x="124838" y="428570"/>
                      </a:lnTo>
                      <a:lnTo>
                        <a:pt x="122376" y="432058"/>
                      </a:lnTo>
                      <a:lnTo>
                        <a:pt x="118318" y="435481"/>
                      </a:lnTo>
                      <a:lnTo>
                        <a:pt x="108766" y="440835"/>
                      </a:lnTo>
                      <a:lnTo>
                        <a:pt x="89639" y="448586"/>
                      </a:lnTo>
                      <a:lnTo>
                        <a:pt x="82051" y="452383"/>
                      </a:lnTo>
                      <a:lnTo>
                        <a:pt x="77512" y="454649"/>
                      </a:lnTo>
                      <a:lnTo>
                        <a:pt x="67928" y="461870"/>
                      </a:lnTo>
                      <a:lnTo>
                        <a:pt x="63747" y="466719"/>
                      </a:lnTo>
                      <a:lnTo>
                        <a:pt x="62011" y="472285"/>
                      </a:lnTo>
                      <a:lnTo>
                        <a:pt x="60365" y="474828"/>
                      </a:lnTo>
                      <a:lnTo>
                        <a:pt x="58735" y="478055"/>
                      </a:lnTo>
                      <a:lnTo>
                        <a:pt x="60153" y="480834"/>
                      </a:lnTo>
                      <a:lnTo>
                        <a:pt x="61547" y="482929"/>
                      </a:lnTo>
                      <a:lnTo>
                        <a:pt x="63185" y="484330"/>
                      </a:lnTo>
                      <a:lnTo>
                        <a:pt x="64032" y="485537"/>
                      </a:lnTo>
                      <a:lnTo>
                        <a:pt x="65141" y="486384"/>
                      </a:lnTo>
                      <a:lnTo>
                        <a:pt x="66265" y="482016"/>
                      </a:lnTo>
                      <a:lnTo>
                        <a:pt x="66819" y="480663"/>
                      </a:lnTo>
                      <a:lnTo>
                        <a:pt x="67773" y="480565"/>
                      </a:lnTo>
                      <a:lnTo>
                        <a:pt x="67243" y="485871"/>
                      </a:lnTo>
                      <a:lnTo>
                        <a:pt x="66151" y="504142"/>
                      </a:lnTo>
                      <a:lnTo>
                        <a:pt x="66111" y="504696"/>
                      </a:lnTo>
                      <a:close/>
                    </a:path>
                  </a:pathLst>
                </a:custGeom>
                <a:solidFill>
                  <a:srgbClr val="D6D6D2"/>
                </a:solidFill>
                <a:ln w="6112" cap="rnd">
                  <a:solidFill>
                    <a:srgbClr val="FFFFFF"/>
                  </a:solidFill>
                  <a:prstDash val="solid"/>
                  <a:round/>
                </a:ln>
              </p:spPr>
              <p:txBody>
                <a:bodyPr rtlCol="0" anchor="ctr"/>
                <a:lstStyle/>
                <a:p>
                  <a:endParaRPr lang="en-US"/>
                </a:p>
              </p:txBody>
            </p:sp>
            <p:sp>
              <p:nvSpPr>
                <p:cNvPr id="677" name="Freeform: Shape 676">
                  <a:extLst>
                    <a:ext uri="{FF2B5EF4-FFF2-40B4-BE49-F238E27FC236}">
                      <a16:creationId xmlns:a16="http://schemas.microsoft.com/office/drawing/2014/main" id="{379DE214-519A-4A29-81CD-ABD925256CD2}"/>
                    </a:ext>
                  </a:extLst>
                </p:cNvPr>
                <p:cNvSpPr/>
                <p:nvPr/>
              </p:nvSpPr>
              <p:spPr>
                <a:xfrm>
                  <a:off x="8119855" y="2846866"/>
                  <a:ext cx="797508" cy="374569"/>
                </a:xfrm>
                <a:custGeom>
                  <a:avLst/>
                  <a:gdLst>
                    <a:gd name="connsiteX0" fmla="*/ 717780 w 797508"/>
                    <a:gd name="connsiteY0" fmla="*/ 84268 h 374569"/>
                    <a:gd name="connsiteX1" fmla="*/ 715457 w 797508"/>
                    <a:gd name="connsiteY1" fmla="*/ 89321 h 374569"/>
                    <a:gd name="connsiteX2" fmla="*/ 710812 w 797508"/>
                    <a:gd name="connsiteY2" fmla="*/ 99443 h 374569"/>
                    <a:gd name="connsiteX3" fmla="*/ 706867 w 797508"/>
                    <a:gd name="connsiteY3" fmla="*/ 107992 h 374569"/>
                    <a:gd name="connsiteX4" fmla="*/ 704797 w 797508"/>
                    <a:gd name="connsiteY4" fmla="*/ 112792 h 374569"/>
                    <a:gd name="connsiteX5" fmla="*/ 703273 w 797508"/>
                    <a:gd name="connsiteY5" fmla="*/ 116468 h 374569"/>
                    <a:gd name="connsiteX6" fmla="*/ 701692 w 797508"/>
                    <a:gd name="connsiteY6" fmla="*/ 119931 h 374569"/>
                    <a:gd name="connsiteX7" fmla="*/ 701464 w 797508"/>
                    <a:gd name="connsiteY7" fmla="*/ 122018 h 374569"/>
                    <a:gd name="connsiteX8" fmla="*/ 699696 w 797508"/>
                    <a:gd name="connsiteY8" fmla="*/ 125367 h 374569"/>
                    <a:gd name="connsiteX9" fmla="*/ 696387 w 797508"/>
                    <a:gd name="connsiteY9" fmla="*/ 129418 h 374569"/>
                    <a:gd name="connsiteX10" fmla="*/ 695661 w 797508"/>
                    <a:gd name="connsiteY10" fmla="*/ 133786 h 374569"/>
                    <a:gd name="connsiteX11" fmla="*/ 695792 w 797508"/>
                    <a:gd name="connsiteY11" fmla="*/ 137722 h 374569"/>
                    <a:gd name="connsiteX12" fmla="*/ 695515 w 797508"/>
                    <a:gd name="connsiteY12" fmla="*/ 141259 h 374569"/>
                    <a:gd name="connsiteX13" fmla="*/ 691888 w 797508"/>
                    <a:gd name="connsiteY13" fmla="*/ 143484 h 374569"/>
                    <a:gd name="connsiteX14" fmla="*/ 689052 w 797508"/>
                    <a:gd name="connsiteY14" fmla="*/ 145473 h 374569"/>
                    <a:gd name="connsiteX15" fmla="*/ 689859 w 797508"/>
                    <a:gd name="connsiteY15" fmla="*/ 152139 h 374569"/>
                    <a:gd name="connsiteX16" fmla="*/ 691318 w 797508"/>
                    <a:gd name="connsiteY16" fmla="*/ 154649 h 374569"/>
                    <a:gd name="connsiteX17" fmla="*/ 693689 w 797508"/>
                    <a:gd name="connsiteY17" fmla="*/ 157379 h 374569"/>
                    <a:gd name="connsiteX18" fmla="*/ 696166 w 797508"/>
                    <a:gd name="connsiteY18" fmla="*/ 159547 h 374569"/>
                    <a:gd name="connsiteX19" fmla="*/ 698318 w 797508"/>
                    <a:gd name="connsiteY19" fmla="*/ 161389 h 374569"/>
                    <a:gd name="connsiteX20" fmla="*/ 700690 w 797508"/>
                    <a:gd name="connsiteY20" fmla="*/ 160509 h 374569"/>
                    <a:gd name="connsiteX21" fmla="*/ 702695 w 797508"/>
                    <a:gd name="connsiteY21" fmla="*/ 157714 h 374569"/>
                    <a:gd name="connsiteX22" fmla="*/ 706566 w 797508"/>
                    <a:gd name="connsiteY22" fmla="*/ 155252 h 374569"/>
                    <a:gd name="connsiteX23" fmla="*/ 708701 w 797508"/>
                    <a:gd name="connsiteY23" fmla="*/ 155195 h 374569"/>
                    <a:gd name="connsiteX24" fmla="*/ 710209 w 797508"/>
                    <a:gd name="connsiteY24" fmla="*/ 155758 h 374569"/>
                    <a:gd name="connsiteX25" fmla="*/ 713575 w 797508"/>
                    <a:gd name="connsiteY25" fmla="*/ 155921 h 374569"/>
                    <a:gd name="connsiteX26" fmla="*/ 716997 w 797508"/>
                    <a:gd name="connsiteY26" fmla="*/ 155032 h 374569"/>
                    <a:gd name="connsiteX27" fmla="*/ 719703 w 797508"/>
                    <a:gd name="connsiteY27" fmla="*/ 154837 h 374569"/>
                    <a:gd name="connsiteX28" fmla="*/ 723183 w 797508"/>
                    <a:gd name="connsiteY28" fmla="*/ 155432 h 374569"/>
                    <a:gd name="connsiteX29" fmla="*/ 724438 w 797508"/>
                    <a:gd name="connsiteY29" fmla="*/ 156027 h 374569"/>
                    <a:gd name="connsiteX30" fmla="*/ 727364 w 797508"/>
                    <a:gd name="connsiteY30" fmla="*/ 157102 h 374569"/>
                    <a:gd name="connsiteX31" fmla="*/ 730526 w 797508"/>
                    <a:gd name="connsiteY31" fmla="*/ 159474 h 374569"/>
                    <a:gd name="connsiteX32" fmla="*/ 732726 w 797508"/>
                    <a:gd name="connsiteY32" fmla="*/ 162123 h 374569"/>
                    <a:gd name="connsiteX33" fmla="*/ 734332 w 797508"/>
                    <a:gd name="connsiteY33" fmla="*/ 162628 h 374569"/>
                    <a:gd name="connsiteX34" fmla="*/ 735163 w 797508"/>
                    <a:gd name="connsiteY34" fmla="*/ 161788 h 374569"/>
                    <a:gd name="connsiteX35" fmla="*/ 736932 w 797508"/>
                    <a:gd name="connsiteY35" fmla="*/ 159441 h 374569"/>
                    <a:gd name="connsiteX36" fmla="*/ 739409 w 797508"/>
                    <a:gd name="connsiteY36" fmla="*/ 157176 h 374569"/>
                    <a:gd name="connsiteX37" fmla="*/ 742425 w 797508"/>
                    <a:gd name="connsiteY37" fmla="*/ 153459 h 374569"/>
                    <a:gd name="connsiteX38" fmla="*/ 744698 w 797508"/>
                    <a:gd name="connsiteY38" fmla="*/ 150607 h 374569"/>
                    <a:gd name="connsiteX39" fmla="*/ 746491 w 797508"/>
                    <a:gd name="connsiteY39" fmla="*/ 150167 h 374569"/>
                    <a:gd name="connsiteX40" fmla="*/ 749922 w 797508"/>
                    <a:gd name="connsiteY40" fmla="*/ 150183 h 374569"/>
                    <a:gd name="connsiteX41" fmla="*/ 751479 w 797508"/>
                    <a:gd name="connsiteY41" fmla="*/ 149482 h 374569"/>
                    <a:gd name="connsiteX42" fmla="*/ 754087 w 797508"/>
                    <a:gd name="connsiteY42" fmla="*/ 149132 h 374569"/>
                    <a:gd name="connsiteX43" fmla="*/ 756385 w 797508"/>
                    <a:gd name="connsiteY43" fmla="*/ 150191 h 374569"/>
                    <a:gd name="connsiteX44" fmla="*/ 762807 w 797508"/>
                    <a:gd name="connsiteY44" fmla="*/ 150746 h 374569"/>
                    <a:gd name="connsiteX45" fmla="*/ 764526 w 797508"/>
                    <a:gd name="connsiteY45" fmla="*/ 152204 h 374569"/>
                    <a:gd name="connsiteX46" fmla="*/ 767575 w 797508"/>
                    <a:gd name="connsiteY46" fmla="*/ 156540 h 374569"/>
                    <a:gd name="connsiteX47" fmla="*/ 769286 w 797508"/>
                    <a:gd name="connsiteY47" fmla="*/ 158854 h 374569"/>
                    <a:gd name="connsiteX48" fmla="*/ 772269 w 797508"/>
                    <a:gd name="connsiteY48" fmla="*/ 160020 h 374569"/>
                    <a:gd name="connsiteX49" fmla="*/ 774078 w 797508"/>
                    <a:gd name="connsiteY49" fmla="*/ 160810 h 374569"/>
                    <a:gd name="connsiteX50" fmla="*/ 775676 w 797508"/>
                    <a:gd name="connsiteY50" fmla="*/ 161438 h 374569"/>
                    <a:gd name="connsiteX51" fmla="*/ 777281 w 797508"/>
                    <a:gd name="connsiteY51" fmla="*/ 162555 h 374569"/>
                    <a:gd name="connsiteX52" fmla="*/ 777656 w 797508"/>
                    <a:gd name="connsiteY52" fmla="*/ 163915 h 374569"/>
                    <a:gd name="connsiteX53" fmla="*/ 778292 w 797508"/>
                    <a:gd name="connsiteY53" fmla="*/ 165977 h 374569"/>
                    <a:gd name="connsiteX54" fmla="*/ 779277 w 797508"/>
                    <a:gd name="connsiteY54" fmla="*/ 167167 h 374569"/>
                    <a:gd name="connsiteX55" fmla="*/ 781079 w 797508"/>
                    <a:gd name="connsiteY55" fmla="*/ 168333 h 374569"/>
                    <a:gd name="connsiteX56" fmla="*/ 782456 w 797508"/>
                    <a:gd name="connsiteY56" fmla="*/ 169050 h 374569"/>
                    <a:gd name="connsiteX57" fmla="*/ 782896 w 797508"/>
                    <a:gd name="connsiteY57" fmla="*/ 170549 h 374569"/>
                    <a:gd name="connsiteX58" fmla="*/ 783328 w 797508"/>
                    <a:gd name="connsiteY58" fmla="*/ 171283 h 374569"/>
                    <a:gd name="connsiteX59" fmla="*/ 784583 w 797508"/>
                    <a:gd name="connsiteY59" fmla="*/ 172326 h 374569"/>
                    <a:gd name="connsiteX60" fmla="*/ 788308 w 797508"/>
                    <a:gd name="connsiteY60" fmla="*/ 176792 h 374569"/>
                    <a:gd name="connsiteX61" fmla="*/ 790133 w 797508"/>
                    <a:gd name="connsiteY61" fmla="*/ 177982 h 374569"/>
                    <a:gd name="connsiteX62" fmla="*/ 792879 w 797508"/>
                    <a:gd name="connsiteY62" fmla="*/ 180557 h 374569"/>
                    <a:gd name="connsiteX63" fmla="*/ 794028 w 797508"/>
                    <a:gd name="connsiteY63" fmla="*/ 182692 h 374569"/>
                    <a:gd name="connsiteX64" fmla="*/ 794086 w 797508"/>
                    <a:gd name="connsiteY64" fmla="*/ 184942 h 374569"/>
                    <a:gd name="connsiteX65" fmla="*/ 794803 w 797508"/>
                    <a:gd name="connsiteY65" fmla="*/ 186653 h 374569"/>
                    <a:gd name="connsiteX66" fmla="*/ 796645 w 797508"/>
                    <a:gd name="connsiteY66" fmla="*/ 189229 h 374569"/>
                    <a:gd name="connsiteX67" fmla="*/ 797508 w 797508"/>
                    <a:gd name="connsiteY67" fmla="*/ 190964 h 374569"/>
                    <a:gd name="connsiteX68" fmla="*/ 797166 w 797508"/>
                    <a:gd name="connsiteY68" fmla="*/ 193320 h 374569"/>
                    <a:gd name="connsiteX69" fmla="*/ 797468 w 797508"/>
                    <a:gd name="connsiteY69" fmla="*/ 195398 h 374569"/>
                    <a:gd name="connsiteX70" fmla="*/ 796751 w 797508"/>
                    <a:gd name="connsiteY70" fmla="*/ 197558 h 374569"/>
                    <a:gd name="connsiteX71" fmla="*/ 793776 w 797508"/>
                    <a:gd name="connsiteY71" fmla="*/ 199155 h 374569"/>
                    <a:gd name="connsiteX72" fmla="*/ 792765 w 797508"/>
                    <a:gd name="connsiteY72" fmla="*/ 199905 h 374569"/>
                    <a:gd name="connsiteX73" fmla="*/ 790630 w 797508"/>
                    <a:gd name="connsiteY73" fmla="*/ 199986 h 374569"/>
                    <a:gd name="connsiteX74" fmla="*/ 786995 w 797508"/>
                    <a:gd name="connsiteY74" fmla="*/ 199171 h 374569"/>
                    <a:gd name="connsiteX75" fmla="*/ 783475 w 797508"/>
                    <a:gd name="connsiteY75" fmla="*/ 199636 h 374569"/>
                    <a:gd name="connsiteX76" fmla="*/ 779269 w 797508"/>
                    <a:gd name="connsiteY76" fmla="*/ 198747 h 374569"/>
                    <a:gd name="connsiteX77" fmla="*/ 775953 w 797508"/>
                    <a:gd name="connsiteY77" fmla="*/ 196849 h 374569"/>
                    <a:gd name="connsiteX78" fmla="*/ 774176 w 797508"/>
                    <a:gd name="connsiteY78" fmla="*/ 195333 h 374569"/>
                    <a:gd name="connsiteX79" fmla="*/ 771372 w 797508"/>
                    <a:gd name="connsiteY79" fmla="*/ 194428 h 374569"/>
                    <a:gd name="connsiteX80" fmla="*/ 770036 w 797508"/>
                    <a:gd name="connsiteY80" fmla="*/ 194893 h 374569"/>
                    <a:gd name="connsiteX81" fmla="*/ 768373 w 797508"/>
                    <a:gd name="connsiteY81" fmla="*/ 196857 h 374569"/>
                    <a:gd name="connsiteX82" fmla="*/ 766532 w 797508"/>
                    <a:gd name="connsiteY82" fmla="*/ 196514 h 374569"/>
                    <a:gd name="connsiteX83" fmla="*/ 764836 w 797508"/>
                    <a:gd name="connsiteY83" fmla="*/ 196857 h 374569"/>
                    <a:gd name="connsiteX84" fmla="*/ 760468 w 797508"/>
                    <a:gd name="connsiteY84" fmla="*/ 196457 h 374569"/>
                    <a:gd name="connsiteX85" fmla="*/ 758096 w 797508"/>
                    <a:gd name="connsiteY85" fmla="*/ 195968 h 374569"/>
                    <a:gd name="connsiteX86" fmla="*/ 754331 w 797508"/>
                    <a:gd name="connsiteY86" fmla="*/ 197338 h 374569"/>
                    <a:gd name="connsiteX87" fmla="*/ 752212 w 797508"/>
                    <a:gd name="connsiteY87" fmla="*/ 197761 h 374569"/>
                    <a:gd name="connsiteX88" fmla="*/ 748219 w 797508"/>
                    <a:gd name="connsiteY88" fmla="*/ 199432 h 374569"/>
                    <a:gd name="connsiteX89" fmla="*/ 745823 w 797508"/>
                    <a:gd name="connsiteY89" fmla="*/ 202333 h 374569"/>
                    <a:gd name="connsiteX90" fmla="*/ 744022 w 797508"/>
                    <a:gd name="connsiteY90" fmla="*/ 203026 h 374569"/>
                    <a:gd name="connsiteX91" fmla="*/ 742278 w 797508"/>
                    <a:gd name="connsiteY91" fmla="*/ 202887 h 374569"/>
                    <a:gd name="connsiteX92" fmla="*/ 741031 w 797508"/>
                    <a:gd name="connsiteY92" fmla="*/ 201820 h 374569"/>
                    <a:gd name="connsiteX93" fmla="*/ 739205 w 797508"/>
                    <a:gd name="connsiteY93" fmla="*/ 200540 h 374569"/>
                    <a:gd name="connsiteX94" fmla="*/ 736508 w 797508"/>
                    <a:gd name="connsiteY94" fmla="*/ 200606 h 374569"/>
                    <a:gd name="connsiteX95" fmla="*/ 735693 w 797508"/>
                    <a:gd name="connsiteY95" fmla="*/ 201152 h 374569"/>
                    <a:gd name="connsiteX96" fmla="*/ 735359 w 797508"/>
                    <a:gd name="connsiteY96" fmla="*/ 202341 h 374569"/>
                    <a:gd name="connsiteX97" fmla="*/ 734478 w 797508"/>
                    <a:gd name="connsiteY97" fmla="*/ 205911 h 374569"/>
                    <a:gd name="connsiteX98" fmla="*/ 734487 w 797508"/>
                    <a:gd name="connsiteY98" fmla="*/ 207525 h 374569"/>
                    <a:gd name="connsiteX99" fmla="*/ 733916 w 797508"/>
                    <a:gd name="connsiteY99" fmla="*/ 208560 h 374569"/>
                    <a:gd name="connsiteX100" fmla="*/ 732311 w 797508"/>
                    <a:gd name="connsiteY100" fmla="*/ 208910 h 374569"/>
                    <a:gd name="connsiteX101" fmla="*/ 729507 w 797508"/>
                    <a:gd name="connsiteY101" fmla="*/ 208804 h 374569"/>
                    <a:gd name="connsiteX102" fmla="*/ 725114 w 797508"/>
                    <a:gd name="connsiteY102" fmla="*/ 208568 h 374569"/>
                    <a:gd name="connsiteX103" fmla="*/ 722140 w 797508"/>
                    <a:gd name="connsiteY103" fmla="*/ 207639 h 374569"/>
                    <a:gd name="connsiteX104" fmla="*/ 720355 w 797508"/>
                    <a:gd name="connsiteY104" fmla="*/ 208038 h 374569"/>
                    <a:gd name="connsiteX105" fmla="*/ 717927 w 797508"/>
                    <a:gd name="connsiteY105" fmla="*/ 209978 h 374569"/>
                    <a:gd name="connsiteX106" fmla="*/ 716199 w 797508"/>
                    <a:gd name="connsiteY106" fmla="*/ 210287 h 374569"/>
                    <a:gd name="connsiteX107" fmla="*/ 714797 w 797508"/>
                    <a:gd name="connsiteY107" fmla="*/ 211119 h 374569"/>
                    <a:gd name="connsiteX108" fmla="*/ 713648 w 797508"/>
                    <a:gd name="connsiteY108" fmla="*/ 213979 h 374569"/>
                    <a:gd name="connsiteX109" fmla="*/ 711871 w 797508"/>
                    <a:gd name="connsiteY109" fmla="*/ 215756 h 374569"/>
                    <a:gd name="connsiteX110" fmla="*/ 709703 w 797508"/>
                    <a:gd name="connsiteY110" fmla="*/ 217956 h 374569"/>
                    <a:gd name="connsiteX111" fmla="*/ 707397 w 797508"/>
                    <a:gd name="connsiteY111" fmla="*/ 222675 h 374569"/>
                    <a:gd name="connsiteX112" fmla="*/ 706117 w 797508"/>
                    <a:gd name="connsiteY112" fmla="*/ 225365 h 374569"/>
                    <a:gd name="connsiteX113" fmla="*/ 706517 w 797508"/>
                    <a:gd name="connsiteY113" fmla="*/ 226815 h 374569"/>
                    <a:gd name="connsiteX114" fmla="*/ 706810 w 797508"/>
                    <a:gd name="connsiteY114" fmla="*/ 228576 h 374569"/>
                    <a:gd name="connsiteX115" fmla="*/ 705734 w 797508"/>
                    <a:gd name="connsiteY115" fmla="*/ 230572 h 374569"/>
                    <a:gd name="connsiteX116" fmla="*/ 703559 w 797508"/>
                    <a:gd name="connsiteY116" fmla="*/ 232422 h 374569"/>
                    <a:gd name="connsiteX117" fmla="*/ 701823 w 797508"/>
                    <a:gd name="connsiteY117" fmla="*/ 232764 h 374569"/>
                    <a:gd name="connsiteX118" fmla="*/ 699207 w 797508"/>
                    <a:gd name="connsiteY118" fmla="*/ 234557 h 374569"/>
                    <a:gd name="connsiteX119" fmla="*/ 695612 w 797508"/>
                    <a:gd name="connsiteY119" fmla="*/ 237777 h 374569"/>
                    <a:gd name="connsiteX120" fmla="*/ 692923 w 797508"/>
                    <a:gd name="connsiteY120" fmla="*/ 240474 h 374569"/>
                    <a:gd name="connsiteX121" fmla="*/ 689418 w 797508"/>
                    <a:gd name="connsiteY121" fmla="*/ 241134 h 374569"/>
                    <a:gd name="connsiteX122" fmla="*/ 686933 w 797508"/>
                    <a:gd name="connsiteY122" fmla="*/ 241819 h 374569"/>
                    <a:gd name="connsiteX123" fmla="*/ 681424 w 797508"/>
                    <a:gd name="connsiteY123" fmla="*/ 242658 h 374569"/>
                    <a:gd name="connsiteX124" fmla="*/ 680071 w 797508"/>
                    <a:gd name="connsiteY124" fmla="*/ 242862 h 374569"/>
                    <a:gd name="connsiteX125" fmla="*/ 674032 w 797508"/>
                    <a:gd name="connsiteY125" fmla="*/ 243286 h 374569"/>
                    <a:gd name="connsiteX126" fmla="*/ 669550 w 797508"/>
                    <a:gd name="connsiteY126" fmla="*/ 241827 h 374569"/>
                    <a:gd name="connsiteX127" fmla="*/ 667211 w 797508"/>
                    <a:gd name="connsiteY127" fmla="*/ 242047 h 374569"/>
                    <a:gd name="connsiteX128" fmla="*/ 665124 w 797508"/>
                    <a:gd name="connsiteY128" fmla="*/ 242870 h 374569"/>
                    <a:gd name="connsiteX129" fmla="*/ 664057 w 797508"/>
                    <a:gd name="connsiteY129" fmla="*/ 243767 h 374569"/>
                    <a:gd name="connsiteX130" fmla="*/ 663690 w 797508"/>
                    <a:gd name="connsiteY130" fmla="*/ 245462 h 374569"/>
                    <a:gd name="connsiteX131" fmla="*/ 663323 w 797508"/>
                    <a:gd name="connsiteY131" fmla="*/ 247035 h 374569"/>
                    <a:gd name="connsiteX132" fmla="*/ 661628 w 797508"/>
                    <a:gd name="connsiteY132" fmla="*/ 249463 h 374569"/>
                    <a:gd name="connsiteX133" fmla="*/ 658213 w 797508"/>
                    <a:gd name="connsiteY133" fmla="*/ 252682 h 374569"/>
                    <a:gd name="connsiteX134" fmla="*/ 655385 w 797508"/>
                    <a:gd name="connsiteY134" fmla="*/ 254826 h 374569"/>
                    <a:gd name="connsiteX135" fmla="*/ 653226 w 797508"/>
                    <a:gd name="connsiteY135" fmla="*/ 257589 h 374569"/>
                    <a:gd name="connsiteX136" fmla="*/ 651979 w 797508"/>
                    <a:gd name="connsiteY136" fmla="*/ 258583 h 374569"/>
                    <a:gd name="connsiteX137" fmla="*/ 649509 w 797508"/>
                    <a:gd name="connsiteY137" fmla="*/ 259650 h 374569"/>
                    <a:gd name="connsiteX138" fmla="*/ 648181 w 797508"/>
                    <a:gd name="connsiteY138" fmla="*/ 260213 h 374569"/>
                    <a:gd name="connsiteX139" fmla="*/ 645084 w 797508"/>
                    <a:gd name="connsiteY139" fmla="*/ 262674 h 374569"/>
                    <a:gd name="connsiteX140" fmla="*/ 642623 w 797508"/>
                    <a:gd name="connsiteY140" fmla="*/ 264866 h 374569"/>
                    <a:gd name="connsiteX141" fmla="*/ 640985 w 797508"/>
                    <a:gd name="connsiteY141" fmla="*/ 265486 h 374569"/>
                    <a:gd name="connsiteX142" fmla="*/ 639029 w 797508"/>
                    <a:gd name="connsiteY142" fmla="*/ 264899 h 374569"/>
                    <a:gd name="connsiteX143" fmla="*/ 637733 w 797508"/>
                    <a:gd name="connsiteY143" fmla="*/ 264728 h 374569"/>
                    <a:gd name="connsiteX144" fmla="*/ 633894 w 797508"/>
                    <a:gd name="connsiteY144" fmla="*/ 263872 h 374569"/>
                    <a:gd name="connsiteX145" fmla="*/ 631295 w 797508"/>
                    <a:gd name="connsiteY145" fmla="*/ 263766 h 374569"/>
                    <a:gd name="connsiteX146" fmla="*/ 627652 w 797508"/>
                    <a:gd name="connsiteY146" fmla="*/ 263220 h 374569"/>
                    <a:gd name="connsiteX147" fmla="*/ 619160 w 797508"/>
                    <a:gd name="connsiteY147" fmla="*/ 260661 h 374569"/>
                    <a:gd name="connsiteX148" fmla="*/ 616430 w 797508"/>
                    <a:gd name="connsiteY148" fmla="*/ 259463 h 374569"/>
                    <a:gd name="connsiteX149" fmla="*/ 614009 w 797508"/>
                    <a:gd name="connsiteY149" fmla="*/ 256187 h 374569"/>
                    <a:gd name="connsiteX150" fmla="*/ 611825 w 797508"/>
                    <a:gd name="connsiteY150" fmla="*/ 254532 h 374569"/>
                    <a:gd name="connsiteX151" fmla="*/ 608867 w 797508"/>
                    <a:gd name="connsiteY151" fmla="*/ 254361 h 374569"/>
                    <a:gd name="connsiteX152" fmla="*/ 604425 w 797508"/>
                    <a:gd name="connsiteY152" fmla="*/ 254369 h 374569"/>
                    <a:gd name="connsiteX153" fmla="*/ 602445 w 797508"/>
                    <a:gd name="connsiteY153" fmla="*/ 253709 h 374569"/>
                    <a:gd name="connsiteX154" fmla="*/ 599095 w 797508"/>
                    <a:gd name="connsiteY154" fmla="*/ 254320 h 374569"/>
                    <a:gd name="connsiteX155" fmla="*/ 595444 w 797508"/>
                    <a:gd name="connsiteY155" fmla="*/ 257637 h 374569"/>
                    <a:gd name="connsiteX156" fmla="*/ 593733 w 797508"/>
                    <a:gd name="connsiteY156" fmla="*/ 260107 h 374569"/>
                    <a:gd name="connsiteX157" fmla="*/ 592241 w 797508"/>
                    <a:gd name="connsiteY157" fmla="*/ 262633 h 374569"/>
                    <a:gd name="connsiteX158" fmla="*/ 590400 w 797508"/>
                    <a:gd name="connsiteY158" fmla="*/ 268028 h 374569"/>
                    <a:gd name="connsiteX159" fmla="*/ 589601 w 797508"/>
                    <a:gd name="connsiteY159" fmla="*/ 271639 h 374569"/>
                    <a:gd name="connsiteX160" fmla="*/ 588965 w 797508"/>
                    <a:gd name="connsiteY160" fmla="*/ 273676 h 374569"/>
                    <a:gd name="connsiteX161" fmla="*/ 587017 w 797508"/>
                    <a:gd name="connsiteY161" fmla="*/ 276903 h 374569"/>
                    <a:gd name="connsiteX162" fmla="*/ 586797 w 797508"/>
                    <a:gd name="connsiteY162" fmla="*/ 278713 h 374569"/>
                    <a:gd name="connsiteX163" fmla="*/ 587482 w 797508"/>
                    <a:gd name="connsiteY163" fmla="*/ 280286 h 374569"/>
                    <a:gd name="connsiteX164" fmla="*/ 588883 w 797508"/>
                    <a:gd name="connsiteY164" fmla="*/ 282054 h 374569"/>
                    <a:gd name="connsiteX165" fmla="*/ 589715 w 797508"/>
                    <a:gd name="connsiteY165" fmla="*/ 284833 h 374569"/>
                    <a:gd name="connsiteX166" fmla="*/ 591768 w 797508"/>
                    <a:gd name="connsiteY166" fmla="*/ 287791 h 374569"/>
                    <a:gd name="connsiteX167" fmla="*/ 593781 w 797508"/>
                    <a:gd name="connsiteY167" fmla="*/ 290090 h 374569"/>
                    <a:gd name="connsiteX168" fmla="*/ 597579 w 797508"/>
                    <a:gd name="connsiteY168" fmla="*/ 293790 h 374569"/>
                    <a:gd name="connsiteX169" fmla="*/ 598655 w 797508"/>
                    <a:gd name="connsiteY169" fmla="*/ 295737 h 374569"/>
                    <a:gd name="connsiteX170" fmla="*/ 599927 w 797508"/>
                    <a:gd name="connsiteY170" fmla="*/ 297962 h 374569"/>
                    <a:gd name="connsiteX171" fmla="*/ 600204 w 797508"/>
                    <a:gd name="connsiteY171" fmla="*/ 300138 h 374569"/>
                    <a:gd name="connsiteX172" fmla="*/ 599967 w 797508"/>
                    <a:gd name="connsiteY172" fmla="*/ 301564 h 374569"/>
                    <a:gd name="connsiteX173" fmla="*/ 598606 w 797508"/>
                    <a:gd name="connsiteY173" fmla="*/ 302648 h 374569"/>
                    <a:gd name="connsiteX174" fmla="*/ 595949 w 797508"/>
                    <a:gd name="connsiteY174" fmla="*/ 303194 h 374569"/>
                    <a:gd name="connsiteX175" fmla="*/ 594678 w 797508"/>
                    <a:gd name="connsiteY175" fmla="*/ 304702 h 374569"/>
                    <a:gd name="connsiteX176" fmla="*/ 592714 w 797508"/>
                    <a:gd name="connsiteY176" fmla="*/ 306707 h 374569"/>
                    <a:gd name="connsiteX177" fmla="*/ 590400 w 797508"/>
                    <a:gd name="connsiteY177" fmla="*/ 309038 h 374569"/>
                    <a:gd name="connsiteX178" fmla="*/ 589316 w 797508"/>
                    <a:gd name="connsiteY178" fmla="*/ 309152 h 374569"/>
                    <a:gd name="connsiteX179" fmla="*/ 588003 w 797508"/>
                    <a:gd name="connsiteY179" fmla="*/ 309771 h 374569"/>
                    <a:gd name="connsiteX180" fmla="*/ 581459 w 797508"/>
                    <a:gd name="connsiteY180" fmla="*/ 312656 h 374569"/>
                    <a:gd name="connsiteX181" fmla="*/ 578973 w 797508"/>
                    <a:gd name="connsiteY181" fmla="*/ 313455 h 374569"/>
                    <a:gd name="connsiteX182" fmla="*/ 577009 w 797508"/>
                    <a:gd name="connsiteY182" fmla="*/ 314400 h 374569"/>
                    <a:gd name="connsiteX183" fmla="*/ 574679 w 797508"/>
                    <a:gd name="connsiteY183" fmla="*/ 317334 h 374569"/>
                    <a:gd name="connsiteX184" fmla="*/ 572853 w 797508"/>
                    <a:gd name="connsiteY184" fmla="*/ 319510 h 374569"/>
                    <a:gd name="connsiteX185" fmla="*/ 570596 w 797508"/>
                    <a:gd name="connsiteY185" fmla="*/ 322395 h 374569"/>
                    <a:gd name="connsiteX186" fmla="*/ 569601 w 797508"/>
                    <a:gd name="connsiteY186" fmla="*/ 323667 h 374569"/>
                    <a:gd name="connsiteX187" fmla="*/ 567588 w 797508"/>
                    <a:gd name="connsiteY187" fmla="*/ 326552 h 374569"/>
                    <a:gd name="connsiteX188" fmla="*/ 564948 w 797508"/>
                    <a:gd name="connsiteY188" fmla="*/ 329852 h 374569"/>
                    <a:gd name="connsiteX189" fmla="*/ 563481 w 797508"/>
                    <a:gd name="connsiteY189" fmla="*/ 331613 h 374569"/>
                    <a:gd name="connsiteX190" fmla="*/ 562674 w 797508"/>
                    <a:gd name="connsiteY190" fmla="*/ 332664 h 374569"/>
                    <a:gd name="connsiteX191" fmla="*/ 561957 w 797508"/>
                    <a:gd name="connsiteY191" fmla="*/ 334049 h 374569"/>
                    <a:gd name="connsiteX192" fmla="*/ 559186 w 797508"/>
                    <a:gd name="connsiteY192" fmla="*/ 335117 h 374569"/>
                    <a:gd name="connsiteX193" fmla="*/ 556904 w 797508"/>
                    <a:gd name="connsiteY193" fmla="*/ 336250 h 374569"/>
                    <a:gd name="connsiteX194" fmla="*/ 553465 w 797508"/>
                    <a:gd name="connsiteY194" fmla="*/ 337945 h 374569"/>
                    <a:gd name="connsiteX195" fmla="*/ 548526 w 797508"/>
                    <a:gd name="connsiteY195" fmla="*/ 339819 h 374569"/>
                    <a:gd name="connsiteX196" fmla="*/ 544533 w 797508"/>
                    <a:gd name="connsiteY196" fmla="*/ 341637 h 374569"/>
                    <a:gd name="connsiteX197" fmla="*/ 541990 w 797508"/>
                    <a:gd name="connsiteY197" fmla="*/ 343128 h 374569"/>
                    <a:gd name="connsiteX198" fmla="*/ 538209 w 797508"/>
                    <a:gd name="connsiteY198" fmla="*/ 345011 h 374569"/>
                    <a:gd name="connsiteX199" fmla="*/ 535649 w 797508"/>
                    <a:gd name="connsiteY199" fmla="*/ 345614 h 374569"/>
                    <a:gd name="connsiteX200" fmla="*/ 530491 w 797508"/>
                    <a:gd name="connsiteY200" fmla="*/ 345540 h 374569"/>
                    <a:gd name="connsiteX201" fmla="*/ 524118 w 797508"/>
                    <a:gd name="connsiteY201" fmla="*/ 346021 h 374569"/>
                    <a:gd name="connsiteX202" fmla="*/ 519464 w 797508"/>
                    <a:gd name="connsiteY202" fmla="*/ 346380 h 374569"/>
                    <a:gd name="connsiteX203" fmla="*/ 515976 w 797508"/>
                    <a:gd name="connsiteY203" fmla="*/ 345924 h 374569"/>
                    <a:gd name="connsiteX204" fmla="*/ 510711 w 797508"/>
                    <a:gd name="connsiteY204" fmla="*/ 345671 h 374569"/>
                    <a:gd name="connsiteX205" fmla="*/ 506669 w 797508"/>
                    <a:gd name="connsiteY205" fmla="*/ 345304 h 374569"/>
                    <a:gd name="connsiteX206" fmla="*/ 503963 w 797508"/>
                    <a:gd name="connsiteY206" fmla="*/ 345997 h 374569"/>
                    <a:gd name="connsiteX207" fmla="*/ 497607 w 797508"/>
                    <a:gd name="connsiteY207" fmla="*/ 346738 h 374569"/>
                    <a:gd name="connsiteX208" fmla="*/ 496189 w 797508"/>
                    <a:gd name="connsiteY208" fmla="*/ 346901 h 374569"/>
                    <a:gd name="connsiteX209" fmla="*/ 484868 w 797508"/>
                    <a:gd name="connsiteY209" fmla="*/ 348686 h 374569"/>
                    <a:gd name="connsiteX210" fmla="*/ 479873 w 797508"/>
                    <a:gd name="connsiteY210" fmla="*/ 349640 h 374569"/>
                    <a:gd name="connsiteX211" fmla="*/ 475285 w 797508"/>
                    <a:gd name="connsiteY211" fmla="*/ 350072 h 374569"/>
                    <a:gd name="connsiteX212" fmla="*/ 471911 w 797508"/>
                    <a:gd name="connsiteY212" fmla="*/ 350764 h 374569"/>
                    <a:gd name="connsiteX213" fmla="*/ 470011 w 797508"/>
                    <a:gd name="connsiteY213" fmla="*/ 351628 h 374569"/>
                    <a:gd name="connsiteX214" fmla="*/ 467176 w 797508"/>
                    <a:gd name="connsiteY214" fmla="*/ 352875 h 374569"/>
                    <a:gd name="connsiteX215" fmla="*/ 465684 w 797508"/>
                    <a:gd name="connsiteY215" fmla="*/ 353421 h 374569"/>
                    <a:gd name="connsiteX216" fmla="*/ 460680 w 797508"/>
                    <a:gd name="connsiteY216" fmla="*/ 355866 h 374569"/>
                    <a:gd name="connsiteX217" fmla="*/ 449523 w 797508"/>
                    <a:gd name="connsiteY217" fmla="*/ 360903 h 374569"/>
                    <a:gd name="connsiteX218" fmla="*/ 442058 w 797508"/>
                    <a:gd name="connsiteY218" fmla="*/ 364986 h 374569"/>
                    <a:gd name="connsiteX219" fmla="*/ 440836 w 797508"/>
                    <a:gd name="connsiteY219" fmla="*/ 365687 h 374569"/>
                    <a:gd name="connsiteX220" fmla="*/ 435815 w 797508"/>
                    <a:gd name="connsiteY220" fmla="*/ 368555 h 374569"/>
                    <a:gd name="connsiteX221" fmla="*/ 432898 w 797508"/>
                    <a:gd name="connsiteY221" fmla="*/ 369680 h 374569"/>
                    <a:gd name="connsiteX222" fmla="*/ 430876 w 797508"/>
                    <a:gd name="connsiteY222" fmla="*/ 372247 h 374569"/>
                    <a:gd name="connsiteX223" fmla="*/ 429263 w 797508"/>
                    <a:gd name="connsiteY223" fmla="*/ 373869 h 374569"/>
                    <a:gd name="connsiteX224" fmla="*/ 427560 w 797508"/>
                    <a:gd name="connsiteY224" fmla="*/ 374570 h 374569"/>
                    <a:gd name="connsiteX225" fmla="*/ 424552 w 797508"/>
                    <a:gd name="connsiteY225" fmla="*/ 372915 h 374569"/>
                    <a:gd name="connsiteX226" fmla="*/ 422401 w 797508"/>
                    <a:gd name="connsiteY226" fmla="*/ 373005 h 374569"/>
                    <a:gd name="connsiteX227" fmla="*/ 415571 w 797508"/>
                    <a:gd name="connsiteY227" fmla="*/ 372402 h 374569"/>
                    <a:gd name="connsiteX228" fmla="*/ 415571 w 797508"/>
                    <a:gd name="connsiteY228" fmla="*/ 364921 h 374569"/>
                    <a:gd name="connsiteX229" fmla="*/ 410779 w 797508"/>
                    <a:gd name="connsiteY229" fmla="*/ 365980 h 374569"/>
                    <a:gd name="connsiteX230" fmla="*/ 403143 w 797508"/>
                    <a:gd name="connsiteY230" fmla="*/ 367667 h 374569"/>
                    <a:gd name="connsiteX231" fmla="*/ 396044 w 797508"/>
                    <a:gd name="connsiteY231" fmla="*/ 369232 h 374569"/>
                    <a:gd name="connsiteX232" fmla="*/ 389566 w 797508"/>
                    <a:gd name="connsiteY232" fmla="*/ 365646 h 374569"/>
                    <a:gd name="connsiteX233" fmla="*/ 384554 w 797508"/>
                    <a:gd name="connsiteY233" fmla="*/ 362875 h 374569"/>
                    <a:gd name="connsiteX234" fmla="*/ 380218 w 797508"/>
                    <a:gd name="connsiteY234" fmla="*/ 360495 h 374569"/>
                    <a:gd name="connsiteX235" fmla="*/ 373616 w 797508"/>
                    <a:gd name="connsiteY235" fmla="*/ 358906 h 374569"/>
                    <a:gd name="connsiteX236" fmla="*/ 367871 w 797508"/>
                    <a:gd name="connsiteY236" fmla="*/ 357537 h 374569"/>
                    <a:gd name="connsiteX237" fmla="*/ 357488 w 797508"/>
                    <a:gd name="connsiteY237" fmla="*/ 355255 h 374569"/>
                    <a:gd name="connsiteX238" fmla="*/ 352941 w 797508"/>
                    <a:gd name="connsiteY238" fmla="*/ 353275 h 374569"/>
                    <a:gd name="connsiteX239" fmla="*/ 350626 w 797508"/>
                    <a:gd name="connsiteY239" fmla="*/ 350642 h 374569"/>
                    <a:gd name="connsiteX240" fmla="*/ 346510 w 797508"/>
                    <a:gd name="connsiteY240" fmla="*/ 344668 h 374569"/>
                    <a:gd name="connsiteX241" fmla="*/ 345174 w 797508"/>
                    <a:gd name="connsiteY241" fmla="*/ 343487 h 374569"/>
                    <a:gd name="connsiteX242" fmla="*/ 343169 w 797508"/>
                    <a:gd name="connsiteY242" fmla="*/ 342680 h 374569"/>
                    <a:gd name="connsiteX243" fmla="*/ 341091 w 797508"/>
                    <a:gd name="connsiteY243" fmla="*/ 342158 h 374569"/>
                    <a:gd name="connsiteX244" fmla="*/ 336584 w 797508"/>
                    <a:gd name="connsiteY244" fmla="*/ 342183 h 374569"/>
                    <a:gd name="connsiteX245" fmla="*/ 331091 w 797508"/>
                    <a:gd name="connsiteY245" fmla="*/ 341718 h 374569"/>
                    <a:gd name="connsiteX246" fmla="*/ 323161 w 797508"/>
                    <a:gd name="connsiteY246" fmla="*/ 340463 h 374569"/>
                    <a:gd name="connsiteX247" fmla="*/ 316878 w 797508"/>
                    <a:gd name="connsiteY247" fmla="*/ 339461 h 374569"/>
                    <a:gd name="connsiteX248" fmla="*/ 306137 w 797508"/>
                    <a:gd name="connsiteY248" fmla="*/ 337603 h 374569"/>
                    <a:gd name="connsiteX249" fmla="*/ 303602 w 797508"/>
                    <a:gd name="connsiteY249" fmla="*/ 337374 h 374569"/>
                    <a:gd name="connsiteX250" fmla="*/ 297979 w 797508"/>
                    <a:gd name="connsiteY250" fmla="*/ 339029 h 374569"/>
                    <a:gd name="connsiteX251" fmla="*/ 290807 w 797508"/>
                    <a:gd name="connsiteY251" fmla="*/ 341140 h 374569"/>
                    <a:gd name="connsiteX252" fmla="*/ 277882 w 797508"/>
                    <a:gd name="connsiteY252" fmla="*/ 339485 h 374569"/>
                    <a:gd name="connsiteX253" fmla="*/ 272160 w 797508"/>
                    <a:gd name="connsiteY253" fmla="*/ 338703 h 374569"/>
                    <a:gd name="connsiteX254" fmla="*/ 260555 w 797508"/>
                    <a:gd name="connsiteY254" fmla="*/ 337122 h 374569"/>
                    <a:gd name="connsiteX255" fmla="*/ 247418 w 797508"/>
                    <a:gd name="connsiteY255" fmla="*/ 335337 h 374569"/>
                    <a:gd name="connsiteX256" fmla="*/ 234704 w 797508"/>
                    <a:gd name="connsiteY256" fmla="*/ 333495 h 374569"/>
                    <a:gd name="connsiteX257" fmla="*/ 225446 w 797508"/>
                    <a:gd name="connsiteY257" fmla="*/ 334514 h 374569"/>
                    <a:gd name="connsiteX258" fmla="*/ 220304 w 797508"/>
                    <a:gd name="connsiteY258" fmla="*/ 335076 h 374569"/>
                    <a:gd name="connsiteX259" fmla="*/ 214346 w 797508"/>
                    <a:gd name="connsiteY259" fmla="*/ 335891 h 374569"/>
                    <a:gd name="connsiteX260" fmla="*/ 213531 w 797508"/>
                    <a:gd name="connsiteY260" fmla="*/ 334978 h 374569"/>
                    <a:gd name="connsiteX261" fmla="*/ 213287 w 797508"/>
                    <a:gd name="connsiteY261" fmla="*/ 331441 h 374569"/>
                    <a:gd name="connsiteX262" fmla="*/ 212211 w 797508"/>
                    <a:gd name="connsiteY262" fmla="*/ 328695 h 374569"/>
                    <a:gd name="connsiteX263" fmla="*/ 208976 w 797508"/>
                    <a:gd name="connsiteY263" fmla="*/ 325720 h 374569"/>
                    <a:gd name="connsiteX264" fmla="*/ 206783 w 797508"/>
                    <a:gd name="connsiteY264" fmla="*/ 322900 h 374569"/>
                    <a:gd name="connsiteX265" fmla="*/ 202611 w 797508"/>
                    <a:gd name="connsiteY265" fmla="*/ 319078 h 374569"/>
                    <a:gd name="connsiteX266" fmla="*/ 201299 w 797508"/>
                    <a:gd name="connsiteY266" fmla="*/ 316674 h 374569"/>
                    <a:gd name="connsiteX267" fmla="*/ 200875 w 797508"/>
                    <a:gd name="connsiteY267" fmla="*/ 312941 h 374569"/>
                    <a:gd name="connsiteX268" fmla="*/ 197036 w 797508"/>
                    <a:gd name="connsiteY268" fmla="*/ 303203 h 374569"/>
                    <a:gd name="connsiteX269" fmla="*/ 194656 w 797508"/>
                    <a:gd name="connsiteY269" fmla="*/ 296618 h 374569"/>
                    <a:gd name="connsiteX270" fmla="*/ 194062 w 797508"/>
                    <a:gd name="connsiteY270" fmla="*/ 295273 h 374569"/>
                    <a:gd name="connsiteX271" fmla="*/ 193018 w 797508"/>
                    <a:gd name="connsiteY271" fmla="*/ 293129 h 374569"/>
                    <a:gd name="connsiteX272" fmla="*/ 191682 w 797508"/>
                    <a:gd name="connsiteY272" fmla="*/ 292005 h 374569"/>
                    <a:gd name="connsiteX273" fmla="*/ 188830 w 797508"/>
                    <a:gd name="connsiteY273" fmla="*/ 291320 h 374569"/>
                    <a:gd name="connsiteX274" fmla="*/ 188063 w 797508"/>
                    <a:gd name="connsiteY274" fmla="*/ 290155 h 374569"/>
                    <a:gd name="connsiteX275" fmla="*/ 188063 w 797508"/>
                    <a:gd name="connsiteY275" fmla="*/ 287873 h 374569"/>
                    <a:gd name="connsiteX276" fmla="*/ 188520 w 797508"/>
                    <a:gd name="connsiteY276" fmla="*/ 284711 h 374569"/>
                    <a:gd name="connsiteX277" fmla="*/ 189082 w 797508"/>
                    <a:gd name="connsiteY277" fmla="*/ 282404 h 374569"/>
                    <a:gd name="connsiteX278" fmla="*/ 188674 w 797508"/>
                    <a:gd name="connsiteY278" fmla="*/ 281826 h 374569"/>
                    <a:gd name="connsiteX279" fmla="*/ 181226 w 797508"/>
                    <a:gd name="connsiteY279" fmla="*/ 282478 h 374569"/>
                    <a:gd name="connsiteX280" fmla="*/ 176662 w 797508"/>
                    <a:gd name="connsiteY280" fmla="*/ 280946 h 374569"/>
                    <a:gd name="connsiteX281" fmla="*/ 172848 w 797508"/>
                    <a:gd name="connsiteY281" fmla="*/ 279291 h 374569"/>
                    <a:gd name="connsiteX282" fmla="*/ 167453 w 797508"/>
                    <a:gd name="connsiteY282" fmla="*/ 275037 h 374569"/>
                    <a:gd name="connsiteX283" fmla="*/ 164234 w 797508"/>
                    <a:gd name="connsiteY283" fmla="*/ 273399 h 374569"/>
                    <a:gd name="connsiteX284" fmla="*/ 160126 w 797508"/>
                    <a:gd name="connsiteY284" fmla="*/ 268998 h 374569"/>
                    <a:gd name="connsiteX285" fmla="*/ 154144 w 797508"/>
                    <a:gd name="connsiteY285" fmla="*/ 267963 h 374569"/>
                    <a:gd name="connsiteX286" fmla="*/ 151919 w 797508"/>
                    <a:gd name="connsiteY286" fmla="*/ 266235 h 374569"/>
                    <a:gd name="connsiteX287" fmla="*/ 149124 w 797508"/>
                    <a:gd name="connsiteY287" fmla="*/ 262462 h 374569"/>
                    <a:gd name="connsiteX288" fmla="*/ 146663 w 797508"/>
                    <a:gd name="connsiteY288" fmla="*/ 260042 h 374569"/>
                    <a:gd name="connsiteX289" fmla="*/ 143191 w 797508"/>
                    <a:gd name="connsiteY289" fmla="*/ 258518 h 374569"/>
                    <a:gd name="connsiteX290" fmla="*/ 137682 w 797508"/>
                    <a:gd name="connsiteY290" fmla="*/ 257157 h 374569"/>
                    <a:gd name="connsiteX291" fmla="*/ 128302 w 797508"/>
                    <a:gd name="connsiteY291" fmla="*/ 255869 h 374569"/>
                    <a:gd name="connsiteX292" fmla="*/ 125131 w 797508"/>
                    <a:gd name="connsiteY292" fmla="*/ 255323 h 374569"/>
                    <a:gd name="connsiteX293" fmla="*/ 119940 w 797508"/>
                    <a:gd name="connsiteY293" fmla="*/ 256187 h 374569"/>
                    <a:gd name="connsiteX294" fmla="*/ 116093 w 797508"/>
                    <a:gd name="connsiteY294" fmla="*/ 256260 h 374569"/>
                    <a:gd name="connsiteX295" fmla="*/ 109859 w 797508"/>
                    <a:gd name="connsiteY295" fmla="*/ 255339 h 374569"/>
                    <a:gd name="connsiteX296" fmla="*/ 106330 w 797508"/>
                    <a:gd name="connsiteY296" fmla="*/ 254174 h 374569"/>
                    <a:gd name="connsiteX297" fmla="*/ 101929 w 797508"/>
                    <a:gd name="connsiteY297" fmla="*/ 254133 h 374569"/>
                    <a:gd name="connsiteX298" fmla="*/ 99085 w 797508"/>
                    <a:gd name="connsiteY298" fmla="*/ 254157 h 374569"/>
                    <a:gd name="connsiteX299" fmla="*/ 95279 w 797508"/>
                    <a:gd name="connsiteY299" fmla="*/ 253889 h 374569"/>
                    <a:gd name="connsiteX300" fmla="*/ 93428 w 797508"/>
                    <a:gd name="connsiteY300" fmla="*/ 253131 h 374569"/>
                    <a:gd name="connsiteX301" fmla="*/ 91717 w 797508"/>
                    <a:gd name="connsiteY301" fmla="*/ 252185 h 374569"/>
                    <a:gd name="connsiteX302" fmla="*/ 88514 w 797508"/>
                    <a:gd name="connsiteY302" fmla="*/ 252422 h 374569"/>
                    <a:gd name="connsiteX303" fmla="*/ 86282 w 797508"/>
                    <a:gd name="connsiteY303" fmla="*/ 251501 h 374569"/>
                    <a:gd name="connsiteX304" fmla="*/ 84203 w 797508"/>
                    <a:gd name="connsiteY304" fmla="*/ 249765 h 374569"/>
                    <a:gd name="connsiteX305" fmla="*/ 82019 w 797508"/>
                    <a:gd name="connsiteY305" fmla="*/ 248942 h 374569"/>
                    <a:gd name="connsiteX306" fmla="*/ 79623 w 797508"/>
                    <a:gd name="connsiteY306" fmla="*/ 248991 h 374569"/>
                    <a:gd name="connsiteX307" fmla="*/ 78645 w 797508"/>
                    <a:gd name="connsiteY307" fmla="*/ 249765 h 374569"/>
                    <a:gd name="connsiteX308" fmla="*/ 77740 w 797508"/>
                    <a:gd name="connsiteY308" fmla="*/ 249691 h 374569"/>
                    <a:gd name="connsiteX309" fmla="*/ 77137 w 797508"/>
                    <a:gd name="connsiteY309" fmla="*/ 247344 h 374569"/>
                    <a:gd name="connsiteX310" fmla="*/ 74905 w 797508"/>
                    <a:gd name="connsiteY310" fmla="*/ 243555 h 374569"/>
                    <a:gd name="connsiteX311" fmla="*/ 74570 w 797508"/>
                    <a:gd name="connsiteY311" fmla="*/ 241851 h 374569"/>
                    <a:gd name="connsiteX312" fmla="*/ 73193 w 797508"/>
                    <a:gd name="connsiteY312" fmla="*/ 239895 h 374569"/>
                    <a:gd name="connsiteX313" fmla="*/ 72394 w 797508"/>
                    <a:gd name="connsiteY313" fmla="*/ 238111 h 374569"/>
                    <a:gd name="connsiteX314" fmla="*/ 72614 w 797508"/>
                    <a:gd name="connsiteY314" fmla="*/ 235658 h 374569"/>
                    <a:gd name="connsiteX315" fmla="*/ 73584 w 797508"/>
                    <a:gd name="connsiteY315" fmla="*/ 230874 h 374569"/>
                    <a:gd name="connsiteX316" fmla="*/ 75719 w 797508"/>
                    <a:gd name="connsiteY316" fmla="*/ 226546 h 374569"/>
                    <a:gd name="connsiteX317" fmla="*/ 77121 w 797508"/>
                    <a:gd name="connsiteY317" fmla="*/ 225413 h 374569"/>
                    <a:gd name="connsiteX318" fmla="*/ 77977 w 797508"/>
                    <a:gd name="connsiteY318" fmla="*/ 224142 h 374569"/>
                    <a:gd name="connsiteX319" fmla="*/ 79778 w 797508"/>
                    <a:gd name="connsiteY319" fmla="*/ 221901 h 374569"/>
                    <a:gd name="connsiteX320" fmla="*/ 80829 w 797508"/>
                    <a:gd name="connsiteY320" fmla="*/ 220100 h 374569"/>
                    <a:gd name="connsiteX321" fmla="*/ 80699 w 797508"/>
                    <a:gd name="connsiteY321" fmla="*/ 217655 h 374569"/>
                    <a:gd name="connsiteX322" fmla="*/ 79476 w 797508"/>
                    <a:gd name="connsiteY322" fmla="*/ 215104 h 374569"/>
                    <a:gd name="connsiteX323" fmla="*/ 78588 w 797508"/>
                    <a:gd name="connsiteY323" fmla="*/ 211795 h 374569"/>
                    <a:gd name="connsiteX324" fmla="*/ 78743 w 797508"/>
                    <a:gd name="connsiteY324" fmla="*/ 209904 h 374569"/>
                    <a:gd name="connsiteX325" fmla="*/ 80063 w 797508"/>
                    <a:gd name="connsiteY325" fmla="*/ 207639 h 374569"/>
                    <a:gd name="connsiteX326" fmla="*/ 81620 w 797508"/>
                    <a:gd name="connsiteY326" fmla="*/ 202643 h 374569"/>
                    <a:gd name="connsiteX327" fmla="*/ 81497 w 797508"/>
                    <a:gd name="connsiteY327" fmla="*/ 201331 h 374569"/>
                    <a:gd name="connsiteX328" fmla="*/ 80886 w 797508"/>
                    <a:gd name="connsiteY328" fmla="*/ 200271 h 374569"/>
                    <a:gd name="connsiteX329" fmla="*/ 80731 w 797508"/>
                    <a:gd name="connsiteY329" fmla="*/ 197949 h 374569"/>
                    <a:gd name="connsiteX330" fmla="*/ 80430 w 797508"/>
                    <a:gd name="connsiteY330" fmla="*/ 194827 h 374569"/>
                    <a:gd name="connsiteX331" fmla="*/ 78564 w 797508"/>
                    <a:gd name="connsiteY331" fmla="*/ 190052 h 374569"/>
                    <a:gd name="connsiteX332" fmla="*/ 77561 w 797508"/>
                    <a:gd name="connsiteY332" fmla="*/ 187517 h 374569"/>
                    <a:gd name="connsiteX333" fmla="*/ 75792 w 797508"/>
                    <a:gd name="connsiteY333" fmla="*/ 186433 h 374569"/>
                    <a:gd name="connsiteX334" fmla="*/ 73731 w 797508"/>
                    <a:gd name="connsiteY334" fmla="*/ 185765 h 374569"/>
                    <a:gd name="connsiteX335" fmla="*/ 71929 w 797508"/>
                    <a:gd name="connsiteY335" fmla="*/ 182326 h 374569"/>
                    <a:gd name="connsiteX336" fmla="*/ 69689 w 797508"/>
                    <a:gd name="connsiteY336" fmla="*/ 178275 h 374569"/>
                    <a:gd name="connsiteX337" fmla="*/ 68295 w 797508"/>
                    <a:gd name="connsiteY337" fmla="*/ 175741 h 374569"/>
                    <a:gd name="connsiteX338" fmla="*/ 67798 w 797508"/>
                    <a:gd name="connsiteY338" fmla="*/ 174184 h 374569"/>
                    <a:gd name="connsiteX339" fmla="*/ 67570 w 797508"/>
                    <a:gd name="connsiteY339" fmla="*/ 171356 h 374569"/>
                    <a:gd name="connsiteX340" fmla="*/ 66518 w 797508"/>
                    <a:gd name="connsiteY340" fmla="*/ 167925 h 374569"/>
                    <a:gd name="connsiteX341" fmla="*/ 65418 w 797508"/>
                    <a:gd name="connsiteY341" fmla="*/ 166051 h 374569"/>
                    <a:gd name="connsiteX342" fmla="*/ 64595 w 797508"/>
                    <a:gd name="connsiteY342" fmla="*/ 164600 h 374569"/>
                    <a:gd name="connsiteX343" fmla="*/ 64179 w 797508"/>
                    <a:gd name="connsiteY343" fmla="*/ 162522 h 374569"/>
                    <a:gd name="connsiteX344" fmla="*/ 63747 w 797508"/>
                    <a:gd name="connsiteY344" fmla="*/ 161764 h 374569"/>
                    <a:gd name="connsiteX345" fmla="*/ 60708 w 797508"/>
                    <a:gd name="connsiteY345" fmla="*/ 160843 h 374569"/>
                    <a:gd name="connsiteX346" fmla="*/ 58540 w 797508"/>
                    <a:gd name="connsiteY346" fmla="*/ 159295 h 374569"/>
                    <a:gd name="connsiteX347" fmla="*/ 57627 w 797508"/>
                    <a:gd name="connsiteY347" fmla="*/ 157208 h 374569"/>
                    <a:gd name="connsiteX348" fmla="*/ 57309 w 797508"/>
                    <a:gd name="connsiteY348" fmla="*/ 155529 h 374569"/>
                    <a:gd name="connsiteX349" fmla="*/ 56665 w 797508"/>
                    <a:gd name="connsiteY349" fmla="*/ 154560 h 374569"/>
                    <a:gd name="connsiteX350" fmla="*/ 54946 w 797508"/>
                    <a:gd name="connsiteY350" fmla="*/ 154242 h 374569"/>
                    <a:gd name="connsiteX351" fmla="*/ 53764 w 797508"/>
                    <a:gd name="connsiteY351" fmla="*/ 155741 h 374569"/>
                    <a:gd name="connsiteX352" fmla="*/ 51783 w 797508"/>
                    <a:gd name="connsiteY352" fmla="*/ 156507 h 374569"/>
                    <a:gd name="connsiteX353" fmla="*/ 50463 w 797508"/>
                    <a:gd name="connsiteY353" fmla="*/ 156369 h 374569"/>
                    <a:gd name="connsiteX354" fmla="*/ 49168 w 797508"/>
                    <a:gd name="connsiteY354" fmla="*/ 155456 h 374569"/>
                    <a:gd name="connsiteX355" fmla="*/ 48369 w 797508"/>
                    <a:gd name="connsiteY355" fmla="*/ 154503 h 374569"/>
                    <a:gd name="connsiteX356" fmla="*/ 47008 w 797508"/>
                    <a:gd name="connsiteY356" fmla="*/ 153427 h 374569"/>
                    <a:gd name="connsiteX357" fmla="*/ 45093 w 797508"/>
                    <a:gd name="connsiteY357" fmla="*/ 150020 h 374569"/>
                    <a:gd name="connsiteX358" fmla="*/ 43055 w 797508"/>
                    <a:gd name="connsiteY358" fmla="*/ 149124 h 374569"/>
                    <a:gd name="connsiteX359" fmla="*/ 39355 w 797508"/>
                    <a:gd name="connsiteY359" fmla="*/ 149279 h 374569"/>
                    <a:gd name="connsiteX360" fmla="*/ 36047 w 797508"/>
                    <a:gd name="connsiteY360" fmla="*/ 150852 h 374569"/>
                    <a:gd name="connsiteX361" fmla="*/ 34041 w 797508"/>
                    <a:gd name="connsiteY361" fmla="*/ 150607 h 374569"/>
                    <a:gd name="connsiteX362" fmla="*/ 32355 w 797508"/>
                    <a:gd name="connsiteY362" fmla="*/ 150077 h 374569"/>
                    <a:gd name="connsiteX363" fmla="*/ 30448 w 797508"/>
                    <a:gd name="connsiteY363" fmla="*/ 148374 h 374569"/>
                    <a:gd name="connsiteX364" fmla="*/ 29127 w 797508"/>
                    <a:gd name="connsiteY364" fmla="*/ 146972 h 374569"/>
                    <a:gd name="connsiteX365" fmla="*/ 27163 w 797508"/>
                    <a:gd name="connsiteY365" fmla="*/ 146516 h 374569"/>
                    <a:gd name="connsiteX366" fmla="*/ 23284 w 797508"/>
                    <a:gd name="connsiteY366" fmla="*/ 144046 h 374569"/>
                    <a:gd name="connsiteX367" fmla="*/ 20660 w 797508"/>
                    <a:gd name="connsiteY367" fmla="*/ 142262 h 374569"/>
                    <a:gd name="connsiteX368" fmla="*/ 20432 w 797508"/>
                    <a:gd name="connsiteY368" fmla="*/ 138765 h 374569"/>
                    <a:gd name="connsiteX369" fmla="*/ 19193 w 797508"/>
                    <a:gd name="connsiteY369" fmla="*/ 136353 h 374569"/>
                    <a:gd name="connsiteX370" fmla="*/ 16642 w 797508"/>
                    <a:gd name="connsiteY370" fmla="*/ 135677 h 374569"/>
                    <a:gd name="connsiteX371" fmla="*/ 14067 w 797508"/>
                    <a:gd name="connsiteY371" fmla="*/ 133199 h 374569"/>
                    <a:gd name="connsiteX372" fmla="*/ 10293 w 797508"/>
                    <a:gd name="connsiteY372" fmla="*/ 131863 h 374569"/>
                    <a:gd name="connsiteX373" fmla="*/ 7930 w 797508"/>
                    <a:gd name="connsiteY373" fmla="*/ 130828 h 374569"/>
                    <a:gd name="connsiteX374" fmla="*/ 5868 w 797508"/>
                    <a:gd name="connsiteY374" fmla="*/ 130208 h 374569"/>
                    <a:gd name="connsiteX375" fmla="*/ 5567 w 797508"/>
                    <a:gd name="connsiteY375" fmla="*/ 129279 h 374569"/>
                    <a:gd name="connsiteX376" fmla="*/ 5681 w 797508"/>
                    <a:gd name="connsiteY376" fmla="*/ 128472 h 374569"/>
                    <a:gd name="connsiteX377" fmla="*/ 6634 w 797508"/>
                    <a:gd name="connsiteY377" fmla="*/ 127136 h 374569"/>
                    <a:gd name="connsiteX378" fmla="*/ 7628 w 797508"/>
                    <a:gd name="connsiteY378" fmla="*/ 125889 h 374569"/>
                    <a:gd name="connsiteX379" fmla="*/ 7856 w 797508"/>
                    <a:gd name="connsiteY379" fmla="*/ 124732 h 374569"/>
                    <a:gd name="connsiteX380" fmla="*/ 7066 w 797508"/>
                    <a:gd name="connsiteY380" fmla="*/ 123705 h 374569"/>
                    <a:gd name="connsiteX381" fmla="*/ 4939 w 797508"/>
                    <a:gd name="connsiteY381" fmla="*/ 122637 h 374569"/>
                    <a:gd name="connsiteX382" fmla="*/ 2201 w 797508"/>
                    <a:gd name="connsiteY382" fmla="*/ 121675 h 374569"/>
                    <a:gd name="connsiteX383" fmla="*/ 1646 w 797508"/>
                    <a:gd name="connsiteY383" fmla="*/ 120086 h 374569"/>
                    <a:gd name="connsiteX384" fmla="*/ 0 w 797508"/>
                    <a:gd name="connsiteY384" fmla="*/ 118424 h 374569"/>
                    <a:gd name="connsiteX385" fmla="*/ 286 w 797508"/>
                    <a:gd name="connsiteY385" fmla="*/ 117095 h 374569"/>
                    <a:gd name="connsiteX386" fmla="*/ 1581 w 797508"/>
                    <a:gd name="connsiteY386" fmla="*/ 116117 h 374569"/>
                    <a:gd name="connsiteX387" fmla="*/ 2893 w 797508"/>
                    <a:gd name="connsiteY387" fmla="*/ 115400 h 374569"/>
                    <a:gd name="connsiteX388" fmla="*/ 3203 w 797508"/>
                    <a:gd name="connsiteY388" fmla="*/ 114145 h 374569"/>
                    <a:gd name="connsiteX389" fmla="*/ 2274 w 797508"/>
                    <a:gd name="connsiteY389" fmla="*/ 113004 h 374569"/>
                    <a:gd name="connsiteX390" fmla="*/ 1826 w 797508"/>
                    <a:gd name="connsiteY390" fmla="*/ 111252 h 374569"/>
                    <a:gd name="connsiteX391" fmla="*/ 2037 w 797508"/>
                    <a:gd name="connsiteY391" fmla="*/ 109948 h 374569"/>
                    <a:gd name="connsiteX392" fmla="*/ 1769 w 797508"/>
                    <a:gd name="connsiteY392" fmla="*/ 108277 h 374569"/>
                    <a:gd name="connsiteX393" fmla="*/ 1858 w 797508"/>
                    <a:gd name="connsiteY393" fmla="*/ 108294 h 374569"/>
                    <a:gd name="connsiteX394" fmla="*/ 4751 w 797508"/>
                    <a:gd name="connsiteY394" fmla="*/ 108204 h 374569"/>
                    <a:gd name="connsiteX395" fmla="*/ 6080 w 797508"/>
                    <a:gd name="connsiteY395" fmla="*/ 107389 h 374569"/>
                    <a:gd name="connsiteX396" fmla="*/ 7082 w 797508"/>
                    <a:gd name="connsiteY396" fmla="*/ 106199 h 374569"/>
                    <a:gd name="connsiteX397" fmla="*/ 9250 w 797508"/>
                    <a:gd name="connsiteY397" fmla="*/ 104879 h 374569"/>
                    <a:gd name="connsiteX398" fmla="*/ 9698 w 797508"/>
                    <a:gd name="connsiteY398" fmla="*/ 103347 h 374569"/>
                    <a:gd name="connsiteX399" fmla="*/ 9739 w 797508"/>
                    <a:gd name="connsiteY399" fmla="*/ 100339 h 374569"/>
                    <a:gd name="connsiteX400" fmla="*/ 11149 w 797508"/>
                    <a:gd name="connsiteY400" fmla="*/ 97789 h 374569"/>
                    <a:gd name="connsiteX401" fmla="*/ 14751 w 797508"/>
                    <a:gd name="connsiteY401" fmla="*/ 97031 h 374569"/>
                    <a:gd name="connsiteX402" fmla="*/ 16128 w 797508"/>
                    <a:gd name="connsiteY402" fmla="*/ 96656 h 374569"/>
                    <a:gd name="connsiteX403" fmla="*/ 17595 w 797508"/>
                    <a:gd name="connsiteY403" fmla="*/ 97023 h 374569"/>
                    <a:gd name="connsiteX404" fmla="*/ 19869 w 797508"/>
                    <a:gd name="connsiteY404" fmla="*/ 96664 h 374569"/>
                    <a:gd name="connsiteX405" fmla="*/ 22078 w 797508"/>
                    <a:gd name="connsiteY405" fmla="*/ 96533 h 374569"/>
                    <a:gd name="connsiteX406" fmla="*/ 23308 w 797508"/>
                    <a:gd name="connsiteY406" fmla="*/ 97324 h 374569"/>
                    <a:gd name="connsiteX407" fmla="*/ 24922 w 797508"/>
                    <a:gd name="connsiteY407" fmla="*/ 97992 h 374569"/>
                    <a:gd name="connsiteX408" fmla="*/ 27000 w 797508"/>
                    <a:gd name="connsiteY408" fmla="*/ 97911 h 374569"/>
                    <a:gd name="connsiteX409" fmla="*/ 27709 w 797508"/>
                    <a:gd name="connsiteY409" fmla="*/ 96705 h 374569"/>
                    <a:gd name="connsiteX410" fmla="*/ 27807 w 797508"/>
                    <a:gd name="connsiteY410" fmla="*/ 95042 h 374569"/>
                    <a:gd name="connsiteX411" fmla="*/ 28695 w 797508"/>
                    <a:gd name="connsiteY411" fmla="*/ 94602 h 374569"/>
                    <a:gd name="connsiteX412" fmla="*/ 29812 w 797508"/>
                    <a:gd name="connsiteY412" fmla="*/ 95767 h 374569"/>
                    <a:gd name="connsiteX413" fmla="*/ 30448 w 797508"/>
                    <a:gd name="connsiteY413" fmla="*/ 96631 h 374569"/>
                    <a:gd name="connsiteX414" fmla="*/ 31385 w 797508"/>
                    <a:gd name="connsiteY414" fmla="*/ 97023 h 374569"/>
                    <a:gd name="connsiteX415" fmla="*/ 33887 w 797508"/>
                    <a:gd name="connsiteY415" fmla="*/ 95979 h 374569"/>
                    <a:gd name="connsiteX416" fmla="*/ 35639 w 797508"/>
                    <a:gd name="connsiteY416" fmla="*/ 94871 h 374569"/>
                    <a:gd name="connsiteX417" fmla="*/ 36209 w 797508"/>
                    <a:gd name="connsiteY417" fmla="*/ 92565 h 374569"/>
                    <a:gd name="connsiteX418" fmla="*/ 37228 w 797508"/>
                    <a:gd name="connsiteY418" fmla="*/ 91424 h 374569"/>
                    <a:gd name="connsiteX419" fmla="*/ 38589 w 797508"/>
                    <a:gd name="connsiteY419" fmla="*/ 92002 h 374569"/>
                    <a:gd name="connsiteX420" fmla="*/ 40985 w 797508"/>
                    <a:gd name="connsiteY420" fmla="*/ 91986 h 374569"/>
                    <a:gd name="connsiteX421" fmla="*/ 42957 w 797508"/>
                    <a:gd name="connsiteY421" fmla="*/ 90201 h 374569"/>
                    <a:gd name="connsiteX422" fmla="*/ 45533 w 797508"/>
                    <a:gd name="connsiteY422" fmla="*/ 88783 h 374569"/>
                    <a:gd name="connsiteX423" fmla="*/ 47399 w 797508"/>
                    <a:gd name="connsiteY423" fmla="*/ 88139 h 374569"/>
                    <a:gd name="connsiteX424" fmla="*/ 47782 w 797508"/>
                    <a:gd name="connsiteY424" fmla="*/ 86941 h 374569"/>
                    <a:gd name="connsiteX425" fmla="*/ 46910 w 797508"/>
                    <a:gd name="connsiteY425" fmla="*/ 84284 h 374569"/>
                    <a:gd name="connsiteX426" fmla="*/ 47146 w 797508"/>
                    <a:gd name="connsiteY426" fmla="*/ 81383 h 374569"/>
                    <a:gd name="connsiteX427" fmla="*/ 49632 w 797508"/>
                    <a:gd name="connsiteY427" fmla="*/ 79737 h 374569"/>
                    <a:gd name="connsiteX428" fmla="*/ 52949 w 797508"/>
                    <a:gd name="connsiteY428" fmla="*/ 79541 h 374569"/>
                    <a:gd name="connsiteX429" fmla="*/ 55418 w 797508"/>
                    <a:gd name="connsiteY429" fmla="*/ 78425 h 374569"/>
                    <a:gd name="connsiteX430" fmla="*/ 56103 w 797508"/>
                    <a:gd name="connsiteY430" fmla="*/ 75328 h 374569"/>
                    <a:gd name="connsiteX431" fmla="*/ 57309 w 797508"/>
                    <a:gd name="connsiteY431" fmla="*/ 74431 h 374569"/>
                    <a:gd name="connsiteX432" fmla="*/ 58556 w 797508"/>
                    <a:gd name="connsiteY432" fmla="*/ 74081 h 374569"/>
                    <a:gd name="connsiteX433" fmla="*/ 61539 w 797508"/>
                    <a:gd name="connsiteY433" fmla="*/ 73592 h 374569"/>
                    <a:gd name="connsiteX434" fmla="*/ 63690 w 797508"/>
                    <a:gd name="connsiteY434" fmla="*/ 72337 h 374569"/>
                    <a:gd name="connsiteX435" fmla="*/ 65019 w 797508"/>
                    <a:gd name="connsiteY435" fmla="*/ 71767 h 374569"/>
                    <a:gd name="connsiteX436" fmla="*/ 68800 w 797508"/>
                    <a:gd name="connsiteY436" fmla="*/ 70063 h 374569"/>
                    <a:gd name="connsiteX437" fmla="*/ 72223 w 797508"/>
                    <a:gd name="connsiteY437" fmla="*/ 69737 h 374569"/>
                    <a:gd name="connsiteX438" fmla="*/ 73698 w 797508"/>
                    <a:gd name="connsiteY438" fmla="*/ 68384 h 374569"/>
                    <a:gd name="connsiteX439" fmla="*/ 74847 w 797508"/>
                    <a:gd name="connsiteY439" fmla="*/ 66681 h 374569"/>
                    <a:gd name="connsiteX440" fmla="*/ 76762 w 797508"/>
                    <a:gd name="connsiteY440" fmla="*/ 66037 h 374569"/>
                    <a:gd name="connsiteX441" fmla="*/ 78735 w 797508"/>
                    <a:gd name="connsiteY441" fmla="*/ 64562 h 374569"/>
                    <a:gd name="connsiteX442" fmla="*/ 81318 w 797508"/>
                    <a:gd name="connsiteY442" fmla="*/ 62680 h 374569"/>
                    <a:gd name="connsiteX443" fmla="*/ 82345 w 797508"/>
                    <a:gd name="connsiteY443" fmla="*/ 62419 h 374569"/>
                    <a:gd name="connsiteX444" fmla="*/ 86583 w 797508"/>
                    <a:gd name="connsiteY444" fmla="*/ 61335 h 374569"/>
                    <a:gd name="connsiteX445" fmla="*/ 88237 w 797508"/>
                    <a:gd name="connsiteY445" fmla="*/ 60927 h 374569"/>
                    <a:gd name="connsiteX446" fmla="*/ 89232 w 797508"/>
                    <a:gd name="connsiteY446" fmla="*/ 60683 h 374569"/>
                    <a:gd name="connsiteX447" fmla="*/ 91082 w 797508"/>
                    <a:gd name="connsiteY447" fmla="*/ 60764 h 374569"/>
                    <a:gd name="connsiteX448" fmla="*/ 91848 w 797508"/>
                    <a:gd name="connsiteY448" fmla="*/ 58776 h 374569"/>
                    <a:gd name="connsiteX449" fmla="*/ 93722 w 797508"/>
                    <a:gd name="connsiteY449" fmla="*/ 57317 h 374569"/>
                    <a:gd name="connsiteX450" fmla="*/ 95580 w 797508"/>
                    <a:gd name="connsiteY450" fmla="*/ 56828 h 374569"/>
                    <a:gd name="connsiteX451" fmla="*/ 96509 w 797508"/>
                    <a:gd name="connsiteY451" fmla="*/ 55377 h 374569"/>
                    <a:gd name="connsiteX452" fmla="*/ 98302 w 797508"/>
                    <a:gd name="connsiteY452" fmla="*/ 53527 h 374569"/>
                    <a:gd name="connsiteX453" fmla="*/ 100731 w 797508"/>
                    <a:gd name="connsiteY453" fmla="*/ 52500 h 374569"/>
                    <a:gd name="connsiteX454" fmla="*/ 104504 w 797508"/>
                    <a:gd name="connsiteY454" fmla="*/ 52346 h 374569"/>
                    <a:gd name="connsiteX455" fmla="*/ 108164 w 797508"/>
                    <a:gd name="connsiteY455" fmla="*/ 52558 h 374569"/>
                    <a:gd name="connsiteX456" fmla="*/ 110356 w 797508"/>
                    <a:gd name="connsiteY456" fmla="*/ 52240 h 374569"/>
                    <a:gd name="connsiteX457" fmla="*/ 112157 w 797508"/>
                    <a:gd name="connsiteY457" fmla="*/ 49501 h 374569"/>
                    <a:gd name="connsiteX458" fmla="*/ 112507 w 797508"/>
                    <a:gd name="connsiteY458" fmla="*/ 48149 h 374569"/>
                    <a:gd name="connsiteX459" fmla="*/ 112915 w 797508"/>
                    <a:gd name="connsiteY459" fmla="*/ 46763 h 374569"/>
                    <a:gd name="connsiteX460" fmla="*/ 114382 w 797508"/>
                    <a:gd name="connsiteY460" fmla="*/ 46242 h 374569"/>
                    <a:gd name="connsiteX461" fmla="*/ 116158 w 797508"/>
                    <a:gd name="connsiteY461" fmla="*/ 48475 h 374569"/>
                    <a:gd name="connsiteX462" fmla="*/ 117650 w 797508"/>
                    <a:gd name="connsiteY462" fmla="*/ 49876 h 374569"/>
                    <a:gd name="connsiteX463" fmla="*/ 119940 w 797508"/>
                    <a:gd name="connsiteY463" fmla="*/ 51335 h 374569"/>
                    <a:gd name="connsiteX464" fmla="*/ 121121 w 797508"/>
                    <a:gd name="connsiteY464" fmla="*/ 52688 h 374569"/>
                    <a:gd name="connsiteX465" fmla="*/ 122482 w 797508"/>
                    <a:gd name="connsiteY465" fmla="*/ 52875 h 374569"/>
                    <a:gd name="connsiteX466" fmla="*/ 123900 w 797508"/>
                    <a:gd name="connsiteY466" fmla="*/ 51865 h 374569"/>
                    <a:gd name="connsiteX467" fmla="*/ 124911 w 797508"/>
                    <a:gd name="connsiteY467" fmla="*/ 49379 h 374569"/>
                    <a:gd name="connsiteX468" fmla="*/ 126826 w 797508"/>
                    <a:gd name="connsiteY468" fmla="*/ 48996 h 374569"/>
                    <a:gd name="connsiteX469" fmla="*/ 128929 w 797508"/>
                    <a:gd name="connsiteY469" fmla="*/ 49387 h 374569"/>
                    <a:gd name="connsiteX470" fmla="*/ 129483 w 797508"/>
                    <a:gd name="connsiteY470" fmla="*/ 50618 h 374569"/>
                    <a:gd name="connsiteX471" fmla="*/ 129654 w 797508"/>
                    <a:gd name="connsiteY471" fmla="*/ 51808 h 374569"/>
                    <a:gd name="connsiteX472" fmla="*/ 130632 w 797508"/>
                    <a:gd name="connsiteY472" fmla="*/ 53927 h 374569"/>
                    <a:gd name="connsiteX473" fmla="*/ 132939 w 797508"/>
                    <a:gd name="connsiteY473" fmla="*/ 55785 h 374569"/>
                    <a:gd name="connsiteX474" fmla="*/ 135905 w 797508"/>
                    <a:gd name="connsiteY474" fmla="*/ 55687 h 374569"/>
                    <a:gd name="connsiteX475" fmla="*/ 137095 w 797508"/>
                    <a:gd name="connsiteY475" fmla="*/ 55361 h 374569"/>
                    <a:gd name="connsiteX476" fmla="*/ 139980 w 797508"/>
                    <a:gd name="connsiteY476" fmla="*/ 55614 h 374569"/>
                    <a:gd name="connsiteX477" fmla="*/ 142808 w 797508"/>
                    <a:gd name="connsiteY477" fmla="*/ 56029 h 374569"/>
                    <a:gd name="connsiteX478" fmla="*/ 145897 w 797508"/>
                    <a:gd name="connsiteY478" fmla="*/ 56453 h 374569"/>
                    <a:gd name="connsiteX479" fmla="*/ 146810 w 797508"/>
                    <a:gd name="connsiteY479" fmla="*/ 56526 h 374569"/>
                    <a:gd name="connsiteX480" fmla="*/ 150110 w 797508"/>
                    <a:gd name="connsiteY480" fmla="*/ 56755 h 374569"/>
                    <a:gd name="connsiteX481" fmla="*/ 154934 w 797508"/>
                    <a:gd name="connsiteY481" fmla="*/ 57064 h 374569"/>
                    <a:gd name="connsiteX482" fmla="*/ 157062 w 797508"/>
                    <a:gd name="connsiteY482" fmla="*/ 56926 h 374569"/>
                    <a:gd name="connsiteX483" fmla="*/ 161422 w 797508"/>
                    <a:gd name="connsiteY483" fmla="*/ 57521 h 374569"/>
                    <a:gd name="connsiteX484" fmla="*/ 162302 w 797508"/>
                    <a:gd name="connsiteY484" fmla="*/ 59175 h 374569"/>
                    <a:gd name="connsiteX485" fmla="*/ 163109 w 797508"/>
                    <a:gd name="connsiteY485" fmla="*/ 63063 h 374569"/>
                    <a:gd name="connsiteX486" fmla="*/ 163794 w 797508"/>
                    <a:gd name="connsiteY486" fmla="*/ 66779 h 374569"/>
                    <a:gd name="connsiteX487" fmla="*/ 163981 w 797508"/>
                    <a:gd name="connsiteY487" fmla="*/ 69762 h 374569"/>
                    <a:gd name="connsiteX488" fmla="*/ 165114 w 797508"/>
                    <a:gd name="connsiteY488" fmla="*/ 71294 h 374569"/>
                    <a:gd name="connsiteX489" fmla="*/ 166556 w 797508"/>
                    <a:gd name="connsiteY489" fmla="*/ 71807 h 374569"/>
                    <a:gd name="connsiteX490" fmla="*/ 167510 w 797508"/>
                    <a:gd name="connsiteY490" fmla="*/ 73005 h 374569"/>
                    <a:gd name="connsiteX491" fmla="*/ 169196 w 797508"/>
                    <a:gd name="connsiteY491" fmla="*/ 74643 h 374569"/>
                    <a:gd name="connsiteX492" fmla="*/ 170436 w 797508"/>
                    <a:gd name="connsiteY492" fmla="*/ 76982 h 374569"/>
                    <a:gd name="connsiteX493" fmla="*/ 171943 w 797508"/>
                    <a:gd name="connsiteY493" fmla="*/ 76827 h 374569"/>
                    <a:gd name="connsiteX494" fmla="*/ 173003 w 797508"/>
                    <a:gd name="connsiteY494" fmla="*/ 76273 h 374569"/>
                    <a:gd name="connsiteX495" fmla="*/ 175317 w 797508"/>
                    <a:gd name="connsiteY495" fmla="*/ 76094 h 374569"/>
                    <a:gd name="connsiteX496" fmla="*/ 178267 w 797508"/>
                    <a:gd name="connsiteY496" fmla="*/ 76257 h 374569"/>
                    <a:gd name="connsiteX497" fmla="*/ 180305 w 797508"/>
                    <a:gd name="connsiteY497" fmla="*/ 77553 h 374569"/>
                    <a:gd name="connsiteX498" fmla="*/ 181095 w 797508"/>
                    <a:gd name="connsiteY498" fmla="*/ 79256 h 374569"/>
                    <a:gd name="connsiteX499" fmla="*/ 182758 w 797508"/>
                    <a:gd name="connsiteY499" fmla="*/ 80201 h 374569"/>
                    <a:gd name="connsiteX500" fmla="*/ 184111 w 797508"/>
                    <a:gd name="connsiteY500" fmla="*/ 79900 h 374569"/>
                    <a:gd name="connsiteX501" fmla="*/ 188161 w 797508"/>
                    <a:gd name="connsiteY501" fmla="*/ 79884 h 374569"/>
                    <a:gd name="connsiteX502" fmla="*/ 189555 w 797508"/>
                    <a:gd name="connsiteY502" fmla="*/ 79998 h 374569"/>
                    <a:gd name="connsiteX503" fmla="*/ 190948 w 797508"/>
                    <a:gd name="connsiteY503" fmla="*/ 80927 h 374569"/>
                    <a:gd name="connsiteX504" fmla="*/ 192953 w 797508"/>
                    <a:gd name="connsiteY504" fmla="*/ 81082 h 374569"/>
                    <a:gd name="connsiteX505" fmla="*/ 194062 w 797508"/>
                    <a:gd name="connsiteY505" fmla="*/ 79900 h 374569"/>
                    <a:gd name="connsiteX506" fmla="*/ 197541 w 797508"/>
                    <a:gd name="connsiteY506" fmla="*/ 79093 h 374569"/>
                    <a:gd name="connsiteX507" fmla="*/ 199571 w 797508"/>
                    <a:gd name="connsiteY507" fmla="*/ 77398 h 374569"/>
                    <a:gd name="connsiteX508" fmla="*/ 201119 w 797508"/>
                    <a:gd name="connsiteY508" fmla="*/ 77373 h 374569"/>
                    <a:gd name="connsiteX509" fmla="*/ 202293 w 797508"/>
                    <a:gd name="connsiteY509" fmla="*/ 78197 h 374569"/>
                    <a:gd name="connsiteX510" fmla="*/ 203206 w 797508"/>
                    <a:gd name="connsiteY510" fmla="*/ 79305 h 374569"/>
                    <a:gd name="connsiteX511" fmla="*/ 204534 w 797508"/>
                    <a:gd name="connsiteY511" fmla="*/ 78816 h 374569"/>
                    <a:gd name="connsiteX512" fmla="*/ 205259 w 797508"/>
                    <a:gd name="connsiteY512" fmla="*/ 77895 h 374569"/>
                    <a:gd name="connsiteX513" fmla="*/ 206416 w 797508"/>
                    <a:gd name="connsiteY513" fmla="*/ 77895 h 374569"/>
                    <a:gd name="connsiteX514" fmla="*/ 207566 w 797508"/>
                    <a:gd name="connsiteY514" fmla="*/ 78490 h 374569"/>
                    <a:gd name="connsiteX515" fmla="*/ 210483 w 797508"/>
                    <a:gd name="connsiteY515" fmla="*/ 79517 h 374569"/>
                    <a:gd name="connsiteX516" fmla="*/ 212602 w 797508"/>
                    <a:gd name="connsiteY516" fmla="*/ 81457 h 374569"/>
                    <a:gd name="connsiteX517" fmla="*/ 214248 w 797508"/>
                    <a:gd name="connsiteY517" fmla="*/ 81636 h 374569"/>
                    <a:gd name="connsiteX518" fmla="*/ 216359 w 797508"/>
                    <a:gd name="connsiteY518" fmla="*/ 81074 h 374569"/>
                    <a:gd name="connsiteX519" fmla="*/ 217337 w 797508"/>
                    <a:gd name="connsiteY519" fmla="*/ 80813 h 374569"/>
                    <a:gd name="connsiteX520" fmla="*/ 218267 w 797508"/>
                    <a:gd name="connsiteY520" fmla="*/ 81766 h 374569"/>
                    <a:gd name="connsiteX521" fmla="*/ 219635 w 797508"/>
                    <a:gd name="connsiteY521" fmla="*/ 82280 h 374569"/>
                    <a:gd name="connsiteX522" fmla="*/ 220662 w 797508"/>
                    <a:gd name="connsiteY522" fmla="*/ 81571 h 374569"/>
                    <a:gd name="connsiteX523" fmla="*/ 222447 w 797508"/>
                    <a:gd name="connsiteY523" fmla="*/ 81074 h 374569"/>
                    <a:gd name="connsiteX524" fmla="*/ 229244 w 797508"/>
                    <a:gd name="connsiteY524" fmla="*/ 82125 h 374569"/>
                    <a:gd name="connsiteX525" fmla="*/ 230809 w 797508"/>
                    <a:gd name="connsiteY525" fmla="*/ 84048 h 374569"/>
                    <a:gd name="connsiteX526" fmla="*/ 232015 w 797508"/>
                    <a:gd name="connsiteY526" fmla="*/ 84953 h 374569"/>
                    <a:gd name="connsiteX527" fmla="*/ 232993 w 797508"/>
                    <a:gd name="connsiteY527" fmla="*/ 86526 h 374569"/>
                    <a:gd name="connsiteX528" fmla="*/ 234769 w 797508"/>
                    <a:gd name="connsiteY528" fmla="*/ 87650 h 374569"/>
                    <a:gd name="connsiteX529" fmla="*/ 238518 w 797508"/>
                    <a:gd name="connsiteY529" fmla="*/ 87267 h 374569"/>
                    <a:gd name="connsiteX530" fmla="*/ 239969 w 797508"/>
                    <a:gd name="connsiteY530" fmla="*/ 86110 h 374569"/>
                    <a:gd name="connsiteX531" fmla="*/ 243001 w 797508"/>
                    <a:gd name="connsiteY531" fmla="*/ 83567 h 374569"/>
                    <a:gd name="connsiteX532" fmla="*/ 244215 w 797508"/>
                    <a:gd name="connsiteY532" fmla="*/ 81074 h 374569"/>
                    <a:gd name="connsiteX533" fmla="*/ 245739 w 797508"/>
                    <a:gd name="connsiteY533" fmla="*/ 80267 h 374569"/>
                    <a:gd name="connsiteX534" fmla="*/ 247467 w 797508"/>
                    <a:gd name="connsiteY534" fmla="*/ 79867 h 374569"/>
                    <a:gd name="connsiteX535" fmla="*/ 249072 w 797508"/>
                    <a:gd name="connsiteY535" fmla="*/ 79867 h 374569"/>
                    <a:gd name="connsiteX536" fmla="*/ 250767 w 797508"/>
                    <a:gd name="connsiteY536" fmla="*/ 79794 h 374569"/>
                    <a:gd name="connsiteX537" fmla="*/ 252821 w 797508"/>
                    <a:gd name="connsiteY537" fmla="*/ 77968 h 374569"/>
                    <a:gd name="connsiteX538" fmla="*/ 254500 w 797508"/>
                    <a:gd name="connsiteY538" fmla="*/ 77325 h 374569"/>
                    <a:gd name="connsiteX539" fmla="*/ 256961 w 797508"/>
                    <a:gd name="connsiteY539" fmla="*/ 75010 h 374569"/>
                    <a:gd name="connsiteX540" fmla="*/ 257426 w 797508"/>
                    <a:gd name="connsiteY540" fmla="*/ 73967 h 374569"/>
                    <a:gd name="connsiteX541" fmla="*/ 258616 w 797508"/>
                    <a:gd name="connsiteY541" fmla="*/ 71261 h 374569"/>
                    <a:gd name="connsiteX542" fmla="*/ 259357 w 797508"/>
                    <a:gd name="connsiteY542" fmla="*/ 69542 h 374569"/>
                    <a:gd name="connsiteX543" fmla="*/ 260612 w 797508"/>
                    <a:gd name="connsiteY543" fmla="*/ 66820 h 374569"/>
                    <a:gd name="connsiteX544" fmla="*/ 261280 w 797508"/>
                    <a:gd name="connsiteY544" fmla="*/ 62411 h 374569"/>
                    <a:gd name="connsiteX545" fmla="*/ 261648 w 797508"/>
                    <a:gd name="connsiteY545" fmla="*/ 60063 h 374569"/>
                    <a:gd name="connsiteX546" fmla="*/ 261321 w 797508"/>
                    <a:gd name="connsiteY546" fmla="*/ 58368 h 374569"/>
                    <a:gd name="connsiteX547" fmla="*/ 259862 w 797508"/>
                    <a:gd name="connsiteY547" fmla="*/ 57496 h 374569"/>
                    <a:gd name="connsiteX548" fmla="*/ 257996 w 797508"/>
                    <a:gd name="connsiteY548" fmla="*/ 57081 h 374569"/>
                    <a:gd name="connsiteX549" fmla="*/ 256358 w 797508"/>
                    <a:gd name="connsiteY549" fmla="*/ 55785 h 374569"/>
                    <a:gd name="connsiteX550" fmla="*/ 255144 w 797508"/>
                    <a:gd name="connsiteY550" fmla="*/ 54293 h 374569"/>
                    <a:gd name="connsiteX551" fmla="*/ 254426 w 797508"/>
                    <a:gd name="connsiteY551" fmla="*/ 52183 h 374569"/>
                    <a:gd name="connsiteX552" fmla="*/ 253449 w 797508"/>
                    <a:gd name="connsiteY552" fmla="*/ 49730 h 374569"/>
                    <a:gd name="connsiteX553" fmla="*/ 253506 w 797508"/>
                    <a:gd name="connsiteY553" fmla="*/ 47945 h 374569"/>
                    <a:gd name="connsiteX554" fmla="*/ 253221 w 797508"/>
                    <a:gd name="connsiteY554" fmla="*/ 46576 h 374569"/>
                    <a:gd name="connsiteX555" fmla="*/ 252405 w 797508"/>
                    <a:gd name="connsiteY555" fmla="*/ 45394 h 374569"/>
                    <a:gd name="connsiteX556" fmla="*/ 250825 w 797508"/>
                    <a:gd name="connsiteY556" fmla="*/ 43332 h 374569"/>
                    <a:gd name="connsiteX557" fmla="*/ 250067 w 797508"/>
                    <a:gd name="connsiteY557" fmla="*/ 41800 h 374569"/>
                    <a:gd name="connsiteX558" fmla="*/ 250319 w 797508"/>
                    <a:gd name="connsiteY558" fmla="*/ 39347 h 374569"/>
                    <a:gd name="connsiteX559" fmla="*/ 252177 w 797508"/>
                    <a:gd name="connsiteY559" fmla="*/ 35174 h 374569"/>
                    <a:gd name="connsiteX560" fmla="*/ 252365 w 797508"/>
                    <a:gd name="connsiteY560" fmla="*/ 33235 h 374569"/>
                    <a:gd name="connsiteX561" fmla="*/ 252585 w 797508"/>
                    <a:gd name="connsiteY561" fmla="*/ 32028 h 374569"/>
                    <a:gd name="connsiteX562" fmla="*/ 252487 w 797508"/>
                    <a:gd name="connsiteY562" fmla="*/ 30928 h 374569"/>
                    <a:gd name="connsiteX563" fmla="*/ 253074 w 797508"/>
                    <a:gd name="connsiteY563" fmla="*/ 28426 h 374569"/>
                    <a:gd name="connsiteX564" fmla="*/ 254125 w 797508"/>
                    <a:gd name="connsiteY564" fmla="*/ 27375 h 374569"/>
                    <a:gd name="connsiteX565" fmla="*/ 255331 w 797508"/>
                    <a:gd name="connsiteY565" fmla="*/ 24685 h 374569"/>
                    <a:gd name="connsiteX566" fmla="*/ 256953 w 797508"/>
                    <a:gd name="connsiteY566" fmla="*/ 23447 h 374569"/>
                    <a:gd name="connsiteX567" fmla="*/ 258982 w 797508"/>
                    <a:gd name="connsiteY567" fmla="*/ 23365 h 374569"/>
                    <a:gd name="connsiteX568" fmla="*/ 259846 w 797508"/>
                    <a:gd name="connsiteY568" fmla="*/ 22632 h 374569"/>
                    <a:gd name="connsiteX569" fmla="*/ 260278 w 797508"/>
                    <a:gd name="connsiteY569" fmla="*/ 19942 h 374569"/>
                    <a:gd name="connsiteX570" fmla="*/ 261272 w 797508"/>
                    <a:gd name="connsiteY570" fmla="*/ 17872 h 374569"/>
                    <a:gd name="connsiteX571" fmla="*/ 261916 w 797508"/>
                    <a:gd name="connsiteY571" fmla="*/ 16405 h 374569"/>
                    <a:gd name="connsiteX572" fmla="*/ 263147 w 797508"/>
                    <a:gd name="connsiteY572" fmla="*/ 14800 h 374569"/>
                    <a:gd name="connsiteX573" fmla="*/ 270278 w 797508"/>
                    <a:gd name="connsiteY573" fmla="*/ 11711 h 374569"/>
                    <a:gd name="connsiteX574" fmla="*/ 273244 w 797508"/>
                    <a:gd name="connsiteY574" fmla="*/ 7864 h 374569"/>
                    <a:gd name="connsiteX575" fmla="*/ 274304 w 797508"/>
                    <a:gd name="connsiteY575" fmla="*/ 5917 h 374569"/>
                    <a:gd name="connsiteX576" fmla="*/ 275445 w 797508"/>
                    <a:gd name="connsiteY576" fmla="*/ 1752 h 374569"/>
                    <a:gd name="connsiteX577" fmla="*/ 276545 w 797508"/>
                    <a:gd name="connsiteY577" fmla="*/ 0 h 374569"/>
                    <a:gd name="connsiteX578" fmla="*/ 278159 w 797508"/>
                    <a:gd name="connsiteY578" fmla="*/ 570 h 374569"/>
                    <a:gd name="connsiteX579" fmla="*/ 280041 w 797508"/>
                    <a:gd name="connsiteY579" fmla="*/ 3040 h 374569"/>
                    <a:gd name="connsiteX580" fmla="*/ 281467 w 797508"/>
                    <a:gd name="connsiteY580" fmla="*/ 3056 h 374569"/>
                    <a:gd name="connsiteX581" fmla="*/ 283570 w 797508"/>
                    <a:gd name="connsiteY581" fmla="*/ 4393 h 374569"/>
                    <a:gd name="connsiteX582" fmla="*/ 289291 w 797508"/>
                    <a:gd name="connsiteY582" fmla="*/ 7180 h 374569"/>
                    <a:gd name="connsiteX583" fmla="*/ 292405 w 797508"/>
                    <a:gd name="connsiteY583" fmla="*/ 8060 h 374569"/>
                    <a:gd name="connsiteX584" fmla="*/ 294393 w 797508"/>
                    <a:gd name="connsiteY584" fmla="*/ 8329 h 374569"/>
                    <a:gd name="connsiteX585" fmla="*/ 297033 w 797508"/>
                    <a:gd name="connsiteY585" fmla="*/ 9103 h 374569"/>
                    <a:gd name="connsiteX586" fmla="*/ 298737 w 797508"/>
                    <a:gd name="connsiteY586" fmla="*/ 10733 h 374569"/>
                    <a:gd name="connsiteX587" fmla="*/ 302053 w 797508"/>
                    <a:gd name="connsiteY587" fmla="*/ 13398 h 374569"/>
                    <a:gd name="connsiteX588" fmla="*/ 304857 w 797508"/>
                    <a:gd name="connsiteY588" fmla="*/ 14083 h 374569"/>
                    <a:gd name="connsiteX589" fmla="*/ 309714 w 797508"/>
                    <a:gd name="connsiteY589" fmla="*/ 14343 h 374569"/>
                    <a:gd name="connsiteX590" fmla="*/ 315623 w 797508"/>
                    <a:gd name="connsiteY590" fmla="*/ 14490 h 374569"/>
                    <a:gd name="connsiteX591" fmla="*/ 317302 w 797508"/>
                    <a:gd name="connsiteY591" fmla="*/ 14955 h 374569"/>
                    <a:gd name="connsiteX592" fmla="*/ 321629 w 797508"/>
                    <a:gd name="connsiteY592" fmla="*/ 16870 h 374569"/>
                    <a:gd name="connsiteX593" fmla="*/ 326422 w 797508"/>
                    <a:gd name="connsiteY593" fmla="*/ 18989 h 374569"/>
                    <a:gd name="connsiteX594" fmla="*/ 330912 w 797508"/>
                    <a:gd name="connsiteY594" fmla="*/ 20880 h 374569"/>
                    <a:gd name="connsiteX595" fmla="*/ 334335 w 797508"/>
                    <a:gd name="connsiteY595" fmla="*/ 22346 h 374569"/>
                    <a:gd name="connsiteX596" fmla="*/ 336356 w 797508"/>
                    <a:gd name="connsiteY596" fmla="*/ 23773 h 374569"/>
                    <a:gd name="connsiteX597" fmla="*/ 338255 w 797508"/>
                    <a:gd name="connsiteY597" fmla="*/ 24588 h 374569"/>
                    <a:gd name="connsiteX598" fmla="*/ 340325 w 797508"/>
                    <a:gd name="connsiteY598" fmla="*/ 23887 h 374569"/>
                    <a:gd name="connsiteX599" fmla="*/ 342965 w 797508"/>
                    <a:gd name="connsiteY599" fmla="*/ 24050 h 374569"/>
                    <a:gd name="connsiteX600" fmla="*/ 349176 w 797508"/>
                    <a:gd name="connsiteY600" fmla="*/ 25745 h 374569"/>
                    <a:gd name="connsiteX601" fmla="*/ 353087 w 797508"/>
                    <a:gd name="connsiteY601" fmla="*/ 27187 h 374569"/>
                    <a:gd name="connsiteX602" fmla="*/ 356372 w 797508"/>
                    <a:gd name="connsiteY602" fmla="*/ 28239 h 374569"/>
                    <a:gd name="connsiteX603" fmla="*/ 357464 w 797508"/>
                    <a:gd name="connsiteY603" fmla="*/ 29706 h 374569"/>
                    <a:gd name="connsiteX604" fmla="*/ 357570 w 797508"/>
                    <a:gd name="connsiteY604" fmla="*/ 31653 h 374569"/>
                    <a:gd name="connsiteX605" fmla="*/ 357130 w 797508"/>
                    <a:gd name="connsiteY605" fmla="*/ 33300 h 374569"/>
                    <a:gd name="connsiteX606" fmla="*/ 357382 w 797508"/>
                    <a:gd name="connsiteY606" fmla="*/ 37293 h 374569"/>
                    <a:gd name="connsiteX607" fmla="*/ 358426 w 797508"/>
                    <a:gd name="connsiteY607" fmla="*/ 39388 h 374569"/>
                    <a:gd name="connsiteX608" fmla="*/ 358817 w 797508"/>
                    <a:gd name="connsiteY608" fmla="*/ 42191 h 374569"/>
                    <a:gd name="connsiteX609" fmla="*/ 359216 w 797508"/>
                    <a:gd name="connsiteY609" fmla="*/ 44872 h 374569"/>
                    <a:gd name="connsiteX610" fmla="*/ 358939 w 797508"/>
                    <a:gd name="connsiteY610" fmla="*/ 47513 h 374569"/>
                    <a:gd name="connsiteX611" fmla="*/ 359436 w 797508"/>
                    <a:gd name="connsiteY611" fmla="*/ 48923 h 374569"/>
                    <a:gd name="connsiteX612" fmla="*/ 360463 w 797508"/>
                    <a:gd name="connsiteY612" fmla="*/ 49746 h 374569"/>
                    <a:gd name="connsiteX613" fmla="*/ 361457 w 797508"/>
                    <a:gd name="connsiteY613" fmla="*/ 51588 h 374569"/>
                    <a:gd name="connsiteX614" fmla="*/ 361131 w 797508"/>
                    <a:gd name="connsiteY614" fmla="*/ 53527 h 374569"/>
                    <a:gd name="connsiteX615" fmla="*/ 360691 w 797508"/>
                    <a:gd name="connsiteY615" fmla="*/ 54660 h 374569"/>
                    <a:gd name="connsiteX616" fmla="*/ 360756 w 797508"/>
                    <a:gd name="connsiteY616" fmla="*/ 56469 h 374569"/>
                    <a:gd name="connsiteX617" fmla="*/ 361954 w 797508"/>
                    <a:gd name="connsiteY617" fmla="*/ 57969 h 374569"/>
                    <a:gd name="connsiteX618" fmla="*/ 363698 w 797508"/>
                    <a:gd name="connsiteY618" fmla="*/ 58262 h 374569"/>
                    <a:gd name="connsiteX619" fmla="*/ 365247 w 797508"/>
                    <a:gd name="connsiteY619" fmla="*/ 58645 h 374569"/>
                    <a:gd name="connsiteX620" fmla="*/ 367162 w 797508"/>
                    <a:gd name="connsiteY620" fmla="*/ 61001 h 374569"/>
                    <a:gd name="connsiteX621" fmla="*/ 370552 w 797508"/>
                    <a:gd name="connsiteY621" fmla="*/ 63715 h 374569"/>
                    <a:gd name="connsiteX622" fmla="*/ 372598 w 797508"/>
                    <a:gd name="connsiteY622" fmla="*/ 64472 h 374569"/>
                    <a:gd name="connsiteX623" fmla="*/ 374937 w 797508"/>
                    <a:gd name="connsiteY623" fmla="*/ 65687 h 374569"/>
                    <a:gd name="connsiteX624" fmla="*/ 379395 w 797508"/>
                    <a:gd name="connsiteY624" fmla="*/ 66885 h 374569"/>
                    <a:gd name="connsiteX625" fmla="*/ 382410 w 797508"/>
                    <a:gd name="connsiteY625" fmla="*/ 67243 h 374569"/>
                    <a:gd name="connsiteX626" fmla="*/ 384203 w 797508"/>
                    <a:gd name="connsiteY626" fmla="*/ 68205 h 374569"/>
                    <a:gd name="connsiteX627" fmla="*/ 385955 w 797508"/>
                    <a:gd name="connsiteY627" fmla="*/ 70544 h 374569"/>
                    <a:gd name="connsiteX628" fmla="*/ 388848 w 797508"/>
                    <a:gd name="connsiteY628" fmla="*/ 71025 h 374569"/>
                    <a:gd name="connsiteX629" fmla="*/ 390707 w 797508"/>
                    <a:gd name="connsiteY629" fmla="*/ 71832 h 374569"/>
                    <a:gd name="connsiteX630" fmla="*/ 394097 w 797508"/>
                    <a:gd name="connsiteY630" fmla="*/ 72793 h 374569"/>
                    <a:gd name="connsiteX631" fmla="*/ 396346 w 797508"/>
                    <a:gd name="connsiteY631" fmla="*/ 72239 h 374569"/>
                    <a:gd name="connsiteX632" fmla="*/ 398318 w 797508"/>
                    <a:gd name="connsiteY632" fmla="*/ 71424 h 374569"/>
                    <a:gd name="connsiteX633" fmla="*/ 399638 w 797508"/>
                    <a:gd name="connsiteY633" fmla="*/ 71579 h 374569"/>
                    <a:gd name="connsiteX634" fmla="*/ 402190 w 797508"/>
                    <a:gd name="connsiteY634" fmla="*/ 72117 h 374569"/>
                    <a:gd name="connsiteX635" fmla="*/ 405172 w 797508"/>
                    <a:gd name="connsiteY635" fmla="*/ 72223 h 374569"/>
                    <a:gd name="connsiteX636" fmla="*/ 407666 w 797508"/>
                    <a:gd name="connsiteY636" fmla="*/ 71669 h 374569"/>
                    <a:gd name="connsiteX637" fmla="*/ 409663 w 797508"/>
                    <a:gd name="connsiteY637" fmla="*/ 70022 h 374569"/>
                    <a:gd name="connsiteX638" fmla="*/ 411994 w 797508"/>
                    <a:gd name="connsiteY638" fmla="*/ 67798 h 374569"/>
                    <a:gd name="connsiteX639" fmla="*/ 414781 w 797508"/>
                    <a:gd name="connsiteY639" fmla="*/ 66673 h 374569"/>
                    <a:gd name="connsiteX640" fmla="*/ 418000 w 797508"/>
                    <a:gd name="connsiteY640" fmla="*/ 66274 h 374569"/>
                    <a:gd name="connsiteX641" fmla="*/ 420217 w 797508"/>
                    <a:gd name="connsiteY641" fmla="*/ 65377 h 374569"/>
                    <a:gd name="connsiteX642" fmla="*/ 427437 w 797508"/>
                    <a:gd name="connsiteY642" fmla="*/ 63869 h 374569"/>
                    <a:gd name="connsiteX643" fmla="*/ 430363 w 797508"/>
                    <a:gd name="connsiteY643" fmla="*/ 63617 h 374569"/>
                    <a:gd name="connsiteX644" fmla="*/ 432629 w 797508"/>
                    <a:gd name="connsiteY644" fmla="*/ 62166 h 374569"/>
                    <a:gd name="connsiteX645" fmla="*/ 434625 w 797508"/>
                    <a:gd name="connsiteY645" fmla="*/ 61033 h 374569"/>
                    <a:gd name="connsiteX646" fmla="*/ 437527 w 797508"/>
                    <a:gd name="connsiteY646" fmla="*/ 60552 h 374569"/>
                    <a:gd name="connsiteX647" fmla="*/ 441439 w 797508"/>
                    <a:gd name="connsiteY647" fmla="*/ 61734 h 374569"/>
                    <a:gd name="connsiteX648" fmla="*/ 445188 w 797508"/>
                    <a:gd name="connsiteY648" fmla="*/ 62728 h 374569"/>
                    <a:gd name="connsiteX649" fmla="*/ 449719 w 797508"/>
                    <a:gd name="connsiteY649" fmla="*/ 63046 h 374569"/>
                    <a:gd name="connsiteX650" fmla="*/ 452726 w 797508"/>
                    <a:gd name="connsiteY650" fmla="*/ 64415 h 374569"/>
                    <a:gd name="connsiteX651" fmla="*/ 454853 w 797508"/>
                    <a:gd name="connsiteY651" fmla="*/ 65719 h 374569"/>
                    <a:gd name="connsiteX652" fmla="*/ 458219 w 797508"/>
                    <a:gd name="connsiteY652" fmla="*/ 66738 h 374569"/>
                    <a:gd name="connsiteX653" fmla="*/ 461960 w 797508"/>
                    <a:gd name="connsiteY653" fmla="*/ 66257 h 374569"/>
                    <a:gd name="connsiteX654" fmla="*/ 467070 w 797508"/>
                    <a:gd name="connsiteY654" fmla="*/ 65850 h 374569"/>
                    <a:gd name="connsiteX655" fmla="*/ 470460 w 797508"/>
                    <a:gd name="connsiteY655" fmla="*/ 66445 h 374569"/>
                    <a:gd name="connsiteX656" fmla="*/ 473989 w 797508"/>
                    <a:gd name="connsiteY656" fmla="*/ 68792 h 374569"/>
                    <a:gd name="connsiteX657" fmla="*/ 476157 w 797508"/>
                    <a:gd name="connsiteY657" fmla="*/ 70683 h 374569"/>
                    <a:gd name="connsiteX658" fmla="*/ 478618 w 797508"/>
                    <a:gd name="connsiteY658" fmla="*/ 74700 h 374569"/>
                    <a:gd name="connsiteX659" fmla="*/ 481161 w 797508"/>
                    <a:gd name="connsiteY659" fmla="*/ 76648 h 374569"/>
                    <a:gd name="connsiteX660" fmla="*/ 483401 w 797508"/>
                    <a:gd name="connsiteY660" fmla="*/ 78237 h 374569"/>
                    <a:gd name="connsiteX661" fmla="*/ 486229 w 797508"/>
                    <a:gd name="connsiteY661" fmla="*/ 78335 h 374569"/>
                    <a:gd name="connsiteX662" fmla="*/ 493263 w 797508"/>
                    <a:gd name="connsiteY662" fmla="*/ 78466 h 374569"/>
                    <a:gd name="connsiteX663" fmla="*/ 497134 w 797508"/>
                    <a:gd name="connsiteY663" fmla="*/ 79305 h 374569"/>
                    <a:gd name="connsiteX664" fmla="*/ 500353 w 797508"/>
                    <a:gd name="connsiteY664" fmla="*/ 79753 h 374569"/>
                    <a:gd name="connsiteX665" fmla="*/ 501127 w 797508"/>
                    <a:gd name="connsiteY665" fmla="*/ 80593 h 374569"/>
                    <a:gd name="connsiteX666" fmla="*/ 500793 w 797508"/>
                    <a:gd name="connsiteY666" fmla="*/ 83347 h 374569"/>
                    <a:gd name="connsiteX667" fmla="*/ 500907 w 797508"/>
                    <a:gd name="connsiteY667" fmla="*/ 87292 h 374569"/>
                    <a:gd name="connsiteX668" fmla="*/ 500850 w 797508"/>
                    <a:gd name="connsiteY668" fmla="*/ 89101 h 374569"/>
                    <a:gd name="connsiteX669" fmla="*/ 501567 w 797508"/>
                    <a:gd name="connsiteY669" fmla="*/ 90462 h 374569"/>
                    <a:gd name="connsiteX670" fmla="*/ 502651 w 797508"/>
                    <a:gd name="connsiteY670" fmla="*/ 90706 h 374569"/>
                    <a:gd name="connsiteX671" fmla="*/ 503262 w 797508"/>
                    <a:gd name="connsiteY671" fmla="*/ 92622 h 374569"/>
                    <a:gd name="connsiteX672" fmla="*/ 504844 w 797508"/>
                    <a:gd name="connsiteY672" fmla="*/ 93763 h 374569"/>
                    <a:gd name="connsiteX673" fmla="*/ 507712 w 797508"/>
                    <a:gd name="connsiteY673" fmla="*/ 95132 h 374569"/>
                    <a:gd name="connsiteX674" fmla="*/ 512512 w 797508"/>
                    <a:gd name="connsiteY674" fmla="*/ 99802 h 374569"/>
                    <a:gd name="connsiteX675" fmla="*/ 515373 w 797508"/>
                    <a:gd name="connsiteY675" fmla="*/ 101790 h 374569"/>
                    <a:gd name="connsiteX676" fmla="*/ 517647 w 797508"/>
                    <a:gd name="connsiteY676" fmla="*/ 102467 h 374569"/>
                    <a:gd name="connsiteX677" fmla="*/ 520597 w 797508"/>
                    <a:gd name="connsiteY677" fmla="*/ 102002 h 374569"/>
                    <a:gd name="connsiteX678" fmla="*/ 525234 w 797508"/>
                    <a:gd name="connsiteY678" fmla="*/ 102010 h 374569"/>
                    <a:gd name="connsiteX679" fmla="*/ 533082 w 797508"/>
                    <a:gd name="connsiteY679" fmla="*/ 102026 h 374569"/>
                    <a:gd name="connsiteX680" fmla="*/ 538469 w 797508"/>
                    <a:gd name="connsiteY680" fmla="*/ 103420 h 374569"/>
                    <a:gd name="connsiteX681" fmla="*/ 540327 w 797508"/>
                    <a:gd name="connsiteY681" fmla="*/ 104382 h 374569"/>
                    <a:gd name="connsiteX682" fmla="*/ 545829 w 797508"/>
                    <a:gd name="connsiteY682" fmla="*/ 105490 h 374569"/>
                    <a:gd name="connsiteX683" fmla="*/ 551892 w 797508"/>
                    <a:gd name="connsiteY683" fmla="*/ 106713 h 374569"/>
                    <a:gd name="connsiteX684" fmla="*/ 556985 w 797508"/>
                    <a:gd name="connsiteY684" fmla="*/ 107984 h 374569"/>
                    <a:gd name="connsiteX685" fmla="*/ 560001 w 797508"/>
                    <a:gd name="connsiteY685" fmla="*/ 106338 h 374569"/>
                    <a:gd name="connsiteX686" fmla="*/ 562641 w 797508"/>
                    <a:gd name="connsiteY686" fmla="*/ 106191 h 374569"/>
                    <a:gd name="connsiteX687" fmla="*/ 565160 w 797508"/>
                    <a:gd name="connsiteY687" fmla="*/ 107381 h 374569"/>
                    <a:gd name="connsiteX688" fmla="*/ 567670 w 797508"/>
                    <a:gd name="connsiteY688" fmla="*/ 109174 h 374569"/>
                    <a:gd name="connsiteX689" fmla="*/ 569626 w 797508"/>
                    <a:gd name="connsiteY689" fmla="*/ 108978 h 374569"/>
                    <a:gd name="connsiteX690" fmla="*/ 572560 w 797508"/>
                    <a:gd name="connsiteY690" fmla="*/ 108139 h 374569"/>
                    <a:gd name="connsiteX691" fmla="*/ 581883 w 797508"/>
                    <a:gd name="connsiteY691" fmla="*/ 103135 h 374569"/>
                    <a:gd name="connsiteX692" fmla="*/ 585176 w 797508"/>
                    <a:gd name="connsiteY692" fmla="*/ 101269 h 374569"/>
                    <a:gd name="connsiteX693" fmla="*/ 587474 w 797508"/>
                    <a:gd name="connsiteY693" fmla="*/ 101749 h 374569"/>
                    <a:gd name="connsiteX694" fmla="*/ 589519 w 797508"/>
                    <a:gd name="connsiteY694" fmla="*/ 101081 h 374569"/>
                    <a:gd name="connsiteX695" fmla="*/ 591084 w 797508"/>
                    <a:gd name="connsiteY695" fmla="*/ 100527 h 374569"/>
                    <a:gd name="connsiteX696" fmla="*/ 595069 w 797508"/>
                    <a:gd name="connsiteY696" fmla="*/ 99745 h 374569"/>
                    <a:gd name="connsiteX697" fmla="*/ 597498 w 797508"/>
                    <a:gd name="connsiteY697" fmla="*/ 99541 h 374569"/>
                    <a:gd name="connsiteX698" fmla="*/ 600008 w 797508"/>
                    <a:gd name="connsiteY698" fmla="*/ 99084 h 374569"/>
                    <a:gd name="connsiteX699" fmla="*/ 603602 w 797508"/>
                    <a:gd name="connsiteY699" fmla="*/ 98783 h 374569"/>
                    <a:gd name="connsiteX700" fmla="*/ 610945 w 797508"/>
                    <a:gd name="connsiteY700" fmla="*/ 95507 h 374569"/>
                    <a:gd name="connsiteX701" fmla="*/ 613912 w 797508"/>
                    <a:gd name="connsiteY701" fmla="*/ 94863 h 374569"/>
                    <a:gd name="connsiteX702" fmla="*/ 618915 w 797508"/>
                    <a:gd name="connsiteY702" fmla="*/ 95776 h 374569"/>
                    <a:gd name="connsiteX703" fmla="*/ 621621 w 797508"/>
                    <a:gd name="connsiteY703" fmla="*/ 95181 h 374569"/>
                    <a:gd name="connsiteX704" fmla="*/ 624319 w 797508"/>
                    <a:gd name="connsiteY704" fmla="*/ 93526 h 374569"/>
                    <a:gd name="connsiteX705" fmla="*/ 627799 w 797508"/>
                    <a:gd name="connsiteY705" fmla="*/ 91815 h 374569"/>
                    <a:gd name="connsiteX706" fmla="*/ 628711 w 797508"/>
                    <a:gd name="connsiteY706" fmla="*/ 89044 h 374569"/>
                    <a:gd name="connsiteX707" fmla="*/ 630496 w 797508"/>
                    <a:gd name="connsiteY707" fmla="*/ 85238 h 374569"/>
                    <a:gd name="connsiteX708" fmla="*/ 634343 w 797508"/>
                    <a:gd name="connsiteY708" fmla="*/ 82426 h 374569"/>
                    <a:gd name="connsiteX709" fmla="*/ 637480 w 797508"/>
                    <a:gd name="connsiteY709" fmla="*/ 79981 h 374569"/>
                    <a:gd name="connsiteX710" fmla="*/ 640675 w 797508"/>
                    <a:gd name="connsiteY710" fmla="*/ 77594 h 374569"/>
                    <a:gd name="connsiteX711" fmla="*/ 644595 w 797508"/>
                    <a:gd name="connsiteY711" fmla="*/ 75613 h 374569"/>
                    <a:gd name="connsiteX712" fmla="*/ 648287 w 797508"/>
                    <a:gd name="connsiteY712" fmla="*/ 74171 h 374569"/>
                    <a:gd name="connsiteX713" fmla="*/ 652981 w 797508"/>
                    <a:gd name="connsiteY713" fmla="*/ 70373 h 374569"/>
                    <a:gd name="connsiteX714" fmla="*/ 656730 w 797508"/>
                    <a:gd name="connsiteY714" fmla="*/ 68466 h 374569"/>
                    <a:gd name="connsiteX715" fmla="*/ 658596 w 797508"/>
                    <a:gd name="connsiteY715" fmla="*/ 67838 h 374569"/>
                    <a:gd name="connsiteX716" fmla="*/ 660813 w 797508"/>
                    <a:gd name="connsiteY716" fmla="*/ 68531 h 374569"/>
                    <a:gd name="connsiteX717" fmla="*/ 664978 w 797508"/>
                    <a:gd name="connsiteY717" fmla="*/ 69045 h 374569"/>
                    <a:gd name="connsiteX718" fmla="*/ 667977 w 797508"/>
                    <a:gd name="connsiteY718" fmla="*/ 68882 h 374569"/>
                    <a:gd name="connsiteX719" fmla="*/ 669664 w 797508"/>
                    <a:gd name="connsiteY719" fmla="*/ 69322 h 374569"/>
                    <a:gd name="connsiteX720" fmla="*/ 673054 w 797508"/>
                    <a:gd name="connsiteY720" fmla="*/ 71172 h 374569"/>
                    <a:gd name="connsiteX721" fmla="*/ 676110 w 797508"/>
                    <a:gd name="connsiteY721" fmla="*/ 72793 h 374569"/>
                    <a:gd name="connsiteX722" fmla="*/ 678465 w 797508"/>
                    <a:gd name="connsiteY722" fmla="*/ 75686 h 374569"/>
                    <a:gd name="connsiteX723" fmla="*/ 682850 w 797508"/>
                    <a:gd name="connsiteY723" fmla="*/ 79712 h 374569"/>
                    <a:gd name="connsiteX724" fmla="*/ 685083 w 797508"/>
                    <a:gd name="connsiteY724" fmla="*/ 81065 h 374569"/>
                    <a:gd name="connsiteX725" fmla="*/ 686680 w 797508"/>
                    <a:gd name="connsiteY725" fmla="*/ 81620 h 374569"/>
                    <a:gd name="connsiteX726" fmla="*/ 690617 w 797508"/>
                    <a:gd name="connsiteY726" fmla="*/ 82003 h 374569"/>
                    <a:gd name="connsiteX727" fmla="*/ 693836 w 797508"/>
                    <a:gd name="connsiteY727" fmla="*/ 82206 h 374569"/>
                    <a:gd name="connsiteX728" fmla="*/ 695759 w 797508"/>
                    <a:gd name="connsiteY728" fmla="*/ 81277 h 374569"/>
                    <a:gd name="connsiteX729" fmla="*/ 699003 w 797508"/>
                    <a:gd name="connsiteY729" fmla="*/ 79598 h 374569"/>
                    <a:gd name="connsiteX730" fmla="*/ 704169 w 797508"/>
                    <a:gd name="connsiteY730" fmla="*/ 77463 h 374569"/>
                    <a:gd name="connsiteX731" fmla="*/ 706207 w 797508"/>
                    <a:gd name="connsiteY731" fmla="*/ 77512 h 374569"/>
                    <a:gd name="connsiteX732" fmla="*/ 709540 w 797508"/>
                    <a:gd name="connsiteY732" fmla="*/ 78653 h 374569"/>
                    <a:gd name="connsiteX733" fmla="*/ 714503 w 797508"/>
                    <a:gd name="connsiteY733" fmla="*/ 80756 h 374569"/>
                    <a:gd name="connsiteX734" fmla="*/ 716500 w 797508"/>
                    <a:gd name="connsiteY734" fmla="*/ 82329 h 37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Lst>
                  <a:rect l="l" t="t" r="r" b="b"/>
                  <a:pathLst>
                    <a:path w="797508" h="374569">
                      <a:moveTo>
                        <a:pt x="717780" y="84268"/>
                      </a:moveTo>
                      <a:lnTo>
                        <a:pt x="715457" y="89321"/>
                      </a:lnTo>
                      <a:lnTo>
                        <a:pt x="710812" y="99443"/>
                      </a:lnTo>
                      <a:lnTo>
                        <a:pt x="706867" y="107992"/>
                      </a:lnTo>
                      <a:lnTo>
                        <a:pt x="704797" y="112792"/>
                      </a:lnTo>
                      <a:lnTo>
                        <a:pt x="703273" y="116468"/>
                      </a:lnTo>
                      <a:lnTo>
                        <a:pt x="701692" y="119931"/>
                      </a:lnTo>
                      <a:lnTo>
                        <a:pt x="701464" y="122018"/>
                      </a:lnTo>
                      <a:lnTo>
                        <a:pt x="699696" y="125367"/>
                      </a:lnTo>
                      <a:lnTo>
                        <a:pt x="696387" y="129418"/>
                      </a:lnTo>
                      <a:lnTo>
                        <a:pt x="695661" y="133786"/>
                      </a:lnTo>
                      <a:lnTo>
                        <a:pt x="695792" y="137722"/>
                      </a:lnTo>
                      <a:lnTo>
                        <a:pt x="695515" y="141259"/>
                      </a:lnTo>
                      <a:lnTo>
                        <a:pt x="691888" y="143484"/>
                      </a:lnTo>
                      <a:lnTo>
                        <a:pt x="689052" y="145473"/>
                      </a:lnTo>
                      <a:lnTo>
                        <a:pt x="689859" y="152139"/>
                      </a:lnTo>
                      <a:lnTo>
                        <a:pt x="691318" y="154649"/>
                      </a:lnTo>
                      <a:lnTo>
                        <a:pt x="693689" y="157379"/>
                      </a:lnTo>
                      <a:lnTo>
                        <a:pt x="696166" y="159547"/>
                      </a:lnTo>
                      <a:lnTo>
                        <a:pt x="698318" y="161389"/>
                      </a:lnTo>
                      <a:lnTo>
                        <a:pt x="700690" y="160509"/>
                      </a:lnTo>
                      <a:lnTo>
                        <a:pt x="702695" y="157714"/>
                      </a:lnTo>
                      <a:lnTo>
                        <a:pt x="706566" y="155252"/>
                      </a:lnTo>
                      <a:lnTo>
                        <a:pt x="708701" y="155195"/>
                      </a:lnTo>
                      <a:lnTo>
                        <a:pt x="710209" y="155758"/>
                      </a:lnTo>
                      <a:lnTo>
                        <a:pt x="713575" y="155921"/>
                      </a:lnTo>
                      <a:lnTo>
                        <a:pt x="716997" y="155032"/>
                      </a:lnTo>
                      <a:lnTo>
                        <a:pt x="719703" y="154837"/>
                      </a:lnTo>
                      <a:lnTo>
                        <a:pt x="723183" y="155432"/>
                      </a:lnTo>
                      <a:lnTo>
                        <a:pt x="724438" y="156027"/>
                      </a:lnTo>
                      <a:lnTo>
                        <a:pt x="727364" y="157102"/>
                      </a:lnTo>
                      <a:lnTo>
                        <a:pt x="730526" y="159474"/>
                      </a:lnTo>
                      <a:lnTo>
                        <a:pt x="732726" y="162123"/>
                      </a:lnTo>
                      <a:lnTo>
                        <a:pt x="734332" y="162628"/>
                      </a:lnTo>
                      <a:lnTo>
                        <a:pt x="735163" y="161788"/>
                      </a:lnTo>
                      <a:lnTo>
                        <a:pt x="736932" y="159441"/>
                      </a:lnTo>
                      <a:lnTo>
                        <a:pt x="739409" y="157176"/>
                      </a:lnTo>
                      <a:lnTo>
                        <a:pt x="742425" y="153459"/>
                      </a:lnTo>
                      <a:lnTo>
                        <a:pt x="744698" y="150607"/>
                      </a:lnTo>
                      <a:lnTo>
                        <a:pt x="746491" y="150167"/>
                      </a:lnTo>
                      <a:lnTo>
                        <a:pt x="749922" y="150183"/>
                      </a:lnTo>
                      <a:lnTo>
                        <a:pt x="751479" y="149482"/>
                      </a:lnTo>
                      <a:lnTo>
                        <a:pt x="754087" y="149132"/>
                      </a:lnTo>
                      <a:lnTo>
                        <a:pt x="756385" y="150191"/>
                      </a:lnTo>
                      <a:lnTo>
                        <a:pt x="762807" y="150746"/>
                      </a:lnTo>
                      <a:lnTo>
                        <a:pt x="764526" y="152204"/>
                      </a:lnTo>
                      <a:lnTo>
                        <a:pt x="767575" y="156540"/>
                      </a:lnTo>
                      <a:lnTo>
                        <a:pt x="769286" y="158854"/>
                      </a:lnTo>
                      <a:lnTo>
                        <a:pt x="772269" y="160020"/>
                      </a:lnTo>
                      <a:lnTo>
                        <a:pt x="774078" y="160810"/>
                      </a:lnTo>
                      <a:lnTo>
                        <a:pt x="775676" y="161438"/>
                      </a:lnTo>
                      <a:lnTo>
                        <a:pt x="777281" y="162555"/>
                      </a:lnTo>
                      <a:lnTo>
                        <a:pt x="777656" y="163915"/>
                      </a:lnTo>
                      <a:lnTo>
                        <a:pt x="778292" y="165977"/>
                      </a:lnTo>
                      <a:lnTo>
                        <a:pt x="779277" y="167167"/>
                      </a:lnTo>
                      <a:lnTo>
                        <a:pt x="781079" y="168333"/>
                      </a:lnTo>
                      <a:lnTo>
                        <a:pt x="782456" y="169050"/>
                      </a:lnTo>
                      <a:lnTo>
                        <a:pt x="782896" y="170549"/>
                      </a:lnTo>
                      <a:lnTo>
                        <a:pt x="783328" y="171283"/>
                      </a:lnTo>
                      <a:lnTo>
                        <a:pt x="784583" y="172326"/>
                      </a:lnTo>
                      <a:lnTo>
                        <a:pt x="788308" y="176792"/>
                      </a:lnTo>
                      <a:lnTo>
                        <a:pt x="790133" y="177982"/>
                      </a:lnTo>
                      <a:lnTo>
                        <a:pt x="792879" y="180557"/>
                      </a:lnTo>
                      <a:lnTo>
                        <a:pt x="794028" y="182692"/>
                      </a:lnTo>
                      <a:lnTo>
                        <a:pt x="794086" y="184942"/>
                      </a:lnTo>
                      <a:lnTo>
                        <a:pt x="794803" y="186653"/>
                      </a:lnTo>
                      <a:lnTo>
                        <a:pt x="796645" y="189229"/>
                      </a:lnTo>
                      <a:lnTo>
                        <a:pt x="797508" y="190964"/>
                      </a:lnTo>
                      <a:lnTo>
                        <a:pt x="797166" y="193320"/>
                      </a:lnTo>
                      <a:lnTo>
                        <a:pt x="797468" y="195398"/>
                      </a:lnTo>
                      <a:lnTo>
                        <a:pt x="796751" y="197558"/>
                      </a:lnTo>
                      <a:lnTo>
                        <a:pt x="793776" y="199155"/>
                      </a:lnTo>
                      <a:lnTo>
                        <a:pt x="792765" y="199905"/>
                      </a:lnTo>
                      <a:lnTo>
                        <a:pt x="790630" y="199986"/>
                      </a:lnTo>
                      <a:lnTo>
                        <a:pt x="786995" y="199171"/>
                      </a:lnTo>
                      <a:lnTo>
                        <a:pt x="783475" y="199636"/>
                      </a:lnTo>
                      <a:lnTo>
                        <a:pt x="779269" y="198747"/>
                      </a:lnTo>
                      <a:lnTo>
                        <a:pt x="775953" y="196849"/>
                      </a:lnTo>
                      <a:lnTo>
                        <a:pt x="774176" y="195333"/>
                      </a:lnTo>
                      <a:lnTo>
                        <a:pt x="771372" y="194428"/>
                      </a:lnTo>
                      <a:lnTo>
                        <a:pt x="770036" y="194893"/>
                      </a:lnTo>
                      <a:lnTo>
                        <a:pt x="768373" y="196857"/>
                      </a:lnTo>
                      <a:lnTo>
                        <a:pt x="766532" y="196514"/>
                      </a:lnTo>
                      <a:lnTo>
                        <a:pt x="764836" y="196857"/>
                      </a:lnTo>
                      <a:lnTo>
                        <a:pt x="760468" y="196457"/>
                      </a:lnTo>
                      <a:lnTo>
                        <a:pt x="758096" y="195968"/>
                      </a:lnTo>
                      <a:lnTo>
                        <a:pt x="754331" y="197338"/>
                      </a:lnTo>
                      <a:lnTo>
                        <a:pt x="752212" y="197761"/>
                      </a:lnTo>
                      <a:lnTo>
                        <a:pt x="748219" y="199432"/>
                      </a:lnTo>
                      <a:lnTo>
                        <a:pt x="745823" y="202333"/>
                      </a:lnTo>
                      <a:lnTo>
                        <a:pt x="744022" y="203026"/>
                      </a:lnTo>
                      <a:lnTo>
                        <a:pt x="742278" y="202887"/>
                      </a:lnTo>
                      <a:lnTo>
                        <a:pt x="741031" y="201820"/>
                      </a:lnTo>
                      <a:lnTo>
                        <a:pt x="739205" y="200540"/>
                      </a:lnTo>
                      <a:lnTo>
                        <a:pt x="736508" y="200606"/>
                      </a:lnTo>
                      <a:lnTo>
                        <a:pt x="735693" y="201152"/>
                      </a:lnTo>
                      <a:lnTo>
                        <a:pt x="735359" y="202341"/>
                      </a:lnTo>
                      <a:lnTo>
                        <a:pt x="734478" y="205911"/>
                      </a:lnTo>
                      <a:lnTo>
                        <a:pt x="734487" y="207525"/>
                      </a:lnTo>
                      <a:lnTo>
                        <a:pt x="733916" y="208560"/>
                      </a:lnTo>
                      <a:lnTo>
                        <a:pt x="732311" y="208910"/>
                      </a:lnTo>
                      <a:lnTo>
                        <a:pt x="729507" y="208804"/>
                      </a:lnTo>
                      <a:lnTo>
                        <a:pt x="725114" y="208568"/>
                      </a:lnTo>
                      <a:lnTo>
                        <a:pt x="722140" y="207639"/>
                      </a:lnTo>
                      <a:lnTo>
                        <a:pt x="720355" y="208038"/>
                      </a:lnTo>
                      <a:lnTo>
                        <a:pt x="717927" y="209978"/>
                      </a:lnTo>
                      <a:lnTo>
                        <a:pt x="716199" y="210287"/>
                      </a:lnTo>
                      <a:lnTo>
                        <a:pt x="714797" y="211119"/>
                      </a:lnTo>
                      <a:lnTo>
                        <a:pt x="713648" y="213979"/>
                      </a:lnTo>
                      <a:lnTo>
                        <a:pt x="711871" y="215756"/>
                      </a:lnTo>
                      <a:lnTo>
                        <a:pt x="709703" y="217956"/>
                      </a:lnTo>
                      <a:lnTo>
                        <a:pt x="707397" y="222675"/>
                      </a:lnTo>
                      <a:lnTo>
                        <a:pt x="706117" y="225365"/>
                      </a:lnTo>
                      <a:lnTo>
                        <a:pt x="706517" y="226815"/>
                      </a:lnTo>
                      <a:lnTo>
                        <a:pt x="706810" y="228576"/>
                      </a:lnTo>
                      <a:lnTo>
                        <a:pt x="705734" y="230572"/>
                      </a:lnTo>
                      <a:lnTo>
                        <a:pt x="703559" y="232422"/>
                      </a:lnTo>
                      <a:lnTo>
                        <a:pt x="701823" y="232764"/>
                      </a:lnTo>
                      <a:lnTo>
                        <a:pt x="699207" y="234557"/>
                      </a:lnTo>
                      <a:lnTo>
                        <a:pt x="695612" y="237777"/>
                      </a:lnTo>
                      <a:lnTo>
                        <a:pt x="692923" y="240474"/>
                      </a:lnTo>
                      <a:lnTo>
                        <a:pt x="689418" y="241134"/>
                      </a:lnTo>
                      <a:lnTo>
                        <a:pt x="686933" y="241819"/>
                      </a:lnTo>
                      <a:lnTo>
                        <a:pt x="681424" y="242658"/>
                      </a:lnTo>
                      <a:lnTo>
                        <a:pt x="680071" y="242862"/>
                      </a:lnTo>
                      <a:lnTo>
                        <a:pt x="674032" y="243286"/>
                      </a:lnTo>
                      <a:lnTo>
                        <a:pt x="669550" y="241827"/>
                      </a:lnTo>
                      <a:lnTo>
                        <a:pt x="667211" y="242047"/>
                      </a:lnTo>
                      <a:lnTo>
                        <a:pt x="665124" y="242870"/>
                      </a:lnTo>
                      <a:lnTo>
                        <a:pt x="664057" y="243767"/>
                      </a:lnTo>
                      <a:lnTo>
                        <a:pt x="663690" y="245462"/>
                      </a:lnTo>
                      <a:lnTo>
                        <a:pt x="663323" y="247035"/>
                      </a:lnTo>
                      <a:lnTo>
                        <a:pt x="661628" y="249463"/>
                      </a:lnTo>
                      <a:lnTo>
                        <a:pt x="658213" y="252682"/>
                      </a:lnTo>
                      <a:lnTo>
                        <a:pt x="655385" y="254826"/>
                      </a:lnTo>
                      <a:lnTo>
                        <a:pt x="653226" y="257589"/>
                      </a:lnTo>
                      <a:lnTo>
                        <a:pt x="651979" y="258583"/>
                      </a:lnTo>
                      <a:lnTo>
                        <a:pt x="649509" y="259650"/>
                      </a:lnTo>
                      <a:lnTo>
                        <a:pt x="648181" y="260213"/>
                      </a:lnTo>
                      <a:lnTo>
                        <a:pt x="645084" y="262674"/>
                      </a:lnTo>
                      <a:lnTo>
                        <a:pt x="642623" y="264866"/>
                      </a:lnTo>
                      <a:lnTo>
                        <a:pt x="640985" y="265486"/>
                      </a:lnTo>
                      <a:lnTo>
                        <a:pt x="639029" y="264899"/>
                      </a:lnTo>
                      <a:lnTo>
                        <a:pt x="637733" y="264728"/>
                      </a:lnTo>
                      <a:lnTo>
                        <a:pt x="633894" y="263872"/>
                      </a:lnTo>
                      <a:lnTo>
                        <a:pt x="631295" y="263766"/>
                      </a:lnTo>
                      <a:lnTo>
                        <a:pt x="627652" y="263220"/>
                      </a:lnTo>
                      <a:lnTo>
                        <a:pt x="619160" y="260661"/>
                      </a:lnTo>
                      <a:lnTo>
                        <a:pt x="616430" y="259463"/>
                      </a:lnTo>
                      <a:lnTo>
                        <a:pt x="614009" y="256187"/>
                      </a:lnTo>
                      <a:lnTo>
                        <a:pt x="611825" y="254532"/>
                      </a:lnTo>
                      <a:lnTo>
                        <a:pt x="608867" y="254361"/>
                      </a:lnTo>
                      <a:lnTo>
                        <a:pt x="604425" y="254369"/>
                      </a:lnTo>
                      <a:lnTo>
                        <a:pt x="602445" y="253709"/>
                      </a:lnTo>
                      <a:lnTo>
                        <a:pt x="599095" y="254320"/>
                      </a:lnTo>
                      <a:lnTo>
                        <a:pt x="595444" y="257637"/>
                      </a:lnTo>
                      <a:lnTo>
                        <a:pt x="593733" y="260107"/>
                      </a:lnTo>
                      <a:lnTo>
                        <a:pt x="592241" y="262633"/>
                      </a:lnTo>
                      <a:lnTo>
                        <a:pt x="590400" y="268028"/>
                      </a:lnTo>
                      <a:lnTo>
                        <a:pt x="589601" y="271639"/>
                      </a:lnTo>
                      <a:lnTo>
                        <a:pt x="588965" y="273676"/>
                      </a:lnTo>
                      <a:lnTo>
                        <a:pt x="587017" y="276903"/>
                      </a:lnTo>
                      <a:lnTo>
                        <a:pt x="586797" y="278713"/>
                      </a:lnTo>
                      <a:lnTo>
                        <a:pt x="587482" y="280286"/>
                      </a:lnTo>
                      <a:lnTo>
                        <a:pt x="588883" y="282054"/>
                      </a:lnTo>
                      <a:lnTo>
                        <a:pt x="589715" y="284833"/>
                      </a:lnTo>
                      <a:lnTo>
                        <a:pt x="591768" y="287791"/>
                      </a:lnTo>
                      <a:lnTo>
                        <a:pt x="593781" y="290090"/>
                      </a:lnTo>
                      <a:lnTo>
                        <a:pt x="597579" y="293790"/>
                      </a:lnTo>
                      <a:lnTo>
                        <a:pt x="598655" y="295737"/>
                      </a:lnTo>
                      <a:lnTo>
                        <a:pt x="599927" y="297962"/>
                      </a:lnTo>
                      <a:lnTo>
                        <a:pt x="600204" y="300138"/>
                      </a:lnTo>
                      <a:lnTo>
                        <a:pt x="599967" y="301564"/>
                      </a:lnTo>
                      <a:lnTo>
                        <a:pt x="598606" y="302648"/>
                      </a:lnTo>
                      <a:lnTo>
                        <a:pt x="595949" y="303194"/>
                      </a:lnTo>
                      <a:lnTo>
                        <a:pt x="594678" y="304702"/>
                      </a:lnTo>
                      <a:lnTo>
                        <a:pt x="592714" y="306707"/>
                      </a:lnTo>
                      <a:lnTo>
                        <a:pt x="590400" y="309038"/>
                      </a:lnTo>
                      <a:lnTo>
                        <a:pt x="589316" y="309152"/>
                      </a:lnTo>
                      <a:lnTo>
                        <a:pt x="588003" y="309771"/>
                      </a:lnTo>
                      <a:lnTo>
                        <a:pt x="581459" y="312656"/>
                      </a:lnTo>
                      <a:lnTo>
                        <a:pt x="578973" y="313455"/>
                      </a:lnTo>
                      <a:lnTo>
                        <a:pt x="577009" y="314400"/>
                      </a:lnTo>
                      <a:lnTo>
                        <a:pt x="574679" y="317334"/>
                      </a:lnTo>
                      <a:lnTo>
                        <a:pt x="572853" y="319510"/>
                      </a:lnTo>
                      <a:lnTo>
                        <a:pt x="570596" y="322395"/>
                      </a:lnTo>
                      <a:lnTo>
                        <a:pt x="569601" y="323667"/>
                      </a:lnTo>
                      <a:lnTo>
                        <a:pt x="567588" y="326552"/>
                      </a:lnTo>
                      <a:lnTo>
                        <a:pt x="564948" y="329852"/>
                      </a:lnTo>
                      <a:lnTo>
                        <a:pt x="563481" y="331613"/>
                      </a:lnTo>
                      <a:lnTo>
                        <a:pt x="562674" y="332664"/>
                      </a:lnTo>
                      <a:lnTo>
                        <a:pt x="561957" y="334049"/>
                      </a:lnTo>
                      <a:lnTo>
                        <a:pt x="559186" y="335117"/>
                      </a:lnTo>
                      <a:lnTo>
                        <a:pt x="556904" y="336250"/>
                      </a:lnTo>
                      <a:lnTo>
                        <a:pt x="553465" y="337945"/>
                      </a:lnTo>
                      <a:lnTo>
                        <a:pt x="548526" y="339819"/>
                      </a:lnTo>
                      <a:lnTo>
                        <a:pt x="544533" y="341637"/>
                      </a:lnTo>
                      <a:lnTo>
                        <a:pt x="541990" y="343128"/>
                      </a:lnTo>
                      <a:lnTo>
                        <a:pt x="538209" y="345011"/>
                      </a:lnTo>
                      <a:lnTo>
                        <a:pt x="535649" y="345614"/>
                      </a:lnTo>
                      <a:lnTo>
                        <a:pt x="530491" y="345540"/>
                      </a:lnTo>
                      <a:lnTo>
                        <a:pt x="524118" y="346021"/>
                      </a:lnTo>
                      <a:lnTo>
                        <a:pt x="519464" y="346380"/>
                      </a:lnTo>
                      <a:lnTo>
                        <a:pt x="515976" y="345924"/>
                      </a:lnTo>
                      <a:lnTo>
                        <a:pt x="510711" y="345671"/>
                      </a:lnTo>
                      <a:lnTo>
                        <a:pt x="506669" y="345304"/>
                      </a:lnTo>
                      <a:lnTo>
                        <a:pt x="503963" y="345997"/>
                      </a:lnTo>
                      <a:lnTo>
                        <a:pt x="497607" y="346738"/>
                      </a:lnTo>
                      <a:lnTo>
                        <a:pt x="496189" y="346901"/>
                      </a:lnTo>
                      <a:lnTo>
                        <a:pt x="484868" y="348686"/>
                      </a:lnTo>
                      <a:lnTo>
                        <a:pt x="479873" y="349640"/>
                      </a:lnTo>
                      <a:lnTo>
                        <a:pt x="475285" y="350072"/>
                      </a:lnTo>
                      <a:lnTo>
                        <a:pt x="471911" y="350764"/>
                      </a:lnTo>
                      <a:lnTo>
                        <a:pt x="470011" y="351628"/>
                      </a:lnTo>
                      <a:lnTo>
                        <a:pt x="467176" y="352875"/>
                      </a:lnTo>
                      <a:lnTo>
                        <a:pt x="465684" y="353421"/>
                      </a:lnTo>
                      <a:lnTo>
                        <a:pt x="460680" y="355866"/>
                      </a:lnTo>
                      <a:lnTo>
                        <a:pt x="449523" y="360903"/>
                      </a:lnTo>
                      <a:lnTo>
                        <a:pt x="442058" y="364986"/>
                      </a:lnTo>
                      <a:lnTo>
                        <a:pt x="440836" y="365687"/>
                      </a:lnTo>
                      <a:lnTo>
                        <a:pt x="435815" y="368555"/>
                      </a:lnTo>
                      <a:lnTo>
                        <a:pt x="432898" y="369680"/>
                      </a:lnTo>
                      <a:lnTo>
                        <a:pt x="430876" y="372247"/>
                      </a:lnTo>
                      <a:lnTo>
                        <a:pt x="429263" y="373869"/>
                      </a:lnTo>
                      <a:lnTo>
                        <a:pt x="427560" y="374570"/>
                      </a:lnTo>
                      <a:lnTo>
                        <a:pt x="424552" y="372915"/>
                      </a:lnTo>
                      <a:lnTo>
                        <a:pt x="422401" y="373005"/>
                      </a:lnTo>
                      <a:lnTo>
                        <a:pt x="415571" y="372402"/>
                      </a:lnTo>
                      <a:lnTo>
                        <a:pt x="415571" y="364921"/>
                      </a:lnTo>
                      <a:lnTo>
                        <a:pt x="410779" y="365980"/>
                      </a:lnTo>
                      <a:lnTo>
                        <a:pt x="403143" y="367667"/>
                      </a:lnTo>
                      <a:lnTo>
                        <a:pt x="396044" y="369232"/>
                      </a:lnTo>
                      <a:lnTo>
                        <a:pt x="389566" y="365646"/>
                      </a:lnTo>
                      <a:lnTo>
                        <a:pt x="384554" y="362875"/>
                      </a:lnTo>
                      <a:lnTo>
                        <a:pt x="380218" y="360495"/>
                      </a:lnTo>
                      <a:lnTo>
                        <a:pt x="373616" y="358906"/>
                      </a:lnTo>
                      <a:lnTo>
                        <a:pt x="367871" y="357537"/>
                      </a:lnTo>
                      <a:lnTo>
                        <a:pt x="357488" y="355255"/>
                      </a:lnTo>
                      <a:lnTo>
                        <a:pt x="352941" y="353275"/>
                      </a:lnTo>
                      <a:lnTo>
                        <a:pt x="350626" y="350642"/>
                      </a:lnTo>
                      <a:lnTo>
                        <a:pt x="346510" y="344668"/>
                      </a:lnTo>
                      <a:lnTo>
                        <a:pt x="345174" y="343487"/>
                      </a:lnTo>
                      <a:lnTo>
                        <a:pt x="343169" y="342680"/>
                      </a:lnTo>
                      <a:lnTo>
                        <a:pt x="341091" y="342158"/>
                      </a:lnTo>
                      <a:lnTo>
                        <a:pt x="336584" y="342183"/>
                      </a:lnTo>
                      <a:lnTo>
                        <a:pt x="331091" y="341718"/>
                      </a:lnTo>
                      <a:lnTo>
                        <a:pt x="323161" y="340463"/>
                      </a:lnTo>
                      <a:lnTo>
                        <a:pt x="316878" y="339461"/>
                      </a:lnTo>
                      <a:lnTo>
                        <a:pt x="306137" y="337603"/>
                      </a:lnTo>
                      <a:lnTo>
                        <a:pt x="303602" y="337374"/>
                      </a:lnTo>
                      <a:lnTo>
                        <a:pt x="297979" y="339029"/>
                      </a:lnTo>
                      <a:lnTo>
                        <a:pt x="290807" y="341140"/>
                      </a:lnTo>
                      <a:lnTo>
                        <a:pt x="277882" y="339485"/>
                      </a:lnTo>
                      <a:lnTo>
                        <a:pt x="272160" y="338703"/>
                      </a:lnTo>
                      <a:lnTo>
                        <a:pt x="260555" y="337122"/>
                      </a:lnTo>
                      <a:lnTo>
                        <a:pt x="247418" y="335337"/>
                      </a:lnTo>
                      <a:lnTo>
                        <a:pt x="234704" y="333495"/>
                      </a:lnTo>
                      <a:lnTo>
                        <a:pt x="225446" y="334514"/>
                      </a:lnTo>
                      <a:lnTo>
                        <a:pt x="220304" y="335076"/>
                      </a:lnTo>
                      <a:lnTo>
                        <a:pt x="214346" y="335891"/>
                      </a:lnTo>
                      <a:lnTo>
                        <a:pt x="213531" y="334978"/>
                      </a:lnTo>
                      <a:lnTo>
                        <a:pt x="213287" y="331441"/>
                      </a:lnTo>
                      <a:lnTo>
                        <a:pt x="212211" y="328695"/>
                      </a:lnTo>
                      <a:lnTo>
                        <a:pt x="208976" y="325720"/>
                      </a:lnTo>
                      <a:lnTo>
                        <a:pt x="206783" y="322900"/>
                      </a:lnTo>
                      <a:lnTo>
                        <a:pt x="202611" y="319078"/>
                      </a:lnTo>
                      <a:lnTo>
                        <a:pt x="201299" y="316674"/>
                      </a:lnTo>
                      <a:lnTo>
                        <a:pt x="200875" y="312941"/>
                      </a:lnTo>
                      <a:lnTo>
                        <a:pt x="197036" y="303203"/>
                      </a:lnTo>
                      <a:lnTo>
                        <a:pt x="194656" y="296618"/>
                      </a:lnTo>
                      <a:lnTo>
                        <a:pt x="194062" y="295273"/>
                      </a:lnTo>
                      <a:lnTo>
                        <a:pt x="193018" y="293129"/>
                      </a:lnTo>
                      <a:lnTo>
                        <a:pt x="191682" y="292005"/>
                      </a:lnTo>
                      <a:lnTo>
                        <a:pt x="188830" y="291320"/>
                      </a:lnTo>
                      <a:lnTo>
                        <a:pt x="188063" y="290155"/>
                      </a:lnTo>
                      <a:lnTo>
                        <a:pt x="188063" y="287873"/>
                      </a:lnTo>
                      <a:lnTo>
                        <a:pt x="188520" y="284711"/>
                      </a:lnTo>
                      <a:lnTo>
                        <a:pt x="189082" y="282404"/>
                      </a:lnTo>
                      <a:lnTo>
                        <a:pt x="188674" y="281826"/>
                      </a:lnTo>
                      <a:lnTo>
                        <a:pt x="181226" y="282478"/>
                      </a:lnTo>
                      <a:lnTo>
                        <a:pt x="176662" y="280946"/>
                      </a:lnTo>
                      <a:lnTo>
                        <a:pt x="172848" y="279291"/>
                      </a:lnTo>
                      <a:lnTo>
                        <a:pt x="167453" y="275037"/>
                      </a:lnTo>
                      <a:lnTo>
                        <a:pt x="164234" y="273399"/>
                      </a:lnTo>
                      <a:lnTo>
                        <a:pt x="160126" y="268998"/>
                      </a:lnTo>
                      <a:lnTo>
                        <a:pt x="154144" y="267963"/>
                      </a:lnTo>
                      <a:lnTo>
                        <a:pt x="151919" y="266235"/>
                      </a:lnTo>
                      <a:lnTo>
                        <a:pt x="149124" y="262462"/>
                      </a:lnTo>
                      <a:lnTo>
                        <a:pt x="146663" y="260042"/>
                      </a:lnTo>
                      <a:lnTo>
                        <a:pt x="143191" y="258518"/>
                      </a:lnTo>
                      <a:lnTo>
                        <a:pt x="137682" y="257157"/>
                      </a:lnTo>
                      <a:lnTo>
                        <a:pt x="128302" y="255869"/>
                      </a:lnTo>
                      <a:lnTo>
                        <a:pt x="125131" y="255323"/>
                      </a:lnTo>
                      <a:lnTo>
                        <a:pt x="119940" y="256187"/>
                      </a:lnTo>
                      <a:lnTo>
                        <a:pt x="116093" y="256260"/>
                      </a:lnTo>
                      <a:lnTo>
                        <a:pt x="109859" y="255339"/>
                      </a:lnTo>
                      <a:lnTo>
                        <a:pt x="106330" y="254174"/>
                      </a:lnTo>
                      <a:lnTo>
                        <a:pt x="101929" y="254133"/>
                      </a:lnTo>
                      <a:lnTo>
                        <a:pt x="99085" y="254157"/>
                      </a:lnTo>
                      <a:lnTo>
                        <a:pt x="95279" y="253889"/>
                      </a:lnTo>
                      <a:lnTo>
                        <a:pt x="93428" y="253131"/>
                      </a:lnTo>
                      <a:lnTo>
                        <a:pt x="91717" y="252185"/>
                      </a:lnTo>
                      <a:lnTo>
                        <a:pt x="88514" y="252422"/>
                      </a:lnTo>
                      <a:lnTo>
                        <a:pt x="86282" y="251501"/>
                      </a:lnTo>
                      <a:lnTo>
                        <a:pt x="84203" y="249765"/>
                      </a:lnTo>
                      <a:lnTo>
                        <a:pt x="82019" y="248942"/>
                      </a:lnTo>
                      <a:lnTo>
                        <a:pt x="79623" y="248991"/>
                      </a:lnTo>
                      <a:lnTo>
                        <a:pt x="78645" y="249765"/>
                      </a:lnTo>
                      <a:lnTo>
                        <a:pt x="77740" y="249691"/>
                      </a:lnTo>
                      <a:lnTo>
                        <a:pt x="77137" y="247344"/>
                      </a:lnTo>
                      <a:lnTo>
                        <a:pt x="74905" y="243555"/>
                      </a:lnTo>
                      <a:lnTo>
                        <a:pt x="74570" y="241851"/>
                      </a:lnTo>
                      <a:lnTo>
                        <a:pt x="73193" y="239895"/>
                      </a:lnTo>
                      <a:lnTo>
                        <a:pt x="72394" y="238111"/>
                      </a:lnTo>
                      <a:lnTo>
                        <a:pt x="72614" y="235658"/>
                      </a:lnTo>
                      <a:lnTo>
                        <a:pt x="73584" y="230874"/>
                      </a:lnTo>
                      <a:lnTo>
                        <a:pt x="75719" y="226546"/>
                      </a:lnTo>
                      <a:lnTo>
                        <a:pt x="77121" y="225413"/>
                      </a:lnTo>
                      <a:lnTo>
                        <a:pt x="77977" y="224142"/>
                      </a:lnTo>
                      <a:lnTo>
                        <a:pt x="79778" y="221901"/>
                      </a:lnTo>
                      <a:lnTo>
                        <a:pt x="80829" y="220100"/>
                      </a:lnTo>
                      <a:lnTo>
                        <a:pt x="80699" y="217655"/>
                      </a:lnTo>
                      <a:lnTo>
                        <a:pt x="79476" y="215104"/>
                      </a:lnTo>
                      <a:lnTo>
                        <a:pt x="78588" y="211795"/>
                      </a:lnTo>
                      <a:lnTo>
                        <a:pt x="78743" y="209904"/>
                      </a:lnTo>
                      <a:lnTo>
                        <a:pt x="80063" y="207639"/>
                      </a:lnTo>
                      <a:lnTo>
                        <a:pt x="81620" y="202643"/>
                      </a:lnTo>
                      <a:lnTo>
                        <a:pt x="81497" y="201331"/>
                      </a:lnTo>
                      <a:lnTo>
                        <a:pt x="80886" y="200271"/>
                      </a:lnTo>
                      <a:lnTo>
                        <a:pt x="80731" y="197949"/>
                      </a:lnTo>
                      <a:lnTo>
                        <a:pt x="80430" y="194827"/>
                      </a:lnTo>
                      <a:lnTo>
                        <a:pt x="78564" y="190052"/>
                      </a:lnTo>
                      <a:lnTo>
                        <a:pt x="77561" y="187517"/>
                      </a:lnTo>
                      <a:lnTo>
                        <a:pt x="75792" y="186433"/>
                      </a:lnTo>
                      <a:lnTo>
                        <a:pt x="73731" y="185765"/>
                      </a:lnTo>
                      <a:lnTo>
                        <a:pt x="71929" y="182326"/>
                      </a:lnTo>
                      <a:lnTo>
                        <a:pt x="69689" y="178275"/>
                      </a:lnTo>
                      <a:lnTo>
                        <a:pt x="68295" y="175741"/>
                      </a:lnTo>
                      <a:lnTo>
                        <a:pt x="67798" y="174184"/>
                      </a:lnTo>
                      <a:lnTo>
                        <a:pt x="67570" y="171356"/>
                      </a:lnTo>
                      <a:lnTo>
                        <a:pt x="66518" y="167925"/>
                      </a:lnTo>
                      <a:lnTo>
                        <a:pt x="65418" y="166051"/>
                      </a:lnTo>
                      <a:lnTo>
                        <a:pt x="64595" y="164600"/>
                      </a:lnTo>
                      <a:lnTo>
                        <a:pt x="64179" y="162522"/>
                      </a:lnTo>
                      <a:lnTo>
                        <a:pt x="63747" y="161764"/>
                      </a:lnTo>
                      <a:lnTo>
                        <a:pt x="60708" y="160843"/>
                      </a:lnTo>
                      <a:lnTo>
                        <a:pt x="58540" y="159295"/>
                      </a:lnTo>
                      <a:lnTo>
                        <a:pt x="57627" y="157208"/>
                      </a:lnTo>
                      <a:lnTo>
                        <a:pt x="57309" y="155529"/>
                      </a:lnTo>
                      <a:lnTo>
                        <a:pt x="56665" y="154560"/>
                      </a:lnTo>
                      <a:lnTo>
                        <a:pt x="54946" y="154242"/>
                      </a:lnTo>
                      <a:lnTo>
                        <a:pt x="53764" y="155741"/>
                      </a:lnTo>
                      <a:lnTo>
                        <a:pt x="51783" y="156507"/>
                      </a:lnTo>
                      <a:lnTo>
                        <a:pt x="50463" y="156369"/>
                      </a:lnTo>
                      <a:lnTo>
                        <a:pt x="49168" y="155456"/>
                      </a:lnTo>
                      <a:lnTo>
                        <a:pt x="48369" y="154503"/>
                      </a:lnTo>
                      <a:lnTo>
                        <a:pt x="47008" y="153427"/>
                      </a:lnTo>
                      <a:lnTo>
                        <a:pt x="45093" y="150020"/>
                      </a:lnTo>
                      <a:lnTo>
                        <a:pt x="43055" y="149124"/>
                      </a:lnTo>
                      <a:lnTo>
                        <a:pt x="39355" y="149279"/>
                      </a:lnTo>
                      <a:lnTo>
                        <a:pt x="36047" y="150852"/>
                      </a:lnTo>
                      <a:lnTo>
                        <a:pt x="34041" y="150607"/>
                      </a:lnTo>
                      <a:lnTo>
                        <a:pt x="32355" y="150077"/>
                      </a:lnTo>
                      <a:lnTo>
                        <a:pt x="30448" y="148374"/>
                      </a:lnTo>
                      <a:lnTo>
                        <a:pt x="29127" y="146972"/>
                      </a:lnTo>
                      <a:lnTo>
                        <a:pt x="27163" y="146516"/>
                      </a:lnTo>
                      <a:lnTo>
                        <a:pt x="23284" y="144046"/>
                      </a:lnTo>
                      <a:lnTo>
                        <a:pt x="20660" y="142262"/>
                      </a:lnTo>
                      <a:lnTo>
                        <a:pt x="20432" y="138765"/>
                      </a:lnTo>
                      <a:lnTo>
                        <a:pt x="19193" y="136353"/>
                      </a:lnTo>
                      <a:lnTo>
                        <a:pt x="16642" y="135677"/>
                      </a:lnTo>
                      <a:lnTo>
                        <a:pt x="14067" y="133199"/>
                      </a:lnTo>
                      <a:lnTo>
                        <a:pt x="10293" y="131863"/>
                      </a:lnTo>
                      <a:lnTo>
                        <a:pt x="7930" y="130828"/>
                      </a:lnTo>
                      <a:lnTo>
                        <a:pt x="5868" y="130208"/>
                      </a:lnTo>
                      <a:lnTo>
                        <a:pt x="5567" y="129279"/>
                      </a:lnTo>
                      <a:lnTo>
                        <a:pt x="5681" y="128472"/>
                      </a:lnTo>
                      <a:lnTo>
                        <a:pt x="6634" y="127136"/>
                      </a:lnTo>
                      <a:lnTo>
                        <a:pt x="7628" y="125889"/>
                      </a:lnTo>
                      <a:lnTo>
                        <a:pt x="7856" y="124732"/>
                      </a:lnTo>
                      <a:lnTo>
                        <a:pt x="7066" y="123705"/>
                      </a:lnTo>
                      <a:lnTo>
                        <a:pt x="4939" y="122637"/>
                      </a:lnTo>
                      <a:lnTo>
                        <a:pt x="2201" y="121675"/>
                      </a:lnTo>
                      <a:lnTo>
                        <a:pt x="1646" y="120086"/>
                      </a:lnTo>
                      <a:lnTo>
                        <a:pt x="0" y="118424"/>
                      </a:lnTo>
                      <a:lnTo>
                        <a:pt x="286" y="117095"/>
                      </a:lnTo>
                      <a:lnTo>
                        <a:pt x="1581" y="116117"/>
                      </a:lnTo>
                      <a:lnTo>
                        <a:pt x="2893" y="115400"/>
                      </a:lnTo>
                      <a:lnTo>
                        <a:pt x="3203" y="114145"/>
                      </a:lnTo>
                      <a:lnTo>
                        <a:pt x="2274" y="113004"/>
                      </a:lnTo>
                      <a:lnTo>
                        <a:pt x="1826" y="111252"/>
                      </a:lnTo>
                      <a:lnTo>
                        <a:pt x="2037" y="109948"/>
                      </a:lnTo>
                      <a:lnTo>
                        <a:pt x="1769" y="108277"/>
                      </a:lnTo>
                      <a:lnTo>
                        <a:pt x="1858" y="108294"/>
                      </a:lnTo>
                      <a:lnTo>
                        <a:pt x="4751" y="108204"/>
                      </a:lnTo>
                      <a:lnTo>
                        <a:pt x="6080" y="107389"/>
                      </a:lnTo>
                      <a:lnTo>
                        <a:pt x="7082" y="106199"/>
                      </a:lnTo>
                      <a:lnTo>
                        <a:pt x="9250" y="104879"/>
                      </a:lnTo>
                      <a:lnTo>
                        <a:pt x="9698" y="103347"/>
                      </a:lnTo>
                      <a:lnTo>
                        <a:pt x="9739" y="100339"/>
                      </a:lnTo>
                      <a:lnTo>
                        <a:pt x="11149" y="97789"/>
                      </a:lnTo>
                      <a:lnTo>
                        <a:pt x="14751" y="97031"/>
                      </a:lnTo>
                      <a:lnTo>
                        <a:pt x="16128" y="96656"/>
                      </a:lnTo>
                      <a:lnTo>
                        <a:pt x="17595" y="97023"/>
                      </a:lnTo>
                      <a:lnTo>
                        <a:pt x="19869" y="96664"/>
                      </a:lnTo>
                      <a:lnTo>
                        <a:pt x="22078" y="96533"/>
                      </a:lnTo>
                      <a:lnTo>
                        <a:pt x="23308" y="97324"/>
                      </a:lnTo>
                      <a:lnTo>
                        <a:pt x="24922" y="97992"/>
                      </a:lnTo>
                      <a:lnTo>
                        <a:pt x="27000" y="97911"/>
                      </a:lnTo>
                      <a:lnTo>
                        <a:pt x="27709" y="96705"/>
                      </a:lnTo>
                      <a:lnTo>
                        <a:pt x="27807" y="95042"/>
                      </a:lnTo>
                      <a:lnTo>
                        <a:pt x="28695" y="94602"/>
                      </a:lnTo>
                      <a:lnTo>
                        <a:pt x="29812" y="95767"/>
                      </a:lnTo>
                      <a:lnTo>
                        <a:pt x="30448" y="96631"/>
                      </a:lnTo>
                      <a:lnTo>
                        <a:pt x="31385" y="97023"/>
                      </a:lnTo>
                      <a:lnTo>
                        <a:pt x="33887" y="95979"/>
                      </a:lnTo>
                      <a:lnTo>
                        <a:pt x="35639" y="94871"/>
                      </a:lnTo>
                      <a:lnTo>
                        <a:pt x="36209" y="92565"/>
                      </a:lnTo>
                      <a:lnTo>
                        <a:pt x="37228" y="91424"/>
                      </a:lnTo>
                      <a:lnTo>
                        <a:pt x="38589" y="92002"/>
                      </a:lnTo>
                      <a:lnTo>
                        <a:pt x="40985" y="91986"/>
                      </a:lnTo>
                      <a:lnTo>
                        <a:pt x="42957" y="90201"/>
                      </a:lnTo>
                      <a:lnTo>
                        <a:pt x="45533" y="88783"/>
                      </a:lnTo>
                      <a:lnTo>
                        <a:pt x="47399" y="88139"/>
                      </a:lnTo>
                      <a:lnTo>
                        <a:pt x="47782" y="86941"/>
                      </a:lnTo>
                      <a:lnTo>
                        <a:pt x="46910" y="84284"/>
                      </a:lnTo>
                      <a:lnTo>
                        <a:pt x="47146" y="81383"/>
                      </a:lnTo>
                      <a:lnTo>
                        <a:pt x="49632" y="79737"/>
                      </a:lnTo>
                      <a:lnTo>
                        <a:pt x="52949" y="79541"/>
                      </a:lnTo>
                      <a:lnTo>
                        <a:pt x="55418" y="78425"/>
                      </a:lnTo>
                      <a:lnTo>
                        <a:pt x="56103" y="75328"/>
                      </a:lnTo>
                      <a:lnTo>
                        <a:pt x="57309" y="74431"/>
                      </a:lnTo>
                      <a:lnTo>
                        <a:pt x="58556" y="74081"/>
                      </a:lnTo>
                      <a:lnTo>
                        <a:pt x="61539" y="73592"/>
                      </a:lnTo>
                      <a:lnTo>
                        <a:pt x="63690" y="72337"/>
                      </a:lnTo>
                      <a:lnTo>
                        <a:pt x="65019" y="71767"/>
                      </a:lnTo>
                      <a:lnTo>
                        <a:pt x="68800" y="70063"/>
                      </a:lnTo>
                      <a:lnTo>
                        <a:pt x="72223" y="69737"/>
                      </a:lnTo>
                      <a:lnTo>
                        <a:pt x="73698" y="68384"/>
                      </a:lnTo>
                      <a:lnTo>
                        <a:pt x="74847" y="66681"/>
                      </a:lnTo>
                      <a:lnTo>
                        <a:pt x="76762" y="66037"/>
                      </a:lnTo>
                      <a:lnTo>
                        <a:pt x="78735" y="64562"/>
                      </a:lnTo>
                      <a:lnTo>
                        <a:pt x="81318" y="62680"/>
                      </a:lnTo>
                      <a:lnTo>
                        <a:pt x="82345" y="62419"/>
                      </a:lnTo>
                      <a:lnTo>
                        <a:pt x="86583" y="61335"/>
                      </a:lnTo>
                      <a:lnTo>
                        <a:pt x="88237" y="60927"/>
                      </a:lnTo>
                      <a:lnTo>
                        <a:pt x="89232" y="60683"/>
                      </a:lnTo>
                      <a:lnTo>
                        <a:pt x="91082" y="60764"/>
                      </a:lnTo>
                      <a:lnTo>
                        <a:pt x="91848" y="58776"/>
                      </a:lnTo>
                      <a:lnTo>
                        <a:pt x="93722" y="57317"/>
                      </a:lnTo>
                      <a:lnTo>
                        <a:pt x="95580" y="56828"/>
                      </a:lnTo>
                      <a:lnTo>
                        <a:pt x="96509" y="55377"/>
                      </a:lnTo>
                      <a:lnTo>
                        <a:pt x="98302" y="53527"/>
                      </a:lnTo>
                      <a:lnTo>
                        <a:pt x="100731" y="52500"/>
                      </a:lnTo>
                      <a:lnTo>
                        <a:pt x="104504" y="52346"/>
                      </a:lnTo>
                      <a:lnTo>
                        <a:pt x="108164" y="52558"/>
                      </a:lnTo>
                      <a:lnTo>
                        <a:pt x="110356" y="52240"/>
                      </a:lnTo>
                      <a:lnTo>
                        <a:pt x="112157" y="49501"/>
                      </a:lnTo>
                      <a:lnTo>
                        <a:pt x="112507" y="48149"/>
                      </a:lnTo>
                      <a:lnTo>
                        <a:pt x="112915" y="46763"/>
                      </a:lnTo>
                      <a:lnTo>
                        <a:pt x="114382" y="46242"/>
                      </a:lnTo>
                      <a:lnTo>
                        <a:pt x="116158" y="48475"/>
                      </a:lnTo>
                      <a:lnTo>
                        <a:pt x="117650" y="49876"/>
                      </a:lnTo>
                      <a:lnTo>
                        <a:pt x="119940" y="51335"/>
                      </a:lnTo>
                      <a:lnTo>
                        <a:pt x="121121" y="52688"/>
                      </a:lnTo>
                      <a:lnTo>
                        <a:pt x="122482" y="52875"/>
                      </a:lnTo>
                      <a:lnTo>
                        <a:pt x="123900" y="51865"/>
                      </a:lnTo>
                      <a:lnTo>
                        <a:pt x="124911" y="49379"/>
                      </a:lnTo>
                      <a:lnTo>
                        <a:pt x="126826" y="48996"/>
                      </a:lnTo>
                      <a:lnTo>
                        <a:pt x="128929" y="49387"/>
                      </a:lnTo>
                      <a:lnTo>
                        <a:pt x="129483" y="50618"/>
                      </a:lnTo>
                      <a:lnTo>
                        <a:pt x="129654" y="51808"/>
                      </a:lnTo>
                      <a:lnTo>
                        <a:pt x="130632" y="53927"/>
                      </a:lnTo>
                      <a:lnTo>
                        <a:pt x="132939" y="55785"/>
                      </a:lnTo>
                      <a:lnTo>
                        <a:pt x="135905" y="55687"/>
                      </a:lnTo>
                      <a:lnTo>
                        <a:pt x="137095" y="55361"/>
                      </a:lnTo>
                      <a:lnTo>
                        <a:pt x="139980" y="55614"/>
                      </a:lnTo>
                      <a:lnTo>
                        <a:pt x="142808" y="56029"/>
                      </a:lnTo>
                      <a:lnTo>
                        <a:pt x="145897" y="56453"/>
                      </a:lnTo>
                      <a:lnTo>
                        <a:pt x="146810" y="56526"/>
                      </a:lnTo>
                      <a:lnTo>
                        <a:pt x="150110" y="56755"/>
                      </a:lnTo>
                      <a:lnTo>
                        <a:pt x="154934" y="57064"/>
                      </a:lnTo>
                      <a:lnTo>
                        <a:pt x="157062" y="56926"/>
                      </a:lnTo>
                      <a:lnTo>
                        <a:pt x="161422" y="57521"/>
                      </a:lnTo>
                      <a:lnTo>
                        <a:pt x="162302" y="59175"/>
                      </a:lnTo>
                      <a:lnTo>
                        <a:pt x="163109" y="63063"/>
                      </a:lnTo>
                      <a:lnTo>
                        <a:pt x="163794" y="66779"/>
                      </a:lnTo>
                      <a:lnTo>
                        <a:pt x="163981" y="69762"/>
                      </a:lnTo>
                      <a:lnTo>
                        <a:pt x="165114" y="71294"/>
                      </a:lnTo>
                      <a:lnTo>
                        <a:pt x="166556" y="71807"/>
                      </a:lnTo>
                      <a:lnTo>
                        <a:pt x="167510" y="73005"/>
                      </a:lnTo>
                      <a:lnTo>
                        <a:pt x="169196" y="74643"/>
                      </a:lnTo>
                      <a:lnTo>
                        <a:pt x="170436" y="76982"/>
                      </a:lnTo>
                      <a:lnTo>
                        <a:pt x="171943" y="76827"/>
                      </a:lnTo>
                      <a:lnTo>
                        <a:pt x="173003" y="76273"/>
                      </a:lnTo>
                      <a:lnTo>
                        <a:pt x="175317" y="76094"/>
                      </a:lnTo>
                      <a:lnTo>
                        <a:pt x="178267" y="76257"/>
                      </a:lnTo>
                      <a:lnTo>
                        <a:pt x="180305" y="77553"/>
                      </a:lnTo>
                      <a:lnTo>
                        <a:pt x="181095" y="79256"/>
                      </a:lnTo>
                      <a:lnTo>
                        <a:pt x="182758" y="80201"/>
                      </a:lnTo>
                      <a:lnTo>
                        <a:pt x="184111" y="79900"/>
                      </a:lnTo>
                      <a:lnTo>
                        <a:pt x="188161" y="79884"/>
                      </a:lnTo>
                      <a:lnTo>
                        <a:pt x="189555" y="79998"/>
                      </a:lnTo>
                      <a:lnTo>
                        <a:pt x="190948" y="80927"/>
                      </a:lnTo>
                      <a:lnTo>
                        <a:pt x="192953" y="81082"/>
                      </a:lnTo>
                      <a:lnTo>
                        <a:pt x="194062" y="79900"/>
                      </a:lnTo>
                      <a:lnTo>
                        <a:pt x="197541" y="79093"/>
                      </a:lnTo>
                      <a:lnTo>
                        <a:pt x="199571" y="77398"/>
                      </a:lnTo>
                      <a:lnTo>
                        <a:pt x="201119" y="77373"/>
                      </a:lnTo>
                      <a:lnTo>
                        <a:pt x="202293" y="78197"/>
                      </a:lnTo>
                      <a:lnTo>
                        <a:pt x="203206" y="79305"/>
                      </a:lnTo>
                      <a:lnTo>
                        <a:pt x="204534" y="78816"/>
                      </a:lnTo>
                      <a:lnTo>
                        <a:pt x="205259" y="77895"/>
                      </a:lnTo>
                      <a:lnTo>
                        <a:pt x="206416" y="77895"/>
                      </a:lnTo>
                      <a:lnTo>
                        <a:pt x="207566" y="78490"/>
                      </a:lnTo>
                      <a:lnTo>
                        <a:pt x="210483" y="79517"/>
                      </a:lnTo>
                      <a:lnTo>
                        <a:pt x="212602" y="81457"/>
                      </a:lnTo>
                      <a:lnTo>
                        <a:pt x="214248" y="81636"/>
                      </a:lnTo>
                      <a:lnTo>
                        <a:pt x="216359" y="81074"/>
                      </a:lnTo>
                      <a:lnTo>
                        <a:pt x="217337" y="80813"/>
                      </a:lnTo>
                      <a:lnTo>
                        <a:pt x="218267" y="81766"/>
                      </a:lnTo>
                      <a:lnTo>
                        <a:pt x="219635" y="82280"/>
                      </a:lnTo>
                      <a:lnTo>
                        <a:pt x="220662" y="81571"/>
                      </a:lnTo>
                      <a:lnTo>
                        <a:pt x="222447" y="81074"/>
                      </a:lnTo>
                      <a:lnTo>
                        <a:pt x="229244" y="82125"/>
                      </a:lnTo>
                      <a:lnTo>
                        <a:pt x="230809" y="84048"/>
                      </a:lnTo>
                      <a:lnTo>
                        <a:pt x="232015" y="84953"/>
                      </a:lnTo>
                      <a:lnTo>
                        <a:pt x="232993" y="86526"/>
                      </a:lnTo>
                      <a:lnTo>
                        <a:pt x="234769" y="87650"/>
                      </a:lnTo>
                      <a:lnTo>
                        <a:pt x="238518" y="87267"/>
                      </a:lnTo>
                      <a:lnTo>
                        <a:pt x="239969" y="86110"/>
                      </a:lnTo>
                      <a:lnTo>
                        <a:pt x="243001" y="83567"/>
                      </a:lnTo>
                      <a:lnTo>
                        <a:pt x="244215" y="81074"/>
                      </a:lnTo>
                      <a:lnTo>
                        <a:pt x="245739" y="80267"/>
                      </a:lnTo>
                      <a:lnTo>
                        <a:pt x="247467" y="79867"/>
                      </a:lnTo>
                      <a:lnTo>
                        <a:pt x="249072" y="79867"/>
                      </a:lnTo>
                      <a:lnTo>
                        <a:pt x="250767" y="79794"/>
                      </a:lnTo>
                      <a:lnTo>
                        <a:pt x="252821" y="77968"/>
                      </a:lnTo>
                      <a:lnTo>
                        <a:pt x="254500" y="77325"/>
                      </a:lnTo>
                      <a:lnTo>
                        <a:pt x="256961" y="75010"/>
                      </a:lnTo>
                      <a:lnTo>
                        <a:pt x="257426" y="73967"/>
                      </a:lnTo>
                      <a:lnTo>
                        <a:pt x="258616" y="71261"/>
                      </a:lnTo>
                      <a:lnTo>
                        <a:pt x="259357" y="69542"/>
                      </a:lnTo>
                      <a:lnTo>
                        <a:pt x="260612" y="66820"/>
                      </a:lnTo>
                      <a:lnTo>
                        <a:pt x="261280" y="62411"/>
                      </a:lnTo>
                      <a:lnTo>
                        <a:pt x="261648" y="60063"/>
                      </a:lnTo>
                      <a:lnTo>
                        <a:pt x="261321" y="58368"/>
                      </a:lnTo>
                      <a:lnTo>
                        <a:pt x="259862" y="57496"/>
                      </a:lnTo>
                      <a:lnTo>
                        <a:pt x="257996" y="57081"/>
                      </a:lnTo>
                      <a:lnTo>
                        <a:pt x="256358" y="55785"/>
                      </a:lnTo>
                      <a:lnTo>
                        <a:pt x="255144" y="54293"/>
                      </a:lnTo>
                      <a:lnTo>
                        <a:pt x="254426" y="52183"/>
                      </a:lnTo>
                      <a:lnTo>
                        <a:pt x="253449" y="49730"/>
                      </a:lnTo>
                      <a:lnTo>
                        <a:pt x="253506" y="47945"/>
                      </a:lnTo>
                      <a:lnTo>
                        <a:pt x="253221" y="46576"/>
                      </a:lnTo>
                      <a:lnTo>
                        <a:pt x="252405" y="45394"/>
                      </a:lnTo>
                      <a:lnTo>
                        <a:pt x="250825" y="43332"/>
                      </a:lnTo>
                      <a:lnTo>
                        <a:pt x="250067" y="41800"/>
                      </a:lnTo>
                      <a:lnTo>
                        <a:pt x="250319" y="39347"/>
                      </a:lnTo>
                      <a:lnTo>
                        <a:pt x="252177" y="35174"/>
                      </a:lnTo>
                      <a:lnTo>
                        <a:pt x="252365" y="33235"/>
                      </a:lnTo>
                      <a:lnTo>
                        <a:pt x="252585" y="32028"/>
                      </a:lnTo>
                      <a:lnTo>
                        <a:pt x="252487" y="30928"/>
                      </a:lnTo>
                      <a:lnTo>
                        <a:pt x="253074" y="28426"/>
                      </a:lnTo>
                      <a:lnTo>
                        <a:pt x="254125" y="27375"/>
                      </a:lnTo>
                      <a:lnTo>
                        <a:pt x="255331" y="24685"/>
                      </a:lnTo>
                      <a:lnTo>
                        <a:pt x="256953" y="23447"/>
                      </a:lnTo>
                      <a:lnTo>
                        <a:pt x="258982" y="23365"/>
                      </a:lnTo>
                      <a:lnTo>
                        <a:pt x="259846" y="22632"/>
                      </a:lnTo>
                      <a:lnTo>
                        <a:pt x="260278" y="19942"/>
                      </a:lnTo>
                      <a:lnTo>
                        <a:pt x="261272" y="17872"/>
                      </a:lnTo>
                      <a:lnTo>
                        <a:pt x="261916" y="16405"/>
                      </a:lnTo>
                      <a:lnTo>
                        <a:pt x="263147" y="14800"/>
                      </a:lnTo>
                      <a:lnTo>
                        <a:pt x="270278" y="11711"/>
                      </a:lnTo>
                      <a:lnTo>
                        <a:pt x="273244" y="7864"/>
                      </a:lnTo>
                      <a:lnTo>
                        <a:pt x="274304" y="5917"/>
                      </a:lnTo>
                      <a:lnTo>
                        <a:pt x="275445" y="1752"/>
                      </a:lnTo>
                      <a:lnTo>
                        <a:pt x="276545" y="0"/>
                      </a:lnTo>
                      <a:lnTo>
                        <a:pt x="278159" y="570"/>
                      </a:lnTo>
                      <a:lnTo>
                        <a:pt x="280041" y="3040"/>
                      </a:lnTo>
                      <a:lnTo>
                        <a:pt x="281467" y="3056"/>
                      </a:lnTo>
                      <a:lnTo>
                        <a:pt x="283570" y="4393"/>
                      </a:lnTo>
                      <a:lnTo>
                        <a:pt x="289291" y="7180"/>
                      </a:lnTo>
                      <a:lnTo>
                        <a:pt x="292405" y="8060"/>
                      </a:lnTo>
                      <a:lnTo>
                        <a:pt x="294393" y="8329"/>
                      </a:lnTo>
                      <a:lnTo>
                        <a:pt x="297033" y="9103"/>
                      </a:lnTo>
                      <a:lnTo>
                        <a:pt x="298737" y="10733"/>
                      </a:lnTo>
                      <a:lnTo>
                        <a:pt x="302053" y="13398"/>
                      </a:lnTo>
                      <a:lnTo>
                        <a:pt x="304857" y="14083"/>
                      </a:lnTo>
                      <a:lnTo>
                        <a:pt x="309714" y="14343"/>
                      </a:lnTo>
                      <a:lnTo>
                        <a:pt x="315623" y="14490"/>
                      </a:lnTo>
                      <a:lnTo>
                        <a:pt x="317302" y="14955"/>
                      </a:lnTo>
                      <a:lnTo>
                        <a:pt x="321629" y="16870"/>
                      </a:lnTo>
                      <a:lnTo>
                        <a:pt x="326422" y="18989"/>
                      </a:lnTo>
                      <a:lnTo>
                        <a:pt x="330912" y="20880"/>
                      </a:lnTo>
                      <a:lnTo>
                        <a:pt x="334335" y="22346"/>
                      </a:lnTo>
                      <a:lnTo>
                        <a:pt x="336356" y="23773"/>
                      </a:lnTo>
                      <a:lnTo>
                        <a:pt x="338255" y="24588"/>
                      </a:lnTo>
                      <a:lnTo>
                        <a:pt x="340325" y="23887"/>
                      </a:lnTo>
                      <a:lnTo>
                        <a:pt x="342965" y="24050"/>
                      </a:lnTo>
                      <a:lnTo>
                        <a:pt x="349176" y="25745"/>
                      </a:lnTo>
                      <a:lnTo>
                        <a:pt x="353087" y="27187"/>
                      </a:lnTo>
                      <a:lnTo>
                        <a:pt x="356372" y="28239"/>
                      </a:lnTo>
                      <a:lnTo>
                        <a:pt x="357464" y="29706"/>
                      </a:lnTo>
                      <a:lnTo>
                        <a:pt x="357570" y="31653"/>
                      </a:lnTo>
                      <a:lnTo>
                        <a:pt x="357130" y="33300"/>
                      </a:lnTo>
                      <a:lnTo>
                        <a:pt x="357382" y="37293"/>
                      </a:lnTo>
                      <a:lnTo>
                        <a:pt x="358426" y="39388"/>
                      </a:lnTo>
                      <a:lnTo>
                        <a:pt x="358817" y="42191"/>
                      </a:lnTo>
                      <a:lnTo>
                        <a:pt x="359216" y="44872"/>
                      </a:lnTo>
                      <a:lnTo>
                        <a:pt x="358939" y="47513"/>
                      </a:lnTo>
                      <a:lnTo>
                        <a:pt x="359436" y="48923"/>
                      </a:lnTo>
                      <a:lnTo>
                        <a:pt x="360463" y="49746"/>
                      </a:lnTo>
                      <a:lnTo>
                        <a:pt x="361457" y="51588"/>
                      </a:lnTo>
                      <a:lnTo>
                        <a:pt x="361131" y="53527"/>
                      </a:lnTo>
                      <a:lnTo>
                        <a:pt x="360691" y="54660"/>
                      </a:lnTo>
                      <a:lnTo>
                        <a:pt x="360756" y="56469"/>
                      </a:lnTo>
                      <a:lnTo>
                        <a:pt x="361954" y="57969"/>
                      </a:lnTo>
                      <a:lnTo>
                        <a:pt x="363698" y="58262"/>
                      </a:lnTo>
                      <a:lnTo>
                        <a:pt x="365247" y="58645"/>
                      </a:lnTo>
                      <a:lnTo>
                        <a:pt x="367162" y="61001"/>
                      </a:lnTo>
                      <a:lnTo>
                        <a:pt x="370552" y="63715"/>
                      </a:lnTo>
                      <a:lnTo>
                        <a:pt x="372598" y="64472"/>
                      </a:lnTo>
                      <a:lnTo>
                        <a:pt x="374937" y="65687"/>
                      </a:lnTo>
                      <a:lnTo>
                        <a:pt x="379395" y="66885"/>
                      </a:lnTo>
                      <a:lnTo>
                        <a:pt x="382410" y="67243"/>
                      </a:lnTo>
                      <a:lnTo>
                        <a:pt x="384203" y="68205"/>
                      </a:lnTo>
                      <a:lnTo>
                        <a:pt x="385955" y="70544"/>
                      </a:lnTo>
                      <a:lnTo>
                        <a:pt x="388848" y="71025"/>
                      </a:lnTo>
                      <a:lnTo>
                        <a:pt x="390707" y="71832"/>
                      </a:lnTo>
                      <a:lnTo>
                        <a:pt x="394097" y="72793"/>
                      </a:lnTo>
                      <a:lnTo>
                        <a:pt x="396346" y="72239"/>
                      </a:lnTo>
                      <a:lnTo>
                        <a:pt x="398318" y="71424"/>
                      </a:lnTo>
                      <a:lnTo>
                        <a:pt x="399638" y="71579"/>
                      </a:lnTo>
                      <a:lnTo>
                        <a:pt x="402190" y="72117"/>
                      </a:lnTo>
                      <a:lnTo>
                        <a:pt x="405172" y="72223"/>
                      </a:lnTo>
                      <a:lnTo>
                        <a:pt x="407666" y="71669"/>
                      </a:lnTo>
                      <a:lnTo>
                        <a:pt x="409663" y="70022"/>
                      </a:lnTo>
                      <a:lnTo>
                        <a:pt x="411994" y="67798"/>
                      </a:lnTo>
                      <a:lnTo>
                        <a:pt x="414781" y="66673"/>
                      </a:lnTo>
                      <a:lnTo>
                        <a:pt x="418000" y="66274"/>
                      </a:lnTo>
                      <a:lnTo>
                        <a:pt x="420217" y="65377"/>
                      </a:lnTo>
                      <a:lnTo>
                        <a:pt x="427437" y="63869"/>
                      </a:lnTo>
                      <a:lnTo>
                        <a:pt x="430363" y="63617"/>
                      </a:lnTo>
                      <a:lnTo>
                        <a:pt x="432629" y="62166"/>
                      </a:lnTo>
                      <a:lnTo>
                        <a:pt x="434625" y="61033"/>
                      </a:lnTo>
                      <a:lnTo>
                        <a:pt x="437527" y="60552"/>
                      </a:lnTo>
                      <a:lnTo>
                        <a:pt x="441439" y="61734"/>
                      </a:lnTo>
                      <a:lnTo>
                        <a:pt x="445188" y="62728"/>
                      </a:lnTo>
                      <a:lnTo>
                        <a:pt x="449719" y="63046"/>
                      </a:lnTo>
                      <a:lnTo>
                        <a:pt x="452726" y="64415"/>
                      </a:lnTo>
                      <a:lnTo>
                        <a:pt x="454853" y="65719"/>
                      </a:lnTo>
                      <a:lnTo>
                        <a:pt x="458219" y="66738"/>
                      </a:lnTo>
                      <a:lnTo>
                        <a:pt x="461960" y="66257"/>
                      </a:lnTo>
                      <a:lnTo>
                        <a:pt x="467070" y="65850"/>
                      </a:lnTo>
                      <a:lnTo>
                        <a:pt x="470460" y="66445"/>
                      </a:lnTo>
                      <a:lnTo>
                        <a:pt x="473989" y="68792"/>
                      </a:lnTo>
                      <a:lnTo>
                        <a:pt x="476157" y="70683"/>
                      </a:lnTo>
                      <a:lnTo>
                        <a:pt x="478618" y="74700"/>
                      </a:lnTo>
                      <a:lnTo>
                        <a:pt x="481161" y="76648"/>
                      </a:lnTo>
                      <a:lnTo>
                        <a:pt x="483401" y="78237"/>
                      </a:lnTo>
                      <a:lnTo>
                        <a:pt x="486229" y="78335"/>
                      </a:lnTo>
                      <a:lnTo>
                        <a:pt x="493263" y="78466"/>
                      </a:lnTo>
                      <a:lnTo>
                        <a:pt x="497134" y="79305"/>
                      </a:lnTo>
                      <a:lnTo>
                        <a:pt x="500353" y="79753"/>
                      </a:lnTo>
                      <a:lnTo>
                        <a:pt x="501127" y="80593"/>
                      </a:lnTo>
                      <a:lnTo>
                        <a:pt x="500793" y="83347"/>
                      </a:lnTo>
                      <a:lnTo>
                        <a:pt x="500907" y="87292"/>
                      </a:lnTo>
                      <a:lnTo>
                        <a:pt x="500850" y="89101"/>
                      </a:lnTo>
                      <a:lnTo>
                        <a:pt x="501567" y="90462"/>
                      </a:lnTo>
                      <a:lnTo>
                        <a:pt x="502651" y="90706"/>
                      </a:lnTo>
                      <a:lnTo>
                        <a:pt x="503262" y="92622"/>
                      </a:lnTo>
                      <a:lnTo>
                        <a:pt x="504844" y="93763"/>
                      </a:lnTo>
                      <a:lnTo>
                        <a:pt x="507712" y="95132"/>
                      </a:lnTo>
                      <a:lnTo>
                        <a:pt x="512512" y="99802"/>
                      </a:lnTo>
                      <a:lnTo>
                        <a:pt x="515373" y="101790"/>
                      </a:lnTo>
                      <a:lnTo>
                        <a:pt x="517647" y="102467"/>
                      </a:lnTo>
                      <a:lnTo>
                        <a:pt x="520597" y="102002"/>
                      </a:lnTo>
                      <a:lnTo>
                        <a:pt x="525234" y="102010"/>
                      </a:lnTo>
                      <a:lnTo>
                        <a:pt x="533082" y="102026"/>
                      </a:lnTo>
                      <a:lnTo>
                        <a:pt x="538469" y="103420"/>
                      </a:lnTo>
                      <a:lnTo>
                        <a:pt x="540327" y="104382"/>
                      </a:lnTo>
                      <a:lnTo>
                        <a:pt x="545829" y="105490"/>
                      </a:lnTo>
                      <a:lnTo>
                        <a:pt x="551892" y="106713"/>
                      </a:lnTo>
                      <a:lnTo>
                        <a:pt x="556985" y="107984"/>
                      </a:lnTo>
                      <a:lnTo>
                        <a:pt x="560001" y="106338"/>
                      </a:lnTo>
                      <a:lnTo>
                        <a:pt x="562641" y="106191"/>
                      </a:lnTo>
                      <a:lnTo>
                        <a:pt x="565160" y="107381"/>
                      </a:lnTo>
                      <a:lnTo>
                        <a:pt x="567670" y="109174"/>
                      </a:lnTo>
                      <a:lnTo>
                        <a:pt x="569626" y="108978"/>
                      </a:lnTo>
                      <a:lnTo>
                        <a:pt x="572560" y="108139"/>
                      </a:lnTo>
                      <a:lnTo>
                        <a:pt x="581883" y="103135"/>
                      </a:lnTo>
                      <a:lnTo>
                        <a:pt x="585176" y="101269"/>
                      </a:lnTo>
                      <a:lnTo>
                        <a:pt x="587474" y="101749"/>
                      </a:lnTo>
                      <a:lnTo>
                        <a:pt x="589519" y="101081"/>
                      </a:lnTo>
                      <a:lnTo>
                        <a:pt x="591084" y="100527"/>
                      </a:lnTo>
                      <a:lnTo>
                        <a:pt x="595069" y="99745"/>
                      </a:lnTo>
                      <a:lnTo>
                        <a:pt x="597498" y="99541"/>
                      </a:lnTo>
                      <a:lnTo>
                        <a:pt x="600008" y="99084"/>
                      </a:lnTo>
                      <a:lnTo>
                        <a:pt x="603602" y="98783"/>
                      </a:lnTo>
                      <a:lnTo>
                        <a:pt x="610945" y="95507"/>
                      </a:lnTo>
                      <a:lnTo>
                        <a:pt x="613912" y="94863"/>
                      </a:lnTo>
                      <a:lnTo>
                        <a:pt x="618915" y="95776"/>
                      </a:lnTo>
                      <a:lnTo>
                        <a:pt x="621621" y="95181"/>
                      </a:lnTo>
                      <a:lnTo>
                        <a:pt x="624319" y="93526"/>
                      </a:lnTo>
                      <a:lnTo>
                        <a:pt x="627799" y="91815"/>
                      </a:lnTo>
                      <a:lnTo>
                        <a:pt x="628711" y="89044"/>
                      </a:lnTo>
                      <a:lnTo>
                        <a:pt x="630496" y="85238"/>
                      </a:lnTo>
                      <a:lnTo>
                        <a:pt x="634343" y="82426"/>
                      </a:lnTo>
                      <a:lnTo>
                        <a:pt x="637480" y="79981"/>
                      </a:lnTo>
                      <a:lnTo>
                        <a:pt x="640675" y="77594"/>
                      </a:lnTo>
                      <a:lnTo>
                        <a:pt x="644595" y="75613"/>
                      </a:lnTo>
                      <a:lnTo>
                        <a:pt x="648287" y="74171"/>
                      </a:lnTo>
                      <a:lnTo>
                        <a:pt x="652981" y="70373"/>
                      </a:lnTo>
                      <a:lnTo>
                        <a:pt x="656730" y="68466"/>
                      </a:lnTo>
                      <a:lnTo>
                        <a:pt x="658596" y="67838"/>
                      </a:lnTo>
                      <a:lnTo>
                        <a:pt x="660813" y="68531"/>
                      </a:lnTo>
                      <a:lnTo>
                        <a:pt x="664978" y="69045"/>
                      </a:lnTo>
                      <a:lnTo>
                        <a:pt x="667977" y="68882"/>
                      </a:lnTo>
                      <a:lnTo>
                        <a:pt x="669664" y="69322"/>
                      </a:lnTo>
                      <a:lnTo>
                        <a:pt x="673054" y="71172"/>
                      </a:lnTo>
                      <a:lnTo>
                        <a:pt x="676110" y="72793"/>
                      </a:lnTo>
                      <a:lnTo>
                        <a:pt x="678465" y="75686"/>
                      </a:lnTo>
                      <a:lnTo>
                        <a:pt x="682850" y="79712"/>
                      </a:lnTo>
                      <a:lnTo>
                        <a:pt x="685083" y="81065"/>
                      </a:lnTo>
                      <a:lnTo>
                        <a:pt x="686680" y="81620"/>
                      </a:lnTo>
                      <a:lnTo>
                        <a:pt x="690617" y="82003"/>
                      </a:lnTo>
                      <a:lnTo>
                        <a:pt x="693836" y="82206"/>
                      </a:lnTo>
                      <a:lnTo>
                        <a:pt x="695759" y="81277"/>
                      </a:lnTo>
                      <a:lnTo>
                        <a:pt x="699003" y="79598"/>
                      </a:lnTo>
                      <a:lnTo>
                        <a:pt x="704169" y="77463"/>
                      </a:lnTo>
                      <a:lnTo>
                        <a:pt x="706207" y="77512"/>
                      </a:lnTo>
                      <a:lnTo>
                        <a:pt x="709540" y="78653"/>
                      </a:lnTo>
                      <a:lnTo>
                        <a:pt x="714503" y="80756"/>
                      </a:lnTo>
                      <a:lnTo>
                        <a:pt x="716500" y="82329"/>
                      </a:lnTo>
                      <a:close/>
                    </a:path>
                  </a:pathLst>
                </a:custGeom>
                <a:solidFill>
                  <a:srgbClr val="D6D6D2"/>
                </a:solidFill>
                <a:ln w="6112" cap="rnd">
                  <a:solidFill>
                    <a:srgbClr val="FFFFFF"/>
                  </a:solidFill>
                  <a:prstDash val="solid"/>
                  <a:round/>
                </a:ln>
              </p:spPr>
              <p:txBody>
                <a:bodyPr rtlCol="0" anchor="ctr"/>
                <a:lstStyle/>
                <a:p>
                  <a:endParaRPr lang="en-US"/>
                </a:p>
              </p:txBody>
            </p:sp>
            <p:sp>
              <p:nvSpPr>
                <p:cNvPr id="678" name="Freeform: Shape 677">
                  <a:extLst>
                    <a:ext uri="{FF2B5EF4-FFF2-40B4-BE49-F238E27FC236}">
                      <a16:creationId xmlns:a16="http://schemas.microsoft.com/office/drawing/2014/main" id="{8AFD97D1-BAA1-4B9B-9D3B-66393B2DABBD}"/>
                    </a:ext>
                  </a:extLst>
                </p:cNvPr>
                <p:cNvSpPr/>
                <p:nvPr/>
              </p:nvSpPr>
              <p:spPr>
                <a:xfrm>
                  <a:off x="6400897" y="3154298"/>
                  <a:ext cx="47399" cy="57757"/>
                </a:xfrm>
                <a:custGeom>
                  <a:avLst/>
                  <a:gdLst>
                    <a:gd name="connsiteX0" fmla="*/ 18801 w 47399"/>
                    <a:gd name="connsiteY0" fmla="*/ 318 h 57757"/>
                    <a:gd name="connsiteX1" fmla="*/ 18728 w 47399"/>
                    <a:gd name="connsiteY1" fmla="*/ 750 h 57757"/>
                    <a:gd name="connsiteX2" fmla="*/ 18850 w 47399"/>
                    <a:gd name="connsiteY2" fmla="*/ 1989 h 57757"/>
                    <a:gd name="connsiteX3" fmla="*/ 19396 w 47399"/>
                    <a:gd name="connsiteY3" fmla="*/ 3211 h 57757"/>
                    <a:gd name="connsiteX4" fmla="*/ 21369 w 47399"/>
                    <a:gd name="connsiteY4" fmla="*/ 4458 h 57757"/>
                    <a:gd name="connsiteX5" fmla="*/ 24262 w 47399"/>
                    <a:gd name="connsiteY5" fmla="*/ 6927 h 57757"/>
                    <a:gd name="connsiteX6" fmla="*/ 27652 w 47399"/>
                    <a:gd name="connsiteY6" fmla="*/ 11450 h 57757"/>
                    <a:gd name="connsiteX7" fmla="*/ 29217 w 47399"/>
                    <a:gd name="connsiteY7" fmla="*/ 12795 h 57757"/>
                    <a:gd name="connsiteX8" fmla="*/ 30611 w 47399"/>
                    <a:gd name="connsiteY8" fmla="*/ 13121 h 57757"/>
                    <a:gd name="connsiteX9" fmla="*/ 33349 w 47399"/>
                    <a:gd name="connsiteY9" fmla="*/ 14995 h 57757"/>
                    <a:gd name="connsiteX10" fmla="*/ 35248 w 47399"/>
                    <a:gd name="connsiteY10" fmla="*/ 15452 h 57757"/>
                    <a:gd name="connsiteX11" fmla="*/ 37383 w 47399"/>
                    <a:gd name="connsiteY11" fmla="*/ 15974 h 57757"/>
                    <a:gd name="connsiteX12" fmla="*/ 42941 w 47399"/>
                    <a:gd name="connsiteY12" fmla="*/ 19885 h 57757"/>
                    <a:gd name="connsiteX13" fmla="*/ 45443 w 47399"/>
                    <a:gd name="connsiteY13" fmla="*/ 21026 h 57757"/>
                    <a:gd name="connsiteX14" fmla="*/ 47203 w 47399"/>
                    <a:gd name="connsiteY14" fmla="*/ 22501 h 57757"/>
                    <a:gd name="connsiteX15" fmla="*/ 47399 w 47399"/>
                    <a:gd name="connsiteY15" fmla="*/ 23887 h 57757"/>
                    <a:gd name="connsiteX16" fmla="*/ 47318 w 47399"/>
                    <a:gd name="connsiteY16" fmla="*/ 24743 h 57757"/>
                    <a:gd name="connsiteX17" fmla="*/ 44115 w 47399"/>
                    <a:gd name="connsiteY17" fmla="*/ 25745 h 57757"/>
                    <a:gd name="connsiteX18" fmla="*/ 43552 w 47399"/>
                    <a:gd name="connsiteY18" fmla="*/ 27269 h 57757"/>
                    <a:gd name="connsiteX19" fmla="*/ 42004 w 47399"/>
                    <a:gd name="connsiteY19" fmla="*/ 27098 h 57757"/>
                    <a:gd name="connsiteX20" fmla="*/ 40121 w 47399"/>
                    <a:gd name="connsiteY20" fmla="*/ 27090 h 57757"/>
                    <a:gd name="connsiteX21" fmla="*/ 39510 w 47399"/>
                    <a:gd name="connsiteY21" fmla="*/ 28060 h 57757"/>
                    <a:gd name="connsiteX22" fmla="*/ 40406 w 47399"/>
                    <a:gd name="connsiteY22" fmla="*/ 29649 h 57757"/>
                    <a:gd name="connsiteX23" fmla="*/ 40985 w 47399"/>
                    <a:gd name="connsiteY23" fmla="*/ 31523 h 57757"/>
                    <a:gd name="connsiteX24" fmla="*/ 40520 w 47399"/>
                    <a:gd name="connsiteY24" fmla="*/ 34090 h 57757"/>
                    <a:gd name="connsiteX25" fmla="*/ 40358 w 47399"/>
                    <a:gd name="connsiteY25" fmla="*/ 34433 h 57757"/>
                    <a:gd name="connsiteX26" fmla="*/ 39910 w 47399"/>
                    <a:gd name="connsiteY26" fmla="*/ 34335 h 57757"/>
                    <a:gd name="connsiteX27" fmla="*/ 37261 w 47399"/>
                    <a:gd name="connsiteY27" fmla="*/ 35826 h 57757"/>
                    <a:gd name="connsiteX28" fmla="*/ 35296 w 47399"/>
                    <a:gd name="connsiteY28" fmla="*/ 36527 h 57757"/>
                    <a:gd name="connsiteX29" fmla="*/ 33520 w 47399"/>
                    <a:gd name="connsiteY29" fmla="*/ 36877 h 57757"/>
                    <a:gd name="connsiteX30" fmla="*/ 32688 w 47399"/>
                    <a:gd name="connsiteY30" fmla="*/ 36169 h 57757"/>
                    <a:gd name="connsiteX31" fmla="*/ 32265 w 47399"/>
                    <a:gd name="connsiteY31" fmla="*/ 35191 h 57757"/>
                    <a:gd name="connsiteX32" fmla="*/ 32346 w 47399"/>
                    <a:gd name="connsiteY32" fmla="*/ 32371 h 57757"/>
                    <a:gd name="connsiteX33" fmla="*/ 32037 w 47399"/>
                    <a:gd name="connsiteY33" fmla="*/ 31417 h 57757"/>
                    <a:gd name="connsiteX34" fmla="*/ 31426 w 47399"/>
                    <a:gd name="connsiteY34" fmla="*/ 30961 h 57757"/>
                    <a:gd name="connsiteX35" fmla="*/ 30211 w 47399"/>
                    <a:gd name="connsiteY35" fmla="*/ 31621 h 57757"/>
                    <a:gd name="connsiteX36" fmla="*/ 28793 w 47399"/>
                    <a:gd name="connsiteY36" fmla="*/ 33797 h 57757"/>
                    <a:gd name="connsiteX37" fmla="*/ 27481 w 47399"/>
                    <a:gd name="connsiteY37" fmla="*/ 36340 h 57757"/>
                    <a:gd name="connsiteX38" fmla="*/ 25509 w 47399"/>
                    <a:gd name="connsiteY38" fmla="*/ 38980 h 57757"/>
                    <a:gd name="connsiteX39" fmla="*/ 23887 w 47399"/>
                    <a:gd name="connsiteY39" fmla="*/ 41507 h 57757"/>
                    <a:gd name="connsiteX40" fmla="*/ 22143 w 47399"/>
                    <a:gd name="connsiteY40" fmla="*/ 44693 h 57757"/>
                    <a:gd name="connsiteX41" fmla="*/ 20937 w 47399"/>
                    <a:gd name="connsiteY41" fmla="*/ 47326 h 57757"/>
                    <a:gd name="connsiteX42" fmla="*/ 22183 w 47399"/>
                    <a:gd name="connsiteY42" fmla="*/ 48817 h 57757"/>
                    <a:gd name="connsiteX43" fmla="*/ 22942 w 47399"/>
                    <a:gd name="connsiteY43" fmla="*/ 50879 h 57757"/>
                    <a:gd name="connsiteX44" fmla="*/ 22705 w 47399"/>
                    <a:gd name="connsiteY44" fmla="*/ 52435 h 57757"/>
                    <a:gd name="connsiteX45" fmla="*/ 22934 w 47399"/>
                    <a:gd name="connsiteY45" fmla="*/ 53340 h 57757"/>
                    <a:gd name="connsiteX46" fmla="*/ 22542 w 47399"/>
                    <a:gd name="connsiteY46" fmla="*/ 56046 h 57757"/>
                    <a:gd name="connsiteX47" fmla="*/ 22469 w 47399"/>
                    <a:gd name="connsiteY47" fmla="*/ 57757 h 57757"/>
                    <a:gd name="connsiteX48" fmla="*/ 18598 w 47399"/>
                    <a:gd name="connsiteY48" fmla="*/ 55019 h 57757"/>
                    <a:gd name="connsiteX49" fmla="*/ 17009 w 47399"/>
                    <a:gd name="connsiteY49" fmla="*/ 51180 h 57757"/>
                    <a:gd name="connsiteX50" fmla="*/ 11361 w 47399"/>
                    <a:gd name="connsiteY50" fmla="*/ 44685 h 57757"/>
                    <a:gd name="connsiteX51" fmla="*/ 4874 w 47399"/>
                    <a:gd name="connsiteY51" fmla="*/ 40260 h 57757"/>
                    <a:gd name="connsiteX52" fmla="*/ 4531 w 47399"/>
                    <a:gd name="connsiteY52" fmla="*/ 39559 h 57757"/>
                    <a:gd name="connsiteX53" fmla="*/ 4882 w 47399"/>
                    <a:gd name="connsiteY53" fmla="*/ 38703 h 57757"/>
                    <a:gd name="connsiteX54" fmla="*/ 5200 w 47399"/>
                    <a:gd name="connsiteY54" fmla="*/ 38027 h 57757"/>
                    <a:gd name="connsiteX55" fmla="*/ 3847 w 47399"/>
                    <a:gd name="connsiteY55" fmla="*/ 37978 h 57757"/>
                    <a:gd name="connsiteX56" fmla="*/ 2901 w 47399"/>
                    <a:gd name="connsiteY56" fmla="*/ 38524 h 57757"/>
                    <a:gd name="connsiteX57" fmla="*/ 2005 w 47399"/>
                    <a:gd name="connsiteY57" fmla="*/ 38369 h 57757"/>
                    <a:gd name="connsiteX58" fmla="*/ 986 w 47399"/>
                    <a:gd name="connsiteY58" fmla="*/ 36706 h 57757"/>
                    <a:gd name="connsiteX59" fmla="*/ 41 w 47399"/>
                    <a:gd name="connsiteY59" fmla="*/ 35264 h 57757"/>
                    <a:gd name="connsiteX60" fmla="*/ 0 w 47399"/>
                    <a:gd name="connsiteY60" fmla="*/ 34001 h 57757"/>
                    <a:gd name="connsiteX61" fmla="*/ 432 w 47399"/>
                    <a:gd name="connsiteY61" fmla="*/ 33830 h 57757"/>
                    <a:gd name="connsiteX62" fmla="*/ 1084 w 47399"/>
                    <a:gd name="connsiteY62" fmla="*/ 33324 h 57757"/>
                    <a:gd name="connsiteX63" fmla="*/ 2445 w 47399"/>
                    <a:gd name="connsiteY63" fmla="*/ 31914 h 57757"/>
                    <a:gd name="connsiteX64" fmla="*/ 2706 w 47399"/>
                    <a:gd name="connsiteY64" fmla="*/ 31173 h 57757"/>
                    <a:gd name="connsiteX65" fmla="*/ 2641 w 47399"/>
                    <a:gd name="connsiteY65" fmla="*/ 30048 h 57757"/>
                    <a:gd name="connsiteX66" fmla="*/ 734 w 47399"/>
                    <a:gd name="connsiteY66" fmla="*/ 26487 h 57757"/>
                    <a:gd name="connsiteX67" fmla="*/ 465 w 47399"/>
                    <a:gd name="connsiteY67" fmla="*/ 24188 h 57757"/>
                    <a:gd name="connsiteX68" fmla="*/ 180 w 47399"/>
                    <a:gd name="connsiteY68" fmla="*/ 19885 h 57757"/>
                    <a:gd name="connsiteX69" fmla="*/ 578 w 47399"/>
                    <a:gd name="connsiteY69" fmla="*/ 18867 h 57757"/>
                    <a:gd name="connsiteX70" fmla="*/ 1288 w 47399"/>
                    <a:gd name="connsiteY70" fmla="*/ 18378 h 57757"/>
                    <a:gd name="connsiteX71" fmla="*/ 4629 w 47399"/>
                    <a:gd name="connsiteY71" fmla="*/ 17840 h 57757"/>
                    <a:gd name="connsiteX72" fmla="*/ 4597 w 47399"/>
                    <a:gd name="connsiteY72" fmla="*/ 14482 h 57757"/>
                    <a:gd name="connsiteX73" fmla="*/ 4792 w 47399"/>
                    <a:gd name="connsiteY73" fmla="*/ 13480 h 57757"/>
                    <a:gd name="connsiteX74" fmla="*/ 5460 w 47399"/>
                    <a:gd name="connsiteY74" fmla="*/ 12086 h 57757"/>
                    <a:gd name="connsiteX75" fmla="*/ 5892 w 47399"/>
                    <a:gd name="connsiteY75" fmla="*/ 10798 h 57757"/>
                    <a:gd name="connsiteX76" fmla="*/ 7759 w 47399"/>
                    <a:gd name="connsiteY76" fmla="*/ 8981 h 57757"/>
                    <a:gd name="connsiteX77" fmla="*/ 10285 w 47399"/>
                    <a:gd name="connsiteY77" fmla="*/ 6805 h 57757"/>
                    <a:gd name="connsiteX78" fmla="*/ 11385 w 47399"/>
                    <a:gd name="connsiteY78" fmla="*/ 6732 h 57757"/>
                    <a:gd name="connsiteX79" fmla="*/ 12363 w 47399"/>
                    <a:gd name="connsiteY79" fmla="*/ 7041 h 57757"/>
                    <a:gd name="connsiteX80" fmla="*/ 13447 w 47399"/>
                    <a:gd name="connsiteY80" fmla="*/ 8916 h 57757"/>
                    <a:gd name="connsiteX81" fmla="*/ 14637 w 47399"/>
                    <a:gd name="connsiteY81" fmla="*/ 8671 h 57757"/>
                    <a:gd name="connsiteX82" fmla="*/ 14881 w 47399"/>
                    <a:gd name="connsiteY82" fmla="*/ 6414 h 57757"/>
                    <a:gd name="connsiteX83" fmla="*/ 13325 w 47399"/>
                    <a:gd name="connsiteY83" fmla="*/ 3472 h 57757"/>
                    <a:gd name="connsiteX84" fmla="*/ 12485 w 47399"/>
                    <a:gd name="connsiteY84" fmla="*/ 1581 h 57757"/>
                    <a:gd name="connsiteX85" fmla="*/ 12754 w 47399"/>
                    <a:gd name="connsiteY85" fmla="*/ 546 h 57757"/>
                    <a:gd name="connsiteX86" fmla="*/ 13333 w 47399"/>
                    <a:gd name="connsiteY86" fmla="*/ 0 h 57757"/>
                    <a:gd name="connsiteX87" fmla="*/ 14678 w 47399"/>
                    <a:gd name="connsiteY87" fmla="*/ 342 h 57757"/>
                    <a:gd name="connsiteX88" fmla="*/ 15957 w 47399"/>
                    <a:gd name="connsiteY88" fmla="*/ 856 h 57757"/>
                    <a:gd name="connsiteX89" fmla="*/ 16772 w 47399"/>
                    <a:gd name="connsiteY89" fmla="*/ 513 h 57757"/>
                    <a:gd name="connsiteX90" fmla="*/ 18043 w 47399"/>
                    <a:gd name="connsiteY90" fmla="*/ 244 h 57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47399" h="57757">
                      <a:moveTo>
                        <a:pt x="18801" y="318"/>
                      </a:moveTo>
                      <a:lnTo>
                        <a:pt x="18728" y="750"/>
                      </a:lnTo>
                      <a:lnTo>
                        <a:pt x="18850" y="1989"/>
                      </a:lnTo>
                      <a:lnTo>
                        <a:pt x="19396" y="3211"/>
                      </a:lnTo>
                      <a:lnTo>
                        <a:pt x="21369" y="4458"/>
                      </a:lnTo>
                      <a:lnTo>
                        <a:pt x="24262" y="6927"/>
                      </a:lnTo>
                      <a:lnTo>
                        <a:pt x="27652" y="11450"/>
                      </a:lnTo>
                      <a:lnTo>
                        <a:pt x="29217" y="12795"/>
                      </a:lnTo>
                      <a:lnTo>
                        <a:pt x="30611" y="13121"/>
                      </a:lnTo>
                      <a:lnTo>
                        <a:pt x="33349" y="14995"/>
                      </a:lnTo>
                      <a:lnTo>
                        <a:pt x="35248" y="15452"/>
                      </a:lnTo>
                      <a:lnTo>
                        <a:pt x="37383" y="15974"/>
                      </a:lnTo>
                      <a:lnTo>
                        <a:pt x="42941" y="19885"/>
                      </a:lnTo>
                      <a:lnTo>
                        <a:pt x="45443" y="21026"/>
                      </a:lnTo>
                      <a:lnTo>
                        <a:pt x="47203" y="22501"/>
                      </a:lnTo>
                      <a:lnTo>
                        <a:pt x="47399" y="23887"/>
                      </a:lnTo>
                      <a:lnTo>
                        <a:pt x="47318" y="24743"/>
                      </a:lnTo>
                      <a:lnTo>
                        <a:pt x="44115" y="25745"/>
                      </a:lnTo>
                      <a:lnTo>
                        <a:pt x="43552" y="27269"/>
                      </a:lnTo>
                      <a:lnTo>
                        <a:pt x="42004" y="27098"/>
                      </a:lnTo>
                      <a:lnTo>
                        <a:pt x="40121" y="27090"/>
                      </a:lnTo>
                      <a:lnTo>
                        <a:pt x="39510" y="28060"/>
                      </a:lnTo>
                      <a:lnTo>
                        <a:pt x="40406" y="29649"/>
                      </a:lnTo>
                      <a:lnTo>
                        <a:pt x="40985" y="31523"/>
                      </a:lnTo>
                      <a:lnTo>
                        <a:pt x="40520" y="34090"/>
                      </a:lnTo>
                      <a:lnTo>
                        <a:pt x="40358" y="34433"/>
                      </a:lnTo>
                      <a:lnTo>
                        <a:pt x="39910" y="34335"/>
                      </a:lnTo>
                      <a:lnTo>
                        <a:pt x="37261" y="35826"/>
                      </a:lnTo>
                      <a:lnTo>
                        <a:pt x="35296" y="36527"/>
                      </a:lnTo>
                      <a:lnTo>
                        <a:pt x="33520" y="36877"/>
                      </a:lnTo>
                      <a:lnTo>
                        <a:pt x="32688" y="36169"/>
                      </a:lnTo>
                      <a:lnTo>
                        <a:pt x="32265" y="35191"/>
                      </a:lnTo>
                      <a:lnTo>
                        <a:pt x="32346" y="32371"/>
                      </a:lnTo>
                      <a:lnTo>
                        <a:pt x="32037" y="31417"/>
                      </a:lnTo>
                      <a:lnTo>
                        <a:pt x="31426" y="30961"/>
                      </a:lnTo>
                      <a:lnTo>
                        <a:pt x="30211" y="31621"/>
                      </a:lnTo>
                      <a:lnTo>
                        <a:pt x="28793" y="33797"/>
                      </a:lnTo>
                      <a:lnTo>
                        <a:pt x="27481" y="36340"/>
                      </a:lnTo>
                      <a:lnTo>
                        <a:pt x="25509" y="38980"/>
                      </a:lnTo>
                      <a:lnTo>
                        <a:pt x="23887" y="41507"/>
                      </a:lnTo>
                      <a:lnTo>
                        <a:pt x="22143" y="44693"/>
                      </a:lnTo>
                      <a:lnTo>
                        <a:pt x="20937" y="47326"/>
                      </a:lnTo>
                      <a:lnTo>
                        <a:pt x="22183" y="48817"/>
                      </a:lnTo>
                      <a:lnTo>
                        <a:pt x="22942" y="50879"/>
                      </a:lnTo>
                      <a:lnTo>
                        <a:pt x="22705" y="52435"/>
                      </a:lnTo>
                      <a:lnTo>
                        <a:pt x="22934" y="53340"/>
                      </a:lnTo>
                      <a:lnTo>
                        <a:pt x="22542" y="56046"/>
                      </a:lnTo>
                      <a:lnTo>
                        <a:pt x="22469" y="57757"/>
                      </a:lnTo>
                      <a:lnTo>
                        <a:pt x="18598" y="55019"/>
                      </a:lnTo>
                      <a:lnTo>
                        <a:pt x="17009" y="51180"/>
                      </a:lnTo>
                      <a:lnTo>
                        <a:pt x="11361" y="44685"/>
                      </a:lnTo>
                      <a:lnTo>
                        <a:pt x="4874" y="40260"/>
                      </a:lnTo>
                      <a:lnTo>
                        <a:pt x="4531" y="39559"/>
                      </a:lnTo>
                      <a:lnTo>
                        <a:pt x="4882" y="38703"/>
                      </a:lnTo>
                      <a:lnTo>
                        <a:pt x="5200" y="38027"/>
                      </a:lnTo>
                      <a:lnTo>
                        <a:pt x="3847" y="37978"/>
                      </a:lnTo>
                      <a:lnTo>
                        <a:pt x="2901" y="38524"/>
                      </a:lnTo>
                      <a:lnTo>
                        <a:pt x="2005" y="38369"/>
                      </a:lnTo>
                      <a:lnTo>
                        <a:pt x="986" y="36706"/>
                      </a:lnTo>
                      <a:lnTo>
                        <a:pt x="41" y="35264"/>
                      </a:lnTo>
                      <a:lnTo>
                        <a:pt x="0" y="34001"/>
                      </a:lnTo>
                      <a:lnTo>
                        <a:pt x="432" y="33830"/>
                      </a:lnTo>
                      <a:lnTo>
                        <a:pt x="1084" y="33324"/>
                      </a:lnTo>
                      <a:lnTo>
                        <a:pt x="2445" y="31914"/>
                      </a:lnTo>
                      <a:lnTo>
                        <a:pt x="2706" y="31173"/>
                      </a:lnTo>
                      <a:lnTo>
                        <a:pt x="2641" y="30048"/>
                      </a:lnTo>
                      <a:lnTo>
                        <a:pt x="734" y="26487"/>
                      </a:lnTo>
                      <a:lnTo>
                        <a:pt x="465" y="24188"/>
                      </a:lnTo>
                      <a:lnTo>
                        <a:pt x="180" y="19885"/>
                      </a:lnTo>
                      <a:lnTo>
                        <a:pt x="578" y="18867"/>
                      </a:lnTo>
                      <a:lnTo>
                        <a:pt x="1288" y="18378"/>
                      </a:lnTo>
                      <a:lnTo>
                        <a:pt x="4629" y="17840"/>
                      </a:lnTo>
                      <a:lnTo>
                        <a:pt x="4597" y="14482"/>
                      </a:lnTo>
                      <a:lnTo>
                        <a:pt x="4792" y="13480"/>
                      </a:lnTo>
                      <a:lnTo>
                        <a:pt x="5460" y="12086"/>
                      </a:lnTo>
                      <a:lnTo>
                        <a:pt x="5892" y="10798"/>
                      </a:lnTo>
                      <a:lnTo>
                        <a:pt x="7759" y="8981"/>
                      </a:lnTo>
                      <a:lnTo>
                        <a:pt x="10285" y="6805"/>
                      </a:lnTo>
                      <a:lnTo>
                        <a:pt x="11385" y="6732"/>
                      </a:lnTo>
                      <a:lnTo>
                        <a:pt x="12363" y="7041"/>
                      </a:lnTo>
                      <a:lnTo>
                        <a:pt x="13447" y="8916"/>
                      </a:lnTo>
                      <a:lnTo>
                        <a:pt x="14637" y="8671"/>
                      </a:lnTo>
                      <a:lnTo>
                        <a:pt x="14881" y="6414"/>
                      </a:lnTo>
                      <a:lnTo>
                        <a:pt x="13325" y="3472"/>
                      </a:lnTo>
                      <a:lnTo>
                        <a:pt x="12485" y="1581"/>
                      </a:lnTo>
                      <a:lnTo>
                        <a:pt x="12754" y="546"/>
                      </a:lnTo>
                      <a:lnTo>
                        <a:pt x="13333" y="0"/>
                      </a:lnTo>
                      <a:lnTo>
                        <a:pt x="14678" y="342"/>
                      </a:lnTo>
                      <a:lnTo>
                        <a:pt x="15957" y="856"/>
                      </a:lnTo>
                      <a:lnTo>
                        <a:pt x="16772" y="513"/>
                      </a:lnTo>
                      <a:lnTo>
                        <a:pt x="18043" y="244"/>
                      </a:lnTo>
                      <a:close/>
                    </a:path>
                  </a:pathLst>
                </a:custGeom>
                <a:solidFill>
                  <a:srgbClr val="D6D6D2"/>
                </a:solidFill>
                <a:ln w="6112" cap="rnd">
                  <a:solidFill>
                    <a:srgbClr val="FFFFFF"/>
                  </a:solidFill>
                  <a:prstDash val="solid"/>
                  <a:round/>
                </a:ln>
              </p:spPr>
              <p:txBody>
                <a:bodyPr rtlCol="0" anchor="ctr"/>
                <a:lstStyle/>
                <a:p>
                  <a:endParaRPr lang="en-US"/>
                </a:p>
              </p:txBody>
            </p:sp>
            <p:sp>
              <p:nvSpPr>
                <p:cNvPr id="679" name="Freeform: Shape 678">
                  <a:extLst>
                    <a:ext uri="{FF2B5EF4-FFF2-40B4-BE49-F238E27FC236}">
                      <a16:creationId xmlns:a16="http://schemas.microsoft.com/office/drawing/2014/main" id="{DAD79A86-5DDE-4B10-A1FB-74656F60275D}"/>
                    </a:ext>
                  </a:extLst>
                </p:cNvPr>
                <p:cNvSpPr/>
                <p:nvPr/>
              </p:nvSpPr>
              <p:spPr>
                <a:xfrm>
                  <a:off x="8229958" y="3652638"/>
                  <a:ext cx="222406" cy="570660"/>
                </a:xfrm>
                <a:custGeom>
                  <a:avLst/>
                  <a:gdLst>
                    <a:gd name="connsiteX0" fmla="*/ 137600 w 222406"/>
                    <a:gd name="connsiteY0" fmla="*/ 3521 h 570660"/>
                    <a:gd name="connsiteX1" fmla="*/ 138570 w 222406"/>
                    <a:gd name="connsiteY1" fmla="*/ 5143 h 570660"/>
                    <a:gd name="connsiteX2" fmla="*/ 139744 w 222406"/>
                    <a:gd name="connsiteY2" fmla="*/ 5143 h 570660"/>
                    <a:gd name="connsiteX3" fmla="*/ 140949 w 222406"/>
                    <a:gd name="connsiteY3" fmla="*/ 4914 h 570660"/>
                    <a:gd name="connsiteX4" fmla="*/ 141504 w 222406"/>
                    <a:gd name="connsiteY4" fmla="*/ 5134 h 570660"/>
                    <a:gd name="connsiteX5" fmla="*/ 142661 w 222406"/>
                    <a:gd name="connsiteY5" fmla="*/ 6495 h 570660"/>
                    <a:gd name="connsiteX6" fmla="*/ 144845 w 222406"/>
                    <a:gd name="connsiteY6" fmla="*/ 9755 h 570660"/>
                    <a:gd name="connsiteX7" fmla="*/ 145823 w 222406"/>
                    <a:gd name="connsiteY7" fmla="*/ 10570 h 570660"/>
                    <a:gd name="connsiteX8" fmla="*/ 146752 w 222406"/>
                    <a:gd name="connsiteY8" fmla="*/ 11956 h 570660"/>
                    <a:gd name="connsiteX9" fmla="*/ 147233 w 222406"/>
                    <a:gd name="connsiteY9" fmla="*/ 14727 h 570660"/>
                    <a:gd name="connsiteX10" fmla="*/ 147535 w 222406"/>
                    <a:gd name="connsiteY10" fmla="*/ 17514 h 570660"/>
                    <a:gd name="connsiteX11" fmla="*/ 150273 w 222406"/>
                    <a:gd name="connsiteY11" fmla="*/ 27187 h 570660"/>
                    <a:gd name="connsiteX12" fmla="*/ 151104 w 222406"/>
                    <a:gd name="connsiteY12" fmla="*/ 29225 h 570660"/>
                    <a:gd name="connsiteX13" fmla="*/ 151716 w 222406"/>
                    <a:gd name="connsiteY13" fmla="*/ 30773 h 570660"/>
                    <a:gd name="connsiteX14" fmla="*/ 152995 w 222406"/>
                    <a:gd name="connsiteY14" fmla="*/ 31156 h 570660"/>
                    <a:gd name="connsiteX15" fmla="*/ 154030 w 222406"/>
                    <a:gd name="connsiteY15" fmla="*/ 29600 h 570660"/>
                    <a:gd name="connsiteX16" fmla="*/ 154438 w 222406"/>
                    <a:gd name="connsiteY16" fmla="*/ 27937 h 570660"/>
                    <a:gd name="connsiteX17" fmla="*/ 155521 w 222406"/>
                    <a:gd name="connsiteY17" fmla="*/ 27375 h 570660"/>
                    <a:gd name="connsiteX18" fmla="*/ 156817 w 222406"/>
                    <a:gd name="connsiteY18" fmla="*/ 27676 h 570660"/>
                    <a:gd name="connsiteX19" fmla="*/ 159172 w 222406"/>
                    <a:gd name="connsiteY19" fmla="*/ 29225 h 570660"/>
                    <a:gd name="connsiteX20" fmla="*/ 160452 w 222406"/>
                    <a:gd name="connsiteY20" fmla="*/ 30064 h 570660"/>
                    <a:gd name="connsiteX21" fmla="*/ 161080 w 222406"/>
                    <a:gd name="connsiteY21" fmla="*/ 34840 h 570660"/>
                    <a:gd name="connsiteX22" fmla="*/ 161226 w 222406"/>
                    <a:gd name="connsiteY22" fmla="*/ 40447 h 570660"/>
                    <a:gd name="connsiteX23" fmla="*/ 161039 w 222406"/>
                    <a:gd name="connsiteY23" fmla="*/ 42175 h 570660"/>
                    <a:gd name="connsiteX24" fmla="*/ 162074 w 222406"/>
                    <a:gd name="connsiteY24" fmla="*/ 46796 h 570660"/>
                    <a:gd name="connsiteX25" fmla="*/ 162400 w 222406"/>
                    <a:gd name="connsiteY25" fmla="*/ 52101 h 570660"/>
                    <a:gd name="connsiteX26" fmla="*/ 162620 w 222406"/>
                    <a:gd name="connsiteY26" fmla="*/ 54995 h 570660"/>
                    <a:gd name="connsiteX27" fmla="*/ 162636 w 222406"/>
                    <a:gd name="connsiteY27" fmla="*/ 57765 h 570660"/>
                    <a:gd name="connsiteX28" fmla="*/ 162465 w 222406"/>
                    <a:gd name="connsiteY28" fmla="*/ 61400 h 570660"/>
                    <a:gd name="connsiteX29" fmla="*/ 161903 w 222406"/>
                    <a:gd name="connsiteY29" fmla="*/ 66257 h 570660"/>
                    <a:gd name="connsiteX30" fmla="*/ 160982 w 222406"/>
                    <a:gd name="connsiteY30" fmla="*/ 70397 h 570660"/>
                    <a:gd name="connsiteX31" fmla="*/ 161316 w 222406"/>
                    <a:gd name="connsiteY31" fmla="*/ 73845 h 570660"/>
                    <a:gd name="connsiteX32" fmla="*/ 160762 w 222406"/>
                    <a:gd name="connsiteY32" fmla="*/ 75418 h 570660"/>
                    <a:gd name="connsiteX33" fmla="*/ 158504 w 222406"/>
                    <a:gd name="connsiteY33" fmla="*/ 76224 h 570660"/>
                    <a:gd name="connsiteX34" fmla="*/ 158308 w 222406"/>
                    <a:gd name="connsiteY34" fmla="*/ 77545 h 570660"/>
                    <a:gd name="connsiteX35" fmla="*/ 158977 w 222406"/>
                    <a:gd name="connsiteY35" fmla="*/ 79713 h 570660"/>
                    <a:gd name="connsiteX36" fmla="*/ 160558 w 222406"/>
                    <a:gd name="connsiteY36" fmla="*/ 82418 h 570660"/>
                    <a:gd name="connsiteX37" fmla="*/ 160599 w 222406"/>
                    <a:gd name="connsiteY37" fmla="*/ 84130 h 570660"/>
                    <a:gd name="connsiteX38" fmla="*/ 159833 w 222406"/>
                    <a:gd name="connsiteY38" fmla="*/ 85295 h 570660"/>
                    <a:gd name="connsiteX39" fmla="*/ 158170 w 222406"/>
                    <a:gd name="connsiteY39" fmla="*/ 85409 h 570660"/>
                    <a:gd name="connsiteX40" fmla="*/ 155872 w 222406"/>
                    <a:gd name="connsiteY40" fmla="*/ 86485 h 570660"/>
                    <a:gd name="connsiteX41" fmla="*/ 154283 w 222406"/>
                    <a:gd name="connsiteY41" fmla="*/ 89981 h 570660"/>
                    <a:gd name="connsiteX42" fmla="*/ 152596 w 222406"/>
                    <a:gd name="connsiteY42" fmla="*/ 92858 h 570660"/>
                    <a:gd name="connsiteX43" fmla="*/ 151675 w 222406"/>
                    <a:gd name="connsiteY43" fmla="*/ 93420 h 570660"/>
                    <a:gd name="connsiteX44" fmla="*/ 148602 w 222406"/>
                    <a:gd name="connsiteY44" fmla="*/ 92614 h 570660"/>
                    <a:gd name="connsiteX45" fmla="*/ 147861 w 222406"/>
                    <a:gd name="connsiteY45" fmla="*/ 93355 h 570660"/>
                    <a:gd name="connsiteX46" fmla="*/ 146785 w 222406"/>
                    <a:gd name="connsiteY46" fmla="*/ 98245 h 570660"/>
                    <a:gd name="connsiteX47" fmla="*/ 145921 w 222406"/>
                    <a:gd name="connsiteY47" fmla="*/ 100348 h 570660"/>
                    <a:gd name="connsiteX48" fmla="*/ 144593 w 222406"/>
                    <a:gd name="connsiteY48" fmla="*/ 102124 h 570660"/>
                    <a:gd name="connsiteX49" fmla="*/ 143386 w 222406"/>
                    <a:gd name="connsiteY49" fmla="*/ 103167 h 570660"/>
                    <a:gd name="connsiteX50" fmla="*/ 142295 w 222406"/>
                    <a:gd name="connsiteY50" fmla="*/ 103893 h 570660"/>
                    <a:gd name="connsiteX51" fmla="*/ 139850 w 222406"/>
                    <a:gd name="connsiteY51" fmla="*/ 103404 h 570660"/>
                    <a:gd name="connsiteX52" fmla="*/ 138553 w 222406"/>
                    <a:gd name="connsiteY52" fmla="*/ 106346 h 570660"/>
                    <a:gd name="connsiteX53" fmla="*/ 137258 w 222406"/>
                    <a:gd name="connsiteY53" fmla="*/ 110233 h 570660"/>
                    <a:gd name="connsiteX54" fmla="*/ 137152 w 222406"/>
                    <a:gd name="connsiteY54" fmla="*/ 112238 h 570660"/>
                    <a:gd name="connsiteX55" fmla="*/ 137828 w 222406"/>
                    <a:gd name="connsiteY55" fmla="*/ 115400 h 570660"/>
                    <a:gd name="connsiteX56" fmla="*/ 137478 w 222406"/>
                    <a:gd name="connsiteY56" fmla="*/ 116272 h 570660"/>
                    <a:gd name="connsiteX57" fmla="*/ 136158 w 222406"/>
                    <a:gd name="connsiteY57" fmla="*/ 116957 h 570660"/>
                    <a:gd name="connsiteX58" fmla="*/ 133990 w 222406"/>
                    <a:gd name="connsiteY58" fmla="*/ 118375 h 570660"/>
                    <a:gd name="connsiteX59" fmla="*/ 132653 w 222406"/>
                    <a:gd name="connsiteY59" fmla="*/ 122882 h 570660"/>
                    <a:gd name="connsiteX60" fmla="*/ 132710 w 222406"/>
                    <a:gd name="connsiteY60" fmla="*/ 127258 h 570660"/>
                    <a:gd name="connsiteX61" fmla="*/ 133501 w 222406"/>
                    <a:gd name="connsiteY61" fmla="*/ 128758 h 570660"/>
                    <a:gd name="connsiteX62" fmla="*/ 135000 w 222406"/>
                    <a:gd name="connsiteY62" fmla="*/ 129418 h 570660"/>
                    <a:gd name="connsiteX63" fmla="*/ 136060 w 222406"/>
                    <a:gd name="connsiteY63" fmla="*/ 130771 h 570660"/>
                    <a:gd name="connsiteX64" fmla="*/ 136166 w 222406"/>
                    <a:gd name="connsiteY64" fmla="*/ 132881 h 570660"/>
                    <a:gd name="connsiteX65" fmla="*/ 137095 w 222406"/>
                    <a:gd name="connsiteY65" fmla="*/ 135506 h 570660"/>
                    <a:gd name="connsiteX66" fmla="*/ 136655 w 222406"/>
                    <a:gd name="connsiteY66" fmla="*/ 138570 h 570660"/>
                    <a:gd name="connsiteX67" fmla="*/ 133623 w 222406"/>
                    <a:gd name="connsiteY67" fmla="*/ 143020 h 570660"/>
                    <a:gd name="connsiteX68" fmla="*/ 133533 w 222406"/>
                    <a:gd name="connsiteY68" fmla="*/ 145440 h 570660"/>
                    <a:gd name="connsiteX69" fmla="*/ 135139 w 222406"/>
                    <a:gd name="connsiteY69" fmla="*/ 146190 h 570660"/>
                    <a:gd name="connsiteX70" fmla="*/ 136541 w 222406"/>
                    <a:gd name="connsiteY70" fmla="*/ 145848 h 570660"/>
                    <a:gd name="connsiteX71" fmla="*/ 138268 w 222406"/>
                    <a:gd name="connsiteY71" fmla="*/ 144788 h 570660"/>
                    <a:gd name="connsiteX72" fmla="*/ 140306 w 222406"/>
                    <a:gd name="connsiteY72" fmla="*/ 143085 h 570660"/>
                    <a:gd name="connsiteX73" fmla="*/ 144747 w 222406"/>
                    <a:gd name="connsiteY73" fmla="*/ 140607 h 570660"/>
                    <a:gd name="connsiteX74" fmla="*/ 149597 w 222406"/>
                    <a:gd name="connsiteY74" fmla="*/ 139198 h 570660"/>
                    <a:gd name="connsiteX75" fmla="*/ 153435 w 222406"/>
                    <a:gd name="connsiteY75" fmla="*/ 138928 h 570660"/>
                    <a:gd name="connsiteX76" fmla="*/ 156711 w 222406"/>
                    <a:gd name="connsiteY76" fmla="*/ 139034 h 570660"/>
                    <a:gd name="connsiteX77" fmla="*/ 158317 w 222406"/>
                    <a:gd name="connsiteY77" fmla="*/ 139564 h 570660"/>
                    <a:gd name="connsiteX78" fmla="*/ 158806 w 222406"/>
                    <a:gd name="connsiteY78" fmla="*/ 140469 h 570660"/>
                    <a:gd name="connsiteX79" fmla="*/ 163296 w 222406"/>
                    <a:gd name="connsiteY79" fmla="*/ 139026 h 570660"/>
                    <a:gd name="connsiteX80" fmla="*/ 164225 w 222406"/>
                    <a:gd name="connsiteY80" fmla="*/ 138937 h 570660"/>
                    <a:gd name="connsiteX81" fmla="*/ 165049 w 222406"/>
                    <a:gd name="connsiteY81" fmla="*/ 138863 h 570660"/>
                    <a:gd name="connsiteX82" fmla="*/ 165016 w 222406"/>
                    <a:gd name="connsiteY82" fmla="*/ 139825 h 570660"/>
                    <a:gd name="connsiteX83" fmla="*/ 161732 w 222406"/>
                    <a:gd name="connsiteY83" fmla="*/ 143778 h 570660"/>
                    <a:gd name="connsiteX84" fmla="*/ 161120 w 222406"/>
                    <a:gd name="connsiteY84" fmla="*/ 145628 h 570660"/>
                    <a:gd name="connsiteX85" fmla="*/ 161226 w 222406"/>
                    <a:gd name="connsiteY85" fmla="*/ 147608 h 570660"/>
                    <a:gd name="connsiteX86" fmla="*/ 162571 w 222406"/>
                    <a:gd name="connsiteY86" fmla="*/ 149450 h 570660"/>
                    <a:gd name="connsiteX87" fmla="*/ 163875 w 222406"/>
                    <a:gd name="connsiteY87" fmla="*/ 150860 h 570660"/>
                    <a:gd name="connsiteX88" fmla="*/ 164983 w 222406"/>
                    <a:gd name="connsiteY88" fmla="*/ 154413 h 570660"/>
                    <a:gd name="connsiteX89" fmla="*/ 164136 w 222406"/>
                    <a:gd name="connsiteY89" fmla="*/ 157657 h 570660"/>
                    <a:gd name="connsiteX90" fmla="*/ 164673 w 222406"/>
                    <a:gd name="connsiteY90" fmla="*/ 158846 h 570660"/>
                    <a:gd name="connsiteX91" fmla="*/ 165651 w 222406"/>
                    <a:gd name="connsiteY91" fmla="*/ 160175 h 570660"/>
                    <a:gd name="connsiteX92" fmla="*/ 166230 w 222406"/>
                    <a:gd name="connsiteY92" fmla="*/ 162041 h 570660"/>
                    <a:gd name="connsiteX93" fmla="*/ 166311 w 222406"/>
                    <a:gd name="connsiteY93" fmla="*/ 164323 h 570660"/>
                    <a:gd name="connsiteX94" fmla="*/ 165766 w 222406"/>
                    <a:gd name="connsiteY94" fmla="*/ 167941 h 570660"/>
                    <a:gd name="connsiteX95" fmla="*/ 170509 w 222406"/>
                    <a:gd name="connsiteY95" fmla="*/ 169832 h 570660"/>
                    <a:gd name="connsiteX96" fmla="*/ 174608 w 222406"/>
                    <a:gd name="connsiteY96" fmla="*/ 170680 h 570660"/>
                    <a:gd name="connsiteX97" fmla="*/ 177599 w 222406"/>
                    <a:gd name="connsiteY97" fmla="*/ 170908 h 570660"/>
                    <a:gd name="connsiteX98" fmla="*/ 179514 w 222406"/>
                    <a:gd name="connsiteY98" fmla="*/ 171748 h 570660"/>
                    <a:gd name="connsiteX99" fmla="*/ 180664 w 222406"/>
                    <a:gd name="connsiteY99" fmla="*/ 172457 h 570660"/>
                    <a:gd name="connsiteX100" fmla="*/ 181478 w 222406"/>
                    <a:gd name="connsiteY100" fmla="*/ 173761 h 570660"/>
                    <a:gd name="connsiteX101" fmla="*/ 181715 w 222406"/>
                    <a:gd name="connsiteY101" fmla="*/ 175178 h 570660"/>
                    <a:gd name="connsiteX102" fmla="*/ 180720 w 222406"/>
                    <a:gd name="connsiteY102" fmla="*/ 176173 h 570660"/>
                    <a:gd name="connsiteX103" fmla="*/ 178707 w 222406"/>
                    <a:gd name="connsiteY103" fmla="*/ 179359 h 570660"/>
                    <a:gd name="connsiteX104" fmla="*/ 177534 w 222406"/>
                    <a:gd name="connsiteY104" fmla="*/ 183605 h 570660"/>
                    <a:gd name="connsiteX105" fmla="*/ 177656 w 222406"/>
                    <a:gd name="connsiteY105" fmla="*/ 186784 h 570660"/>
                    <a:gd name="connsiteX106" fmla="*/ 177517 w 222406"/>
                    <a:gd name="connsiteY106" fmla="*/ 189538 h 570660"/>
                    <a:gd name="connsiteX107" fmla="*/ 175171 w 222406"/>
                    <a:gd name="connsiteY107" fmla="*/ 193507 h 570660"/>
                    <a:gd name="connsiteX108" fmla="*/ 174249 w 222406"/>
                    <a:gd name="connsiteY108" fmla="*/ 196237 h 570660"/>
                    <a:gd name="connsiteX109" fmla="*/ 173418 w 222406"/>
                    <a:gd name="connsiteY109" fmla="*/ 199041 h 570660"/>
                    <a:gd name="connsiteX110" fmla="*/ 173442 w 222406"/>
                    <a:gd name="connsiteY110" fmla="*/ 200255 h 570660"/>
                    <a:gd name="connsiteX111" fmla="*/ 173931 w 222406"/>
                    <a:gd name="connsiteY111" fmla="*/ 201103 h 570660"/>
                    <a:gd name="connsiteX112" fmla="*/ 174926 w 222406"/>
                    <a:gd name="connsiteY112" fmla="*/ 201592 h 570660"/>
                    <a:gd name="connsiteX113" fmla="*/ 176662 w 222406"/>
                    <a:gd name="connsiteY113" fmla="*/ 201885 h 570660"/>
                    <a:gd name="connsiteX114" fmla="*/ 178789 w 222406"/>
                    <a:gd name="connsiteY114" fmla="*/ 201567 h 570660"/>
                    <a:gd name="connsiteX115" fmla="*/ 183850 w 222406"/>
                    <a:gd name="connsiteY115" fmla="*/ 202244 h 570660"/>
                    <a:gd name="connsiteX116" fmla="*/ 189620 w 222406"/>
                    <a:gd name="connsiteY116" fmla="*/ 203474 h 570660"/>
                    <a:gd name="connsiteX117" fmla="*/ 191910 w 222406"/>
                    <a:gd name="connsiteY117" fmla="*/ 204143 h 570660"/>
                    <a:gd name="connsiteX118" fmla="*/ 192651 w 222406"/>
                    <a:gd name="connsiteY118" fmla="*/ 205382 h 570660"/>
                    <a:gd name="connsiteX119" fmla="*/ 192472 w 222406"/>
                    <a:gd name="connsiteY119" fmla="*/ 208079 h 570660"/>
                    <a:gd name="connsiteX120" fmla="*/ 192114 w 222406"/>
                    <a:gd name="connsiteY120" fmla="*/ 210581 h 570660"/>
                    <a:gd name="connsiteX121" fmla="*/ 192480 w 222406"/>
                    <a:gd name="connsiteY121" fmla="*/ 212504 h 570660"/>
                    <a:gd name="connsiteX122" fmla="*/ 193409 w 222406"/>
                    <a:gd name="connsiteY122" fmla="*/ 214281 h 570660"/>
                    <a:gd name="connsiteX123" fmla="*/ 194966 w 222406"/>
                    <a:gd name="connsiteY123" fmla="*/ 214860 h 570660"/>
                    <a:gd name="connsiteX124" fmla="*/ 196319 w 222406"/>
                    <a:gd name="connsiteY124" fmla="*/ 215544 h 570660"/>
                    <a:gd name="connsiteX125" fmla="*/ 196580 w 222406"/>
                    <a:gd name="connsiteY125" fmla="*/ 216897 h 570660"/>
                    <a:gd name="connsiteX126" fmla="*/ 196156 w 222406"/>
                    <a:gd name="connsiteY126" fmla="*/ 218731 h 570660"/>
                    <a:gd name="connsiteX127" fmla="*/ 196841 w 222406"/>
                    <a:gd name="connsiteY127" fmla="*/ 220181 h 570660"/>
                    <a:gd name="connsiteX128" fmla="*/ 197607 w 222406"/>
                    <a:gd name="connsiteY128" fmla="*/ 221135 h 570660"/>
                    <a:gd name="connsiteX129" fmla="*/ 199269 w 222406"/>
                    <a:gd name="connsiteY129" fmla="*/ 221673 h 570660"/>
                    <a:gd name="connsiteX130" fmla="*/ 202643 w 222406"/>
                    <a:gd name="connsiteY130" fmla="*/ 220491 h 570660"/>
                    <a:gd name="connsiteX131" fmla="*/ 205007 w 222406"/>
                    <a:gd name="connsiteY131" fmla="*/ 221013 h 570660"/>
                    <a:gd name="connsiteX132" fmla="*/ 207125 w 222406"/>
                    <a:gd name="connsiteY132" fmla="*/ 221820 h 570660"/>
                    <a:gd name="connsiteX133" fmla="*/ 208943 w 222406"/>
                    <a:gd name="connsiteY133" fmla="*/ 221396 h 570660"/>
                    <a:gd name="connsiteX134" fmla="*/ 210744 w 222406"/>
                    <a:gd name="connsiteY134" fmla="*/ 220369 h 570660"/>
                    <a:gd name="connsiteX135" fmla="*/ 214664 w 222406"/>
                    <a:gd name="connsiteY135" fmla="*/ 215707 h 570660"/>
                    <a:gd name="connsiteX136" fmla="*/ 219236 w 222406"/>
                    <a:gd name="connsiteY136" fmla="*/ 213189 h 570660"/>
                    <a:gd name="connsiteX137" fmla="*/ 220736 w 222406"/>
                    <a:gd name="connsiteY137" fmla="*/ 212586 h 570660"/>
                    <a:gd name="connsiteX138" fmla="*/ 221746 w 222406"/>
                    <a:gd name="connsiteY138" fmla="*/ 212887 h 570660"/>
                    <a:gd name="connsiteX139" fmla="*/ 221999 w 222406"/>
                    <a:gd name="connsiteY139" fmla="*/ 213213 h 570660"/>
                    <a:gd name="connsiteX140" fmla="*/ 221926 w 222406"/>
                    <a:gd name="connsiteY140" fmla="*/ 214159 h 570660"/>
                    <a:gd name="connsiteX141" fmla="*/ 222406 w 222406"/>
                    <a:gd name="connsiteY141" fmla="*/ 217997 h 570660"/>
                    <a:gd name="connsiteX142" fmla="*/ 222203 w 222406"/>
                    <a:gd name="connsiteY142" fmla="*/ 218429 h 570660"/>
                    <a:gd name="connsiteX143" fmla="*/ 220744 w 222406"/>
                    <a:gd name="connsiteY143" fmla="*/ 221493 h 570660"/>
                    <a:gd name="connsiteX144" fmla="*/ 216962 w 222406"/>
                    <a:gd name="connsiteY144" fmla="*/ 224672 h 570660"/>
                    <a:gd name="connsiteX145" fmla="*/ 214281 w 222406"/>
                    <a:gd name="connsiteY145" fmla="*/ 226277 h 570660"/>
                    <a:gd name="connsiteX146" fmla="*/ 212724 w 222406"/>
                    <a:gd name="connsiteY146" fmla="*/ 226326 h 570660"/>
                    <a:gd name="connsiteX147" fmla="*/ 211396 w 222406"/>
                    <a:gd name="connsiteY147" fmla="*/ 228225 h 570660"/>
                    <a:gd name="connsiteX148" fmla="*/ 210312 w 222406"/>
                    <a:gd name="connsiteY148" fmla="*/ 231974 h 570660"/>
                    <a:gd name="connsiteX149" fmla="*/ 209171 w 222406"/>
                    <a:gd name="connsiteY149" fmla="*/ 234174 h 570660"/>
                    <a:gd name="connsiteX150" fmla="*/ 207998 w 222406"/>
                    <a:gd name="connsiteY150" fmla="*/ 234835 h 570660"/>
                    <a:gd name="connsiteX151" fmla="*/ 207240 w 222406"/>
                    <a:gd name="connsiteY151" fmla="*/ 236244 h 570660"/>
                    <a:gd name="connsiteX152" fmla="*/ 206897 w 222406"/>
                    <a:gd name="connsiteY152" fmla="*/ 238429 h 570660"/>
                    <a:gd name="connsiteX153" fmla="*/ 207574 w 222406"/>
                    <a:gd name="connsiteY153" fmla="*/ 239594 h 570660"/>
                    <a:gd name="connsiteX154" fmla="*/ 209269 w 222406"/>
                    <a:gd name="connsiteY154" fmla="*/ 239757 h 570660"/>
                    <a:gd name="connsiteX155" fmla="*/ 209399 w 222406"/>
                    <a:gd name="connsiteY155" fmla="*/ 240368 h 570660"/>
                    <a:gd name="connsiteX156" fmla="*/ 207973 w 222406"/>
                    <a:gd name="connsiteY156" fmla="*/ 241428 h 570660"/>
                    <a:gd name="connsiteX157" fmla="*/ 206180 w 222406"/>
                    <a:gd name="connsiteY157" fmla="*/ 241803 h 570660"/>
                    <a:gd name="connsiteX158" fmla="*/ 204045 w 222406"/>
                    <a:gd name="connsiteY158" fmla="*/ 241493 h 570660"/>
                    <a:gd name="connsiteX159" fmla="*/ 202040 w 222406"/>
                    <a:gd name="connsiteY159" fmla="*/ 242340 h 570660"/>
                    <a:gd name="connsiteX160" fmla="*/ 200133 w 222406"/>
                    <a:gd name="connsiteY160" fmla="*/ 244370 h 570660"/>
                    <a:gd name="connsiteX161" fmla="*/ 198519 w 222406"/>
                    <a:gd name="connsiteY161" fmla="*/ 248738 h 570660"/>
                    <a:gd name="connsiteX162" fmla="*/ 197166 w 222406"/>
                    <a:gd name="connsiteY162" fmla="*/ 255445 h 570660"/>
                    <a:gd name="connsiteX163" fmla="*/ 196995 w 222406"/>
                    <a:gd name="connsiteY163" fmla="*/ 257165 h 570660"/>
                    <a:gd name="connsiteX164" fmla="*/ 194045 w 222406"/>
                    <a:gd name="connsiteY164" fmla="*/ 255217 h 570660"/>
                    <a:gd name="connsiteX165" fmla="*/ 192823 w 222406"/>
                    <a:gd name="connsiteY165" fmla="*/ 254117 h 570660"/>
                    <a:gd name="connsiteX166" fmla="*/ 191250 w 222406"/>
                    <a:gd name="connsiteY166" fmla="*/ 253840 h 570660"/>
                    <a:gd name="connsiteX167" fmla="*/ 189628 w 222406"/>
                    <a:gd name="connsiteY167" fmla="*/ 255070 h 570660"/>
                    <a:gd name="connsiteX168" fmla="*/ 188340 w 222406"/>
                    <a:gd name="connsiteY168" fmla="*/ 256407 h 570660"/>
                    <a:gd name="connsiteX169" fmla="*/ 187020 w 222406"/>
                    <a:gd name="connsiteY169" fmla="*/ 256904 h 570660"/>
                    <a:gd name="connsiteX170" fmla="*/ 185007 w 222406"/>
                    <a:gd name="connsiteY170" fmla="*/ 257059 h 570660"/>
                    <a:gd name="connsiteX171" fmla="*/ 182350 w 222406"/>
                    <a:gd name="connsiteY171" fmla="*/ 256374 h 570660"/>
                    <a:gd name="connsiteX172" fmla="*/ 180549 w 222406"/>
                    <a:gd name="connsiteY172" fmla="*/ 255747 h 570660"/>
                    <a:gd name="connsiteX173" fmla="*/ 180272 w 222406"/>
                    <a:gd name="connsiteY173" fmla="*/ 256089 h 570660"/>
                    <a:gd name="connsiteX174" fmla="*/ 181258 w 222406"/>
                    <a:gd name="connsiteY174" fmla="*/ 258909 h 570660"/>
                    <a:gd name="connsiteX175" fmla="*/ 181609 w 222406"/>
                    <a:gd name="connsiteY175" fmla="*/ 261158 h 570660"/>
                    <a:gd name="connsiteX176" fmla="*/ 181226 w 222406"/>
                    <a:gd name="connsiteY176" fmla="*/ 262332 h 570660"/>
                    <a:gd name="connsiteX177" fmla="*/ 180370 w 222406"/>
                    <a:gd name="connsiteY177" fmla="*/ 263302 h 570660"/>
                    <a:gd name="connsiteX178" fmla="*/ 179074 w 222406"/>
                    <a:gd name="connsiteY178" fmla="*/ 264068 h 570660"/>
                    <a:gd name="connsiteX179" fmla="*/ 177550 w 222406"/>
                    <a:gd name="connsiteY179" fmla="*/ 264516 h 570660"/>
                    <a:gd name="connsiteX180" fmla="*/ 176206 w 222406"/>
                    <a:gd name="connsiteY180" fmla="*/ 264467 h 570660"/>
                    <a:gd name="connsiteX181" fmla="*/ 174054 w 222406"/>
                    <a:gd name="connsiteY181" fmla="*/ 263399 h 570660"/>
                    <a:gd name="connsiteX182" fmla="*/ 172408 w 222406"/>
                    <a:gd name="connsiteY182" fmla="*/ 263359 h 570660"/>
                    <a:gd name="connsiteX183" fmla="*/ 171006 w 222406"/>
                    <a:gd name="connsiteY183" fmla="*/ 263888 h 570660"/>
                    <a:gd name="connsiteX184" fmla="*/ 170150 w 222406"/>
                    <a:gd name="connsiteY184" fmla="*/ 264679 h 570660"/>
                    <a:gd name="connsiteX185" fmla="*/ 169678 w 222406"/>
                    <a:gd name="connsiteY185" fmla="*/ 265673 h 570660"/>
                    <a:gd name="connsiteX186" fmla="*/ 168846 w 222406"/>
                    <a:gd name="connsiteY186" fmla="*/ 271240 h 570660"/>
                    <a:gd name="connsiteX187" fmla="*/ 168121 w 222406"/>
                    <a:gd name="connsiteY187" fmla="*/ 272983 h 570660"/>
                    <a:gd name="connsiteX188" fmla="*/ 167094 w 222406"/>
                    <a:gd name="connsiteY188" fmla="*/ 273970 h 570660"/>
                    <a:gd name="connsiteX189" fmla="*/ 166084 w 222406"/>
                    <a:gd name="connsiteY189" fmla="*/ 274076 h 570660"/>
                    <a:gd name="connsiteX190" fmla="*/ 164682 w 222406"/>
                    <a:gd name="connsiteY190" fmla="*/ 273798 h 570660"/>
                    <a:gd name="connsiteX191" fmla="*/ 163215 w 222406"/>
                    <a:gd name="connsiteY191" fmla="*/ 274027 h 570660"/>
                    <a:gd name="connsiteX192" fmla="*/ 156597 w 222406"/>
                    <a:gd name="connsiteY192" fmla="*/ 276178 h 570660"/>
                    <a:gd name="connsiteX193" fmla="*/ 155635 w 222406"/>
                    <a:gd name="connsiteY193" fmla="*/ 276390 h 570660"/>
                    <a:gd name="connsiteX194" fmla="*/ 153566 w 222406"/>
                    <a:gd name="connsiteY194" fmla="*/ 276553 h 570660"/>
                    <a:gd name="connsiteX195" fmla="*/ 151634 w 222406"/>
                    <a:gd name="connsiteY195" fmla="*/ 276610 h 570660"/>
                    <a:gd name="connsiteX196" fmla="*/ 150289 w 222406"/>
                    <a:gd name="connsiteY196" fmla="*/ 276504 h 570660"/>
                    <a:gd name="connsiteX197" fmla="*/ 147111 w 222406"/>
                    <a:gd name="connsiteY197" fmla="*/ 274296 h 570660"/>
                    <a:gd name="connsiteX198" fmla="*/ 145571 w 222406"/>
                    <a:gd name="connsiteY198" fmla="*/ 274059 h 570660"/>
                    <a:gd name="connsiteX199" fmla="*/ 144723 w 222406"/>
                    <a:gd name="connsiteY199" fmla="*/ 274687 h 570660"/>
                    <a:gd name="connsiteX200" fmla="*/ 144136 w 222406"/>
                    <a:gd name="connsiteY200" fmla="*/ 277645 h 570660"/>
                    <a:gd name="connsiteX201" fmla="*/ 142278 w 222406"/>
                    <a:gd name="connsiteY201" fmla="*/ 279520 h 570660"/>
                    <a:gd name="connsiteX202" fmla="*/ 139800 w 222406"/>
                    <a:gd name="connsiteY202" fmla="*/ 283611 h 570660"/>
                    <a:gd name="connsiteX203" fmla="*/ 139230 w 222406"/>
                    <a:gd name="connsiteY203" fmla="*/ 289593 h 570660"/>
                    <a:gd name="connsiteX204" fmla="*/ 139491 w 222406"/>
                    <a:gd name="connsiteY204" fmla="*/ 293765 h 570660"/>
                    <a:gd name="connsiteX205" fmla="*/ 137258 w 222406"/>
                    <a:gd name="connsiteY205" fmla="*/ 297889 h 570660"/>
                    <a:gd name="connsiteX206" fmla="*/ 137062 w 222406"/>
                    <a:gd name="connsiteY206" fmla="*/ 299878 h 570660"/>
                    <a:gd name="connsiteX207" fmla="*/ 138252 w 222406"/>
                    <a:gd name="connsiteY207" fmla="*/ 309437 h 570660"/>
                    <a:gd name="connsiteX208" fmla="*/ 138049 w 222406"/>
                    <a:gd name="connsiteY208" fmla="*/ 310440 h 570660"/>
                    <a:gd name="connsiteX209" fmla="*/ 137600 w 222406"/>
                    <a:gd name="connsiteY209" fmla="*/ 310937 h 570660"/>
                    <a:gd name="connsiteX210" fmla="*/ 136207 w 222406"/>
                    <a:gd name="connsiteY210" fmla="*/ 311271 h 570660"/>
                    <a:gd name="connsiteX211" fmla="*/ 133868 w 222406"/>
                    <a:gd name="connsiteY211" fmla="*/ 312273 h 570660"/>
                    <a:gd name="connsiteX212" fmla="*/ 132327 w 222406"/>
                    <a:gd name="connsiteY212" fmla="*/ 313219 h 570660"/>
                    <a:gd name="connsiteX213" fmla="*/ 131586 w 222406"/>
                    <a:gd name="connsiteY213" fmla="*/ 313325 h 570660"/>
                    <a:gd name="connsiteX214" fmla="*/ 129393 w 222406"/>
                    <a:gd name="connsiteY214" fmla="*/ 312616 h 570660"/>
                    <a:gd name="connsiteX215" fmla="*/ 128823 w 222406"/>
                    <a:gd name="connsiteY215" fmla="*/ 312607 h 570660"/>
                    <a:gd name="connsiteX216" fmla="*/ 128994 w 222406"/>
                    <a:gd name="connsiteY216" fmla="*/ 313333 h 570660"/>
                    <a:gd name="connsiteX217" fmla="*/ 130738 w 222406"/>
                    <a:gd name="connsiteY217" fmla="*/ 317473 h 570660"/>
                    <a:gd name="connsiteX218" fmla="*/ 132547 w 222406"/>
                    <a:gd name="connsiteY218" fmla="*/ 319429 h 570660"/>
                    <a:gd name="connsiteX219" fmla="*/ 134422 w 222406"/>
                    <a:gd name="connsiteY219" fmla="*/ 319209 h 570660"/>
                    <a:gd name="connsiteX220" fmla="*/ 135237 w 222406"/>
                    <a:gd name="connsiteY220" fmla="*/ 319600 h 570660"/>
                    <a:gd name="connsiteX221" fmla="*/ 135000 w 222406"/>
                    <a:gd name="connsiteY221" fmla="*/ 320586 h 570660"/>
                    <a:gd name="connsiteX222" fmla="*/ 135726 w 222406"/>
                    <a:gd name="connsiteY222" fmla="*/ 323178 h 570660"/>
                    <a:gd name="connsiteX223" fmla="*/ 137413 w 222406"/>
                    <a:gd name="connsiteY223" fmla="*/ 327367 h 570660"/>
                    <a:gd name="connsiteX224" fmla="*/ 137910 w 222406"/>
                    <a:gd name="connsiteY224" fmla="*/ 330496 h 570660"/>
                    <a:gd name="connsiteX225" fmla="*/ 136891 w 222406"/>
                    <a:gd name="connsiteY225" fmla="*/ 333617 h 570660"/>
                    <a:gd name="connsiteX226" fmla="*/ 137079 w 222406"/>
                    <a:gd name="connsiteY226" fmla="*/ 334734 h 570660"/>
                    <a:gd name="connsiteX227" fmla="*/ 137649 w 222406"/>
                    <a:gd name="connsiteY227" fmla="*/ 335386 h 570660"/>
                    <a:gd name="connsiteX228" fmla="*/ 139222 w 222406"/>
                    <a:gd name="connsiteY228" fmla="*/ 338287 h 570660"/>
                    <a:gd name="connsiteX229" fmla="*/ 142604 w 222406"/>
                    <a:gd name="connsiteY229" fmla="*/ 342819 h 570660"/>
                    <a:gd name="connsiteX230" fmla="*/ 145921 w 222406"/>
                    <a:gd name="connsiteY230" fmla="*/ 347725 h 570660"/>
                    <a:gd name="connsiteX231" fmla="*/ 148692 w 222406"/>
                    <a:gd name="connsiteY231" fmla="*/ 351808 h 570660"/>
                    <a:gd name="connsiteX232" fmla="*/ 150721 w 222406"/>
                    <a:gd name="connsiteY232" fmla="*/ 354628 h 570660"/>
                    <a:gd name="connsiteX233" fmla="*/ 155252 w 222406"/>
                    <a:gd name="connsiteY233" fmla="*/ 359892 h 570660"/>
                    <a:gd name="connsiteX234" fmla="*/ 156051 w 222406"/>
                    <a:gd name="connsiteY234" fmla="*/ 362362 h 570660"/>
                    <a:gd name="connsiteX235" fmla="*/ 156222 w 222406"/>
                    <a:gd name="connsiteY235" fmla="*/ 367349 h 570660"/>
                    <a:gd name="connsiteX236" fmla="*/ 157347 w 222406"/>
                    <a:gd name="connsiteY236" fmla="*/ 370226 h 570660"/>
                    <a:gd name="connsiteX237" fmla="*/ 158374 w 222406"/>
                    <a:gd name="connsiteY237" fmla="*/ 372280 h 570660"/>
                    <a:gd name="connsiteX238" fmla="*/ 159091 w 222406"/>
                    <a:gd name="connsiteY238" fmla="*/ 373991 h 570660"/>
                    <a:gd name="connsiteX239" fmla="*/ 160753 w 222406"/>
                    <a:gd name="connsiteY239" fmla="*/ 379623 h 570660"/>
                    <a:gd name="connsiteX240" fmla="*/ 161471 w 222406"/>
                    <a:gd name="connsiteY240" fmla="*/ 380381 h 570660"/>
                    <a:gd name="connsiteX241" fmla="*/ 165089 w 222406"/>
                    <a:gd name="connsiteY241" fmla="*/ 376958 h 570660"/>
                    <a:gd name="connsiteX242" fmla="*/ 165937 w 222406"/>
                    <a:gd name="connsiteY242" fmla="*/ 377675 h 570660"/>
                    <a:gd name="connsiteX243" fmla="*/ 166409 w 222406"/>
                    <a:gd name="connsiteY243" fmla="*/ 378963 h 570660"/>
                    <a:gd name="connsiteX244" fmla="*/ 166409 w 222406"/>
                    <a:gd name="connsiteY244" fmla="*/ 380609 h 570660"/>
                    <a:gd name="connsiteX245" fmla="*/ 165847 w 222406"/>
                    <a:gd name="connsiteY245" fmla="*/ 382475 h 570660"/>
                    <a:gd name="connsiteX246" fmla="*/ 164665 w 222406"/>
                    <a:gd name="connsiteY246" fmla="*/ 384186 h 570660"/>
                    <a:gd name="connsiteX247" fmla="*/ 159067 w 222406"/>
                    <a:gd name="connsiteY247" fmla="*/ 388164 h 570660"/>
                    <a:gd name="connsiteX248" fmla="*/ 158602 w 222406"/>
                    <a:gd name="connsiteY248" fmla="*/ 391587 h 570660"/>
                    <a:gd name="connsiteX249" fmla="*/ 158211 w 222406"/>
                    <a:gd name="connsiteY249" fmla="*/ 396778 h 570660"/>
                    <a:gd name="connsiteX250" fmla="*/ 158113 w 222406"/>
                    <a:gd name="connsiteY250" fmla="*/ 403151 h 570660"/>
                    <a:gd name="connsiteX251" fmla="*/ 158382 w 222406"/>
                    <a:gd name="connsiteY251" fmla="*/ 407910 h 570660"/>
                    <a:gd name="connsiteX252" fmla="*/ 158178 w 222406"/>
                    <a:gd name="connsiteY252" fmla="*/ 409003 h 570660"/>
                    <a:gd name="connsiteX253" fmla="*/ 157689 w 222406"/>
                    <a:gd name="connsiteY253" fmla="*/ 409516 h 570660"/>
                    <a:gd name="connsiteX254" fmla="*/ 155579 w 222406"/>
                    <a:gd name="connsiteY254" fmla="*/ 409312 h 570660"/>
                    <a:gd name="connsiteX255" fmla="*/ 152530 w 222406"/>
                    <a:gd name="connsiteY255" fmla="*/ 411716 h 570660"/>
                    <a:gd name="connsiteX256" fmla="*/ 151455 w 222406"/>
                    <a:gd name="connsiteY256" fmla="*/ 411928 h 570660"/>
                    <a:gd name="connsiteX257" fmla="*/ 150126 w 222406"/>
                    <a:gd name="connsiteY257" fmla="*/ 412841 h 570660"/>
                    <a:gd name="connsiteX258" fmla="*/ 149099 w 222406"/>
                    <a:gd name="connsiteY258" fmla="*/ 413974 h 570660"/>
                    <a:gd name="connsiteX259" fmla="*/ 148773 w 222406"/>
                    <a:gd name="connsiteY259" fmla="*/ 415710 h 570660"/>
                    <a:gd name="connsiteX260" fmla="*/ 149368 w 222406"/>
                    <a:gd name="connsiteY260" fmla="*/ 420934 h 570660"/>
                    <a:gd name="connsiteX261" fmla="*/ 150452 w 222406"/>
                    <a:gd name="connsiteY261" fmla="*/ 425848 h 570660"/>
                    <a:gd name="connsiteX262" fmla="*/ 152604 w 222406"/>
                    <a:gd name="connsiteY262" fmla="*/ 429450 h 570660"/>
                    <a:gd name="connsiteX263" fmla="*/ 154283 w 222406"/>
                    <a:gd name="connsiteY263" fmla="*/ 432294 h 570660"/>
                    <a:gd name="connsiteX264" fmla="*/ 156638 w 222406"/>
                    <a:gd name="connsiteY264" fmla="*/ 436255 h 570660"/>
                    <a:gd name="connsiteX265" fmla="*/ 158504 w 222406"/>
                    <a:gd name="connsiteY265" fmla="*/ 439686 h 570660"/>
                    <a:gd name="connsiteX266" fmla="*/ 162253 w 222406"/>
                    <a:gd name="connsiteY266" fmla="*/ 443468 h 570660"/>
                    <a:gd name="connsiteX267" fmla="*/ 167518 w 222406"/>
                    <a:gd name="connsiteY267" fmla="*/ 449115 h 570660"/>
                    <a:gd name="connsiteX268" fmla="*/ 169531 w 222406"/>
                    <a:gd name="connsiteY268" fmla="*/ 452229 h 570660"/>
                    <a:gd name="connsiteX269" fmla="*/ 171316 w 222406"/>
                    <a:gd name="connsiteY269" fmla="*/ 456010 h 570660"/>
                    <a:gd name="connsiteX270" fmla="*/ 172570 w 222406"/>
                    <a:gd name="connsiteY270" fmla="*/ 459237 h 570660"/>
                    <a:gd name="connsiteX271" fmla="*/ 173044 w 222406"/>
                    <a:gd name="connsiteY271" fmla="*/ 463516 h 570660"/>
                    <a:gd name="connsiteX272" fmla="*/ 173435 w 222406"/>
                    <a:gd name="connsiteY272" fmla="*/ 465912 h 570660"/>
                    <a:gd name="connsiteX273" fmla="*/ 173548 w 222406"/>
                    <a:gd name="connsiteY273" fmla="*/ 473915 h 570660"/>
                    <a:gd name="connsiteX274" fmla="*/ 172579 w 222406"/>
                    <a:gd name="connsiteY274" fmla="*/ 475741 h 570660"/>
                    <a:gd name="connsiteX275" fmla="*/ 171837 w 222406"/>
                    <a:gd name="connsiteY275" fmla="*/ 477851 h 570660"/>
                    <a:gd name="connsiteX276" fmla="*/ 172253 w 222406"/>
                    <a:gd name="connsiteY276" fmla="*/ 480060 h 570660"/>
                    <a:gd name="connsiteX277" fmla="*/ 173475 w 222406"/>
                    <a:gd name="connsiteY277" fmla="*/ 482163 h 570660"/>
                    <a:gd name="connsiteX278" fmla="*/ 173475 w 222406"/>
                    <a:gd name="connsiteY278" fmla="*/ 484575 h 570660"/>
                    <a:gd name="connsiteX279" fmla="*/ 174624 w 222406"/>
                    <a:gd name="connsiteY279" fmla="*/ 488886 h 570660"/>
                    <a:gd name="connsiteX280" fmla="*/ 176556 w 222406"/>
                    <a:gd name="connsiteY280" fmla="*/ 491519 h 570660"/>
                    <a:gd name="connsiteX281" fmla="*/ 178406 w 222406"/>
                    <a:gd name="connsiteY281" fmla="*/ 493295 h 570660"/>
                    <a:gd name="connsiteX282" fmla="*/ 179229 w 222406"/>
                    <a:gd name="connsiteY282" fmla="*/ 494705 h 570660"/>
                    <a:gd name="connsiteX283" fmla="*/ 178960 w 222406"/>
                    <a:gd name="connsiteY283" fmla="*/ 496946 h 570660"/>
                    <a:gd name="connsiteX284" fmla="*/ 179506 w 222406"/>
                    <a:gd name="connsiteY284" fmla="*/ 499334 h 570660"/>
                    <a:gd name="connsiteX285" fmla="*/ 179913 w 222406"/>
                    <a:gd name="connsiteY285" fmla="*/ 501934 h 570660"/>
                    <a:gd name="connsiteX286" fmla="*/ 180664 w 222406"/>
                    <a:gd name="connsiteY286" fmla="*/ 505528 h 570660"/>
                    <a:gd name="connsiteX287" fmla="*/ 182155 w 222406"/>
                    <a:gd name="connsiteY287" fmla="*/ 508576 h 570660"/>
                    <a:gd name="connsiteX288" fmla="*/ 184428 w 222406"/>
                    <a:gd name="connsiteY288" fmla="*/ 517916 h 570660"/>
                    <a:gd name="connsiteX289" fmla="*/ 184380 w 222406"/>
                    <a:gd name="connsiteY289" fmla="*/ 518861 h 570660"/>
                    <a:gd name="connsiteX290" fmla="*/ 183393 w 222406"/>
                    <a:gd name="connsiteY290" fmla="*/ 520752 h 570660"/>
                    <a:gd name="connsiteX291" fmla="*/ 181959 w 222406"/>
                    <a:gd name="connsiteY291" fmla="*/ 522455 h 570660"/>
                    <a:gd name="connsiteX292" fmla="*/ 181047 w 222406"/>
                    <a:gd name="connsiteY292" fmla="*/ 523001 h 570660"/>
                    <a:gd name="connsiteX293" fmla="*/ 180166 w 222406"/>
                    <a:gd name="connsiteY293" fmla="*/ 524761 h 570660"/>
                    <a:gd name="connsiteX294" fmla="*/ 178096 w 222406"/>
                    <a:gd name="connsiteY294" fmla="*/ 529749 h 570660"/>
                    <a:gd name="connsiteX295" fmla="*/ 173899 w 222406"/>
                    <a:gd name="connsiteY295" fmla="*/ 538339 h 570660"/>
                    <a:gd name="connsiteX296" fmla="*/ 169824 w 222406"/>
                    <a:gd name="connsiteY296" fmla="*/ 543946 h 570660"/>
                    <a:gd name="connsiteX297" fmla="*/ 166385 w 222406"/>
                    <a:gd name="connsiteY297" fmla="*/ 547923 h 570660"/>
                    <a:gd name="connsiteX298" fmla="*/ 163891 w 222406"/>
                    <a:gd name="connsiteY298" fmla="*/ 550335 h 570660"/>
                    <a:gd name="connsiteX299" fmla="*/ 163166 w 222406"/>
                    <a:gd name="connsiteY299" fmla="*/ 551770 h 570660"/>
                    <a:gd name="connsiteX300" fmla="*/ 163166 w 222406"/>
                    <a:gd name="connsiteY300" fmla="*/ 552902 h 570660"/>
                    <a:gd name="connsiteX301" fmla="*/ 163614 w 222406"/>
                    <a:gd name="connsiteY301" fmla="*/ 554915 h 570660"/>
                    <a:gd name="connsiteX302" fmla="*/ 163435 w 222406"/>
                    <a:gd name="connsiteY302" fmla="*/ 558721 h 570660"/>
                    <a:gd name="connsiteX303" fmla="*/ 162913 w 222406"/>
                    <a:gd name="connsiteY303" fmla="*/ 561134 h 570660"/>
                    <a:gd name="connsiteX304" fmla="*/ 162204 w 222406"/>
                    <a:gd name="connsiteY304" fmla="*/ 563692 h 570660"/>
                    <a:gd name="connsiteX305" fmla="*/ 161813 w 222406"/>
                    <a:gd name="connsiteY305" fmla="*/ 565974 h 570660"/>
                    <a:gd name="connsiteX306" fmla="*/ 160705 w 222406"/>
                    <a:gd name="connsiteY306" fmla="*/ 566317 h 570660"/>
                    <a:gd name="connsiteX307" fmla="*/ 158333 w 222406"/>
                    <a:gd name="connsiteY307" fmla="*/ 570661 h 570660"/>
                    <a:gd name="connsiteX308" fmla="*/ 157306 w 222406"/>
                    <a:gd name="connsiteY308" fmla="*/ 568485 h 570660"/>
                    <a:gd name="connsiteX309" fmla="*/ 156711 w 222406"/>
                    <a:gd name="connsiteY309" fmla="*/ 566211 h 570660"/>
                    <a:gd name="connsiteX310" fmla="*/ 157355 w 222406"/>
                    <a:gd name="connsiteY310" fmla="*/ 561060 h 570660"/>
                    <a:gd name="connsiteX311" fmla="*/ 155921 w 222406"/>
                    <a:gd name="connsiteY311" fmla="*/ 551321 h 570660"/>
                    <a:gd name="connsiteX312" fmla="*/ 156809 w 222406"/>
                    <a:gd name="connsiteY312" fmla="*/ 550009 h 570660"/>
                    <a:gd name="connsiteX313" fmla="*/ 157665 w 222406"/>
                    <a:gd name="connsiteY313" fmla="*/ 549357 h 570660"/>
                    <a:gd name="connsiteX314" fmla="*/ 159230 w 222406"/>
                    <a:gd name="connsiteY314" fmla="*/ 545625 h 570660"/>
                    <a:gd name="connsiteX315" fmla="*/ 161120 w 222406"/>
                    <a:gd name="connsiteY315" fmla="*/ 541925 h 570660"/>
                    <a:gd name="connsiteX316" fmla="*/ 161291 w 222406"/>
                    <a:gd name="connsiteY316" fmla="*/ 537508 h 570660"/>
                    <a:gd name="connsiteX317" fmla="*/ 162832 w 222406"/>
                    <a:gd name="connsiteY317" fmla="*/ 534272 h 570660"/>
                    <a:gd name="connsiteX318" fmla="*/ 162473 w 222406"/>
                    <a:gd name="connsiteY318" fmla="*/ 531558 h 570660"/>
                    <a:gd name="connsiteX319" fmla="*/ 162554 w 222406"/>
                    <a:gd name="connsiteY319" fmla="*/ 528372 h 570660"/>
                    <a:gd name="connsiteX320" fmla="*/ 162872 w 222406"/>
                    <a:gd name="connsiteY320" fmla="*/ 525772 h 570660"/>
                    <a:gd name="connsiteX321" fmla="*/ 162750 w 222406"/>
                    <a:gd name="connsiteY321" fmla="*/ 523645 h 570660"/>
                    <a:gd name="connsiteX322" fmla="*/ 163973 w 222406"/>
                    <a:gd name="connsiteY322" fmla="*/ 521428 h 570660"/>
                    <a:gd name="connsiteX323" fmla="*/ 166084 w 222406"/>
                    <a:gd name="connsiteY323" fmla="*/ 519774 h 570660"/>
                    <a:gd name="connsiteX324" fmla="*/ 165195 w 222406"/>
                    <a:gd name="connsiteY324" fmla="*/ 519179 h 570660"/>
                    <a:gd name="connsiteX325" fmla="*/ 164323 w 222406"/>
                    <a:gd name="connsiteY325" fmla="*/ 517964 h 570660"/>
                    <a:gd name="connsiteX326" fmla="*/ 161561 w 222406"/>
                    <a:gd name="connsiteY326" fmla="*/ 519806 h 570660"/>
                    <a:gd name="connsiteX327" fmla="*/ 160150 w 222406"/>
                    <a:gd name="connsiteY327" fmla="*/ 519203 h 570660"/>
                    <a:gd name="connsiteX328" fmla="*/ 159865 w 222406"/>
                    <a:gd name="connsiteY328" fmla="*/ 517296 h 570660"/>
                    <a:gd name="connsiteX329" fmla="*/ 160216 w 222406"/>
                    <a:gd name="connsiteY329" fmla="*/ 515250 h 570660"/>
                    <a:gd name="connsiteX330" fmla="*/ 160370 w 222406"/>
                    <a:gd name="connsiteY330" fmla="*/ 514004 h 570660"/>
                    <a:gd name="connsiteX331" fmla="*/ 161471 w 222406"/>
                    <a:gd name="connsiteY331" fmla="*/ 512602 h 570660"/>
                    <a:gd name="connsiteX332" fmla="*/ 161389 w 222406"/>
                    <a:gd name="connsiteY332" fmla="*/ 509872 h 570660"/>
                    <a:gd name="connsiteX333" fmla="*/ 160843 w 222406"/>
                    <a:gd name="connsiteY333" fmla="*/ 507459 h 570660"/>
                    <a:gd name="connsiteX334" fmla="*/ 161642 w 222406"/>
                    <a:gd name="connsiteY334" fmla="*/ 504485 h 570660"/>
                    <a:gd name="connsiteX335" fmla="*/ 160020 w 222406"/>
                    <a:gd name="connsiteY335" fmla="*/ 504477 h 570660"/>
                    <a:gd name="connsiteX336" fmla="*/ 159262 w 222406"/>
                    <a:gd name="connsiteY336" fmla="*/ 503873 h 570660"/>
                    <a:gd name="connsiteX337" fmla="*/ 159735 w 222406"/>
                    <a:gd name="connsiteY337" fmla="*/ 502219 h 570660"/>
                    <a:gd name="connsiteX338" fmla="*/ 161218 w 222406"/>
                    <a:gd name="connsiteY338" fmla="*/ 500752 h 570660"/>
                    <a:gd name="connsiteX339" fmla="*/ 159865 w 222406"/>
                    <a:gd name="connsiteY339" fmla="*/ 497957 h 570660"/>
                    <a:gd name="connsiteX340" fmla="*/ 160868 w 222406"/>
                    <a:gd name="connsiteY340" fmla="*/ 494949 h 570660"/>
                    <a:gd name="connsiteX341" fmla="*/ 160827 w 222406"/>
                    <a:gd name="connsiteY341" fmla="*/ 491233 h 570660"/>
                    <a:gd name="connsiteX342" fmla="*/ 160142 w 222406"/>
                    <a:gd name="connsiteY342" fmla="*/ 487957 h 570660"/>
                    <a:gd name="connsiteX343" fmla="*/ 160183 w 222406"/>
                    <a:gd name="connsiteY343" fmla="*/ 485602 h 570660"/>
                    <a:gd name="connsiteX344" fmla="*/ 159140 w 222406"/>
                    <a:gd name="connsiteY344" fmla="*/ 481421 h 570660"/>
                    <a:gd name="connsiteX345" fmla="*/ 158659 w 222406"/>
                    <a:gd name="connsiteY345" fmla="*/ 476091 h 570660"/>
                    <a:gd name="connsiteX346" fmla="*/ 156451 w 222406"/>
                    <a:gd name="connsiteY346" fmla="*/ 472106 h 570660"/>
                    <a:gd name="connsiteX347" fmla="*/ 154821 w 222406"/>
                    <a:gd name="connsiteY347" fmla="*/ 466328 h 570660"/>
                    <a:gd name="connsiteX348" fmla="*/ 150461 w 222406"/>
                    <a:gd name="connsiteY348" fmla="*/ 458740 h 570660"/>
                    <a:gd name="connsiteX349" fmla="*/ 150534 w 222406"/>
                    <a:gd name="connsiteY349" fmla="*/ 455497 h 570660"/>
                    <a:gd name="connsiteX350" fmla="*/ 150305 w 222406"/>
                    <a:gd name="connsiteY350" fmla="*/ 452636 h 570660"/>
                    <a:gd name="connsiteX351" fmla="*/ 149352 w 222406"/>
                    <a:gd name="connsiteY351" fmla="*/ 451251 h 570660"/>
                    <a:gd name="connsiteX352" fmla="*/ 148097 w 222406"/>
                    <a:gd name="connsiteY352" fmla="*/ 461356 h 570660"/>
                    <a:gd name="connsiteX353" fmla="*/ 147127 w 222406"/>
                    <a:gd name="connsiteY353" fmla="*/ 459376 h 570660"/>
                    <a:gd name="connsiteX354" fmla="*/ 146826 w 222406"/>
                    <a:gd name="connsiteY354" fmla="*/ 453736 h 570660"/>
                    <a:gd name="connsiteX355" fmla="*/ 146190 w 222406"/>
                    <a:gd name="connsiteY355" fmla="*/ 451063 h 570660"/>
                    <a:gd name="connsiteX356" fmla="*/ 146866 w 222406"/>
                    <a:gd name="connsiteY356" fmla="*/ 445741 h 570660"/>
                    <a:gd name="connsiteX357" fmla="*/ 144348 w 222406"/>
                    <a:gd name="connsiteY357" fmla="*/ 440461 h 570660"/>
                    <a:gd name="connsiteX358" fmla="*/ 143810 w 222406"/>
                    <a:gd name="connsiteY358" fmla="*/ 436622 h 570660"/>
                    <a:gd name="connsiteX359" fmla="*/ 142156 w 222406"/>
                    <a:gd name="connsiteY359" fmla="*/ 430803 h 570660"/>
                    <a:gd name="connsiteX360" fmla="*/ 142637 w 222406"/>
                    <a:gd name="connsiteY360" fmla="*/ 429499 h 570660"/>
                    <a:gd name="connsiteX361" fmla="*/ 144853 w 222406"/>
                    <a:gd name="connsiteY361" fmla="*/ 430811 h 570660"/>
                    <a:gd name="connsiteX362" fmla="*/ 142808 w 222406"/>
                    <a:gd name="connsiteY362" fmla="*/ 427421 h 570660"/>
                    <a:gd name="connsiteX363" fmla="*/ 141137 w 222406"/>
                    <a:gd name="connsiteY363" fmla="*/ 428179 h 570660"/>
                    <a:gd name="connsiteX364" fmla="*/ 139735 w 222406"/>
                    <a:gd name="connsiteY364" fmla="*/ 424520 h 570660"/>
                    <a:gd name="connsiteX365" fmla="*/ 139417 w 222406"/>
                    <a:gd name="connsiteY365" fmla="*/ 414593 h 570660"/>
                    <a:gd name="connsiteX366" fmla="*/ 138032 w 222406"/>
                    <a:gd name="connsiteY366" fmla="*/ 410877 h 570660"/>
                    <a:gd name="connsiteX367" fmla="*/ 138782 w 222406"/>
                    <a:gd name="connsiteY367" fmla="*/ 407095 h 570660"/>
                    <a:gd name="connsiteX368" fmla="*/ 137209 w 222406"/>
                    <a:gd name="connsiteY368" fmla="*/ 393534 h 570660"/>
                    <a:gd name="connsiteX369" fmla="*/ 134080 w 222406"/>
                    <a:gd name="connsiteY369" fmla="*/ 389125 h 570660"/>
                    <a:gd name="connsiteX370" fmla="*/ 134699 w 222406"/>
                    <a:gd name="connsiteY370" fmla="*/ 385328 h 570660"/>
                    <a:gd name="connsiteX371" fmla="*/ 135473 w 222406"/>
                    <a:gd name="connsiteY371" fmla="*/ 381970 h 570660"/>
                    <a:gd name="connsiteX372" fmla="*/ 135302 w 222406"/>
                    <a:gd name="connsiteY372" fmla="*/ 375743 h 570660"/>
                    <a:gd name="connsiteX373" fmla="*/ 136076 w 222406"/>
                    <a:gd name="connsiteY373" fmla="*/ 373828 h 570660"/>
                    <a:gd name="connsiteX374" fmla="*/ 137592 w 222406"/>
                    <a:gd name="connsiteY374" fmla="*/ 372353 h 570660"/>
                    <a:gd name="connsiteX375" fmla="*/ 136166 w 222406"/>
                    <a:gd name="connsiteY375" fmla="*/ 372875 h 570660"/>
                    <a:gd name="connsiteX376" fmla="*/ 134952 w 222406"/>
                    <a:gd name="connsiteY376" fmla="*/ 373315 h 570660"/>
                    <a:gd name="connsiteX377" fmla="*/ 132124 w 222406"/>
                    <a:gd name="connsiteY377" fmla="*/ 373682 h 570660"/>
                    <a:gd name="connsiteX378" fmla="*/ 128912 w 222406"/>
                    <a:gd name="connsiteY378" fmla="*/ 373747 h 570660"/>
                    <a:gd name="connsiteX379" fmla="*/ 127796 w 222406"/>
                    <a:gd name="connsiteY379" fmla="*/ 369191 h 570660"/>
                    <a:gd name="connsiteX380" fmla="*/ 126215 w 222406"/>
                    <a:gd name="connsiteY380" fmla="*/ 367015 h 570660"/>
                    <a:gd name="connsiteX381" fmla="*/ 124838 w 222406"/>
                    <a:gd name="connsiteY381" fmla="*/ 362443 h 570660"/>
                    <a:gd name="connsiteX382" fmla="*/ 124006 w 222406"/>
                    <a:gd name="connsiteY382" fmla="*/ 357252 h 570660"/>
                    <a:gd name="connsiteX383" fmla="*/ 124536 w 222406"/>
                    <a:gd name="connsiteY383" fmla="*/ 356233 h 570660"/>
                    <a:gd name="connsiteX384" fmla="*/ 122058 w 222406"/>
                    <a:gd name="connsiteY384" fmla="*/ 354114 h 570660"/>
                    <a:gd name="connsiteX385" fmla="*/ 121423 w 222406"/>
                    <a:gd name="connsiteY385" fmla="*/ 352818 h 570660"/>
                    <a:gd name="connsiteX386" fmla="*/ 118840 w 222406"/>
                    <a:gd name="connsiteY386" fmla="*/ 349436 h 570660"/>
                    <a:gd name="connsiteX387" fmla="*/ 115905 w 222406"/>
                    <a:gd name="connsiteY387" fmla="*/ 346877 h 570660"/>
                    <a:gd name="connsiteX388" fmla="*/ 116557 w 222406"/>
                    <a:gd name="connsiteY388" fmla="*/ 348678 h 570660"/>
                    <a:gd name="connsiteX389" fmla="*/ 117348 w 222406"/>
                    <a:gd name="connsiteY389" fmla="*/ 349819 h 570660"/>
                    <a:gd name="connsiteX390" fmla="*/ 115889 w 222406"/>
                    <a:gd name="connsiteY390" fmla="*/ 352941 h 570660"/>
                    <a:gd name="connsiteX391" fmla="*/ 117316 w 222406"/>
                    <a:gd name="connsiteY391" fmla="*/ 358205 h 570660"/>
                    <a:gd name="connsiteX392" fmla="*/ 116069 w 222406"/>
                    <a:gd name="connsiteY392" fmla="*/ 361571 h 570660"/>
                    <a:gd name="connsiteX393" fmla="*/ 114895 w 222406"/>
                    <a:gd name="connsiteY393" fmla="*/ 365939 h 570660"/>
                    <a:gd name="connsiteX394" fmla="*/ 113770 w 222406"/>
                    <a:gd name="connsiteY394" fmla="*/ 368026 h 570660"/>
                    <a:gd name="connsiteX395" fmla="*/ 110217 w 222406"/>
                    <a:gd name="connsiteY395" fmla="*/ 372500 h 570660"/>
                    <a:gd name="connsiteX396" fmla="*/ 107332 w 222406"/>
                    <a:gd name="connsiteY396" fmla="*/ 374016 h 570660"/>
                    <a:gd name="connsiteX397" fmla="*/ 105466 w 222406"/>
                    <a:gd name="connsiteY397" fmla="*/ 374301 h 570660"/>
                    <a:gd name="connsiteX398" fmla="*/ 103811 w 222406"/>
                    <a:gd name="connsiteY398" fmla="*/ 373828 h 570660"/>
                    <a:gd name="connsiteX399" fmla="*/ 101766 w 222406"/>
                    <a:gd name="connsiteY399" fmla="*/ 371522 h 570660"/>
                    <a:gd name="connsiteX400" fmla="*/ 101269 w 222406"/>
                    <a:gd name="connsiteY400" fmla="*/ 369590 h 570660"/>
                    <a:gd name="connsiteX401" fmla="*/ 100935 w 222406"/>
                    <a:gd name="connsiteY401" fmla="*/ 366355 h 570660"/>
                    <a:gd name="connsiteX402" fmla="*/ 100226 w 222406"/>
                    <a:gd name="connsiteY402" fmla="*/ 365874 h 570660"/>
                    <a:gd name="connsiteX403" fmla="*/ 99451 w 222406"/>
                    <a:gd name="connsiteY403" fmla="*/ 366257 h 570660"/>
                    <a:gd name="connsiteX404" fmla="*/ 100649 w 222406"/>
                    <a:gd name="connsiteY404" fmla="*/ 370454 h 570660"/>
                    <a:gd name="connsiteX405" fmla="*/ 100625 w 222406"/>
                    <a:gd name="connsiteY405" fmla="*/ 372394 h 570660"/>
                    <a:gd name="connsiteX406" fmla="*/ 102801 w 222406"/>
                    <a:gd name="connsiteY406" fmla="*/ 376159 h 570660"/>
                    <a:gd name="connsiteX407" fmla="*/ 102026 w 222406"/>
                    <a:gd name="connsiteY407" fmla="*/ 377202 h 570660"/>
                    <a:gd name="connsiteX408" fmla="*/ 98107 w 222406"/>
                    <a:gd name="connsiteY408" fmla="*/ 379272 h 570660"/>
                    <a:gd name="connsiteX409" fmla="*/ 96770 w 222406"/>
                    <a:gd name="connsiteY409" fmla="*/ 378938 h 570660"/>
                    <a:gd name="connsiteX410" fmla="*/ 95825 w 222406"/>
                    <a:gd name="connsiteY410" fmla="*/ 379346 h 570660"/>
                    <a:gd name="connsiteX411" fmla="*/ 95564 w 222406"/>
                    <a:gd name="connsiteY411" fmla="*/ 381041 h 570660"/>
                    <a:gd name="connsiteX412" fmla="*/ 95066 w 222406"/>
                    <a:gd name="connsiteY412" fmla="*/ 381978 h 570660"/>
                    <a:gd name="connsiteX413" fmla="*/ 88889 w 222406"/>
                    <a:gd name="connsiteY413" fmla="*/ 384570 h 570660"/>
                    <a:gd name="connsiteX414" fmla="*/ 87610 w 222406"/>
                    <a:gd name="connsiteY414" fmla="*/ 387487 h 570660"/>
                    <a:gd name="connsiteX415" fmla="*/ 86803 w 222406"/>
                    <a:gd name="connsiteY415" fmla="*/ 390438 h 570660"/>
                    <a:gd name="connsiteX416" fmla="*/ 83739 w 222406"/>
                    <a:gd name="connsiteY416" fmla="*/ 394684 h 570660"/>
                    <a:gd name="connsiteX417" fmla="*/ 79615 w 222406"/>
                    <a:gd name="connsiteY417" fmla="*/ 398196 h 570660"/>
                    <a:gd name="connsiteX418" fmla="*/ 78596 w 222406"/>
                    <a:gd name="connsiteY418" fmla="*/ 398000 h 570660"/>
                    <a:gd name="connsiteX419" fmla="*/ 77430 w 222406"/>
                    <a:gd name="connsiteY419" fmla="*/ 397177 h 570660"/>
                    <a:gd name="connsiteX420" fmla="*/ 77594 w 222406"/>
                    <a:gd name="connsiteY420" fmla="*/ 393388 h 570660"/>
                    <a:gd name="connsiteX421" fmla="*/ 79004 w 222406"/>
                    <a:gd name="connsiteY421" fmla="*/ 390177 h 570660"/>
                    <a:gd name="connsiteX422" fmla="*/ 78547 w 222406"/>
                    <a:gd name="connsiteY422" fmla="*/ 386746 h 570660"/>
                    <a:gd name="connsiteX423" fmla="*/ 78213 w 222406"/>
                    <a:gd name="connsiteY423" fmla="*/ 388718 h 570660"/>
                    <a:gd name="connsiteX424" fmla="*/ 75556 w 222406"/>
                    <a:gd name="connsiteY424" fmla="*/ 393494 h 570660"/>
                    <a:gd name="connsiteX425" fmla="*/ 74350 w 222406"/>
                    <a:gd name="connsiteY425" fmla="*/ 395050 h 570660"/>
                    <a:gd name="connsiteX426" fmla="*/ 71905 w 222406"/>
                    <a:gd name="connsiteY426" fmla="*/ 394643 h 570660"/>
                    <a:gd name="connsiteX427" fmla="*/ 68531 w 222406"/>
                    <a:gd name="connsiteY427" fmla="*/ 395278 h 570660"/>
                    <a:gd name="connsiteX428" fmla="*/ 67260 w 222406"/>
                    <a:gd name="connsiteY428" fmla="*/ 390372 h 570660"/>
                    <a:gd name="connsiteX429" fmla="*/ 67284 w 222406"/>
                    <a:gd name="connsiteY429" fmla="*/ 388563 h 570660"/>
                    <a:gd name="connsiteX430" fmla="*/ 67040 w 222406"/>
                    <a:gd name="connsiteY430" fmla="*/ 387047 h 570660"/>
                    <a:gd name="connsiteX431" fmla="*/ 67439 w 222406"/>
                    <a:gd name="connsiteY431" fmla="*/ 385425 h 570660"/>
                    <a:gd name="connsiteX432" fmla="*/ 67309 w 222406"/>
                    <a:gd name="connsiteY432" fmla="*/ 384146 h 570660"/>
                    <a:gd name="connsiteX433" fmla="*/ 66486 w 222406"/>
                    <a:gd name="connsiteY433" fmla="*/ 386599 h 570660"/>
                    <a:gd name="connsiteX434" fmla="*/ 66176 w 222406"/>
                    <a:gd name="connsiteY434" fmla="*/ 388718 h 570660"/>
                    <a:gd name="connsiteX435" fmla="*/ 64954 w 222406"/>
                    <a:gd name="connsiteY435" fmla="*/ 390600 h 570660"/>
                    <a:gd name="connsiteX436" fmla="*/ 61563 w 222406"/>
                    <a:gd name="connsiteY436" fmla="*/ 392638 h 570660"/>
                    <a:gd name="connsiteX437" fmla="*/ 61433 w 222406"/>
                    <a:gd name="connsiteY437" fmla="*/ 390062 h 570660"/>
                    <a:gd name="connsiteX438" fmla="*/ 61311 w 222406"/>
                    <a:gd name="connsiteY438" fmla="*/ 387740 h 570660"/>
                    <a:gd name="connsiteX439" fmla="*/ 62036 w 222406"/>
                    <a:gd name="connsiteY439" fmla="*/ 385654 h 570660"/>
                    <a:gd name="connsiteX440" fmla="*/ 61930 w 222406"/>
                    <a:gd name="connsiteY440" fmla="*/ 382328 h 570660"/>
                    <a:gd name="connsiteX441" fmla="*/ 63006 w 222406"/>
                    <a:gd name="connsiteY441" fmla="*/ 377545 h 570660"/>
                    <a:gd name="connsiteX442" fmla="*/ 62932 w 222406"/>
                    <a:gd name="connsiteY442" fmla="*/ 375898 h 570660"/>
                    <a:gd name="connsiteX443" fmla="*/ 62598 w 222406"/>
                    <a:gd name="connsiteY443" fmla="*/ 374081 h 570660"/>
                    <a:gd name="connsiteX444" fmla="*/ 61987 w 222406"/>
                    <a:gd name="connsiteY444" fmla="*/ 376713 h 570660"/>
                    <a:gd name="connsiteX445" fmla="*/ 61653 w 222406"/>
                    <a:gd name="connsiteY445" fmla="*/ 379444 h 570660"/>
                    <a:gd name="connsiteX446" fmla="*/ 60976 w 222406"/>
                    <a:gd name="connsiteY446" fmla="*/ 380275 h 570660"/>
                    <a:gd name="connsiteX447" fmla="*/ 59729 w 222406"/>
                    <a:gd name="connsiteY447" fmla="*/ 380894 h 570660"/>
                    <a:gd name="connsiteX448" fmla="*/ 57448 w 222406"/>
                    <a:gd name="connsiteY448" fmla="*/ 384032 h 570660"/>
                    <a:gd name="connsiteX449" fmla="*/ 56111 w 222406"/>
                    <a:gd name="connsiteY449" fmla="*/ 386835 h 570660"/>
                    <a:gd name="connsiteX450" fmla="*/ 52566 w 222406"/>
                    <a:gd name="connsiteY450" fmla="*/ 389484 h 570660"/>
                    <a:gd name="connsiteX451" fmla="*/ 50708 w 222406"/>
                    <a:gd name="connsiteY451" fmla="*/ 389215 h 570660"/>
                    <a:gd name="connsiteX452" fmla="*/ 50463 w 222406"/>
                    <a:gd name="connsiteY452" fmla="*/ 385849 h 570660"/>
                    <a:gd name="connsiteX453" fmla="*/ 51889 w 222406"/>
                    <a:gd name="connsiteY453" fmla="*/ 373918 h 570660"/>
                    <a:gd name="connsiteX454" fmla="*/ 53275 w 222406"/>
                    <a:gd name="connsiteY454" fmla="*/ 372239 h 570660"/>
                    <a:gd name="connsiteX455" fmla="*/ 53919 w 222406"/>
                    <a:gd name="connsiteY455" fmla="*/ 370169 h 570660"/>
                    <a:gd name="connsiteX456" fmla="*/ 55084 w 222406"/>
                    <a:gd name="connsiteY456" fmla="*/ 363193 h 570660"/>
                    <a:gd name="connsiteX457" fmla="*/ 56372 w 222406"/>
                    <a:gd name="connsiteY457" fmla="*/ 360552 h 570660"/>
                    <a:gd name="connsiteX458" fmla="*/ 56885 w 222406"/>
                    <a:gd name="connsiteY458" fmla="*/ 355011 h 570660"/>
                    <a:gd name="connsiteX459" fmla="*/ 57415 w 222406"/>
                    <a:gd name="connsiteY459" fmla="*/ 354057 h 570660"/>
                    <a:gd name="connsiteX460" fmla="*/ 59151 w 222406"/>
                    <a:gd name="connsiteY460" fmla="*/ 349705 h 570660"/>
                    <a:gd name="connsiteX461" fmla="*/ 59762 w 222406"/>
                    <a:gd name="connsiteY461" fmla="*/ 341718 h 570660"/>
                    <a:gd name="connsiteX462" fmla="*/ 59037 w 222406"/>
                    <a:gd name="connsiteY462" fmla="*/ 337749 h 570660"/>
                    <a:gd name="connsiteX463" fmla="*/ 57415 w 222406"/>
                    <a:gd name="connsiteY463" fmla="*/ 333895 h 570660"/>
                    <a:gd name="connsiteX464" fmla="*/ 55842 w 222406"/>
                    <a:gd name="connsiteY464" fmla="*/ 322322 h 570660"/>
                    <a:gd name="connsiteX465" fmla="*/ 51743 w 222406"/>
                    <a:gd name="connsiteY465" fmla="*/ 312934 h 570660"/>
                    <a:gd name="connsiteX466" fmla="*/ 51400 w 222406"/>
                    <a:gd name="connsiteY466" fmla="*/ 309796 h 570660"/>
                    <a:gd name="connsiteX467" fmla="*/ 49387 w 222406"/>
                    <a:gd name="connsiteY467" fmla="*/ 306014 h 570660"/>
                    <a:gd name="connsiteX468" fmla="*/ 51254 w 222406"/>
                    <a:gd name="connsiteY468" fmla="*/ 305745 h 570660"/>
                    <a:gd name="connsiteX469" fmla="*/ 47424 w 222406"/>
                    <a:gd name="connsiteY469" fmla="*/ 302420 h 570660"/>
                    <a:gd name="connsiteX470" fmla="*/ 46894 w 222406"/>
                    <a:gd name="connsiteY470" fmla="*/ 301059 h 570660"/>
                    <a:gd name="connsiteX471" fmla="*/ 46119 w 222406"/>
                    <a:gd name="connsiteY471" fmla="*/ 293276 h 570660"/>
                    <a:gd name="connsiteX472" fmla="*/ 46274 w 222406"/>
                    <a:gd name="connsiteY472" fmla="*/ 288932 h 570660"/>
                    <a:gd name="connsiteX473" fmla="*/ 45720 w 222406"/>
                    <a:gd name="connsiteY473" fmla="*/ 289503 h 570660"/>
                    <a:gd name="connsiteX474" fmla="*/ 45207 w 222406"/>
                    <a:gd name="connsiteY474" fmla="*/ 292176 h 570660"/>
                    <a:gd name="connsiteX475" fmla="*/ 43699 w 222406"/>
                    <a:gd name="connsiteY475" fmla="*/ 293276 h 570660"/>
                    <a:gd name="connsiteX476" fmla="*/ 44367 w 222406"/>
                    <a:gd name="connsiteY476" fmla="*/ 297930 h 570660"/>
                    <a:gd name="connsiteX477" fmla="*/ 44204 w 222406"/>
                    <a:gd name="connsiteY477" fmla="*/ 299054 h 570660"/>
                    <a:gd name="connsiteX478" fmla="*/ 43397 w 222406"/>
                    <a:gd name="connsiteY478" fmla="*/ 300864 h 570660"/>
                    <a:gd name="connsiteX479" fmla="*/ 40195 w 222406"/>
                    <a:gd name="connsiteY479" fmla="*/ 298989 h 570660"/>
                    <a:gd name="connsiteX480" fmla="*/ 37847 w 222406"/>
                    <a:gd name="connsiteY480" fmla="*/ 296952 h 570660"/>
                    <a:gd name="connsiteX481" fmla="*/ 35183 w 222406"/>
                    <a:gd name="connsiteY481" fmla="*/ 291972 h 570660"/>
                    <a:gd name="connsiteX482" fmla="*/ 32583 w 222406"/>
                    <a:gd name="connsiteY482" fmla="*/ 286398 h 570660"/>
                    <a:gd name="connsiteX483" fmla="*/ 33512 w 222406"/>
                    <a:gd name="connsiteY483" fmla="*/ 285534 h 570660"/>
                    <a:gd name="connsiteX484" fmla="*/ 34702 w 222406"/>
                    <a:gd name="connsiteY484" fmla="*/ 285420 h 570660"/>
                    <a:gd name="connsiteX485" fmla="*/ 38410 w 222406"/>
                    <a:gd name="connsiteY485" fmla="*/ 289568 h 570660"/>
                    <a:gd name="connsiteX486" fmla="*/ 40822 w 222406"/>
                    <a:gd name="connsiteY486" fmla="*/ 290432 h 570660"/>
                    <a:gd name="connsiteX487" fmla="*/ 42330 w 222406"/>
                    <a:gd name="connsiteY487" fmla="*/ 289405 h 570660"/>
                    <a:gd name="connsiteX488" fmla="*/ 44221 w 222406"/>
                    <a:gd name="connsiteY488" fmla="*/ 287637 h 570660"/>
                    <a:gd name="connsiteX489" fmla="*/ 45109 w 222406"/>
                    <a:gd name="connsiteY489" fmla="*/ 284198 h 570660"/>
                    <a:gd name="connsiteX490" fmla="*/ 44188 w 222406"/>
                    <a:gd name="connsiteY490" fmla="*/ 282943 h 570660"/>
                    <a:gd name="connsiteX491" fmla="*/ 42371 w 222406"/>
                    <a:gd name="connsiteY491" fmla="*/ 282258 h 570660"/>
                    <a:gd name="connsiteX492" fmla="*/ 41180 w 222406"/>
                    <a:gd name="connsiteY492" fmla="*/ 281329 h 570660"/>
                    <a:gd name="connsiteX493" fmla="*/ 39453 w 222406"/>
                    <a:gd name="connsiteY493" fmla="*/ 279006 h 570660"/>
                    <a:gd name="connsiteX494" fmla="*/ 39233 w 222406"/>
                    <a:gd name="connsiteY494" fmla="*/ 277824 h 570660"/>
                    <a:gd name="connsiteX495" fmla="*/ 38703 w 222406"/>
                    <a:gd name="connsiteY495" fmla="*/ 276301 h 570660"/>
                    <a:gd name="connsiteX496" fmla="*/ 36951 w 222406"/>
                    <a:gd name="connsiteY496" fmla="*/ 275233 h 570660"/>
                    <a:gd name="connsiteX497" fmla="*/ 35525 w 222406"/>
                    <a:gd name="connsiteY497" fmla="*/ 273872 h 570660"/>
                    <a:gd name="connsiteX498" fmla="*/ 36723 w 222406"/>
                    <a:gd name="connsiteY498" fmla="*/ 271460 h 570660"/>
                    <a:gd name="connsiteX499" fmla="*/ 37888 w 222406"/>
                    <a:gd name="connsiteY499" fmla="*/ 269667 h 570660"/>
                    <a:gd name="connsiteX500" fmla="*/ 34791 w 222406"/>
                    <a:gd name="connsiteY500" fmla="*/ 269748 h 570660"/>
                    <a:gd name="connsiteX501" fmla="*/ 31246 w 222406"/>
                    <a:gd name="connsiteY501" fmla="*/ 266676 h 570660"/>
                    <a:gd name="connsiteX502" fmla="*/ 30513 w 222406"/>
                    <a:gd name="connsiteY502" fmla="*/ 265779 h 570660"/>
                    <a:gd name="connsiteX503" fmla="*/ 29339 w 222406"/>
                    <a:gd name="connsiteY503" fmla="*/ 265160 h 570660"/>
                    <a:gd name="connsiteX504" fmla="*/ 26552 w 222406"/>
                    <a:gd name="connsiteY504" fmla="*/ 264801 h 570660"/>
                    <a:gd name="connsiteX505" fmla="*/ 24237 w 222406"/>
                    <a:gd name="connsiteY505" fmla="*/ 265706 h 570660"/>
                    <a:gd name="connsiteX506" fmla="*/ 25289 w 222406"/>
                    <a:gd name="connsiteY506" fmla="*/ 270098 h 570660"/>
                    <a:gd name="connsiteX507" fmla="*/ 25085 w 222406"/>
                    <a:gd name="connsiteY507" fmla="*/ 271549 h 570660"/>
                    <a:gd name="connsiteX508" fmla="*/ 23569 w 222406"/>
                    <a:gd name="connsiteY508" fmla="*/ 271345 h 570660"/>
                    <a:gd name="connsiteX509" fmla="*/ 20391 w 222406"/>
                    <a:gd name="connsiteY509" fmla="*/ 264646 h 570660"/>
                    <a:gd name="connsiteX510" fmla="*/ 21344 w 222406"/>
                    <a:gd name="connsiteY510" fmla="*/ 262951 h 570660"/>
                    <a:gd name="connsiteX511" fmla="*/ 22722 w 222406"/>
                    <a:gd name="connsiteY511" fmla="*/ 261362 h 570660"/>
                    <a:gd name="connsiteX512" fmla="*/ 22045 w 222406"/>
                    <a:gd name="connsiteY512" fmla="*/ 261134 h 570660"/>
                    <a:gd name="connsiteX513" fmla="*/ 20725 w 222406"/>
                    <a:gd name="connsiteY513" fmla="*/ 261240 h 570660"/>
                    <a:gd name="connsiteX514" fmla="*/ 22004 w 222406"/>
                    <a:gd name="connsiteY514" fmla="*/ 255299 h 570660"/>
                    <a:gd name="connsiteX515" fmla="*/ 21222 w 222406"/>
                    <a:gd name="connsiteY515" fmla="*/ 254418 h 570660"/>
                    <a:gd name="connsiteX516" fmla="*/ 20806 w 222406"/>
                    <a:gd name="connsiteY516" fmla="*/ 256277 h 570660"/>
                    <a:gd name="connsiteX517" fmla="*/ 20114 w 222406"/>
                    <a:gd name="connsiteY517" fmla="*/ 258070 h 570660"/>
                    <a:gd name="connsiteX518" fmla="*/ 17424 w 222406"/>
                    <a:gd name="connsiteY518" fmla="*/ 262267 h 570660"/>
                    <a:gd name="connsiteX519" fmla="*/ 16088 w 222406"/>
                    <a:gd name="connsiteY519" fmla="*/ 261476 h 570660"/>
                    <a:gd name="connsiteX520" fmla="*/ 15167 w 222406"/>
                    <a:gd name="connsiteY520" fmla="*/ 260433 h 570660"/>
                    <a:gd name="connsiteX521" fmla="*/ 16463 w 222406"/>
                    <a:gd name="connsiteY521" fmla="*/ 258224 h 570660"/>
                    <a:gd name="connsiteX522" fmla="*/ 17163 w 222406"/>
                    <a:gd name="connsiteY522" fmla="*/ 257638 h 570660"/>
                    <a:gd name="connsiteX523" fmla="*/ 17644 w 222406"/>
                    <a:gd name="connsiteY523" fmla="*/ 256448 h 570660"/>
                    <a:gd name="connsiteX524" fmla="*/ 16642 w 222406"/>
                    <a:gd name="connsiteY524" fmla="*/ 254141 h 570660"/>
                    <a:gd name="connsiteX525" fmla="*/ 15069 w 222406"/>
                    <a:gd name="connsiteY525" fmla="*/ 252462 h 570660"/>
                    <a:gd name="connsiteX526" fmla="*/ 13797 w 222406"/>
                    <a:gd name="connsiteY526" fmla="*/ 249561 h 570660"/>
                    <a:gd name="connsiteX527" fmla="*/ 13137 w 222406"/>
                    <a:gd name="connsiteY527" fmla="*/ 249529 h 570660"/>
                    <a:gd name="connsiteX528" fmla="*/ 13716 w 222406"/>
                    <a:gd name="connsiteY528" fmla="*/ 252943 h 570660"/>
                    <a:gd name="connsiteX529" fmla="*/ 13480 w 222406"/>
                    <a:gd name="connsiteY529" fmla="*/ 257825 h 570660"/>
                    <a:gd name="connsiteX530" fmla="*/ 10627 w 222406"/>
                    <a:gd name="connsiteY530" fmla="*/ 252438 h 570660"/>
                    <a:gd name="connsiteX531" fmla="*/ 4922 w 222406"/>
                    <a:gd name="connsiteY531" fmla="*/ 244777 h 570660"/>
                    <a:gd name="connsiteX532" fmla="*/ 3586 w 222406"/>
                    <a:gd name="connsiteY532" fmla="*/ 242479 h 570660"/>
                    <a:gd name="connsiteX533" fmla="*/ 3284 w 222406"/>
                    <a:gd name="connsiteY533" fmla="*/ 240230 h 570660"/>
                    <a:gd name="connsiteX534" fmla="*/ 2649 w 222406"/>
                    <a:gd name="connsiteY534" fmla="*/ 238160 h 570660"/>
                    <a:gd name="connsiteX535" fmla="*/ 2209 w 222406"/>
                    <a:gd name="connsiteY535" fmla="*/ 235894 h 570660"/>
                    <a:gd name="connsiteX536" fmla="*/ 2103 w 222406"/>
                    <a:gd name="connsiteY536" fmla="*/ 234134 h 570660"/>
                    <a:gd name="connsiteX537" fmla="*/ 872 w 222406"/>
                    <a:gd name="connsiteY537" fmla="*/ 232544 h 570660"/>
                    <a:gd name="connsiteX538" fmla="*/ 310 w 222406"/>
                    <a:gd name="connsiteY538" fmla="*/ 229765 h 570660"/>
                    <a:gd name="connsiteX539" fmla="*/ 0 w 222406"/>
                    <a:gd name="connsiteY539" fmla="*/ 226954 h 570660"/>
                    <a:gd name="connsiteX540" fmla="*/ 717 w 222406"/>
                    <a:gd name="connsiteY540" fmla="*/ 224949 h 570660"/>
                    <a:gd name="connsiteX541" fmla="*/ 2494 w 222406"/>
                    <a:gd name="connsiteY541" fmla="*/ 222781 h 570660"/>
                    <a:gd name="connsiteX542" fmla="*/ 3757 w 222406"/>
                    <a:gd name="connsiteY542" fmla="*/ 222398 h 570660"/>
                    <a:gd name="connsiteX543" fmla="*/ 4792 w 222406"/>
                    <a:gd name="connsiteY543" fmla="*/ 223360 h 570660"/>
                    <a:gd name="connsiteX544" fmla="*/ 7253 w 222406"/>
                    <a:gd name="connsiteY544" fmla="*/ 224786 h 570660"/>
                    <a:gd name="connsiteX545" fmla="*/ 8924 w 222406"/>
                    <a:gd name="connsiteY545" fmla="*/ 226122 h 570660"/>
                    <a:gd name="connsiteX546" fmla="*/ 9657 w 222406"/>
                    <a:gd name="connsiteY546" fmla="*/ 227866 h 570660"/>
                    <a:gd name="connsiteX547" fmla="*/ 10432 w 222406"/>
                    <a:gd name="connsiteY547" fmla="*/ 227655 h 570660"/>
                    <a:gd name="connsiteX548" fmla="*/ 11230 w 222406"/>
                    <a:gd name="connsiteY548" fmla="*/ 226538 h 570660"/>
                    <a:gd name="connsiteX549" fmla="*/ 11059 w 222406"/>
                    <a:gd name="connsiteY549" fmla="*/ 225161 h 570660"/>
                    <a:gd name="connsiteX550" fmla="*/ 10269 w 222406"/>
                    <a:gd name="connsiteY550" fmla="*/ 221542 h 570660"/>
                    <a:gd name="connsiteX551" fmla="*/ 10049 w 222406"/>
                    <a:gd name="connsiteY551" fmla="*/ 217142 h 570660"/>
                    <a:gd name="connsiteX552" fmla="*/ 10008 w 222406"/>
                    <a:gd name="connsiteY552" fmla="*/ 206857 h 570660"/>
                    <a:gd name="connsiteX553" fmla="*/ 9821 w 222406"/>
                    <a:gd name="connsiteY553" fmla="*/ 205683 h 570660"/>
                    <a:gd name="connsiteX554" fmla="*/ 11198 w 222406"/>
                    <a:gd name="connsiteY554" fmla="*/ 204648 h 570660"/>
                    <a:gd name="connsiteX555" fmla="*/ 11736 w 222406"/>
                    <a:gd name="connsiteY555" fmla="*/ 203466 h 570660"/>
                    <a:gd name="connsiteX556" fmla="*/ 12290 w 222406"/>
                    <a:gd name="connsiteY556" fmla="*/ 201706 h 570660"/>
                    <a:gd name="connsiteX557" fmla="*/ 12640 w 222406"/>
                    <a:gd name="connsiteY557" fmla="*/ 200932 h 570660"/>
                    <a:gd name="connsiteX558" fmla="*/ 13439 w 222406"/>
                    <a:gd name="connsiteY558" fmla="*/ 200883 h 570660"/>
                    <a:gd name="connsiteX559" fmla="*/ 14686 w 222406"/>
                    <a:gd name="connsiteY559" fmla="*/ 201747 h 570660"/>
                    <a:gd name="connsiteX560" fmla="*/ 16748 w 222406"/>
                    <a:gd name="connsiteY560" fmla="*/ 204681 h 570660"/>
                    <a:gd name="connsiteX561" fmla="*/ 18109 w 222406"/>
                    <a:gd name="connsiteY561" fmla="*/ 205349 h 570660"/>
                    <a:gd name="connsiteX562" fmla="*/ 19478 w 222406"/>
                    <a:gd name="connsiteY562" fmla="*/ 204884 h 570660"/>
                    <a:gd name="connsiteX563" fmla="*/ 20904 w 222406"/>
                    <a:gd name="connsiteY563" fmla="*/ 200467 h 570660"/>
                    <a:gd name="connsiteX564" fmla="*/ 21426 w 222406"/>
                    <a:gd name="connsiteY564" fmla="*/ 199277 h 570660"/>
                    <a:gd name="connsiteX565" fmla="*/ 22110 w 222406"/>
                    <a:gd name="connsiteY565" fmla="*/ 198487 h 570660"/>
                    <a:gd name="connsiteX566" fmla="*/ 23373 w 222406"/>
                    <a:gd name="connsiteY566" fmla="*/ 198617 h 570660"/>
                    <a:gd name="connsiteX567" fmla="*/ 24107 w 222406"/>
                    <a:gd name="connsiteY567" fmla="*/ 197827 h 570660"/>
                    <a:gd name="connsiteX568" fmla="*/ 24384 w 222406"/>
                    <a:gd name="connsiteY568" fmla="*/ 195920 h 570660"/>
                    <a:gd name="connsiteX569" fmla="*/ 24376 w 222406"/>
                    <a:gd name="connsiteY569" fmla="*/ 193792 h 570660"/>
                    <a:gd name="connsiteX570" fmla="*/ 22958 w 222406"/>
                    <a:gd name="connsiteY570" fmla="*/ 187974 h 570660"/>
                    <a:gd name="connsiteX571" fmla="*/ 22534 w 222406"/>
                    <a:gd name="connsiteY571" fmla="*/ 185292 h 570660"/>
                    <a:gd name="connsiteX572" fmla="*/ 22306 w 222406"/>
                    <a:gd name="connsiteY572" fmla="*/ 182644 h 570660"/>
                    <a:gd name="connsiteX573" fmla="*/ 23178 w 222406"/>
                    <a:gd name="connsiteY573" fmla="*/ 179922 h 570660"/>
                    <a:gd name="connsiteX574" fmla="*/ 24376 w 222406"/>
                    <a:gd name="connsiteY574" fmla="*/ 176735 h 570660"/>
                    <a:gd name="connsiteX575" fmla="*/ 24091 w 222406"/>
                    <a:gd name="connsiteY575" fmla="*/ 173948 h 570660"/>
                    <a:gd name="connsiteX576" fmla="*/ 24425 w 222406"/>
                    <a:gd name="connsiteY576" fmla="*/ 172864 h 570660"/>
                    <a:gd name="connsiteX577" fmla="*/ 25403 w 222406"/>
                    <a:gd name="connsiteY577" fmla="*/ 172709 h 570660"/>
                    <a:gd name="connsiteX578" fmla="*/ 26625 w 222406"/>
                    <a:gd name="connsiteY578" fmla="*/ 173386 h 570660"/>
                    <a:gd name="connsiteX579" fmla="*/ 27986 w 222406"/>
                    <a:gd name="connsiteY579" fmla="*/ 172921 h 570660"/>
                    <a:gd name="connsiteX580" fmla="*/ 29013 w 222406"/>
                    <a:gd name="connsiteY580" fmla="*/ 171218 h 570660"/>
                    <a:gd name="connsiteX581" fmla="*/ 29420 w 222406"/>
                    <a:gd name="connsiteY581" fmla="*/ 169734 h 570660"/>
                    <a:gd name="connsiteX582" fmla="*/ 30048 w 222406"/>
                    <a:gd name="connsiteY582" fmla="*/ 163288 h 570660"/>
                    <a:gd name="connsiteX583" fmla="*/ 30464 w 222406"/>
                    <a:gd name="connsiteY583" fmla="*/ 157388 h 570660"/>
                    <a:gd name="connsiteX584" fmla="*/ 30635 w 222406"/>
                    <a:gd name="connsiteY584" fmla="*/ 152571 h 570660"/>
                    <a:gd name="connsiteX585" fmla="*/ 29584 w 222406"/>
                    <a:gd name="connsiteY585" fmla="*/ 149694 h 570660"/>
                    <a:gd name="connsiteX586" fmla="*/ 27970 w 222406"/>
                    <a:gd name="connsiteY586" fmla="*/ 141952 h 570660"/>
                    <a:gd name="connsiteX587" fmla="*/ 28442 w 222406"/>
                    <a:gd name="connsiteY587" fmla="*/ 140624 h 570660"/>
                    <a:gd name="connsiteX588" fmla="*/ 29168 w 222406"/>
                    <a:gd name="connsiteY588" fmla="*/ 140306 h 570660"/>
                    <a:gd name="connsiteX589" fmla="*/ 31564 w 222406"/>
                    <a:gd name="connsiteY589" fmla="*/ 143020 h 570660"/>
                    <a:gd name="connsiteX590" fmla="*/ 32599 w 222406"/>
                    <a:gd name="connsiteY590" fmla="*/ 143476 h 570660"/>
                    <a:gd name="connsiteX591" fmla="*/ 34351 w 222406"/>
                    <a:gd name="connsiteY591" fmla="*/ 143061 h 570660"/>
                    <a:gd name="connsiteX592" fmla="*/ 36062 w 222406"/>
                    <a:gd name="connsiteY592" fmla="*/ 142457 h 570660"/>
                    <a:gd name="connsiteX593" fmla="*/ 37302 w 222406"/>
                    <a:gd name="connsiteY593" fmla="*/ 142425 h 570660"/>
                    <a:gd name="connsiteX594" fmla="*/ 39111 w 222406"/>
                    <a:gd name="connsiteY594" fmla="*/ 143354 h 570660"/>
                    <a:gd name="connsiteX595" fmla="*/ 41580 w 222406"/>
                    <a:gd name="connsiteY595" fmla="*/ 144381 h 570660"/>
                    <a:gd name="connsiteX596" fmla="*/ 45435 w 222406"/>
                    <a:gd name="connsiteY596" fmla="*/ 145660 h 570660"/>
                    <a:gd name="connsiteX597" fmla="*/ 47016 w 222406"/>
                    <a:gd name="connsiteY597" fmla="*/ 146630 h 570660"/>
                    <a:gd name="connsiteX598" fmla="*/ 48320 w 222406"/>
                    <a:gd name="connsiteY598" fmla="*/ 146491 h 570660"/>
                    <a:gd name="connsiteX599" fmla="*/ 49387 w 222406"/>
                    <a:gd name="connsiteY599" fmla="*/ 143484 h 570660"/>
                    <a:gd name="connsiteX600" fmla="*/ 50610 w 222406"/>
                    <a:gd name="connsiteY600" fmla="*/ 139083 h 570660"/>
                    <a:gd name="connsiteX601" fmla="*/ 52427 w 222406"/>
                    <a:gd name="connsiteY601" fmla="*/ 132547 h 570660"/>
                    <a:gd name="connsiteX602" fmla="*/ 54522 w 222406"/>
                    <a:gd name="connsiteY602" fmla="*/ 127788 h 570660"/>
                    <a:gd name="connsiteX603" fmla="*/ 55068 w 222406"/>
                    <a:gd name="connsiteY603" fmla="*/ 126525 h 570660"/>
                    <a:gd name="connsiteX604" fmla="*/ 57390 w 222406"/>
                    <a:gd name="connsiteY604" fmla="*/ 122645 h 570660"/>
                    <a:gd name="connsiteX605" fmla="*/ 59640 w 222406"/>
                    <a:gd name="connsiteY605" fmla="*/ 118579 h 570660"/>
                    <a:gd name="connsiteX606" fmla="*/ 61604 w 222406"/>
                    <a:gd name="connsiteY606" fmla="*/ 113436 h 570660"/>
                    <a:gd name="connsiteX607" fmla="*/ 62704 w 222406"/>
                    <a:gd name="connsiteY607" fmla="*/ 109744 h 570660"/>
                    <a:gd name="connsiteX608" fmla="*/ 62606 w 222406"/>
                    <a:gd name="connsiteY608" fmla="*/ 108204 h 570660"/>
                    <a:gd name="connsiteX609" fmla="*/ 61897 w 222406"/>
                    <a:gd name="connsiteY609" fmla="*/ 106924 h 570660"/>
                    <a:gd name="connsiteX610" fmla="*/ 60414 w 222406"/>
                    <a:gd name="connsiteY610" fmla="*/ 106110 h 570660"/>
                    <a:gd name="connsiteX611" fmla="*/ 59199 w 222406"/>
                    <a:gd name="connsiteY611" fmla="*/ 105262 h 570660"/>
                    <a:gd name="connsiteX612" fmla="*/ 58866 w 222406"/>
                    <a:gd name="connsiteY612" fmla="*/ 104496 h 570660"/>
                    <a:gd name="connsiteX613" fmla="*/ 58906 w 222406"/>
                    <a:gd name="connsiteY613" fmla="*/ 103632 h 570660"/>
                    <a:gd name="connsiteX614" fmla="*/ 59534 w 222406"/>
                    <a:gd name="connsiteY614" fmla="*/ 101228 h 570660"/>
                    <a:gd name="connsiteX615" fmla="*/ 60610 w 222406"/>
                    <a:gd name="connsiteY615" fmla="*/ 98392 h 570660"/>
                    <a:gd name="connsiteX616" fmla="*/ 61710 w 222406"/>
                    <a:gd name="connsiteY616" fmla="*/ 96851 h 570660"/>
                    <a:gd name="connsiteX617" fmla="*/ 64644 w 222406"/>
                    <a:gd name="connsiteY617" fmla="*/ 94944 h 570660"/>
                    <a:gd name="connsiteX618" fmla="*/ 66510 w 222406"/>
                    <a:gd name="connsiteY618" fmla="*/ 92491 h 570660"/>
                    <a:gd name="connsiteX619" fmla="*/ 68605 w 222406"/>
                    <a:gd name="connsiteY619" fmla="*/ 89256 h 570660"/>
                    <a:gd name="connsiteX620" fmla="*/ 69754 w 222406"/>
                    <a:gd name="connsiteY620" fmla="*/ 87047 h 570660"/>
                    <a:gd name="connsiteX621" fmla="*/ 70332 w 222406"/>
                    <a:gd name="connsiteY621" fmla="*/ 82557 h 570660"/>
                    <a:gd name="connsiteX622" fmla="*/ 70960 w 222406"/>
                    <a:gd name="connsiteY622" fmla="*/ 81660 h 570660"/>
                    <a:gd name="connsiteX623" fmla="*/ 72256 w 222406"/>
                    <a:gd name="connsiteY623" fmla="*/ 80210 h 570660"/>
                    <a:gd name="connsiteX624" fmla="*/ 73225 w 222406"/>
                    <a:gd name="connsiteY624" fmla="*/ 78515 h 570660"/>
                    <a:gd name="connsiteX625" fmla="*/ 73160 w 222406"/>
                    <a:gd name="connsiteY625" fmla="*/ 77594 h 570660"/>
                    <a:gd name="connsiteX626" fmla="*/ 72639 w 222406"/>
                    <a:gd name="connsiteY626" fmla="*/ 76925 h 570660"/>
                    <a:gd name="connsiteX627" fmla="*/ 71669 w 222406"/>
                    <a:gd name="connsiteY627" fmla="*/ 73780 h 570660"/>
                    <a:gd name="connsiteX628" fmla="*/ 71212 w 222406"/>
                    <a:gd name="connsiteY628" fmla="*/ 68841 h 570660"/>
                    <a:gd name="connsiteX629" fmla="*/ 71433 w 222406"/>
                    <a:gd name="connsiteY629" fmla="*/ 64839 h 570660"/>
                    <a:gd name="connsiteX630" fmla="*/ 72166 w 222406"/>
                    <a:gd name="connsiteY630" fmla="*/ 63218 h 570660"/>
                    <a:gd name="connsiteX631" fmla="*/ 73144 w 222406"/>
                    <a:gd name="connsiteY631" fmla="*/ 60944 h 570660"/>
                    <a:gd name="connsiteX632" fmla="*/ 74945 w 222406"/>
                    <a:gd name="connsiteY632" fmla="*/ 59550 h 570660"/>
                    <a:gd name="connsiteX633" fmla="*/ 77512 w 222406"/>
                    <a:gd name="connsiteY633" fmla="*/ 58580 h 570660"/>
                    <a:gd name="connsiteX634" fmla="*/ 81457 w 222406"/>
                    <a:gd name="connsiteY634" fmla="*/ 55932 h 570660"/>
                    <a:gd name="connsiteX635" fmla="*/ 88262 w 222406"/>
                    <a:gd name="connsiteY635" fmla="*/ 49779 h 570660"/>
                    <a:gd name="connsiteX636" fmla="*/ 90715 w 222406"/>
                    <a:gd name="connsiteY636" fmla="*/ 47774 h 570660"/>
                    <a:gd name="connsiteX637" fmla="*/ 92394 w 222406"/>
                    <a:gd name="connsiteY637" fmla="*/ 46731 h 570660"/>
                    <a:gd name="connsiteX638" fmla="*/ 94023 w 222406"/>
                    <a:gd name="connsiteY638" fmla="*/ 44155 h 570660"/>
                    <a:gd name="connsiteX639" fmla="*/ 96265 w 222406"/>
                    <a:gd name="connsiteY639" fmla="*/ 41327 h 570660"/>
                    <a:gd name="connsiteX640" fmla="*/ 99484 w 222406"/>
                    <a:gd name="connsiteY640" fmla="*/ 39926 h 570660"/>
                    <a:gd name="connsiteX641" fmla="*/ 101546 w 222406"/>
                    <a:gd name="connsiteY641" fmla="*/ 39388 h 570660"/>
                    <a:gd name="connsiteX642" fmla="*/ 111252 w 222406"/>
                    <a:gd name="connsiteY642" fmla="*/ 37456 h 570660"/>
                    <a:gd name="connsiteX643" fmla="*/ 112890 w 222406"/>
                    <a:gd name="connsiteY643" fmla="*/ 37701 h 570660"/>
                    <a:gd name="connsiteX644" fmla="*/ 114528 w 222406"/>
                    <a:gd name="connsiteY644" fmla="*/ 38825 h 570660"/>
                    <a:gd name="connsiteX645" fmla="*/ 116565 w 222406"/>
                    <a:gd name="connsiteY645" fmla="*/ 42574 h 570660"/>
                    <a:gd name="connsiteX646" fmla="*/ 118391 w 222406"/>
                    <a:gd name="connsiteY646" fmla="*/ 43984 h 570660"/>
                    <a:gd name="connsiteX647" fmla="*/ 120494 w 222406"/>
                    <a:gd name="connsiteY647" fmla="*/ 44978 h 570660"/>
                    <a:gd name="connsiteX648" fmla="*/ 122075 w 222406"/>
                    <a:gd name="connsiteY648" fmla="*/ 44546 h 570660"/>
                    <a:gd name="connsiteX649" fmla="*/ 122116 w 222406"/>
                    <a:gd name="connsiteY649" fmla="*/ 43031 h 570660"/>
                    <a:gd name="connsiteX650" fmla="*/ 117112 w 222406"/>
                    <a:gd name="connsiteY650" fmla="*/ 34270 h 570660"/>
                    <a:gd name="connsiteX651" fmla="*/ 116655 w 222406"/>
                    <a:gd name="connsiteY651" fmla="*/ 31882 h 570660"/>
                    <a:gd name="connsiteX652" fmla="*/ 116484 w 222406"/>
                    <a:gd name="connsiteY652" fmla="*/ 29600 h 570660"/>
                    <a:gd name="connsiteX653" fmla="*/ 117046 w 222406"/>
                    <a:gd name="connsiteY653" fmla="*/ 27782 h 570660"/>
                    <a:gd name="connsiteX654" fmla="*/ 118611 w 222406"/>
                    <a:gd name="connsiteY654" fmla="*/ 26055 h 570660"/>
                    <a:gd name="connsiteX655" fmla="*/ 120771 w 222406"/>
                    <a:gd name="connsiteY655" fmla="*/ 24091 h 570660"/>
                    <a:gd name="connsiteX656" fmla="*/ 123452 w 222406"/>
                    <a:gd name="connsiteY656" fmla="*/ 21646 h 570660"/>
                    <a:gd name="connsiteX657" fmla="*/ 125139 w 222406"/>
                    <a:gd name="connsiteY657" fmla="*/ 19951 h 570660"/>
                    <a:gd name="connsiteX658" fmla="*/ 127128 w 222406"/>
                    <a:gd name="connsiteY658" fmla="*/ 19413 h 570660"/>
                    <a:gd name="connsiteX659" fmla="*/ 127845 w 222406"/>
                    <a:gd name="connsiteY659" fmla="*/ 18443 h 570660"/>
                    <a:gd name="connsiteX660" fmla="*/ 128057 w 222406"/>
                    <a:gd name="connsiteY660" fmla="*/ 17025 h 570660"/>
                    <a:gd name="connsiteX661" fmla="*/ 127934 w 222406"/>
                    <a:gd name="connsiteY661" fmla="*/ 15484 h 570660"/>
                    <a:gd name="connsiteX662" fmla="*/ 127038 w 222406"/>
                    <a:gd name="connsiteY662" fmla="*/ 13732 h 570660"/>
                    <a:gd name="connsiteX663" fmla="*/ 127226 w 222406"/>
                    <a:gd name="connsiteY663" fmla="*/ 11524 h 570660"/>
                    <a:gd name="connsiteX664" fmla="*/ 127527 w 222406"/>
                    <a:gd name="connsiteY664" fmla="*/ 9527 h 570660"/>
                    <a:gd name="connsiteX665" fmla="*/ 128375 w 222406"/>
                    <a:gd name="connsiteY665" fmla="*/ 8362 h 570660"/>
                    <a:gd name="connsiteX666" fmla="*/ 130241 w 222406"/>
                    <a:gd name="connsiteY666" fmla="*/ 5191 h 570660"/>
                    <a:gd name="connsiteX667" fmla="*/ 131390 w 222406"/>
                    <a:gd name="connsiteY667" fmla="*/ 2909 h 570660"/>
                    <a:gd name="connsiteX668" fmla="*/ 131993 w 222406"/>
                    <a:gd name="connsiteY668" fmla="*/ 1931 h 570660"/>
                    <a:gd name="connsiteX669" fmla="*/ 132881 w 222406"/>
                    <a:gd name="connsiteY669" fmla="*/ 212 h 570660"/>
                    <a:gd name="connsiteX670" fmla="*/ 134405 w 222406"/>
                    <a:gd name="connsiteY670" fmla="*/ 0 h 570660"/>
                    <a:gd name="connsiteX671" fmla="*/ 135889 w 222406"/>
                    <a:gd name="connsiteY671" fmla="*/ 538 h 570660"/>
                    <a:gd name="connsiteX672" fmla="*/ 136769 w 222406"/>
                    <a:gd name="connsiteY672" fmla="*/ 1516 h 570660"/>
                    <a:gd name="connsiteX673" fmla="*/ 137600 w 222406"/>
                    <a:gd name="connsiteY673" fmla="*/ 3521 h 57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Lst>
                  <a:rect l="l" t="t" r="r" b="b"/>
                  <a:pathLst>
                    <a:path w="222406" h="570660">
                      <a:moveTo>
                        <a:pt x="137600" y="3521"/>
                      </a:moveTo>
                      <a:lnTo>
                        <a:pt x="138570" y="5143"/>
                      </a:lnTo>
                      <a:lnTo>
                        <a:pt x="139744" y="5143"/>
                      </a:lnTo>
                      <a:lnTo>
                        <a:pt x="140949" y="4914"/>
                      </a:lnTo>
                      <a:lnTo>
                        <a:pt x="141504" y="5134"/>
                      </a:lnTo>
                      <a:lnTo>
                        <a:pt x="142661" y="6495"/>
                      </a:lnTo>
                      <a:lnTo>
                        <a:pt x="144845" y="9755"/>
                      </a:lnTo>
                      <a:lnTo>
                        <a:pt x="145823" y="10570"/>
                      </a:lnTo>
                      <a:lnTo>
                        <a:pt x="146752" y="11956"/>
                      </a:lnTo>
                      <a:lnTo>
                        <a:pt x="147233" y="14727"/>
                      </a:lnTo>
                      <a:lnTo>
                        <a:pt x="147535" y="17514"/>
                      </a:lnTo>
                      <a:lnTo>
                        <a:pt x="150273" y="27187"/>
                      </a:lnTo>
                      <a:lnTo>
                        <a:pt x="151104" y="29225"/>
                      </a:lnTo>
                      <a:lnTo>
                        <a:pt x="151716" y="30773"/>
                      </a:lnTo>
                      <a:lnTo>
                        <a:pt x="152995" y="31156"/>
                      </a:lnTo>
                      <a:lnTo>
                        <a:pt x="154030" y="29600"/>
                      </a:lnTo>
                      <a:lnTo>
                        <a:pt x="154438" y="27937"/>
                      </a:lnTo>
                      <a:lnTo>
                        <a:pt x="155521" y="27375"/>
                      </a:lnTo>
                      <a:lnTo>
                        <a:pt x="156817" y="27676"/>
                      </a:lnTo>
                      <a:lnTo>
                        <a:pt x="159172" y="29225"/>
                      </a:lnTo>
                      <a:lnTo>
                        <a:pt x="160452" y="30064"/>
                      </a:lnTo>
                      <a:lnTo>
                        <a:pt x="161080" y="34840"/>
                      </a:lnTo>
                      <a:lnTo>
                        <a:pt x="161226" y="40447"/>
                      </a:lnTo>
                      <a:lnTo>
                        <a:pt x="161039" y="42175"/>
                      </a:lnTo>
                      <a:lnTo>
                        <a:pt x="162074" y="46796"/>
                      </a:lnTo>
                      <a:lnTo>
                        <a:pt x="162400" y="52101"/>
                      </a:lnTo>
                      <a:lnTo>
                        <a:pt x="162620" y="54995"/>
                      </a:lnTo>
                      <a:lnTo>
                        <a:pt x="162636" y="57765"/>
                      </a:lnTo>
                      <a:lnTo>
                        <a:pt x="162465" y="61400"/>
                      </a:lnTo>
                      <a:lnTo>
                        <a:pt x="161903" y="66257"/>
                      </a:lnTo>
                      <a:lnTo>
                        <a:pt x="160982" y="70397"/>
                      </a:lnTo>
                      <a:lnTo>
                        <a:pt x="161316" y="73845"/>
                      </a:lnTo>
                      <a:lnTo>
                        <a:pt x="160762" y="75418"/>
                      </a:lnTo>
                      <a:lnTo>
                        <a:pt x="158504" y="76224"/>
                      </a:lnTo>
                      <a:lnTo>
                        <a:pt x="158308" y="77545"/>
                      </a:lnTo>
                      <a:lnTo>
                        <a:pt x="158977" y="79713"/>
                      </a:lnTo>
                      <a:lnTo>
                        <a:pt x="160558" y="82418"/>
                      </a:lnTo>
                      <a:lnTo>
                        <a:pt x="160599" y="84130"/>
                      </a:lnTo>
                      <a:lnTo>
                        <a:pt x="159833" y="85295"/>
                      </a:lnTo>
                      <a:lnTo>
                        <a:pt x="158170" y="85409"/>
                      </a:lnTo>
                      <a:lnTo>
                        <a:pt x="155872" y="86485"/>
                      </a:lnTo>
                      <a:lnTo>
                        <a:pt x="154283" y="89981"/>
                      </a:lnTo>
                      <a:lnTo>
                        <a:pt x="152596" y="92858"/>
                      </a:lnTo>
                      <a:lnTo>
                        <a:pt x="151675" y="93420"/>
                      </a:lnTo>
                      <a:lnTo>
                        <a:pt x="148602" y="92614"/>
                      </a:lnTo>
                      <a:lnTo>
                        <a:pt x="147861" y="93355"/>
                      </a:lnTo>
                      <a:lnTo>
                        <a:pt x="146785" y="98245"/>
                      </a:lnTo>
                      <a:lnTo>
                        <a:pt x="145921" y="100348"/>
                      </a:lnTo>
                      <a:lnTo>
                        <a:pt x="144593" y="102124"/>
                      </a:lnTo>
                      <a:lnTo>
                        <a:pt x="143386" y="103167"/>
                      </a:lnTo>
                      <a:lnTo>
                        <a:pt x="142295" y="103893"/>
                      </a:lnTo>
                      <a:lnTo>
                        <a:pt x="139850" y="103404"/>
                      </a:lnTo>
                      <a:lnTo>
                        <a:pt x="138553" y="106346"/>
                      </a:lnTo>
                      <a:lnTo>
                        <a:pt x="137258" y="110233"/>
                      </a:lnTo>
                      <a:lnTo>
                        <a:pt x="137152" y="112238"/>
                      </a:lnTo>
                      <a:lnTo>
                        <a:pt x="137828" y="115400"/>
                      </a:lnTo>
                      <a:lnTo>
                        <a:pt x="137478" y="116272"/>
                      </a:lnTo>
                      <a:lnTo>
                        <a:pt x="136158" y="116957"/>
                      </a:lnTo>
                      <a:lnTo>
                        <a:pt x="133990" y="118375"/>
                      </a:lnTo>
                      <a:lnTo>
                        <a:pt x="132653" y="122882"/>
                      </a:lnTo>
                      <a:lnTo>
                        <a:pt x="132710" y="127258"/>
                      </a:lnTo>
                      <a:lnTo>
                        <a:pt x="133501" y="128758"/>
                      </a:lnTo>
                      <a:lnTo>
                        <a:pt x="135000" y="129418"/>
                      </a:lnTo>
                      <a:lnTo>
                        <a:pt x="136060" y="130771"/>
                      </a:lnTo>
                      <a:lnTo>
                        <a:pt x="136166" y="132881"/>
                      </a:lnTo>
                      <a:lnTo>
                        <a:pt x="137095" y="135506"/>
                      </a:lnTo>
                      <a:lnTo>
                        <a:pt x="136655" y="138570"/>
                      </a:lnTo>
                      <a:lnTo>
                        <a:pt x="133623" y="143020"/>
                      </a:lnTo>
                      <a:lnTo>
                        <a:pt x="133533" y="145440"/>
                      </a:lnTo>
                      <a:lnTo>
                        <a:pt x="135139" y="146190"/>
                      </a:lnTo>
                      <a:lnTo>
                        <a:pt x="136541" y="145848"/>
                      </a:lnTo>
                      <a:lnTo>
                        <a:pt x="138268" y="144788"/>
                      </a:lnTo>
                      <a:lnTo>
                        <a:pt x="140306" y="143085"/>
                      </a:lnTo>
                      <a:lnTo>
                        <a:pt x="144747" y="140607"/>
                      </a:lnTo>
                      <a:lnTo>
                        <a:pt x="149597" y="139198"/>
                      </a:lnTo>
                      <a:lnTo>
                        <a:pt x="153435" y="138928"/>
                      </a:lnTo>
                      <a:lnTo>
                        <a:pt x="156711" y="139034"/>
                      </a:lnTo>
                      <a:lnTo>
                        <a:pt x="158317" y="139564"/>
                      </a:lnTo>
                      <a:lnTo>
                        <a:pt x="158806" y="140469"/>
                      </a:lnTo>
                      <a:lnTo>
                        <a:pt x="163296" y="139026"/>
                      </a:lnTo>
                      <a:lnTo>
                        <a:pt x="164225" y="138937"/>
                      </a:lnTo>
                      <a:lnTo>
                        <a:pt x="165049" y="138863"/>
                      </a:lnTo>
                      <a:lnTo>
                        <a:pt x="165016" y="139825"/>
                      </a:lnTo>
                      <a:lnTo>
                        <a:pt x="161732" y="143778"/>
                      </a:lnTo>
                      <a:lnTo>
                        <a:pt x="161120" y="145628"/>
                      </a:lnTo>
                      <a:lnTo>
                        <a:pt x="161226" y="147608"/>
                      </a:lnTo>
                      <a:lnTo>
                        <a:pt x="162571" y="149450"/>
                      </a:lnTo>
                      <a:lnTo>
                        <a:pt x="163875" y="150860"/>
                      </a:lnTo>
                      <a:lnTo>
                        <a:pt x="164983" y="154413"/>
                      </a:lnTo>
                      <a:lnTo>
                        <a:pt x="164136" y="157657"/>
                      </a:lnTo>
                      <a:lnTo>
                        <a:pt x="164673" y="158846"/>
                      </a:lnTo>
                      <a:lnTo>
                        <a:pt x="165651" y="160175"/>
                      </a:lnTo>
                      <a:lnTo>
                        <a:pt x="166230" y="162041"/>
                      </a:lnTo>
                      <a:lnTo>
                        <a:pt x="166311" y="164323"/>
                      </a:lnTo>
                      <a:lnTo>
                        <a:pt x="165766" y="167941"/>
                      </a:lnTo>
                      <a:lnTo>
                        <a:pt x="170509" y="169832"/>
                      </a:lnTo>
                      <a:lnTo>
                        <a:pt x="174608" y="170680"/>
                      </a:lnTo>
                      <a:lnTo>
                        <a:pt x="177599" y="170908"/>
                      </a:lnTo>
                      <a:lnTo>
                        <a:pt x="179514" y="171748"/>
                      </a:lnTo>
                      <a:lnTo>
                        <a:pt x="180664" y="172457"/>
                      </a:lnTo>
                      <a:lnTo>
                        <a:pt x="181478" y="173761"/>
                      </a:lnTo>
                      <a:lnTo>
                        <a:pt x="181715" y="175178"/>
                      </a:lnTo>
                      <a:lnTo>
                        <a:pt x="180720" y="176173"/>
                      </a:lnTo>
                      <a:lnTo>
                        <a:pt x="178707" y="179359"/>
                      </a:lnTo>
                      <a:lnTo>
                        <a:pt x="177534" y="183605"/>
                      </a:lnTo>
                      <a:lnTo>
                        <a:pt x="177656" y="186784"/>
                      </a:lnTo>
                      <a:lnTo>
                        <a:pt x="177517" y="189538"/>
                      </a:lnTo>
                      <a:lnTo>
                        <a:pt x="175171" y="193507"/>
                      </a:lnTo>
                      <a:lnTo>
                        <a:pt x="174249" y="196237"/>
                      </a:lnTo>
                      <a:lnTo>
                        <a:pt x="173418" y="199041"/>
                      </a:lnTo>
                      <a:lnTo>
                        <a:pt x="173442" y="200255"/>
                      </a:lnTo>
                      <a:lnTo>
                        <a:pt x="173931" y="201103"/>
                      </a:lnTo>
                      <a:lnTo>
                        <a:pt x="174926" y="201592"/>
                      </a:lnTo>
                      <a:lnTo>
                        <a:pt x="176662" y="201885"/>
                      </a:lnTo>
                      <a:lnTo>
                        <a:pt x="178789" y="201567"/>
                      </a:lnTo>
                      <a:lnTo>
                        <a:pt x="183850" y="202244"/>
                      </a:lnTo>
                      <a:lnTo>
                        <a:pt x="189620" y="203474"/>
                      </a:lnTo>
                      <a:lnTo>
                        <a:pt x="191910" y="204143"/>
                      </a:lnTo>
                      <a:lnTo>
                        <a:pt x="192651" y="205382"/>
                      </a:lnTo>
                      <a:lnTo>
                        <a:pt x="192472" y="208079"/>
                      </a:lnTo>
                      <a:lnTo>
                        <a:pt x="192114" y="210581"/>
                      </a:lnTo>
                      <a:lnTo>
                        <a:pt x="192480" y="212504"/>
                      </a:lnTo>
                      <a:lnTo>
                        <a:pt x="193409" y="214281"/>
                      </a:lnTo>
                      <a:lnTo>
                        <a:pt x="194966" y="214860"/>
                      </a:lnTo>
                      <a:lnTo>
                        <a:pt x="196319" y="215544"/>
                      </a:lnTo>
                      <a:lnTo>
                        <a:pt x="196580" y="216897"/>
                      </a:lnTo>
                      <a:lnTo>
                        <a:pt x="196156" y="218731"/>
                      </a:lnTo>
                      <a:lnTo>
                        <a:pt x="196841" y="220181"/>
                      </a:lnTo>
                      <a:lnTo>
                        <a:pt x="197607" y="221135"/>
                      </a:lnTo>
                      <a:lnTo>
                        <a:pt x="199269" y="221673"/>
                      </a:lnTo>
                      <a:lnTo>
                        <a:pt x="202643" y="220491"/>
                      </a:lnTo>
                      <a:lnTo>
                        <a:pt x="205007" y="221013"/>
                      </a:lnTo>
                      <a:lnTo>
                        <a:pt x="207125" y="221820"/>
                      </a:lnTo>
                      <a:lnTo>
                        <a:pt x="208943" y="221396"/>
                      </a:lnTo>
                      <a:lnTo>
                        <a:pt x="210744" y="220369"/>
                      </a:lnTo>
                      <a:lnTo>
                        <a:pt x="214664" y="215707"/>
                      </a:lnTo>
                      <a:lnTo>
                        <a:pt x="219236" y="213189"/>
                      </a:lnTo>
                      <a:lnTo>
                        <a:pt x="220736" y="212586"/>
                      </a:lnTo>
                      <a:lnTo>
                        <a:pt x="221746" y="212887"/>
                      </a:lnTo>
                      <a:lnTo>
                        <a:pt x="221999" y="213213"/>
                      </a:lnTo>
                      <a:lnTo>
                        <a:pt x="221926" y="214159"/>
                      </a:lnTo>
                      <a:lnTo>
                        <a:pt x="222406" y="217997"/>
                      </a:lnTo>
                      <a:lnTo>
                        <a:pt x="222203" y="218429"/>
                      </a:lnTo>
                      <a:lnTo>
                        <a:pt x="220744" y="221493"/>
                      </a:lnTo>
                      <a:lnTo>
                        <a:pt x="216962" y="224672"/>
                      </a:lnTo>
                      <a:lnTo>
                        <a:pt x="214281" y="226277"/>
                      </a:lnTo>
                      <a:lnTo>
                        <a:pt x="212724" y="226326"/>
                      </a:lnTo>
                      <a:lnTo>
                        <a:pt x="211396" y="228225"/>
                      </a:lnTo>
                      <a:lnTo>
                        <a:pt x="210312" y="231974"/>
                      </a:lnTo>
                      <a:lnTo>
                        <a:pt x="209171" y="234174"/>
                      </a:lnTo>
                      <a:lnTo>
                        <a:pt x="207998" y="234835"/>
                      </a:lnTo>
                      <a:lnTo>
                        <a:pt x="207240" y="236244"/>
                      </a:lnTo>
                      <a:lnTo>
                        <a:pt x="206897" y="238429"/>
                      </a:lnTo>
                      <a:lnTo>
                        <a:pt x="207574" y="239594"/>
                      </a:lnTo>
                      <a:lnTo>
                        <a:pt x="209269" y="239757"/>
                      </a:lnTo>
                      <a:lnTo>
                        <a:pt x="209399" y="240368"/>
                      </a:lnTo>
                      <a:lnTo>
                        <a:pt x="207973" y="241428"/>
                      </a:lnTo>
                      <a:lnTo>
                        <a:pt x="206180" y="241803"/>
                      </a:lnTo>
                      <a:lnTo>
                        <a:pt x="204045" y="241493"/>
                      </a:lnTo>
                      <a:lnTo>
                        <a:pt x="202040" y="242340"/>
                      </a:lnTo>
                      <a:lnTo>
                        <a:pt x="200133" y="244370"/>
                      </a:lnTo>
                      <a:lnTo>
                        <a:pt x="198519" y="248738"/>
                      </a:lnTo>
                      <a:lnTo>
                        <a:pt x="197166" y="255445"/>
                      </a:lnTo>
                      <a:lnTo>
                        <a:pt x="196995" y="257165"/>
                      </a:lnTo>
                      <a:lnTo>
                        <a:pt x="194045" y="255217"/>
                      </a:lnTo>
                      <a:lnTo>
                        <a:pt x="192823" y="254117"/>
                      </a:lnTo>
                      <a:lnTo>
                        <a:pt x="191250" y="253840"/>
                      </a:lnTo>
                      <a:lnTo>
                        <a:pt x="189628" y="255070"/>
                      </a:lnTo>
                      <a:lnTo>
                        <a:pt x="188340" y="256407"/>
                      </a:lnTo>
                      <a:lnTo>
                        <a:pt x="187020" y="256904"/>
                      </a:lnTo>
                      <a:lnTo>
                        <a:pt x="185007" y="257059"/>
                      </a:lnTo>
                      <a:lnTo>
                        <a:pt x="182350" y="256374"/>
                      </a:lnTo>
                      <a:lnTo>
                        <a:pt x="180549" y="255747"/>
                      </a:lnTo>
                      <a:lnTo>
                        <a:pt x="180272" y="256089"/>
                      </a:lnTo>
                      <a:lnTo>
                        <a:pt x="181258" y="258909"/>
                      </a:lnTo>
                      <a:lnTo>
                        <a:pt x="181609" y="261158"/>
                      </a:lnTo>
                      <a:lnTo>
                        <a:pt x="181226" y="262332"/>
                      </a:lnTo>
                      <a:lnTo>
                        <a:pt x="180370" y="263302"/>
                      </a:lnTo>
                      <a:lnTo>
                        <a:pt x="179074" y="264068"/>
                      </a:lnTo>
                      <a:lnTo>
                        <a:pt x="177550" y="264516"/>
                      </a:lnTo>
                      <a:lnTo>
                        <a:pt x="176206" y="264467"/>
                      </a:lnTo>
                      <a:lnTo>
                        <a:pt x="174054" y="263399"/>
                      </a:lnTo>
                      <a:lnTo>
                        <a:pt x="172408" y="263359"/>
                      </a:lnTo>
                      <a:lnTo>
                        <a:pt x="171006" y="263888"/>
                      </a:lnTo>
                      <a:lnTo>
                        <a:pt x="170150" y="264679"/>
                      </a:lnTo>
                      <a:lnTo>
                        <a:pt x="169678" y="265673"/>
                      </a:lnTo>
                      <a:lnTo>
                        <a:pt x="168846" y="271240"/>
                      </a:lnTo>
                      <a:lnTo>
                        <a:pt x="168121" y="272983"/>
                      </a:lnTo>
                      <a:lnTo>
                        <a:pt x="167094" y="273970"/>
                      </a:lnTo>
                      <a:lnTo>
                        <a:pt x="166084" y="274076"/>
                      </a:lnTo>
                      <a:lnTo>
                        <a:pt x="164682" y="273798"/>
                      </a:lnTo>
                      <a:lnTo>
                        <a:pt x="163215" y="274027"/>
                      </a:lnTo>
                      <a:lnTo>
                        <a:pt x="156597" y="276178"/>
                      </a:lnTo>
                      <a:lnTo>
                        <a:pt x="155635" y="276390"/>
                      </a:lnTo>
                      <a:lnTo>
                        <a:pt x="153566" y="276553"/>
                      </a:lnTo>
                      <a:lnTo>
                        <a:pt x="151634" y="276610"/>
                      </a:lnTo>
                      <a:lnTo>
                        <a:pt x="150289" y="276504"/>
                      </a:lnTo>
                      <a:lnTo>
                        <a:pt x="147111" y="274296"/>
                      </a:lnTo>
                      <a:lnTo>
                        <a:pt x="145571" y="274059"/>
                      </a:lnTo>
                      <a:lnTo>
                        <a:pt x="144723" y="274687"/>
                      </a:lnTo>
                      <a:lnTo>
                        <a:pt x="144136" y="277645"/>
                      </a:lnTo>
                      <a:lnTo>
                        <a:pt x="142278" y="279520"/>
                      </a:lnTo>
                      <a:lnTo>
                        <a:pt x="139800" y="283611"/>
                      </a:lnTo>
                      <a:lnTo>
                        <a:pt x="139230" y="289593"/>
                      </a:lnTo>
                      <a:lnTo>
                        <a:pt x="139491" y="293765"/>
                      </a:lnTo>
                      <a:lnTo>
                        <a:pt x="137258" y="297889"/>
                      </a:lnTo>
                      <a:lnTo>
                        <a:pt x="137062" y="299878"/>
                      </a:lnTo>
                      <a:lnTo>
                        <a:pt x="138252" y="309437"/>
                      </a:lnTo>
                      <a:lnTo>
                        <a:pt x="138049" y="310440"/>
                      </a:lnTo>
                      <a:lnTo>
                        <a:pt x="137600" y="310937"/>
                      </a:lnTo>
                      <a:lnTo>
                        <a:pt x="136207" y="311271"/>
                      </a:lnTo>
                      <a:lnTo>
                        <a:pt x="133868" y="312273"/>
                      </a:lnTo>
                      <a:lnTo>
                        <a:pt x="132327" y="313219"/>
                      </a:lnTo>
                      <a:lnTo>
                        <a:pt x="131586" y="313325"/>
                      </a:lnTo>
                      <a:lnTo>
                        <a:pt x="129393" y="312616"/>
                      </a:lnTo>
                      <a:lnTo>
                        <a:pt x="128823" y="312607"/>
                      </a:lnTo>
                      <a:lnTo>
                        <a:pt x="128994" y="313333"/>
                      </a:lnTo>
                      <a:lnTo>
                        <a:pt x="130738" y="317473"/>
                      </a:lnTo>
                      <a:lnTo>
                        <a:pt x="132547" y="319429"/>
                      </a:lnTo>
                      <a:lnTo>
                        <a:pt x="134422" y="319209"/>
                      </a:lnTo>
                      <a:lnTo>
                        <a:pt x="135237" y="319600"/>
                      </a:lnTo>
                      <a:lnTo>
                        <a:pt x="135000" y="320586"/>
                      </a:lnTo>
                      <a:lnTo>
                        <a:pt x="135726" y="323178"/>
                      </a:lnTo>
                      <a:lnTo>
                        <a:pt x="137413" y="327367"/>
                      </a:lnTo>
                      <a:lnTo>
                        <a:pt x="137910" y="330496"/>
                      </a:lnTo>
                      <a:lnTo>
                        <a:pt x="136891" y="333617"/>
                      </a:lnTo>
                      <a:lnTo>
                        <a:pt x="137079" y="334734"/>
                      </a:lnTo>
                      <a:lnTo>
                        <a:pt x="137649" y="335386"/>
                      </a:lnTo>
                      <a:lnTo>
                        <a:pt x="139222" y="338287"/>
                      </a:lnTo>
                      <a:lnTo>
                        <a:pt x="142604" y="342819"/>
                      </a:lnTo>
                      <a:lnTo>
                        <a:pt x="145921" y="347725"/>
                      </a:lnTo>
                      <a:lnTo>
                        <a:pt x="148692" y="351808"/>
                      </a:lnTo>
                      <a:lnTo>
                        <a:pt x="150721" y="354628"/>
                      </a:lnTo>
                      <a:lnTo>
                        <a:pt x="155252" y="359892"/>
                      </a:lnTo>
                      <a:lnTo>
                        <a:pt x="156051" y="362362"/>
                      </a:lnTo>
                      <a:lnTo>
                        <a:pt x="156222" y="367349"/>
                      </a:lnTo>
                      <a:lnTo>
                        <a:pt x="157347" y="370226"/>
                      </a:lnTo>
                      <a:lnTo>
                        <a:pt x="158374" y="372280"/>
                      </a:lnTo>
                      <a:lnTo>
                        <a:pt x="159091" y="373991"/>
                      </a:lnTo>
                      <a:lnTo>
                        <a:pt x="160753" y="379623"/>
                      </a:lnTo>
                      <a:lnTo>
                        <a:pt x="161471" y="380381"/>
                      </a:lnTo>
                      <a:lnTo>
                        <a:pt x="165089" y="376958"/>
                      </a:lnTo>
                      <a:lnTo>
                        <a:pt x="165937" y="377675"/>
                      </a:lnTo>
                      <a:lnTo>
                        <a:pt x="166409" y="378963"/>
                      </a:lnTo>
                      <a:lnTo>
                        <a:pt x="166409" y="380609"/>
                      </a:lnTo>
                      <a:lnTo>
                        <a:pt x="165847" y="382475"/>
                      </a:lnTo>
                      <a:lnTo>
                        <a:pt x="164665" y="384186"/>
                      </a:lnTo>
                      <a:lnTo>
                        <a:pt x="159067" y="388164"/>
                      </a:lnTo>
                      <a:lnTo>
                        <a:pt x="158602" y="391587"/>
                      </a:lnTo>
                      <a:lnTo>
                        <a:pt x="158211" y="396778"/>
                      </a:lnTo>
                      <a:lnTo>
                        <a:pt x="158113" y="403151"/>
                      </a:lnTo>
                      <a:lnTo>
                        <a:pt x="158382" y="407910"/>
                      </a:lnTo>
                      <a:lnTo>
                        <a:pt x="158178" y="409003"/>
                      </a:lnTo>
                      <a:lnTo>
                        <a:pt x="157689" y="409516"/>
                      </a:lnTo>
                      <a:lnTo>
                        <a:pt x="155579" y="409312"/>
                      </a:lnTo>
                      <a:lnTo>
                        <a:pt x="152530" y="411716"/>
                      </a:lnTo>
                      <a:lnTo>
                        <a:pt x="151455" y="411928"/>
                      </a:lnTo>
                      <a:lnTo>
                        <a:pt x="150126" y="412841"/>
                      </a:lnTo>
                      <a:lnTo>
                        <a:pt x="149099" y="413974"/>
                      </a:lnTo>
                      <a:lnTo>
                        <a:pt x="148773" y="415710"/>
                      </a:lnTo>
                      <a:lnTo>
                        <a:pt x="149368" y="420934"/>
                      </a:lnTo>
                      <a:lnTo>
                        <a:pt x="150452" y="425848"/>
                      </a:lnTo>
                      <a:lnTo>
                        <a:pt x="152604" y="429450"/>
                      </a:lnTo>
                      <a:lnTo>
                        <a:pt x="154283" y="432294"/>
                      </a:lnTo>
                      <a:lnTo>
                        <a:pt x="156638" y="436255"/>
                      </a:lnTo>
                      <a:lnTo>
                        <a:pt x="158504" y="439686"/>
                      </a:lnTo>
                      <a:lnTo>
                        <a:pt x="162253" y="443468"/>
                      </a:lnTo>
                      <a:lnTo>
                        <a:pt x="167518" y="449115"/>
                      </a:lnTo>
                      <a:lnTo>
                        <a:pt x="169531" y="452229"/>
                      </a:lnTo>
                      <a:lnTo>
                        <a:pt x="171316" y="456010"/>
                      </a:lnTo>
                      <a:lnTo>
                        <a:pt x="172570" y="459237"/>
                      </a:lnTo>
                      <a:lnTo>
                        <a:pt x="173044" y="463516"/>
                      </a:lnTo>
                      <a:lnTo>
                        <a:pt x="173435" y="465912"/>
                      </a:lnTo>
                      <a:lnTo>
                        <a:pt x="173548" y="473915"/>
                      </a:lnTo>
                      <a:lnTo>
                        <a:pt x="172579" y="475741"/>
                      </a:lnTo>
                      <a:lnTo>
                        <a:pt x="171837" y="477851"/>
                      </a:lnTo>
                      <a:lnTo>
                        <a:pt x="172253" y="480060"/>
                      </a:lnTo>
                      <a:lnTo>
                        <a:pt x="173475" y="482163"/>
                      </a:lnTo>
                      <a:lnTo>
                        <a:pt x="173475" y="484575"/>
                      </a:lnTo>
                      <a:lnTo>
                        <a:pt x="174624" y="488886"/>
                      </a:lnTo>
                      <a:lnTo>
                        <a:pt x="176556" y="491519"/>
                      </a:lnTo>
                      <a:lnTo>
                        <a:pt x="178406" y="493295"/>
                      </a:lnTo>
                      <a:lnTo>
                        <a:pt x="179229" y="494705"/>
                      </a:lnTo>
                      <a:lnTo>
                        <a:pt x="178960" y="496946"/>
                      </a:lnTo>
                      <a:lnTo>
                        <a:pt x="179506" y="499334"/>
                      </a:lnTo>
                      <a:lnTo>
                        <a:pt x="179913" y="501934"/>
                      </a:lnTo>
                      <a:lnTo>
                        <a:pt x="180664" y="505528"/>
                      </a:lnTo>
                      <a:lnTo>
                        <a:pt x="182155" y="508576"/>
                      </a:lnTo>
                      <a:lnTo>
                        <a:pt x="184428" y="517916"/>
                      </a:lnTo>
                      <a:lnTo>
                        <a:pt x="184380" y="518861"/>
                      </a:lnTo>
                      <a:lnTo>
                        <a:pt x="183393" y="520752"/>
                      </a:lnTo>
                      <a:lnTo>
                        <a:pt x="181959" y="522455"/>
                      </a:lnTo>
                      <a:lnTo>
                        <a:pt x="181047" y="523001"/>
                      </a:lnTo>
                      <a:lnTo>
                        <a:pt x="180166" y="524761"/>
                      </a:lnTo>
                      <a:lnTo>
                        <a:pt x="178096" y="529749"/>
                      </a:lnTo>
                      <a:lnTo>
                        <a:pt x="173899" y="538339"/>
                      </a:lnTo>
                      <a:lnTo>
                        <a:pt x="169824" y="543946"/>
                      </a:lnTo>
                      <a:lnTo>
                        <a:pt x="166385" y="547923"/>
                      </a:lnTo>
                      <a:lnTo>
                        <a:pt x="163891" y="550335"/>
                      </a:lnTo>
                      <a:lnTo>
                        <a:pt x="163166" y="551770"/>
                      </a:lnTo>
                      <a:lnTo>
                        <a:pt x="163166" y="552902"/>
                      </a:lnTo>
                      <a:lnTo>
                        <a:pt x="163614" y="554915"/>
                      </a:lnTo>
                      <a:lnTo>
                        <a:pt x="163435" y="558721"/>
                      </a:lnTo>
                      <a:lnTo>
                        <a:pt x="162913" y="561134"/>
                      </a:lnTo>
                      <a:lnTo>
                        <a:pt x="162204" y="563692"/>
                      </a:lnTo>
                      <a:lnTo>
                        <a:pt x="161813" y="565974"/>
                      </a:lnTo>
                      <a:lnTo>
                        <a:pt x="160705" y="566317"/>
                      </a:lnTo>
                      <a:lnTo>
                        <a:pt x="158333" y="570661"/>
                      </a:lnTo>
                      <a:lnTo>
                        <a:pt x="157306" y="568485"/>
                      </a:lnTo>
                      <a:lnTo>
                        <a:pt x="156711" y="566211"/>
                      </a:lnTo>
                      <a:lnTo>
                        <a:pt x="157355" y="561060"/>
                      </a:lnTo>
                      <a:lnTo>
                        <a:pt x="155921" y="551321"/>
                      </a:lnTo>
                      <a:lnTo>
                        <a:pt x="156809" y="550009"/>
                      </a:lnTo>
                      <a:lnTo>
                        <a:pt x="157665" y="549357"/>
                      </a:lnTo>
                      <a:lnTo>
                        <a:pt x="159230" y="545625"/>
                      </a:lnTo>
                      <a:lnTo>
                        <a:pt x="161120" y="541925"/>
                      </a:lnTo>
                      <a:lnTo>
                        <a:pt x="161291" y="537508"/>
                      </a:lnTo>
                      <a:lnTo>
                        <a:pt x="162832" y="534272"/>
                      </a:lnTo>
                      <a:lnTo>
                        <a:pt x="162473" y="531558"/>
                      </a:lnTo>
                      <a:lnTo>
                        <a:pt x="162554" y="528372"/>
                      </a:lnTo>
                      <a:lnTo>
                        <a:pt x="162872" y="525772"/>
                      </a:lnTo>
                      <a:lnTo>
                        <a:pt x="162750" y="523645"/>
                      </a:lnTo>
                      <a:lnTo>
                        <a:pt x="163973" y="521428"/>
                      </a:lnTo>
                      <a:lnTo>
                        <a:pt x="166084" y="519774"/>
                      </a:lnTo>
                      <a:lnTo>
                        <a:pt x="165195" y="519179"/>
                      </a:lnTo>
                      <a:lnTo>
                        <a:pt x="164323" y="517964"/>
                      </a:lnTo>
                      <a:lnTo>
                        <a:pt x="161561" y="519806"/>
                      </a:lnTo>
                      <a:lnTo>
                        <a:pt x="160150" y="519203"/>
                      </a:lnTo>
                      <a:lnTo>
                        <a:pt x="159865" y="517296"/>
                      </a:lnTo>
                      <a:lnTo>
                        <a:pt x="160216" y="515250"/>
                      </a:lnTo>
                      <a:lnTo>
                        <a:pt x="160370" y="514004"/>
                      </a:lnTo>
                      <a:lnTo>
                        <a:pt x="161471" y="512602"/>
                      </a:lnTo>
                      <a:lnTo>
                        <a:pt x="161389" y="509872"/>
                      </a:lnTo>
                      <a:lnTo>
                        <a:pt x="160843" y="507459"/>
                      </a:lnTo>
                      <a:lnTo>
                        <a:pt x="161642" y="504485"/>
                      </a:lnTo>
                      <a:lnTo>
                        <a:pt x="160020" y="504477"/>
                      </a:lnTo>
                      <a:lnTo>
                        <a:pt x="159262" y="503873"/>
                      </a:lnTo>
                      <a:lnTo>
                        <a:pt x="159735" y="502219"/>
                      </a:lnTo>
                      <a:lnTo>
                        <a:pt x="161218" y="500752"/>
                      </a:lnTo>
                      <a:lnTo>
                        <a:pt x="159865" y="497957"/>
                      </a:lnTo>
                      <a:lnTo>
                        <a:pt x="160868" y="494949"/>
                      </a:lnTo>
                      <a:lnTo>
                        <a:pt x="160827" y="491233"/>
                      </a:lnTo>
                      <a:lnTo>
                        <a:pt x="160142" y="487957"/>
                      </a:lnTo>
                      <a:lnTo>
                        <a:pt x="160183" y="485602"/>
                      </a:lnTo>
                      <a:lnTo>
                        <a:pt x="159140" y="481421"/>
                      </a:lnTo>
                      <a:lnTo>
                        <a:pt x="158659" y="476091"/>
                      </a:lnTo>
                      <a:lnTo>
                        <a:pt x="156451" y="472106"/>
                      </a:lnTo>
                      <a:lnTo>
                        <a:pt x="154821" y="466328"/>
                      </a:lnTo>
                      <a:lnTo>
                        <a:pt x="150461" y="458740"/>
                      </a:lnTo>
                      <a:lnTo>
                        <a:pt x="150534" y="455497"/>
                      </a:lnTo>
                      <a:lnTo>
                        <a:pt x="150305" y="452636"/>
                      </a:lnTo>
                      <a:lnTo>
                        <a:pt x="149352" y="451251"/>
                      </a:lnTo>
                      <a:lnTo>
                        <a:pt x="148097" y="461356"/>
                      </a:lnTo>
                      <a:lnTo>
                        <a:pt x="147127" y="459376"/>
                      </a:lnTo>
                      <a:lnTo>
                        <a:pt x="146826" y="453736"/>
                      </a:lnTo>
                      <a:lnTo>
                        <a:pt x="146190" y="451063"/>
                      </a:lnTo>
                      <a:lnTo>
                        <a:pt x="146866" y="445741"/>
                      </a:lnTo>
                      <a:lnTo>
                        <a:pt x="144348" y="440461"/>
                      </a:lnTo>
                      <a:lnTo>
                        <a:pt x="143810" y="436622"/>
                      </a:lnTo>
                      <a:lnTo>
                        <a:pt x="142156" y="430803"/>
                      </a:lnTo>
                      <a:lnTo>
                        <a:pt x="142637" y="429499"/>
                      </a:lnTo>
                      <a:lnTo>
                        <a:pt x="144853" y="430811"/>
                      </a:lnTo>
                      <a:lnTo>
                        <a:pt x="142808" y="427421"/>
                      </a:lnTo>
                      <a:lnTo>
                        <a:pt x="141137" y="428179"/>
                      </a:lnTo>
                      <a:lnTo>
                        <a:pt x="139735" y="424520"/>
                      </a:lnTo>
                      <a:lnTo>
                        <a:pt x="139417" y="414593"/>
                      </a:lnTo>
                      <a:lnTo>
                        <a:pt x="138032" y="410877"/>
                      </a:lnTo>
                      <a:lnTo>
                        <a:pt x="138782" y="407095"/>
                      </a:lnTo>
                      <a:lnTo>
                        <a:pt x="137209" y="393534"/>
                      </a:lnTo>
                      <a:lnTo>
                        <a:pt x="134080" y="389125"/>
                      </a:lnTo>
                      <a:lnTo>
                        <a:pt x="134699" y="385328"/>
                      </a:lnTo>
                      <a:lnTo>
                        <a:pt x="135473" y="381970"/>
                      </a:lnTo>
                      <a:lnTo>
                        <a:pt x="135302" y="375743"/>
                      </a:lnTo>
                      <a:lnTo>
                        <a:pt x="136076" y="373828"/>
                      </a:lnTo>
                      <a:lnTo>
                        <a:pt x="137592" y="372353"/>
                      </a:lnTo>
                      <a:lnTo>
                        <a:pt x="136166" y="372875"/>
                      </a:lnTo>
                      <a:lnTo>
                        <a:pt x="134952" y="373315"/>
                      </a:lnTo>
                      <a:lnTo>
                        <a:pt x="132124" y="373682"/>
                      </a:lnTo>
                      <a:lnTo>
                        <a:pt x="128912" y="373747"/>
                      </a:lnTo>
                      <a:lnTo>
                        <a:pt x="127796" y="369191"/>
                      </a:lnTo>
                      <a:lnTo>
                        <a:pt x="126215" y="367015"/>
                      </a:lnTo>
                      <a:lnTo>
                        <a:pt x="124838" y="362443"/>
                      </a:lnTo>
                      <a:lnTo>
                        <a:pt x="124006" y="357252"/>
                      </a:lnTo>
                      <a:lnTo>
                        <a:pt x="124536" y="356233"/>
                      </a:lnTo>
                      <a:lnTo>
                        <a:pt x="122058" y="354114"/>
                      </a:lnTo>
                      <a:lnTo>
                        <a:pt x="121423" y="352818"/>
                      </a:lnTo>
                      <a:lnTo>
                        <a:pt x="118840" y="349436"/>
                      </a:lnTo>
                      <a:lnTo>
                        <a:pt x="115905" y="346877"/>
                      </a:lnTo>
                      <a:lnTo>
                        <a:pt x="116557" y="348678"/>
                      </a:lnTo>
                      <a:lnTo>
                        <a:pt x="117348" y="349819"/>
                      </a:lnTo>
                      <a:lnTo>
                        <a:pt x="115889" y="352941"/>
                      </a:lnTo>
                      <a:lnTo>
                        <a:pt x="117316" y="358205"/>
                      </a:lnTo>
                      <a:lnTo>
                        <a:pt x="116069" y="361571"/>
                      </a:lnTo>
                      <a:lnTo>
                        <a:pt x="114895" y="365939"/>
                      </a:lnTo>
                      <a:lnTo>
                        <a:pt x="113770" y="368026"/>
                      </a:lnTo>
                      <a:lnTo>
                        <a:pt x="110217" y="372500"/>
                      </a:lnTo>
                      <a:lnTo>
                        <a:pt x="107332" y="374016"/>
                      </a:lnTo>
                      <a:lnTo>
                        <a:pt x="105466" y="374301"/>
                      </a:lnTo>
                      <a:lnTo>
                        <a:pt x="103811" y="373828"/>
                      </a:lnTo>
                      <a:lnTo>
                        <a:pt x="101766" y="371522"/>
                      </a:lnTo>
                      <a:lnTo>
                        <a:pt x="101269" y="369590"/>
                      </a:lnTo>
                      <a:lnTo>
                        <a:pt x="100935" y="366355"/>
                      </a:lnTo>
                      <a:lnTo>
                        <a:pt x="100226" y="365874"/>
                      </a:lnTo>
                      <a:lnTo>
                        <a:pt x="99451" y="366257"/>
                      </a:lnTo>
                      <a:lnTo>
                        <a:pt x="100649" y="370454"/>
                      </a:lnTo>
                      <a:lnTo>
                        <a:pt x="100625" y="372394"/>
                      </a:lnTo>
                      <a:lnTo>
                        <a:pt x="102801" y="376159"/>
                      </a:lnTo>
                      <a:lnTo>
                        <a:pt x="102026" y="377202"/>
                      </a:lnTo>
                      <a:lnTo>
                        <a:pt x="98107" y="379272"/>
                      </a:lnTo>
                      <a:lnTo>
                        <a:pt x="96770" y="378938"/>
                      </a:lnTo>
                      <a:lnTo>
                        <a:pt x="95825" y="379346"/>
                      </a:lnTo>
                      <a:lnTo>
                        <a:pt x="95564" y="381041"/>
                      </a:lnTo>
                      <a:lnTo>
                        <a:pt x="95066" y="381978"/>
                      </a:lnTo>
                      <a:lnTo>
                        <a:pt x="88889" y="384570"/>
                      </a:lnTo>
                      <a:lnTo>
                        <a:pt x="87610" y="387487"/>
                      </a:lnTo>
                      <a:lnTo>
                        <a:pt x="86803" y="390438"/>
                      </a:lnTo>
                      <a:lnTo>
                        <a:pt x="83739" y="394684"/>
                      </a:lnTo>
                      <a:lnTo>
                        <a:pt x="79615" y="398196"/>
                      </a:lnTo>
                      <a:lnTo>
                        <a:pt x="78596" y="398000"/>
                      </a:lnTo>
                      <a:lnTo>
                        <a:pt x="77430" y="397177"/>
                      </a:lnTo>
                      <a:lnTo>
                        <a:pt x="77594" y="393388"/>
                      </a:lnTo>
                      <a:lnTo>
                        <a:pt x="79004" y="390177"/>
                      </a:lnTo>
                      <a:lnTo>
                        <a:pt x="78547" y="386746"/>
                      </a:lnTo>
                      <a:lnTo>
                        <a:pt x="78213" y="388718"/>
                      </a:lnTo>
                      <a:lnTo>
                        <a:pt x="75556" y="393494"/>
                      </a:lnTo>
                      <a:lnTo>
                        <a:pt x="74350" y="395050"/>
                      </a:lnTo>
                      <a:lnTo>
                        <a:pt x="71905" y="394643"/>
                      </a:lnTo>
                      <a:lnTo>
                        <a:pt x="68531" y="395278"/>
                      </a:lnTo>
                      <a:lnTo>
                        <a:pt x="67260" y="390372"/>
                      </a:lnTo>
                      <a:lnTo>
                        <a:pt x="67284" y="388563"/>
                      </a:lnTo>
                      <a:lnTo>
                        <a:pt x="67040" y="387047"/>
                      </a:lnTo>
                      <a:lnTo>
                        <a:pt x="67439" y="385425"/>
                      </a:lnTo>
                      <a:lnTo>
                        <a:pt x="67309" y="384146"/>
                      </a:lnTo>
                      <a:lnTo>
                        <a:pt x="66486" y="386599"/>
                      </a:lnTo>
                      <a:lnTo>
                        <a:pt x="66176" y="388718"/>
                      </a:lnTo>
                      <a:lnTo>
                        <a:pt x="64954" y="390600"/>
                      </a:lnTo>
                      <a:lnTo>
                        <a:pt x="61563" y="392638"/>
                      </a:lnTo>
                      <a:lnTo>
                        <a:pt x="61433" y="390062"/>
                      </a:lnTo>
                      <a:lnTo>
                        <a:pt x="61311" y="387740"/>
                      </a:lnTo>
                      <a:lnTo>
                        <a:pt x="62036" y="385654"/>
                      </a:lnTo>
                      <a:lnTo>
                        <a:pt x="61930" y="382328"/>
                      </a:lnTo>
                      <a:lnTo>
                        <a:pt x="63006" y="377545"/>
                      </a:lnTo>
                      <a:lnTo>
                        <a:pt x="62932" y="375898"/>
                      </a:lnTo>
                      <a:lnTo>
                        <a:pt x="62598" y="374081"/>
                      </a:lnTo>
                      <a:lnTo>
                        <a:pt x="61987" y="376713"/>
                      </a:lnTo>
                      <a:lnTo>
                        <a:pt x="61653" y="379444"/>
                      </a:lnTo>
                      <a:lnTo>
                        <a:pt x="60976" y="380275"/>
                      </a:lnTo>
                      <a:lnTo>
                        <a:pt x="59729" y="380894"/>
                      </a:lnTo>
                      <a:lnTo>
                        <a:pt x="57448" y="384032"/>
                      </a:lnTo>
                      <a:lnTo>
                        <a:pt x="56111" y="386835"/>
                      </a:lnTo>
                      <a:lnTo>
                        <a:pt x="52566" y="389484"/>
                      </a:lnTo>
                      <a:lnTo>
                        <a:pt x="50708" y="389215"/>
                      </a:lnTo>
                      <a:lnTo>
                        <a:pt x="50463" y="385849"/>
                      </a:lnTo>
                      <a:lnTo>
                        <a:pt x="51889" y="373918"/>
                      </a:lnTo>
                      <a:lnTo>
                        <a:pt x="53275" y="372239"/>
                      </a:lnTo>
                      <a:lnTo>
                        <a:pt x="53919" y="370169"/>
                      </a:lnTo>
                      <a:lnTo>
                        <a:pt x="55084" y="363193"/>
                      </a:lnTo>
                      <a:lnTo>
                        <a:pt x="56372" y="360552"/>
                      </a:lnTo>
                      <a:lnTo>
                        <a:pt x="56885" y="355011"/>
                      </a:lnTo>
                      <a:lnTo>
                        <a:pt x="57415" y="354057"/>
                      </a:lnTo>
                      <a:lnTo>
                        <a:pt x="59151" y="349705"/>
                      </a:lnTo>
                      <a:lnTo>
                        <a:pt x="59762" y="341718"/>
                      </a:lnTo>
                      <a:lnTo>
                        <a:pt x="59037" y="337749"/>
                      </a:lnTo>
                      <a:lnTo>
                        <a:pt x="57415" y="333895"/>
                      </a:lnTo>
                      <a:lnTo>
                        <a:pt x="55842" y="322322"/>
                      </a:lnTo>
                      <a:lnTo>
                        <a:pt x="51743" y="312934"/>
                      </a:lnTo>
                      <a:lnTo>
                        <a:pt x="51400" y="309796"/>
                      </a:lnTo>
                      <a:lnTo>
                        <a:pt x="49387" y="306014"/>
                      </a:lnTo>
                      <a:lnTo>
                        <a:pt x="51254" y="305745"/>
                      </a:lnTo>
                      <a:lnTo>
                        <a:pt x="47424" y="302420"/>
                      </a:lnTo>
                      <a:lnTo>
                        <a:pt x="46894" y="301059"/>
                      </a:lnTo>
                      <a:lnTo>
                        <a:pt x="46119" y="293276"/>
                      </a:lnTo>
                      <a:lnTo>
                        <a:pt x="46274" y="288932"/>
                      </a:lnTo>
                      <a:lnTo>
                        <a:pt x="45720" y="289503"/>
                      </a:lnTo>
                      <a:lnTo>
                        <a:pt x="45207" y="292176"/>
                      </a:lnTo>
                      <a:lnTo>
                        <a:pt x="43699" y="293276"/>
                      </a:lnTo>
                      <a:lnTo>
                        <a:pt x="44367" y="297930"/>
                      </a:lnTo>
                      <a:lnTo>
                        <a:pt x="44204" y="299054"/>
                      </a:lnTo>
                      <a:lnTo>
                        <a:pt x="43397" y="300864"/>
                      </a:lnTo>
                      <a:lnTo>
                        <a:pt x="40195" y="298989"/>
                      </a:lnTo>
                      <a:lnTo>
                        <a:pt x="37847" y="296952"/>
                      </a:lnTo>
                      <a:lnTo>
                        <a:pt x="35183" y="291972"/>
                      </a:lnTo>
                      <a:lnTo>
                        <a:pt x="32583" y="286398"/>
                      </a:lnTo>
                      <a:lnTo>
                        <a:pt x="33512" y="285534"/>
                      </a:lnTo>
                      <a:lnTo>
                        <a:pt x="34702" y="285420"/>
                      </a:lnTo>
                      <a:lnTo>
                        <a:pt x="38410" y="289568"/>
                      </a:lnTo>
                      <a:lnTo>
                        <a:pt x="40822" y="290432"/>
                      </a:lnTo>
                      <a:lnTo>
                        <a:pt x="42330" y="289405"/>
                      </a:lnTo>
                      <a:lnTo>
                        <a:pt x="44221" y="287637"/>
                      </a:lnTo>
                      <a:lnTo>
                        <a:pt x="45109" y="284198"/>
                      </a:lnTo>
                      <a:lnTo>
                        <a:pt x="44188" y="282943"/>
                      </a:lnTo>
                      <a:lnTo>
                        <a:pt x="42371" y="282258"/>
                      </a:lnTo>
                      <a:lnTo>
                        <a:pt x="41180" y="281329"/>
                      </a:lnTo>
                      <a:lnTo>
                        <a:pt x="39453" y="279006"/>
                      </a:lnTo>
                      <a:lnTo>
                        <a:pt x="39233" y="277824"/>
                      </a:lnTo>
                      <a:lnTo>
                        <a:pt x="38703" y="276301"/>
                      </a:lnTo>
                      <a:lnTo>
                        <a:pt x="36951" y="275233"/>
                      </a:lnTo>
                      <a:lnTo>
                        <a:pt x="35525" y="273872"/>
                      </a:lnTo>
                      <a:lnTo>
                        <a:pt x="36723" y="271460"/>
                      </a:lnTo>
                      <a:lnTo>
                        <a:pt x="37888" y="269667"/>
                      </a:lnTo>
                      <a:lnTo>
                        <a:pt x="34791" y="269748"/>
                      </a:lnTo>
                      <a:lnTo>
                        <a:pt x="31246" y="266676"/>
                      </a:lnTo>
                      <a:lnTo>
                        <a:pt x="30513" y="265779"/>
                      </a:lnTo>
                      <a:lnTo>
                        <a:pt x="29339" y="265160"/>
                      </a:lnTo>
                      <a:lnTo>
                        <a:pt x="26552" y="264801"/>
                      </a:lnTo>
                      <a:lnTo>
                        <a:pt x="24237" y="265706"/>
                      </a:lnTo>
                      <a:lnTo>
                        <a:pt x="25289" y="270098"/>
                      </a:lnTo>
                      <a:lnTo>
                        <a:pt x="25085" y="271549"/>
                      </a:lnTo>
                      <a:lnTo>
                        <a:pt x="23569" y="271345"/>
                      </a:lnTo>
                      <a:lnTo>
                        <a:pt x="20391" y="264646"/>
                      </a:lnTo>
                      <a:lnTo>
                        <a:pt x="21344" y="262951"/>
                      </a:lnTo>
                      <a:lnTo>
                        <a:pt x="22722" y="261362"/>
                      </a:lnTo>
                      <a:lnTo>
                        <a:pt x="22045" y="261134"/>
                      </a:lnTo>
                      <a:lnTo>
                        <a:pt x="20725" y="261240"/>
                      </a:lnTo>
                      <a:lnTo>
                        <a:pt x="22004" y="255299"/>
                      </a:lnTo>
                      <a:lnTo>
                        <a:pt x="21222" y="254418"/>
                      </a:lnTo>
                      <a:lnTo>
                        <a:pt x="20806" y="256277"/>
                      </a:lnTo>
                      <a:lnTo>
                        <a:pt x="20114" y="258070"/>
                      </a:lnTo>
                      <a:lnTo>
                        <a:pt x="17424" y="262267"/>
                      </a:lnTo>
                      <a:lnTo>
                        <a:pt x="16088" y="261476"/>
                      </a:lnTo>
                      <a:lnTo>
                        <a:pt x="15167" y="260433"/>
                      </a:lnTo>
                      <a:lnTo>
                        <a:pt x="16463" y="258224"/>
                      </a:lnTo>
                      <a:lnTo>
                        <a:pt x="17163" y="257638"/>
                      </a:lnTo>
                      <a:lnTo>
                        <a:pt x="17644" y="256448"/>
                      </a:lnTo>
                      <a:lnTo>
                        <a:pt x="16642" y="254141"/>
                      </a:lnTo>
                      <a:lnTo>
                        <a:pt x="15069" y="252462"/>
                      </a:lnTo>
                      <a:lnTo>
                        <a:pt x="13797" y="249561"/>
                      </a:lnTo>
                      <a:lnTo>
                        <a:pt x="13137" y="249529"/>
                      </a:lnTo>
                      <a:lnTo>
                        <a:pt x="13716" y="252943"/>
                      </a:lnTo>
                      <a:lnTo>
                        <a:pt x="13480" y="257825"/>
                      </a:lnTo>
                      <a:lnTo>
                        <a:pt x="10627" y="252438"/>
                      </a:lnTo>
                      <a:lnTo>
                        <a:pt x="4922" y="244777"/>
                      </a:lnTo>
                      <a:lnTo>
                        <a:pt x="3586" y="242479"/>
                      </a:lnTo>
                      <a:lnTo>
                        <a:pt x="3284" y="240230"/>
                      </a:lnTo>
                      <a:lnTo>
                        <a:pt x="2649" y="238160"/>
                      </a:lnTo>
                      <a:lnTo>
                        <a:pt x="2209" y="235894"/>
                      </a:lnTo>
                      <a:lnTo>
                        <a:pt x="2103" y="234134"/>
                      </a:lnTo>
                      <a:lnTo>
                        <a:pt x="872" y="232544"/>
                      </a:lnTo>
                      <a:lnTo>
                        <a:pt x="310" y="229765"/>
                      </a:lnTo>
                      <a:lnTo>
                        <a:pt x="0" y="226954"/>
                      </a:lnTo>
                      <a:lnTo>
                        <a:pt x="717" y="224949"/>
                      </a:lnTo>
                      <a:lnTo>
                        <a:pt x="2494" y="222781"/>
                      </a:lnTo>
                      <a:lnTo>
                        <a:pt x="3757" y="222398"/>
                      </a:lnTo>
                      <a:lnTo>
                        <a:pt x="4792" y="223360"/>
                      </a:lnTo>
                      <a:lnTo>
                        <a:pt x="7253" y="224786"/>
                      </a:lnTo>
                      <a:lnTo>
                        <a:pt x="8924" y="226122"/>
                      </a:lnTo>
                      <a:lnTo>
                        <a:pt x="9657" y="227866"/>
                      </a:lnTo>
                      <a:lnTo>
                        <a:pt x="10432" y="227655"/>
                      </a:lnTo>
                      <a:lnTo>
                        <a:pt x="11230" y="226538"/>
                      </a:lnTo>
                      <a:lnTo>
                        <a:pt x="11059" y="225161"/>
                      </a:lnTo>
                      <a:lnTo>
                        <a:pt x="10269" y="221542"/>
                      </a:lnTo>
                      <a:lnTo>
                        <a:pt x="10049" y="217142"/>
                      </a:lnTo>
                      <a:lnTo>
                        <a:pt x="10008" y="206857"/>
                      </a:lnTo>
                      <a:lnTo>
                        <a:pt x="9821" y="205683"/>
                      </a:lnTo>
                      <a:lnTo>
                        <a:pt x="11198" y="204648"/>
                      </a:lnTo>
                      <a:lnTo>
                        <a:pt x="11736" y="203466"/>
                      </a:lnTo>
                      <a:lnTo>
                        <a:pt x="12290" y="201706"/>
                      </a:lnTo>
                      <a:lnTo>
                        <a:pt x="12640" y="200932"/>
                      </a:lnTo>
                      <a:lnTo>
                        <a:pt x="13439" y="200883"/>
                      </a:lnTo>
                      <a:lnTo>
                        <a:pt x="14686" y="201747"/>
                      </a:lnTo>
                      <a:lnTo>
                        <a:pt x="16748" y="204681"/>
                      </a:lnTo>
                      <a:lnTo>
                        <a:pt x="18109" y="205349"/>
                      </a:lnTo>
                      <a:lnTo>
                        <a:pt x="19478" y="204884"/>
                      </a:lnTo>
                      <a:lnTo>
                        <a:pt x="20904" y="200467"/>
                      </a:lnTo>
                      <a:lnTo>
                        <a:pt x="21426" y="199277"/>
                      </a:lnTo>
                      <a:lnTo>
                        <a:pt x="22110" y="198487"/>
                      </a:lnTo>
                      <a:lnTo>
                        <a:pt x="23373" y="198617"/>
                      </a:lnTo>
                      <a:lnTo>
                        <a:pt x="24107" y="197827"/>
                      </a:lnTo>
                      <a:lnTo>
                        <a:pt x="24384" y="195920"/>
                      </a:lnTo>
                      <a:lnTo>
                        <a:pt x="24376" y="193792"/>
                      </a:lnTo>
                      <a:lnTo>
                        <a:pt x="22958" y="187974"/>
                      </a:lnTo>
                      <a:lnTo>
                        <a:pt x="22534" y="185292"/>
                      </a:lnTo>
                      <a:lnTo>
                        <a:pt x="22306" y="182644"/>
                      </a:lnTo>
                      <a:lnTo>
                        <a:pt x="23178" y="179922"/>
                      </a:lnTo>
                      <a:lnTo>
                        <a:pt x="24376" y="176735"/>
                      </a:lnTo>
                      <a:lnTo>
                        <a:pt x="24091" y="173948"/>
                      </a:lnTo>
                      <a:lnTo>
                        <a:pt x="24425" y="172864"/>
                      </a:lnTo>
                      <a:lnTo>
                        <a:pt x="25403" y="172709"/>
                      </a:lnTo>
                      <a:lnTo>
                        <a:pt x="26625" y="173386"/>
                      </a:lnTo>
                      <a:lnTo>
                        <a:pt x="27986" y="172921"/>
                      </a:lnTo>
                      <a:lnTo>
                        <a:pt x="29013" y="171218"/>
                      </a:lnTo>
                      <a:lnTo>
                        <a:pt x="29420" y="169734"/>
                      </a:lnTo>
                      <a:lnTo>
                        <a:pt x="30048" y="163288"/>
                      </a:lnTo>
                      <a:lnTo>
                        <a:pt x="30464" y="157388"/>
                      </a:lnTo>
                      <a:lnTo>
                        <a:pt x="30635" y="152571"/>
                      </a:lnTo>
                      <a:lnTo>
                        <a:pt x="29584" y="149694"/>
                      </a:lnTo>
                      <a:lnTo>
                        <a:pt x="27970" y="141952"/>
                      </a:lnTo>
                      <a:lnTo>
                        <a:pt x="28442" y="140624"/>
                      </a:lnTo>
                      <a:lnTo>
                        <a:pt x="29168" y="140306"/>
                      </a:lnTo>
                      <a:lnTo>
                        <a:pt x="31564" y="143020"/>
                      </a:lnTo>
                      <a:lnTo>
                        <a:pt x="32599" y="143476"/>
                      </a:lnTo>
                      <a:lnTo>
                        <a:pt x="34351" y="143061"/>
                      </a:lnTo>
                      <a:lnTo>
                        <a:pt x="36062" y="142457"/>
                      </a:lnTo>
                      <a:lnTo>
                        <a:pt x="37302" y="142425"/>
                      </a:lnTo>
                      <a:lnTo>
                        <a:pt x="39111" y="143354"/>
                      </a:lnTo>
                      <a:lnTo>
                        <a:pt x="41580" y="144381"/>
                      </a:lnTo>
                      <a:lnTo>
                        <a:pt x="45435" y="145660"/>
                      </a:lnTo>
                      <a:lnTo>
                        <a:pt x="47016" y="146630"/>
                      </a:lnTo>
                      <a:lnTo>
                        <a:pt x="48320" y="146491"/>
                      </a:lnTo>
                      <a:lnTo>
                        <a:pt x="49387" y="143484"/>
                      </a:lnTo>
                      <a:lnTo>
                        <a:pt x="50610" y="139083"/>
                      </a:lnTo>
                      <a:lnTo>
                        <a:pt x="52427" y="132547"/>
                      </a:lnTo>
                      <a:lnTo>
                        <a:pt x="54522" y="127788"/>
                      </a:lnTo>
                      <a:lnTo>
                        <a:pt x="55068" y="126525"/>
                      </a:lnTo>
                      <a:lnTo>
                        <a:pt x="57390" y="122645"/>
                      </a:lnTo>
                      <a:lnTo>
                        <a:pt x="59640" y="118579"/>
                      </a:lnTo>
                      <a:lnTo>
                        <a:pt x="61604" y="113436"/>
                      </a:lnTo>
                      <a:lnTo>
                        <a:pt x="62704" y="109744"/>
                      </a:lnTo>
                      <a:lnTo>
                        <a:pt x="62606" y="108204"/>
                      </a:lnTo>
                      <a:lnTo>
                        <a:pt x="61897" y="106924"/>
                      </a:lnTo>
                      <a:lnTo>
                        <a:pt x="60414" y="106110"/>
                      </a:lnTo>
                      <a:lnTo>
                        <a:pt x="59199" y="105262"/>
                      </a:lnTo>
                      <a:lnTo>
                        <a:pt x="58866" y="104496"/>
                      </a:lnTo>
                      <a:lnTo>
                        <a:pt x="58906" y="103632"/>
                      </a:lnTo>
                      <a:lnTo>
                        <a:pt x="59534" y="101228"/>
                      </a:lnTo>
                      <a:lnTo>
                        <a:pt x="60610" y="98392"/>
                      </a:lnTo>
                      <a:lnTo>
                        <a:pt x="61710" y="96851"/>
                      </a:lnTo>
                      <a:lnTo>
                        <a:pt x="64644" y="94944"/>
                      </a:lnTo>
                      <a:lnTo>
                        <a:pt x="66510" y="92491"/>
                      </a:lnTo>
                      <a:lnTo>
                        <a:pt x="68605" y="89256"/>
                      </a:lnTo>
                      <a:lnTo>
                        <a:pt x="69754" y="87047"/>
                      </a:lnTo>
                      <a:lnTo>
                        <a:pt x="70332" y="82557"/>
                      </a:lnTo>
                      <a:lnTo>
                        <a:pt x="70960" y="81660"/>
                      </a:lnTo>
                      <a:lnTo>
                        <a:pt x="72256" y="80210"/>
                      </a:lnTo>
                      <a:lnTo>
                        <a:pt x="73225" y="78515"/>
                      </a:lnTo>
                      <a:lnTo>
                        <a:pt x="73160" y="77594"/>
                      </a:lnTo>
                      <a:lnTo>
                        <a:pt x="72639" y="76925"/>
                      </a:lnTo>
                      <a:lnTo>
                        <a:pt x="71669" y="73780"/>
                      </a:lnTo>
                      <a:lnTo>
                        <a:pt x="71212" y="68841"/>
                      </a:lnTo>
                      <a:lnTo>
                        <a:pt x="71433" y="64839"/>
                      </a:lnTo>
                      <a:lnTo>
                        <a:pt x="72166" y="63218"/>
                      </a:lnTo>
                      <a:lnTo>
                        <a:pt x="73144" y="60944"/>
                      </a:lnTo>
                      <a:lnTo>
                        <a:pt x="74945" y="59550"/>
                      </a:lnTo>
                      <a:lnTo>
                        <a:pt x="77512" y="58580"/>
                      </a:lnTo>
                      <a:lnTo>
                        <a:pt x="81457" y="55932"/>
                      </a:lnTo>
                      <a:lnTo>
                        <a:pt x="88262" y="49779"/>
                      </a:lnTo>
                      <a:lnTo>
                        <a:pt x="90715" y="47774"/>
                      </a:lnTo>
                      <a:lnTo>
                        <a:pt x="92394" y="46731"/>
                      </a:lnTo>
                      <a:lnTo>
                        <a:pt x="94023" y="44155"/>
                      </a:lnTo>
                      <a:lnTo>
                        <a:pt x="96265" y="41327"/>
                      </a:lnTo>
                      <a:lnTo>
                        <a:pt x="99484" y="39926"/>
                      </a:lnTo>
                      <a:lnTo>
                        <a:pt x="101546" y="39388"/>
                      </a:lnTo>
                      <a:lnTo>
                        <a:pt x="111252" y="37456"/>
                      </a:lnTo>
                      <a:lnTo>
                        <a:pt x="112890" y="37701"/>
                      </a:lnTo>
                      <a:lnTo>
                        <a:pt x="114528" y="38825"/>
                      </a:lnTo>
                      <a:lnTo>
                        <a:pt x="116565" y="42574"/>
                      </a:lnTo>
                      <a:lnTo>
                        <a:pt x="118391" y="43984"/>
                      </a:lnTo>
                      <a:lnTo>
                        <a:pt x="120494" y="44978"/>
                      </a:lnTo>
                      <a:lnTo>
                        <a:pt x="122075" y="44546"/>
                      </a:lnTo>
                      <a:lnTo>
                        <a:pt x="122116" y="43031"/>
                      </a:lnTo>
                      <a:lnTo>
                        <a:pt x="117112" y="34270"/>
                      </a:lnTo>
                      <a:lnTo>
                        <a:pt x="116655" y="31882"/>
                      </a:lnTo>
                      <a:lnTo>
                        <a:pt x="116484" y="29600"/>
                      </a:lnTo>
                      <a:lnTo>
                        <a:pt x="117046" y="27782"/>
                      </a:lnTo>
                      <a:lnTo>
                        <a:pt x="118611" y="26055"/>
                      </a:lnTo>
                      <a:lnTo>
                        <a:pt x="120771" y="24091"/>
                      </a:lnTo>
                      <a:lnTo>
                        <a:pt x="123452" y="21646"/>
                      </a:lnTo>
                      <a:lnTo>
                        <a:pt x="125139" y="19951"/>
                      </a:lnTo>
                      <a:lnTo>
                        <a:pt x="127128" y="19413"/>
                      </a:lnTo>
                      <a:lnTo>
                        <a:pt x="127845" y="18443"/>
                      </a:lnTo>
                      <a:lnTo>
                        <a:pt x="128057" y="17025"/>
                      </a:lnTo>
                      <a:lnTo>
                        <a:pt x="127934" y="15484"/>
                      </a:lnTo>
                      <a:lnTo>
                        <a:pt x="127038" y="13732"/>
                      </a:lnTo>
                      <a:lnTo>
                        <a:pt x="127226" y="11524"/>
                      </a:lnTo>
                      <a:lnTo>
                        <a:pt x="127527" y="9527"/>
                      </a:lnTo>
                      <a:lnTo>
                        <a:pt x="128375" y="8362"/>
                      </a:lnTo>
                      <a:lnTo>
                        <a:pt x="130241" y="5191"/>
                      </a:lnTo>
                      <a:lnTo>
                        <a:pt x="131390" y="2909"/>
                      </a:lnTo>
                      <a:lnTo>
                        <a:pt x="131993" y="1931"/>
                      </a:lnTo>
                      <a:lnTo>
                        <a:pt x="132881" y="212"/>
                      </a:lnTo>
                      <a:lnTo>
                        <a:pt x="134405" y="0"/>
                      </a:lnTo>
                      <a:lnTo>
                        <a:pt x="135889" y="538"/>
                      </a:lnTo>
                      <a:lnTo>
                        <a:pt x="136769" y="1516"/>
                      </a:lnTo>
                      <a:lnTo>
                        <a:pt x="137600" y="3521"/>
                      </a:lnTo>
                      <a:close/>
                    </a:path>
                  </a:pathLst>
                </a:custGeom>
                <a:solidFill>
                  <a:srgbClr val="D6D6D2"/>
                </a:solidFill>
                <a:ln w="6112" cap="rnd">
                  <a:solidFill>
                    <a:srgbClr val="FFFFFF"/>
                  </a:solidFill>
                  <a:prstDash val="solid"/>
                  <a:round/>
                </a:ln>
              </p:spPr>
              <p:txBody>
                <a:bodyPr rtlCol="0" anchor="ctr"/>
                <a:lstStyle/>
                <a:p>
                  <a:endParaRPr lang="en-US"/>
                </a:p>
              </p:txBody>
            </p:sp>
            <p:sp>
              <p:nvSpPr>
                <p:cNvPr id="680" name="Freeform: Shape 679">
                  <a:extLst>
                    <a:ext uri="{FF2B5EF4-FFF2-40B4-BE49-F238E27FC236}">
                      <a16:creationId xmlns:a16="http://schemas.microsoft.com/office/drawing/2014/main" id="{648603FC-0936-47DA-8334-06B5D09FC5D9}"/>
                    </a:ext>
                  </a:extLst>
                </p:cNvPr>
                <p:cNvSpPr/>
                <p:nvPr/>
              </p:nvSpPr>
              <p:spPr>
                <a:xfrm>
                  <a:off x="5639044" y="3764061"/>
                  <a:ext cx="409605" cy="455969"/>
                </a:xfrm>
                <a:custGeom>
                  <a:avLst/>
                  <a:gdLst>
                    <a:gd name="connsiteX0" fmla="*/ 409435 w 409605"/>
                    <a:gd name="connsiteY0" fmla="*/ 181935 h 455969"/>
                    <a:gd name="connsiteX1" fmla="*/ 409451 w 409605"/>
                    <a:gd name="connsiteY1" fmla="*/ 187314 h 455969"/>
                    <a:gd name="connsiteX2" fmla="*/ 409475 w 409605"/>
                    <a:gd name="connsiteY2" fmla="*/ 195431 h 455969"/>
                    <a:gd name="connsiteX3" fmla="*/ 409500 w 409605"/>
                    <a:gd name="connsiteY3" fmla="*/ 204452 h 455969"/>
                    <a:gd name="connsiteX4" fmla="*/ 409524 w 409605"/>
                    <a:gd name="connsiteY4" fmla="*/ 212781 h 455969"/>
                    <a:gd name="connsiteX5" fmla="*/ 409548 w 409605"/>
                    <a:gd name="connsiteY5" fmla="*/ 222268 h 455969"/>
                    <a:gd name="connsiteX6" fmla="*/ 409573 w 409605"/>
                    <a:gd name="connsiteY6" fmla="*/ 229880 h 455969"/>
                    <a:gd name="connsiteX7" fmla="*/ 409589 w 409605"/>
                    <a:gd name="connsiteY7" fmla="*/ 238885 h 455969"/>
                    <a:gd name="connsiteX8" fmla="*/ 409606 w 409605"/>
                    <a:gd name="connsiteY8" fmla="*/ 247825 h 455969"/>
                    <a:gd name="connsiteX9" fmla="*/ 408831 w 409605"/>
                    <a:gd name="connsiteY9" fmla="*/ 248852 h 455969"/>
                    <a:gd name="connsiteX10" fmla="*/ 408538 w 409605"/>
                    <a:gd name="connsiteY10" fmla="*/ 253881 h 455969"/>
                    <a:gd name="connsiteX11" fmla="*/ 408302 w 409605"/>
                    <a:gd name="connsiteY11" fmla="*/ 260506 h 455969"/>
                    <a:gd name="connsiteX12" fmla="*/ 406802 w 409605"/>
                    <a:gd name="connsiteY12" fmla="*/ 267352 h 455969"/>
                    <a:gd name="connsiteX13" fmla="*/ 404161 w 409605"/>
                    <a:gd name="connsiteY13" fmla="*/ 272397 h 455969"/>
                    <a:gd name="connsiteX14" fmla="*/ 403200 w 409605"/>
                    <a:gd name="connsiteY14" fmla="*/ 277197 h 455969"/>
                    <a:gd name="connsiteX15" fmla="*/ 402475 w 409605"/>
                    <a:gd name="connsiteY15" fmla="*/ 279935 h 455969"/>
                    <a:gd name="connsiteX16" fmla="*/ 401488 w 409605"/>
                    <a:gd name="connsiteY16" fmla="*/ 281435 h 455969"/>
                    <a:gd name="connsiteX17" fmla="*/ 401260 w 409605"/>
                    <a:gd name="connsiteY17" fmla="*/ 283228 h 455969"/>
                    <a:gd name="connsiteX18" fmla="*/ 400747 w 409605"/>
                    <a:gd name="connsiteY18" fmla="*/ 285746 h 455969"/>
                    <a:gd name="connsiteX19" fmla="*/ 399899 w 409605"/>
                    <a:gd name="connsiteY19" fmla="*/ 287384 h 455969"/>
                    <a:gd name="connsiteX20" fmla="*/ 399247 w 409605"/>
                    <a:gd name="connsiteY20" fmla="*/ 288232 h 455969"/>
                    <a:gd name="connsiteX21" fmla="*/ 396591 w 409605"/>
                    <a:gd name="connsiteY21" fmla="*/ 289218 h 455969"/>
                    <a:gd name="connsiteX22" fmla="*/ 391897 w 409605"/>
                    <a:gd name="connsiteY22" fmla="*/ 294059 h 455969"/>
                    <a:gd name="connsiteX23" fmla="*/ 391497 w 409605"/>
                    <a:gd name="connsiteY23" fmla="*/ 297914 h 455969"/>
                    <a:gd name="connsiteX24" fmla="*/ 386151 w 409605"/>
                    <a:gd name="connsiteY24" fmla="*/ 296854 h 455969"/>
                    <a:gd name="connsiteX25" fmla="*/ 380487 w 409605"/>
                    <a:gd name="connsiteY25" fmla="*/ 295754 h 455969"/>
                    <a:gd name="connsiteX26" fmla="*/ 379721 w 409605"/>
                    <a:gd name="connsiteY26" fmla="*/ 295827 h 455969"/>
                    <a:gd name="connsiteX27" fmla="*/ 379256 w 409605"/>
                    <a:gd name="connsiteY27" fmla="*/ 296333 h 455969"/>
                    <a:gd name="connsiteX28" fmla="*/ 379020 w 409605"/>
                    <a:gd name="connsiteY28" fmla="*/ 298386 h 455969"/>
                    <a:gd name="connsiteX29" fmla="*/ 371294 w 409605"/>
                    <a:gd name="connsiteY29" fmla="*/ 298720 h 455969"/>
                    <a:gd name="connsiteX30" fmla="*/ 364627 w 409605"/>
                    <a:gd name="connsiteY30" fmla="*/ 299014 h 455969"/>
                    <a:gd name="connsiteX31" fmla="*/ 356372 w 409605"/>
                    <a:gd name="connsiteY31" fmla="*/ 299348 h 455969"/>
                    <a:gd name="connsiteX32" fmla="*/ 350708 w 409605"/>
                    <a:gd name="connsiteY32" fmla="*/ 299576 h 455969"/>
                    <a:gd name="connsiteX33" fmla="*/ 343503 w 409605"/>
                    <a:gd name="connsiteY33" fmla="*/ 300049 h 455969"/>
                    <a:gd name="connsiteX34" fmla="*/ 336829 w 409605"/>
                    <a:gd name="connsiteY34" fmla="*/ 300481 h 455969"/>
                    <a:gd name="connsiteX35" fmla="*/ 332395 w 409605"/>
                    <a:gd name="connsiteY35" fmla="*/ 304939 h 455969"/>
                    <a:gd name="connsiteX36" fmla="*/ 328402 w 409605"/>
                    <a:gd name="connsiteY36" fmla="*/ 309176 h 455969"/>
                    <a:gd name="connsiteX37" fmla="*/ 328084 w 409605"/>
                    <a:gd name="connsiteY37" fmla="*/ 309315 h 455969"/>
                    <a:gd name="connsiteX38" fmla="*/ 322412 w 409605"/>
                    <a:gd name="connsiteY38" fmla="*/ 310154 h 455969"/>
                    <a:gd name="connsiteX39" fmla="*/ 315321 w 409605"/>
                    <a:gd name="connsiteY39" fmla="*/ 309413 h 455969"/>
                    <a:gd name="connsiteX40" fmla="*/ 311686 w 409605"/>
                    <a:gd name="connsiteY40" fmla="*/ 309380 h 455969"/>
                    <a:gd name="connsiteX41" fmla="*/ 310260 w 409605"/>
                    <a:gd name="connsiteY41" fmla="*/ 309886 h 455969"/>
                    <a:gd name="connsiteX42" fmla="*/ 309983 w 409605"/>
                    <a:gd name="connsiteY42" fmla="*/ 311467 h 455969"/>
                    <a:gd name="connsiteX43" fmla="*/ 304767 w 409605"/>
                    <a:gd name="connsiteY43" fmla="*/ 309233 h 455969"/>
                    <a:gd name="connsiteX44" fmla="*/ 298737 w 409605"/>
                    <a:gd name="connsiteY44" fmla="*/ 306968 h 455969"/>
                    <a:gd name="connsiteX45" fmla="*/ 294531 w 409605"/>
                    <a:gd name="connsiteY45" fmla="*/ 308394 h 455969"/>
                    <a:gd name="connsiteX46" fmla="*/ 293863 w 409605"/>
                    <a:gd name="connsiteY46" fmla="*/ 307905 h 455969"/>
                    <a:gd name="connsiteX47" fmla="*/ 293309 w 409605"/>
                    <a:gd name="connsiteY47" fmla="*/ 306960 h 455969"/>
                    <a:gd name="connsiteX48" fmla="*/ 291280 w 409605"/>
                    <a:gd name="connsiteY48" fmla="*/ 306406 h 455969"/>
                    <a:gd name="connsiteX49" fmla="*/ 288053 w 409605"/>
                    <a:gd name="connsiteY49" fmla="*/ 306650 h 455969"/>
                    <a:gd name="connsiteX50" fmla="*/ 285730 w 409605"/>
                    <a:gd name="connsiteY50" fmla="*/ 307318 h 455969"/>
                    <a:gd name="connsiteX51" fmla="*/ 282071 w 409605"/>
                    <a:gd name="connsiteY51" fmla="*/ 310684 h 455969"/>
                    <a:gd name="connsiteX52" fmla="*/ 279308 w 409605"/>
                    <a:gd name="connsiteY52" fmla="*/ 313610 h 455969"/>
                    <a:gd name="connsiteX53" fmla="*/ 278550 w 409605"/>
                    <a:gd name="connsiteY53" fmla="*/ 314270 h 455969"/>
                    <a:gd name="connsiteX54" fmla="*/ 274695 w 409605"/>
                    <a:gd name="connsiteY54" fmla="*/ 316039 h 455969"/>
                    <a:gd name="connsiteX55" fmla="*/ 267539 w 409605"/>
                    <a:gd name="connsiteY55" fmla="*/ 320154 h 455969"/>
                    <a:gd name="connsiteX56" fmla="*/ 263481 w 409605"/>
                    <a:gd name="connsiteY56" fmla="*/ 323178 h 455969"/>
                    <a:gd name="connsiteX57" fmla="*/ 262544 w 409605"/>
                    <a:gd name="connsiteY57" fmla="*/ 323740 h 455969"/>
                    <a:gd name="connsiteX58" fmla="*/ 260734 w 409605"/>
                    <a:gd name="connsiteY58" fmla="*/ 324425 h 455969"/>
                    <a:gd name="connsiteX59" fmla="*/ 257964 w 409605"/>
                    <a:gd name="connsiteY59" fmla="*/ 324555 h 455969"/>
                    <a:gd name="connsiteX60" fmla="*/ 255649 w 409605"/>
                    <a:gd name="connsiteY60" fmla="*/ 325321 h 455969"/>
                    <a:gd name="connsiteX61" fmla="*/ 253563 w 409605"/>
                    <a:gd name="connsiteY61" fmla="*/ 333283 h 455969"/>
                    <a:gd name="connsiteX62" fmla="*/ 252177 w 409605"/>
                    <a:gd name="connsiteY62" fmla="*/ 334074 h 455969"/>
                    <a:gd name="connsiteX63" fmla="*/ 243644 w 409605"/>
                    <a:gd name="connsiteY63" fmla="*/ 330863 h 455969"/>
                    <a:gd name="connsiteX64" fmla="*/ 241917 w 409605"/>
                    <a:gd name="connsiteY64" fmla="*/ 331344 h 455969"/>
                    <a:gd name="connsiteX65" fmla="*/ 240426 w 409605"/>
                    <a:gd name="connsiteY65" fmla="*/ 332281 h 455969"/>
                    <a:gd name="connsiteX66" fmla="*/ 235658 w 409605"/>
                    <a:gd name="connsiteY66" fmla="*/ 336959 h 455969"/>
                    <a:gd name="connsiteX67" fmla="*/ 233303 w 409605"/>
                    <a:gd name="connsiteY67" fmla="*/ 340692 h 455969"/>
                    <a:gd name="connsiteX68" fmla="*/ 232015 w 409605"/>
                    <a:gd name="connsiteY68" fmla="*/ 345679 h 455969"/>
                    <a:gd name="connsiteX69" fmla="*/ 232202 w 409605"/>
                    <a:gd name="connsiteY69" fmla="*/ 347211 h 455969"/>
                    <a:gd name="connsiteX70" fmla="*/ 232235 w 409605"/>
                    <a:gd name="connsiteY70" fmla="*/ 348939 h 455969"/>
                    <a:gd name="connsiteX71" fmla="*/ 231395 w 409605"/>
                    <a:gd name="connsiteY71" fmla="*/ 349884 h 455969"/>
                    <a:gd name="connsiteX72" fmla="*/ 230246 w 409605"/>
                    <a:gd name="connsiteY72" fmla="*/ 350219 h 455969"/>
                    <a:gd name="connsiteX73" fmla="*/ 229220 w 409605"/>
                    <a:gd name="connsiteY73" fmla="*/ 350161 h 455969"/>
                    <a:gd name="connsiteX74" fmla="*/ 225259 w 409605"/>
                    <a:gd name="connsiteY74" fmla="*/ 349135 h 455969"/>
                    <a:gd name="connsiteX75" fmla="*/ 224012 w 409605"/>
                    <a:gd name="connsiteY75" fmla="*/ 349583 h 455969"/>
                    <a:gd name="connsiteX76" fmla="*/ 223482 w 409605"/>
                    <a:gd name="connsiteY76" fmla="*/ 352036 h 455969"/>
                    <a:gd name="connsiteX77" fmla="*/ 223564 w 409605"/>
                    <a:gd name="connsiteY77" fmla="*/ 357398 h 455969"/>
                    <a:gd name="connsiteX78" fmla="*/ 222692 w 409605"/>
                    <a:gd name="connsiteY78" fmla="*/ 361033 h 455969"/>
                    <a:gd name="connsiteX79" fmla="*/ 220336 w 409605"/>
                    <a:gd name="connsiteY79" fmla="*/ 362166 h 455969"/>
                    <a:gd name="connsiteX80" fmla="*/ 218527 w 409605"/>
                    <a:gd name="connsiteY80" fmla="*/ 363600 h 455969"/>
                    <a:gd name="connsiteX81" fmla="*/ 217093 w 409605"/>
                    <a:gd name="connsiteY81" fmla="*/ 364016 h 455969"/>
                    <a:gd name="connsiteX82" fmla="*/ 215895 w 409605"/>
                    <a:gd name="connsiteY82" fmla="*/ 363666 h 455969"/>
                    <a:gd name="connsiteX83" fmla="*/ 209016 w 409605"/>
                    <a:gd name="connsiteY83" fmla="*/ 358230 h 455969"/>
                    <a:gd name="connsiteX84" fmla="*/ 206686 w 409605"/>
                    <a:gd name="connsiteY84" fmla="*/ 357358 h 455969"/>
                    <a:gd name="connsiteX85" fmla="*/ 204110 w 409605"/>
                    <a:gd name="connsiteY85" fmla="*/ 357953 h 455969"/>
                    <a:gd name="connsiteX86" fmla="*/ 201633 w 409605"/>
                    <a:gd name="connsiteY86" fmla="*/ 360267 h 455969"/>
                    <a:gd name="connsiteX87" fmla="*/ 200508 w 409605"/>
                    <a:gd name="connsiteY87" fmla="*/ 361791 h 455969"/>
                    <a:gd name="connsiteX88" fmla="*/ 198960 w 409605"/>
                    <a:gd name="connsiteY88" fmla="*/ 363568 h 455969"/>
                    <a:gd name="connsiteX89" fmla="*/ 197224 w 409605"/>
                    <a:gd name="connsiteY89" fmla="*/ 365948 h 455969"/>
                    <a:gd name="connsiteX90" fmla="*/ 197688 w 409605"/>
                    <a:gd name="connsiteY90" fmla="*/ 367969 h 455969"/>
                    <a:gd name="connsiteX91" fmla="*/ 198910 w 409605"/>
                    <a:gd name="connsiteY91" fmla="*/ 370308 h 455969"/>
                    <a:gd name="connsiteX92" fmla="*/ 199791 w 409605"/>
                    <a:gd name="connsiteY92" fmla="*/ 373217 h 455969"/>
                    <a:gd name="connsiteX93" fmla="*/ 199742 w 409605"/>
                    <a:gd name="connsiteY93" fmla="*/ 375817 h 455969"/>
                    <a:gd name="connsiteX94" fmla="*/ 193459 w 409605"/>
                    <a:gd name="connsiteY94" fmla="*/ 379492 h 455969"/>
                    <a:gd name="connsiteX95" fmla="*/ 193964 w 409605"/>
                    <a:gd name="connsiteY95" fmla="*/ 380764 h 455969"/>
                    <a:gd name="connsiteX96" fmla="*/ 194909 w 409605"/>
                    <a:gd name="connsiteY96" fmla="*/ 382247 h 455969"/>
                    <a:gd name="connsiteX97" fmla="*/ 194917 w 409605"/>
                    <a:gd name="connsiteY97" fmla="*/ 384928 h 455969"/>
                    <a:gd name="connsiteX98" fmla="*/ 194746 w 409605"/>
                    <a:gd name="connsiteY98" fmla="*/ 389631 h 455969"/>
                    <a:gd name="connsiteX99" fmla="*/ 193475 w 409605"/>
                    <a:gd name="connsiteY99" fmla="*/ 391326 h 455969"/>
                    <a:gd name="connsiteX100" fmla="*/ 191829 w 409605"/>
                    <a:gd name="connsiteY100" fmla="*/ 392997 h 455969"/>
                    <a:gd name="connsiteX101" fmla="*/ 190826 w 409605"/>
                    <a:gd name="connsiteY101" fmla="*/ 395164 h 455969"/>
                    <a:gd name="connsiteX102" fmla="*/ 189824 w 409605"/>
                    <a:gd name="connsiteY102" fmla="*/ 396216 h 455969"/>
                    <a:gd name="connsiteX103" fmla="*/ 188031 w 409605"/>
                    <a:gd name="connsiteY103" fmla="*/ 397544 h 455969"/>
                    <a:gd name="connsiteX104" fmla="*/ 185586 w 409605"/>
                    <a:gd name="connsiteY104" fmla="*/ 398881 h 455969"/>
                    <a:gd name="connsiteX105" fmla="*/ 181348 w 409605"/>
                    <a:gd name="connsiteY105" fmla="*/ 400054 h 455969"/>
                    <a:gd name="connsiteX106" fmla="*/ 177950 w 409605"/>
                    <a:gd name="connsiteY106" fmla="*/ 400837 h 455969"/>
                    <a:gd name="connsiteX107" fmla="*/ 176670 w 409605"/>
                    <a:gd name="connsiteY107" fmla="*/ 401594 h 455969"/>
                    <a:gd name="connsiteX108" fmla="*/ 174869 w 409605"/>
                    <a:gd name="connsiteY108" fmla="*/ 403175 h 455969"/>
                    <a:gd name="connsiteX109" fmla="*/ 173427 w 409605"/>
                    <a:gd name="connsiteY109" fmla="*/ 405066 h 455969"/>
                    <a:gd name="connsiteX110" fmla="*/ 173084 w 409605"/>
                    <a:gd name="connsiteY110" fmla="*/ 407104 h 455969"/>
                    <a:gd name="connsiteX111" fmla="*/ 173369 w 409605"/>
                    <a:gd name="connsiteY111" fmla="*/ 409435 h 455969"/>
                    <a:gd name="connsiteX112" fmla="*/ 173875 w 409605"/>
                    <a:gd name="connsiteY112" fmla="*/ 411358 h 455969"/>
                    <a:gd name="connsiteX113" fmla="*/ 174502 w 409605"/>
                    <a:gd name="connsiteY113" fmla="*/ 412662 h 455969"/>
                    <a:gd name="connsiteX114" fmla="*/ 174885 w 409605"/>
                    <a:gd name="connsiteY114" fmla="*/ 414308 h 455969"/>
                    <a:gd name="connsiteX115" fmla="*/ 174372 w 409605"/>
                    <a:gd name="connsiteY115" fmla="*/ 418741 h 455969"/>
                    <a:gd name="connsiteX116" fmla="*/ 173141 w 409605"/>
                    <a:gd name="connsiteY116" fmla="*/ 423868 h 455969"/>
                    <a:gd name="connsiteX117" fmla="*/ 171960 w 409605"/>
                    <a:gd name="connsiteY117" fmla="*/ 426166 h 455969"/>
                    <a:gd name="connsiteX118" fmla="*/ 170053 w 409605"/>
                    <a:gd name="connsiteY118" fmla="*/ 427413 h 455969"/>
                    <a:gd name="connsiteX119" fmla="*/ 168406 w 409605"/>
                    <a:gd name="connsiteY119" fmla="*/ 428814 h 455969"/>
                    <a:gd name="connsiteX120" fmla="*/ 168952 w 409605"/>
                    <a:gd name="connsiteY120" fmla="*/ 432180 h 455969"/>
                    <a:gd name="connsiteX121" fmla="*/ 169237 w 409605"/>
                    <a:gd name="connsiteY121" fmla="*/ 437005 h 455969"/>
                    <a:gd name="connsiteX122" fmla="*/ 168773 w 409605"/>
                    <a:gd name="connsiteY122" fmla="*/ 440852 h 455969"/>
                    <a:gd name="connsiteX123" fmla="*/ 168692 w 409605"/>
                    <a:gd name="connsiteY123" fmla="*/ 443231 h 455969"/>
                    <a:gd name="connsiteX124" fmla="*/ 167999 w 409605"/>
                    <a:gd name="connsiteY124" fmla="*/ 445701 h 455969"/>
                    <a:gd name="connsiteX125" fmla="*/ 167591 w 409605"/>
                    <a:gd name="connsiteY125" fmla="*/ 447428 h 455969"/>
                    <a:gd name="connsiteX126" fmla="*/ 166776 w 409605"/>
                    <a:gd name="connsiteY126" fmla="*/ 447021 h 455969"/>
                    <a:gd name="connsiteX127" fmla="*/ 163353 w 409605"/>
                    <a:gd name="connsiteY127" fmla="*/ 447217 h 455969"/>
                    <a:gd name="connsiteX128" fmla="*/ 159653 w 409605"/>
                    <a:gd name="connsiteY128" fmla="*/ 448529 h 455969"/>
                    <a:gd name="connsiteX129" fmla="*/ 158341 w 409605"/>
                    <a:gd name="connsiteY129" fmla="*/ 449588 h 455969"/>
                    <a:gd name="connsiteX130" fmla="*/ 158064 w 409605"/>
                    <a:gd name="connsiteY130" fmla="*/ 451023 h 455969"/>
                    <a:gd name="connsiteX131" fmla="*/ 157241 w 409605"/>
                    <a:gd name="connsiteY131" fmla="*/ 451992 h 455969"/>
                    <a:gd name="connsiteX132" fmla="*/ 156051 w 409605"/>
                    <a:gd name="connsiteY132" fmla="*/ 453076 h 455969"/>
                    <a:gd name="connsiteX133" fmla="*/ 154910 w 409605"/>
                    <a:gd name="connsiteY133" fmla="*/ 454413 h 455969"/>
                    <a:gd name="connsiteX134" fmla="*/ 152865 w 409605"/>
                    <a:gd name="connsiteY134" fmla="*/ 454201 h 455969"/>
                    <a:gd name="connsiteX135" fmla="*/ 150884 w 409605"/>
                    <a:gd name="connsiteY135" fmla="*/ 453288 h 455969"/>
                    <a:gd name="connsiteX136" fmla="*/ 149857 w 409605"/>
                    <a:gd name="connsiteY136" fmla="*/ 452392 h 455969"/>
                    <a:gd name="connsiteX137" fmla="*/ 149784 w 409605"/>
                    <a:gd name="connsiteY137" fmla="*/ 451862 h 455969"/>
                    <a:gd name="connsiteX138" fmla="*/ 150436 w 409605"/>
                    <a:gd name="connsiteY138" fmla="*/ 450558 h 455969"/>
                    <a:gd name="connsiteX139" fmla="*/ 150998 w 409605"/>
                    <a:gd name="connsiteY139" fmla="*/ 449140 h 455969"/>
                    <a:gd name="connsiteX140" fmla="*/ 151047 w 409605"/>
                    <a:gd name="connsiteY140" fmla="*/ 448211 h 455969"/>
                    <a:gd name="connsiteX141" fmla="*/ 150371 w 409605"/>
                    <a:gd name="connsiteY141" fmla="*/ 445913 h 455969"/>
                    <a:gd name="connsiteX142" fmla="*/ 149825 w 409605"/>
                    <a:gd name="connsiteY142" fmla="*/ 443443 h 455969"/>
                    <a:gd name="connsiteX143" fmla="*/ 150053 w 409605"/>
                    <a:gd name="connsiteY143" fmla="*/ 442262 h 455969"/>
                    <a:gd name="connsiteX144" fmla="*/ 149564 w 409605"/>
                    <a:gd name="connsiteY144" fmla="*/ 438619 h 455969"/>
                    <a:gd name="connsiteX145" fmla="*/ 149295 w 409605"/>
                    <a:gd name="connsiteY145" fmla="*/ 438431 h 455969"/>
                    <a:gd name="connsiteX146" fmla="*/ 146704 w 409605"/>
                    <a:gd name="connsiteY146" fmla="*/ 439376 h 455969"/>
                    <a:gd name="connsiteX147" fmla="*/ 145750 w 409605"/>
                    <a:gd name="connsiteY147" fmla="*/ 439613 h 455969"/>
                    <a:gd name="connsiteX148" fmla="*/ 145212 w 409605"/>
                    <a:gd name="connsiteY148" fmla="*/ 440012 h 455969"/>
                    <a:gd name="connsiteX149" fmla="*/ 145041 w 409605"/>
                    <a:gd name="connsiteY149" fmla="*/ 440705 h 455969"/>
                    <a:gd name="connsiteX150" fmla="*/ 145669 w 409605"/>
                    <a:gd name="connsiteY150" fmla="*/ 443011 h 455969"/>
                    <a:gd name="connsiteX151" fmla="*/ 145261 w 409605"/>
                    <a:gd name="connsiteY151" fmla="*/ 443411 h 455969"/>
                    <a:gd name="connsiteX152" fmla="*/ 143802 w 409605"/>
                    <a:gd name="connsiteY152" fmla="*/ 443354 h 455969"/>
                    <a:gd name="connsiteX153" fmla="*/ 141773 w 409605"/>
                    <a:gd name="connsiteY153" fmla="*/ 442588 h 455969"/>
                    <a:gd name="connsiteX154" fmla="*/ 139548 w 409605"/>
                    <a:gd name="connsiteY154" fmla="*/ 440477 h 455969"/>
                    <a:gd name="connsiteX155" fmla="*/ 138994 w 409605"/>
                    <a:gd name="connsiteY155" fmla="*/ 441161 h 455969"/>
                    <a:gd name="connsiteX156" fmla="*/ 138757 w 409605"/>
                    <a:gd name="connsiteY156" fmla="*/ 442840 h 455969"/>
                    <a:gd name="connsiteX157" fmla="*/ 138611 w 409605"/>
                    <a:gd name="connsiteY157" fmla="*/ 444837 h 455969"/>
                    <a:gd name="connsiteX158" fmla="*/ 139165 w 409605"/>
                    <a:gd name="connsiteY158" fmla="*/ 448455 h 455969"/>
                    <a:gd name="connsiteX159" fmla="*/ 138578 w 409605"/>
                    <a:gd name="connsiteY159" fmla="*/ 449751 h 455969"/>
                    <a:gd name="connsiteX160" fmla="*/ 137087 w 409605"/>
                    <a:gd name="connsiteY160" fmla="*/ 449515 h 455969"/>
                    <a:gd name="connsiteX161" fmla="*/ 135098 w 409605"/>
                    <a:gd name="connsiteY161" fmla="*/ 449515 h 455969"/>
                    <a:gd name="connsiteX162" fmla="*/ 133354 w 409605"/>
                    <a:gd name="connsiteY162" fmla="*/ 449874 h 455969"/>
                    <a:gd name="connsiteX163" fmla="*/ 132197 w 409605"/>
                    <a:gd name="connsiteY163" fmla="*/ 449963 h 455969"/>
                    <a:gd name="connsiteX164" fmla="*/ 131472 w 409605"/>
                    <a:gd name="connsiteY164" fmla="*/ 451251 h 455969"/>
                    <a:gd name="connsiteX165" fmla="*/ 131170 w 409605"/>
                    <a:gd name="connsiteY165" fmla="*/ 452693 h 455969"/>
                    <a:gd name="connsiteX166" fmla="*/ 131863 w 409605"/>
                    <a:gd name="connsiteY166" fmla="*/ 454299 h 455969"/>
                    <a:gd name="connsiteX167" fmla="*/ 131765 w 409605"/>
                    <a:gd name="connsiteY167" fmla="*/ 454975 h 455969"/>
                    <a:gd name="connsiteX168" fmla="*/ 131235 w 409605"/>
                    <a:gd name="connsiteY168" fmla="*/ 455595 h 455969"/>
                    <a:gd name="connsiteX169" fmla="*/ 130542 w 409605"/>
                    <a:gd name="connsiteY169" fmla="*/ 455969 h 455969"/>
                    <a:gd name="connsiteX170" fmla="*/ 129980 w 409605"/>
                    <a:gd name="connsiteY170" fmla="*/ 455921 h 455969"/>
                    <a:gd name="connsiteX171" fmla="*/ 128375 w 409605"/>
                    <a:gd name="connsiteY171" fmla="*/ 454152 h 455969"/>
                    <a:gd name="connsiteX172" fmla="*/ 126451 w 409605"/>
                    <a:gd name="connsiteY172" fmla="*/ 453476 h 455969"/>
                    <a:gd name="connsiteX173" fmla="*/ 121961 w 409605"/>
                    <a:gd name="connsiteY173" fmla="*/ 452465 h 455969"/>
                    <a:gd name="connsiteX174" fmla="*/ 121423 w 409605"/>
                    <a:gd name="connsiteY174" fmla="*/ 450028 h 455969"/>
                    <a:gd name="connsiteX175" fmla="*/ 120681 w 409605"/>
                    <a:gd name="connsiteY175" fmla="*/ 449987 h 455969"/>
                    <a:gd name="connsiteX176" fmla="*/ 119646 w 409605"/>
                    <a:gd name="connsiteY176" fmla="*/ 448700 h 455969"/>
                    <a:gd name="connsiteX177" fmla="*/ 118619 w 409605"/>
                    <a:gd name="connsiteY177" fmla="*/ 447021 h 455969"/>
                    <a:gd name="connsiteX178" fmla="*/ 117747 w 409605"/>
                    <a:gd name="connsiteY178" fmla="*/ 447111 h 455969"/>
                    <a:gd name="connsiteX179" fmla="*/ 117030 w 409605"/>
                    <a:gd name="connsiteY179" fmla="*/ 447575 h 455969"/>
                    <a:gd name="connsiteX180" fmla="*/ 114569 w 409605"/>
                    <a:gd name="connsiteY180" fmla="*/ 447396 h 455969"/>
                    <a:gd name="connsiteX181" fmla="*/ 112393 w 409605"/>
                    <a:gd name="connsiteY181" fmla="*/ 449963 h 455969"/>
                    <a:gd name="connsiteX182" fmla="*/ 110771 w 409605"/>
                    <a:gd name="connsiteY182" fmla="*/ 453158 h 455969"/>
                    <a:gd name="connsiteX183" fmla="*/ 109043 w 409605"/>
                    <a:gd name="connsiteY183" fmla="*/ 454690 h 455969"/>
                    <a:gd name="connsiteX184" fmla="*/ 107136 w 409605"/>
                    <a:gd name="connsiteY184" fmla="*/ 455358 h 455969"/>
                    <a:gd name="connsiteX185" fmla="*/ 106395 w 409605"/>
                    <a:gd name="connsiteY185" fmla="*/ 455391 h 455969"/>
                    <a:gd name="connsiteX186" fmla="*/ 106802 w 409605"/>
                    <a:gd name="connsiteY186" fmla="*/ 453370 h 455969"/>
                    <a:gd name="connsiteX187" fmla="*/ 106517 w 409605"/>
                    <a:gd name="connsiteY187" fmla="*/ 451886 h 455969"/>
                    <a:gd name="connsiteX188" fmla="*/ 105987 w 409605"/>
                    <a:gd name="connsiteY188" fmla="*/ 450574 h 455969"/>
                    <a:gd name="connsiteX189" fmla="*/ 100421 w 409605"/>
                    <a:gd name="connsiteY189" fmla="*/ 447070 h 455969"/>
                    <a:gd name="connsiteX190" fmla="*/ 99549 w 409605"/>
                    <a:gd name="connsiteY190" fmla="*/ 445619 h 455969"/>
                    <a:gd name="connsiteX191" fmla="*/ 98693 w 409605"/>
                    <a:gd name="connsiteY191" fmla="*/ 441650 h 455969"/>
                    <a:gd name="connsiteX192" fmla="*/ 98131 w 409605"/>
                    <a:gd name="connsiteY192" fmla="*/ 437665 h 455969"/>
                    <a:gd name="connsiteX193" fmla="*/ 98188 w 409605"/>
                    <a:gd name="connsiteY193" fmla="*/ 435326 h 455969"/>
                    <a:gd name="connsiteX194" fmla="*/ 98571 w 409605"/>
                    <a:gd name="connsiteY194" fmla="*/ 433240 h 455969"/>
                    <a:gd name="connsiteX195" fmla="*/ 98408 w 409605"/>
                    <a:gd name="connsiteY195" fmla="*/ 431618 h 455969"/>
                    <a:gd name="connsiteX196" fmla="*/ 97805 w 409605"/>
                    <a:gd name="connsiteY196" fmla="*/ 430379 h 455969"/>
                    <a:gd name="connsiteX197" fmla="*/ 96142 w 409605"/>
                    <a:gd name="connsiteY197" fmla="*/ 429189 h 455969"/>
                    <a:gd name="connsiteX198" fmla="*/ 94398 w 409605"/>
                    <a:gd name="connsiteY198" fmla="*/ 428635 h 455969"/>
                    <a:gd name="connsiteX199" fmla="*/ 92190 w 409605"/>
                    <a:gd name="connsiteY199" fmla="*/ 430200 h 455969"/>
                    <a:gd name="connsiteX200" fmla="*/ 91130 w 409605"/>
                    <a:gd name="connsiteY200" fmla="*/ 430493 h 455969"/>
                    <a:gd name="connsiteX201" fmla="*/ 90144 w 409605"/>
                    <a:gd name="connsiteY201" fmla="*/ 430387 h 455969"/>
                    <a:gd name="connsiteX202" fmla="*/ 89631 w 409605"/>
                    <a:gd name="connsiteY202" fmla="*/ 429809 h 455969"/>
                    <a:gd name="connsiteX203" fmla="*/ 89704 w 409605"/>
                    <a:gd name="connsiteY203" fmla="*/ 429018 h 455969"/>
                    <a:gd name="connsiteX204" fmla="*/ 92092 w 409605"/>
                    <a:gd name="connsiteY204" fmla="*/ 424748 h 455969"/>
                    <a:gd name="connsiteX205" fmla="*/ 93257 w 409605"/>
                    <a:gd name="connsiteY205" fmla="*/ 422971 h 455969"/>
                    <a:gd name="connsiteX206" fmla="*/ 94668 w 409605"/>
                    <a:gd name="connsiteY206" fmla="*/ 421618 h 455969"/>
                    <a:gd name="connsiteX207" fmla="*/ 95621 w 409605"/>
                    <a:gd name="connsiteY207" fmla="*/ 420885 h 455969"/>
                    <a:gd name="connsiteX208" fmla="*/ 96232 w 409605"/>
                    <a:gd name="connsiteY208" fmla="*/ 419842 h 455969"/>
                    <a:gd name="connsiteX209" fmla="*/ 96281 w 409605"/>
                    <a:gd name="connsiteY209" fmla="*/ 419019 h 455969"/>
                    <a:gd name="connsiteX210" fmla="*/ 96061 w 409605"/>
                    <a:gd name="connsiteY210" fmla="*/ 418424 h 455969"/>
                    <a:gd name="connsiteX211" fmla="*/ 94488 w 409605"/>
                    <a:gd name="connsiteY211" fmla="*/ 417633 h 455969"/>
                    <a:gd name="connsiteX212" fmla="*/ 92068 w 409605"/>
                    <a:gd name="connsiteY212" fmla="*/ 415645 h 455969"/>
                    <a:gd name="connsiteX213" fmla="*/ 90764 w 409605"/>
                    <a:gd name="connsiteY213" fmla="*/ 415433 h 455969"/>
                    <a:gd name="connsiteX214" fmla="*/ 89680 w 409605"/>
                    <a:gd name="connsiteY214" fmla="*/ 414528 h 455969"/>
                    <a:gd name="connsiteX215" fmla="*/ 88522 w 409605"/>
                    <a:gd name="connsiteY215" fmla="*/ 411423 h 455969"/>
                    <a:gd name="connsiteX216" fmla="*/ 87985 w 409605"/>
                    <a:gd name="connsiteY216" fmla="*/ 410828 h 455969"/>
                    <a:gd name="connsiteX217" fmla="*/ 86827 w 409605"/>
                    <a:gd name="connsiteY217" fmla="*/ 410494 h 455969"/>
                    <a:gd name="connsiteX218" fmla="*/ 85784 w 409605"/>
                    <a:gd name="connsiteY218" fmla="*/ 409744 h 455969"/>
                    <a:gd name="connsiteX219" fmla="*/ 85825 w 409605"/>
                    <a:gd name="connsiteY219" fmla="*/ 405694 h 455969"/>
                    <a:gd name="connsiteX220" fmla="*/ 85874 w 409605"/>
                    <a:gd name="connsiteY220" fmla="*/ 402206 h 455969"/>
                    <a:gd name="connsiteX221" fmla="*/ 83502 w 409605"/>
                    <a:gd name="connsiteY221" fmla="*/ 396566 h 455969"/>
                    <a:gd name="connsiteX222" fmla="*/ 82581 w 409605"/>
                    <a:gd name="connsiteY222" fmla="*/ 393021 h 455969"/>
                    <a:gd name="connsiteX223" fmla="*/ 81391 w 409605"/>
                    <a:gd name="connsiteY223" fmla="*/ 389378 h 455969"/>
                    <a:gd name="connsiteX224" fmla="*/ 80291 w 409605"/>
                    <a:gd name="connsiteY224" fmla="*/ 387667 h 455969"/>
                    <a:gd name="connsiteX225" fmla="*/ 78376 w 409605"/>
                    <a:gd name="connsiteY225" fmla="*/ 386224 h 455969"/>
                    <a:gd name="connsiteX226" fmla="*/ 76021 w 409605"/>
                    <a:gd name="connsiteY226" fmla="*/ 385230 h 455969"/>
                    <a:gd name="connsiteX227" fmla="*/ 73918 w 409605"/>
                    <a:gd name="connsiteY227" fmla="*/ 385001 h 455969"/>
                    <a:gd name="connsiteX228" fmla="*/ 72312 w 409605"/>
                    <a:gd name="connsiteY228" fmla="*/ 385344 h 455969"/>
                    <a:gd name="connsiteX229" fmla="*/ 71555 w 409605"/>
                    <a:gd name="connsiteY229" fmla="*/ 385784 h 455969"/>
                    <a:gd name="connsiteX230" fmla="*/ 71596 w 409605"/>
                    <a:gd name="connsiteY230" fmla="*/ 386460 h 455969"/>
                    <a:gd name="connsiteX231" fmla="*/ 72916 w 409605"/>
                    <a:gd name="connsiteY231" fmla="*/ 388775 h 455969"/>
                    <a:gd name="connsiteX232" fmla="*/ 73144 w 409605"/>
                    <a:gd name="connsiteY232" fmla="*/ 390046 h 455969"/>
                    <a:gd name="connsiteX233" fmla="*/ 72924 w 409605"/>
                    <a:gd name="connsiteY233" fmla="*/ 391301 h 455969"/>
                    <a:gd name="connsiteX234" fmla="*/ 72484 w 409605"/>
                    <a:gd name="connsiteY234" fmla="*/ 392116 h 455969"/>
                    <a:gd name="connsiteX235" fmla="*/ 71327 w 409605"/>
                    <a:gd name="connsiteY235" fmla="*/ 392214 h 455969"/>
                    <a:gd name="connsiteX236" fmla="*/ 69289 w 409605"/>
                    <a:gd name="connsiteY236" fmla="*/ 392931 h 455969"/>
                    <a:gd name="connsiteX237" fmla="*/ 66787 w 409605"/>
                    <a:gd name="connsiteY237" fmla="*/ 394333 h 455969"/>
                    <a:gd name="connsiteX238" fmla="*/ 65043 w 409605"/>
                    <a:gd name="connsiteY238" fmla="*/ 395523 h 455969"/>
                    <a:gd name="connsiteX239" fmla="*/ 63641 w 409605"/>
                    <a:gd name="connsiteY239" fmla="*/ 398571 h 455969"/>
                    <a:gd name="connsiteX240" fmla="*/ 62664 w 409605"/>
                    <a:gd name="connsiteY240" fmla="*/ 398954 h 455969"/>
                    <a:gd name="connsiteX241" fmla="*/ 61009 w 409605"/>
                    <a:gd name="connsiteY241" fmla="*/ 398571 h 455969"/>
                    <a:gd name="connsiteX242" fmla="*/ 56299 w 409605"/>
                    <a:gd name="connsiteY242" fmla="*/ 396330 h 455969"/>
                    <a:gd name="connsiteX243" fmla="*/ 52419 w 409605"/>
                    <a:gd name="connsiteY243" fmla="*/ 394480 h 455969"/>
                    <a:gd name="connsiteX244" fmla="*/ 49746 w 409605"/>
                    <a:gd name="connsiteY244" fmla="*/ 393420 h 455969"/>
                    <a:gd name="connsiteX245" fmla="*/ 48132 w 409605"/>
                    <a:gd name="connsiteY245" fmla="*/ 394097 h 455969"/>
                    <a:gd name="connsiteX246" fmla="*/ 47317 w 409605"/>
                    <a:gd name="connsiteY246" fmla="*/ 394423 h 455969"/>
                    <a:gd name="connsiteX247" fmla="*/ 45011 w 409605"/>
                    <a:gd name="connsiteY247" fmla="*/ 395653 h 455969"/>
                    <a:gd name="connsiteX248" fmla="*/ 41947 w 409605"/>
                    <a:gd name="connsiteY248" fmla="*/ 400144 h 455969"/>
                    <a:gd name="connsiteX249" fmla="*/ 41213 w 409605"/>
                    <a:gd name="connsiteY249" fmla="*/ 401627 h 455969"/>
                    <a:gd name="connsiteX250" fmla="*/ 40602 w 409605"/>
                    <a:gd name="connsiteY250" fmla="*/ 402108 h 455969"/>
                    <a:gd name="connsiteX251" fmla="*/ 39763 w 409605"/>
                    <a:gd name="connsiteY251" fmla="*/ 402898 h 455969"/>
                    <a:gd name="connsiteX252" fmla="*/ 38972 w 409605"/>
                    <a:gd name="connsiteY252" fmla="*/ 402923 h 455969"/>
                    <a:gd name="connsiteX253" fmla="*/ 38336 w 409605"/>
                    <a:gd name="connsiteY253" fmla="*/ 402385 h 455969"/>
                    <a:gd name="connsiteX254" fmla="*/ 38133 w 409605"/>
                    <a:gd name="connsiteY254" fmla="*/ 402059 h 455969"/>
                    <a:gd name="connsiteX255" fmla="*/ 36560 w 409605"/>
                    <a:gd name="connsiteY255" fmla="*/ 398815 h 455969"/>
                    <a:gd name="connsiteX256" fmla="*/ 34832 w 409605"/>
                    <a:gd name="connsiteY256" fmla="*/ 395262 h 455969"/>
                    <a:gd name="connsiteX257" fmla="*/ 33414 w 409605"/>
                    <a:gd name="connsiteY257" fmla="*/ 393640 h 455969"/>
                    <a:gd name="connsiteX258" fmla="*/ 31645 w 409605"/>
                    <a:gd name="connsiteY258" fmla="*/ 393575 h 455969"/>
                    <a:gd name="connsiteX259" fmla="*/ 30130 w 409605"/>
                    <a:gd name="connsiteY259" fmla="*/ 394684 h 455969"/>
                    <a:gd name="connsiteX260" fmla="*/ 28557 w 409605"/>
                    <a:gd name="connsiteY260" fmla="*/ 396982 h 455969"/>
                    <a:gd name="connsiteX261" fmla="*/ 26560 w 409605"/>
                    <a:gd name="connsiteY261" fmla="*/ 399101 h 455969"/>
                    <a:gd name="connsiteX262" fmla="*/ 25289 w 409605"/>
                    <a:gd name="connsiteY262" fmla="*/ 399728 h 455969"/>
                    <a:gd name="connsiteX263" fmla="*/ 24197 w 409605"/>
                    <a:gd name="connsiteY263" fmla="*/ 399386 h 455969"/>
                    <a:gd name="connsiteX264" fmla="*/ 21475 w 409605"/>
                    <a:gd name="connsiteY264" fmla="*/ 396705 h 455969"/>
                    <a:gd name="connsiteX265" fmla="*/ 19551 w 409605"/>
                    <a:gd name="connsiteY265" fmla="*/ 394798 h 455969"/>
                    <a:gd name="connsiteX266" fmla="*/ 19307 w 409605"/>
                    <a:gd name="connsiteY266" fmla="*/ 393844 h 455969"/>
                    <a:gd name="connsiteX267" fmla="*/ 19991 w 409605"/>
                    <a:gd name="connsiteY267" fmla="*/ 392369 h 455969"/>
                    <a:gd name="connsiteX268" fmla="*/ 20660 w 409605"/>
                    <a:gd name="connsiteY268" fmla="*/ 390193 h 455969"/>
                    <a:gd name="connsiteX269" fmla="*/ 21393 w 409605"/>
                    <a:gd name="connsiteY269" fmla="*/ 388416 h 455969"/>
                    <a:gd name="connsiteX270" fmla="*/ 22102 w 409605"/>
                    <a:gd name="connsiteY270" fmla="*/ 387609 h 455969"/>
                    <a:gd name="connsiteX271" fmla="*/ 22281 w 409605"/>
                    <a:gd name="connsiteY271" fmla="*/ 385344 h 455969"/>
                    <a:gd name="connsiteX272" fmla="*/ 20627 w 409605"/>
                    <a:gd name="connsiteY272" fmla="*/ 383746 h 455969"/>
                    <a:gd name="connsiteX273" fmla="*/ 20586 w 409605"/>
                    <a:gd name="connsiteY273" fmla="*/ 382964 h 455969"/>
                    <a:gd name="connsiteX274" fmla="*/ 20749 w 409605"/>
                    <a:gd name="connsiteY274" fmla="*/ 380845 h 455969"/>
                    <a:gd name="connsiteX275" fmla="*/ 21483 w 409605"/>
                    <a:gd name="connsiteY275" fmla="*/ 376363 h 455969"/>
                    <a:gd name="connsiteX276" fmla="*/ 21409 w 409605"/>
                    <a:gd name="connsiteY276" fmla="*/ 374651 h 455969"/>
                    <a:gd name="connsiteX277" fmla="*/ 22078 w 409605"/>
                    <a:gd name="connsiteY277" fmla="*/ 371318 h 455969"/>
                    <a:gd name="connsiteX278" fmla="*/ 20994 w 409605"/>
                    <a:gd name="connsiteY278" fmla="*/ 369819 h 455969"/>
                    <a:gd name="connsiteX279" fmla="*/ 20741 w 409605"/>
                    <a:gd name="connsiteY279" fmla="*/ 368702 h 455969"/>
                    <a:gd name="connsiteX280" fmla="*/ 19535 w 409605"/>
                    <a:gd name="connsiteY280" fmla="*/ 366917 h 455969"/>
                    <a:gd name="connsiteX281" fmla="*/ 18150 w 409605"/>
                    <a:gd name="connsiteY281" fmla="*/ 364399 h 455969"/>
                    <a:gd name="connsiteX282" fmla="*/ 17832 w 409605"/>
                    <a:gd name="connsiteY282" fmla="*/ 362370 h 455969"/>
                    <a:gd name="connsiteX283" fmla="*/ 17343 w 409605"/>
                    <a:gd name="connsiteY283" fmla="*/ 360756 h 455969"/>
                    <a:gd name="connsiteX284" fmla="*/ 16014 w 409605"/>
                    <a:gd name="connsiteY284" fmla="*/ 358336 h 455969"/>
                    <a:gd name="connsiteX285" fmla="*/ 15028 w 409605"/>
                    <a:gd name="connsiteY285" fmla="*/ 357953 h 455969"/>
                    <a:gd name="connsiteX286" fmla="*/ 12958 w 409605"/>
                    <a:gd name="connsiteY286" fmla="*/ 357586 h 455969"/>
                    <a:gd name="connsiteX287" fmla="*/ 12616 w 409605"/>
                    <a:gd name="connsiteY287" fmla="*/ 358417 h 455969"/>
                    <a:gd name="connsiteX288" fmla="*/ 11833 w 409605"/>
                    <a:gd name="connsiteY288" fmla="*/ 359632 h 455969"/>
                    <a:gd name="connsiteX289" fmla="*/ 11133 w 409605"/>
                    <a:gd name="connsiteY289" fmla="*/ 359974 h 455969"/>
                    <a:gd name="connsiteX290" fmla="*/ 9983 w 409605"/>
                    <a:gd name="connsiteY290" fmla="*/ 358499 h 455969"/>
                    <a:gd name="connsiteX291" fmla="*/ 9560 w 409605"/>
                    <a:gd name="connsiteY291" fmla="*/ 357235 h 455969"/>
                    <a:gd name="connsiteX292" fmla="*/ 9568 w 409605"/>
                    <a:gd name="connsiteY292" fmla="*/ 356070 h 455969"/>
                    <a:gd name="connsiteX293" fmla="*/ 8028 w 409605"/>
                    <a:gd name="connsiteY293" fmla="*/ 354049 h 455969"/>
                    <a:gd name="connsiteX294" fmla="*/ 5615 w 409605"/>
                    <a:gd name="connsiteY294" fmla="*/ 350349 h 455969"/>
                    <a:gd name="connsiteX295" fmla="*/ 5860 w 409605"/>
                    <a:gd name="connsiteY295" fmla="*/ 347285 h 455969"/>
                    <a:gd name="connsiteX296" fmla="*/ 7351 w 409605"/>
                    <a:gd name="connsiteY296" fmla="*/ 345638 h 455969"/>
                    <a:gd name="connsiteX297" fmla="*/ 7791 w 409605"/>
                    <a:gd name="connsiteY297" fmla="*/ 344391 h 455969"/>
                    <a:gd name="connsiteX298" fmla="*/ 7922 w 409605"/>
                    <a:gd name="connsiteY298" fmla="*/ 342990 h 455969"/>
                    <a:gd name="connsiteX299" fmla="*/ 7253 w 409605"/>
                    <a:gd name="connsiteY299" fmla="*/ 341311 h 455969"/>
                    <a:gd name="connsiteX300" fmla="*/ 6455 w 409605"/>
                    <a:gd name="connsiteY300" fmla="*/ 339966 h 455969"/>
                    <a:gd name="connsiteX301" fmla="*/ 6683 w 409605"/>
                    <a:gd name="connsiteY301" fmla="*/ 337016 h 455969"/>
                    <a:gd name="connsiteX302" fmla="*/ 6487 w 409605"/>
                    <a:gd name="connsiteY302" fmla="*/ 332925 h 455969"/>
                    <a:gd name="connsiteX303" fmla="*/ 5265 w 409605"/>
                    <a:gd name="connsiteY303" fmla="*/ 330863 h 455969"/>
                    <a:gd name="connsiteX304" fmla="*/ 4156 w 409605"/>
                    <a:gd name="connsiteY304" fmla="*/ 329372 h 455969"/>
                    <a:gd name="connsiteX305" fmla="*/ 2608 w 409605"/>
                    <a:gd name="connsiteY305" fmla="*/ 327750 h 455969"/>
                    <a:gd name="connsiteX306" fmla="*/ 1296 w 409605"/>
                    <a:gd name="connsiteY306" fmla="*/ 325256 h 455969"/>
                    <a:gd name="connsiteX307" fmla="*/ 1826 w 409605"/>
                    <a:gd name="connsiteY307" fmla="*/ 321833 h 455969"/>
                    <a:gd name="connsiteX308" fmla="*/ 2331 w 409605"/>
                    <a:gd name="connsiteY308" fmla="*/ 319486 h 455969"/>
                    <a:gd name="connsiteX309" fmla="*/ 0 w 409605"/>
                    <a:gd name="connsiteY309" fmla="*/ 314588 h 455969"/>
                    <a:gd name="connsiteX310" fmla="*/ 4360 w 409605"/>
                    <a:gd name="connsiteY310" fmla="*/ 316528 h 455969"/>
                    <a:gd name="connsiteX311" fmla="*/ 4939 w 409605"/>
                    <a:gd name="connsiteY311" fmla="*/ 315884 h 455969"/>
                    <a:gd name="connsiteX312" fmla="*/ 6422 w 409605"/>
                    <a:gd name="connsiteY312" fmla="*/ 314718 h 455969"/>
                    <a:gd name="connsiteX313" fmla="*/ 8419 w 409605"/>
                    <a:gd name="connsiteY313" fmla="*/ 312216 h 455969"/>
                    <a:gd name="connsiteX314" fmla="*/ 10114 w 409605"/>
                    <a:gd name="connsiteY314" fmla="*/ 308924 h 455969"/>
                    <a:gd name="connsiteX315" fmla="*/ 10872 w 409605"/>
                    <a:gd name="connsiteY315" fmla="*/ 304833 h 455969"/>
                    <a:gd name="connsiteX316" fmla="*/ 11206 w 409605"/>
                    <a:gd name="connsiteY316" fmla="*/ 301320 h 455969"/>
                    <a:gd name="connsiteX317" fmla="*/ 11956 w 409605"/>
                    <a:gd name="connsiteY317" fmla="*/ 298329 h 455969"/>
                    <a:gd name="connsiteX318" fmla="*/ 12909 w 409605"/>
                    <a:gd name="connsiteY318" fmla="*/ 295803 h 455969"/>
                    <a:gd name="connsiteX319" fmla="*/ 14995 w 409605"/>
                    <a:gd name="connsiteY319" fmla="*/ 293171 h 455969"/>
                    <a:gd name="connsiteX320" fmla="*/ 16960 w 409605"/>
                    <a:gd name="connsiteY320" fmla="*/ 291304 h 455969"/>
                    <a:gd name="connsiteX321" fmla="*/ 19290 w 409605"/>
                    <a:gd name="connsiteY321" fmla="*/ 289364 h 455969"/>
                    <a:gd name="connsiteX322" fmla="*/ 20472 w 409605"/>
                    <a:gd name="connsiteY322" fmla="*/ 289715 h 455969"/>
                    <a:gd name="connsiteX323" fmla="*/ 22689 w 409605"/>
                    <a:gd name="connsiteY323" fmla="*/ 292412 h 455969"/>
                    <a:gd name="connsiteX324" fmla="*/ 27563 w 409605"/>
                    <a:gd name="connsiteY324" fmla="*/ 297848 h 455969"/>
                    <a:gd name="connsiteX325" fmla="*/ 31572 w 409605"/>
                    <a:gd name="connsiteY325" fmla="*/ 301980 h 455969"/>
                    <a:gd name="connsiteX326" fmla="*/ 33047 w 409605"/>
                    <a:gd name="connsiteY326" fmla="*/ 304172 h 455969"/>
                    <a:gd name="connsiteX327" fmla="*/ 34351 w 409605"/>
                    <a:gd name="connsiteY327" fmla="*/ 304189 h 455969"/>
                    <a:gd name="connsiteX328" fmla="*/ 36348 w 409605"/>
                    <a:gd name="connsiteY328" fmla="*/ 300196 h 455969"/>
                    <a:gd name="connsiteX329" fmla="*/ 38410 w 409605"/>
                    <a:gd name="connsiteY329" fmla="*/ 296740 h 455969"/>
                    <a:gd name="connsiteX330" fmla="*/ 39282 w 409605"/>
                    <a:gd name="connsiteY330" fmla="*/ 295901 h 455969"/>
                    <a:gd name="connsiteX331" fmla="*/ 42012 w 409605"/>
                    <a:gd name="connsiteY331" fmla="*/ 295526 h 455969"/>
                    <a:gd name="connsiteX332" fmla="*/ 44326 w 409605"/>
                    <a:gd name="connsiteY332" fmla="*/ 295371 h 455969"/>
                    <a:gd name="connsiteX333" fmla="*/ 46348 w 409605"/>
                    <a:gd name="connsiteY333" fmla="*/ 295428 h 455969"/>
                    <a:gd name="connsiteX334" fmla="*/ 50064 w 409605"/>
                    <a:gd name="connsiteY334" fmla="*/ 296096 h 455969"/>
                    <a:gd name="connsiteX335" fmla="*/ 51759 w 409605"/>
                    <a:gd name="connsiteY335" fmla="*/ 296707 h 455969"/>
                    <a:gd name="connsiteX336" fmla="*/ 53356 w 409605"/>
                    <a:gd name="connsiteY336" fmla="*/ 297082 h 455969"/>
                    <a:gd name="connsiteX337" fmla="*/ 58018 w 409605"/>
                    <a:gd name="connsiteY337" fmla="*/ 297384 h 455969"/>
                    <a:gd name="connsiteX338" fmla="*/ 62639 w 409605"/>
                    <a:gd name="connsiteY338" fmla="*/ 296536 h 455969"/>
                    <a:gd name="connsiteX339" fmla="*/ 67032 w 409605"/>
                    <a:gd name="connsiteY339" fmla="*/ 295452 h 455969"/>
                    <a:gd name="connsiteX340" fmla="*/ 70283 w 409605"/>
                    <a:gd name="connsiteY340" fmla="*/ 294809 h 455969"/>
                    <a:gd name="connsiteX341" fmla="*/ 70446 w 409605"/>
                    <a:gd name="connsiteY341" fmla="*/ 293187 h 455969"/>
                    <a:gd name="connsiteX342" fmla="*/ 70267 w 409605"/>
                    <a:gd name="connsiteY342" fmla="*/ 291255 h 455969"/>
                    <a:gd name="connsiteX343" fmla="*/ 70789 w 409605"/>
                    <a:gd name="connsiteY343" fmla="*/ 289780 h 455969"/>
                    <a:gd name="connsiteX344" fmla="*/ 71808 w 409605"/>
                    <a:gd name="connsiteY344" fmla="*/ 288427 h 455969"/>
                    <a:gd name="connsiteX345" fmla="*/ 72671 w 409605"/>
                    <a:gd name="connsiteY345" fmla="*/ 288126 h 455969"/>
                    <a:gd name="connsiteX346" fmla="*/ 73046 w 409605"/>
                    <a:gd name="connsiteY346" fmla="*/ 292755 h 455969"/>
                    <a:gd name="connsiteX347" fmla="*/ 74081 w 409605"/>
                    <a:gd name="connsiteY347" fmla="*/ 293448 h 455969"/>
                    <a:gd name="connsiteX348" fmla="*/ 76974 w 409605"/>
                    <a:gd name="connsiteY348" fmla="*/ 293659 h 455969"/>
                    <a:gd name="connsiteX349" fmla="*/ 81685 w 409605"/>
                    <a:gd name="connsiteY349" fmla="*/ 293659 h 455969"/>
                    <a:gd name="connsiteX350" fmla="*/ 86746 w 409605"/>
                    <a:gd name="connsiteY350" fmla="*/ 293659 h 455969"/>
                    <a:gd name="connsiteX351" fmla="*/ 91798 w 409605"/>
                    <a:gd name="connsiteY351" fmla="*/ 293651 h 455969"/>
                    <a:gd name="connsiteX352" fmla="*/ 96860 w 409605"/>
                    <a:gd name="connsiteY352" fmla="*/ 293651 h 455969"/>
                    <a:gd name="connsiteX353" fmla="*/ 101920 w 409605"/>
                    <a:gd name="connsiteY353" fmla="*/ 293651 h 455969"/>
                    <a:gd name="connsiteX354" fmla="*/ 106982 w 409605"/>
                    <a:gd name="connsiteY354" fmla="*/ 293651 h 455969"/>
                    <a:gd name="connsiteX355" fmla="*/ 112034 w 409605"/>
                    <a:gd name="connsiteY355" fmla="*/ 293651 h 455969"/>
                    <a:gd name="connsiteX356" fmla="*/ 117095 w 409605"/>
                    <a:gd name="connsiteY356" fmla="*/ 293651 h 455969"/>
                    <a:gd name="connsiteX357" fmla="*/ 122148 w 409605"/>
                    <a:gd name="connsiteY357" fmla="*/ 293651 h 455969"/>
                    <a:gd name="connsiteX358" fmla="*/ 127209 w 409605"/>
                    <a:gd name="connsiteY358" fmla="*/ 293651 h 455969"/>
                    <a:gd name="connsiteX359" fmla="*/ 132270 w 409605"/>
                    <a:gd name="connsiteY359" fmla="*/ 293651 h 455969"/>
                    <a:gd name="connsiteX360" fmla="*/ 137323 w 409605"/>
                    <a:gd name="connsiteY360" fmla="*/ 293651 h 455969"/>
                    <a:gd name="connsiteX361" fmla="*/ 142384 w 409605"/>
                    <a:gd name="connsiteY361" fmla="*/ 293651 h 455969"/>
                    <a:gd name="connsiteX362" fmla="*/ 147445 w 409605"/>
                    <a:gd name="connsiteY362" fmla="*/ 293651 h 455969"/>
                    <a:gd name="connsiteX363" fmla="*/ 152506 w 409605"/>
                    <a:gd name="connsiteY363" fmla="*/ 293651 h 455969"/>
                    <a:gd name="connsiteX364" fmla="*/ 157559 w 409605"/>
                    <a:gd name="connsiteY364" fmla="*/ 293651 h 455969"/>
                    <a:gd name="connsiteX365" fmla="*/ 162620 w 409605"/>
                    <a:gd name="connsiteY365" fmla="*/ 293651 h 455969"/>
                    <a:gd name="connsiteX366" fmla="*/ 167860 w 409605"/>
                    <a:gd name="connsiteY366" fmla="*/ 293651 h 455969"/>
                    <a:gd name="connsiteX367" fmla="*/ 169270 w 409605"/>
                    <a:gd name="connsiteY367" fmla="*/ 284703 h 455969"/>
                    <a:gd name="connsiteX368" fmla="*/ 170566 w 409605"/>
                    <a:gd name="connsiteY368" fmla="*/ 276512 h 455969"/>
                    <a:gd name="connsiteX369" fmla="*/ 171650 w 409605"/>
                    <a:gd name="connsiteY369" fmla="*/ 269642 h 455969"/>
                    <a:gd name="connsiteX370" fmla="*/ 167934 w 409605"/>
                    <a:gd name="connsiteY370" fmla="*/ 264777 h 455969"/>
                    <a:gd name="connsiteX371" fmla="*/ 164975 w 409605"/>
                    <a:gd name="connsiteY371" fmla="*/ 260906 h 455969"/>
                    <a:gd name="connsiteX372" fmla="*/ 164299 w 409605"/>
                    <a:gd name="connsiteY372" fmla="*/ 253538 h 455969"/>
                    <a:gd name="connsiteX373" fmla="*/ 163590 w 409605"/>
                    <a:gd name="connsiteY373" fmla="*/ 245926 h 455969"/>
                    <a:gd name="connsiteX374" fmla="*/ 162889 w 409605"/>
                    <a:gd name="connsiteY374" fmla="*/ 238315 h 455969"/>
                    <a:gd name="connsiteX375" fmla="*/ 162180 w 409605"/>
                    <a:gd name="connsiteY375" fmla="*/ 230695 h 455969"/>
                    <a:gd name="connsiteX376" fmla="*/ 161471 w 409605"/>
                    <a:gd name="connsiteY376" fmla="*/ 223066 h 455969"/>
                    <a:gd name="connsiteX377" fmla="*/ 160770 w 409605"/>
                    <a:gd name="connsiteY377" fmla="*/ 215438 h 455969"/>
                    <a:gd name="connsiteX378" fmla="*/ 160061 w 409605"/>
                    <a:gd name="connsiteY378" fmla="*/ 207810 h 455969"/>
                    <a:gd name="connsiteX379" fmla="*/ 159352 w 409605"/>
                    <a:gd name="connsiteY379" fmla="*/ 200166 h 455969"/>
                    <a:gd name="connsiteX380" fmla="*/ 158643 w 409605"/>
                    <a:gd name="connsiteY380" fmla="*/ 192521 h 455969"/>
                    <a:gd name="connsiteX381" fmla="*/ 157942 w 409605"/>
                    <a:gd name="connsiteY381" fmla="*/ 184869 h 455969"/>
                    <a:gd name="connsiteX382" fmla="*/ 157233 w 409605"/>
                    <a:gd name="connsiteY382" fmla="*/ 177208 h 455969"/>
                    <a:gd name="connsiteX383" fmla="*/ 156532 w 409605"/>
                    <a:gd name="connsiteY383" fmla="*/ 169547 h 455969"/>
                    <a:gd name="connsiteX384" fmla="*/ 155823 w 409605"/>
                    <a:gd name="connsiteY384" fmla="*/ 161878 h 455969"/>
                    <a:gd name="connsiteX385" fmla="*/ 155114 w 409605"/>
                    <a:gd name="connsiteY385" fmla="*/ 154201 h 455969"/>
                    <a:gd name="connsiteX386" fmla="*/ 154413 w 409605"/>
                    <a:gd name="connsiteY386" fmla="*/ 146524 h 455969"/>
                    <a:gd name="connsiteX387" fmla="*/ 153704 w 409605"/>
                    <a:gd name="connsiteY387" fmla="*/ 138839 h 455969"/>
                    <a:gd name="connsiteX388" fmla="*/ 152995 w 409605"/>
                    <a:gd name="connsiteY388" fmla="*/ 131146 h 455969"/>
                    <a:gd name="connsiteX389" fmla="*/ 152294 w 409605"/>
                    <a:gd name="connsiteY389" fmla="*/ 123452 h 455969"/>
                    <a:gd name="connsiteX390" fmla="*/ 151585 w 409605"/>
                    <a:gd name="connsiteY390" fmla="*/ 115742 h 455969"/>
                    <a:gd name="connsiteX391" fmla="*/ 150876 w 409605"/>
                    <a:gd name="connsiteY391" fmla="*/ 108033 h 455969"/>
                    <a:gd name="connsiteX392" fmla="*/ 150175 w 409605"/>
                    <a:gd name="connsiteY392" fmla="*/ 100315 h 455969"/>
                    <a:gd name="connsiteX393" fmla="*/ 149466 w 409605"/>
                    <a:gd name="connsiteY393" fmla="*/ 92589 h 455969"/>
                    <a:gd name="connsiteX394" fmla="*/ 148757 w 409605"/>
                    <a:gd name="connsiteY394" fmla="*/ 84863 h 455969"/>
                    <a:gd name="connsiteX395" fmla="*/ 148056 w 409605"/>
                    <a:gd name="connsiteY395" fmla="*/ 77121 h 455969"/>
                    <a:gd name="connsiteX396" fmla="*/ 147347 w 409605"/>
                    <a:gd name="connsiteY396" fmla="*/ 69387 h 455969"/>
                    <a:gd name="connsiteX397" fmla="*/ 146638 w 409605"/>
                    <a:gd name="connsiteY397" fmla="*/ 61637 h 455969"/>
                    <a:gd name="connsiteX398" fmla="*/ 145929 w 409605"/>
                    <a:gd name="connsiteY398" fmla="*/ 53878 h 455969"/>
                    <a:gd name="connsiteX399" fmla="*/ 145228 w 409605"/>
                    <a:gd name="connsiteY399" fmla="*/ 46111 h 455969"/>
                    <a:gd name="connsiteX400" fmla="*/ 144527 w 409605"/>
                    <a:gd name="connsiteY400" fmla="*/ 38336 h 455969"/>
                    <a:gd name="connsiteX401" fmla="*/ 143819 w 409605"/>
                    <a:gd name="connsiteY401" fmla="*/ 30570 h 455969"/>
                    <a:gd name="connsiteX402" fmla="*/ 143109 w 409605"/>
                    <a:gd name="connsiteY402" fmla="*/ 22779 h 455969"/>
                    <a:gd name="connsiteX403" fmla="*/ 142400 w 409605"/>
                    <a:gd name="connsiteY403" fmla="*/ 14988 h 455969"/>
                    <a:gd name="connsiteX404" fmla="*/ 141700 w 409605"/>
                    <a:gd name="connsiteY404" fmla="*/ 7180 h 455969"/>
                    <a:gd name="connsiteX405" fmla="*/ 141040 w 409605"/>
                    <a:gd name="connsiteY405" fmla="*/ 33 h 455969"/>
                    <a:gd name="connsiteX406" fmla="*/ 148651 w 409605"/>
                    <a:gd name="connsiteY406" fmla="*/ 33 h 455969"/>
                    <a:gd name="connsiteX407" fmla="*/ 156768 w 409605"/>
                    <a:gd name="connsiteY407" fmla="*/ 25 h 455969"/>
                    <a:gd name="connsiteX408" fmla="*/ 164682 w 409605"/>
                    <a:gd name="connsiteY408" fmla="*/ 16 h 455969"/>
                    <a:gd name="connsiteX409" fmla="*/ 176287 w 409605"/>
                    <a:gd name="connsiteY409" fmla="*/ 8 h 455969"/>
                    <a:gd name="connsiteX410" fmla="*/ 184975 w 409605"/>
                    <a:gd name="connsiteY410" fmla="*/ 0 h 455969"/>
                    <a:gd name="connsiteX411" fmla="*/ 192554 w 409605"/>
                    <a:gd name="connsiteY411" fmla="*/ 5998 h 455969"/>
                    <a:gd name="connsiteX412" fmla="*/ 199416 w 409605"/>
                    <a:gd name="connsiteY412" fmla="*/ 11679 h 455969"/>
                    <a:gd name="connsiteX413" fmla="*/ 207541 w 409605"/>
                    <a:gd name="connsiteY413" fmla="*/ 18386 h 455969"/>
                    <a:gd name="connsiteX414" fmla="*/ 215659 w 409605"/>
                    <a:gd name="connsiteY414" fmla="*/ 25101 h 455969"/>
                    <a:gd name="connsiteX415" fmla="*/ 223783 w 409605"/>
                    <a:gd name="connsiteY415" fmla="*/ 31792 h 455969"/>
                    <a:gd name="connsiteX416" fmla="*/ 231909 w 409605"/>
                    <a:gd name="connsiteY416" fmla="*/ 38499 h 455969"/>
                    <a:gd name="connsiteX417" fmla="*/ 240026 w 409605"/>
                    <a:gd name="connsiteY417" fmla="*/ 45190 h 455969"/>
                    <a:gd name="connsiteX418" fmla="*/ 248152 w 409605"/>
                    <a:gd name="connsiteY418" fmla="*/ 51881 h 455969"/>
                    <a:gd name="connsiteX419" fmla="*/ 256268 w 409605"/>
                    <a:gd name="connsiteY419" fmla="*/ 58556 h 455969"/>
                    <a:gd name="connsiteX420" fmla="*/ 264394 w 409605"/>
                    <a:gd name="connsiteY420" fmla="*/ 65230 h 455969"/>
                    <a:gd name="connsiteX421" fmla="*/ 272519 w 409605"/>
                    <a:gd name="connsiteY421" fmla="*/ 71897 h 455969"/>
                    <a:gd name="connsiteX422" fmla="*/ 280636 w 409605"/>
                    <a:gd name="connsiteY422" fmla="*/ 78572 h 455969"/>
                    <a:gd name="connsiteX423" fmla="*/ 288761 w 409605"/>
                    <a:gd name="connsiteY423" fmla="*/ 85230 h 455969"/>
                    <a:gd name="connsiteX424" fmla="*/ 296878 w 409605"/>
                    <a:gd name="connsiteY424" fmla="*/ 91888 h 455969"/>
                    <a:gd name="connsiteX425" fmla="*/ 305004 w 409605"/>
                    <a:gd name="connsiteY425" fmla="*/ 98538 h 455969"/>
                    <a:gd name="connsiteX426" fmla="*/ 313137 w 409605"/>
                    <a:gd name="connsiteY426" fmla="*/ 105189 h 455969"/>
                    <a:gd name="connsiteX427" fmla="*/ 321254 w 409605"/>
                    <a:gd name="connsiteY427" fmla="*/ 111823 h 455969"/>
                    <a:gd name="connsiteX428" fmla="*/ 329380 w 409605"/>
                    <a:gd name="connsiteY428" fmla="*/ 118465 h 455969"/>
                    <a:gd name="connsiteX429" fmla="*/ 332998 w 409605"/>
                    <a:gd name="connsiteY429" fmla="*/ 121423 h 455969"/>
                    <a:gd name="connsiteX430" fmla="*/ 333340 w 409605"/>
                    <a:gd name="connsiteY430" fmla="*/ 122654 h 455969"/>
                    <a:gd name="connsiteX431" fmla="*/ 333674 w 409605"/>
                    <a:gd name="connsiteY431" fmla="*/ 125147 h 455969"/>
                    <a:gd name="connsiteX432" fmla="*/ 333463 w 409605"/>
                    <a:gd name="connsiteY432" fmla="*/ 127951 h 455969"/>
                    <a:gd name="connsiteX433" fmla="*/ 333503 w 409605"/>
                    <a:gd name="connsiteY433" fmla="*/ 130241 h 455969"/>
                    <a:gd name="connsiteX434" fmla="*/ 334563 w 409605"/>
                    <a:gd name="connsiteY434" fmla="*/ 131797 h 455969"/>
                    <a:gd name="connsiteX435" fmla="*/ 336576 w 409605"/>
                    <a:gd name="connsiteY435" fmla="*/ 133460 h 455969"/>
                    <a:gd name="connsiteX436" fmla="*/ 344530 w 409605"/>
                    <a:gd name="connsiteY436" fmla="*/ 138342 h 455969"/>
                    <a:gd name="connsiteX437" fmla="*/ 345157 w 409605"/>
                    <a:gd name="connsiteY437" fmla="*/ 139304 h 455969"/>
                    <a:gd name="connsiteX438" fmla="*/ 345443 w 409605"/>
                    <a:gd name="connsiteY438" fmla="*/ 141333 h 455969"/>
                    <a:gd name="connsiteX439" fmla="*/ 346396 w 409605"/>
                    <a:gd name="connsiteY439" fmla="*/ 143818 h 455969"/>
                    <a:gd name="connsiteX440" fmla="*/ 348067 w 409605"/>
                    <a:gd name="connsiteY440" fmla="*/ 145261 h 455969"/>
                    <a:gd name="connsiteX441" fmla="*/ 350039 w 409605"/>
                    <a:gd name="connsiteY441" fmla="*/ 146345 h 455969"/>
                    <a:gd name="connsiteX442" fmla="*/ 352427 w 409605"/>
                    <a:gd name="connsiteY442" fmla="*/ 147086 h 455969"/>
                    <a:gd name="connsiteX443" fmla="*/ 359640 w 409605"/>
                    <a:gd name="connsiteY443" fmla="*/ 147852 h 455969"/>
                    <a:gd name="connsiteX444" fmla="*/ 361155 w 409605"/>
                    <a:gd name="connsiteY444" fmla="*/ 149018 h 455969"/>
                    <a:gd name="connsiteX445" fmla="*/ 364269 w 409605"/>
                    <a:gd name="connsiteY445" fmla="*/ 153533 h 455969"/>
                    <a:gd name="connsiteX446" fmla="*/ 365948 w 409605"/>
                    <a:gd name="connsiteY446" fmla="*/ 154429 h 455969"/>
                    <a:gd name="connsiteX447" fmla="*/ 370756 w 409605"/>
                    <a:gd name="connsiteY447" fmla="*/ 155725 h 455969"/>
                    <a:gd name="connsiteX448" fmla="*/ 374236 w 409605"/>
                    <a:gd name="connsiteY448" fmla="*/ 156451 h 455969"/>
                    <a:gd name="connsiteX449" fmla="*/ 375662 w 409605"/>
                    <a:gd name="connsiteY449" fmla="*/ 156866 h 455969"/>
                    <a:gd name="connsiteX450" fmla="*/ 378808 w 409605"/>
                    <a:gd name="connsiteY450" fmla="*/ 158080 h 455969"/>
                    <a:gd name="connsiteX451" fmla="*/ 382223 w 409605"/>
                    <a:gd name="connsiteY451" fmla="*/ 160134 h 455969"/>
                    <a:gd name="connsiteX452" fmla="*/ 384048 w 409605"/>
                    <a:gd name="connsiteY452" fmla="*/ 162001 h 455969"/>
                    <a:gd name="connsiteX453" fmla="*/ 384040 w 409605"/>
                    <a:gd name="connsiteY453" fmla="*/ 162587 h 455969"/>
                    <a:gd name="connsiteX454" fmla="*/ 384015 w 409605"/>
                    <a:gd name="connsiteY454" fmla="*/ 164201 h 455969"/>
                    <a:gd name="connsiteX455" fmla="*/ 383999 w 409605"/>
                    <a:gd name="connsiteY455" fmla="*/ 169066 h 455969"/>
                    <a:gd name="connsiteX456" fmla="*/ 384619 w 409605"/>
                    <a:gd name="connsiteY456" fmla="*/ 171748 h 455969"/>
                    <a:gd name="connsiteX457" fmla="*/ 385336 w 409605"/>
                    <a:gd name="connsiteY457" fmla="*/ 173679 h 455969"/>
                    <a:gd name="connsiteX458" fmla="*/ 385295 w 409605"/>
                    <a:gd name="connsiteY458" fmla="*/ 174853 h 455969"/>
                    <a:gd name="connsiteX459" fmla="*/ 384448 w 409605"/>
                    <a:gd name="connsiteY459" fmla="*/ 175692 h 455969"/>
                    <a:gd name="connsiteX460" fmla="*/ 383771 w 409605"/>
                    <a:gd name="connsiteY460" fmla="*/ 176719 h 455969"/>
                    <a:gd name="connsiteX461" fmla="*/ 383388 w 409605"/>
                    <a:gd name="connsiteY461" fmla="*/ 178080 h 455969"/>
                    <a:gd name="connsiteX462" fmla="*/ 382418 w 409605"/>
                    <a:gd name="connsiteY462" fmla="*/ 179799 h 455969"/>
                    <a:gd name="connsiteX463" fmla="*/ 381628 w 409605"/>
                    <a:gd name="connsiteY463" fmla="*/ 181707 h 455969"/>
                    <a:gd name="connsiteX464" fmla="*/ 381962 w 409605"/>
                    <a:gd name="connsiteY464" fmla="*/ 183157 h 455969"/>
                    <a:gd name="connsiteX465" fmla="*/ 383315 w 409605"/>
                    <a:gd name="connsiteY465" fmla="*/ 184086 h 455969"/>
                    <a:gd name="connsiteX466" fmla="*/ 385336 w 409605"/>
                    <a:gd name="connsiteY466" fmla="*/ 185920 h 455969"/>
                    <a:gd name="connsiteX467" fmla="*/ 387015 w 409605"/>
                    <a:gd name="connsiteY467" fmla="*/ 186686 h 455969"/>
                    <a:gd name="connsiteX468" fmla="*/ 387838 w 409605"/>
                    <a:gd name="connsiteY468" fmla="*/ 186743 h 455969"/>
                    <a:gd name="connsiteX469" fmla="*/ 388930 w 409605"/>
                    <a:gd name="connsiteY469" fmla="*/ 186686 h 455969"/>
                    <a:gd name="connsiteX470" fmla="*/ 389883 w 409605"/>
                    <a:gd name="connsiteY470" fmla="*/ 186450 h 455969"/>
                    <a:gd name="connsiteX471" fmla="*/ 395946 w 409605"/>
                    <a:gd name="connsiteY471" fmla="*/ 185048 h 455969"/>
                    <a:gd name="connsiteX472" fmla="*/ 401562 w 409605"/>
                    <a:gd name="connsiteY472" fmla="*/ 183752 h 4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Lst>
                  <a:rect l="l" t="t" r="r" b="b"/>
                  <a:pathLst>
                    <a:path w="409605" h="455969">
                      <a:moveTo>
                        <a:pt x="409435" y="181935"/>
                      </a:moveTo>
                      <a:lnTo>
                        <a:pt x="409451" y="187314"/>
                      </a:lnTo>
                      <a:lnTo>
                        <a:pt x="409475" y="195431"/>
                      </a:lnTo>
                      <a:lnTo>
                        <a:pt x="409500" y="204452"/>
                      </a:lnTo>
                      <a:lnTo>
                        <a:pt x="409524" y="212781"/>
                      </a:lnTo>
                      <a:lnTo>
                        <a:pt x="409548" y="222268"/>
                      </a:lnTo>
                      <a:lnTo>
                        <a:pt x="409573" y="229880"/>
                      </a:lnTo>
                      <a:lnTo>
                        <a:pt x="409589" y="238885"/>
                      </a:lnTo>
                      <a:lnTo>
                        <a:pt x="409606" y="247825"/>
                      </a:lnTo>
                      <a:lnTo>
                        <a:pt x="408831" y="248852"/>
                      </a:lnTo>
                      <a:lnTo>
                        <a:pt x="408538" y="253881"/>
                      </a:lnTo>
                      <a:lnTo>
                        <a:pt x="408302" y="260506"/>
                      </a:lnTo>
                      <a:lnTo>
                        <a:pt x="406802" y="267352"/>
                      </a:lnTo>
                      <a:lnTo>
                        <a:pt x="404161" y="272397"/>
                      </a:lnTo>
                      <a:lnTo>
                        <a:pt x="403200" y="277197"/>
                      </a:lnTo>
                      <a:lnTo>
                        <a:pt x="402475" y="279935"/>
                      </a:lnTo>
                      <a:lnTo>
                        <a:pt x="401488" y="281435"/>
                      </a:lnTo>
                      <a:lnTo>
                        <a:pt x="401260" y="283228"/>
                      </a:lnTo>
                      <a:lnTo>
                        <a:pt x="400747" y="285746"/>
                      </a:lnTo>
                      <a:lnTo>
                        <a:pt x="399899" y="287384"/>
                      </a:lnTo>
                      <a:lnTo>
                        <a:pt x="399247" y="288232"/>
                      </a:lnTo>
                      <a:lnTo>
                        <a:pt x="396591" y="289218"/>
                      </a:lnTo>
                      <a:lnTo>
                        <a:pt x="391897" y="294059"/>
                      </a:lnTo>
                      <a:lnTo>
                        <a:pt x="391497" y="297914"/>
                      </a:lnTo>
                      <a:lnTo>
                        <a:pt x="386151" y="296854"/>
                      </a:lnTo>
                      <a:lnTo>
                        <a:pt x="380487" y="295754"/>
                      </a:lnTo>
                      <a:lnTo>
                        <a:pt x="379721" y="295827"/>
                      </a:lnTo>
                      <a:lnTo>
                        <a:pt x="379256" y="296333"/>
                      </a:lnTo>
                      <a:lnTo>
                        <a:pt x="379020" y="298386"/>
                      </a:lnTo>
                      <a:lnTo>
                        <a:pt x="371294" y="298720"/>
                      </a:lnTo>
                      <a:lnTo>
                        <a:pt x="364627" y="299014"/>
                      </a:lnTo>
                      <a:lnTo>
                        <a:pt x="356372" y="299348"/>
                      </a:lnTo>
                      <a:lnTo>
                        <a:pt x="350708" y="299576"/>
                      </a:lnTo>
                      <a:lnTo>
                        <a:pt x="343503" y="300049"/>
                      </a:lnTo>
                      <a:lnTo>
                        <a:pt x="336829" y="300481"/>
                      </a:lnTo>
                      <a:lnTo>
                        <a:pt x="332395" y="304939"/>
                      </a:lnTo>
                      <a:lnTo>
                        <a:pt x="328402" y="309176"/>
                      </a:lnTo>
                      <a:lnTo>
                        <a:pt x="328084" y="309315"/>
                      </a:lnTo>
                      <a:lnTo>
                        <a:pt x="322412" y="310154"/>
                      </a:lnTo>
                      <a:lnTo>
                        <a:pt x="315321" y="309413"/>
                      </a:lnTo>
                      <a:lnTo>
                        <a:pt x="311686" y="309380"/>
                      </a:lnTo>
                      <a:lnTo>
                        <a:pt x="310260" y="309886"/>
                      </a:lnTo>
                      <a:lnTo>
                        <a:pt x="309983" y="311467"/>
                      </a:lnTo>
                      <a:lnTo>
                        <a:pt x="304767" y="309233"/>
                      </a:lnTo>
                      <a:lnTo>
                        <a:pt x="298737" y="306968"/>
                      </a:lnTo>
                      <a:lnTo>
                        <a:pt x="294531" y="308394"/>
                      </a:lnTo>
                      <a:lnTo>
                        <a:pt x="293863" y="307905"/>
                      </a:lnTo>
                      <a:lnTo>
                        <a:pt x="293309" y="306960"/>
                      </a:lnTo>
                      <a:lnTo>
                        <a:pt x="291280" y="306406"/>
                      </a:lnTo>
                      <a:lnTo>
                        <a:pt x="288053" y="306650"/>
                      </a:lnTo>
                      <a:lnTo>
                        <a:pt x="285730" y="307318"/>
                      </a:lnTo>
                      <a:lnTo>
                        <a:pt x="282071" y="310684"/>
                      </a:lnTo>
                      <a:lnTo>
                        <a:pt x="279308" y="313610"/>
                      </a:lnTo>
                      <a:lnTo>
                        <a:pt x="278550" y="314270"/>
                      </a:lnTo>
                      <a:lnTo>
                        <a:pt x="274695" y="316039"/>
                      </a:lnTo>
                      <a:lnTo>
                        <a:pt x="267539" y="320154"/>
                      </a:lnTo>
                      <a:lnTo>
                        <a:pt x="263481" y="323178"/>
                      </a:lnTo>
                      <a:lnTo>
                        <a:pt x="262544" y="323740"/>
                      </a:lnTo>
                      <a:lnTo>
                        <a:pt x="260734" y="324425"/>
                      </a:lnTo>
                      <a:lnTo>
                        <a:pt x="257964" y="324555"/>
                      </a:lnTo>
                      <a:lnTo>
                        <a:pt x="255649" y="325321"/>
                      </a:lnTo>
                      <a:lnTo>
                        <a:pt x="253563" y="333283"/>
                      </a:lnTo>
                      <a:lnTo>
                        <a:pt x="252177" y="334074"/>
                      </a:lnTo>
                      <a:lnTo>
                        <a:pt x="243644" y="330863"/>
                      </a:lnTo>
                      <a:lnTo>
                        <a:pt x="241917" y="331344"/>
                      </a:lnTo>
                      <a:lnTo>
                        <a:pt x="240426" y="332281"/>
                      </a:lnTo>
                      <a:lnTo>
                        <a:pt x="235658" y="336959"/>
                      </a:lnTo>
                      <a:lnTo>
                        <a:pt x="233303" y="340692"/>
                      </a:lnTo>
                      <a:lnTo>
                        <a:pt x="232015" y="345679"/>
                      </a:lnTo>
                      <a:lnTo>
                        <a:pt x="232202" y="347211"/>
                      </a:lnTo>
                      <a:lnTo>
                        <a:pt x="232235" y="348939"/>
                      </a:lnTo>
                      <a:lnTo>
                        <a:pt x="231395" y="349884"/>
                      </a:lnTo>
                      <a:lnTo>
                        <a:pt x="230246" y="350219"/>
                      </a:lnTo>
                      <a:lnTo>
                        <a:pt x="229220" y="350161"/>
                      </a:lnTo>
                      <a:lnTo>
                        <a:pt x="225259" y="349135"/>
                      </a:lnTo>
                      <a:lnTo>
                        <a:pt x="224012" y="349583"/>
                      </a:lnTo>
                      <a:lnTo>
                        <a:pt x="223482" y="352036"/>
                      </a:lnTo>
                      <a:lnTo>
                        <a:pt x="223564" y="357398"/>
                      </a:lnTo>
                      <a:lnTo>
                        <a:pt x="222692" y="361033"/>
                      </a:lnTo>
                      <a:lnTo>
                        <a:pt x="220336" y="362166"/>
                      </a:lnTo>
                      <a:lnTo>
                        <a:pt x="218527" y="363600"/>
                      </a:lnTo>
                      <a:lnTo>
                        <a:pt x="217093" y="364016"/>
                      </a:lnTo>
                      <a:lnTo>
                        <a:pt x="215895" y="363666"/>
                      </a:lnTo>
                      <a:lnTo>
                        <a:pt x="209016" y="358230"/>
                      </a:lnTo>
                      <a:lnTo>
                        <a:pt x="206686" y="357358"/>
                      </a:lnTo>
                      <a:lnTo>
                        <a:pt x="204110" y="357953"/>
                      </a:lnTo>
                      <a:lnTo>
                        <a:pt x="201633" y="360267"/>
                      </a:lnTo>
                      <a:lnTo>
                        <a:pt x="200508" y="361791"/>
                      </a:lnTo>
                      <a:lnTo>
                        <a:pt x="198960" y="363568"/>
                      </a:lnTo>
                      <a:lnTo>
                        <a:pt x="197224" y="365948"/>
                      </a:lnTo>
                      <a:lnTo>
                        <a:pt x="197688" y="367969"/>
                      </a:lnTo>
                      <a:lnTo>
                        <a:pt x="198910" y="370308"/>
                      </a:lnTo>
                      <a:lnTo>
                        <a:pt x="199791" y="373217"/>
                      </a:lnTo>
                      <a:lnTo>
                        <a:pt x="199742" y="375817"/>
                      </a:lnTo>
                      <a:lnTo>
                        <a:pt x="193459" y="379492"/>
                      </a:lnTo>
                      <a:lnTo>
                        <a:pt x="193964" y="380764"/>
                      </a:lnTo>
                      <a:lnTo>
                        <a:pt x="194909" y="382247"/>
                      </a:lnTo>
                      <a:lnTo>
                        <a:pt x="194917" y="384928"/>
                      </a:lnTo>
                      <a:lnTo>
                        <a:pt x="194746" y="389631"/>
                      </a:lnTo>
                      <a:lnTo>
                        <a:pt x="193475" y="391326"/>
                      </a:lnTo>
                      <a:lnTo>
                        <a:pt x="191829" y="392997"/>
                      </a:lnTo>
                      <a:lnTo>
                        <a:pt x="190826" y="395164"/>
                      </a:lnTo>
                      <a:lnTo>
                        <a:pt x="189824" y="396216"/>
                      </a:lnTo>
                      <a:lnTo>
                        <a:pt x="188031" y="397544"/>
                      </a:lnTo>
                      <a:lnTo>
                        <a:pt x="185586" y="398881"/>
                      </a:lnTo>
                      <a:lnTo>
                        <a:pt x="181348" y="400054"/>
                      </a:lnTo>
                      <a:lnTo>
                        <a:pt x="177950" y="400837"/>
                      </a:lnTo>
                      <a:lnTo>
                        <a:pt x="176670" y="401594"/>
                      </a:lnTo>
                      <a:lnTo>
                        <a:pt x="174869" y="403175"/>
                      </a:lnTo>
                      <a:lnTo>
                        <a:pt x="173427" y="405066"/>
                      </a:lnTo>
                      <a:lnTo>
                        <a:pt x="173084" y="407104"/>
                      </a:lnTo>
                      <a:lnTo>
                        <a:pt x="173369" y="409435"/>
                      </a:lnTo>
                      <a:lnTo>
                        <a:pt x="173875" y="411358"/>
                      </a:lnTo>
                      <a:lnTo>
                        <a:pt x="174502" y="412662"/>
                      </a:lnTo>
                      <a:lnTo>
                        <a:pt x="174885" y="414308"/>
                      </a:lnTo>
                      <a:lnTo>
                        <a:pt x="174372" y="418741"/>
                      </a:lnTo>
                      <a:lnTo>
                        <a:pt x="173141" y="423868"/>
                      </a:lnTo>
                      <a:lnTo>
                        <a:pt x="171960" y="426166"/>
                      </a:lnTo>
                      <a:lnTo>
                        <a:pt x="170053" y="427413"/>
                      </a:lnTo>
                      <a:lnTo>
                        <a:pt x="168406" y="428814"/>
                      </a:lnTo>
                      <a:lnTo>
                        <a:pt x="168952" y="432180"/>
                      </a:lnTo>
                      <a:lnTo>
                        <a:pt x="169237" y="437005"/>
                      </a:lnTo>
                      <a:lnTo>
                        <a:pt x="168773" y="440852"/>
                      </a:lnTo>
                      <a:lnTo>
                        <a:pt x="168692" y="443231"/>
                      </a:lnTo>
                      <a:lnTo>
                        <a:pt x="167999" y="445701"/>
                      </a:lnTo>
                      <a:lnTo>
                        <a:pt x="167591" y="447428"/>
                      </a:lnTo>
                      <a:lnTo>
                        <a:pt x="166776" y="447021"/>
                      </a:lnTo>
                      <a:lnTo>
                        <a:pt x="163353" y="447217"/>
                      </a:lnTo>
                      <a:lnTo>
                        <a:pt x="159653" y="448529"/>
                      </a:lnTo>
                      <a:lnTo>
                        <a:pt x="158341" y="449588"/>
                      </a:lnTo>
                      <a:lnTo>
                        <a:pt x="158064" y="451023"/>
                      </a:lnTo>
                      <a:lnTo>
                        <a:pt x="157241" y="451992"/>
                      </a:lnTo>
                      <a:lnTo>
                        <a:pt x="156051" y="453076"/>
                      </a:lnTo>
                      <a:lnTo>
                        <a:pt x="154910" y="454413"/>
                      </a:lnTo>
                      <a:lnTo>
                        <a:pt x="152865" y="454201"/>
                      </a:lnTo>
                      <a:lnTo>
                        <a:pt x="150884" y="453288"/>
                      </a:lnTo>
                      <a:lnTo>
                        <a:pt x="149857" y="452392"/>
                      </a:lnTo>
                      <a:lnTo>
                        <a:pt x="149784" y="451862"/>
                      </a:lnTo>
                      <a:lnTo>
                        <a:pt x="150436" y="450558"/>
                      </a:lnTo>
                      <a:lnTo>
                        <a:pt x="150998" y="449140"/>
                      </a:lnTo>
                      <a:lnTo>
                        <a:pt x="151047" y="448211"/>
                      </a:lnTo>
                      <a:lnTo>
                        <a:pt x="150371" y="445913"/>
                      </a:lnTo>
                      <a:lnTo>
                        <a:pt x="149825" y="443443"/>
                      </a:lnTo>
                      <a:lnTo>
                        <a:pt x="150053" y="442262"/>
                      </a:lnTo>
                      <a:lnTo>
                        <a:pt x="149564" y="438619"/>
                      </a:lnTo>
                      <a:lnTo>
                        <a:pt x="149295" y="438431"/>
                      </a:lnTo>
                      <a:lnTo>
                        <a:pt x="146704" y="439376"/>
                      </a:lnTo>
                      <a:lnTo>
                        <a:pt x="145750" y="439613"/>
                      </a:lnTo>
                      <a:lnTo>
                        <a:pt x="145212" y="440012"/>
                      </a:lnTo>
                      <a:lnTo>
                        <a:pt x="145041" y="440705"/>
                      </a:lnTo>
                      <a:lnTo>
                        <a:pt x="145669" y="443011"/>
                      </a:lnTo>
                      <a:lnTo>
                        <a:pt x="145261" y="443411"/>
                      </a:lnTo>
                      <a:lnTo>
                        <a:pt x="143802" y="443354"/>
                      </a:lnTo>
                      <a:lnTo>
                        <a:pt x="141773" y="442588"/>
                      </a:lnTo>
                      <a:lnTo>
                        <a:pt x="139548" y="440477"/>
                      </a:lnTo>
                      <a:lnTo>
                        <a:pt x="138994" y="441161"/>
                      </a:lnTo>
                      <a:lnTo>
                        <a:pt x="138757" y="442840"/>
                      </a:lnTo>
                      <a:lnTo>
                        <a:pt x="138611" y="444837"/>
                      </a:lnTo>
                      <a:lnTo>
                        <a:pt x="139165" y="448455"/>
                      </a:lnTo>
                      <a:lnTo>
                        <a:pt x="138578" y="449751"/>
                      </a:lnTo>
                      <a:lnTo>
                        <a:pt x="137087" y="449515"/>
                      </a:lnTo>
                      <a:lnTo>
                        <a:pt x="135098" y="449515"/>
                      </a:lnTo>
                      <a:lnTo>
                        <a:pt x="133354" y="449874"/>
                      </a:lnTo>
                      <a:lnTo>
                        <a:pt x="132197" y="449963"/>
                      </a:lnTo>
                      <a:lnTo>
                        <a:pt x="131472" y="451251"/>
                      </a:lnTo>
                      <a:lnTo>
                        <a:pt x="131170" y="452693"/>
                      </a:lnTo>
                      <a:lnTo>
                        <a:pt x="131863" y="454299"/>
                      </a:lnTo>
                      <a:lnTo>
                        <a:pt x="131765" y="454975"/>
                      </a:lnTo>
                      <a:lnTo>
                        <a:pt x="131235" y="455595"/>
                      </a:lnTo>
                      <a:lnTo>
                        <a:pt x="130542" y="455969"/>
                      </a:lnTo>
                      <a:lnTo>
                        <a:pt x="129980" y="455921"/>
                      </a:lnTo>
                      <a:lnTo>
                        <a:pt x="128375" y="454152"/>
                      </a:lnTo>
                      <a:lnTo>
                        <a:pt x="126451" y="453476"/>
                      </a:lnTo>
                      <a:lnTo>
                        <a:pt x="121961" y="452465"/>
                      </a:lnTo>
                      <a:lnTo>
                        <a:pt x="121423" y="450028"/>
                      </a:lnTo>
                      <a:lnTo>
                        <a:pt x="120681" y="449987"/>
                      </a:lnTo>
                      <a:lnTo>
                        <a:pt x="119646" y="448700"/>
                      </a:lnTo>
                      <a:lnTo>
                        <a:pt x="118619" y="447021"/>
                      </a:lnTo>
                      <a:lnTo>
                        <a:pt x="117747" y="447111"/>
                      </a:lnTo>
                      <a:lnTo>
                        <a:pt x="117030" y="447575"/>
                      </a:lnTo>
                      <a:lnTo>
                        <a:pt x="114569" y="447396"/>
                      </a:lnTo>
                      <a:lnTo>
                        <a:pt x="112393" y="449963"/>
                      </a:lnTo>
                      <a:lnTo>
                        <a:pt x="110771" y="453158"/>
                      </a:lnTo>
                      <a:lnTo>
                        <a:pt x="109043" y="454690"/>
                      </a:lnTo>
                      <a:lnTo>
                        <a:pt x="107136" y="455358"/>
                      </a:lnTo>
                      <a:lnTo>
                        <a:pt x="106395" y="455391"/>
                      </a:lnTo>
                      <a:lnTo>
                        <a:pt x="106802" y="453370"/>
                      </a:lnTo>
                      <a:lnTo>
                        <a:pt x="106517" y="451886"/>
                      </a:lnTo>
                      <a:lnTo>
                        <a:pt x="105987" y="450574"/>
                      </a:lnTo>
                      <a:lnTo>
                        <a:pt x="100421" y="447070"/>
                      </a:lnTo>
                      <a:lnTo>
                        <a:pt x="99549" y="445619"/>
                      </a:lnTo>
                      <a:lnTo>
                        <a:pt x="98693" y="441650"/>
                      </a:lnTo>
                      <a:lnTo>
                        <a:pt x="98131" y="437665"/>
                      </a:lnTo>
                      <a:lnTo>
                        <a:pt x="98188" y="435326"/>
                      </a:lnTo>
                      <a:lnTo>
                        <a:pt x="98571" y="433240"/>
                      </a:lnTo>
                      <a:lnTo>
                        <a:pt x="98408" y="431618"/>
                      </a:lnTo>
                      <a:lnTo>
                        <a:pt x="97805" y="430379"/>
                      </a:lnTo>
                      <a:lnTo>
                        <a:pt x="96142" y="429189"/>
                      </a:lnTo>
                      <a:lnTo>
                        <a:pt x="94398" y="428635"/>
                      </a:lnTo>
                      <a:lnTo>
                        <a:pt x="92190" y="430200"/>
                      </a:lnTo>
                      <a:lnTo>
                        <a:pt x="91130" y="430493"/>
                      </a:lnTo>
                      <a:lnTo>
                        <a:pt x="90144" y="430387"/>
                      </a:lnTo>
                      <a:lnTo>
                        <a:pt x="89631" y="429809"/>
                      </a:lnTo>
                      <a:lnTo>
                        <a:pt x="89704" y="429018"/>
                      </a:lnTo>
                      <a:lnTo>
                        <a:pt x="92092" y="424748"/>
                      </a:lnTo>
                      <a:lnTo>
                        <a:pt x="93257" y="422971"/>
                      </a:lnTo>
                      <a:lnTo>
                        <a:pt x="94668" y="421618"/>
                      </a:lnTo>
                      <a:lnTo>
                        <a:pt x="95621" y="420885"/>
                      </a:lnTo>
                      <a:lnTo>
                        <a:pt x="96232" y="419842"/>
                      </a:lnTo>
                      <a:lnTo>
                        <a:pt x="96281" y="419019"/>
                      </a:lnTo>
                      <a:lnTo>
                        <a:pt x="96061" y="418424"/>
                      </a:lnTo>
                      <a:lnTo>
                        <a:pt x="94488" y="417633"/>
                      </a:lnTo>
                      <a:lnTo>
                        <a:pt x="92068" y="415645"/>
                      </a:lnTo>
                      <a:lnTo>
                        <a:pt x="90764" y="415433"/>
                      </a:lnTo>
                      <a:lnTo>
                        <a:pt x="89680" y="414528"/>
                      </a:lnTo>
                      <a:lnTo>
                        <a:pt x="88522" y="411423"/>
                      </a:lnTo>
                      <a:lnTo>
                        <a:pt x="87985" y="410828"/>
                      </a:lnTo>
                      <a:lnTo>
                        <a:pt x="86827" y="410494"/>
                      </a:lnTo>
                      <a:lnTo>
                        <a:pt x="85784" y="409744"/>
                      </a:lnTo>
                      <a:lnTo>
                        <a:pt x="85825" y="405694"/>
                      </a:lnTo>
                      <a:lnTo>
                        <a:pt x="85874" y="402206"/>
                      </a:lnTo>
                      <a:lnTo>
                        <a:pt x="83502" y="396566"/>
                      </a:lnTo>
                      <a:lnTo>
                        <a:pt x="82581" y="393021"/>
                      </a:lnTo>
                      <a:lnTo>
                        <a:pt x="81391" y="389378"/>
                      </a:lnTo>
                      <a:lnTo>
                        <a:pt x="80291" y="387667"/>
                      </a:lnTo>
                      <a:lnTo>
                        <a:pt x="78376" y="386224"/>
                      </a:lnTo>
                      <a:lnTo>
                        <a:pt x="76021" y="385230"/>
                      </a:lnTo>
                      <a:lnTo>
                        <a:pt x="73918" y="385001"/>
                      </a:lnTo>
                      <a:lnTo>
                        <a:pt x="72312" y="385344"/>
                      </a:lnTo>
                      <a:lnTo>
                        <a:pt x="71555" y="385784"/>
                      </a:lnTo>
                      <a:lnTo>
                        <a:pt x="71596" y="386460"/>
                      </a:lnTo>
                      <a:lnTo>
                        <a:pt x="72916" y="388775"/>
                      </a:lnTo>
                      <a:lnTo>
                        <a:pt x="73144" y="390046"/>
                      </a:lnTo>
                      <a:lnTo>
                        <a:pt x="72924" y="391301"/>
                      </a:lnTo>
                      <a:lnTo>
                        <a:pt x="72484" y="392116"/>
                      </a:lnTo>
                      <a:lnTo>
                        <a:pt x="71327" y="392214"/>
                      </a:lnTo>
                      <a:lnTo>
                        <a:pt x="69289" y="392931"/>
                      </a:lnTo>
                      <a:lnTo>
                        <a:pt x="66787" y="394333"/>
                      </a:lnTo>
                      <a:lnTo>
                        <a:pt x="65043" y="395523"/>
                      </a:lnTo>
                      <a:lnTo>
                        <a:pt x="63641" y="398571"/>
                      </a:lnTo>
                      <a:lnTo>
                        <a:pt x="62664" y="398954"/>
                      </a:lnTo>
                      <a:lnTo>
                        <a:pt x="61009" y="398571"/>
                      </a:lnTo>
                      <a:lnTo>
                        <a:pt x="56299" y="396330"/>
                      </a:lnTo>
                      <a:lnTo>
                        <a:pt x="52419" y="394480"/>
                      </a:lnTo>
                      <a:lnTo>
                        <a:pt x="49746" y="393420"/>
                      </a:lnTo>
                      <a:lnTo>
                        <a:pt x="48132" y="394097"/>
                      </a:lnTo>
                      <a:lnTo>
                        <a:pt x="47317" y="394423"/>
                      </a:lnTo>
                      <a:lnTo>
                        <a:pt x="45011" y="395653"/>
                      </a:lnTo>
                      <a:lnTo>
                        <a:pt x="41947" y="400144"/>
                      </a:lnTo>
                      <a:lnTo>
                        <a:pt x="41213" y="401627"/>
                      </a:lnTo>
                      <a:lnTo>
                        <a:pt x="40602" y="402108"/>
                      </a:lnTo>
                      <a:lnTo>
                        <a:pt x="39763" y="402898"/>
                      </a:lnTo>
                      <a:lnTo>
                        <a:pt x="38972" y="402923"/>
                      </a:lnTo>
                      <a:lnTo>
                        <a:pt x="38336" y="402385"/>
                      </a:lnTo>
                      <a:lnTo>
                        <a:pt x="38133" y="402059"/>
                      </a:lnTo>
                      <a:lnTo>
                        <a:pt x="36560" y="398815"/>
                      </a:lnTo>
                      <a:lnTo>
                        <a:pt x="34832" y="395262"/>
                      </a:lnTo>
                      <a:lnTo>
                        <a:pt x="33414" y="393640"/>
                      </a:lnTo>
                      <a:lnTo>
                        <a:pt x="31645" y="393575"/>
                      </a:lnTo>
                      <a:lnTo>
                        <a:pt x="30130" y="394684"/>
                      </a:lnTo>
                      <a:lnTo>
                        <a:pt x="28557" y="396982"/>
                      </a:lnTo>
                      <a:lnTo>
                        <a:pt x="26560" y="399101"/>
                      </a:lnTo>
                      <a:lnTo>
                        <a:pt x="25289" y="399728"/>
                      </a:lnTo>
                      <a:lnTo>
                        <a:pt x="24197" y="399386"/>
                      </a:lnTo>
                      <a:lnTo>
                        <a:pt x="21475" y="396705"/>
                      </a:lnTo>
                      <a:lnTo>
                        <a:pt x="19551" y="394798"/>
                      </a:lnTo>
                      <a:lnTo>
                        <a:pt x="19307" y="393844"/>
                      </a:lnTo>
                      <a:lnTo>
                        <a:pt x="19991" y="392369"/>
                      </a:lnTo>
                      <a:lnTo>
                        <a:pt x="20660" y="390193"/>
                      </a:lnTo>
                      <a:lnTo>
                        <a:pt x="21393" y="388416"/>
                      </a:lnTo>
                      <a:lnTo>
                        <a:pt x="22102" y="387609"/>
                      </a:lnTo>
                      <a:lnTo>
                        <a:pt x="22281" y="385344"/>
                      </a:lnTo>
                      <a:lnTo>
                        <a:pt x="20627" y="383746"/>
                      </a:lnTo>
                      <a:lnTo>
                        <a:pt x="20586" y="382964"/>
                      </a:lnTo>
                      <a:lnTo>
                        <a:pt x="20749" y="380845"/>
                      </a:lnTo>
                      <a:lnTo>
                        <a:pt x="21483" y="376363"/>
                      </a:lnTo>
                      <a:lnTo>
                        <a:pt x="21409" y="374651"/>
                      </a:lnTo>
                      <a:lnTo>
                        <a:pt x="22078" y="371318"/>
                      </a:lnTo>
                      <a:lnTo>
                        <a:pt x="20994" y="369819"/>
                      </a:lnTo>
                      <a:lnTo>
                        <a:pt x="20741" y="368702"/>
                      </a:lnTo>
                      <a:lnTo>
                        <a:pt x="19535" y="366917"/>
                      </a:lnTo>
                      <a:lnTo>
                        <a:pt x="18150" y="364399"/>
                      </a:lnTo>
                      <a:lnTo>
                        <a:pt x="17832" y="362370"/>
                      </a:lnTo>
                      <a:lnTo>
                        <a:pt x="17343" y="360756"/>
                      </a:lnTo>
                      <a:lnTo>
                        <a:pt x="16014" y="358336"/>
                      </a:lnTo>
                      <a:lnTo>
                        <a:pt x="15028" y="357953"/>
                      </a:lnTo>
                      <a:lnTo>
                        <a:pt x="12958" y="357586"/>
                      </a:lnTo>
                      <a:lnTo>
                        <a:pt x="12616" y="358417"/>
                      </a:lnTo>
                      <a:lnTo>
                        <a:pt x="11833" y="359632"/>
                      </a:lnTo>
                      <a:lnTo>
                        <a:pt x="11133" y="359974"/>
                      </a:lnTo>
                      <a:lnTo>
                        <a:pt x="9983" y="358499"/>
                      </a:lnTo>
                      <a:lnTo>
                        <a:pt x="9560" y="357235"/>
                      </a:lnTo>
                      <a:lnTo>
                        <a:pt x="9568" y="356070"/>
                      </a:lnTo>
                      <a:lnTo>
                        <a:pt x="8028" y="354049"/>
                      </a:lnTo>
                      <a:lnTo>
                        <a:pt x="5615" y="350349"/>
                      </a:lnTo>
                      <a:lnTo>
                        <a:pt x="5860" y="347285"/>
                      </a:lnTo>
                      <a:lnTo>
                        <a:pt x="7351" y="345638"/>
                      </a:lnTo>
                      <a:lnTo>
                        <a:pt x="7791" y="344391"/>
                      </a:lnTo>
                      <a:lnTo>
                        <a:pt x="7922" y="342990"/>
                      </a:lnTo>
                      <a:lnTo>
                        <a:pt x="7253" y="341311"/>
                      </a:lnTo>
                      <a:lnTo>
                        <a:pt x="6455" y="339966"/>
                      </a:lnTo>
                      <a:lnTo>
                        <a:pt x="6683" y="337016"/>
                      </a:lnTo>
                      <a:lnTo>
                        <a:pt x="6487" y="332925"/>
                      </a:lnTo>
                      <a:lnTo>
                        <a:pt x="5265" y="330863"/>
                      </a:lnTo>
                      <a:lnTo>
                        <a:pt x="4156" y="329372"/>
                      </a:lnTo>
                      <a:lnTo>
                        <a:pt x="2608" y="327750"/>
                      </a:lnTo>
                      <a:lnTo>
                        <a:pt x="1296" y="325256"/>
                      </a:lnTo>
                      <a:lnTo>
                        <a:pt x="1826" y="321833"/>
                      </a:lnTo>
                      <a:lnTo>
                        <a:pt x="2331" y="319486"/>
                      </a:lnTo>
                      <a:lnTo>
                        <a:pt x="0" y="314588"/>
                      </a:lnTo>
                      <a:lnTo>
                        <a:pt x="4360" y="316528"/>
                      </a:lnTo>
                      <a:lnTo>
                        <a:pt x="4939" y="315884"/>
                      </a:lnTo>
                      <a:lnTo>
                        <a:pt x="6422" y="314718"/>
                      </a:lnTo>
                      <a:lnTo>
                        <a:pt x="8419" y="312216"/>
                      </a:lnTo>
                      <a:lnTo>
                        <a:pt x="10114" y="308924"/>
                      </a:lnTo>
                      <a:lnTo>
                        <a:pt x="10872" y="304833"/>
                      </a:lnTo>
                      <a:lnTo>
                        <a:pt x="11206" y="301320"/>
                      </a:lnTo>
                      <a:lnTo>
                        <a:pt x="11956" y="298329"/>
                      </a:lnTo>
                      <a:lnTo>
                        <a:pt x="12909" y="295803"/>
                      </a:lnTo>
                      <a:lnTo>
                        <a:pt x="14995" y="293171"/>
                      </a:lnTo>
                      <a:lnTo>
                        <a:pt x="16960" y="291304"/>
                      </a:lnTo>
                      <a:lnTo>
                        <a:pt x="19290" y="289364"/>
                      </a:lnTo>
                      <a:lnTo>
                        <a:pt x="20472" y="289715"/>
                      </a:lnTo>
                      <a:lnTo>
                        <a:pt x="22689" y="292412"/>
                      </a:lnTo>
                      <a:lnTo>
                        <a:pt x="27563" y="297848"/>
                      </a:lnTo>
                      <a:lnTo>
                        <a:pt x="31572" y="301980"/>
                      </a:lnTo>
                      <a:lnTo>
                        <a:pt x="33047" y="304172"/>
                      </a:lnTo>
                      <a:lnTo>
                        <a:pt x="34351" y="304189"/>
                      </a:lnTo>
                      <a:lnTo>
                        <a:pt x="36348" y="300196"/>
                      </a:lnTo>
                      <a:lnTo>
                        <a:pt x="38410" y="296740"/>
                      </a:lnTo>
                      <a:lnTo>
                        <a:pt x="39282" y="295901"/>
                      </a:lnTo>
                      <a:lnTo>
                        <a:pt x="42012" y="295526"/>
                      </a:lnTo>
                      <a:lnTo>
                        <a:pt x="44326" y="295371"/>
                      </a:lnTo>
                      <a:lnTo>
                        <a:pt x="46348" y="295428"/>
                      </a:lnTo>
                      <a:lnTo>
                        <a:pt x="50064" y="296096"/>
                      </a:lnTo>
                      <a:lnTo>
                        <a:pt x="51759" y="296707"/>
                      </a:lnTo>
                      <a:lnTo>
                        <a:pt x="53356" y="297082"/>
                      </a:lnTo>
                      <a:lnTo>
                        <a:pt x="58018" y="297384"/>
                      </a:lnTo>
                      <a:lnTo>
                        <a:pt x="62639" y="296536"/>
                      </a:lnTo>
                      <a:lnTo>
                        <a:pt x="67032" y="295452"/>
                      </a:lnTo>
                      <a:lnTo>
                        <a:pt x="70283" y="294809"/>
                      </a:lnTo>
                      <a:lnTo>
                        <a:pt x="70446" y="293187"/>
                      </a:lnTo>
                      <a:lnTo>
                        <a:pt x="70267" y="291255"/>
                      </a:lnTo>
                      <a:lnTo>
                        <a:pt x="70789" y="289780"/>
                      </a:lnTo>
                      <a:lnTo>
                        <a:pt x="71808" y="288427"/>
                      </a:lnTo>
                      <a:lnTo>
                        <a:pt x="72671" y="288126"/>
                      </a:lnTo>
                      <a:lnTo>
                        <a:pt x="73046" y="292755"/>
                      </a:lnTo>
                      <a:lnTo>
                        <a:pt x="74081" y="293448"/>
                      </a:lnTo>
                      <a:lnTo>
                        <a:pt x="76974" y="293659"/>
                      </a:lnTo>
                      <a:lnTo>
                        <a:pt x="81685" y="293659"/>
                      </a:lnTo>
                      <a:lnTo>
                        <a:pt x="86746" y="293659"/>
                      </a:lnTo>
                      <a:lnTo>
                        <a:pt x="91798" y="293651"/>
                      </a:lnTo>
                      <a:lnTo>
                        <a:pt x="96860" y="293651"/>
                      </a:lnTo>
                      <a:lnTo>
                        <a:pt x="101920" y="293651"/>
                      </a:lnTo>
                      <a:lnTo>
                        <a:pt x="106982" y="293651"/>
                      </a:lnTo>
                      <a:lnTo>
                        <a:pt x="112034" y="293651"/>
                      </a:lnTo>
                      <a:lnTo>
                        <a:pt x="117095" y="293651"/>
                      </a:lnTo>
                      <a:lnTo>
                        <a:pt x="122148" y="293651"/>
                      </a:lnTo>
                      <a:lnTo>
                        <a:pt x="127209" y="293651"/>
                      </a:lnTo>
                      <a:lnTo>
                        <a:pt x="132270" y="293651"/>
                      </a:lnTo>
                      <a:lnTo>
                        <a:pt x="137323" y="293651"/>
                      </a:lnTo>
                      <a:lnTo>
                        <a:pt x="142384" y="293651"/>
                      </a:lnTo>
                      <a:lnTo>
                        <a:pt x="147445" y="293651"/>
                      </a:lnTo>
                      <a:lnTo>
                        <a:pt x="152506" y="293651"/>
                      </a:lnTo>
                      <a:lnTo>
                        <a:pt x="157559" y="293651"/>
                      </a:lnTo>
                      <a:lnTo>
                        <a:pt x="162620" y="293651"/>
                      </a:lnTo>
                      <a:lnTo>
                        <a:pt x="167860" y="293651"/>
                      </a:lnTo>
                      <a:lnTo>
                        <a:pt x="169270" y="284703"/>
                      </a:lnTo>
                      <a:lnTo>
                        <a:pt x="170566" y="276512"/>
                      </a:lnTo>
                      <a:lnTo>
                        <a:pt x="171650" y="269642"/>
                      </a:lnTo>
                      <a:lnTo>
                        <a:pt x="167934" y="264777"/>
                      </a:lnTo>
                      <a:lnTo>
                        <a:pt x="164975" y="260906"/>
                      </a:lnTo>
                      <a:lnTo>
                        <a:pt x="164299" y="253538"/>
                      </a:lnTo>
                      <a:lnTo>
                        <a:pt x="163590" y="245926"/>
                      </a:lnTo>
                      <a:lnTo>
                        <a:pt x="162889" y="238315"/>
                      </a:lnTo>
                      <a:lnTo>
                        <a:pt x="162180" y="230695"/>
                      </a:lnTo>
                      <a:lnTo>
                        <a:pt x="161471" y="223066"/>
                      </a:lnTo>
                      <a:lnTo>
                        <a:pt x="160770" y="215438"/>
                      </a:lnTo>
                      <a:lnTo>
                        <a:pt x="160061" y="207810"/>
                      </a:lnTo>
                      <a:lnTo>
                        <a:pt x="159352" y="200166"/>
                      </a:lnTo>
                      <a:lnTo>
                        <a:pt x="158643" y="192521"/>
                      </a:lnTo>
                      <a:lnTo>
                        <a:pt x="157942" y="184869"/>
                      </a:lnTo>
                      <a:lnTo>
                        <a:pt x="157233" y="177208"/>
                      </a:lnTo>
                      <a:lnTo>
                        <a:pt x="156532" y="169547"/>
                      </a:lnTo>
                      <a:lnTo>
                        <a:pt x="155823" y="161878"/>
                      </a:lnTo>
                      <a:lnTo>
                        <a:pt x="155114" y="154201"/>
                      </a:lnTo>
                      <a:lnTo>
                        <a:pt x="154413" y="146524"/>
                      </a:lnTo>
                      <a:lnTo>
                        <a:pt x="153704" y="138839"/>
                      </a:lnTo>
                      <a:lnTo>
                        <a:pt x="152995" y="131146"/>
                      </a:lnTo>
                      <a:lnTo>
                        <a:pt x="152294" y="123452"/>
                      </a:lnTo>
                      <a:lnTo>
                        <a:pt x="151585" y="115742"/>
                      </a:lnTo>
                      <a:lnTo>
                        <a:pt x="150876" y="108033"/>
                      </a:lnTo>
                      <a:lnTo>
                        <a:pt x="150175" y="100315"/>
                      </a:lnTo>
                      <a:lnTo>
                        <a:pt x="149466" y="92589"/>
                      </a:lnTo>
                      <a:lnTo>
                        <a:pt x="148757" y="84863"/>
                      </a:lnTo>
                      <a:lnTo>
                        <a:pt x="148056" y="77121"/>
                      </a:lnTo>
                      <a:lnTo>
                        <a:pt x="147347" y="69387"/>
                      </a:lnTo>
                      <a:lnTo>
                        <a:pt x="146638" y="61637"/>
                      </a:lnTo>
                      <a:lnTo>
                        <a:pt x="145929" y="53878"/>
                      </a:lnTo>
                      <a:lnTo>
                        <a:pt x="145228" y="46111"/>
                      </a:lnTo>
                      <a:lnTo>
                        <a:pt x="144527" y="38336"/>
                      </a:lnTo>
                      <a:lnTo>
                        <a:pt x="143819" y="30570"/>
                      </a:lnTo>
                      <a:lnTo>
                        <a:pt x="143109" y="22779"/>
                      </a:lnTo>
                      <a:lnTo>
                        <a:pt x="142400" y="14988"/>
                      </a:lnTo>
                      <a:lnTo>
                        <a:pt x="141700" y="7180"/>
                      </a:lnTo>
                      <a:lnTo>
                        <a:pt x="141040" y="33"/>
                      </a:lnTo>
                      <a:lnTo>
                        <a:pt x="148651" y="33"/>
                      </a:lnTo>
                      <a:lnTo>
                        <a:pt x="156768" y="25"/>
                      </a:lnTo>
                      <a:lnTo>
                        <a:pt x="164682" y="16"/>
                      </a:lnTo>
                      <a:lnTo>
                        <a:pt x="176287" y="8"/>
                      </a:lnTo>
                      <a:lnTo>
                        <a:pt x="184975" y="0"/>
                      </a:lnTo>
                      <a:lnTo>
                        <a:pt x="192554" y="5998"/>
                      </a:lnTo>
                      <a:lnTo>
                        <a:pt x="199416" y="11679"/>
                      </a:lnTo>
                      <a:lnTo>
                        <a:pt x="207541" y="18386"/>
                      </a:lnTo>
                      <a:lnTo>
                        <a:pt x="215659" y="25101"/>
                      </a:lnTo>
                      <a:lnTo>
                        <a:pt x="223783" y="31792"/>
                      </a:lnTo>
                      <a:lnTo>
                        <a:pt x="231909" y="38499"/>
                      </a:lnTo>
                      <a:lnTo>
                        <a:pt x="240026" y="45190"/>
                      </a:lnTo>
                      <a:lnTo>
                        <a:pt x="248152" y="51881"/>
                      </a:lnTo>
                      <a:lnTo>
                        <a:pt x="256268" y="58556"/>
                      </a:lnTo>
                      <a:lnTo>
                        <a:pt x="264394" y="65230"/>
                      </a:lnTo>
                      <a:lnTo>
                        <a:pt x="272519" y="71897"/>
                      </a:lnTo>
                      <a:lnTo>
                        <a:pt x="280636" y="78572"/>
                      </a:lnTo>
                      <a:lnTo>
                        <a:pt x="288761" y="85230"/>
                      </a:lnTo>
                      <a:lnTo>
                        <a:pt x="296878" y="91888"/>
                      </a:lnTo>
                      <a:lnTo>
                        <a:pt x="305004" y="98538"/>
                      </a:lnTo>
                      <a:lnTo>
                        <a:pt x="313137" y="105189"/>
                      </a:lnTo>
                      <a:lnTo>
                        <a:pt x="321254" y="111823"/>
                      </a:lnTo>
                      <a:lnTo>
                        <a:pt x="329380" y="118465"/>
                      </a:lnTo>
                      <a:lnTo>
                        <a:pt x="332998" y="121423"/>
                      </a:lnTo>
                      <a:lnTo>
                        <a:pt x="333340" y="122654"/>
                      </a:lnTo>
                      <a:lnTo>
                        <a:pt x="333674" y="125147"/>
                      </a:lnTo>
                      <a:lnTo>
                        <a:pt x="333463" y="127951"/>
                      </a:lnTo>
                      <a:lnTo>
                        <a:pt x="333503" y="130241"/>
                      </a:lnTo>
                      <a:lnTo>
                        <a:pt x="334563" y="131797"/>
                      </a:lnTo>
                      <a:lnTo>
                        <a:pt x="336576" y="133460"/>
                      </a:lnTo>
                      <a:lnTo>
                        <a:pt x="344530" y="138342"/>
                      </a:lnTo>
                      <a:lnTo>
                        <a:pt x="345157" y="139304"/>
                      </a:lnTo>
                      <a:lnTo>
                        <a:pt x="345443" y="141333"/>
                      </a:lnTo>
                      <a:lnTo>
                        <a:pt x="346396" y="143818"/>
                      </a:lnTo>
                      <a:lnTo>
                        <a:pt x="348067" y="145261"/>
                      </a:lnTo>
                      <a:lnTo>
                        <a:pt x="350039" y="146345"/>
                      </a:lnTo>
                      <a:lnTo>
                        <a:pt x="352427" y="147086"/>
                      </a:lnTo>
                      <a:lnTo>
                        <a:pt x="359640" y="147852"/>
                      </a:lnTo>
                      <a:lnTo>
                        <a:pt x="361155" y="149018"/>
                      </a:lnTo>
                      <a:lnTo>
                        <a:pt x="364269" y="153533"/>
                      </a:lnTo>
                      <a:lnTo>
                        <a:pt x="365948" y="154429"/>
                      </a:lnTo>
                      <a:lnTo>
                        <a:pt x="370756" y="155725"/>
                      </a:lnTo>
                      <a:lnTo>
                        <a:pt x="374236" y="156451"/>
                      </a:lnTo>
                      <a:lnTo>
                        <a:pt x="375662" y="156866"/>
                      </a:lnTo>
                      <a:lnTo>
                        <a:pt x="378808" y="158080"/>
                      </a:lnTo>
                      <a:lnTo>
                        <a:pt x="382223" y="160134"/>
                      </a:lnTo>
                      <a:lnTo>
                        <a:pt x="384048" y="162001"/>
                      </a:lnTo>
                      <a:lnTo>
                        <a:pt x="384040" y="162587"/>
                      </a:lnTo>
                      <a:lnTo>
                        <a:pt x="384015" y="164201"/>
                      </a:lnTo>
                      <a:lnTo>
                        <a:pt x="383999" y="169066"/>
                      </a:lnTo>
                      <a:lnTo>
                        <a:pt x="384619" y="171748"/>
                      </a:lnTo>
                      <a:lnTo>
                        <a:pt x="385336" y="173679"/>
                      </a:lnTo>
                      <a:lnTo>
                        <a:pt x="385295" y="174853"/>
                      </a:lnTo>
                      <a:lnTo>
                        <a:pt x="384448" y="175692"/>
                      </a:lnTo>
                      <a:lnTo>
                        <a:pt x="383771" y="176719"/>
                      </a:lnTo>
                      <a:lnTo>
                        <a:pt x="383388" y="178080"/>
                      </a:lnTo>
                      <a:lnTo>
                        <a:pt x="382418" y="179799"/>
                      </a:lnTo>
                      <a:lnTo>
                        <a:pt x="381628" y="181707"/>
                      </a:lnTo>
                      <a:lnTo>
                        <a:pt x="381962" y="183157"/>
                      </a:lnTo>
                      <a:lnTo>
                        <a:pt x="383315" y="184086"/>
                      </a:lnTo>
                      <a:lnTo>
                        <a:pt x="385336" y="185920"/>
                      </a:lnTo>
                      <a:lnTo>
                        <a:pt x="387015" y="186686"/>
                      </a:lnTo>
                      <a:lnTo>
                        <a:pt x="387838" y="186743"/>
                      </a:lnTo>
                      <a:lnTo>
                        <a:pt x="388930" y="186686"/>
                      </a:lnTo>
                      <a:lnTo>
                        <a:pt x="389883" y="186450"/>
                      </a:lnTo>
                      <a:lnTo>
                        <a:pt x="395946" y="185048"/>
                      </a:lnTo>
                      <a:lnTo>
                        <a:pt x="401562" y="183752"/>
                      </a:lnTo>
                      <a:close/>
                    </a:path>
                  </a:pathLst>
                </a:custGeom>
                <a:solidFill>
                  <a:srgbClr val="D6D6D2"/>
                </a:solidFill>
                <a:ln w="6112" cap="rnd">
                  <a:solidFill>
                    <a:srgbClr val="FFFFFF"/>
                  </a:solidFill>
                  <a:prstDash val="solid"/>
                  <a:round/>
                </a:ln>
              </p:spPr>
              <p:txBody>
                <a:bodyPr rtlCol="0" anchor="ctr"/>
                <a:lstStyle/>
                <a:p>
                  <a:endParaRPr lang="en-US"/>
                </a:p>
              </p:txBody>
            </p:sp>
            <p:sp>
              <p:nvSpPr>
                <p:cNvPr id="681" name="Freeform: Shape 680">
                  <a:extLst>
                    <a:ext uri="{FF2B5EF4-FFF2-40B4-BE49-F238E27FC236}">
                      <a16:creationId xmlns:a16="http://schemas.microsoft.com/office/drawing/2014/main" id="{E305DAB9-EEA4-4B5E-80CA-115A90CA2BD0}"/>
                    </a:ext>
                  </a:extLst>
                </p:cNvPr>
                <p:cNvSpPr/>
                <p:nvPr/>
              </p:nvSpPr>
              <p:spPr>
                <a:xfrm>
                  <a:off x="6450806" y="3195251"/>
                  <a:ext cx="63413" cy="51669"/>
                </a:xfrm>
                <a:custGeom>
                  <a:avLst/>
                  <a:gdLst>
                    <a:gd name="connsiteX0" fmla="*/ 47008 w 63413"/>
                    <a:gd name="connsiteY0" fmla="*/ 1516 h 51669"/>
                    <a:gd name="connsiteX1" fmla="*/ 50830 w 63413"/>
                    <a:gd name="connsiteY1" fmla="*/ 6634 h 51669"/>
                    <a:gd name="connsiteX2" fmla="*/ 52925 w 63413"/>
                    <a:gd name="connsiteY2" fmla="*/ 8704 h 51669"/>
                    <a:gd name="connsiteX3" fmla="*/ 55394 w 63413"/>
                    <a:gd name="connsiteY3" fmla="*/ 10277 h 51669"/>
                    <a:gd name="connsiteX4" fmla="*/ 58222 w 63413"/>
                    <a:gd name="connsiteY4" fmla="*/ 11426 h 51669"/>
                    <a:gd name="connsiteX5" fmla="*/ 59232 w 63413"/>
                    <a:gd name="connsiteY5" fmla="*/ 12526 h 51669"/>
                    <a:gd name="connsiteX6" fmla="*/ 61025 w 63413"/>
                    <a:gd name="connsiteY6" fmla="*/ 17970 h 51669"/>
                    <a:gd name="connsiteX7" fmla="*/ 61881 w 63413"/>
                    <a:gd name="connsiteY7" fmla="*/ 20032 h 51669"/>
                    <a:gd name="connsiteX8" fmla="*/ 63071 w 63413"/>
                    <a:gd name="connsiteY8" fmla="*/ 20643 h 51669"/>
                    <a:gd name="connsiteX9" fmla="*/ 63372 w 63413"/>
                    <a:gd name="connsiteY9" fmla="*/ 21238 h 51669"/>
                    <a:gd name="connsiteX10" fmla="*/ 63413 w 63413"/>
                    <a:gd name="connsiteY10" fmla="*/ 22021 h 51669"/>
                    <a:gd name="connsiteX11" fmla="*/ 62068 w 63413"/>
                    <a:gd name="connsiteY11" fmla="*/ 25835 h 51669"/>
                    <a:gd name="connsiteX12" fmla="*/ 61530 w 63413"/>
                    <a:gd name="connsiteY12" fmla="*/ 34376 h 51669"/>
                    <a:gd name="connsiteX13" fmla="*/ 61196 w 63413"/>
                    <a:gd name="connsiteY13" fmla="*/ 35052 h 51669"/>
                    <a:gd name="connsiteX14" fmla="*/ 59786 w 63413"/>
                    <a:gd name="connsiteY14" fmla="*/ 35020 h 51669"/>
                    <a:gd name="connsiteX15" fmla="*/ 57920 w 63413"/>
                    <a:gd name="connsiteY15" fmla="*/ 35207 h 51669"/>
                    <a:gd name="connsiteX16" fmla="*/ 57211 w 63413"/>
                    <a:gd name="connsiteY16" fmla="*/ 35867 h 51669"/>
                    <a:gd name="connsiteX17" fmla="*/ 56445 w 63413"/>
                    <a:gd name="connsiteY17" fmla="*/ 40455 h 51669"/>
                    <a:gd name="connsiteX18" fmla="*/ 53446 w 63413"/>
                    <a:gd name="connsiteY18" fmla="*/ 41759 h 51669"/>
                    <a:gd name="connsiteX19" fmla="*/ 50715 w 63413"/>
                    <a:gd name="connsiteY19" fmla="*/ 42501 h 51669"/>
                    <a:gd name="connsiteX20" fmla="*/ 48417 w 63413"/>
                    <a:gd name="connsiteY20" fmla="*/ 42338 h 51669"/>
                    <a:gd name="connsiteX21" fmla="*/ 44359 w 63413"/>
                    <a:gd name="connsiteY21" fmla="*/ 41254 h 51669"/>
                    <a:gd name="connsiteX22" fmla="*/ 43039 w 63413"/>
                    <a:gd name="connsiteY22" fmla="*/ 41132 h 51669"/>
                    <a:gd name="connsiteX23" fmla="*/ 41914 w 63413"/>
                    <a:gd name="connsiteY23" fmla="*/ 41751 h 51669"/>
                    <a:gd name="connsiteX24" fmla="*/ 38304 w 63413"/>
                    <a:gd name="connsiteY24" fmla="*/ 42077 h 51669"/>
                    <a:gd name="connsiteX25" fmla="*/ 36731 w 63413"/>
                    <a:gd name="connsiteY25" fmla="*/ 42876 h 51669"/>
                    <a:gd name="connsiteX26" fmla="*/ 32998 w 63413"/>
                    <a:gd name="connsiteY26" fmla="*/ 48238 h 51669"/>
                    <a:gd name="connsiteX27" fmla="*/ 29233 w 63413"/>
                    <a:gd name="connsiteY27" fmla="*/ 50088 h 51669"/>
                    <a:gd name="connsiteX28" fmla="*/ 27954 w 63413"/>
                    <a:gd name="connsiteY28" fmla="*/ 51017 h 51669"/>
                    <a:gd name="connsiteX29" fmla="*/ 25068 w 63413"/>
                    <a:gd name="connsiteY29" fmla="*/ 49836 h 51669"/>
                    <a:gd name="connsiteX30" fmla="*/ 23683 w 63413"/>
                    <a:gd name="connsiteY30" fmla="*/ 49713 h 51669"/>
                    <a:gd name="connsiteX31" fmla="*/ 21702 w 63413"/>
                    <a:gd name="connsiteY31" fmla="*/ 51074 h 51669"/>
                    <a:gd name="connsiteX32" fmla="*/ 17326 w 63413"/>
                    <a:gd name="connsiteY32" fmla="*/ 51221 h 51669"/>
                    <a:gd name="connsiteX33" fmla="*/ 16161 w 63413"/>
                    <a:gd name="connsiteY33" fmla="*/ 51457 h 51669"/>
                    <a:gd name="connsiteX34" fmla="*/ 12779 w 63413"/>
                    <a:gd name="connsiteY34" fmla="*/ 51669 h 51669"/>
                    <a:gd name="connsiteX35" fmla="*/ 12640 w 63413"/>
                    <a:gd name="connsiteY35" fmla="*/ 50928 h 51669"/>
                    <a:gd name="connsiteX36" fmla="*/ 12021 w 63413"/>
                    <a:gd name="connsiteY36" fmla="*/ 49852 h 51669"/>
                    <a:gd name="connsiteX37" fmla="*/ 10448 w 63413"/>
                    <a:gd name="connsiteY37" fmla="*/ 49347 h 51669"/>
                    <a:gd name="connsiteX38" fmla="*/ 7245 w 63413"/>
                    <a:gd name="connsiteY38" fmla="*/ 49779 h 51669"/>
                    <a:gd name="connsiteX39" fmla="*/ 6462 w 63413"/>
                    <a:gd name="connsiteY39" fmla="*/ 48988 h 51669"/>
                    <a:gd name="connsiteX40" fmla="*/ 5142 w 63413"/>
                    <a:gd name="connsiteY40" fmla="*/ 44441 h 51669"/>
                    <a:gd name="connsiteX41" fmla="*/ 4107 w 63413"/>
                    <a:gd name="connsiteY41" fmla="*/ 43715 h 51669"/>
                    <a:gd name="connsiteX42" fmla="*/ 2950 w 63413"/>
                    <a:gd name="connsiteY42" fmla="*/ 42183 h 51669"/>
                    <a:gd name="connsiteX43" fmla="*/ 1002 w 63413"/>
                    <a:gd name="connsiteY43" fmla="*/ 37236 h 51669"/>
                    <a:gd name="connsiteX44" fmla="*/ 945 w 63413"/>
                    <a:gd name="connsiteY44" fmla="*/ 35060 h 51669"/>
                    <a:gd name="connsiteX45" fmla="*/ 1076 w 63413"/>
                    <a:gd name="connsiteY45" fmla="*/ 33169 h 51669"/>
                    <a:gd name="connsiteX46" fmla="*/ 0 w 63413"/>
                    <a:gd name="connsiteY46" fmla="*/ 28728 h 51669"/>
                    <a:gd name="connsiteX47" fmla="*/ 660 w 63413"/>
                    <a:gd name="connsiteY47" fmla="*/ 27603 h 51669"/>
                    <a:gd name="connsiteX48" fmla="*/ 1679 w 63413"/>
                    <a:gd name="connsiteY48" fmla="*/ 26894 h 51669"/>
                    <a:gd name="connsiteX49" fmla="*/ 1679 w 63413"/>
                    <a:gd name="connsiteY49" fmla="*/ 25101 h 51669"/>
                    <a:gd name="connsiteX50" fmla="*/ 1393 w 63413"/>
                    <a:gd name="connsiteY50" fmla="*/ 22379 h 51669"/>
                    <a:gd name="connsiteX51" fmla="*/ 2592 w 63413"/>
                    <a:gd name="connsiteY51" fmla="*/ 17041 h 51669"/>
                    <a:gd name="connsiteX52" fmla="*/ 2917 w 63413"/>
                    <a:gd name="connsiteY52" fmla="*/ 16650 h 51669"/>
                    <a:gd name="connsiteX53" fmla="*/ 3211 w 63413"/>
                    <a:gd name="connsiteY53" fmla="*/ 16903 h 51669"/>
                    <a:gd name="connsiteX54" fmla="*/ 6104 w 63413"/>
                    <a:gd name="connsiteY54" fmla="*/ 17335 h 51669"/>
                    <a:gd name="connsiteX55" fmla="*/ 6845 w 63413"/>
                    <a:gd name="connsiteY55" fmla="*/ 16658 h 51669"/>
                    <a:gd name="connsiteX56" fmla="*/ 7327 w 63413"/>
                    <a:gd name="connsiteY56" fmla="*/ 15599 h 51669"/>
                    <a:gd name="connsiteX57" fmla="*/ 7473 w 63413"/>
                    <a:gd name="connsiteY57" fmla="*/ 11679 h 51669"/>
                    <a:gd name="connsiteX58" fmla="*/ 8166 w 63413"/>
                    <a:gd name="connsiteY58" fmla="*/ 9869 h 51669"/>
                    <a:gd name="connsiteX59" fmla="*/ 15150 w 63413"/>
                    <a:gd name="connsiteY59" fmla="*/ 6422 h 51669"/>
                    <a:gd name="connsiteX60" fmla="*/ 17204 w 63413"/>
                    <a:gd name="connsiteY60" fmla="*/ 6300 h 51669"/>
                    <a:gd name="connsiteX61" fmla="*/ 18777 w 63413"/>
                    <a:gd name="connsiteY61" fmla="*/ 7873 h 51669"/>
                    <a:gd name="connsiteX62" fmla="*/ 20024 w 63413"/>
                    <a:gd name="connsiteY62" fmla="*/ 8891 h 51669"/>
                    <a:gd name="connsiteX63" fmla="*/ 20782 w 63413"/>
                    <a:gd name="connsiteY63" fmla="*/ 8867 h 51669"/>
                    <a:gd name="connsiteX64" fmla="*/ 21051 w 63413"/>
                    <a:gd name="connsiteY64" fmla="*/ 7840 h 51669"/>
                    <a:gd name="connsiteX65" fmla="*/ 21898 w 63413"/>
                    <a:gd name="connsiteY65" fmla="*/ 5876 h 51669"/>
                    <a:gd name="connsiteX66" fmla="*/ 23332 w 63413"/>
                    <a:gd name="connsiteY66" fmla="*/ 4751 h 51669"/>
                    <a:gd name="connsiteX67" fmla="*/ 27587 w 63413"/>
                    <a:gd name="connsiteY67" fmla="*/ 3798 h 51669"/>
                    <a:gd name="connsiteX68" fmla="*/ 27628 w 63413"/>
                    <a:gd name="connsiteY68" fmla="*/ 3798 h 51669"/>
                    <a:gd name="connsiteX69" fmla="*/ 29005 w 63413"/>
                    <a:gd name="connsiteY69" fmla="*/ 3985 h 51669"/>
                    <a:gd name="connsiteX70" fmla="*/ 32004 w 63413"/>
                    <a:gd name="connsiteY70" fmla="*/ 3105 h 51669"/>
                    <a:gd name="connsiteX71" fmla="*/ 33870 w 63413"/>
                    <a:gd name="connsiteY71" fmla="*/ 1883 h 51669"/>
                    <a:gd name="connsiteX72" fmla="*/ 34832 w 63413"/>
                    <a:gd name="connsiteY72" fmla="*/ 1703 h 51669"/>
                    <a:gd name="connsiteX73" fmla="*/ 36095 w 63413"/>
                    <a:gd name="connsiteY73" fmla="*/ 1239 h 51669"/>
                    <a:gd name="connsiteX74" fmla="*/ 37912 w 63413"/>
                    <a:gd name="connsiteY74" fmla="*/ 1296 h 51669"/>
                    <a:gd name="connsiteX75" fmla="*/ 39762 w 63413"/>
                    <a:gd name="connsiteY75" fmla="*/ 1834 h 51669"/>
                    <a:gd name="connsiteX76" fmla="*/ 42110 w 63413"/>
                    <a:gd name="connsiteY76" fmla="*/ 1133 h 51669"/>
                    <a:gd name="connsiteX77" fmla="*/ 44416 w 63413"/>
                    <a:gd name="connsiteY77" fmla="*/ 0 h 51669"/>
                    <a:gd name="connsiteX78" fmla="*/ 45345 w 63413"/>
                    <a:gd name="connsiteY78" fmla="*/ 277 h 51669"/>
                    <a:gd name="connsiteX79" fmla="*/ 46348 w 63413"/>
                    <a:gd name="connsiteY79" fmla="*/ 1247 h 5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3413" h="51669">
                      <a:moveTo>
                        <a:pt x="47008" y="1516"/>
                      </a:moveTo>
                      <a:lnTo>
                        <a:pt x="50830" y="6634"/>
                      </a:lnTo>
                      <a:lnTo>
                        <a:pt x="52925" y="8704"/>
                      </a:lnTo>
                      <a:lnTo>
                        <a:pt x="55394" y="10277"/>
                      </a:lnTo>
                      <a:lnTo>
                        <a:pt x="58222" y="11426"/>
                      </a:lnTo>
                      <a:lnTo>
                        <a:pt x="59232" y="12526"/>
                      </a:lnTo>
                      <a:lnTo>
                        <a:pt x="61025" y="17970"/>
                      </a:lnTo>
                      <a:lnTo>
                        <a:pt x="61881" y="20032"/>
                      </a:lnTo>
                      <a:lnTo>
                        <a:pt x="63071" y="20643"/>
                      </a:lnTo>
                      <a:lnTo>
                        <a:pt x="63372" y="21238"/>
                      </a:lnTo>
                      <a:lnTo>
                        <a:pt x="63413" y="22021"/>
                      </a:lnTo>
                      <a:lnTo>
                        <a:pt x="62068" y="25835"/>
                      </a:lnTo>
                      <a:lnTo>
                        <a:pt x="61530" y="34376"/>
                      </a:lnTo>
                      <a:lnTo>
                        <a:pt x="61196" y="35052"/>
                      </a:lnTo>
                      <a:lnTo>
                        <a:pt x="59786" y="35020"/>
                      </a:lnTo>
                      <a:lnTo>
                        <a:pt x="57920" y="35207"/>
                      </a:lnTo>
                      <a:lnTo>
                        <a:pt x="57211" y="35867"/>
                      </a:lnTo>
                      <a:lnTo>
                        <a:pt x="56445" y="40455"/>
                      </a:lnTo>
                      <a:lnTo>
                        <a:pt x="53446" y="41759"/>
                      </a:lnTo>
                      <a:lnTo>
                        <a:pt x="50715" y="42501"/>
                      </a:lnTo>
                      <a:lnTo>
                        <a:pt x="48417" y="42338"/>
                      </a:lnTo>
                      <a:lnTo>
                        <a:pt x="44359" y="41254"/>
                      </a:lnTo>
                      <a:lnTo>
                        <a:pt x="43039" y="41132"/>
                      </a:lnTo>
                      <a:lnTo>
                        <a:pt x="41914" y="41751"/>
                      </a:lnTo>
                      <a:lnTo>
                        <a:pt x="38304" y="42077"/>
                      </a:lnTo>
                      <a:lnTo>
                        <a:pt x="36731" y="42876"/>
                      </a:lnTo>
                      <a:lnTo>
                        <a:pt x="32998" y="48238"/>
                      </a:lnTo>
                      <a:lnTo>
                        <a:pt x="29233" y="50088"/>
                      </a:lnTo>
                      <a:lnTo>
                        <a:pt x="27954" y="51017"/>
                      </a:lnTo>
                      <a:lnTo>
                        <a:pt x="25068" y="49836"/>
                      </a:lnTo>
                      <a:lnTo>
                        <a:pt x="23683" y="49713"/>
                      </a:lnTo>
                      <a:lnTo>
                        <a:pt x="21702" y="51074"/>
                      </a:lnTo>
                      <a:lnTo>
                        <a:pt x="17326" y="51221"/>
                      </a:lnTo>
                      <a:lnTo>
                        <a:pt x="16161" y="51457"/>
                      </a:lnTo>
                      <a:lnTo>
                        <a:pt x="12779" y="51669"/>
                      </a:lnTo>
                      <a:lnTo>
                        <a:pt x="12640" y="50928"/>
                      </a:lnTo>
                      <a:lnTo>
                        <a:pt x="12021" y="49852"/>
                      </a:lnTo>
                      <a:lnTo>
                        <a:pt x="10448" y="49347"/>
                      </a:lnTo>
                      <a:lnTo>
                        <a:pt x="7245" y="49779"/>
                      </a:lnTo>
                      <a:lnTo>
                        <a:pt x="6462" y="48988"/>
                      </a:lnTo>
                      <a:lnTo>
                        <a:pt x="5142" y="44441"/>
                      </a:lnTo>
                      <a:lnTo>
                        <a:pt x="4107" y="43715"/>
                      </a:lnTo>
                      <a:lnTo>
                        <a:pt x="2950" y="42183"/>
                      </a:lnTo>
                      <a:lnTo>
                        <a:pt x="1002" y="37236"/>
                      </a:lnTo>
                      <a:lnTo>
                        <a:pt x="945" y="35060"/>
                      </a:lnTo>
                      <a:lnTo>
                        <a:pt x="1076" y="33169"/>
                      </a:lnTo>
                      <a:lnTo>
                        <a:pt x="0" y="28728"/>
                      </a:lnTo>
                      <a:lnTo>
                        <a:pt x="660" y="27603"/>
                      </a:lnTo>
                      <a:lnTo>
                        <a:pt x="1679" y="26894"/>
                      </a:lnTo>
                      <a:lnTo>
                        <a:pt x="1679" y="25101"/>
                      </a:lnTo>
                      <a:lnTo>
                        <a:pt x="1393" y="22379"/>
                      </a:lnTo>
                      <a:lnTo>
                        <a:pt x="2592" y="17041"/>
                      </a:lnTo>
                      <a:lnTo>
                        <a:pt x="2917" y="16650"/>
                      </a:lnTo>
                      <a:lnTo>
                        <a:pt x="3211" y="16903"/>
                      </a:lnTo>
                      <a:lnTo>
                        <a:pt x="6104" y="17335"/>
                      </a:lnTo>
                      <a:lnTo>
                        <a:pt x="6845" y="16658"/>
                      </a:lnTo>
                      <a:lnTo>
                        <a:pt x="7327" y="15599"/>
                      </a:lnTo>
                      <a:lnTo>
                        <a:pt x="7473" y="11679"/>
                      </a:lnTo>
                      <a:lnTo>
                        <a:pt x="8166" y="9869"/>
                      </a:lnTo>
                      <a:lnTo>
                        <a:pt x="15150" y="6422"/>
                      </a:lnTo>
                      <a:lnTo>
                        <a:pt x="17204" y="6300"/>
                      </a:lnTo>
                      <a:lnTo>
                        <a:pt x="18777" y="7873"/>
                      </a:lnTo>
                      <a:lnTo>
                        <a:pt x="20024" y="8891"/>
                      </a:lnTo>
                      <a:lnTo>
                        <a:pt x="20782" y="8867"/>
                      </a:lnTo>
                      <a:lnTo>
                        <a:pt x="21051" y="7840"/>
                      </a:lnTo>
                      <a:lnTo>
                        <a:pt x="21898" y="5876"/>
                      </a:lnTo>
                      <a:lnTo>
                        <a:pt x="23332" y="4751"/>
                      </a:lnTo>
                      <a:lnTo>
                        <a:pt x="27587" y="3798"/>
                      </a:lnTo>
                      <a:lnTo>
                        <a:pt x="27628" y="3798"/>
                      </a:lnTo>
                      <a:lnTo>
                        <a:pt x="29005" y="3985"/>
                      </a:lnTo>
                      <a:lnTo>
                        <a:pt x="32004" y="3105"/>
                      </a:lnTo>
                      <a:lnTo>
                        <a:pt x="33870" y="1883"/>
                      </a:lnTo>
                      <a:lnTo>
                        <a:pt x="34832" y="1703"/>
                      </a:lnTo>
                      <a:lnTo>
                        <a:pt x="36095" y="1239"/>
                      </a:lnTo>
                      <a:lnTo>
                        <a:pt x="37912" y="1296"/>
                      </a:lnTo>
                      <a:lnTo>
                        <a:pt x="39762" y="1834"/>
                      </a:lnTo>
                      <a:lnTo>
                        <a:pt x="42110" y="1133"/>
                      </a:lnTo>
                      <a:lnTo>
                        <a:pt x="44416" y="0"/>
                      </a:lnTo>
                      <a:lnTo>
                        <a:pt x="45345" y="277"/>
                      </a:lnTo>
                      <a:lnTo>
                        <a:pt x="46348" y="1247"/>
                      </a:lnTo>
                      <a:close/>
                    </a:path>
                  </a:pathLst>
                </a:custGeom>
                <a:solidFill>
                  <a:srgbClr val="D6D6D2"/>
                </a:solidFill>
                <a:ln w="6112" cap="rnd">
                  <a:solidFill>
                    <a:srgbClr val="FFFFFF"/>
                  </a:solidFill>
                  <a:prstDash val="solid"/>
                  <a:round/>
                </a:ln>
              </p:spPr>
              <p:txBody>
                <a:bodyPr rtlCol="0" anchor="ctr"/>
                <a:lstStyle/>
                <a:p>
                  <a:endParaRPr lang="en-US"/>
                </a:p>
              </p:txBody>
            </p:sp>
            <p:sp>
              <p:nvSpPr>
                <p:cNvPr id="682" name="Freeform: Shape 681">
                  <a:extLst>
                    <a:ext uri="{FF2B5EF4-FFF2-40B4-BE49-F238E27FC236}">
                      <a16:creationId xmlns:a16="http://schemas.microsoft.com/office/drawing/2014/main" id="{5981920C-33A5-48F2-9A7D-9B8BCC5DC2EC}"/>
                    </a:ext>
                  </a:extLst>
                </p:cNvPr>
                <p:cNvSpPr/>
                <p:nvPr/>
              </p:nvSpPr>
              <p:spPr>
                <a:xfrm>
                  <a:off x="3038587" y="3517540"/>
                  <a:ext cx="752929" cy="569095"/>
                </a:xfrm>
                <a:custGeom>
                  <a:avLst/>
                  <a:gdLst>
                    <a:gd name="connsiteX0" fmla="*/ 103901 w 752929"/>
                    <a:gd name="connsiteY0" fmla="*/ 25924 h 569095"/>
                    <a:gd name="connsiteX1" fmla="*/ 115661 w 752929"/>
                    <a:gd name="connsiteY1" fmla="*/ 30708 h 569095"/>
                    <a:gd name="connsiteX2" fmla="*/ 127421 w 752929"/>
                    <a:gd name="connsiteY2" fmla="*/ 35500 h 569095"/>
                    <a:gd name="connsiteX3" fmla="*/ 139189 w 752929"/>
                    <a:gd name="connsiteY3" fmla="*/ 40284 h 569095"/>
                    <a:gd name="connsiteX4" fmla="*/ 150949 w 752929"/>
                    <a:gd name="connsiteY4" fmla="*/ 45060 h 569095"/>
                    <a:gd name="connsiteX5" fmla="*/ 159718 w 752929"/>
                    <a:gd name="connsiteY5" fmla="*/ 45044 h 569095"/>
                    <a:gd name="connsiteX6" fmla="*/ 168479 w 752929"/>
                    <a:gd name="connsiteY6" fmla="*/ 45019 h 569095"/>
                    <a:gd name="connsiteX7" fmla="*/ 177248 w 752929"/>
                    <a:gd name="connsiteY7" fmla="*/ 44995 h 569095"/>
                    <a:gd name="connsiteX8" fmla="*/ 186010 w 752929"/>
                    <a:gd name="connsiteY8" fmla="*/ 44978 h 569095"/>
                    <a:gd name="connsiteX9" fmla="*/ 194779 w 752929"/>
                    <a:gd name="connsiteY9" fmla="*/ 44954 h 569095"/>
                    <a:gd name="connsiteX10" fmla="*/ 203548 w 752929"/>
                    <a:gd name="connsiteY10" fmla="*/ 44929 h 569095"/>
                    <a:gd name="connsiteX11" fmla="*/ 212317 w 752929"/>
                    <a:gd name="connsiteY11" fmla="*/ 44913 h 569095"/>
                    <a:gd name="connsiteX12" fmla="*/ 221086 w 752929"/>
                    <a:gd name="connsiteY12" fmla="*/ 44897 h 569095"/>
                    <a:gd name="connsiteX13" fmla="*/ 221094 w 752929"/>
                    <a:gd name="connsiteY13" fmla="*/ 41262 h 569095"/>
                    <a:gd name="connsiteX14" fmla="*/ 221110 w 752929"/>
                    <a:gd name="connsiteY14" fmla="*/ 37627 h 569095"/>
                    <a:gd name="connsiteX15" fmla="*/ 221127 w 752929"/>
                    <a:gd name="connsiteY15" fmla="*/ 33993 h 569095"/>
                    <a:gd name="connsiteX16" fmla="*/ 221143 w 752929"/>
                    <a:gd name="connsiteY16" fmla="*/ 30350 h 569095"/>
                    <a:gd name="connsiteX17" fmla="*/ 226587 w 752929"/>
                    <a:gd name="connsiteY17" fmla="*/ 30390 h 569095"/>
                    <a:gd name="connsiteX18" fmla="*/ 232039 w 752929"/>
                    <a:gd name="connsiteY18" fmla="*/ 30423 h 569095"/>
                    <a:gd name="connsiteX19" fmla="*/ 237491 w 752929"/>
                    <a:gd name="connsiteY19" fmla="*/ 30464 h 569095"/>
                    <a:gd name="connsiteX20" fmla="*/ 242944 w 752929"/>
                    <a:gd name="connsiteY20" fmla="*/ 30496 h 569095"/>
                    <a:gd name="connsiteX21" fmla="*/ 248396 w 752929"/>
                    <a:gd name="connsiteY21" fmla="*/ 30537 h 569095"/>
                    <a:gd name="connsiteX22" fmla="*/ 253848 w 752929"/>
                    <a:gd name="connsiteY22" fmla="*/ 30570 h 569095"/>
                    <a:gd name="connsiteX23" fmla="*/ 259300 w 752929"/>
                    <a:gd name="connsiteY23" fmla="*/ 30602 h 569095"/>
                    <a:gd name="connsiteX24" fmla="*/ 264752 w 752929"/>
                    <a:gd name="connsiteY24" fmla="*/ 30635 h 569095"/>
                    <a:gd name="connsiteX25" fmla="*/ 264948 w 752929"/>
                    <a:gd name="connsiteY25" fmla="*/ 30692 h 569095"/>
                    <a:gd name="connsiteX26" fmla="*/ 265176 w 752929"/>
                    <a:gd name="connsiteY26" fmla="*/ 30822 h 569095"/>
                    <a:gd name="connsiteX27" fmla="*/ 267385 w 752929"/>
                    <a:gd name="connsiteY27" fmla="*/ 33585 h 569095"/>
                    <a:gd name="connsiteX28" fmla="*/ 269642 w 752929"/>
                    <a:gd name="connsiteY28" fmla="*/ 37929 h 569095"/>
                    <a:gd name="connsiteX29" fmla="*/ 272315 w 752929"/>
                    <a:gd name="connsiteY29" fmla="*/ 40961 h 569095"/>
                    <a:gd name="connsiteX30" fmla="*/ 275388 w 752929"/>
                    <a:gd name="connsiteY30" fmla="*/ 42680 h 569095"/>
                    <a:gd name="connsiteX31" fmla="*/ 280628 w 752929"/>
                    <a:gd name="connsiteY31" fmla="*/ 47741 h 569095"/>
                    <a:gd name="connsiteX32" fmla="*/ 288036 w 752929"/>
                    <a:gd name="connsiteY32" fmla="*/ 56135 h 569095"/>
                    <a:gd name="connsiteX33" fmla="*/ 293945 w 752929"/>
                    <a:gd name="connsiteY33" fmla="*/ 61726 h 569095"/>
                    <a:gd name="connsiteX34" fmla="*/ 298354 w 752929"/>
                    <a:gd name="connsiteY34" fmla="*/ 64521 h 569095"/>
                    <a:gd name="connsiteX35" fmla="*/ 301312 w 752929"/>
                    <a:gd name="connsiteY35" fmla="*/ 66926 h 569095"/>
                    <a:gd name="connsiteX36" fmla="*/ 302828 w 752929"/>
                    <a:gd name="connsiteY36" fmla="*/ 68931 h 569095"/>
                    <a:gd name="connsiteX37" fmla="*/ 304857 w 752929"/>
                    <a:gd name="connsiteY37" fmla="*/ 73299 h 569095"/>
                    <a:gd name="connsiteX38" fmla="*/ 308696 w 752929"/>
                    <a:gd name="connsiteY38" fmla="*/ 83364 h 569095"/>
                    <a:gd name="connsiteX39" fmla="*/ 308696 w 752929"/>
                    <a:gd name="connsiteY39" fmla="*/ 87976 h 569095"/>
                    <a:gd name="connsiteX40" fmla="*/ 310163 w 752929"/>
                    <a:gd name="connsiteY40" fmla="*/ 92353 h 569095"/>
                    <a:gd name="connsiteX41" fmla="*/ 313096 w 752929"/>
                    <a:gd name="connsiteY41" fmla="*/ 98017 h 569095"/>
                    <a:gd name="connsiteX42" fmla="*/ 315655 w 752929"/>
                    <a:gd name="connsiteY42" fmla="*/ 101342 h 569095"/>
                    <a:gd name="connsiteX43" fmla="*/ 317848 w 752929"/>
                    <a:gd name="connsiteY43" fmla="*/ 102344 h 569095"/>
                    <a:gd name="connsiteX44" fmla="*/ 320244 w 752929"/>
                    <a:gd name="connsiteY44" fmla="*/ 104349 h 569095"/>
                    <a:gd name="connsiteX45" fmla="*/ 322844 w 752929"/>
                    <a:gd name="connsiteY45" fmla="*/ 107348 h 569095"/>
                    <a:gd name="connsiteX46" fmla="*/ 325843 w 752929"/>
                    <a:gd name="connsiteY46" fmla="*/ 109361 h 569095"/>
                    <a:gd name="connsiteX47" fmla="*/ 329241 w 752929"/>
                    <a:gd name="connsiteY47" fmla="*/ 110388 h 569095"/>
                    <a:gd name="connsiteX48" fmla="*/ 333927 w 752929"/>
                    <a:gd name="connsiteY48" fmla="*/ 113078 h 569095"/>
                    <a:gd name="connsiteX49" fmla="*/ 339901 w 752929"/>
                    <a:gd name="connsiteY49" fmla="*/ 117429 h 569095"/>
                    <a:gd name="connsiteX50" fmla="*/ 344000 w 752929"/>
                    <a:gd name="connsiteY50" fmla="*/ 119654 h 569095"/>
                    <a:gd name="connsiteX51" fmla="*/ 346217 w 752929"/>
                    <a:gd name="connsiteY51" fmla="*/ 119744 h 569095"/>
                    <a:gd name="connsiteX52" fmla="*/ 348157 w 752929"/>
                    <a:gd name="connsiteY52" fmla="*/ 118350 h 569095"/>
                    <a:gd name="connsiteX53" fmla="*/ 349819 w 752929"/>
                    <a:gd name="connsiteY53" fmla="*/ 115457 h 569095"/>
                    <a:gd name="connsiteX54" fmla="*/ 351457 w 752929"/>
                    <a:gd name="connsiteY54" fmla="*/ 113599 h 569095"/>
                    <a:gd name="connsiteX55" fmla="*/ 353063 w 752929"/>
                    <a:gd name="connsiteY55" fmla="*/ 112760 h 569095"/>
                    <a:gd name="connsiteX56" fmla="*/ 353715 w 752929"/>
                    <a:gd name="connsiteY56" fmla="*/ 111431 h 569095"/>
                    <a:gd name="connsiteX57" fmla="*/ 353413 w 752929"/>
                    <a:gd name="connsiteY57" fmla="*/ 109598 h 569095"/>
                    <a:gd name="connsiteX58" fmla="*/ 354505 w 752929"/>
                    <a:gd name="connsiteY58" fmla="*/ 105482 h 569095"/>
                    <a:gd name="connsiteX59" fmla="*/ 356983 w 752929"/>
                    <a:gd name="connsiteY59" fmla="*/ 99076 h 569095"/>
                    <a:gd name="connsiteX60" fmla="*/ 359941 w 752929"/>
                    <a:gd name="connsiteY60" fmla="*/ 95604 h 569095"/>
                    <a:gd name="connsiteX61" fmla="*/ 363380 w 752929"/>
                    <a:gd name="connsiteY61" fmla="*/ 95067 h 569095"/>
                    <a:gd name="connsiteX62" fmla="*/ 365621 w 752929"/>
                    <a:gd name="connsiteY62" fmla="*/ 93860 h 569095"/>
                    <a:gd name="connsiteX63" fmla="*/ 366681 w 752929"/>
                    <a:gd name="connsiteY63" fmla="*/ 91994 h 569095"/>
                    <a:gd name="connsiteX64" fmla="*/ 368523 w 752929"/>
                    <a:gd name="connsiteY64" fmla="*/ 91799 h 569095"/>
                    <a:gd name="connsiteX65" fmla="*/ 371147 w 752929"/>
                    <a:gd name="connsiteY65" fmla="*/ 93274 h 569095"/>
                    <a:gd name="connsiteX66" fmla="*/ 375417 w 752929"/>
                    <a:gd name="connsiteY66" fmla="*/ 94219 h 569095"/>
                    <a:gd name="connsiteX67" fmla="*/ 381334 w 752929"/>
                    <a:gd name="connsiteY67" fmla="*/ 94651 h 569095"/>
                    <a:gd name="connsiteX68" fmla="*/ 384822 w 752929"/>
                    <a:gd name="connsiteY68" fmla="*/ 94496 h 569095"/>
                    <a:gd name="connsiteX69" fmla="*/ 385882 w 752929"/>
                    <a:gd name="connsiteY69" fmla="*/ 93787 h 569095"/>
                    <a:gd name="connsiteX70" fmla="*/ 386436 w 752929"/>
                    <a:gd name="connsiteY70" fmla="*/ 93828 h 569095"/>
                    <a:gd name="connsiteX71" fmla="*/ 386477 w 752929"/>
                    <a:gd name="connsiteY71" fmla="*/ 94610 h 569095"/>
                    <a:gd name="connsiteX72" fmla="*/ 387349 w 752929"/>
                    <a:gd name="connsiteY72" fmla="*/ 94953 h 569095"/>
                    <a:gd name="connsiteX73" fmla="*/ 389060 w 752929"/>
                    <a:gd name="connsiteY73" fmla="*/ 94838 h 569095"/>
                    <a:gd name="connsiteX74" fmla="*/ 390551 w 752929"/>
                    <a:gd name="connsiteY74" fmla="*/ 95930 h 569095"/>
                    <a:gd name="connsiteX75" fmla="*/ 392459 w 752929"/>
                    <a:gd name="connsiteY75" fmla="*/ 99410 h 569095"/>
                    <a:gd name="connsiteX76" fmla="*/ 399019 w 752929"/>
                    <a:gd name="connsiteY76" fmla="*/ 104969 h 569095"/>
                    <a:gd name="connsiteX77" fmla="*/ 399027 w 752929"/>
                    <a:gd name="connsiteY77" fmla="*/ 104969 h 569095"/>
                    <a:gd name="connsiteX78" fmla="*/ 399581 w 752929"/>
                    <a:gd name="connsiteY78" fmla="*/ 106884 h 569095"/>
                    <a:gd name="connsiteX79" fmla="*/ 401863 w 752929"/>
                    <a:gd name="connsiteY79" fmla="*/ 109630 h 569095"/>
                    <a:gd name="connsiteX80" fmla="*/ 406069 w 752929"/>
                    <a:gd name="connsiteY80" fmla="*/ 113860 h 569095"/>
                    <a:gd name="connsiteX81" fmla="*/ 408448 w 752929"/>
                    <a:gd name="connsiteY81" fmla="*/ 117503 h 569095"/>
                    <a:gd name="connsiteX82" fmla="*/ 409003 w 752929"/>
                    <a:gd name="connsiteY82" fmla="*/ 120559 h 569095"/>
                    <a:gd name="connsiteX83" fmla="*/ 411146 w 752929"/>
                    <a:gd name="connsiteY83" fmla="*/ 125392 h 569095"/>
                    <a:gd name="connsiteX84" fmla="*/ 414887 w 752929"/>
                    <a:gd name="connsiteY84" fmla="*/ 132001 h 569095"/>
                    <a:gd name="connsiteX85" fmla="*/ 416557 w 752929"/>
                    <a:gd name="connsiteY85" fmla="*/ 135563 h 569095"/>
                    <a:gd name="connsiteX86" fmla="*/ 416150 w 752929"/>
                    <a:gd name="connsiteY86" fmla="*/ 136076 h 569095"/>
                    <a:gd name="connsiteX87" fmla="*/ 416451 w 752929"/>
                    <a:gd name="connsiteY87" fmla="*/ 137934 h 569095"/>
                    <a:gd name="connsiteX88" fmla="*/ 417446 w 752929"/>
                    <a:gd name="connsiteY88" fmla="*/ 141129 h 569095"/>
                    <a:gd name="connsiteX89" fmla="*/ 419304 w 752929"/>
                    <a:gd name="connsiteY89" fmla="*/ 143843 h 569095"/>
                    <a:gd name="connsiteX90" fmla="*/ 422018 w 752929"/>
                    <a:gd name="connsiteY90" fmla="*/ 146051 h 569095"/>
                    <a:gd name="connsiteX91" fmla="*/ 424764 w 752929"/>
                    <a:gd name="connsiteY91" fmla="*/ 150037 h 569095"/>
                    <a:gd name="connsiteX92" fmla="*/ 427535 w 752929"/>
                    <a:gd name="connsiteY92" fmla="*/ 155774 h 569095"/>
                    <a:gd name="connsiteX93" fmla="*/ 430893 w 752929"/>
                    <a:gd name="connsiteY93" fmla="*/ 160142 h 569095"/>
                    <a:gd name="connsiteX94" fmla="*/ 434837 w 752929"/>
                    <a:gd name="connsiteY94" fmla="*/ 163125 h 569095"/>
                    <a:gd name="connsiteX95" fmla="*/ 437070 w 752929"/>
                    <a:gd name="connsiteY95" fmla="*/ 165904 h 569095"/>
                    <a:gd name="connsiteX96" fmla="*/ 437592 w 752929"/>
                    <a:gd name="connsiteY96" fmla="*/ 168471 h 569095"/>
                    <a:gd name="connsiteX97" fmla="*/ 437551 w 752929"/>
                    <a:gd name="connsiteY97" fmla="*/ 170672 h 569095"/>
                    <a:gd name="connsiteX98" fmla="*/ 436948 w 752929"/>
                    <a:gd name="connsiteY98" fmla="*/ 172505 h 569095"/>
                    <a:gd name="connsiteX99" fmla="*/ 437209 w 752929"/>
                    <a:gd name="connsiteY99" fmla="*/ 174241 h 569095"/>
                    <a:gd name="connsiteX100" fmla="*/ 438309 w 752929"/>
                    <a:gd name="connsiteY100" fmla="*/ 175879 h 569095"/>
                    <a:gd name="connsiteX101" fmla="*/ 438684 w 752929"/>
                    <a:gd name="connsiteY101" fmla="*/ 177892 h 569095"/>
                    <a:gd name="connsiteX102" fmla="*/ 438252 w 752929"/>
                    <a:gd name="connsiteY102" fmla="*/ 180696 h 569095"/>
                    <a:gd name="connsiteX103" fmla="*/ 438276 w 752929"/>
                    <a:gd name="connsiteY103" fmla="*/ 181486 h 569095"/>
                    <a:gd name="connsiteX104" fmla="*/ 438276 w 752929"/>
                    <a:gd name="connsiteY104" fmla="*/ 181486 h 569095"/>
                    <a:gd name="connsiteX105" fmla="*/ 438594 w 752929"/>
                    <a:gd name="connsiteY105" fmla="*/ 182114 h 569095"/>
                    <a:gd name="connsiteX106" fmla="*/ 442099 w 752929"/>
                    <a:gd name="connsiteY106" fmla="*/ 186922 h 569095"/>
                    <a:gd name="connsiteX107" fmla="*/ 443900 w 752929"/>
                    <a:gd name="connsiteY107" fmla="*/ 190818 h 569095"/>
                    <a:gd name="connsiteX108" fmla="*/ 445326 w 752929"/>
                    <a:gd name="connsiteY108" fmla="*/ 197012 h 569095"/>
                    <a:gd name="connsiteX109" fmla="*/ 445326 w 752929"/>
                    <a:gd name="connsiteY109" fmla="*/ 197069 h 569095"/>
                    <a:gd name="connsiteX110" fmla="*/ 446923 w 752929"/>
                    <a:gd name="connsiteY110" fmla="*/ 200777 h 569095"/>
                    <a:gd name="connsiteX111" fmla="*/ 449221 w 752929"/>
                    <a:gd name="connsiteY111" fmla="*/ 202293 h 569095"/>
                    <a:gd name="connsiteX112" fmla="*/ 452750 w 752929"/>
                    <a:gd name="connsiteY112" fmla="*/ 202847 h 569095"/>
                    <a:gd name="connsiteX113" fmla="*/ 455423 w 752929"/>
                    <a:gd name="connsiteY113" fmla="*/ 204143 h 569095"/>
                    <a:gd name="connsiteX114" fmla="*/ 457257 w 752929"/>
                    <a:gd name="connsiteY114" fmla="*/ 206164 h 569095"/>
                    <a:gd name="connsiteX115" fmla="*/ 459563 w 752929"/>
                    <a:gd name="connsiteY115" fmla="*/ 207386 h 569095"/>
                    <a:gd name="connsiteX116" fmla="*/ 462359 w 752929"/>
                    <a:gd name="connsiteY116" fmla="*/ 207810 h 569095"/>
                    <a:gd name="connsiteX117" fmla="*/ 465032 w 752929"/>
                    <a:gd name="connsiteY117" fmla="*/ 209138 h 569095"/>
                    <a:gd name="connsiteX118" fmla="*/ 467583 w 752929"/>
                    <a:gd name="connsiteY118" fmla="*/ 211380 h 569095"/>
                    <a:gd name="connsiteX119" fmla="*/ 472350 w 752929"/>
                    <a:gd name="connsiteY119" fmla="*/ 212855 h 569095"/>
                    <a:gd name="connsiteX120" fmla="*/ 479327 w 752929"/>
                    <a:gd name="connsiteY120" fmla="*/ 213564 h 569095"/>
                    <a:gd name="connsiteX121" fmla="*/ 484640 w 752929"/>
                    <a:gd name="connsiteY121" fmla="*/ 215389 h 569095"/>
                    <a:gd name="connsiteX122" fmla="*/ 488283 w 752929"/>
                    <a:gd name="connsiteY122" fmla="*/ 218340 h 569095"/>
                    <a:gd name="connsiteX123" fmla="*/ 489889 w 752929"/>
                    <a:gd name="connsiteY123" fmla="*/ 218935 h 569095"/>
                    <a:gd name="connsiteX124" fmla="*/ 490321 w 752929"/>
                    <a:gd name="connsiteY124" fmla="*/ 218975 h 569095"/>
                    <a:gd name="connsiteX125" fmla="*/ 490532 w 752929"/>
                    <a:gd name="connsiteY125" fmla="*/ 218527 h 569095"/>
                    <a:gd name="connsiteX126" fmla="*/ 490810 w 752929"/>
                    <a:gd name="connsiteY126" fmla="*/ 217696 h 569095"/>
                    <a:gd name="connsiteX127" fmla="*/ 492211 w 752929"/>
                    <a:gd name="connsiteY127" fmla="*/ 216734 h 569095"/>
                    <a:gd name="connsiteX128" fmla="*/ 495577 w 752929"/>
                    <a:gd name="connsiteY128" fmla="*/ 216106 h 569095"/>
                    <a:gd name="connsiteX129" fmla="*/ 495121 w 752929"/>
                    <a:gd name="connsiteY129" fmla="*/ 222610 h 569095"/>
                    <a:gd name="connsiteX130" fmla="*/ 493621 w 752929"/>
                    <a:gd name="connsiteY130" fmla="*/ 227948 h 569095"/>
                    <a:gd name="connsiteX131" fmla="*/ 488691 w 752929"/>
                    <a:gd name="connsiteY131" fmla="*/ 239032 h 569095"/>
                    <a:gd name="connsiteX132" fmla="*/ 486629 w 752929"/>
                    <a:gd name="connsiteY132" fmla="*/ 245894 h 569095"/>
                    <a:gd name="connsiteX133" fmla="*/ 482652 w 752929"/>
                    <a:gd name="connsiteY133" fmla="*/ 265494 h 569095"/>
                    <a:gd name="connsiteX134" fmla="*/ 481429 w 752929"/>
                    <a:gd name="connsiteY134" fmla="*/ 278313 h 569095"/>
                    <a:gd name="connsiteX135" fmla="*/ 481136 w 752929"/>
                    <a:gd name="connsiteY135" fmla="*/ 284336 h 569095"/>
                    <a:gd name="connsiteX136" fmla="*/ 480793 w 752929"/>
                    <a:gd name="connsiteY136" fmla="*/ 285192 h 569095"/>
                    <a:gd name="connsiteX137" fmla="*/ 481168 w 752929"/>
                    <a:gd name="connsiteY137" fmla="*/ 286080 h 569095"/>
                    <a:gd name="connsiteX138" fmla="*/ 480215 w 752929"/>
                    <a:gd name="connsiteY138" fmla="*/ 299389 h 569095"/>
                    <a:gd name="connsiteX139" fmla="*/ 480728 w 752929"/>
                    <a:gd name="connsiteY139" fmla="*/ 310733 h 569095"/>
                    <a:gd name="connsiteX140" fmla="*/ 480402 w 752929"/>
                    <a:gd name="connsiteY140" fmla="*/ 312485 h 569095"/>
                    <a:gd name="connsiteX141" fmla="*/ 478952 w 752929"/>
                    <a:gd name="connsiteY141" fmla="*/ 315908 h 569095"/>
                    <a:gd name="connsiteX142" fmla="*/ 477933 w 752929"/>
                    <a:gd name="connsiteY142" fmla="*/ 320635 h 569095"/>
                    <a:gd name="connsiteX143" fmla="*/ 478332 w 752929"/>
                    <a:gd name="connsiteY143" fmla="*/ 322729 h 569095"/>
                    <a:gd name="connsiteX144" fmla="*/ 478316 w 752929"/>
                    <a:gd name="connsiteY144" fmla="*/ 324180 h 569095"/>
                    <a:gd name="connsiteX145" fmla="*/ 479807 w 752929"/>
                    <a:gd name="connsiteY145" fmla="*/ 331368 h 569095"/>
                    <a:gd name="connsiteX146" fmla="*/ 480280 w 752929"/>
                    <a:gd name="connsiteY146" fmla="*/ 336771 h 569095"/>
                    <a:gd name="connsiteX147" fmla="*/ 484705 w 752929"/>
                    <a:gd name="connsiteY147" fmla="*/ 346005 h 569095"/>
                    <a:gd name="connsiteX148" fmla="*/ 487191 w 752929"/>
                    <a:gd name="connsiteY148" fmla="*/ 349232 h 569095"/>
                    <a:gd name="connsiteX149" fmla="*/ 490272 w 752929"/>
                    <a:gd name="connsiteY149" fmla="*/ 352020 h 569095"/>
                    <a:gd name="connsiteX150" fmla="*/ 491404 w 752929"/>
                    <a:gd name="connsiteY150" fmla="*/ 353584 h 569095"/>
                    <a:gd name="connsiteX151" fmla="*/ 490850 w 752929"/>
                    <a:gd name="connsiteY151" fmla="*/ 357504 h 569095"/>
                    <a:gd name="connsiteX152" fmla="*/ 489595 w 752929"/>
                    <a:gd name="connsiteY152" fmla="*/ 359485 h 569095"/>
                    <a:gd name="connsiteX153" fmla="*/ 489065 w 752929"/>
                    <a:gd name="connsiteY153" fmla="*/ 362631 h 569095"/>
                    <a:gd name="connsiteX154" fmla="*/ 488446 w 752929"/>
                    <a:gd name="connsiteY154" fmla="*/ 360031 h 569095"/>
                    <a:gd name="connsiteX155" fmla="*/ 488691 w 752929"/>
                    <a:gd name="connsiteY155" fmla="*/ 356657 h 569095"/>
                    <a:gd name="connsiteX156" fmla="*/ 489669 w 752929"/>
                    <a:gd name="connsiteY156" fmla="*/ 354839 h 569095"/>
                    <a:gd name="connsiteX157" fmla="*/ 489701 w 752929"/>
                    <a:gd name="connsiteY157" fmla="*/ 353511 h 569095"/>
                    <a:gd name="connsiteX158" fmla="*/ 487884 w 752929"/>
                    <a:gd name="connsiteY158" fmla="*/ 352093 h 569095"/>
                    <a:gd name="connsiteX159" fmla="*/ 484567 w 752929"/>
                    <a:gd name="connsiteY159" fmla="*/ 347448 h 569095"/>
                    <a:gd name="connsiteX160" fmla="*/ 480516 w 752929"/>
                    <a:gd name="connsiteY160" fmla="*/ 339233 h 569095"/>
                    <a:gd name="connsiteX161" fmla="*/ 483401 w 752929"/>
                    <a:gd name="connsiteY161" fmla="*/ 352354 h 569095"/>
                    <a:gd name="connsiteX162" fmla="*/ 484396 w 752929"/>
                    <a:gd name="connsiteY162" fmla="*/ 354456 h 569095"/>
                    <a:gd name="connsiteX163" fmla="*/ 485170 w 752929"/>
                    <a:gd name="connsiteY163" fmla="*/ 355337 h 569095"/>
                    <a:gd name="connsiteX164" fmla="*/ 486458 w 752929"/>
                    <a:gd name="connsiteY164" fmla="*/ 356257 h 569095"/>
                    <a:gd name="connsiteX165" fmla="*/ 486792 w 752929"/>
                    <a:gd name="connsiteY165" fmla="*/ 357684 h 569095"/>
                    <a:gd name="connsiteX166" fmla="*/ 486800 w 752929"/>
                    <a:gd name="connsiteY166" fmla="*/ 358735 h 569095"/>
                    <a:gd name="connsiteX167" fmla="*/ 490361 w 752929"/>
                    <a:gd name="connsiteY167" fmla="*/ 367854 h 569095"/>
                    <a:gd name="connsiteX168" fmla="*/ 494379 w 752929"/>
                    <a:gd name="connsiteY168" fmla="*/ 377259 h 569095"/>
                    <a:gd name="connsiteX169" fmla="*/ 494591 w 752929"/>
                    <a:gd name="connsiteY169" fmla="*/ 379826 h 569095"/>
                    <a:gd name="connsiteX170" fmla="*/ 496196 w 752929"/>
                    <a:gd name="connsiteY170" fmla="*/ 382988 h 569095"/>
                    <a:gd name="connsiteX171" fmla="*/ 506441 w 752929"/>
                    <a:gd name="connsiteY171" fmla="*/ 396183 h 569095"/>
                    <a:gd name="connsiteX172" fmla="*/ 512708 w 752929"/>
                    <a:gd name="connsiteY172" fmla="*/ 406012 h 569095"/>
                    <a:gd name="connsiteX173" fmla="*/ 514884 w 752929"/>
                    <a:gd name="connsiteY173" fmla="*/ 415343 h 569095"/>
                    <a:gd name="connsiteX174" fmla="*/ 516204 w 752929"/>
                    <a:gd name="connsiteY174" fmla="*/ 418253 h 569095"/>
                    <a:gd name="connsiteX175" fmla="*/ 516848 w 752929"/>
                    <a:gd name="connsiteY175" fmla="*/ 422238 h 569095"/>
                    <a:gd name="connsiteX176" fmla="*/ 520955 w 752929"/>
                    <a:gd name="connsiteY176" fmla="*/ 426687 h 569095"/>
                    <a:gd name="connsiteX177" fmla="*/ 522210 w 752929"/>
                    <a:gd name="connsiteY177" fmla="*/ 429564 h 569095"/>
                    <a:gd name="connsiteX178" fmla="*/ 524411 w 752929"/>
                    <a:gd name="connsiteY178" fmla="*/ 431162 h 569095"/>
                    <a:gd name="connsiteX179" fmla="*/ 526196 w 752929"/>
                    <a:gd name="connsiteY179" fmla="*/ 435978 h 569095"/>
                    <a:gd name="connsiteX180" fmla="*/ 529537 w 752929"/>
                    <a:gd name="connsiteY180" fmla="*/ 438798 h 569095"/>
                    <a:gd name="connsiteX181" fmla="*/ 528738 w 752929"/>
                    <a:gd name="connsiteY181" fmla="*/ 438847 h 569095"/>
                    <a:gd name="connsiteX182" fmla="*/ 525813 w 752929"/>
                    <a:gd name="connsiteY182" fmla="*/ 437429 h 569095"/>
                    <a:gd name="connsiteX183" fmla="*/ 526008 w 752929"/>
                    <a:gd name="connsiteY183" fmla="*/ 438366 h 569095"/>
                    <a:gd name="connsiteX184" fmla="*/ 528469 w 752929"/>
                    <a:gd name="connsiteY184" fmla="*/ 440363 h 569095"/>
                    <a:gd name="connsiteX185" fmla="*/ 533294 w 752929"/>
                    <a:gd name="connsiteY185" fmla="*/ 442335 h 569095"/>
                    <a:gd name="connsiteX186" fmla="*/ 534492 w 752929"/>
                    <a:gd name="connsiteY186" fmla="*/ 442335 h 569095"/>
                    <a:gd name="connsiteX187" fmla="*/ 532593 w 752929"/>
                    <a:gd name="connsiteY187" fmla="*/ 441316 h 569095"/>
                    <a:gd name="connsiteX188" fmla="*/ 530988 w 752929"/>
                    <a:gd name="connsiteY188" fmla="*/ 439947 h 569095"/>
                    <a:gd name="connsiteX189" fmla="*/ 531550 w 752929"/>
                    <a:gd name="connsiteY189" fmla="*/ 439743 h 569095"/>
                    <a:gd name="connsiteX190" fmla="*/ 534916 w 752929"/>
                    <a:gd name="connsiteY190" fmla="*/ 441455 h 569095"/>
                    <a:gd name="connsiteX191" fmla="*/ 544337 w 752929"/>
                    <a:gd name="connsiteY191" fmla="*/ 442025 h 569095"/>
                    <a:gd name="connsiteX192" fmla="*/ 548477 w 752929"/>
                    <a:gd name="connsiteY192" fmla="*/ 446027 h 569095"/>
                    <a:gd name="connsiteX193" fmla="*/ 553856 w 752929"/>
                    <a:gd name="connsiteY193" fmla="*/ 447746 h 569095"/>
                    <a:gd name="connsiteX194" fmla="*/ 556741 w 752929"/>
                    <a:gd name="connsiteY194" fmla="*/ 452848 h 569095"/>
                    <a:gd name="connsiteX195" fmla="*/ 560099 w 752929"/>
                    <a:gd name="connsiteY195" fmla="*/ 458178 h 569095"/>
                    <a:gd name="connsiteX196" fmla="*/ 562242 w 752929"/>
                    <a:gd name="connsiteY196" fmla="*/ 458431 h 569095"/>
                    <a:gd name="connsiteX197" fmla="*/ 563913 w 752929"/>
                    <a:gd name="connsiteY197" fmla="*/ 458455 h 569095"/>
                    <a:gd name="connsiteX198" fmla="*/ 568957 w 752929"/>
                    <a:gd name="connsiteY198" fmla="*/ 457550 h 569095"/>
                    <a:gd name="connsiteX199" fmla="*/ 576789 w 752929"/>
                    <a:gd name="connsiteY199" fmla="*/ 454201 h 569095"/>
                    <a:gd name="connsiteX200" fmla="*/ 579487 w 752929"/>
                    <a:gd name="connsiteY200" fmla="*/ 452555 h 569095"/>
                    <a:gd name="connsiteX201" fmla="*/ 584752 w 752929"/>
                    <a:gd name="connsiteY201" fmla="*/ 450330 h 569095"/>
                    <a:gd name="connsiteX202" fmla="*/ 592795 w 752929"/>
                    <a:gd name="connsiteY202" fmla="*/ 449914 h 569095"/>
                    <a:gd name="connsiteX203" fmla="*/ 595289 w 752929"/>
                    <a:gd name="connsiteY203" fmla="*/ 450542 h 569095"/>
                    <a:gd name="connsiteX204" fmla="*/ 601312 w 752929"/>
                    <a:gd name="connsiteY204" fmla="*/ 449148 h 569095"/>
                    <a:gd name="connsiteX205" fmla="*/ 604181 w 752929"/>
                    <a:gd name="connsiteY205" fmla="*/ 447445 h 569095"/>
                    <a:gd name="connsiteX206" fmla="*/ 605175 w 752929"/>
                    <a:gd name="connsiteY206" fmla="*/ 445896 h 569095"/>
                    <a:gd name="connsiteX207" fmla="*/ 605639 w 752929"/>
                    <a:gd name="connsiteY207" fmla="*/ 444755 h 569095"/>
                    <a:gd name="connsiteX208" fmla="*/ 611222 w 752929"/>
                    <a:gd name="connsiteY208" fmla="*/ 443117 h 569095"/>
                    <a:gd name="connsiteX209" fmla="*/ 612314 w 752929"/>
                    <a:gd name="connsiteY209" fmla="*/ 442791 h 569095"/>
                    <a:gd name="connsiteX210" fmla="*/ 617962 w 752929"/>
                    <a:gd name="connsiteY210" fmla="*/ 442498 h 569095"/>
                    <a:gd name="connsiteX211" fmla="*/ 620684 w 752929"/>
                    <a:gd name="connsiteY211" fmla="*/ 441895 h 569095"/>
                    <a:gd name="connsiteX212" fmla="*/ 623895 w 752929"/>
                    <a:gd name="connsiteY212" fmla="*/ 441544 h 569095"/>
                    <a:gd name="connsiteX213" fmla="*/ 626217 w 752929"/>
                    <a:gd name="connsiteY213" fmla="*/ 443940 h 569095"/>
                    <a:gd name="connsiteX214" fmla="*/ 626209 w 752929"/>
                    <a:gd name="connsiteY214" fmla="*/ 445114 h 569095"/>
                    <a:gd name="connsiteX215" fmla="*/ 624677 w 752929"/>
                    <a:gd name="connsiteY215" fmla="*/ 446230 h 569095"/>
                    <a:gd name="connsiteX216" fmla="*/ 625394 w 752929"/>
                    <a:gd name="connsiteY216" fmla="*/ 447298 h 569095"/>
                    <a:gd name="connsiteX217" fmla="*/ 628141 w 752929"/>
                    <a:gd name="connsiteY217" fmla="*/ 449075 h 569095"/>
                    <a:gd name="connsiteX218" fmla="*/ 633185 w 752929"/>
                    <a:gd name="connsiteY218" fmla="*/ 449800 h 569095"/>
                    <a:gd name="connsiteX219" fmla="*/ 634815 w 752929"/>
                    <a:gd name="connsiteY219" fmla="*/ 449507 h 569095"/>
                    <a:gd name="connsiteX220" fmla="*/ 637130 w 752929"/>
                    <a:gd name="connsiteY220" fmla="*/ 446890 h 569095"/>
                    <a:gd name="connsiteX221" fmla="*/ 641229 w 752929"/>
                    <a:gd name="connsiteY221" fmla="*/ 444348 h 569095"/>
                    <a:gd name="connsiteX222" fmla="*/ 641148 w 752929"/>
                    <a:gd name="connsiteY222" fmla="*/ 441390 h 569095"/>
                    <a:gd name="connsiteX223" fmla="*/ 640414 w 752929"/>
                    <a:gd name="connsiteY223" fmla="*/ 439768 h 569095"/>
                    <a:gd name="connsiteX224" fmla="*/ 639224 w 752929"/>
                    <a:gd name="connsiteY224" fmla="*/ 439670 h 569095"/>
                    <a:gd name="connsiteX225" fmla="*/ 638939 w 752929"/>
                    <a:gd name="connsiteY225" fmla="*/ 438757 h 569095"/>
                    <a:gd name="connsiteX226" fmla="*/ 639770 w 752929"/>
                    <a:gd name="connsiteY226" fmla="*/ 436581 h 569095"/>
                    <a:gd name="connsiteX227" fmla="*/ 639550 w 752929"/>
                    <a:gd name="connsiteY227" fmla="*/ 435848 h 569095"/>
                    <a:gd name="connsiteX228" fmla="*/ 637008 w 752929"/>
                    <a:gd name="connsiteY228" fmla="*/ 437926 h 569095"/>
                    <a:gd name="connsiteX229" fmla="*/ 636421 w 752929"/>
                    <a:gd name="connsiteY229" fmla="*/ 437926 h 569095"/>
                    <a:gd name="connsiteX230" fmla="*/ 636706 w 752929"/>
                    <a:gd name="connsiteY230" fmla="*/ 436956 h 569095"/>
                    <a:gd name="connsiteX231" fmla="*/ 637228 w 752929"/>
                    <a:gd name="connsiteY231" fmla="*/ 436182 h 569095"/>
                    <a:gd name="connsiteX232" fmla="*/ 644693 w 752929"/>
                    <a:gd name="connsiteY232" fmla="*/ 431634 h 569095"/>
                    <a:gd name="connsiteX233" fmla="*/ 646600 w 752929"/>
                    <a:gd name="connsiteY233" fmla="*/ 429768 h 569095"/>
                    <a:gd name="connsiteX234" fmla="*/ 649175 w 752929"/>
                    <a:gd name="connsiteY234" fmla="*/ 428122 h 569095"/>
                    <a:gd name="connsiteX235" fmla="*/ 654521 w 752929"/>
                    <a:gd name="connsiteY235" fmla="*/ 421944 h 569095"/>
                    <a:gd name="connsiteX236" fmla="*/ 655670 w 752929"/>
                    <a:gd name="connsiteY236" fmla="*/ 410298 h 569095"/>
                    <a:gd name="connsiteX237" fmla="*/ 656738 w 752929"/>
                    <a:gd name="connsiteY237" fmla="*/ 408261 h 569095"/>
                    <a:gd name="connsiteX238" fmla="*/ 660283 w 752929"/>
                    <a:gd name="connsiteY238" fmla="*/ 404691 h 569095"/>
                    <a:gd name="connsiteX239" fmla="*/ 660666 w 752929"/>
                    <a:gd name="connsiteY239" fmla="*/ 403615 h 569095"/>
                    <a:gd name="connsiteX240" fmla="*/ 660894 w 752929"/>
                    <a:gd name="connsiteY240" fmla="*/ 401179 h 569095"/>
                    <a:gd name="connsiteX241" fmla="*/ 660797 w 752929"/>
                    <a:gd name="connsiteY241" fmla="*/ 395058 h 569095"/>
                    <a:gd name="connsiteX242" fmla="*/ 660992 w 752929"/>
                    <a:gd name="connsiteY242" fmla="*/ 390242 h 569095"/>
                    <a:gd name="connsiteX243" fmla="*/ 660846 w 752929"/>
                    <a:gd name="connsiteY243" fmla="*/ 384790 h 569095"/>
                    <a:gd name="connsiteX244" fmla="*/ 661481 w 752929"/>
                    <a:gd name="connsiteY244" fmla="*/ 379924 h 569095"/>
                    <a:gd name="connsiteX245" fmla="*/ 662060 w 752929"/>
                    <a:gd name="connsiteY245" fmla="*/ 378563 h 569095"/>
                    <a:gd name="connsiteX246" fmla="*/ 664089 w 752929"/>
                    <a:gd name="connsiteY246" fmla="*/ 370764 h 569095"/>
                    <a:gd name="connsiteX247" fmla="*/ 668319 w 752929"/>
                    <a:gd name="connsiteY247" fmla="*/ 367317 h 569095"/>
                    <a:gd name="connsiteX248" fmla="*/ 675637 w 752929"/>
                    <a:gd name="connsiteY248" fmla="*/ 363234 h 569095"/>
                    <a:gd name="connsiteX249" fmla="*/ 677324 w 752929"/>
                    <a:gd name="connsiteY249" fmla="*/ 362557 h 569095"/>
                    <a:gd name="connsiteX250" fmla="*/ 700665 w 752929"/>
                    <a:gd name="connsiteY250" fmla="*/ 358230 h 569095"/>
                    <a:gd name="connsiteX251" fmla="*/ 703933 w 752929"/>
                    <a:gd name="connsiteY251" fmla="*/ 357178 h 569095"/>
                    <a:gd name="connsiteX252" fmla="*/ 707943 w 752929"/>
                    <a:gd name="connsiteY252" fmla="*/ 354367 h 569095"/>
                    <a:gd name="connsiteX253" fmla="*/ 710877 w 752929"/>
                    <a:gd name="connsiteY253" fmla="*/ 353413 h 569095"/>
                    <a:gd name="connsiteX254" fmla="*/ 716223 w 752929"/>
                    <a:gd name="connsiteY254" fmla="*/ 353495 h 569095"/>
                    <a:gd name="connsiteX255" fmla="*/ 717869 w 752929"/>
                    <a:gd name="connsiteY255" fmla="*/ 353120 h 569095"/>
                    <a:gd name="connsiteX256" fmla="*/ 718195 w 752929"/>
                    <a:gd name="connsiteY256" fmla="*/ 352729 h 569095"/>
                    <a:gd name="connsiteX257" fmla="*/ 718203 w 752929"/>
                    <a:gd name="connsiteY257" fmla="*/ 352362 h 569095"/>
                    <a:gd name="connsiteX258" fmla="*/ 719190 w 752929"/>
                    <a:gd name="connsiteY258" fmla="*/ 351979 h 569095"/>
                    <a:gd name="connsiteX259" fmla="*/ 722286 w 752929"/>
                    <a:gd name="connsiteY259" fmla="*/ 352346 h 569095"/>
                    <a:gd name="connsiteX260" fmla="*/ 728065 w 752929"/>
                    <a:gd name="connsiteY260" fmla="*/ 354041 h 569095"/>
                    <a:gd name="connsiteX261" fmla="*/ 730167 w 752929"/>
                    <a:gd name="connsiteY261" fmla="*/ 354464 h 569095"/>
                    <a:gd name="connsiteX262" fmla="*/ 735342 w 752929"/>
                    <a:gd name="connsiteY262" fmla="*/ 356437 h 569095"/>
                    <a:gd name="connsiteX263" fmla="*/ 741031 w 752929"/>
                    <a:gd name="connsiteY263" fmla="*/ 357227 h 569095"/>
                    <a:gd name="connsiteX264" fmla="*/ 741854 w 752929"/>
                    <a:gd name="connsiteY264" fmla="*/ 356885 h 569095"/>
                    <a:gd name="connsiteX265" fmla="*/ 742604 w 752929"/>
                    <a:gd name="connsiteY265" fmla="*/ 356290 h 569095"/>
                    <a:gd name="connsiteX266" fmla="*/ 743182 w 752929"/>
                    <a:gd name="connsiteY266" fmla="*/ 355141 h 569095"/>
                    <a:gd name="connsiteX267" fmla="*/ 742587 w 752929"/>
                    <a:gd name="connsiteY267" fmla="*/ 354139 h 569095"/>
                    <a:gd name="connsiteX268" fmla="*/ 742033 w 752929"/>
                    <a:gd name="connsiteY268" fmla="*/ 354220 h 569095"/>
                    <a:gd name="connsiteX269" fmla="*/ 741063 w 752929"/>
                    <a:gd name="connsiteY269" fmla="*/ 354750 h 569095"/>
                    <a:gd name="connsiteX270" fmla="*/ 739914 w 752929"/>
                    <a:gd name="connsiteY270" fmla="*/ 354799 h 569095"/>
                    <a:gd name="connsiteX271" fmla="*/ 737657 w 752929"/>
                    <a:gd name="connsiteY271" fmla="*/ 353975 h 569095"/>
                    <a:gd name="connsiteX272" fmla="*/ 738113 w 752929"/>
                    <a:gd name="connsiteY272" fmla="*/ 353291 h 569095"/>
                    <a:gd name="connsiteX273" fmla="*/ 740411 w 752929"/>
                    <a:gd name="connsiteY273" fmla="*/ 353356 h 569095"/>
                    <a:gd name="connsiteX274" fmla="*/ 741887 w 752929"/>
                    <a:gd name="connsiteY274" fmla="*/ 353022 h 569095"/>
                    <a:gd name="connsiteX275" fmla="*/ 744071 w 752929"/>
                    <a:gd name="connsiteY275" fmla="*/ 351808 h 569095"/>
                    <a:gd name="connsiteX276" fmla="*/ 746393 w 752929"/>
                    <a:gd name="connsiteY276" fmla="*/ 352712 h 569095"/>
                    <a:gd name="connsiteX277" fmla="*/ 749449 w 752929"/>
                    <a:gd name="connsiteY277" fmla="*/ 356730 h 569095"/>
                    <a:gd name="connsiteX278" fmla="*/ 751625 w 752929"/>
                    <a:gd name="connsiteY278" fmla="*/ 358010 h 569095"/>
                    <a:gd name="connsiteX279" fmla="*/ 751796 w 752929"/>
                    <a:gd name="connsiteY279" fmla="*/ 363820 h 569095"/>
                    <a:gd name="connsiteX280" fmla="*/ 752131 w 752929"/>
                    <a:gd name="connsiteY280" fmla="*/ 364880 h 569095"/>
                    <a:gd name="connsiteX281" fmla="*/ 752929 w 752929"/>
                    <a:gd name="connsiteY281" fmla="*/ 366412 h 569095"/>
                    <a:gd name="connsiteX282" fmla="*/ 751845 w 752929"/>
                    <a:gd name="connsiteY282" fmla="*/ 370911 h 569095"/>
                    <a:gd name="connsiteX283" fmla="*/ 750623 w 752929"/>
                    <a:gd name="connsiteY283" fmla="*/ 374627 h 569095"/>
                    <a:gd name="connsiteX284" fmla="*/ 749099 w 752929"/>
                    <a:gd name="connsiteY284" fmla="*/ 377683 h 569095"/>
                    <a:gd name="connsiteX285" fmla="*/ 745790 w 752929"/>
                    <a:gd name="connsiteY285" fmla="*/ 382483 h 569095"/>
                    <a:gd name="connsiteX286" fmla="*/ 741781 w 752929"/>
                    <a:gd name="connsiteY286" fmla="*/ 386314 h 569095"/>
                    <a:gd name="connsiteX287" fmla="*/ 736817 w 752929"/>
                    <a:gd name="connsiteY287" fmla="*/ 394838 h 569095"/>
                    <a:gd name="connsiteX288" fmla="*/ 735685 w 752929"/>
                    <a:gd name="connsiteY288" fmla="*/ 398832 h 569095"/>
                    <a:gd name="connsiteX289" fmla="*/ 735709 w 752929"/>
                    <a:gd name="connsiteY289" fmla="*/ 402026 h 569095"/>
                    <a:gd name="connsiteX290" fmla="*/ 736556 w 752929"/>
                    <a:gd name="connsiteY290" fmla="*/ 405115 h 569095"/>
                    <a:gd name="connsiteX291" fmla="*/ 736312 w 752929"/>
                    <a:gd name="connsiteY291" fmla="*/ 406256 h 569095"/>
                    <a:gd name="connsiteX292" fmla="*/ 735701 w 752929"/>
                    <a:gd name="connsiteY292" fmla="*/ 407413 h 569095"/>
                    <a:gd name="connsiteX293" fmla="*/ 734690 w 752929"/>
                    <a:gd name="connsiteY293" fmla="*/ 407316 h 569095"/>
                    <a:gd name="connsiteX294" fmla="*/ 732726 w 752929"/>
                    <a:gd name="connsiteY294" fmla="*/ 408791 h 569095"/>
                    <a:gd name="connsiteX295" fmla="*/ 730200 w 752929"/>
                    <a:gd name="connsiteY295" fmla="*/ 413183 h 569095"/>
                    <a:gd name="connsiteX296" fmla="*/ 730143 w 752929"/>
                    <a:gd name="connsiteY296" fmla="*/ 414520 h 569095"/>
                    <a:gd name="connsiteX297" fmla="*/ 731251 w 752929"/>
                    <a:gd name="connsiteY297" fmla="*/ 415751 h 569095"/>
                    <a:gd name="connsiteX298" fmla="*/ 732694 w 752929"/>
                    <a:gd name="connsiteY298" fmla="*/ 415164 h 569095"/>
                    <a:gd name="connsiteX299" fmla="*/ 734568 w 752929"/>
                    <a:gd name="connsiteY299" fmla="*/ 415107 h 569095"/>
                    <a:gd name="connsiteX300" fmla="*/ 735611 w 752929"/>
                    <a:gd name="connsiteY300" fmla="*/ 414748 h 569095"/>
                    <a:gd name="connsiteX301" fmla="*/ 736720 w 752929"/>
                    <a:gd name="connsiteY301" fmla="*/ 414846 h 569095"/>
                    <a:gd name="connsiteX302" fmla="*/ 736467 w 752929"/>
                    <a:gd name="connsiteY302" fmla="*/ 417364 h 569095"/>
                    <a:gd name="connsiteX303" fmla="*/ 735277 w 752929"/>
                    <a:gd name="connsiteY303" fmla="*/ 419149 h 569095"/>
                    <a:gd name="connsiteX304" fmla="*/ 734527 w 752929"/>
                    <a:gd name="connsiteY304" fmla="*/ 419711 h 569095"/>
                    <a:gd name="connsiteX305" fmla="*/ 733191 w 752929"/>
                    <a:gd name="connsiteY305" fmla="*/ 420013 h 569095"/>
                    <a:gd name="connsiteX306" fmla="*/ 731691 w 752929"/>
                    <a:gd name="connsiteY306" fmla="*/ 421031 h 569095"/>
                    <a:gd name="connsiteX307" fmla="*/ 730917 w 752929"/>
                    <a:gd name="connsiteY307" fmla="*/ 421969 h 569095"/>
                    <a:gd name="connsiteX308" fmla="*/ 730990 w 752929"/>
                    <a:gd name="connsiteY308" fmla="*/ 424886 h 569095"/>
                    <a:gd name="connsiteX309" fmla="*/ 731830 w 752929"/>
                    <a:gd name="connsiteY309" fmla="*/ 425114 h 569095"/>
                    <a:gd name="connsiteX310" fmla="*/ 733598 w 752929"/>
                    <a:gd name="connsiteY310" fmla="*/ 422938 h 569095"/>
                    <a:gd name="connsiteX311" fmla="*/ 734625 w 752929"/>
                    <a:gd name="connsiteY311" fmla="*/ 423044 h 569095"/>
                    <a:gd name="connsiteX312" fmla="*/ 734829 w 752929"/>
                    <a:gd name="connsiteY312" fmla="*/ 423957 h 569095"/>
                    <a:gd name="connsiteX313" fmla="*/ 732539 w 752929"/>
                    <a:gd name="connsiteY313" fmla="*/ 431390 h 569095"/>
                    <a:gd name="connsiteX314" fmla="*/ 731056 w 752929"/>
                    <a:gd name="connsiteY314" fmla="*/ 439026 h 569095"/>
                    <a:gd name="connsiteX315" fmla="*/ 729067 w 752929"/>
                    <a:gd name="connsiteY315" fmla="*/ 443435 h 569095"/>
                    <a:gd name="connsiteX316" fmla="*/ 728358 w 752929"/>
                    <a:gd name="connsiteY316" fmla="*/ 449865 h 569095"/>
                    <a:gd name="connsiteX317" fmla="*/ 727315 w 752929"/>
                    <a:gd name="connsiteY317" fmla="*/ 452595 h 569095"/>
                    <a:gd name="connsiteX318" fmla="*/ 726100 w 752929"/>
                    <a:gd name="connsiteY318" fmla="*/ 455301 h 569095"/>
                    <a:gd name="connsiteX319" fmla="*/ 725391 w 752929"/>
                    <a:gd name="connsiteY319" fmla="*/ 455154 h 569095"/>
                    <a:gd name="connsiteX320" fmla="*/ 723468 w 752929"/>
                    <a:gd name="connsiteY320" fmla="*/ 450020 h 569095"/>
                    <a:gd name="connsiteX321" fmla="*/ 721496 w 752929"/>
                    <a:gd name="connsiteY321" fmla="*/ 448692 h 569095"/>
                    <a:gd name="connsiteX322" fmla="*/ 721064 w 752929"/>
                    <a:gd name="connsiteY322" fmla="*/ 447445 h 569095"/>
                    <a:gd name="connsiteX323" fmla="*/ 722197 w 752929"/>
                    <a:gd name="connsiteY323" fmla="*/ 441227 h 569095"/>
                    <a:gd name="connsiteX324" fmla="*/ 721683 w 752929"/>
                    <a:gd name="connsiteY324" fmla="*/ 437779 h 569095"/>
                    <a:gd name="connsiteX325" fmla="*/ 720648 w 752929"/>
                    <a:gd name="connsiteY325" fmla="*/ 437918 h 569095"/>
                    <a:gd name="connsiteX326" fmla="*/ 719328 w 752929"/>
                    <a:gd name="connsiteY326" fmla="*/ 439808 h 569095"/>
                    <a:gd name="connsiteX327" fmla="*/ 717592 w 752929"/>
                    <a:gd name="connsiteY327" fmla="*/ 441455 h 569095"/>
                    <a:gd name="connsiteX328" fmla="*/ 717625 w 752929"/>
                    <a:gd name="connsiteY328" fmla="*/ 443818 h 569095"/>
                    <a:gd name="connsiteX329" fmla="*/ 715628 w 752929"/>
                    <a:gd name="connsiteY329" fmla="*/ 447755 h 569095"/>
                    <a:gd name="connsiteX330" fmla="*/ 715131 w 752929"/>
                    <a:gd name="connsiteY330" fmla="*/ 449050 h 569095"/>
                    <a:gd name="connsiteX331" fmla="*/ 713232 w 752929"/>
                    <a:gd name="connsiteY331" fmla="*/ 448741 h 569095"/>
                    <a:gd name="connsiteX332" fmla="*/ 711032 w 752929"/>
                    <a:gd name="connsiteY332" fmla="*/ 448912 h 569095"/>
                    <a:gd name="connsiteX333" fmla="*/ 709500 w 752929"/>
                    <a:gd name="connsiteY333" fmla="*/ 449865 h 569095"/>
                    <a:gd name="connsiteX334" fmla="*/ 707935 w 752929"/>
                    <a:gd name="connsiteY334" fmla="*/ 454633 h 569095"/>
                    <a:gd name="connsiteX335" fmla="*/ 704031 w 752929"/>
                    <a:gd name="connsiteY335" fmla="*/ 461356 h 569095"/>
                    <a:gd name="connsiteX336" fmla="*/ 702474 w 752929"/>
                    <a:gd name="connsiteY336" fmla="*/ 464616 h 569095"/>
                    <a:gd name="connsiteX337" fmla="*/ 701211 w 752929"/>
                    <a:gd name="connsiteY337" fmla="*/ 465741 h 569095"/>
                    <a:gd name="connsiteX338" fmla="*/ 700201 w 752929"/>
                    <a:gd name="connsiteY338" fmla="*/ 466181 h 569095"/>
                    <a:gd name="connsiteX339" fmla="*/ 699092 w 752929"/>
                    <a:gd name="connsiteY339" fmla="*/ 465407 h 569095"/>
                    <a:gd name="connsiteX340" fmla="*/ 696419 w 752929"/>
                    <a:gd name="connsiteY340" fmla="*/ 463565 h 569095"/>
                    <a:gd name="connsiteX341" fmla="*/ 694357 w 752929"/>
                    <a:gd name="connsiteY341" fmla="*/ 464453 h 569095"/>
                    <a:gd name="connsiteX342" fmla="*/ 693648 w 752929"/>
                    <a:gd name="connsiteY342" fmla="*/ 466564 h 569095"/>
                    <a:gd name="connsiteX343" fmla="*/ 693673 w 752929"/>
                    <a:gd name="connsiteY343" fmla="*/ 469237 h 569095"/>
                    <a:gd name="connsiteX344" fmla="*/ 688457 w 752929"/>
                    <a:gd name="connsiteY344" fmla="*/ 469229 h 569095"/>
                    <a:gd name="connsiteX345" fmla="*/ 679598 w 752929"/>
                    <a:gd name="connsiteY345" fmla="*/ 469221 h 569095"/>
                    <a:gd name="connsiteX346" fmla="*/ 668319 w 752929"/>
                    <a:gd name="connsiteY346" fmla="*/ 469213 h 569095"/>
                    <a:gd name="connsiteX347" fmla="*/ 657447 w 752929"/>
                    <a:gd name="connsiteY347" fmla="*/ 469196 h 569095"/>
                    <a:gd name="connsiteX348" fmla="*/ 648344 w 752929"/>
                    <a:gd name="connsiteY348" fmla="*/ 469188 h 569095"/>
                    <a:gd name="connsiteX349" fmla="*/ 648311 w 752929"/>
                    <a:gd name="connsiteY349" fmla="*/ 475195 h 569095"/>
                    <a:gd name="connsiteX350" fmla="*/ 648287 w 752929"/>
                    <a:gd name="connsiteY350" fmla="*/ 480500 h 569095"/>
                    <a:gd name="connsiteX351" fmla="*/ 648254 w 752929"/>
                    <a:gd name="connsiteY351" fmla="*/ 486482 h 569095"/>
                    <a:gd name="connsiteX352" fmla="*/ 643234 w 752929"/>
                    <a:gd name="connsiteY352" fmla="*/ 486433 h 569095"/>
                    <a:gd name="connsiteX353" fmla="*/ 637920 w 752929"/>
                    <a:gd name="connsiteY353" fmla="*/ 486376 h 569095"/>
                    <a:gd name="connsiteX354" fmla="*/ 638352 w 752929"/>
                    <a:gd name="connsiteY354" fmla="*/ 486971 h 569095"/>
                    <a:gd name="connsiteX355" fmla="*/ 640170 w 752929"/>
                    <a:gd name="connsiteY355" fmla="*/ 488096 h 569095"/>
                    <a:gd name="connsiteX356" fmla="*/ 642525 w 752929"/>
                    <a:gd name="connsiteY356" fmla="*/ 490777 h 569095"/>
                    <a:gd name="connsiteX357" fmla="*/ 645312 w 752929"/>
                    <a:gd name="connsiteY357" fmla="*/ 494941 h 569095"/>
                    <a:gd name="connsiteX358" fmla="*/ 648686 w 752929"/>
                    <a:gd name="connsiteY358" fmla="*/ 498258 h 569095"/>
                    <a:gd name="connsiteX359" fmla="*/ 652647 w 752929"/>
                    <a:gd name="connsiteY359" fmla="*/ 500728 h 569095"/>
                    <a:gd name="connsiteX360" fmla="*/ 655263 w 752929"/>
                    <a:gd name="connsiteY360" fmla="*/ 503148 h 569095"/>
                    <a:gd name="connsiteX361" fmla="*/ 656518 w 752929"/>
                    <a:gd name="connsiteY361" fmla="*/ 505512 h 569095"/>
                    <a:gd name="connsiteX362" fmla="*/ 657154 w 752929"/>
                    <a:gd name="connsiteY362" fmla="*/ 507525 h 569095"/>
                    <a:gd name="connsiteX363" fmla="*/ 657162 w 752929"/>
                    <a:gd name="connsiteY363" fmla="*/ 509187 h 569095"/>
                    <a:gd name="connsiteX364" fmla="*/ 658604 w 752929"/>
                    <a:gd name="connsiteY364" fmla="*/ 510499 h 569095"/>
                    <a:gd name="connsiteX365" fmla="*/ 661204 w 752929"/>
                    <a:gd name="connsiteY365" fmla="*/ 511363 h 569095"/>
                    <a:gd name="connsiteX366" fmla="*/ 662541 w 752929"/>
                    <a:gd name="connsiteY366" fmla="*/ 512846 h 569095"/>
                    <a:gd name="connsiteX367" fmla="*/ 662541 w 752929"/>
                    <a:gd name="connsiteY367" fmla="*/ 514061 h 569095"/>
                    <a:gd name="connsiteX368" fmla="*/ 661718 w 752929"/>
                    <a:gd name="connsiteY368" fmla="*/ 516807 h 569095"/>
                    <a:gd name="connsiteX369" fmla="*/ 661473 w 752929"/>
                    <a:gd name="connsiteY369" fmla="*/ 519831 h 569095"/>
                    <a:gd name="connsiteX370" fmla="*/ 661791 w 752929"/>
                    <a:gd name="connsiteY370" fmla="*/ 522569 h 569095"/>
                    <a:gd name="connsiteX371" fmla="*/ 659933 w 752929"/>
                    <a:gd name="connsiteY371" fmla="*/ 522610 h 569095"/>
                    <a:gd name="connsiteX372" fmla="*/ 655434 w 752929"/>
                    <a:gd name="connsiteY372" fmla="*/ 522610 h 569095"/>
                    <a:gd name="connsiteX373" fmla="*/ 648580 w 752929"/>
                    <a:gd name="connsiteY373" fmla="*/ 522610 h 569095"/>
                    <a:gd name="connsiteX374" fmla="*/ 642280 w 752929"/>
                    <a:gd name="connsiteY374" fmla="*/ 522618 h 569095"/>
                    <a:gd name="connsiteX375" fmla="*/ 637309 w 752929"/>
                    <a:gd name="connsiteY375" fmla="*/ 522618 h 569095"/>
                    <a:gd name="connsiteX376" fmla="*/ 629811 w 752929"/>
                    <a:gd name="connsiteY376" fmla="*/ 522626 h 569095"/>
                    <a:gd name="connsiteX377" fmla="*/ 627758 w 752929"/>
                    <a:gd name="connsiteY377" fmla="*/ 526831 h 569095"/>
                    <a:gd name="connsiteX378" fmla="*/ 624343 w 752929"/>
                    <a:gd name="connsiteY378" fmla="*/ 533824 h 569095"/>
                    <a:gd name="connsiteX379" fmla="*/ 621254 w 752929"/>
                    <a:gd name="connsiteY379" fmla="*/ 540156 h 569095"/>
                    <a:gd name="connsiteX380" fmla="*/ 618646 w 752929"/>
                    <a:gd name="connsiteY380" fmla="*/ 545486 h 569095"/>
                    <a:gd name="connsiteX381" fmla="*/ 618222 w 752929"/>
                    <a:gd name="connsiteY381" fmla="*/ 546880 h 569095"/>
                    <a:gd name="connsiteX382" fmla="*/ 618222 w 752929"/>
                    <a:gd name="connsiteY382" fmla="*/ 548021 h 569095"/>
                    <a:gd name="connsiteX383" fmla="*/ 621442 w 752929"/>
                    <a:gd name="connsiteY383" fmla="*/ 553000 h 569095"/>
                    <a:gd name="connsiteX384" fmla="*/ 620847 w 752929"/>
                    <a:gd name="connsiteY384" fmla="*/ 554443 h 569095"/>
                    <a:gd name="connsiteX385" fmla="*/ 619714 w 752929"/>
                    <a:gd name="connsiteY385" fmla="*/ 555201 h 569095"/>
                    <a:gd name="connsiteX386" fmla="*/ 619363 w 752929"/>
                    <a:gd name="connsiteY386" fmla="*/ 556374 h 569095"/>
                    <a:gd name="connsiteX387" fmla="*/ 619437 w 752929"/>
                    <a:gd name="connsiteY387" fmla="*/ 558265 h 569095"/>
                    <a:gd name="connsiteX388" fmla="*/ 618671 w 752929"/>
                    <a:gd name="connsiteY388" fmla="*/ 560791 h 569095"/>
                    <a:gd name="connsiteX389" fmla="*/ 618915 w 752929"/>
                    <a:gd name="connsiteY389" fmla="*/ 562527 h 569095"/>
                    <a:gd name="connsiteX390" fmla="*/ 619323 w 752929"/>
                    <a:gd name="connsiteY390" fmla="*/ 564670 h 569095"/>
                    <a:gd name="connsiteX391" fmla="*/ 618646 w 752929"/>
                    <a:gd name="connsiteY391" fmla="*/ 566521 h 569095"/>
                    <a:gd name="connsiteX392" fmla="*/ 618108 w 752929"/>
                    <a:gd name="connsiteY392" fmla="*/ 568322 h 569095"/>
                    <a:gd name="connsiteX393" fmla="*/ 617456 w 752929"/>
                    <a:gd name="connsiteY393" fmla="*/ 569096 h 569095"/>
                    <a:gd name="connsiteX394" fmla="*/ 616731 w 752929"/>
                    <a:gd name="connsiteY394" fmla="*/ 568419 h 569095"/>
                    <a:gd name="connsiteX395" fmla="*/ 610122 w 752929"/>
                    <a:gd name="connsiteY395" fmla="*/ 560147 h 569095"/>
                    <a:gd name="connsiteX396" fmla="*/ 603227 w 752929"/>
                    <a:gd name="connsiteY396" fmla="*/ 551044 h 569095"/>
                    <a:gd name="connsiteX397" fmla="*/ 600513 w 752929"/>
                    <a:gd name="connsiteY397" fmla="*/ 548070 h 569095"/>
                    <a:gd name="connsiteX398" fmla="*/ 597881 w 752929"/>
                    <a:gd name="connsiteY398" fmla="*/ 545812 h 569095"/>
                    <a:gd name="connsiteX399" fmla="*/ 594344 w 752929"/>
                    <a:gd name="connsiteY399" fmla="*/ 541615 h 569095"/>
                    <a:gd name="connsiteX400" fmla="*/ 585061 w 752929"/>
                    <a:gd name="connsiteY400" fmla="*/ 532389 h 569095"/>
                    <a:gd name="connsiteX401" fmla="*/ 580269 w 752929"/>
                    <a:gd name="connsiteY401" fmla="*/ 528176 h 569095"/>
                    <a:gd name="connsiteX402" fmla="*/ 575762 w 752929"/>
                    <a:gd name="connsiteY402" fmla="*/ 523131 h 569095"/>
                    <a:gd name="connsiteX403" fmla="*/ 571720 w 752929"/>
                    <a:gd name="connsiteY403" fmla="*/ 520336 h 569095"/>
                    <a:gd name="connsiteX404" fmla="*/ 567727 w 752929"/>
                    <a:gd name="connsiteY404" fmla="*/ 518511 h 569095"/>
                    <a:gd name="connsiteX405" fmla="*/ 565958 w 752929"/>
                    <a:gd name="connsiteY405" fmla="*/ 517459 h 569095"/>
                    <a:gd name="connsiteX406" fmla="*/ 564402 w 752929"/>
                    <a:gd name="connsiteY406" fmla="*/ 516074 h 569095"/>
                    <a:gd name="connsiteX407" fmla="*/ 563538 w 752929"/>
                    <a:gd name="connsiteY407" fmla="*/ 515992 h 569095"/>
                    <a:gd name="connsiteX408" fmla="*/ 563106 w 752929"/>
                    <a:gd name="connsiteY408" fmla="*/ 517858 h 569095"/>
                    <a:gd name="connsiteX409" fmla="*/ 564499 w 752929"/>
                    <a:gd name="connsiteY409" fmla="*/ 518796 h 569095"/>
                    <a:gd name="connsiteX410" fmla="*/ 566170 w 752929"/>
                    <a:gd name="connsiteY410" fmla="*/ 519594 h 569095"/>
                    <a:gd name="connsiteX411" fmla="*/ 567499 w 752929"/>
                    <a:gd name="connsiteY411" fmla="*/ 519643 h 569095"/>
                    <a:gd name="connsiteX412" fmla="*/ 568892 w 752929"/>
                    <a:gd name="connsiteY412" fmla="*/ 520311 h 569095"/>
                    <a:gd name="connsiteX413" fmla="*/ 572983 w 752929"/>
                    <a:gd name="connsiteY413" fmla="*/ 522862 h 569095"/>
                    <a:gd name="connsiteX414" fmla="*/ 573652 w 752929"/>
                    <a:gd name="connsiteY414" fmla="*/ 524174 h 569095"/>
                    <a:gd name="connsiteX415" fmla="*/ 562006 w 752929"/>
                    <a:gd name="connsiteY415" fmla="*/ 519056 h 569095"/>
                    <a:gd name="connsiteX416" fmla="*/ 557279 w 752929"/>
                    <a:gd name="connsiteY416" fmla="*/ 518592 h 569095"/>
                    <a:gd name="connsiteX417" fmla="*/ 556765 w 752929"/>
                    <a:gd name="connsiteY417" fmla="*/ 517785 h 569095"/>
                    <a:gd name="connsiteX418" fmla="*/ 559121 w 752929"/>
                    <a:gd name="connsiteY418" fmla="*/ 515112 h 569095"/>
                    <a:gd name="connsiteX419" fmla="*/ 558387 w 752929"/>
                    <a:gd name="connsiteY419" fmla="*/ 514142 h 569095"/>
                    <a:gd name="connsiteX420" fmla="*/ 557540 w 752929"/>
                    <a:gd name="connsiteY420" fmla="*/ 514012 h 569095"/>
                    <a:gd name="connsiteX421" fmla="*/ 555013 w 752929"/>
                    <a:gd name="connsiteY421" fmla="*/ 515862 h 569095"/>
                    <a:gd name="connsiteX422" fmla="*/ 554068 w 752929"/>
                    <a:gd name="connsiteY422" fmla="*/ 515992 h 569095"/>
                    <a:gd name="connsiteX423" fmla="*/ 553897 w 752929"/>
                    <a:gd name="connsiteY423" fmla="*/ 514778 h 569095"/>
                    <a:gd name="connsiteX424" fmla="*/ 554011 w 752929"/>
                    <a:gd name="connsiteY424" fmla="*/ 513629 h 569095"/>
                    <a:gd name="connsiteX425" fmla="*/ 552381 w 752929"/>
                    <a:gd name="connsiteY425" fmla="*/ 511942 h 569095"/>
                    <a:gd name="connsiteX426" fmla="*/ 551338 w 752929"/>
                    <a:gd name="connsiteY426" fmla="*/ 512007 h 569095"/>
                    <a:gd name="connsiteX427" fmla="*/ 550490 w 752929"/>
                    <a:gd name="connsiteY427" fmla="*/ 513189 h 569095"/>
                    <a:gd name="connsiteX428" fmla="*/ 548281 w 752929"/>
                    <a:gd name="connsiteY428" fmla="*/ 515414 h 569095"/>
                    <a:gd name="connsiteX429" fmla="*/ 548347 w 752929"/>
                    <a:gd name="connsiteY429" fmla="*/ 516286 h 569095"/>
                    <a:gd name="connsiteX430" fmla="*/ 552682 w 752929"/>
                    <a:gd name="connsiteY430" fmla="*/ 517239 h 569095"/>
                    <a:gd name="connsiteX431" fmla="*/ 554182 w 752929"/>
                    <a:gd name="connsiteY431" fmla="*/ 517777 h 569095"/>
                    <a:gd name="connsiteX432" fmla="*/ 553839 w 752929"/>
                    <a:gd name="connsiteY432" fmla="*/ 518364 h 569095"/>
                    <a:gd name="connsiteX433" fmla="*/ 550115 w 752929"/>
                    <a:gd name="connsiteY433" fmla="*/ 518356 h 569095"/>
                    <a:gd name="connsiteX434" fmla="*/ 545527 w 752929"/>
                    <a:gd name="connsiteY434" fmla="*/ 519366 h 569095"/>
                    <a:gd name="connsiteX435" fmla="*/ 537345 w 752929"/>
                    <a:gd name="connsiteY435" fmla="*/ 525544 h 569095"/>
                    <a:gd name="connsiteX436" fmla="*/ 529724 w 752929"/>
                    <a:gd name="connsiteY436" fmla="*/ 528192 h 569095"/>
                    <a:gd name="connsiteX437" fmla="*/ 518763 w 752929"/>
                    <a:gd name="connsiteY437" fmla="*/ 534134 h 569095"/>
                    <a:gd name="connsiteX438" fmla="*/ 513922 w 752929"/>
                    <a:gd name="connsiteY438" fmla="*/ 534443 h 569095"/>
                    <a:gd name="connsiteX439" fmla="*/ 511379 w 752929"/>
                    <a:gd name="connsiteY439" fmla="*/ 535389 h 569095"/>
                    <a:gd name="connsiteX440" fmla="*/ 504012 w 752929"/>
                    <a:gd name="connsiteY440" fmla="*/ 533123 h 569095"/>
                    <a:gd name="connsiteX441" fmla="*/ 494672 w 752929"/>
                    <a:gd name="connsiteY441" fmla="*/ 527540 h 569095"/>
                    <a:gd name="connsiteX442" fmla="*/ 480533 w 752929"/>
                    <a:gd name="connsiteY442" fmla="*/ 525788 h 569095"/>
                    <a:gd name="connsiteX443" fmla="*/ 471006 w 752929"/>
                    <a:gd name="connsiteY443" fmla="*/ 518478 h 569095"/>
                    <a:gd name="connsiteX444" fmla="*/ 461544 w 752929"/>
                    <a:gd name="connsiteY444" fmla="*/ 515462 h 569095"/>
                    <a:gd name="connsiteX445" fmla="*/ 455546 w 752929"/>
                    <a:gd name="connsiteY445" fmla="*/ 508437 h 569095"/>
                    <a:gd name="connsiteX446" fmla="*/ 451935 w 752929"/>
                    <a:gd name="connsiteY446" fmla="*/ 508136 h 569095"/>
                    <a:gd name="connsiteX447" fmla="*/ 449604 w 752929"/>
                    <a:gd name="connsiteY447" fmla="*/ 507011 h 569095"/>
                    <a:gd name="connsiteX448" fmla="*/ 441015 w 752929"/>
                    <a:gd name="connsiteY448" fmla="*/ 504468 h 569095"/>
                    <a:gd name="connsiteX449" fmla="*/ 432514 w 752929"/>
                    <a:gd name="connsiteY449" fmla="*/ 502790 h 569095"/>
                    <a:gd name="connsiteX450" fmla="*/ 424234 w 752929"/>
                    <a:gd name="connsiteY450" fmla="*/ 496645 h 569095"/>
                    <a:gd name="connsiteX451" fmla="*/ 418815 w 752929"/>
                    <a:gd name="connsiteY451" fmla="*/ 494697 h 569095"/>
                    <a:gd name="connsiteX452" fmla="*/ 414129 w 752929"/>
                    <a:gd name="connsiteY452" fmla="*/ 492244 h 569095"/>
                    <a:gd name="connsiteX453" fmla="*/ 403811 w 752929"/>
                    <a:gd name="connsiteY453" fmla="*/ 488071 h 569095"/>
                    <a:gd name="connsiteX454" fmla="*/ 399989 w 752929"/>
                    <a:gd name="connsiteY454" fmla="*/ 485757 h 569095"/>
                    <a:gd name="connsiteX455" fmla="*/ 396370 w 752929"/>
                    <a:gd name="connsiteY455" fmla="*/ 482171 h 569095"/>
                    <a:gd name="connsiteX456" fmla="*/ 390470 w 752929"/>
                    <a:gd name="connsiteY456" fmla="*/ 478463 h 569095"/>
                    <a:gd name="connsiteX457" fmla="*/ 387952 w 752929"/>
                    <a:gd name="connsiteY457" fmla="*/ 475366 h 569095"/>
                    <a:gd name="connsiteX458" fmla="*/ 385140 w 752929"/>
                    <a:gd name="connsiteY458" fmla="*/ 474257 h 569095"/>
                    <a:gd name="connsiteX459" fmla="*/ 381122 w 752929"/>
                    <a:gd name="connsiteY459" fmla="*/ 468414 h 569095"/>
                    <a:gd name="connsiteX460" fmla="*/ 379028 w 752929"/>
                    <a:gd name="connsiteY460" fmla="*/ 465953 h 569095"/>
                    <a:gd name="connsiteX461" fmla="*/ 377243 w 752929"/>
                    <a:gd name="connsiteY461" fmla="*/ 464796 h 569095"/>
                    <a:gd name="connsiteX462" fmla="*/ 375344 w 752929"/>
                    <a:gd name="connsiteY462" fmla="*/ 464404 h 569095"/>
                    <a:gd name="connsiteX463" fmla="*/ 369868 w 752929"/>
                    <a:gd name="connsiteY463" fmla="*/ 464877 h 569095"/>
                    <a:gd name="connsiteX464" fmla="*/ 361677 w 752929"/>
                    <a:gd name="connsiteY464" fmla="*/ 462302 h 569095"/>
                    <a:gd name="connsiteX465" fmla="*/ 357887 w 752929"/>
                    <a:gd name="connsiteY465" fmla="*/ 461641 h 569095"/>
                    <a:gd name="connsiteX466" fmla="*/ 349982 w 752929"/>
                    <a:gd name="connsiteY466" fmla="*/ 457836 h 569095"/>
                    <a:gd name="connsiteX467" fmla="*/ 339485 w 752929"/>
                    <a:gd name="connsiteY467" fmla="*/ 453582 h 569095"/>
                    <a:gd name="connsiteX468" fmla="*/ 336046 w 752929"/>
                    <a:gd name="connsiteY468" fmla="*/ 448700 h 569095"/>
                    <a:gd name="connsiteX469" fmla="*/ 333104 w 752929"/>
                    <a:gd name="connsiteY469" fmla="*/ 444128 h 569095"/>
                    <a:gd name="connsiteX470" fmla="*/ 327807 w 752929"/>
                    <a:gd name="connsiteY470" fmla="*/ 438121 h 569095"/>
                    <a:gd name="connsiteX471" fmla="*/ 324506 w 752929"/>
                    <a:gd name="connsiteY471" fmla="*/ 435554 h 569095"/>
                    <a:gd name="connsiteX472" fmla="*/ 318769 w 752929"/>
                    <a:gd name="connsiteY472" fmla="*/ 432506 h 569095"/>
                    <a:gd name="connsiteX473" fmla="*/ 315582 w 752929"/>
                    <a:gd name="connsiteY473" fmla="*/ 430029 h 569095"/>
                    <a:gd name="connsiteX474" fmla="*/ 310676 w 752929"/>
                    <a:gd name="connsiteY474" fmla="*/ 428138 h 569095"/>
                    <a:gd name="connsiteX475" fmla="*/ 302355 w 752929"/>
                    <a:gd name="connsiteY475" fmla="*/ 423314 h 569095"/>
                    <a:gd name="connsiteX476" fmla="*/ 299706 w 752929"/>
                    <a:gd name="connsiteY476" fmla="*/ 419190 h 569095"/>
                    <a:gd name="connsiteX477" fmla="*/ 298158 w 752929"/>
                    <a:gd name="connsiteY477" fmla="*/ 415522 h 569095"/>
                    <a:gd name="connsiteX478" fmla="*/ 293725 w 752929"/>
                    <a:gd name="connsiteY478" fmla="*/ 411073 h 569095"/>
                    <a:gd name="connsiteX479" fmla="*/ 288875 w 752929"/>
                    <a:gd name="connsiteY479" fmla="*/ 402760 h 569095"/>
                    <a:gd name="connsiteX480" fmla="*/ 287629 w 752929"/>
                    <a:gd name="connsiteY480" fmla="*/ 399687 h 569095"/>
                    <a:gd name="connsiteX481" fmla="*/ 286691 w 752929"/>
                    <a:gd name="connsiteY481" fmla="*/ 394985 h 569095"/>
                    <a:gd name="connsiteX482" fmla="*/ 285559 w 752929"/>
                    <a:gd name="connsiteY482" fmla="*/ 392255 h 569095"/>
                    <a:gd name="connsiteX483" fmla="*/ 284230 w 752929"/>
                    <a:gd name="connsiteY483" fmla="*/ 390111 h 569095"/>
                    <a:gd name="connsiteX484" fmla="*/ 284907 w 752929"/>
                    <a:gd name="connsiteY484" fmla="*/ 388555 h 569095"/>
                    <a:gd name="connsiteX485" fmla="*/ 287376 w 752929"/>
                    <a:gd name="connsiteY485" fmla="*/ 386640 h 569095"/>
                    <a:gd name="connsiteX486" fmla="*/ 291483 w 752929"/>
                    <a:gd name="connsiteY486" fmla="*/ 386208 h 569095"/>
                    <a:gd name="connsiteX487" fmla="*/ 294377 w 752929"/>
                    <a:gd name="connsiteY487" fmla="*/ 384138 h 569095"/>
                    <a:gd name="connsiteX488" fmla="*/ 294760 w 752929"/>
                    <a:gd name="connsiteY488" fmla="*/ 382434 h 569095"/>
                    <a:gd name="connsiteX489" fmla="*/ 294572 w 752929"/>
                    <a:gd name="connsiteY489" fmla="*/ 381375 h 569095"/>
                    <a:gd name="connsiteX490" fmla="*/ 292722 w 752929"/>
                    <a:gd name="connsiteY490" fmla="*/ 378759 h 569095"/>
                    <a:gd name="connsiteX491" fmla="*/ 290408 w 752929"/>
                    <a:gd name="connsiteY491" fmla="*/ 378066 h 569095"/>
                    <a:gd name="connsiteX492" fmla="*/ 288615 w 752929"/>
                    <a:gd name="connsiteY492" fmla="*/ 378034 h 569095"/>
                    <a:gd name="connsiteX493" fmla="*/ 288158 w 752929"/>
                    <a:gd name="connsiteY493" fmla="*/ 377039 h 569095"/>
                    <a:gd name="connsiteX494" fmla="*/ 289503 w 752929"/>
                    <a:gd name="connsiteY494" fmla="*/ 375963 h 569095"/>
                    <a:gd name="connsiteX495" fmla="*/ 291051 w 752929"/>
                    <a:gd name="connsiteY495" fmla="*/ 373413 h 569095"/>
                    <a:gd name="connsiteX496" fmla="*/ 293333 w 752929"/>
                    <a:gd name="connsiteY496" fmla="*/ 370299 h 569095"/>
                    <a:gd name="connsiteX497" fmla="*/ 294947 w 752929"/>
                    <a:gd name="connsiteY497" fmla="*/ 367431 h 569095"/>
                    <a:gd name="connsiteX498" fmla="*/ 295249 w 752929"/>
                    <a:gd name="connsiteY498" fmla="*/ 363380 h 569095"/>
                    <a:gd name="connsiteX499" fmla="*/ 295045 w 752929"/>
                    <a:gd name="connsiteY499" fmla="*/ 359330 h 569095"/>
                    <a:gd name="connsiteX500" fmla="*/ 295656 w 752929"/>
                    <a:gd name="connsiteY500" fmla="*/ 355907 h 569095"/>
                    <a:gd name="connsiteX501" fmla="*/ 290131 w 752929"/>
                    <a:gd name="connsiteY501" fmla="*/ 351954 h 569095"/>
                    <a:gd name="connsiteX502" fmla="*/ 289487 w 752929"/>
                    <a:gd name="connsiteY502" fmla="*/ 350267 h 569095"/>
                    <a:gd name="connsiteX503" fmla="*/ 287751 w 752929"/>
                    <a:gd name="connsiteY503" fmla="*/ 345728 h 569095"/>
                    <a:gd name="connsiteX504" fmla="*/ 284727 w 752929"/>
                    <a:gd name="connsiteY504" fmla="*/ 340463 h 569095"/>
                    <a:gd name="connsiteX505" fmla="*/ 284817 w 752929"/>
                    <a:gd name="connsiteY505" fmla="*/ 329934 h 569095"/>
                    <a:gd name="connsiteX506" fmla="*/ 281190 w 752929"/>
                    <a:gd name="connsiteY506" fmla="*/ 320586 h 569095"/>
                    <a:gd name="connsiteX507" fmla="*/ 277433 w 752929"/>
                    <a:gd name="connsiteY507" fmla="*/ 315932 h 569095"/>
                    <a:gd name="connsiteX508" fmla="*/ 275494 w 752929"/>
                    <a:gd name="connsiteY508" fmla="*/ 314311 h 569095"/>
                    <a:gd name="connsiteX509" fmla="*/ 270213 w 752929"/>
                    <a:gd name="connsiteY509" fmla="*/ 307082 h 569095"/>
                    <a:gd name="connsiteX510" fmla="*/ 266056 w 752929"/>
                    <a:gd name="connsiteY510" fmla="*/ 302885 h 569095"/>
                    <a:gd name="connsiteX511" fmla="*/ 261981 w 752929"/>
                    <a:gd name="connsiteY511" fmla="*/ 294955 h 569095"/>
                    <a:gd name="connsiteX512" fmla="*/ 257963 w 752929"/>
                    <a:gd name="connsiteY512" fmla="*/ 289919 h 569095"/>
                    <a:gd name="connsiteX513" fmla="*/ 252837 w 752929"/>
                    <a:gd name="connsiteY513" fmla="*/ 281459 h 569095"/>
                    <a:gd name="connsiteX514" fmla="*/ 249129 w 752929"/>
                    <a:gd name="connsiteY514" fmla="*/ 277238 h 569095"/>
                    <a:gd name="connsiteX515" fmla="*/ 232259 w 752929"/>
                    <a:gd name="connsiteY515" fmla="*/ 262967 h 569095"/>
                    <a:gd name="connsiteX516" fmla="*/ 233205 w 752929"/>
                    <a:gd name="connsiteY516" fmla="*/ 262967 h 569095"/>
                    <a:gd name="connsiteX517" fmla="*/ 238151 w 752929"/>
                    <a:gd name="connsiteY517" fmla="*/ 266472 h 569095"/>
                    <a:gd name="connsiteX518" fmla="*/ 238983 w 752929"/>
                    <a:gd name="connsiteY518" fmla="*/ 266178 h 569095"/>
                    <a:gd name="connsiteX519" fmla="*/ 239105 w 752929"/>
                    <a:gd name="connsiteY519" fmla="*/ 264475 h 569095"/>
                    <a:gd name="connsiteX520" fmla="*/ 238535 w 752929"/>
                    <a:gd name="connsiteY520" fmla="*/ 262429 h 569095"/>
                    <a:gd name="connsiteX521" fmla="*/ 237622 w 752929"/>
                    <a:gd name="connsiteY521" fmla="*/ 261940 h 569095"/>
                    <a:gd name="connsiteX522" fmla="*/ 236301 w 752929"/>
                    <a:gd name="connsiteY522" fmla="*/ 262397 h 569095"/>
                    <a:gd name="connsiteX523" fmla="*/ 234525 w 752929"/>
                    <a:gd name="connsiteY523" fmla="*/ 261973 h 569095"/>
                    <a:gd name="connsiteX524" fmla="*/ 233637 w 752929"/>
                    <a:gd name="connsiteY524" fmla="*/ 261297 h 569095"/>
                    <a:gd name="connsiteX525" fmla="*/ 230980 w 752929"/>
                    <a:gd name="connsiteY525" fmla="*/ 260865 h 569095"/>
                    <a:gd name="connsiteX526" fmla="*/ 227646 w 752929"/>
                    <a:gd name="connsiteY526" fmla="*/ 258485 h 569095"/>
                    <a:gd name="connsiteX527" fmla="*/ 226212 w 752929"/>
                    <a:gd name="connsiteY527" fmla="*/ 256016 h 569095"/>
                    <a:gd name="connsiteX528" fmla="*/ 226057 w 752929"/>
                    <a:gd name="connsiteY528" fmla="*/ 253196 h 569095"/>
                    <a:gd name="connsiteX529" fmla="*/ 221281 w 752929"/>
                    <a:gd name="connsiteY529" fmla="*/ 247189 h 569095"/>
                    <a:gd name="connsiteX530" fmla="*/ 219464 w 752929"/>
                    <a:gd name="connsiteY530" fmla="*/ 243840 h 569095"/>
                    <a:gd name="connsiteX531" fmla="*/ 220393 w 752929"/>
                    <a:gd name="connsiteY531" fmla="*/ 244085 h 569095"/>
                    <a:gd name="connsiteX532" fmla="*/ 221665 w 752929"/>
                    <a:gd name="connsiteY532" fmla="*/ 245437 h 569095"/>
                    <a:gd name="connsiteX533" fmla="*/ 222952 w 752929"/>
                    <a:gd name="connsiteY533" fmla="*/ 245820 h 569095"/>
                    <a:gd name="connsiteX534" fmla="*/ 224452 w 752929"/>
                    <a:gd name="connsiteY534" fmla="*/ 245837 h 569095"/>
                    <a:gd name="connsiteX535" fmla="*/ 225544 w 752929"/>
                    <a:gd name="connsiteY535" fmla="*/ 245291 h 569095"/>
                    <a:gd name="connsiteX536" fmla="*/ 225153 w 752929"/>
                    <a:gd name="connsiteY536" fmla="*/ 244288 h 569095"/>
                    <a:gd name="connsiteX537" fmla="*/ 224134 w 752929"/>
                    <a:gd name="connsiteY537" fmla="*/ 243457 h 569095"/>
                    <a:gd name="connsiteX538" fmla="*/ 217166 w 752929"/>
                    <a:gd name="connsiteY538" fmla="*/ 240287 h 569095"/>
                    <a:gd name="connsiteX539" fmla="*/ 214876 w 752929"/>
                    <a:gd name="connsiteY539" fmla="*/ 238062 h 569095"/>
                    <a:gd name="connsiteX540" fmla="*/ 209163 w 752929"/>
                    <a:gd name="connsiteY540" fmla="*/ 234354 h 569095"/>
                    <a:gd name="connsiteX541" fmla="*/ 207810 w 752929"/>
                    <a:gd name="connsiteY541" fmla="*/ 233058 h 569095"/>
                    <a:gd name="connsiteX542" fmla="*/ 206905 w 752929"/>
                    <a:gd name="connsiteY542" fmla="*/ 229480 h 569095"/>
                    <a:gd name="connsiteX543" fmla="*/ 205512 w 752929"/>
                    <a:gd name="connsiteY543" fmla="*/ 229309 h 569095"/>
                    <a:gd name="connsiteX544" fmla="*/ 204281 w 752929"/>
                    <a:gd name="connsiteY544" fmla="*/ 230312 h 569095"/>
                    <a:gd name="connsiteX545" fmla="*/ 200915 w 752929"/>
                    <a:gd name="connsiteY545" fmla="*/ 231289 h 569095"/>
                    <a:gd name="connsiteX546" fmla="*/ 200051 w 752929"/>
                    <a:gd name="connsiteY546" fmla="*/ 230148 h 569095"/>
                    <a:gd name="connsiteX547" fmla="*/ 199929 w 752929"/>
                    <a:gd name="connsiteY547" fmla="*/ 229048 h 569095"/>
                    <a:gd name="connsiteX548" fmla="*/ 202301 w 752929"/>
                    <a:gd name="connsiteY548" fmla="*/ 227883 h 569095"/>
                    <a:gd name="connsiteX549" fmla="*/ 204485 w 752929"/>
                    <a:gd name="connsiteY549" fmla="*/ 224492 h 569095"/>
                    <a:gd name="connsiteX550" fmla="*/ 204444 w 752929"/>
                    <a:gd name="connsiteY550" fmla="*/ 223311 h 569095"/>
                    <a:gd name="connsiteX551" fmla="*/ 203246 w 752929"/>
                    <a:gd name="connsiteY551" fmla="*/ 224672 h 569095"/>
                    <a:gd name="connsiteX552" fmla="*/ 201429 w 752929"/>
                    <a:gd name="connsiteY552" fmla="*/ 226196 h 569095"/>
                    <a:gd name="connsiteX553" fmla="*/ 199554 w 752929"/>
                    <a:gd name="connsiteY553" fmla="*/ 227043 h 569095"/>
                    <a:gd name="connsiteX554" fmla="*/ 196767 w 752929"/>
                    <a:gd name="connsiteY554" fmla="*/ 227753 h 569095"/>
                    <a:gd name="connsiteX555" fmla="*/ 195341 w 752929"/>
                    <a:gd name="connsiteY555" fmla="*/ 227239 h 569095"/>
                    <a:gd name="connsiteX556" fmla="*/ 194094 w 752929"/>
                    <a:gd name="connsiteY556" fmla="*/ 226473 h 569095"/>
                    <a:gd name="connsiteX557" fmla="*/ 192097 w 752929"/>
                    <a:gd name="connsiteY557" fmla="*/ 223515 h 569095"/>
                    <a:gd name="connsiteX558" fmla="*/ 191087 w 752929"/>
                    <a:gd name="connsiteY558" fmla="*/ 213890 h 569095"/>
                    <a:gd name="connsiteX559" fmla="*/ 192863 w 752929"/>
                    <a:gd name="connsiteY559" fmla="*/ 210548 h 569095"/>
                    <a:gd name="connsiteX560" fmla="*/ 194934 w 752929"/>
                    <a:gd name="connsiteY560" fmla="*/ 207248 h 569095"/>
                    <a:gd name="connsiteX561" fmla="*/ 196694 w 752929"/>
                    <a:gd name="connsiteY561" fmla="*/ 205284 h 569095"/>
                    <a:gd name="connsiteX562" fmla="*/ 197712 w 752929"/>
                    <a:gd name="connsiteY562" fmla="*/ 206767 h 569095"/>
                    <a:gd name="connsiteX563" fmla="*/ 198747 w 752929"/>
                    <a:gd name="connsiteY563" fmla="*/ 206938 h 569095"/>
                    <a:gd name="connsiteX564" fmla="*/ 198014 w 752929"/>
                    <a:gd name="connsiteY564" fmla="*/ 205267 h 569095"/>
                    <a:gd name="connsiteX565" fmla="*/ 196286 w 752929"/>
                    <a:gd name="connsiteY565" fmla="*/ 203694 h 569095"/>
                    <a:gd name="connsiteX566" fmla="*/ 195675 w 752929"/>
                    <a:gd name="connsiteY566" fmla="*/ 202138 h 569095"/>
                    <a:gd name="connsiteX567" fmla="*/ 195610 w 752929"/>
                    <a:gd name="connsiteY567" fmla="*/ 200712 h 569095"/>
                    <a:gd name="connsiteX568" fmla="*/ 194787 w 752929"/>
                    <a:gd name="connsiteY568" fmla="*/ 198055 h 569095"/>
                    <a:gd name="connsiteX569" fmla="*/ 189669 w 752929"/>
                    <a:gd name="connsiteY569" fmla="*/ 192472 h 569095"/>
                    <a:gd name="connsiteX570" fmla="*/ 184877 w 752929"/>
                    <a:gd name="connsiteY570" fmla="*/ 192896 h 569095"/>
                    <a:gd name="connsiteX571" fmla="*/ 182921 w 752929"/>
                    <a:gd name="connsiteY571" fmla="*/ 192700 h 569095"/>
                    <a:gd name="connsiteX572" fmla="*/ 181095 w 752929"/>
                    <a:gd name="connsiteY572" fmla="*/ 190582 h 569095"/>
                    <a:gd name="connsiteX573" fmla="*/ 179547 w 752929"/>
                    <a:gd name="connsiteY573" fmla="*/ 186996 h 569095"/>
                    <a:gd name="connsiteX574" fmla="*/ 178789 w 752929"/>
                    <a:gd name="connsiteY574" fmla="*/ 183996 h 569095"/>
                    <a:gd name="connsiteX575" fmla="*/ 178691 w 752929"/>
                    <a:gd name="connsiteY575" fmla="*/ 182399 h 569095"/>
                    <a:gd name="connsiteX576" fmla="*/ 178235 w 752929"/>
                    <a:gd name="connsiteY576" fmla="*/ 180794 h 569095"/>
                    <a:gd name="connsiteX577" fmla="*/ 169971 w 752929"/>
                    <a:gd name="connsiteY577" fmla="*/ 178169 h 569095"/>
                    <a:gd name="connsiteX578" fmla="*/ 167485 w 752929"/>
                    <a:gd name="connsiteY578" fmla="*/ 175920 h 569095"/>
                    <a:gd name="connsiteX579" fmla="*/ 164991 w 752929"/>
                    <a:gd name="connsiteY579" fmla="*/ 173084 h 569095"/>
                    <a:gd name="connsiteX580" fmla="*/ 163965 w 752929"/>
                    <a:gd name="connsiteY580" fmla="*/ 170770 h 569095"/>
                    <a:gd name="connsiteX581" fmla="*/ 162946 w 752929"/>
                    <a:gd name="connsiteY581" fmla="*/ 169042 h 569095"/>
                    <a:gd name="connsiteX582" fmla="*/ 162147 w 752929"/>
                    <a:gd name="connsiteY582" fmla="*/ 166051 h 569095"/>
                    <a:gd name="connsiteX583" fmla="*/ 161585 w 752929"/>
                    <a:gd name="connsiteY583" fmla="*/ 162571 h 569095"/>
                    <a:gd name="connsiteX584" fmla="*/ 162506 w 752929"/>
                    <a:gd name="connsiteY584" fmla="*/ 158072 h 569095"/>
                    <a:gd name="connsiteX585" fmla="*/ 163704 w 752929"/>
                    <a:gd name="connsiteY585" fmla="*/ 155888 h 569095"/>
                    <a:gd name="connsiteX586" fmla="*/ 158023 w 752929"/>
                    <a:gd name="connsiteY586" fmla="*/ 154266 h 569095"/>
                    <a:gd name="connsiteX587" fmla="*/ 155798 w 752929"/>
                    <a:gd name="connsiteY587" fmla="*/ 154193 h 569095"/>
                    <a:gd name="connsiteX588" fmla="*/ 154006 w 752929"/>
                    <a:gd name="connsiteY588" fmla="*/ 155106 h 569095"/>
                    <a:gd name="connsiteX589" fmla="*/ 152384 w 752929"/>
                    <a:gd name="connsiteY589" fmla="*/ 153924 h 569095"/>
                    <a:gd name="connsiteX590" fmla="*/ 149026 w 752929"/>
                    <a:gd name="connsiteY590" fmla="*/ 152620 h 569095"/>
                    <a:gd name="connsiteX591" fmla="*/ 145041 w 752929"/>
                    <a:gd name="connsiteY591" fmla="*/ 147901 h 569095"/>
                    <a:gd name="connsiteX592" fmla="*/ 140346 w 752929"/>
                    <a:gd name="connsiteY592" fmla="*/ 139336 h 569095"/>
                    <a:gd name="connsiteX593" fmla="*/ 135180 w 752929"/>
                    <a:gd name="connsiteY593" fmla="*/ 136590 h 569095"/>
                    <a:gd name="connsiteX594" fmla="*/ 133509 w 752929"/>
                    <a:gd name="connsiteY594" fmla="*/ 133607 h 569095"/>
                    <a:gd name="connsiteX595" fmla="*/ 131398 w 752929"/>
                    <a:gd name="connsiteY595" fmla="*/ 130925 h 569095"/>
                    <a:gd name="connsiteX596" fmla="*/ 129548 w 752929"/>
                    <a:gd name="connsiteY596" fmla="*/ 127592 h 569095"/>
                    <a:gd name="connsiteX597" fmla="*/ 129255 w 752929"/>
                    <a:gd name="connsiteY597" fmla="*/ 126142 h 569095"/>
                    <a:gd name="connsiteX598" fmla="*/ 128709 w 752929"/>
                    <a:gd name="connsiteY598" fmla="*/ 125335 h 569095"/>
                    <a:gd name="connsiteX599" fmla="*/ 126125 w 752929"/>
                    <a:gd name="connsiteY599" fmla="*/ 123012 h 569095"/>
                    <a:gd name="connsiteX600" fmla="*/ 123232 w 752929"/>
                    <a:gd name="connsiteY600" fmla="*/ 119092 h 569095"/>
                    <a:gd name="connsiteX601" fmla="*/ 122482 w 752929"/>
                    <a:gd name="connsiteY601" fmla="*/ 115914 h 569095"/>
                    <a:gd name="connsiteX602" fmla="*/ 121700 w 752929"/>
                    <a:gd name="connsiteY602" fmla="*/ 111073 h 569095"/>
                    <a:gd name="connsiteX603" fmla="*/ 119768 w 752929"/>
                    <a:gd name="connsiteY603" fmla="*/ 109370 h 569095"/>
                    <a:gd name="connsiteX604" fmla="*/ 117861 w 752929"/>
                    <a:gd name="connsiteY604" fmla="*/ 108579 h 569095"/>
                    <a:gd name="connsiteX605" fmla="*/ 117495 w 752929"/>
                    <a:gd name="connsiteY605" fmla="*/ 106273 h 569095"/>
                    <a:gd name="connsiteX606" fmla="*/ 117609 w 752929"/>
                    <a:gd name="connsiteY606" fmla="*/ 104977 h 569095"/>
                    <a:gd name="connsiteX607" fmla="*/ 116965 w 752929"/>
                    <a:gd name="connsiteY607" fmla="*/ 102532 h 569095"/>
                    <a:gd name="connsiteX608" fmla="*/ 113037 w 752929"/>
                    <a:gd name="connsiteY608" fmla="*/ 96664 h 569095"/>
                    <a:gd name="connsiteX609" fmla="*/ 111048 w 752929"/>
                    <a:gd name="connsiteY609" fmla="*/ 91839 h 569095"/>
                    <a:gd name="connsiteX610" fmla="*/ 109956 w 752929"/>
                    <a:gd name="connsiteY610" fmla="*/ 90348 h 569095"/>
                    <a:gd name="connsiteX611" fmla="*/ 108929 w 752929"/>
                    <a:gd name="connsiteY611" fmla="*/ 88139 h 569095"/>
                    <a:gd name="connsiteX612" fmla="*/ 108416 w 752929"/>
                    <a:gd name="connsiteY612" fmla="*/ 83641 h 569095"/>
                    <a:gd name="connsiteX613" fmla="*/ 106786 w 752929"/>
                    <a:gd name="connsiteY613" fmla="*/ 78034 h 569095"/>
                    <a:gd name="connsiteX614" fmla="*/ 103632 w 752929"/>
                    <a:gd name="connsiteY614" fmla="*/ 71286 h 569095"/>
                    <a:gd name="connsiteX615" fmla="*/ 101008 w 752929"/>
                    <a:gd name="connsiteY615" fmla="*/ 66755 h 569095"/>
                    <a:gd name="connsiteX616" fmla="*/ 99696 w 752929"/>
                    <a:gd name="connsiteY616" fmla="*/ 62174 h 569095"/>
                    <a:gd name="connsiteX617" fmla="*/ 100274 w 752929"/>
                    <a:gd name="connsiteY617" fmla="*/ 57513 h 569095"/>
                    <a:gd name="connsiteX618" fmla="*/ 99826 w 752929"/>
                    <a:gd name="connsiteY618" fmla="*/ 54636 h 569095"/>
                    <a:gd name="connsiteX619" fmla="*/ 99484 w 752929"/>
                    <a:gd name="connsiteY619" fmla="*/ 53959 h 569095"/>
                    <a:gd name="connsiteX620" fmla="*/ 99745 w 752929"/>
                    <a:gd name="connsiteY620" fmla="*/ 53014 h 569095"/>
                    <a:gd name="connsiteX621" fmla="*/ 100617 w 752929"/>
                    <a:gd name="connsiteY621" fmla="*/ 53544 h 569095"/>
                    <a:gd name="connsiteX622" fmla="*/ 101358 w 752929"/>
                    <a:gd name="connsiteY622" fmla="*/ 52696 h 569095"/>
                    <a:gd name="connsiteX623" fmla="*/ 101269 w 752929"/>
                    <a:gd name="connsiteY623" fmla="*/ 49722 h 569095"/>
                    <a:gd name="connsiteX624" fmla="*/ 100356 w 752929"/>
                    <a:gd name="connsiteY624" fmla="*/ 48825 h 569095"/>
                    <a:gd name="connsiteX625" fmla="*/ 97813 w 752929"/>
                    <a:gd name="connsiteY625" fmla="*/ 47888 h 569095"/>
                    <a:gd name="connsiteX626" fmla="*/ 96688 w 752929"/>
                    <a:gd name="connsiteY626" fmla="*/ 47244 h 569095"/>
                    <a:gd name="connsiteX627" fmla="*/ 90503 w 752929"/>
                    <a:gd name="connsiteY627" fmla="*/ 46038 h 569095"/>
                    <a:gd name="connsiteX628" fmla="*/ 86966 w 752929"/>
                    <a:gd name="connsiteY628" fmla="*/ 44343 h 569095"/>
                    <a:gd name="connsiteX629" fmla="*/ 86729 w 752929"/>
                    <a:gd name="connsiteY629" fmla="*/ 40415 h 569095"/>
                    <a:gd name="connsiteX630" fmla="*/ 85067 w 752929"/>
                    <a:gd name="connsiteY630" fmla="*/ 38613 h 569095"/>
                    <a:gd name="connsiteX631" fmla="*/ 83592 w 752929"/>
                    <a:gd name="connsiteY631" fmla="*/ 37505 h 569095"/>
                    <a:gd name="connsiteX632" fmla="*/ 78922 w 752929"/>
                    <a:gd name="connsiteY632" fmla="*/ 35191 h 569095"/>
                    <a:gd name="connsiteX633" fmla="*/ 78180 w 752929"/>
                    <a:gd name="connsiteY633" fmla="*/ 36380 h 569095"/>
                    <a:gd name="connsiteX634" fmla="*/ 77561 w 752929"/>
                    <a:gd name="connsiteY634" fmla="*/ 38564 h 569095"/>
                    <a:gd name="connsiteX635" fmla="*/ 75621 w 752929"/>
                    <a:gd name="connsiteY635" fmla="*/ 39037 h 569095"/>
                    <a:gd name="connsiteX636" fmla="*/ 73926 w 752929"/>
                    <a:gd name="connsiteY636" fmla="*/ 39135 h 569095"/>
                    <a:gd name="connsiteX637" fmla="*/ 71074 w 752929"/>
                    <a:gd name="connsiteY637" fmla="*/ 37611 h 569095"/>
                    <a:gd name="connsiteX638" fmla="*/ 64016 w 752929"/>
                    <a:gd name="connsiteY638" fmla="*/ 31825 h 569095"/>
                    <a:gd name="connsiteX639" fmla="*/ 62525 w 752929"/>
                    <a:gd name="connsiteY639" fmla="*/ 30896 h 569095"/>
                    <a:gd name="connsiteX640" fmla="*/ 60324 w 752929"/>
                    <a:gd name="connsiteY640" fmla="*/ 30398 h 569095"/>
                    <a:gd name="connsiteX641" fmla="*/ 59240 w 752929"/>
                    <a:gd name="connsiteY641" fmla="*/ 29461 h 569095"/>
                    <a:gd name="connsiteX642" fmla="*/ 54473 w 752929"/>
                    <a:gd name="connsiteY642" fmla="*/ 26405 h 569095"/>
                    <a:gd name="connsiteX643" fmla="*/ 55426 w 752929"/>
                    <a:gd name="connsiteY643" fmla="*/ 28035 h 569095"/>
                    <a:gd name="connsiteX644" fmla="*/ 56804 w 752929"/>
                    <a:gd name="connsiteY644" fmla="*/ 29714 h 569095"/>
                    <a:gd name="connsiteX645" fmla="*/ 58034 w 752929"/>
                    <a:gd name="connsiteY645" fmla="*/ 34620 h 569095"/>
                    <a:gd name="connsiteX646" fmla="*/ 56584 w 752929"/>
                    <a:gd name="connsiteY646" fmla="*/ 38149 h 569095"/>
                    <a:gd name="connsiteX647" fmla="*/ 55744 w 752929"/>
                    <a:gd name="connsiteY647" fmla="*/ 50471 h 569095"/>
                    <a:gd name="connsiteX648" fmla="*/ 56665 w 752929"/>
                    <a:gd name="connsiteY648" fmla="*/ 52924 h 569095"/>
                    <a:gd name="connsiteX649" fmla="*/ 58743 w 752929"/>
                    <a:gd name="connsiteY649" fmla="*/ 56844 h 569095"/>
                    <a:gd name="connsiteX650" fmla="*/ 60169 w 752929"/>
                    <a:gd name="connsiteY650" fmla="*/ 63079 h 569095"/>
                    <a:gd name="connsiteX651" fmla="*/ 60618 w 752929"/>
                    <a:gd name="connsiteY651" fmla="*/ 67716 h 569095"/>
                    <a:gd name="connsiteX652" fmla="*/ 61914 w 752929"/>
                    <a:gd name="connsiteY652" fmla="*/ 71400 h 569095"/>
                    <a:gd name="connsiteX653" fmla="*/ 61506 w 752929"/>
                    <a:gd name="connsiteY653" fmla="*/ 80039 h 569095"/>
                    <a:gd name="connsiteX654" fmla="*/ 61995 w 752929"/>
                    <a:gd name="connsiteY654" fmla="*/ 82663 h 569095"/>
                    <a:gd name="connsiteX655" fmla="*/ 63967 w 752929"/>
                    <a:gd name="connsiteY655" fmla="*/ 86958 h 569095"/>
                    <a:gd name="connsiteX656" fmla="*/ 67618 w 752929"/>
                    <a:gd name="connsiteY656" fmla="*/ 90992 h 569095"/>
                    <a:gd name="connsiteX657" fmla="*/ 68376 w 752929"/>
                    <a:gd name="connsiteY657" fmla="*/ 93119 h 569095"/>
                    <a:gd name="connsiteX658" fmla="*/ 73176 w 752929"/>
                    <a:gd name="connsiteY658" fmla="*/ 96183 h 569095"/>
                    <a:gd name="connsiteX659" fmla="*/ 76078 w 752929"/>
                    <a:gd name="connsiteY659" fmla="*/ 100193 h 569095"/>
                    <a:gd name="connsiteX660" fmla="*/ 81856 w 752929"/>
                    <a:gd name="connsiteY660" fmla="*/ 105637 h 569095"/>
                    <a:gd name="connsiteX661" fmla="*/ 83682 w 752929"/>
                    <a:gd name="connsiteY661" fmla="*/ 107927 h 569095"/>
                    <a:gd name="connsiteX662" fmla="*/ 88897 w 752929"/>
                    <a:gd name="connsiteY662" fmla="*/ 116419 h 569095"/>
                    <a:gd name="connsiteX663" fmla="*/ 89068 w 752929"/>
                    <a:gd name="connsiteY663" fmla="*/ 118937 h 569095"/>
                    <a:gd name="connsiteX664" fmla="*/ 90030 w 752929"/>
                    <a:gd name="connsiteY664" fmla="*/ 122026 h 569095"/>
                    <a:gd name="connsiteX665" fmla="*/ 92948 w 752929"/>
                    <a:gd name="connsiteY665" fmla="*/ 121390 h 569095"/>
                    <a:gd name="connsiteX666" fmla="*/ 94268 w 752929"/>
                    <a:gd name="connsiteY666" fmla="*/ 123745 h 569095"/>
                    <a:gd name="connsiteX667" fmla="*/ 94113 w 752929"/>
                    <a:gd name="connsiteY667" fmla="*/ 124830 h 569095"/>
                    <a:gd name="connsiteX668" fmla="*/ 94464 w 752929"/>
                    <a:gd name="connsiteY668" fmla="*/ 125661 h 569095"/>
                    <a:gd name="connsiteX669" fmla="*/ 95996 w 752929"/>
                    <a:gd name="connsiteY669" fmla="*/ 125473 h 569095"/>
                    <a:gd name="connsiteX670" fmla="*/ 97316 w 752929"/>
                    <a:gd name="connsiteY670" fmla="*/ 126117 h 569095"/>
                    <a:gd name="connsiteX671" fmla="*/ 100087 w 752929"/>
                    <a:gd name="connsiteY671" fmla="*/ 135277 h 569095"/>
                    <a:gd name="connsiteX672" fmla="*/ 101578 w 752929"/>
                    <a:gd name="connsiteY672" fmla="*/ 136524 h 569095"/>
                    <a:gd name="connsiteX673" fmla="*/ 103485 w 752929"/>
                    <a:gd name="connsiteY673" fmla="*/ 137054 h 569095"/>
                    <a:gd name="connsiteX674" fmla="*/ 105612 w 752929"/>
                    <a:gd name="connsiteY674" fmla="*/ 138065 h 569095"/>
                    <a:gd name="connsiteX675" fmla="*/ 105751 w 752929"/>
                    <a:gd name="connsiteY675" fmla="*/ 140412 h 569095"/>
                    <a:gd name="connsiteX676" fmla="*/ 105669 w 752929"/>
                    <a:gd name="connsiteY676" fmla="*/ 142278 h 569095"/>
                    <a:gd name="connsiteX677" fmla="*/ 107479 w 752929"/>
                    <a:gd name="connsiteY677" fmla="*/ 144984 h 569095"/>
                    <a:gd name="connsiteX678" fmla="*/ 107169 w 752929"/>
                    <a:gd name="connsiteY678" fmla="*/ 148643 h 569095"/>
                    <a:gd name="connsiteX679" fmla="*/ 108628 w 752929"/>
                    <a:gd name="connsiteY679" fmla="*/ 151732 h 569095"/>
                    <a:gd name="connsiteX680" fmla="*/ 108408 w 752929"/>
                    <a:gd name="connsiteY680" fmla="*/ 154731 h 569095"/>
                    <a:gd name="connsiteX681" fmla="*/ 109003 w 752929"/>
                    <a:gd name="connsiteY681" fmla="*/ 157102 h 569095"/>
                    <a:gd name="connsiteX682" fmla="*/ 113509 w 752929"/>
                    <a:gd name="connsiteY682" fmla="*/ 162457 h 569095"/>
                    <a:gd name="connsiteX683" fmla="*/ 119051 w 752929"/>
                    <a:gd name="connsiteY683" fmla="*/ 166711 h 569095"/>
                    <a:gd name="connsiteX684" fmla="*/ 120209 w 752929"/>
                    <a:gd name="connsiteY684" fmla="*/ 172293 h 569095"/>
                    <a:gd name="connsiteX685" fmla="*/ 122466 w 752929"/>
                    <a:gd name="connsiteY685" fmla="*/ 177387 h 569095"/>
                    <a:gd name="connsiteX686" fmla="*/ 124781 w 752929"/>
                    <a:gd name="connsiteY686" fmla="*/ 178683 h 569095"/>
                    <a:gd name="connsiteX687" fmla="*/ 127119 w 752929"/>
                    <a:gd name="connsiteY687" fmla="*/ 180802 h 569095"/>
                    <a:gd name="connsiteX688" fmla="*/ 126834 w 752929"/>
                    <a:gd name="connsiteY688" fmla="*/ 183002 h 569095"/>
                    <a:gd name="connsiteX689" fmla="*/ 126997 w 752929"/>
                    <a:gd name="connsiteY689" fmla="*/ 184355 h 569095"/>
                    <a:gd name="connsiteX690" fmla="*/ 130119 w 752929"/>
                    <a:gd name="connsiteY690" fmla="*/ 188373 h 569095"/>
                    <a:gd name="connsiteX691" fmla="*/ 130624 w 752929"/>
                    <a:gd name="connsiteY691" fmla="*/ 193483 h 569095"/>
                    <a:gd name="connsiteX692" fmla="*/ 133321 w 752929"/>
                    <a:gd name="connsiteY692" fmla="*/ 196832 h 569095"/>
                    <a:gd name="connsiteX693" fmla="*/ 134079 w 752929"/>
                    <a:gd name="connsiteY693" fmla="*/ 197093 h 569095"/>
                    <a:gd name="connsiteX694" fmla="*/ 134674 w 752929"/>
                    <a:gd name="connsiteY694" fmla="*/ 196572 h 569095"/>
                    <a:gd name="connsiteX695" fmla="*/ 132718 w 752929"/>
                    <a:gd name="connsiteY695" fmla="*/ 193214 h 569095"/>
                    <a:gd name="connsiteX696" fmla="*/ 131765 w 752929"/>
                    <a:gd name="connsiteY696" fmla="*/ 191030 h 569095"/>
                    <a:gd name="connsiteX697" fmla="*/ 131643 w 752929"/>
                    <a:gd name="connsiteY697" fmla="*/ 187582 h 569095"/>
                    <a:gd name="connsiteX698" fmla="*/ 132303 w 752929"/>
                    <a:gd name="connsiteY698" fmla="*/ 187126 h 569095"/>
                    <a:gd name="connsiteX699" fmla="*/ 137893 w 752929"/>
                    <a:gd name="connsiteY699" fmla="*/ 192562 h 569095"/>
                    <a:gd name="connsiteX700" fmla="*/ 138480 w 752929"/>
                    <a:gd name="connsiteY700" fmla="*/ 196629 h 569095"/>
                    <a:gd name="connsiteX701" fmla="*/ 140355 w 752929"/>
                    <a:gd name="connsiteY701" fmla="*/ 198919 h 569095"/>
                    <a:gd name="connsiteX702" fmla="*/ 140493 w 752929"/>
                    <a:gd name="connsiteY702" fmla="*/ 202016 h 569095"/>
                    <a:gd name="connsiteX703" fmla="*/ 141642 w 752929"/>
                    <a:gd name="connsiteY703" fmla="*/ 203866 h 569095"/>
                    <a:gd name="connsiteX704" fmla="*/ 141985 w 752929"/>
                    <a:gd name="connsiteY704" fmla="*/ 206555 h 569095"/>
                    <a:gd name="connsiteX705" fmla="*/ 143786 w 752929"/>
                    <a:gd name="connsiteY705" fmla="*/ 210956 h 569095"/>
                    <a:gd name="connsiteX706" fmla="*/ 143826 w 752929"/>
                    <a:gd name="connsiteY706" fmla="*/ 217076 h 569095"/>
                    <a:gd name="connsiteX707" fmla="*/ 144788 w 752929"/>
                    <a:gd name="connsiteY707" fmla="*/ 221534 h 569095"/>
                    <a:gd name="connsiteX708" fmla="*/ 148309 w 752929"/>
                    <a:gd name="connsiteY708" fmla="*/ 228372 h 569095"/>
                    <a:gd name="connsiteX709" fmla="*/ 151161 w 752929"/>
                    <a:gd name="connsiteY709" fmla="*/ 229806 h 569095"/>
                    <a:gd name="connsiteX710" fmla="*/ 151675 w 752929"/>
                    <a:gd name="connsiteY710" fmla="*/ 233164 h 569095"/>
                    <a:gd name="connsiteX711" fmla="*/ 154641 w 752929"/>
                    <a:gd name="connsiteY711" fmla="*/ 241843 h 569095"/>
                    <a:gd name="connsiteX712" fmla="*/ 158072 w 752929"/>
                    <a:gd name="connsiteY712" fmla="*/ 246546 h 569095"/>
                    <a:gd name="connsiteX713" fmla="*/ 159784 w 752929"/>
                    <a:gd name="connsiteY713" fmla="*/ 250531 h 569095"/>
                    <a:gd name="connsiteX714" fmla="*/ 160020 w 752929"/>
                    <a:gd name="connsiteY714" fmla="*/ 253017 h 569095"/>
                    <a:gd name="connsiteX715" fmla="*/ 158740 w 752929"/>
                    <a:gd name="connsiteY715" fmla="*/ 256684 h 569095"/>
                    <a:gd name="connsiteX716" fmla="*/ 158602 w 752929"/>
                    <a:gd name="connsiteY716" fmla="*/ 259243 h 569095"/>
                    <a:gd name="connsiteX717" fmla="*/ 160468 w 752929"/>
                    <a:gd name="connsiteY717" fmla="*/ 267034 h 569095"/>
                    <a:gd name="connsiteX718" fmla="*/ 163255 w 752929"/>
                    <a:gd name="connsiteY718" fmla="*/ 271019 h 569095"/>
                    <a:gd name="connsiteX719" fmla="*/ 166369 w 752929"/>
                    <a:gd name="connsiteY719" fmla="*/ 271989 h 569095"/>
                    <a:gd name="connsiteX720" fmla="*/ 166906 w 752929"/>
                    <a:gd name="connsiteY720" fmla="*/ 272560 h 569095"/>
                    <a:gd name="connsiteX721" fmla="*/ 166662 w 752929"/>
                    <a:gd name="connsiteY721" fmla="*/ 273627 h 569095"/>
                    <a:gd name="connsiteX722" fmla="*/ 167705 w 752929"/>
                    <a:gd name="connsiteY722" fmla="*/ 274589 h 569095"/>
                    <a:gd name="connsiteX723" fmla="*/ 168887 w 752929"/>
                    <a:gd name="connsiteY723" fmla="*/ 273366 h 569095"/>
                    <a:gd name="connsiteX724" fmla="*/ 169457 w 752929"/>
                    <a:gd name="connsiteY724" fmla="*/ 271630 h 569095"/>
                    <a:gd name="connsiteX725" fmla="*/ 168862 w 752929"/>
                    <a:gd name="connsiteY725" fmla="*/ 269618 h 569095"/>
                    <a:gd name="connsiteX726" fmla="*/ 168765 w 752929"/>
                    <a:gd name="connsiteY726" fmla="*/ 268151 h 569095"/>
                    <a:gd name="connsiteX727" fmla="*/ 169286 w 752929"/>
                    <a:gd name="connsiteY727" fmla="*/ 267099 h 569095"/>
                    <a:gd name="connsiteX728" fmla="*/ 170297 w 752929"/>
                    <a:gd name="connsiteY728" fmla="*/ 266936 h 569095"/>
                    <a:gd name="connsiteX729" fmla="*/ 176254 w 752929"/>
                    <a:gd name="connsiteY729" fmla="*/ 272266 h 569095"/>
                    <a:gd name="connsiteX730" fmla="*/ 177257 w 752929"/>
                    <a:gd name="connsiteY730" fmla="*/ 274312 h 569095"/>
                    <a:gd name="connsiteX731" fmla="*/ 179473 w 752929"/>
                    <a:gd name="connsiteY731" fmla="*/ 276700 h 569095"/>
                    <a:gd name="connsiteX732" fmla="*/ 181503 w 752929"/>
                    <a:gd name="connsiteY732" fmla="*/ 279642 h 569095"/>
                    <a:gd name="connsiteX733" fmla="*/ 182383 w 752929"/>
                    <a:gd name="connsiteY733" fmla="*/ 281964 h 569095"/>
                    <a:gd name="connsiteX734" fmla="*/ 184005 w 752929"/>
                    <a:gd name="connsiteY734" fmla="*/ 283871 h 569095"/>
                    <a:gd name="connsiteX735" fmla="*/ 184852 w 752929"/>
                    <a:gd name="connsiteY735" fmla="*/ 288313 h 569095"/>
                    <a:gd name="connsiteX736" fmla="*/ 188992 w 752929"/>
                    <a:gd name="connsiteY736" fmla="*/ 290302 h 569095"/>
                    <a:gd name="connsiteX737" fmla="*/ 191193 w 752929"/>
                    <a:gd name="connsiteY737" fmla="*/ 293985 h 569095"/>
                    <a:gd name="connsiteX738" fmla="*/ 191348 w 752929"/>
                    <a:gd name="connsiteY738" fmla="*/ 296308 h 569095"/>
                    <a:gd name="connsiteX739" fmla="*/ 190280 w 752929"/>
                    <a:gd name="connsiteY739" fmla="*/ 302265 h 569095"/>
                    <a:gd name="connsiteX740" fmla="*/ 189343 w 752929"/>
                    <a:gd name="connsiteY740" fmla="*/ 303977 h 569095"/>
                    <a:gd name="connsiteX741" fmla="*/ 185993 w 752929"/>
                    <a:gd name="connsiteY741" fmla="*/ 306512 h 569095"/>
                    <a:gd name="connsiteX742" fmla="*/ 183573 w 752929"/>
                    <a:gd name="connsiteY742" fmla="*/ 309535 h 569095"/>
                    <a:gd name="connsiteX743" fmla="*/ 181217 w 752929"/>
                    <a:gd name="connsiteY743" fmla="*/ 311401 h 569095"/>
                    <a:gd name="connsiteX744" fmla="*/ 178724 w 752929"/>
                    <a:gd name="connsiteY744" fmla="*/ 312526 h 569095"/>
                    <a:gd name="connsiteX745" fmla="*/ 176678 w 752929"/>
                    <a:gd name="connsiteY745" fmla="*/ 312273 h 569095"/>
                    <a:gd name="connsiteX746" fmla="*/ 174698 w 752929"/>
                    <a:gd name="connsiteY746" fmla="*/ 308801 h 569095"/>
                    <a:gd name="connsiteX747" fmla="*/ 172351 w 752929"/>
                    <a:gd name="connsiteY747" fmla="*/ 298321 h 569095"/>
                    <a:gd name="connsiteX748" fmla="*/ 170778 w 752929"/>
                    <a:gd name="connsiteY748" fmla="*/ 296112 h 569095"/>
                    <a:gd name="connsiteX749" fmla="*/ 169669 w 752929"/>
                    <a:gd name="connsiteY749" fmla="*/ 292820 h 569095"/>
                    <a:gd name="connsiteX750" fmla="*/ 167836 w 752929"/>
                    <a:gd name="connsiteY750" fmla="*/ 290090 h 569095"/>
                    <a:gd name="connsiteX751" fmla="*/ 161210 w 752929"/>
                    <a:gd name="connsiteY751" fmla="*/ 285958 h 569095"/>
                    <a:gd name="connsiteX752" fmla="*/ 157860 w 752929"/>
                    <a:gd name="connsiteY752" fmla="*/ 281590 h 569095"/>
                    <a:gd name="connsiteX753" fmla="*/ 154625 w 752929"/>
                    <a:gd name="connsiteY753" fmla="*/ 278672 h 569095"/>
                    <a:gd name="connsiteX754" fmla="*/ 151137 w 752929"/>
                    <a:gd name="connsiteY754" fmla="*/ 274442 h 569095"/>
                    <a:gd name="connsiteX755" fmla="*/ 141626 w 752929"/>
                    <a:gd name="connsiteY755" fmla="*/ 267442 h 569095"/>
                    <a:gd name="connsiteX756" fmla="*/ 137690 w 752929"/>
                    <a:gd name="connsiteY756" fmla="*/ 263872 h 569095"/>
                    <a:gd name="connsiteX757" fmla="*/ 135090 w 752929"/>
                    <a:gd name="connsiteY757" fmla="*/ 260335 h 569095"/>
                    <a:gd name="connsiteX758" fmla="*/ 133411 w 752929"/>
                    <a:gd name="connsiteY758" fmla="*/ 260384 h 569095"/>
                    <a:gd name="connsiteX759" fmla="*/ 132124 w 752929"/>
                    <a:gd name="connsiteY759" fmla="*/ 260751 h 569095"/>
                    <a:gd name="connsiteX760" fmla="*/ 131634 w 752929"/>
                    <a:gd name="connsiteY760" fmla="*/ 259781 h 569095"/>
                    <a:gd name="connsiteX761" fmla="*/ 131561 w 752929"/>
                    <a:gd name="connsiteY761" fmla="*/ 257947 h 569095"/>
                    <a:gd name="connsiteX762" fmla="*/ 130983 w 752929"/>
                    <a:gd name="connsiteY762" fmla="*/ 256749 h 569095"/>
                    <a:gd name="connsiteX763" fmla="*/ 125424 w 752929"/>
                    <a:gd name="connsiteY763" fmla="*/ 251419 h 569095"/>
                    <a:gd name="connsiteX764" fmla="*/ 124267 w 752929"/>
                    <a:gd name="connsiteY764" fmla="*/ 248469 h 569095"/>
                    <a:gd name="connsiteX765" fmla="*/ 124031 w 752929"/>
                    <a:gd name="connsiteY765" fmla="*/ 245046 h 569095"/>
                    <a:gd name="connsiteX766" fmla="*/ 125278 w 752929"/>
                    <a:gd name="connsiteY766" fmla="*/ 236220 h 569095"/>
                    <a:gd name="connsiteX767" fmla="*/ 125832 w 752929"/>
                    <a:gd name="connsiteY767" fmla="*/ 231045 h 569095"/>
                    <a:gd name="connsiteX768" fmla="*/ 125490 w 752929"/>
                    <a:gd name="connsiteY768" fmla="*/ 228380 h 569095"/>
                    <a:gd name="connsiteX769" fmla="*/ 124903 w 752929"/>
                    <a:gd name="connsiteY769" fmla="*/ 228021 h 569095"/>
                    <a:gd name="connsiteX770" fmla="*/ 124373 w 752929"/>
                    <a:gd name="connsiteY770" fmla="*/ 226579 h 569095"/>
                    <a:gd name="connsiteX771" fmla="*/ 124243 w 752929"/>
                    <a:gd name="connsiteY771" fmla="*/ 222316 h 569095"/>
                    <a:gd name="connsiteX772" fmla="*/ 122898 w 752929"/>
                    <a:gd name="connsiteY772" fmla="*/ 217679 h 569095"/>
                    <a:gd name="connsiteX773" fmla="*/ 117853 w 752929"/>
                    <a:gd name="connsiteY773" fmla="*/ 208177 h 569095"/>
                    <a:gd name="connsiteX774" fmla="*/ 114161 w 752929"/>
                    <a:gd name="connsiteY774" fmla="*/ 206302 h 569095"/>
                    <a:gd name="connsiteX775" fmla="*/ 110877 w 752929"/>
                    <a:gd name="connsiteY775" fmla="*/ 204933 h 569095"/>
                    <a:gd name="connsiteX776" fmla="*/ 101888 w 752929"/>
                    <a:gd name="connsiteY776" fmla="*/ 196515 h 569095"/>
                    <a:gd name="connsiteX777" fmla="*/ 99451 w 752929"/>
                    <a:gd name="connsiteY777" fmla="*/ 192301 h 569095"/>
                    <a:gd name="connsiteX778" fmla="*/ 98856 w 752929"/>
                    <a:gd name="connsiteY778" fmla="*/ 189905 h 569095"/>
                    <a:gd name="connsiteX779" fmla="*/ 98547 w 752929"/>
                    <a:gd name="connsiteY779" fmla="*/ 185032 h 569095"/>
                    <a:gd name="connsiteX780" fmla="*/ 97308 w 752929"/>
                    <a:gd name="connsiteY780" fmla="*/ 187851 h 569095"/>
                    <a:gd name="connsiteX781" fmla="*/ 95661 w 752929"/>
                    <a:gd name="connsiteY781" fmla="*/ 189938 h 569095"/>
                    <a:gd name="connsiteX782" fmla="*/ 91848 w 752929"/>
                    <a:gd name="connsiteY782" fmla="*/ 189791 h 569095"/>
                    <a:gd name="connsiteX783" fmla="*/ 87561 w 752929"/>
                    <a:gd name="connsiteY783" fmla="*/ 192154 h 569095"/>
                    <a:gd name="connsiteX784" fmla="*/ 85018 w 752929"/>
                    <a:gd name="connsiteY784" fmla="*/ 189938 h 569095"/>
                    <a:gd name="connsiteX785" fmla="*/ 83649 w 752929"/>
                    <a:gd name="connsiteY785" fmla="*/ 187419 h 569095"/>
                    <a:gd name="connsiteX786" fmla="*/ 81554 w 752929"/>
                    <a:gd name="connsiteY786" fmla="*/ 184388 h 569095"/>
                    <a:gd name="connsiteX787" fmla="*/ 79199 w 752929"/>
                    <a:gd name="connsiteY787" fmla="*/ 183793 h 569095"/>
                    <a:gd name="connsiteX788" fmla="*/ 77700 w 752929"/>
                    <a:gd name="connsiteY788" fmla="*/ 183719 h 569095"/>
                    <a:gd name="connsiteX789" fmla="*/ 74880 w 752929"/>
                    <a:gd name="connsiteY789" fmla="*/ 179979 h 569095"/>
                    <a:gd name="connsiteX790" fmla="*/ 72606 w 752929"/>
                    <a:gd name="connsiteY790" fmla="*/ 178789 h 569095"/>
                    <a:gd name="connsiteX791" fmla="*/ 69346 w 752929"/>
                    <a:gd name="connsiteY791" fmla="*/ 178332 h 569095"/>
                    <a:gd name="connsiteX792" fmla="*/ 66575 w 752929"/>
                    <a:gd name="connsiteY792" fmla="*/ 176425 h 569095"/>
                    <a:gd name="connsiteX793" fmla="*/ 65728 w 752929"/>
                    <a:gd name="connsiteY793" fmla="*/ 174355 h 569095"/>
                    <a:gd name="connsiteX794" fmla="*/ 65263 w 752929"/>
                    <a:gd name="connsiteY794" fmla="*/ 171421 h 569095"/>
                    <a:gd name="connsiteX795" fmla="*/ 64228 w 752929"/>
                    <a:gd name="connsiteY795" fmla="*/ 169677 h 569095"/>
                    <a:gd name="connsiteX796" fmla="*/ 59868 w 752929"/>
                    <a:gd name="connsiteY796" fmla="*/ 166238 h 569095"/>
                    <a:gd name="connsiteX797" fmla="*/ 56315 w 752929"/>
                    <a:gd name="connsiteY797" fmla="*/ 162441 h 569095"/>
                    <a:gd name="connsiteX798" fmla="*/ 52973 w 752929"/>
                    <a:gd name="connsiteY798" fmla="*/ 159995 h 569095"/>
                    <a:gd name="connsiteX799" fmla="*/ 51987 w 752929"/>
                    <a:gd name="connsiteY799" fmla="*/ 157999 h 569095"/>
                    <a:gd name="connsiteX800" fmla="*/ 51906 w 752929"/>
                    <a:gd name="connsiteY800" fmla="*/ 156630 h 569095"/>
                    <a:gd name="connsiteX801" fmla="*/ 57178 w 752929"/>
                    <a:gd name="connsiteY801" fmla="*/ 157013 h 569095"/>
                    <a:gd name="connsiteX802" fmla="*/ 63462 w 752929"/>
                    <a:gd name="connsiteY802" fmla="*/ 158472 h 569095"/>
                    <a:gd name="connsiteX803" fmla="*/ 66477 w 752929"/>
                    <a:gd name="connsiteY803" fmla="*/ 158064 h 569095"/>
                    <a:gd name="connsiteX804" fmla="*/ 68352 w 752929"/>
                    <a:gd name="connsiteY804" fmla="*/ 156654 h 569095"/>
                    <a:gd name="connsiteX805" fmla="*/ 70145 w 752929"/>
                    <a:gd name="connsiteY805" fmla="*/ 155636 h 569095"/>
                    <a:gd name="connsiteX806" fmla="*/ 70430 w 752929"/>
                    <a:gd name="connsiteY806" fmla="*/ 156727 h 569095"/>
                    <a:gd name="connsiteX807" fmla="*/ 70104 w 752929"/>
                    <a:gd name="connsiteY807" fmla="*/ 158724 h 569095"/>
                    <a:gd name="connsiteX808" fmla="*/ 71832 w 752929"/>
                    <a:gd name="connsiteY808" fmla="*/ 160558 h 569095"/>
                    <a:gd name="connsiteX809" fmla="*/ 74195 w 752929"/>
                    <a:gd name="connsiteY809" fmla="*/ 162033 h 569095"/>
                    <a:gd name="connsiteX810" fmla="*/ 75882 w 752929"/>
                    <a:gd name="connsiteY810" fmla="*/ 161903 h 569095"/>
                    <a:gd name="connsiteX811" fmla="*/ 74244 w 752929"/>
                    <a:gd name="connsiteY811" fmla="*/ 160281 h 569095"/>
                    <a:gd name="connsiteX812" fmla="*/ 73242 w 752929"/>
                    <a:gd name="connsiteY812" fmla="*/ 156980 h 569095"/>
                    <a:gd name="connsiteX813" fmla="*/ 73690 w 752929"/>
                    <a:gd name="connsiteY813" fmla="*/ 155790 h 569095"/>
                    <a:gd name="connsiteX814" fmla="*/ 73657 w 752929"/>
                    <a:gd name="connsiteY814" fmla="*/ 154144 h 569095"/>
                    <a:gd name="connsiteX815" fmla="*/ 71326 w 752929"/>
                    <a:gd name="connsiteY815" fmla="*/ 154511 h 569095"/>
                    <a:gd name="connsiteX816" fmla="*/ 70992 w 752929"/>
                    <a:gd name="connsiteY816" fmla="*/ 153663 h 569095"/>
                    <a:gd name="connsiteX817" fmla="*/ 72997 w 752929"/>
                    <a:gd name="connsiteY817" fmla="*/ 151161 h 569095"/>
                    <a:gd name="connsiteX818" fmla="*/ 75295 w 752929"/>
                    <a:gd name="connsiteY818" fmla="*/ 144544 h 569095"/>
                    <a:gd name="connsiteX819" fmla="*/ 76387 w 752929"/>
                    <a:gd name="connsiteY819" fmla="*/ 138024 h 569095"/>
                    <a:gd name="connsiteX820" fmla="*/ 73983 w 752929"/>
                    <a:gd name="connsiteY820" fmla="*/ 132303 h 569095"/>
                    <a:gd name="connsiteX821" fmla="*/ 69925 w 752929"/>
                    <a:gd name="connsiteY821" fmla="*/ 128334 h 569095"/>
                    <a:gd name="connsiteX822" fmla="*/ 61115 w 752929"/>
                    <a:gd name="connsiteY822" fmla="*/ 116688 h 569095"/>
                    <a:gd name="connsiteX823" fmla="*/ 55866 w 752929"/>
                    <a:gd name="connsiteY823" fmla="*/ 110706 h 569095"/>
                    <a:gd name="connsiteX824" fmla="*/ 54342 w 752929"/>
                    <a:gd name="connsiteY824" fmla="*/ 108473 h 569095"/>
                    <a:gd name="connsiteX825" fmla="*/ 52949 w 752929"/>
                    <a:gd name="connsiteY825" fmla="*/ 107422 h 569095"/>
                    <a:gd name="connsiteX826" fmla="*/ 48662 w 752929"/>
                    <a:gd name="connsiteY826" fmla="*/ 106052 h 569095"/>
                    <a:gd name="connsiteX827" fmla="*/ 45068 w 752929"/>
                    <a:gd name="connsiteY827" fmla="*/ 102703 h 569095"/>
                    <a:gd name="connsiteX828" fmla="*/ 38768 w 752929"/>
                    <a:gd name="connsiteY828" fmla="*/ 97960 h 569095"/>
                    <a:gd name="connsiteX829" fmla="*/ 36079 w 752929"/>
                    <a:gd name="connsiteY829" fmla="*/ 95507 h 569095"/>
                    <a:gd name="connsiteX830" fmla="*/ 34221 w 752929"/>
                    <a:gd name="connsiteY830" fmla="*/ 89753 h 569095"/>
                    <a:gd name="connsiteX831" fmla="*/ 32746 w 752929"/>
                    <a:gd name="connsiteY831" fmla="*/ 88971 h 569095"/>
                    <a:gd name="connsiteX832" fmla="*/ 33210 w 752929"/>
                    <a:gd name="connsiteY832" fmla="*/ 84994 h 569095"/>
                    <a:gd name="connsiteX833" fmla="*/ 32558 w 752929"/>
                    <a:gd name="connsiteY833" fmla="*/ 77952 h 569095"/>
                    <a:gd name="connsiteX834" fmla="*/ 31507 w 752929"/>
                    <a:gd name="connsiteY834" fmla="*/ 76143 h 569095"/>
                    <a:gd name="connsiteX835" fmla="*/ 28092 w 752929"/>
                    <a:gd name="connsiteY835" fmla="*/ 74391 h 569095"/>
                    <a:gd name="connsiteX836" fmla="*/ 27277 w 752929"/>
                    <a:gd name="connsiteY836" fmla="*/ 69599 h 569095"/>
                    <a:gd name="connsiteX837" fmla="*/ 27106 w 752929"/>
                    <a:gd name="connsiteY837" fmla="*/ 65027 h 569095"/>
                    <a:gd name="connsiteX838" fmla="*/ 26438 w 752929"/>
                    <a:gd name="connsiteY838" fmla="*/ 61848 h 569095"/>
                    <a:gd name="connsiteX839" fmla="*/ 20635 w 752929"/>
                    <a:gd name="connsiteY839" fmla="*/ 56486 h 569095"/>
                    <a:gd name="connsiteX840" fmla="*/ 20301 w 752929"/>
                    <a:gd name="connsiteY840" fmla="*/ 53886 h 569095"/>
                    <a:gd name="connsiteX841" fmla="*/ 20301 w 752929"/>
                    <a:gd name="connsiteY841" fmla="*/ 51425 h 569095"/>
                    <a:gd name="connsiteX842" fmla="*/ 19714 w 752929"/>
                    <a:gd name="connsiteY842" fmla="*/ 48988 h 569095"/>
                    <a:gd name="connsiteX843" fmla="*/ 16609 w 752929"/>
                    <a:gd name="connsiteY843" fmla="*/ 43878 h 569095"/>
                    <a:gd name="connsiteX844" fmla="*/ 12868 w 752929"/>
                    <a:gd name="connsiteY844" fmla="*/ 39412 h 569095"/>
                    <a:gd name="connsiteX845" fmla="*/ 11565 w 752929"/>
                    <a:gd name="connsiteY845" fmla="*/ 37285 h 569095"/>
                    <a:gd name="connsiteX846" fmla="*/ 11410 w 752929"/>
                    <a:gd name="connsiteY846" fmla="*/ 32958 h 569095"/>
                    <a:gd name="connsiteX847" fmla="*/ 10073 w 752929"/>
                    <a:gd name="connsiteY847" fmla="*/ 31792 h 569095"/>
                    <a:gd name="connsiteX848" fmla="*/ 10578 w 752929"/>
                    <a:gd name="connsiteY848" fmla="*/ 31499 h 569095"/>
                    <a:gd name="connsiteX849" fmla="*/ 11809 w 752929"/>
                    <a:gd name="connsiteY849" fmla="*/ 31605 h 569095"/>
                    <a:gd name="connsiteX850" fmla="*/ 12510 w 752929"/>
                    <a:gd name="connsiteY850" fmla="*/ 31034 h 569095"/>
                    <a:gd name="connsiteX851" fmla="*/ 12583 w 752929"/>
                    <a:gd name="connsiteY851" fmla="*/ 28019 h 569095"/>
                    <a:gd name="connsiteX852" fmla="*/ 6952 w 752929"/>
                    <a:gd name="connsiteY852" fmla="*/ 23276 h 569095"/>
                    <a:gd name="connsiteX853" fmla="*/ 5330 w 752929"/>
                    <a:gd name="connsiteY853" fmla="*/ 16756 h 569095"/>
                    <a:gd name="connsiteX854" fmla="*/ 2323 w 752929"/>
                    <a:gd name="connsiteY854" fmla="*/ 13308 h 569095"/>
                    <a:gd name="connsiteX855" fmla="*/ 1622 w 752929"/>
                    <a:gd name="connsiteY855" fmla="*/ 12053 h 569095"/>
                    <a:gd name="connsiteX856" fmla="*/ 0 w 752929"/>
                    <a:gd name="connsiteY856" fmla="*/ 5892 h 569095"/>
                    <a:gd name="connsiteX857" fmla="*/ 7098 w 752929"/>
                    <a:gd name="connsiteY857" fmla="*/ 5200 h 569095"/>
                    <a:gd name="connsiteX858" fmla="*/ 14197 w 752929"/>
                    <a:gd name="connsiteY858" fmla="*/ 4507 h 569095"/>
                    <a:gd name="connsiteX859" fmla="*/ 21295 w 752929"/>
                    <a:gd name="connsiteY859" fmla="*/ 3814 h 569095"/>
                    <a:gd name="connsiteX860" fmla="*/ 28394 w 752929"/>
                    <a:gd name="connsiteY860" fmla="*/ 3121 h 569095"/>
                    <a:gd name="connsiteX861" fmla="*/ 35492 w 752929"/>
                    <a:gd name="connsiteY861" fmla="*/ 2420 h 569095"/>
                    <a:gd name="connsiteX862" fmla="*/ 42590 w 752929"/>
                    <a:gd name="connsiteY862" fmla="*/ 1728 h 569095"/>
                    <a:gd name="connsiteX863" fmla="*/ 49689 w 752929"/>
                    <a:gd name="connsiteY863" fmla="*/ 1035 h 569095"/>
                    <a:gd name="connsiteX864" fmla="*/ 56787 w 752929"/>
                    <a:gd name="connsiteY864" fmla="*/ 342 h 569095"/>
                    <a:gd name="connsiteX865" fmla="*/ 59623 w 752929"/>
                    <a:gd name="connsiteY865" fmla="*/ 0 h 569095"/>
                    <a:gd name="connsiteX866" fmla="*/ 58059 w 752929"/>
                    <a:gd name="connsiteY866" fmla="*/ 4890 h 569095"/>
                    <a:gd name="connsiteX867" fmla="*/ 56869 w 752929"/>
                    <a:gd name="connsiteY867" fmla="*/ 6732 h 569095"/>
                    <a:gd name="connsiteX868" fmla="*/ 68629 w 752929"/>
                    <a:gd name="connsiteY868" fmla="*/ 11532 h 569095"/>
                    <a:gd name="connsiteX869" fmla="*/ 80389 w 752929"/>
                    <a:gd name="connsiteY869" fmla="*/ 16332 h 569095"/>
                    <a:gd name="connsiteX870" fmla="*/ 92149 w 752929"/>
                    <a:gd name="connsiteY870" fmla="*/ 21124 h 569095"/>
                    <a:gd name="connsiteX871" fmla="*/ 103901 w 752929"/>
                    <a:gd name="connsiteY871" fmla="*/ 25924 h 569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Lst>
                  <a:rect l="l" t="t" r="r" b="b"/>
                  <a:pathLst>
                    <a:path w="752929" h="569095">
                      <a:moveTo>
                        <a:pt x="103901" y="25924"/>
                      </a:moveTo>
                      <a:lnTo>
                        <a:pt x="115661" y="30708"/>
                      </a:lnTo>
                      <a:lnTo>
                        <a:pt x="127421" y="35500"/>
                      </a:lnTo>
                      <a:lnTo>
                        <a:pt x="139189" y="40284"/>
                      </a:lnTo>
                      <a:lnTo>
                        <a:pt x="150949" y="45060"/>
                      </a:lnTo>
                      <a:lnTo>
                        <a:pt x="159718" y="45044"/>
                      </a:lnTo>
                      <a:lnTo>
                        <a:pt x="168479" y="45019"/>
                      </a:lnTo>
                      <a:lnTo>
                        <a:pt x="177248" y="44995"/>
                      </a:lnTo>
                      <a:lnTo>
                        <a:pt x="186010" y="44978"/>
                      </a:lnTo>
                      <a:lnTo>
                        <a:pt x="194779" y="44954"/>
                      </a:lnTo>
                      <a:lnTo>
                        <a:pt x="203548" y="44929"/>
                      </a:lnTo>
                      <a:lnTo>
                        <a:pt x="212317" y="44913"/>
                      </a:lnTo>
                      <a:lnTo>
                        <a:pt x="221086" y="44897"/>
                      </a:lnTo>
                      <a:lnTo>
                        <a:pt x="221094" y="41262"/>
                      </a:lnTo>
                      <a:lnTo>
                        <a:pt x="221110" y="37627"/>
                      </a:lnTo>
                      <a:lnTo>
                        <a:pt x="221127" y="33993"/>
                      </a:lnTo>
                      <a:lnTo>
                        <a:pt x="221143" y="30350"/>
                      </a:lnTo>
                      <a:lnTo>
                        <a:pt x="226587" y="30390"/>
                      </a:lnTo>
                      <a:lnTo>
                        <a:pt x="232039" y="30423"/>
                      </a:lnTo>
                      <a:lnTo>
                        <a:pt x="237491" y="30464"/>
                      </a:lnTo>
                      <a:lnTo>
                        <a:pt x="242944" y="30496"/>
                      </a:lnTo>
                      <a:lnTo>
                        <a:pt x="248396" y="30537"/>
                      </a:lnTo>
                      <a:lnTo>
                        <a:pt x="253848" y="30570"/>
                      </a:lnTo>
                      <a:lnTo>
                        <a:pt x="259300" y="30602"/>
                      </a:lnTo>
                      <a:lnTo>
                        <a:pt x="264752" y="30635"/>
                      </a:lnTo>
                      <a:lnTo>
                        <a:pt x="264948" y="30692"/>
                      </a:lnTo>
                      <a:lnTo>
                        <a:pt x="265176" y="30822"/>
                      </a:lnTo>
                      <a:lnTo>
                        <a:pt x="267385" y="33585"/>
                      </a:lnTo>
                      <a:lnTo>
                        <a:pt x="269642" y="37929"/>
                      </a:lnTo>
                      <a:lnTo>
                        <a:pt x="272315" y="40961"/>
                      </a:lnTo>
                      <a:lnTo>
                        <a:pt x="275388" y="42680"/>
                      </a:lnTo>
                      <a:lnTo>
                        <a:pt x="280628" y="47741"/>
                      </a:lnTo>
                      <a:lnTo>
                        <a:pt x="288036" y="56135"/>
                      </a:lnTo>
                      <a:lnTo>
                        <a:pt x="293945" y="61726"/>
                      </a:lnTo>
                      <a:lnTo>
                        <a:pt x="298354" y="64521"/>
                      </a:lnTo>
                      <a:lnTo>
                        <a:pt x="301312" y="66926"/>
                      </a:lnTo>
                      <a:lnTo>
                        <a:pt x="302828" y="68931"/>
                      </a:lnTo>
                      <a:lnTo>
                        <a:pt x="304857" y="73299"/>
                      </a:lnTo>
                      <a:lnTo>
                        <a:pt x="308696" y="83364"/>
                      </a:lnTo>
                      <a:lnTo>
                        <a:pt x="308696" y="87976"/>
                      </a:lnTo>
                      <a:lnTo>
                        <a:pt x="310163" y="92353"/>
                      </a:lnTo>
                      <a:lnTo>
                        <a:pt x="313096" y="98017"/>
                      </a:lnTo>
                      <a:lnTo>
                        <a:pt x="315655" y="101342"/>
                      </a:lnTo>
                      <a:lnTo>
                        <a:pt x="317848" y="102344"/>
                      </a:lnTo>
                      <a:lnTo>
                        <a:pt x="320244" y="104349"/>
                      </a:lnTo>
                      <a:lnTo>
                        <a:pt x="322844" y="107348"/>
                      </a:lnTo>
                      <a:lnTo>
                        <a:pt x="325843" y="109361"/>
                      </a:lnTo>
                      <a:lnTo>
                        <a:pt x="329241" y="110388"/>
                      </a:lnTo>
                      <a:lnTo>
                        <a:pt x="333927" y="113078"/>
                      </a:lnTo>
                      <a:lnTo>
                        <a:pt x="339901" y="117429"/>
                      </a:lnTo>
                      <a:lnTo>
                        <a:pt x="344000" y="119654"/>
                      </a:lnTo>
                      <a:lnTo>
                        <a:pt x="346217" y="119744"/>
                      </a:lnTo>
                      <a:lnTo>
                        <a:pt x="348157" y="118350"/>
                      </a:lnTo>
                      <a:lnTo>
                        <a:pt x="349819" y="115457"/>
                      </a:lnTo>
                      <a:lnTo>
                        <a:pt x="351457" y="113599"/>
                      </a:lnTo>
                      <a:lnTo>
                        <a:pt x="353063" y="112760"/>
                      </a:lnTo>
                      <a:lnTo>
                        <a:pt x="353715" y="111431"/>
                      </a:lnTo>
                      <a:lnTo>
                        <a:pt x="353413" y="109598"/>
                      </a:lnTo>
                      <a:lnTo>
                        <a:pt x="354505" y="105482"/>
                      </a:lnTo>
                      <a:lnTo>
                        <a:pt x="356983" y="99076"/>
                      </a:lnTo>
                      <a:lnTo>
                        <a:pt x="359941" y="95604"/>
                      </a:lnTo>
                      <a:lnTo>
                        <a:pt x="363380" y="95067"/>
                      </a:lnTo>
                      <a:lnTo>
                        <a:pt x="365621" y="93860"/>
                      </a:lnTo>
                      <a:lnTo>
                        <a:pt x="366681" y="91994"/>
                      </a:lnTo>
                      <a:lnTo>
                        <a:pt x="368523" y="91799"/>
                      </a:lnTo>
                      <a:lnTo>
                        <a:pt x="371147" y="93274"/>
                      </a:lnTo>
                      <a:lnTo>
                        <a:pt x="375417" y="94219"/>
                      </a:lnTo>
                      <a:lnTo>
                        <a:pt x="381334" y="94651"/>
                      </a:lnTo>
                      <a:lnTo>
                        <a:pt x="384822" y="94496"/>
                      </a:lnTo>
                      <a:lnTo>
                        <a:pt x="385882" y="93787"/>
                      </a:lnTo>
                      <a:lnTo>
                        <a:pt x="386436" y="93828"/>
                      </a:lnTo>
                      <a:lnTo>
                        <a:pt x="386477" y="94610"/>
                      </a:lnTo>
                      <a:lnTo>
                        <a:pt x="387349" y="94953"/>
                      </a:lnTo>
                      <a:lnTo>
                        <a:pt x="389060" y="94838"/>
                      </a:lnTo>
                      <a:lnTo>
                        <a:pt x="390551" y="95930"/>
                      </a:lnTo>
                      <a:lnTo>
                        <a:pt x="392459" y="99410"/>
                      </a:lnTo>
                      <a:lnTo>
                        <a:pt x="399019" y="104969"/>
                      </a:lnTo>
                      <a:lnTo>
                        <a:pt x="399027" y="104969"/>
                      </a:lnTo>
                      <a:lnTo>
                        <a:pt x="399581" y="106884"/>
                      </a:lnTo>
                      <a:lnTo>
                        <a:pt x="401863" y="109630"/>
                      </a:lnTo>
                      <a:lnTo>
                        <a:pt x="406069" y="113860"/>
                      </a:lnTo>
                      <a:lnTo>
                        <a:pt x="408448" y="117503"/>
                      </a:lnTo>
                      <a:lnTo>
                        <a:pt x="409003" y="120559"/>
                      </a:lnTo>
                      <a:lnTo>
                        <a:pt x="411146" y="125392"/>
                      </a:lnTo>
                      <a:lnTo>
                        <a:pt x="414887" y="132001"/>
                      </a:lnTo>
                      <a:lnTo>
                        <a:pt x="416557" y="135563"/>
                      </a:lnTo>
                      <a:lnTo>
                        <a:pt x="416150" y="136076"/>
                      </a:lnTo>
                      <a:lnTo>
                        <a:pt x="416451" y="137934"/>
                      </a:lnTo>
                      <a:lnTo>
                        <a:pt x="417446" y="141129"/>
                      </a:lnTo>
                      <a:lnTo>
                        <a:pt x="419304" y="143843"/>
                      </a:lnTo>
                      <a:lnTo>
                        <a:pt x="422018" y="146051"/>
                      </a:lnTo>
                      <a:lnTo>
                        <a:pt x="424764" y="150037"/>
                      </a:lnTo>
                      <a:lnTo>
                        <a:pt x="427535" y="155774"/>
                      </a:lnTo>
                      <a:lnTo>
                        <a:pt x="430893" y="160142"/>
                      </a:lnTo>
                      <a:lnTo>
                        <a:pt x="434837" y="163125"/>
                      </a:lnTo>
                      <a:lnTo>
                        <a:pt x="437070" y="165904"/>
                      </a:lnTo>
                      <a:lnTo>
                        <a:pt x="437592" y="168471"/>
                      </a:lnTo>
                      <a:lnTo>
                        <a:pt x="437551" y="170672"/>
                      </a:lnTo>
                      <a:lnTo>
                        <a:pt x="436948" y="172505"/>
                      </a:lnTo>
                      <a:lnTo>
                        <a:pt x="437209" y="174241"/>
                      </a:lnTo>
                      <a:lnTo>
                        <a:pt x="438309" y="175879"/>
                      </a:lnTo>
                      <a:lnTo>
                        <a:pt x="438684" y="177892"/>
                      </a:lnTo>
                      <a:lnTo>
                        <a:pt x="438252" y="180696"/>
                      </a:lnTo>
                      <a:lnTo>
                        <a:pt x="438276" y="181486"/>
                      </a:lnTo>
                      <a:lnTo>
                        <a:pt x="438276" y="181486"/>
                      </a:lnTo>
                      <a:lnTo>
                        <a:pt x="438594" y="182114"/>
                      </a:lnTo>
                      <a:lnTo>
                        <a:pt x="442099" y="186922"/>
                      </a:lnTo>
                      <a:lnTo>
                        <a:pt x="443900" y="190818"/>
                      </a:lnTo>
                      <a:lnTo>
                        <a:pt x="445326" y="197012"/>
                      </a:lnTo>
                      <a:lnTo>
                        <a:pt x="445326" y="197069"/>
                      </a:lnTo>
                      <a:lnTo>
                        <a:pt x="446923" y="200777"/>
                      </a:lnTo>
                      <a:lnTo>
                        <a:pt x="449221" y="202293"/>
                      </a:lnTo>
                      <a:lnTo>
                        <a:pt x="452750" y="202847"/>
                      </a:lnTo>
                      <a:lnTo>
                        <a:pt x="455423" y="204143"/>
                      </a:lnTo>
                      <a:lnTo>
                        <a:pt x="457257" y="206164"/>
                      </a:lnTo>
                      <a:lnTo>
                        <a:pt x="459563" y="207386"/>
                      </a:lnTo>
                      <a:lnTo>
                        <a:pt x="462359" y="207810"/>
                      </a:lnTo>
                      <a:lnTo>
                        <a:pt x="465032" y="209138"/>
                      </a:lnTo>
                      <a:lnTo>
                        <a:pt x="467583" y="211380"/>
                      </a:lnTo>
                      <a:lnTo>
                        <a:pt x="472350" y="212855"/>
                      </a:lnTo>
                      <a:lnTo>
                        <a:pt x="479327" y="213564"/>
                      </a:lnTo>
                      <a:lnTo>
                        <a:pt x="484640" y="215389"/>
                      </a:lnTo>
                      <a:lnTo>
                        <a:pt x="488283" y="218340"/>
                      </a:lnTo>
                      <a:lnTo>
                        <a:pt x="489889" y="218935"/>
                      </a:lnTo>
                      <a:lnTo>
                        <a:pt x="490321" y="218975"/>
                      </a:lnTo>
                      <a:lnTo>
                        <a:pt x="490532" y="218527"/>
                      </a:lnTo>
                      <a:lnTo>
                        <a:pt x="490810" y="217696"/>
                      </a:lnTo>
                      <a:lnTo>
                        <a:pt x="492211" y="216734"/>
                      </a:lnTo>
                      <a:lnTo>
                        <a:pt x="495577" y="216106"/>
                      </a:lnTo>
                      <a:lnTo>
                        <a:pt x="495121" y="222610"/>
                      </a:lnTo>
                      <a:lnTo>
                        <a:pt x="493621" y="227948"/>
                      </a:lnTo>
                      <a:lnTo>
                        <a:pt x="488691" y="239032"/>
                      </a:lnTo>
                      <a:lnTo>
                        <a:pt x="486629" y="245894"/>
                      </a:lnTo>
                      <a:lnTo>
                        <a:pt x="482652" y="265494"/>
                      </a:lnTo>
                      <a:lnTo>
                        <a:pt x="481429" y="278313"/>
                      </a:lnTo>
                      <a:lnTo>
                        <a:pt x="481136" y="284336"/>
                      </a:lnTo>
                      <a:lnTo>
                        <a:pt x="480793" y="285192"/>
                      </a:lnTo>
                      <a:lnTo>
                        <a:pt x="481168" y="286080"/>
                      </a:lnTo>
                      <a:lnTo>
                        <a:pt x="480215" y="299389"/>
                      </a:lnTo>
                      <a:lnTo>
                        <a:pt x="480728" y="310733"/>
                      </a:lnTo>
                      <a:lnTo>
                        <a:pt x="480402" y="312485"/>
                      </a:lnTo>
                      <a:lnTo>
                        <a:pt x="478952" y="315908"/>
                      </a:lnTo>
                      <a:lnTo>
                        <a:pt x="477933" y="320635"/>
                      </a:lnTo>
                      <a:lnTo>
                        <a:pt x="478332" y="322729"/>
                      </a:lnTo>
                      <a:lnTo>
                        <a:pt x="478316" y="324180"/>
                      </a:lnTo>
                      <a:lnTo>
                        <a:pt x="479807" y="331368"/>
                      </a:lnTo>
                      <a:lnTo>
                        <a:pt x="480280" y="336771"/>
                      </a:lnTo>
                      <a:lnTo>
                        <a:pt x="484705" y="346005"/>
                      </a:lnTo>
                      <a:lnTo>
                        <a:pt x="487191" y="349232"/>
                      </a:lnTo>
                      <a:lnTo>
                        <a:pt x="490272" y="352020"/>
                      </a:lnTo>
                      <a:lnTo>
                        <a:pt x="491404" y="353584"/>
                      </a:lnTo>
                      <a:lnTo>
                        <a:pt x="490850" y="357504"/>
                      </a:lnTo>
                      <a:lnTo>
                        <a:pt x="489595" y="359485"/>
                      </a:lnTo>
                      <a:lnTo>
                        <a:pt x="489065" y="362631"/>
                      </a:lnTo>
                      <a:lnTo>
                        <a:pt x="488446" y="360031"/>
                      </a:lnTo>
                      <a:lnTo>
                        <a:pt x="488691" y="356657"/>
                      </a:lnTo>
                      <a:lnTo>
                        <a:pt x="489669" y="354839"/>
                      </a:lnTo>
                      <a:lnTo>
                        <a:pt x="489701" y="353511"/>
                      </a:lnTo>
                      <a:lnTo>
                        <a:pt x="487884" y="352093"/>
                      </a:lnTo>
                      <a:lnTo>
                        <a:pt x="484567" y="347448"/>
                      </a:lnTo>
                      <a:lnTo>
                        <a:pt x="480516" y="339233"/>
                      </a:lnTo>
                      <a:lnTo>
                        <a:pt x="483401" y="352354"/>
                      </a:lnTo>
                      <a:lnTo>
                        <a:pt x="484396" y="354456"/>
                      </a:lnTo>
                      <a:lnTo>
                        <a:pt x="485170" y="355337"/>
                      </a:lnTo>
                      <a:lnTo>
                        <a:pt x="486458" y="356257"/>
                      </a:lnTo>
                      <a:lnTo>
                        <a:pt x="486792" y="357684"/>
                      </a:lnTo>
                      <a:lnTo>
                        <a:pt x="486800" y="358735"/>
                      </a:lnTo>
                      <a:lnTo>
                        <a:pt x="490361" y="367854"/>
                      </a:lnTo>
                      <a:lnTo>
                        <a:pt x="494379" y="377259"/>
                      </a:lnTo>
                      <a:lnTo>
                        <a:pt x="494591" y="379826"/>
                      </a:lnTo>
                      <a:lnTo>
                        <a:pt x="496196" y="382988"/>
                      </a:lnTo>
                      <a:lnTo>
                        <a:pt x="506441" y="396183"/>
                      </a:lnTo>
                      <a:lnTo>
                        <a:pt x="512708" y="406012"/>
                      </a:lnTo>
                      <a:lnTo>
                        <a:pt x="514884" y="415343"/>
                      </a:lnTo>
                      <a:lnTo>
                        <a:pt x="516204" y="418253"/>
                      </a:lnTo>
                      <a:lnTo>
                        <a:pt x="516848" y="422238"/>
                      </a:lnTo>
                      <a:lnTo>
                        <a:pt x="520955" y="426687"/>
                      </a:lnTo>
                      <a:lnTo>
                        <a:pt x="522210" y="429564"/>
                      </a:lnTo>
                      <a:lnTo>
                        <a:pt x="524411" y="431162"/>
                      </a:lnTo>
                      <a:lnTo>
                        <a:pt x="526196" y="435978"/>
                      </a:lnTo>
                      <a:lnTo>
                        <a:pt x="529537" y="438798"/>
                      </a:lnTo>
                      <a:lnTo>
                        <a:pt x="528738" y="438847"/>
                      </a:lnTo>
                      <a:lnTo>
                        <a:pt x="525813" y="437429"/>
                      </a:lnTo>
                      <a:lnTo>
                        <a:pt x="526008" y="438366"/>
                      </a:lnTo>
                      <a:lnTo>
                        <a:pt x="528469" y="440363"/>
                      </a:lnTo>
                      <a:lnTo>
                        <a:pt x="533294" y="442335"/>
                      </a:lnTo>
                      <a:lnTo>
                        <a:pt x="534492" y="442335"/>
                      </a:lnTo>
                      <a:lnTo>
                        <a:pt x="532593" y="441316"/>
                      </a:lnTo>
                      <a:lnTo>
                        <a:pt x="530988" y="439947"/>
                      </a:lnTo>
                      <a:lnTo>
                        <a:pt x="531550" y="439743"/>
                      </a:lnTo>
                      <a:lnTo>
                        <a:pt x="534916" y="441455"/>
                      </a:lnTo>
                      <a:lnTo>
                        <a:pt x="544337" y="442025"/>
                      </a:lnTo>
                      <a:lnTo>
                        <a:pt x="548477" y="446027"/>
                      </a:lnTo>
                      <a:lnTo>
                        <a:pt x="553856" y="447746"/>
                      </a:lnTo>
                      <a:lnTo>
                        <a:pt x="556741" y="452848"/>
                      </a:lnTo>
                      <a:lnTo>
                        <a:pt x="560099" y="458178"/>
                      </a:lnTo>
                      <a:lnTo>
                        <a:pt x="562242" y="458431"/>
                      </a:lnTo>
                      <a:lnTo>
                        <a:pt x="563913" y="458455"/>
                      </a:lnTo>
                      <a:lnTo>
                        <a:pt x="568957" y="457550"/>
                      </a:lnTo>
                      <a:lnTo>
                        <a:pt x="576789" y="454201"/>
                      </a:lnTo>
                      <a:lnTo>
                        <a:pt x="579487" y="452555"/>
                      </a:lnTo>
                      <a:lnTo>
                        <a:pt x="584752" y="450330"/>
                      </a:lnTo>
                      <a:lnTo>
                        <a:pt x="592795" y="449914"/>
                      </a:lnTo>
                      <a:lnTo>
                        <a:pt x="595289" y="450542"/>
                      </a:lnTo>
                      <a:lnTo>
                        <a:pt x="601312" y="449148"/>
                      </a:lnTo>
                      <a:lnTo>
                        <a:pt x="604181" y="447445"/>
                      </a:lnTo>
                      <a:lnTo>
                        <a:pt x="605175" y="445896"/>
                      </a:lnTo>
                      <a:lnTo>
                        <a:pt x="605639" y="444755"/>
                      </a:lnTo>
                      <a:lnTo>
                        <a:pt x="611222" y="443117"/>
                      </a:lnTo>
                      <a:lnTo>
                        <a:pt x="612314" y="442791"/>
                      </a:lnTo>
                      <a:lnTo>
                        <a:pt x="617962" y="442498"/>
                      </a:lnTo>
                      <a:lnTo>
                        <a:pt x="620684" y="441895"/>
                      </a:lnTo>
                      <a:lnTo>
                        <a:pt x="623895" y="441544"/>
                      </a:lnTo>
                      <a:lnTo>
                        <a:pt x="626217" y="443940"/>
                      </a:lnTo>
                      <a:lnTo>
                        <a:pt x="626209" y="445114"/>
                      </a:lnTo>
                      <a:lnTo>
                        <a:pt x="624677" y="446230"/>
                      </a:lnTo>
                      <a:lnTo>
                        <a:pt x="625394" y="447298"/>
                      </a:lnTo>
                      <a:lnTo>
                        <a:pt x="628141" y="449075"/>
                      </a:lnTo>
                      <a:lnTo>
                        <a:pt x="633185" y="449800"/>
                      </a:lnTo>
                      <a:lnTo>
                        <a:pt x="634815" y="449507"/>
                      </a:lnTo>
                      <a:lnTo>
                        <a:pt x="637130" y="446890"/>
                      </a:lnTo>
                      <a:lnTo>
                        <a:pt x="641229" y="444348"/>
                      </a:lnTo>
                      <a:lnTo>
                        <a:pt x="641148" y="441390"/>
                      </a:lnTo>
                      <a:lnTo>
                        <a:pt x="640414" y="439768"/>
                      </a:lnTo>
                      <a:lnTo>
                        <a:pt x="639224" y="439670"/>
                      </a:lnTo>
                      <a:lnTo>
                        <a:pt x="638939" y="438757"/>
                      </a:lnTo>
                      <a:lnTo>
                        <a:pt x="639770" y="436581"/>
                      </a:lnTo>
                      <a:lnTo>
                        <a:pt x="639550" y="435848"/>
                      </a:lnTo>
                      <a:lnTo>
                        <a:pt x="637008" y="437926"/>
                      </a:lnTo>
                      <a:lnTo>
                        <a:pt x="636421" y="437926"/>
                      </a:lnTo>
                      <a:lnTo>
                        <a:pt x="636706" y="436956"/>
                      </a:lnTo>
                      <a:lnTo>
                        <a:pt x="637228" y="436182"/>
                      </a:lnTo>
                      <a:lnTo>
                        <a:pt x="644693" y="431634"/>
                      </a:lnTo>
                      <a:lnTo>
                        <a:pt x="646600" y="429768"/>
                      </a:lnTo>
                      <a:lnTo>
                        <a:pt x="649175" y="428122"/>
                      </a:lnTo>
                      <a:lnTo>
                        <a:pt x="654521" y="421944"/>
                      </a:lnTo>
                      <a:lnTo>
                        <a:pt x="655670" y="410298"/>
                      </a:lnTo>
                      <a:lnTo>
                        <a:pt x="656738" y="408261"/>
                      </a:lnTo>
                      <a:lnTo>
                        <a:pt x="660283" y="404691"/>
                      </a:lnTo>
                      <a:lnTo>
                        <a:pt x="660666" y="403615"/>
                      </a:lnTo>
                      <a:lnTo>
                        <a:pt x="660894" y="401179"/>
                      </a:lnTo>
                      <a:lnTo>
                        <a:pt x="660797" y="395058"/>
                      </a:lnTo>
                      <a:lnTo>
                        <a:pt x="660992" y="390242"/>
                      </a:lnTo>
                      <a:lnTo>
                        <a:pt x="660846" y="384790"/>
                      </a:lnTo>
                      <a:lnTo>
                        <a:pt x="661481" y="379924"/>
                      </a:lnTo>
                      <a:lnTo>
                        <a:pt x="662060" y="378563"/>
                      </a:lnTo>
                      <a:lnTo>
                        <a:pt x="664089" y="370764"/>
                      </a:lnTo>
                      <a:lnTo>
                        <a:pt x="668319" y="367317"/>
                      </a:lnTo>
                      <a:lnTo>
                        <a:pt x="675637" y="363234"/>
                      </a:lnTo>
                      <a:lnTo>
                        <a:pt x="677324" y="362557"/>
                      </a:lnTo>
                      <a:lnTo>
                        <a:pt x="700665" y="358230"/>
                      </a:lnTo>
                      <a:lnTo>
                        <a:pt x="703933" y="357178"/>
                      </a:lnTo>
                      <a:lnTo>
                        <a:pt x="707943" y="354367"/>
                      </a:lnTo>
                      <a:lnTo>
                        <a:pt x="710877" y="353413"/>
                      </a:lnTo>
                      <a:lnTo>
                        <a:pt x="716223" y="353495"/>
                      </a:lnTo>
                      <a:lnTo>
                        <a:pt x="717869" y="353120"/>
                      </a:lnTo>
                      <a:lnTo>
                        <a:pt x="718195" y="352729"/>
                      </a:lnTo>
                      <a:lnTo>
                        <a:pt x="718203" y="352362"/>
                      </a:lnTo>
                      <a:lnTo>
                        <a:pt x="719190" y="351979"/>
                      </a:lnTo>
                      <a:lnTo>
                        <a:pt x="722286" y="352346"/>
                      </a:lnTo>
                      <a:lnTo>
                        <a:pt x="728065" y="354041"/>
                      </a:lnTo>
                      <a:lnTo>
                        <a:pt x="730167" y="354464"/>
                      </a:lnTo>
                      <a:lnTo>
                        <a:pt x="735342" y="356437"/>
                      </a:lnTo>
                      <a:lnTo>
                        <a:pt x="741031" y="357227"/>
                      </a:lnTo>
                      <a:lnTo>
                        <a:pt x="741854" y="356885"/>
                      </a:lnTo>
                      <a:lnTo>
                        <a:pt x="742604" y="356290"/>
                      </a:lnTo>
                      <a:lnTo>
                        <a:pt x="743182" y="355141"/>
                      </a:lnTo>
                      <a:lnTo>
                        <a:pt x="742587" y="354139"/>
                      </a:lnTo>
                      <a:lnTo>
                        <a:pt x="742033" y="354220"/>
                      </a:lnTo>
                      <a:lnTo>
                        <a:pt x="741063" y="354750"/>
                      </a:lnTo>
                      <a:lnTo>
                        <a:pt x="739914" y="354799"/>
                      </a:lnTo>
                      <a:lnTo>
                        <a:pt x="737657" y="353975"/>
                      </a:lnTo>
                      <a:lnTo>
                        <a:pt x="738113" y="353291"/>
                      </a:lnTo>
                      <a:lnTo>
                        <a:pt x="740411" y="353356"/>
                      </a:lnTo>
                      <a:lnTo>
                        <a:pt x="741887" y="353022"/>
                      </a:lnTo>
                      <a:lnTo>
                        <a:pt x="744071" y="351808"/>
                      </a:lnTo>
                      <a:lnTo>
                        <a:pt x="746393" y="352712"/>
                      </a:lnTo>
                      <a:lnTo>
                        <a:pt x="749449" y="356730"/>
                      </a:lnTo>
                      <a:lnTo>
                        <a:pt x="751625" y="358010"/>
                      </a:lnTo>
                      <a:lnTo>
                        <a:pt x="751796" y="363820"/>
                      </a:lnTo>
                      <a:lnTo>
                        <a:pt x="752131" y="364880"/>
                      </a:lnTo>
                      <a:lnTo>
                        <a:pt x="752929" y="366412"/>
                      </a:lnTo>
                      <a:lnTo>
                        <a:pt x="751845" y="370911"/>
                      </a:lnTo>
                      <a:lnTo>
                        <a:pt x="750623" y="374627"/>
                      </a:lnTo>
                      <a:lnTo>
                        <a:pt x="749099" y="377683"/>
                      </a:lnTo>
                      <a:lnTo>
                        <a:pt x="745790" y="382483"/>
                      </a:lnTo>
                      <a:lnTo>
                        <a:pt x="741781" y="386314"/>
                      </a:lnTo>
                      <a:lnTo>
                        <a:pt x="736817" y="394838"/>
                      </a:lnTo>
                      <a:lnTo>
                        <a:pt x="735685" y="398832"/>
                      </a:lnTo>
                      <a:lnTo>
                        <a:pt x="735709" y="402026"/>
                      </a:lnTo>
                      <a:lnTo>
                        <a:pt x="736556" y="405115"/>
                      </a:lnTo>
                      <a:lnTo>
                        <a:pt x="736312" y="406256"/>
                      </a:lnTo>
                      <a:lnTo>
                        <a:pt x="735701" y="407413"/>
                      </a:lnTo>
                      <a:lnTo>
                        <a:pt x="734690" y="407316"/>
                      </a:lnTo>
                      <a:lnTo>
                        <a:pt x="732726" y="408791"/>
                      </a:lnTo>
                      <a:lnTo>
                        <a:pt x="730200" y="413183"/>
                      </a:lnTo>
                      <a:lnTo>
                        <a:pt x="730143" y="414520"/>
                      </a:lnTo>
                      <a:lnTo>
                        <a:pt x="731251" y="415751"/>
                      </a:lnTo>
                      <a:lnTo>
                        <a:pt x="732694" y="415164"/>
                      </a:lnTo>
                      <a:lnTo>
                        <a:pt x="734568" y="415107"/>
                      </a:lnTo>
                      <a:lnTo>
                        <a:pt x="735611" y="414748"/>
                      </a:lnTo>
                      <a:lnTo>
                        <a:pt x="736720" y="414846"/>
                      </a:lnTo>
                      <a:lnTo>
                        <a:pt x="736467" y="417364"/>
                      </a:lnTo>
                      <a:lnTo>
                        <a:pt x="735277" y="419149"/>
                      </a:lnTo>
                      <a:lnTo>
                        <a:pt x="734527" y="419711"/>
                      </a:lnTo>
                      <a:lnTo>
                        <a:pt x="733191" y="420013"/>
                      </a:lnTo>
                      <a:lnTo>
                        <a:pt x="731691" y="421031"/>
                      </a:lnTo>
                      <a:lnTo>
                        <a:pt x="730917" y="421969"/>
                      </a:lnTo>
                      <a:lnTo>
                        <a:pt x="730990" y="424886"/>
                      </a:lnTo>
                      <a:lnTo>
                        <a:pt x="731830" y="425114"/>
                      </a:lnTo>
                      <a:lnTo>
                        <a:pt x="733598" y="422938"/>
                      </a:lnTo>
                      <a:lnTo>
                        <a:pt x="734625" y="423044"/>
                      </a:lnTo>
                      <a:lnTo>
                        <a:pt x="734829" y="423957"/>
                      </a:lnTo>
                      <a:lnTo>
                        <a:pt x="732539" y="431390"/>
                      </a:lnTo>
                      <a:lnTo>
                        <a:pt x="731056" y="439026"/>
                      </a:lnTo>
                      <a:lnTo>
                        <a:pt x="729067" y="443435"/>
                      </a:lnTo>
                      <a:lnTo>
                        <a:pt x="728358" y="449865"/>
                      </a:lnTo>
                      <a:lnTo>
                        <a:pt x="727315" y="452595"/>
                      </a:lnTo>
                      <a:lnTo>
                        <a:pt x="726100" y="455301"/>
                      </a:lnTo>
                      <a:lnTo>
                        <a:pt x="725391" y="455154"/>
                      </a:lnTo>
                      <a:lnTo>
                        <a:pt x="723468" y="450020"/>
                      </a:lnTo>
                      <a:lnTo>
                        <a:pt x="721496" y="448692"/>
                      </a:lnTo>
                      <a:lnTo>
                        <a:pt x="721064" y="447445"/>
                      </a:lnTo>
                      <a:lnTo>
                        <a:pt x="722197" y="441227"/>
                      </a:lnTo>
                      <a:lnTo>
                        <a:pt x="721683" y="437779"/>
                      </a:lnTo>
                      <a:lnTo>
                        <a:pt x="720648" y="437918"/>
                      </a:lnTo>
                      <a:lnTo>
                        <a:pt x="719328" y="439808"/>
                      </a:lnTo>
                      <a:lnTo>
                        <a:pt x="717592" y="441455"/>
                      </a:lnTo>
                      <a:lnTo>
                        <a:pt x="717625" y="443818"/>
                      </a:lnTo>
                      <a:lnTo>
                        <a:pt x="715628" y="447755"/>
                      </a:lnTo>
                      <a:lnTo>
                        <a:pt x="715131" y="449050"/>
                      </a:lnTo>
                      <a:lnTo>
                        <a:pt x="713232" y="448741"/>
                      </a:lnTo>
                      <a:lnTo>
                        <a:pt x="711032" y="448912"/>
                      </a:lnTo>
                      <a:lnTo>
                        <a:pt x="709500" y="449865"/>
                      </a:lnTo>
                      <a:lnTo>
                        <a:pt x="707935" y="454633"/>
                      </a:lnTo>
                      <a:lnTo>
                        <a:pt x="704031" y="461356"/>
                      </a:lnTo>
                      <a:lnTo>
                        <a:pt x="702474" y="464616"/>
                      </a:lnTo>
                      <a:lnTo>
                        <a:pt x="701211" y="465741"/>
                      </a:lnTo>
                      <a:lnTo>
                        <a:pt x="700201" y="466181"/>
                      </a:lnTo>
                      <a:lnTo>
                        <a:pt x="699092" y="465407"/>
                      </a:lnTo>
                      <a:lnTo>
                        <a:pt x="696419" y="463565"/>
                      </a:lnTo>
                      <a:lnTo>
                        <a:pt x="694357" y="464453"/>
                      </a:lnTo>
                      <a:lnTo>
                        <a:pt x="693648" y="466564"/>
                      </a:lnTo>
                      <a:lnTo>
                        <a:pt x="693673" y="469237"/>
                      </a:lnTo>
                      <a:lnTo>
                        <a:pt x="688457" y="469229"/>
                      </a:lnTo>
                      <a:lnTo>
                        <a:pt x="679598" y="469221"/>
                      </a:lnTo>
                      <a:lnTo>
                        <a:pt x="668319" y="469213"/>
                      </a:lnTo>
                      <a:lnTo>
                        <a:pt x="657447" y="469196"/>
                      </a:lnTo>
                      <a:lnTo>
                        <a:pt x="648344" y="469188"/>
                      </a:lnTo>
                      <a:lnTo>
                        <a:pt x="648311" y="475195"/>
                      </a:lnTo>
                      <a:lnTo>
                        <a:pt x="648287" y="480500"/>
                      </a:lnTo>
                      <a:lnTo>
                        <a:pt x="648254" y="486482"/>
                      </a:lnTo>
                      <a:lnTo>
                        <a:pt x="643234" y="486433"/>
                      </a:lnTo>
                      <a:lnTo>
                        <a:pt x="637920" y="486376"/>
                      </a:lnTo>
                      <a:lnTo>
                        <a:pt x="638352" y="486971"/>
                      </a:lnTo>
                      <a:lnTo>
                        <a:pt x="640170" y="488096"/>
                      </a:lnTo>
                      <a:lnTo>
                        <a:pt x="642525" y="490777"/>
                      </a:lnTo>
                      <a:lnTo>
                        <a:pt x="645312" y="494941"/>
                      </a:lnTo>
                      <a:lnTo>
                        <a:pt x="648686" y="498258"/>
                      </a:lnTo>
                      <a:lnTo>
                        <a:pt x="652647" y="500728"/>
                      </a:lnTo>
                      <a:lnTo>
                        <a:pt x="655263" y="503148"/>
                      </a:lnTo>
                      <a:lnTo>
                        <a:pt x="656518" y="505512"/>
                      </a:lnTo>
                      <a:lnTo>
                        <a:pt x="657154" y="507525"/>
                      </a:lnTo>
                      <a:lnTo>
                        <a:pt x="657162" y="509187"/>
                      </a:lnTo>
                      <a:lnTo>
                        <a:pt x="658604" y="510499"/>
                      </a:lnTo>
                      <a:lnTo>
                        <a:pt x="661204" y="511363"/>
                      </a:lnTo>
                      <a:lnTo>
                        <a:pt x="662541" y="512846"/>
                      </a:lnTo>
                      <a:lnTo>
                        <a:pt x="662541" y="514061"/>
                      </a:lnTo>
                      <a:lnTo>
                        <a:pt x="661718" y="516807"/>
                      </a:lnTo>
                      <a:lnTo>
                        <a:pt x="661473" y="519831"/>
                      </a:lnTo>
                      <a:lnTo>
                        <a:pt x="661791" y="522569"/>
                      </a:lnTo>
                      <a:lnTo>
                        <a:pt x="659933" y="522610"/>
                      </a:lnTo>
                      <a:lnTo>
                        <a:pt x="655434" y="522610"/>
                      </a:lnTo>
                      <a:lnTo>
                        <a:pt x="648580" y="522610"/>
                      </a:lnTo>
                      <a:lnTo>
                        <a:pt x="642280" y="522618"/>
                      </a:lnTo>
                      <a:lnTo>
                        <a:pt x="637309" y="522618"/>
                      </a:lnTo>
                      <a:lnTo>
                        <a:pt x="629811" y="522626"/>
                      </a:lnTo>
                      <a:lnTo>
                        <a:pt x="627758" y="526831"/>
                      </a:lnTo>
                      <a:lnTo>
                        <a:pt x="624343" y="533824"/>
                      </a:lnTo>
                      <a:lnTo>
                        <a:pt x="621254" y="540156"/>
                      </a:lnTo>
                      <a:lnTo>
                        <a:pt x="618646" y="545486"/>
                      </a:lnTo>
                      <a:lnTo>
                        <a:pt x="618222" y="546880"/>
                      </a:lnTo>
                      <a:lnTo>
                        <a:pt x="618222" y="548021"/>
                      </a:lnTo>
                      <a:lnTo>
                        <a:pt x="621442" y="553000"/>
                      </a:lnTo>
                      <a:lnTo>
                        <a:pt x="620847" y="554443"/>
                      </a:lnTo>
                      <a:lnTo>
                        <a:pt x="619714" y="555201"/>
                      </a:lnTo>
                      <a:lnTo>
                        <a:pt x="619363" y="556374"/>
                      </a:lnTo>
                      <a:lnTo>
                        <a:pt x="619437" y="558265"/>
                      </a:lnTo>
                      <a:lnTo>
                        <a:pt x="618671" y="560791"/>
                      </a:lnTo>
                      <a:lnTo>
                        <a:pt x="618915" y="562527"/>
                      </a:lnTo>
                      <a:lnTo>
                        <a:pt x="619323" y="564670"/>
                      </a:lnTo>
                      <a:lnTo>
                        <a:pt x="618646" y="566521"/>
                      </a:lnTo>
                      <a:lnTo>
                        <a:pt x="618108" y="568322"/>
                      </a:lnTo>
                      <a:lnTo>
                        <a:pt x="617456" y="569096"/>
                      </a:lnTo>
                      <a:lnTo>
                        <a:pt x="616731" y="568419"/>
                      </a:lnTo>
                      <a:lnTo>
                        <a:pt x="610122" y="560147"/>
                      </a:lnTo>
                      <a:lnTo>
                        <a:pt x="603227" y="551044"/>
                      </a:lnTo>
                      <a:lnTo>
                        <a:pt x="600513" y="548070"/>
                      </a:lnTo>
                      <a:lnTo>
                        <a:pt x="597881" y="545812"/>
                      </a:lnTo>
                      <a:lnTo>
                        <a:pt x="594344" y="541615"/>
                      </a:lnTo>
                      <a:lnTo>
                        <a:pt x="585061" y="532389"/>
                      </a:lnTo>
                      <a:lnTo>
                        <a:pt x="580269" y="528176"/>
                      </a:lnTo>
                      <a:lnTo>
                        <a:pt x="575762" y="523131"/>
                      </a:lnTo>
                      <a:lnTo>
                        <a:pt x="571720" y="520336"/>
                      </a:lnTo>
                      <a:lnTo>
                        <a:pt x="567727" y="518511"/>
                      </a:lnTo>
                      <a:lnTo>
                        <a:pt x="565958" y="517459"/>
                      </a:lnTo>
                      <a:lnTo>
                        <a:pt x="564402" y="516074"/>
                      </a:lnTo>
                      <a:lnTo>
                        <a:pt x="563538" y="515992"/>
                      </a:lnTo>
                      <a:lnTo>
                        <a:pt x="563106" y="517858"/>
                      </a:lnTo>
                      <a:lnTo>
                        <a:pt x="564499" y="518796"/>
                      </a:lnTo>
                      <a:lnTo>
                        <a:pt x="566170" y="519594"/>
                      </a:lnTo>
                      <a:lnTo>
                        <a:pt x="567499" y="519643"/>
                      </a:lnTo>
                      <a:lnTo>
                        <a:pt x="568892" y="520311"/>
                      </a:lnTo>
                      <a:lnTo>
                        <a:pt x="572983" y="522862"/>
                      </a:lnTo>
                      <a:lnTo>
                        <a:pt x="573652" y="524174"/>
                      </a:lnTo>
                      <a:lnTo>
                        <a:pt x="562006" y="519056"/>
                      </a:lnTo>
                      <a:lnTo>
                        <a:pt x="557279" y="518592"/>
                      </a:lnTo>
                      <a:lnTo>
                        <a:pt x="556765" y="517785"/>
                      </a:lnTo>
                      <a:lnTo>
                        <a:pt x="559121" y="515112"/>
                      </a:lnTo>
                      <a:lnTo>
                        <a:pt x="558387" y="514142"/>
                      </a:lnTo>
                      <a:lnTo>
                        <a:pt x="557540" y="514012"/>
                      </a:lnTo>
                      <a:lnTo>
                        <a:pt x="555013" y="515862"/>
                      </a:lnTo>
                      <a:lnTo>
                        <a:pt x="554068" y="515992"/>
                      </a:lnTo>
                      <a:lnTo>
                        <a:pt x="553897" y="514778"/>
                      </a:lnTo>
                      <a:lnTo>
                        <a:pt x="554011" y="513629"/>
                      </a:lnTo>
                      <a:lnTo>
                        <a:pt x="552381" y="511942"/>
                      </a:lnTo>
                      <a:lnTo>
                        <a:pt x="551338" y="512007"/>
                      </a:lnTo>
                      <a:lnTo>
                        <a:pt x="550490" y="513189"/>
                      </a:lnTo>
                      <a:lnTo>
                        <a:pt x="548281" y="515414"/>
                      </a:lnTo>
                      <a:lnTo>
                        <a:pt x="548347" y="516286"/>
                      </a:lnTo>
                      <a:lnTo>
                        <a:pt x="552682" y="517239"/>
                      </a:lnTo>
                      <a:lnTo>
                        <a:pt x="554182" y="517777"/>
                      </a:lnTo>
                      <a:lnTo>
                        <a:pt x="553839" y="518364"/>
                      </a:lnTo>
                      <a:lnTo>
                        <a:pt x="550115" y="518356"/>
                      </a:lnTo>
                      <a:lnTo>
                        <a:pt x="545527" y="519366"/>
                      </a:lnTo>
                      <a:lnTo>
                        <a:pt x="537345" y="525544"/>
                      </a:lnTo>
                      <a:lnTo>
                        <a:pt x="529724" y="528192"/>
                      </a:lnTo>
                      <a:lnTo>
                        <a:pt x="518763" y="534134"/>
                      </a:lnTo>
                      <a:lnTo>
                        <a:pt x="513922" y="534443"/>
                      </a:lnTo>
                      <a:lnTo>
                        <a:pt x="511379" y="535389"/>
                      </a:lnTo>
                      <a:lnTo>
                        <a:pt x="504012" y="533123"/>
                      </a:lnTo>
                      <a:lnTo>
                        <a:pt x="494672" y="527540"/>
                      </a:lnTo>
                      <a:lnTo>
                        <a:pt x="480533" y="525788"/>
                      </a:lnTo>
                      <a:lnTo>
                        <a:pt x="471006" y="518478"/>
                      </a:lnTo>
                      <a:lnTo>
                        <a:pt x="461544" y="515462"/>
                      </a:lnTo>
                      <a:lnTo>
                        <a:pt x="455546" y="508437"/>
                      </a:lnTo>
                      <a:lnTo>
                        <a:pt x="451935" y="508136"/>
                      </a:lnTo>
                      <a:lnTo>
                        <a:pt x="449604" y="507011"/>
                      </a:lnTo>
                      <a:lnTo>
                        <a:pt x="441015" y="504468"/>
                      </a:lnTo>
                      <a:lnTo>
                        <a:pt x="432514" y="502790"/>
                      </a:lnTo>
                      <a:lnTo>
                        <a:pt x="424234" y="496645"/>
                      </a:lnTo>
                      <a:lnTo>
                        <a:pt x="418815" y="494697"/>
                      </a:lnTo>
                      <a:lnTo>
                        <a:pt x="414129" y="492244"/>
                      </a:lnTo>
                      <a:lnTo>
                        <a:pt x="403811" y="488071"/>
                      </a:lnTo>
                      <a:lnTo>
                        <a:pt x="399989" y="485757"/>
                      </a:lnTo>
                      <a:lnTo>
                        <a:pt x="396370" y="482171"/>
                      </a:lnTo>
                      <a:lnTo>
                        <a:pt x="390470" y="478463"/>
                      </a:lnTo>
                      <a:lnTo>
                        <a:pt x="387952" y="475366"/>
                      </a:lnTo>
                      <a:lnTo>
                        <a:pt x="385140" y="474257"/>
                      </a:lnTo>
                      <a:lnTo>
                        <a:pt x="381122" y="468414"/>
                      </a:lnTo>
                      <a:lnTo>
                        <a:pt x="379028" y="465953"/>
                      </a:lnTo>
                      <a:lnTo>
                        <a:pt x="377243" y="464796"/>
                      </a:lnTo>
                      <a:lnTo>
                        <a:pt x="375344" y="464404"/>
                      </a:lnTo>
                      <a:lnTo>
                        <a:pt x="369868" y="464877"/>
                      </a:lnTo>
                      <a:lnTo>
                        <a:pt x="361677" y="462302"/>
                      </a:lnTo>
                      <a:lnTo>
                        <a:pt x="357887" y="461641"/>
                      </a:lnTo>
                      <a:lnTo>
                        <a:pt x="349982" y="457836"/>
                      </a:lnTo>
                      <a:lnTo>
                        <a:pt x="339485" y="453582"/>
                      </a:lnTo>
                      <a:lnTo>
                        <a:pt x="336046" y="448700"/>
                      </a:lnTo>
                      <a:lnTo>
                        <a:pt x="333104" y="444128"/>
                      </a:lnTo>
                      <a:lnTo>
                        <a:pt x="327807" y="438121"/>
                      </a:lnTo>
                      <a:lnTo>
                        <a:pt x="324506" y="435554"/>
                      </a:lnTo>
                      <a:lnTo>
                        <a:pt x="318769" y="432506"/>
                      </a:lnTo>
                      <a:lnTo>
                        <a:pt x="315582" y="430029"/>
                      </a:lnTo>
                      <a:lnTo>
                        <a:pt x="310676" y="428138"/>
                      </a:lnTo>
                      <a:lnTo>
                        <a:pt x="302355" y="423314"/>
                      </a:lnTo>
                      <a:lnTo>
                        <a:pt x="299706" y="419190"/>
                      </a:lnTo>
                      <a:lnTo>
                        <a:pt x="298158" y="415522"/>
                      </a:lnTo>
                      <a:lnTo>
                        <a:pt x="293725" y="411073"/>
                      </a:lnTo>
                      <a:lnTo>
                        <a:pt x="288875" y="402760"/>
                      </a:lnTo>
                      <a:lnTo>
                        <a:pt x="287629" y="399687"/>
                      </a:lnTo>
                      <a:lnTo>
                        <a:pt x="286691" y="394985"/>
                      </a:lnTo>
                      <a:lnTo>
                        <a:pt x="285559" y="392255"/>
                      </a:lnTo>
                      <a:lnTo>
                        <a:pt x="284230" y="390111"/>
                      </a:lnTo>
                      <a:lnTo>
                        <a:pt x="284907" y="388555"/>
                      </a:lnTo>
                      <a:lnTo>
                        <a:pt x="287376" y="386640"/>
                      </a:lnTo>
                      <a:lnTo>
                        <a:pt x="291483" y="386208"/>
                      </a:lnTo>
                      <a:lnTo>
                        <a:pt x="294377" y="384138"/>
                      </a:lnTo>
                      <a:lnTo>
                        <a:pt x="294760" y="382434"/>
                      </a:lnTo>
                      <a:lnTo>
                        <a:pt x="294572" y="381375"/>
                      </a:lnTo>
                      <a:lnTo>
                        <a:pt x="292722" y="378759"/>
                      </a:lnTo>
                      <a:lnTo>
                        <a:pt x="290408" y="378066"/>
                      </a:lnTo>
                      <a:lnTo>
                        <a:pt x="288615" y="378034"/>
                      </a:lnTo>
                      <a:lnTo>
                        <a:pt x="288158" y="377039"/>
                      </a:lnTo>
                      <a:lnTo>
                        <a:pt x="289503" y="375963"/>
                      </a:lnTo>
                      <a:lnTo>
                        <a:pt x="291051" y="373413"/>
                      </a:lnTo>
                      <a:lnTo>
                        <a:pt x="293333" y="370299"/>
                      </a:lnTo>
                      <a:lnTo>
                        <a:pt x="294947" y="367431"/>
                      </a:lnTo>
                      <a:lnTo>
                        <a:pt x="295249" y="363380"/>
                      </a:lnTo>
                      <a:lnTo>
                        <a:pt x="295045" y="359330"/>
                      </a:lnTo>
                      <a:lnTo>
                        <a:pt x="295656" y="355907"/>
                      </a:lnTo>
                      <a:lnTo>
                        <a:pt x="290131" y="351954"/>
                      </a:lnTo>
                      <a:lnTo>
                        <a:pt x="289487" y="350267"/>
                      </a:lnTo>
                      <a:lnTo>
                        <a:pt x="287751" y="345728"/>
                      </a:lnTo>
                      <a:lnTo>
                        <a:pt x="284727" y="340463"/>
                      </a:lnTo>
                      <a:lnTo>
                        <a:pt x="284817" y="329934"/>
                      </a:lnTo>
                      <a:lnTo>
                        <a:pt x="281190" y="320586"/>
                      </a:lnTo>
                      <a:lnTo>
                        <a:pt x="277433" y="315932"/>
                      </a:lnTo>
                      <a:lnTo>
                        <a:pt x="275494" y="314311"/>
                      </a:lnTo>
                      <a:lnTo>
                        <a:pt x="270213" y="307082"/>
                      </a:lnTo>
                      <a:lnTo>
                        <a:pt x="266056" y="302885"/>
                      </a:lnTo>
                      <a:lnTo>
                        <a:pt x="261981" y="294955"/>
                      </a:lnTo>
                      <a:lnTo>
                        <a:pt x="257963" y="289919"/>
                      </a:lnTo>
                      <a:lnTo>
                        <a:pt x="252837" y="281459"/>
                      </a:lnTo>
                      <a:lnTo>
                        <a:pt x="249129" y="277238"/>
                      </a:lnTo>
                      <a:lnTo>
                        <a:pt x="232259" y="262967"/>
                      </a:lnTo>
                      <a:lnTo>
                        <a:pt x="233205" y="262967"/>
                      </a:lnTo>
                      <a:lnTo>
                        <a:pt x="238151" y="266472"/>
                      </a:lnTo>
                      <a:lnTo>
                        <a:pt x="238983" y="266178"/>
                      </a:lnTo>
                      <a:lnTo>
                        <a:pt x="239105" y="264475"/>
                      </a:lnTo>
                      <a:lnTo>
                        <a:pt x="238535" y="262429"/>
                      </a:lnTo>
                      <a:lnTo>
                        <a:pt x="237622" y="261940"/>
                      </a:lnTo>
                      <a:lnTo>
                        <a:pt x="236301" y="262397"/>
                      </a:lnTo>
                      <a:lnTo>
                        <a:pt x="234525" y="261973"/>
                      </a:lnTo>
                      <a:lnTo>
                        <a:pt x="233637" y="261297"/>
                      </a:lnTo>
                      <a:lnTo>
                        <a:pt x="230980" y="260865"/>
                      </a:lnTo>
                      <a:lnTo>
                        <a:pt x="227646" y="258485"/>
                      </a:lnTo>
                      <a:lnTo>
                        <a:pt x="226212" y="256016"/>
                      </a:lnTo>
                      <a:lnTo>
                        <a:pt x="226057" y="253196"/>
                      </a:lnTo>
                      <a:lnTo>
                        <a:pt x="221281" y="247189"/>
                      </a:lnTo>
                      <a:lnTo>
                        <a:pt x="219464" y="243840"/>
                      </a:lnTo>
                      <a:lnTo>
                        <a:pt x="220393" y="244085"/>
                      </a:lnTo>
                      <a:lnTo>
                        <a:pt x="221665" y="245437"/>
                      </a:lnTo>
                      <a:lnTo>
                        <a:pt x="222952" y="245820"/>
                      </a:lnTo>
                      <a:lnTo>
                        <a:pt x="224452" y="245837"/>
                      </a:lnTo>
                      <a:lnTo>
                        <a:pt x="225544" y="245291"/>
                      </a:lnTo>
                      <a:lnTo>
                        <a:pt x="225153" y="244288"/>
                      </a:lnTo>
                      <a:lnTo>
                        <a:pt x="224134" y="243457"/>
                      </a:lnTo>
                      <a:lnTo>
                        <a:pt x="217166" y="240287"/>
                      </a:lnTo>
                      <a:lnTo>
                        <a:pt x="214876" y="238062"/>
                      </a:lnTo>
                      <a:lnTo>
                        <a:pt x="209163" y="234354"/>
                      </a:lnTo>
                      <a:lnTo>
                        <a:pt x="207810" y="233058"/>
                      </a:lnTo>
                      <a:lnTo>
                        <a:pt x="206905" y="229480"/>
                      </a:lnTo>
                      <a:lnTo>
                        <a:pt x="205512" y="229309"/>
                      </a:lnTo>
                      <a:lnTo>
                        <a:pt x="204281" y="230312"/>
                      </a:lnTo>
                      <a:lnTo>
                        <a:pt x="200915" y="231289"/>
                      </a:lnTo>
                      <a:lnTo>
                        <a:pt x="200051" y="230148"/>
                      </a:lnTo>
                      <a:lnTo>
                        <a:pt x="199929" y="229048"/>
                      </a:lnTo>
                      <a:lnTo>
                        <a:pt x="202301" y="227883"/>
                      </a:lnTo>
                      <a:lnTo>
                        <a:pt x="204485" y="224492"/>
                      </a:lnTo>
                      <a:lnTo>
                        <a:pt x="204444" y="223311"/>
                      </a:lnTo>
                      <a:lnTo>
                        <a:pt x="203246" y="224672"/>
                      </a:lnTo>
                      <a:lnTo>
                        <a:pt x="201429" y="226196"/>
                      </a:lnTo>
                      <a:lnTo>
                        <a:pt x="199554" y="227043"/>
                      </a:lnTo>
                      <a:lnTo>
                        <a:pt x="196767" y="227753"/>
                      </a:lnTo>
                      <a:lnTo>
                        <a:pt x="195341" y="227239"/>
                      </a:lnTo>
                      <a:lnTo>
                        <a:pt x="194094" y="226473"/>
                      </a:lnTo>
                      <a:lnTo>
                        <a:pt x="192097" y="223515"/>
                      </a:lnTo>
                      <a:lnTo>
                        <a:pt x="191087" y="213890"/>
                      </a:lnTo>
                      <a:lnTo>
                        <a:pt x="192863" y="210548"/>
                      </a:lnTo>
                      <a:lnTo>
                        <a:pt x="194934" y="207248"/>
                      </a:lnTo>
                      <a:lnTo>
                        <a:pt x="196694" y="205284"/>
                      </a:lnTo>
                      <a:lnTo>
                        <a:pt x="197712" y="206767"/>
                      </a:lnTo>
                      <a:lnTo>
                        <a:pt x="198747" y="206938"/>
                      </a:lnTo>
                      <a:lnTo>
                        <a:pt x="198014" y="205267"/>
                      </a:lnTo>
                      <a:lnTo>
                        <a:pt x="196286" y="203694"/>
                      </a:lnTo>
                      <a:lnTo>
                        <a:pt x="195675" y="202138"/>
                      </a:lnTo>
                      <a:lnTo>
                        <a:pt x="195610" y="200712"/>
                      </a:lnTo>
                      <a:lnTo>
                        <a:pt x="194787" y="198055"/>
                      </a:lnTo>
                      <a:lnTo>
                        <a:pt x="189669" y="192472"/>
                      </a:lnTo>
                      <a:lnTo>
                        <a:pt x="184877" y="192896"/>
                      </a:lnTo>
                      <a:lnTo>
                        <a:pt x="182921" y="192700"/>
                      </a:lnTo>
                      <a:lnTo>
                        <a:pt x="181095" y="190582"/>
                      </a:lnTo>
                      <a:lnTo>
                        <a:pt x="179547" y="186996"/>
                      </a:lnTo>
                      <a:lnTo>
                        <a:pt x="178789" y="183996"/>
                      </a:lnTo>
                      <a:lnTo>
                        <a:pt x="178691" y="182399"/>
                      </a:lnTo>
                      <a:lnTo>
                        <a:pt x="178235" y="180794"/>
                      </a:lnTo>
                      <a:lnTo>
                        <a:pt x="169971" y="178169"/>
                      </a:lnTo>
                      <a:lnTo>
                        <a:pt x="167485" y="175920"/>
                      </a:lnTo>
                      <a:lnTo>
                        <a:pt x="164991" y="173084"/>
                      </a:lnTo>
                      <a:lnTo>
                        <a:pt x="163965" y="170770"/>
                      </a:lnTo>
                      <a:lnTo>
                        <a:pt x="162946" y="169042"/>
                      </a:lnTo>
                      <a:lnTo>
                        <a:pt x="162147" y="166051"/>
                      </a:lnTo>
                      <a:lnTo>
                        <a:pt x="161585" y="162571"/>
                      </a:lnTo>
                      <a:lnTo>
                        <a:pt x="162506" y="158072"/>
                      </a:lnTo>
                      <a:lnTo>
                        <a:pt x="163704" y="155888"/>
                      </a:lnTo>
                      <a:lnTo>
                        <a:pt x="158023" y="154266"/>
                      </a:lnTo>
                      <a:lnTo>
                        <a:pt x="155798" y="154193"/>
                      </a:lnTo>
                      <a:lnTo>
                        <a:pt x="154006" y="155106"/>
                      </a:lnTo>
                      <a:lnTo>
                        <a:pt x="152384" y="153924"/>
                      </a:lnTo>
                      <a:lnTo>
                        <a:pt x="149026" y="152620"/>
                      </a:lnTo>
                      <a:lnTo>
                        <a:pt x="145041" y="147901"/>
                      </a:lnTo>
                      <a:lnTo>
                        <a:pt x="140346" y="139336"/>
                      </a:lnTo>
                      <a:lnTo>
                        <a:pt x="135180" y="136590"/>
                      </a:lnTo>
                      <a:lnTo>
                        <a:pt x="133509" y="133607"/>
                      </a:lnTo>
                      <a:lnTo>
                        <a:pt x="131398" y="130925"/>
                      </a:lnTo>
                      <a:lnTo>
                        <a:pt x="129548" y="127592"/>
                      </a:lnTo>
                      <a:lnTo>
                        <a:pt x="129255" y="126142"/>
                      </a:lnTo>
                      <a:lnTo>
                        <a:pt x="128709" y="125335"/>
                      </a:lnTo>
                      <a:lnTo>
                        <a:pt x="126125" y="123012"/>
                      </a:lnTo>
                      <a:lnTo>
                        <a:pt x="123232" y="119092"/>
                      </a:lnTo>
                      <a:lnTo>
                        <a:pt x="122482" y="115914"/>
                      </a:lnTo>
                      <a:lnTo>
                        <a:pt x="121700" y="111073"/>
                      </a:lnTo>
                      <a:lnTo>
                        <a:pt x="119768" y="109370"/>
                      </a:lnTo>
                      <a:lnTo>
                        <a:pt x="117861" y="108579"/>
                      </a:lnTo>
                      <a:lnTo>
                        <a:pt x="117495" y="106273"/>
                      </a:lnTo>
                      <a:lnTo>
                        <a:pt x="117609" y="104977"/>
                      </a:lnTo>
                      <a:lnTo>
                        <a:pt x="116965" y="102532"/>
                      </a:lnTo>
                      <a:lnTo>
                        <a:pt x="113037" y="96664"/>
                      </a:lnTo>
                      <a:lnTo>
                        <a:pt x="111048" y="91839"/>
                      </a:lnTo>
                      <a:lnTo>
                        <a:pt x="109956" y="90348"/>
                      </a:lnTo>
                      <a:lnTo>
                        <a:pt x="108929" y="88139"/>
                      </a:lnTo>
                      <a:lnTo>
                        <a:pt x="108416" y="83641"/>
                      </a:lnTo>
                      <a:lnTo>
                        <a:pt x="106786" y="78034"/>
                      </a:lnTo>
                      <a:lnTo>
                        <a:pt x="103632" y="71286"/>
                      </a:lnTo>
                      <a:lnTo>
                        <a:pt x="101008" y="66755"/>
                      </a:lnTo>
                      <a:lnTo>
                        <a:pt x="99696" y="62174"/>
                      </a:lnTo>
                      <a:lnTo>
                        <a:pt x="100274" y="57513"/>
                      </a:lnTo>
                      <a:lnTo>
                        <a:pt x="99826" y="54636"/>
                      </a:lnTo>
                      <a:lnTo>
                        <a:pt x="99484" y="53959"/>
                      </a:lnTo>
                      <a:lnTo>
                        <a:pt x="99745" y="53014"/>
                      </a:lnTo>
                      <a:lnTo>
                        <a:pt x="100617" y="53544"/>
                      </a:lnTo>
                      <a:lnTo>
                        <a:pt x="101358" y="52696"/>
                      </a:lnTo>
                      <a:lnTo>
                        <a:pt x="101269" y="49722"/>
                      </a:lnTo>
                      <a:lnTo>
                        <a:pt x="100356" y="48825"/>
                      </a:lnTo>
                      <a:lnTo>
                        <a:pt x="97813" y="47888"/>
                      </a:lnTo>
                      <a:lnTo>
                        <a:pt x="96688" y="47244"/>
                      </a:lnTo>
                      <a:lnTo>
                        <a:pt x="90503" y="46038"/>
                      </a:lnTo>
                      <a:lnTo>
                        <a:pt x="86966" y="44343"/>
                      </a:lnTo>
                      <a:lnTo>
                        <a:pt x="86729" y="40415"/>
                      </a:lnTo>
                      <a:lnTo>
                        <a:pt x="85067" y="38613"/>
                      </a:lnTo>
                      <a:lnTo>
                        <a:pt x="83592" y="37505"/>
                      </a:lnTo>
                      <a:lnTo>
                        <a:pt x="78922" y="35191"/>
                      </a:lnTo>
                      <a:lnTo>
                        <a:pt x="78180" y="36380"/>
                      </a:lnTo>
                      <a:lnTo>
                        <a:pt x="77561" y="38564"/>
                      </a:lnTo>
                      <a:lnTo>
                        <a:pt x="75621" y="39037"/>
                      </a:lnTo>
                      <a:lnTo>
                        <a:pt x="73926" y="39135"/>
                      </a:lnTo>
                      <a:lnTo>
                        <a:pt x="71074" y="37611"/>
                      </a:lnTo>
                      <a:lnTo>
                        <a:pt x="64016" y="31825"/>
                      </a:lnTo>
                      <a:lnTo>
                        <a:pt x="62525" y="30896"/>
                      </a:lnTo>
                      <a:lnTo>
                        <a:pt x="60324" y="30398"/>
                      </a:lnTo>
                      <a:lnTo>
                        <a:pt x="59240" y="29461"/>
                      </a:lnTo>
                      <a:lnTo>
                        <a:pt x="54473" y="26405"/>
                      </a:lnTo>
                      <a:lnTo>
                        <a:pt x="55426" y="28035"/>
                      </a:lnTo>
                      <a:lnTo>
                        <a:pt x="56804" y="29714"/>
                      </a:lnTo>
                      <a:lnTo>
                        <a:pt x="58034" y="34620"/>
                      </a:lnTo>
                      <a:lnTo>
                        <a:pt x="56584" y="38149"/>
                      </a:lnTo>
                      <a:lnTo>
                        <a:pt x="55744" y="50471"/>
                      </a:lnTo>
                      <a:lnTo>
                        <a:pt x="56665" y="52924"/>
                      </a:lnTo>
                      <a:lnTo>
                        <a:pt x="58743" y="56844"/>
                      </a:lnTo>
                      <a:lnTo>
                        <a:pt x="60169" y="63079"/>
                      </a:lnTo>
                      <a:lnTo>
                        <a:pt x="60618" y="67716"/>
                      </a:lnTo>
                      <a:lnTo>
                        <a:pt x="61914" y="71400"/>
                      </a:lnTo>
                      <a:lnTo>
                        <a:pt x="61506" y="80039"/>
                      </a:lnTo>
                      <a:lnTo>
                        <a:pt x="61995" y="82663"/>
                      </a:lnTo>
                      <a:lnTo>
                        <a:pt x="63967" y="86958"/>
                      </a:lnTo>
                      <a:lnTo>
                        <a:pt x="67618" y="90992"/>
                      </a:lnTo>
                      <a:lnTo>
                        <a:pt x="68376" y="93119"/>
                      </a:lnTo>
                      <a:lnTo>
                        <a:pt x="73176" y="96183"/>
                      </a:lnTo>
                      <a:lnTo>
                        <a:pt x="76078" y="100193"/>
                      </a:lnTo>
                      <a:lnTo>
                        <a:pt x="81856" y="105637"/>
                      </a:lnTo>
                      <a:lnTo>
                        <a:pt x="83682" y="107927"/>
                      </a:lnTo>
                      <a:lnTo>
                        <a:pt x="88897" y="116419"/>
                      </a:lnTo>
                      <a:lnTo>
                        <a:pt x="89068" y="118937"/>
                      </a:lnTo>
                      <a:lnTo>
                        <a:pt x="90030" y="122026"/>
                      </a:lnTo>
                      <a:lnTo>
                        <a:pt x="92948" y="121390"/>
                      </a:lnTo>
                      <a:lnTo>
                        <a:pt x="94268" y="123745"/>
                      </a:lnTo>
                      <a:lnTo>
                        <a:pt x="94113" y="124830"/>
                      </a:lnTo>
                      <a:lnTo>
                        <a:pt x="94464" y="125661"/>
                      </a:lnTo>
                      <a:lnTo>
                        <a:pt x="95996" y="125473"/>
                      </a:lnTo>
                      <a:lnTo>
                        <a:pt x="97316" y="126117"/>
                      </a:lnTo>
                      <a:lnTo>
                        <a:pt x="100087" y="135277"/>
                      </a:lnTo>
                      <a:lnTo>
                        <a:pt x="101578" y="136524"/>
                      </a:lnTo>
                      <a:lnTo>
                        <a:pt x="103485" y="137054"/>
                      </a:lnTo>
                      <a:lnTo>
                        <a:pt x="105612" y="138065"/>
                      </a:lnTo>
                      <a:lnTo>
                        <a:pt x="105751" y="140412"/>
                      </a:lnTo>
                      <a:lnTo>
                        <a:pt x="105669" y="142278"/>
                      </a:lnTo>
                      <a:lnTo>
                        <a:pt x="107479" y="144984"/>
                      </a:lnTo>
                      <a:lnTo>
                        <a:pt x="107169" y="148643"/>
                      </a:lnTo>
                      <a:lnTo>
                        <a:pt x="108628" y="151732"/>
                      </a:lnTo>
                      <a:lnTo>
                        <a:pt x="108408" y="154731"/>
                      </a:lnTo>
                      <a:lnTo>
                        <a:pt x="109003" y="157102"/>
                      </a:lnTo>
                      <a:lnTo>
                        <a:pt x="113509" y="162457"/>
                      </a:lnTo>
                      <a:lnTo>
                        <a:pt x="119051" y="166711"/>
                      </a:lnTo>
                      <a:lnTo>
                        <a:pt x="120209" y="172293"/>
                      </a:lnTo>
                      <a:lnTo>
                        <a:pt x="122466" y="177387"/>
                      </a:lnTo>
                      <a:lnTo>
                        <a:pt x="124781" y="178683"/>
                      </a:lnTo>
                      <a:lnTo>
                        <a:pt x="127119" y="180802"/>
                      </a:lnTo>
                      <a:lnTo>
                        <a:pt x="126834" y="183002"/>
                      </a:lnTo>
                      <a:lnTo>
                        <a:pt x="126997" y="184355"/>
                      </a:lnTo>
                      <a:lnTo>
                        <a:pt x="130119" y="188373"/>
                      </a:lnTo>
                      <a:lnTo>
                        <a:pt x="130624" y="193483"/>
                      </a:lnTo>
                      <a:lnTo>
                        <a:pt x="133321" y="196832"/>
                      </a:lnTo>
                      <a:lnTo>
                        <a:pt x="134079" y="197093"/>
                      </a:lnTo>
                      <a:lnTo>
                        <a:pt x="134674" y="196572"/>
                      </a:lnTo>
                      <a:lnTo>
                        <a:pt x="132718" y="193214"/>
                      </a:lnTo>
                      <a:lnTo>
                        <a:pt x="131765" y="191030"/>
                      </a:lnTo>
                      <a:lnTo>
                        <a:pt x="131643" y="187582"/>
                      </a:lnTo>
                      <a:lnTo>
                        <a:pt x="132303" y="187126"/>
                      </a:lnTo>
                      <a:lnTo>
                        <a:pt x="137893" y="192562"/>
                      </a:lnTo>
                      <a:lnTo>
                        <a:pt x="138480" y="196629"/>
                      </a:lnTo>
                      <a:lnTo>
                        <a:pt x="140355" y="198919"/>
                      </a:lnTo>
                      <a:lnTo>
                        <a:pt x="140493" y="202016"/>
                      </a:lnTo>
                      <a:lnTo>
                        <a:pt x="141642" y="203866"/>
                      </a:lnTo>
                      <a:lnTo>
                        <a:pt x="141985" y="206555"/>
                      </a:lnTo>
                      <a:lnTo>
                        <a:pt x="143786" y="210956"/>
                      </a:lnTo>
                      <a:lnTo>
                        <a:pt x="143826" y="217076"/>
                      </a:lnTo>
                      <a:lnTo>
                        <a:pt x="144788" y="221534"/>
                      </a:lnTo>
                      <a:lnTo>
                        <a:pt x="148309" y="228372"/>
                      </a:lnTo>
                      <a:lnTo>
                        <a:pt x="151161" y="229806"/>
                      </a:lnTo>
                      <a:lnTo>
                        <a:pt x="151675" y="233164"/>
                      </a:lnTo>
                      <a:lnTo>
                        <a:pt x="154641" y="241843"/>
                      </a:lnTo>
                      <a:lnTo>
                        <a:pt x="158072" y="246546"/>
                      </a:lnTo>
                      <a:lnTo>
                        <a:pt x="159784" y="250531"/>
                      </a:lnTo>
                      <a:lnTo>
                        <a:pt x="160020" y="253017"/>
                      </a:lnTo>
                      <a:lnTo>
                        <a:pt x="158740" y="256684"/>
                      </a:lnTo>
                      <a:lnTo>
                        <a:pt x="158602" y="259243"/>
                      </a:lnTo>
                      <a:lnTo>
                        <a:pt x="160468" y="267034"/>
                      </a:lnTo>
                      <a:lnTo>
                        <a:pt x="163255" y="271019"/>
                      </a:lnTo>
                      <a:lnTo>
                        <a:pt x="166369" y="271989"/>
                      </a:lnTo>
                      <a:lnTo>
                        <a:pt x="166906" y="272560"/>
                      </a:lnTo>
                      <a:lnTo>
                        <a:pt x="166662" y="273627"/>
                      </a:lnTo>
                      <a:lnTo>
                        <a:pt x="167705" y="274589"/>
                      </a:lnTo>
                      <a:lnTo>
                        <a:pt x="168887" y="273366"/>
                      </a:lnTo>
                      <a:lnTo>
                        <a:pt x="169457" y="271630"/>
                      </a:lnTo>
                      <a:lnTo>
                        <a:pt x="168862" y="269618"/>
                      </a:lnTo>
                      <a:lnTo>
                        <a:pt x="168765" y="268151"/>
                      </a:lnTo>
                      <a:lnTo>
                        <a:pt x="169286" y="267099"/>
                      </a:lnTo>
                      <a:lnTo>
                        <a:pt x="170297" y="266936"/>
                      </a:lnTo>
                      <a:lnTo>
                        <a:pt x="176254" y="272266"/>
                      </a:lnTo>
                      <a:lnTo>
                        <a:pt x="177257" y="274312"/>
                      </a:lnTo>
                      <a:lnTo>
                        <a:pt x="179473" y="276700"/>
                      </a:lnTo>
                      <a:lnTo>
                        <a:pt x="181503" y="279642"/>
                      </a:lnTo>
                      <a:lnTo>
                        <a:pt x="182383" y="281964"/>
                      </a:lnTo>
                      <a:lnTo>
                        <a:pt x="184005" y="283871"/>
                      </a:lnTo>
                      <a:lnTo>
                        <a:pt x="184852" y="288313"/>
                      </a:lnTo>
                      <a:lnTo>
                        <a:pt x="188992" y="290302"/>
                      </a:lnTo>
                      <a:lnTo>
                        <a:pt x="191193" y="293985"/>
                      </a:lnTo>
                      <a:lnTo>
                        <a:pt x="191348" y="296308"/>
                      </a:lnTo>
                      <a:lnTo>
                        <a:pt x="190280" y="302265"/>
                      </a:lnTo>
                      <a:lnTo>
                        <a:pt x="189343" y="303977"/>
                      </a:lnTo>
                      <a:lnTo>
                        <a:pt x="185993" y="306512"/>
                      </a:lnTo>
                      <a:lnTo>
                        <a:pt x="183573" y="309535"/>
                      </a:lnTo>
                      <a:lnTo>
                        <a:pt x="181217" y="311401"/>
                      </a:lnTo>
                      <a:lnTo>
                        <a:pt x="178724" y="312526"/>
                      </a:lnTo>
                      <a:lnTo>
                        <a:pt x="176678" y="312273"/>
                      </a:lnTo>
                      <a:lnTo>
                        <a:pt x="174698" y="308801"/>
                      </a:lnTo>
                      <a:lnTo>
                        <a:pt x="172351" y="298321"/>
                      </a:lnTo>
                      <a:lnTo>
                        <a:pt x="170778" y="296112"/>
                      </a:lnTo>
                      <a:lnTo>
                        <a:pt x="169669" y="292820"/>
                      </a:lnTo>
                      <a:lnTo>
                        <a:pt x="167836" y="290090"/>
                      </a:lnTo>
                      <a:lnTo>
                        <a:pt x="161210" y="285958"/>
                      </a:lnTo>
                      <a:lnTo>
                        <a:pt x="157860" y="281590"/>
                      </a:lnTo>
                      <a:lnTo>
                        <a:pt x="154625" y="278672"/>
                      </a:lnTo>
                      <a:lnTo>
                        <a:pt x="151137" y="274442"/>
                      </a:lnTo>
                      <a:lnTo>
                        <a:pt x="141626" y="267442"/>
                      </a:lnTo>
                      <a:lnTo>
                        <a:pt x="137690" y="263872"/>
                      </a:lnTo>
                      <a:lnTo>
                        <a:pt x="135090" y="260335"/>
                      </a:lnTo>
                      <a:lnTo>
                        <a:pt x="133411" y="260384"/>
                      </a:lnTo>
                      <a:lnTo>
                        <a:pt x="132124" y="260751"/>
                      </a:lnTo>
                      <a:lnTo>
                        <a:pt x="131634" y="259781"/>
                      </a:lnTo>
                      <a:lnTo>
                        <a:pt x="131561" y="257947"/>
                      </a:lnTo>
                      <a:lnTo>
                        <a:pt x="130983" y="256749"/>
                      </a:lnTo>
                      <a:lnTo>
                        <a:pt x="125424" y="251419"/>
                      </a:lnTo>
                      <a:lnTo>
                        <a:pt x="124267" y="248469"/>
                      </a:lnTo>
                      <a:lnTo>
                        <a:pt x="124031" y="245046"/>
                      </a:lnTo>
                      <a:lnTo>
                        <a:pt x="125278" y="236220"/>
                      </a:lnTo>
                      <a:lnTo>
                        <a:pt x="125832" y="231045"/>
                      </a:lnTo>
                      <a:lnTo>
                        <a:pt x="125490" y="228380"/>
                      </a:lnTo>
                      <a:lnTo>
                        <a:pt x="124903" y="228021"/>
                      </a:lnTo>
                      <a:lnTo>
                        <a:pt x="124373" y="226579"/>
                      </a:lnTo>
                      <a:lnTo>
                        <a:pt x="124243" y="222316"/>
                      </a:lnTo>
                      <a:lnTo>
                        <a:pt x="122898" y="217679"/>
                      </a:lnTo>
                      <a:lnTo>
                        <a:pt x="117853" y="208177"/>
                      </a:lnTo>
                      <a:lnTo>
                        <a:pt x="114161" y="206302"/>
                      </a:lnTo>
                      <a:lnTo>
                        <a:pt x="110877" y="204933"/>
                      </a:lnTo>
                      <a:lnTo>
                        <a:pt x="101888" y="196515"/>
                      </a:lnTo>
                      <a:lnTo>
                        <a:pt x="99451" y="192301"/>
                      </a:lnTo>
                      <a:lnTo>
                        <a:pt x="98856" y="189905"/>
                      </a:lnTo>
                      <a:lnTo>
                        <a:pt x="98547" y="185032"/>
                      </a:lnTo>
                      <a:lnTo>
                        <a:pt x="97308" y="187851"/>
                      </a:lnTo>
                      <a:lnTo>
                        <a:pt x="95661" y="189938"/>
                      </a:lnTo>
                      <a:lnTo>
                        <a:pt x="91848" y="189791"/>
                      </a:lnTo>
                      <a:lnTo>
                        <a:pt x="87561" y="192154"/>
                      </a:lnTo>
                      <a:lnTo>
                        <a:pt x="85018" y="189938"/>
                      </a:lnTo>
                      <a:lnTo>
                        <a:pt x="83649" y="187419"/>
                      </a:lnTo>
                      <a:lnTo>
                        <a:pt x="81554" y="184388"/>
                      </a:lnTo>
                      <a:lnTo>
                        <a:pt x="79199" y="183793"/>
                      </a:lnTo>
                      <a:lnTo>
                        <a:pt x="77700" y="183719"/>
                      </a:lnTo>
                      <a:lnTo>
                        <a:pt x="74880" y="179979"/>
                      </a:lnTo>
                      <a:lnTo>
                        <a:pt x="72606" y="178789"/>
                      </a:lnTo>
                      <a:lnTo>
                        <a:pt x="69346" y="178332"/>
                      </a:lnTo>
                      <a:lnTo>
                        <a:pt x="66575" y="176425"/>
                      </a:lnTo>
                      <a:lnTo>
                        <a:pt x="65728" y="174355"/>
                      </a:lnTo>
                      <a:lnTo>
                        <a:pt x="65263" y="171421"/>
                      </a:lnTo>
                      <a:lnTo>
                        <a:pt x="64228" y="169677"/>
                      </a:lnTo>
                      <a:lnTo>
                        <a:pt x="59868" y="166238"/>
                      </a:lnTo>
                      <a:lnTo>
                        <a:pt x="56315" y="162441"/>
                      </a:lnTo>
                      <a:lnTo>
                        <a:pt x="52973" y="159995"/>
                      </a:lnTo>
                      <a:lnTo>
                        <a:pt x="51987" y="157999"/>
                      </a:lnTo>
                      <a:lnTo>
                        <a:pt x="51906" y="156630"/>
                      </a:lnTo>
                      <a:lnTo>
                        <a:pt x="57178" y="157013"/>
                      </a:lnTo>
                      <a:lnTo>
                        <a:pt x="63462" y="158472"/>
                      </a:lnTo>
                      <a:lnTo>
                        <a:pt x="66477" y="158064"/>
                      </a:lnTo>
                      <a:lnTo>
                        <a:pt x="68352" y="156654"/>
                      </a:lnTo>
                      <a:lnTo>
                        <a:pt x="70145" y="155636"/>
                      </a:lnTo>
                      <a:lnTo>
                        <a:pt x="70430" y="156727"/>
                      </a:lnTo>
                      <a:lnTo>
                        <a:pt x="70104" y="158724"/>
                      </a:lnTo>
                      <a:lnTo>
                        <a:pt x="71832" y="160558"/>
                      </a:lnTo>
                      <a:lnTo>
                        <a:pt x="74195" y="162033"/>
                      </a:lnTo>
                      <a:lnTo>
                        <a:pt x="75882" y="161903"/>
                      </a:lnTo>
                      <a:lnTo>
                        <a:pt x="74244" y="160281"/>
                      </a:lnTo>
                      <a:lnTo>
                        <a:pt x="73242" y="156980"/>
                      </a:lnTo>
                      <a:lnTo>
                        <a:pt x="73690" y="155790"/>
                      </a:lnTo>
                      <a:lnTo>
                        <a:pt x="73657" y="154144"/>
                      </a:lnTo>
                      <a:lnTo>
                        <a:pt x="71326" y="154511"/>
                      </a:lnTo>
                      <a:lnTo>
                        <a:pt x="70992" y="153663"/>
                      </a:lnTo>
                      <a:lnTo>
                        <a:pt x="72997" y="151161"/>
                      </a:lnTo>
                      <a:lnTo>
                        <a:pt x="75295" y="144544"/>
                      </a:lnTo>
                      <a:lnTo>
                        <a:pt x="76387" y="138024"/>
                      </a:lnTo>
                      <a:lnTo>
                        <a:pt x="73983" y="132303"/>
                      </a:lnTo>
                      <a:lnTo>
                        <a:pt x="69925" y="128334"/>
                      </a:lnTo>
                      <a:lnTo>
                        <a:pt x="61115" y="116688"/>
                      </a:lnTo>
                      <a:lnTo>
                        <a:pt x="55866" y="110706"/>
                      </a:lnTo>
                      <a:lnTo>
                        <a:pt x="54342" y="108473"/>
                      </a:lnTo>
                      <a:lnTo>
                        <a:pt x="52949" y="107422"/>
                      </a:lnTo>
                      <a:lnTo>
                        <a:pt x="48662" y="106052"/>
                      </a:lnTo>
                      <a:lnTo>
                        <a:pt x="45068" y="102703"/>
                      </a:lnTo>
                      <a:lnTo>
                        <a:pt x="38768" y="97960"/>
                      </a:lnTo>
                      <a:lnTo>
                        <a:pt x="36079" y="95507"/>
                      </a:lnTo>
                      <a:lnTo>
                        <a:pt x="34221" y="89753"/>
                      </a:lnTo>
                      <a:lnTo>
                        <a:pt x="32746" y="88971"/>
                      </a:lnTo>
                      <a:lnTo>
                        <a:pt x="33210" y="84994"/>
                      </a:lnTo>
                      <a:lnTo>
                        <a:pt x="32558" y="77952"/>
                      </a:lnTo>
                      <a:lnTo>
                        <a:pt x="31507" y="76143"/>
                      </a:lnTo>
                      <a:lnTo>
                        <a:pt x="28092" y="74391"/>
                      </a:lnTo>
                      <a:lnTo>
                        <a:pt x="27277" y="69599"/>
                      </a:lnTo>
                      <a:lnTo>
                        <a:pt x="27106" y="65027"/>
                      </a:lnTo>
                      <a:lnTo>
                        <a:pt x="26438" y="61848"/>
                      </a:lnTo>
                      <a:lnTo>
                        <a:pt x="20635" y="56486"/>
                      </a:lnTo>
                      <a:lnTo>
                        <a:pt x="20301" y="53886"/>
                      </a:lnTo>
                      <a:lnTo>
                        <a:pt x="20301" y="51425"/>
                      </a:lnTo>
                      <a:lnTo>
                        <a:pt x="19714" y="48988"/>
                      </a:lnTo>
                      <a:lnTo>
                        <a:pt x="16609" y="43878"/>
                      </a:lnTo>
                      <a:lnTo>
                        <a:pt x="12868" y="39412"/>
                      </a:lnTo>
                      <a:lnTo>
                        <a:pt x="11565" y="37285"/>
                      </a:lnTo>
                      <a:lnTo>
                        <a:pt x="11410" y="32958"/>
                      </a:lnTo>
                      <a:lnTo>
                        <a:pt x="10073" y="31792"/>
                      </a:lnTo>
                      <a:lnTo>
                        <a:pt x="10578" y="31499"/>
                      </a:lnTo>
                      <a:lnTo>
                        <a:pt x="11809" y="31605"/>
                      </a:lnTo>
                      <a:lnTo>
                        <a:pt x="12510" y="31034"/>
                      </a:lnTo>
                      <a:lnTo>
                        <a:pt x="12583" y="28019"/>
                      </a:lnTo>
                      <a:lnTo>
                        <a:pt x="6952" y="23276"/>
                      </a:lnTo>
                      <a:lnTo>
                        <a:pt x="5330" y="16756"/>
                      </a:lnTo>
                      <a:lnTo>
                        <a:pt x="2323" y="13308"/>
                      </a:lnTo>
                      <a:lnTo>
                        <a:pt x="1622" y="12053"/>
                      </a:lnTo>
                      <a:lnTo>
                        <a:pt x="0" y="5892"/>
                      </a:lnTo>
                      <a:lnTo>
                        <a:pt x="7098" y="5200"/>
                      </a:lnTo>
                      <a:lnTo>
                        <a:pt x="14197" y="4507"/>
                      </a:lnTo>
                      <a:lnTo>
                        <a:pt x="21295" y="3814"/>
                      </a:lnTo>
                      <a:lnTo>
                        <a:pt x="28394" y="3121"/>
                      </a:lnTo>
                      <a:lnTo>
                        <a:pt x="35492" y="2420"/>
                      </a:lnTo>
                      <a:lnTo>
                        <a:pt x="42590" y="1728"/>
                      </a:lnTo>
                      <a:lnTo>
                        <a:pt x="49689" y="1035"/>
                      </a:lnTo>
                      <a:lnTo>
                        <a:pt x="56787" y="342"/>
                      </a:lnTo>
                      <a:lnTo>
                        <a:pt x="59623" y="0"/>
                      </a:lnTo>
                      <a:lnTo>
                        <a:pt x="58059" y="4890"/>
                      </a:lnTo>
                      <a:lnTo>
                        <a:pt x="56869" y="6732"/>
                      </a:lnTo>
                      <a:lnTo>
                        <a:pt x="68629" y="11532"/>
                      </a:lnTo>
                      <a:lnTo>
                        <a:pt x="80389" y="16332"/>
                      </a:lnTo>
                      <a:lnTo>
                        <a:pt x="92149" y="21124"/>
                      </a:lnTo>
                      <a:lnTo>
                        <a:pt x="103901" y="25924"/>
                      </a:lnTo>
                      <a:close/>
                    </a:path>
                  </a:pathLst>
                </a:custGeom>
                <a:solidFill>
                  <a:srgbClr val="D6D6D2"/>
                </a:solidFill>
                <a:ln w="6112" cap="rnd">
                  <a:solidFill>
                    <a:srgbClr val="FFFFFF"/>
                  </a:solidFill>
                  <a:prstDash val="solid"/>
                  <a:round/>
                </a:ln>
              </p:spPr>
              <p:txBody>
                <a:bodyPr rtlCol="0" anchor="ctr"/>
                <a:lstStyle/>
                <a:p>
                  <a:endParaRPr lang="en-US"/>
                </a:p>
              </p:txBody>
            </p:sp>
            <p:sp>
              <p:nvSpPr>
                <p:cNvPr id="683" name="Freeform: Shape 682">
                  <a:extLst>
                    <a:ext uri="{FF2B5EF4-FFF2-40B4-BE49-F238E27FC236}">
                      <a16:creationId xmlns:a16="http://schemas.microsoft.com/office/drawing/2014/main" id="{1E307E1A-D74C-4C18-B686-F45C1D1C565E}"/>
                    </a:ext>
                  </a:extLst>
                </p:cNvPr>
                <p:cNvSpPr/>
                <p:nvPr/>
              </p:nvSpPr>
              <p:spPr>
                <a:xfrm>
                  <a:off x="7016536" y="4887534"/>
                  <a:ext cx="179196" cy="415497"/>
                </a:xfrm>
                <a:custGeom>
                  <a:avLst/>
                  <a:gdLst>
                    <a:gd name="connsiteX0" fmla="*/ 155750 w 179196"/>
                    <a:gd name="connsiteY0" fmla="*/ 10644 h 415497"/>
                    <a:gd name="connsiteX1" fmla="*/ 156890 w 179196"/>
                    <a:gd name="connsiteY1" fmla="*/ 13814 h 415497"/>
                    <a:gd name="connsiteX2" fmla="*/ 158219 w 179196"/>
                    <a:gd name="connsiteY2" fmla="*/ 16854 h 415497"/>
                    <a:gd name="connsiteX3" fmla="*/ 162367 w 179196"/>
                    <a:gd name="connsiteY3" fmla="*/ 24205 h 415497"/>
                    <a:gd name="connsiteX4" fmla="*/ 164144 w 179196"/>
                    <a:gd name="connsiteY4" fmla="*/ 27041 h 415497"/>
                    <a:gd name="connsiteX5" fmla="*/ 165660 w 179196"/>
                    <a:gd name="connsiteY5" fmla="*/ 30048 h 415497"/>
                    <a:gd name="connsiteX6" fmla="*/ 166401 w 179196"/>
                    <a:gd name="connsiteY6" fmla="*/ 36046 h 415497"/>
                    <a:gd name="connsiteX7" fmla="*/ 169033 w 179196"/>
                    <a:gd name="connsiteY7" fmla="*/ 45386 h 415497"/>
                    <a:gd name="connsiteX8" fmla="*/ 171527 w 179196"/>
                    <a:gd name="connsiteY8" fmla="*/ 59436 h 415497"/>
                    <a:gd name="connsiteX9" fmla="*/ 172285 w 179196"/>
                    <a:gd name="connsiteY9" fmla="*/ 73853 h 415497"/>
                    <a:gd name="connsiteX10" fmla="*/ 173059 w 179196"/>
                    <a:gd name="connsiteY10" fmla="*/ 80479 h 415497"/>
                    <a:gd name="connsiteX11" fmla="*/ 174991 w 179196"/>
                    <a:gd name="connsiteY11" fmla="*/ 86713 h 415497"/>
                    <a:gd name="connsiteX12" fmla="*/ 178169 w 179196"/>
                    <a:gd name="connsiteY12" fmla="*/ 93184 h 415497"/>
                    <a:gd name="connsiteX13" fmla="*/ 179196 w 179196"/>
                    <a:gd name="connsiteY13" fmla="*/ 100388 h 415497"/>
                    <a:gd name="connsiteX14" fmla="*/ 177249 w 179196"/>
                    <a:gd name="connsiteY14" fmla="*/ 107813 h 415497"/>
                    <a:gd name="connsiteX15" fmla="*/ 174445 w 179196"/>
                    <a:gd name="connsiteY15" fmla="*/ 114814 h 415497"/>
                    <a:gd name="connsiteX16" fmla="*/ 173728 w 179196"/>
                    <a:gd name="connsiteY16" fmla="*/ 116125 h 415497"/>
                    <a:gd name="connsiteX17" fmla="*/ 172407 w 179196"/>
                    <a:gd name="connsiteY17" fmla="*/ 117918 h 415497"/>
                    <a:gd name="connsiteX18" fmla="*/ 171812 w 179196"/>
                    <a:gd name="connsiteY18" fmla="*/ 117837 h 415497"/>
                    <a:gd name="connsiteX19" fmla="*/ 169563 w 179196"/>
                    <a:gd name="connsiteY19" fmla="*/ 116028 h 415497"/>
                    <a:gd name="connsiteX20" fmla="*/ 167730 w 179196"/>
                    <a:gd name="connsiteY20" fmla="*/ 113078 h 415497"/>
                    <a:gd name="connsiteX21" fmla="*/ 165399 w 179196"/>
                    <a:gd name="connsiteY21" fmla="*/ 106118 h 415497"/>
                    <a:gd name="connsiteX22" fmla="*/ 164551 w 179196"/>
                    <a:gd name="connsiteY22" fmla="*/ 102573 h 415497"/>
                    <a:gd name="connsiteX23" fmla="*/ 163582 w 179196"/>
                    <a:gd name="connsiteY23" fmla="*/ 102035 h 415497"/>
                    <a:gd name="connsiteX24" fmla="*/ 160859 w 179196"/>
                    <a:gd name="connsiteY24" fmla="*/ 102344 h 415497"/>
                    <a:gd name="connsiteX25" fmla="*/ 158887 w 179196"/>
                    <a:gd name="connsiteY25" fmla="*/ 104545 h 415497"/>
                    <a:gd name="connsiteX26" fmla="*/ 158529 w 179196"/>
                    <a:gd name="connsiteY26" fmla="*/ 105922 h 415497"/>
                    <a:gd name="connsiteX27" fmla="*/ 158961 w 179196"/>
                    <a:gd name="connsiteY27" fmla="*/ 109858 h 415497"/>
                    <a:gd name="connsiteX28" fmla="*/ 159710 w 179196"/>
                    <a:gd name="connsiteY28" fmla="*/ 113379 h 415497"/>
                    <a:gd name="connsiteX29" fmla="*/ 160037 w 179196"/>
                    <a:gd name="connsiteY29" fmla="*/ 116957 h 415497"/>
                    <a:gd name="connsiteX30" fmla="*/ 160102 w 179196"/>
                    <a:gd name="connsiteY30" fmla="*/ 121480 h 415497"/>
                    <a:gd name="connsiteX31" fmla="*/ 160835 w 179196"/>
                    <a:gd name="connsiteY31" fmla="*/ 122849 h 415497"/>
                    <a:gd name="connsiteX32" fmla="*/ 161919 w 179196"/>
                    <a:gd name="connsiteY32" fmla="*/ 123998 h 415497"/>
                    <a:gd name="connsiteX33" fmla="*/ 163035 w 179196"/>
                    <a:gd name="connsiteY33" fmla="*/ 126948 h 415497"/>
                    <a:gd name="connsiteX34" fmla="*/ 163231 w 179196"/>
                    <a:gd name="connsiteY34" fmla="*/ 133998 h 415497"/>
                    <a:gd name="connsiteX35" fmla="*/ 162546 w 179196"/>
                    <a:gd name="connsiteY35" fmla="*/ 137568 h 415497"/>
                    <a:gd name="connsiteX36" fmla="*/ 160631 w 179196"/>
                    <a:gd name="connsiteY36" fmla="*/ 140615 h 415497"/>
                    <a:gd name="connsiteX37" fmla="*/ 160745 w 179196"/>
                    <a:gd name="connsiteY37" fmla="*/ 142319 h 415497"/>
                    <a:gd name="connsiteX38" fmla="*/ 161454 w 179196"/>
                    <a:gd name="connsiteY38" fmla="*/ 144047 h 415497"/>
                    <a:gd name="connsiteX39" fmla="*/ 160778 w 179196"/>
                    <a:gd name="connsiteY39" fmla="*/ 145090 h 415497"/>
                    <a:gd name="connsiteX40" fmla="*/ 158235 w 179196"/>
                    <a:gd name="connsiteY40" fmla="*/ 146418 h 415497"/>
                    <a:gd name="connsiteX41" fmla="*/ 157200 w 179196"/>
                    <a:gd name="connsiteY41" fmla="*/ 147608 h 415497"/>
                    <a:gd name="connsiteX42" fmla="*/ 155815 w 179196"/>
                    <a:gd name="connsiteY42" fmla="*/ 150713 h 415497"/>
                    <a:gd name="connsiteX43" fmla="*/ 153590 w 179196"/>
                    <a:gd name="connsiteY43" fmla="*/ 157078 h 415497"/>
                    <a:gd name="connsiteX44" fmla="*/ 153280 w 179196"/>
                    <a:gd name="connsiteY44" fmla="*/ 160330 h 415497"/>
                    <a:gd name="connsiteX45" fmla="*/ 154682 w 179196"/>
                    <a:gd name="connsiteY45" fmla="*/ 170223 h 415497"/>
                    <a:gd name="connsiteX46" fmla="*/ 154282 w 179196"/>
                    <a:gd name="connsiteY46" fmla="*/ 177241 h 415497"/>
                    <a:gd name="connsiteX47" fmla="*/ 151438 w 179196"/>
                    <a:gd name="connsiteY47" fmla="*/ 190679 h 415497"/>
                    <a:gd name="connsiteX48" fmla="*/ 149792 w 179196"/>
                    <a:gd name="connsiteY48" fmla="*/ 197060 h 415497"/>
                    <a:gd name="connsiteX49" fmla="*/ 147478 w 179196"/>
                    <a:gd name="connsiteY49" fmla="*/ 204697 h 415497"/>
                    <a:gd name="connsiteX50" fmla="*/ 143924 w 179196"/>
                    <a:gd name="connsiteY50" fmla="*/ 214762 h 415497"/>
                    <a:gd name="connsiteX51" fmla="*/ 140395 w 179196"/>
                    <a:gd name="connsiteY51" fmla="*/ 227426 h 415497"/>
                    <a:gd name="connsiteX52" fmla="*/ 137404 w 179196"/>
                    <a:gd name="connsiteY52" fmla="*/ 240466 h 415497"/>
                    <a:gd name="connsiteX53" fmla="*/ 135196 w 179196"/>
                    <a:gd name="connsiteY53" fmla="*/ 248314 h 415497"/>
                    <a:gd name="connsiteX54" fmla="*/ 132686 w 179196"/>
                    <a:gd name="connsiteY54" fmla="*/ 256048 h 415497"/>
                    <a:gd name="connsiteX55" fmla="*/ 129247 w 179196"/>
                    <a:gd name="connsiteY55" fmla="*/ 269740 h 415497"/>
                    <a:gd name="connsiteX56" fmla="*/ 126329 w 179196"/>
                    <a:gd name="connsiteY56" fmla="*/ 283651 h 415497"/>
                    <a:gd name="connsiteX57" fmla="*/ 121985 w 179196"/>
                    <a:gd name="connsiteY57" fmla="*/ 298973 h 415497"/>
                    <a:gd name="connsiteX58" fmla="*/ 116003 w 179196"/>
                    <a:gd name="connsiteY58" fmla="*/ 316104 h 415497"/>
                    <a:gd name="connsiteX59" fmla="*/ 115359 w 179196"/>
                    <a:gd name="connsiteY59" fmla="*/ 318337 h 415497"/>
                    <a:gd name="connsiteX60" fmla="*/ 114121 w 179196"/>
                    <a:gd name="connsiteY60" fmla="*/ 327098 h 415497"/>
                    <a:gd name="connsiteX61" fmla="*/ 112768 w 179196"/>
                    <a:gd name="connsiteY61" fmla="*/ 334710 h 415497"/>
                    <a:gd name="connsiteX62" fmla="*/ 111178 w 179196"/>
                    <a:gd name="connsiteY62" fmla="*/ 342264 h 415497"/>
                    <a:gd name="connsiteX63" fmla="*/ 107821 w 179196"/>
                    <a:gd name="connsiteY63" fmla="*/ 354733 h 415497"/>
                    <a:gd name="connsiteX64" fmla="*/ 107438 w 179196"/>
                    <a:gd name="connsiteY64" fmla="*/ 358596 h 415497"/>
                    <a:gd name="connsiteX65" fmla="*/ 106672 w 179196"/>
                    <a:gd name="connsiteY65" fmla="*/ 362296 h 415497"/>
                    <a:gd name="connsiteX66" fmla="*/ 103445 w 179196"/>
                    <a:gd name="connsiteY66" fmla="*/ 370128 h 415497"/>
                    <a:gd name="connsiteX67" fmla="*/ 102076 w 179196"/>
                    <a:gd name="connsiteY67" fmla="*/ 373046 h 415497"/>
                    <a:gd name="connsiteX68" fmla="*/ 101114 w 179196"/>
                    <a:gd name="connsiteY68" fmla="*/ 376151 h 415497"/>
                    <a:gd name="connsiteX69" fmla="*/ 100576 w 179196"/>
                    <a:gd name="connsiteY69" fmla="*/ 380079 h 415497"/>
                    <a:gd name="connsiteX70" fmla="*/ 99606 w 179196"/>
                    <a:gd name="connsiteY70" fmla="*/ 383885 h 415497"/>
                    <a:gd name="connsiteX71" fmla="*/ 97234 w 179196"/>
                    <a:gd name="connsiteY71" fmla="*/ 390878 h 415497"/>
                    <a:gd name="connsiteX72" fmla="*/ 93706 w 179196"/>
                    <a:gd name="connsiteY72" fmla="*/ 396892 h 415497"/>
                    <a:gd name="connsiteX73" fmla="*/ 91301 w 179196"/>
                    <a:gd name="connsiteY73" fmla="*/ 399092 h 415497"/>
                    <a:gd name="connsiteX74" fmla="*/ 86102 w 179196"/>
                    <a:gd name="connsiteY74" fmla="*/ 402279 h 415497"/>
                    <a:gd name="connsiteX75" fmla="*/ 83461 w 179196"/>
                    <a:gd name="connsiteY75" fmla="*/ 402915 h 415497"/>
                    <a:gd name="connsiteX76" fmla="*/ 77618 w 179196"/>
                    <a:gd name="connsiteY76" fmla="*/ 402988 h 415497"/>
                    <a:gd name="connsiteX77" fmla="*/ 71970 w 179196"/>
                    <a:gd name="connsiteY77" fmla="*/ 404797 h 415497"/>
                    <a:gd name="connsiteX78" fmla="*/ 66078 w 179196"/>
                    <a:gd name="connsiteY78" fmla="*/ 408285 h 415497"/>
                    <a:gd name="connsiteX79" fmla="*/ 60398 w 179196"/>
                    <a:gd name="connsiteY79" fmla="*/ 412295 h 415497"/>
                    <a:gd name="connsiteX80" fmla="*/ 58230 w 179196"/>
                    <a:gd name="connsiteY80" fmla="*/ 414178 h 415497"/>
                    <a:gd name="connsiteX81" fmla="*/ 55834 w 179196"/>
                    <a:gd name="connsiteY81" fmla="*/ 415278 h 415497"/>
                    <a:gd name="connsiteX82" fmla="*/ 48328 w 179196"/>
                    <a:gd name="connsiteY82" fmla="*/ 415498 h 415497"/>
                    <a:gd name="connsiteX83" fmla="*/ 46086 w 179196"/>
                    <a:gd name="connsiteY83" fmla="*/ 414642 h 415497"/>
                    <a:gd name="connsiteX84" fmla="*/ 38589 w 179196"/>
                    <a:gd name="connsiteY84" fmla="*/ 408057 h 415497"/>
                    <a:gd name="connsiteX85" fmla="*/ 35687 w 179196"/>
                    <a:gd name="connsiteY85" fmla="*/ 406981 h 415497"/>
                    <a:gd name="connsiteX86" fmla="*/ 30178 w 179196"/>
                    <a:gd name="connsiteY86" fmla="*/ 406077 h 415497"/>
                    <a:gd name="connsiteX87" fmla="*/ 28516 w 179196"/>
                    <a:gd name="connsiteY87" fmla="*/ 405531 h 415497"/>
                    <a:gd name="connsiteX88" fmla="*/ 27008 w 179196"/>
                    <a:gd name="connsiteY88" fmla="*/ 404675 h 415497"/>
                    <a:gd name="connsiteX89" fmla="*/ 24783 w 179196"/>
                    <a:gd name="connsiteY89" fmla="*/ 401236 h 415497"/>
                    <a:gd name="connsiteX90" fmla="*/ 20374 w 179196"/>
                    <a:gd name="connsiteY90" fmla="*/ 398351 h 415497"/>
                    <a:gd name="connsiteX91" fmla="*/ 19307 w 179196"/>
                    <a:gd name="connsiteY91" fmla="*/ 397438 h 415497"/>
                    <a:gd name="connsiteX92" fmla="*/ 18638 w 179196"/>
                    <a:gd name="connsiteY92" fmla="*/ 395441 h 415497"/>
                    <a:gd name="connsiteX93" fmla="*/ 18174 w 179196"/>
                    <a:gd name="connsiteY93" fmla="*/ 393290 h 415497"/>
                    <a:gd name="connsiteX94" fmla="*/ 17025 w 179196"/>
                    <a:gd name="connsiteY94" fmla="*/ 390869 h 415497"/>
                    <a:gd name="connsiteX95" fmla="*/ 16177 w 179196"/>
                    <a:gd name="connsiteY95" fmla="*/ 386289 h 415497"/>
                    <a:gd name="connsiteX96" fmla="*/ 14735 w 179196"/>
                    <a:gd name="connsiteY96" fmla="*/ 383070 h 415497"/>
                    <a:gd name="connsiteX97" fmla="*/ 10668 w 179196"/>
                    <a:gd name="connsiteY97" fmla="*/ 377422 h 415497"/>
                    <a:gd name="connsiteX98" fmla="*/ 10228 w 179196"/>
                    <a:gd name="connsiteY98" fmla="*/ 375621 h 415497"/>
                    <a:gd name="connsiteX99" fmla="*/ 9910 w 179196"/>
                    <a:gd name="connsiteY99" fmla="*/ 369615 h 415497"/>
                    <a:gd name="connsiteX100" fmla="*/ 10032 w 179196"/>
                    <a:gd name="connsiteY100" fmla="*/ 365565 h 415497"/>
                    <a:gd name="connsiteX101" fmla="*/ 9641 w 179196"/>
                    <a:gd name="connsiteY101" fmla="*/ 358148 h 415497"/>
                    <a:gd name="connsiteX102" fmla="*/ 10106 w 179196"/>
                    <a:gd name="connsiteY102" fmla="*/ 354652 h 415497"/>
                    <a:gd name="connsiteX103" fmla="*/ 11532 w 179196"/>
                    <a:gd name="connsiteY103" fmla="*/ 351506 h 415497"/>
                    <a:gd name="connsiteX104" fmla="*/ 10953 w 179196"/>
                    <a:gd name="connsiteY104" fmla="*/ 348116 h 415497"/>
                    <a:gd name="connsiteX105" fmla="*/ 9438 w 179196"/>
                    <a:gd name="connsiteY105" fmla="*/ 344538 h 415497"/>
                    <a:gd name="connsiteX106" fmla="*/ 8867 w 179196"/>
                    <a:gd name="connsiteY106" fmla="*/ 340854 h 415497"/>
                    <a:gd name="connsiteX107" fmla="*/ 7742 w 179196"/>
                    <a:gd name="connsiteY107" fmla="*/ 337489 h 415497"/>
                    <a:gd name="connsiteX108" fmla="*/ 3496 w 179196"/>
                    <a:gd name="connsiteY108" fmla="*/ 331450 h 415497"/>
                    <a:gd name="connsiteX109" fmla="*/ 2494 w 179196"/>
                    <a:gd name="connsiteY109" fmla="*/ 328459 h 415497"/>
                    <a:gd name="connsiteX110" fmla="*/ 1801 w 179196"/>
                    <a:gd name="connsiteY110" fmla="*/ 325386 h 415497"/>
                    <a:gd name="connsiteX111" fmla="*/ 195 w 179196"/>
                    <a:gd name="connsiteY111" fmla="*/ 315794 h 415497"/>
                    <a:gd name="connsiteX112" fmla="*/ 0 w 179196"/>
                    <a:gd name="connsiteY112" fmla="*/ 312461 h 415497"/>
                    <a:gd name="connsiteX113" fmla="*/ 244 w 179196"/>
                    <a:gd name="connsiteY113" fmla="*/ 305395 h 415497"/>
                    <a:gd name="connsiteX114" fmla="*/ 823 w 179196"/>
                    <a:gd name="connsiteY114" fmla="*/ 301776 h 415497"/>
                    <a:gd name="connsiteX115" fmla="*/ 1866 w 179196"/>
                    <a:gd name="connsiteY115" fmla="*/ 299250 h 415497"/>
                    <a:gd name="connsiteX116" fmla="*/ 2119 w 179196"/>
                    <a:gd name="connsiteY116" fmla="*/ 297359 h 415497"/>
                    <a:gd name="connsiteX117" fmla="*/ 2787 w 179196"/>
                    <a:gd name="connsiteY117" fmla="*/ 295746 h 415497"/>
                    <a:gd name="connsiteX118" fmla="*/ 3798 w 179196"/>
                    <a:gd name="connsiteY118" fmla="*/ 294442 h 415497"/>
                    <a:gd name="connsiteX119" fmla="*/ 4482 w 179196"/>
                    <a:gd name="connsiteY119" fmla="*/ 292901 h 415497"/>
                    <a:gd name="connsiteX120" fmla="*/ 6064 w 179196"/>
                    <a:gd name="connsiteY120" fmla="*/ 283904 h 415497"/>
                    <a:gd name="connsiteX121" fmla="*/ 8076 w 179196"/>
                    <a:gd name="connsiteY121" fmla="*/ 281916 h 415497"/>
                    <a:gd name="connsiteX122" fmla="*/ 11067 w 179196"/>
                    <a:gd name="connsiteY122" fmla="*/ 280758 h 415497"/>
                    <a:gd name="connsiteX123" fmla="*/ 13472 w 179196"/>
                    <a:gd name="connsiteY123" fmla="*/ 278419 h 415497"/>
                    <a:gd name="connsiteX124" fmla="*/ 14833 w 179196"/>
                    <a:gd name="connsiteY124" fmla="*/ 275233 h 415497"/>
                    <a:gd name="connsiteX125" fmla="*/ 16218 w 179196"/>
                    <a:gd name="connsiteY125" fmla="*/ 268697 h 415497"/>
                    <a:gd name="connsiteX126" fmla="*/ 19983 w 179196"/>
                    <a:gd name="connsiteY126" fmla="*/ 262210 h 415497"/>
                    <a:gd name="connsiteX127" fmla="*/ 21328 w 179196"/>
                    <a:gd name="connsiteY127" fmla="*/ 258811 h 415497"/>
                    <a:gd name="connsiteX128" fmla="*/ 24368 w 179196"/>
                    <a:gd name="connsiteY128" fmla="*/ 253660 h 415497"/>
                    <a:gd name="connsiteX129" fmla="*/ 27057 w 179196"/>
                    <a:gd name="connsiteY129" fmla="*/ 246432 h 415497"/>
                    <a:gd name="connsiteX130" fmla="*/ 27880 w 179196"/>
                    <a:gd name="connsiteY130" fmla="*/ 243017 h 415497"/>
                    <a:gd name="connsiteX131" fmla="*/ 28459 w 179196"/>
                    <a:gd name="connsiteY131" fmla="*/ 239521 h 415497"/>
                    <a:gd name="connsiteX132" fmla="*/ 29143 w 179196"/>
                    <a:gd name="connsiteY132" fmla="*/ 231876 h 415497"/>
                    <a:gd name="connsiteX133" fmla="*/ 29657 w 179196"/>
                    <a:gd name="connsiteY133" fmla="*/ 228078 h 415497"/>
                    <a:gd name="connsiteX134" fmla="*/ 29543 w 179196"/>
                    <a:gd name="connsiteY134" fmla="*/ 224313 h 415497"/>
                    <a:gd name="connsiteX135" fmla="*/ 28011 w 179196"/>
                    <a:gd name="connsiteY135" fmla="*/ 220434 h 415497"/>
                    <a:gd name="connsiteX136" fmla="*/ 24343 w 179196"/>
                    <a:gd name="connsiteY136" fmla="*/ 213417 h 415497"/>
                    <a:gd name="connsiteX137" fmla="*/ 24221 w 179196"/>
                    <a:gd name="connsiteY137" fmla="*/ 212113 h 415497"/>
                    <a:gd name="connsiteX138" fmla="*/ 24514 w 179196"/>
                    <a:gd name="connsiteY138" fmla="*/ 206897 h 415497"/>
                    <a:gd name="connsiteX139" fmla="*/ 24197 w 179196"/>
                    <a:gd name="connsiteY139" fmla="*/ 203124 h 415497"/>
                    <a:gd name="connsiteX140" fmla="*/ 22852 w 179196"/>
                    <a:gd name="connsiteY140" fmla="*/ 199367 h 415497"/>
                    <a:gd name="connsiteX141" fmla="*/ 21108 w 179196"/>
                    <a:gd name="connsiteY141" fmla="*/ 195830 h 415497"/>
                    <a:gd name="connsiteX142" fmla="*/ 19413 w 179196"/>
                    <a:gd name="connsiteY142" fmla="*/ 189229 h 415497"/>
                    <a:gd name="connsiteX143" fmla="*/ 18581 w 179196"/>
                    <a:gd name="connsiteY143" fmla="*/ 178308 h 415497"/>
                    <a:gd name="connsiteX144" fmla="*/ 18753 w 179196"/>
                    <a:gd name="connsiteY144" fmla="*/ 174364 h 415497"/>
                    <a:gd name="connsiteX145" fmla="*/ 18247 w 179196"/>
                    <a:gd name="connsiteY145" fmla="*/ 170859 h 415497"/>
                    <a:gd name="connsiteX146" fmla="*/ 17008 w 179196"/>
                    <a:gd name="connsiteY146" fmla="*/ 167526 h 415497"/>
                    <a:gd name="connsiteX147" fmla="*/ 17897 w 179196"/>
                    <a:gd name="connsiteY147" fmla="*/ 161707 h 415497"/>
                    <a:gd name="connsiteX148" fmla="*/ 28858 w 179196"/>
                    <a:gd name="connsiteY148" fmla="*/ 140615 h 415497"/>
                    <a:gd name="connsiteX149" fmla="*/ 29217 w 179196"/>
                    <a:gd name="connsiteY149" fmla="*/ 138130 h 415497"/>
                    <a:gd name="connsiteX150" fmla="*/ 28768 w 179196"/>
                    <a:gd name="connsiteY150" fmla="*/ 131708 h 415497"/>
                    <a:gd name="connsiteX151" fmla="*/ 28997 w 179196"/>
                    <a:gd name="connsiteY151" fmla="*/ 127975 h 415497"/>
                    <a:gd name="connsiteX152" fmla="*/ 29372 w 179196"/>
                    <a:gd name="connsiteY152" fmla="*/ 126582 h 415497"/>
                    <a:gd name="connsiteX153" fmla="*/ 30211 w 179196"/>
                    <a:gd name="connsiteY153" fmla="*/ 125775 h 415497"/>
                    <a:gd name="connsiteX154" fmla="*/ 32086 w 179196"/>
                    <a:gd name="connsiteY154" fmla="*/ 125384 h 415497"/>
                    <a:gd name="connsiteX155" fmla="*/ 40953 w 179196"/>
                    <a:gd name="connsiteY155" fmla="*/ 124463 h 415497"/>
                    <a:gd name="connsiteX156" fmla="*/ 42093 w 179196"/>
                    <a:gd name="connsiteY156" fmla="*/ 123827 h 415497"/>
                    <a:gd name="connsiteX157" fmla="*/ 44302 w 179196"/>
                    <a:gd name="connsiteY157" fmla="*/ 122050 h 415497"/>
                    <a:gd name="connsiteX158" fmla="*/ 47350 w 179196"/>
                    <a:gd name="connsiteY158" fmla="*/ 118611 h 415497"/>
                    <a:gd name="connsiteX159" fmla="*/ 48727 w 179196"/>
                    <a:gd name="connsiteY159" fmla="*/ 117625 h 415497"/>
                    <a:gd name="connsiteX160" fmla="*/ 49925 w 179196"/>
                    <a:gd name="connsiteY160" fmla="*/ 117984 h 415497"/>
                    <a:gd name="connsiteX161" fmla="*/ 50700 w 179196"/>
                    <a:gd name="connsiteY161" fmla="*/ 119467 h 415497"/>
                    <a:gd name="connsiteX162" fmla="*/ 51685 w 179196"/>
                    <a:gd name="connsiteY162" fmla="*/ 120266 h 415497"/>
                    <a:gd name="connsiteX163" fmla="*/ 55263 w 179196"/>
                    <a:gd name="connsiteY163" fmla="*/ 118717 h 415497"/>
                    <a:gd name="connsiteX164" fmla="*/ 56641 w 179196"/>
                    <a:gd name="connsiteY164" fmla="*/ 118668 h 415497"/>
                    <a:gd name="connsiteX165" fmla="*/ 58034 w 179196"/>
                    <a:gd name="connsiteY165" fmla="*/ 118921 h 415497"/>
                    <a:gd name="connsiteX166" fmla="*/ 58695 w 179196"/>
                    <a:gd name="connsiteY166" fmla="*/ 117495 h 415497"/>
                    <a:gd name="connsiteX167" fmla="*/ 59086 w 179196"/>
                    <a:gd name="connsiteY167" fmla="*/ 115580 h 415497"/>
                    <a:gd name="connsiteX168" fmla="*/ 59607 w 179196"/>
                    <a:gd name="connsiteY168" fmla="*/ 114227 h 415497"/>
                    <a:gd name="connsiteX169" fmla="*/ 60560 w 179196"/>
                    <a:gd name="connsiteY169" fmla="*/ 113461 h 415497"/>
                    <a:gd name="connsiteX170" fmla="*/ 65165 w 179196"/>
                    <a:gd name="connsiteY170" fmla="*/ 113045 h 415497"/>
                    <a:gd name="connsiteX171" fmla="*/ 68099 w 179196"/>
                    <a:gd name="connsiteY171" fmla="*/ 112499 h 415497"/>
                    <a:gd name="connsiteX172" fmla="*/ 71897 w 179196"/>
                    <a:gd name="connsiteY172" fmla="*/ 111162 h 415497"/>
                    <a:gd name="connsiteX173" fmla="*/ 72720 w 179196"/>
                    <a:gd name="connsiteY173" fmla="*/ 111423 h 415497"/>
                    <a:gd name="connsiteX174" fmla="*/ 75792 w 179196"/>
                    <a:gd name="connsiteY174" fmla="*/ 116231 h 415497"/>
                    <a:gd name="connsiteX175" fmla="*/ 76722 w 179196"/>
                    <a:gd name="connsiteY175" fmla="*/ 116655 h 415497"/>
                    <a:gd name="connsiteX176" fmla="*/ 77911 w 179196"/>
                    <a:gd name="connsiteY176" fmla="*/ 116843 h 415497"/>
                    <a:gd name="connsiteX177" fmla="*/ 78955 w 179196"/>
                    <a:gd name="connsiteY177" fmla="*/ 115971 h 415497"/>
                    <a:gd name="connsiteX178" fmla="*/ 76469 w 179196"/>
                    <a:gd name="connsiteY178" fmla="*/ 113452 h 415497"/>
                    <a:gd name="connsiteX179" fmla="*/ 76086 w 179196"/>
                    <a:gd name="connsiteY179" fmla="*/ 112026 h 415497"/>
                    <a:gd name="connsiteX180" fmla="*/ 76225 w 179196"/>
                    <a:gd name="connsiteY180" fmla="*/ 110404 h 415497"/>
                    <a:gd name="connsiteX181" fmla="*/ 77553 w 179196"/>
                    <a:gd name="connsiteY181" fmla="*/ 106941 h 415497"/>
                    <a:gd name="connsiteX182" fmla="*/ 79778 w 179196"/>
                    <a:gd name="connsiteY182" fmla="*/ 104300 h 415497"/>
                    <a:gd name="connsiteX183" fmla="*/ 84733 w 179196"/>
                    <a:gd name="connsiteY183" fmla="*/ 100291 h 415497"/>
                    <a:gd name="connsiteX184" fmla="*/ 89867 w 179196"/>
                    <a:gd name="connsiteY184" fmla="*/ 95653 h 415497"/>
                    <a:gd name="connsiteX185" fmla="*/ 91367 w 179196"/>
                    <a:gd name="connsiteY185" fmla="*/ 95327 h 415497"/>
                    <a:gd name="connsiteX186" fmla="*/ 92630 w 179196"/>
                    <a:gd name="connsiteY186" fmla="*/ 96069 h 415497"/>
                    <a:gd name="connsiteX187" fmla="*/ 93592 w 179196"/>
                    <a:gd name="connsiteY187" fmla="*/ 101538 h 415497"/>
                    <a:gd name="connsiteX188" fmla="*/ 93477 w 179196"/>
                    <a:gd name="connsiteY188" fmla="*/ 102442 h 415497"/>
                    <a:gd name="connsiteX189" fmla="*/ 94300 w 179196"/>
                    <a:gd name="connsiteY189" fmla="*/ 102573 h 415497"/>
                    <a:gd name="connsiteX190" fmla="*/ 95254 w 179196"/>
                    <a:gd name="connsiteY190" fmla="*/ 101888 h 415497"/>
                    <a:gd name="connsiteX191" fmla="*/ 96102 w 179196"/>
                    <a:gd name="connsiteY191" fmla="*/ 99680 h 415497"/>
                    <a:gd name="connsiteX192" fmla="*/ 96150 w 179196"/>
                    <a:gd name="connsiteY192" fmla="*/ 97838 h 415497"/>
                    <a:gd name="connsiteX193" fmla="*/ 95466 w 179196"/>
                    <a:gd name="connsiteY193" fmla="*/ 96077 h 415497"/>
                    <a:gd name="connsiteX194" fmla="*/ 95124 w 179196"/>
                    <a:gd name="connsiteY194" fmla="*/ 94594 h 415497"/>
                    <a:gd name="connsiteX195" fmla="*/ 95091 w 179196"/>
                    <a:gd name="connsiteY195" fmla="*/ 93225 h 415497"/>
                    <a:gd name="connsiteX196" fmla="*/ 97699 w 179196"/>
                    <a:gd name="connsiteY196" fmla="*/ 89989 h 415497"/>
                    <a:gd name="connsiteX197" fmla="*/ 99753 w 179196"/>
                    <a:gd name="connsiteY197" fmla="*/ 86901 h 415497"/>
                    <a:gd name="connsiteX198" fmla="*/ 100698 w 179196"/>
                    <a:gd name="connsiteY198" fmla="*/ 83217 h 415497"/>
                    <a:gd name="connsiteX199" fmla="*/ 101529 w 179196"/>
                    <a:gd name="connsiteY199" fmla="*/ 81530 h 415497"/>
                    <a:gd name="connsiteX200" fmla="*/ 103689 w 179196"/>
                    <a:gd name="connsiteY200" fmla="*/ 79623 h 415497"/>
                    <a:gd name="connsiteX201" fmla="*/ 104325 w 179196"/>
                    <a:gd name="connsiteY201" fmla="*/ 79924 h 415497"/>
                    <a:gd name="connsiteX202" fmla="*/ 104830 w 179196"/>
                    <a:gd name="connsiteY202" fmla="*/ 81481 h 415497"/>
                    <a:gd name="connsiteX203" fmla="*/ 105107 w 179196"/>
                    <a:gd name="connsiteY203" fmla="*/ 83119 h 415497"/>
                    <a:gd name="connsiteX204" fmla="*/ 104569 w 179196"/>
                    <a:gd name="connsiteY204" fmla="*/ 84749 h 415497"/>
                    <a:gd name="connsiteX205" fmla="*/ 103770 w 179196"/>
                    <a:gd name="connsiteY205" fmla="*/ 86363 h 415497"/>
                    <a:gd name="connsiteX206" fmla="*/ 103445 w 179196"/>
                    <a:gd name="connsiteY206" fmla="*/ 88514 h 415497"/>
                    <a:gd name="connsiteX207" fmla="*/ 104659 w 179196"/>
                    <a:gd name="connsiteY207" fmla="*/ 88938 h 415497"/>
                    <a:gd name="connsiteX208" fmla="*/ 105816 w 179196"/>
                    <a:gd name="connsiteY208" fmla="*/ 88425 h 415497"/>
                    <a:gd name="connsiteX209" fmla="*/ 107503 w 179196"/>
                    <a:gd name="connsiteY209" fmla="*/ 84521 h 415497"/>
                    <a:gd name="connsiteX210" fmla="*/ 109419 w 179196"/>
                    <a:gd name="connsiteY210" fmla="*/ 80845 h 415497"/>
                    <a:gd name="connsiteX211" fmla="*/ 110559 w 179196"/>
                    <a:gd name="connsiteY211" fmla="*/ 78938 h 415497"/>
                    <a:gd name="connsiteX212" fmla="*/ 112010 w 179196"/>
                    <a:gd name="connsiteY212" fmla="*/ 77602 h 415497"/>
                    <a:gd name="connsiteX213" fmla="*/ 114390 w 179196"/>
                    <a:gd name="connsiteY213" fmla="*/ 77863 h 415497"/>
                    <a:gd name="connsiteX214" fmla="*/ 116721 w 179196"/>
                    <a:gd name="connsiteY214" fmla="*/ 78694 h 415497"/>
                    <a:gd name="connsiteX215" fmla="*/ 112923 w 179196"/>
                    <a:gd name="connsiteY215" fmla="*/ 74798 h 415497"/>
                    <a:gd name="connsiteX216" fmla="*/ 111985 w 179196"/>
                    <a:gd name="connsiteY216" fmla="*/ 69493 h 415497"/>
                    <a:gd name="connsiteX217" fmla="*/ 116500 w 179196"/>
                    <a:gd name="connsiteY217" fmla="*/ 60284 h 415497"/>
                    <a:gd name="connsiteX218" fmla="*/ 116533 w 179196"/>
                    <a:gd name="connsiteY218" fmla="*/ 58376 h 415497"/>
                    <a:gd name="connsiteX219" fmla="*/ 117185 w 179196"/>
                    <a:gd name="connsiteY219" fmla="*/ 57790 h 415497"/>
                    <a:gd name="connsiteX220" fmla="*/ 117495 w 179196"/>
                    <a:gd name="connsiteY220" fmla="*/ 57040 h 415497"/>
                    <a:gd name="connsiteX221" fmla="*/ 115164 w 179196"/>
                    <a:gd name="connsiteY221" fmla="*/ 53927 h 415497"/>
                    <a:gd name="connsiteX222" fmla="*/ 114716 w 179196"/>
                    <a:gd name="connsiteY222" fmla="*/ 52395 h 415497"/>
                    <a:gd name="connsiteX223" fmla="*/ 115025 w 179196"/>
                    <a:gd name="connsiteY223" fmla="*/ 50056 h 415497"/>
                    <a:gd name="connsiteX224" fmla="*/ 116142 w 179196"/>
                    <a:gd name="connsiteY224" fmla="*/ 47986 h 415497"/>
                    <a:gd name="connsiteX225" fmla="*/ 117160 w 179196"/>
                    <a:gd name="connsiteY225" fmla="*/ 46543 h 415497"/>
                    <a:gd name="connsiteX226" fmla="*/ 118603 w 179196"/>
                    <a:gd name="connsiteY226" fmla="*/ 45981 h 415497"/>
                    <a:gd name="connsiteX227" fmla="*/ 119744 w 179196"/>
                    <a:gd name="connsiteY227" fmla="*/ 46779 h 415497"/>
                    <a:gd name="connsiteX228" fmla="*/ 122262 w 179196"/>
                    <a:gd name="connsiteY228" fmla="*/ 49330 h 415497"/>
                    <a:gd name="connsiteX229" fmla="*/ 123958 w 179196"/>
                    <a:gd name="connsiteY229" fmla="*/ 49722 h 415497"/>
                    <a:gd name="connsiteX230" fmla="*/ 125987 w 179196"/>
                    <a:gd name="connsiteY230" fmla="*/ 47277 h 415497"/>
                    <a:gd name="connsiteX231" fmla="*/ 127657 w 179196"/>
                    <a:gd name="connsiteY231" fmla="*/ 44204 h 415497"/>
                    <a:gd name="connsiteX232" fmla="*/ 130176 w 179196"/>
                    <a:gd name="connsiteY232" fmla="*/ 42102 h 415497"/>
                    <a:gd name="connsiteX233" fmla="*/ 133036 w 179196"/>
                    <a:gd name="connsiteY233" fmla="*/ 40806 h 415497"/>
                    <a:gd name="connsiteX234" fmla="*/ 137372 w 179196"/>
                    <a:gd name="connsiteY234" fmla="*/ 35997 h 415497"/>
                    <a:gd name="connsiteX235" fmla="*/ 140200 w 179196"/>
                    <a:gd name="connsiteY235" fmla="*/ 25933 h 415497"/>
                    <a:gd name="connsiteX236" fmla="*/ 140420 w 179196"/>
                    <a:gd name="connsiteY236" fmla="*/ 23015 h 415497"/>
                    <a:gd name="connsiteX237" fmla="*/ 139800 w 179196"/>
                    <a:gd name="connsiteY237" fmla="*/ 19453 h 415497"/>
                    <a:gd name="connsiteX238" fmla="*/ 138798 w 179196"/>
                    <a:gd name="connsiteY238" fmla="*/ 16063 h 415497"/>
                    <a:gd name="connsiteX239" fmla="*/ 137127 w 179196"/>
                    <a:gd name="connsiteY239" fmla="*/ 11842 h 415497"/>
                    <a:gd name="connsiteX240" fmla="*/ 137568 w 179196"/>
                    <a:gd name="connsiteY240" fmla="*/ 10913 h 415497"/>
                    <a:gd name="connsiteX241" fmla="*/ 139939 w 179196"/>
                    <a:gd name="connsiteY241" fmla="*/ 11467 h 415497"/>
                    <a:gd name="connsiteX242" fmla="*/ 140738 w 179196"/>
                    <a:gd name="connsiteY242" fmla="*/ 10880 h 415497"/>
                    <a:gd name="connsiteX243" fmla="*/ 143313 w 179196"/>
                    <a:gd name="connsiteY243" fmla="*/ 7155 h 415497"/>
                    <a:gd name="connsiteX244" fmla="*/ 147559 w 179196"/>
                    <a:gd name="connsiteY244" fmla="*/ 0 h 415497"/>
                    <a:gd name="connsiteX245" fmla="*/ 148952 w 179196"/>
                    <a:gd name="connsiteY245" fmla="*/ 16 h 415497"/>
                    <a:gd name="connsiteX246" fmla="*/ 150167 w 179196"/>
                    <a:gd name="connsiteY246" fmla="*/ 1345 h 415497"/>
                    <a:gd name="connsiteX247" fmla="*/ 150607 w 179196"/>
                    <a:gd name="connsiteY247" fmla="*/ 3292 h 415497"/>
                    <a:gd name="connsiteX248" fmla="*/ 151447 w 179196"/>
                    <a:gd name="connsiteY248" fmla="*/ 4743 h 415497"/>
                    <a:gd name="connsiteX249" fmla="*/ 154332 w 179196"/>
                    <a:gd name="connsiteY249" fmla="*/ 8142 h 415497"/>
                    <a:gd name="connsiteX250" fmla="*/ 155750 w 179196"/>
                    <a:gd name="connsiteY250" fmla="*/ 10644 h 41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179196" h="415497">
                      <a:moveTo>
                        <a:pt x="155750" y="10644"/>
                      </a:moveTo>
                      <a:lnTo>
                        <a:pt x="156890" y="13814"/>
                      </a:lnTo>
                      <a:lnTo>
                        <a:pt x="158219" y="16854"/>
                      </a:lnTo>
                      <a:lnTo>
                        <a:pt x="162367" y="24205"/>
                      </a:lnTo>
                      <a:lnTo>
                        <a:pt x="164144" y="27041"/>
                      </a:lnTo>
                      <a:lnTo>
                        <a:pt x="165660" y="30048"/>
                      </a:lnTo>
                      <a:lnTo>
                        <a:pt x="166401" y="36046"/>
                      </a:lnTo>
                      <a:lnTo>
                        <a:pt x="169033" y="45386"/>
                      </a:lnTo>
                      <a:lnTo>
                        <a:pt x="171527" y="59436"/>
                      </a:lnTo>
                      <a:lnTo>
                        <a:pt x="172285" y="73853"/>
                      </a:lnTo>
                      <a:lnTo>
                        <a:pt x="173059" y="80479"/>
                      </a:lnTo>
                      <a:lnTo>
                        <a:pt x="174991" y="86713"/>
                      </a:lnTo>
                      <a:lnTo>
                        <a:pt x="178169" y="93184"/>
                      </a:lnTo>
                      <a:lnTo>
                        <a:pt x="179196" y="100388"/>
                      </a:lnTo>
                      <a:lnTo>
                        <a:pt x="177249" y="107813"/>
                      </a:lnTo>
                      <a:lnTo>
                        <a:pt x="174445" y="114814"/>
                      </a:lnTo>
                      <a:lnTo>
                        <a:pt x="173728" y="116125"/>
                      </a:lnTo>
                      <a:lnTo>
                        <a:pt x="172407" y="117918"/>
                      </a:lnTo>
                      <a:lnTo>
                        <a:pt x="171812" y="117837"/>
                      </a:lnTo>
                      <a:lnTo>
                        <a:pt x="169563" y="116028"/>
                      </a:lnTo>
                      <a:lnTo>
                        <a:pt x="167730" y="113078"/>
                      </a:lnTo>
                      <a:lnTo>
                        <a:pt x="165399" y="106118"/>
                      </a:lnTo>
                      <a:lnTo>
                        <a:pt x="164551" y="102573"/>
                      </a:lnTo>
                      <a:lnTo>
                        <a:pt x="163582" y="102035"/>
                      </a:lnTo>
                      <a:lnTo>
                        <a:pt x="160859" y="102344"/>
                      </a:lnTo>
                      <a:lnTo>
                        <a:pt x="158887" y="104545"/>
                      </a:lnTo>
                      <a:lnTo>
                        <a:pt x="158529" y="105922"/>
                      </a:lnTo>
                      <a:lnTo>
                        <a:pt x="158961" y="109858"/>
                      </a:lnTo>
                      <a:lnTo>
                        <a:pt x="159710" y="113379"/>
                      </a:lnTo>
                      <a:lnTo>
                        <a:pt x="160037" y="116957"/>
                      </a:lnTo>
                      <a:lnTo>
                        <a:pt x="160102" y="121480"/>
                      </a:lnTo>
                      <a:lnTo>
                        <a:pt x="160835" y="122849"/>
                      </a:lnTo>
                      <a:lnTo>
                        <a:pt x="161919" y="123998"/>
                      </a:lnTo>
                      <a:lnTo>
                        <a:pt x="163035" y="126948"/>
                      </a:lnTo>
                      <a:lnTo>
                        <a:pt x="163231" y="133998"/>
                      </a:lnTo>
                      <a:lnTo>
                        <a:pt x="162546" y="137568"/>
                      </a:lnTo>
                      <a:lnTo>
                        <a:pt x="160631" y="140615"/>
                      </a:lnTo>
                      <a:lnTo>
                        <a:pt x="160745" y="142319"/>
                      </a:lnTo>
                      <a:lnTo>
                        <a:pt x="161454" y="144047"/>
                      </a:lnTo>
                      <a:lnTo>
                        <a:pt x="160778" y="145090"/>
                      </a:lnTo>
                      <a:lnTo>
                        <a:pt x="158235" y="146418"/>
                      </a:lnTo>
                      <a:lnTo>
                        <a:pt x="157200" y="147608"/>
                      </a:lnTo>
                      <a:lnTo>
                        <a:pt x="155815" y="150713"/>
                      </a:lnTo>
                      <a:lnTo>
                        <a:pt x="153590" y="157078"/>
                      </a:lnTo>
                      <a:lnTo>
                        <a:pt x="153280" y="160330"/>
                      </a:lnTo>
                      <a:lnTo>
                        <a:pt x="154682" y="170223"/>
                      </a:lnTo>
                      <a:lnTo>
                        <a:pt x="154282" y="177241"/>
                      </a:lnTo>
                      <a:lnTo>
                        <a:pt x="151438" y="190679"/>
                      </a:lnTo>
                      <a:lnTo>
                        <a:pt x="149792" y="197060"/>
                      </a:lnTo>
                      <a:lnTo>
                        <a:pt x="147478" y="204697"/>
                      </a:lnTo>
                      <a:lnTo>
                        <a:pt x="143924" y="214762"/>
                      </a:lnTo>
                      <a:lnTo>
                        <a:pt x="140395" y="227426"/>
                      </a:lnTo>
                      <a:lnTo>
                        <a:pt x="137404" y="240466"/>
                      </a:lnTo>
                      <a:lnTo>
                        <a:pt x="135196" y="248314"/>
                      </a:lnTo>
                      <a:lnTo>
                        <a:pt x="132686" y="256048"/>
                      </a:lnTo>
                      <a:lnTo>
                        <a:pt x="129247" y="269740"/>
                      </a:lnTo>
                      <a:lnTo>
                        <a:pt x="126329" y="283651"/>
                      </a:lnTo>
                      <a:lnTo>
                        <a:pt x="121985" y="298973"/>
                      </a:lnTo>
                      <a:lnTo>
                        <a:pt x="116003" y="316104"/>
                      </a:lnTo>
                      <a:lnTo>
                        <a:pt x="115359" y="318337"/>
                      </a:lnTo>
                      <a:lnTo>
                        <a:pt x="114121" y="327098"/>
                      </a:lnTo>
                      <a:lnTo>
                        <a:pt x="112768" y="334710"/>
                      </a:lnTo>
                      <a:lnTo>
                        <a:pt x="111178" y="342264"/>
                      </a:lnTo>
                      <a:lnTo>
                        <a:pt x="107821" y="354733"/>
                      </a:lnTo>
                      <a:lnTo>
                        <a:pt x="107438" y="358596"/>
                      </a:lnTo>
                      <a:lnTo>
                        <a:pt x="106672" y="362296"/>
                      </a:lnTo>
                      <a:lnTo>
                        <a:pt x="103445" y="370128"/>
                      </a:lnTo>
                      <a:lnTo>
                        <a:pt x="102076" y="373046"/>
                      </a:lnTo>
                      <a:lnTo>
                        <a:pt x="101114" y="376151"/>
                      </a:lnTo>
                      <a:lnTo>
                        <a:pt x="100576" y="380079"/>
                      </a:lnTo>
                      <a:lnTo>
                        <a:pt x="99606" y="383885"/>
                      </a:lnTo>
                      <a:lnTo>
                        <a:pt x="97234" y="390878"/>
                      </a:lnTo>
                      <a:lnTo>
                        <a:pt x="93706" y="396892"/>
                      </a:lnTo>
                      <a:lnTo>
                        <a:pt x="91301" y="399092"/>
                      </a:lnTo>
                      <a:lnTo>
                        <a:pt x="86102" y="402279"/>
                      </a:lnTo>
                      <a:lnTo>
                        <a:pt x="83461" y="402915"/>
                      </a:lnTo>
                      <a:lnTo>
                        <a:pt x="77618" y="402988"/>
                      </a:lnTo>
                      <a:lnTo>
                        <a:pt x="71970" y="404797"/>
                      </a:lnTo>
                      <a:lnTo>
                        <a:pt x="66078" y="408285"/>
                      </a:lnTo>
                      <a:lnTo>
                        <a:pt x="60398" y="412295"/>
                      </a:lnTo>
                      <a:lnTo>
                        <a:pt x="58230" y="414178"/>
                      </a:lnTo>
                      <a:lnTo>
                        <a:pt x="55834" y="415278"/>
                      </a:lnTo>
                      <a:lnTo>
                        <a:pt x="48328" y="415498"/>
                      </a:lnTo>
                      <a:lnTo>
                        <a:pt x="46086" y="414642"/>
                      </a:lnTo>
                      <a:lnTo>
                        <a:pt x="38589" y="408057"/>
                      </a:lnTo>
                      <a:lnTo>
                        <a:pt x="35687" y="406981"/>
                      </a:lnTo>
                      <a:lnTo>
                        <a:pt x="30178" y="406077"/>
                      </a:lnTo>
                      <a:lnTo>
                        <a:pt x="28516" y="405531"/>
                      </a:lnTo>
                      <a:lnTo>
                        <a:pt x="27008" y="404675"/>
                      </a:lnTo>
                      <a:lnTo>
                        <a:pt x="24783" y="401236"/>
                      </a:lnTo>
                      <a:lnTo>
                        <a:pt x="20374" y="398351"/>
                      </a:lnTo>
                      <a:lnTo>
                        <a:pt x="19307" y="397438"/>
                      </a:lnTo>
                      <a:lnTo>
                        <a:pt x="18638" y="395441"/>
                      </a:lnTo>
                      <a:lnTo>
                        <a:pt x="18174" y="393290"/>
                      </a:lnTo>
                      <a:lnTo>
                        <a:pt x="17025" y="390869"/>
                      </a:lnTo>
                      <a:lnTo>
                        <a:pt x="16177" y="386289"/>
                      </a:lnTo>
                      <a:lnTo>
                        <a:pt x="14735" y="383070"/>
                      </a:lnTo>
                      <a:lnTo>
                        <a:pt x="10668" y="377422"/>
                      </a:lnTo>
                      <a:lnTo>
                        <a:pt x="10228" y="375621"/>
                      </a:lnTo>
                      <a:lnTo>
                        <a:pt x="9910" y="369615"/>
                      </a:lnTo>
                      <a:lnTo>
                        <a:pt x="10032" y="365565"/>
                      </a:lnTo>
                      <a:lnTo>
                        <a:pt x="9641" y="358148"/>
                      </a:lnTo>
                      <a:lnTo>
                        <a:pt x="10106" y="354652"/>
                      </a:lnTo>
                      <a:lnTo>
                        <a:pt x="11532" y="351506"/>
                      </a:lnTo>
                      <a:lnTo>
                        <a:pt x="10953" y="348116"/>
                      </a:lnTo>
                      <a:lnTo>
                        <a:pt x="9438" y="344538"/>
                      </a:lnTo>
                      <a:lnTo>
                        <a:pt x="8867" y="340854"/>
                      </a:lnTo>
                      <a:lnTo>
                        <a:pt x="7742" y="337489"/>
                      </a:lnTo>
                      <a:lnTo>
                        <a:pt x="3496" y="331450"/>
                      </a:lnTo>
                      <a:lnTo>
                        <a:pt x="2494" y="328459"/>
                      </a:lnTo>
                      <a:lnTo>
                        <a:pt x="1801" y="325386"/>
                      </a:lnTo>
                      <a:lnTo>
                        <a:pt x="195" y="315794"/>
                      </a:lnTo>
                      <a:lnTo>
                        <a:pt x="0" y="312461"/>
                      </a:lnTo>
                      <a:lnTo>
                        <a:pt x="244" y="305395"/>
                      </a:lnTo>
                      <a:lnTo>
                        <a:pt x="823" y="301776"/>
                      </a:lnTo>
                      <a:lnTo>
                        <a:pt x="1866" y="299250"/>
                      </a:lnTo>
                      <a:lnTo>
                        <a:pt x="2119" y="297359"/>
                      </a:lnTo>
                      <a:lnTo>
                        <a:pt x="2787" y="295746"/>
                      </a:lnTo>
                      <a:lnTo>
                        <a:pt x="3798" y="294442"/>
                      </a:lnTo>
                      <a:lnTo>
                        <a:pt x="4482" y="292901"/>
                      </a:lnTo>
                      <a:lnTo>
                        <a:pt x="6064" y="283904"/>
                      </a:lnTo>
                      <a:lnTo>
                        <a:pt x="8076" y="281916"/>
                      </a:lnTo>
                      <a:lnTo>
                        <a:pt x="11067" y="280758"/>
                      </a:lnTo>
                      <a:lnTo>
                        <a:pt x="13472" y="278419"/>
                      </a:lnTo>
                      <a:lnTo>
                        <a:pt x="14833" y="275233"/>
                      </a:lnTo>
                      <a:lnTo>
                        <a:pt x="16218" y="268697"/>
                      </a:lnTo>
                      <a:lnTo>
                        <a:pt x="19983" y="262210"/>
                      </a:lnTo>
                      <a:lnTo>
                        <a:pt x="21328" y="258811"/>
                      </a:lnTo>
                      <a:lnTo>
                        <a:pt x="24368" y="253660"/>
                      </a:lnTo>
                      <a:lnTo>
                        <a:pt x="27057" y="246432"/>
                      </a:lnTo>
                      <a:lnTo>
                        <a:pt x="27880" y="243017"/>
                      </a:lnTo>
                      <a:lnTo>
                        <a:pt x="28459" y="239521"/>
                      </a:lnTo>
                      <a:lnTo>
                        <a:pt x="29143" y="231876"/>
                      </a:lnTo>
                      <a:lnTo>
                        <a:pt x="29657" y="228078"/>
                      </a:lnTo>
                      <a:lnTo>
                        <a:pt x="29543" y="224313"/>
                      </a:lnTo>
                      <a:lnTo>
                        <a:pt x="28011" y="220434"/>
                      </a:lnTo>
                      <a:lnTo>
                        <a:pt x="24343" y="213417"/>
                      </a:lnTo>
                      <a:lnTo>
                        <a:pt x="24221" y="212113"/>
                      </a:lnTo>
                      <a:lnTo>
                        <a:pt x="24514" y="206897"/>
                      </a:lnTo>
                      <a:lnTo>
                        <a:pt x="24197" y="203124"/>
                      </a:lnTo>
                      <a:lnTo>
                        <a:pt x="22852" y="199367"/>
                      </a:lnTo>
                      <a:lnTo>
                        <a:pt x="21108" y="195830"/>
                      </a:lnTo>
                      <a:lnTo>
                        <a:pt x="19413" y="189229"/>
                      </a:lnTo>
                      <a:lnTo>
                        <a:pt x="18581" y="178308"/>
                      </a:lnTo>
                      <a:lnTo>
                        <a:pt x="18753" y="174364"/>
                      </a:lnTo>
                      <a:lnTo>
                        <a:pt x="18247" y="170859"/>
                      </a:lnTo>
                      <a:lnTo>
                        <a:pt x="17008" y="167526"/>
                      </a:lnTo>
                      <a:lnTo>
                        <a:pt x="17897" y="161707"/>
                      </a:lnTo>
                      <a:lnTo>
                        <a:pt x="28858" y="140615"/>
                      </a:lnTo>
                      <a:lnTo>
                        <a:pt x="29217" y="138130"/>
                      </a:lnTo>
                      <a:lnTo>
                        <a:pt x="28768" y="131708"/>
                      </a:lnTo>
                      <a:lnTo>
                        <a:pt x="28997" y="127975"/>
                      </a:lnTo>
                      <a:lnTo>
                        <a:pt x="29372" y="126582"/>
                      </a:lnTo>
                      <a:lnTo>
                        <a:pt x="30211" y="125775"/>
                      </a:lnTo>
                      <a:lnTo>
                        <a:pt x="32086" y="125384"/>
                      </a:lnTo>
                      <a:lnTo>
                        <a:pt x="40953" y="124463"/>
                      </a:lnTo>
                      <a:lnTo>
                        <a:pt x="42093" y="123827"/>
                      </a:lnTo>
                      <a:lnTo>
                        <a:pt x="44302" y="122050"/>
                      </a:lnTo>
                      <a:lnTo>
                        <a:pt x="47350" y="118611"/>
                      </a:lnTo>
                      <a:lnTo>
                        <a:pt x="48727" y="117625"/>
                      </a:lnTo>
                      <a:lnTo>
                        <a:pt x="49925" y="117984"/>
                      </a:lnTo>
                      <a:lnTo>
                        <a:pt x="50700" y="119467"/>
                      </a:lnTo>
                      <a:lnTo>
                        <a:pt x="51685" y="120266"/>
                      </a:lnTo>
                      <a:lnTo>
                        <a:pt x="55263" y="118717"/>
                      </a:lnTo>
                      <a:lnTo>
                        <a:pt x="56641" y="118668"/>
                      </a:lnTo>
                      <a:lnTo>
                        <a:pt x="58034" y="118921"/>
                      </a:lnTo>
                      <a:lnTo>
                        <a:pt x="58695" y="117495"/>
                      </a:lnTo>
                      <a:lnTo>
                        <a:pt x="59086" y="115580"/>
                      </a:lnTo>
                      <a:lnTo>
                        <a:pt x="59607" y="114227"/>
                      </a:lnTo>
                      <a:lnTo>
                        <a:pt x="60560" y="113461"/>
                      </a:lnTo>
                      <a:lnTo>
                        <a:pt x="65165" y="113045"/>
                      </a:lnTo>
                      <a:lnTo>
                        <a:pt x="68099" y="112499"/>
                      </a:lnTo>
                      <a:lnTo>
                        <a:pt x="71897" y="111162"/>
                      </a:lnTo>
                      <a:lnTo>
                        <a:pt x="72720" y="111423"/>
                      </a:lnTo>
                      <a:lnTo>
                        <a:pt x="75792" y="116231"/>
                      </a:lnTo>
                      <a:lnTo>
                        <a:pt x="76722" y="116655"/>
                      </a:lnTo>
                      <a:lnTo>
                        <a:pt x="77911" y="116843"/>
                      </a:lnTo>
                      <a:lnTo>
                        <a:pt x="78955" y="115971"/>
                      </a:lnTo>
                      <a:lnTo>
                        <a:pt x="76469" y="113452"/>
                      </a:lnTo>
                      <a:lnTo>
                        <a:pt x="76086" y="112026"/>
                      </a:lnTo>
                      <a:lnTo>
                        <a:pt x="76225" y="110404"/>
                      </a:lnTo>
                      <a:lnTo>
                        <a:pt x="77553" y="106941"/>
                      </a:lnTo>
                      <a:lnTo>
                        <a:pt x="79778" y="104300"/>
                      </a:lnTo>
                      <a:lnTo>
                        <a:pt x="84733" y="100291"/>
                      </a:lnTo>
                      <a:lnTo>
                        <a:pt x="89867" y="95653"/>
                      </a:lnTo>
                      <a:lnTo>
                        <a:pt x="91367" y="95327"/>
                      </a:lnTo>
                      <a:lnTo>
                        <a:pt x="92630" y="96069"/>
                      </a:lnTo>
                      <a:lnTo>
                        <a:pt x="93592" y="101538"/>
                      </a:lnTo>
                      <a:lnTo>
                        <a:pt x="93477" y="102442"/>
                      </a:lnTo>
                      <a:lnTo>
                        <a:pt x="94300" y="102573"/>
                      </a:lnTo>
                      <a:lnTo>
                        <a:pt x="95254" y="101888"/>
                      </a:lnTo>
                      <a:lnTo>
                        <a:pt x="96102" y="99680"/>
                      </a:lnTo>
                      <a:lnTo>
                        <a:pt x="96150" y="97838"/>
                      </a:lnTo>
                      <a:lnTo>
                        <a:pt x="95466" y="96077"/>
                      </a:lnTo>
                      <a:lnTo>
                        <a:pt x="95124" y="94594"/>
                      </a:lnTo>
                      <a:lnTo>
                        <a:pt x="95091" y="93225"/>
                      </a:lnTo>
                      <a:lnTo>
                        <a:pt x="97699" y="89989"/>
                      </a:lnTo>
                      <a:lnTo>
                        <a:pt x="99753" y="86901"/>
                      </a:lnTo>
                      <a:lnTo>
                        <a:pt x="100698" y="83217"/>
                      </a:lnTo>
                      <a:lnTo>
                        <a:pt x="101529" y="81530"/>
                      </a:lnTo>
                      <a:lnTo>
                        <a:pt x="103689" y="79623"/>
                      </a:lnTo>
                      <a:lnTo>
                        <a:pt x="104325" y="79924"/>
                      </a:lnTo>
                      <a:lnTo>
                        <a:pt x="104830" y="81481"/>
                      </a:lnTo>
                      <a:lnTo>
                        <a:pt x="105107" y="83119"/>
                      </a:lnTo>
                      <a:lnTo>
                        <a:pt x="104569" y="84749"/>
                      </a:lnTo>
                      <a:lnTo>
                        <a:pt x="103770" y="86363"/>
                      </a:lnTo>
                      <a:lnTo>
                        <a:pt x="103445" y="88514"/>
                      </a:lnTo>
                      <a:lnTo>
                        <a:pt x="104659" y="88938"/>
                      </a:lnTo>
                      <a:lnTo>
                        <a:pt x="105816" y="88425"/>
                      </a:lnTo>
                      <a:lnTo>
                        <a:pt x="107503" y="84521"/>
                      </a:lnTo>
                      <a:lnTo>
                        <a:pt x="109419" y="80845"/>
                      </a:lnTo>
                      <a:lnTo>
                        <a:pt x="110559" y="78938"/>
                      </a:lnTo>
                      <a:lnTo>
                        <a:pt x="112010" y="77602"/>
                      </a:lnTo>
                      <a:lnTo>
                        <a:pt x="114390" y="77863"/>
                      </a:lnTo>
                      <a:lnTo>
                        <a:pt x="116721" y="78694"/>
                      </a:lnTo>
                      <a:lnTo>
                        <a:pt x="112923" y="74798"/>
                      </a:lnTo>
                      <a:lnTo>
                        <a:pt x="111985" y="69493"/>
                      </a:lnTo>
                      <a:lnTo>
                        <a:pt x="116500" y="60284"/>
                      </a:lnTo>
                      <a:lnTo>
                        <a:pt x="116533" y="58376"/>
                      </a:lnTo>
                      <a:lnTo>
                        <a:pt x="117185" y="57790"/>
                      </a:lnTo>
                      <a:lnTo>
                        <a:pt x="117495" y="57040"/>
                      </a:lnTo>
                      <a:lnTo>
                        <a:pt x="115164" y="53927"/>
                      </a:lnTo>
                      <a:lnTo>
                        <a:pt x="114716" y="52395"/>
                      </a:lnTo>
                      <a:lnTo>
                        <a:pt x="115025" y="50056"/>
                      </a:lnTo>
                      <a:lnTo>
                        <a:pt x="116142" y="47986"/>
                      </a:lnTo>
                      <a:lnTo>
                        <a:pt x="117160" y="46543"/>
                      </a:lnTo>
                      <a:lnTo>
                        <a:pt x="118603" y="45981"/>
                      </a:lnTo>
                      <a:lnTo>
                        <a:pt x="119744" y="46779"/>
                      </a:lnTo>
                      <a:lnTo>
                        <a:pt x="122262" y="49330"/>
                      </a:lnTo>
                      <a:lnTo>
                        <a:pt x="123958" y="49722"/>
                      </a:lnTo>
                      <a:lnTo>
                        <a:pt x="125987" y="47277"/>
                      </a:lnTo>
                      <a:lnTo>
                        <a:pt x="127657" y="44204"/>
                      </a:lnTo>
                      <a:lnTo>
                        <a:pt x="130176" y="42102"/>
                      </a:lnTo>
                      <a:lnTo>
                        <a:pt x="133036" y="40806"/>
                      </a:lnTo>
                      <a:lnTo>
                        <a:pt x="137372" y="35997"/>
                      </a:lnTo>
                      <a:lnTo>
                        <a:pt x="140200" y="25933"/>
                      </a:lnTo>
                      <a:lnTo>
                        <a:pt x="140420" y="23015"/>
                      </a:lnTo>
                      <a:lnTo>
                        <a:pt x="139800" y="19453"/>
                      </a:lnTo>
                      <a:lnTo>
                        <a:pt x="138798" y="16063"/>
                      </a:lnTo>
                      <a:lnTo>
                        <a:pt x="137127" y="11842"/>
                      </a:lnTo>
                      <a:lnTo>
                        <a:pt x="137568" y="10913"/>
                      </a:lnTo>
                      <a:lnTo>
                        <a:pt x="139939" y="11467"/>
                      </a:lnTo>
                      <a:lnTo>
                        <a:pt x="140738" y="10880"/>
                      </a:lnTo>
                      <a:lnTo>
                        <a:pt x="143313" y="7155"/>
                      </a:lnTo>
                      <a:lnTo>
                        <a:pt x="147559" y="0"/>
                      </a:lnTo>
                      <a:lnTo>
                        <a:pt x="148952" y="16"/>
                      </a:lnTo>
                      <a:lnTo>
                        <a:pt x="150167" y="1345"/>
                      </a:lnTo>
                      <a:lnTo>
                        <a:pt x="150607" y="3292"/>
                      </a:lnTo>
                      <a:lnTo>
                        <a:pt x="151447" y="4743"/>
                      </a:lnTo>
                      <a:lnTo>
                        <a:pt x="154332" y="8142"/>
                      </a:lnTo>
                      <a:lnTo>
                        <a:pt x="155750" y="10644"/>
                      </a:lnTo>
                      <a:close/>
                    </a:path>
                  </a:pathLst>
                </a:custGeom>
                <a:solidFill>
                  <a:srgbClr val="D6D6D2"/>
                </a:solidFill>
                <a:ln w="6112" cap="rnd">
                  <a:solidFill>
                    <a:srgbClr val="FFFFFF"/>
                  </a:solidFill>
                  <a:prstDash val="solid"/>
                  <a:round/>
                </a:ln>
              </p:spPr>
              <p:txBody>
                <a:bodyPr rtlCol="0" anchor="ctr"/>
                <a:lstStyle/>
                <a:p>
                  <a:endParaRPr lang="en-US"/>
                </a:p>
              </p:txBody>
            </p:sp>
            <p:sp>
              <p:nvSpPr>
                <p:cNvPr id="684" name="Freeform: Shape 683">
                  <a:extLst>
                    <a:ext uri="{FF2B5EF4-FFF2-40B4-BE49-F238E27FC236}">
                      <a16:creationId xmlns:a16="http://schemas.microsoft.com/office/drawing/2014/main" id="{F858FB84-74AE-42A3-9BD7-C6F155C97F33}"/>
                    </a:ext>
                  </a:extLst>
                </p:cNvPr>
                <p:cNvSpPr/>
                <p:nvPr/>
              </p:nvSpPr>
              <p:spPr>
                <a:xfrm>
                  <a:off x="6603826" y="2979862"/>
                  <a:ext cx="87128" cy="107747"/>
                </a:xfrm>
                <a:custGeom>
                  <a:avLst/>
                  <a:gdLst>
                    <a:gd name="connsiteX0" fmla="*/ 39534 w 87128"/>
                    <a:gd name="connsiteY0" fmla="*/ 107748 h 107747"/>
                    <a:gd name="connsiteX1" fmla="*/ 38295 w 87128"/>
                    <a:gd name="connsiteY1" fmla="*/ 105523 h 107747"/>
                    <a:gd name="connsiteX2" fmla="*/ 37040 w 87128"/>
                    <a:gd name="connsiteY2" fmla="*/ 103575 h 107747"/>
                    <a:gd name="connsiteX3" fmla="*/ 36120 w 87128"/>
                    <a:gd name="connsiteY3" fmla="*/ 102524 h 107747"/>
                    <a:gd name="connsiteX4" fmla="*/ 36511 w 87128"/>
                    <a:gd name="connsiteY4" fmla="*/ 102035 h 107747"/>
                    <a:gd name="connsiteX5" fmla="*/ 37513 w 87128"/>
                    <a:gd name="connsiteY5" fmla="*/ 101497 h 107747"/>
                    <a:gd name="connsiteX6" fmla="*/ 38230 w 87128"/>
                    <a:gd name="connsiteY6" fmla="*/ 100828 h 107747"/>
                    <a:gd name="connsiteX7" fmla="*/ 38141 w 87128"/>
                    <a:gd name="connsiteY7" fmla="*/ 98498 h 107747"/>
                    <a:gd name="connsiteX8" fmla="*/ 37619 w 87128"/>
                    <a:gd name="connsiteY8" fmla="*/ 95825 h 107747"/>
                    <a:gd name="connsiteX9" fmla="*/ 37130 w 87128"/>
                    <a:gd name="connsiteY9" fmla="*/ 94529 h 107747"/>
                    <a:gd name="connsiteX10" fmla="*/ 37081 w 87128"/>
                    <a:gd name="connsiteY10" fmla="*/ 92508 h 107747"/>
                    <a:gd name="connsiteX11" fmla="*/ 36739 w 87128"/>
                    <a:gd name="connsiteY11" fmla="*/ 89337 h 107747"/>
                    <a:gd name="connsiteX12" fmla="*/ 37220 w 87128"/>
                    <a:gd name="connsiteY12" fmla="*/ 83469 h 107747"/>
                    <a:gd name="connsiteX13" fmla="*/ 39217 w 87128"/>
                    <a:gd name="connsiteY13" fmla="*/ 76078 h 107747"/>
                    <a:gd name="connsiteX14" fmla="*/ 40333 w 87128"/>
                    <a:gd name="connsiteY14" fmla="*/ 72402 h 107747"/>
                    <a:gd name="connsiteX15" fmla="*/ 39787 w 87128"/>
                    <a:gd name="connsiteY15" fmla="*/ 70389 h 107747"/>
                    <a:gd name="connsiteX16" fmla="*/ 40195 w 87128"/>
                    <a:gd name="connsiteY16" fmla="*/ 65679 h 107747"/>
                    <a:gd name="connsiteX17" fmla="*/ 39355 w 87128"/>
                    <a:gd name="connsiteY17" fmla="*/ 63348 h 107747"/>
                    <a:gd name="connsiteX18" fmla="*/ 37994 w 87128"/>
                    <a:gd name="connsiteY18" fmla="*/ 60308 h 107747"/>
                    <a:gd name="connsiteX19" fmla="*/ 36038 w 87128"/>
                    <a:gd name="connsiteY19" fmla="*/ 53674 h 107747"/>
                    <a:gd name="connsiteX20" fmla="*/ 33626 w 87128"/>
                    <a:gd name="connsiteY20" fmla="*/ 51368 h 107747"/>
                    <a:gd name="connsiteX21" fmla="*/ 30635 w 87128"/>
                    <a:gd name="connsiteY21" fmla="*/ 48825 h 107747"/>
                    <a:gd name="connsiteX22" fmla="*/ 29363 w 87128"/>
                    <a:gd name="connsiteY22" fmla="*/ 46910 h 107747"/>
                    <a:gd name="connsiteX23" fmla="*/ 28516 w 87128"/>
                    <a:gd name="connsiteY23" fmla="*/ 44799 h 107747"/>
                    <a:gd name="connsiteX24" fmla="*/ 26739 w 87128"/>
                    <a:gd name="connsiteY24" fmla="*/ 42705 h 107747"/>
                    <a:gd name="connsiteX25" fmla="*/ 24693 w 87128"/>
                    <a:gd name="connsiteY25" fmla="*/ 40765 h 107747"/>
                    <a:gd name="connsiteX26" fmla="*/ 22257 w 87128"/>
                    <a:gd name="connsiteY26" fmla="*/ 35940 h 107747"/>
                    <a:gd name="connsiteX27" fmla="*/ 21002 w 87128"/>
                    <a:gd name="connsiteY27" fmla="*/ 33764 h 107747"/>
                    <a:gd name="connsiteX28" fmla="*/ 20611 w 87128"/>
                    <a:gd name="connsiteY28" fmla="*/ 33178 h 107747"/>
                    <a:gd name="connsiteX29" fmla="*/ 17824 w 87128"/>
                    <a:gd name="connsiteY29" fmla="*/ 30072 h 107747"/>
                    <a:gd name="connsiteX30" fmla="*/ 16365 w 87128"/>
                    <a:gd name="connsiteY30" fmla="*/ 27277 h 107747"/>
                    <a:gd name="connsiteX31" fmla="*/ 15623 w 87128"/>
                    <a:gd name="connsiteY31" fmla="*/ 24979 h 107747"/>
                    <a:gd name="connsiteX32" fmla="*/ 15191 w 87128"/>
                    <a:gd name="connsiteY32" fmla="*/ 22844 h 107747"/>
                    <a:gd name="connsiteX33" fmla="*/ 13235 w 87128"/>
                    <a:gd name="connsiteY33" fmla="*/ 18630 h 107747"/>
                    <a:gd name="connsiteX34" fmla="*/ 11459 w 87128"/>
                    <a:gd name="connsiteY34" fmla="*/ 15460 h 107747"/>
                    <a:gd name="connsiteX35" fmla="*/ 9763 w 87128"/>
                    <a:gd name="connsiteY35" fmla="*/ 13211 h 107747"/>
                    <a:gd name="connsiteX36" fmla="*/ 8981 w 87128"/>
                    <a:gd name="connsiteY36" fmla="*/ 11605 h 107747"/>
                    <a:gd name="connsiteX37" fmla="*/ 7009 w 87128"/>
                    <a:gd name="connsiteY37" fmla="*/ 9592 h 107747"/>
                    <a:gd name="connsiteX38" fmla="*/ 4189 w 87128"/>
                    <a:gd name="connsiteY38" fmla="*/ 7978 h 107747"/>
                    <a:gd name="connsiteX39" fmla="*/ 2363 w 87128"/>
                    <a:gd name="connsiteY39" fmla="*/ 7710 h 107747"/>
                    <a:gd name="connsiteX40" fmla="*/ 0 w 87128"/>
                    <a:gd name="connsiteY40" fmla="*/ 7840 h 107747"/>
                    <a:gd name="connsiteX41" fmla="*/ 546 w 87128"/>
                    <a:gd name="connsiteY41" fmla="*/ 6609 h 107747"/>
                    <a:gd name="connsiteX42" fmla="*/ 5672 w 87128"/>
                    <a:gd name="connsiteY42" fmla="*/ 3260 h 107747"/>
                    <a:gd name="connsiteX43" fmla="*/ 7001 w 87128"/>
                    <a:gd name="connsiteY43" fmla="*/ 3806 h 107747"/>
                    <a:gd name="connsiteX44" fmla="*/ 9674 w 87128"/>
                    <a:gd name="connsiteY44" fmla="*/ 3944 h 107747"/>
                    <a:gd name="connsiteX45" fmla="*/ 15134 w 87128"/>
                    <a:gd name="connsiteY45" fmla="*/ 3830 h 107747"/>
                    <a:gd name="connsiteX46" fmla="*/ 17824 w 87128"/>
                    <a:gd name="connsiteY46" fmla="*/ 1630 h 107747"/>
                    <a:gd name="connsiteX47" fmla="*/ 19486 w 87128"/>
                    <a:gd name="connsiteY47" fmla="*/ 2233 h 107747"/>
                    <a:gd name="connsiteX48" fmla="*/ 20839 w 87128"/>
                    <a:gd name="connsiteY48" fmla="*/ 1255 h 107747"/>
                    <a:gd name="connsiteX49" fmla="*/ 23096 w 87128"/>
                    <a:gd name="connsiteY49" fmla="*/ 0 h 107747"/>
                    <a:gd name="connsiteX50" fmla="*/ 23406 w 87128"/>
                    <a:gd name="connsiteY50" fmla="*/ 269 h 107747"/>
                    <a:gd name="connsiteX51" fmla="*/ 23691 w 87128"/>
                    <a:gd name="connsiteY51" fmla="*/ 464 h 107747"/>
                    <a:gd name="connsiteX52" fmla="*/ 27179 w 87128"/>
                    <a:gd name="connsiteY52" fmla="*/ 1019 h 107747"/>
                    <a:gd name="connsiteX53" fmla="*/ 29803 w 87128"/>
                    <a:gd name="connsiteY53" fmla="*/ 2217 h 107747"/>
                    <a:gd name="connsiteX54" fmla="*/ 31556 w 87128"/>
                    <a:gd name="connsiteY54" fmla="*/ 4050 h 107747"/>
                    <a:gd name="connsiteX55" fmla="*/ 33365 w 87128"/>
                    <a:gd name="connsiteY55" fmla="*/ 5191 h 107747"/>
                    <a:gd name="connsiteX56" fmla="*/ 35223 w 87128"/>
                    <a:gd name="connsiteY56" fmla="*/ 5631 h 107747"/>
                    <a:gd name="connsiteX57" fmla="*/ 36250 w 87128"/>
                    <a:gd name="connsiteY57" fmla="*/ 6544 h 107747"/>
                    <a:gd name="connsiteX58" fmla="*/ 36462 w 87128"/>
                    <a:gd name="connsiteY58" fmla="*/ 7946 h 107747"/>
                    <a:gd name="connsiteX59" fmla="*/ 38206 w 87128"/>
                    <a:gd name="connsiteY59" fmla="*/ 8622 h 107747"/>
                    <a:gd name="connsiteX60" fmla="*/ 41490 w 87128"/>
                    <a:gd name="connsiteY60" fmla="*/ 8606 h 107747"/>
                    <a:gd name="connsiteX61" fmla="*/ 42876 w 87128"/>
                    <a:gd name="connsiteY61" fmla="*/ 9519 h 107747"/>
                    <a:gd name="connsiteX62" fmla="*/ 42370 w 87128"/>
                    <a:gd name="connsiteY62" fmla="*/ 11377 h 107747"/>
                    <a:gd name="connsiteX63" fmla="*/ 42712 w 87128"/>
                    <a:gd name="connsiteY63" fmla="*/ 11988 h 107747"/>
                    <a:gd name="connsiteX64" fmla="*/ 43870 w 87128"/>
                    <a:gd name="connsiteY64" fmla="*/ 11352 h 107747"/>
                    <a:gd name="connsiteX65" fmla="*/ 44766 w 87128"/>
                    <a:gd name="connsiteY65" fmla="*/ 11899 h 107747"/>
                    <a:gd name="connsiteX66" fmla="*/ 45231 w 87128"/>
                    <a:gd name="connsiteY66" fmla="*/ 13268 h 107747"/>
                    <a:gd name="connsiteX67" fmla="*/ 45753 w 87128"/>
                    <a:gd name="connsiteY67" fmla="*/ 13920 h 107747"/>
                    <a:gd name="connsiteX68" fmla="*/ 47432 w 87128"/>
                    <a:gd name="connsiteY68" fmla="*/ 11768 h 107747"/>
                    <a:gd name="connsiteX69" fmla="*/ 49192 w 87128"/>
                    <a:gd name="connsiteY69" fmla="*/ 11988 h 107747"/>
                    <a:gd name="connsiteX70" fmla="*/ 53454 w 87128"/>
                    <a:gd name="connsiteY70" fmla="*/ 12876 h 107747"/>
                    <a:gd name="connsiteX71" fmla="*/ 55728 w 87128"/>
                    <a:gd name="connsiteY71" fmla="*/ 17326 h 107747"/>
                    <a:gd name="connsiteX72" fmla="*/ 57162 w 87128"/>
                    <a:gd name="connsiteY72" fmla="*/ 18924 h 107747"/>
                    <a:gd name="connsiteX73" fmla="*/ 58409 w 87128"/>
                    <a:gd name="connsiteY73" fmla="*/ 19567 h 107747"/>
                    <a:gd name="connsiteX74" fmla="*/ 59990 w 87128"/>
                    <a:gd name="connsiteY74" fmla="*/ 18883 h 107747"/>
                    <a:gd name="connsiteX75" fmla="*/ 61376 w 87128"/>
                    <a:gd name="connsiteY75" fmla="*/ 18052 h 107747"/>
                    <a:gd name="connsiteX76" fmla="*/ 62174 w 87128"/>
                    <a:gd name="connsiteY76" fmla="*/ 18443 h 107747"/>
                    <a:gd name="connsiteX77" fmla="*/ 63894 w 87128"/>
                    <a:gd name="connsiteY77" fmla="*/ 21393 h 107747"/>
                    <a:gd name="connsiteX78" fmla="*/ 64309 w 87128"/>
                    <a:gd name="connsiteY78" fmla="*/ 25240 h 107747"/>
                    <a:gd name="connsiteX79" fmla="*/ 64293 w 87128"/>
                    <a:gd name="connsiteY79" fmla="*/ 26796 h 107747"/>
                    <a:gd name="connsiteX80" fmla="*/ 63682 w 87128"/>
                    <a:gd name="connsiteY80" fmla="*/ 29396 h 107747"/>
                    <a:gd name="connsiteX81" fmla="*/ 62818 w 87128"/>
                    <a:gd name="connsiteY81" fmla="*/ 32183 h 107747"/>
                    <a:gd name="connsiteX82" fmla="*/ 62117 w 87128"/>
                    <a:gd name="connsiteY82" fmla="*/ 33992 h 107747"/>
                    <a:gd name="connsiteX83" fmla="*/ 62419 w 87128"/>
                    <a:gd name="connsiteY83" fmla="*/ 35443 h 107747"/>
                    <a:gd name="connsiteX84" fmla="*/ 63030 w 87128"/>
                    <a:gd name="connsiteY84" fmla="*/ 36657 h 107747"/>
                    <a:gd name="connsiteX85" fmla="*/ 64040 w 87128"/>
                    <a:gd name="connsiteY85" fmla="*/ 37057 h 107747"/>
                    <a:gd name="connsiteX86" fmla="*/ 67341 w 87128"/>
                    <a:gd name="connsiteY86" fmla="*/ 39518 h 107747"/>
                    <a:gd name="connsiteX87" fmla="*/ 68580 w 87128"/>
                    <a:gd name="connsiteY87" fmla="*/ 41221 h 107747"/>
                    <a:gd name="connsiteX88" fmla="*/ 70373 w 87128"/>
                    <a:gd name="connsiteY88" fmla="*/ 42476 h 107747"/>
                    <a:gd name="connsiteX89" fmla="*/ 71734 w 87128"/>
                    <a:gd name="connsiteY89" fmla="*/ 42550 h 107747"/>
                    <a:gd name="connsiteX90" fmla="*/ 72435 w 87128"/>
                    <a:gd name="connsiteY90" fmla="*/ 43251 h 107747"/>
                    <a:gd name="connsiteX91" fmla="*/ 72695 w 87128"/>
                    <a:gd name="connsiteY91" fmla="*/ 44114 h 107747"/>
                    <a:gd name="connsiteX92" fmla="*/ 72508 w 87128"/>
                    <a:gd name="connsiteY92" fmla="*/ 46299 h 107747"/>
                    <a:gd name="connsiteX93" fmla="*/ 71742 w 87128"/>
                    <a:gd name="connsiteY93" fmla="*/ 48352 h 107747"/>
                    <a:gd name="connsiteX94" fmla="*/ 71848 w 87128"/>
                    <a:gd name="connsiteY94" fmla="*/ 49664 h 107747"/>
                    <a:gd name="connsiteX95" fmla="*/ 73046 w 87128"/>
                    <a:gd name="connsiteY95" fmla="*/ 51221 h 107747"/>
                    <a:gd name="connsiteX96" fmla="*/ 73176 w 87128"/>
                    <a:gd name="connsiteY96" fmla="*/ 53022 h 107747"/>
                    <a:gd name="connsiteX97" fmla="*/ 73258 w 87128"/>
                    <a:gd name="connsiteY97" fmla="*/ 54187 h 107747"/>
                    <a:gd name="connsiteX98" fmla="*/ 73894 w 87128"/>
                    <a:gd name="connsiteY98" fmla="*/ 55084 h 107747"/>
                    <a:gd name="connsiteX99" fmla="*/ 76917 w 87128"/>
                    <a:gd name="connsiteY99" fmla="*/ 57072 h 107747"/>
                    <a:gd name="connsiteX100" fmla="*/ 80837 w 87128"/>
                    <a:gd name="connsiteY100" fmla="*/ 58996 h 107747"/>
                    <a:gd name="connsiteX101" fmla="*/ 81840 w 87128"/>
                    <a:gd name="connsiteY101" fmla="*/ 60642 h 107747"/>
                    <a:gd name="connsiteX102" fmla="*/ 82451 w 87128"/>
                    <a:gd name="connsiteY102" fmla="*/ 62728 h 107747"/>
                    <a:gd name="connsiteX103" fmla="*/ 82255 w 87128"/>
                    <a:gd name="connsiteY103" fmla="*/ 66241 h 107747"/>
                    <a:gd name="connsiteX104" fmla="*/ 81994 w 87128"/>
                    <a:gd name="connsiteY104" fmla="*/ 69297 h 107747"/>
                    <a:gd name="connsiteX105" fmla="*/ 87129 w 87128"/>
                    <a:gd name="connsiteY105" fmla="*/ 73396 h 107747"/>
                    <a:gd name="connsiteX106" fmla="*/ 86542 w 87128"/>
                    <a:gd name="connsiteY106" fmla="*/ 74171 h 107747"/>
                    <a:gd name="connsiteX107" fmla="*/ 85743 w 87128"/>
                    <a:gd name="connsiteY107" fmla="*/ 75002 h 107747"/>
                    <a:gd name="connsiteX108" fmla="*/ 80853 w 87128"/>
                    <a:gd name="connsiteY108" fmla="*/ 75630 h 107747"/>
                    <a:gd name="connsiteX109" fmla="*/ 79851 w 87128"/>
                    <a:gd name="connsiteY109" fmla="*/ 75972 h 107747"/>
                    <a:gd name="connsiteX110" fmla="*/ 77716 w 87128"/>
                    <a:gd name="connsiteY110" fmla="*/ 72883 h 107747"/>
                    <a:gd name="connsiteX111" fmla="*/ 76599 w 87128"/>
                    <a:gd name="connsiteY111" fmla="*/ 72492 h 107747"/>
                    <a:gd name="connsiteX112" fmla="*/ 75548 w 87128"/>
                    <a:gd name="connsiteY112" fmla="*/ 73625 h 107747"/>
                    <a:gd name="connsiteX113" fmla="*/ 74326 w 87128"/>
                    <a:gd name="connsiteY113" fmla="*/ 74260 h 107747"/>
                    <a:gd name="connsiteX114" fmla="*/ 72834 w 87128"/>
                    <a:gd name="connsiteY114" fmla="*/ 73943 h 107747"/>
                    <a:gd name="connsiteX115" fmla="*/ 71253 w 87128"/>
                    <a:gd name="connsiteY115" fmla="*/ 72989 h 107747"/>
                    <a:gd name="connsiteX116" fmla="*/ 70438 w 87128"/>
                    <a:gd name="connsiteY116" fmla="*/ 72312 h 107747"/>
                    <a:gd name="connsiteX117" fmla="*/ 69794 w 87128"/>
                    <a:gd name="connsiteY117" fmla="*/ 72239 h 107747"/>
                    <a:gd name="connsiteX118" fmla="*/ 68808 w 87128"/>
                    <a:gd name="connsiteY118" fmla="*/ 72907 h 107747"/>
                    <a:gd name="connsiteX119" fmla="*/ 67488 w 87128"/>
                    <a:gd name="connsiteY119" fmla="*/ 72622 h 107747"/>
                    <a:gd name="connsiteX120" fmla="*/ 66632 w 87128"/>
                    <a:gd name="connsiteY120" fmla="*/ 71856 h 107747"/>
                    <a:gd name="connsiteX121" fmla="*/ 65385 w 87128"/>
                    <a:gd name="connsiteY121" fmla="*/ 74480 h 107747"/>
                    <a:gd name="connsiteX122" fmla="*/ 64619 w 87128"/>
                    <a:gd name="connsiteY122" fmla="*/ 75034 h 107747"/>
                    <a:gd name="connsiteX123" fmla="*/ 64146 w 87128"/>
                    <a:gd name="connsiteY123" fmla="*/ 74945 h 107747"/>
                    <a:gd name="connsiteX124" fmla="*/ 64040 w 87128"/>
                    <a:gd name="connsiteY124" fmla="*/ 70495 h 107747"/>
                    <a:gd name="connsiteX125" fmla="*/ 63682 w 87128"/>
                    <a:gd name="connsiteY125" fmla="*/ 69819 h 107747"/>
                    <a:gd name="connsiteX126" fmla="*/ 62696 w 87128"/>
                    <a:gd name="connsiteY126" fmla="*/ 69721 h 107747"/>
                    <a:gd name="connsiteX127" fmla="*/ 60308 w 87128"/>
                    <a:gd name="connsiteY127" fmla="*/ 70780 h 107747"/>
                    <a:gd name="connsiteX128" fmla="*/ 58042 w 87128"/>
                    <a:gd name="connsiteY128" fmla="*/ 72150 h 107747"/>
                    <a:gd name="connsiteX129" fmla="*/ 57268 w 87128"/>
                    <a:gd name="connsiteY129" fmla="*/ 73356 h 107747"/>
                    <a:gd name="connsiteX130" fmla="*/ 57350 w 87128"/>
                    <a:gd name="connsiteY130" fmla="*/ 75556 h 107747"/>
                    <a:gd name="connsiteX131" fmla="*/ 57675 w 87128"/>
                    <a:gd name="connsiteY131" fmla="*/ 78172 h 107747"/>
                    <a:gd name="connsiteX132" fmla="*/ 59216 w 87128"/>
                    <a:gd name="connsiteY132" fmla="*/ 82133 h 107747"/>
                    <a:gd name="connsiteX133" fmla="*/ 58376 w 87128"/>
                    <a:gd name="connsiteY133" fmla="*/ 83861 h 107747"/>
                    <a:gd name="connsiteX134" fmla="*/ 57773 w 87128"/>
                    <a:gd name="connsiteY134" fmla="*/ 86607 h 107747"/>
                    <a:gd name="connsiteX135" fmla="*/ 55337 w 87128"/>
                    <a:gd name="connsiteY135" fmla="*/ 89125 h 107747"/>
                    <a:gd name="connsiteX136" fmla="*/ 52590 w 87128"/>
                    <a:gd name="connsiteY136" fmla="*/ 90592 h 107747"/>
                    <a:gd name="connsiteX137" fmla="*/ 52354 w 87128"/>
                    <a:gd name="connsiteY137" fmla="*/ 93600 h 107747"/>
                    <a:gd name="connsiteX138" fmla="*/ 50830 w 87128"/>
                    <a:gd name="connsiteY138" fmla="*/ 95653 h 107747"/>
                    <a:gd name="connsiteX139" fmla="*/ 48222 w 87128"/>
                    <a:gd name="connsiteY139" fmla="*/ 97699 h 107747"/>
                    <a:gd name="connsiteX140" fmla="*/ 46462 w 87128"/>
                    <a:gd name="connsiteY140" fmla="*/ 100168 h 107747"/>
                    <a:gd name="connsiteX141" fmla="*/ 46902 w 87128"/>
                    <a:gd name="connsiteY141" fmla="*/ 101855 h 107747"/>
                    <a:gd name="connsiteX142" fmla="*/ 46999 w 87128"/>
                    <a:gd name="connsiteY142" fmla="*/ 103461 h 107747"/>
                    <a:gd name="connsiteX143" fmla="*/ 46714 w 87128"/>
                    <a:gd name="connsiteY143" fmla="*/ 104545 h 107747"/>
                    <a:gd name="connsiteX144" fmla="*/ 46641 w 87128"/>
                    <a:gd name="connsiteY144" fmla="*/ 105384 h 107747"/>
                    <a:gd name="connsiteX145" fmla="*/ 45956 w 87128"/>
                    <a:gd name="connsiteY145" fmla="*/ 105759 h 107747"/>
                    <a:gd name="connsiteX146" fmla="*/ 41963 w 87128"/>
                    <a:gd name="connsiteY146" fmla="*/ 106052 h 107747"/>
                    <a:gd name="connsiteX147" fmla="*/ 40838 w 87128"/>
                    <a:gd name="connsiteY147" fmla="*/ 106574 h 107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87128" h="107747">
                      <a:moveTo>
                        <a:pt x="39534" y="107748"/>
                      </a:moveTo>
                      <a:lnTo>
                        <a:pt x="38295" y="105523"/>
                      </a:lnTo>
                      <a:lnTo>
                        <a:pt x="37040" y="103575"/>
                      </a:lnTo>
                      <a:lnTo>
                        <a:pt x="36120" y="102524"/>
                      </a:lnTo>
                      <a:lnTo>
                        <a:pt x="36511" y="102035"/>
                      </a:lnTo>
                      <a:lnTo>
                        <a:pt x="37513" y="101497"/>
                      </a:lnTo>
                      <a:lnTo>
                        <a:pt x="38230" y="100828"/>
                      </a:lnTo>
                      <a:lnTo>
                        <a:pt x="38141" y="98498"/>
                      </a:lnTo>
                      <a:lnTo>
                        <a:pt x="37619" y="95825"/>
                      </a:lnTo>
                      <a:lnTo>
                        <a:pt x="37130" y="94529"/>
                      </a:lnTo>
                      <a:lnTo>
                        <a:pt x="37081" y="92508"/>
                      </a:lnTo>
                      <a:lnTo>
                        <a:pt x="36739" y="89337"/>
                      </a:lnTo>
                      <a:lnTo>
                        <a:pt x="37220" y="83469"/>
                      </a:lnTo>
                      <a:lnTo>
                        <a:pt x="39217" y="76078"/>
                      </a:lnTo>
                      <a:lnTo>
                        <a:pt x="40333" y="72402"/>
                      </a:lnTo>
                      <a:lnTo>
                        <a:pt x="39787" y="70389"/>
                      </a:lnTo>
                      <a:lnTo>
                        <a:pt x="40195" y="65679"/>
                      </a:lnTo>
                      <a:lnTo>
                        <a:pt x="39355" y="63348"/>
                      </a:lnTo>
                      <a:lnTo>
                        <a:pt x="37994" y="60308"/>
                      </a:lnTo>
                      <a:lnTo>
                        <a:pt x="36038" y="53674"/>
                      </a:lnTo>
                      <a:lnTo>
                        <a:pt x="33626" y="51368"/>
                      </a:lnTo>
                      <a:lnTo>
                        <a:pt x="30635" y="48825"/>
                      </a:lnTo>
                      <a:lnTo>
                        <a:pt x="29363" y="46910"/>
                      </a:lnTo>
                      <a:lnTo>
                        <a:pt x="28516" y="44799"/>
                      </a:lnTo>
                      <a:lnTo>
                        <a:pt x="26739" y="42705"/>
                      </a:lnTo>
                      <a:lnTo>
                        <a:pt x="24693" y="40765"/>
                      </a:lnTo>
                      <a:lnTo>
                        <a:pt x="22257" y="35940"/>
                      </a:lnTo>
                      <a:lnTo>
                        <a:pt x="21002" y="33764"/>
                      </a:lnTo>
                      <a:lnTo>
                        <a:pt x="20611" y="33178"/>
                      </a:lnTo>
                      <a:lnTo>
                        <a:pt x="17824" y="30072"/>
                      </a:lnTo>
                      <a:lnTo>
                        <a:pt x="16365" y="27277"/>
                      </a:lnTo>
                      <a:lnTo>
                        <a:pt x="15623" y="24979"/>
                      </a:lnTo>
                      <a:lnTo>
                        <a:pt x="15191" y="22844"/>
                      </a:lnTo>
                      <a:lnTo>
                        <a:pt x="13235" y="18630"/>
                      </a:lnTo>
                      <a:lnTo>
                        <a:pt x="11459" y="15460"/>
                      </a:lnTo>
                      <a:lnTo>
                        <a:pt x="9763" y="13211"/>
                      </a:lnTo>
                      <a:lnTo>
                        <a:pt x="8981" y="11605"/>
                      </a:lnTo>
                      <a:lnTo>
                        <a:pt x="7009" y="9592"/>
                      </a:lnTo>
                      <a:lnTo>
                        <a:pt x="4189" y="7978"/>
                      </a:lnTo>
                      <a:lnTo>
                        <a:pt x="2363" y="7710"/>
                      </a:lnTo>
                      <a:lnTo>
                        <a:pt x="0" y="7840"/>
                      </a:lnTo>
                      <a:lnTo>
                        <a:pt x="546" y="6609"/>
                      </a:lnTo>
                      <a:lnTo>
                        <a:pt x="5672" y="3260"/>
                      </a:lnTo>
                      <a:lnTo>
                        <a:pt x="7001" y="3806"/>
                      </a:lnTo>
                      <a:lnTo>
                        <a:pt x="9674" y="3944"/>
                      </a:lnTo>
                      <a:lnTo>
                        <a:pt x="15134" y="3830"/>
                      </a:lnTo>
                      <a:lnTo>
                        <a:pt x="17824" y="1630"/>
                      </a:lnTo>
                      <a:lnTo>
                        <a:pt x="19486" y="2233"/>
                      </a:lnTo>
                      <a:lnTo>
                        <a:pt x="20839" y="1255"/>
                      </a:lnTo>
                      <a:lnTo>
                        <a:pt x="23096" y="0"/>
                      </a:lnTo>
                      <a:lnTo>
                        <a:pt x="23406" y="269"/>
                      </a:lnTo>
                      <a:lnTo>
                        <a:pt x="23691" y="464"/>
                      </a:lnTo>
                      <a:lnTo>
                        <a:pt x="27179" y="1019"/>
                      </a:lnTo>
                      <a:lnTo>
                        <a:pt x="29803" y="2217"/>
                      </a:lnTo>
                      <a:lnTo>
                        <a:pt x="31556" y="4050"/>
                      </a:lnTo>
                      <a:lnTo>
                        <a:pt x="33365" y="5191"/>
                      </a:lnTo>
                      <a:lnTo>
                        <a:pt x="35223" y="5631"/>
                      </a:lnTo>
                      <a:lnTo>
                        <a:pt x="36250" y="6544"/>
                      </a:lnTo>
                      <a:lnTo>
                        <a:pt x="36462" y="7946"/>
                      </a:lnTo>
                      <a:lnTo>
                        <a:pt x="38206" y="8622"/>
                      </a:lnTo>
                      <a:lnTo>
                        <a:pt x="41490" y="8606"/>
                      </a:lnTo>
                      <a:lnTo>
                        <a:pt x="42876" y="9519"/>
                      </a:lnTo>
                      <a:lnTo>
                        <a:pt x="42370" y="11377"/>
                      </a:lnTo>
                      <a:lnTo>
                        <a:pt x="42712" y="11988"/>
                      </a:lnTo>
                      <a:lnTo>
                        <a:pt x="43870" y="11352"/>
                      </a:lnTo>
                      <a:lnTo>
                        <a:pt x="44766" y="11899"/>
                      </a:lnTo>
                      <a:lnTo>
                        <a:pt x="45231" y="13268"/>
                      </a:lnTo>
                      <a:lnTo>
                        <a:pt x="45753" y="13920"/>
                      </a:lnTo>
                      <a:lnTo>
                        <a:pt x="47432" y="11768"/>
                      </a:lnTo>
                      <a:lnTo>
                        <a:pt x="49192" y="11988"/>
                      </a:lnTo>
                      <a:lnTo>
                        <a:pt x="53454" y="12876"/>
                      </a:lnTo>
                      <a:lnTo>
                        <a:pt x="55728" y="17326"/>
                      </a:lnTo>
                      <a:lnTo>
                        <a:pt x="57162" y="18924"/>
                      </a:lnTo>
                      <a:lnTo>
                        <a:pt x="58409" y="19567"/>
                      </a:lnTo>
                      <a:lnTo>
                        <a:pt x="59990" y="18883"/>
                      </a:lnTo>
                      <a:lnTo>
                        <a:pt x="61376" y="18052"/>
                      </a:lnTo>
                      <a:lnTo>
                        <a:pt x="62174" y="18443"/>
                      </a:lnTo>
                      <a:lnTo>
                        <a:pt x="63894" y="21393"/>
                      </a:lnTo>
                      <a:lnTo>
                        <a:pt x="64309" y="25240"/>
                      </a:lnTo>
                      <a:lnTo>
                        <a:pt x="64293" y="26796"/>
                      </a:lnTo>
                      <a:lnTo>
                        <a:pt x="63682" y="29396"/>
                      </a:lnTo>
                      <a:lnTo>
                        <a:pt x="62818" y="32183"/>
                      </a:lnTo>
                      <a:lnTo>
                        <a:pt x="62117" y="33992"/>
                      </a:lnTo>
                      <a:lnTo>
                        <a:pt x="62419" y="35443"/>
                      </a:lnTo>
                      <a:lnTo>
                        <a:pt x="63030" y="36657"/>
                      </a:lnTo>
                      <a:lnTo>
                        <a:pt x="64040" y="37057"/>
                      </a:lnTo>
                      <a:lnTo>
                        <a:pt x="67341" y="39518"/>
                      </a:lnTo>
                      <a:lnTo>
                        <a:pt x="68580" y="41221"/>
                      </a:lnTo>
                      <a:lnTo>
                        <a:pt x="70373" y="42476"/>
                      </a:lnTo>
                      <a:lnTo>
                        <a:pt x="71734" y="42550"/>
                      </a:lnTo>
                      <a:lnTo>
                        <a:pt x="72435" y="43251"/>
                      </a:lnTo>
                      <a:lnTo>
                        <a:pt x="72695" y="44114"/>
                      </a:lnTo>
                      <a:lnTo>
                        <a:pt x="72508" y="46299"/>
                      </a:lnTo>
                      <a:lnTo>
                        <a:pt x="71742" y="48352"/>
                      </a:lnTo>
                      <a:lnTo>
                        <a:pt x="71848" y="49664"/>
                      </a:lnTo>
                      <a:lnTo>
                        <a:pt x="73046" y="51221"/>
                      </a:lnTo>
                      <a:lnTo>
                        <a:pt x="73176" y="53022"/>
                      </a:lnTo>
                      <a:lnTo>
                        <a:pt x="73258" y="54187"/>
                      </a:lnTo>
                      <a:lnTo>
                        <a:pt x="73894" y="55084"/>
                      </a:lnTo>
                      <a:lnTo>
                        <a:pt x="76917" y="57072"/>
                      </a:lnTo>
                      <a:lnTo>
                        <a:pt x="80837" y="58996"/>
                      </a:lnTo>
                      <a:lnTo>
                        <a:pt x="81840" y="60642"/>
                      </a:lnTo>
                      <a:lnTo>
                        <a:pt x="82451" y="62728"/>
                      </a:lnTo>
                      <a:lnTo>
                        <a:pt x="82255" y="66241"/>
                      </a:lnTo>
                      <a:lnTo>
                        <a:pt x="81994" y="69297"/>
                      </a:lnTo>
                      <a:lnTo>
                        <a:pt x="87129" y="73396"/>
                      </a:lnTo>
                      <a:lnTo>
                        <a:pt x="86542" y="74171"/>
                      </a:lnTo>
                      <a:lnTo>
                        <a:pt x="85743" y="75002"/>
                      </a:lnTo>
                      <a:lnTo>
                        <a:pt x="80853" y="75630"/>
                      </a:lnTo>
                      <a:lnTo>
                        <a:pt x="79851" y="75972"/>
                      </a:lnTo>
                      <a:lnTo>
                        <a:pt x="77716" y="72883"/>
                      </a:lnTo>
                      <a:lnTo>
                        <a:pt x="76599" y="72492"/>
                      </a:lnTo>
                      <a:lnTo>
                        <a:pt x="75548" y="73625"/>
                      </a:lnTo>
                      <a:lnTo>
                        <a:pt x="74326" y="74260"/>
                      </a:lnTo>
                      <a:lnTo>
                        <a:pt x="72834" y="73943"/>
                      </a:lnTo>
                      <a:lnTo>
                        <a:pt x="71253" y="72989"/>
                      </a:lnTo>
                      <a:lnTo>
                        <a:pt x="70438" y="72312"/>
                      </a:lnTo>
                      <a:lnTo>
                        <a:pt x="69794" y="72239"/>
                      </a:lnTo>
                      <a:lnTo>
                        <a:pt x="68808" y="72907"/>
                      </a:lnTo>
                      <a:lnTo>
                        <a:pt x="67488" y="72622"/>
                      </a:lnTo>
                      <a:lnTo>
                        <a:pt x="66632" y="71856"/>
                      </a:lnTo>
                      <a:lnTo>
                        <a:pt x="65385" y="74480"/>
                      </a:lnTo>
                      <a:lnTo>
                        <a:pt x="64619" y="75034"/>
                      </a:lnTo>
                      <a:lnTo>
                        <a:pt x="64146" y="74945"/>
                      </a:lnTo>
                      <a:lnTo>
                        <a:pt x="64040" y="70495"/>
                      </a:lnTo>
                      <a:lnTo>
                        <a:pt x="63682" y="69819"/>
                      </a:lnTo>
                      <a:lnTo>
                        <a:pt x="62696" y="69721"/>
                      </a:lnTo>
                      <a:lnTo>
                        <a:pt x="60308" y="70780"/>
                      </a:lnTo>
                      <a:lnTo>
                        <a:pt x="58042" y="72150"/>
                      </a:lnTo>
                      <a:lnTo>
                        <a:pt x="57268" y="73356"/>
                      </a:lnTo>
                      <a:lnTo>
                        <a:pt x="57350" y="75556"/>
                      </a:lnTo>
                      <a:lnTo>
                        <a:pt x="57675" y="78172"/>
                      </a:lnTo>
                      <a:lnTo>
                        <a:pt x="59216" y="82133"/>
                      </a:lnTo>
                      <a:lnTo>
                        <a:pt x="58376" y="83861"/>
                      </a:lnTo>
                      <a:lnTo>
                        <a:pt x="57773" y="86607"/>
                      </a:lnTo>
                      <a:lnTo>
                        <a:pt x="55337" y="89125"/>
                      </a:lnTo>
                      <a:lnTo>
                        <a:pt x="52590" y="90592"/>
                      </a:lnTo>
                      <a:lnTo>
                        <a:pt x="52354" y="93600"/>
                      </a:lnTo>
                      <a:lnTo>
                        <a:pt x="50830" y="95653"/>
                      </a:lnTo>
                      <a:lnTo>
                        <a:pt x="48222" y="97699"/>
                      </a:lnTo>
                      <a:lnTo>
                        <a:pt x="46462" y="100168"/>
                      </a:lnTo>
                      <a:lnTo>
                        <a:pt x="46902" y="101855"/>
                      </a:lnTo>
                      <a:lnTo>
                        <a:pt x="46999" y="103461"/>
                      </a:lnTo>
                      <a:lnTo>
                        <a:pt x="46714" y="104545"/>
                      </a:lnTo>
                      <a:lnTo>
                        <a:pt x="46641" y="105384"/>
                      </a:lnTo>
                      <a:lnTo>
                        <a:pt x="45956" y="105759"/>
                      </a:lnTo>
                      <a:lnTo>
                        <a:pt x="41963" y="106052"/>
                      </a:lnTo>
                      <a:lnTo>
                        <a:pt x="40838" y="106574"/>
                      </a:lnTo>
                      <a:close/>
                    </a:path>
                  </a:pathLst>
                </a:custGeom>
                <a:solidFill>
                  <a:srgbClr val="D6D6D2"/>
                </a:solidFill>
                <a:ln w="8150" cap="flat">
                  <a:noFill/>
                  <a:prstDash val="solid"/>
                  <a:miter/>
                </a:ln>
              </p:spPr>
              <p:txBody>
                <a:bodyPr rtlCol="0" anchor="ctr"/>
                <a:lstStyle/>
                <a:p>
                  <a:endParaRPr lang="en-US"/>
                </a:p>
              </p:txBody>
            </p:sp>
            <p:sp>
              <p:nvSpPr>
                <p:cNvPr id="685" name="Freeform: Shape 684">
                  <a:extLst>
                    <a:ext uri="{FF2B5EF4-FFF2-40B4-BE49-F238E27FC236}">
                      <a16:creationId xmlns:a16="http://schemas.microsoft.com/office/drawing/2014/main" id="{0C935ADC-5DAE-467F-9C44-6420E38472CC}"/>
                    </a:ext>
                  </a:extLst>
                </p:cNvPr>
                <p:cNvSpPr/>
                <p:nvPr/>
              </p:nvSpPr>
              <p:spPr>
                <a:xfrm>
                  <a:off x="5521916" y="3412107"/>
                  <a:ext cx="395286" cy="463507"/>
                </a:xfrm>
                <a:custGeom>
                  <a:avLst/>
                  <a:gdLst>
                    <a:gd name="connsiteX0" fmla="*/ 306919 w 395286"/>
                    <a:gd name="connsiteY0" fmla="*/ 23887 h 463507"/>
                    <a:gd name="connsiteX1" fmla="*/ 314319 w 395286"/>
                    <a:gd name="connsiteY1" fmla="*/ 25370 h 463507"/>
                    <a:gd name="connsiteX2" fmla="*/ 322941 w 395286"/>
                    <a:gd name="connsiteY2" fmla="*/ 22664 h 463507"/>
                    <a:gd name="connsiteX3" fmla="*/ 327766 w 395286"/>
                    <a:gd name="connsiteY3" fmla="*/ 22615 h 463507"/>
                    <a:gd name="connsiteX4" fmla="*/ 330113 w 395286"/>
                    <a:gd name="connsiteY4" fmla="*/ 21458 h 463507"/>
                    <a:gd name="connsiteX5" fmla="*/ 332655 w 395286"/>
                    <a:gd name="connsiteY5" fmla="*/ 23162 h 463507"/>
                    <a:gd name="connsiteX6" fmla="*/ 337521 w 395286"/>
                    <a:gd name="connsiteY6" fmla="*/ 23708 h 463507"/>
                    <a:gd name="connsiteX7" fmla="*/ 342191 w 395286"/>
                    <a:gd name="connsiteY7" fmla="*/ 22803 h 463507"/>
                    <a:gd name="connsiteX8" fmla="*/ 345744 w 395286"/>
                    <a:gd name="connsiteY8" fmla="*/ 20236 h 463507"/>
                    <a:gd name="connsiteX9" fmla="*/ 347993 w 395286"/>
                    <a:gd name="connsiteY9" fmla="*/ 17261 h 463507"/>
                    <a:gd name="connsiteX10" fmla="*/ 348352 w 395286"/>
                    <a:gd name="connsiteY10" fmla="*/ 18720 h 463507"/>
                    <a:gd name="connsiteX11" fmla="*/ 348458 w 395286"/>
                    <a:gd name="connsiteY11" fmla="*/ 20301 h 463507"/>
                    <a:gd name="connsiteX12" fmla="*/ 349135 w 395286"/>
                    <a:gd name="connsiteY12" fmla="*/ 21230 h 463507"/>
                    <a:gd name="connsiteX13" fmla="*/ 350536 w 395286"/>
                    <a:gd name="connsiteY13" fmla="*/ 24995 h 463507"/>
                    <a:gd name="connsiteX14" fmla="*/ 351278 w 395286"/>
                    <a:gd name="connsiteY14" fmla="*/ 26478 h 463507"/>
                    <a:gd name="connsiteX15" fmla="*/ 353967 w 395286"/>
                    <a:gd name="connsiteY15" fmla="*/ 26226 h 463507"/>
                    <a:gd name="connsiteX16" fmla="*/ 356314 w 395286"/>
                    <a:gd name="connsiteY16" fmla="*/ 26976 h 463507"/>
                    <a:gd name="connsiteX17" fmla="*/ 361603 w 395286"/>
                    <a:gd name="connsiteY17" fmla="*/ 26625 h 463507"/>
                    <a:gd name="connsiteX18" fmla="*/ 366665 w 395286"/>
                    <a:gd name="connsiteY18" fmla="*/ 27253 h 463507"/>
                    <a:gd name="connsiteX19" fmla="*/ 367373 w 395286"/>
                    <a:gd name="connsiteY19" fmla="*/ 29706 h 463507"/>
                    <a:gd name="connsiteX20" fmla="*/ 368832 w 395286"/>
                    <a:gd name="connsiteY20" fmla="*/ 31645 h 463507"/>
                    <a:gd name="connsiteX21" fmla="*/ 374073 w 395286"/>
                    <a:gd name="connsiteY21" fmla="*/ 36095 h 463507"/>
                    <a:gd name="connsiteX22" fmla="*/ 377178 w 395286"/>
                    <a:gd name="connsiteY22" fmla="*/ 38850 h 463507"/>
                    <a:gd name="connsiteX23" fmla="*/ 377259 w 395286"/>
                    <a:gd name="connsiteY23" fmla="*/ 39787 h 463507"/>
                    <a:gd name="connsiteX24" fmla="*/ 376265 w 395286"/>
                    <a:gd name="connsiteY24" fmla="*/ 42044 h 463507"/>
                    <a:gd name="connsiteX25" fmla="*/ 375841 w 395286"/>
                    <a:gd name="connsiteY25" fmla="*/ 43601 h 463507"/>
                    <a:gd name="connsiteX26" fmla="*/ 376656 w 395286"/>
                    <a:gd name="connsiteY26" fmla="*/ 45247 h 463507"/>
                    <a:gd name="connsiteX27" fmla="*/ 378571 w 395286"/>
                    <a:gd name="connsiteY27" fmla="*/ 47244 h 463507"/>
                    <a:gd name="connsiteX28" fmla="*/ 378726 w 395286"/>
                    <a:gd name="connsiteY28" fmla="*/ 48206 h 463507"/>
                    <a:gd name="connsiteX29" fmla="*/ 378261 w 395286"/>
                    <a:gd name="connsiteY29" fmla="*/ 49306 h 463507"/>
                    <a:gd name="connsiteX30" fmla="*/ 377276 w 395286"/>
                    <a:gd name="connsiteY30" fmla="*/ 51457 h 463507"/>
                    <a:gd name="connsiteX31" fmla="*/ 379378 w 395286"/>
                    <a:gd name="connsiteY31" fmla="*/ 57741 h 463507"/>
                    <a:gd name="connsiteX32" fmla="*/ 379728 w 395286"/>
                    <a:gd name="connsiteY32" fmla="*/ 63829 h 463507"/>
                    <a:gd name="connsiteX33" fmla="*/ 379183 w 395286"/>
                    <a:gd name="connsiteY33" fmla="*/ 68148 h 463507"/>
                    <a:gd name="connsiteX34" fmla="*/ 379199 w 395286"/>
                    <a:gd name="connsiteY34" fmla="*/ 70650 h 463507"/>
                    <a:gd name="connsiteX35" fmla="*/ 379476 w 395286"/>
                    <a:gd name="connsiteY35" fmla="*/ 72777 h 463507"/>
                    <a:gd name="connsiteX36" fmla="*/ 381252 w 395286"/>
                    <a:gd name="connsiteY36" fmla="*/ 77675 h 463507"/>
                    <a:gd name="connsiteX37" fmla="*/ 380063 w 395286"/>
                    <a:gd name="connsiteY37" fmla="*/ 85776 h 463507"/>
                    <a:gd name="connsiteX38" fmla="*/ 381407 w 395286"/>
                    <a:gd name="connsiteY38" fmla="*/ 90185 h 463507"/>
                    <a:gd name="connsiteX39" fmla="*/ 383249 w 395286"/>
                    <a:gd name="connsiteY39" fmla="*/ 93763 h 463507"/>
                    <a:gd name="connsiteX40" fmla="*/ 384260 w 395286"/>
                    <a:gd name="connsiteY40" fmla="*/ 100152 h 463507"/>
                    <a:gd name="connsiteX41" fmla="*/ 385751 w 395286"/>
                    <a:gd name="connsiteY41" fmla="*/ 103167 h 463507"/>
                    <a:gd name="connsiteX42" fmla="*/ 388172 w 395286"/>
                    <a:gd name="connsiteY42" fmla="*/ 105816 h 463507"/>
                    <a:gd name="connsiteX43" fmla="*/ 389557 w 395286"/>
                    <a:gd name="connsiteY43" fmla="*/ 106713 h 463507"/>
                    <a:gd name="connsiteX44" fmla="*/ 392238 w 395286"/>
                    <a:gd name="connsiteY44" fmla="*/ 108897 h 463507"/>
                    <a:gd name="connsiteX45" fmla="*/ 394162 w 395286"/>
                    <a:gd name="connsiteY45" fmla="*/ 110730 h 463507"/>
                    <a:gd name="connsiteX46" fmla="*/ 395286 w 395286"/>
                    <a:gd name="connsiteY46" fmla="*/ 113452 h 463507"/>
                    <a:gd name="connsiteX47" fmla="*/ 392882 w 395286"/>
                    <a:gd name="connsiteY47" fmla="*/ 115694 h 463507"/>
                    <a:gd name="connsiteX48" fmla="*/ 390951 w 395286"/>
                    <a:gd name="connsiteY48" fmla="*/ 117690 h 463507"/>
                    <a:gd name="connsiteX49" fmla="*/ 390404 w 395286"/>
                    <a:gd name="connsiteY49" fmla="*/ 119858 h 463507"/>
                    <a:gd name="connsiteX50" fmla="*/ 391301 w 395286"/>
                    <a:gd name="connsiteY50" fmla="*/ 123314 h 463507"/>
                    <a:gd name="connsiteX51" fmla="*/ 391301 w 395286"/>
                    <a:gd name="connsiteY51" fmla="*/ 125164 h 463507"/>
                    <a:gd name="connsiteX52" fmla="*/ 390079 w 395286"/>
                    <a:gd name="connsiteY52" fmla="*/ 125759 h 463507"/>
                    <a:gd name="connsiteX53" fmla="*/ 385083 w 395286"/>
                    <a:gd name="connsiteY53" fmla="*/ 125571 h 463507"/>
                    <a:gd name="connsiteX54" fmla="*/ 381155 w 395286"/>
                    <a:gd name="connsiteY54" fmla="*/ 125416 h 463507"/>
                    <a:gd name="connsiteX55" fmla="*/ 376648 w 395286"/>
                    <a:gd name="connsiteY55" fmla="*/ 125245 h 463507"/>
                    <a:gd name="connsiteX56" fmla="*/ 370307 w 395286"/>
                    <a:gd name="connsiteY56" fmla="*/ 124919 h 463507"/>
                    <a:gd name="connsiteX57" fmla="*/ 366379 w 395286"/>
                    <a:gd name="connsiteY57" fmla="*/ 124707 h 463507"/>
                    <a:gd name="connsiteX58" fmla="*/ 360984 w 395286"/>
                    <a:gd name="connsiteY58" fmla="*/ 124430 h 463507"/>
                    <a:gd name="connsiteX59" fmla="*/ 359134 w 395286"/>
                    <a:gd name="connsiteY59" fmla="*/ 124569 h 463507"/>
                    <a:gd name="connsiteX60" fmla="*/ 354187 w 395286"/>
                    <a:gd name="connsiteY60" fmla="*/ 125538 h 463507"/>
                    <a:gd name="connsiteX61" fmla="*/ 350691 w 395286"/>
                    <a:gd name="connsiteY61" fmla="*/ 126223 h 463507"/>
                    <a:gd name="connsiteX62" fmla="*/ 350105 w 395286"/>
                    <a:gd name="connsiteY62" fmla="*/ 126419 h 463507"/>
                    <a:gd name="connsiteX63" fmla="*/ 349020 w 395286"/>
                    <a:gd name="connsiteY63" fmla="*/ 127266 h 463507"/>
                    <a:gd name="connsiteX64" fmla="*/ 348271 w 395286"/>
                    <a:gd name="connsiteY64" fmla="*/ 129809 h 463507"/>
                    <a:gd name="connsiteX65" fmla="*/ 347594 w 395286"/>
                    <a:gd name="connsiteY65" fmla="*/ 132718 h 463507"/>
                    <a:gd name="connsiteX66" fmla="*/ 346877 w 395286"/>
                    <a:gd name="connsiteY66" fmla="*/ 134014 h 463507"/>
                    <a:gd name="connsiteX67" fmla="*/ 336397 w 395286"/>
                    <a:gd name="connsiteY67" fmla="*/ 138211 h 463507"/>
                    <a:gd name="connsiteX68" fmla="*/ 332313 w 395286"/>
                    <a:gd name="connsiteY68" fmla="*/ 138782 h 463507"/>
                    <a:gd name="connsiteX69" fmla="*/ 329942 w 395286"/>
                    <a:gd name="connsiteY69" fmla="*/ 138350 h 463507"/>
                    <a:gd name="connsiteX70" fmla="*/ 328255 w 395286"/>
                    <a:gd name="connsiteY70" fmla="*/ 138700 h 463507"/>
                    <a:gd name="connsiteX71" fmla="*/ 326804 w 395286"/>
                    <a:gd name="connsiteY71" fmla="*/ 139589 h 463507"/>
                    <a:gd name="connsiteX72" fmla="*/ 326307 w 395286"/>
                    <a:gd name="connsiteY72" fmla="*/ 140950 h 463507"/>
                    <a:gd name="connsiteX73" fmla="*/ 326234 w 395286"/>
                    <a:gd name="connsiteY73" fmla="*/ 142677 h 463507"/>
                    <a:gd name="connsiteX74" fmla="*/ 326543 w 395286"/>
                    <a:gd name="connsiteY74" fmla="*/ 144421 h 463507"/>
                    <a:gd name="connsiteX75" fmla="*/ 327554 w 395286"/>
                    <a:gd name="connsiteY75" fmla="*/ 146858 h 463507"/>
                    <a:gd name="connsiteX76" fmla="*/ 327733 w 395286"/>
                    <a:gd name="connsiteY76" fmla="*/ 149287 h 463507"/>
                    <a:gd name="connsiteX77" fmla="*/ 327089 w 395286"/>
                    <a:gd name="connsiteY77" fmla="*/ 150998 h 463507"/>
                    <a:gd name="connsiteX78" fmla="*/ 326935 w 395286"/>
                    <a:gd name="connsiteY78" fmla="*/ 152726 h 463507"/>
                    <a:gd name="connsiteX79" fmla="*/ 326641 w 395286"/>
                    <a:gd name="connsiteY79" fmla="*/ 154584 h 463507"/>
                    <a:gd name="connsiteX80" fmla="*/ 327171 w 395286"/>
                    <a:gd name="connsiteY80" fmla="*/ 155595 h 463507"/>
                    <a:gd name="connsiteX81" fmla="*/ 328182 w 395286"/>
                    <a:gd name="connsiteY81" fmla="*/ 155741 h 463507"/>
                    <a:gd name="connsiteX82" fmla="*/ 329200 w 395286"/>
                    <a:gd name="connsiteY82" fmla="*/ 156597 h 463507"/>
                    <a:gd name="connsiteX83" fmla="*/ 330627 w 395286"/>
                    <a:gd name="connsiteY83" fmla="*/ 157379 h 463507"/>
                    <a:gd name="connsiteX84" fmla="*/ 331816 w 395286"/>
                    <a:gd name="connsiteY84" fmla="*/ 158847 h 463507"/>
                    <a:gd name="connsiteX85" fmla="*/ 331759 w 395286"/>
                    <a:gd name="connsiteY85" fmla="*/ 160941 h 463507"/>
                    <a:gd name="connsiteX86" fmla="*/ 330773 w 395286"/>
                    <a:gd name="connsiteY86" fmla="*/ 162123 h 463507"/>
                    <a:gd name="connsiteX87" fmla="*/ 329893 w 395286"/>
                    <a:gd name="connsiteY87" fmla="*/ 162758 h 463507"/>
                    <a:gd name="connsiteX88" fmla="*/ 325973 w 395286"/>
                    <a:gd name="connsiteY88" fmla="*/ 163304 h 463507"/>
                    <a:gd name="connsiteX89" fmla="*/ 322868 w 395286"/>
                    <a:gd name="connsiteY89" fmla="*/ 163753 h 463507"/>
                    <a:gd name="connsiteX90" fmla="*/ 318809 w 395286"/>
                    <a:gd name="connsiteY90" fmla="*/ 167102 h 463507"/>
                    <a:gd name="connsiteX91" fmla="*/ 314490 w 395286"/>
                    <a:gd name="connsiteY91" fmla="*/ 170663 h 463507"/>
                    <a:gd name="connsiteX92" fmla="*/ 309380 w 395286"/>
                    <a:gd name="connsiteY92" fmla="*/ 173027 h 463507"/>
                    <a:gd name="connsiteX93" fmla="*/ 307131 w 395286"/>
                    <a:gd name="connsiteY93" fmla="*/ 173695 h 463507"/>
                    <a:gd name="connsiteX94" fmla="*/ 303194 w 395286"/>
                    <a:gd name="connsiteY94" fmla="*/ 175382 h 463507"/>
                    <a:gd name="connsiteX95" fmla="*/ 298492 w 395286"/>
                    <a:gd name="connsiteY95" fmla="*/ 178178 h 463507"/>
                    <a:gd name="connsiteX96" fmla="*/ 296161 w 395286"/>
                    <a:gd name="connsiteY96" fmla="*/ 182644 h 463507"/>
                    <a:gd name="connsiteX97" fmla="*/ 293235 w 395286"/>
                    <a:gd name="connsiteY97" fmla="*/ 187794 h 463507"/>
                    <a:gd name="connsiteX98" fmla="*/ 290416 w 395286"/>
                    <a:gd name="connsiteY98" fmla="*/ 191242 h 463507"/>
                    <a:gd name="connsiteX99" fmla="*/ 286569 w 395286"/>
                    <a:gd name="connsiteY99" fmla="*/ 194510 h 463507"/>
                    <a:gd name="connsiteX100" fmla="*/ 282983 w 395286"/>
                    <a:gd name="connsiteY100" fmla="*/ 195765 h 463507"/>
                    <a:gd name="connsiteX101" fmla="*/ 278484 w 395286"/>
                    <a:gd name="connsiteY101" fmla="*/ 197329 h 463507"/>
                    <a:gd name="connsiteX102" fmla="*/ 272796 w 395286"/>
                    <a:gd name="connsiteY102" fmla="*/ 198544 h 463507"/>
                    <a:gd name="connsiteX103" fmla="*/ 268770 w 395286"/>
                    <a:gd name="connsiteY103" fmla="*/ 198935 h 463507"/>
                    <a:gd name="connsiteX104" fmla="*/ 267572 w 395286"/>
                    <a:gd name="connsiteY104" fmla="*/ 199204 h 463507"/>
                    <a:gd name="connsiteX105" fmla="*/ 264035 w 395286"/>
                    <a:gd name="connsiteY105" fmla="*/ 199277 h 463507"/>
                    <a:gd name="connsiteX106" fmla="*/ 262299 w 395286"/>
                    <a:gd name="connsiteY106" fmla="*/ 199025 h 463507"/>
                    <a:gd name="connsiteX107" fmla="*/ 260995 w 395286"/>
                    <a:gd name="connsiteY107" fmla="*/ 198886 h 463507"/>
                    <a:gd name="connsiteX108" fmla="*/ 260482 w 395286"/>
                    <a:gd name="connsiteY108" fmla="*/ 199245 h 463507"/>
                    <a:gd name="connsiteX109" fmla="*/ 260311 w 395286"/>
                    <a:gd name="connsiteY109" fmla="*/ 200060 h 463507"/>
                    <a:gd name="connsiteX110" fmla="*/ 260237 w 395286"/>
                    <a:gd name="connsiteY110" fmla="*/ 201918 h 463507"/>
                    <a:gd name="connsiteX111" fmla="*/ 259984 w 395286"/>
                    <a:gd name="connsiteY111" fmla="*/ 204037 h 463507"/>
                    <a:gd name="connsiteX112" fmla="*/ 258868 w 395286"/>
                    <a:gd name="connsiteY112" fmla="*/ 205830 h 463507"/>
                    <a:gd name="connsiteX113" fmla="*/ 258077 w 395286"/>
                    <a:gd name="connsiteY113" fmla="*/ 206628 h 463507"/>
                    <a:gd name="connsiteX114" fmla="*/ 257140 w 395286"/>
                    <a:gd name="connsiteY114" fmla="*/ 206954 h 463507"/>
                    <a:gd name="connsiteX115" fmla="*/ 254174 w 395286"/>
                    <a:gd name="connsiteY115" fmla="*/ 206474 h 463507"/>
                    <a:gd name="connsiteX116" fmla="*/ 251680 w 395286"/>
                    <a:gd name="connsiteY116" fmla="*/ 205903 h 463507"/>
                    <a:gd name="connsiteX117" fmla="*/ 245739 w 395286"/>
                    <a:gd name="connsiteY117" fmla="*/ 205145 h 463507"/>
                    <a:gd name="connsiteX118" fmla="*/ 244565 w 395286"/>
                    <a:gd name="connsiteY118" fmla="*/ 205324 h 463507"/>
                    <a:gd name="connsiteX119" fmla="*/ 244125 w 395286"/>
                    <a:gd name="connsiteY119" fmla="*/ 205553 h 463507"/>
                    <a:gd name="connsiteX120" fmla="*/ 242275 w 395286"/>
                    <a:gd name="connsiteY120" fmla="*/ 206751 h 463507"/>
                    <a:gd name="connsiteX121" fmla="*/ 239423 w 395286"/>
                    <a:gd name="connsiteY121" fmla="*/ 209326 h 463507"/>
                    <a:gd name="connsiteX122" fmla="*/ 237491 w 395286"/>
                    <a:gd name="connsiteY122" fmla="*/ 211559 h 463507"/>
                    <a:gd name="connsiteX123" fmla="*/ 236049 w 395286"/>
                    <a:gd name="connsiteY123" fmla="*/ 212602 h 463507"/>
                    <a:gd name="connsiteX124" fmla="*/ 232609 w 395286"/>
                    <a:gd name="connsiteY124" fmla="*/ 213148 h 463507"/>
                    <a:gd name="connsiteX125" fmla="*/ 231110 w 395286"/>
                    <a:gd name="connsiteY125" fmla="*/ 213971 h 463507"/>
                    <a:gd name="connsiteX126" fmla="*/ 224688 w 395286"/>
                    <a:gd name="connsiteY126" fmla="*/ 219554 h 463507"/>
                    <a:gd name="connsiteX127" fmla="*/ 223319 w 395286"/>
                    <a:gd name="connsiteY127" fmla="*/ 220915 h 463507"/>
                    <a:gd name="connsiteX128" fmla="*/ 216718 w 395286"/>
                    <a:gd name="connsiteY128" fmla="*/ 225764 h 463507"/>
                    <a:gd name="connsiteX129" fmla="*/ 214851 w 395286"/>
                    <a:gd name="connsiteY129" fmla="*/ 227369 h 463507"/>
                    <a:gd name="connsiteX130" fmla="*/ 213393 w 395286"/>
                    <a:gd name="connsiteY130" fmla="*/ 228967 h 463507"/>
                    <a:gd name="connsiteX131" fmla="*/ 209448 w 395286"/>
                    <a:gd name="connsiteY131" fmla="*/ 232553 h 463507"/>
                    <a:gd name="connsiteX132" fmla="*/ 206930 w 395286"/>
                    <a:gd name="connsiteY132" fmla="*/ 234126 h 463507"/>
                    <a:gd name="connsiteX133" fmla="*/ 206473 w 395286"/>
                    <a:gd name="connsiteY133" fmla="*/ 235055 h 463507"/>
                    <a:gd name="connsiteX134" fmla="*/ 206343 w 395286"/>
                    <a:gd name="connsiteY134" fmla="*/ 237247 h 463507"/>
                    <a:gd name="connsiteX135" fmla="*/ 206343 w 395286"/>
                    <a:gd name="connsiteY135" fmla="*/ 242080 h 463507"/>
                    <a:gd name="connsiteX136" fmla="*/ 206343 w 395286"/>
                    <a:gd name="connsiteY136" fmla="*/ 246709 h 463507"/>
                    <a:gd name="connsiteX137" fmla="*/ 206343 w 395286"/>
                    <a:gd name="connsiteY137" fmla="*/ 253457 h 463507"/>
                    <a:gd name="connsiteX138" fmla="*/ 206343 w 395286"/>
                    <a:gd name="connsiteY138" fmla="*/ 260180 h 463507"/>
                    <a:gd name="connsiteX139" fmla="*/ 206343 w 395286"/>
                    <a:gd name="connsiteY139" fmla="*/ 267931 h 463507"/>
                    <a:gd name="connsiteX140" fmla="*/ 203010 w 395286"/>
                    <a:gd name="connsiteY140" fmla="*/ 267931 h 463507"/>
                    <a:gd name="connsiteX141" fmla="*/ 203018 w 395286"/>
                    <a:gd name="connsiteY141" fmla="*/ 267947 h 463507"/>
                    <a:gd name="connsiteX142" fmla="*/ 203107 w 395286"/>
                    <a:gd name="connsiteY142" fmla="*/ 269284 h 463507"/>
                    <a:gd name="connsiteX143" fmla="*/ 203833 w 395286"/>
                    <a:gd name="connsiteY143" fmla="*/ 271916 h 463507"/>
                    <a:gd name="connsiteX144" fmla="*/ 204094 w 395286"/>
                    <a:gd name="connsiteY144" fmla="*/ 274149 h 463507"/>
                    <a:gd name="connsiteX145" fmla="*/ 203727 w 395286"/>
                    <a:gd name="connsiteY145" fmla="*/ 275543 h 463507"/>
                    <a:gd name="connsiteX146" fmla="*/ 203384 w 395286"/>
                    <a:gd name="connsiteY146" fmla="*/ 277303 h 463507"/>
                    <a:gd name="connsiteX147" fmla="*/ 203531 w 395286"/>
                    <a:gd name="connsiteY147" fmla="*/ 278982 h 463507"/>
                    <a:gd name="connsiteX148" fmla="*/ 204094 w 395286"/>
                    <a:gd name="connsiteY148" fmla="*/ 280807 h 463507"/>
                    <a:gd name="connsiteX149" fmla="*/ 204599 w 395286"/>
                    <a:gd name="connsiteY149" fmla="*/ 282698 h 463507"/>
                    <a:gd name="connsiteX150" fmla="*/ 204599 w 395286"/>
                    <a:gd name="connsiteY150" fmla="*/ 283961 h 463507"/>
                    <a:gd name="connsiteX151" fmla="*/ 203588 w 395286"/>
                    <a:gd name="connsiteY151" fmla="*/ 284923 h 463507"/>
                    <a:gd name="connsiteX152" fmla="*/ 201241 w 395286"/>
                    <a:gd name="connsiteY152" fmla="*/ 285444 h 463507"/>
                    <a:gd name="connsiteX153" fmla="*/ 198446 w 395286"/>
                    <a:gd name="connsiteY153" fmla="*/ 285876 h 463507"/>
                    <a:gd name="connsiteX154" fmla="*/ 196400 w 395286"/>
                    <a:gd name="connsiteY154" fmla="*/ 285876 h 463507"/>
                    <a:gd name="connsiteX155" fmla="*/ 193328 w 395286"/>
                    <a:gd name="connsiteY155" fmla="*/ 285567 h 463507"/>
                    <a:gd name="connsiteX156" fmla="*/ 191413 w 395286"/>
                    <a:gd name="connsiteY156" fmla="*/ 285632 h 463507"/>
                    <a:gd name="connsiteX157" fmla="*/ 189742 w 395286"/>
                    <a:gd name="connsiteY157" fmla="*/ 285632 h 463507"/>
                    <a:gd name="connsiteX158" fmla="*/ 188250 w 395286"/>
                    <a:gd name="connsiteY158" fmla="*/ 285941 h 463507"/>
                    <a:gd name="connsiteX159" fmla="*/ 186409 w 395286"/>
                    <a:gd name="connsiteY159" fmla="*/ 287148 h 463507"/>
                    <a:gd name="connsiteX160" fmla="*/ 184355 w 395286"/>
                    <a:gd name="connsiteY160" fmla="*/ 289030 h 463507"/>
                    <a:gd name="connsiteX161" fmla="*/ 181788 w 395286"/>
                    <a:gd name="connsiteY161" fmla="*/ 291573 h 463507"/>
                    <a:gd name="connsiteX162" fmla="*/ 180256 w 395286"/>
                    <a:gd name="connsiteY162" fmla="*/ 293146 h 463507"/>
                    <a:gd name="connsiteX163" fmla="*/ 178210 w 395286"/>
                    <a:gd name="connsiteY163" fmla="*/ 293488 h 463507"/>
                    <a:gd name="connsiteX164" fmla="*/ 176156 w 395286"/>
                    <a:gd name="connsiteY164" fmla="*/ 293488 h 463507"/>
                    <a:gd name="connsiteX165" fmla="*/ 174168 w 395286"/>
                    <a:gd name="connsiteY165" fmla="*/ 292225 h 463507"/>
                    <a:gd name="connsiteX166" fmla="*/ 172880 w 395286"/>
                    <a:gd name="connsiteY166" fmla="*/ 291573 h 463507"/>
                    <a:gd name="connsiteX167" fmla="*/ 172033 w 395286"/>
                    <a:gd name="connsiteY167" fmla="*/ 291630 h 463507"/>
                    <a:gd name="connsiteX168" fmla="*/ 170639 w 395286"/>
                    <a:gd name="connsiteY168" fmla="*/ 292535 h 463507"/>
                    <a:gd name="connsiteX169" fmla="*/ 168993 w 395286"/>
                    <a:gd name="connsiteY169" fmla="*/ 293146 h 463507"/>
                    <a:gd name="connsiteX170" fmla="*/ 167453 w 395286"/>
                    <a:gd name="connsiteY170" fmla="*/ 293146 h 463507"/>
                    <a:gd name="connsiteX171" fmla="*/ 164893 w 395286"/>
                    <a:gd name="connsiteY171" fmla="*/ 291883 h 463507"/>
                    <a:gd name="connsiteX172" fmla="*/ 161813 w 395286"/>
                    <a:gd name="connsiteY172" fmla="*/ 289992 h 463507"/>
                    <a:gd name="connsiteX173" fmla="*/ 160012 w 395286"/>
                    <a:gd name="connsiteY173" fmla="*/ 289030 h 463507"/>
                    <a:gd name="connsiteX174" fmla="*/ 157461 w 395286"/>
                    <a:gd name="connsiteY174" fmla="*/ 288729 h 463507"/>
                    <a:gd name="connsiteX175" fmla="*/ 154894 w 395286"/>
                    <a:gd name="connsiteY175" fmla="*/ 288109 h 463507"/>
                    <a:gd name="connsiteX176" fmla="*/ 153101 w 395286"/>
                    <a:gd name="connsiteY176" fmla="*/ 288419 h 463507"/>
                    <a:gd name="connsiteX177" fmla="*/ 150803 w 395286"/>
                    <a:gd name="connsiteY177" fmla="*/ 288419 h 463507"/>
                    <a:gd name="connsiteX178" fmla="*/ 147730 w 395286"/>
                    <a:gd name="connsiteY178" fmla="*/ 289682 h 463507"/>
                    <a:gd name="connsiteX179" fmla="*/ 145163 w 395286"/>
                    <a:gd name="connsiteY179" fmla="*/ 290611 h 463507"/>
                    <a:gd name="connsiteX180" fmla="*/ 142351 w 395286"/>
                    <a:gd name="connsiteY180" fmla="*/ 291573 h 463507"/>
                    <a:gd name="connsiteX181" fmla="*/ 139148 w 395286"/>
                    <a:gd name="connsiteY181" fmla="*/ 292437 h 463507"/>
                    <a:gd name="connsiteX182" fmla="*/ 139931 w 395286"/>
                    <a:gd name="connsiteY182" fmla="*/ 295281 h 463507"/>
                    <a:gd name="connsiteX183" fmla="*/ 141023 w 395286"/>
                    <a:gd name="connsiteY183" fmla="*/ 296821 h 463507"/>
                    <a:gd name="connsiteX184" fmla="*/ 141023 w 395286"/>
                    <a:gd name="connsiteY184" fmla="*/ 298737 h 463507"/>
                    <a:gd name="connsiteX185" fmla="*/ 140510 w 395286"/>
                    <a:gd name="connsiteY185" fmla="*/ 300350 h 463507"/>
                    <a:gd name="connsiteX186" fmla="*/ 138969 w 395286"/>
                    <a:gd name="connsiteY186" fmla="*/ 301923 h 463507"/>
                    <a:gd name="connsiteX187" fmla="*/ 137217 w 395286"/>
                    <a:gd name="connsiteY187" fmla="*/ 303928 h 463507"/>
                    <a:gd name="connsiteX188" fmla="*/ 136198 w 395286"/>
                    <a:gd name="connsiteY188" fmla="*/ 305501 h 463507"/>
                    <a:gd name="connsiteX189" fmla="*/ 135171 w 395286"/>
                    <a:gd name="connsiteY189" fmla="*/ 307693 h 463507"/>
                    <a:gd name="connsiteX190" fmla="*/ 134405 w 395286"/>
                    <a:gd name="connsiteY190" fmla="*/ 308956 h 463507"/>
                    <a:gd name="connsiteX191" fmla="*/ 133085 w 395286"/>
                    <a:gd name="connsiteY191" fmla="*/ 311018 h 463507"/>
                    <a:gd name="connsiteX192" fmla="*/ 131911 w 395286"/>
                    <a:gd name="connsiteY192" fmla="*/ 313610 h 463507"/>
                    <a:gd name="connsiteX193" fmla="*/ 131545 w 395286"/>
                    <a:gd name="connsiteY193" fmla="*/ 315207 h 463507"/>
                    <a:gd name="connsiteX194" fmla="*/ 131080 w 395286"/>
                    <a:gd name="connsiteY194" fmla="*/ 317065 h 463507"/>
                    <a:gd name="connsiteX195" fmla="*/ 130167 w 395286"/>
                    <a:gd name="connsiteY195" fmla="*/ 317620 h 463507"/>
                    <a:gd name="connsiteX196" fmla="*/ 127038 w 395286"/>
                    <a:gd name="connsiteY196" fmla="*/ 318109 h 463507"/>
                    <a:gd name="connsiteX197" fmla="*/ 125049 w 395286"/>
                    <a:gd name="connsiteY197" fmla="*/ 318752 h 463507"/>
                    <a:gd name="connsiteX198" fmla="*/ 123322 w 395286"/>
                    <a:gd name="connsiteY198" fmla="*/ 319372 h 463507"/>
                    <a:gd name="connsiteX199" fmla="*/ 122678 w 395286"/>
                    <a:gd name="connsiteY199" fmla="*/ 320464 h 463507"/>
                    <a:gd name="connsiteX200" fmla="*/ 122572 w 395286"/>
                    <a:gd name="connsiteY200" fmla="*/ 320635 h 463507"/>
                    <a:gd name="connsiteX201" fmla="*/ 122075 w 395286"/>
                    <a:gd name="connsiteY201" fmla="*/ 322852 h 463507"/>
                    <a:gd name="connsiteX202" fmla="*/ 122075 w 395286"/>
                    <a:gd name="connsiteY202" fmla="*/ 324425 h 463507"/>
                    <a:gd name="connsiteX203" fmla="*/ 121578 w 395286"/>
                    <a:gd name="connsiteY203" fmla="*/ 325680 h 463507"/>
                    <a:gd name="connsiteX204" fmla="*/ 120836 w 395286"/>
                    <a:gd name="connsiteY204" fmla="*/ 328825 h 463507"/>
                    <a:gd name="connsiteX205" fmla="*/ 119842 w 395286"/>
                    <a:gd name="connsiteY205" fmla="*/ 331678 h 463507"/>
                    <a:gd name="connsiteX206" fmla="*/ 119100 w 395286"/>
                    <a:gd name="connsiteY206" fmla="*/ 335459 h 463507"/>
                    <a:gd name="connsiteX207" fmla="*/ 118358 w 395286"/>
                    <a:gd name="connsiteY207" fmla="*/ 338597 h 463507"/>
                    <a:gd name="connsiteX208" fmla="*/ 117364 w 395286"/>
                    <a:gd name="connsiteY208" fmla="*/ 343642 h 463507"/>
                    <a:gd name="connsiteX209" fmla="*/ 116370 w 395286"/>
                    <a:gd name="connsiteY209" fmla="*/ 348328 h 463507"/>
                    <a:gd name="connsiteX210" fmla="*/ 115139 w 395286"/>
                    <a:gd name="connsiteY210" fmla="*/ 352745 h 463507"/>
                    <a:gd name="connsiteX211" fmla="*/ 114137 w 395286"/>
                    <a:gd name="connsiteY211" fmla="*/ 355565 h 463507"/>
                    <a:gd name="connsiteX212" fmla="*/ 113387 w 395286"/>
                    <a:gd name="connsiteY212" fmla="*/ 357129 h 463507"/>
                    <a:gd name="connsiteX213" fmla="*/ 111659 w 395286"/>
                    <a:gd name="connsiteY213" fmla="*/ 359037 h 463507"/>
                    <a:gd name="connsiteX214" fmla="*/ 110168 w 395286"/>
                    <a:gd name="connsiteY214" fmla="*/ 360259 h 463507"/>
                    <a:gd name="connsiteX215" fmla="*/ 108440 w 395286"/>
                    <a:gd name="connsiteY215" fmla="*/ 361856 h 463507"/>
                    <a:gd name="connsiteX216" fmla="*/ 106452 w 395286"/>
                    <a:gd name="connsiteY216" fmla="*/ 363413 h 463507"/>
                    <a:gd name="connsiteX217" fmla="*/ 103730 w 395286"/>
                    <a:gd name="connsiteY217" fmla="*/ 365287 h 463507"/>
                    <a:gd name="connsiteX218" fmla="*/ 101488 w 395286"/>
                    <a:gd name="connsiteY218" fmla="*/ 366876 h 463507"/>
                    <a:gd name="connsiteX219" fmla="*/ 100576 w 395286"/>
                    <a:gd name="connsiteY219" fmla="*/ 367594 h 463507"/>
                    <a:gd name="connsiteX220" fmla="*/ 99500 w 395286"/>
                    <a:gd name="connsiteY220" fmla="*/ 368441 h 463507"/>
                    <a:gd name="connsiteX221" fmla="*/ 97772 w 395286"/>
                    <a:gd name="connsiteY221" fmla="*/ 370609 h 463507"/>
                    <a:gd name="connsiteX222" fmla="*/ 96281 w 395286"/>
                    <a:gd name="connsiteY222" fmla="*/ 373763 h 463507"/>
                    <a:gd name="connsiteX223" fmla="*/ 95287 w 395286"/>
                    <a:gd name="connsiteY223" fmla="*/ 376273 h 463507"/>
                    <a:gd name="connsiteX224" fmla="*/ 93559 w 395286"/>
                    <a:gd name="connsiteY224" fmla="*/ 380340 h 463507"/>
                    <a:gd name="connsiteX225" fmla="*/ 92320 w 395286"/>
                    <a:gd name="connsiteY225" fmla="*/ 382540 h 463507"/>
                    <a:gd name="connsiteX226" fmla="*/ 91570 w 395286"/>
                    <a:gd name="connsiteY226" fmla="*/ 383763 h 463507"/>
                    <a:gd name="connsiteX227" fmla="*/ 89582 w 395286"/>
                    <a:gd name="connsiteY227" fmla="*/ 385018 h 463507"/>
                    <a:gd name="connsiteX228" fmla="*/ 87357 w 395286"/>
                    <a:gd name="connsiteY228" fmla="*/ 385955 h 463507"/>
                    <a:gd name="connsiteX229" fmla="*/ 84871 w 395286"/>
                    <a:gd name="connsiteY229" fmla="*/ 387210 h 463507"/>
                    <a:gd name="connsiteX230" fmla="*/ 82891 w 395286"/>
                    <a:gd name="connsiteY230" fmla="*/ 388465 h 463507"/>
                    <a:gd name="connsiteX231" fmla="*/ 80161 w 395286"/>
                    <a:gd name="connsiteY231" fmla="*/ 389712 h 463507"/>
                    <a:gd name="connsiteX232" fmla="*/ 78433 w 395286"/>
                    <a:gd name="connsiteY232" fmla="*/ 390967 h 463507"/>
                    <a:gd name="connsiteX233" fmla="*/ 77186 w 395286"/>
                    <a:gd name="connsiteY233" fmla="*/ 392833 h 463507"/>
                    <a:gd name="connsiteX234" fmla="*/ 76192 w 395286"/>
                    <a:gd name="connsiteY234" fmla="*/ 395034 h 463507"/>
                    <a:gd name="connsiteX235" fmla="*/ 74953 w 395286"/>
                    <a:gd name="connsiteY235" fmla="*/ 398172 h 463507"/>
                    <a:gd name="connsiteX236" fmla="*/ 73959 w 395286"/>
                    <a:gd name="connsiteY236" fmla="*/ 401578 h 463507"/>
                    <a:gd name="connsiteX237" fmla="*/ 73462 w 395286"/>
                    <a:gd name="connsiteY237" fmla="*/ 403778 h 463507"/>
                    <a:gd name="connsiteX238" fmla="*/ 71970 w 395286"/>
                    <a:gd name="connsiteY238" fmla="*/ 411276 h 463507"/>
                    <a:gd name="connsiteX239" fmla="*/ 71481 w 395286"/>
                    <a:gd name="connsiteY239" fmla="*/ 415636 h 463507"/>
                    <a:gd name="connsiteX240" fmla="*/ 70984 w 395286"/>
                    <a:gd name="connsiteY240" fmla="*/ 418432 h 463507"/>
                    <a:gd name="connsiteX241" fmla="*/ 70242 w 395286"/>
                    <a:gd name="connsiteY241" fmla="*/ 421871 h 463507"/>
                    <a:gd name="connsiteX242" fmla="*/ 69745 w 395286"/>
                    <a:gd name="connsiteY242" fmla="*/ 427160 h 463507"/>
                    <a:gd name="connsiteX243" fmla="*/ 69745 w 395286"/>
                    <a:gd name="connsiteY243" fmla="*/ 431504 h 463507"/>
                    <a:gd name="connsiteX244" fmla="*/ 69248 w 395286"/>
                    <a:gd name="connsiteY244" fmla="*/ 433998 h 463507"/>
                    <a:gd name="connsiteX245" fmla="*/ 68987 w 395286"/>
                    <a:gd name="connsiteY245" fmla="*/ 435880 h 463507"/>
                    <a:gd name="connsiteX246" fmla="*/ 67765 w 395286"/>
                    <a:gd name="connsiteY246" fmla="*/ 438040 h 463507"/>
                    <a:gd name="connsiteX247" fmla="*/ 66763 w 395286"/>
                    <a:gd name="connsiteY247" fmla="*/ 439596 h 463507"/>
                    <a:gd name="connsiteX248" fmla="*/ 65035 w 395286"/>
                    <a:gd name="connsiteY248" fmla="*/ 441772 h 463507"/>
                    <a:gd name="connsiteX249" fmla="*/ 63543 w 395286"/>
                    <a:gd name="connsiteY249" fmla="*/ 443019 h 463507"/>
                    <a:gd name="connsiteX250" fmla="*/ 63046 w 395286"/>
                    <a:gd name="connsiteY250" fmla="*/ 444258 h 463507"/>
                    <a:gd name="connsiteX251" fmla="*/ 61555 w 395286"/>
                    <a:gd name="connsiteY251" fmla="*/ 445815 h 463507"/>
                    <a:gd name="connsiteX252" fmla="*/ 60071 w 395286"/>
                    <a:gd name="connsiteY252" fmla="*/ 448301 h 463507"/>
                    <a:gd name="connsiteX253" fmla="*/ 58833 w 395286"/>
                    <a:gd name="connsiteY253" fmla="*/ 449849 h 463507"/>
                    <a:gd name="connsiteX254" fmla="*/ 59077 w 395286"/>
                    <a:gd name="connsiteY254" fmla="*/ 451088 h 463507"/>
                    <a:gd name="connsiteX255" fmla="*/ 59330 w 395286"/>
                    <a:gd name="connsiteY255" fmla="*/ 453272 h 463507"/>
                    <a:gd name="connsiteX256" fmla="*/ 58580 w 395286"/>
                    <a:gd name="connsiteY256" fmla="*/ 455448 h 463507"/>
                    <a:gd name="connsiteX257" fmla="*/ 57839 w 395286"/>
                    <a:gd name="connsiteY257" fmla="*/ 457942 h 463507"/>
                    <a:gd name="connsiteX258" fmla="*/ 55858 w 395286"/>
                    <a:gd name="connsiteY258" fmla="*/ 461030 h 463507"/>
                    <a:gd name="connsiteX259" fmla="*/ 53625 w 395286"/>
                    <a:gd name="connsiteY259" fmla="*/ 462579 h 463507"/>
                    <a:gd name="connsiteX260" fmla="*/ 50390 w 395286"/>
                    <a:gd name="connsiteY260" fmla="*/ 462872 h 463507"/>
                    <a:gd name="connsiteX261" fmla="*/ 45932 w 395286"/>
                    <a:gd name="connsiteY261" fmla="*/ 462872 h 463507"/>
                    <a:gd name="connsiteX262" fmla="*/ 42468 w 395286"/>
                    <a:gd name="connsiteY262" fmla="*/ 462579 h 463507"/>
                    <a:gd name="connsiteX263" fmla="*/ 38247 w 395286"/>
                    <a:gd name="connsiteY263" fmla="*/ 462579 h 463507"/>
                    <a:gd name="connsiteX264" fmla="*/ 34530 w 395286"/>
                    <a:gd name="connsiteY264" fmla="*/ 461968 h 463507"/>
                    <a:gd name="connsiteX265" fmla="*/ 31058 w 395286"/>
                    <a:gd name="connsiteY265" fmla="*/ 461332 h 463507"/>
                    <a:gd name="connsiteX266" fmla="*/ 26845 w 395286"/>
                    <a:gd name="connsiteY266" fmla="*/ 461030 h 463507"/>
                    <a:gd name="connsiteX267" fmla="*/ 23862 w 395286"/>
                    <a:gd name="connsiteY267" fmla="*/ 461030 h 463507"/>
                    <a:gd name="connsiteX268" fmla="*/ 20146 w 395286"/>
                    <a:gd name="connsiteY268" fmla="*/ 461633 h 463507"/>
                    <a:gd name="connsiteX269" fmla="*/ 10464 w 395286"/>
                    <a:gd name="connsiteY269" fmla="*/ 461633 h 463507"/>
                    <a:gd name="connsiteX270" fmla="*/ 6748 w 395286"/>
                    <a:gd name="connsiteY270" fmla="*/ 461968 h 463507"/>
                    <a:gd name="connsiteX271" fmla="*/ 1288 w 395286"/>
                    <a:gd name="connsiteY271" fmla="*/ 463206 h 463507"/>
                    <a:gd name="connsiteX272" fmla="*/ 8 w 395286"/>
                    <a:gd name="connsiteY272" fmla="*/ 463508 h 463507"/>
                    <a:gd name="connsiteX273" fmla="*/ 0 w 395286"/>
                    <a:gd name="connsiteY273" fmla="*/ 463508 h 463507"/>
                    <a:gd name="connsiteX274" fmla="*/ 1793 w 395286"/>
                    <a:gd name="connsiteY274" fmla="*/ 448635 h 463507"/>
                    <a:gd name="connsiteX275" fmla="*/ 5200 w 395286"/>
                    <a:gd name="connsiteY275" fmla="*/ 440566 h 463507"/>
                    <a:gd name="connsiteX276" fmla="*/ 7913 w 395286"/>
                    <a:gd name="connsiteY276" fmla="*/ 436997 h 463507"/>
                    <a:gd name="connsiteX277" fmla="*/ 12119 w 395286"/>
                    <a:gd name="connsiteY277" fmla="*/ 435163 h 463507"/>
                    <a:gd name="connsiteX278" fmla="*/ 15982 w 395286"/>
                    <a:gd name="connsiteY278" fmla="*/ 427038 h 463507"/>
                    <a:gd name="connsiteX279" fmla="*/ 17334 w 395286"/>
                    <a:gd name="connsiteY279" fmla="*/ 419556 h 463507"/>
                    <a:gd name="connsiteX280" fmla="*/ 19869 w 395286"/>
                    <a:gd name="connsiteY280" fmla="*/ 416101 h 463507"/>
                    <a:gd name="connsiteX281" fmla="*/ 20668 w 395286"/>
                    <a:gd name="connsiteY281" fmla="*/ 413403 h 463507"/>
                    <a:gd name="connsiteX282" fmla="*/ 19665 w 395286"/>
                    <a:gd name="connsiteY282" fmla="*/ 411349 h 463507"/>
                    <a:gd name="connsiteX283" fmla="*/ 22061 w 395286"/>
                    <a:gd name="connsiteY283" fmla="*/ 407307 h 463507"/>
                    <a:gd name="connsiteX284" fmla="*/ 24963 w 395286"/>
                    <a:gd name="connsiteY284" fmla="*/ 401122 h 463507"/>
                    <a:gd name="connsiteX285" fmla="*/ 26307 w 395286"/>
                    <a:gd name="connsiteY285" fmla="*/ 397153 h 463507"/>
                    <a:gd name="connsiteX286" fmla="*/ 29689 w 395286"/>
                    <a:gd name="connsiteY286" fmla="*/ 391000 h 463507"/>
                    <a:gd name="connsiteX287" fmla="*/ 30105 w 395286"/>
                    <a:gd name="connsiteY287" fmla="*/ 389647 h 463507"/>
                    <a:gd name="connsiteX288" fmla="*/ 29795 w 395286"/>
                    <a:gd name="connsiteY288" fmla="*/ 388107 h 463507"/>
                    <a:gd name="connsiteX289" fmla="*/ 28467 w 395286"/>
                    <a:gd name="connsiteY289" fmla="*/ 389410 h 463507"/>
                    <a:gd name="connsiteX290" fmla="*/ 27049 w 395286"/>
                    <a:gd name="connsiteY290" fmla="*/ 391692 h 463507"/>
                    <a:gd name="connsiteX291" fmla="*/ 25354 w 395286"/>
                    <a:gd name="connsiteY291" fmla="*/ 393477 h 463507"/>
                    <a:gd name="connsiteX292" fmla="*/ 26046 w 395286"/>
                    <a:gd name="connsiteY292" fmla="*/ 391277 h 463507"/>
                    <a:gd name="connsiteX293" fmla="*/ 27375 w 395286"/>
                    <a:gd name="connsiteY293" fmla="*/ 388033 h 463507"/>
                    <a:gd name="connsiteX294" fmla="*/ 30390 w 395286"/>
                    <a:gd name="connsiteY294" fmla="*/ 384643 h 463507"/>
                    <a:gd name="connsiteX295" fmla="*/ 35141 w 395286"/>
                    <a:gd name="connsiteY295" fmla="*/ 380886 h 463507"/>
                    <a:gd name="connsiteX296" fmla="*/ 45003 w 395286"/>
                    <a:gd name="connsiteY296" fmla="*/ 368172 h 463507"/>
                    <a:gd name="connsiteX297" fmla="*/ 48719 w 395286"/>
                    <a:gd name="connsiteY297" fmla="*/ 365972 h 463507"/>
                    <a:gd name="connsiteX298" fmla="*/ 52052 w 395286"/>
                    <a:gd name="connsiteY298" fmla="*/ 360618 h 463507"/>
                    <a:gd name="connsiteX299" fmla="*/ 53250 w 395286"/>
                    <a:gd name="connsiteY299" fmla="*/ 355858 h 463507"/>
                    <a:gd name="connsiteX300" fmla="*/ 53576 w 395286"/>
                    <a:gd name="connsiteY300" fmla="*/ 344897 h 463507"/>
                    <a:gd name="connsiteX301" fmla="*/ 54766 w 395286"/>
                    <a:gd name="connsiteY301" fmla="*/ 339110 h 463507"/>
                    <a:gd name="connsiteX302" fmla="*/ 56942 w 395286"/>
                    <a:gd name="connsiteY302" fmla="*/ 334595 h 463507"/>
                    <a:gd name="connsiteX303" fmla="*/ 59542 w 395286"/>
                    <a:gd name="connsiteY303" fmla="*/ 326380 h 463507"/>
                    <a:gd name="connsiteX304" fmla="*/ 61514 w 395286"/>
                    <a:gd name="connsiteY304" fmla="*/ 322705 h 463507"/>
                    <a:gd name="connsiteX305" fmla="*/ 62810 w 395286"/>
                    <a:gd name="connsiteY305" fmla="*/ 315199 h 463507"/>
                    <a:gd name="connsiteX306" fmla="*/ 64220 w 395286"/>
                    <a:gd name="connsiteY306" fmla="*/ 312338 h 463507"/>
                    <a:gd name="connsiteX307" fmla="*/ 66738 w 395286"/>
                    <a:gd name="connsiteY307" fmla="*/ 310978 h 463507"/>
                    <a:gd name="connsiteX308" fmla="*/ 70308 w 395286"/>
                    <a:gd name="connsiteY308" fmla="*/ 307229 h 463507"/>
                    <a:gd name="connsiteX309" fmla="*/ 75670 w 395286"/>
                    <a:gd name="connsiteY309" fmla="*/ 304914 h 463507"/>
                    <a:gd name="connsiteX310" fmla="*/ 82027 w 395286"/>
                    <a:gd name="connsiteY310" fmla="*/ 300041 h 463507"/>
                    <a:gd name="connsiteX311" fmla="*/ 85002 w 395286"/>
                    <a:gd name="connsiteY311" fmla="*/ 297123 h 463507"/>
                    <a:gd name="connsiteX312" fmla="*/ 86990 w 395286"/>
                    <a:gd name="connsiteY312" fmla="*/ 292771 h 463507"/>
                    <a:gd name="connsiteX313" fmla="*/ 89117 w 395286"/>
                    <a:gd name="connsiteY313" fmla="*/ 284100 h 463507"/>
                    <a:gd name="connsiteX314" fmla="*/ 92931 w 395286"/>
                    <a:gd name="connsiteY314" fmla="*/ 274972 h 463507"/>
                    <a:gd name="connsiteX315" fmla="*/ 94879 w 395286"/>
                    <a:gd name="connsiteY315" fmla="*/ 268077 h 463507"/>
                    <a:gd name="connsiteX316" fmla="*/ 94920 w 395286"/>
                    <a:gd name="connsiteY316" fmla="*/ 267947 h 463507"/>
                    <a:gd name="connsiteX317" fmla="*/ 98269 w 395286"/>
                    <a:gd name="connsiteY317" fmla="*/ 264337 h 463507"/>
                    <a:gd name="connsiteX318" fmla="*/ 100551 w 395286"/>
                    <a:gd name="connsiteY318" fmla="*/ 259740 h 463507"/>
                    <a:gd name="connsiteX319" fmla="*/ 104406 w 395286"/>
                    <a:gd name="connsiteY319" fmla="*/ 257695 h 463507"/>
                    <a:gd name="connsiteX320" fmla="*/ 112458 w 395286"/>
                    <a:gd name="connsiteY320" fmla="*/ 256716 h 463507"/>
                    <a:gd name="connsiteX321" fmla="*/ 124430 w 395286"/>
                    <a:gd name="connsiteY321" fmla="*/ 252902 h 463507"/>
                    <a:gd name="connsiteX322" fmla="*/ 135179 w 395286"/>
                    <a:gd name="connsiteY322" fmla="*/ 247149 h 463507"/>
                    <a:gd name="connsiteX323" fmla="*/ 138219 w 395286"/>
                    <a:gd name="connsiteY323" fmla="*/ 244859 h 463507"/>
                    <a:gd name="connsiteX324" fmla="*/ 141471 w 395286"/>
                    <a:gd name="connsiteY324" fmla="*/ 240262 h 463507"/>
                    <a:gd name="connsiteX325" fmla="*/ 146874 w 395286"/>
                    <a:gd name="connsiteY325" fmla="*/ 234280 h 463507"/>
                    <a:gd name="connsiteX326" fmla="*/ 156972 w 395286"/>
                    <a:gd name="connsiteY326" fmla="*/ 227084 h 463507"/>
                    <a:gd name="connsiteX327" fmla="*/ 161626 w 395286"/>
                    <a:gd name="connsiteY327" fmla="*/ 223066 h 463507"/>
                    <a:gd name="connsiteX328" fmla="*/ 168716 w 395286"/>
                    <a:gd name="connsiteY328" fmla="*/ 212985 h 463507"/>
                    <a:gd name="connsiteX329" fmla="*/ 173426 w 395286"/>
                    <a:gd name="connsiteY329" fmla="*/ 204623 h 463507"/>
                    <a:gd name="connsiteX330" fmla="*/ 177346 w 395286"/>
                    <a:gd name="connsiteY330" fmla="*/ 199245 h 463507"/>
                    <a:gd name="connsiteX331" fmla="*/ 180052 w 395286"/>
                    <a:gd name="connsiteY331" fmla="*/ 194469 h 463507"/>
                    <a:gd name="connsiteX332" fmla="*/ 181943 w 395286"/>
                    <a:gd name="connsiteY332" fmla="*/ 189620 h 463507"/>
                    <a:gd name="connsiteX333" fmla="*/ 183019 w 395286"/>
                    <a:gd name="connsiteY333" fmla="*/ 181804 h 463507"/>
                    <a:gd name="connsiteX334" fmla="*/ 182301 w 395286"/>
                    <a:gd name="connsiteY334" fmla="*/ 178756 h 463507"/>
                    <a:gd name="connsiteX335" fmla="*/ 179318 w 395286"/>
                    <a:gd name="connsiteY335" fmla="*/ 173744 h 463507"/>
                    <a:gd name="connsiteX336" fmla="*/ 177306 w 395286"/>
                    <a:gd name="connsiteY336" fmla="*/ 172416 h 463507"/>
                    <a:gd name="connsiteX337" fmla="*/ 176784 w 395286"/>
                    <a:gd name="connsiteY337" fmla="*/ 170052 h 463507"/>
                    <a:gd name="connsiteX338" fmla="*/ 177843 w 395286"/>
                    <a:gd name="connsiteY338" fmla="*/ 165888 h 463507"/>
                    <a:gd name="connsiteX339" fmla="*/ 177827 w 395286"/>
                    <a:gd name="connsiteY339" fmla="*/ 158716 h 463507"/>
                    <a:gd name="connsiteX340" fmla="*/ 178438 w 395286"/>
                    <a:gd name="connsiteY340" fmla="*/ 147258 h 463507"/>
                    <a:gd name="connsiteX341" fmla="*/ 181755 w 395286"/>
                    <a:gd name="connsiteY341" fmla="*/ 137999 h 463507"/>
                    <a:gd name="connsiteX342" fmla="*/ 189873 w 395286"/>
                    <a:gd name="connsiteY342" fmla="*/ 125840 h 463507"/>
                    <a:gd name="connsiteX343" fmla="*/ 191388 w 395286"/>
                    <a:gd name="connsiteY343" fmla="*/ 120844 h 463507"/>
                    <a:gd name="connsiteX344" fmla="*/ 192309 w 395286"/>
                    <a:gd name="connsiteY344" fmla="*/ 112882 h 463507"/>
                    <a:gd name="connsiteX345" fmla="*/ 192399 w 395286"/>
                    <a:gd name="connsiteY345" fmla="*/ 110062 h 463507"/>
                    <a:gd name="connsiteX346" fmla="*/ 202553 w 395286"/>
                    <a:gd name="connsiteY346" fmla="*/ 98750 h 463507"/>
                    <a:gd name="connsiteX347" fmla="*/ 208503 w 395286"/>
                    <a:gd name="connsiteY347" fmla="*/ 90063 h 463507"/>
                    <a:gd name="connsiteX348" fmla="*/ 210573 w 395286"/>
                    <a:gd name="connsiteY348" fmla="*/ 87936 h 463507"/>
                    <a:gd name="connsiteX349" fmla="*/ 215829 w 395286"/>
                    <a:gd name="connsiteY349" fmla="*/ 83959 h 463507"/>
                    <a:gd name="connsiteX350" fmla="*/ 234150 w 395286"/>
                    <a:gd name="connsiteY350" fmla="*/ 75271 h 463507"/>
                    <a:gd name="connsiteX351" fmla="*/ 244508 w 395286"/>
                    <a:gd name="connsiteY351" fmla="*/ 69061 h 463507"/>
                    <a:gd name="connsiteX352" fmla="*/ 250555 w 395286"/>
                    <a:gd name="connsiteY352" fmla="*/ 64521 h 463507"/>
                    <a:gd name="connsiteX353" fmla="*/ 254158 w 395286"/>
                    <a:gd name="connsiteY353" fmla="*/ 59159 h 463507"/>
                    <a:gd name="connsiteX354" fmla="*/ 264141 w 395286"/>
                    <a:gd name="connsiteY354" fmla="*/ 38051 h 463507"/>
                    <a:gd name="connsiteX355" fmla="*/ 273953 w 395286"/>
                    <a:gd name="connsiteY355" fmla="*/ 8223 h 463507"/>
                    <a:gd name="connsiteX356" fmla="*/ 274760 w 395286"/>
                    <a:gd name="connsiteY356" fmla="*/ 4768 h 463507"/>
                    <a:gd name="connsiteX357" fmla="*/ 279152 w 395286"/>
                    <a:gd name="connsiteY357" fmla="*/ 3765 h 463507"/>
                    <a:gd name="connsiteX358" fmla="*/ 282249 w 395286"/>
                    <a:gd name="connsiteY358" fmla="*/ 3341 h 463507"/>
                    <a:gd name="connsiteX359" fmla="*/ 284751 w 395286"/>
                    <a:gd name="connsiteY359" fmla="*/ 2241 h 463507"/>
                    <a:gd name="connsiteX360" fmla="*/ 287848 w 395286"/>
                    <a:gd name="connsiteY360" fmla="*/ 0 h 463507"/>
                    <a:gd name="connsiteX361" fmla="*/ 290815 w 395286"/>
                    <a:gd name="connsiteY361" fmla="*/ 888 h 463507"/>
                    <a:gd name="connsiteX362" fmla="*/ 289332 w 395286"/>
                    <a:gd name="connsiteY362" fmla="*/ 2420 h 463507"/>
                    <a:gd name="connsiteX363" fmla="*/ 289332 w 395286"/>
                    <a:gd name="connsiteY363" fmla="*/ 6104 h 463507"/>
                    <a:gd name="connsiteX364" fmla="*/ 291434 w 395286"/>
                    <a:gd name="connsiteY364" fmla="*/ 10415 h 463507"/>
                    <a:gd name="connsiteX365" fmla="*/ 295094 w 395286"/>
                    <a:gd name="connsiteY365" fmla="*/ 15264 h 463507"/>
                    <a:gd name="connsiteX366" fmla="*/ 301744 w 395286"/>
                    <a:gd name="connsiteY366" fmla="*/ 21417 h 463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Lst>
                  <a:rect l="l" t="t" r="r" b="b"/>
                  <a:pathLst>
                    <a:path w="395286" h="463507">
                      <a:moveTo>
                        <a:pt x="306919" y="23887"/>
                      </a:moveTo>
                      <a:lnTo>
                        <a:pt x="314319" y="25370"/>
                      </a:lnTo>
                      <a:lnTo>
                        <a:pt x="322941" y="22664"/>
                      </a:lnTo>
                      <a:lnTo>
                        <a:pt x="327766" y="22615"/>
                      </a:lnTo>
                      <a:lnTo>
                        <a:pt x="330113" y="21458"/>
                      </a:lnTo>
                      <a:lnTo>
                        <a:pt x="332655" y="23162"/>
                      </a:lnTo>
                      <a:lnTo>
                        <a:pt x="337521" y="23708"/>
                      </a:lnTo>
                      <a:lnTo>
                        <a:pt x="342191" y="22803"/>
                      </a:lnTo>
                      <a:lnTo>
                        <a:pt x="345744" y="20236"/>
                      </a:lnTo>
                      <a:lnTo>
                        <a:pt x="347993" y="17261"/>
                      </a:lnTo>
                      <a:lnTo>
                        <a:pt x="348352" y="18720"/>
                      </a:lnTo>
                      <a:lnTo>
                        <a:pt x="348458" y="20301"/>
                      </a:lnTo>
                      <a:lnTo>
                        <a:pt x="349135" y="21230"/>
                      </a:lnTo>
                      <a:lnTo>
                        <a:pt x="350536" y="24995"/>
                      </a:lnTo>
                      <a:lnTo>
                        <a:pt x="351278" y="26478"/>
                      </a:lnTo>
                      <a:lnTo>
                        <a:pt x="353967" y="26226"/>
                      </a:lnTo>
                      <a:lnTo>
                        <a:pt x="356314" y="26976"/>
                      </a:lnTo>
                      <a:lnTo>
                        <a:pt x="361603" y="26625"/>
                      </a:lnTo>
                      <a:lnTo>
                        <a:pt x="366665" y="27253"/>
                      </a:lnTo>
                      <a:lnTo>
                        <a:pt x="367373" y="29706"/>
                      </a:lnTo>
                      <a:lnTo>
                        <a:pt x="368832" y="31645"/>
                      </a:lnTo>
                      <a:lnTo>
                        <a:pt x="374073" y="36095"/>
                      </a:lnTo>
                      <a:lnTo>
                        <a:pt x="377178" y="38850"/>
                      </a:lnTo>
                      <a:lnTo>
                        <a:pt x="377259" y="39787"/>
                      </a:lnTo>
                      <a:lnTo>
                        <a:pt x="376265" y="42044"/>
                      </a:lnTo>
                      <a:lnTo>
                        <a:pt x="375841" y="43601"/>
                      </a:lnTo>
                      <a:lnTo>
                        <a:pt x="376656" y="45247"/>
                      </a:lnTo>
                      <a:lnTo>
                        <a:pt x="378571" y="47244"/>
                      </a:lnTo>
                      <a:lnTo>
                        <a:pt x="378726" y="48206"/>
                      </a:lnTo>
                      <a:lnTo>
                        <a:pt x="378261" y="49306"/>
                      </a:lnTo>
                      <a:lnTo>
                        <a:pt x="377276" y="51457"/>
                      </a:lnTo>
                      <a:lnTo>
                        <a:pt x="379378" y="57741"/>
                      </a:lnTo>
                      <a:lnTo>
                        <a:pt x="379728" y="63829"/>
                      </a:lnTo>
                      <a:lnTo>
                        <a:pt x="379183" y="68148"/>
                      </a:lnTo>
                      <a:lnTo>
                        <a:pt x="379199" y="70650"/>
                      </a:lnTo>
                      <a:lnTo>
                        <a:pt x="379476" y="72777"/>
                      </a:lnTo>
                      <a:lnTo>
                        <a:pt x="381252" y="77675"/>
                      </a:lnTo>
                      <a:lnTo>
                        <a:pt x="380063" y="85776"/>
                      </a:lnTo>
                      <a:lnTo>
                        <a:pt x="381407" y="90185"/>
                      </a:lnTo>
                      <a:lnTo>
                        <a:pt x="383249" y="93763"/>
                      </a:lnTo>
                      <a:lnTo>
                        <a:pt x="384260" y="100152"/>
                      </a:lnTo>
                      <a:lnTo>
                        <a:pt x="385751" y="103167"/>
                      </a:lnTo>
                      <a:lnTo>
                        <a:pt x="388172" y="105816"/>
                      </a:lnTo>
                      <a:lnTo>
                        <a:pt x="389557" y="106713"/>
                      </a:lnTo>
                      <a:lnTo>
                        <a:pt x="392238" y="108897"/>
                      </a:lnTo>
                      <a:lnTo>
                        <a:pt x="394162" y="110730"/>
                      </a:lnTo>
                      <a:lnTo>
                        <a:pt x="395286" y="113452"/>
                      </a:lnTo>
                      <a:lnTo>
                        <a:pt x="392882" y="115694"/>
                      </a:lnTo>
                      <a:lnTo>
                        <a:pt x="390951" y="117690"/>
                      </a:lnTo>
                      <a:lnTo>
                        <a:pt x="390404" y="119858"/>
                      </a:lnTo>
                      <a:lnTo>
                        <a:pt x="391301" y="123314"/>
                      </a:lnTo>
                      <a:lnTo>
                        <a:pt x="391301" y="125164"/>
                      </a:lnTo>
                      <a:lnTo>
                        <a:pt x="390079" y="125759"/>
                      </a:lnTo>
                      <a:lnTo>
                        <a:pt x="385083" y="125571"/>
                      </a:lnTo>
                      <a:lnTo>
                        <a:pt x="381155" y="125416"/>
                      </a:lnTo>
                      <a:lnTo>
                        <a:pt x="376648" y="125245"/>
                      </a:lnTo>
                      <a:lnTo>
                        <a:pt x="370307" y="124919"/>
                      </a:lnTo>
                      <a:lnTo>
                        <a:pt x="366379" y="124707"/>
                      </a:lnTo>
                      <a:lnTo>
                        <a:pt x="360984" y="124430"/>
                      </a:lnTo>
                      <a:lnTo>
                        <a:pt x="359134" y="124569"/>
                      </a:lnTo>
                      <a:lnTo>
                        <a:pt x="354187" y="125538"/>
                      </a:lnTo>
                      <a:lnTo>
                        <a:pt x="350691" y="126223"/>
                      </a:lnTo>
                      <a:lnTo>
                        <a:pt x="350105" y="126419"/>
                      </a:lnTo>
                      <a:lnTo>
                        <a:pt x="349020" y="127266"/>
                      </a:lnTo>
                      <a:lnTo>
                        <a:pt x="348271" y="129809"/>
                      </a:lnTo>
                      <a:lnTo>
                        <a:pt x="347594" y="132718"/>
                      </a:lnTo>
                      <a:lnTo>
                        <a:pt x="346877" y="134014"/>
                      </a:lnTo>
                      <a:lnTo>
                        <a:pt x="336397" y="138211"/>
                      </a:lnTo>
                      <a:lnTo>
                        <a:pt x="332313" y="138782"/>
                      </a:lnTo>
                      <a:lnTo>
                        <a:pt x="329942" y="138350"/>
                      </a:lnTo>
                      <a:lnTo>
                        <a:pt x="328255" y="138700"/>
                      </a:lnTo>
                      <a:lnTo>
                        <a:pt x="326804" y="139589"/>
                      </a:lnTo>
                      <a:lnTo>
                        <a:pt x="326307" y="140950"/>
                      </a:lnTo>
                      <a:lnTo>
                        <a:pt x="326234" y="142677"/>
                      </a:lnTo>
                      <a:lnTo>
                        <a:pt x="326543" y="144421"/>
                      </a:lnTo>
                      <a:lnTo>
                        <a:pt x="327554" y="146858"/>
                      </a:lnTo>
                      <a:lnTo>
                        <a:pt x="327733" y="149287"/>
                      </a:lnTo>
                      <a:lnTo>
                        <a:pt x="327089" y="150998"/>
                      </a:lnTo>
                      <a:lnTo>
                        <a:pt x="326935" y="152726"/>
                      </a:lnTo>
                      <a:lnTo>
                        <a:pt x="326641" y="154584"/>
                      </a:lnTo>
                      <a:lnTo>
                        <a:pt x="327171" y="155595"/>
                      </a:lnTo>
                      <a:lnTo>
                        <a:pt x="328182" y="155741"/>
                      </a:lnTo>
                      <a:lnTo>
                        <a:pt x="329200" y="156597"/>
                      </a:lnTo>
                      <a:lnTo>
                        <a:pt x="330627" y="157379"/>
                      </a:lnTo>
                      <a:lnTo>
                        <a:pt x="331816" y="158847"/>
                      </a:lnTo>
                      <a:lnTo>
                        <a:pt x="331759" y="160941"/>
                      </a:lnTo>
                      <a:lnTo>
                        <a:pt x="330773" y="162123"/>
                      </a:lnTo>
                      <a:lnTo>
                        <a:pt x="329893" y="162758"/>
                      </a:lnTo>
                      <a:lnTo>
                        <a:pt x="325973" y="163304"/>
                      </a:lnTo>
                      <a:lnTo>
                        <a:pt x="322868" y="163753"/>
                      </a:lnTo>
                      <a:lnTo>
                        <a:pt x="318809" y="167102"/>
                      </a:lnTo>
                      <a:lnTo>
                        <a:pt x="314490" y="170663"/>
                      </a:lnTo>
                      <a:lnTo>
                        <a:pt x="309380" y="173027"/>
                      </a:lnTo>
                      <a:lnTo>
                        <a:pt x="307131" y="173695"/>
                      </a:lnTo>
                      <a:lnTo>
                        <a:pt x="303194" y="175382"/>
                      </a:lnTo>
                      <a:lnTo>
                        <a:pt x="298492" y="178178"/>
                      </a:lnTo>
                      <a:lnTo>
                        <a:pt x="296161" y="182644"/>
                      </a:lnTo>
                      <a:lnTo>
                        <a:pt x="293235" y="187794"/>
                      </a:lnTo>
                      <a:lnTo>
                        <a:pt x="290416" y="191242"/>
                      </a:lnTo>
                      <a:lnTo>
                        <a:pt x="286569" y="194510"/>
                      </a:lnTo>
                      <a:lnTo>
                        <a:pt x="282983" y="195765"/>
                      </a:lnTo>
                      <a:lnTo>
                        <a:pt x="278484" y="197329"/>
                      </a:lnTo>
                      <a:lnTo>
                        <a:pt x="272796" y="198544"/>
                      </a:lnTo>
                      <a:lnTo>
                        <a:pt x="268770" y="198935"/>
                      </a:lnTo>
                      <a:lnTo>
                        <a:pt x="267572" y="199204"/>
                      </a:lnTo>
                      <a:lnTo>
                        <a:pt x="264035" y="199277"/>
                      </a:lnTo>
                      <a:lnTo>
                        <a:pt x="262299" y="199025"/>
                      </a:lnTo>
                      <a:lnTo>
                        <a:pt x="260995" y="198886"/>
                      </a:lnTo>
                      <a:lnTo>
                        <a:pt x="260482" y="199245"/>
                      </a:lnTo>
                      <a:lnTo>
                        <a:pt x="260311" y="200060"/>
                      </a:lnTo>
                      <a:lnTo>
                        <a:pt x="260237" y="201918"/>
                      </a:lnTo>
                      <a:lnTo>
                        <a:pt x="259984" y="204037"/>
                      </a:lnTo>
                      <a:lnTo>
                        <a:pt x="258868" y="205830"/>
                      </a:lnTo>
                      <a:lnTo>
                        <a:pt x="258077" y="206628"/>
                      </a:lnTo>
                      <a:lnTo>
                        <a:pt x="257140" y="206954"/>
                      </a:lnTo>
                      <a:lnTo>
                        <a:pt x="254174" y="206474"/>
                      </a:lnTo>
                      <a:lnTo>
                        <a:pt x="251680" y="205903"/>
                      </a:lnTo>
                      <a:lnTo>
                        <a:pt x="245739" y="205145"/>
                      </a:lnTo>
                      <a:lnTo>
                        <a:pt x="244565" y="205324"/>
                      </a:lnTo>
                      <a:lnTo>
                        <a:pt x="244125" y="205553"/>
                      </a:lnTo>
                      <a:lnTo>
                        <a:pt x="242275" y="206751"/>
                      </a:lnTo>
                      <a:lnTo>
                        <a:pt x="239423" y="209326"/>
                      </a:lnTo>
                      <a:lnTo>
                        <a:pt x="237491" y="211559"/>
                      </a:lnTo>
                      <a:lnTo>
                        <a:pt x="236049" y="212602"/>
                      </a:lnTo>
                      <a:lnTo>
                        <a:pt x="232609" y="213148"/>
                      </a:lnTo>
                      <a:lnTo>
                        <a:pt x="231110" y="213971"/>
                      </a:lnTo>
                      <a:lnTo>
                        <a:pt x="224688" y="219554"/>
                      </a:lnTo>
                      <a:lnTo>
                        <a:pt x="223319" y="220915"/>
                      </a:lnTo>
                      <a:lnTo>
                        <a:pt x="216718" y="225764"/>
                      </a:lnTo>
                      <a:lnTo>
                        <a:pt x="214851" y="227369"/>
                      </a:lnTo>
                      <a:lnTo>
                        <a:pt x="213393" y="228967"/>
                      </a:lnTo>
                      <a:lnTo>
                        <a:pt x="209448" y="232553"/>
                      </a:lnTo>
                      <a:lnTo>
                        <a:pt x="206930" y="234126"/>
                      </a:lnTo>
                      <a:lnTo>
                        <a:pt x="206473" y="235055"/>
                      </a:lnTo>
                      <a:lnTo>
                        <a:pt x="206343" y="237247"/>
                      </a:lnTo>
                      <a:lnTo>
                        <a:pt x="206343" y="242080"/>
                      </a:lnTo>
                      <a:lnTo>
                        <a:pt x="206343" y="246709"/>
                      </a:lnTo>
                      <a:lnTo>
                        <a:pt x="206343" y="253457"/>
                      </a:lnTo>
                      <a:lnTo>
                        <a:pt x="206343" y="260180"/>
                      </a:lnTo>
                      <a:lnTo>
                        <a:pt x="206343" y="267931"/>
                      </a:lnTo>
                      <a:lnTo>
                        <a:pt x="203010" y="267931"/>
                      </a:lnTo>
                      <a:lnTo>
                        <a:pt x="203018" y="267947"/>
                      </a:lnTo>
                      <a:lnTo>
                        <a:pt x="203107" y="269284"/>
                      </a:lnTo>
                      <a:lnTo>
                        <a:pt x="203833" y="271916"/>
                      </a:lnTo>
                      <a:lnTo>
                        <a:pt x="204094" y="274149"/>
                      </a:lnTo>
                      <a:lnTo>
                        <a:pt x="203727" y="275543"/>
                      </a:lnTo>
                      <a:lnTo>
                        <a:pt x="203384" y="277303"/>
                      </a:lnTo>
                      <a:lnTo>
                        <a:pt x="203531" y="278982"/>
                      </a:lnTo>
                      <a:lnTo>
                        <a:pt x="204094" y="280807"/>
                      </a:lnTo>
                      <a:lnTo>
                        <a:pt x="204599" y="282698"/>
                      </a:lnTo>
                      <a:lnTo>
                        <a:pt x="204599" y="283961"/>
                      </a:lnTo>
                      <a:lnTo>
                        <a:pt x="203588" y="284923"/>
                      </a:lnTo>
                      <a:lnTo>
                        <a:pt x="201241" y="285444"/>
                      </a:lnTo>
                      <a:lnTo>
                        <a:pt x="198446" y="285876"/>
                      </a:lnTo>
                      <a:lnTo>
                        <a:pt x="196400" y="285876"/>
                      </a:lnTo>
                      <a:lnTo>
                        <a:pt x="193328" y="285567"/>
                      </a:lnTo>
                      <a:lnTo>
                        <a:pt x="191413" y="285632"/>
                      </a:lnTo>
                      <a:lnTo>
                        <a:pt x="189742" y="285632"/>
                      </a:lnTo>
                      <a:lnTo>
                        <a:pt x="188250" y="285941"/>
                      </a:lnTo>
                      <a:lnTo>
                        <a:pt x="186409" y="287148"/>
                      </a:lnTo>
                      <a:lnTo>
                        <a:pt x="184355" y="289030"/>
                      </a:lnTo>
                      <a:lnTo>
                        <a:pt x="181788" y="291573"/>
                      </a:lnTo>
                      <a:lnTo>
                        <a:pt x="180256" y="293146"/>
                      </a:lnTo>
                      <a:lnTo>
                        <a:pt x="178210" y="293488"/>
                      </a:lnTo>
                      <a:lnTo>
                        <a:pt x="176156" y="293488"/>
                      </a:lnTo>
                      <a:lnTo>
                        <a:pt x="174168" y="292225"/>
                      </a:lnTo>
                      <a:lnTo>
                        <a:pt x="172880" y="291573"/>
                      </a:lnTo>
                      <a:lnTo>
                        <a:pt x="172033" y="291630"/>
                      </a:lnTo>
                      <a:lnTo>
                        <a:pt x="170639" y="292535"/>
                      </a:lnTo>
                      <a:lnTo>
                        <a:pt x="168993" y="293146"/>
                      </a:lnTo>
                      <a:lnTo>
                        <a:pt x="167453" y="293146"/>
                      </a:lnTo>
                      <a:lnTo>
                        <a:pt x="164893" y="291883"/>
                      </a:lnTo>
                      <a:lnTo>
                        <a:pt x="161813" y="289992"/>
                      </a:lnTo>
                      <a:lnTo>
                        <a:pt x="160012" y="289030"/>
                      </a:lnTo>
                      <a:lnTo>
                        <a:pt x="157461" y="288729"/>
                      </a:lnTo>
                      <a:lnTo>
                        <a:pt x="154894" y="288109"/>
                      </a:lnTo>
                      <a:lnTo>
                        <a:pt x="153101" y="288419"/>
                      </a:lnTo>
                      <a:lnTo>
                        <a:pt x="150803" y="288419"/>
                      </a:lnTo>
                      <a:lnTo>
                        <a:pt x="147730" y="289682"/>
                      </a:lnTo>
                      <a:lnTo>
                        <a:pt x="145163" y="290611"/>
                      </a:lnTo>
                      <a:lnTo>
                        <a:pt x="142351" y="291573"/>
                      </a:lnTo>
                      <a:lnTo>
                        <a:pt x="139148" y="292437"/>
                      </a:lnTo>
                      <a:lnTo>
                        <a:pt x="139931" y="295281"/>
                      </a:lnTo>
                      <a:lnTo>
                        <a:pt x="141023" y="296821"/>
                      </a:lnTo>
                      <a:lnTo>
                        <a:pt x="141023" y="298737"/>
                      </a:lnTo>
                      <a:lnTo>
                        <a:pt x="140510" y="300350"/>
                      </a:lnTo>
                      <a:lnTo>
                        <a:pt x="138969" y="301923"/>
                      </a:lnTo>
                      <a:lnTo>
                        <a:pt x="137217" y="303928"/>
                      </a:lnTo>
                      <a:lnTo>
                        <a:pt x="136198" y="305501"/>
                      </a:lnTo>
                      <a:lnTo>
                        <a:pt x="135171" y="307693"/>
                      </a:lnTo>
                      <a:lnTo>
                        <a:pt x="134405" y="308956"/>
                      </a:lnTo>
                      <a:lnTo>
                        <a:pt x="133085" y="311018"/>
                      </a:lnTo>
                      <a:lnTo>
                        <a:pt x="131911" y="313610"/>
                      </a:lnTo>
                      <a:lnTo>
                        <a:pt x="131545" y="315207"/>
                      </a:lnTo>
                      <a:lnTo>
                        <a:pt x="131080" y="317065"/>
                      </a:lnTo>
                      <a:lnTo>
                        <a:pt x="130167" y="317620"/>
                      </a:lnTo>
                      <a:lnTo>
                        <a:pt x="127038" y="318109"/>
                      </a:lnTo>
                      <a:lnTo>
                        <a:pt x="125049" y="318752"/>
                      </a:lnTo>
                      <a:lnTo>
                        <a:pt x="123322" y="319372"/>
                      </a:lnTo>
                      <a:lnTo>
                        <a:pt x="122678" y="320464"/>
                      </a:lnTo>
                      <a:lnTo>
                        <a:pt x="122572" y="320635"/>
                      </a:lnTo>
                      <a:lnTo>
                        <a:pt x="122075" y="322852"/>
                      </a:lnTo>
                      <a:lnTo>
                        <a:pt x="122075" y="324425"/>
                      </a:lnTo>
                      <a:lnTo>
                        <a:pt x="121578" y="325680"/>
                      </a:lnTo>
                      <a:lnTo>
                        <a:pt x="120836" y="328825"/>
                      </a:lnTo>
                      <a:lnTo>
                        <a:pt x="119842" y="331678"/>
                      </a:lnTo>
                      <a:lnTo>
                        <a:pt x="119100" y="335459"/>
                      </a:lnTo>
                      <a:lnTo>
                        <a:pt x="118358" y="338597"/>
                      </a:lnTo>
                      <a:lnTo>
                        <a:pt x="117364" y="343642"/>
                      </a:lnTo>
                      <a:lnTo>
                        <a:pt x="116370" y="348328"/>
                      </a:lnTo>
                      <a:lnTo>
                        <a:pt x="115139" y="352745"/>
                      </a:lnTo>
                      <a:lnTo>
                        <a:pt x="114137" y="355565"/>
                      </a:lnTo>
                      <a:lnTo>
                        <a:pt x="113387" y="357129"/>
                      </a:lnTo>
                      <a:lnTo>
                        <a:pt x="111659" y="359037"/>
                      </a:lnTo>
                      <a:lnTo>
                        <a:pt x="110168" y="360259"/>
                      </a:lnTo>
                      <a:lnTo>
                        <a:pt x="108440" y="361856"/>
                      </a:lnTo>
                      <a:lnTo>
                        <a:pt x="106452" y="363413"/>
                      </a:lnTo>
                      <a:lnTo>
                        <a:pt x="103730" y="365287"/>
                      </a:lnTo>
                      <a:lnTo>
                        <a:pt x="101488" y="366876"/>
                      </a:lnTo>
                      <a:lnTo>
                        <a:pt x="100576" y="367594"/>
                      </a:lnTo>
                      <a:lnTo>
                        <a:pt x="99500" y="368441"/>
                      </a:lnTo>
                      <a:lnTo>
                        <a:pt x="97772" y="370609"/>
                      </a:lnTo>
                      <a:lnTo>
                        <a:pt x="96281" y="373763"/>
                      </a:lnTo>
                      <a:lnTo>
                        <a:pt x="95287" y="376273"/>
                      </a:lnTo>
                      <a:lnTo>
                        <a:pt x="93559" y="380340"/>
                      </a:lnTo>
                      <a:lnTo>
                        <a:pt x="92320" y="382540"/>
                      </a:lnTo>
                      <a:lnTo>
                        <a:pt x="91570" y="383763"/>
                      </a:lnTo>
                      <a:lnTo>
                        <a:pt x="89582" y="385018"/>
                      </a:lnTo>
                      <a:lnTo>
                        <a:pt x="87357" y="385955"/>
                      </a:lnTo>
                      <a:lnTo>
                        <a:pt x="84871" y="387210"/>
                      </a:lnTo>
                      <a:lnTo>
                        <a:pt x="82891" y="388465"/>
                      </a:lnTo>
                      <a:lnTo>
                        <a:pt x="80161" y="389712"/>
                      </a:lnTo>
                      <a:lnTo>
                        <a:pt x="78433" y="390967"/>
                      </a:lnTo>
                      <a:lnTo>
                        <a:pt x="77186" y="392833"/>
                      </a:lnTo>
                      <a:lnTo>
                        <a:pt x="76192" y="395034"/>
                      </a:lnTo>
                      <a:lnTo>
                        <a:pt x="74953" y="398172"/>
                      </a:lnTo>
                      <a:lnTo>
                        <a:pt x="73959" y="401578"/>
                      </a:lnTo>
                      <a:lnTo>
                        <a:pt x="73462" y="403778"/>
                      </a:lnTo>
                      <a:lnTo>
                        <a:pt x="71970" y="411276"/>
                      </a:lnTo>
                      <a:lnTo>
                        <a:pt x="71481" y="415636"/>
                      </a:lnTo>
                      <a:lnTo>
                        <a:pt x="70984" y="418432"/>
                      </a:lnTo>
                      <a:lnTo>
                        <a:pt x="70242" y="421871"/>
                      </a:lnTo>
                      <a:lnTo>
                        <a:pt x="69745" y="427160"/>
                      </a:lnTo>
                      <a:lnTo>
                        <a:pt x="69745" y="431504"/>
                      </a:lnTo>
                      <a:lnTo>
                        <a:pt x="69248" y="433998"/>
                      </a:lnTo>
                      <a:lnTo>
                        <a:pt x="68987" y="435880"/>
                      </a:lnTo>
                      <a:lnTo>
                        <a:pt x="67765" y="438040"/>
                      </a:lnTo>
                      <a:lnTo>
                        <a:pt x="66763" y="439596"/>
                      </a:lnTo>
                      <a:lnTo>
                        <a:pt x="65035" y="441772"/>
                      </a:lnTo>
                      <a:lnTo>
                        <a:pt x="63543" y="443019"/>
                      </a:lnTo>
                      <a:lnTo>
                        <a:pt x="63046" y="444258"/>
                      </a:lnTo>
                      <a:lnTo>
                        <a:pt x="61555" y="445815"/>
                      </a:lnTo>
                      <a:lnTo>
                        <a:pt x="60071" y="448301"/>
                      </a:lnTo>
                      <a:lnTo>
                        <a:pt x="58833" y="449849"/>
                      </a:lnTo>
                      <a:lnTo>
                        <a:pt x="59077" y="451088"/>
                      </a:lnTo>
                      <a:lnTo>
                        <a:pt x="59330" y="453272"/>
                      </a:lnTo>
                      <a:lnTo>
                        <a:pt x="58580" y="455448"/>
                      </a:lnTo>
                      <a:lnTo>
                        <a:pt x="57839" y="457942"/>
                      </a:lnTo>
                      <a:lnTo>
                        <a:pt x="55858" y="461030"/>
                      </a:lnTo>
                      <a:lnTo>
                        <a:pt x="53625" y="462579"/>
                      </a:lnTo>
                      <a:lnTo>
                        <a:pt x="50390" y="462872"/>
                      </a:lnTo>
                      <a:lnTo>
                        <a:pt x="45932" y="462872"/>
                      </a:lnTo>
                      <a:lnTo>
                        <a:pt x="42468" y="462579"/>
                      </a:lnTo>
                      <a:lnTo>
                        <a:pt x="38247" y="462579"/>
                      </a:lnTo>
                      <a:lnTo>
                        <a:pt x="34530" y="461968"/>
                      </a:lnTo>
                      <a:lnTo>
                        <a:pt x="31058" y="461332"/>
                      </a:lnTo>
                      <a:lnTo>
                        <a:pt x="26845" y="461030"/>
                      </a:lnTo>
                      <a:lnTo>
                        <a:pt x="23862" y="461030"/>
                      </a:lnTo>
                      <a:lnTo>
                        <a:pt x="20146" y="461633"/>
                      </a:lnTo>
                      <a:lnTo>
                        <a:pt x="10464" y="461633"/>
                      </a:lnTo>
                      <a:lnTo>
                        <a:pt x="6748" y="461968"/>
                      </a:lnTo>
                      <a:lnTo>
                        <a:pt x="1288" y="463206"/>
                      </a:lnTo>
                      <a:lnTo>
                        <a:pt x="8" y="463508"/>
                      </a:lnTo>
                      <a:lnTo>
                        <a:pt x="0" y="463508"/>
                      </a:lnTo>
                      <a:lnTo>
                        <a:pt x="1793" y="448635"/>
                      </a:lnTo>
                      <a:lnTo>
                        <a:pt x="5200" y="440566"/>
                      </a:lnTo>
                      <a:lnTo>
                        <a:pt x="7913" y="436997"/>
                      </a:lnTo>
                      <a:lnTo>
                        <a:pt x="12119" y="435163"/>
                      </a:lnTo>
                      <a:lnTo>
                        <a:pt x="15982" y="427038"/>
                      </a:lnTo>
                      <a:lnTo>
                        <a:pt x="17334" y="419556"/>
                      </a:lnTo>
                      <a:lnTo>
                        <a:pt x="19869" y="416101"/>
                      </a:lnTo>
                      <a:lnTo>
                        <a:pt x="20668" y="413403"/>
                      </a:lnTo>
                      <a:lnTo>
                        <a:pt x="19665" y="411349"/>
                      </a:lnTo>
                      <a:lnTo>
                        <a:pt x="22061" y="407307"/>
                      </a:lnTo>
                      <a:lnTo>
                        <a:pt x="24963" y="401122"/>
                      </a:lnTo>
                      <a:lnTo>
                        <a:pt x="26307" y="397153"/>
                      </a:lnTo>
                      <a:lnTo>
                        <a:pt x="29689" y="391000"/>
                      </a:lnTo>
                      <a:lnTo>
                        <a:pt x="30105" y="389647"/>
                      </a:lnTo>
                      <a:lnTo>
                        <a:pt x="29795" y="388107"/>
                      </a:lnTo>
                      <a:lnTo>
                        <a:pt x="28467" y="389410"/>
                      </a:lnTo>
                      <a:lnTo>
                        <a:pt x="27049" y="391692"/>
                      </a:lnTo>
                      <a:lnTo>
                        <a:pt x="25354" y="393477"/>
                      </a:lnTo>
                      <a:lnTo>
                        <a:pt x="26046" y="391277"/>
                      </a:lnTo>
                      <a:lnTo>
                        <a:pt x="27375" y="388033"/>
                      </a:lnTo>
                      <a:lnTo>
                        <a:pt x="30390" y="384643"/>
                      </a:lnTo>
                      <a:lnTo>
                        <a:pt x="35141" y="380886"/>
                      </a:lnTo>
                      <a:lnTo>
                        <a:pt x="45003" y="368172"/>
                      </a:lnTo>
                      <a:lnTo>
                        <a:pt x="48719" y="365972"/>
                      </a:lnTo>
                      <a:lnTo>
                        <a:pt x="52052" y="360618"/>
                      </a:lnTo>
                      <a:lnTo>
                        <a:pt x="53250" y="355858"/>
                      </a:lnTo>
                      <a:lnTo>
                        <a:pt x="53576" y="344897"/>
                      </a:lnTo>
                      <a:lnTo>
                        <a:pt x="54766" y="339110"/>
                      </a:lnTo>
                      <a:lnTo>
                        <a:pt x="56942" y="334595"/>
                      </a:lnTo>
                      <a:lnTo>
                        <a:pt x="59542" y="326380"/>
                      </a:lnTo>
                      <a:lnTo>
                        <a:pt x="61514" y="322705"/>
                      </a:lnTo>
                      <a:lnTo>
                        <a:pt x="62810" y="315199"/>
                      </a:lnTo>
                      <a:lnTo>
                        <a:pt x="64220" y="312338"/>
                      </a:lnTo>
                      <a:lnTo>
                        <a:pt x="66738" y="310978"/>
                      </a:lnTo>
                      <a:lnTo>
                        <a:pt x="70308" y="307229"/>
                      </a:lnTo>
                      <a:lnTo>
                        <a:pt x="75670" y="304914"/>
                      </a:lnTo>
                      <a:lnTo>
                        <a:pt x="82027" y="300041"/>
                      </a:lnTo>
                      <a:lnTo>
                        <a:pt x="85002" y="297123"/>
                      </a:lnTo>
                      <a:lnTo>
                        <a:pt x="86990" y="292771"/>
                      </a:lnTo>
                      <a:lnTo>
                        <a:pt x="89117" y="284100"/>
                      </a:lnTo>
                      <a:lnTo>
                        <a:pt x="92931" y="274972"/>
                      </a:lnTo>
                      <a:lnTo>
                        <a:pt x="94879" y="268077"/>
                      </a:lnTo>
                      <a:lnTo>
                        <a:pt x="94920" y="267947"/>
                      </a:lnTo>
                      <a:lnTo>
                        <a:pt x="98269" y="264337"/>
                      </a:lnTo>
                      <a:lnTo>
                        <a:pt x="100551" y="259740"/>
                      </a:lnTo>
                      <a:lnTo>
                        <a:pt x="104406" y="257695"/>
                      </a:lnTo>
                      <a:lnTo>
                        <a:pt x="112458" y="256716"/>
                      </a:lnTo>
                      <a:lnTo>
                        <a:pt x="124430" y="252902"/>
                      </a:lnTo>
                      <a:lnTo>
                        <a:pt x="135179" y="247149"/>
                      </a:lnTo>
                      <a:lnTo>
                        <a:pt x="138219" y="244859"/>
                      </a:lnTo>
                      <a:lnTo>
                        <a:pt x="141471" y="240262"/>
                      </a:lnTo>
                      <a:lnTo>
                        <a:pt x="146874" y="234280"/>
                      </a:lnTo>
                      <a:lnTo>
                        <a:pt x="156972" y="227084"/>
                      </a:lnTo>
                      <a:lnTo>
                        <a:pt x="161626" y="223066"/>
                      </a:lnTo>
                      <a:lnTo>
                        <a:pt x="168716" y="212985"/>
                      </a:lnTo>
                      <a:lnTo>
                        <a:pt x="173426" y="204623"/>
                      </a:lnTo>
                      <a:lnTo>
                        <a:pt x="177346" y="199245"/>
                      </a:lnTo>
                      <a:lnTo>
                        <a:pt x="180052" y="194469"/>
                      </a:lnTo>
                      <a:lnTo>
                        <a:pt x="181943" y="189620"/>
                      </a:lnTo>
                      <a:lnTo>
                        <a:pt x="183019" y="181804"/>
                      </a:lnTo>
                      <a:lnTo>
                        <a:pt x="182301" y="178756"/>
                      </a:lnTo>
                      <a:lnTo>
                        <a:pt x="179318" y="173744"/>
                      </a:lnTo>
                      <a:lnTo>
                        <a:pt x="177306" y="172416"/>
                      </a:lnTo>
                      <a:lnTo>
                        <a:pt x="176784" y="170052"/>
                      </a:lnTo>
                      <a:lnTo>
                        <a:pt x="177843" y="165888"/>
                      </a:lnTo>
                      <a:lnTo>
                        <a:pt x="177827" y="158716"/>
                      </a:lnTo>
                      <a:lnTo>
                        <a:pt x="178438" y="147258"/>
                      </a:lnTo>
                      <a:lnTo>
                        <a:pt x="181755" y="137999"/>
                      </a:lnTo>
                      <a:lnTo>
                        <a:pt x="189873" y="125840"/>
                      </a:lnTo>
                      <a:lnTo>
                        <a:pt x="191388" y="120844"/>
                      </a:lnTo>
                      <a:lnTo>
                        <a:pt x="192309" y="112882"/>
                      </a:lnTo>
                      <a:lnTo>
                        <a:pt x="192399" y="110062"/>
                      </a:lnTo>
                      <a:lnTo>
                        <a:pt x="202553" y="98750"/>
                      </a:lnTo>
                      <a:lnTo>
                        <a:pt x="208503" y="90063"/>
                      </a:lnTo>
                      <a:lnTo>
                        <a:pt x="210573" y="87936"/>
                      </a:lnTo>
                      <a:lnTo>
                        <a:pt x="215829" y="83959"/>
                      </a:lnTo>
                      <a:lnTo>
                        <a:pt x="234150" y="75271"/>
                      </a:lnTo>
                      <a:lnTo>
                        <a:pt x="244508" y="69061"/>
                      </a:lnTo>
                      <a:lnTo>
                        <a:pt x="250555" y="64521"/>
                      </a:lnTo>
                      <a:lnTo>
                        <a:pt x="254158" y="59159"/>
                      </a:lnTo>
                      <a:lnTo>
                        <a:pt x="264141" y="38051"/>
                      </a:lnTo>
                      <a:lnTo>
                        <a:pt x="273953" y="8223"/>
                      </a:lnTo>
                      <a:lnTo>
                        <a:pt x="274760" y="4768"/>
                      </a:lnTo>
                      <a:lnTo>
                        <a:pt x="279152" y="3765"/>
                      </a:lnTo>
                      <a:lnTo>
                        <a:pt x="282249" y="3341"/>
                      </a:lnTo>
                      <a:lnTo>
                        <a:pt x="284751" y="2241"/>
                      </a:lnTo>
                      <a:lnTo>
                        <a:pt x="287848" y="0"/>
                      </a:lnTo>
                      <a:lnTo>
                        <a:pt x="290815" y="888"/>
                      </a:lnTo>
                      <a:lnTo>
                        <a:pt x="289332" y="2420"/>
                      </a:lnTo>
                      <a:lnTo>
                        <a:pt x="289332" y="6104"/>
                      </a:lnTo>
                      <a:lnTo>
                        <a:pt x="291434" y="10415"/>
                      </a:lnTo>
                      <a:lnTo>
                        <a:pt x="295094" y="15264"/>
                      </a:lnTo>
                      <a:lnTo>
                        <a:pt x="301744" y="21417"/>
                      </a:lnTo>
                      <a:close/>
                    </a:path>
                  </a:pathLst>
                </a:custGeom>
                <a:solidFill>
                  <a:srgbClr val="D6D6D2"/>
                </a:solidFill>
                <a:ln w="6112" cap="rnd">
                  <a:solidFill>
                    <a:srgbClr val="FFFFFF"/>
                  </a:solidFill>
                  <a:prstDash val="solid"/>
                  <a:round/>
                </a:ln>
              </p:spPr>
              <p:txBody>
                <a:bodyPr rtlCol="0" anchor="ctr"/>
                <a:lstStyle/>
                <a:p>
                  <a:endParaRPr lang="en-US"/>
                </a:p>
              </p:txBody>
            </p:sp>
            <p:sp>
              <p:nvSpPr>
                <p:cNvPr id="686" name="Freeform: Shape 685">
                  <a:extLst>
                    <a:ext uri="{FF2B5EF4-FFF2-40B4-BE49-F238E27FC236}">
                      <a16:creationId xmlns:a16="http://schemas.microsoft.com/office/drawing/2014/main" id="{E8EE4320-6248-4315-B9A9-8F763F78FE6B}"/>
                    </a:ext>
                  </a:extLst>
                </p:cNvPr>
                <p:cNvSpPr/>
                <p:nvPr/>
              </p:nvSpPr>
              <p:spPr>
                <a:xfrm>
                  <a:off x="6464856" y="2620320"/>
                  <a:ext cx="178251" cy="92768"/>
                </a:xfrm>
                <a:custGeom>
                  <a:avLst/>
                  <a:gdLst>
                    <a:gd name="connsiteX0" fmla="*/ 157159 w 178251"/>
                    <a:gd name="connsiteY0" fmla="*/ 20912 h 92768"/>
                    <a:gd name="connsiteX1" fmla="*/ 160085 w 178251"/>
                    <a:gd name="connsiteY1" fmla="*/ 21075 h 92768"/>
                    <a:gd name="connsiteX2" fmla="*/ 161112 w 178251"/>
                    <a:gd name="connsiteY2" fmla="*/ 21686 h 92768"/>
                    <a:gd name="connsiteX3" fmla="*/ 161788 w 178251"/>
                    <a:gd name="connsiteY3" fmla="*/ 24743 h 92768"/>
                    <a:gd name="connsiteX4" fmla="*/ 165122 w 178251"/>
                    <a:gd name="connsiteY4" fmla="*/ 27139 h 92768"/>
                    <a:gd name="connsiteX5" fmla="*/ 168194 w 178251"/>
                    <a:gd name="connsiteY5" fmla="*/ 29135 h 92768"/>
                    <a:gd name="connsiteX6" fmla="*/ 168985 w 178251"/>
                    <a:gd name="connsiteY6" fmla="*/ 30048 h 92768"/>
                    <a:gd name="connsiteX7" fmla="*/ 169221 w 178251"/>
                    <a:gd name="connsiteY7" fmla="*/ 31825 h 92768"/>
                    <a:gd name="connsiteX8" fmla="*/ 169025 w 178251"/>
                    <a:gd name="connsiteY8" fmla="*/ 33887 h 92768"/>
                    <a:gd name="connsiteX9" fmla="*/ 168634 w 178251"/>
                    <a:gd name="connsiteY9" fmla="*/ 34954 h 92768"/>
                    <a:gd name="connsiteX10" fmla="*/ 167355 w 178251"/>
                    <a:gd name="connsiteY10" fmla="*/ 36193 h 92768"/>
                    <a:gd name="connsiteX11" fmla="*/ 166222 w 178251"/>
                    <a:gd name="connsiteY11" fmla="*/ 39322 h 92768"/>
                    <a:gd name="connsiteX12" fmla="*/ 166075 w 178251"/>
                    <a:gd name="connsiteY12" fmla="*/ 42289 h 92768"/>
                    <a:gd name="connsiteX13" fmla="*/ 164290 w 178251"/>
                    <a:gd name="connsiteY13" fmla="*/ 47415 h 92768"/>
                    <a:gd name="connsiteX14" fmla="*/ 164698 w 178251"/>
                    <a:gd name="connsiteY14" fmla="*/ 47505 h 92768"/>
                    <a:gd name="connsiteX15" fmla="*/ 168423 w 178251"/>
                    <a:gd name="connsiteY15" fmla="*/ 46592 h 92768"/>
                    <a:gd name="connsiteX16" fmla="*/ 169482 w 178251"/>
                    <a:gd name="connsiteY16" fmla="*/ 47114 h 92768"/>
                    <a:gd name="connsiteX17" fmla="*/ 170297 w 178251"/>
                    <a:gd name="connsiteY17" fmla="*/ 48246 h 92768"/>
                    <a:gd name="connsiteX18" fmla="*/ 170557 w 178251"/>
                    <a:gd name="connsiteY18" fmla="*/ 51457 h 92768"/>
                    <a:gd name="connsiteX19" fmla="*/ 171780 w 178251"/>
                    <a:gd name="connsiteY19" fmla="*/ 52908 h 92768"/>
                    <a:gd name="connsiteX20" fmla="*/ 173027 w 178251"/>
                    <a:gd name="connsiteY20" fmla="*/ 55157 h 92768"/>
                    <a:gd name="connsiteX21" fmla="*/ 173426 w 178251"/>
                    <a:gd name="connsiteY21" fmla="*/ 56918 h 92768"/>
                    <a:gd name="connsiteX22" fmla="*/ 175790 w 178251"/>
                    <a:gd name="connsiteY22" fmla="*/ 59012 h 92768"/>
                    <a:gd name="connsiteX23" fmla="*/ 175985 w 178251"/>
                    <a:gd name="connsiteY23" fmla="*/ 60365 h 92768"/>
                    <a:gd name="connsiteX24" fmla="*/ 177436 w 178251"/>
                    <a:gd name="connsiteY24" fmla="*/ 65133 h 92768"/>
                    <a:gd name="connsiteX25" fmla="*/ 177990 w 178251"/>
                    <a:gd name="connsiteY25" fmla="*/ 67879 h 92768"/>
                    <a:gd name="connsiteX26" fmla="*/ 178251 w 178251"/>
                    <a:gd name="connsiteY26" fmla="*/ 70006 h 92768"/>
                    <a:gd name="connsiteX27" fmla="*/ 177534 w 178251"/>
                    <a:gd name="connsiteY27" fmla="*/ 72704 h 92768"/>
                    <a:gd name="connsiteX28" fmla="*/ 176906 w 178251"/>
                    <a:gd name="connsiteY28" fmla="*/ 74529 h 92768"/>
                    <a:gd name="connsiteX29" fmla="*/ 176164 w 178251"/>
                    <a:gd name="connsiteY29" fmla="*/ 74423 h 92768"/>
                    <a:gd name="connsiteX30" fmla="*/ 174029 w 178251"/>
                    <a:gd name="connsiteY30" fmla="*/ 74896 h 92768"/>
                    <a:gd name="connsiteX31" fmla="*/ 170663 w 178251"/>
                    <a:gd name="connsiteY31" fmla="*/ 77096 h 92768"/>
                    <a:gd name="connsiteX32" fmla="*/ 165651 w 178251"/>
                    <a:gd name="connsiteY32" fmla="*/ 82263 h 92768"/>
                    <a:gd name="connsiteX33" fmla="*/ 164364 w 178251"/>
                    <a:gd name="connsiteY33" fmla="*/ 83404 h 92768"/>
                    <a:gd name="connsiteX34" fmla="*/ 163060 w 178251"/>
                    <a:gd name="connsiteY34" fmla="*/ 87341 h 92768"/>
                    <a:gd name="connsiteX35" fmla="*/ 162742 w 178251"/>
                    <a:gd name="connsiteY35" fmla="*/ 87740 h 92768"/>
                    <a:gd name="connsiteX36" fmla="*/ 159816 w 178251"/>
                    <a:gd name="connsiteY36" fmla="*/ 87553 h 92768"/>
                    <a:gd name="connsiteX37" fmla="*/ 159026 w 178251"/>
                    <a:gd name="connsiteY37" fmla="*/ 87463 h 92768"/>
                    <a:gd name="connsiteX38" fmla="*/ 156100 w 178251"/>
                    <a:gd name="connsiteY38" fmla="*/ 87544 h 92768"/>
                    <a:gd name="connsiteX39" fmla="*/ 149735 w 178251"/>
                    <a:gd name="connsiteY39" fmla="*/ 86526 h 92768"/>
                    <a:gd name="connsiteX40" fmla="*/ 147266 w 178251"/>
                    <a:gd name="connsiteY40" fmla="*/ 87202 h 92768"/>
                    <a:gd name="connsiteX41" fmla="*/ 144038 w 178251"/>
                    <a:gd name="connsiteY41" fmla="*/ 91171 h 92768"/>
                    <a:gd name="connsiteX42" fmla="*/ 142775 w 178251"/>
                    <a:gd name="connsiteY42" fmla="*/ 91758 h 92768"/>
                    <a:gd name="connsiteX43" fmla="*/ 139010 w 178251"/>
                    <a:gd name="connsiteY43" fmla="*/ 92304 h 92768"/>
                    <a:gd name="connsiteX44" fmla="*/ 138350 w 178251"/>
                    <a:gd name="connsiteY44" fmla="*/ 92768 h 92768"/>
                    <a:gd name="connsiteX45" fmla="*/ 137094 w 178251"/>
                    <a:gd name="connsiteY45" fmla="*/ 92581 h 92768"/>
                    <a:gd name="connsiteX46" fmla="*/ 133574 w 178251"/>
                    <a:gd name="connsiteY46" fmla="*/ 91375 h 92768"/>
                    <a:gd name="connsiteX47" fmla="*/ 130608 w 178251"/>
                    <a:gd name="connsiteY47" fmla="*/ 89590 h 92768"/>
                    <a:gd name="connsiteX48" fmla="*/ 128831 w 178251"/>
                    <a:gd name="connsiteY48" fmla="*/ 87227 h 92768"/>
                    <a:gd name="connsiteX49" fmla="*/ 125750 w 178251"/>
                    <a:gd name="connsiteY49" fmla="*/ 83975 h 92768"/>
                    <a:gd name="connsiteX50" fmla="*/ 123737 w 178251"/>
                    <a:gd name="connsiteY50" fmla="*/ 82312 h 92768"/>
                    <a:gd name="connsiteX51" fmla="*/ 120567 w 178251"/>
                    <a:gd name="connsiteY51" fmla="*/ 80242 h 92768"/>
                    <a:gd name="connsiteX52" fmla="*/ 115278 w 178251"/>
                    <a:gd name="connsiteY52" fmla="*/ 75988 h 92768"/>
                    <a:gd name="connsiteX53" fmla="*/ 113355 w 178251"/>
                    <a:gd name="connsiteY53" fmla="*/ 75010 h 92768"/>
                    <a:gd name="connsiteX54" fmla="*/ 103966 w 178251"/>
                    <a:gd name="connsiteY54" fmla="*/ 73160 h 92768"/>
                    <a:gd name="connsiteX55" fmla="*/ 100567 w 178251"/>
                    <a:gd name="connsiteY55" fmla="*/ 72313 h 92768"/>
                    <a:gd name="connsiteX56" fmla="*/ 97446 w 178251"/>
                    <a:gd name="connsiteY56" fmla="*/ 67496 h 92768"/>
                    <a:gd name="connsiteX57" fmla="*/ 96427 w 178251"/>
                    <a:gd name="connsiteY57" fmla="*/ 64701 h 92768"/>
                    <a:gd name="connsiteX58" fmla="*/ 94887 w 178251"/>
                    <a:gd name="connsiteY58" fmla="*/ 64195 h 92768"/>
                    <a:gd name="connsiteX59" fmla="*/ 93200 w 178251"/>
                    <a:gd name="connsiteY59" fmla="*/ 64790 h 92768"/>
                    <a:gd name="connsiteX60" fmla="*/ 91375 w 178251"/>
                    <a:gd name="connsiteY60" fmla="*/ 65344 h 92768"/>
                    <a:gd name="connsiteX61" fmla="*/ 87145 w 178251"/>
                    <a:gd name="connsiteY61" fmla="*/ 68629 h 92768"/>
                    <a:gd name="connsiteX62" fmla="*/ 85768 w 178251"/>
                    <a:gd name="connsiteY62" fmla="*/ 69093 h 92768"/>
                    <a:gd name="connsiteX63" fmla="*/ 83152 w 178251"/>
                    <a:gd name="connsiteY63" fmla="*/ 69134 h 92768"/>
                    <a:gd name="connsiteX64" fmla="*/ 77023 w 178251"/>
                    <a:gd name="connsiteY64" fmla="*/ 69859 h 92768"/>
                    <a:gd name="connsiteX65" fmla="*/ 74236 w 178251"/>
                    <a:gd name="connsiteY65" fmla="*/ 68670 h 92768"/>
                    <a:gd name="connsiteX66" fmla="*/ 69370 w 178251"/>
                    <a:gd name="connsiteY66" fmla="*/ 67358 h 92768"/>
                    <a:gd name="connsiteX67" fmla="*/ 66754 w 178251"/>
                    <a:gd name="connsiteY67" fmla="*/ 67146 h 92768"/>
                    <a:gd name="connsiteX68" fmla="*/ 64423 w 178251"/>
                    <a:gd name="connsiteY68" fmla="*/ 67178 h 92768"/>
                    <a:gd name="connsiteX69" fmla="*/ 54082 w 178251"/>
                    <a:gd name="connsiteY69" fmla="*/ 65891 h 92768"/>
                    <a:gd name="connsiteX70" fmla="*/ 52191 w 178251"/>
                    <a:gd name="connsiteY70" fmla="*/ 67300 h 92768"/>
                    <a:gd name="connsiteX71" fmla="*/ 50292 w 178251"/>
                    <a:gd name="connsiteY71" fmla="*/ 67553 h 92768"/>
                    <a:gd name="connsiteX72" fmla="*/ 48442 w 178251"/>
                    <a:gd name="connsiteY72" fmla="*/ 65385 h 92768"/>
                    <a:gd name="connsiteX73" fmla="*/ 46144 w 178251"/>
                    <a:gd name="connsiteY73" fmla="*/ 64766 h 92768"/>
                    <a:gd name="connsiteX74" fmla="*/ 43601 w 178251"/>
                    <a:gd name="connsiteY74" fmla="*/ 65499 h 92768"/>
                    <a:gd name="connsiteX75" fmla="*/ 38980 w 178251"/>
                    <a:gd name="connsiteY75" fmla="*/ 65589 h 92768"/>
                    <a:gd name="connsiteX76" fmla="*/ 33495 w 178251"/>
                    <a:gd name="connsiteY76" fmla="*/ 64905 h 92768"/>
                    <a:gd name="connsiteX77" fmla="*/ 26519 w 178251"/>
                    <a:gd name="connsiteY77" fmla="*/ 64367 h 92768"/>
                    <a:gd name="connsiteX78" fmla="*/ 25492 w 178251"/>
                    <a:gd name="connsiteY78" fmla="*/ 64603 h 92768"/>
                    <a:gd name="connsiteX79" fmla="*/ 17750 w 178251"/>
                    <a:gd name="connsiteY79" fmla="*/ 67488 h 92768"/>
                    <a:gd name="connsiteX80" fmla="*/ 15827 w 178251"/>
                    <a:gd name="connsiteY80" fmla="*/ 67920 h 92768"/>
                    <a:gd name="connsiteX81" fmla="*/ 7432 w 178251"/>
                    <a:gd name="connsiteY81" fmla="*/ 72785 h 92768"/>
                    <a:gd name="connsiteX82" fmla="*/ 766 w 178251"/>
                    <a:gd name="connsiteY82" fmla="*/ 77333 h 92768"/>
                    <a:gd name="connsiteX83" fmla="*/ 0 w 178251"/>
                    <a:gd name="connsiteY83" fmla="*/ 70063 h 92768"/>
                    <a:gd name="connsiteX84" fmla="*/ 407 w 178251"/>
                    <a:gd name="connsiteY84" fmla="*/ 55500 h 92768"/>
                    <a:gd name="connsiteX85" fmla="*/ 1385 w 178251"/>
                    <a:gd name="connsiteY85" fmla="*/ 48263 h 92768"/>
                    <a:gd name="connsiteX86" fmla="*/ 5998 w 178251"/>
                    <a:gd name="connsiteY86" fmla="*/ 44041 h 92768"/>
                    <a:gd name="connsiteX87" fmla="*/ 8313 w 178251"/>
                    <a:gd name="connsiteY87" fmla="*/ 40749 h 92768"/>
                    <a:gd name="connsiteX88" fmla="*/ 9665 w 178251"/>
                    <a:gd name="connsiteY88" fmla="*/ 36356 h 92768"/>
                    <a:gd name="connsiteX89" fmla="*/ 10073 w 178251"/>
                    <a:gd name="connsiteY89" fmla="*/ 32289 h 92768"/>
                    <a:gd name="connsiteX90" fmla="*/ 11010 w 178251"/>
                    <a:gd name="connsiteY90" fmla="*/ 28923 h 92768"/>
                    <a:gd name="connsiteX91" fmla="*/ 17693 w 178251"/>
                    <a:gd name="connsiteY91" fmla="*/ 19241 h 92768"/>
                    <a:gd name="connsiteX92" fmla="*/ 22990 w 178251"/>
                    <a:gd name="connsiteY92" fmla="*/ 18190 h 92768"/>
                    <a:gd name="connsiteX93" fmla="*/ 30162 w 178251"/>
                    <a:gd name="connsiteY93" fmla="*/ 15509 h 92768"/>
                    <a:gd name="connsiteX94" fmla="*/ 38173 w 178251"/>
                    <a:gd name="connsiteY94" fmla="*/ 13260 h 92768"/>
                    <a:gd name="connsiteX95" fmla="*/ 39730 w 178251"/>
                    <a:gd name="connsiteY95" fmla="*/ 16120 h 92768"/>
                    <a:gd name="connsiteX96" fmla="*/ 40504 w 178251"/>
                    <a:gd name="connsiteY96" fmla="*/ 18288 h 92768"/>
                    <a:gd name="connsiteX97" fmla="*/ 50161 w 178251"/>
                    <a:gd name="connsiteY97" fmla="*/ 26210 h 92768"/>
                    <a:gd name="connsiteX98" fmla="*/ 52623 w 178251"/>
                    <a:gd name="connsiteY98" fmla="*/ 28858 h 92768"/>
                    <a:gd name="connsiteX99" fmla="*/ 56355 w 178251"/>
                    <a:gd name="connsiteY99" fmla="*/ 37953 h 92768"/>
                    <a:gd name="connsiteX100" fmla="*/ 65287 w 178251"/>
                    <a:gd name="connsiteY100" fmla="*/ 42558 h 92768"/>
                    <a:gd name="connsiteX101" fmla="*/ 72320 w 178251"/>
                    <a:gd name="connsiteY101" fmla="*/ 41107 h 92768"/>
                    <a:gd name="connsiteX102" fmla="*/ 75377 w 178251"/>
                    <a:gd name="connsiteY102" fmla="*/ 38874 h 92768"/>
                    <a:gd name="connsiteX103" fmla="*/ 81000 w 178251"/>
                    <a:gd name="connsiteY103" fmla="*/ 34750 h 92768"/>
                    <a:gd name="connsiteX104" fmla="*/ 83518 w 178251"/>
                    <a:gd name="connsiteY104" fmla="*/ 31727 h 92768"/>
                    <a:gd name="connsiteX105" fmla="*/ 84032 w 178251"/>
                    <a:gd name="connsiteY105" fmla="*/ 28817 h 92768"/>
                    <a:gd name="connsiteX106" fmla="*/ 83029 w 178251"/>
                    <a:gd name="connsiteY106" fmla="*/ 16340 h 92768"/>
                    <a:gd name="connsiteX107" fmla="*/ 81505 w 178251"/>
                    <a:gd name="connsiteY107" fmla="*/ 10929 h 92768"/>
                    <a:gd name="connsiteX108" fmla="*/ 82027 w 178251"/>
                    <a:gd name="connsiteY108" fmla="*/ 7547 h 92768"/>
                    <a:gd name="connsiteX109" fmla="*/ 83013 w 178251"/>
                    <a:gd name="connsiteY109" fmla="*/ 7718 h 92768"/>
                    <a:gd name="connsiteX110" fmla="*/ 85401 w 178251"/>
                    <a:gd name="connsiteY110" fmla="*/ 6088 h 92768"/>
                    <a:gd name="connsiteX111" fmla="*/ 93265 w 178251"/>
                    <a:gd name="connsiteY111" fmla="*/ 3064 h 92768"/>
                    <a:gd name="connsiteX112" fmla="*/ 94830 w 178251"/>
                    <a:gd name="connsiteY112" fmla="*/ 2926 h 92768"/>
                    <a:gd name="connsiteX113" fmla="*/ 96631 w 178251"/>
                    <a:gd name="connsiteY113" fmla="*/ 2306 h 92768"/>
                    <a:gd name="connsiteX114" fmla="*/ 101586 w 178251"/>
                    <a:gd name="connsiteY114" fmla="*/ 0 h 92768"/>
                    <a:gd name="connsiteX115" fmla="*/ 103175 w 178251"/>
                    <a:gd name="connsiteY115" fmla="*/ 1231 h 92768"/>
                    <a:gd name="connsiteX116" fmla="*/ 104504 w 178251"/>
                    <a:gd name="connsiteY116" fmla="*/ 2624 h 92768"/>
                    <a:gd name="connsiteX117" fmla="*/ 105237 w 178251"/>
                    <a:gd name="connsiteY117" fmla="*/ 2640 h 92768"/>
                    <a:gd name="connsiteX118" fmla="*/ 105588 w 178251"/>
                    <a:gd name="connsiteY118" fmla="*/ 2119 h 92768"/>
                    <a:gd name="connsiteX119" fmla="*/ 105498 w 178251"/>
                    <a:gd name="connsiteY119" fmla="*/ 1231 h 92768"/>
                    <a:gd name="connsiteX120" fmla="*/ 105841 w 178251"/>
                    <a:gd name="connsiteY120" fmla="*/ 595 h 92768"/>
                    <a:gd name="connsiteX121" fmla="*/ 107259 w 178251"/>
                    <a:gd name="connsiteY121" fmla="*/ 945 h 92768"/>
                    <a:gd name="connsiteX122" fmla="*/ 112996 w 178251"/>
                    <a:gd name="connsiteY122" fmla="*/ 4727 h 92768"/>
                    <a:gd name="connsiteX123" fmla="*/ 115205 w 178251"/>
                    <a:gd name="connsiteY123" fmla="*/ 5615 h 92768"/>
                    <a:gd name="connsiteX124" fmla="*/ 116704 w 178251"/>
                    <a:gd name="connsiteY124" fmla="*/ 5860 h 92768"/>
                    <a:gd name="connsiteX125" fmla="*/ 118513 w 178251"/>
                    <a:gd name="connsiteY125" fmla="*/ 7620 h 92768"/>
                    <a:gd name="connsiteX126" fmla="*/ 123419 w 178251"/>
                    <a:gd name="connsiteY126" fmla="*/ 8810 h 92768"/>
                    <a:gd name="connsiteX127" fmla="*/ 124014 w 178251"/>
                    <a:gd name="connsiteY127" fmla="*/ 9731 h 92768"/>
                    <a:gd name="connsiteX128" fmla="*/ 124381 w 178251"/>
                    <a:gd name="connsiteY128" fmla="*/ 10872 h 92768"/>
                    <a:gd name="connsiteX129" fmla="*/ 128961 w 178251"/>
                    <a:gd name="connsiteY129" fmla="*/ 15664 h 92768"/>
                    <a:gd name="connsiteX130" fmla="*/ 131031 w 178251"/>
                    <a:gd name="connsiteY130" fmla="*/ 18076 h 92768"/>
                    <a:gd name="connsiteX131" fmla="*/ 135098 w 178251"/>
                    <a:gd name="connsiteY131" fmla="*/ 20276 h 92768"/>
                    <a:gd name="connsiteX132" fmla="*/ 136834 w 178251"/>
                    <a:gd name="connsiteY132" fmla="*/ 20798 h 92768"/>
                    <a:gd name="connsiteX133" fmla="*/ 143965 w 178251"/>
                    <a:gd name="connsiteY133" fmla="*/ 18549 h 92768"/>
                    <a:gd name="connsiteX134" fmla="*/ 145954 w 178251"/>
                    <a:gd name="connsiteY134" fmla="*/ 17766 h 92768"/>
                    <a:gd name="connsiteX135" fmla="*/ 147592 w 178251"/>
                    <a:gd name="connsiteY135" fmla="*/ 17758 h 92768"/>
                    <a:gd name="connsiteX136" fmla="*/ 149254 w 178251"/>
                    <a:gd name="connsiteY136" fmla="*/ 18940 h 92768"/>
                    <a:gd name="connsiteX137" fmla="*/ 153068 w 178251"/>
                    <a:gd name="connsiteY137" fmla="*/ 20513 h 92768"/>
                    <a:gd name="connsiteX138" fmla="*/ 156532 w 178251"/>
                    <a:gd name="connsiteY138" fmla="*/ 21010 h 9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78251" h="92768">
                      <a:moveTo>
                        <a:pt x="157159" y="20912"/>
                      </a:moveTo>
                      <a:lnTo>
                        <a:pt x="160085" y="21075"/>
                      </a:lnTo>
                      <a:lnTo>
                        <a:pt x="161112" y="21686"/>
                      </a:lnTo>
                      <a:lnTo>
                        <a:pt x="161788" y="24743"/>
                      </a:lnTo>
                      <a:lnTo>
                        <a:pt x="165122" y="27139"/>
                      </a:lnTo>
                      <a:lnTo>
                        <a:pt x="168194" y="29135"/>
                      </a:lnTo>
                      <a:lnTo>
                        <a:pt x="168985" y="30048"/>
                      </a:lnTo>
                      <a:lnTo>
                        <a:pt x="169221" y="31825"/>
                      </a:lnTo>
                      <a:lnTo>
                        <a:pt x="169025" y="33887"/>
                      </a:lnTo>
                      <a:lnTo>
                        <a:pt x="168634" y="34954"/>
                      </a:lnTo>
                      <a:lnTo>
                        <a:pt x="167355" y="36193"/>
                      </a:lnTo>
                      <a:lnTo>
                        <a:pt x="166222" y="39322"/>
                      </a:lnTo>
                      <a:lnTo>
                        <a:pt x="166075" y="42289"/>
                      </a:lnTo>
                      <a:lnTo>
                        <a:pt x="164290" y="47415"/>
                      </a:lnTo>
                      <a:lnTo>
                        <a:pt x="164698" y="47505"/>
                      </a:lnTo>
                      <a:lnTo>
                        <a:pt x="168423" y="46592"/>
                      </a:lnTo>
                      <a:lnTo>
                        <a:pt x="169482" y="47114"/>
                      </a:lnTo>
                      <a:lnTo>
                        <a:pt x="170297" y="48246"/>
                      </a:lnTo>
                      <a:lnTo>
                        <a:pt x="170557" y="51457"/>
                      </a:lnTo>
                      <a:lnTo>
                        <a:pt x="171780" y="52908"/>
                      </a:lnTo>
                      <a:lnTo>
                        <a:pt x="173027" y="55157"/>
                      </a:lnTo>
                      <a:lnTo>
                        <a:pt x="173426" y="56918"/>
                      </a:lnTo>
                      <a:lnTo>
                        <a:pt x="175790" y="59012"/>
                      </a:lnTo>
                      <a:lnTo>
                        <a:pt x="175985" y="60365"/>
                      </a:lnTo>
                      <a:lnTo>
                        <a:pt x="177436" y="65133"/>
                      </a:lnTo>
                      <a:lnTo>
                        <a:pt x="177990" y="67879"/>
                      </a:lnTo>
                      <a:lnTo>
                        <a:pt x="178251" y="70006"/>
                      </a:lnTo>
                      <a:lnTo>
                        <a:pt x="177534" y="72704"/>
                      </a:lnTo>
                      <a:lnTo>
                        <a:pt x="176906" y="74529"/>
                      </a:lnTo>
                      <a:lnTo>
                        <a:pt x="176164" y="74423"/>
                      </a:lnTo>
                      <a:lnTo>
                        <a:pt x="174029" y="74896"/>
                      </a:lnTo>
                      <a:lnTo>
                        <a:pt x="170663" y="77096"/>
                      </a:lnTo>
                      <a:lnTo>
                        <a:pt x="165651" y="82263"/>
                      </a:lnTo>
                      <a:lnTo>
                        <a:pt x="164364" y="83404"/>
                      </a:lnTo>
                      <a:lnTo>
                        <a:pt x="163060" y="87341"/>
                      </a:lnTo>
                      <a:lnTo>
                        <a:pt x="162742" y="87740"/>
                      </a:lnTo>
                      <a:lnTo>
                        <a:pt x="159816" y="87553"/>
                      </a:lnTo>
                      <a:lnTo>
                        <a:pt x="159026" y="87463"/>
                      </a:lnTo>
                      <a:lnTo>
                        <a:pt x="156100" y="87544"/>
                      </a:lnTo>
                      <a:lnTo>
                        <a:pt x="149735" y="86526"/>
                      </a:lnTo>
                      <a:lnTo>
                        <a:pt x="147266" y="87202"/>
                      </a:lnTo>
                      <a:lnTo>
                        <a:pt x="144038" y="91171"/>
                      </a:lnTo>
                      <a:lnTo>
                        <a:pt x="142775" y="91758"/>
                      </a:lnTo>
                      <a:lnTo>
                        <a:pt x="139010" y="92304"/>
                      </a:lnTo>
                      <a:lnTo>
                        <a:pt x="138350" y="92768"/>
                      </a:lnTo>
                      <a:lnTo>
                        <a:pt x="137094" y="92581"/>
                      </a:lnTo>
                      <a:lnTo>
                        <a:pt x="133574" y="91375"/>
                      </a:lnTo>
                      <a:lnTo>
                        <a:pt x="130608" y="89590"/>
                      </a:lnTo>
                      <a:lnTo>
                        <a:pt x="128831" y="87227"/>
                      </a:lnTo>
                      <a:lnTo>
                        <a:pt x="125750" y="83975"/>
                      </a:lnTo>
                      <a:lnTo>
                        <a:pt x="123737" y="82312"/>
                      </a:lnTo>
                      <a:lnTo>
                        <a:pt x="120567" y="80242"/>
                      </a:lnTo>
                      <a:lnTo>
                        <a:pt x="115278" y="75988"/>
                      </a:lnTo>
                      <a:lnTo>
                        <a:pt x="113355" y="75010"/>
                      </a:lnTo>
                      <a:lnTo>
                        <a:pt x="103966" y="73160"/>
                      </a:lnTo>
                      <a:lnTo>
                        <a:pt x="100567" y="72313"/>
                      </a:lnTo>
                      <a:lnTo>
                        <a:pt x="97446" y="67496"/>
                      </a:lnTo>
                      <a:lnTo>
                        <a:pt x="96427" y="64701"/>
                      </a:lnTo>
                      <a:lnTo>
                        <a:pt x="94887" y="64195"/>
                      </a:lnTo>
                      <a:lnTo>
                        <a:pt x="93200" y="64790"/>
                      </a:lnTo>
                      <a:lnTo>
                        <a:pt x="91375" y="65344"/>
                      </a:lnTo>
                      <a:lnTo>
                        <a:pt x="87145" y="68629"/>
                      </a:lnTo>
                      <a:lnTo>
                        <a:pt x="85768" y="69093"/>
                      </a:lnTo>
                      <a:lnTo>
                        <a:pt x="83152" y="69134"/>
                      </a:lnTo>
                      <a:lnTo>
                        <a:pt x="77023" y="69859"/>
                      </a:lnTo>
                      <a:lnTo>
                        <a:pt x="74236" y="68670"/>
                      </a:lnTo>
                      <a:lnTo>
                        <a:pt x="69370" y="67358"/>
                      </a:lnTo>
                      <a:lnTo>
                        <a:pt x="66754" y="67146"/>
                      </a:lnTo>
                      <a:lnTo>
                        <a:pt x="64423" y="67178"/>
                      </a:lnTo>
                      <a:lnTo>
                        <a:pt x="54082" y="65891"/>
                      </a:lnTo>
                      <a:lnTo>
                        <a:pt x="52191" y="67300"/>
                      </a:lnTo>
                      <a:lnTo>
                        <a:pt x="50292" y="67553"/>
                      </a:lnTo>
                      <a:lnTo>
                        <a:pt x="48442" y="65385"/>
                      </a:lnTo>
                      <a:lnTo>
                        <a:pt x="46144" y="64766"/>
                      </a:lnTo>
                      <a:lnTo>
                        <a:pt x="43601" y="65499"/>
                      </a:lnTo>
                      <a:lnTo>
                        <a:pt x="38980" y="65589"/>
                      </a:lnTo>
                      <a:lnTo>
                        <a:pt x="33495" y="64905"/>
                      </a:lnTo>
                      <a:lnTo>
                        <a:pt x="26519" y="64367"/>
                      </a:lnTo>
                      <a:lnTo>
                        <a:pt x="25492" y="64603"/>
                      </a:lnTo>
                      <a:lnTo>
                        <a:pt x="17750" y="67488"/>
                      </a:lnTo>
                      <a:lnTo>
                        <a:pt x="15827" y="67920"/>
                      </a:lnTo>
                      <a:lnTo>
                        <a:pt x="7432" y="72785"/>
                      </a:lnTo>
                      <a:lnTo>
                        <a:pt x="766" y="77333"/>
                      </a:lnTo>
                      <a:lnTo>
                        <a:pt x="0" y="70063"/>
                      </a:lnTo>
                      <a:lnTo>
                        <a:pt x="407" y="55500"/>
                      </a:lnTo>
                      <a:lnTo>
                        <a:pt x="1385" y="48263"/>
                      </a:lnTo>
                      <a:lnTo>
                        <a:pt x="5998" y="44041"/>
                      </a:lnTo>
                      <a:lnTo>
                        <a:pt x="8313" y="40749"/>
                      </a:lnTo>
                      <a:lnTo>
                        <a:pt x="9665" y="36356"/>
                      </a:lnTo>
                      <a:lnTo>
                        <a:pt x="10073" y="32289"/>
                      </a:lnTo>
                      <a:lnTo>
                        <a:pt x="11010" y="28923"/>
                      </a:lnTo>
                      <a:lnTo>
                        <a:pt x="17693" y="19241"/>
                      </a:lnTo>
                      <a:lnTo>
                        <a:pt x="22990" y="18190"/>
                      </a:lnTo>
                      <a:lnTo>
                        <a:pt x="30162" y="15509"/>
                      </a:lnTo>
                      <a:lnTo>
                        <a:pt x="38173" y="13260"/>
                      </a:lnTo>
                      <a:lnTo>
                        <a:pt x="39730" y="16120"/>
                      </a:lnTo>
                      <a:lnTo>
                        <a:pt x="40504" y="18288"/>
                      </a:lnTo>
                      <a:lnTo>
                        <a:pt x="50161" y="26210"/>
                      </a:lnTo>
                      <a:lnTo>
                        <a:pt x="52623" y="28858"/>
                      </a:lnTo>
                      <a:lnTo>
                        <a:pt x="56355" y="37953"/>
                      </a:lnTo>
                      <a:lnTo>
                        <a:pt x="65287" y="42558"/>
                      </a:lnTo>
                      <a:lnTo>
                        <a:pt x="72320" y="41107"/>
                      </a:lnTo>
                      <a:lnTo>
                        <a:pt x="75377" y="38874"/>
                      </a:lnTo>
                      <a:lnTo>
                        <a:pt x="81000" y="34750"/>
                      </a:lnTo>
                      <a:lnTo>
                        <a:pt x="83518" y="31727"/>
                      </a:lnTo>
                      <a:lnTo>
                        <a:pt x="84032" y="28817"/>
                      </a:lnTo>
                      <a:lnTo>
                        <a:pt x="83029" y="16340"/>
                      </a:lnTo>
                      <a:lnTo>
                        <a:pt x="81505" y="10929"/>
                      </a:lnTo>
                      <a:lnTo>
                        <a:pt x="82027" y="7547"/>
                      </a:lnTo>
                      <a:lnTo>
                        <a:pt x="83013" y="7718"/>
                      </a:lnTo>
                      <a:lnTo>
                        <a:pt x="85401" y="6088"/>
                      </a:lnTo>
                      <a:lnTo>
                        <a:pt x="93265" y="3064"/>
                      </a:lnTo>
                      <a:lnTo>
                        <a:pt x="94830" y="2926"/>
                      </a:lnTo>
                      <a:lnTo>
                        <a:pt x="96631" y="2306"/>
                      </a:lnTo>
                      <a:lnTo>
                        <a:pt x="101586" y="0"/>
                      </a:lnTo>
                      <a:lnTo>
                        <a:pt x="103175" y="1231"/>
                      </a:lnTo>
                      <a:lnTo>
                        <a:pt x="104504" y="2624"/>
                      </a:lnTo>
                      <a:lnTo>
                        <a:pt x="105237" y="2640"/>
                      </a:lnTo>
                      <a:lnTo>
                        <a:pt x="105588" y="2119"/>
                      </a:lnTo>
                      <a:lnTo>
                        <a:pt x="105498" y="1231"/>
                      </a:lnTo>
                      <a:lnTo>
                        <a:pt x="105841" y="595"/>
                      </a:lnTo>
                      <a:lnTo>
                        <a:pt x="107259" y="945"/>
                      </a:lnTo>
                      <a:lnTo>
                        <a:pt x="112996" y="4727"/>
                      </a:lnTo>
                      <a:lnTo>
                        <a:pt x="115205" y="5615"/>
                      </a:lnTo>
                      <a:lnTo>
                        <a:pt x="116704" y="5860"/>
                      </a:lnTo>
                      <a:lnTo>
                        <a:pt x="118513" y="7620"/>
                      </a:lnTo>
                      <a:lnTo>
                        <a:pt x="123419" y="8810"/>
                      </a:lnTo>
                      <a:lnTo>
                        <a:pt x="124014" y="9731"/>
                      </a:lnTo>
                      <a:lnTo>
                        <a:pt x="124381" y="10872"/>
                      </a:lnTo>
                      <a:lnTo>
                        <a:pt x="128961" y="15664"/>
                      </a:lnTo>
                      <a:lnTo>
                        <a:pt x="131031" y="18076"/>
                      </a:lnTo>
                      <a:lnTo>
                        <a:pt x="135098" y="20276"/>
                      </a:lnTo>
                      <a:lnTo>
                        <a:pt x="136834" y="20798"/>
                      </a:lnTo>
                      <a:lnTo>
                        <a:pt x="143965" y="18549"/>
                      </a:lnTo>
                      <a:lnTo>
                        <a:pt x="145954" y="17766"/>
                      </a:lnTo>
                      <a:lnTo>
                        <a:pt x="147592" y="17758"/>
                      </a:lnTo>
                      <a:lnTo>
                        <a:pt x="149254" y="18940"/>
                      </a:lnTo>
                      <a:lnTo>
                        <a:pt x="153068" y="20513"/>
                      </a:lnTo>
                      <a:lnTo>
                        <a:pt x="156532" y="21010"/>
                      </a:lnTo>
                      <a:close/>
                    </a:path>
                  </a:pathLst>
                </a:custGeom>
                <a:solidFill>
                  <a:srgbClr val="D6D6D2"/>
                </a:solidFill>
                <a:ln w="6112" cap="rnd">
                  <a:solidFill>
                    <a:srgbClr val="FFFFFF"/>
                  </a:solidFill>
                  <a:prstDash val="solid"/>
                  <a:round/>
                </a:ln>
              </p:spPr>
              <p:txBody>
                <a:bodyPr rtlCol="0" anchor="ctr"/>
                <a:lstStyle/>
                <a:p>
                  <a:endParaRPr lang="en-US"/>
                </a:p>
              </p:txBody>
            </p:sp>
            <p:sp>
              <p:nvSpPr>
                <p:cNvPr id="687" name="Freeform: Shape 686">
                  <a:extLst>
                    <a:ext uri="{FF2B5EF4-FFF2-40B4-BE49-F238E27FC236}">
                      <a16:creationId xmlns:a16="http://schemas.microsoft.com/office/drawing/2014/main" id="{3425DEED-F6AE-4EDB-AEFD-5A48E2BD3FAC}"/>
                    </a:ext>
                  </a:extLst>
                </p:cNvPr>
                <p:cNvSpPr/>
                <p:nvPr/>
              </p:nvSpPr>
              <p:spPr>
                <a:xfrm>
                  <a:off x="6085633" y="2918616"/>
                  <a:ext cx="19053" cy="26266"/>
                </a:xfrm>
                <a:custGeom>
                  <a:avLst/>
                  <a:gdLst>
                    <a:gd name="connsiteX0" fmla="*/ 9698 w 19053"/>
                    <a:gd name="connsiteY0" fmla="*/ 1687 h 26266"/>
                    <a:gd name="connsiteX1" fmla="*/ 9494 w 19053"/>
                    <a:gd name="connsiteY1" fmla="*/ 2665 h 26266"/>
                    <a:gd name="connsiteX2" fmla="*/ 9527 w 19053"/>
                    <a:gd name="connsiteY2" fmla="*/ 4849 h 26266"/>
                    <a:gd name="connsiteX3" fmla="*/ 10236 w 19053"/>
                    <a:gd name="connsiteY3" fmla="*/ 7041 h 26266"/>
                    <a:gd name="connsiteX4" fmla="*/ 11898 w 19053"/>
                    <a:gd name="connsiteY4" fmla="*/ 9193 h 26266"/>
                    <a:gd name="connsiteX5" fmla="*/ 13162 w 19053"/>
                    <a:gd name="connsiteY5" fmla="*/ 10758 h 26266"/>
                    <a:gd name="connsiteX6" fmla="*/ 14865 w 19053"/>
                    <a:gd name="connsiteY6" fmla="*/ 12005 h 26266"/>
                    <a:gd name="connsiteX7" fmla="*/ 17742 w 19053"/>
                    <a:gd name="connsiteY7" fmla="*/ 13194 h 26266"/>
                    <a:gd name="connsiteX8" fmla="*/ 18899 w 19053"/>
                    <a:gd name="connsiteY8" fmla="*/ 13439 h 26266"/>
                    <a:gd name="connsiteX9" fmla="*/ 19054 w 19053"/>
                    <a:gd name="connsiteY9" fmla="*/ 15044 h 26266"/>
                    <a:gd name="connsiteX10" fmla="*/ 18834 w 19053"/>
                    <a:gd name="connsiteY10" fmla="*/ 16740 h 26266"/>
                    <a:gd name="connsiteX11" fmla="*/ 17839 w 19053"/>
                    <a:gd name="connsiteY11" fmla="*/ 17669 h 26266"/>
                    <a:gd name="connsiteX12" fmla="*/ 16902 w 19053"/>
                    <a:gd name="connsiteY12" fmla="*/ 19021 h 26266"/>
                    <a:gd name="connsiteX13" fmla="*/ 16194 w 19053"/>
                    <a:gd name="connsiteY13" fmla="*/ 20668 h 26266"/>
                    <a:gd name="connsiteX14" fmla="*/ 15452 w 19053"/>
                    <a:gd name="connsiteY14" fmla="*/ 23830 h 26266"/>
                    <a:gd name="connsiteX15" fmla="*/ 15346 w 19053"/>
                    <a:gd name="connsiteY15" fmla="*/ 26006 h 26266"/>
                    <a:gd name="connsiteX16" fmla="*/ 13683 w 19053"/>
                    <a:gd name="connsiteY16" fmla="*/ 25101 h 26266"/>
                    <a:gd name="connsiteX17" fmla="*/ 12811 w 19053"/>
                    <a:gd name="connsiteY17" fmla="*/ 24498 h 26266"/>
                    <a:gd name="connsiteX18" fmla="*/ 11295 w 19053"/>
                    <a:gd name="connsiteY18" fmla="*/ 24327 h 26266"/>
                    <a:gd name="connsiteX19" fmla="*/ 9788 w 19053"/>
                    <a:gd name="connsiteY19" fmla="*/ 24824 h 26266"/>
                    <a:gd name="connsiteX20" fmla="*/ 8647 w 19053"/>
                    <a:gd name="connsiteY20" fmla="*/ 25933 h 26266"/>
                    <a:gd name="connsiteX21" fmla="*/ 7098 w 19053"/>
                    <a:gd name="connsiteY21" fmla="*/ 26267 h 26266"/>
                    <a:gd name="connsiteX22" fmla="*/ 5802 w 19053"/>
                    <a:gd name="connsiteY22" fmla="*/ 25933 h 26266"/>
                    <a:gd name="connsiteX23" fmla="*/ 5053 w 19053"/>
                    <a:gd name="connsiteY23" fmla="*/ 25101 h 26266"/>
                    <a:gd name="connsiteX24" fmla="*/ 4360 w 19053"/>
                    <a:gd name="connsiteY24" fmla="*/ 24661 h 26266"/>
                    <a:gd name="connsiteX25" fmla="*/ 2428 w 19053"/>
                    <a:gd name="connsiteY25" fmla="*/ 24099 h 26266"/>
                    <a:gd name="connsiteX26" fmla="*/ 1597 w 19053"/>
                    <a:gd name="connsiteY26" fmla="*/ 22901 h 26266"/>
                    <a:gd name="connsiteX27" fmla="*/ 2233 w 19053"/>
                    <a:gd name="connsiteY27" fmla="*/ 22339 h 26266"/>
                    <a:gd name="connsiteX28" fmla="*/ 2779 w 19053"/>
                    <a:gd name="connsiteY28" fmla="*/ 21442 h 26266"/>
                    <a:gd name="connsiteX29" fmla="*/ 3252 w 19053"/>
                    <a:gd name="connsiteY29" fmla="*/ 20187 h 26266"/>
                    <a:gd name="connsiteX30" fmla="*/ 3838 w 19053"/>
                    <a:gd name="connsiteY30" fmla="*/ 19030 h 26266"/>
                    <a:gd name="connsiteX31" fmla="*/ 1939 w 19053"/>
                    <a:gd name="connsiteY31" fmla="*/ 15859 h 26266"/>
                    <a:gd name="connsiteX32" fmla="*/ 1548 w 19053"/>
                    <a:gd name="connsiteY32" fmla="*/ 14881 h 26266"/>
                    <a:gd name="connsiteX33" fmla="*/ 0 w 19053"/>
                    <a:gd name="connsiteY33" fmla="*/ 13080 h 26266"/>
                    <a:gd name="connsiteX34" fmla="*/ 8 w 19053"/>
                    <a:gd name="connsiteY34" fmla="*/ 12168 h 26266"/>
                    <a:gd name="connsiteX35" fmla="*/ 375 w 19053"/>
                    <a:gd name="connsiteY35" fmla="*/ 11304 h 26266"/>
                    <a:gd name="connsiteX36" fmla="*/ 244 w 19053"/>
                    <a:gd name="connsiteY36" fmla="*/ 10635 h 26266"/>
                    <a:gd name="connsiteX37" fmla="*/ 456 w 19053"/>
                    <a:gd name="connsiteY37" fmla="*/ 9030 h 26266"/>
                    <a:gd name="connsiteX38" fmla="*/ 1548 w 19053"/>
                    <a:gd name="connsiteY38" fmla="*/ 7514 h 26266"/>
                    <a:gd name="connsiteX39" fmla="*/ 2282 w 19053"/>
                    <a:gd name="connsiteY39" fmla="*/ 5640 h 26266"/>
                    <a:gd name="connsiteX40" fmla="*/ 3512 w 19053"/>
                    <a:gd name="connsiteY40" fmla="*/ 3081 h 26266"/>
                    <a:gd name="connsiteX41" fmla="*/ 6218 w 19053"/>
                    <a:gd name="connsiteY41" fmla="*/ 0 h 26266"/>
                    <a:gd name="connsiteX42" fmla="*/ 8158 w 19053"/>
                    <a:gd name="connsiteY42" fmla="*/ 473 h 26266"/>
                    <a:gd name="connsiteX43" fmla="*/ 9013 w 19053"/>
                    <a:gd name="connsiteY43" fmla="*/ 465 h 26266"/>
                    <a:gd name="connsiteX44" fmla="*/ 9535 w 19053"/>
                    <a:gd name="connsiteY44" fmla="*/ 1581 h 26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053" h="26266">
                      <a:moveTo>
                        <a:pt x="9698" y="1687"/>
                      </a:moveTo>
                      <a:lnTo>
                        <a:pt x="9494" y="2665"/>
                      </a:lnTo>
                      <a:lnTo>
                        <a:pt x="9527" y="4849"/>
                      </a:lnTo>
                      <a:lnTo>
                        <a:pt x="10236" y="7041"/>
                      </a:lnTo>
                      <a:lnTo>
                        <a:pt x="11898" y="9193"/>
                      </a:lnTo>
                      <a:lnTo>
                        <a:pt x="13162" y="10758"/>
                      </a:lnTo>
                      <a:lnTo>
                        <a:pt x="14865" y="12005"/>
                      </a:lnTo>
                      <a:lnTo>
                        <a:pt x="17742" y="13194"/>
                      </a:lnTo>
                      <a:lnTo>
                        <a:pt x="18899" y="13439"/>
                      </a:lnTo>
                      <a:lnTo>
                        <a:pt x="19054" y="15044"/>
                      </a:lnTo>
                      <a:lnTo>
                        <a:pt x="18834" y="16740"/>
                      </a:lnTo>
                      <a:lnTo>
                        <a:pt x="17839" y="17669"/>
                      </a:lnTo>
                      <a:lnTo>
                        <a:pt x="16902" y="19021"/>
                      </a:lnTo>
                      <a:lnTo>
                        <a:pt x="16194" y="20668"/>
                      </a:lnTo>
                      <a:lnTo>
                        <a:pt x="15452" y="23830"/>
                      </a:lnTo>
                      <a:lnTo>
                        <a:pt x="15346" y="26006"/>
                      </a:lnTo>
                      <a:lnTo>
                        <a:pt x="13683" y="25101"/>
                      </a:lnTo>
                      <a:lnTo>
                        <a:pt x="12811" y="24498"/>
                      </a:lnTo>
                      <a:lnTo>
                        <a:pt x="11295" y="24327"/>
                      </a:lnTo>
                      <a:lnTo>
                        <a:pt x="9788" y="24824"/>
                      </a:lnTo>
                      <a:lnTo>
                        <a:pt x="8647" y="25933"/>
                      </a:lnTo>
                      <a:lnTo>
                        <a:pt x="7098" y="26267"/>
                      </a:lnTo>
                      <a:lnTo>
                        <a:pt x="5802" y="25933"/>
                      </a:lnTo>
                      <a:lnTo>
                        <a:pt x="5053" y="25101"/>
                      </a:lnTo>
                      <a:lnTo>
                        <a:pt x="4360" y="24661"/>
                      </a:lnTo>
                      <a:lnTo>
                        <a:pt x="2428" y="24099"/>
                      </a:lnTo>
                      <a:lnTo>
                        <a:pt x="1597" y="22901"/>
                      </a:lnTo>
                      <a:lnTo>
                        <a:pt x="2233" y="22339"/>
                      </a:lnTo>
                      <a:lnTo>
                        <a:pt x="2779" y="21442"/>
                      </a:lnTo>
                      <a:lnTo>
                        <a:pt x="3252" y="20187"/>
                      </a:lnTo>
                      <a:lnTo>
                        <a:pt x="3838" y="19030"/>
                      </a:lnTo>
                      <a:lnTo>
                        <a:pt x="1939" y="15859"/>
                      </a:lnTo>
                      <a:lnTo>
                        <a:pt x="1548" y="14881"/>
                      </a:lnTo>
                      <a:lnTo>
                        <a:pt x="0" y="13080"/>
                      </a:lnTo>
                      <a:lnTo>
                        <a:pt x="8" y="12168"/>
                      </a:lnTo>
                      <a:lnTo>
                        <a:pt x="375" y="11304"/>
                      </a:lnTo>
                      <a:lnTo>
                        <a:pt x="244" y="10635"/>
                      </a:lnTo>
                      <a:lnTo>
                        <a:pt x="456" y="9030"/>
                      </a:lnTo>
                      <a:lnTo>
                        <a:pt x="1548" y="7514"/>
                      </a:lnTo>
                      <a:lnTo>
                        <a:pt x="2282" y="5640"/>
                      </a:lnTo>
                      <a:lnTo>
                        <a:pt x="3512" y="3081"/>
                      </a:lnTo>
                      <a:lnTo>
                        <a:pt x="6218" y="0"/>
                      </a:lnTo>
                      <a:lnTo>
                        <a:pt x="8158" y="473"/>
                      </a:lnTo>
                      <a:lnTo>
                        <a:pt x="9013" y="465"/>
                      </a:lnTo>
                      <a:lnTo>
                        <a:pt x="9535" y="1581"/>
                      </a:lnTo>
                      <a:close/>
                    </a:path>
                  </a:pathLst>
                </a:custGeom>
                <a:solidFill>
                  <a:srgbClr val="D6D6D2"/>
                </a:solidFill>
                <a:ln w="8150" cap="flat">
                  <a:noFill/>
                  <a:prstDash val="solid"/>
                  <a:miter/>
                </a:ln>
              </p:spPr>
              <p:txBody>
                <a:bodyPr rtlCol="0" anchor="ctr"/>
                <a:lstStyle/>
                <a:p>
                  <a:endParaRPr lang="en-US"/>
                </a:p>
              </p:txBody>
            </p:sp>
            <p:sp>
              <p:nvSpPr>
                <p:cNvPr id="688" name="Freeform: Shape 687">
                  <a:extLst>
                    <a:ext uri="{FF2B5EF4-FFF2-40B4-BE49-F238E27FC236}">
                      <a16:creationId xmlns:a16="http://schemas.microsoft.com/office/drawing/2014/main" id="{688F0108-6381-489A-BD0B-1888966E7BB3}"/>
                    </a:ext>
                  </a:extLst>
                </p:cNvPr>
                <p:cNvSpPr/>
                <p:nvPr/>
              </p:nvSpPr>
              <p:spPr>
                <a:xfrm>
                  <a:off x="6465606" y="2684564"/>
                  <a:ext cx="142114" cy="95930"/>
                </a:xfrm>
                <a:custGeom>
                  <a:avLst/>
                  <a:gdLst>
                    <a:gd name="connsiteX0" fmla="*/ 96697 w 142114"/>
                    <a:gd name="connsiteY0" fmla="*/ 3252 h 95930"/>
                    <a:gd name="connsiteX1" fmla="*/ 99818 w 142114"/>
                    <a:gd name="connsiteY1" fmla="*/ 8076 h 95930"/>
                    <a:gd name="connsiteX2" fmla="*/ 103217 w 142114"/>
                    <a:gd name="connsiteY2" fmla="*/ 8924 h 95930"/>
                    <a:gd name="connsiteX3" fmla="*/ 112605 w 142114"/>
                    <a:gd name="connsiteY3" fmla="*/ 10782 h 95930"/>
                    <a:gd name="connsiteX4" fmla="*/ 114529 w 142114"/>
                    <a:gd name="connsiteY4" fmla="*/ 11760 h 95930"/>
                    <a:gd name="connsiteX5" fmla="*/ 119809 w 142114"/>
                    <a:gd name="connsiteY5" fmla="*/ 16006 h 95930"/>
                    <a:gd name="connsiteX6" fmla="*/ 122988 w 142114"/>
                    <a:gd name="connsiteY6" fmla="*/ 18084 h 95930"/>
                    <a:gd name="connsiteX7" fmla="*/ 125001 w 142114"/>
                    <a:gd name="connsiteY7" fmla="*/ 19747 h 95930"/>
                    <a:gd name="connsiteX8" fmla="*/ 128081 w 142114"/>
                    <a:gd name="connsiteY8" fmla="*/ 22990 h 95930"/>
                    <a:gd name="connsiteX9" fmla="*/ 129858 w 142114"/>
                    <a:gd name="connsiteY9" fmla="*/ 25362 h 95930"/>
                    <a:gd name="connsiteX10" fmla="*/ 132825 w 142114"/>
                    <a:gd name="connsiteY10" fmla="*/ 27147 h 95930"/>
                    <a:gd name="connsiteX11" fmla="*/ 136345 w 142114"/>
                    <a:gd name="connsiteY11" fmla="*/ 28353 h 95930"/>
                    <a:gd name="connsiteX12" fmla="*/ 137600 w 142114"/>
                    <a:gd name="connsiteY12" fmla="*/ 28540 h 95930"/>
                    <a:gd name="connsiteX13" fmla="*/ 137535 w 142114"/>
                    <a:gd name="connsiteY13" fmla="*/ 30252 h 95930"/>
                    <a:gd name="connsiteX14" fmla="*/ 136924 w 142114"/>
                    <a:gd name="connsiteY14" fmla="*/ 33169 h 95930"/>
                    <a:gd name="connsiteX15" fmla="*/ 135750 w 142114"/>
                    <a:gd name="connsiteY15" fmla="*/ 36926 h 95930"/>
                    <a:gd name="connsiteX16" fmla="*/ 134528 w 142114"/>
                    <a:gd name="connsiteY16" fmla="*/ 39836 h 95930"/>
                    <a:gd name="connsiteX17" fmla="*/ 134234 w 142114"/>
                    <a:gd name="connsiteY17" fmla="*/ 40961 h 95930"/>
                    <a:gd name="connsiteX18" fmla="*/ 135164 w 142114"/>
                    <a:gd name="connsiteY18" fmla="*/ 41898 h 95930"/>
                    <a:gd name="connsiteX19" fmla="*/ 139768 w 142114"/>
                    <a:gd name="connsiteY19" fmla="*/ 42346 h 95930"/>
                    <a:gd name="connsiteX20" fmla="*/ 141724 w 142114"/>
                    <a:gd name="connsiteY20" fmla="*/ 42843 h 95930"/>
                    <a:gd name="connsiteX21" fmla="*/ 142115 w 142114"/>
                    <a:gd name="connsiteY21" fmla="*/ 43617 h 95930"/>
                    <a:gd name="connsiteX22" fmla="*/ 141088 w 142114"/>
                    <a:gd name="connsiteY22" fmla="*/ 44620 h 95930"/>
                    <a:gd name="connsiteX23" fmla="*/ 139613 w 142114"/>
                    <a:gd name="connsiteY23" fmla="*/ 45459 h 95930"/>
                    <a:gd name="connsiteX24" fmla="*/ 138953 w 142114"/>
                    <a:gd name="connsiteY24" fmla="*/ 46250 h 95930"/>
                    <a:gd name="connsiteX25" fmla="*/ 137771 w 142114"/>
                    <a:gd name="connsiteY25" fmla="*/ 49070 h 95930"/>
                    <a:gd name="connsiteX26" fmla="*/ 130111 w 142114"/>
                    <a:gd name="connsiteY26" fmla="*/ 48711 h 95930"/>
                    <a:gd name="connsiteX27" fmla="*/ 129092 w 142114"/>
                    <a:gd name="connsiteY27" fmla="*/ 49281 h 95930"/>
                    <a:gd name="connsiteX28" fmla="*/ 128611 w 142114"/>
                    <a:gd name="connsiteY28" fmla="*/ 50594 h 95930"/>
                    <a:gd name="connsiteX29" fmla="*/ 128220 w 142114"/>
                    <a:gd name="connsiteY29" fmla="*/ 52109 h 95930"/>
                    <a:gd name="connsiteX30" fmla="*/ 127209 w 142114"/>
                    <a:gd name="connsiteY30" fmla="*/ 53902 h 95930"/>
                    <a:gd name="connsiteX31" fmla="*/ 125172 w 142114"/>
                    <a:gd name="connsiteY31" fmla="*/ 55459 h 95930"/>
                    <a:gd name="connsiteX32" fmla="*/ 121985 w 142114"/>
                    <a:gd name="connsiteY32" fmla="*/ 56029 h 95930"/>
                    <a:gd name="connsiteX33" fmla="*/ 119377 w 142114"/>
                    <a:gd name="connsiteY33" fmla="*/ 57089 h 95930"/>
                    <a:gd name="connsiteX34" fmla="*/ 117429 w 142114"/>
                    <a:gd name="connsiteY34" fmla="*/ 60357 h 95930"/>
                    <a:gd name="connsiteX35" fmla="*/ 115987 w 142114"/>
                    <a:gd name="connsiteY35" fmla="*/ 64741 h 95930"/>
                    <a:gd name="connsiteX36" fmla="*/ 116028 w 142114"/>
                    <a:gd name="connsiteY36" fmla="*/ 67846 h 95930"/>
                    <a:gd name="connsiteX37" fmla="*/ 116207 w 142114"/>
                    <a:gd name="connsiteY37" fmla="*/ 69566 h 95930"/>
                    <a:gd name="connsiteX38" fmla="*/ 116036 w 142114"/>
                    <a:gd name="connsiteY38" fmla="*/ 70560 h 95930"/>
                    <a:gd name="connsiteX39" fmla="*/ 115050 w 142114"/>
                    <a:gd name="connsiteY39" fmla="*/ 71644 h 95930"/>
                    <a:gd name="connsiteX40" fmla="*/ 113444 w 142114"/>
                    <a:gd name="connsiteY40" fmla="*/ 74497 h 95930"/>
                    <a:gd name="connsiteX41" fmla="*/ 112140 w 142114"/>
                    <a:gd name="connsiteY41" fmla="*/ 77651 h 95930"/>
                    <a:gd name="connsiteX42" fmla="*/ 111635 w 142114"/>
                    <a:gd name="connsiteY42" fmla="*/ 79362 h 95930"/>
                    <a:gd name="connsiteX43" fmla="*/ 111896 w 142114"/>
                    <a:gd name="connsiteY43" fmla="*/ 80161 h 95930"/>
                    <a:gd name="connsiteX44" fmla="*/ 113371 w 142114"/>
                    <a:gd name="connsiteY44" fmla="*/ 80185 h 95930"/>
                    <a:gd name="connsiteX45" fmla="*/ 115490 w 142114"/>
                    <a:gd name="connsiteY45" fmla="*/ 80829 h 95930"/>
                    <a:gd name="connsiteX46" fmla="*/ 116631 w 142114"/>
                    <a:gd name="connsiteY46" fmla="*/ 82092 h 95930"/>
                    <a:gd name="connsiteX47" fmla="*/ 117046 w 142114"/>
                    <a:gd name="connsiteY47" fmla="*/ 83543 h 95930"/>
                    <a:gd name="connsiteX48" fmla="*/ 117046 w 142114"/>
                    <a:gd name="connsiteY48" fmla="*/ 85108 h 95930"/>
                    <a:gd name="connsiteX49" fmla="*/ 116655 w 142114"/>
                    <a:gd name="connsiteY49" fmla="*/ 85971 h 95930"/>
                    <a:gd name="connsiteX50" fmla="*/ 114952 w 142114"/>
                    <a:gd name="connsiteY50" fmla="*/ 86591 h 95930"/>
                    <a:gd name="connsiteX51" fmla="*/ 112279 w 142114"/>
                    <a:gd name="connsiteY51" fmla="*/ 86615 h 95930"/>
                    <a:gd name="connsiteX52" fmla="*/ 110739 w 142114"/>
                    <a:gd name="connsiteY52" fmla="*/ 85874 h 95930"/>
                    <a:gd name="connsiteX53" fmla="*/ 110413 w 142114"/>
                    <a:gd name="connsiteY53" fmla="*/ 85279 h 95930"/>
                    <a:gd name="connsiteX54" fmla="*/ 111162 w 142114"/>
                    <a:gd name="connsiteY54" fmla="*/ 83771 h 95930"/>
                    <a:gd name="connsiteX55" fmla="*/ 110616 w 142114"/>
                    <a:gd name="connsiteY55" fmla="*/ 81889 h 95930"/>
                    <a:gd name="connsiteX56" fmla="*/ 109516 w 142114"/>
                    <a:gd name="connsiteY56" fmla="*/ 80837 h 95930"/>
                    <a:gd name="connsiteX57" fmla="*/ 107283 w 142114"/>
                    <a:gd name="connsiteY57" fmla="*/ 82410 h 95930"/>
                    <a:gd name="connsiteX58" fmla="*/ 105123 w 142114"/>
                    <a:gd name="connsiteY58" fmla="*/ 82410 h 95930"/>
                    <a:gd name="connsiteX59" fmla="*/ 102532 w 142114"/>
                    <a:gd name="connsiteY59" fmla="*/ 83804 h 95930"/>
                    <a:gd name="connsiteX60" fmla="*/ 100845 w 142114"/>
                    <a:gd name="connsiteY60" fmla="*/ 86037 h 95930"/>
                    <a:gd name="connsiteX61" fmla="*/ 99231 w 142114"/>
                    <a:gd name="connsiteY61" fmla="*/ 86868 h 95930"/>
                    <a:gd name="connsiteX62" fmla="*/ 94847 w 142114"/>
                    <a:gd name="connsiteY62" fmla="*/ 86404 h 95930"/>
                    <a:gd name="connsiteX63" fmla="*/ 93755 w 142114"/>
                    <a:gd name="connsiteY63" fmla="*/ 87398 h 95930"/>
                    <a:gd name="connsiteX64" fmla="*/ 92866 w 142114"/>
                    <a:gd name="connsiteY64" fmla="*/ 91953 h 95930"/>
                    <a:gd name="connsiteX65" fmla="*/ 92345 w 142114"/>
                    <a:gd name="connsiteY65" fmla="*/ 92842 h 95930"/>
                    <a:gd name="connsiteX66" fmla="*/ 88686 w 142114"/>
                    <a:gd name="connsiteY66" fmla="*/ 92646 h 95930"/>
                    <a:gd name="connsiteX67" fmla="*/ 85157 w 142114"/>
                    <a:gd name="connsiteY67" fmla="*/ 94464 h 95930"/>
                    <a:gd name="connsiteX68" fmla="*/ 81172 w 142114"/>
                    <a:gd name="connsiteY68" fmla="*/ 95930 h 95930"/>
                    <a:gd name="connsiteX69" fmla="*/ 79158 w 142114"/>
                    <a:gd name="connsiteY69" fmla="*/ 94912 h 95930"/>
                    <a:gd name="connsiteX70" fmla="*/ 78026 w 142114"/>
                    <a:gd name="connsiteY70" fmla="*/ 93763 h 95930"/>
                    <a:gd name="connsiteX71" fmla="*/ 75858 w 142114"/>
                    <a:gd name="connsiteY71" fmla="*/ 93966 h 95930"/>
                    <a:gd name="connsiteX72" fmla="*/ 73502 w 142114"/>
                    <a:gd name="connsiteY72" fmla="*/ 94472 h 95930"/>
                    <a:gd name="connsiteX73" fmla="*/ 71905 w 142114"/>
                    <a:gd name="connsiteY73" fmla="*/ 94195 h 95930"/>
                    <a:gd name="connsiteX74" fmla="*/ 70120 w 142114"/>
                    <a:gd name="connsiteY74" fmla="*/ 94317 h 95930"/>
                    <a:gd name="connsiteX75" fmla="*/ 66681 w 142114"/>
                    <a:gd name="connsiteY75" fmla="*/ 95197 h 95930"/>
                    <a:gd name="connsiteX76" fmla="*/ 62346 w 142114"/>
                    <a:gd name="connsiteY76" fmla="*/ 94912 h 95930"/>
                    <a:gd name="connsiteX77" fmla="*/ 60504 w 142114"/>
                    <a:gd name="connsiteY77" fmla="*/ 94162 h 95930"/>
                    <a:gd name="connsiteX78" fmla="*/ 60333 w 142114"/>
                    <a:gd name="connsiteY78" fmla="*/ 93437 h 95930"/>
                    <a:gd name="connsiteX79" fmla="*/ 60471 w 142114"/>
                    <a:gd name="connsiteY79" fmla="*/ 91668 h 95930"/>
                    <a:gd name="connsiteX80" fmla="*/ 60422 w 142114"/>
                    <a:gd name="connsiteY80" fmla="*/ 88914 h 95930"/>
                    <a:gd name="connsiteX81" fmla="*/ 59738 w 142114"/>
                    <a:gd name="connsiteY81" fmla="*/ 86485 h 95930"/>
                    <a:gd name="connsiteX82" fmla="*/ 57667 w 142114"/>
                    <a:gd name="connsiteY82" fmla="*/ 84325 h 95930"/>
                    <a:gd name="connsiteX83" fmla="*/ 55483 w 142114"/>
                    <a:gd name="connsiteY83" fmla="*/ 82826 h 95930"/>
                    <a:gd name="connsiteX84" fmla="*/ 52704 w 142114"/>
                    <a:gd name="connsiteY84" fmla="*/ 81269 h 95930"/>
                    <a:gd name="connsiteX85" fmla="*/ 50651 w 142114"/>
                    <a:gd name="connsiteY85" fmla="*/ 80593 h 95930"/>
                    <a:gd name="connsiteX86" fmla="*/ 49526 w 142114"/>
                    <a:gd name="connsiteY86" fmla="*/ 80422 h 95930"/>
                    <a:gd name="connsiteX87" fmla="*/ 49265 w 142114"/>
                    <a:gd name="connsiteY87" fmla="*/ 79525 h 95930"/>
                    <a:gd name="connsiteX88" fmla="*/ 48866 w 142114"/>
                    <a:gd name="connsiteY88" fmla="*/ 78751 h 95930"/>
                    <a:gd name="connsiteX89" fmla="*/ 47904 w 142114"/>
                    <a:gd name="connsiteY89" fmla="*/ 78074 h 95930"/>
                    <a:gd name="connsiteX90" fmla="*/ 45842 w 142114"/>
                    <a:gd name="connsiteY90" fmla="*/ 77153 h 95930"/>
                    <a:gd name="connsiteX91" fmla="*/ 44106 w 142114"/>
                    <a:gd name="connsiteY91" fmla="*/ 76966 h 95930"/>
                    <a:gd name="connsiteX92" fmla="*/ 42672 w 142114"/>
                    <a:gd name="connsiteY92" fmla="*/ 78441 h 95930"/>
                    <a:gd name="connsiteX93" fmla="*/ 41637 w 142114"/>
                    <a:gd name="connsiteY93" fmla="*/ 76591 h 95930"/>
                    <a:gd name="connsiteX94" fmla="*/ 40529 w 142114"/>
                    <a:gd name="connsiteY94" fmla="*/ 73282 h 95930"/>
                    <a:gd name="connsiteX95" fmla="*/ 40651 w 142114"/>
                    <a:gd name="connsiteY95" fmla="*/ 70634 h 95930"/>
                    <a:gd name="connsiteX96" fmla="*/ 41278 w 142114"/>
                    <a:gd name="connsiteY96" fmla="*/ 67993 h 95930"/>
                    <a:gd name="connsiteX97" fmla="*/ 44286 w 142114"/>
                    <a:gd name="connsiteY97" fmla="*/ 60178 h 95930"/>
                    <a:gd name="connsiteX98" fmla="*/ 44123 w 142114"/>
                    <a:gd name="connsiteY98" fmla="*/ 58931 h 95930"/>
                    <a:gd name="connsiteX99" fmla="*/ 41938 w 142114"/>
                    <a:gd name="connsiteY99" fmla="*/ 56738 h 95930"/>
                    <a:gd name="connsiteX100" fmla="*/ 39233 w 142114"/>
                    <a:gd name="connsiteY100" fmla="*/ 55149 h 95930"/>
                    <a:gd name="connsiteX101" fmla="*/ 37733 w 142114"/>
                    <a:gd name="connsiteY101" fmla="*/ 51783 h 95930"/>
                    <a:gd name="connsiteX102" fmla="*/ 32249 w 142114"/>
                    <a:gd name="connsiteY102" fmla="*/ 51588 h 95930"/>
                    <a:gd name="connsiteX103" fmla="*/ 27082 w 142114"/>
                    <a:gd name="connsiteY103" fmla="*/ 51767 h 95930"/>
                    <a:gd name="connsiteX104" fmla="*/ 25452 w 142114"/>
                    <a:gd name="connsiteY104" fmla="*/ 51604 h 95930"/>
                    <a:gd name="connsiteX105" fmla="*/ 20529 w 142114"/>
                    <a:gd name="connsiteY105" fmla="*/ 50194 h 95930"/>
                    <a:gd name="connsiteX106" fmla="*/ 15794 w 142114"/>
                    <a:gd name="connsiteY106" fmla="*/ 47929 h 95930"/>
                    <a:gd name="connsiteX107" fmla="*/ 12616 w 142114"/>
                    <a:gd name="connsiteY107" fmla="*/ 46592 h 95930"/>
                    <a:gd name="connsiteX108" fmla="*/ 9943 w 142114"/>
                    <a:gd name="connsiteY108" fmla="*/ 45101 h 95930"/>
                    <a:gd name="connsiteX109" fmla="*/ 8508 w 142114"/>
                    <a:gd name="connsiteY109" fmla="*/ 43536 h 95930"/>
                    <a:gd name="connsiteX110" fmla="*/ 6235 w 142114"/>
                    <a:gd name="connsiteY110" fmla="*/ 43960 h 95930"/>
                    <a:gd name="connsiteX111" fmla="*/ 4703 w 142114"/>
                    <a:gd name="connsiteY111" fmla="*/ 43968 h 95930"/>
                    <a:gd name="connsiteX112" fmla="*/ 4719 w 142114"/>
                    <a:gd name="connsiteY112" fmla="*/ 43691 h 95930"/>
                    <a:gd name="connsiteX113" fmla="*/ 3839 w 142114"/>
                    <a:gd name="connsiteY113" fmla="*/ 40920 h 95930"/>
                    <a:gd name="connsiteX114" fmla="*/ 4751 w 142114"/>
                    <a:gd name="connsiteY114" fmla="*/ 36674 h 95930"/>
                    <a:gd name="connsiteX115" fmla="*/ 3089 w 142114"/>
                    <a:gd name="connsiteY115" fmla="*/ 30456 h 95930"/>
                    <a:gd name="connsiteX116" fmla="*/ 391 w 142114"/>
                    <a:gd name="connsiteY116" fmla="*/ 22958 h 95930"/>
                    <a:gd name="connsiteX117" fmla="*/ 188 w 142114"/>
                    <a:gd name="connsiteY117" fmla="*/ 14922 h 95930"/>
                    <a:gd name="connsiteX118" fmla="*/ 0 w 142114"/>
                    <a:gd name="connsiteY118" fmla="*/ 13113 h 95930"/>
                    <a:gd name="connsiteX119" fmla="*/ 6666 w 142114"/>
                    <a:gd name="connsiteY119" fmla="*/ 8565 h 95930"/>
                    <a:gd name="connsiteX120" fmla="*/ 15061 w 142114"/>
                    <a:gd name="connsiteY120" fmla="*/ 3700 h 95930"/>
                    <a:gd name="connsiteX121" fmla="*/ 16976 w 142114"/>
                    <a:gd name="connsiteY121" fmla="*/ 3260 h 95930"/>
                    <a:gd name="connsiteX122" fmla="*/ 24718 w 142114"/>
                    <a:gd name="connsiteY122" fmla="*/ 375 h 95930"/>
                    <a:gd name="connsiteX123" fmla="*/ 25745 w 142114"/>
                    <a:gd name="connsiteY123" fmla="*/ 139 h 95930"/>
                    <a:gd name="connsiteX124" fmla="*/ 32721 w 142114"/>
                    <a:gd name="connsiteY124" fmla="*/ 676 h 95930"/>
                    <a:gd name="connsiteX125" fmla="*/ 38206 w 142114"/>
                    <a:gd name="connsiteY125" fmla="*/ 1361 h 95930"/>
                    <a:gd name="connsiteX126" fmla="*/ 42827 w 142114"/>
                    <a:gd name="connsiteY126" fmla="*/ 1279 h 95930"/>
                    <a:gd name="connsiteX127" fmla="*/ 45370 w 142114"/>
                    <a:gd name="connsiteY127" fmla="*/ 546 h 95930"/>
                    <a:gd name="connsiteX128" fmla="*/ 47668 w 142114"/>
                    <a:gd name="connsiteY128" fmla="*/ 1165 h 95930"/>
                    <a:gd name="connsiteX129" fmla="*/ 49518 w 142114"/>
                    <a:gd name="connsiteY129" fmla="*/ 3341 h 95930"/>
                    <a:gd name="connsiteX130" fmla="*/ 51417 w 142114"/>
                    <a:gd name="connsiteY130" fmla="*/ 3089 h 95930"/>
                    <a:gd name="connsiteX131" fmla="*/ 53308 w 142114"/>
                    <a:gd name="connsiteY131" fmla="*/ 1679 h 95930"/>
                    <a:gd name="connsiteX132" fmla="*/ 63649 w 142114"/>
                    <a:gd name="connsiteY132" fmla="*/ 2966 h 95930"/>
                    <a:gd name="connsiteX133" fmla="*/ 65980 w 142114"/>
                    <a:gd name="connsiteY133" fmla="*/ 2934 h 95930"/>
                    <a:gd name="connsiteX134" fmla="*/ 68596 w 142114"/>
                    <a:gd name="connsiteY134" fmla="*/ 3146 h 95930"/>
                    <a:gd name="connsiteX135" fmla="*/ 73462 w 142114"/>
                    <a:gd name="connsiteY135" fmla="*/ 4458 h 95930"/>
                    <a:gd name="connsiteX136" fmla="*/ 76249 w 142114"/>
                    <a:gd name="connsiteY136" fmla="*/ 5648 h 95930"/>
                    <a:gd name="connsiteX137" fmla="*/ 82378 w 142114"/>
                    <a:gd name="connsiteY137" fmla="*/ 4931 h 95930"/>
                    <a:gd name="connsiteX138" fmla="*/ 84994 w 142114"/>
                    <a:gd name="connsiteY138" fmla="*/ 4890 h 95930"/>
                    <a:gd name="connsiteX139" fmla="*/ 86371 w 142114"/>
                    <a:gd name="connsiteY139" fmla="*/ 4425 h 95930"/>
                    <a:gd name="connsiteX140" fmla="*/ 90601 w 142114"/>
                    <a:gd name="connsiteY140" fmla="*/ 1149 h 95930"/>
                    <a:gd name="connsiteX141" fmla="*/ 92434 w 142114"/>
                    <a:gd name="connsiteY141" fmla="*/ 595 h 95930"/>
                    <a:gd name="connsiteX142" fmla="*/ 94121 w 142114"/>
                    <a:gd name="connsiteY142" fmla="*/ 0 h 95930"/>
                    <a:gd name="connsiteX143" fmla="*/ 95653 w 142114"/>
                    <a:gd name="connsiteY143" fmla="*/ 505 h 95930"/>
                    <a:gd name="connsiteX144" fmla="*/ 96697 w 142114"/>
                    <a:gd name="connsiteY144" fmla="*/ 3252 h 95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142114" h="95930">
                      <a:moveTo>
                        <a:pt x="96697" y="3252"/>
                      </a:moveTo>
                      <a:lnTo>
                        <a:pt x="99818" y="8076"/>
                      </a:lnTo>
                      <a:lnTo>
                        <a:pt x="103217" y="8924"/>
                      </a:lnTo>
                      <a:lnTo>
                        <a:pt x="112605" y="10782"/>
                      </a:lnTo>
                      <a:lnTo>
                        <a:pt x="114529" y="11760"/>
                      </a:lnTo>
                      <a:lnTo>
                        <a:pt x="119809" y="16006"/>
                      </a:lnTo>
                      <a:lnTo>
                        <a:pt x="122988" y="18084"/>
                      </a:lnTo>
                      <a:lnTo>
                        <a:pt x="125001" y="19747"/>
                      </a:lnTo>
                      <a:lnTo>
                        <a:pt x="128081" y="22990"/>
                      </a:lnTo>
                      <a:lnTo>
                        <a:pt x="129858" y="25362"/>
                      </a:lnTo>
                      <a:lnTo>
                        <a:pt x="132825" y="27147"/>
                      </a:lnTo>
                      <a:lnTo>
                        <a:pt x="136345" y="28353"/>
                      </a:lnTo>
                      <a:lnTo>
                        <a:pt x="137600" y="28540"/>
                      </a:lnTo>
                      <a:lnTo>
                        <a:pt x="137535" y="30252"/>
                      </a:lnTo>
                      <a:lnTo>
                        <a:pt x="136924" y="33169"/>
                      </a:lnTo>
                      <a:lnTo>
                        <a:pt x="135750" y="36926"/>
                      </a:lnTo>
                      <a:lnTo>
                        <a:pt x="134528" y="39836"/>
                      </a:lnTo>
                      <a:lnTo>
                        <a:pt x="134234" y="40961"/>
                      </a:lnTo>
                      <a:lnTo>
                        <a:pt x="135164" y="41898"/>
                      </a:lnTo>
                      <a:lnTo>
                        <a:pt x="139768" y="42346"/>
                      </a:lnTo>
                      <a:lnTo>
                        <a:pt x="141724" y="42843"/>
                      </a:lnTo>
                      <a:lnTo>
                        <a:pt x="142115" y="43617"/>
                      </a:lnTo>
                      <a:lnTo>
                        <a:pt x="141088" y="44620"/>
                      </a:lnTo>
                      <a:lnTo>
                        <a:pt x="139613" y="45459"/>
                      </a:lnTo>
                      <a:lnTo>
                        <a:pt x="138953" y="46250"/>
                      </a:lnTo>
                      <a:lnTo>
                        <a:pt x="137771" y="49070"/>
                      </a:lnTo>
                      <a:lnTo>
                        <a:pt x="130111" y="48711"/>
                      </a:lnTo>
                      <a:lnTo>
                        <a:pt x="129092" y="49281"/>
                      </a:lnTo>
                      <a:lnTo>
                        <a:pt x="128611" y="50594"/>
                      </a:lnTo>
                      <a:lnTo>
                        <a:pt x="128220" y="52109"/>
                      </a:lnTo>
                      <a:lnTo>
                        <a:pt x="127209" y="53902"/>
                      </a:lnTo>
                      <a:lnTo>
                        <a:pt x="125172" y="55459"/>
                      </a:lnTo>
                      <a:lnTo>
                        <a:pt x="121985" y="56029"/>
                      </a:lnTo>
                      <a:lnTo>
                        <a:pt x="119377" y="57089"/>
                      </a:lnTo>
                      <a:lnTo>
                        <a:pt x="117429" y="60357"/>
                      </a:lnTo>
                      <a:lnTo>
                        <a:pt x="115987" y="64741"/>
                      </a:lnTo>
                      <a:lnTo>
                        <a:pt x="116028" y="67846"/>
                      </a:lnTo>
                      <a:lnTo>
                        <a:pt x="116207" y="69566"/>
                      </a:lnTo>
                      <a:lnTo>
                        <a:pt x="116036" y="70560"/>
                      </a:lnTo>
                      <a:lnTo>
                        <a:pt x="115050" y="71644"/>
                      </a:lnTo>
                      <a:lnTo>
                        <a:pt x="113444" y="74497"/>
                      </a:lnTo>
                      <a:lnTo>
                        <a:pt x="112140" y="77651"/>
                      </a:lnTo>
                      <a:lnTo>
                        <a:pt x="111635" y="79362"/>
                      </a:lnTo>
                      <a:lnTo>
                        <a:pt x="111896" y="80161"/>
                      </a:lnTo>
                      <a:lnTo>
                        <a:pt x="113371" y="80185"/>
                      </a:lnTo>
                      <a:lnTo>
                        <a:pt x="115490" y="80829"/>
                      </a:lnTo>
                      <a:lnTo>
                        <a:pt x="116631" y="82092"/>
                      </a:lnTo>
                      <a:lnTo>
                        <a:pt x="117046" y="83543"/>
                      </a:lnTo>
                      <a:lnTo>
                        <a:pt x="117046" y="85108"/>
                      </a:lnTo>
                      <a:lnTo>
                        <a:pt x="116655" y="85971"/>
                      </a:lnTo>
                      <a:lnTo>
                        <a:pt x="114952" y="86591"/>
                      </a:lnTo>
                      <a:lnTo>
                        <a:pt x="112279" y="86615"/>
                      </a:lnTo>
                      <a:lnTo>
                        <a:pt x="110739" y="85874"/>
                      </a:lnTo>
                      <a:lnTo>
                        <a:pt x="110413" y="85279"/>
                      </a:lnTo>
                      <a:lnTo>
                        <a:pt x="111162" y="83771"/>
                      </a:lnTo>
                      <a:lnTo>
                        <a:pt x="110616" y="81889"/>
                      </a:lnTo>
                      <a:lnTo>
                        <a:pt x="109516" y="80837"/>
                      </a:lnTo>
                      <a:lnTo>
                        <a:pt x="107283" y="82410"/>
                      </a:lnTo>
                      <a:lnTo>
                        <a:pt x="105123" y="82410"/>
                      </a:lnTo>
                      <a:lnTo>
                        <a:pt x="102532" y="83804"/>
                      </a:lnTo>
                      <a:lnTo>
                        <a:pt x="100845" y="86037"/>
                      </a:lnTo>
                      <a:lnTo>
                        <a:pt x="99231" y="86868"/>
                      </a:lnTo>
                      <a:lnTo>
                        <a:pt x="94847" y="86404"/>
                      </a:lnTo>
                      <a:lnTo>
                        <a:pt x="93755" y="87398"/>
                      </a:lnTo>
                      <a:lnTo>
                        <a:pt x="92866" y="91953"/>
                      </a:lnTo>
                      <a:lnTo>
                        <a:pt x="92345" y="92842"/>
                      </a:lnTo>
                      <a:lnTo>
                        <a:pt x="88686" y="92646"/>
                      </a:lnTo>
                      <a:lnTo>
                        <a:pt x="85157" y="94464"/>
                      </a:lnTo>
                      <a:lnTo>
                        <a:pt x="81172" y="95930"/>
                      </a:lnTo>
                      <a:lnTo>
                        <a:pt x="79158" y="94912"/>
                      </a:lnTo>
                      <a:lnTo>
                        <a:pt x="78026" y="93763"/>
                      </a:lnTo>
                      <a:lnTo>
                        <a:pt x="75858" y="93966"/>
                      </a:lnTo>
                      <a:lnTo>
                        <a:pt x="73502" y="94472"/>
                      </a:lnTo>
                      <a:lnTo>
                        <a:pt x="71905" y="94195"/>
                      </a:lnTo>
                      <a:lnTo>
                        <a:pt x="70120" y="94317"/>
                      </a:lnTo>
                      <a:lnTo>
                        <a:pt x="66681" y="95197"/>
                      </a:lnTo>
                      <a:lnTo>
                        <a:pt x="62346" y="94912"/>
                      </a:lnTo>
                      <a:lnTo>
                        <a:pt x="60504" y="94162"/>
                      </a:lnTo>
                      <a:lnTo>
                        <a:pt x="60333" y="93437"/>
                      </a:lnTo>
                      <a:lnTo>
                        <a:pt x="60471" y="91668"/>
                      </a:lnTo>
                      <a:lnTo>
                        <a:pt x="60422" y="88914"/>
                      </a:lnTo>
                      <a:lnTo>
                        <a:pt x="59738" y="86485"/>
                      </a:lnTo>
                      <a:lnTo>
                        <a:pt x="57667" y="84325"/>
                      </a:lnTo>
                      <a:lnTo>
                        <a:pt x="55483" y="82826"/>
                      </a:lnTo>
                      <a:lnTo>
                        <a:pt x="52704" y="81269"/>
                      </a:lnTo>
                      <a:lnTo>
                        <a:pt x="50651" y="80593"/>
                      </a:lnTo>
                      <a:lnTo>
                        <a:pt x="49526" y="80422"/>
                      </a:lnTo>
                      <a:lnTo>
                        <a:pt x="49265" y="79525"/>
                      </a:lnTo>
                      <a:lnTo>
                        <a:pt x="48866" y="78751"/>
                      </a:lnTo>
                      <a:lnTo>
                        <a:pt x="47904" y="78074"/>
                      </a:lnTo>
                      <a:lnTo>
                        <a:pt x="45842" y="77153"/>
                      </a:lnTo>
                      <a:lnTo>
                        <a:pt x="44106" y="76966"/>
                      </a:lnTo>
                      <a:lnTo>
                        <a:pt x="42672" y="78441"/>
                      </a:lnTo>
                      <a:lnTo>
                        <a:pt x="41637" y="76591"/>
                      </a:lnTo>
                      <a:lnTo>
                        <a:pt x="40529" y="73282"/>
                      </a:lnTo>
                      <a:lnTo>
                        <a:pt x="40651" y="70634"/>
                      </a:lnTo>
                      <a:lnTo>
                        <a:pt x="41278" y="67993"/>
                      </a:lnTo>
                      <a:lnTo>
                        <a:pt x="44286" y="60178"/>
                      </a:lnTo>
                      <a:lnTo>
                        <a:pt x="44123" y="58931"/>
                      </a:lnTo>
                      <a:lnTo>
                        <a:pt x="41938" y="56738"/>
                      </a:lnTo>
                      <a:lnTo>
                        <a:pt x="39233" y="55149"/>
                      </a:lnTo>
                      <a:lnTo>
                        <a:pt x="37733" y="51783"/>
                      </a:lnTo>
                      <a:lnTo>
                        <a:pt x="32249" y="51588"/>
                      </a:lnTo>
                      <a:lnTo>
                        <a:pt x="27082" y="51767"/>
                      </a:lnTo>
                      <a:lnTo>
                        <a:pt x="25452" y="51604"/>
                      </a:lnTo>
                      <a:lnTo>
                        <a:pt x="20529" y="50194"/>
                      </a:lnTo>
                      <a:lnTo>
                        <a:pt x="15794" y="47929"/>
                      </a:lnTo>
                      <a:lnTo>
                        <a:pt x="12616" y="46592"/>
                      </a:lnTo>
                      <a:lnTo>
                        <a:pt x="9943" y="45101"/>
                      </a:lnTo>
                      <a:lnTo>
                        <a:pt x="8508" y="43536"/>
                      </a:lnTo>
                      <a:lnTo>
                        <a:pt x="6235" y="43960"/>
                      </a:lnTo>
                      <a:lnTo>
                        <a:pt x="4703" y="43968"/>
                      </a:lnTo>
                      <a:lnTo>
                        <a:pt x="4719" y="43691"/>
                      </a:lnTo>
                      <a:lnTo>
                        <a:pt x="3839" y="40920"/>
                      </a:lnTo>
                      <a:lnTo>
                        <a:pt x="4751" y="36674"/>
                      </a:lnTo>
                      <a:lnTo>
                        <a:pt x="3089" y="30456"/>
                      </a:lnTo>
                      <a:lnTo>
                        <a:pt x="391" y="22958"/>
                      </a:lnTo>
                      <a:lnTo>
                        <a:pt x="188" y="14922"/>
                      </a:lnTo>
                      <a:lnTo>
                        <a:pt x="0" y="13113"/>
                      </a:lnTo>
                      <a:lnTo>
                        <a:pt x="6666" y="8565"/>
                      </a:lnTo>
                      <a:lnTo>
                        <a:pt x="15061" y="3700"/>
                      </a:lnTo>
                      <a:lnTo>
                        <a:pt x="16976" y="3260"/>
                      </a:lnTo>
                      <a:lnTo>
                        <a:pt x="24718" y="375"/>
                      </a:lnTo>
                      <a:lnTo>
                        <a:pt x="25745" y="139"/>
                      </a:lnTo>
                      <a:lnTo>
                        <a:pt x="32721" y="676"/>
                      </a:lnTo>
                      <a:lnTo>
                        <a:pt x="38206" y="1361"/>
                      </a:lnTo>
                      <a:lnTo>
                        <a:pt x="42827" y="1279"/>
                      </a:lnTo>
                      <a:lnTo>
                        <a:pt x="45370" y="546"/>
                      </a:lnTo>
                      <a:lnTo>
                        <a:pt x="47668" y="1165"/>
                      </a:lnTo>
                      <a:lnTo>
                        <a:pt x="49518" y="3341"/>
                      </a:lnTo>
                      <a:lnTo>
                        <a:pt x="51417" y="3089"/>
                      </a:lnTo>
                      <a:lnTo>
                        <a:pt x="53308" y="1679"/>
                      </a:lnTo>
                      <a:lnTo>
                        <a:pt x="63649" y="2966"/>
                      </a:lnTo>
                      <a:lnTo>
                        <a:pt x="65980" y="2934"/>
                      </a:lnTo>
                      <a:lnTo>
                        <a:pt x="68596" y="3146"/>
                      </a:lnTo>
                      <a:lnTo>
                        <a:pt x="73462" y="4458"/>
                      </a:lnTo>
                      <a:lnTo>
                        <a:pt x="76249" y="5648"/>
                      </a:lnTo>
                      <a:lnTo>
                        <a:pt x="82378" y="4931"/>
                      </a:lnTo>
                      <a:lnTo>
                        <a:pt x="84994" y="4890"/>
                      </a:lnTo>
                      <a:lnTo>
                        <a:pt x="86371" y="4425"/>
                      </a:lnTo>
                      <a:lnTo>
                        <a:pt x="90601" y="1149"/>
                      </a:lnTo>
                      <a:lnTo>
                        <a:pt x="92434" y="595"/>
                      </a:lnTo>
                      <a:lnTo>
                        <a:pt x="94121" y="0"/>
                      </a:lnTo>
                      <a:lnTo>
                        <a:pt x="95653" y="505"/>
                      </a:lnTo>
                      <a:lnTo>
                        <a:pt x="96697" y="3252"/>
                      </a:lnTo>
                      <a:close/>
                    </a:path>
                  </a:pathLst>
                </a:custGeom>
                <a:solidFill>
                  <a:srgbClr val="D6D6D2"/>
                </a:solidFill>
                <a:ln w="6112" cap="rnd">
                  <a:solidFill>
                    <a:srgbClr val="FFFFFF"/>
                  </a:solidFill>
                  <a:prstDash val="solid"/>
                  <a:round/>
                </a:ln>
              </p:spPr>
              <p:txBody>
                <a:bodyPr rtlCol="0" anchor="ctr"/>
                <a:lstStyle/>
                <a:p>
                  <a:endParaRPr lang="en-US"/>
                </a:p>
              </p:txBody>
            </p:sp>
            <p:sp>
              <p:nvSpPr>
                <p:cNvPr id="689" name="Freeform: Shape 688">
                  <a:extLst>
                    <a:ext uri="{FF2B5EF4-FFF2-40B4-BE49-F238E27FC236}">
                      <a16:creationId xmlns:a16="http://schemas.microsoft.com/office/drawing/2014/main" id="{88163A4F-2E5B-40F9-AEF0-BA959D126016}"/>
                    </a:ext>
                  </a:extLst>
                </p:cNvPr>
                <p:cNvSpPr/>
                <p:nvPr/>
              </p:nvSpPr>
              <p:spPr>
                <a:xfrm>
                  <a:off x="6614575" y="5398409"/>
                  <a:ext cx="58010" cy="65996"/>
                </a:xfrm>
                <a:custGeom>
                  <a:avLst/>
                  <a:gdLst>
                    <a:gd name="connsiteX0" fmla="*/ 41800 w 58010"/>
                    <a:gd name="connsiteY0" fmla="*/ 48630 h 65996"/>
                    <a:gd name="connsiteX1" fmla="*/ 39559 w 58010"/>
                    <a:gd name="connsiteY1" fmla="*/ 49428 h 65996"/>
                    <a:gd name="connsiteX2" fmla="*/ 39241 w 58010"/>
                    <a:gd name="connsiteY2" fmla="*/ 49502 h 65996"/>
                    <a:gd name="connsiteX3" fmla="*/ 37815 w 58010"/>
                    <a:gd name="connsiteY3" fmla="*/ 49306 h 65996"/>
                    <a:gd name="connsiteX4" fmla="*/ 35908 w 58010"/>
                    <a:gd name="connsiteY4" fmla="*/ 49502 h 65996"/>
                    <a:gd name="connsiteX5" fmla="*/ 34409 w 58010"/>
                    <a:gd name="connsiteY5" fmla="*/ 49941 h 65996"/>
                    <a:gd name="connsiteX6" fmla="*/ 33243 w 58010"/>
                    <a:gd name="connsiteY6" fmla="*/ 50096 h 65996"/>
                    <a:gd name="connsiteX7" fmla="*/ 31352 w 58010"/>
                    <a:gd name="connsiteY7" fmla="*/ 52370 h 65996"/>
                    <a:gd name="connsiteX8" fmla="*/ 27888 w 58010"/>
                    <a:gd name="connsiteY8" fmla="*/ 58531 h 65996"/>
                    <a:gd name="connsiteX9" fmla="*/ 26960 w 58010"/>
                    <a:gd name="connsiteY9" fmla="*/ 59819 h 65996"/>
                    <a:gd name="connsiteX10" fmla="*/ 26707 w 58010"/>
                    <a:gd name="connsiteY10" fmla="*/ 62231 h 65996"/>
                    <a:gd name="connsiteX11" fmla="*/ 25908 w 58010"/>
                    <a:gd name="connsiteY11" fmla="*/ 64147 h 65996"/>
                    <a:gd name="connsiteX12" fmla="*/ 24930 w 58010"/>
                    <a:gd name="connsiteY12" fmla="*/ 65638 h 65996"/>
                    <a:gd name="connsiteX13" fmla="*/ 23969 w 58010"/>
                    <a:gd name="connsiteY13" fmla="*/ 65996 h 65996"/>
                    <a:gd name="connsiteX14" fmla="*/ 21084 w 58010"/>
                    <a:gd name="connsiteY14" fmla="*/ 65418 h 65996"/>
                    <a:gd name="connsiteX15" fmla="*/ 17392 w 58010"/>
                    <a:gd name="connsiteY15" fmla="*/ 64644 h 65996"/>
                    <a:gd name="connsiteX16" fmla="*/ 15248 w 58010"/>
                    <a:gd name="connsiteY16" fmla="*/ 62794 h 65996"/>
                    <a:gd name="connsiteX17" fmla="*/ 13341 w 58010"/>
                    <a:gd name="connsiteY17" fmla="*/ 60341 h 65996"/>
                    <a:gd name="connsiteX18" fmla="*/ 12339 w 58010"/>
                    <a:gd name="connsiteY18" fmla="*/ 58564 h 65996"/>
                    <a:gd name="connsiteX19" fmla="*/ 11280 w 58010"/>
                    <a:gd name="connsiteY19" fmla="*/ 57594 h 65996"/>
                    <a:gd name="connsiteX20" fmla="*/ 10921 w 58010"/>
                    <a:gd name="connsiteY20" fmla="*/ 57056 h 65996"/>
                    <a:gd name="connsiteX21" fmla="*/ 9421 w 58010"/>
                    <a:gd name="connsiteY21" fmla="*/ 56225 h 65996"/>
                    <a:gd name="connsiteX22" fmla="*/ 8851 w 58010"/>
                    <a:gd name="connsiteY22" fmla="*/ 55809 h 65996"/>
                    <a:gd name="connsiteX23" fmla="*/ 8354 w 58010"/>
                    <a:gd name="connsiteY23" fmla="*/ 55508 h 65996"/>
                    <a:gd name="connsiteX24" fmla="*/ 7750 w 58010"/>
                    <a:gd name="connsiteY24" fmla="*/ 54334 h 65996"/>
                    <a:gd name="connsiteX25" fmla="*/ 7392 w 58010"/>
                    <a:gd name="connsiteY25" fmla="*/ 53307 h 65996"/>
                    <a:gd name="connsiteX26" fmla="*/ 7539 w 58010"/>
                    <a:gd name="connsiteY26" fmla="*/ 50455 h 65996"/>
                    <a:gd name="connsiteX27" fmla="*/ 6471 w 58010"/>
                    <a:gd name="connsiteY27" fmla="*/ 48752 h 65996"/>
                    <a:gd name="connsiteX28" fmla="*/ 4662 w 58010"/>
                    <a:gd name="connsiteY28" fmla="*/ 45859 h 65996"/>
                    <a:gd name="connsiteX29" fmla="*/ 3513 w 58010"/>
                    <a:gd name="connsiteY29" fmla="*/ 43487 h 65996"/>
                    <a:gd name="connsiteX30" fmla="*/ 1956 w 58010"/>
                    <a:gd name="connsiteY30" fmla="*/ 40243 h 65996"/>
                    <a:gd name="connsiteX31" fmla="*/ 986 w 58010"/>
                    <a:gd name="connsiteY31" fmla="*/ 37456 h 65996"/>
                    <a:gd name="connsiteX32" fmla="*/ 0 w 58010"/>
                    <a:gd name="connsiteY32" fmla="*/ 34596 h 65996"/>
                    <a:gd name="connsiteX33" fmla="*/ 122 w 58010"/>
                    <a:gd name="connsiteY33" fmla="*/ 33357 h 65996"/>
                    <a:gd name="connsiteX34" fmla="*/ 1084 w 58010"/>
                    <a:gd name="connsiteY34" fmla="*/ 32526 h 65996"/>
                    <a:gd name="connsiteX35" fmla="*/ 3855 w 58010"/>
                    <a:gd name="connsiteY35" fmla="*/ 31067 h 65996"/>
                    <a:gd name="connsiteX36" fmla="*/ 6023 w 58010"/>
                    <a:gd name="connsiteY36" fmla="*/ 29950 h 65996"/>
                    <a:gd name="connsiteX37" fmla="*/ 7571 w 58010"/>
                    <a:gd name="connsiteY37" fmla="*/ 27905 h 65996"/>
                    <a:gd name="connsiteX38" fmla="*/ 9250 w 58010"/>
                    <a:gd name="connsiteY38" fmla="*/ 24849 h 65996"/>
                    <a:gd name="connsiteX39" fmla="*/ 10073 w 58010"/>
                    <a:gd name="connsiteY39" fmla="*/ 23023 h 65996"/>
                    <a:gd name="connsiteX40" fmla="*/ 10904 w 58010"/>
                    <a:gd name="connsiteY40" fmla="*/ 22184 h 65996"/>
                    <a:gd name="connsiteX41" fmla="*/ 11785 w 58010"/>
                    <a:gd name="connsiteY41" fmla="*/ 20888 h 65996"/>
                    <a:gd name="connsiteX42" fmla="*/ 13358 w 58010"/>
                    <a:gd name="connsiteY42" fmla="*/ 18035 h 65996"/>
                    <a:gd name="connsiteX43" fmla="*/ 15093 w 58010"/>
                    <a:gd name="connsiteY43" fmla="*/ 14841 h 65996"/>
                    <a:gd name="connsiteX44" fmla="*/ 16960 w 58010"/>
                    <a:gd name="connsiteY44" fmla="*/ 11426 h 65996"/>
                    <a:gd name="connsiteX45" fmla="*/ 19315 w 58010"/>
                    <a:gd name="connsiteY45" fmla="*/ 10448 h 65996"/>
                    <a:gd name="connsiteX46" fmla="*/ 22526 w 58010"/>
                    <a:gd name="connsiteY46" fmla="*/ 9307 h 65996"/>
                    <a:gd name="connsiteX47" fmla="*/ 25615 w 58010"/>
                    <a:gd name="connsiteY47" fmla="*/ 6324 h 65996"/>
                    <a:gd name="connsiteX48" fmla="*/ 29282 w 58010"/>
                    <a:gd name="connsiteY48" fmla="*/ 3806 h 65996"/>
                    <a:gd name="connsiteX49" fmla="*/ 35223 w 58010"/>
                    <a:gd name="connsiteY49" fmla="*/ 1084 h 65996"/>
                    <a:gd name="connsiteX50" fmla="*/ 37986 w 58010"/>
                    <a:gd name="connsiteY50" fmla="*/ 391 h 65996"/>
                    <a:gd name="connsiteX51" fmla="*/ 39029 w 58010"/>
                    <a:gd name="connsiteY51" fmla="*/ 0 h 65996"/>
                    <a:gd name="connsiteX52" fmla="*/ 39698 w 58010"/>
                    <a:gd name="connsiteY52" fmla="*/ 513 h 65996"/>
                    <a:gd name="connsiteX53" fmla="*/ 40415 w 58010"/>
                    <a:gd name="connsiteY53" fmla="*/ 2070 h 65996"/>
                    <a:gd name="connsiteX54" fmla="*/ 41417 w 58010"/>
                    <a:gd name="connsiteY54" fmla="*/ 3382 h 65996"/>
                    <a:gd name="connsiteX55" fmla="*/ 43764 w 58010"/>
                    <a:gd name="connsiteY55" fmla="*/ 5656 h 65996"/>
                    <a:gd name="connsiteX56" fmla="*/ 44758 w 58010"/>
                    <a:gd name="connsiteY56" fmla="*/ 6202 h 65996"/>
                    <a:gd name="connsiteX57" fmla="*/ 47171 w 58010"/>
                    <a:gd name="connsiteY57" fmla="*/ 9560 h 65996"/>
                    <a:gd name="connsiteX58" fmla="*/ 49762 w 58010"/>
                    <a:gd name="connsiteY58" fmla="*/ 11882 h 65996"/>
                    <a:gd name="connsiteX59" fmla="*/ 52745 w 58010"/>
                    <a:gd name="connsiteY59" fmla="*/ 14531 h 65996"/>
                    <a:gd name="connsiteX60" fmla="*/ 54766 w 58010"/>
                    <a:gd name="connsiteY60" fmla="*/ 15851 h 65996"/>
                    <a:gd name="connsiteX61" fmla="*/ 55802 w 58010"/>
                    <a:gd name="connsiteY61" fmla="*/ 16218 h 65996"/>
                    <a:gd name="connsiteX62" fmla="*/ 56657 w 58010"/>
                    <a:gd name="connsiteY62" fmla="*/ 18581 h 65996"/>
                    <a:gd name="connsiteX63" fmla="*/ 57521 w 58010"/>
                    <a:gd name="connsiteY63" fmla="*/ 20325 h 65996"/>
                    <a:gd name="connsiteX64" fmla="*/ 58010 w 58010"/>
                    <a:gd name="connsiteY64" fmla="*/ 21972 h 65996"/>
                    <a:gd name="connsiteX65" fmla="*/ 57912 w 58010"/>
                    <a:gd name="connsiteY65" fmla="*/ 23569 h 65996"/>
                    <a:gd name="connsiteX66" fmla="*/ 56967 w 58010"/>
                    <a:gd name="connsiteY66" fmla="*/ 27489 h 65996"/>
                    <a:gd name="connsiteX67" fmla="*/ 55598 w 58010"/>
                    <a:gd name="connsiteY67" fmla="*/ 31482 h 65996"/>
                    <a:gd name="connsiteX68" fmla="*/ 54497 w 58010"/>
                    <a:gd name="connsiteY68" fmla="*/ 33145 h 65996"/>
                    <a:gd name="connsiteX69" fmla="*/ 53153 w 58010"/>
                    <a:gd name="connsiteY69" fmla="*/ 34196 h 65996"/>
                    <a:gd name="connsiteX70" fmla="*/ 51841 w 58010"/>
                    <a:gd name="connsiteY70" fmla="*/ 35769 h 65996"/>
                    <a:gd name="connsiteX71" fmla="*/ 51352 w 58010"/>
                    <a:gd name="connsiteY71" fmla="*/ 38988 h 65996"/>
                    <a:gd name="connsiteX72" fmla="*/ 50748 w 58010"/>
                    <a:gd name="connsiteY72" fmla="*/ 42762 h 65996"/>
                    <a:gd name="connsiteX73" fmla="*/ 49037 w 58010"/>
                    <a:gd name="connsiteY73" fmla="*/ 44326 h 65996"/>
                    <a:gd name="connsiteX74" fmla="*/ 47709 w 58010"/>
                    <a:gd name="connsiteY74" fmla="*/ 45345 h 65996"/>
                    <a:gd name="connsiteX75" fmla="*/ 45867 w 58010"/>
                    <a:gd name="connsiteY75" fmla="*/ 46584 h 65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58010" h="65996">
                      <a:moveTo>
                        <a:pt x="41800" y="48630"/>
                      </a:moveTo>
                      <a:lnTo>
                        <a:pt x="39559" y="49428"/>
                      </a:lnTo>
                      <a:lnTo>
                        <a:pt x="39241" y="49502"/>
                      </a:lnTo>
                      <a:lnTo>
                        <a:pt x="37815" y="49306"/>
                      </a:lnTo>
                      <a:lnTo>
                        <a:pt x="35908" y="49502"/>
                      </a:lnTo>
                      <a:lnTo>
                        <a:pt x="34409" y="49941"/>
                      </a:lnTo>
                      <a:lnTo>
                        <a:pt x="33243" y="50096"/>
                      </a:lnTo>
                      <a:lnTo>
                        <a:pt x="31352" y="52370"/>
                      </a:lnTo>
                      <a:lnTo>
                        <a:pt x="27888" y="58531"/>
                      </a:lnTo>
                      <a:lnTo>
                        <a:pt x="26960" y="59819"/>
                      </a:lnTo>
                      <a:lnTo>
                        <a:pt x="26707" y="62231"/>
                      </a:lnTo>
                      <a:lnTo>
                        <a:pt x="25908" y="64147"/>
                      </a:lnTo>
                      <a:lnTo>
                        <a:pt x="24930" y="65638"/>
                      </a:lnTo>
                      <a:lnTo>
                        <a:pt x="23969" y="65996"/>
                      </a:lnTo>
                      <a:lnTo>
                        <a:pt x="21084" y="65418"/>
                      </a:lnTo>
                      <a:lnTo>
                        <a:pt x="17392" y="64644"/>
                      </a:lnTo>
                      <a:lnTo>
                        <a:pt x="15248" y="62794"/>
                      </a:lnTo>
                      <a:lnTo>
                        <a:pt x="13341" y="60341"/>
                      </a:lnTo>
                      <a:lnTo>
                        <a:pt x="12339" y="58564"/>
                      </a:lnTo>
                      <a:lnTo>
                        <a:pt x="11280" y="57594"/>
                      </a:lnTo>
                      <a:lnTo>
                        <a:pt x="10921" y="57056"/>
                      </a:lnTo>
                      <a:lnTo>
                        <a:pt x="9421" y="56225"/>
                      </a:lnTo>
                      <a:lnTo>
                        <a:pt x="8851" y="55809"/>
                      </a:lnTo>
                      <a:lnTo>
                        <a:pt x="8354" y="55508"/>
                      </a:lnTo>
                      <a:lnTo>
                        <a:pt x="7750" y="54334"/>
                      </a:lnTo>
                      <a:lnTo>
                        <a:pt x="7392" y="53307"/>
                      </a:lnTo>
                      <a:lnTo>
                        <a:pt x="7539" y="50455"/>
                      </a:lnTo>
                      <a:lnTo>
                        <a:pt x="6471" y="48752"/>
                      </a:lnTo>
                      <a:lnTo>
                        <a:pt x="4662" y="45859"/>
                      </a:lnTo>
                      <a:lnTo>
                        <a:pt x="3513" y="43487"/>
                      </a:lnTo>
                      <a:lnTo>
                        <a:pt x="1956" y="40243"/>
                      </a:lnTo>
                      <a:lnTo>
                        <a:pt x="986" y="37456"/>
                      </a:lnTo>
                      <a:lnTo>
                        <a:pt x="0" y="34596"/>
                      </a:lnTo>
                      <a:lnTo>
                        <a:pt x="122" y="33357"/>
                      </a:lnTo>
                      <a:lnTo>
                        <a:pt x="1084" y="32526"/>
                      </a:lnTo>
                      <a:lnTo>
                        <a:pt x="3855" y="31067"/>
                      </a:lnTo>
                      <a:lnTo>
                        <a:pt x="6023" y="29950"/>
                      </a:lnTo>
                      <a:lnTo>
                        <a:pt x="7571" y="27905"/>
                      </a:lnTo>
                      <a:lnTo>
                        <a:pt x="9250" y="24849"/>
                      </a:lnTo>
                      <a:lnTo>
                        <a:pt x="10073" y="23023"/>
                      </a:lnTo>
                      <a:lnTo>
                        <a:pt x="10904" y="22184"/>
                      </a:lnTo>
                      <a:lnTo>
                        <a:pt x="11785" y="20888"/>
                      </a:lnTo>
                      <a:lnTo>
                        <a:pt x="13358" y="18035"/>
                      </a:lnTo>
                      <a:lnTo>
                        <a:pt x="15093" y="14841"/>
                      </a:lnTo>
                      <a:lnTo>
                        <a:pt x="16960" y="11426"/>
                      </a:lnTo>
                      <a:lnTo>
                        <a:pt x="19315" y="10448"/>
                      </a:lnTo>
                      <a:lnTo>
                        <a:pt x="22526" y="9307"/>
                      </a:lnTo>
                      <a:lnTo>
                        <a:pt x="25615" y="6324"/>
                      </a:lnTo>
                      <a:lnTo>
                        <a:pt x="29282" y="3806"/>
                      </a:lnTo>
                      <a:lnTo>
                        <a:pt x="35223" y="1084"/>
                      </a:lnTo>
                      <a:lnTo>
                        <a:pt x="37986" y="391"/>
                      </a:lnTo>
                      <a:lnTo>
                        <a:pt x="39029" y="0"/>
                      </a:lnTo>
                      <a:lnTo>
                        <a:pt x="39698" y="513"/>
                      </a:lnTo>
                      <a:lnTo>
                        <a:pt x="40415" y="2070"/>
                      </a:lnTo>
                      <a:lnTo>
                        <a:pt x="41417" y="3382"/>
                      </a:lnTo>
                      <a:lnTo>
                        <a:pt x="43764" y="5656"/>
                      </a:lnTo>
                      <a:lnTo>
                        <a:pt x="44758" y="6202"/>
                      </a:lnTo>
                      <a:lnTo>
                        <a:pt x="47171" y="9560"/>
                      </a:lnTo>
                      <a:lnTo>
                        <a:pt x="49762" y="11882"/>
                      </a:lnTo>
                      <a:lnTo>
                        <a:pt x="52745" y="14531"/>
                      </a:lnTo>
                      <a:lnTo>
                        <a:pt x="54766" y="15851"/>
                      </a:lnTo>
                      <a:lnTo>
                        <a:pt x="55802" y="16218"/>
                      </a:lnTo>
                      <a:lnTo>
                        <a:pt x="56657" y="18581"/>
                      </a:lnTo>
                      <a:lnTo>
                        <a:pt x="57521" y="20325"/>
                      </a:lnTo>
                      <a:lnTo>
                        <a:pt x="58010" y="21972"/>
                      </a:lnTo>
                      <a:lnTo>
                        <a:pt x="57912" y="23569"/>
                      </a:lnTo>
                      <a:lnTo>
                        <a:pt x="56967" y="27489"/>
                      </a:lnTo>
                      <a:lnTo>
                        <a:pt x="55598" y="31482"/>
                      </a:lnTo>
                      <a:lnTo>
                        <a:pt x="54497" y="33145"/>
                      </a:lnTo>
                      <a:lnTo>
                        <a:pt x="53153" y="34196"/>
                      </a:lnTo>
                      <a:lnTo>
                        <a:pt x="51841" y="35769"/>
                      </a:lnTo>
                      <a:lnTo>
                        <a:pt x="51352" y="38988"/>
                      </a:lnTo>
                      <a:lnTo>
                        <a:pt x="50748" y="42762"/>
                      </a:lnTo>
                      <a:lnTo>
                        <a:pt x="49037" y="44326"/>
                      </a:lnTo>
                      <a:lnTo>
                        <a:pt x="47709" y="45345"/>
                      </a:lnTo>
                      <a:lnTo>
                        <a:pt x="45867" y="46584"/>
                      </a:lnTo>
                      <a:close/>
                    </a:path>
                  </a:pathLst>
                </a:custGeom>
                <a:solidFill>
                  <a:srgbClr val="D6D6D2"/>
                </a:solidFill>
                <a:ln w="6112" cap="flat">
                  <a:solidFill>
                    <a:srgbClr val="FFFFFF"/>
                  </a:solidFill>
                  <a:prstDash val="solid"/>
                  <a:miter/>
                </a:ln>
              </p:spPr>
              <p:txBody>
                <a:bodyPr rtlCol="0" anchor="ctr"/>
                <a:lstStyle/>
                <a:p>
                  <a:endParaRPr lang="en-US"/>
                </a:p>
              </p:txBody>
            </p:sp>
            <p:sp>
              <p:nvSpPr>
                <p:cNvPr id="690" name="Freeform: Shape 689">
                  <a:extLst>
                    <a:ext uri="{FF2B5EF4-FFF2-40B4-BE49-F238E27FC236}">
                      <a16:creationId xmlns:a16="http://schemas.microsoft.com/office/drawing/2014/main" id="{F3539E3C-B9EB-4B4A-AFE3-9D3109EFF88C}"/>
                    </a:ext>
                  </a:extLst>
                </p:cNvPr>
                <p:cNvSpPr/>
                <p:nvPr/>
              </p:nvSpPr>
              <p:spPr>
                <a:xfrm>
                  <a:off x="7920570" y="4229998"/>
                  <a:ext cx="53796" cy="116239"/>
                </a:xfrm>
                <a:custGeom>
                  <a:avLst/>
                  <a:gdLst>
                    <a:gd name="connsiteX0" fmla="*/ 6797 w 53796"/>
                    <a:gd name="connsiteY0" fmla="*/ 0 h 116239"/>
                    <a:gd name="connsiteX1" fmla="*/ 9185 w 53796"/>
                    <a:gd name="connsiteY1" fmla="*/ 163 h 116239"/>
                    <a:gd name="connsiteX2" fmla="*/ 11728 w 53796"/>
                    <a:gd name="connsiteY2" fmla="*/ 82 h 116239"/>
                    <a:gd name="connsiteX3" fmla="*/ 13504 w 53796"/>
                    <a:gd name="connsiteY3" fmla="*/ 497 h 116239"/>
                    <a:gd name="connsiteX4" fmla="*/ 16561 w 53796"/>
                    <a:gd name="connsiteY4" fmla="*/ 5143 h 116239"/>
                    <a:gd name="connsiteX5" fmla="*/ 24881 w 53796"/>
                    <a:gd name="connsiteY5" fmla="*/ 13463 h 116239"/>
                    <a:gd name="connsiteX6" fmla="*/ 29412 w 53796"/>
                    <a:gd name="connsiteY6" fmla="*/ 21923 h 116239"/>
                    <a:gd name="connsiteX7" fmla="*/ 29820 w 53796"/>
                    <a:gd name="connsiteY7" fmla="*/ 23773 h 116239"/>
                    <a:gd name="connsiteX8" fmla="*/ 30456 w 53796"/>
                    <a:gd name="connsiteY8" fmla="*/ 25370 h 116239"/>
                    <a:gd name="connsiteX9" fmla="*/ 31539 w 53796"/>
                    <a:gd name="connsiteY9" fmla="*/ 25810 h 116239"/>
                    <a:gd name="connsiteX10" fmla="*/ 32444 w 53796"/>
                    <a:gd name="connsiteY10" fmla="*/ 26544 h 116239"/>
                    <a:gd name="connsiteX11" fmla="*/ 36967 w 53796"/>
                    <a:gd name="connsiteY11" fmla="*/ 34694 h 116239"/>
                    <a:gd name="connsiteX12" fmla="*/ 37489 w 53796"/>
                    <a:gd name="connsiteY12" fmla="*/ 36307 h 116239"/>
                    <a:gd name="connsiteX13" fmla="*/ 37399 w 53796"/>
                    <a:gd name="connsiteY13" fmla="*/ 38084 h 116239"/>
                    <a:gd name="connsiteX14" fmla="*/ 37677 w 53796"/>
                    <a:gd name="connsiteY14" fmla="*/ 39404 h 116239"/>
                    <a:gd name="connsiteX15" fmla="*/ 38858 w 53796"/>
                    <a:gd name="connsiteY15" fmla="*/ 40072 h 116239"/>
                    <a:gd name="connsiteX16" fmla="*/ 40333 w 53796"/>
                    <a:gd name="connsiteY16" fmla="*/ 40415 h 116239"/>
                    <a:gd name="connsiteX17" fmla="*/ 41295 w 53796"/>
                    <a:gd name="connsiteY17" fmla="*/ 41637 h 116239"/>
                    <a:gd name="connsiteX18" fmla="*/ 42517 w 53796"/>
                    <a:gd name="connsiteY18" fmla="*/ 48141 h 116239"/>
                    <a:gd name="connsiteX19" fmla="*/ 42517 w 53796"/>
                    <a:gd name="connsiteY19" fmla="*/ 50170 h 116239"/>
                    <a:gd name="connsiteX20" fmla="*/ 42851 w 53796"/>
                    <a:gd name="connsiteY20" fmla="*/ 51034 h 116239"/>
                    <a:gd name="connsiteX21" fmla="*/ 48548 w 53796"/>
                    <a:gd name="connsiteY21" fmla="*/ 61156 h 116239"/>
                    <a:gd name="connsiteX22" fmla="*/ 48874 w 53796"/>
                    <a:gd name="connsiteY22" fmla="*/ 62386 h 116239"/>
                    <a:gd name="connsiteX23" fmla="*/ 48817 w 53796"/>
                    <a:gd name="connsiteY23" fmla="*/ 63307 h 116239"/>
                    <a:gd name="connsiteX24" fmla="*/ 48980 w 53796"/>
                    <a:gd name="connsiteY24" fmla="*/ 64106 h 116239"/>
                    <a:gd name="connsiteX25" fmla="*/ 50097 w 53796"/>
                    <a:gd name="connsiteY25" fmla="*/ 65899 h 116239"/>
                    <a:gd name="connsiteX26" fmla="*/ 51800 w 53796"/>
                    <a:gd name="connsiteY26" fmla="*/ 70715 h 116239"/>
                    <a:gd name="connsiteX27" fmla="*/ 52680 w 53796"/>
                    <a:gd name="connsiteY27" fmla="*/ 71807 h 116239"/>
                    <a:gd name="connsiteX28" fmla="*/ 53723 w 53796"/>
                    <a:gd name="connsiteY28" fmla="*/ 76021 h 116239"/>
                    <a:gd name="connsiteX29" fmla="*/ 53796 w 53796"/>
                    <a:gd name="connsiteY29" fmla="*/ 84073 h 116239"/>
                    <a:gd name="connsiteX30" fmla="*/ 53413 w 53796"/>
                    <a:gd name="connsiteY30" fmla="*/ 87650 h 116239"/>
                    <a:gd name="connsiteX31" fmla="*/ 52346 w 53796"/>
                    <a:gd name="connsiteY31" fmla="*/ 92011 h 116239"/>
                    <a:gd name="connsiteX32" fmla="*/ 51091 w 53796"/>
                    <a:gd name="connsiteY32" fmla="*/ 96273 h 116239"/>
                    <a:gd name="connsiteX33" fmla="*/ 49722 w 53796"/>
                    <a:gd name="connsiteY33" fmla="*/ 99345 h 116239"/>
                    <a:gd name="connsiteX34" fmla="*/ 47855 w 53796"/>
                    <a:gd name="connsiteY34" fmla="*/ 101953 h 116239"/>
                    <a:gd name="connsiteX35" fmla="*/ 41474 w 53796"/>
                    <a:gd name="connsiteY35" fmla="*/ 107487 h 116239"/>
                    <a:gd name="connsiteX36" fmla="*/ 39648 w 53796"/>
                    <a:gd name="connsiteY36" fmla="*/ 108595 h 116239"/>
                    <a:gd name="connsiteX37" fmla="*/ 31328 w 53796"/>
                    <a:gd name="connsiteY37" fmla="*/ 112067 h 116239"/>
                    <a:gd name="connsiteX38" fmla="*/ 25207 w 53796"/>
                    <a:gd name="connsiteY38" fmla="*/ 115351 h 116239"/>
                    <a:gd name="connsiteX39" fmla="*/ 19535 w 53796"/>
                    <a:gd name="connsiteY39" fmla="*/ 116240 h 116239"/>
                    <a:gd name="connsiteX40" fmla="*/ 13887 w 53796"/>
                    <a:gd name="connsiteY40" fmla="*/ 114422 h 116239"/>
                    <a:gd name="connsiteX41" fmla="*/ 9625 w 53796"/>
                    <a:gd name="connsiteY41" fmla="*/ 110119 h 116239"/>
                    <a:gd name="connsiteX42" fmla="*/ 7433 w 53796"/>
                    <a:gd name="connsiteY42" fmla="*/ 103779 h 116239"/>
                    <a:gd name="connsiteX43" fmla="*/ 5933 w 53796"/>
                    <a:gd name="connsiteY43" fmla="*/ 97161 h 116239"/>
                    <a:gd name="connsiteX44" fmla="*/ 3749 w 53796"/>
                    <a:gd name="connsiteY44" fmla="*/ 89810 h 116239"/>
                    <a:gd name="connsiteX45" fmla="*/ 2087 w 53796"/>
                    <a:gd name="connsiteY45" fmla="*/ 67089 h 116239"/>
                    <a:gd name="connsiteX46" fmla="*/ 1288 w 53796"/>
                    <a:gd name="connsiteY46" fmla="*/ 60732 h 116239"/>
                    <a:gd name="connsiteX47" fmla="*/ 0 w 53796"/>
                    <a:gd name="connsiteY47" fmla="*/ 52631 h 116239"/>
                    <a:gd name="connsiteX48" fmla="*/ 122 w 53796"/>
                    <a:gd name="connsiteY48" fmla="*/ 49119 h 116239"/>
                    <a:gd name="connsiteX49" fmla="*/ 1035 w 53796"/>
                    <a:gd name="connsiteY49" fmla="*/ 45753 h 116239"/>
                    <a:gd name="connsiteX50" fmla="*/ 1027 w 53796"/>
                    <a:gd name="connsiteY50" fmla="*/ 53136 h 116239"/>
                    <a:gd name="connsiteX51" fmla="*/ 1875 w 53796"/>
                    <a:gd name="connsiteY51" fmla="*/ 54049 h 116239"/>
                    <a:gd name="connsiteX52" fmla="*/ 2502 w 53796"/>
                    <a:gd name="connsiteY52" fmla="*/ 53096 h 116239"/>
                    <a:gd name="connsiteX53" fmla="*/ 3073 w 53796"/>
                    <a:gd name="connsiteY53" fmla="*/ 45451 h 116239"/>
                    <a:gd name="connsiteX54" fmla="*/ 3545 w 53796"/>
                    <a:gd name="connsiteY54" fmla="*/ 42216 h 116239"/>
                    <a:gd name="connsiteX55" fmla="*/ 5803 w 53796"/>
                    <a:gd name="connsiteY55" fmla="*/ 33781 h 116239"/>
                    <a:gd name="connsiteX56" fmla="*/ 5844 w 53796"/>
                    <a:gd name="connsiteY56" fmla="*/ 32281 h 116239"/>
                    <a:gd name="connsiteX57" fmla="*/ 5452 w 53796"/>
                    <a:gd name="connsiteY57" fmla="*/ 29111 h 116239"/>
                    <a:gd name="connsiteX58" fmla="*/ 5477 w 53796"/>
                    <a:gd name="connsiteY58" fmla="*/ 27522 h 116239"/>
                    <a:gd name="connsiteX59" fmla="*/ 8851 w 53796"/>
                    <a:gd name="connsiteY59" fmla="*/ 21605 h 116239"/>
                    <a:gd name="connsiteX60" fmla="*/ 9707 w 53796"/>
                    <a:gd name="connsiteY60" fmla="*/ 18158 h 116239"/>
                    <a:gd name="connsiteX61" fmla="*/ 10179 w 53796"/>
                    <a:gd name="connsiteY61" fmla="*/ 14637 h 116239"/>
                    <a:gd name="connsiteX62" fmla="*/ 9992 w 53796"/>
                    <a:gd name="connsiteY62" fmla="*/ 10831 h 116239"/>
                    <a:gd name="connsiteX63" fmla="*/ 9389 w 53796"/>
                    <a:gd name="connsiteY63" fmla="*/ 7074 h 116239"/>
                    <a:gd name="connsiteX64" fmla="*/ 12111 w 53796"/>
                    <a:gd name="connsiteY64" fmla="*/ 8272 h 116239"/>
                    <a:gd name="connsiteX65" fmla="*/ 13610 w 53796"/>
                    <a:gd name="connsiteY65" fmla="*/ 9584 h 116239"/>
                    <a:gd name="connsiteX66" fmla="*/ 15142 w 53796"/>
                    <a:gd name="connsiteY66" fmla="*/ 10464 h 116239"/>
                    <a:gd name="connsiteX67" fmla="*/ 16381 w 53796"/>
                    <a:gd name="connsiteY67" fmla="*/ 10008 h 116239"/>
                    <a:gd name="connsiteX68" fmla="*/ 17881 w 53796"/>
                    <a:gd name="connsiteY68" fmla="*/ 10000 h 116239"/>
                    <a:gd name="connsiteX69" fmla="*/ 16813 w 53796"/>
                    <a:gd name="connsiteY69" fmla="*/ 7954 h 116239"/>
                    <a:gd name="connsiteX70" fmla="*/ 13643 w 53796"/>
                    <a:gd name="connsiteY70" fmla="*/ 6072 h 116239"/>
                    <a:gd name="connsiteX71" fmla="*/ 8386 w 53796"/>
                    <a:gd name="connsiteY71" fmla="*/ 4906 h 116239"/>
                    <a:gd name="connsiteX72" fmla="*/ 6740 w 53796"/>
                    <a:gd name="connsiteY72" fmla="*/ 3407 h 116239"/>
                    <a:gd name="connsiteX73" fmla="*/ 6112 w 53796"/>
                    <a:gd name="connsiteY73" fmla="*/ 2111 h 116239"/>
                    <a:gd name="connsiteX74" fmla="*/ 6430 w 53796"/>
                    <a:gd name="connsiteY74" fmla="*/ 595 h 116239"/>
                    <a:gd name="connsiteX75" fmla="*/ 6797 w 53796"/>
                    <a:gd name="connsiteY75" fmla="*/ 0 h 116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53796" h="116239">
                      <a:moveTo>
                        <a:pt x="6797" y="0"/>
                      </a:moveTo>
                      <a:lnTo>
                        <a:pt x="9185" y="163"/>
                      </a:lnTo>
                      <a:lnTo>
                        <a:pt x="11728" y="82"/>
                      </a:lnTo>
                      <a:lnTo>
                        <a:pt x="13504" y="497"/>
                      </a:lnTo>
                      <a:lnTo>
                        <a:pt x="16561" y="5143"/>
                      </a:lnTo>
                      <a:lnTo>
                        <a:pt x="24881" y="13463"/>
                      </a:lnTo>
                      <a:lnTo>
                        <a:pt x="29412" y="21923"/>
                      </a:lnTo>
                      <a:lnTo>
                        <a:pt x="29820" y="23773"/>
                      </a:lnTo>
                      <a:lnTo>
                        <a:pt x="30456" y="25370"/>
                      </a:lnTo>
                      <a:lnTo>
                        <a:pt x="31539" y="25810"/>
                      </a:lnTo>
                      <a:lnTo>
                        <a:pt x="32444" y="26544"/>
                      </a:lnTo>
                      <a:lnTo>
                        <a:pt x="36967" y="34694"/>
                      </a:lnTo>
                      <a:lnTo>
                        <a:pt x="37489" y="36307"/>
                      </a:lnTo>
                      <a:lnTo>
                        <a:pt x="37399" y="38084"/>
                      </a:lnTo>
                      <a:lnTo>
                        <a:pt x="37677" y="39404"/>
                      </a:lnTo>
                      <a:lnTo>
                        <a:pt x="38858" y="40072"/>
                      </a:lnTo>
                      <a:lnTo>
                        <a:pt x="40333" y="40415"/>
                      </a:lnTo>
                      <a:lnTo>
                        <a:pt x="41295" y="41637"/>
                      </a:lnTo>
                      <a:lnTo>
                        <a:pt x="42517" y="48141"/>
                      </a:lnTo>
                      <a:lnTo>
                        <a:pt x="42517" y="50170"/>
                      </a:lnTo>
                      <a:lnTo>
                        <a:pt x="42851" y="51034"/>
                      </a:lnTo>
                      <a:lnTo>
                        <a:pt x="48548" y="61156"/>
                      </a:lnTo>
                      <a:lnTo>
                        <a:pt x="48874" y="62386"/>
                      </a:lnTo>
                      <a:lnTo>
                        <a:pt x="48817" y="63307"/>
                      </a:lnTo>
                      <a:lnTo>
                        <a:pt x="48980" y="64106"/>
                      </a:lnTo>
                      <a:lnTo>
                        <a:pt x="50097" y="65899"/>
                      </a:lnTo>
                      <a:lnTo>
                        <a:pt x="51800" y="70715"/>
                      </a:lnTo>
                      <a:lnTo>
                        <a:pt x="52680" y="71807"/>
                      </a:lnTo>
                      <a:lnTo>
                        <a:pt x="53723" y="76021"/>
                      </a:lnTo>
                      <a:lnTo>
                        <a:pt x="53796" y="84073"/>
                      </a:lnTo>
                      <a:lnTo>
                        <a:pt x="53413" y="87650"/>
                      </a:lnTo>
                      <a:lnTo>
                        <a:pt x="52346" y="92011"/>
                      </a:lnTo>
                      <a:lnTo>
                        <a:pt x="51091" y="96273"/>
                      </a:lnTo>
                      <a:lnTo>
                        <a:pt x="49722" y="99345"/>
                      </a:lnTo>
                      <a:lnTo>
                        <a:pt x="47855" y="101953"/>
                      </a:lnTo>
                      <a:lnTo>
                        <a:pt x="41474" y="107487"/>
                      </a:lnTo>
                      <a:lnTo>
                        <a:pt x="39648" y="108595"/>
                      </a:lnTo>
                      <a:lnTo>
                        <a:pt x="31328" y="112067"/>
                      </a:lnTo>
                      <a:lnTo>
                        <a:pt x="25207" y="115351"/>
                      </a:lnTo>
                      <a:lnTo>
                        <a:pt x="19535" y="116240"/>
                      </a:lnTo>
                      <a:lnTo>
                        <a:pt x="13887" y="114422"/>
                      </a:lnTo>
                      <a:lnTo>
                        <a:pt x="9625" y="110119"/>
                      </a:lnTo>
                      <a:lnTo>
                        <a:pt x="7433" y="103779"/>
                      </a:lnTo>
                      <a:lnTo>
                        <a:pt x="5933" y="97161"/>
                      </a:lnTo>
                      <a:lnTo>
                        <a:pt x="3749" y="89810"/>
                      </a:lnTo>
                      <a:lnTo>
                        <a:pt x="2087" y="67089"/>
                      </a:lnTo>
                      <a:lnTo>
                        <a:pt x="1288" y="60732"/>
                      </a:lnTo>
                      <a:lnTo>
                        <a:pt x="0" y="52631"/>
                      </a:lnTo>
                      <a:lnTo>
                        <a:pt x="122" y="49119"/>
                      </a:lnTo>
                      <a:lnTo>
                        <a:pt x="1035" y="45753"/>
                      </a:lnTo>
                      <a:lnTo>
                        <a:pt x="1027" y="53136"/>
                      </a:lnTo>
                      <a:lnTo>
                        <a:pt x="1875" y="54049"/>
                      </a:lnTo>
                      <a:lnTo>
                        <a:pt x="2502" y="53096"/>
                      </a:lnTo>
                      <a:lnTo>
                        <a:pt x="3073" y="45451"/>
                      </a:lnTo>
                      <a:lnTo>
                        <a:pt x="3545" y="42216"/>
                      </a:lnTo>
                      <a:lnTo>
                        <a:pt x="5803" y="33781"/>
                      </a:lnTo>
                      <a:lnTo>
                        <a:pt x="5844" y="32281"/>
                      </a:lnTo>
                      <a:lnTo>
                        <a:pt x="5452" y="29111"/>
                      </a:lnTo>
                      <a:lnTo>
                        <a:pt x="5477" y="27522"/>
                      </a:lnTo>
                      <a:lnTo>
                        <a:pt x="8851" y="21605"/>
                      </a:lnTo>
                      <a:lnTo>
                        <a:pt x="9707" y="18158"/>
                      </a:lnTo>
                      <a:lnTo>
                        <a:pt x="10179" y="14637"/>
                      </a:lnTo>
                      <a:lnTo>
                        <a:pt x="9992" y="10831"/>
                      </a:lnTo>
                      <a:lnTo>
                        <a:pt x="9389" y="7074"/>
                      </a:lnTo>
                      <a:lnTo>
                        <a:pt x="12111" y="8272"/>
                      </a:lnTo>
                      <a:lnTo>
                        <a:pt x="13610" y="9584"/>
                      </a:lnTo>
                      <a:lnTo>
                        <a:pt x="15142" y="10464"/>
                      </a:lnTo>
                      <a:lnTo>
                        <a:pt x="16381" y="10008"/>
                      </a:lnTo>
                      <a:lnTo>
                        <a:pt x="17881" y="10000"/>
                      </a:lnTo>
                      <a:lnTo>
                        <a:pt x="16813" y="7954"/>
                      </a:lnTo>
                      <a:lnTo>
                        <a:pt x="13643" y="6072"/>
                      </a:lnTo>
                      <a:lnTo>
                        <a:pt x="8386" y="4906"/>
                      </a:lnTo>
                      <a:lnTo>
                        <a:pt x="6740" y="3407"/>
                      </a:lnTo>
                      <a:lnTo>
                        <a:pt x="6112" y="2111"/>
                      </a:lnTo>
                      <a:lnTo>
                        <a:pt x="6430" y="595"/>
                      </a:lnTo>
                      <a:lnTo>
                        <a:pt x="6797" y="0"/>
                      </a:lnTo>
                      <a:close/>
                    </a:path>
                  </a:pathLst>
                </a:custGeom>
                <a:solidFill>
                  <a:srgbClr val="D6D6D2"/>
                </a:solidFill>
                <a:ln w="6112" cap="rnd">
                  <a:solidFill>
                    <a:srgbClr val="FFFFFF"/>
                  </a:solidFill>
                  <a:prstDash val="solid"/>
                  <a:round/>
                </a:ln>
              </p:spPr>
              <p:txBody>
                <a:bodyPr rtlCol="0" anchor="ctr"/>
                <a:lstStyle/>
                <a:p>
                  <a:endParaRPr lang="en-US"/>
                </a:p>
              </p:txBody>
            </p:sp>
            <p:sp>
              <p:nvSpPr>
                <p:cNvPr id="691" name="Freeform: Shape 690">
                  <a:extLst>
                    <a:ext uri="{FF2B5EF4-FFF2-40B4-BE49-F238E27FC236}">
                      <a16:creationId xmlns:a16="http://schemas.microsoft.com/office/drawing/2014/main" id="{997BBF8F-1826-4989-B267-4D67441D34C8}"/>
                    </a:ext>
                  </a:extLst>
                </p:cNvPr>
                <p:cNvSpPr/>
                <p:nvPr/>
              </p:nvSpPr>
              <p:spPr>
                <a:xfrm>
                  <a:off x="6174547" y="3502341"/>
                  <a:ext cx="392882" cy="432750"/>
                </a:xfrm>
                <a:custGeom>
                  <a:avLst/>
                  <a:gdLst>
                    <a:gd name="connsiteX0" fmla="*/ 392882 w 392882"/>
                    <a:gd name="connsiteY0" fmla="*/ 49583 h 432750"/>
                    <a:gd name="connsiteX1" fmla="*/ 391921 w 392882"/>
                    <a:gd name="connsiteY1" fmla="*/ 50488 h 432750"/>
                    <a:gd name="connsiteX2" fmla="*/ 390559 w 392882"/>
                    <a:gd name="connsiteY2" fmla="*/ 52419 h 432750"/>
                    <a:gd name="connsiteX3" fmla="*/ 389696 w 392882"/>
                    <a:gd name="connsiteY3" fmla="*/ 54139 h 432750"/>
                    <a:gd name="connsiteX4" fmla="*/ 387406 w 392882"/>
                    <a:gd name="connsiteY4" fmla="*/ 56934 h 432750"/>
                    <a:gd name="connsiteX5" fmla="*/ 385482 w 392882"/>
                    <a:gd name="connsiteY5" fmla="*/ 59925 h 432750"/>
                    <a:gd name="connsiteX6" fmla="*/ 385662 w 392882"/>
                    <a:gd name="connsiteY6" fmla="*/ 64301 h 432750"/>
                    <a:gd name="connsiteX7" fmla="*/ 386102 w 392882"/>
                    <a:gd name="connsiteY7" fmla="*/ 68759 h 432750"/>
                    <a:gd name="connsiteX8" fmla="*/ 387389 w 392882"/>
                    <a:gd name="connsiteY8" fmla="*/ 73103 h 432750"/>
                    <a:gd name="connsiteX9" fmla="*/ 388498 w 392882"/>
                    <a:gd name="connsiteY9" fmla="*/ 77928 h 432750"/>
                    <a:gd name="connsiteX10" fmla="*/ 388188 w 392882"/>
                    <a:gd name="connsiteY10" fmla="*/ 81090 h 432750"/>
                    <a:gd name="connsiteX11" fmla="*/ 387226 w 392882"/>
                    <a:gd name="connsiteY11" fmla="*/ 84969 h 432750"/>
                    <a:gd name="connsiteX12" fmla="*/ 386102 w 392882"/>
                    <a:gd name="connsiteY12" fmla="*/ 88205 h 432750"/>
                    <a:gd name="connsiteX13" fmla="*/ 382353 w 392882"/>
                    <a:gd name="connsiteY13" fmla="*/ 94855 h 432750"/>
                    <a:gd name="connsiteX14" fmla="*/ 381782 w 392882"/>
                    <a:gd name="connsiteY14" fmla="*/ 96436 h 432750"/>
                    <a:gd name="connsiteX15" fmla="*/ 381986 w 392882"/>
                    <a:gd name="connsiteY15" fmla="*/ 98677 h 432750"/>
                    <a:gd name="connsiteX16" fmla="*/ 384276 w 392882"/>
                    <a:gd name="connsiteY16" fmla="*/ 106550 h 432750"/>
                    <a:gd name="connsiteX17" fmla="*/ 384456 w 392882"/>
                    <a:gd name="connsiteY17" fmla="*/ 109035 h 432750"/>
                    <a:gd name="connsiteX18" fmla="*/ 385817 w 392882"/>
                    <a:gd name="connsiteY18" fmla="*/ 116672 h 432750"/>
                    <a:gd name="connsiteX19" fmla="*/ 387064 w 392882"/>
                    <a:gd name="connsiteY19" fmla="*/ 122874 h 432750"/>
                    <a:gd name="connsiteX20" fmla="*/ 388432 w 392882"/>
                    <a:gd name="connsiteY20" fmla="*/ 127755 h 432750"/>
                    <a:gd name="connsiteX21" fmla="*/ 388644 w 392882"/>
                    <a:gd name="connsiteY21" fmla="*/ 129100 h 432750"/>
                    <a:gd name="connsiteX22" fmla="*/ 388644 w 392882"/>
                    <a:gd name="connsiteY22" fmla="*/ 136272 h 432750"/>
                    <a:gd name="connsiteX23" fmla="*/ 388644 w 392882"/>
                    <a:gd name="connsiteY23" fmla="*/ 143443 h 432750"/>
                    <a:gd name="connsiteX24" fmla="*/ 388644 w 392882"/>
                    <a:gd name="connsiteY24" fmla="*/ 150599 h 432750"/>
                    <a:gd name="connsiteX25" fmla="*/ 388644 w 392882"/>
                    <a:gd name="connsiteY25" fmla="*/ 157754 h 432750"/>
                    <a:gd name="connsiteX26" fmla="*/ 388644 w 392882"/>
                    <a:gd name="connsiteY26" fmla="*/ 164902 h 432750"/>
                    <a:gd name="connsiteX27" fmla="*/ 388644 w 392882"/>
                    <a:gd name="connsiteY27" fmla="*/ 172041 h 432750"/>
                    <a:gd name="connsiteX28" fmla="*/ 388644 w 392882"/>
                    <a:gd name="connsiteY28" fmla="*/ 179172 h 432750"/>
                    <a:gd name="connsiteX29" fmla="*/ 388644 w 392882"/>
                    <a:gd name="connsiteY29" fmla="*/ 186295 h 432750"/>
                    <a:gd name="connsiteX30" fmla="*/ 388644 w 392882"/>
                    <a:gd name="connsiteY30" fmla="*/ 193418 h 432750"/>
                    <a:gd name="connsiteX31" fmla="*/ 388644 w 392882"/>
                    <a:gd name="connsiteY31" fmla="*/ 200532 h 432750"/>
                    <a:gd name="connsiteX32" fmla="*/ 388644 w 392882"/>
                    <a:gd name="connsiteY32" fmla="*/ 207631 h 432750"/>
                    <a:gd name="connsiteX33" fmla="*/ 388644 w 392882"/>
                    <a:gd name="connsiteY33" fmla="*/ 214729 h 432750"/>
                    <a:gd name="connsiteX34" fmla="*/ 388644 w 392882"/>
                    <a:gd name="connsiteY34" fmla="*/ 221828 h 432750"/>
                    <a:gd name="connsiteX35" fmla="*/ 388644 w 392882"/>
                    <a:gd name="connsiteY35" fmla="*/ 228910 h 432750"/>
                    <a:gd name="connsiteX36" fmla="*/ 388644 w 392882"/>
                    <a:gd name="connsiteY36" fmla="*/ 235992 h 432750"/>
                    <a:gd name="connsiteX37" fmla="*/ 388644 w 392882"/>
                    <a:gd name="connsiteY37" fmla="*/ 243066 h 432750"/>
                    <a:gd name="connsiteX38" fmla="*/ 388644 w 392882"/>
                    <a:gd name="connsiteY38" fmla="*/ 250132 h 432750"/>
                    <a:gd name="connsiteX39" fmla="*/ 388644 w 392882"/>
                    <a:gd name="connsiteY39" fmla="*/ 257189 h 432750"/>
                    <a:gd name="connsiteX40" fmla="*/ 388644 w 392882"/>
                    <a:gd name="connsiteY40" fmla="*/ 264247 h 432750"/>
                    <a:gd name="connsiteX41" fmla="*/ 388644 w 392882"/>
                    <a:gd name="connsiteY41" fmla="*/ 271297 h 432750"/>
                    <a:gd name="connsiteX42" fmla="*/ 388644 w 392882"/>
                    <a:gd name="connsiteY42" fmla="*/ 278338 h 432750"/>
                    <a:gd name="connsiteX43" fmla="*/ 388644 w 392882"/>
                    <a:gd name="connsiteY43" fmla="*/ 285371 h 432750"/>
                    <a:gd name="connsiteX44" fmla="*/ 388644 w 392882"/>
                    <a:gd name="connsiteY44" fmla="*/ 292404 h 432750"/>
                    <a:gd name="connsiteX45" fmla="*/ 388644 w 392882"/>
                    <a:gd name="connsiteY45" fmla="*/ 299429 h 432750"/>
                    <a:gd name="connsiteX46" fmla="*/ 388644 w 392882"/>
                    <a:gd name="connsiteY46" fmla="*/ 306446 h 432750"/>
                    <a:gd name="connsiteX47" fmla="*/ 388644 w 392882"/>
                    <a:gd name="connsiteY47" fmla="*/ 313463 h 432750"/>
                    <a:gd name="connsiteX48" fmla="*/ 388644 w 392882"/>
                    <a:gd name="connsiteY48" fmla="*/ 320464 h 432750"/>
                    <a:gd name="connsiteX49" fmla="*/ 388644 w 392882"/>
                    <a:gd name="connsiteY49" fmla="*/ 327465 h 432750"/>
                    <a:gd name="connsiteX50" fmla="*/ 388644 w 392882"/>
                    <a:gd name="connsiteY50" fmla="*/ 334465 h 432750"/>
                    <a:gd name="connsiteX51" fmla="*/ 388644 w 392882"/>
                    <a:gd name="connsiteY51" fmla="*/ 341457 h 432750"/>
                    <a:gd name="connsiteX52" fmla="*/ 388644 w 392882"/>
                    <a:gd name="connsiteY52" fmla="*/ 348442 h 432750"/>
                    <a:gd name="connsiteX53" fmla="*/ 388644 w 392882"/>
                    <a:gd name="connsiteY53" fmla="*/ 355418 h 432750"/>
                    <a:gd name="connsiteX54" fmla="*/ 388636 w 392882"/>
                    <a:gd name="connsiteY54" fmla="*/ 370886 h 432750"/>
                    <a:gd name="connsiteX55" fmla="*/ 388636 w 392882"/>
                    <a:gd name="connsiteY55" fmla="*/ 386338 h 432750"/>
                    <a:gd name="connsiteX56" fmla="*/ 388628 w 392882"/>
                    <a:gd name="connsiteY56" fmla="*/ 401749 h 432750"/>
                    <a:gd name="connsiteX57" fmla="*/ 388620 w 392882"/>
                    <a:gd name="connsiteY57" fmla="*/ 417152 h 432750"/>
                    <a:gd name="connsiteX58" fmla="*/ 388555 w 392882"/>
                    <a:gd name="connsiteY58" fmla="*/ 417201 h 432750"/>
                    <a:gd name="connsiteX59" fmla="*/ 388473 w 392882"/>
                    <a:gd name="connsiteY59" fmla="*/ 417258 h 432750"/>
                    <a:gd name="connsiteX60" fmla="*/ 388400 w 392882"/>
                    <a:gd name="connsiteY60" fmla="*/ 417315 h 432750"/>
                    <a:gd name="connsiteX61" fmla="*/ 388319 w 392882"/>
                    <a:gd name="connsiteY61" fmla="*/ 417364 h 432750"/>
                    <a:gd name="connsiteX62" fmla="*/ 382206 w 392882"/>
                    <a:gd name="connsiteY62" fmla="*/ 417364 h 432750"/>
                    <a:gd name="connsiteX63" fmla="*/ 376078 w 392882"/>
                    <a:gd name="connsiteY63" fmla="*/ 417364 h 432750"/>
                    <a:gd name="connsiteX64" fmla="*/ 369965 w 392882"/>
                    <a:gd name="connsiteY64" fmla="*/ 417356 h 432750"/>
                    <a:gd name="connsiteX65" fmla="*/ 363845 w 392882"/>
                    <a:gd name="connsiteY65" fmla="*/ 417356 h 432750"/>
                    <a:gd name="connsiteX66" fmla="*/ 363845 w 392882"/>
                    <a:gd name="connsiteY66" fmla="*/ 421211 h 432750"/>
                    <a:gd name="connsiteX67" fmla="*/ 363845 w 392882"/>
                    <a:gd name="connsiteY67" fmla="*/ 425058 h 432750"/>
                    <a:gd name="connsiteX68" fmla="*/ 363845 w 392882"/>
                    <a:gd name="connsiteY68" fmla="*/ 428904 h 432750"/>
                    <a:gd name="connsiteX69" fmla="*/ 363845 w 392882"/>
                    <a:gd name="connsiteY69" fmla="*/ 432751 h 432750"/>
                    <a:gd name="connsiteX70" fmla="*/ 351971 w 392882"/>
                    <a:gd name="connsiteY70" fmla="*/ 425465 h 432750"/>
                    <a:gd name="connsiteX71" fmla="*/ 340088 w 392882"/>
                    <a:gd name="connsiteY71" fmla="*/ 418163 h 432750"/>
                    <a:gd name="connsiteX72" fmla="*/ 328198 w 392882"/>
                    <a:gd name="connsiteY72" fmla="*/ 410853 h 432750"/>
                    <a:gd name="connsiteX73" fmla="*/ 316315 w 392882"/>
                    <a:gd name="connsiteY73" fmla="*/ 403550 h 432750"/>
                    <a:gd name="connsiteX74" fmla="*/ 304433 w 392882"/>
                    <a:gd name="connsiteY74" fmla="*/ 396232 h 432750"/>
                    <a:gd name="connsiteX75" fmla="*/ 292551 w 392882"/>
                    <a:gd name="connsiteY75" fmla="*/ 388913 h 432750"/>
                    <a:gd name="connsiteX76" fmla="*/ 280677 w 392882"/>
                    <a:gd name="connsiteY76" fmla="*/ 381587 h 432750"/>
                    <a:gd name="connsiteX77" fmla="*/ 268794 w 392882"/>
                    <a:gd name="connsiteY77" fmla="*/ 374244 h 432750"/>
                    <a:gd name="connsiteX78" fmla="*/ 256904 w 392882"/>
                    <a:gd name="connsiteY78" fmla="*/ 366909 h 432750"/>
                    <a:gd name="connsiteX79" fmla="*/ 245022 w 392882"/>
                    <a:gd name="connsiteY79" fmla="*/ 359566 h 432750"/>
                    <a:gd name="connsiteX80" fmla="*/ 233139 w 392882"/>
                    <a:gd name="connsiteY80" fmla="*/ 352215 h 432750"/>
                    <a:gd name="connsiteX81" fmla="*/ 221257 w 392882"/>
                    <a:gd name="connsiteY81" fmla="*/ 344864 h 432750"/>
                    <a:gd name="connsiteX82" fmla="*/ 209383 w 392882"/>
                    <a:gd name="connsiteY82" fmla="*/ 337497 h 432750"/>
                    <a:gd name="connsiteX83" fmla="*/ 197501 w 392882"/>
                    <a:gd name="connsiteY83" fmla="*/ 330129 h 432750"/>
                    <a:gd name="connsiteX84" fmla="*/ 185610 w 392882"/>
                    <a:gd name="connsiteY84" fmla="*/ 322754 h 432750"/>
                    <a:gd name="connsiteX85" fmla="*/ 173736 w 392882"/>
                    <a:gd name="connsiteY85" fmla="*/ 315378 h 432750"/>
                    <a:gd name="connsiteX86" fmla="*/ 165521 w 392882"/>
                    <a:gd name="connsiteY86" fmla="*/ 310277 h 432750"/>
                    <a:gd name="connsiteX87" fmla="*/ 156670 w 392882"/>
                    <a:gd name="connsiteY87" fmla="*/ 315256 h 432750"/>
                    <a:gd name="connsiteX88" fmla="*/ 149735 w 392882"/>
                    <a:gd name="connsiteY88" fmla="*/ 319152 h 432750"/>
                    <a:gd name="connsiteX89" fmla="*/ 140599 w 392882"/>
                    <a:gd name="connsiteY89" fmla="*/ 324286 h 432750"/>
                    <a:gd name="connsiteX90" fmla="*/ 140599 w 392882"/>
                    <a:gd name="connsiteY90" fmla="*/ 324278 h 432750"/>
                    <a:gd name="connsiteX91" fmla="*/ 130102 w 392882"/>
                    <a:gd name="connsiteY91" fmla="*/ 330944 h 432750"/>
                    <a:gd name="connsiteX92" fmla="*/ 122034 w 392882"/>
                    <a:gd name="connsiteY92" fmla="*/ 336054 h 432750"/>
                    <a:gd name="connsiteX93" fmla="*/ 121659 w 392882"/>
                    <a:gd name="connsiteY93" fmla="*/ 336013 h 432750"/>
                    <a:gd name="connsiteX94" fmla="*/ 121292 w 392882"/>
                    <a:gd name="connsiteY94" fmla="*/ 335891 h 432750"/>
                    <a:gd name="connsiteX95" fmla="*/ 112906 w 392882"/>
                    <a:gd name="connsiteY95" fmla="*/ 327220 h 432750"/>
                    <a:gd name="connsiteX96" fmla="*/ 106354 w 392882"/>
                    <a:gd name="connsiteY96" fmla="*/ 320439 h 432750"/>
                    <a:gd name="connsiteX97" fmla="*/ 103452 w 392882"/>
                    <a:gd name="connsiteY97" fmla="*/ 318549 h 432750"/>
                    <a:gd name="connsiteX98" fmla="*/ 91098 w 392882"/>
                    <a:gd name="connsiteY98" fmla="*/ 315085 h 432750"/>
                    <a:gd name="connsiteX99" fmla="*/ 78832 w 392882"/>
                    <a:gd name="connsiteY99" fmla="*/ 311638 h 432750"/>
                    <a:gd name="connsiteX100" fmla="*/ 65923 w 392882"/>
                    <a:gd name="connsiteY100" fmla="*/ 308003 h 432750"/>
                    <a:gd name="connsiteX101" fmla="*/ 63568 w 392882"/>
                    <a:gd name="connsiteY101" fmla="*/ 302477 h 432750"/>
                    <a:gd name="connsiteX102" fmla="*/ 60928 w 392882"/>
                    <a:gd name="connsiteY102" fmla="*/ 296292 h 432750"/>
                    <a:gd name="connsiteX103" fmla="*/ 57390 w 392882"/>
                    <a:gd name="connsiteY103" fmla="*/ 288558 h 432750"/>
                    <a:gd name="connsiteX104" fmla="*/ 55223 w 392882"/>
                    <a:gd name="connsiteY104" fmla="*/ 283831 h 432750"/>
                    <a:gd name="connsiteX105" fmla="*/ 54505 w 392882"/>
                    <a:gd name="connsiteY105" fmla="*/ 283089 h 432750"/>
                    <a:gd name="connsiteX106" fmla="*/ 44587 w 392882"/>
                    <a:gd name="connsiteY106" fmla="*/ 279340 h 432750"/>
                    <a:gd name="connsiteX107" fmla="*/ 34123 w 392882"/>
                    <a:gd name="connsiteY107" fmla="*/ 275665 h 432750"/>
                    <a:gd name="connsiteX108" fmla="*/ 27994 w 392882"/>
                    <a:gd name="connsiteY108" fmla="*/ 277890 h 432750"/>
                    <a:gd name="connsiteX109" fmla="*/ 26918 w 392882"/>
                    <a:gd name="connsiteY109" fmla="*/ 277719 h 432750"/>
                    <a:gd name="connsiteX110" fmla="*/ 25191 w 392882"/>
                    <a:gd name="connsiteY110" fmla="*/ 276325 h 432750"/>
                    <a:gd name="connsiteX111" fmla="*/ 23447 w 392882"/>
                    <a:gd name="connsiteY111" fmla="*/ 274418 h 432750"/>
                    <a:gd name="connsiteX112" fmla="*/ 22526 w 392882"/>
                    <a:gd name="connsiteY112" fmla="*/ 271745 h 432750"/>
                    <a:gd name="connsiteX113" fmla="*/ 20073 w 392882"/>
                    <a:gd name="connsiteY113" fmla="*/ 268167 h 432750"/>
                    <a:gd name="connsiteX114" fmla="*/ 17799 w 392882"/>
                    <a:gd name="connsiteY114" fmla="*/ 259977 h 432750"/>
                    <a:gd name="connsiteX115" fmla="*/ 17579 w 392882"/>
                    <a:gd name="connsiteY115" fmla="*/ 253457 h 432750"/>
                    <a:gd name="connsiteX116" fmla="*/ 17123 w 392882"/>
                    <a:gd name="connsiteY116" fmla="*/ 251142 h 432750"/>
                    <a:gd name="connsiteX117" fmla="*/ 11670 w 392882"/>
                    <a:gd name="connsiteY117" fmla="*/ 241949 h 432750"/>
                    <a:gd name="connsiteX118" fmla="*/ 6724 w 392882"/>
                    <a:gd name="connsiteY118" fmla="*/ 233571 h 432750"/>
                    <a:gd name="connsiteX119" fmla="*/ 3423 w 392882"/>
                    <a:gd name="connsiteY119" fmla="*/ 227997 h 432750"/>
                    <a:gd name="connsiteX120" fmla="*/ 2779 w 392882"/>
                    <a:gd name="connsiteY120" fmla="*/ 225470 h 432750"/>
                    <a:gd name="connsiteX121" fmla="*/ 3162 w 392882"/>
                    <a:gd name="connsiteY121" fmla="*/ 222366 h 432750"/>
                    <a:gd name="connsiteX122" fmla="*/ 4491 w 392882"/>
                    <a:gd name="connsiteY122" fmla="*/ 219578 h 432750"/>
                    <a:gd name="connsiteX123" fmla="*/ 9291 w 392882"/>
                    <a:gd name="connsiteY123" fmla="*/ 216278 h 432750"/>
                    <a:gd name="connsiteX124" fmla="*/ 13626 w 392882"/>
                    <a:gd name="connsiteY124" fmla="*/ 212684 h 432750"/>
                    <a:gd name="connsiteX125" fmla="*/ 14213 w 392882"/>
                    <a:gd name="connsiteY125" fmla="*/ 210190 h 432750"/>
                    <a:gd name="connsiteX126" fmla="*/ 14490 w 392882"/>
                    <a:gd name="connsiteY126" fmla="*/ 203328 h 432750"/>
                    <a:gd name="connsiteX127" fmla="*/ 13064 w 392882"/>
                    <a:gd name="connsiteY127" fmla="*/ 201176 h 432750"/>
                    <a:gd name="connsiteX128" fmla="*/ 12021 w 392882"/>
                    <a:gd name="connsiteY128" fmla="*/ 197093 h 432750"/>
                    <a:gd name="connsiteX129" fmla="*/ 10961 w 392882"/>
                    <a:gd name="connsiteY129" fmla="*/ 191568 h 432750"/>
                    <a:gd name="connsiteX130" fmla="*/ 10855 w 392882"/>
                    <a:gd name="connsiteY130" fmla="*/ 188031 h 432750"/>
                    <a:gd name="connsiteX131" fmla="*/ 12779 w 392882"/>
                    <a:gd name="connsiteY131" fmla="*/ 180981 h 432750"/>
                    <a:gd name="connsiteX132" fmla="*/ 15012 w 392882"/>
                    <a:gd name="connsiteY132" fmla="*/ 173589 h 432750"/>
                    <a:gd name="connsiteX133" fmla="*/ 13594 w 392882"/>
                    <a:gd name="connsiteY133" fmla="*/ 165399 h 432750"/>
                    <a:gd name="connsiteX134" fmla="*/ 12534 w 392882"/>
                    <a:gd name="connsiteY134" fmla="*/ 148945 h 432750"/>
                    <a:gd name="connsiteX135" fmla="*/ 13203 w 392882"/>
                    <a:gd name="connsiteY135" fmla="*/ 135962 h 432750"/>
                    <a:gd name="connsiteX136" fmla="*/ 12656 w 392882"/>
                    <a:gd name="connsiteY136" fmla="*/ 131235 h 432750"/>
                    <a:gd name="connsiteX137" fmla="*/ 12282 w 392882"/>
                    <a:gd name="connsiteY137" fmla="*/ 129263 h 432750"/>
                    <a:gd name="connsiteX138" fmla="*/ 10806 w 392882"/>
                    <a:gd name="connsiteY138" fmla="*/ 123110 h 432750"/>
                    <a:gd name="connsiteX139" fmla="*/ 8981 w 392882"/>
                    <a:gd name="connsiteY139" fmla="*/ 116770 h 432750"/>
                    <a:gd name="connsiteX140" fmla="*/ 8183 w 392882"/>
                    <a:gd name="connsiteY140" fmla="*/ 114553 h 432750"/>
                    <a:gd name="connsiteX141" fmla="*/ 5843 w 392882"/>
                    <a:gd name="connsiteY141" fmla="*/ 109443 h 432750"/>
                    <a:gd name="connsiteX142" fmla="*/ 1997 w 392882"/>
                    <a:gd name="connsiteY142" fmla="*/ 103102 h 432750"/>
                    <a:gd name="connsiteX143" fmla="*/ 0 w 392882"/>
                    <a:gd name="connsiteY143" fmla="*/ 99199 h 432750"/>
                    <a:gd name="connsiteX144" fmla="*/ 2746 w 392882"/>
                    <a:gd name="connsiteY144" fmla="*/ 97137 h 432750"/>
                    <a:gd name="connsiteX145" fmla="*/ 5167 w 392882"/>
                    <a:gd name="connsiteY145" fmla="*/ 95531 h 432750"/>
                    <a:gd name="connsiteX146" fmla="*/ 8125 w 392882"/>
                    <a:gd name="connsiteY146" fmla="*/ 93828 h 432750"/>
                    <a:gd name="connsiteX147" fmla="*/ 12331 w 392882"/>
                    <a:gd name="connsiteY147" fmla="*/ 91904 h 432750"/>
                    <a:gd name="connsiteX148" fmla="*/ 14498 w 392882"/>
                    <a:gd name="connsiteY148" fmla="*/ 90454 h 432750"/>
                    <a:gd name="connsiteX149" fmla="*/ 15427 w 392882"/>
                    <a:gd name="connsiteY149" fmla="*/ 89232 h 432750"/>
                    <a:gd name="connsiteX150" fmla="*/ 18590 w 392882"/>
                    <a:gd name="connsiteY150" fmla="*/ 84252 h 432750"/>
                    <a:gd name="connsiteX151" fmla="*/ 20236 w 392882"/>
                    <a:gd name="connsiteY151" fmla="*/ 81489 h 432750"/>
                    <a:gd name="connsiteX152" fmla="*/ 22477 w 392882"/>
                    <a:gd name="connsiteY152" fmla="*/ 77716 h 432750"/>
                    <a:gd name="connsiteX153" fmla="*/ 23455 w 392882"/>
                    <a:gd name="connsiteY153" fmla="*/ 75083 h 432750"/>
                    <a:gd name="connsiteX154" fmla="*/ 23479 w 392882"/>
                    <a:gd name="connsiteY154" fmla="*/ 72639 h 432750"/>
                    <a:gd name="connsiteX155" fmla="*/ 23145 w 392882"/>
                    <a:gd name="connsiteY155" fmla="*/ 69697 h 432750"/>
                    <a:gd name="connsiteX156" fmla="*/ 21393 w 392882"/>
                    <a:gd name="connsiteY156" fmla="*/ 62631 h 432750"/>
                    <a:gd name="connsiteX157" fmla="*/ 19951 w 392882"/>
                    <a:gd name="connsiteY157" fmla="*/ 55761 h 432750"/>
                    <a:gd name="connsiteX158" fmla="*/ 21075 w 392882"/>
                    <a:gd name="connsiteY158" fmla="*/ 53104 h 432750"/>
                    <a:gd name="connsiteX159" fmla="*/ 21964 w 392882"/>
                    <a:gd name="connsiteY159" fmla="*/ 51841 h 432750"/>
                    <a:gd name="connsiteX160" fmla="*/ 23911 w 392882"/>
                    <a:gd name="connsiteY160" fmla="*/ 48613 h 432750"/>
                    <a:gd name="connsiteX161" fmla="*/ 24702 w 392882"/>
                    <a:gd name="connsiteY161" fmla="*/ 47969 h 432750"/>
                    <a:gd name="connsiteX162" fmla="*/ 28907 w 392882"/>
                    <a:gd name="connsiteY162" fmla="*/ 46951 h 432750"/>
                    <a:gd name="connsiteX163" fmla="*/ 30594 w 392882"/>
                    <a:gd name="connsiteY163" fmla="*/ 44799 h 432750"/>
                    <a:gd name="connsiteX164" fmla="*/ 31874 w 392882"/>
                    <a:gd name="connsiteY164" fmla="*/ 42110 h 432750"/>
                    <a:gd name="connsiteX165" fmla="*/ 32200 w 392882"/>
                    <a:gd name="connsiteY165" fmla="*/ 40700 h 432750"/>
                    <a:gd name="connsiteX166" fmla="*/ 34041 w 392882"/>
                    <a:gd name="connsiteY166" fmla="*/ 39208 h 432750"/>
                    <a:gd name="connsiteX167" fmla="*/ 36242 w 392882"/>
                    <a:gd name="connsiteY167" fmla="*/ 37725 h 432750"/>
                    <a:gd name="connsiteX168" fmla="*/ 37603 w 392882"/>
                    <a:gd name="connsiteY168" fmla="*/ 35794 h 432750"/>
                    <a:gd name="connsiteX169" fmla="*/ 42036 w 392882"/>
                    <a:gd name="connsiteY169" fmla="*/ 32811 h 432750"/>
                    <a:gd name="connsiteX170" fmla="*/ 46087 w 392882"/>
                    <a:gd name="connsiteY170" fmla="*/ 30089 h 432750"/>
                    <a:gd name="connsiteX171" fmla="*/ 50789 w 392882"/>
                    <a:gd name="connsiteY171" fmla="*/ 27220 h 432750"/>
                    <a:gd name="connsiteX172" fmla="*/ 54432 w 392882"/>
                    <a:gd name="connsiteY172" fmla="*/ 24995 h 432750"/>
                    <a:gd name="connsiteX173" fmla="*/ 55190 w 392882"/>
                    <a:gd name="connsiteY173" fmla="*/ 23056 h 432750"/>
                    <a:gd name="connsiteX174" fmla="*/ 55141 w 392882"/>
                    <a:gd name="connsiteY174" fmla="*/ 21377 h 432750"/>
                    <a:gd name="connsiteX175" fmla="*/ 53169 w 392882"/>
                    <a:gd name="connsiteY175" fmla="*/ 17563 h 432750"/>
                    <a:gd name="connsiteX176" fmla="*/ 53169 w 392882"/>
                    <a:gd name="connsiteY176" fmla="*/ 13032 h 432750"/>
                    <a:gd name="connsiteX177" fmla="*/ 53299 w 392882"/>
                    <a:gd name="connsiteY177" fmla="*/ 9266 h 432750"/>
                    <a:gd name="connsiteX178" fmla="*/ 53495 w 392882"/>
                    <a:gd name="connsiteY178" fmla="*/ 7041 h 432750"/>
                    <a:gd name="connsiteX179" fmla="*/ 54367 w 392882"/>
                    <a:gd name="connsiteY179" fmla="*/ 856 h 432750"/>
                    <a:gd name="connsiteX180" fmla="*/ 54416 w 392882"/>
                    <a:gd name="connsiteY180" fmla="*/ 0 h 432750"/>
                    <a:gd name="connsiteX181" fmla="*/ 58197 w 392882"/>
                    <a:gd name="connsiteY181" fmla="*/ 2054 h 432750"/>
                    <a:gd name="connsiteX182" fmla="*/ 62085 w 392882"/>
                    <a:gd name="connsiteY182" fmla="*/ 2877 h 432750"/>
                    <a:gd name="connsiteX183" fmla="*/ 73657 w 392882"/>
                    <a:gd name="connsiteY183" fmla="*/ 10530 h 432750"/>
                    <a:gd name="connsiteX184" fmla="*/ 77300 w 392882"/>
                    <a:gd name="connsiteY184" fmla="*/ 11491 h 432750"/>
                    <a:gd name="connsiteX185" fmla="*/ 85393 w 392882"/>
                    <a:gd name="connsiteY185" fmla="*/ 12404 h 432750"/>
                    <a:gd name="connsiteX186" fmla="*/ 94936 w 392882"/>
                    <a:gd name="connsiteY186" fmla="*/ 9266 h 432750"/>
                    <a:gd name="connsiteX187" fmla="*/ 98538 w 392882"/>
                    <a:gd name="connsiteY187" fmla="*/ 8704 h 432750"/>
                    <a:gd name="connsiteX188" fmla="*/ 104814 w 392882"/>
                    <a:gd name="connsiteY188" fmla="*/ 11646 h 432750"/>
                    <a:gd name="connsiteX189" fmla="*/ 107577 w 392882"/>
                    <a:gd name="connsiteY189" fmla="*/ 12477 h 432750"/>
                    <a:gd name="connsiteX190" fmla="*/ 112230 w 392882"/>
                    <a:gd name="connsiteY190" fmla="*/ 12697 h 432750"/>
                    <a:gd name="connsiteX191" fmla="*/ 120184 w 392882"/>
                    <a:gd name="connsiteY191" fmla="*/ 15370 h 432750"/>
                    <a:gd name="connsiteX192" fmla="*/ 122189 w 392882"/>
                    <a:gd name="connsiteY192" fmla="*/ 16299 h 432750"/>
                    <a:gd name="connsiteX193" fmla="*/ 126826 w 392882"/>
                    <a:gd name="connsiteY193" fmla="*/ 20554 h 432750"/>
                    <a:gd name="connsiteX194" fmla="*/ 129051 w 392882"/>
                    <a:gd name="connsiteY194" fmla="*/ 21833 h 432750"/>
                    <a:gd name="connsiteX195" fmla="*/ 145489 w 392882"/>
                    <a:gd name="connsiteY195" fmla="*/ 25721 h 432750"/>
                    <a:gd name="connsiteX196" fmla="*/ 147738 w 392882"/>
                    <a:gd name="connsiteY196" fmla="*/ 28304 h 432750"/>
                    <a:gd name="connsiteX197" fmla="*/ 150028 w 392882"/>
                    <a:gd name="connsiteY197" fmla="*/ 33235 h 432750"/>
                    <a:gd name="connsiteX198" fmla="*/ 150118 w 392882"/>
                    <a:gd name="connsiteY198" fmla="*/ 39339 h 432750"/>
                    <a:gd name="connsiteX199" fmla="*/ 151389 w 392882"/>
                    <a:gd name="connsiteY199" fmla="*/ 43780 h 432750"/>
                    <a:gd name="connsiteX200" fmla="*/ 153427 w 392882"/>
                    <a:gd name="connsiteY200" fmla="*/ 49526 h 432750"/>
                    <a:gd name="connsiteX201" fmla="*/ 155896 w 392882"/>
                    <a:gd name="connsiteY201" fmla="*/ 53585 h 432750"/>
                    <a:gd name="connsiteX202" fmla="*/ 158626 w 392882"/>
                    <a:gd name="connsiteY202" fmla="*/ 56967 h 432750"/>
                    <a:gd name="connsiteX203" fmla="*/ 161756 w 392882"/>
                    <a:gd name="connsiteY203" fmla="*/ 59077 h 432750"/>
                    <a:gd name="connsiteX204" fmla="*/ 168968 w 392882"/>
                    <a:gd name="connsiteY204" fmla="*/ 62199 h 432750"/>
                    <a:gd name="connsiteX205" fmla="*/ 177102 w 392882"/>
                    <a:gd name="connsiteY205" fmla="*/ 63397 h 432750"/>
                    <a:gd name="connsiteX206" fmla="*/ 185308 w 392882"/>
                    <a:gd name="connsiteY206" fmla="*/ 63796 h 432750"/>
                    <a:gd name="connsiteX207" fmla="*/ 199391 w 392882"/>
                    <a:gd name="connsiteY207" fmla="*/ 68107 h 432750"/>
                    <a:gd name="connsiteX208" fmla="*/ 211315 w 392882"/>
                    <a:gd name="connsiteY208" fmla="*/ 73062 h 432750"/>
                    <a:gd name="connsiteX209" fmla="*/ 214273 w 392882"/>
                    <a:gd name="connsiteY209" fmla="*/ 75507 h 432750"/>
                    <a:gd name="connsiteX210" fmla="*/ 220247 w 392882"/>
                    <a:gd name="connsiteY210" fmla="*/ 77903 h 432750"/>
                    <a:gd name="connsiteX211" fmla="*/ 232145 w 392882"/>
                    <a:gd name="connsiteY211" fmla="*/ 89549 h 432750"/>
                    <a:gd name="connsiteX212" fmla="*/ 238755 w 392882"/>
                    <a:gd name="connsiteY212" fmla="*/ 93567 h 432750"/>
                    <a:gd name="connsiteX213" fmla="*/ 243392 w 392882"/>
                    <a:gd name="connsiteY213" fmla="*/ 94350 h 432750"/>
                    <a:gd name="connsiteX214" fmla="*/ 247556 w 392882"/>
                    <a:gd name="connsiteY214" fmla="*/ 93649 h 432750"/>
                    <a:gd name="connsiteX215" fmla="*/ 254956 w 392882"/>
                    <a:gd name="connsiteY215" fmla="*/ 89606 h 432750"/>
                    <a:gd name="connsiteX216" fmla="*/ 258012 w 392882"/>
                    <a:gd name="connsiteY216" fmla="*/ 87210 h 432750"/>
                    <a:gd name="connsiteX217" fmla="*/ 265453 w 392882"/>
                    <a:gd name="connsiteY217" fmla="*/ 77153 h 432750"/>
                    <a:gd name="connsiteX218" fmla="*/ 267898 w 392882"/>
                    <a:gd name="connsiteY218" fmla="*/ 71905 h 432750"/>
                    <a:gd name="connsiteX219" fmla="*/ 268868 w 392882"/>
                    <a:gd name="connsiteY219" fmla="*/ 68197 h 432750"/>
                    <a:gd name="connsiteX220" fmla="*/ 268631 w 392882"/>
                    <a:gd name="connsiteY220" fmla="*/ 64424 h 432750"/>
                    <a:gd name="connsiteX221" fmla="*/ 267703 w 392882"/>
                    <a:gd name="connsiteY221" fmla="*/ 61033 h 432750"/>
                    <a:gd name="connsiteX222" fmla="*/ 265616 w 392882"/>
                    <a:gd name="connsiteY222" fmla="*/ 57480 h 432750"/>
                    <a:gd name="connsiteX223" fmla="*/ 264165 w 392882"/>
                    <a:gd name="connsiteY223" fmla="*/ 52778 h 432750"/>
                    <a:gd name="connsiteX224" fmla="*/ 263293 w 392882"/>
                    <a:gd name="connsiteY224" fmla="*/ 44318 h 432750"/>
                    <a:gd name="connsiteX225" fmla="*/ 264475 w 392882"/>
                    <a:gd name="connsiteY225" fmla="*/ 38442 h 432750"/>
                    <a:gd name="connsiteX226" fmla="*/ 265893 w 392882"/>
                    <a:gd name="connsiteY226" fmla="*/ 34914 h 432750"/>
                    <a:gd name="connsiteX227" fmla="*/ 268142 w 392882"/>
                    <a:gd name="connsiteY227" fmla="*/ 31319 h 432750"/>
                    <a:gd name="connsiteX228" fmla="*/ 274320 w 392882"/>
                    <a:gd name="connsiteY228" fmla="*/ 24433 h 432750"/>
                    <a:gd name="connsiteX229" fmla="*/ 280530 w 392882"/>
                    <a:gd name="connsiteY229" fmla="*/ 19584 h 432750"/>
                    <a:gd name="connsiteX230" fmla="*/ 291475 w 392882"/>
                    <a:gd name="connsiteY230" fmla="*/ 13227 h 432750"/>
                    <a:gd name="connsiteX231" fmla="*/ 297840 w 392882"/>
                    <a:gd name="connsiteY231" fmla="*/ 13162 h 432750"/>
                    <a:gd name="connsiteX232" fmla="*/ 300464 w 392882"/>
                    <a:gd name="connsiteY232" fmla="*/ 12461 h 432750"/>
                    <a:gd name="connsiteX233" fmla="*/ 305705 w 392882"/>
                    <a:gd name="connsiteY233" fmla="*/ 7971 h 432750"/>
                    <a:gd name="connsiteX234" fmla="*/ 307824 w 392882"/>
                    <a:gd name="connsiteY234" fmla="*/ 7799 h 432750"/>
                    <a:gd name="connsiteX235" fmla="*/ 310749 w 392882"/>
                    <a:gd name="connsiteY235" fmla="*/ 8900 h 432750"/>
                    <a:gd name="connsiteX236" fmla="*/ 319380 w 392882"/>
                    <a:gd name="connsiteY236" fmla="*/ 8590 h 432750"/>
                    <a:gd name="connsiteX237" fmla="*/ 323178 w 392882"/>
                    <a:gd name="connsiteY237" fmla="*/ 9837 h 432750"/>
                    <a:gd name="connsiteX238" fmla="*/ 327725 w 392882"/>
                    <a:gd name="connsiteY238" fmla="*/ 12632 h 432750"/>
                    <a:gd name="connsiteX239" fmla="*/ 333438 w 392882"/>
                    <a:gd name="connsiteY239" fmla="*/ 14376 h 432750"/>
                    <a:gd name="connsiteX240" fmla="*/ 337480 w 392882"/>
                    <a:gd name="connsiteY240" fmla="*/ 16104 h 432750"/>
                    <a:gd name="connsiteX241" fmla="*/ 341783 w 392882"/>
                    <a:gd name="connsiteY241" fmla="*/ 18329 h 432750"/>
                    <a:gd name="connsiteX242" fmla="*/ 342753 w 392882"/>
                    <a:gd name="connsiteY242" fmla="*/ 23871 h 432750"/>
                    <a:gd name="connsiteX243" fmla="*/ 342281 w 392882"/>
                    <a:gd name="connsiteY243" fmla="*/ 25525 h 432750"/>
                    <a:gd name="connsiteX244" fmla="*/ 342166 w 392882"/>
                    <a:gd name="connsiteY244" fmla="*/ 27660 h 432750"/>
                    <a:gd name="connsiteX245" fmla="*/ 346641 w 392882"/>
                    <a:gd name="connsiteY245" fmla="*/ 31482 h 432750"/>
                    <a:gd name="connsiteX246" fmla="*/ 359313 w 392882"/>
                    <a:gd name="connsiteY246" fmla="*/ 33267 h 432750"/>
                    <a:gd name="connsiteX247" fmla="*/ 361808 w 392882"/>
                    <a:gd name="connsiteY247" fmla="*/ 34286 h 432750"/>
                    <a:gd name="connsiteX248" fmla="*/ 365303 w 392882"/>
                    <a:gd name="connsiteY248" fmla="*/ 37212 h 432750"/>
                    <a:gd name="connsiteX249" fmla="*/ 367553 w 392882"/>
                    <a:gd name="connsiteY249" fmla="*/ 38108 h 432750"/>
                    <a:gd name="connsiteX250" fmla="*/ 376241 w 392882"/>
                    <a:gd name="connsiteY250" fmla="*/ 38524 h 432750"/>
                    <a:gd name="connsiteX251" fmla="*/ 381301 w 392882"/>
                    <a:gd name="connsiteY251" fmla="*/ 37888 h 432750"/>
                    <a:gd name="connsiteX252" fmla="*/ 386126 w 392882"/>
                    <a:gd name="connsiteY252" fmla="*/ 38915 h 432750"/>
                    <a:gd name="connsiteX253" fmla="*/ 387919 w 392882"/>
                    <a:gd name="connsiteY253" fmla="*/ 39909 h 432750"/>
                    <a:gd name="connsiteX254" fmla="*/ 389753 w 392882"/>
                    <a:gd name="connsiteY254" fmla="*/ 42191 h 432750"/>
                    <a:gd name="connsiteX255" fmla="*/ 391994 w 392882"/>
                    <a:gd name="connsiteY255" fmla="*/ 47725 h 43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392882" h="432750">
                      <a:moveTo>
                        <a:pt x="392882" y="49583"/>
                      </a:moveTo>
                      <a:lnTo>
                        <a:pt x="391921" y="50488"/>
                      </a:lnTo>
                      <a:lnTo>
                        <a:pt x="390559" y="52419"/>
                      </a:lnTo>
                      <a:lnTo>
                        <a:pt x="389696" y="54139"/>
                      </a:lnTo>
                      <a:lnTo>
                        <a:pt x="387406" y="56934"/>
                      </a:lnTo>
                      <a:lnTo>
                        <a:pt x="385482" y="59925"/>
                      </a:lnTo>
                      <a:lnTo>
                        <a:pt x="385662" y="64301"/>
                      </a:lnTo>
                      <a:lnTo>
                        <a:pt x="386102" y="68759"/>
                      </a:lnTo>
                      <a:lnTo>
                        <a:pt x="387389" y="73103"/>
                      </a:lnTo>
                      <a:lnTo>
                        <a:pt x="388498" y="77928"/>
                      </a:lnTo>
                      <a:lnTo>
                        <a:pt x="388188" y="81090"/>
                      </a:lnTo>
                      <a:lnTo>
                        <a:pt x="387226" y="84969"/>
                      </a:lnTo>
                      <a:lnTo>
                        <a:pt x="386102" y="88205"/>
                      </a:lnTo>
                      <a:lnTo>
                        <a:pt x="382353" y="94855"/>
                      </a:lnTo>
                      <a:lnTo>
                        <a:pt x="381782" y="96436"/>
                      </a:lnTo>
                      <a:lnTo>
                        <a:pt x="381986" y="98677"/>
                      </a:lnTo>
                      <a:lnTo>
                        <a:pt x="384276" y="106550"/>
                      </a:lnTo>
                      <a:lnTo>
                        <a:pt x="384456" y="109035"/>
                      </a:lnTo>
                      <a:lnTo>
                        <a:pt x="385817" y="116672"/>
                      </a:lnTo>
                      <a:lnTo>
                        <a:pt x="387064" y="122874"/>
                      </a:lnTo>
                      <a:lnTo>
                        <a:pt x="388432" y="127755"/>
                      </a:lnTo>
                      <a:lnTo>
                        <a:pt x="388644" y="129100"/>
                      </a:lnTo>
                      <a:lnTo>
                        <a:pt x="388644" y="136272"/>
                      </a:lnTo>
                      <a:lnTo>
                        <a:pt x="388644" y="143443"/>
                      </a:lnTo>
                      <a:lnTo>
                        <a:pt x="388644" y="150599"/>
                      </a:lnTo>
                      <a:lnTo>
                        <a:pt x="388644" y="157754"/>
                      </a:lnTo>
                      <a:lnTo>
                        <a:pt x="388644" y="164902"/>
                      </a:lnTo>
                      <a:lnTo>
                        <a:pt x="388644" y="172041"/>
                      </a:lnTo>
                      <a:lnTo>
                        <a:pt x="388644" y="179172"/>
                      </a:lnTo>
                      <a:lnTo>
                        <a:pt x="388644" y="186295"/>
                      </a:lnTo>
                      <a:lnTo>
                        <a:pt x="388644" y="193418"/>
                      </a:lnTo>
                      <a:lnTo>
                        <a:pt x="388644" y="200532"/>
                      </a:lnTo>
                      <a:lnTo>
                        <a:pt x="388644" y="207631"/>
                      </a:lnTo>
                      <a:lnTo>
                        <a:pt x="388644" y="214729"/>
                      </a:lnTo>
                      <a:lnTo>
                        <a:pt x="388644" y="221828"/>
                      </a:lnTo>
                      <a:lnTo>
                        <a:pt x="388644" y="228910"/>
                      </a:lnTo>
                      <a:lnTo>
                        <a:pt x="388644" y="235992"/>
                      </a:lnTo>
                      <a:lnTo>
                        <a:pt x="388644" y="243066"/>
                      </a:lnTo>
                      <a:lnTo>
                        <a:pt x="388644" y="250132"/>
                      </a:lnTo>
                      <a:lnTo>
                        <a:pt x="388644" y="257189"/>
                      </a:lnTo>
                      <a:lnTo>
                        <a:pt x="388644" y="264247"/>
                      </a:lnTo>
                      <a:lnTo>
                        <a:pt x="388644" y="271297"/>
                      </a:lnTo>
                      <a:lnTo>
                        <a:pt x="388644" y="278338"/>
                      </a:lnTo>
                      <a:lnTo>
                        <a:pt x="388644" y="285371"/>
                      </a:lnTo>
                      <a:lnTo>
                        <a:pt x="388644" y="292404"/>
                      </a:lnTo>
                      <a:lnTo>
                        <a:pt x="388644" y="299429"/>
                      </a:lnTo>
                      <a:lnTo>
                        <a:pt x="388644" y="306446"/>
                      </a:lnTo>
                      <a:lnTo>
                        <a:pt x="388644" y="313463"/>
                      </a:lnTo>
                      <a:lnTo>
                        <a:pt x="388644" y="320464"/>
                      </a:lnTo>
                      <a:lnTo>
                        <a:pt x="388644" y="327465"/>
                      </a:lnTo>
                      <a:lnTo>
                        <a:pt x="388644" y="334465"/>
                      </a:lnTo>
                      <a:lnTo>
                        <a:pt x="388644" y="341457"/>
                      </a:lnTo>
                      <a:lnTo>
                        <a:pt x="388644" y="348442"/>
                      </a:lnTo>
                      <a:lnTo>
                        <a:pt x="388644" y="355418"/>
                      </a:lnTo>
                      <a:lnTo>
                        <a:pt x="388636" y="370886"/>
                      </a:lnTo>
                      <a:lnTo>
                        <a:pt x="388636" y="386338"/>
                      </a:lnTo>
                      <a:lnTo>
                        <a:pt x="388628" y="401749"/>
                      </a:lnTo>
                      <a:lnTo>
                        <a:pt x="388620" y="417152"/>
                      </a:lnTo>
                      <a:lnTo>
                        <a:pt x="388555" y="417201"/>
                      </a:lnTo>
                      <a:lnTo>
                        <a:pt x="388473" y="417258"/>
                      </a:lnTo>
                      <a:lnTo>
                        <a:pt x="388400" y="417315"/>
                      </a:lnTo>
                      <a:lnTo>
                        <a:pt x="388319" y="417364"/>
                      </a:lnTo>
                      <a:lnTo>
                        <a:pt x="382206" y="417364"/>
                      </a:lnTo>
                      <a:lnTo>
                        <a:pt x="376078" y="417364"/>
                      </a:lnTo>
                      <a:lnTo>
                        <a:pt x="369965" y="417356"/>
                      </a:lnTo>
                      <a:lnTo>
                        <a:pt x="363845" y="417356"/>
                      </a:lnTo>
                      <a:lnTo>
                        <a:pt x="363845" y="421211"/>
                      </a:lnTo>
                      <a:lnTo>
                        <a:pt x="363845" y="425058"/>
                      </a:lnTo>
                      <a:lnTo>
                        <a:pt x="363845" y="428904"/>
                      </a:lnTo>
                      <a:lnTo>
                        <a:pt x="363845" y="432751"/>
                      </a:lnTo>
                      <a:lnTo>
                        <a:pt x="351971" y="425465"/>
                      </a:lnTo>
                      <a:lnTo>
                        <a:pt x="340088" y="418163"/>
                      </a:lnTo>
                      <a:lnTo>
                        <a:pt x="328198" y="410853"/>
                      </a:lnTo>
                      <a:lnTo>
                        <a:pt x="316315" y="403550"/>
                      </a:lnTo>
                      <a:lnTo>
                        <a:pt x="304433" y="396232"/>
                      </a:lnTo>
                      <a:lnTo>
                        <a:pt x="292551" y="388913"/>
                      </a:lnTo>
                      <a:lnTo>
                        <a:pt x="280677" y="381587"/>
                      </a:lnTo>
                      <a:lnTo>
                        <a:pt x="268794" y="374244"/>
                      </a:lnTo>
                      <a:lnTo>
                        <a:pt x="256904" y="366909"/>
                      </a:lnTo>
                      <a:lnTo>
                        <a:pt x="245022" y="359566"/>
                      </a:lnTo>
                      <a:lnTo>
                        <a:pt x="233139" y="352215"/>
                      </a:lnTo>
                      <a:lnTo>
                        <a:pt x="221257" y="344864"/>
                      </a:lnTo>
                      <a:lnTo>
                        <a:pt x="209383" y="337497"/>
                      </a:lnTo>
                      <a:lnTo>
                        <a:pt x="197501" y="330129"/>
                      </a:lnTo>
                      <a:lnTo>
                        <a:pt x="185610" y="322754"/>
                      </a:lnTo>
                      <a:lnTo>
                        <a:pt x="173736" y="315378"/>
                      </a:lnTo>
                      <a:lnTo>
                        <a:pt x="165521" y="310277"/>
                      </a:lnTo>
                      <a:lnTo>
                        <a:pt x="156670" y="315256"/>
                      </a:lnTo>
                      <a:lnTo>
                        <a:pt x="149735" y="319152"/>
                      </a:lnTo>
                      <a:lnTo>
                        <a:pt x="140599" y="324286"/>
                      </a:lnTo>
                      <a:lnTo>
                        <a:pt x="140599" y="324278"/>
                      </a:lnTo>
                      <a:lnTo>
                        <a:pt x="130102" y="330944"/>
                      </a:lnTo>
                      <a:lnTo>
                        <a:pt x="122034" y="336054"/>
                      </a:lnTo>
                      <a:lnTo>
                        <a:pt x="121659" y="336013"/>
                      </a:lnTo>
                      <a:lnTo>
                        <a:pt x="121292" y="335891"/>
                      </a:lnTo>
                      <a:lnTo>
                        <a:pt x="112906" y="327220"/>
                      </a:lnTo>
                      <a:lnTo>
                        <a:pt x="106354" y="320439"/>
                      </a:lnTo>
                      <a:lnTo>
                        <a:pt x="103452" y="318549"/>
                      </a:lnTo>
                      <a:lnTo>
                        <a:pt x="91098" y="315085"/>
                      </a:lnTo>
                      <a:lnTo>
                        <a:pt x="78832" y="311638"/>
                      </a:lnTo>
                      <a:lnTo>
                        <a:pt x="65923" y="308003"/>
                      </a:lnTo>
                      <a:lnTo>
                        <a:pt x="63568" y="302477"/>
                      </a:lnTo>
                      <a:lnTo>
                        <a:pt x="60928" y="296292"/>
                      </a:lnTo>
                      <a:lnTo>
                        <a:pt x="57390" y="288558"/>
                      </a:lnTo>
                      <a:lnTo>
                        <a:pt x="55223" y="283831"/>
                      </a:lnTo>
                      <a:lnTo>
                        <a:pt x="54505" y="283089"/>
                      </a:lnTo>
                      <a:lnTo>
                        <a:pt x="44587" y="279340"/>
                      </a:lnTo>
                      <a:lnTo>
                        <a:pt x="34123" y="275665"/>
                      </a:lnTo>
                      <a:lnTo>
                        <a:pt x="27994" y="277890"/>
                      </a:lnTo>
                      <a:lnTo>
                        <a:pt x="26918" y="277719"/>
                      </a:lnTo>
                      <a:lnTo>
                        <a:pt x="25191" y="276325"/>
                      </a:lnTo>
                      <a:lnTo>
                        <a:pt x="23447" y="274418"/>
                      </a:lnTo>
                      <a:lnTo>
                        <a:pt x="22526" y="271745"/>
                      </a:lnTo>
                      <a:lnTo>
                        <a:pt x="20073" y="268167"/>
                      </a:lnTo>
                      <a:lnTo>
                        <a:pt x="17799" y="259977"/>
                      </a:lnTo>
                      <a:lnTo>
                        <a:pt x="17579" y="253457"/>
                      </a:lnTo>
                      <a:lnTo>
                        <a:pt x="17123" y="251142"/>
                      </a:lnTo>
                      <a:lnTo>
                        <a:pt x="11670" y="241949"/>
                      </a:lnTo>
                      <a:lnTo>
                        <a:pt x="6724" y="233571"/>
                      </a:lnTo>
                      <a:lnTo>
                        <a:pt x="3423" y="227997"/>
                      </a:lnTo>
                      <a:lnTo>
                        <a:pt x="2779" y="225470"/>
                      </a:lnTo>
                      <a:lnTo>
                        <a:pt x="3162" y="222366"/>
                      </a:lnTo>
                      <a:lnTo>
                        <a:pt x="4491" y="219578"/>
                      </a:lnTo>
                      <a:lnTo>
                        <a:pt x="9291" y="216278"/>
                      </a:lnTo>
                      <a:lnTo>
                        <a:pt x="13626" y="212684"/>
                      </a:lnTo>
                      <a:lnTo>
                        <a:pt x="14213" y="210190"/>
                      </a:lnTo>
                      <a:lnTo>
                        <a:pt x="14490" y="203328"/>
                      </a:lnTo>
                      <a:lnTo>
                        <a:pt x="13064" y="201176"/>
                      </a:lnTo>
                      <a:lnTo>
                        <a:pt x="12021" y="197093"/>
                      </a:lnTo>
                      <a:lnTo>
                        <a:pt x="10961" y="191568"/>
                      </a:lnTo>
                      <a:lnTo>
                        <a:pt x="10855" y="188031"/>
                      </a:lnTo>
                      <a:lnTo>
                        <a:pt x="12779" y="180981"/>
                      </a:lnTo>
                      <a:lnTo>
                        <a:pt x="15012" y="173589"/>
                      </a:lnTo>
                      <a:lnTo>
                        <a:pt x="13594" y="165399"/>
                      </a:lnTo>
                      <a:lnTo>
                        <a:pt x="12534" y="148945"/>
                      </a:lnTo>
                      <a:lnTo>
                        <a:pt x="13203" y="135962"/>
                      </a:lnTo>
                      <a:lnTo>
                        <a:pt x="12656" y="131235"/>
                      </a:lnTo>
                      <a:lnTo>
                        <a:pt x="12282" y="129263"/>
                      </a:lnTo>
                      <a:lnTo>
                        <a:pt x="10806" y="123110"/>
                      </a:lnTo>
                      <a:lnTo>
                        <a:pt x="8981" y="116770"/>
                      </a:lnTo>
                      <a:lnTo>
                        <a:pt x="8183" y="114553"/>
                      </a:lnTo>
                      <a:lnTo>
                        <a:pt x="5843" y="109443"/>
                      </a:lnTo>
                      <a:lnTo>
                        <a:pt x="1997" y="103102"/>
                      </a:lnTo>
                      <a:lnTo>
                        <a:pt x="0" y="99199"/>
                      </a:lnTo>
                      <a:lnTo>
                        <a:pt x="2746" y="97137"/>
                      </a:lnTo>
                      <a:lnTo>
                        <a:pt x="5167" y="95531"/>
                      </a:lnTo>
                      <a:lnTo>
                        <a:pt x="8125" y="93828"/>
                      </a:lnTo>
                      <a:lnTo>
                        <a:pt x="12331" y="91904"/>
                      </a:lnTo>
                      <a:lnTo>
                        <a:pt x="14498" y="90454"/>
                      </a:lnTo>
                      <a:lnTo>
                        <a:pt x="15427" y="89232"/>
                      </a:lnTo>
                      <a:lnTo>
                        <a:pt x="18590" y="84252"/>
                      </a:lnTo>
                      <a:lnTo>
                        <a:pt x="20236" y="81489"/>
                      </a:lnTo>
                      <a:lnTo>
                        <a:pt x="22477" y="77716"/>
                      </a:lnTo>
                      <a:lnTo>
                        <a:pt x="23455" y="75083"/>
                      </a:lnTo>
                      <a:lnTo>
                        <a:pt x="23479" y="72639"/>
                      </a:lnTo>
                      <a:lnTo>
                        <a:pt x="23145" y="69697"/>
                      </a:lnTo>
                      <a:lnTo>
                        <a:pt x="21393" y="62631"/>
                      </a:lnTo>
                      <a:lnTo>
                        <a:pt x="19951" y="55761"/>
                      </a:lnTo>
                      <a:lnTo>
                        <a:pt x="21075" y="53104"/>
                      </a:lnTo>
                      <a:lnTo>
                        <a:pt x="21964" y="51841"/>
                      </a:lnTo>
                      <a:lnTo>
                        <a:pt x="23911" y="48613"/>
                      </a:lnTo>
                      <a:lnTo>
                        <a:pt x="24702" y="47969"/>
                      </a:lnTo>
                      <a:lnTo>
                        <a:pt x="28907" y="46951"/>
                      </a:lnTo>
                      <a:lnTo>
                        <a:pt x="30594" y="44799"/>
                      </a:lnTo>
                      <a:lnTo>
                        <a:pt x="31874" y="42110"/>
                      </a:lnTo>
                      <a:lnTo>
                        <a:pt x="32200" y="40700"/>
                      </a:lnTo>
                      <a:lnTo>
                        <a:pt x="34041" y="39208"/>
                      </a:lnTo>
                      <a:lnTo>
                        <a:pt x="36242" y="37725"/>
                      </a:lnTo>
                      <a:lnTo>
                        <a:pt x="37603" y="35794"/>
                      </a:lnTo>
                      <a:lnTo>
                        <a:pt x="42036" y="32811"/>
                      </a:lnTo>
                      <a:lnTo>
                        <a:pt x="46087" y="30089"/>
                      </a:lnTo>
                      <a:lnTo>
                        <a:pt x="50789" y="27220"/>
                      </a:lnTo>
                      <a:lnTo>
                        <a:pt x="54432" y="24995"/>
                      </a:lnTo>
                      <a:lnTo>
                        <a:pt x="55190" y="23056"/>
                      </a:lnTo>
                      <a:lnTo>
                        <a:pt x="55141" y="21377"/>
                      </a:lnTo>
                      <a:lnTo>
                        <a:pt x="53169" y="17563"/>
                      </a:lnTo>
                      <a:lnTo>
                        <a:pt x="53169" y="13032"/>
                      </a:lnTo>
                      <a:lnTo>
                        <a:pt x="53299" y="9266"/>
                      </a:lnTo>
                      <a:lnTo>
                        <a:pt x="53495" y="7041"/>
                      </a:lnTo>
                      <a:lnTo>
                        <a:pt x="54367" y="856"/>
                      </a:lnTo>
                      <a:lnTo>
                        <a:pt x="54416" y="0"/>
                      </a:lnTo>
                      <a:lnTo>
                        <a:pt x="58197" y="2054"/>
                      </a:lnTo>
                      <a:lnTo>
                        <a:pt x="62085" y="2877"/>
                      </a:lnTo>
                      <a:lnTo>
                        <a:pt x="73657" y="10530"/>
                      </a:lnTo>
                      <a:lnTo>
                        <a:pt x="77300" y="11491"/>
                      </a:lnTo>
                      <a:lnTo>
                        <a:pt x="85393" y="12404"/>
                      </a:lnTo>
                      <a:lnTo>
                        <a:pt x="94936" y="9266"/>
                      </a:lnTo>
                      <a:lnTo>
                        <a:pt x="98538" y="8704"/>
                      </a:lnTo>
                      <a:lnTo>
                        <a:pt x="104814" y="11646"/>
                      </a:lnTo>
                      <a:lnTo>
                        <a:pt x="107577" y="12477"/>
                      </a:lnTo>
                      <a:lnTo>
                        <a:pt x="112230" y="12697"/>
                      </a:lnTo>
                      <a:lnTo>
                        <a:pt x="120184" y="15370"/>
                      </a:lnTo>
                      <a:lnTo>
                        <a:pt x="122189" y="16299"/>
                      </a:lnTo>
                      <a:lnTo>
                        <a:pt x="126826" y="20554"/>
                      </a:lnTo>
                      <a:lnTo>
                        <a:pt x="129051" y="21833"/>
                      </a:lnTo>
                      <a:lnTo>
                        <a:pt x="145489" y="25721"/>
                      </a:lnTo>
                      <a:lnTo>
                        <a:pt x="147738" y="28304"/>
                      </a:lnTo>
                      <a:lnTo>
                        <a:pt x="150028" y="33235"/>
                      </a:lnTo>
                      <a:lnTo>
                        <a:pt x="150118" y="39339"/>
                      </a:lnTo>
                      <a:lnTo>
                        <a:pt x="151389" y="43780"/>
                      </a:lnTo>
                      <a:lnTo>
                        <a:pt x="153427" y="49526"/>
                      </a:lnTo>
                      <a:lnTo>
                        <a:pt x="155896" y="53585"/>
                      </a:lnTo>
                      <a:lnTo>
                        <a:pt x="158626" y="56967"/>
                      </a:lnTo>
                      <a:lnTo>
                        <a:pt x="161756" y="59077"/>
                      </a:lnTo>
                      <a:lnTo>
                        <a:pt x="168968" y="62199"/>
                      </a:lnTo>
                      <a:lnTo>
                        <a:pt x="177102" y="63397"/>
                      </a:lnTo>
                      <a:lnTo>
                        <a:pt x="185308" y="63796"/>
                      </a:lnTo>
                      <a:lnTo>
                        <a:pt x="199391" y="68107"/>
                      </a:lnTo>
                      <a:lnTo>
                        <a:pt x="211315" y="73062"/>
                      </a:lnTo>
                      <a:lnTo>
                        <a:pt x="214273" y="75507"/>
                      </a:lnTo>
                      <a:lnTo>
                        <a:pt x="220247" y="77903"/>
                      </a:lnTo>
                      <a:lnTo>
                        <a:pt x="232145" y="89549"/>
                      </a:lnTo>
                      <a:lnTo>
                        <a:pt x="238755" y="93567"/>
                      </a:lnTo>
                      <a:lnTo>
                        <a:pt x="243392" y="94350"/>
                      </a:lnTo>
                      <a:lnTo>
                        <a:pt x="247556" y="93649"/>
                      </a:lnTo>
                      <a:lnTo>
                        <a:pt x="254956" y="89606"/>
                      </a:lnTo>
                      <a:lnTo>
                        <a:pt x="258012" y="87210"/>
                      </a:lnTo>
                      <a:lnTo>
                        <a:pt x="265453" y="77153"/>
                      </a:lnTo>
                      <a:lnTo>
                        <a:pt x="267898" y="71905"/>
                      </a:lnTo>
                      <a:lnTo>
                        <a:pt x="268868" y="68197"/>
                      </a:lnTo>
                      <a:lnTo>
                        <a:pt x="268631" y="64424"/>
                      </a:lnTo>
                      <a:lnTo>
                        <a:pt x="267703" y="61033"/>
                      </a:lnTo>
                      <a:lnTo>
                        <a:pt x="265616" y="57480"/>
                      </a:lnTo>
                      <a:lnTo>
                        <a:pt x="264165" y="52778"/>
                      </a:lnTo>
                      <a:lnTo>
                        <a:pt x="263293" y="44318"/>
                      </a:lnTo>
                      <a:lnTo>
                        <a:pt x="264475" y="38442"/>
                      </a:lnTo>
                      <a:lnTo>
                        <a:pt x="265893" y="34914"/>
                      </a:lnTo>
                      <a:lnTo>
                        <a:pt x="268142" y="31319"/>
                      </a:lnTo>
                      <a:lnTo>
                        <a:pt x="274320" y="24433"/>
                      </a:lnTo>
                      <a:lnTo>
                        <a:pt x="280530" y="19584"/>
                      </a:lnTo>
                      <a:lnTo>
                        <a:pt x="291475" y="13227"/>
                      </a:lnTo>
                      <a:lnTo>
                        <a:pt x="297840" y="13162"/>
                      </a:lnTo>
                      <a:lnTo>
                        <a:pt x="300464" y="12461"/>
                      </a:lnTo>
                      <a:lnTo>
                        <a:pt x="305705" y="7971"/>
                      </a:lnTo>
                      <a:lnTo>
                        <a:pt x="307824" y="7799"/>
                      </a:lnTo>
                      <a:lnTo>
                        <a:pt x="310749" y="8900"/>
                      </a:lnTo>
                      <a:lnTo>
                        <a:pt x="319380" y="8590"/>
                      </a:lnTo>
                      <a:lnTo>
                        <a:pt x="323178" y="9837"/>
                      </a:lnTo>
                      <a:lnTo>
                        <a:pt x="327725" y="12632"/>
                      </a:lnTo>
                      <a:lnTo>
                        <a:pt x="333438" y="14376"/>
                      </a:lnTo>
                      <a:lnTo>
                        <a:pt x="337480" y="16104"/>
                      </a:lnTo>
                      <a:lnTo>
                        <a:pt x="341783" y="18329"/>
                      </a:lnTo>
                      <a:lnTo>
                        <a:pt x="342753" y="23871"/>
                      </a:lnTo>
                      <a:lnTo>
                        <a:pt x="342281" y="25525"/>
                      </a:lnTo>
                      <a:lnTo>
                        <a:pt x="342166" y="27660"/>
                      </a:lnTo>
                      <a:lnTo>
                        <a:pt x="346641" y="31482"/>
                      </a:lnTo>
                      <a:lnTo>
                        <a:pt x="359313" y="33267"/>
                      </a:lnTo>
                      <a:lnTo>
                        <a:pt x="361808" y="34286"/>
                      </a:lnTo>
                      <a:lnTo>
                        <a:pt x="365303" y="37212"/>
                      </a:lnTo>
                      <a:lnTo>
                        <a:pt x="367553" y="38108"/>
                      </a:lnTo>
                      <a:lnTo>
                        <a:pt x="376241" y="38524"/>
                      </a:lnTo>
                      <a:lnTo>
                        <a:pt x="381301" y="37888"/>
                      </a:lnTo>
                      <a:lnTo>
                        <a:pt x="386126" y="38915"/>
                      </a:lnTo>
                      <a:lnTo>
                        <a:pt x="387919" y="39909"/>
                      </a:lnTo>
                      <a:lnTo>
                        <a:pt x="389753" y="42191"/>
                      </a:lnTo>
                      <a:lnTo>
                        <a:pt x="391994" y="47725"/>
                      </a:lnTo>
                      <a:close/>
                    </a:path>
                  </a:pathLst>
                </a:custGeom>
                <a:solidFill>
                  <a:srgbClr val="D6D6D2"/>
                </a:solidFill>
                <a:ln w="6112" cap="rnd">
                  <a:solidFill>
                    <a:srgbClr val="FFFFFF"/>
                  </a:solidFill>
                  <a:prstDash val="solid"/>
                  <a:round/>
                </a:ln>
              </p:spPr>
              <p:txBody>
                <a:bodyPr rtlCol="0" anchor="ctr"/>
                <a:lstStyle/>
                <a:p>
                  <a:endParaRPr lang="en-US"/>
                </a:p>
              </p:txBody>
            </p:sp>
            <p:sp>
              <p:nvSpPr>
                <p:cNvPr id="692" name="Freeform: Shape 691">
                  <a:extLst>
                    <a:ext uri="{FF2B5EF4-FFF2-40B4-BE49-F238E27FC236}">
                      <a16:creationId xmlns:a16="http://schemas.microsoft.com/office/drawing/2014/main" id="{3E9A3C61-ACB3-4021-AA8A-4AFC013FCEE4}"/>
                    </a:ext>
                  </a:extLst>
                </p:cNvPr>
                <p:cNvSpPr/>
                <p:nvPr/>
              </p:nvSpPr>
              <p:spPr>
                <a:xfrm>
                  <a:off x="5658212" y="4268416"/>
                  <a:ext cx="101879" cy="125758"/>
                </a:xfrm>
                <a:custGeom>
                  <a:avLst/>
                  <a:gdLst>
                    <a:gd name="connsiteX0" fmla="*/ 74937 w 101879"/>
                    <a:gd name="connsiteY0" fmla="*/ 29469 h 125758"/>
                    <a:gd name="connsiteX1" fmla="*/ 75409 w 101879"/>
                    <a:gd name="connsiteY1" fmla="*/ 29812 h 125758"/>
                    <a:gd name="connsiteX2" fmla="*/ 76159 w 101879"/>
                    <a:gd name="connsiteY2" fmla="*/ 30733 h 125758"/>
                    <a:gd name="connsiteX3" fmla="*/ 76860 w 101879"/>
                    <a:gd name="connsiteY3" fmla="*/ 33878 h 125758"/>
                    <a:gd name="connsiteX4" fmla="*/ 79639 w 101879"/>
                    <a:gd name="connsiteY4" fmla="*/ 44033 h 125758"/>
                    <a:gd name="connsiteX5" fmla="*/ 79500 w 101879"/>
                    <a:gd name="connsiteY5" fmla="*/ 46828 h 125758"/>
                    <a:gd name="connsiteX6" fmla="*/ 78954 w 101879"/>
                    <a:gd name="connsiteY6" fmla="*/ 48654 h 125758"/>
                    <a:gd name="connsiteX7" fmla="*/ 78938 w 101879"/>
                    <a:gd name="connsiteY7" fmla="*/ 50447 h 125758"/>
                    <a:gd name="connsiteX8" fmla="*/ 78751 w 101879"/>
                    <a:gd name="connsiteY8" fmla="*/ 52215 h 125758"/>
                    <a:gd name="connsiteX9" fmla="*/ 77048 w 101879"/>
                    <a:gd name="connsiteY9" fmla="*/ 55117 h 125758"/>
                    <a:gd name="connsiteX10" fmla="*/ 72027 w 101879"/>
                    <a:gd name="connsiteY10" fmla="*/ 61041 h 125758"/>
                    <a:gd name="connsiteX11" fmla="*/ 72419 w 101879"/>
                    <a:gd name="connsiteY11" fmla="*/ 61563 h 125758"/>
                    <a:gd name="connsiteX12" fmla="*/ 73616 w 101879"/>
                    <a:gd name="connsiteY12" fmla="*/ 62231 h 125758"/>
                    <a:gd name="connsiteX13" fmla="*/ 74831 w 101879"/>
                    <a:gd name="connsiteY13" fmla="*/ 62590 h 125758"/>
                    <a:gd name="connsiteX14" fmla="*/ 75841 w 101879"/>
                    <a:gd name="connsiteY14" fmla="*/ 62402 h 125758"/>
                    <a:gd name="connsiteX15" fmla="*/ 77096 w 101879"/>
                    <a:gd name="connsiteY15" fmla="*/ 63886 h 125758"/>
                    <a:gd name="connsiteX16" fmla="*/ 78449 w 101879"/>
                    <a:gd name="connsiteY16" fmla="*/ 65744 h 125758"/>
                    <a:gd name="connsiteX17" fmla="*/ 79875 w 101879"/>
                    <a:gd name="connsiteY17" fmla="*/ 66714 h 125758"/>
                    <a:gd name="connsiteX18" fmla="*/ 81945 w 101879"/>
                    <a:gd name="connsiteY18" fmla="*/ 67553 h 125758"/>
                    <a:gd name="connsiteX19" fmla="*/ 83755 w 101879"/>
                    <a:gd name="connsiteY19" fmla="*/ 67659 h 125758"/>
                    <a:gd name="connsiteX20" fmla="*/ 85287 w 101879"/>
                    <a:gd name="connsiteY20" fmla="*/ 67333 h 125758"/>
                    <a:gd name="connsiteX21" fmla="*/ 87455 w 101879"/>
                    <a:gd name="connsiteY21" fmla="*/ 67692 h 125758"/>
                    <a:gd name="connsiteX22" fmla="*/ 89761 w 101879"/>
                    <a:gd name="connsiteY22" fmla="*/ 69240 h 125758"/>
                    <a:gd name="connsiteX23" fmla="*/ 90584 w 101879"/>
                    <a:gd name="connsiteY23" fmla="*/ 71783 h 125758"/>
                    <a:gd name="connsiteX24" fmla="*/ 91130 w 101879"/>
                    <a:gd name="connsiteY24" fmla="*/ 73991 h 125758"/>
                    <a:gd name="connsiteX25" fmla="*/ 91937 w 101879"/>
                    <a:gd name="connsiteY25" fmla="*/ 75124 h 125758"/>
                    <a:gd name="connsiteX26" fmla="*/ 92043 w 101879"/>
                    <a:gd name="connsiteY26" fmla="*/ 77039 h 125758"/>
                    <a:gd name="connsiteX27" fmla="*/ 93681 w 101879"/>
                    <a:gd name="connsiteY27" fmla="*/ 78718 h 125758"/>
                    <a:gd name="connsiteX28" fmla="*/ 96020 w 101879"/>
                    <a:gd name="connsiteY28" fmla="*/ 79060 h 125758"/>
                    <a:gd name="connsiteX29" fmla="*/ 99060 w 101879"/>
                    <a:gd name="connsiteY29" fmla="*/ 81033 h 125758"/>
                    <a:gd name="connsiteX30" fmla="*/ 99826 w 101879"/>
                    <a:gd name="connsiteY30" fmla="*/ 80927 h 125758"/>
                    <a:gd name="connsiteX31" fmla="*/ 100160 w 101879"/>
                    <a:gd name="connsiteY31" fmla="*/ 80682 h 125758"/>
                    <a:gd name="connsiteX32" fmla="*/ 100535 w 101879"/>
                    <a:gd name="connsiteY32" fmla="*/ 81057 h 125758"/>
                    <a:gd name="connsiteX33" fmla="*/ 101293 w 101879"/>
                    <a:gd name="connsiteY33" fmla="*/ 86754 h 125758"/>
                    <a:gd name="connsiteX34" fmla="*/ 101880 w 101879"/>
                    <a:gd name="connsiteY34" fmla="*/ 89777 h 125758"/>
                    <a:gd name="connsiteX35" fmla="*/ 101570 w 101879"/>
                    <a:gd name="connsiteY35" fmla="*/ 91000 h 125758"/>
                    <a:gd name="connsiteX36" fmla="*/ 101163 w 101879"/>
                    <a:gd name="connsiteY36" fmla="*/ 91962 h 125758"/>
                    <a:gd name="connsiteX37" fmla="*/ 101138 w 101879"/>
                    <a:gd name="connsiteY37" fmla="*/ 96558 h 125758"/>
                    <a:gd name="connsiteX38" fmla="*/ 99761 w 101879"/>
                    <a:gd name="connsiteY38" fmla="*/ 99207 h 125758"/>
                    <a:gd name="connsiteX39" fmla="*/ 99549 w 101879"/>
                    <a:gd name="connsiteY39" fmla="*/ 102108 h 125758"/>
                    <a:gd name="connsiteX40" fmla="*/ 99157 w 101879"/>
                    <a:gd name="connsiteY40" fmla="*/ 103045 h 125758"/>
                    <a:gd name="connsiteX41" fmla="*/ 97691 w 101879"/>
                    <a:gd name="connsiteY41" fmla="*/ 103877 h 125758"/>
                    <a:gd name="connsiteX42" fmla="*/ 97683 w 101879"/>
                    <a:gd name="connsiteY42" fmla="*/ 106101 h 125758"/>
                    <a:gd name="connsiteX43" fmla="*/ 97291 w 101879"/>
                    <a:gd name="connsiteY43" fmla="*/ 108791 h 125758"/>
                    <a:gd name="connsiteX44" fmla="*/ 97136 w 101879"/>
                    <a:gd name="connsiteY44" fmla="*/ 111651 h 125758"/>
                    <a:gd name="connsiteX45" fmla="*/ 97544 w 101879"/>
                    <a:gd name="connsiteY45" fmla="*/ 119125 h 125758"/>
                    <a:gd name="connsiteX46" fmla="*/ 97625 w 101879"/>
                    <a:gd name="connsiteY46" fmla="*/ 124699 h 125758"/>
                    <a:gd name="connsiteX47" fmla="*/ 98286 w 101879"/>
                    <a:gd name="connsiteY47" fmla="*/ 125759 h 125758"/>
                    <a:gd name="connsiteX48" fmla="*/ 95433 w 101879"/>
                    <a:gd name="connsiteY48" fmla="*/ 125286 h 125758"/>
                    <a:gd name="connsiteX49" fmla="*/ 87039 w 101879"/>
                    <a:gd name="connsiteY49" fmla="*/ 121032 h 125758"/>
                    <a:gd name="connsiteX50" fmla="*/ 80576 w 101879"/>
                    <a:gd name="connsiteY50" fmla="*/ 118595 h 125758"/>
                    <a:gd name="connsiteX51" fmla="*/ 58923 w 101879"/>
                    <a:gd name="connsiteY51" fmla="*/ 104659 h 125758"/>
                    <a:gd name="connsiteX52" fmla="*/ 52900 w 101879"/>
                    <a:gd name="connsiteY52" fmla="*/ 99068 h 125758"/>
                    <a:gd name="connsiteX53" fmla="*/ 45964 w 101879"/>
                    <a:gd name="connsiteY53" fmla="*/ 90739 h 125758"/>
                    <a:gd name="connsiteX54" fmla="*/ 30537 w 101879"/>
                    <a:gd name="connsiteY54" fmla="*/ 73959 h 125758"/>
                    <a:gd name="connsiteX55" fmla="*/ 27024 w 101879"/>
                    <a:gd name="connsiteY55" fmla="*/ 71269 h 125758"/>
                    <a:gd name="connsiteX56" fmla="*/ 22583 w 101879"/>
                    <a:gd name="connsiteY56" fmla="*/ 69957 h 125758"/>
                    <a:gd name="connsiteX57" fmla="*/ 19845 w 101879"/>
                    <a:gd name="connsiteY57" fmla="*/ 68531 h 125758"/>
                    <a:gd name="connsiteX58" fmla="*/ 17913 w 101879"/>
                    <a:gd name="connsiteY58" fmla="*/ 66974 h 125758"/>
                    <a:gd name="connsiteX59" fmla="*/ 16340 w 101879"/>
                    <a:gd name="connsiteY59" fmla="*/ 62321 h 125758"/>
                    <a:gd name="connsiteX60" fmla="*/ 12477 w 101879"/>
                    <a:gd name="connsiteY60" fmla="*/ 59550 h 125758"/>
                    <a:gd name="connsiteX61" fmla="*/ 5354 w 101879"/>
                    <a:gd name="connsiteY61" fmla="*/ 55622 h 125758"/>
                    <a:gd name="connsiteX62" fmla="*/ 0 w 101879"/>
                    <a:gd name="connsiteY62" fmla="*/ 49061 h 125758"/>
                    <a:gd name="connsiteX63" fmla="*/ 1312 w 101879"/>
                    <a:gd name="connsiteY63" fmla="*/ 47717 h 125758"/>
                    <a:gd name="connsiteX64" fmla="*/ 3252 w 101879"/>
                    <a:gd name="connsiteY64" fmla="*/ 43414 h 125758"/>
                    <a:gd name="connsiteX65" fmla="*/ 5957 w 101879"/>
                    <a:gd name="connsiteY65" fmla="*/ 39265 h 125758"/>
                    <a:gd name="connsiteX66" fmla="*/ 8468 w 101879"/>
                    <a:gd name="connsiteY66" fmla="*/ 36804 h 125758"/>
                    <a:gd name="connsiteX67" fmla="*/ 10472 w 101879"/>
                    <a:gd name="connsiteY67" fmla="*/ 34270 h 125758"/>
                    <a:gd name="connsiteX68" fmla="*/ 12591 w 101879"/>
                    <a:gd name="connsiteY68" fmla="*/ 32338 h 125758"/>
                    <a:gd name="connsiteX69" fmla="*/ 15615 w 101879"/>
                    <a:gd name="connsiteY69" fmla="*/ 30073 h 125758"/>
                    <a:gd name="connsiteX70" fmla="*/ 20252 w 101879"/>
                    <a:gd name="connsiteY70" fmla="*/ 24115 h 125758"/>
                    <a:gd name="connsiteX71" fmla="*/ 21336 w 101879"/>
                    <a:gd name="connsiteY71" fmla="*/ 23422 h 125758"/>
                    <a:gd name="connsiteX72" fmla="*/ 22077 w 101879"/>
                    <a:gd name="connsiteY72" fmla="*/ 19307 h 125758"/>
                    <a:gd name="connsiteX73" fmla="*/ 23235 w 101879"/>
                    <a:gd name="connsiteY73" fmla="*/ 14042 h 125758"/>
                    <a:gd name="connsiteX74" fmla="*/ 24580 w 101879"/>
                    <a:gd name="connsiteY74" fmla="*/ 12420 h 125758"/>
                    <a:gd name="connsiteX75" fmla="*/ 27733 w 101879"/>
                    <a:gd name="connsiteY75" fmla="*/ 11442 h 125758"/>
                    <a:gd name="connsiteX76" fmla="*/ 28467 w 101879"/>
                    <a:gd name="connsiteY76" fmla="*/ 10529 h 125758"/>
                    <a:gd name="connsiteX77" fmla="*/ 29592 w 101879"/>
                    <a:gd name="connsiteY77" fmla="*/ 6838 h 125758"/>
                    <a:gd name="connsiteX78" fmla="*/ 30309 w 101879"/>
                    <a:gd name="connsiteY78" fmla="*/ 2518 h 125758"/>
                    <a:gd name="connsiteX79" fmla="*/ 30366 w 101879"/>
                    <a:gd name="connsiteY79" fmla="*/ 1589 h 125758"/>
                    <a:gd name="connsiteX80" fmla="*/ 31613 w 101879"/>
                    <a:gd name="connsiteY80" fmla="*/ 1475 h 125758"/>
                    <a:gd name="connsiteX81" fmla="*/ 33740 w 101879"/>
                    <a:gd name="connsiteY81" fmla="*/ 546 h 125758"/>
                    <a:gd name="connsiteX82" fmla="*/ 34970 w 101879"/>
                    <a:gd name="connsiteY82" fmla="*/ 962 h 125758"/>
                    <a:gd name="connsiteX83" fmla="*/ 35517 w 101879"/>
                    <a:gd name="connsiteY83" fmla="*/ 2200 h 125758"/>
                    <a:gd name="connsiteX84" fmla="*/ 35802 w 101879"/>
                    <a:gd name="connsiteY84" fmla="*/ 3243 h 125758"/>
                    <a:gd name="connsiteX85" fmla="*/ 42240 w 101879"/>
                    <a:gd name="connsiteY85" fmla="*/ 562 h 125758"/>
                    <a:gd name="connsiteX86" fmla="*/ 42802 w 101879"/>
                    <a:gd name="connsiteY86" fmla="*/ 0 h 125758"/>
                    <a:gd name="connsiteX87" fmla="*/ 43144 w 101879"/>
                    <a:gd name="connsiteY87" fmla="*/ 98 h 125758"/>
                    <a:gd name="connsiteX88" fmla="*/ 43951 w 101879"/>
                    <a:gd name="connsiteY88" fmla="*/ 2526 h 125758"/>
                    <a:gd name="connsiteX89" fmla="*/ 44416 w 101879"/>
                    <a:gd name="connsiteY89" fmla="*/ 2380 h 125758"/>
                    <a:gd name="connsiteX90" fmla="*/ 44807 w 101879"/>
                    <a:gd name="connsiteY90" fmla="*/ 1671 h 125758"/>
                    <a:gd name="connsiteX91" fmla="*/ 45239 w 101879"/>
                    <a:gd name="connsiteY91" fmla="*/ 1605 h 125758"/>
                    <a:gd name="connsiteX92" fmla="*/ 45736 w 101879"/>
                    <a:gd name="connsiteY92" fmla="*/ 1931 h 125758"/>
                    <a:gd name="connsiteX93" fmla="*/ 46241 w 101879"/>
                    <a:gd name="connsiteY93" fmla="*/ 3064 h 125758"/>
                    <a:gd name="connsiteX94" fmla="*/ 47065 w 101879"/>
                    <a:gd name="connsiteY94" fmla="*/ 4075 h 125758"/>
                    <a:gd name="connsiteX95" fmla="*/ 48458 w 101879"/>
                    <a:gd name="connsiteY95" fmla="*/ 4792 h 125758"/>
                    <a:gd name="connsiteX96" fmla="*/ 49338 w 101879"/>
                    <a:gd name="connsiteY96" fmla="*/ 5770 h 125758"/>
                    <a:gd name="connsiteX97" fmla="*/ 49249 w 101879"/>
                    <a:gd name="connsiteY97" fmla="*/ 8362 h 125758"/>
                    <a:gd name="connsiteX98" fmla="*/ 49583 w 101879"/>
                    <a:gd name="connsiteY98" fmla="*/ 10880 h 125758"/>
                    <a:gd name="connsiteX99" fmla="*/ 50186 w 101879"/>
                    <a:gd name="connsiteY99" fmla="*/ 11467 h 125758"/>
                    <a:gd name="connsiteX100" fmla="*/ 50512 w 101879"/>
                    <a:gd name="connsiteY100" fmla="*/ 12966 h 125758"/>
                    <a:gd name="connsiteX101" fmla="*/ 50675 w 101879"/>
                    <a:gd name="connsiteY101" fmla="*/ 14621 h 125758"/>
                    <a:gd name="connsiteX102" fmla="*/ 51009 w 101879"/>
                    <a:gd name="connsiteY102" fmla="*/ 15484 h 125758"/>
                    <a:gd name="connsiteX103" fmla="*/ 51245 w 101879"/>
                    <a:gd name="connsiteY103" fmla="*/ 17147 h 125758"/>
                    <a:gd name="connsiteX104" fmla="*/ 51123 w 101879"/>
                    <a:gd name="connsiteY104" fmla="*/ 18940 h 125758"/>
                    <a:gd name="connsiteX105" fmla="*/ 51376 w 101879"/>
                    <a:gd name="connsiteY105" fmla="*/ 20195 h 125758"/>
                    <a:gd name="connsiteX106" fmla="*/ 52402 w 101879"/>
                    <a:gd name="connsiteY106" fmla="*/ 22363 h 125758"/>
                    <a:gd name="connsiteX107" fmla="*/ 53038 w 101879"/>
                    <a:gd name="connsiteY107" fmla="*/ 25093 h 125758"/>
                    <a:gd name="connsiteX108" fmla="*/ 53047 w 101879"/>
                    <a:gd name="connsiteY108" fmla="*/ 27024 h 125758"/>
                    <a:gd name="connsiteX109" fmla="*/ 52672 w 101879"/>
                    <a:gd name="connsiteY109" fmla="*/ 29062 h 125758"/>
                    <a:gd name="connsiteX110" fmla="*/ 51995 w 101879"/>
                    <a:gd name="connsiteY110" fmla="*/ 30920 h 125758"/>
                    <a:gd name="connsiteX111" fmla="*/ 50797 w 101879"/>
                    <a:gd name="connsiteY111" fmla="*/ 32949 h 125758"/>
                    <a:gd name="connsiteX112" fmla="*/ 50691 w 101879"/>
                    <a:gd name="connsiteY112" fmla="*/ 33756 h 125758"/>
                    <a:gd name="connsiteX113" fmla="*/ 51409 w 101879"/>
                    <a:gd name="connsiteY113" fmla="*/ 34278 h 125758"/>
                    <a:gd name="connsiteX114" fmla="*/ 52484 w 101879"/>
                    <a:gd name="connsiteY114" fmla="*/ 34384 h 125758"/>
                    <a:gd name="connsiteX115" fmla="*/ 53389 w 101879"/>
                    <a:gd name="connsiteY115" fmla="*/ 33968 h 125758"/>
                    <a:gd name="connsiteX116" fmla="*/ 55663 w 101879"/>
                    <a:gd name="connsiteY116" fmla="*/ 34905 h 125758"/>
                    <a:gd name="connsiteX117" fmla="*/ 56860 w 101879"/>
                    <a:gd name="connsiteY117" fmla="*/ 36234 h 125758"/>
                    <a:gd name="connsiteX118" fmla="*/ 57912 w 101879"/>
                    <a:gd name="connsiteY118" fmla="*/ 37888 h 125758"/>
                    <a:gd name="connsiteX119" fmla="*/ 58857 w 101879"/>
                    <a:gd name="connsiteY119" fmla="*/ 38719 h 125758"/>
                    <a:gd name="connsiteX120" fmla="*/ 59281 w 101879"/>
                    <a:gd name="connsiteY120" fmla="*/ 39763 h 125758"/>
                    <a:gd name="connsiteX121" fmla="*/ 60903 w 101879"/>
                    <a:gd name="connsiteY121" fmla="*/ 39477 h 125758"/>
                    <a:gd name="connsiteX122" fmla="*/ 62777 w 101879"/>
                    <a:gd name="connsiteY122" fmla="*/ 38475 h 125758"/>
                    <a:gd name="connsiteX123" fmla="*/ 63169 w 101879"/>
                    <a:gd name="connsiteY123" fmla="*/ 38002 h 125758"/>
                    <a:gd name="connsiteX124" fmla="*/ 63723 w 101879"/>
                    <a:gd name="connsiteY124" fmla="*/ 38255 h 125758"/>
                    <a:gd name="connsiteX125" fmla="*/ 64937 w 101879"/>
                    <a:gd name="connsiteY125" fmla="*/ 38353 h 125758"/>
                    <a:gd name="connsiteX126" fmla="*/ 65785 w 101879"/>
                    <a:gd name="connsiteY126" fmla="*/ 36551 h 125758"/>
                    <a:gd name="connsiteX127" fmla="*/ 66469 w 101879"/>
                    <a:gd name="connsiteY127" fmla="*/ 34473 h 125758"/>
                    <a:gd name="connsiteX128" fmla="*/ 67928 w 101879"/>
                    <a:gd name="connsiteY128" fmla="*/ 32224 h 125758"/>
                    <a:gd name="connsiteX129" fmla="*/ 68637 w 101879"/>
                    <a:gd name="connsiteY129" fmla="*/ 31352 h 125758"/>
                    <a:gd name="connsiteX130" fmla="*/ 68833 w 101879"/>
                    <a:gd name="connsiteY130" fmla="*/ 29918 h 125758"/>
                    <a:gd name="connsiteX131" fmla="*/ 68906 w 101879"/>
                    <a:gd name="connsiteY131" fmla="*/ 28059 h 125758"/>
                    <a:gd name="connsiteX132" fmla="*/ 69428 w 101879"/>
                    <a:gd name="connsiteY132" fmla="*/ 26446 h 125758"/>
                    <a:gd name="connsiteX133" fmla="*/ 70633 w 101879"/>
                    <a:gd name="connsiteY133" fmla="*/ 25557 h 125758"/>
                    <a:gd name="connsiteX134" fmla="*/ 71929 w 101879"/>
                    <a:gd name="connsiteY134" fmla="*/ 25574 h 125758"/>
                    <a:gd name="connsiteX135" fmla="*/ 72639 w 101879"/>
                    <a:gd name="connsiteY135" fmla="*/ 25900 h 125758"/>
                    <a:gd name="connsiteX136" fmla="*/ 73005 w 101879"/>
                    <a:gd name="connsiteY136" fmla="*/ 27465 h 125758"/>
                    <a:gd name="connsiteX137" fmla="*/ 74048 w 101879"/>
                    <a:gd name="connsiteY137" fmla="*/ 28654 h 12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01879" h="125758">
                      <a:moveTo>
                        <a:pt x="74937" y="29469"/>
                      </a:moveTo>
                      <a:lnTo>
                        <a:pt x="75409" y="29812"/>
                      </a:lnTo>
                      <a:lnTo>
                        <a:pt x="76159" y="30733"/>
                      </a:lnTo>
                      <a:lnTo>
                        <a:pt x="76860" y="33878"/>
                      </a:lnTo>
                      <a:lnTo>
                        <a:pt x="79639" y="44033"/>
                      </a:lnTo>
                      <a:lnTo>
                        <a:pt x="79500" y="46828"/>
                      </a:lnTo>
                      <a:lnTo>
                        <a:pt x="78954" y="48654"/>
                      </a:lnTo>
                      <a:lnTo>
                        <a:pt x="78938" y="50447"/>
                      </a:lnTo>
                      <a:lnTo>
                        <a:pt x="78751" y="52215"/>
                      </a:lnTo>
                      <a:lnTo>
                        <a:pt x="77048" y="55117"/>
                      </a:lnTo>
                      <a:lnTo>
                        <a:pt x="72027" y="61041"/>
                      </a:lnTo>
                      <a:lnTo>
                        <a:pt x="72419" y="61563"/>
                      </a:lnTo>
                      <a:lnTo>
                        <a:pt x="73616" y="62231"/>
                      </a:lnTo>
                      <a:lnTo>
                        <a:pt x="74831" y="62590"/>
                      </a:lnTo>
                      <a:lnTo>
                        <a:pt x="75841" y="62402"/>
                      </a:lnTo>
                      <a:lnTo>
                        <a:pt x="77096" y="63886"/>
                      </a:lnTo>
                      <a:lnTo>
                        <a:pt x="78449" y="65744"/>
                      </a:lnTo>
                      <a:lnTo>
                        <a:pt x="79875" y="66714"/>
                      </a:lnTo>
                      <a:lnTo>
                        <a:pt x="81945" y="67553"/>
                      </a:lnTo>
                      <a:lnTo>
                        <a:pt x="83755" y="67659"/>
                      </a:lnTo>
                      <a:lnTo>
                        <a:pt x="85287" y="67333"/>
                      </a:lnTo>
                      <a:lnTo>
                        <a:pt x="87455" y="67692"/>
                      </a:lnTo>
                      <a:lnTo>
                        <a:pt x="89761" y="69240"/>
                      </a:lnTo>
                      <a:lnTo>
                        <a:pt x="90584" y="71783"/>
                      </a:lnTo>
                      <a:lnTo>
                        <a:pt x="91130" y="73991"/>
                      </a:lnTo>
                      <a:lnTo>
                        <a:pt x="91937" y="75124"/>
                      </a:lnTo>
                      <a:lnTo>
                        <a:pt x="92043" y="77039"/>
                      </a:lnTo>
                      <a:lnTo>
                        <a:pt x="93681" y="78718"/>
                      </a:lnTo>
                      <a:lnTo>
                        <a:pt x="96020" y="79060"/>
                      </a:lnTo>
                      <a:lnTo>
                        <a:pt x="99060" y="81033"/>
                      </a:lnTo>
                      <a:lnTo>
                        <a:pt x="99826" y="80927"/>
                      </a:lnTo>
                      <a:lnTo>
                        <a:pt x="100160" y="80682"/>
                      </a:lnTo>
                      <a:lnTo>
                        <a:pt x="100535" y="81057"/>
                      </a:lnTo>
                      <a:lnTo>
                        <a:pt x="101293" y="86754"/>
                      </a:lnTo>
                      <a:lnTo>
                        <a:pt x="101880" y="89777"/>
                      </a:lnTo>
                      <a:lnTo>
                        <a:pt x="101570" y="91000"/>
                      </a:lnTo>
                      <a:lnTo>
                        <a:pt x="101163" y="91962"/>
                      </a:lnTo>
                      <a:lnTo>
                        <a:pt x="101138" y="96558"/>
                      </a:lnTo>
                      <a:lnTo>
                        <a:pt x="99761" y="99207"/>
                      </a:lnTo>
                      <a:lnTo>
                        <a:pt x="99549" y="102108"/>
                      </a:lnTo>
                      <a:lnTo>
                        <a:pt x="99157" y="103045"/>
                      </a:lnTo>
                      <a:lnTo>
                        <a:pt x="97691" y="103877"/>
                      </a:lnTo>
                      <a:lnTo>
                        <a:pt x="97683" y="106101"/>
                      </a:lnTo>
                      <a:lnTo>
                        <a:pt x="97291" y="108791"/>
                      </a:lnTo>
                      <a:lnTo>
                        <a:pt x="97136" y="111651"/>
                      </a:lnTo>
                      <a:lnTo>
                        <a:pt x="97544" y="119125"/>
                      </a:lnTo>
                      <a:lnTo>
                        <a:pt x="97625" y="124699"/>
                      </a:lnTo>
                      <a:lnTo>
                        <a:pt x="98286" y="125759"/>
                      </a:lnTo>
                      <a:lnTo>
                        <a:pt x="95433" y="125286"/>
                      </a:lnTo>
                      <a:lnTo>
                        <a:pt x="87039" y="121032"/>
                      </a:lnTo>
                      <a:lnTo>
                        <a:pt x="80576" y="118595"/>
                      </a:lnTo>
                      <a:lnTo>
                        <a:pt x="58923" y="104659"/>
                      </a:lnTo>
                      <a:lnTo>
                        <a:pt x="52900" y="99068"/>
                      </a:lnTo>
                      <a:lnTo>
                        <a:pt x="45964" y="90739"/>
                      </a:lnTo>
                      <a:lnTo>
                        <a:pt x="30537" y="73959"/>
                      </a:lnTo>
                      <a:lnTo>
                        <a:pt x="27024" y="71269"/>
                      </a:lnTo>
                      <a:lnTo>
                        <a:pt x="22583" y="69957"/>
                      </a:lnTo>
                      <a:lnTo>
                        <a:pt x="19845" y="68531"/>
                      </a:lnTo>
                      <a:lnTo>
                        <a:pt x="17913" y="66974"/>
                      </a:lnTo>
                      <a:lnTo>
                        <a:pt x="16340" y="62321"/>
                      </a:lnTo>
                      <a:lnTo>
                        <a:pt x="12477" y="59550"/>
                      </a:lnTo>
                      <a:lnTo>
                        <a:pt x="5354" y="55622"/>
                      </a:lnTo>
                      <a:lnTo>
                        <a:pt x="0" y="49061"/>
                      </a:lnTo>
                      <a:lnTo>
                        <a:pt x="1312" y="47717"/>
                      </a:lnTo>
                      <a:lnTo>
                        <a:pt x="3252" y="43414"/>
                      </a:lnTo>
                      <a:lnTo>
                        <a:pt x="5957" y="39265"/>
                      </a:lnTo>
                      <a:lnTo>
                        <a:pt x="8468" y="36804"/>
                      </a:lnTo>
                      <a:lnTo>
                        <a:pt x="10472" y="34270"/>
                      </a:lnTo>
                      <a:lnTo>
                        <a:pt x="12591" y="32338"/>
                      </a:lnTo>
                      <a:lnTo>
                        <a:pt x="15615" y="30073"/>
                      </a:lnTo>
                      <a:lnTo>
                        <a:pt x="20252" y="24115"/>
                      </a:lnTo>
                      <a:lnTo>
                        <a:pt x="21336" y="23422"/>
                      </a:lnTo>
                      <a:lnTo>
                        <a:pt x="22077" y="19307"/>
                      </a:lnTo>
                      <a:lnTo>
                        <a:pt x="23235" y="14042"/>
                      </a:lnTo>
                      <a:lnTo>
                        <a:pt x="24580" y="12420"/>
                      </a:lnTo>
                      <a:lnTo>
                        <a:pt x="27733" y="11442"/>
                      </a:lnTo>
                      <a:lnTo>
                        <a:pt x="28467" y="10529"/>
                      </a:lnTo>
                      <a:lnTo>
                        <a:pt x="29592" y="6838"/>
                      </a:lnTo>
                      <a:lnTo>
                        <a:pt x="30309" y="2518"/>
                      </a:lnTo>
                      <a:lnTo>
                        <a:pt x="30366" y="1589"/>
                      </a:lnTo>
                      <a:lnTo>
                        <a:pt x="31613" y="1475"/>
                      </a:lnTo>
                      <a:lnTo>
                        <a:pt x="33740" y="546"/>
                      </a:lnTo>
                      <a:lnTo>
                        <a:pt x="34970" y="962"/>
                      </a:lnTo>
                      <a:lnTo>
                        <a:pt x="35517" y="2200"/>
                      </a:lnTo>
                      <a:lnTo>
                        <a:pt x="35802" y="3243"/>
                      </a:lnTo>
                      <a:lnTo>
                        <a:pt x="42240" y="562"/>
                      </a:lnTo>
                      <a:lnTo>
                        <a:pt x="42802" y="0"/>
                      </a:lnTo>
                      <a:lnTo>
                        <a:pt x="43144" y="98"/>
                      </a:lnTo>
                      <a:lnTo>
                        <a:pt x="43951" y="2526"/>
                      </a:lnTo>
                      <a:lnTo>
                        <a:pt x="44416" y="2380"/>
                      </a:lnTo>
                      <a:lnTo>
                        <a:pt x="44807" y="1671"/>
                      </a:lnTo>
                      <a:lnTo>
                        <a:pt x="45239" y="1605"/>
                      </a:lnTo>
                      <a:lnTo>
                        <a:pt x="45736" y="1931"/>
                      </a:lnTo>
                      <a:lnTo>
                        <a:pt x="46241" y="3064"/>
                      </a:lnTo>
                      <a:lnTo>
                        <a:pt x="47065" y="4075"/>
                      </a:lnTo>
                      <a:lnTo>
                        <a:pt x="48458" y="4792"/>
                      </a:lnTo>
                      <a:lnTo>
                        <a:pt x="49338" y="5770"/>
                      </a:lnTo>
                      <a:lnTo>
                        <a:pt x="49249" y="8362"/>
                      </a:lnTo>
                      <a:lnTo>
                        <a:pt x="49583" y="10880"/>
                      </a:lnTo>
                      <a:lnTo>
                        <a:pt x="50186" y="11467"/>
                      </a:lnTo>
                      <a:lnTo>
                        <a:pt x="50512" y="12966"/>
                      </a:lnTo>
                      <a:lnTo>
                        <a:pt x="50675" y="14621"/>
                      </a:lnTo>
                      <a:lnTo>
                        <a:pt x="51009" y="15484"/>
                      </a:lnTo>
                      <a:lnTo>
                        <a:pt x="51245" y="17147"/>
                      </a:lnTo>
                      <a:lnTo>
                        <a:pt x="51123" y="18940"/>
                      </a:lnTo>
                      <a:lnTo>
                        <a:pt x="51376" y="20195"/>
                      </a:lnTo>
                      <a:lnTo>
                        <a:pt x="52402" y="22363"/>
                      </a:lnTo>
                      <a:lnTo>
                        <a:pt x="53038" y="25093"/>
                      </a:lnTo>
                      <a:lnTo>
                        <a:pt x="53047" y="27024"/>
                      </a:lnTo>
                      <a:lnTo>
                        <a:pt x="52672" y="29062"/>
                      </a:lnTo>
                      <a:lnTo>
                        <a:pt x="51995" y="30920"/>
                      </a:lnTo>
                      <a:lnTo>
                        <a:pt x="50797" y="32949"/>
                      </a:lnTo>
                      <a:lnTo>
                        <a:pt x="50691" y="33756"/>
                      </a:lnTo>
                      <a:lnTo>
                        <a:pt x="51409" y="34278"/>
                      </a:lnTo>
                      <a:lnTo>
                        <a:pt x="52484" y="34384"/>
                      </a:lnTo>
                      <a:lnTo>
                        <a:pt x="53389" y="33968"/>
                      </a:lnTo>
                      <a:lnTo>
                        <a:pt x="55663" y="34905"/>
                      </a:lnTo>
                      <a:lnTo>
                        <a:pt x="56860" y="36234"/>
                      </a:lnTo>
                      <a:lnTo>
                        <a:pt x="57912" y="37888"/>
                      </a:lnTo>
                      <a:lnTo>
                        <a:pt x="58857" y="38719"/>
                      </a:lnTo>
                      <a:lnTo>
                        <a:pt x="59281" y="39763"/>
                      </a:lnTo>
                      <a:lnTo>
                        <a:pt x="60903" y="39477"/>
                      </a:lnTo>
                      <a:lnTo>
                        <a:pt x="62777" y="38475"/>
                      </a:lnTo>
                      <a:lnTo>
                        <a:pt x="63169" y="38002"/>
                      </a:lnTo>
                      <a:lnTo>
                        <a:pt x="63723" y="38255"/>
                      </a:lnTo>
                      <a:lnTo>
                        <a:pt x="64937" y="38353"/>
                      </a:lnTo>
                      <a:lnTo>
                        <a:pt x="65785" y="36551"/>
                      </a:lnTo>
                      <a:lnTo>
                        <a:pt x="66469" y="34473"/>
                      </a:lnTo>
                      <a:lnTo>
                        <a:pt x="67928" y="32224"/>
                      </a:lnTo>
                      <a:lnTo>
                        <a:pt x="68637" y="31352"/>
                      </a:lnTo>
                      <a:lnTo>
                        <a:pt x="68833" y="29918"/>
                      </a:lnTo>
                      <a:lnTo>
                        <a:pt x="68906" y="28059"/>
                      </a:lnTo>
                      <a:lnTo>
                        <a:pt x="69428" y="26446"/>
                      </a:lnTo>
                      <a:lnTo>
                        <a:pt x="70633" y="25557"/>
                      </a:lnTo>
                      <a:lnTo>
                        <a:pt x="71929" y="25574"/>
                      </a:lnTo>
                      <a:lnTo>
                        <a:pt x="72639" y="25900"/>
                      </a:lnTo>
                      <a:lnTo>
                        <a:pt x="73005" y="27465"/>
                      </a:lnTo>
                      <a:lnTo>
                        <a:pt x="74048" y="28654"/>
                      </a:lnTo>
                      <a:close/>
                    </a:path>
                  </a:pathLst>
                </a:custGeom>
                <a:solidFill>
                  <a:srgbClr val="D6D6D2"/>
                </a:solidFill>
                <a:ln w="6112" cap="rnd">
                  <a:solidFill>
                    <a:srgbClr val="FFFFFF"/>
                  </a:solidFill>
                  <a:prstDash val="solid"/>
                  <a:round/>
                </a:ln>
              </p:spPr>
              <p:txBody>
                <a:bodyPr rtlCol="0" anchor="ctr"/>
                <a:lstStyle/>
                <a:p>
                  <a:endParaRPr lang="en-US"/>
                </a:p>
              </p:txBody>
            </p:sp>
            <p:sp>
              <p:nvSpPr>
                <p:cNvPr id="693" name="Freeform: Shape 692">
                  <a:extLst>
                    <a:ext uri="{FF2B5EF4-FFF2-40B4-BE49-F238E27FC236}">
                      <a16:creationId xmlns:a16="http://schemas.microsoft.com/office/drawing/2014/main" id="{B2B8D417-D28E-4E9D-8FE4-1BACBE47DC6D}"/>
                    </a:ext>
                  </a:extLst>
                </p:cNvPr>
                <p:cNvSpPr/>
                <p:nvPr/>
              </p:nvSpPr>
              <p:spPr>
                <a:xfrm>
                  <a:off x="6814399" y="3453361"/>
                  <a:ext cx="36624" cy="52443"/>
                </a:xfrm>
                <a:custGeom>
                  <a:avLst/>
                  <a:gdLst>
                    <a:gd name="connsiteX0" fmla="*/ 18867 w 36624"/>
                    <a:gd name="connsiteY0" fmla="*/ 40830 h 52443"/>
                    <a:gd name="connsiteX1" fmla="*/ 18166 w 36624"/>
                    <a:gd name="connsiteY1" fmla="*/ 41352 h 52443"/>
                    <a:gd name="connsiteX2" fmla="*/ 16845 w 36624"/>
                    <a:gd name="connsiteY2" fmla="*/ 42851 h 52443"/>
                    <a:gd name="connsiteX3" fmla="*/ 15525 w 36624"/>
                    <a:gd name="connsiteY3" fmla="*/ 44066 h 52443"/>
                    <a:gd name="connsiteX4" fmla="*/ 12860 w 36624"/>
                    <a:gd name="connsiteY4" fmla="*/ 45940 h 52443"/>
                    <a:gd name="connsiteX5" fmla="*/ 12257 w 36624"/>
                    <a:gd name="connsiteY5" fmla="*/ 47065 h 52443"/>
                    <a:gd name="connsiteX6" fmla="*/ 11678 w 36624"/>
                    <a:gd name="connsiteY6" fmla="*/ 46054 h 52443"/>
                    <a:gd name="connsiteX7" fmla="*/ 10513 w 36624"/>
                    <a:gd name="connsiteY7" fmla="*/ 46747 h 52443"/>
                    <a:gd name="connsiteX8" fmla="*/ 9535 w 36624"/>
                    <a:gd name="connsiteY8" fmla="*/ 51009 h 52443"/>
                    <a:gd name="connsiteX9" fmla="*/ 7514 w 36624"/>
                    <a:gd name="connsiteY9" fmla="*/ 52444 h 52443"/>
                    <a:gd name="connsiteX10" fmla="*/ 4979 w 36624"/>
                    <a:gd name="connsiteY10" fmla="*/ 52321 h 52443"/>
                    <a:gd name="connsiteX11" fmla="*/ 2844 w 36624"/>
                    <a:gd name="connsiteY11" fmla="*/ 51914 h 52443"/>
                    <a:gd name="connsiteX12" fmla="*/ 0 w 36624"/>
                    <a:gd name="connsiteY12" fmla="*/ 52175 h 52443"/>
                    <a:gd name="connsiteX13" fmla="*/ 1157 w 36624"/>
                    <a:gd name="connsiteY13" fmla="*/ 49689 h 52443"/>
                    <a:gd name="connsiteX14" fmla="*/ 2355 w 36624"/>
                    <a:gd name="connsiteY14" fmla="*/ 46462 h 52443"/>
                    <a:gd name="connsiteX15" fmla="*/ 3545 w 36624"/>
                    <a:gd name="connsiteY15" fmla="*/ 42110 h 52443"/>
                    <a:gd name="connsiteX16" fmla="*/ 5631 w 36624"/>
                    <a:gd name="connsiteY16" fmla="*/ 38483 h 52443"/>
                    <a:gd name="connsiteX17" fmla="*/ 9983 w 36624"/>
                    <a:gd name="connsiteY17" fmla="*/ 26193 h 52443"/>
                    <a:gd name="connsiteX18" fmla="*/ 12485 w 36624"/>
                    <a:gd name="connsiteY18" fmla="*/ 21206 h 52443"/>
                    <a:gd name="connsiteX19" fmla="*/ 13374 w 36624"/>
                    <a:gd name="connsiteY19" fmla="*/ 14123 h 52443"/>
                    <a:gd name="connsiteX20" fmla="*/ 17261 w 36624"/>
                    <a:gd name="connsiteY20" fmla="*/ 7922 h 52443"/>
                    <a:gd name="connsiteX21" fmla="*/ 20162 w 36624"/>
                    <a:gd name="connsiteY21" fmla="*/ 6088 h 52443"/>
                    <a:gd name="connsiteX22" fmla="*/ 21572 w 36624"/>
                    <a:gd name="connsiteY22" fmla="*/ 4303 h 52443"/>
                    <a:gd name="connsiteX23" fmla="*/ 21523 w 36624"/>
                    <a:gd name="connsiteY23" fmla="*/ 1622 h 52443"/>
                    <a:gd name="connsiteX24" fmla="*/ 25851 w 36624"/>
                    <a:gd name="connsiteY24" fmla="*/ 1646 h 52443"/>
                    <a:gd name="connsiteX25" fmla="*/ 28646 w 36624"/>
                    <a:gd name="connsiteY25" fmla="*/ 1500 h 52443"/>
                    <a:gd name="connsiteX26" fmla="*/ 29461 w 36624"/>
                    <a:gd name="connsiteY26" fmla="*/ 0 h 52443"/>
                    <a:gd name="connsiteX27" fmla="*/ 31629 w 36624"/>
                    <a:gd name="connsiteY27" fmla="*/ 685 h 52443"/>
                    <a:gd name="connsiteX28" fmla="*/ 32860 w 36624"/>
                    <a:gd name="connsiteY28" fmla="*/ 2135 h 52443"/>
                    <a:gd name="connsiteX29" fmla="*/ 31751 w 36624"/>
                    <a:gd name="connsiteY29" fmla="*/ 3667 h 52443"/>
                    <a:gd name="connsiteX30" fmla="*/ 30203 w 36624"/>
                    <a:gd name="connsiteY30" fmla="*/ 5428 h 52443"/>
                    <a:gd name="connsiteX31" fmla="*/ 30292 w 36624"/>
                    <a:gd name="connsiteY31" fmla="*/ 5876 h 52443"/>
                    <a:gd name="connsiteX32" fmla="*/ 31449 w 36624"/>
                    <a:gd name="connsiteY32" fmla="*/ 6023 h 52443"/>
                    <a:gd name="connsiteX33" fmla="*/ 33414 w 36624"/>
                    <a:gd name="connsiteY33" fmla="*/ 6976 h 52443"/>
                    <a:gd name="connsiteX34" fmla="*/ 34620 w 36624"/>
                    <a:gd name="connsiteY34" fmla="*/ 8085 h 52443"/>
                    <a:gd name="connsiteX35" fmla="*/ 36625 w 36624"/>
                    <a:gd name="connsiteY35" fmla="*/ 15012 h 52443"/>
                    <a:gd name="connsiteX36" fmla="*/ 35386 w 36624"/>
                    <a:gd name="connsiteY36" fmla="*/ 17856 h 52443"/>
                    <a:gd name="connsiteX37" fmla="*/ 33462 w 36624"/>
                    <a:gd name="connsiteY37" fmla="*/ 20391 h 52443"/>
                    <a:gd name="connsiteX38" fmla="*/ 32599 w 36624"/>
                    <a:gd name="connsiteY38" fmla="*/ 20627 h 52443"/>
                    <a:gd name="connsiteX39" fmla="*/ 30912 w 36624"/>
                    <a:gd name="connsiteY39" fmla="*/ 21890 h 52443"/>
                    <a:gd name="connsiteX40" fmla="*/ 29502 w 36624"/>
                    <a:gd name="connsiteY40" fmla="*/ 23610 h 52443"/>
                    <a:gd name="connsiteX41" fmla="*/ 29005 w 36624"/>
                    <a:gd name="connsiteY41" fmla="*/ 24694 h 52443"/>
                    <a:gd name="connsiteX42" fmla="*/ 29111 w 36624"/>
                    <a:gd name="connsiteY42" fmla="*/ 25721 h 52443"/>
                    <a:gd name="connsiteX43" fmla="*/ 31116 w 36624"/>
                    <a:gd name="connsiteY43" fmla="*/ 27000 h 52443"/>
                    <a:gd name="connsiteX44" fmla="*/ 31172 w 36624"/>
                    <a:gd name="connsiteY44" fmla="*/ 27514 h 52443"/>
                    <a:gd name="connsiteX45" fmla="*/ 30749 w 36624"/>
                    <a:gd name="connsiteY45" fmla="*/ 27913 h 52443"/>
                    <a:gd name="connsiteX46" fmla="*/ 29143 w 36624"/>
                    <a:gd name="connsiteY46" fmla="*/ 27636 h 52443"/>
                    <a:gd name="connsiteX47" fmla="*/ 27065 w 36624"/>
                    <a:gd name="connsiteY47" fmla="*/ 27505 h 52443"/>
                    <a:gd name="connsiteX48" fmla="*/ 25826 w 36624"/>
                    <a:gd name="connsiteY48" fmla="*/ 27505 h 52443"/>
                    <a:gd name="connsiteX49" fmla="*/ 24400 w 36624"/>
                    <a:gd name="connsiteY49" fmla="*/ 27766 h 52443"/>
                    <a:gd name="connsiteX50" fmla="*/ 22583 w 36624"/>
                    <a:gd name="connsiteY50" fmla="*/ 29323 h 52443"/>
                    <a:gd name="connsiteX51" fmla="*/ 21776 w 36624"/>
                    <a:gd name="connsiteY51" fmla="*/ 30350 h 52443"/>
                    <a:gd name="connsiteX52" fmla="*/ 21336 w 36624"/>
                    <a:gd name="connsiteY52" fmla="*/ 31010 h 52443"/>
                    <a:gd name="connsiteX53" fmla="*/ 20684 w 36624"/>
                    <a:gd name="connsiteY53" fmla="*/ 33129 h 52443"/>
                    <a:gd name="connsiteX54" fmla="*/ 21409 w 36624"/>
                    <a:gd name="connsiteY54" fmla="*/ 34587 h 52443"/>
                    <a:gd name="connsiteX55" fmla="*/ 22778 w 36624"/>
                    <a:gd name="connsiteY55" fmla="*/ 35402 h 52443"/>
                    <a:gd name="connsiteX56" fmla="*/ 22966 w 36624"/>
                    <a:gd name="connsiteY56" fmla="*/ 35826 h 52443"/>
                    <a:gd name="connsiteX57" fmla="*/ 22664 w 36624"/>
                    <a:gd name="connsiteY57" fmla="*/ 36560 h 52443"/>
                    <a:gd name="connsiteX58" fmla="*/ 21311 w 36624"/>
                    <a:gd name="connsiteY58" fmla="*/ 37473 h 52443"/>
                    <a:gd name="connsiteX59" fmla="*/ 20301 w 36624"/>
                    <a:gd name="connsiteY59" fmla="*/ 38589 h 52443"/>
                    <a:gd name="connsiteX60" fmla="*/ 19999 w 36624"/>
                    <a:gd name="connsiteY60" fmla="*/ 39730 h 52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6624" h="52443">
                      <a:moveTo>
                        <a:pt x="18867" y="40830"/>
                      </a:moveTo>
                      <a:lnTo>
                        <a:pt x="18166" y="41352"/>
                      </a:lnTo>
                      <a:lnTo>
                        <a:pt x="16845" y="42851"/>
                      </a:lnTo>
                      <a:lnTo>
                        <a:pt x="15525" y="44066"/>
                      </a:lnTo>
                      <a:lnTo>
                        <a:pt x="12860" y="45940"/>
                      </a:lnTo>
                      <a:lnTo>
                        <a:pt x="12257" y="47065"/>
                      </a:lnTo>
                      <a:lnTo>
                        <a:pt x="11678" y="46054"/>
                      </a:lnTo>
                      <a:lnTo>
                        <a:pt x="10513" y="46747"/>
                      </a:lnTo>
                      <a:lnTo>
                        <a:pt x="9535" y="51009"/>
                      </a:lnTo>
                      <a:lnTo>
                        <a:pt x="7514" y="52444"/>
                      </a:lnTo>
                      <a:lnTo>
                        <a:pt x="4979" y="52321"/>
                      </a:lnTo>
                      <a:lnTo>
                        <a:pt x="2844" y="51914"/>
                      </a:lnTo>
                      <a:lnTo>
                        <a:pt x="0" y="52175"/>
                      </a:lnTo>
                      <a:lnTo>
                        <a:pt x="1157" y="49689"/>
                      </a:lnTo>
                      <a:lnTo>
                        <a:pt x="2355" y="46462"/>
                      </a:lnTo>
                      <a:lnTo>
                        <a:pt x="3545" y="42110"/>
                      </a:lnTo>
                      <a:lnTo>
                        <a:pt x="5631" y="38483"/>
                      </a:lnTo>
                      <a:lnTo>
                        <a:pt x="9983" y="26193"/>
                      </a:lnTo>
                      <a:lnTo>
                        <a:pt x="12485" y="21206"/>
                      </a:lnTo>
                      <a:lnTo>
                        <a:pt x="13374" y="14123"/>
                      </a:lnTo>
                      <a:lnTo>
                        <a:pt x="17261" y="7922"/>
                      </a:lnTo>
                      <a:lnTo>
                        <a:pt x="20162" y="6088"/>
                      </a:lnTo>
                      <a:lnTo>
                        <a:pt x="21572" y="4303"/>
                      </a:lnTo>
                      <a:lnTo>
                        <a:pt x="21523" y="1622"/>
                      </a:lnTo>
                      <a:lnTo>
                        <a:pt x="25851" y="1646"/>
                      </a:lnTo>
                      <a:lnTo>
                        <a:pt x="28646" y="1500"/>
                      </a:lnTo>
                      <a:lnTo>
                        <a:pt x="29461" y="0"/>
                      </a:lnTo>
                      <a:lnTo>
                        <a:pt x="31629" y="685"/>
                      </a:lnTo>
                      <a:lnTo>
                        <a:pt x="32860" y="2135"/>
                      </a:lnTo>
                      <a:lnTo>
                        <a:pt x="31751" y="3667"/>
                      </a:lnTo>
                      <a:lnTo>
                        <a:pt x="30203" y="5428"/>
                      </a:lnTo>
                      <a:lnTo>
                        <a:pt x="30292" y="5876"/>
                      </a:lnTo>
                      <a:lnTo>
                        <a:pt x="31449" y="6023"/>
                      </a:lnTo>
                      <a:lnTo>
                        <a:pt x="33414" y="6976"/>
                      </a:lnTo>
                      <a:lnTo>
                        <a:pt x="34620" y="8085"/>
                      </a:lnTo>
                      <a:lnTo>
                        <a:pt x="36625" y="15012"/>
                      </a:lnTo>
                      <a:lnTo>
                        <a:pt x="35386" y="17856"/>
                      </a:lnTo>
                      <a:lnTo>
                        <a:pt x="33462" y="20391"/>
                      </a:lnTo>
                      <a:lnTo>
                        <a:pt x="32599" y="20627"/>
                      </a:lnTo>
                      <a:lnTo>
                        <a:pt x="30912" y="21890"/>
                      </a:lnTo>
                      <a:lnTo>
                        <a:pt x="29502" y="23610"/>
                      </a:lnTo>
                      <a:lnTo>
                        <a:pt x="29005" y="24694"/>
                      </a:lnTo>
                      <a:lnTo>
                        <a:pt x="29111" y="25721"/>
                      </a:lnTo>
                      <a:lnTo>
                        <a:pt x="31116" y="27000"/>
                      </a:lnTo>
                      <a:lnTo>
                        <a:pt x="31172" y="27514"/>
                      </a:lnTo>
                      <a:lnTo>
                        <a:pt x="30749" y="27913"/>
                      </a:lnTo>
                      <a:lnTo>
                        <a:pt x="29143" y="27636"/>
                      </a:lnTo>
                      <a:lnTo>
                        <a:pt x="27065" y="27505"/>
                      </a:lnTo>
                      <a:lnTo>
                        <a:pt x="25826" y="27505"/>
                      </a:lnTo>
                      <a:lnTo>
                        <a:pt x="24400" y="27766"/>
                      </a:lnTo>
                      <a:lnTo>
                        <a:pt x="22583" y="29323"/>
                      </a:lnTo>
                      <a:lnTo>
                        <a:pt x="21776" y="30350"/>
                      </a:lnTo>
                      <a:lnTo>
                        <a:pt x="21336" y="31010"/>
                      </a:lnTo>
                      <a:lnTo>
                        <a:pt x="20684" y="33129"/>
                      </a:lnTo>
                      <a:lnTo>
                        <a:pt x="21409" y="34587"/>
                      </a:lnTo>
                      <a:lnTo>
                        <a:pt x="22778" y="35402"/>
                      </a:lnTo>
                      <a:lnTo>
                        <a:pt x="22966" y="35826"/>
                      </a:lnTo>
                      <a:lnTo>
                        <a:pt x="22664" y="36560"/>
                      </a:lnTo>
                      <a:lnTo>
                        <a:pt x="21311" y="37473"/>
                      </a:lnTo>
                      <a:lnTo>
                        <a:pt x="20301" y="38589"/>
                      </a:lnTo>
                      <a:lnTo>
                        <a:pt x="19999" y="39730"/>
                      </a:lnTo>
                      <a:close/>
                    </a:path>
                  </a:pathLst>
                </a:custGeom>
                <a:solidFill>
                  <a:srgbClr val="D6D6D2"/>
                </a:solidFill>
                <a:ln w="6112" cap="rnd">
                  <a:solidFill>
                    <a:srgbClr val="FFFFFF"/>
                  </a:solidFill>
                  <a:prstDash val="solid"/>
                  <a:round/>
                </a:ln>
              </p:spPr>
              <p:txBody>
                <a:bodyPr rtlCol="0" anchor="ctr"/>
                <a:lstStyle/>
                <a:p>
                  <a:endParaRPr lang="en-US"/>
                </a:p>
              </p:txBody>
            </p:sp>
            <p:sp>
              <p:nvSpPr>
                <p:cNvPr id="694" name="Freeform: Shape 693">
                  <a:extLst>
                    <a:ext uri="{FF2B5EF4-FFF2-40B4-BE49-F238E27FC236}">
                      <a16:creationId xmlns:a16="http://schemas.microsoft.com/office/drawing/2014/main" id="{9C469535-1C4B-474B-BBF2-BC8AB1EFB7C0}"/>
                    </a:ext>
                  </a:extLst>
                </p:cNvPr>
                <p:cNvSpPr/>
                <p:nvPr/>
              </p:nvSpPr>
              <p:spPr>
                <a:xfrm>
                  <a:off x="8426701" y="3842234"/>
                  <a:ext cx="186971" cy="263423"/>
                </a:xfrm>
                <a:custGeom>
                  <a:avLst/>
                  <a:gdLst>
                    <a:gd name="connsiteX0" fmla="*/ 49917 w 186971"/>
                    <a:gd name="connsiteY0" fmla="*/ 3610 h 263423"/>
                    <a:gd name="connsiteX1" fmla="*/ 51303 w 186971"/>
                    <a:gd name="connsiteY1" fmla="*/ 6569 h 263423"/>
                    <a:gd name="connsiteX2" fmla="*/ 54237 w 186971"/>
                    <a:gd name="connsiteY2" fmla="*/ 9861 h 263423"/>
                    <a:gd name="connsiteX3" fmla="*/ 57733 w 186971"/>
                    <a:gd name="connsiteY3" fmla="*/ 14556 h 263423"/>
                    <a:gd name="connsiteX4" fmla="*/ 58849 w 186971"/>
                    <a:gd name="connsiteY4" fmla="*/ 16715 h 263423"/>
                    <a:gd name="connsiteX5" fmla="*/ 61205 w 186971"/>
                    <a:gd name="connsiteY5" fmla="*/ 18369 h 263423"/>
                    <a:gd name="connsiteX6" fmla="*/ 61881 w 186971"/>
                    <a:gd name="connsiteY6" fmla="*/ 20000 h 263423"/>
                    <a:gd name="connsiteX7" fmla="*/ 62419 w 186971"/>
                    <a:gd name="connsiteY7" fmla="*/ 22501 h 263423"/>
                    <a:gd name="connsiteX8" fmla="*/ 62647 w 186971"/>
                    <a:gd name="connsiteY8" fmla="*/ 24359 h 263423"/>
                    <a:gd name="connsiteX9" fmla="*/ 63177 w 186971"/>
                    <a:gd name="connsiteY9" fmla="*/ 25460 h 263423"/>
                    <a:gd name="connsiteX10" fmla="*/ 64008 w 186971"/>
                    <a:gd name="connsiteY10" fmla="*/ 25892 h 263423"/>
                    <a:gd name="connsiteX11" fmla="*/ 65084 w 186971"/>
                    <a:gd name="connsiteY11" fmla="*/ 25403 h 263423"/>
                    <a:gd name="connsiteX12" fmla="*/ 65882 w 186971"/>
                    <a:gd name="connsiteY12" fmla="*/ 24417 h 263423"/>
                    <a:gd name="connsiteX13" fmla="*/ 66559 w 186971"/>
                    <a:gd name="connsiteY13" fmla="*/ 21678 h 263423"/>
                    <a:gd name="connsiteX14" fmla="*/ 66999 w 186971"/>
                    <a:gd name="connsiteY14" fmla="*/ 21377 h 263423"/>
                    <a:gd name="connsiteX15" fmla="*/ 67724 w 186971"/>
                    <a:gd name="connsiteY15" fmla="*/ 23634 h 263423"/>
                    <a:gd name="connsiteX16" fmla="*/ 68499 w 186971"/>
                    <a:gd name="connsiteY16" fmla="*/ 24025 h 263423"/>
                    <a:gd name="connsiteX17" fmla="*/ 69525 w 186971"/>
                    <a:gd name="connsiteY17" fmla="*/ 24311 h 263423"/>
                    <a:gd name="connsiteX18" fmla="*/ 70308 w 186971"/>
                    <a:gd name="connsiteY18" fmla="*/ 25289 h 263423"/>
                    <a:gd name="connsiteX19" fmla="*/ 70553 w 186971"/>
                    <a:gd name="connsiteY19" fmla="*/ 27008 h 263423"/>
                    <a:gd name="connsiteX20" fmla="*/ 70283 w 186971"/>
                    <a:gd name="connsiteY20" fmla="*/ 28760 h 263423"/>
                    <a:gd name="connsiteX21" fmla="*/ 69314 w 186971"/>
                    <a:gd name="connsiteY21" fmla="*/ 30724 h 263423"/>
                    <a:gd name="connsiteX22" fmla="*/ 68767 w 186971"/>
                    <a:gd name="connsiteY22" fmla="*/ 32778 h 263423"/>
                    <a:gd name="connsiteX23" fmla="*/ 68393 w 186971"/>
                    <a:gd name="connsiteY23" fmla="*/ 35957 h 263423"/>
                    <a:gd name="connsiteX24" fmla="*/ 67871 w 186971"/>
                    <a:gd name="connsiteY24" fmla="*/ 38181 h 263423"/>
                    <a:gd name="connsiteX25" fmla="*/ 68678 w 186971"/>
                    <a:gd name="connsiteY25" fmla="*/ 40137 h 263423"/>
                    <a:gd name="connsiteX26" fmla="*/ 74154 w 186971"/>
                    <a:gd name="connsiteY26" fmla="*/ 49770 h 263423"/>
                    <a:gd name="connsiteX27" fmla="*/ 76787 w 186971"/>
                    <a:gd name="connsiteY27" fmla="*/ 51351 h 263423"/>
                    <a:gd name="connsiteX28" fmla="*/ 83062 w 186971"/>
                    <a:gd name="connsiteY28" fmla="*/ 53234 h 263423"/>
                    <a:gd name="connsiteX29" fmla="*/ 85320 w 186971"/>
                    <a:gd name="connsiteY29" fmla="*/ 54530 h 263423"/>
                    <a:gd name="connsiteX30" fmla="*/ 87308 w 186971"/>
                    <a:gd name="connsiteY30" fmla="*/ 55793 h 263423"/>
                    <a:gd name="connsiteX31" fmla="*/ 89273 w 186971"/>
                    <a:gd name="connsiteY31" fmla="*/ 55182 h 263423"/>
                    <a:gd name="connsiteX32" fmla="*/ 91171 w 186971"/>
                    <a:gd name="connsiteY32" fmla="*/ 52313 h 263423"/>
                    <a:gd name="connsiteX33" fmla="*/ 93428 w 186971"/>
                    <a:gd name="connsiteY33" fmla="*/ 50708 h 263423"/>
                    <a:gd name="connsiteX34" fmla="*/ 97659 w 186971"/>
                    <a:gd name="connsiteY34" fmla="*/ 48230 h 263423"/>
                    <a:gd name="connsiteX35" fmla="*/ 98873 w 186971"/>
                    <a:gd name="connsiteY35" fmla="*/ 48100 h 263423"/>
                    <a:gd name="connsiteX36" fmla="*/ 101204 w 186971"/>
                    <a:gd name="connsiteY36" fmla="*/ 49086 h 263423"/>
                    <a:gd name="connsiteX37" fmla="*/ 105034 w 186971"/>
                    <a:gd name="connsiteY37" fmla="*/ 51955 h 263423"/>
                    <a:gd name="connsiteX38" fmla="*/ 107805 w 186971"/>
                    <a:gd name="connsiteY38" fmla="*/ 54652 h 263423"/>
                    <a:gd name="connsiteX39" fmla="*/ 109516 w 186971"/>
                    <a:gd name="connsiteY39" fmla="*/ 56078 h 263423"/>
                    <a:gd name="connsiteX40" fmla="*/ 110828 w 186971"/>
                    <a:gd name="connsiteY40" fmla="*/ 57358 h 263423"/>
                    <a:gd name="connsiteX41" fmla="*/ 110633 w 186971"/>
                    <a:gd name="connsiteY41" fmla="*/ 58784 h 263423"/>
                    <a:gd name="connsiteX42" fmla="*/ 109582 w 186971"/>
                    <a:gd name="connsiteY42" fmla="*/ 60194 h 263423"/>
                    <a:gd name="connsiteX43" fmla="*/ 108237 w 186971"/>
                    <a:gd name="connsiteY43" fmla="*/ 60968 h 263423"/>
                    <a:gd name="connsiteX44" fmla="*/ 106476 w 186971"/>
                    <a:gd name="connsiteY44" fmla="*/ 62329 h 263423"/>
                    <a:gd name="connsiteX45" fmla="*/ 105482 w 186971"/>
                    <a:gd name="connsiteY45" fmla="*/ 63698 h 263423"/>
                    <a:gd name="connsiteX46" fmla="*/ 106093 w 186971"/>
                    <a:gd name="connsiteY46" fmla="*/ 64212 h 263423"/>
                    <a:gd name="connsiteX47" fmla="*/ 108668 w 186971"/>
                    <a:gd name="connsiteY47" fmla="*/ 64562 h 263423"/>
                    <a:gd name="connsiteX48" fmla="*/ 111717 w 186971"/>
                    <a:gd name="connsiteY48" fmla="*/ 65768 h 263423"/>
                    <a:gd name="connsiteX49" fmla="*/ 112646 w 186971"/>
                    <a:gd name="connsiteY49" fmla="*/ 67186 h 263423"/>
                    <a:gd name="connsiteX50" fmla="*/ 112776 w 186971"/>
                    <a:gd name="connsiteY50" fmla="*/ 68409 h 263423"/>
                    <a:gd name="connsiteX51" fmla="*/ 113151 w 186971"/>
                    <a:gd name="connsiteY51" fmla="*/ 70397 h 263423"/>
                    <a:gd name="connsiteX52" fmla="*/ 113697 w 186971"/>
                    <a:gd name="connsiteY52" fmla="*/ 70992 h 263423"/>
                    <a:gd name="connsiteX53" fmla="*/ 116517 w 186971"/>
                    <a:gd name="connsiteY53" fmla="*/ 70642 h 263423"/>
                    <a:gd name="connsiteX54" fmla="*/ 117389 w 186971"/>
                    <a:gd name="connsiteY54" fmla="*/ 71082 h 263423"/>
                    <a:gd name="connsiteX55" fmla="*/ 118407 w 186971"/>
                    <a:gd name="connsiteY55" fmla="*/ 72109 h 263423"/>
                    <a:gd name="connsiteX56" fmla="*/ 119410 w 186971"/>
                    <a:gd name="connsiteY56" fmla="*/ 74774 h 263423"/>
                    <a:gd name="connsiteX57" fmla="*/ 119377 w 186971"/>
                    <a:gd name="connsiteY57" fmla="*/ 76771 h 263423"/>
                    <a:gd name="connsiteX58" fmla="*/ 117340 w 186971"/>
                    <a:gd name="connsiteY58" fmla="*/ 78963 h 263423"/>
                    <a:gd name="connsiteX59" fmla="*/ 116582 w 186971"/>
                    <a:gd name="connsiteY59" fmla="*/ 80299 h 263423"/>
                    <a:gd name="connsiteX60" fmla="*/ 116248 w 186971"/>
                    <a:gd name="connsiteY60" fmla="*/ 82394 h 263423"/>
                    <a:gd name="connsiteX61" fmla="*/ 114789 w 186971"/>
                    <a:gd name="connsiteY61" fmla="*/ 84904 h 263423"/>
                    <a:gd name="connsiteX62" fmla="*/ 110943 w 186971"/>
                    <a:gd name="connsiteY62" fmla="*/ 89101 h 263423"/>
                    <a:gd name="connsiteX63" fmla="*/ 109915 w 186971"/>
                    <a:gd name="connsiteY63" fmla="*/ 89354 h 263423"/>
                    <a:gd name="connsiteX64" fmla="*/ 102809 w 186971"/>
                    <a:gd name="connsiteY64" fmla="*/ 87039 h 263423"/>
                    <a:gd name="connsiteX65" fmla="*/ 99508 w 186971"/>
                    <a:gd name="connsiteY65" fmla="*/ 87186 h 263423"/>
                    <a:gd name="connsiteX66" fmla="*/ 97919 w 186971"/>
                    <a:gd name="connsiteY66" fmla="*/ 87251 h 263423"/>
                    <a:gd name="connsiteX67" fmla="*/ 97161 w 186971"/>
                    <a:gd name="connsiteY67" fmla="*/ 87357 h 263423"/>
                    <a:gd name="connsiteX68" fmla="*/ 96705 w 186971"/>
                    <a:gd name="connsiteY68" fmla="*/ 88245 h 263423"/>
                    <a:gd name="connsiteX69" fmla="*/ 97650 w 186971"/>
                    <a:gd name="connsiteY69" fmla="*/ 90780 h 263423"/>
                    <a:gd name="connsiteX70" fmla="*/ 97919 w 186971"/>
                    <a:gd name="connsiteY70" fmla="*/ 93298 h 263423"/>
                    <a:gd name="connsiteX71" fmla="*/ 97047 w 186971"/>
                    <a:gd name="connsiteY71" fmla="*/ 95213 h 263423"/>
                    <a:gd name="connsiteX72" fmla="*/ 94684 w 186971"/>
                    <a:gd name="connsiteY72" fmla="*/ 96892 h 263423"/>
                    <a:gd name="connsiteX73" fmla="*/ 93796 w 186971"/>
                    <a:gd name="connsiteY73" fmla="*/ 97691 h 263423"/>
                    <a:gd name="connsiteX74" fmla="*/ 93673 w 186971"/>
                    <a:gd name="connsiteY74" fmla="*/ 98767 h 263423"/>
                    <a:gd name="connsiteX75" fmla="*/ 94341 w 186971"/>
                    <a:gd name="connsiteY75" fmla="*/ 99891 h 263423"/>
                    <a:gd name="connsiteX76" fmla="*/ 96525 w 186971"/>
                    <a:gd name="connsiteY76" fmla="*/ 101048 h 263423"/>
                    <a:gd name="connsiteX77" fmla="*/ 99060 w 186971"/>
                    <a:gd name="connsiteY77" fmla="*/ 102133 h 263423"/>
                    <a:gd name="connsiteX78" fmla="*/ 107422 w 186971"/>
                    <a:gd name="connsiteY78" fmla="*/ 108660 h 263423"/>
                    <a:gd name="connsiteX79" fmla="*/ 109215 w 186971"/>
                    <a:gd name="connsiteY79" fmla="*/ 110184 h 263423"/>
                    <a:gd name="connsiteX80" fmla="*/ 111578 w 186971"/>
                    <a:gd name="connsiteY80" fmla="*/ 112450 h 263423"/>
                    <a:gd name="connsiteX81" fmla="*/ 114129 w 186971"/>
                    <a:gd name="connsiteY81" fmla="*/ 114210 h 263423"/>
                    <a:gd name="connsiteX82" fmla="*/ 120999 w 186971"/>
                    <a:gd name="connsiteY82" fmla="*/ 116517 h 263423"/>
                    <a:gd name="connsiteX83" fmla="*/ 124023 w 186971"/>
                    <a:gd name="connsiteY83" fmla="*/ 118033 h 263423"/>
                    <a:gd name="connsiteX84" fmla="*/ 124805 w 186971"/>
                    <a:gd name="connsiteY84" fmla="*/ 118896 h 263423"/>
                    <a:gd name="connsiteX85" fmla="*/ 124772 w 186971"/>
                    <a:gd name="connsiteY85" fmla="*/ 119948 h 263423"/>
                    <a:gd name="connsiteX86" fmla="*/ 123982 w 186971"/>
                    <a:gd name="connsiteY86" fmla="*/ 121292 h 263423"/>
                    <a:gd name="connsiteX87" fmla="*/ 123322 w 186971"/>
                    <a:gd name="connsiteY87" fmla="*/ 123656 h 263423"/>
                    <a:gd name="connsiteX88" fmla="*/ 123289 w 186971"/>
                    <a:gd name="connsiteY88" fmla="*/ 125074 h 263423"/>
                    <a:gd name="connsiteX89" fmla="*/ 124006 w 186971"/>
                    <a:gd name="connsiteY89" fmla="*/ 126443 h 263423"/>
                    <a:gd name="connsiteX90" fmla="*/ 125213 w 186971"/>
                    <a:gd name="connsiteY90" fmla="*/ 128497 h 263423"/>
                    <a:gd name="connsiteX91" fmla="*/ 127943 w 186971"/>
                    <a:gd name="connsiteY91" fmla="*/ 131667 h 263423"/>
                    <a:gd name="connsiteX92" fmla="*/ 129434 w 186971"/>
                    <a:gd name="connsiteY92" fmla="*/ 133069 h 263423"/>
                    <a:gd name="connsiteX93" fmla="*/ 131089 w 186971"/>
                    <a:gd name="connsiteY93" fmla="*/ 133387 h 263423"/>
                    <a:gd name="connsiteX94" fmla="*/ 132531 w 186971"/>
                    <a:gd name="connsiteY94" fmla="*/ 134153 h 263423"/>
                    <a:gd name="connsiteX95" fmla="*/ 134031 w 186971"/>
                    <a:gd name="connsiteY95" fmla="*/ 136508 h 263423"/>
                    <a:gd name="connsiteX96" fmla="*/ 135766 w 186971"/>
                    <a:gd name="connsiteY96" fmla="*/ 139385 h 263423"/>
                    <a:gd name="connsiteX97" fmla="*/ 135987 w 186971"/>
                    <a:gd name="connsiteY97" fmla="*/ 141398 h 263423"/>
                    <a:gd name="connsiteX98" fmla="*/ 136728 w 186971"/>
                    <a:gd name="connsiteY98" fmla="*/ 143973 h 263423"/>
                    <a:gd name="connsiteX99" fmla="*/ 138317 w 186971"/>
                    <a:gd name="connsiteY99" fmla="*/ 146931 h 263423"/>
                    <a:gd name="connsiteX100" fmla="*/ 140501 w 186971"/>
                    <a:gd name="connsiteY100" fmla="*/ 149800 h 263423"/>
                    <a:gd name="connsiteX101" fmla="*/ 143557 w 186971"/>
                    <a:gd name="connsiteY101" fmla="*/ 153345 h 263423"/>
                    <a:gd name="connsiteX102" fmla="*/ 145318 w 186971"/>
                    <a:gd name="connsiteY102" fmla="*/ 155847 h 263423"/>
                    <a:gd name="connsiteX103" fmla="*/ 146125 w 186971"/>
                    <a:gd name="connsiteY103" fmla="*/ 156825 h 263423"/>
                    <a:gd name="connsiteX104" fmla="*/ 152653 w 186971"/>
                    <a:gd name="connsiteY104" fmla="*/ 162905 h 263423"/>
                    <a:gd name="connsiteX105" fmla="*/ 154242 w 186971"/>
                    <a:gd name="connsiteY105" fmla="*/ 165146 h 263423"/>
                    <a:gd name="connsiteX106" fmla="*/ 156532 w 186971"/>
                    <a:gd name="connsiteY106" fmla="*/ 169466 h 263423"/>
                    <a:gd name="connsiteX107" fmla="*/ 157510 w 186971"/>
                    <a:gd name="connsiteY107" fmla="*/ 170093 h 263423"/>
                    <a:gd name="connsiteX108" fmla="*/ 158423 w 186971"/>
                    <a:gd name="connsiteY108" fmla="*/ 170941 h 263423"/>
                    <a:gd name="connsiteX109" fmla="*/ 159009 w 186971"/>
                    <a:gd name="connsiteY109" fmla="*/ 173320 h 263423"/>
                    <a:gd name="connsiteX110" fmla="*/ 159205 w 186971"/>
                    <a:gd name="connsiteY110" fmla="*/ 175016 h 263423"/>
                    <a:gd name="connsiteX111" fmla="*/ 159523 w 186971"/>
                    <a:gd name="connsiteY111" fmla="*/ 180231 h 263423"/>
                    <a:gd name="connsiteX112" fmla="*/ 160689 w 186971"/>
                    <a:gd name="connsiteY112" fmla="*/ 181772 h 263423"/>
                    <a:gd name="connsiteX113" fmla="*/ 161780 w 186971"/>
                    <a:gd name="connsiteY113" fmla="*/ 183679 h 263423"/>
                    <a:gd name="connsiteX114" fmla="*/ 162253 w 186971"/>
                    <a:gd name="connsiteY114" fmla="*/ 185056 h 263423"/>
                    <a:gd name="connsiteX115" fmla="*/ 163231 w 186971"/>
                    <a:gd name="connsiteY115" fmla="*/ 186083 h 263423"/>
                    <a:gd name="connsiteX116" fmla="*/ 164307 w 186971"/>
                    <a:gd name="connsiteY116" fmla="*/ 186287 h 263423"/>
                    <a:gd name="connsiteX117" fmla="*/ 165603 w 186971"/>
                    <a:gd name="connsiteY117" fmla="*/ 185129 h 263423"/>
                    <a:gd name="connsiteX118" fmla="*/ 166621 w 186971"/>
                    <a:gd name="connsiteY118" fmla="*/ 184029 h 263423"/>
                    <a:gd name="connsiteX119" fmla="*/ 167070 w 186971"/>
                    <a:gd name="connsiteY119" fmla="*/ 184355 h 263423"/>
                    <a:gd name="connsiteX120" fmla="*/ 168113 w 186971"/>
                    <a:gd name="connsiteY120" fmla="*/ 187998 h 263423"/>
                    <a:gd name="connsiteX121" fmla="*/ 169050 w 186971"/>
                    <a:gd name="connsiteY121" fmla="*/ 189318 h 263423"/>
                    <a:gd name="connsiteX122" fmla="*/ 170810 w 186971"/>
                    <a:gd name="connsiteY122" fmla="*/ 190590 h 263423"/>
                    <a:gd name="connsiteX123" fmla="*/ 172497 w 186971"/>
                    <a:gd name="connsiteY123" fmla="*/ 191559 h 263423"/>
                    <a:gd name="connsiteX124" fmla="*/ 176165 w 186971"/>
                    <a:gd name="connsiteY124" fmla="*/ 195944 h 263423"/>
                    <a:gd name="connsiteX125" fmla="*/ 178129 w 186971"/>
                    <a:gd name="connsiteY125" fmla="*/ 197541 h 263423"/>
                    <a:gd name="connsiteX126" fmla="*/ 179449 w 186971"/>
                    <a:gd name="connsiteY126" fmla="*/ 198055 h 263423"/>
                    <a:gd name="connsiteX127" fmla="*/ 180606 w 186971"/>
                    <a:gd name="connsiteY127" fmla="*/ 198788 h 263423"/>
                    <a:gd name="connsiteX128" fmla="*/ 180941 w 186971"/>
                    <a:gd name="connsiteY128" fmla="*/ 200174 h 263423"/>
                    <a:gd name="connsiteX129" fmla="*/ 180492 w 186971"/>
                    <a:gd name="connsiteY129" fmla="*/ 201592 h 263423"/>
                    <a:gd name="connsiteX130" fmla="*/ 179718 w 186971"/>
                    <a:gd name="connsiteY130" fmla="*/ 202504 h 263423"/>
                    <a:gd name="connsiteX131" fmla="*/ 175456 w 186971"/>
                    <a:gd name="connsiteY131" fmla="*/ 205031 h 263423"/>
                    <a:gd name="connsiteX132" fmla="*/ 174885 w 186971"/>
                    <a:gd name="connsiteY132" fmla="*/ 206131 h 263423"/>
                    <a:gd name="connsiteX133" fmla="*/ 175472 w 186971"/>
                    <a:gd name="connsiteY133" fmla="*/ 207818 h 263423"/>
                    <a:gd name="connsiteX134" fmla="*/ 176539 w 186971"/>
                    <a:gd name="connsiteY134" fmla="*/ 209937 h 263423"/>
                    <a:gd name="connsiteX135" fmla="*/ 177705 w 186971"/>
                    <a:gd name="connsiteY135" fmla="*/ 211746 h 263423"/>
                    <a:gd name="connsiteX136" fmla="*/ 179180 w 186971"/>
                    <a:gd name="connsiteY136" fmla="*/ 213523 h 263423"/>
                    <a:gd name="connsiteX137" fmla="*/ 182171 w 186971"/>
                    <a:gd name="connsiteY137" fmla="*/ 216408 h 263423"/>
                    <a:gd name="connsiteX138" fmla="*/ 184763 w 186971"/>
                    <a:gd name="connsiteY138" fmla="*/ 218674 h 263423"/>
                    <a:gd name="connsiteX139" fmla="*/ 186189 w 186971"/>
                    <a:gd name="connsiteY139" fmla="*/ 221159 h 263423"/>
                    <a:gd name="connsiteX140" fmla="*/ 186971 w 186971"/>
                    <a:gd name="connsiteY140" fmla="*/ 222830 h 263423"/>
                    <a:gd name="connsiteX141" fmla="*/ 186490 w 186971"/>
                    <a:gd name="connsiteY141" fmla="*/ 224819 h 263423"/>
                    <a:gd name="connsiteX142" fmla="*/ 185390 w 186971"/>
                    <a:gd name="connsiteY142" fmla="*/ 226994 h 263423"/>
                    <a:gd name="connsiteX143" fmla="*/ 184534 w 186971"/>
                    <a:gd name="connsiteY143" fmla="*/ 228861 h 263423"/>
                    <a:gd name="connsiteX144" fmla="*/ 183076 w 186971"/>
                    <a:gd name="connsiteY144" fmla="*/ 229953 h 263423"/>
                    <a:gd name="connsiteX145" fmla="*/ 182685 w 186971"/>
                    <a:gd name="connsiteY145" fmla="*/ 231216 h 263423"/>
                    <a:gd name="connsiteX146" fmla="*/ 183287 w 186971"/>
                    <a:gd name="connsiteY146" fmla="*/ 233164 h 263423"/>
                    <a:gd name="connsiteX147" fmla="*/ 183776 w 186971"/>
                    <a:gd name="connsiteY147" fmla="*/ 234508 h 263423"/>
                    <a:gd name="connsiteX148" fmla="*/ 183516 w 186971"/>
                    <a:gd name="connsiteY148" fmla="*/ 236163 h 263423"/>
                    <a:gd name="connsiteX149" fmla="*/ 183662 w 186971"/>
                    <a:gd name="connsiteY149" fmla="*/ 239578 h 263423"/>
                    <a:gd name="connsiteX150" fmla="*/ 182302 w 186971"/>
                    <a:gd name="connsiteY150" fmla="*/ 240800 h 263423"/>
                    <a:gd name="connsiteX151" fmla="*/ 181054 w 186971"/>
                    <a:gd name="connsiteY151" fmla="*/ 243913 h 263423"/>
                    <a:gd name="connsiteX152" fmla="*/ 180199 w 186971"/>
                    <a:gd name="connsiteY152" fmla="*/ 244133 h 263423"/>
                    <a:gd name="connsiteX153" fmla="*/ 178031 w 186971"/>
                    <a:gd name="connsiteY153" fmla="*/ 243009 h 263423"/>
                    <a:gd name="connsiteX154" fmla="*/ 177273 w 186971"/>
                    <a:gd name="connsiteY154" fmla="*/ 243628 h 263423"/>
                    <a:gd name="connsiteX155" fmla="*/ 175896 w 186971"/>
                    <a:gd name="connsiteY155" fmla="*/ 245885 h 263423"/>
                    <a:gd name="connsiteX156" fmla="*/ 173475 w 186971"/>
                    <a:gd name="connsiteY156" fmla="*/ 248363 h 263423"/>
                    <a:gd name="connsiteX157" fmla="*/ 172318 w 186971"/>
                    <a:gd name="connsiteY157" fmla="*/ 248388 h 263423"/>
                    <a:gd name="connsiteX158" fmla="*/ 171519 w 186971"/>
                    <a:gd name="connsiteY158" fmla="*/ 248086 h 263423"/>
                    <a:gd name="connsiteX159" fmla="*/ 170582 w 186971"/>
                    <a:gd name="connsiteY159" fmla="*/ 249137 h 263423"/>
                    <a:gd name="connsiteX160" fmla="*/ 169229 w 186971"/>
                    <a:gd name="connsiteY160" fmla="*/ 251077 h 263423"/>
                    <a:gd name="connsiteX161" fmla="*/ 168618 w 186971"/>
                    <a:gd name="connsiteY161" fmla="*/ 251012 h 263423"/>
                    <a:gd name="connsiteX162" fmla="*/ 166312 w 186971"/>
                    <a:gd name="connsiteY162" fmla="*/ 251460 h 263423"/>
                    <a:gd name="connsiteX163" fmla="*/ 165399 w 186971"/>
                    <a:gd name="connsiteY163" fmla="*/ 250841 h 263423"/>
                    <a:gd name="connsiteX164" fmla="*/ 164282 w 186971"/>
                    <a:gd name="connsiteY164" fmla="*/ 249235 h 263423"/>
                    <a:gd name="connsiteX165" fmla="*/ 162473 w 186971"/>
                    <a:gd name="connsiteY165" fmla="*/ 247605 h 263423"/>
                    <a:gd name="connsiteX166" fmla="*/ 160835 w 186971"/>
                    <a:gd name="connsiteY166" fmla="*/ 246456 h 263423"/>
                    <a:gd name="connsiteX167" fmla="*/ 159947 w 186971"/>
                    <a:gd name="connsiteY167" fmla="*/ 245666 h 263423"/>
                    <a:gd name="connsiteX168" fmla="*/ 159148 w 186971"/>
                    <a:gd name="connsiteY168" fmla="*/ 244321 h 263423"/>
                    <a:gd name="connsiteX169" fmla="*/ 158398 w 186971"/>
                    <a:gd name="connsiteY169" fmla="*/ 243441 h 263423"/>
                    <a:gd name="connsiteX170" fmla="*/ 157062 w 186971"/>
                    <a:gd name="connsiteY170" fmla="*/ 245364 h 263423"/>
                    <a:gd name="connsiteX171" fmla="*/ 154772 w 186971"/>
                    <a:gd name="connsiteY171" fmla="*/ 247198 h 263423"/>
                    <a:gd name="connsiteX172" fmla="*/ 152612 w 186971"/>
                    <a:gd name="connsiteY172" fmla="*/ 246855 h 263423"/>
                    <a:gd name="connsiteX173" fmla="*/ 151560 w 186971"/>
                    <a:gd name="connsiteY173" fmla="*/ 246546 h 263423"/>
                    <a:gd name="connsiteX174" fmla="*/ 150697 w 186971"/>
                    <a:gd name="connsiteY174" fmla="*/ 249227 h 263423"/>
                    <a:gd name="connsiteX175" fmla="*/ 150061 w 186971"/>
                    <a:gd name="connsiteY175" fmla="*/ 249708 h 263423"/>
                    <a:gd name="connsiteX176" fmla="*/ 146174 w 186971"/>
                    <a:gd name="connsiteY176" fmla="*/ 250164 h 263423"/>
                    <a:gd name="connsiteX177" fmla="*/ 145448 w 186971"/>
                    <a:gd name="connsiteY177" fmla="*/ 250596 h 263423"/>
                    <a:gd name="connsiteX178" fmla="*/ 146068 w 186971"/>
                    <a:gd name="connsiteY178" fmla="*/ 253033 h 263423"/>
                    <a:gd name="connsiteX179" fmla="*/ 148358 w 186971"/>
                    <a:gd name="connsiteY179" fmla="*/ 257165 h 263423"/>
                    <a:gd name="connsiteX180" fmla="*/ 149059 w 186971"/>
                    <a:gd name="connsiteY180" fmla="*/ 259536 h 263423"/>
                    <a:gd name="connsiteX181" fmla="*/ 147632 w 186971"/>
                    <a:gd name="connsiteY181" fmla="*/ 263424 h 263423"/>
                    <a:gd name="connsiteX182" fmla="*/ 143598 w 186971"/>
                    <a:gd name="connsiteY182" fmla="*/ 263318 h 263423"/>
                    <a:gd name="connsiteX183" fmla="*/ 141789 w 186971"/>
                    <a:gd name="connsiteY183" fmla="*/ 261737 h 263423"/>
                    <a:gd name="connsiteX184" fmla="*/ 140118 w 186971"/>
                    <a:gd name="connsiteY184" fmla="*/ 259536 h 263423"/>
                    <a:gd name="connsiteX185" fmla="*/ 139515 w 186971"/>
                    <a:gd name="connsiteY185" fmla="*/ 258444 h 263423"/>
                    <a:gd name="connsiteX186" fmla="*/ 134348 w 186971"/>
                    <a:gd name="connsiteY186" fmla="*/ 256285 h 263423"/>
                    <a:gd name="connsiteX187" fmla="*/ 130901 w 186971"/>
                    <a:gd name="connsiteY187" fmla="*/ 257768 h 263423"/>
                    <a:gd name="connsiteX188" fmla="*/ 129850 w 186971"/>
                    <a:gd name="connsiteY188" fmla="*/ 257703 h 263423"/>
                    <a:gd name="connsiteX189" fmla="*/ 128236 w 186971"/>
                    <a:gd name="connsiteY189" fmla="*/ 256122 h 263423"/>
                    <a:gd name="connsiteX190" fmla="*/ 127266 w 186971"/>
                    <a:gd name="connsiteY190" fmla="*/ 254932 h 263423"/>
                    <a:gd name="connsiteX191" fmla="*/ 126296 w 186971"/>
                    <a:gd name="connsiteY191" fmla="*/ 253139 h 263423"/>
                    <a:gd name="connsiteX192" fmla="*/ 125775 w 186971"/>
                    <a:gd name="connsiteY192" fmla="*/ 251322 h 263423"/>
                    <a:gd name="connsiteX193" fmla="*/ 125710 w 186971"/>
                    <a:gd name="connsiteY193" fmla="*/ 250498 h 263423"/>
                    <a:gd name="connsiteX194" fmla="*/ 127209 w 186971"/>
                    <a:gd name="connsiteY194" fmla="*/ 249846 h 263423"/>
                    <a:gd name="connsiteX195" fmla="*/ 129654 w 186971"/>
                    <a:gd name="connsiteY195" fmla="*/ 248363 h 263423"/>
                    <a:gd name="connsiteX196" fmla="*/ 131651 w 186971"/>
                    <a:gd name="connsiteY196" fmla="*/ 246684 h 263423"/>
                    <a:gd name="connsiteX197" fmla="*/ 132963 w 186971"/>
                    <a:gd name="connsiteY197" fmla="*/ 244908 h 263423"/>
                    <a:gd name="connsiteX198" fmla="*/ 133501 w 186971"/>
                    <a:gd name="connsiteY198" fmla="*/ 243066 h 263423"/>
                    <a:gd name="connsiteX199" fmla="*/ 133574 w 186971"/>
                    <a:gd name="connsiteY199" fmla="*/ 240914 h 263423"/>
                    <a:gd name="connsiteX200" fmla="*/ 134136 w 186971"/>
                    <a:gd name="connsiteY200" fmla="*/ 235373 h 263423"/>
                    <a:gd name="connsiteX201" fmla="*/ 134732 w 186971"/>
                    <a:gd name="connsiteY201" fmla="*/ 232659 h 263423"/>
                    <a:gd name="connsiteX202" fmla="*/ 134405 w 186971"/>
                    <a:gd name="connsiteY202" fmla="*/ 229342 h 263423"/>
                    <a:gd name="connsiteX203" fmla="*/ 133330 w 186971"/>
                    <a:gd name="connsiteY203" fmla="*/ 226717 h 263423"/>
                    <a:gd name="connsiteX204" fmla="*/ 133330 w 186971"/>
                    <a:gd name="connsiteY204" fmla="*/ 222781 h 263423"/>
                    <a:gd name="connsiteX205" fmla="*/ 133713 w 186971"/>
                    <a:gd name="connsiteY205" fmla="*/ 220866 h 263423"/>
                    <a:gd name="connsiteX206" fmla="*/ 133892 w 186971"/>
                    <a:gd name="connsiteY206" fmla="*/ 219611 h 263423"/>
                    <a:gd name="connsiteX207" fmla="*/ 135400 w 186971"/>
                    <a:gd name="connsiteY207" fmla="*/ 218014 h 263423"/>
                    <a:gd name="connsiteX208" fmla="*/ 136435 w 186971"/>
                    <a:gd name="connsiteY208" fmla="*/ 215723 h 263423"/>
                    <a:gd name="connsiteX209" fmla="*/ 137013 w 186971"/>
                    <a:gd name="connsiteY209" fmla="*/ 212749 h 263423"/>
                    <a:gd name="connsiteX210" fmla="*/ 137062 w 186971"/>
                    <a:gd name="connsiteY210" fmla="*/ 210589 h 263423"/>
                    <a:gd name="connsiteX211" fmla="*/ 136598 w 186971"/>
                    <a:gd name="connsiteY211" fmla="*/ 209269 h 263423"/>
                    <a:gd name="connsiteX212" fmla="*/ 135115 w 186971"/>
                    <a:gd name="connsiteY212" fmla="*/ 208006 h 263423"/>
                    <a:gd name="connsiteX213" fmla="*/ 132621 w 186971"/>
                    <a:gd name="connsiteY213" fmla="*/ 206808 h 263423"/>
                    <a:gd name="connsiteX214" fmla="*/ 131064 w 186971"/>
                    <a:gd name="connsiteY214" fmla="*/ 205300 h 263423"/>
                    <a:gd name="connsiteX215" fmla="*/ 130429 w 186971"/>
                    <a:gd name="connsiteY215" fmla="*/ 203474 h 263423"/>
                    <a:gd name="connsiteX216" fmla="*/ 130477 w 186971"/>
                    <a:gd name="connsiteY216" fmla="*/ 201877 h 263423"/>
                    <a:gd name="connsiteX217" fmla="*/ 131243 w 186971"/>
                    <a:gd name="connsiteY217" fmla="*/ 200483 h 263423"/>
                    <a:gd name="connsiteX218" fmla="*/ 129369 w 186971"/>
                    <a:gd name="connsiteY218" fmla="*/ 198959 h 263423"/>
                    <a:gd name="connsiteX219" fmla="*/ 124854 w 186971"/>
                    <a:gd name="connsiteY219" fmla="*/ 197256 h 263423"/>
                    <a:gd name="connsiteX220" fmla="*/ 122336 w 186971"/>
                    <a:gd name="connsiteY220" fmla="*/ 195211 h 263423"/>
                    <a:gd name="connsiteX221" fmla="*/ 121806 w 186971"/>
                    <a:gd name="connsiteY221" fmla="*/ 192839 h 263423"/>
                    <a:gd name="connsiteX222" fmla="*/ 119924 w 186971"/>
                    <a:gd name="connsiteY222" fmla="*/ 189726 h 263423"/>
                    <a:gd name="connsiteX223" fmla="*/ 116688 w 186971"/>
                    <a:gd name="connsiteY223" fmla="*/ 185871 h 263423"/>
                    <a:gd name="connsiteX224" fmla="*/ 114977 w 186971"/>
                    <a:gd name="connsiteY224" fmla="*/ 180321 h 263423"/>
                    <a:gd name="connsiteX225" fmla="*/ 114806 w 186971"/>
                    <a:gd name="connsiteY225" fmla="*/ 173076 h 263423"/>
                    <a:gd name="connsiteX226" fmla="*/ 115189 w 186971"/>
                    <a:gd name="connsiteY226" fmla="*/ 167184 h 263423"/>
                    <a:gd name="connsiteX227" fmla="*/ 116607 w 186971"/>
                    <a:gd name="connsiteY227" fmla="*/ 160346 h 263423"/>
                    <a:gd name="connsiteX228" fmla="*/ 114716 w 186971"/>
                    <a:gd name="connsiteY228" fmla="*/ 155399 h 263423"/>
                    <a:gd name="connsiteX229" fmla="*/ 112629 w 186971"/>
                    <a:gd name="connsiteY229" fmla="*/ 152791 h 263423"/>
                    <a:gd name="connsiteX230" fmla="*/ 109744 w 186971"/>
                    <a:gd name="connsiteY230" fmla="*/ 150884 h 263423"/>
                    <a:gd name="connsiteX231" fmla="*/ 106982 w 186971"/>
                    <a:gd name="connsiteY231" fmla="*/ 148129 h 263423"/>
                    <a:gd name="connsiteX232" fmla="*/ 104366 w 186971"/>
                    <a:gd name="connsiteY232" fmla="*/ 144544 h 263423"/>
                    <a:gd name="connsiteX233" fmla="*/ 101228 w 186971"/>
                    <a:gd name="connsiteY233" fmla="*/ 139255 h 263423"/>
                    <a:gd name="connsiteX234" fmla="*/ 97568 w 186971"/>
                    <a:gd name="connsiteY234" fmla="*/ 132238 h 263423"/>
                    <a:gd name="connsiteX235" fmla="*/ 95116 w 186971"/>
                    <a:gd name="connsiteY235" fmla="*/ 129100 h 263423"/>
                    <a:gd name="connsiteX236" fmla="*/ 93861 w 186971"/>
                    <a:gd name="connsiteY236" fmla="*/ 129825 h 263423"/>
                    <a:gd name="connsiteX237" fmla="*/ 91220 w 186971"/>
                    <a:gd name="connsiteY237" fmla="*/ 129173 h 263423"/>
                    <a:gd name="connsiteX238" fmla="*/ 87186 w 186971"/>
                    <a:gd name="connsiteY238" fmla="*/ 127144 h 263423"/>
                    <a:gd name="connsiteX239" fmla="*/ 83657 w 186971"/>
                    <a:gd name="connsiteY239" fmla="*/ 126052 h 263423"/>
                    <a:gd name="connsiteX240" fmla="*/ 80666 w 186971"/>
                    <a:gd name="connsiteY240" fmla="*/ 125897 h 263423"/>
                    <a:gd name="connsiteX241" fmla="*/ 78718 w 186971"/>
                    <a:gd name="connsiteY241" fmla="*/ 126345 h 263423"/>
                    <a:gd name="connsiteX242" fmla="*/ 77805 w 186971"/>
                    <a:gd name="connsiteY242" fmla="*/ 127421 h 263423"/>
                    <a:gd name="connsiteX243" fmla="*/ 77724 w 186971"/>
                    <a:gd name="connsiteY243" fmla="*/ 128489 h 263423"/>
                    <a:gd name="connsiteX244" fmla="*/ 78498 w 186971"/>
                    <a:gd name="connsiteY244" fmla="*/ 129524 h 263423"/>
                    <a:gd name="connsiteX245" fmla="*/ 78091 w 186971"/>
                    <a:gd name="connsiteY245" fmla="*/ 130347 h 263423"/>
                    <a:gd name="connsiteX246" fmla="*/ 76518 w 186971"/>
                    <a:gd name="connsiteY246" fmla="*/ 130917 h 263423"/>
                    <a:gd name="connsiteX247" fmla="*/ 75247 w 186971"/>
                    <a:gd name="connsiteY247" fmla="*/ 132083 h 263423"/>
                    <a:gd name="connsiteX248" fmla="*/ 73829 w 186971"/>
                    <a:gd name="connsiteY248" fmla="*/ 134650 h 263423"/>
                    <a:gd name="connsiteX249" fmla="*/ 72834 w 186971"/>
                    <a:gd name="connsiteY249" fmla="*/ 138016 h 263423"/>
                    <a:gd name="connsiteX250" fmla="*/ 71343 w 186971"/>
                    <a:gd name="connsiteY250" fmla="*/ 139311 h 263423"/>
                    <a:gd name="connsiteX251" fmla="*/ 69053 w 186971"/>
                    <a:gd name="connsiteY251" fmla="*/ 139597 h 263423"/>
                    <a:gd name="connsiteX252" fmla="*/ 66787 w 186971"/>
                    <a:gd name="connsiteY252" fmla="*/ 140559 h 263423"/>
                    <a:gd name="connsiteX253" fmla="*/ 64554 w 186971"/>
                    <a:gd name="connsiteY253" fmla="*/ 142197 h 263423"/>
                    <a:gd name="connsiteX254" fmla="*/ 63503 w 186971"/>
                    <a:gd name="connsiteY254" fmla="*/ 143435 h 263423"/>
                    <a:gd name="connsiteX255" fmla="*/ 63633 w 186971"/>
                    <a:gd name="connsiteY255" fmla="*/ 144291 h 263423"/>
                    <a:gd name="connsiteX256" fmla="*/ 63136 w 186971"/>
                    <a:gd name="connsiteY256" fmla="*/ 144478 h 263423"/>
                    <a:gd name="connsiteX257" fmla="*/ 62060 w 186971"/>
                    <a:gd name="connsiteY257" fmla="*/ 144006 h 263423"/>
                    <a:gd name="connsiteX258" fmla="*/ 61539 w 186971"/>
                    <a:gd name="connsiteY258" fmla="*/ 142897 h 263423"/>
                    <a:gd name="connsiteX259" fmla="*/ 61596 w 186971"/>
                    <a:gd name="connsiteY259" fmla="*/ 141137 h 263423"/>
                    <a:gd name="connsiteX260" fmla="*/ 60463 w 186971"/>
                    <a:gd name="connsiteY260" fmla="*/ 139964 h 263423"/>
                    <a:gd name="connsiteX261" fmla="*/ 58140 w 186971"/>
                    <a:gd name="connsiteY261" fmla="*/ 139360 h 263423"/>
                    <a:gd name="connsiteX262" fmla="*/ 55492 w 186971"/>
                    <a:gd name="connsiteY262" fmla="*/ 137486 h 263423"/>
                    <a:gd name="connsiteX263" fmla="*/ 52509 w 186971"/>
                    <a:gd name="connsiteY263" fmla="*/ 134316 h 263423"/>
                    <a:gd name="connsiteX264" fmla="*/ 50439 w 186971"/>
                    <a:gd name="connsiteY264" fmla="*/ 132637 h 263423"/>
                    <a:gd name="connsiteX265" fmla="*/ 49273 w 186971"/>
                    <a:gd name="connsiteY265" fmla="*/ 132425 h 263423"/>
                    <a:gd name="connsiteX266" fmla="*/ 47611 w 186971"/>
                    <a:gd name="connsiteY266" fmla="*/ 133680 h 263423"/>
                    <a:gd name="connsiteX267" fmla="*/ 45451 w 186971"/>
                    <a:gd name="connsiteY267" fmla="*/ 136394 h 263423"/>
                    <a:gd name="connsiteX268" fmla="*/ 43667 w 186971"/>
                    <a:gd name="connsiteY268" fmla="*/ 137470 h 263423"/>
                    <a:gd name="connsiteX269" fmla="*/ 42265 w 186971"/>
                    <a:gd name="connsiteY269" fmla="*/ 136907 h 263423"/>
                    <a:gd name="connsiteX270" fmla="*/ 41172 w 186971"/>
                    <a:gd name="connsiteY270" fmla="*/ 137861 h 263423"/>
                    <a:gd name="connsiteX271" fmla="*/ 40414 w 186971"/>
                    <a:gd name="connsiteY271" fmla="*/ 140347 h 263423"/>
                    <a:gd name="connsiteX272" fmla="*/ 39005 w 186971"/>
                    <a:gd name="connsiteY272" fmla="*/ 142278 h 263423"/>
                    <a:gd name="connsiteX273" fmla="*/ 35941 w 186971"/>
                    <a:gd name="connsiteY273" fmla="*/ 144397 h 263423"/>
                    <a:gd name="connsiteX274" fmla="*/ 35720 w 186971"/>
                    <a:gd name="connsiteY274" fmla="*/ 144650 h 263423"/>
                    <a:gd name="connsiteX275" fmla="*/ 32216 w 186971"/>
                    <a:gd name="connsiteY275" fmla="*/ 147518 h 263423"/>
                    <a:gd name="connsiteX276" fmla="*/ 29388 w 186971"/>
                    <a:gd name="connsiteY276" fmla="*/ 150395 h 263423"/>
                    <a:gd name="connsiteX277" fmla="*/ 26104 w 186971"/>
                    <a:gd name="connsiteY277" fmla="*/ 154258 h 263423"/>
                    <a:gd name="connsiteX278" fmla="*/ 24564 w 186971"/>
                    <a:gd name="connsiteY278" fmla="*/ 154853 h 263423"/>
                    <a:gd name="connsiteX279" fmla="*/ 23088 w 186971"/>
                    <a:gd name="connsiteY279" fmla="*/ 153924 h 263423"/>
                    <a:gd name="connsiteX280" fmla="*/ 20855 w 186971"/>
                    <a:gd name="connsiteY280" fmla="*/ 152970 h 263423"/>
                    <a:gd name="connsiteX281" fmla="*/ 19682 w 186971"/>
                    <a:gd name="connsiteY281" fmla="*/ 151650 h 263423"/>
                    <a:gd name="connsiteX282" fmla="*/ 21939 w 186971"/>
                    <a:gd name="connsiteY282" fmla="*/ 145114 h 263423"/>
                    <a:gd name="connsiteX283" fmla="*/ 24759 w 186971"/>
                    <a:gd name="connsiteY283" fmla="*/ 137861 h 263423"/>
                    <a:gd name="connsiteX284" fmla="*/ 25533 w 186971"/>
                    <a:gd name="connsiteY284" fmla="*/ 134511 h 263423"/>
                    <a:gd name="connsiteX285" fmla="*/ 25647 w 186971"/>
                    <a:gd name="connsiteY285" fmla="*/ 132075 h 263423"/>
                    <a:gd name="connsiteX286" fmla="*/ 25370 w 186971"/>
                    <a:gd name="connsiteY286" fmla="*/ 130086 h 263423"/>
                    <a:gd name="connsiteX287" fmla="*/ 24262 w 186971"/>
                    <a:gd name="connsiteY287" fmla="*/ 128000 h 263423"/>
                    <a:gd name="connsiteX288" fmla="*/ 23211 w 186971"/>
                    <a:gd name="connsiteY288" fmla="*/ 126394 h 263423"/>
                    <a:gd name="connsiteX289" fmla="*/ 23121 w 186971"/>
                    <a:gd name="connsiteY289" fmla="*/ 125318 h 263423"/>
                    <a:gd name="connsiteX290" fmla="*/ 23447 w 186971"/>
                    <a:gd name="connsiteY290" fmla="*/ 124177 h 263423"/>
                    <a:gd name="connsiteX291" fmla="*/ 24596 w 186971"/>
                    <a:gd name="connsiteY291" fmla="*/ 122507 h 263423"/>
                    <a:gd name="connsiteX292" fmla="*/ 26071 w 186971"/>
                    <a:gd name="connsiteY292" fmla="*/ 119899 h 263423"/>
                    <a:gd name="connsiteX293" fmla="*/ 27432 w 186971"/>
                    <a:gd name="connsiteY293" fmla="*/ 114536 h 263423"/>
                    <a:gd name="connsiteX294" fmla="*/ 29062 w 186971"/>
                    <a:gd name="connsiteY294" fmla="*/ 108864 h 263423"/>
                    <a:gd name="connsiteX295" fmla="*/ 28899 w 186971"/>
                    <a:gd name="connsiteY295" fmla="*/ 105417 h 263423"/>
                    <a:gd name="connsiteX296" fmla="*/ 27579 w 186971"/>
                    <a:gd name="connsiteY296" fmla="*/ 101643 h 263423"/>
                    <a:gd name="connsiteX297" fmla="*/ 26854 w 186971"/>
                    <a:gd name="connsiteY297" fmla="*/ 98066 h 263423"/>
                    <a:gd name="connsiteX298" fmla="*/ 27440 w 186971"/>
                    <a:gd name="connsiteY298" fmla="*/ 93176 h 263423"/>
                    <a:gd name="connsiteX299" fmla="*/ 27220 w 186971"/>
                    <a:gd name="connsiteY299" fmla="*/ 91269 h 263423"/>
                    <a:gd name="connsiteX300" fmla="*/ 25786 w 186971"/>
                    <a:gd name="connsiteY300" fmla="*/ 90315 h 263423"/>
                    <a:gd name="connsiteX301" fmla="*/ 21116 w 186971"/>
                    <a:gd name="connsiteY301" fmla="*/ 89337 h 263423"/>
                    <a:gd name="connsiteX302" fmla="*/ 19633 w 186971"/>
                    <a:gd name="connsiteY302" fmla="*/ 89509 h 263423"/>
                    <a:gd name="connsiteX303" fmla="*/ 18443 w 186971"/>
                    <a:gd name="connsiteY303" fmla="*/ 90136 h 263423"/>
                    <a:gd name="connsiteX304" fmla="*/ 17163 w 186971"/>
                    <a:gd name="connsiteY304" fmla="*/ 91473 h 263423"/>
                    <a:gd name="connsiteX305" fmla="*/ 15599 w 186971"/>
                    <a:gd name="connsiteY305" fmla="*/ 92304 h 263423"/>
                    <a:gd name="connsiteX306" fmla="*/ 12673 w 186971"/>
                    <a:gd name="connsiteY306" fmla="*/ 92760 h 263423"/>
                    <a:gd name="connsiteX307" fmla="*/ 9886 w 186971"/>
                    <a:gd name="connsiteY307" fmla="*/ 91114 h 263423"/>
                    <a:gd name="connsiteX308" fmla="*/ 7571 w 186971"/>
                    <a:gd name="connsiteY308" fmla="*/ 88302 h 263423"/>
                    <a:gd name="connsiteX309" fmla="*/ 7025 w 186971"/>
                    <a:gd name="connsiteY309" fmla="*/ 84863 h 263423"/>
                    <a:gd name="connsiteX310" fmla="*/ 8720 w 186971"/>
                    <a:gd name="connsiteY310" fmla="*/ 80764 h 263423"/>
                    <a:gd name="connsiteX311" fmla="*/ 9910 w 186971"/>
                    <a:gd name="connsiteY311" fmla="*/ 77447 h 263423"/>
                    <a:gd name="connsiteX312" fmla="*/ 10627 w 186971"/>
                    <a:gd name="connsiteY312" fmla="*/ 74603 h 263423"/>
                    <a:gd name="connsiteX313" fmla="*/ 10546 w 186971"/>
                    <a:gd name="connsiteY313" fmla="*/ 73250 h 263423"/>
                    <a:gd name="connsiteX314" fmla="*/ 10040 w 186971"/>
                    <a:gd name="connsiteY314" fmla="*/ 71840 h 263423"/>
                    <a:gd name="connsiteX315" fmla="*/ 9356 w 186971"/>
                    <a:gd name="connsiteY315" fmla="*/ 71652 h 263423"/>
                    <a:gd name="connsiteX316" fmla="*/ 7865 w 186971"/>
                    <a:gd name="connsiteY316" fmla="*/ 69908 h 263423"/>
                    <a:gd name="connsiteX317" fmla="*/ 6406 w 186971"/>
                    <a:gd name="connsiteY317" fmla="*/ 66828 h 263423"/>
                    <a:gd name="connsiteX318" fmla="*/ 5045 w 186971"/>
                    <a:gd name="connsiteY318" fmla="*/ 65418 h 263423"/>
                    <a:gd name="connsiteX319" fmla="*/ 3749 w 186971"/>
                    <a:gd name="connsiteY319" fmla="*/ 65687 h 263423"/>
                    <a:gd name="connsiteX320" fmla="*/ 2559 w 186971"/>
                    <a:gd name="connsiteY320" fmla="*/ 66852 h 263423"/>
                    <a:gd name="connsiteX321" fmla="*/ 1475 w 186971"/>
                    <a:gd name="connsiteY321" fmla="*/ 68914 h 263423"/>
                    <a:gd name="connsiteX322" fmla="*/ 619 w 186971"/>
                    <a:gd name="connsiteY322" fmla="*/ 69753 h 263423"/>
                    <a:gd name="connsiteX323" fmla="*/ 0 w 186971"/>
                    <a:gd name="connsiteY323" fmla="*/ 69379 h 263423"/>
                    <a:gd name="connsiteX324" fmla="*/ 195 w 186971"/>
                    <a:gd name="connsiteY324" fmla="*/ 67553 h 263423"/>
                    <a:gd name="connsiteX325" fmla="*/ 367 w 186971"/>
                    <a:gd name="connsiteY325" fmla="*/ 65842 h 263423"/>
                    <a:gd name="connsiteX326" fmla="*/ 1720 w 186971"/>
                    <a:gd name="connsiteY326" fmla="*/ 59135 h 263423"/>
                    <a:gd name="connsiteX327" fmla="*/ 3342 w 186971"/>
                    <a:gd name="connsiteY327" fmla="*/ 54766 h 263423"/>
                    <a:gd name="connsiteX328" fmla="*/ 5249 w 186971"/>
                    <a:gd name="connsiteY328" fmla="*/ 52745 h 263423"/>
                    <a:gd name="connsiteX329" fmla="*/ 7253 w 186971"/>
                    <a:gd name="connsiteY329" fmla="*/ 51898 h 263423"/>
                    <a:gd name="connsiteX330" fmla="*/ 9389 w 186971"/>
                    <a:gd name="connsiteY330" fmla="*/ 52207 h 263423"/>
                    <a:gd name="connsiteX331" fmla="*/ 11174 w 186971"/>
                    <a:gd name="connsiteY331" fmla="*/ 51832 h 263423"/>
                    <a:gd name="connsiteX332" fmla="*/ 12600 w 186971"/>
                    <a:gd name="connsiteY332" fmla="*/ 50765 h 263423"/>
                    <a:gd name="connsiteX333" fmla="*/ 12477 w 186971"/>
                    <a:gd name="connsiteY333" fmla="*/ 50162 h 263423"/>
                    <a:gd name="connsiteX334" fmla="*/ 10782 w 186971"/>
                    <a:gd name="connsiteY334" fmla="*/ 49999 h 263423"/>
                    <a:gd name="connsiteX335" fmla="*/ 10106 w 186971"/>
                    <a:gd name="connsiteY335" fmla="*/ 48833 h 263423"/>
                    <a:gd name="connsiteX336" fmla="*/ 10448 w 186971"/>
                    <a:gd name="connsiteY336" fmla="*/ 46649 h 263423"/>
                    <a:gd name="connsiteX337" fmla="*/ 11198 w 186971"/>
                    <a:gd name="connsiteY337" fmla="*/ 45239 h 263423"/>
                    <a:gd name="connsiteX338" fmla="*/ 12371 w 186971"/>
                    <a:gd name="connsiteY338" fmla="*/ 44579 h 263423"/>
                    <a:gd name="connsiteX339" fmla="*/ 13512 w 186971"/>
                    <a:gd name="connsiteY339" fmla="*/ 42379 h 263423"/>
                    <a:gd name="connsiteX340" fmla="*/ 14588 w 186971"/>
                    <a:gd name="connsiteY340" fmla="*/ 38630 h 263423"/>
                    <a:gd name="connsiteX341" fmla="*/ 15916 w 186971"/>
                    <a:gd name="connsiteY341" fmla="*/ 36731 h 263423"/>
                    <a:gd name="connsiteX342" fmla="*/ 17481 w 186971"/>
                    <a:gd name="connsiteY342" fmla="*/ 36682 h 263423"/>
                    <a:gd name="connsiteX343" fmla="*/ 20162 w 186971"/>
                    <a:gd name="connsiteY343" fmla="*/ 35076 h 263423"/>
                    <a:gd name="connsiteX344" fmla="*/ 23944 w 186971"/>
                    <a:gd name="connsiteY344" fmla="*/ 31890 h 263423"/>
                    <a:gd name="connsiteX345" fmla="*/ 25403 w 186971"/>
                    <a:gd name="connsiteY345" fmla="*/ 28825 h 263423"/>
                    <a:gd name="connsiteX346" fmla="*/ 26829 w 186971"/>
                    <a:gd name="connsiteY346" fmla="*/ 30235 h 263423"/>
                    <a:gd name="connsiteX347" fmla="*/ 26308 w 186971"/>
                    <a:gd name="connsiteY347" fmla="*/ 33789 h 263423"/>
                    <a:gd name="connsiteX348" fmla="*/ 27057 w 186971"/>
                    <a:gd name="connsiteY348" fmla="*/ 34539 h 263423"/>
                    <a:gd name="connsiteX349" fmla="*/ 27416 w 186971"/>
                    <a:gd name="connsiteY349" fmla="*/ 35802 h 263423"/>
                    <a:gd name="connsiteX350" fmla="*/ 27212 w 186971"/>
                    <a:gd name="connsiteY350" fmla="*/ 37798 h 263423"/>
                    <a:gd name="connsiteX351" fmla="*/ 27522 w 186971"/>
                    <a:gd name="connsiteY351" fmla="*/ 39485 h 263423"/>
                    <a:gd name="connsiteX352" fmla="*/ 28100 w 186971"/>
                    <a:gd name="connsiteY352" fmla="*/ 40308 h 263423"/>
                    <a:gd name="connsiteX353" fmla="*/ 28940 w 186971"/>
                    <a:gd name="connsiteY353" fmla="*/ 40716 h 263423"/>
                    <a:gd name="connsiteX354" fmla="*/ 32958 w 186971"/>
                    <a:gd name="connsiteY354" fmla="*/ 39265 h 263423"/>
                    <a:gd name="connsiteX355" fmla="*/ 35402 w 186971"/>
                    <a:gd name="connsiteY355" fmla="*/ 39159 h 263423"/>
                    <a:gd name="connsiteX356" fmla="*/ 36438 w 186971"/>
                    <a:gd name="connsiteY356" fmla="*/ 40113 h 263423"/>
                    <a:gd name="connsiteX357" fmla="*/ 37375 w 186971"/>
                    <a:gd name="connsiteY357" fmla="*/ 40708 h 263423"/>
                    <a:gd name="connsiteX358" fmla="*/ 38532 w 186971"/>
                    <a:gd name="connsiteY358" fmla="*/ 41164 h 263423"/>
                    <a:gd name="connsiteX359" fmla="*/ 39436 w 186971"/>
                    <a:gd name="connsiteY359" fmla="*/ 41767 h 263423"/>
                    <a:gd name="connsiteX360" fmla="*/ 40023 w 186971"/>
                    <a:gd name="connsiteY360" fmla="*/ 41572 h 263423"/>
                    <a:gd name="connsiteX361" fmla="*/ 41384 w 186971"/>
                    <a:gd name="connsiteY361" fmla="*/ 40097 h 263423"/>
                    <a:gd name="connsiteX362" fmla="*/ 41808 w 186971"/>
                    <a:gd name="connsiteY362" fmla="*/ 39828 h 263423"/>
                    <a:gd name="connsiteX363" fmla="*/ 41849 w 186971"/>
                    <a:gd name="connsiteY363" fmla="*/ 39102 h 263423"/>
                    <a:gd name="connsiteX364" fmla="*/ 40879 w 186971"/>
                    <a:gd name="connsiteY364" fmla="*/ 37774 h 263423"/>
                    <a:gd name="connsiteX365" fmla="*/ 39885 w 186971"/>
                    <a:gd name="connsiteY365" fmla="*/ 36657 h 263423"/>
                    <a:gd name="connsiteX366" fmla="*/ 39925 w 186971"/>
                    <a:gd name="connsiteY366" fmla="*/ 34180 h 263423"/>
                    <a:gd name="connsiteX367" fmla="*/ 40398 w 186971"/>
                    <a:gd name="connsiteY367" fmla="*/ 29869 h 263423"/>
                    <a:gd name="connsiteX368" fmla="*/ 40488 w 186971"/>
                    <a:gd name="connsiteY368" fmla="*/ 27636 h 263423"/>
                    <a:gd name="connsiteX369" fmla="*/ 40406 w 186971"/>
                    <a:gd name="connsiteY369" fmla="*/ 22298 h 263423"/>
                    <a:gd name="connsiteX370" fmla="*/ 40219 w 186971"/>
                    <a:gd name="connsiteY370" fmla="*/ 20790 h 263423"/>
                    <a:gd name="connsiteX371" fmla="*/ 39315 w 186971"/>
                    <a:gd name="connsiteY371" fmla="*/ 19046 h 263423"/>
                    <a:gd name="connsiteX372" fmla="*/ 36910 w 186971"/>
                    <a:gd name="connsiteY372" fmla="*/ 15721 h 263423"/>
                    <a:gd name="connsiteX373" fmla="*/ 36234 w 186971"/>
                    <a:gd name="connsiteY373" fmla="*/ 13683 h 263423"/>
                    <a:gd name="connsiteX374" fmla="*/ 35851 w 186971"/>
                    <a:gd name="connsiteY374" fmla="*/ 11638 h 263423"/>
                    <a:gd name="connsiteX375" fmla="*/ 35891 w 186971"/>
                    <a:gd name="connsiteY375" fmla="*/ 10350 h 263423"/>
                    <a:gd name="connsiteX376" fmla="*/ 35281 w 186971"/>
                    <a:gd name="connsiteY376" fmla="*/ 8875 h 263423"/>
                    <a:gd name="connsiteX377" fmla="*/ 34963 w 186971"/>
                    <a:gd name="connsiteY377" fmla="*/ 7514 h 263423"/>
                    <a:gd name="connsiteX378" fmla="*/ 36038 w 186971"/>
                    <a:gd name="connsiteY378" fmla="*/ 6805 h 263423"/>
                    <a:gd name="connsiteX379" fmla="*/ 37334 w 186971"/>
                    <a:gd name="connsiteY379" fmla="*/ 5224 h 263423"/>
                    <a:gd name="connsiteX380" fmla="*/ 37986 w 186971"/>
                    <a:gd name="connsiteY380" fmla="*/ 2795 h 263423"/>
                    <a:gd name="connsiteX381" fmla="*/ 38614 w 186971"/>
                    <a:gd name="connsiteY381" fmla="*/ 1019 h 263423"/>
                    <a:gd name="connsiteX382" fmla="*/ 39502 w 186971"/>
                    <a:gd name="connsiteY382" fmla="*/ 269 h 263423"/>
                    <a:gd name="connsiteX383" fmla="*/ 40284 w 186971"/>
                    <a:gd name="connsiteY383" fmla="*/ 0 h 263423"/>
                    <a:gd name="connsiteX384" fmla="*/ 40806 w 186971"/>
                    <a:gd name="connsiteY384" fmla="*/ 147 h 263423"/>
                    <a:gd name="connsiteX385" fmla="*/ 42827 w 186971"/>
                    <a:gd name="connsiteY385" fmla="*/ 3325 h 263423"/>
                    <a:gd name="connsiteX386" fmla="*/ 45410 w 186971"/>
                    <a:gd name="connsiteY386" fmla="*/ 1736 h 263423"/>
                    <a:gd name="connsiteX387" fmla="*/ 47366 w 186971"/>
                    <a:gd name="connsiteY387" fmla="*/ 1744 h 263423"/>
                    <a:gd name="connsiteX388" fmla="*/ 49029 w 186971"/>
                    <a:gd name="connsiteY388" fmla="*/ 2583 h 263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Lst>
                  <a:rect l="l" t="t" r="r" b="b"/>
                  <a:pathLst>
                    <a:path w="186971" h="263423">
                      <a:moveTo>
                        <a:pt x="49917" y="3610"/>
                      </a:moveTo>
                      <a:lnTo>
                        <a:pt x="51303" y="6569"/>
                      </a:lnTo>
                      <a:lnTo>
                        <a:pt x="54237" y="9861"/>
                      </a:lnTo>
                      <a:lnTo>
                        <a:pt x="57733" y="14556"/>
                      </a:lnTo>
                      <a:lnTo>
                        <a:pt x="58849" y="16715"/>
                      </a:lnTo>
                      <a:lnTo>
                        <a:pt x="61205" y="18369"/>
                      </a:lnTo>
                      <a:lnTo>
                        <a:pt x="61881" y="20000"/>
                      </a:lnTo>
                      <a:lnTo>
                        <a:pt x="62419" y="22501"/>
                      </a:lnTo>
                      <a:lnTo>
                        <a:pt x="62647" y="24359"/>
                      </a:lnTo>
                      <a:lnTo>
                        <a:pt x="63177" y="25460"/>
                      </a:lnTo>
                      <a:lnTo>
                        <a:pt x="64008" y="25892"/>
                      </a:lnTo>
                      <a:lnTo>
                        <a:pt x="65084" y="25403"/>
                      </a:lnTo>
                      <a:lnTo>
                        <a:pt x="65882" y="24417"/>
                      </a:lnTo>
                      <a:lnTo>
                        <a:pt x="66559" y="21678"/>
                      </a:lnTo>
                      <a:lnTo>
                        <a:pt x="66999" y="21377"/>
                      </a:lnTo>
                      <a:lnTo>
                        <a:pt x="67724" y="23634"/>
                      </a:lnTo>
                      <a:lnTo>
                        <a:pt x="68499" y="24025"/>
                      </a:lnTo>
                      <a:lnTo>
                        <a:pt x="69525" y="24311"/>
                      </a:lnTo>
                      <a:lnTo>
                        <a:pt x="70308" y="25289"/>
                      </a:lnTo>
                      <a:lnTo>
                        <a:pt x="70553" y="27008"/>
                      </a:lnTo>
                      <a:lnTo>
                        <a:pt x="70283" y="28760"/>
                      </a:lnTo>
                      <a:lnTo>
                        <a:pt x="69314" y="30724"/>
                      </a:lnTo>
                      <a:lnTo>
                        <a:pt x="68767" y="32778"/>
                      </a:lnTo>
                      <a:lnTo>
                        <a:pt x="68393" y="35957"/>
                      </a:lnTo>
                      <a:lnTo>
                        <a:pt x="67871" y="38181"/>
                      </a:lnTo>
                      <a:lnTo>
                        <a:pt x="68678" y="40137"/>
                      </a:lnTo>
                      <a:lnTo>
                        <a:pt x="74154" y="49770"/>
                      </a:lnTo>
                      <a:lnTo>
                        <a:pt x="76787" y="51351"/>
                      </a:lnTo>
                      <a:lnTo>
                        <a:pt x="83062" y="53234"/>
                      </a:lnTo>
                      <a:lnTo>
                        <a:pt x="85320" y="54530"/>
                      </a:lnTo>
                      <a:lnTo>
                        <a:pt x="87308" y="55793"/>
                      </a:lnTo>
                      <a:lnTo>
                        <a:pt x="89273" y="55182"/>
                      </a:lnTo>
                      <a:lnTo>
                        <a:pt x="91171" y="52313"/>
                      </a:lnTo>
                      <a:lnTo>
                        <a:pt x="93428" y="50708"/>
                      </a:lnTo>
                      <a:lnTo>
                        <a:pt x="97659" y="48230"/>
                      </a:lnTo>
                      <a:lnTo>
                        <a:pt x="98873" y="48100"/>
                      </a:lnTo>
                      <a:lnTo>
                        <a:pt x="101204" y="49086"/>
                      </a:lnTo>
                      <a:lnTo>
                        <a:pt x="105034" y="51955"/>
                      </a:lnTo>
                      <a:lnTo>
                        <a:pt x="107805" y="54652"/>
                      </a:lnTo>
                      <a:lnTo>
                        <a:pt x="109516" y="56078"/>
                      </a:lnTo>
                      <a:lnTo>
                        <a:pt x="110828" y="57358"/>
                      </a:lnTo>
                      <a:lnTo>
                        <a:pt x="110633" y="58784"/>
                      </a:lnTo>
                      <a:lnTo>
                        <a:pt x="109582" y="60194"/>
                      </a:lnTo>
                      <a:lnTo>
                        <a:pt x="108237" y="60968"/>
                      </a:lnTo>
                      <a:lnTo>
                        <a:pt x="106476" y="62329"/>
                      </a:lnTo>
                      <a:lnTo>
                        <a:pt x="105482" y="63698"/>
                      </a:lnTo>
                      <a:lnTo>
                        <a:pt x="106093" y="64212"/>
                      </a:lnTo>
                      <a:lnTo>
                        <a:pt x="108668" y="64562"/>
                      </a:lnTo>
                      <a:lnTo>
                        <a:pt x="111717" y="65768"/>
                      </a:lnTo>
                      <a:lnTo>
                        <a:pt x="112646" y="67186"/>
                      </a:lnTo>
                      <a:lnTo>
                        <a:pt x="112776" y="68409"/>
                      </a:lnTo>
                      <a:lnTo>
                        <a:pt x="113151" y="70397"/>
                      </a:lnTo>
                      <a:lnTo>
                        <a:pt x="113697" y="70992"/>
                      </a:lnTo>
                      <a:lnTo>
                        <a:pt x="116517" y="70642"/>
                      </a:lnTo>
                      <a:lnTo>
                        <a:pt x="117389" y="71082"/>
                      </a:lnTo>
                      <a:lnTo>
                        <a:pt x="118407" y="72109"/>
                      </a:lnTo>
                      <a:lnTo>
                        <a:pt x="119410" y="74774"/>
                      </a:lnTo>
                      <a:lnTo>
                        <a:pt x="119377" y="76771"/>
                      </a:lnTo>
                      <a:lnTo>
                        <a:pt x="117340" y="78963"/>
                      </a:lnTo>
                      <a:lnTo>
                        <a:pt x="116582" y="80299"/>
                      </a:lnTo>
                      <a:lnTo>
                        <a:pt x="116248" y="82394"/>
                      </a:lnTo>
                      <a:lnTo>
                        <a:pt x="114789" y="84904"/>
                      </a:lnTo>
                      <a:lnTo>
                        <a:pt x="110943" y="89101"/>
                      </a:lnTo>
                      <a:lnTo>
                        <a:pt x="109915" y="89354"/>
                      </a:lnTo>
                      <a:lnTo>
                        <a:pt x="102809" y="87039"/>
                      </a:lnTo>
                      <a:lnTo>
                        <a:pt x="99508" y="87186"/>
                      </a:lnTo>
                      <a:lnTo>
                        <a:pt x="97919" y="87251"/>
                      </a:lnTo>
                      <a:lnTo>
                        <a:pt x="97161" y="87357"/>
                      </a:lnTo>
                      <a:lnTo>
                        <a:pt x="96705" y="88245"/>
                      </a:lnTo>
                      <a:lnTo>
                        <a:pt x="97650" y="90780"/>
                      </a:lnTo>
                      <a:lnTo>
                        <a:pt x="97919" y="93298"/>
                      </a:lnTo>
                      <a:lnTo>
                        <a:pt x="97047" y="95213"/>
                      </a:lnTo>
                      <a:lnTo>
                        <a:pt x="94684" y="96892"/>
                      </a:lnTo>
                      <a:lnTo>
                        <a:pt x="93796" y="97691"/>
                      </a:lnTo>
                      <a:lnTo>
                        <a:pt x="93673" y="98767"/>
                      </a:lnTo>
                      <a:lnTo>
                        <a:pt x="94341" y="99891"/>
                      </a:lnTo>
                      <a:lnTo>
                        <a:pt x="96525" y="101048"/>
                      </a:lnTo>
                      <a:lnTo>
                        <a:pt x="99060" y="102133"/>
                      </a:lnTo>
                      <a:lnTo>
                        <a:pt x="107422" y="108660"/>
                      </a:lnTo>
                      <a:lnTo>
                        <a:pt x="109215" y="110184"/>
                      </a:lnTo>
                      <a:lnTo>
                        <a:pt x="111578" y="112450"/>
                      </a:lnTo>
                      <a:lnTo>
                        <a:pt x="114129" y="114210"/>
                      </a:lnTo>
                      <a:lnTo>
                        <a:pt x="120999" y="116517"/>
                      </a:lnTo>
                      <a:lnTo>
                        <a:pt x="124023" y="118033"/>
                      </a:lnTo>
                      <a:lnTo>
                        <a:pt x="124805" y="118896"/>
                      </a:lnTo>
                      <a:lnTo>
                        <a:pt x="124772" y="119948"/>
                      </a:lnTo>
                      <a:lnTo>
                        <a:pt x="123982" y="121292"/>
                      </a:lnTo>
                      <a:lnTo>
                        <a:pt x="123322" y="123656"/>
                      </a:lnTo>
                      <a:lnTo>
                        <a:pt x="123289" y="125074"/>
                      </a:lnTo>
                      <a:lnTo>
                        <a:pt x="124006" y="126443"/>
                      </a:lnTo>
                      <a:lnTo>
                        <a:pt x="125213" y="128497"/>
                      </a:lnTo>
                      <a:lnTo>
                        <a:pt x="127943" y="131667"/>
                      </a:lnTo>
                      <a:lnTo>
                        <a:pt x="129434" y="133069"/>
                      </a:lnTo>
                      <a:lnTo>
                        <a:pt x="131089" y="133387"/>
                      </a:lnTo>
                      <a:lnTo>
                        <a:pt x="132531" y="134153"/>
                      </a:lnTo>
                      <a:lnTo>
                        <a:pt x="134031" y="136508"/>
                      </a:lnTo>
                      <a:lnTo>
                        <a:pt x="135766" y="139385"/>
                      </a:lnTo>
                      <a:lnTo>
                        <a:pt x="135987" y="141398"/>
                      </a:lnTo>
                      <a:lnTo>
                        <a:pt x="136728" y="143973"/>
                      </a:lnTo>
                      <a:lnTo>
                        <a:pt x="138317" y="146931"/>
                      </a:lnTo>
                      <a:lnTo>
                        <a:pt x="140501" y="149800"/>
                      </a:lnTo>
                      <a:lnTo>
                        <a:pt x="143557" y="153345"/>
                      </a:lnTo>
                      <a:lnTo>
                        <a:pt x="145318" y="155847"/>
                      </a:lnTo>
                      <a:lnTo>
                        <a:pt x="146125" y="156825"/>
                      </a:lnTo>
                      <a:lnTo>
                        <a:pt x="152653" y="162905"/>
                      </a:lnTo>
                      <a:lnTo>
                        <a:pt x="154242" y="165146"/>
                      </a:lnTo>
                      <a:lnTo>
                        <a:pt x="156532" y="169466"/>
                      </a:lnTo>
                      <a:lnTo>
                        <a:pt x="157510" y="170093"/>
                      </a:lnTo>
                      <a:lnTo>
                        <a:pt x="158423" y="170941"/>
                      </a:lnTo>
                      <a:lnTo>
                        <a:pt x="159009" y="173320"/>
                      </a:lnTo>
                      <a:lnTo>
                        <a:pt x="159205" y="175016"/>
                      </a:lnTo>
                      <a:lnTo>
                        <a:pt x="159523" y="180231"/>
                      </a:lnTo>
                      <a:lnTo>
                        <a:pt x="160689" y="181772"/>
                      </a:lnTo>
                      <a:lnTo>
                        <a:pt x="161780" y="183679"/>
                      </a:lnTo>
                      <a:lnTo>
                        <a:pt x="162253" y="185056"/>
                      </a:lnTo>
                      <a:lnTo>
                        <a:pt x="163231" y="186083"/>
                      </a:lnTo>
                      <a:lnTo>
                        <a:pt x="164307" y="186287"/>
                      </a:lnTo>
                      <a:lnTo>
                        <a:pt x="165603" y="185129"/>
                      </a:lnTo>
                      <a:lnTo>
                        <a:pt x="166621" y="184029"/>
                      </a:lnTo>
                      <a:lnTo>
                        <a:pt x="167070" y="184355"/>
                      </a:lnTo>
                      <a:lnTo>
                        <a:pt x="168113" y="187998"/>
                      </a:lnTo>
                      <a:lnTo>
                        <a:pt x="169050" y="189318"/>
                      </a:lnTo>
                      <a:lnTo>
                        <a:pt x="170810" y="190590"/>
                      </a:lnTo>
                      <a:lnTo>
                        <a:pt x="172497" y="191559"/>
                      </a:lnTo>
                      <a:lnTo>
                        <a:pt x="176165" y="195944"/>
                      </a:lnTo>
                      <a:lnTo>
                        <a:pt x="178129" y="197541"/>
                      </a:lnTo>
                      <a:lnTo>
                        <a:pt x="179449" y="198055"/>
                      </a:lnTo>
                      <a:lnTo>
                        <a:pt x="180606" y="198788"/>
                      </a:lnTo>
                      <a:lnTo>
                        <a:pt x="180941" y="200174"/>
                      </a:lnTo>
                      <a:lnTo>
                        <a:pt x="180492" y="201592"/>
                      </a:lnTo>
                      <a:lnTo>
                        <a:pt x="179718" y="202504"/>
                      </a:lnTo>
                      <a:lnTo>
                        <a:pt x="175456" y="205031"/>
                      </a:lnTo>
                      <a:lnTo>
                        <a:pt x="174885" y="206131"/>
                      </a:lnTo>
                      <a:lnTo>
                        <a:pt x="175472" y="207818"/>
                      </a:lnTo>
                      <a:lnTo>
                        <a:pt x="176539" y="209937"/>
                      </a:lnTo>
                      <a:lnTo>
                        <a:pt x="177705" y="211746"/>
                      </a:lnTo>
                      <a:lnTo>
                        <a:pt x="179180" y="213523"/>
                      </a:lnTo>
                      <a:lnTo>
                        <a:pt x="182171" y="216408"/>
                      </a:lnTo>
                      <a:lnTo>
                        <a:pt x="184763" y="218674"/>
                      </a:lnTo>
                      <a:lnTo>
                        <a:pt x="186189" y="221159"/>
                      </a:lnTo>
                      <a:lnTo>
                        <a:pt x="186971" y="222830"/>
                      </a:lnTo>
                      <a:lnTo>
                        <a:pt x="186490" y="224819"/>
                      </a:lnTo>
                      <a:lnTo>
                        <a:pt x="185390" y="226994"/>
                      </a:lnTo>
                      <a:lnTo>
                        <a:pt x="184534" y="228861"/>
                      </a:lnTo>
                      <a:lnTo>
                        <a:pt x="183076" y="229953"/>
                      </a:lnTo>
                      <a:lnTo>
                        <a:pt x="182685" y="231216"/>
                      </a:lnTo>
                      <a:lnTo>
                        <a:pt x="183287" y="233164"/>
                      </a:lnTo>
                      <a:lnTo>
                        <a:pt x="183776" y="234508"/>
                      </a:lnTo>
                      <a:lnTo>
                        <a:pt x="183516" y="236163"/>
                      </a:lnTo>
                      <a:lnTo>
                        <a:pt x="183662" y="239578"/>
                      </a:lnTo>
                      <a:lnTo>
                        <a:pt x="182302" y="240800"/>
                      </a:lnTo>
                      <a:lnTo>
                        <a:pt x="181054" y="243913"/>
                      </a:lnTo>
                      <a:lnTo>
                        <a:pt x="180199" y="244133"/>
                      </a:lnTo>
                      <a:lnTo>
                        <a:pt x="178031" y="243009"/>
                      </a:lnTo>
                      <a:lnTo>
                        <a:pt x="177273" y="243628"/>
                      </a:lnTo>
                      <a:lnTo>
                        <a:pt x="175896" y="245885"/>
                      </a:lnTo>
                      <a:lnTo>
                        <a:pt x="173475" y="248363"/>
                      </a:lnTo>
                      <a:lnTo>
                        <a:pt x="172318" y="248388"/>
                      </a:lnTo>
                      <a:lnTo>
                        <a:pt x="171519" y="248086"/>
                      </a:lnTo>
                      <a:lnTo>
                        <a:pt x="170582" y="249137"/>
                      </a:lnTo>
                      <a:lnTo>
                        <a:pt x="169229" y="251077"/>
                      </a:lnTo>
                      <a:lnTo>
                        <a:pt x="168618" y="251012"/>
                      </a:lnTo>
                      <a:lnTo>
                        <a:pt x="166312" y="251460"/>
                      </a:lnTo>
                      <a:lnTo>
                        <a:pt x="165399" y="250841"/>
                      </a:lnTo>
                      <a:lnTo>
                        <a:pt x="164282" y="249235"/>
                      </a:lnTo>
                      <a:lnTo>
                        <a:pt x="162473" y="247605"/>
                      </a:lnTo>
                      <a:lnTo>
                        <a:pt x="160835" y="246456"/>
                      </a:lnTo>
                      <a:lnTo>
                        <a:pt x="159947" y="245666"/>
                      </a:lnTo>
                      <a:lnTo>
                        <a:pt x="159148" y="244321"/>
                      </a:lnTo>
                      <a:lnTo>
                        <a:pt x="158398" y="243441"/>
                      </a:lnTo>
                      <a:lnTo>
                        <a:pt x="157062" y="245364"/>
                      </a:lnTo>
                      <a:lnTo>
                        <a:pt x="154772" y="247198"/>
                      </a:lnTo>
                      <a:lnTo>
                        <a:pt x="152612" y="246855"/>
                      </a:lnTo>
                      <a:lnTo>
                        <a:pt x="151560" y="246546"/>
                      </a:lnTo>
                      <a:lnTo>
                        <a:pt x="150697" y="249227"/>
                      </a:lnTo>
                      <a:lnTo>
                        <a:pt x="150061" y="249708"/>
                      </a:lnTo>
                      <a:lnTo>
                        <a:pt x="146174" y="250164"/>
                      </a:lnTo>
                      <a:lnTo>
                        <a:pt x="145448" y="250596"/>
                      </a:lnTo>
                      <a:lnTo>
                        <a:pt x="146068" y="253033"/>
                      </a:lnTo>
                      <a:lnTo>
                        <a:pt x="148358" y="257165"/>
                      </a:lnTo>
                      <a:lnTo>
                        <a:pt x="149059" y="259536"/>
                      </a:lnTo>
                      <a:lnTo>
                        <a:pt x="147632" y="263424"/>
                      </a:lnTo>
                      <a:lnTo>
                        <a:pt x="143598" y="263318"/>
                      </a:lnTo>
                      <a:lnTo>
                        <a:pt x="141789" y="261737"/>
                      </a:lnTo>
                      <a:lnTo>
                        <a:pt x="140118" y="259536"/>
                      </a:lnTo>
                      <a:lnTo>
                        <a:pt x="139515" y="258444"/>
                      </a:lnTo>
                      <a:lnTo>
                        <a:pt x="134348" y="256285"/>
                      </a:lnTo>
                      <a:lnTo>
                        <a:pt x="130901" y="257768"/>
                      </a:lnTo>
                      <a:lnTo>
                        <a:pt x="129850" y="257703"/>
                      </a:lnTo>
                      <a:lnTo>
                        <a:pt x="128236" y="256122"/>
                      </a:lnTo>
                      <a:lnTo>
                        <a:pt x="127266" y="254932"/>
                      </a:lnTo>
                      <a:lnTo>
                        <a:pt x="126296" y="253139"/>
                      </a:lnTo>
                      <a:lnTo>
                        <a:pt x="125775" y="251322"/>
                      </a:lnTo>
                      <a:lnTo>
                        <a:pt x="125710" y="250498"/>
                      </a:lnTo>
                      <a:lnTo>
                        <a:pt x="127209" y="249846"/>
                      </a:lnTo>
                      <a:lnTo>
                        <a:pt x="129654" y="248363"/>
                      </a:lnTo>
                      <a:lnTo>
                        <a:pt x="131651" y="246684"/>
                      </a:lnTo>
                      <a:lnTo>
                        <a:pt x="132963" y="244908"/>
                      </a:lnTo>
                      <a:lnTo>
                        <a:pt x="133501" y="243066"/>
                      </a:lnTo>
                      <a:lnTo>
                        <a:pt x="133574" y="240914"/>
                      </a:lnTo>
                      <a:lnTo>
                        <a:pt x="134136" y="235373"/>
                      </a:lnTo>
                      <a:lnTo>
                        <a:pt x="134732" y="232659"/>
                      </a:lnTo>
                      <a:lnTo>
                        <a:pt x="134405" y="229342"/>
                      </a:lnTo>
                      <a:lnTo>
                        <a:pt x="133330" y="226717"/>
                      </a:lnTo>
                      <a:lnTo>
                        <a:pt x="133330" y="222781"/>
                      </a:lnTo>
                      <a:lnTo>
                        <a:pt x="133713" y="220866"/>
                      </a:lnTo>
                      <a:lnTo>
                        <a:pt x="133892" y="219611"/>
                      </a:lnTo>
                      <a:lnTo>
                        <a:pt x="135400" y="218014"/>
                      </a:lnTo>
                      <a:lnTo>
                        <a:pt x="136435" y="215723"/>
                      </a:lnTo>
                      <a:lnTo>
                        <a:pt x="137013" y="212749"/>
                      </a:lnTo>
                      <a:lnTo>
                        <a:pt x="137062" y="210589"/>
                      </a:lnTo>
                      <a:lnTo>
                        <a:pt x="136598" y="209269"/>
                      </a:lnTo>
                      <a:lnTo>
                        <a:pt x="135115" y="208006"/>
                      </a:lnTo>
                      <a:lnTo>
                        <a:pt x="132621" y="206808"/>
                      </a:lnTo>
                      <a:lnTo>
                        <a:pt x="131064" y="205300"/>
                      </a:lnTo>
                      <a:lnTo>
                        <a:pt x="130429" y="203474"/>
                      </a:lnTo>
                      <a:lnTo>
                        <a:pt x="130477" y="201877"/>
                      </a:lnTo>
                      <a:lnTo>
                        <a:pt x="131243" y="200483"/>
                      </a:lnTo>
                      <a:lnTo>
                        <a:pt x="129369" y="198959"/>
                      </a:lnTo>
                      <a:lnTo>
                        <a:pt x="124854" y="197256"/>
                      </a:lnTo>
                      <a:lnTo>
                        <a:pt x="122336" y="195211"/>
                      </a:lnTo>
                      <a:lnTo>
                        <a:pt x="121806" y="192839"/>
                      </a:lnTo>
                      <a:lnTo>
                        <a:pt x="119924" y="189726"/>
                      </a:lnTo>
                      <a:lnTo>
                        <a:pt x="116688" y="185871"/>
                      </a:lnTo>
                      <a:lnTo>
                        <a:pt x="114977" y="180321"/>
                      </a:lnTo>
                      <a:lnTo>
                        <a:pt x="114806" y="173076"/>
                      </a:lnTo>
                      <a:lnTo>
                        <a:pt x="115189" y="167184"/>
                      </a:lnTo>
                      <a:lnTo>
                        <a:pt x="116607" y="160346"/>
                      </a:lnTo>
                      <a:lnTo>
                        <a:pt x="114716" y="155399"/>
                      </a:lnTo>
                      <a:lnTo>
                        <a:pt x="112629" y="152791"/>
                      </a:lnTo>
                      <a:lnTo>
                        <a:pt x="109744" y="150884"/>
                      </a:lnTo>
                      <a:lnTo>
                        <a:pt x="106982" y="148129"/>
                      </a:lnTo>
                      <a:lnTo>
                        <a:pt x="104366" y="144544"/>
                      </a:lnTo>
                      <a:lnTo>
                        <a:pt x="101228" y="139255"/>
                      </a:lnTo>
                      <a:lnTo>
                        <a:pt x="97568" y="132238"/>
                      </a:lnTo>
                      <a:lnTo>
                        <a:pt x="95116" y="129100"/>
                      </a:lnTo>
                      <a:lnTo>
                        <a:pt x="93861" y="129825"/>
                      </a:lnTo>
                      <a:lnTo>
                        <a:pt x="91220" y="129173"/>
                      </a:lnTo>
                      <a:lnTo>
                        <a:pt x="87186" y="127144"/>
                      </a:lnTo>
                      <a:lnTo>
                        <a:pt x="83657" y="126052"/>
                      </a:lnTo>
                      <a:lnTo>
                        <a:pt x="80666" y="125897"/>
                      </a:lnTo>
                      <a:lnTo>
                        <a:pt x="78718" y="126345"/>
                      </a:lnTo>
                      <a:lnTo>
                        <a:pt x="77805" y="127421"/>
                      </a:lnTo>
                      <a:lnTo>
                        <a:pt x="77724" y="128489"/>
                      </a:lnTo>
                      <a:lnTo>
                        <a:pt x="78498" y="129524"/>
                      </a:lnTo>
                      <a:lnTo>
                        <a:pt x="78091" y="130347"/>
                      </a:lnTo>
                      <a:lnTo>
                        <a:pt x="76518" y="130917"/>
                      </a:lnTo>
                      <a:lnTo>
                        <a:pt x="75247" y="132083"/>
                      </a:lnTo>
                      <a:lnTo>
                        <a:pt x="73829" y="134650"/>
                      </a:lnTo>
                      <a:lnTo>
                        <a:pt x="72834" y="138016"/>
                      </a:lnTo>
                      <a:lnTo>
                        <a:pt x="71343" y="139311"/>
                      </a:lnTo>
                      <a:lnTo>
                        <a:pt x="69053" y="139597"/>
                      </a:lnTo>
                      <a:lnTo>
                        <a:pt x="66787" y="140559"/>
                      </a:lnTo>
                      <a:lnTo>
                        <a:pt x="64554" y="142197"/>
                      </a:lnTo>
                      <a:lnTo>
                        <a:pt x="63503" y="143435"/>
                      </a:lnTo>
                      <a:lnTo>
                        <a:pt x="63633" y="144291"/>
                      </a:lnTo>
                      <a:lnTo>
                        <a:pt x="63136" y="144478"/>
                      </a:lnTo>
                      <a:lnTo>
                        <a:pt x="62060" y="144006"/>
                      </a:lnTo>
                      <a:lnTo>
                        <a:pt x="61539" y="142897"/>
                      </a:lnTo>
                      <a:lnTo>
                        <a:pt x="61596" y="141137"/>
                      </a:lnTo>
                      <a:lnTo>
                        <a:pt x="60463" y="139964"/>
                      </a:lnTo>
                      <a:lnTo>
                        <a:pt x="58140" y="139360"/>
                      </a:lnTo>
                      <a:lnTo>
                        <a:pt x="55492" y="137486"/>
                      </a:lnTo>
                      <a:lnTo>
                        <a:pt x="52509" y="134316"/>
                      </a:lnTo>
                      <a:lnTo>
                        <a:pt x="50439" y="132637"/>
                      </a:lnTo>
                      <a:lnTo>
                        <a:pt x="49273" y="132425"/>
                      </a:lnTo>
                      <a:lnTo>
                        <a:pt x="47611" y="133680"/>
                      </a:lnTo>
                      <a:lnTo>
                        <a:pt x="45451" y="136394"/>
                      </a:lnTo>
                      <a:lnTo>
                        <a:pt x="43667" y="137470"/>
                      </a:lnTo>
                      <a:lnTo>
                        <a:pt x="42265" y="136907"/>
                      </a:lnTo>
                      <a:lnTo>
                        <a:pt x="41172" y="137861"/>
                      </a:lnTo>
                      <a:lnTo>
                        <a:pt x="40414" y="140347"/>
                      </a:lnTo>
                      <a:lnTo>
                        <a:pt x="39005" y="142278"/>
                      </a:lnTo>
                      <a:lnTo>
                        <a:pt x="35941" y="144397"/>
                      </a:lnTo>
                      <a:lnTo>
                        <a:pt x="35720" y="144650"/>
                      </a:lnTo>
                      <a:lnTo>
                        <a:pt x="32216" y="147518"/>
                      </a:lnTo>
                      <a:lnTo>
                        <a:pt x="29388" y="150395"/>
                      </a:lnTo>
                      <a:lnTo>
                        <a:pt x="26104" y="154258"/>
                      </a:lnTo>
                      <a:lnTo>
                        <a:pt x="24564" y="154853"/>
                      </a:lnTo>
                      <a:lnTo>
                        <a:pt x="23088" y="153924"/>
                      </a:lnTo>
                      <a:lnTo>
                        <a:pt x="20855" y="152970"/>
                      </a:lnTo>
                      <a:lnTo>
                        <a:pt x="19682" y="151650"/>
                      </a:lnTo>
                      <a:lnTo>
                        <a:pt x="21939" y="145114"/>
                      </a:lnTo>
                      <a:lnTo>
                        <a:pt x="24759" y="137861"/>
                      </a:lnTo>
                      <a:lnTo>
                        <a:pt x="25533" y="134511"/>
                      </a:lnTo>
                      <a:lnTo>
                        <a:pt x="25647" y="132075"/>
                      </a:lnTo>
                      <a:lnTo>
                        <a:pt x="25370" y="130086"/>
                      </a:lnTo>
                      <a:lnTo>
                        <a:pt x="24262" y="128000"/>
                      </a:lnTo>
                      <a:lnTo>
                        <a:pt x="23211" y="126394"/>
                      </a:lnTo>
                      <a:lnTo>
                        <a:pt x="23121" y="125318"/>
                      </a:lnTo>
                      <a:lnTo>
                        <a:pt x="23447" y="124177"/>
                      </a:lnTo>
                      <a:lnTo>
                        <a:pt x="24596" y="122507"/>
                      </a:lnTo>
                      <a:lnTo>
                        <a:pt x="26071" y="119899"/>
                      </a:lnTo>
                      <a:lnTo>
                        <a:pt x="27432" y="114536"/>
                      </a:lnTo>
                      <a:lnTo>
                        <a:pt x="29062" y="108864"/>
                      </a:lnTo>
                      <a:lnTo>
                        <a:pt x="28899" y="105417"/>
                      </a:lnTo>
                      <a:lnTo>
                        <a:pt x="27579" y="101643"/>
                      </a:lnTo>
                      <a:lnTo>
                        <a:pt x="26854" y="98066"/>
                      </a:lnTo>
                      <a:lnTo>
                        <a:pt x="27440" y="93176"/>
                      </a:lnTo>
                      <a:lnTo>
                        <a:pt x="27220" y="91269"/>
                      </a:lnTo>
                      <a:lnTo>
                        <a:pt x="25786" y="90315"/>
                      </a:lnTo>
                      <a:lnTo>
                        <a:pt x="21116" y="89337"/>
                      </a:lnTo>
                      <a:lnTo>
                        <a:pt x="19633" y="89509"/>
                      </a:lnTo>
                      <a:lnTo>
                        <a:pt x="18443" y="90136"/>
                      </a:lnTo>
                      <a:lnTo>
                        <a:pt x="17163" y="91473"/>
                      </a:lnTo>
                      <a:lnTo>
                        <a:pt x="15599" y="92304"/>
                      </a:lnTo>
                      <a:lnTo>
                        <a:pt x="12673" y="92760"/>
                      </a:lnTo>
                      <a:lnTo>
                        <a:pt x="9886" y="91114"/>
                      </a:lnTo>
                      <a:lnTo>
                        <a:pt x="7571" y="88302"/>
                      </a:lnTo>
                      <a:lnTo>
                        <a:pt x="7025" y="84863"/>
                      </a:lnTo>
                      <a:lnTo>
                        <a:pt x="8720" y="80764"/>
                      </a:lnTo>
                      <a:lnTo>
                        <a:pt x="9910" y="77447"/>
                      </a:lnTo>
                      <a:lnTo>
                        <a:pt x="10627" y="74603"/>
                      </a:lnTo>
                      <a:lnTo>
                        <a:pt x="10546" y="73250"/>
                      </a:lnTo>
                      <a:lnTo>
                        <a:pt x="10040" y="71840"/>
                      </a:lnTo>
                      <a:lnTo>
                        <a:pt x="9356" y="71652"/>
                      </a:lnTo>
                      <a:lnTo>
                        <a:pt x="7865" y="69908"/>
                      </a:lnTo>
                      <a:lnTo>
                        <a:pt x="6406" y="66828"/>
                      </a:lnTo>
                      <a:lnTo>
                        <a:pt x="5045" y="65418"/>
                      </a:lnTo>
                      <a:lnTo>
                        <a:pt x="3749" y="65687"/>
                      </a:lnTo>
                      <a:lnTo>
                        <a:pt x="2559" y="66852"/>
                      </a:lnTo>
                      <a:lnTo>
                        <a:pt x="1475" y="68914"/>
                      </a:lnTo>
                      <a:lnTo>
                        <a:pt x="619" y="69753"/>
                      </a:lnTo>
                      <a:lnTo>
                        <a:pt x="0" y="69379"/>
                      </a:lnTo>
                      <a:lnTo>
                        <a:pt x="195" y="67553"/>
                      </a:lnTo>
                      <a:lnTo>
                        <a:pt x="367" y="65842"/>
                      </a:lnTo>
                      <a:lnTo>
                        <a:pt x="1720" y="59135"/>
                      </a:lnTo>
                      <a:lnTo>
                        <a:pt x="3342" y="54766"/>
                      </a:lnTo>
                      <a:lnTo>
                        <a:pt x="5249" y="52745"/>
                      </a:lnTo>
                      <a:lnTo>
                        <a:pt x="7253" y="51898"/>
                      </a:lnTo>
                      <a:lnTo>
                        <a:pt x="9389" y="52207"/>
                      </a:lnTo>
                      <a:lnTo>
                        <a:pt x="11174" y="51832"/>
                      </a:lnTo>
                      <a:lnTo>
                        <a:pt x="12600" y="50765"/>
                      </a:lnTo>
                      <a:lnTo>
                        <a:pt x="12477" y="50162"/>
                      </a:lnTo>
                      <a:lnTo>
                        <a:pt x="10782" y="49999"/>
                      </a:lnTo>
                      <a:lnTo>
                        <a:pt x="10106" y="48833"/>
                      </a:lnTo>
                      <a:lnTo>
                        <a:pt x="10448" y="46649"/>
                      </a:lnTo>
                      <a:lnTo>
                        <a:pt x="11198" y="45239"/>
                      </a:lnTo>
                      <a:lnTo>
                        <a:pt x="12371" y="44579"/>
                      </a:lnTo>
                      <a:lnTo>
                        <a:pt x="13512" y="42379"/>
                      </a:lnTo>
                      <a:lnTo>
                        <a:pt x="14588" y="38630"/>
                      </a:lnTo>
                      <a:lnTo>
                        <a:pt x="15916" y="36731"/>
                      </a:lnTo>
                      <a:lnTo>
                        <a:pt x="17481" y="36682"/>
                      </a:lnTo>
                      <a:lnTo>
                        <a:pt x="20162" y="35076"/>
                      </a:lnTo>
                      <a:lnTo>
                        <a:pt x="23944" y="31890"/>
                      </a:lnTo>
                      <a:lnTo>
                        <a:pt x="25403" y="28825"/>
                      </a:lnTo>
                      <a:lnTo>
                        <a:pt x="26829" y="30235"/>
                      </a:lnTo>
                      <a:lnTo>
                        <a:pt x="26308" y="33789"/>
                      </a:lnTo>
                      <a:lnTo>
                        <a:pt x="27057" y="34539"/>
                      </a:lnTo>
                      <a:lnTo>
                        <a:pt x="27416" y="35802"/>
                      </a:lnTo>
                      <a:lnTo>
                        <a:pt x="27212" y="37798"/>
                      </a:lnTo>
                      <a:lnTo>
                        <a:pt x="27522" y="39485"/>
                      </a:lnTo>
                      <a:lnTo>
                        <a:pt x="28100" y="40308"/>
                      </a:lnTo>
                      <a:lnTo>
                        <a:pt x="28940" y="40716"/>
                      </a:lnTo>
                      <a:lnTo>
                        <a:pt x="32958" y="39265"/>
                      </a:lnTo>
                      <a:lnTo>
                        <a:pt x="35402" y="39159"/>
                      </a:lnTo>
                      <a:lnTo>
                        <a:pt x="36438" y="40113"/>
                      </a:lnTo>
                      <a:lnTo>
                        <a:pt x="37375" y="40708"/>
                      </a:lnTo>
                      <a:lnTo>
                        <a:pt x="38532" y="41164"/>
                      </a:lnTo>
                      <a:lnTo>
                        <a:pt x="39436" y="41767"/>
                      </a:lnTo>
                      <a:lnTo>
                        <a:pt x="40023" y="41572"/>
                      </a:lnTo>
                      <a:lnTo>
                        <a:pt x="41384" y="40097"/>
                      </a:lnTo>
                      <a:lnTo>
                        <a:pt x="41808" y="39828"/>
                      </a:lnTo>
                      <a:lnTo>
                        <a:pt x="41849" y="39102"/>
                      </a:lnTo>
                      <a:lnTo>
                        <a:pt x="40879" y="37774"/>
                      </a:lnTo>
                      <a:lnTo>
                        <a:pt x="39885" y="36657"/>
                      </a:lnTo>
                      <a:lnTo>
                        <a:pt x="39925" y="34180"/>
                      </a:lnTo>
                      <a:lnTo>
                        <a:pt x="40398" y="29869"/>
                      </a:lnTo>
                      <a:lnTo>
                        <a:pt x="40488" y="27636"/>
                      </a:lnTo>
                      <a:lnTo>
                        <a:pt x="40406" y="22298"/>
                      </a:lnTo>
                      <a:lnTo>
                        <a:pt x="40219" y="20790"/>
                      </a:lnTo>
                      <a:lnTo>
                        <a:pt x="39315" y="19046"/>
                      </a:lnTo>
                      <a:lnTo>
                        <a:pt x="36910" y="15721"/>
                      </a:lnTo>
                      <a:lnTo>
                        <a:pt x="36234" y="13683"/>
                      </a:lnTo>
                      <a:lnTo>
                        <a:pt x="35851" y="11638"/>
                      </a:lnTo>
                      <a:lnTo>
                        <a:pt x="35891" y="10350"/>
                      </a:lnTo>
                      <a:lnTo>
                        <a:pt x="35281" y="8875"/>
                      </a:lnTo>
                      <a:lnTo>
                        <a:pt x="34963" y="7514"/>
                      </a:lnTo>
                      <a:lnTo>
                        <a:pt x="36038" y="6805"/>
                      </a:lnTo>
                      <a:lnTo>
                        <a:pt x="37334" y="5224"/>
                      </a:lnTo>
                      <a:lnTo>
                        <a:pt x="37986" y="2795"/>
                      </a:lnTo>
                      <a:lnTo>
                        <a:pt x="38614" y="1019"/>
                      </a:lnTo>
                      <a:lnTo>
                        <a:pt x="39502" y="269"/>
                      </a:lnTo>
                      <a:lnTo>
                        <a:pt x="40284" y="0"/>
                      </a:lnTo>
                      <a:lnTo>
                        <a:pt x="40806" y="147"/>
                      </a:lnTo>
                      <a:lnTo>
                        <a:pt x="42827" y="3325"/>
                      </a:lnTo>
                      <a:lnTo>
                        <a:pt x="45410" y="1736"/>
                      </a:lnTo>
                      <a:lnTo>
                        <a:pt x="47366" y="1744"/>
                      </a:lnTo>
                      <a:lnTo>
                        <a:pt x="49029" y="2583"/>
                      </a:lnTo>
                      <a:close/>
                    </a:path>
                  </a:pathLst>
                </a:custGeom>
                <a:solidFill>
                  <a:srgbClr val="D6D6D2"/>
                </a:solidFill>
                <a:ln w="6112" cap="rnd">
                  <a:solidFill>
                    <a:srgbClr val="FFFFFF"/>
                  </a:solidFill>
                  <a:prstDash val="solid"/>
                  <a:round/>
                </a:ln>
              </p:spPr>
              <p:txBody>
                <a:bodyPr rtlCol="0" anchor="ctr"/>
                <a:lstStyle/>
                <a:p>
                  <a:endParaRPr lang="en-US"/>
                </a:p>
              </p:txBody>
            </p:sp>
            <p:sp>
              <p:nvSpPr>
                <p:cNvPr id="695" name="Freeform: Shape 694">
                  <a:extLst>
                    <a:ext uri="{FF2B5EF4-FFF2-40B4-BE49-F238E27FC236}">
                      <a16:creationId xmlns:a16="http://schemas.microsoft.com/office/drawing/2014/main" id="{41025D51-E666-49DD-8495-B32E4976F9F1}"/>
                    </a:ext>
                  </a:extLst>
                </p:cNvPr>
                <p:cNvSpPr/>
                <p:nvPr/>
              </p:nvSpPr>
              <p:spPr>
                <a:xfrm>
                  <a:off x="7097699" y="3602110"/>
                  <a:ext cx="47415" cy="50031"/>
                </a:xfrm>
                <a:custGeom>
                  <a:avLst/>
                  <a:gdLst>
                    <a:gd name="connsiteX0" fmla="*/ 39819 w 47415"/>
                    <a:gd name="connsiteY0" fmla="*/ 15370 h 50031"/>
                    <a:gd name="connsiteX1" fmla="*/ 39991 w 47415"/>
                    <a:gd name="connsiteY1" fmla="*/ 16829 h 50031"/>
                    <a:gd name="connsiteX2" fmla="*/ 38655 w 47415"/>
                    <a:gd name="connsiteY2" fmla="*/ 16617 h 50031"/>
                    <a:gd name="connsiteX3" fmla="*/ 37644 w 47415"/>
                    <a:gd name="connsiteY3" fmla="*/ 16022 h 50031"/>
                    <a:gd name="connsiteX4" fmla="*/ 35679 w 47415"/>
                    <a:gd name="connsiteY4" fmla="*/ 15403 h 50031"/>
                    <a:gd name="connsiteX5" fmla="*/ 31914 w 47415"/>
                    <a:gd name="connsiteY5" fmla="*/ 19543 h 50031"/>
                    <a:gd name="connsiteX6" fmla="*/ 29624 w 47415"/>
                    <a:gd name="connsiteY6" fmla="*/ 21800 h 50031"/>
                    <a:gd name="connsiteX7" fmla="*/ 29559 w 47415"/>
                    <a:gd name="connsiteY7" fmla="*/ 22566 h 50031"/>
                    <a:gd name="connsiteX8" fmla="*/ 32599 w 47415"/>
                    <a:gd name="connsiteY8" fmla="*/ 23438 h 50031"/>
                    <a:gd name="connsiteX9" fmla="*/ 34832 w 47415"/>
                    <a:gd name="connsiteY9" fmla="*/ 23414 h 50031"/>
                    <a:gd name="connsiteX10" fmla="*/ 36389 w 47415"/>
                    <a:gd name="connsiteY10" fmla="*/ 22811 h 50031"/>
                    <a:gd name="connsiteX11" fmla="*/ 37701 w 47415"/>
                    <a:gd name="connsiteY11" fmla="*/ 23781 h 50031"/>
                    <a:gd name="connsiteX12" fmla="*/ 38564 w 47415"/>
                    <a:gd name="connsiteY12" fmla="*/ 26332 h 50031"/>
                    <a:gd name="connsiteX13" fmla="*/ 38923 w 47415"/>
                    <a:gd name="connsiteY13" fmla="*/ 28402 h 50031"/>
                    <a:gd name="connsiteX14" fmla="*/ 40985 w 47415"/>
                    <a:gd name="connsiteY14" fmla="*/ 35794 h 50031"/>
                    <a:gd name="connsiteX15" fmla="*/ 42705 w 47415"/>
                    <a:gd name="connsiteY15" fmla="*/ 38295 h 50031"/>
                    <a:gd name="connsiteX16" fmla="*/ 44848 w 47415"/>
                    <a:gd name="connsiteY16" fmla="*/ 42696 h 50031"/>
                    <a:gd name="connsiteX17" fmla="*/ 45639 w 47415"/>
                    <a:gd name="connsiteY17" fmla="*/ 44978 h 50031"/>
                    <a:gd name="connsiteX18" fmla="*/ 46095 w 47415"/>
                    <a:gd name="connsiteY18" fmla="*/ 46894 h 50031"/>
                    <a:gd name="connsiteX19" fmla="*/ 47415 w 47415"/>
                    <a:gd name="connsiteY19" fmla="*/ 49721 h 50031"/>
                    <a:gd name="connsiteX20" fmla="*/ 43104 w 47415"/>
                    <a:gd name="connsiteY20" fmla="*/ 49795 h 50031"/>
                    <a:gd name="connsiteX21" fmla="*/ 37668 w 47415"/>
                    <a:gd name="connsiteY21" fmla="*/ 49892 h 50031"/>
                    <a:gd name="connsiteX22" fmla="*/ 33259 w 47415"/>
                    <a:gd name="connsiteY22" fmla="*/ 49958 h 50031"/>
                    <a:gd name="connsiteX23" fmla="*/ 28288 w 47415"/>
                    <a:gd name="connsiteY23" fmla="*/ 50031 h 50031"/>
                    <a:gd name="connsiteX24" fmla="*/ 26096 w 47415"/>
                    <a:gd name="connsiteY24" fmla="*/ 47007 h 50031"/>
                    <a:gd name="connsiteX25" fmla="*/ 25354 w 47415"/>
                    <a:gd name="connsiteY25" fmla="*/ 43707 h 50031"/>
                    <a:gd name="connsiteX26" fmla="*/ 24564 w 47415"/>
                    <a:gd name="connsiteY26" fmla="*/ 40317 h 50031"/>
                    <a:gd name="connsiteX27" fmla="*/ 22371 w 47415"/>
                    <a:gd name="connsiteY27" fmla="*/ 35476 h 50031"/>
                    <a:gd name="connsiteX28" fmla="*/ 15069 w 47415"/>
                    <a:gd name="connsiteY28" fmla="*/ 34302 h 50031"/>
                    <a:gd name="connsiteX29" fmla="*/ 11174 w 47415"/>
                    <a:gd name="connsiteY29" fmla="*/ 33675 h 50031"/>
                    <a:gd name="connsiteX30" fmla="*/ 4792 w 47415"/>
                    <a:gd name="connsiteY30" fmla="*/ 32745 h 50031"/>
                    <a:gd name="connsiteX31" fmla="*/ 0 w 47415"/>
                    <a:gd name="connsiteY31" fmla="*/ 32061 h 50031"/>
                    <a:gd name="connsiteX32" fmla="*/ 4026 w 47415"/>
                    <a:gd name="connsiteY32" fmla="*/ 26829 h 50031"/>
                    <a:gd name="connsiteX33" fmla="*/ 5892 w 47415"/>
                    <a:gd name="connsiteY33" fmla="*/ 24025 h 50031"/>
                    <a:gd name="connsiteX34" fmla="*/ 9283 w 47415"/>
                    <a:gd name="connsiteY34" fmla="*/ 17937 h 50031"/>
                    <a:gd name="connsiteX35" fmla="*/ 11018 w 47415"/>
                    <a:gd name="connsiteY35" fmla="*/ 13602 h 50031"/>
                    <a:gd name="connsiteX36" fmla="*/ 12697 w 47415"/>
                    <a:gd name="connsiteY36" fmla="*/ 8785 h 50031"/>
                    <a:gd name="connsiteX37" fmla="*/ 14148 w 47415"/>
                    <a:gd name="connsiteY37" fmla="*/ 5045 h 50031"/>
                    <a:gd name="connsiteX38" fmla="*/ 14458 w 47415"/>
                    <a:gd name="connsiteY38" fmla="*/ 4360 h 50031"/>
                    <a:gd name="connsiteX39" fmla="*/ 15305 w 47415"/>
                    <a:gd name="connsiteY39" fmla="*/ 3081 h 50031"/>
                    <a:gd name="connsiteX40" fmla="*/ 17156 w 47415"/>
                    <a:gd name="connsiteY40" fmla="*/ 1785 h 50031"/>
                    <a:gd name="connsiteX41" fmla="*/ 19837 w 47415"/>
                    <a:gd name="connsiteY41" fmla="*/ 562 h 50031"/>
                    <a:gd name="connsiteX42" fmla="*/ 24400 w 47415"/>
                    <a:gd name="connsiteY42" fmla="*/ 24 h 50031"/>
                    <a:gd name="connsiteX43" fmla="*/ 27595 w 47415"/>
                    <a:gd name="connsiteY43" fmla="*/ 0 h 50031"/>
                    <a:gd name="connsiteX44" fmla="*/ 28321 w 47415"/>
                    <a:gd name="connsiteY44" fmla="*/ 57 h 50031"/>
                    <a:gd name="connsiteX45" fmla="*/ 30333 w 47415"/>
                    <a:gd name="connsiteY45" fmla="*/ 668 h 50031"/>
                    <a:gd name="connsiteX46" fmla="*/ 35908 w 47415"/>
                    <a:gd name="connsiteY46" fmla="*/ 3675 h 50031"/>
                    <a:gd name="connsiteX47" fmla="*/ 35785 w 47415"/>
                    <a:gd name="connsiteY47" fmla="*/ 4865 h 50031"/>
                    <a:gd name="connsiteX48" fmla="*/ 36576 w 47415"/>
                    <a:gd name="connsiteY48" fmla="*/ 8394 h 50031"/>
                    <a:gd name="connsiteX49" fmla="*/ 38353 w 47415"/>
                    <a:gd name="connsiteY49" fmla="*/ 12249 h 50031"/>
                    <a:gd name="connsiteX50" fmla="*/ 39819 w 47415"/>
                    <a:gd name="connsiteY50" fmla="*/ 15370 h 50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7415" h="50031">
                      <a:moveTo>
                        <a:pt x="39819" y="15370"/>
                      </a:moveTo>
                      <a:lnTo>
                        <a:pt x="39991" y="16829"/>
                      </a:lnTo>
                      <a:lnTo>
                        <a:pt x="38655" y="16617"/>
                      </a:lnTo>
                      <a:lnTo>
                        <a:pt x="37644" y="16022"/>
                      </a:lnTo>
                      <a:lnTo>
                        <a:pt x="35679" y="15403"/>
                      </a:lnTo>
                      <a:lnTo>
                        <a:pt x="31914" y="19543"/>
                      </a:lnTo>
                      <a:lnTo>
                        <a:pt x="29624" y="21800"/>
                      </a:lnTo>
                      <a:lnTo>
                        <a:pt x="29559" y="22566"/>
                      </a:lnTo>
                      <a:lnTo>
                        <a:pt x="32599" y="23438"/>
                      </a:lnTo>
                      <a:lnTo>
                        <a:pt x="34832" y="23414"/>
                      </a:lnTo>
                      <a:lnTo>
                        <a:pt x="36389" y="22811"/>
                      </a:lnTo>
                      <a:lnTo>
                        <a:pt x="37701" y="23781"/>
                      </a:lnTo>
                      <a:lnTo>
                        <a:pt x="38564" y="26332"/>
                      </a:lnTo>
                      <a:lnTo>
                        <a:pt x="38923" y="28402"/>
                      </a:lnTo>
                      <a:lnTo>
                        <a:pt x="40985" y="35794"/>
                      </a:lnTo>
                      <a:lnTo>
                        <a:pt x="42705" y="38295"/>
                      </a:lnTo>
                      <a:lnTo>
                        <a:pt x="44848" y="42696"/>
                      </a:lnTo>
                      <a:lnTo>
                        <a:pt x="45639" y="44978"/>
                      </a:lnTo>
                      <a:lnTo>
                        <a:pt x="46095" y="46894"/>
                      </a:lnTo>
                      <a:lnTo>
                        <a:pt x="47415" y="49721"/>
                      </a:lnTo>
                      <a:lnTo>
                        <a:pt x="43104" y="49795"/>
                      </a:lnTo>
                      <a:lnTo>
                        <a:pt x="37668" y="49892"/>
                      </a:lnTo>
                      <a:lnTo>
                        <a:pt x="33259" y="49958"/>
                      </a:lnTo>
                      <a:lnTo>
                        <a:pt x="28288" y="50031"/>
                      </a:lnTo>
                      <a:lnTo>
                        <a:pt x="26096" y="47007"/>
                      </a:lnTo>
                      <a:lnTo>
                        <a:pt x="25354" y="43707"/>
                      </a:lnTo>
                      <a:lnTo>
                        <a:pt x="24564" y="40317"/>
                      </a:lnTo>
                      <a:lnTo>
                        <a:pt x="22371" y="35476"/>
                      </a:lnTo>
                      <a:lnTo>
                        <a:pt x="15069" y="34302"/>
                      </a:lnTo>
                      <a:lnTo>
                        <a:pt x="11174" y="33675"/>
                      </a:lnTo>
                      <a:lnTo>
                        <a:pt x="4792" y="32745"/>
                      </a:lnTo>
                      <a:lnTo>
                        <a:pt x="0" y="32061"/>
                      </a:lnTo>
                      <a:lnTo>
                        <a:pt x="4026" y="26829"/>
                      </a:lnTo>
                      <a:lnTo>
                        <a:pt x="5892" y="24025"/>
                      </a:lnTo>
                      <a:lnTo>
                        <a:pt x="9283" y="17937"/>
                      </a:lnTo>
                      <a:lnTo>
                        <a:pt x="11018" y="13602"/>
                      </a:lnTo>
                      <a:lnTo>
                        <a:pt x="12697" y="8785"/>
                      </a:lnTo>
                      <a:lnTo>
                        <a:pt x="14148" y="5045"/>
                      </a:lnTo>
                      <a:lnTo>
                        <a:pt x="14458" y="4360"/>
                      </a:lnTo>
                      <a:lnTo>
                        <a:pt x="15305" y="3081"/>
                      </a:lnTo>
                      <a:lnTo>
                        <a:pt x="17156" y="1785"/>
                      </a:lnTo>
                      <a:lnTo>
                        <a:pt x="19837" y="562"/>
                      </a:lnTo>
                      <a:lnTo>
                        <a:pt x="24400" y="24"/>
                      </a:lnTo>
                      <a:lnTo>
                        <a:pt x="27595" y="0"/>
                      </a:lnTo>
                      <a:lnTo>
                        <a:pt x="28321" y="57"/>
                      </a:lnTo>
                      <a:lnTo>
                        <a:pt x="30333" y="668"/>
                      </a:lnTo>
                      <a:lnTo>
                        <a:pt x="35908" y="3675"/>
                      </a:lnTo>
                      <a:lnTo>
                        <a:pt x="35785" y="4865"/>
                      </a:lnTo>
                      <a:lnTo>
                        <a:pt x="36576" y="8394"/>
                      </a:lnTo>
                      <a:lnTo>
                        <a:pt x="38353" y="12249"/>
                      </a:lnTo>
                      <a:lnTo>
                        <a:pt x="39819" y="15370"/>
                      </a:lnTo>
                      <a:close/>
                    </a:path>
                  </a:pathLst>
                </a:custGeom>
                <a:solidFill>
                  <a:srgbClr val="D6D6D2"/>
                </a:solidFill>
                <a:ln w="6112" cap="rnd">
                  <a:solidFill>
                    <a:srgbClr val="FFFFFF"/>
                  </a:solidFill>
                  <a:prstDash val="solid"/>
                  <a:round/>
                </a:ln>
              </p:spPr>
              <p:txBody>
                <a:bodyPr rtlCol="0" anchor="ctr"/>
                <a:lstStyle/>
                <a:p>
                  <a:endParaRPr lang="en-US"/>
                </a:p>
              </p:txBody>
            </p:sp>
            <p:sp>
              <p:nvSpPr>
                <p:cNvPr id="696" name="Freeform: Shape 695">
                  <a:extLst>
                    <a:ext uri="{FF2B5EF4-FFF2-40B4-BE49-F238E27FC236}">
                      <a16:creationId xmlns:a16="http://schemas.microsoft.com/office/drawing/2014/main" id="{D033E6F4-5AF0-4401-ABCD-7A400876BC00}"/>
                    </a:ext>
                  </a:extLst>
                </p:cNvPr>
                <p:cNvSpPr/>
                <p:nvPr/>
              </p:nvSpPr>
              <p:spPr>
                <a:xfrm>
                  <a:off x="6440407" y="3164062"/>
                  <a:ext cx="42745" cy="48523"/>
                </a:xfrm>
                <a:custGeom>
                  <a:avLst/>
                  <a:gdLst>
                    <a:gd name="connsiteX0" fmla="*/ 38027 w 42745"/>
                    <a:gd name="connsiteY0" fmla="*/ 34987 h 48523"/>
                    <a:gd name="connsiteX1" fmla="*/ 37986 w 42745"/>
                    <a:gd name="connsiteY1" fmla="*/ 34987 h 48523"/>
                    <a:gd name="connsiteX2" fmla="*/ 33732 w 42745"/>
                    <a:gd name="connsiteY2" fmla="*/ 35940 h 48523"/>
                    <a:gd name="connsiteX3" fmla="*/ 32297 w 42745"/>
                    <a:gd name="connsiteY3" fmla="*/ 37065 h 48523"/>
                    <a:gd name="connsiteX4" fmla="*/ 31450 w 42745"/>
                    <a:gd name="connsiteY4" fmla="*/ 39029 h 48523"/>
                    <a:gd name="connsiteX5" fmla="*/ 31181 w 42745"/>
                    <a:gd name="connsiteY5" fmla="*/ 40056 h 48523"/>
                    <a:gd name="connsiteX6" fmla="*/ 30423 w 42745"/>
                    <a:gd name="connsiteY6" fmla="*/ 40080 h 48523"/>
                    <a:gd name="connsiteX7" fmla="*/ 29176 w 42745"/>
                    <a:gd name="connsiteY7" fmla="*/ 39062 h 48523"/>
                    <a:gd name="connsiteX8" fmla="*/ 27603 w 42745"/>
                    <a:gd name="connsiteY8" fmla="*/ 37489 h 48523"/>
                    <a:gd name="connsiteX9" fmla="*/ 25549 w 42745"/>
                    <a:gd name="connsiteY9" fmla="*/ 37611 h 48523"/>
                    <a:gd name="connsiteX10" fmla="*/ 18565 w 42745"/>
                    <a:gd name="connsiteY10" fmla="*/ 41058 h 48523"/>
                    <a:gd name="connsiteX11" fmla="*/ 17872 w 42745"/>
                    <a:gd name="connsiteY11" fmla="*/ 42868 h 48523"/>
                    <a:gd name="connsiteX12" fmla="*/ 17726 w 42745"/>
                    <a:gd name="connsiteY12" fmla="*/ 46788 h 48523"/>
                    <a:gd name="connsiteX13" fmla="*/ 17245 w 42745"/>
                    <a:gd name="connsiteY13" fmla="*/ 47847 h 48523"/>
                    <a:gd name="connsiteX14" fmla="*/ 16503 w 42745"/>
                    <a:gd name="connsiteY14" fmla="*/ 48524 h 48523"/>
                    <a:gd name="connsiteX15" fmla="*/ 13610 w 42745"/>
                    <a:gd name="connsiteY15" fmla="*/ 48092 h 48523"/>
                    <a:gd name="connsiteX16" fmla="*/ 13316 w 42745"/>
                    <a:gd name="connsiteY16" fmla="*/ 47839 h 48523"/>
                    <a:gd name="connsiteX17" fmla="*/ 13684 w 42745"/>
                    <a:gd name="connsiteY17" fmla="*/ 46331 h 48523"/>
                    <a:gd name="connsiteX18" fmla="*/ 13545 w 42745"/>
                    <a:gd name="connsiteY18" fmla="*/ 43047 h 48523"/>
                    <a:gd name="connsiteX19" fmla="*/ 12241 w 42745"/>
                    <a:gd name="connsiteY19" fmla="*/ 37603 h 48523"/>
                    <a:gd name="connsiteX20" fmla="*/ 11303 w 42745"/>
                    <a:gd name="connsiteY20" fmla="*/ 35818 h 48523"/>
                    <a:gd name="connsiteX21" fmla="*/ 9397 w 42745"/>
                    <a:gd name="connsiteY21" fmla="*/ 34050 h 48523"/>
                    <a:gd name="connsiteX22" fmla="*/ 7897 w 42745"/>
                    <a:gd name="connsiteY22" fmla="*/ 32884 h 48523"/>
                    <a:gd name="connsiteX23" fmla="*/ 5232 w 42745"/>
                    <a:gd name="connsiteY23" fmla="*/ 31841 h 48523"/>
                    <a:gd name="connsiteX24" fmla="*/ 3871 w 42745"/>
                    <a:gd name="connsiteY24" fmla="*/ 28850 h 48523"/>
                    <a:gd name="connsiteX25" fmla="*/ 1833 w 42745"/>
                    <a:gd name="connsiteY25" fmla="*/ 25444 h 48523"/>
                    <a:gd name="connsiteX26" fmla="*/ 848 w 42745"/>
                    <a:gd name="connsiteY26" fmla="*/ 24669 h 48523"/>
                    <a:gd name="connsiteX27" fmla="*/ 1010 w 42745"/>
                    <a:gd name="connsiteY27" fmla="*/ 24327 h 48523"/>
                    <a:gd name="connsiteX28" fmla="*/ 1475 w 42745"/>
                    <a:gd name="connsiteY28" fmla="*/ 21760 h 48523"/>
                    <a:gd name="connsiteX29" fmla="*/ 896 w 42745"/>
                    <a:gd name="connsiteY29" fmla="*/ 19885 h 48523"/>
                    <a:gd name="connsiteX30" fmla="*/ 0 w 42745"/>
                    <a:gd name="connsiteY30" fmla="*/ 18296 h 48523"/>
                    <a:gd name="connsiteX31" fmla="*/ 611 w 42745"/>
                    <a:gd name="connsiteY31" fmla="*/ 17326 h 48523"/>
                    <a:gd name="connsiteX32" fmla="*/ 2494 w 42745"/>
                    <a:gd name="connsiteY32" fmla="*/ 17334 h 48523"/>
                    <a:gd name="connsiteX33" fmla="*/ 4042 w 42745"/>
                    <a:gd name="connsiteY33" fmla="*/ 17506 h 48523"/>
                    <a:gd name="connsiteX34" fmla="*/ 4605 w 42745"/>
                    <a:gd name="connsiteY34" fmla="*/ 15982 h 48523"/>
                    <a:gd name="connsiteX35" fmla="*/ 7808 w 42745"/>
                    <a:gd name="connsiteY35" fmla="*/ 14979 h 48523"/>
                    <a:gd name="connsiteX36" fmla="*/ 10896 w 42745"/>
                    <a:gd name="connsiteY36" fmla="*/ 13944 h 48523"/>
                    <a:gd name="connsiteX37" fmla="*/ 11336 w 42745"/>
                    <a:gd name="connsiteY37" fmla="*/ 13211 h 48523"/>
                    <a:gd name="connsiteX38" fmla="*/ 10627 w 42745"/>
                    <a:gd name="connsiteY38" fmla="*/ 11638 h 48523"/>
                    <a:gd name="connsiteX39" fmla="*/ 11051 w 42745"/>
                    <a:gd name="connsiteY39" fmla="*/ 10660 h 48523"/>
                    <a:gd name="connsiteX40" fmla="*/ 14735 w 42745"/>
                    <a:gd name="connsiteY40" fmla="*/ 7848 h 48523"/>
                    <a:gd name="connsiteX41" fmla="*/ 15354 w 42745"/>
                    <a:gd name="connsiteY41" fmla="*/ 6577 h 48523"/>
                    <a:gd name="connsiteX42" fmla="*/ 15574 w 42745"/>
                    <a:gd name="connsiteY42" fmla="*/ 5574 h 48523"/>
                    <a:gd name="connsiteX43" fmla="*/ 15069 w 42745"/>
                    <a:gd name="connsiteY43" fmla="*/ 4523 h 48523"/>
                    <a:gd name="connsiteX44" fmla="*/ 14392 w 42745"/>
                    <a:gd name="connsiteY44" fmla="*/ 2861 h 48523"/>
                    <a:gd name="connsiteX45" fmla="*/ 14718 w 42745"/>
                    <a:gd name="connsiteY45" fmla="*/ 2160 h 48523"/>
                    <a:gd name="connsiteX46" fmla="*/ 16642 w 42745"/>
                    <a:gd name="connsiteY46" fmla="*/ 1198 h 48523"/>
                    <a:gd name="connsiteX47" fmla="*/ 18207 w 42745"/>
                    <a:gd name="connsiteY47" fmla="*/ 73 h 48523"/>
                    <a:gd name="connsiteX48" fmla="*/ 19119 w 42745"/>
                    <a:gd name="connsiteY48" fmla="*/ 0 h 48523"/>
                    <a:gd name="connsiteX49" fmla="*/ 19698 w 42745"/>
                    <a:gd name="connsiteY49" fmla="*/ 799 h 48523"/>
                    <a:gd name="connsiteX50" fmla="*/ 19698 w 42745"/>
                    <a:gd name="connsiteY50" fmla="*/ 1622 h 48523"/>
                    <a:gd name="connsiteX51" fmla="*/ 20203 w 42745"/>
                    <a:gd name="connsiteY51" fmla="*/ 3032 h 48523"/>
                    <a:gd name="connsiteX52" fmla="*/ 21360 w 42745"/>
                    <a:gd name="connsiteY52" fmla="*/ 3782 h 48523"/>
                    <a:gd name="connsiteX53" fmla="*/ 23267 w 42745"/>
                    <a:gd name="connsiteY53" fmla="*/ 5020 h 48523"/>
                    <a:gd name="connsiteX54" fmla="*/ 25484 w 42745"/>
                    <a:gd name="connsiteY54" fmla="*/ 5860 h 48523"/>
                    <a:gd name="connsiteX55" fmla="*/ 27220 w 42745"/>
                    <a:gd name="connsiteY55" fmla="*/ 7539 h 48523"/>
                    <a:gd name="connsiteX56" fmla="*/ 29600 w 42745"/>
                    <a:gd name="connsiteY56" fmla="*/ 10546 h 48523"/>
                    <a:gd name="connsiteX57" fmla="*/ 29958 w 42745"/>
                    <a:gd name="connsiteY57" fmla="*/ 12037 h 48523"/>
                    <a:gd name="connsiteX58" fmla="*/ 32086 w 42745"/>
                    <a:gd name="connsiteY58" fmla="*/ 13366 h 48523"/>
                    <a:gd name="connsiteX59" fmla="*/ 34066 w 42745"/>
                    <a:gd name="connsiteY59" fmla="*/ 14857 h 48523"/>
                    <a:gd name="connsiteX60" fmla="*/ 33756 w 42745"/>
                    <a:gd name="connsiteY60" fmla="*/ 17620 h 48523"/>
                    <a:gd name="connsiteX61" fmla="*/ 40496 w 42745"/>
                    <a:gd name="connsiteY61" fmla="*/ 20040 h 48523"/>
                    <a:gd name="connsiteX62" fmla="*/ 42020 w 42745"/>
                    <a:gd name="connsiteY62" fmla="*/ 20016 h 48523"/>
                    <a:gd name="connsiteX63" fmla="*/ 42745 w 42745"/>
                    <a:gd name="connsiteY63" fmla="*/ 20439 h 48523"/>
                    <a:gd name="connsiteX64" fmla="*/ 42729 w 42745"/>
                    <a:gd name="connsiteY64" fmla="*/ 21067 h 48523"/>
                    <a:gd name="connsiteX65" fmla="*/ 42199 w 42745"/>
                    <a:gd name="connsiteY65" fmla="*/ 23007 h 48523"/>
                    <a:gd name="connsiteX66" fmla="*/ 39420 w 42745"/>
                    <a:gd name="connsiteY66" fmla="*/ 28940 h 48523"/>
                    <a:gd name="connsiteX67" fmla="*/ 39192 w 42745"/>
                    <a:gd name="connsiteY67" fmla="*/ 30170 h 48523"/>
                    <a:gd name="connsiteX68" fmla="*/ 37212 w 42745"/>
                    <a:gd name="connsiteY68" fmla="*/ 31466 h 48523"/>
                    <a:gd name="connsiteX69" fmla="*/ 36943 w 42745"/>
                    <a:gd name="connsiteY69" fmla="*/ 32208 h 48523"/>
                    <a:gd name="connsiteX70" fmla="*/ 37497 w 42745"/>
                    <a:gd name="connsiteY70" fmla="*/ 33846 h 48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2745" h="48523">
                      <a:moveTo>
                        <a:pt x="38027" y="34987"/>
                      </a:moveTo>
                      <a:lnTo>
                        <a:pt x="37986" y="34987"/>
                      </a:lnTo>
                      <a:lnTo>
                        <a:pt x="33732" y="35940"/>
                      </a:lnTo>
                      <a:lnTo>
                        <a:pt x="32297" y="37065"/>
                      </a:lnTo>
                      <a:lnTo>
                        <a:pt x="31450" y="39029"/>
                      </a:lnTo>
                      <a:lnTo>
                        <a:pt x="31181" y="40056"/>
                      </a:lnTo>
                      <a:lnTo>
                        <a:pt x="30423" y="40080"/>
                      </a:lnTo>
                      <a:lnTo>
                        <a:pt x="29176" y="39062"/>
                      </a:lnTo>
                      <a:lnTo>
                        <a:pt x="27603" y="37489"/>
                      </a:lnTo>
                      <a:lnTo>
                        <a:pt x="25549" y="37611"/>
                      </a:lnTo>
                      <a:lnTo>
                        <a:pt x="18565" y="41058"/>
                      </a:lnTo>
                      <a:lnTo>
                        <a:pt x="17872" y="42868"/>
                      </a:lnTo>
                      <a:lnTo>
                        <a:pt x="17726" y="46788"/>
                      </a:lnTo>
                      <a:lnTo>
                        <a:pt x="17245" y="47847"/>
                      </a:lnTo>
                      <a:lnTo>
                        <a:pt x="16503" y="48524"/>
                      </a:lnTo>
                      <a:lnTo>
                        <a:pt x="13610" y="48092"/>
                      </a:lnTo>
                      <a:lnTo>
                        <a:pt x="13316" y="47839"/>
                      </a:lnTo>
                      <a:lnTo>
                        <a:pt x="13684" y="46331"/>
                      </a:lnTo>
                      <a:lnTo>
                        <a:pt x="13545" y="43047"/>
                      </a:lnTo>
                      <a:lnTo>
                        <a:pt x="12241" y="37603"/>
                      </a:lnTo>
                      <a:lnTo>
                        <a:pt x="11303" y="35818"/>
                      </a:lnTo>
                      <a:lnTo>
                        <a:pt x="9397" y="34050"/>
                      </a:lnTo>
                      <a:lnTo>
                        <a:pt x="7897" y="32884"/>
                      </a:lnTo>
                      <a:lnTo>
                        <a:pt x="5232" y="31841"/>
                      </a:lnTo>
                      <a:lnTo>
                        <a:pt x="3871" y="28850"/>
                      </a:lnTo>
                      <a:lnTo>
                        <a:pt x="1833" y="25444"/>
                      </a:lnTo>
                      <a:lnTo>
                        <a:pt x="848" y="24669"/>
                      </a:lnTo>
                      <a:lnTo>
                        <a:pt x="1010" y="24327"/>
                      </a:lnTo>
                      <a:lnTo>
                        <a:pt x="1475" y="21760"/>
                      </a:lnTo>
                      <a:lnTo>
                        <a:pt x="896" y="19885"/>
                      </a:lnTo>
                      <a:lnTo>
                        <a:pt x="0" y="18296"/>
                      </a:lnTo>
                      <a:lnTo>
                        <a:pt x="611" y="17326"/>
                      </a:lnTo>
                      <a:lnTo>
                        <a:pt x="2494" y="17334"/>
                      </a:lnTo>
                      <a:lnTo>
                        <a:pt x="4042" y="17506"/>
                      </a:lnTo>
                      <a:lnTo>
                        <a:pt x="4605" y="15982"/>
                      </a:lnTo>
                      <a:lnTo>
                        <a:pt x="7808" y="14979"/>
                      </a:lnTo>
                      <a:lnTo>
                        <a:pt x="10896" y="13944"/>
                      </a:lnTo>
                      <a:lnTo>
                        <a:pt x="11336" y="13211"/>
                      </a:lnTo>
                      <a:lnTo>
                        <a:pt x="10627" y="11638"/>
                      </a:lnTo>
                      <a:lnTo>
                        <a:pt x="11051" y="10660"/>
                      </a:lnTo>
                      <a:lnTo>
                        <a:pt x="14735" y="7848"/>
                      </a:lnTo>
                      <a:lnTo>
                        <a:pt x="15354" y="6577"/>
                      </a:lnTo>
                      <a:lnTo>
                        <a:pt x="15574" y="5574"/>
                      </a:lnTo>
                      <a:lnTo>
                        <a:pt x="15069" y="4523"/>
                      </a:lnTo>
                      <a:lnTo>
                        <a:pt x="14392" y="2861"/>
                      </a:lnTo>
                      <a:lnTo>
                        <a:pt x="14718" y="2160"/>
                      </a:lnTo>
                      <a:lnTo>
                        <a:pt x="16642" y="1198"/>
                      </a:lnTo>
                      <a:lnTo>
                        <a:pt x="18207" y="73"/>
                      </a:lnTo>
                      <a:lnTo>
                        <a:pt x="19119" y="0"/>
                      </a:lnTo>
                      <a:lnTo>
                        <a:pt x="19698" y="799"/>
                      </a:lnTo>
                      <a:lnTo>
                        <a:pt x="19698" y="1622"/>
                      </a:lnTo>
                      <a:lnTo>
                        <a:pt x="20203" y="3032"/>
                      </a:lnTo>
                      <a:lnTo>
                        <a:pt x="21360" y="3782"/>
                      </a:lnTo>
                      <a:lnTo>
                        <a:pt x="23267" y="5020"/>
                      </a:lnTo>
                      <a:lnTo>
                        <a:pt x="25484" y="5860"/>
                      </a:lnTo>
                      <a:lnTo>
                        <a:pt x="27220" y="7539"/>
                      </a:lnTo>
                      <a:lnTo>
                        <a:pt x="29600" y="10546"/>
                      </a:lnTo>
                      <a:lnTo>
                        <a:pt x="29958" y="12037"/>
                      </a:lnTo>
                      <a:lnTo>
                        <a:pt x="32086" y="13366"/>
                      </a:lnTo>
                      <a:lnTo>
                        <a:pt x="34066" y="14857"/>
                      </a:lnTo>
                      <a:lnTo>
                        <a:pt x="33756" y="17620"/>
                      </a:lnTo>
                      <a:lnTo>
                        <a:pt x="40496" y="20040"/>
                      </a:lnTo>
                      <a:lnTo>
                        <a:pt x="42020" y="20016"/>
                      </a:lnTo>
                      <a:lnTo>
                        <a:pt x="42745" y="20439"/>
                      </a:lnTo>
                      <a:lnTo>
                        <a:pt x="42729" y="21067"/>
                      </a:lnTo>
                      <a:lnTo>
                        <a:pt x="42199" y="23007"/>
                      </a:lnTo>
                      <a:lnTo>
                        <a:pt x="39420" y="28940"/>
                      </a:lnTo>
                      <a:lnTo>
                        <a:pt x="39192" y="30170"/>
                      </a:lnTo>
                      <a:lnTo>
                        <a:pt x="37212" y="31466"/>
                      </a:lnTo>
                      <a:lnTo>
                        <a:pt x="36943" y="32208"/>
                      </a:lnTo>
                      <a:lnTo>
                        <a:pt x="37497" y="33846"/>
                      </a:lnTo>
                      <a:close/>
                    </a:path>
                  </a:pathLst>
                </a:custGeom>
                <a:solidFill>
                  <a:srgbClr val="D6D6D2"/>
                </a:solidFill>
                <a:ln w="8150" cap="flat">
                  <a:noFill/>
                  <a:prstDash val="solid"/>
                  <a:miter/>
                </a:ln>
              </p:spPr>
              <p:txBody>
                <a:bodyPr rtlCol="0" anchor="ctr"/>
                <a:lstStyle/>
                <a:p>
                  <a:endParaRPr lang="en-US"/>
                </a:p>
              </p:txBody>
            </p:sp>
            <p:sp>
              <p:nvSpPr>
                <p:cNvPr id="697" name="Freeform: Shape 696">
                  <a:extLst>
                    <a:ext uri="{FF2B5EF4-FFF2-40B4-BE49-F238E27FC236}">
                      <a16:creationId xmlns:a16="http://schemas.microsoft.com/office/drawing/2014/main" id="{048ADE6C-1058-49C6-B64C-2FF38F35EF32}"/>
                    </a:ext>
                  </a:extLst>
                </p:cNvPr>
                <p:cNvSpPr/>
                <p:nvPr/>
              </p:nvSpPr>
              <p:spPr>
                <a:xfrm>
                  <a:off x="9072673" y="3322289"/>
                  <a:ext cx="84635" cy="179408"/>
                </a:xfrm>
                <a:custGeom>
                  <a:avLst/>
                  <a:gdLst>
                    <a:gd name="connsiteX0" fmla="*/ 4156 w 84635"/>
                    <a:gd name="connsiteY0" fmla="*/ 178691 h 179408"/>
                    <a:gd name="connsiteX1" fmla="*/ 3040 w 84635"/>
                    <a:gd name="connsiteY1" fmla="*/ 179408 h 179408"/>
                    <a:gd name="connsiteX2" fmla="*/ 1997 w 84635"/>
                    <a:gd name="connsiteY2" fmla="*/ 178976 h 179408"/>
                    <a:gd name="connsiteX3" fmla="*/ 1720 w 84635"/>
                    <a:gd name="connsiteY3" fmla="*/ 178634 h 179408"/>
                    <a:gd name="connsiteX4" fmla="*/ 473 w 84635"/>
                    <a:gd name="connsiteY4" fmla="*/ 176768 h 179408"/>
                    <a:gd name="connsiteX5" fmla="*/ 147 w 84635"/>
                    <a:gd name="connsiteY5" fmla="*/ 175806 h 179408"/>
                    <a:gd name="connsiteX6" fmla="*/ 986 w 84635"/>
                    <a:gd name="connsiteY6" fmla="*/ 173980 h 179408"/>
                    <a:gd name="connsiteX7" fmla="*/ 4426 w 84635"/>
                    <a:gd name="connsiteY7" fmla="*/ 170965 h 179408"/>
                    <a:gd name="connsiteX8" fmla="*/ 13301 w 84635"/>
                    <a:gd name="connsiteY8" fmla="*/ 168064 h 179408"/>
                    <a:gd name="connsiteX9" fmla="*/ 14890 w 84635"/>
                    <a:gd name="connsiteY9" fmla="*/ 167941 h 179408"/>
                    <a:gd name="connsiteX10" fmla="*/ 18402 w 84635"/>
                    <a:gd name="connsiteY10" fmla="*/ 169180 h 179408"/>
                    <a:gd name="connsiteX11" fmla="*/ 19152 w 84635"/>
                    <a:gd name="connsiteY11" fmla="*/ 171511 h 179408"/>
                    <a:gd name="connsiteX12" fmla="*/ 18508 w 84635"/>
                    <a:gd name="connsiteY12" fmla="*/ 173524 h 179408"/>
                    <a:gd name="connsiteX13" fmla="*/ 17693 w 84635"/>
                    <a:gd name="connsiteY13" fmla="*/ 174861 h 179408"/>
                    <a:gd name="connsiteX14" fmla="*/ 13643 w 84635"/>
                    <a:gd name="connsiteY14" fmla="*/ 177134 h 179408"/>
                    <a:gd name="connsiteX15" fmla="*/ 10481 w 84635"/>
                    <a:gd name="connsiteY15" fmla="*/ 178218 h 179408"/>
                    <a:gd name="connsiteX16" fmla="*/ 4156 w 84635"/>
                    <a:gd name="connsiteY16" fmla="*/ 178691 h 179408"/>
                    <a:gd name="connsiteX17" fmla="*/ 54938 w 84635"/>
                    <a:gd name="connsiteY17" fmla="*/ 0 h 179408"/>
                    <a:gd name="connsiteX18" fmla="*/ 60993 w 84635"/>
                    <a:gd name="connsiteY18" fmla="*/ 15020 h 179408"/>
                    <a:gd name="connsiteX19" fmla="*/ 66779 w 84635"/>
                    <a:gd name="connsiteY19" fmla="*/ 24702 h 179408"/>
                    <a:gd name="connsiteX20" fmla="*/ 71726 w 84635"/>
                    <a:gd name="connsiteY20" fmla="*/ 31702 h 179408"/>
                    <a:gd name="connsiteX21" fmla="*/ 78751 w 84635"/>
                    <a:gd name="connsiteY21" fmla="*/ 45158 h 179408"/>
                    <a:gd name="connsiteX22" fmla="*/ 80813 w 84635"/>
                    <a:gd name="connsiteY22" fmla="*/ 52338 h 179408"/>
                    <a:gd name="connsiteX23" fmla="*/ 81000 w 84635"/>
                    <a:gd name="connsiteY23" fmla="*/ 56779 h 179408"/>
                    <a:gd name="connsiteX24" fmla="*/ 82182 w 84635"/>
                    <a:gd name="connsiteY24" fmla="*/ 62891 h 179408"/>
                    <a:gd name="connsiteX25" fmla="*/ 81179 w 84635"/>
                    <a:gd name="connsiteY25" fmla="*/ 66388 h 179408"/>
                    <a:gd name="connsiteX26" fmla="*/ 81481 w 84635"/>
                    <a:gd name="connsiteY26" fmla="*/ 71897 h 179408"/>
                    <a:gd name="connsiteX27" fmla="*/ 81025 w 84635"/>
                    <a:gd name="connsiteY27" fmla="*/ 74725 h 179408"/>
                    <a:gd name="connsiteX28" fmla="*/ 80169 w 84635"/>
                    <a:gd name="connsiteY28" fmla="*/ 76803 h 179408"/>
                    <a:gd name="connsiteX29" fmla="*/ 80144 w 84635"/>
                    <a:gd name="connsiteY29" fmla="*/ 80805 h 179408"/>
                    <a:gd name="connsiteX30" fmla="*/ 80422 w 84635"/>
                    <a:gd name="connsiteY30" fmla="*/ 82940 h 179408"/>
                    <a:gd name="connsiteX31" fmla="*/ 80446 w 84635"/>
                    <a:gd name="connsiteY31" fmla="*/ 85776 h 179408"/>
                    <a:gd name="connsiteX32" fmla="*/ 80992 w 84635"/>
                    <a:gd name="connsiteY32" fmla="*/ 86876 h 179408"/>
                    <a:gd name="connsiteX33" fmla="*/ 81815 w 84635"/>
                    <a:gd name="connsiteY33" fmla="*/ 87284 h 179408"/>
                    <a:gd name="connsiteX34" fmla="*/ 83087 w 84635"/>
                    <a:gd name="connsiteY34" fmla="*/ 86257 h 179408"/>
                    <a:gd name="connsiteX35" fmla="*/ 84635 w 84635"/>
                    <a:gd name="connsiteY35" fmla="*/ 85825 h 179408"/>
                    <a:gd name="connsiteX36" fmla="*/ 84374 w 84635"/>
                    <a:gd name="connsiteY36" fmla="*/ 89223 h 179408"/>
                    <a:gd name="connsiteX37" fmla="*/ 82475 w 84635"/>
                    <a:gd name="connsiteY37" fmla="*/ 97829 h 179408"/>
                    <a:gd name="connsiteX38" fmla="*/ 80837 w 84635"/>
                    <a:gd name="connsiteY38" fmla="*/ 104096 h 179408"/>
                    <a:gd name="connsiteX39" fmla="*/ 78604 w 84635"/>
                    <a:gd name="connsiteY39" fmla="*/ 109541 h 179408"/>
                    <a:gd name="connsiteX40" fmla="*/ 75752 w 84635"/>
                    <a:gd name="connsiteY40" fmla="*/ 114512 h 179408"/>
                    <a:gd name="connsiteX41" fmla="*/ 72345 w 84635"/>
                    <a:gd name="connsiteY41" fmla="*/ 116460 h 179408"/>
                    <a:gd name="connsiteX42" fmla="*/ 69941 w 84635"/>
                    <a:gd name="connsiteY42" fmla="*/ 117160 h 179408"/>
                    <a:gd name="connsiteX43" fmla="*/ 65369 w 84635"/>
                    <a:gd name="connsiteY43" fmla="*/ 117413 h 179408"/>
                    <a:gd name="connsiteX44" fmla="*/ 61571 w 84635"/>
                    <a:gd name="connsiteY44" fmla="*/ 116566 h 179408"/>
                    <a:gd name="connsiteX45" fmla="*/ 58312 w 84635"/>
                    <a:gd name="connsiteY45" fmla="*/ 117177 h 179408"/>
                    <a:gd name="connsiteX46" fmla="*/ 56999 w 84635"/>
                    <a:gd name="connsiteY46" fmla="*/ 118212 h 179408"/>
                    <a:gd name="connsiteX47" fmla="*/ 56021 w 84635"/>
                    <a:gd name="connsiteY47" fmla="*/ 119980 h 179408"/>
                    <a:gd name="connsiteX48" fmla="*/ 56739 w 84635"/>
                    <a:gd name="connsiteY48" fmla="*/ 122735 h 179408"/>
                    <a:gd name="connsiteX49" fmla="*/ 56649 w 84635"/>
                    <a:gd name="connsiteY49" fmla="*/ 124764 h 179408"/>
                    <a:gd name="connsiteX50" fmla="*/ 55247 w 84635"/>
                    <a:gd name="connsiteY50" fmla="*/ 124609 h 179408"/>
                    <a:gd name="connsiteX51" fmla="*/ 52476 w 84635"/>
                    <a:gd name="connsiteY51" fmla="*/ 123428 h 179408"/>
                    <a:gd name="connsiteX52" fmla="*/ 49412 w 84635"/>
                    <a:gd name="connsiteY52" fmla="*/ 123265 h 179408"/>
                    <a:gd name="connsiteX53" fmla="*/ 47978 w 84635"/>
                    <a:gd name="connsiteY53" fmla="*/ 122678 h 179408"/>
                    <a:gd name="connsiteX54" fmla="*/ 46527 w 84635"/>
                    <a:gd name="connsiteY54" fmla="*/ 119777 h 179408"/>
                    <a:gd name="connsiteX55" fmla="*/ 45052 w 84635"/>
                    <a:gd name="connsiteY55" fmla="*/ 119882 h 179408"/>
                    <a:gd name="connsiteX56" fmla="*/ 42485 w 84635"/>
                    <a:gd name="connsiteY56" fmla="*/ 121610 h 179408"/>
                    <a:gd name="connsiteX57" fmla="*/ 38564 w 84635"/>
                    <a:gd name="connsiteY57" fmla="*/ 121993 h 179408"/>
                    <a:gd name="connsiteX58" fmla="*/ 37171 w 84635"/>
                    <a:gd name="connsiteY58" fmla="*/ 122922 h 179408"/>
                    <a:gd name="connsiteX59" fmla="*/ 36682 w 84635"/>
                    <a:gd name="connsiteY59" fmla="*/ 124128 h 179408"/>
                    <a:gd name="connsiteX60" fmla="*/ 37261 w 84635"/>
                    <a:gd name="connsiteY60" fmla="*/ 125661 h 179408"/>
                    <a:gd name="connsiteX61" fmla="*/ 39233 w 84635"/>
                    <a:gd name="connsiteY61" fmla="*/ 127657 h 179408"/>
                    <a:gd name="connsiteX62" fmla="*/ 38573 w 84635"/>
                    <a:gd name="connsiteY62" fmla="*/ 129687 h 179408"/>
                    <a:gd name="connsiteX63" fmla="*/ 36503 w 84635"/>
                    <a:gd name="connsiteY63" fmla="*/ 130697 h 179408"/>
                    <a:gd name="connsiteX64" fmla="*/ 34840 w 84635"/>
                    <a:gd name="connsiteY64" fmla="*/ 128212 h 179408"/>
                    <a:gd name="connsiteX65" fmla="*/ 33813 w 84635"/>
                    <a:gd name="connsiteY65" fmla="*/ 125775 h 179408"/>
                    <a:gd name="connsiteX66" fmla="*/ 32656 w 84635"/>
                    <a:gd name="connsiteY66" fmla="*/ 125636 h 179408"/>
                    <a:gd name="connsiteX67" fmla="*/ 30847 w 84635"/>
                    <a:gd name="connsiteY67" fmla="*/ 126329 h 179408"/>
                    <a:gd name="connsiteX68" fmla="*/ 30488 w 84635"/>
                    <a:gd name="connsiteY68" fmla="*/ 128961 h 179408"/>
                    <a:gd name="connsiteX69" fmla="*/ 31328 w 84635"/>
                    <a:gd name="connsiteY69" fmla="*/ 130754 h 179408"/>
                    <a:gd name="connsiteX70" fmla="*/ 32697 w 84635"/>
                    <a:gd name="connsiteY70" fmla="*/ 132832 h 179408"/>
                    <a:gd name="connsiteX71" fmla="*/ 30773 w 84635"/>
                    <a:gd name="connsiteY71" fmla="*/ 135220 h 179408"/>
                    <a:gd name="connsiteX72" fmla="*/ 30268 w 84635"/>
                    <a:gd name="connsiteY72" fmla="*/ 136924 h 179408"/>
                    <a:gd name="connsiteX73" fmla="*/ 28883 w 84635"/>
                    <a:gd name="connsiteY73" fmla="*/ 138146 h 179408"/>
                    <a:gd name="connsiteX74" fmla="*/ 25126 w 84635"/>
                    <a:gd name="connsiteY74" fmla="*/ 135432 h 179408"/>
                    <a:gd name="connsiteX75" fmla="*/ 25655 w 84635"/>
                    <a:gd name="connsiteY75" fmla="*/ 133501 h 179408"/>
                    <a:gd name="connsiteX76" fmla="*/ 27285 w 84635"/>
                    <a:gd name="connsiteY76" fmla="*/ 131634 h 179408"/>
                    <a:gd name="connsiteX77" fmla="*/ 27481 w 84635"/>
                    <a:gd name="connsiteY77" fmla="*/ 129711 h 179408"/>
                    <a:gd name="connsiteX78" fmla="*/ 26943 w 84635"/>
                    <a:gd name="connsiteY78" fmla="*/ 128570 h 179408"/>
                    <a:gd name="connsiteX79" fmla="*/ 21589 w 84635"/>
                    <a:gd name="connsiteY79" fmla="*/ 133444 h 179408"/>
                    <a:gd name="connsiteX80" fmla="*/ 18288 w 84635"/>
                    <a:gd name="connsiteY80" fmla="*/ 138961 h 179408"/>
                    <a:gd name="connsiteX81" fmla="*/ 16511 w 84635"/>
                    <a:gd name="connsiteY81" fmla="*/ 138562 h 179408"/>
                    <a:gd name="connsiteX82" fmla="*/ 15778 w 84635"/>
                    <a:gd name="connsiteY82" fmla="*/ 137144 h 179408"/>
                    <a:gd name="connsiteX83" fmla="*/ 14743 w 84635"/>
                    <a:gd name="connsiteY83" fmla="*/ 136565 h 179408"/>
                    <a:gd name="connsiteX84" fmla="*/ 11174 w 84635"/>
                    <a:gd name="connsiteY84" fmla="*/ 140118 h 179408"/>
                    <a:gd name="connsiteX85" fmla="*/ 10521 w 84635"/>
                    <a:gd name="connsiteY85" fmla="*/ 142946 h 179408"/>
                    <a:gd name="connsiteX86" fmla="*/ 9209 w 84635"/>
                    <a:gd name="connsiteY86" fmla="*/ 143052 h 179408"/>
                    <a:gd name="connsiteX87" fmla="*/ 8631 w 84635"/>
                    <a:gd name="connsiteY87" fmla="*/ 141862 h 179408"/>
                    <a:gd name="connsiteX88" fmla="*/ 8590 w 84635"/>
                    <a:gd name="connsiteY88" fmla="*/ 139311 h 179408"/>
                    <a:gd name="connsiteX89" fmla="*/ 7971 w 84635"/>
                    <a:gd name="connsiteY89" fmla="*/ 137160 h 179408"/>
                    <a:gd name="connsiteX90" fmla="*/ 4279 w 84635"/>
                    <a:gd name="connsiteY90" fmla="*/ 134014 h 179408"/>
                    <a:gd name="connsiteX91" fmla="*/ 2592 w 84635"/>
                    <a:gd name="connsiteY91" fmla="*/ 131276 h 179408"/>
                    <a:gd name="connsiteX92" fmla="*/ 3496 w 84635"/>
                    <a:gd name="connsiteY92" fmla="*/ 129744 h 179408"/>
                    <a:gd name="connsiteX93" fmla="*/ 6577 w 84635"/>
                    <a:gd name="connsiteY93" fmla="*/ 130575 h 179408"/>
                    <a:gd name="connsiteX94" fmla="*/ 9038 w 84635"/>
                    <a:gd name="connsiteY94" fmla="*/ 130469 h 179408"/>
                    <a:gd name="connsiteX95" fmla="*/ 8549 w 84635"/>
                    <a:gd name="connsiteY95" fmla="*/ 129173 h 179408"/>
                    <a:gd name="connsiteX96" fmla="*/ 7750 w 84635"/>
                    <a:gd name="connsiteY96" fmla="*/ 128554 h 179408"/>
                    <a:gd name="connsiteX97" fmla="*/ 9380 w 84635"/>
                    <a:gd name="connsiteY97" fmla="*/ 127820 h 179408"/>
                    <a:gd name="connsiteX98" fmla="*/ 10741 w 84635"/>
                    <a:gd name="connsiteY98" fmla="*/ 126313 h 179408"/>
                    <a:gd name="connsiteX99" fmla="*/ 9609 w 84635"/>
                    <a:gd name="connsiteY99" fmla="*/ 125905 h 179408"/>
                    <a:gd name="connsiteX100" fmla="*/ 7889 w 84635"/>
                    <a:gd name="connsiteY100" fmla="*/ 126769 h 179408"/>
                    <a:gd name="connsiteX101" fmla="*/ 6455 w 84635"/>
                    <a:gd name="connsiteY101" fmla="*/ 126337 h 179408"/>
                    <a:gd name="connsiteX102" fmla="*/ 5884 w 84635"/>
                    <a:gd name="connsiteY102" fmla="*/ 122743 h 179408"/>
                    <a:gd name="connsiteX103" fmla="*/ 4132 w 84635"/>
                    <a:gd name="connsiteY103" fmla="*/ 119043 h 179408"/>
                    <a:gd name="connsiteX104" fmla="*/ 3244 w 84635"/>
                    <a:gd name="connsiteY104" fmla="*/ 115449 h 179408"/>
                    <a:gd name="connsiteX105" fmla="*/ 4963 w 84635"/>
                    <a:gd name="connsiteY105" fmla="*/ 113387 h 179408"/>
                    <a:gd name="connsiteX106" fmla="*/ 5835 w 84635"/>
                    <a:gd name="connsiteY106" fmla="*/ 110168 h 179408"/>
                    <a:gd name="connsiteX107" fmla="*/ 7432 w 84635"/>
                    <a:gd name="connsiteY107" fmla="*/ 105515 h 179408"/>
                    <a:gd name="connsiteX108" fmla="*/ 8239 w 84635"/>
                    <a:gd name="connsiteY108" fmla="*/ 104007 h 179408"/>
                    <a:gd name="connsiteX109" fmla="*/ 10456 w 84635"/>
                    <a:gd name="connsiteY109" fmla="*/ 102907 h 179408"/>
                    <a:gd name="connsiteX110" fmla="*/ 11247 w 84635"/>
                    <a:gd name="connsiteY110" fmla="*/ 101700 h 179408"/>
                    <a:gd name="connsiteX111" fmla="*/ 10040 w 84635"/>
                    <a:gd name="connsiteY111" fmla="*/ 101081 h 179408"/>
                    <a:gd name="connsiteX112" fmla="*/ 8085 w 84635"/>
                    <a:gd name="connsiteY112" fmla="*/ 100535 h 179408"/>
                    <a:gd name="connsiteX113" fmla="*/ 8142 w 84635"/>
                    <a:gd name="connsiteY113" fmla="*/ 99182 h 179408"/>
                    <a:gd name="connsiteX114" fmla="*/ 9470 w 84635"/>
                    <a:gd name="connsiteY114" fmla="*/ 98449 h 179408"/>
                    <a:gd name="connsiteX115" fmla="*/ 10953 w 84635"/>
                    <a:gd name="connsiteY115" fmla="*/ 96965 h 179408"/>
                    <a:gd name="connsiteX116" fmla="*/ 13822 w 84635"/>
                    <a:gd name="connsiteY116" fmla="*/ 95156 h 179408"/>
                    <a:gd name="connsiteX117" fmla="*/ 14702 w 84635"/>
                    <a:gd name="connsiteY117" fmla="*/ 91750 h 179408"/>
                    <a:gd name="connsiteX118" fmla="*/ 13871 w 84635"/>
                    <a:gd name="connsiteY118" fmla="*/ 90894 h 179408"/>
                    <a:gd name="connsiteX119" fmla="*/ 12078 w 84635"/>
                    <a:gd name="connsiteY119" fmla="*/ 90079 h 179408"/>
                    <a:gd name="connsiteX120" fmla="*/ 12486 w 84635"/>
                    <a:gd name="connsiteY120" fmla="*/ 88359 h 179408"/>
                    <a:gd name="connsiteX121" fmla="*/ 13219 w 84635"/>
                    <a:gd name="connsiteY121" fmla="*/ 87047 h 179408"/>
                    <a:gd name="connsiteX122" fmla="*/ 12950 w 84635"/>
                    <a:gd name="connsiteY122" fmla="*/ 86257 h 179408"/>
                    <a:gd name="connsiteX123" fmla="*/ 10831 w 84635"/>
                    <a:gd name="connsiteY123" fmla="*/ 84040 h 179408"/>
                    <a:gd name="connsiteX124" fmla="*/ 9430 w 84635"/>
                    <a:gd name="connsiteY124" fmla="*/ 82011 h 179408"/>
                    <a:gd name="connsiteX125" fmla="*/ 9853 w 84635"/>
                    <a:gd name="connsiteY125" fmla="*/ 79704 h 179408"/>
                    <a:gd name="connsiteX126" fmla="*/ 9527 w 84635"/>
                    <a:gd name="connsiteY126" fmla="*/ 76208 h 179408"/>
                    <a:gd name="connsiteX127" fmla="*/ 9707 w 84635"/>
                    <a:gd name="connsiteY127" fmla="*/ 73274 h 179408"/>
                    <a:gd name="connsiteX128" fmla="*/ 9617 w 84635"/>
                    <a:gd name="connsiteY128" fmla="*/ 71685 h 179408"/>
                    <a:gd name="connsiteX129" fmla="*/ 8582 w 84635"/>
                    <a:gd name="connsiteY129" fmla="*/ 68099 h 179408"/>
                    <a:gd name="connsiteX130" fmla="*/ 8109 w 84635"/>
                    <a:gd name="connsiteY130" fmla="*/ 64513 h 179408"/>
                    <a:gd name="connsiteX131" fmla="*/ 6748 w 84635"/>
                    <a:gd name="connsiteY131" fmla="*/ 65035 h 179408"/>
                    <a:gd name="connsiteX132" fmla="*/ 5656 w 84635"/>
                    <a:gd name="connsiteY132" fmla="*/ 65931 h 179408"/>
                    <a:gd name="connsiteX133" fmla="*/ 1744 w 84635"/>
                    <a:gd name="connsiteY133" fmla="*/ 64668 h 179408"/>
                    <a:gd name="connsiteX134" fmla="*/ 505 w 84635"/>
                    <a:gd name="connsiteY134" fmla="*/ 64587 h 179408"/>
                    <a:gd name="connsiteX135" fmla="*/ 0 w 84635"/>
                    <a:gd name="connsiteY135" fmla="*/ 61914 h 179408"/>
                    <a:gd name="connsiteX136" fmla="*/ 1402 w 84635"/>
                    <a:gd name="connsiteY136" fmla="*/ 58621 h 179408"/>
                    <a:gd name="connsiteX137" fmla="*/ 4735 w 84635"/>
                    <a:gd name="connsiteY137" fmla="*/ 55720 h 179408"/>
                    <a:gd name="connsiteX138" fmla="*/ 6651 w 84635"/>
                    <a:gd name="connsiteY138" fmla="*/ 55361 h 179408"/>
                    <a:gd name="connsiteX139" fmla="*/ 8093 w 84635"/>
                    <a:gd name="connsiteY139" fmla="*/ 54082 h 179408"/>
                    <a:gd name="connsiteX140" fmla="*/ 10342 w 84635"/>
                    <a:gd name="connsiteY140" fmla="*/ 53674 h 179408"/>
                    <a:gd name="connsiteX141" fmla="*/ 13048 w 84635"/>
                    <a:gd name="connsiteY141" fmla="*/ 55646 h 179408"/>
                    <a:gd name="connsiteX142" fmla="*/ 15468 w 84635"/>
                    <a:gd name="connsiteY142" fmla="*/ 56046 h 179408"/>
                    <a:gd name="connsiteX143" fmla="*/ 16813 w 84635"/>
                    <a:gd name="connsiteY143" fmla="*/ 59452 h 179408"/>
                    <a:gd name="connsiteX144" fmla="*/ 17644 w 84635"/>
                    <a:gd name="connsiteY144" fmla="*/ 60169 h 179408"/>
                    <a:gd name="connsiteX145" fmla="*/ 17816 w 84635"/>
                    <a:gd name="connsiteY145" fmla="*/ 58923 h 179408"/>
                    <a:gd name="connsiteX146" fmla="*/ 19779 w 84635"/>
                    <a:gd name="connsiteY146" fmla="*/ 57456 h 179408"/>
                    <a:gd name="connsiteX147" fmla="*/ 20252 w 84635"/>
                    <a:gd name="connsiteY147" fmla="*/ 56347 h 179408"/>
                    <a:gd name="connsiteX148" fmla="*/ 19820 w 84635"/>
                    <a:gd name="connsiteY148" fmla="*/ 55736 h 179408"/>
                    <a:gd name="connsiteX149" fmla="*/ 17571 w 84635"/>
                    <a:gd name="connsiteY149" fmla="*/ 55141 h 179408"/>
                    <a:gd name="connsiteX150" fmla="*/ 15550 w 84635"/>
                    <a:gd name="connsiteY150" fmla="*/ 50911 h 179408"/>
                    <a:gd name="connsiteX151" fmla="*/ 15273 w 84635"/>
                    <a:gd name="connsiteY151" fmla="*/ 49053 h 179408"/>
                    <a:gd name="connsiteX152" fmla="*/ 14539 w 84635"/>
                    <a:gd name="connsiteY152" fmla="*/ 47880 h 179408"/>
                    <a:gd name="connsiteX153" fmla="*/ 15639 w 84635"/>
                    <a:gd name="connsiteY153" fmla="*/ 44497 h 179408"/>
                    <a:gd name="connsiteX154" fmla="*/ 13301 w 84635"/>
                    <a:gd name="connsiteY154" fmla="*/ 40635 h 179408"/>
                    <a:gd name="connsiteX155" fmla="*/ 12151 w 84635"/>
                    <a:gd name="connsiteY155" fmla="*/ 39420 h 179408"/>
                    <a:gd name="connsiteX156" fmla="*/ 12323 w 84635"/>
                    <a:gd name="connsiteY156" fmla="*/ 35948 h 179408"/>
                    <a:gd name="connsiteX157" fmla="*/ 11100 w 84635"/>
                    <a:gd name="connsiteY157" fmla="*/ 33740 h 179408"/>
                    <a:gd name="connsiteX158" fmla="*/ 10415 w 84635"/>
                    <a:gd name="connsiteY158" fmla="*/ 32526 h 179408"/>
                    <a:gd name="connsiteX159" fmla="*/ 10000 w 84635"/>
                    <a:gd name="connsiteY159" fmla="*/ 30431 h 179408"/>
                    <a:gd name="connsiteX160" fmla="*/ 10358 w 84635"/>
                    <a:gd name="connsiteY160" fmla="*/ 29486 h 179408"/>
                    <a:gd name="connsiteX161" fmla="*/ 11418 w 84635"/>
                    <a:gd name="connsiteY161" fmla="*/ 29127 h 179408"/>
                    <a:gd name="connsiteX162" fmla="*/ 11752 w 84635"/>
                    <a:gd name="connsiteY162" fmla="*/ 28247 h 179408"/>
                    <a:gd name="connsiteX163" fmla="*/ 12518 w 84635"/>
                    <a:gd name="connsiteY163" fmla="*/ 27611 h 179408"/>
                    <a:gd name="connsiteX164" fmla="*/ 12559 w 84635"/>
                    <a:gd name="connsiteY164" fmla="*/ 26699 h 179408"/>
                    <a:gd name="connsiteX165" fmla="*/ 12567 w 84635"/>
                    <a:gd name="connsiteY165" fmla="*/ 23716 h 179408"/>
                    <a:gd name="connsiteX166" fmla="*/ 14743 w 84635"/>
                    <a:gd name="connsiteY166" fmla="*/ 21646 h 179408"/>
                    <a:gd name="connsiteX167" fmla="*/ 17832 w 84635"/>
                    <a:gd name="connsiteY167" fmla="*/ 17391 h 179408"/>
                    <a:gd name="connsiteX168" fmla="*/ 19356 w 84635"/>
                    <a:gd name="connsiteY168" fmla="*/ 15061 h 179408"/>
                    <a:gd name="connsiteX169" fmla="*/ 21084 w 84635"/>
                    <a:gd name="connsiteY169" fmla="*/ 12885 h 179408"/>
                    <a:gd name="connsiteX170" fmla="*/ 23088 w 84635"/>
                    <a:gd name="connsiteY170" fmla="*/ 11426 h 179408"/>
                    <a:gd name="connsiteX171" fmla="*/ 25044 w 84635"/>
                    <a:gd name="connsiteY171" fmla="*/ 10733 h 179408"/>
                    <a:gd name="connsiteX172" fmla="*/ 28133 w 84635"/>
                    <a:gd name="connsiteY172" fmla="*/ 10440 h 179408"/>
                    <a:gd name="connsiteX173" fmla="*/ 34058 w 84635"/>
                    <a:gd name="connsiteY173" fmla="*/ 10717 h 179408"/>
                    <a:gd name="connsiteX174" fmla="*/ 35223 w 84635"/>
                    <a:gd name="connsiteY174" fmla="*/ 10456 h 179408"/>
                    <a:gd name="connsiteX175" fmla="*/ 39339 w 84635"/>
                    <a:gd name="connsiteY175" fmla="*/ 10236 h 179408"/>
                    <a:gd name="connsiteX176" fmla="*/ 40317 w 84635"/>
                    <a:gd name="connsiteY176" fmla="*/ 10619 h 179408"/>
                    <a:gd name="connsiteX177" fmla="*/ 43299 w 84635"/>
                    <a:gd name="connsiteY177" fmla="*/ 10864 h 179408"/>
                    <a:gd name="connsiteX178" fmla="*/ 46608 w 84635"/>
                    <a:gd name="connsiteY178" fmla="*/ 10586 h 179408"/>
                    <a:gd name="connsiteX179" fmla="*/ 48279 w 84635"/>
                    <a:gd name="connsiteY179" fmla="*/ 9959 h 179408"/>
                    <a:gd name="connsiteX180" fmla="*/ 49828 w 84635"/>
                    <a:gd name="connsiteY180" fmla="*/ 8891 h 179408"/>
                    <a:gd name="connsiteX181" fmla="*/ 51181 w 84635"/>
                    <a:gd name="connsiteY181" fmla="*/ 6960 h 179408"/>
                    <a:gd name="connsiteX182" fmla="*/ 52566 w 84635"/>
                    <a:gd name="connsiteY182" fmla="*/ 3374 h 179408"/>
                    <a:gd name="connsiteX183" fmla="*/ 54066 w 84635"/>
                    <a:gd name="connsiteY183" fmla="*/ 546 h 179408"/>
                    <a:gd name="connsiteX184" fmla="*/ 54938 w 84635"/>
                    <a:gd name="connsiteY184" fmla="*/ 0 h 179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4635" h="179408">
                      <a:moveTo>
                        <a:pt x="4156" y="178691"/>
                      </a:moveTo>
                      <a:lnTo>
                        <a:pt x="3040" y="179408"/>
                      </a:lnTo>
                      <a:lnTo>
                        <a:pt x="1997" y="178976"/>
                      </a:lnTo>
                      <a:lnTo>
                        <a:pt x="1720" y="178634"/>
                      </a:lnTo>
                      <a:lnTo>
                        <a:pt x="473" y="176768"/>
                      </a:lnTo>
                      <a:lnTo>
                        <a:pt x="147" y="175806"/>
                      </a:lnTo>
                      <a:lnTo>
                        <a:pt x="986" y="173980"/>
                      </a:lnTo>
                      <a:lnTo>
                        <a:pt x="4426" y="170965"/>
                      </a:lnTo>
                      <a:lnTo>
                        <a:pt x="13301" y="168064"/>
                      </a:lnTo>
                      <a:lnTo>
                        <a:pt x="14890" y="167941"/>
                      </a:lnTo>
                      <a:lnTo>
                        <a:pt x="18402" y="169180"/>
                      </a:lnTo>
                      <a:lnTo>
                        <a:pt x="19152" y="171511"/>
                      </a:lnTo>
                      <a:lnTo>
                        <a:pt x="18508" y="173524"/>
                      </a:lnTo>
                      <a:lnTo>
                        <a:pt x="17693" y="174861"/>
                      </a:lnTo>
                      <a:lnTo>
                        <a:pt x="13643" y="177134"/>
                      </a:lnTo>
                      <a:lnTo>
                        <a:pt x="10481" y="178218"/>
                      </a:lnTo>
                      <a:lnTo>
                        <a:pt x="4156" y="178691"/>
                      </a:lnTo>
                      <a:close/>
                      <a:moveTo>
                        <a:pt x="54938" y="0"/>
                      </a:moveTo>
                      <a:lnTo>
                        <a:pt x="60993" y="15020"/>
                      </a:lnTo>
                      <a:lnTo>
                        <a:pt x="66779" y="24702"/>
                      </a:lnTo>
                      <a:lnTo>
                        <a:pt x="71726" y="31702"/>
                      </a:lnTo>
                      <a:lnTo>
                        <a:pt x="78751" y="45158"/>
                      </a:lnTo>
                      <a:lnTo>
                        <a:pt x="80813" y="52338"/>
                      </a:lnTo>
                      <a:lnTo>
                        <a:pt x="81000" y="56779"/>
                      </a:lnTo>
                      <a:lnTo>
                        <a:pt x="82182" y="62891"/>
                      </a:lnTo>
                      <a:lnTo>
                        <a:pt x="81179" y="66388"/>
                      </a:lnTo>
                      <a:lnTo>
                        <a:pt x="81481" y="71897"/>
                      </a:lnTo>
                      <a:lnTo>
                        <a:pt x="81025" y="74725"/>
                      </a:lnTo>
                      <a:lnTo>
                        <a:pt x="80169" y="76803"/>
                      </a:lnTo>
                      <a:lnTo>
                        <a:pt x="80144" y="80805"/>
                      </a:lnTo>
                      <a:lnTo>
                        <a:pt x="80422" y="82940"/>
                      </a:lnTo>
                      <a:lnTo>
                        <a:pt x="80446" y="85776"/>
                      </a:lnTo>
                      <a:lnTo>
                        <a:pt x="80992" y="86876"/>
                      </a:lnTo>
                      <a:lnTo>
                        <a:pt x="81815" y="87284"/>
                      </a:lnTo>
                      <a:lnTo>
                        <a:pt x="83087" y="86257"/>
                      </a:lnTo>
                      <a:lnTo>
                        <a:pt x="84635" y="85825"/>
                      </a:lnTo>
                      <a:lnTo>
                        <a:pt x="84374" y="89223"/>
                      </a:lnTo>
                      <a:lnTo>
                        <a:pt x="82475" y="97829"/>
                      </a:lnTo>
                      <a:lnTo>
                        <a:pt x="80837" y="104096"/>
                      </a:lnTo>
                      <a:lnTo>
                        <a:pt x="78604" y="109541"/>
                      </a:lnTo>
                      <a:lnTo>
                        <a:pt x="75752" y="114512"/>
                      </a:lnTo>
                      <a:lnTo>
                        <a:pt x="72345" y="116460"/>
                      </a:lnTo>
                      <a:lnTo>
                        <a:pt x="69941" y="117160"/>
                      </a:lnTo>
                      <a:lnTo>
                        <a:pt x="65369" y="117413"/>
                      </a:lnTo>
                      <a:lnTo>
                        <a:pt x="61571" y="116566"/>
                      </a:lnTo>
                      <a:lnTo>
                        <a:pt x="58312" y="117177"/>
                      </a:lnTo>
                      <a:lnTo>
                        <a:pt x="56999" y="118212"/>
                      </a:lnTo>
                      <a:lnTo>
                        <a:pt x="56021" y="119980"/>
                      </a:lnTo>
                      <a:lnTo>
                        <a:pt x="56739" y="122735"/>
                      </a:lnTo>
                      <a:lnTo>
                        <a:pt x="56649" y="124764"/>
                      </a:lnTo>
                      <a:lnTo>
                        <a:pt x="55247" y="124609"/>
                      </a:lnTo>
                      <a:lnTo>
                        <a:pt x="52476" y="123428"/>
                      </a:lnTo>
                      <a:lnTo>
                        <a:pt x="49412" y="123265"/>
                      </a:lnTo>
                      <a:lnTo>
                        <a:pt x="47978" y="122678"/>
                      </a:lnTo>
                      <a:lnTo>
                        <a:pt x="46527" y="119777"/>
                      </a:lnTo>
                      <a:lnTo>
                        <a:pt x="45052" y="119882"/>
                      </a:lnTo>
                      <a:lnTo>
                        <a:pt x="42485" y="121610"/>
                      </a:lnTo>
                      <a:lnTo>
                        <a:pt x="38564" y="121993"/>
                      </a:lnTo>
                      <a:lnTo>
                        <a:pt x="37171" y="122922"/>
                      </a:lnTo>
                      <a:lnTo>
                        <a:pt x="36682" y="124128"/>
                      </a:lnTo>
                      <a:lnTo>
                        <a:pt x="37261" y="125661"/>
                      </a:lnTo>
                      <a:lnTo>
                        <a:pt x="39233" y="127657"/>
                      </a:lnTo>
                      <a:lnTo>
                        <a:pt x="38573" y="129687"/>
                      </a:lnTo>
                      <a:lnTo>
                        <a:pt x="36503" y="130697"/>
                      </a:lnTo>
                      <a:lnTo>
                        <a:pt x="34840" y="128212"/>
                      </a:lnTo>
                      <a:lnTo>
                        <a:pt x="33813" y="125775"/>
                      </a:lnTo>
                      <a:lnTo>
                        <a:pt x="32656" y="125636"/>
                      </a:lnTo>
                      <a:lnTo>
                        <a:pt x="30847" y="126329"/>
                      </a:lnTo>
                      <a:lnTo>
                        <a:pt x="30488" y="128961"/>
                      </a:lnTo>
                      <a:lnTo>
                        <a:pt x="31328" y="130754"/>
                      </a:lnTo>
                      <a:lnTo>
                        <a:pt x="32697" y="132832"/>
                      </a:lnTo>
                      <a:lnTo>
                        <a:pt x="30773" y="135220"/>
                      </a:lnTo>
                      <a:lnTo>
                        <a:pt x="30268" y="136924"/>
                      </a:lnTo>
                      <a:lnTo>
                        <a:pt x="28883" y="138146"/>
                      </a:lnTo>
                      <a:lnTo>
                        <a:pt x="25126" y="135432"/>
                      </a:lnTo>
                      <a:lnTo>
                        <a:pt x="25655" y="133501"/>
                      </a:lnTo>
                      <a:lnTo>
                        <a:pt x="27285" y="131634"/>
                      </a:lnTo>
                      <a:lnTo>
                        <a:pt x="27481" y="129711"/>
                      </a:lnTo>
                      <a:lnTo>
                        <a:pt x="26943" y="128570"/>
                      </a:lnTo>
                      <a:lnTo>
                        <a:pt x="21589" y="133444"/>
                      </a:lnTo>
                      <a:lnTo>
                        <a:pt x="18288" y="138961"/>
                      </a:lnTo>
                      <a:lnTo>
                        <a:pt x="16511" y="138562"/>
                      </a:lnTo>
                      <a:lnTo>
                        <a:pt x="15778" y="137144"/>
                      </a:lnTo>
                      <a:lnTo>
                        <a:pt x="14743" y="136565"/>
                      </a:lnTo>
                      <a:lnTo>
                        <a:pt x="11174" y="140118"/>
                      </a:lnTo>
                      <a:lnTo>
                        <a:pt x="10521" y="142946"/>
                      </a:lnTo>
                      <a:lnTo>
                        <a:pt x="9209" y="143052"/>
                      </a:lnTo>
                      <a:lnTo>
                        <a:pt x="8631" y="141862"/>
                      </a:lnTo>
                      <a:lnTo>
                        <a:pt x="8590" y="139311"/>
                      </a:lnTo>
                      <a:lnTo>
                        <a:pt x="7971" y="137160"/>
                      </a:lnTo>
                      <a:lnTo>
                        <a:pt x="4279" y="134014"/>
                      </a:lnTo>
                      <a:lnTo>
                        <a:pt x="2592" y="131276"/>
                      </a:lnTo>
                      <a:lnTo>
                        <a:pt x="3496" y="129744"/>
                      </a:lnTo>
                      <a:lnTo>
                        <a:pt x="6577" y="130575"/>
                      </a:lnTo>
                      <a:lnTo>
                        <a:pt x="9038" y="130469"/>
                      </a:lnTo>
                      <a:lnTo>
                        <a:pt x="8549" y="129173"/>
                      </a:lnTo>
                      <a:lnTo>
                        <a:pt x="7750" y="128554"/>
                      </a:lnTo>
                      <a:lnTo>
                        <a:pt x="9380" y="127820"/>
                      </a:lnTo>
                      <a:lnTo>
                        <a:pt x="10741" y="126313"/>
                      </a:lnTo>
                      <a:lnTo>
                        <a:pt x="9609" y="125905"/>
                      </a:lnTo>
                      <a:lnTo>
                        <a:pt x="7889" y="126769"/>
                      </a:lnTo>
                      <a:lnTo>
                        <a:pt x="6455" y="126337"/>
                      </a:lnTo>
                      <a:lnTo>
                        <a:pt x="5884" y="122743"/>
                      </a:lnTo>
                      <a:lnTo>
                        <a:pt x="4132" y="119043"/>
                      </a:lnTo>
                      <a:lnTo>
                        <a:pt x="3244" y="115449"/>
                      </a:lnTo>
                      <a:lnTo>
                        <a:pt x="4963" y="113387"/>
                      </a:lnTo>
                      <a:lnTo>
                        <a:pt x="5835" y="110168"/>
                      </a:lnTo>
                      <a:lnTo>
                        <a:pt x="7432" y="105515"/>
                      </a:lnTo>
                      <a:lnTo>
                        <a:pt x="8239" y="104007"/>
                      </a:lnTo>
                      <a:lnTo>
                        <a:pt x="10456" y="102907"/>
                      </a:lnTo>
                      <a:lnTo>
                        <a:pt x="11247" y="101700"/>
                      </a:lnTo>
                      <a:lnTo>
                        <a:pt x="10040" y="101081"/>
                      </a:lnTo>
                      <a:lnTo>
                        <a:pt x="8085" y="100535"/>
                      </a:lnTo>
                      <a:lnTo>
                        <a:pt x="8142" y="99182"/>
                      </a:lnTo>
                      <a:lnTo>
                        <a:pt x="9470" y="98449"/>
                      </a:lnTo>
                      <a:lnTo>
                        <a:pt x="10953" y="96965"/>
                      </a:lnTo>
                      <a:lnTo>
                        <a:pt x="13822" y="95156"/>
                      </a:lnTo>
                      <a:lnTo>
                        <a:pt x="14702" y="91750"/>
                      </a:lnTo>
                      <a:lnTo>
                        <a:pt x="13871" y="90894"/>
                      </a:lnTo>
                      <a:lnTo>
                        <a:pt x="12078" y="90079"/>
                      </a:lnTo>
                      <a:lnTo>
                        <a:pt x="12486" y="88359"/>
                      </a:lnTo>
                      <a:lnTo>
                        <a:pt x="13219" y="87047"/>
                      </a:lnTo>
                      <a:lnTo>
                        <a:pt x="12950" y="86257"/>
                      </a:lnTo>
                      <a:lnTo>
                        <a:pt x="10831" y="84040"/>
                      </a:lnTo>
                      <a:lnTo>
                        <a:pt x="9430" y="82011"/>
                      </a:lnTo>
                      <a:lnTo>
                        <a:pt x="9853" y="79704"/>
                      </a:lnTo>
                      <a:lnTo>
                        <a:pt x="9527" y="76208"/>
                      </a:lnTo>
                      <a:lnTo>
                        <a:pt x="9707" y="73274"/>
                      </a:lnTo>
                      <a:lnTo>
                        <a:pt x="9617" y="71685"/>
                      </a:lnTo>
                      <a:lnTo>
                        <a:pt x="8582" y="68099"/>
                      </a:lnTo>
                      <a:lnTo>
                        <a:pt x="8109" y="64513"/>
                      </a:lnTo>
                      <a:lnTo>
                        <a:pt x="6748" y="65035"/>
                      </a:lnTo>
                      <a:lnTo>
                        <a:pt x="5656" y="65931"/>
                      </a:lnTo>
                      <a:lnTo>
                        <a:pt x="1744" y="64668"/>
                      </a:lnTo>
                      <a:lnTo>
                        <a:pt x="505" y="64587"/>
                      </a:lnTo>
                      <a:lnTo>
                        <a:pt x="0" y="61914"/>
                      </a:lnTo>
                      <a:lnTo>
                        <a:pt x="1402" y="58621"/>
                      </a:lnTo>
                      <a:lnTo>
                        <a:pt x="4735" y="55720"/>
                      </a:lnTo>
                      <a:lnTo>
                        <a:pt x="6651" y="55361"/>
                      </a:lnTo>
                      <a:lnTo>
                        <a:pt x="8093" y="54082"/>
                      </a:lnTo>
                      <a:lnTo>
                        <a:pt x="10342" y="53674"/>
                      </a:lnTo>
                      <a:lnTo>
                        <a:pt x="13048" y="55646"/>
                      </a:lnTo>
                      <a:lnTo>
                        <a:pt x="15468" y="56046"/>
                      </a:lnTo>
                      <a:lnTo>
                        <a:pt x="16813" y="59452"/>
                      </a:lnTo>
                      <a:lnTo>
                        <a:pt x="17644" y="60169"/>
                      </a:lnTo>
                      <a:lnTo>
                        <a:pt x="17816" y="58923"/>
                      </a:lnTo>
                      <a:lnTo>
                        <a:pt x="19779" y="57456"/>
                      </a:lnTo>
                      <a:lnTo>
                        <a:pt x="20252" y="56347"/>
                      </a:lnTo>
                      <a:lnTo>
                        <a:pt x="19820" y="55736"/>
                      </a:lnTo>
                      <a:lnTo>
                        <a:pt x="17571" y="55141"/>
                      </a:lnTo>
                      <a:lnTo>
                        <a:pt x="15550" y="50911"/>
                      </a:lnTo>
                      <a:lnTo>
                        <a:pt x="15273" y="49053"/>
                      </a:lnTo>
                      <a:lnTo>
                        <a:pt x="14539" y="47880"/>
                      </a:lnTo>
                      <a:lnTo>
                        <a:pt x="15639" y="44497"/>
                      </a:lnTo>
                      <a:lnTo>
                        <a:pt x="13301" y="40635"/>
                      </a:lnTo>
                      <a:lnTo>
                        <a:pt x="12151" y="39420"/>
                      </a:lnTo>
                      <a:lnTo>
                        <a:pt x="12323" y="35948"/>
                      </a:lnTo>
                      <a:lnTo>
                        <a:pt x="11100" y="33740"/>
                      </a:lnTo>
                      <a:lnTo>
                        <a:pt x="10415" y="32526"/>
                      </a:lnTo>
                      <a:lnTo>
                        <a:pt x="10000" y="30431"/>
                      </a:lnTo>
                      <a:lnTo>
                        <a:pt x="10358" y="29486"/>
                      </a:lnTo>
                      <a:lnTo>
                        <a:pt x="11418" y="29127"/>
                      </a:lnTo>
                      <a:lnTo>
                        <a:pt x="11752" y="28247"/>
                      </a:lnTo>
                      <a:lnTo>
                        <a:pt x="12518" y="27611"/>
                      </a:lnTo>
                      <a:lnTo>
                        <a:pt x="12559" y="26699"/>
                      </a:lnTo>
                      <a:lnTo>
                        <a:pt x="12567" y="23716"/>
                      </a:lnTo>
                      <a:lnTo>
                        <a:pt x="14743" y="21646"/>
                      </a:lnTo>
                      <a:lnTo>
                        <a:pt x="17832" y="17391"/>
                      </a:lnTo>
                      <a:lnTo>
                        <a:pt x="19356" y="15061"/>
                      </a:lnTo>
                      <a:lnTo>
                        <a:pt x="21084" y="12885"/>
                      </a:lnTo>
                      <a:lnTo>
                        <a:pt x="23088" y="11426"/>
                      </a:lnTo>
                      <a:lnTo>
                        <a:pt x="25044" y="10733"/>
                      </a:lnTo>
                      <a:lnTo>
                        <a:pt x="28133" y="10440"/>
                      </a:lnTo>
                      <a:lnTo>
                        <a:pt x="34058" y="10717"/>
                      </a:lnTo>
                      <a:lnTo>
                        <a:pt x="35223" y="10456"/>
                      </a:lnTo>
                      <a:lnTo>
                        <a:pt x="39339" y="10236"/>
                      </a:lnTo>
                      <a:lnTo>
                        <a:pt x="40317" y="10619"/>
                      </a:lnTo>
                      <a:lnTo>
                        <a:pt x="43299" y="10864"/>
                      </a:lnTo>
                      <a:lnTo>
                        <a:pt x="46608" y="10586"/>
                      </a:lnTo>
                      <a:lnTo>
                        <a:pt x="48279" y="9959"/>
                      </a:lnTo>
                      <a:lnTo>
                        <a:pt x="49828" y="8891"/>
                      </a:lnTo>
                      <a:lnTo>
                        <a:pt x="51181" y="6960"/>
                      </a:lnTo>
                      <a:lnTo>
                        <a:pt x="52566" y="3374"/>
                      </a:lnTo>
                      <a:lnTo>
                        <a:pt x="54066" y="546"/>
                      </a:lnTo>
                      <a:lnTo>
                        <a:pt x="54938" y="0"/>
                      </a:lnTo>
                      <a:close/>
                    </a:path>
                  </a:pathLst>
                </a:custGeom>
                <a:solidFill>
                  <a:srgbClr val="D6D6D2"/>
                </a:solidFill>
                <a:ln w="6112" cap="rnd">
                  <a:solidFill>
                    <a:srgbClr val="FFFFFF"/>
                  </a:solidFill>
                  <a:prstDash val="solid"/>
                  <a:round/>
                </a:ln>
              </p:spPr>
              <p:txBody>
                <a:bodyPr rtlCol="0" anchor="ctr"/>
                <a:lstStyle/>
                <a:p>
                  <a:endParaRPr lang="en-US"/>
                </a:p>
              </p:txBody>
            </p:sp>
            <p:sp>
              <p:nvSpPr>
                <p:cNvPr id="698" name="Freeform: Shape 697">
                  <a:extLst>
                    <a:ext uri="{FF2B5EF4-FFF2-40B4-BE49-F238E27FC236}">
                      <a16:creationId xmlns:a16="http://schemas.microsoft.com/office/drawing/2014/main" id="{48E30B7E-E290-443E-87B6-648EFBBFC307}"/>
                    </a:ext>
                  </a:extLst>
                </p:cNvPr>
                <p:cNvSpPr/>
                <p:nvPr/>
              </p:nvSpPr>
              <p:spPr>
                <a:xfrm>
                  <a:off x="8481386" y="4081795"/>
                  <a:ext cx="131088" cy="130135"/>
                </a:xfrm>
                <a:custGeom>
                  <a:avLst/>
                  <a:gdLst>
                    <a:gd name="connsiteX0" fmla="*/ 129361 w 131088"/>
                    <a:gd name="connsiteY0" fmla="*/ 1695 h 130135"/>
                    <a:gd name="connsiteX1" fmla="*/ 128318 w 131088"/>
                    <a:gd name="connsiteY1" fmla="*/ 4866 h 130135"/>
                    <a:gd name="connsiteX2" fmla="*/ 127201 w 131088"/>
                    <a:gd name="connsiteY2" fmla="*/ 7742 h 130135"/>
                    <a:gd name="connsiteX3" fmla="*/ 125123 w 131088"/>
                    <a:gd name="connsiteY3" fmla="*/ 10252 h 130135"/>
                    <a:gd name="connsiteX4" fmla="*/ 125017 w 131088"/>
                    <a:gd name="connsiteY4" fmla="*/ 12102 h 130135"/>
                    <a:gd name="connsiteX5" fmla="*/ 124291 w 131088"/>
                    <a:gd name="connsiteY5" fmla="*/ 17612 h 130135"/>
                    <a:gd name="connsiteX6" fmla="*/ 124568 w 131088"/>
                    <a:gd name="connsiteY6" fmla="*/ 19372 h 130135"/>
                    <a:gd name="connsiteX7" fmla="*/ 125057 w 131088"/>
                    <a:gd name="connsiteY7" fmla="*/ 20872 h 130135"/>
                    <a:gd name="connsiteX8" fmla="*/ 125734 w 131088"/>
                    <a:gd name="connsiteY8" fmla="*/ 21678 h 130135"/>
                    <a:gd name="connsiteX9" fmla="*/ 127543 w 131088"/>
                    <a:gd name="connsiteY9" fmla="*/ 27065 h 130135"/>
                    <a:gd name="connsiteX10" fmla="*/ 129189 w 131088"/>
                    <a:gd name="connsiteY10" fmla="*/ 31971 h 130135"/>
                    <a:gd name="connsiteX11" fmla="*/ 130811 w 131088"/>
                    <a:gd name="connsiteY11" fmla="*/ 35998 h 130135"/>
                    <a:gd name="connsiteX12" fmla="*/ 131089 w 131088"/>
                    <a:gd name="connsiteY12" fmla="*/ 38540 h 130135"/>
                    <a:gd name="connsiteX13" fmla="*/ 129597 w 131088"/>
                    <a:gd name="connsiteY13" fmla="*/ 44987 h 130135"/>
                    <a:gd name="connsiteX14" fmla="*/ 127861 w 131088"/>
                    <a:gd name="connsiteY14" fmla="*/ 50903 h 130135"/>
                    <a:gd name="connsiteX15" fmla="*/ 128016 w 131088"/>
                    <a:gd name="connsiteY15" fmla="*/ 53853 h 130135"/>
                    <a:gd name="connsiteX16" fmla="*/ 128758 w 131088"/>
                    <a:gd name="connsiteY16" fmla="*/ 56804 h 130135"/>
                    <a:gd name="connsiteX17" fmla="*/ 129565 w 131088"/>
                    <a:gd name="connsiteY17" fmla="*/ 60748 h 130135"/>
                    <a:gd name="connsiteX18" fmla="*/ 129850 w 131088"/>
                    <a:gd name="connsiteY18" fmla="*/ 65768 h 130135"/>
                    <a:gd name="connsiteX19" fmla="*/ 129418 w 131088"/>
                    <a:gd name="connsiteY19" fmla="*/ 69045 h 130135"/>
                    <a:gd name="connsiteX20" fmla="*/ 128635 w 131088"/>
                    <a:gd name="connsiteY20" fmla="*/ 71082 h 130135"/>
                    <a:gd name="connsiteX21" fmla="*/ 127136 w 131088"/>
                    <a:gd name="connsiteY21" fmla="*/ 73168 h 130135"/>
                    <a:gd name="connsiteX22" fmla="*/ 125832 w 131088"/>
                    <a:gd name="connsiteY22" fmla="*/ 74236 h 130135"/>
                    <a:gd name="connsiteX23" fmla="*/ 124259 w 131088"/>
                    <a:gd name="connsiteY23" fmla="*/ 72467 h 130135"/>
                    <a:gd name="connsiteX24" fmla="*/ 123012 w 131088"/>
                    <a:gd name="connsiteY24" fmla="*/ 72386 h 130135"/>
                    <a:gd name="connsiteX25" fmla="*/ 121333 w 131088"/>
                    <a:gd name="connsiteY25" fmla="*/ 72924 h 130135"/>
                    <a:gd name="connsiteX26" fmla="*/ 120029 w 131088"/>
                    <a:gd name="connsiteY26" fmla="*/ 73739 h 130135"/>
                    <a:gd name="connsiteX27" fmla="*/ 117331 w 131088"/>
                    <a:gd name="connsiteY27" fmla="*/ 76803 h 130135"/>
                    <a:gd name="connsiteX28" fmla="*/ 114357 w 131088"/>
                    <a:gd name="connsiteY28" fmla="*/ 79778 h 130135"/>
                    <a:gd name="connsiteX29" fmla="*/ 110241 w 131088"/>
                    <a:gd name="connsiteY29" fmla="*/ 80536 h 130135"/>
                    <a:gd name="connsiteX30" fmla="*/ 108644 w 131088"/>
                    <a:gd name="connsiteY30" fmla="*/ 82753 h 130135"/>
                    <a:gd name="connsiteX31" fmla="*/ 106932 w 131088"/>
                    <a:gd name="connsiteY31" fmla="*/ 83054 h 130135"/>
                    <a:gd name="connsiteX32" fmla="*/ 103673 w 131088"/>
                    <a:gd name="connsiteY32" fmla="*/ 83168 h 130135"/>
                    <a:gd name="connsiteX33" fmla="*/ 101546 w 131088"/>
                    <a:gd name="connsiteY33" fmla="*/ 83673 h 130135"/>
                    <a:gd name="connsiteX34" fmla="*/ 101643 w 131088"/>
                    <a:gd name="connsiteY34" fmla="*/ 84790 h 130135"/>
                    <a:gd name="connsiteX35" fmla="*/ 101472 w 131088"/>
                    <a:gd name="connsiteY35" fmla="*/ 90038 h 130135"/>
                    <a:gd name="connsiteX36" fmla="*/ 101521 w 131088"/>
                    <a:gd name="connsiteY36" fmla="*/ 91261 h 130135"/>
                    <a:gd name="connsiteX37" fmla="*/ 101195 w 131088"/>
                    <a:gd name="connsiteY37" fmla="*/ 91595 h 130135"/>
                    <a:gd name="connsiteX38" fmla="*/ 99720 w 131088"/>
                    <a:gd name="connsiteY38" fmla="*/ 91750 h 130135"/>
                    <a:gd name="connsiteX39" fmla="*/ 97218 w 131088"/>
                    <a:gd name="connsiteY39" fmla="*/ 90951 h 130135"/>
                    <a:gd name="connsiteX40" fmla="*/ 93836 w 131088"/>
                    <a:gd name="connsiteY40" fmla="*/ 89647 h 130135"/>
                    <a:gd name="connsiteX41" fmla="*/ 91440 w 131088"/>
                    <a:gd name="connsiteY41" fmla="*/ 89443 h 130135"/>
                    <a:gd name="connsiteX42" fmla="*/ 90201 w 131088"/>
                    <a:gd name="connsiteY42" fmla="*/ 91725 h 130135"/>
                    <a:gd name="connsiteX43" fmla="*/ 89467 w 131088"/>
                    <a:gd name="connsiteY43" fmla="*/ 92622 h 130135"/>
                    <a:gd name="connsiteX44" fmla="*/ 88547 w 131088"/>
                    <a:gd name="connsiteY44" fmla="*/ 92760 h 130135"/>
                    <a:gd name="connsiteX45" fmla="*/ 87610 w 131088"/>
                    <a:gd name="connsiteY45" fmla="*/ 93160 h 130135"/>
                    <a:gd name="connsiteX46" fmla="*/ 87284 w 131088"/>
                    <a:gd name="connsiteY46" fmla="*/ 94178 h 130135"/>
                    <a:gd name="connsiteX47" fmla="*/ 87202 w 131088"/>
                    <a:gd name="connsiteY47" fmla="*/ 95450 h 130135"/>
                    <a:gd name="connsiteX48" fmla="*/ 87667 w 131088"/>
                    <a:gd name="connsiteY48" fmla="*/ 97634 h 130135"/>
                    <a:gd name="connsiteX49" fmla="*/ 87838 w 131088"/>
                    <a:gd name="connsiteY49" fmla="*/ 101106 h 130135"/>
                    <a:gd name="connsiteX50" fmla="*/ 87707 w 131088"/>
                    <a:gd name="connsiteY50" fmla="*/ 103469 h 130135"/>
                    <a:gd name="connsiteX51" fmla="*/ 88588 w 131088"/>
                    <a:gd name="connsiteY51" fmla="*/ 104960 h 130135"/>
                    <a:gd name="connsiteX52" fmla="*/ 93754 w 131088"/>
                    <a:gd name="connsiteY52" fmla="*/ 109989 h 130135"/>
                    <a:gd name="connsiteX53" fmla="*/ 95270 w 131088"/>
                    <a:gd name="connsiteY53" fmla="*/ 111244 h 130135"/>
                    <a:gd name="connsiteX54" fmla="*/ 95442 w 131088"/>
                    <a:gd name="connsiteY54" fmla="*/ 111994 h 130135"/>
                    <a:gd name="connsiteX55" fmla="*/ 94545 w 131088"/>
                    <a:gd name="connsiteY55" fmla="*/ 114724 h 130135"/>
                    <a:gd name="connsiteX56" fmla="*/ 95352 w 131088"/>
                    <a:gd name="connsiteY56" fmla="*/ 118562 h 130135"/>
                    <a:gd name="connsiteX57" fmla="*/ 93738 w 131088"/>
                    <a:gd name="connsiteY57" fmla="*/ 118489 h 130135"/>
                    <a:gd name="connsiteX58" fmla="*/ 91049 w 131088"/>
                    <a:gd name="connsiteY58" fmla="*/ 116843 h 130135"/>
                    <a:gd name="connsiteX59" fmla="*/ 89761 w 131088"/>
                    <a:gd name="connsiteY59" fmla="*/ 115832 h 130135"/>
                    <a:gd name="connsiteX60" fmla="*/ 88197 w 131088"/>
                    <a:gd name="connsiteY60" fmla="*/ 116639 h 130135"/>
                    <a:gd name="connsiteX61" fmla="*/ 87667 w 131088"/>
                    <a:gd name="connsiteY61" fmla="*/ 116476 h 130135"/>
                    <a:gd name="connsiteX62" fmla="*/ 86607 w 131088"/>
                    <a:gd name="connsiteY62" fmla="*/ 114585 h 130135"/>
                    <a:gd name="connsiteX63" fmla="*/ 85214 w 131088"/>
                    <a:gd name="connsiteY63" fmla="*/ 112662 h 130135"/>
                    <a:gd name="connsiteX64" fmla="*/ 83804 w 131088"/>
                    <a:gd name="connsiteY64" fmla="*/ 112540 h 130135"/>
                    <a:gd name="connsiteX65" fmla="*/ 80796 w 131088"/>
                    <a:gd name="connsiteY65" fmla="*/ 113298 h 130135"/>
                    <a:gd name="connsiteX66" fmla="*/ 77724 w 131088"/>
                    <a:gd name="connsiteY66" fmla="*/ 113819 h 130135"/>
                    <a:gd name="connsiteX67" fmla="*/ 76558 w 131088"/>
                    <a:gd name="connsiteY67" fmla="*/ 113811 h 130135"/>
                    <a:gd name="connsiteX68" fmla="*/ 76078 w 131088"/>
                    <a:gd name="connsiteY68" fmla="*/ 114161 h 130135"/>
                    <a:gd name="connsiteX69" fmla="*/ 74285 w 131088"/>
                    <a:gd name="connsiteY69" fmla="*/ 117030 h 130135"/>
                    <a:gd name="connsiteX70" fmla="*/ 73535 w 131088"/>
                    <a:gd name="connsiteY70" fmla="*/ 116541 h 130135"/>
                    <a:gd name="connsiteX71" fmla="*/ 70446 w 131088"/>
                    <a:gd name="connsiteY71" fmla="*/ 115449 h 130135"/>
                    <a:gd name="connsiteX72" fmla="*/ 67618 w 131088"/>
                    <a:gd name="connsiteY72" fmla="*/ 115034 h 130135"/>
                    <a:gd name="connsiteX73" fmla="*/ 67031 w 131088"/>
                    <a:gd name="connsiteY73" fmla="*/ 115775 h 130135"/>
                    <a:gd name="connsiteX74" fmla="*/ 67374 w 131088"/>
                    <a:gd name="connsiteY74" fmla="*/ 118114 h 130135"/>
                    <a:gd name="connsiteX75" fmla="*/ 67993 w 131088"/>
                    <a:gd name="connsiteY75" fmla="*/ 120396 h 130135"/>
                    <a:gd name="connsiteX76" fmla="*/ 67635 w 131088"/>
                    <a:gd name="connsiteY76" fmla="*/ 121366 h 130135"/>
                    <a:gd name="connsiteX77" fmla="*/ 66086 w 131088"/>
                    <a:gd name="connsiteY77" fmla="*/ 122564 h 130135"/>
                    <a:gd name="connsiteX78" fmla="*/ 64032 w 131088"/>
                    <a:gd name="connsiteY78" fmla="*/ 124732 h 130135"/>
                    <a:gd name="connsiteX79" fmla="*/ 62785 w 131088"/>
                    <a:gd name="connsiteY79" fmla="*/ 126419 h 130135"/>
                    <a:gd name="connsiteX80" fmla="*/ 61913 w 131088"/>
                    <a:gd name="connsiteY80" fmla="*/ 126826 h 130135"/>
                    <a:gd name="connsiteX81" fmla="*/ 58784 w 131088"/>
                    <a:gd name="connsiteY81" fmla="*/ 126753 h 130135"/>
                    <a:gd name="connsiteX82" fmla="*/ 55679 w 131088"/>
                    <a:gd name="connsiteY82" fmla="*/ 126973 h 130135"/>
                    <a:gd name="connsiteX83" fmla="*/ 54432 w 131088"/>
                    <a:gd name="connsiteY83" fmla="*/ 128554 h 130135"/>
                    <a:gd name="connsiteX84" fmla="*/ 53267 w 131088"/>
                    <a:gd name="connsiteY84" fmla="*/ 129793 h 130135"/>
                    <a:gd name="connsiteX85" fmla="*/ 52264 w 131088"/>
                    <a:gd name="connsiteY85" fmla="*/ 130135 h 130135"/>
                    <a:gd name="connsiteX86" fmla="*/ 48189 w 131088"/>
                    <a:gd name="connsiteY86" fmla="*/ 126207 h 130135"/>
                    <a:gd name="connsiteX87" fmla="*/ 40121 w 131088"/>
                    <a:gd name="connsiteY87" fmla="*/ 124838 h 130135"/>
                    <a:gd name="connsiteX88" fmla="*/ 39249 w 131088"/>
                    <a:gd name="connsiteY88" fmla="*/ 123110 h 130135"/>
                    <a:gd name="connsiteX89" fmla="*/ 38475 w 131088"/>
                    <a:gd name="connsiteY89" fmla="*/ 122768 h 130135"/>
                    <a:gd name="connsiteX90" fmla="*/ 37733 w 131088"/>
                    <a:gd name="connsiteY90" fmla="*/ 125017 h 130135"/>
                    <a:gd name="connsiteX91" fmla="*/ 33300 w 131088"/>
                    <a:gd name="connsiteY91" fmla="*/ 127185 h 130135"/>
                    <a:gd name="connsiteX92" fmla="*/ 31441 w 131088"/>
                    <a:gd name="connsiteY92" fmla="*/ 125873 h 130135"/>
                    <a:gd name="connsiteX93" fmla="*/ 30080 w 131088"/>
                    <a:gd name="connsiteY93" fmla="*/ 124292 h 130135"/>
                    <a:gd name="connsiteX94" fmla="*/ 30276 w 131088"/>
                    <a:gd name="connsiteY94" fmla="*/ 122360 h 130135"/>
                    <a:gd name="connsiteX95" fmla="*/ 31556 w 131088"/>
                    <a:gd name="connsiteY95" fmla="*/ 120779 h 130135"/>
                    <a:gd name="connsiteX96" fmla="*/ 33764 w 131088"/>
                    <a:gd name="connsiteY96" fmla="*/ 119646 h 130135"/>
                    <a:gd name="connsiteX97" fmla="*/ 34775 w 131088"/>
                    <a:gd name="connsiteY97" fmla="*/ 115677 h 130135"/>
                    <a:gd name="connsiteX98" fmla="*/ 33104 w 131088"/>
                    <a:gd name="connsiteY98" fmla="*/ 110584 h 130135"/>
                    <a:gd name="connsiteX99" fmla="*/ 31629 w 131088"/>
                    <a:gd name="connsiteY99" fmla="*/ 109101 h 130135"/>
                    <a:gd name="connsiteX100" fmla="*/ 30089 w 131088"/>
                    <a:gd name="connsiteY100" fmla="*/ 107927 h 130135"/>
                    <a:gd name="connsiteX101" fmla="*/ 28459 w 131088"/>
                    <a:gd name="connsiteY101" fmla="*/ 109818 h 130135"/>
                    <a:gd name="connsiteX102" fmla="*/ 27082 w 131088"/>
                    <a:gd name="connsiteY102" fmla="*/ 113061 h 130135"/>
                    <a:gd name="connsiteX103" fmla="*/ 25647 w 131088"/>
                    <a:gd name="connsiteY103" fmla="*/ 114732 h 130135"/>
                    <a:gd name="connsiteX104" fmla="*/ 23634 w 131088"/>
                    <a:gd name="connsiteY104" fmla="*/ 115099 h 130135"/>
                    <a:gd name="connsiteX105" fmla="*/ 20668 w 131088"/>
                    <a:gd name="connsiteY105" fmla="*/ 114960 h 130135"/>
                    <a:gd name="connsiteX106" fmla="*/ 19519 w 131088"/>
                    <a:gd name="connsiteY106" fmla="*/ 110119 h 130135"/>
                    <a:gd name="connsiteX107" fmla="*/ 19144 w 131088"/>
                    <a:gd name="connsiteY107" fmla="*/ 105971 h 130135"/>
                    <a:gd name="connsiteX108" fmla="*/ 19543 w 131088"/>
                    <a:gd name="connsiteY108" fmla="*/ 101236 h 130135"/>
                    <a:gd name="connsiteX109" fmla="*/ 19999 w 131088"/>
                    <a:gd name="connsiteY109" fmla="*/ 98424 h 130135"/>
                    <a:gd name="connsiteX110" fmla="*/ 17139 w 131088"/>
                    <a:gd name="connsiteY110" fmla="*/ 94553 h 130135"/>
                    <a:gd name="connsiteX111" fmla="*/ 16984 w 131088"/>
                    <a:gd name="connsiteY111" fmla="*/ 90862 h 130135"/>
                    <a:gd name="connsiteX112" fmla="*/ 15599 w 131088"/>
                    <a:gd name="connsiteY112" fmla="*/ 88954 h 130135"/>
                    <a:gd name="connsiteX113" fmla="*/ 15191 w 131088"/>
                    <a:gd name="connsiteY113" fmla="*/ 89916 h 130135"/>
                    <a:gd name="connsiteX114" fmla="*/ 15232 w 131088"/>
                    <a:gd name="connsiteY114" fmla="*/ 90975 h 130135"/>
                    <a:gd name="connsiteX115" fmla="*/ 14841 w 131088"/>
                    <a:gd name="connsiteY115" fmla="*/ 90209 h 130135"/>
                    <a:gd name="connsiteX116" fmla="*/ 10334 w 131088"/>
                    <a:gd name="connsiteY116" fmla="*/ 79379 h 130135"/>
                    <a:gd name="connsiteX117" fmla="*/ 9584 w 131088"/>
                    <a:gd name="connsiteY117" fmla="*/ 74358 h 130135"/>
                    <a:gd name="connsiteX118" fmla="*/ 10358 w 131088"/>
                    <a:gd name="connsiteY118" fmla="*/ 70487 h 130135"/>
                    <a:gd name="connsiteX119" fmla="*/ 10814 w 131088"/>
                    <a:gd name="connsiteY119" fmla="*/ 69191 h 130135"/>
                    <a:gd name="connsiteX120" fmla="*/ 9519 w 131088"/>
                    <a:gd name="connsiteY120" fmla="*/ 67154 h 130135"/>
                    <a:gd name="connsiteX121" fmla="*/ 7685 w 131088"/>
                    <a:gd name="connsiteY121" fmla="*/ 64839 h 130135"/>
                    <a:gd name="connsiteX122" fmla="*/ 4466 w 131088"/>
                    <a:gd name="connsiteY122" fmla="*/ 61808 h 130135"/>
                    <a:gd name="connsiteX123" fmla="*/ 4246 w 131088"/>
                    <a:gd name="connsiteY123" fmla="*/ 57007 h 130135"/>
                    <a:gd name="connsiteX124" fmla="*/ 3512 w 131088"/>
                    <a:gd name="connsiteY124" fmla="*/ 51351 h 130135"/>
                    <a:gd name="connsiteX125" fmla="*/ 2551 w 131088"/>
                    <a:gd name="connsiteY125" fmla="*/ 49445 h 130135"/>
                    <a:gd name="connsiteX126" fmla="*/ 1060 w 131088"/>
                    <a:gd name="connsiteY126" fmla="*/ 45956 h 130135"/>
                    <a:gd name="connsiteX127" fmla="*/ 261 w 131088"/>
                    <a:gd name="connsiteY127" fmla="*/ 43063 h 130135"/>
                    <a:gd name="connsiteX128" fmla="*/ 0 w 131088"/>
                    <a:gd name="connsiteY128" fmla="*/ 35419 h 130135"/>
                    <a:gd name="connsiteX129" fmla="*/ 407 w 131088"/>
                    <a:gd name="connsiteY129" fmla="*/ 34807 h 130135"/>
                    <a:gd name="connsiteX130" fmla="*/ 2690 w 131088"/>
                    <a:gd name="connsiteY130" fmla="*/ 34588 h 130135"/>
                    <a:gd name="connsiteX131" fmla="*/ 5623 w 131088"/>
                    <a:gd name="connsiteY131" fmla="*/ 34033 h 130135"/>
                    <a:gd name="connsiteX132" fmla="*/ 6096 w 131088"/>
                    <a:gd name="connsiteY132" fmla="*/ 32795 h 130135"/>
                    <a:gd name="connsiteX133" fmla="*/ 5575 w 131088"/>
                    <a:gd name="connsiteY133" fmla="*/ 31776 h 130135"/>
                    <a:gd name="connsiteX134" fmla="*/ 7449 w 131088"/>
                    <a:gd name="connsiteY134" fmla="*/ 30040 h 130135"/>
                    <a:gd name="connsiteX135" fmla="*/ 10138 w 131088"/>
                    <a:gd name="connsiteY135" fmla="*/ 26250 h 130135"/>
                    <a:gd name="connsiteX136" fmla="*/ 12225 w 131088"/>
                    <a:gd name="connsiteY136" fmla="*/ 22281 h 130135"/>
                    <a:gd name="connsiteX137" fmla="*/ 13732 w 131088"/>
                    <a:gd name="connsiteY137" fmla="*/ 19779 h 130135"/>
                    <a:gd name="connsiteX138" fmla="*/ 14621 w 131088"/>
                    <a:gd name="connsiteY138" fmla="*/ 17286 h 130135"/>
                    <a:gd name="connsiteX139" fmla="*/ 17636 w 131088"/>
                    <a:gd name="connsiteY139" fmla="*/ 13765 h 130135"/>
                    <a:gd name="connsiteX140" fmla="*/ 21817 w 131088"/>
                    <a:gd name="connsiteY140" fmla="*/ 11336 h 130135"/>
                    <a:gd name="connsiteX141" fmla="*/ 24653 w 131088"/>
                    <a:gd name="connsiteY141" fmla="*/ 10766 h 130135"/>
                    <a:gd name="connsiteX142" fmla="*/ 27595 w 131088"/>
                    <a:gd name="connsiteY142" fmla="*/ 9934 h 130135"/>
                    <a:gd name="connsiteX143" fmla="*/ 30431 w 131088"/>
                    <a:gd name="connsiteY143" fmla="*/ 8753 h 130135"/>
                    <a:gd name="connsiteX144" fmla="*/ 31751 w 131088"/>
                    <a:gd name="connsiteY144" fmla="*/ 8639 h 130135"/>
                    <a:gd name="connsiteX145" fmla="*/ 35272 w 131088"/>
                    <a:gd name="connsiteY145" fmla="*/ 10073 h 130135"/>
                    <a:gd name="connsiteX146" fmla="*/ 37171 w 131088"/>
                    <a:gd name="connsiteY146" fmla="*/ 10432 h 130135"/>
                    <a:gd name="connsiteX147" fmla="*/ 39159 w 131088"/>
                    <a:gd name="connsiteY147" fmla="*/ 10407 h 130135"/>
                    <a:gd name="connsiteX148" fmla="*/ 41221 w 131088"/>
                    <a:gd name="connsiteY148" fmla="*/ 10562 h 130135"/>
                    <a:gd name="connsiteX149" fmla="*/ 43014 w 131088"/>
                    <a:gd name="connsiteY149" fmla="*/ 10407 h 130135"/>
                    <a:gd name="connsiteX150" fmla="*/ 47317 w 131088"/>
                    <a:gd name="connsiteY150" fmla="*/ 9413 h 130135"/>
                    <a:gd name="connsiteX151" fmla="*/ 51889 w 131088"/>
                    <a:gd name="connsiteY151" fmla="*/ 10204 h 130135"/>
                    <a:gd name="connsiteX152" fmla="*/ 55956 w 131088"/>
                    <a:gd name="connsiteY152" fmla="*/ 9576 h 130135"/>
                    <a:gd name="connsiteX153" fmla="*/ 61001 w 131088"/>
                    <a:gd name="connsiteY153" fmla="*/ 8427 h 130135"/>
                    <a:gd name="connsiteX154" fmla="*/ 63470 w 131088"/>
                    <a:gd name="connsiteY154" fmla="*/ 9152 h 130135"/>
                    <a:gd name="connsiteX155" fmla="*/ 65728 w 131088"/>
                    <a:gd name="connsiteY155" fmla="*/ 10301 h 130135"/>
                    <a:gd name="connsiteX156" fmla="*/ 66037 w 131088"/>
                    <a:gd name="connsiteY156" fmla="*/ 12632 h 130135"/>
                    <a:gd name="connsiteX157" fmla="*/ 66559 w 131088"/>
                    <a:gd name="connsiteY157" fmla="*/ 13700 h 130135"/>
                    <a:gd name="connsiteX158" fmla="*/ 67308 w 131088"/>
                    <a:gd name="connsiteY158" fmla="*/ 14523 h 130135"/>
                    <a:gd name="connsiteX159" fmla="*/ 68311 w 131088"/>
                    <a:gd name="connsiteY159" fmla="*/ 14523 h 130135"/>
                    <a:gd name="connsiteX160" fmla="*/ 69599 w 131088"/>
                    <a:gd name="connsiteY160" fmla="*/ 12893 h 130135"/>
                    <a:gd name="connsiteX161" fmla="*/ 70658 w 131088"/>
                    <a:gd name="connsiteY161" fmla="*/ 11222 h 130135"/>
                    <a:gd name="connsiteX162" fmla="*/ 71017 w 131088"/>
                    <a:gd name="connsiteY162" fmla="*/ 10913 h 130135"/>
                    <a:gd name="connsiteX163" fmla="*/ 71082 w 131088"/>
                    <a:gd name="connsiteY163" fmla="*/ 11736 h 130135"/>
                    <a:gd name="connsiteX164" fmla="*/ 71604 w 131088"/>
                    <a:gd name="connsiteY164" fmla="*/ 13553 h 130135"/>
                    <a:gd name="connsiteX165" fmla="*/ 72565 w 131088"/>
                    <a:gd name="connsiteY165" fmla="*/ 15346 h 130135"/>
                    <a:gd name="connsiteX166" fmla="*/ 73535 w 131088"/>
                    <a:gd name="connsiteY166" fmla="*/ 16536 h 130135"/>
                    <a:gd name="connsiteX167" fmla="*/ 75149 w 131088"/>
                    <a:gd name="connsiteY167" fmla="*/ 18117 h 130135"/>
                    <a:gd name="connsiteX168" fmla="*/ 76200 w 131088"/>
                    <a:gd name="connsiteY168" fmla="*/ 18190 h 130135"/>
                    <a:gd name="connsiteX169" fmla="*/ 79647 w 131088"/>
                    <a:gd name="connsiteY169" fmla="*/ 16699 h 130135"/>
                    <a:gd name="connsiteX170" fmla="*/ 84823 w 131088"/>
                    <a:gd name="connsiteY170" fmla="*/ 18858 h 130135"/>
                    <a:gd name="connsiteX171" fmla="*/ 85417 w 131088"/>
                    <a:gd name="connsiteY171" fmla="*/ 19951 h 130135"/>
                    <a:gd name="connsiteX172" fmla="*/ 87088 w 131088"/>
                    <a:gd name="connsiteY172" fmla="*/ 22159 h 130135"/>
                    <a:gd name="connsiteX173" fmla="*/ 88905 w 131088"/>
                    <a:gd name="connsiteY173" fmla="*/ 23740 h 130135"/>
                    <a:gd name="connsiteX174" fmla="*/ 92932 w 131088"/>
                    <a:gd name="connsiteY174" fmla="*/ 23838 h 130135"/>
                    <a:gd name="connsiteX175" fmla="*/ 94366 w 131088"/>
                    <a:gd name="connsiteY175" fmla="*/ 19951 h 130135"/>
                    <a:gd name="connsiteX176" fmla="*/ 93665 w 131088"/>
                    <a:gd name="connsiteY176" fmla="*/ 17579 h 130135"/>
                    <a:gd name="connsiteX177" fmla="*/ 91375 w 131088"/>
                    <a:gd name="connsiteY177" fmla="*/ 13447 h 130135"/>
                    <a:gd name="connsiteX178" fmla="*/ 90755 w 131088"/>
                    <a:gd name="connsiteY178" fmla="*/ 11019 h 130135"/>
                    <a:gd name="connsiteX179" fmla="*/ 91481 w 131088"/>
                    <a:gd name="connsiteY179" fmla="*/ 10587 h 130135"/>
                    <a:gd name="connsiteX180" fmla="*/ 95376 w 131088"/>
                    <a:gd name="connsiteY180" fmla="*/ 10122 h 130135"/>
                    <a:gd name="connsiteX181" fmla="*/ 96004 w 131088"/>
                    <a:gd name="connsiteY181" fmla="*/ 9641 h 130135"/>
                    <a:gd name="connsiteX182" fmla="*/ 96868 w 131088"/>
                    <a:gd name="connsiteY182" fmla="*/ 6960 h 130135"/>
                    <a:gd name="connsiteX183" fmla="*/ 97919 w 131088"/>
                    <a:gd name="connsiteY183" fmla="*/ 7270 h 130135"/>
                    <a:gd name="connsiteX184" fmla="*/ 100078 w 131088"/>
                    <a:gd name="connsiteY184" fmla="*/ 7612 h 130135"/>
                    <a:gd name="connsiteX185" fmla="*/ 102369 w 131088"/>
                    <a:gd name="connsiteY185" fmla="*/ 5770 h 130135"/>
                    <a:gd name="connsiteX186" fmla="*/ 103705 w 131088"/>
                    <a:gd name="connsiteY186" fmla="*/ 3847 h 130135"/>
                    <a:gd name="connsiteX187" fmla="*/ 104455 w 131088"/>
                    <a:gd name="connsiteY187" fmla="*/ 4727 h 130135"/>
                    <a:gd name="connsiteX188" fmla="*/ 105262 w 131088"/>
                    <a:gd name="connsiteY188" fmla="*/ 6072 h 130135"/>
                    <a:gd name="connsiteX189" fmla="*/ 106142 w 131088"/>
                    <a:gd name="connsiteY189" fmla="*/ 6862 h 130135"/>
                    <a:gd name="connsiteX190" fmla="*/ 107780 w 131088"/>
                    <a:gd name="connsiteY190" fmla="*/ 8019 h 130135"/>
                    <a:gd name="connsiteX191" fmla="*/ 109590 w 131088"/>
                    <a:gd name="connsiteY191" fmla="*/ 9649 h 130135"/>
                    <a:gd name="connsiteX192" fmla="*/ 110714 w 131088"/>
                    <a:gd name="connsiteY192" fmla="*/ 11255 h 130135"/>
                    <a:gd name="connsiteX193" fmla="*/ 111619 w 131088"/>
                    <a:gd name="connsiteY193" fmla="*/ 11874 h 130135"/>
                    <a:gd name="connsiteX194" fmla="*/ 113925 w 131088"/>
                    <a:gd name="connsiteY194" fmla="*/ 11418 h 130135"/>
                    <a:gd name="connsiteX195" fmla="*/ 114536 w 131088"/>
                    <a:gd name="connsiteY195" fmla="*/ 11483 h 130135"/>
                    <a:gd name="connsiteX196" fmla="*/ 115889 w 131088"/>
                    <a:gd name="connsiteY196" fmla="*/ 9551 h 130135"/>
                    <a:gd name="connsiteX197" fmla="*/ 116827 w 131088"/>
                    <a:gd name="connsiteY197" fmla="*/ 8500 h 130135"/>
                    <a:gd name="connsiteX198" fmla="*/ 117625 w 131088"/>
                    <a:gd name="connsiteY198" fmla="*/ 8802 h 130135"/>
                    <a:gd name="connsiteX199" fmla="*/ 118790 w 131088"/>
                    <a:gd name="connsiteY199" fmla="*/ 8777 h 130135"/>
                    <a:gd name="connsiteX200" fmla="*/ 121211 w 131088"/>
                    <a:gd name="connsiteY200" fmla="*/ 6308 h 130135"/>
                    <a:gd name="connsiteX201" fmla="*/ 122588 w 131088"/>
                    <a:gd name="connsiteY201" fmla="*/ 4050 h 130135"/>
                    <a:gd name="connsiteX202" fmla="*/ 123346 w 131088"/>
                    <a:gd name="connsiteY202" fmla="*/ 3431 h 130135"/>
                    <a:gd name="connsiteX203" fmla="*/ 125514 w 131088"/>
                    <a:gd name="connsiteY203" fmla="*/ 4556 h 130135"/>
                    <a:gd name="connsiteX204" fmla="*/ 126370 w 131088"/>
                    <a:gd name="connsiteY204" fmla="*/ 4328 h 130135"/>
                    <a:gd name="connsiteX205" fmla="*/ 127617 w 131088"/>
                    <a:gd name="connsiteY205" fmla="*/ 1223 h 130135"/>
                    <a:gd name="connsiteX206" fmla="*/ 128970 w 131088"/>
                    <a:gd name="connsiteY206" fmla="*/ 0 h 130135"/>
                    <a:gd name="connsiteX207" fmla="*/ 129361 w 131088"/>
                    <a:gd name="connsiteY207" fmla="*/ 1695 h 130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Lst>
                  <a:rect l="l" t="t" r="r" b="b"/>
                  <a:pathLst>
                    <a:path w="131088" h="130135">
                      <a:moveTo>
                        <a:pt x="129361" y="1695"/>
                      </a:moveTo>
                      <a:lnTo>
                        <a:pt x="128318" y="4866"/>
                      </a:lnTo>
                      <a:lnTo>
                        <a:pt x="127201" y="7742"/>
                      </a:lnTo>
                      <a:lnTo>
                        <a:pt x="125123" y="10252"/>
                      </a:lnTo>
                      <a:lnTo>
                        <a:pt x="125017" y="12102"/>
                      </a:lnTo>
                      <a:lnTo>
                        <a:pt x="124291" y="17612"/>
                      </a:lnTo>
                      <a:lnTo>
                        <a:pt x="124568" y="19372"/>
                      </a:lnTo>
                      <a:lnTo>
                        <a:pt x="125057" y="20872"/>
                      </a:lnTo>
                      <a:lnTo>
                        <a:pt x="125734" y="21678"/>
                      </a:lnTo>
                      <a:lnTo>
                        <a:pt x="127543" y="27065"/>
                      </a:lnTo>
                      <a:lnTo>
                        <a:pt x="129189" y="31971"/>
                      </a:lnTo>
                      <a:lnTo>
                        <a:pt x="130811" y="35998"/>
                      </a:lnTo>
                      <a:lnTo>
                        <a:pt x="131089" y="38540"/>
                      </a:lnTo>
                      <a:lnTo>
                        <a:pt x="129597" y="44987"/>
                      </a:lnTo>
                      <a:lnTo>
                        <a:pt x="127861" y="50903"/>
                      </a:lnTo>
                      <a:lnTo>
                        <a:pt x="128016" y="53853"/>
                      </a:lnTo>
                      <a:lnTo>
                        <a:pt x="128758" y="56804"/>
                      </a:lnTo>
                      <a:lnTo>
                        <a:pt x="129565" y="60748"/>
                      </a:lnTo>
                      <a:lnTo>
                        <a:pt x="129850" y="65768"/>
                      </a:lnTo>
                      <a:lnTo>
                        <a:pt x="129418" y="69045"/>
                      </a:lnTo>
                      <a:lnTo>
                        <a:pt x="128635" y="71082"/>
                      </a:lnTo>
                      <a:lnTo>
                        <a:pt x="127136" y="73168"/>
                      </a:lnTo>
                      <a:lnTo>
                        <a:pt x="125832" y="74236"/>
                      </a:lnTo>
                      <a:lnTo>
                        <a:pt x="124259" y="72467"/>
                      </a:lnTo>
                      <a:lnTo>
                        <a:pt x="123012" y="72386"/>
                      </a:lnTo>
                      <a:lnTo>
                        <a:pt x="121333" y="72924"/>
                      </a:lnTo>
                      <a:lnTo>
                        <a:pt x="120029" y="73739"/>
                      </a:lnTo>
                      <a:lnTo>
                        <a:pt x="117331" y="76803"/>
                      </a:lnTo>
                      <a:lnTo>
                        <a:pt x="114357" y="79778"/>
                      </a:lnTo>
                      <a:lnTo>
                        <a:pt x="110241" y="80536"/>
                      </a:lnTo>
                      <a:lnTo>
                        <a:pt x="108644" y="82753"/>
                      </a:lnTo>
                      <a:lnTo>
                        <a:pt x="106932" y="83054"/>
                      </a:lnTo>
                      <a:lnTo>
                        <a:pt x="103673" y="83168"/>
                      </a:lnTo>
                      <a:lnTo>
                        <a:pt x="101546" y="83673"/>
                      </a:lnTo>
                      <a:lnTo>
                        <a:pt x="101643" y="84790"/>
                      </a:lnTo>
                      <a:lnTo>
                        <a:pt x="101472" y="90038"/>
                      </a:lnTo>
                      <a:lnTo>
                        <a:pt x="101521" y="91261"/>
                      </a:lnTo>
                      <a:lnTo>
                        <a:pt x="101195" y="91595"/>
                      </a:lnTo>
                      <a:lnTo>
                        <a:pt x="99720" y="91750"/>
                      </a:lnTo>
                      <a:lnTo>
                        <a:pt x="97218" y="90951"/>
                      </a:lnTo>
                      <a:lnTo>
                        <a:pt x="93836" y="89647"/>
                      </a:lnTo>
                      <a:lnTo>
                        <a:pt x="91440" y="89443"/>
                      </a:lnTo>
                      <a:lnTo>
                        <a:pt x="90201" y="91725"/>
                      </a:lnTo>
                      <a:lnTo>
                        <a:pt x="89467" y="92622"/>
                      </a:lnTo>
                      <a:lnTo>
                        <a:pt x="88547" y="92760"/>
                      </a:lnTo>
                      <a:lnTo>
                        <a:pt x="87610" y="93160"/>
                      </a:lnTo>
                      <a:lnTo>
                        <a:pt x="87284" y="94178"/>
                      </a:lnTo>
                      <a:lnTo>
                        <a:pt x="87202" y="95450"/>
                      </a:lnTo>
                      <a:lnTo>
                        <a:pt x="87667" y="97634"/>
                      </a:lnTo>
                      <a:lnTo>
                        <a:pt x="87838" y="101106"/>
                      </a:lnTo>
                      <a:lnTo>
                        <a:pt x="87707" y="103469"/>
                      </a:lnTo>
                      <a:lnTo>
                        <a:pt x="88588" y="104960"/>
                      </a:lnTo>
                      <a:lnTo>
                        <a:pt x="93754" y="109989"/>
                      </a:lnTo>
                      <a:lnTo>
                        <a:pt x="95270" y="111244"/>
                      </a:lnTo>
                      <a:lnTo>
                        <a:pt x="95442" y="111994"/>
                      </a:lnTo>
                      <a:lnTo>
                        <a:pt x="94545" y="114724"/>
                      </a:lnTo>
                      <a:lnTo>
                        <a:pt x="95352" y="118562"/>
                      </a:lnTo>
                      <a:lnTo>
                        <a:pt x="93738" y="118489"/>
                      </a:lnTo>
                      <a:lnTo>
                        <a:pt x="91049" y="116843"/>
                      </a:lnTo>
                      <a:lnTo>
                        <a:pt x="89761" y="115832"/>
                      </a:lnTo>
                      <a:lnTo>
                        <a:pt x="88197" y="116639"/>
                      </a:lnTo>
                      <a:lnTo>
                        <a:pt x="87667" y="116476"/>
                      </a:lnTo>
                      <a:lnTo>
                        <a:pt x="86607" y="114585"/>
                      </a:lnTo>
                      <a:lnTo>
                        <a:pt x="85214" y="112662"/>
                      </a:lnTo>
                      <a:lnTo>
                        <a:pt x="83804" y="112540"/>
                      </a:lnTo>
                      <a:lnTo>
                        <a:pt x="80796" y="113298"/>
                      </a:lnTo>
                      <a:lnTo>
                        <a:pt x="77724" y="113819"/>
                      </a:lnTo>
                      <a:lnTo>
                        <a:pt x="76558" y="113811"/>
                      </a:lnTo>
                      <a:lnTo>
                        <a:pt x="76078" y="114161"/>
                      </a:lnTo>
                      <a:lnTo>
                        <a:pt x="74285" y="117030"/>
                      </a:lnTo>
                      <a:lnTo>
                        <a:pt x="73535" y="116541"/>
                      </a:lnTo>
                      <a:lnTo>
                        <a:pt x="70446" y="115449"/>
                      </a:lnTo>
                      <a:lnTo>
                        <a:pt x="67618" y="115034"/>
                      </a:lnTo>
                      <a:lnTo>
                        <a:pt x="67031" y="115775"/>
                      </a:lnTo>
                      <a:lnTo>
                        <a:pt x="67374" y="118114"/>
                      </a:lnTo>
                      <a:lnTo>
                        <a:pt x="67993" y="120396"/>
                      </a:lnTo>
                      <a:lnTo>
                        <a:pt x="67635" y="121366"/>
                      </a:lnTo>
                      <a:lnTo>
                        <a:pt x="66086" y="122564"/>
                      </a:lnTo>
                      <a:lnTo>
                        <a:pt x="64032" y="124732"/>
                      </a:lnTo>
                      <a:lnTo>
                        <a:pt x="62785" y="126419"/>
                      </a:lnTo>
                      <a:lnTo>
                        <a:pt x="61913" y="126826"/>
                      </a:lnTo>
                      <a:lnTo>
                        <a:pt x="58784" y="126753"/>
                      </a:lnTo>
                      <a:lnTo>
                        <a:pt x="55679" y="126973"/>
                      </a:lnTo>
                      <a:lnTo>
                        <a:pt x="54432" y="128554"/>
                      </a:lnTo>
                      <a:lnTo>
                        <a:pt x="53267" y="129793"/>
                      </a:lnTo>
                      <a:lnTo>
                        <a:pt x="52264" y="130135"/>
                      </a:lnTo>
                      <a:lnTo>
                        <a:pt x="48189" y="126207"/>
                      </a:lnTo>
                      <a:lnTo>
                        <a:pt x="40121" y="124838"/>
                      </a:lnTo>
                      <a:lnTo>
                        <a:pt x="39249" y="123110"/>
                      </a:lnTo>
                      <a:lnTo>
                        <a:pt x="38475" y="122768"/>
                      </a:lnTo>
                      <a:lnTo>
                        <a:pt x="37733" y="125017"/>
                      </a:lnTo>
                      <a:lnTo>
                        <a:pt x="33300" y="127185"/>
                      </a:lnTo>
                      <a:lnTo>
                        <a:pt x="31441" y="125873"/>
                      </a:lnTo>
                      <a:lnTo>
                        <a:pt x="30080" y="124292"/>
                      </a:lnTo>
                      <a:lnTo>
                        <a:pt x="30276" y="122360"/>
                      </a:lnTo>
                      <a:lnTo>
                        <a:pt x="31556" y="120779"/>
                      </a:lnTo>
                      <a:lnTo>
                        <a:pt x="33764" y="119646"/>
                      </a:lnTo>
                      <a:lnTo>
                        <a:pt x="34775" y="115677"/>
                      </a:lnTo>
                      <a:lnTo>
                        <a:pt x="33104" y="110584"/>
                      </a:lnTo>
                      <a:lnTo>
                        <a:pt x="31629" y="109101"/>
                      </a:lnTo>
                      <a:lnTo>
                        <a:pt x="30089" y="107927"/>
                      </a:lnTo>
                      <a:lnTo>
                        <a:pt x="28459" y="109818"/>
                      </a:lnTo>
                      <a:lnTo>
                        <a:pt x="27082" y="113061"/>
                      </a:lnTo>
                      <a:lnTo>
                        <a:pt x="25647" y="114732"/>
                      </a:lnTo>
                      <a:lnTo>
                        <a:pt x="23634" y="115099"/>
                      </a:lnTo>
                      <a:lnTo>
                        <a:pt x="20668" y="114960"/>
                      </a:lnTo>
                      <a:lnTo>
                        <a:pt x="19519" y="110119"/>
                      </a:lnTo>
                      <a:lnTo>
                        <a:pt x="19144" y="105971"/>
                      </a:lnTo>
                      <a:lnTo>
                        <a:pt x="19543" y="101236"/>
                      </a:lnTo>
                      <a:lnTo>
                        <a:pt x="19999" y="98424"/>
                      </a:lnTo>
                      <a:lnTo>
                        <a:pt x="17139" y="94553"/>
                      </a:lnTo>
                      <a:lnTo>
                        <a:pt x="16984" y="90862"/>
                      </a:lnTo>
                      <a:lnTo>
                        <a:pt x="15599" y="88954"/>
                      </a:lnTo>
                      <a:lnTo>
                        <a:pt x="15191" y="89916"/>
                      </a:lnTo>
                      <a:lnTo>
                        <a:pt x="15232" y="90975"/>
                      </a:lnTo>
                      <a:lnTo>
                        <a:pt x="14841" y="90209"/>
                      </a:lnTo>
                      <a:lnTo>
                        <a:pt x="10334" y="79379"/>
                      </a:lnTo>
                      <a:lnTo>
                        <a:pt x="9584" y="74358"/>
                      </a:lnTo>
                      <a:lnTo>
                        <a:pt x="10358" y="70487"/>
                      </a:lnTo>
                      <a:lnTo>
                        <a:pt x="10814" y="69191"/>
                      </a:lnTo>
                      <a:lnTo>
                        <a:pt x="9519" y="67154"/>
                      </a:lnTo>
                      <a:lnTo>
                        <a:pt x="7685" y="64839"/>
                      </a:lnTo>
                      <a:lnTo>
                        <a:pt x="4466" y="61808"/>
                      </a:lnTo>
                      <a:lnTo>
                        <a:pt x="4246" y="57007"/>
                      </a:lnTo>
                      <a:lnTo>
                        <a:pt x="3512" y="51351"/>
                      </a:lnTo>
                      <a:lnTo>
                        <a:pt x="2551" y="49445"/>
                      </a:lnTo>
                      <a:lnTo>
                        <a:pt x="1060" y="45956"/>
                      </a:lnTo>
                      <a:lnTo>
                        <a:pt x="261" y="43063"/>
                      </a:lnTo>
                      <a:lnTo>
                        <a:pt x="0" y="35419"/>
                      </a:lnTo>
                      <a:lnTo>
                        <a:pt x="407" y="34807"/>
                      </a:lnTo>
                      <a:lnTo>
                        <a:pt x="2690" y="34588"/>
                      </a:lnTo>
                      <a:lnTo>
                        <a:pt x="5623" y="34033"/>
                      </a:lnTo>
                      <a:lnTo>
                        <a:pt x="6096" y="32795"/>
                      </a:lnTo>
                      <a:lnTo>
                        <a:pt x="5575" y="31776"/>
                      </a:lnTo>
                      <a:lnTo>
                        <a:pt x="7449" y="30040"/>
                      </a:lnTo>
                      <a:lnTo>
                        <a:pt x="10138" y="26250"/>
                      </a:lnTo>
                      <a:lnTo>
                        <a:pt x="12225" y="22281"/>
                      </a:lnTo>
                      <a:lnTo>
                        <a:pt x="13732" y="19779"/>
                      </a:lnTo>
                      <a:lnTo>
                        <a:pt x="14621" y="17286"/>
                      </a:lnTo>
                      <a:lnTo>
                        <a:pt x="17636" y="13765"/>
                      </a:lnTo>
                      <a:lnTo>
                        <a:pt x="21817" y="11336"/>
                      </a:lnTo>
                      <a:lnTo>
                        <a:pt x="24653" y="10766"/>
                      </a:lnTo>
                      <a:lnTo>
                        <a:pt x="27595" y="9934"/>
                      </a:lnTo>
                      <a:lnTo>
                        <a:pt x="30431" y="8753"/>
                      </a:lnTo>
                      <a:lnTo>
                        <a:pt x="31751" y="8639"/>
                      </a:lnTo>
                      <a:lnTo>
                        <a:pt x="35272" y="10073"/>
                      </a:lnTo>
                      <a:lnTo>
                        <a:pt x="37171" y="10432"/>
                      </a:lnTo>
                      <a:lnTo>
                        <a:pt x="39159" y="10407"/>
                      </a:lnTo>
                      <a:lnTo>
                        <a:pt x="41221" y="10562"/>
                      </a:lnTo>
                      <a:lnTo>
                        <a:pt x="43014" y="10407"/>
                      </a:lnTo>
                      <a:lnTo>
                        <a:pt x="47317" y="9413"/>
                      </a:lnTo>
                      <a:lnTo>
                        <a:pt x="51889" y="10204"/>
                      </a:lnTo>
                      <a:lnTo>
                        <a:pt x="55956" y="9576"/>
                      </a:lnTo>
                      <a:lnTo>
                        <a:pt x="61001" y="8427"/>
                      </a:lnTo>
                      <a:lnTo>
                        <a:pt x="63470" y="9152"/>
                      </a:lnTo>
                      <a:lnTo>
                        <a:pt x="65728" y="10301"/>
                      </a:lnTo>
                      <a:lnTo>
                        <a:pt x="66037" y="12632"/>
                      </a:lnTo>
                      <a:lnTo>
                        <a:pt x="66559" y="13700"/>
                      </a:lnTo>
                      <a:lnTo>
                        <a:pt x="67308" y="14523"/>
                      </a:lnTo>
                      <a:lnTo>
                        <a:pt x="68311" y="14523"/>
                      </a:lnTo>
                      <a:lnTo>
                        <a:pt x="69599" y="12893"/>
                      </a:lnTo>
                      <a:lnTo>
                        <a:pt x="70658" y="11222"/>
                      </a:lnTo>
                      <a:lnTo>
                        <a:pt x="71017" y="10913"/>
                      </a:lnTo>
                      <a:lnTo>
                        <a:pt x="71082" y="11736"/>
                      </a:lnTo>
                      <a:lnTo>
                        <a:pt x="71604" y="13553"/>
                      </a:lnTo>
                      <a:lnTo>
                        <a:pt x="72565" y="15346"/>
                      </a:lnTo>
                      <a:lnTo>
                        <a:pt x="73535" y="16536"/>
                      </a:lnTo>
                      <a:lnTo>
                        <a:pt x="75149" y="18117"/>
                      </a:lnTo>
                      <a:lnTo>
                        <a:pt x="76200" y="18190"/>
                      </a:lnTo>
                      <a:lnTo>
                        <a:pt x="79647" y="16699"/>
                      </a:lnTo>
                      <a:lnTo>
                        <a:pt x="84823" y="18858"/>
                      </a:lnTo>
                      <a:lnTo>
                        <a:pt x="85417" y="19951"/>
                      </a:lnTo>
                      <a:lnTo>
                        <a:pt x="87088" y="22159"/>
                      </a:lnTo>
                      <a:lnTo>
                        <a:pt x="88905" y="23740"/>
                      </a:lnTo>
                      <a:lnTo>
                        <a:pt x="92932" y="23838"/>
                      </a:lnTo>
                      <a:lnTo>
                        <a:pt x="94366" y="19951"/>
                      </a:lnTo>
                      <a:lnTo>
                        <a:pt x="93665" y="17579"/>
                      </a:lnTo>
                      <a:lnTo>
                        <a:pt x="91375" y="13447"/>
                      </a:lnTo>
                      <a:lnTo>
                        <a:pt x="90755" y="11019"/>
                      </a:lnTo>
                      <a:lnTo>
                        <a:pt x="91481" y="10587"/>
                      </a:lnTo>
                      <a:lnTo>
                        <a:pt x="95376" y="10122"/>
                      </a:lnTo>
                      <a:lnTo>
                        <a:pt x="96004" y="9641"/>
                      </a:lnTo>
                      <a:lnTo>
                        <a:pt x="96868" y="6960"/>
                      </a:lnTo>
                      <a:lnTo>
                        <a:pt x="97919" y="7270"/>
                      </a:lnTo>
                      <a:lnTo>
                        <a:pt x="100078" y="7612"/>
                      </a:lnTo>
                      <a:lnTo>
                        <a:pt x="102369" y="5770"/>
                      </a:lnTo>
                      <a:lnTo>
                        <a:pt x="103705" y="3847"/>
                      </a:lnTo>
                      <a:lnTo>
                        <a:pt x="104455" y="4727"/>
                      </a:lnTo>
                      <a:lnTo>
                        <a:pt x="105262" y="6072"/>
                      </a:lnTo>
                      <a:lnTo>
                        <a:pt x="106142" y="6862"/>
                      </a:lnTo>
                      <a:lnTo>
                        <a:pt x="107780" y="8019"/>
                      </a:lnTo>
                      <a:lnTo>
                        <a:pt x="109590" y="9649"/>
                      </a:lnTo>
                      <a:lnTo>
                        <a:pt x="110714" y="11255"/>
                      </a:lnTo>
                      <a:lnTo>
                        <a:pt x="111619" y="11874"/>
                      </a:lnTo>
                      <a:lnTo>
                        <a:pt x="113925" y="11418"/>
                      </a:lnTo>
                      <a:lnTo>
                        <a:pt x="114536" y="11483"/>
                      </a:lnTo>
                      <a:lnTo>
                        <a:pt x="115889" y="9551"/>
                      </a:lnTo>
                      <a:lnTo>
                        <a:pt x="116827" y="8500"/>
                      </a:lnTo>
                      <a:lnTo>
                        <a:pt x="117625" y="8802"/>
                      </a:lnTo>
                      <a:lnTo>
                        <a:pt x="118790" y="8777"/>
                      </a:lnTo>
                      <a:lnTo>
                        <a:pt x="121211" y="6308"/>
                      </a:lnTo>
                      <a:lnTo>
                        <a:pt x="122588" y="4050"/>
                      </a:lnTo>
                      <a:lnTo>
                        <a:pt x="123346" y="3431"/>
                      </a:lnTo>
                      <a:lnTo>
                        <a:pt x="125514" y="4556"/>
                      </a:lnTo>
                      <a:lnTo>
                        <a:pt x="126370" y="4328"/>
                      </a:lnTo>
                      <a:lnTo>
                        <a:pt x="127617" y="1223"/>
                      </a:lnTo>
                      <a:lnTo>
                        <a:pt x="128970" y="0"/>
                      </a:lnTo>
                      <a:lnTo>
                        <a:pt x="129361" y="1695"/>
                      </a:lnTo>
                      <a:close/>
                    </a:path>
                  </a:pathLst>
                </a:custGeom>
                <a:solidFill>
                  <a:srgbClr val="D6D6D2"/>
                </a:solidFill>
                <a:ln w="6112" cap="rnd">
                  <a:solidFill>
                    <a:srgbClr val="FFFFFF"/>
                  </a:solidFill>
                  <a:prstDash val="solid"/>
                  <a:round/>
                </a:ln>
              </p:spPr>
              <p:txBody>
                <a:bodyPr rtlCol="0" anchor="ctr"/>
                <a:lstStyle/>
                <a:p>
                  <a:endParaRPr lang="en-US"/>
                </a:p>
              </p:txBody>
            </p:sp>
            <p:sp>
              <p:nvSpPr>
                <p:cNvPr id="699" name="Freeform: Shape 698">
                  <a:extLst>
                    <a:ext uri="{FF2B5EF4-FFF2-40B4-BE49-F238E27FC236}">
                      <a16:creationId xmlns:a16="http://schemas.microsoft.com/office/drawing/2014/main" id="{466C84F2-C310-4313-919F-C5F958011B6F}"/>
                    </a:ext>
                  </a:extLst>
                </p:cNvPr>
                <p:cNvSpPr/>
                <p:nvPr/>
              </p:nvSpPr>
              <p:spPr>
                <a:xfrm>
                  <a:off x="7660699" y="3164795"/>
                  <a:ext cx="273219" cy="137811"/>
                </a:xfrm>
                <a:custGeom>
                  <a:avLst/>
                  <a:gdLst>
                    <a:gd name="connsiteX0" fmla="*/ 272299 w 273219"/>
                    <a:gd name="connsiteY0" fmla="*/ 36234 h 137811"/>
                    <a:gd name="connsiteX1" fmla="*/ 272796 w 273219"/>
                    <a:gd name="connsiteY1" fmla="*/ 38304 h 137811"/>
                    <a:gd name="connsiteX2" fmla="*/ 273220 w 273219"/>
                    <a:gd name="connsiteY2" fmla="*/ 40708 h 137811"/>
                    <a:gd name="connsiteX3" fmla="*/ 272951 w 273219"/>
                    <a:gd name="connsiteY3" fmla="*/ 41270 h 137811"/>
                    <a:gd name="connsiteX4" fmla="*/ 272478 w 273219"/>
                    <a:gd name="connsiteY4" fmla="*/ 41645 h 137811"/>
                    <a:gd name="connsiteX5" fmla="*/ 264866 w 273219"/>
                    <a:gd name="connsiteY5" fmla="*/ 42248 h 137811"/>
                    <a:gd name="connsiteX6" fmla="*/ 263147 w 273219"/>
                    <a:gd name="connsiteY6" fmla="*/ 42908 h 137811"/>
                    <a:gd name="connsiteX7" fmla="*/ 261305 w 273219"/>
                    <a:gd name="connsiteY7" fmla="*/ 46242 h 137811"/>
                    <a:gd name="connsiteX8" fmla="*/ 254801 w 273219"/>
                    <a:gd name="connsiteY8" fmla="*/ 48915 h 137811"/>
                    <a:gd name="connsiteX9" fmla="*/ 251093 w 273219"/>
                    <a:gd name="connsiteY9" fmla="*/ 50284 h 137811"/>
                    <a:gd name="connsiteX10" fmla="*/ 249577 w 273219"/>
                    <a:gd name="connsiteY10" fmla="*/ 50227 h 137811"/>
                    <a:gd name="connsiteX11" fmla="*/ 245983 w 273219"/>
                    <a:gd name="connsiteY11" fmla="*/ 52411 h 137811"/>
                    <a:gd name="connsiteX12" fmla="*/ 235910 w 273219"/>
                    <a:gd name="connsiteY12" fmla="*/ 57863 h 137811"/>
                    <a:gd name="connsiteX13" fmla="*/ 230980 w 273219"/>
                    <a:gd name="connsiteY13" fmla="*/ 61302 h 137811"/>
                    <a:gd name="connsiteX14" fmla="*/ 228486 w 273219"/>
                    <a:gd name="connsiteY14" fmla="*/ 62737 h 137811"/>
                    <a:gd name="connsiteX15" fmla="*/ 226489 w 273219"/>
                    <a:gd name="connsiteY15" fmla="*/ 64310 h 137811"/>
                    <a:gd name="connsiteX16" fmla="*/ 226155 w 273219"/>
                    <a:gd name="connsiteY16" fmla="*/ 65899 h 137811"/>
                    <a:gd name="connsiteX17" fmla="*/ 226098 w 273219"/>
                    <a:gd name="connsiteY17" fmla="*/ 67398 h 137811"/>
                    <a:gd name="connsiteX18" fmla="*/ 220564 w 273219"/>
                    <a:gd name="connsiteY18" fmla="*/ 74432 h 137811"/>
                    <a:gd name="connsiteX19" fmla="*/ 216416 w 273219"/>
                    <a:gd name="connsiteY19" fmla="*/ 75279 h 137811"/>
                    <a:gd name="connsiteX20" fmla="*/ 212920 w 273219"/>
                    <a:gd name="connsiteY20" fmla="*/ 75108 h 137811"/>
                    <a:gd name="connsiteX21" fmla="*/ 210540 w 273219"/>
                    <a:gd name="connsiteY21" fmla="*/ 76176 h 137811"/>
                    <a:gd name="connsiteX22" fmla="*/ 207125 w 273219"/>
                    <a:gd name="connsiteY22" fmla="*/ 77251 h 137811"/>
                    <a:gd name="connsiteX23" fmla="*/ 199734 w 273219"/>
                    <a:gd name="connsiteY23" fmla="*/ 76518 h 137811"/>
                    <a:gd name="connsiteX24" fmla="*/ 197207 w 273219"/>
                    <a:gd name="connsiteY24" fmla="*/ 76648 h 137811"/>
                    <a:gd name="connsiteX25" fmla="*/ 192358 w 273219"/>
                    <a:gd name="connsiteY25" fmla="*/ 75679 h 137811"/>
                    <a:gd name="connsiteX26" fmla="*/ 190402 w 273219"/>
                    <a:gd name="connsiteY26" fmla="*/ 76184 h 137811"/>
                    <a:gd name="connsiteX27" fmla="*/ 188324 w 273219"/>
                    <a:gd name="connsiteY27" fmla="*/ 77610 h 137811"/>
                    <a:gd name="connsiteX28" fmla="*/ 185455 w 273219"/>
                    <a:gd name="connsiteY28" fmla="*/ 83209 h 137811"/>
                    <a:gd name="connsiteX29" fmla="*/ 184282 w 273219"/>
                    <a:gd name="connsiteY29" fmla="*/ 84521 h 137811"/>
                    <a:gd name="connsiteX30" fmla="*/ 183752 w 273219"/>
                    <a:gd name="connsiteY30" fmla="*/ 85800 h 137811"/>
                    <a:gd name="connsiteX31" fmla="*/ 183312 w 273219"/>
                    <a:gd name="connsiteY31" fmla="*/ 88514 h 137811"/>
                    <a:gd name="connsiteX32" fmla="*/ 182220 w 273219"/>
                    <a:gd name="connsiteY32" fmla="*/ 91391 h 137811"/>
                    <a:gd name="connsiteX33" fmla="*/ 180802 w 273219"/>
                    <a:gd name="connsiteY33" fmla="*/ 93657 h 137811"/>
                    <a:gd name="connsiteX34" fmla="*/ 179791 w 273219"/>
                    <a:gd name="connsiteY34" fmla="*/ 95759 h 137811"/>
                    <a:gd name="connsiteX35" fmla="*/ 177713 w 273219"/>
                    <a:gd name="connsiteY35" fmla="*/ 97789 h 137811"/>
                    <a:gd name="connsiteX36" fmla="*/ 175781 w 273219"/>
                    <a:gd name="connsiteY36" fmla="*/ 99068 h 137811"/>
                    <a:gd name="connsiteX37" fmla="*/ 174282 w 273219"/>
                    <a:gd name="connsiteY37" fmla="*/ 96395 h 137811"/>
                    <a:gd name="connsiteX38" fmla="*/ 172994 w 273219"/>
                    <a:gd name="connsiteY38" fmla="*/ 97153 h 137811"/>
                    <a:gd name="connsiteX39" fmla="*/ 171772 w 273219"/>
                    <a:gd name="connsiteY39" fmla="*/ 98237 h 137811"/>
                    <a:gd name="connsiteX40" fmla="*/ 169425 w 273219"/>
                    <a:gd name="connsiteY40" fmla="*/ 97862 h 137811"/>
                    <a:gd name="connsiteX41" fmla="*/ 167990 w 273219"/>
                    <a:gd name="connsiteY41" fmla="*/ 98408 h 137811"/>
                    <a:gd name="connsiteX42" fmla="*/ 164714 w 273219"/>
                    <a:gd name="connsiteY42" fmla="*/ 100731 h 137811"/>
                    <a:gd name="connsiteX43" fmla="*/ 159873 w 273219"/>
                    <a:gd name="connsiteY43" fmla="*/ 100633 h 137811"/>
                    <a:gd name="connsiteX44" fmla="*/ 159352 w 273219"/>
                    <a:gd name="connsiteY44" fmla="*/ 99842 h 137811"/>
                    <a:gd name="connsiteX45" fmla="*/ 158398 w 273219"/>
                    <a:gd name="connsiteY45" fmla="*/ 93469 h 137811"/>
                    <a:gd name="connsiteX46" fmla="*/ 157559 w 273219"/>
                    <a:gd name="connsiteY46" fmla="*/ 90454 h 137811"/>
                    <a:gd name="connsiteX47" fmla="*/ 156858 w 273219"/>
                    <a:gd name="connsiteY47" fmla="*/ 89778 h 137811"/>
                    <a:gd name="connsiteX48" fmla="*/ 156010 w 273219"/>
                    <a:gd name="connsiteY48" fmla="*/ 89696 h 137811"/>
                    <a:gd name="connsiteX49" fmla="*/ 149066 w 273219"/>
                    <a:gd name="connsiteY49" fmla="*/ 94708 h 137811"/>
                    <a:gd name="connsiteX50" fmla="*/ 145839 w 273219"/>
                    <a:gd name="connsiteY50" fmla="*/ 95596 h 137811"/>
                    <a:gd name="connsiteX51" fmla="*/ 143191 w 273219"/>
                    <a:gd name="connsiteY51" fmla="*/ 95759 h 137811"/>
                    <a:gd name="connsiteX52" fmla="*/ 139743 w 273219"/>
                    <a:gd name="connsiteY52" fmla="*/ 94260 h 137811"/>
                    <a:gd name="connsiteX53" fmla="*/ 138985 w 273219"/>
                    <a:gd name="connsiteY53" fmla="*/ 94635 h 137811"/>
                    <a:gd name="connsiteX54" fmla="*/ 138399 w 273219"/>
                    <a:gd name="connsiteY54" fmla="*/ 95442 h 137811"/>
                    <a:gd name="connsiteX55" fmla="*/ 138154 w 273219"/>
                    <a:gd name="connsiteY55" fmla="*/ 96468 h 137811"/>
                    <a:gd name="connsiteX56" fmla="*/ 139156 w 273219"/>
                    <a:gd name="connsiteY56" fmla="*/ 99313 h 137811"/>
                    <a:gd name="connsiteX57" fmla="*/ 138871 w 273219"/>
                    <a:gd name="connsiteY57" fmla="*/ 99875 h 137811"/>
                    <a:gd name="connsiteX58" fmla="*/ 137323 w 273219"/>
                    <a:gd name="connsiteY58" fmla="*/ 99826 h 137811"/>
                    <a:gd name="connsiteX59" fmla="*/ 135147 w 273219"/>
                    <a:gd name="connsiteY59" fmla="*/ 100486 h 137811"/>
                    <a:gd name="connsiteX60" fmla="*/ 133493 w 273219"/>
                    <a:gd name="connsiteY60" fmla="*/ 101790 h 137811"/>
                    <a:gd name="connsiteX61" fmla="*/ 128497 w 273219"/>
                    <a:gd name="connsiteY61" fmla="*/ 106370 h 137811"/>
                    <a:gd name="connsiteX62" fmla="*/ 124299 w 273219"/>
                    <a:gd name="connsiteY62" fmla="*/ 107903 h 137811"/>
                    <a:gd name="connsiteX63" fmla="*/ 120396 w 273219"/>
                    <a:gd name="connsiteY63" fmla="*/ 108497 h 137811"/>
                    <a:gd name="connsiteX64" fmla="*/ 118798 w 273219"/>
                    <a:gd name="connsiteY64" fmla="*/ 109003 h 137811"/>
                    <a:gd name="connsiteX65" fmla="*/ 118073 w 273219"/>
                    <a:gd name="connsiteY65" fmla="*/ 109557 h 137811"/>
                    <a:gd name="connsiteX66" fmla="*/ 116769 w 273219"/>
                    <a:gd name="connsiteY66" fmla="*/ 111733 h 137811"/>
                    <a:gd name="connsiteX67" fmla="*/ 115424 w 273219"/>
                    <a:gd name="connsiteY67" fmla="*/ 115148 h 137811"/>
                    <a:gd name="connsiteX68" fmla="*/ 114724 w 273219"/>
                    <a:gd name="connsiteY68" fmla="*/ 116818 h 137811"/>
                    <a:gd name="connsiteX69" fmla="*/ 114202 w 273219"/>
                    <a:gd name="connsiteY69" fmla="*/ 117780 h 137811"/>
                    <a:gd name="connsiteX70" fmla="*/ 114324 w 273219"/>
                    <a:gd name="connsiteY70" fmla="*/ 119043 h 137811"/>
                    <a:gd name="connsiteX71" fmla="*/ 115376 w 273219"/>
                    <a:gd name="connsiteY71" fmla="*/ 120681 h 137811"/>
                    <a:gd name="connsiteX72" fmla="*/ 116174 w 273219"/>
                    <a:gd name="connsiteY72" fmla="*/ 124332 h 137811"/>
                    <a:gd name="connsiteX73" fmla="*/ 116003 w 273219"/>
                    <a:gd name="connsiteY73" fmla="*/ 125278 h 137811"/>
                    <a:gd name="connsiteX74" fmla="*/ 115147 w 273219"/>
                    <a:gd name="connsiteY74" fmla="*/ 126810 h 137811"/>
                    <a:gd name="connsiteX75" fmla="*/ 113917 w 273219"/>
                    <a:gd name="connsiteY75" fmla="*/ 128309 h 137811"/>
                    <a:gd name="connsiteX76" fmla="*/ 111252 w 273219"/>
                    <a:gd name="connsiteY76" fmla="*/ 129214 h 137811"/>
                    <a:gd name="connsiteX77" fmla="*/ 109174 w 273219"/>
                    <a:gd name="connsiteY77" fmla="*/ 129662 h 137811"/>
                    <a:gd name="connsiteX78" fmla="*/ 107780 w 273219"/>
                    <a:gd name="connsiteY78" fmla="*/ 129369 h 137811"/>
                    <a:gd name="connsiteX79" fmla="*/ 105172 w 273219"/>
                    <a:gd name="connsiteY79" fmla="*/ 129271 h 137811"/>
                    <a:gd name="connsiteX80" fmla="*/ 103127 w 273219"/>
                    <a:gd name="connsiteY80" fmla="*/ 129874 h 137811"/>
                    <a:gd name="connsiteX81" fmla="*/ 101847 w 273219"/>
                    <a:gd name="connsiteY81" fmla="*/ 130893 h 137811"/>
                    <a:gd name="connsiteX82" fmla="*/ 99329 w 273219"/>
                    <a:gd name="connsiteY82" fmla="*/ 132172 h 137811"/>
                    <a:gd name="connsiteX83" fmla="*/ 96215 w 273219"/>
                    <a:gd name="connsiteY83" fmla="*/ 132596 h 137811"/>
                    <a:gd name="connsiteX84" fmla="*/ 92255 w 273219"/>
                    <a:gd name="connsiteY84" fmla="*/ 132767 h 137811"/>
                    <a:gd name="connsiteX85" fmla="*/ 90356 w 273219"/>
                    <a:gd name="connsiteY85" fmla="*/ 132653 h 137811"/>
                    <a:gd name="connsiteX86" fmla="*/ 84586 w 273219"/>
                    <a:gd name="connsiteY86" fmla="*/ 131789 h 137811"/>
                    <a:gd name="connsiteX87" fmla="*/ 82687 w 273219"/>
                    <a:gd name="connsiteY87" fmla="*/ 132083 h 137811"/>
                    <a:gd name="connsiteX88" fmla="*/ 80870 w 273219"/>
                    <a:gd name="connsiteY88" fmla="*/ 132759 h 137811"/>
                    <a:gd name="connsiteX89" fmla="*/ 77585 w 273219"/>
                    <a:gd name="connsiteY89" fmla="*/ 133452 h 137811"/>
                    <a:gd name="connsiteX90" fmla="*/ 75833 w 273219"/>
                    <a:gd name="connsiteY90" fmla="*/ 135579 h 137811"/>
                    <a:gd name="connsiteX91" fmla="*/ 74904 w 273219"/>
                    <a:gd name="connsiteY91" fmla="*/ 137543 h 137811"/>
                    <a:gd name="connsiteX92" fmla="*/ 74407 w 273219"/>
                    <a:gd name="connsiteY92" fmla="*/ 137812 h 137811"/>
                    <a:gd name="connsiteX93" fmla="*/ 72361 w 273219"/>
                    <a:gd name="connsiteY93" fmla="*/ 136019 h 137811"/>
                    <a:gd name="connsiteX94" fmla="*/ 70797 w 273219"/>
                    <a:gd name="connsiteY94" fmla="*/ 134332 h 137811"/>
                    <a:gd name="connsiteX95" fmla="*/ 69770 w 273219"/>
                    <a:gd name="connsiteY95" fmla="*/ 132930 h 137811"/>
                    <a:gd name="connsiteX96" fmla="*/ 68490 w 273219"/>
                    <a:gd name="connsiteY96" fmla="*/ 132979 h 137811"/>
                    <a:gd name="connsiteX97" fmla="*/ 63910 w 273219"/>
                    <a:gd name="connsiteY97" fmla="*/ 135522 h 137811"/>
                    <a:gd name="connsiteX98" fmla="*/ 63226 w 273219"/>
                    <a:gd name="connsiteY98" fmla="*/ 135440 h 137811"/>
                    <a:gd name="connsiteX99" fmla="*/ 61913 w 273219"/>
                    <a:gd name="connsiteY99" fmla="*/ 134471 h 137811"/>
                    <a:gd name="connsiteX100" fmla="*/ 62150 w 273219"/>
                    <a:gd name="connsiteY100" fmla="*/ 132066 h 137811"/>
                    <a:gd name="connsiteX101" fmla="*/ 62068 w 273219"/>
                    <a:gd name="connsiteY101" fmla="*/ 130534 h 137811"/>
                    <a:gd name="connsiteX102" fmla="*/ 60593 w 273219"/>
                    <a:gd name="connsiteY102" fmla="*/ 129719 h 137811"/>
                    <a:gd name="connsiteX103" fmla="*/ 57456 w 273219"/>
                    <a:gd name="connsiteY103" fmla="*/ 129524 h 137811"/>
                    <a:gd name="connsiteX104" fmla="*/ 56388 w 273219"/>
                    <a:gd name="connsiteY104" fmla="*/ 128660 h 137811"/>
                    <a:gd name="connsiteX105" fmla="*/ 56461 w 273219"/>
                    <a:gd name="connsiteY105" fmla="*/ 127364 h 137811"/>
                    <a:gd name="connsiteX106" fmla="*/ 56730 w 273219"/>
                    <a:gd name="connsiteY106" fmla="*/ 126125 h 137811"/>
                    <a:gd name="connsiteX107" fmla="*/ 56380 w 273219"/>
                    <a:gd name="connsiteY107" fmla="*/ 125164 h 137811"/>
                    <a:gd name="connsiteX108" fmla="*/ 55565 w 273219"/>
                    <a:gd name="connsiteY108" fmla="*/ 124438 h 137811"/>
                    <a:gd name="connsiteX109" fmla="*/ 53935 w 273219"/>
                    <a:gd name="connsiteY109" fmla="*/ 124634 h 137811"/>
                    <a:gd name="connsiteX110" fmla="*/ 52052 w 273219"/>
                    <a:gd name="connsiteY110" fmla="*/ 125612 h 137811"/>
                    <a:gd name="connsiteX111" fmla="*/ 50675 w 273219"/>
                    <a:gd name="connsiteY111" fmla="*/ 126745 h 137811"/>
                    <a:gd name="connsiteX112" fmla="*/ 48931 w 273219"/>
                    <a:gd name="connsiteY112" fmla="*/ 127266 h 137811"/>
                    <a:gd name="connsiteX113" fmla="*/ 46837 w 273219"/>
                    <a:gd name="connsiteY113" fmla="*/ 127478 h 137811"/>
                    <a:gd name="connsiteX114" fmla="*/ 45516 w 273219"/>
                    <a:gd name="connsiteY114" fmla="*/ 128155 h 137811"/>
                    <a:gd name="connsiteX115" fmla="*/ 44025 w 273219"/>
                    <a:gd name="connsiteY115" fmla="*/ 130909 h 137811"/>
                    <a:gd name="connsiteX116" fmla="*/ 38923 w 273219"/>
                    <a:gd name="connsiteY116" fmla="*/ 131488 h 137811"/>
                    <a:gd name="connsiteX117" fmla="*/ 37285 w 273219"/>
                    <a:gd name="connsiteY117" fmla="*/ 130869 h 137811"/>
                    <a:gd name="connsiteX118" fmla="*/ 35932 w 273219"/>
                    <a:gd name="connsiteY118" fmla="*/ 128904 h 137811"/>
                    <a:gd name="connsiteX119" fmla="*/ 34172 w 273219"/>
                    <a:gd name="connsiteY119" fmla="*/ 125759 h 137811"/>
                    <a:gd name="connsiteX120" fmla="*/ 33185 w 273219"/>
                    <a:gd name="connsiteY120" fmla="*/ 125376 h 137811"/>
                    <a:gd name="connsiteX121" fmla="*/ 31531 w 273219"/>
                    <a:gd name="connsiteY121" fmla="*/ 124984 h 137811"/>
                    <a:gd name="connsiteX122" fmla="*/ 28833 w 273219"/>
                    <a:gd name="connsiteY122" fmla="*/ 125164 h 137811"/>
                    <a:gd name="connsiteX123" fmla="*/ 25182 w 273219"/>
                    <a:gd name="connsiteY123" fmla="*/ 126500 h 137811"/>
                    <a:gd name="connsiteX124" fmla="*/ 24294 w 273219"/>
                    <a:gd name="connsiteY124" fmla="*/ 125400 h 137811"/>
                    <a:gd name="connsiteX125" fmla="*/ 23349 w 273219"/>
                    <a:gd name="connsiteY125" fmla="*/ 125090 h 137811"/>
                    <a:gd name="connsiteX126" fmla="*/ 22501 w 273219"/>
                    <a:gd name="connsiteY126" fmla="*/ 125987 h 137811"/>
                    <a:gd name="connsiteX127" fmla="*/ 21629 w 273219"/>
                    <a:gd name="connsiteY127" fmla="*/ 125881 h 137811"/>
                    <a:gd name="connsiteX128" fmla="*/ 18019 w 273219"/>
                    <a:gd name="connsiteY128" fmla="*/ 126133 h 137811"/>
                    <a:gd name="connsiteX129" fmla="*/ 13463 w 273219"/>
                    <a:gd name="connsiteY129" fmla="*/ 126011 h 137811"/>
                    <a:gd name="connsiteX130" fmla="*/ 10855 w 273219"/>
                    <a:gd name="connsiteY130" fmla="*/ 125400 h 137811"/>
                    <a:gd name="connsiteX131" fmla="*/ 9168 w 273219"/>
                    <a:gd name="connsiteY131" fmla="*/ 125433 h 137811"/>
                    <a:gd name="connsiteX132" fmla="*/ 5810 w 273219"/>
                    <a:gd name="connsiteY132" fmla="*/ 126843 h 137811"/>
                    <a:gd name="connsiteX133" fmla="*/ 4026 w 273219"/>
                    <a:gd name="connsiteY133" fmla="*/ 126826 h 137811"/>
                    <a:gd name="connsiteX134" fmla="*/ 1695 w 273219"/>
                    <a:gd name="connsiteY134" fmla="*/ 127087 h 137811"/>
                    <a:gd name="connsiteX135" fmla="*/ 1263 w 273219"/>
                    <a:gd name="connsiteY135" fmla="*/ 122319 h 137811"/>
                    <a:gd name="connsiteX136" fmla="*/ 0 w 273219"/>
                    <a:gd name="connsiteY136" fmla="*/ 119092 h 137811"/>
                    <a:gd name="connsiteX137" fmla="*/ 383 w 273219"/>
                    <a:gd name="connsiteY137" fmla="*/ 116859 h 137811"/>
                    <a:gd name="connsiteX138" fmla="*/ 1231 w 273219"/>
                    <a:gd name="connsiteY138" fmla="*/ 113795 h 137811"/>
                    <a:gd name="connsiteX139" fmla="*/ 1931 w 273219"/>
                    <a:gd name="connsiteY139" fmla="*/ 112075 h 137811"/>
                    <a:gd name="connsiteX140" fmla="*/ 3382 w 273219"/>
                    <a:gd name="connsiteY140" fmla="*/ 112800 h 137811"/>
                    <a:gd name="connsiteX141" fmla="*/ 5036 w 273219"/>
                    <a:gd name="connsiteY141" fmla="*/ 114064 h 137811"/>
                    <a:gd name="connsiteX142" fmla="*/ 6128 w 273219"/>
                    <a:gd name="connsiteY142" fmla="*/ 113721 h 137811"/>
                    <a:gd name="connsiteX143" fmla="*/ 6414 w 273219"/>
                    <a:gd name="connsiteY143" fmla="*/ 112686 h 137811"/>
                    <a:gd name="connsiteX144" fmla="*/ 5998 w 273219"/>
                    <a:gd name="connsiteY144" fmla="*/ 111325 h 137811"/>
                    <a:gd name="connsiteX145" fmla="*/ 5933 w 273219"/>
                    <a:gd name="connsiteY145" fmla="*/ 110307 h 137811"/>
                    <a:gd name="connsiteX146" fmla="*/ 6552 w 273219"/>
                    <a:gd name="connsiteY146" fmla="*/ 108954 h 137811"/>
                    <a:gd name="connsiteX147" fmla="*/ 7457 w 273219"/>
                    <a:gd name="connsiteY147" fmla="*/ 107707 h 137811"/>
                    <a:gd name="connsiteX148" fmla="*/ 13292 w 273219"/>
                    <a:gd name="connsiteY148" fmla="*/ 105645 h 137811"/>
                    <a:gd name="connsiteX149" fmla="*/ 18280 w 273219"/>
                    <a:gd name="connsiteY149" fmla="*/ 104145 h 137811"/>
                    <a:gd name="connsiteX150" fmla="*/ 20880 w 273219"/>
                    <a:gd name="connsiteY150" fmla="*/ 105148 h 137811"/>
                    <a:gd name="connsiteX151" fmla="*/ 25908 w 273219"/>
                    <a:gd name="connsiteY151" fmla="*/ 107454 h 137811"/>
                    <a:gd name="connsiteX152" fmla="*/ 28500 w 273219"/>
                    <a:gd name="connsiteY152" fmla="*/ 108644 h 137811"/>
                    <a:gd name="connsiteX153" fmla="*/ 30300 w 273219"/>
                    <a:gd name="connsiteY153" fmla="*/ 109345 h 137811"/>
                    <a:gd name="connsiteX154" fmla="*/ 31874 w 273219"/>
                    <a:gd name="connsiteY154" fmla="*/ 112711 h 137811"/>
                    <a:gd name="connsiteX155" fmla="*/ 32908 w 273219"/>
                    <a:gd name="connsiteY155" fmla="*/ 112556 h 137811"/>
                    <a:gd name="connsiteX156" fmla="*/ 33968 w 273219"/>
                    <a:gd name="connsiteY156" fmla="*/ 111880 h 137811"/>
                    <a:gd name="connsiteX157" fmla="*/ 34587 w 273219"/>
                    <a:gd name="connsiteY157" fmla="*/ 111048 h 137811"/>
                    <a:gd name="connsiteX158" fmla="*/ 35085 w 273219"/>
                    <a:gd name="connsiteY158" fmla="*/ 108188 h 137811"/>
                    <a:gd name="connsiteX159" fmla="*/ 37423 w 273219"/>
                    <a:gd name="connsiteY159" fmla="*/ 106566 h 137811"/>
                    <a:gd name="connsiteX160" fmla="*/ 42582 w 273219"/>
                    <a:gd name="connsiteY160" fmla="*/ 104651 h 137811"/>
                    <a:gd name="connsiteX161" fmla="*/ 42933 w 273219"/>
                    <a:gd name="connsiteY161" fmla="*/ 103526 h 137811"/>
                    <a:gd name="connsiteX162" fmla="*/ 42868 w 273219"/>
                    <a:gd name="connsiteY162" fmla="*/ 102907 h 137811"/>
                    <a:gd name="connsiteX163" fmla="*/ 43674 w 273219"/>
                    <a:gd name="connsiteY163" fmla="*/ 102369 h 137811"/>
                    <a:gd name="connsiteX164" fmla="*/ 46250 w 273219"/>
                    <a:gd name="connsiteY164" fmla="*/ 101815 h 137811"/>
                    <a:gd name="connsiteX165" fmla="*/ 51466 w 273219"/>
                    <a:gd name="connsiteY165" fmla="*/ 101285 h 137811"/>
                    <a:gd name="connsiteX166" fmla="*/ 53242 w 273219"/>
                    <a:gd name="connsiteY166" fmla="*/ 101676 h 137811"/>
                    <a:gd name="connsiteX167" fmla="*/ 55263 w 273219"/>
                    <a:gd name="connsiteY167" fmla="*/ 102809 h 137811"/>
                    <a:gd name="connsiteX168" fmla="*/ 56812 w 273219"/>
                    <a:gd name="connsiteY168" fmla="*/ 103925 h 137811"/>
                    <a:gd name="connsiteX169" fmla="*/ 58311 w 273219"/>
                    <a:gd name="connsiteY169" fmla="*/ 103885 h 137811"/>
                    <a:gd name="connsiteX170" fmla="*/ 59525 w 273219"/>
                    <a:gd name="connsiteY170" fmla="*/ 103657 h 137811"/>
                    <a:gd name="connsiteX171" fmla="*/ 60047 w 273219"/>
                    <a:gd name="connsiteY171" fmla="*/ 103966 h 137811"/>
                    <a:gd name="connsiteX172" fmla="*/ 60447 w 273219"/>
                    <a:gd name="connsiteY172" fmla="*/ 104961 h 137811"/>
                    <a:gd name="connsiteX173" fmla="*/ 61082 w 273219"/>
                    <a:gd name="connsiteY173" fmla="*/ 105857 h 137811"/>
                    <a:gd name="connsiteX174" fmla="*/ 63070 w 273219"/>
                    <a:gd name="connsiteY174" fmla="*/ 104643 h 137811"/>
                    <a:gd name="connsiteX175" fmla="*/ 64872 w 273219"/>
                    <a:gd name="connsiteY175" fmla="*/ 103070 h 137811"/>
                    <a:gd name="connsiteX176" fmla="*/ 66298 w 273219"/>
                    <a:gd name="connsiteY176" fmla="*/ 102841 h 137811"/>
                    <a:gd name="connsiteX177" fmla="*/ 67602 w 273219"/>
                    <a:gd name="connsiteY177" fmla="*/ 102247 h 137811"/>
                    <a:gd name="connsiteX178" fmla="*/ 67993 w 273219"/>
                    <a:gd name="connsiteY178" fmla="*/ 101203 h 137811"/>
                    <a:gd name="connsiteX179" fmla="*/ 69028 w 273219"/>
                    <a:gd name="connsiteY179" fmla="*/ 99459 h 137811"/>
                    <a:gd name="connsiteX180" fmla="*/ 71962 w 273219"/>
                    <a:gd name="connsiteY180" fmla="*/ 96134 h 137811"/>
                    <a:gd name="connsiteX181" fmla="*/ 73494 w 273219"/>
                    <a:gd name="connsiteY181" fmla="*/ 95596 h 137811"/>
                    <a:gd name="connsiteX182" fmla="*/ 74480 w 273219"/>
                    <a:gd name="connsiteY182" fmla="*/ 95596 h 137811"/>
                    <a:gd name="connsiteX183" fmla="*/ 74521 w 273219"/>
                    <a:gd name="connsiteY183" fmla="*/ 96134 h 137811"/>
                    <a:gd name="connsiteX184" fmla="*/ 75002 w 273219"/>
                    <a:gd name="connsiteY184" fmla="*/ 96623 h 137811"/>
                    <a:gd name="connsiteX185" fmla="*/ 77577 w 273219"/>
                    <a:gd name="connsiteY185" fmla="*/ 97397 h 137811"/>
                    <a:gd name="connsiteX186" fmla="*/ 78360 w 273219"/>
                    <a:gd name="connsiteY186" fmla="*/ 96526 h 137811"/>
                    <a:gd name="connsiteX187" fmla="*/ 78775 w 273219"/>
                    <a:gd name="connsiteY187" fmla="*/ 95311 h 137811"/>
                    <a:gd name="connsiteX188" fmla="*/ 77879 w 273219"/>
                    <a:gd name="connsiteY188" fmla="*/ 93388 h 137811"/>
                    <a:gd name="connsiteX189" fmla="*/ 77862 w 273219"/>
                    <a:gd name="connsiteY189" fmla="*/ 92573 h 137811"/>
                    <a:gd name="connsiteX190" fmla="*/ 78205 w 273219"/>
                    <a:gd name="connsiteY190" fmla="*/ 91839 h 137811"/>
                    <a:gd name="connsiteX191" fmla="*/ 78677 w 273219"/>
                    <a:gd name="connsiteY191" fmla="*/ 91399 h 137811"/>
                    <a:gd name="connsiteX192" fmla="*/ 82793 w 273219"/>
                    <a:gd name="connsiteY192" fmla="*/ 93225 h 137811"/>
                    <a:gd name="connsiteX193" fmla="*/ 83697 w 273219"/>
                    <a:gd name="connsiteY193" fmla="*/ 93184 h 137811"/>
                    <a:gd name="connsiteX194" fmla="*/ 85564 w 273219"/>
                    <a:gd name="connsiteY194" fmla="*/ 92165 h 137811"/>
                    <a:gd name="connsiteX195" fmla="*/ 87275 w 273219"/>
                    <a:gd name="connsiteY195" fmla="*/ 90356 h 137811"/>
                    <a:gd name="connsiteX196" fmla="*/ 87903 w 273219"/>
                    <a:gd name="connsiteY196" fmla="*/ 88938 h 137811"/>
                    <a:gd name="connsiteX197" fmla="*/ 96313 w 273219"/>
                    <a:gd name="connsiteY197" fmla="*/ 84317 h 137811"/>
                    <a:gd name="connsiteX198" fmla="*/ 96900 w 273219"/>
                    <a:gd name="connsiteY198" fmla="*/ 83478 h 137811"/>
                    <a:gd name="connsiteX199" fmla="*/ 96778 w 273219"/>
                    <a:gd name="connsiteY199" fmla="*/ 82866 h 137811"/>
                    <a:gd name="connsiteX200" fmla="*/ 93249 w 273219"/>
                    <a:gd name="connsiteY200" fmla="*/ 81791 h 137811"/>
                    <a:gd name="connsiteX201" fmla="*/ 91668 w 273219"/>
                    <a:gd name="connsiteY201" fmla="*/ 82394 h 137811"/>
                    <a:gd name="connsiteX202" fmla="*/ 90193 w 273219"/>
                    <a:gd name="connsiteY202" fmla="*/ 82394 h 137811"/>
                    <a:gd name="connsiteX203" fmla="*/ 89305 w 273219"/>
                    <a:gd name="connsiteY203" fmla="*/ 81717 h 137811"/>
                    <a:gd name="connsiteX204" fmla="*/ 85034 w 273219"/>
                    <a:gd name="connsiteY204" fmla="*/ 81457 h 137811"/>
                    <a:gd name="connsiteX205" fmla="*/ 84097 w 273219"/>
                    <a:gd name="connsiteY205" fmla="*/ 80984 h 137811"/>
                    <a:gd name="connsiteX206" fmla="*/ 81253 w 273219"/>
                    <a:gd name="connsiteY206" fmla="*/ 77643 h 137811"/>
                    <a:gd name="connsiteX207" fmla="*/ 79297 w 273219"/>
                    <a:gd name="connsiteY207" fmla="*/ 76363 h 137811"/>
                    <a:gd name="connsiteX208" fmla="*/ 77740 w 273219"/>
                    <a:gd name="connsiteY208" fmla="*/ 75532 h 137811"/>
                    <a:gd name="connsiteX209" fmla="*/ 76021 w 273219"/>
                    <a:gd name="connsiteY209" fmla="*/ 75646 h 137811"/>
                    <a:gd name="connsiteX210" fmla="*/ 73991 w 273219"/>
                    <a:gd name="connsiteY210" fmla="*/ 76526 h 137811"/>
                    <a:gd name="connsiteX211" fmla="*/ 73348 w 273219"/>
                    <a:gd name="connsiteY211" fmla="*/ 76127 h 137811"/>
                    <a:gd name="connsiteX212" fmla="*/ 73184 w 273219"/>
                    <a:gd name="connsiteY212" fmla="*/ 74733 h 137811"/>
                    <a:gd name="connsiteX213" fmla="*/ 73184 w 273219"/>
                    <a:gd name="connsiteY213" fmla="*/ 72973 h 137811"/>
                    <a:gd name="connsiteX214" fmla="*/ 72777 w 273219"/>
                    <a:gd name="connsiteY214" fmla="*/ 71090 h 137811"/>
                    <a:gd name="connsiteX215" fmla="*/ 71571 w 273219"/>
                    <a:gd name="connsiteY215" fmla="*/ 70650 h 137811"/>
                    <a:gd name="connsiteX216" fmla="*/ 70006 w 273219"/>
                    <a:gd name="connsiteY216" fmla="*/ 71392 h 137811"/>
                    <a:gd name="connsiteX217" fmla="*/ 67683 w 273219"/>
                    <a:gd name="connsiteY217" fmla="*/ 70626 h 137811"/>
                    <a:gd name="connsiteX218" fmla="*/ 65695 w 273219"/>
                    <a:gd name="connsiteY218" fmla="*/ 70357 h 137811"/>
                    <a:gd name="connsiteX219" fmla="*/ 65189 w 273219"/>
                    <a:gd name="connsiteY219" fmla="*/ 66380 h 137811"/>
                    <a:gd name="connsiteX220" fmla="*/ 64391 w 273219"/>
                    <a:gd name="connsiteY220" fmla="*/ 64685 h 137811"/>
                    <a:gd name="connsiteX221" fmla="*/ 63551 w 273219"/>
                    <a:gd name="connsiteY221" fmla="*/ 62900 h 137811"/>
                    <a:gd name="connsiteX222" fmla="*/ 62696 w 273219"/>
                    <a:gd name="connsiteY222" fmla="*/ 62394 h 137811"/>
                    <a:gd name="connsiteX223" fmla="*/ 61278 w 273219"/>
                    <a:gd name="connsiteY223" fmla="*/ 61506 h 137811"/>
                    <a:gd name="connsiteX224" fmla="*/ 61196 w 273219"/>
                    <a:gd name="connsiteY224" fmla="*/ 59395 h 137811"/>
                    <a:gd name="connsiteX225" fmla="*/ 60895 w 273219"/>
                    <a:gd name="connsiteY225" fmla="*/ 58792 h 137811"/>
                    <a:gd name="connsiteX226" fmla="*/ 60389 w 273219"/>
                    <a:gd name="connsiteY226" fmla="*/ 58515 h 137811"/>
                    <a:gd name="connsiteX227" fmla="*/ 59713 w 273219"/>
                    <a:gd name="connsiteY227" fmla="*/ 58751 h 137811"/>
                    <a:gd name="connsiteX228" fmla="*/ 58841 w 273219"/>
                    <a:gd name="connsiteY228" fmla="*/ 59803 h 137811"/>
                    <a:gd name="connsiteX229" fmla="*/ 59273 w 273219"/>
                    <a:gd name="connsiteY229" fmla="*/ 62125 h 137811"/>
                    <a:gd name="connsiteX230" fmla="*/ 58939 w 273219"/>
                    <a:gd name="connsiteY230" fmla="*/ 64456 h 137811"/>
                    <a:gd name="connsiteX231" fmla="*/ 58433 w 273219"/>
                    <a:gd name="connsiteY231" fmla="*/ 65622 h 137811"/>
                    <a:gd name="connsiteX232" fmla="*/ 57439 w 273219"/>
                    <a:gd name="connsiteY232" fmla="*/ 66477 h 137811"/>
                    <a:gd name="connsiteX233" fmla="*/ 56306 w 273219"/>
                    <a:gd name="connsiteY233" fmla="*/ 66502 h 137811"/>
                    <a:gd name="connsiteX234" fmla="*/ 54342 w 273219"/>
                    <a:gd name="connsiteY234" fmla="*/ 65320 h 137811"/>
                    <a:gd name="connsiteX235" fmla="*/ 54033 w 273219"/>
                    <a:gd name="connsiteY235" fmla="*/ 72353 h 137811"/>
                    <a:gd name="connsiteX236" fmla="*/ 53658 w 273219"/>
                    <a:gd name="connsiteY236" fmla="*/ 72785 h 137811"/>
                    <a:gd name="connsiteX237" fmla="*/ 51319 w 273219"/>
                    <a:gd name="connsiteY237" fmla="*/ 71791 h 137811"/>
                    <a:gd name="connsiteX238" fmla="*/ 49453 w 273219"/>
                    <a:gd name="connsiteY238" fmla="*/ 72223 h 137811"/>
                    <a:gd name="connsiteX239" fmla="*/ 46657 w 273219"/>
                    <a:gd name="connsiteY239" fmla="*/ 71791 h 137811"/>
                    <a:gd name="connsiteX240" fmla="*/ 44554 w 273219"/>
                    <a:gd name="connsiteY240" fmla="*/ 70634 h 137811"/>
                    <a:gd name="connsiteX241" fmla="*/ 42982 w 273219"/>
                    <a:gd name="connsiteY241" fmla="*/ 70308 h 137811"/>
                    <a:gd name="connsiteX242" fmla="*/ 40447 w 273219"/>
                    <a:gd name="connsiteY242" fmla="*/ 69314 h 137811"/>
                    <a:gd name="connsiteX243" fmla="*/ 38507 w 273219"/>
                    <a:gd name="connsiteY243" fmla="*/ 68034 h 137811"/>
                    <a:gd name="connsiteX244" fmla="*/ 37317 w 273219"/>
                    <a:gd name="connsiteY244" fmla="*/ 63315 h 137811"/>
                    <a:gd name="connsiteX245" fmla="*/ 36185 w 273219"/>
                    <a:gd name="connsiteY245" fmla="*/ 61620 h 137811"/>
                    <a:gd name="connsiteX246" fmla="*/ 35117 w 273219"/>
                    <a:gd name="connsiteY246" fmla="*/ 61262 h 137811"/>
                    <a:gd name="connsiteX247" fmla="*/ 30789 w 273219"/>
                    <a:gd name="connsiteY247" fmla="*/ 62900 h 137811"/>
                    <a:gd name="connsiteX248" fmla="*/ 29216 w 273219"/>
                    <a:gd name="connsiteY248" fmla="*/ 61636 h 137811"/>
                    <a:gd name="connsiteX249" fmla="*/ 26299 w 273219"/>
                    <a:gd name="connsiteY249" fmla="*/ 60015 h 137811"/>
                    <a:gd name="connsiteX250" fmla="*/ 24091 w 273219"/>
                    <a:gd name="connsiteY250" fmla="*/ 59412 h 137811"/>
                    <a:gd name="connsiteX251" fmla="*/ 23504 w 273219"/>
                    <a:gd name="connsiteY251" fmla="*/ 58540 h 137811"/>
                    <a:gd name="connsiteX252" fmla="*/ 23602 w 273219"/>
                    <a:gd name="connsiteY252" fmla="*/ 57464 h 137811"/>
                    <a:gd name="connsiteX253" fmla="*/ 30390 w 273219"/>
                    <a:gd name="connsiteY253" fmla="*/ 52199 h 137811"/>
                    <a:gd name="connsiteX254" fmla="*/ 33079 w 273219"/>
                    <a:gd name="connsiteY254" fmla="*/ 48564 h 137811"/>
                    <a:gd name="connsiteX255" fmla="*/ 34767 w 273219"/>
                    <a:gd name="connsiteY255" fmla="*/ 47032 h 137811"/>
                    <a:gd name="connsiteX256" fmla="*/ 37163 w 273219"/>
                    <a:gd name="connsiteY256" fmla="*/ 46013 h 137811"/>
                    <a:gd name="connsiteX257" fmla="*/ 39037 w 273219"/>
                    <a:gd name="connsiteY257" fmla="*/ 45410 h 137811"/>
                    <a:gd name="connsiteX258" fmla="*/ 39983 w 273219"/>
                    <a:gd name="connsiteY258" fmla="*/ 42077 h 137811"/>
                    <a:gd name="connsiteX259" fmla="*/ 40349 w 273219"/>
                    <a:gd name="connsiteY259" fmla="*/ 41694 h 137811"/>
                    <a:gd name="connsiteX260" fmla="*/ 41686 w 273219"/>
                    <a:gd name="connsiteY260" fmla="*/ 41450 h 137811"/>
                    <a:gd name="connsiteX261" fmla="*/ 44709 w 273219"/>
                    <a:gd name="connsiteY261" fmla="*/ 40089 h 137811"/>
                    <a:gd name="connsiteX262" fmla="*/ 49575 w 273219"/>
                    <a:gd name="connsiteY262" fmla="*/ 37163 h 137811"/>
                    <a:gd name="connsiteX263" fmla="*/ 49681 w 273219"/>
                    <a:gd name="connsiteY263" fmla="*/ 36356 h 137811"/>
                    <a:gd name="connsiteX264" fmla="*/ 49192 w 273219"/>
                    <a:gd name="connsiteY264" fmla="*/ 35663 h 137811"/>
                    <a:gd name="connsiteX265" fmla="*/ 47138 w 273219"/>
                    <a:gd name="connsiteY265" fmla="*/ 34164 h 137811"/>
                    <a:gd name="connsiteX266" fmla="*/ 44807 w 273219"/>
                    <a:gd name="connsiteY266" fmla="*/ 32974 h 137811"/>
                    <a:gd name="connsiteX267" fmla="*/ 43389 w 273219"/>
                    <a:gd name="connsiteY267" fmla="*/ 33593 h 137811"/>
                    <a:gd name="connsiteX268" fmla="*/ 42590 w 273219"/>
                    <a:gd name="connsiteY268" fmla="*/ 34213 h 137811"/>
                    <a:gd name="connsiteX269" fmla="*/ 41254 w 273219"/>
                    <a:gd name="connsiteY269" fmla="*/ 32672 h 137811"/>
                    <a:gd name="connsiteX270" fmla="*/ 41254 w 273219"/>
                    <a:gd name="connsiteY270" fmla="*/ 31083 h 137811"/>
                    <a:gd name="connsiteX271" fmla="*/ 42729 w 273219"/>
                    <a:gd name="connsiteY271" fmla="*/ 28345 h 137811"/>
                    <a:gd name="connsiteX272" fmla="*/ 43960 w 273219"/>
                    <a:gd name="connsiteY272" fmla="*/ 26984 h 137811"/>
                    <a:gd name="connsiteX273" fmla="*/ 44465 w 273219"/>
                    <a:gd name="connsiteY273" fmla="*/ 24351 h 137811"/>
                    <a:gd name="connsiteX274" fmla="*/ 46225 w 273219"/>
                    <a:gd name="connsiteY274" fmla="*/ 22591 h 137811"/>
                    <a:gd name="connsiteX275" fmla="*/ 48059 w 273219"/>
                    <a:gd name="connsiteY275" fmla="*/ 19796 h 137811"/>
                    <a:gd name="connsiteX276" fmla="*/ 50267 w 273219"/>
                    <a:gd name="connsiteY276" fmla="*/ 17514 h 137811"/>
                    <a:gd name="connsiteX277" fmla="*/ 54375 w 273219"/>
                    <a:gd name="connsiteY277" fmla="*/ 15802 h 137811"/>
                    <a:gd name="connsiteX278" fmla="*/ 56657 w 273219"/>
                    <a:gd name="connsiteY278" fmla="*/ 16357 h 137811"/>
                    <a:gd name="connsiteX279" fmla="*/ 58809 w 273219"/>
                    <a:gd name="connsiteY279" fmla="*/ 15957 h 137811"/>
                    <a:gd name="connsiteX280" fmla="*/ 62125 w 273219"/>
                    <a:gd name="connsiteY280" fmla="*/ 14564 h 137811"/>
                    <a:gd name="connsiteX281" fmla="*/ 62761 w 273219"/>
                    <a:gd name="connsiteY281" fmla="*/ 14474 h 137811"/>
                    <a:gd name="connsiteX282" fmla="*/ 64163 w 273219"/>
                    <a:gd name="connsiteY282" fmla="*/ 14450 h 137811"/>
                    <a:gd name="connsiteX283" fmla="*/ 72712 w 273219"/>
                    <a:gd name="connsiteY283" fmla="*/ 16568 h 137811"/>
                    <a:gd name="connsiteX284" fmla="*/ 75548 w 273219"/>
                    <a:gd name="connsiteY284" fmla="*/ 16683 h 137811"/>
                    <a:gd name="connsiteX285" fmla="*/ 82182 w 273219"/>
                    <a:gd name="connsiteY285" fmla="*/ 19437 h 137811"/>
                    <a:gd name="connsiteX286" fmla="*/ 85230 w 273219"/>
                    <a:gd name="connsiteY286" fmla="*/ 20040 h 137811"/>
                    <a:gd name="connsiteX287" fmla="*/ 87381 w 273219"/>
                    <a:gd name="connsiteY287" fmla="*/ 20814 h 137811"/>
                    <a:gd name="connsiteX288" fmla="*/ 88367 w 273219"/>
                    <a:gd name="connsiteY288" fmla="*/ 22004 h 137811"/>
                    <a:gd name="connsiteX289" fmla="*/ 89916 w 273219"/>
                    <a:gd name="connsiteY289" fmla="*/ 23463 h 137811"/>
                    <a:gd name="connsiteX290" fmla="*/ 98237 w 273219"/>
                    <a:gd name="connsiteY290" fmla="*/ 24645 h 137811"/>
                    <a:gd name="connsiteX291" fmla="*/ 100519 w 273219"/>
                    <a:gd name="connsiteY291" fmla="*/ 25435 h 137811"/>
                    <a:gd name="connsiteX292" fmla="*/ 101342 w 273219"/>
                    <a:gd name="connsiteY292" fmla="*/ 26715 h 137811"/>
                    <a:gd name="connsiteX293" fmla="*/ 103713 w 273219"/>
                    <a:gd name="connsiteY293" fmla="*/ 28345 h 137811"/>
                    <a:gd name="connsiteX294" fmla="*/ 105735 w 273219"/>
                    <a:gd name="connsiteY294" fmla="*/ 28712 h 137811"/>
                    <a:gd name="connsiteX295" fmla="*/ 103966 w 273219"/>
                    <a:gd name="connsiteY295" fmla="*/ 22355 h 137811"/>
                    <a:gd name="connsiteX296" fmla="*/ 104667 w 273219"/>
                    <a:gd name="connsiteY296" fmla="*/ 18573 h 137811"/>
                    <a:gd name="connsiteX297" fmla="*/ 107299 w 273219"/>
                    <a:gd name="connsiteY297" fmla="*/ 8215 h 137811"/>
                    <a:gd name="connsiteX298" fmla="*/ 108676 w 273219"/>
                    <a:gd name="connsiteY298" fmla="*/ 6658 h 137811"/>
                    <a:gd name="connsiteX299" fmla="*/ 111325 w 273219"/>
                    <a:gd name="connsiteY299" fmla="*/ 5273 h 137811"/>
                    <a:gd name="connsiteX300" fmla="*/ 115474 w 273219"/>
                    <a:gd name="connsiteY300" fmla="*/ 3733 h 137811"/>
                    <a:gd name="connsiteX301" fmla="*/ 117038 w 273219"/>
                    <a:gd name="connsiteY301" fmla="*/ 1573 h 137811"/>
                    <a:gd name="connsiteX302" fmla="*/ 120445 w 273219"/>
                    <a:gd name="connsiteY302" fmla="*/ 1793 h 137811"/>
                    <a:gd name="connsiteX303" fmla="*/ 121920 w 273219"/>
                    <a:gd name="connsiteY303" fmla="*/ 1606 h 137811"/>
                    <a:gd name="connsiteX304" fmla="*/ 122938 w 273219"/>
                    <a:gd name="connsiteY304" fmla="*/ 1214 h 137811"/>
                    <a:gd name="connsiteX305" fmla="*/ 123485 w 273219"/>
                    <a:gd name="connsiteY305" fmla="*/ 0 h 137811"/>
                    <a:gd name="connsiteX306" fmla="*/ 127331 w 273219"/>
                    <a:gd name="connsiteY306" fmla="*/ 2111 h 137811"/>
                    <a:gd name="connsiteX307" fmla="*/ 133737 w 273219"/>
                    <a:gd name="connsiteY307" fmla="*/ 6373 h 137811"/>
                    <a:gd name="connsiteX308" fmla="*/ 138586 w 273219"/>
                    <a:gd name="connsiteY308" fmla="*/ 9071 h 137811"/>
                    <a:gd name="connsiteX309" fmla="*/ 144291 w 273219"/>
                    <a:gd name="connsiteY309" fmla="*/ 11622 h 137811"/>
                    <a:gd name="connsiteX310" fmla="*/ 152196 w 273219"/>
                    <a:gd name="connsiteY310" fmla="*/ 13952 h 137811"/>
                    <a:gd name="connsiteX311" fmla="*/ 158871 w 273219"/>
                    <a:gd name="connsiteY311" fmla="*/ 14718 h 137811"/>
                    <a:gd name="connsiteX312" fmla="*/ 160012 w 273219"/>
                    <a:gd name="connsiteY312" fmla="*/ 14172 h 137811"/>
                    <a:gd name="connsiteX313" fmla="*/ 162693 w 273219"/>
                    <a:gd name="connsiteY313" fmla="*/ 10635 h 137811"/>
                    <a:gd name="connsiteX314" fmla="*/ 163948 w 273219"/>
                    <a:gd name="connsiteY314" fmla="*/ 10472 h 137811"/>
                    <a:gd name="connsiteX315" fmla="*/ 166222 w 273219"/>
                    <a:gd name="connsiteY315" fmla="*/ 10782 h 137811"/>
                    <a:gd name="connsiteX316" fmla="*/ 173320 w 273219"/>
                    <a:gd name="connsiteY316" fmla="*/ 10945 h 137811"/>
                    <a:gd name="connsiteX317" fmla="*/ 180533 w 273219"/>
                    <a:gd name="connsiteY317" fmla="*/ 11116 h 137811"/>
                    <a:gd name="connsiteX318" fmla="*/ 183947 w 273219"/>
                    <a:gd name="connsiteY318" fmla="*/ 10774 h 137811"/>
                    <a:gd name="connsiteX319" fmla="*/ 191315 w 273219"/>
                    <a:gd name="connsiteY319" fmla="*/ 9299 h 137811"/>
                    <a:gd name="connsiteX320" fmla="*/ 192415 w 273219"/>
                    <a:gd name="connsiteY320" fmla="*/ 9226 h 137811"/>
                    <a:gd name="connsiteX321" fmla="*/ 194127 w 273219"/>
                    <a:gd name="connsiteY321" fmla="*/ 9331 h 137811"/>
                    <a:gd name="connsiteX322" fmla="*/ 198544 w 273219"/>
                    <a:gd name="connsiteY322" fmla="*/ 11336 h 137811"/>
                    <a:gd name="connsiteX323" fmla="*/ 201844 w 273219"/>
                    <a:gd name="connsiteY323" fmla="*/ 11630 h 137811"/>
                    <a:gd name="connsiteX324" fmla="*/ 204094 w 273219"/>
                    <a:gd name="connsiteY324" fmla="*/ 11613 h 137811"/>
                    <a:gd name="connsiteX325" fmla="*/ 205406 w 273219"/>
                    <a:gd name="connsiteY325" fmla="*/ 11776 h 137811"/>
                    <a:gd name="connsiteX326" fmla="*/ 208136 w 273219"/>
                    <a:gd name="connsiteY326" fmla="*/ 11695 h 137811"/>
                    <a:gd name="connsiteX327" fmla="*/ 212585 w 273219"/>
                    <a:gd name="connsiteY327" fmla="*/ 11939 h 137811"/>
                    <a:gd name="connsiteX328" fmla="*/ 218078 w 273219"/>
                    <a:gd name="connsiteY328" fmla="*/ 13243 h 137811"/>
                    <a:gd name="connsiteX329" fmla="*/ 224696 w 273219"/>
                    <a:gd name="connsiteY329" fmla="*/ 13007 h 137811"/>
                    <a:gd name="connsiteX330" fmla="*/ 226823 w 273219"/>
                    <a:gd name="connsiteY330" fmla="*/ 12763 h 137811"/>
                    <a:gd name="connsiteX331" fmla="*/ 230507 w 273219"/>
                    <a:gd name="connsiteY331" fmla="*/ 12999 h 137811"/>
                    <a:gd name="connsiteX332" fmla="*/ 233424 w 273219"/>
                    <a:gd name="connsiteY332" fmla="*/ 14238 h 137811"/>
                    <a:gd name="connsiteX333" fmla="*/ 237133 w 273219"/>
                    <a:gd name="connsiteY333" fmla="*/ 15550 h 137811"/>
                    <a:gd name="connsiteX334" fmla="*/ 239455 w 273219"/>
                    <a:gd name="connsiteY334" fmla="*/ 16096 h 137811"/>
                    <a:gd name="connsiteX335" fmla="*/ 241012 w 273219"/>
                    <a:gd name="connsiteY335" fmla="*/ 16381 h 137811"/>
                    <a:gd name="connsiteX336" fmla="*/ 243783 w 273219"/>
                    <a:gd name="connsiteY336" fmla="*/ 16487 h 137811"/>
                    <a:gd name="connsiteX337" fmla="*/ 245446 w 273219"/>
                    <a:gd name="connsiteY337" fmla="*/ 16071 h 137811"/>
                    <a:gd name="connsiteX338" fmla="*/ 246383 w 273219"/>
                    <a:gd name="connsiteY338" fmla="*/ 16650 h 137811"/>
                    <a:gd name="connsiteX339" fmla="*/ 247328 w 273219"/>
                    <a:gd name="connsiteY339" fmla="*/ 19869 h 137811"/>
                    <a:gd name="connsiteX340" fmla="*/ 249618 w 273219"/>
                    <a:gd name="connsiteY340" fmla="*/ 21980 h 137811"/>
                    <a:gd name="connsiteX341" fmla="*/ 251419 w 273219"/>
                    <a:gd name="connsiteY341" fmla="*/ 23977 h 137811"/>
                    <a:gd name="connsiteX342" fmla="*/ 252919 w 273219"/>
                    <a:gd name="connsiteY342" fmla="*/ 26169 h 137811"/>
                    <a:gd name="connsiteX343" fmla="*/ 254451 w 273219"/>
                    <a:gd name="connsiteY343" fmla="*/ 27057 h 137811"/>
                    <a:gd name="connsiteX344" fmla="*/ 257148 w 273219"/>
                    <a:gd name="connsiteY344" fmla="*/ 27090 h 137811"/>
                    <a:gd name="connsiteX345" fmla="*/ 262226 w 273219"/>
                    <a:gd name="connsiteY345" fmla="*/ 27717 h 137811"/>
                    <a:gd name="connsiteX346" fmla="*/ 265143 w 273219"/>
                    <a:gd name="connsiteY346" fmla="*/ 28589 h 137811"/>
                    <a:gd name="connsiteX347" fmla="*/ 268868 w 273219"/>
                    <a:gd name="connsiteY347" fmla="*/ 32379 h 137811"/>
                    <a:gd name="connsiteX348" fmla="*/ 272299 w 273219"/>
                    <a:gd name="connsiteY348" fmla="*/ 36234 h 137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Lst>
                  <a:rect l="l" t="t" r="r" b="b"/>
                  <a:pathLst>
                    <a:path w="273219" h="137811">
                      <a:moveTo>
                        <a:pt x="272299" y="36234"/>
                      </a:moveTo>
                      <a:lnTo>
                        <a:pt x="272796" y="38304"/>
                      </a:lnTo>
                      <a:lnTo>
                        <a:pt x="273220" y="40708"/>
                      </a:lnTo>
                      <a:lnTo>
                        <a:pt x="272951" y="41270"/>
                      </a:lnTo>
                      <a:lnTo>
                        <a:pt x="272478" y="41645"/>
                      </a:lnTo>
                      <a:lnTo>
                        <a:pt x="264866" y="42248"/>
                      </a:lnTo>
                      <a:lnTo>
                        <a:pt x="263147" y="42908"/>
                      </a:lnTo>
                      <a:lnTo>
                        <a:pt x="261305" y="46242"/>
                      </a:lnTo>
                      <a:lnTo>
                        <a:pt x="254801" y="48915"/>
                      </a:lnTo>
                      <a:lnTo>
                        <a:pt x="251093" y="50284"/>
                      </a:lnTo>
                      <a:lnTo>
                        <a:pt x="249577" y="50227"/>
                      </a:lnTo>
                      <a:lnTo>
                        <a:pt x="245983" y="52411"/>
                      </a:lnTo>
                      <a:lnTo>
                        <a:pt x="235910" y="57863"/>
                      </a:lnTo>
                      <a:lnTo>
                        <a:pt x="230980" y="61302"/>
                      </a:lnTo>
                      <a:lnTo>
                        <a:pt x="228486" y="62737"/>
                      </a:lnTo>
                      <a:lnTo>
                        <a:pt x="226489" y="64310"/>
                      </a:lnTo>
                      <a:lnTo>
                        <a:pt x="226155" y="65899"/>
                      </a:lnTo>
                      <a:lnTo>
                        <a:pt x="226098" y="67398"/>
                      </a:lnTo>
                      <a:lnTo>
                        <a:pt x="220564" y="74432"/>
                      </a:lnTo>
                      <a:lnTo>
                        <a:pt x="216416" y="75279"/>
                      </a:lnTo>
                      <a:lnTo>
                        <a:pt x="212920" y="75108"/>
                      </a:lnTo>
                      <a:lnTo>
                        <a:pt x="210540" y="76176"/>
                      </a:lnTo>
                      <a:lnTo>
                        <a:pt x="207125" y="77251"/>
                      </a:lnTo>
                      <a:lnTo>
                        <a:pt x="199734" y="76518"/>
                      </a:lnTo>
                      <a:lnTo>
                        <a:pt x="197207" y="76648"/>
                      </a:lnTo>
                      <a:lnTo>
                        <a:pt x="192358" y="75679"/>
                      </a:lnTo>
                      <a:lnTo>
                        <a:pt x="190402" y="76184"/>
                      </a:lnTo>
                      <a:lnTo>
                        <a:pt x="188324" y="77610"/>
                      </a:lnTo>
                      <a:lnTo>
                        <a:pt x="185455" y="83209"/>
                      </a:lnTo>
                      <a:lnTo>
                        <a:pt x="184282" y="84521"/>
                      </a:lnTo>
                      <a:lnTo>
                        <a:pt x="183752" y="85800"/>
                      </a:lnTo>
                      <a:lnTo>
                        <a:pt x="183312" y="88514"/>
                      </a:lnTo>
                      <a:lnTo>
                        <a:pt x="182220" y="91391"/>
                      </a:lnTo>
                      <a:lnTo>
                        <a:pt x="180802" y="93657"/>
                      </a:lnTo>
                      <a:lnTo>
                        <a:pt x="179791" y="95759"/>
                      </a:lnTo>
                      <a:lnTo>
                        <a:pt x="177713" y="97789"/>
                      </a:lnTo>
                      <a:lnTo>
                        <a:pt x="175781" y="99068"/>
                      </a:lnTo>
                      <a:lnTo>
                        <a:pt x="174282" y="96395"/>
                      </a:lnTo>
                      <a:lnTo>
                        <a:pt x="172994" y="97153"/>
                      </a:lnTo>
                      <a:lnTo>
                        <a:pt x="171772" y="98237"/>
                      </a:lnTo>
                      <a:lnTo>
                        <a:pt x="169425" y="97862"/>
                      </a:lnTo>
                      <a:lnTo>
                        <a:pt x="167990" y="98408"/>
                      </a:lnTo>
                      <a:lnTo>
                        <a:pt x="164714" y="100731"/>
                      </a:lnTo>
                      <a:lnTo>
                        <a:pt x="159873" y="100633"/>
                      </a:lnTo>
                      <a:lnTo>
                        <a:pt x="159352" y="99842"/>
                      </a:lnTo>
                      <a:lnTo>
                        <a:pt x="158398" y="93469"/>
                      </a:lnTo>
                      <a:lnTo>
                        <a:pt x="157559" y="90454"/>
                      </a:lnTo>
                      <a:lnTo>
                        <a:pt x="156858" y="89778"/>
                      </a:lnTo>
                      <a:lnTo>
                        <a:pt x="156010" y="89696"/>
                      </a:lnTo>
                      <a:lnTo>
                        <a:pt x="149066" y="94708"/>
                      </a:lnTo>
                      <a:lnTo>
                        <a:pt x="145839" y="95596"/>
                      </a:lnTo>
                      <a:lnTo>
                        <a:pt x="143191" y="95759"/>
                      </a:lnTo>
                      <a:lnTo>
                        <a:pt x="139743" y="94260"/>
                      </a:lnTo>
                      <a:lnTo>
                        <a:pt x="138985" y="94635"/>
                      </a:lnTo>
                      <a:lnTo>
                        <a:pt x="138399" y="95442"/>
                      </a:lnTo>
                      <a:lnTo>
                        <a:pt x="138154" y="96468"/>
                      </a:lnTo>
                      <a:lnTo>
                        <a:pt x="139156" y="99313"/>
                      </a:lnTo>
                      <a:lnTo>
                        <a:pt x="138871" y="99875"/>
                      </a:lnTo>
                      <a:lnTo>
                        <a:pt x="137323" y="99826"/>
                      </a:lnTo>
                      <a:lnTo>
                        <a:pt x="135147" y="100486"/>
                      </a:lnTo>
                      <a:lnTo>
                        <a:pt x="133493" y="101790"/>
                      </a:lnTo>
                      <a:lnTo>
                        <a:pt x="128497" y="106370"/>
                      </a:lnTo>
                      <a:lnTo>
                        <a:pt x="124299" y="107903"/>
                      </a:lnTo>
                      <a:lnTo>
                        <a:pt x="120396" y="108497"/>
                      </a:lnTo>
                      <a:lnTo>
                        <a:pt x="118798" y="109003"/>
                      </a:lnTo>
                      <a:lnTo>
                        <a:pt x="118073" y="109557"/>
                      </a:lnTo>
                      <a:lnTo>
                        <a:pt x="116769" y="111733"/>
                      </a:lnTo>
                      <a:lnTo>
                        <a:pt x="115424" y="115148"/>
                      </a:lnTo>
                      <a:lnTo>
                        <a:pt x="114724" y="116818"/>
                      </a:lnTo>
                      <a:lnTo>
                        <a:pt x="114202" y="117780"/>
                      </a:lnTo>
                      <a:lnTo>
                        <a:pt x="114324" y="119043"/>
                      </a:lnTo>
                      <a:lnTo>
                        <a:pt x="115376" y="120681"/>
                      </a:lnTo>
                      <a:lnTo>
                        <a:pt x="116174" y="124332"/>
                      </a:lnTo>
                      <a:lnTo>
                        <a:pt x="116003" y="125278"/>
                      </a:lnTo>
                      <a:lnTo>
                        <a:pt x="115147" y="126810"/>
                      </a:lnTo>
                      <a:lnTo>
                        <a:pt x="113917" y="128309"/>
                      </a:lnTo>
                      <a:lnTo>
                        <a:pt x="111252" y="129214"/>
                      </a:lnTo>
                      <a:lnTo>
                        <a:pt x="109174" y="129662"/>
                      </a:lnTo>
                      <a:lnTo>
                        <a:pt x="107780" y="129369"/>
                      </a:lnTo>
                      <a:lnTo>
                        <a:pt x="105172" y="129271"/>
                      </a:lnTo>
                      <a:lnTo>
                        <a:pt x="103127" y="129874"/>
                      </a:lnTo>
                      <a:lnTo>
                        <a:pt x="101847" y="130893"/>
                      </a:lnTo>
                      <a:lnTo>
                        <a:pt x="99329" y="132172"/>
                      </a:lnTo>
                      <a:lnTo>
                        <a:pt x="96215" y="132596"/>
                      </a:lnTo>
                      <a:lnTo>
                        <a:pt x="92255" y="132767"/>
                      </a:lnTo>
                      <a:lnTo>
                        <a:pt x="90356" y="132653"/>
                      </a:lnTo>
                      <a:lnTo>
                        <a:pt x="84586" y="131789"/>
                      </a:lnTo>
                      <a:lnTo>
                        <a:pt x="82687" y="132083"/>
                      </a:lnTo>
                      <a:lnTo>
                        <a:pt x="80870" y="132759"/>
                      </a:lnTo>
                      <a:lnTo>
                        <a:pt x="77585" y="133452"/>
                      </a:lnTo>
                      <a:lnTo>
                        <a:pt x="75833" y="135579"/>
                      </a:lnTo>
                      <a:lnTo>
                        <a:pt x="74904" y="137543"/>
                      </a:lnTo>
                      <a:lnTo>
                        <a:pt x="74407" y="137812"/>
                      </a:lnTo>
                      <a:lnTo>
                        <a:pt x="72361" y="136019"/>
                      </a:lnTo>
                      <a:lnTo>
                        <a:pt x="70797" y="134332"/>
                      </a:lnTo>
                      <a:lnTo>
                        <a:pt x="69770" y="132930"/>
                      </a:lnTo>
                      <a:lnTo>
                        <a:pt x="68490" y="132979"/>
                      </a:lnTo>
                      <a:lnTo>
                        <a:pt x="63910" y="135522"/>
                      </a:lnTo>
                      <a:lnTo>
                        <a:pt x="63226" y="135440"/>
                      </a:lnTo>
                      <a:lnTo>
                        <a:pt x="61913" y="134471"/>
                      </a:lnTo>
                      <a:lnTo>
                        <a:pt x="62150" y="132066"/>
                      </a:lnTo>
                      <a:lnTo>
                        <a:pt x="62068" y="130534"/>
                      </a:lnTo>
                      <a:lnTo>
                        <a:pt x="60593" y="129719"/>
                      </a:lnTo>
                      <a:lnTo>
                        <a:pt x="57456" y="129524"/>
                      </a:lnTo>
                      <a:lnTo>
                        <a:pt x="56388" y="128660"/>
                      </a:lnTo>
                      <a:lnTo>
                        <a:pt x="56461" y="127364"/>
                      </a:lnTo>
                      <a:lnTo>
                        <a:pt x="56730" y="126125"/>
                      </a:lnTo>
                      <a:lnTo>
                        <a:pt x="56380" y="125164"/>
                      </a:lnTo>
                      <a:lnTo>
                        <a:pt x="55565" y="124438"/>
                      </a:lnTo>
                      <a:lnTo>
                        <a:pt x="53935" y="124634"/>
                      </a:lnTo>
                      <a:lnTo>
                        <a:pt x="52052" y="125612"/>
                      </a:lnTo>
                      <a:lnTo>
                        <a:pt x="50675" y="126745"/>
                      </a:lnTo>
                      <a:lnTo>
                        <a:pt x="48931" y="127266"/>
                      </a:lnTo>
                      <a:lnTo>
                        <a:pt x="46837" y="127478"/>
                      </a:lnTo>
                      <a:lnTo>
                        <a:pt x="45516" y="128155"/>
                      </a:lnTo>
                      <a:lnTo>
                        <a:pt x="44025" y="130909"/>
                      </a:lnTo>
                      <a:lnTo>
                        <a:pt x="38923" y="131488"/>
                      </a:lnTo>
                      <a:lnTo>
                        <a:pt x="37285" y="130869"/>
                      </a:lnTo>
                      <a:lnTo>
                        <a:pt x="35932" y="128904"/>
                      </a:lnTo>
                      <a:lnTo>
                        <a:pt x="34172" y="125759"/>
                      </a:lnTo>
                      <a:lnTo>
                        <a:pt x="33185" y="125376"/>
                      </a:lnTo>
                      <a:lnTo>
                        <a:pt x="31531" y="124984"/>
                      </a:lnTo>
                      <a:lnTo>
                        <a:pt x="28833" y="125164"/>
                      </a:lnTo>
                      <a:lnTo>
                        <a:pt x="25182" y="126500"/>
                      </a:lnTo>
                      <a:lnTo>
                        <a:pt x="24294" y="125400"/>
                      </a:lnTo>
                      <a:lnTo>
                        <a:pt x="23349" y="125090"/>
                      </a:lnTo>
                      <a:lnTo>
                        <a:pt x="22501" y="125987"/>
                      </a:lnTo>
                      <a:lnTo>
                        <a:pt x="21629" y="125881"/>
                      </a:lnTo>
                      <a:lnTo>
                        <a:pt x="18019" y="126133"/>
                      </a:lnTo>
                      <a:lnTo>
                        <a:pt x="13463" y="126011"/>
                      </a:lnTo>
                      <a:lnTo>
                        <a:pt x="10855" y="125400"/>
                      </a:lnTo>
                      <a:lnTo>
                        <a:pt x="9168" y="125433"/>
                      </a:lnTo>
                      <a:lnTo>
                        <a:pt x="5810" y="126843"/>
                      </a:lnTo>
                      <a:lnTo>
                        <a:pt x="4026" y="126826"/>
                      </a:lnTo>
                      <a:lnTo>
                        <a:pt x="1695" y="127087"/>
                      </a:lnTo>
                      <a:lnTo>
                        <a:pt x="1263" y="122319"/>
                      </a:lnTo>
                      <a:lnTo>
                        <a:pt x="0" y="119092"/>
                      </a:lnTo>
                      <a:lnTo>
                        <a:pt x="383" y="116859"/>
                      </a:lnTo>
                      <a:lnTo>
                        <a:pt x="1231" y="113795"/>
                      </a:lnTo>
                      <a:lnTo>
                        <a:pt x="1931" y="112075"/>
                      </a:lnTo>
                      <a:lnTo>
                        <a:pt x="3382" y="112800"/>
                      </a:lnTo>
                      <a:lnTo>
                        <a:pt x="5036" y="114064"/>
                      </a:lnTo>
                      <a:lnTo>
                        <a:pt x="6128" y="113721"/>
                      </a:lnTo>
                      <a:lnTo>
                        <a:pt x="6414" y="112686"/>
                      </a:lnTo>
                      <a:lnTo>
                        <a:pt x="5998" y="111325"/>
                      </a:lnTo>
                      <a:lnTo>
                        <a:pt x="5933" y="110307"/>
                      </a:lnTo>
                      <a:lnTo>
                        <a:pt x="6552" y="108954"/>
                      </a:lnTo>
                      <a:lnTo>
                        <a:pt x="7457" y="107707"/>
                      </a:lnTo>
                      <a:lnTo>
                        <a:pt x="13292" y="105645"/>
                      </a:lnTo>
                      <a:lnTo>
                        <a:pt x="18280" y="104145"/>
                      </a:lnTo>
                      <a:lnTo>
                        <a:pt x="20880" y="105148"/>
                      </a:lnTo>
                      <a:lnTo>
                        <a:pt x="25908" y="107454"/>
                      </a:lnTo>
                      <a:lnTo>
                        <a:pt x="28500" y="108644"/>
                      </a:lnTo>
                      <a:lnTo>
                        <a:pt x="30300" y="109345"/>
                      </a:lnTo>
                      <a:lnTo>
                        <a:pt x="31874" y="112711"/>
                      </a:lnTo>
                      <a:lnTo>
                        <a:pt x="32908" y="112556"/>
                      </a:lnTo>
                      <a:lnTo>
                        <a:pt x="33968" y="111880"/>
                      </a:lnTo>
                      <a:lnTo>
                        <a:pt x="34587" y="111048"/>
                      </a:lnTo>
                      <a:lnTo>
                        <a:pt x="35085" y="108188"/>
                      </a:lnTo>
                      <a:lnTo>
                        <a:pt x="37423" y="106566"/>
                      </a:lnTo>
                      <a:lnTo>
                        <a:pt x="42582" y="104651"/>
                      </a:lnTo>
                      <a:lnTo>
                        <a:pt x="42933" y="103526"/>
                      </a:lnTo>
                      <a:lnTo>
                        <a:pt x="42868" y="102907"/>
                      </a:lnTo>
                      <a:lnTo>
                        <a:pt x="43674" y="102369"/>
                      </a:lnTo>
                      <a:lnTo>
                        <a:pt x="46250" y="101815"/>
                      </a:lnTo>
                      <a:lnTo>
                        <a:pt x="51466" y="101285"/>
                      </a:lnTo>
                      <a:lnTo>
                        <a:pt x="53242" y="101676"/>
                      </a:lnTo>
                      <a:lnTo>
                        <a:pt x="55263" y="102809"/>
                      </a:lnTo>
                      <a:lnTo>
                        <a:pt x="56812" y="103925"/>
                      </a:lnTo>
                      <a:lnTo>
                        <a:pt x="58311" y="103885"/>
                      </a:lnTo>
                      <a:lnTo>
                        <a:pt x="59525" y="103657"/>
                      </a:lnTo>
                      <a:lnTo>
                        <a:pt x="60047" y="103966"/>
                      </a:lnTo>
                      <a:lnTo>
                        <a:pt x="60447" y="104961"/>
                      </a:lnTo>
                      <a:lnTo>
                        <a:pt x="61082" y="105857"/>
                      </a:lnTo>
                      <a:lnTo>
                        <a:pt x="63070" y="104643"/>
                      </a:lnTo>
                      <a:lnTo>
                        <a:pt x="64872" y="103070"/>
                      </a:lnTo>
                      <a:lnTo>
                        <a:pt x="66298" y="102841"/>
                      </a:lnTo>
                      <a:lnTo>
                        <a:pt x="67602" y="102247"/>
                      </a:lnTo>
                      <a:lnTo>
                        <a:pt x="67993" y="101203"/>
                      </a:lnTo>
                      <a:lnTo>
                        <a:pt x="69028" y="99459"/>
                      </a:lnTo>
                      <a:lnTo>
                        <a:pt x="71962" y="96134"/>
                      </a:lnTo>
                      <a:lnTo>
                        <a:pt x="73494" y="95596"/>
                      </a:lnTo>
                      <a:lnTo>
                        <a:pt x="74480" y="95596"/>
                      </a:lnTo>
                      <a:lnTo>
                        <a:pt x="74521" y="96134"/>
                      </a:lnTo>
                      <a:lnTo>
                        <a:pt x="75002" y="96623"/>
                      </a:lnTo>
                      <a:lnTo>
                        <a:pt x="77577" y="97397"/>
                      </a:lnTo>
                      <a:lnTo>
                        <a:pt x="78360" y="96526"/>
                      </a:lnTo>
                      <a:lnTo>
                        <a:pt x="78775" y="95311"/>
                      </a:lnTo>
                      <a:lnTo>
                        <a:pt x="77879" y="93388"/>
                      </a:lnTo>
                      <a:lnTo>
                        <a:pt x="77862" y="92573"/>
                      </a:lnTo>
                      <a:lnTo>
                        <a:pt x="78205" y="91839"/>
                      </a:lnTo>
                      <a:lnTo>
                        <a:pt x="78677" y="91399"/>
                      </a:lnTo>
                      <a:lnTo>
                        <a:pt x="82793" y="93225"/>
                      </a:lnTo>
                      <a:lnTo>
                        <a:pt x="83697" y="93184"/>
                      </a:lnTo>
                      <a:lnTo>
                        <a:pt x="85564" y="92165"/>
                      </a:lnTo>
                      <a:lnTo>
                        <a:pt x="87275" y="90356"/>
                      </a:lnTo>
                      <a:lnTo>
                        <a:pt x="87903" y="88938"/>
                      </a:lnTo>
                      <a:lnTo>
                        <a:pt x="96313" y="84317"/>
                      </a:lnTo>
                      <a:lnTo>
                        <a:pt x="96900" y="83478"/>
                      </a:lnTo>
                      <a:lnTo>
                        <a:pt x="96778" y="82866"/>
                      </a:lnTo>
                      <a:lnTo>
                        <a:pt x="93249" y="81791"/>
                      </a:lnTo>
                      <a:lnTo>
                        <a:pt x="91668" y="82394"/>
                      </a:lnTo>
                      <a:lnTo>
                        <a:pt x="90193" y="82394"/>
                      </a:lnTo>
                      <a:lnTo>
                        <a:pt x="89305" y="81717"/>
                      </a:lnTo>
                      <a:lnTo>
                        <a:pt x="85034" y="81457"/>
                      </a:lnTo>
                      <a:lnTo>
                        <a:pt x="84097" y="80984"/>
                      </a:lnTo>
                      <a:lnTo>
                        <a:pt x="81253" y="77643"/>
                      </a:lnTo>
                      <a:lnTo>
                        <a:pt x="79297" y="76363"/>
                      </a:lnTo>
                      <a:lnTo>
                        <a:pt x="77740" y="75532"/>
                      </a:lnTo>
                      <a:lnTo>
                        <a:pt x="76021" y="75646"/>
                      </a:lnTo>
                      <a:lnTo>
                        <a:pt x="73991" y="76526"/>
                      </a:lnTo>
                      <a:lnTo>
                        <a:pt x="73348" y="76127"/>
                      </a:lnTo>
                      <a:lnTo>
                        <a:pt x="73184" y="74733"/>
                      </a:lnTo>
                      <a:lnTo>
                        <a:pt x="73184" y="72973"/>
                      </a:lnTo>
                      <a:lnTo>
                        <a:pt x="72777" y="71090"/>
                      </a:lnTo>
                      <a:lnTo>
                        <a:pt x="71571" y="70650"/>
                      </a:lnTo>
                      <a:lnTo>
                        <a:pt x="70006" y="71392"/>
                      </a:lnTo>
                      <a:lnTo>
                        <a:pt x="67683" y="70626"/>
                      </a:lnTo>
                      <a:lnTo>
                        <a:pt x="65695" y="70357"/>
                      </a:lnTo>
                      <a:lnTo>
                        <a:pt x="65189" y="66380"/>
                      </a:lnTo>
                      <a:lnTo>
                        <a:pt x="64391" y="64685"/>
                      </a:lnTo>
                      <a:lnTo>
                        <a:pt x="63551" y="62900"/>
                      </a:lnTo>
                      <a:lnTo>
                        <a:pt x="62696" y="62394"/>
                      </a:lnTo>
                      <a:lnTo>
                        <a:pt x="61278" y="61506"/>
                      </a:lnTo>
                      <a:lnTo>
                        <a:pt x="61196" y="59395"/>
                      </a:lnTo>
                      <a:lnTo>
                        <a:pt x="60895" y="58792"/>
                      </a:lnTo>
                      <a:lnTo>
                        <a:pt x="60389" y="58515"/>
                      </a:lnTo>
                      <a:lnTo>
                        <a:pt x="59713" y="58751"/>
                      </a:lnTo>
                      <a:lnTo>
                        <a:pt x="58841" y="59803"/>
                      </a:lnTo>
                      <a:lnTo>
                        <a:pt x="59273" y="62125"/>
                      </a:lnTo>
                      <a:lnTo>
                        <a:pt x="58939" y="64456"/>
                      </a:lnTo>
                      <a:lnTo>
                        <a:pt x="58433" y="65622"/>
                      </a:lnTo>
                      <a:lnTo>
                        <a:pt x="57439" y="66477"/>
                      </a:lnTo>
                      <a:lnTo>
                        <a:pt x="56306" y="66502"/>
                      </a:lnTo>
                      <a:lnTo>
                        <a:pt x="54342" y="65320"/>
                      </a:lnTo>
                      <a:lnTo>
                        <a:pt x="54033" y="72353"/>
                      </a:lnTo>
                      <a:lnTo>
                        <a:pt x="53658" y="72785"/>
                      </a:lnTo>
                      <a:lnTo>
                        <a:pt x="51319" y="71791"/>
                      </a:lnTo>
                      <a:lnTo>
                        <a:pt x="49453" y="72223"/>
                      </a:lnTo>
                      <a:lnTo>
                        <a:pt x="46657" y="71791"/>
                      </a:lnTo>
                      <a:lnTo>
                        <a:pt x="44554" y="70634"/>
                      </a:lnTo>
                      <a:lnTo>
                        <a:pt x="42982" y="70308"/>
                      </a:lnTo>
                      <a:lnTo>
                        <a:pt x="40447" y="69314"/>
                      </a:lnTo>
                      <a:lnTo>
                        <a:pt x="38507" y="68034"/>
                      </a:lnTo>
                      <a:lnTo>
                        <a:pt x="37317" y="63315"/>
                      </a:lnTo>
                      <a:lnTo>
                        <a:pt x="36185" y="61620"/>
                      </a:lnTo>
                      <a:lnTo>
                        <a:pt x="35117" y="61262"/>
                      </a:lnTo>
                      <a:lnTo>
                        <a:pt x="30789" y="62900"/>
                      </a:lnTo>
                      <a:lnTo>
                        <a:pt x="29216" y="61636"/>
                      </a:lnTo>
                      <a:lnTo>
                        <a:pt x="26299" y="60015"/>
                      </a:lnTo>
                      <a:lnTo>
                        <a:pt x="24091" y="59412"/>
                      </a:lnTo>
                      <a:lnTo>
                        <a:pt x="23504" y="58540"/>
                      </a:lnTo>
                      <a:lnTo>
                        <a:pt x="23602" y="57464"/>
                      </a:lnTo>
                      <a:lnTo>
                        <a:pt x="30390" y="52199"/>
                      </a:lnTo>
                      <a:lnTo>
                        <a:pt x="33079" y="48564"/>
                      </a:lnTo>
                      <a:lnTo>
                        <a:pt x="34767" y="47032"/>
                      </a:lnTo>
                      <a:lnTo>
                        <a:pt x="37163" y="46013"/>
                      </a:lnTo>
                      <a:lnTo>
                        <a:pt x="39037" y="45410"/>
                      </a:lnTo>
                      <a:lnTo>
                        <a:pt x="39983" y="42077"/>
                      </a:lnTo>
                      <a:lnTo>
                        <a:pt x="40349" y="41694"/>
                      </a:lnTo>
                      <a:lnTo>
                        <a:pt x="41686" y="41450"/>
                      </a:lnTo>
                      <a:lnTo>
                        <a:pt x="44709" y="40089"/>
                      </a:lnTo>
                      <a:lnTo>
                        <a:pt x="49575" y="37163"/>
                      </a:lnTo>
                      <a:lnTo>
                        <a:pt x="49681" y="36356"/>
                      </a:lnTo>
                      <a:lnTo>
                        <a:pt x="49192" y="35663"/>
                      </a:lnTo>
                      <a:lnTo>
                        <a:pt x="47138" y="34164"/>
                      </a:lnTo>
                      <a:lnTo>
                        <a:pt x="44807" y="32974"/>
                      </a:lnTo>
                      <a:lnTo>
                        <a:pt x="43389" y="33593"/>
                      </a:lnTo>
                      <a:lnTo>
                        <a:pt x="42590" y="34213"/>
                      </a:lnTo>
                      <a:lnTo>
                        <a:pt x="41254" y="32672"/>
                      </a:lnTo>
                      <a:lnTo>
                        <a:pt x="41254" y="31083"/>
                      </a:lnTo>
                      <a:lnTo>
                        <a:pt x="42729" y="28345"/>
                      </a:lnTo>
                      <a:lnTo>
                        <a:pt x="43960" y="26984"/>
                      </a:lnTo>
                      <a:lnTo>
                        <a:pt x="44465" y="24351"/>
                      </a:lnTo>
                      <a:lnTo>
                        <a:pt x="46225" y="22591"/>
                      </a:lnTo>
                      <a:lnTo>
                        <a:pt x="48059" y="19796"/>
                      </a:lnTo>
                      <a:lnTo>
                        <a:pt x="50267" y="17514"/>
                      </a:lnTo>
                      <a:lnTo>
                        <a:pt x="54375" y="15802"/>
                      </a:lnTo>
                      <a:lnTo>
                        <a:pt x="56657" y="16357"/>
                      </a:lnTo>
                      <a:lnTo>
                        <a:pt x="58809" y="15957"/>
                      </a:lnTo>
                      <a:lnTo>
                        <a:pt x="62125" y="14564"/>
                      </a:lnTo>
                      <a:lnTo>
                        <a:pt x="62761" y="14474"/>
                      </a:lnTo>
                      <a:lnTo>
                        <a:pt x="64163" y="14450"/>
                      </a:lnTo>
                      <a:lnTo>
                        <a:pt x="72712" y="16568"/>
                      </a:lnTo>
                      <a:lnTo>
                        <a:pt x="75548" y="16683"/>
                      </a:lnTo>
                      <a:lnTo>
                        <a:pt x="82182" y="19437"/>
                      </a:lnTo>
                      <a:lnTo>
                        <a:pt x="85230" y="20040"/>
                      </a:lnTo>
                      <a:lnTo>
                        <a:pt x="87381" y="20814"/>
                      </a:lnTo>
                      <a:lnTo>
                        <a:pt x="88367" y="22004"/>
                      </a:lnTo>
                      <a:lnTo>
                        <a:pt x="89916" y="23463"/>
                      </a:lnTo>
                      <a:lnTo>
                        <a:pt x="98237" y="24645"/>
                      </a:lnTo>
                      <a:lnTo>
                        <a:pt x="100519" y="25435"/>
                      </a:lnTo>
                      <a:lnTo>
                        <a:pt x="101342" y="26715"/>
                      </a:lnTo>
                      <a:lnTo>
                        <a:pt x="103713" y="28345"/>
                      </a:lnTo>
                      <a:lnTo>
                        <a:pt x="105735" y="28712"/>
                      </a:lnTo>
                      <a:lnTo>
                        <a:pt x="103966" y="22355"/>
                      </a:lnTo>
                      <a:lnTo>
                        <a:pt x="104667" y="18573"/>
                      </a:lnTo>
                      <a:lnTo>
                        <a:pt x="107299" y="8215"/>
                      </a:lnTo>
                      <a:lnTo>
                        <a:pt x="108676" y="6658"/>
                      </a:lnTo>
                      <a:lnTo>
                        <a:pt x="111325" y="5273"/>
                      </a:lnTo>
                      <a:lnTo>
                        <a:pt x="115474" y="3733"/>
                      </a:lnTo>
                      <a:lnTo>
                        <a:pt x="117038" y="1573"/>
                      </a:lnTo>
                      <a:lnTo>
                        <a:pt x="120445" y="1793"/>
                      </a:lnTo>
                      <a:lnTo>
                        <a:pt x="121920" y="1606"/>
                      </a:lnTo>
                      <a:lnTo>
                        <a:pt x="122938" y="1214"/>
                      </a:lnTo>
                      <a:lnTo>
                        <a:pt x="123485" y="0"/>
                      </a:lnTo>
                      <a:lnTo>
                        <a:pt x="127331" y="2111"/>
                      </a:lnTo>
                      <a:lnTo>
                        <a:pt x="133737" y="6373"/>
                      </a:lnTo>
                      <a:lnTo>
                        <a:pt x="138586" y="9071"/>
                      </a:lnTo>
                      <a:lnTo>
                        <a:pt x="144291" y="11622"/>
                      </a:lnTo>
                      <a:lnTo>
                        <a:pt x="152196" y="13952"/>
                      </a:lnTo>
                      <a:lnTo>
                        <a:pt x="158871" y="14718"/>
                      </a:lnTo>
                      <a:lnTo>
                        <a:pt x="160012" y="14172"/>
                      </a:lnTo>
                      <a:lnTo>
                        <a:pt x="162693" y="10635"/>
                      </a:lnTo>
                      <a:lnTo>
                        <a:pt x="163948" y="10472"/>
                      </a:lnTo>
                      <a:lnTo>
                        <a:pt x="166222" y="10782"/>
                      </a:lnTo>
                      <a:lnTo>
                        <a:pt x="173320" y="10945"/>
                      </a:lnTo>
                      <a:lnTo>
                        <a:pt x="180533" y="11116"/>
                      </a:lnTo>
                      <a:lnTo>
                        <a:pt x="183947" y="10774"/>
                      </a:lnTo>
                      <a:lnTo>
                        <a:pt x="191315" y="9299"/>
                      </a:lnTo>
                      <a:lnTo>
                        <a:pt x="192415" y="9226"/>
                      </a:lnTo>
                      <a:lnTo>
                        <a:pt x="194127" y="9331"/>
                      </a:lnTo>
                      <a:lnTo>
                        <a:pt x="198544" y="11336"/>
                      </a:lnTo>
                      <a:lnTo>
                        <a:pt x="201844" y="11630"/>
                      </a:lnTo>
                      <a:lnTo>
                        <a:pt x="204094" y="11613"/>
                      </a:lnTo>
                      <a:lnTo>
                        <a:pt x="205406" y="11776"/>
                      </a:lnTo>
                      <a:lnTo>
                        <a:pt x="208136" y="11695"/>
                      </a:lnTo>
                      <a:lnTo>
                        <a:pt x="212585" y="11939"/>
                      </a:lnTo>
                      <a:lnTo>
                        <a:pt x="218078" y="13243"/>
                      </a:lnTo>
                      <a:lnTo>
                        <a:pt x="224696" y="13007"/>
                      </a:lnTo>
                      <a:lnTo>
                        <a:pt x="226823" y="12763"/>
                      </a:lnTo>
                      <a:lnTo>
                        <a:pt x="230507" y="12999"/>
                      </a:lnTo>
                      <a:lnTo>
                        <a:pt x="233424" y="14238"/>
                      </a:lnTo>
                      <a:lnTo>
                        <a:pt x="237133" y="15550"/>
                      </a:lnTo>
                      <a:lnTo>
                        <a:pt x="239455" y="16096"/>
                      </a:lnTo>
                      <a:lnTo>
                        <a:pt x="241012" y="16381"/>
                      </a:lnTo>
                      <a:lnTo>
                        <a:pt x="243783" y="16487"/>
                      </a:lnTo>
                      <a:lnTo>
                        <a:pt x="245446" y="16071"/>
                      </a:lnTo>
                      <a:lnTo>
                        <a:pt x="246383" y="16650"/>
                      </a:lnTo>
                      <a:lnTo>
                        <a:pt x="247328" y="19869"/>
                      </a:lnTo>
                      <a:lnTo>
                        <a:pt x="249618" y="21980"/>
                      </a:lnTo>
                      <a:lnTo>
                        <a:pt x="251419" y="23977"/>
                      </a:lnTo>
                      <a:lnTo>
                        <a:pt x="252919" y="26169"/>
                      </a:lnTo>
                      <a:lnTo>
                        <a:pt x="254451" y="27057"/>
                      </a:lnTo>
                      <a:lnTo>
                        <a:pt x="257148" y="27090"/>
                      </a:lnTo>
                      <a:lnTo>
                        <a:pt x="262226" y="27717"/>
                      </a:lnTo>
                      <a:lnTo>
                        <a:pt x="265143" y="28589"/>
                      </a:lnTo>
                      <a:lnTo>
                        <a:pt x="268868" y="32379"/>
                      </a:lnTo>
                      <a:lnTo>
                        <a:pt x="272299" y="36234"/>
                      </a:lnTo>
                      <a:close/>
                    </a:path>
                  </a:pathLst>
                </a:custGeom>
                <a:solidFill>
                  <a:srgbClr val="D6D6D2"/>
                </a:solidFill>
                <a:ln w="6112" cap="rnd">
                  <a:solidFill>
                    <a:srgbClr val="FFFFFF"/>
                  </a:solidFill>
                  <a:prstDash val="solid"/>
                  <a:round/>
                </a:ln>
              </p:spPr>
              <p:txBody>
                <a:bodyPr rtlCol="0" anchor="ctr"/>
                <a:lstStyle/>
                <a:p>
                  <a:endParaRPr lang="en-US"/>
                </a:p>
              </p:txBody>
            </p:sp>
            <p:sp>
              <p:nvSpPr>
                <p:cNvPr id="700" name="Freeform: Shape 699">
                  <a:extLst>
                    <a:ext uri="{FF2B5EF4-FFF2-40B4-BE49-F238E27FC236}">
                      <a16:creationId xmlns:a16="http://schemas.microsoft.com/office/drawing/2014/main" id="{9447EEDB-31BF-45B5-9337-32845D94AC42}"/>
                    </a:ext>
                  </a:extLst>
                </p:cNvPr>
                <p:cNvSpPr/>
                <p:nvPr/>
              </p:nvSpPr>
              <p:spPr>
                <a:xfrm>
                  <a:off x="6784456" y="4359864"/>
                  <a:ext cx="197965" cy="305166"/>
                </a:xfrm>
                <a:custGeom>
                  <a:avLst/>
                  <a:gdLst>
                    <a:gd name="connsiteX0" fmla="*/ 34384 w 197965"/>
                    <a:gd name="connsiteY0" fmla="*/ 3325 h 305166"/>
                    <a:gd name="connsiteX1" fmla="*/ 35321 w 197965"/>
                    <a:gd name="connsiteY1" fmla="*/ 3904 h 305166"/>
                    <a:gd name="connsiteX2" fmla="*/ 36625 w 197965"/>
                    <a:gd name="connsiteY2" fmla="*/ 3293 h 305166"/>
                    <a:gd name="connsiteX3" fmla="*/ 37766 w 197965"/>
                    <a:gd name="connsiteY3" fmla="*/ 2445 h 305166"/>
                    <a:gd name="connsiteX4" fmla="*/ 38874 w 197965"/>
                    <a:gd name="connsiteY4" fmla="*/ 2266 h 305166"/>
                    <a:gd name="connsiteX5" fmla="*/ 45736 w 197965"/>
                    <a:gd name="connsiteY5" fmla="*/ 4523 h 305166"/>
                    <a:gd name="connsiteX6" fmla="*/ 46885 w 197965"/>
                    <a:gd name="connsiteY6" fmla="*/ 6479 h 305166"/>
                    <a:gd name="connsiteX7" fmla="*/ 46812 w 197965"/>
                    <a:gd name="connsiteY7" fmla="*/ 8598 h 305166"/>
                    <a:gd name="connsiteX8" fmla="*/ 47097 w 197965"/>
                    <a:gd name="connsiteY8" fmla="*/ 10130 h 305166"/>
                    <a:gd name="connsiteX9" fmla="*/ 46592 w 197965"/>
                    <a:gd name="connsiteY9" fmla="*/ 11670 h 305166"/>
                    <a:gd name="connsiteX10" fmla="*/ 46013 w 197965"/>
                    <a:gd name="connsiteY10" fmla="*/ 16316 h 305166"/>
                    <a:gd name="connsiteX11" fmla="*/ 46184 w 197965"/>
                    <a:gd name="connsiteY11" fmla="*/ 20586 h 305166"/>
                    <a:gd name="connsiteX12" fmla="*/ 48230 w 197965"/>
                    <a:gd name="connsiteY12" fmla="*/ 23748 h 305166"/>
                    <a:gd name="connsiteX13" fmla="*/ 50072 w 197965"/>
                    <a:gd name="connsiteY13" fmla="*/ 26234 h 305166"/>
                    <a:gd name="connsiteX14" fmla="*/ 51539 w 197965"/>
                    <a:gd name="connsiteY14" fmla="*/ 29714 h 305166"/>
                    <a:gd name="connsiteX15" fmla="*/ 52607 w 197965"/>
                    <a:gd name="connsiteY15" fmla="*/ 30782 h 305166"/>
                    <a:gd name="connsiteX16" fmla="*/ 54098 w 197965"/>
                    <a:gd name="connsiteY16" fmla="*/ 31328 h 305166"/>
                    <a:gd name="connsiteX17" fmla="*/ 58809 w 197965"/>
                    <a:gd name="connsiteY17" fmla="*/ 31482 h 305166"/>
                    <a:gd name="connsiteX18" fmla="*/ 65784 w 197965"/>
                    <a:gd name="connsiteY18" fmla="*/ 31711 h 305166"/>
                    <a:gd name="connsiteX19" fmla="*/ 72492 w 197965"/>
                    <a:gd name="connsiteY19" fmla="*/ 31923 h 305166"/>
                    <a:gd name="connsiteX20" fmla="*/ 73095 w 197965"/>
                    <a:gd name="connsiteY20" fmla="*/ 32004 h 305166"/>
                    <a:gd name="connsiteX21" fmla="*/ 74521 w 197965"/>
                    <a:gd name="connsiteY21" fmla="*/ 32485 h 305166"/>
                    <a:gd name="connsiteX22" fmla="*/ 80691 w 197965"/>
                    <a:gd name="connsiteY22" fmla="*/ 37187 h 305166"/>
                    <a:gd name="connsiteX23" fmla="*/ 86346 w 197965"/>
                    <a:gd name="connsiteY23" fmla="*/ 41499 h 305166"/>
                    <a:gd name="connsiteX24" fmla="*/ 91130 w 197965"/>
                    <a:gd name="connsiteY24" fmla="*/ 45239 h 305166"/>
                    <a:gd name="connsiteX25" fmla="*/ 95784 w 197965"/>
                    <a:gd name="connsiteY25" fmla="*/ 48874 h 305166"/>
                    <a:gd name="connsiteX26" fmla="*/ 100299 w 197965"/>
                    <a:gd name="connsiteY26" fmla="*/ 52411 h 305166"/>
                    <a:gd name="connsiteX27" fmla="*/ 103811 w 197965"/>
                    <a:gd name="connsiteY27" fmla="*/ 55345 h 305166"/>
                    <a:gd name="connsiteX28" fmla="*/ 107259 w 197965"/>
                    <a:gd name="connsiteY28" fmla="*/ 56233 h 305166"/>
                    <a:gd name="connsiteX29" fmla="*/ 112866 w 197965"/>
                    <a:gd name="connsiteY29" fmla="*/ 56657 h 305166"/>
                    <a:gd name="connsiteX30" fmla="*/ 116745 w 197965"/>
                    <a:gd name="connsiteY30" fmla="*/ 56796 h 305166"/>
                    <a:gd name="connsiteX31" fmla="*/ 120339 w 197965"/>
                    <a:gd name="connsiteY31" fmla="*/ 58026 h 305166"/>
                    <a:gd name="connsiteX32" fmla="*/ 125661 w 197965"/>
                    <a:gd name="connsiteY32" fmla="*/ 59175 h 305166"/>
                    <a:gd name="connsiteX33" fmla="*/ 129638 w 197965"/>
                    <a:gd name="connsiteY33" fmla="*/ 59770 h 305166"/>
                    <a:gd name="connsiteX34" fmla="*/ 132058 w 197965"/>
                    <a:gd name="connsiteY34" fmla="*/ 60430 h 305166"/>
                    <a:gd name="connsiteX35" fmla="*/ 138725 w 197965"/>
                    <a:gd name="connsiteY35" fmla="*/ 61107 h 305166"/>
                    <a:gd name="connsiteX36" fmla="*/ 139833 w 197965"/>
                    <a:gd name="connsiteY36" fmla="*/ 60716 h 305166"/>
                    <a:gd name="connsiteX37" fmla="*/ 142767 w 197965"/>
                    <a:gd name="connsiteY37" fmla="*/ 57456 h 305166"/>
                    <a:gd name="connsiteX38" fmla="*/ 146059 w 197965"/>
                    <a:gd name="connsiteY38" fmla="*/ 52175 h 305166"/>
                    <a:gd name="connsiteX39" fmla="*/ 147339 w 197965"/>
                    <a:gd name="connsiteY39" fmla="*/ 49265 h 305166"/>
                    <a:gd name="connsiteX40" fmla="*/ 151609 w 197965"/>
                    <a:gd name="connsiteY40" fmla="*/ 46372 h 305166"/>
                    <a:gd name="connsiteX41" fmla="*/ 159091 w 197965"/>
                    <a:gd name="connsiteY41" fmla="*/ 42330 h 305166"/>
                    <a:gd name="connsiteX42" fmla="*/ 164364 w 197965"/>
                    <a:gd name="connsiteY42" fmla="*/ 39485 h 305166"/>
                    <a:gd name="connsiteX43" fmla="*/ 170240 w 197965"/>
                    <a:gd name="connsiteY43" fmla="*/ 36617 h 305166"/>
                    <a:gd name="connsiteX44" fmla="*/ 172896 w 197965"/>
                    <a:gd name="connsiteY44" fmla="*/ 39102 h 305166"/>
                    <a:gd name="connsiteX45" fmla="*/ 176572 w 197965"/>
                    <a:gd name="connsiteY45" fmla="*/ 43088 h 305166"/>
                    <a:gd name="connsiteX46" fmla="*/ 178218 w 197965"/>
                    <a:gd name="connsiteY46" fmla="*/ 45052 h 305166"/>
                    <a:gd name="connsiteX47" fmla="*/ 179538 w 197965"/>
                    <a:gd name="connsiteY47" fmla="*/ 45916 h 305166"/>
                    <a:gd name="connsiteX48" fmla="*/ 181527 w 197965"/>
                    <a:gd name="connsiteY48" fmla="*/ 46503 h 305166"/>
                    <a:gd name="connsiteX49" fmla="*/ 183964 w 197965"/>
                    <a:gd name="connsiteY49" fmla="*/ 46519 h 305166"/>
                    <a:gd name="connsiteX50" fmla="*/ 185292 w 197965"/>
                    <a:gd name="connsiteY50" fmla="*/ 46429 h 305166"/>
                    <a:gd name="connsiteX51" fmla="*/ 187998 w 197965"/>
                    <a:gd name="connsiteY51" fmla="*/ 45916 h 305166"/>
                    <a:gd name="connsiteX52" fmla="*/ 194339 w 197965"/>
                    <a:gd name="connsiteY52" fmla="*/ 45443 h 305166"/>
                    <a:gd name="connsiteX53" fmla="*/ 197965 w 197965"/>
                    <a:gd name="connsiteY53" fmla="*/ 45484 h 305166"/>
                    <a:gd name="connsiteX54" fmla="*/ 194925 w 197965"/>
                    <a:gd name="connsiteY54" fmla="*/ 50765 h 305166"/>
                    <a:gd name="connsiteX55" fmla="*/ 191266 w 197965"/>
                    <a:gd name="connsiteY55" fmla="*/ 57089 h 305166"/>
                    <a:gd name="connsiteX56" fmla="*/ 184518 w 197965"/>
                    <a:gd name="connsiteY56" fmla="*/ 68743 h 305166"/>
                    <a:gd name="connsiteX57" fmla="*/ 179392 w 197965"/>
                    <a:gd name="connsiteY57" fmla="*/ 74872 h 305166"/>
                    <a:gd name="connsiteX58" fmla="*/ 175521 w 197965"/>
                    <a:gd name="connsiteY58" fmla="*/ 79501 h 305166"/>
                    <a:gd name="connsiteX59" fmla="*/ 175162 w 197965"/>
                    <a:gd name="connsiteY59" fmla="*/ 80332 h 305166"/>
                    <a:gd name="connsiteX60" fmla="*/ 175178 w 197965"/>
                    <a:gd name="connsiteY60" fmla="*/ 85499 h 305166"/>
                    <a:gd name="connsiteX61" fmla="*/ 175219 w 197965"/>
                    <a:gd name="connsiteY61" fmla="*/ 98115 h 305166"/>
                    <a:gd name="connsiteX62" fmla="*/ 175301 w 197965"/>
                    <a:gd name="connsiteY62" fmla="*/ 123354 h 305166"/>
                    <a:gd name="connsiteX63" fmla="*/ 175382 w 197965"/>
                    <a:gd name="connsiteY63" fmla="*/ 148586 h 305166"/>
                    <a:gd name="connsiteX64" fmla="*/ 175472 w 197965"/>
                    <a:gd name="connsiteY64" fmla="*/ 173818 h 305166"/>
                    <a:gd name="connsiteX65" fmla="*/ 175513 w 197965"/>
                    <a:gd name="connsiteY65" fmla="*/ 186433 h 305166"/>
                    <a:gd name="connsiteX66" fmla="*/ 175529 w 197965"/>
                    <a:gd name="connsiteY66" fmla="*/ 190679 h 305166"/>
                    <a:gd name="connsiteX67" fmla="*/ 178928 w 197965"/>
                    <a:gd name="connsiteY67" fmla="*/ 195969 h 305166"/>
                    <a:gd name="connsiteX68" fmla="*/ 182244 w 197965"/>
                    <a:gd name="connsiteY68" fmla="*/ 201160 h 305166"/>
                    <a:gd name="connsiteX69" fmla="*/ 186645 w 197965"/>
                    <a:gd name="connsiteY69" fmla="*/ 208014 h 305166"/>
                    <a:gd name="connsiteX70" fmla="*/ 188984 w 197965"/>
                    <a:gd name="connsiteY70" fmla="*/ 211698 h 305166"/>
                    <a:gd name="connsiteX71" fmla="*/ 189383 w 197965"/>
                    <a:gd name="connsiteY71" fmla="*/ 212920 h 305166"/>
                    <a:gd name="connsiteX72" fmla="*/ 189261 w 197965"/>
                    <a:gd name="connsiteY72" fmla="*/ 215373 h 305166"/>
                    <a:gd name="connsiteX73" fmla="*/ 185651 w 197965"/>
                    <a:gd name="connsiteY73" fmla="*/ 220524 h 305166"/>
                    <a:gd name="connsiteX74" fmla="*/ 182693 w 197965"/>
                    <a:gd name="connsiteY74" fmla="*/ 222854 h 305166"/>
                    <a:gd name="connsiteX75" fmla="*/ 178707 w 197965"/>
                    <a:gd name="connsiteY75" fmla="*/ 223971 h 305166"/>
                    <a:gd name="connsiteX76" fmla="*/ 177509 w 197965"/>
                    <a:gd name="connsiteY76" fmla="*/ 223767 h 305166"/>
                    <a:gd name="connsiteX77" fmla="*/ 175952 w 197965"/>
                    <a:gd name="connsiteY77" fmla="*/ 223026 h 305166"/>
                    <a:gd name="connsiteX78" fmla="*/ 175342 w 197965"/>
                    <a:gd name="connsiteY78" fmla="*/ 224256 h 305166"/>
                    <a:gd name="connsiteX79" fmla="*/ 174877 w 197965"/>
                    <a:gd name="connsiteY79" fmla="*/ 226180 h 305166"/>
                    <a:gd name="connsiteX80" fmla="*/ 173997 w 197965"/>
                    <a:gd name="connsiteY80" fmla="*/ 225764 h 305166"/>
                    <a:gd name="connsiteX81" fmla="*/ 173329 w 197965"/>
                    <a:gd name="connsiteY81" fmla="*/ 225202 h 305166"/>
                    <a:gd name="connsiteX82" fmla="*/ 173728 w 197965"/>
                    <a:gd name="connsiteY82" fmla="*/ 228616 h 305166"/>
                    <a:gd name="connsiteX83" fmla="*/ 174135 w 197965"/>
                    <a:gd name="connsiteY83" fmla="*/ 230303 h 305166"/>
                    <a:gd name="connsiteX84" fmla="*/ 173548 w 197965"/>
                    <a:gd name="connsiteY84" fmla="*/ 232585 h 305166"/>
                    <a:gd name="connsiteX85" fmla="*/ 171609 w 197965"/>
                    <a:gd name="connsiteY85" fmla="*/ 234566 h 305166"/>
                    <a:gd name="connsiteX86" fmla="*/ 171438 w 197965"/>
                    <a:gd name="connsiteY86" fmla="*/ 236253 h 305166"/>
                    <a:gd name="connsiteX87" fmla="*/ 167241 w 197965"/>
                    <a:gd name="connsiteY87" fmla="*/ 240645 h 305166"/>
                    <a:gd name="connsiteX88" fmla="*/ 161299 w 197965"/>
                    <a:gd name="connsiteY88" fmla="*/ 241134 h 305166"/>
                    <a:gd name="connsiteX89" fmla="*/ 158170 w 197965"/>
                    <a:gd name="connsiteY89" fmla="*/ 243327 h 305166"/>
                    <a:gd name="connsiteX90" fmla="*/ 156784 w 197965"/>
                    <a:gd name="connsiteY90" fmla="*/ 245120 h 305166"/>
                    <a:gd name="connsiteX91" fmla="*/ 155725 w 197965"/>
                    <a:gd name="connsiteY91" fmla="*/ 249031 h 305166"/>
                    <a:gd name="connsiteX92" fmla="*/ 156092 w 197965"/>
                    <a:gd name="connsiteY92" fmla="*/ 255030 h 305166"/>
                    <a:gd name="connsiteX93" fmla="*/ 154438 w 197965"/>
                    <a:gd name="connsiteY93" fmla="*/ 259642 h 305166"/>
                    <a:gd name="connsiteX94" fmla="*/ 154120 w 197965"/>
                    <a:gd name="connsiteY94" fmla="*/ 261949 h 305166"/>
                    <a:gd name="connsiteX95" fmla="*/ 151064 w 197965"/>
                    <a:gd name="connsiteY95" fmla="*/ 264956 h 305166"/>
                    <a:gd name="connsiteX96" fmla="*/ 149694 w 197965"/>
                    <a:gd name="connsiteY96" fmla="*/ 267711 h 305166"/>
                    <a:gd name="connsiteX97" fmla="*/ 148692 w 197965"/>
                    <a:gd name="connsiteY97" fmla="*/ 270506 h 305166"/>
                    <a:gd name="connsiteX98" fmla="*/ 147820 w 197965"/>
                    <a:gd name="connsiteY98" fmla="*/ 271728 h 305166"/>
                    <a:gd name="connsiteX99" fmla="*/ 146785 w 197965"/>
                    <a:gd name="connsiteY99" fmla="*/ 278012 h 305166"/>
                    <a:gd name="connsiteX100" fmla="*/ 145350 w 197965"/>
                    <a:gd name="connsiteY100" fmla="*/ 281810 h 305166"/>
                    <a:gd name="connsiteX101" fmla="*/ 144959 w 197965"/>
                    <a:gd name="connsiteY101" fmla="*/ 283073 h 305166"/>
                    <a:gd name="connsiteX102" fmla="*/ 144609 w 197965"/>
                    <a:gd name="connsiteY102" fmla="*/ 284222 h 305166"/>
                    <a:gd name="connsiteX103" fmla="*/ 143500 w 197965"/>
                    <a:gd name="connsiteY103" fmla="*/ 286447 h 305166"/>
                    <a:gd name="connsiteX104" fmla="*/ 142783 w 197965"/>
                    <a:gd name="connsiteY104" fmla="*/ 287979 h 305166"/>
                    <a:gd name="connsiteX105" fmla="*/ 142262 w 197965"/>
                    <a:gd name="connsiteY105" fmla="*/ 288990 h 305166"/>
                    <a:gd name="connsiteX106" fmla="*/ 138643 w 197965"/>
                    <a:gd name="connsiteY106" fmla="*/ 298753 h 305166"/>
                    <a:gd name="connsiteX107" fmla="*/ 135807 w 197965"/>
                    <a:gd name="connsiteY107" fmla="*/ 303162 h 305166"/>
                    <a:gd name="connsiteX108" fmla="*/ 133599 w 197965"/>
                    <a:gd name="connsiteY108" fmla="*/ 302657 h 305166"/>
                    <a:gd name="connsiteX109" fmla="*/ 132123 w 197965"/>
                    <a:gd name="connsiteY109" fmla="*/ 304360 h 305166"/>
                    <a:gd name="connsiteX110" fmla="*/ 131952 w 197965"/>
                    <a:gd name="connsiteY110" fmla="*/ 305167 h 305166"/>
                    <a:gd name="connsiteX111" fmla="*/ 131170 w 197965"/>
                    <a:gd name="connsiteY111" fmla="*/ 304710 h 305166"/>
                    <a:gd name="connsiteX112" fmla="*/ 129320 w 197965"/>
                    <a:gd name="connsiteY112" fmla="*/ 303105 h 305166"/>
                    <a:gd name="connsiteX113" fmla="*/ 125506 w 197965"/>
                    <a:gd name="connsiteY113" fmla="*/ 299788 h 305166"/>
                    <a:gd name="connsiteX114" fmla="*/ 121700 w 197965"/>
                    <a:gd name="connsiteY114" fmla="*/ 296479 h 305166"/>
                    <a:gd name="connsiteX115" fmla="*/ 117894 w 197965"/>
                    <a:gd name="connsiteY115" fmla="*/ 293171 h 305166"/>
                    <a:gd name="connsiteX116" fmla="*/ 114080 w 197965"/>
                    <a:gd name="connsiteY116" fmla="*/ 289853 h 305166"/>
                    <a:gd name="connsiteX117" fmla="*/ 110266 w 197965"/>
                    <a:gd name="connsiteY117" fmla="*/ 286537 h 305166"/>
                    <a:gd name="connsiteX118" fmla="*/ 106460 w 197965"/>
                    <a:gd name="connsiteY118" fmla="*/ 283228 h 305166"/>
                    <a:gd name="connsiteX119" fmla="*/ 102646 w 197965"/>
                    <a:gd name="connsiteY119" fmla="*/ 279919 h 305166"/>
                    <a:gd name="connsiteX120" fmla="*/ 98840 w 197965"/>
                    <a:gd name="connsiteY120" fmla="*/ 276602 h 305166"/>
                    <a:gd name="connsiteX121" fmla="*/ 96615 w 197965"/>
                    <a:gd name="connsiteY121" fmla="*/ 274662 h 305166"/>
                    <a:gd name="connsiteX122" fmla="*/ 95629 w 197965"/>
                    <a:gd name="connsiteY122" fmla="*/ 273513 h 305166"/>
                    <a:gd name="connsiteX123" fmla="*/ 94855 w 197965"/>
                    <a:gd name="connsiteY123" fmla="*/ 271231 h 305166"/>
                    <a:gd name="connsiteX124" fmla="*/ 94480 w 197965"/>
                    <a:gd name="connsiteY124" fmla="*/ 270661 h 305166"/>
                    <a:gd name="connsiteX125" fmla="*/ 93453 w 197965"/>
                    <a:gd name="connsiteY125" fmla="*/ 269944 h 305166"/>
                    <a:gd name="connsiteX126" fmla="*/ 92263 w 197965"/>
                    <a:gd name="connsiteY126" fmla="*/ 269789 h 305166"/>
                    <a:gd name="connsiteX127" fmla="*/ 91921 w 197965"/>
                    <a:gd name="connsiteY127" fmla="*/ 269341 h 305166"/>
                    <a:gd name="connsiteX128" fmla="*/ 91929 w 197965"/>
                    <a:gd name="connsiteY128" fmla="*/ 268240 h 305166"/>
                    <a:gd name="connsiteX129" fmla="*/ 92353 w 197965"/>
                    <a:gd name="connsiteY129" fmla="*/ 266659 h 305166"/>
                    <a:gd name="connsiteX130" fmla="*/ 93746 w 197965"/>
                    <a:gd name="connsiteY130" fmla="*/ 263620 h 305166"/>
                    <a:gd name="connsiteX131" fmla="*/ 93901 w 197965"/>
                    <a:gd name="connsiteY131" fmla="*/ 261827 h 305166"/>
                    <a:gd name="connsiteX132" fmla="*/ 93632 w 197965"/>
                    <a:gd name="connsiteY132" fmla="*/ 259797 h 305166"/>
                    <a:gd name="connsiteX133" fmla="*/ 93192 w 197965"/>
                    <a:gd name="connsiteY133" fmla="*/ 256554 h 305166"/>
                    <a:gd name="connsiteX134" fmla="*/ 92801 w 197965"/>
                    <a:gd name="connsiteY134" fmla="*/ 255812 h 305166"/>
                    <a:gd name="connsiteX135" fmla="*/ 90274 w 197965"/>
                    <a:gd name="connsiteY135" fmla="*/ 254117 h 305166"/>
                    <a:gd name="connsiteX136" fmla="*/ 84994 w 197965"/>
                    <a:gd name="connsiteY136" fmla="*/ 250547 h 305166"/>
                    <a:gd name="connsiteX137" fmla="*/ 79713 w 197965"/>
                    <a:gd name="connsiteY137" fmla="*/ 246978 h 305166"/>
                    <a:gd name="connsiteX138" fmla="*/ 74431 w 197965"/>
                    <a:gd name="connsiteY138" fmla="*/ 243408 h 305166"/>
                    <a:gd name="connsiteX139" fmla="*/ 69150 w 197965"/>
                    <a:gd name="connsiteY139" fmla="*/ 239839 h 305166"/>
                    <a:gd name="connsiteX140" fmla="*/ 63869 w 197965"/>
                    <a:gd name="connsiteY140" fmla="*/ 236269 h 305166"/>
                    <a:gd name="connsiteX141" fmla="*/ 58572 w 197965"/>
                    <a:gd name="connsiteY141" fmla="*/ 232708 h 305166"/>
                    <a:gd name="connsiteX142" fmla="*/ 53299 w 197965"/>
                    <a:gd name="connsiteY142" fmla="*/ 229138 h 305166"/>
                    <a:gd name="connsiteX143" fmla="*/ 48018 w 197965"/>
                    <a:gd name="connsiteY143" fmla="*/ 225577 h 305166"/>
                    <a:gd name="connsiteX144" fmla="*/ 42737 w 197965"/>
                    <a:gd name="connsiteY144" fmla="*/ 222007 h 305166"/>
                    <a:gd name="connsiteX145" fmla="*/ 37448 w 197965"/>
                    <a:gd name="connsiteY145" fmla="*/ 218437 h 305166"/>
                    <a:gd name="connsiteX146" fmla="*/ 32167 w 197965"/>
                    <a:gd name="connsiteY146" fmla="*/ 214876 h 305166"/>
                    <a:gd name="connsiteX147" fmla="*/ 26878 w 197965"/>
                    <a:gd name="connsiteY147" fmla="*/ 211315 h 305166"/>
                    <a:gd name="connsiteX148" fmla="*/ 21596 w 197965"/>
                    <a:gd name="connsiteY148" fmla="*/ 207753 h 305166"/>
                    <a:gd name="connsiteX149" fmla="*/ 16316 w 197965"/>
                    <a:gd name="connsiteY149" fmla="*/ 204184 h 305166"/>
                    <a:gd name="connsiteX150" fmla="*/ 11035 w 197965"/>
                    <a:gd name="connsiteY150" fmla="*/ 200614 h 305166"/>
                    <a:gd name="connsiteX151" fmla="*/ 5754 w 197965"/>
                    <a:gd name="connsiteY151" fmla="*/ 197044 h 305166"/>
                    <a:gd name="connsiteX152" fmla="*/ 3765 w 197965"/>
                    <a:gd name="connsiteY152" fmla="*/ 195708 h 305166"/>
                    <a:gd name="connsiteX153" fmla="*/ 1980 w 197965"/>
                    <a:gd name="connsiteY153" fmla="*/ 194575 h 305166"/>
                    <a:gd name="connsiteX154" fmla="*/ 82 w 197965"/>
                    <a:gd name="connsiteY154" fmla="*/ 194575 h 305166"/>
                    <a:gd name="connsiteX155" fmla="*/ 0 w 197965"/>
                    <a:gd name="connsiteY155" fmla="*/ 189465 h 305166"/>
                    <a:gd name="connsiteX156" fmla="*/ 611 w 197965"/>
                    <a:gd name="connsiteY156" fmla="*/ 176483 h 305166"/>
                    <a:gd name="connsiteX157" fmla="*/ 530 w 197965"/>
                    <a:gd name="connsiteY157" fmla="*/ 165081 h 305166"/>
                    <a:gd name="connsiteX158" fmla="*/ 1067 w 197965"/>
                    <a:gd name="connsiteY158" fmla="*/ 159368 h 305166"/>
                    <a:gd name="connsiteX159" fmla="*/ 3406 w 197965"/>
                    <a:gd name="connsiteY159" fmla="*/ 155750 h 305166"/>
                    <a:gd name="connsiteX160" fmla="*/ 4474 w 197965"/>
                    <a:gd name="connsiteY160" fmla="*/ 153117 h 305166"/>
                    <a:gd name="connsiteX161" fmla="*/ 5256 w 197965"/>
                    <a:gd name="connsiteY161" fmla="*/ 149442 h 305166"/>
                    <a:gd name="connsiteX162" fmla="*/ 6462 w 197965"/>
                    <a:gd name="connsiteY162" fmla="*/ 146443 h 305166"/>
                    <a:gd name="connsiteX163" fmla="*/ 9242 w 197965"/>
                    <a:gd name="connsiteY163" fmla="*/ 144014 h 305166"/>
                    <a:gd name="connsiteX164" fmla="*/ 9739 w 197965"/>
                    <a:gd name="connsiteY164" fmla="*/ 142661 h 305166"/>
                    <a:gd name="connsiteX165" fmla="*/ 12673 w 197965"/>
                    <a:gd name="connsiteY165" fmla="*/ 138586 h 305166"/>
                    <a:gd name="connsiteX166" fmla="*/ 14425 w 197965"/>
                    <a:gd name="connsiteY166" fmla="*/ 133346 h 305166"/>
                    <a:gd name="connsiteX167" fmla="*/ 15753 w 197965"/>
                    <a:gd name="connsiteY167" fmla="*/ 131569 h 305166"/>
                    <a:gd name="connsiteX168" fmla="*/ 17408 w 197965"/>
                    <a:gd name="connsiteY168" fmla="*/ 129923 h 305166"/>
                    <a:gd name="connsiteX169" fmla="*/ 18581 w 197965"/>
                    <a:gd name="connsiteY169" fmla="*/ 129059 h 305166"/>
                    <a:gd name="connsiteX170" fmla="*/ 20505 w 197965"/>
                    <a:gd name="connsiteY170" fmla="*/ 128195 h 305166"/>
                    <a:gd name="connsiteX171" fmla="*/ 22012 w 197965"/>
                    <a:gd name="connsiteY171" fmla="*/ 127698 h 305166"/>
                    <a:gd name="connsiteX172" fmla="*/ 22289 w 197965"/>
                    <a:gd name="connsiteY172" fmla="*/ 127291 h 305166"/>
                    <a:gd name="connsiteX173" fmla="*/ 22420 w 197965"/>
                    <a:gd name="connsiteY173" fmla="*/ 126443 h 305166"/>
                    <a:gd name="connsiteX174" fmla="*/ 21914 w 197965"/>
                    <a:gd name="connsiteY174" fmla="*/ 123200 h 305166"/>
                    <a:gd name="connsiteX175" fmla="*/ 22559 w 197965"/>
                    <a:gd name="connsiteY175" fmla="*/ 122140 h 305166"/>
                    <a:gd name="connsiteX176" fmla="*/ 23585 w 197965"/>
                    <a:gd name="connsiteY176" fmla="*/ 119972 h 305166"/>
                    <a:gd name="connsiteX177" fmla="*/ 24767 w 197965"/>
                    <a:gd name="connsiteY177" fmla="*/ 117951 h 305166"/>
                    <a:gd name="connsiteX178" fmla="*/ 25827 w 197965"/>
                    <a:gd name="connsiteY178" fmla="*/ 116672 h 305166"/>
                    <a:gd name="connsiteX179" fmla="*/ 26429 w 197965"/>
                    <a:gd name="connsiteY179" fmla="*/ 115351 h 305166"/>
                    <a:gd name="connsiteX180" fmla="*/ 26699 w 197965"/>
                    <a:gd name="connsiteY180" fmla="*/ 113070 h 305166"/>
                    <a:gd name="connsiteX181" fmla="*/ 26747 w 197965"/>
                    <a:gd name="connsiteY181" fmla="*/ 111448 h 305166"/>
                    <a:gd name="connsiteX182" fmla="*/ 26731 w 197965"/>
                    <a:gd name="connsiteY182" fmla="*/ 108807 h 305166"/>
                    <a:gd name="connsiteX183" fmla="*/ 26397 w 197965"/>
                    <a:gd name="connsiteY183" fmla="*/ 102801 h 305166"/>
                    <a:gd name="connsiteX184" fmla="*/ 25158 w 197965"/>
                    <a:gd name="connsiteY184" fmla="*/ 97772 h 305166"/>
                    <a:gd name="connsiteX185" fmla="*/ 24384 w 197965"/>
                    <a:gd name="connsiteY185" fmla="*/ 92149 h 305166"/>
                    <a:gd name="connsiteX186" fmla="*/ 24955 w 197965"/>
                    <a:gd name="connsiteY186" fmla="*/ 90299 h 305166"/>
                    <a:gd name="connsiteX187" fmla="*/ 23968 w 197965"/>
                    <a:gd name="connsiteY187" fmla="*/ 86999 h 305166"/>
                    <a:gd name="connsiteX188" fmla="*/ 23479 w 197965"/>
                    <a:gd name="connsiteY188" fmla="*/ 86819 h 305166"/>
                    <a:gd name="connsiteX189" fmla="*/ 22672 w 197965"/>
                    <a:gd name="connsiteY189" fmla="*/ 86102 h 305166"/>
                    <a:gd name="connsiteX190" fmla="*/ 21654 w 197965"/>
                    <a:gd name="connsiteY190" fmla="*/ 82997 h 305166"/>
                    <a:gd name="connsiteX191" fmla="*/ 20888 w 197965"/>
                    <a:gd name="connsiteY191" fmla="*/ 80161 h 305166"/>
                    <a:gd name="connsiteX192" fmla="*/ 20407 w 197965"/>
                    <a:gd name="connsiteY192" fmla="*/ 79444 h 305166"/>
                    <a:gd name="connsiteX193" fmla="*/ 17082 w 197965"/>
                    <a:gd name="connsiteY193" fmla="*/ 76966 h 305166"/>
                    <a:gd name="connsiteX194" fmla="*/ 15427 w 197965"/>
                    <a:gd name="connsiteY194" fmla="*/ 71123 h 305166"/>
                    <a:gd name="connsiteX195" fmla="*/ 13578 w 197965"/>
                    <a:gd name="connsiteY195" fmla="*/ 69819 h 305166"/>
                    <a:gd name="connsiteX196" fmla="*/ 12567 w 197965"/>
                    <a:gd name="connsiteY196" fmla="*/ 64008 h 305166"/>
                    <a:gd name="connsiteX197" fmla="*/ 12379 w 197965"/>
                    <a:gd name="connsiteY197" fmla="*/ 62354 h 305166"/>
                    <a:gd name="connsiteX198" fmla="*/ 13431 w 197965"/>
                    <a:gd name="connsiteY198" fmla="*/ 56551 h 305166"/>
                    <a:gd name="connsiteX199" fmla="*/ 13325 w 197965"/>
                    <a:gd name="connsiteY199" fmla="*/ 55223 h 305166"/>
                    <a:gd name="connsiteX200" fmla="*/ 12216 w 197965"/>
                    <a:gd name="connsiteY200" fmla="*/ 54000 h 305166"/>
                    <a:gd name="connsiteX201" fmla="*/ 9087 w 197965"/>
                    <a:gd name="connsiteY201" fmla="*/ 52753 h 305166"/>
                    <a:gd name="connsiteX202" fmla="*/ 6560 w 197965"/>
                    <a:gd name="connsiteY202" fmla="*/ 50366 h 305166"/>
                    <a:gd name="connsiteX203" fmla="*/ 6886 w 197965"/>
                    <a:gd name="connsiteY203" fmla="*/ 49526 h 305166"/>
                    <a:gd name="connsiteX204" fmla="*/ 7066 w 197965"/>
                    <a:gd name="connsiteY204" fmla="*/ 48662 h 305166"/>
                    <a:gd name="connsiteX205" fmla="*/ 5737 w 197965"/>
                    <a:gd name="connsiteY205" fmla="*/ 48084 h 305166"/>
                    <a:gd name="connsiteX206" fmla="*/ 1866 w 197965"/>
                    <a:gd name="connsiteY206" fmla="*/ 38165 h 305166"/>
                    <a:gd name="connsiteX207" fmla="*/ 6838 w 197965"/>
                    <a:gd name="connsiteY207" fmla="*/ 32200 h 305166"/>
                    <a:gd name="connsiteX208" fmla="*/ 11882 w 197965"/>
                    <a:gd name="connsiteY208" fmla="*/ 26153 h 305166"/>
                    <a:gd name="connsiteX209" fmla="*/ 18328 w 197965"/>
                    <a:gd name="connsiteY209" fmla="*/ 18508 h 305166"/>
                    <a:gd name="connsiteX210" fmla="*/ 24245 w 197965"/>
                    <a:gd name="connsiteY210" fmla="*/ 11491 h 305166"/>
                    <a:gd name="connsiteX211" fmla="*/ 29355 w 197965"/>
                    <a:gd name="connsiteY211" fmla="*/ 5411 h 305166"/>
                    <a:gd name="connsiteX212" fmla="*/ 33911 w 197965"/>
                    <a:gd name="connsiteY212" fmla="*/ 0 h 305166"/>
                    <a:gd name="connsiteX213" fmla="*/ 33805 w 197965"/>
                    <a:gd name="connsiteY213" fmla="*/ 1035 h 305166"/>
                    <a:gd name="connsiteX214" fmla="*/ 33830 w 197965"/>
                    <a:gd name="connsiteY214" fmla="*/ 2404 h 305166"/>
                    <a:gd name="connsiteX215" fmla="*/ 34384 w 197965"/>
                    <a:gd name="connsiteY215" fmla="*/ 3325 h 305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Lst>
                  <a:rect l="l" t="t" r="r" b="b"/>
                  <a:pathLst>
                    <a:path w="197965" h="305166">
                      <a:moveTo>
                        <a:pt x="34384" y="3325"/>
                      </a:moveTo>
                      <a:lnTo>
                        <a:pt x="35321" y="3904"/>
                      </a:lnTo>
                      <a:lnTo>
                        <a:pt x="36625" y="3293"/>
                      </a:lnTo>
                      <a:lnTo>
                        <a:pt x="37766" y="2445"/>
                      </a:lnTo>
                      <a:lnTo>
                        <a:pt x="38874" y="2266"/>
                      </a:lnTo>
                      <a:lnTo>
                        <a:pt x="45736" y="4523"/>
                      </a:lnTo>
                      <a:lnTo>
                        <a:pt x="46885" y="6479"/>
                      </a:lnTo>
                      <a:lnTo>
                        <a:pt x="46812" y="8598"/>
                      </a:lnTo>
                      <a:lnTo>
                        <a:pt x="47097" y="10130"/>
                      </a:lnTo>
                      <a:lnTo>
                        <a:pt x="46592" y="11670"/>
                      </a:lnTo>
                      <a:lnTo>
                        <a:pt x="46013" y="16316"/>
                      </a:lnTo>
                      <a:lnTo>
                        <a:pt x="46184" y="20586"/>
                      </a:lnTo>
                      <a:lnTo>
                        <a:pt x="48230" y="23748"/>
                      </a:lnTo>
                      <a:lnTo>
                        <a:pt x="50072" y="26234"/>
                      </a:lnTo>
                      <a:lnTo>
                        <a:pt x="51539" y="29714"/>
                      </a:lnTo>
                      <a:lnTo>
                        <a:pt x="52607" y="30782"/>
                      </a:lnTo>
                      <a:lnTo>
                        <a:pt x="54098" y="31328"/>
                      </a:lnTo>
                      <a:lnTo>
                        <a:pt x="58809" y="31482"/>
                      </a:lnTo>
                      <a:lnTo>
                        <a:pt x="65784" y="31711"/>
                      </a:lnTo>
                      <a:lnTo>
                        <a:pt x="72492" y="31923"/>
                      </a:lnTo>
                      <a:lnTo>
                        <a:pt x="73095" y="32004"/>
                      </a:lnTo>
                      <a:lnTo>
                        <a:pt x="74521" y="32485"/>
                      </a:lnTo>
                      <a:lnTo>
                        <a:pt x="80691" y="37187"/>
                      </a:lnTo>
                      <a:lnTo>
                        <a:pt x="86346" y="41499"/>
                      </a:lnTo>
                      <a:lnTo>
                        <a:pt x="91130" y="45239"/>
                      </a:lnTo>
                      <a:lnTo>
                        <a:pt x="95784" y="48874"/>
                      </a:lnTo>
                      <a:lnTo>
                        <a:pt x="100299" y="52411"/>
                      </a:lnTo>
                      <a:lnTo>
                        <a:pt x="103811" y="55345"/>
                      </a:lnTo>
                      <a:lnTo>
                        <a:pt x="107259" y="56233"/>
                      </a:lnTo>
                      <a:lnTo>
                        <a:pt x="112866" y="56657"/>
                      </a:lnTo>
                      <a:lnTo>
                        <a:pt x="116745" y="56796"/>
                      </a:lnTo>
                      <a:lnTo>
                        <a:pt x="120339" y="58026"/>
                      </a:lnTo>
                      <a:lnTo>
                        <a:pt x="125661" y="59175"/>
                      </a:lnTo>
                      <a:lnTo>
                        <a:pt x="129638" y="59770"/>
                      </a:lnTo>
                      <a:lnTo>
                        <a:pt x="132058" y="60430"/>
                      </a:lnTo>
                      <a:lnTo>
                        <a:pt x="138725" y="61107"/>
                      </a:lnTo>
                      <a:lnTo>
                        <a:pt x="139833" y="60716"/>
                      </a:lnTo>
                      <a:lnTo>
                        <a:pt x="142767" y="57456"/>
                      </a:lnTo>
                      <a:lnTo>
                        <a:pt x="146059" y="52175"/>
                      </a:lnTo>
                      <a:lnTo>
                        <a:pt x="147339" y="49265"/>
                      </a:lnTo>
                      <a:lnTo>
                        <a:pt x="151609" y="46372"/>
                      </a:lnTo>
                      <a:lnTo>
                        <a:pt x="159091" y="42330"/>
                      </a:lnTo>
                      <a:lnTo>
                        <a:pt x="164364" y="39485"/>
                      </a:lnTo>
                      <a:lnTo>
                        <a:pt x="170240" y="36617"/>
                      </a:lnTo>
                      <a:lnTo>
                        <a:pt x="172896" y="39102"/>
                      </a:lnTo>
                      <a:lnTo>
                        <a:pt x="176572" y="43088"/>
                      </a:lnTo>
                      <a:lnTo>
                        <a:pt x="178218" y="45052"/>
                      </a:lnTo>
                      <a:lnTo>
                        <a:pt x="179538" y="45916"/>
                      </a:lnTo>
                      <a:lnTo>
                        <a:pt x="181527" y="46503"/>
                      </a:lnTo>
                      <a:lnTo>
                        <a:pt x="183964" y="46519"/>
                      </a:lnTo>
                      <a:lnTo>
                        <a:pt x="185292" y="46429"/>
                      </a:lnTo>
                      <a:lnTo>
                        <a:pt x="187998" y="45916"/>
                      </a:lnTo>
                      <a:lnTo>
                        <a:pt x="194339" y="45443"/>
                      </a:lnTo>
                      <a:lnTo>
                        <a:pt x="197965" y="45484"/>
                      </a:lnTo>
                      <a:lnTo>
                        <a:pt x="194925" y="50765"/>
                      </a:lnTo>
                      <a:lnTo>
                        <a:pt x="191266" y="57089"/>
                      </a:lnTo>
                      <a:lnTo>
                        <a:pt x="184518" y="68743"/>
                      </a:lnTo>
                      <a:lnTo>
                        <a:pt x="179392" y="74872"/>
                      </a:lnTo>
                      <a:lnTo>
                        <a:pt x="175521" y="79501"/>
                      </a:lnTo>
                      <a:lnTo>
                        <a:pt x="175162" y="80332"/>
                      </a:lnTo>
                      <a:lnTo>
                        <a:pt x="175178" y="85499"/>
                      </a:lnTo>
                      <a:lnTo>
                        <a:pt x="175219" y="98115"/>
                      </a:lnTo>
                      <a:lnTo>
                        <a:pt x="175301" y="123354"/>
                      </a:lnTo>
                      <a:lnTo>
                        <a:pt x="175382" y="148586"/>
                      </a:lnTo>
                      <a:lnTo>
                        <a:pt x="175472" y="173818"/>
                      </a:lnTo>
                      <a:lnTo>
                        <a:pt x="175513" y="186433"/>
                      </a:lnTo>
                      <a:lnTo>
                        <a:pt x="175529" y="190679"/>
                      </a:lnTo>
                      <a:lnTo>
                        <a:pt x="178928" y="195969"/>
                      </a:lnTo>
                      <a:lnTo>
                        <a:pt x="182244" y="201160"/>
                      </a:lnTo>
                      <a:lnTo>
                        <a:pt x="186645" y="208014"/>
                      </a:lnTo>
                      <a:lnTo>
                        <a:pt x="188984" y="211698"/>
                      </a:lnTo>
                      <a:lnTo>
                        <a:pt x="189383" y="212920"/>
                      </a:lnTo>
                      <a:lnTo>
                        <a:pt x="189261" y="215373"/>
                      </a:lnTo>
                      <a:lnTo>
                        <a:pt x="185651" y="220524"/>
                      </a:lnTo>
                      <a:lnTo>
                        <a:pt x="182693" y="222854"/>
                      </a:lnTo>
                      <a:lnTo>
                        <a:pt x="178707" y="223971"/>
                      </a:lnTo>
                      <a:lnTo>
                        <a:pt x="177509" y="223767"/>
                      </a:lnTo>
                      <a:lnTo>
                        <a:pt x="175952" y="223026"/>
                      </a:lnTo>
                      <a:lnTo>
                        <a:pt x="175342" y="224256"/>
                      </a:lnTo>
                      <a:lnTo>
                        <a:pt x="174877" y="226180"/>
                      </a:lnTo>
                      <a:lnTo>
                        <a:pt x="173997" y="225764"/>
                      </a:lnTo>
                      <a:lnTo>
                        <a:pt x="173329" y="225202"/>
                      </a:lnTo>
                      <a:lnTo>
                        <a:pt x="173728" y="228616"/>
                      </a:lnTo>
                      <a:lnTo>
                        <a:pt x="174135" y="230303"/>
                      </a:lnTo>
                      <a:lnTo>
                        <a:pt x="173548" y="232585"/>
                      </a:lnTo>
                      <a:lnTo>
                        <a:pt x="171609" y="234566"/>
                      </a:lnTo>
                      <a:lnTo>
                        <a:pt x="171438" y="236253"/>
                      </a:lnTo>
                      <a:lnTo>
                        <a:pt x="167241" y="240645"/>
                      </a:lnTo>
                      <a:lnTo>
                        <a:pt x="161299" y="241134"/>
                      </a:lnTo>
                      <a:lnTo>
                        <a:pt x="158170" y="243327"/>
                      </a:lnTo>
                      <a:lnTo>
                        <a:pt x="156784" y="245120"/>
                      </a:lnTo>
                      <a:lnTo>
                        <a:pt x="155725" y="249031"/>
                      </a:lnTo>
                      <a:lnTo>
                        <a:pt x="156092" y="255030"/>
                      </a:lnTo>
                      <a:lnTo>
                        <a:pt x="154438" y="259642"/>
                      </a:lnTo>
                      <a:lnTo>
                        <a:pt x="154120" y="261949"/>
                      </a:lnTo>
                      <a:lnTo>
                        <a:pt x="151064" y="264956"/>
                      </a:lnTo>
                      <a:lnTo>
                        <a:pt x="149694" y="267711"/>
                      </a:lnTo>
                      <a:lnTo>
                        <a:pt x="148692" y="270506"/>
                      </a:lnTo>
                      <a:lnTo>
                        <a:pt x="147820" y="271728"/>
                      </a:lnTo>
                      <a:lnTo>
                        <a:pt x="146785" y="278012"/>
                      </a:lnTo>
                      <a:lnTo>
                        <a:pt x="145350" y="281810"/>
                      </a:lnTo>
                      <a:lnTo>
                        <a:pt x="144959" y="283073"/>
                      </a:lnTo>
                      <a:lnTo>
                        <a:pt x="144609" y="284222"/>
                      </a:lnTo>
                      <a:lnTo>
                        <a:pt x="143500" y="286447"/>
                      </a:lnTo>
                      <a:lnTo>
                        <a:pt x="142783" y="287979"/>
                      </a:lnTo>
                      <a:lnTo>
                        <a:pt x="142262" y="288990"/>
                      </a:lnTo>
                      <a:lnTo>
                        <a:pt x="138643" y="298753"/>
                      </a:lnTo>
                      <a:lnTo>
                        <a:pt x="135807" y="303162"/>
                      </a:lnTo>
                      <a:lnTo>
                        <a:pt x="133599" y="302657"/>
                      </a:lnTo>
                      <a:lnTo>
                        <a:pt x="132123" y="304360"/>
                      </a:lnTo>
                      <a:lnTo>
                        <a:pt x="131952" y="305167"/>
                      </a:lnTo>
                      <a:lnTo>
                        <a:pt x="131170" y="304710"/>
                      </a:lnTo>
                      <a:lnTo>
                        <a:pt x="129320" y="303105"/>
                      </a:lnTo>
                      <a:lnTo>
                        <a:pt x="125506" y="299788"/>
                      </a:lnTo>
                      <a:lnTo>
                        <a:pt x="121700" y="296479"/>
                      </a:lnTo>
                      <a:lnTo>
                        <a:pt x="117894" y="293171"/>
                      </a:lnTo>
                      <a:lnTo>
                        <a:pt x="114080" y="289853"/>
                      </a:lnTo>
                      <a:lnTo>
                        <a:pt x="110266" y="286537"/>
                      </a:lnTo>
                      <a:lnTo>
                        <a:pt x="106460" y="283228"/>
                      </a:lnTo>
                      <a:lnTo>
                        <a:pt x="102646" y="279919"/>
                      </a:lnTo>
                      <a:lnTo>
                        <a:pt x="98840" y="276602"/>
                      </a:lnTo>
                      <a:lnTo>
                        <a:pt x="96615" y="274662"/>
                      </a:lnTo>
                      <a:lnTo>
                        <a:pt x="95629" y="273513"/>
                      </a:lnTo>
                      <a:lnTo>
                        <a:pt x="94855" y="271231"/>
                      </a:lnTo>
                      <a:lnTo>
                        <a:pt x="94480" y="270661"/>
                      </a:lnTo>
                      <a:lnTo>
                        <a:pt x="93453" y="269944"/>
                      </a:lnTo>
                      <a:lnTo>
                        <a:pt x="92263" y="269789"/>
                      </a:lnTo>
                      <a:lnTo>
                        <a:pt x="91921" y="269341"/>
                      </a:lnTo>
                      <a:lnTo>
                        <a:pt x="91929" y="268240"/>
                      </a:lnTo>
                      <a:lnTo>
                        <a:pt x="92353" y="266659"/>
                      </a:lnTo>
                      <a:lnTo>
                        <a:pt x="93746" y="263620"/>
                      </a:lnTo>
                      <a:lnTo>
                        <a:pt x="93901" y="261827"/>
                      </a:lnTo>
                      <a:lnTo>
                        <a:pt x="93632" y="259797"/>
                      </a:lnTo>
                      <a:lnTo>
                        <a:pt x="93192" y="256554"/>
                      </a:lnTo>
                      <a:lnTo>
                        <a:pt x="92801" y="255812"/>
                      </a:lnTo>
                      <a:lnTo>
                        <a:pt x="90274" y="254117"/>
                      </a:lnTo>
                      <a:lnTo>
                        <a:pt x="84994" y="250547"/>
                      </a:lnTo>
                      <a:lnTo>
                        <a:pt x="79713" y="246978"/>
                      </a:lnTo>
                      <a:lnTo>
                        <a:pt x="74431" y="243408"/>
                      </a:lnTo>
                      <a:lnTo>
                        <a:pt x="69150" y="239839"/>
                      </a:lnTo>
                      <a:lnTo>
                        <a:pt x="63869" y="236269"/>
                      </a:lnTo>
                      <a:lnTo>
                        <a:pt x="58572" y="232708"/>
                      </a:lnTo>
                      <a:lnTo>
                        <a:pt x="53299" y="229138"/>
                      </a:lnTo>
                      <a:lnTo>
                        <a:pt x="48018" y="225577"/>
                      </a:lnTo>
                      <a:lnTo>
                        <a:pt x="42737" y="222007"/>
                      </a:lnTo>
                      <a:lnTo>
                        <a:pt x="37448" y="218437"/>
                      </a:lnTo>
                      <a:lnTo>
                        <a:pt x="32167" y="214876"/>
                      </a:lnTo>
                      <a:lnTo>
                        <a:pt x="26878" y="211315"/>
                      </a:lnTo>
                      <a:lnTo>
                        <a:pt x="21596" y="207753"/>
                      </a:lnTo>
                      <a:lnTo>
                        <a:pt x="16316" y="204184"/>
                      </a:lnTo>
                      <a:lnTo>
                        <a:pt x="11035" y="200614"/>
                      </a:lnTo>
                      <a:lnTo>
                        <a:pt x="5754" y="197044"/>
                      </a:lnTo>
                      <a:lnTo>
                        <a:pt x="3765" y="195708"/>
                      </a:lnTo>
                      <a:lnTo>
                        <a:pt x="1980" y="194575"/>
                      </a:lnTo>
                      <a:lnTo>
                        <a:pt x="82" y="194575"/>
                      </a:lnTo>
                      <a:lnTo>
                        <a:pt x="0" y="189465"/>
                      </a:lnTo>
                      <a:lnTo>
                        <a:pt x="611" y="176483"/>
                      </a:lnTo>
                      <a:lnTo>
                        <a:pt x="530" y="165081"/>
                      </a:lnTo>
                      <a:lnTo>
                        <a:pt x="1067" y="159368"/>
                      </a:lnTo>
                      <a:lnTo>
                        <a:pt x="3406" y="155750"/>
                      </a:lnTo>
                      <a:lnTo>
                        <a:pt x="4474" y="153117"/>
                      </a:lnTo>
                      <a:lnTo>
                        <a:pt x="5256" y="149442"/>
                      </a:lnTo>
                      <a:lnTo>
                        <a:pt x="6462" y="146443"/>
                      </a:lnTo>
                      <a:lnTo>
                        <a:pt x="9242" y="144014"/>
                      </a:lnTo>
                      <a:lnTo>
                        <a:pt x="9739" y="142661"/>
                      </a:lnTo>
                      <a:lnTo>
                        <a:pt x="12673" y="138586"/>
                      </a:lnTo>
                      <a:lnTo>
                        <a:pt x="14425" y="133346"/>
                      </a:lnTo>
                      <a:lnTo>
                        <a:pt x="15753" y="131569"/>
                      </a:lnTo>
                      <a:lnTo>
                        <a:pt x="17408" y="129923"/>
                      </a:lnTo>
                      <a:lnTo>
                        <a:pt x="18581" y="129059"/>
                      </a:lnTo>
                      <a:lnTo>
                        <a:pt x="20505" y="128195"/>
                      </a:lnTo>
                      <a:lnTo>
                        <a:pt x="22012" y="127698"/>
                      </a:lnTo>
                      <a:lnTo>
                        <a:pt x="22289" y="127291"/>
                      </a:lnTo>
                      <a:lnTo>
                        <a:pt x="22420" y="126443"/>
                      </a:lnTo>
                      <a:lnTo>
                        <a:pt x="21914" y="123200"/>
                      </a:lnTo>
                      <a:lnTo>
                        <a:pt x="22559" y="122140"/>
                      </a:lnTo>
                      <a:lnTo>
                        <a:pt x="23585" y="119972"/>
                      </a:lnTo>
                      <a:lnTo>
                        <a:pt x="24767" y="117951"/>
                      </a:lnTo>
                      <a:lnTo>
                        <a:pt x="25827" y="116672"/>
                      </a:lnTo>
                      <a:lnTo>
                        <a:pt x="26429" y="115351"/>
                      </a:lnTo>
                      <a:lnTo>
                        <a:pt x="26699" y="113070"/>
                      </a:lnTo>
                      <a:lnTo>
                        <a:pt x="26747" y="111448"/>
                      </a:lnTo>
                      <a:lnTo>
                        <a:pt x="26731" y="108807"/>
                      </a:lnTo>
                      <a:lnTo>
                        <a:pt x="26397" y="102801"/>
                      </a:lnTo>
                      <a:lnTo>
                        <a:pt x="25158" y="97772"/>
                      </a:lnTo>
                      <a:lnTo>
                        <a:pt x="24384" y="92149"/>
                      </a:lnTo>
                      <a:lnTo>
                        <a:pt x="24955" y="90299"/>
                      </a:lnTo>
                      <a:lnTo>
                        <a:pt x="23968" y="86999"/>
                      </a:lnTo>
                      <a:lnTo>
                        <a:pt x="23479" y="86819"/>
                      </a:lnTo>
                      <a:lnTo>
                        <a:pt x="22672" y="86102"/>
                      </a:lnTo>
                      <a:lnTo>
                        <a:pt x="21654" y="82997"/>
                      </a:lnTo>
                      <a:lnTo>
                        <a:pt x="20888" y="80161"/>
                      </a:lnTo>
                      <a:lnTo>
                        <a:pt x="20407" y="79444"/>
                      </a:lnTo>
                      <a:lnTo>
                        <a:pt x="17082" y="76966"/>
                      </a:lnTo>
                      <a:lnTo>
                        <a:pt x="15427" y="71123"/>
                      </a:lnTo>
                      <a:lnTo>
                        <a:pt x="13578" y="69819"/>
                      </a:lnTo>
                      <a:lnTo>
                        <a:pt x="12567" y="64008"/>
                      </a:lnTo>
                      <a:lnTo>
                        <a:pt x="12379" y="62354"/>
                      </a:lnTo>
                      <a:lnTo>
                        <a:pt x="13431" y="56551"/>
                      </a:lnTo>
                      <a:lnTo>
                        <a:pt x="13325" y="55223"/>
                      </a:lnTo>
                      <a:lnTo>
                        <a:pt x="12216" y="54000"/>
                      </a:lnTo>
                      <a:lnTo>
                        <a:pt x="9087" y="52753"/>
                      </a:lnTo>
                      <a:lnTo>
                        <a:pt x="6560" y="50366"/>
                      </a:lnTo>
                      <a:lnTo>
                        <a:pt x="6886" y="49526"/>
                      </a:lnTo>
                      <a:lnTo>
                        <a:pt x="7066" y="48662"/>
                      </a:lnTo>
                      <a:lnTo>
                        <a:pt x="5737" y="48084"/>
                      </a:lnTo>
                      <a:lnTo>
                        <a:pt x="1866" y="38165"/>
                      </a:lnTo>
                      <a:lnTo>
                        <a:pt x="6838" y="32200"/>
                      </a:lnTo>
                      <a:lnTo>
                        <a:pt x="11882" y="26153"/>
                      </a:lnTo>
                      <a:lnTo>
                        <a:pt x="18328" y="18508"/>
                      </a:lnTo>
                      <a:lnTo>
                        <a:pt x="24245" y="11491"/>
                      </a:lnTo>
                      <a:lnTo>
                        <a:pt x="29355" y="5411"/>
                      </a:lnTo>
                      <a:lnTo>
                        <a:pt x="33911" y="0"/>
                      </a:lnTo>
                      <a:lnTo>
                        <a:pt x="33805" y="1035"/>
                      </a:lnTo>
                      <a:lnTo>
                        <a:pt x="33830" y="2404"/>
                      </a:lnTo>
                      <a:lnTo>
                        <a:pt x="34384" y="3325"/>
                      </a:lnTo>
                      <a:close/>
                    </a:path>
                  </a:pathLst>
                </a:custGeom>
                <a:solidFill>
                  <a:srgbClr val="D6D6D2"/>
                </a:solidFill>
                <a:ln w="6112" cap="rnd">
                  <a:solidFill>
                    <a:srgbClr val="FFFFFF"/>
                  </a:solidFill>
                  <a:prstDash val="solid"/>
                  <a:round/>
                </a:ln>
              </p:spPr>
              <p:txBody>
                <a:bodyPr rtlCol="0" anchor="ctr"/>
                <a:lstStyle/>
                <a:p>
                  <a:endParaRPr lang="en-US"/>
                </a:p>
              </p:txBody>
            </p:sp>
            <p:sp>
              <p:nvSpPr>
                <p:cNvPr id="701" name="Freeform: Shape 700">
                  <a:extLst>
                    <a:ext uri="{FF2B5EF4-FFF2-40B4-BE49-F238E27FC236}">
                      <a16:creationId xmlns:a16="http://schemas.microsoft.com/office/drawing/2014/main" id="{483920C7-AC53-4336-A816-1A4951964319}"/>
                    </a:ext>
                  </a:extLst>
                </p:cNvPr>
                <p:cNvSpPr/>
                <p:nvPr/>
              </p:nvSpPr>
              <p:spPr>
                <a:xfrm>
                  <a:off x="7099688" y="2723715"/>
                  <a:ext cx="1009760" cy="531427"/>
                </a:xfrm>
                <a:custGeom>
                  <a:avLst/>
                  <a:gdLst>
                    <a:gd name="connsiteX0" fmla="*/ 582266 w 1009760"/>
                    <a:gd name="connsiteY0" fmla="*/ 8117 h 531427"/>
                    <a:gd name="connsiteX1" fmla="*/ 584621 w 1009760"/>
                    <a:gd name="connsiteY1" fmla="*/ 8663 h 531427"/>
                    <a:gd name="connsiteX2" fmla="*/ 587384 w 1009760"/>
                    <a:gd name="connsiteY2" fmla="*/ 7856 h 531427"/>
                    <a:gd name="connsiteX3" fmla="*/ 589315 w 1009760"/>
                    <a:gd name="connsiteY3" fmla="*/ 6764 h 531427"/>
                    <a:gd name="connsiteX4" fmla="*/ 590456 w 1009760"/>
                    <a:gd name="connsiteY4" fmla="*/ 5200 h 531427"/>
                    <a:gd name="connsiteX5" fmla="*/ 592176 w 1009760"/>
                    <a:gd name="connsiteY5" fmla="*/ 4083 h 531427"/>
                    <a:gd name="connsiteX6" fmla="*/ 598410 w 1009760"/>
                    <a:gd name="connsiteY6" fmla="*/ 3211 h 531427"/>
                    <a:gd name="connsiteX7" fmla="*/ 599706 w 1009760"/>
                    <a:gd name="connsiteY7" fmla="*/ 4898 h 531427"/>
                    <a:gd name="connsiteX8" fmla="*/ 602673 w 1009760"/>
                    <a:gd name="connsiteY8" fmla="*/ 9975 h 531427"/>
                    <a:gd name="connsiteX9" fmla="*/ 604702 w 1009760"/>
                    <a:gd name="connsiteY9" fmla="*/ 16731 h 531427"/>
                    <a:gd name="connsiteX10" fmla="*/ 608035 w 1009760"/>
                    <a:gd name="connsiteY10" fmla="*/ 25680 h 531427"/>
                    <a:gd name="connsiteX11" fmla="*/ 609510 w 1009760"/>
                    <a:gd name="connsiteY11" fmla="*/ 30073 h 531427"/>
                    <a:gd name="connsiteX12" fmla="*/ 608858 w 1009760"/>
                    <a:gd name="connsiteY12" fmla="*/ 32371 h 531427"/>
                    <a:gd name="connsiteX13" fmla="*/ 608875 w 1009760"/>
                    <a:gd name="connsiteY13" fmla="*/ 35533 h 531427"/>
                    <a:gd name="connsiteX14" fmla="*/ 608687 w 1009760"/>
                    <a:gd name="connsiteY14" fmla="*/ 38988 h 531427"/>
                    <a:gd name="connsiteX15" fmla="*/ 606226 w 1009760"/>
                    <a:gd name="connsiteY15" fmla="*/ 42900 h 531427"/>
                    <a:gd name="connsiteX16" fmla="*/ 607220 w 1009760"/>
                    <a:gd name="connsiteY16" fmla="*/ 44726 h 531427"/>
                    <a:gd name="connsiteX17" fmla="*/ 613251 w 1009760"/>
                    <a:gd name="connsiteY17" fmla="*/ 46763 h 531427"/>
                    <a:gd name="connsiteX18" fmla="*/ 621702 w 1009760"/>
                    <a:gd name="connsiteY18" fmla="*/ 46022 h 531427"/>
                    <a:gd name="connsiteX19" fmla="*/ 626918 w 1009760"/>
                    <a:gd name="connsiteY19" fmla="*/ 44383 h 531427"/>
                    <a:gd name="connsiteX20" fmla="*/ 629820 w 1009760"/>
                    <a:gd name="connsiteY20" fmla="*/ 44978 h 531427"/>
                    <a:gd name="connsiteX21" fmla="*/ 631344 w 1009760"/>
                    <a:gd name="connsiteY21" fmla="*/ 44000 h 531427"/>
                    <a:gd name="connsiteX22" fmla="*/ 632330 w 1009760"/>
                    <a:gd name="connsiteY22" fmla="*/ 41099 h 531427"/>
                    <a:gd name="connsiteX23" fmla="*/ 634326 w 1009760"/>
                    <a:gd name="connsiteY23" fmla="*/ 40447 h 531427"/>
                    <a:gd name="connsiteX24" fmla="*/ 636388 w 1009760"/>
                    <a:gd name="connsiteY24" fmla="*/ 42468 h 531427"/>
                    <a:gd name="connsiteX25" fmla="*/ 637888 w 1009760"/>
                    <a:gd name="connsiteY25" fmla="*/ 45891 h 531427"/>
                    <a:gd name="connsiteX26" fmla="*/ 639322 w 1009760"/>
                    <a:gd name="connsiteY26" fmla="*/ 48100 h 531427"/>
                    <a:gd name="connsiteX27" fmla="*/ 639216 w 1009760"/>
                    <a:gd name="connsiteY27" fmla="*/ 50716 h 531427"/>
                    <a:gd name="connsiteX28" fmla="*/ 639738 w 1009760"/>
                    <a:gd name="connsiteY28" fmla="*/ 54082 h 531427"/>
                    <a:gd name="connsiteX29" fmla="*/ 640789 w 1009760"/>
                    <a:gd name="connsiteY29" fmla="*/ 54937 h 531427"/>
                    <a:gd name="connsiteX30" fmla="*/ 642859 w 1009760"/>
                    <a:gd name="connsiteY30" fmla="*/ 53658 h 531427"/>
                    <a:gd name="connsiteX31" fmla="*/ 644244 w 1009760"/>
                    <a:gd name="connsiteY31" fmla="*/ 52900 h 531427"/>
                    <a:gd name="connsiteX32" fmla="*/ 644571 w 1009760"/>
                    <a:gd name="connsiteY32" fmla="*/ 51881 h 531427"/>
                    <a:gd name="connsiteX33" fmla="*/ 643984 w 1009760"/>
                    <a:gd name="connsiteY33" fmla="*/ 50618 h 531427"/>
                    <a:gd name="connsiteX34" fmla="*/ 643707 w 1009760"/>
                    <a:gd name="connsiteY34" fmla="*/ 49338 h 531427"/>
                    <a:gd name="connsiteX35" fmla="*/ 644163 w 1009760"/>
                    <a:gd name="connsiteY35" fmla="*/ 48157 h 531427"/>
                    <a:gd name="connsiteX36" fmla="*/ 645149 w 1009760"/>
                    <a:gd name="connsiteY36" fmla="*/ 47676 h 531427"/>
                    <a:gd name="connsiteX37" fmla="*/ 648091 w 1009760"/>
                    <a:gd name="connsiteY37" fmla="*/ 48043 h 531427"/>
                    <a:gd name="connsiteX38" fmla="*/ 652386 w 1009760"/>
                    <a:gd name="connsiteY38" fmla="*/ 48695 h 531427"/>
                    <a:gd name="connsiteX39" fmla="*/ 657480 w 1009760"/>
                    <a:gd name="connsiteY39" fmla="*/ 53462 h 531427"/>
                    <a:gd name="connsiteX40" fmla="*/ 660218 w 1009760"/>
                    <a:gd name="connsiteY40" fmla="*/ 54326 h 531427"/>
                    <a:gd name="connsiteX41" fmla="*/ 661383 w 1009760"/>
                    <a:gd name="connsiteY41" fmla="*/ 54408 h 531427"/>
                    <a:gd name="connsiteX42" fmla="*/ 663959 w 1009760"/>
                    <a:gd name="connsiteY42" fmla="*/ 54139 h 531427"/>
                    <a:gd name="connsiteX43" fmla="*/ 667064 w 1009760"/>
                    <a:gd name="connsiteY43" fmla="*/ 52761 h 531427"/>
                    <a:gd name="connsiteX44" fmla="*/ 669150 w 1009760"/>
                    <a:gd name="connsiteY44" fmla="*/ 51042 h 531427"/>
                    <a:gd name="connsiteX45" fmla="*/ 669843 w 1009760"/>
                    <a:gd name="connsiteY45" fmla="*/ 50194 h 531427"/>
                    <a:gd name="connsiteX46" fmla="*/ 671041 w 1009760"/>
                    <a:gd name="connsiteY46" fmla="*/ 50341 h 531427"/>
                    <a:gd name="connsiteX47" fmla="*/ 672190 w 1009760"/>
                    <a:gd name="connsiteY47" fmla="*/ 51140 h 531427"/>
                    <a:gd name="connsiteX48" fmla="*/ 672263 w 1009760"/>
                    <a:gd name="connsiteY48" fmla="*/ 52876 h 531427"/>
                    <a:gd name="connsiteX49" fmla="*/ 671367 w 1009760"/>
                    <a:gd name="connsiteY49" fmla="*/ 55394 h 531427"/>
                    <a:gd name="connsiteX50" fmla="*/ 668262 w 1009760"/>
                    <a:gd name="connsiteY50" fmla="*/ 57700 h 531427"/>
                    <a:gd name="connsiteX51" fmla="*/ 664423 w 1009760"/>
                    <a:gd name="connsiteY51" fmla="*/ 59844 h 531427"/>
                    <a:gd name="connsiteX52" fmla="*/ 662101 w 1009760"/>
                    <a:gd name="connsiteY52" fmla="*/ 63764 h 531427"/>
                    <a:gd name="connsiteX53" fmla="*/ 661603 w 1009760"/>
                    <a:gd name="connsiteY53" fmla="*/ 67855 h 531427"/>
                    <a:gd name="connsiteX54" fmla="*/ 662630 w 1009760"/>
                    <a:gd name="connsiteY54" fmla="*/ 69933 h 531427"/>
                    <a:gd name="connsiteX55" fmla="*/ 663486 w 1009760"/>
                    <a:gd name="connsiteY55" fmla="*/ 71318 h 531427"/>
                    <a:gd name="connsiteX56" fmla="*/ 663731 w 1009760"/>
                    <a:gd name="connsiteY56" fmla="*/ 73266 h 531427"/>
                    <a:gd name="connsiteX57" fmla="*/ 664603 w 1009760"/>
                    <a:gd name="connsiteY57" fmla="*/ 73519 h 531427"/>
                    <a:gd name="connsiteX58" fmla="*/ 666159 w 1009760"/>
                    <a:gd name="connsiteY58" fmla="*/ 72720 h 531427"/>
                    <a:gd name="connsiteX59" fmla="*/ 670446 w 1009760"/>
                    <a:gd name="connsiteY59" fmla="*/ 68686 h 531427"/>
                    <a:gd name="connsiteX60" fmla="*/ 672638 w 1009760"/>
                    <a:gd name="connsiteY60" fmla="*/ 67684 h 531427"/>
                    <a:gd name="connsiteX61" fmla="*/ 675817 w 1009760"/>
                    <a:gd name="connsiteY61" fmla="*/ 67048 h 531427"/>
                    <a:gd name="connsiteX62" fmla="*/ 681008 w 1009760"/>
                    <a:gd name="connsiteY62" fmla="*/ 67358 h 531427"/>
                    <a:gd name="connsiteX63" fmla="*/ 684520 w 1009760"/>
                    <a:gd name="connsiteY63" fmla="*/ 68670 h 531427"/>
                    <a:gd name="connsiteX64" fmla="*/ 686191 w 1009760"/>
                    <a:gd name="connsiteY64" fmla="*/ 70503 h 531427"/>
                    <a:gd name="connsiteX65" fmla="*/ 688033 w 1009760"/>
                    <a:gd name="connsiteY65" fmla="*/ 72011 h 531427"/>
                    <a:gd name="connsiteX66" fmla="*/ 689296 w 1009760"/>
                    <a:gd name="connsiteY66" fmla="*/ 71384 h 531427"/>
                    <a:gd name="connsiteX67" fmla="*/ 689956 w 1009760"/>
                    <a:gd name="connsiteY67" fmla="*/ 69648 h 531427"/>
                    <a:gd name="connsiteX68" fmla="*/ 689989 w 1009760"/>
                    <a:gd name="connsiteY68" fmla="*/ 67659 h 531427"/>
                    <a:gd name="connsiteX69" fmla="*/ 690519 w 1009760"/>
                    <a:gd name="connsiteY69" fmla="*/ 66021 h 531427"/>
                    <a:gd name="connsiteX70" fmla="*/ 696207 w 1009760"/>
                    <a:gd name="connsiteY70" fmla="*/ 61987 h 531427"/>
                    <a:gd name="connsiteX71" fmla="*/ 700005 w 1009760"/>
                    <a:gd name="connsiteY71" fmla="*/ 59306 h 531427"/>
                    <a:gd name="connsiteX72" fmla="*/ 701309 w 1009760"/>
                    <a:gd name="connsiteY72" fmla="*/ 58996 h 531427"/>
                    <a:gd name="connsiteX73" fmla="*/ 703835 w 1009760"/>
                    <a:gd name="connsiteY73" fmla="*/ 59550 h 531427"/>
                    <a:gd name="connsiteX74" fmla="*/ 705408 w 1009760"/>
                    <a:gd name="connsiteY74" fmla="*/ 59265 h 531427"/>
                    <a:gd name="connsiteX75" fmla="*/ 709581 w 1009760"/>
                    <a:gd name="connsiteY75" fmla="*/ 56738 h 531427"/>
                    <a:gd name="connsiteX76" fmla="*/ 713468 w 1009760"/>
                    <a:gd name="connsiteY76" fmla="*/ 53862 h 531427"/>
                    <a:gd name="connsiteX77" fmla="*/ 713851 w 1009760"/>
                    <a:gd name="connsiteY77" fmla="*/ 51914 h 531427"/>
                    <a:gd name="connsiteX78" fmla="*/ 713998 w 1009760"/>
                    <a:gd name="connsiteY78" fmla="*/ 50145 h 531427"/>
                    <a:gd name="connsiteX79" fmla="*/ 714968 w 1009760"/>
                    <a:gd name="connsiteY79" fmla="*/ 49347 h 531427"/>
                    <a:gd name="connsiteX80" fmla="*/ 720412 w 1009760"/>
                    <a:gd name="connsiteY80" fmla="*/ 48727 h 531427"/>
                    <a:gd name="connsiteX81" fmla="*/ 721309 w 1009760"/>
                    <a:gd name="connsiteY81" fmla="*/ 48393 h 531427"/>
                    <a:gd name="connsiteX82" fmla="*/ 725962 w 1009760"/>
                    <a:gd name="connsiteY82" fmla="*/ 46388 h 531427"/>
                    <a:gd name="connsiteX83" fmla="*/ 732409 w 1009760"/>
                    <a:gd name="connsiteY83" fmla="*/ 42973 h 531427"/>
                    <a:gd name="connsiteX84" fmla="*/ 735530 w 1009760"/>
                    <a:gd name="connsiteY84" fmla="*/ 40944 h 531427"/>
                    <a:gd name="connsiteX85" fmla="*/ 741226 w 1009760"/>
                    <a:gd name="connsiteY85" fmla="*/ 40048 h 531427"/>
                    <a:gd name="connsiteX86" fmla="*/ 742294 w 1009760"/>
                    <a:gd name="connsiteY86" fmla="*/ 39461 h 531427"/>
                    <a:gd name="connsiteX87" fmla="*/ 744176 w 1009760"/>
                    <a:gd name="connsiteY87" fmla="*/ 38100 h 531427"/>
                    <a:gd name="connsiteX88" fmla="*/ 747754 w 1009760"/>
                    <a:gd name="connsiteY88" fmla="*/ 36217 h 531427"/>
                    <a:gd name="connsiteX89" fmla="*/ 749677 w 1009760"/>
                    <a:gd name="connsiteY89" fmla="*/ 36014 h 531427"/>
                    <a:gd name="connsiteX90" fmla="*/ 748480 w 1009760"/>
                    <a:gd name="connsiteY90" fmla="*/ 40578 h 531427"/>
                    <a:gd name="connsiteX91" fmla="*/ 746344 w 1009760"/>
                    <a:gd name="connsiteY91" fmla="*/ 45842 h 531427"/>
                    <a:gd name="connsiteX92" fmla="*/ 745154 w 1009760"/>
                    <a:gd name="connsiteY92" fmla="*/ 47252 h 531427"/>
                    <a:gd name="connsiteX93" fmla="*/ 739368 w 1009760"/>
                    <a:gd name="connsiteY93" fmla="*/ 47016 h 531427"/>
                    <a:gd name="connsiteX94" fmla="*/ 739376 w 1009760"/>
                    <a:gd name="connsiteY94" fmla="*/ 48450 h 531427"/>
                    <a:gd name="connsiteX95" fmla="*/ 740289 w 1009760"/>
                    <a:gd name="connsiteY95" fmla="*/ 50651 h 531427"/>
                    <a:gd name="connsiteX96" fmla="*/ 740941 w 1009760"/>
                    <a:gd name="connsiteY96" fmla="*/ 51873 h 531427"/>
                    <a:gd name="connsiteX97" fmla="*/ 741634 w 1009760"/>
                    <a:gd name="connsiteY97" fmla="*/ 52981 h 531427"/>
                    <a:gd name="connsiteX98" fmla="*/ 743182 w 1009760"/>
                    <a:gd name="connsiteY98" fmla="*/ 54897 h 531427"/>
                    <a:gd name="connsiteX99" fmla="*/ 749262 w 1009760"/>
                    <a:gd name="connsiteY99" fmla="*/ 59411 h 531427"/>
                    <a:gd name="connsiteX100" fmla="*/ 756996 w 1009760"/>
                    <a:gd name="connsiteY100" fmla="*/ 65149 h 531427"/>
                    <a:gd name="connsiteX101" fmla="*/ 765341 w 1009760"/>
                    <a:gd name="connsiteY101" fmla="*/ 71587 h 531427"/>
                    <a:gd name="connsiteX102" fmla="*/ 771168 w 1009760"/>
                    <a:gd name="connsiteY102" fmla="*/ 76078 h 531427"/>
                    <a:gd name="connsiteX103" fmla="*/ 773532 w 1009760"/>
                    <a:gd name="connsiteY103" fmla="*/ 78392 h 531427"/>
                    <a:gd name="connsiteX104" fmla="*/ 775039 w 1009760"/>
                    <a:gd name="connsiteY104" fmla="*/ 80202 h 531427"/>
                    <a:gd name="connsiteX105" fmla="*/ 779343 w 1009760"/>
                    <a:gd name="connsiteY105" fmla="*/ 86729 h 531427"/>
                    <a:gd name="connsiteX106" fmla="*/ 783417 w 1009760"/>
                    <a:gd name="connsiteY106" fmla="*/ 92907 h 531427"/>
                    <a:gd name="connsiteX107" fmla="*/ 790304 w 1009760"/>
                    <a:gd name="connsiteY107" fmla="*/ 103771 h 531427"/>
                    <a:gd name="connsiteX108" fmla="*/ 796408 w 1009760"/>
                    <a:gd name="connsiteY108" fmla="*/ 114251 h 531427"/>
                    <a:gd name="connsiteX109" fmla="*/ 803107 w 1009760"/>
                    <a:gd name="connsiteY109" fmla="*/ 125750 h 531427"/>
                    <a:gd name="connsiteX110" fmla="*/ 806995 w 1009760"/>
                    <a:gd name="connsiteY110" fmla="*/ 132384 h 531427"/>
                    <a:gd name="connsiteX111" fmla="*/ 814940 w 1009760"/>
                    <a:gd name="connsiteY111" fmla="*/ 146247 h 531427"/>
                    <a:gd name="connsiteX112" fmla="*/ 817068 w 1009760"/>
                    <a:gd name="connsiteY112" fmla="*/ 150493 h 531427"/>
                    <a:gd name="connsiteX113" fmla="*/ 821086 w 1009760"/>
                    <a:gd name="connsiteY113" fmla="*/ 158512 h 531427"/>
                    <a:gd name="connsiteX114" fmla="*/ 824639 w 1009760"/>
                    <a:gd name="connsiteY114" fmla="*/ 166035 h 531427"/>
                    <a:gd name="connsiteX115" fmla="*/ 827793 w 1009760"/>
                    <a:gd name="connsiteY115" fmla="*/ 172677 h 531427"/>
                    <a:gd name="connsiteX116" fmla="*/ 829757 w 1009760"/>
                    <a:gd name="connsiteY116" fmla="*/ 173280 h 531427"/>
                    <a:gd name="connsiteX117" fmla="*/ 829920 w 1009760"/>
                    <a:gd name="connsiteY117" fmla="*/ 171479 h 531427"/>
                    <a:gd name="connsiteX118" fmla="*/ 830270 w 1009760"/>
                    <a:gd name="connsiteY118" fmla="*/ 170280 h 531427"/>
                    <a:gd name="connsiteX119" fmla="*/ 831289 w 1009760"/>
                    <a:gd name="connsiteY119" fmla="*/ 169604 h 531427"/>
                    <a:gd name="connsiteX120" fmla="*/ 833587 w 1009760"/>
                    <a:gd name="connsiteY120" fmla="*/ 167648 h 531427"/>
                    <a:gd name="connsiteX121" fmla="*/ 834826 w 1009760"/>
                    <a:gd name="connsiteY121" fmla="*/ 167175 h 531427"/>
                    <a:gd name="connsiteX122" fmla="*/ 836692 w 1009760"/>
                    <a:gd name="connsiteY122" fmla="*/ 167379 h 531427"/>
                    <a:gd name="connsiteX123" fmla="*/ 838632 w 1009760"/>
                    <a:gd name="connsiteY123" fmla="*/ 166377 h 531427"/>
                    <a:gd name="connsiteX124" fmla="*/ 839341 w 1009760"/>
                    <a:gd name="connsiteY124" fmla="*/ 164494 h 531427"/>
                    <a:gd name="connsiteX125" fmla="*/ 838876 w 1009760"/>
                    <a:gd name="connsiteY125" fmla="*/ 160998 h 531427"/>
                    <a:gd name="connsiteX126" fmla="*/ 838583 w 1009760"/>
                    <a:gd name="connsiteY126" fmla="*/ 159384 h 531427"/>
                    <a:gd name="connsiteX127" fmla="*/ 839243 w 1009760"/>
                    <a:gd name="connsiteY127" fmla="*/ 157665 h 531427"/>
                    <a:gd name="connsiteX128" fmla="*/ 840302 w 1009760"/>
                    <a:gd name="connsiteY128" fmla="*/ 156988 h 531427"/>
                    <a:gd name="connsiteX129" fmla="*/ 841786 w 1009760"/>
                    <a:gd name="connsiteY129" fmla="*/ 156442 h 531427"/>
                    <a:gd name="connsiteX130" fmla="*/ 843139 w 1009760"/>
                    <a:gd name="connsiteY130" fmla="*/ 156165 h 531427"/>
                    <a:gd name="connsiteX131" fmla="*/ 844263 w 1009760"/>
                    <a:gd name="connsiteY131" fmla="*/ 154217 h 531427"/>
                    <a:gd name="connsiteX132" fmla="*/ 846366 w 1009760"/>
                    <a:gd name="connsiteY132" fmla="*/ 153623 h 531427"/>
                    <a:gd name="connsiteX133" fmla="*/ 848297 w 1009760"/>
                    <a:gd name="connsiteY133" fmla="*/ 153989 h 531427"/>
                    <a:gd name="connsiteX134" fmla="*/ 849887 w 1009760"/>
                    <a:gd name="connsiteY134" fmla="*/ 154063 h 531427"/>
                    <a:gd name="connsiteX135" fmla="*/ 851296 w 1009760"/>
                    <a:gd name="connsiteY135" fmla="*/ 155481 h 531427"/>
                    <a:gd name="connsiteX136" fmla="*/ 852079 w 1009760"/>
                    <a:gd name="connsiteY136" fmla="*/ 157436 h 531427"/>
                    <a:gd name="connsiteX137" fmla="*/ 853603 w 1009760"/>
                    <a:gd name="connsiteY137" fmla="*/ 157591 h 531427"/>
                    <a:gd name="connsiteX138" fmla="*/ 856097 w 1009760"/>
                    <a:gd name="connsiteY138" fmla="*/ 157388 h 531427"/>
                    <a:gd name="connsiteX139" fmla="*/ 856439 w 1009760"/>
                    <a:gd name="connsiteY139" fmla="*/ 159026 h 531427"/>
                    <a:gd name="connsiteX140" fmla="*/ 855722 w 1009760"/>
                    <a:gd name="connsiteY140" fmla="*/ 161756 h 531427"/>
                    <a:gd name="connsiteX141" fmla="*/ 854858 w 1009760"/>
                    <a:gd name="connsiteY141" fmla="*/ 163875 h 531427"/>
                    <a:gd name="connsiteX142" fmla="*/ 854711 w 1009760"/>
                    <a:gd name="connsiteY142" fmla="*/ 165570 h 531427"/>
                    <a:gd name="connsiteX143" fmla="*/ 856031 w 1009760"/>
                    <a:gd name="connsiteY143" fmla="*/ 166393 h 531427"/>
                    <a:gd name="connsiteX144" fmla="*/ 860856 w 1009760"/>
                    <a:gd name="connsiteY144" fmla="*/ 165660 h 531427"/>
                    <a:gd name="connsiteX145" fmla="*/ 862576 w 1009760"/>
                    <a:gd name="connsiteY145" fmla="*/ 166018 h 531427"/>
                    <a:gd name="connsiteX146" fmla="*/ 863106 w 1009760"/>
                    <a:gd name="connsiteY146" fmla="*/ 167730 h 531427"/>
                    <a:gd name="connsiteX147" fmla="*/ 863790 w 1009760"/>
                    <a:gd name="connsiteY147" fmla="*/ 169156 h 531427"/>
                    <a:gd name="connsiteX148" fmla="*/ 864141 w 1009760"/>
                    <a:gd name="connsiteY148" fmla="*/ 170900 h 531427"/>
                    <a:gd name="connsiteX149" fmla="*/ 863635 w 1009760"/>
                    <a:gd name="connsiteY149" fmla="*/ 172823 h 531427"/>
                    <a:gd name="connsiteX150" fmla="*/ 864483 w 1009760"/>
                    <a:gd name="connsiteY150" fmla="*/ 173972 h 531427"/>
                    <a:gd name="connsiteX151" fmla="*/ 868647 w 1009760"/>
                    <a:gd name="connsiteY151" fmla="*/ 173997 h 531427"/>
                    <a:gd name="connsiteX152" fmla="*/ 871581 w 1009760"/>
                    <a:gd name="connsiteY152" fmla="*/ 173068 h 531427"/>
                    <a:gd name="connsiteX153" fmla="*/ 876088 w 1009760"/>
                    <a:gd name="connsiteY153" fmla="*/ 172994 h 531427"/>
                    <a:gd name="connsiteX154" fmla="*/ 880163 w 1009760"/>
                    <a:gd name="connsiteY154" fmla="*/ 175032 h 531427"/>
                    <a:gd name="connsiteX155" fmla="*/ 882991 w 1009760"/>
                    <a:gd name="connsiteY155" fmla="*/ 174714 h 531427"/>
                    <a:gd name="connsiteX156" fmla="*/ 885835 w 1009760"/>
                    <a:gd name="connsiteY156" fmla="*/ 173891 h 531427"/>
                    <a:gd name="connsiteX157" fmla="*/ 889992 w 1009760"/>
                    <a:gd name="connsiteY157" fmla="*/ 174412 h 531427"/>
                    <a:gd name="connsiteX158" fmla="*/ 892901 w 1009760"/>
                    <a:gd name="connsiteY158" fmla="*/ 172807 h 531427"/>
                    <a:gd name="connsiteX159" fmla="*/ 894922 w 1009760"/>
                    <a:gd name="connsiteY159" fmla="*/ 170794 h 531427"/>
                    <a:gd name="connsiteX160" fmla="*/ 895558 w 1009760"/>
                    <a:gd name="connsiteY160" fmla="*/ 169213 h 531427"/>
                    <a:gd name="connsiteX161" fmla="*/ 896609 w 1009760"/>
                    <a:gd name="connsiteY161" fmla="*/ 168341 h 531427"/>
                    <a:gd name="connsiteX162" fmla="*/ 900529 w 1009760"/>
                    <a:gd name="connsiteY162" fmla="*/ 168349 h 531427"/>
                    <a:gd name="connsiteX163" fmla="*/ 903015 w 1009760"/>
                    <a:gd name="connsiteY163" fmla="*/ 168194 h 531427"/>
                    <a:gd name="connsiteX164" fmla="*/ 904840 w 1009760"/>
                    <a:gd name="connsiteY164" fmla="*/ 165871 h 531427"/>
                    <a:gd name="connsiteX165" fmla="*/ 906519 w 1009760"/>
                    <a:gd name="connsiteY165" fmla="*/ 164820 h 531427"/>
                    <a:gd name="connsiteX166" fmla="*/ 909331 w 1009760"/>
                    <a:gd name="connsiteY166" fmla="*/ 164625 h 531427"/>
                    <a:gd name="connsiteX167" fmla="*/ 911409 w 1009760"/>
                    <a:gd name="connsiteY167" fmla="*/ 164625 h 531427"/>
                    <a:gd name="connsiteX168" fmla="*/ 916967 w 1009760"/>
                    <a:gd name="connsiteY168" fmla="*/ 166784 h 531427"/>
                    <a:gd name="connsiteX169" fmla="*/ 920349 w 1009760"/>
                    <a:gd name="connsiteY169" fmla="*/ 168569 h 531427"/>
                    <a:gd name="connsiteX170" fmla="*/ 923870 w 1009760"/>
                    <a:gd name="connsiteY170" fmla="*/ 171104 h 531427"/>
                    <a:gd name="connsiteX171" fmla="*/ 925989 w 1009760"/>
                    <a:gd name="connsiteY171" fmla="*/ 172701 h 531427"/>
                    <a:gd name="connsiteX172" fmla="*/ 927415 w 1009760"/>
                    <a:gd name="connsiteY172" fmla="*/ 176279 h 531427"/>
                    <a:gd name="connsiteX173" fmla="*/ 929819 w 1009760"/>
                    <a:gd name="connsiteY173" fmla="*/ 178919 h 531427"/>
                    <a:gd name="connsiteX174" fmla="*/ 931718 w 1009760"/>
                    <a:gd name="connsiteY174" fmla="*/ 182000 h 531427"/>
                    <a:gd name="connsiteX175" fmla="*/ 932183 w 1009760"/>
                    <a:gd name="connsiteY175" fmla="*/ 185040 h 531427"/>
                    <a:gd name="connsiteX176" fmla="*/ 933747 w 1009760"/>
                    <a:gd name="connsiteY176" fmla="*/ 190492 h 531427"/>
                    <a:gd name="connsiteX177" fmla="*/ 935361 w 1009760"/>
                    <a:gd name="connsiteY177" fmla="*/ 192285 h 531427"/>
                    <a:gd name="connsiteX178" fmla="*/ 937292 w 1009760"/>
                    <a:gd name="connsiteY178" fmla="*/ 192285 h 531427"/>
                    <a:gd name="connsiteX179" fmla="*/ 939729 w 1009760"/>
                    <a:gd name="connsiteY179" fmla="*/ 193026 h 531427"/>
                    <a:gd name="connsiteX180" fmla="*/ 942411 w 1009760"/>
                    <a:gd name="connsiteY180" fmla="*/ 193621 h 531427"/>
                    <a:gd name="connsiteX181" fmla="*/ 948156 w 1009760"/>
                    <a:gd name="connsiteY181" fmla="*/ 197680 h 531427"/>
                    <a:gd name="connsiteX182" fmla="*/ 950267 w 1009760"/>
                    <a:gd name="connsiteY182" fmla="*/ 197802 h 531427"/>
                    <a:gd name="connsiteX183" fmla="*/ 951889 w 1009760"/>
                    <a:gd name="connsiteY183" fmla="*/ 198772 h 531427"/>
                    <a:gd name="connsiteX184" fmla="*/ 952141 w 1009760"/>
                    <a:gd name="connsiteY184" fmla="*/ 200638 h 531427"/>
                    <a:gd name="connsiteX185" fmla="*/ 951539 w 1009760"/>
                    <a:gd name="connsiteY185" fmla="*/ 202798 h 531427"/>
                    <a:gd name="connsiteX186" fmla="*/ 952166 w 1009760"/>
                    <a:gd name="connsiteY186" fmla="*/ 204868 h 531427"/>
                    <a:gd name="connsiteX187" fmla="*/ 954040 w 1009760"/>
                    <a:gd name="connsiteY187" fmla="*/ 207509 h 531427"/>
                    <a:gd name="connsiteX188" fmla="*/ 955532 w 1009760"/>
                    <a:gd name="connsiteY188" fmla="*/ 210092 h 531427"/>
                    <a:gd name="connsiteX189" fmla="*/ 957365 w 1009760"/>
                    <a:gd name="connsiteY189" fmla="*/ 213213 h 531427"/>
                    <a:gd name="connsiteX190" fmla="*/ 957919 w 1009760"/>
                    <a:gd name="connsiteY190" fmla="*/ 214998 h 531427"/>
                    <a:gd name="connsiteX191" fmla="*/ 959386 w 1009760"/>
                    <a:gd name="connsiteY191" fmla="*/ 215593 h 531427"/>
                    <a:gd name="connsiteX192" fmla="*/ 961367 w 1009760"/>
                    <a:gd name="connsiteY192" fmla="*/ 214705 h 531427"/>
                    <a:gd name="connsiteX193" fmla="*/ 964513 w 1009760"/>
                    <a:gd name="connsiteY193" fmla="*/ 215381 h 531427"/>
                    <a:gd name="connsiteX194" fmla="*/ 973991 w 1009760"/>
                    <a:gd name="connsiteY194" fmla="*/ 217150 h 531427"/>
                    <a:gd name="connsiteX195" fmla="*/ 975303 w 1009760"/>
                    <a:gd name="connsiteY195" fmla="*/ 217370 h 531427"/>
                    <a:gd name="connsiteX196" fmla="*/ 976321 w 1009760"/>
                    <a:gd name="connsiteY196" fmla="*/ 219228 h 531427"/>
                    <a:gd name="connsiteX197" fmla="*/ 977691 w 1009760"/>
                    <a:gd name="connsiteY197" fmla="*/ 219081 h 531427"/>
                    <a:gd name="connsiteX198" fmla="*/ 979256 w 1009760"/>
                    <a:gd name="connsiteY198" fmla="*/ 219008 h 531427"/>
                    <a:gd name="connsiteX199" fmla="*/ 981431 w 1009760"/>
                    <a:gd name="connsiteY199" fmla="*/ 219228 h 531427"/>
                    <a:gd name="connsiteX200" fmla="*/ 982964 w 1009760"/>
                    <a:gd name="connsiteY200" fmla="*/ 217524 h 531427"/>
                    <a:gd name="connsiteX201" fmla="*/ 984194 w 1009760"/>
                    <a:gd name="connsiteY201" fmla="*/ 216033 h 531427"/>
                    <a:gd name="connsiteX202" fmla="*/ 987315 w 1009760"/>
                    <a:gd name="connsiteY202" fmla="*/ 214183 h 531427"/>
                    <a:gd name="connsiteX203" fmla="*/ 989907 w 1009760"/>
                    <a:gd name="connsiteY203" fmla="*/ 211657 h 531427"/>
                    <a:gd name="connsiteX204" fmla="*/ 992091 w 1009760"/>
                    <a:gd name="connsiteY204" fmla="*/ 209424 h 531427"/>
                    <a:gd name="connsiteX205" fmla="*/ 993705 w 1009760"/>
                    <a:gd name="connsiteY205" fmla="*/ 209122 h 531427"/>
                    <a:gd name="connsiteX206" fmla="*/ 995033 w 1009760"/>
                    <a:gd name="connsiteY206" fmla="*/ 210165 h 531427"/>
                    <a:gd name="connsiteX207" fmla="*/ 995066 w 1009760"/>
                    <a:gd name="connsiteY207" fmla="*/ 212097 h 531427"/>
                    <a:gd name="connsiteX208" fmla="*/ 993453 w 1009760"/>
                    <a:gd name="connsiteY208" fmla="*/ 213507 h 531427"/>
                    <a:gd name="connsiteX209" fmla="*/ 992189 w 1009760"/>
                    <a:gd name="connsiteY209" fmla="*/ 215210 h 531427"/>
                    <a:gd name="connsiteX210" fmla="*/ 992499 w 1009760"/>
                    <a:gd name="connsiteY210" fmla="*/ 216913 h 531427"/>
                    <a:gd name="connsiteX211" fmla="*/ 994675 w 1009760"/>
                    <a:gd name="connsiteY211" fmla="*/ 217068 h 531427"/>
                    <a:gd name="connsiteX212" fmla="*/ 997104 w 1009760"/>
                    <a:gd name="connsiteY212" fmla="*/ 219627 h 531427"/>
                    <a:gd name="connsiteX213" fmla="*/ 1000592 w 1009760"/>
                    <a:gd name="connsiteY213" fmla="*/ 225642 h 531427"/>
                    <a:gd name="connsiteX214" fmla="*/ 1001789 w 1009760"/>
                    <a:gd name="connsiteY214" fmla="*/ 226905 h 531427"/>
                    <a:gd name="connsiteX215" fmla="*/ 1003509 w 1009760"/>
                    <a:gd name="connsiteY215" fmla="*/ 228087 h 531427"/>
                    <a:gd name="connsiteX216" fmla="*/ 1005433 w 1009760"/>
                    <a:gd name="connsiteY216" fmla="*/ 228624 h 531427"/>
                    <a:gd name="connsiteX217" fmla="*/ 1007559 w 1009760"/>
                    <a:gd name="connsiteY217" fmla="*/ 229480 h 531427"/>
                    <a:gd name="connsiteX218" fmla="*/ 1009124 w 1009760"/>
                    <a:gd name="connsiteY218" fmla="*/ 231958 h 531427"/>
                    <a:gd name="connsiteX219" fmla="*/ 1009760 w 1009760"/>
                    <a:gd name="connsiteY219" fmla="*/ 234199 h 531427"/>
                    <a:gd name="connsiteX220" fmla="*/ 1007462 w 1009760"/>
                    <a:gd name="connsiteY220" fmla="*/ 233473 h 531427"/>
                    <a:gd name="connsiteX221" fmla="*/ 1002955 w 1009760"/>
                    <a:gd name="connsiteY221" fmla="*/ 233335 h 531427"/>
                    <a:gd name="connsiteX222" fmla="*/ 1000217 w 1009760"/>
                    <a:gd name="connsiteY222" fmla="*/ 233783 h 531427"/>
                    <a:gd name="connsiteX223" fmla="*/ 998921 w 1009760"/>
                    <a:gd name="connsiteY223" fmla="*/ 234036 h 531427"/>
                    <a:gd name="connsiteX224" fmla="*/ 997006 w 1009760"/>
                    <a:gd name="connsiteY224" fmla="*/ 235511 h 531427"/>
                    <a:gd name="connsiteX225" fmla="*/ 995636 w 1009760"/>
                    <a:gd name="connsiteY225" fmla="*/ 236994 h 531427"/>
                    <a:gd name="connsiteX226" fmla="*/ 995033 w 1009760"/>
                    <a:gd name="connsiteY226" fmla="*/ 239504 h 531427"/>
                    <a:gd name="connsiteX227" fmla="*/ 995751 w 1009760"/>
                    <a:gd name="connsiteY227" fmla="*/ 242349 h 531427"/>
                    <a:gd name="connsiteX228" fmla="*/ 994764 w 1009760"/>
                    <a:gd name="connsiteY228" fmla="*/ 248249 h 531427"/>
                    <a:gd name="connsiteX229" fmla="*/ 993420 w 1009760"/>
                    <a:gd name="connsiteY229" fmla="*/ 250474 h 531427"/>
                    <a:gd name="connsiteX230" fmla="*/ 990592 w 1009760"/>
                    <a:gd name="connsiteY230" fmla="*/ 254329 h 531427"/>
                    <a:gd name="connsiteX231" fmla="*/ 988946 w 1009760"/>
                    <a:gd name="connsiteY231" fmla="*/ 255168 h 531427"/>
                    <a:gd name="connsiteX232" fmla="*/ 986199 w 1009760"/>
                    <a:gd name="connsiteY232" fmla="*/ 255861 h 531427"/>
                    <a:gd name="connsiteX233" fmla="*/ 983550 w 1009760"/>
                    <a:gd name="connsiteY233" fmla="*/ 257002 h 531427"/>
                    <a:gd name="connsiteX234" fmla="*/ 978351 w 1009760"/>
                    <a:gd name="connsiteY234" fmla="*/ 258110 h 531427"/>
                    <a:gd name="connsiteX235" fmla="*/ 972744 w 1009760"/>
                    <a:gd name="connsiteY235" fmla="*/ 258673 h 531427"/>
                    <a:gd name="connsiteX236" fmla="*/ 970755 w 1009760"/>
                    <a:gd name="connsiteY236" fmla="*/ 259504 h 531427"/>
                    <a:gd name="connsiteX237" fmla="*/ 969321 w 1009760"/>
                    <a:gd name="connsiteY237" fmla="*/ 262144 h 531427"/>
                    <a:gd name="connsiteX238" fmla="*/ 968318 w 1009760"/>
                    <a:gd name="connsiteY238" fmla="*/ 264345 h 531427"/>
                    <a:gd name="connsiteX239" fmla="*/ 967699 w 1009760"/>
                    <a:gd name="connsiteY239" fmla="*/ 266015 h 531427"/>
                    <a:gd name="connsiteX240" fmla="*/ 966118 w 1009760"/>
                    <a:gd name="connsiteY240" fmla="*/ 271476 h 531427"/>
                    <a:gd name="connsiteX241" fmla="*/ 965214 w 1009760"/>
                    <a:gd name="connsiteY241" fmla="*/ 276366 h 531427"/>
                    <a:gd name="connsiteX242" fmla="*/ 966094 w 1009760"/>
                    <a:gd name="connsiteY242" fmla="*/ 282421 h 531427"/>
                    <a:gd name="connsiteX243" fmla="*/ 966762 w 1009760"/>
                    <a:gd name="connsiteY243" fmla="*/ 289144 h 531427"/>
                    <a:gd name="connsiteX244" fmla="*/ 966713 w 1009760"/>
                    <a:gd name="connsiteY244" fmla="*/ 291467 h 531427"/>
                    <a:gd name="connsiteX245" fmla="*/ 968082 w 1009760"/>
                    <a:gd name="connsiteY245" fmla="*/ 294906 h 531427"/>
                    <a:gd name="connsiteX246" fmla="*/ 968775 w 1009760"/>
                    <a:gd name="connsiteY246" fmla="*/ 297009 h 531427"/>
                    <a:gd name="connsiteX247" fmla="*/ 968449 w 1009760"/>
                    <a:gd name="connsiteY247" fmla="*/ 300000 h 531427"/>
                    <a:gd name="connsiteX248" fmla="*/ 966477 w 1009760"/>
                    <a:gd name="connsiteY248" fmla="*/ 302363 h 531427"/>
                    <a:gd name="connsiteX249" fmla="*/ 965295 w 1009760"/>
                    <a:gd name="connsiteY249" fmla="*/ 305485 h 531427"/>
                    <a:gd name="connsiteX250" fmla="*/ 964178 w 1009760"/>
                    <a:gd name="connsiteY250" fmla="*/ 306813 h 531427"/>
                    <a:gd name="connsiteX251" fmla="*/ 960976 w 1009760"/>
                    <a:gd name="connsiteY251" fmla="*/ 307416 h 531427"/>
                    <a:gd name="connsiteX252" fmla="*/ 957944 w 1009760"/>
                    <a:gd name="connsiteY252" fmla="*/ 307783 h 531427"/>
                    <a:gd name="connsiteX253" fmla="*/ 954888 w 1009760"/>
                    <a:gd name="connsiteY253" fmla="*/ 310456 h 531427"/>
                    <a:gd name="connsiteX254" fmla="*/ 952459 w 1009760"/>
                    <a:gd name="connsiteY254" fmla="*/ 312306 h 531427"/>
                    <a:gd name="connsiteX255" fmla="*/ 948637 w 1009760"/>
                    <a:gd name="connsiteY255" fmla="*/ 314661 h 531427"/>
                    <a:gd name="connsiteX256" fmla="*/ 946844 w 1009760"/>
                    <a:gd name="connsiteY256" fmla="*/ 315101 h 531427"/>
                    <a:gd name="connsiteX257" fmla="*/ 945850 w 1009760"/>
                    <a:gd name="connsiteY257" fmla="*/ 313911 h 531427"/>
                    <a:gd name="connsiteX258" fmla="*/ 945198 w 1009760"/>
                    <a:gd name="connsiteY258" fmla="*/ 311238 h 531427"/>
                    <a:gd name="connsiteX259" fmla="*/ 943886 w 1009760"/>
                    <a:gd name="connsiteY259" fmla="*/ 310065 h 531427"/>
                    <a:gd name="connsiteX260" fmla="*/ 942036 w 1009760"/>
                    <a:gd name="connsiteY260" fmla="*/ 309967 h 531427"/>
                    <a:gd name="connsiteX261" fmla="*/ 940552 w 1009760"/>
                    <a:gd name="connsiteY261" fmla="*/ 309943 h 531427"/>
                    <a:gd name="connsiteX262" fmla="*/ 935744 w 1009760"/>
                    <a:gd name="connsiteY262" fmla="*/ 309217 h 531427"/>
                    <a:gd name="connsiteX263" fmla="*/ 932680 w 1009760"/>
                    <a:gd name="connsiteY263" fmla="*/ 309266 h 531427"/>
                    <a:gd name="connsiteX264" fmla="*/ 930373 w 1009760"/>
                    <a:gd name="connsiteY264" fmla="*/ 309845 h 531427"/>
                    <a:gd name="connsiteX265" fmla="*/ 927749 w 1009760"/>
                    <a:gd name="connsiteY265" fmla="*/ 310130 h 531427"/>
                    <a:gd name="connsiteX266" fmla="*/ 923186 w 1009760"/>
                    <a:gd name="connsiteY266" fmla="*/ 309160 h 531427"/>
                    <a:gd name="connsiteX267" fmla="*/ 920251 w 1009760"/>
                    <a:gd name="connsiteY267" fmla="*/ 308337 h 531427"/>
                    <a:gd name="connsiteX268" fmla="*/ 918271 w 1009760"/>
                    <a:gd name="connsiteY268" fmla="*/ 307546 h 531427"/>
                    <a:gd name="connsiteX269" fmla="*/ 913544 w 1009760"/>
                    <a:gd name="connsiteY269" fmla="*/ 305216 h 531427"/>
                    <a:gd name="connsiteX270" fmla="*/ 907334 w 1009760"/>
                    <a:gd name="connsiteY270" fmla="*/ 302437 h 531427"/>
                    <a:gd name="connsiteX271" fmla="*/ 904784 w 1009760"/>
                    <a:gd name="connsiteY271" fmla="*/ 301613 h 531427"/>
                    <a:gd name="connsiteX272" fmla="*/ 903284 w 1009760"/>
                    <a:gd name="connsiteY272" fmla="*/ 302453 h 531427"/>
                    <a:gd name="connsiteX273" fmla="*/ 903048 w 1009760"/>
                    <a:gd name="connsiteY273" fmla="*/ 304042 h 531427"/>
                    <a:gd name="connsiteX274" fmla="*/ 902648 w 1009760"/>
                    <a:gd name="connsiteY274" fmla="*/ 307881 h 531427"/>
                    <a:gd name="connsiteX275" fmla="*/ 901923 w 1009760"/>
                    <a:gd name="connsiteY275" fmla="*/ 310285 h 531427"/>
                    <a:gd name="connsiteX276" fmla="*/ 897587 w 1009760"/>
                    <a:gd name="connsiteY276" fmla="*/ 322428 h 531427"/>
                    <a:gd name="connsiteX277" fmla="*/ 894914 w 1009760"/>
                    <a:gd name="connsiteY277" fmla="*/ 330863 h 531427"/>
                    <a:gd name="connsiteX278" fmla="*/ 891515 w 1009760"/>
                    <a:gd name="connsiteY278" fmla="*/ 338931 h 531427"/>
                    <a:gd name="connsiteX279" fmla="*/ 890431 w 1009760"/>
                    <a:gd name="connsiteY279" fmla="*/ 344342 h 531427"/>
                    <a:gd name="connsiteX280" fmla="*/ 888402 w 1009760"/>
                    <a:gd name="connsiteY280" fmla="*/ 351180 h 531427"/>
                    <a:gd name="connsiteX281" fmla="*/ 886381 w 1009760"/>
                    <a:gd name="connsiteY281" fmla="*/ 356135 h 531427"/>
                    <a:gd name="connsiteX282" fmla="*/ 885558 w 1009760"/>
                    <a:gd name="connsiteY282" fmla="*/ 358841 h 531427"/>
                    <a:gd name="connsiteX283" fmla="*/ 885477 w 1009760"/>
                    <a:gd name="connsiteY283" fmla="*/ 359933 h 531427"/>
                    <a:gd name="connsiteX284" fmla="*/ 885843 w 1009760"/>
                    <a:gd name="connsiteY284" fmla="*/ 361481 h 531427"/>
                    <a:gd name="connsiteX285" fmla="*/ 888940 w 1009760"/>
                    <a:gd name="connsiteY285" fmla="*/ 363160 h 531427"/>
                    <a:gd name="connsiteX286" fmla="*/ 892184 w 1009760"/>
                    <a:gd name="connsiteY286" fmla="*/ 364195 h 531427"/>
                    <a:gd name="connsiteX287" fmla="*/ 892901 w 1009760"/>
                    <a:gd name="connsiteY287" fmla="*/ 364847 h 531427"/>
                    <a:gd name="connsiteX288" fmla="*/ 893260 w 1009760"/>
                    <a:gd name="connsiteY288" fmla="*/ 366599 h 531427"/>
                    <a:gd name="connsiteX289" fmla="*/ 893137 w 1009760"/>
                    <a:gd name="connsiteY289" fmla="*/ 369460 h 531427"/>
                    <a:gd name="connsiteX290" fmla="*/ 892534 w 1009760"/>
                    <a:gd name="connsiteY290" fmla="*/ 372174 h 531427"/>
                    <a:gd name="connsiteX291" fmla="*/ 891605 w 1009760"/>
                    <a:gd name="connsiteY291" fmla="*/ 374301 h 531427"/>
                    <a:gd name="connsiteX292" fmla="*/ 890676 w 1009760"/>
                    <a:gd name="connsiteY292" fmla="*/ 375352 h 531427"/>
                    <a:gd name="connsiteX293" fmla="*/ 889609 w 1009760"/>
                    <a:gd name="connsiteY293" fmla="*/ 375409 h 531427"/>
                    <a:gd name="connsiteX294" fmla="*/ 887579 w 1009760"/>
                    <a:gd name="connsiteY294" fmla="*/ 374048 h 531427"/>
                    <a:gd name="connsiteX295" fmla="*/ 885754 w 1009760"/>
                    <a:gd name="connsiteY295" fmla="*/ 372524 h 531427"/>
                    <a:gd name="connsiteX296" fmla="*/ 884352 w 1009760"/>
                    <a:gd name="connsiteY296" fmla="*/ 372060 h 531427"/>
                    <a:gd name="connsiteX297" fmla="*/ 880782 w 1009760"/>
                    <a:gd name="connsiteY297" fmla="*/ 372907 h 531427"/>
                    <a:gd name="connsiteX298" fmla="*/ 877474 w 1009760"/>
                    <a:gd name="connsiteY298" fmla="*/ 374065 h 531427"/>
                    <a:gd name="connsiteX299" fmla="*/ 876365 w 1009760"/>
                    <a:gd name="connsiteY299" fmla="*/ 374105 h 531427"/>
                    <a:gd name="connsiteX300" fmla="*/ 874450 w 1009760"/>
                    <a:gd name="connsiteY300" fmla="*/ 373364 h 531427"/>
                    <a:gd name="connsiteX301" fmla="*/ 872510 w 1009760"/>
                    <a:gd name="connsiteY301" fmla="*/ 371815 h 531427"/>
                    <a:gd name="connsiteX302" fmla="*/ 871752 w 1009760"/>
                    <a:gd name="connsiteY302" fmla="*/ 368841 h 531427"/>
                    <a:gd name="connsiteX303" fmla="*/ 870098 w 1009760"/>
                    <a:gd name="connsiteY303" fmla="*/ 367480 h 531427"/>
                    <a:gd name="connsiteX304" fmla="*/ 867873 w 1009760"/>
                    <a:gd name="connsiteY304" fmla="*/ 368841 h 531427"/>
                    <a:gd name="connsiteX305" fmla="*/ 861247 w 1009760"/>
                    <a:gd name="connsiteY305" fmla="*/ 371106 h 531427"/>
                    <a:gd name="connsiteX306" fmla="*/ 853945 w 1009760"/>
                    <a:gd name="connsiteY306" fmla="*/ 373812 h 531427"/>
                    <a:gd name="connsiteX307" fmla="*/ 849300 w 1009760"/>
                    <a:gd name="connsiteY307" fmla="*/ 375206 h 531427"/>
                    <a:gd name="connsiteX308" fmla="*/ 847483 w 1009760"/>
                    <a:gd name="connsiteY308" fmla="*/ 374994 h 531427"/>
                    <a:gd name="connsiteX309" fmla="*/ 843888 w 1009760"/>
                    <a:gd name="connsiteY309" fmla="*/ 375311 h 531427"/>
                    <a:gd name="connsiteX310" fmla="*/ 840767 w 1009760"/>
                    <a:gd name="connsiteY310" fmla="*/ 376061 h 531427"/>
                    <a:gd name="connsiteX311" fmla="*/ 838436 w 1009760"/>
                    <a:gd name="connsiteY311" fmla="*/ 377113 h 531427"/>
                    <a:gd name="connsiteX312" fmla="*/ 833799 w 1009760"/>
                    <a:gd name="connsiteY312" fmla="*/ 378563 h 531427"/>
                    <a:gd name="connsiteX313" fmla="*/ 829602 w 1009760"/>
                    <a:gd name="connsiteY313" fmla="*/ 379525 h 531427"/>
                    <a:gd name="connsiteX314" fmla="*/ 826904 w 1009760"/>
                    <a:gd name="connsiteY314" fmla="*/ 381709 h 531427"/>
                    <a:gd name="connsiteX315" fmla="*/ 824965 w 1009760"/>
                    <a:gd name="connsiteY315" fmla="*/ 383828 h 531427"/>
                    <a:gd name="connsiteX316" fmla="*/ 825047 w 1009760"/>
                    <a:gd name="connsiteY316" fmla="*/ 384635 h 531427"/>
                    <a:gd name="connsiteX317" fmla="*/ 826464 w 1009760"/>
                    <a:gd name="connsiteY317" fmla="*/ 385882 h 531427"/>
                    <a:gd name="connsiteX318" fmla="*/ 828070 w 1009760"/>
                    <a:gd name="connsiteY318" fmla="*/ 386860 h 531427"/>
                    <a:gd name="connsiteX319" fmla="*/ 831314 w 1009760"/>
                    <a:gd name="connsiteY319" fmla="*/ 386631 h 531427"/>
                    <a:gd name="connsiteX320" fmla="*/ 834467 w 1009760"/>
                    <a:gd name="connsiteY320" fmla="*/ 386477 h 531427"/>
                    <a:gd name="connsiteX321" fmla="*/ 837092 w 1009760"/>
                    <a:gd name="connsiteY321" fmla="*/ 387797 h 531427"/>
                    <a:gd name="connsiteX322" fmla="*/ 839439 w 1009760"/>
                    <a:gd name="connsiteY322" fmla="*/ 388644 h 531427"/>
                    <a:gd name="connsiteX323" fmla="*/ 840083 w 1009760"/>
                    <a:gd name="connsiteY323" fmla="*/ 389745 h 531427"/>
                    <a:gd name="connsiteX324" fmla="*/ 839439 w 1009760"/>
                    <a:gd name="connsiteY324" fmla="*/ 390812 h 531427"/>
                    <a:gd name="connsiteX325" fmla="*/ 838070 w 1009760"/>
                    <a:gd name="connsiteY325" fmla="*/ 391057 h 531427"/>
                    <a:gd name="connsiteX326" fmla="*/ 837597 w 1009760"/>
                    <a:gd name="connsiteY326" fmla="*/ 391815 h 531427"/>
                    <a:gd name="connsiteX327" fmla="*/ 837825 w 1009760"/>
                    <a:gd name="connsiteY327" fmla="*/ 392817 h 531427"/>
                    <a:gd name="connsiteX328" fmla="*/ 836945 w 1009760"/>
                    <a:gd name="connsiteY328" fmla="*/ 395433 h 531427"/>
                    <a:gd name="connsiteX329" fmla="*/ 836472 w 1009760"/>
                    <a:gd name="connsiteY329" fmla="*/ 399402 h 531427"/>
                    <a:gd name="connsiteX330" fmla="*/ 836945 w 1009760"/>
                    <a:gd name="connsiteY330" fmla="*/ 403306 h 531427"/>
                    <a:gd name="connsiteX331" fmla="*/ 837190 w 1009760"/>
                    <a:gd name="connsiteY331" fmla="*/ 406908 h 531427"/>
                    <a:gd name="connsiteX332" fmla="*/ 837034 w 1009760"/>
                    <a:gd name="connsiteY332" fmla="*/ 408717 h 531427"/>
                    <a:gd name="connsiteX333" fmla="*/ 836937 w 1009760"/>
                    <a:gd name="connsiteY333" fmla="*/ 411301 h 531427"/>
                    <a:gd name="connsiteX334" fmla="*/ 837947 w 1009760"/>
                    <a:gd name="connsiteY334" fmla="*/ 413045 h 531427"/>
                    <a:gd name="connsiteX335" fmla="*/ 838828 w 1009760"/>
                    <a:gd name="connsiteY335" fmla="*/ 416370 h 531427"/>
                    <a:gd name="connsiteX336" fmla="*/ 840417 w 1009760"/>
                    <a:gd name="connsiteY336" fmla="*/ 418440 h 531427"/>
                    <a:gd name="connsiteX337" fmla="*/ 842845 w 1009760"/>
                    <a:gd name="connsiteY337" fmla="*/ 425636 h 531427"/>
                    <a:gd name="connsiteX338" fmla="*/ 844263 w 1009760"/>
                    <a:gd name="connsiteY338" fmla="*/ 429841 h 531427"/>
                    <a:gd name="connsiteX339" fmla="*/ 845576 w 1009760"/>
                    <a:gd name="connsiteY339" fmla="*/ 434601 h 531427"/>
                    <a:gd name="connsiteX340" fmla="*/ 844622 w 1009760"/>
                    <a:gd name="connsiteY340" fmla="*/ 437168 h 531427"/>
                    <a:gd name="connsiteX341" fmla="*/ 844687 w 1009760"/>
                    <a:gd name="connsiteY341" fmla="*/ 438651 h 531427"/>
                    <a:gd name="connsiteX342" fmla="*/ 846219 w 1009760"/>
                    <a:gd name="connsiteY342" fmla="*/ 439890 h 531427"/>
                    <a:gd name="connsiteX343" fmla="*/ 846896 w 1009760"/>
                    <a:gd name="connsiteY343" fmla="*/ 442319 h 531427"/>
                    <a:gd name="connsiteX344" fmla="*/ 847605 w 1009760"/>
                    <a:gd name="connsiteY344" fmla="*/ 443802 h 531427"/>
                    <a:gd name="connsiteX345" fmla="*/ 847409 w 1009760"/>
                    <a:gd name="connsiteY345" fmla="*/ 445277 h 531427"/>
                    <a:gd name="connsiteX346" fmla="*/ 846749 w 1009760"/>
                    <a:gd name="connsiteY346" fmla="*/ 445847 h 531427"/>
                    <a:gd name="connsiteX347" fmla="*/ 843424 w 1009760"/>
                    <a:gd name="connsiteY347" fmla="*/ 444959 h 531427"/>
                    <a:gd name="connsiteX348" fmla="*/ 840702 w 1009760"/>
                    <a:gd name="connsiteY348" fmla="*/ 446426 h 531427"/>
                    <a:gd name="connsiteX349" fmla="*/ 837800 w 1009760"/>
                    <a:gd name="connsiteY349" fmla="*/ 447901 h 531427"/>
                    <a:gd name="connsiteX350" fmla="*/ 837417 w 1009760"/>
                    <a:gd name="connsiteY350" fmla="*/ 448692 h 531427"/>
                    <a:gd name="connsiteX351" fmla="*/ 837336 w 1009760"/>
                    <a:gd name="connsiteY351" fmla="*/ 449547 h 531427"/>
                    <a:gd name="connsiteX352" fmla="*/ 837629 w 1009760"/>
                    <a:gd name="connsiteY352" fmla="*/ 450305 h 531427"/>
                    <a:gd name="connsiteX353" fmla="*/ 839300 w 1009760"/>
                    <a:gd name="connsiteY353" fmla="*/ 451626 h 531427"/>
                    <a:gd name="connsiteX354" fmla="*/ 841607 w 1009760"/>
                    <a:gd name="connsiteY354" fmla="*/ 452449 h 531427"/>
                    <a:gd name="connsiteX355" fmla="*/ 841484 w 1009760"/>
                    <a:gd name="connsiteY355" fmla="*/ 453777 h 531427"/>
                    <a:gd name="connsiteX356" fmla="*/ 838632 w 1009760"/>
                    <a:gd name="connsiteY356" fmla="*/ 454388 h 531427"/>
                    <a:gd name="connsiteX357" fmla="*/ 834329 w 1009760"/>
                    <a:gd name="connsiteY357" fmla="*/ 456418 h 531427"/>
                    <a:gd name="connsiteX358" fmla="*/ 833139 w 1009760"/>
                    <a:gd name="connsiteY358" fmla="*/ 458585 h 531427"/>
                    <a:gd name="connsiteX359" fmla="*/ 832218 w 1009760"/>
                    <a:gd name="connsiteY359" fmla="*/ 460965 h 531427"/>
                    <a:gd name="connsiteX360" fmla="*/ 832145 w 1009760"/>
                    <a:gd name="connsiteY360" fmla="*/ 462351 h 531427"/>
                    <a:gd name="connsiteX361" fmla="*/ 832576 w 1009760"/>
                    <a:gd name="connsiteY361" fmla="*/ 466042 h 531427"/>
                    <a:gd name="connsiteX362" fmla="*/ 833229 w 1009760"/>
                    <a:gd name="connsiteY362" fmla="*/ 470142 h 531427"/>
                    <a:gd name="connsiteX363" fmla="*/ 834451 w 1009760"/>
                    <a:gd name="connsiteY363" fmla="*/ 474453 h 531427"/>
                    <a:gd name="connsiteX364" fmla="*/ 834557 w 1009760"/>
                    <a:gd name="connsiteY364" fmla="*/ 475789 h 531427"/>
                    <a:gd name="connsiteX365" fmla="*/ 833905 w 1009760"/>
                    <a:gd name="connsiteY365" fmla="*/ 476743 h 531427"/>
                    <a:gd name="connsiteX366" fmla="*/ 833318 w 1009760"/>
                    <a:gd name="connsiteY366" fmla="*/ 477354 h 531427"/>
                    <a:gd name="connsiteX367" fmla="*/ 829895 w 1009760"/>
                    <a:gd name="connsiteY367" fmla="*/ 473467 h 531427"/>
                    <a:gd name="connsiteX368" fmla="*/ 826171 w 1009760"/>
                    <a:gd name="connsiteY368" fmla="*/ 469677 h 531427"/>
                    <a:gd name="connsiteX369" fmla="*/ 823253 w 1009760"/>
                    <a:gd name="connsiteY369" fmla="*/ 468805 h 531427"/>
                    <a:gd name="connsiteX370" fmla="*/ 818176 w 1009760"/>
                    <a:gd name="connsiteY370" fmla="*/ 468178 h 531427"/>
                    <a:gd name="connsiteX371" fmla="*/ 815479 w 1009760"/>
                    <a:gd name="connsiteY371" fmla="*/ 468145 h 531427"/>
                    <a:gd name="connsiteX372" fmla="*/ 813947 w 1009760"/>
                    <a:gd name="connsiteY372" fmla="*/ 467257 h 531427"/>
                    <a:gd name="connsiteX373" fmla="*/ 812447 w 1009760"/>
                    <a:gd name="connsiteY373" fmla="*/ 465064 h 531427"/>
                    <a:gd name="connsiteX374" fmla="*/ 810646 w 1009760"/>
                    <a:gd name="connsiteY374" fmla="*/ 463068 h 531427"/>
                    <a:gd name="connsiteX375" fmla="*/ 808356 w 1009760"/>
                    <a:gd name="connsiteY375" fmla="*/ 460957 h 531427"/>
                    <a:gd name="connsiteX376" fmla="*/ 807411 w 1009760"/>
                    <a:gd name="connsiteY376" fmla="*/ 457738 h 531427"/>
                    <a:gd name="connsiteX377" fmla="*/ 806473 w 1009760"/>
                    <a:gd name="connsiteY377" fmla="*/ 457159 h 531427"/>
                    <a:gd name="connsiteX378" fmla="*/ 804811 w 1009760"/>
                    <a:gd name="connsiteY378" fmla="*/ 457575 h 531427"/>
                    <a:gd name="connsiteX379" fmla="*/ 802039 w 1009760"/>
                    <a:gd name="connsiteY379" fmla="*/ 457469 h 531427"/>
                    <a:gd name="connsiteX380" fmla="*/ 800483 w 1009760"/>
                    <a:gd name="connsiteY380" fmla="*/ 457184 h 531427"/>
                    <a:gd name="connsiteX381" fmla="*/ 798160 w 1009760"/>
                    <a:gd name="connsiteY381" fmla="*/ 456638 h 531427"/>
                    <a:gd name="connsiteX382" fmla="*/ 794452 w 1009760"/>
                    <a:gd name="connsiteY382" fmla="*/ 455326 h 531427"/>
                    <a:gd name="connsiteX383" fmla="*/ 791535 w 1009760"/>
                    <a:gd name="connsiteY383" fmla="*/ 454087 h 531427"/>
                    <a:gd name="connsiteX384" fmla="*/ 787851 w 1009760"/>
                    <a:gd name="connsiteY384" fmla="*/ 453850 h 531427"/>
                    <a:gd name="connsiteX385" fmla="*/ 785724 w 1009760"/>
                    <a:gd name="connsiteY385" fmla="*/ 454095 h 531427"/>
                    <a:gd name="connsiteX386" fmla="*/ 779106 w 1009760"/>
                    <a:gd name="connsiteY386" fmla="*/ 454331 h 531427"/>
                    <a:gd name="connsiteX387" fmla="*/ 773613 w 1009760"/>
                    <a:gd name="connsiteY387" fmla="*/ 453027 h 531427"/>
                    <a:gd name="connsiteX388" fmla="*/ 769163 w 1009760"/>
                    <a:gd name="connsiteY388" fmla="*/ 452783 h 531427"/>
                    <a:gd name="connsiteX389" fmla="*/ 766434 w 1009760"/>
                    <a:gd name="connsiteY389" fmla="*/ 452864 h 531427"/>
                    <a:gd name="connsiteX390" fmla="*/ 765121 w 1009760"/>
                    <a:gd name="connsiteY390" fmla="*/ 452701 h 531427"/>
                    <a:gd name="connsiteX391" fmla="*/ 762872 w 1009760"/>
                    <a:gd name="connsiteY391" fmla="*/ 452718 h 531427"/>
                    <a:gd name="connsiteX392" fmla="*/ 759571 w 1009760"/>
                    <a:gd name="connsiteY392" fmla="*/ 452424 h 531427"/>
                    <a:gd name="connsiteX393" fmla="*/ 755154 w 1009760"/>
                    <a:gd name="connsiteY393" fmla="*/ 450419 h 531427"/>
                    <a:gd name="connsiteX394" fmla="*/ 753443 w 1009760"/>
                    <a:gd name="connsiteY394" fmla="*/ 450313 h 531427"/>
                    <a:gd name="connsiteX395" fmla="*/ 752343 w 1009760"/>
                    <a:gd name="connsiteY395" fmla="*/ 450387 h 531427"/>
                    <a:gd name="connsiteX396" fmla="*/ 744975 w 1009760"/>
                    <a:gd name="connsiteY396" fmla="*/ 451862 h 531427"/>
                    <a:gd name="connsiteX397" fmla="*/ 741561 w 1009760"/>
                    <a:gd name="connsiteY397" fmla="*/ 452204 h 531427"/>
                    <a:gd name="connsiteX398" fmla="*/ 734348 w 1009760"/>
                    <a:gd name="connsiteY398" fmla="*/ 452033 h 531427"/>
                    <a:gd name="connsiteX399" fmla="*/ 727250 w 1009760"/>
                    <a:gd name="connsiteY399" fmla="*/ 451870 h 531427"/>
                    <a:gd name="connsiteX400" fmla="*/ 724976 w 1009760"/>
                    <a:gd name="connsiteY400" fmla="*/ 451560 h 531427"/>
                    <a:gd name="connsiteX401" fmla="*/ 723721 w 1009760"/>
                    <a:gd name="connsiteY401" fmla="*/ 451723 h 531427"/>
                    <a:gd name="connsiteX402" fmla="*/ 721039 w 1009760"/>
                    <a:gd name="connsiteY402" fmla="*/ 455260 h 531427"/>
                    <a:gd name="connsiteX403" fmla="*/ 719898 w 1009760"/>
                    <a:gd name="connsiteY403" fmla="*/ 455806 h 531427"/>
                    <a:gd name="connsiteX404" fmla="*/ 713224 w 1009760"/>
                    <a:gd name="connsiteY404" fmla="*/ 455040 h 531427"/>
                    <a:gd name="connsiteX405" fmla="*/ 705319 w 1009760"/>
                    <a:gd name="connsiteY405" fmla="*/ 452709 h 531427"/>
                    <a:gd name="connsiteX406" fmla="*/ 699614 w 1009760"/>
                    <a:gd name="connsiteY406" fmla="*/ 450159 h 531427"/>
                    <a:gd name="connsiteX407" fmla="*/ 694765 w 1009760"/>
                    <a:gd name="connsiteY407" fmla="*/ 447461 h 531427"/>
                    <a:gd name="connsiteX408" fmla="*/ 688359 w 1009760"/>
                    <a:gd name="connsiteY408" fmla="*/ 443199 h 531427"/>
                    <a:gd name="connsiteX409" fmla="*/ 684512 w 1009760"/>
                    <a:gd name="connsiteY409" fmla="*/ 441088 h 531427"/>
                    <a:gd name="connsiteX410" fmla="*/ 683966 w 1009760"/>
                    <a:gd name="connsiteY410" fmla="*/ 442302 h 531427"/>
                    <a:gd name="connsiteX411" fmla="*/ 682948 w 1009760"/>
                    <a:gd name="connsiteY411" fmla="*/ 442694 h 531427"/>
                    <a:gd name="connsiteX412" fmla="*/ 681473 w 1009760"/>
                    <a:gd name="connsiteY412" fmla="*/ 442881 h 531427"/>
                    <a:gd name="connsiteX413" fmla="*/ 678066 w 1009760"/>
                    <a:gd name="connsiteY413" fmla="*/ 442661 h 531427"/>
                    <a:gd name="connsiteX414" fmla="*/ 676501 w 1009760"/>
                    <a:gd name="connsiteY414" fmla="*/ 444820 h 531427"/>
                    <a:gd name="connsiteX415" fmla="*/ 672353 w 1009760"/>
                    <a:gd name="connsiteY415" fmla="*/ 446361 h 531427"/>
                    <a:gd name="connsiteX416" fmla="*/ 669704 w 1009760"/>
                    <a:gd name="connsiteY416" fmla="*/ 447746 h 531427"/>
                    <a:gd name="connsiteX417" fmla="*/ 668327 w 1009760"/>
                    <a:gd name="connsiteY417" fmla="*/ 449303 h 531427"/>
                    <a:gd name="connsiteX418" fmla="*/ 665695 w 1009760"/>
                    <a:gd name="connsiteY418" fmla="*/ 459661 h 531427"/>
                    <a:gd name="connsiteX419" fmla="*/ 664994 w 1009760"/>
                    <a:gd name="connsiteY419" fmla="*/ 463443 h 531427"/>
                    <a:gd name="connsiteX420" fmla="*/ 666762 w 1009760"/>
                    <a:gd name="connsiteY420" fmla="*/ 469799 h 531427"/>
                    <a:gd name="connsiteX421" fmla="*/ 664741 w 1009760"/>
                    <a:gd name="connsiteY421" fmla="*/ 469433 h 531427"/>
                    <a:gd name="connsiteX422" fmla="*/ 662370 w 1009760"/>
                    <a:gd name="connsiteY422" fmla="*/ 467803 h 531427"/>
                    <a:gd name="connsiteX423" fmla="*/ 661547 w 1009760"/>
                    <a:gd name="connsiteY423" fmla="*/ 466523 h 531427"/>
                    <a:gd name="connsiteX424" fmla="*/ 659264 w 1009760"/>
                    <a:gd name="connsiteY424" fmla="*/ 465733 h 531427"/>
                    <a:gd name="connsiteX425" fmla="*/ 650944 w 1009760"/>
                    <a:gd name="connsiteY425" fmla="*/ 464551 h 531427"/>
                    <a:gd name="connsiteX426" fmla="*/ 649395 w 1009760"/>
                    <a:gd name="connsiteY426" fmla="*/ 463092 h 531427"/>
                    <a:gd name="connsiteX427" fmla="*/ 648409 w 1009760"/>
                    <a:gd name="connsiteY427" fmla="*/ 461902 h 531427"/>
                    <a:gd name="connsiteX428" fmla="*/ 646257 w 1009760"/>
                    <a:gd name="connsiteY428" fmla="*/ 461128 h 531427"/>
                    <a:gd name="connsiteX429" fmla="*/ 643210 w 1009760"/>
                    <a:gd name="connsiteY429" fmla="*/ 460525 h 531427"/>
                    <a:gd name="connsiteX430" fmla="*/ 636576 w 1009760"/>
                    <a:gd name="connsiteY430" fmla="*/ 457770 h 531427"/>
                    <a:gd name="connsiteX431" fmla="*/ 633740 w 1009760"/>
                    <a:gd name="connsiteY431" fmla="*/ 457656 h 531427"/>
                    <a:gd name="connsiteX432" fmla="*/ 625191 w 1009760"/>
                    <a:gd name="connsiteY432" fmla="*/ 455537 h 531427"/>
                    <a:gd name="connsiteX433" fmla="*/ 623789 w 1009760"/>
                    <a:gd name="connsiteY433" fmla="*/ 455562 h 531427"/>
                    <a:gd name="connsiteX434" fmla="*/ 623153 w 1009760"/>
                    <a:gd name="connsiteY434" fmla="*/ 455652 h 531427"/>
                    <a:gd name="connsiteX435" fmla="*/ 619836 w 1009760"/>
                    <a:gd name="connsiteY435" fmla="*/ 457045 h 531427"/>
                    <a:gd name="connsiteX436" fmla="*/ 617685 w 1009760"/>
                    <a:gd name="connsiteY436" fmla="*/ 457445 h 531427"/>
                    <a:gd name="connsiteX437" fmla="*/ 615403 w 1009760"/>
                    <a:gd name="connsiteY437" fmla="*/ 456890 h 531427"/>
                    <a:gd name="connsiteX438" fmla="*/ 611295 w 1009760"/>
                    <a:gd name="connsiteY438" fmla="*/ 458602 h 531427"/>
                    <a:gd name="connsiteX439" fmla="*/ 609087 w 1009760"/>
                    <a:gd name="connsiteY439" fmla="*/ 460884 h 531427"/>
                    <a:gd name="connsiteX440" fmla="*/ 607253 w 1009760"/>
                    <a:gd name="connsiteY440" fmla="*/ 463679 h 531427"/>
                    <a:gd name="connsiteX441" fmla="*/ 605493 w 1009760"/>
                    <a:gd name="connsiteY441" fmla="*/ 465439 h 531427"/>
                    <a:gd name="connsiteX442" fmla="*/ 604987 w 1009760"/>
                    <a:gd name="connsiteY442" fmla="*/ 468072 h 531427"/>
                    <a:gd name="connsiteX443" fmla="*/ 603757 w 1009760"/>
                    <a:gd name="connsiteY443" fmla="*/ 469433 h 531427"/>
                    <a:gd name="connsiteX444" fmla="*/ 602281 w 1009760"/>
                    <a:gd name="connsiteY444" fmla="*/ 472171 h 531427"/>
                    <a:gd name="connsiteX445" fmla="*/ 602281 w 1009760"/>
                    <a:gd name="connsiteY445" fmla="*/ 473760 h 531427"/>
                    <a:gd name="connsiteX446" fmla="*/ 603618 w 1009760"/>
                    <a:gd name="connsiteY446" fmla="*/ 475301 h 531427"/>
                    <a:gd name="connsiteX447" fmla="*/ 601475 w 1009760"/>
                    <a:gd name="connsiteY447" fmla="*/ 476727 h 531427"/>
                    <a:gd name="connsiteX448" fmla="*/ 599095 w 1009760"/>
                    <a:gd name="connsiteY448" fmla="*/ 477175 h 531427"/>
                    <a:gd name="connsiteX449" fmla="*/ 597873 w 1009760"/>
                    <a:gd name="connsiteY449" fmla="*/ 478055 h 531427"/>
                    <a:gd name="connsiteX450" fmla="*/ 596561 w 1009760"/>
                    <a:gd name="connsiteY450" fmla="*/ 480158 h 531427"/>
                    <a:gd name="connsiteX451" fmla="*/ 595354 w 1009760"/>
                    <a:gd name="connsiteY451" fmla="*/ 481975 h 531427"/>
                    <a:gd name="connsiteX452" fmla="*/ 594629 w 1009760"/>
                    <a:gd name="connsiteY452" fmla="*/ 482619 h 531427"/>
                    <a:gd name="connsiteX453" fmla="*/ 593537 w 1009760"/>
                    <a:gd name="connsiteY453" fmla="*/ 482505 h 531427"/>
                    <a:gd name="connsiteX454" fmla="*/ 592265 w 1009760"/>
                    <a:gd name="connsiteY454" fmla="*/ 481103 h 531427"/>
                    <a:gd name="connsiteX455" fmla="*/ 590456 w 1009760"/>
                    <a:gd name="connsiteY455" fmla="*/ 481152 h 531427"/>
                    <a:gd name="connsiteX456" fmla="*/ 588288 w 1009760"/>
                    <a:gd name="connsiteY456" fmla="*/ 482888 h 531427"/>
                    <a:gd name="connsiteX457" fmla="*/ 585746 w 1009760"/>
                    <a:gd name="connsiteY457" fmla="*/ 485708 h 531427"/>
                    <a:gd name="connsiteX458" fmla="*/ 582510 w 1009760"/>
                    <a:gd name="connsiteY458" fmla="*/ 490011 h 531427"/>
                    <a:gd name="connsiteX459" fmla="*/ 579152 w 1009760"/>
                    <a:gd name="connsiteY459" fmla="*/ 492293 h 531427"/>
                    <a:gd name="connsiteX460" fmla="*/ 574882 w 1009760"/>
                    <a:gd name="connsiteY460" fmla="*/ 494241 h 531427"/>
                    <a:gd name="connsiteX461" fmla="*/ 571809 w 1009760"/>
                    <a:gd name="connsiteY461" fmla="*/ 495096 h 531427"/>
                    <a:gd name="connsiteX462" fmla="*/ 569357 w 1009760"/>
                    <a:gd name="connsiteY462" fmla="*/ 496580 h 531427"/>
                    <a:gd name="connsiteX463" fmla="*/ 565282 w 1009760"/>
                    <a:gd name="connsiteY463" fmla="*/ 499562 h 531427"/>
                    <a:gd name="connsiteX464" fmla="*/ 564475 w 1009760"/>
                    <a:gd name="connsiteY464" fmla="*/ 501314 h 531427"/>
                    <a:gd name="connsiteX465" fmla="*/ 561525 w 1009760"/>
                    <a:gd name="connsiteY465" fmla="*/ 502358 h 531427"/>
                    <a:gd name="connsiteX466" fmla="*/ 559145 w 1009760"/>
                    <a:gd name="connsiteY466" fmla="*/ 503548 h 531427"/>
                    <a:gd name="connsiteX467" fmla="*/ 556945 w 1009760"/>
                    <a:gd name="connsiteY467" fmla="*/ 505552 h 531427"/>
                    <a:gd name="connsiteX468" fmla="*/ 556423 w 1009760"/>
                    <a:gd name="connsiteY468" fmla="*/ 509073 h 531427"/>
                    <a:gd name="connsiteX469" fmla="*/ 555005 w 1009760"/>
                    <a:gd name="connsiteY469" fmla="*/ 511086 h 531427"/>
                    <a:gd name="connsiteX470" fmla="*/ 551647 w 1009760"/>
                    <a:gd name="connsiteY470" fmla="*/ 513865 h 531427"/>
                    <a:gd name="connsiteX471" fmla="*/ 548819 w 1009760"/>
                    <a:gd name="connsiteY471" fmla="*/ 516660 h 531427"/>
                    <a:gd name="connsiteX472" fmla="*/ 546969 w 1009760"/>
                    <a:gd name="connsiteY472" fmla="*/ 519399 h 531427"/>
                    <a:gd name="connsiteX473" fmla="*/ 545021 w 1009760"/>
                    <a:gd name="connsiteY473" fmla="*/ 522308 h 531427"/>
                    <a:gd name="connsiteX474" fmla="*/ 544410 w 1009760"/>
                    <a:gd name="connsiteY474" fmla="*/ 523906 h 531427"/>
                    <a:gd name="connsiteX475" fmla="*/ 544337 w 1009760"/>
                    <a:gd name="connsiteY475" fmla="*/ 526098 h 531427"/>
                    <a:gd name="connsiteX476" fmla="*/ 545250 w 1009760"/>
                    <a:gd name="connsiteY476" fmla="*/ 527932 h 531427"/>
                    <a:gd name="connsiteX477" fmla="*/ 545421 w 1009760"/>
                    <a:gd name="connsiteY477" fmla="*/ 529676 h 531427"/>
                    <a:gd name="connsiteX478" fmla="*/ 544736 w 1009760"/>
                    <a:gd name="connsiteY478" fmla="*/ 530955 h 531427"/>
                    <a:gd name="connsiteX479" fmla="*/ 542821 w 1009760"/>
                    <a:gd name="connsiteY479" fmla="*/ 531428 h 531427"/>
                    <a:gd name="connsiteX480" fmla="*/ 540825 w 1009760"/>
                    <a:gd name="connsiteY480" fmla="*/ 531061 h 531427"/>
                    <a:gd name="connsiteX481" fmla="*/ 537768 w 1009760"/>
                    <a:gd name="connsiteY481" fmla="*/ 529814 h 531427"/>
                    <a:gd name="connsiteX482" fmla="*/ 534508 w 1009760"/>
                    <a:gd name="connsiteY482" fmla="*/ 527589 h 531427"/>
                    <a:gd name="connsiteX483" fmla="*/ 533319 w 1009760"/>
                    <a:gd name="connsiteY483" fmla="*/ 526489 h 531427"/>
                    <a:gd name="connsiteX484" fmla="*/ 531713 w 1009760"/>
                    <a:gd name="connsiteY484" fmla="*/ 524606 h 531427"/>
                    <a:gd name="connsiteX485" fmla="*/ 531949 w 1009760"/>
                    <a:gd name="connsiteY485" fmla="*/ 522862 h 531427"/>
                    <a:gd name="connsiteX486" fmla="*/ 532772 w 1009760"/>
                    <a:gd name="connsiteY486" fmla="*/ 519456 h 531427"/>
                    <a:gd name="connsiteX487" fmla="*/ 533335 w 1009760"/>
                    <a:gd name="connsiteY487" fmla="*/ 517125 h 531427"/>
                    <a:gd name="connsiteX488" fmla="*/ 532006 w 1009760"/>
                    <a:gd name="connsiteY488" fmla="*/ 516008 h 531427"/>
                    <a:gd name="connsiteX489" fmla="*/ 531020 w 1009760"/>
                    <a:gd name="connsiteY489" fmla="*/ 514810 h 531427"/>
                    <a:gd name="connsiteX490" fmla="*/ 530320 w 1009760"/>
                    <a:gd name="connsiteY490" fmla="*/ 513661 h 531427"/>
                    <a:gd name="connsiteX491" fmla="*/ 528934 w 1009760"/>
                    <a:gd name="connsiteY491" fmla="*/ 511396 h 531427"/>
                    <a:gd name="connsiteX492" fmla="*/ 527198 w 1009760"/>
                    <a:gd name="connsiteY492" fmla="*/ 511950 h 531427"/>
                    <a:gd name="connsiteX493" fmla="*/ 525690 w 1009760"/>
                    <a:gd name="connsiteY493" fmla="*/ 512504 h 531427"/>
                    <a:gd name="connsiteX494" fmla="*/ 523946 w 1009760"/>
                    <a:gd name="connsiteY494" fmla="*/ 511705 h 531427"/>
                    <a:gd name="connsiteX495" fmla="*/ 518812 w 1009760"/>
                    <a:gd name="connsiteY495" fmla="*/ 512048 h 531427"/>
                    <a:gd name="connsiteX496" fmla="*/ 514941 w 1009760"/>
                    <a:gd name="connsiteY496" fmla="*/ 512317 h 531427"/>
                    <a:gd name="connsiteX497" fmla="*/ 511306 w 1009760"/>
                    <a:gd name="connsiteY497" fmla="*/ 512553 h 531427"/>
                    <a:gd name="connsiteX498" fmla="*/ 506685 w 1009760"/>
                    <a:gd name="connsiteY498" fmla="*/ 512863 h 531427"/>
                    <a:gd name="connsiteX499" fmla="*/ 501111 w 1009760"/>
                    <a:gd name="connsiteY499" fmla="*/ 513229 h 531427"/>
                    <a:gd name="connsiteX500" fmla="*/ 499513 w 1009760"/>
                    <a:gd name="connsiteY500" fmla="*/ 512732 h 531427"/>
                    <a:gd name="connsiteX501" fmla="*/ 498527 w 1009760"/>
                    <a:gd name="connsiteY501" fmla="*/ 511983 h 531427"/>
                    <a:gd name="connsiteX502" fmla="*/ 497509 w 1009760"/>
                    <a:gd name="connsiteY502" fmla="*/ 508853 h 531427"/>
                    <a:gd name="connsiteX503" fmla="*/ 496930 w 1009760"/>
                    <a:gd name="connsiteY503" fmla="*/ 506188 h 531427"/>
                    <a:gd name="connsiteX504" fmla="*/ 495838 w 1009760"/>
                    <a:gd name="connsiteY504" fmla="*/ 501200 h 531427"/>
                    <a:gd name="connsiteX505" fmla="*/ 495129 w 1009760"/>
                    <a:gd name="connsiteY505" fmla="*/ 497337 h 531427"/>
                    <a:gd name="connsiteX506" fmla="*/ 494265 w 1009760"/>
                    <a:gd name="connsiteY506" fmla="*/ 492733 h 531427"/>
                    <a:gd name="connsiteX507" fmla="*/ 493703 w 1009760"/>
                    <a:gd name="connsiteY507" fmla="*/ 487647 h 531427"/>
                    <a:gd name="connsiteX508" fmla="*/ 493295 w 1009760"/>
                    <a:gd name="connsiteY508" fmla="*/ 484029 h 531427"/>
                    <a:gd name="connsiteX509" fmla="*/ 489074 w 1009760"/>
                    <a:gd name="connsiteY509" fmla="*/ 483907 h 531427"/>
                    <a:gd name="connsiteX510" fmla="*/ 485708 w 1009760"/>
                    <a:gd name="connsiteY510" fmla="*/ 483809 h 531427"/>
                    <a:gd name="connsiteX511" fmla="*/ 481152 w 1009760"/>
                    <a:gd name="connsiteY511" fmla="*/ 483678 h 531427"/>
                    <a:gd name="connsiteX512" fmla="*/ 481201 w 1009760"/>
                    <a:gd name="connsiteY512" fmla="*/ 480793 h 531427"/>
                    <a:gd name="connsiteX513" fmla="*/ 481242 w 1009760"/>
                    <a:gd name="connsiteY513" fmla="*/ 477159 h 531427"/>
                    <a:gd name="connsiteX514" fmla="*/ 481307 w 1009760"/>
                    <a:gd name="connsiteY514" fmla="*/ 473019 h 531427"/>
                    <a:gd name="connsiteX515" fmla="*/ 482154 w 1009760"/>
                    <a:gd name="connsiteY515" fmla="*/ 467583 h 531427"/>
                    <a:gd name="connsiteX516" fmla="*/ 482472 w 1009760"/>
                    <a:gd name="connsiteY516" fmla="*/ 463011 h 531427"/>
                    <a:gd name="connsiteX517" fmla="*/ 482864 w 1009760"/>
                    <a:gd name="connsiteY517" fmla="*/ 457445 h 531427"/>
                    <a:gd name="connsiteX518" fmla="*/ 483116 w 1009760"/>
                    <a:gd name="connsiteY518" fmla="*/ 453753 h 531427"/>
                    <a:gd name="connsiteX519" fmla="*/ 483401 w 1009760"/>
                    <a:gd name="connsiteY519" fmla="*/ 449694 h 531427"/>
                    <a:gd name="connsiteX520" fmla="*/ 481063 w 1009760"/>
                    <a:gd name="connsiteY520" fmla="*/ 450941 h 531427"/>
                    <a:gd name="connsiteX521" fmla="*/ 478463 w 1009760"/>
                    <a:gd name="connsiteY521" fmla="*/ 452326 h 531427"/>
                    <a:gd name="connsiteX522" fmla="*/ 476034 w 1009760"/>
                    <a:gd name="connsiteY522" fmla="*/ 453622 h 531427"/>
                    <a:gd name="connsiteX523" fmla="*/ 474363 w 1009760"/>
                    <a:gd name="connsiteY523" fmla="*/ 450338 h 531427"/>
                    <a:gd name="connsiteX524" fmla="*/ 472742 w 1009760"/>
                    <a:gd name="connsiteY524" fmla="*/ 447135 h 531427"/>
                    <a:gd name="connsiteX525" fmla="*/ 470280 w 1009760"/>
                    <a:gd name="connsiteY525" fmla="*/ 442270 h 531427"/>
                    <a:gd name="connsiteX526" fmla="*/ 468422 w 1009760"/>
                    <a:gd name="connsiteY526" fmla="*/ 438619 h 531427"/>
                    <a:gd name="connsiteX527" fmla="*/ 465195 w 1009760"/>
                    <a:gd name="connsiteY527" fmla="*/ 436483 h 531427"/>
                    <a:gd name="connsiteX528" fmla="*/ 462823 w 1009760"/>
                    <a:gd name="connsiteY528" fmla="*/ 434902 h 531427"/>
                    <a:gd name="connsiteX529" fmla="*/ 460346 w 1009760"/>
                    <a:gd name="connsiteY529" fmla="*/ 432237 h 531427"/>
                    <a:gd name="connsiteX530" fmla="*/ 458211 w 1009760"/>
                    <a:gd name="connsiteY530" fmla="*/ 429483 h 531427"/>
                    <a:gd name="connsiteX531" fmla="*/ 456190 w 1009760"/>
                    <a:gd name="connsiteY531" fmla="*/ 426867 h 531427"/>
                    <a:gd name="connsiteX532" fmla="*/ 453761 w 1009760"/>
                    <a:gd name="connsiteY532" fmla="*/ 424593 h 531427"/>
                    <a:gd name="connsiteX533" fmla="*/ 451438 w 1009760"/>
                    <a:gd name="connsiteY533" fmla="*/ 425302 h 531427"/>
                    <a:gd name="connsiteX534" fmla="*/ 448814 w 1009760"/>
                    <a:gd name="connsiteY534" fmla="*/ 426728 h 531427"/>
                    <a:gd name="connsiteX535" fmla="*/ 446287 w 1009760"/>
                    <a:gd name="connsiteY535" fmla="*/ 428097 h 531427"/>
                    <a:gd name="connsiteX536" fmla="*/ 443606 w 1009760"/>
                    <a:gd name="connsiteY536" fmla="*/ 429548 h 531427"/>
                    <a:gd name="connsiteX537" fmla="*/ 442294 w 1009760"/>
                    <a:gd name="connsiteY537" fmla="*/ 430265 h 531427"/>
                    <a:gd name="connsiteX538" fmla="*/ 439197 w 1009760"/>
                    <a:gd name="connsiteY538" fmla="*/ 429988 h 531427"/>
                    <a:gd name="connsiteX539" fmla="*/ 436475 w 1009760"/>
                    <a:gd name="connsiteY539" fmla="*/ 429752 h 531427"/>
                    <a:gd name="connsiteX540" fmla="*/ 431626 w 1009760"/>
                    <a:gd name="connsiteY540" fmla="*/ 429336 h 531427"/>
                    <a:gd name="connsiteX541" fmla="*/ 427527 w 1009760"/>
                    <a:gd name="connsiteY541" fmla="*/ 428977 h 531427"/>
                    <a:gd name="connsiteX542" fmla="*/ 423346 w 1009760"/>
                    <a:gd name="connsiteY542" fmla="*/ 428611 h 531427"/>
                    <a:gd name="connsiteX543" fmla="*/ 417527 w 1009760"/>
                    <a:gd name="connsiteY543" fmla="*/ 428105 h 531427"/>
                    <a:gd name="connsiteX544" fmla="*/ 411627 w 1009760"/>
                    <a:gd name="connsiteY544" fmla="*/ 427600 h 531427"/>
                    <a:gd name="connsiteX545" fmla="*/ 407674 w 1009760"/>
                    <a:gd name="connsiteY545" fmla="*/ 428277 h 531427"/>
                    <a:gd name="connsiteX546" fmla="*/ 402678 w 1009760"/>
                    <a:gd name="connsiteY546" fmla="*/ 429132 h 531427"/>
                    <a:gd name="connsiteX547" fmla="*/ 397430 w 1009760"/>
                    <a:gd name="connsiteY547" fmla="*/ 430029 h 531427"/>
                    <a:gd name="connsiteX548" fmla="*/ 393078 w 1009760"/>
                    <a:gd name="connsiteY548" fmla="*/ 430770 h 531427"/>
                    <a:gd name="connsiteX549" fmla="*/ 387593 w 1009760"/>
                    <a:gd name="connsiteY549" fmla="*/ 431708 h 531427"/>
                    <a:gd name="connsiteX550" fmla="*/ 383478 w 1009760"/>
                    <a:gd name="connsiteY550" fmla="*/ 432408 h 531427"/>
                    <a:gd name="connsiteX551" fmla="*/ 381448 w 1009760"/>
                    <a:gd name="connsiteY551" fmla="*/ 432311 h 531427"/>
                    <a:gd name="connsiteX552" fmla="*/ 378905 w 1009760"/>
                    <a:gd name="connsiteY552" fmla="*/ 429352 h 531427"/>
                    <a:gd name="connsiteX553" fmla="*/ 374831 w 1009760"/>
                    <a:gd name="connsiteY553" fmla="*/ 424625 h 531427"/>
                    <a:gd name="connsiteX554" fmla="*/ 372361 w 1009760"/>
                    <a:gd name="connsiteY554" fmla="*/ 421749 h 531427"/>
                    <a:gd name="connsiteX555" fmla="*/ 369924 w 1009760"/>
                    <a:gd name="connsiteY555" fmla="*/ 418929 h 531427"/>
                    <a:gd name="connsiteX556" fmla="*/ 366437 w 1009760"/>
                    <a:gd name="connsiteY556" fmla="*/ 414870 h 531427"/>
                    <a:gd name="connsiteX557" fmla="*/ 363625 w 1009760"/>
                    <a:gd name="connsiteY557" fmla="*/ 411798 h 531427"/>
                    <a:gd name="connsiteX558" fmla="*/ 360870 w 1009760"/>
                    <a:gd name="connsiteY558" fmla="*/ 408791 h 531427"/>
                    <a:gd name="connsiteX559" fmla="*/ 359297 w 1009760"/>
                    <a:gd name="connsiteY559" fmla="*/ 406012 h 531427"/>
                    <a:gd name="connsiteX560" fmla="*/ 358499 w 1009760"/>
                    <a:gd name="connsiteY560" fmla="*/ 402507 h 531427"/>
                    <a:gd name="connsiteX561" fmla="*/ 357072 w 1009760"/>
                    <a:gd name="connsiteY561" fmla="*/ 400926 h 531427"/>
                    <a:gd name="connsiteX562" fmla="*/ 353878 w 1009760"/>
                    <a:gd name="connsiteY562" fmla="*/ 398783 h 531427"/>
                    <a:gd name="connsiteX563" fmla="*/ 350455 w 1009760"/>
                    <a:gd name="connsiteY563" fmla="*/ 396484 h 531427"/>
                    <a:gd name="connsiteX564" fmla="*/ 347032 w 1009760"/>
                    <a:gd name="connsiteY564" fmla="*/ 394186 h 531427"/>
                    <a:gd name="connsiteX565" fmla="*/ 343609 w 1009760"/>
                    <a:gd name="connsiteY565" fmla="*/ 391880 h 531427"/>
                    <a:gd name="connsiteX566" fmla="*/ 340178 w 1009760"/>
                    <a:gd name="connsiteY566" fmla="*/ 389582 h 531427"/>
                    <a:gd name="connsiteX567" fmla="*/ 336747 w 1009760"/>
                    <a:gd name="connsiteY567" fmla="*/ 387275 h 531427"/>
                    <a:gd name="connsiteX568" fmla="*/ 333324 w 1009760"/>
                    <a:gd name="connsiteY568" fmla="*/ 384969 h 531427"/>
                    <a:gd name="connsiteX569" fmla="*/ 329893 w 1009760"/>
                    <a:gd name="connsiteY569" fmla="*/ 382662 h 531427"/>
                    <a:gd name="connsiteX570" fmla="*/ 326462 w 1009760"/>
                    <a:gd name="connsiteY570" fmla="*/ 380356 h 531427"/>
                    <a:gd name="connsiteX571" fmla="*/ 323039 w 1009760"/>
                    <a:gd name="connsiteY571" fmla="*/ 378050 h 531427"/>
                    <a:gd name="connsiteX572" fmla="*/ 319616 w 1009760"/>
                    <a:gd name="connsiteY572" fmla="*/ 375735 h 531427"/>
                    <a:gd name="connsiteX573" fmla="*/ 316185 w 1009760"/>
                    <a:gd name="connsiteY573" fmla="*/ 373429 h 531427"/>
                    <a:gd name="connsiteX574" fmla="*/ 312762 w 1009760"/>
                    <a:gd name="connsiteY574" fmla="*/ 371114 h 531427"/>
                    <a:gd name="connsiteX575" fmla="*/ 309339 w 1009760"/>
                    <a:gd name="connsiteY575" fmla="*/ 368800 h 531427"/>
                    <a:gd name="connsiteX576" fmla="*/ 305900 w 1009760"/>
                    <a:gd name="connsiteY576" fmla="*/ 366493 h 531427"/>
                    <a:gd name="connsiteX577" fmla="*/ 302477 w 1009760"/>
                    <a:gd name="connsiteY577" fmla="*/ 364179 h 531427"/>
                    <a:gd name="connsiteX578" fmla="*/ 299055 w 1009760"/>
                    <a:gd name="connsiteY578" fmla="*/ 361856 h 531427"/>
                    <a:gd name="connsiteX579" fmla="*/ 296227 w 1009760"/>
                    <a:gd name="connsiteY579" fmla="*/ 360177 h 531427"/>
                    <a:gd name="connsiteX580" fmla="*/ 293610 w 1009760"/>
                    <a:gd name="connsiteY580" fmla="*/ 360609 h 531427"/>
                    <a:gd name="connsiteX581" fmla="*/ 289691 w 1009760"/>
                    <a:gd name="connsiteY581" fmla="*/ 361791 h 531427"/>
                    <a:gd name="connsiteX582" fmla="*/ 285559 w 1009760"/>
                    <a:gd name="connsiteY582" fmla="*/ 363022 h 531427"/>
                    <a:gd name="connsiteX583" fmla="*/ 281500 w 1009760"/>
                    <a:gd name="connsiteY583" fmla="*/ 364244 h 531427"/>
                    <a:gd name="connsiteX584" fmla="*/ 274198 w 1009760"/>
                    <a:gd name="connsiteY584" fmla="*/ 366436 h 531427"/>
                    <a:gd name="connsiteX585" fmla="*/ 269512 w 1009760"/>
                    <a:gd name="connsiteY585" fmla="*/ 367838 h 531427"/>
                    <a:gd name="connsiteX586" fmla="*/ 265836 w 1009760"/>
                    <a:gd name="connsiteY586" fmla="*/ 369028 h 531427"/>
                    <a:gd name="connsiteX587" fmla="*/ 261933 w 1009760"/>
                    <a:gd name="connsiteY587" fmla="*/ 370291 h 531427"/>
                    <a:gd name="connsiteX588" fmla="*/ 256806 w 1009760"/>
                    <a:gd name="connsiteY588" fmla="*/ 371954 h 531427"/>
                    <a:gd name="connsiteX589" fmla="*/ 252511 w 1009760"/>
                    <a:gd name="connsiteY589" fmla="*/ 373339 h 531427"/>
                    <a:gd name="connsiteX590" fmla="*/ 247475 w 1009760"/>
                    <a:gd name="connsiteY590" fmla="*/ 374961 h 531427"/>
                    <a:gd name="connsiteX591" fmla="*/ 243017 w 1009760"/>
                    <a:gd name="connsiteY591" fmla="*/ 376395 h 531427"/>
                    <a:gd name="connsiteX592" fmla="*/ 239268 w 1009760"/>
                    <a:gd name="connsiteY592" fmla="*/ 377610 h 531427"/>
                    <a:gd name="connsiteX593" fmla="*/ 235364 w 1009760"/>
                    <a:gd name="connsiteY593" fmla="*/ 378865 h 531427"/>
                    <a:gd name="connsiteX594" fmla="*/ 232275 w 1009760"/>
                    <a:gd name="connsiteY594" fmla="*/ 379867 h 531427"/>
                    <a:gd name="connsiteX595" fmla="*/ 232275 w 1009760"/>
                    <a:gd name="connsiteY595" fmla="*/ 387911 h 531427"/>
                    <a:gd name="connsiteX596" fmla="*/ 232284 w 1009760"/>
                    <a:gd name="connsiteY596" fmla="*/ 395947 h 531427"/>
                    <a:gd name="connsiteX597" fmla="*/ 232284 w 1009760"/>
                    <a:gd name="connsiteY597" fmla="*/ 403966 h 531427"/>
                    <a:gd name="connsiteX598" fmla="*/ 232284 w 1009760"/>
                    <a:gd name="connsiteY598" fmla="*/ 411969 h 531427"/>
                    <a:gd name="connsiteX599" fmla="*/ 232292 w 1009760"/>
                    <a:gd name="connsiteY599" fmla="*/ 419956 h 531427"/>
                    <a:gd name="connsiteX600" fmla="*/ 232292 w 1009760"/>
                    <a:gd name="connsiteY600" fmla="*/ 427934 h 531427"/>
                    <a:gd name="connsiteX601" fmla="*/ 232292 w 1009760"/>
                    <a:gd name="connsiteY601" fmla="*/ 435897 h 531427"/>
                    <a:gd name="connsiteX602" fmla="*/ 232300 w 1009760"/>
                    <a:gd name="connsiteY602" fmla="*/ 443851 h 531427"/>
                    <a:gd name="connsiteX603" fmla="*/ 232300 w 1009760"/>
                    <a:gd name="connsiteY603" fmla="*/ 451789 h 531427"/>
                    <a:gd name="connsiteX604" fmla="*/ 232300 w 1009760"/>
                    <a:gd name="connsiteY604" fmla="*/ 459718 h 531427"/>
                    <a:gd name="connsiteX605" fmla="*/ 232308 w 1009760"/>
                    <a:gd name="connsiteY605" fmla="*/ 467640 h 531427"/>
                    <a:gd name="connsiteX606" fmla="*/ 232308 w 1009760"/>
                    <a:gd name="connsiteY606" fmla="*/ 475545 h 531427"/>
                    <a:gd name="connsiteX607" fmla="*/ 232308 w 1009760"/>
                    <a:gd name="connsiteY607" fmla="*/ 483434 h 531427"/>
                    <a:gd name="connsiteX608" fmla="*/ 232308 w 1009760"/>
                    <a:gd name="connsiteY608" fmla="*/ 491315 h 531427"/>
                    <a:gd name="connsiteX609" fmla="*/ 232308 w 1009760"/>
                    <a:gd name="connsiteY609" fmla="*/ 499179 h 531427"/>
                    <a:gd name="connsiteX610" fmla="*/ 232316 w 1009760"/>
                    <a:gd name="connsiteY610" fmla="*/ 507036 h 531427"/>
                    <a:gd name="connsiteX611" fmla="*/ 231265 w 1009760"/>
                    <a:gd name="connsiteY611" fmla="*/ 506970 h 531427"/>
                    <a:gd name="connsiteX612" fmla="*/ 228885 w 1009760"/>
                    <a:gd name="connsiteY612" fmla="*/ 507427 h 531427"/>
                    <a:gd name="connsiteX613" fmla="*/ 224900 w 1009760"/>
                    <a:gd name="connsiteY613" fmla="*/ 508519 h 531427"/>
                    <a:gd name="connsiteX614" fmla="*/ 221599 w 1009760"/>
                    <a:gd name="connsiteY614" fmla="*/ 509073 h 531427"/>
                    <a:gd name="connsiteX615" fmla="*/ 220157 w 1009760"/>
                    <a:gd name="connsiteY615" fmla="*/ 508747 h 531427"/>
                    <a:gd name="connsiteX616" fmla="*/ 218853 w 1009760"/>
                    <a:gd name="connsiteY616" fmla="*/ 507924 h 531427"/>
                    <a:gd name="connsiteX617" fmla="*/ 217704 w 1009760"/>
                    <a:gd name="connsiteY617" fmla="*/ 506188 h 531427"/>
                    <a:gd name="connsiteX618" fmla="*/ 216000 w 1009760"/>
                    <a:gd name="connsiteY618" fmla="*/ 504085 h 531427"/>
                    <a:gd name="connsiteX619" fmla="*/ 214273 w 1009760"/>
                    <a:gd name="connsiteY619" fmla="*/ 502390 h 531427"/>
                    <a:gd name="connsiteX620" fmla="*/ 212097 w 1009760"/>
                    <a:gd name="connsiteY620" fmla="*/ 498894 h 531427"/>
                    <a:gd name="connsiteX621" fmla="*/ 210597 w 1009760"/>
                    <a:gd name="connsiteY621" fmla="*/ 496205 h 531427"/>
                    <a:gd name="connsiteX622" fmla="*/ 206881 w 1009760"/>
                    <a:gd name="connsiteY622" fmla="*/ 490329 h 531427"/>
                    <a:gd name="connsiteX623" fmla="*/ 206376 w 1009760"/>
                    <a:gd name="connsiteY623" fmla="*/ 488479 h 531427"/>
                    <a:gd name="connsiteX624" fmla="*/ 205675 w 1009760"/>
                    <a:gd name="connsiteY624" fmla="*/ 486588 h 531427"/>
                    <a:gd name="connsiteX625" fmla="*/ 204452 w 1009760"/>
                    <a:gd name="connsiteY625" fmla="*/ 485007 h 531427"/>
                    <a:gd name="connsiteX626" fmla="*/ 200084 w 1009760"/>
                    <a:gd name="connsiteY626" fmla="*/ 481128 h 531427"/>
                    <a:gd name="connsiteX627" fmla="*/ 194999 w 1009760"/>
                    <a:gd name="connsiteY627" fmla="*/ 477623 h 531427"/>
                    <a:gd name="connsiteX628" fmla="*/ 190011 w 1009760"/>
                    <a:gd name="connsiteY628" fmla="*/ 474192 h 531427"/>
                    <a:gd name="connsiteX629" fmla="*/ 188601 w 1009760"/>
                    <a:gd name="connsiteY629" fmla="*/ 473353 h 531427"/>
                    <a:gd name="connsiteX630" fmla="*/ 186278 w 1009760"/>
                    <a:gd name="connsiteY630" fmla="*/ 472285 h 531427"/>
                    <a:gd name="connsiteX631" fmla="*/ 183393 w 1009760"/>
                    <a:gd name="connsiteY631" fmla="*/ 472261 h 531427"/>
                    <a:gd name="connsiteX632" fmla="*/ 181445 w 1009760"/>
                    <a:gd name="connsiteY632" fmla="*/ 472473 h 531427"/>
                    <a:gd name="connsiteX633" fmla="*/ 175472 w 1009760"/>
                    <a:gd name="connsiteY633" fmla="*/ 473597 h 531427"/>
                    <a:gd name="connsiteX634" fmla="*/ 170892 w 1009760"/>
                    <a:gd name="connsiteY634" fmla="*/ 474926 h 531427"/>
                    <a:gd name="connsiteX635" fmla="*/ 164681 w 1009760"/>
                    <a:gd name="connsiteY635" fmla="*/ 476735 h 531427"/>
                    <a:gd name="connsiteX636" fmla="*/ 159857 w 1009760"/>
                    <a:gd name="connsiteY636" fmla="*/ 478732 h 531427"/>
                    <a:gd name="connsiteX637" fmla="*/ 158781 w 1009760"/>
                    <a:gd name="connsiteY637" fmla="*/ 479318 h 531427"/>
                    <a:gd name="connsiteX638" fmla="*/ 155252 w 1009760"/>
                    <a:gd name="connsiteY638" fmla="*/ 481722 h 531427"/>
                    <a:gd name="connsiteX639" fmla="*/ 150958 w 1009760"/>
                    <a:gd name="connsiteY639" fmla="*/ 485716 h 531427"/>
                    <a:gd name="connsiteX640" fmla="*/ 145921 w 1009760"/>
                    <a:gd name="connsiteY640" fmla="*/ 491347 h 531427"/>
                    <a:gd name="connsiteX641" fmla="*/ 145269 w 1009760"/>
                    <a:gd name="connsiteY641" fmla="*/ 487729 h 531427"/>
                    <a:gd name="connsiteX642" fmla="*/ 145049 w 1009760"/>
                    <a:gd name="connsiteY642" fmla="*/ 482146 h 531427"/>
                    <a:gd name="connsiteX643" fmla="*/ 145139 w 1009760"/>
                    <a:gd name="connsiteY643" fmla="*/ 480345 h 531427"/>
                    <a:gd name="connsiteX644" fmla="*/ 146500 w 1009760"/>
                    <a:gd name="connsiteY644" fmla="*/ 475643 h 531427"/>
                    <a:gd name="connsiteX645" fmla="*/ 147893 w 1009760"/>
                    <a:gd name="connsiteY645" fmla="*/ 472424 h 531427"/>
                    <a:gd name="connsiteX646" fmla="*/ 149010 w 1009760"/>
                    <a:gd name="connsiteY646" fmla="*/ 469066 h 531427"/>
                    <a:gd name="connsiteX647" fmla="*/ 149515 w 1009760"/>
                    <a:gd name="connsiteY647" fmla="*/ 464673 h 531427"/>
                    <a:gd name="connsiteX648" fmla="*/ 148488 w 1009760"/>
                    <a:gd name="connsiteY648" fmla="*/ 457624 h 531427"/>
                    <a:gd name="connsiteX649" fmla="*/ 147322 w 1009760"/>
                    <a:gd name="connsiteY649" fmla="*/ 456059 h 531427"/>
                    <a:gd name="connsiteX650" fmla="*/ 145929 w 1009760"/>
                    <a:gd name="connsiteY650" fmla="*/ 455554 h 531427"/>
                    <a:gd name="connsiteX651" fmla="*/ 144454 w 1009760"/>
                    <a:gd name="connsiteY651" fmla="*/ 455407 h 531427"/>
                    <a:gd name="connsiteX652" fmla="*/ 141716 w 1009760"/>
                    <a:gd name="connsiteY652" fmla="*/ 455692 h 531427"/>
                    <a:gd name="connsiteX653" fmla="*/ 140444 w 1009760"/>
                    <a:gd name="connsiteY653" fmla="*/ 456255 h 531427"/>
                    <a:gd name="connsiteX654" fmla="*/ 138236 w 1009760"/>
                    <a:gd name="connsiteY654" fmla="*/ 453875 h 531427"/>
                    <a:gd name="connsiteX655" fmla="*/ 135554 w 1009760"/>
                    <a:gd name="connsiteY655" fmla="*/ 453500 h 531427"/>
                    <a:gd name="connsiteX656" fmla="*/ 134136 w 1009760"/>
                    <a:gd name="connsiteY656" fmla="*/ 454168 h 531427"/>
                    <a:gd name="connsiteX657" fmla="*/ 132710 w 1009760"/>
                    <a:gd name="connsiteY657" fmla="*/ 454511 h 531427"/>
                    <a:gd name="connsiteX658" fmla="*/ 131154 w 1009760"/>
                    <a:gd name="connsiteY658" fmla="*/ 453850 h 531427"/>
                    <a:gd name="connsiteX659" fmla="*/ 129809 w 1009760"/>
                    <a:gd name="connsiteY659" fmla="*/ 452449 h 531427"/>
                    <a:gd name="connsiteX660" fmla="*/ 128986 w 1009760"/>
                    <a:gd name="connsiteY660" fmla="*/ 450925 h 531427"/>
                    <a:gd name="connsiteX661" fmla="*/ 128350 w 1009760"/>
                    <a:gd name="connsiteY661" fmla="*/ 449205 h 531427"/>
                    <a:gd name="connsiteX662" fmla="*/ 126247 w 1009760"/>
                    <a:gd name="connsiteY662" fmla="*/ 445758 h 531427"/>
                    <a:gd name="connsiteX663" fmla="*/ 124161 w 1009760"/>
                    <a:gd name="connsiteY663" fmla="*/ 443875 h 531427"/>
                    <a:gd name="connsiteX664" fmla="*/ 121627 w 1009760"/>
                    <a:gd name="connsiteY664" fmla="*/ 443451 h 531427"/>
                    <a:gd name="connsiteX665" fmla="*/ 117495 w 1009760"/>
                    <a:gd name="connsiteY665" fmla="*/ 443565 h 531427"/>
                    <a:gd name="connsiteX666" fmla="*/ 116199 w 1009760"/>
                    <a:gd name="connsiteY666" fmla="*/ 443329 h 531427"/>
                    <a:gd name="connsiteX667" fmla="*/ 116126 w 1009760"/>
                    <a:gd name="connsiteY667" fmla="*/ 441373 h 531427"/>
                    <a:gd name="connsiteX668" fmla="*/ 116639 w 1009760"/>
                    <a:gd name="connsiteY668" fmla="*/ 437046 h 531427"/>
                    <a:gd name="connsiteX669" fmla="*/ 116647 w 1009760"/>
                    <a:gd name="connsiteY669" fmla="*/ 434788 h 531427"/>
                    <a:gd name="connsiteX670" fmla="*/ 116354 w 1009760"/>
                    <a:gd name="connsiteY670" fmla="*/ 432645 h 531427"/>
                    <a:gd name="connsiteX671" fmla="*/ 115669 w 1009760"/>
                    <a:gd name="connsiteY671" fmla="*/ 430893 h 531427"/>
                    <a:gd name="connsiteX672" fmla="*/ 114797 w 1009760"/>
                    <a:gd name="connsiteY672" fmla="*/ 429369 h 531427"/>
                    <a:gd name="connsiteX673" fmla="*/ 112328 w 1009760"/>
                    <a:gd name="connsiteY673" fmla="*/ 426867 h 531427"/>
                    <a:gd name="connsiteX674" fmla="*/ 110470 w 1009760"/>
                    <a:gd name="connsiteY674" fmla="*/ 423346 h 531427"/>
                    <a:gd name="connsiteX675" fmla="*/ 107373 w 1009760"/>
                    <a:gd name="connsiteY675" fmla="*/ 416093 h 531427"/>
                    <a:gd name="connsiteX676" fmla="*/ 104667 w 1009760"/>
                    <a:gd name="connsiteY676" fmla="*/ 407935 h 531427"/>
                    <a:gd name="connsiteX677" fmla="*/ 103477 w 1009760"/>
                    <a:gd name="connsiteY677" fmla="*/ 406712 h 531427"/>
                    <a:gd name="connsiteX678" fmla="*/ 101057 w 1009760"/>
                    <a:gd name="connsiteY678" fmla="*/ 405417 h 531427"/>
                    <a:gd name="connsiteX679" fmla="*/ 95767 w 1009760"/>
                    <a:gd name="connsiteY679" fmla="*/ 404382 h 531427"/>
                    <a:gd name="connsiteX680" fmla="*/ 92279 w 1009760"/>
                    <a:gd name="connsiteY680" fmla="*/ 403306 h 531427"/>
                    <a:gd name="connsiteX681" fmla="*/ 90902 w 1009760"/>
                    <a:gd name="connsiteY681" fmla="*/ 402271 h 531427"/>
                    <a:gd name="connsiteX682" fmla="*/ 90332 w 1009760"/>
                    <a:gd name="connsiteY682" fmla="*/ 400478 h 531427"/>
                    <a:gd name="connsiteX683" fmla="*/ 90340 w 1009760"/>
                    <a:gd name="connsiteY683" fmla="*/ 398555 h 531427"/>
                    <a:gd name="connsiteX684" fmla="*/ 90625 w 1009760"/>
                    <a:gd name="connsiteY684" fmla="*/ 396281 h 531427"/>
                    <a:gd name="connsiteX685" fmla="*/ 91448 w 1009760"/>
                    <a:gd name="connsiteY685" fmla="*/ 394357 h 531427"/>
                    <a:gd name="connsiteX686" fmla="*/ 94235 w 1009760"/>
                    <a:gd name="connsiteY686" fmla="*/ 392866 h 531427"/>
                    <a:gd name="connsiteX687" fmla="*/ 100250 w 1009760"/>
                    <a:gd name="connsiteY687" fmla="*/ 392540 h 531427"/>
                    <a:gd name="connsiteX688" fmla="*/ 105409 w 1009760"/>
                    <a:gd name="connsiteY688" fmla="*/ 392703 h 531427"/>
                    <a:gd name="connsiteX689" fmla="*/ 110087 w 1009760"/>
                    <a:gd name="connsiteY689" fmla="*/ 396142 h 531427"/>
                    <a:gd name="connsiteX690" fmla="*/ 111619 w 1009760"/>
                    <a:gd name="connsiteY690" fmla="*/ 396933 h 531427"/>
                    <a:gd name="connsiteX691" fmla="*/ 113265 w 1009760"/>
                    <a:gd name="connsiteY691" fmla="*/ 397161 h 531427"/>
                    <a:gd name="connsiteX692" fmla="*/ 116582 w 1009760"/>
                    <a:gd name="connsiteY692" fmla="*/ 396077 h 531427"/>
                    <a:gd name="connsiteX693" fmla="*/ 118212 w 1009760"/>
                    <a:gd name="connsiteY693" fmla="*/ 395775 h 531427"/>
                    <a:gd name="connsiteX694" fmla="*/ 122344 w 1009760"/>
                    <a:gd name="connsiteY694" fmla="*/ 396126 h 531427"/>
                    <a:gd name="connsiteX695" fmla="*/ 121121 w 1009760"/>
                    <a:gd name="connsiteY695" fmla="*/ 394496 h 531427"/>
                    <a:gd name="connsiteX696" fmla="*/ 119573 w 1009760"/>
                    <a:gd name="connsiteY696" fmla="*/ 393640 h 531427"/>
                    <a:gd name="connsiteX697" fmla="*/ 117967 w 1009760"/>
                    <a:gd name="connsiteY697" fmla="*/ 393714 h 531427"/>
                    <a:gd name="connsiteX698" fmla="*/ 116574 w 1009760"/>
                    <a:gd name="connsiteY698" fmla="*/ 393053 h 531427"/>
                    <a:gd name="connsiteX699" fmla="*/ 114292 w 1009760"/>
                    <a:gd name="connsiteY699" fmla="*/ 389899 h 531427"/>
                    <a:gd name="connsiteX700" fmla="*/ 110323 w 1009760"/>
                    <a:gd name="connsiteY700" fmla="*/ 386305 h 531427"/>
                    <a:gd name="connsiteX701" fmla="*/ 109402 w 1009760"/>
                    <a:gd name="connsiteY701" fmla="*/ 384822 h 531427"/>
                    <a:gd name="connsiteX702" fmla="*/ 109125 w 1009760"/>
                    <a:gd name="connsiteY702" fmla="*/ 382443 h 531427"/>
                    <a:gd name="connsiteX703" fmla="*/ 109891 w 1009760"/>
                    <a:gd name="connsiteY703" fmla="*/ 380389 h 531427"/>
                    <a:gd name="connsiteX704" fmla="*/ 112711 w 1009760"/>
                    <a:gd name="connsiteY704" fmla="*/ 378286 h 531427"/>
                    <a:gd name="connsiteX705" fmla="*/ 115091 w 1009760"/>
                    <a:gd name="connsiteY705" fmla="*/ 375426 h 531427"/>
                    <a:gd name="connsiteX706" fmla="*/ 116182 w 1009760"/>
                    <a:gd name="connsiteY706" fmla="*/ 371628 h 531427"/>
                    <a:gd name="connsiteX707" fmla="*/ 117160 w 1009760"/>
                    <a:gd name="connsiteY707" fmla="*/ 369876 h 531427"/>
                    <a:gd name="connsiteX708" fmla="*/ 119206 w 1009760"/>
                    <a:gd name="connsiteY708" fmla="*/ 367121 h 531427"/>
                    <a:gd name="connsiteX709" fmla="*/ 122278 w 1009760"/>
                    <a:gd name="connsiteY709" fmla="*/ 367651 h 531427"/>
                    <a:gd name="connsiteX710" fmla="*/ 127063 w 1009760"/>
                    <a:gd name="connsiteY710" fmla="*/ 365662 h 531427"/>
                    <a:gd name="connsiteX711" fmla="*/ 134911 w 1009760"/>
                    <a:gd name="connsiteY711" fmla="*/ 366053 h 531427"/>
                    <a:gd name="connsiteX712" fmla="*/ 144275 w 1009760"/>
                    <a:gd name="connsiteY712" fmla="*/ 365483 h 531427"/>
                    <a:gd name="connsiteX713" fmla="*/ 146858 w 1009760"/>
                    <a:gd name="connsiteY713" fmla="*/ 365695 h 531427"/>
                    <a:gd name="connsiteX714" fmla="*/ 152832 w 1009760"/>
                    <a:gd name="connsiteY714" fmla="*/ 367626 h 531427"/>
                    <a:gd name="connsiteX715" fmla="*/ 156271 w 1009760"/>
                    <a:gd name="connsiteY715" fmla="*/ 368466 h 531427"/>
                    <a:gd name="connsiteX716" fmla="*/ 160444 w 1009760"/>
                    <a:gd name="connsiteY716" fmla="*/ 368898 h 531427"/>
                    <a:gd name="connsiteX717" fmla="*/ 163459 w 1009760"/>
                    <a:gd name="connsiteY717" fmla="*/ 368034 h 531427"/>
                    <a:gd name="connsiteX718" fmla="*/ 160615 w 1009760"/>
                    <a:gd name="connsiteY718" fmla="*/ 365385 h 531427"/>
                    <a:gd name="connsiteX719" fmla="*/ 154462 w 1009760"/>
                    <a:gd name="connsiteY719" fmla="*/ 362239 h 531427"/>
                    <a:gd name="connsiteX720" fmla="*/ 152881 w 1009760"/>
                    <a:gd name="connsiteY720" fmla="*/ 359558 h 531427"/>
                    <a:gd name="connsiteX721" fmla="*/ 155709 w 1009760"/>
                    <a:gd name="connsiteY721" fmla="*/ 352272 h 531427"/>
                    <a:gd name="connsiteX722" fmla="*/ 159531 w 1009760"/>
                    <a:gd name="connsiteY722" fmla="*/ 345622 h 531427"/>
                    <a:gd name="connsiteX723" fmla="*/ 161854 w 1009760"/>
                    <a:gd name="connsiteY723" fmla="*/ 337709 h 531427"/>
                    <a:gd name="connsiteX724" fmla="*/ 161201 w 1009760"/>
                    <a:gd name="connsiteY724" fmla="*/ 329836 h 531427"/>
                    <a:gd name="connsiteX725" fmla="*/ 160077 w 1009760"/>
                    <a:gd name="connsiteY725" fmla="*/ 327660 h 531427"/>
                    <a:gd name="connsiteX726" fmla="*/ 160444 w 1009760"/>
                    <a:gd name="connsiteY726" fmla="*/ 325109 h 531427"/>
                    <a:gd name="connsiteX727" fmla="*/ 161772 w 1009760"/>
                    <a:gd name="connsiteY727" fmla="*/ 322941 h 531427"/>
                    <a:gd name="connsiteX728" fmla="*/ 162709 w 1009760"/>
                    <a:gd name="connsiteY728" fmla="*/ 320782 h 531427"/>
                    <a:gd name="connsiteX729" fmla="*/ 161902 w 1009760"/>
                    <a:gd name="connsiteY729" fmla="*/ 318190 h 531427"/>
                    <a:gd name="connsiteX730" fmla="*/ 160216 w 1009760"/>
                    <a:gd name="connsiteY730" fmla="*/ 314131 h 531427"/>
                    <a:gd name="connsiteX731" fmla="*/ 159352 w 1009760"/>
                    <a:gd name="connsiteY731" fmla="*/ 312827 h 531427"/>
                    <a:gd name="connsiteX732" fmla="*/ 156410 w 1009760"/>
                    <a:gd name="connsiteY732" fmla="*/ 310635 h 531427"/>
                    <a:gd name="connsiteX733" fmla="*/ 150493 w 1009760"/>
                    <a:gd name="connsiteY733" fmla="*/ 310529 h 531427"/>
                    <a:gd name="connsiteX734" fmla="*/ 145676 w 1009760"/>
                    <a:gd name="connsiteY734" fmla="*/ 309339 h 531427"/>
                    <a:gd name="connsiteX735" fmla="*/ 144112 w 1009760"/>
                    <a:gd name="connsiteY735" fmla="*/ 310301 h 531427"/>
                    <a:gd name="connsiteX736" fmla="*/ 143240 w 1009760"/>
                    <a:gd name="connsiteY736" fmla="*/ 311776 h 531427"/>
                    <a:gd name="connsiteX737" fmla="*/ 142139 w 1009760"/>
                    <a:gd name="connsiteY737" fmla="*/ 312746 h 531427"/>
                    <a:gd name="connsiteX738" fmla="*/ 138374 w 1009760"/>
                    <a:gd name="connsiteY738" fmla="*/ 314710 h 531427"/>
                    <a:gd name="connsiteX739" fmla="*/ 137119 w 1009760"/>
                    <a:gd name="connsiteY739" fmla="*/ 315101 h 531427"/>
                    <a:gd name="connsiteX740" fmla="*/ 135815 w 1009760"/>
                    <a:gd name="connsiteY740" fmla="*/ 314702 h 531427"/>
                    <a:gd name="connsiteX741" fmla="*/ 133965 w 1009760"/>
                    <a:gd name="connsiteY741" fmla="*/ 312493 h 531427"/>
                    <a:gd name="connsiteX742" fmla="*/ 132335 w 1009760"/>
                    <a:gd name="connsiteY742" fmla="*/ 312738 h 531427"/>
                    <a:gd name="connsiteX743" fmla="*/ 127356 w 1009760"/>
                    <a:gd name="connsiteY743" fmla="*/ 311361 h 531427"/>
                    <a:gd name="connsiteX744" fmla="*/ 125017 w 1009760"/>
                    <a:gd name="connsiteY744" fmla="*/ 308361 h 531427"/>
                    <a:gd name="connsiteX745" fmla="*/ 124161 w 1009760"/>
                    <a:gd name="connsiteY745" fmla="*/ 307938 h 531427"/>
                    <a:gd name="connsiteX746" fmla="*/ 116109 w 1009760"/>
                    <a:gd name="connsiteY746" fmla="*/ 305542 h 531427"/>
                    <a:gd name="connsiteX747" fmla="*/ 113314 w 1009760"/>
                    <a:gd name="connsiteY747" fmla="*/ 305085 h 531427"/>
                    <a:gd name="connsiteX748" fmla="*/ 106916 w 1009760"/>
                    <a:gd name="connsiteY748" fmla="*/ 307563 h 531427"/>
                    <a:gd name="connsiteX749" fmla="*/ 102271 w 1009760"/>
                    <a:gd name="connsiteY749" fmla="*/ 310733 h 531427"/>
                    <a:gd name="connsiteX750" fmla="*/ 100967 w 1009760"/>
                    <a:gd name="connsiteY750" fmla="*/ 311198 h 531427"/>
                    <a:gd name="connsiteX751" fmla="*/ 98563 w 1009760"/>
                    <a:gd name="connsiteY751" fmla="*/ 313211 h 531427"/>
                    <a:gd name="connsiteX752" fmla="*/ 97210 w 1009760"/>
                    <a:gd name="connsiteY752" fmla="*/ 313528 h 531427"/>
                    <a:gd name="connsiteX753" fmla="*/ 95808 w 1009760"/>
                    <a:gd name="connsiteY753" fmla="*/ 313186 h 531427"/>
                    <a:gd name="connsiteX754" fmla="*/ 94496 w 1009760"/>
                    <a:gd name="connsiteY754" fmla="*/ 313308 h 531427"/>
                    <a:gd name="connsiteX755" fmla="*/ 91701 w 1009760"/>
                    <a:gd name="connsiteY755" fmla="*/ 316316 h 531427"/>
                    <a:gd name="connsiteX756" fmla="*/ 86623 w 1009760"/>
                    <a:gd name="connsiteY756" fmla="*/ 319820 h 531427"/>
                    <a:gd name="connsiteX757" fmla="*/ 84089 w 1009760"/>
                    <a:gd name="connsiteY757" fmla="*/ 322029 h 531427"/>
                    <a:gd name="connsiteX758" fmla="*/ 81277 w 1009760"/>
                    <a:gd name="connsiteY758" fmla="*/ 323406 h 531427"/>
                    <a:gd name="connsiteX759" fmla="*/ 78156 w 1009760"/>
                    <a:gd name="connsiteY759" fmla="*/ 324253 h 531427"/>
                    <a:gd name="connsiteX760" fmla="*/ 74945 w 1009760"/>
                    <a:gd name="connsiteY760" fmla="*/ 324400 h 531427"/>
                    <a:gd name="connsiteX761" fmla="*/ 73779 w 1009760"/>
                    <a:gd name="connsiteY761" fmla="*/ 325191 h 531427"/>
                    <a:gd name="connsiteX762" fmla="*/ 70128 w 1009760"/>
                    <a:gd name="connsiteY762" fmla="*/ 325476 h 531427"/>
                    <a:gd name="connsiteX763" fmla="*/ 67903 w 1009760"/>
                    <a:gd name="connsiteY763" fmla="*/ 326120 h 531427"/>
                    <a:gd name="connsiteX764" fmla="*/ 67822 w 1009760"/>
                    <a:gd name="connsiteY764" fmla="*/ 327318 h 531427"/>
                    <a:gd name="connsiteX765" fmla="*/ 68278 w 1009760"/>
                    <a:gd name="connsiteY765" fmla="*/ 329983 h 531427"/>
                    <a:gd name="connsiteX766" fmla="*/ 66388 w 1009760"/>
                    <a:gd name="connsiteY766" fmla="*/ 329037 h 531427"/>
                    <a:gd name="connsiteX767" fmla="*/ 64399 w 1009760"/>
                    <a:gd name="connsiteY767" fmla="*/ 330855 h 531427"/>
                    <a:gd name="connsiteX768" fmla="*/ 65051 w 1009760"/>
                    <a:gd name="connsiteY768" fmla="*/ 332582 h 531427"/>
                    <a:gd name="connsiteX769" fmla="*/ 63861 w 1009760"/>
                    <a:gd name="connsiteY769" fmla="*/ 332167 h 531427"/>
                    <a:gd name="connsiteX770" fmla="*/ 58279 w 1009760"/>
                    <a:gd name="connsiteY770" fmla="*/ 328858 h 531427"/>
                    <a:gd name="connsiteX771" fmla="*/ 53699 w 1009760"/>
                    <a:gd name="connsiteY771" fmla="*/ 326519 h 531427"/>
                    <a:gd name="connsiteX772" fmla="*/ 49624 w 1009760"/>
                    <a:gd name="connsiteY772" fmla="*/ 324441 h 531427"/>
                    <a:gd name="connsiteX773" fmla="*/ 49029 w 1009760"/>
                    <a:gd name="connsiteY773" fmla="*/ 324066 h 531427"/>
                    <a:gd name="connsiteX774" fmla="*/ 47920 w 1009760"/>
                    <a:gd name="connsiteY774" fmla="*/ 323047 h 531427"/>
                    <a:gd name="connsiteX775" fmla="*/ 47114 w 1009760"/>
                    <a:gd name="connsiteY775" fmla="*/ 321474 h 531427"/>
                    <a:gd name="connsiteX776" fmla="*/ 46951 w 1009760"/>
                    <a:gd name="connsiteY776" fmla="*/ 319747 h 531427"/>
                    <a:gd name="connsiteX777" fmla="*/ 47350 w 1009760"/>
                    <a:gd name="connsiteY777" fmla="*/ 318475 h 531427"/>
                    <a:gd name="connsiteX778" fmla="*/ 48336 w 1009760"/>
                    <a:gd name="connsiteY778" fmla="*/ 317668 h 531427"/>
                    <a:gd name="connsiteX779" fmla="*/ 49510 w 1009760"/>
                    <a:gd name="connsiteY779" fmla="*/ 317359 h 531427"/>
                    <a:gd name="connsiteX780" fmla="*/ 50544 w 1009760"/>
                    <a:gd name="connsiteY780" fmla="*/ 317620 h 531427"/>
                    <a:gd name="connsiteX781" fmla="*/ 51702 w 1009760"/>
                    <a:gd name="connsiteY781" fmla="*/ 318394 h 531427"/>
                    <a:gd name="connsiteX782" fmla="*/ 53747 w 1009760"/>
                    <a:gd name="connsiteY782" fmla="*/ 319331 h 531427"/>
                    <a:gd name="connsiteX783" fmla="*/ 56404 w 1009760"/>
                    <a:gd name="connsiteY783" fmla="*/ 319502 h 531427"/>
                    <a:gd name="connsiteX784" fmla="*/ 58067 w 1009760"/>
                    <a:gd name="connsiteY784" fmla="*/ 318777 h 531427"/>
                    <a:gd name="connsiteX785" fmla="*/ 58287 w 1009760"/>
                    <a:gd name="connsiteY785" fmla="*/ 317049 h 531427"/>
                    <a:gd name="connsiteX786" fmla="*/ 55117 w 1009760"/>
                    <a:gd name="connsiteY786" fmla="*/ 310635 h 531427"/>
                    <a:gd name="connsiteX787" fmla="*/ 52215 w 1009760"/>
                    <a:gd name="connsiteY787" fmla="*/ 305452 h 531427"/>
                    <a:gd name="connsiteX788" fmla="*/ 49387 w 1009760"/>
                    <a:gd name="connsiteY788" fmla="*/ 299682 h 531427"/>
                    <a:gd name="connsiteX789" fmla="*/ 48198 w 1009760"/>
                    <a:gd name="connsiteY789" fmla="*/ 297596 h 531427"/>
                    <a:gd name="connsiteX790" fmla="*/ 44734 w 1009760"/>
                    <a:gd name="connsiteY790" fmla="*/ 292755 h 531427"/>
                    <a:gd name="connsiteX791" fmla="*/ 41336 w 1009760"/>
                    <a:gd name="connsiteY791" fmla="*/ 287995 h 531427"/>
                    <a:gd name="connsiteX792" fmla="*/ 38638 w 1009760"/>
                    <a:gd name="connsiteY792" fmla="*/ 283741 h 531427"/>
                    <a:gd name="connsiteX793" fmla="*/ 37220 w 1009760"/>
                    <a:gd name="connsiteY793" fmla="*/ 282429 h 531427"/>
                    <a:gd name="connsiteX794" fmla="*/ 32876 w 1009760"/>
                    <a:gd name="connsiteY794" fmla="*/ 281883 h 531427"/>
                    <a:gd name="connsiteX795" fmla="*/ 24580 w 1009760"/>
                    <a:gd name="connsiteY795" fmla="*/ 280832 h 531427"/>
                    <a:gd name="connsiteX796" fmla="*/ 21646 w 1009760"/>
                    <a:gd name="connsiteY796" fmla="*/ 280334 h 531427"/>
                    <a:gd name="connsiteX797" fmla="*/ 19298 w 1009760"/>
                    <a:gd name="connsiteY797" fmla="*/ 281590 h 531427"/>
                    <a:gd name="connsiteX798" fmla="*/ 16943 w 1009760"/>
                    <a:gd name="connsiteY798" fmla="*/ 282584 h 531427"/>
                    <a:gd name="connsiteX799" fmla="*/ 14710 w 1009760"/>
                    <a:gd name="connsiteY799" fmla="*/ 280734 h 531427"/>
                    <a:gd name="connsiteX800" fmla="*/ 12942 w 1009760"/>
                    <a:gd name="connsiteY800" fmla="*/ 277710 h 531427"/>
                    <a:gd name="connsiteX801" fmla="*/ 12013 w 1009760"/>
                    <a:gd name="connsiteY801" fmla="*/ 275168 h 531427"/>
                    <a:gd name="connsiteX802" fmla="*/ 12461 w 1009760"/>
                    <a:gd name="connsiteY802" fmla="*/ 272568 h 531427"/>
                    <a:gd name="connsiteX803" fmla="*/ 12648 w 1009760"/>
                    <a:gd name="connsiteY803" fmla="*/ 268729 h 531427"/>
                    <a:gd name="connsiteX804" fmla="*/ 11295 w 1009760"/>
                    <a:gd name="connsiteY804" fmla="*/ 264940 h 531427"/>
                    <a:gd name="connsiteX805" fmla="*/ 9796 w 1009760"/>
                    <a:gd name="connsiteY805" fmla="*/ 263073 h 531427"/>
                    <a:gd name="connsiteX806" fmla="*/ 6047 w 1009760"/>
                    <a:gd name="connsiteY806" fmla="*/ 261672 h 531427"/>
                    <a:gd name="connsiteX807" fmla="*/ 1288 w 1009760"/>
                    <a:gd name="connsiteY807" fmla="*/ 258477 h 531427"/>
                    <a:gd name="connsiteX808" fmla="*/ 0 w 1009760"/>
                    <a:gd name="connsiteY808" fmla="*/ 252658 h 531427"/>
                    <a:gd name="connsiteX809" fmla="*/ 2314 w 1009760"/>
                    <a:gd name="connsiteY809" fmla="*/ 244313 h 531427"/>
                    <a:gd name="connsiteX810" fmla="*/ 6047 w 1009760"/>
                    <a:gd name="connsiteY810" fmla="*/ 238380 h 531427"/>
                    <a:gd name="connsiteX811" fmla="*/ 8753 w 1009760"/>
                    <a:gd name="connsiteY811" fmla="*/ 235894 h 531427"/>
                    <a:gd name="connsiteX812" fmla="*/ 10040 w 1009760"/>
                    <a:gd name="connsiteY812" fmla="*/ 233726 h 531427"/>
                    <a:gd name="connsiteX813" fmla="*/ 10464 w 1009760"/>
                    <a:gd name="connsiteY813" fmla="*/ 231852 h 531427"/>
                    <a:gd name="connsiteX814" fmla="*/ 10146 w 1009760"/>
                    <a:gd name="connsiteY814" fmla="*/ 230051 h 531427"/>
                    <a:gd name="connsiteX815" fmla="*/ 8541 w 1009760"/>
                    <a:gd name="connsiteY815" fmla="*/ 228135 h 531427"/>
                    <a:gd name="connsiteX816" fmla="*/ 6047 w 1009760"/>
                    <a:gd name="connsiteY816" fmla="*/ 226286 h 531427"/>
                    <a:gd name="connsiteX817" fmla="*/ 4792 w 1009760"/>
                    <a:gd name="connsiteY817" fmla="*/ 223995 h 531427"/>
                    <a:gd name="connsiteX818" fmla="*/ 5305 w 1009760"/>
                    <a:gd name="connsiteY818" fmla="*/ 219089 h 531427"/>
                    <a:gd name="connsiteX819" fmla="*/ 6951 w 1009760"/>
                    <a:gd name="connsiteY819" fmla="*/ 212015 h 531427"/>
                    <a:gd name="connsiteX820" fmla="*/ 9494 w 1009760"/>
                    <a:gd name="connsiteY820" fmla="*/ 206351 h 531427"/>
                    <a:gd name="connsiteX821" fmla="*/ 12909 w 1009760"/>
                    <a:gd name="connsiteY821" fmla="*/ 203205 h 531427"/>
                    <a:gd name="connsiteX822" fmla="*/ 15851 w 1009760"/>
                    <a:gd name="connsiteY822" fmla="*/ 200956 h 531427"/>
                    <a:gd name="connsiteX823" fmla="*/ 17017 w 1009760"/>
                    <a:gd name="connsiteY823" fmla="*/ 198853 h 531427"/>
                    <a:gd name="connsiteX824" fmla="*/ 17073 w 1009760"/>
                    <a:gd name="connsiteY824" fmla="*/ 195871 h 531427"/>
                    <a:gd name="connsiteX825" fmla="*/ 17008 w 1009760"/>
                    <a:gd name="connsiteY825" fmla="*/ 193051 h 531427"/>
                    <a:gd name="connsiteX826" fmla="*/ 17799 w 1009760"/>
                    <a:gd name="connsiteY826" fmla="*/ 191013 h 531427"/>
                    <a:gd name="connsiteX827" fmla="*/ 19021 w 1009760"/>
                    <a:gd name="connsiteY827" fmla="*/ 189384 h 531427"/>
                    <a:gd name="connsiteX828" fmla="*/ 20334 w 1009760"/>
                    <a:gd name="connsiteY828" fmla="*/ 187925 h 531427"/>
                    <a:gd name="connsiteX829" fmla="*/ 22183 w 1009760"/>
                    <a:gd name="connsiteY829" fmla="*/ 186287 h 531427"/>
                    <a:gd name="connsiteX830" fmla="*/ 24572 w 1009760"/>
                    <a:gd name="connsiteY830" fmla="*/ 185895 h 531427"/>
                    <a:gd name="connsiteX831" fmla="*/ 27204 w 1009760"/>
                    <a:gd name="connsiteY831" fmla="*/ 187191 h 531427"/>
                    <a:gd name="connsiteX832" fmla="*/ 30765 w 1009760"/>
                    <a:gd name="connsiteY832" fmla="*/ 190696 h 531427"/>
                    <a:gd name="connsiteX833" fmla="*/ 36014 w 1009760"/>
                    <a:gd name="connsiteY833" fmla="*/ 197582 h 531427"/>
                    <a:gd name="connsiteX834" fmla="*/ 39005 w 1009760"/>
                    <a:gd name="connsiteY834" fmla="*/ 202089 h 531427"/>
                    <a:gd name="connsiteX835" fmla="*/ 40072 w 1009760"/>
                    <a:gd name="connsiteY835" fmla="*/ 203474 h 531427"/>
                    <a:gd name="connsiteX836" fmla="*/ 42810 w 1009760"/>
                    <a:gd name="connsiteY836" fmla="*/ 206164 h 531427"/>
                    <a:gd name="connsiteX837" fmla="*/ 45280 w 1009760"/>
                    <a:gd name="connsiteY837" fmla="*/ 207248 h 531427"/>
                    <a:gd name="connsiteX838" fmla="*/ 49395 w 1009760"/>
                    <a:gd name="connsiteY838" fmla="*/ 205569 h 531427"/>
                    <a:gd name="connsiteX839" fmla="*/ 53332 w 1009760"/>
                    <a:gd name="connsiteY839" fmla="*/ 203613 h 531427"/>
                    <a:gd name="connsiteX840" fmla="*/ 54595 w 1009760"/>
                    <a:gd name="connsiteY840" fmla="*/ 202366 h 531427"/>
                    <a:gd name="connsiteX841" fmla="*/ 55418 w 1009760"/>
                    <a:gd name="connsiteY841" fmla="*/ 200516 h 531427"/>
                    <a:gd name="connsiteX842" fmla="*/ 54791 w 1009760"/>
                    <a:gd name="connsiteY842" fmla="*/ 197354 h 531427"/>
                    <a:gd name="connsiteX843" fmla="*/ 53968 w 1009760"/>
                    <a:gd name="connsiteY843" fmla="*/ 195292 h 531427"/>
                    <a:gd name="connsiteX844" fmla="*/ 53096 w 1009760"/>
                    <a:gd name="connsiteY844" fmla="*/ 192668 h 531427"/>
                    <a:gd name="connsiteX845" fmla="*/ 51889 w 1009760"/>
                    <a:gd name="connsiteY845" fmla="*/ 188088 h 531427"/>
                    <a:gd name="connsiteX846" fmla="*/ 51034 w 1009760"/>
                    <a:gd name="connsiteY846" fmla="*/ 180900 h 531427"/>
                    <a:gd name="connsiteX847" fmla="*/ 50023 w 1009760"/>
                    <a:gd name="connsiteY847" fmla="*/ 178618 h 531427"/>
                    <a:gd name="connsiteX848" fmla="*/ 50765 w 1009760"/>
                    <a:gd name="connsiteY848" fmla="*/ 178357 h 531427"/>
                    <a:gd name="connsiteX849" fmla="*/ 52745 w 1009760"/>
                    <a:gd name="connsiteY849" fmla="*/ 178830 h 531427"/>
                    <a:gd name="connsiteX850" fmla="*/ 54570 w 1009760"/>
                    <a:gd name="connsiteY850" fmla="*/ 179025 h 531427"/>
                    <a:gd name="connsiteX851" fmla="*/ 57178 w 1009760"/>
                    <a:gd name="connsiteY851" fmla="*/ 177452 h 531427"/>
                    <a:gd name="connsiteX852" fmla="*/ 60764 w 1009760"/>
                    <a:gd name="connsiteY852" fmla="*/ 174461 h 531427"/>
                    <a:gd name="connsiteX853" fmla="*/ 67333 w 1009760"/>
                    <a:gd name="connsiteY853" fmla="*/ 169857 h 531427"/>
                    <a:gd name="connsiteX854" fmla="*/ 68735 w 1009760"/>
                    <a:gd name="connsiteY854" fmla="*/ 166809 h 531427"/>
                    <a:gd name="connsiteX855" fmla="*/ 69843 w 1009760"/>
                    <a:gd name="connsiteY855" fmla="*/ 163410 h 531427"/>
                    <a:gd name="connsiteX856" fmla="*/ 71677 w 1009760"/>
                    <a:gd name="connsiteY856" fmla="*/ 161332 h 531427"/>
                    <a:gd name="connsiteX857" fmla="*/ 75850 w 1009760"/>
                    <a:gd name="connsiteY857" fmla="*/ 160648 h 531427"/>
                    <a:gd name="connsiteX858" fmla="*/ 79721 w 1009760"/>
                    <a:gd name="connsiteY858" fmla="*/ 159564 h 531427"/>
                    <a:gd name="connsiteX859" fmla="*/ 82451 w 1009760"/>
                    <a:gd name="connsiteY859" fmla="*/ 157159 h 531427"/>
                    <a:gd name="connsiteX860" fmla="*/ 86729 w 1009760"/>
                    <a:gd name="connsiteY860" fmla="*/ 155049 h 531427"/>
                    <a:gd name="connsiteX861" fmla="*/ 90258 w 1009760"/>
                    <a:gd name="connsiteY861" fmla="*/ 153753 h 531427"/>
                    <a:gd name="connsiteX862" fmla="*/ 91798 w 1009760"/>
                    <a:gd name="connsiteY862" fmla="*/ 152571 h 531427"/>
                    <a:gd name="connsiteX863" fmla="*/ 92899 w 1009760"/>
                    <a:gd name="connsiteY863" fmla="*/ 150795 h 531427"/>
                    <a:gd name="connsiteX864" fmla="*/ 96933 w 1009760"/>
                    <a:gd name="connsiteY864" fmla="*/ 145782 h 531427"/>
                    <a:gd name="connsiteX865" fmla="*/ 100095 w 1009760"/>
                    <a:gd name="connsiteY865" fmla="*/ 142702 h 531427"/>
                    <a:gd name="connsiteX866" fmla="*/ 102890 w 1009760"/>
                    <a:gd name="connsiteY866" fmla="*/ 139523 h 531427"/>
                    <a:gd name="connsiteX867" fmla="*/ 103828 w 1009760"/>
                    <a:gd name="connsiteY867" fmla="*/ 137519 h 531427"/>
                    <a:gd name="connsiteX868" fmla="*/ 106020 w 1009760"/>
                    <a:gd name="connsiteY868" fmla="*/ 137893 h 531427"/>
                    <a:gd name="connsiteX869" fmla="*/ 109378 w 1009760"/>
                    <a:gd name="connsiteY869" fmla="*/ 139279 h 531427"/>
                    <a:gd name="connsiteX870" fmla="*/ 112988 w 1009760"/>
                    <a:gd name="connsiteY870" fmla="*/ 140542 h 531427"/>
                    <a:gd name="connsiteX871" fmla="*/ 115620 w 1009760"/>
                    <a:gd name="connsiteY871" fmla="*/ 142506 h 531427"/>
                    <a:gd name="connsiteX872" fmla="*/ 116134 w 1009760"/>
                    <a:gd name="connsiteY872" fmla="*/ 144503 h 531427"/>
                    <a:gd name="connsiteX873" fmla="*/ 116394 w 1009760"/>
                    <a:gd name="connsiteY873" fmla="*/ 146084 h 531427"/>
                    <a:gd name="connsiteX874" fmla="*/ 117470 w 1009760"/>
                    <a:gd name="connsiteY874" fmla="*/ 146899 h 531427"/>
                    <a:gd name="connsiteX875" fmla="*/ 118750 w 1009760"/>
                    <a:gd name="connsiteY875" fmla="*/ 147046 h 531427"/>
                    <a:gd name="connsiteX876" fmla="*/ 120665 w 1009760"/>
                    <a:gd name="connsiteY876" fmla="*/ 146654 h 531427"/>
                    <a:gd name="connsiteX877" fmla="*/ 124031 w 1009760"/>
                    <a:gd name="connsiteY877" fmla="*/ 146581 h 531427"/>
                    <a:gd name="connsiteX878" fmla="*/ 128154 w 1009760"/>
                    <a:gd name="connsiteY878" fmla="*/ 143981 h 531427"/>
                    <a:gd name="connsiteX879" fmla="*/ 133900 w 1009760"/>
                    <a:gd name="connsiteY879" fmla="*/ 139613 h 531427"/>
                    <a:gd name="connsiteX880" fmla="*/ 139165 w 1009760"/>
                    <a:gd name="connsiteY880" fmla="*/ 138252 h 531427"/>
                    <a:gd name="connsiteX881" fmla="*/ 141936 w 1009760"/>
                    <a:gd name="connsiteY881" fmla="*/ 139287 h 531427"/>
                    <a:gd name="connsiteX882" fmla="*/ 144218 w 1009760"/>
                    <a:gd name="connsiteY882" fmla="*/ 142514 h 531427"/>
                    <a:gd name="connsiteX883" fmla="*/ 146035 w 1009760"/>
                    <a:gd name="connsiteY883" fmla="*/ 145538 h 531427"/>
                    <a:gd name="connsiteX884" fmla="*/ 147901 w 1009760"/>
                    <a:gd name="connsiteY884" fmla="*/ 146663 h 531427"/>
                    <a:gd name="connsiteX885" fmla="*/ 149050 w 1009760"/>
                    <a:gd name="connsiteY885" fmla="*/ 146695 h 531427"/>
                    <a:gd name="connsiteX886" fmla="*/ 149491 w 1009760"/>
                    <a:gd name="connsiteY886" fmla="*/ 146744 h 531427"/>
                    <a:gd name="connsiteX887" fmla="*/ 151797 w 1009760"/>
                    <a:gd name="connsiteY887" fmla="*/ 146059 h 531427"/>
                    <a:gd name="connsiteX888" fmla="*/ 151968 w 1009760"/>
                    <a:gd name="connsiteY888" fmla="*/ 146059 h 531427"/>
                    <a:gd name="connsiteX889" fmla="*/ 154087 w 1009760"/>
                    <a:gd name="connsiteY889" fmla="*/ 146190 h 531427"/>
                    <a:gd name="connsiteX890" fmla="*/ 156124 w 1009760"/>
                    <a:gd name="connsiteY890" fmla="*/ 147209 h 531427"/>
                    <a:gd name="connsiteX891" fmla="*/ 159482 w 1009760"/>
                    <a:gd name="connsiteY891" fmla="*/ 147323 h 531427"/>
                    <a:gd name="connsiteX892" fmla="*/ 164177 w 1009760"/>
                    <a:gd name="connsiteY892" fmla="*/ 146540 h 531427"/>
                    <a:gd name="connsiteX893" fmla="*/ 164673 w 1009760"/>
                    <a:gd name="connsiteY893" fmla="*/ 146223 h 531427"/>
                    <a:gd name="connsiteX894" fmla="*/ 166915 w 1009760"/>
                    <a:gd name="connsiteY894" fmla="*/ 146638 h 531427"/>
                    <a:gd name="connsiteX895" fmla="*/ 169661 w 1009760"/>
                    <a:gd name="connsiteY895" fmla="*/ 148032 h 531427"/>
                    <a:gd name="connsiteX896" fmla="*/ 171797 w 1009760"/>
                    <a:gd name="connsiteY896" fmla="*/ 149702 h 531427"/>
                    <a:gd name="connsiteX897" fmla="*/ 175602 w 1009760"/>
                    <a:gd name="connsiteY897" fmla="*/ 155138 h 531427"/>
                    <a:gd name="connsiteX898" fmla="*/ 177803 w 1009760"/>
                    <a:gd name="connsiteY898" fmla="*/ 156540 h 531427"/>
                    <a:gd name="connsiteX899" fmla="*/ 182277 w 1009760"/>
                    <a:gd name="connsiteY899" fmla="*/ 158472 h 531427"/>
                    <a:gd name="connsiteX900" fmla="*/ 184380 w 1009760"/>
                    <a:gd name="connsiteY900" fmla="*/ 160167 h 531427"/>
                    <a:gd name="connsiteX901" fmla="*/ 186816 w 1009760"/>
                    <a:gd name="connsiteY901" fmla="*/ 162897 h 531427"/>
                    <a:gd name="connsiteX902" fmla="*/ 188088 w 1009760"/>
                    <a:gd name="connsiteY902" fmla="*/ 164551 h 531427"/>
                    <a:gd name="connsiteX903" fmla="*/ 190728 w 1009760"/>
                    <a:gd name="connsiteY903" fmla="*/ 167550 h 531427"/>
                    <a:gd name="connsiteX904" fmla="*/ 193800 w 1009760"/>
                    <a:gd name="connsiteY904" fmla="*/ 172456 h 531427"/>
                    <a:gd name="connsiteX905" fmla="*/ 194339 w 1009760"/>
                    <a:gd name="connsiteY905" fmla="*/ 176360 h 531427"/>
                    <a:gd name="connsiteX906" fmla="*/ 195031 w 1009760"/>
                    <a:gd name="connsiteY906" fmla="*/ 179661 h 531427"/>
                    <a:gd name="connsiteX907" fmla="*/ 196181 w 1009760"/>
                    <a:gd name="connsiteY907" fmla="*/ 181218 h 531427"/>
                    <a:gd name="connsiteX908" fmla="*/ 197118 w 1009760"/>
                    <a:gd name="connsiteY908" fmla="*/ 181421 h 531427"/>
                    <a:gd name="connsiteX909" fmla="*/ 198136 w 1009760"/>
                    <a:gd name="connsiteY909" fmla="*/ 180875 h 531427"/>
                    <a:gd name="connsiteX910" fmla="*/ 199122 w 1009760"/>
                    <a:gd name="connsiteY910" fmla="*/ 179376 h 531427"/>
                    <a:gd name="connsiteX911" fmla="*/ 199465 w 1009760"/>
                    <a:gd name="connsiteY911" fmla="*/ 176865 h 531427"/>
                    <a:gd name="connsiteX912" fmla="*/ 199163 w 1009760"/>
                    <a:gd name="connsiteY912" fmla="*/ 172432 h 531427"/>
                    <a:gd name="connsiteX913" fmla="*/ 198381 w 1009760"/>
                    <a:gd name="connsiteY913" fmla="*/ 168814 h 531427"/>
                    <a:gd name="connsiteX914" fmla="*/ 197370 w 1009760"/>
                    <a:gd name="connsiteY914" fmla="*/ 167648 h 531427"/>
                    <a:gd name="connsiteX915" fmla="*/ 196889 w 1009760"/>
                    <a:gd name="connsiteY915" fmla="*/ 166377 h 531427"/>
                    <a:gd name="connsiteX916" fmla="*/ 197549 w 1009760"/>
                    <a:gd name="connsiteY916" fmla="*/ 164755 h 531427"/>
                    <a:gd name="connsiteX917" fmla="*/ 199253 w 1009760"/>
                    <a:gd name="connsiteY917" fmla="*/ 163973 h 531427"/>
                    <a:gd name="connsiteX918" fmla="*/ 201372 w 1009760"/>
                    <a:gd name="connsiteY918" fmla="*/ 164470 h 531427"/>
                    <a:gd name="connsiteX919" fmla="*/ 204876 w 1009760"/>
                    <a:gd name="connsiteY919" fmla="*/ 166556 h 531427"/>
                    <a:gd name="connsiteX920" fmla="*/ 208511 w 1009760"/>
                    <a:gd name="connsiteY920" fmla="*/ 169180 h 531427"/>
                    <a:gd name="connsiteX921" fmla="*/ 212993 w 1009760"/>
                    <a:gd name="connsiteY921" fmla="*/ 173769 h 531427"/>
                    <a:gd name="connsiteX922" fmla="*/ 217109 w 1009760"/>
                    <a:gd name="connsiteY922" fmla="*/ 176686 h 531427"/>
                    <a:gd name="connsiteX923" fmla="*/ 221599 w 1009760"/>
                    <a:gd name="connsiteY923" fmla="*/ 179009 h 531427"/>
                    <a:gd name="connsiteX924" fmla="*/ 225169 w 1009760"/>
                    <a:gd name="connsiteY924" fmla="*/ 179693 h 531427"/>
                    <a:gd name="connsiteX925" fmla="*/ 227932 w 1009760"/>
                    <a:gd name="connsiteY925" fmla="*/ 178993 h 531427"/>
                    <a:gd name="connsiteX926" fmla="*/ 231191 w 1009760"/>
                    <a:gd name="connsiteY926" fmla="*/ 177094 h 531427"/>
                    <a:gd name="connsiteX927" fmla="*/ 234174 w 1009760"/>
                    <a:gd name="connsiteY927" fmla="*/ 174901 h 531427"/>
                    <a:gd name="connsiteX928" fmla="*/ 235535 w 1009760"/>
                    <a:gd name="connsiteY928" fmla="*/ 172603 h 531427"/>
                    <a:gd name="connsiteX929" fmla="*/ 236513 w 1009760"/>
                    <a:gd name="connsiteY929" fmla="*/ 170093 h 531427"/>
                    <a:gd name="connsiteX930" fmla="*/ 241012 w 1009760"/>
                    <a:gd name="connsiteY930" fmla="*/ 166727 h 531427"/>
                    <a:gd name="connsiteX931" fmla="*/ 245128 w 1009760"/>
                    <a:gd name="connsiteY931" fmla="*/ 163671 h 531427"/>
                    <a:gd name="connsiteX932" fmla="*/ 247002 w 1009760"/>
                    <a:gd name="connsiteY932" fmla="*/ 164225 h 531427"/>
                    <a:gd name="connsiteX933" fmla="*/ 248322 w 1009760"/>
                    <a:gd name="connsiteY933" fmla="*/ 165089 h 531427"/>
                    <a:gd name="connsiteX934" fmla="*/ 252552 w 1009760"/>
                    <a:gd name="connsiteY934" fmla="*/ 163223 h 531427"/>
                    <a:gd name="connsiteX935" fmla="*/ 254019 w 1009760"/>
                    <a:gd name="connsiteY935" fmla="*/ 162718 h 531427"/>
                    <a:gd name="connsiteX936" fmla="*/ 258037 w 1009760"/>
                    <a:gd name="connsiteY936" fmla="*/ 161992 h 531427"/>
                    <a:gd name="connsiteX937" fmla="*/ 262193 w 1009760"/>
                    <a:gd name="connsiteY937" fmla="*/ 163060 h 531427"/>
                    <a:gd name="connsiteX938" fmla="*/ 265494 w 1009760"/>
                    <a:gd name="connsiteY938" fmla="*/ 166352 h 531427"/>
                    <a:gd name="connsiteX939" fmla="*/ 268721 w 1009760"/>
                    <a:gd name="connsiteY939" fmla="*/ 168471 h 531427"/>
                    <a:gd name="connsiteX940" fmla="*/ 271590 w 1009760"/>
                    <a:gd name="connsiteY940" fmla="*/ 168227 h 531427"/>
                    <a:gd name="connsiteX941" fmla="*/ 273970 w 1009760"/>
                    <a:gd name="connsiteY941" fmla="*/ 167135 h 531427"/>
                    <a:gd name="connsiteX942" fmla="*/ 275534 w 1009760"/>
                    <a:gd name="connsiteY942" fmla="*/ 165089 h 531427"/>
                    <a:gd name="connsiteX943" fmla="*/ 276716 w 1009760"/>
                    <a:gd name="connsiteY943" fmla="*/ 162669 h 531427"/>
                    <a:gd name="connsiteX944" fmla="*/ 278314 w 1009760"/>
                    <a:gd name="connsiteY944" fmla="*/ 161120 h 531427"/>
                    <a:gd name="connsiteX945" fmla="*/ 278558 w 1009760"/>
                    <a:gd name="connsiteY945" fmla="*/ 161022 h 531427"/>
                    <a:gd name="connsiteX946" fmla="*/ 283668 w 1009760"/>
                    <a:gd name="connsiteY946" fmla="*/ 161862 h 531427"/>
                    <a:gd name="connsiteX947" fmla="*/ 286895 w 1009760"/>
                    <a:gd name="connsiteY947" fmla="*/ 161740 h 531427"/>
                    <a:gd name="connsiteX948" fmla="*/ 287229 w 1009760"/>
                    <a:gd name="connsiteY948" fmla="*/ 161389 h 531427"/>
                    <a:gd name="connsiteX949" fmla="*/ 291467 w 1009760"/>
                    <a:gd name="connsiteY949" fmla="*/ 162049 h 531427"/>
                    <a:gd name="connsiteX950" fmla="*/ 296137 w 1009760"/>
                    <a:gd name="connsiteY950" fmla="*/ 165464 h 531427"/>
                    <a:gd name="connsiteX951" fmla="*/ 299046 w 1009760"/>
                    <a:gd name="connsiteY951" fmla="*/ 169237 h 531427"/>
                    <a:gd name="connsiteX952" fmla="*/ 302746 w 1009760"/>
                    <a:gd name="connsiteY952" fmla="*/ 174046 h 531427"/>
                    <a:gd name="connsiteX953" fmla="*/ 304474 w 1009760"/>
                    <a:gd name="connsiteY953" fmla="*/ 175610 h 531427"/>
                    <a:gd name="connsiteX954" fmla="*/ 306976 w 1009760"/>
                    <a:gd name="connsiteY954" fmla="*/ 176287 h 531427"/>
                    <a:gd name="connsiteX955" fmla="*/ 308956 w 1009760"/>
                    <a:gd name="connsiteY955" fmla="*/ 176580 h 531427"/>
                    <a:gd name="connsiteX956" fmla="*/ 311605 w 1009760"/>
                    <a:gd name="connsiteY956" fmla="*/ 177322 h 531427"/>
                    <a:gd name="connsiteX957" fmla="*/ 318573 w 1009760"/>
                    <a:gd name="connsiteY957" fmla="*/ 178332 h 531427"/>
                    <a:gd name="connsiteX958" fmla="*/ 319641 w 1009760"/>
                    <a:gd name="connsiteY958" fmla="*/ 178919 h 531427"/>
                    <a:gd name="connsiteX959" fmla="*/ 320350 w 1009760"/>
                    <a:gd name="connsiteY959" fmla="*/ 179710 h 531427"/>
                    <a:gd name="connsiteX960" fmla="*/ 319706 w 1009760"/>
                    <a:gd name="connsiteY960" fmla="*/ 182334 h 531427"/>
                    <a:gd name="connsiteX961" fmla="*/ 320325 w 1009760"/>
                    <a:gd name="connsiteY961" fmla="*/ 183002 h 531427"/>
                    <a:gd name="connsiteX962" fmla="*/ 325989 w 1009760"/>
                    <a:gd name="connsiteY962" fmla="*/ 181136 h 531427"/>
                    <a:gd name="connsiteX963" fmla="*/ 327505 w 1009760"/>
                    <a:gd name="connsiteY963" fmla="*/ 179742 h 531427"/>
                    <a:gd name="connsiteX964" fmla="*/ 329371 w 1009760"/>
                    <a:gd name="connsiteY964" fmla="*/ 175773 h 531427"/>
                    <a:gd name="connsiteX965" fmla="*/ 331042 w 1009760"/>
                    <a:gd name="connsiteY965" fmla="*/ 171780 h 531427"/>
                    <a:gd name="connsiteX966" fmla="*/ 332273 w 1009760"/>
                    <a:gd name="connsiteY966" fmla="*/ 170289 h 531427"/>
                    <a:gd name="connsiteX967" fmla="*/ 333601 w 1009760"/>
                    <a:gd name="connsiteY967" fmla="*/ 169897 h 531427"/>
                    <a:gd name="connsiteX968" fmla="*/ 334929 w 1009760"/>
                    <a:gd name="connsiteY968" fmla="*/ 170492 h 531427"/>
                    <a:gd name="connsiteX969" fmla="*/ 336779 w 1009760"/>
                    <a:gd name="connsiteY969" fmla="*/ 172864 h 531427"/>
                    <a:gd name="connsiteX970" fmla="*/ 339298 w 1009760"/>
                    <a:gd name="connsiteY970" fmla="*/ 175268 h 531427"/>
                    <a:gd name="connsiteX971" fmla="*/ 342688 w 1009760"/>
                    <a:gd name="connsiteY971" fmla="*/ 176181 h 531427"/>
                    <a:gd name="connsiteX972" fmla="*/ 344774 w 1009760"/>
                    <a:gd name="connsiteY972" fmla="*/ 176540 h 531427"/>
                    <a:gd name="connsiteX973" fmla="*/ 347994 w 1009760"/>
                    <a:gd name="connsiteY973" fmla="*/ 176743 h 531427"/>
                    <a:gd name="connsiteX974" fmla="*/ 355532 w 1009760"/>
                    <a:gd name="connsiteY974" fmla="*/ 175570 h 531427"/>
                    <a:gd name="connsiteX975" fmla="*/ 362589 w 1009760"/>
                    <a:gd name="connsiteY975" fmla="*/ 172668 h 531427"/>
                    <a:gd name="connsiteX976" fmla="*/ 366624 w 1009760"/>
                    <a:gd name="connsiteY976" fmla="*/ 169498 h 531427"/>
                    <a:gd name="connsiteX977" fmla="*/ 368490 w 1009760"/>
                    <a:gd name="connsiteY977" fmla="*/ 164755 h 531427"/>
                    <a:gd name="connsiteX978" fmla="*/ 369664 w 1009760"/>
                    <a:gd name="connsiteY978" fmla="*/ 159352 h 531427"/>
                    <a:gd name="connsiteX979" fmla="*/ 371473 w 1009760"/>
                    <a:gd name="connsiteY979" fmla="*/ 155945 h 531427"/>
                    <a:gd name="connsiteX980" fmla="*/ 370723 w 1009760"/>
                    <a:gd name="connsiteY980" fmla="*/ 152449 h 531427"/>
                    <a:gd name="connsiteX981" fmla="*/ 367162 w 1009760"/>
                    <a:gd name="connsiteY981" fmla="*/ 149124 h 531427"/>
                    <a:gd name="connsiteX982" fmla="*/ 365972 w 1009760"/>
                    <a:gd name="connsiteY982" fmla="*/ 148121 h 531427"/>
                    <a:gd name="connsiteX983" fmla="*/ 357333 w 1009760"/>
                    <a:gd name="connsiteY983" fmla="*/ 146255 h 531427"/>
                    <a:gd name="connsiteX984" fmla="*/ 356795 w 1009760"/>
                    <a:gd name="connsiteY984" fmla="*/ 144910 h 531427"/>
                    <a:gd name="connsiteX985" fmla="*/ 356298 w 1009760"/>
                    <a:gd name="connsiteY985" fmla="*/ 144601 h 531427"/>
                    <a:gd name="connsiteX986" fmla="*/ 347790 w 1009760"/>
                    <a:gd name="connsiteY986" fmla="*/ 141659 h 531427"/>
                    <a:gd name="connsiteX987" fmla="*/ 343691 w 1009760"/>
                    <a:gd name="connsiteY987" fmla="*/ 140387 h 531427"/>
                    <a:gd name="connsiteX988" fmla="*/ 342525 w 1009760"/>
                    <a:gd name="connsiteY988" fmla="*/ 138448 h 531427"/>
                    <a:gd name="connsiteX989" fmla="*/ 341759 w 1009760"/>
                    <a:gd name="connsiteY989" fmla="*/ 135889 h 531427"/>
                    <a:gd name="connsiteX990" fmla="*/ 339102 w 1009760"/>
                    <a:gd name="connsiteY990" fmla="*/ 133607 h 531427"/>
                    <a:gd name="connsiteX991" fmla="*/ 333829 w 1009760"/>
                    <a:gd name="connsiteY991" fmla="*/ 131537 h 531427"/>
                    <a:gd name="connsiteX992" fmla="*/ 332908 w 1009760"/>
                    <a:gd name="connsiteY992" fmla="*/ 129964 h 531427"/>
                    <a:gd name="connsiteX993" fmla="*/ 333772 w 1009760"/>
                    <a:gd name="connsiteY993" fmla="*/ 128366 h 531427"/>
                    <a:gd name="connsiteX994" fmla="*/ 337953 w 1009760"/>
                    <a:gd name="connsiteY994" fmla="*/ 126582 h 531427"/>
                    <a:gd name="connsiteX995" fmla="*/ 342704 w 1009760"/>
                    <a:gd name="connsiteY995" fmla="*/ 122833 h 531427"/>
                    <a:gd name="connsiteX996" fmla="*/ 344546 w 1009760"/>
                    <a:gd name="connsiteY996" fmla="*/ 122067 h 531427"/>
                    <a:gd name="connsiteX997" fmla="*/ 348792 w 1009760"/>
                    <a:gd name="connsiteY997" fmla="*/ 121896 h 531427"/>
                    <a:gd name="connsiteX998" fmla="*/ 352704 w 1009760"/>
                    <a:gd name="connsiteY998" fmla="*/ 118831 h 531427"/>
                    <a:gd name="connsiteX999" fmla="*/ 355418 w 1009760"/>
                    <a:gd name="connsiteY999" fmla="*/ 117079 h 531427"/>
                    <a:gd name="connsiteX1000" fmla="*/ 356828 w 1009760"/>
                    <a:gd name="connsiteY1000" fmla="*/ 114985 h 531427"/>
                    <a:gd name="connsiteX1001" fmla="*/ 356453 w 1009760"/>
                    <a:gd name="connsiteY1001" fmla="*/ 112833 h 531427"/>
                    <a:gd name="connsiteX1002" fmla="*/ 352533 w 1009760"/>
                    <a:gd name="connsiteY1002" fmla="*/ 106321 h 531427"/>
                    <a:gd name="connsiteX1003" fmla="*/ 351368 w 1009760"/>
                    <a:gd name="connsiteY1003" fmla="*/ 102369 h 531427"/>
                    <a:gd name="connsiteX1004" fmla="*/ 352060 w 1009760"/>
                    <a:gd name="connsiteY1004" fmla="*/ 99810 h 531427"/>
                    <a:gd name="connsiteX1005" fmla="*/ 354309 w 1009760"/>
                    <a:gd name="connsiteY1005" fmla="*/ 97023 h 531427"/>
                    <a:gd name="connsiteX1006" fmla="*/ 355589 w 1009760"/>
                    <a:gd name="connsiteY1006" fmla="*/ 95499 h 531427"/>
                    <a:gd name="connsiteX1007" fmla="*/ 357121 w 1009760"/>
                    <a:gd name="connsiteY1007" fmla="*/ 92760 h 531427"/>
                    <a:gd name="connsiteX1008" fmla="*/ 358132 w 1009760"/>
                    <a:gd name="connsiteY1008" fmla="*/ 91301 h 531427"/>
                    <a:gd name="connsiteX1009" fmla="*/ 362085 w 1009760"/>
                    <a:gd name="connsiteY1009" fmla="*/ 90674 h 531427"/>
                    <a:gd name="connsiteX1010" fmla="*/ 366893 w 1009760"/>
                    <a:gd name="connsiteY1010" fmla="*/ 90421 h 531427"/>
                    <a:gd name="connsiteX1011" fmla="*/ 370177 w 1009760"/>
                    <a:gd name="connsiteY1011" fmla="*/ 91073 h 531427"/>
                    <a:gd name="connsiteX1012" fmla="*/ 374782 w 1009760"/>
                    <a:gd name="connsiteY1012" fmla="*/ 91416 h 531427"/>
                    <a:gd name="connsiteX1013" fmla="*/ 378987 w 1009760"/>
                    <a:gd name="connsiteY1013" fmla="*/ 91921 h 531427"/>
                    <a:gd name="connsiteX1014" fmla="*/ 381114 w 1009760"/>
                    <a:gd name="connsiteY1014" fmla="*/ 92377 h 531427"/>
                    <a:gd name="connsiteX1015" fmla="*/ 382671 w 1009760"/>
                    <a:gd name="connsiteY1015" fmla="*/ 91538 h 531427"/>
                    <a:gd name="connsiteX1016" fmla="*/ 383803 w 1009760"/>
                    <a:gd name="connsiteY1016" fmla="*/ 90071 h 531427"/>
                    <a:gd name="connsiteX1017" fmla="*/ 383755 w 1009760"/>
                    <a:gd name="connsiteY1017" fmla="*/ 88123 h 531427"/>
                    <a:gd name="connsiteX1018" fmla="*/ 382117 w 1009760"/>
                    <a:gd name="connsiteY1018" fmla="*/ 86240 h 531427"/>
                    <a:gd name="connsiteX1019" fmla="*/ 375947 w 1009760"/>
                    <a:gd name="connsiteY1019" fmla="*/ 83763 h 531427"/>
                    <a:gd name="connsiteX1020" fmla="*/ 373315 w 1009760"/>
                    <a:gd name="connsiteY1020" fmla="*/ 81726 h 531427"/>
                    <a:gd name="connsiteX1021" fmla="*/ 371245 w 1009760"/>
                    <a:gd name="connsiteY1021" fmla="*/ 81946 h 531427"/>
                    <a:gd name="connsiteX1022" fmla="*/ 367781 w 1009760"/>
                    <a:gd name="connsiteY1022" fmla="*/ 81318 h 531427"/>
                    <a:gd name="connsiteX1023" fmla="*/ 364660 w 1009760"/>
                    <a:gd name="connsiteY1023" fmla="*/ 79973 h 531427"/>
                    <a:gd name="connsiteX1024" fmla="*/ 361881 w 1009760"/>
                    <a:gd name="connsiteY1024" fmla="*/ 79533 h 531427"/>
                    <a:gd name="connsiteX1025" fmla="*/ 360984 w 1009760"/>
                    <a:gd name="connsiteY1025" fmla="*/ 77667 h 531427"/>
                    <a:gd name="connsiteX1026" fmla="*/ 361555 w 1009760"/>
                    <a:gd name="connsiteY1026" fmla="*/ 75059 h 531427"/>
                    <a:gd name="connsiteX1027" fmla="*/ 362630 w 1009760"/>
                    <a:gd name="connsiteY1027" fmla="*/ 73576 h 531427"/>
                    <a:gd name="connsiteX1028" fmla="*/ 364676 w 1009760"/>
                    <a:gd name="connsiteY1028" fmla="*/ 72834 h 531427"/>
                    <a:gd name="connsiteX1029" fmla="*/ 366893 w 1009760"/>
                    <a:gd name="connsiteY1029" fmla="*/ 73201 h 531427"/>
                    <a:gd name="connsiteX1030" fmla="*/ 369305 w 1009760"/>
                    <a:gd name="connsiteY1030" fmla="*/ 72117 h 531427"/>
                    <a:gd name="connsiteX1031" fmla="*/ 370006 w 1009760"/>
                    <a:gd name="connsiteY1031" fmla="*/ 71481 h 531427"/>
                    <a:gd name="connsiteX1032" fmla="*/ 370209 w 1009760"/>
                    <a:gd name="connsiteY1032" fmla="*/ 70666 h 531427"/>
                    <a:gd name="connsiteX1033" fmla="*/ 369819 w 1009760"/>
                    <a:gd name="connsiteY1033" fmla="*/ 69493 h 531427"/>
                    <a:gd name="connsiteX1034" fmla="*/ 368694 w 1009760"/>
                    <a:gd name="connsiteY1034" fmla="*/ 68515 h 531427"/>
                    <a:gd name="connsiteX1035" fmla="*/ 367105 w 1009760"/>
                    <a:gd name="connsiteY1035" fmla="*/ 68262 h 531427"/>
                    <a:gd name="connsiteX1036" fmla="*/ 365279 w 1009760"/>
                    <a:gd name="connsiteY1036" fmla="*/ 69085 h 531427"/>
                    <a:gd name="connsiteX1037" fmla="*/ 363078 w 1009760"/>
                    <a:gd name="connsiteY1037" fmla="*/ 69623 h 531427"/>
                    <a:gd name="connsiteX1038" fmla="*/ 359379 w 1009760"/>
                    <a:gd name="connsiteY1038" fmla="*/ 68417 h 531427"/>
                    <a:gd name="connsiteX1039" fmla="*/ 356428 w 1009760"/>
                    <a:gd name="connsiteY1039" fmla="*/ 66966 h 531427"/>
                    <a:gd name="connsiteX1040" fmla="*/ 356583 w 1009760"/>
                    <a:gd name="connsiteY1040" fmla="*/ 65622 h 531427"/>
                    <a:gd name="connsiteX1041" fmla="*/ 358767 w 1009760"/>
                    <a:gd name="connsiteY1041" fmla="*/ 63633 h 531427"/>
                    <a:gd name="connsiteX1042" fmla="*/ 359745 w 1009760"/>
                    <a:gd name="connsiteY1042" fmla="*/ 62011 h 531427"/>
                    <a:gd name="connsiteX1043" fmla="*/ 359745 w 1009760"/>
                    <a:gd name="connsiteY1043" fmla="*/ 59770 h 531427"/>
                    <a:gd name="connsiteX1044" fmla="*/ 359745 w 1009760"/>
                    <a:gd name="connsiteY1044" fmla="*/ 57154 h 531427"/>
                    <a:gd name="connsiteX1045" fmla="*/ 360520 w 1009760"/>
                    <a:gd name="connsiteY1045" fmla="*/ 54098 h 531427"/>
                    <a:gd name="connsiteX1046" fmla="*/ 362680 w 1009760"/>
                    <a:gd name="connsiteY1046" fmla="*/ 51995 h 531427"/>
                    <a:gd name="connsiteX1047" fmla="*/ 365222 w 1009760"/>
                    <a:gd name="connsiteY1047" fmla="*/ 50871 h 531427"/>
                    <a:gd name="connsiteX1048" fmla="*/ 371799 w 1009760"/>
                    <a:gd name="connsiteY1048" fmla="*/ 52916 h 531427"/>
                    <a:gd name="connsiteX1049" fmla="*/ 379989 w 1009760"/>
                    <a:gd name="connsiteY1049" fmla="*/ 54750 h 531427"/>
                    <a:gd name="connsiteX1050" fmla="*/ 381399 w 1009760"/>
                    <a:gd name="connsiteY1050" fmla="*/ 54448 h 531427"/>
                    <a:gd name="connsiteX1051" fmla="*/ 381823 w 1009760"/>
                    <a:gd name="connsiteY1051" fmla="*/ 53487 h 531427"/>
                    <a:gd name="connsiteX1052" fmla="*/ 382752 w 1009760"/>
                    <a:gd name="connsiteY1052" fmla="*/ 52639 h 531427"/>
                    <a:gd name="connsiteX1053" fmla="*/ 394129 w 1009760"/>
                    <a:gd name="connsiteY1053" fmla="*/ 52240 h 531427"/>
                    <a:gd name="connsiteX1054" fmla="*/ 396338 w 1009760"/>
                    <a:gd name="connsiteY1054" fmla="*/ 51058 h 531427"/>
                    <a:gd name="connsiteX1055" fmla="*/ 397446 w 1009760"/>
                    <a:gd name="connsiteY1055" fmla="*/ 50121 h 531427"/>
                    <a:gd name="connsiteX1056" fmla="*/ 408391 w 1009760"/>
                    <a:gd name="connsiteY1056" fmla="*/ 48760 h 531427"/>
                    <a:gd name="connsiteX1057" fmla="*/ 409687 w 1009760"/>
                    <a:gd name="connsiteY1057" fmla="*/ 47472 h 531427"/>
                    <a:gd name="connsiteX1058" fmla="*/ 411301 w 1009760"/>
                    <a:gd name="connsiteY1058" fmla="*/ 46282 h 531427"/>
                    <a:gd name="connsiteX1059" fmla="*/ 413811 w 1009760"/>
                    <a:gd name="connsiteY1059" fmla="*/ 46299 h 531427"/>
                    <a:gd name="connsiteX1060" fmla="*/ 416818 w 1009760"/>
                    <a:gd name="connsiteY1060" fmla="*/ 45818 h 531427"/>
                    <a:gd name="connsiteX1061" fmla="*/ 420991 w 1009760"/>
                    <a:gd name="connsiteY1061" fmla="*/ 44351 h 531427"/>
                    <a:gd name="connsiteX1062" fmla="*/ 423949 w 1009760"/>
                    <a:gd name="connsiteY1062" fmla="*/ 43552 h 531427"/>
                    <a:gd name="connsiteX1063" fmla="*/ 424446 w 1009760"/>
                    <a:gd name="connsiteY1063" fmla="*/ 43487 h 531427"/>
                    <a:gd name="connsiteX1064" fmla="*/ 427568 w 1009760"/>
                    <a:gd name="connsiteY1064" fmla="*/ 43813 h 531427"/>
                    <a:gd name="connsiteX1065" fmla="*/ 431463 w 1009760"/>
                    <a:gd name="connsiteY1065" fmla="*/ 42656 h 531427"/>
                    <a:gd name="connsiteX1066" fmla="*/ 432302 w 1009760"/>
                    <a:gd name="connsiteY1066" fmla="*/ 42167 h 531427"/>
                    <a:gd name="connsiteX1067" fmla="*/ 432930 w 1009760"/>
                    <a:gd name="connsiteY1067" fmla="*/ 41286 h 531427"/>
                    <a:gd name="connsiteX1068" fmla="*/ 436312 w 1009760"/>
                    <a:gd name="connsiteY1068" fmla="*/ 39608 h 531427"/>
                    <a:gd name="connsiteX1069" fmla="*/ 442807 w 1009760"/>
                    <a:gd name="connsiteY1069" fmla="*/ 38222 h 531427"/>
                    <a:gd name="connsiteX1070" fmla="*/ 444389 w 1009760"/>
                    <a:gd name="connsiteY1070" fmla="*/ 39054 h 531427"/>
                    <a:gd name="connsiteX1071" fmla="*/ 447494 w 1009760"/>
                    <a:gd name="connsiteY1071" fmla="*/ 39437 h 531427"/>
                    <a:gd name="connsiteX1072" fmla="*/ 451438 w 1009760"/>
                    <a:gd name="connsiteY1072" fmla="*/ 38817 h 531427"/>
                    <a:gd name="connsiteX1073" fmla="*/ 454348 w 1009760"/>
                    <a:gd name="connsiteY1073" fmla="*/ 37758 h 531427"/>
                    <a:gd name="connsiteX1074" fmla="*/ 456051 w 1009760"/>
                    <a:gd name="connsiteY1074" fmla="*/ 38809 h 531427"/>
                    <a:gd name="connsiteX1075" fmla="*/ 458357 w 1009760"/>
                    <a:gd name="connsiteY1075" fmla="*/ 39893 h 531427"/>
                    <a:gd name="connsiteX1076" fmla="*/ 460085 w 1009760"/>
                    <a:gd name="connsiteY1076" fmla="*/ 38972 h 531427"/>
                    <a:gd name="connsiteX1077" fmla="*/ 460932 w 1009760"/>
                    <a:gd name="connsiteY1077" fmla="*/ 36071 h 531427"/>
                    <a:gd name="connsiteX1078" fmla="*/ 462049 w 1009760"/>
                    <a:gd name="connsiteY1078" fmla="*/ 33226 h 531427"/>
                    <a:gd name="connsiteX1079" fmla="*/ 463997 w 1009760"/>
                    <a:gd name="connsiteY1079" fmla="*/ 31882 h 531427"/>
                    <a:gd name="connsiteX1080" fmla="*/ 465537 w 1009760"/>
                    <a:gd name="connsiteY1080" fmla="*/ 31393 h 531427"/>
                    <a:gd name="connsiteX1081" fmla="*/ 466931 w 1009760"/>
                    <a:gd name="connsiteY1081" fmla="*/ 30293 h 531427"/>
                    <a:gd name="connsiteX1082" fmla="*/ 467982 w 1009760"/>
                    <a:gd name="connsiteY1082" fmla="*/ 29160 h 531427"/>
                    <a:gd name="connsiteX1083" fmla="*/ 473711 w 1009760"/>
                    <a:gd name="connsiteY1083" fmla="*/ 29339 h 531427"/>
                    <a:gd name="connsiteX1084" fmla="*/ 478838 w 1009760"/>
                    <a:gd name="connsiteY1084" fmla="*/ 26503 h 531427"/>
                    <a:gd name="connsiteX1085" fmla="*/ 479840 w 1009760"/>
                    <a:gd name="connsiteY1085" fmla="*/ 27782 h 531427"/>
                    <a:gd name="connsiteX1086" fmla="*/ 486482 w 1009760"/>
                    <a:gd name="connsiteY1086" fmla="*/ 27481 h 531427"/>
                    <a:gd name="connsiteX1087" fmla="*/ 494738 w 1009760"/>
                    <a:gd name="connsiteY1087" fmla="*/ 25664 h 531427"/>
                    <a:gd name="connsiteX1088" fmla="*/ 499668 w 1009760"/>
                    <a:gd name="connsiteY1088" fmla="*/ 24808 h 531427"/>
                    <a:gd name="connsiteX1089" fmla="*/ 508201 w 1009760"/>
                    <a:gd name="connsiteY1089" fmla="*/ 22901 h 531427"/>
                    <a:gd name="connsiteX1090" fmla="*/ 512137 w 1009760"/>
                    <a:gd name="connsiteY1090" fmla="*/ 21360 h 531427"/>
                    <a:gd name="connsiteX1091" fmla="*/ 517769 w 1009760"/>
                    <a:gd name="connsiteY1091" fmla="*/ 20383 h 531427"/>
                    <a:gd name="connsiteX1092" fmla="*/ 522952 w 1009760"/>
                    <a:gd name="connsiteY1092" fmla="*/ 19706 h 531427"/>
                    <a:gd name="connsiteX1093" fmla="*/ 526334 w 1009760"/>
                    <a:gd name="connsiteY1093" fmla="*/ 17000 h 531427"/>
                    <a:gd name="connsiteX1094" fmla="*/ 529064 w 1009760"/>
                    <a:gd name="connsiteY1094" fmla="*/ 16617 h 531427"/>
                    <a:gd name="connsiteX1095" fmla="*/ 532381 w 1009760"/>
                    <a:gd name="connsiteY1095" fmla="*/ 16389 h 531427"/>
                    <a:gd name="connsiteX1096" fmla="*/ 534419 w 1009760"/>
                    <a:gd name="connsiteY1096" fmla="*/ 15737 h 531427"/>
                    <a:gd name="connsiteX1097" fmla="*/ 535747 w 1009760"/>
                    <a:gd name="connsiteY1097" fmla="*/ 14735 h 531427"/>
                    <a:gd name="connsiteX1098" fmla="*/ 536603 w 1009760"/>
                    <a:gd name="connsiteY1098" fmla="*/ 12852 h 531427"/>
                    <a:gd name="connsiteX1099" fmla="*/ 536138 w 1009760"/>
                    <a:gd name="connsiteY1099" fmla="*/ 10464 h 531427"/>
                    <a:gd name="connsiteX1100" fmla="*/ 535657 w 1009760"/>
                    <a:gd name="connsiteY1100" fmla="*/ 8728 h 531427"/>
                    <a:gd name="connsiteX1101" fmla="*/ 538029 w 1009760"/>
                    <a:gd name="connsiteY1101" fmla="*/ 7750 h 531427"/>
                    <a:gd name="connsiteX1102" fmla="*/ 541420 w 1009760"/>
                    <a:gd name="connsiteY1102" fmla="*/ 7449 h 531427"/>
                    <a:gd name="connsiteX1103" fmla="*/ 543563 w 1009760"/>
                    <a:gd name="connsiteY1103" fmla="*/ 7050 h 531427"/>
                    <a:gd name="connsiteX1104" fmla="*/ 548224 w 1009760"/>
                    <a:gd name="connsiteY1104" fmla="*/ 3097 h 531427"/>
                    <a:gd name="connsiteX1105" fmla="*/ 551452 w 1009760"/>
                    <a:gd name="connsiteY1105" fmla="*/ 1190 h 531427"/>
                    <a:gd name="connsiteX1106" fmla="*/ 554793 w 1009760"/>
                    <a:gd name="connsiteY1106" fmla="*/ 0 h 531427"/>
                    <a:gd name="connsiteX1107" fmla="*/ 561468 w 1009760"/>
                    <a:gd name="connsiteY1107" fmla="*/ 660 h 531427"/>
                    <a:gd name="connsiteX1108" fmla="*/ 567580 w 1009760"/>
                    <a:gd name="connsiteY1108" fmla="*/ 1247 h 531427"/>
                    <a:gd name="connsiteX1109" fmla="*/ 573709 w 1009760"/>
                    <a:gd name="connsiteY1109" fmla="*/ 3138 h 531427"/>
                    <a:gd name="connsiteX1110" fmla="*/ 576928 w 1009760"/>
                    <a:gd name="connsiteY1110" fmla="*/ 5493 h 531427"/>
                    <a:gd name="connsiteX1111" fmla="*/ 579707 w 1009760"/>
                    <a:gd name="connsiteY1111" fmla="*/ 7270 h 531427"/>
                    <a:gd name="connsiteX1112" fmla="*/ 582266 w 1009760"/>
                    <a:gd name="connsiteY1112" fmla="*/ 8117 h 531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Lst>
                  <a:rect l="l" t="t" r="r" b="b"/>
                  <a:pathLst>
                    <a:path w="1009760" h="531427">
                      <a:moveTo>
                        <a:pt x="582266" y="8117"/>
                      </a:moveTo>
                      <a:lnTo>
                        <a:pt x="584621" y="8663"/>
                      </a:lnTo>
                      <a:lnTo>
                        <a:pt x="587384" y="7856"/>
                      </a:lnTo>
                      <a:lnTo>
                        <a:pt x="589315" y="6764"/>
                      </a:lnTo>
                      <a:lnTo>
                        <a:pt x="590456" y="5200"/>
                      </a:lnTo>
                      <a:lnTo>
                        <a:pt x="592176" y="4083"/>
                      </a:lnTo>
                      <a:lnTo>
                        <a:pt x="598410" y="3211"/>
                      </a:lnTo>
                      <a:lnTo>
                        <a:pt x="599706" y="4898"/>
                      </a:lnTo>
                      <a:lnTo>
                        <a:pt x="602673" y="9975"/>
                      </a:lnTo>
                      <a:lnTo>
                        <a:pt x="604702" y="16731"/>
                      </a:lnTo>
                      <a:lnTo>
                        <a:pt x="608035" y="25680"/>
                      </a:lnTo>
                      <a:lnTo>
                        <a:pt x="609510" y="30073"/>
                      </a:lnTo>
                      <a:lnTo>
                        <a:pt x="608858" y="32371"/>
                      </a:lnTo>
                      <a:lnTo>
                        <a:pt x="608875" y="35533"/>
                      </a:lnTo>
                      <a:lnTo>
                        <a:pt x="608687" y="38988"/>
                      </a:lnTo>
                      <a:lnTo>
                        <a:pt x="606226" y="42900"/>
                      </a:lnTo>
                      <a:lnTo>
                        <a:pt x="607220" y="44726"/>
                      </a:lnTo>
                      <a:lnTo>
                        <a:pt x="613251" y="46763"/>
                      </a:lnTo>
                      <a:lnTo>
                        <a:pt x="621702" y="46022"/>
                      </a:lnTo>
                      <a:lnTo>
                        <a:pt x="626918" y="44383"/>
                      </a:lnTo>
                      <a:lnTo>
                        <a:pt x="629820" y="44978"/>
                      </a:lnTo>
                      <a:lnTo>
                        <a:pt x="631344" y="44000"/>
                      </a:lnTo>
                      <a:lnTo>
                        <a:pt x="632330" y="41099"/>
                      </a:lnTo>
                      <a:lnTo>
                        <a:pt x="634326" y="40447"/>
                      </a:lnTo>
                      <a:lnTo>
                        <a:pt x="636388" y="42468"/>
                      </a:lnTo>
                      <a:lnTo>
                        <a:pt x="637888" y="45891"/>
                      </a:lnTo>
                      <a:lnTo>
                        <a:pt x="639322" y="48100"/>
                      </a:lnTo>
                      <a:lnTo>
                        <a:pt x="639216" y="50716"/>
                      </a:lnTo>
                      <a:lnTo>
                        <a:pt x="639738" y="54082"/>
                      </a:lnTo>
                      <a:lnTo>
                        <a:pt x="640789" y="54937"/>
                      </a:lnTo>
                      <a:lnTo>
                        <a:pt x="642859" y="53658"/>
                      </a:lnTo>
                      <a:lnTo>
                        <a:pt x="644244" y="52900"/>
                      </a:lnTo>
                      <a:lnTo>
                        <a:pt x="644571" y="51881"/>
                      </a:lnTo>
                      <a:lnTo>
                        <a:pt x="643984" y="50618"/>
                      </a:lnTo>
                      <a:lnTo>
                        <a:pt x="643707" y="49338"/>
                      </a:lnTo>
                      <a:lnTo>
                        <a:pt x="644163" y="48157"/>
                      </a:lnTo>
                      <a:lnTo>
                        <a:pt x="645149" y="47676"/>
                      </a:lnTo>
                      <a:lnTo>
                        <a:pt x="648091" y="48043"/>
                      </a:lnTo>
                      <a:lnTo>
                        <a:pt x="652386" y="48695"/>
                      </a:lnTo>
                      <a:lnTo>
                        <a:pt x="657480" y="53462"/>
                      </a:lnTo>
                      <a:lnTo>
                        <a:pt x="660218" y="54326"/>
                      </a:lnTo>
                      <a:lnTo>
                        <a:pt x="661383" y="54408"/>
                      </a:lnTo>
                      <a:lnTo>
                        <a:pt x="663959" y="54139"/>
                      </a:lnTo>
                      <a:lnTo>
                        <a:pt x="667064" y="52761"/>
                      </a:lnTo>
                      <a:lnTo>
                        <a:pt x="669150" y="51042"/>
                      </a:lnTo>
                      <a:lnTo>
                        <a:pt x="669843" y="50194"/>
                      </a:lnTo>
                      <a:lnTo>
                        <a:pt x="671041" y="50341"/>
                      </a:lnTo>
                      <a:lnTo>
                        <a:pt x="672190" y="51140"/>
                      </a:lnTo>
                      <a:lnTo>
                        <a:pt x="672263" y="52876"/>
                      </a:lnTo>
                      <a:lnTo>
                        <a:pt x="671367" y="55394"/>
                      </a:lnTo>
                      <a:lnTo>
                        <a:pt x="668262" y="57700"/>
                      </a:lnTo>
                      <a:lnTo>
                        <a:pt x="664423" y="59844"/>
                      </a:lnTo>
                      <a:lnTo>
                        <a:pt x="662101" y="63764"/>
                      </a:lnTo>
                      <a:lnTo>
                        <a:pt x="661603" y="67855"/>
                      </a:lnTo>
                      <a:lnTo>
                        <a:pt x="662630" y="69933"/>
                      </a:lnTo>
                      <a:lnTo>
                        <a:pt x="663486" y="71318"/>
                      </a:lnTo>
                      <a:lnTo>
                        <a:pt x="663731" y="73266"/>
                      </a:lnTo>
                      <a:lnTo>
                        <a:pt x="664603" y="73519"/>
                      </a:lnTo>
                      <a:lnTo>
                        <a:pt x="666159" y="72720"/>
                      </a:lnTo>
                      <a:lnTo>
                        <a:pt x="670446" y="68686"/>
                      </a:lnTo>
                      <a:lnTo>
                        <a:pt x="672638" y="67684"/>
                      </a:lnTo>
                      <a:lnTo>
                        <a:pt x="675817" y="67048"/>
                      </a:lnTo>
                      <a:lnTo>
                        <a:pt x="681008" y="67358"/>
                      </a:lnTo>
                      <a:lnTo>
                        <a:pt x="684520" y="68670"/>
                      </a:lnTo>
                      <a:lnTo>
                        <a:pt x="686191" y="70503"/>
                      </a:lnTo>
                      <a:lnTo>
                        <a:pt x="688033" y="72011"/>
                      </a:lnTo>
                      <a:lnTo>
                        <a:pt x="689296" y="71384"/>
                      </a:lnTo>
                      <a:lnTo>
                        <a:pt x="689956" y="69648"/>
                      </a:lnTo>
                      <a:lnTo>
                        <a:pt x="689989" y="67659"/>
                      </a:lnTo>
                      <a:lnTo>
                        <a:pt x="690519" y="66021"/>
                      </a:lnTo>
                      <a:lnTo>
                        <a:pt x="696207" y="61987"/>
                      </a:lnTo>
                      <a:lnTo>
                        <a:pt x="700005" y="59306"/>
                      </a:lnTo>
                      <a:lnTo>
                        <a:pt x="701309" y="58996"/>
                      </a:lnTo>
                      <a:lnTo>
                        <a:pt x="703835" y="59550"/>
                      </a:lnTo>
                      <a:lnTo>
                        <a:pt x="705408" y="59265"/>
                      </a:lnTo>
                      <a:lnTo>
                        <a:pt x="709581" y="56738"/>
                      </a:lnTo>
                      <a:lnTo>
                        <a:pt x="713468" y="53862"/>
                      </a:lnTo>
                      <a:lnTo>
                        <a:pt x="713851" y="51914"/>
                      </a:lnTo>
                      <a:lnTo>
                        <a:pt x="713998" y="50145"/>
                      </a:lnTo>
                      <a:lnTo>
                        <a:pt x="714968" y="49347"/>
                      </a:lnTo>
                      <a:lnTo>
                        <a:pt x="720412" y="48727"/>
                      </a:lnTo>
                      <a:lnTo>
                        <a:pt x="721309" y="48393"/>
                      </a:lnTo>
                      <a:lnTo>
                        <a:pt x="725962" y="46388"/>
                      </a:lnTo>
                      <a:lnTo>
                        <a:pt x="732409" y="42973"/>
                      </a:lnTo>
                      <a:lnTo>
                        <a:pt x="735530" y="40944"/>
                      </a:lnTo>
                      <a:lnTo>
                        <a:pt x="741226" y="40048"/>
                      </a:lnTo>
                      <a:lnTo>
                        <a:pt x="742294" y="39461"/>
                      </a:lnTo>
                      <a:lnTo>
                        <a:pt x="744176" y="38100"/>
                      </a:lnTo>
                      <a:lnTo>
                        <a:pt x="747754" y="36217"/>
                      </a:lnTo>
                      <a:lnTo>
                        <a:pt x="749677" y="36014"/>
                      </a:lnTo>
                      <a:lnTo>
                        <a:pt x="748480" y="40578"/>
                      </a:lnTo>
                      <a:lnTo>
                        <a:pt x="746344" y="45842"/>
                      </a:lnTo>
                      <a:lnTo>
                        <a:pt x="745154" y="47252"/>
                      </a:lnTo>
                      <a:lnTo>
                        <a:pt x="739368" y="47016"/>
                      </a:lnTo>
                      <a:lnTo>
                        <a:pt x="739376" y="48450"/>
                      </a:lnTo>
                      <a:lnTo>
                        <a:pt x="740289" y="50651"/>
                      </a:lnTo>
                      <a:lnTo>
                        <a:pt x="740941" y="51873"/>
                      </a:lnTo>
                      <a:lnTo>
                        <a:pt x="741634" y="52981"/>
                      </a:lnTo>
                      <a:lnTo>
                        <a:pt x="743182" y="54897"/>
                      </a:lnTo>
                      <a:lnTo>
                        <a:pt x="749262" y="59411"/>
                      </a:lnTo>
                      <a:lnTo>
                        <a:pt x="756996" y="65149"/>
                      </a:lnTo>
                      <a:lnTo>
                        <a:pt x="765341" y="71587"/>
                      </a:lnTo>
                      <a:lnTo>
                        <a:pt x="771168" y="76078"/>
                      </a:lnTo>
                      <a:lnTo>
                        <a:pt x="773532" y="78392"/>
                      </a:lnTo>
                      <a:lnTo>
                        <a:pt x="775039" y="80202"/>
                      </a:lnTo>
                      <a:lnTo>
                        <a:pt x="779343" y="86729"/>
                      </a:lnTo>
                      <a:lnTo>
                        <a:pt x="783417" y="92907"/>
                      </a:lnTo>
                      <a:lnTo>
                        <a:pt x="790304" y="103771"/>
                      </a:lnTo>
                      <a:lnTo>
                        <a:pt x="796408" y="114251"/>
                      </a:lnTo>
                      <a:lnTo>
                        <a:pt x="803107" y="125750"/>
                      </a:lnTo>
                      <a:lnTo>
                        <a:pt x="806995" y="132384"/>
                      </a:lnTo>
                      <a:lnTo>
                        <a:pt x="814940" y="146247"/>
                      </a:lnTo>
                      <a:lnTo>
                        <a:pt x="817068" y="150493"/>
                      </a:lnTo>
                      <a:lnTo>
                        <a:pt x="821086" y="158512"/>
                      </a:lnTo>
                      <a:lnTo>
                        <a:pt x="824639" y="166035"/>
                      </a:lnTo>
                      <a:lnTo>
                        <a:pt x="827793" y="172677"/>
                      </a:lnTo>
                      <a:lnTo>
                        <a:pt x="829757" y="173280"/>
                      </a:lnTo>
                      <a:lnTo>
                        <a:pt x="829920" y="171479"/>
                      </a:lnTo>
                      <a:lnTo>
                        <a:pt x="830270" y="170280"/>
                      </a:lnTo>
                      <a:lnTo>
                        <a:pt x="831289" y="169604"/>
                      </a:lnTo>
                      <a:lnTo>
                        <a:pt x="833587" y="167648"/>
                      </a:lnTo>
                      <a:lnTo>
                        <a:pt x="834826" y="167175"/>
                      </a:lnTo>
                      <a:lnTo>
                        <a:pt x="836692" y="167379"/>
                      </a:lnTo>
                      <a:lnTo>
                        <a:pt x="838632" y="166377"/>
                      </a:lnTo>
                      <a:lnTo>
                        <a:pt x="839341" y="164494"/>
                      </a:lnTo>
                      <a:lnTo>
                        <a:pt x="838876" y="160998"/>
                      </a:lnTo>
                      <a:lnTo>
                        <a:pt x="838583" y="159384"/>
                      </a:lnTo>
                      <a:lnTo>
                        <a:pt x="839243" y="157665"/>
                      </a:lnTo>
                      <a:lnTo>
                        <a:pt x="840302" y="156988"/>
                      </a:lnTo>
                      <a:lnTo>
                        <a:pt x="841786" y="156442"/>
                      </a:lnTo>
                      <a:lnTo>
                        <a:pt x="843139" y="156165"/>
                      </a:lnTo>
                      <a:lnTo>
                        <a:pt x="844263" y="154217"/>
                      </a:lnTo>
                      <a:lnTo>
                        <a:pt x="846366" y="153623"/>
                      </a:lnTo>
                      <a:lnTo>
                        <a:pt x="848297" y="153989"/>
                      </a:lnTo>
                      <a:lnTo>
                        <a:pt x="849887" y="154063"/>
                      </a:lnTo>
                      <a:lnTo>
                        <a:pt x="851296" y="155481"/>
                      </a:lnTo>
                      <a:lnTo>
                        <a:pt x="852079" y="157436"/>
                      </a:lnTo>
                      <a:lnTo>
                        <a:pt x="853603" y="157591"/>
                      </a:lnTo>
                      <a:lnTo>
                        <a:pt x="856097" y="157388"/>
                      </a:lnTo>
                      <a:lnTo>
                        <a:pt x="856439" y="159026"/>
                      </a:lnTo>
                      <a:lnTo>
                        <a:pt x="855722" y="161756"/>
                      </a:lnTo>
                      <a:lnTo>
                        <a:pt x="854858" y="163875"/>
                      </a:lnTo>
                      <a:lnTo>
                        <a:pt x="854711" y="165570"/>
                      </a:lnTo>
                      <a:lnTo>
                        <a:pt x="856031" y="166393"/>
                      </a:lnTo>
                      <a:lnTo>
                        <a:pt x="860856" y="165660"/>
                      </a:lnTo>
                      <a:lnTo>
                        <a:pt x="862576" y="166018"/>
                      </a:lnTo>
                      <a:lnTo>
                        <a:pt x="863106" y="167730"/>
                      </a:lnTo>
                      <a:lnTo>
                        <a:pt x="863790" y="169156"/>
                      </a:lnTo>
                      <a:lnTo>
                        <a:pt x="864141" y="170900"/>
                      </a:lnTo>
                      <a:lnTo>
                        <a:pt x="863635" y="172823"/>
                      </a:lnTo>
                      <a:lnTo>
                        <a:pt x="864483" y="173972"/>
                      </a:lnTo>
                      <a:lnTo>
                        <a:pt x="868647" y="173997"/>
                      </a:lnTo>
                      <a:lnTo>
                        <a:pt x="871581" y="173068"/>
                      </a:lnTo>
                      <a:lnTo>
                        <a:pt x="876088" y="172994"/>
                      </a:lnTo>
                      <a:lnTo>
                        <a:pt x="880163" y="175032"/>
                      </a:lnTo>
                      <a:lnTo>
                        <a:pt x="882991" y="174714"/>
                      </a:lnTo>
                      <a:lnTo>
                        <a:pt x="885835" y="173891"/>
                      </a:lnTo>
                      <a:lnTo>
                        <a:pt x="889992" y="174412"/>
                      </a:lnTo>
                      <a:lnTo>
                        <a:pt x="892901" y="172807"/>
                      </a:lnTo>
                      <a:lnTo>
                        <a:pt x="894922" y="170794"/>
                      </a:lnTo>
                      <a:lnTo>
                        <a:pt x="895558" y="169213"/>
                      </a:lnTo>
                      <a:lnTo>
                        <a:pt x="896609" y="168341"/>
                      </a:lnTo>
                      <a:lnTo>
                        <a:pt x="900529" y="168349"/>
                      </a:lnTo>
                      <a:lnTo>
                        <a:pt x="903015" y="168194"/>
                      </a:lnTo>
                      <a:lnTo>
                        <a:pt x="904840" y="165871"/>
                      </a:lnTo>
                      <a:lnTo>
                        <a:pt x="906519" y="164820"/>
                      </a:lnTo>
                      <a:lnTo>
                        <a:pt x="909331" y="164625"/>
                      </a:lnTo>
                      <a:lnTo>
                        <a:pt x="911409" y="164625"/>
                      </a:lnTo>
                      <a:lnTo>
                        <a:pt x="916967" y="166784"/>
                      </a:lnTo>
                      <a:lnTo>
                        <a:pt x="920349" y="168569"/>
                      </a:lnTo>
                      <a:lnTo>
                        <a:pt x="923870" y="171104"/>
                      </a:lnTo>
                      <a:lnTo>
                        <a:pt x="925989" y="172701"/>
                      </a:lnTo>
                      <a:lnTo>
                        <a:pt x="927415" y="176279"/>
                      </a:lnTo>
                      <a:lnTo>
                        <a:pt x="929819" y="178919"/>
                      </a:lnTo>
                      <a:lnTo>
                        <a:pt x="931718" y="182000"/>
                      </a:lnTo>
                      <a:lnTo>
                        <a:pt x="932183" y="185040"/>
                      </a:lnTo>
                      <a:lnTo>
                        <a:pt x="933747" y="190492"/>
                      </a:lnTo>
                      <a:lnTo>
                        <a:pt x="935361" y="192285"/>
                      </a:lnTo>
                      <a:lnTo>
                        <a:pt x="937292" y="192285"/>
                      </a:lnTo>
                      <a:lnTo>
                        <a:pt x="939729" y="193026"/>
                      </a:lnTo>
                      <a:lnTo>
                        <a:pt x="942411" y="193621"/>
                      </a:lnTo>
                      <a:lnTo>
                        <a:pt x="948156" y="197680"/>
                      </a:lnTo>
                      <a:lnTo>
                        <a:pt x="950267" y="197802"/>
                      </a:lnTo>
                      <a:lnTo>
                        <a:pt x="951889" y="198772"/>
                      </a:lnTo>
                      <a:lnTo>
                        <a:pt x="952141" y="200638"/>
                      </a:lnTo>
                      <a:lnTo>
                        <a:pt x="951539" y="202798"/>
                      </a:lnTo>
                      <a:lnTo>
                        <a:pt x="952166" y="204868"/>
                      </a:lnTo>
                      <a:lnTo>
                        <a:pt x="954040" y="207509"/>
                      </a:lnTo>
                      <a:lnTo>
                        <a:pt x="955532" y="210092"/>
                      </a:lnTo>
                      <a:lnTo>
                        <a:pt x="957365" y="213213"/>
                      </a:lnTo>
                      <a:lnTo>
                        <a:pt x="957919" y="214998"/>
                      </a:lnTo>
                      <a:lnTo>
                        <a:pt x="959386" y="215593"/>
                      </a:lnTo>
                      <a:lnTo>
                        <a:pt x="961367" y="214705"/>
                      </a:lnTo>
                      <a:lnTo>
                        <a:pt x="964513" y="215381"/>
                      </a:lnTo>
                      <a:lnTo>
                        <a:pt x="973991" y="217150"/>
                      </a:lnTo>
                      <a:lnTo>
                        <a:pt x="975303" y="217370"/>
                      </a:lnTo>
                      <a:lnTo>
                        <a:pt x="976321" y="219228"/>
                      </a:lnTo>
                      <a:lnTo>
                        <a:pt x="977691" y="219081"/>
                      </a:lnTo>
                      <a:lnTo>
                        <a:pt x="979256" y="219008"/>
                      </a:lnTo>
                      <a:lnTo>
                        <a:pt x="981431" y="219228"/>
                      </a:lnTo>
                      <a:lnTo>
                        <a:pt x="982964" y="217524"/>
                      </a:lnTo>
                      <a:lnTo>
                        <a:pt x="984194" y="216033"/>
                      </a:lnTo>
                      <a:lnTo>
                        <a:pt x="987315" y="214183"/>
                      </a:lnTo>
                      <a:lnTo>
                        <a:pt x="989907" y="211657"/>
                      </a:lnTo>
                      <a:lnTo>
                        <a:pt x="992091" y="209424"/>
                      </a:lnTo>
                      <a:lnTo>
                        <a:pt x="993705" y="209122"/>
                      </a:lnTo>
                      <a:lnTo>
                        <a:pt x="995033" y="210165"/>
                      </a:lnTo>
                      <a:lnTo>
                        <a:pt x="995066" y="212097"/>
                      </a:lnTo>
                      <a:lnTo>
                        <a:pt x="993453" y="213507"/>
                      </a:lnTo>
                      <a:lnTo>
                        <a:pt x="992189" y="215210"/>
                      </a:lnTo>
                      <a:lnTo>
                        <a:pt x="992499" y="216913"/>
                      </a:lnTo>
                      <a:lnTo>
                        <a:pt x="994675" y="217068"/>
                      </a:lnTo>
                      <a:lnTo>
                        <a:pt x="997104" y="219627"/>
                      </a:lnTo>
                      <a:lnTo>
                        <a:pt x="1000592" y="225642"/>
                      </a:lnTo>
                      <a:lnTo>
                        <a:pt x="1001789" y="226905"/>
                      </a:lnTo>
                      <a:lnTo>
                        <a:pt x="1003509" y="228087"/>
                      </a:lnTo>
                      <a:lnTo>
                        <a:pt x="1005433" y="228624"/>
                      </a:lnTo>
                      <a:lnTo>
                        <a:pt x="1007559" y="229480"/>
                      </a:lnTo>
                      <a:lnTo>
                        <a:pt x="1009124" y="231958"/>
                      </a:lnTo>
                      <a:lnTo>
                        <a:pt x="1009760" y="234199"/>
                      </a:lnTo>
                      <a:lnTo>
                        <a:pt x="1007462" y="233473"/>
                      </a:lnTo>
                      <a:lnTo>
                        <a:pt x="1002955" y="233335"/>
                      </a:lnTo>
                      <a:lnTo>
                        <a:pt x="1000217" y="233783"/>
                      </a:lnTo>
                      <a:lnTo>
                        <a:pt x="998921" y="234036"/>
                      </a:lnTo>
                      <a:lnTo>
                        <a:pt x="997006" y="235511"/>
                      </a:lnTo>
                      <a:lnTo>
                        <a:pt x="995636" y="236994"/>
                      </a:lnTo>
                      <a:lnTo>
                        <a:pt x="995033" y="239504"/>
                      </a:lnTo>
                      <a:lnTo>
                        <a:pt x="995751" y="242349"/>
                      </a:lnTo>
                      <a:lnTo>
                        <a:pt x="994764" y="248249"/>
                      </a:lnTo>
                      <a:lnTo>
                        <a:pt x="993420" y="250474"/>
                      </a:lnTo>
                      <a:lnTo>
                        <a:pt x="990592" y="254329"/>
                      </a:lnTo>
                      <a:lnTo>
                        <a:pt x="988946" y="255168"/>
                      </a:lnTo>
                      <a:lnTo>
                        <a:pt x="986199" y="255861"/>
                      </a:lnTo>
                      <a:lnTo>
                        <a:pt x="983550" y="257002"/>
                      </a:lnTo>
                      <a:lnTo>
                        <a:pt x="978351" y="258110"/>
                      </a:lnTo>
                      <a:lnTo>
                        <a:pt x="972744" y="258673"/>
                      </a:lnTo>
                      <a:lnTo>
                        <a:pt x="970755" y="259504"/>
                      </a:lnTo>
                      <a:lnTo>
                        <a:pt x="969321" y="262144"/>
                      </a:lnTo>
                      <a:lnTo>
                        <a:pt x="968318" y="264345"/>
                      </a:lnTo>
                      <a:lnTo>
                        <a:pt x="967699" y="266015"/>
                      </a:lnTo>
                      <a:lnTo>
                        <a:pt x="966118" y="271476"/>
                      </a:lnTo>
                      <a:lnTo>
                        <a:pt x="965214" y="276366"/>
                      </a:lnTo>
                      <a:lnTo>
                        <a:pt x="966094" y="282421"/>
                      </a:lnTo>
                      <a:lnTo>
                        <a:pt x="966762" y="289144"/>
                      </a:lnTo>
                      <a:lnTo>
                        <a:pt x="966713" y="291467"/>
                      </a:lnTo>
                      <a:lnTo>
                        <a:pt x="968082" y="294906"/>
                      </a:lnTo>
                      <a:lnTo>
                        <a:pt x="968775" y="297009"/>
                      </a:lnTo>
                      <a:lnTo>
                        <a:pt x="968449" y="300000"/>
                      </a:lnTo>
                      <a:lnTo>
                        <a:pt x="966477" y="302363"/>
                      </a:lnTo>
                      <a:lnTo>
                        <a:pt x="965295" y="305485"/>
                      </a:lnTo>
                      <a:lnTo>
                        <a:pt x="964178" y="306813"/>
                      </a:lnTo>
                      <a:lnTo>
                        <a:pt x="960976" y="307416"/>
                      </a:lnTo>
                      <a:lnTo>
                        <a:pt x="957944" y="307783"/>
                      </a:lnTo>
                      <a:lnTo>
                        <a:pt x="954888" y="310456"/>
                      </a:lnTo>
                      <a:lnTo>
                        <a:pt x="952459" y="312306"/>
                      </a:lnTo>
                      <a:lnTo>
                        <a:pt x="948637" y="314661"/>
                      </a:lnTo>
                      <a:lnTo>
                        <a:pt x="946844" y="315101"/>
                      </a:lnTo>
                      <a:lnTo>
                        <a:pt x="945850" y="313911"/>
                      </a:lnTo>
                      <a:lnTo>
                        <a:pt x="945198" y="311238"/>
                      </a:lnTo>
                      <a:lnTo>
                        <a:pt x="943886" y="310065"/>
                      </a:lnTo>
                      <a:lnTo>
                        <a:pt x="942036" y="309967"/>
                      </a:lnTo>
                      <a:lnTo>
                        <a:pt x="940552" y="309943"/>
                      </a:lnTo>
                      <a:lnTo>
                        <a:pt x="935744" y="309217"/>
                      </a:lnTo>
                      <a:lnTo>
                        <a:pt x="932680" y="309266"/>
                      </a:lnTo>
                      <a:lnTo>
                        <a:pt x="930373" y="309845"/>
                      </a:lnTo>
                      <a:lnTo>
                        <a:pt x="927749" y="310130"/>
                      </a:lnTo>
                      <a:lnTo>
                        <a:pt x="923186" y="309160"/>
                      </a:lnTo>
                      <a:lnTo>
                        <a:pt x="920251" y="308337"/>
                      </a:lnTo>
                      <a:lnTo>
                        <a:pt x="918271" y="307546"/>
                      </a:lnTo>
                      <a:lnTo>
                        <a:pt x="913544" y="305216"/>
                      </a:lnTo>
                      <a:lnTo>
                        <a:pt x="907334" y="302437"/>
                      </a:lnTo>
                      <a:lnTo>
                        <a:pt x="904784" y="301613"/>
                      </a:lnTo>
                      <a:lnTo>
                        <a:pt x="903284" y="302453"/>
                      </a:lnTo>
                      <a:lnTo>
                        <a:pt x="903048" y="304042"/>
                      </a:lnTo>
                      <a:lnTo>
                        <a:pt x="902648" y="307881"/>
                      </a:lnTo>
                      <a:lnTo>
                        <a:pt x="901923" y="310285"/>
                      </a:lnTo>
                      <a:lnTo>
                        <a:pt x="897587" y="322428"/>
                      </a:lnTo>
                      <a:lnTo>
                        <a:pt x="894914" y="330863"/>
                      </a:lnTo>
                      <a:lnTo>
                        <a:pt x="891515" y="338931"/>
                      </a:lnTo>
                      <a:lnTo>
                        <a:pt x="890431" y="344342"/>
                      </a:lnTo>
                      <a:lnTo>
                        <a:pt x="888402" y="351180"/>
                      </a:lnTo>
                      <a:lnTo>
                        <a:pt x="886381" y="356135"/>
                      </a:lnTo>
                      <a:lnTo>
                        <a:pt x="885558" y="358841"/>
                      </a:lnTo>
                      <a:lnTo>
                        <a:pt x="885477" y="359933"/>
                      </a:lnTo>
                      <a:lnTo>
                        <a:pt x="885843" y="361481"/>
                      </a:lnTo>
                      <a:lnTo>
                        <a:pt x="888940" y="363160"/>
                      </a:lnTo>
                      <a:lnTo>
                        <a:pt x="892184" y="364195"/>
                      </a:lnTo>
                      <a:lnTo>
                        <a:pt x="892901" y="364847"/>
                      </a:lnTo>
                      <a:lnTo>
                        <a:pt x="893260" y="366599"/>
                      </a:lnTo>
                      <a:lnTo>
                        <a:pt x="893137" y="369460"/>
                      </a:lnTo>
                      <a:lnTo>
                        <a:pt x="892534" y="372174"/>
                      </a:lnTo>
                      <a:lnTo>
                        <a:pt x="891605" y="374301"/>
                      </a:lnTo>
                      <a:lnTo>
                        <a:pt x="890676" y="375352"/>
                      </a:lnTo>
                      <a:lnTo>
                        <a:pt x="889609" y="375409"/>
                      </a:lnTo>
                      <a:lnTo>
                        <a:pt x="887579" y="374048"/>
                      </a:lnTo>
                      <a:lnTo>
                        <a:pt x="885754" y="372524"/>
                      </a:lnTo>
                      <a:lnTo>
                        <a:pt x="884352" y="372060"/>
                      </a:lnTo>
                      <a:lnTo>
                        <a:pt x="880782" y="372907"/>
                      </a:lnTo>
                      <a:lnTo>
                        <a:pt x="877474" y="374065"/>
                      </a:lnTo>
                      <a:lnTo>
                        <a:pt x="876365" y="374105"/>
                      </a:lnTo>
                      <a:lnTo>
                        <a:pt x="874450" y="373364"/>
                      </a:lnTo>
                      <a:lnTo>
                        <a:pt x="872510" y="371815"/>
                      </a:lnTo>
                      <a:lnTo>
                        <a:pt x="871752" y="368841"/>
                      </a:lnTo>
                      <a:lnTo>
                        <a:pt x="870098" y="367480"/>
                      </a:lnTo>
                      <a:lnTo>
                        <a:pt x="867873" y="368841"/>
                      </a:lnTo>
                      <a:lnTo>
                        <a:pt x="861247" y="371106"/>
                      </a:lnTo>
                      <a:lnTo>
                        <a:pt x="853945" y="373812"/>
                      </a:lnTo>
                      <a:lnTo>
                        <a:pt x="849300" y="375206"/>
                      </a:lnTo>
                      <a:lnTo>
                        <a:pt x="847483" y="374994"/>
                      </a:lnTo>
                      <a:lnTo>
                        <a:pt x="843888" y="375311"/>
                      </a:lnTo>
                      <a:lnTo>
                        <a:pt x="840767" y="376061"/>
                      </a:lnTo>
                      <a:lnTo>
                        <a:pt x="838436" y="377113"/>
                      </a:lnTo>
                      <a:lnTo>
                        <a:pt x="833799" y="378563"/>
                      </a:lnTo>
                      <a:lnTo>
                        <a:pt x="829602" y="379525"/>
                      </a:lnTo>
                      <a:lnTo>
                        <a:pt x="826904" y="381709"/>
                      </a:lnTo>
                      <a:lnTo>
                        <a:pt x="824965" y="383828"/>
                      </a:lnTo>
                      <a:lnTo>
                        <a:pt x="825047" y="384635"/>
                      </a:lnTo>
                      <a:lnTo>
                        <a:pt x="826464" y="385882"/>
                      </a:lnTo>
                      <a:lnTo>
                        <a:pt x="828070" y="386860"/>
                      </a:lnTo>
                      <a:lnTo>
                        <a:pt x="831314" y="386631"/>
                      </a:lnTo>
                      <a:lnTo>
                        <a:pt x="834467" y="386477"/>
                      </a:lnTo>
                      <a:lnTo>
                        <a:pt x="837092" y="387797"/>
                      </a:lnTo>
                      <a:lnTo>
                        <a:pt x="839439" y="388644"/>
                      </a:lnTo>
                      <a:lnTo>
                        <a:pt x="840083" y="389745"/>
                      </a:lnTo>
                      <a:lnTo>
                        <a:pt x="839439" y="390812"/>
                      </a:lnTo>
                      <a:lnTo>
                        <a:pt x="838070" y="391057"/>
                      </a:lnTo>
                      <a:lnTo>
                        <a:pt x="837597" y="391815"/>
                      </a:lnTo>
                      <a:lnTo>
                        <a:pt x="837825" y="392817"/>
                      </a:lnTo>
                      <a:lnTo>
                        <a:pt x="836945" y="395433"/>
                      </a:lnTo>
                      <a:lnTo>
                        <a:pt x="836472" y="399402"/>
                      </a:lnTo>
                      <a:lnTo>
                        <a:pt x="836945" y="403306"/>
                      </a:lnTo>
                      <a:lnTo>
                        <a:pt x="837190" y="406908"/>
                      </a:lnTo>
                      <a:lnTo>
                        <a:pt x="837034" y="408717"/>
                      </a:lnTo>
                      <a:lnTo>
                        <a:pt x="836937" y="411301"/>
                      </a:lnTo>
                      <a:lnTo>
                        <a:pt x="837947" y="413045"/>
                      </a:lnTo>
                      <a:lnTo>
                        <a:pt x="838828" y="416370"/>
                      </a:lnTo>
                      <a:lnTo>
                        <a:pt x="840417" y="418440"/>
                      </a:lnTo>
                      <a:lnTo>
                        <a:pt x="842845" y="425636"/>
                      </a:lnTo>
                      <a:lnTo>
                        <a:pt x="844263" y="429841"/>
                      </a:lnTo>
                      <a:lnTo>
                        <a:pt x="845576" y="434601"/>
                      </a:lnTo>
                      <a:lnTo>
                        <a:pt x="844622" y="437168"/>
                      </a:lnTo>
                      <a:lnTo>
                        <a:pt x="844687" y="438651"/>
                      </a:lnTo>
                      <a:lnTo>
                        <a:pt x="846219" y="439890"/>
                      </a:lnTo>
                      <a:lnTo>
                        <a:pt x="846896" y="442319"/>
                      </a:lnTo>
                      <a:lnTo>
                        <a:pt x="847605" y="443802"/>
                      </a:lnTo>
                      <a:lnTo>
                        <a:pt x="847409" y="445277"/>
                      </a:lnTo>
                      <a:lnTo>
                        <a:pt x="846749" y="445847"/>
                      </a:lnTo>
                      <a:lnTo>
                        <a:pt x="843424" y="444959"/>
                      </a:lnTo>
                      <a:lnTo>
                        <a:pt x="840702" y="446426"/>
                      </a:lnTo>
                      <a:lnTo>
                        <a:pt x="837800" y="447901"/>
                      </a:lnTo>
                      <a:lnTo>
                        <a:pt x="837417" y="448692"/>
                      </a:lnTo>
                      <a:lnTo>
                        <a:pt x="837336" y="449547"/>
                      </a:lnTo>
                      <a:lnTo>
                        <a:pt x="837629" y="450305"/>
                      </a:lnTo>
                      <a:lnTo>
                        <a:pt x="839300" y="451626"/>
                      </a:lnTo>
                      <a:lnTo>
                        <a:pt x="841607" y="452449"/>
                      </a:lnTo>
                      <a:lnTo>
                        <a:pt x="841484" y="453777"/>
                      </a:lnTo>
                      <a:lnTo>
                        <a:pt x="838632" y="454388"/>
                      </a:lnTo>
                      <a:lnTo>
                        <a:pt x="834329" y="456418"/>
                      </a:lnTo>
                      <a:lnTo>
                        <a:pt x="833139" y="458585"/>
                      </a:lnTo>
                      <a:lnTo>
                        <a:pt x="832218" y="460965"/>
                      </a:lnTo>
                      <a:lnTo>
                        <a:pt x="832145" y="462351"/>
                      </a:lnTo>
                      <a:lnTo>
                        <a:pt x="832576" y="466042"/>
                      </a:lnTo>
                      <a:lnTo>
                        <a:pt x="833229" y="470142"/>
                      </a:lnTo>
                      <a:lnTo>
                        <a:pt x="834451" y="474453"/>
                      </a:lnTo>
                      <a:lnTo>
                        <a:pt x="834557" y="475789"/>
                      </a:lnTo>
                      <a:lnTo>
                        <a:pt x="833905" y="476743"/>
                      </a:lnTo>
                      <a:lnTo>
                        <a:pt x="833318" y="477354"/>
                      </a:lnTo>
                      <a:lnTo>
                        <a:pt x="829895" y="473467"/>
                      </a:lnTo>
                      <a:lnTo>
                        <a:pt x="826171" y="469677"/>
                      </a:lnTo>
                      <a:lnTo>
                        <a:pt x="823253" y="468805"/>
                      </a:lnTo>
                      <a:lnTo>
                        <a:pt x="818176" y="468178"/>
                      </a:lnTo>
                      <a:lnTo>
                        <a:pt x="815479" y="468145"/>
                      </a:lnTo>
                      <a:lnTo>
                        <a:pt x="813947" y="467257"/>
                      </a:lnTo>
                      <a:lnTo>
                        <a:pt x="812447" y="465064"/>
                      </a:lnTo>
                      <a:lnTo>
                        <a:pt x="810646" y="463068"/>
                      </a:lnTo>
                      <a:lnTo>
                        <a:pt x="808356" y="460957"/>
                      </a:lnTo>
                      <a:lnTo>
                        <a:pt x="807411" y="457738"/>
                      </a:lnTo>
                      <a:lnTo>
                        <a:pt x="806473" y="457159"/>
                      </a:lnTo>
                      <a:lnTo>
                        <a:pt x="804811" y="457575"/>
                      </a:lnTo>
                      <a:lnTo>
                        <a:pt x="802039" y="457469"/>
                      </a:lnTo>
                      <a:lnTo>
                        <a:pt x="800483" y="457184"/>
                      </a:lnTo>
                      <a:lnTo>
                        <a:pt x="798160" y="456638"/>
                      </a:lnTo>
                      <a:lnTo>
                        <a:pt x="794452" y="455326"/>
                      </a:lnTo>
                      <a:lnTo>
                        <a:pt x="791535" y="454087"/>
                      </a:lnTo>
                      <a:lnTo>
                        <a:pt x="787851" y="453850"/>
                      </a:lnTo>
                      <a:lnTo>
                        <a:pt x="785724" y="454095"/>
                      </a:lnTo>
                      <a:lnTo>
                        <a:pt x="779106" y="454331"/>
                      </a:lnTo>
                      <a:lnTo>
                        <a:pt x="773613" y="453027"/>
                      </a:lnTo>
                      <a:lnTo>
                        <a:pt x="769163" y="452783"/>
                      </a:lnTo>
                      <a:lnTo>
                        <a:pt x="766434" y="452864"/>
                      </a:lnTo>
                      <a:lnTo>
                        <a:pt x="765121" y="452701"/>
                      </a:lnTo>
                      <a:lnTo>
                        <a:pt x="762872" y="452718"/>
                      </a:lnTo>
                      <a:lnTo>
                        <a:pt x="759571" y="452424"/>
                      </a:lnTo>
                      <a:lnTo>
                        <a:pt x="755154" y="450419"/>
                      </a:lnTo>
                      <a:lnTo>
                        <a:pt x="753443" y="450313"/>
                      </a:lnTo>
                      <a:lnTo>
                        <a:pt x="752343" y="450387"/>
                      </a:lnTo>
                      <a:lnTo>
                        <a:pt x="744975" y="451862"/>
                      </a:lnTo>
                      <a:lnTo>
                        <a:pt x="741561" y="452204"/>
                      </a:lnTo>
                      <a:lnTo>
                        <a:pt x="734348" y="452033"/>
                      </a:lnTo>
                      <a:lnTo>
                        <a:pt x="727250" y="451870"/>
                      </a:lnTo>
                      <a:lnTo>
                        <a:pt x="724976" y="451560"/>
                      </a:lnTo>
                      <a:lnTo>
                        <a:pt x="723721" y="451723"/>
                      </a:lnTo>
                      <a:lnTo>
                        <a:pt x="721039" y="455260"/>
                      </a:lnTo>
                      <a:lnTo>
                        <a:pt x="719898" y="455806"/>
                      </a:lnTo>
                      <a:lnTo>
                        <a:pt x="713224" y="455040"/>
                      </a:lnTo>
                      <a:lnTo>
                        <a:pt x="705319" y="452709"/>
                      </a:lnTo>
                      <a:lnTo>
                        <a:pt x="699614" y="450159"/>
                      </a:lnTo>
                      <a:lnTo>
                        <a:pt x="694765" y="447461"/>
                      </a:lnTo>
                      <a:lnTo>
                        <a:pt x="688359" y="443199"/>
                      </a:lnTo>
                      <a:lnTo>
                        <a:pt x="684512" y="441088"/>
                      </a:lnTo>
                      <a:lnTo>
                        <a:pt x="683966" y="442302"/>
                      </a:lnTo>
                      <a:lnTo>
                        <a:pt x="682948" y="442694"/>
                      </a:lnTo>
                      <a:lnTo>
                        <a:pt x="681473" y="442881"/>
                      </a:lnTo>
                      <a:lnTo>
                        <a:pt x="678066" y="442661"/>
                      </a:lnTo>
                      <a:lnTo>
                        <a:pt x="676501" y="444820"/>
                      </a:lnTo>
                      <a:lnTo>
                        <a:pt x="672353" y="446361"/>
                      </a:lnTo>
                      <a:lnTo>
                        <a:pt x="669704" y="447746"/>
                      </a:lnTo>
                      <a:lnTo>
                        <a:pt x="668327" y="449303"/>
                      </a:lnTo>
                      <a:lnTo>
                        <a:pt x="665695" y="459661"/>
                      </a:lnTo>
                      <a:lnTo>
                        <a:pt x="664994" y="463443"/>
                      </a:lnTo>
                      <a:lnTo>
                        <a:pt x="666762" y="469799"/>
                      </a:lnTo>
                      <a:lnTo>
                        <a:pt x="664741" y="469433"/>
                      </a:lnTo>
                      <a:lnTo>
                        <a:pt x="662370" y="467803"/>
                      </a:lnTo>
                      <a:lnTo>
                        <a:pt x="661547" y="466523"/>
                      </a:lnTo>
                      <a:lnTo>
                        <a:pt x="659264" y="465733"/>
                      </a:lnTo>
                      <a:lnTo>
                        <a:pt x="650944" y="464551"/>
                      </a:lnTo>
                      <a:lnTo>
                        <a:pt x="649395" y="463092"/>
                      </a:lnTo>
                      <a:lnTo>
                        <a:pt x="648409" y="461902"/>
                      </a:lnTo>
                      <a:lnTo>
                        <a:pt x="646257" y="461128"/>
                      </a:lnTo>
                      <a:lnTo>
                        <a:pt x="643210" y="460525"/>
                      </a:lnTo>
                      <a:lnTo>
                        <a:pt x="636576" y="457770"/>
                      </a:lnTo>
                      <a:lnTo>
                        <a:pt x="633740" y="457656"/>
                      </a:lnTo>
                      <a:lnTo>
                        <a:pt x="625191" y="455537"/>
                      </a:lnTo>
                      <a:lnTo>
                        <a:pt x="623789" y="455562"/>
                      </a:lnTo>
                      <a:lnTo>
                        <a:pt x="623153" y="455652"/>
                      </a:lnTo>
                      <a:lnTo>
                        <a:pt x="619836" y="457045"/>
                      </a:lnTo>
                      <a:lnTo>
                        <a:pt x="617685" y="457445"/>
                      </a:lnTo>
                      <a:lnTo>
                        <a:pt x="615403" y="456890"/>
                      </a:lnTo>
                      <a:lnTo>
                        <a:pt x="611295" y="458602"/>
                      </a:lnTo>
                      <a:lnTo>
                        <a:pt x="609087" y="460884"/>
                      </a:lnTo>
                      <a:lnTo>
                        <a:pt x="607253" y="463679"/>
                      </a:lnTo>
                      <a:lnTo>
                        <a:pt x="605493" y="465439"/>
                      </a:lnTo>
                      <a:lnTo>
                        <a:pt x="604987" y="468072"/>
                      </a:lnTo>
                      <a:lnTo>
                        <a:pt x="603757" y="469433"/>
                      </a:lnTo>
                      <a:lnTo>
                        <a:pt x="602281" y="472171"/>
                      </a:lnTo>
                      <a:lnTo>
                        <a:pt x="602281" y="473760"/>
                      </a:lnTo>
                      <a:lnTo>
                        <a:pt x="603618" y="475301"/>
                      </a:lnTo>
                      <a:lnTo>
                        <a:pt x="601475" y="476727"/>
                      </a:lnTo>
                      <a:lnTo>
                        <a:pt x="599095" y="477175"/>
                      </a:lnTo>
                      <a:lnTo>
                        <a:pt x="597873" y="478055"/>
                      </a:lnTo>
                      <a:lnTo>
                        <a:pt x="596561" y="480158"/>
                      </a:lnTo>
                      <a:lnTo>
                        <a:pt x="595354" y="481975"/>
                      </a:lnTo>
                      <a:lnTo>
                        <a:pt x="594629" y="482619"/>
                      </a:lnTo>
                      <a:lnTo>
                        <a:pt x="593537" y="482505"/>
                      </a:lnTo>
                      <a:lnTo>
                        <a:pt x="592265" y="481103"/>
                      </a:lnTo>
                      <a:lnTo>
                        <a:pt x="590456" y="481152"/>
                      </a:lnTo>
                      <a:lnTo>
                        <a:pt x="588288" y="482888"/>
                      </a:lnTo>
                      <a:lnTo>
                        <a:pt x="585746" y="485708"/>
                      </a:lnTo>
                      <a:lnTo>
                        <a:pt x="582510" y="490011"/>
                      </a:lnTo>
                      <a:lnTo>
                        <a:pt x="579152" y="492293"/>
                      </a:lnTo>
                      <a:lnTo>
                        <a:pt x="574882" y="494241"/>
                      </a:lnTo>
                      <a:lnTo>
                        <a:pt x="571809" y="495096"/>
                      </a:lnTo>
                      <a:lnTo>
                        <a:pt x="569357" y="496580"/>
                      </a:lnTo>
                      <a:lnTo>
                        <a:pt x="565282" y="499562"/>
                      </a:lnTo>
                      <a:lnTo>
                        <a:pt x="564475" y="501314"/>
                      </a:lnTo>
                      <a:lnTo>
                        <a:pt x="561525" y="502358"/>
                      </a:lnTo>
                      <a:lnTo>
                        <a:pt x="559145" y="503548"/>
                      </a:lnTo>
                      <a:lnTo>
                        <a:pt x="556945" y="505552"/>
                      </a:lnTo>
                      <a:lnTo>
                        <a:pt x="556423" y="509073"/>
                      </a:lnTo>
                      <a:lnTo>
                        <a:pt x="555005" y="511086"/>
                      </a:lnTo>
                      <a:lnTo>
                        <a:pt x="551647" y="513865"/>
                      </a:lnTo>
                      <a:lnTo>
                        <a:pt x="548819" y="516660"/>
                      </a:lnTo>
                      <a:lnTo>
                        <a:pt x="546969" y="519399"/>
                      </a:lnTo>
                      <a:lnTo>
                        <a:pt x="545021" y="522308"/>
                      </a:lnTo>
                      <a:lnTo>
                        <a:pt x="544410" y="523906"/>
                      </a:lnTo>
                      <a:lnTo>
                        <a:pt x="544337" y="526098"/>
                      </a:lnTo>
                      <a:lnTo>
                        <a:pt x="545250" y="527932"/>
                      </a:lnTo>
                      <a:lnTo>
                        <a:pt x="545421" y="529676"/>
                      </a:lnTo>
                      <a:lnTo>
                        <a:pt x="544736" y="530955"/>
                      </a:lnTo>
                      <a:lnTo>
                        <a:pt x="542821" y="531428"/>
                      </a:lnTo>
                      <a:lnTo>
                        <a:pt x="540825" y="531061"/>
                      </a:lnTo>
                      <a:lnTo>
                        <a:pt x="537768" y="529814"/>
                      </a:lnTo>
                      <a:lnTo>
                        <a:pt x="534508" y="527589"/>
                      </a:lnTo>
                      <a:lnTo>
                        <a:pt x="533319" y="526489"/>
                      </a:lnTo>
                      <a:lnTo>
                        <a:pt x="531713" y="524606"/>
                      </a:lnTo>
                      <a:lnTo>
                        <a:pt x="531949" y="522862"/>
                      </a:lnTo>
                      <a:lnTo>
                        <a:pt x="532772" y="519456"/>
                      </a:lnTo>
                      <a:lnTo>
                        <a:pt x="533335" y="517125"/>
                      </a:lnTo>
                      <a:lnTo>
                        <a:pt x="532006" y="516008"/>
                      </a:lnTo>
                      <a:lnTo>
                        <a:pt x="531020" y="514810"/>
                      </a:lnTo>
                      <a:lnTo>
                        <a:pt x="530320" y="513661"/>
                      </a:lnTo>
                      <a:lnTo>
                        <a:pt x="528934" y="511396"/>
                      </a:lnTo>
                      <a:lnTo>
                        <a:pt x="527198" y="511950"/>
                      </a:lnTo>
                      <a:lnTo>
                        <a:pt x="525690" y="512504"/>
                      </a:lnTo>
                      <a:lnTo>
                        <a:pt x="523946" y="511705"/>
                      </a:lnTo>
                      <a:lnTo>
                        <a:pt x="518812" y="512048"/>
                      </a:lnTo>
                      <a:lnTo>
                        <a:pt x="514941" y="512317"/>
                      </a:lnTo>
                      <a:lnTo>
                        <a:pt x="511306" y="512553"/>
                      </a:lnTo>
                      <a:lnTo>
                        <a:pt x="506685" y="512863"/>
                      </a:lnTo>
                      <a:lnTo>
                        <a:pt x="501111" y="513229"/>
                      </a:lnTo>
                      <a:lnTo>
                        <a:pt x="499513" y="512732"/>
                      </a:lnTo>
                      <a:lnTo>
                        <a:pt x="498527" y="511983"/>
                      </a:lnTo>
                      <a:lnTo>
                        <a:pt x="497509" y="508853"/>
                      </a:lnTo>
                      <a:lnTo>
                        <a:pt x="496930" y="506188"/>
                      </a:lnTo>
                      <a:lnTo>
                        <a:pt x="495838" y="501200"/>
                      </a:lnTo>
                      <a:lnTo>
                        <a:pt x="495129" y="497337"/>
                      </a:lnTo>
                      <a:lnTo>
                        <a:pt x="494265" y="492733"/>
                      </a:lnTo>
                      <a:lnTo>
                        <a:pt x="493703" y="487647"/>
                      </a:lnTo>
                      <a:lnTo>
                        <a:pt x="493295" y="484029"/>
                      </a:lnTo>
                      <a:lnTo>
                        <a:pt x="489074" y="483907"/>
                      </a:lnTo>
                      <a:lnTo>
                        <a:pt x="485708" y="483809"/>
                      </a:lnTo>
                      <a:lnTo>
                        <a:pt x="481152" y="483678"/>
                      </a:lnTo>
                      <a:lnTo>
                        <a:pt x="481201" y="480793"/>
                      </a:lnTo>
                      <a:lnTo>
                        <a:pt x="481242" y="477159"/>
                      </a:lnTo>
                      <a:lnTo>
                        <a:pt x="481307" y="473019"/>
                      </a:lnTo>
                      <a:lnTo>
                        <a:pt x="482154" y="467583"/>
                      </a:lnTo>
                      <a:lnTo>
                        <a:pt x="482472" y="463011"/>
                      </a:lnTo>
                      <a:lnTo>
                        <a:pt x="482864" y="457445"/>
                      </a:lnTo>
                      <a:lnTo>
                        <a:pt x="483116" y="453753"/>
                      </a:lnTo>
                      <a:lnTo>
                        <a:pt x="483401" y="449694"/>
                      </a:lnTo>
                      <a:lnTo>
                        <a:pt x="481063" y="450941"/>
                      </a:lnTo>
                      <a:lnTo>
                        <a:pt x="478463" y="452326"/>
                      </a:lnTo>
                      <a:lnTo>
                        <a:pt x="476034" y="453622"/>
                      </a:lnTo>
                      <a:lnTo>
                        <a:pt x="474363" y="450338"/>
                      </a:lnTo>
                      <a:lnTo>
                        <a:pt x="472742" y="447135"/>
                      </a:lnTo>
                      <a:lnTo>
                        <a:pt x="470280" y="442270"/>
                      </a:lnTo>
                      <a:lnTo>
                        <a:pt x="468422" y="438619"/>
                      </a:lnTo>
                      <a:lnTo>
                        <a:pt x="465195" y="436483"/>
                      </a:lnTo>
                      <a:lnTo>
                        <a:pt x="462823" y="434902"/>
                      </a:lnTo>
                      <a:lnTo>
                        <a:pt x="460346" y="432237"/>
                      </a:lnTo>
                      <a:lnTo>
                        <a:pt x="458211" y="429483"/>
                      </a:lnTo>
                      <a:lnTo>
                        <a:pt x="456190" y="426867"/>
                      </a:lnTo>
                      <a:lnTo>
                        <a:pt x="453761" y="424593"/>
                      </a:lnTo>
                      <a:lnTo>
                        <a:pt x="451438" y="425302"/>
                      </a:lnTo>
                      <a:lnTo>
                        <a:pt x="448814" y="426728"/>
                      </a:lnTo>
                      <a:lnTo>
                        <a:pt x="446287" y="428097"/>
                      </a:lnTo>
                      <a:lnTo>
                        <a:pt x="443606" y="429548"/>
                      </a:lnTo>
                      <a:lnTo>
                        <a:pt x="442294" y="430265"/>
                      </a:lnTo>
                      <a:lnTo>
                        <a:pt x="439197" y="429988"/>
                      </a:lnTo>
                      <a:lnTo>
                        <a:pt x="436475" y="429752"/>
                      </a:lnTo>
                      <a:lnTo>
                        <a:pt x="431626" y="429336"/>
                      </a:lnTo>
                      <a:lnTo>
                        <a:pt x="427527" y="428977"/>
                      </a:lnTo>
                      <a:lnTo>
                        <a:pt x="423346" y="428611"/>
                      </a:lnTo>
                      <a:lnTo>
                        <a:pt x="417527" y="428105"/>
                      </a:lnTo>
                      <a:lnTo>
                        <a:pt x="411627" y="427600"/>
                      </a:lnTo>
                      <a:lnTo>
                        <a:pt x="407674" y="428277"/>
                      </a:lnTo>
                      <a:lnTo>
                        <a:pt x="402678" y="429132"/>
                      </a:lnTo>
                      <a:lnTo>
                        <a:pt x="397430" y="430029"/>
                      </a:lnTo>
                      <a:lnTo>
                        <a:pt x="393078" y="430770"/>
                      </a:lnTo>
                      <a:lnTo>
                        <a:pt x="387593" y="431708"/>
                      </a:lnTo>
                      <a:lnTo>
                        <a:pt x="383478" y="432408"/>
                      </a:lnTo>
                      <a:lnTo>
                        <a:pt x="381448" y="432311"/>
                      </a:lnTo>
                      <a:lnTo>
                        <a:pt x="378905" y="429352"/>
                      </a:lnTo>
                      <a:lnTo>
                        <a:pt x="374831" y="424625"/>
                      </a:lnTo>
                      <a:lnTo>
                        <a:pt x="372361" y="421749"/>
                      </a:lnTo>
                      <a:lnTo>
                        <a:pt x="369924" y="418929"/>
                      </a:lnTo>
                      <a:lnTo>
                        <a:pt x="366437" y="414870"/>
                      </a:lnTo>
                      <a:lnTo>
                        <a:pt x="363625" y="411798"/>
                      </a:lnTo>
                      <a:lnTo>
                        <a:pt x="360870" y="408791"/>
                      </a:lnTo>
                      <a:lnTo>
                        <a:pt x="359297" y="406012"/>
                      </a:lnTo>
                      <a:lnTo>
                        <a:pt x="358499" y="402507"/>
                      </a:lnTo>
                      <a:lnTo>
                        <a:pt x="357072" y="400926"/>
                      </a:lnTo>
                      <a:lnTo>
                        <a:pt x="353878" y="398783"/>
                      </a:lnTo>
                      <a:lnTo>
                        <a:pt x="350455" y="396484"/>
                      </a:lnTo>
                      <a:lnTo>
                        <a:pt x="347032" y="394186"/>
                      </a:lnTo>
                      <a:lnTo>
                        <a:pt x="343609" y="391880"/>
                      </a:lnTo>
                      <a:lnTo>
                        <a:pt x="340178" y="389582"/>
                      </a:lnTo>
                      <a:lnTo>
                        <a:pt x="336747" y="387275"/>
                      </a:lnTo>
                      <a:lnTo>
                        <a:pt x="333324" y="384969"/>
                      </a:lnTo>
                      <a:lnTo>
                        <a:pt x="329893" y="382662"/>
                      </a:lnTo>
                      <a:lnTo>
                        <a:pt x="326462" y="380356"/>
                      </a:lnTo>
                      <a:lnTo>
                        <a:pt x="323039" y="378050"/>
                      </a:lnTo>
                      <a:lnTo>
                        <a:pt x="319616" y="375735"/>
                      </a:lnTo>
                      <a:lnTo>
                        <a:pt x="316185" y="373429"/>
                      </a:lnTo>
                      <a:lnTo>
                        <a:pt x="312762" y="371114"/>
                      </a:lnTo>
                      <a:lnTo>
                        <a:pt x="309339" y="368800"/>
                      </a:lnTo>
                      <a:lnTo>
                        <a:pt x="305900" y="366493"/>
                      </a:lnTo>
                      <a:lnTo>
                        <a:pt x="302477" y="364179"/>
                      </a:lnTo>
                      <a:lnTo>
                        <a:pt x="299055" y="361856"/>
                      </a:lnTo>
                      <a:lnTo>
                        <a:pt x="296227" y="360177"/>
                      </a:lnTo>
                      <a:lnTo>
                        <a:pt x="293610" y="360609"/>
                      </a:lnTo>
                      <a:lnTo>
                        <a:pt x="289691" y="361791"/>
                      </a:lnTo>
                      <a:lnTo>
                        <a:pt x="285559" y="363022"/>
                      </a:lnTo>
                      <a:lnTo>
                        <a:pt x="281500" y="364244"/>
                      </a:lnTo>
                      <a:lnTo>
                        <a:pt x="274198" y="366436"/>
                      </a:lnTo>
                      <a:lnTo>
                        <a:pt x="269512" y="367838"/>
                      </a:lnTo>
                      <a:lnTo>
                        <a:pt x="265836" y="369028"/>
                      </a:lnTo>
                      <a:lnTo>
                        <a:pt x="261933" y="370291"/>
                      </a:lnTo>
                      <a:lnTo>
                        <a:pt x="256806" y="371954"/>
                      </a:lnTo>
                      <a:lnTo>
                        <a:pt x="252511" y="373339"/>
                      </a:lnTo>
                      <a:lnTo>
                        <a:pt x="247475" y="374961"/>
                      </a:lnTo>
                      <a:lnTo>
                        <a:pt x="243017" y="376395"/>
                      </a:lnTo>
                      <a:lnTo>
                        <a:pt x="239268" y="377610"/>
                      </a:lnTo>
                      <a:lnTo>
                        <a:pt x="235364" y="378865"/>
                      </a:lnTo>
                      <a:lnTo>
                        <a:pt x="232275" y="379867"/>
                      </a:lnTo>
                      <a:lnTo>
                        <a:pt x="232275" y="387911"/>
                      </a:lnTo>
                      <a:lnTo>
                        <a:pt x="232284" y="395947"/>
                      </a:lnTo>
                      <a:lnTo>
                        <a:pt x="232284" y="403966"/>
                      </a:lnTo>
                      <a:lnTo>
                        <a:pt x="232284" y="411969"/>
                      </a:lnTo>
                      <a:lnTo>
                        <a:pt x="232292" y="419956"/>
                      </a:lnTo>
                      <a:lnTo>
                        <a:pt x="232292" y="427934"/>
                      </a:lnTo>
                      <a:lnTo>
                        <a:pt x="232292" y="435897"/>
                      </a:lnTo>
                      <a:lnTo>
                        <a:pt x="232300" y="443851"/>
                      </a:lnTo>
                      <a:lnTo>
                        <a:pt x="232300" y="451789"/>
                      </a:lnTo>
                      <a:lnTo>
                        <a:pt x="232300" y="459718"/>
                      </a:lnTo>
                      <a:lnTo>
                        <a:pt x="232308" y="467640"/>
                      </a:lnTo>
                      <a:lnTo>
                        <a:pt x="232308" y="475545"/>
                      </a:lnTo>
                      <a:lnTo>
                        <a:pt x="232308" y="483434"/>
                      </a:lnTo>
                      <a:lnTo>
                        <a:pt x="232308" y="491315"/>
                      </a:lnTo>
                      <a:lnTo>
                        <a:pt x="232308" y="499179"/>
                      </a:lnTo>
                      <a:lnTo>
                        <a:pt x="232316" y="507036"/>
                      </a:lnTo>
                      <a:lnTo>
                        <a:pt x="231265" y="506970"/>
                      </a:lnTo>
                      <a:lnTo>
                        <a:pt x="228885" y="507427"/>
                      </a:lnTo>
                      <a:lnTo>
                        <a:pt x="224900" y="508519"/>
                      </a:lnTo>
                      <a:lnTo>
                        <a:pt x="221599" y="509073"/>
                      </a:lnTo>
                      <a:lnTo>
                        <a:pt x="220157" y="508747"/>
                      </a:lnTo>
                      <a:lnTo>
                        <a:pt x="218853" y="507924"/>
                      </a:lnTo>
                      <a:lnTo>
                        <a:pt x="217704" y="506188"/>
                      </a:lnTo>
                      <a:lnTo>
                        <a:pt x="216000" y="504085"/>
                      </a:lnTo>
                      <a:lnTo>
                        <a:pt x="214273" y="502390"/>
                      </a:lnTo>
                      <a:lnTo>
                        <a:pt x="212097" y="498894"/>
                      </a:lnTo>
                      <a:lnTo>
                        <a:pt x="210597" y="496205"/>
                      </a:lnTo>
                      <a:lnTo>
                        <a:pt x="206881" y="490329"/>
                      </a:lnTo>
                      <a:lnTo>
                        <a:pt x="206376" y="488479"/>
                      </a:lnTo>
                      <a:lnTo>
                        <a:pt x="205675" y="486588"/>
                      </a:lnTo>
                      <a:lnTo>
                        <a:pt x="204452" y="485007"/>
                      </a:lnTo>
                      <a:lnTo>
                        <a:pt x="200084" y="481128"/>
                      </a:lnTo>
                      <a:lnTo>
                        <a:pt x="194999" y="477623"/>
                      </a:lnTo>
                      <a:lnTo>
                        <a:pt x="190011" y="474192"/>
                      </a:lnTo>
                      <a:lnTo>
                        <a:pt x="188601" y="473353"/>
                      </a:lnTo>
                      <a:lnTo>
                        <a:pt x="186278" y="472285"/>
                      </a:lnTo>
                      <a:lnTo>
                        <a:pt x="183393" y="472261"/>
                      </a:lnTo>
                      <a:lnTo>
                        <a:pt x="181445" y="472473"/>
                      </a:lnTo>
                      <a:lnTo>
                        <a:pt x="175472" y="473597"/>
                      </a:lnTo>
                      <a:lnTo>
                        <a:pt x="170892" y="474926"/>
                      </a:lnTo>
                      <a:lnTo>
                        <a:pt x="164681" y="476735"/>
                      </a:lnTo>
                      <a:lnTo>
                        <a:pt x="159857" y="478732"/>
                      </a:lnTo>
                      <a:lnTo>
                        <a:pt x="158781" y="479318"/>
                      </a:lnTo>
                      <a:lnTo>
                        <a:pt x="155252" y="481722"/>
                      </a:lnTo>
                      <a:lnTo>
                        <a:pt x="150958" y="485716"/>
                      </a:lnTo>
                      <a:lnTo>
                        <a:pt x="145921" y="491347"/>
                      </a:lnTo>
                      <a:lnTo>
                        <a:pt x="145269" y="487729"/>
                      </a:lnTo>
                      <a:lnTo>
                        <a:pt x="145049" y="482146"/>
                      </a:lnTo>
                      <a:lnTo>
                        <a:pt x="145139" y="480345"/>
                      </a:lnTo>
                      <a:lnTo>
                        <a:pt x="146500" y="475643"/>
                      </a:lnTo>
                      <a:lnTo>
                        <a:pt x="147893" y="472424"/>
                      </a:lnTo>
                      <a:lnTo>
                        <a:pt x="149010" y="469066"/>
                      </a:lnTo>
                      <a:lnTo>
                        <a:pt x="149515" y="464673"/>
                      </a:lnTo>
                      <a:lnTo>
                        <a:pt x="148488" y="457624"/>
                      </a:lnTo>
                      <a:lnTo>
                        <a:pt x="147322" y="456059"/>
                      </a:lnTo>
                      <a:lnTo>
                        <a:pt x="145929" y="455554"/>
                      </a:lnTo>
                      <a:lnTo>
                        <a:pt x="144454" y="455407"/>
                      </a:lnTo>
                      <a:lnTo>
                        <a:pt x="141716" y="455692"/>
                      </a:lnTo>
                      <a:lnTo>
                        <a:pt x="140444" y="456255"/>
                      </a:lnTo>
                      <a:lnTo>
                        <a:pt x="138236" y="453875"/>
                      </a:lnTo>
                      <a:lnTo>
                        <a:pt x="135554" y="453500"/>
                      </a:lnTo>
                      <a:lnTo>
                        <a:pt x="134136" y="454168"/>
                      </a:lnTo>
                      <a:lnTo>
                        <a:pt x="132710" y="454511"/>
                      </a:lnTo>
                      <a:lnTo>
                        <a:pt x="131154" y="453850"/>
                      </a:lnTo>
                      <a:lnTo>
                        <a:pt x="129809" y="452449"/>
                      </a:lnTo>
                      <a:lnTo>
                        <a:pt x="128986" y="450925"/>
                      </a:lnTo>
                      <a:lnTo>
                        <a:pt x="128350" y="449205"/>
                      </a:lnTo>
                      <a:lnTo>
                        <a:pt x="126247" y="445758"/>
                      </a:lnTo>
                      <a:lnTo>
                        <a:pt x="124161" y="443875"/>
                      </a:lnTo>
                      <a:lnTo>
                        <a:pt x="121627" y="443451"/>
                      </a:lnTo>
                      <a:lnTo>
                        <a:pt x="117495" y="443565"/>
                      </a:lnTo>
                      <a:lnTo>
                        <a:pt x="116199" y="443329"/>
                      </a:lnTo>
                      <a:lnTo>
                        <a:pt x="116126" y="441373"/>
                      </a:lnTo>
                      <a:lnTo>
                        <a:pt x="116639" y="437046"/>
                      </a:lnTo>
                      <a:lnTo>
                        <a:pt x="116647" y="434788"/>
                      </a:lnTo>
                      <a:lnTo>
                        <a:pt x="116354" y="432645"/>
                      </a:lnTo>
                      <a:lnTo>
                        <a:pt x="115669" y="430893"/>
                      </a:lnTo>
                      <a:lnTo>
                        <a:pt x="114797" y="429369"/>
                      </a:lnTo>
                      <a:lnTo>
                        <a:pt x="112328" y="426867"/>
                      </a:lnTo>
                      <a:lnTo>
                        <a:pt x="110470" y="423346"/>
                      </a:lnTo>
                      <a:lnTo>
                        <a:pt x="107373" y="416093"/>
                      </a:lnTo>
                      <a:lnTo>
                        <a:pt x="104667" y="407935"/>
                      </a:lnTo>
                      <a:lnTo>
                        <a:pt x="103477" y="406712"/>
                      </a:lnTo>
                      <a:lnTo>
                        <a:pt x="101057" y="405417"/>
                      </a:lnTo>
                      <a:lnTo>
                        <a:pt x="95767" y="404382"/>
                      </a:lnTo>
                      <a:lnTo>
                        <a:pt x="92279" y="403306"/>
                      </a:lnTo>
                      <a:lnTo>
                        <a:pt x="90902" y="402271"/>
                      </a:lnTo>
                      <a:lnTo>
                        <a:pt x="90332" y="400478"/>
                      </a:lnTo>
                      <a:lnTo>
                        <a:pt x="90340" y="398555"/>
                      </a:lnTo>
                      <a:lnTo>
                        <a:pt x="90625" y="396281"/>
                      </a:lnTo>
                      <a:lnTo>
                        <a:pt x="91448" y="394357"/>
                      </a:lnTo>
                      <a:lnTo>
                        <a:pt x="94235" y="392866"/>
                      </a:lnTo>
                      <a:lnTo>
                        <a:pt x="100250" y="392540"/>
                      </a:lnTo>
                      <a:lnTo>
                        <a:pt x="105409" y="392703"/>
                      </a:lnTo>
                      <a:lnTo>
                        <a:pt x="110087" y="396142"/>
                      </a:lnTo>
                      <a:lnTo>
                        <a:pt x="111619" y="396933"/>
                      </a:lnTo>
                      <a:lnTo>
                        <a:pt x="113265" y="397161"/>
                      </a:lnTo>
                      <a:lnTo>
                        <a:pt x="116582" y="396077"/>
                      </a:lnTo>
                      <a:lnTo>
                        <a:pt x="118212" y="395775"/>
                      </a:lnTo>
                      <a:lnTo>
                        <a:pt x="122344" y="396126"/>
                      </a:lnTo>
                      <a:lnTo>
                        <a:pt x="121121" y="394496"/>
                      </a:lnTo>
                      <a:lnTo>
                        <a:pt x="119573" y="393640"/>
                      </a:lnTo>
                      <a:lnTo>
                        <a:pt x="117967" y="393714"/>
                      </a:lnTo>
                      <a:lnTo>
                        <a:pt x="116574" y="393053"/>
                      </a:lnTo>
                      <a:lnTo>
                        <a:pt x="114292" y="389899"/>
                      </a:lnTo>
                      <a:lnTo>
                        <a:pt x="110323" y="386305"/>
                      </a:lnTo>
                      <a:lnTo>
                        <a:pt x="109402" y="384822"/>
                      </a:lnTo>
                      <a:lnTo>
                        <a:pt x="109125" y="382443"/>
                      </a:lnTo>
                      <a:lnTo>
                        <a:pt x="109891" y="380389"/>
                      </a:lnTo>
                      <a:lnTo>
                        <a:pt x="112711" y="378286"/>
                      </a:lnTo>
                      <a:lnTo>
                        <a:pt x="115091" y="375426"/>
                      </a:lnTo>
                      <a:lnTo>
                        <a:pt x="116182" y="371628"/>
                      </a:lnTo>
                      <a:lnTo>
                        <a:pt x="117160" y="369876"/>
                      </a:lnTo>
                      <a:lnTo>
                        <a:pt x="119206" y="367121"/>
                      </a:lnTo>
                      <a:lnTo>
                        <a:pt x="122278" y="367651"/>
                      </a:lnTo>
                      <a:lnTo>
                        <a:pt x="127063" y="365662"/>
                      </a:lnTo>
                      <a:lnTo>
                        <a:pt x="134911" y="366053"/>
                      </a:lnTo>
                      <a:lnTo>
                        <a:pt x="144275" y="365483"/>
                      </a:lnTo>
                      <a:lnTo>
                        <a:pt x="146858" y="365695"/>
                      </a:lnTo>
                      <a:lnTo>
                        <a:pt x="152832" y="367626"/>
                      </a:lnTo>
                      <a:lnTo>
                        <a:pt x="156271" y="368466"/>
                      </a:lnTo>
                      <a:lnTo>
                        <a:pt x="160444" y="368898"/>
                      </a:lnTo>
                      <a:lnTo>
                        <a:pt x="163459" y="368034"/>
                      </a:lnTo>
                      <a:lnTo>
                        <a:pt x="160615" y="365385"/>
                      </a:lnTo>
                      <a:lnTo>
                        <a:pt x="154462" y="362239"/>
                      </a:lnTo>
                      <a:lnTo>
                        <a:pt x="152881" y="359558"/>
                      </a:lnTo>
                      <a:lnTo>
                        <a:pt x="155709" y="352272"/>
                      </a:lnTo>
                      <a:lnTo>
                        <a:pt x="159531" y="345622"/>
                      </a:lnTo>
                      <a:lnTo>
                        <a:pt x="161854" y="337709"/>
                      </a:lnTo>
                      <a:lnTo>
                        <a:pt x="161201" y="329836"/>
                      </a:lnTo>
                      <a:lnTo>
                        <a:pt x="160077" y="327660"/>
                      </a:lnTo>
                      <a:lnTo>
                        <a:pt x="160444" y="325109"/>
                      </a:lnTo>
                      <a:lnTo>
                        <a:pt x="161772" y="322941"/>
                      </a:lnTo>
                      <a:lnTo>
                        <a:pt x="162709" y="320782"/>
                      </a:lnTo>
                      <a:lnTo>
                        <a:pt x="161902" y="318190"/>
                      </a:lnTo>
                      <a:lnTo>
                        <a:pt x="160216" y="314131"/>
                      </a:lnTo>
                      <a:lnTo>
                        <a:pt x="159352" y="312827"/>
                      </a:lnTo>
                      <a:lnTo>
                        <a:pt x="156410" y="310635"/>
                      </a:lnTo>
                      <a:lnTo>
                        <a:pt x="150493" y="310529"/>
                      </a:lnTo>
                      <a:lnTo>
                        <a:pt x="145676" y="309339"/>
                      </a:lnTo>
                      <a:lnTo>
                        <a:pt x="144112" y="310301"/>
                      </a:lnTo>
                      <a:lnTo>
                        <a:pt x="143240" y="311776"/>
                      </a:lnTo>
                      <a:lnTo>
                        <a:pt x="142139" y="312746"/>
                      </a:lnTo>
                      <a:lnTo>
                        <a:pt x="138374" y="314710"/>
                      </a:lnTo>
                      <a:lnTo>
                        <a:pt x="137119" y="315101"/>
                      </a:lnTo>
                      <a:lnTo>
                        <a:pt x="135815" y="314702"/>
                      </a:lnTo>
                      <a:lnTo>
                        <a:pt x="133965" y="312493"/>
                      </a:lnTo>
                      <a:lnTo>
                        <a:pt x="132335" y="312738"/>
                      </a:lnTo>
                      <a:lnTo>
                        <a:pt x="127356" y="311361"/>
                      </a:lnTo>
                      <a:lnTo>
                        <a:pt x="125017" y="308361"/>
                      </a:lnTo>
                      <a:lnTo>
                        <a:pt x="124161" y="307938"/>
                      </a:lnTo>
                      <a:lnTo>
                        <a:pt x="116109" y="305542"/>
                      </a:lnTo>
                      <a:lnTo>
                        <a:pt x="113314" y="305085"/>
                      </a:lnTo>
                      <a:lnTo>
                        <a:pt x="106916" y="307563"/>
                      </a:lnTo>
                      <a:lnTo>
                        <a:pt x="102271" y="310733"/>
                      </a:lnTo>
                      <a:lnTo>
                        <a:pt x="100967" y="311198"/>
                      </a:lnTo>
                      <a:lnTo>
                        <a:pt x="98563" y="313211"/>
                      </a:lnTo>
                      <a:lnTo>
                        <a:pt x="97210" y="313528"/>
                      </a:lnTo>
                      <a:lnTo>
                        <a:pt x="95808" y="313186"/>
                      </a:lnTo>
                      <a:lnTo>
                        <a:pt x="94496" y="313308"/>
                      </a:lnTo>
                      <a:lnTo>
                        <a:pt x="91701" y="316316"/>
                      </a:lnTo>
                      <a:lnTo>
                        <a:pt x="86623" y="319820"/>
                      </a:lnTo>
                      <a:lnTo>
                        <a:pt x="84089" y="322029"/>
                      </a:lnTo>
                      <a:lnTo>
                        <a:pt x="81277" y="323406"/>
                      </a:lnTo>
                      <a:lnTo>
                        <a:pt x="78156" y="324253"/>
                      </a:lnTo>
                      <a:lnTo>
                        <a:pt x="74945" y="324400"/>
                      </a:lnTo>
                      <a:lnTo>
                        <a:pt x="73779" y="325191"/>
                      </a:lnTo>
                      <a:lnTo>
                        <a:pt x="70128" y="325476"/>
                      </a:lnTo>
                      <a:lnTo>
                        <a:pt x="67903" y="326120"/>
                      </a:lnTo>
                      <a:lnTo>
                        <a:pt x="67822" y="327318"/>
                      </a:lnTo>
                      <a:lnTo>
                        <a:pt x="68278" y="329983"/>
                      </a:lnTo>
                      <a:lnTo>
                        <a:pt x="66388" y="329037"/>
                      </a:lnTo>
                      <a:lnTo>
                        <a:pt x="64399" y="330855"/>
                      </a:lnTo>
                      <a:lnTo>
                        <a:pt x="65051" y="332582"/>
                      </a:lnTo>
                      <a:lnTo>
                        <a:pt x="63861" y="332167"/>
                      </a:lnTo>
                      <a:lnTo>
                        <a:pt x="58279" y="328858"/>
                      </a:lnTo>
                      <a:lnTo>
                        <a:pt x="53699" y="326519"/>
                      </a:lnTo>
                      <a:lnTo>
                        <a:pt x="49624" y="324441"/>
                      </a:lnTo>
                      <a:lnTo>
                        <a:pt x="49029" y="324066"/>
                      </a:lnTo>
                      <a:lnTo>
                        <a:pt x="47920" y="323047"/>
                      </a:lnTo>
                      <a:lnTo>
                        <a:pt x="47114" y="321474"/>
                      </a:lnTo>
                      <a:lnTo>
                        <a:pt x="46951" y="319747"/>
                      </a:lnTo>
                      <a:lnTo>
                        <a:pt x="47350" y="318475"/>
                      </a:lnTo>
                      <a:lnTo>
                        <a:pt x="48336" y="317668"/>
                      </a:lnTo>
                      <a:lnTo>
                        <a:pt x="49510" y="317359"/>
                      </a:lnTo>
                      <a:lnTo>
                        <a:pt x="50544" y="317620"/>
                      </a:lnTo>
                      <a:lnTo>
                        <a:pt x="51702" y="318394"/>
                      </a:lnTo>
                      <a:lnTo>
                        <a:pt x="53747" y="319331"/>
                      </a:lnTo>
                      <a:lnTo>
                        <a:pt x="56404" y="319502"/>
                      </a:lnTo>
                      <a:lnTo>
                        <a:pt x="58067" y="318777"/>
                      </a:lnTo>
                      <a:lnTo>
                        <a:pt x="58287" y="317049"/>
                      </a:lnTo>
                      <a:lnTo>
                        <a:pt x="55117" y="310635"/>
                      </a:lnTo>
                      <a:lnTo>
                        <a:pt x="52215" y="305452"/>
                      </a:lnTo>
                      <a:lnTo>
                        <a:pt x="49387" y="299682"/>
                      </a:lnTo>
                      <a:lnTo>
                        <a:pt x="48198" y="297596"/>
                      </a:lnTo>
                      <a:lnTo>
                        <a:pt x="44734" y="292755"/>
                      </a:lnTo>
                      <a:lnTo>
                        <a:pt x="41336" y="287995"/>
                      </a:lnTo>
                      <a:lnTo>
                        <a:pt x="38638" y="283741"/>
                      </a:lnTo>
                      <a:lnTo>
                        <a:pt x="37220" y="282429"/>
                      </a:lnTo>
                      <a:lnTo>
                        <a:pt x="32876" y="281883"/>
                      </a:lnTo>
                      <a:lnTo>
                        <a:pt x="24580" y="280832"/>
                      </a:lnTo>
                      <a:lnTo>
                        <a:pt x="21646" y="280334"/>
                      </a:lnTo>
                      <a:lnTo>
                        <a:pt x="19298" y="281590"/>
                      </a:lnTo>
                      <a:lnTo>
                        <a:pt x="16943" y="282584"/>
                      </a:lnTo>
                      <a:lnTo>
                        <a:pt x="14710" y="280734"/>
                      </a:lnTo>
                      <a:lnTo>
                        <a:pt x="12942" y="277710"/>
                      </a:lnTo>
                      <a:lnTo>
                        <a:pt x="12013" y="275168"/>
                      </a:lnTo>
                      <a:lnTo>
                        <a:pt x="12461" y="272568"/>
                      </a:lnTo>
                      <a:lnTo>
                        <a:pt x="12648" y="268729"/>
                      </a:lnTo>
                      <a:lnTo>
                        <a:pt x="11295" y="264940"/>
                      </a:lnTo>
                      <a:lnTo>
                        <a:pt x="9796" y="263073"/>
                      </a:lnTo>
                      <a:lnTo>
                        <a:pt x="6047" y="261672"/>
                      </a:lnTo>
                      <a:lnTo>
                        <a:pt x="1288" y="258477"/>
                      </a:lnTo>
                      <a:lnTo>
                        <a:pt x="0" y="252658"/>
                      </a:lnTo>
                      <a:lnTo>
                        <a:pt x="2314" y="244313"/>
                      </a:lnTo>
                      <a:lnTo>
                        <a:pt x="6047" y="238380"/>
                      </a:lnTo>
                      <a:lnTo>
                        <a:pt x="8753" y="235894"/>
                      </a:lnTo>
                      <a:lnTo>
                        <a:pt x="10040" y="233726"/>
                      </a:lnTo>
                      <a:lnTo>
                        <a:pt x="10464" y="231852"/>
                      </a:lnTo>
                      <a:lnTo>
                        <a:pt x="10146" y="230051"/>
                      </a:lnTo>
                      <a:lnTo>
                        <a:pt x="8541" y="228135"/>
                      </a:lnTo>
                      <a:lnTo>
                        <a:pt x="6047" y="226286"/>
                      </a:lnTo>
                      <a:lnTo>
                        <a:pt x="4792" y="223995"/>
                      </a:lnTo>
                      <a:lnTo>
                        <a:pt x="5305" y="219089"/>
                      </a:lnTo>
                      <a:lnTo>
                        <a:pt x="6951" y="212015"/>
                      </a:lnTo>
                      <a:lnTo>
                        <a:pt x="9494" y="206351"/>
                      </a:lnTo>
                      <a:lnTo>
                        <a:pt x="12909" y="203205"/>
                      </a:lnTo>
                      <a:lnTo>
                        <a:pt x="15851" y="200956"/>
                      </a:lnTo>
                      <a:lnTo>
                        <a:pt x="17017" y="198853"/>
                      </a:lnTo>
                      <a:lnTo>
                        <a:pt x="17073" y="195871"/>
                      </a:lnTo>
                      <a:lnTo>
                        <a:pt x="17008" y="193051"/>
                      </a:lnTo>
                      <a:lnTo>
                        <a:pt x="17799" y="191013"/>
                      </a:lnTo>
                      <a:lnTo>
                        <a:pt x="19021" y="189384"/>
                      </a:lnTo>
                      <a:lnTo>
                        <a:pt x="20334" y="187925"/>
                      </a:lnTo>
                      <a:lnTo>
                        <a:pt x="22183" y="186287"/>
                      </a:lnTo>
                      <a:lnTo>
                        <a:pt x="24572" y="185895"/>
                      </a:lnTo>
                      <a:lnTo>
                        <a:pt x="27204" y="187191"/>
                      </a:lnTo>
                      <a:lnTo>
                        <a:pt x="30765" y="190696"/>
                      </a:lnTo>
                      <a:lnTo>
                        <a:pt x="36014" y="197582"/>
                      </a:lnTo>
                      <a:lnTo>
                        <a:pt x="39005" y="202089"/>
                      </a:lnTo>
                      <a:lnTo>
                        <a:pt x="40072" y="203474"/>
                      </a:lnTo>
                      <a:lnTo>
                        <a:pt x="42810" y="206164"/>
                      </a:lnTo>
                      <a:lnTo>
                        <a:pt x="45280" y="207248"/>
                      </a:lnTo>
                      <a:lnTo>
                        <a:pt x="49395" y="205569"/>
                      </a:lnTo>
                      <a:lnTo>
                        <a:pt x="53332" y="203613"/>
                      </a:lnTo>
                      <a:lnTo>
                        <a:pt x="54595" y="202366"/>
                      </a:lnTo>
                      <a:lnTo>
                        <a:pt x="55418" y="200516"/>
                      </a:lnTo>
                      <a:lnTo>
                        <a:pt x="54791" y="197354"/>
                      </a:lnTo>
                      <a:lnTo>
                        <a:pt x="53968" y="195292"/>
                      </a:lnTo>
                      <a:lnTo>
                        <a:pt x="53096" y="192668"/>
                      </a:lnTo>
                      <a:lnTo>
                        <a:pt x="51889" y="188088"/>
                      </a:lnTo>
                      <a:lnTo>
                        <a:pt x="51034" y="180900"/>
                      </a:lnTo>
                      <a:lnTo>
                        <a:pt x="50023" y="178618"/>
                      </a:lnTo>
                      <a:lnTo>
                        <a:pt x="50765" y="178357"/>
                      </a:lnTo>
                      <a:lnTo>
                        <a:pt x="52745" y="178830"/>
                      </a:lnTo>
                      <a:lnTo>
                        <a:pt x="54570" y="179025"/>
                      </a:lnTo>
                      <a:lnTo>
                        <a:pt x="57178" y="177452"/>
                      </a:lnTo>
                      <a:lnTo>
                        <a:pt x="60764" y="174461"/>
                      </a:lnTo>
                      <a:lnTo>
                        <a:pt x="67333" y="169857"/>
                      </a:lnTo>
                      <a:lnTo>
                        <a:pt x="68735" y="166809"/>
                      </a:lnTo>
                      <a:lnTo>
                        <a:pt x="69843" y="163410"/>
                      </a:lnTo>
                      <a:lnTo>
                        <a:pt x="71677" y="161332"/>
                      </a:lnTo>
                      <a:lnTo>
                        <a:pt x="75850" y="160648"/>
                      </a:lnTo>
                      <a:lnTo>
                        <a:pt x="79721" y="159564"/>
                      </a:lnTo>
                      <a:lnTo>
                        <a:pt x="82451" y="157159"/>
                      </a:lnTo>
                      <a:lnTo>
                        <a:pt x="86729" y="155049"/>
                      </a:lnTo>
                      <a:lnTo>
                        <a:pt x="90258" y="153753"/>
                      </a:lnTo>
                      <a:lnTo>
                        <a:pt x="91798" y="152571"/>
                      </a:lnTo>
                      <a:lnTo>
                        <a:pt x="92899" y="150795"/>
                      </a:lnTo>
                      <a:lnTo>
                        <a:pt x="96933" y="145782"/>
                      </a:lnTo>
                      <a:lnTo>
                        <a:pt x="100095" y="142702"/>
                      </a:lnTo>
                      <a:lnTo>
                        <a:pt x="102890" y="139523"/>
                      </a:lnTo>
                      <a:lnTo>
                        <a:pt x="103828" y="137519"/>
                      </a:lnTo>
                      <a:lnTo>
                        <a:pt x="106020" y="137893"/>
                      </a:lnTo>
                      <a:lnTo>
                        <a:pt x="109378" y="139279"/>
                      </a:lnTo>
                      <a:lnTo>
                        <a:pt x="112988" y="140542"/>
                      </a:lnTo>
                      <a:lnTo>
                        <a:pt x="115620" y="142506"/>
                      </a:lnTo>
                      <a:lnTo>
                        <a:pt x="116134" y="144503"/>
                      </a:lnTo>
                      <a:lnTo>
                        <a:pt x="116394" y="146084"/>
                      </a:lnTo>
                      <a:lnTo>
                        <a:pt x="117470" y="146899"/>
                      </a:lnTo>
                      <a:lnTo>
                        <a:pt x="118750" y="147046"/>
                      </a:lnTo>
                      <a:lnTo>
                        <a:pt x="120665" y="146654"/>
                      </a:lnTo>
                      <a:lnTo>
                        <a:pt x="124031" y="146581"/>
                      </a:lnTo>
                      <a:lnTo>
                        <a:pt x="128154" y="143981"/>
                      </a:lnTo>
                      <a:lnTo>
                        <a:pt x="133900" y="139613"/>
                      </a:lnTo>
                      <a:lnTo>
                        <a:pt x="139165" y="138252"/>
                      </a:lnTo>
                      <a:lnTo>
                        <a:pt x="141936" y="139287"/>
                      </a:lnTo>
                      <a:lnTo>
                        <a:pt x="144218" y="142514"/>
                      </a:lnTo>
                      <a:lnTo>
                        <a:pt x="146035" y="145538"/>
                      </a:lnTo>
                      <a:lnTo>
                        <a:pt x="147901" y="146663"/>
                      </a:lnTo>
                      <a:lnTo>
                        <a:pt x="149050" y="146695"/>
                      </a:lnTo>
                      <a:lnTo>
                        <a:pt x="149491" y="146744"/>
                      </a:lnTo>
                      <a:lnTo>
                        <a:pt x="151797" y="146059"/>
                      </a:lnTo>
                      <a:lnTo>
                        <a:pt x="151968" y="146059"/>
                      </a:lnTo>
                      <a:lnTo>
                        <a:pt x="154087" y="146190"/>
                      </a:lnTo>
                      <a:lnTo>
                        <a:pt x="156124" y="147209"/>
                      </a:lnTo>
                      <a:lnTo>
                        <a:pt x="159482" y="147323"/>
                      </a:lnTo>
                      <a:lnTo>
                        <a:pt x="164177" y="146540"/>
                      </a:lnTo>
                      <a:lnTo>
                        <a:pt x="164673" y="146223"/>
                      </a:lnTo>
                      <a:lnTo>
                        <a:pt x="166915" y="146638"/>
                      </a:lnTo>
                      <a:lnTo>
                        <a:pt x="169661" y="148032"/>
                      </a:lnTo>
                      <a:lnTo>
                        <a:pt x="171797" y="149702"/>
                      </a:lnTo>
                      <a:lnTo>
                        <a:pt x="175602" y="155138"/>
                      </a:lnTo>
                      <a:lnTo>
                        <a:pt x="177803" y="156540"/>
                      </a:lnTo>
                      <a:lnTo>
                        <a:pt x="182277" y="158472"/>
                      </a:lnTo>
                      <a:lnTo>
                        <a:pt x="184380" y="160167"/>
                      </a:lnTo>
                      <a:lnTo>
                        <a:pt x="186816" y="162897"/>
                      </a:lnTo>
                      <a:lnTo>
                        <a:pt x="188088" y="164551"/>
                      </a:lnTo>
                      <a:lnTo>
                        <a:pt x="190728" y="167550"/>
                      </a:lnTo>
                      <a:lnTo>
                        <a:pt x="193800" y="172456"/>
                      </a:lnTo>
                      <a:lnTo>
                        <a:pt x="194339" y="176360"/>
                      </a:lnTo>
                      <a:lnTo>
                        <a:pt x="195031" y="179661"/>
                      </a:lnTo>
                      <a:lnTo>
                        <a:pt x="196181" y="181218"/>
                      </a:lnTo>
                      <a:lnTo>
                        <a:pt x="197118" y="181421"/>
                      </a:lnTo>
                      <a:lnTo>
                        <a:pt x="198136" y="180875"/>
                      </a:lnTo>
                      <a:lnTo>
                        <a:pt x="199122" y="179376"/>
                      </a:lnTo>
                      <a:lnTo>
                        <a:pt x="199465" y="176865"/>
                      </a:lnTo>
                      <a:lnTo>
                        <a:pt x="199163" y="172432"/>
                      </a:lnTo>
                      <a:lnTo>
                        <a:pt x="198381" y="168814"/>
                      </a:lnTo>
                      <a:lnTo>
                        <a:pt x="197370" y="167648"/>
                      </a:lnTo>
                      <a:lnTo>
                        <a:pt x="196889" y="166377"/>
                      </a:lnTo>
                      <a:lnTo>
                        <a:pt x="197549" y="164755"/>
                      </a:lnTo>
                      <a:lnTo>
                        <a:pt x="199253" y="163973"/>
                      </a:lnTo>
                      <a:lnTo>
                        <a:pt x="201372" y="164470"/>
                      </a:lnTo>
                      <a:lnTo>
                        <a:pt x="204876" y="166556"/>
                      </a:lnTo>
                      <a:lnTo>
                        <a:pt x="208511" y="169180"/>
                      </a:lnTo>
                      <a:lnTo>
                        <a:pt x="212993" y="173769"/>
                      </a:lnTo>
                      <a:lnTo>
                        <a:pt x="217109" y="176686"/>
                      </a:lnTo>
                      <a:lnTo>
                        <a:pt x="221599" y="179009"/>
                      </a:lnTo>
                      <a:lnTo>
                        <a:pt x="225169" y="179693"/>
                      </a:lnTo>
                      <a:lnTo>
                        <a:pt x="227932" y="178993"/>
                      </a:lnTo>
                      <a:lnTo>
                        <a:pt x="231191" y="177094"/>
                      </a:lnTo>
                      <a:lnTo>
                        <a:pt x="234174" y="174901"/>
                      </a:lnTo>
                      <a:lnTo>
                        <a:pt x="235535" y="172603"/>
                      </a:lnTo>
                      <a:lnTo>
                        <a:pt x="236513" y="170093"/>
                      </a:lnTo>
                      <a:lnTo>
                        <a:pt x="241012" y="166727"/>
                      </a:lnTo>
                      <a:lnTo>
                        <a:pt x="245128" y="163671"/>
                      </a:lnTo>
                      <a:lnTo>
                        <a:pt x="247002" y="164225"/>
                      </a:lnTo>
                      <a:lnTo>
                        <a:pt x="248322" y="165089"/>
                      </a:lnTo>
                      <a:lnTo>
                        <a:pt x="252552" y="163223"/>
                      </a:lnTo>
                      <a:lnTo>
                        <a:pt x="254019" y="162718"/>
                      </a:lnTo>
                      <a:lnTo>
                        <a:pt x="258037" y="161992"/>
                      </a:lnTo>
                      <a:lnTo>
                        <a:pt x="262193" y="163060"/>
                      </a:lnTo>
                      <a:lnTo>
                        <a:pt x="265494" y="166352"/>
                      </a:lnTo>
                      <a:lnTo>
                        <a:pt x="268721" y="168471"/>
                      </a:lnTo>
                      <a:lnTo>
                        <a:pt x="271590" y="168227"/>
                      </a:lnTo>
                      <a:lnTo>
                        <a:pt x="273970" y="167135"/>
                      </a:lnTo>
                      <a:lnTo>
                        <a:pt x="275534" y="165089"/>
                      </a:lnTo>
                      <a:lnTo>
                        <a:pt x="276716" y="162669"/>
                      </a:lnTo>
                      <a:lnTo>
                        <a:pt x="278314" y="161120"/>
                      </a:lnTo>
                      <a:lnTo>
                        <a:pt x="278558" y="161022"/>
                      </a:lnTo>
                      <a:lnTo>
                        <a:pt x="283668" y="161862"/>
                      </a:lnTo>
                      <a:lnTo>
                        <a:pt x="286895" y="161740"/>
                      </a:lnTo>
                      <a:lnTo>
                        <a:pt x="287229" y="161389"/>
                      </a:lnTo>
                      <a:lnTo>
                        <a:pt x="291467" y="162049"/>
                      </a:lnTo>
                      <a:lnTo>
                        <a:pt x="296137" y="165464"/>
                      </a:lnTo>
                      <a:lnTo>
                        <a:pt x="299046" y="169237"/>
                      </a:lnTo>
                      <a:lnTo>
                        <a:pt x="302746" y="174046"/>
                      </a:lnTo>
                      <a:lnTo>
                        <a:pt x="304474" y="175610"/>
                      </a:lnTo>
                      <a:lnTo>
                        <a:pt x="306976" y="176287"/>
                      </a:lnTo>
                      <a:lnTo>
                        <a:pt x="308956" y="176580"/>
                      </a:lnTo>
                      <a:lnTo>
                        <a:pt x="311605" y="177322"/>
                      </a:lnTo>
                      <a:lnTo>
                        <a:pt x="318573" y="178332"/>
                      </a:lnTo>
                      <a:lnTo>
                        <a:pt x="319641" y="178919"/>
                      </a:lnTo>
                      <a:lnTo>
                        <a:pt x="320350" y="179710"/>
                      </a:lnTo>
                      <a:lnTo>
                        <a:pt x="319706" y="182334"/>
                      </a:lnTo>
                      <a:lnTo>
                        <a:pt x="320325" y="183002"/>
                      </a:lnTo>
                      <a:lnTo>
                        <a:pt x="325989" y="181136"/>
                      </a:lnTo>
                      <a:lnTo>
                        <a:pt x="327505" y="179742"/>
                      </a:lnTo>
                      <a:lnTo>
                        <a:pt x="329371" y="175773"/>
                      </a:lnTo>
                      <a:lnTo>
                        <a:pt x="331042" y="171780"/>
                      </a:lnTo>
                      <a:lnTo>
                        <a:pt x="332273" y="170289"/>
                      </a:lnTo>
                      <a:lnTo>
                        <a:pt x="333601" y="169897"/>
                      </a:lnTo>
                      <a:lnTo>
                        <a:pt x="334929" y="170492"/>
                      </a:lnTo>
                      <a:lnTo>
                        <a:pt x="336779" y="172864"/>
                      </a:lnTo>
                      <a:lnTo>
                        <a:pt x="339298" y="175268"/>
                      </a:lnTo>
                      <a:lnTo>
                        <a:pt x="342688" y="176181"/>
                      </a:lnTo>
                      <a:lnTo>
                        <a:pt x="344774" y="176540"/>
                      </a:lnTo>
                      <a:lnTo>
                        <a:pt x="347994" y="176743"/>
                      </a:lnTo>
                      <a:lnTo>
                        <a:pt x="355532" y="175570"/>
                      </a:lnTo>
                      <a:lnTo>
                        <a:pt x="362589" y="172668"/>
                      </a:lnTo>
                      <a:lnTo>
                        <a:pt x="366624" y="169498"/>
                      </a:lnTo>
                      <a:lnTo>
                        <a:pt x="368490" y="164755"/>
                      </a:lnTo>
                      <a:lnTo>
                        <a:pt x="369664" y="159352"/>
                      </a:lnTo>
                      <a:lnTo>
                        <a:pt x="371473" y="155945"/>
                      </a:lnTo>
                      <a:lnTo>
                        <a:pt x="370723" y="152449"/>
                      </a:lnTo>
                      <a:lnTo>
                        <a:pt x="367162" y="149124"/>
                      </a:lnTo>
                      <a:lnTo>
                        <a:pt x="365972" y="148121"/>
                      </a:lnTo>
                      <a:lnTo>
                        <a:pt x="357333" y="146255"/>
                      </a:lnTo>
                      <a:lnTo>
                        <a:pt x="356795" y="144910"/>
                      </a:lnTo>
                      <a:lnTo>
                        <a:pt x="356298" y="144601"/>
                      </a:lnTo>
                      <a:lnTo>
                        <a:pt x="347790" y="141659"/>
                      </a:lnTo>
                      <a:lnTo>
                        <a:pt x="343691" y="140387"/>
                      </a:lnTo>
                      <a:lnTo>
                        <a:pt x="342525" y="138448"/>
                      </a:lnTo>
                      <a:lnTo>
                        <a:pt x="341759" y="135889"/>
                      </a:lnTo>
                      <a:lnTo>
                        <a:pt x="339102" y="133607"/>
                      </a:lnTo>
                      <a:lnTo>
                        <a:pt x="333829" y="131537"/>
                      </a:lnTo>
                      <a:lnTo>
                        <a:pt x="332908" y="129964"/>
                      </a:lnTo>
                      <a:lnTo>
                        <a:pt x="333772" y="128366"/>
                      </a:lnTo>
                      <a:lnTo>
                        <a:pt x="337953" y="126582"/>
                      </a:lnTo>
                      <a:lnTo>
                        <a:pt x="342704" y="122833"/>
                      </a:lnTo>
                      <a:lnTo>
                        <a:pt x="344546" y="122067"/>
                      </a:lnTo>
                      <a:lnTo>
                        <a:pt x="348792" y="121896"/>
                      </a:lnTo>
                      <a:lnTo>
                        <a:pt x="352704" y="118831"/>
                      </a:lnTo>
                      <a:lnTo>
                        <a:pt x="355418" y="117079"/>
                      </a:lnTo>
                      <a:lnTo>
                        <a:pt x="356828" y="114985"/>
                      </a:lnTo>
                      <a:lnTo>
                        <a:pt x="356453" y="112833"/>
                      </a:lnTo>
                      <a:lnTo>
                        <a:pt x="352533" y="106321"/>
                      </a:lnTo>
                      <a:lnTo>
                        <a:pt x="351368" y="102369"/>
                      </a:lnTo>
                      <a:lnTo>
                        <a:pt x="352060" y="99810"/>
                      </a:lnTo>
                      <a:lnTo>
                        <a:pt x="354309" y="97023"/>
                      </a:lnTo>
                      <a:lnTo>
                        <a:pt x="355589" y="95499"/>
                      </a:lnTo>
                      <a:lnTo>
                        <a:pt x="357121" y="92760"/>
                      </a:lnTo>
                      <a:lnTo>
                        <a:pt x="358132" y="91301"/>
                      </a:lnTo>
                      <a:lnTo>
                        <a:pt x="362085" y="90674"/>
                      </a:lnTo>
                      <a:lnTo>
                        <a:pt x="366893" y="90421"/>
                      </a:lnTo>
                      <a:lnTo>
                        <a:pt x="370177" y="91073"/>
                      </a:lnTo>
                      <a:lnTo>
                        <a:pt x="374782" y="91416"/>
                      </a:lnTo>
                      <a:lnTo>
                        <a:pt x="378987" y="91921"/>
                      </a:lnTo>
                      <a:lnTo>
                        <a:pt x="381114" y="92377"/>
                      </a:lnTo>
                      <a:lnTo>
                        <a:pt x="382671" y="91538"/>
                      </a:lnTo>
                      <a:lnTo>
                        <a:pt x="383803" y="90071"/>
                      </a:lnTo>
                      <a:lnTo>
                        <a:pt x="383755" y="88123"/>
                      </a:lnTo>
                      <a:lnTo>
                        <a:pt x="382117" y="86240"/>
                      </a:lnTo>
                      <a:lnTo>
                        <a:pt x="375947" y="83763"/>
                      </a:lnTo>
                      <a:lnTo>
                        <a:pt x="373315" y="81726"/>
                      </a:lnTo>
                      <a:lnTo>
                        <a:pt x="371245" y="81946"/>
                      </a:lnTo>
                      <a:lnTo>
                        <a:pt x="367781" y="81318"/>
                      </a:lnTo>
                      <a:lnTo>
                        <a:pt x="364660" y="79973"/>
                      </a:lnTo>
                      <a:lnTo>
                        <a:pt x="361881" y="79533"/>
                      </a:lnTo>
                      <a:lnTo>
                        <a:pt x="360984" y="77667"/>
                      </a:lnTo>
                      <a:lnTo>
                        <a:pt x="361555" y="75059"/>
                      </a:lnTo>
                      <a:lnTo>
                        <a:pt x="362630" y="73576"/>
                      </a:lnTo>
                      <a:lnTo>
                        <a:pt x="364676" y="72834"/>
                      </a:lnTo>
                      <a:lnTo>
                        <a:pt x="366893" y="73201"/>
                      </a:lnTo>
                      <a:lnTo>
                        <a:pt x="369305" y="72117"/>
                      </a:lnTo>
                      <a:lnTo>
                        <a:pt x="370006" y="71481"/>
                      </a:lnTo>
                      <a:lnTo>
                        <a:pt x="370209" y="70666"/>
                      </a:lnTo>
                      <a:lnTo>
                        <a:pt x="369819" y="69493"/>
                      </a:lnTo>
                      <a:lnTo>
                        <a:pt x="368694" y="68515"/>
                      </a:lnTo>
                      <a:lnTo>
                        <a:pt x="367105" y="68262"/>
                      </a:lnTo>
                      <a:lnTo>
                        <a:pt x="365279" y="69085"/>
                      </a:lnTo>
                      <a:lnTo>
                        <a:pt x="363078" y="69623"/>
                      </a:lnTo>
                      <a:lnTo>
                        <a:pt x="359379" y="68417"/>
                      </a:lnTo>
                      <a:lnTo>
                        <a:pt x="356428" y="66966"/>
                      </a:lnTo>
                      <a:lnTo>
                        <a:pt x="356583" y="65622"/>
                      </a:lnTo>
                      <a:lnTo>
                        <a:pt x="358767" y="63633"/>
                      </a:lnTo>
                      <a:lnTo>
                        <a:pt x="359745" y="62011"/>
                      </a:lnTo>
                      <a:lnTo>
                        <a:pt x="359745" y="59770"/>
                      </a:lnTo>
                      <a:lnTo>
                        <a:pt x="359745" y="57154"/>
                      </a:lnTo>
                      <a:lnTo>
                        <a:pt x="360520" y="54098"/>
                      </a:lnTo>
                      <a:lnTo>
                        <a:pt x="362680" y="51995"/>
                      </a:lnTo>
                      <a:lnTo>
                        <a:pt x="365222" y="50871"/>
                      </a:lnTo>
                      <a:lnTo>
                        <a:pt x="371799" y="52916"/>
                      </a:lnTo>
                      <a:lnTo>
                        <a:pt x="379989" y="54750"/>
                      </a:lnTo>
                      <a:lnTo>
                        <a:pt x="381399" y="54448"/>
                      </a:lnTo>
                      <a:lnTo>
                        <a:pt x="381823" y="53487"/>
                      </a:lnTo>
                      <a:lnTo>
                        <a:pt x="382752" y="52639"/>
                      </a:lnTo>
                      <a:lnTo>
                        <a:pt x="394129" y="52240"/>
                      </a:lnTo>
                      <a:lnTo>
                        <a:pt x="396338" y="51058"/>
                      </a:lnTo>
                      <a:lnTo>
                        <a:pt x="397446" y="50121"/>
                      </a:lnTo>
                      <a:lnTo>
                        <a:pt x="408391" y="48760"/>
                      </a:lnTo>
                      <a:lnTo>
                        <a:pt x="409687" y="47472"/>
                      </a:lnTo>
                      <a:lnTo>
                        <a:pt x="411301" y="46282"/>
                      </a:lnTo>
                      <a:lnTo>
                        <a:pt x="413811" y="46299"/>
                      </a:lnTo>
                      <a:lnTo>
                        <a:pt x="416818" y="45818"/>
                      </a:lnTo>
                      <a:lnTo>
                        <a:pt x="420991" y="44351"/>
                      </a:lnTo>
                      <a:lnTo>
                        <a:pt x="423949" y="43552"/>
                      </a:lnTo>
                      <a:lnTo>
                        <a:pt x="424446" y="43487"/>
                      </a:lnTo>
                      <a:lnTo>
                        <a:pt x="427568" y="43813"/>
                      </a:lnTo>
                      <a:lnTo>
                        <a:pt x="431463" y="42656"/>
                      </a:lnTo>
                      <a:lnTo>
                        <a:pt x="432302" y="42167"/>
                      </a:lnTo>
                      <a:lnTo>
                        <a:pt x="432930" y="41286"/>
                      </a:lnTo>
                      <a:lnTo>
                        <a:pt x="436312" y="39608"/>
                      </a:lnTo>
                      <a:lnTo>
                        <a:pt x="442807" y="38222"/>
                      </a:lnTo>
                      <a:lnTo>
                        <a:pt x="444389" y="39054"/>
                      </a:lnTo>
                      <a:lnTo>
                        <a:pt x="447494" y="39437"/>
                      </a:lnTo>
                      <a:lnTo>
                        <a:pt x="451438" y="38817"/>
                      </a:lnTo>
                      <a:lnTo>
                        <a:pt x="454348" y="37758"/>
                      </a:lnTo>
                      <a:lnTo>
                        <a:pt x="456051" y="38809"/>
                      </a:lnTo>
                      <a:lnTo>
                        <a:pt x="458357" y="39893"/>
                      </a:lnTo>
                      <a:lnTo>
                        <a:pt x="460085" y="38972"/>
                      </a:lnTo>
                      <a:lnTo>
                        <a:pt x="460932" y="36071"/>
                      </a:lnTo>
                      <a:lnTo>
                        <a:pt x="462049" y="33226"/>
                      </a:lnTo>
                      <a:lnTo>
                        <a:pt x="463997" y="31882"/>
                      </a:lnTo>
                      <a:lnTo>
                        <a:pt x="465537" y="31393"/>
                      </a:lnTo>
                      <a:lnTo>
                        <a:pt x="466931" y="30293"/>
                      </a:lnTo>
                      <a:lnTo>
                        <a:pt x="467982" y="29160"/>
                      </a:lnTo>
                      <a:lnTo>
                        <a:pt x="473711" y="29339"/>
                      </a:lnTo>
                      <a:lnTo>
                        <a:pt x="478838" y="26503"/>
                      </a:lnTo>
                      <a:lnTo>
                        <a:pt x="479840" y="27782"/>
                      </a:lnTo>
                      <a:lnTo>
                        <a:pt x="486482" y="27481"/>
                      </a:lnTo>
                      <a:lnTo>
                        <a:pt x="494738" y="25664"/>
                      </a:lnTo>
                      <a:lnTo>
                        <a:pt x="499668" y="24808"/>
                      </a:lnTo>
                      <a:lnTo>
                        <a:pt x="508201" y="22901"/>
                      </a:lnTo>
                      <a:lnTo>
                        <a:pt x="512137" y="21360"/>
                      </a:lnTo>
                      <a:lnTo>
                        <a:pt x="517769" y="20383"/>
                      </a:lnTo>
                      <a:lnTo>
                        <a:pt x="522952" y="19706"/>
                      </a:lnTo>
                      <a:lnTo>
                        <a:pt x="526334" y="17000"/>
                      </a:lnTo>
                      <a:lnTo>
                        <a:pt x="529064" y="16617"/>
                      </a:lnTo>
                      <a:lnTo>
                        <a:pt x="532381" y="16389"/>
                      </a:lnTo>
                      <a:lnTo>
                        <a:pt x="534419" y="15737"/>
                      </a:lnTo>
                      <a:lnTo>
                        <a:pt x="535747" y="14735"/>
                      </a:lnTo>
                      <a:lnTo>
                        <a:pt x="536603" y="12852"/>
                      </a:lnTo>
                      <a:lnTo>
                        <a:pt x="536138" y="10464"/>
                      </a:lnTo>
                      <a:lnTo>
                        <a:pt x="535657" y="8728"/>
                      </a:lnTo>
                      <a:lnTo>
                        <a:pt x="538029" y="7750"/>
                      </a:lnTo>
                      <a:lnTo>
                        <a:pt x="541420" y="7449"/>
                      </a:lnTo>
                      <a:lnTo>
                        <a:pt x="543563" y="7050"/>
                      </a:lnTo>
                      <a:lnTo>
                        <a:pt x="548224" y="3097"/>
                      </a:lnTo>
                      <a:lnTo>
                        <a:pt x="551452" y="1190"/>
                      </a:lnTo>
                      <a:lnTo>
                        <a:pt x="554793" y="0"/>
                      </a:lnTo>
                      <a:lnTo>
                        <a:pt x="561468" y="660"/>
                      </a:lnTo>
                      <a:lnTo>
                        <a:pt x="567580" y="1247"/>
                      </a:lnTo>
                      <a:lnTo>
                        <a:pt x="573709" y="3138"/>
                      </a:lnTo>
                      <a:lnTo>
                        <a:pt x="576928" y="5493"/>
                      </a:lnTo>
                      <a:lnTo>
                        <a:pt x="579707" y="7270"/>
                      </a:lnTo>
                      <a:lnTo>
                        <a:pt x="582266" y="8117"/>
                      </a:lnTo>
                      <a:close/>
                    </a:path>
                  </a:pathLst>
                </a:custGeom>
                <a:solidFill>
                  <a:srgbClr val="D6D6D2"/>
                </a:solidFill>
                <a:ln w="6112" cap="rnd">
                  <a:solidFill>
                    <a:srgbClr val="FFFFFF"/>
                  </a:solidFill>
                  <a:prstDash val="solid"/>
                  <a:round/>
                </a:ln>
              </p:spPr>
              <p:txBody>
                <a:bodyPr rtlCol="0" anchor="ctr"/>
                <a:lstStyle/>
                <a:p>
                  <a:endParaRPr lang="en-US"/>
                </a:p>
              </p:txBody>
            </p:sp>
            <p:sp>
              <p:nvSpPr>
                <p:cNvPr id="702" name="Freeform: Shape 701">
                  <a:extLst>
                    <a:ext uri="{FF2B5EF4-FFF2-40B4-BE49-F238E27FC236}">
                      <a16:creationId xmlns:a16="http://schemas.microsoft.com/office/drawing/2014/main" id="{61CC5549-46B4-4B1A-910B-6B1DA09842CF}"/>
                    </a:ext>
                  </a:extLst>
                </p:cNvPr>
                <p:cNvSpPr/>
                <p:nvPr/>
              </p:nvSpPr>
              <p:spPr>
                <a:xfrm>
                  <a:off x="7847630" y="3420966"/>
                  <a:ext cx="25598" cy="18198"/>
                </a:xfrm>
                <a:custGeom>
                  <a:avLst/>
                  <a:gdLst>
                    <a:gd name="connsiteX0" fmla="*/ 25598 w 25598"/>
                    <a:gd name="connsiteY0" fmla="*/ 5485 h 18198"/>
                    <a:gd name="connsiteX1" fmla="*/ 23055 w 25598"/>
                    <a:gd name="connsiteY1" fmla="*/ 7212 h 18198"/>
                    <a:gd name="connsiteX2" fmla="*/ 19951 w 25598"/>
                    <a:gd name="connsiteY2" fmla="*/ 9348 h 18198"/>
                    <a:gd name="connsiteX3" fmla="*/ 16275 w 25598"/>
                    <a:gd name="connsiteY3" fmla="*/ 11858 h 18198"/>
                    <a:gd name="connsiteX4" fmla="*/ 13039 w 25598"/>
                    <a:gd name="connsiteY4" fmla="*/ 14066 h 18198"/>
                    <a:gd name="connsiteX5" fmla="*/ 9950 w 25598"/>
                    <a:gd name="connsiteY5" fmla="*/ 16177 h 18198"/>
                    <a:gd name="connsiteX6" fmla="*/ 6976 w 25598"/>
                    <a:gd name="connsiteY6" fmla="*/ 18198 h 18198"/>
                    <a:gd name="connsiteX7" fmla="*/ 5884 w 25598"/>
                    <a:gd name="connsiteY7" fmla="*/ 15362 h 18198"/>
                    <a:gd name="connsiteX8" fmla="*/ 5248 w 25598"/>
                    <a:gd name="connsiteY8" fmla="*/ 13708 h 18198"/>
                    <a:gd name="connsiteX9" fmla="*/ 3985 w 25598"/>
                    <a:gd name="connsiteY9" fmla="*/ 10407 h 18198"/>
                    <a:gd name="connsiteX10" fmla="*/ 2844 w 25598"/>
                    <a:gd name="connsiteY10" fmla="*/ 7465 h 18198"/>
                    <a:gd name="connsiteX11" fmla="*/ 1124 w 25598"/>
                    <a:gd name="connsiteY11" fmla="*/ 2966 h 18198"/>
                    <a:gd name="connsiteX12" fmla="*/ 0 w 25598"/>
                    <a:gd name="connsiteY12" fmla="*/ 0 h 18198"/>
                    <a:gd name="connsiteX13" fmla="*/ 2771 w 25598"/>
                    <a:gd name="connsiteY13" fmla="*/ 1605 h 18198"/>
                    <a:gd name="connsiteX14" fmla="*/ 8003 w 25598"/>
                    <a:gd name="connsiteY14" fmla="*/ 3627 h 18198"/>
                    <a:gd name="connsiteX15" fmla="*/ 13088 w 25598"/>
                    <a:gd name="connsiteY15" fmla="*/ 5077 h 18198"/>
                    <a:gd name="connsiteX16" fmla="*/ 16854 w 25598"/>
                    <a:gd name="connsiteY16" fmla="*/ 6145 h 18198"/>
                    <a:gd name="connsiteX17" fmla="*/ 18679 w 25598"/>
                    <a:gd name="connsiteY17" fmla="*/ 6226 h 18198"/>
                    <a:gd name="connsiteX18" fmla="*/ 19975 w 25598"/>
                    <a:gd name="connsiteY18" fmla="*/ 6283 h 18198"/>
                    <a:gd name="connsiteX19" fmla="*/ 23732 w 25598"/>
                    <a:gd name="connsiteY19" fmla="*/ 5990 h 18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598" h="18198">
                      <a:moveTo>
                        <a:pt x="25598" y="5485"/>
                      </a:moveTo>
                      <a:lnTo>
                        <a:pt x="23055" y="7212"/>
                      </a:lnTo>
                      <a:lnTo>
                        <a:pt x="19951" y="9348"/>
                      </a:lnTo>
                      <a:lnTo>
                        <a:pt x="16275" y="11858"/>
                      </a:lnTo>
                      <a:lnTo>
                        <a:pt x="13039" y="14066"/>
                      </a:lnTo>
                      <a:lnTo>
                        <a:pt x="9950" y="16177"/>
                      </a:lnTo>
                      <a:lnTo>
                        <a:pt x="6976" y="18198"/>
                      </a:lnTo>
                      <a:lnTo>
                        <a:pt x="5884" y="15362"/>
                      </a:lnTo>
                      <a:lnTo>
                        <a:pt x="5248" y="13708"/>
                      </a:lnTo>
                      <a:lnTo>
                        <a:pt x="3985" y="10407"/>
                      </a:lnTo>
                      <a:lnTo>
                        <a:pt x="2844" y="7465"/>
                      </a:lnTo>
                      <a:lnTo>
                        <a:pt x="1124" y="2966"/>
                      </a:lnTo>
                      <a:lnTo>
                        <a:pt x="0" y="0"/>
                      </a:lnTo>
                      <a:lnTo>
                        <a:pt x="2771" y="1605"/>
                      </a:lnTo>
                      <a:lnTo>
                        <a:pt x="8003" y="3627"/>
                      </a:lnTo>
                      <a:lnTo>
                        <a:pt x="13088" y="5077"/>
                      </a:lnTo>
                      <a:lnTo>
                        <a:pt x="16854" y="6145"/>
                      </a:lnTo>
                      <a:lnTo>
                        <a:pt x="18679" y="6226"/>
                      </a:lnTo>
                      <a:lnTo>
                        <a:pt x="19975" y="6283"/>
                      </a:lnTo>
                      <a:lnTo>
                        <a:pt x="23732" y="5990"/>
                      </a:lnTo>
                      <a:close/>
                    </a:path>
                  </a:pathLst>
                </a:custGeom>
                <a:solidFill>
                  <a:srgbClr val="D6D6D2"/>
                </a:solidFill>
                <a:ln w="8150" cap="flat">
                  <a:noFill/>
                  <a:prstDash val="solid"/>
                  <a:miter/>
                </a:ln>
              </p:spPr>
              <p:txBody>
                <a:bodyPr rtlCol="0" anchor="ctr"/>
                <a:lstStyle/>
                <a:p>
                  <a:endParaRPr lang="en-US"/>
                </a:p>
              </p:txBody>
            </p:sp>
            <p:sp>
              <p:nvSpPr>
                <p:cNvPr id="703" name="Freeform: Shape 702">
                  <a:extLst>
                    <a:ext uri="{FF2B5EF4-FFF2-40B4-BE49-F238E27FC236}">
                      <a16:creationId xmlns:a16="http://schemas.microsoft.com/office/drawing/2014/main" id="{1E92318D-6C87-49C3-9888-E01A5F2F095F}"/>
                    </a:ext>
                  </a:extLst>
                </p:cNvPr>
                <p:cNvSpPr/>
                <p:nvPr/>
              </p:nvSpPr>
              <p:spPr>
                <a:xfrm>
                  <a:off x="9157520" y="3085515"/>
                  <a:ext cx="403093" cy="487052"/>
                </a:xfrm>
                <a:custGeom>
                  <a:avLst/>
                  <a:gdLst>
                    <a:gd name="connsiteX0" fmla="*/ 39542 w 403093"/>
                    <a:gd name="connsiteY0" fmla="*/ 403102 h 487052"/>
                    <a:gd name="connsiteX1" fmla="*/ 42876 w 403093"/>
                    <a:gd name="connsiteY1" fmla="*/ 404072 h 487052"/>
                    <a:gd name="connsiteX2" fmla="*/ 44277 w 403093"/>
                    <a:gd name="connsiteY2" fmla="*/ 404137 h 487052"/>
                    <a:gd name="connsiteX3" fmla="*/ 45598 w 403093"/>
                    <a:gd name="connsiteY3" fmla="*/ 403697 h 487052"/>
                    <a:gd name="connsiteX4" fmla="*/ 47578 w 403093"/>
                    <a:gd name="connsiteY4" fmla="*/ 402418 h 487052"/>
                    <a:gd name="connsiteX5" fmla="*/ 49664 w 403093"/>
                    <a:gd name="connsiteY5" fmla="*/ 401472 h 487052"/>
                    <a:gd name="connsiteX6" fmla="*/ 51156 w 403093"/>
                    <a:gd name="connsiteY6" fmla="*/ 401945 h 487052"/>
                    <a:gd name="connsiteX7" fmla="*/ 52476 w 403093"/>
                    <a:gd name="connsiteY7" fmla="*/ 403094 h 487052"/>
                    <a:gd name="connsiteX8" fmla="*/ 53169 w 403093"/>
                    <a:gd name="connsiteY8" fmla="*/ 404691 h 487052"/>
                    <a:gd name="connsiteX9" fmla="*/ 52835 w 403093"/>
                    <a:gd name="connsiteY9" fmla="*/ 406370 h 487052"/>
                    <a:gd name="connsiteX10" fmla="*/ 50471 w 403093"/>
                    <a:gd name="connsiteY10" fmla="*/ 409972 h 487052"/>
                    <a:gd name="connsiteX11" fmla="*/ 48540 w 403093"/>
                    <a:gd name="connsiteY11" fmla="*/ 413819 h 487052"/>
                    <a:gd name="connsiteX12" fmla="*/ 52998 w 403093"/>
                    <a:gd name="connsiteY12" fmla="*/ 414536 h 487052"/>
                    <a:gd name="connsiteX13" fmla="*/ 57448 w 403093"/>
                    <a:gd name="connsiteY13" fmla="*/ 414447 h 487052"/>
                    <a:gd name="connsiteX14" fmla="*/ 56404 w 403093"/>
                    <a:gd name="connsiteY14" fmla="*/ 416826 h 487052"/>
                    <a:gd name="connsiteX15" fmla="*/ 56233 w 403093"/>
                    <a:gd name="connsiteY15" fmla="*/ 418896 h 487052"/>
                    <a:gd name="connsiteX16" fmla="*/ 57602 w 403093"/>
                    <a:gd name="connsiteY16" fmla="*/ 419882 h 487052"/>
                    <a:gd name="connsiteX17" fmla="*/ 58751 w 403093"/>
                    <a:gd name="connsiteY17" fmla="*/ 421203 h 487052"/>
                    <a:gd name="connsiteX18" fmla="*/ 58466 w 403093"/>
                    <a:gd name="connsiteY18" fmla="*/ 422409 h 487052"/>
                    <a:gd name="connsiteX19" fmla="*/ 57798 w 403093"/>
                    <a:gd name="connsiteY19" fmla="*/ 423599 h 487052"/>
                    <a:gd name="connsiteX20" fmla="*/ 60227 w 403093"/>
                    <a:gd name="connsiteY20" fmla="*/ 425375 h 487052"/>
                    <a:gd name="connsiteX21" fmla="*/ 60063 w 403093"/>
                    <a:gd name="connsiteY21" fmla="*/ 426573 h 487052"/>
                    <a:gd name="connsiteX22" fmla="*/ 59436 w 403093"/>
                    <a:gd name="connsiteY22" fmla="*/ 427820 h 487052"/>
                    <a:gd name="connsiteX23" fmla="*/ 53381 w 403093"/>
                    <a:gd name="connsiteY23" fmla="*/ 435978 h 487052"/>
                    <a:gd name="connsiteX24" fmla="*/ 51588 w 403093"/>
                    <a:gd name="connsiteY24" fmla="*/ 440110 h 487052"/>
                    <a:gd name="connsiteX25" fmla="*/ 50357 w 403093"/>
                    <a:gd name="connsiteY25" fmla="*/ 444658 h 487052"/>
                    <a:gd name="connsiteX26" fmla="*/ 49216 w 403093"/>
                    <a:gd name="connsiteY26" fmla="*/ 447983 h 487052"/>
                    <a:gd name="connsiteX27" fmla="*/ 48385 w 403093"/>
                    <a:gd name="connsiteY27" fmla="*/ 451438 h 487052"/>
                    <a:gd name="connsiteX28" fmla="*/ 47749 w 403093"/>
                    <a:gd name="connsiteY28" fmla="*/ 455154 h 487052"/>
                    <a:gd name="connsiteX29" fmla="*/ 46617 w 403093"/>
                    <a:gd name="connsiteY29" fmla="*/ 458993 h 487052"/>
                    <a:gd name="connsiteX30" fmla="*/ 47000 w 403093"/>
                    <a:gd name="connsiteY30" fmla="*/ 462400 h 487052"/>
                    <a:gd name="connsiteX31" fmla="*/ 46608 w 403093"/>
                    <a:gd name="connsiteY31" fmla="*/ 465880 h 487052"/>
                    <a:gd name="connsiteX32" fmla="*/ 43576 w 403093"/>
                    <a:gd name="connsiteY32" fmla="*/ 474477 h 487052"/>
                    <a:gd name="connsiteX33" fmla="*/ 41401 w 403093"/>
                    <a:gd name="connsiteY33" fmla="*/ 474323 h 487052"/>
                    <a:gd name="connsiteX34" fmla="*/ 38670 w 403093"/>
                    <a:gd name="connsiteY34" fmla="*/ 473279 h 487052"/>
                    <a:gd name="connsiteX35" fmla="*/ 36959 w 403093"/>
                    <a:gd name="connsiteY35" fmla="*/ 473451 h 487052"/>
                    <a:gd name="connsiteX36" fmla="*/ 36079 w 403093"/>
                    <a:gd name="connsiteY36" fmla="*/ 475358 h 487052"/>
                    <a:gd name="connsiteX37" fmla="*/ 37644 w 403093"/>
                    <a:gd name="connsiteY37" fmla="*/ 479278 h 487052"/>
                    <a:gd name="connsiteX38" fmla="*/ 32770 w 403093"/>
                    <a:gd name="connsiteY38" fmla="*/ 483923 h 487052"/>
                    <a:gd name="connsiteX39" fmla="*/ 27416 w 403093"/>
                    <a:gd name="connsiteY39" fmla="*/ 487053 h 487052"/>
                    <a:gd name="connsiteX40" fmla="*/ 27375 w 403093"/>
                    <a:gd name="connsiteY40" fmla="*/ 485626 h 487052"/>
                    <a:gd name="connsiteX41" fmla="*/ 27872 w 403093"/>
                    <a:gd name="connsiteY41" fmla="*/ 484502 h 487052"/>
                    <a:gd name="connsiteX42" fmla="*/ 28654 w 403093"/>
                    <a:gd name="connsiteY42" fmla="*/ 483605 h 487052"/>
                    <a:gd name="connsiteX43" fmla="*/ 29217 w 403093"/>
                    <a:gd name="connsiteY43" fmla="*/ 482513 h 487052"/>
                    <a:gd name="connsiteX44" fmla="*/ 29991 w 403093"/>
                    <a:gd name="connsiteY44" fmla="*/ 478854 h 487052"/>
                    <a:gd name="connsiteX45" fmla="*/ 29600 w 403093"/>
                    <a:gd name="connsiteY45" fmla="*/ 475170 h 487052"/>
                    <a:gd name="connsiteX46" fmla="*/ 27986 w 403093"/>
                    <a:gd name="connsiteY46" fmla="*/ 470557 h 487052"/>
                    <a:gd name="connsiteX47" fmla="*/ 27864 w 403093"/>
                    <a:gd name="connsiteY47" fmla="*/ 468895 h 487052"/>
                    <a:gd name="connsiteX48" fmla="*/ 28989 w 403093"/>
                    <a:gd name="connsiteY48" fmla="*/ 468227 h 487052"/>
                    <a:gd name="connsiteX49" fmla="*/ 29747 w 403093"/>
                    <a:gd name="connsiteY49" fmla="*/ 468039 h 487052"/>
                    <a:gd name="connsiteX50" fmla="*/ 30162 w 403093"/>
                    <a:gd name="connsiteY50" fmla="*/ 467395 h 487052"/>
                    <a:gd name="connsiteX51" fmla="*/ 30178 w 403093"/>
                    <a:gd name="connsiteY51" fmla="*/ 465863 h 487052"/>
                    <a:gd name="connsiteX52" fmla="*/ 29665 w 403093"/>
                    <a:gd name="connsiteY52" fmla="*/ 464730 h 487052"/>
                    <a:gd name="connsiteX53" fmla="*/ 28133 w 403093"/>
                    <a:gd name="connsiteY53" fmla="*/ 464372 h 487052"/>
                    <a:gd name="connsiteX54" fmla="*/ 26658 w 403093"/>
                    <a:gd name="connsiteY54" fmla="*/ 464355 h 487052"/>
                    <a:gd name="connsiteX55" fmla="*/ 25631 w 403093"/>
                    <a:gd name="connsiteY55" fmla="*/ 466059 h 487052"/>
                    <a:gd name="connsiteX56" fmla="*/ 24205 w 403093"/>
                    <a:gd name="connsiteY56" fmla="*/ 469376 h 487052"/>
                    <a:gd name="connsiteX57" fmla="*/ 23512 w 403093"/>
                    <a:gd name="connsiteY57" fmla="*/ 472717 h 487052"/>
                    <a:gd name="connsiteX58" fmla="*/ 23813 w 403093"/>
                    <a:gd name="connsiteY58" fmla="*/ 474551 h 487052"/>
                    <a:gd name="connsiteX59" fmla="*/ 24449 w 403093"/>
                    <a:gd name="connsiteY59" fmla="*/ 476189 h 487052"/>
                    <a:gd name="connsiteX60" fmla="*/ 26389 w 403093"/>
                    <a:gd name="connsiteY60" fmla="*/ 478927 h 487052"/>
                    <a:gd name="connsiteX61" fmla="*/ 25819 w 403093"/>
                    <a:gd name="connsiteY61" fmla="*/ 480541 h 487052"/>
                    <a:gd name="connsiteX62" fmla="*/ 25012 w 403093"/>
                    <a:gd name="connsiteY62" fmla="*/ 481796 h 487052"/>
                    <a:gd name="connsiteX63" fmla="*/ 18109 w 403093"/>
                    <a:gd name="connsiteY63" fmla="*/ 478944 h 487052"/>
                    <a:gd name="connsiteX64" fmla="*/ 16617 w 403093"/>
                    <a:gd name="connsiteY64" fmla="*/ 478748 h 487052"/>
                    <a:gd name="connsiteX65" fmla="*/ 15379 w 403093"/>
                    <a:gd name="connsiteY65" fmla="*/ 478137 h 487052"/>
                    <a:gd name="connsiteX66" fmla="*/ 14050 w 403093"/>
                    <a:gd name="connsiteY66" fmla="*/ 474371 h 487052"/>
                    <a:gd name="connsiteX67" fmla="*/ 16870 w 403093"/>
                    <a:gd name="connsiteY67" fmla="*/ 473467 h 487052"/>
                    <a:gd name="connsiteX68" fmla="*/ 17701 w 403093"/>
                    <a:gd name="connsiteY68" fmla="*/ 473011 h 487052"/>
                    <a:gd name="connsiteX69" fmla="*/ 18019 w 403093"/>
                    <a:gd name="connsiteY69" fmla="*/ 471812 h 487052"/>
                    <a:gd name="connsiteX70" fmla="*/ 18394 w 403093"/>
                    <a:gd name="connsiteY70" fmla="*/ 468145 h 487052"/>
                    <a:gd name="connsiteX71" fmla="*/ 17082 w 403093"/>
                    <a:gd name="connsiteY71" fmla="*/ 465073 h 487052"/>
                    <a:gd name="connsiteX72" fmla="*/ 15974 w 403093"/>
                    <a:gd name="connsiteY72" fmla="*/ 463981 h 487052"/>
                    <a:gd name="connsiteX73" fmla="*/ 15077 w 403093"/>
                    <a:gd name="connsiteY73" fmla="*/ 462725 h 487052"/>
                    <a:gd name="connsiteX74" fmla="*/ 15647 w 403093"/>
                    <a:gd name="connsiteY74" fmla="*/ 460134 h 487052"/>
                    <a:gd name="connsiteX75" fmla="*/ 15264 w 403093"/>
                    <a:gd name="connsiteY75" fmla="*/ 456874 h 487052"/>
                    <a:gd name="connsiteX76" fmla="*/ 15232 w 403093"/>
                    <a:gd name="connsiteY76" fmla="*/ 452302 h 487052"/>
                    <a:gd name="connsiteX77" fmla="*/ 15721 w 403093"/>
                    <a:gd name="connsiteY77" fmla="*/ 451520 h 487052"/>
                    <a:gd name="connsiteX78" fmla="*/ 18320 w 403093"/>
                    <a:gd name="connsiteY78" fmla="*/ 450591 h 487052"/>
                    <a:gd name="connsiteX79" fmla="*/ 20195 w 403093"/>
                    <a:gd name="connsiteY79" fmla="*/ 448146 h 487052"/>
                    <a:gd name="connsiteX80" fmla="*/ 21866 w 403093"/>
                    <a:gd name="connsiteY80" fmla="*/ 445358 h 487052"/>
                    <a:gd name="connsiteX81" fmla="*/ 24302 w 403093"/>
                    <a:gd name="connsiteY81" fmla="*/ 440452 h 487052"/>
                    <a:gd name="connsiteX82" fmla="*/ 26291 w 403093"/>
                    <a:gd name="connsiteY82" fmla="*/ 435147 h 487052"/>
                    <a:gd name="connsiteX83" fmla="*/ 24384 w 403093"/>
                    <a:gd name="connsiteY83" fmla="*/ 434919 h 487052"/>
                    <a:gd name="connsiteX84" fmla="*/ 22754 w 403093"/>
                    <a:gd name="connsiteY84" fmla="*/ 433924 h 487052"/>
                    <a:gd name="connsiteX85" fmla="*/ 24531 w 403093"/>
                    <a:gd name="connsiteY85" fmla="*/ 431414 h 487052"/>
                    <a:gd name="connsiteX86" fmla="*/ 23993 w 403093"/>
                    <a:gd name="connsiteY86" fmla="*/ 428244 h 487052"/>
                    <a:gd name="connsiteX87" fmla="*/ 21336 w 403093"/>
                    <a:gd name="connsiteY87" fmla="*/ 424348 h 487052"/>
                    <a:gd name="connsiteX88" fmla="*/ 19885 w 403093"/>
                    <a:gd name="connsiteY88" fmla="*/ 419744 h 487052"/>
                    <a:gd name="connsiteX89" fmla="*/ 17538 w 403093"/>
                    <a:gd name="connsiteY89" fmla="*/ 417715 h 487052"/>
                    <a:gd name="connsiteX90" fmla="*/ 16316 w 403093"/>
                    <a:gd name="connsiteY90" fmla="*/ 416973 h 487052"/>
                    <a:gd name="connsiteX91" fmla="*/ 14800 w 403093"/>
                    <a:gd name="connsiteY91" fmla="*/ 418049 h 487052"/>
                    <a:gd name="connsiteX92" fmla="*/ 13561 w 403093"/>
                    <a:gd name="connsiteY92" fmla="*/ 419336 h 487052"/>
                    <a:gd name="connsiteX93" fmla="*/ 14710 w 403093"/>
                    <a:gd name="connsiteY93" fmla="*/ 422327 h 487052"/>
                    <a:gd name="connsiteX94" fmla="*/ 14580 w 403093"/>
                    <a:gd name="connsiteY94" fmla="*/ 424968 h 487052"/>
                    <a:gd name="connsiteX95" fmla="*/ 14751 w 403093"/>
                    <a:gd name="connsiteY95" fmla="*/ 427592 h 487052"/>
                    <a:gd name="connsiteX96" fmla="*/ 15933 w 403093"/>
                    <a:gd name="connsiteY96" fmla="*/ 427739 h 487052"/>
                    <a:gd name="connsiteX97" fmla="*/ 17367 w 403093"/>
                    <a:gd name="connsiteY97" fmla="*/ 427079 h 487052"/>
                    <a:gd name="connsiteX98" fmla="*/ 18508 w 403093"/>
                    <a:gd name="connsiteY98" fmla="*/ 427551 h 487052"/>
                    <a:gd name="connsiteX99" fmla="*/ 19185 w 403093"/>
                    <a:gd name="connsiteY99" fmla="*/ 428929 h 487052"/>
                    <a:gd name="connsiteX100" fmla="*/ 19364 w 403093"/>
                    <a:gd name="connsiteY100" fmla="*/ 430697 h 487052"/>
                    <a:gd name="connsiteX101" fmla="*/ 18859 w 403093"/>
                    <a:gd name="connsiteY101" fmla="*/ 432449 h 487052"/>
                    <a:gd name="connsiteX102" fmla="*/ 17799 w 403093"/>
                    <a:gd name="connsiteY102" fmla="*/ 433321 h 487052"/>
                    <a:gd name="connsiteX103" fmla="*/ 16511 w 403093"/>
                    <a:gd name="connsiteY103" fmla="*/ 433256 h 487052"/>
                    <a:gd name="connsiteX104" fmla="*/ 15199 w 403093"/>
                    <a:gd name="connsiteY104" fmla="*/ 432311 h 487052"/>
                    <a:gd name="connsiteX105" fmla="*/ 14189 w 403093"/>
                    <a:gd name="connsiteY105" fmla="*/ 430958 h 487052"/>
                    <a:gd name="connsiteX106" fmla="*/ 11752 w 403093"/>
                    <a:gd name="connsiteY106" fmla="*/ 430208 h 487052"/>
                    <a:gd name="connsiteX107" fmla="*/ 9201 w 403093"/>
                    <a:gd name="connsiteY107" fmla="*/ 431805 h 487052"/>
                    <a:gd name="connsiteX108" fmla="*/ 6756 w 403093"/>
                    <a:gd name="connsiteY108" fmla="*/ 435057 h 487052"/>
                    <a:gd name="connsiteX109" fmla="*/ 4670 w 403093"/>
                    <a:gd name="connsiteY109" fmla="*/ 436712 h 487052"/>
                    <a:gd name="connsiteX110" fmla="*/ 5656 w 403093"/>
                    <a:gd name="connsiteY110" fmla="*/ 434299 h 487052"/>
                    <a:gd name="connsiteX111" fmla="*/ 6120 w 403093"/>
                    <a:gd name="connsiteY111" fmla="*/ 431700 h 487052"/>
                    <a:gd name="connsiteX112" fmla="*/ 5102 w 403093"/>
                    <a:gd name="connsiteY112" fmla="*/ 429866 h 487052"/>
                    <a:gd name="connsiteX113" fmla="*/ 2738 w 403093"/>
                    <a:gd name="connsiteY113" fmla="*/ 426826 h 487052"/>
                    <a:gd name="connsiteX114" fmla="*/ 2176 w 403093"/>
                    <a:gd name="connsiteY114" fmla="*/ 425057 h 487052"/>
                    <a:gd name="connsiteX115" fmla="*/ 2045 w 403093"/>
                    <a:gd name="connsiteY115" fmla="*/ 422922 h 487052"/>
                    <a:gd name="connsiteX116" fmla="*/ 2461 w 403093"/>
                    <a:gd name="connsiteY116" fmla="*/ 420803 h 487052"/>
                    <a:gd name="connsiteX117" fmla="*/ 4906 w 403093"/>
                    <a:gd name="connsiteY117" fmla="*/ 423224 h 487052"/>
                    <a:gd name="connsiteX118" fmla="*/ 6161 w 403093"/>
                    <a:gd name="connsiteY118" fmla="*/ 426256 h 487052"/>
                    <a:gd name="connsiteX119" fmla="*/ 7954 w 403093"/>
                    <a:gd name="connsiteY119" fmla="*/ 427584 h 487052"/>
                    <a:gd name="connsiteX120" fmla="*/ 10212 w 403093"/>
                    <a:gd name="connsiteY120" fmla="*/ 427592 h 487052"/>
                    <a:gd name="connsiteX121" fmla="*/ 8484 w 403093"/>
                    <a:gd name="connsiteY121" fmla="*/ 423159 h 487052"/>
                    <a:gd name="connsiteX122" fmla="*/ 7865 w 403093"/>
                    <a:gd name="connsiteY122" fmla="*/ 422034 h 487052"/>
                    <a:gd name="connsiteX123" fmla="*/ 5428 w 403093"/>
                    <a:gd name="connsiteY123" fmla="*/ 420037 h 487052"/>
                    <a:gd name="connsiteX124" fmla="*/ 2111 w 403093"/>
                    <a:gd name="connsiteY124" fmla="*/ 416680 h 487052"/>
                    <a:gd name="connsiteX125" fmla="*/ 0 w 403093"/>
                    <a:gd name="connsiteY125" fmla="*/ 415058 h 487052"/>
                    <a:gd name="connsiteX126" fmla="*/ 750 w 403093"/>
                    <a:gd name="connsiteY126" fmla="*/ 411553 h 487052"/>
                    <a:gd name="connsiteX127" fmla="*/ 1980 w 403093"/>
                    <a:gd name="connsiteY127" fmla="*/ 410853 h 487052"/>
                    <a:gd name="connsiteX128" fmla="*/ 3032 w 403093"/>
                    <a:gd name="connsiteY128" fmla="*/ 411024 h 487052"/>
                    <a:gd name="connsiteX129" fmla="*/ 6560 w 403093"/>
                    <a:gd name="connsiteY129" fmla="*/ 412271 h 487052"/>
                    <a:gd name="connsiteX130" fmla="*/ 6887 w 403093"/>
                    <a:gd name="connsiteY130" fmla="*/ 410526 h 487052"/>
                    <a:gd name="connsiteX131" fmla="*/ 6381 w 403093"/>
                    <a:gd name="connsiteY131" fmla="*/ 409597 h 487052"/>
                    <a:gd name="connsiteX132" fmla="*/ 6096 w 403093"/>
                    <a:gd name="connsiteY132" fmla="*/ 408514 h 487052"/>
                    <a:gd name="connsiteX133" fmla="*/ 8419 w 403093"/>
                    <a:gd name="connsiteY133" fmla="*/ 406990 h 487052"/>
                    <a:gd name="connsiteX134" fmla="*/ 12217 w 403093"/>
                    <a:gd name="connsiteY134" fmla="*/ 405743 h 487052"/>
                    <a:gd name="connsiteX135" fmla="*/ 12991 w 403093"/>
                    <a:gd name="connsiteY135" fmla="*/ 405156 h 487052"/>
                    <a:gd name="connsiteX136" fmla="*/ 13667 w 403093"/>
                    <a:gd name="connsiteY136" fmla="*/ 403901 h 487052"/>
                    <a:gd name="connsiteX137" fmla="*/ 14588 w 403093"/>
                    <a:gd name="connsiteY137" fmla="*/ 403249 h 487052"/>
                    <a:gd name="connsiteX138" fmla="*/ 17245 w 403093"/>
                    <a:gd name="connsiteY138" fmla="*/ 403265 h 487052"/>
                    <a:gd name="connsiteX139" fmla="*/ 19478 w 403093"/>
                    <a:gd name="connsiteY139" fmla="*/ 402067 h 487052"/>
                    <a:gd name="connsiteX140" fmla="*/ 21320 w 403093"/>
                    <a:gd name="connsiteY140" fmla="*/ 398807 h 487052"/>
                    <a:gd name="connsiteX141" fmla="*/ 21768 w 403093"/>
                    <a:gd name="connsiteY141" fmla="*/ 397022 h 487052"/>
                    <a:gd name="connsiteX142" fmla="*/ 22428 w 403093"/>
                    <a:gd name="connsiteY142" fmla="*/ 395531 h 487052"/>
                    <a:gd name="connsiteX143" fmla="*/ 27024 w 403093"/>
                    <a:gd name="connsiteY143" fmla="*/ 392882 h 487052"/>
                    <a:gd name="connsiteX144" fmla="*/ 28174 w 403093"/>
                    <a:gd name="connsiteY144" fmla="*/ 392475 h 487052"/>
                    <a:gd name="connsiteX145" fmla="*/ 31246 w 403093"/>
                    <a:gd name="connsiteY145" fmla="*/ 392809 h 487052"/>
                    <a:gd name="connsiteX146" fmla="*/ 34058 w 403093"/>
                    <a:gd name="connsiteY146" fmla="*/ 394309 h 487052"/>
                    <a:gd name="connsiteX147" fmla="*/ 35460 w 403093"/>
                    <a:gd name="connsiteY147" fmla="*/ 397462 h 487052"/>
                    <a:gd name="connsiteX148" fmla="*/ 36674 w 403093"/>
                    <a:gd name="connsiteY148" fmla="*/ 400820 h 487052"/>
                    <a:gd name="connsiteX149" fmla="*/ 39542 w 403093"/>
                    <a:gd name="connsiteY149" fmla="*/ 403102 h 487052"/>
                    <a:gd name="connsiteX150" fmla="*/ 118481 w 403093"/>
                    <a:gd name="connsiteY150" fmla="*/ 381709 h 487052"/>
                    <a:gd name="connsiteX151" fmla="*/ 121896 w 403093"/>
                    <a:gd name="connsiteY151" fmla="*/ 383070 h 487052"/>
                    <a:gd name="connsiteX152" fmla="*/ 125425 w 403093"/>
                    <a:gd name="connsiteY152" fmla="*/ 382687 h 487052"/>
                    <a:gd name="connsiteX153" fmla="*/ 125367 w 403093"/>
                    <a:gd name="connsiteY153" fmla="*/ 388669 h 487052"/>
                    <a:gd name="connsiteX154" fmla="*/ 125873 w 403093"/>
                    <a:gd name="connsiteY154" fmla="*/ 390674 h 487052"/>
                    <a:gd name="connsiteX155" fmla="*/ 126859 w 403093"/>
                    <a:gd name="connsiteY155" fmla="*/ 392467 h 487052"/>
                    <a:gd name="connsiteX156" fmla="*/ 126354 w 403093"/>
                    <a:gd name="connsiteY156" fmla="*/ 395083 h 487052"/>
                    <a:gd name="connsiteX157" fmla="*/ 127942 w 403093"/>
                    <a:gd name="connsiteY157" fmla="*/ 395971 h 487052"/>
                    <a:gd name="connsiteX158" fmla="*/ 123224 w 403093"/>
                    <a:gd name="connsiteY158" fmla="*/ 398954 h 487052"/>
                    <a:gd name="connsiteX159" fmla="*/ 118970 w 403093"/>
                    <a:gd name="connsiteY159" fmla="*/ 402906 h 487052"/>
                    <a:gd name="connsiteX160" fmla="*/ 117226 w 403093"/>
                    <a:gd name="connsiteY160" fmla="*/ 405571 h 487052"/>
                    <a:gd name="connsiteX161" fmla="*/ 115645 w 403093"/>
                    <a:gd name="connsiteY161" fmla="*/ 408424 h 487052"/>
                    <a:gd name="connsiteX162" fmla="*/ 114724 w 403093"/>
                    <a:gd name="connsiteY162" fmla="*/ 411447 h 487052"/>
                    <a:gd name="connsiteX163" fmla="*/ 114129 w 403093"/>
                    <a:gd name="connsiteY163" fmla="*/ 414699 h 487052"/>
                    <a:gd name="connsiteX164" fmla="*/ 112711 w 403093"/>
                    <a:gd name="connsiteY164" fmla="*/ 413412 h 487052"/>
                    <a:gd name="connsiteX165" fmla="*/ 108603 w 403093"/>
                    <a:gd name="connsiteY165" fmla="*/ 408139 h 487052"/>
                    <a:gd name="connsiteX166" fmla="*/ 106004 w 403093"/>
                    <a:gd name="connsiteY166" fmla="*/ 406688 h 487052"/>
                    <a:gd name="connsiteX167" fmla="*/ 101831 w 403093"/>
                    <a:gd name="connsiteY167" fmla="*/ 405914 h 487052"/>
                    <a:gd name="connsiteX168" fmla="*/ 100503 w 403093"/>
                    <a:gd name="connsiteY168" fmla="*/ 406085 h 487052"/>
                    <a:gd name="connsiteX169" fmla="*/ 91921 w 403093"/>
                    <a:gd name="connsiteY169" fmla="*/ 411015 h 487052"/>
                    <a:gd name="connsiteX170" fmla="*/ 90764 w 403093"/>
                    <a:gd name="connsiteY170" fmla="*/ 414618 h 487052"/>
                    <a:gd name="connsiteX171" fmla="*/ 88433 w 403093"/>
                    <a:gd name="connsiteY171" fmla="*/ 420045 h 487052"/>
                    <a:gd name="connsiteX172" fmla="*/ 87316 w 403093"/>
                    <a:gd name="connsiteY172" fmla="*/ 421838 h 487052"/>
                    <a:gd name="connsiteX173" fmla="*/ 86094 w 403093"/>
                    <a:gd name="connsiteY173" fmla="*/ 422352 h 487052"/>
                    <a:gd name="connsiteX174" fmla="*/ 85222 w 403093"/>
                    <a:gd name="connsiteY174" fmla="*/ 423281 h 487052"/>
                    <a:gd name="connsiteX175" fmla="*/ 84260 w 403093"/>
                    <a:gd name="connsiteY175" fmla="*/ 427902 h 487052"/>
                    <a:gd name="connsiteX176" fmla="*/ 81603 w 403093"/>
                    <a:gd name="connsiteY176" fmla="*/ 430746 h 487052"/>
                    <a:gd name="connsiteX177" fmla="*/ 79982 w 403093"/>
                    <a:gd name="connsiteY177" fmla="*/ 430836 h 487052"/>
                    <a:gd name="connsiteX178" fmla="*/ 77203 w 403093"/>
                    <a:gd name="connsiteY178" fmla="*/ 430053 h 487052"/>
                    <a:gd name="connsiteX179" fmla="*/ 75948 w 403093"/>
                    <a:gd name="connsiteY179" fmla="*/ 430493 h 487052"/>
                    <a:gd name="connsiteX180" fmla="*/ 77610 w 403093"/>
                    <a:gd name="connsiteY180" fmla="*/ 425938 h 487052"/>
                    <a:gd name="connsiteX181" fmla="*/ 74953 w 403093"/>
                    <a:gd name="connsiteY181" fmla="*/ 425383 h 487052"/>
                    <a:gd name="connsiteX182" fmla="*/ 72312 w 403093"/>
                    <a:gd name="connsiteY182" fmla="*/ 425473 h 487052"/>
                    <a:gd name="connsiteX183" fmla="*/ 72247 w 403093"/>
                    <a:gd name="connsiteY183" fmla="*/ 422507 h 487052"/>
                    <a:gd name="connsiteX184" fmla="*/ 70634 w 403093"/>
                    <a:gd name="connsiteY184" fmla="*/ 420820 h 487052"/>
                    <a:gd name="connsiteX185" fmla="*/ 71824 w 403093"/>
                    <a:gd name="connsiteY185" fmla="*/ 418627 h 487052"/>
                    <a:gd name="connsiteX186" fmla="*/ 71864 w 403093"/>
                    <a:gd name="connsiteY186" fmla="*/ 416851 h 487052"/>
                    <a:gd name="connsiteX187" fmla="*/ 72565 w 403093"/>
                    <a:gd name="connsiteY187" fmla="*/ 415865 h 487052"/>
                    <a:gd name="connsiteX188" fmla="*/ 72793 w 403093"/>
                    <a:gd name="connsiteY188" fmla="*/ 414430 h 487052"/>
                    <a:gd name="connsiteX189" fmla="*/ 72712 w 403093"/>
                    <a:gd name="connsiteY189" fmla="*/ 413200 h 487052"/>
                    <a:gd name="connsiteX190" fmla="*/ 71074 w 403093"/>
                    <a:gd name="connsiteY190" fmla="*/ 412825 h 487052"/>
                    <a:gd name="connsiteX191" fmla="*/ 70072 w 403093"/>
                    <a:gd name="connsiteY191" fmla="*/ 411953 h 487052"/>
                    <a:gd name="connsiteX192" fmla="*/ 70259 w 403093"/>
                    <a:gd name="connsiteY192" fmla="*/ 408717 h 487052"/>
                    <a:gd name="connsiteX193" fmla="*/ 69321 w 403093"/>
                    <a:gd name="connsiteY193" fmla="*/ 408603 h 487052"/>
                    <a:gd name="connsiteX194" fmla="*/ 66999 w 403093"/>
                    <a:gd name="connsiteY194" fmla="*/ 409166 h 487052"/>
                    <a:gd name="connsiteX195" fmla="*/ 62150 w 403093"/>
                    <a:gd name="connsiteY195" fmla="*/ 411667 h 487052"/>
                    <a:gd name="connsiteX196" fmla="*/ 60830 w 403093"/>
                    <a:gd name="connsiteY196" fmla="*/ 411676 h 487052"/>
                    <a:gd name="connsiteX197" fmla="*/ 62859 w 403093"/>
                    <a:gd name="connsiteY197" fmla="*/ 409891 h 487052"/>
                    <a:gd name="connsiteX198" fmla="*/ 67162 w 403093"/>
                    <a:gd name="connsiteY198" fmla="*/ 407446 h 487052"/>
                    <a:gd name="connsiteX199" fmla="*/ 69102 w 403093"/>
                    <a:gd name="connsiteY199" fmla="*/ 406036 h 487052"/>
                    <a:gd name="connsiteX200" fmla="*/ 73315 w 403093"/>
                    <a:gd name="connsiteY200" fmla="*/ 402108 h 487052"/>
                    <a:gd name="connsiteX201" fmla="*/ 75964 w 403093"/>
                    <a:gd name="connsiteY201" fmla="*/ 400242 h 487052"/>
                    <a:gd name="connsiteX202" fmla="*/ 77357 w 403093"/>
                    <a:gd name="connsiteY202" fmla="*/ 396941 h 487052"/>
                    <a:gd name="connsiteX203" fmla="*/ 77789 w 403093"/>
                    <a:gd name="connsiteY203" fmla="*/ 394936 h 487052"/>
                    <a:gd name="connsiteX204" fmla="*/ 78686 w 403093"/>
                    <a:gd name="connsiteY204" fmla="*/ 393168 h 487052"/>
                    <a:gd name="connsiteX205" fmla="*/ 79476 w 403093"/>
                    <a:gd name="connsiteY205" fmla="*/ 390348 h 487052"/>
                    <a:gd name="connsiteX206" fmla="*/ 80854 w 403093"/>
                    <a:gd name="connsiteY206" fmla="*/ 389402 h 487052"/>
                    <a:gd name="connsiteX207" fmla="*/ 83209 w 403093"/>
                    <a:gd name="connsiteY207" fmla="*/ 386982 h 487052"/>
                    <a:gd name="connsiteX208" fmla="*/ 84578 w 403093"/>
                    <a:gd name="connsiteY208" fmla="*/ 387218 h 487052"/>
                    <a:gd name="connsiteX209" fmla="*/ 86102 w 403093"/>
                    <a:gd name="connsiteY209" fmla="*/ 390193 h 487052"/>
                    <a:gd name="connsiteX210" fmla="*/ 88139 w 403093"/>
                    <a:gd name="connsiteY210" fmla="*/ 392483 h 487052"/>
                    <a:gd name="connsiteX211" fmla="*/ 89615 w 403093"/>
                    <a:gd name="connsiteY211" fmla="*/ 392296 h 487052"/>
                    <a:gd name="connsiteX212" fmla="*/ 92247 w 403093"/>
                    <a:gd name="connsiteY212" fmla="*/ 391122 h 487052"/>
                    <a:gd name="connsiteX213" fmla="*/ 93502 w 403093"/>
                    <a:gd name="connsiteY213" fmla="*/ 390853 h 487052"/>
                    <a:gd name="connsiteX214" fmla="*/ 96542 w 403093"/>
                    <a:gd name="connsiteY214" fmla="*/ 391000 h 487052"/>
                    <a:gd name="connsiteX215" fmla="*/ 99264 w 403093"/>
                    <a:gd name="connsiteY215" fmla="*/ 389541 h 487052"/>
                    <a:gd name="connsiteX216" fmla="*/ 100372 w 403093"/>
                    <a:gd name="connsiteY216" fmla="*/ 387829 h 487052"/>
                    <a:gd name="connsiteX217" fmla="*/ 100796 w 403093"/>
                    <a:gd name="connsiteY217" fmla="*/ 385694 h 487052"/>
                    <a:gd name="connsiteX218" fmla="*/ 99777 w 403093"/>
                    <a:gd name="connsiteY218" fmla="*/ 382117 h 487052"/>
                    <a:gd name="connsiteX219" fmla="*/ 101081 w 403093"/>
                    <a:gd name="connsiteY219" fmla="*/ 382475 h 487052"/>
                    <a:gd name="connsiteX220" fmla="*/ 102344 w 403093"/>
                    <a:gd name="connsiteY220" fmla="*/ 382328 h 487052"/>
                    <a:gd name="connsiteX221" fmla="*/ 105311 w 403093"/>
                    <a:gd name="connsiteY221" fmla="*/ 380047 h 487052"/>
                    <a:gd name="connsiteX222" fmla="*/ 108343 w 403093"/>
                    <a:gd name="connsiteY222" fmla="*/ 378694 h 487052"/>
                    <a:gd name="connsiteX223" fmla="*/ 111505 w 403093"/>
                    <a:gd name="connsiteY223" fmla="*/ 378351 h 487052"/>
                    <a:gd name="connsiteX224" fmla="*/ 115074 w 403093"/>
                    <a:gd name="connsiteY224" fmla="*/ 379647 h 487052"/>
                    <a:gd name="connsiteX225" fmla="*/ 118481 w 403093"/>
                    <a:gd name="connsiteY225" fmla="*/ 381709 h 487052"/>
                    <a:gd name="connsiteX226" fmla="*/ 288916 w 403093"/>
                    <a:gd name="connsiteY226" fmla="*/ 143549 h 487052"/>
                    <a:gd name="connsiteX227" fmla="*/ 289886 w 403093"/>
                    <a:gd name="connsiteY227" fmla="*/ 144193 h 487052"/>
                    <a:gd name="connsiteX228" fmla="*/ 294515 w 403093"/>
                    <a:gd name="connsiteY228" fmla="*/ 142449 h 487052"/>
                    <a:gd name="connsiteX229" fmla="*/ 293643 w 403093"/>
                    <a:gd name="connsiteY229" fmla="*/ 147706 h 487052"/>
                    <a:gd name="connsiteX230" fmla="*/ 293146 w 403093"/>
                    <a:gd name="connsiteY230" fmla="*/ 152995 h 487052"/>
                    <a:gd name="connsiteX231" fmla="*/ 293480 w 403093"/>
                    <a:gd name="connsiteY231" fmla="*/ 161764 h 487052"/>
                    <a:gd name="connsiteX232" fmla="*/ 293896 w 403093"/>
                    <a:gd name="connsiteY232" fmla="*/ 165717 h 487052"/>
                    <a:gd name="connsiteX233" fmla="*/ 294703 w 403093"/>
                    <a:gd name="connsiteY233" fmla="*/ 169539 h 487052"/>
                    <a:gd name="connsiteX234" fmla="*/ 296666 w 403093"/>
                    <a:gd name="connsiteY234" fmla="*/ 172277 h 487052"/>
                    <a:gd name="connsiteX235" fmla="*/ 299250 w 403093"/>
                    <a:gd name="connsiteY235" fmla="*/ 174217 h 487052"/>
                    <a:gd name="connsiteX236" fmla="*/ 302991 w 403093"/>
                    <a:gd name="connsiteY236" fmla="*/ 180411 h 487052"/>
                    <a:gd name="connsiteX237" fmla="*/ 304996 w 403093"/>
                    <a:gd name="connsiteY237" fmla="*/ 188014 h 487052"/>
                    <a:gd name="connsiteX238" fmla="*/ 306414 w 403093"/>
                    <a:gd name="connsiteY238" fmla="*/ 191706 h 487052"/>
                    <a:gd name="connsiteX239" fmla="*/ 307473 w 403093"/>
                    <a:gd name="connsiteY239" fmla="*/ 195569 h 487052"/>
                    <a:gd name="connsiteX240" fmla="*/ 307799 w 403093"/>
                    <a:gd name="connsiteY240" fmla="*/ 197338 h 487052"/>
                    <a:gd name="connsiteX241" fmla="*/ 307824 w 403093"/>
                    <a:gd name="connsiteY241" fmla="*/ 199106 h 487052"/>
                    <a:gd name="connsiteX242" fmla="*/ 307506 w 403093"/>
                    <a:gd name="connsiteY242" fmla="*/ 201527 h 487052"/>
                    <a:gd name="connsiteX243" fmla="*/ 307864 w 403093"/>
                    <a:gd name="connsiteY243" fmla="*/ 203483 h 487052"/>
                    <a:gd name="connsiteX244" fmla="*/ 307457 w 403093"/>
                    <a:gd name="connsiteY244" fmla="*/ 209627 h 487052"/>
                    <a:gd name="connsiteX245" fmla="*/ 305770 w 403093"/>
                    <a:gd name="connsiteY245" fmla="*/ 216718 h 487052"/>
                    <a:gd name="connsiteX246" fmla="*/ 305566 w 403093"/>
                    <a:gd name="connsiteY246" fmla="*/ 220344 h 487052"/>
                    <a:gd name="connsiteX247" fmla="*/ 304099 w 403093"/>
                    <a:gd name="connsiteY247" fmla="*/ 221061 h 487052"/>
                    <a:gd name="connsiteX248" fmla="*/ 303227 w 403093"/>
                    <a:gd name="connsiteY248" fmla="*/ 222732 h 487052"/>
                    <a:gd name="connsiteX249" fmla="*/ 302477 w 403093"/>
                    <a:gd name="connsiteY249" fmla="*/ 223506 h 487052"/>
                    <a:gd name="connsiteX250" fmla="*/ 301638 w 403093"/>
                    <a:gd name="connsiteY250" fmla="*/ 224110 h 487052"/>
                    <a:gd name="connsiteX251" fmla="*/ 300432 w 403093"/>
                    <a:gd name="connsiteY251" fmla="*/ 224256 h 487052"/>
                    <a:gd name="connsiteX252" fmla="*/ 299568 w 403093"/>
                    <a:gd name="connsiteY252" fmla="*/ 224941 h 487052"/>
                    <a:gd name="connsiteX253" fmla="*/ 299218 w 403093"/>
                    <a:gd name="connsiteY253" fmla="*/ 226856 h 487052"/>
                    <a:gd name="connsiteX254" fmla="*/ 298664 w 403093"/>
                    <a:gd name="connsiteY254" fmla="*/ 228633 h 487052"/>
                    <a:gd name="connsiteX255" fmla="*/ 297612 w 403093"/>
                    <a:gd name="connsiteY255" fmla="*/ 230271 h 487052"/>
                    <a:gd name="connsiteX256" fmla="*/ 296781 w 403093"/>
                    <a:gd name="connsiteY256" fmla="*/ 232072 h 487052"/>
                    <a:gd name="connsiteX257" fmla="*/ 296096 w 403093"/>
                    <a:gd name="connsiteY257" fmla="*/ 236481 h 487052"/>
                    <a:gd name="connsiteX258" fmla="*/ 295844 w 403093"/>
                    <a:gd name="connsiteY258" fmla="*/ 240979 h 487052"/>
                    <a:gd name="connsiteX259" fmla="*/ 294825 w 403093"/>
                    <a:gd name="connsiteY259" fmla="*/ 244125 h 487052"/>
                    <a:gd name="connsiteX260" fmla="*/ 292347 w 403093"/>
                    <a:gd name="connsiteY260" fmla="*/ 244948 h 487052"/>
                    <a:gd name="connsiteX261" fmla="*/ 289527 w 403093"/>
                    <a:gd name="connsiteY261" fmla="*/ 244891 h 487052"/>
                    <a:gd name="connsiteX262" fmla="*/ 285917 w 403093"/>
                    <a:gd name="connsiteY262" fmla="*/ 246350 h 487052"/>
                    <a:gd name="connsiteX263" fmla="*/ 285143 w 403093"/>
                    <a:gd name="connsiteY263" fmla="*/ 247198 h 487052"/>
                    <a:gd name="connsiteX264" fmla="*/ 282282 w 403093"/>
                    <a:gd name="connsiteY264" fmla="*/ 252691 h 487052"/>
                    <a:gd name="connsiteX265" fmla="*/ 281459 w 403093"/>
                    <a:gd name="connsiteY265" fmla="*/ 255902 h 487052"/>
                    <a:gd name="connsiteX266" fmla="*/ 281435 w 403093"/>
                    <a:gd name="connsiteY266" fmla="*/ 259365 h 487052"/>
                    <a:gd name="connsiteX267" fmla="*/ 282225 w 403093"/>
                    <a:gd name="connsiteY267" fmla="*/ 263611 h 487052"/>
                    <a:gd name="connsiteX268" fmla="*/ 283301 w 403093"/>
                    <a:gd name="connsiteY268" fmla="*/ 267768 h 487052"/>
                    <a:gd name="connsiteX269" fmla="*/ 284124 w 403093"/>
                    <a:gd name="connsiteY269" fmla="*/ 275494 h 487052"/>
                    <a:gd name="connsiteX270" fmla="*/ 283260 w 403093"/>
                    <a:gd name="connsiteY270" fmla="*/ 287245 h 487052"/>
                    <a:gd name="connsiteX271" fmla="*/ 282437 w 403093"/>
                    <a:gd name="connsiteY271" fmla="*/ 291003 h 487052"/>
                    <a:gd name="connsiteX272" fmla="*/ 280620 w 403093"/>
                    <a:gd name="connsiteY272" fmla="*/ 293545 h 487052"/>
                    <a:gd name="connsiteX273" fmla="*/ 279242 w 403093"/>
                    <a:gd name="connsiteY273" fmla="*/ 294727 h 487052"/>
                    <a:gd name="connsiteX274" fmla="*/ 278061 w 403093"/>
                    <a:gd name="connsiteY274" fmla="*/ 296169 h 487052"/>
                    <a:gd name="connsiteX275" fmla="*/ 276520 w 403093"/>
                    <a:gd name="connsiteY275" fmla="*/ 299992 h 487052"/>
                    <a:gd name="connsiteX276" fmla="*/ 273978 w 403093"/>
                    <a:gd name="connsiteY276" fmla="*/ 307604 h 487052"/>
                    <a:gd name="connsiteX277" fmla="*/ 273766 w 403093"/>
                    <a:gd name="connsiteY277" fmla="*/ 309511 h 487052"/>
                    <a:gd name="connsiteX278" fmla="*/ 273782 w 403093"/>
                    <a:gd name="connsiteY278" fmla="*/ 311491 h 487052"/>
                    <a:gd name="connsiteX279" fmla="*/ 273090 w 403093"/>
                    <a:gd name="connsiteY279" fmla="*/ 314066 h 487052"/>
                    <a:gd name="connsiteX280" fmla="*/ 272641 w 403093"/>
                    <a:gd name="connsiteY280" fmla="*/ 316601 h 487052"/>
                    <a:gd name="connsiteX281" fmla="*/ 273057 w 403093"/>
                    <a:gd name="connsiteY281" fmla="*/ 319543 h 487052"/>
                    <a:gd name="connsiteX282" fmla="*/ 273847 w 403093"/>
                    <a:gd name="connsiteY282" fmla="*/ 322297 h 487052"/>
                    <a:gd name="connsiteX283" fmla="*/ 277254 w 403093"/>
                    <a:gd name="connsiteY283" fmla="*/ 329355 h 487052"/>
                    <a:gd name="connsiteX284" fmla="*/ 278599 w 403093"/>
                    <a:gd name="connsiteY284" fmla="*/ 331450 h 487052"/>
                    <a:gd name="connsiteX285" fmla="*/ 280106 w 403093"/>
                    <a:gd name="connsiteY285" fmla="*/ 333349 h 487052"/>
                    <a:gd name="connsiteX286" fmla="*/ 274280 w 403093"/>
                    <a:gd name="connsiteY286" fmla="*/ 335451 h 487052"/>
                    <a:gd name="connsiteX287" fmla="*/ 273220 w 403093"/>
                    <a:gd name="connsiteY287" fmla="*/ 336413 h 487052"/>
                    <a:gd name="connsiteX288" fmla="*/ 269764 w 403093"/>
                    <a:gd name="connsiteY288" fmla="*/ 340439 h 487052"/>
                    <a:gd name="connsiteX289" fmla="*/ 268664 w 403093"/>
                    <a:gd name="connsiteY289" fmla="*/ 344245 h 487052"/>
                    <a:gd name="connsiteX290" fmla="*/ 268746 w 403093"/>
                    <a:gd name="connsiteY290" fmla="*/ 348458 h 487052"/>
                    <a:gd name="connsiteX291" fmla="*/ 268167 w 403093"/>
                    <a:gd name="connsiteY291" fmla="*/ 349974 h 487052"/>
                    <a:gd name="connsiteX292" fmla="*/ 267222 w 403093"/>
                    <a:gd name="connsiteY292" fmla="*/ 351278 h 487052"/>
                    <a:gd name="connsiteX293" fmla="*/ 266227 w 403093"/>
                    <a:gd name="connsiteY293" fmla="*/ 352150 h 487052"/>
                    <a:gd name="connsiteX294" fmla="*/ 262356 w 403093"/>
                    <a:gd name="connsiteY294" fmla="*/ 354081 h 487052"/>
                    <a:gd name="connsiteX295" fmla="*/ 259887 w 403093"/>
                    <a:gd name="connsiteY295" fmla="*/ 355997 h 487052"/>
                    <a:gd name="connsiteX296" fmla="*/ 257425 w 403093"/>
                    <a:gd name="connsiteY296" fmla="*/ 358996 h 487052"/>
                    <a:gd name="connsiteX297" fmla="*/ 256447 w 403093"/>
                    <a:gd name="connsiteY297" fmla="*/ 360560 h 487052"/>
                    <a:gd name="connsiteX298" fmla="*/ 254549 w 403093"/>
                    <a:gd name="connsiteY298" fmla="*/ 360055 h 487052"/>
                    <a:gd name="connsiteX299" fmla="*/ 253441 w 403093"/>
                    <a:gd name="connsiteY299" fmla="*/ 358678 h 487052"/>
                    <a:gd name="connsiteX300" fmla="*/ 254532 w 403093"/>
                    <a:gd name="connsiteY300" fmla="*/ 356926 h 487052"/>
                    <a:gd name="connsiteX301" fmla="*/ 254198 w 403093"/>
                    <a:gd name="connsiteY301" fmla="*/ 354880 h 487052"/>
                    <a:gd name="connsiteX302" fmla="*/ 254728 w 403093"/>
                    <a:gd name="connsiteY302" fmla="*/ 349607 h 487052"/>
                    <a:gd name="connsiteX303" fmla="*/ 254117 w 403093"/>
                    <a:gd name="connsiteY303" fmla="*/ 347488 h 487052"/>
                    <a:gd name="connsiteX304" fmla="*/ 256097 w 403093"/>
                    <a:gd name="connsiteY304" fmla="*/ 345883 h 487052"/>
                    <a:gd name="connsiteX305" fmla="*/ 257034 w 403093"/>
                    <a:gd name="connsiteY305" fmla="*/ 343324 h 487052"/>
                    <a:gd name="connsiteX306" fmla="*/ 259096 w 403093"/>
                    <a:gd name="connsiteY306" fmla="*/ 341270 h 487052"/>
                    <a:gd name="connsiteX307" fmla="*/ 260563 w 403093"/>
                    <a:gd name="connsiteY307" fmla="*/ 339445 h 487052"/>
                    <a:gd name="connsiteX308" fmla="*/ 260824 w 403093"/>
                    <a:gd name="connsiteY308" fmla="*/ 337969 h 487052"/>
                    <a:gd name="connsiteX309" fmla="*/ 259504 w 403093"/>
                    <a:gd name="connsiteY309" fmla="*/ 336372 h 487052"/>
                    <a:gd name="connsiteX310" fmla="*/ 258110 w 403093"/>
                    <a:gd name="connsiteY310" fmla="*/ 335223 h 487052"/>
                    <a:gd name="connsiteX311" fmla="*/ 256187 w 403093"/>
                    <a:gd name="connsiteY311" fmla="*/ 335223 h 487052"/>
                    <a:gd name="connsiteX312" fmla="*/ 254321 w 403093"/>
                    <a:gd name="connsiteY312" fmla="*/ 335565 h 487052"/>
                    <a:gd name="connsiteX313" fmla="*/ 253131 w 403093"/>
                    <a:gd name="connsiteY313" fmla="*/ 337089 h 487052"/>
                    <a:gd name="connsiteX314" fmla="*/ 252723 w 403093"/>
                    <a:gd name="connsiteY314" fmla="*/ 339151 h 487052"/>
                    <a:gd name="connsiteX315" fmla="*/ 252821 w 403093"/>
                    <a:gd name="connsiteY315" fmla="*/ 340121 h 487052"/>
                    <a:gd name="connsiteX316" fmla="*/ 252666 w 403093"/>
                    <a:gd name="connsiteY316" fmla="*/ 340960 h 487052"/>
                    <a:gd name="connsiteX317" fmla="*/ 249749 w 403093"/>
                    <a:gd name="connsiteY317" fmla="*/ 343796 h 487052"/>
                    <a:gd name="connsiteX318" fmla="*/ 250140 w 403093"/>
                    <a:gd name="connsiteY318" fmla="*/ 346755 h 487052"/>
                    <a:gd name="connsiteX319" fmla="*/ 250987 w 403093"/>
                    <a:gd name="connsiteY319" fmla="*/ 348254 h 487052"/>
                    <a:gd name="connsiteX320" fmla="*/ 252080 w 403093"/>
                    <a:gd name="connsiteY320" fmla="*/ 348963 h 487052"/>
                    <a:gd name="connsiteX321" fmla="*/ 251745 w 403093"/>
                    <a:gd name="connsiteY321" fmla="*/ 349982 h 487052"/>
                    <a:gd name="connsiteX322" fmla="*/ 250368 w 403093"/>
                    <a:gd name="connsiteY322" fmla="*/ 352362 h 487052"/>
                    <a:gd name="connsiteX323" fmla="*/ 249390 w 403093"/>
                    <a:gd name="connsiteY323" fmla="*/ 352598 h 487052"/>
                    <a:gd name="connsiteX324" fmla="*/ 247613 w 403093"/>
                    <a:gd name="connsiteY324" fmla="*/ 349265 h 487052"/>
                    <a:gd name="connsiteX325" fmla="*/ 245397 w 403093"/>
                    <a:gd name="connsiteY325" fmla="*/ 347439 h 487052"/>
                    <a:gd name="connsiteX326" fmla="*/ 242642 w 403093"/>
                    <a:gd name="connsiteY326" fmla="*/ 347448 h 487052"/>
                    <a:gd name="connsiteX327" fmla="*/ 239806 w 403093"/>
                    <a:gd name="connsiteY327" fmla="*/ 348116 h 487052"/>
                    <a:gd name="connsiteX328" fmla="*/ 237654 w 403093"/>
                    <a:gd name="connsiteY328" fmla="*/ 350333 h 487052"/>
                    <a:gd name="connsiteX329" fmla="*/ 236954 w 403093"/>
                    <a:gd name="connsiteY329" fmla="*/ 352174 h 487052"/>
                    <a:gd name="connsiteX330" fmla="*/ 236489 w 403093"/>
                    <a:gd name="connsiteY330" fmla="*/ 354081 h 487052"/>
                    <a:gd name="connsiteX331" fmla="*/ 236644 w 403093"/>
                    <a:gd name="connsiteY331" fmla="*/ 358702 h 487052"/>
                    <a:gd name="connsiteX332" fmla="*/ 235755 w 403093"/>
                    <a:gd name="connsiteY332" fmla="*/ 362565 h 487052"/>
                    <a:gd name="connsiteX333" fmla="*/ 234011 w 403093"/>
                    <a:gd name="connsiteY333" fmla="*/ 365964 h 487052"/>
                    <a:gd name="connsiteX334" fmla="*/ 233188 w 403093"/>
                    <a:gd name="connsiteY334" fmla="*/ 367203 h 487052"/>
                    <a:gd name="connsiteX335" fmla="*/ 231053 w 403093"/>
                    <a:gd name="connsiteY335" fmla="*/ 369501 h 487052"/>
                    <a:gd name="connsiteX336" fmla="*/ 229578 w 403093"/>
                    <a:gd name="connsiteY336" fmla="*/ 369802 h 487052"/>
                    <a:gd name="connsiteX337" fmla="*/ 228527 w 403093"/>
                    <a:gd name="connsiteY337" fmla="*/ 368759 h 487052"/>
                    <a:gd name="connsiteX338" fmla="*/ 227679 w 403093"/>
                    <a:gd name="connsiteY338" fmla="*/ 367178 h 487052"/>
                    <a:gd name="connsiteX339" fmla="*/ 228763 w 403093"/>
                    <a:gd name="connsiteY339" fmla="*/ 361384 h 487052"/>
                    <a:gd name="connsiteX340" fmla="*/ 228722 w 403093"/>
                    <a:gd name="connsiteY340" fmla="*/ 358124 h 487052"/>
                    <a:gd name="connsiteX341" fmla="*/ 231224 w 403093"/>
                    <a:gd name="connsiteY341" fmla="*/ 356461 h 487052"/>
                    <a:gd name="connsiteX342" fmla="*/ 229162 w 403093"/>
                    <a:gd name="connsiteY342" fmla="*/ 354147 h 487052"/>
                    <a:gd name="connsiteX343" fmla="*/ 226660 w 403093"/>
                    <a:gd name="connsiteY343" fmla="*/ 353209 h 487052"/>
                    <a:gd name="connsiteX344" fmla="*/ 223123 w 403093"/>
                    <a:gd name="connsiteY344" fmla="*/ 354448 h 487052"/>
                    <a:gd name="connsiteX345" fmla="*/ 222129 w 403093"/>
                    <a:gd name="connsiteY345" fmla="*/ 355842 h 487052"/>
                    <a:gd name="connsiteX346" fmla="*/ 221445 w 403093"/>
                    <a:gd name="connsiteY346" fmla="*/ 357716 h 487052"/>
                    <a:gd name="connsiteX347" fmla="*/ 219554 w 403093"/>
                    <a:gd name="connsiteY347" fmla="*/ 360088 h 487052"/>
                    <a:gd name="connsiteX348" fmla="*/ 217451 w 403093"/>
                    <a:gd name="connsiteY348" fmla="*/ 362305 h 487052"/>
                    <a:gd name="connsiteX349" fmla="*/ 215088 w 403093"/>
                    <a:gd name="connsiteY349" fmla="*/ 366094 h 487052"/>
                    <a:gd name="connsiteX350" fmla="*/ 213499 w 403093"/>
                    <a:gd name="connsiteY350" fmla="*/ 370568 h 487052"/>
                    <a:gd name="connsiteX351" fmla="*/ 208283 w 403093"/>
                    <a:gd name="connsiteY351" fmla="*/ 369110 h 487052"/>
                    <a:gd name="connsiteX352" fmla="*/ 205439 w 403093"/>
                    <a:gd name="connsiteY352" fmla="*/ 368775 h 487052"/>
                    <a:gd name="connsiteX353" fmla="*/ 202553 w 403093"/>
                    <a:gd name="connsiteY353" fmla="*/ 368890 h 487052"/>
                    <a:gd name="connsiteX354" fmla="*/ 197468 w 403093"/>
                    <a:gd name="connsiteY354" fmla="*/ 368344 h 487052"/>
                    <a:gd name="connsiteX355" fmla="*/ 191885 w 403093"/>
                    <a:gd name="connsiteY355" fmla="*/ 369256 h 487052"/>
                    <a:gd name="connsiteX356" fmla="*/ 185520 w 403093"/>
                    <a:gd name="connsiteY356" fmla="*/ 371017 h 487052"/>
                    <a:gd name="connsiteX357" fmla="*/ 185912 w 403093"/>
                    <a:gd name="connsiteY357" fmla="*/ 369745 h 487052"/>
                    <a:gd name="connsiteX358" fmla="*/ 191136 w 403093"/>
                    <a:gd name="connsiteY358" fmla="*/ 367048 h 487052"/>
                    <a:gd name="connsiteX359" fmla="*/ 191323 w 403093"/>
                    <a:gd name="connsiteY359" fmla="*/ 366257 h 487052"/>
                    <a:gd name="connsiteX360" fmla="*/ 190818 w 403093"/>
                    <a:gd name="connsiteY360" fmla="*/ 364782 h 487052"/>
                    <a:gd name="connsiteX361" fmla="*/ 189522 w 403093"/>
                    <a:gd name="connsiteY361" fmla="*/ 364709 h 487052"/>
                    <a:gd name="connsiteX362" fmla="*/ 186384 w 403093"/>
                    <a:gd name="connsiteY362" fmla="*/ 365222 h 487052"/>
                    <a:gd name="connsiteX363" fmla="*/ 184795 w 403093"/>
                    <a:gd name="connsiteY363" fmla="*/ 365002 h 487052"/>
                    <a:gd name="connsiteX364" fmla="*/ 184143 w 403093"/>
                    <a:gd name="connsiteY364" fmla="*/ 363421 h 487052"/>
                    <a:gd name="connsiteX365" fmla="*/ 183084 w 403093"/>
                    <a:gd name="connsiteY365" fmla="*/ 362736 h 487052"/>
                    <a:gd name="connsiteX366" fmla="*/ 182375 w 403093"/>
                    <a:gd name="connsiteY366" fmla="*/ 363388 h 487052"/>
                    <a:gd name="connsiteX367" fmla="*/ 182603 w 403093"/>
                    <a:gd name="connsiteY367" fmla="*/ 366469 h 487052"/>
                    <a:gd name="connsiteX368" fmla="*/ 181837 w 403093"/>
                    <a:gd name="connsiteY368" fmla="*/ 366885 h 487052"/>
                    <a:gd name="connsiteX369" fmla="*/ 180802 w 403093"/>
                    <a:gd name="connsiteY369" fmla="*/ 366086 h 487052"/>
                    <a:gd name="connsiteX370" fmla="*/ 181128 w 403093"/>
                    <a:gd name="connsiteY370" fmla="*/ 363698 h 487052"/>
                    <a:gd name="connsiteX371" fmla="*/ 180419 w 403093"/>
                    <a:gd name="connsiteY371" fmla="*/ 360194 h 487052"/>
                    <a:gd name="connsiteX372" fmla="*/ 180346 w 403093"/>
                    <a:gd name="connsiteY372" fmla="*/ 358010 h 487052"/>
                    <a:gd name="connsiteX373" fmla="*/ 181438 w 403093"/>
                    <a:gd name="connsiteY373" fmla="*/ 356143 h 487052"/>
                    <a:gd name="connsiteX374" fmla="*/ 180313 w 403093"/>
                    <a:gd name="connsiteY374" fmla="*/ 355353 h 487052"/>
                    <a:gd name="connsiteX375" fmla="*/ 179131 w 403093"/>
                    <a:gd name="connsiteY375" fmla="*/ 355654 h 487052"/>
                    <a:gd name="connsiteX376" fmla="*/ 177623 w 403093"/>
                    <a:gd name="connsiteY376" fmla="*/ 356551 h 487052"/>
                    <a:gd name="connsiteX377" fmla="*/ 176295 w 403093"/>
                    <a:gd name="connsiteY377" fmla="*/ 357830 h 487052"/>
                    <a:gd name="connsiteX378" fmla="*/ 173483 w 403093"/>
                    <a:gd name="connsiteY378" fmla="*/ 364228 h 487052"/>
                    <a:gd name="connsiteX379" fmla="*/ 172391 w 403093"/>
                    <a:gd name="connsiteY379" fmla="*/ 367879 h 487052"/>
                    <a:gd name="connsiteX380" fmla="*/ 174445 w 403093"/>
                    <a:gd name="connsiteY380" fmla="*/ 370813 h 487052"/>
                    <a:gd name="connsiteX381" fmla="*/ 180044 w 403093"/>
                    <a:gd name="connsiteY381" fmla="*/ 374912 h 487052"/>
                    <a:gd name="connsiteX382" fmla="*/ 181014 w 403093"/>
                    <a:gd name="connsiteY382" fmla="*/ 375915 h 487052"/>
                    <a:gd name="connsiteX383" fmla="*/ 181022 w 403093"/>
                    <a:gd name="connsiteY383" fmla="*/ 377659 h 487052"/>
                    <a:gd name="connsiteX384" fmla="*/ 180346 w 403093"/>
                    <a:gd name="connsiteY384" fmla="*/ 379509 h 487052"/>
                    <a:gd name="connsiteX385" fmla="*/ 178822 w 403093"/>
                    <a:gd name="connsiteY385" fmla="*/ 380324 h 487052"/>
                    <a:gd name="connsiteX386" fmla="*/ 172676 w 403093"/>
                    <a:gd name="connsiteY386" fmla="*/ 381685 h 487052"/>
                    <a:gd name="connsiteX387" fmla="*/ 167355 w 403093"/>
                    <a:gd name="connsiteY387" fmla="*/ 384333 h 487052"/>
                    <a:gd name="connsiteX388" fmla="*/ 165822 w 403093"/>
                    <a:gd name="connsiteY388" fmla="*/ 387023 h 487052"/>
                    <a:gd name="connsiteX389" fmla="*/ 160982 w 403093"/>
                    <a:gd name="connsiteY389" fmla="*/ 397381 h 487052"/>
                    <a:gd name="connsiteX390" fmla="*/ 157094 w 403093"/>
                    <a:gd name="connsiteY390" fmla="*/ 404463 h 487052"/>
                    <a:gd name="connsiteX391" fmla="*/ 151618 w 403093"/>
                    <a:gd name="connsiteY391" fmla="*/ 406900 h 487052"/>
                    <a:gd name="connsiteX392" fmla="*/ 145603 w 403093"/>
                    <a:gd name="connsiteY392" fmla="*/ 404732 h 487052"/>
                    <a:gd name="connsiteX393" fmla="*/ 144144 w 403093"/>
                    <a:gd name="connsiteY393" fmla="*/ 402271 h 487052"/>
                    <a:gd name="connsiteX394" fmla="*/ 142963 w 403093"/>
                    <a:gd name="connsiteY394" fmla="*/ 399215 h 487052"/>
                    <a:gd name="connsiteX395" fmla="*/ 140738 w 403093"/>
                    <a:gd name="connsiteY395" fmla="*/ 396460 h 487052"/>
                    <a:gd name="connsiteX396" fmla="*/ 138717 w 403093"/>
                    <a:gd name="connsiteY396" fmla="*/ 393453 h 487052"/>
                    <a:gd name="connsiteX397" fmla="*/ 137535 w 403093"/>
                    <a:gd name="connsiteY397" fmla="*/ 389883 h 487052"/>
                    <a:gd name="connsiteX398" fmla="*/ 137714 w 403093"/>
                    <a:gd name="connsiteY398" fmla="*/ 384130 h 487052"/>
                    <a:gd name="connsiteX399" fmla="*/ 136850 w 403093"/>
                    <a:gd name="connsiteY399" fmla="*/ 380666 h 487052"/>
                    <a:gd name="connsiteX400" fmla="*/ 137641 w 403093"/>
                    <a:gd name="connsiteY400" fmla="*/ 379737 h 487052"/>
                    <a:gd name="connsiteX401" fmla="*/ 140958 w 403093"/>
                    <a:gd name="connsiteY401" fmla="*/ 377626 h 487052"/>
                    <a:gd name="connsiteX402" fmla="*/ 142042 w 403093"/>
                    <a:gd name="connsiteY402" fmla="*/ 376444 h 487052"/>
                    <a:gd name="connsiteX403" fmla="*/ 143908 w 403093"/>
                    <a:gd name="connsiteY403" fmla="*/ 373698 h 487052"/>
                    <a:gd name="connsiteX404" fmla="*/ 144585 w 403093"/>
                    <a:gd name="connsiteY404" fmla="*/ 372166 h 487052"/>
                    <a:gd name="connsiteX405" fmla="*/ 144682 w 403093"/>
                    <a:gd name="connsiteY405" fmla="*/ 369851 h 487052"/>
                    <a:gd name="connsiteX406" fmla="*/ 143166 w 403093"/>
                    <a:gd name="connsiteY406" fmla="*/ 368645 h 487052"/>
                    <a:gd name="connsiteX407" fmla="*/ 139279 w 403093"/>
                    <a:gd name="connsiteY407" fmla="*/ 368694 h 487052"/>
                    <a:gd name="connsiteX408" fmla="*/ 135391 w 403093"/>
                    <a:gd name="connsiteY408" fmla="*/ 369411 h 487052"/>
                    <a:gd name="connsiteX409" fmla="*/ 132613 w 403093"/>
                    <a:gd name="connsiteY409" fmla="*/ 368392 h 487052"/>
                    <a:gd name="connsiteX410" fmla="*/ 129027 w 403093"/>
                    <a:gd name="connsiteY410" fmla="*/ 365589 h 487052"/>
                    <a:gd name="connsiteX411" fmla="*/ 127910 w 403093"/>
                    <a:gd name="connsiteY411" fmla="*/ 364986 h 487052"/>
                    <a:gd name="connsiteX412" fmla="*/ 124023 w 403093"/>
                    <a:gd name="connsiteY412" fmla="*/ 364815 h 487052"/>
                    <a:gd name="connsiteX413" fmla="*/ 121260 w 403093"/>
                    <a:gd name="connsiteY413" fmla="*/ 365328 h 487052"/>
                    <a:gd name="connsiteX414" fmla="*/ 118546 w 403093"/>
                    <a:gd name="connsiteY414" fmla="*/ 366355 h 487052"/>
                    <a:gd name="connsiteX415" fmla="*/ 115726 w 403093"/>
                    <a:gd name="connsiteY415" fmla="*/ 366689 h 487052"/>
                    <a:gd name="connsiteX416" fmla="*/ 114773 w 403093"/>
                    <a:gd name="connsiteY416" fmla="*/ 367227 h 487052"/>
                    <a:gd name="connsiteX417" fmla="*/ 111464 w 403093"/>
                    <a:gd name="connsiteY417" fmla="*/ 370658 h 487052"/>
                    <a:gd name="connsiteX418" fmla="*/ 108824 w 403093"/>
                    <a:gd name="connsiteY418" fmla="*/ 372818 h 487052"/>
                    <a:gd name="connsiteX419" fmla="*/ 106549 w 403093"/>
                    <a:gd name="connsiteY419" fmla="*/ 373885 h 487052"/>
                    <a:gd name="connsiteX420" fmla="*/ 101627 w 403093"/>
                    <a:gd name="connsiteY420" fmla="*/ 374171 h 487052"/>
                    <a:gd name="connsiteX421" fmla="*/ 99158 w 403093"/>
                    <a:gd name="connsiteY421" fmla="*/ 374871 h 487052"/>
                    <a:gd name="connsiteX422" fmla="*/ 96583 w 403093"/>
                    <a:gd name="connsiteY422" fmla="*/ 376004 h 487052"/>
                    <a:gd name="connsiteX423" fmla="*/ 95857 w 403093"/>
                    <a:gd name="connsiteY423" fmla="*/ 375898 h 487052"/>
                    <a:gd name="connsiteX424" fmla="*/ 93135 w 403093"/>
                    <a:gd name="connsiteY424" fmla="*/ 377471 h 487052"/>
                    <a:gd name="connsiteX425" fmla="*/ 90006 w 403093"/>
                    <a:gd name="connsiteY425" fmla="*/ 378832 h 487052"/>
                    <a:gd name="connsiteX426" fmla="*/ 88335 w 403093"/>
                    <a:gd name="connsiteY426" fmla="*/ 380193 h 487052"/>
                    <a:gd name="connsiteX427" fmla="*/ 85287 w 403093"/>
                    <a:gd name="connsiteY427" fmla="*/ 379297 h 487052"/>
                    <a:gd name="connsiteX428" fmla="*/ 79216 w 403093"/>
                    <a:gd name="connsiteY428" fmla="*/ 381742 h 487052"/>
                    <a:gd name="connsiteX429" fmla="*/ 76298 w 403093"/>
                    <a:gd name="connsiteY429" fmla="*/ 382043 h 487052"/>
                    <a:gd name="connsiteX430" fmla="*/ 73266 w 403093"/>
                    <a:gd name="connsiteY430" fmla="*/ 380698 h 487052"/>
                    <a:gd name="connsiteX431" fmla="*/ 70455 w 403093"/>
                    <a:gd name="connsiteY431" fmla="*/ 378514 h 487052"/>
                    <a:gd name="connsiteX432" fmla="*/ 67765 w 403093"/>
                    <a:gd name="connsiteY432" fmla="*/ 379443 h 487052"/>
                    <a:gd name="connsiteX433" fmla="*/ 65915 w 403093"/>
                    <a:gd name="connsiteY433" fmla="*/ 382654 h 487052"/>
                    <a:gd name="connsiteX434" fmla="*/ 65019 w 403093"/>
                    <a:gd name="connsiteY434" fmla="*/ 389044 h 487052"/>
                    <a:gd name="connsiteX435" fmla="*/ 63967 w 403093"/>
                    <a:gd name="connsiteY435" fmla="*/ 391921 h 487052"/>
                    <a:gd name="connsiteX436" fmla="*/ 63633 w 403093"/>
                    <a:gd name="connsiteY436" fmla="*/ 395376 h 487052"/>
                    <a:gd name="connsiteX437" fmla="*/ 62248 w 403093"/>
                    <a:gd name="connsiteY437" fmla="*/ 394830 h 487052"/>
                    <a:gd name="connsiteX438" fmla="*/ 54139 w 403093"/>
                    <a:gd name="connsiteY438" fmla="*/ 388620 h 487052"/>
                    <a:gd name="connsiteX439" fmla="*/ 53576 w 403093"/>
                    <a:gd name="connsiteY439" fmla="*/ 388400 h 487052"/>
                    <a:gd name="connsiteX440" fmla="*/ 47016 w 403093"/>
                    <a:gd name="connsiteY440" fmla="*/ 389468 h 487052"/>
                    <a:gd name="connsiteX441" fmla="*/ 45320 w 403093"/>
                    <a:gd name="connsiteY441" fmla="*/ 389981 h 487052"/>
                    <a:gd name="connsiteX442" fmla="*/ 43210 w 403093"/>
                    <a:gd name="connsiteY442" fmla="*/ 391236 h 487052"/>
                    <a:gd name="connsiteX443" fmla="*/ 40985 w 403093"/>
                    <a:gd name="connsiteY443" fmla="*/ 391798 h 487052"/>
                    <a:gd name="connsiteX444" fmla="*/ 38940 w 403093"/>
                    <a:gd name="connsiteY444" fmla="*/ 390894 h 487052"/>
                    <a:gd name="connsiteX445" fmla="*/ 37000 w 403093"/>
                    <a:gd name="connsiteY445" fmla="*/ 389419 h 487052"/>
                    <a:gd name="connsiteX446" fmla="*/ 35125 w 403093"/>
                    <a:gd name="connsiteY446" fmla="*/ 389859 h 487052"/>
                    <a:gd name="connsiteX447" fmla="*/ 33202 w 403093"/>
                    <a:gd name="connsiteY447" fmla="*/ 390886 h 487052"/>
                    <a:gd name="connsiteX448" fmla="*/ 32469 w 403093"/>
                    <a:gd name="connsiteY448" fmla="*/ 381513 h 487052"/>
                    <a:gd name="connsiteX449" fmla="*/ 32844 w 403093"/>
                    <a:gd name="connsiteY449" fmla="*/ 380275 h 487052"/>
                    <a:gd name="connsiteX450" fmla="*/ 34033 w 403093"/>
                    <a:gd name="connsiteY450" fmla="*/ 378628 h 487052"/>
                    <a:gd name="connsiteX451" fmla="*/ 35321 w 403093"/>
                    <a:gd name="connsiteY451" fmla="*/ 377227 h 487052"/>
                    <a:gd name="connsiteX452" fmla="*/ 38499 w 403093"/>
                    <a:gd name="connsiteY452" fmla="*/ 376738 h 487052"/>
                    <a:gd name="connsiteX453" fmla="*/ 41719 w 403093"/>
                    <a:gd name="connsiteY453" fmla="*/ 377194 h 487052"/>
                    <a:gd name="connsiteX454" fmla="*/ 44017 w 403093"/>
                    <a:gd name="connsiteY454" fmla="*/ 376542 h 487052"/>
                    <a:gd name="connsiteX455" fmla="*/ 45948 w 403093"/>
                    <a:gd name="connsiteY455" fmla="*/ 374684 h 487052"/>
                    <a:gd name="connsiteX456" fmla="*/ 47994 w 403093"/>
                    <a:gd name="connsiteY456" fmla="*/ 372052 h 487052"/>
                    <a:gd name="connsiteX457" fmla="*/ 50300 w 403093"/>
                    <a:gd name="connsiteY457" fmla="*/ 369900 h 487052"/>
                    <a:gd name="connsiteX458" fmla="*/ 53421 w 403093"/>
                    <a:gd name="connsiteY458" fmla="*/ 368205 h 487052"/>
                    <a:gd name="connsiteX459" fmla="*/ 56453 w 403093"/>
                    <a:gd name="connsiteY459" fmla="*/ 366265 h 487052"/>
                    <a:gd name="connsiteX460" fmla="*/ 59110 w 403093"/>
                    <a:gd name="connsiteY460" fmla="*/ 363535 h 487052"/>
                    <a:gd name="connsiteX461" fmla="*/ 61636 w 403093"/>
                    <a:gd name="connsiteY461" fmla="*/ 360552 h 487052"/>
                    <a:gd name="connsiteX462" fmla="*/ 63951 w 403093"/>
                    <a:gd name="connsiteY462" fmla="*/ 358360 h 487052"/>
                    <a:gd name="connsiteX463" fmla="*/ 66469 w 403093"/>
                    <a:gd name="connsiteY463" fmla="*/ 356526 h 487052"/>
                    <a:gd name="connsiteX464" fmla="*/ 70299 w 403093"/>
                    <a:gd name="connsiteY464" fmla="*/ 352117 h 487052"/>
                    <a:gd name="connsiteX465" fmla="*/ 75385 w 403093"/>
                    <a:gd name="connsiteY465" fmla="*/ 347154 h 487052"/>
                    <a:gd name="connsiteX466" fmla="*/ 77333 w 403093"/>
                    <a:gd name="connsiteY466" fmla="*/ 343479 h 487052"/>
                    <a:gd name="connsiteX467" fmla="*/ 78539 w 403093"/>
                    <a:gd name="connsiteY467" fmla="*/ 342460 h 487052"/>
                    <a:gd name="connsiteX468" fmla="*/ 82915 w 403093"/>
                    <a:gd name="connsiteY468" fmla="*/ 340406 h 487052"/>
                    <a:gd name="connsiteX469" fmla="*/ 88718 w 403093"/>
                    <a:gd name="connsiteY469" fmla="*/ 338841 h 487052"/>
                    <a:gd name="connsiteX470" fmla="*/ 91456 w 403093"/>
                    <a:gd name="connsiteY470" fmla="*/ 338915 h 487052"/>
                    <a:gd name="connsiteX471" fmla="*/ 94162 w 403093"/>
                    <a:gd name="connsiteY471" fmla="*/ 342142 h 487052"/>
                    <a:gd name="connsiteX472" fmla="*/ 95629 w 403093"/>
                    <a:gd name="connsiteY472" fmla="*/ 341694 h 487052"/>
                    <a:gd name="connsiteX473" fmla="*/ 97104 w 403093"/>
                    <a:gd name="connsiteY473" fmla="*/ 340863 h 487052"/>
                    <a:gd name="connsiteX474" fmla="*/ 100095 w 403093"/>
                    <a:gd name="connsiteY474" fmla="*/ 340398 h 487052"/>
                    <a:gd name="connsiteX475" fmla="*/ 103175 w 403093"/>
                    <a:gd name="connsiteY475" fmla="*/ 340928 h 487052"/>
                    <a:gd name="connsiteX476" fmla="*/ 106166 w 403093"/>
                    <a:gd name="connsiteY476" fmla="*/ 340936 h 487052"/>
                    <a:gd name="connsiteX477" fmla="*/ 109157 w 403093"/>
                    <a:gd name="connsiteY477" fmla="*/ 340528 h 487052"/>
                    <a:gd name="connsiteX478" fmla="*/ 114936 w 403093"/>
                    <a:gd name="connsiteY478" fmla="*/ 339477 h 487052"/>
                    <a:gd name="connsiteX479" fmla="*/ 117976 w 403093"/>
                    <a:gd name="connsiteY479" fmla="*/ 338198 h 487052"/>
                    <a:gd name="connsiteX480" fmla="*/ 120934 w 403093"/>
                    <a:gd name="connsiteY480" fmla="*/ 336551 h 487052"/>
                    <a:gd name="connsiteX481" fmla="*/ 131512 w 403093"/>
                    <a:gd name="connsiteY481" fmla="*/ 335378 h 487052"/>
                    <a:gd name="connsiteX482" fmla="*/ 138749 w 403093"/>
                    <a:gd name="connsiteY482" fmla="*/ 332615 h 487052"/>
                    <a:gd name="connsiteX483" fmla="*/ 139898 w 403093"/>
                    <a:gd name="connsiteY483" fmla="*/ 332811 h 487052"/>
                    <a:gd name="connsiteX484" fmla="*/ 141023 w 403093"/>
                    <a:gd name="connsiteY484" fmla="*/ 333454 h 487052"/>
                    <a:gd name="connsiteX485" fmla="*/ 141105 w 403093"/>
                    <a:gd name="connsiteY485" fmla="*/ 335500 h 487052"/>
                    <a:gd name="connsiteX486" fmla="*/ 140208 w 403093"/>
                    <a:gd name="connsiteY486" fmla="*/ 337741 h 487052"/>
                    <a:gd name="connsiteX487" fmla="*/ 141072 w 403093"/>
                    <a:gd name="connsiteY487" fmla="*/ 339094 h 487052"/>
                    <a:gd name="connsiteX488" fmla="*/ 142555 w 403093"/>
                    <a:gd name="connsiteY488" fmla="*/ 339933 h 487052"/>
                    <a:gd name="connsiteX489" fmla="*/ 149368 w 403093"/>
                    <a:gd name="connsiteY489" fmla="*/ 340194 h 487052"/>
                    <a:gd name="connsiteX490" fmla="*/ 151316 w 403093"/>
                    <a:gd name="connsiteY490" fmla="*/ 340675 h 487052"/>
                    <a:gd name="connsiteX491" fmla="*/ 154160 w 403093"/>
                    <a:gd name="connsiteY491" fmla="*/ 339143 h 487052"/>
                    <a:gd name="connsiteX492" fmla="*/ 156842 w 403093"/>
                    <a:gd name="connsiteY492" fmla="*/ 337252 h 487052"/>
                    <a:gd name="connsiteX493" fmla="*/ 159645 w 403093"/>
                    <a:gd name="connsiteY493" fmla="*/ 334750 h 487052"/>
                    <a:gd name="connsiteX494" fmla="*/ 161609 w 403093"/>
                    <a:gd name="connsiteY494" fmla="*/ 331939 h 487052"/>
                    <a:gd name="connsiteX495" fmla="*/ 159800 w 403093"/>
                    <a:gd name="connsiteY495" fmla="*/ 328418 h 487052"/>
                    <a:gd name="connsiteX496" fmla="*/ 159392 w 403093"/>
                    <a:gd name="connsiteY496" fmla="*/ 324563 h 487052"/>
                    <a:gd name="connsiteX497" fmla="*/ 160916 w 403093"/>
                    <a:gd name="connsiteY497" fmla="*/ 320382 h 487052"/>
                    <a:gd name="connsiteX498" fmla="*/ 163125 w 403093"/>
                    <a:gd name="connsiteY498" fmla="*/ 316853 h 487052"/>
                    <a:gd name="connsiteX499" fmla="*/ 165741 w 403093"/>
                    <a:gd name="connsiteY499" fmla="*/ 314718 h 487052"/>
                    <a:gd name="connsiteX500" fmla="*/ 168153 w 403093"/>
                    <a:gd name="connsiteY500" fmla="*/ 312265 h 487052"/>
                    <a:gd name="connsiteX501" fmla="*/ 173035 w 403093"/>
                    <a:gd name="connsiteY501" fmla="*/ 305281 h 487052"/>
                    <a:gd name="connsiteX502" fmla="*/ 176572 w 403093"/>
                    <a:gd name="connsiteY502" fmla="*/ 299633 h 487052"/>
                    <a:gd name="connsiteX503" fmla="*/ 177835 w 403093"/>
                    <a:gd name="connsiteY503" fmla="*/ 292681 h 487052"/>
                    <a:gd name="connsiteX504" fmla="*/ 177086 w 403093"/>
                    <a:gd name="connsiteY504" fmla="*/ 284442 h 487052"/>
                    <a:gd name="connsiteX505" fmla="*/ 180175 w 403093"/>
                    <a:gd name="connsiteY505" fmla="*/ 278313 h 487052"/>
                    <a:gd name="connsiteX506" fmla="*/ 183116 w 403093"/>
                    <a:gd name="connsiteY506" fmla="*/ 277262 h 487052"/>
                    <a:gd name="connsiteX507" fmla="*/ 188984 w 403093"/>
                    <a:gd name="connsiteY507" fmla="*/ 274467 h 487052"/>
                    <a:gd name="connsiteX508" fmla="*/ 192056 w 403093"/>
                    <a:gd name="connsiteY508" fmla="*/ 273644 h 487052"/>
                    <a:gd name="connsiteX509" fmla="*/ 192521 w 403093"/>
                    <a:gd name="connsiteY509" fmla="*/ 274866 h 487052"/>
                    <a:gd name="connsiteX510" fmla="*/ 192424 w 403093"/>
                    <a:gd name="connsiteY510" fmla="*/ 276463 h 487052"/>
                    <a:gd name="connsiteX511" fmla="*/ 187835 w 403093"/>
                    <a:gd name="connsiteY511" fmla="*/ 281606 h 487052"/>
                    <a:gd name="connsiteX512" fmla="*/ 185195 w 403093"/>
                    <a:gd name="connsiteY512" fmla="*/ 283725 h 487052"/>
                    <a:gd name="connsiteX513" fmla="*/ 183622 w 403093"/>
                    <a:gd name="connsiteY513" fmla="*/ 284385 h 487052"/>
                    <a:gd name="connsiteX514" fmla="*/ 182171 w 403093"/>
                    <a:gd name="connsiteY514" fmla="*/ 285322 h 487052"/>
                    <a:gd name="connsiteX515" fmla="*/ 181584 w 403093"/>
                    <a:gd name="connsiteY515" fmla="*/ 287131 h 487052"/>
                    <a:gd name="connsiteX516" fmla="*/ 183923 w 403093"/>
                    <a:gd name="connsiteY516" fmla="*/ 290171 h 487052"/>
                    <a:gd name="connsiteX517" fmla="*/ 184526 w 403093"/>
                    <a:gd name="connsiteY517" fmla="*/ 292404 h 487052"/>
                    <a:gd name="connsiteX518" fmla="*/ 184371 w 403093"/>
                    <a:gd name="connsiteY518" fmla="*/ 294548 h 487052"/>
                    <a:gd name="connsiteX519" fmla="*/ 184477 w 403093"/>
                    <a:gd name="connsiteY519" fmla="*/ 296471 h 487052"/>
                    <a:gd name="connsiteX520" fmla="*/ 187126 w 403093"/>
                    <a:gd name="connsiteY520" fmla="*/ 298574 h 487052"/>
                    <a:gd name="connsiteX521" fmla="*/ 190174 w 403093"/>
                    <a:gd name="connsiteY521" fmla="*/ 299266 h 487052"/>
                    <a:gd name="connsiteX522" fmla="*/ 191437 w 403093"/>
                    <a:gd name="connsiteY522" fmla="*/ 299250 h 487052"/>
                    <a:gd name="connsiteX523" fmla="*/ 192554 w 403093"/>
                    <a:gd name="connsiteY523" fmla="*/ 298696 h 487052"/>
                    <a:gd name="connsiteX524" fmla="*/ 196025 w 403093"/>
                    <a:gd name="connsiteY524" fmla="*/ 293561 h 487052"/>
                    <a:gd name="connsiteX525" fmla="*/ 196808 w 403093"/>
                    <a:gd name="connsiteY525" fmla="*/ 292673 h 487052"/>
                    <a:gd name="connsiteX526" fmla="*/ 206718 w 403093"/>
                    <a:gd name="connsiteY526" fmla="*/ 288908 h 487052"/>
                    <a:gd name="connsiteX527" fmla="*/ 211583 w 403093"/>
                    <a:gd name="connsiteY527" fmla="*/ 286023 h 487052"/>
                    <a:gd name="connsiteX528" fmla="*/ 214281 w 403093"/>
                    <a:gd name="connsiteY528" fmla="*/ 285281 h 487052"/>
                    <a:gd name="connsiteX529" fmla="*/ 216808 w 403093"/>
                    <a:gd name="connsiteY529" fmla="*/ 283774 h 487052"/>
                    <a:gd name="connsiteX530" fmla="*/ 222463 w 403093"/>
                    <a:gd name="connsiteY530" fmla="*/ 277987 h 487052"/>
                    <a:gd name="connsiteX531" fmla="*/ 224566 w 403093"/>
                    <a:gd name="connsiteY531" fmla="*/ 275314 h 487052"/>
                    <a:gd name="connsiteX532" fmla="*/ 226457 w 403093"/>
                    <a:gd name="connsiteY532" fmla="*/ 272356 h 487052"/>
                    <a:gd name="connsiteX533" fmla="*/ 227981 w 403093"/>
                    <a:gd name="connsiteY533" fmla="*/ 268925 h 487052"/>
                    <a:gd name="connsiteX534" fmla="*/ 229179 w 403093"/>
                    <a:gd name="connsiteY534" fmla="*/ 265200 h 487052"/>
                    <a:gd name="connsiteX535" fmla="*/ 230817 w 403093"/>
                    <a:gd name="connsiteY535" fmla="*/ 262886 h 487052"/>
                    <a:gd name="connsiteX536" fmla="*/ 239806 w 403093"/>
                    <a:gd name="connsiteY536" fmla="*/ 257360 h 487052"/>
                    <a:gd name="connsiteX537" fmla="*/ 242691 w 403093"/>
                    <a:gd name="connsiteY537" fmla="*/ 254353 h 487052"/>
                    <a:gd name="connsiteX538" fmla="*/ 243604 w 403093"/>
                    <a:gd name="connsiteY538" fmla="*/ 252886 h 487052"/>
                    <a:gd name="connsiteX539" fmla="*/ 244728 w 403093"/>
                    <a:gd name="connsiteY539" fmla="*/ 248648 h 487052"/>
                    <a:gd name="connsiteX540" fmla="*/ 245494 w 403093"/>
                    <a:gd name="connsiteY540" fmla="*/ 244256 h 487052"/>
                    <a:gd name="connsiteX541" fmla="*/ 246587 w 403093"/>
                    <a:gd name="connsiteY541" fmla="*/ 240808 h 487052"/>
                    <a:gd name="connsiteX542" fmla="*/ 248070 w 403093"/>
                    <a:gd name="connsiteY542" fmla="*/ 237573 h 487052"/>
                    <a:gd name="connsiteX543" fmla="*/ 250042 w 403093"/>
                    <a:gd name="connsiteY543" fmla="*/ 234272 h 487052"/>
                    <a:gd name="connsiteX544" fmla="*/ 252251 w 403093"/>
                    <a:gd name="connsiteY544" fmla="*/ 231208 h 487052"/>
                    <a:gd name="connsiteX545" fmla="*/ 253562 w 403093"/>
                    <a:gd name="connsiteY545" fmla="*/ 228070 h 487052"/>
                    <a:gd name="connsiteX546" fmla="*/ 255462 w 403093"/>
                    <a:gd name="connsiteY546" fmla="*/ 220540 h 487052"/>
                    <a:gd name="connsiteX547" fmla="*/ 256301 w 403093"/>
                    <a:gd name="connsiteY547" fmla="*/ 216375 h 487052"/>
                    <a:gd name="connsiteX548" fmla="*/ 256953 w 403093"/>
                    <a:gd name="connsiteY548" fmla="*/ 214868 h 487052"/>
                    <a:gd name="connsiteX549" fmla="*/ 257915 w 403093"/>
                    <a:gd name="connsiteY549" fmla="*/ 213596 h 487052"/>
                    <a:gd name="connsiteX550" fmla="*/ 258754 w 403093"/>
                    <a:gd name="connsiteY550" fmla="*/ 211999 h 487052"/>
                    <a:gd name="connsiteX551" fmla="*/ 259382 w 403093"/>
                    <a:gd name="connsiteY551" fmla="*/ 210206 h 487052"/>
                    <a:gd name="connsiteX552" fmla="*/ 259667 w 403093"/>
                    <a:gd name="connsiteY552" fmla="*/ 208429 h 487052"/>
                    <a:gd name="connsiteX553" fmla="*/ 260083 w 403093"/>
                    <a:gd name="connsiteY553" fmla="*/ 202994 h 487052"/>
                    <a:gd name="connsiteX554" fmla="*/ 259838 w 403093"/>
                    <a:gd name="connsiteY554" fmla="*/ 198772 h 487052"/>
                    <a:gd name="connsiteX555" fmla="*/ 258347 w 403093"/>
                    <a:gd name="connsiteY555" fmla="*/ 195186 h 487052"/>
                    <a:gd name="connsiteX556" fmla="*/ 257124 w 403093"/>
                    <a:gd name="connsiteY556" fmla="*/ 194167 h 487052"/>
                    <a:gd name="connsiteX557" fmla="*/ 255787 w 403093"/>
                    <a:gd name="connsiteY557" fmla="*/ 194110 h 487052"/>
                    <a:gd name="connsiteX558" fmla="*/ 253774 w 403093"/>
                    <a:gd name="connsiteY558" fmla="*/ 194420 h 487052"/>
                    <a:gd name="connsiteX559" fmla="*/ 252063 w 403093"/>
                    <a:gd name="connsiteY559" fmla="*/ 192961 h 487052"/>
                    <a:gd name="connsiteX560" fmla="*/ 252422 w 403093"/>
                    <a:gd name="connsiteY560" fmla="*/ 191665 h 487052"/>
                    <a:gd name="connsiteX561" fmla="*/ 254157 w 403093"/>
                    <a:gd name="connsiteY561" fmla="*/ 191429 h 487052"/>
                    <a:gd name="connsiteX562" fmla="*/ 255356 w 403093"/>
                    <a:gd name="connsiteY562" fmla="*/ 190753 h 487052"/>
                    <a:gd name="connsiteX563" fmla="*/ 256203 w 403093"/>
                    <a:gd name="connsiteY563" fmla="*/ 189538 h 487052"/>
                    <a:gd name="connsiteX564" fmla="*/ 257800 w 403093"/>
                    <a:gd name="connsiteY564" fmla="*/ 185635 h 487052"/>
                    <a:gd name="connsiteX565" fmla="*/ 258762 w 403093"/>
                    <a:gd name="connsiteY565" fmla="*/ 181446 h 487052"/>
                    <a:gd name="connsiteX566" fmla="*/ 258836 w 403093"/>
                    <a:gd name="connsiteY566" fmla="*/ 179588 h 487052"/>
                    <a:gd name="connsiteX567" fmla="*/ 257589 w 403093"/>
                    <a:gd name="connsiteY567" fmla="*/ 176205 h 487052"/>
                    <a:gd name="connsiteX568" fmla="*/ 256603 w 403093"/>
                    <a:gd name="connsiteY568" fmla="*/ 172139 h 487052"/>
                    <a:gd name="connsiteX569" fmla="*/ 256570 w 403093"/>
                    <a:gd name="connsiteY569" fmla="*/ 169938 h 487052"/>
                    <a:gd name="connsiteX570" fmla="*/ 257662 w 403093"/>
                    <a:gd name="connsiteY570" fmla="*/ 167412 h 487052"/>
                    <a:gd name="connsiteX571" fmla="*/ 259211 w 403093"/>
                    <a:gd name="connsiteY571" fmla="*/ 165358 h 487052"/>
                    <a:gd name="connsiteX572" fmla="*/ 260604 w 403093"/>
                    <a:gd name="connsiteY572" fmla="*/ 164877 h 487052"/>
                    <a:gd name="connsiteX573" fmla="*/ 262112 w 403093"/>
                    <a:gd name="connsiteY573" fmla="*/ 164722 h 487052"/>
                    <a:gd name="connsiteX574" fmla="*/ 263481 w 403093"/>
                    <a:gd name="connsiteY574" fmla="*/ 163932 h 487052"/>
                    <a:gd name="connsiteX575" fmla="*/ 264744 w 403093"/>
                    <a:gd name="connsiteY575" fmla="*/ 162775 h 487052"/>
                    <a:gd name="connsiteX576" fmla="*/ 265461 w 403093"/>
                    <a:gd name="connsiteY576" fmla="*/ 161503 h 487052"/>
                    <a:gd name="connsiteX577" fmla="*/ 266586 w 403093"/>
                    <a:gd name="connsiteY577" fmla="*/ 158040 h 487052"/>
                    <a:gd name="connsiteX578" fmla="*/ 267010 w 403093"/>
                    <a:gd name="connsiteY578" fmla="*/ 156059 h 487052"/>
                    <a:gd name="connsiteX579" fmla="*/ 266301 w 403093"/>
                    <a:gd name="connsiteY579" fmla="*/ 150762 h 487052"/>
                    <a:gd name="connsiteX580" fmla="*/ 267034 w 403093"/>
                    <a:gd name="connsiteY580" fmla="*/ 149311 h 487052"/>
                    <a:gd name="connsiteX581" fmla="*/ 268061 w 403093"/>
                    <a:gd name="connsiteY581" fmla="*/ 148407 h 487052"/>
                    <a:gd name="connsiteX582" fmla="*/ 269438 w 403093"/>
                    <a:gd name="connsiteY582" fmla="*/ 149091 h 487052"/>
                    <a:gd name="connsiteX583" fmla="*/ 270848 w 403093"/>
                    <a:gd name="connsiteY583" fmla="*/ 149230 h 487052"/>
                    <a:gd name="connsiteX584" fmla="*/ 272478 w 403093"/>
                    <a:gd name="connsiteY584" fmla="*/ 149026 h 487052"/>
                    <a:gd name="connsiteX585" fmla="*/ 274059 w 403093"/>
                    <a:gd name="connsiteY585" fmla="*/ 149588 h 487052"/>
                    <a:gd name="connsiteX586" fmla="*/ 274353 w 403093"/>
                    <a:gd name="connsiteY586" fmla="*/ 150949 h 487052"/>
                    <a:gd name="connsiteX587" fmla="*/ 275339 w 403093"/>
                    <a:gd name="connsiteY587" fmla="*/ 159906 h 487052"/>
                    <a:gd name="connsiteX588" fmla="*/ 275901 w 403093"/>
                    <a:gd name="connsiteY588" fmla="*/ 161112 h 487052"/>
                    <a:gd name="connsiteX589" fmla="*/ 277059 w 403093"/>
                    <a:gd name="connsiteY589" fmla="*/ 162049 h 487052"/>
                    <a:gd name="connsiteX590" fmla="*/ 278354 w 403093"/>
                    <a:gd name="connsiteY590" fmla="*/ 161911 h 487052"/>
                    <a:gd name="connsiteX591" fmla="*/ 279463 w 403093"/>
                    <a:gd name="connsiteY591" fmla="*/ 160525 h 487052"/>
                    <a:gd name="connsiteX592" fmla="*/ 280221 w 403093"/>
                    <a:gd name="connsiteY592" fmla="*/ 158667 h 487052"/>
                    <a:gd name="connsiteX593" fmla="*/ 281704 w 403093"/>
                    <a:gd name="connsiteY593" fmla="*/ 158284 h 487052"/>
                    <a:gd name="connsiteX594" fmla="*/ 286243 w 403093"/>
                    <a:gd name="connsiteY594" fmla="*/ 160281 h 487052"/>
                    <a:gd name="connsiteX595" fmla="*/ 287841 w 403093"/>
                    <a:gd name="connsiteY595" fmla="*/ 158863 h 487052"/>
                    <a:gd name="connsiteX596" fmla="*/ 288884 w 403093"/>
                    <a:gd name="connsiteY596" fmla="*/ 156662 h 487052"/>
                    <a:gd name="connsiteX597" fmla="*/ 289788 w 403093"/>
                    <a:gd name="connsiteY597" fmla="*/ 152759 h 487052"/>
                    <a:gd name="connsiteX598" fmla="*/ 289348 w 403093"/>
                    <a:gd name="connsiteY598" fmla="*/ 149238 h 487052"/>
                    <a:gd name="connsiteX599" fmla="*/ 288264 w 403093"/>
                    <a:gd name="connsiteY599" fmla="*/ 147942 h 487052"/>
                    <a:gd name="connsiteX600" fmla="*/ 287123 w 403093"/>
                    <a:gd name="connsiteY600" fmla="*/ 148178 h 487052"/>
                    <a:gd name="connsiteX601" fmla="*/ 286137 w 403093"/>
                    <a:gd name="connsiteY601" fmla="*/ 149140 h 487052"/>
                    <a:gd name="connsiteX602" fmla="*/ 285029 w 403093"/>
                    <a:gd name="connsiteY602" fmla="*/ 149662 h 487052"/>
                    <a:gd name="connsiteX603" fmla="*/ 278346 w 403093"/>
                    <a:gd name="connsiteY603" fmla="*/ 151520 h 487052"/>
                    <a:gd name="connsiteX604" fmla="*/ 278379 w 403093"/>
                    <a:gd name="connsiteY604" fmla="*/ 147600 h 487052"/>
                    <a:gd name="connsiteX605" fmla="*/ 279813 w 403093"/>
                    <a:gd name="connsiteY605" fmla="*/ 141724 h 487052"/>
                    <a:gd name="connsiteX606" fmla="*/ 280604 w 403093"/>
                    <a:gd name="connsiteY606" fmla="*/ 139866 h 487052"/>
                    <a:gd name="connsiteX607" fmla="*/ 281728 w 403093"/>
                    <a:gd name="connsiteY607" fmla="*/ 138977 h 487052"/>
                    <a:gd name="connsiteX608" fmla="*/ 284548 w 403093"/>
                    <a:gd name="connsiteY608" fmla="*/ 139996 h 487052"/>
                    <a:gd name="connsiteX609" fmla="*/ 285925 w 403093"/>
                    <a:gd name="connsiteY609" fmla="*/ 140673 h 487052"/>
                    <a:gd name="connsiteX610" fmla="*/ 288916 w 403093"/>
                    <a:gd name="connsiteY610" fmla="*/ 143549 h 487052"/>
                    <a:gd name="connsiteX611" fmla="*/ 353275 w 403093"/>
                    <a:gd name="connsiteY611" fmla="*/ 48801 h 487052"/>
                    <a:gd name="connsiteX612" fmla="*/ 356388 w 403093"/>
                    <a:gd name="connsiteY612" fmla="*/ 48972 h 487052"/>
                    <a:gd name="connsiteX613" fmla="*/ 357773 w 403093"/>
                    <a:gd name="connsiteY613" fmla="*/ 48809 h 487052"/>
                    <a:gd name="connsiteX614" fmla="*/ 360153 w 403093"/>
                    <a:gd name="connsiteY614" fmla="*/ 49330 h 487052"/>
                    <a:gd name="connsiteX615" fmla="*/ 369582 w 403093"/>
                    <a:gd name="connsiteY615" fmla="*/ 54628 h 487052"/>
                    <a:gd name="connsiteX616" fmla="*/ 372434 w 403093"/>
                    <a:gd name="connsiteY616" fmla="*/ 55296 h 487052"/>
                    <a:gd name="connsiteX617" fmla="*/ 375377 w 403093"/>
                    <a:gd name="connsiteY617" fmla="*/ 55386 h 487052"/>
                    <a:gd name="connsiteX618" fmla="*/ 377447 w 403093"/>
                    <a:gd name="connsiteY618" fmla="*/ 54954 h 487052"/>
                    <a:gd name="connsiteX619" fmla="*/ 379264 w 403093"/>
                    <a:gd name="connsiteY619" fmla="*/ 53503 h 487052"/>
                    <a:gd name="connsiteX620" fmla="*/ 384961 w 403093"/>
                    <a:gd name="connsiteY620" fmla="*/ 47081 h 487052"/>
                    <a:gd name="connsiteX621" fmla="*/ 390934 w 403093"/>
                    <a:gd name="connsiteY621" fmla="*/ 41230 h 487052"/>
                    <a:gd name="connsiteX622" fmla="*/ 391595 w 403093"/>
                    <a:gd name="connsiteY622" fmla="*/ 41458 h 487052"/>
                    <a:gd name="connsiteX623" fmla="*/ 391603 w 403093"/>
                    <a:gd name="connsiteY623" fmla="*/ 43063 h 487052"/>
                    <a:gd name="connsiteX624" fmla="*/ 391163 w 403093"/>
                    <a:gd name="connsiteY624" fmla="*/ 44864 h 487052"/>
                    <a:gd name="connsiteX625" fmla="*/ 388522 w 403093"/>
                    <a:gd name="connsiteY625" fmla="*/ 50211 h 487052"/>
                    <a:gd name="connsiteX626" fmla="*/ 385572 w 403093"/>
                    <a:gd name="connsiteY626" fmla="*/ 57415 h 487052"/>
                    <a:gd name="connsiteX627" fmla="*/ 384953 w 403093"/>
                    <a:gd name="connsiteY627" fmla="*/ 61058 h 487052"/>
                    <a:gd name="connsiteX628" fmla="*/ 385906 w 403093"/>
                    <a:gd name="connsiteY628" fmla="*/ 64611 h 487052"/>
                    <a:gd name="connsiteX629" fmla="*/ 387756 w 403093"/>
                    <a:gd name="connsiteY629" fmla="*/ 67537 h 487052"/>
                    <a:gd name="connsiteX630" fmla="*/ 389215 w 403093"/>
                    <a:gd name="connsiteY630" fmla="*/ 71538 h 487052"/>
                    <a:gd name="connsiteX631" fmla="*/ 390894 w 403093"/>
                    <a:gd name="connsiteY631" fmla="*/ 77097 h 487052"/>
                    <a:gd name="connsiteX632" fmla="*/ 393257 w 403093"/>
                    <a:gd name="connsiteY632" fmla="*/ 77805 h 487052"/>
                    <a:gd name="connsiteX633" fmla="*/ 394545 w 403093"/>
                    <a:gd name="connsiteY633" fmla="*/ 77887 h 487052"/>
                    <a:gd name="connsiteX634" fmla="*/ 396900 w 403093"/>
                    <a:gd name="connsiteY634" fmla="*/ 76216 h 487052"/>
                    <a:gd name="connsiteX635" fmla="*/ 399149 w 403093"/>
                    <a:gd name="connsiteY635" fmla="*/ 74097 h 487052"/>
                    <a:gd name="connsiteX636" fmla="*/ 401073 w 403093"/>
                    <a:gd name="connsiteY636" fmla="*/ 73845 h 487052"/>
                    <a:gd name="connsiteX637" fmla="*/ 403094 w 403093"/>
                    <a:gd name="connsiteY637" fmla="*/ 74203 h 487052"/>
                    <a:gd name="connsiteX638" fmla="*/ 400437 w 403093"/>
                    <a:gd name="connsiteY638" fmla="*/ 75679 h 487052"/>
                    <a:gd name="connsiteX639" fmla="*/ 397911 w 403093"/>
                    <a:gd name="connsiteY639" fmla="*/ 77488 h 487052"/>
                    <a:gd name="connsiteX640" fmla="*/ 395759 w 403093"/>
                    <a:gd name="connsiteY640" fmla="*/ 80902 h 487052"/>
                    <a:gd name="connsiteX641" fmla="*/ 394952 w 403093"/>
                    <a:gd name="connsiteY641" fmla="*/ 81538 h 487052"/>
                    <a:gd name="connsiteX642" fmla="*/ 392467 w 403093"/>
                    <a:gd name="connsiteY642" fmla="*/ 81326 h 487052"/>
                    <a:gd name="connsiteX643" fmla="*/ 391049 w 403093"/>
                    <a:gd name="connsiteY643" fmla="*/ 81448 h 487052"/>
                    <a:gd name="connsiteX644" fmla="*/ 388131 w 403093"/>
                    <a:gd name="connsiteY644" fmla="*/ 82875 h 487052"/>
                    <a:gd name="connsiteX645" fmla="*/ 385588 w 403093"/>
                    <a:gd name="connsiteY645" fmla="*/ 84488 h 487052"/>
                    <a:gd name="connsiteX646" fmla="*/ 383151 w 403093"/>
                    <a:gd name="connsiteY646" fmla="*/ 86469 h 487052"/>
                    <a:gd name="connsiteX647" fmla="*/ 380478 w 403093"/>
                    <a:gd name="connsiteY647" fmla="*/ 87536 h 487052"/>
                    <a:gd name="connsiteX648" fmla="*/ 377650 w 403093"/>
                    <a:gd name="connsiteY648" fmla="*/ 87789 h 487052"/>
                    <a:gd name="connsiteX649" fmla="*/ 373266 w 403093"/>
                    <a:gd name="connsiteY649" fmla="*/ 89403 h 487052"/>
                    <a:gd name="connsiteX650" fmla="*/ 370430 w 403093"/>
                    <a:gd name="connsiteY650" fmla="*/ 89517 h 487052"/>
                    <a:gd name="connsiteX651" fmla="*/ 365116 w 403093"/>
                    <a:gd name="connsiteY651" fmla="*/ 88107 h 487052"/>
                    <a:gd name="connsiteX652" fmla="*/ 362525 w 403093"/>
                    <a:gd name="connsiteY652" fmla="*/ 88474 h 487052"/>
                    <a:gd name="connsiteX653" fmla="*/ 356869 w 403093"/>
                    <a:gd name="connsiteY653" fmla="*/ 91660 h 487052"/>
                    <a:gd name="connsiteX654" fmla="*/ 351734 w 403093"/>
                    <a:gd name="connsiteY654" fmla="*/ 96265 h 487052"/>
                    <a:gd name="connsiteX655" fmla="*/ 347244 w 403093"/>
                    <a:gd name="connsiteY655" fmla="*/ 101415 h 487052"/>
                    <a:gd name="connsiteX656" fmla="*/ 343471 w 403093"/>
                    <a:gd name="connsiteY656" fmla="*/ 107617 h 487052"/>
                    <a:gd name="connsiteX657" fmla="*/ 341971 w 403093"/>
                    <a:gd name="connsiteY657" fmla="*/ 110844 h 487052"/>
                    <a:gd name="connsiteX658" fmla="*/ 341066 w 403093"/>
                    <a:gd name="connsiteY658" fmla="*/ 114447 h 487052"/>
                    <a:gd name="connsiteX659" fmla="*/ 340936 w 403093"/>
                    <a:gd name="connsiteY659" fmla="*/ 116835 h 487052"/>
                    <a:gd name="connsiteX660" fmla="*/ 340610 w 403093"/>
                    <a:gd name="connsiteY660" fmla="*/ 119125 h 487052"/>
                    <a:gd name="connsiteX661" fmla="*/ 339738 w 403093"/>
                    <a:gd name="connsiteY661" fmla="*/ 120722 h 487052"/>
                    <a:gd name="connsiteX662" fmla="*/ 338695 w 403093"/>
                    <a:gd name="connsiteY662" fmla="*/ 122018 h 487052"/>
                    <a:gd name="connsiteX663" fmla="*/ 335598 w 403093"/>
                    <a:gd name="connsiteY663" fmla="*/ 121260 h 487052"/>
                    <a:gd name="connsiteX664" fmla="*/ 330504 w 403093"/>
                    <a:gd name="connsiteY664" fmla="*/ 117959 h 487052"/>
                    <a:gd name="connsiteX665" fmla="*/ 320627 w 403093"/>
                    <a:gd name="connsiteY665" fmla="*/ 113159 h 487052"/>
                    <a:gd name="connsiteX666" fmla="*/ 310203 w 403093"/>
                    <a:gd name="connsiteY666" fmla="*/ 105800 h 487052"/>
                    <a:gd name="connsiteX667" fmla="*/ 304336 w 403093"/>
                    <a:gd name="connsiteY667" fmla="*/ 102100 h 487052"/>
                    <a:gd name="connsiteX668" fmla="*/ 293301 w 403093"/>
                    <a:gd name="connsiteY668" fmla="*/ 103208 h 487052"/>
                    <a:gd name="connsiteX669" fmla="*/ 282877 w 403093"/>
                    <a:gd name="connsiteY669" fmla="*/ 110258 h 487052"/>
                    <a:gd name="connsiteX670" fmla="*/ 281940 w 403093"/>
                    <a:gd name="connsiteY670" fmla="*/ 109655 h 487052"/>
                    <a:gd name="connsiteX671" fmla="*/ 277955 w 403093"/>
                    <a:gd name="connsiteY671" fmla="*/ 104814 h 487052"/>
                    <a:gd name="connsiteX672" fmla="*/ 276023 w 403093"/>
                    <a:gd name="connsiteY672" fmla="*/ 102899 h 487052"/>
                    <a:gd name="connsiteX673" fmla="*/ 273725 w 403093"/>
                    <a:gd name="connsiteY673" fmla="*/ 102361 h 487052"/>
                    <a:gd name="connsiteX674" fmla="*/ 272005 w 403093"/>
                    <a:gd name="connsiteY674" fmla="*/ 102418 h 487052"/>
                    <a:gd name="connsiteX675" fmla="*/ 270343 w 403093"/>
                    <a:gd name="connsiteY675" fmla="*/ 102768 h 487052"/>
                    <a:gd name="connsiteX676" fmla="*/ 267988 w 403093"/>
                    <a:gd name="connsiteY676" fmla="*/ 105262 h 487052"/>
                    <a:gd name="connsiteX677" fmla="*/ 267124 w 403093"/>
                    <a:gd name="connsiteY677" fmla="*/ 107055 h 487052"/>
                    <a:gd name="connsiteX678" fmla="*/ 266448 w 403093"/>
                    <a:gd name="connsiteY678" fmla="*/ 109084 h 487052"/>
                    <a:gd name="connsiteX679" fmla="*/ 266244 w 403093"/>
                    <a:gd name="connsiteY679" fmla="*/ 110527 h 487052"/>
                    <a:gd name="connsiteX680" fmla="*/ 266537 w 403093"/>
                    <a:gd name="connsiteY680" fmla="*/ 111937 h 487052"/>
                    <a:gd name="connsiteX681" fmla="*/ 268754 w 403093"/>
                    <a:gd name="connsiteY681" fmla="*/ 115131 h 487052"/>
                    <a:gd name="connsiteX682" fmla="*/ 271516 w 403093"/>
                    <a:gd name="connsiteY682" fmla="*/ 117495 h 487052"/>
                    <a:gd name="connsiteX683" fmla="*/ 272755 w 403093"/>
                    <a:gd name="connsiteY683" fmla="*/ 117951 h 487052"/>
                    <a:gd name="connsiteX684" fmla="*/ 275396 w 403093"/>
                    <a:gd name="connsiteY684" fmla="*/ 117780 h 487052"/>
                    <a:gd name="connsiteX685" fmla="*/ 276618 w 403093"/>
                    <a:gd name="connsiteY685" fmla="*/ 118025 h 487052"/>
                    <a:gd name="connsiteX686" fmla="*/ 281052 w 403093"/>
                    <a:gd name="connsiteY686" fmla="*/ 122784 h 487052"/>
                    <a:gd name="connsiteX687" fmla="*/ 285901 w 403093"/>
                    <a:gd name="connsiteY687" fmla="*/ 127234 h 487052"/>
                    <a:gd name="connsiteX688" fmla="*/ 286968 w 403093"/>
                    <a:gd name="connsiteY688" fmla="*/ 128709 h 487052"/>
                    <a:gd name="connsiteX689" fmla="*/ 285175 w 403093"/>
                    <a:gd name="connsiteY689" fmla="*/ 130257 h 487052"/>
                    <a:gd name="connsiteX690" fmla="*/ 283211 w 403093"/>
                    <a:gd name="connsiteY690" fmla="*/ 131023 h 487052"/>
                    <a:gd name="connsiteX691" fmla="*/ 280937 w 403093"/>
                    <a:gd name="connsiteY691" fmla="*/ 130820 h 487052"/>
                    <a:gd name="connsiteX692" fmla="*/ 278680 w 403093"/>
                    <a:gd name="connsiteY692" fmla="*/ 130233 h 487052"/>
                    <a:gd name="connsiteX693" fmla="*/ 274793 w 403093"/>
                    <a:gd name="connsiteY693" fmla="*/ 128350 h 487052"/>
                    <a:gd name="connsiteX694" fmla="*/ 273138 w 403093"/>
                    <a:gd name="connsiteY694" fmla="*/ 129964 h 487052"/>
                    <a:gd name="connsiteX695" fmla="*/ 270563 w 403093"/>
                    <a:gd name="connsiteY695" fmla="*/ 133264 h 487052"/>
                    <a:gd name="connsiteX696" fmla="*/ 269137 w 403093"/>
                    <a:gd name="connsiteY696" fmla="*/ 136858 h 487052"/>
                    <a:gd name="connsiteX697" fmla="*/ 267971 w 403093"/>
                    <a:gd name="connsiteY697" fmla="*/ 138505 h 487052"/>
                    <a:gd name="connsiteX698" fmla="*/ 265119 w 403093"/>
                    <a:gd name="connsiteY698" fmla="*/ 140664 h 487052"/>
                    <a:gd name="connsiteX699" fmla="*/ 262112 w 403093"/>
                    <a:gd name="connsiteY699" fmla="*/ 141789 h 487052"/>
                    <a:gd name="connsiteX700" fmla="*/ 260539 w 403093"/>
                    <a:gd name="connsiteY700" fmla="*/ 141422 h 487052"/>
                    <a:gd name="connsiteX701" fmla="*/ 259341 w 403093"/>
                    <a:gd name="connsiteY701" fmla="*/ 140061 h 487052"/>
                    <a:gd name="connsiteX702" fmla="*/ 258656 w 403093"/>
                    <a:gd name="connsiteY702" fmla="*/ 138431 h 487052"/>
                    <a:gd name="connsiteX703" fmla="*/ 258306 w 403093"/>
                    <a:gd name="connsiteY703" fmla="*/ 136557 h 487052"/>
                    <a:gd name="connsiteX704" fmla="*/ 258958 w 403093"/>
                    <a:gd name="connsiteY704" fmla="*/ 132466 h 487052"/>
                    <a:gd name="connsiteX705" fmla="*/ 260514 w 403093"/>
                    <a:gd name="connsiteY705" fmla="*/ 128782 h 487052"/>
                    <a:gd name="connsiteX706" fmla="*/ 261109 w 403093"/>
                    <a:gd name="connsiteY706" fmla="*/ 125017 h 487052"/>
                    <a:gd name="connsiteX707" fmla="*/ 259830 w 403093"/>
                    <a:gd name="connsiteY707" fmla="*/ 119712 h 487052"/>
                    <a:gd name="connsiteX708" fmla="*/ 259015 w 403093"/>
                    <a:gd name="connsiteY708" fmla="*/ 118611 h 487052"/>
                    <a:gd name="connsiteX709" fmla="*/ 255812 w 403093"/>
                    <a:gd name="connsiteY709" fmla="*/ 115498 h 487052"/>
                    <a:gd name="connsiteX710" fmla="*/ 254329 w 403093"/>
                    <a:gd name="connsiteY710" fmla="*/ 112466 h 487052"/>
                    <a:gd name="connsiteX711" fmla="*/ 253978 w 403093"/>
                    <a:gd name="connsiteY711" fmla="*/ 108693 h 487052"/>
                    <a:gd name="connsiteX712" fmla="*/ 254157 w 403093"/>
                    <a:gd name="connsiteY712" fmla="*/ 106615 h 487052"/>
                    <a:gd name="connsiteX713" fmla="*/ 254948 w 403093"/>
                    <a:gd name="connsiteY713" fmla="*/ 102010 h 487052"/>
                    <a:gd name="connsiteX714" fmla="*/ 255722 w 403093"/>
                    <a:gd name="connsiteY714" fmla="*/ 99679 h 487052"/>
                    <a:gd name="connsiteX715" fmla="*/ 257198 w 403093"/>
                    <a:gd name="connsiteY715" fmla="*/ 98913 h 487052"/>
                    <a:gd name="connsiteX716" fmla="*/ 258787 w 403093"/>
                    <a:gd name="connsiteY716" fmla="*/ 98449 h 487052"/>
                    <a:gd name="connsiteX717" fmla="*/ 261264 w 403093"/>
                    <a:gd name="connsiteY717" fmla="*/ 96786 h 487052"/>
                    <a:gd name="connsiteX718" fmla="*/ 263978 w 403093"/>
                    <a:gd name="connsiteY718" fmla="*/ 94627 h 487052"/>
                    <a:gd name="connsiteX719" fmla="*/ 266569 w 403093"/>
                    <a:gd name="connsiteY719" fmla="*/ 92165 h 487052"/>
                    <a:gd name="connsiteX720" fmla="*/ 269137 w 403093"/>
                    <a:gd name="connsiteY720" fmla="*/ 89150 h 487052"/>
                    <a:gd name="connsiteX721" fmla="*/ 270473 w 403093"/>
                    <a:gd name="connsiteY721" fmla="*/ 85833 h 487052"/>
                    <a:gd name="connsiteX722" fmla="*/ 268273 w 403093"/>
                    <a:gd name="connsiteY722" fmla="*/ 81766 h 487052"/>
                    <a:gd name="connsiteX723" fmla="*/ 267817 w 403093"/>
                    <a:gd name="connsiteY723" fmla="*/ 79354 h 487052"/>
                    <a:gd name="connsiteX724" fmla="*/ 268134 w 403093"/>
                    <a:gd name="connsiteY724" fmla="*/ 77064 h 487052"/>
                    <a:gd name="connsiteX725" fmla="*/ 270482 w 403093"/>
                    <a:gd name="connsiteY725" fmla="*/ 75850 h 487052"/>
                    <a:gd name="connsiteX726" fmla="*/ 272902 w 403093"/>
                    <a:gd name="connsiteY726" fmla="*/ 76762 h 487052"/>
                    <a:gd name="connsiteX727" fmla="*/ 277775 w 403093"/>
                    <a:gd name="connsiteY727" fmla="*/ 80120 h 487052"/>
                    <a:gd name="connsiteX728" fmla="*/ 278729 w 403093"/>
                    <a:gd name="connsiteY728" fmla="*/ 80446 h 487052"/>
                    <a:gd name="connsiteX729" fmla="*/ 282071 w 403093"/>
                    <a:gd name="connsiteY729" fmla="*/ 80601 h 487052"/>
                    <a:gd name="connsiteX730" fmla="*/ 286634 w 403093"/>
                    <a:gd name="connsiteY730" fmla="*/ 81334 h 487052"/>
                    <a:gd name="connsiteX731" fmla="*/ 289291 w 403093"/>
                    <a:gd name="connsiteY731" fmla="*/ 81155 h 487052"/>
                    <a:gd name="connsiteX732" fmla="*/ 290554 w 403093"/>
                    <a:gd name="connsiteY732" fmla="*/ 80650 h 487052"/>
                    <a:gd name="connsiteX733" fmla="*/ 292486 w 403093"/>
                    <a:gd name="connsiteY733" fmla="*/ 77887 h 487052"/>
                    <a:gd name="connsiteX734" fmla="*/ 293431 w 403093"/>
                    <a:gd name="connsiteY734" fmla="*/ 74358 h 487052"/>
                    <a:gd name="connsiteX735" fmla="*/ 293080 w 403093"/>
                    <a:gd name="connsiteY735" fmla="*/ 69811 h 487052"/>
                    <a:gd name="connsiteX736" fmla="*/ 293065 w 403093"/>
                    <a:gd name="connsiteY736" fmla="*/ 65288 h 487052"/>
                    <a:gd name="connsiteX737" fmla="*/ 294279 w 403093"/>
                    <a:gd name="connsiteY737" fmla="*/ 61604 h 487052"/>
                    <a:gd name="connsiteX738" fmla="*/ 298101 w 403093"/>
                    <a:gd name="connsiteY738" fmla="*/ 55671 h 487052"/>
                    <a:gd name="connsiteX739" fmla="*/ 299193 w 403093"/>
                    <a:gd name="connsiteY739" fmla="*/ 52175 h 487052"/>
                    <a:gd name="connsiteX740" fmla="*/ 299592 w 403093"/>
                    <a:gd name="connsiteY740" fmla="*/ 43666 h 487052"/>
                    <a:gd name="connsiteX741" fmla="*/ 300970 w 403093"/>
                    <a:gd name="connsiteY741" fmla="*/ 39909 h 487052"/>
                    <a:gd name="connsiteX742" fmla="*/ 302086 w 403093"/>
                    <a:gd name="connsiteY742" fmla="*/ 36022 h 487052"/>
                    <a:gd name="connsiteX743" fmla="*/ 302600 w 403093"/>
                    <a:gd name="connsiteY743" fmla="*/ 27839 h 487052"/>
                    <a:gd name="connsiteX744" fmla="*/ 301043 w 403093"/>
                    <a:gd name="connsiteY744" fmla="*/ 19967 h 487052"/>
                    <a:gd name="connsiteX745" fmla="*/ 299470 w 403093"/>
                    <a:gd name="connsiteY745" fmla="*/ 16104 h 487052"/>
                    <a:gd name="connsiteX746" fmla="*/ 297661 w 403093"/>
                    <a:gd name="connsiteY746" fmla="*/ 12420 h 487052"/>
                    <a:gd name="connsiteX747" fmla="*/ 297930 w 403093"/>
                    <a:gd name="connsiteY747" fmla="*/ 8916 h 487052"/>
                    <a:gd name="connsiteX748" fmla="*/ 299389 w 403093"/>
                    <a:gd name="connsiteY748" fmla="*/ 5656 h 487052"/>
                    <a:gd name="connsiteX749" fmla="*/ 299430 w 403093"/>
                    <a:gd name="connsiteY749" fmla="*/ 4670 h 487052"/>
                    <a:gd name="connsiteX750" fmla="*/ 299780 w 403093"/>
                    <a:gd name="connsiteY750" fmla="*/ 3806 h 487052"/>
                    <a:gd name="connsiteX751" fmla="*/ 302510 w 403093"/>
                    <a:gd name="connsiteY751" fmla="*/ 3178 h 487052"/>
                    <a:gd name="connsiteX752" fmla="*/ 303781 w 403093"/>
                    <a:gd name="connsiteY752" fmla="*/ 2486 h 487052"/>
                    <a:gd name="connsiteX753" fmla="*/ 304996 w 403093"/>
                    <a:gd name="connsiteY753" fmla="*/ 921 h 487052"/>
                    <a:gd name="connsiteX754" fmla="*/ 306463 w 403093"/>
                    <a:gd name="connsiteY754" fmla="*/ 0 h 487052"/>
                    <a:gd name="connsiteX755" fmla="*/ 307539 w 403093"/>
                    <a:gd name="connsiteY755" fmla="*/ 913 h 487052"/>
                    <a:gd name="connsiteX756" fmla="*/ 308410 w 403093"/>
                    <a:gd name="connsiteY756" fmla="*/ 2518 h 487052"/>
                    <a:gd name="connsiteX757" fmla="*/ 312265 w 403093"/>
                    <a:gd name="connsiteY757" fmla="*/ 6471 h 487052"/>
                    <a:gd name="connsiteX758" fmla="*/ 318321 w 403093"/>
                    <a:gd name="connsiteY758" fmla="*/ 13520 h 487052"/>
                    <a:gd name="connsiteX759" fmla="*/ 325476 w 403093"/>
                    <a:gd name="connsiteY759" fmla="*/ 24246 h 487052"/>
                    <a:gd name="connsiteX760" fmla="*/ 329958 w 403093"/>
                    <a:gd name="connsiteY760" fmla="*/ 29461 h 487052"/>
                    <a:gd name="connsiteX761" fmla="*/ 334685 w 403093"/>
                    <a:gd name="connsiteY761" fmla="*/ 34188 h 487052"/>
                    <a:gd name="connsiteX762" fmla="*/ 339966 w 403093"/>
                    <a:gd name="connsiteY762" fmla="*/ 39021 h 487052"/>
                    <a:gd name="connsiteX763" fmla="*/ 345508 w 403093"/>
                    <a:gd name="connsiteY763" fmla="*/ 43177 h 487052"/>
                    <a:gd name="connsiteX764" fmla="*/ 349053 w 403093"/>
                    <a:gd name="connsiteY764" fmla="*/ 45141 h 487052"/>
                    <a:gd name="connsiteX765" fmla="*/ 351645 w 403093"/>
                    <a:gd name="connsiteY765" fmla="*/ 48271 h 487052"/>
                    <a:gd name="connsiteX766" fmla="*/ 353275 w 403093"/>
                    <a:gd name="connsiteY766" fmla="*/ 48801 h 48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Lst>
                  <a:rect l="l" t="t" r="r" b="b"/>
                  <a:pathLst>
                    <a:path w="403093" h="487052">
                      <a:moveTo>
                        <a:pt x="39542" y="403102"/>
                      </a:moveTo>
                      <a:lnTo>
                        <a:pt x="42876" y="404072"/>
                      </a:lnTo>
                      <a:lnTo>
                        <a:pt x="44277" y="404137"/>
                      </a:lnTo>
                      <a:lnTo>
                        <a:pt x="45598" y="403697"/>
                      </a:lnTo>
                      <a:lnTo>
                        <a:pt x="47578" y="402418"/>
                      </a:lnTo>
                      <a:lnTo>
                        <a:pt x="49664" y="401472"/>
                      </a:lnTo>
                      <a:lnTo>
                        <a:pt x="51156" y="401945"/>
                      </a:lnTo>
                      <a:lnTo>
                        <a:pt x="52476" y="403094"/>
                      </a:lnTo>
                      <a:lnTo>
                        <a:pt x="53169" y="404691"/>
                      </a:lnTo>
                      <a:lnTo>
                        <a:pt x="52835" y="406370"/>
                      </a:lnTo>
                      <a:lnTo>
                        <a:pt x="50471" y="409972"/>
                      </a:lnTo>
                      <a:lnTo>
                        <a:pt x="48540" y="413819"/>
                      </a:lnTo>
                      <a:lnTo>
                        <a:pt x="52998" y="414536"/>
                      </a:lnTo>
                      <a:lnTo>
                        <a:pt x="57448" y="414447"/>
                      </a:lnTo>
                      <a:lnTo>
                        <a:pt x="56404" y="416826"/>
                      </a:lnTo>
                      <a:lnTo>
                        <a:pt x="56233" y="418896"/>
                      </a:lnTo>
                      <a:lnTo>
                        <a:pt x="57602" y="419882"/>
                      </a:lnTo>
                      <a:lnTo>
                        <a:pt x="58751" y="421203"/>
                      </a:lnTo>
                      <a:lnTo>
                        <a:pt x="58466" y="422409"/>
                      </a:lnTo>
                      <a:lnTo>
                        <a:pt x="57798" y="423599"/>
                      </a:lnTo>
                      <a:lnTo>
                        <a:pt x="60227" y="425375"/>
                      </a:lnTo>
                      <a:lnTo>
                        <a:pt x="60063" y="426573"/>
                      </a:lnTo>
                      <a:lnTo>
                        <a:pt x="59436" y="427820"/>
                      </a:lnTo>
                      <a:lnTo>
                        <a:pt x="53381" y="435978"/>
                      </a:lnTo>
                      <a:lnTo>
                        <a:pt x="51588" y="440110"/>
                      </a:lnTo>
                      <a:lnTo>
                        <a:pt x="50357" y="444658"/>
                      </a:lnTo>
                      <a:lnTo>
                        <a:pt x="49216" y="447983"/>
                      </a:lnTo>
                      <a:lnTo>
                        <a:pt x="48385" y="451438"/>
                      </a:lnTo>
                      <a:lnTo>
                        <a:pt x="47749" y="455154"/>
                      </a:lnTo>
                      <a:lnTo>
                        <a:pt x="46617" y="458993"/>
                      </a:lnTo>
                      <a:lnTo>
                        <a:pt x="47000" y="462400"/>
                      </a:lnTo>
                      <a:lnTo>
                        <a:pt x="46608" y="465880"/>
                      </a:lnTo>
                      <a:lnTo>
                        <a:pt x="43576" y="474477"/>
                      </a:lnTo>
                      <a:lnTo>
                        <a:pt x="41401" y="474323"/>
                      </a:lnTo>
                      <a:lnTo>
                        <a:pt x="38670" y="473279"/>
                      </a:lnTo>
                      <a:lnTo>
                        <a:pt x="36959" y="473451"/>
                      </a:lnTo>
                      <a:lnTo>
                        <a:pt x="36079" y="475358"/>
                      </a:lnTo>
                      <a:lnTo>
                        <a:pt x="37644" y="479278"/>
                      </a:lnTo>
                      <a:lnTo>
                        <a:pt x="32770" y="483923"/>
                      </a:lnTo>
                      <a:lnTo>
                        <a:pt x="27416" y="487053"/>
                      </a:lnTo>
                      <a:lnTo>
                        <a:pt x="27375" y="485626"/>
                      </a:lnTo>
                      <a:lnTo>
                        <a:pt x="27872" y="484502"/>
                      </a:lnTo>
                      <a:lnTo>
                        <a:pt x="28654" y="483605"/>
                      </a:lnTo>
                      <a:lnTo>
                        <a:pt x="29217" y="482513"/>
                      </a:lnTo>
                      <a:lnTo>
                        <a:pt x="29991" y="478854"/>
                      </a:lnTo>
                      <a:lnTo>
                        <a:pt x="29600" y="475170"/>
                      </a:lnTo>
                      <a:lnTo>
                        <a:pt x="27986" y="470557"/>
                      </a:lnTo>
                      <a:lnTo>
                        <a:pt x="27864" y="468895"/>
                      </a:lnTo>
                      <a:lnTo>
                        <a:pt x="28989" y="468227"/>
                      </a:lnTo>
                      <a:lnTo>
                        <a:pt x="29747" y="468039"/>
                      </a:lnTo>
                      <a:lnTo>
                        <a:pt x="30162" y="467395"/>
                      </a:lnTo>
                      <a:lnTo>
                        <a:pt x="30178" y="465863"/>
                      </a:lnTo>
                      <a:lnTo>
                        <a:pt x="29665" y="464730"/>
                      </a:lnTo>
                      <a:lnTo>
                        <a:pt x="28133" y="464372"/>
                      </a:lnTo>
                      <a:lnTo>
                        <a:pt x="26658" y="464355"/>
                      </a:lnTo>
                      <a:lnTo>
                        <a:pt x="25631" y="466059"/>
                      </a:lnTo>
                      <a:lnTo>
                        <a:pt x="24205" y="469376"/>
                      </a:lnTo>
                      <a:lnTo>
                        <a:pt x="23512" y="472717"/>
                      </a:lnTo>
                      <a:lnTo>
                        <a:pt x="23813" y="474551"/>
                      </a:lnTo>
                      <a:lnTo>
                        <a:pt x="24449" y="476189"/>
                      </a:lnTo>
                      <a:lnTo>
                        <a:pt x="26389" y="478927"/>
                      </a:lnTo>
                      <a:lnTo>
                        <a:pt x="25819" y="480541"/>
                      </a:lnTo>
                      <a:lnTo>
                        <a:pt x="25012" y="481796"/>
                      </a:lnTo>
                      <a:lnTo>
                        <a:pt x="18109" y="478944"/>
                      </a:lnTo>
                      <a:lnTo>
                        <a:pt x="16617" y="478748"/>
                      </a:lnTo>
                      <a:lnTo>
                        <a:pt x="15379" y="478137"/>
                      </a:lnTo>
                      <a:lnTo>
                        <a:pt x="14050" y="474371"/>
                      </a:lnTo>
                      <a:lnTo>
                        <a:pt x="16870" y="473467"/>
                      </a:lnTo>
                      <a:lnTo>
                        <a:pt x="17701" y="473011"/>
                      </a:lnTo>
                      <a:lnTo>
                        <a:pt x="18019" y="471812"/>
                      </a:lnTo>
                      <a:lnTo>
                        <a:pt x="18394" y="468145"/>
                      </a:lnTo>
                      <a:lnTo>
                        <a:pt x="17082" y="465073"/>
                      </a:lnTo>
                      <a:lnTo>
                        <a:pt x="15974" y="463981"/>
                      </a:lnTo>
                      <a:lnTo>
                        <a:pt x="15077" y="462725"/>
                      </a:lnTo>
                      <a:lnTo>
                        <a:pt x="15647" y="460134"/>
                      </a:lnTo>
                      <a:lnTo>
                        <a:pt x="15264" y="456874"/>
                      </a:lnTo>
                      <a:lnTo>
                        <a:pt x="15232" y="452302"/>
                      </a:lnTo>
                      <a:lnTo>
                        <a:pt x="15721" y="451520"/>
                      </a:lnTo>
                      <a:lnTo>
                        <a:pt x="18320" y="450591"/>
                      </a:lnTo>
                      <a:lnTo>
                        <a:pt x="20195" y="448146"/>
                      </a:lnTo>
                      <a:lnTo>
                        <a:pt x="21866" y="445358"/>
                      </a:lnTo>
                      <a:lnTo>
                        <a:pt x="24302" y="440452"/>
                      </a:lnTo>
                      <a:lnTo>
                        <a:pt x="26291" y="435147"/>
                      </a:lnTo>
                      <a:lnTo>
                        <a:pt x="24384" y="434919"/>
                      </a:lnTo>
                      <a:lnTo>
                        <a:pt x="22754" y="433924"/>
                      </a:lnTo>
                      <a:lnTo>
                        <a:pt x="24531" y="431414"/>
                      </a:lnTo>
                      <a:lnTo>
                        <a:pt x="23993" y="428244"/>
                      </a:lnTo>
                      <a:lnTo>
                        <a:pt x="21336" y="424348"/>
                      </a:lnTo>
                      <a:lnTo>
                        <a:pt x="19885" y="419744"/>
                      </a:lnTo>
                      <a:lnTo>
                        <a:pt x="17538" y="417715"/>
                      </a:lnTo>
                      <a:lnTo>
                        <a:pt x="16316" y="416973"/>
                      </a:lnTo>
                      <a:lnTo>
                        <a:pt x="14800" y="418049"/>
                      </a:lnTo>
                      <a:lnTo>
                        <a:pt x="13561" y="419336"/>
                      </a:lnTo>
                      <a:lnTo>
                        <a:pt x="14710" y="422327"/>
                      </a:lnTo>
                      <a:lnTo>
                        <a:pt x="14580" y="424968"/>
                      </a:lnTo>
                      <a:lnTo>
                        <a:pt x="14751" y="427592"/>
                      </a:lnTo>
                      <a:lnTo>
                        <a:pt x="15933" y="427739"/>
                      </a:lnTo>
                      <a:lnTo>
                        <a:pt x="17367" y="427079"/>
                      </a:lnTo>
                      <a:lnTo>
                        <a:pt x="18508" y="427551"/>
                      </a:lnTo>
                      <a:lnTo>
                        <a:pt x="19185" y="428929"/>
                      </a:lnTo>
                      <a:lnTo>
                        <a:pt x="19364" y="430697"/>
                      </a:lnTo>
                      <a:lnTo>
                        <a:pt x="18859" y="432449"/>
                      </a:lnTo>
                      <a:lnTo>
                        <a:pt x="17799" y="433321"/>
                      </a:lnTo>
                      <a:lnTo>
                        <a:pt x="16511" y="433256"/>
                      </a:lnTo>
                      <a:lnTo>
                        <a:pt x="15199" y="432311"/>
                      </a:lnTo>
                      <a:lnTo>
                        <a:pt x="14189" y="430958"/>
                      </a:lnTo>
                      <a:lnTo>
                        <a:pt x="11752" y="430208"/>
                      </a:lnTo>
                      <a:lnTo>
                        <a:pt x="9201" y="431805"/>
                      </a:lnTo>
                      <a:lnTo>
                        <a:pt x="6756" y="435057"/>
                      </a:lnTo>
                      <a:lnTo>
                        <a:pt x="4670" y="436712"/>
                      </a:lnTo>
                      <a:lnTo>
                        <a:pt x="5656" y="434299"/>
                      </a:lnTo>
                      <a:lnTo>
                        <a:pt x="6120" y="431700"/>
                      </a:lnTo>
                      <a:lnTo>
                        <a:pt x="5102" y="429866"/>
                      </a:lnTo>
                      <a:lnTo>
                        <a:pt x="2738" y="426826"/>
                      </a:lnTo>
                      <a:lnTo>
                        <a:pt x="2176" y="425057"/>
                      </a:lnTo>
                      <a:lnTo>
                        <a:pt x="2045" y="422922"/>
                      </a:lnTo>
                      <a:lnTo>
                        <a:pt x="2461" y="420803"/>
                      </a:lnTo>
                      <a:lnTo>
                        <a:pt x="4906" y="423224"/>
                      </a:lnTo>
                      <a:lnTo>
                        <a:pt x="6161" y="426256"/>
                      </a:lnTo>
                      <a:lnTo>
                        <a:pt x="7954" y="427584"/>
                      </a:lnTo>
                      <a:lnTo>
                        <a:pt x="10212" y="427592"/>
                      </a:lnTo>
                      <a:lnTo>
                        <a:pt x="8484" y="423159"/>
                      </a:lnTo>
                      <a:lnTo>
                        <a:pt x="7865" y="422034"/>
                      </a:lnTo>
                      <a:lnTo>
                        <a:pt x="5428" y="420037"/>
                      </a:lnTo>
                      <a:lnTo>
                        <a:pt x="2111" y="416680"/>
                      </a:lnTo>
                      <a:lnTo>
                        <a:pt x="0" y="415058"/>
                      </a:lnTo>
                      <a:lnTo>
                        <a:pt x="750" y="411553"/>
                      </a:lnTo>
                      <a:lnTo>
                        <a:pt x="1980" y="410853"/>
                      </a:lnTo>
                      <a:lnTo>
                        <a:pt x="3032" y="411024"/>
                      </a:lnTo>
                      <a:lnTo>
                        <a:pt x="6560" y="412271"/>
                      </a:lnTo>
                      <a:lnTo>
                        <a:pt x="6887" y="410526"/>
                      </a:lnTo>
                      <a:lnTo>
                        <a:pt x="6381" y="409597"/>
                      </a:lnTo>
                      <a:lnTo>
                        <a:pt x="6096" y="408514"/>
                      </a:lnTo>
                      <a:lnTo>
                        <a:pt x="8419" y="406990"/>
                      </a:lnTo>
                      <a:lnTo>
                        <a:pt x="12217" y="405743"/>
                      </a:lnTo>
                      <a:lnTo>
                        <a:pt x="12991" y="405156"/>
                      </a:lnTo>
                      <a:lnTo>
                        <a:pt x="13667" y="403901"/>
                      </a:lnTo>
                      <a:lnTo>
                        <a:pt x="14588" y="403249"/>
                      </a:lnTo>
                      <a:lnTo>
                        <a:pt x="17245" y="403265"/>
                      </a:lnTo>
                      <a:lnTo>
                        <a:pt x="19478" y="402067"/>
                      </a:lnTo>
                      <a:lnTo>
                        <a:pt x="21320" y="398807"/>
                      </a:lnTo>
                      <a:lnTo>
                        <a:pt x="21768" y="397022"/>
                      </a:lnTo>
                      <a:lnTo>
                        <a:pt x="22428" y="395531"/>
                      </a:lnTo>
                      <a:lnTo>
                        <a:pt x="27024" y="392882"/>
                      </a:lnTo>
                      <a:lnTo>
                        <a:pt x="28174" y="392475"/>
                      </a:lnTo>
                      <a:lnTo>
                        <a:pt x="31246" y="392809"/>
                      </a:lnTo>
                      <a:lnTo>
                        <a:pt x="34058" y="394309"/>
                      </a:lnTo>
                      <a:lnTo>
                        <a:pt x="35460" y="397462"/>
                      </a:lnTo>
                      <a:lnTo>
                        <a:pt x="36674" y="400820"/>
                      </a:lnTo>
                      <a:lnTo>
                        <a:pt x="39542" y="403102"/>
                      </a:lnTo>
                      <a:close/>
                      <a:moveTo>
                        <a:pt x="118481" y="381709"/>
                      </a:moveTo>
                      <a:lnTo>
                        <a:pt x="121896" y="383070"/>
                      </a:lnTo>
                      <a:lnTo>
                        <a:pt x="125425" y="382687"/>
                      </a:lnTo>
                      <a:lnTo>
                        <a:pt x="125367" y="388669"/>
                      </a:lnTo>
                      <a:lnTo>
                        <a:pt x="125873" y="390674"/>
                      </a:lnTo>
                      <a:lnTo>
                        <a:pt x="126859" y="392467"/>
                      </a:lnTo>
                      <a:lnTo>
                        <a:pt x="126354" y="395083"/>
                      </a:lnTo>
                      <a:lnTo>
                        <a:pt x="127942" y="395971"/>
                      </a:lnTo>
                      <a:lnTo>
                        <a:pt x="123224" y="398954"/>
                      </a:lnTo>
                      <a:lnTo>
                        <a:pt x="118970" y="402906"/>
                      </a:lnTo>
                      <a:lnTo>
                        <a:pt x="117226" y="405571"/>
                      </a:lnTo>
                      <a:lnTo>
                        <a:pt x="115645" y="408424"/>
                      </a:lnTo>
                      <a:lnTo>
                        <a:pt x="114724" y="411447"/>
                      </a:lnTo>
                      <a:lnTo>
                        <a:pt x="114129" y="414699"/>
                      </a:lnTo>
                      <a:lnTo>
                        <a:pt x="112711" y="413412"/>
                      </a:lnTo>
                      <a:lnTo>
                        <a:pt x="108603" y="408139"/>
                      </a:lnTo>
                      <a:lnTo>
                        <a:pt x="106004" y="406688"/>
                      </a:lnTo>
                      <a:lnTo>
                        <a:pt x="101831" y="405914"/>
                      </a:lnTo>
                      <a:lnTo>
                        <a:pt x="100503" y="406085"/>
                      </a:lnTo>
                      <a:lnTo>
                        <a:pt x="91921" y="411015"/>
                      </a:lnTo>
                      <a:lnTo>
                        <a:pt x="90764" y="414618"/>
                      </a:lnTo>
                      <a:lnTo>
                        <a:pt x="88433" y="420045"/>
                      </a:lnTo>
                      <a:lnTo>
                        <a:pt x="87316" y="421838"/>
                      </a:lnTo>
                      <a:lnTo>
                        <a:pt x="86094" y="422352"/>
                      </a:lnTo>
                      <a:lnTo>
                        <a:pt x="85222" y="423281"/>
                      </a:lnTo>
                      <a:lnTo>
                        <a:pt x="84260" y="427902"/>
                      </a:lnTo>
                      <a:lnTo>
                        <a:pt x="81603" y="430746"/>
                      </a:lnTo>
                      <a:lnTo>
                        <a:pt x="79982" y="430836"/>
                      </a:lnTo>
                      <a:lnTo>
                        <a:pt x="77203" y="430053"/>
                      </a:lnTo>
                      <a:lnTo>
                        <a:pt x="75948" y="430493"/>
                      </a:lnTo>
                      <a:lnTo>
                        <a:pt x="77610" y="425938"/>
                      </a:lnTo>
                      <a:lnTo>
                        <a:pt x="74953" y="425383"/>
                      </a:lnTo>
                      <a:lnTo>
                        <a:pt x="72312" y="425473"/>
                      </a:lnTo>
                      <a:lnTo>
                        <a:pt x="72247" y="422507"/>
                      </a:lnTo>
                      <a:lnTo>
                        <a:pt x="70634" y="420820"/>
                      </a:lnTo>
                      <a:lnTo>
                        <a:pt x="71824" y="418627"/>
                      </a:lnTo>
                      <a:lnTo>
                        <a:pt x="71864" y="416851"/>
                      </a:lnTo>
                      <a:lnTo>
                        <a:pt x="72565" y="415865"/>
                      </a:lnTo>
                      <a:lnTo>
                        <a:pt x="72793" y="414430"/>
                      </a:lnTo>
                      <a:lnTo>
                        <a:pt x="72712" y="413200"/>
                      </a:lnTo>
                      <a:lnTo>
                        <a:pt x="71074" y="412825"/>
                      </a:lnTo>
                      <a:lnTo>
                        <a:pt x="70072" y="411953"/>
                      </a:lnTo>
                      <a:lnTo>
                        <a:pt x="70259" y="408717"/>
                      </a:lnTo>
                      <a:lnTo>
                        <a:pt x="69321" y="408603"/>
                      </a:lnTo>
                      <a:lnTo>
                        <a:pt x="66999" y="409166"/>
                      </a:lnTo>
                      <a:lnTo>
                        <a:pt x="62150" y="411667"/>
                      </a:lnTo>
                      <a:lnTo>
                        <a:pt x="60830" y="411676"/>
                      </a:lnTo>
                      <a:lnTo>
                        <a:pt x="62859" y="409891"/>
                      </a:lnTo>
                      <a:lnTo>
                        <a:pt x="67162" y="407446"/>
                      </a:lnTo>
                      <a:lnTo>
                        <a:pt x="69102" y="406036"/>
                      </a:lnTo>
                      <a:lnTo>
                        <a:pt x="73315" y="402108"/>
                      </a:lnTo>
                      <a:lnTo>
                        <a:pt x="75964" y="400242"/>
                      </a:lnTo>
                      <a:lnTo>
                        <a:pt x="77357" y="396941"/>
                      </a:lnTo>
                      <a:lnTo>
                        <a:pt x="77789" y="394936"/>
                      </a:lnTo>
                      <a:lnTo>
                        <a:pt x="78686" y="393168"/>
                      </a:lnTo>
                      <a:lnTo>
                        <a:pt x="79476" y="390348"/>
                      </a:lnTo>
                      <a:lnTo>
                        <a:pt x="80854" y="389402"/>
                      </a:lnTo>
                      <a:lnTo>
                        <a:pt x="83209" y="386982"/>
                      </a:lnTo>
                      <a:lnTo>
                        <a:pt x="84578" y="387218"/>
                      </a:lnTo>
                      <a:lnTo>
                        <a:pt x="86102" y="390193"/>
                      </a:lnTo>
                      <a:lnTo>
                        <a:pt x="88139" y="392483"/>
                      </a:lnTo>
                      <a:lnTo>
                        <a:pt x="89615" y="392296"/>
                      </a:lnTo>
                      <a:lnTo>
                        <a:pt x="92247" y="391122"/>
                      </a:lnTo>
                      <a:lnTo>
                        <a:pt x="93502" y="390853"/>
                      </a:lnTo>
                      <a:lnTo>
                        <a:pt x="96542" y="391000"/>
                      </a:lnTo>
                      <a:lnTo>
                        <a:pt x="99264" y="389541"/>
                      </a:lnTo>
                      <a:lnTo>
                        <a:pt x="100372" y="387829"/>
                      </a:lnTo>
                      <a:lnTo>
                        <a:pt x="100796" y="385694"/>
                      </a:lnTo>
                      <a:lnTo>
                        <a:pt x="99777" y="382117"/>
                      </a:lnTo>
                      <a:lnTo>
                        <a:pt x="101081" y="382475"/>
                      </a:lnTo>
                      <a:lnTo>
                        <a:pt x="102344" y="382328"/>
                      </a:lnTo>
                      <a:lnTo>
                        <a:pt x="105311" y="380047"/>
                      </a:lnTo>
                      <a:lnTo>
                        <a:pt x="108343" y="378694"/>
                      </a:lnTo>
                      <a:lnTo>
                        <a:pt x="111505" y="378351"/>
                      </a:lnTo>
                      <a:lnTo>
                        <a:pt x="115074" y="379647"/>
                      </a:lnTo>
                      <a:lnTo>
                        <a:pt x="118481" y="381709"/>
                      </a:lnTo>
                      <a:close/>
                      <a:moveTo>
                        <a:pt x="288916" y="143549"/>
                      </a:moveTo>
                      <a:lnTo>
                        <a:pt x="289886" y="144193"/>
                      </a:lnTo>
                      <a:lnTo>
                        <a:pt x="294515" y="142449"/>
                      </a:lnTo>
                      <a:lnTo>
                        <a:pt x="293643" y="147706"/>
                      </a:lnTo>
                      <a:lnTo>
                        <a:pt x="293146" y="152995"/>
                      </a:lnTo>
                      <a:lnTo>
                        <a:pt x="293480" y="161764"/>
                      </a:lnTo>
                      <a:lnTo>
                        <a:pt x="293896" y="165717"/>
                      </a:lnTo>
                      <a:lnTo>
                        <a:pt x="294703" y="169539"/>
                      </a:lnTo>
                      <a:lnTo>
                        <a:pt x="296666" y="172277"/>
                      </a:lnTo>
                      <a:lnTo>
                        <a:pt x="299250" y="174217"/>
                      </a:lnTo>
                      <a:lnTo>
                        <a:pt x="302991" y="180411"/>
                      </a:lnTo>
                      <a:lnTo>
                        <a:pt x="304996" y="188014"/>
                      </a:lnTo>
                      <a:lnTo>
                        <a:pt x="306414" y="191706"/>
                      </a:lnTo>
                      <a:lnTo>
                        <a:pt x="307473" y="195569"/>
                      </a:lnTo>
                      <a:lnTo>
                        <a:pt x="307799" y="197338"/>
                      </a:lnTo>
                      <a:lnTo>
                        <a:pt x="307824" y="199106"/>
                      </a:lnTo>
                      <a:lnTo>
                        <a:pt x="307506" y="201527"/>
                      </a:lnTo>
                      <a:lnTo>
                        <a:pt x="307864" y="203483"/>
                      </a:lnTo>
                      <a:lnTo>
                        <a:pt x="307457" y="209627"/>
                      </a:lnTo>
                      <a:lnTo>
                        <a:pt x="305770" y="216718"/>
                      </a:lnTo>
                      <a:lnTo>
                        <a:pt x="305566" y="220344"/>
                      </a:lnTo>
                      <a:lnTo>
                        <a:pt x="304099" y="221061"/>
                      </a:lnTo>
                      <a:lnTo>
                        <a:pt x="303227" y="222732"/>
                      </a:lnTo>
                      <a:lnTo>
                        <a:pt x="302477" y="223506"/>
                      </a:lnTo>
                      <a:lnTo>
                        <a:pt x="301638" y="224110"/>
                      </a:lnTo>
                      <a:lnTo>
                        <a:pt x="300432" y="224256"/>
                      </a:lnTo>
                      <a:lnTo>
                        <a:pt x="299568" y="224941"/>
                      </a:lnTo>
                      <a:lnTo>
                        <a:pt x="299218" y="226856"/>
                      </a:lnTo>
                      <a:lnTo>
                        <a:pt x="298664" y="228633"/>
                      </a:lnTo>
                      <a:lnTo>
                        <a:pt x="297612" y="230271"/>
                      </a:lnTo>
                      <a:lnTo>
                        <a:pt x="296781" y="232072"/>
                      </a:lnTo>
                      <a:lnTo>
                        <a:pt x="296096" y="236481"/>
                      </a:lnTo>
                      <a:lnTo>
                        <a:pt x="295844" y="240979"/>
                      </a:lnTo>
                      <a:lnTo>
                        <a:pt x="294825" y="244125"/>
                      </a:lnTo>
                      <a:lnTo>
                        <a:pt x="292347" y="244948"/>
                      </a:lnTo>
                      <a:lnTo>
                        <a:pt x="289527" y="244891"/>
                      </a:lnTo>
                      <a:lnTo>
                        <a:pt x="285917" y="246350"/>
                      </a:lnTo>
                      <a:lnTo>
                        <a:pt x="285143" y="247198"/>
                      </a:lnTo>
                      <a:lnTo>
                        <a:pt x="282282" y="252691"/>
                      </a:lnTo>
                      <a:lnTo>
                        <a:pt x="281459" y="255902"/>
                      </a:lnTo>
                      <a:lnTo>
                        <a:pt x="281435" y="259365"/>
                      </a:lnTo>
                      <a:lnTo>
                        <a:pt x="282225" y="263611"/>
                      </a:lnTo>
                      <a:lnTo>
                        <a:pt x="283301" y="267768"/>
                      </a:lnTo>
                      <a:lnTo>
                        <a:pt x="284124" y="275494"/>
                      </a:lnTo>
                      <a:lnTo>
                        <a:pt x="283260" y="287245"/>
                      </a:lnTo>
                      <a:lnTo>
                        <a:pt x="282437" y="291003"/>
                      </a:lnTo>
                      <a:lnTo>
                        <a:pt x="280620" y="293545"/>
                      </a:lnTo>
                      <a:lnTo>
                        <a:pt x="279242" y="294727"/>
                      </a:lnTo>
                      <a:lnTo>
                        <a:pt x="278061" y="296169"/>
                      </a:lnTo>
                      <a:lnTo>
                        <a:pt x="276520" y="299992"/>
                      </a:lnTo>
                      <a:lnTo>
                        <a:pt x="273978" y="307604"/>
                      </a:lnTo>
                      <a:lnTo>
                        <a:pt x="273766" y="309511"/>
                      </a:lnTo>
                      <a:lnTo>
                        <a:pt x="273782" y="311491"/>
                      </a:lnTo>
                      <a:lnTo>
                        <a:pt x="273090" y="314066"/>
                      </a:lnTo>
                      <a:lnTo>
                        <a:pt x="272641" y="316601"/>
                      </a:lnTo>
                      <a:lnTo>
                        <a:pt x="273057" y="319543"/>
                      </a:lnTo>
                      <a:lnTo>
                        <a:pt x="273847" y="322297"/>
                      </a:lnTo>
                      <a:lnTo>
                        <a:pt x="277254" y="329355"/>
                      </a:lnTo>
                      <a:lnTo>
                        <a:pt x="278599" y="331450"/>
                      </a:lnTo>
                      <a:lnTo>
                        <a:pt x="280106" y="333349"/>
                      </a:lnTo>
                      <a:lnTo>
                        <a:pt x="274280" y="335451"/>
                      </a:lnTo>
                      <a:lnTo>
                        <a:pt x="273220" y="336413"/>
                      </a:lnTo>
                      <a:lnTo>
                        <a:pt x="269764" y="340439"/>
                      </a:lnTo>
                      <a:lnTo>
                        <a:pt x="268664" y="344245"/>
                      </a:lnTo>
                      <a:lnTo>
                        <a:pt x="268746" y="348458"/>
                      </a:lnTo>
                      <a:lnTo>
                        <a:pt x="268167" y="349974"/>
                      </a:lnTo>
                      <a:lnTo>
                        <a:pt x="267222" y="351278"/>
                      </a:lnTo>
                      <a:lnTo>
                        <a:pt x="266227" y="352150"/>
                      </a:lnTo>
                      <a:lnTo>
                        <a:pt x="262356" y="354081"/>
                      </a:lnTo>
                      <a:lnTo>
                        <a:pt x="259887" y="355997"/>
                      </a:lnTo>
                      <a:lnTo>
                        <a:pt x="257425" y="358996"/>
                      </a:lnTo>
                      <a:lnTo>
                        <a:pt x="256447" y="360560"/>
                      </a:lnTo>
                      <a:lnTo>
                        <a:pt x="254549" y="360055"/>
                      </a:lnTo>
                      <a:lnTo>
                        <a:pt x="253441" y="358678"/>
                      </a:lnTo>
                      <a:lnTo>
                        <a:pt x="254532" y="356926"/>
                      </a:lnTo>
                      <a:lnTo>
                        <a:pt x="254198" y="354880"/>
                      </a:lnTo>
                      <a:lnTo>
                        <a:pt x="254728" y="349607"/>
                      </a:lnTo>
                      <a:lnTo>
                        <a:pt x="254117" y="347488"/>
                      </a:lnTo>
                      <a:lnTo>
                        <a:pt x="256097" y="345883"/>
                      </a:lnTo>
                      <a:lnTo>
                        <a:pt x="257034" y="343324"/>
                      </a:lnTo>
                      <a:lnTo>
                        <a:pt x="259096" y="341270"/>
                      </a:lnTo>
                      <a:lnTo>
                        <a:pt x="260563" y="339445"/>
                      </a:lnTo>
                      <a:lnTo>
                        <a:pt x="260824" y="337969"/>
                      </a:lnTo>
                      <a:lnTo>
                        <a:pt x="259504" y="336372"/>
                      </a:lnTo>
                      <a:lnTo>
                        <a:pt x="258110" y="335223"/>
                      </a:lnTo>
                      <a:lnTo>
                        <a:pt x="256187" y="335223"/>
                      </a:lnTo>
                      <a:lnTo>
                        <a:pt x="254321" y="335565"/>
                      </a:lnTo>
                      <a:lnTo>
                        <a:pt x="253131" y="337089"/>
                      </a:lnTo>
                      <a:lnTo>
                        <a:pt x="252723" y="339151"/>
                      </a:lnTo>
                      <a:lnTo>
                        <a:pt x="252821" y="340121"/>
                      </a:lnTo>
                      <a:lnTo>
                        <a:pt x="252666" y="340960"/>
                      </a:lnTo>
                      <a:lnTo>
                        <a:pt x="249749" y="343796"/>
                      </a:lnTo>
                      <a:lnTo>
                        <a:pt x="250140" y="346755"/>
                      </a:lnTo>
                      <a:lnTo>
                        <a:pt x="250987" y="348254"/>
                      </a:lnTo>
                      <a:lnTo>
                        <a:pt x="252080" y="348963"/>
                      </a:lnTo>
                      <a:lnTo>
                        <a:pt x="251745" y="349982"/>
                      </a:lnTo>
                      <a:lnTo>
                        <a:pt x="250368" y="352362"/>
                      </a:lnTo>
                      <a:lnTo>
                        <a:pt x="249390" y="352598"/>
                      </a:lnTo>
                      <a:lnTo>
                        <a:pt x="247613" y="349265"/>
                      </a:lnTo>
                      <a:lnTo>
                        <a:pt x="245397" y="347439"/>
                      </a:lnTo>
                      <a:lnTo>
                        <a:pt x="242642" y="347448"/>
                      </a:lnTo>
                      <a:lnTo>
                        <a:pt x="239806" y="348116"/>
                      </a:lnTo>
                      <a:lnTo>
                        <a:pt x="237654" y="350333"/>
                      </a:lnTo>
                      <a:lnTo>
                        <a:pt x="236954" y="352174"/>
                      </a:lnTo>
                      <a:lnTo>
                        <a:pt x="236489" y="354081"/>
                      </a:lnTo>
                      <a:lnTo>
                        <a:pt x="236644" y="358702"/>
                      </a:lnTo>
                      <a:lnTo>
                        <a:pt x="235755" y="362565"/>
                      </a:lnTo>
                      <a:lnTo>
                        <a:pt x="234011" y="365964"/>
                      </a:lnTo>
                      <a:lnTo>
                        <a:pt x="233188" y="367203"/>
                      </a:lnTo>
                      <a:lnTo>
                        <a:pt x="231053" y="369501"/>
                      </a:lnTo>
                      <a:lnTo>
                        <a:pt x="229578" y="369802"/>
                      </a:lnTo>
                      <a:lnTo>
                        <a:pt x="228527" y="368759"/>
                      </a:lnTo>
                      <a:lnTo>
                        <a:pt x="227679" y="367178"/>
                      </a:lnTo>
                      <a:lnTo>
                        <a:pt x="228763" y="361384"/>
                      </a:lnTo>
                      <a:lnTo>
                        <a:pt x="228722" y="358124"/>
                      </a:lnTo>
                      <a:lnTo>
                        <a:pt x="231224" y="356461"/>
                      </a:lnTo>
                      <a:lnTo>
                        <a:pt x="229162" y="354147"/>
                      </a:lnTo>
                      <a:lnTo>
                        <a:pt x="226660" y="353209"/>
                      </a:lnTo>
                      <a:lnTo>
                        <a:pt x="223123" y="354448"/>
                      </a:lnTo>
                      <a:lnTo>
                        <a:pt x="222129" y="355842"/>
                      </a:lnTo>
                      <a:lnTo>
                        <a:pt x="221445" y="357716"/>
                      </a:lnTo>
                      <a:lnTo>
                        <a:pt x="219554" y="360088"/>
                      </a:lnTo>
                      <a:lnTo>
                        <a:pt x="217451" y="362305"/>
                      </a:lnTo>
                      <a:lnTo>
                        <a:pt x="215088" y="366094"/>
                      </a:lnTo>
                      <a:lnTo>
                        <a:pt x="213499" y="370568"/>
                      </a:lnTo>
                      <a:lnTo>
                        <a:pt x="208283" y="369110"/>
                      </a:lnTo>
                      <a:lnTo>
                        <a:pt x="205439" y="368775"/>
                      </a:lnTo>
                      <a:lnTo>
                        <a:pt x="202553" y="368890"/>
                      </a:lnTo>
                      <a:lnTo>
                        <a:pt x="197468" y="368344"/>
                      </a:lnTo>
                      <a:lnTo>
                        <a:pt x="191885" y="369256"/>
                      </a:lnTo>
                      <a:lnTo>
                        <a:pt x="185520" y="371017"/>
                      </a:lnTo>
                      <a:lnTo>
                        <a:pt x="185912" y="369745"/>
                      </a:lnTo>
                      <a:lnTo>
                        <a:pt x="191136" y="367048"/>
                      </a:lnTo>
                      <a:lnTo>
                        <a:pt x="191323" y="366257"/>
                      </a:lnTo>
                      <a:lnTo>
                        <a:pt x="190818" y="364782"/>
                      </a:lnTo>
                      <a:lnTo>
                        <a:pt x="189522" y="364709"/>
                      </a:lnTo>
                      <a:lnTo>
                        <a:pt x="186384" y="365222"/>
                      </a:lnTo>
                      <a:lnTo>
                        <a:pt x="184795" y="365002"/>
                      </a:lnTo>
                      <a:lnTo>
                        <a:pt x="184143" y="363421"/>
                      </a:lnTo>
                      <a:lnTo>
                        <a:pt x="183084" y="362736"/>
                      </a:lnTo>
                      <a:lnTo>
                        <a:pt x="182375" y="363388"/>
                      </a:lnTo>
                      <a:lnTo>
                        <a:pt x="182603" y="366469"/>
                      </a:lnTo>
                      <a:lnTo>
                        <a:pt x="181837" y="366885"/>
                      </a:lnTo>
                      <a:lnTo>
                        <a:pt x="180802" y="366086"/>
                      </a:lnTo>
                      <a:lnTo>
                        <a:pt x="181128" y="363698"/>
                      </a:lnTo>
                      <a:lnTo>
                        <a:pt x="180419" y="360194"/>
                      </a:lnTo>
                      <a:lnTo>
                        <a:pt x="180346" y="358010"/>
                      </a:lnTo>
                      <a:lnTo>
                        <a:pt x="181438" y="356143"/>
                      </a:lnTo>
                      <a:lnTo>
                        <a:pt x="180313" y="355353"/>
                      </a:lnTo>
                      <a:lnTo>
                        <a:pt x="179131" y="355654"/>
                      </a:lnTo>
                      <a:lnTo>
                        <a:pt x="177623" y="356551"/>
                      </a:lnTo>
                      <a:lnTo>
                        <a:pt x="176295" y="357830"/>
                      </a:lnTo>
                      <a:lnTo>
                        <a:pt x="173483" y="364228"/>
                      </a:lnTo>
                      <a:lnTo>
                        <a:pt x="172391" y="367879"/>
                      </a:lnTo>
                      <a:lnTo>
                        <a:pt x="174445" y="370813"/>
                      </a:lnTo>
                      <a:lnTo>
                        <a:pt x="180044" y="374912"/>
                      </a:lnTo>
                      <a:lnTo>
                        <a:pt x="181014" y="375915"/>
                      </a:lnTo>
                      <a:lnTo>
                        <a:pt x="181022" y="377659"/>
                      </a:lnTo>
                      <a:lnTo>
                        <a:pt x="180346" y="379509"/>
                      </a:lnTo>
                      <a:lnTo>
                        <a:pt x="178822" y="380324"/>
                      </a:lnTo>
                      <a:lnTo>
                        <a:pt x="172676" y="381685"/>
                      </a:lnTo>
                      <a:lnTo>
                        <a:pt x="167355" y="384333"/>
                      </a:lnTo>
                      <a:lnTo>
                        <a:pt x="165822" y="387023"/>
                      </a:lnTo>
                      <a:lnTo>
                        <a:pt x="160982" y="397381"/>
                      </a:lnTo>
                      <a:lnTo>
                        <a:pt x="157094" y="404463"/>
                      </a:lnTo>
                      <a:lnTo>
                        <a:pt x="151618" y="406900"/>
                      </a:lnTo>
                      <a:lnTo>
                        <a:pt x="145603" y="404732"/>
                      </a:lnTo>
                      <a:lnTo>
                        <a:pt x="144144" y="402271"/>
                      </a:lnTo>
                      <a:lnTo>
                        <a:pt x="142963" y="399215"/>
                      </a:lnTo>
                      <a:lnTo>
                        <a:pt x="140738" y="396460"/>
                      </a:lnTo>
                      <a:lnTo>
                        <a:pt x="138717" y="393453"/>
                      </a:lnTo>
                      <a:lnTo>
                        <a:pt x="137535" y="389883"/>
                      </a:lnTo>
                      <a:lnTo>
                        <a:pt x="137714" y="384130"/>
                      </a:lnTo>
                      <a:lnTo>
                        <a:pt x="136850" y="380666"/>
                      </a:lnTo>
                      <a:lnTo>
                        <a:pt x="137641" y="379737"/>
                      </a:lnTo>
                      <a:lnTo>
                        <a:pt x="140958" y="377626"/>
                      </a:lnTo>
                      <a:lnTo>
                        <a:pt x="142042" y="376444"/>
                      </a:lnTo>
                      <a:lnTo>
                        <a:pt x="143908" y="373698"/>
                      </a:lnTo>
                      <a:lnTo>
                        <a:pt x="144585" y="372166"/>
                      </a:lnTo>
                      <a:lnTo>
                        <a:pt x="144682" y="369851"/>
                      </a:lnTo>
                      <a:lnTo>
                        <a:pt x="143166" y="368645"/>
                      </a:lnTo>
                      <a:lnTo>
                        <a:pt x="139279" y="368694"/>
                      </a:lnTo>
                      <a:lnTo>
                        <a:pt x="135391" y="369411"/>
                      </a:lnTo>
                      <a:lnTo>
                        <a:pt x="132613" y="368392"/>
                      </a:lnTo>
                      <a:lnTo>
                        <a:pt x="129027" y="365589"/>
                      </a:lnTo>
                      <a:lnTo>
                        <a:pt x="127910" y="364986"/>
                      </a:lnTo>
                      <a:lnTo>
                        <a:pt x="124023" y="364815"/>
                      </a:lnTo>
                      <a:lnTo>
                        <a:pt x="121260" y="365328"/>
                      </a:lnTo>
                      <a:lnTo>
                        <a:pt x="118546" y="366355"/>
                      </a:lnTo>
                      <a:lnTo>
                        <a:pt x="115726" y="366689"/>
                      </a:lnTo>
                      <a:lnTo>
                        <a:pt x="114773" y="367227"/>
                      </a:lnTo>
                      <a:lnTo>
                        <a:pt x="111464" y="370658"/>
                      </a:lnTo>
                      <a:lnTo>
                        <a:pt x="108824" y="372818"/>
                      </a:lnTo>
                      <a:lnTo>
                        <a:pt x="106549" y="373885"/>
                      </a:lnTo>
                      <a:lnTo>
                        <a:pt x="101627" y="374171"/>
                      </a:lnTo>
                      <a:lnTo>
                        <a:pt x="99158" y="374871"/>
                      </a:lnTo>
                      <a:lnTo>
                        <a:pt x="96583" y="376004"/>
                      </a:lnTo>
                      <a:lnTo>
                        <a:pt x="95857" y="375898"/>
                      </a:lnTo>
                      <a:lnTo>
                        <a:pt x="93135" y="377471"/>
                      </a:lnTo>
                      <a:lnTo>
                        <a:pt x="90006" y="378832"/>
                      </a:lnTo>
                      <a:lnTo>
                        <a:pt x="88335" y="380193"/>
                      </a:lnTo>
                      <a:lnTo>
                        <a:pt x="85287" y="379297"/>
                      </a:lnTo>
                      <a:lnTo>
                        <a:pt x="79216" y="381742"/>
                      </a:lnTo>
                      <a:lnTo>
                        <a:pt x="76298" y="382043"/>
                      </a:lnTo>
                      <a:lnTo>
                        <a:pt x="73266" y="380698"/>
                      </a:lnTo>
                      <a:lnTo>
                        <a:pt x="70455" y="378514"/>
                      </a:lnTo>
                      <a:lnTo>
                        <a:pt x="67765" y="379443"/>
                      </a:lnTo>
                      <a:lnTo>
                        <a:pt x="65915" y="382654"/>
                      </a:lnTo>
                      <a:lnTo>
                        <a:pt x="65019" y="389044"/>
                      </a:lnTo>
                      <a:lnTo>
                        <a:pt x="63967" y="391921"/>
                      </a:lnTo>
                      <a:lnTo>
                        <a:pt x="63633" y="395376"/>
                      </a:lnTo>
                      <a:lnTo>
                        <a:pt x="62248" y="394830"/>
                      </a:lnTo>
                      <a:lnTo>
                        <a:pt x="54139" y="388620"/>
                      </a:lnTo>
                      <a:lnTo>
                        <a:pt x="53576" y="388400"/>
                      </a:lnTo>
                      <a:lnTo>
                        <a:pt x="47016" y="389468"/>
                      </a:lnTo>
                      <a:lnTo>
                        <a:pt x="45320" y="389981"/>
                      </a:lnTo>
                      <a:lnTo>
                        <a:pt x="43210" y="391236"/>
                      </a:lnTo>
                      <a:lnTo>
                        <a:pt x="40985" y="391798"/>
                      </a:lnTo>
                      <a:lnTo>
                        <a:pt x="38940" y="390894"/>
                      </a:lnTo>
                      <a:lnTo>
                        <a:pt x="37000" y="389419"/>
                      </a:lnTo>
                      <a:lnTo>
                        <a:pt x="35125" y="389859"/>
                      </a:lnTo>
                      <a:lnTo>
                        <a:pt x="33202" y="390886"/>
                      </a:lnTo>
                      <a:lnTo>
                        <a:pt x="32469" y="381513"/>
                      </a:lnTo>
                      <a:lnTo>
                        <a:pt x="32844" y="380275"/>
                      </a:lnTo>
                      <a:lnTo>
                        <a:pt x="34033" y="378628"/>
                      </a:lnTo>
                      <a:lnTo>
                        <a:pt x="35321" y="377227"/>
                      </a:lnTo>
                      <a:lnTo>
                        <a:pt x="38499" y="376738"/>
                      </a:lnTo>
                      <a:lnTo>
                        <a:pt x="41719" y="377194"/>
                      </a:lnTo>
                      <a:lnTo>
                        <a:pt x="44017" y="376542"/>
                      </a:lnTo>
                      <a:lnTo>
                        <a:pt x="45948" y="374684"/>
                      </a:lnTo>
                      <a:lnTo>
                        <a:pt x="47994" y="372052"/>
                      </a:lnTo>
                      <a:lnTo>
                        <a:pt x="50300" y="369900"/>
                      </a:lnTo>
                      <a:lnTo>
                        <a:pt x="53421" y="368205"/>
                      </a:lnTo>
                      <a:lnTo>
                        <a:pt x="56453" y="366265"/>
                      </a:lnTo>
                      <a:lnTo>
                        <a:pt x="59110" y="363535"/>
                      </a:lnTo>
                      <a:lnTo>
                        <a:pt x="61636" y="360552"/>
                      </a:lnTo>
                      <a:lnTo>
                        <a:pt x="63951" y="358360"/>
                      </a:lnTo>
                      <a:lnTo>
                        <a:pt x="66469" y="356526"/>
                      </a:lnTo>
                      <a:lnTo>
                        <a:pt x="70299" y="352117"/>
                      </a:lnTo>
                      <a:lnTo>
                        <a:pt x="75385" y="347154"/>
                      </a:lnTo>
                      <a:lnTo>
                        <a:pt x="77333" y="343479"/>
                      </a:lnTo>
                      <a:lnTo>
                        <a:pt x="78539" y="342460"/>
                      </a:lnTo>
                      <a:lnTo>
                        <a:pt x="82915" y="340406"/>
                      </a:lnTo>
                      <a:lnTo>
                        <a:pt x="88718" y="338841"/>
                      </a:lnTo>
                      <a:lnTo>
                        <a:pt x="91456" y="338915"/>
                      </a:lnTo>
                      <a:lnTo>
                        <a:pt x="94162" y="342142"/>
                      </a:lnTo>
                      <a:lnTo>
                        <a:pt x="95629" y="341694"/>
                      </a:lnTo>
                      <a:lnTo>
                        <a:pt x="97104" y="340863"/>
                      </a:lnTo>
                      <a:lnTo>
                        <a:pt x="100095" y="340398"/>
                      </a:lnTo>
                      <a:lnTo>
                        <a:pt x="103175" y="340928"/>
                      </a:lnTo>
                      <a:lnTo>
                        <a:pt x="106166" y="340936"/>
                      </a:lnTo>
                      <a:lnTo>
                        <a:pt x="109157" y="340528"/>
                      </a:lnTo>
                      <a:lnTo>
                        <a:pt x="114936" y="339477"/>
                      </a:lnTo>
                      <a:lnTo>
                        <a:pt x="117976" y="338198"/>
                      </a:lnTo>
                      <a:lnTo>
                        <a:pt x="120934" y="336551"/>
                      </a:lnTo>
                      <a:lnTo>
                        <a:pt x="131512" y="335378"/>
                      </a:lnTo>
                      <a:lnTo>
                        <a:pt x="138749" y="332615"/>
                      </a:lnTo>
                      <a:lnTo>
                        <a:pt x="139898" y="332811"/>
                      </a:lnTo>
                      <a:lnTo>
                        <a:pt x="141023" y="333454"/>
                      </a:lnTo>
                      <a:lnTo>
                        <a:pt x="141105" y="335500"/>
                      </a:lnTo>
                      <a:lnTo>
                        <a:pt x="140208" y="337741"/>
                      </a:lnTo>
                      <a:lnTo>
                        <a:pt x="141072" y="339094"/>
                      </a:lnTo>
                      <a:lnTo>
                        <a:pt x="142555" y="339933"/>
                      </a:lnTo>
                      <a:lnTo>
                        <a:pt x="149368" y="340194"/>
                      </a:lnTo>
                      <a:lnTo>
                        <a:pt x="151316" y="340675"/>
                      </a:lnTo>
                      <a:lnTo>
                        <a:pt x="154160" y="339143"/>
                      </a:lnTo>
                      <a:lnTo>
                        <a:pt x="156842" y="337252"/>
                      </a:lnTo>
                      <a:lnTo>
                        <a:pt x="159645" y="334750"/>
                      </a:lnTo>
                      <a:lnTo>
                        <a:pt x="161609" y="331939"/>
                      </a:lnTo>
                      <a:lnTo>
                        <a:pt x="159800" y="328418"/>
                      </a:lnTo>
                      <a:lnTo>
                        <a:pt x="159392" y="324563"/>
                      </a:lnTo>
                      <a:lnTo>
                        <a:pt x="160916" y="320382"/>
                      </a:lnTo>
                      <a:lnTo>
                        <a:pt x="163125" y="316853"/>
                      </a:lnTo>
                      <a:lnTo>
                        <a:pt x="165741" y="314718"/>
                      </a:lnTo>
                      <a:lnTo>
                        <a:pt x="168153" y="312265"/>
                      </a:lnTo>
                      <a:lnTo>
                        <a:pt x="173035" y="305281"/>
                      </a:lnTo>
                      <a:lnTo>
                        <a:pt x="176572" y="299633"/>
                      </a:lnTo>
                      <a:lnTo>
                        <a:pt x="177835" y="292681"/>
                      </a:lnTo>
                      <a:lnTo>
                        <a:pt x="177086" y="284442"/>
                      </a:lnTo>
                      <a:lnTo>
                        <a:pt x="180175" y="278313"/>
                      </a:lnTo>
                      <a:lnTo>
                        <a:pt x="183116" y="277262"/>
                      </a:lnTo>
                      <a:lnTo>
                        <a:pt x="188984" y="274467"/>
                      </a:lnTo>
                      <a:lnTo>
                        <a:pt x="192056" y="273644"/>
                      </a:lnTo>
                      <a:lnTo>
                        <a:pt x="192521" y="274866"/>
                      </a:lnTo>
                      <a:lnTo>
                        <a:pt x="192424" y="276463"/>
                      </a:lnTo>
                      <a:lnTo>
                        <a:pt x="187835" y="281606"/>
                      </a:lnTo>
                      <a:lnTo>
                        <a:pt x="185195" y="283725"/>
                      </a:lnTo>
                      <a:lnTo>
                        <a:pt x="183622" y="284385"/>
                      </a:lnTo>
                      <a:lnTo>
                        <a:pt x="182171" y="285322"/>
                      </a:lnTo>
                      <a:lnTo>
                        <a:pt x="181584" y="287131"/>
                      </a:lnTo>
                      <a:lnTo>
                        <a:pt x="183923" y="290171"/>
                      </a:lnTo>
                      <a:lnTo>
                        <a:pt x="184526" y="292404"/>
                      </a:lnTo>
                      <a:lnTo>
                        <a:pt x="184371" y="294548"/>
                      </a:lnTo>
                      <a:lnTo>
                        <a:pt x="184477" y="296471"/>
                      </a:lnTo>
                      <a:lnTo>
                        <a:pt x="187126" y="298574"/>
                      </a:lnTo>
                      <a:lnTo>
                        <a:pt x="190174" y="299266"/>
                      </a:lnTo>
                      <a:lnTo>
                        <a:pt x="191437" y="299250"/>
                      </a:lnTo>
                      <a:lnTo>
                        <a:pt x="192554" y="298696"/>
                      </a:lnTo>
                      <a:lnTo>
                        <a:pt x="196025" y="293561"/>
                      </a:lnTo>
                      <a:lnTo>
                        <a:pt x="196808" y="292673"/>
                      </a:lnTo>
                      <a:lnTo>
                        <a:pt x="206718" y="288908"/>
                      </a:lnTo>
                      <a:lnTo>
                        <a:pt x="211583" y="286023"/>
                      </a:lnTo>
                      <a:lnTo>
                        <a:pt x="214281" y="285281"/>
                      </a:lnTo>
                      <a:lnTo>
                        <a:pt x="216808" y="283774"/>
                      </a:lnTo>
                      <a:lnTo>
                        <a:pt x="222463" y="277987"/>
                      </a:lnTo>
                      <a:lnTo>
                        <a:pt x="224566" y="275314"/>
                      </a:lnTo>
                      <a:lnTo>
                        <a:pt x="226457" y="272356"/>
                      </a:lnTo>
                      <a:lnTo>
                        <a:pt x="227981" y="268925"/>
                      </a:lnTo>
                      <a:lnTo>
                        <a:pt x="229179" y="265200"/>
                      </a:lnTo>
                      <a:lnTo>
                        <a:pt x="230817" y="262886"/>
                      </a:lnTo>
                      <a:lnTo>
                        <a:pt x="239806" y="257360"/>
                      </a:lnTo>
                      <a:lnTo>
                        <a:pt x="242691" y="254353"/>
                      </a:lnTo>
                      <a:lnTo>
                        <a:pt x="243604" y="252886"/>
                      </a:lnTo>
                      <a:lnTo>
                        <a:pt x="244728" y="248648"/>
                      </a:lnTo>
                      <a:lnTo>
                        <a:pt x="245494" y="244256"/>
                      </a:lnTo>
                      <a:lnTo>
                        <a:pt x="246587" y="240808"/>
                      </a:lnTo>
                      <a:lnTo>
                        <a:pt x="248070" y="237573"/>
                      </a:lnTo>
                      <a:lnTo>
                        <a:pt x="250042" y="234272"/>
                      </a:lnTo>
                      <a:lnTo>
                        <a:pt x="252251" y="231208"/>
                      </a:lnTo>
                      <a:lnTo>
                        <a:pt x="253562" y="228070"/>
                      </a:lnTo>
                      <a:lnTo>
                        <a:pt x="255462" y="220540"/>
                      </a:lnTo>
                      <a:lnTo>
                        <a:pt x="256301" y="216375"/>
                      </a:lnTo>
                      <a:lnTo>
                        <a:pt x="256953" y="214868"/>
                      </a:lnTo>
                      <a:lnTo>
                        <a:pt x="257915" y="213596"/>
                      </a:lnTo>
                      <a:lnTo>
                        <a:pt x="258754" y="211999"/>
                      </a:lnTo>
                      <a:lnTo>
                        <a:pt x="259382" y="210206"/>
                      </a:lnTo>
                      <a:lnTo>
                        <a:pt x="259667" y="208429"/>
                      </a:lnTo>
                      <a:lnTo>
                        <a:pt x="260083" y="202994"/>
                      </a:lnTo>
                      <a:lnTo>
                        <a:pt x="259838" y="198772"/>
                      </a:lnTo>
                      <a:lnTo>
                        <a:pt x="258347" y="195186"/>
                      </a:lnTo>
                      <a:lnTo>
                        <a:pt x="257124" y="194167"/>
                      </a:lnTo>
                      <a:lnTo>
                        <a:pt x="255787" y="194110"/>
                      </a:lnTo>
                      <a:lnTo>
                        <a:pt x="253774" y="194420"/>
                      </a:lnTo>
                      <a:lnTo>
                        <a:pt x="252063" y="192961"/>
                      </a:lnTo>
                      <a:lnTo>
                        <a:pt x="252422" y="191665"/>
                      </a:lnTo>
                      <a:lnTo>
                        <a:pt x="254157" y="191429"/>
                      </a:lnTo>
                      <a:lnTo>
                        <a:pt x="255356" y="190753"/>
                      </a:lnTo>
                      <a:lnTo>
                        <a:pt x="256203" y="189538"/>
                      </a:lnTo>
                      <a:lnTo>
                        <a:pt x="257800" y="185635"/>
                      </a:lnTo>
                      <a:lnTo>
                        <a:pt x="258762" y="181446"/>
                      </a:lnTo>
                      <a:lnTo>
                        <a:pt x="258836" y="179588"/>
                      </a:lnTo>
                      <a:lnTo>
                        <a:pt x="257589" y="176205"/>
                      </a:lnTo>
                      <a:lnTo>
                        <a:pt x="256603" y="172139"/>
                      </a:lnTo>
                      <a:lnTo>
                        <a:pt x="256570" y="169938"/>
                      </a:lnTo>
                      <a:lnTo>
                        <a:pt x="257662" y="167412"/>
                      </a:lnTo>
                      <a:lnTo>
                        <a:pt x="259211" y="165358"/>
                      </a:lnTo>
                      <a:lnTo>
                        <a:pt x="260604" y="164877"/>
                      </a:lnTo>
                      <a:lnTo>
                        <a:pt x="262112" y="164722"/>
                      </a:lnTo>
                      <a:lnTo>
                        <a:pt x="263481" y="163932"/>
                      </a:lnTo>
                      <a:lnTo>
                        <a:pt x="264744" y="162775"/>
                      </a:lnTo>
                      <a:lnTo>
                        <a:pt x="265461" y="161503"/>
                      </a:lnTo>
                      <a:lnTo>
                        <a:pt x="266586" y="158040"/>
                      </a:lnTo>
                      <a:lnTo>
                        <a:pt x="267010" y="156059"/>
                      </a:lnTo>
                      <a:lnTo>
                        <a:pt x="266301" y="150762"/>
                      </a:lnTo>
                      <a:lnTo>
                        <a:pt x="267034" y="149311"/>
                      </a:lnTo>
                      <a:lnTo>
                        <a:pt x="268061" y="148407"/>
                      </a:lnTo>
                      <a:lnTo>
                        <a:pt x="269438" y="149091"/>
                      </a:lnTo>
                      <a:lnTo>
                        <a:pt x="270848" y="149230"/>
                      </a:lnTo>
                      <a:lnTo>
                        <a:pt x="272478" y="149026"/>
                      </a:lnTo>
                      <a:lnTo>
                        <a:pt x="274059" y="149588"/>
                      </a:lnTo>
                      <a:lnTo>
                        <a:pt x="274353" y="150949"/>
                      </a:lnTo>
                      <a:lnTo>
                        <a:pt x="275339" y="159906"/>
                      </a:lnTo>
                      <a:lnTo>
                        <a:pt x="275901" y="161112"/>
                      </a:lnTo>
                      <a:lnTo>
                        <a:pt x="277059" y="162049"/>
                      </a:lnTo>
                      <a:lnTo>
                        <a:pt x="278354" y="161911"/>
                      </a:lnTo>
                      <a:lnTo>
                        <a:pt x="279463" y="160525"/>
                      </a:lnTo>
                      <a:lnTo>
                        <a:pt x="280221" y="158667"/>
                      </a:lnTo>
                      <a:lnTo>
                        <a:pt x="281704" y="158284"/>
                      </a:lnTo>
                      <a:lnTo>
                        <a:pt x="286243" y="160281"/>
                      </a:lnTo>
                      <a:lnTo>
                        <a:pt x="287841" y="158863"/>
                      </a:lnTo>
                      <a:lnTo>
                        <a:pt x="288884" y="156662"/>
                      </a:lnTo>
                      <a:lnTo>
                        <a:pt x="289788" y="152759"/>
                      </a:lnTo>
                      <a:lnTo>
                        <a:pt x="289348" y="149238"/>
                      </a:lnTo>
                      <a:lnTo>
                        <a:pt x="288264" y="147942"/>
                      </a:lnTo>
                      <a:lnTo>
                        <a:pt x="287123" y="148178"/>
                      </a:lnTo>
                      <a:lnTo>
                        <a:pt x="286137" y="149140"/>
                      </a:lnTo>
                      <a:lnTo>
                        <a:pt x="285029" y="149662"/>
                      </a:lnTo>
                      <a:lnTo>
                        <a:pt x="278346" y="151520"/>
                      </a:lnTo>
                      <a:lnTo>
                        <a:pt x="278379" y="147600"/>
                      </a:lnTo>
                      <a:lnTo>
                        <a:pt x="279813" y="141724"/>
                      </a:lnTo>
                      <a:lnTo>
                        <a:pt x="280604" y="139866"/>
                      </a:lnTo>
                      <a:lnTo>
                        <a:pt x="281728" y="138977"/>
                      </a:lnTo>
                      <a:lnTo>
                        <a:pt x="284548" y="139996"/>
                      </a:lnTo>
                      <a:lnTo>
                        <a:pt x="285925" y="140673"/>
                      </a:lnTo>
                      <a:lnTo>
                        <a:pt x="288916" y="143549"/>
                      </a:lnTo>
                      <a:close/>
                      <a:moveTo>
                        <a:pt x="353275" y="48801"/>
                      </a:moveTo>
                      <a:lnTo>
                        <a:pt x="356388" y="48972"/>
                      </a:lnTo>
                      <a:lnTo>
                        <a:pt x="357773" y="48809"/>
                      </a:lnTo>
                      <a:lnTo>
                        <a:pt x="360153" y="49330"/>
                      </a:lnTo>
                      <a:lnTo>
                        <a:pt x="369582" y="54628"/>
                      </a:lnTo>
                      <a:lnTo>
                        <a:pt x="372434" y="55296"/>
                      </a:lnTo>
                      <a:lnTo>
                        <a:pt x="375377" y="55386"/>
                      </a:lnTo>
                      <a:lnTo>
                        <a:pt x="377447" y="54954"/>
                      </a:lnTo>
                      <a:lnTo>
                        <a:pt x="379264" y="53503"/>
                      </a:lnTo>
                      <a:lnTo>
                        <a:pt x="384961" y="47081"/>
                      </a:lnTo>
                      <a:lnTo>
                        <a:pt x="390934" y="41230"/>
                      </a:lnTo>
                      <a:lnTo>
                        <a:pt x="391595" y="41458"/>
                      </a:lnTo>
                      <a:lnTo>
                        <a:pt x="391603" y="43063"/>
                      </a:lnTo>
                      <a:lnTo>
                        <a:pt x="391163" y="44864"/>
                      </a:lnTo>
                      <a:lnTo>
                        <a:pt x="388522" y="50211"/>
                      </a:lnTo>
                      <a:lnTo>
                        <a:pt x="385572" y="57415"/>
                      </a:lnTo>
                      <a:lnTo>
                        <a:pt x="384953" y="61058"/>
                      </a:lnTo>
                      <a:lnTo>
                        <a:pt x="385906" y="64611"/>
                      </a:lnTo>
                      <a:lnTo>
                        <a:pt x="387756" y="67537"/>
                      </a:lnTo>
                      <a:lnTo>
                        <a:pt x="389215" y="71538"/>
                      </a:lnTo>
                      <a:lnTo>
                        <a:pt x="390894" y="77097"/>
                      </a:lnTo>
                      <a:lnTo>
                        <a:pt x="393257" y="77805"/>
                      </a:lnTo>
                      <a:lnTo>
                        <a:pt x="394545" y="77887"/>
                      </a:lnTo>
                      <a:lnTo>
                        <a:pt x="396900" y="76216"/>
                      </a:lnTo>
                      <a:lnTo>
                        <a:pt x="399149" y="74097"/>
                      </a:lnTo>
                      <a:lnTo>
                        <a:pt x="401073" y="73845"/>
                      </a:lnTo>
                      <a:lnTo>
                        <a:pt x="403094" y="74203"/>
                      </a:lnTo>
                      <a:lnTo>
                        <a:pt x="400437" y="75679"/>
                      </a:lnTo>
                      <a:lnTo>
                        <a:pt x="397911" y="77488"/>
                      </a:lnTo>
                      <a:lnTo>
                        <a:pt x="395759" y="80902"/>
                      </a:lnTo>
                      <a:lnTo>
                        <a:pt x="394952" y="81538"/>
                      </a:lnTo>
                      <a:lnTo>
                        <a:pt x="392467" y="81326"/>
                      </a:lnTo>
                      <a:lnTo>
                        <a:pt x="391049" y="81448"/>
                      </a:lnTo>
                      <a:lnTo>
                        <a:pt x="388131" y="82875"/>
                      </a:lnTo>
                      <a:lnTo>
                        <a:pt x="385588" y="84488"/>
                      </a:lnTo>
                      <a:lnTo>
                        <a:pt x="383151" y="86469"/>
                      </a:lnTo>
                      <a:lnTo>
                        <a:pt x="380478" y="87536"/>
                      </a:lnTo>
                      <a:lnTo>
                        <a:pt x="377650" y="87789"/>
                      </a:lnTo>
                      <a:lnTo>
                        <a:pt x="373266" y="89403"/>
                      </a:lnTo>
                      <a:lnTo>
                        <a:pt x="370430" y="89517"/>
                      </a:lnTo>
                      <a:lnTo>
                        <a:pt x="365116" y="88107"/>
                      </a:lnTo>
                      <a:lnTo>
                        <a:pt x="362525" y="88474"/>
                      </a:lnTo>
                      <a:lnTo>
                        <a:pt x="356869" y="91660"/>
                      </a:lnTo>
                      <a:lnTo>
                        <a:pt x="351734" y="96265"/>
                      </a:lnTo>
                      <a:lnTo>
                        <a:pt x="347244" y="101415"/>
                      </a:lnTo>
                      <a:lnTo>
                        <a:pt x="343471" y="107617"/>
                      </a:lnTo>
                      <a:lnTo>
                        <a:pt x="341971" y="110844"/>
                      </a:lnTo>
                      <a:lnTo>
                        <a:pt x="341066" y="114447"/>
                      </a:lnTo>
                      <a:lnTo>
                        <a:pt x="340936" y="116835"/>
                      </a:lnTo>
                      <a:lnTo>
                        <a:pt x="340610" y="119125"/>
                      </a:lnTo>
                      <a:lnTo>
                        <a:pt x="339738" y="120722"/>
                      </a:lnTo>
                      <a:lnTo>
                        <a:pt x="338695" y="122018"/>
                      </a:lnTo>
                      <a:lnTo>
                        <a:pt x="335598" y="121260"/>
                      </a:lnTo>
                      <a:lnTo>
                        <a:pt x="330504" y="117959"/>
                      </a:lnTo>
                      <a:lnTo>
                        <a:pt x="320627" y="113159"/>
                      </a:lnTo>
                      <a:lnTo>
                        <a:pt x="310203" y="105800"/>
                      </a:lnTo>
                      <a:lnTo>
                        <a:pt x="304336" y="102100"/>
                      </a:lnTo>
                      <a:lnTo>
                        <a:pt x="293301" y="103208"/>
                      </a:lnTo>
                      <a:lnTo>
                        <a:pt x="282877" y="110258"/>
                      </a:lnTo>
                      <a:lnTo>
                        <a:pt x="281940" y="109655"/>
                      </a:lnTo>
                      <a:lnTo>
                        <a:pt x="277955" y="104814"/>
                      </a:lnTo>
                      <a:lnTo>
                        <a:pt x="276023" y="102899"/>
                      </a:lnTo>
                      <a:lnTo>
                        <a:pt x="273725" y="102361"/>
                      </a:lnTo>
                      <a:lnTo>
                        <a:pt x="272005" y="102418"/>
                      </a:lnTo>
                      <a:lnTo>
                        <a:pt x="270343" y="102768"/>
                      </a:lnTo>
                      <a:lnTo>
                        <a:pt x="267988" y="105262"/>
                      </a:lnTo>
                      <a:lnTo>
                        <a:pt x="267124" y="107055"/>
                      </a:lnTo>
                      <a:lnTo>
                        <a:pt x="266448" y="109084"/>
                      </a:lnTo>
                      <a:lnTo>
                        <a:pt x="266244" y="110527"/>
                      </a:lnTo>
                      <a:lnTo>
                        <a:pt x="266537" y="111937"/>
                      </a:lnTo>
                      <a:lnTo>
                        <a:pt x="268754" y="115131"/>
                      </a:lnTo>
                      <a:lnTo>
                        <a:pt x="271516" y="117495"/>
                      </a:lnTo>
                      <a:lnTo>
                        <a:pt x="272755" y="117951"/>
                      </a:lnTo>
                      <a:lnTo>
                        <a:pt x="275396" y="117780"/>
                      </a:lnTo>
                      <a:lnTo>
                        <a:pt x="276618" y="118025"/>
                      </a:lnTo>
                      <a:lnTo>
                        <a:pt x="281052" y="122784"/>
                      </a:lnTo>
                      <a:lnTo>
                        <a:pt x="285901" y="127234"/>
                      </a:lnTo>
                      <a:lnTo>
                        <a:pt x="286968" y="128709"/>
                      </a:lnTo>
                      <a:lnTo>
                        <a:pt x="285175" y="130257"/>
                      </a:lnTo>
                      <a:lnTo>
                        <a:pt x="283211" y="131023"/>
                      </a:lnTo>
                      <a:lnTo>
                        <a:pt x="280937" y="130820"/>
                      </a:lnTo>
                      <a:lnTo>
                        <a:pt x="278680" y="130233"/>
                      </a:lnTo>
                      <a:lnTo>
                        <a:pt x="274793" y="128350"/>
                      </a:lnTo>
                      <a:lnTo>
                        <a:pt x="273138" y="129964"/>
                      </a:lnTo>
                      <a:lnTo>
                        <a:pt x="270563" y="133264"/>
                      </a:lnTo>
                      <a:lnTo>
                        <a:pt x="269137" y="136858"/>
                      </a:lnTo>
                      <a:lnTo>
                        <a:pt x="267971" y="138505"/>
                      </a:lnTo>
                      <a:lnTo>
                        <a:pt x="265119" y="140664"/>
                      </a:lnTo>
                      <a:lnTo>
                        <a:pt x="262112" y="141789"/>
                      </a:lnTo>
                      <a:lnTo>
                        <a:pt x="260539" y="141422"/>
                      </a:lnTo>
                      <a:lnTo>
                        <a:pt x="259341" y="140061"/>
                      </a:lnTo>
                      <a:lnTo>
                        <a:pt x="258656" y="138431"/>
                      </a:lnTo>
                      <a:lnTo>
                        <a:pt x="258306" y="136557"/>
                      </a:lnTo>
                      <a:lnTo>
                        <a:pt x="258958" y="132466"/>
                      </a:lnTo>
                      <a:lnTo>
                        <a:pt x="260514" y="128782"/>
                      </a:lnTo>
                      <a:lnTo>
                        <a:pt x="261109" y="125017"/>
                      </a:lnTo>
                      <a:lnTo>
                        <a:pt x="259830" y="119712"/>
                      </a:lnTo>
                      <a:lnTo>
                        <a:pt x="259015" y="118611"/>
                      </a:lnTo>
                      <a:lnTo>
                        <a:pt x="255812" y="115498"/>
                      </a:lnTo>
                      <a:lnTo>
                        <a:pt x="254329" y="112466"/>
                      </a:lnTo>
                      <a:lnTo>
                        <a:pt x="253978" y="108693"/>
                      </a:lnTo>
                      <a:lnTo>
                        <a:pt x="254157" y="106615"/>
                      </a:lnTo>
                      <a:lnTo>
                        <a:pt x="254948" y="102010"/>
                      </a:lnTo>
                      <a:lnTo>
                        <a:pt x="255722" y="99679"/>
                      </a:lnTo>
                      <a:lnTo>
                        <a:pt x="257198" y="98913"/>
                      </a:lnTo>
                      <a:lnTo>
                        <a:pt x="258787" y="98449"/>
                      </a:lnTo>
                      <a:lnTo>
                        <a:pt x="261264" y="96786"/>
                      </a:lnTo>
                      <a:lnTo>
                        <a:pt x="263978" y="94627"/>
                      </a:lnTo>
                      <a:lnTo>
                        <a:pt x="266569" y="92165"/>
                      </a:lnTo>
                      <a:lnTo>
                        <a:pt x="269137" y="89150"/>
                      </a:lnTo>
                      <a:lnTo>
                        <a:pt x="270473" y="85833"/>
                      </a:lnTo>
                      <a:lnTo>
                        <a:pt x="268273" y="81766"/>
                      </a:lnTo>
                      <a:lnTo>
                        <a:pt x="267817" y="79354"/>
                      </a:lnTo>
                      <a:lnTo>
                        <a:pt x="268134" y="77064"/>
                      </a:lnTo>
                      <a:lnTo>
                        <a:pt x="270482" y="75850"/>
                      </a:lnTo>
                      <a:lnTo>
                        <a:pt x="272902" y="76762"/>
                      </a:lnTo>
                      <a:lnTo>
                        <a:pt x="277775" y="80120"/>
                      </a:lnTo>
                      <a:lnTo>
                        <a:pt x="278729" y="80446"/>
                      </a:lnTo>
                      <a:lnTo>
                        <a:pt x="282071" y="80601"/>
                      </a:lnTo>
                      <a:lnTo>
                        <a:pt x="286634" y="81334"/>
                      </a:lnTo>
                      <a:lnTo>
                        <a:pt x="289291" y="81155"/>
                      </a:lnTo>
                      <a:lnTo>
                        <a:pt x="290554" y="80650"/>
                      </a:lnTo>
                      <a:lnTo>
                        <a:pt x="292486" y="77887"/>
                      </a:lnTo>
                      <a:lnTo>
                        <a:pt x="293431" y="74358"/>
                      </a:lnTo>
                      <a:lnTo>
                        <a:pt x="293080" y="69811"/>
                      </a:lnTo>
                      <a:lnTo>
                        <a:pt x="293065" y="65288"/>
                      </a:lnTo>
                      <a:lnTo>
                        <a:pt x="294279" y="61604"/>
                      </a:lnTo>
                      <a:lnTo>
                        <a:pt x="298101" y="55671"/>
                      </a:lnTo>
                      <a:lnTo>
                        <a:pt x="299193" y="52175"/>
                      </a:lnTo>
                      <a:lnTo>
                        <a:pt x="299592" y="43666"/>
                      </a:lnTo>
                      <a:lnTo>
                        <a:pt x="300970" y="39909"/>
                      </a:lnTo>
                      <a:lnTo>
                        <a:pt x="302086" y="36022"/>
                      </a:lnTo>
                      <a:lnTo>
                        <a:pt x="302600" y="27839"/>
                      </a:lnTo>
                      <a:lnTo>
                        <a:pt x="301043" y="19967"/>
                      </a:lnTo>
                      <a:lnTo>
                        <a:pt x="299470" y="16104"/>
                      </a:lnTo>
                      <a:lnTo>
                        <a:pt x="297661" y="12420"/>
                      </a:lnTo>
                      <a:lnTo>
                        <a:pt x="297930" y="8916"/>
                      </a:lnTo>
                      <a:lnTo>
                        <a:pt x="299389" y="5656"/>
                      </a:lnTo>
                      <a:lnTo>
                        <a:pt x="299430" y="4670"/>
                      </a:lnTo>
                      <a:lnTo>
                        <a:pt x="299780" y="3806"/>
                      </a:lnTo>
                      <a:lnTo>
                        <a:pt x="302510" y="3178"/>
                      </a:lnTo>
                      <a:lnTo>
                        <a:pt x="303781" y="2486"/>
                      </a:lnTo>
                      <a:lnTo>
                        <a:pt x="304996" y="921"/>
                      </a:lnTo>
                      <a:lnTo>
                        <a:pt x="306463" y="0"/>
                      </a:lnTo>
                      <a:lnTo>
                        <a:pt x="307539" y="913"/>
                      </a:lnTo>
                      <a:lnTo>
                        <a:pt x="308410" y="2518"/>
                      </a:lnTo>
                      <a:lnTo>
                        <a:pt x="312265" y="6471"/>
                      </a:lnTo>
                      <a:lnTo>
                        <a:pt x="318321" y="13520"/>
                      </a:lnTo>
                      <a:lnTo>
                        <a:pt x="325476" y="24246"/>
                      </a:lnTo>
                      <a:lnTo>
                        <a:pt x="329958" y="29461"/>
                      </a:lnTo>
                      <a:lnTo>
                        <a:pt x="334685" y="34188"/>
                      </a:lnTo>
                      <a:lnTo>
                        <a:pt x="339966" y="39021"/>
                      </a:lnTo>
                      <a:lnTo>
                        <a:pt x="345508" y="43177"/>
                      </a:lnTo>
                      <a:lnTo>
                        <a:pt x="349053" y="45141"/>
                      </a:lnTo>
                      <a:lnTo>
                        <a:pt x="351645" y="48271"/>
                      </a:lnTo>
                      <a:lnTo>
                        <a:pt x="353275" y="48801"/>
                      </a:lnTo>
                      <a:close/>
                    </a:path>
                  </a:pathLst>
                </a:custGeom>
                <a:solidFill>
                  <a:srgbClr val="D6D6D2"/>
                </a:solidFill>
                <a:ln w="6112" cap="rnd">
                  <a:solidFill>
                    <a:srgbClr val="FFFFFF"/>
                  </a:solidFill>
                  <a:prstDash val="solid"/>
                  <a:round/>
                </a:ln>
              </p:spPr>
              <p:txBody>
                <a:bodyPr rtlCol="0" anchor="ctr"/>
                <a:lstStyle/>
                <a:p>
                  <a:endParaRPr lang="en-US"/>
                </a:p>
              </p:txBody>
            </p:sp>
            <p:sp>
              <p:nvSpPr>
                <p:cNvPr id="704" name="Freeform: Shape 703">
                  <a:extLst>
                    <a:ext uri="{FF2B5EF4-FFF2-40B4-BE49-F238E27FC236}">
                      <a16:creationId xmlns:a16="http://schemas.microsoft.com/office/drawing/2014/main" id="{42DFC494-7F61-43ED-9647-6877FF9A217F}"/>
                    </a:ext>
                  </a:extLst>
                </p:cNvPr>
                <p:cNvSpPr/>
                <p:nvPr/>
              </p:nvSpPr>
              <p:spPr>
                <a:xfrm>
                  <a:off x="6810486" y="3496131"/>
                  <a:ext cx="107690" cy="135033"/>
                </a:xfrm>
                <a:custGeom>
                  <a:avLst/>
                  <a:gdLst>
                    <a:gd name="connsiteX0" fmla="*/ 104039 w 107690"/>
                    <a:gd name="connsiteY0" fmla="*/ 40586 h 135033"/>
                    <a:gd name="connsiteX1" fmla="*/ 100356 w 107690"/>
                    <a:gd name="connsiteY1" fmla="*/ 44375 h 135033"/>
                    <a:gd name="connsiteX2" fmla="*/ 99500 w 107690"/>
                    <a:gd name="connsiteY2" fmla="*/ 44783 h 135033"/>
                    <a:gd name="connsiteX3" fmla="*/ 94716 w 107690"/>
                    <a:gd name="connsiteY3" fmla="*/ 46356 h 135033"/>
                    <a:gd name="connsiteX4" fmla="*/ 84936 w 107690"/>
                    <a:gd name="connsiteY4" fmla="*/ 49558 h 135033"/>
                    <a:gd name="connsiteX5" fmla="*/ 78392 w 107690"/>
                    <a:gd name="connsiteY5" fmla="*/ 51702 h 135033"/>
                    <a:gd name="connsiteX6" fmla="*/ 70023 w 107690"/>
                    <a:gd name="connsiteY6" fmla="*/ 54448 h 135033"/>
                    <a:gd name="connsiteX7" fmla="*/ 63063 w 107690"/>
                    <a:gd name="connsiteY7" fmla="*/ 56730 h 135033"/>
                    <a:gd name="connsiteX8" fmla="*/ 56168 w 107690"/>
                    <a:gd name="connsiteY8" fmla="*/ 58988 h 135033"/>
                    <a:gd name="connsiteX9" fmla="*/ 49795 w 107690"/>
                    <a:gd name="connsiteY9" fmla="*/ 61074 h 135033"/>
                    <a:gd name="connsiteX10" fmla="*/ 53438 w 107690"/>
                    <a:gd name="connsiteY10" fmla="*/ 65475 h 135033"/>
                    <a:gd name="connsiteX11" fmla="*/ 58996 w 107690"/>
                    <a:gd name="connsiteY11" fmla="*/ 72207 h 135033"/>
                    <a:gd name="connsiteX12" fmla="*/ 62712 w 107690"/>
                    <a:gd name="connsiteY12" fmla="*/ 76697 h 135033"/>
                    <a:gd name="connsiteX13" fmla="*/ 67081 w 107690"/>
                    <a:gd name="connsiteY13" fmla="*/ 82451 h 135033"/>
                    <a:gd name="connsiteX14" fmla="*/ 71001 w 107690"/>
                    <a:gd name="connsiteY14" fmla="*/ 87593 h 135033"/>
                    <a:gd name="connsiteX15" fmla="*/ 75141 w 107690"/>
                    <a:gd name="connsiteY15" fmla="*/ 93046 h 135033"/>
                    <a:gd name="connsiteX16" fmla="*/ 72223 w 107690"/>
                    <a:gd name="connsiteY16" fmla="*/ 94887 h 135033"/>
                    <a:gd name="connsiteX17" fmla="*/ 67431 w 107690"/>
                    <a:gd name="connsiteY17" fmla="*/ 97927 h 135033"/>
                    <a:gd name="connsiteX18" fmla="*/ 66950 w 107690"/>
                    <a:gd name="connsiteY18" fmla="*/ 98481 h 135033"/>
                    <a:gd name="connsiteX19" fmla="*/ 66551 w 107690"/>
                    <a:gd name="connsiteY19" fmla="*/ 99044 h 135033"/>
                    <a:gd name="connsiteX20" fmla="*/ 64562 w 107690"/>
                    <a:gd name="connsiteY20" fmla="*/ 104463 h 135033"/>
                    <a:gd name="connsiteX21" fmla="*/ 62989 w 107690"/>
                    <a:gd name="connsiteY21" fmla="*/ 108725 h 135033"/>
                    <a:gd name="connsiteX22" fmla="*/ 62468 w 107690"/>
                    <a:gd name="connsiteY22" fmla="*/ 109263 h 135033"/>
                    <a:gd name="connsiteX23" fmla="*/ 55777 w 107690"/>
                    <a:gd name="connsiteY23" fmla="*/ 110828 h 135033"/>
                    <a:gd name="connsiteX24" fmla="*/ 49021 w 107690"/>
                    <a:gd name="connsiteY24" fmla="*/ 112409 h 135033"/>
                    <a:gd name="connsiteX25" fmla="*/ 44750 w 107690"/>
                    <a:gd name="connsiteY25" fmla="*/ 113403 h 135033"/>
                    <a:gd name="connsiteX26" fmla="*/ 43487 w 107690"/>
                    <a:gd name="connsiteY26" fmla="*/ 114504 h 135033"/>
                    <a:gd name="connsiteX27" fmla="*/ 40700 w 107690"/>
                    <a:gd name="connsiteY27" fmla="*/ 119809 h 135033"/>
                    <a:gd name="connsiteX28" fmla="*/ 37831 w 107690"/>
                    <a:gd name="connsiteY28" fmla="*/ 125294 h 135033"/>
                    <a:gd name="connsiteX29" fmla="*/ 33039 w 107690"/>
                    <a:gd name="connsiteY29" fmla="*/ 129760 h 135033"/>
                    <a:gd name="connsiteX30" fmla="*/ 27717 w 107690"/>
                    <a:gd name="connsiteY30" fmla="*/ 134715 h 135033"/>
                    <a:gd name="connsiteX31" fmla="*/ 26405 w 107690"/>
                    <a:gd name="connsiteY31" fmla="*/ 135033 h 135033"/>
                    <a:gd name="connsiteX32" fmla="*/ 22559 w 107690"/>
                    <a:gd name="connsiteY32" fmla="*/ 134275 h 135033"/>
                    <a:gd name="connsiteX33" fmla="*/ 15982 w 107690"/>
                    <a:gd name="connsiteY33" fmla="*/ 132971 h 135033"/>
                    <a:gd name="connsiteX34" fmla="*/ 9641 w 107690"/>
                    <a:gd name="connsiteY34" fmla="*/ 131724 h 135033"/>
                    <a:gd name="connsiteX35" fmla="*/ 5281 w 107690"/>
                    <a:gd name="connsiteY35" fmla="*/ 130860 h 135033"/>
                    <a:gd name="connsiteX36" fmla="*/ 0 w 107690"/>
                    <a:gd name="connsiteY36" fmla="*/ 129817 h 135033"/>
                    <a:gd name="connsiteX37" fmla="*/ 782 w 107690"/>
                    <a:gd name="connsiteY37" fmla="*/ 125628 h 135033"/>
                    <a:gd name="connsiteX38" fmla="*/ 563 w 107690"/>
                    <a:gd name="connsiteY38" fmla="*/ 123371 h 135033"/>
                    <a:gd name="connsiteX39" fmla="*/ 1826 w 107690"/>
                    <a:gd name="connsiteY39" fmla="*/ 115938 h 135033"/>
                    <a:gd name="connsiteX40" fmla="*/ 2543 w 107690"/>
                    <a:gd name="connsiteY40" fmla="*/ 112409 h 135033"/>
                    <a:gd name="connsiteX41" fmla="*/ 2909 w 107690"/>
                    <a:gd name="connsiteY41" fmla="*/ 109818 h 135033"/>
                    <a:gd name="connsiteX42" fmla="*/ 4735 w 107690"/>
                    <a:gd name="connsiteY42" fmla="*/ 104561 h 135033"/>
                    <a:gd name="connsiteX43" fmla="*/ 4515 w 107690"/>
                    <a:gd name="connsiteY43" fmla="*/ 102841 h 135033"/>
                    <a:gd name="connsiteX44" fmla="*/ 4898 w 107690"/>
                    <a:gd name="connsiteY44" fmla="*/ 96762 h 135033"/>
                    <a:gd name="connsiteX45" fmla="*/ 4703 w 107690"/>
                    <a:gd name="connsiteY45" fmla="*/ 95588 h 135033"/>
                    <a:gd name="connsiteX46" fmla="*/ 5534 w 107690"/>
                    <a:gd name="connsiteY46" fmla="*/ 92271 h 135033"/>
                    <a:gd name="connsiteX47" fmla="*/ 7090 w 107690"/>
                    <a:gd name="connsiteY47" fmla="*/ 87455 h 135033"/>
                    <a:gd name="connsiteX48" fmla="*/ 8614 w 107690"/>
                    <a:gd name="connsiteY48" fmla="*/ 83315 h 135033"/>
                    <a:gd name="connsiteX49" fmla="*/ 9160 w 107690"/>
                    <a:gd name="connsiteY49" fmla="*/ 81448 h 135033"/>
                    <a:gd name="connsiteX50" fmla="*/ 10717 w 107690"/>
                    <a:gd name="connsiteY50" fmla="*/ 77512 h 135033"/>
                    <a:gd name="connsiteX51" fmla="*/ 12119 w 107690"/>
                    <a:gd name="connsiteY51" fmla="*/ 72671 h 135033"/>
                    <a:gd name="connsiteX52" fmla="*/ 11377 w 107690"/>
                    <a:gd name="connsiteY52" fmla="*/ 70022 h 135033"/>
                    <a:gd name="connsiteX53" fmla="*/ 11157 w 107690"/>
                    <a:gd name="connsiteY53" fmla="*/ 69509 h 135033"/>
                    <a:gd name="connsiteX54" fmla="*/ 11719 w 107690"/>
                    <a:gd name="connsiteY54" fmla="*/ 66461 h 135033"/>
                    <a:gd name="connsiteX55" fmla="*/ 11703 w 107690"/>
                    <a:gd name="connsiteY55" fmla="*/ 66445 h 135033"/>
                    <a:gd name="connsiteX56" fmla="*/ 12396 w 107690"/>
                    <a:gd name="connsiteY56" fmla="*/ 61465 h 135033"/>
                    <a:gd name="connsiteX57" fmla="*/ 12763 w 107690"/>
                    <a:gd name="connsiteY57" fmla="*/ 58784 h 135033"/>
                    <a:gd name="connsiteX58" fmla="*/ 13610 w 107690"/>
                    <a:gd name="connsiteY58" fmla="*/ 55231 h 135033"/>
                    <a:gd name="connsiteX59" fmla="*/ 15085 w 107690"/>
                    <a:gd name="connsiteY59" fmla="*/ 52215 h 135033"/>
                    <a:gd name="connsiteX60" fmla="*/ 14409 w 107690"/>
                    <a:gd name="connsiteY60" fmla="*/ 45109 h 135033"/>
                    <a:gd name="connsiteX61" fmla="*/ 14482 w 107690"/>
                    <a:gd name="connsiteY61" fmla="*/ 41278 h 135033"/>
                    <a:gd name="connsiteX62" fmla="*/ 15420 w 107690"/>
                    <a:gd name="connsiteY62" fmla="*/ 36910 h 135033"/>
                    <a:gd name="connsiteX63" fmla="*/ 14898 w 107690"/>
                    <a:gd name="connsiteY63" fmla="*/ 31800 h 135033"/>
                    <a:gd name="connsiteX64" fmla="*/ 15338 w 107690"/>
                    <a:gd name="connsiteY64" fmla="*/ 24506 h 135033"/>
                    <a:gd name="connsiteX65" fmla="*/ 15427 w 107690"/>
                    <a:gd name="connsiteY65" fmla="*/ 23822 h 135033"/>
                    <a:gd name="connsiteX66" fmla="*/ 15966 w 107690"/>
                    <a:gd name="connsiteY66" fmla="*/ 22942 h 135033"/>
                    <a:gd name="connsiteX67" fmla="*/ 16381 w 107690"/>
                    <a:gd name="connsiteY67" fmla="*/ 22485 h 135033"/>
                    <a:gd name="connsiteX68" fmla="*/ 19437 w 107690"/>
                    <a:gd name="connsiteY68" fmla="*/ 20953 h 135033"/>
                    <a:gd name="connsiteX69" fmla="*/ 20749 w 107690"/>
                    <a:gd name="connsiteY69" fmla="*/ 20766 h 135033"/>
                    <a:gd name="connsiteX70" fmla="*/ 23406 w 107690"/>
                    <a:gd name="connsiteY70" fmla="*/ 21450 h 135033"/>
                    <a:gd name="connsiteX71" fmla="*/ 24938 w 107690"/>
                    <a:gd name="connsiteY71" fmla="*/ 22982 h 135033"/>
                    <a:gd name="connsiteX72" fmla="*/ 27505 w 107690"/>
                    <a:gd name="connsiteY72" fmla="*/ 27302 h 135033"/>
                    <a:gd name="connsiteX73" fmla="*/ 31474 w 107690"/>
                    <a:gd name="connsiteY73" fmla="*/ 28557 h 135033"/>
                    <a:gd name="connsiteX74" fmla="*/ 33080 w 107690"/>
                    <a:gd name="connsiteY74" fmla="*/ 29779 h 135033"/>
                    <a:gd name="connsiteX75" fmla="*/ 35256 w 107690"/>
                    <a:gd name="connsiteY75" fmla="*/ 32069 h 135033"/>
                    <a:gd name="connsiteX76" fmla="*/ 37913 w 107690"/>
                    <a:gd name="connsiteY76" fmla="*/ 32900 h 135033"/>
                    <a:gd name="connsiteX77" fmla="*/ 46323 w 107690"/>
                    <a:gd name="connsiteY77" fmla="*/ 34335 h 135033"/>
                    <a:gd name="connsiteX78" fmla="*/ 53030 w 107690"/>
                    <a:gd name="connsiteY78" fmla="*/ 29518 h 135033"/>
                    <a:gd name="connsiteX79" fmla="*/ 58703 w 107690"/>
                    <a:gd name="connsiteY79" fmla="*/ 25452 h 135033"/>
                    <a:gd name="connsiteX80" fmla="*/ 65149 w 107690"/>
                    <a:gd name="connsiteY80" fmla="*/ 20823 h 135033"/>
                    <a:gd name="connsiteX81" fmla="*/ 69525 w 107690"/>
                    <a:gd name="connsiteY81" fmla="*/ 17677 h 135033"/>
                    <a:gd name="connsiteX82" fmla="*/ 77007 w 107690"/>
                    <a:gd name="connsiteY82" fmla="*/ 12298 h 135033"/>
                    <a:gd name="connsiteX83" fmla="*/ 81938 w 107690"/>
                    <a:gd name="connsiteY83" fmla="*/ 8899 h 135033"/>
                    <a:gd name="connsiteX84" fmla="*/ 88425 w 107690"/>
                    <a:gd name="connsiteY84" fmla="*/ 4425 h 135033"/>
                    <a:gd name="connsiteX85" fmla="*/ 94822 w 107690"/>
                    <a:gd name="connsiteY85" fmla="*/ 0 h 135033"/>
                    <a:gd name="connsiteX86" fmla="*/ 96583 w 107690"/>
                    <a:gd name="connsiteY86" fmla="*/ 7221 h 135033"/>
                    <a:gd name="connsiteX87" fmla="*/ 98310 w 107690"/>
                    <a:gd name="connsiteY87" fmla="*/ 14270 h 135033"/>
                    <a:gd name="connsiteX88" fmla="*/ 100120 w 107690"/>
                    <a:gd name="connsiteY88" fmla="*/ 21556 h 135033"/>
                    <a:gd name="connsiteX89" fmla="*/ 101872 w 107690"/>
                    <a:gd name="connsiteY89" fmla="*/ 28622 h 135033"/>
                    <a:gd name="connsiteX90" fmla="*/ 99973 w 107690"/>
                    <a:gd name="connsiteY90" fmla="*/ 29282 h 135033"/>
                    <a:gd name="connsiteX91" fmla="*/ 101456 w 107690"/>
                    <a:gd name="connsiteY91" fmla="*/ 34702 h 135033"/>
                    <a:gd name="connsiteX92" fmla="*/ 103909 w 107690"/>
                    <a:gd name="connsiteY92" fmla="*/ 33878 h 135033"/>
                    <a:gd name="connsiteX93" fmla="*/ 106566 w 107690"/>
                    <a:gd name="connsiteY93" fmla="*/ 33235 h 135033"/>
                    <a:gd name="connsiteX94" fmla="*/ 107690 w 107690"/>
                    <a:gd name="connsiteY94" fmla="*/ 36723 h 135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07690" h="135033">
                      <a:moveTo>
                        <a:pt x="104039" y="40586"/>
                      </a:moveTo>
                      <a:lnTo>
                        <a:pt x="100356" y="44375"/>
                      </a:lnTo>
                      <a:lnTo>
                        <a:pt x="99500" y="44783"/>
                      </a:lnTo>
                      <a:lnTo>
                        <a:pt x="94716" y="46356"/>
                      </a:lnTo>
                      <a:lnTo>
                        <a:pt x="84936" y="49558"/>
                      </a:lnTo>
                      <a:lnTo>
                        <a:pt x="78392" y="51702"/>
                      </a:lnTo>
                      <a:lnTo>
                        <a:pt x="70023" y="54448"/>
                      </a:lnTo>
                      <a:lnTo>
                        <a:pt x="63063" y="56730"/>
                      </a:lnTo>
                      <a:lnTo>
                        <a:pt x="56168" y="58988"/>
                      </a:lnTo>
                      <a:lnTo>
                        <a:pt x="49795" y="61074"/>
                      </a:lnTo>
                      <a:lnTo>
                        <a:pt x="53438" y="65475"/>
                      </a:lnTo>
                      <a:lnTo>
                        <a:pt x="58996" y="72207"/>
                      </a:lnTo>
                      <a:lnTo>
                        <a:pt x="62712" y="76697"/>
                      </a:lnTo>
                      <a:lnTo>
                        <a:pt x="67081" y="82451"/>
                      </a:lnTo>
                      <a:lnTo>
                        <a:pt x="71001" y="87593"/>
                      </a:lnTo>
                      <a:lnTo>
                        <a:pt x="75141" y="93046"/>
                      </a:lnTo>
                      <a:lnTo>
                        <a:pt x="72223" y="94887"/>
                      </a:lnTo>
                      <a:lnTo>
                        <a:pt x="67431" y="97927"/>
                      </a:lnTo>
                      <a:lnTo>
                        <a:pt x="66950" y="98481"/>
                      </a:lnTo>
                      <a:lnTo>
                        <a:pt x="66551" y="99044"/>
                      </a:lnTo>
                      <a:lnTo>
                        <a:pt x="64562" y="104463"/>
                      </a:lnTo>
                      <a:lnTo>
                        <a:pt x="62989" y="108725"/>
                      </a:lnTo>
                      <a:lnTo>
                        <a:pt x="62468" y="109263"/>
                      </a:lnTo>
                      <a:lnTo>
                        <a:pt x="55777" y="110828"/>
                      </a:lnTo>
                      <a:lnTo>
                        <a:pt x="49021" y="112409"/>
                      </a:lnTo>
                      <a:lnTo>
                        <a:pt x="44750" y="113403"/>
                      </a:lnTo>
                      <a:lnTo>
                        <a:pt x="43487" y="114504"/>
                      </a:lnTo>
                      <a:lnTo>
                        <a:pt x="40700" y="119809"/>
                      </a:lnTo>
                      <a:lnTo>
                        <a:pt x="37831" y="125294"/>
                      </a:lnTo>
                      <a:lnTo>
                        <a:pt x="33039" y="129760"/>
                      </a:lnTo>
                      <a:lnTo>
                        <a:pt x="27717" y="134715"/>
                      </a:lnTo>
                      <a:lnTo>
                        <a:pt x="26405" y="135033"/>
                      </a:lnTo>
                      <a:lnTo>
                        <a:pt x="22559" y="134275"/>
                      </a:lnTo>
                      <a:lnTo>
                        <a:pt x="15982" y="132971"/>
                      </a:lnTo>
                      <a:lnTo>
                        <a:pt x="9641" y="131724"/>
                      </a:lnTo>
                      <a:lnTo>
                        <a:pt x="5281" y="130860"/>
                      </a:lnTo>
                      <a:lnTo>
                        <a:pt x="0" y="129817"/>
                      </a:lnTo>
                      <a:lnTo>
                        <a:pt x="782" y="125628"/>
                      </a:lnTo>
                      <a:lnTo>
                        <a:pt x="563" y="123371"/>
                      </a:lnTo>
                      <a:lnTo>
                        <a:pt x="1826" y="115938"/>
                      </a:lnTo>
                      <a:lnTo>
                        <a:pt x="2543" y="112409"/>
                      </a:lnTo>
                      <a:lnTo>
                        <a:pt x="2909" y="109818"/>
                      </a:lnTo>
                      <a:lnTo>
                        <a:pt x="4735" y="104561"/>
                      </a:lnTo>
                      <a:lnTo>
                        <a:pt x="4515" y="102841"/>
                      </a:lnTo>
                      <a:lnTo>
                        <a:pt x="4898" y="96762"/>
                      </a:lnTo>
                      <a:lnTo>
                        <a:pt x="4703" y="95588"/>
                      </a:lnTo>
                      <a:lnTo>
                        <a:pt x="5534" y="92271"/>
                      </a:lnTo>
                      <a:lnTo>
                        <a:pt x="7090" y="87455"/>
                      </a:lnTo>
                      <a:lnTo>
                        <a:pt x="8614" y="83315"/>
                      </a:lnTo>
                      <a:lnTo>
                        <a:pt x="9160" y="81448"/>
                      </a:lnTo>
                      <a:lnTo>
                        <a:pt x="10717" y="77512"/>
                      </a:lnTo>
                      <a:lnTo>
                        <a:pt x="12119" y="72671"/>
                      </a:lnTo>
                      <a:lnTo>
                        <a:pt x="11377" y="70022"/>
                      </a:lnTo>
                      <a:lnTo>
                        <a:pt x="11157" y="69509"/>
                      </a:lnTo>
                      <a:lnTo>
                        <a:pt x="11719" y="66461"/>
                      </a:lnTo>
                      <a:lnTo>
                        <a:pt x="11703" y="66445"/>
                      </a:lnTo>
                      <a:lnTo>
                        <a:pt x="12396" y="61465"/>
                      </a:lnTo>
                      <a:lnTo>
                        <a:pt x="12763" y="58784"/>
                      </a:lnTo>
                      <a:lnTo>
                        <a:pt x="13610" y="55231"/>
                      </a:lnTo>
                      <a:lnTo>
                        <a:pt x="15085" y="52215"/>
                      </a:lnTo>
                      <a:lnTo>
                        <a:pt x="14409" y="45109"/>
                      </a:lnTo>
                      <a:lnTo>
                        <a:pt x="14482" y="41278"/>
                      </a:lnTo>
                      <a:lnTo>
                        <a:pt x="15420" y="36910"/>
                      </a:lnTo>
                      <a:lnTo>
                        <a:pt x="14898" y="31800"/>
                      </a:lnTo>
                      <a:lnTo>
                        <a:pt x="15338" y="24506"/>
                      </a:lnTo>
                      <a:lnTo>
                        <a:pt x="15427" y="23822"/>
                      </a:lnTo>
                      <a:lnTo>
                        <a:pt x="15966" y="22942"/>
                      </a:lnTo>
                      <a:lnTo>
                        <a:pt x="16381" y="22485"/>
                      </a:lnTo>
                      <a:lnTo>
                        <a:pt x="19437" y="20953"/>
                      </a:lnTo>
                      <a:lnTo>
                        <a:pt x="20749" y="20766"/>
                      </a:lnTo>
                      <a:lnTo>
                        <a:pt x="23406" y="21450"/>
                      </a:lnTo>
                      <a:lnTo>
                        <a:pt x="24938" y="22982"/>
                      </a:lnTo>
                      <a:lnTo>
                        <a:pt x="27505" y="27302"/>
                      </a:lnTo>
                      <a:lnTo>
                        <a:pt x="31474" y="28557"/>
                      </a:lnTo>
                      <a:lnTo>
                        <a:pt x="33080" y="29779"/>
                      </a:lnTo>
                      <a:lnTo>
                        <a:pt x="35256" y="32069"/>
                      </a:lnTo>
                      <a:lnTo>
                        <a:pt x="37913" y="32900"/>
                      </a:lnTo>
                      <a:lnTo>
                        <a:pt x="46323" y="34335"/>
                      </a:lnTo>
                      <a:lnTo>
                        <a:pt x="53030" y="29518"/>
                      </a:lnTo>
                      <a:lnTo>
                        <a:pt x="58703" y="25452"/>
                      </a:lnTo>
                      <a:lnTo>
                        <a:pt x="65149" y="20823"/>
                      </a:lnTo>
                      <a:lnTo>
                        <a:pt x="69525" y="17677"/>
                      </a:lnTo>
                      <a:lnTo>
                        <a:pt x="77007" y="12298"/>
                      </a:lnTo>
                      <a:lnTo>
                        <a:pt x="81938" y="8899"/>
                      </a:lnTo>
                      <a:lnTo>
                        <a:pt x="88425" y="4425"/>
                      </a:lnTo>
                      <a:lnTo>
                        <a:pt x="94822" y="0"/>
                      </a:lnTo>
                      <a:lnTo>
                        <a:pt x="96583" y="7221"/>
                      </a:lnTo>
                      <a:lnTo>
                        <a:pt x="98310" y="14270"/>
                      </a:lnTo>
                      <a:lnTo>
                        <a:pt x="100120" y="21556"/>
                      </a:lnTo>
                      <a:lnTo>
                        <a:pt x="101872" y="28622"/>
                      </a:lnTo>
                      <a:lnTo>
                        <a:pt x="99973" y="29282"/>
                      </a:lnTo>
                      <a:lnTo>
                        <a:pt x="101456" y="34702"/>
                      </a:lnTo>
                      <a:lnTo>
                        <a:pt x="103909" y="33878"/>
                      </a:lnTo>
                      <a:lnTo>
                        <a:pt x="106566" y="33235"/>
                      </a:lnTo>
                      <a:lnTo>
                        <a:pt x="107690" y="36723"/>
                      </a:lnTo>
                      <a:close/>
                    </a:path>
                  </a:pathLst>
                </a:custGeom>
                <a:solidFill>
                  <a:srgbClr val="D6D6D2"/>
                </a:solidFill>
                <a:ln w="6112" cap="rnd">
                  <a:solidFill>
                    <a:srgbClr val="FFFFFF"/>
                  </a:solidFill>
                  <a:prstDash val="solid"/>
                  <a:round/>
                </a:ln>
              </p:spPr>
              <p:txBody>
                <a:bodyPr rtlCol="0" anchor="ctr"/>
                <a:lstStyle/>
                <a:p>
                  <a:endParaRPr lang="en-US"/>
                </a:p>
              </p:txBody>
            </p:sp>
            <p:sp>
              <p:nvSpPr>
                <p:cNvPr id="705" name="Freeform: Shape 704">
                  <a:extLst>
                    <a:ext uri="{FF2B5EF4-FFF2-40B4-BE49-F238E27FC236}">
                      <a16:creationId xmlns:a16="http://schemas.microsoft.com/office/drawing/2014/main" id="{F5314CDE-BC12-47CE-8D5D-1DB8485852C5}"/>
                    </a:ext>
                  </a:extLst>
                </p:cNvPr>
                <p:cNvSpPr/>
                <p:nvPr/>
              </p:nvSpPr>
              <p:spPr>
                <a:xfrm>
                  <a:off x="4000630" y="3965091"/>
                  <a:ext cx="52802" cy="24783"/>
                </a:xfrm>
                <a:custGeom>
                  <a:avLst/>
                  <a:gdLst>
                    <a:gd name="connsiteX0" fmla="*/ 26739 w 52802"/>
                    <a:gd name="connsiteY0" fmla="*/ 1988 h 24783"/>
                    <a:gd name="connsiteX1" fmla="*/ 29763 w 52802"/>
                    <a:gd name="connsiteY1" fmla="*/ 3089 h 24783"/>
                    <a:gd name="connsiteX2" fmla="*/ 32884 w 52802"/>
                    <a:gd name="connsiteY2" fmla="*/ 3659 h 24783"/>
                    <a:gd name="connsiteX3" fmla="*/ 34229 w 52802"/>
                    <a:gd name="connsiteY3" fmla="*/ 3692 h 24783"/>
                    <a:gd name="connsiteX4" fmla="*/ 35508 w 52802"/>
                    <a:gd name="connsiteY4" fmla="*/ 4042 h 24783"/>
                    <a:gd name="connsiteX5" fmla="*/ 38353 w 52802"/>
                    <a:gd name="connsiteY5" fmla="*/ 6691 h 24783"/>
                    <a:gd name="connsiteX6" fmla="*/ 40643 w 52802"/>
                    <a:gd name="connsiteY6" fmla="*/ 8142 h 24783"/>
                    <a:gd name="connsiteX7" fmla="*/ 49347 w 52802"/>
                    <a:gd name="connsiteY7" fmla="*/ 11377 h 24783"/>
                    <a:gd name="connsiteX8" fmla="*/ 52256 w 52802"/>
                    <a:gd name="connsiteY8" fmla="*/ 16943 h 24783"/>
                    <a:gd name="connsiteX9" fmla="*/ 52802 w 52802"/>
                    <a:gd name="connsiteY9" fmla="*/ 18687 h 24783"/>
                    <a:gd name="connsiteX10" fmla="*/ 50553 w 52802"/>
                    <a:gd name="connsiteY10" fmla="*/ 19722 h 24783"/>
                    <a:gd name="connsiteX11" fmla="*/ 47725 w 52802"/>
                    <a:gd name="connsiteY11" fmla="*/ 20081 h 24783"/>
                    <a:gd name="connsiteX12" fmla="*/ 45019 w 52802"/>
                    <a:gd name="connsiteY12" fmla="*/ 20138 h 24783"/>
                    <a:gd name="connsiteX13" fmla="*/ 42517 w 52802"/>
                    <a:gd name="connsiteY13" fmla="*/ 19070 h 24783"/>
                    <a:gd name="connsiteX14" fmla="*/ 41425 w 52802"/>
                    <a:gd name="connsiteY14" fmla="*/ 18255 h 24783"/>
                    <a:gd name="connsiteX15" fmla="*/ 38817 w 52802"/>
                    <a:gd name="connsiteY15" fmla="*/ 17864 h 24783"/>
                    <a:gd name="connsiteX16" fmla="*/ 39469 w 52802"/>
                    <a:gd name="connsiteY16" fmla="*/ 17114 h 24783"/>
                    <a:gd name="connsiteX17" fmla="*/ 38312 w 52802"/>
                    <a:gd name="connsiteY17" fmla="*/ 16756 h 24783"/>
                    <a:gd name="connsiteX18" fmla="*/ 36870 w 52802"/>
                    <a:gd name="connsiteY18" fmla="*/ 16845 h 24783"/>
                    <a:gd name="connsiteX19" fmla="*/ 35802 w 52802"/>
                    <a:gd name="connsiteY19" fmla="*/ 18981 h 24783"/>
                    <a:gd name="connsiteX20" fmla="*/ 34612 w 52802"/>
                    <a:gd name="connsiteY20" fmla="*/ 20676 h 24783"/>
                    <a:gd name="connsiteX21" fmla="*/ 32330 w 52802"/>
                    <a:gd name="connsiteY21" fmla="*/ 20513 h 24783"/>
                    <a:gd name="connsiteX22" fmla="*/ 31458 w 52802"/>
                    <a:gd name="connsiteY22" fmla="*/ 19062 h 24783"/>
                    <a:gd name="connsiteX23" fmla="*/ 30260 w 52802"/>
                    <a:gd name="connsiteY23" fmla="*/ 19714 h 24783"/>
                    <a:gd name="connsiteX24" fmla="*/ 29298 w 52802"/>
                    <a:gd name="connsiteY24" fmla="*/ 20782 h 24783"/>
                    <a:gd name="connsiteX25" fmla="*/ 28141 w 52802"/>
                    <a:gd name="connsiteY25" fmla="*/ 24783 h 24783"/>
                    <a:gd name="connsiteX26" fmla="*/ 26283 w 52802"/>
                    <a:gd name="connsiteY26" fmla="*/ 22803 h 24783"/>
                    <a:gd name="connsiteX27" fmla="*/ 24262 w 52802"/>
                    <a:gd name="connsiteY27" fmla="*/ 21132 h 24783"/>
                    <a:gd name="connsiteX28" fmla="*/ 21719 w 52802"/>
                    <a:gd name="connsiteY28" fmla="*/ 20447 h 24783"/>
                    <a:gd name="connsiteX29" fmla="*/ 16585 w 52802"/>
                    <a:gd name="connsiteY29" fmla="*/ 20342 h 24783"/>
                    <a:gd name="connsiteX30" fmla="*/ 14172 w 52802"/>
                    <a:gd name="connsiteY30" fmla="*/ 19796 h 24783"/>
                    <a:gd name="connsiteX31" fmla="*/ 12159 w 52802"/>
                    <a:gd name="connsiteY31" fmla="*/ 16422 h 24783"/>
                    <a:gd name="connsiteX32" fmla="*/ 11369 w 52802"/>
                    <a:gd name="connsiteY32" fmla="*/ 15452 h 24783"/>
                    <a:gd name="connsiteX33" fmla="*/ 9340 w 52802"/>
                    <a:gd name="connsiteY33" fmla="*/ 14572 h 24783"/>
                    <a:gd name="connsiteX34" fmla="*/ 7319 w 52802"/>
                    <a:gd name="connsiteY34" fmla="*/ 10701 h 24783"/>
                    <a:gd name="connsiteX35" fmla="*/ 6593 w 52802"/>
                    <a:gd name="connsiteY35" fmla="*/ 10171 h 24783"/>
                    <a:gd name="connsiteX36" fmla="*/ 1133 w 52802"/>
                    <a:gd name="connsiteY36" fmla="*/ 9348 h 24783"/>
                    <a:gd name="connsiteX37" fmla="*/ 0 w 52802"/>
                    <a:gd name="connsiteY37" fmla="*/ 7221 h 24783"/>
                    <a:gd name="connsiteX38" fmla="*/ 342 w 52802"/>
                    <a:gd name="connsiteY38" fmla="*/ 5297 h 24783"/>
                    <a:gd name="connsiteX39" fmla="*/ 2160 w 52802"/>
                    <a:gd name="connsiteY39" fmla="*/ 2942 h 24783"/>
                    <a:gd name="connsiteX40" fmla="*/ 3048 w 52802"/>
                    <a:gd name="connsiteY40" fmla="*/ 2274 h 24783"/>
                    <a:gd name="connsiteX41" fmla="*/ 6080 w 52802"/>
                    <a:gd name="connsiteY41" fmla="*/ 2371 h 24783"/>
                    <a:gd name="connsiteX42" fmla="*/ 8965 w 52802"/>
                    <a:gd name="connsiteY42" fmla="*/ 1671 h 24783"/>
                    <a:gd name="connsiteX43" fmla="*/ 10236 w 52802"/>
                    <a:gd name="connsiteY43" fmla="*/ 652 h 24783"/>
                    <a:gd name="connsiteX44" fmla="*/ 11565 w 52802"/>
                    <a:gd name="connsiteY44" fmla="*/ 0 h 24783"/>
                    <a:gd name="connsiteX45" fmla="*/ 22029 w 52802"/>
                    <a:gd name="connsiteY45" fmla="*/ 1695 h 24783"/>
                    <a:gd name="connsiteX46" fmla="*/ 24441 w 52802"/>
                    <a:gd name="connsiteY46" fmla="*/ 1711 h 24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2802" h="24783">
                      <a:moveTo>
                        <a:pt x="26739" y="1988"/>
                      </a:moveTo>
                      <a:lnTo>
                        <a:pt x="29763" y="3089"/>
                      </a:lnTo>
                      <a:lnTo>
                        <a:pt x="32884" y="3659"/>
                      </a:lnTo>
                      <a:lnTo>
                        <a:pt x="34229" y="3692"/>
                      </a:lnTo>
                      <a:lnTo>
                        <a:pt x="35508" y="4042"/>
                      </a:lnTo>
                      <a:lnTo>
                        <a:pt x="38353" y="6691"/>
                      </a:lnTo>
                      <a:lnTo>
                        <a:pt x="40643" y="8142"/>
                      </a:lnTo>
                      <a:lnTo>
                        <a:pt x="49347" y="11377"/>
                      </a:lnTo>
                      <a:lnTo>
                        <a:pt x="52256" y="16943"/>
                      </a:lnTo>
                      <a:lnTo>
                        <a:pt x="52802" y="18687"/>
                      </a:lnTo>
                      <a:lnTo>
                        <a:pt x="50553" y="19722"/>
                      </a:lnTo>
                      <a:lnTo>
                        <a:pt x="47725" y="20081"/>
                      </a:lnTo>
                      <a:lnTo>
                        <a:pt x="45019" y="20138"/>
                      </a:lnTo>
                      <a:lnTo>
                        <a:pt x="42517" y="19070"/>
                      </a:lnTo>
                      <a:lnTo>
                        <a:pt x="41425" y="18255"/>
                      </a:lnTo>
                      <a:lnTo>
                        <a:pt x="38817" y="17864"/>
                      </a:lnTo>
                      <a:lnTo>
                        <a:pt x="39469" y="17114"/>
                      </a:lnTo>
                      <a:lnTo>
                        <a:pt x="38312" y="16756"/>
                      </a:lnTo>
                      <a:lnTo>
                        <a:pt x="36870" y="16845"/>
                      </a:lnTo>
                      <a:lnTo>
                        <a:pt x="35802" y="18981"/>
                      </a:lnTo>
                      <a:lnTo>
                        <a:pt x="34612" y="20676"/>
                      </a:lnTo>
                      <a:lnTo>
                        <a:pt x="32330" y="20513"/>
                      </a:lnTo>
                      <a:lnTo>
                        <a:pt x="31458" y="19062"/>
                      </a:lnTo>
                      <a:lnTo>
                        <a:pt x="30260" y="19714"/>
                      </a:lnTo>
                      <a:lnTo>
                        <a:pt x="29298" y="20782"/>
                      </a:lnTo>
                      <a:lnTo>
                        <a:pt x="28141" y="24783"/>
                      </a:lnTo>
                      <a:lnTo>
                        <a:pt x="26283" y="22803"/>
                      </a:lnTo>
                      <a:lnTo>
                        <a:pt x="24262" y="21132"/>
                      </a:lnTo>
                      <a:lnTo>
                        <a:pt x="21719" y="20447"/>
                      </a:lnTo>
                      <a:lnTo>
                        <a:pt x="16585" y="20342"/>
                      </a:lnTo>
                      <a:lnTo>
                        <a:pt x="14172" y="19796"/>
                      </a:lnTo>
                      <a:lnTo>
                        <a:pt x="12159" y="16422"/>
                      </a:lnTo>
                      <a:lnTo>
                        <a:pt x="11369" y="15452"/>
                      </a:lnTo>
                      <a:lnTo>
                        <a:pt x="9340" y="14572"/>
                      </a:lnTo>
                      <a:lnTo>
                        <a:pt x="7319" y="10701"/>
                      </a:lnTo>
                      <a:lnTo>
                        <a:pt x="6593" y="10171"/>
                      </a:lnTo>
                      <a:lnTo>
                        <a:pt x="1133" y="9348"/>
                      </a:lnTo>
                      <a:lnTo>
                        <a:pt x="0" y="7221"/>
                      </a:lnTo>
                      <a:lnTo>
                        <a:pt x="342" y="5297"/>
                      </a:lnTo>
                      <a:lnTo>
                        <a:pt x="2160" y="2942"/>
                      </a:lnTo>
                      <a:lnTo>
                        <a:pt x="3048" y="2274"/>
                      </a:lnTo>
                      <a:lnTo>
                        <a:pt x="6080" y="2371"/>
                      </a:lnTo>
                      <a:lnTo>
                        <a:pt x="8965" y="1671"/>
                      </a:lnTo>
                      <a:lnTo>
                        <a:pt x="10236" y="652"/>
                      </a:lnTo>
                      <a:lnTo>
                        <a:pt x="11565" y="0"/>
                      </a:lnTo>
                      <a:lnTo>
                        <a:pt x="22029" y="1695"/>
                      </a:lnTo>
                      <a:lnTo>
                        <a:pt x="24441" y="1711"/>
                      </a:lnTo>
                      <a:close/>
                    </a:path>
                  </a:pathLst>
                </a:custGeom>
                <a:solidFill>
                  <a:srgbClr val="D6D6D2"/>
                </a:solidFill>
                <a:ln w="8150" cap="flat">
                  <a:noFill/>
                  <a:prstDash val="solid"/>
                  <a:miter/>
                </a:ln>
              </p:spPr>
              <p:txBody>
                <a:bodyPr rtlCol="0" anchor="ctr"/>
                <a:lstStyle/>
                <a:p>
                  <a:endParaRPr lang="en-US"/>
                </a:p>
              </p:txBody>
            </p:sp>
            <p:grpSp>
              <p:nvGrpSpPr>
                <p:cNvPr id="706" name="Graphic 7">
                  <a:extLst>
                    <a:ext uri="{FF2B5EF4-FFF2-40B4-BE49-F238E27FC236}">
                      <a16:creationId xmlns:a16="http://schemas.microsoft.com/office/drawing/2014/main" id="{AF369AE6-C7ED-4F89-98E5-7A53F90EA74D}"/>
                    </a:ext>
                  </a:extLst>
                </p:cNvPr>
                <p:cNvGrpSpPr/>
                <p:nvPr/>
              </p:nvGrpSpPr>
              <p:grpSpPr>
                <a:xfrm>
                  <a:off x="6108012" y="3029844"/>
                  <a:ext cx="294107" cy="357129"/>
                  <a:chOff x="6108012" y="3029844"/>
                  <a:chExt cx="294107" cy="357129"/>
                </a:xfrm>
                <a:solidFill>
                  <a:srgbClr val="D6D6D2"/>
                </a:solidFill>
              </p:grpSpPr>
              <p:sp>
                <p:nvSpPr>
                  <p:cNvPr id="795" name="Freeform: Shape 794">
                    <a:extLst>
                      <a:ext uri="{FF2B5EF4-FFF2-40B4-BE49-F238E27FC236}">
                        <a16:creationId xmlns:a16="http://schemas.microsoft.com/office/drawing/2014/main" id="{2189E234-73D7-4B72-B6F9-9A9092DE589C}"/>
                      </a:ext>
                    </a:extLst>
                  </p:cNvPr>
                  <p:cNvSpPr/>
                  <p:nvPr/>
                </p:nvSpPr>
                <p:spPr>
                  <a:xfrm>
                    <a:off x="6252051" y="3333283"/>
                    <a:ext cx="79361" cy="53690"/>
                  </a:xfrm>
                  <a:custGeom>
                    <a:avLst/>
                    <a:gdLst>
                      <a:gd name="connsiteX0" fmla="*/ 77903 w 79361"/>
                      <a:gd name="connsiteY0" fmla="*/ 2534 h 53690"/>
                      <a:gd name="connsiteX1" fmla="*/ 76233 w 79361"/>
                      <a:gd name="connsiteY1" fmla="*/ 6340 h 53690"/>
                      <a:gd name="connsiteX2" fmla="*/ 75409 w 79361"/>
                      <a:gd name="connsiteY2" fmla="*/ 7807 h 53690"/>
                      <a:gd name="connsiteX3" fmla="*/ 69427 w 79361"/>
                      <a:gd name="connsiteY3" fmla="*/ 17123 h 53690"/>
                      <a:gd name="connsiteX4" fmla="*/ 68743 w 79361"/>
                      <a:gd name="connsiteY4" fmla="*/ 19266 h 53690"/>
                      <a:gd name="connsiteX5" fmla="*/ 68311 w 79361"/>
                      <a:gd name="connsiteY5" fmla="*/ 21605 h 53690"/>
                      <a:gd name="connsiteX6" fmla="*/ 67700 w 79361"/>
                      <a:gd name="connsiteY6" fmla="*/ 23642 h 53690"/>
                      <a:gd name="connsiteX7" fmla="*/ 66860 w 79361"/>
                      <a:gd name="connsiteY7" fmla="*/ 25574 h 53690"/>
                      <a:gd name="connsiteX8" fmla="*/ 66086 w 79361"/>
                      <a:gd name="connsiteY8" fmla="*/ 28019 h 53690"/>
                      <a:gd name="connsiteX9" fmla="*/ 66225 w 79361"/>
                      <a:gd name="connsiteY9" fmla="*/ 30798 h 53690"/>
                      <a:gd name="connsiteX10" fmla="*/ 66518 w 79361"/>
                      <a:gd name="connsiteY10" fmla="*/ 32151 h 53690"/>
                      <a:gd name="connsiteX11" fmla="*/ 67235 w 79361"/>
                      <a:gd name="connsiteY11" fmla="*/ 33047 h 53690"/>
                      <a:gd name="connsiteX12" fmla="*/ 68417 w 79361"/>
                      <a:gd name="connsiteY12" fmla="*/ 33878 h 53690"/>
                      <a:gd name="connsiteX13" fmla="*/ 69321 w 79361"/>
                      <a:gd name="connsiteY13" fmla="*/ 35166 h 53690"/>
                      <a:gd name="connsiteX14" fmla="*/ 67928 w 79361"/>
                      <a:gd name="connsiteY14" fmla="*/ 36340 h 53690"/>
                      <a:gd name="connsiteX15" fmla="*/ 69468 w 79361"/>
                      <a:gd name="connsiteY15" fmla="*/ 38687 h 53690"/>
                      <a:gd name="connsiteX16" fmla="*/ 70780 w 79361"/>
                      <a:gd name="connsiteY16" fmla="*/ 40080 h 53690"/>
                      <a:gd name="connsiteX17" fmla="*/ 70952 w 79361"/>
                      <a:gd name="connsiteY17" fmla="*/ 41466 h 53690"/>
                      <a:gd name="connsiteX18" fmla="*/ 70919 w 79361"/>
                      <a:gd name="connsiteY18" fmla="*/ 42868 h 53690"/>
                      <a:gd name="connsiteX19" fmla="*/ 68205 w 79361"/>
                      <a:gd name="connsiteY19" fmla="*/ 45476 h 53690"/>
                      <a:gd name="connsiteX20" fmla="*/ 67146 w 79361"/>
                      <a:gd name="connsiteY20" fmla="*/ 46918 h 53690"/>
                      <a:gd name="connsiteX21" fmla="*/ 66494 w 79361"/>
                      <a:gd name="connsiteY21" fmla="*/ 48654 h 53690"/>
                      <a:gd name="connsiteX22" fmla="*/ 66200 w 79361"/>
                      <a:gd name="connsiteY22" fmla="*/ 50455 h 53690"/>
                      <a:gd name="connsiteX23" fmla="*/ 66494 w 79361"/>
                      <a:gd name="connsiteY23" fmla="*/ 52069 h 53690"/>
                      <a:gd name="connsiteX24" fmla="*/ 66404 w 79361"/>
                      <a:gd name="connsiteY24" fmla="*/ 53690 h 53690"/>
                      <a:gd name="connsiteX25" fmla="*/ 63674 w 79361"/>
                      <a:gd name="connsiteY25" fmla="*/ 53495 h 53690"/>
                      <a:gd name="connsiteX26" fmla="*/ 60870 w 79361"/>
                      <a:gd name="connsiteY26" fmla="*/ 52501 h 53690"/>
                      <a:gd name="connsiteX27" fmla="*/ 58050 w 79361"/>
                      <a:gd name="connsiteY27" fmla="*/ 52941 h 53690"/>
                      <a:gd name="connsiteX28" fmla="*/ 54041 w 79361"/>
                      <a:gd name="connsiteY28" fmla="*/ 51074 h 53690"/>
                      <a:gd name="connsiteX29" fmla="*/ 52590 w 79361"/>
                      <a:gd name="connsiteY29" fmla="*/ 50732 h 53690"/>
                      <a:gd name="connsiteX30" fmla="*/ 51262 w 79361"/>
                      <a:gd name="connsiteY30" fmla="*/ 50007 h 53690"/>
                      <a:gd name="connsiteX31" fmla="*/ 47920 w 79361"/>
                      <a:gd name="connsiteY31" fmla="*/ 44212 h 53690"/>
                      <a:gd name="connsiteX32" fmla="*/ 45239 w 79361"/>
                      <a:gd name="connsiteY32" fmla="*/ 41759 h 53690"/>
                      <a:gd name="connsiteX33" fmla="*/ 42354 w 79361"/>
                      <a:gd name="connsiteY33" fmla="*/ 39852 h 53690"/>
                      <a:gd name="connsiteX34" fmla="*/ 39404 w 79361"/>
                      <a:gd name="connsiteY34" fmla="*/ 39738 h 53690"/>
                      <a:gd name="connsiteX35" fmla="*/ 36462 w 79361"/>
                      <a:gd name="connsiteY35" fmla="*/ 39958 h 53690"/>
                      <a:gd name="connsiteX36" fmla="*/ 33870 w 79361"/>
                      <a:gd name="connsiteY36" fmla="*/ 38776 h 53690"/>
                      <a:gd name="connsiteX37" fmla="*/ 28565 w 79361"/>
                      <a:gd name="connsiteY37" fmla="*/ 34840 h 53690"/>
                      <a:gd name="connsiteX38" fmla="*/ 22966 w 79361"/>
                      <a:gd name="connsiteY38" fmla="*/ 31686 h 53690"/>
                      <a:gd name="connsiteX39" fmla="*/ 20586 w 79361"/>
                      <a:gd name="connsiteY39" fmla="*/ 29624 h 53690"/>
                      <a:gd name="connsiteX40" fmla="*/ 19494 w 79361"/>
                      <a:gd name="connsiteY40" fmla="*/ 28247 h 53690"/>
                      <a:gd name="connsiteX41" fmla="*/ 18222 w 79361"/>
                      <a:gd name="connsiteY41" fmla="*/ 27326 h 53690"/>
                      <a:gd name="connsiteX42" fmla="*/ 15012 w 79361"/>
                      <a:gd name="connsiteY42" fmla="*/ 26421 h 53690"/>
                      <a:gd name="connsiteX43" fmla="*/ 12127 w 79361"/>
                      <a:gd name="connsiteY43" fmla="*/ 24286 h 53690"/>
                      <a:gd name="connsiteX44" fmla="*/ 10823 w 79361"/>
                      <a:gd name="connsiteY44" fmla="*/ 24131 h 53690"/>
                      <a:gd name="connsiteX45" fmla="*/ 7987 w 79361"/>
                      <a:gd name="connsiteY45" fmla="*/ 24384 h 53690"/>
                      <a:gd name="connsiteX46" fmla="*/ 6544 w 79361"/>
                      <a:gd name="connsiteY46" fmla="*/ 24237 h 53690"/>
                      <a:gd name="connsiteX47" fmla="*/ 5085 w 79361"/>
                      <a:gd name="connsiteY47" fmla="*/ 23487 h 53690"/>
                      <a:gd name="connsiteX48" fmla="*/ 2274 w 79361"/>
                      <a:gd name="connsiteY48" fmla="*/ 20977 h 53690"/>
                      <a:gd name="connsiteX49" fmla="*/ 481 w 79361"/>
                      <a:gd name="connsiteY49" fmla="*/ 17489 h 53690"/>
                      <a:gd name="connsiteX50" fmla="*/ 0 w 79361"/>
                      <a:gd name="connsiteY50" fmla="*/ 15949 h 53690"/>
                      <a:gd name="connsiteX51" fmla="*/ 1279 w 79361"/>
                      <a:gd name="connsiteY51" fmla="*/ 11972 h 53690"/>
                      <a:gd name="connsiteX52" fmla="*/ 2787 w 79361"/>
                      <a:gd name="connsiteY52" fmla="*/ 8142 h 53690"/>
                      <a:gd name="connsiteX53" fmla="*/ 4124 w 79361"/>
                      <a:gd name="connsiteY53" fmla="*/ 7066 h 53690"/>
                      <a:gd name="connsiteX54" fmla="*/ 5688 w 79361"/>
                      <a:gd name="connsiteY54" fmla="*/ 6300 h 53690"/>
                      <a:gd name="connsiteX55" fmla="*/ 6618 w 79361"/>
                      <a:gd name="connsiteY55" fmla="*/ 5167 h 53690"/>
                      <a:gd name="connsiteX56" fmla="*/ 7432 w 79361"/>
                      <a:gd name="connsiteY56" fmla="*/ 3781 h 53690"/>
                      <a:gd name="connsiteX57" fmla="*/ 10301 w 79361"/>
                      <a:gd name="connsiteY57" fmla="*/ 7783 h 53690"/>
                      <a:gd name="connsiteX58" fmla="*/ 11589 w 79361"/>
                      <a:gd name="connsiteY58" fmla="*/ 8753 h 53690"/>
                      <a:gd name="connsiteX59" fmla="*/ 12901 w 79361"/>
                      <a:gd name="connsiteY59" fmla="*/ 8533 h 53690"/>
                      <a:gd name="connsiteX60" fmla="*/ 15224 w 79361"/>
                      <a:gd name="connsiteY60" fmla="*/ 7098 h 53690"/>
                      <a:gd name="connsiteX61" fmla="*/ 15419 w 79361"/>
                      <a:gd name="connsiteY61" fmla="*/ 5534 h 53690"/>
                      <a:gd name="connsiteX62" fmla="*/ 17978 w 79361"/>
                      <a:gd name="connsiteY62" fmla="*/ 3537 h 53690"/>
                      <a:gd name="connsiteX63" fmla="*/ 21230 w 79361"/>
                      <a:gd name="connsiteY63" fmla="*/ 3504 h 53690"/>
                      <a:gd name="connsiteX64" fmla="*/ 22738 w 79361"/>
                      <a:gd name="connsiteY64" fmla="*/ 3871 h 53690"/>
                      <a:gd name="connsiteX65" fmla="*/ 23520 w 79361"/>
                      <a:gd name="connsiteY65" fmla="*/ 5672 h 53690"/>
                      <a:gd name="connsiteX66" fmla="*/ 24767 w 79361"/>
                      <a:gd name="connsiteY66" fmla="*/ 6226 h 53690"/>
                      <a:gd name="connsiteX67" fmla="*/ 26185 w 79361"/>
                      <a:gd name="connsiteY67" fmla="*/ 6463 h 53690"/>
                      <a:gd name="connsiteX68" fmla="*/ 30912 w 79361"/>
                      <a:gd name="connsiteY68" fmla="*/ 9894 h 53690"/>
                      <a:gd name="connsiteX69" fmla="*/ 32240 w 79361"/>
                      <a:gd name="connsiteY69" fmla="*/ 10448 h 53690"/>
                      <a:gd name="connsiteX70" fmla="*/ 33577 w 79361"/>
                      <a:gd name="connsiteY70" fmla="*/ 10546 h 53690"/>
                      <a:gd name="connsiteX71" fmla="*/ 37236 w 79361"/>
                      <a:gd name="connsiteY71" fmla="*/ 9103 h 53690"/>
                      <a:gd name="connsiteX72" fmla="*/ 40048 w 79361"/>
                      <a:gd name="connsiteY72" fmla="*/ 8557 h 53690"/>
                      <a:gd name="connsiteX73" fmla="*/ 45948 w 79361"/>
                      <a:gd name="connsiteY73" fmla="*/ 9356 h 53690"/>
                      <a:gd name="connsiteX74" fmla="*/ 49135 w 79361"/>
                      <a:gd name="connsiteY74" fmla="*/ 8492 h 53690"/>
                      <a:gd name="connsiteX75" fmla="*/ 51360 w 79361"/>
                      <a:gd name="connsiteY75" fmla="*/ 8394 h 53690"/>
                      <a:gd name="connsiteX76" fmla="*/ 54603 w 79361"/>
                      <a:gd name="connsiteY76" fmla="*/ 7066 h 53690"/>
                      <a:gd name="connsiteX77" fmla="*/ 57089 w 79361"/>
                      <a:gd name="connsiteY77" fmla="*/ 4865 h 53690"/>
                      <a:gd name="connsiteX78" fmla="*/ 58385 w 79361"/>
                      <a:gd name="connsiteY78" fmla="*/ 4319 h 53690"/>
                      <a:gd name="connsiteX79" fmla="*/ 59786 w 79361"/>
                      <a:gd name="connsiteY79" fmla="*/ 4165 h 53690"/>
                      <a:gd name="connsiteX80" fmla="*/ 63168 w 79361"/>
                      <a:gd name="connsiteY80" fmla="*/ 4303 h 53690"/>
                      <a:gd name="connsiteX81" fmla="*/ 66559 w 79361"/>
                      <a:gd name="connsiteY81" fmla="*/ 4808 h 53690"/>
                      <a:gd name="connsiteX82" fmla="*/ 67977 w 79361"/>
                      <a:gd name="connsiteY82" fmla="*/ 4287 h 53690"/>
                      <a:gd name="connsiteX83" fmla="*/ 69167 w 79361"/>
                      <a:gd name="connsiteY83" fmla="*/ 2844 h 53690"/>
                      <a:gd name="connsiteX84" fmla="*/ 70552 w 79361"/>
                      <a:gd name="connsiteY84" fmla="*/ 2192 h 53690"/>
                      <a:gd name="connsiteX85" fmla="*/ 72068 w 79361"/>
                      <a:gd name="connsiteY85" fmla="*/ 2632 h 53690"/>
                      <a:gd name="connsiteX86" fmla="*/ 75980 w 79361"/>
                      <a:gd name="connsiteY86" fmla="*/ 171 h 53690"/>
                      <a:gd name="connsiteX87" fmla="*/ 77716 w 79361"/>
                      <a:gd name="connsiteY87" fmla="*/ 0 h 53690"/>
                      <a:gd name="connsiteX88" fmla="*/ 79362 w 79361"/>
                      <a:gd name="connsiteY88" fmla="*/ 945 h 53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79361" h="53690">
                        <a:moveTo>
                          <a:pt x="77903" y="2534"/>
                        </a:moveTo>
                        <a:lnTo>
                          <a:pt x="76233" y="6340"/>
                        </a:lnTo>
                        <a:lnTo>
                          <a:pt x="75409" y="7807"/>
                        </a:lnTo>
                        <a:lnTo>
                          <a:pt x="69427" y="17123"/>
                        </a:lnTo>
                        <a:lnTo>
                          <a:pt x="68743" y="19266"/>
                        </a:lnTo>
                        <a:lnTo>
                          <a:pt x="68311" y="21605"/>
                        </a:lnTo>
                        <a:lnTo>
                          <a:pt x="67700" y="23642"/>
                        </a:lnTo>
                        <a:lnTo>
                          <a:pt x="66860" y="25574"/>
                        </a:lnTo>
                        <a:lnTo>
                          <a:pt x="66086" y="28019"/>
                        </a:lnTo>
                        <a:lnTo>
                          <a:pt x="66225" y="30798"/>
                        </a:lnTo>
                        <a:lnTo>
                          <a:pt x="66518" y="32151"/>
                        </a:lnTo>
                        <a:lnTo>
                          <a:pt x="67235" y="33047"/>
                        </a:lnTo>
                        <a:lnTo>
                          <a:pt x="68417" y="33878"/>
                        </a:lnTo>
                        <a:lnTo>
                          <a:pt x="69321" y="35166"/>
                        </a:lnTo>
                        <a:lnTo>
                          <a:pt x="67928" y="36340"/>
                        </a:lnTo>
                        <a:lnTo>
                          <a:pt x="69468" y="38687"/>
                        </a:lnTo>
                        <a:lnTo>
                          <a:pt x="70780" y="40080"/>
                        </a:lnTo>
                        <a:lnTo>
                          <a:pt x="70952" y="41466"/>
                        </a:lnTo>
                        <a:lnTo>
                          <a:pt x="70919" y="42868"/>
                        </a:lnTo>
                        <a:lnTo>
                          <a:pt x="68205" y="45476"/>
                        </a:lnTo>
                        <a:lnTo>
                          <a:pt x="67146" y="46918"/>
                        </a:lnTo>
                        <a:lnTo>
                          <a:pt x="66494" y="48654"/>
                        </a:lnTo>
                        <a:lnTo>
                          <a:pt x="66200" y="50455"/>
                        </a:lnTo>
                        <a:lnTo>
                          <a:pt x="66494" y="52069"/>
                        </a:lnTo>
                        <a:lnTo>
                          <a:pt x="66404" y="53690"/>
                        </a:lnTo>
                        <a:lnTo>
                          <a:pt x="63674" y="53495"/>
                        </a:lnTo>
                        <a:lnTo>
                          <a:pt x="60870" y="52501"/>
                        </a:lnTo>
                        <a:lnTo>
                          <a:pt x="58050" y="52941"/>
                        </a:lnTo>
                        <a:lnTo>
                          <a:pt x="54041" y="51074"/>
                        </a:lnTo>
                        <a:lnTo>
                          <a:pt x="52590" y="50732"/>
                        </a:lnTo>
                        <a:lnTo>
                          <a:pt x="51262" y="50007"/>
                        </a:lnTo>
                        <a:lnTo>
                          <a:pt x="47920" y="44212"/>
                        </a:lnTo>
                        <a:lnTo>
                          <a:pt x="45239" y="41759"/>
                        </a:lnTo>
                        <a:lnTo>
                          <a:pt x="42354" y="39852"/>
                        </a:lnTo>
                        <a:lnTo>
                          <a:pt x="39404" y="39738"/>
                        </a:lnTo>
                        <a:lnTo>
                          <a:pt x="36462" y="39958"/>
                        </a:lnTo>
                        <a:lnTo>
                          <a:pt x="33870" y="38776"/>
                        </a:lnTo>
                        <a:lnTo>
                          <a:pt x="28565" y="34840"/>
                        </a:lnTo>
                        <a:lnTo>
                          <a:pt x="22966" y="31686"/>
                        </a:lnTo>
                        <a:lnTo>
                          <a:pt x="20586" y="29624"/>
                        </a:lnTo>
                        <a:lnTo>
                          <a:pt x="19494" y="28247"/>
                        </a:lnTo>
                        <a:lnTo>
                          <a:pt x="18222" y="27326"/>
                        </a:lnTo>
                        <a:lnTo>
                          <a:pt x="15012" y="26421"/>
                        </a:lnTo>
                        <a:lnTo>
                          <a:pt x="12127" y="24286"/>
                        </a:lnTo>
                        <a:lnTo>
                          <a:pt x="10823" y="24131"/>
                        </a:lnTo>
                        <a:lnTo>
                          <a:pt x="7987" y="24384"/>
                        </a:lnTo>
                        <a:lnTo>
                          <a:pt x="6544" y="24237"/>
                        </a:lnTo>
                        <a:lnTo>
                          <a:pt x="5085" y="23487"/>
                        </a:lnTo>
                        <a:lnTo>
                          <a:pt x="2274" y="20977"/>
                        </a:lnTo>
                        <a:lnTo>
                          <a:pt x="481" y="17489"/>
                        </a:lnTo>
                        <a:lnTo>
                          <a:pt x="0" y="15949"/>
                        </a:lnTo>
                        <a:lnTo>
                          <a:pt x="1279" y="11972"/>
                        </a:lnTo>
                        <a:lnTo>
                          <a:pt x="2787" y="8142"/>
                        </a:lnTo>
                        <a:lnTo>
                          <a:pt x="4124" y="7066"/>
                        </a:lnTo>
                        <a:lnTo>
                          <a:pt x="5688" y="6300"/>
                        </a:lnTo>
                        <a:lnTo>
                          <a:pt x="6618" y="5167"/>
                        </a:lnTo>
                        <a:lnTo>
                          <a:pt x="7432" y="3781"/>
                        </a:lnTo>
                        <a:lnTo>
                          <a:pt x="10301" y="7783"/>
                        </a:lnTo>
                        <a:lnTo>
                          <a:pt x="11589" y="8753"/>
                        </a:lnTo>
                        <a:lnTo>
                          <a:pt x="12901" y="8533"/>
                        </a:lnTo>
                        <a:lnTo>
                          <a:pt x="15224" y="7098"/>
                        </a:lnTo>
                        <a:lnTo>
                          <a:pt x="15419" y="5534"/>
                        </a:lnTo>
                        <a:lnTo>
                          <a:pt x="17978" y="3537"/>
                        </a:lnTo>
                        <a:lnTo>
                          <a:pt x="21230" y="3504"/>
                        </a:lnTo>
                        <a:lnTo>
                          <a:pt x="22738" y="3871"/>
                        </a:lnTo>
                        <a:lnTo>
                          <a:pt x="23520" y="5672"/>
                        </a:lnTo>
                        <a:lnTo>
                          <a:pt x="24767" y="6226"/>
                        </a:lnTo>
                        <a:lnTo>
                          <a:pt x="26185" y="6463"/>
                        </a:lnTo>
                        <a:lnTo>
                          <a:pt x="30912" y="9894"/>
                        </a:lnTo>
                        <a:lnTo>
                          <a:pt x="32240" y="10448"/>
                        </a:lnTo>
                        <a:lnTo>
                          <a:pt x="33577" y="10546"/>
                        </a:lnTo>
                        <a:lnTo>
                          <a:pt x="37236" y="9103"/>
                        </a:lnTo>
                        <a:lnTo>
                          <a:pt x="40048" y="8557"/>
                        </a:lnTo>
                        <a:lnTo>
                          <a:pt x="45948" y="9356"/>
                        </a:lnTo>
                        <a:lnTo>
                          <a:pt x="49135" y="8492"/>
                        </a:lnTo>
                        <a:lnTo>
                          <a:pt x="51360" y="8394"/>
                        </a:lnTo>
                        <a:lnTo>
                          <a:pt x="54603" y="7066"/>
                        </a:lnTo>
                        <a:lnTo>
                          <a:pt x="57089" y="4865"/>
                        </a:lnTo>
                        <a:lnTo>
                          <a:pt x="58385" y="4319"/>
                        </a:lnTo>
                        <a:lnTo>
                          <a:pt x="59786" y="4165"/>
                        </a:lnTo>
                        <a:lnTo>
                          <a:pt x="63168" y="4303"/>
                        </a:lnTo>
                        <a:lnTo>
                          <a:pt x="66559" y="4808"/>
                        </a:lnTo>
                        <a:lnTo>
                          <a:pt x="67977" y="4287"/>
                        </a:lnTo>
                        <a:lnTo>
                          <a:pt x="69167" y="2844"/>
                        </a:lnTo>
                        <a:lnTo>
                          <a:pt x="70552" y="2192"/>
                        </a:lnTo>
                        <a:lnTo>
                          <a:pt x="72068" y="2632"/>
                        </a:lnTo>
                        <a:lnTo>
                          <a:pt x="75980" y="171"/>
                        </a:lnTo>
                        <a:lnTo>
                          <a:pt x="77716" y="0"/>
                        </a:lnTo>
                        <a:lnTo>
                          <a:pt x="79362" y="945"/>
                        </a:lnTo>
                        <a:close/>
                      </a:path>
                    </a:pathLst>
                  </a:custGeom>
                  <a:solidFill>
                    <a:srgbClr val="D6D6D2"/>
                  </a:solidFill>
                  <a:ln w="8150" cap="flat">
                    <a:noFill/>
                    <a:prstDash val="solid"/>
                    <a:miter/>
                  </a:ln>
                </p:spPr>
                <p:txBody>
                  <a:bodyPr rtlCol="0" anchor="ctr"/>
                  <a:lstStyle/>
                  <a:p>
                    <a:endParaRPr lang="en-US"/>
                  </a:p>
                </p:txBody>
              </p:sp>
              <p:sp>
                <p:nvSpPr>
                  <p:cNvPr id="796" name="Freeform: Shape 795">
                    <a:extLst>
                      <a:ext uri="{FF2B5EF4-FFF2-40B4-BE49-F238E27FC236}">
                        <a16:creationId xmlns:a16="http://schemas.microsoft.com/office/drawing/2014/main" id="{2F66D0D5-E542-495C-890C-9F8538128EC5}"/>
                      </a:ext>
                    </a:extLst>
                  </p:cNvPr>
                  <p:cNvSpPr/>
                  <p:nvPr/>
                </p:nvSpPr>
                <p:spPr>
                  <a:xfrm>
                    <a:off x="6146536" y="3233017"/>
                    <a:ext cx="40292" cy="79631"/>
                  </a:xfrm>
                  <a:custGeom>
                    <a:avLst/>
                    <a:gdLst>
                      <a:gd name="connsiteX0" fmla="*/ 35989 w 40292"/>
                      <a:gd name="connsiteY0" fmla="*/ 12803 h 79631"/>
                      <a:gd name="connsiteX1" fmla="*/ 37228 w 40292"/>
                      <a:gd name="connsiteY1" fmla="*/ 14979 h 79631"/>
                      <a:gd name="connsiteX2" fmla="*/ 40015 w 40292"/>
                      <a:gd name="connsiteY2" fmla="*/ 23903 h 79631"/>
                      <a:gd name="connsiteX3" fmla="*/ 40293 w 40292"/>
                      <a:gd name="connsiteY3" fmla="*/ 25827 h 79631"/>
                      <a:gd name="connsiteX4" fmla="*/ 39730 w 40292"/>
                      <a:gd name="connsiteY4" fmla="*/ 27807 h 79631"/>
                      <a:gd name="connsiteX5" fmla="*/ 39021 w 40292"/>
                      <a:gd name="connsiteY5" fmla="*/ 29201 h 79631"/>
                      <a:gd name="connsiteX6" fmla="*/ 36258 w 40292"/>
                      <a:gd name="connsiteY6" fmla="*/ 33683 h 79631"/>
                      <a:gd name="connsiteX7" fmla="*/ 36674 w 40292"/>
                      <a:gd name="connsiteY7" fmla="*/ 37391 h 79631"/>
                      <a:gd name="connsiteX8" fmla="*/ 37693 w 40292"/>
                      <a:gd name="connsiteY8" fmla="*/ 39681 h 79631"/>
                      <a:gd name="connsiteX9" fmla="*/ 37839 w 40292"/>
                      <a:gd name="connsiteY9" fmla="*/ 42216 h 79631"/>
                      <a:gd name="connsiteX10" fmla="*/ 37326 w 40292"/>
                      <a:gd name="connsiteY10" fmla="*/ 45361 h 79631"/>
                      <a:gd name="connsiteX11" fmla="*/ 35614 w 40292"/>
                      <a:gd name="connsiteY11" fmla="*/ 64636 h 79631"/>
                      <a:gd name="connsiteX12" fmla="*/ 34791 w 40292"/>
                      <a:gd name="connsiteY12" fmla="*/ 68042 h 79631"/>
                      <a:gd name="connsiteX13" fmla="*/ 34262 w 40292"/>
                      <a:gd name="connsiteY13" fmla="*/ 71001 h 79631"/>
                      <a:gd name="connsiteX14" fmla="*/ 32379 w 40292"/>
                      <a:gd name="connsiteY14" fmla="*/ 71889 h 79631"/>
                      <a:gd name="connsiteX15" fmla="*/ 29942 w 40292"/>
                      <a:gd name="connsiteY15" fmla="*/ 70952 h 79631"/>
                      <a:gd name="connsiteX16" fmla="*/ 26862 w 40292"/>
                      <a:gd name="connsiteY16" fmla="*/ 69281 h 79631"/>
                      <a:gd name="connsiteX17" fmla="*/ 25452 w 40292"/>
                      <a:gd name="connsiteY17" fmla="*/ 69379 h 79631"/>
                      <a:gd name="connsiteX18" fmla="*/ 24009 w 40292"/>
                      <a:gd name="connsiteY18" fmla="*/ 69949 h 79631"/>
                      <a:gd name="connsiteX19" fmla="*/ 22836 w 40292"/>
                      <a:gd name="connsiteY19" fmla="*/ 69468 h 79631"/>
                      <a:gd name="connsiteX20" fmla="*/ 21703 w 40292"/>
                      <a:gd name="connsiteY20" fmla="*/ 68531 h 79631"/>
                      <a:gd name="connsiteX21" fmla="*/ 20872 w 40292"/>
                      <a:gd name="connsiteY21" fmla="*/ 75132 h 79631"/>
                      <a:gd name="connsiteX22" fmla="*/ 19494 w 40292"/>
                      <a:gd name="connsiteY22" fmla="*/ 77814 h 79631"/>
                      <a:gd name="connsiteX23" fmla="*/ 17367 w 40292"/>
                      <a:gd name="connsiteY23" fmla="*/ 79525 h 79631"/>
                      <a:gd name="connsiteX24" fmla="*/ 15379 w 40292"/>
                      <a:gd name="connsiteY24" fmla="*/ 79631 h 79631"/>
                      <a:gd name="connsiteX25" fmla="*/ 13341 w 40292"/>
                      <a:gd name="connsiteY25" fmla="*/ 79061 h 79631"/>
                      <a:gd name="connsiteX26" fmla="*/ 11597 w 40292"/>
                      <a:gd name="connsiteY26" fmla="*/ 79069 h 79631"/>
                      <a:gd name="connsiteX27" fmla="*/ 10277 w 40292"/>
                      <a:gd name="connsiteY27" fmla="*/ 77797 h 79631"/>
                      <a:gd name="connsiteX28" fmla="*/ 9242 w 40292"/>
                      <a:gd name="connsiteY28" fmla="*/ 75573 h 79631"/>
                      <a:gd name="connsiteX29" fmla="*/ 7579 w 40292"/>
                      <a:gd name="connsiteY29" fmla="*/ 72875 h 79631"/>
                      <a:gd name="connsiteX30" fmla="*/ 5884 w 40292"/>
                      <a:gd name="connsiteY30" fmla="*/ 69656 h 79631"/>
                      <a:gd name="connsiteX31" fmla="*/ 5697 w 40292"/>
                      <a:gd name="connsiteY31" fmla="*/ 66755 h 79631"/>
                      <a:gd name="connsiteX32" fmla="*/ 5411 w 40292"/>
                      <a:gd name="connsiteY32" fmla="*/ 60341 h 79631"/>
                      <a:gd name="connsiteX33" fmla="*/ 5900 w 40292"/>
                      <a:gd name="connsiteY33" fmla="*/ 58939 h 79631"/>
                      <a:gd name="connsiteX34" fmla="*/ 6601 w 40292"/>
                      <a:gd name="connsiteY34" fmla="*/ 57594 h 79631"/>
                      <a:gd name="connsiteX35" fmla="*/ 6943 w 40292"/>
                      <a:gd name="connsiteY35" fmla="*/ 54726 h 79631"/>
                      <a:gd name="connsiteX36" fmla="*/ 6699 w 40292"/>
                      <a:gd name="connsiteY36" fmla="*/ 52224 h 79631"/>
                      <a:gd name="connsiteX37" fmla="*/ 7188 w 40292"/>
                      <a:gd name="connsiteY37" fmla="*/ 51327 h 79631"/>
                      <a:gd name="connsiteX38" fmla="*/ 8183 w 40292"/>
                      <a:gd name="connsiteY38" fmla="*/ 52224 h 79631"/>
                      <a:gd name="connsiteX39" fmla="*/ 8916 w 40292"/>
                      <a:gd name="connsiteY39" fmla="*/ 51889 h 79631"/>
                      <a:gd name="connsiteX40" fmla="*/ 8875 w 40292"/>
                      <a:gd name="connsiteY40" fmla="*/ 50594 h 79631"/>
                      <a:gd name="connsiteX41" fmla="*/ 9103 w 40292"/>
                      <a:gd name="connsiteY41" fmla="*/ 48238 h 79631"/>
                      <a:gd name="connsiteX42" fmla="*/ 7808 w 40292"/>
                      <a:gd name="connsiteY42" fmla="*/ 46274 h 79631"/>
                      <a:gd name="connsiteX43" fmla="*/ 5623 w 40292"/>
                      <a:gd name="connsiteY43" fmla="*/ 45598 h 79631"/>
                      <a:gd name="connsiteX44" fmla="*/ 5420 w 40292"/>
                      <a:gd name="connsiteY44" fmla="*/ 43536 h 79631"/>
                      <a:gd name="connsiteX45" fmla="*/ 5648 w 40292"/>
                      <a:gd name="connsiteY45" fmla="*/ 41523 h 79631"/>
                      <a:gd name="connsiteX46" fmla="*/ 6789 w 40292"/>
                      <a:gd name="connsiteY46" fmla="*/ 40162 h 79631"/>
                      <a:gd name="connsiteX47" fmla="*/ 7188 w 40292"/>
                      <a:gd name="connsiteY47" fmla="*/ 38361 h 79631"/>
                      <a:gd name="connsiteX48" fmla="*/ 7196 w 40292"/>
                      <a:gd name="connsiteY48" fmla="*/ 32860 h 79631"/>
                      <a:gd name="connsiteX49" fmla="*/ 5664 w 40292"/>
                      <a:gd name="connsiteY49" fmla="*/ 30839 h 79631"/>
                      <a:gd name="connsiteX50" fmla="*/ 5061 w 40292"/>
                      <a:gd name="connsiteY50" fmla="*/ 27758 h 79631"/>
                      <a:gd name="connsiteX51" fmla="*/ 4279 w 40292"/>
                      <a:gd name="connsiteY51" fmla="*/ 25802 h 79631"/>
                      <a:gd name="connsiteX52" fmla="*/ 2836 w 40292"/>
                      <a:gd name="connsiteY52" fmla="*/ 23822 h 79631"/>
                      <a:gd name="connsiteX53" fmla="*/ 1223 w 40292"/>
                      <a:gd name="connsiteY53" fmla="*/ 22216 h 79631"/>
                      <a:gd name="connsiteX54" fmla="*/ 220 w 40292"/>
                      <a:gd name="connsiteY54" fmla="*/ 20660 h 79631"/>
                      <a:gd name="connsiteX55" fmla="*/ 0 w 40292"/>
                      <a:gd name="connsiteY55" fmla="*/ 16593 h 79631"/>
                      <a:gd name="connsiteX56" fmla="*/ 571 w 40292"/>
                      <a:gd name="connsiteY56" fmla="*/ 13186 h 79631"/>
                      <a:gd name="connsiteX57" fmla="*/ 1067 w 40292"/>
                      <a:gd name="connsiteY57" fmla="*/ 11736 h 79631"/>
                      <a:gd name="connsiteX58" fmla="*/ 1589 w 40292"/>
                      <a:gd name="connsiteY58" fmla="*/ 11956 h 79631"/>
                      <a:gd name="connsiteX59" fmla="*/ 3203 w 40292"/>
                      <a:gd name="connsiteY59" fmla="*/ 13643 h 79631"/>
                      <a:gd name="connsiteX60" fmla="*/ 4523 w 40292"/>
                      <a:gd name="connsiteY60" fmla="*/ 14018 h 79631"/>
                      <a:gd name="connsiteX61" fmla="*/ 7131 w 40292"/>
                      <a:gd name="connsiteY61" fmla="*/ 14425 h 79631"/>
                      <a:gd name="connsiteX62" fmla="*/ 9698 w 40292"/>
                      <a:gd name="connsiteY62" fmla="*/ 13895 h 79631"/>
                      <a:gd name="connsiteX63" fmla="*/ 12844 w 40292"/>
                      <a:gd name="connsiteY63" fmla="*/ 12355 h 79631"/>
                      <a:gd name="connsiteX64" fmla="*/ 15884 w 40292"/>
                      <a:gd name="connsiteY64" fmla="*/ 10489 h 79631"/>
                      <a:gd name="connsiteX65" fmla="*/ 20268 w 40292"/>
                      <a:gd name="connsiteY65" fmla="*/ 5012 h 79631"/>
                      <a:gd name="connsiteX66" fmla="*/ 22974 w 40292"/>
                      <a:gd name="connsiteY66" fmla="*/ 3904 h 79631"/>
                      <a:gd name="connsiteX67" fmla="*/ 24352 w 40292"/>
                      <a:gd name="connsiteY67" fmla="*/ 2461 h 79631"/>
                      <a:gd name="connsiteX68" fmla="*/ 24832 w 40292"/>
                      <a:gd name="connsiteY68" fmla="*/ 505 h 79631"/>
                      <a:gd name="connsiteX69" fmla="*/ 25973 w 40292"/>
                      <a:gd name="connsiteY69" fmla="*/ 0 h 79631"/>
                      <a:gd name="connsiteX70" fmla="*/ 27334 w 40292"/>
                      <a:gd name="connsiteY70" fmla="*/ 1891 h 79631"/>
                      <a:gd name="connsiteX71" fmla="*/ 29013 w 40292"/>
                      <a:gd name="connsiteY71" fmla="*/ 2086 h 79631"/>
                      <a:gd name="connsiteX72" fmla="*/ 31605 w 40292"/>
                      <a:gd name="connsiteY72" fmla="*/ 3659 h 79631"/>
                      <a:gd name="connsiteX73" fmla="*/ 32721 w 40292"/>
                      <a:gd name="connsiteY73" fmla="*/ 5151 h 79631"/>
                      <a:gd name="connsiteX74" fmla="*/ 33675 w 40292"/>
                      <a:gd name="connsiteY74" fmla="*/ 6944 h 79631"/>
                      <a:gd name="connsiteX75" fmla="*/ 34588 w 40292"/>
                      <a:gd name="connsiteY75" fmla="*/ 7742 h 79631"/>
                      <a:gd name="connsiteX76" fmla="*/ 35566 w 40292"/>
                      <a:gd name="connsiteY76" fmla="*/ 8191 h 79631"/>
                      <a:gd name="connsiteX77" fmla="*/ 35720 w 40292"/>
                      <a:gd name="connsiteY77" fmla="*/ 8614 h 79631"/>
                      <a:gd name="connsiteX78" fmla="*/ 34938 w 40292"/>
                      <a:gd name="connsiteY78" fmla="*/ 9030 h 79631"/>
                      <a:gd name="connsiteX79" fmla="*/ 34050 w 40292"/>
                      <a:gd name="connsiteY79" fmla="*/ 11100 h 79631"/>
                      <a:gd name="connsiteX80" fmla="*/ 34555 w 40292"/>
                      <a:gd name="connsiteY80" fmla="*/ 11687 h 79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292" h="79631">
                        <a:moveTo>
                          <a:pt x="35989" y="12803"/>
                        </a:moveTo>
                        <a:lnTo>
                          <a:pt x="37228" y="14979"/>
                        </a:lnTo>
                        <a:lnTo>
                          <a:pt x="40015" y="23903"/>
                        </a:lnTo>
                        <a:lnTo>
                          <a:pt x="40293" y="25827"/>
                        </a:lnTo>
                        <a:lnTo>
                          <a:pt x="39730" y="27807"/>
                        </a:lnTo>
                        <a:lnTo>
                          <a:pt x="39021" y="29201"/>
                        </a:lnTo>
                        <a:lnTo>
                          <a:pt x="36258" y="33683"/>
                        </a:lnTo>
                        <a:lnTo>
                          <a:pt x="36674" y="37391"/>
                        </a:lnTo>
                        <a:lnTo>
                          <a:pt x="37693" y="39681"/>
                        </a:lnTo>
                        <a:lnTo>
                          <a:pt x="37839" y="42216"/>
                        </a:lnTo>
                        <a:lnTo>
                          <a:pt x="37326" y="45361"/>
                        </a:lnTo>
                        <a:lnTo>
                          <a:pt x="35614" y="64636"/>
                        </a:lnTo>
                        <a:lnTo>
                          <a:pt x="34791" y="68042"/>
                        </a:lnTo>
                        <a:lnTo>
                          <a:pt x="34262" y="71001"/>
                        </a:lnTo>
                        <a:lnTo>
                          <a:pt x="32379" y="71889"/>
                        </a:lnTo>
                        <a:lnTo>
                          <a:pt x="29942" y="70952"/>
                        </a:lnTo>
                        <a:lnTo>
                          <a:pt x="26862" y="69281"/>
                        </a:lnTo>
                        <a:lnTo>
                          <a:pt x="25452" y="69379"/>
                        </a:lnTo>
                        <a:lnTo>
                          <a:pt x="24009" y="69949"/>
                        </a:lnTo>
                        <a:lnTo>
                          <a:pt x="22836" y="69468"/>
                        </a:lnTo>
                        <a:lnTo>
                          <a:pt x="21703" y="68531"/>
                        </a:lnTo>
                        <a:lnTo>
                          <a:pt x="20872" y="75132"/>
                        </a:lnTo>
                        <a:lnTo>
                          <a:pt x="19494" y="77814"/>
                        </a:lnTo>
                        <a:lnTo>
                          <a:pt x="17367" y="79525"/>
                        </a:lnTo>
                        <a:lnTo>
                          <a:pt x="15379" y="79631"/>
                        </a:lnTo>
                        <a:lnTo>
                          <a:pt x="13341" y="79061"/>
                        </a:lnTo>
                        <a:lnTo>
                          <a:pt x="11597" y="79069"/>
                        </a:lnTo>
                        <a:lnTo>
                          <a:pt x="10277" y="77797"/>
                        </a:lnTo>
                        <a:lnTo>
                          <a:pt x="9242" y="75573"/>
                        </a:lnTo>
                        <a:lnTo>
                          <a:pt x="7579" y="72875"/>
                        </a:lnTo>
                        <a:lnTo>
                          <a:pt x="5884" y="69656"/>
                        </a:lnTo>
                        <a:lnTo>
                          <a:pt x="5697" y="66755"/>
                        </a:lnTo>
                        <a:lnTo>
                          <a:pt x="5411" y="60341"/>
                        </a:lnTo>
                        <a:lnTo>
                          <a:pt x="5900" y="58939"/>
                        </a:lnTo>
                        <a:lnTo>
                          <a:pt x="6601" y="57594"/>
                        </a:lnTo>
                        <a:lnTo>
                          <a:pt x="6943" y="54726"/>
                        </a:lnTo>
                        <a:lnTo>
                          <a:pt x="6699" y="52224"/>
                        </a:lnTo>
                        <a:lnTo>
                          <a:pt x="7188" y="51327"/>
                        </a:lnTo>
                        <a:lnTo>
                          <a:pt x="8183" y="52224"/>
                        </a:lnTo>
                        <a:lnTo>
                          <a:pt x="8916" y="51889"/>
                        </a:lnTo>
                        <a:lnTo>
                          <a:pt x="8875" y="50594"/>
                        </a:lnTo>
                        <a:lnTo>
                          <a:pt x="9103" y="48238"/>
                        </a:lnTo>
                        <a:lnTo>
                          <a:pt x="7808" y="46274"/>
                        </a:lnTo>
                        <a:lnTo>
                          <a:pt x="5623" y="45598"/>
                        </a:lnTo>
                        <a:lnTo>
                          <a:pt x="5420" y="43536"/>
                        </a:lnTo>
                        <a:lnTo>
                          <a:pt x="5648" y="41523"/>
                        </a:lnTo>
                        <a:lnTo>
                          <a:pt x="6789" y="40162"/>
                        </a:lnTo>
                        <a:lnTo>
                          <a:pt x="7188" y="38361"/>
                        </a:lnTo>
                        <a:lnTo>
                          <a:pt x="7196" y="32860"/>
                        </a:lnTo>
                        <a:lnTo>
                          <a:pt x="5664" y="30839"/>
                        </a:lnTo>
                        <a:lnTo>
                          <a:pt x="5061" y="27758"/>
                        </a:lnTo>
                        <a:lnTo>
                          <a:pt x="4279" y="25802"/>
                        </a:lnTo>
                        <a:lnTo>
                          <a:pt x="2836" y="23822"/>
                        </a:lnTo>
                        <a:lnTo>
                          <a:pt x="1223" y="22216"/>
                        </a:lnTo>
                        <a:lnTo>
                          <a:pt x="220" y="20660"/>
                        </a:lnTo>
                        <a:lnTo>
                          <a:pt x="0" y="16593"/>
                        </a:lnTo>
                        <a:lnTo>
                          <a:pt x="571" y="13186"/>
                        </a:lnTo>
                        <a:lnTo>
                          <a:pt x="1067" y="11736"/>
                        </a:lnTo>
                        <a:lnTo>
                          <a:pt x="1589" y="11956"/>
                        </a:lnTo>
                        <a:lnTo>
                          <a:pt x="3203" y="13643"/>
                        </a:lnTo>
                        <a:lnTo>
                          <a:pt x="4523" y="14018"/>
                        </a:lnTo>
                        <a:lnTo>
                          <a:pt x="7131" y="14425"/>
                        </a:lnTo>
                        <a:lnTo>
                          <a:pt x="9698" y="13895"/>
                        </a:lnTo>
                        <a:lnTo>
                          <a:pt x="12844" y="12355"/>
                        </a:lnTo>
                        <a:lnTo>
                          <a:pt x="15884" y="10489"/>
                        </a:lnTo>
                        <a:lnTo>
                          <a:pt x="20268" y="5012"/>
                        </a:lnTo>
                        <a:lnTo>
                          <a:pt x="22974" y="3904"/>
                        </a:lnTo>
                        <a:lnTo>
                          <a:pt x="24352" y="2461"/>
                        </a:lnTo>
                        <a:lnTo>
                          <a:pt x="24832" y="505"/>
                        </a:lnTo>
                        <a:lnTo>
                          <a:pt x="25973" y="0"/>
                        </a:lnTo>
                        <a:lnTo>
                          <a:pt x="27334" y="1891"/>
                        </a:lnTo>
                        <a:lnTo>
                          <a:pt x="29013" y="2086"/>
                        </a:lnTo>
                        <a:lnTo>
                          <a:pt x="31605" y="3659"/>
                        </a:lnTo>
                        <a:lnTo>
                          <a:pt x="32721" y="5151"/>
                        </a:lnTo>
                        <a:lnTo>
                          <a:pt x="33675" y="6944"/>
                        </a:lnTo>
                        <a:lnTo>
                          <a:pt x="34588" y="7742"/>
                        </a:lnTo>
                        <a:lnTo>
                          <a:pt x="35566" y="8191"/>
                        </a:lnTo>
                        <a:lnTo>
                          <a:pt x="35720" y="8614"/>
                        </a:lnTo>
                        <a:lnTo>
                          <a:pt x="34938" y="9030"/>
                        </a:lnTo>
                        <a:lnTo>
                          <a:pt x="34050" y="11100"/>
                        </a:lnTo>
                        <a:lnTo>
                          <a:pt x="34555" y="11687"/>
                        </a:lnTo>
                        <a:close/>
                      </a:path>
                    </a:pathLst>
                  </a:custGeom>
                  <a:solidFill>
                    <a:srgbClr val="D6D6D2"/>
                  </a:solidFill>
                  <a:ln w="8150" cap="flat">
                    <a:noFill/>
                    <a:prstDash val="solid"/>
                    <a:miter/>
                  </a:ln>
                </p:spPr>
                <p:txBody>
                  <a:bodyPr rtlCol="0" anchor="ctr"/>
                  <a:lstStyle/>
                  <a:p>
                    <a:endParaRPr lang="en-US"/>
                  </a:p>
                </p:txBody>
              </p:sp>
              <p:sp>
                <p:nvSpPr>
                  <p:cNvPr id="797" name="Freeform: Shape 796">
                    <a:extLst>
                      <a:ext uri="{FF2B5EF4-FFF2-40B4-BE49-F238E27FC236}">
                        <a16:creationId xmlns:a16="http://schemas.microsoft.com/office/drawing/2014/main" id="{AF474A72-A661-4991-BBA4-A2222B1609F6}"/>
                      </a:ext>
                    </a:extLst>
                  </p:cNvPr>
                  <p:cNvSpPr/>
                  <p:nvPr/>
                </p:nvSpPr>
                <p:spPr>
                  <a:xfrm>
                    <a:off x="6108012" y="3029844"/>
                    <a:ext cx="294107" cy="315394"/>
                  </a:xfrm>
                  <a:custGeom>
                    <a:avLst/>
                    <a:gdLst>
                      <a:gd name="connsiteX0" fmla="*/ 136492 w 294107"/>
                      <a:gd name="connsiteY0" fmla="*/ 3472 h 315394"/>
                      <a:gd name="connsiteX1" fmla="*/ 137071 w 294107"/>
                      <a:gd name="connsiteY1" fmla="*/ 5232 h 315394"/>
                      <a:gd name="connsiteX2" fmla="*/ 139898 w 294107"/>
                      <a:gd name="connsiteY2" fmla="*/ 8761 h 315394"/>
                      <a:gd name="connsiteX3" fmla="*/ 141430 w 294107"/>
                      <a:gd name="connsiteY3" fmla="*/ 11467 h 315394"/>
                      <a:gd name="connsiteX4" fmla="*/ 142881 w 294107"/>
                      <a:gd name="connsiteY4" fmla="*/ 13504 h 315394"/>
                      <a:gd name="connsiteX5" fmla="*/ 145122 w 294107"/>
                      <a:gd name="connsiteY5" fmla="*/ 14572 h 315394"/>
                      <a:gd name="connsiteX6" fmla="*/ 148089 w 294107"/>
                      <a:gd name="connsiteY6" fmla="*/ 15224 h 315394"/>
                      <a:gd name="connsiteX7" fmla="*/ 150607 w 294107"/>
                      <a:gd name="connsiteY7" fmla="*/ 15460 h 315394"/>
                      <a:gd name="connsiteX8" fmla="*/ 153223 w 294107"/>
                      <a:gd name="connsiteY8" fmla="*/ 16226 h 315394"/>
                      <a:gd name="connsiteX9" fmla="*/ 162237 w 294107"/>
                      <a:gd name="connsiteY9" fmla="*/ 18109 h 315394"/>
                      <a:gd name="connsiteX10" fmla="*/ 166768 w 294107"/>
                      <a:gd name="connsiteY10" fmla="*/ 18638 h 315394"/>
                      <a:gd name="connsiteX11" fmla="*/ 170191 w 294107"/>
                      <a:gd name="connsiteY11" fmla="*/ 18720 h 315394"/>
                      <a:gd name="connsiteX12" fmla="*/ 175407 w 294107"/>
                      <a:gd name="connsiteY12" fmla="*/ 19975 h 315394"/>
                      <a:gd name="connsiteX13" fmla="*/ 174909 w 294107"/>
                      <a:gd name="connsiteY13" fmla="*/ 22004 h 315394"/>
                      <a:gd name="connsiteX14" fmla="*/ 173842 w 294107"/>
                      <a:gd name="connsiteY14" fmla="*/ 22518 h 315394"/>
                      <a:gd name="connsiteX15" fmla="*/ 172016 w 294107"/>
                      <a:gd name="connsiteY15" fmla="*/ 23699 h 315394"/>
                      <a:gd name="connsiteX16" fmla="*/ 169914 w 294107"/>
                      <a:gd name="connsiteY16" fmla="*/ 25329 h 315394"/>
                      <a:gd name="connsiteX17" fmla="*/ 167958 w 294107"/>
                      <a:gd name="connsiteY17" fmla="*/ 27155 h 315394"/>
                      <a:gd name="connsiteX18" fmla="*/ 167436 w 294107"/>
                      <a:gd name="connsiteY18" fmla="*/ 29135 h 315394"/>
                      <a:gd name="connsiteX19" fmla="*/ 167958 w 294107"/>
                      <a:gd name="connsiteY19" fmla="*/ 30439 h 315394"/>
                      <a:gd name="connsiteX20" fmla="*/ 168488 w 294107"/>
                      <a:gd name="connsiteY20" fmla="*/ 30879 h 315394"/>
                      <a:gd name="connsiteX21" fmla="*/ 169196 w 294107"/>
                      <a:gd name="connsiteY21" fmla="*/ 30488 h 315394"/>
                      <a:gd name="connsiteX22" fmla="*/ 170240 w 294107"/>
                      <a:gd name="connsiteY22" fmla="*/ 30725 h 315394"/>
                      <a:gd name="connsiteX23" fmla="*/ 171552 w 294107"/>
                      <a:gd name="connsiteY23" fmla="*/ 31442 h 315394"/>
                      <a:gd name="connsiteX24" fmla="*/ 173736 w 294107"/>
                      <a:gd name="connsiteY24" fmla="*/ 32134 h 315394"/>
                      <a:gd name="connsiteX25" fmla="*/ 173801 w 294107"/>
                      <a:gd name="connsiteY25" fmla="*/ 32811 h 315394"/>
                      <a:gd name="connsiteX26" fmla="*/ 173337 w 294107"/>
                      <a:gd name="connsiteY26" fmla="*/ 33691 h 315394"/>
                      <a:gd name="connsiteX27" fmla="*/ 171641 w 294107"/>
                      <a:gd name="connsiteY27" fmla="*/ 35248 h 315394"/>
                      <a:gd name="connsiteX28" fmla="*/ 170118 w 294107"/>
                      <a:gd name="connsiteY28" fmla="*/ 36992 h 315394"/>
                      <a:gd name="connsiteX29" fmla="*/ 169963 w 294107"/>
                      <a:gd name="connsiteY29" fmla="*/ 38067 h 315394"/>
                      <a:gd name="connsiteX30" fmla="*/ 170150 w 294107"/>
                      <a:gd name="connsiteY30" fmla="*/ 38850 h 315394"/>
                      <a:gd name="connsiteX31" fmla="*/ 170672 w 294107"/>
                      <a:gd name="connsiteY31" fmla="*/ 39314 h 315394"/>
                      <a:gd name="connsiteX32" fmla="*/ 172946 w 294107"/>
                      <a:gd name="connsiteY32" fmla="*/ 39111 h 315394"/>
                      <a:gd name="connsiteX33" fmla="*/ 173271 w 294107"/>
                      <a:gd name="connsiteY33" fmla="*/ 39746 h 315394"/>
                      <a:gd name="connsiteX34" fmla="*/ 172171 w 294107"/>
                      <a:gd name="connsiteY34" fmla="*/ 44245 h 315394"/>
                      <a:gd name="connsiteX35" fmla="*/ 172522 w 294107"/>
                      <a:gd name="connsiteY35" fmla="*/ 45019 h 315394"/>
                      <a:gd name="connsiteX36" fmla="*/ 174502 w 294107"/>
                      <a:gd name="connsiteY36" fmla="*/ 45736 h 315394"/>
                      <a:gd name="connsiteX37" fmla="*/ 175953 w 294107"/>
                      <a:gd name="connsiteY37" fmla="*/ 46820 h 315394"/>
                      <a:gd name="connsiteX38" fmla="*/ 178658 w 294107"/>
                      <a:gd name="connsiteY38" fmla="*/ 49673 h 315394"/>
                      <a:gd name="connsiteX39" fmla="*/ 179742 w 294107"/>
                      <a:gd name="connsiteY39" fmla="*/ 51979 h 315394"/>
                      <a:gd name="connsiteX40" fmla="*/ 179001 w 294107"/>
                      <a:gd name="connsiteY40" fmla="*/ 52753 h 315394"/>
                      <a:gd name="connsiteX41" fmla="*/ 177290 w 294107"/>
                      <a:gd name="connsiteY41" fmla="*/ 53136 h 315394"/>
                      <a:gd name="connsiteX42" fmla="*/ 175904 w 294107"/>
                      <a:gd name="connsiteY42" fmla="*/ 52941 h 315394"/>
                      <a:gd name="connsiteX43" fmla="*/ 177469 w 294107"/>
                      <a:gd name="connsiteY43" fmla="*/ 51547 h 315394"/>
                      <a:gd name="connsiteX44" fmla="*/ 173630 w 294107"/>
                      <a:gd name="connsiteY44" fmla="*/ 46470 h 315394"/>
                      <a:gd name="connsiteX45" fmla="*/ 171894 w 294107"/>
                      <a:gd name="connsiteY45" fmla="*/ 46486 h 315394"/>
                      <a:gd name="connsiteX46" fmla="*/ 169580 w 294107"/>
                      <a:gd name="connsiteY46" fmla="*/ 48629 h 315394"/>
                      <a:gd name="connsiteX47" fmla="*/ 163166 w 294107"/>
                      <a:gd name="connsiteY47" fmla="*/ 46462 h 315394"/>
                      <a:gd name="connsiteX48" fmla="*/ 161927 w 294107"/>
                      <a:gd name="connsiteY48" fmla="*/ 47334 h 315394"/>
                      <a:gd name="connsiteX49" fmla="*/ 161030 w 294107"/>
                      <a:gd name="connsiteY49" fmla="*/ 49053 h 315394"/>
                      <a:gd name="connsiteX50" fmla="*/ 158797 w 294107"/>
                      <a:gd name="connsiteY50" fmla="*/ 51180 h 315394"/>
                      <a:gd name="connsiteX51" fmla="*/ 155635 w 294107"/>
                      <a:gd name="connsiteY51" fmla="*/ 52126 h 315394"/>
                      <a:gd name="connsiteX52" fmla="*/ 152131 w 294107"/>
                      <a:gd name="connsiteY52" fmla="*/ 54465 h 315394"/>
                      <a:gd name="connsiteX53" fmla="*/ 148423 w 294107"/>
                      <a:gd name="connsiteY53" fmla="*/ 56119 h 315394"/>
                      <a:gd name="connsiteX54" fmla="*/ 145587 w 294107"/>
                      <a:gd name="connsiteY54" fmla="*/ 57374 h 315394"/>
                      <a:gd name="connsiteX55" fmla="*/ 143965 w 294107"/>
                      <a:gd name="connsiteY55" fmla="*/ 57154 h 315394"/>
                      <a:gd name="connsiteX56" fmla="*/ 146540 w 294107"/>
                      <a:gd name="connsiteY56" fmla="*/ 54440 h 315394"/>
                      <a:gd name="connsiteX57" fmla="*/ 145440 w 294107"/>
                      <a:gd name="connsiteY57" fmla="*/ 54391 h 315394"/>
                      <a:gd name="connsiteX58" fmla="*/ 142017 w 294107"/>
                      <a:gd name="connsiteY58" fmla="*/ 56306 h 315394"/>
                      <a:gd name="connsiteX59" fmla="*/ 140045 w 294107"/>
                      <a:gd name="connsiteY59" fmla="*/ 57920 h 315394"/>
                      <a:gd name="connsiteX60" fmla="*/ 139409 w 294107"/>
                      <a:gd name="connsiteY60" fmla="*/ 60642 h 315394"/>
                      <a:gd name="connsiteX61" fmla="*/ 138847 w 294107"/>
                      <a:gd name="connsiteY61" fmla="*/ 65116 h 315394"/>
                      <a:gd name="connsiteX62" fmla="*/ 140347 w 294107"/>
                      <a:gd name="connsiteY62" fmla="*/ 66306 h 315394"/>
                      <a:gd name="connsiteX63" fmla="*/ 142979 w 294107"/>
                      <a:gd name="connsiteY63" fmla="*/ 72198 h 315394"/>
                      <a:gd name="connsiteX64" fmla="*/ 146223 w 294107"/>
                      <a:gd name="connsiteY64" fmla="*/ 74717 h 315394"/>
                      <a:gd name="connsiteX65" fmla="*/ 145595 w 294107"/>
                      <a:gd name="connsiteY65" fmla="*/ 77121 h 315394"/>
                      <a:gd name="connsiteX66" fmla="*/ 144739 w 294107"/>
                      <a:gd name="connsiteY66" fmla="*/ 79020 h 315394"/>
                      <a:gd name="connsiteX67" fmla="*/ 142775 w 294107"/>
                      <a:gd name="connsiteY67" fmla="*/ 80666 h 315394"/>
                      <a:gd name="connsiteX68" fmla="*/ 141161 w 294107"/>
                      <a:gd name="connsiteY68" fmla="*/ 79444 h 315394"/>
                      <a:gd name="connsiteX69" fmla="*/ 140167 w 294107"/>
                      <a:gd name="connsiteY69" fmla="*/ 79476 h 315394"/>
                      <a:gd name="connsiteX70" fmla="*/ 139401 w 294107"/>
                      <a:gd name="connsiteY70" fmla="*/ 83315 h 315394"/>
                      <a:gd name="connsiteX71" fmla="*/ 140811 w 294107"/>
                      <a:gd name="connsiteY71" fmla="*/ 93567 h 315394"/>
                      <a:gd name="connsiteX72" fmla="*/ 143069 w 294107"/>
                      <a:gd name="connsiteY72" fmla="*/ 100747 h 315394"/>
                      <a:gd name="connsiteX73" fmla="*/ 145318 w 294107"/>
                      <a:gd name="connsiteY73" fmla="*/ 103868 h 315394"/>
                      <a:gd name="connsiteX74" fmla="*/ 150387 w 294107"/>
                      <a:gd name="connsiteY74" fmla="*/ 108734 h 315394"/>
                      <a:gd name="connsiteX75" fmla="*/ 155741 w 294107"/>
                      <a:gd name="connsiteY75" fmla="*/ 111293 h 315394"/>
                      <a:gd name="connsiteX76" fmla="*/ 165374 w 294107"/>
                      <a:gd name="connsiteY76" fmla="*/ 119467 h 315394"/>
                      <a:gd name="connsiteX77" fmla="*/ 170647 w 294107"/>
                      <a:gd name="connsiteY77" fmla="*/ 122050 h 315394"/>
                      <a:gd name="connsiteX78" fmla="*/ 172041 w 294107"/>
                      <a:gd name="connsiteY78" fmla="*/ 123452 h 315394"/>
                      <a:gd name="connsiteX79" fmla="*/ 175244 w 294107"/>
                      <a:gd name="connsiteY79" fmla="*/ 129744 h 315394"/>
                      <a:gd name="connsiteX80" fmla="*/ 177998 w 294107"/>
                      <a:gd name="connsiteY80" fmla="*/ 137005 h 315394"/>
                      <a:gd name="connsiteX81" fmla="*/ 180989 w 294107"/>
                      <a:gd name="connsiteY81" fmla="*/ 148382 h 315394"/>
                      <a:gd name="connsiteX82" fmla="*/ 183100 w 294107"/>
                      <a:gd name="connsiteY82" fmla="*/ 153973 h 315394"/>
                      <a:gd name="connsiteX83" fmla="*/ 187379 w 294107"/>
                      <a:gd name="connsiteY83" fmla="*/ 160289 h 315394"/>
                      <a:gd name="connsiteX84" fmla="*/ 196262 w 294107"/>
                      <a:gd name="connsiteY84" fmla="*/ 169319 h 315394"/>
                      <a:gd name="connsiteX85" fmla="*/ 204330 w 294107"/>
                      <a:gd name="connsiteY85" fmla="*/ 175912 h 315394"/>
                      <a:gd name="connsiteX86" fmla="*/ 211844 w 294107"/>
                      <a:gd name="connsiteY86" fmla="*/ 179979 h 315394"/>
                      <a:gd name="connsiteX87" fmla="*/ 217695 w 294107"/>
                      <a:gd name="connsiteY87" fmla="*/ 180696 h 315394"/>
                      <a:gd name="connsiteX88" fmla="*/ 231559 w 294107"/>
                      <a:gd name="connsiteY88" fmla="*/ 179799 h 315394"/>
                      <a:gd name="connsiteX89" fmla="*/ 233987 w 294107"/>
                      <a:gd name="connsiteY89" fmla="*/ 180182 h 315394"/>
                      <a:gd name="connsiteX90" fmla="*/ 236538 w 294107"/>
                      <a:gd name="connsiteY90" fmla="*/ 181274 h 315394"/>
                      <a:gd name="connsiteX91" fmla="*/ 237141 w 294107"/>
                      <a:gd name="connsiteY91" fmla="*/ 184102 h 315394"/>
                      <a:gd name="connsiteX92" fmla="*/ 236203 w 294107"/>
                      <a:gd name="connsiteY92" fmla="*/ 186009 h 315394"/>
                      <a:gd name="connsiteX93" fmla="*/ 233294 w 294107"/>
                      <a:gd name="connsiteY93" fmla="*/ 187982 h 315394"/>
                      <a:gd name="connsiteX94" fmla="*/ 230312 w 294107"/>
                      <a:gd name="connsiteY94" fmla="*/ 190720 h 315394"/>
                      <a:gd name="connsiteX95" fmla="*/ 229985 w 294107"/>
                      <a:gd name="connsiteY95" fmla="*/ 194453 h 315394"/>
                      <a:gd name="connsiteX96" fmla="*/ 232764 w 294107"/>
                      <a:gd name="connsiteY96" fmla="*/ 197077 h 315394"/>
                      <a:gd name="connsiteX97" fmla="*/ 246146 w 294107"/>
                      <a:gd name="connsiteY97" fmla="*/ 204029 h 315394"/>
                      <a:gd name="connsiteX98" fmla="*/ 259814 w 294107"/>
                      <a:gd name="connsiteY98" fmla="*/ 209831 h 315394"/>
                      <a:gd name="connsiteX99" fmla="*/ 264084 w 294107"/>
                      <a:gd name="connsiteY99" fmla="*/ 212790 h 315394"/>
                      <a:gd name="connsiteX100" fmla="*/ 269014 w 294107"/>
                      <a:gd name="connsiteY100" fmla="*/ 217394 h 315394"/>
                      <a:gd name="connsiteX101" fmla="*/ 280937 w 294107"/>
                      <a:gd name="connsiteY101" fmla="*/ 223710 h 315394"/>
                      <a:gd name="connsiteX102" fmla="*/ 282951 w 294107"/>
                      <a:gd name="connsiteY102" fmla="*/ 226774 h 315394"/>
                      <a:gd name="connsiteX103" fmla="*/ 290204 w 294107"/>
                      <a:gd name="connsiteY103" fmla="*/ 233384 h 315394"/>
                      <a:gd name="connsiteX104" fmla="*/ 293480 w 294107"/>
                      <a:gd name="connsiteY104" fmla="*/ 238469 h 315394"/>
                      <a:gd name="connsiteX105" fmla="*/ 294108 w 294107"/>
                      <a:gd name="connsiteY105" fmla="*/ 242406 h 315394"/>
                      <a:gd name="connsiteX106" fmla="*/ 292543 w 294107"/>
                      <a:gd name="connsiteY106" fmla="*/ 246407 h 315394"/>
                      <a:gd name="connsiteX107" fmla="*/ 291818 w 294107"/>
                      <a:gd name="connsiteY107" fmla="*/ 249235 h 315394"/>
                      <a:gd name="connsiteX108" fmla="*/ 290579 w 294107"/>
                      <a:gd name="connsiteY108" fmla="*/ 252022 h 315394"/>
                      <a:gd name="connsiteX109" fmla="*/ 287498 w 294107"/>
                      <a:gd name="connsiteY109" fmla="*/ 250963 h 315394"/>
                      <a:gd name="connsiteX110" fmla="*/ 283986 w 294107"/>
                      <a:gd name="connsiteY110" fmla="*/ 248102 h 315394"/>
                      <a:gd name="connsiteX111" fmla="*/ 278713 w 294107"/>
                      <a:gd name="connsiteY111" fmla="*/ 236456 h 315394"/>
                      <a:gd name="connsiteX112" fmla="*/ 269072 w 294107"/>
                      <a:gd name="connsiteY112" fmla="*/ 235275 h 315394"/>
                      <a:gd name="connsiteX113" fmla="*/ 267075 w 294107"/>
                      <a:gd name="connsiteY113" fmla="*/ 234411 h 315394"/>
                      <a:gd name="connsiteX114" fmla="*/ 263644 w 294107"/>
                      <a:gd name="connsiteY114" fmla="*/ 232422 h 315394"/>
                      <a:gd name="connsiteX115" fmla="*/ 263440 w 294107"/>
                      <a:gd name="connsiteY115" fmla="*/ 231102 h 315394"/>
                      <a:gd name="connsiteX116" fmla="*/ 262593 w 294107"/>
                      <a:gd name="connsiteY116" fmla="*/ 229447 h 315394"/>
                      <a:gd name="connsiteX117" fmla="*/ 261721 w 294107"/>
                      <a:gd name="connsiteY117" fmla="*/ 228893 h 315394"/>
                      <a:gd name="connsiteX118" fmla="*/ 258029 w 294107"/>
                      <a:gd name="connsiteY118" fmla="*/ 228527 h 315394"/>
                      <a:gd name="connsiteX119" fmla="*/ 255478 w 294107"/>
                      <a:gd name="connsiteY119" fmla="*/ 230417 h 315394"/>
                      <a:gd name="connsiteX120" fmla="*/ 252471 w 294107"/>
                      <a:gd name="connsiteY120" fmla="*/ 234883 h 315394"/>
                      <a:gd name="connsiteX121" fmla="*/ 249064 w 294107"/>
                      <a:gd name="connsiteY121" fmla="*/ 241314 h 315394"/>
                      <a:gd name="connsiteX122" fmla="*/ 245592 w 294107"/>
                      <a:gd name="connsiteY122" fmla="*/ 250727 h 315394"/>
                      <a:gd name="connsiteX123" fmla="*/ 245397 w 294107"/>
                      <a:gd name="connsiteY123" fmla="*/ 254516 h 315394"/>
                      <a:gd name="connsiteX124" fmla="*/ 247271 w 294107"/>
                      <a:gd name="connsiteY124" fmla="*/ 258192 h 315394"/>
                      <a:gd name="connsiteX125" fmla="*/ 252894 w 294107"/>
                      <a:gd name="connsiteY125" fmla="*/ 260237 h 315394"/>
                      <a:gd name="connsiteX126" fmla="*/ 257230 w 294107"/>
                      <a:gd name="connsiteY126" fmla="*/ 263513 h 315394"/>
                      <a:gd name="connsiteX127" fmla="*/ 260099 w 294107"/>
                      <a:gd name="connsiteY127" fmla="*/ 266928 h 315394"/>
                      <a:gd name="connsiteX128" fmla="*/ 260302 w 294107"/>
                      <a:gd name="connsiteY128" fmla="*/ 275159 h 315394"/>
                      <a:gd name="connsiteX129" fmla="*/ 261582 w 294107"/>
                      <a:gd name="connsiteY129" fmla="*/ 279829 h 315394"/>
                      <a:gd name="connsiteX130" fmla="*/ 259700 w 294107"/>
                      <a:gd name="connsiteY130" fmla="*/ 282478 h 315394"/>
                      <a:gd name="connsiteX131" fmla="*/ 256057 w 294107"/>
                      <a:gd name="connsiteY131" fmla="*/ 281785 h 315394"/>
                      <a:gd name="connsiteX132" fmla="*/ 251199 w 294107"/>
                      <a:gd name="connsiteY132" fmla="*/ 283480 h 315394"/>
                      <a:gd name="connsiteX133" fmla="*/ 247744 w 294107"/>
                      <a:gd name="connsiteY133" fmla="*/ 286496 h 315394"/>
                      <a:gd name="connsiteX134" fmla="*/ 246318 w 294107"/>
                      <a:gd name="connsiteY134" fmla="*/ 289364 h 315394"/>
                      <a:gd name="connsiteX135" fmla="*/ 246693 w 294107"/>
                      <a:gd name="connsiteY135" fmla="*/ 296805 h 315394"/>
                      <a:gd name="connsiteX136" fmla="*/ 245983 w 294107"/>
                      <a:gd name="connsiteY136" fmla="*/ 299641 h 315394"/>
                      <a:gd name="connsiteX137" fmla="*/ 239456 w 294107"/>
                      <a:gd name="connsiteY137" fmla="*/ 304987 h 315394"/>
                      <a:gd name="connsiteX138" fmla="*/ 236032 w 294107"/>
                      <a:gd name="connsiteY138" fmla="*/ 310464 h 315394"/>
                      <a:gd name="connsiteX139" fmla="*/ 235169 w 294107"/>
                      <a:gd name="connsiteY139" fmla="*/ 312730 h 315394"/>
                      <a:gd name="connsiteX140" fmla="*/ 233857 w 294107"/>
                      <a:gd name="connsiteY140" fmla="*/ 315305 h 315394"/>
                      <a:gd name="connsiteX141" fmla="*/ 225617 w 294107"/>
                      <a:gd name="connsiteY141" fmla="*/ 315395 h 315394"/>
                      <a:gd name="connsiteX142" fmla="*/ 223669 w 294107"/>
                      <a:gd name="connsiteY142" fmla="*/ 312208 h 315394"/>
                      <a:gd name="connsiteX143" fmla="*/ 223596 w 294107"/>
                      <a:gd name="connsiteY143" fmla="*/ 307473 h 315394"/>
                      <a:gd name="connsiteX144" fmla="*/ 225022 w 294107"/>
                      <a:gd name="connsiteY144" fmla="*/ 304564 h 315394"/>
                      <a:gd name="connsiteX145" fmla="*/ 228054 w 294107"/>
                      <a:gd name="connsiteY145" fmla="*/ 303203 h 315394"/>
                      <a:gd name="connsiteX146" fmla="*/ 230091 w 294107"/>
                      <a:gd name="connsiteY146" fmla="*/ 297147 h 315394"/>
                      <a:gd name="connsiteX147" fmla="*/ 229448 w 294107"/>
                      <a:gd name="connsiteY147" fmla="*/ 292763 h 315394"/>
                      <a:gd name="connsiteX148" fmla="*/ 230637 w 294107"/>
                      <a:gd name="connsiteY148" fmla="*/ 290815 h 315394"/>
                      <a:gd name="connsiteX149" fmla="*/ 231762 w 294107"/>
                      <a:gd name="connsiteY149" fmla="*/ 289438 h 315394"/>
                      <a:gd name="connsiteX150" fmla="*/ 234077 w 294107"/>
                      <a:gd name="connsiteY150" fmla="*/ 288639 h 315394"/>
                      <a:gd name="connsiteX151" fmla="*/ 237337 w 294107"/>
                      <a:gd name="connsiteY151" fmla="*/ 287873 h 315394"/>
                      <a:gd name="connsiteX152" fmla="*/ 237654 w 294107"/>
                      <a:gd name="connsiteY152" fmla="*/ 281752 h 315394"/>
                      <a:gd name="connsiteX153" fmla="*/ 235112 w 294107"/>
                      <a:gd name="connsiteY153" fmla="*/ 278965 h 315394"/>
                      <a:gd name="connsiteX154" fmla="*/ 234232 w 294107"/>
                      <a:gd name="connsiteY154" fmla="*/ 275070 h 315394"/>
                      <a:gd name="connsiteX155" fmla="*/ 233033 w 294107"/>
                      <a:gd name="connsiteY155" fmla="*/ 267841 h 315394"/>
                      <a:gd name="connsiteX156" fmla="*/ 228845 w 294107"/>
                      <a:gd name="connsiteY156" fmla="*/ 258615 h 315394"/>
                      <a:gd name="connsiteX157" fmla="*/ 226579 w 294107"/>
                      <a:gd name="connsiteY157" fmla="*/ 250368 h 315394"/>
                      <a:gd name="connsiteX158" fmla="*/ 224835 w 294107"/>
                      <a:gd name="connsiteY158" fmla="*/ 246301 h 315394"/>
                      <a:gd name="connsiteX159" fmla="*/ 222153 w 294107"/>
                      <a:gd name="connsiteY159" fmla="*/ 244174 h 315394"/>
                      <a:gd name="connsiteX160" fmla="*/ 217345 w 294107"/>
                      <a:gd name="connsiteY160" fmla="*/ 244199 h 315394"/>
                      <a:gd name="connsiteX161" fmla="*/ 214957 w 294107"/>
                      <a:gd name="connsiteY161" fmla="*/ 243595 h 315394"/>
                      <a:gd name="connsiteX162" fmla="*/ 206433 w 294107"/>
                      <a:gd name="connsiteY162" fmla="*/ 237858 h 315394"/>
                      <a:gd name="connsiteX163" fmla="*/ 205838 w 294107"/>
                      <a:gd name="connsiteY163" fmla="*/ 236986 h 315394"/>
                      <a:gd name="connsiteX164" fmla="*/ 205895 w 294107"/>
                      <a:gd name="connsiteY164" fmla="*/ 235462 h 315394"/>
                      <a:gd name="connsiteX165" fmla="*/ 207305 w 294107"/>
                      <a:gd name="connsiteY165" fmla="*/ 233148 h 315394"/>
                      <a:gd name="connsiteX166" fmla="*/ 206359 w 294107"/>
                      <a:gd name="connsiteY166" fmla="*/ 230034 h 315394"/>
                      <a:gd name="connsiteX167" fmla="*/ 205341 w 294107"/>
                      <a:gd name="connsiteY167" fmla="*/ 227076 h 315394"/>
                      <a:gd name="connsiteX168" fmla="*/ 203670 w 294107"/>
                      <a:gd name="connsiteY168" fmla="*/ 224566 h 315394"/>
                      <a:gd name="connsiteX169" fmla="*/ 201836 w 294107"/>
                      <a:gd name="connsiteY169" fmla="*/ 223254 h 315394"/>
                      <a:gd name="connsiteX170" fmla="*/ 198014 w 294107"/>
                      <a:gd name="connsiteY170" fmla="*/ 224061 h 315394"/>
                      <a:gd name="connsiteX171" fmla="*/ 196653 w 294107"/>
                      <a:gd name="connsiteY171" fmla="*/ 224680 h 315394"/>
                      <a:gd name="connsiteX172" fmla="*/ 194249 w 294107"/>
                      <a:gd name="connsiteY172" fmla="*/ 224468 h 315394"/>
                      <a:gd name="connsiteX173" fmla="*/ 192333 w 294107"/>
                      <a:gd name="connsiteY173" fmla="*/ 225585 h 315394"/>
                      <a:gd name="connsiteX174" fmla="*/ 191274 w 294107"/>
                      <a:gd name="connsiteY174" fmla="*/ 225625 h 315394"/>
                      <a:gd name="connsiteX175" fmla="*/ 194273 w 294107"/>
                      <a:gd name="connsiteY175" fmla="*/ 221200 h 315394"/>
                      <a:gd name="connsiteX176" fmla="*/ 193467 w 294107"/>
                      <a:gd name="connsiteY176" fmla="*/ 220157 h 315394"/>
                      <a:gd name="connsiteX177" fmla="*/ 190508 w 294107"/>
                      <a:gd name="connsiteY177" fmla="*/ 218339 h 315394"/>
                      <a:gd name="connsiteX178" fmla="*/ 186498 w 294107"/>
                      <a:gd name="connsiteY178" fmla="*/ 218071 h 315394"/>
                      <a:gd name="connsiteX179" fmla="*/ 185382 w 294107"/>
                      <a:gd name="connsiteY179" fmla="*/ 217842 h 315394"/>
                      <a:gd name="connsiteX180" fmla="*/ 184730 w 294107"/>
                      <a:gd name="connsiteY180" fmla="*/ 218975 h 315394"/>
                      <a:gd name="connsiteX181" fmla="*/ 183947 w 294107"/>
                      <a:gd name="connsiteY181" fmla="*/ 218356 h 315394"/>
                      <a:gd name="connsiteX182" fmla="*/ 184038 w 294107"/>
                      <a:gd name="connsiteY182" fmla="*/ 216375 h 315394"/>
                      <a:gd name="connsiteX183" fmla="*/ 179367 w 294107"/>
                      <a:gd name="connsiteY183" fmla="*/ 207517 h 315394"/>
                      <a:gd name="connsiteX184" fmla="*/ 176238 w 294107"/>
                      <a:gd name="connsiteY184" fmla="*/ 203898 h 315394"/>
                      <a:gd name="connsiteX185" fmla="*/ 174657 w 294107"/>
                      <a:gd name="connsiteY185" fmla="*/ 203262 h 315394"/>
                      <a:gd name="connsiteX186" fmla="*/ 171813 w 294107"/>
                      <a:gd name="connsiteY186" fmla="*/ 204020 h 315394"/>
                      <a:gd name="connsiteX187" fmla="*/ 167029 w 294107"/>
                      <a:gd name="connsiteY187" fmla="*/ 202439 h 315394"/>
                      <a:gd name="connsiteX188" fmla="*/ 164168 w 294107"/>
                      <a:gd name="connsiteY188" fmla="*/ 202089 h 315394"/>
                      <a:gd name="connsiteX189" fmla="*/ 162595 w 294107"/>
                      <a:gd name="connsiteY189" fmla="*/ 202472 h 315394"/>
                      <a:gd name="connsiteX190" fmla="*/ 160248 w 294107"/>
                      <a:gd name="connsiteY190" fmla="*/ 203629 h 315394"/>
                      <a:gd name="connsiteX191" fmla="*/ 159067 w 294107"/>
                      <a:gd name="connsiteY191" fmla="*/ 202855 h 315394"/>
                      <a:gd name="connsiteX192" fmla="*/ 158643 w 294107"/>
                      <a:gd name="connsiteY192" fmla="*/ 201673 h 315394"/>
                      <a:gd name="connsiteX193" fmla="*/ 154299 w 294107"/>
                      <a:gd name="connsiteY193" fmla="*/ 197990 h 315394"/>
                      <a:gd name="connsiteX194" fmla="*/ 148887 w 294107"/>
                      <a:gd name="connsiteY194" fmla="*/ 195903 h 315394"/>
                      <a:gd name="connsiteX195" fmla="*/ 138342 w 294107"/>
                      <a:gd name="connsiteY195" fmla="*/ 184151 h 315394"/>
                      <a:gd name="connsiteX196" fmla="*/ 135114 w 294107"/>
                      <a:gd name="connsiteY196" fmla="*/ 179750 h 315394"/>
                      <a:gd name="connsiteX197" fmla="*/ 128464 w 294107"/>
                      <a:gd name="connsiteY197" fmla="*/ 174901 h 315394"/>
                      <a:gd name="connsiteX198" fmla="*/ 124243 w 294107"/>
                      <a:gd name="connsiteY198" fmla="*/ 167827 h 315394"/>
                      <a:gd name="connsiteX199" fmla="*/ 120811 w 294107"/>
                      <a:gd name="connsiteY199" fmla="*/ 165236 h 315394"/>
                      <a:gd name="connsiteX200" fmla="*/ 115791 w 294107"/>
                      <a:gd name="connsiteY200" fmla="*/ 163158 h 315394"/>
                      <a:gd name="connsiteX201" fmla="*/ 114634 w 294107"/>
                      <a:gd name="connsiteY201" fmla="*/ 163418 h 315394"/>
                      <a:gd name="connsiteX202" fmla="*/ 113118 w 294107"/>
                      <a:gd name="connsiteY202" fmla="*/ 164193 h 315394"/>
                      <a:gd name="connsiteX203" fmla="*/ 111945 w 294107"/>
                      <a:gd name="connsiteY203" fmla="*/ 164307 h 315394"/>
                      <a:gd name="connsiteX204" fmla="*/ 111007 w 294107"/>
                      <a:gd name="connsiteY204" fmla="*/ 163386 h 315394"/>
                      <a:gd name="connsiteX205" fmla="*/ 111953 w 294107"/>
                      <a:gd name="connsiteY205" fmla="*/ 162432 h 315394"/>
                      <a:gd name="connsiteX206" fmla="*/ 113020 w 294107"/>
                      <a:gd name="connsiteY206" fmla="*/ 162009 h 315394"/>
                      <a:gd name="connsiteX207" fmla="*/ 112605 w 294107"/>
                      <a:gd name="connsiteY207" fmla="*/ 159303 h 315394"/>
                      <a:gd name="connsiteX208" fmla="*/ 106900 w 294107"/>
                      <a:gd name="connsiteY208" fmla="*/ 152278 h 315394"/>
                      <a:gd name="connsiteX209" fmla="*/ 103559 w 294107"/>
                      <a:gd name="connsiteY209" fmla="*/ 150012 h 315394"/>
                      <a:gd name="connsiteX210" fmla="*/ 102613 w 294107"/>
                      <a:gd name="connsiteY210" fmla="*/ 148618 h 315394"/>
                      <a:gd name="connsiteX211" fmla="*/ 101912 w 294107"/>
                      <a:gd name="connsiteY211" fmla="*/ 146711 h 315394"/>
                      <a:gd name="connsiteX212" fmla="*/ 101212 w 294107"/>
                      <a:gd name="connsiteY212" fmla="*/ 145448 h 315394"/>
                      <a:gd name="connsiteX213" fmla="*/ 99622 w 294107"/>
                      <a:gd name="connsiteY213" fmla="*/ 144731 h 315394"/>
                      <a:gd name="connsiteX214" fmla="*/ 98269 w 294107"/>
                      <a:gd name="connsiteY214" fmla="*/ 144853 h 315394"/>
                      <a:gd name="connsiteX215" fmla="*/ 96403 w 294107"/>
                      <a:gd name="connsiteY215" fmla="*/ 144372 h 315394"/>
                      <a:gd name="connsiteX216" fmla="*/ 96468 w 294107"/>
                      <a:gd name="connsiteY216" fmla="*/ 140998 h 315394"/>
                      <a:gd name="connsiteX217" fmla="*/ 96835 w 294107"/>
                      <a:gd name="connsiteY217" fmla="*/ 138399 h 315394"/>
                      <a:gd name="connsiteX218" fmla="*/ 96558 w 294107"/>
                      <a:gd name="connsiteY218" fmla="*/ 136198 h 315394"/>
                      <a:gd name="connsiteX219" fmla="*/ 94749 w 294107"/>
                      <a:gd name="connsiteY219" fmla="*/ 130396 h 315394"/>
                      <a:gd name="connsiteX220" fmla="*/ 91595 w 294107"/>
                      <a:gd name="connsiteY220" fmla="*/ 125473 h 315394"/>
                      <a:gd name="connsiteX221" fmla="*/ 89737 w 294107"/>
                      <a:gd name="connsiteY221" fmla="*/ 113689 h 315394"/>
                      <a:gd name="connsiteX222" fmla="*/ 88303 w 294107"/>
                      <a:gd name="connsiteY222" fmla="*/ 110372 h 315394"/>
                      <a:gd name="connsiteX223" fmla="*/ 84831 w 294107"/>
                      <a:gd name="connsiteY223" fmla="*/ 107854 h 315394"/>
                      <a:gd name="connsiteX224" fmla="*/ 76966 w 294107"/>
                      <a:gd name="connsiteY224" fmla="*/ 105026 h 315394"/>
                      <a:gd name="connsiteX225" fmla="*/ 66013 w 294107"/>
                      <a:gd name="connsiteY225" fmla="*/ 97414 h 315394"/>
                      <a:gd name="connsiteX226" fmla="*/ 63698 w 294107"/>
                      <a:gd name="connsiteY226" fmla="*/ 97283 h 315394"/>
                      <a:gd name="connsiteX227" fmla="*/ 57105 w 294107"/>
                      <a:gd name="connsiteY227" fmla="*/ 94333 h 315394"/>
                      <a:gd name="connsiteX228" fmla="*/ 53030 w 294107"/>
                      <a:gd name="connsiteY228" fmla="*/ 93820 h 315394"/>
                      <a:gd name="connsiteX229" fmla="*/ 47725 w 294107"/>
                      <a:gd name="connsiteY229" fmla="*/ 96477 h 315394"/>
                      <a:gd name="connsiteX230" fmla="*/ 41286 w 294107"/>
                      <a:gd name="connsiteY230" fmla="*/ 103795 h 315394"/>
                      <a:gd name="connsiteX231" fmla="*/ 36055 w 294107"/>
                      <a:gd name="connsiteY231" fmla="*/ 111374 h 315394"/>
                      <a:gd name="connsiteX232" fmla="*/ 34164 w 294107"/>
                      <a:gd name="connsiteY232" fmla="*/ 112841 h 315394"/>
                      <a:gd name="connsiteX233" fmla="*/ 27424 w 294107"/>
                      <a:gd name="connsiteY233" fmla="*/ 115417 h 315394"/>
                      <a:gd name="connsiteX234" fmla="*/ 21458 w 294107"/>
                      <a:gd name="connsiteY234" fmla="*/ 116647 h 315394"/>
                      <a:gd name="connsiteX235" fmla="*/ 21401 w 294107"/>
                      <a:gd name="connsiteY235" fmla="*/ 114707 h 315394"/>
                      <a:gd name="connsiteX236" fmla="*/ 21189 w 294107"/>
                      <a:gd name="connsiteY236" fmla="*/ 113241 h 315394"/>
                      <a:gd name="connsiteX237" fmla="*/ 22192 w 294107"/>
                      <a:gd name="connsiteY237" fmla="*/ 111643 h 315394"/>
                      <a:gd name="connsiteX238" fmla="*/ 23854 w 294107"/>
                      <a:gd name="connsiteY238" fmla="*/ 109752 h 315394"/>
                      <a:gd name="connsiteX239" fmla="*/ 25395 w 294107"/>
                      <a:gd name="connsiteY239" fmla="*/ 107381 h 315394"/>
                      <a:gd name="connsiteX240" fmla="*/ 26030 w 294107"/>
                      <a:gd name="connsiteY240" fmla="*/ 105653 h 315394"/>
                      <a:gd name="connsiteX241" fmla="*/ 25729 w 294107"/>
                      <a:gd name="connsiteY241" fmla="*/ 104504 h 315394"/>
                      <a:gd name="connsiteX242" fmla="*/ 25044 w 294107"/>
                      <a:gd name="connsiteY242" fmla="*/ 102801 h 315394"/>
                      <a:gd name="connsiteX243" fmla="*/ 24107 w 294107"/>
                      <a:gd name="connsiteY243" fmla="*/ 102678 h 315394"/>
                      <a:gd name="connsiteX244" fmla="*/ 18435 w 294107"/>
                      <a:gd name="connsiteY244" fmla="*/ 104105 h 315394"/>
                      <a:gd name="connsiteX245" fmla="*/ 17139 w 294107"/>
                      <a:gd name="connsiteY245" fmla="*/ 103738 h 315394"/>
                      <a:gd name="connsiteX246" fmla="*/ 12942 w 294107"/>
                      <a:gd name="connsiteY246" fmla="*/ 101521 h 315394"/>
                      <a:gd name="connsiteX247" fmla="*/ 8427 w 294107"/>
                      <a:gd name="connsiteY247" fmla="*/ 98783 h 315394"/>
                      <a:gd name="connsiteX248" fmla="*/ 6764 w 294107"/>
                      <a:gd name="connsiteY248" fmla="*/ 96843 h 315394"/>
                      <a:gd name="connsiteX249" fmla="*/ 6120 w 294107"/>
                      <a:gd name="connsiteY249" fmla="*/ 94871 h 315394"/>
                      <a:gd name="connsiteX250" fmla="*/ 6601 w 294107"/>
                      <a:gd name="connsiteY250" fmla="*/ 93608 h 315394"/>
                      <a:gd name="connsiteX251" fmla="*/ 6218 w 294107"/>
                      <a:gd name="connsiteY251" fmla="*/ 92385 h 315394"/>
                      <a:gd name="connsiteX252" fmla="*/ 5338 w 294107"/>
                      <a:gd name="connsiteY252" fmla="*/ 90731 h 315394"/>
                      <a:gd name="connsiteX253" fmla="*/ 6137 w 294107"/>
                      <a:gd name="connsiteY253" fmla="*/ 88848 h 315394"/>
                      <a:gd name="connsiteX254" fmla="*/ 7547 w 294107"/>
                      <a:gd name="connsiteY254" fmla="*/ 86501 h 315394"/>
                      <a:gd name="connsiteX255" fmla="*/ 8248 w 294107"/>
                      <a:gd name="connsiteY255" fmla="*/ 84904 h 315394"/>
                      <a:gd name="connsiteX256" fmla="*/ 9429 w 294107"/>
                      <a:gd name="connsiteY256" fmla="*/ 84496 h 315394"/>
                      <a:gd name="connsiteX257" fmla="*/ 9992 w 294107"/>
                      <a:gd name="connsiteY257" fmla="*/ 83518 h 315394"/>
                      <a:gd name="connsiteX258" fmla="*/ 9055 w 294107"/>
                      <a:gd name="connsiteY258" fmla="*/ 79647 h 315394"/>
                      <a:gd name="connsiteX259" fmla="*/ 8557 w 294107"/>
                      <a:gd name="connsiteY259" fmla="*/ 79028 h 315394"/>
                      <a:gd name="connsiteX260" fmla="*/ 7742 w 294107"/>
                      <a:gd name="connsiteY260" fmla="*/ 78539 h 315394"/>
                      <a:gd name="connsiteX261" fmla="*/ 6495 w 294107"/>
                      <a:gd name="connsiteY261" fmla="*/ 78498 h 315394"/>
                      <a:gd name="connsiteX262" fmla="*/ 4295 w 294107"/>
                      <a:gd name="connsiteY262" fmla="*/ 77691 h 315394"/>
                      <a:gd name="connsiteX263" fmla="*/ 2738 w 294107"/>
                      <a:gd name="connsiteY263" fmla="*/ 76347 h 315394"/>
                      <a:gd name="connsiteX264" fmla="*/ 2412 w 294107"/>
                      <a:gd name="connsiteY264" fmla="*/ 74537 h 315394"/>
                      <a:gd name="connsiteX265" fmla="*/ 1581 w 294107"/>
                      <a:gd name="connsiteY265" fmla="*/ 72802 h 315394"/>
                      <a:gd name="connsiteX266" fmla="*/ 163 w 294107"/>
                      <a:gd name="connsiteY266" fmla="*/ 71204 h 315394"/>
                      <a:gd name="connsiteX267" fmla="*/ 0 w 294107"/>
                      <a:gd name="connsiteY267" fmla="*/ 69452 h 315394"/>
                      <a:gd name="connsiteX268" fmla="*/ 1606 w 294107"/>
                      <a:gd name="connsiteY268" fmla="*/ 68531 h 315394"/>
                      <a:gd name="connsiteX269" fmla="*/ 3781 w 294107"/>
                      <a:gd name="connsiteY269" fmla="*/ 68490 h 315394"/>
                      <a:gd name="connsiteX270" fmla="*/ 5313 w 294107"/>
                      <a:gd name="connsiteY270" fmla="*/ 68833 h 315394"/>
                      <a:gd name="connsiteX271" fmla="*/ 8761 w 294107"/>
                      <a:gd name="connsiteY271" fmla="*/ 66021 h 315394"/>
                      <a:gd name="connsiteX272" fmla="*/ 10040 w 294107"/>
                      <a:gd name="connsiteY272" fmla="*/ 65776 h 315394"/>
                      <a:gd name="connsiteX273" fmla="*/ 11182 w 294107"/>
                      <a:gd name="connsiteY273" fmla="*/ 65173 h 315394"/>
                      <a:gd name="connsiteX274" fmla="*/ 12127 w 294107"/>
                      <a:gd name="connsiteY274" fmla="*/ 61343 h 315394"/>
                      <a:gd name="connsiteX275" fmla="*/ 12868 w 294107"/>
                      <a:gd name="connsiteY275" fmla="*/ 60194 h 315394"/>
                      <a:gd name="connsiteX276" fmla="*/ 13039 w 294107"/>
                      <a:gd name="connsiteY276" fmla="*/ 59517 h 315394"/>
                      <a:gd name="connsiteX277" fmla="*/ 12355 w 294107"/>
                      <a:gd name="connsiteY277" fmla="*/ 58711 h 315394"/>
                      <a:gd name="connsiteX278" fmla="*/ 9568 w 294107"/>
                      <a:gd name="connsiteY278" fmla="*/ 56005 h 315394"/>
                      <a:gd name="connsiteX279" fmla="*/ 8296 w 294107"/>
                      <a:gd name="connsiteY279" fmla="*/ 53193 h 315394"/>
                      <a:gd name="connsiteX280" fmla="*/ 6291 w 294107"/>
                      <a:gd name="connsiteY280" fmla="*/ 50023 h 315394"/>
                      <a:gd name="connsiteX281" fmla="*/ 4426 w 294107"/>
                      <a:gd name="connsiteY281" fmla="*/ 48629 h 315394"/>
                      <a:gd name="connsiteX282" fmla="*/ 4050 w 294107"/>
                      <a:gd name="connsiteY282" fmla="*/ 47537 h 315394"/>
                      <a:gd name="connsiteX283" fmla="*/ 4002 w 294107"/>
                      <a:gd name="connsiteY283" fmla="*/ 46152 h 315394"/>
                      <a:gd name="connsiteX284" fmla="*/ 4393 w 294107"/>
                      <a:gd name="connsiteY284" fmla="*/ 44938 h 315394"/>
                      <a:gd name="connsiteX285" fmla="*/ 7775 w 294107"/>
                      <a:gd name="connsiteY285" fmla="*/ 43039 h 315394"/>
                      <a:gd name="connsiteX286" fmla="*/ 9747 w 294107"/>
                      <a:gd name="connsiteY286" fmla="*/ 41018 h 315394"/>
                      <a:gd name="connsiteX287" fmla="*/ 10611 w 294107"/>
                      <a:gd name="connsiteY287" fmla="*/ 41792 h 315394"/>
                      <a:gd name="connsiteX288" fmla="*/ 12429 w 294107"/>
                      <a:gd name="connsiteY288" fmla="*/ 42615 h 315394"/>
                      <a:gd name="connsiteX289" fmla="*/ 17359 w 294107"/>
                      <a:gd name="connsiteY289" fmla="*/ 41490 h 315394"/>
                      <a:gd name="connsiteX290" fmla="*/ 20432 w 294107"/>
                      <a:gd name="connsiteY290" fmla="*/ 40349 h 315394"/>
                      <a:gd name="connsiteX291" fmla="*/ 22591 w 294107"/>
                      <a:gd name="connsiteY291" fmla="*/ 39159 h 315394"/>
                      <a:gd name="connsiteX292" fmla="*/ 23936 w 294107"/>
                      <a:gd name="connsiteY292" fmla="*/ 39371 h 315394"/>
                      <a:gd name="connsiteX293" fmla="*/ 28769 w 294107"/>
                      <a:gd name="connsiteY293" fmla="*/ 41156 h 315394"/>
                      <a:gd name="connsiteX294" fmla="*/ 30374 w 294107"/>
                      <a:gd name="connsiteY294" fmla="*/ 40243 h 315394"/>
                      <a:gd name="connsiteX295" fmla="*/ 33870 w 294107"/>
                      <a:gd name="connsiteY295" fmla="*/ 37831 h 315394"/>
                      <a:gd name="connsiteX296" fmla="*/ 34384 w 294107"/>
                      <a:gd name="connsiteY296" fmla="*/ 36560 h 315394"/>
                      <a:gd name="connsiteX297" fmla="*/ 37138 w 294107"/>
                      <a:gd name="connsiteY297" fmla="*/ 32705 h 315394"/>
                      <a:gd name="connsiteX298" fmla="*/ 37196 w 294107"/>
                      <a:gd name="connsiteY298" fmla="*/ 31760 h 315394"/>
                      <a:gd name="connsiteX299" fmla="*/ 36055 w 294107"/>
                      <a:gd name="connsiteY299" fmla="*/ 29339 h 315394"/>
                      <a:gd name="connsiteX300" fmla="*/ 36405 w 294107"/>
                      <a:gd name="connsiteY300" fmla="*/ 28801 h 315394"/>
                      <a:gd name="connsiteX301" fmla="*/ 39779 w 294107"/>
                      <a:gd name="connsiteY301" fmla="*/ 26316 h 315394"/>
                      <a:gd name="connsiteX302" fmla="*/ 41450 w 294107"/>
                      <a:gd name="connsiteY302" fmla="*/ 24115 h 315394"/>
                      <a:gd name="connsiteX303" fmla="*/ 43226 w 294107"/>
                      <a:gd name="connsiteY303" fmla="*/ 22632 h 315394"/>
                      <a:gd name="connsiteX304" fmla="*/ 44514 w 294107"/>
                      <a:gd name="connsiteY304" fmla="*/ 22607 h 315394"/>
                      <a:gd name="connsiteX305" fmla="*/ 44864 w 294107"/>
                      <a:gd name="connsiteY305" fmla="*/ 23113 h 315394"/>
                      <a:gd name="connsiteX306" fmla="*/ 45019 w 294107"/>
                      <a:gd name="connsiteY306" fmla="*/ 24139 h 315394"/>
                      <a:gd name="connsiteX307" fmla="*/ 44905 w 294107"/>
                      <a:gd name="connsiteY307" fmla="*/ 28386 h 315394"/>
                      <a:gd name="connsiteX308" fmla="*/ 45410 w 294107"/>
                      <a:gd name="connsiteY308" fmla="*/ 29698 h 315394"/>
                      <a:gd name="connsiteX309" fmla="*/ 48059 w 294107"/>
                      <a:gd name="connsiteY309" fmla="*/ 32737 h 315394"/>
                      <a:gd name="connsiteX310" fmla="*/ 49958 w 294107"/>
                      <a:gd name="connsiteY310" fmla="*/ 34473 h 315394"/>
                      <a:gd name="connsiteX311" fmla="*/ 54343 w 294107"/>
                      <a:gd name="connsiteY311" fmla="*/ 35663 h 315394"/>
                      <a:gd name="connsiteX312" fmla="*/ 54546 w 294107"/>
                      <a:gd name="connsiteY312" fmla="*/ 36234 h 315394"/>
                      <a:gd name="connsiteX313" fmla="*/ 53340 w 294107"/>
                      <a:gd name="connsiteY313" fmla="*/ 38524 h 315394"/>
                      <a:gd name="connsiteX314" fmla="*/ 55989 w 294107"/>
                      <a:gd name="connsiteY314" fmla="*/ 41262 h 315394"/>
                      <a:gd name="connsiteX315" fmla="*/ 56461 w 294107"/>
                      <a:gd name="connsiteY315" fmla="*/ 43267 h 315394"/>
                      <a:gd name="connsiteX316" fmla="*/ 57692 w 294107"/>
                      <a:gd name="connsiteY316" fmla="*/ 44392 h 315394"/>
                      <a:gd name="connsiteX317" fmla="*/ 59428 w 294107"/>
                      <a:gd name="connsiteY317" fmla="*/ 43845 h 315394"/>
                      <a:gd name="connsiteX318" fmla="*/ 59998 w 294107"/>
                      <a:gd name="connsiteY318" fmla="*/ 42778 h 315394"/>
                      <a:gd name="connsiteX319" fmla="*/ 59314 w 294107"/>
                      <a:gd name="connsiteY319" fmla="*/ 40928 h 315394"/>
                      <a:gd name="connsiteX320" fmla="*/ 58809 w 294107"/>
                      <a:gd name="connsiteY320" fmla="*/ 38980 h 315394"/>
                      <a:gd name="connsiteX321" fmla="*/ 58906 w 294107"/>
                      <a:gd name="connsiteY321" fmla="*/ 37864 h 315394"/>
                      <a:gd name="connsiteX322" fmla="*/ 59387 w 294107"/>
                      <a:gd name="connsiteY322" fmla="*/ 36576 h 315394"/>
                      <a:gd name="connsiteX323" fmla="*/ 60593 w 294107"/>
                      <a:gd name="connsiteY323" fmla="*/ 34775 h 315394"/>
                      <a:gd name="connsiteX324" fmla="*/ 63878 w 294107"/>
                      <a:gd name="connsiteY324" fmla="*/ 30643 h 315394"/>
                      <a:gd name="connsiteX325" fmla="*/ 65068 w 294107"/>
                      <a:gd name="connsiteY325" fmla="*/ 28247 h 315394"/>
                      <a:gd name="connsiteX326" fmla="*/ 65279 w 294107"/>
                      <a:gd name="connsiteY326" fmla="*/ 24547 h 315394"/>
                      <a:gd name="connsiteX327" fmla="*/ 65287 w 294107"/>
                      <a:gd name="connsiteY327" fmla="*/ 21572 h 315394"/>
                      <a:gd name="connsiteX328" fmla="*/ 66380 w 294107"/>
                      <a:gd name="connsiteY328" fmla="*/ 20847 h 315394"/>
                      <a:gd name="connsiteX329" fmla="*/ 68743 w 294107"/>
                      <a:gd name="connsiteY329" fmla="*/ 21377 h 315394"/>
                      <a:gd name="connsiteX330" fmla="*/ 69444 w 294107"/>
                      <a:gd name="connsiteY330" fmla="*/ 21320 h 315394"/>
                      <a:gd name="connsiteX331" fmla="*/ 69762 w 294107"/>
                      <a:gd name="connsiteY331" fmla="*/ 23145 h 315394"/>
                      <a:gd name="connsiteX332" fmla="*/ 70772 w 294107"/>
                      <a:gd name="connsiteY332" fmla="*/ 26055 h 315394"/>
                      <a:gd name="connsiteX333" fmla="*/ 71946 w 294107"/>
                      <a:gd name="connsiteY333" fmla="*/ 27562 h 315394"/>
                      <a:gd name="connsiteX334" fmla="*/ 73209 w 294107"/>
                      <a:gd name="connsiteY334" fmla="*/ 27921 h 315394"/>
                      <a:gd name="connsiteX335" fmla="*/ 74701 w 294107"/>
                      <a:gd name="connsiteY335" fmla="*/ 27929 h 315394"/>
                      <a:gd name="connsiteX336" fmla="*/ 78384 w 294107"/>
                      <a:gd name="connsiteY336" fmla="*/ 26152 h 315394"/>
                      <a:gd name="connsiteX337" fmla="*/ 80780 w 294107"/>
                      <a:gd name="connsiteY337" fmla="*/ 25378 h 315394"/>
                      <a:gd name="connsiteX338" fmla="*/ 82133 w 294107"/>
                      <a:gd name="connsiteY338" fmla="*/ 25590 h 315394"/>
                      <a:gd name="connsiteX339" fmla="*/ 82940 w 294107"/>
                      <a:gd name="connsiteY339" fmla="*/ 26796 h 315394"/>
                      <a:gd name="connsiteX340" fmla="*/ 84651 w 294107"/>
                      <a:gd name="connsiteY340" fmla="*/ 29975 h 315394"/>
                      <a:gd name="connsiteX341" fmla="*/ 85637 w 294107"/>
                      <a:gd name="connsiteY341" fmla="*/ 30325 h 315394"/>
                      <a:gd name="connsiteX342" fmla="*/ 86819 w 294107"/>
                      <a:gd name="connsiteY342" fmla="*/ 29967 h 315394"/>
                      <a:gd name="connsiteX343" fmla="*/ 87243 w 294107"/>
                      <a:gd name="connsiteY343" fmla="*/ 29429 h 315394"/>
                      <a:gd name="connsiteX344" fmla="*/ 86860 w 294107"/>
                      <a:gd name="connsiteY344" fmla="*/ 28206 h 315394"/>
                      <a:gd name="connsiteX345" fmla="*/ 86355 w 294107"/>
                      <a:gd name="connsiteY345" fmla="*/ 25558 h 315394"/>
                      <a:gd name="connsiteX346" fmla="*/ 85670 w 294107"/>
                      <a:gd name="connsiteY346" fmla="*/ 23504 h 315394"/>
                      <a:gd name="connsiteX347" fmla="*/ 84773 w 294107"/>
                      <a:gd name="connsiteY347" fmla="*/ 22534 h 315394"/>
                      <a:gd name="connsiteX348" fmla="*/ 84594 w 294107"/>
                      <a:gd name="connsiteY348" fmla="*/ 21287 h 315394"/>
                      <a:gd name="connsiteX349" fmla="*/ 85165 w 294107"/>
                      <a:gd name="connsiteY349" fmla="*/ 19030 h 315394"/>
                      <a:gd name="connsiteX350" fmla="*/ 85801 w 294107"/>
                      <a:gd name="connsiteY350" fmla="*/ 17147 h 315394"/>
                      <a:gd name="connsiteX351" fmla="*/ 87048 w 294107"/>
                      <a:gd name="connsiteY351" fmla="*/ 16634 h 315394"/>
                      <a:gd name="connsiteX352" fmla="*/ 88490 w 294107"/>
                      <a:gd name="connsiteY352" fmla="*/ 16405 h 315394"/>
                      <a:gd name="connsiteX353" fmla="*/ 90389 w 294107"/>
                      <a:gd name="connsiteY353" fmla="*/ 18386 h 315394"/>
                      <a:gd name="connsiteX354" fmla="*/ 92646 w 294107"/>
                      <a:gd name="connsiteY354" fmla="*/ 19021 h 315394"/>
                      <a:gd name="connsiteX355" fmla="*/ 94325 w 294107"/>
                      <a:gd name="connsiteY355" fmla="*/ 18916 h 315394"/>
                      <a:gd name="connsiteX356" fmla="*/ 94610 w 294107"/>
                      <a:gd name="connsiteY356" fmla="*/ 17750 h 315394"/>
                      <a:gd name="connsiteX357" fmla="*/ 94504 w 294107"/>
                      <a:gd name="connsiteY357" fmla="*/ 16479 h 315394"/>
                      <a:gd name="connsiteX358" fmla="*/ 93510 w 294107"/>
                      <a:gd name="connsiteY358" fmla="*/ 14832 h 315394"/>
                      <a:gd name="connsiteX359" fmla="*/ 93714 w 294107"/>
                      <a:gd name="connsiteY359" fmla="*/ 12355 h 315394"/>
                      <a:gd name="connsiteX360" fmla="*/ 94871 w 294107"/>
                      <a:gd name="connsiteY360" fmla="*/ 7734 h 315394"/>
                      <a:gd name="connsiteX361" fmla="*/ 95523 w 294107"/>
                      <a:gd name="connsiteY361" fmla="*/ 8076 h 315394"/>
                      <a:gd name="connsiteX362" fmla="*/ 98025 w 294107"/>
                      <a:gd name="connsiteY362" fmla="*/ 8133 h 315394"/>
                      <a:gd name="connsiteX363" fmla="*/ 100731 w 294107"/>
                      <a:gd name="connsiteY363" fmla="*/ 8386 h 315394"/>
                      <a:gd name="connsiteX364" fmla="*/ 102491 w 294107"/>
                      <a:gd name="connsiteY364" fmla="*/ 10277 h 315394"/>
                      <a:gd name="connsiteX365" fmla="*/ 104203 w 294107"/>
                      <a:gd name="connsiteY365" fmla="*/ 10921 h 315394"/>
                      <a:gd name="connsiteX366" fmla="*/ 106647 w 294107"/>
                      <a:gd name="connsiteY366" fmla="*/ 11124 h 315394"/>
                      <a:gd name="connsiteX367" fmla="*/ 108285 w 294107"/>
                      <a:gd name="connsiteY367" fmla="*/ 10855 h 315394"/>
                      <a:gd name="connsiteX368" fmla="*/ 109060 w 294107"/>
                      <a:gd name="connsiteY368" fmla="*/ 10146 h 315394"/>
                      <a:gd name="connsiteX369" fmla="*/ 110013 w 294107"/>
                      <a:gd name="connsiteY369" fmla="*/ 7938 h 315394"/>
                      <a:gd name="connsiteX370" fmla="*/ 111765 w 294107"/>
                      <a:gd name="connsiteY370" fmla="*/ 5191 h 315394"/>
                      <a:gd name="connsiteX371" fmla="*/ 114496 w 294107"/>
                      <a:gd name="connsiteY371" fmla="*/ 3798 h 315394"/>
                      <a:gd name="connsiteX372" fmla="*/ 119190 w 294107"/>
                      <a:gd name="connsiteY372" fmla="*/ 3529 h 315394"/>
                      <a:gd name="connsiteX373" fmla="*/ 121529 w 294107"/>
                      <a:gd name="connsiteY373" fmla="*/ 3015 h 315394"/>
                      <a:gd name="connsiteX374" fmla="*/ 123958 w 294107"/>
                      <a:gd name="connsiteY374" fmla="*/ 3048 h 315394"/>
                      <a:gd name="connsiteX375" fmla="*/ 125791 w 294107"/>
                      <a:gd name="connsiteY375" fmla="*/ 3472 h 315394"/>
                      <a:gd name="connsiteX376" fmla="*/ 127682 w 294107"/>
                      <a:gd name="connsiteY376" fmla="*/ 3423 h 315394"/>
                      <a:gd name="connsiteX377" fmla="*/ 132482 w 294107"/>
                      <a:gd name="connsiteY377" fmla="*/ 1508 h 315394"/>
                      <a:gd name="connsiteX378" fmla="*/ 137445 w 294107"/>
                      <a:gd name="connsiteY378" fmla="*/ 0 h 315394"/>
                      <a:gd name="connsiteX379" fmla="*/ 138130 w 294107"/>
                      <a:gd name="connsiteY379" fmla="*/ 261 h 315394"/>
                      <a:gd name="connsiteX380" fmla="*/ 138244 w 294107"/>
                      <a:gd name="connsiteY380" fmla="*/ 758 h 315394"/>
                      <a:gd name="connsiteX381" fmla="*/ 137348 w 294107"/>
                      <a:gd name="connsiteY381" fmla="*/ 1923 h 31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Lst>
                    <a:rect l="l" t="t" r="r" b="b"/>
                    <a:pathLst>
                      <a:path w="294107" h="315394">
                        <a:moveTo>
                          <a:pt x="136492" y="3472"/>
                        </a:moveTo>
                        <a:lnTo>
                          <a:pt x="137071" y="5232"/>
                        </a:lnTo>
                        <a:lnTo>
                          <a:pt x="139898" y="8761"/>
                        </a:lnTo>
                        <a:lnTo>
                          <a:pt x="141430" y="11467"/>
                        </a:lnTo>
                        <a:lnTo>
                          <a:pt x="142881" y="13504"/>
                        </a:lnTo>
                        <a:lnTo>
                          <a:pt x="145122" y="14572"/>
                        </a:lnTo>
                        <a:lnTo>
                          <a:pt x="148089" y="15224"/>
                        </a:lnTo>
                        <a:lnTo>
                          <a:pt x="150607" y="15460"/>
                        </a:lnTo>
                        <a:lnTo>
                          <a:pt x="153223" y="16226"/>
                        </a:lnTo>
                        <a:lnTo>
                          <a:pt x="162237" y="18109"/>
                        </a:lnTo>
                        <a:lnTo>
                          <a:pt x="166768" y="18638"/>
                        </a:lnTo>
                        <a:lnTo>
                          <a:pt x="170191" y="18720"/>
                        </a:lnTo>
                        <a:lnTo>
                          <a:pt x="175407" y="19975"/>
                        </a:lnTo>
                        <a:lnTo>
                          <a:pt x="174909" y="22004"/>
                        </a:lnTo>
                        <a:lnTo>
                          <a:pt x="173842" y="22518"/>
                        </a:lnTo>
                        <a:lnTo>
                          <a:pt x="172016" y="23699"/>
                        </a:lnTo>
                        <a:lnTo>
                          <a:pt x="169914" y="25329"/>
                        </a:lnTo>
                        <a:lnTo>
                          <a:pt x="167958" y="27155"/>
                        </a:lnTo>
                        <a:lnTo>
                          <a:pt x="167436" y="29135"/>
                        </a:lnTo>
                        <a:lnTo>
                          <a:pt x="167958" y="30439"/>
                        </a:lnTo>
                        <a:lnTo>
                          <a:pt x="168488" y="30879"/>
                        </a:lnTo>
                        <a:lnTo>
                          <a:pt x="169196" y="30488"/>
                        </a:lnTo>
                        <a:lnTo>
                          <a:pt x="170240" y="30725"/>
                        </a:lnTo>
                        <a:lnTo>
                          <a:pt x="171552" y="31442"/>
                        </a:lnTo>
                        <a:lnTo>
                          <a:pt x="173736" y="32134"/>
                        </a:lnTo>
                        <a:lnTo>
                          <a:pt x="173801" y="32811"/>
                        </a:lnTo>
                        <a:lnTo>
                          <a:pt x="173337" y="33691"/>
                        </a:lnTo>
                        <a:lnTo>
                          <a:pt x="171641" y="35248"/>
                        </a:lnTo>
                        <a:lnTo>
                          <a:pt x="170118" y="36992"/>
                        </a:lnTo>
                        <a:lnTo>
                          <a:pt x="169963" y="38067"/>
                        </a:lnTo>
                        <a:lnTo>
                          <a:pt x="170150" y="38850"/>
                        </a:lnTo>
                        <a:lnTo>
                          <a:pt x="170672" y="39314"/>
                        </a:lnTo>
                        <a:lnTo>
                          <a:pt x="172946" y="39111"/>
                        </a:lnTo>
                        <a:lnTo>
                          <a:pt x="173271" y="39746"/>
                        </a:lnTo>
                        <a:lnTo>
                          <a:pt x="172171" y="44245"/>
                        </a:lnTo>
                        <a:lnTo>
                          <a:pt x="172522" y="45019"/>
                        </a:lnTo>
                        <a:lnTo>
                          <a:pt x="174502" y="45736"/>
                        </a:lnTo>
                        <a:lnTo>
                          <a:pt x="175953" y="46820"/>
                        </a:lnTo>
                        <a:lnTo>
                          <a:pt x="178658" y="49673"/>
                        </a:lnTo>
                        <a:lnTo>
                          <a:pt x="179742" y="51979"/>
                        </a:lnTo>
                        <a:lnTo>
                          <a:pt x="179001" y="52753"/>
                        </a:lnTo>
                        <a:lnTo>
                          <a:pt x="177290" y="53136"/>
                        </a:lnTo>
                        <a:lnTo>
                          <a:pt x="175904" y="52941"/>
                        </a:lnTo>
                        <a:lnTo>
                          <a:pt x="177469" y="51547"/>
                        </a:lnTo>
                        <a:lnTo>
                          <a:pt x="173630" y="46470"/>
                        </a:lnTo>
                        <a:lnTo>
                          <a:pt x="171894" y="46486"/>
                        </a:lnTo>
                        <a:lnTo>
                          <a:pt x="169580" y="48629"/>
                        </a:lnTo>
                        <a:lnTo>
                          <a:pt x="163166" y="46462"/>
                        </a:lnTo>
                        <a:lnTo>
                          <a:pt x="161927" y="47334"/>
                        </a:lnTo>
                        <a:lnTo>
                          <a:pt x="161030" y="49053"/>
                        </a:lnTo>
                        <a:lnTo>
                          <a:pt x="158797" y="51180"/>
                        </a:lnTo>
                        <a:lnTo>
                          <a:pt x="155635" y="52126"/>
                        </a:lnTo>
                        <a:lnTo>
                          <a:pt x="152131" y="54465"/>
                        </a:lnTo>
                        <a:lnTo>
                          <a:pt x="148423" y="56119"/>
                        </a:lnTo>
                        <a:lnTo>
                          <a:pt x="145587" y="57374"/>
                        </a:lnTo>
                        <a:lnTo>
                          <a:pt x="143965" y="57154"/>
                        </a:lnTo>
                        <a:lnTo>
                          <a:pt x="146540" y="54440"/>
                        </a:lnTo>
                        <a:lnTo>
                          <a:pt x="145440" y="54391"/>
                        </a:lnTo>
                        <a:lnTo>
                          <a:pt x="142017" y="56306"/>
                        </a:lnTo>
                        <a:lnTo>
                          <a:pt x="140045" y="57920"/>
                        </a:lnTo>
                        <a:lnTo>
                          <a:pt x="139409" y="60642"/>
                        </a:lnTo>
                        <a:lnTo>
                          <a:pt x="138847" y="65116"/>
                        </a:lnTo>
                        <a:lnTo>
                          <a:pt x="140347" y="66306"/>
                        </a:lnTo>
                        <a:lnTo>
                          <a:pt x="142979" y="72198"/>
                        </a:lnTo>
                        <a:lnTo>
                          <a:pt x="146223" y="74717"/>
                        </a:lnTo>
                        <a:lnTo>
                          <a:pt x="145595" y="77121"/>
                        </a:lnTo>
                        <a:lnTo>
                          <a:pt x="144739" y="79020"/>
                        </a:lnTo>
                        <a:lnTo>
                          <a:pt x="142775" y="80666"/>
                        </a:lnTo>
                        <a:lnTo>
                          <a:pt x="141161" y="79444"/>
                        </a:lnTo>
                        <a:lnTo>
                          <a:pt x="140167" y="79476"/>
                        </a:lnTo>
                        <a:lnTo>
                          <a:pt x="139401" y="83315"/>
                        </a:lnTo>
                        <a:lnTo>
                          <a:pt x="140811" y="93567"/>
                        </a:lnTo>
                        <a:lnTo>
                          <a:pt x="143069" y="100747"/>
                        </a:lnTo>
                        <a:lnTo>
                          <a:pt x="145318" y="103868"/>
                        </a:lnTo>
                        <a:lnTo>
                          <a:pt x="150387" y="108734"/>
                        </a:lnTo>
                        <a:lnTo>
                          <a:pt x="155741" y="111293"/>
                        </a:lnTo>
                        <a:lnTo>
                          <a:pt x="165374" y="119467"/>
                        </a:lnTo>
                        <a:lnTo>
                          <a:pt x="170647" y="122050"/>
                        </a:lnTo>
                        <a:lnTo>
                          <a:pt x="172041" y="123452"/>
                        </a:lnTo>
                        <a:lnTo>
                          <a:pt x="175244" y="129744"/>
                        </a:lnTo>
                        <a:lnTo>
                          <a:pt x="177998" y="137005"/>
                        </a:lnTo>
                        <a:lnTo>
                          <a:pt x="180989" y="148382"/>
                        </a:lnTo>
                        <a:lnTo>
                          <a:pt x="183100" y="153973"/>
                        </a:lnTo>
                        <a:lnTo>
                          <a:pt x="187379" y="160289"/>
                        </a:lnTo>
                        <a:lnTo>
                          <a:pt x="196262" y="169319"/>
                        </a:lnTo>
                        <a:lnTo>
                          <a:pt x="204330" y="175912"/>
                        </a:lnTo>
                        <a:lnTo>
                          <a:pt x="211844" y="179979"/>
                        </a:lnTo>
                        <a:lnTo>
                          <a:pt x="217695" y="180696"/>
                        </a:lnTo>
                        <a:lnTo>
                          <a:pt x="231559" y="179799"/>
                        </a:lnTo>
                        <a:lnTo>
                          <a:pt x="233987" y="180182"/>
                        </a:lnTo>
                        <a:lnTo>
                          <a:pt x="236538" y="181274"/>
                        </a:lnTo>
                        <a:lnTo>
                          <a:pt x="237141" y="184102"/>
                        </a:lnTo>
                        <a:lnTo>
                          <a:pt x="236203" y="186009"/>
                        </a:lnTo>
                        <a:lnTo>
                          <a:pt x="233294" y="187982"/>
                        </a:lnTo>
                        <a:lnTo>
                          <a:pt x="230312" y="190720"/>
                        </a:lnTo>
                        <a:lnTo>
                          <a:pt x="229985" y="194453"/>
                        </a:lnTo>
                        <a:lnTo>
                          <a:pt x="232764" y="197077"/>
                        </a:lnTo>
                        <a:lnTo>
                          <a:pt x="246146" y="204029"/>
                        </a:lnTo>
                        <a:lnTo>
                          <a:pt x="259814" y="209831"/>
                        </a:lnTo>
                        <a:lnTo>
                          <a:pt x="264084" y="212790"/>
                        </a:lnTo>
                        <a:lnTo>
                          <a:pt x="269014" y="217394"/>
                        </a:lnTo>
                        <a:lnTo>
                          <a:pt x="280937" y="223710"/>
                        </a:lnTo>
                        <a:lnTo>
                          <a:pt x="282951" y="226774"/>
                        </a:lnTo>
                        <a:lnTo>
                          <a:pt x="290204" y="233384"/>
                        </a:lnTo>
                        <a:lnTo>
                          <a:pt x="293480" y="238469"/>
                        </a:lnTo>
                        <a:lnTo>
                          <a:pt x="294108" y="242406"/>
                        </a:lnTo>
                        <a:lnTo>
                          <a:pt x="292543" y="246407"/>
                        </a:lnTo>
                        <a:lnTo>
                          <a:pt x="291818" y="249235"/>
                        </a:lnTo>
                        <a:lnTo>
                          <a:pt x="290579" y="252022"/>
                        </a:lnTo>
                        <a:lnTo>
                          <a:pt x="287498" y="250963"/>
                        </a:lnTo>
                        <a:lnTo>
                          <a:pt x="283986" y="248102"/>
                        </a:lnTo>
                        <a:lnTo>
                          <a:pt x="278713" y="236456"/>
                        </a:lnTo>
                        <a:lnTo>
                          <a:pt x="269072" y="235275"/>
                        </a:lnTo>
                        <a:lnTo>
                          <a:pt x="267075" y="234411"/>
                        </a:lnTo>
                        <a:lnTo>
                          <a:pt x="263644" y="232422"/>
                        </a:lnTo>
                        <a:lnTo>
                          <a:pt x="263440" y="231102"/>
                        </a:lnTo>
                        <a:lnTo>
                          <a:pt x="262593" y="229447"/>
                        </a:lnTo>
                        <a:lnTo>
                          <a:pt x="261721" y="228893"/>
                        </a:lnTo>
                        <a:lnTo>
                          <a:pt x="258029" y="228527"/>
                        </a:lnTo>
                        <a:lnTo>
                          <a:pt x="255478" y="230417"/>
                        </a:lnTo>
                        <a:lnTo>
                          <a:pt x="252471" y="234883"/>
                        </a:lnTo>
                        <a:lnTo>
                          <a:pt x="249064" y="241314"/>
                        </a:lnTo>
                        <a:lnTo>
                          <a:pt x="245592" y="250727"/>
                        </a:lnTo>
                        <a:lnTo>
                          <a:pt x="245397" y="254516"/>
                        </a:lnTo>
                        <a:lnTo>
                          <a:pt x="247271" y="258192"/>
                        </a:lnTo>
                        <a:lnTo>
                          <a:pt x="252894" y="260237"/>
                        </a:lnTo>
                        <a:lnTo>
                          <a:pt x="257230" y="263513"/>
                        </a:lnTo>
                        <a:lnTo>
                          <a:pt x="260099" y="266928"/>
                        </a:lnTo>
                        <a:lnTo>
                          <a:pt x="260302" y="275159"/>
                        </a:lnTo>
                        <a:lnTo>
                          <a:pt x="261582" y="279829"/>
                        </a:lnTo>
                        <a:lnTo>
                          <a:pt x="259700" y="282478"/>
                        </a:lnTo>
                        <a:lnTo>
                          <a:pt x="256057" y="281785"/>
                        </a:lnTo>
                        <a:lnTo>
                          <a:pt x="251199" y="283480"/>
                        </a:lnTo>
                        <a:lnTo>
                          <a:pt x="247744" y="286496"/>
                        </a:lnTo>
                        <a:lnTo>
                          <a:pt x="246318" y="289364"/>
                        </a:lnTo>
                        <a:lnTo>
                          <a:pt x="246693" y="296805"/>
                        </a:lnTo>
                        <a:lnTo>
                          <a:pt x="245983" y="299641"/>
                        </a:lnTo>
                        <a:lnTo>
                          <a:pt x="239456" y="304987"/>
                        </a:lnTo>
                        <a:lnTo>
                          <a:pt x="236032" y="310464"/>
                        </a:lnTo>
                        <a:lnTo>
                          <a:pt x="235169" y="312730"/>
                        </a:lnTo>
                        <a:lnTo>
                          <a:pt x="233857" y="315305"/>
                        </a:lnTo>
                        <a:lnTo>
                          <a:pt x="225617" y="315395"/>
                        </a:lnTo>
                        <a:lnTo>
                          <a:pt x="223669" y="312208"/>
                        </a:lnTo>
                        <a:lnTo>
                          <a:pt x="223596" y="307473"/>
                        </a:lnTo>
                        <a:lnTo>
                          <a:pt x="225022" y="304564"/>
                        </a:lnTo>
                        <a:lnTo>
                          <a:pt x="228054" y="303203"/>
                        </a:lnTo>
                        <a:lnTo>
                          <a:pt x="230091" y="297147"/>
                        </a:lnTo>
                        <a:lnTo>
                          <a:pt x="229448" y="292763"/>
                        </a:lnTo>
                        <a:lnTo>
                          <a:pt x="230637" y="290815"/>
                        </a:lnTo>
                        <a:lnTo>
                          <a:pt x="231762" y="289438"/>
                        </a:lnTo>
                        <a:lnTo>
                          <a:pt x="234077" y="288639"/>
                        </a:lnTo>
                        <a:lnTo>
                          <a:pt x="237337" y="287873"/>
                        </a:lnTo>
                        <a:lnTo>
                          <a:pt x="237654" y="281752"/>
                        </a:lnTo>
                        <a:lnTo>
                          <a:pt x="235112" y="278965"/>
                        </a:lnTo>
                        <a:lnTo>
                          <a:pt x="234232" y="275070"/>
                        </a:lnTo>
                        <a:lnTo>
                          <a:pt x="233033" y="267841"/>
                        </a:lnTo>
                        <a:lnTo>
                          <a:pt x="228845" y="258615"/>
                        </a:lnTo>
                        <a:lnTo>
                          <a:pt x="226579" y="250368"/>
                        </a:lnTo>
                        <a:lnTo>
                          <a:pt x="224835" y="246301"/>
                        </a:lnTo>
                        <a:lnTo>
                          <a:pt x="222153" y="244174"/>
                        </a:lnTo>
                        <a:lnTo>
                          <a:pt x="217345" y="244199"/>
                        </a:lnTo>
                        <a:lnTo>
                          <a:pt x="214957" y="243595"/>
                        </a:lnTo>
                        <a:lnTo>
                          <a:pt x="206433" y="237858"/>
                        </a:lnTo>
                        <a:lnTo>
                          <a:pt x="205838" y="236986"/>
                        </a:lnTo>
                        <a:lnTo>
                          <a:pt x="205895" y="235462"/>
                        </a:lnTo>
                        <a:lnTo>
                          <a:pt x="207305" y="233148"/>
                        </a:lnTo>
                        <a:lnTo>
                          <a:pt x="206359" y="230034"/>
                        </a:lnTo>
                        <a:lnTo>
                          <a:pt x="205341" y="227076"/>
                        </a:lnTo>
                        <a:lnTo>
                          <a:pt x="203670" y="224566"/>
                        </a:lnTo>
                        <a:lnTo>
                          <a:pt x="201836" y="223254"/>
                        </a:lnTo>
                        <a:lnTo>
                          <a:pt x="198014" y="224061"/>
                        </a:lnTo>
                        <a:lnTo>
                          <a:pt x="196653" y="224680"/>
                        </a:lnTo>
                        <a:lnTo>
                          <a:pt x="194249" y="224468"/>
                        </a:lnTo>
                        <a:lnTo>
                          <a:pt x="192333" y="225585"/>
                        </a:lnTo>
                        <a:lnTo>
                          <a:pt x="191274" y="225625"/>
                        </a:lnTo>
                        <a:lnTo>
                          <a:pt x="194273" y="221200"/>
                        </a:lnTo>
                        <a:lnTo>
                          <a:pt x="193467" y="220157"/>
                        </a:lnTo>
                        <a:lnTo>
                          <a:pt x="190508" y="218339"/>
                        </a:lnTo>
                        <a:lnTo>
                          <a:pt x="186498" y="218071"/>
                        </a:lnTo>
                        <a:lnTo>
                          <a:pt x="185382" y="217842"/>
                        </a:lnTo>
                        <a:lnTo>
                          <a:pt x="184730" y="218975"/>
                        </a:lnTo>
                        <a:lnTo>
                          <a:pt x="183947" y="218356"/>
                        </a:lnTo>
                        <a:lnTo>
                          <a:pt x="184038" y="216375"/>
                        </a:lnTo>
                        <a:lnTo>
                          <a:pt x="179367" y="207517"/>
                        </a:lnTo>
                        <a:lnTo>
                          <a:pt x="176238" y="203898"/>
                        </a:lnTo>
                        <a:lnTo>
                          <a:pt x="174657" y="203262"/>
                        </a:lnTo>
                        <a:lnTo>
                          <a:pt x="171813" y="204020"/>
                        </a:lnTo>
                        <a:lnTo>
                          <a:pt x="167029" y="202439"/>
                        </a:lnTo>
                        <a:lnTo>
                          <a:pt x="164168" y="202089"/>
                        </a:lnTo>
                        <a:lnTo>
                          <a:pt x="162595" y="202472"/>
                        </a:lnTo>
                        <a:lnTo>
                          <a:pt x="160248" y="203629"/>
                        </a:lnTo>
                        <a:lnTo>
                          <a:pt x="159067" y="202855"/>
                        </a:lnTo>
                        <a:lnTo>
                          <a:pt x="158643" y="201673"/>
                        </a:lnTo>
                        <a:lnTo>
                          <a:pt x="154299" y="197990"/>
                        </a:lnTo>
                        <a:lnTo>
                          <a:pt x="148887" y="195903"/>
                        </a:lnTo>
                        <a:lnTo>
                          <a:pt x="138342" y="184151"/>
                        </a:lnTo>
                        <a:lnTo>
                          <a:pt x="135114" y="179750"/>
                        </a:lnTo>
                        <a:lnTo>
                          <a:pt x="128464" y="174901"/>
                        </a:lnTo>
                        <a:lnTo>
                          <a:pt x="124243" y="167827"/>
                        </a:lnTo>
                        <a:lnTo>
                          <a:pt x="120811" y="165236"/>
                        </a:lnTo>
                        <a:lnTo>
                          <a:pt x="115791" y="163158"/>
                        </a:lnTo>
                        <a:lnTo>
                          <a:pt x="114634" y="163418"/>
                        </a:lnTo>
                        <a:lnTo>
                          <a:pt x="113118" y="164193"/>
                        </a:lnTo>
                        <a:lnTo>
                          <a:pt x="111945" y="164307"/>
                        </a:lnTo>
                        <a:lnTo>
                          <a:pt x="111007" y="163386"/>
                        </a:lnTo>
                        <a:lnTo>
                          <a:pt x="111953" y="162432"/>
                        </a:lnTo>
                        <a:lnTo>
                          <a:pt x="113020" y="162009"/>
                        </a:lnTo>
                        <a:lnTo>
                          <a:pt x="112605" y="159303"/>
                        </a:lnTo>
                        <a:lnTo>
                          <a:pt x="106900" y="152278"/>
                        </a:lnTo>
                        <a:lnTo>
                          <a:pt x="103559" y="150012"/>
                        </a:lnTo>
                        <a:lnTo>
                          <a:pt x="102613" y="148618"/>
                        </a:lnTo>
                        <a:lnTo>
                          <a:pt x="101912" y="146711"/>
                        </a:lnTo>
                        <a:lnTo>
                          <a:pt x="101212" y="145448"/>
                        </a:lnTo>
                        <a:lnTo>
                          <a:pt x="99622" y="144731"/>
                        </a:lnTo>
                        <a:lnTo>
                          <a:pt x="98269" y="144853"/>
                        </a:lnTo>
                        <a:lnTo>
                          <a:pt x="96403" y="144372"/>
                        </a:lnTo>
                        <a:lnTo>
                          <a:pt x="96468" y="140998"/>
                        </a:lnTo>
                        <a:lnTo>
                          <a:pt x="96835" y="138399"/>
                        </a:lnTo>
                        <a:lnTo>
                          <a:pt x="96558" y="136198"/>
                        </a:lnTo>
                        <a:lnTo>
                          <a:pt x="94749" y="130396"/>
                        </a:lnTo>
                        <a:lnTo>
                          <a:pt x="91595" y="125473"/>
                        </a:lnTo>
                        <a:lnTo>
                          <a:pt x="89737" y="113689"/>
                        </a:lnTo>
                        <a:lnTo>
                          <a:pt x="88303" y="110372"/>
                        </a:lnTo>
                        <a:lnTo>
                          <a:pt x="84831" y="107854"/>
                        </a:lnTo>
                        <a:lnTo>
                          <a:pt x="76966" y="105026"/>
                        </a:lnTo>
                        <a:lnTo>
                          <a:pt x="66013" y="97414"/>
                        </a:lnTo>
                        <a:lnTo>
                          <a:pt x="63698" y="97283"/>
                        </a:lnTo>
                        <a:lnTo>
                          <a:pt x="57105" y="94333"/>
                        </a:lnTo>
                        <a:lnTo>
                          <a:pt x="53030" y="93820"/>
                        </a:lnTo>
                        <a:lnTo>
                          <a:pt x="47725" y="96477"/>
                        </a:lnTo>
                        <a:lnTo>
                          <a:pt x="41286" y="103795"/>
                        </a:lnTo>
                        <a:lnTo>
                          <a:pt x="36055" y="111374"/>
                        </a:lnTo>
                        <a:lnTo>
                          <a:pt x="34164" y="112841"/>
                        </a:lnTo>
                        <a:lnTo>
                          <a:pt x="27424" y="115417"/>
                        </a:lnTo>
                        <a:lnTo>
                          <a:pt x="21458" y="116647"/>
                        </a:lnTo>
                        <a:lnTo>
                          <a:pt x="21401" y="114707"/>
                        </a:lnTo>
                        <a:lnTo>
                          <a:pt x="21189" y="113241"/>
                        </a:lnTo>
                        <a:lnTo>
                          <a:pt x="22192" y="111643"/>
                        </a:lnTo>
                        <a:lnTo>
                          <a:pt x="23854" y="109752"/>
                        </a:lnTo>
                        <a:lnTo>
                          <a:pt x="25395" y="107381"/>
                        </a:lnTo>
                        <a:lnTo>
                          <a:pt x="26030" y="105653"/>
                        </a:lnTo>
                        <a:lnTo>
                          <a:pt x="25729" y="104504"/>
                        </a:lnTo>
                        <a:lnTo>
                          <a:pt x="25044" y="102801"/>
                        </a:lnTo>
                        <a:lnTo>
                          <a:pt x="24107" y="102678"/>
                        </a:lnTo>
                        <a:lnTo>
                          <a:pt x="18435" y="104105"/>
                        </a:lnTo>
                        <a:lnTo>
                          <a:pt x="17139" y="103738"/>
                        </a:lnTo>
                        <a:lnTo>
                          <a:pt x="12942" y="101521"/>
                        </a:lnTo>
                        <a:lnTo>
                          <a:pt x="8427" y="98783"/>
                        </a:lnTo>
                        <a:lnTo>
                          <a:pt x="6764" y="96843"/>
                        </a:lnTo>
                        <a:lnTo>
                          <a:pt x="6120" y="94871"/>
                        </a:lnTo>
                        <a:lnTo>
                          <a:pt x="6601" y="93608"/>
                        </a:lnTo>
                        <a:lnTo>
                          <a:pt x="6218" y="92385"/>
                        </a:lnTo>
                        <a:lnTo>
                          <a:pt x="5338" y="90731"/>
                        </a:lnTo>
                        <a:lnTo>
                          <a:pt x="6137" y="88848"/>
                        </a:lnTo>
                        <a:lnTo>
                          <a:pt x="7547" y="86501"/>
                        </a:lnTo>
                        <a:lnTo>
                          <a:pt x="8248" y="84904"/>
                        </a:lnTo>
                        <a:lnTo>
                          <a:pt x="9429" y="84496"/>
                        </a:lnTo>
                        <a:lnTo>
                          <a:pt x="9992" y="83518"/>
                        </a:lnTo>
                        <a:lnTo>
                          <a:pt x="9055" y="79647"/>
                        </a:lnTo>
                        <a:lnTo>
                          <a:pt x="8557" y="79028"/>
                        </a:lnTo>
                        <a:lnTo>
                          <a:pt x="7742" y="78539"/>
                        </a:lnTo>
                        <a:lnTo>
                          <a:pt x="6495" y="78498"/>
                        </a:lnTo>
                        <a:lnTo>
                          <a:pt x="4295" y="77691"/>
                        </a:lnTo>
                        <a:lnTo>
                          <a:pt x="2738" y="76347"/>
                        </a:lnTo>
                        <a:lnTo>
                          <a:pt x="2412" y="74537"/>
                        </a:lnTo>
                        <a:lnTo>
                          <a:pt x="1581" y="72802"/>
                        </a:lnTo>
                        <a:lnTo>
                          <a:pt x="163" y="71204"/>
                        </a:lnTo>
                        <a:lnTo>
                          <a:pt x="0" y="69452"/>
                        </a:lnTo>
                        <a:lnTo>
                          <a:pt x="1606" y="68531"/>
                        </a:lnTo>
                        <a:lnTo>
                          <a:pt x="3781" y="68490"/>
                        </a:lnTo>
                        <a:lnTo>
                          <a:pt x="5313" y="68833"/>
                        </a:lnTo>
                        <a:lnTo>
                          <a:pt x="8761" y="66021"/>
                        </a:lnTo>
                        <a:lnTo>
                          <a:pt x="10040" y="65776"/>
                        </a:lnTo>
                        <a:lnTo>
                          <a:pt x="11182" y="65173"/>
                        </a:lnTo>
                        <a:lnTo>
                          <a:pt x="12127" y="61343"/>
                        </a:lnTo>
                        <a:lnTo>
                          <a:pt x="12868" y="60194"/>
                        </a:lnTo>
                        <a:lnTo>
                          <a:pt x="13039" y="59517"/>
                        </a:lnTo>
                        <a:lnTo>
                          <a:pt x="12355" y="58711"/>
                        </a:lnTo>
                        <a:lnTo>
                          <a:pt x="9568" y="56005"/>
                        </a:lnTo>
                        <a:lnTo>
                          <a:pt x="8296" y="53193"/>
                        </a:lnTo>
                        <a:lnTo>
                          <a:pt x="6291" y="50023"/>
                        </a:lnTo>
                        <a:lnTo>
                          <a:pt x="4426" y="48629"/>
                        </a:lnTo>
                        <a:lnTo>
                          <a:pt x="4050" y="47537"/>
                        </a:lnTo>
                        <a:lnTo>
                          <a:pt x="4002" y="46152"/>
                        </a:lnTo>
                        <a:lnTo>
                          <a:pt x="4393" y="44938"/>
                        </a:lnTo>
                        <a:lnTo>
                          <a:pt x="7775" y="43039"/>
                        </a:lnTo>
                        <a:lnTo>
                          <a:pt x="9747" y="41018"/>
                        </a:lnTo>
                        <a:lnTo>
                          <a:pt x="10611" y="41792"/>
                        </a:lnTo>
                        <a:lnTo>
                          <a:pt x="12429" y="42615"/>
                        </a:lnTo>
                        <a:lnTo>
                          <a:pt x="17359" y="41490"/>
                        </a:lnTo>
                        <a:lnTo>
                          <a:pt x="20432" y="40349"/>
                        </a:lnTo>
                        <a:lnTo>
                          <a:pt x="22591" y="39159"/>
                        </a:lnTo>
                        <a:lnTo>
                          <a:pt x="23936" y="39371"/>
                        </a:lnTo>
                        <a:lnTo>
                          <a:pt x="28769" y="41156"/>
                        </a:lnTo>
                        <a:lnTo>
                          <a:pt x="30374" y="40243"/>
                        </a:lnTo>
                        <a:lnTo>
                          <a:pt x="33870" y="37831"/>
                        </a:lnTo>
                        <a:lnTo>
                          <a:pt x="34384" y="36560"/>
                        </a:lnTo>
                        <a:lnTo>
                          <a:pt x="37138" y="32705"/>
                        </a:lnTo>
                        <a:lnTo>
                          <a:pt x="37196" y="31760"/>
                        </a:lnTo>
                        <a:lnTo>
                          <a:pt x="36055" y="29339"/>
                        </a:lnTo>
                        <a:lnTo>
                          <a:pt x="36405" y="28801"/>
                        </a:lnTo>
                        <a:lnTo>
                          <a:pt x="39779" y="26316"/>
                        </a:lnTo>
                        <a:lnTo>
                          <a:pt x="41450" y="24115"/>
                        </a:lnTo>
                        <a:lnTo>
                          <a:pt x="43226" y="22632"/>
                        </a:lnTo>
                        <a:lnTo>
                          <a:pt x="44514" y="22607"/>
                        </a:lnTo>
                        <a:lnTo>
                          <a:pt x="44864" y="23113"/>
                        </a:lnTo>
                        <a:lnTo>
                          <a:pt x="45019" y="24139"/>
                        </a:lnTo>
                        <a:lnTo>
                          <a:pt x="44905" y="28386"/>
                        </a:lnTo>
                        <a:lnTo>
                          <a:pt x="45410" y="29698"/>
                        </a:lnTo>
                        <a:lnTo>
                          <a:pt x="48059" y="32737"/>
                        </a:lnTo>
                        <a:lnTo>
                          <a:pt x="49958" y="34473"/>
                        </a:lnTo>
                        <a:lnTo>
                          <a:pt x="54343" y="35663"/>
                        </a:lnTo>
                        <a:lnTo>
                          <a:pt x="54546" y="36234"/>
                        </a:lnTo>
                        <a:lnTo>
                          <a:pt x="53340" y="38524"/>
                        </a:lnTo>
                        <a:lnTo>
                          <a:pt x="55989" y="41262"/>
                        </a:lnTo>
                        <a:lnTo>
                          <a:pt x="56461" y="43267"/>
                        </a:lnTo>
                        <a:lnTo>
                          <a:pt x="57692" y="44392"/>
                        </a:lnTo>
                        <a:lnTo>
                          <a:pt x="59428" y="43845"/>
                        </a:lnTo>
                        <a:lnTo>
                          <a:pt x="59998" y="42778"/>
                        </a:lnTo>
                        <a:lnTo>
                          <a:pt x="59314" y="40928"/>
                        </a:lnTo>
                        <a:lnTo>
                          <a:pt x="58809" y="38980"/>
                        </a:lnTo>
                        <a:lnTo>
                          <a:pt x="58906" y="37864"/>
                        </a:lnTo>
                        <a:lnTo>
                          <a:pt x="59387" y="36576"/>
                        </a:lnTo>
                        <a:lnTo>
                          <a:pt x="60593" y="34775"/>
                        </a:lnTo>
                        <a:lnTo>
                          <a:pt x="63878" y="30643"/>
                        </a:lnTo>
                        <a:lnTo>
                          <a:pt x="65068" y="28247"/>
                        </a:lnTo>
                        <a:lnTo>
                          <a:pt x="65279" y="24547"/>
                        </a:lnTo>
                        <a:lnTo>
                          <a:pt x="65287" y="21572"/>
                        </a:lnTo>
                        <a:lnTo>
                          <a:pt x="66380" y="20847"/>
                        </a:lnTo>
                        <a:lnTo>
                          <a:pt x="68743" y="21377"/>
                        </a:lnTo>
                        <a:lnTo>
                          <a:pt x="69444" y="21320"/>
                        </a:lnTo>
                        <a:lnTo>
                          <a:pt x="69762" y="23145"/>
                        </a:lnTo>
                        <a:lnTo>
                          <a:pt x="70772" y="26055"/>
                        </a:lnTo>
                        <a:lnTo>
                          <a:pt x="71946" y="27562"/>
                        </a:lnTo>
                        <a:lnTo>
                          <a:pt x="73209" y="27921"/>
                        </a:lnTo>
                        <a:lnTo>
                          <a:pt x="74701" y="27929"/>
                        </a:lnTo>
                        <a:lnTo>
                          <a:pt x="78384" y="26152"/>
                        </a:lnTo>
                        <a:lnTo>
                          <a:pt x="80780" y="25378"/>
                        </a:lnTo>
                        <a:lnTo>
                          <a:pt x="82133" y="25590"/>
                        </a:lnTo>
                        <a:lnTo>
                          <a:pt x="82940" y="26796"/>
                        </a:lnTo>
                        <a:lnTo>
                          <a:pt x="84651" y="29975"/>
                        </a:lnTo>
                        <a:lnTo>
                          <a:pt x="85637" y="30325"/>
                        </a:lnTo>
                        <a:lnTo>
                          <a:pt x="86819" y="29967"/>
                        </a:lnTo>
                        <a:lnTo>
                          <a:pt x="87243" y="29429"/>
                        </a:lnTo>
                        <a:lnTo>
                          <a:pt x="86860" y="28206"/>
                        </a:lnTo>
                        <a:lnTo>
                          <a:pt x="86355" y="25558"/>
                        </a:lnTo>
                        <a:lnTo>
                          <a:pt x="85670" y="23504"/>
                        </a:lnTo>
                        <a:lnTo>
                          <a:pt x="84773" y="22534"/>
                        </a:lnTo>
                        <a:lnTo>
                          <a:pt x="84594" y="21287"/>
                        </a:lnTo>
                        <a:lnTo>
                          <a:pt x="85165" y="19030"/>
                        </a:lnTo>
                        <a:lnTo>
                          <a:pt x="85801" y="17147"/>
                        </a:lnTo>
                        <a:lnTo>
                          <a:pt x="87048" y="16634"/>
                        </a:lnTo>
                        <a:lnTo>
                          <a:pt x="88490" y="16405"/>
                        </a:lnTo>
                        <a:lnTo>
                          <a:pt x="90389" y="18386"/>
                        </a:lnTo>
                        <a:lnTo>
                          <a:pt x="92646" y="19021"/>
                        </a:lnTo>
                        <a:lnTo>
                          <a:pt x="94325" y="18916"/>
                        </a:lnTo>
                        <a:lnTo>
                          <a:pt x="94610" y="17750"/>
                        </a:lnTo>
                        <a:lnTo>
                          <a:pt x="94504" y="16479"/>
                        </a:lnTo>
                        <a:lnTo>
                          <a:pt x="93510" y="14832"/>
                        </a:lnTo>
                        <a:lnTo>
                          <a:pt x="93714" y="12355"/>
                        </a:lnTo>
                        <a:lnTo>
                          <a:pt x="94871" y="7734"/>
                        </a:lnTo>
                        <a:lnTo>
                          <a:pt x="95523" y="8076"/>
                        </a:lnTo>
                        <a:lnTo>
                          <a:pt x="98025" y="8133"/>
                        </a:lnTo>
                        <a:lnTo>
                          <a:pt x="100731" y="8386"/>
                        </a:lnTo>
                        <a:lnTo>
                          <a:pt x="102491" y="10277"/>
                        </a:lnTo>
                        <a:lnTo>
                          <a:pt x="104203" y="10921"/>
                        </a:lnTo>
                        <a:lnTo>
                          <a:pt x="106647" y="11124"/>
                        </a:lnTo>
                        <a:lnTo>
                          <a:pt x="108285" y="10855"/>
                        </a:lnTo>
                        <a:lnTo>
                          <a:pt x="109060" y="10146"/>
                        </a:lnTo>
                        <a:lnTo>
                          <a:pt x="110013" y="7938"/>
                        </a:lnTo>
                        <a:lnTo>
                          <a:pt x="111765" y="5191"/>
                        </a:lnTo>
                        <a:lnTo>
                          <a:pt x="114496" y="3798"/>
                        </a:lnTo>
                        <a:lnTo>
                          <a:pt x="119190" y="3529"/>
                        </a:lnTo>
                        <a:lnTo>
                          <a:pt x="121529" y="3015"/>
                        </a:lnTo>
                        <a:lnTo>
                          <a:pt x="123958" y="3048"/>
                        </a:lnTo>
                        <a:lnTo>
                          <a:pt x="125791" y="3472"/>
                        </a:lnTo>
                        <a:lnTo>
                          <a:pt x="127682" y="3423"/>
                        </a:lnTo>
                        <a:lnTo>
                          <a:pt x="132482" y="1508"/>
                        </a:lnTo>
                        <a:lnTo>
                          <a:pt x="137445" y="0"/>
                        </a:lnTo>
                        <a:lnTo>
                          <a:pt x="138130" y="261"/>
                        </a:lnTo>
                        <a:lnTo>
                          <a:pt x="138244" y="758"/>
                        </a:lnTo>
                        <a:lnTo>
                          <a:pt x="137348" y="1923"/>
                        </a:lnTo>
                        <a:close/>
                      </a:path>
                    </a:pathLst>
                  </a:custGeom>
                  <a:solidFill>
                    <a:srgbClr val="D6D6D2"/>
                  </a:solidFill>
                  <a:ln w="6112" cap="rnd">
                    <a:solidFill>
                      <a:srgbClr val="FFFFFF"/>
                    </a:solidFill>
                    <a:prstDash val="solid"/>
                    <a:round/>
                  </a:ln>
                </p:spPr>
                <p:txBody>
                  <a:bodyPr rtlCol="0" anchor="ctr"/>
                  <a:lstStyle/>
                  <a:p>
                    <a:endParaRPr lang="en-US"/>
                  </a:p>
                </p:txBody>
              </p:sp>
            </p:grpSp>
            <p:sp>
              <p:nvSpPr>
                <p:cNvPr id="707" name="Freeform: Shape 706">
                  <a:extLst>
                    <a:ext uri="{FF2B5EF4-FFF2-40B4-BE49-F238E27FC236}">
                      <a16:creationId xmlns:a16="http://schemas.microsoft.com/office/drawing/2014/main" id="{B78516B1-ACB1-4568-AF0C-F73F75ED820A}"/>
                    </a:ext>
                  </a:extLst>
                </p:cNvPr>
                <p:cNvSpPr/>
                <p:nvPr/>
              </p:nvSpPr>
              <p:spPr>
                <a:xfrm>
                  <a:off x="6792989" y="3494191"/>
                  <a:ext cx="41375" cy="127796"/>
                </a:xfrm>
                <a:custGeom>
                  <a:avLst/>
                  <a:gdLst>
                    <a:gd name="connsiteX0" fmla="*/ 38247 w 41375"/>
                    <a:gd name="connsiteY0" fmla="*/ 22705 h 127796"/>
                    <a:gd name="connsiteX1" fmla="*/ 36934 w 41375"/>
                    <a:gd name="connsiteY1" fmla="*/ 22893 h 127796"/>
                    <a:gd name="connsiteX2" fmla="*/ 33878 w 41375"/>
                    <a:gd name="connsiteY2" fmla="*/ 24425 h 127796"/>
                    <a:gd name="connsiteX3" fmla="*/ 33463 w 41375"/>
                    <a:gd name="connsiteY3" fmla="*/ 24881 h 127796"/>
                    <a:gd name="connsiteX4" fmla="*/ 32925 w 41375"/>
                    <a:gd name="connsiteY4" fmla="*/ 25761 h 127796"/>
                    <a:gd name="connsiteX5" fmla="*/ 32835 w 41375"/>
                    <a:gd name="connsiteY5" fmla="*/ 26446 h 127796"/>
                    <a:gd name="connsiteX6" fmla="*/ 32395 w 41375"/>
                    <a:gd name="connsiteY6" fmla="*/ 33740 h 127796"/>
                    <a:gd name="connsiteX7" fmla="*/ 30733 w 41375"/>
                    <a:gd name="connsiteY7" fmla="*/ 33536 h 127796"/>
                    <a:gd name="connsiteX8" fmla="*/ 28712 w 41375"/>
                    <a:gd name="connsiteY8" fmla="*/ 31939 h 127796"/>
                    <a:gd name="connsiteX9" fmla="*/ 28304 w 41375"/>
                    <a:gd name="connsiteY9" fmla="*/ 30561 h 127796"/>
                    <a:gd name="connsiteX10" fmla="*/ 27701 w 41375"/>
                    <a:gd name="connsiteY10" fmla="*/ 30097 h 127796"/>
                    <a:gd name="connsiteX11" fmla="*/ 26250 w 41375"/>
                    <a:gd name="connsiteY11" fmla="*/ 29918 h 127796"/>
                    <a:gd name="connsiteX12" fmla="*/ 23512 w 41375"/>
                    <a:gd name="connsiteY12" fmla="*/ 29225 h 127796"/>
                    <a:gd name="connsiteX13" fmla="*/ 20342 w 41375"/>
                    <a:gd name="connsiteY13" fmla="*/ 31621 h 127796"/>
                    <a:gd name="connsiteX14" fmla="*/ 18981 w 41375"/>
                    <a:gd name="connsiteY14" fmla="*/ 35590 h 127796"/>
                    <a:gd name="connsiteX15" fmla="*/ 18703 w 41375"/>
                    <a:gd name="connsiteY15" fmla="*/ 37448 h 127796"/>
                    <a:gd name="connsiteX16" fmla="*/ 17636 w 41375"/>
                    <a:gd name="connsiteY16" fmla="*/ 41344 h 127796"/>
                    <a:gd name="connsiteX17" fmla="*/ 18011 w 41375"/>
                    <a:gd name="connsiteY17" fmla="*/ 43740 h 127796"/>
                    <a:gd name="connsiteX18" fmla="*/ 18198 w 41375"/>
                    <a:gd name="connsiteY18" fmla="*/ 46828 h 127796"/>
                    <a:gd name="connsiteX19" fmla="*/ 18467 w 41375"/>
                    <a:gd name="connsiteY19" fmla="*/ 49363 h 127796"/>
                    <a:gd name="connsiteX20" fmla="*/ 18182 w 41375"/>
                    <a:gd name="connsiteY20" fmla="*/ 50887 h 127796"/>
                    <a:gd name="connsiteX21" fmla="*/ 17571 w 41375"/>
                    <a:gd name="connsiteY21" fmla="*/ 51702 h 127796"/>
                    <a:gd name="connsiteX22" fmla="*/ 17750 w 41375"/>
                    <a:gd name="connsiteY22" fmla="*/ 52281 h 127796"/>
                    <a:gd name="connsiteX23" fmla="*/ 18304 w 41375"/>
                    <a:gd name="connsiteY23" fmla="*/ 52493 h 127796"/>
                    <a:gd name="connsiteX24" fmla="*/ 20040 w 41375"/>
                    <a:gd name="connsiteY24" fmla="*/ 51808 h 127796"/>
                    <a:gd name="connsiteX25" fmla="*/ 21874 w 41375"/>
                    <a:gd name="connsiteY25" fmla="*/ 52493 h 127796"/>
                    <a:gd name="connsiteX26" fmla="*/ 23634 w 41375"/>
                    <a:gd name="connsiteY26" fmla="*/ 53805 h 127796"/>
                    <a:gd name="connsiteX27" fmla="*/ 23773 w 41375"/>
                    <a:gd name="connsiteY27" fmla="*/ 54652 h 127796"/>
                    <a:gd name="connsiteX28" fmla="*/ 22526 w 41375"/>
                    <a:gd name="connsiteY28" fmla="*/ 55157 h 127796"/>
                    <a:gd name="connsiteX29" fmla="*/ 19575 w 41375"/>
                    <a:gd name="connsiteY29" fmla="*/ 57138 h 127796"/>
                    <a:gd name="connsiteX30" fmla="*/ 17506 w 41375"/>
                    <a:gd name="connsiteY30" fmla="*/ 59428 h 127796"/>
                    <a:gd name="connsiteX31" fmla="*/ 16960 w 41375"/>
                    <a:gd name="connsiteY31" fmla="*/ 61555 h 127796"/>
                    <a:gd name="connsiteX32" fmla="*/ 15566 w 41375"/>
                    <a:gd name="connsiteY32" fmla="*/ 66078 h 127796"/>
                    <a:gd name="connsiteX33" fmla="*/ 15745 w 41375"/>
                    <a:gd name="connsiteY33" fmla="*/ 66999 h 127796"/>
                    <a:gd name="connsiteX34" fmla="*/ 16430 w 41375"/>
                    <a:gd name="connsiteY34" fmla="*/ 67545 h 127796"/>
                    <a:gd name="connsiteX35" fmla="*/ 21230 w 41375"/>
                    <a:gd name="connsiteY35" fmla="*/ 67064 h 127796"/>
                    <a:gd name="connsiteX36" fmla="*/ 25574 w 41375"/>
                    <a:gd name="connsiteY36" fmla="*/ 65239 h 127796"/>
                    <a:gd name="connsiteX37" fmla="*/ 28850 w 41375"/>
                    <a:gd name="connsiteY37" fmla="*/ 63291 h 127796"/>
                    <a:gd name="connsiteX38" fmla="*/ 29893 w 41375"/>
                    <a:gd name="connsiteY38" fmla="*/ 63405 h 127796"/>
                    <a:gd name="connsiteX39" fmla="*/ 29201 w 41375"/>
                    <a:gd name="connsiteY39" fmla="*/ 68384 h 127796"/>
                    <a:gd name="connsiteX40" fmla="*/ 29216 w 41375"/>
                    <a:gd name="connsiteY40" fmla="*/ 68401 h 127796"/>
                    <a:gd name="connsiteX41" fmla="*/ 28654 w 41375"/>
                    <a:gd name="connsiteY41" fmla="*/ 71449 h 127796"/>
                    <a:gd name="connsiteX42" fmla="*/ 28874 w 41375"/>
                    <a:gd name="connsiteY42" fmla="*/ 71962 h 127796"/>
                    <a:gd name="connsiteX43" fmla="*/ 29616 w 41375"/>
                    <a:gd name="connsiteY43" fmla="*/ 74611 h 127796"/>
                    <a:gd name="connsiteX44" fmla="*/ 28214 w 41375"/>
                    <a:gd name="connsiteY44" fmla="*/ 79452 h 127796"/>
                    <a:gd name="connsiteX45" fmla="*/ 26658 w 41375"/>
                    <a:gd name="connsiteY45" fmla="*/ 83388 h 127796"/>
                    <a:gd name="connsiteX46" fmla="*/ 26112 w 41375"/>
                    <a:gd name="connsiteY46" fmla="*/ 85254 h 127796"/>
                    <a:gd name="connsiteX47" fmla="*/ 24587 w 41375"/>
                    <a:gd name="connsiteY47" fmla="*/ 89394 h 127796"/>
                    <a:gd name="connsiteX48" fmla="*/ 23031 w 41375"/>
                    <a:gd name="connsiteY48" fmla="*/ 94211 h 127796"/>
                    <a:gd name="connsiteX49" fmla="*/ 22200 w 41375"/>
                    <a:gd name="connsiteY49" fmla="*/ 97528 h 127796"/>
                    <a:gd name="connsiteX50" fmla="*/ 22395 w 41375"/>
                    <a:gd name="connsiteY50" fmla="*/ 98701 h 127796"/>
                    <a:gd name="connsiteX51" fmla="*/ 22012 w 41375"/>
                    <a:gd name="connsiteY51" fmla="*/ 104781 h 127796"/>
                    <a:gd name="connsiteX52" fmla="*/ 22232 w 41375"/>
                    <a:gd name="connsiteY52" fmla="*/ 106501 h 127796"/>
                    <a:gd name="connsiteX53" fmla="*/ 20407 w 41375"/>
                    <a:gd name="connsiteY53" fmla="*/ 111757 h 127796"/>
                    <a:gd name="connsiteX54" fmla="*/ 20040 w 41375"/>
                    <a:gd name="connsiteY54" fmla="*/ 114349 h 127796"/>
                    <a:gd name="connsiteX55" fmla="*/ 19323 w 41375"/>
                    <a:gd name="connsiteY55" fmla="*/ 117878 h 127796"/>
                    <a:gd name="connsiteX56" fmla="*/ 18060 w 41375"/>
                    <a:gd name="connsiteY56" fmla="*/ 125310 h 127796"/>
                    <a:gd name="connsiteX57" fmla="*/ 16348 w 41375"/>
                    <a:gd name="connsiteY57" fmla="*/ 127796 h 127796"/>
                    <a:gd name="connsiteX58" fmla="*/ 15493 w 41375"/>
                    <a:gd name="connsiteY58" fmla="*/ 125017 h 127796"/>
                    <a:gd name="connsiteX59" fmla="*/ 13545 w 41375"/>
                    <a:gd name="connsiteY59" fmla="*/ 117071 h 127796"/>
                    <a:gd name="connsiteX60" fmla="*/ 12143 w 41375"/>
                    <a:gd name="connsiteY60" fmla="*/ 111619 h 127796"/>
                    <a:gd name="connsiteX61" fmla="*/ 10252 w 41375"/>
                    <a:gd name="connsiteY61" fmla="*/ 104895 h 127796"/>
                    <a:gd name="connsiteX62" fmla="*/ 7057 w 41375"/>
                    <a:gd name="connsiteY62" fmla="*/ 96713 h 127796"/>
                    <a:gd name="connsiteX63" fmla="*/ 6764 w 41375"/>
                    <a:gd name="connsiteY63" fmla="*/ 94741 h 127796"/>
                    <a:gd name="connsiteX64" fmla="*/ 6072 w 41375"/>
                    <a:gd name="connsiteY64" fmla="*/ 91888 h 127796"/>
                    <a:gd name="connsiteX65" fmla="*/ 3855 w 41375"/>
                    <a:gd name="connsiteY65" fmla="*/ 84431 h 127796"/>
                    <a:gd name="connsiteX66" fmla="*/ 2062 w 41375"/>
                    <a:gd name="connsiteY66" fmla="*/ 79044 h 127796"/>
                    <a:gd name="connsiteX67" fmla="*/ 0 w 41375"/>
                    <a:gd name="connsiteY67" fmla="*/ 72158 h 127796"/>
                    <a:gd name="connsiteX68" fmla="*/ 2551 w 41375"/>
                    <a:gd name="connsiteY68" fmla="*/ 69428 h 127796"/>
                    <a:gd name="connsiteX69" fmla="*/ 2600 w 41375"/>
                    <a:gd name="connsiteY69" fmla="*/ 67178 h 127796"/>
                    <a:gd name="connsiteX70" fmla="*/ 6960 w 41375"/>
                    <a:gd name="connsiteY70" fmla="*/ 61914 h 127796"/>
                    <a:gd name="connsiteX71" fmla="*/ 6919 w 41375"/>
                    <a:gd name="connsiteY71" fmla="*/ 61392 h 127796"/>
                    <a:gd name="connsiteX72" fmla="*/ 5754 w 41375"/>
                    <a:gd name="connsiteY72" fmla="*/ 59998 h 127796"/>
                    <a:gd name="connsiteX73" fmla="*/ 5925 w 41375"/>
                    <a:gd name="connsiteY73" fmla="*/ 59754 h 127796"/>
                    <a:gd name="connsiteX74" fmla="*/ 10749 w 41375"/>
                    <a:gd name="connsiteY74" fmla="*/ 49934 h 127796"/>
                    <a:gd name="connsiteX75" fmla="*/ 13855 w 41375"/>
                    <a:gd name="connsiteY75" fmla="*/ 40195 h 127796"/>
                    <a:gd name="connsiteX76" fmla="*/ 16780 w 41375"/>
                    <a:gd name="connsiteY76" fmla="*/ 26633 h 127796"/>
                    <a:gd name="connsiteX77" fmla="*/ 18867 w 41375"/>
                    <a:gd name="connsiteY77" fmla="*/ 19722 h 127796"/>
                    <a:gd name="connsiteX78" fmla="*/ 20635 w 41375"/>
                    <a:gd name="connsiteY78" fmla="*/ 15150 h 127796"/>
                    <a:gd name="connsiteX79" fmla="*/ 21409 w 41375"/>
                    <a:gd name="connsiteY79" fmla="*/ 11345 h 127796"/>
                    <a:gd name="connsiteX80" fmla="*/ 24254 w 41375"/>
                    <a:gd name="connsiteY80" fmla="*/ 11084 h 127796"/>
                    <a:gd name="connsiteX81" fmla="*/ 26389 w 41375"/>
                    <a:gd name="connsiteY81" fmla="*/ 11491 h 127796"/>
                    <a:gd name="connsiteX82" fmla="*/ 28923 w 41375"/>
                    <a:gd name="connsiteY82" fmla="*/ 11613 h 127796"/>
                    <a:gd name="connsiteX83" fmla="*/ 30945 w 41375"/>
                    <a:gd name="connsiteY83" fmla="*/ 10179 h 127796"/>
                    <a:gd name="connsiteX84" fmla="*/ 31922 w 41375"/>
                    <a:gd name="connsiteY84" fmla="*/ 5917 h 127796"/>
                    <a:gd name="connsiteX85" fmla="*/ 33088 w 41375"/>
                    <a:gd name="connsiteY85" fmla="*/ 5224 h 127796"/>
                    <a:gd name="connsiteX86" fmla="*/ 33666 w 41375"/>
                    <a:gd name="connsiteY86" fmla="*/ 6235 h 127796"/>
                    <a:gd name="connsiteX87" fmla="*/ 34270 w 41375"/>
                    <a:gd name="connsiteY87" fmla="*/ 5110 h 127796"/>
                    <a:gd name="connsiteX88" fmla="*/ 36934 w 41375"/>
                    <a:gd name="connsiteY88" fmla="*/ 3235 h 127796"/>
                    <a:gd name="connsiteX89" fmla="*/ 38255 w 41375"/>
                    <a:gd name="connsiteY89" fmla="*/ 2021 h 127796"/>
                    <a:gd name="connsiteX90" fmla="*/ 39575 w 41375"/>
                    <a:gd name="connsiteY90" fmla="*/ 522 h 127796"/>
                    <a:gd name="connsiteX91" fmla="*/ 40276 w 41375"/>
                    <a:gd name="connsiteY91" fmla="*/ 0 h 127796"/>
                    <a:gd name="connsiteX92" fmla="*/ 39836 w 41375"/>
                    <a:gd name="connsiteY92" fmla="*/ 1997 h 127796"/>
                    <a:gd name="connsiteX93" fmla="*/ 39477 w 41375"/>
                    <a:gd name="connsiteY93" fmla="*/ 3309 h 127796"/>
                    <a:gd name="connsiteX94" fmla="*/ 39477 w 41375"/>
                    <a:gd name="connsiteY94" fmla="*/ 5012 h 127796"/>
                    <a:gd name="connsiteX95" fmla="*/ 40023 w 41375"/>
                    <a:gd name="connsiteY95" fmla="*/ 5941 h 127796"/>
                    <a:gd name="connsiteX96" fmla="*/ 40749 w 41375"/>
                    <a:gd name="connsiteY96" fmla="*/ 7799 h 127796"/>
                    <a:gd name="connsiteX97" fmla="*/ 41213 w 41375"/>
                    <a:gd name="connsiteY97" fmla="*/ 9658 h 127796"/>
                    <a:gd name="connsiteX98" fmla="*/ 40243 w 41375"/>
                    <a:gd name="connsiteY98" fmla="*/ 11190 h 127796"/>
                    <a:gd name="connsiteX99" fmla="*/ 40349 w 41375"/>
                    <a:gd name="connsiteY99" fmla="*/ 12795 h 127796"/>
                    <a:gd name="connsiteX100" fmla="*/ 40594 w 41375"/>
                    <a:gd name="connsiteY100" fmla="*/ 14132 h 127796"/>
                    <a:gd name="connsiteX101" fmla="*/ 41376 w 41375"/>
                    <a:gd name="connsiteY101" fmla="*/ 15721 h 127796"/>
                    <a:gd name="connsiteX102" fmla="*/ 39974 w 41375"/>
                    <a:gd name="connsiteY102" fmla="*/ 18557 h 127796"/>
                    <a:gd name="connsiteX103" fmla="*/ 38597 w 41375"/>
                    <a:gd name="connsiteY103" fmla="*/ 21165 h 127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41375" h="127796">
                      <a:moveTo>
                        <a:pt x="38247" y="22705"/>
                      </a:moveTo>
                      <a:lnTo>
                        <a:pt x="36934" y="22893"/>
                      </a:lnTo>
                      <a:lnTo>
                        <a:pt x="33878" y="24425"/>
                      </a:lnTo>
                      <a:lnTo>
                        <a:pt x="33463" y="24881"/>
                      </a:lnTo>
                      <a:lnTo>
                        <a:pt x="32925" y="25761"/>
                      </a:lnTo>
                      <a:lnTo>
                        <a:pt x="32835" y="26446"/>
                      </a:lnTo>
                      <a:lnTo>
                        <a:pt x="32395" y="33740"/>
                      </a:lnTo>
                      <a:lnTo>
                        <a:pt x="30733" y="33536"/>
                      </a:lnTo>
                      <a:lnTo>
                        <a:pt x="28712" y="31939"/>
                      </a:lnTo>
                      <a:lnTo>
                        <a:pt x="28304" y="30561"/>
                      </a:lnTo>
                      <a:lnTo>
                        <a:pt x="27701" y="30097"/>
                      </a:lnTo>
                      <a:lnTo>
                        <a:pt x="26250" y="29918"/>
                      </a:lnTo>
                      <a:lnTo>
                        <a:pt x="23512" y="29225"/>
                      </a:lnTo>
                      <a:lnTo>
                        <a:pt x="20342" y="31621"/>
                      </a:lnTo>
                      <a:lnTo>
                        <a:pt x="18981" y="35590"/>
                      </a:lnTo>
                      <a:lnTo>
                        <a:pt x="18703" y="37448"/>
                      </a:lnTo>
                      <a:lnTo>
                        <a:pt x="17636" y="41344"/>
                      </a:lnTo>
                      <a:lnTo>
                        <a:pt x="18011" y="43740"/>
                      </a:lnTo>
                      <a:lnTo>
                        <a:pt x="18198" y="46828"/>
                      </a:lnTo>
                      <a:lnTo>
                        <a:pt x="18467" y="49363"/>
                      </a:lnTo>
                      <a:lnTo>
                        <a:pt x="18182" y="50887"/>
                      </a:lnTo>
                      <a:lnTo>
                        <a:pt x="17571" y="51702"/>
                      </a:lnTo>
                      <a:lnTo>
                        <a:pt x="17750" y="52281"/>
                      </a:lnTo>
                      <a:lnTo>
                        <a:pt x="18304" y="52493"/>
                      </a:lnTo>
                      <a:lnTo>
                        <a:pt x="20040" y="51808"/>
                      </a:lnTo>
                      <a:lnTo>
                        <a:pt x="21874" y="52493"/>
                      </a:lnTo>
                      <a:lnTo>
                        <a:pt x="23634" y="53805"/>
                      </a:lnTo>
                      <a:lnTo>
                        <a:pt x="23773" y="54652"/>
                      </a:lnTo>
                      <a:lnTo>
                        <a:pt x="22526" y="55157"/>
                      </a:lnTo>
                      <a:lnTo>
                        <a:pt x="19575" y="57138"/>
                      </a:lnTo>
                      <a:lnTo>
                        <a:pt x="17506" y="59428"/>
                      </a:lnTo>
                      <a:lnTo>
                        <a:pt x="16960" y="61555"/>
                      </a:lnTo>
                      <a:lnTo>
                        <a:pt x="15566" y="66078"/>
                      </a:lnTo>
                      <a:lnTo>
                        <a:pt x="15745" y="66999"/>
                      </a:lnTo>
                      <a:lnTo>
                        <a:pt x="16430" y="67545"/>
                      </a:lnTo>
                      <a:lnTo>
                        <a:pt x="21230" y="67064"/>
                      </a:lnTo>
                      <a:lnTo>
                        <a:pt x="25574" y="65239"/>
                      </a:lnTo>
                      <a:lnTo>
                        <a:pt x="28850" y="63291"/>
                      </a:lnTo>
                      <a:lnTo>
                        <a:pt x="29893" y="63405"/>
                      </a:lnTo>
                      <a:lnTo>
                        <a:pt x="29201" y="68384"/>
                      </a:lnTo>
                      <a:lnTo>
                        <a:pt x="29216" y="68401"/>
                      </a:lnTo>
                      <a:lnTo>
                        <a:pt x="28654" y="71449"/>
                      </a:lnTo>
                      <a:lnTo>
                        <a:pt x="28874" y="71962"/>
                      </a:lnTo>
                      <a:lnTo>
                        <a:pt x="29616" y="74611"/>
                      </a:lnTo>
                      <a:lnTo>
                        <a:pt x="28214" y="79452"/>
                      </a:lnTo>
                      <a:lnTo>
                        <a:pt x="26658" y="83388"/>
                      </a:lnTo>
                      <a:lnTo>
                        <a:pt x="26112" y="85254"/>
                      </a:lnTo>
                      <a:lnTo>
                        <a:pt x="24587" y="89394"/>
                      </a:lnTo>
                      <a:lnTo>
                        <a:pt x="23031" y="94211"/>
                      </a:lnTo>
                      <a:lnTo>
                        <a:pt x="22200" y="97528"/>
                      </a:lnTo>
                      <a:lnTo>
                        <a:pt x="22395" y="98701"/>
                      </a:lnTo>
                      <a:lnTo>
                        <a:pt x="22012" y="104781"/>
                      </a:lnTo>
                      <a:lnTo>
                        <a:pt x="22232" y="106501"/>
                      </a:lnTo>
                      <a:lnTo>
                        <a:pt x="20407" y="111757"/>
                      </a:lnTo>
                      <a:lnTo>
                        <a:pt x="20040" y="114349"/>
                      </a:lnTo>
                      <a:lnTo>
                        <a:pt x="19323" y="117878"/>
                      </a:lnTo>
                      <a:lnTo>
                        <a:pt x="18060" y="125310"/>
                      </a:lnTo>
                      <a:lnTo>
                        <a:pt x="16348" y="127796"/>
                      </a:lnTo>
                      <a:lnTo>
                        <a:pt x="15493" y="125017"/>
                      </a:lnTo>
                      <a:lnTo>
                        <a:pt x="13545" y="117071"/>
                      </a:lnTo>
                      <a:lnTo>
                        <a:pt x="12143" y="111619"/>
                      </a:lnTo>
                      <a:lnTo>
                        <a:pt x="10252" y="104895"/>
                      </a:lnTo>
                      <a:lnTo>
                        <a:pt x="7057" y="96713"/>
                      </a:lnTo>
                      <a:lnTo>
                        <a:pt x="6764" y="94741"/>
                      </a:lnTo>
                      <a:lnTo>
                        <a:pt x="6072" y="91888"/>
                      </a:lnTo>
                      <a:lnTo>
                        <a:pt x="3855" y="84431"/>
                      </a:lnTo>
                      <a:lnTo>
                        <a:pt x="2062" y="79044"/>
                      </a:lnTo>
                      <a:lnTo>
                        <a:pt x="0" y="72158"/>
                      </a:lnTo>
                      <a:lnTo>
                        <a:pt x="2551" y="69428"/>
                      </a:lnTo>
                      <a:lnTo>
                        <a:pt x="2600" y="67178"/>
                      </a:lnTo>
                      <a:lnTo>
                        <a:pt x="6960" y="61914"/>
                      </a:lnTo>
                      <a:lnTo>
                        <a:pt x="6919" y="61392"/>
                      </a:lnTo>
                      <a:lnTo>
                        <a:pt x="5754" y="59998"/>
                      </a:lnTo>
                      <a:lnTo>
                        <a:pt x="5925" y="59754"/>
                      </a:lnTo>
                      <a:lnTo>
                        <a:pt x="10749" y="49934"/>
                      </a:lnTo>
                      <a:lnTo>
                        <a:pt x="13855" y="40195"/>
                      </a:lnTo>
                      <a:lnTo>
                        <a:pt x="16780" y="26633"/>
                      </a:lnTo>
                      <a:lnTo>
                        <a:pt x="18867" y="19722"/>
                      </a:lnTo>
                      <a:lnTo>
                        <a:pt x="20635" y="15150"/>
                      </a:lnTo>
                      <a:lnTo>
                        <a:pt x="21409" y="11345"/>
                      </a:lnTo>
                      <a:lnTo>
                        <a:pt x="24254" y="11084"/>
                      </a:lnTo>
                      <a:lnTo>
                        <a:pt x="26389" y="11491"/>
                      </a:lnTo>
                      <a:lnTo>
                        <a:pt x="28923" y="11613"/>
                      </a:lnTo>
                      <a:lnTo>
                        <a:pt x="30945" y="10179"/>
                      </a:lnTo>
                      <a:lnTo>
                        <a:pt x="31922" y="5917"/>
                      </a:lnTo>
                      <a:lnTo>
                        <a:pt x="33088" y="5224"/>
                      </a:lnTo>
                      <a:lnTo>
                        <a:pt x="33666" y="6235"/>
                      </a:lnTo>
                      <a:lnTo>
                        <a:pt x="34270" y="5110"/>
                      </a:lnTo>
                      <a:lnTo>
                        <a:pt x="36934" y="3235"/>
                      </a:lnTo>
                      <a:lnTo>
                        <a:pt x="38255" y="2021"/>
                      </a:lnTo>
                      <a:lnTo>
                        <a:pt x="39575" y="522"/>
                      </a:lnTo>
                      <a:lnTo>
                        <a:pt x="40276" y="0"/>
                      </a:lnTo>
                      <a:lnTo>
                        <a:pt x="39836" y="1997"/>
                      </a:lnTo>
                      <a:lnTo>
                        <a:pt x="39477" y="3309"/>
                      </a:lnTo>
                      <a:lnTo>
                        <a:pt x="39477" y="5012"/>
                      </a:lnTo>
                      <a:lnTo>
                        <a:pt x="40023" y="5941"/>
                      </a:lnTo>
                      <a:lnTo>
                        <a:pt x="40749" y="7799"/>
                      </a:lnTo>
                      <a:lnTo>
                        <a:pt x="41213" y="9658"/>
                      </a:lnTo>
                      <a:lnTo>
                        <a:pt x="40243" y="11190"/>
                      </a:lnTo>
                      <a:lnTo>
                        <a:pt x="40349" y="12795"/>
                      </a:lnTo>
                      <a:lnTo>
                        <a:pt x="40594" y="14132"/>
                      </a:lnTo>
                      <a:lnTo>
                        <a:pt x="41376" y="15721"/>
                      </a:lnTo>
                      <a:lnTo>
                        <a:pt x="39974" y="18557"/>
                      </a:lnTo>
                      <a:lnTo>
                        <a:pt x="38597" y="21165"/>
                      </a:lnTo>
                      <a:close/>
                    </a:path>
                  </a:pathLst>
                </a:custGeom>
                <a:solidFill>
                  <a:srgbClr val="D6D6D2"/>
                </a:solidFill>
                <a:ln w="6112" cap="rnd">
                  <a:solidFill>
                    <a:srgbClr val="FFFFFF"/>
                  </a:solidFill>
                  <a:prstDash val="solid"/>
                  <a:round/>
                </a:ln>
              </p:spPr>
              <p:txBody>
                <a:bodyPr rtlCol="0" anchor="ctr"/>
                <a:lstStyle/>
                <a:p>
                  <a:endParaRPr lang="en-US"/>
                </a:p>
              </p:txBody>
            </p:sp>
            <p:sp>
              <p:nvSpPr>
                <p:cNvPr id="708" name="Freeform: Shape 707">
                  <a:extLst>
                    <a:ext uri="{FF2B5EF4-FFF2-40B4-BE49-F238E27FC236}">
                      <a16:creationId xmlns:a16="http://schemas.microsoft.com/office/drawing/2014/main" id="{9F3DEEDE-B72F-4075-BB4B-CDDDD502A726}"/>
                    </a:ext>
                  </a:extLst>
                </p:cNvPr>
                <p:cNvSpPr/>
                <p:nvPr/>
              </p:nvSpPr>
              <p:spPr>
                <a:xfrm>
                  <a:off x="5336575" y="2274087"/>
                  <a:ext cx="270831" cy="131259"/>
                </a:xfrm>
                <a:custGeom>
                  <a:avLst/>
                  <a:gdLst>
                    <a:gd name="connsiteX0" fmla="*/ 221550 w 270831"/>
                    <a:gd name="connsiteY0" fmla="*/ 12722 h 131259"/>
                    <a:gd name="connsiteX1" fmla="*/ 224395 w 270831"/>
                    <a:gd name="connsiteY1" fmla="*/ 12877 h 131259"/>
                    <a:gd name="connsiteX2" fmla="*/ 229040 w 270831"/>
                    <a:gd name="connsiteY2" fmla="*/ 11410 h 131259"/>
                    <a:gd name="connsiteX3" fmla="*/ 230996 w 270831"/>
                    <a:gd name="connsiteY3" fmla="*/ 10456 h 131259"/>
                    <a:gd name="connsiteX4" fmla="*/ 235764 w 270831"/>
                    <a:gd name="connsiteY4" fmla="*/ 7115 h 131259"/>
                    <a:gd name="connsiteX5" fmla="*/ 238592 w 270831"/>
                    <a:gd name="connsiteY5" fmla="*/ 6186 h 131259"/>
                    <a:gd name="connsiteX6" fmla="*/ 242944 w 270831"/>
                    <a:gd name="connsiteY6" fmla="*/ 6414 h 131259"/>
                    <a:gd name="connsiteX7" fmla="*/ 245046 w 270831"/>
                    <a:gd name="connsiteY7" fmla="*/ 6186 h 131259"/>
                    <a:gd name="connsiteX8" fmla="*/ 245095 w 270831"/>
                    <a:gd name="connsiteY8" fmla="*/ 6503 h 131259"/>
                    <a:gd name="connsiteX9" fmla="*/ 242422 w 270831"/>
                    <a:gd name="connsiteY9" fmla="*/ 7864 h 131259"/>
                    <a:gd name="connsiteX10" fmla="*/ 240270 w 270831"/>
                    <a:gd name="connsiteY10" fmla="*/ 8321 h 131259"/>
                    <a:gd name="connsiteX11" fmla="*/ 237198 w 270831"/>
                    <a:gd name="connsiteY11" fmla="*/ 10334 h 131259"/>
                    <a:gd name="connsiteX12" fmla="*/ 234272 w 270831"/>
                    <a:gd name="connsiteY12" fmla="*/ 14881 h 131259"/>
                    <a:gd name="connsiteX13" fmla="*/ 232104 w 270831"/>
                    <a:gd name="connsiteY13" fmla="*/ 17114 h 131259"/>
                    <a:gd name="connsiteX14" fmla="*/ 232137 w 270831"/>
                    <a:gd name="connsiteY14" fmla="*/ 18092 h 131259"/>
                    <a:gd name="connsiteX15" fmla="*/ 234769 w 270831"/>
                    <a:gd name="connsiteY15" fmla="*/ 19845 h 131259"/>
                    <a:gd name="connsiteX16" fmla="*/ 237646 w 270831"/>
                    <a:gd name="connsiteY16" fmla="*/ 20847 h 131259"/>
                    <a:gd name="connsiteX17" fmla="*/ 240295 w 270831"/>
                    <a:gd name="connsiteY17" fmla="*/ 19942 h 131259"/>
                    <a:gd name="connsiteX18" fmla="*/ 241452 w 270831"/>
                    <a:gd name="connsiteY18" fmla="*/ 20301 h 131259"/>
                    <a:gd name="connsiteX19" fmla="*/ 242503 w 270831"/>
                    <a:gd name="connsiteY19" fmla="*/ 21597 h 131259"/>
                    <a:gd name="connsiteX20" fmla="*/ 243098 w 270831"/>
                    <a:gd name="connsiteY20" fmla="*/ 22893 h 131259"/>
                    <a:gd name="connsiteX21" fmla="*/ 243237 w 270831"/>
                    <a:gd name="connsiteY21" fmla="*/ 24164 h 131259"/>
                    <a:gd name="connsiteX22" fmla="*/ 242748 w 270831"/>
                    <a:gd name="connsiteY22" fmla="*/ 26845 h 131259"/>
                    <a:gd name="connsiteX23" fmla="*/ 241159 w 270831"/>
                    <a:gd name="connsiteY23" fmla="*/ 29526 h 131259"/>
                    <a:gd name="connsiteX24" fmla="*/ 239007 w 270831"/>
                    <a:gd name="connsiteY24" fmla="*/ 31776 h 131259"/>
                    <a:gd name="connsiteX25" fmla="*/ 239309 w 270831"/>
                    <a:gd name="connsiteY25" fmla="*/ 32485 h 131259"/>
                    <a:gd name="connsiteX26" fmla="*/ 241036 w 270831"/>
                    <a:gd name="connsiteY26" fmla="*/ 32852 h 131259"/>
                    <a:gd name="connsiteX27" fmla="*/ 249251 w 270831"/>
                    <a:gd name="connsiteY27" fmla="*/ 31393 h 131259"/>
                    <a:gd name="connsiteX28" fmla="*/ 250107 w 270831"/>
                    <a:gd name="connsiteY28" fmla="*/ 31499 h 131259"/>
                    <a:gd name="connsiteX29" fmla="*/ 250580 w 270831"/>
                    <a:gd name="connsiteY29" fmla="*/ 32224 h 131259"/>
                    <a:gd name="connsiteX30" fmla="*/ 250669 w 270831"/>
                    <a:gd name="connsiteY30" fmla="*/ 33561 h 131259"/>
                    <a:gd name="connsiteX31" fmla="*/ 251118 w 270831"/>
                    <a:gd name="connsiteY31" fmla="*/ 34775 h 131259"/>
                    <a:gd name="connsiteX32" fmla="*/ 251933 w 270831"/>
                    <a:gd name="connsiteY32" fmla="*/ 35867 h 131259"/>
                    <a:gd name="connsiteX33" fmla="*/ 251672 w 270831"/>
                    <a:gd name="connsiteY33" fmla="*/ 36983 h 131259"/>
                    <a:gd name="connsiteX34" fmla="*/ 248078 w 270831"/>
                    <a:gd name="connsiteY34" fmla="*/ 40496 h 131259"/>
                    <a:gd name="connsiteX35" fmla="*/ 252324 w 270831"/>
                    <a:gd name="connsiteY35" fmla="*/ 38279 h 131259"/>
                    <a:gd name="connsiteX36" fmla="*/ 255681 w 270831"/>
                    <a:gd name="connsiteY36" fmla="*/ 37660 h 131259"/>
                    <a:gd name="connsiteX37" fmla="*/ 261427 w 270831"/>
                    <a:gd name="connsiteY37" fmla="*/ 38760 h 131259"/>
                    <a:gd name="connsiteX38" fmla="*/ 263774 w 270831"/>
                    <a:gd name="connsiteY38" fmla="*/ 40040 h 131259"/>
                    <a:gd name="connsiteX39" fmla="*/ 265152 w 270831"/>
                    <a:gd name="connsiteY39" fmla="*/ 42281 h 131259"/>
                    <a:gd name="connsiteX40" fmla="*/ 267140 w 270831"/>
                    <a:gd name="connsiteY40" fmla="*/ 41539 h 131259"/>
                    <a:gd name="connsiteX41" fmla="*/ 268004 w 270831"/>
                    <a:gd name="connsiteY41" fmla="*/ 41588 h 131259"/>
                    <a:gd name="connsiteX42" fmla="*/ 269300 w 270831"/>
                    <a:gd name="connsiteY42" fmla="*/ 42868 h 131259"/>
                    <a:gd name="connsiteX43" fmla="*/ 269349 w 270831"/>
                    <a:gd name="connsiteY43" fmla="*/ 44220 h 131259"/>
                    <a:gd name="connsiteX44" fmla="*/ 268395 w 270831"/>
                    <a:gd name="connsiteY44" fmla="*/ 46168 h 131259"/>
                    <a:gd name="connsiteX45" fmla="*/ 268061 w 270831"/>
                    <a:gd name="connsiteY45" fmla="*/ 47961 h 131259"/>
                    <a:gd name="connsiteX46" fmla="*/ 267058 w 270831"/>
                    <a:gd name="connsiteY46" fmla="*/ 48695 h 131259"/>
                    <a:gd name="connsiteX47" fmla="*/ 265192 w 270831"/>
                    <a:gd name="connsiteY47" fmla="*/ 49224 h 131259"/>
                    <a:gd name="connsiteX48" fmla="*/ 264662 w 270831"/>
                    <a:gd name="connsiteY48" fmla="*/ 49827 h 131259"/>
                    <a:gd name="connsiteX49" fmla="*/ 265494 w 270831"/>
                    <a:gd name="connsiteY49" fmla="*/ 51188 h 131259"/>
                    <a:gd name="connsiteX50" fmla="*/ 266700 w 270831"/>
                    <a:gd name="connsiteY50" fmla="*/ 52517 h 131259"/>
                    <a:gd name="connsiteX51" fmla="*/ 268420 w 270831"/>
                    <a:gd name="connsiteY51" fmla="*/ 52582 h 131259"/>
                    <a:gd name="connsiteX52" fmla="*/ 268721 w 270831"/>
                    <a:gd name="connsiteY52" fmla="*/ 53193 h 131259"/>
                    <a:gd name="connsiteX53" fmla="*/ 268762 w 270831"/>
                    <a:gd name="connsiteY53" fmla="*/ 53935 h 131259"/>
                    <a:gd name="connsiteX54" fmla="*/ 268534 w 270831"/>
                    <a:gd name="connsiteY54" fmla="*/ 54799 h 131259"/>
                    <a:gd name="connsiteX55" fmla="*/ 267963 w 270831"/>
                    <a:gd name="connsiteY55" fmla="*/ 55394 h 131259"/>
                    <a:gd name="connsiteX56" fmla="*/ 267075 w 270831"/>
                    <a:gd name="connsiteY56" fmla="*/ 55720 h 131259"/>
                    <a:gd name="connsiteX57" fmla="*/ 265901 w 270831"/>
                    <a:gd name="connsiteY57" fmla="*/ 56673 h 131259"/>
                    <a:gd name="connsiteX58" fmla="*/ 270221 w 270831"/>
                    <a:gd name="connsiteY58" fmla="*/ 58760 h 131259"/>
                    <a:gd name="connsiteX59" fmla="*/ 270775 w 270831"/>
                    <a:gd name="connsiteY59" fmla="*/ 59534 h 131259"/>
                    <a:gd name="connsiteX60" fmla="*/ 270832 w 270831"/>
                    <a:gd name="connsiteY60" fmla="*/ 60675 h 131259"/>
                    <a:gd name="connsiteX61" fmla="*/ 270490 w 270831"/>
                    <a:gd name="connsiteY61" fmla="*/ 61914 h 131259"/>
                    <a:gd name="connsiteX62" fmla="*/ 269764 w 270831"/>
                    <a:gd name="connsiteY62" fmla="*/ 63275 h 131259"/>
                    <a:gd name="connsiteX63" fmla="*/ 268460 w 270831"/>
                    <a:gd name="connsiteY63" fmla="*/ 64073 h 131259"/>
                    <a:gd name="connsiteX64" fmla="*/ 265347 w 270831"/>
                    <a:gd name="connsiteY64" fmla="*/ 64204 h 131259"/>
                    <a:gd name="connsiteX65" fmla="*/ 263448 w 270831"/>
                    <a:gd name="connsiteY65" fmla="*/ 65084 h 131259"/>
                    <a:gd name="connsiteX66" fmla="*/ 264092 w 270831"/>
                    <a:gd name="connsiteY66" fmla="*/ 66551 h 131259"/>
                    <a:gd name="connsiteX67" fmla="*/ 264043 w 270831"/>
                    <a:gd name="connsiteY67" fmla="*/ 68401 h 131259"/>
                    <a:gd name="connsiteX68" fmla="*/ 263473 w 270831"/>
                    <a:gd name="connsiteY68" fmla="*/ 70585 h 131259"/>
                    <a:gd name="connsiteX69" fmla="*/ 261028 w 270831"/>
                    <a:gd name="connsiteY69" fmla="*/ 73877 h 131259"/>
                    <a:gd name="connsiteX70" fmla="*/ 258721 w 270831"/>
                    <a:gd name="connsiteY70" fmla="*/ 75638 h 131259"/>
                    <a:gd name="connsiteX71" fmla="*/ 256464 w 270831"/>
                    <a:gd name="connsiteY71" fmla="*/ 76770 h 131259"/>
                    <a:gd name="connsiteX72" fmla="*/ 252454 w 270831"/>
                    <a:gd name="connsiteY72" fmla="*/ 76371 h 131259"/>
                    <a:gd name="connsiteX73" fmla="*/ 250270 w 270831"/>
                    <a:gd name="connsiteY73" fmla="*/ 75491 h 131259"/>
                    <a:gd name="connsiteX74" fmla="*/ 250515 w 270831"/>
                    <a:gd name="connsiteY74" fmla="*/ 78335 h 131259"/>
                    <a:gd name="connsiteX75" fmla="*/ 248282 w 270831"/>
                    <a:gd name="connsiteY75" fmla="*/ 80087 h 131259"/>
                    <a:gd name="connsiteX76" fmla="*/ 248705 w 270831"/>
                    <a:gd name="connsiteY76" fmla="*/ 81554 h 131259"/>
                    <a:gd name="connsiteX77" fmla="*/ 249480 w 270831"/>
                    <a:gd name="connsiteY77" fmla="*/ 82296 h 131259"/>
                    <a:gd name="connsiteX78" fmla="*/ 249097 w 270831"/>
                    <a:gd name="connsiteY78" fmla="*/ 84170 h 131259"/>
                    <a:gd name="connsiteX79" fmla="*/ 248037 w 270831"/>
                    <a:gd name="connsiteY79" fmla="*/ 86020 h 131259"/>
                    <a:gd name="connsiteX80" fmla="*/ 246252 w 270831"/>
                    <a:gd name="connsiteY80" fmla="*/ 88033 h 131259"/>
                    <a:gd name="connsiteX81" fmla="*/ 244239 w 270831"/>
                    <a:gd name="connsiteY81" fmla="*/ 89288 h 131259"/>
                    <a:gd name="connsiteX82" fmla="*/ 240238 w 270831"/>
                    <a:gd name="connsiteY82" fmla="*/ 90796 h 131259"/>
                    <a:gd name="connsiteX83" fmla="*/ 236823 w 270831"/>
                    <a:gd name="connsiteY83" fmla="*/ 93314 h 131259"/>
                    <a:gd name="connsiteX84" fmla="*/ 234484 w 270831"/>
                    <a:gd name="connsiteY84" fmla="*/ 94301 h 131259"/>
                    <a:gd name="connsiteX85" fmla="*/ 228673 w 270831"/>
                    <a:gd name="connsiteY85" fmla="*/ 94260 h 131259"/>
                    <a:gd name="connsiteX86" fmla="*/ 222740 w 270831"/>
                    <a:gd name="connsiteY86" fmla="*/ 95882 h 131259"/>
                    <a:gd name="connsiteX87" fmla="*/ 214362 w 270831"/>
                    <a:gd name="connsiteY87" fmla="*/ 99288 h 131259"/>
                    <a:gd name="connsiteX88" fmla="*/ 208715 w 270831"/>
                    <a:gd name="connsiteY88" fmla="*/ 102010 h 131259"/>
                    <a:gd name="connsiteX89" fmla="*/ 204363 w 270831"/>
                    <a:gd name="connsiteY89" fmla="*/ 105091 h 131259"/>
                    <a:gd name="connsiteX90" fmla="*/ 198609 w 270831"/>
                    <a:gd name="connsiteY90" fmla="*/ 110127 h 131259"/>
                    <a:gd name="connsiteX91" fmla="*/ 194338 w 270831"/>
                    <a:gd name="connsiteY91" fmla="*/ 112238 h 131259"/>
                    <a:gd name="connsiteX92" fmla="*/ 191869 w 270831"/>
                    <a:gd name="connsiteY92" fmla="*/ 112809 h 131259"/>
                    <a:gd name="connsiteX93" fmla="*/ 187077 w 270831"/>
                    <a:gd name="connsiteY93" fmla="*/ 113257 h 131259"/>
                    <a:gd name="connsiteX94" fmla="*/ 183051 w 270831"/>
                    <a:gd name="connsiteY94" fmla="*/ 114618 h 131259"/>
                    <a:gd name="connsiteX95" fmla="*/ 169710 w 270831"/>
                    <a:gd name="connsiteY95" fmla="*/ 117177 h 131259"/>
                    <a:gd name="connsiteX96" fmla="*/ 165187 w 270831"/>
                    <a:gd name="connsiteY96" fmla="*/ 118570 h 131259"/>
                    <a:gd name="connsiteX97" fmla="*/ 164608 w 270831"/>
                    <a:gd name="connsiteY97" fmla="*/ 119842 h 131259"/>
                    <a:gd name="connsiteX98" fmla="*/ 162726 w 270831"/>
                    <a:gd name="connsiteY98" fmla="*/ 121749 h 131259"/>
                    <a:gd name="connsiteX99" fmla="*/ 162612 w 270831"/>
                    <a:gd name="connsiteY99" fmla="*/ 122442 h 131259"/>
                    <a:gd name="connsiteX100" fmla="*/ 163435 w 270831"/>
                    <a:gd name="connsiteY100" fmla="*/ 122971 h 131259"/>
                    <a:gd name="connsiteX101" fmla="*/ 163581 w 270831"/>
                    <a:gd name="connsiteY101" fmla="*/ 123664 h 131259"/>
                    <a:gd name="connsiteX102" fmla="*/ 161935 w 270831"/>
                    <a:gd name="connsiteY102" fmla="*/ 125921 h 131259"/>
                    <a:gd name="connsiteX103" fmla="*/ 158626 w 270831"/>
                    <a:gd name="connsiteY103" fmla="*/ 127551 h 131259"/>
                    <a:gd name="connsiteX104" fmla="*/ 157070 w 270831"/>
                    <a:gd name="connsiteY104" fmla="*/ 127519 h 131259"/>
                    <a:gd name="connsiteX105" fmla="*/ 155179 w 270831"/>
                    <a:gd name="connsiteY105" fmla="*/ 126125 h 131259"/>
                    <a:gd name="connsiteX106" fmla="*/ 154356 w 270831"/>
                    <a:gd name="connsiteY106" fmla="*/ 126174 h 131259"/>
                    <a:gd name="connsiteX107" fmla="*/ 154030 w 270831"/>
                    <a:gd name="connsiteY107" fmla="*/ 126386 h 131259"/>
                    <a:gd name="connsiteX108" fmla="*/ 154013 w 270831"/>
                    <a:gd name="connsiteY108" fmla="*/ 126826 h 131259"/>
                    <a:gd name="connsiteX109" fmla="*/ 155097 w 270831"/>
                    <a:gd name="connsiteY109" fmla="*/ 128505 h 131259"/>
                    <a:gd name="connsiteX110" fmla="*/ 153109 w 270831"/>
                    <a:gd name="connsiteY110" fmla="*/ 129295 h 131259"/>
                    <a:gd name="connsiteX111" fmla="*/ 144405 w 270831"/>
                    <a:gd name="connsiteY111" fmla="*/ 131260 h 131259"/>
                    <a:gd name="connsiteX112" fmla="*/ 129605 w 270831"/>
                    <a:gd name="connsiteY112" fmla="*/ 129801 h 131259"/>
                    <a:gd name="connsiteX113" fmla="*/ 123745 w 270831"/>
                    <a:gd name="connsiteY113" fmla="*/ 128293 h 131259"/>
                    <a:gd name="connsiteX114" fmla="*/ 116508 w 270831"/>
                    <a:gd name="connsiteY114" fmla="*/ 125889 h 131259"/>
                    <a:gd name="connsiteX115" fmla="*/ 112197 w 270831"/>
                    <a:gd name="connsiteY115" fmla="*/ 125253 h 131259"/>
                    <a:gd name="connsiteX116" fmla="*/ 106093 w 270831"/>
                    <a:gd name="connsiteY116" fmla="*/ 125090 h 131259"/>
                    <a:gd name="connsiteX117" fmla="*/ 101081 w 270831"/>
                    <a:gd name="connsiteY117" fmla="*/ 121716 h 131259"/>
                    <a:gd name="connsiteX118" fmla="*/ 98758 w 270831"/>
                    <a:gd name="connsiteY118" fmla="*/ 119638 h 131259"/>
                    <a:gd name="connsiteX119" fmla="*/ 98571 w 270831"/>
                    <a:gd name="connsiteY119" fmla="*/ 118774 h 131259"/>
                    <a:gd name="connsiteX120" fmla="*/ 98832 w 270831"/>
                    <a:gd name="connsiteY120" fmla="*/ 117788 h 131259"/>
                    <a:gd name="connsiteX121" fmla="*/ 99353 w 270831"/>
                    <a:gd name="connsiteY121" fmla="*/ 117112 h 131259"/>
                    <a:gd name="connsiteX122" fmla="*/ 100136 w 270831"/>
                    <a:gd name="connsiteY122" fmla="*/ 116745 h 131259"/>
                    <a:gd name="connsiteX123" fmla="*/ 101790 w 270831"/>
                    <a:gd name="connsiteY123" fmla="*/ 116712 h 131259"/>
                    <a:gd name="connsiteX124" fmla="*/ 102002 w 270831"/>
                    <a:gd name="connsiteY124" fmla="*/ 116419 h 131259"/>
                    <a:gd name="connsiteX125" fmla="*/ 100747 w 270831"/>
                    <a:gd name="connsiteY125" fmla="*/ 114748 h 131259"/>
                    <a:gd name="connsiteX126" fmla="*/ 99533 w 270831"/>
                    <a:gd name="connsiteY126" fmla="*/ 115294 h 131259"/>
                    <a:gd name="connsiteX127" fmla="*/ 96305 w 270831"/>
                    <a:gd name="connsiteY127" fmla="*/ 117650 h 131259"/>
                    <a:gd name="connsiteX128" fmla="*/ 94863 w 270831"/>
                    <a:gd name="connsiteY128" fmla="*/ 117560 h 131259"/>
                    <a:gd name="connsiteX129" fmla="*/ 92980 w 270831"/>
                    <a:gd name="connsiteY129" fmla="*/ 116386 h 131259"/>
                    <a:gd name="connsiteX130" fmla="*/ 92907 w 270831"/>
                    <a:gd name="connsiteY130" fmla="*/ 115237 h 131259"/>
                    <a:gd name="connsiteX131" fmla="*/ 89215 w 270831"/>
                    <a:gd name="connsiteY131" fmla="*/ 114797 h 131259"/>
                    <a:gd name="connsiteX132" fmla="*/ 86004 w 270831"/>
                    <a:gd name="connsiteY132" fmla="*/ 113371 h 131259"/>
                    <a:gd name="connsiteX133" fmla="*/ 82826 w 270831"/>
                    <a:gd name="connsiteY133" fmla="*/ 111301 h 131259"/>
                    <a:gd name="connsiteX134" fmla="*/ 82345 w 270831"/>
                    <a:gd name="connsiteY134" fmla="*/ 110527 h 131259"/>
                    <a:gd name="connsiteX135" fmla="*/ 83869 w 270831"/>
                    <a:gd name="connsiteY135" fmla="*/ 109369 h 131259"/>
                    <a:gd name="connsiteX136" fmla="*/ 83576 w 270831"/>
                    <a:gd name="connsiteY136" fmla="*/ 109141 h 131259"/>
                    <a:gd name="connsiteX137" fmla="*/ 82426 w 270831"/>
                    <a:gd name="connsiteY137" fmla="*/ 108954 h 131259"/>
                    <a:gd name="connsiteX138" fmla="*/ 80104 w 270831"/>
                    <a:gd name="connsiteY138" fmla="*/ 109329 h 131259"/>
                    <a:gd name="connsiteX139" fmla="*/ 76591 w 270831"/>
                    <a:gd name="connsiteY139" fmla="*/ 111937 h 131259"/>
                    <a:gd name="connsiteX140" fmla="*/ 75075 w 270831"/>
                    <a:gd name="connsiteY140" fmla="*/ 112540 h 131259"/>
                    <a:gd name="connsiteX141" fmla="*/ 52158 w 270831"/>
                    <a:gd name="connsiteY141" fmla="*/ 113143 h 131259"/>
                    <a:gd name="connsiteX142" fmla="*/ 46356 w 270831"/>
                    <a:gd name="connsiteY142" fmla="*/ 113412 h 131259"/>
                    <a:gd name="connsiteX143" fmla="*/ 45231 w 270831"/>
                    <a:gd name="connsiteY143" fmla="*/ 113811 h 131259"/>
                    <a:gd name="connsiteX144" fmla="*/ 44212 w 270831"/>
                    <a:gd name="connsiteY144" fmla="*/ 112116 h 131259"/>
                    <a:gd name="connsiteX145" fmla="*/ 43316 w 270831"/>
                    <a:gd name="connsiteY145" fmla="*/ 108326 h 131259"/>
                    <a:gd name="connsiteX146" fmla="*/ 42973 w 270831"/>
                    <a:gd name="connsiteY146" fmla="*/ 105841 h 131259"/>
                    <a:gd name="connsiteX147" fmla="*/ 43210 w 270831"/>
                    <a:gd name="connsiteY147" fmla="*/ 104626 h 131259"/>
                    <a:gd name="connsiteX148" fmla="*/ 44017 w 270831"/>
                    <a:gd name="connsiteY148" fmla="*/ 103176 h 131259"/>
                    <a:gd name="connsiteX149" fmla="*/ 45263 w 270831"/>
                    <a:gd name="connsiteY149" fmla="*/ 103420 h 131259"/>
                    <a:gd name="connsiteX150" fmla="*/ 46445 w 270831"/>
                    <a:gd name="connsiteY150" fmla="*/ 104577 h 131259"/>
                    <a:gd name="connsiteX151" fmla="*/ 47513 w 270831"/>
                    <a:gd name="connsiteY151" fmla="*/ 106215 h 131259"/>
                    <a:gd name="connsiteX152" fmla="*/ 48752 w 270831"/>
                    <a:gd name="connsiteY152" fmla="*/ 106998 h 131259"/>
                    <a:gd name="connsiteX153" fmla="*/ 56755 w 270831"/>
                    <a:gd name="connsiteY153" fmla="*/ 105009 h 131259"/>
                    <a:gd name="connsiteX154" fmla="*/ 60006 w 270831"/>
                    <a:gd name="connsiteY154" fmla="*/ 103673 h 131259"/>
                    <a:gd name="connsiteX155" fmla="*/ 61384 w 270831"/>
                    <a:gd name="connsiteY155" fmla="*/ 102401 h 131259"/>
                    <a:gd name="connsiteX156" fmla="*/ 63005 w 270831"/>
                    <a:gd name="connsiteY156" fmla="*/ 100242 h 131259"/>
                    <a:gd name="connsiteX157" fmla="*/ 64725 w 270831"/>
                    <a:gd name="connsiteY157" fmla="*/ 99125 h 131259"/>
                    <a:gd name="connsiteX158" fmla="*/ 65548 w 270831"/>
                    <a:gd name="connsiteY158" fmla="*/ 98082 h 131259"/>
                    <a:gd name="connsiteX159" fmla="*/ 67170 w 270831"/>
                    <a:gd name="connsiteY159" fmla="*/ 94765 h 131259"/>
                    <a:gd name="connsiteX160" fmla="*/ 68287 w 270831"/>
                    <a:gd name="connsiteY160" fmla="*/ 93225 h 131259"/>
                    <a:gd name="connsiteX161" fmla="*/ 69623 w 270831"/>
                    <a:gd name="connsiteY161" fmla="*/ 92084 h 131259"/>
                    <a:gd name="connsiteX162" fmla="*/ 71180 w 270831"/>
                    <a:gd name="connsiteY162" fmla="*/ 91350 h 131259"/>
                    <a:gd name="connsiteX163" fmla="*/ 74709 w 270831"/>
                    <a:gd name="connsiteY163" fmla="*/ 90829 h 131259"/>
                    <a:gd name="connsiteX164" fmla="*/ 72386 w 270831"/>
                    <a:gd name="connsiteY164" fmla="*/ 90046 h 131259"/>
                    <a:gd name="connsiteX165" fmla="*/ 70169 w 270831"/>
                    <a:gd name="connsiteY165" fmla="*/ 90046 h 131259"/>
                    <a:gd name="connsiteX166" fmla="*/ 62614 w 270831"/>
                    <a:gd name="connsiteY166" fmla="*/ 93551 h 131259"/>
                    <a:gd name="connsiteX167" fmla="*/ 60080 w 270831"/>
                    <a:gd name="connsiteY167" fmla="*/ 93551 h 131259"/>
                    <a:gd name="connsiteX168" fmla="*/ 60186 w 270831"/>
                    <a:gd name="connsiteY168" fmla="*/ 93013 h 131259"/>
                    <a:gd name="connsiteX169" fmla="*/ 61253 w 270831"/>
                    <a:gd name="connsiteY169" fmla="*/ 92010 h 131259"/>
                    <a:gd name="connsiteX170" fmla="*/ 63853 w 270831"/>
                    <a:gd name="connsiteY170" fmla="*/ 90307 h 131259"/>
                    <a:gd name="connsiteX171" fmla="*/ 62068 w 270831"/>
                    <a:gd name="connsiteY171" fmla="*/ 90177 h 131259"/>
                    <a:gd name="connsiteX172" fmla="*/ 61392 w 270831"/>
                    <a:gd name="connsiteY172" fmla="*/ 89411 h 131259"/>
                    <a:gd name="connsiteX173" fmla="*/ 61310 w 270831"/>
                    <a:gd name="connsiteY173" fmla="*/ 87773 h 131259"/>
                    <a:gd name="connsiteX174" fmla="*/ 62639 w 270831"/>
                    <a:gd name="connsiteY174" fmla="*/ 85148 h 131259"/>
                    <a:gd name="connsiteX175" fmla="*/ 68784 w 270831"/>
                    <a:gd name="connsiteY175" fmla="*/ 81677 h 131259"/>
                    <a:gd name="connsiteX176" fmla="*/ 70911 w 270831"/>
                    <a:gd name="connsiteY176" fmla="*/ 81163 h 131259"/>
                    <a:gd name="connsiteX177" fmla="*/ 71563 w 270831"/>
                    <a:gd name="connsiteY177" fmla="*/ 80479 h 131259"/>
                    <a:gd name="connsiteX178" fmla="*/ 70756 w 270831"/>
                    <a:gd name="connsiteY178" fmla="*/ 79924 h 131259"/>
                    <a:gd name="connsiteX179" fmla="*/ 69468 w 270831"/>
                    <a:gd name="connsiteY179" fmla="*/ 79590 h 131259"/>
                    <a:gd name="connsiteX180" fmla="*/ 63283 w 270831"/>
                    <a:gd name="connsiteY180" fmla="*/ 83160 h 131259"/>
                    <a:gd name="connsiteX181" fmla="*/ 58776 w 270831"/>
                    <a:gd name="connsiteY181" fmla="*/ 84390 h 131259"/>
                    <a:gd name="connsiteX182" fmla="*/ 57439 w 270831"/>
                    <a:gd name="connsiteY182" fmla="*/ 84154 h 131259"/>
                    <a:gd name="connsiteX183" fmla="*/ 55108 w 270831"/>
                    <a:gd name="connsiteY183" fmla="*/ 82769 h 131259"/>
                    <a:gd name="connsiteX184" fmla="*/ 54359 w 270831"/>
                    <a:gd name="connsiteY184" fmla="*/ 82149 h 131259"/>
                    <a:gd name="connsiteX185" fmla="*/ 53348 w 270831"/>
                    <a:gd name="connsiteY185" fmla="*/ 80560 h 131259"/>
                    <a:gd name="connsiteX186" fmla="*/ 53462 w 270831"/>
                    <a:gd name="connsiteY186" fmla="*/ 79598 h 131259"/>
                    <a:gd name="connsiteX187" fmla="*/ 55614 w 270831"/>
                    <a:gd name="connsiteY187" fmla="*/ 76811 h 131259"/>
                    <a:gd name="connsiteX188" fmla="*/ 55263 w 270831"/>
                    <a:gd name="connsiteY188" fmla="*/ 76265 h 131259"/>
                    <a:gd name="connsiteX189" fmla="*/ 53788 w 270831"/>
                    <a:gd name="connsiteY189" fmla="*/ 75980 h 131259"/>
                    <a:gd name="connsiteX190" fmla="*/ 49827 w 270831"/>
                    <a:gd name="connsiteY190" fmla="*/ 73405 h 131259"/>
                    <a:gd name="connsiteX191" fmla="*/ 43536 w 270831"/>
                    <a:gd name="connsiteY191" fmla="*/ 73657 h 131259"/>
                    <a:gd name="connsiteX192" fmla="*/ 28003 w 270831"/>
                    <a:gd name="connsiteY192" fmla="*/ 72174 h 131259"/>
                    <a:gd name="connsiteX193" fmla="*/ 24783 w 270831"/>
                    <a:gd name="connsiteY193" fmla="*/ 72810 h 131259"/>
                    <a:gd name="connsiteX194" fmla="*/ 19486 w 270831"/>
                    <a:gd name="connsiteY194" fmla="*/ 75018 h 131259"/>
                    <a:gd name="connsiteX195" fmla="*/ 16291 w 270831"/>
                    <a:gd name="connsiteY195" fmla="*/ 75744 h 131259"/>
                    <a:gd name="connsiteX196" fmla="*/ 14808 w 270831"/>
                    <a:gd name="connsiteY196" fmla="*/ 75263 h 131259"/>
                    <a:gd name="connsiteX197" fmla="*/ 13463 w 270831"/>
                    <a:gd name="connsiteY197" fmla="*/ 74097 h 131259"/>
                    <a:gd name="connsiteX198" fmla="*/ 12249 w 270831"/>
                    <a:gd name="connsiteY198" fmla="*/ 72524 h 131259"/>
                    <a:gd name="connsiteX199" fmla="*/ 11149 w 270831"/>
                    <a:gd name="connsiteY199" fmla="*/ 70528 h 131259"/>
                    <a:gd name="connsiteX200" fmla="*/ 11621 w 270831"/>
                    <a:gd name="connsiteY200" fmla="*/ 69142 h 131259"/>
                    <a:gd name="connsiteX201" fmla="*/ 13675 w 270831"/>
                    <a:gd name="connsiteY201" fmla="*/ 68352 h 131259"/>
                    <a:gd name="connsiteX202" fmla="*/ 15183 w 270831"/>
                    <a:gd name="connsiteY202" fmla="*/ 67977 h 131259"/>
                    <a:gd name="connsiteX203" fmla="*/ 19404 w 270831"/>
                    <a:gd name="connsiteY203" fmla="*/ 68458 h 131259"/>
                    <a:gd name="connsiteX204" fmla="*/ 24571 w 270831"/>
                    <a:gd name="connsiteY204" fmla="*/ 67064 h 131259"/>
                    <a:gd name="connsiteX205" fmla="*/ 27856 w 270831"/>
                    <a:gd name="connsiteY205" fmla="*/ 66771 h 131259"/>
                    <a:gd name="connsiteX206" fmla="*/ 28801 w 270831"/>
                    <a:gd name="connsiteY206" fmla="*/ 66551 h 131259"/>
                    <a:gd name="connsiteX207" fmla="*/ 30733 w 270831"/>
                    <a:gd name="connsiteY207" fmla="*/ 65067 h 131259"/>
                    <a:gd name="connsiteX208" fmla="*/ 31694 w 270831"/>
                    <a:gd name="connsiteY208" fmla="*/ 64701 h 131259"/>
                    <a:gd name="connsiteX209" fmla="*/ 33186 w 270831"/>
                    <a:gd name="connsiteY209" fmla="*/ 65214 h 131259"/>
                    <a:gd name="connsiteX210" fmla="*/ 33903 w 270831"/>
                    <a:gd name="connsiteY210" fmla="*/ 66217 h 131259"/>
                    <a:gd name="connsiteX211" fmla="*/ 39094 w 270831"/>
                    <a:gd name="connsiteY211" fmla="*/ 64660 h 131259"/>
                    <a:gd name="connsiteX212" fmla="*/ 40879 w 270831"/>
                    <a:gd name="connsiteY212" fmla="*/ 63878 h 131259"/>
                    <a:gd name="connsiteX213" fmla="*/ 41074 w 270831"/>
                    <a:gd name="connsiteY213" fmla="*/ 63389 h 131259"/>
                    <a:gd name="connsiteX214" fmla="*/ 41857 w 270831"/>
                    <a:gd name="connsiteY214" fmla="*/ 62826 h 131259"/>
                    <a:gd name="connsiteX215" fmla="*/ 44441 w 270831"/>
                    <a:gd name="connsiteY215" fmla="*/ 63674 h 131259"/>
                    <a:gd name="connsiteX216" fmla="*/ 46527 w 270831"/>
                    <a:gd name="connsiteY216" fmla="*/ 63698 h 131259"/>
                    <a:gd name="connsiteX217" fmla="*/ 49143 w 270831"/>
                    <a:gd name="connsiteY217" fmla="*/ 63128 h 131259"/>
                    <a:gd name="connsiteX218" fmla="*/ 53755 w 270831"/>
                    <a:gd name="connsiteY218" fmla="*/ 62859 h 131259"/>
                    <a:gd name="connsiteX219" fmla="*/ 64081 w 270831"/>
                    <a:gd name="connsiteY219" fmla="*/ 62728 h 131259"/>
                    <a:gd name="connsiteX220" fmla="*/ 65622 w 270831"/>
                    <a:gd name="connsiteY220" fmla="*/ 61449 h 131259"/>
                    <a:gd name="connsiteX221" fmla="*/ 66355 w 270831"/>
                    <a:gd name="connsiteY221" fmla="*/ 60324 h 131259"/>
                    <a:gd name="connsiteX222" fmla="*/ 67268 w 270831"/>
                    <a:gd name="connsiteY222" fmla="*/ 57464 h 131259"/>
                    <a:gd name="connsiteX223" fmla="*/ 66868 w 270831"/>
                    <a:gd name="connsiteY223" fmla="*/ 56877 h 131259"/>
                    <a:gd name="connsiteX224" fmla="*/ 60414 w 270831"/>
                    <a:gd name="connsiteY224" fmla="*/ 59509 h 131259"/>
                    <a:gd name="connsiteX225" fmla="*/ 58939 w 270831"/>
                    <a:gd name="connsiteY225" fmla="*/ 59469 h 131259"/>
                    <a:gd name="connsiteX226" fmla="*/ 51482 w 270831"/>
                    <a:gd name="connsiteY226" fmla="*/ 58067 h 131259"/>
                    <a:gd name="connsiteX227" fmla="*/ 48776 w 270831"/>
                    <a:gd name="connsiteY227" fmla="*/ 56494 h 131259"/>
                    <a:gd name="connsiteX228" fmla="*/ 49664 w 270831"/>
                    <a:gd name="connsiteY228" fmla="*/ 55223 h 131259"/>
                    <a:gd name="connsiteX229" fmla="*/ 53625 w 270831"/>
                    <a:gd name="connsiteY229" fmla="*/ 52484 h 131259"/>
                    <a:gd name="connsiteX230" fmla="*/ 57700 w 270831"/>
                    <a:gd name="connsiteY230" fmla="*/ 50300 h 131259"/>
                    <a:gd name="connsiteX231" fmla="*/ 63715 w 270831"/>
                    <a:gd name="connsiteY231" fmla="*/ 47929 h 131259"/>
                    <a:gd name="connsiteX232" fmla="*/ 65124 w 270831"/>
                    <a:gd name="connsiteY232" fmla="*/ 46999 h 131259"/>
                    <a:gd name="connsiteX233" fmla="*/ 65263 w 270831"/>
                    <a:gd name="connsiteY233" fmla="*/ 45916 h 131259"/>
                    <a:gd name="connsiteX234" fmla="*/ 61262 w 270831"/>
                    <a:gd name="connsiteY234" fmla="*/ 43960 h 131259"/>
                    <a:gd name="connsiteX235" fmla="*/ 53682 w 270831"/>
                    <a:gd name="connsiteY235" fmla="*/ 44498 h 131259"/>
                    <a:gd name="connsiteX236" fmla="*/ 51734 w 270831"/>
                    <a:gd name="connsiteY236" fmla="*/ 42183 h 131259"/>
                    <a:gd name="connsiteX237" fmla="*/ 45443 w 270831"/>
                    <a:gd name="connsiteY237" fmla="*/ 40814 h 131259"/>
                    <a:gd name="connsiteX238" fmla="*/ 41246 w 270831"/>
                    <a:gd name="connsiteY238" fmla="*/ 41678 h 131259"/>
                    <a:gd name="connsiteX239" fmla="*/ 39021 w 270831"/>
                    <a:gd name="connsiteY239" fmla="*/ 40276 h 131259"/>
                    <a:gd name="connsiteX240" fmla="*/ 33577 w 270831"/>
                    <a:gd name="connsiteY240" fmla="*/ 42207 h 131259"/>
                    <a:gd name="connsiteX241" fmla="*/ 21613 w 270831"/>
                    <a:gd name="connsiteY241" fmla="*/ 45011 h 131259"/>
                    <a:gd name="connsiteX242" fmla="*/ 16845 w 270831"/>
                    <a:gd name="connsiteY242" fmla="*/ 46951 h 131259"/>
                    <a:gd name="connsiteX243" fmla="*/ 14286 w 270831"/>
                    <a:gd name="connsiteY243" fmla="*/ 47594 h 131259"/>
                    <a:gd name="connsiteX244" fmla="*/ 11328 w 270831"/>
                    <a:gd name="connsiteY244" fmla="*/ 46005 h 131259"/>
                    <a:gd name="connsiteX245" fmla="*/ 6243 w 270831"/>
                    <a:gd name="connsiteY245" fmla="*/ 44220 h 131259"/>
                    <a:gd name="connsiteX246" fmla="*/ 522 w 270831"/>
                    <a:gd name="connsiteY246" fmla="*/ 43666 h 131259"/>
                    <a:gd name="connsiteX247" fmla="*/ 0 w 270831"/>
                    <a:gd name="connsiteY247" fmla="*/ 42615 h 131259"/>
                    <a:gd name="connsiteX248" fmla="*/ 3341 w 270831"/>
                    <a:gd name="connsiteY248" fmla="*/ 39396 h 131259"/>
                    <a:gd name="connsiteX249" fmla="*/ 5623 w 270831"/>
                    <a:gd name="connsiteY249" fmla="*/ 38809 h 131259"/>
                    <a:gd name="connsiteX250" fmla="*/ 7930 w 270831"/>
                    <a:gd name="connsiteY250" fmla="*/ 39111 h 131259"/>
                    <a:gd name="connsiteX251" fmla="*/ 12322 w 270831"/>
                    <a:gd name="connsiteY251" fmla="*/ 41352 h 131259"/>
                    <a:gd name="connsiteX252" fmla="*/ 15354 w 270831"/>
                    <a:gd name="connsiteY252" fmla="*/ 42061 h 131259"/>
                    <a:gd name="connsiteX253" fmla="*/ 11548 w 270831"/>
                    <a:gd name="connsiteY253" fmla="*/ 38760 h 131259"/>
                    <a:gd name="connsiteX254" fmla="*/ 11654 w 270831"/>
                    <a:gd name="connsiteY254" fmla="*/ 37489 h 131259"/>
                    <a:gd name="connsiteX255" fmla="*/ 11361 w 270831"/>
                    <a:gd name="connsiteY255" fmla="*/ 35598 h 131259"/>
                    <a:gd name="connsiteX256" fmla="*/ 10187 w 270831"/>
                    <a:gd name="connsiteY256" fmla="*/ 34775 h 131259"/>
                    <a:gd name="connsiteX257" fmla="*/ 9022 w 270831"/>
                    <a:gd name="connsiteY257" fmla="*/ 32672 h 131259"/>
                    <a:gd name="connsiteX258" fmla="*/ 9502 w 270831"/>
                    <a:gd name="connsiteY258" fmla="*/ 31963 h 131259"/>
                    <a:gd name="connsiteX259" fmla="*/ 10994 w 270831"/>
                    <a:gd name="connsiteY259" fmla="*/ 31711 h 131259"/>
                    <a:gd name="connsiteX260" fmla="*/ 14058 w 270831"/>
                    <a:gd name="connsiteY260" fmla="*/ 32428 h 131259"/>
                    <a:gd name="connsiteX261" fmla="*/ 21328 w 270831"/>
                    <a:gd name="connsiteY261" fmla="*/ 36071 h 131259"/>
                    <a:gd name="connsiteX262" fmla="*/ 24897 w 270831"/>
                    <a:gd name="connsiteY262" fmla="*/ 35427 h 131259"/>
                    <a:gd name="connsiteX263" fmla="*/ 26853 w 270831"/>
                    <a:gd name="connsiteY263" fmla="*/ 34082 h 131259"/>
                    <a:gd name="connsiteX264" fmla="*/ 29518 w 270831"/>
                    <a:gd name="connsiteY264" fmla="*/ 33080 h 131259"/>
                    <a:gd name="connsiteX265" fmla="*/ 28769 w 270831"/>
                    <a:gd name="connsiteY265" fmla="*/ 32566 h 131259"/>
                    <a:gd name="connsiteX266" fmla="*/ 22485 w 270831"/>
                    <a:gd name="connsiteY266" fmla="*/ 32501 h 131259"/>
                    <a:gd name="connsiteX267" fmla="*/ 19127 w 270831"/>
                    <a:gd name="connsiteY267" fmla="*/ 31759 h 131259"/>
                    <a:gd name="connsiteX268" fmla="*/ 17424 w 270831"/>
                    <a:gd name="connsiteY268" fmla="*/ 30692 h 131259"/>
                    <a:gd name="connsiteX269" fmla="*/ 15949 w 270831"/>
                    <a:gd name="connsiteY269" fmla="*/ 28874 h 131259"/>
                    <a:gd name="connsiteX270" fmla="*/ 16471 w 270831"/>
                    <a:gd name="connsiteY270" fmla="*/ 28035 h 131259"/>
                    <a:gd name="connsiteX271" fmla="*/ 18223 w 270831"/>
                    <a:gd name="connsiteY271" fmla="*/ 27375 h 131259"/>
                    <a:gd name="connsiteX272" fmla="*/ 23585 w 270831"/>
                    <a:gd name="connsiteY272" fmla="*/ 27562 h 131259"/>
                    <a:gd name="connsiteX273" fmla="*/ 20048 w 270831"/>
                    <a:gd name="connsiteY273" fmla="*/ 24408 h 131259"/>
                    <a:gd name="connsiteX274" fmla="*/ 17587 w 270831"/>
                    <a:gd name="connsiteY274" fmla="*/ 22591 h 131259"/>
                    <a:gd name="connsiteX275" fmla="*/ 17318 w 270831"/>
                    <a:gd name="connsiteY275" fmla="*/ 21711 h 131259"/>
                    <a:gd name="connsiteX276" fmla="*/ 17489 w 270831"/>
                    <a:gd name="connsiteY276" fmla="*/ 20611 h 131259"/>
                    <a:gd name="connsiteX277" fmla="*/ 17823 w 270831"/>
                    <a:gd name="connsiteY277" fmla="*/ 19869 h 131259"/>
                    <a:gd name="connsiteX278" fmla="*/ 18312 w 270831"/>
                    <a:gd name="connsiteY278" fmla="*/ 19502 h 131259"/>
                    <a:gd name="connsiteX279" fmla="*/ 24482 w 270831"/>
                    <a:gd name="connsiteY279" fmla="*/ 21352 h 131259"/>
                    <a:gd name="connsiteX280" fmla="*/ 25826 w 270831"/>
                    <a:gd name="connsiteY280" fmla="*/ 21434 h 131259"/>
                    <a:gd name="connsiteX281" fmla="*/ 24588 w 270831"/>
                    <a:gd name="connsiteY281" fmla="*/ 20236 h 131259"/>
                    <a:gd name="connsiteX282" fmla="*/ 21882 w 270831"/>
                    <a:gd name="connsiteY282" fmla="*/ 18484 h 131259"/>
                    <a:gd name="connsiteX283" fmla="*/ 21760 w 270831"/>
                    <a:gd name="connsiteY283" fmla="*/ 17823 h 131259"/>
                    <a:gd name="connsiteX284" fmla="*/ 22893 w 270831"/>
                    <a:gd name="connsiteY284" fmla="*/ 17286 h 131259"/>
                    <a:gd name="connsiteX285" fmla="*/ 23455 w 270831"/>
                    <a:gd name="connsiteY285" fmla="*/ 16275 h 131259"/>
                    <a:gd name="connsiteX286" fmla="*/ 23512 w 270831"/>
                    <a:gd name="connsiteY286" fmla="*/ 15452 h 131259"/>
                    <a:gd name="connsiteX287" fmla="*/ 25378 w 270831"/>
                    <a:gd name="connsiteY287" fmla="*/ 14743 h 131259"/>
                    <a:gd name="connsiteX288" fmla="*/ 27261 w 270831"/>
                    <a:gd name="connsiteY288" fmla="*/ 14718 h 131259"/>
                    <a:gd name="connsiteX289" fmla="*/ 29160 w 270831"/>
                    <a:gd name="connsiteY289" fmla="*/ 15362 h 131259"/>
                    <a:gd name="connsiteX290" fmla="*/ 35052 w 270831"/>
                    <a:gd name="connsiteY290" fmla="*/ 18785 h 131259"/>
                    <a:gd name="connsiteX291" fmla="*/ 35891 w 270831"/>
                    <a:gd name="connsiteY291" fmla="*/ 19747 h 131259"/>
                    <a:gd name="connsiteX292" fmla="*/ 36177 w 270831"/>
                    <a:gd name="connsiteY292" fmla="*/ 21018 h 131259"/>
                    <a:gd name="connsiteX293" fmla="*/ 35883 w 270831"/>
                    <a:gd name="connsiteY293" fmla="*/ 22583 h 131259"/>
                    <a:gd name="connsiteX294" fmla="*/ 36136 w 270831"/>
                    <a:gd name="connsiteY294" fmla="*/ 23219 h 131259"/>
                    <a:gd name="connsiteX295" fmla="*/ 38434 w 270831"/>
                    <a:gd name="connsiteY295" fmla="*/ 22689 h 131259"/>
                    <a:gd name="connsiteX296" fmla="*/ 40268 w 270831"/>
                    <a:gd name="connsiteY296" fmla="*/ 23341 h 131259"/>
                    <a:gd name="connsiteX297" fmla="*/ 41180 w 270831"/>
                    <a:gd name="connsiteY297" fmla="*/ 23162 h 131259"/>
                    <a:gd name="connsiteX298" fmla="*/ 43462 w 270831"/>
                    <a:gd name="connsiteY298" fmla="*/ 20798 h 131259"/>
                    <a:gd name="connsiteX299" fmla="*/ 45035 w 270831"/>
                    <a:gd name="connsiteY299" fmla="*/ 21352 h 131259"/>
                    <a:gd name="connsiteX300" fmla="*/ 45989 w 270831"/>
                    <a:gd name="connsiteY300" fmla="*/ 22461 h 131259"/>
                    <a:gd name="connsiteX301" fmla="*/ 46282 w 270831"/>
                    <a:gd name="connsiteY301" fmla="*/ 23463 h 131259"/>
                    <a:gd name="connsiteX302" fmla="*/ 46421 w 270831"/>
                    <a:gd name="connsiteY302" fmla="*/ 24832 h 131259"/>
                    <a:gd name="connsiteX303" fmla="*/ 46022 w 270831"/>
                    <a:gd name="connsiteY303" fmla="*/ 27693 h 131259"/>
                    <a:gd name="connsiteX304" fmla="*/ 46128 w 270831"/>
                    <a:gd name="connsiteY304" fmla="*/ 28092 h 131259"/>
                    <a:gd name="connsiteX305" fmla="*/ 47725 w 270831"/>
                    <a:gd name="connsiteY305" fmla="*/ 26487 h 131259"/>
                    <a:gd name="connsiteX306" fmla="*/ 50447 w 270831"/>
                    <a:gd name="connsiteY306" fmla="*/ 26364 h 131259"/>
                    <a:gd name="connsiteX307" fmla="*/ 50797 w 270831"/>
                    <a:gd name="connsiteY307" fmla="*/ 25549 h 131259"/>
                    <a:gd name="connsiteX308" fmla="*/ 50887 w 270831"/>
                    <a:gd name="connsiteY308" fmla="*/ 22542 h 131259"/>
                    <a:gd name="connsiteX309" fmla="*/ 50659 w 270831"/>
                    <a:gd name="connsiteY309" fmla="*/ 20008 h 131259"/>
                    <a:gd name="connsiteX310" fmla="*/ 50357 w 270831"/>
                    <a:gd name="connsiteY310" fmla="*/ 19478 h 131259"/>
                    <a:gd name="connsiteX311" fmla="*/ 41401 w 270831"/>
                    <a:gd name="connsiteY311" fmla="*/ 15957 h 131259"/>
                    <a:gd name="connsiteX312" fmla="*/ 39844 w 270831"/>
                    <a:gd name="connsiteY312" fmla="*/ 15126 h 131259"/>
                    <a:gd name="connsiteX313" fmla="*/ 37896 w 270831"/>
                    <a:gd name="connsiteY313" fmla="*/ 13390 h 131259"/>
                    <a:gd name="connsiteX314" fmla="*/ 38287 w 270831"/>
                    <a:gd name="connsiteY314" fmla="*/ 12526 h 131259"/>
                    <a:gd name="connsiteX315" fmla="*/ 40040 w 270831"/>
                    <a:gd name="connsiteY315" fmla="*/ 11736 h 131259"/>
                    <a:gd name="connsiteX316" fmla="*/ 42664 w 270831"/>
                    <a:gd name="connsiteY316" fmla="*/ 11434 h 131259"/>
                    <a:gd name="connsiteX317" fmla="*/ 48768 w 270831"/>
                    <a:gd name="connsiteY317" fmla="*/ 11475 h 131259"/>
                    <a:gd name="connsiteX318" fmla="*/ 49387 w 270831"/>
                    <a:gd name="connsiteY318" fmla="*/ 11108 h 131259"/>
                    <a:gd name="connsiteX319" fmla="*/ 48205 w 270831"/>
                    <a:gd name="connsiteY319" fmla="*/ 10187 h 131259"/>
                    <a:gd name="connsiteX320" fmla="*/ 45378 w 270831"/>
                    <a:gd name="connsiteY320" fmla="*/ 9600 h 131259"/>
                    <a:gd name="connsiteX321" fmla="*/ 44718 w 270831"/>
                    <a:gd name="connsiteY321" fmla="*/ 9079 h 131259"/>
                    <a:gd name="connsiteX322" fmla="*/ 44383 w 270831"/>
                    <a:gd name="connsiteY322" fmla="*/ 8060 h 131259"/>
                    <a:gd name="connsiteX323" fmla="*/ 41034 w 270831"/>
                    <a:gd name="connsiteY323" fmla="*/ 8614 h 131259"/>
                    <a:gd name="connsiteX324" fmla="*/ 37293 w 270831"/>
                    <a:gd name="connsiteY324" fmla="*/ 8631 h 131259"/>
                    <a:gd name="connsiteX325" fmla="*/ 33699 w 270831"/>
                    <a:gd name="connsiteY325" fmla="*/ 8011 h 131259"/>
                    <a:gd name="connsiteX326" fmla="*/ 33626 w 270831"/>
                    <a:gd name="connsiteY326" fmla="*/ 7229 h 131259"/>
                    <a:gd name="connsiteX327" fmla="*/ 35044 w 270831"/>
                    <a:gd name="connsiteY327" fmla="*/ 6063 h 131259"/>
                    <a:gd name="connsiteX328" fmla="*/ 37986 w 270831"/>
                    <a:gd name="connsiteY328" fmla="*/ 4132 h 131259"/>
                    <a:gd name="connsiteX329" fmla="*/ 39355 w 270831"/>
                    <a:gd name="connsiteY329" fmla="*/ 3659 h 131259"/>
                    <a:gd name="connsiteX330" fmla="*/ 43454 w 270831"/>
                    <a:gd name="connsiteY330" fmla="*/ 3993 h 131259"/>
                    <a:gd name="connsiteX331" fmla="*/ 47529 w 270831"/>
                    <a:gd name="connsiteY331" fmla="*/ 3447 h 131259"/>
                    <a:gd name="connsiteX332" fmla="*/ 50838 w 270831"/>
                    <a:gd name="connsiteY332" fmla="*/ 4107 h 131259"/>
                    <a:gd name="connsiteX333" fmla="*/ 53454 w 270831"/>
                    <a:gd name="connsiteY333" fmla="*/ 6014 h 131259"/>
                    <a:gd name="connsiteX334" fmla="*/ 57178 w 270831"/>
                    <a:gd name="connsiteY334" fmla="*/ 9364 h 131259"/>
                    <a:gd name="connsiteX335" fmla="*/ 62223 w 270831"/>
                    <a:gd name="connsiteY335" fmla="*/ 11507 h 131259"/>
                    <a:gd name="connsiteX336" fmla="*/ 62688 w 270831"/>
                    <a:gd name="connsiteY336" fmla="*/ 12176 h 131259"/>
                    <a:gd name="connsiteX337" fmla="*/ 65369 w 270831"/>
                    <a:gd name="connsiteY337" fmla="*/ 13928 h 131259"/>
                    <a:gd name="connsiteX338" fmla="*/ 70699 w 270831"/>
                    <a:gd name="connsiteY338" fmla="*/ 18647 h 131259"/>
                    <a:gd name="connsiteX339" fmla="*/ 76118 w 270831"/>
                    <a:gd name="connsiteY339" fmla="*/ 21369 h 131259"/>
                    <a:gd name="connsiteX340" fmla="*/ 76371 w 270831"/>
                    <a:gd name="connsiteY340" fmla="*/ 22061 h 131259"/>
                    <a:gd name="connsiteX341" fmla="*/ 75475 w 270831"/>
                    <a:gd name="connsiteY341" fmla="*/ 22884 h 131259"/>
                    <a:gd name="connsiteX342" fmla="*/ 73388 w 270831"/>
                    <a:gd name="connsiteY342" fmla="*/ 23838 h 131259"/>
                    <a:gd name="connsiteX343" fmla="*/ 73869 w 270831"/>
                    <a:gd name="connsiteY343" fmla="*/ 24376 h 131259"/>
                    <a:gd name="connsiteX344" fmla="*/ 76591 w 270831"/>
                    <a:gd name="connsiteY344" fmla="*/ 25069 h 131259"/>
                    <a:gd name="connsiteX345" fmla="*/ 78547 w 270831"/>
                    <a:gd name="connsiteY345" fmla="*/ 26910 h 131259"/>
                    <a:gd name="connsiteX346" fmla="*/ 78686 w 270831"/>
                    <a:gd name="connsiteY346" fmla="*/ 27709 h 131259"/>
                    <a:gd name="connsiteX347" fmla="*/ 76909 w 270831"/>
                    <a:gd name="connsiteY347" fmla="*/ 33430 h 131259"/>
                    <a:gd name="connsiteX348" fmla="*/ 75972 w 270831"/>
                    <a:gd name="connsiteY348" fmla="*/ 34636 h 131259"/>
                    <a:gd name="connsiteX349" fmla="*/ 74880 w 270831"/>
                    <a:gd name="connsiteY349" fmla="*/ 35280 h 131259"/>
                    <a:gd name="connsiteX350" fmla="*/ 69876 w 270831"/>
                    <a:gd name="connsiteY350" fmla="*/ 34204 h 131259"/>
                    <a:gd name="connsiteX351" fmla="*/ 71074 w 270831"/>
                    <a:gd name="connsiteY351" fmla="*/ 36022 h 131259"/>
                    <a:gd name="connsiteX352" fmla="*/ 74643 w 270831"/>
                    <a:gd name="connsiteY352" fmla="*/ 37961 h 131259"/>
                    <a:gd name="connsiteX353" fmla="*/ 75458 w 270831"/>
                    <a:gd name="connsiteY353" fmla="*/ 39037 h 131259"/>
                    <a:gd name="connsiteX354" fmla="*/ 74920 w 270831"/>
                    <a:gd name="connsiteY354" fmla="*/ 40097 h 131259"/>
                    <a:gd name="connsiteX355" fmla="*/ 75312 w 270831"/>
                    <a:gd name="connsiteY355" fmla="*/ 40341 h 131259"/>
                    <a:gd name="connsiteX356" fmla="*/ 76624 w 270831"/>
                    <a:gd name="connsiteY356" fmla="*/ 39763 h 131259"/>
                    <a:gd name="connsiteX357" fmla="*/ 77162 w 270831"/>
                    <a:gd name="connsiteY357" fmla="*/ 40366 h 131259"/>
                    <a:gd name="connsiteX358" fmla="*/ 76933 w 270831"/>
                    <a:gd name="connsiteY358" fmla="*/ 42142 h 131259"/>
                    <a:gd name="connsiteX359" fmla="*/ 76379 w 270831"/>
                    <a:gd name="connsiteY359" fmla="*/ 43609 h 131259"/>
                    <a:gd name="connsiteX360" fmla="*/ 75491 w 270831"/>
                    <a:gd name="connsiteY360" fmla="*/ 44783 h 131259"/>
                    <a:gd name="connsiteX361" fmla="*/ 75743 w 270831"/>
                    <a:gd name="connsiteY361" fmla="*/ 45280 h 131259"/>
                    <a:gd name="connsiteX362" fmla="*/ 77145 w 270831"/>
                    <a:gd name="connsiteY362" fmla="*/ 45133 h 131259"/>
                    <a:gd name="connsiteX363" fmla="*/ 78449 w 270831"/>
                    <a:gd name="connsiteY363" fmla="*/ 45435 h 131259"/>
                    <a:gd name="connsiteX364" fmla="*/ 80503 w 270831"/>
                    <a:gd name="connsiteY364" fmla="*/ 47040 h 131259"/>
                    <a:gd name="connsiteX365" fmla="*/ 82157 w 270831"/>
                    <a:gd name="connsiteY365" fmla="*/ 51955 h 131259"/>
                    <a:gd name="connsiteX366" fmla="*/ 82989 w 270831"/>
                    <a:gd name="connsiteY366" fmla="*/ 53552 h 131259"/>
                    <a:gd name="connsiteX367" fmla="*/ 83584 w 270831"/>
                    <a:gd name="connsiteY367" fmla="*/ 52142 h 131259"/>
                    <a:gd name="connsiteX368" fmla="*/ 84333 w 270831"/>
                    <a:gd name="connsiteY368" fmla="*/ 48548 h 131259"/>
                    <a:gd name="connsiteX369" fmla="*/ 85034 w 270831"/>
                    <a:gd name="connsiteY369" fmla="*/ 46714 h 131259"/>
                    <a:gd name="connsiteX370" fmla="*/ 85694 w 270831"/>
                    <a:gd name="connsiteY370" fmla="*/ 46633 h 131259"/>
                    <a:gd name="connsiteX371" fmla="*/ 86257 w 270831"/>
                    <a:gd name="connsiteY371" fmla="*/ 46030 h 131259"/>
                    <a:gd name="connsiteX372" fmla="*/ 86729 w 270831"/>
                    <a:gd name="connsiteY372" fmla="*/ 44897 h 131259"/>
                    <a:gd name="connsiteX373" fmla="*/ 87699 w 270831"/>
                    <a:gd name="connsiteY373" fmla="*/ 40920 h 131259"/>
                    <a:gd name="connsiteX374" fmla="*/ 91057 w 270831"/>
                    <a:gd name="connsiteY374" fmla="*/ 37904 h 131259"/>
                    <a:gd name="connsiteX375" fmla="*/ 92671 w 270831"/>
                    <a:gd name="connsiteY375" fmla="*/ 36983 h 131259"/>
                    <a:gd name="connsiteX376" fmla="*/ 94170 w 270831"/>
                    <a:gd name="connsiteY376" fmla="*/ 36772 h 131259"/>
                    <a:gd name="connsiteX377" fmla="*/ 94904 w 270831"/>
                    <a:gd name="connsiteY377" fmla="*/ 37146 h 131259"/>
                    <a:gd name="connsiteX378" fmla="*/ 97414 w 270831"/>
                    <a:gd name="connsiteY378" fmla="*/ 40317 h 131259"/>
                    <a:gd name="connsiteX379" fmla="*/ 98946 w 270831"/>
                    <a:gd name="connsiteY379" fmla="*/ 40846 h 131259"/>
                    <a:gd name="connsiteX380" fmla="*/ 99728 w 270831"/>
                    <a:gd name="connsiteY380" fmla="*/ 40675 h 131259"/>
                    <a:gd name="connsiteX381" fmla="*/ 100804 w 270831"/>
                    <a:gd name="connsiteY381" fmla="*/ 38524 h 131259"/>
                    <a:gd name="connsiteX382" fmla="*/ 102165 w 270831"/>
                    <a:gd name="connsiteY382" fmla="*/ 34400 h 131259"/>
                    <a:gd name="connsiteX383" fmla="*/ 102475 w 270831"/>
                    <a:gd name="connsiteY383" fmla="*/ 29787 h 131259"/>
                    <a:gd name="connsiteX384" fmla="*/ 101733 w 270831"/>
                    <a:gd name="connsiteY384" fmla="*/ 24686 h 131259"/>
                    <a:gd name="connsiteX385" fmla="*/ 102165 w 270831"/>
                    <a:gd name="connsiteY385" fmla="*/ 21043 h 131259"/>
                    <a:gd name="connsiteX386" fmla="*/ 103762 w 270831"/>
                    <a:gd name="connsiteY386" fmla="*/ 18867 h 131259"/>
                    <a:gd name="connsiteX387" fmla="*/ 105865 w 270831"/>
                    <a:gd name="connsiteY387" fmla="*/ 18190 h 131259"/>
                    <a:gd name="connsiteX388" fmla="*/ 108465 w 270831"/>
                    <a:gd name="connsiteY388" fmla="*/ 19030 h 131259"/>
                    <a:gd name="connsiteX389" fmla="*/ 110364 w 270831"/>
                    <a:gd name="connsiteY389" fmla="*/ 20358 h 131259"/>
                    <a:gd name="connsiteX390" fmla="*/ 114112 w 270831"/>
                    <a:gd name="connsiteY390" fmla="*/ 25435 h 131259"/>
                    <a:gd name="connsiteX391" fmla="*/ 117144 w 270831"/>
                    <a:gd name="connsiteY391" fmla="*/ 28084 h 131259"/>
                    <a:gd name="connsiteX392" fmla="*/ 119744 w 270831"/>
                    <a:gd name="connsiteY392" fmla="*/ 30928 h 131259"/>
                    <a:gd name="connsiteX393" fmla="*/ 121089 w 270831"/>
                    <a:gd name="connsiteY393" fmla="*/ 31849 h 131259"/>
                    <a:gd name="connsiteX394" fmla="*/ 123664 w 270831"/>
                    <a:gd name="connsiteY394" fmla="*/ 32322 h 131259"/>
                    <a:gd name="connsiteX395" fmla="*/ 124357 w 270831"/>
                    <a:gd name="connsiteY395" fmla="*/ 32134 h 131259"/>
                    <a:gd name="connsiteX396" fmla="*/ 124821 w 270831"/>
                    <a:gd name="connsiteY396" fmla="*/ 31482 h 131259"/>
                    <a:gd name="connsiteX397" fmla="*/ 125049 w 270831"/>
                    <a:gd name="connsiteY397" fmla="*/ 30350 h 131259"/>
                    <a:gd name="connsiteX398" fmla="*/ 124495 w 270831"/>
                    <a:gd name="connsiteY398" fmla="*/ 23096 h 131259"/>
                    <a:gd name="connsiteX399" fmla="*/ 125221 w 270831"/>
                    <a:gd name="connsiteY399" fmla="*/ 20847 h 131259"/>
                    <a:gd name="connsiteX400" fmla="*/ 126313 w 270831"/>
                    <a:gd name="connsiteY400" fmla="*/ 19242 h 131259"/>
                    <a:gd name="connsiteX401" fmla="*/ 130966 w 270831"/>
                    <a:gd name="connsiteY401" fmla="*/ 18288 h 131259"/>
                    <a:gd name="connsiteX402" fmla="*/ 133501 w 270831"/>
                    <a:gd name="connsiteY402" fmla="*/ 17286 h 131259"/>
                    <a:gd name="connsiteX403" fmla="*/ 135970 w 270831"/>
                    <a:gd name="connsiteY403" fmla="*/ 15623 h 131259"/>
                    <a:gd name="connsiteX404" fmla="*/ 138008 w 270831"/>
                    <a:gd name="connsiteY404" fmla="*/ 14743 h 131259"/>
                    <a:gd name="connsiteX405" fmla="*/ 139629 w 270831"/>
                    <a:gd name="connsiteY405" fmla="*/ 14621 h 131259"/>
                    <a:gd name="connsiteX406" fmla="*/ 141333 w 270831"/>
                    <a:gd name="connsiteY406" fmla="*/ 15264 h 131259"/>
                    <a:gd name="connsiteX407" fmla="*/ 143101 w 270831"/>
                    <a:gd name="connsiteY407" fmla="*/ 16674 h 131259"/>
                    <a:gd name="connsiteX408" fmla="*/ 145856 w 270831"/>
                    <a:gd name="connsiteY408" fmla="*/ 19421 h 131259"/>
                    <a:gd name="connsiteX409" fmla="*/ 149328 w 270831"/>
                    <a:gd name="connsiteY409" fmla="*/ 23968 h 131259"/>
                    <a:gd name="connsiteX410" fmla="*/ 153745 w 270831"/>
                    <a:gd name="connsiteY410" fmla="*/ 27367 h 131259"/>
                    <a:gd name="connsiteX411" fmla="*/ 156059 w 270831"/>
                    <a:gd name="connsiteY411" fmla="*/ 32746 h 131259"/>
                    <a:gd name="connsiteX412" fmla="*/ 156548 w 270831"/>
                    <a:gd name="connsiteY412" fmla="*/ 33658 h 131259"/>
                    <a:gd name="connsiteX413" fmla="*/ 157094 w 270831"/>
                    <a:gd name="connsiteY413" fmla="*/ 33764 h 131259"/>
                    <a:gd name="connsiteX414" fmla="*/ 157681 w 270831"/>
                    <a:gd name="connsiteY414" fmla="*/ 33063 h 131259"/>
                    <a:gd name="connsiteX415" fmla="*/ 158048 w 270831"/>
                    <a:gd name="connsiteY415" fmla="*/ 32069 h 131259"/>
                    <a:gd name="connsiteX416" fmla="*/ 158154 w 270831"/>
                    <a:gd name="connsiteY416" fmla="*/ 29681 h 131259"/>
                    <a:gd name="connsiteX417" fmla="*/ 156923 w 270831"/>
                    <a:gd name="connsiteY417" fmla="*/ 26495 h 131259"/>
                    <a:gd name="connsiteX418" fmla="*/ 152791 w 270831"/>
                    <a:gd name="connsiteY418" fmla="*/ 18492 h 131259"/>
                    <a:gd name="connsiteX419" fmla="*/ 152718 w 270831"/>
                    <a:gd name="connsiteY419" fmla="*/ 16976 h 131259"/>
                    <a:gd name="connsiteX420" fmla="*/ 153247 w 270831"/>
                    <a:gd name="connsiteY420" fmla="*/ 15753 h 131259"/>
                    <a:gd name="connsiteX421" fmla="*/ 156157 w 270831"/>
                    <a:gd name="connsiteY421" fmla="*/ 15615 h 131259"/>
                    <a:gd name="connsiteX422" fmla="*/ 162921 w 270831"/>
                    <a:gd name="connsiteY422" fmla="*/ 16348 h 131259"/>
                    <a:gd name="connsiteX423" fmla="*/ 165081 w 270831"/>
                    <a:gd name="connsiteY423" fmla="*/ 17603 h 131259"/>
                    <a:gd name="connsiteX424" fmla="*/ 169685 w 270831"/>
                    <a:gd name="connsiteY424" fmla="*/ 22493 h 131259"/>
                    <a:gd name="connsiteX425" fmla="*/ 170973 w 270831"/>
                    <a:gd name="connsiteY425" fmla="*/ 23675 h 131259"/>
                    <a:gd name="connsiteX426" fmla="*/ 171764 w 270831"/>
                    <a:gd name="connsiteY426" fmla="*/ 23968 h 131259"/>
                    <a:gd name="connsiteX427" fmla="*/ 172049 w 270831"/>
                    <a:gd name="connsiteY427" fmla="*/ 23382 h 131259"/>
                    <a:gd name="connsiteX428" fmla="*/ 173834 w 270831"/>
                    <a:gd name="connsiteY428" fmla="*/ 22477 h 131259"/>
                    <a:gd name="connsiteX429" fmla="*/ 175064 w 270831"/>
                    <a:gd name="connsiteY429" fmla="*/ 21369 h 131259"/>
                    <a:gd name="connsiteX430" fmla="*/ 177126 w 270831"/>
                    <a:gd name="connsiteY430" fmla="*/ 18671 h 131259"/>
                    <a:gd name="connsiteX431" fmla="*/ 181625 w 270831"/>
                    <a:gd name="connsiteY431" fmla="*/ 13814 h 131259"/>
                    <a:gd name="connsiteX432" fmla="*/ 182554 w 270831"/>
                    <a:gd name="connsiteY432" fmla="*/ 13667 h 131259"/>
                    <a:gd name="connsiteX433" fmla="*/ 183866 w 270831"/>
                    <a:gd name="connsiteY433" fmla="*/ 14058 h 131259"/>
                    <a:gd name="connsiteX434" fmla="*/ 186172 w 270831"/>
                    <a:gd name="connsiteY434" fmla="*/ 15330 h 131259"/>
                    <a:gd name="connsiteX435" fmla="*/ 187265 w 270831"/>
                    <a:gd name="connsiteY435" fmla="*/ 16348 h 131259"/>
                    <a:gd name="connsiteX436" fmla="*/ 189432 w 270831"/>
                    <a:gd name="connsiteY436" fmla="*/ 17123 h 131259"/>
                    <a:gd name="connsiteX437" fmla="*/ 191657 w 270831"/>
                    <a:gd name="connsiteY437" fmla="*/ 16854 h 131259"/>
                    <a:gd name="connsiteX438" fmla="*/ 194722 w 270831"/>
                    <a:gd name="connsiteY438" fmla="*/ 15150 h 131259"/>
                    <a:gd name="connsiteX439" fmla="*/ 198185 w 270831"/>
                    <a:gd name="connsiteY439" fmla="*/ 14107 h 131259"/>
                    <a:gd name="connsiteX440" fmla="*/ 199375 w 270831"/>
                    <a:gd name="connsiteY440" fmla="*/ 11695 h 131259"/>
                    <a:gd name="connsiteX441" fmla="*/ 199603 w 270831"/>
                    <a:gd name="connsiteY441" fmla="*/ 10586 h 131259"/>
                    <a:gd name="connsiteX442" fmla="*/ 196808 w 270831"/>
                    <a:gd name="connsiteY442" fmla="*/ 3390 h 131259"/>
                    <a:gd name="connsiteX443" fmla="*/ 197981 w 270831"/>
                    <a:gd name="connsiteY443" fmla="*/ 1923 h 131259"/>
                    <a:gd name="connsiteX444" fmla="*/ 204037 w 270831"/>
                    <a:gd name="connsiteY444" fmla="*/ 139 h 131259"/>
                    <a:gd name="connsiteX445" fmla="*/ 209326 w 270831"/>
                    <a:gd name="connsiteY445" fmla="*/ 0 h 131259"/>
                    <a:gd name="connsiteX446" fmla="*/ 210581 w 270831"/>
                    <a:gd name="connsiteY446" fmla="*/ 489 h 131259"/>
                    <a:gd name="connsiteX447" fmla="*/ 213914 w 270831"/>
                    <a:gd name="connsiteY447" fmla="*/ 3985 h 131259"/>
                    <a:gd name="connsiteX448" fmla="*/ 216180 w 270831"/>
                    <a:gd name="connsiteY448" fmla="*/ 5754 h 131259"/>
                    <a:gd name="connsiteX449" fmla="*/ 217312 w 270831"/>
                    <a:gd name="connsiteY449" fmla="*/ 7164 h 131259"/>
                    <a:gd name="connsiteX450" fmla="*/ 217590 w 270831"/>
                    <a:gd name="connsiteY450" fmla="*/ 10277 h 131259"/>
                    <a:gd name="connsiteX451" fmla="*/ 218967 w 270831"/>
                    <a:gd name="connsiteY451" fmla="*/ 11434 h 13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Lst>
                  <a:rect l="l" t="t" r="r" b="b"/>
                  <a:pathLst>
                    <a:path w="270831" h="131259">
                      <a:moveTo>
                        <a:pt x="221550" y="12722"/>
                      </a:moveTo>
                      <a:lnTo>
                        <a:pt x="224395" y="12877"/>
                      </a:lnTo>
                      <a:lnTo>
                        <a:pt x="229040" y="11410"/>
                      </a:lnTo>
                      <a:lnTo>
                        <a:pt x="230996" y="10456"/>
                      </a:lnTo>
                      <a:lnTo>
                        <a:pt x="235764" y="7115"/>
                      </a:lnTo>
                      <a:lnTo>
                        <a:pt x="238592" y="6186"/>
                      </a:lnTo>
                      <a:lnTo>
                        <a:pt x="242944" y="6414"/>
                      </a:lnTo>
                      <a:lnTo>
                        <a:pt x="245046" y="6186"/>
                      </a:lnTo>
                      <a:lnTo>
                        <a:pt x="245095" y="6503"/>
                      </a:lnTo>
                      <a:lnTo>
                        <a:pt x="242422" y="7864"/>
                      </a:lnTo>
                      <a:lnTo>
                        <a:pt x="240270" y="8321"/>
                      </a:lnTo>
                      <a:lnTo>
                        <a:pt x="237198" y="10334"/>
                      </a:lnTo>
                      <a:lnTo>
                        <a:pt x="234272" y="14881"/>
                      </a:lnTo>
                      <a:lnTo>
                        <a:pt x="232104" y="17114"/>
                      </a:lnTo>
                      <a:lnTo>
                        <a:pt x="232137" y="18092"/>
                      </a:lnTo>
                      <a:lnTo>
                        <a:pt x="234769" y="19845"/>
                      </a:lnTo>
                      <a:lnTo>
                        <a:pt x="237646" y="20847"/>
                      </a:lnTo>
                      <a:lnTo>
                        <a:pt x="240295" y="19942"/>
                      </a:lnTo>
                      <a:lnTo>
                        <a:pt x="241452" y="20301"/>
                      </a:lnTo>
                      <a:lnTo>
                        <a:pt x="242503" y="21597"/>
                      </a:lnTo>
                      <a:lnTo>
                        <a:pt x="243098" y="22893"/>
                      </a:lnTo>
                      <a:lnTo>
                        <a:pt x="243237" y="24164"/>
                      </a:lnTo>
                      <a:lnTo>
                        <a:pt x="242748" y="26845"/>
                      </a:lnTo>
                      <a:lnTo>
                        <a:pt x="241159" y="29526"/>
                      </a:lnTo>
                      <a:lnTo>
                        <a:pt x="239007" y="31776"/>
                      </a:lnTo>
                      <a:lnTo>
                        <a:pt x="239309" y="32485"/>
                      </a:lnTo>
                      <a:lnTo>
                        <a:pt x="241036" y="32852"/>
                      </a:lnTo>
                      <a:lnTo>
                        <a:pt x="249251" y="31393"/>
                      </a:lnTo>
                      <a:lnTo>
                        <a:pt x="250107" y="31499"/>
                      </a:lnTo>
                      <a:lnTo>
                        <a:pt x="250580" y="32224"/>
                      </a:lnTo>
                      <a:lnTo>
                        <a:pt x="250669" y="33561"/>
                      </a:lnTo>
                      <a:lnTo>
                        <a:pt x="251118" y="34775"/>
                      </a:lnTo>
                      <a:lnTo>
                        <a:pt x="251933" y="35867"/>
                      </a:lnTo>
                      <a:lnTo>
                        <a:pt x="251672" y="36983"/>
                      </a:lnTo>
                      <a:lnTo>
                        <a:pt x="248078" y="40496"/>
                      </a:lnTo>
                      <a:lnTo>
                        <a:pt x="252324" y="38279"/>
                      </a:lnTo>
                      <a:lnTo>
                        <a:pt x="255681" y="37660"/>
                      </a:lnTo>
                      <a:lnTo>
                        <a:pt x="261427" y="38760"/>
                      </a:lnTo>
                      <a:lnTo>
                        <a:pt x="263774" y="40040"/>
                      </a:lnTo>
                      <a:lnTo>
                        <a:pt x="265152" y="42281"/>
                      </a:lnTo>
                      <a:lnTo>
                        <a:pt x="267140" y="41539"/>
                      </a:lnTo>
                      <a:lnTo>
                        <a:pt x="268004" y="41588"/>
                      </a:lnTo>
                      <a:lnTo>
                        <a:pt x="269300" y="42868"/>
                      </a:lnTo>
                      <a:lnTo>
                        <a:pt x="269349" y="44220"/>
                      </a:lnTo>
                      <a:lnTo>
                        <a:pt x="268395" y="46168"/>
                      </a:lnTo>
                      <a:lnTo>
                        <a:pt x="268061" y="47961"/>
                      </a:lnTo>
                      <a:lnTo>
                        <a:pt x="267058" y="48695"/>
                      </a:lnTo>
                      <a:lnTo>
                        <a:pt x="265192" y="49224"/>
                      </a:lnTo>
                      <a:lnTo>
                        <a:pt x="264662" y="49827"/>
                      </a:lnTo>
                      <a:lnTo>
                        <a:pt x="265494" y="51188"/>
                      </a:lnTo>
                      <a:lnTo>
                        <a:pt x="266700" y="52517"/>
                      </a:lnTo>
                      <a:lnTo>
                        <a:pt x="268420" y="52582"/>
                      </a:lnTo>
                      <a:lnTo>
                        <a:pt x="268721" y="53193"/>
                      </a:lnTo>
                      <a:lnTo>
                        <a:pt x="268762" y="53935"/>
                      </a:lnTo>
                      <a:lnTo>
                        <a:pt x="268534" y="54799"/>
                      </a:lnTo>
                      <a:lnTo>
                        <a:pt x="267963" y="55394"/>
                      </a:lnTo>
                      <a:lnTo>
                        <a:pt x="267075" y="55720"/>
                      </a:lnTo>
                      <a:lnTo>
                        <a:pt x="265901" y="56673"/>
                      </a:lnTo>
                      <a:lnTo>
                        <a:pt x="270221" y="58760"/>
                      </a:lnTo>
                      <a:lnTo>
                        <a:pt x="270775" y="59534"/>
                      </a:lnTo>
                      <a:lnTo>
                        <a:pt x="270832" y="60675"/>
                      </a:lnTo>
                      <a:lnTo>
                        <a:pt x="270490" y="61914"/>
                      </a:lnTo>
                      <a:lnTo>
                        <a:pt x="269764" y="63275"/>
                      </a:lnTo>
                      <a:lnTo>
                        <a:pt x="268460" y="64073"/>
                      </a:lnTo>
                      <a:lnTo>
                        <a:pt x="265347" y="64204"/>
                      </a:lnTo>
                      <a:lnTo>
                        <a:pt x="263448" y="65084"/>
                      </a:lnTo>
                      <a:lnTo>
                        <a:pt x="264092" y="66551"/>
                      </a:lnTo>
                      <a:lnTo>
                        <a:pt x="264043" y="68401"/>
                      </a:lnTo>
                      <a:lnTo>
                        <a:pt x="263473" y="70585"/>
                      </a:lnTo>
                      <a:lnTo>
                        <a:pt x="261028" y="73877"/>
                      </a:lnTo>
                      <a:lnTo>
                        <a:pt x="258721" y="75638"/>
                      </a:lnTo>
                      <a:lnTo>
                        <a:pt x="256464" y="76770"/>
                      </a:lnTo>
                      <a:lnTo>
                        <a:pt x="252454" y="76371"/>
                      </a:lnTo>
                      <a:lnTo>
                        <a:pt x="250270" y="75491"/>
                      </a:lnTo>
                      <a:lnTo>
                        <a:pt x="250515" y="78335"/>
                      </a:lnTo>
                      <a:lnTo>
                        <a:pt x="248282" y="80087"/>
                      </a:lnTo>
                      <a:lnTo>
                        <a:pt x="248705" y="81554"/>
                      </a:lnTo>
                      <a:lnTo>
                        <a:pt x="249480" y="82296"/>
                      </a:lnTo>
                      <a:lnTo>
                        <a:pt x="249097" y="84170"/>
                      </a:lnTo>
                      <a:lnTo>
                        <a:pt x="248037" y="86020"/>
                      </a:lnTo>
                      <a:lnTo>
                        <a:pt x="246252" y="88033"/>
                      </a:lnTo>
                      <a:lnTo>
                        <a:pt x="244239" y="89288"/>
                      </a:lnTo>
                      <a:lnTo>
                        <a:pt x="240238" y="90796"/>
                      </a:lnTo>
                      <a:lnTo>
                        <a:pt x="236823" y="93314"/>
                      </a:lnTo>
                      <a:lnTo>
                        <a:pt x="234484" y="94301"/>
                      </a:lnTo>
                      <a:lnTo>
                        <a:pt x="228673" y="94260"/>
                      </a:lnTo>
                      <a:lnTo>
                        <a:pt x="222740" y="95882"/>
                      </a:lnTo>
                      <a:lnTo>
                        <a:pt x="214362" y="99288"/>
                      </a:lnTo>
                      <a:lnTo>
                        <a:pt x="208715" y="102010"/>
                      </a:lnTo>
                      <a:lnTo>
                        <a:pt x="204363" y="105091"/>
                      </a:lnTo>
                      <a:lnTo>
                        <a:pt x="198609" y="110127"/>
                      </a:lnTo>
                      <a:lnTo>
                        <a:pt x="194338" y="112238"/>
                      </a:lnTo>
                      <a:lnTo>
                        <a:pt x="191869" y="112809"/>
                      </a:lnTo>
                      <a:lnTo>
                        <a:pt x="187077" y="113257"/>
                      </a:lnTo>
                      <a:lnTo>
                        <a:pt x="183051" y="114618"/>
                      </a:lnTo>
                      <a:lnTo>
                        <a:pt x="169710" y="117177"/>
                      </a:lnTo>
                      <a:lnTo>
                        <a:pt x="165187" y="118570"/>
                      </a:lnTo>
                      <a:lnTo>
                        <a:pt x="164608" y="119842"/>
                      </a:lnTo>
                      <a:lnTo>
                        <a:pt x="162726" y="121749"/>
                      </a:lnTo>
                      <a:lnTo>
                        <a:pt x="162612" y="122442"/>
                      </a:lnTo>
                      <a:lnTo>
                        <a:pt x="163435" y="122971"/>
                      </a:lnTo>
                      <a:lnTo>
                        <a:pt x="163581" y="123664"/>
                      </a:lnTo>
                      <a:lnTo>
                        <a:pt x="161935" y="125921"/>
                      </a:lnTo>
                      <a:lnTo>
                        <a:pt x="158626" y="127551"/>
                      </a:lnTo>
                      <a:lnTo>
                        <a:pt x="157070" y="127519"/>
                      </a:lnTo>
                      <a:lnTo>
                        <a:pt x="155179" y="126125"/>
                      </a:lnTo>
                      <a:lnTo>
                        <a:pt x="154356" y="126174"/>
                      </a:lnTo>
                      <a:lnTo>
                        <a:pt x="154030" y="126386"/>
                      </a:lnTo>
                      <a:lnTo>
                        <a:pt x="154013" y="126826"/>
                      </a:lnTo>
                      <a:lnTo>
                        <a:pt x="155097" y="128505"/>
                      </a:lnTo>
                      <a:lnTo>
                        <a:pt x="153109" y="129295"/>
                      </a:lnTo>
                      <a:lnTo>
                        <a:pt x="144405" y="131260"/>
                      </a:lnTo>
                      <a:lnTo>
                        <a:pt x="129605" y="129801"/>
                      </a:lnTo>
                      <a:lnTo>
                        <a:pt x="123745" y="128293"/>
                      </a:lnTo>
                      <a:lnTo>
                        <a:pt x="116508" y="125889"/>
                      </a:lnTo>
                      <a:lnTo>
                        <a:pt x="112197" y="125253"/>
                      </a:lnTo>
                      <a:lnTo>
                        <a:pt x="106093" y="125090"/>
                      </a:lnTo>
                      <a:lnTo>
                        <a:pt x="101081" y="121716"/>
                      </a:lnTo>
                      <a:lnTo>
                        <a:pt x="98758" y="119638"/>
                      </a:lnTo>
                      <a:lnTo>
                        <a:pt x="98571" y="118774"/>
                      </a:lnTo>
                      <a:lnTo>
                        <a:pt x="98832" y="117788"/>
                      </a:lnTo>
                      <a:lnTo>
                        <a:pt x="99353" y="117112"/>
                      </a:lnTo>
                      <a:lnTo>
                        <a:pt x="100136" y="116745"/>
                      </a:lnTo>
                      <a:lnTo>
                        <a:pt x="101790" y="116712"/>
                      </a:lnTo>
                      <a:lnTo>
                        <a:pt x="102002" y="116419"/>
                      </a:lnTo>
                      <a:lnTo>
                        <a:pt x="100747" y="114748"/>
                      </a:lnTo>
                      <a:lnTo>
                        <a:pt x="99533" y="115294"/>
                      </a:lnTo>
                      <a:lnTo>
                        <a:pt x="96305" y="117650"/>
                      </a:lnTo>
                      <a:lnTo>
                        <a:pt x="94863" y="117560"/>
                      </a:lnTo>
                      <a:lnTo>
                        <a:pt x="92980" y="116386"/>
                      </a:lnTo>
                      <a:lnTo>
                        <a:pt x="92907" y="115237"/>
                      </a:lnTo>
                      <a:lnTo>
                        <a:pt x="89215" y="114797"/>
                      </a:lnTo>
                      <a:lnTo>
                        <a:pt x="86004" y="113371"/>
                      </a:lnTo>
                      <a:lnTo>
                        <a:pt x="82826" y="111301"/>
                      </a:lnTo>
                      <a:lnTo>
                        <a:pt x="82345" y="110527"/>
                      </a:lnTo>
                      <a:lnTo>
                        <a:pt x="83869" y="109369"/>
                      </a:lnTo>
                      <a:lnTo>
                        <a:pt x="83576" y="109141"/>
                      </a:lnTo>
                      <a:lnTo>
                        <a:pt x="82426" y="108954"/>
                      </a:lnTo>
                      <a:lnTo>
                        <a:pt x="80104" y="109329"/>
                      </a:lnTo>
                      <a:lnTo>
                        <a:pt x="76591" y="111937"/>
                      </a:lnTo>
                      <a:lnTo>
                        <a:pt x="75075" y="112540"/>
                      </a:lnTo>
                      <a:lnTo>
                        <a:pt x="52158" y="113143"/>
                      </a:lnTo>
                      <a:lnTo>
                        <a:pt x="46356" y="113412"/>
                      </a:lnTo>
                      <a:lnTo>
                        <a:pt x="45231" y="113811"/>
                      </a:lnTo>
                      <a:lnTo>
                        <a:pt x="44212" y="112116"/>
                      </a:lnTo>
                      <a:lnTo>
                        <a:pt x="43316" y="108326"/>
                      </a:lnTo>
                      <a:lnTo>
                        <a:pt x="42973" y="105841"/>
                      </a:lnTo>
                      <a:lnTo>
                        <a:pt x="43210" y="104626"/>
                      </a:lnTo>
                      <a:lnTo>
                        <a:pt x="44017" y="103176"/>
                      </a:lnTo>
                      <a:lnTo>
                        <a:pt x="45263" y="103420"/>
                      </a:lnTo>
                      <a:lnTo>
                        <a:pt x="46445" y="104577"/>
                      </a:lnTo>
                      <a:lnTo>
                        <a:pt x="47513" y="106215"/>
                      </a:lnTo>
                      <a:lnTo>
                        <a:pt x="48752" y="106998"/>
                      </a:lnTo>
                      <a:lnTo>
                        <a:pt x="56755" y="105009"/>
                      </a:lnTo>
                      <a:lnTo>
                        <a:pt x="60006" y="103673"/>
                      </a:lnTo>
                      <a:lnTo>
                        <a:pt x="61384" y="102401"/>
                      </a:lnTo>
                      <a:lnTo>
                        <a:pt x="63005" y="100242"/>
                      </a:lnTo>
                      <a:lnTo>
                        <a:pt x="64725" y="99125"/>
                      </a:lnTo>
                      <a:lnTo>
                        <a:pt x="65548" y="98082"/>
                      </a:lnTo>
                      <a:lnTo>
                        <a:pt x="67170" y="94765"/>
                      </a:lnTo>
                      <a:lnTo>
                        <a:pt x="68287" y="93225"/>
                      </a:lnTo>
                      <a:lnTo>
                        <a:pt x="69623" y="92084"/>
                      </a:lnTo>
                      <a:lnTo>
                        <a:pt x="71180" y="91350"/>
                      </a:lnTo>
                      <a:lnTo>
                        <a:pt x="74709" y="90829"/>
                      </a:lnTo>
                      <a:lnTo>
                        <a:pt x="72386" y="90046"/>
                      </a:lnTo>
                      <a:lnTo>
                        <a:pt x="70169" y="90046"/>
                      </a:lnTo>
                      <a:lnTo>
                        <a:pt x="62614" y="93551"/>
                      </a:lnTo>
                      <a:lnTo>
                        <a:pt x="60080" y="93551"/>
                      </a:lnTo>
                      <a:lnTo>
                        <a:pt x="60186" y="93013"/>
                      </a:lnTo>
                      <a:lnTo>
                        <a:pt x="61253" y="92010"/>
                      </a:lnTo>
                      <a:lnTo>
                        <a:pt x="63853" y="90307"/>
                      </a:lnTo>
                      <a:lnTo>
                        <a:pt x="62068" y="90177"/>
                      </a:lnTo>
                      <a:lnTo>
                        <a:pt x="61392" y="89411"/>
                      </a:lnTo>
                      <a:lnTo>
                        <a:pt x="61310" y="87773"/>
                      </a:lnTo>
                      <a:lnTo>
                        <a:pt x="62639" y="85148"/>
                      </a:lnTo>
                      <a:lnTo>
                        <a:pt x="68784" y="81677"/>
                      </a:lnTo>
                      <a:lnTo>
                        <a:pt x="70911" y="81163"/>
                      </a:lnTo>
                      <a:lnTo>
                        <a:pt x="71563" y="80479"/>
                      </a:lnTo>
                      <a:lnTo>
                        <a:pt x="70756" y="79924"/>
                      </a:lnTo>
                      <a:lnTo>
                        <a:pt x="69468" y="79590"/>
                      </a:lnTo>
                      <a:lnTo>
                        <a:pt x="63283" y="83160"/>
                      </a:lnTo>
                      <a:lnTo>
                        <a:pt x="58776" y="84390"/>
                      </a:lnTo>
                      <a:lnTo>
                        <a:pt x="57439" y="84154"/>
                      </a:lnTo>
                      <a:lnTo>
                        <a:pt x="55108" y="82769"/>
                      </a:lnTo>
                      <a:lnTo>
                        <a:pt x="54359" y="82149"/>
                      </a:lnTo>
                      <a:lnTo>
                        <a:pt x="53348" y="80560"/>
                      </a:lnTo>
                      <a:lnTo>
                        <a:pt x="53462" y="79598"/>
                      </a:lnTo>
                      <a:lnTo>
                        <a:pt x="55614" y="76811"/>
                      </a:lnTo>
                      <a:lnTo>
                        <a:pt x="55263" y="76265"/>
                      </a:lnTo>
                      <a:lnTo>
                        <a:pt x="53788" y="75980"/>
                      </a:lnTo>
                      <a:lnTo>
                        <a:pt x="49827" y="73405"/>
                      </a:lnTo>
                      <a:lnTo>
                        <a:pt x="43536" y="73657"/>
                      </a:lnTo>
                      <a:lnTo>
                        <a:pt x="28003" y="72174"/>
                      </a:lnTo>
                      <a:lnTo>
                        <a:pt x="24783" y="72810"/>
                      </a:lnTo>
                      <a:lnTo>
                        <a:pt x="19486" y="75018"/>
                      </a:lnTo>
                      <a:lnTo>
                        <a:pt x="16291" y="75744"/>
                      </a:lnTo>
                      <a:lnTo>
                        <a:pt x="14808" y="75263"/>
                      </a:lnTo>
                      <a:lnTo>
                        <a:pt x="13463" y="74097"/>
                      </a:lnTo>
                      <a:lnTo>
                        <a:pt x="12249" y="72524"/>
                      </a:lnTo>
                      <a:lnTo>
                        <a:pt x="11149" y="70528"/>
                      </a:lnTo>
                      <a:lnTo>
                        <a:pt x="11621" y="69142"/>
                      </a:lnTo>
                      <a:lnTo>
                        <a:pt x="13675" y="68352"/>
                      </a:lnTo>
                      <a:lnTo>
                        <a:pt x="15183" y="67977"/>
                      </a:lnTo>
                      <a:lnTo>
                        <a:pt x="19404" y="68458"/>
                      </a:lnTo>
                      <a:lnTo>
                        <a:pt x="24571" y="67064"/>
                      </a:lnTo>
                      <a:lnTo>
                        <a:pt x="27856" y="66771"/>
                      </a:lnTo>
                      <a:lnTo>
                        <a:pt x="28801" y="66551"/>
                      </a:lnTo>
                      <a:lnTo>
                        <a:pt x="30733" y="65067"/>
                      </a:lnTo>
                      <a:lnTo>
                        <a:pt x="31694" y="64701"/>
                      </a:lnTo>
                      <a:lnTo>
                        <a:pt x="33186" y="65214"/>
                      </a:lnTo>
                      <a:lnTo>
                        <a:pt x="33903" y="66217"/>
                      </a:lnTo>
                      <a:lnTo>
                        <a:pt x="39094" y="64660"/>
                      </a:lnTo>
                      <a:lnTo>
                        <a:pt x="40879" y="63878"/>
                      </a:lnTo>
                      <a:lnTo>
                        <a:pt x="41074" y="63389"/>
                      </a:lnTo>
                      <a:lnTo>
                        <a:pt x="41857" y="62826"/>
                      </a:lnTo>
                      <a:lnTo>
                        <a:pt x="44441" y="63674"/>
                      </a:lnTo>
                      <a:lnTo>
                        <a:pt x="46527" y="63698"/>
                      </a:lnTo>
                      <a:lnTo>
                        <a:pt x="49143" y="63128"/>
                      </a:lnTo>
                      <a:lnTo>
                        <a:pt x="53755" y="62859"/>
                      </a:lnTo>
                      <a:lnTo>
                        <a:pt x="64081" y="62728"/>
                      </a:lnTo>
                      <a:lnTo>
                        <a:pt x="65622" y="61449"/>
                      </a:lnTo>
                      <a:lnTo>
                        <a:pt x="66355" y="60324"/>
                      </a:lnTo>
                      <a:lnTo>
                        <a:pt x="67268" y="57464"/>
                      </a:lnTo>
                      <a:lnTo>
                        <a:pt x="66868" y="56877"/>
                      </a:lnTo>
                      <a:lnTo>
                        <a:pt x="60414" y="59509"/>
                      </a:lnTo>
                      <a:lnTo>
                        <a:pt x="58939" y="59469"/>
                      </a:lnTo>
                      <a:lnTo>
                        <a:pt x="51482" y="58067"/>
                      </a:lnTo>
                      <a:lnTo>
                        <a:pt x="48776" y="56494"/>
                      </a:lnTo>
                      <a:lnTo>
                        <a:pt x="49664" y="55223"/>
                      </a:lnTo>
                      <a:lnTo>
                        <a:pt x="53625" y="52484"/>
                      </a:lnTo>
                      <a:lnTo>
                        <a:pt x="57700" y="50300"/>
                      </a:lnTo>
                      <a:lnTo>
                        <a:pt x="63715" y="47929"/>
                      </a:lnTo>
                      <a:lnTo>
                        <a:pt x="65124" y="46999"/>
                      </a:lnTo>
                      <a:lnTo>
                        <a:pt x="65263" y="45916"/>
                      </a:lnTo>
                      <a:lnTo>
                        <a:pt x="61262" y="43960"/>
                      </a:lnTo>
                      <a:lnTo>
                        <a:pt x="53682" y="44498"/>
                      </a:lnTo>
                      <a:lnTo>
                        <a:pt x="51734" y="42183"/>
                      </a:lnTo>
                      <a:lnTo>
                        <a:pt x="45443" y="40814"/>
                      </a:lnTo>
                      <a:lnTo>
                        <a:pt x="41246" y="41678"/>
                      </a:lnTo>
                      <a:lnTo>
                        <a:pt x="39021" y="40276"/>
                      </a:lnTo>
                      <a:lnTo>
                        <a:pt x="33577" y="42207"/>
                      </a:lnTo>
                      <a:lnTo>
                        <a:pt x="21613" y="45011"/>
                      </a:lnTo>
                      <a:lnTo>
                        <a:pt x="16845" y="46951"/>
                      </a:lnTo>
                      <a:lnTo>
                        <a:pt x="14286" y="47594"/>
                      </a:lnTo>
                      <a:lnTo>
                        <a:pt x="11328" y="46005"/>
                      </a:lnTo>
                      <a:lnTo>
                        <a:pt x="6243" y="44220"/>
                      </a:lnTo>
                      <a:lnTo>
                        <a:pt x="522" y="43666"/>
                      </a:lnTo>
                      <a:lnTo>
                        <a:pt x="0" y="42615"/>
                      </a:lnTo>
                      <a:lnTo>
                        <a:pt x="3341" y="39396"/>
                      </a:lnTo>
                      <a:lnTo>
                        <a:pt x="5623" y="38809"/>
                      </a:lnTo>
                      <a:lnTo>
                        <a:pt x="7930" y="39111"/>
                      </a:lnTo>
                      <a:lnTo>
                        <a:pt x="12322" y="41352"/>
                      </a:lnTo>
                      <a:lnTo>
                        <a:pt x="15354" y="42061"/>
                      </a:lnTo>
                      <a:lnTo>
                        <a:pt x="11548" y="38760"/>
                      </a:lnTo>
                      <a:lnTo>
                        <a:pt x="11654" y="37489"/>
                      </a:lnTo>
                      <a:lnTo>
                        <a:pt x="11361" y="35598"/>
                      </a:lnTo>
                      <a:lnTo>
                        <a:pt x="10187" y="34775"/>
                      </a:lnTo>
                      <a:lnTo>
                        <a:pt x="9022" y="32672"/>
                      </a:lnTo>
                      <a:lnTo>
                        <a:pt x="9502" y="31963"/>
                      </a:lnTo>
                      <a:lnTo>
                        <a:pt x="10994" y="31711"/>
                      </a:lnTo>
                      <a:lnTo>
                        <a:pt x="14058" y="32428"/>
                      </a:lnTo>
                      <a:lnTo>
                        <a:pt x="21328" y="36071"/>
                      </a:lnTo>
                      <a:lnTo>
                        <a:pt x="24897" y="35427"/>
                      </a:lnTo>
                      <a:lnTo>
                        <a:pt x="26853" y="34082"/>
                      </a:lnTo>
                      <a:lnTo>
                        <a:pt x="29518" y="33080"/>
                      </a:lnTo>
                      <a:lnTo>
                        <a:pt x="28769" y="32566"/>
                      </a:lnTo>
                      <a:lnTo>
                        <a:pt x="22485" y="32501"/>
                      </a:lnTo>
                      <a:lnTo>
                        <a:pt x="19127" y="31759"/>
                      </a:lnTo>
                      <a:lnTo>
                        <a:pt x="17424" y="30692"/>
                      </a:lnTo>
                      <a:lnTo>
                        <a:pt x="15949" y="28874"/>
                      </a:lnTo>
                      <a:lnTo>
                        <a:pt x="16471" y="28035"/>
                      </a:lnTo>
                      <a:lnTo>
                        <a:pt x="18223" y="27375"/>
                      </a:lnTo>
                      <a:lnTo>
                        <a:pt x="23585" y="27562"/>
                      </a:lnTo>
                      <a:lnTo>
                        <a:pt x="20048" y="24408"/>
                      </a:lnTo>
                      <a:lnTo>
                        <a:pt x="17587" y="22591"/>
                      </a:lnTo>
                      <a:lnTo>
                        <a:pt x="17318" y="21711"/>
                      </a:lnTo>
                      <a:lnTo>
                        <a:pt x="17489" y="20611"/>
                      </a:lnTo>
                      <a:lnTo>
                        <a:pt x="17823" y="19869"/>
                      </a:lnTo>
                      <a:lnTo>
                        <a:pt x="18312" y="19502"/>
                      </a:lnTo>
                      <a:lnTo>
                        <a:pt x="24482" y="21352"/>
                      </a:lnTo>
                      <a:lnTo>
                        <a:pt x="25826" y="21434"/>
                      </a:lnTo>
                      <a:lnTo>
                        <a:pt x="24588" y="20236"/>
                      </a:lnTo>
                      <a:lnTo>
                        <a:pt x="21882" y="18484"/>
                      </a:lnTo>
                      <a:lnTo>
                        <a:pt x="21760" y="17823"/>
                      </a:lnTo>
                      <a:lnTo>
                        <a:pt x="22893" y="17286"/>
                      </a:lnTo>
                      <a:lnTo>
                        <a:pt x="23455" y="16275"/>
                      </a:lnTo>
                      <a:lnTo>
                        <a:pt x="23512" y="15452"/>
                      </a:lnTo>
                      <a:lnTo>
                        <a:pt x="25378" y="14743"/>
                      </a:lnTo>
                      <a:lnTo>
                        <a:pt x="27261" y="14718"/>
                      </a:lnTo>
                      <a:lnTo>
                        <a:pt x="29160" y="15362"/>
                      </a:lnTo>
                      <a:lnTo>
                        <a:pt x="35052" y="18785"/>
                      </a:lnTo>
                      <a:lnTo>
                        <a:pt x="35891" y="19747"/>
                      </a:lnTo>
                      <a:lnTo>
                        <a:pt x="36177" y="21018"/>
                      </a:lnTo>
                      <a:lnTo>
                        <a:pt x="35883" y="22583"/>
                      </a:lnTo>
                      <a:lnTo>
                        <a:pt x="36136" y="23219"/>
                      </a:lnTo>
                      <a:lnTo>
                        <a:pt x="38434" y="22689"/>
                      </a:lnTo>
                      <a:lnTo>
                        <a:pt x="40268" y="23341"/>
                      </a:lnTo>
                      <a:lnTo>
                        <a:pt x="41180" y="23162"/>
                      </a:lnTo>
                      <a:lnTo>
                        <a:pt x="43462" y="20798"/>
                      </a:lnTo>
                      <a:lnTo>
                        <a:pt x="45035" y="21352"/>
                      </a:lnTo>
                      <a:lnTo>
                        <a:pt x="45989" y="22461"/>
                      </a:lnTo>
                      <a:lnTo>
                        <a:pt x="46282" y="23463"/>
                      </a:lnTo>
                      <a:lnTo>
                        <a:pt x="46421" y="24832"/>
                      </a:lnTo>
                      <a:lnTo>
                        <a:pt x="46022" y="27693"/>
                      </a:lnTo>
                      <a:lnTo>
                        <a:pt x="46128" y="28092"/>
                      </a:lnTo>
                      <a:lnTo>
                        <a:pt x="47725" y="26487"/>
                      </a:lnTo>
                      <a:lnTo>
                        <a:pt x="50447" y="26364"/>
                      </a:lnTo>
                      <a:lnTo>
                        <a:pt x="50797" y="25549"/>
                      </a:lnTo>
                      <a:lnTo>
                        <a:pt x="50887" y="22542"/>
                      </a:lnTo>
                      <a:lnTo>
                        <a:pt x="50659" y="20008"/>
                      </a:lnTo>
                      <a:lnTo>
                        <a:pt x="50357" y="19478"/>
                      </a:lnTo>
                      <a:lnTo>
                        <a:pt x="41401" y="15957"/>
                      </a:lnTo>
                      <a:lnTo>
                        <a:pt x="39844" y="15126"/>
                      </a:lnTo>
                      <a:lnTo>
                        <a:pt x="37896" y="13390"/>
                      </a:lnTo>
                      <a:lnTo>
                        <a:pt x="38287" y="12526"/>
                      </a:lnTo>
                      <a:lnTo>
                        <a:pt x="40040" y="11736"/>
                      </a:lnTo>
                      <a:lnTo>
                        <a:pt x="42664" y="11434"/>
                      </a:lnTo>
                      <a:lnTo>
                        <a:pt x="48768" y="11475"/>
                      </a:lnTo>
                      <a:lnTo>
                        <a:pt x="49387" y="11108"/>
                      </a:lnTo>
                      <a:lnTo>
                        <a:pt x="48205" y="10187"/>
                      </a:lnTo>
                      <a:lnTo>
                        <a:pt x="45378" y="9600"/>
                      </a:lnTo>
                      <a:lnTo>
                        <a:pt x="44718" y="9079"/>
                      </a:lnTo>
                      <a:lnTo>
                        <a:pt x="44383" y="8060"/>
                      </a:lnTo>
                      <a:lnTo>
                        <a:pt x="41034" y="8614"/>
                      </a:lnTo>
                      <a:lnTo>
                        <a:pt x="37293" y="8631"/>
                      </a:lnTo>
                      <a:lnTo>
                        <a:pt x="33699" y="8011"/>
                      </a:lnTo>
                      <a:lnTo>
                        <a:pt x="33626" y="7229"/>
                      </a:lnTo>
                      <a:lnTo>
                        <a:pt x="35044" y="6063"/>
                      </a:lnTo>
                      <a:lnTo>
                        <a:pt x="37986" y="4132"/>
                      </a:lnTo>
                      <a:lnTo>
                        <a:pt x="39355" y="3659"/>
                      </a:lnTo>
                      <a:lnTo>
                        <a:pt x="43454" y="3993"/>
                      </a:lnTo>
                      <a:lnTo>
                        <a:pt x="47529" y="3447"/>
                      </a:lnTo>
                      <a:lnTo>
                        <a:pt x="50838" y="4107"/>
                      </a:lnTo>
                      <a:lnTo>
                        <a:pt x="53454" y="6014"/>
                      </a:lnTo>
                      <a:lnTo>
                        <a:pt x="57178" y="9364"/>
                      </a:lnTo>
                      <a:lnTo>
                        <a:pt x="62223" y="11507"/>
                      </a:lnTo>
                      <a:lnTo>
                        <a:pt x="62688" y="12176"/>
                      </a:lnTo>
                      <a:lnTo>
                        <a:pt x="65369" y="13928"/>
                      </a:lnTo>
                      <a:lnTo>
                        <a:pt x="70699" y="18647"/>
                      </a:lnTo>
                      <a:lnTo>
                        <a:pt x="76118" y="21369"/>
                      </a:lnTo>
                      <a:lnTo>
                        <a:pt x="76371" y="22061"/>
                      </a:lnTo>
                      <a:lnTo>
                        <a:pt x="75475" y="22884"/>
                      </a:lnTo>
                      <a:lnTo>
                        <a:pt x="73388" y="23838"/>
                      </a:lnTo>
                      <a:lnTo>
                        <a:pt x="73869" y="24376"/>
                      </a:lnTo>
                      <a:lnTo>
                        <a:pt x="76591" y="25069"/>
                      </a:lnTo>
                      <a:lnTo>
                        <a:pt x="78547" y="26910"/>
                      </a:lnTo>
                      <a:lnTo>
                        <a:pt x="78686" y="27709"/>
                      </a:lnTo>
                      <a:lnTo>
                        <a:pt x="76909" y="33430"/>
                      </a:lnTo>
                      <a:lnTo>
                        <a:pt x="75972" y="34636"/>
                      </a:lnTo>
                      <a:lnTo>
                        <a:pt x="74880" y="35280"/>
                      </a:lnTo>
                      <a:lnTo>
                        <a:pt x="69876" y="34204"/>
                      </a:lnTo>
                      <a:lnTo>
                        <a:pt x="71074" y="36022"/>
                      </a:lnTo>
                      <a:lnTo>
                        <a:pt x="74643" y="37961"/>
                      </a:lnTo>
                      <a:lnTo>
                        <a:pt x="75458" y="39037"/>
                      </a:lnTo>
                      <a:lnTo>
                        <a:pt x="74920" y="40097"/>
                      </a:lnTo>
                      <a:lnTo>
                        <a:pt x="75312" y="40341"/>
                      </a:lnTo>
                      <a:lnTo>
                        <a:pt x="76624" y="39763"/>
                      </a:lnTo>
                      <a:lnTo>
                        <a:pt x="77162" y="40366"/>
                      </a:lnTo>
                      <a:lnTo>
                        <a:pt x="76933" y="42142"/>
                      </a:lnTo>
                      <a:lnTo>
                        <a:pt x="76379" y="43609"/>
                      </a:lnTo>
                      <a:lnTo>
                        <a:pt x="75491" y="44783"/>
                      </a:lnTo>
                      <a:lnTo>
                        <a:pt x="75743" y="45280"/>
                      </a:lnTo>
                      <a:lnTo>
                        <a:pt x="77145" y="45133"/>
                      </a:lnTo>
                      <a:lnTo>
                        <a:pt x="78449" y="45435"/>
                      </a:lnTo>
                      <a:lnTo>
                        <a:pt x="80503" y="47040"/>
                      </a:lnTo>
                      <a:lnTo>
                        <a:pt x="82157" y="51955"/>
                      </a:lnTo>
                      <a:lnTo>
                        <a:pt x="82989" y="53552"/>
                      </a:lnTo>
                      <a:lnTo>
                        <a:pt x="83584" y="52142"/>
                      </a:lnTo>
                      <a:lnTo>
                        <a:pt x="84333" y="48548"/>
                      </a:lnTo>
                      <a:lnTo>
                        <a:pt x="85034" y="46714"/>
                      </a:lnTo>
                      <a:lnTo>
                        <a:pt x="85694" y="46633"/>
                      </a:lnTo>
                      <a:lnTo>
                        <a:pt x="86257" y="46030"/>
                      </a:lnTo>
                      <a:lnTo>
                        <a:pt x="86729" y="44897"/>
                      </a:lnTo>
                      <a:lnTo>
                        <a:pt x="87699" y="40920"/>
                      </a:lnTo>
                      <a:lnTo>
                        <a:pt x="91057" y="37904"/>
                      </a:lnTo>
                      <a:lnTo>
                        <a:pt x="92671" y="36983"/>
                      </a:lnTo>
                      <a:lnTo>
                        <a:pt x="94170" y="36772"/>
                      </a:lnTo>
                      <a:lnTo>
                        <a:pt x="94904" y="37146"/>
                      </a:lnTo>
                      <a:lnTo>
                        <a:pt x="97414" y="40317"/>
                      </a:lnTo>
                      <a:lnTo>
                        <a:pt x="98946" y="40846"/>
                      </a:lnTo>
                      <a:lnTo>
                        <a:pt x="99728" y="40675"/>
                      </a:lnTo>
                      <a:lnTo>
                        <a:pt x="100804" y="38524"/>
                      </a:lnTo>
                      <a:lnTo>
                        <a:pt x="102165" y="34400"/>
                      </a:lnTo>
                      <a:lnTo>
                        <a:pt x="102475" y="29787"/>
                      </a:lnTo>
                      <a:lnTo>
                        <a:pt x="101733" y="24686"/>
                      </a:lnTo>
                      <a:lnTo>
                        <a:pt x="102165" y="21043"/>
                      </a:lnTo>
                      <a:lnTo>
                        <a:pt x="103762" y="18867"/>
                      </a:lnTo>
                      <a:lnTo>
                        <a:pt x="105865" y="18190"/>
                      </a:lnTo>
                      <a:lnTo>
                        <a:pt x="108465" y="19030"/>
                      </a:lnTo>
                      <a:lnTo>
                        <a:pt x="110364" y="20358"/>
                      </a:lnTo>
                      <a:lnTo>
                        <a:pt x="114112" y="25435"/>
                      </a:lnTo>
                      <a:lnTo>
                        <a:pt x="117144" y="28084"/>
                      </a:lnTo>
                      <a:lnTo>
                        <a:pt x="119744" y="30928"/>
                      </a:lnTo>
                      <a:lnTo>
                        <a:pt x="121089" y="31849"/>
                      </a:lnTo>
                      <a:lnTo>
                        <a:pt x="123664" y="32322"/>
                      </a:lnTo>
                      <a:lnTo>
                        <a:pt x="124357" y="32134"/>
                      </a:lnTo>
                      <a:lnTo>
                        <a:pt x="124821" y="31482"/>
                      </a:lnTo>
                      <a:lnTo>
                        <a:pt x="125049" y="30350"/>
                      </a:lnTo>
                      <a:lnTo>
                        <a:pt x="124495" y="23096"/>
                      </a:lnTo>
                      <a:lnTo>
                        <a:pt x="125221" y="20847"/>
                      </a:lnTo>
                      <a:lnTo>
                        <a:pt x="126313" y="19242"/>
                      </a:lnTo>
                      <a:lnTo>
                        <a:pt x="130966" y="18288"/>
                      </a:lnTo>
                      <a:lnTo>
                        <a:pt x="133501" y="17286"/>
                      </a:lnTo>
                      <a:lnTo>
                        <a:pt x="135970" y="15623"/>
                      </a:lnTo>
                      <a:lnTo>
                        <a:pt x="138008" y="14743"/>
                      </a:lnTo>
                      <a:lnTo>
                        <a:pt x="139629" y="14621"/>
                      </a:lnTo>
                      <a:lnTo>
                        <a:pt x="141333" y="15264"/>
                      </a:lnTo>
                      <a:lnTo>
                        <a:pt x="143101" y="16674"/>
                      </a:lnTo>
                      <a:lnTo>
                        <a:pt x="145856" y="19421"/>
                      </a:lnTo>
                      <a:lnTo>
                        <a:pt x="149328" y="23968"/>
                      </a:lnTo>
                      <a:lnTo>
                        <a:pt x="153745" y="27367"/>
                      </a:lnTo>
                      <a:lnTo>
                        <a:pt x="156059" y="32746"/>
                      </a:lnTo>
                      <a:lnTo>
                        <a:pt x="156548" y="33658"/>
                      </a:lnTo>
                      <a:lnTo>
                        <a:pt x="157094" y="33764"/>
                      </a:lnTo>
                      <a:lnTo>
                        <a:pt x="157681" y="33063"/>
                      </a:lnTo>
                      <a:lnTo>
                        <a:pt x="158048" y="32069"/>
                      </a:lnTo>
                      <a:lnTo>
                        <a:pt x="158154" y="29681"/>
                      </a:lnTo>
                      <a:lnTo>
                        <a:pt x="156923" y="26495"/>
                      </a:lnTo>
                      <a:lnTo>
                        <a:pt x="152791" y="18492"/>
                      </a:lnTo>
                      <a:lnTo>
                        <a:pt x="152718" y="16976"/>
                      </a:lnTo>
                      <a:lnTo>
                        <a:pt x="153247" y="15753"/>
                      </a:lnTo>
                      <a:lnTo>
                        <a:pt x="156157" y="15615"/>
                      </a:lnTo>
                      <a:lnTo>
                        <a:pt x="162921" y="16348"/>
                      </a:lnTo>
                      <a:lnTo>
                        <a:pt x="165081" y="17603"/>
                      </a:lnTo>
                      <a:lnTo>
                        <a:pt x="169685" y="22493"/>
                      </a:lnTo>
                      <a:lnTo>
                        <a:pt x="170973" y="23675"/>
                      </a:lnTo>
                      <a:lnTo>
                        <a:pt x="171764" y="23968"/>
                      </a:lnTo>
                      <a:lnTo>
                        <a:pt x="172049" y="23382"/>
                      </a:lnTo>
                      <a:lnTo>
                        <a:pt x="173834" y="22477"/>
                      </a:lnTo>
                      <a:lnTo>
                        <a:pt x="175064" y="21369"/>
                      </a:lnTo>
                      <a:lnTo>
                        <a:pt x="177126" y="18671"/>
                      </a:lnTo>
                      <a:lnTo>
                        <a:pt x="181625" y="13814"/>
                      </a:lnTo>
                      <a:lnTo>
                        <a:pt x="182554" y="13667"/>
                      </a:lnTo>
                      <a:lnTo>
                        <a:pt x="183866" y="14058"/>
                      </a:lnTo>
                      <a:lnTo>
                        <a:pt x="186172" y="15330"/>
                      </a:lnTo>
                      <a:lnTo>
                        <a:pt x="187265" y="16348"/>
                      </a:lnTo>
                      <a:lnTo>
                        <a:pt x="189432" y="17123"/>
                      </a:lnTo>
                      <a:lnTo>
                        <a:pt x="191657" y="16854"/>
                      </a:lnTo>
                      <a:lnTo>
                        <a:pt x="194722" y="15150"/>
                      </a:lnTo>
                      <a:lnTo>
                        <a:pt x="198185" y="14107"/>
                      </a:lnTo>
                      <a:lnTo>
                        <a:pt x="199375" y="11695"/>
                      </a:lnTo>
                      <a:lnTo>
                        <a:pt x="199603" y="10586"/>
                      </a:lnTo>
                      <a:lnTo>
                        <a:pt x="196808" y="3390"/>
                      </a:lnTo>
                      <a:lnTo>
                        <a:pt x="197981" y="1923"/>
                      </a:lnTo>
                      <a:lnTo>
                        <a:pt x="204037" y="139"/>
                      </a:lnTo>
                      <a:lnTo>
                        <a:pt x="209326" y="0"/>
                      </a:lnTo>
                      <a:lnTo>
                        <a:pt x="210581" y="489"/>
                      </a:lnTo>
                      <a:lnTo>
                        <a:pt x="213914" y="3985"/>
                      </a:lnTo>
                      <a:lnTo>
                        <a:pt x="216180" y="5754"/>
                      </a:lnTo>
                      <a:lnTo>
                        <a:pt x="217312" y="7164"/>
                      </a:lnTo>
                      <a:lnTo>
                        <a:pt x="217590" y="10277"/>
                      </a:lnTo>
                      <a:lnTo>
                        <a:pt x="218967" y="11434"/>
                      </a:lnTo>
                      <a:close/>
                    </a:path>
                  </a:pathLst>
                </a:custGeom>
                <a:solidFill>
                  <a:srgbClr val="D6D6D2"/>
                </a:solidFill>
                <a:ln w="8150" cap="flat">
                  <a:noFill/>
                  <a:prstDash val="solid"/>
                  <a:miter/>
                </a:ln>
              </p:spPr>
              <p:txBody>
                <a:bodyPr rtlCol="0" anchor="ctr"/>
                <a:lstStyle/>
                <a:p>
                  <a:endParaRPr lang="en-US"/>
                </a:p>
              </p:txBody>
            </p:sp>
            <p:sp>
              <p:nvSpPr>
                <p:cNvPr id="709" name="Freeform: Shape 708">
                  <a:extLst>
                    <a:ext uri="{FF2B5EF4-FFF2-40B4-BE49-F238E27FC236}">
                      <a16:creationId xmlns:a16="http://schemas.microsoft.com/office/drawing/2014/main" id="{1F55A38F-141C-45AC-AFFF-99CF77483160}"/>
                    </a:ext>
                  </a:extLst>
                </p:cNvPr>
                <p:cNvSpPr/>
                <p:nvPr/>
              </p:nvSpPr>
              <p:spPr>
                <a:xfrm>
                  <a:off x="6905309" y="3364195"/>
                  <a:ext cx="242389" cy="271019"/>
                </a:xfrm>
                <a:custGeom>
                  <a:avLst/>
                  <a:gdLst>
                    <a:gd name="connsiteX0" fmla="*/ 148594 w 242389"/>
                    <a:gd name="connsiteY0" fmla="*/ 7653 h 271019"/>
                    <a:gd name="connsiteX1" fmla="*/ 148602 w 242389"/>
                    <a:gd name="connsiteY1" fmla="*/ 7897 h 271019"/>
                    <a:gd name="connsiteX2" fmla="*/ 149433 w 242389"/>
                    <a:gd name="connsiteY2" fmla="*/ 10269 h 271019"/>
                    <a:gd name="connsiteX3" fmla="*/ 151471 w 242389"/>
                    <a:gd name="connsiteY3" fmla="*/ 19070 h 271019"/>
                    <a:gd name="connsiteX4" fmla="*/ 152628 w 242389"/>
                    <a:gd name="connsiteY4" fmla="*/ 20179 h 271019"/>
                    <a:gd name="connsiteX5" fmla="*/ 153965 w 242389"/>
                    <a:gd name="connsiteY5" fmla="*/ 21116 h 271019"/>
                    <a:gd name="connsiteX6" fmla="*/ 154902 w 242389"/>
                    <a:gd name="connsiteY6" fmla="*/ 22428 h 271019"/>
                    <a:gd name="connsiteX7" fmla="*/ 155261 w 242389"/>
                    <a:gd name="connsiteY7" fmla="*/ 23740 h 271019"/>
                    <a:gd name="connsiteX8" fmla="*/ 155155 w 242389"/>
                    <a:gd name="connsiteY8" fmla="*/ 25769 h 271019"/>
                    <a:gd name="connsiteX9" fmla="*/ 155187 w 242389"/>
                    <a:gd name="connsiteY9" fmla="*/ 28149 h 271019"/>
                    <a:gd name="connsiteX10" fmla="*/ 155741 w 242389"/>
                    <a:gd name="connsiteY10" fmla="*/ 29950 h 271019"/>
                    <a:gd name="connsiteX11" fmla="*/ 156499 w 242389"/>
                    <a:gd name="connsiteY11" fmla="*/ 31336 h 271019"/>
                    <a:gd name="connsiteX12" fmla="*/ 157217 w 242389"/>
                    <a:gd name="connsiteY12" fmla="*/ 32028 h 271019"/>
                    <a:gd name="connsiteX13" fmla="*/ 158276 w 242389"/>
                    <a:gd name="connsiteY13" fmla="*/ 32085 h 271019"/>
                    <a:gd name="connsiteX14" fmla="*/ 159548 w 242389"/>
                    <a:gd name="connsiteY14" fmla="*/ 32428 h 271019"/>
                    <a:gd name="connsiteX15" fmla="*/ 160403 w 242389"/>
                    <a:gd name="connsiteY15" fmla="*/ 33797 h 271019"/>
                    <a:gd name="connsiteX16" fmla="*/ 163117 w 242389"/>
                    <a:gd name="connsiteY16" fmla="*/ 43780 h 271019"/>
                    <a:gd name="connsiteX17" fmla="*/ 163394 w 242389"/>
                    <a:gd name="connsiteY17" fmla="*/ 45084 h 271019"/>
                    <a:gd name="connsiteX18" fmla="*/ 164543 w 242389"/>
                    <a:gd name="connsiteY18" fmla="*/ 45500 h 271019"/>
                    <a:gd name="connsiteX19" fmla="*/ 166426 w 242389"/>
                    <a:gd name="connsiteY19" fmla="*/ 45304 h 271019"/>
                    <a:gd name="connsiteX20" fmla="*/ 168357 w 242389"/>
                    <a:gd name="connsiteY20" fmla="*/ 46347 h 271019"/>
                    <a:gd name="connsiteX21" fmla="*/ 170419 w 242389"/>
                    <a:gd name="connsiteY21" fmla="*/ 47961 h 271019"/>
                    <a:gd name="connsiteX22" fmla="*/ 172367 w 242389"/>
                    <a:gd name="connsiteY22" fmla="*/ 50993 h 271019"/>
                    <a:gd name="connsiteX23" fmla="*/ 173679 w 242389"/>
                    <a:gd name="connsiteY23" fmla="*/ 51482 h 271019"/>
                    <a:gd name="connsiteX24" fmla="*/ 177770 w 242389"/>
                    <a:gd name="connsiteY24" fmla="*/ 51034 h 271019"/>
                    <a:gd name="connsiteX25" fmla="*/ 183385 w 242389"/>
                    <a:gd name="connsiteY25" fmla="*/ 51523 h 271019"/>
                    <a:gd name="connsiteX26" fmla="*/ 186010 w 242389"/>
                    <a:gd name="connsiteY26" fmla="*/ 53087 h 271019"/>
                    <a:gd name="connsiteX27" fmla="*/ 185732 w 242389"/>
                    <a:gd name="connsiteY27" fmla="*/ 54049 h 271019"/>
                    <a:gd name="connsiteX28" fmla="*/ 183711 w 242389"/>
                    <a:gd name="connsiteY28" fmla="*/ 55133 h 271019"/>
                    <a:gd name="connsiteX29" fmla="*/ 180150 w 242389"/>
                    <a:gd name="connsiteY29" fmla="*/ 56404 h 271019"/>
                    <a:gd name="connsiteX30" fmla="*/ 179099 w 242389"/>
                    <a:gd name="connsiteY30" fmla="*/ 58548 h 271019"/>
                    <a:gd name="connsiteX31" fmla="*/ 178504 w 242389"/>
                    <a:gd name="connsiteY31" fmla="*/ 61319 h 271019"/>
                    <a:gd name="connsiteX32" fmla="*/ 178610 w 242389"/>
                    <a:gd name="connsiteY32" fmla="*/ 62883 h 271019"/>
                    <a:gd name="connsiteX33" fmla="*/ 179482 w 242389"/>
                    <a:gd name="connsiteY33" fmla="*/ 64595 h 271019"/>
                    <a:gd name="connsiteX34" fmla="*/ 182008 w 242389"/>
                    <a:gd name="connsiteY34" fmla="*/ 68001 h 271019"/>
                    <a:gd name="connsiteX35" fmla="*/ 182147 w 242389"/>
                    <a:gd name="connsiteY35" fmla="*/ 69232 h 271019"/>
                    <a:gd name="connsiteX36" fmla="*/ 182587 w 242389"/>
                    <a:gd name="connsiteY36" fmla="*/ 70952 h 271019"/>
                    <a:gd name="connsiteX37" fmla="*/ 183068 w 242389"/>
                    <a:gd name="connsiteY37" fmla="*/ 72117 h 271019"/>
                    <a:gd name="connsiteX38" fmla="*/ 182546 w 242389"/>
                    <a:gd name="connsiteY38" fmla="*/ 74399 h 271019"/>
                    <a:gd name="connsiteX39" fmla="*/ 180264 w 242389"/>
                    <a:gd name="connsiteY39" fmla="*/ 75955 h 271019"/>
                    <a:gd name="connsiteX40" fmla="*/ 177273 w 242389"/>
                    <a:gd name="connsiteY40" fmla="*/ 77651 h 271019"/>
                    <a:gd name="connsiteX41" fmla="*/ 171234 w 242389"/>
                    <a:gd name="connsiteY41" fmla="*/ 85230 h 271019"/>
                    <a:gd name="connsiteX42" fmla="*/ 170794 w 242389"/>
                    <a:gd name="connsiteY42" fmla="*/ 86860 h 271019"/>
                    <a:gd name="connsiteX43" fmla="*/ 170835 w 242389"/>
                    <a:gd name="connsiteY43" fmla="*/ 91326 h 271019"/>
                    <a:gd name="connsiteX44" fmla="*/ 170232 w 242389"/>
                    <a:gd name="connsiteY44" fmla="*/ 92605 h 271019"/>
                    <a:gd name="connsiteX45" fmla="*/ 168341 w 242389"/>
                    <a:gd name="connsiteY45" fmla="*/ 92589 h 271019"/>
                    <a:gd name="connsiteX46" fmla="*/ 166841 w 242389"/>
                    <a:gd name="connsiteY46" fmla="*/ 92353 h 271019"/>
                    <a:gd name="connsiteX47" fmla="*/ 166768 w 242389"/>
                    <a:gd name="connsiteY47" fmla="*/ 93926 h 271019"/>
                    <a:gd name="connsiteX48" fmla="*/ 165815 w 242389"/>
                    <a:gd name="connsiteY48" fmla="*/ 96004 h 271019"/>
                    <a:gd name="connsiteX49" fmla="*/ 165277 w 242389"/>
                    <a:gd name="connsiteY49" fmla="*/ 97813 h 271019"/>
                    <a:gd name="connsiteX50" fmla="*/ 167493 w 242389"/>
                    <a:gd name="connsiteY50" fmla="*/ 102100 h 271019"/>
                    <a:gd name="connsiteX51" fmla="*/ 167885 w 242389"/>
                    <a:gd name="connsiteY51" fmla="*/ 104365 h 271019"/>
                    <a:gd name="connsiteX52" fmla="*/ 167526 w 242389"/>
                    <a:gd name="connsiteY52" fmla="*/ 106427 h 271019"/>
                    <a:gd name="connsiteX53" fmla="*/ 165480 w 242389"/>
                    <a:gd name="connsiteY53" fmla="*/ 109981 h 271019"/>
                    <a:gd name="connsiteX54" fmla="*/ 164274 w 242389"/>
                    <a:gd name="connsiteY54" fmla="*/ 112377 h 271019"/>
                    <a:gd name="connsiteX55" fmla="*/ 164560 w 242389"/>
                    <a:gd name="connsiteY55" fmla="*/ 112915 h 271019"/>
                    <a:gd name="connsiteX56" fmla="*/ 166157 w 242389"/>
                    <a:gd name="connsiteY56" fmla="*/ 113860 h 271019"/>
                    <a:gd name="connsiteX57" fmla="*/ 171136 w 242389"/>
                    <a:gd name="connsiteY57" fmla="*/ 121667 h 271019"/>
                    <a:gd name="connsiteX58" fmla="*/ 172734 w 242389"/>
                    <a:gd name="connsiteY58" fmla="*/ 124414 h 271019"/>
                    <a:gd name="connsiteX59" fmla="*/ 174828 w 242389"/>
                    <a:gd name="connsiteY59" fmla="*/ 123689 h 271019"/>
                    <a:gd name="connsiteX60" fmla="*/ 175619 w 242389"/>
                    <a:gd name="connsiteY60" fmla="*/ 123737 h 271019"/>
                    <a:gd name="connsiteX61" fmla="*/ 176238 w 242389"/>
                    <a:gd name="connsiteY61" fmla="*/ 124177 h 271019"/>
                    <a:gd name="connsiteX62" fmla="*/ 176621 w 242389"/>
                    <a:gd name="connsiteY62" fmla="*/ 125107 h 271019"/>
                    <a:gd name="connsiteX63" fmla="*/ 176621 w 242389"/>
                    <a:gd name="connsiteY63" fmla="*/ 126280 h 271019"/>
                    <a:gd name="connsiteX64" fmla="*/ 176075 w 242389"/>
                    <a:gd name="connsiteY64" fmla="*/ 128032 h 271019"/>
                    <a:gd name="connsiteX65" fmla="*/ 178756 w 242389"/>
                    <a:gd name="connsiteY65" fmla="*/ 128749 h 271019"/>
                    <a:gd name="connsiteX66" fmla="*/ 179718 w 242389"/>
                    <a:gd name="connsiteY66" fmla="*/ 130518 h 271019"/>
                    <a:gd name="connsiteX67" fmla="*/ 182848 w 242389"/>
                    <a:gd name="connsiteY67" fmla="*/ 136589 h 271019"/>
                    <a:gd name="connsiteX68" fmla="*/ 182733 w 242389"/>
                    <a:gd name="connsiteY68" fmla="*/ 138399 h 271019"/>
                    <a:gd name="connsiteX69" fmla="*/ 181226 w 242389"/>
                    <a:gd name="connsiteY69" fmla="*/ 141259 h 271019"/>
                    <a:gd name="connsiteX70" fmla="*/ 181218 w 242389"/>
                    <a:gd name="connsiteY70" fmla="*/ 143158 h 271019"/>
                    <a:gd name="connsiteX71" fmla="*/ 181536 w 242389"/>
                    <a:gd name="connsiteY71" fmla="*/ 144861 h 271019"/>
                    <a:gd name="connsiteX72" fmla="*/ 182024 w 242389"/>
                    <a:gd name="connsiteY72" fmla="*/ 145456 h 271019"/>
                    <a:gd name="connsiteX73" fmla="*/ 186621 w 242389"/>
                    <a:gd name="connsiteY73" fmla="*/ 145693 h 271019"/>
                    <a:gd name="connsiteX74" fmla="*/ 188576 w 242389"/>
                    <a:gd name="connsiteY74" fmla="*/ 146377 h 271019"/>
                    <a:gd name="connsiteX75" fmla="*/ 193353 w 242389"/>
                    <a:gd name="connsiteY75" fmla="*/ 149474 h 271019"/>
                    <a:gd name="connsiteX76" fmla="*/ 198796 w 242389"/>
                    <a:gd name="connsiteY76" fmla="*/ 154226 h 271019"/>
                    <a:gd name="connsiteX77" fmla="*/ 203246 w 242389"/>
                    <a:gd name="connsiteY77" fmla="*/ 158113 h 271019"/>
                    <a:gd name="connsiteX78" fmla="*/ 207044 w 242389"/>
                    <a:gd name="connsiteY78" fmla="*/ 161422 h 271019"/>
                    <a:gd name="connsiteX79" fmla="*/ 211103 w 242389"/>
                    <a:gd name="connsiteY79" fmla="*/ 161177 h 271019"/>
                    <a:gd name="connsiteX80" fmla="*/ 212203 w 242389"/>
                    <a:gd name="connsiteY80" fmla="*/ 161780 h 271019"/>
                    <a:gd name="connsiteX81" fmla="*/ 213238 w 242389"/>
                    <a:gd name="connsiteY81" fmla="*/ 162807 h 271019"/>
                    <a:gd name="connsiteX82" fmla="*/ 214395 w 242389"/>
                    <a:gd name="connsiteY82" fmla="*/ 165521 h 271019"/>
                    <a:gd name="connsiteX83" fmla="*/ 216718 w 242389"/>
                    <a:gd name="connsiteY83" fmla="*/ 171666 h 271019"/>
                    <a:gd name="connsiteX84" fmla="*/ 218698 w 242389"/>
                    <a:gd name="connsiteY84" fmla="*/ 173703 h 271019"/>
                    <a:gd name="connsiteX85" fmla="*/ 221754 w 242389"/>
                    <a:gd name="connsiteY85" fmla="*/ 178618 h 271019"/>
                    <a:gd name="connsiteX86" fmla="*/ 224607 w 242389"/>
                    <a:gd name="connsiteY86" fmla="*/ 183214 h 271019"/>
                    <a:gd name="connsiteX87" fmla="*/ 222732 w 242389"/>
                    <a:gd name="connsiteY87" fmla="*/ 189457 h 271019"/>
                    <a:gd name="connsiteX88" fmla="*/ 220882 w 242389"/>
                    <a:gd name="connsiteY88" fmla="*/ 195952 h 271019"/>
                    <a:gd name="connsiteX89" fmla="*/ 220882 w 242389"/>
                    <a:gd name="connsiteY89" fmla="*/ 204314 h 271019"/>
                    <a:gd name="connsiteX90" fmla="*/ 220882 w 242389"/>
                    <a:gd name="connsiteY90" fmla="*/ 208796 h 271019"/>
                    <a:gd name="connsiteX91" fmla="*/ 224761 w 242389"/>
                    <a:gd name="connsiteY91" fmla="*/ 208992 h 271019"/>
                    <a:gd name="connsiteX92" fmla="*/ 229089 w 242389"/>
                    <a:gd name="connsiteY92" fmla="*/ 209204 h 271019"/>
                    <a:gd name="connsiteX93" fmla="*/ 229130 w 242389"/>
                    <a:gd name="connsiteY93" fmla="*/ 214558 h 271019"/>
                    <a:gd name="connsiteX94" fmla="*/ 229170 w 242389"/>
                    <a:gd name="connsiteY94" fmla="*/ 219945 h 271019"/>
                    <a:gd name="connsiteX95" fmla="*/ 229211 w 242389"/>
                    <a:gd name="connsiteY95" fmla="*/ 226082 h 271019"/>
                    <a:gd name="connsiteX96" fmla="*/ 230475 w 242389"/>
                    <a:gd name="connsiteY96" fmla="*/ 226342 h 271019"/>
                    <a:gd name="connsiteX97" fmla="*/ 232487 w 242389"/>
                    <a:gd name="connsiteY97" fmla="*/ 227655 h 271019"/>
                    <a:gd name="connsiteX98" fmla="*/ 233351 w 242389"/>
                    <a:gd name="connsiteY98" fmla="*/ 229635 h 271019"/>
                    <a:gd name="connsiteX99" fmla="*/ 234435 w 242389"/>
                    <a:gd name="connsiteY99" fmla="*/ 230727 h 271019"/>
                    <a:gd name="connsiteX100" fmla="*/ 235747 w 242389"/>
                    <a:gd name="connsiteY100" fmla="*/ 230898 h 271019"/>
                    <a:gd name="connsiteX101" fmla="*/ 237043 w 242389"/>
                    <a:gd name="connsiteY101" fmla="*/ 231876 h 271019"/>
                    <a:gd name="connsiteX102" fmla="*/ 238315 w 242389"/>
                    <a:gd name="connsiteY102" fmla="*/ 233653 h 271019"/>
                    <a:gd name="connsiteX103" fmla="*/ 238787 w 242389"/>
                    <a:gd name="connsiteY103" fmla="*/ 234998 h 271019"/>
                    <a:gd name="connsiteX104" fmla="*/ 238437 w 242389"/>
                    <a:gd name="connsiteY104" fmla="*/ 235902 h 271019"/>
                    <a:gd name="connsiteX105" fmla="*/ 238722 w 242389"/>
                    <a:gd name="connsiteY105" fmla="*/ 237524 h 271019"/>
                    <a:gd name="connsiteX106" fmla="*/ 239610 w 242389"/>
                    <a:gd name="connsiteY106" fmla="*/ 239830 h 271019"/>
                    <a:gd name="connsiteX107" fmla="*/ 240703 w 242389"/>
                    <a:gd name="connsiteY107" fmla="*/ 240914 h 271019"/>
                    <a:gd name="connsiteX108" fmla="*/ 242389 w 242389"/>
                    <a:gd name="connsiteY108" fmla="*/ 242251 h 271019"/>
                    <a:gd name="connsiteX109" fmla="*/ 240091 w 242389"/>
                    <a:gd name="connsiteY109" fmla="*/ 243017 h 271019"/>
                    <a:gd name="connsiteX110" fmla="*/ 237630 w 242389"/>
                    <a:gd name="connsiteY110" fmla="*/ 242430 h 271019"/>
                    <a:gd name="connsiteX111" fmla="*/ 232341 w 242389"/>
                    <a:gd name="connsiteY111" fmla="*/ 239724 h 271019"/>
                    <a:gd name="connsiteX112" fmla="*/ 230629 w 242389"/>
                    <a:gd name="connsiteY112" fmla="*/ 239651 h 271019"/>
                    <a:gd name="connsiteX113" fmla="*/ 228396 w 242389"/>
                    <a:gd name="connsiteY113" fmla="*/ 240670 h 271019"/>
                    <a:gd name="connsiteX114" fmla="*/ 228298 w 242389"/>
                    <a:gd name="connsiteY114" fmla="*/ 241591 h 271019"/>
                    <a:gd name="connsiteX115" fmla="*/ 222732 w 242389"/>
                    <a:gd name="connsiteY115" fmla="*/ 238583 h 271019"/>
                    <a:gd name="connsiteX116" fmla="*/ 220719 w 242389"/>
                    <a:gd name="connsiteY116" fmla="*/ 237972 h 271019"/>
                    <a:gd name="connsiteX117" fmla="*/ 219994 w 242389"/>
                    <a:gd name="connsiteY117" fmla="*/ 237915 h 271019"/>
                    <a:gd name="connsiteX118" fmla="*/ 216799 w 242389"/>
                    <a:gd name="connsiteY118" fmla="*/ 237940 h 271019"/>
                    <a:gd name="connsiteX119" fmla="*/ 212244 w 242389"/>
                    <a:gd name="connsiteY119" fmla="*/ 238485 h 271019"/>
                    <a:gd name="connsiteX120" fmla="*/ 209562 w 242389"/>
                    <a:gd name="connsiteY120" fmla="*/ 239708 h 271019"/>
                    <a:gd name="connsiteX121" fmla="*/ 207712 w 242389"/>
                    <a:gd name="connsiteY121" fmla="*/ 241004 h 271019"/>
                    <a:gd name="connsiteX122" fmla="*/ 206865 w 242389"/>
                    <a:gd name="connsiteY122" fmla="*/ 242283 h 271019"/>
                    <a:gd name="connsiteX123" fmla="*/ 206555 w 242389"/>
                    <a:gd name="connsiteY123" fmla="*/ 242968 h 271019"/>
                    <a:gd name="connsiteX124" fmla="*/ 205113 w 242389"/>
                    <a:gd name="connsiteY124" fmla="*/ 246717 h 271019"/>
                    <a:gd name="connsiteX125" fmla="*/ 203434 w 242389"/>
                    <a:gd name="connsiteY125" fmla="*/ 251525 h 271019"/>
                    <a:gd name="connsiteX126" fmla="*/ 201698 w 242389"/>
                    <a:gd name="connsiteY126" fmla="*/ 255869 h 271019"/>
                    <a:gd name="connsiteX127" fmla="*/ 198308 w 242389"/>
                    <a:gd name="connsiteY127" fmla="*/ 261949 h 271019"/>
                    <a:gd name="connsiteX128" fmla="*/ 196433 w 242389"/>
                    <a:gd name="connsiteY128" fmla="*/ 264760 h 271019"/>
                    <a:gd name="connsiteX129" fmla="*/ 192407 w 242389"/>
                    <a:gd name="connsiteY129" fmla="*/ 269984 h 271019"/>
                    <a:gd name="connsiteX130" fmla="*/ 188063 w 242389"/>
                    <a:gd name="connsiteY130" fmla="*/ 271019 h 271019"/>
                    <a:gd name="connsiteX131" fmla="*/ 177974 w 242389"/>
                    <a:gd name="connsiteY131" fmla="*/ 269992 h 271019"/>
                    <a:gd name="connsiteX132" fmla="*/ 166792 w 242389"/>
                    <a:gd name="connsiteY132" fmla="*/ 268852 h 271019"/>
                    <a:gd name="connsiteX133" fmla="*/ 155668 w 242389"/>
                    <a:gd name="connsiteY133" fmla="*/ 267710 h 271019"/>
                    <a:gd name="connsiteX134" fmla="*/ 147388 w 242389"/>
                    <a:gd name="connsiteY134" fmla="*/ 266871 h 271019"/>
                    <a:gd name="connsiteX135" fmla="*/ 146752 w 242389"/>
                    <a:gd name="connsiteY135" fmla="*/ 266594 h 271019"/>
                    <a:gd name="connsiteX136" fmla="*/ 138578 w 242389"/>
                    <a:gd name="connsiteY136" fmla="*/ 259137 h 271019"/>
                    <a:gd name="connsiteX137" fmla="*/ 132091 w 242389"/>
                    <a:gd name="connsiteY137" fmla="*/ 253245 h 271019"/>
                    <a:gd name="connsiteX138" fmla="*/ 124006 w 242389"/>
                    <a:gd name="connsiteY138" fmla="*/ 245877 h 271019"/>
                    <a:gd name="connsiteX139" fmla="*/ 115759 w 242389"/>
                    <a:gd name="connsiteY139" fmla="*/ 238347 h 271019"/>
                    <a:gd name="connsiteX140" fmla="*/ 107365 w 242389"/>
                    <a:gd name="connsiteY140" fmla="*/ 230694 h 271019"/>
                    <a:gd name="connsiteX141" fmla="*/ 101285 w 242389"/>
                    <a:gd name="connsiteY141" fmla="*/ 225136 h 271019"/>
                    <a:gd name="connsiteX142" fmla="*/ 93901 w 242389"/>
                    <a:gd name="connsiteY142" fmla="*/ 217973 h 271019"/>
                    <a:gd name="connsiteX143" fmla="*/ 87169 w 242389"/>
                    <a:gd name="connsiteY143" fmla="*/ 211445 h 271019"/>
                    <a:gd name="connsiteX144" fmla="*/ 81864 w 242389"/>
                    <a:gd name="connsiteY144" fmla="*/ 206286 h 271019"/>
                    <a:gd name="connsiteX145" fmla="*/ 75051 w 242389"/>
                    <a:gd name="connsiteY145" fmla="*/ 201763 h 271019"/>
                    <a:gd name="connsiteX146" fmla="*/ 69721 w 242389"/>
                    <a:gd name="connsiteY146" fmla="*/ 198234 h 271019"/>
                    <a:gd name="connsiteX147" fmla="*/ 61979 w 242389"/>
                    <a:gd name="connsiteY147" fmla="*/ 193092 h 271019"/>
                    <a:gd name="connsiteX148" fmla="*/ 55769 w 242389"/>
                    <a:gd name="connsiteY148" fmla="*/ 188976 h 271019"/>
                    <a:gd name="connsiteX149" fmla="*/ 50463 w 242389"/>
                    <a:gd name="connsiteY149" fmla="*/ 185447 h 271019"/>
                    <a:gd name="connsiteX150" fmla="*/ 42289 w 242389"/>
                    <a:gd name="connsiteY150" fmla="*/ 180011 h 271019"/>
                    <a:gd name="connsiteX151" fmla="*/ 39567 w 242389"/>
                    <a:gd name="connsiteY151" fmla="*/ 178528 h 271019"/>
                    <a:gd name="connsiteX152" fmla="*/ 31099 w 242389"/>
                    <a:gd name="connsiteY152" fmla="*/ 176719 h 271019"/>
                    <a:gd name="connsiteX153" fmla="*/ 23072 w 242389"/>
                    <a:gd name="connsiteY153" fmla="*/ 175178 h 271019"/>
                    <a:gd name="connsiteX154" fmla="*/ 14743 w 242389"/>
                    <a:gd name="connsiteY154" fmla="*/ 173581 h 271019"/>
                    <a:gd name="connsiteX155" fmla="*/ 9217 w 242389"/>
                    <a:gd name="connsiteY155" fmla="*/ 172522 h 271019"/>
                    <a:gd name="connsiteX156" fmla="*/ 12868 w 242389"/>
                    <a:gd name="connsiteY156" fmla="*/ 168659 h 271019"/>
                    <a:gd name="connsiteX157" fmla="*/ 11744 w 242389"/>
                    <a:gd name="connsiteY157" fmla="*/ 165171 h 271019"/>
                    <a:gd name="connsiteX158" fmla="*/ 9087 w 242389"/>
                    <a:gd name="connsiteY158" fmla="*/ 165814 h 271019"/>
                    <a:gd name="connsiteX159" fmla="*/ 6634 w 242389"/>
                    <a:gd name="connsiteY159" fmla="*/ 166638 h 271019"/>
                    <a:gd name="connsiteX160" fmla="*/ 5151 w 242389"/>
                    <a:gd name="connsiteY160" fmla="*/ 161218 h 271019"/>
                    <a:gd name="connsiteX161" fmla="*/ 7049 w 242389"/>
                    <a:gd name="connsiteY161" fmla="*/ 160558 h 271019"/>
                    <a:gd name="connsiteX162" fmla="*/ 5298 w 242389"/>
                    <a:gd name="connsiteY162" fmla="*/ 153492 h 271019"/>
                    <a:gd name="connsiteX163" fmla="*/ 3488 w 242389"/>
                    <a:gd name="connsiteY163" fmla="*/ 146206 h 271019"/>
                    <a:gd name="connsiteX164" fmla="*/ 1760 w 242389"/>
                    <a:gd name="connsiteY164" fmla="*/ 139157 h 271019"/>
                    <a:gd name="connsiteX165" fmla="*/ 0 w 242389"/>
                    <a:gd name="connsiteY165" fmla="*/ 131936 h 271019"/>
                    <a:gd name="connsiteX166" fmla="*/ 7017 w 242389"/>
                    <a:gd name="connsiteY166" fmla="*/ 127315 h 271019"/>
                    <a:gd name="connsiteX167" fmla="*/ 12265 w 242389"/>
                    <a:gd name="connsiteY167" fmla="*/ 123851 h 271019"/>
                    <a:gd name="connsiteX168" fmla="*/ 19616 w 242389"/>
                    <a:gd name="connsiteY168" fmla="*/ 119002 h 271019"/>
                    <a:gd name="connsiteX169" fmla="*/ 26691 w 242389"/>
                    <a:gd name="connsiteY169" fmla="*/ 114324 h 271019"/>
                    <a:gd name="connsiteX170" fmla="*/ 33439 w 242389"/>
                    <a:gd name="connsiteY170" fmla="*/ 109867 h 271019"/>
                    <a:gd name="connsiteX171" fmla="*/ 40863 w 242389"/>
                    <a:gd name="connsiteY171" fmla="*/ 104944 h 271019"/>
                    <a:gd name="connsiteX172" fmla="*/ 47505 w 242389"/>
                    <a:gd name="connsiteY172" fmla="*/ 100543 h 271019"/>
                    <a:gd name="connsiteX173" fmla="*/ 53601 w 242389"/>
                    <a:gd name="connsiteY173" fmla="*/ 98750 h 271019"/>
                    <a:gd name="connsiteX174" fmla="*/ 54897 w 242389"/>
                    <a:gd name="connsiteY174" fmla="*/ 97357 h 271019"/>
                    <a:gd name="connsiteX175" fmla="*/ 57676 w 242389"/>
                    <a:gd name="connsiteY175" fmla="*/ 91342 h 271019"/>
                    <a:gd name="connsiteX176" fmla="*/ 60047 w 242389"/>
                    <a:gd name="connsiteY176" fmla="*/ 86191 h 271019"/>
                    <a:gd name="connsiteX177" fmla="*/ 60161 w 242389"/>
                    <a:gd name="connsiteY177" fmla="*/ 85002 h 271019"/>
                    <a:gd name="connsiteX178" fmla="*/ 60169 w 242389"/>
                    <a:gd name="connsiteY178" fmla="*/ 77691 h 271019"/>
                    <a:gd name="connsiteX179" fmla="*/ 60577 w 242389"/>
                    <a:gd name="connsiteY179" fmla="*/ 69101 h 271019"/>
                    <a:gd name="connsiteX180" fmla="*/ 61368 w 242389"/>
                    <a:gd name="connsiteY180" fmla="*/ 64513 h 271019"/>
                    <a:gd name="connsiteX181" fmla="*/ 62737 w 242389"/>
                    <a:gd name="connsiteY181" fmla="*/ 60447 h 271019"/>
                    <a:gd name="connsiteX182" fmla="*/ 64000 w 242389"/>
                    <a:gd name="connsiteY182" fmla="*/ 57480 h 271019"/>
                    <a:gd name="connsiteX183" fmla="*/ 64130 w 242389"/>
                    <a:gd name="connsiteY183" fmla="*/ 54701 h 271019"/>
                    <a:gd name="connsiteX184" fmla="*/ 63959 w 242389"/>
                    <a:gd name="connsiteY184" fmla="*/ 51873 h 271019"/>
                    <a:gd name="connsiteX185" fmla="*/ 62655 w 242389"/>
                    <a:gd name="connsiteY185" fmla="*/ 47603 h 271019"/>
                    <a:gd name="connsiteX186" fmla="*/ 61311 w 242389"/>
                    <a:gd name="connsiteY186" fmla="*/ 43161 h 271019"/>
                    <a:gd name="connsiteX187" fmla="*/ 61465 w 242389"/>
                    <a:gd name="connsiteY187" fmla="*/ 38866 h 271019"/>
                    <a:gd name="connsiteX188" fmla="*/ 61710 w 242389"/>
                    <a:gd name="connsiteY188" fmla="*/ 36568 h 271019"/>
                    <a:gd name="connsiteX189" fmla="*/ 62549 w 242389"/>
                    <a:gd name="connsiteY189" fmla="*/ 32884 h 271019"/>
                    <a:gd name="connsiteX190" fmla="*/ 64000 w 242389"/>
                    <a:gd name="connsiteY190" fmla="*/ 30195 h 271019"/>
                    <a:gd name="connsiteX191" fmla="*/ 65557 w 242389"/>
                    <a:gd name="connsiteY191" fmla="*/ 28524 h 271019"/>
                    <a:gd name="connsiteX192" fmla="*/ 71335 w 242389"/>
                    <a:gd name="connsiteY192" fmla="*/ 26813 h 271019"/>
                    <a:gd name="connsiteX193" fmla="*/ 74766 w 242389"/>
                    <a:gd name="connsiteY193" fmla="*/ 25794 h 271019"/>
                    <a:gd name="connsiteX194" fmla="*/ 79378 w 242389"/>
                    <a:gd name="connsiteY194" fmla="*/ 21010 h 271019"/>
                    <a:gd name="connsiteX195" fmla="*/ 82101 w 242389"/>
                    <a:gd name="connsiteY195" fmla="*/ 18190 h 271019"/>
                    <a:gd name="connsiteX196" fmla="*/ 85906 w 242389"/>
                    <a:gd name="connsiteY196" fmla="*/ 13691 h 271019"/>
                    <a:gd name="connsiteX197" fmla="*/ 88694 w 242389"/>
                    <a:gd name="connsiteY197" fmla="*/ 10383 h 271019"/>
                    <a:gd name="connsiteX198" fmla="*/ 88922 w 242389"/>
                    <a:gd name="connsiteY198" fmla="*/ 9225 h 271019"/>
                    <a:gd name="connsiteX199" fmla="*/ 88922 w 242389"/>
                    <a:gd name="connsiteY199" fmla="*/ 8777 h 271019"/>
                    <a:gd name="connsiteX200" fmla="*/ 91326 w 242389"/>
                    <a:gd name="connsiteY200" fmla="*/ 8109 h 271019"/>
                    <a:gd name="connsiteX201" fmla="*/ 95776 w 242389"/>
                    <a:gd name="connsiteY201" fmla="*/ 4091 h 271019"/>
                    <a:gd name="connsiteX202" fmla="*/ 98400 w 242389"/>
                    <a:gd name="connsiteY202" fmla="*/ 334 h 271019"/>
                    <a:gd name="connsiteX203" fmla="*/ 99223 w 242389"/>
                    <a:gd name="connsiteY203" fmla="*/ 0 h 271019"/>
                    <a:gd name="connsiteX204" fmla="*/ 101570 w 242389"/>
                    <a:gd name="connsiteY204" fmla="*/ 1239 h 271019"/>
                    <a:gd name="connsiteX205" fmla="*/ 103249 w 242389"/>
                    <a:gd name="connsiteY205" fmla="*/ 1573 h 271019"/>
                    <a:gd name="connsiteX206" fmla="*/ 107104 w 242389"/>
                    <a:gd name="connsiteY206" fmla="*/ 155 h 271019"/>
                    <a:gd name="connsiteX207" fmla="*/ 109410 w 242389"/>
                    <a:gd name="connsiteY207" fmla="*/ 905 h 271019"/>
                    <a:gd name="connsiteX208" fmla="*/ 111350 w 242389"/>
                    <a:gd name="connsiteY208" fmla="*/ 1850 h 271019"/>
                    <a:gd name="connsiteX209" fmla="*/ 112425 w 242389"/>
                    <a:gd name="connsiteY209" fmla="*/ 1907 h 271019"/>
                    <a:gd name="connsiteX210" fmla="*/ 117609 w 242389"/>
                    <a:gd name="connsiteY210" fmla="*/ 4246 h 271019"/>
                    <a:gd name="connsiteX211" fmla="*/ 118913 w 242389"/>
                    <a:gd name="connsiteY211" fmla="*/ 4539 h 271019"/>
                    <a:gd name="connsiteX212" fmla="*/ 121578 w 242389"/>
                    <a:gd name="connsiteY212" fmla="*/ 4825 h 271019"/>
                    <a:gd name="connsiteX213" fmla="*/ 125563 w 242389"/>
                    <a:gd name="connsiteY213" fmla="*/ 4947 h 271019"/>
                    <a:gd name="connsiteX214" fmla="*/ 128138 w 242389"/>
                    <a:gd name="connsiteY214" fmla="*/ 3423 h 271019"/>
                    <a:gd name="connsiteX215" fmla="*/ 129948 w 242389"/>
                    <a:gd name="connsiteY215" fmla="*/ 1940 h 271019"/>
                    <a:gd name="connsiteX216" fmla="*/ 131219 w 242389"/>
                    <a:gd name="connsiteY216" fmla="*/ 1980 h 271019"/>
                    <a:gd name="connsiteX217" fmla="*/ 132466 w 242389"/>
                    <a:gd name="connsiteY217" fmla="*/ 2331 h 271019"/>
                    <a:gd name="connsiteX218" fmla="*/ 133493 w 242389"/>
                    <a:gd name="connsiteY218" fmla="*/ 2966 h 271019"/>
                    <a:gd name="connsiteX219" fmla="*/ 134373 w 242389"/>
                    <a:gd name="connsiteY219" fmla="*/ 4067 h 271019"/>
                    <a:gd name="connsiteX220" fmla="*/ 134788 w 242389"/>
                    <a:gd name="connsiteY220" fmla="*/ 5648 h 271019"/>
                    <a:gd name="connsiteX221" fmla="*/ 134625 w 242389"/>
                    <a:gd name="connsiteY221" fmla="*/ 10668 h 271019"/>
                    <a:gd name="connsiteX222" fmla="*/ 135008 w 242389"/>
                    <a:gd name="connsiteY222" fmla="*/ 11996 h 271019"/>
                    <a:gd name="connsiteX223" fmla="*/ 135718 w 242389"/>
                    <a:gd name="connsiteY223" fmla="*/ 12950 h 271019"/>
                    <a:gd name="connsiteX224" fmla="*/ 136606 w 242389"/>
                    <a:gd name="connsiteY224" fmla="*/ 13129 h 271019"/>
                    <a:gd name="connsiteX225" fmla="*/ 137698 w 242389"/>
                    <a:gd name="connsiteY225" fmla="*/ 12037 h 271019"/>
                    <a:gd name="connsiteX226" fmla="*/ 139589 w 242389"/>
                    <a:gd name="connsiteY226" fmla="*/ 10448 h 271019"/>
                    <a:gd name="connsiteX227" fmla="*/ 141919 w 242389"/>
                    <a:gd name="connsiteY227" fmla="*/ 8720 h 271019"/>
                    <a:gd name="connsiteX228" fmla="*/ 143663 w 242389"/>
                    <a:gd name="connsiteY228" fmla="*/ 7123 h 271019"/>
                    <a:gd name="connsiteX229" fmla="*/ 144650 w 242389"/>
                    <a:gd name="connsiteY229" fmla="*/ 6528 h 271019"/>
                    <a:gd name="connsiteX230" fmla="*/ 146223 w 242389"/>
                    <a:gd name="connsiteY230" fmla="*/ 6609 h 271019"/>
                    <a:gd name="connsiteX231" fmla="*/ 147747 w 242389"/>
                    <a:gd name="connsiteY231" fmla="*/ 6887 h 27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Lst>
                  <a:rect l="l" t="t" r="r" b="b"/>
                  <a:pathLst>
                    <a:path w="242389" h="271019">
                      <a:moveTo>
                        <a:pt x="148594" y="7653"/>
                      </a:moveTo>
                      <a:lnTo>
                        <a:pt x="148602" y="7897"/>
                      </a:lnTo>
                      <a:lnTo>
                        <a:pt x="149433" y="10269"/>
                      </a:lnTo>
                      <a:lnTo>
                        <a:pt x="151471" y="19070"/>
                      </a:lnTo>
                      <a:lnTo>
                        <a:pt x="152628" y="20179"/>
                      </a:lnTo>
                      <a:lnTo>
                        <a:pt x="153965" y="21116"/>
                      </a:lnTo>
                      <a:lnTo>
                        <a:pt x="154902" y="22428"/>
                      </a:lnTo>
                      <a:lnTo>
                        <a:pt x="155261" y="23740"/>
                      </a:lnTo>
                      <a:lnTo>
                        <a:pt x="155155" y="25769"/>
                      </a:lnTo>
                      <a:lnTo>
                        <a:pt x="155187" y="28149"/>
                      </a:lnTo>
                      <a:lnTo>
                        <a:pt x="155741" y="29950"/>
                      </a:lnTo>
                      <a:lnTo>
                        <a:pt x="156499" y="31336"/>
                      </a:lnTo>
                      <a:lnTo>
                        <a:pt x="157217" y="32028"/>
                      </a:lnTo>
                      <a:lnTo>
                        <a:pt x="158276" y="32085"/>
                      </a:lnTo>
                      <a:lnTo>
                        <a:pt x="159548" y="32428"/>
                      </a:lnTo>
                      <a:lnTo>
                        <a:pt x="160403" y="33797"/>
                      </a:lnTo>
                      <a:lnTo>
                        <a:pt x="163117" y="43780"/>
                      </a:lnTo>
                      <a:lnTo>
                        <a:pt x="163394" y="45084"/>
                      </a:lnTo>
                      <a:lnTo>
                        <a:pt x="164543" y="45500"/>
                      </a:lnTo>
                      <a:lnTo>
                        <a:pt x="166426" y="45304"/>
                      </a:lnTo>
                      <a:lnTo>
                        <a:pt x="168357" y="46347"/>
                      </a:lnTo>
                      <a:lnTo>
                        <a:pt x="170419" y="47961"/>
                      </a:lnTo>
                      <a:lnTo>
                        <a:pt x="172367" y="50993"/>
                      </a:lnTo>
                      <a:lnTo>
                        <a:pt x="173679" y="51482"/>
                      </a:lnTo>
                      <a:lnTo>
                        <a:pt x="177770" y="51034"/>
                      </a:lnTo>
                      <a:lnTo>
                        <a:pt x="183385" y="51523"/>
                      </a:lnTo>
                      <a:lnTo>
                        <a:pt x="186010" y="53087"/>
                      </a:lnTo>
                      <a:lnTo>
                        <a:pt x="185732" y="54049"/>
                      </a:lnTo>
                      <a:lnTo>
                        <a:pt x="183711" y="55133"/>
                      </a:lnTo>
                      <a:lnTo>
                        <a:pt x="180150" y="56404"/>
                      </a:lnTo>
                      <a:lnTo>
                        <a:pt x="179099" y="58548"/>
                      </a:lnTo>
                      <a:lnTo>
                        <a:pt x="178504" y="61319"/>
                      </a:lnTo>
                      <a:lnTo>
                        <a:pt x="178610" y="62883"/>
                      </a:lnTo>
                      <a:lnTo>
                        <a:pt x="179482" y="64595"/>
                      </a:lnTo>
                      <a:lnTo>
                        <a:pt x="182008" y="68001"/>
                      </a:lnTo>
                      <a:lnTo>
                        <a:pt x="182147" y="69232"/>
                      </a:lnTo>
                      <a:lnTo>
                        <a:pt x="182587" y="70952"/>
                      </a:lnTo>
                      <a:lnTo>
                        <a:pt x="183068" y="72117"/>
                      </a:lnTo>
                      <a:lnTo>
                        <a:pt x="182546" y="74399"/>
                      </a:lnTo>
                      <a:lnTo>
                        <a:pt x="180264" y="75955"/>
                      </a:lnTo>
                      <a:lnTo>
                        <a:pt x="177273" y="77651"/>
                      </a:lnTo>
                      <a:lnTo>
                        <a:pt x="171234" y="85230"/>
                      </a:lnTo>
                      <a:lnTo>
                        <a:pt x="170794" y="86860"/>
                      </a:lnTo>
                      <a:lnTo>
                        <a:pt x="170835" y="91326"/>
                      </a:lnTo>
                      <a:lnTo>
                        <a:pt x="170232" y="92605"/>
                      </a:lnTo>
                      <a:lnTo>
                        <a:pt x="168341" y="92589"/>
                      </a:lnTo>
                      <a:lnTo>
                        <a:pt x="166841" y="92353"/>
                      </a:lnTo>
                      <a:lnTo>
                        <a:pt x="166768" y="93926"/>
                      </a:lnTo>
                      <a:lnTo>
                        <a:pt x="165815" y="96004"/>
                      </a:lnTo>
                      <a:lnTo>
                        <a:pt x="165277" y="97813"/>
                      </a:lnTo>
                      <a:lnTo>
                        <a:pt x="167493" y="102100"/>
                      </a:lnTo>
                      <a:lnTo>
                        <a:pt x="167885" y="104365"/>
                      </a:lnTo>
                      <a:lnTo>
                        <a:pt x="167526" y="106427"/>
                      </a:lnTo>
                      <a:lnTo>
                        <a:pt x="165480" y="109981"/>
                      </a:lnTo>
                      <a:lnTo>
                        <a:pt x="164274" y="112377"/>
                      </a:lnTo>
                      <a:lnTo>
                        <a:pt x="164560" y="112915"/>
                      </a:lnTo>
                      <a:lnTo>
                        <a:pt x="166157" y="113860"/>
                      </a:lnTo>
                      <a:lnTo>
                        <a:pt x="171136" y="121667"/>
                      </a:lnTo>
                      <a:lnTo>
                        <a:pt x="172734" y="124414"/>
                      </a:lnTo>
                      <a:lnTo>
                        <a:pt x="174828" y="123689"/>
                      </a:lnTo>
                      <a:lnTo>
                        <a:pt x="175619" y="123737"/>
                      </a:lnTo>
                      <a:lnTo>
                        <a:pt x="176238" y="124177"/>
                      </a:lnTo>
                      <a:lnTo>
                        <a:pt x="176621" y="125107"/>
                      </a:lnTo>
                      <a:lnTo>
                        <a:pt x="176621" y="126280"/>
                      </a:lnTo>
                      <a:lnTo>
                        <a:pt x="176075" y="128032"/>
                      </a:lnTo>
                      <a:lnTo>
                        <a:pt x="178756" y="128749"/>
                      </a:lnTo>
                      <a:lnTo>
                        <a:pt x="179718" y="130518"/>
                      </a:lnTo>
                      <a:lnTo>
                        <a:pt x="182848" y="136589"/>
                      </a:lnTo>
                      <a:lnTo>
                        <a:pt x="182733" y="138399"/>
                      </a:lnTo>
                      <a:lnTo>
                        <a:pt x="181226" y="141259"/>
                      </a:lnTo>
                      <a:lnTo>
                        <a:pt x="181218" y="143158"/>
                      </a:lnTo>
                      <a:lnTo>
                        <a:pt x="181536" y="144861"/>
                      </a:lnTo>
                      <a:lnTo>
                        <a:pt x="182024" y="145456"/>
                      </a:lnTo>
                      <a:lnTo>
                        <a:pt x="186621" y="145693"/>
                      </a:lnTo>
                      <a:lnTo>
                        <a:pt x="188576" y="146377"/>
                      </a:lnTo>
                      <a:lnTo>
                        <a:pt x="193353" y="149474"/>
                      </a:lnTo>
                      <a:lnTo>
                        <a:pt x="198796" y="154226"/>
                      </a:lnTo>
                      <a:lnTo>
                        <a:pt x="203246" y="158113"/>
                      </a:lnTo>
                      <a:lnTo>
                        <a:pt x="207044" y="161422"/>
                      </a:lnTo>
                      <a:lnTo>
                        <a:pt x="211103" y="161177"/>
                      </a:lnTo>
                      <a:lnTo>
                        <a:pt x="212203" y="161780"/>
                      </a:lnTo>
                      <a:lnTo>
                        <a:pt x="213238" y="162807"/>
                      </a:lnTo>
                      <a:lnTo>
                        <a:pt x="214395" y="165521"/>
                      </a:lnTo>
                      <a:lnTo>
                        <a:pt x="216718" y="171666"/>
                      </a:lnTo>
                      <a:lnTo>
                        <a:pt x="218698" y="173703"/>
                      </a:lnTo>
                      <a:lnTo>
                        <a:pt x="221754" y="178618"/>
                      </a:lnTo>
                      <a:lnTo>
                        <a:pt x="224607" y="183214"/>
                      </a:lnTo>
                      <a:lnTo>
                        <a:pt x="222732" y="189457"/>
                      </a:lnTo>
                      <a:lnTo>
                        <a:pt x="220882" y="195952"/>
                      </a:lnTo>
                      <a:lnTo>
                        <a:pt x="220882" y="204314"/>
                      </a:lnTo>
                      <a:lnTo>
                        <a:pt x="220882" y="208796"/>
                      </a:lnTo>
                      <a:lnTo>
                        <a:pt x="224761" y="208992"/>
                      </a:lnTo>
                      <a:lnTo>
                        <a:pt x="229089" y="209204"/>
                      </a:lnTo>
                      <a:lnTo>
                        <a:pt x="229130" y="214558"/>
                      </a:lnTo>
                      <a:lnTo>
                        <a:pt x="229170" y="219945"/>
                      </a:lnTo>
                      <a:lnTo>
                        <a:pt x="229211" y="226082"/>
                      </a:lnTo>
                      <a:lnTo>
                        <a:pt x="230475" y="226342"/>
                      </a:lnTo>
                      <a:lnTo>
                        <a:pt x="232487" y="227655"/>
                      </a:lnTo>
                      <a:lnTo>
                        <a:pt x="233351" y="229635"/>
                      </a:lnTo>
                      <a:lnTo>
                        <a:pt x="234435" y="230727"/>
                      </a:lnTo>
                      <a:lnTo>
                        <a:pt x="235747" y="230898"/>
                      </a:lnTo>
                      <a:lnTo>
                        <a:pt x="237043" y="231876"/>
                      </a:lnTo>
                      <a:lnTo>
                        <a:pt x="238315" y="233653"/>
                      </a:lnTo>
                      <a:lnTo>
                        <a:pt x="238787" y="234998"/>
                      </a:lnTo>
                      <a:lnTo>
                        <a:pt x="238437" y="235902"/>
                      </a:lnTo>
                      <a:lnTo>
                        <a:pt x="238722" y="237524"/>
                      </a:lnTo>
                      <a:lnTo>
                        <a:pt x="239610" y="239830"/>
                      </a:lnTo>
                      <a:lnTo>
                        <a:pt x="240703" y="240914"/>
                      </a:lnTo>
                      <a:lnTo>
                        <a:pt x="242389" y="242251"/>
                      </a:lnTo>
                      <a:lnTo>
                        <a:pt x="240091" y="243017"/>
                      </a:lnTo>
                      <a:lnTo>
                        <a:pt x="237630" y="242430"/>
                      </a:lnTo>
                      <a:lnTo>
                        <a:pt x="232341" y="239724"/>
                      </a:lnTo>
                      <a:lnTo>
                        <a:pt x="230629" y="239651"/>
                      </a:lnTo>
                      <a:lnTo>
                        <a:pt x="228396" y="240670"/>
                      </a:lnTo>
                      <a:lnTo>
                        <a:pt x="228298" y="241591"/>
                      </a:lnTo>
                      <a:lnTo>
                        <a:pt x="222732" y="238583"/>
                      </a:lnTo>
                      <a:lnTo>
                        <a:pt x="220719" y="237972"/>
                      </a:lnTo>
                      <a:lnTo>
                        <a:pt x="219994" y="237915"/>
                      </a:lnTo>
                      <a:lnTo>
                        <a:pt x="216799" y="237940"/>
                      </a:lnTo>
                      <a:lnTo>
                        <a:pt x="212244" y="238485"/>
                      </a:lnTo>
                      <a:lnTo>
                        <a:pt x="209562" y="239708"/>
                      </a:lnTo>
                      <a:lnTo>
                        <a:pt x="207712" y="241004"/>
                      </a:lnTo>
                      <a:lnTo>
                        <a:pt x="206865" y="242283"/>
                      </a:lnTo>
                      <a:lnTo>
                        <a:pt x="206555" y="242968"/>
                      </a:lnTo>
                      <a:lnTo>
                        <a:pt x="205113" y="246717"/>
                      </a:lnTo>
                      <a:lnTo>
                        <a:pt x="203434" y="251525"/>
                      </a:lnTo>
                      <a:lnTo>
                        <a:pt x="201698" y="255869"/>
                      </a:lnTo>
                      <a:lnTo>
                        <a:pt x="198308" y="261949"/>
                      </a:lnTo>
                      <a:lnTo>
                        <a:pt x="196433" y="264760"/>
                      </a:lnTo>
                      <a:lnTo>
                        <a:pt x="192407" y="269984"/>
                      </a:lnTo>
                      <a:lnTo>
                        <a:pt x="188063" y="271019"/>
                      </a:lnTo>
                      <a:lnTo>
                        <a:pt x="177974" y="269992"/>
                      </a:lnTo>
                      <a:lnTo>
                        <a:pt x="166792" y="268852"/>
                      </a:lnTo>
                      <a:lnTo>
                        <a:pt x="155668" y="267710"/>
                      </a:lnTo>
                      <a:lnTo>
                        <a:pt x="147388" y="266871"/>
                      </a:lnTo>
                      <a:lnTo>
                        <a:pt x="146752" y="266594"/>
                      </a:lnTo>
                      <a:lnTo>
                        <a:pt x="138578" y="259137"/>
                      </a:lnTo>
                      <a:lnTo>
                        <a:pt x="132091" y="253245"/>
                      </a:lnTo>
                      <a:lnTo>
                        <a:pt x="124006" y="245877"/>
                      </a:lnTo>
                      <a:lnTo>
                        <a:pt x="115759" y="238347"/>
                      </a:lnTo>
                      <a:lnTo>
                        <a:pt x="107365" y="230694"/>
                      </a:lnTo>
                      <a:lnTo>
                        <a:pt x="101285" y="225136"/>
                      </a:lnTo>
                      <a:lnTo>
                        <a:pt x="93901" y="217973"/>
                      </a:lnTo>
                      <a:lnTo>
                        <a:pt x="87169" y="211445"/>
                      </a:lnTo>
                      <a:lnTo>
                        <a:pt x="81864" y="206286"/>
                      </a:lnTo>
                      <a:lnTo>
                        <a:pt x="75051" y="201763"/>
                      </a:lnTo>
                      <a:lnTo>
                        <a:pt x="69721" y="198234"/>
                      </a:lnTo>
                      <a:lnTo>
                        <a:pt x="61979" y="193092"/>
                      </a:lnTo>
                      <a:lnTo>
                        <a:pt x="55769" y="188976"/>
                      </a:lnTo>
                      <a:lnTo>
                        <a:pt x="50463" y="185447"/>
                      </a:lnTo>
                      <a:lnTo>
                        <a:pt x="42289" y="180011"/>
                      </a:lnTo>
                      <a:lnTo>
                        <a:pt x="39567" y="178528"/>
                      </a:lnTo>
                      <a:lnTo>
                        <a:pt x="31099" y="176719"/>
                      </a:lnTo>
                      <a:lnTo>
                        <a:pt x="23072" y="175178"/>
                      </a:lnTo>
                      <a:lnTo>
                        <a:pt x="14743" y="173581"/>
                      </a:lnTo>
                      <a:lnTo>
                        <a:pt x="9217" y="172522"/>
                      </a:lnTo>
                      <a:lnTo>
                        <a:pt x="12868" y="168659"/>
                      </a:lnTo>
                      <a:lnTo>
                        <a:pt x="11744" y="165171"/>
                      </a:lnTo>
                      <a:lnTo>
                        <a:pt x="9087" y="165814"/>
                      </a:lnTo>
                      <a:lnTo>
                        <a:pt x="6634" y="166638"/>
                      </a:lnTo>
                      <a:lnTo>
                        <a:pt x="5151" y="161218"/>
                      </a:lnTo>
                      <a:lnTo>
                        <a:pt x="7049" y="160558"/>
                      </a:lnTo>
                      <a:lnTo>
                        <a:pt x="5298" y="153492"/>
                      </a:lnTo>
                      <a:lnTo>
                        <a:pt x="3488" y="146206"/>
                      </a:lnTo>
                      <a:lnTo>
                        <a:pt x="1760" y="139157"/>
                      </a:lnTo>
                      <a:lnTo>
                        <a:pt x="0" y="131936"/>
                      </a:lnTo>
                      <a:lnTo>
                        <a:pt x="7017" y="127315"/>
                      </a:lnTo>
                      <a:lnTo>
                        <a:pt x="12265" y="123851"/>
                      </a:lnTo>
                      <a:lnTo>
                        <a:pt x="19616" y="119002"/>
                      </a:lnTo>
                      <a:lnTo>
                        <a:pt x="26691" y="114324"/>
                      </a:lnTo>
                      <a:lnTo>
                        <a:pt x="33439" y="109867"/>
                      </a:lnTo>
                      <a:lnTo>
                        <a:pt x="40863" y="104944"/>
                      </a:lnTo>
                      <a:lnTo>
                        <a:pt x="47505" y="100543"/>
                      </a:lnTo>
                      <a:lnTo>
                        <a:pt x="53601" y="98750"/>
                      </a:lnTo>
                      <a:lnTo>
                        <a:pt x="54897" y="97357"/>
                      </a:lnTo>
                      <a:lnTo>
                        <a:pt x="57676" y="91342"/>
                      </a:lnTo>
                      <a:lnTo>
                        <a:pt x="60047" y="86191"/>
                      </a:lnTo>
                      <a:lnTo>
                        <a:pt x="60161" y="85002"/>
                      </a:lnTo>
                      <a:lnTo>
                        <a:pt x="60169" y="77691"/>
                      </a:lnTo>
                      <a:lnTo>
                        <a:pt x="60577" y="69101"/>
                      </a:lnTo>
                      <a:lnTo>
                        <a:pt x="61368" y="64513"/>
                      </a:lnTo>
                      <a:lnTo>
                        <a:pt x="62737" y="60447"/>
                      </a:lnTo>
                      <a:lnTo>
                        <a:pt x="64000" y="57480"/>
                      </a:lnTo>
                      <a:lnTo>
                        <a:pt x="64130" y="54701"/>
                      </a:lnTo>
                      <a:lnTo>
                        <a:pt x="63959" y="51873"/>
                      </a:lnTo>
                      <a:lnTo>
                        <a:pt x="62655" y="47603"/>
                      </a:lnTo>
                      <a:lnTo>
                        <a:pt x="61311" y="43161"/>
                      </a:lnTo>
                      <a:lnTo>
                        <a:pt x="61465" y="38866"/>
                      </a:lnTo>
                      <a:lnTo>
                        <a:pt x="61710" y="36568"/>
                      </a:lnTo>
                      <a:lnTo>
                        <a:pt x="62549" y="32884"/>
                      </a:lnTo>
                      <a:lnTo>
                        <a:pt x="64000" y="30195"/>
                      </a:lnTo>
                      <a:lnTo>
                        <a:pt x="65557" y="28524"/>
                      </a:lnTo>
                      <a:lnTo>
                        <a:pt x="71335" y="26813"/>
                      </a:lnTo>
                      <a:lnTo>
                        <a:pt x="74766" y="25794"/>
                      </a:lnTo>
                      <a:lnTo>
                        <a:pt x="79378" y="21010"/>
                      </a:lnTo>
                      <a:lnTo>
                        <a:pt x="82101" y="18190"/>
                      </a:lnTo>
                      <a:lnTo>
                        <a:pt x="85906" y="13691"/>
                      </a:lnTo>
                      <a:lnTo>
                        <a:pt x="88694" y="10383"/>
                      </a:lnTo>
                      <a:lnTo>
                        <a:pt x="88922" y="9225"/>
                      </a:lnTo>
                      <a:lnTo>
                        <a:pt x="88922" y="8777"/>
                      </a:lnTo>
                      <a:lnTo>
                        <a:pt x="91326" y="8109"/>
                      </a:lnTo>
                      <a:lnTo>
                        <a:pt x="95776" y="4091"/>
                      </a:lnTo>
                      <a:lnTo>
                        <a:pt x="98400" y="334"/>
                      </a:lnTo>
                      <a:lnTo>
                        <a:pt x="99223" y="0"/>
                      </a:lnTo>
                      <a:lnTo>
                        <a:pt x="101570" y="1239"/>
                      </a:lnTo>
                      <a:lnTo>
                        <a:pt x="103249" y="1573"/>
                      </a:lnTo>
                      <a:lnTo>
                        <a:pt x="107104" y="155"/>
                      </a:lnTo>
                      <a:lnTo>
                        <a:pt x="109410" y="905"/>
                      </a:lnTo>
                      <a:lnTo>
                        <a:pt x="111350" y="1850"/>
                      </a:lnTo>
                      <a:lnTo>
                        <a:pt x="112425" y="1907"/>
                      </a:lnTo>
                      <a:lnTo>
                        <a:pt x="117609" y="4246"/>
                      </a:lnTo>
                      <a:lnTo>
                        <a:pt x="118913" y="4539"/>
                      </a:lnTo>
                      <a:lnTo>
                        <a:pt x="121578" y="4825"/>
                      </a:lnTo>
                      <a:lnTo>
                        <a:pt x="125563" y="4947"/>
                      </a:lnTo>
                      <a:lnTo>
                        <a:pt x="128138" y="3423"/>
                      </a:lnTo>
                      <a:lnTo>
                        <a:pt x="129948" y="1940"/>
                      </a:lnTo>
                      <a:lnTo>
                        <a:pt x="131219" y="1980"/>
                      </a:lnTo>
                      <a:lnTo>
                        <a:pt x="132466" y="2331"/>
                      </a:lnTo>
                      <a:lnTo>
                        <a:pt x="133493" y="2966"/>
                      </a:lnTo>
                      <a:lnTo>
                        <a:pt x="134373" y="4067"/>
                      </a:lnTo>
                      <a:lnTo>
                        <a:pt x="134788" y="5648"/>
                      </a:lnTo>
                      <a:lnTo>
                        <a:pt x="134625" y="10668"/>
                      </a:lnTo>
                      <a:lnTo>
                        <a:pt x="135008" y="11996"/>
                      </a:lnTo>
                      <a:lnTo>
                        <a:pt x="135718" y="12950"/>
                      </a:lnTo>
                      <a:lnTo>
                        <a:pt x="136606" y="13129"/>
                      </a:lnTo>
                      <a:lnTo>
                        <a:pt x="137698" y="12037"/>
                      </a:lnTo>
                      <a:lnTo>
                        <a:pt x="139589" y="10448"/>
                      </a:lnTo>
                      <a:lnTo>
                        <a:pt x="141919" y="8720"/>
                      </a:lnTo>
                      <a:lnTo>
                        <a:pt x="143663" y="7123"/>
                      </a:lnTo>
                      <a:lnTo>
                        <a:pt x="144650" y="6528"/>
                      </a:lnTo>
                      <a:lnTo>
                        <a:pt x="146223" y="6609"/>
                      </a:lnTo>
                      <a:lnTo>
                        <a:pt x="147747" y="6887"/>
                      </a:lnTo>
                      <a:close/>
                    </a:path>
                  </a:pathLst>
                </a:custGeom>
                <a:solidFill>
                  <a:srgbClr val="D6D6D2"/>
                </a:solidFill>
                <a:ln w="6112" cap="rnd">
                  <a:solidFill>
                    <a:srgbClr val="FFFFFF"/>
                  </a:solidFill>
                  <a:prstDash val="solid"/>
                  <a:round/>
                </a:ln>
              </p:spPr>
              <p:txBody>
                <a:bodyPr rtlCol="0" anchor="ctr"/>
                <a:lstStyle/>
                <a:p>
                  <a:endParaRPr lang="en-US"/>
                </a:p>
              </p:txBody>
            </p:sp>
            <p:sp>
              <p:nvSpPr>
                <p:cNvPr id="710" name="Freeform: Shape 709">
                  <a:extLst>
                    <a:ext uri="{FF2B5EF4-FFF2-40B4-BE49-F238E27FC236}">
                      <a16:creationId xmlns:a16="http://schemas.microsoft.com/office/drawing/2014/main" id="{4FB838CB-DD4E-4421-A61C-D600F11EDDD1}"/>
                    </a:ext>
                  </a:extLst>
                </p:cNvPr>
                <p:cNvSpPr/>
                <p:nvPr/>
              </p:nvSpPr>
              <p:spPr>
                <a:xfrm>
                  <a:off x="7035476" y="3283692"/>
                  <a:ext cx="478275" cy="477060"/>
                </a:xfrm>
                <a:custGeom>
                  <a:avLst/>
                  <a:gdLst>
                    <a:gd name="connsiteX0" fmla="*/ 24262 w 478275"/>
                    <a:gd name="connsiteY0" fmla="*/ 11630 h 477060"/>
                    <a:gd name="connsiteX1" fmla="*/ 26038 w 478275"/>
                    <a:gd name="connsiteY1" fmla="*/ 13675 h 477060"/>
                    <a:gd name="connsiteX2" fmla="*/ 27066 w 478275"/>
                    <a:gd name="connsiteY2" fmla="*/ 15403 h 477060"/>
                    <a:gd name="connsiteX3" fmla="*/ 27766 w 478275"/>
                    <a:gd name="connsiteY3" fmla="*/ 17343 h 477060"/>
                    <a:gd name="connsiteX4" fmla="*/ 28981 w 478275"/>
                    <a:gd name="connsiteY4" fmla="*/ 18647 h 477060"/>
                    <a:gd name="connsiteX5" fmla="*/ 30594 w 478275"/>
                    <a:gd name="connsiteY5" fmla="*/ 19348 h 477060"/>
                    <a:gd name="connsiteX6" fmla="*/ 32567 w 478275"/>
                    <a:gd name="connsiteY6" fmla="*/ 21222 h 477060"/>
                    <a:gd name="connsiteX7" fmla="*/ 33903 w 478275"/>
                    <a:gd name="connsiteY7" fmla="*/ 22681 h 477060"/>
                    <a:gd name="connsiteX8" fmla="*/ 36144 w 478275"/>
                    <a:gd name="connsiteY8" fmla="*/ 25704 h 477060"/>
                    <a:gd name="connsiteX9" fmla="*/ 38508 w 478275"/>
                    <a:gd name="connsiteY9" fmla="*/ 26829 h 477060"/>
                    <a:gd name="connsiteX10" fmla="*/ 47114 w 478275"/>
                    <a:gd name="connsiteY10" fmla="*/ 29013 h 477060"/>
                    <a:gd name="connsiteX11" fmla="*/ 51889 w 478275"/>
                    <a:gd name="connsiteY11" fmla="*/ 30032 h 477060"/>
                    <a:gd name="connsiteX12" fmla="*/ 53275 w 478275"/>
                    <a:gd name="connsiteY12" fmla="*/ 30325 h 477060"/>
                    <a:gd name="connsiteX13" fmla="*/ 56926 w 478275"/>
                    <a:gd name="connsiteY13" fmla="*/ 28858 h 477060"/>
                    <a:gd name="connsiteX14" fmla="*/ 61213 w 478275"/>
                    <a:gd name="connsiteY14" fmla="*/ 29054 h 477060"/>
                    <a:gd name="connsiteX15" fmla="*/ 62810 w 478275"/>
                    <a:gd name="connsiteY15" fmla="*/ 29135 h 477060"/>
                    <a:gd name="connsiteX16" fmla="*/ 68466 w 478275"/>
                    <a:gd name="connsiteY16" fmla="*/ 22974 h 477060"/>
                    <a:gd name="connsiteX17" fmla="*/ 70185 w 478275"/>
                    <a:gd name="connsiteY17" fmla="*/ 20912 h 477060"/>
                    <a:gd name="connsiteX18" fmla="*/ 73576 w 478275"/>
                    <a:gd name="connsiteY18" fmla="*/ 19845 h 477060"/>
                    <a:gd name="connsiteX19" fmla="*/ 75459 w 478275"/>
                    <a:gd name="connsiteY19" fmla="*/ 17392 h 477060"/>
                    <a:gd name="connsiteX20" fmla="*/ 78515 w 478275"/>
                    <a:gd name="connsiteY20" fmla="*/ 14417 h 477060"/>
                    <a:gd name="connsiteX21" fmla="*/ 82231 w 478275"/>
                    <a:gd name="connsiteY21" fmla="*/ 11621 h 477060"/>
                    <a:gd name="connsiteX22" fmla="*/ 85646 w 478275"/>
                    <a:gd name="connsiteY22" fmla="*/ 9103 h 477060"/>
                    <a:gd name="connsiteX23" fmla="*/ 88270 w 478275"/>
                    <a:gd name="connsiteY23" fmla="*/ 7579 h 477060"/>
                    <a:gd name="connsiteX24" fmla="*/ 93013 w 478275"/>
                    <a:gd name="connsiteY24" fmla="*/ 4018 h 477060"/>
                    <a:gd name="connsiteX25" fmla="*/ 95971 w 478275"/>
                    <a:gd name="connsiteY25" fmla="*/ 2787 h 477060"/>
                    <a:gd name="connsiteX26" fmla="*/ 98538 w 478275"/>
                    <a:gd name="connsiteY26" fmla="*/ 2828 h 477060"/>
                    <a:gd name="connsiteX27" fmla="*/ 102385 w 478275"/>
                    <a:gd name="connsiteY27" fmla="*/ 7001 h 477060"/>
                    <a:gd name="connsiteX28" fmla="*/ 105629 w 478275"/>
                    <a:gd name="connsiteY28" fmla="*/ 10790 h 477060"/>
                    <a:gd name="connsiteX29" fmla="*/ 106631 w 478275"/>
                    <a:gd name="connsiteY29" fmla="*/ 12453 h 477060"/>
                    <a:gd name="connsiteX30" fmla="*/ 105009 w 478275"/>
                    <a:gd name="connsiteY30" fmla="*/ 13944 h 477060"/>
                    <a:gd name="connsiteX31" fmla="*/ 102010 w 478275"/>
                    <a:gd name="connsiteY31" fmla="*/ 15387 h 477060"/>
                    <a:gd name="connsiteX32" fmla="*/ 101440 w 478275"/>
                    <a:gd name="connsiteY32" fmla="*/ 16438 h 477060"/>
                    <a:gd name="connsiteX33" fmla="*/ 101228 w 478275"/>
                    <a:gd name="connsiteY33" fmla="*/ 17791 h 477060"/>
                    <a:gd name="connsiteX34" fmla="*/ 101350 w 478275"/>
                    <a:gd name="connsiteY34" fmla="*/ 19079 h 477060"/>
                    <a:gd name="connsiteX35" fmla="*/ 101758 w 478275"/>
                    <a:gd name="connsiteY35" fmla="*/ 20130 h 477060"/>
                    <a:gd name="connsiteX36" fmla="*/ 105442 w 478275"/>
                    <a:gd name="connsiteY36" fmla="*/ 22575 h 477060"/>
                    <a:gd name="connsiteX37" fmla="*/ 105865 w 478275"/>
                    <a:gd name="connsiteY37" fmla="*/ 23919 h 477060"/>
                    <a:gd name="connsiteX38" fmla="*/ 105890 w 478275"/>
                    <a:gd name="connsiteY38" fmla="*/ 25289 h 477060"/>
                    <a:gd name="connsiteX39" fmla="*/ 105474 w 478275"/>
                    <a:gd name="connsiteY39" fmla="*/ 26136 h 477060"/>
                    <a:gd name="connsiteX40" fmla="*/ 104651 w 478275"/>
                    <a:gd name="connsiteY40" fmla="*/ 26633 h 477060"/>
                    <a:gd name="connsiteX41" fmla="*/ 102084 w 478275"/>
                    <a:gd name="connsiteY41" fmla="*/ 27310 h 477060"/>
                    <a:gd name="connsiteX42" fmla="*/ 99891 w 478275"/>
                    <a:gd name="connsiteY42" fmla="*/ 28108 h 477060"/>
                    <a:gd name="connsiteX43" fmla="*/ 99117 w 478275"/>
                    <a:gd name="connsiteY43" fmla="*/ 28891 h 477060"/>
                    <a:gd name="connsiteX44" fmla="*/ 98457 w 478275"/>
                    <a:gd name="connsiteY44" fmla="*/ 29812 h 477060"/>
                    <a:gd name="connsiteX45" fmla="*/ 98555 w 478275"/>
                    <a:gd name="connsiteY45" fmla="*/ 30839 h 477060"/>
                    <a:gd name="connsiteX46" fmla="*/ 99223 w 478275"/>
                    <a:gd name="connsiteY46" fmla="*/ 32012 h 477060"/>
                    <a:gd name="connsiteX47" fmla="*/ 103722 w 478275"/>
                    <a:gd name="connsiteY47" fmla="*/ 35207 h 477060"/>
                    <a:gd name="connsiteX48" fmla="*/ 104227 w 478275"/>
                    <a:gd name="connsiteY48" fmla="*/ 36380 h 477060"/>
                    <a:gd name="connsiteX49" fmla="*/ 105124 w 478275"/>
                    <a:gd name="connsiteY49" fmla="*/ 37953 h 477060"/>
                    <a:gd name="connsiteX50" fmla="*/ 106224 w 478275"/>
                    <a:gd name="connsiteY50" fmla="*/ 38923 h 477060"/>
                    <a:gd name="connsiteX51" fmla="*/ 108098 w 478275"/>
                    <a:gd name="connsiteY51" fmla="*/ 39184 h 477060"/>
                    <a:gd name="connsiteX52" fmla="*/ 108987 w 478275"/>
                    <a:gd name="connsiteY52" fmla="*/ 39836 h 477060"/>
                    <a:gd name="connsiteX53" fmla="*/ 113330 w 478275"/>
                    <a:gd name="connsiteY53" fmla="*/ 45728 h 477060"/>
                    <a:gd name="connsiteX54" fmla="*/ 114398 w 478275"/>
                    <a:gd name="connsiteY54" fmla="*/ 46144 h 477060"/>
                    <a:gd name="connsiteX55" fmla="*/ 119475 w 478275"/>
                    <a:gd name="connsiteY55" fmla="*/ 44848 h 477060"/>
                    <a:gd name="connsiteX56" fmla="*/ 120184 w 478275"/>
                    <a:gd name="connsiteY56" fmla="*/ 44913 h 477060"/>
                    <a:gd name="connsiteX57" fmla="*/ 120233 w 478275"/>
                    <a:gd name="connsiteY57" fmla="*/ 46356 h 477060"/>
                    <a:gd name="connsiteX58" fmla="*/ 120991 w 478275"/>
                    <a:gd name="connsiteY58" fmla="*/ 54701 h 477060"/>
                    <a:gd name="connsiteX59" fmla="*/ 121586 w 478275"/>
                    <a:gd name="connsiteY59" fmla="*/ 59004 h 477060"/>
                    <a:gd name="connsiteX60" fmla="*/ 122442 w 478275"/>
                    <a:gd name="connsiteY60" fmla="*/ 63193 h 477060"/>
                    <a:gd name="connsiteX61" fmla="*/ 123819 w 478275"/>
                    <a:gd name="connsiteY61" fmla="*/ 67007 h 477060"/>
                    <a:gd name="connsiteX62" fmla="*/ 125441 w 478275"/>
                    <a:gd name="connsiteY62" fmla="*/ 70634 h 477060"/>
                    <a:gd name="connsiteX63" fmla="*/ 127674 w 478275"/>
                    <a:gd name="connsiteY63" fmla="*/ 72875 h 477060"/>
                    <a:gd name="connsiteX64" fmla="*/ 132661 w 478275"/>
                    <a:gd name="connsiteY64" fmla="*/ 75572 h 477060"/>
                    <a:gd name="connsiteX65" fmla="*/ 135082 w 478275"/>
                    <a:gd name="connsiteY65" fmla="*/ 76347 h 477060"/>
                    <a:gd name="connsiteX66" fmla="*/ 141455 w 478275"/>
                    <a:gd name="connsiteY66" fmla="*/ 76893 h 477060"/>
                    <a:gd name="connsiteX67" fmla="*/ 147747 w 478275"/>
                    <a:gd name="connsiteY67" fmla="*/ 78083 h 477060"/>
                    <a:gd name="connsiteX68" fmla="*/ 151455 w 478275"/>
                    <a:gd name="connsiteY68" fmla="*/ 79338 h 477060"/>
                    <a:gd name="connsiteX69" fmla="*/ 152596 w 478275"/>
                    <a:gd name="connsiteY69" fmla="*/ 80226 h 477060"/>
                    <a:gd name="connsiteX70" fmla="*/ 153533 w 478275"/>
                    <a:gd name="connsiteY70" fmla="*/ 81587 h 477060"/>
                    <a:gd name="connsiteX71" fmla="*/ 156605 w 478275"/>
                    <a:gd name="connsiteY71" fmla="*/ 87936 h 477060"/>
                    <a:gd name="connsiteX72" fmla="*/ 161455 w 478275"/>
                    <a:gd name="connsiteY72" fmla="*/ 92451 h 477060"/>
                    <a:gd name="connsiteX73" fmla="*/ 171226 w 478275"/>
                    <a:gd name="connsiteY73" fmla="*/ 99223 h 477060"/>
                    <a:gd name="connsiteX74" fmla="*/ 175969 w 478275"/>
                    <a:gd name="connsiteY74" fmla="*/ 101472 h 477060"/>
                    <a:gd name="connsiteX75" fmla="*/ 191927 w 478275"/>
                    <a:gd name="connsiteY75" fmla="*/ 105727 h 477060"/>
                    <a:gd name="connsiteX76" fmla="*/ 202546 w 478275"/>
                    <a:gd name="connsiteY76" fmla="*/ 105490 h 477060"/>
                    <a:gd name="connsiteX77" fmla="*/ 231917 w 478275"/>
                    <a:gd name="connsiteY77" fmla="*/ 97275 h 477060"/>
                    <a:gd name="connsiteX78" fmla="*/ 241673 w 478275"/>
                    <a:gd name="connsiteY78" fmla="*/ 95230 h 477060"/>
                    <a:gd name="connsiteX79" fmla="*/ 245340 w 478275"/>
                    <a:gd name="connsiteY79" fmla="*/ 95230 h 477060"/>
                    <a:gd name="connsiteX80" fmla="*/ 243155 w 478275"/>
                    <a:gd name="connsiteY80" fmla="*/ 96860 h 477060"/>
                    <a:gd name="connsiteX81" fmla="*/ 239480 w 478275"/>
                    <a:gd name="connsiteY81" fmla="*/ 97789 h 477060"/>
                    <a:gd name="connsiteX82" fmla="*/ 241697 w 478275"/>
                    <a:gd name="connsiteY82" fmla="*/ 98946 h 477060"/>
                    <a:gd name="connsiteX83" fmla="*/ 245103 w 478275"/>
                    <a:gd name="connsiteY83" fmla="*/ 99133 h 477060"/>
                    <a:gd name="connsiteX84" fmla="*/ 246693 w 478275"/>
                    <a:gd name="connsiteY84" fmla="*/ 98946 h 477060"/>
                    <a:gd name="connsiteX85" fmla="*/ 247834 w 478275"/>
                    <a:gd name="connsiteY85" fmla="*/ 97911 h 477060"/>
                    <a:gd name="connsiteX86" fmla="*/ 248013 w 478275"/>
                    <a:gd name="connsiteY86" fmla="*/ 96191 h 477060"/>
                    <a:gd name="connsiteX87" fmla="*/ 247850 w 478275"/>
                    <a:gd name="connsiteY87" fmla="*/ 94496 h 477060"/>
                    <a:gd name="connsiteX88" fmla="*/ 246236 w 478275"/>
                    <a:gd name="connsiteY88" fmla="*/ 86860 h 477060"/>
                    <a:gd name="connsiteX89" fmla="*/ 245299 w 478275"/>
                    <a:gd name="connsiteY89" fmla="*/ 81457 h 477060"/>
                    <a:gd name="connsiteX90" fmla="*/ 252177 w 478275"/>
                    <a:gd name="connsiteY90" fmla="*/ 81823 h 477060"/>
                    <a:gd name="connsiteX91" fmla="*/ 254867 w 478275"/>
                    <a:gd name="connsiteY91" fmla="*/ 81122 h 477060"/>
                    <a:gd name="connsiteX92" fmla="*/ 258803 w 478275"/>
                    <a:gd name="connsiteY92" fmla="*/ 79321 h 477060"/>
                    <a:gd name="connsiteX93" fmla="*/ 261786 w 478275"/>
                    <a:gd name="connsiteY93" fmla="*/ 78229 h 477060"/>
                    <a:gd name="connsiteX94" fmla="*/ 263293 w 478275"/>
                    <a:gd name="connsiteY94" fmla="*/ 78074 h 477060"/>
                    <a:gd name="connsiteX95" fmla="*/ 264777 w 478275"/>
                    <a:gd name="connsiteY95" fmla="*/ 77227 h 477060"/>
                    <a:gd name="connsiteX96" fmla="*/ 265910 w 478275"/>
                    <a:gd name="connsiteY96" fmla="*/ 76167 h 477060"/>
                    <a:gd name="connsiteX97" fmla="*/ 268477 w 478275"/>
                    <a:gd name="connsiteY97" fmla="*/ 68792 h 477060"/>
                    <a:gd name="connsiteX98" fmla="*/ 269748 w 478275"/>
                    <a:gd name="connsiteY98" fmla="*/ 66942 h 477060"/>
                    <a:gd name="connsiteX99" fmla="*/ 274108 w 478275"/>
                    <a:gd name="connsiteY99" fmla="*/ 62777 h 477060"/>
                    <a:gd name="connsiteX100" fmla="*/ 277792 w 478275"/>
                    <a:gd name="connsiteY100" fmla="*/ 60137 h 477060"/>
                    <a:gd name="connsiteX101" fmla="*/ 281680 w 478275"/>
                    <a:gd name="connsiteY101" fmla="*/ 57798 h 477060"/>
                    <a:gd name="connsiteX102" fmla="*/ 286577 w 478275"/>
                    <a:gd name="connsiteY102" fmla="*/ 56168 h 477060"/>
                    <a:gd name="connsiteX103" fmla="*/ 293105 w 478275"/>
                    <a:gd name="connsiteY103" fmla="*/ 56339 h 477060"/>
                    <a:gd name="connsiteX104" fmla="*/ 298288 w 478275"/>
                    <a:gd name="connsiteY104" fmla="*/ 56910 h 477060"/>
                    <a:gd name="connsiteX105" fmla="*/ 301279 w 478275"/>
                    <a:gd name="connsiteY105" fmla="*/ 56885 h 477060"/>
                    <a:gd name="connsiteX106" fmla="*/ 302714 w 478275"/>
                    <a:gd name="connsiteY106" fmla="*/ 57048 h 477060"/>
                    <a:gd name="connsiteX107" fmla="*/ 303781 w 478275"/>
                    <a:gd name="connsiteY107" fmla="*/ 56820 h 477060"/>
                    <a:gd name="connsiteX108" fmla="*/ 304409 w 478275"/>
                    <a:gd name="connsiteY108" fmla="*/ 56331 h 477060"/>
                    <a:gd name="connsiteX109" fmla="*/ 305085 w 478275"/>
                    <a:gd name="connsiteY109" fmla="*/ 53104 h 477060"/>
                    <a:gd name="connsiteX110" fmla="*/ 306137 w 478275"/>
                    <a:gd name="connsiteY110" fmla="*/ 52052 h 477060"/>
                    <a:gd name="connsiteX111" fmla="*/ 307979 w 478275"/>
                    <a:gd name="connsiteY111" fmla="*/ 51148 h 477060"/>
                    <a:gd name="connsiteX112" fmla="*/ 310546 w 478275"/>
                    <a:gd name="connsiteY112" fmla="*/ 51148 h 477060"/>
                    <a:gd name="connsiteX113" fmla="*/ 313659 w 478275"/>
                    <a:gd name="connsiteY113" fmla="*/ 50911 h 477060"/>
                    <a:gd name="connsiteX114" fmla="*/ 316250 w 478275"/>
                    <a:gd name="connsiteY114" fmla="*/ 51140 h 477060"/>
                    <a:gd name="connsiteX115" fmla="*/ 319518 w 478275"/>
                    <a:gd name="connsiteY115" fmla="*/ 52378 h 477060"/>
                    <a:gd name="connsiteX116" fmla="*/ 323789 w 478275"/>
                    <a:gd name="connsiteY116" fmla="*/ 52484 h 477060"/>
                    <a:gd name="connsiteX117" fmla="*/ 326641 w 478275"/>
                    <a:gd name="connsiteY117" fmla="*/ 52272 h 477060"/>
                    <a:gd name="connsiteX118" fmla="*/ 328288 w 478275"/>
                    <a:gd name="connsiteY118" fmla="*/ 53503 h 477060"/>
                    <a:gd name="connsiteX119" fmla="*/ 329478 w 478275"/>
                    <a:gd name="connsiteY119" fmla="*/ 55149 h 477060"/>
                    <a:gd name="connsiteX120" fmla="*/ 330048 w 478275"/>
                    <a:gd name="connsiteY120" fmla="*/ 56527 h 477060"/>
                    <a:gd name="connsiteX121" fmla="*/ 330187 w 478275"/>
                    <a:gd name="connsiteY121" fmla="*/ 58409 h 477060"/>
                    <a:gd name="connsiteX122" fmla="*/ 330162 w 478275"/>
                    <a:gd name="connsiteY122" fmla="*/ 59852 h 477060"/>
                    <a:gd name="connsiteX123" fmla="*/ 330602 w 478275"/>
                    <a:gd name="connsiteY123" fmla="*/ 60406 h 477060"/>
                    <a:gd name="connsiteX124" fmla="*/ 332354 w 478275"/>
                    <a:gd name="connsiteY124" fmla="*/ 61270 h 477060"/>
                    <a:gd name="connsiteX125" fmla="*/ 334759 w 478275"/>
                    <a:gd name="connsiteY125" fmla="*/ 61914 h 477060"/>
                    <a:gd name="connsiteX126" fmla="*/ 339469 w 478275"/>
                    <a:gd name="connsiteY126" fmla="*/ 62688 h 477060"/>
                    <a:gd name="connsiteX127" fmla="*/ 343870 w 478275"/>
                    <a:gd name="connsiteY127" fmla="*/ 64171 h 477060"/>
                    <a:gd name="connsiteX128" fmla="*/ 346152 w 478275"/>
                    <a:gd name="connsiteY128" fmla="*/ 65190 h 477060"/>
                    <a:gd name="connsiteX129" fmla="*/ 349339 w 478275"/>
                    <a:gd name="connsiteY129" fmla="*/ 66779 h 477060"/>
                    <a:gd name="connsiteX130" fmla="*/ 353128 w 478275"/>
                    <a:gd name="connsiteY130" fmla="*/ 70699 h 477060"/>
                    <a:gd name="connsiteX131" fmla="*/ 354530 w 478275"/>
                    <a:gd name="connsiteY131" fmla="*/ 71318 h 477060"/>
                    <a:gd name="connsiteX132" fmla="*/ 356233 w 478275"/>
                    <a:gd name="connsiteY132" fmla="*/ 71709 h 477060"/>
                    <a:gd name="connsiteX133" fmla="*/ 357448 w 478275"/>
                    <a:gd name="connsiteY133" fmla="*/ 71604 h 477060"/>
                    <a:gd name="connsiteX134" fmla="*/ 360300 w 478275"/>
                    <a:gd name="connsiteY134" fmla="*/ 69941 h 477060"/>
                    <a:gd name="connsiteX135" fmla="*/ 362769 w 478275"/>
                    <a:gd name="connsiteY135" fmla="*/ 71163 h 477060"/>
                    <a:gd name="connsiteX136" fmla="*/ 364016 w 478275"/>
                    <a:gd name="connsiteY136" fmla="*/ 71009 h 477060"/>
                    <a:gd name="connsiteX137" fmla="*/ 366869 w 478275"/>
                    <a:gd name="connsiteY137" fmla="*/ 70096 h 477060"/>
                    <a:gd name="connsiteX138" fmla="*/ 369892 w 478275"/>
                    <a:gd name="connsiteY138" fmla="*/ 71220 h 477060"/>
                    <a:gd name="connsiteX139" fmla="*/ 377414 w 478275"/>
                    <a:gd name="connsiteY139" fmla="*/ 75532 h 477060"/>
                    <a:gd name="connsiteX140" fmla="*/ 378246 w 478275"/>
                    <a:gd name="connsiteY140" fmla="*/ 75434 h 477060"/>
                    <a:gd name="connsiteX141" fmla="*/ 378930 w 478275"/>
                    <a:gd name="connsiteY141" fmla="*/ 75874 h 477060"/>
                    <a:gd name="connsiteX142" fmla="*/ 379557 w 478275"/>
                    <a:gd name="connsiteY142" fmla="*/ 76860 h 477060"/>
                    <a:gd name="connsiteX143" fmla="*/ 379998 w 478275"/>
                    <a:gd name="connsiteY143" fmla="*/ 78074 h 477060"/>
                    <a:gd name="connsiteX144" fmla="*/ 380560 w 478275"/>
                    <a:gd name="connsiteY144" fmla="*/ 81783 h 477060"/>
                    <a:gd name="connsiteX145" fmla="*/ 382736 w 478275"/>
                    <a:gd name="connsiteY145" fmla="*/ 84480 h 477060"/>
                    <a:gd name="connsiteX146" fmla="*/ 385401 w 478275"/>
                    <a:gd name="connsiteY146" fmla="*/ 86941 h 477060"/>
                    <a:gd name="connsiteX147" fmla="*/ 388490 w 478275"/>
                    <a:gd name="connsiteY147" fmla="*/ 88294 h 477060"/>
                    <a:gd name="connsiteX148" fmla="*/ 394985 w 478275"/>
                    <a:gd name="connsiteY148" fmla="*/ 91521 h 477060"/>
                    <a:gd name="connsiteX149" fmla="*/ 397813 w 478275"/>
                    <a:gd name="connsiteY149" fmla="*/ 94146 h 477060"/>
                    <a:gd name="connsiteX150" fmla="*/ 400682 w 478275"/>
                    <a:gd name="connsiteY150" fmla="*/ 98579 h 477060"/>
                    <a:gd name="connsiteX151" fmla="*/ 404211 w 478275"/>
                    <a:gd name="connsiteY151" fmla="*/ 104423 h 477060"/>
                    <a:gd name="connsiteX152" fmla="*/ 404724 w 478275"/>
                    <a:gd name="connsiteY152" fmla="*/ 104952 h 477060"/>
                    <a:gd name="connsiteX153" fmla="*/ 413811 w 478275"/>
                    <a:gd name="connsiteY153" fmla="*/ 104781 h 477060"/>
                    <a:gd name="connsiteX154" fmla="*/ 424023 w 478275"/>
                    <a:gd name="connsiteY154" fmla="*/ 104797 h 477060"/>
                    <a:gd name="connsiteX155" fmla="*/ 425269 w 478275"/>
                    <a:gd name="connsiteY155" fmla="*/ 107128 h 477060"/>
                    <a:gd name="connsiteX156" fmla="*/ 425042 w 478275"/>
                    <a:gd name="connsiteY156" fmla="*/ 111765 h 477060"/>
                    <a:gd name="connsiteX157" fmla="*/ 425408 w 478275"/>
                    <a:gd name="connsiteY157" fmla="*/ 116509 h 477060"/>
                    <a:gd name="connsiteX158" fmla="*/ 426321 w 478275"/>
                    <a:gd name="connsiteY158" fmla="*/ 119793 h 477060"/>
                    <a:gd name="connsiteX159" fmla="*/ 426329 w 478275"/>
                    <a:gd name="connsiteY159" fmla="*/ 122825 h 477060"/>
                    <a:gd name="connsiteX160" fmla="*/ 425587 w 478275"/>
                    <a:gd name="connsiteY160" fmla="*/ 124357 h 477060"/>
                    <a:gd name="connsiteX161" fmla="*/ 425017 w 478275"/>
                    <a:gd name="connsiteY161" fmla="*/ 126109 h 477060"/>
                    <a:gd name="connsiteX162" fmla="*/ 424846 w 478275"/>
                    <a:gd name="connsiteY162" fmla="*/ 126875 h 477060"/>
                    <a:gd name="connsiteX163" fmla="*/ 426158 w 478275"/>
                    <a:gd name="connsiteY163" fmla="*/ 127967 h 477060"/>
                    <a:gd name="connsiteX164" fmla="*/ 427307 w 478275"/>
                    <a:gd name="connsiteY164" fmla="*/ 130485 h 477060"/>
                    <a:gd name="connsiteX165" fmla="*/ 427478 w 478275"/>
                    <a:gd name="connsiteY165" fmla="*/ 133990 h 477060"/>
                    <a:gd name="connsiteX166" fmla="*/ 426907 w 478275"/>
                    <a:gd name="connsiteY166" fmla="*/ 135848 h 477060"/>
                    <a:gd name="connsiteX167" fmla="*/ 426989 w 478275"/>
                    <a:gd name="connsiteY167" fmla="*/ 137380 h 477060"/>
                    <a:gd name="connsiteX168" fmla="*/ 427568 w 478275"/>
                    <a:gd name="connsiteY168" fmla="*/ 138692 h 477060"/>
                    <a:gd name="connsiteX169" fmla="*/ 428057 w 478275"/>
                    <a:gd name="connsiteY169" fmla="*/ 140884 h 477060"/>
                    <a:gd name="connsiteX170" fmla="*/ 427975 w 478275"/>
                    <a:gd name="connsiteY170" fmla="*/ 142188 h 477060"/>
                    <a:gd name="connsiteX171" fmla="*/ 427152 w 478275"/>
                    <a:gd name="connsiteY171" fmla="*/ 143501 h 477060"/>
                    <a:gd name="connsiteX172" fmla="*/ 426655 w 478275"/>
                    <a:gd name="connsiteY172" fmla="*/ 145139 h 477060"/>
                    <a:gd name="connsiteX173" fmla="*/ 425995 w 478275"/>
                    <a:gd name="connsiteY173" fmla="*/ 147209 h 477060"/>
                    <a:gd name="connsiteX174" fmla="*/ 425758 w 478275"/>
                    <a:gd name="connsiteY174" fmla="*/ 148839 h 477060"/>
                    <a:gd name="connsiteX175" fmla="*/ 424528 w 478275"/>
                    <a:gd name="connsiteY175" fmla="*/ 149605 h 477060"/>
                    <a:gd name="connsiteX176" fmla="*/ 423550 w 478275"/>
                    <a:gd name="connsiteY176" fmla="*/ 150151 h 477060"/>
                    <a:gd name="connsiteX177" fmla="*/ 423713 w 478275"/>
                    <a:gd name="connsiteY177" fmla="*/ 152221 h 477060"/>
                    <a:gd name="connsiteX178" fmla="*/ 424210 w 478275"/>
                    <a:gd name="connsiteY178" fmla="*/ 153965 h 477060"/>
                    <a:gd name="connsiteX179" fmla="*/ 424789 w 478275"/>
                    <a:gd name="connsiteY179" fmla="*/ 156027 h 477060"/>
                    <a:gd name="connsiteX180" fmla="*/ 424128 w 478275"/>
                    <a:gd name="connsiteY180" fmla="*/ 157445 h 477060"/>
                    <a:gd name="connsiteX181" fmla="*/ 423713 w 478275"/>
                    <a:gd name="connsiteY181" fmla="*/ 159075 h 477060"/>
                    <a:gd name="connsiteX182" fmla="*/ 422817 w 478275"/>
                    <a:gd name="connsiteY182" fmla="*/ 161691 h 477060"/>
                    <a:gd name="connsiteX183" fmla="*/ 423053 w 478275"/>
                    <a:gd name="connsiteY183" fmla="*/ 163867 h 477060"/>
                    <a:gd name="connsiteX184" fmla="*/ 422075 w 478275"/>
                    <a:gd name="connsiteY184" fmla="*/ 165725 h 477060"/>
                    <a:gd name="connsiteX185" fmla="*/ 420844 w 478275"/>
                    <a:gd name="connsiteY185" fmla="*/ 167355 h 477060"/>
                    <a:gd name="connsiteX186" fmla="*/ 420029 w 478275"/>
                    <a:gd name="connsiteY186" fmla="*/ 168667 h 477060"/>
                    <a:gd name="connsiteX187" fmla="*/ 419858 w 478275"/>
                    <a:gd name="connsiteY187" fmla="*/ 170509 h 477060"/>
                    <a:gd name="connsiteX188" fmla="*/ 418954 w 478275"/>
                    <a:gd name="connsiteY188" fmla="*/ 171161 h 477060"/>
                    <a:gd name="connsiteX189" fmla="*/ 417226 w 478275"/>
                    <a:gd name="connsiteY189" fmla="*/ 172693 h 477060"/>
                    <a:gd name="connsiteX190" fmla="*/ 416166 w 478275"/>
                    <a:gd name="connsiteY190" fmla="*/ 173777 h 477060"/>
                    <a:gd name="connsiteX191" fmla="*/ 414610 w 478275"/>
                    <a:gd name="connsiteY191" fmla="*/ 174103 h 477060"/>
                    <a:gd name="connsiteX192" fmla="*/ 414275 w 478275"/>
                    <a:gd name="connsiteY192" fmla="*/ 174975 h 477060"/>
                    <a:gd name="connsiteX193" fmla="*/ 414528 w 478275"/>
                    <a:gd name="connsiteY193" fmla="*/ 175839 h 477060"/>
                    <a:gd name="connsiteX194" fmla="*/ 415180 w 478275"/>
                    <a:gd name="connsiteY194" fmla="*/ 176376 h 477060"/>
                    <a:gd name="connsiteX195" fmla="*/ 416207 w 478275"/>
                    <a:gd name="connsiteY195" fmla="*/ 178259 h 477060"/>
                    <a:gd name="connsiteX196" fmla="*/ 418334 w 478275"/>
                    <a:gd name="connsiteY196" fmla="*/ 181486 h 477060"/>
                    <a:gd name="connsiteX197" fmla="*/ 412214 w 478275"/>
                    <a:gd name="connsiteY197" fmla="*/ 181886 h 477060"/>
                    <a:gd name="connsiteX198" fmla="*/ 410412 w 478275"/>
                    <a:gd name="connsiteY198" fmla="*/ 184754 h 477060"/>
                    <a:gd name="connsiteX199" fmla="*/ 408310 w 478275"/>
                    <a:gd name="connsiteY199" fmla="*/ 188846 h 477060"/>
                    <a:gd name="connsiteX200" fmla="*/ 409337 w 478275"/>
                    <a:gd name="connsiteY200" fmla="*/ 197118 h 477060"/>
                    <a:gd name="connsiteX201" fmla="*/ 408310 w 478275"/>
                    <a:gd name="connsiteY201" fmla="*/ 201372 h 477060"/>
                    <a:gd name="connsiteX202" fmla="*/ 408938 w 478275"/>
                    <a:gd name="connsiteY202" fmla="*/ 203760 h 477060"/>
                    <a:gd name="connsiteX203" fmla="*/ 410494 w 478275"/>
                    <a:gd name="connsiteY203" fmla="*/ 205406 h 477060"/>
                    <a:gd name="connsiteX204" fmla="*/ 412499 w 478275"/>
                    <a:gd name="connsiteY204" fmla="*/ 206319 h 477060"/>
                    <a:gd name="connsiteX205" fmla="*/ 416264 w 478275"/>
                    <a:gd name="connsiteY205" fmla="*/ 206376 h 477060"/>
                    <a:gd name="connsiteX206" fmla="*/ 418758 w 478275"/>
                    <a:gd name="connsiteY206" fmla="*/ 207020 h 477060"/>
                    <a:gd name="connsiteX207" fmla="*/ 419010 w 478275"/>
                    <a:gd name="connsiteY207" fmla="*/ 208120 h 477060"/>
                    <a:gd name="connsiteX208" fmla="*/ 417568 w 478275"/>
                    <a:gd name="connsiteY208" fmla="*/ 209717 h 477060"/>
                    <a:gd name="connsiteX209" fmla="*/ 415278 w 478275"/>
                    <a:gd name="connsiteY209" fmla="*/ 212732 h 477060"/>
                    <a:gd name="connsiteX210" fmla="*/ 414080 w 478275"/>
                    <a:gd name="connsiteY210" fmla="*/ 214053 h 477060"/>
                    <a:gd name="connsiteX211" fmla="*/ 410168 w 478275"/>
                    <a:gd name="connsiteY211" fmla="*/ 220108 h 477060"/>
                    <a:gd name="connsiteX212" fmla="*/ 410201 w 478275"/>
                    <a:gd name="connsiteY212" fmla="*/ 222683 h 477060"/>
                    <a:gd name="connsiteX213" fmla="*/ 410576 w 478275"/>
                    <a:gd name="connsiteY213" fmla="*/ 224761 h 477060"/>
                    <a:gd name="connsiteX214" fmla="*/ 412262 w 478275"/>
                    <a:gd name="connsiteY214" fmla="*/ 231289 h 477060"/>
                    <a:gd name="connsiteX215" fmla="*/ 413892 w 478275"/>
                    <a:gd name="connsiteY215" fmla="*/ 237605 h 477060"/>
                    <a:gd name="connsiteX216" fmla="*/ 416835 w 478275"/>
                    <a:gd name="connsiteY216" fmla="*/ 248982 h 477060"/>
                    <a:gd name="connsiteX217" fmla="*/ 416777 w 478275"/>
                    <a:gd name="connsiteY217" fmla="*/ 251631 h 477060"/>
                    <a:gd name="connsiteX218" fmla="*/ 415865 w 478275"/>
                    <a:gd name="connsiteY218" fmla="*/ 257491 h 477060"/>
                    <a:gd name="connsiteX219" fmla="*/ 415800 w 478275"/>
                    <a:gd name="connsiteY219" fmla="*/ 261044 h 477060"/>
                    <a:gd name="connsiteX220" fmla="*/ 416215 w 478275"/>
                    <a:gd name="connsiteY220" fmla="*/ 265665 h 477060"/>
                    <a:gd name="connsiteX221" fmla="*/ 415905 w 478275"/>
                    <a:gd name="connsiteY221" fmla="*/ 268053 h 477060"/>
                    <a:gd name="connsiteX222" fmla="*/ 416623 w 478275"/>
                    <a:gd name="connsiteY222" fmla="*/ 273399 h 477060"/>
                    <a:gd name="connsiteX223" fmla="*/ 417454 w 478275"/>
                    <a:gd name="connsiteY223" fmla="*/ 273782 h 477060"/>
                    <a:gd name="connsiteX224" fmla="*/ 423819 w 478275"/>
                    <a:gd name="connsiteY224" fmla="*/ 274817 h 477060"/>
                    <a:gd name="connsiteX225" fmla="*/ 429671 w 478275"/>
                    <a:gd name="connsiteY225" fmla="*/ 275771 h 477060"/>
                    <a:gd name="connsiteX226" fmla="*/ 437445 w 478275"/>
                    <a:gd name="connsiteY226" fmla="*/ 277042 h 477060"/>
                    <a:gd name="connsiteX227" fmla="*/ 439801 w 478275"/>
                    <a:gd name="connsiteY227" fmla="*/ 280180 h 477060"/>
                    <a:gd name="connsiteX228" fmla="*/ 441267 w 478275"/>
                    <a:gd name="connsiteY228" fmla="*/ 287050 h 477060"/>
                    <a:gd name="connsiteX229" fmla="*/ 441186 w 478275"/>
                    <a:gd name="connsiteY229" fmla="*/ 292184 h 477060"/>
                    <a:gd name="connsiteX230" fmla="*/ 440526 w 478275"/>
                    <a:gd name="connsiteY230" fmla="*/ 294809 h 477060"/>
                    <a:gd name="connsiteX231" fmla="*/ 434943 w 478275"/>
                    <a:gd name="connsiteY231" fmla="*/ 302298 h 477060"/>
                    <a:gd name="connsiteX232" fmla="*/ 429296 w 478275"/>
                    <a:gd name="connsiteY232" fmla="*/ 309877 h 477060"/>
                    <a:gd name="connsiteX233" fmla="*/ 423664 w 478275"/>
                    <a:gd name="connsiteY233" fmla="*/ 317440 h 477060"/>
                    <a:gd name="connsiteX234" fmla="*/ 417805 w 478275"/>
                    <a:gd name="connsiteY234" fmla="*/ 325264 h 477060"/>
                    <a:gd name="connsiteX235" fmla="*/ 417201 w 478275"/>
                    <a:gd name="connsiteY235" fmla="*/ 326095 h 477060"/>
                    <a:gd name="connsiteX236" fmla="*/ 421920 w 478275"/>
                    <a:gd name="connsiteY236" fmla="*/ 332354 h 477060"/>
                    <a:gd name="connsiteX237" fmla="*/ 424846 w 478275"/>
                    <a:gd name="connsiteY237" fmla="*/ 336225 h 477060"/>
                    <a:gd name="connsiteX238" fmla="*/ 428970 w 478275"/>
                    <a:gd name="connsiteY238" fmla="*/ 341669 h 477060"/>
                    <a:gd name="connsiteX239" fmla="*/ 429491 w 478275"/>
                    <a:gd name="connsiteY239" fmla="*/ 342973 h 477060"/>
                    <a:gd name="connsiteX240" fmla="*/ 429450 w 478275"/>
                    <a:gd name="connsiteY240" fmla="*/ 345117 h 477060"/>
                    <a:gd name="connsiteX241" fmla="*/ 433688 w 478275"/>
                    <a:gd name="connsiteY241" fmla="*/ 353389 h 477060"/>
                    <a:gd name="connsiteX242" fmla="*/ 435180 w 478275"/>
                    <a:gd name="connsiteY242" fmla="*/ 357708 h 477060"/>
                    <a:gd name="connsiteX243" fmla="*/ 436533 w 478275"/>
                    <a:gd name="connsiteY243" fmla="*/ 360243 h 477060"/>
                    <a:gd name="connsiteX244" fmla="*/ 439882 w 478275"/>
                    <a:gd name="connsiteY244" fmla="*/ 364195 h 477060"/>
                    <a:gd name="connsiteX245" fmla="*/ 443150 w 478275"/>
                    <a:gd name="connsiteY245" fmla="*/ 368058 h 477060"/>
                    <a:gd name="connsiteX246" fmla="*/ 446695 w 478275"/>
                    <a:gd name="connsiteY246" fmla="*/ 369827 h 477060"/>
                    <a:gd name="connsiteX247" fmla="*/ 449124 w 478275"/>
                    <a:gd name="connsiteY247" fmla="*/ 370218 h 477060"/>
                    <a:gd name="connsiteX248" fmla="*/ 454641 w 478275"/>
                    <a:gd name="connsiteY248" fmla="*/ 372255 h 477060"/>
                    <a:gd name="connsiteX249" fmla="*/ 456638 w 478275"/>
                    <a:gd name="connsiteY249" fmla="*/ 373877 h 477060"/>
                    <a:gd name="connsiteX250" fmla="*/ 459881 w 478275"/>
                    <a:gd name="connsiteY250" fmla="*/ 377968 h 477060"/>
                    <a:gd name="connsiteX251" fmla="*/ 463679 w 478275"/>
                    <a:gd name="connsiteY251" fmla="*/ 377406 h 477060"/>
                    <a:gd name="connsiteX252" fmla="*/ 464470 w 478275"/>
                    <a:gd name="connsiteY252" fmla="*/ 377406 h 477060"/>
                    <a:gd name="connsiteX253" fmla="*/ 464682 w 478275"/>
                    <a:gd name="connsiteY253" fmla="*/ 377708 h 477060"/>
                    <a:gd name="connsiteX254" fmla="*/ 464796 w 478275"/>
                    <a:gd name="connsiteY254" fmla="*/ 379028 h 477060"/>
                    <a:gd name="connsiteX255" fmla="*/ 464225 w 478275"/>
                    <a:gd name="connsiteY255" fmla="*/ 385393 h 477060"/>
                    <a:gd name="connsiteX256" fmla="*/ 465293 w 478275"/>
                    <a:gd name="connsiteY256" fmla="*/ 391798 h 477060"/>
                    <a:gd name="connsiteX257" fmla="*/ 466027 w 478275"/>
                    <a:gd name="connsiteY257" fmla="*/ 401439 h 477060"/>
                    <a:gd name="connsiteX258" fmla="*/ 465749 w 478275"/>
                    <a:gd name="connsiteY258" fmla="*/ 403102 h 477060"/>
                    <a:gd name="connsiteX259" fmla="*/ 464853 w 478275"/>
                    <a:gd name="connsiteY259" fmla="*/ 405889 h 477060"/>
                    <a:gd name="connsiteX260" fmla="*/ 464804 w 478275"/>
                    <a:gd name="connsiteY260" fmla="*/ 407682 h 477060"/>
                    <a:gd name="connsiteX261" fmla="*/ 464560 w 478275"/>
                    <a:gd name="connsiteY261" fmla="*/ 408782 h 477060"/>
                    <a:gd name="connsiteX262" fmla="*/ 464812 w 478275"/>
                    <a:gd name="connsiteY262" fmla="*/ 409271 h 477060"/>
                    <a:gd name="connsiteX263" fmla="*/ 466018 w 478275"/>
                    <a:gd name="connsiteY263" fmla="*/ 409931 h 477060"/>
                    <a:gd name="connsiteX264" fmla="*/ 468585 w 478275"/>
                    <a:gd name="connsiteY264" fmla="*/ 410274 h 477060"/>
                    <a:gd name="connsiteX265" fmla="*/ 474820 w 478275"/>
                    <a:gd name="connsiteY265" fmla="*/ 409198 h 477060"/>
                    <a:gd name="connsiteX266" fmla="*/ 475554 w 478275"/>
                    <a:gd name="connsiteY266" fmla="*/ 409467 h 477060"/>
                    <a:gd name="connsiteX267" fmla="*/ 477045 w 478275"/>
                    <a:gd name="connsiteY267" fmla="*/ 410608 h 477060"/>
                    <a:gd name="connsiteX268" fmla="*/ 478170 w 478275"/>
                    <a:gd name="connsiteY268" fmla="*/ 412393 h 477060"/>
                    <a:gd name="connsiteX269" fmla="*/ 478276 w 478275"/>
                    <a:gd name="connsiteY269" fmla="*/ 413240 h 477060"/>
                    <a:gd name="connsiteX270" fmla="*/ 476703 w 478275"/>
                    <a:gd name="connsiteY270" fmla="*/ 414724 h 477060"/>
                    <a:gd name="connsiteX271" fmla="*/ 476442 w 478275"/>
                    <a:gd name="connsiteY271" fmla="*/ 417250 h 477060"/>
                    <a:gd name="connsiteX272" fmla="*/ 476915 w 478275"/>
                    <a:gd name="connsiteY272" fmla="*/ 421007 h 477060"/>
                    <a:gd name="connsiteX273" fmla="*/ 476694 w 478275"/>
                    <a:gd name="connsiteY273" fmla="*/ 421472 h 477060"/>
                    <a:gd name="connsiteX274" fmla="*/ 475317 w 478275"/>
                    <a:gd name="connsiteY274" fmla="*/ 422327 h 477060"/>
                    <a:gd name="connsiteX275" fmla="*/ 474877 w 478275"/>
                    <a:gd name="connsiteY275" fmla="*/ 427771 h 477060"/>
                    <a:gd name="connsiteX276" fmla="*/ 474624 w 478275"/>
                    <a:gd name="connsiteY276" fmla="*/ 428268 h 477060"/>
                    <a:gd name="connsiteX277" fmla="*/ 473011 w 478275"/>
                    <a:gd name="connsiteY277" fmla="*/ 428823 h 477060"/>
                    <a:gd name="connsiteX278" fmla="*/ 465407 w 478275"/>
                    <a:gd name="connsiteY278" fmla="*/ 428464 h 477060"/>
                    <a:gd name="connsiteX279" fmla="*/ 464551 w 478275"/>
                    <a:gd name="connsiteY279" fmla="*/ 428611 h 477060"/>
                    <a:gd name="connsiteX280" fmla="*/ 461691 w 478275"/>
                    <a:gd name="connsiteY280" fmla="*/ 430045 h 477060"/>
                    <a:gd name="connsiteX281" fmla="*/ 456793 w 478275"/>
                    <a:gd name="connsiteY281" fmla="*/ 431080 h 477060"/>
                    <a:gd name="connsiteX282" fmla="*/ 455456 w 478275"/>
                    <a:gd name="connsiteY282" fmla="*/ 431667 h 477060"/>
                    <a:gd name="connsiteX283" fmla="*/ 453639 w 478275"/>
                    <a:gd name="connsiteY283" fmla="*/ 433305 h 477060"/>
                    <a:gd name="connsiteX284" fmla="*/ 452335 w 478275"/>
                    <a:gd name="connsiteY284" fmla="*/ 435310 h 477060"/>
                    <a:gd name="connsiteX285" fmla="*/ 452098 w 478275"/>
                    <a:gd name="connsiteY285" fmla="*/ 437152 h 477060"/>
                    <a:gd name="connsiteX286" fmla="*/ 451838 w 478275"/>
                    <a:gd name="connsiteY286" fmla="*/ 437535 h 477060"/>
                    <a:gd name="connsiteX287" fmla="*/ 449018 w 478275"/>
                    <a:gd name="connsiteY287" fmla="*/ 437152 h 477060"/>
                    <a:gd name="connsiteX288" fmla="*/ 448113 w 478275"/>
                    <a:gd name="connsiteY288" fmla="*/ 438757 h 477060"/>
                    <a:gd name="connsiteX289" fmla="*/ 442677 w 478275"/>
                    <a:gd name="connsiteY289" fmla="*/ 441153 h 477060"/>
                    <a:gd name="connsiteX290" fmla="*/ 441993 w 478275"/>
                    <a:gd name="connsiteY290" fmla="*/ 441667 h 477060"/>
                    <a:gd name="connsiteX291" fmla="*/ 441186 w 478275"/>
                    <a:gd name="connsiteY291" fmla="*/ 443582 h 477060"/>
                    <a:gd name="connsiteX292" fmla="*/ 440461 w 478275"/>
                    <a:gd name="connsiteY292" fmla="*/ 448920 h 477060"/>
                    <a:gd name="connsiteX293" fmla="*/ 439809 w 478275"/>
                    <a:gd name="connsiteY293" fmla="*/ 453728 h 477060"/>
                    <a:gd name="connsiteX294" fmla="*/ 439393 w 478275"/>
                    <a:gd name="connsiteY294" fmla="*/ 454429 h 477060"/>
                    <a:gd name="connsiteX295" fmla="*/ 437674 w 478275"/>
                    <a:gd name="connsiteY295" fmla="*/ 456075 h 477060"/>
                    <a:gd name="connsiteX296" fmla="*/ 437502 w 478275"/>
                    <a:gd name="connsiteY296" fmla="*/ 456638 h 477060"/>
                    <a:gd name="connsiteX297" fmla="*/ 437747 w 478275"/>
                    <a:gd name="connsiteY297" fmla="*/ 458488 h 477060"/>
                    <a:gd name="connsiteX298" fmla="*/ 436964 w 478275"/>
                    <a:gd name="connsiteY298" fmla="*/ 461886 h 477060"/>
                    <a:gd name="connsiteX299" fmla="*/ 436353 w 478275"/>
                    <a:gd name="connsiteY299" fmla="*/ 471275 h 477060"/>
                    <a:gd name="connsiteX300" fmla="*/ 435668 w 478275"/>
                    <a:gd name="connsiteY300" fmla="*/ 473915 h 477060"/>
                    <a:gd name="connsiteX301" fmla="*/ 434308 w 478275"/>
                    <a:gd name="connsiteY301" fmla="*/ 474127 h 477060"/>
                    <a:gd name="connsiteX302" fmla="*/ 433248 w 478275"/>
                    <a:gd name="connsiteY302" fmla="*/ 475439 h 477060"/>
                    <a:gd name="connsiteX303" fmla="*/ 431309 w 478275"/>
                    <a:gd name="connsiteY303" fmla="*/ 477061 h 477060"/>
                    <a:gd name="connsiteX304" fmla="*/ 427111 w 478275"/>
                    <a:gd name="connsiteY304" fmla="*/ 475806 h 477060"/>
                    <a:gd name="connsiteX305" fmla="*/ 423786 w 478275"/>
                    <a:gd name="connsiteY305" fmla="*/ 474486 h 477060"/>
                    <a:gd name="connsiteX306" fmla="*/ 412751 w 478275"/>
                    <a:gd name="connsiteY306" fmla="*/ 471397 h 477060"/>
                    <a:gd name="connsiteX307" fmla="*/ 411546 w 478275"/>
                    <a:gd name="connsiteY307" fmla="*/ 469897 h 477060"/>
                    <a:gd name="connsiteX308" fmla="*/ 410853 w 478275"/>
                    <a:gd name="connsiteY308" fmla="*/ 467265 h 477060"/>
                    <a:gd name="connsiteX309" fmla="*/ 408954 w 478275"/>
                    <a:gd name="connsiteY309" fmla="*/ 466523 h 477060"/>
                    <a:gd name="connsiteX310" fmla="*/ 406207 w 478275"/>
                    <a:gd name="connsiteY310" fmla="*/ 470468 h 477060"/>
                    <a:gd name="connsiteX311" fmla="*/ 396901 w 478275"/>
                    <a:gd name="connsiteY311" fmla="*/ 468186 h 477060"/>
                    <a:gd name="connsiteX312" fmla="*/ 393730 w 478275"/>
                    <a:gd name="connsiteY312" fmla="*/ 468887 h 477060"/>
                    <a:gd name="connsiteX313" fmla="*/ 391774 w 478275"/>
                    <a:gd name="connsiteY313" fmla="*/ 467656 h 477060"/>
                    <a:gd name="connsiteX314" fmla="*/ 386770 w 478275"/>
                    <a:gd name="connsiteY314" fmla="*/ 467583 h 477060"/>
                    <a:gd name="connsiteX315" fmla="*/ 382793 w 478275"/>
                    <a:gd name="connsiteY315" fmla="*/ 465121 h 477060"/>
                    <a:gd name="connsiteX316" fmla="*/ 377121 w 478275"/>
                    <a:gd name="connsiteY316" fmla="*/ 466817 h 477060"/>
                    <a:gd name="connsiteX317" fmla="*/ 372630 w 478275"/>
                    <a:gd name="connsiteY317" fmla="*/ 467143 h 477060"/>
                    <a:gd name="connsiteX318" fmla="*/ 366469 w 478275"/>
                    <a:gd name="connsiteY318" fmla="*/ 462823 h 477060"/>
                    <a:gd name="connsiteX319" fmla="*/ 359852 w 478275"/>
                    <a:gd name="connsiteY319" fmla="*/ 461634 h 477060"/>
                    <a:gd name="connsiteX320" fmla="*/ 354473 w 478275"/>
                    <a:gd name="connsiteY320" fmla="*/ 462000 h 477060"/>
                    <a:gd name="connsiteX321" fmla="*/ 351710 w 478275"/>
                    <a:gd name="connsiteY321" fmla="*/ 461658 h 477060"/>
                    <a:gd name="connsiteX322" fmla="*/ 347228 w 478275"/>
                    <a:gd name="connsiteY322" fmla="*/ 460101 h 477060"/>
                    <a:gd name="connsiteX323" fmla="*/ 345101 w 478275"/>
                    <a:gd name="connsiteY323" fmla="*/ 458504 h 477060"/>
                    <a:gd name="connsiteX324" fmla="*/ 341621 w 478275"/>
                    <a:gd name="connsiteY324" fmla="*/ 459718 h 477060"/>
                    <a:gd name="connsiteX325" fmla="*/ 340039 w 478275"/>
                    <a:gd name="connsiteY325" fmla="*/ 457453 h 477060"/>
                    <a:gd name="connsiteX326" fmla="*/ 330179 w 478275"/>
                    <a:gd name="connsiteY326" fmla="*/ 455350 h 477060"/>
                    <a:gd name="connsiteX327" fmla="*/ 328345 w 478275"/>
                    <a:gd name="connsiteY327" fmla="*/ 451340 h 477060"/>
                    <a:gd name="connsiteX328" fmla="*/ 326967 w 478275"/>
                    <a:gd name="connsiteY328" fmla="*/ 447608 h 477060"/>
                    <a:gd name="connsiteX329" fmla="*/ 326861 w 478275"/>
                    <a:gd name="connsiteY329" fmla="*/ 443769 h 477060"/>
                    <a:gd name="connsiteX330" fmla="*/ 324449 w 478275"/>
                    <a:gd name="connsiteY330" fmla="*/ 437062 h 477060"/>
                    <a:gd name="connsiteX331" fmla="*/ 323642 w 478275"/>
                    <a:gd name="connsiteY331" fmla="*/ 427307 h 477060"/>
                    <a:gd name="connsiteX332" fmla="*/ 322762 w 478275"/>
                    <a:gd name="connsiteY332" fmla="*/ 423493 h 477060"/>
                    <a:gd name="connsiteX333" fmla="*/ 321434 w 478275"/>
                    <a:gd name="connsiteY333" fmla="*/ 420176 h 477060"/>
                    <a:gd name="connsiteX334" fmla="*/ 319649 w 478275"/>
                    <a:gd name="connsiteY334" fmla="*/ 417356 h 477060"/>
                    <a:gd name="connsiteX335" fmla="*/ 317220 w 478275"/>
                    <a:gd name="connsiteY335" fmla="*/ 414332 h 477060"/>
                    <a:gd name="connsiteX336" fmla="*/ 315118 w 478275"/>
                    <a:gd name="connsiteY336" fmla="*/ 413143 h 477060"/>
                    <a:gd name="connsiteX337" fmla="*/ 305901 w 478275"/>
                    <a:gd name="connsiteY337" fmla="*/ 410844 h 477060"/>
                    <a:gd name="connsiteX338" fmla="*/ 304107 w 478275"/>
                    <a:gd name="connsiteY338" fmla="*/ 411146 h 477060"/>
                    <a:gd name="connsiteX339" fmla="*/ 299976 w 478275"/>
                    <a:gd name="connsiteY339" fmla="*/ 412662 h 477060"/>
                    <a:gd name="connsiteX340" fmla="*/ 295599 w 478275"/>
                    <a:gd name="connsiteY340" fmla="*/ 416003 h 477060"/>
                    <a:gd name="connsiteX341" fmla="*/ 288387 w 478275"/>
                    <a:gd name="connsiteY341" fmla="*/ 417894 h 477060"/>
                    <a:gd name="connsiteX342" fmla="*/ 286928 w 478275"/>
                    <a:gd name="connsiteY342" fmla="*/ 419336 h 477060"/>
                    <a:gd name="connsiteX343" fmla="*/ 285102 w 478275"/>
                    <a:gd name="connsiteY343" fmla="*/ 422572 h 477060"/>
                    <a:gd name="connsiteX344" fmla="*/ 282764 w 478275"/>
                    <a:gd name="connsiteY344" fmla="*/ 424454 h 477060"/>
                    <a:gd name="connsiteX345" fmla="*/ 279536 w 478275"/>
                    <a:gd name="connsiteY345" fmla="*/ 423957 h 477060"/>
                    <a:gd name="connsiteX346" fmla="*/ 276081 w 478275"/>
                    <a:gd name="connsiteY346" fmla="*/ 425880 h 477060"/>
                    <a:gd name="connsiteX347" fmla="*/ 269667 w 478275"/>
                    <a:gd name="connsiteY347" fmla="*/ 431211 h 477060"/>
                    <a:gd name="connsiteX348" fmla="*/ 266277 w 478275"/>
                    <a:gd name="connsiteY348" fmla="*/ 432840 h 477060"/>
                    <a:gd name="connsiteX349" fmla="*/ 263432 w 478275"/>
                    <a:gd name="connsiteY349" fmla="*/ 432718 h 477060"/>
                    <a:gd name="connsiteX350" fmla="*/ 260384 w 478275"/>
                    <a:gd name="connsiteY350" fmla="*/ 430175 h 477060"/>
                    <a:gd name="connsiteX351" fmla="*/ 253563 w 478275"/>
                    <a:gd name="connsiteY351" fmla="*/ 426777 h 477060"/>
                    <a:gd name="connsiteX352" fmla="*/ 249162 w 478275"/>
                    <a:gd name="connsiteY352" fmla="*/ 425644 h 477060"/>
                    <a:gd name="connsiteX353" fmla="*/ 243042 w 478275"/>
                    <a:gd name="connsiteY353" fmla="*/ 426427 h 477060"/>
                    <a:gd name="connsiteX354" fmla="*/ 240140 w 478275"/>
                    <a:gd name="connsiteY354" fmla="*/ 425864 h 477060"/>
                    <a:gd name="connsiteX355" fmla="*/ 235218 w 478275"/>
                    <a:gd name="connsiteY355" fmla="*/ 421871 h 477060"/>
                    <a:gd name="connsiteX356" fmla="*/ 233930 w 478275"/>
                    <a:gd name="connsiteY356" fmla="*/ 418978 h 477060"/>
                    <a:gd name="connsiteX357" fmla="*/ 231110 w 478275"/>
                    <a:gd name="connsiteY357" fmla="*/ 417038 h 477060"/>
                    <a:gd name="connsiteX358" fmla="*/ 222203 w 478275"/>
                    <a:gd name="connsiteY358" fmla="*/ 412686 h 477060"/>
                    <a:gd name="connsiteX359" fmla="*/ 214982 w 478275"/>
                    <a:gd name="connsiteY359" fmla="*/ 406932 h 477060"/>
                    <a:gd name="connsiteX360" fmla="*/ 213653 w 478275"/>
                    <a:gd name="connsiteY360" fmla="*/ 404757 h 477060"/>
                    <a:gd name="connsiteX361" fmla="*/ 212781 w 478275"/>
                    <a:gd name="connsiteY361" fmla="*/ 401537 h 477060"/>
                    <a:gd name="connsiteX362" fmla="*/ 209636 w 478275"/>
                    <a:gd name="connsiteY362" fmla="*/ 397634 h 477060"/>
                    <a:gd name="connsiteX363" fmla="*/ 202594 w 478275"/>
                    <a:gd name="connsiteY363" fmla="*/ 394431 h 477060"/>
                    <a:gd name="connsiteX364" fmla="*/ 198601 w 478275"/>
                    <a:gd name="connsiteY364" fmla="*/ 391032 h 477060"/>
                    <a:gd name="connsiteX365" fmla="*/ 193923 w 478275"/>
                    <a:gd name="connsiteY365" fmla="*/ 390274 h 477060"/>
                    <a:gd name="connsiteX366" fmla="*/ 189563 w 478275"/>
                    <a:gd name="connsiteY366" fmla="*/ 390380 h 477060"/>
                    <a:gd name="connsiteX367" fmla="*/ 187648 w 478275"/>
                    <a:gd name="connsiteY367" fmla="*/ 389769 h 477060"/>
                    <a:gd name="connsiteX368" fmla="*/ 185895 w 478275"/>
                    <a:gd name="connsiteY368" fmla="*/ 388310 h 477060"/>
                    <a:gd name="connsiteX369" fmla="*/ 179954 w 478275"/>
                    <a:gd name="connsiteY369" fmla="*/ 381277 h 477060"/>
                    <a:gd name="connsiteX370" fmla="*/ 179889 w 478275"/>
                    <a:gd name="connsiteY370" fmla="*/ 378490 h 477060"/>
                    <a:gd name="connsiteX371" fmla="*/ 176230 w 478275"/>
                    <a:gd name="connsiteY371" fmla="*/ 371595 h 477060"/>
                    <a:gd name="connsiteX372" fmla="*/ 175374 w 478275"/>
                    <a:gd name="connsiteY372" fmla="*/ 369150 h 477060"/>
                    <a:gd name="connsiteX373" fmla="*/ 174584 w 478275"/>
                    <a:gd name="connsiteY373" fmla="*/ 362329 h 477060"/>
                    <a:gd name="connsiteX374" fmla="*/ 173565 w 478275"/>
                    <a:gd name="connsiteY374" fmla="*/ 360536 h 477060"/>
                    <a:gd name="connsiteX375" fmla="*/ 169743 w 478275"/>
                    <a:gd name="connsiteY375" fmla="*/ 357724 h 477060"/>
                    <a:gd name="connsiteX376" fmla="*/ 169148 w 478275"/>
                    <a:gd name="connsiteY376" fmla="*/ 355883 h 477060"/>
                    <a:gd name="connsiteX377" fmla="*/ 169963 w 478275"/>
                    <a:gd name="connsiteY377" fmla="*/ 353438 h 477060"/>
                    <a:gd name="connsiteX378" fmla="*/ 169963 w 478275"/>
                    <a:gd name="connsiteY378" fmla="*/ 351571 h 477060"/>
                    <a:gd name="connsiteX379" fmla="*/ 167982 w 478275"/>
                    <a:gd name="connsiteY379" fmla="*/ 349827 h 477060"/>
                    <a:gd name="connsiteX380" fmla="*/ 165000 w 478275"/>
                    <a:gd name="connsiteY380" fmla="*/ 348898 h 477060"/>
                    <a:gd name="connsiteX381" fmla="*/ 164266 w 478275"/>
                    <a:gd name="connsiteY381" fmla="*/ 346804 h 477060"/>
                    <a:gd name="connsiteX382" fmla="*/ 164812 w 478275"/>
                    <a:gd name="connsiteY382" fmla="*/ 342721 h 477060"/>
                    <a:gd name="connsiteX383" fmla="*/ 164356 w 478275"/>
                    <a:gd name="connsiteY383" fmla="*/ 340162 h 477060"/>
                    <a:gd name="connsiteX384" fmla="*/ 161723 w 478275"/>
                    <a:gd name="connsiteY384" fmla="*/ 336062 h 477060"/>
                    <a:gd name="connsiteX385" fmla="*/ 157836 w 478275"/>
                    <a:gd name="connsiteY385" fmla="*/ 331865 h 477060"/>
                    <a:gd name="connsiteX386" fmla="*/ 153941 w 478275"/>
                    <a:gd name="connsiteY386" fmla="*/ 325655 h 477060"/>
                    <a:gd name="connsiteX387" fmla="*/ 152424 w 478275"/>
                    <a:gd name="connsiteY387" fmla="*/ 324107 h 477060"/>
                    <a:gd name="connsiteX388" fmla="*/ 151430 w 478275"/>
                    <a:gd name="connsiteY388" fmla="*/ 320032 h 477060"/>
                    <a:gd name="connsiteX389" fmla="*/ 150004 w 478275"/>
                    <a:gd name="connsiteY389" fmla="*/ 315199 h 477060"/>
                    <a:gd name="connsiteX390" fmla="*/ 147804 w 478275"/>
                    <a:gd name="connsiteY390" fmla="*/ 314849 h 477060"/>
                    <a:gd name="connsiteX391" fmla="*/ 137185 w 478275"/>
                    <a:gd name="connsiteY391" fmla="*/ 320643 h 477060"/>
                    <a:gd name="connsiteX392" fmla="*/ 134080 w 478275"/>
                    <a:gd name="connsiteY392" fmla="*/ 317383 h 477060"/>
                    <a:gd name="connsiteX393" fmla="*/ 124772 w 478275"/>
                    <a:gd name="connsiteY393" fmla="*/ 311711 h 477060"/>
                    <a:gd name="connsiteX394" fmla="*/ 124121 w 478275"/>
                    <a:gd name="connsiteY394" fmla="*/ 310863 h 477060"/>
                    <a:gd name="connsiteX395" fmla="*/ 123477 w 478275"/>
                    <a:gd name="connsiteY395" fmla="*/ 309560 h 477060"/>
                    <a:gd name="connsiteX396" fmla="*/ 124642 w 478275"/>
                    <a:gd name="connsiteY396" fmla="*/ 308810 h 477060"/>
                    <a:gd name="connsiteX397" fmla="*/ 125808 w 478275"/>
                    <a:gd name="connsiteY397" fmla="*/ 308500 h 477060"/>
                    <a:gd name="connsiteX398" fmla="*/ 128146 w 478275"/>
                    <a:gd name="connsiteY398" fmla="*/ 309511 h 477060"/>
                    <a:gd name="connsiteX399" fmla="*/ 129557 w 478275"/>
                    <a:gd name="connsiteY399" fmla="*/ 308321 h 477060"/>
                    <a:gd name="connsiteX400" fmla="*/ 128994 w 478275"/>
                    <a:gd name="connsiteY400" fmla="*/ 306397 h 477060"/>
                    <a:gd name="connsiteX401" fmla="*/ 126663 w 478275"/>
                    <a:gd name="connsiteY401" fmla="*/ 305208 h 477060"/>
                    <a:gd name="connsiteX402" fmla="*/ 123485 w 478275"/>
                    <a:gd name="connsiteY402" fmla="*/ 305297 h 477060"/>
                    <a:gd name="connsiteX403" fmla="*/ 124341 w 478275"/>
                    <a:gd name="connsiteY403" fmla="*/ 307098 h 477060"/>
                    <a:gd name="connsiteX404" fmla="*/ 121358 w 478275"/>
                    <a:gd name="connsiteY404" fmla="*/ 308810 h 477060"/>
                    <a:gd name="connsiteX405" fmla="*/ 120730 w 478275"/>
                    <a:gd name="connsiteY405" fmla="*/ 311043 h 477060"/>
                    <a:gd name="connsiteX406" fmla="*/ 121171 w 478275"/>
                    <a:gd name="connsiteY406" fmla="*/ 313814 h 477060"/>
                    <a:gd name="connsiteX407" fmla="*/ 121415 w 478275"/>
                    <a:gd name="connsiteY407" fmla="*/ 317693 h 477060"/>
                    <a:gd name="connsiteX408" fmla="*/ 120209 w 478275"/>
                    <a:gd name="connsiteY408" fmla="*/ 319567 h 477060"/>
                    <a:gd name="connsiteX409" fmla="*/ 119271 w 478275"/>
                    <a:gd name="connsiteY409" fmla="*/ 320423 h 477060"/>
                    <a:gd name="connsiteX410" fmla="*/ 115270 w 478275"/>
                    <a:gd name="connsiteY410" fmla="*/ 320651 h 477060"/>
                    <a:gd name="connsiteX411" fmla="*/ 113404 w 478275"/>
                    <a:gd name="connsiteY411" fmla="*/ 322363 h 477060"/>
                    <a:gd name="connsiteX412" fmla="*/ 112190 w 478275"/>
                    <a:gd name="connsiteY412" fmla="*/ 322770 h 477060"/>
                    <a:gd name="connsiteX413" fmla="*/ 110502 w 478275"/>
                    <a:gd name="connsiteY413" fmla="*/ 321434 h 477060"/>
                    <a:gd name="connsiteX414" fmla="*/ 109411 w 478275"/>
                    <a:gd name="connsiteY414" fmla="*/ 320350 h 477060"/>
                    <a:gd name="connsiteX415" fmla="*/ 108522 w 478275"/>
                    <a:gd name="connsiteY415" fmla="*/ 318043 h 477060"/>
                    <a:gd name="connsiteX416" fmla="*/ 108245 w 478275"/>
                    <a:gd name="connsiteY416" fmla="*/ 316430 h 477060"/>
                    <a:gd name="connsiteX417" fmla="*/ 108595 w 478275"/>
                    <a:gd name="connsiteY417" fmla="*/ 315517 h 477060"/>
                    <a:gd name="connsiteX418" fmla="*/ 108115 w 478275"/>
                    <a:gd name="connsiteY418" fmla="*/ 314172 h 477060"/>
                    <a:gd name="connsiteX419" fmla="*/ 106843 w 478275"/>
                    <a:gd name="connsiteY419" fmla="*/ 312396 h 477060"/>
                    <a:gd name="connsiteX420" fmla="*/ 105556 w 478275"/>
                    <a:gd name="connsiteY420" fmla="*/ 311418 h 477060"/>
                    <a:gd name="connsiteX421" fmla="*/ 104243 w 478275"/>
                    <a:gd name="connsiteY421" fmla="*/ 311247 h 477060"/>
                    <a:gd name="connsiteX422" fmla="*/ 103152 w 478275"/>
                    <a:gd name="connsiteY422" fmla="*/ 310163 h 477060"/>
                    <a:gd name="connsiteX423" fmla="*/ 102295 w 478275"/>
                    <a:gd name="connsiteY423" fmla="*/ 308174 h 477060"/>
                    <a:gd name="connsiteX424" fmla="*/ 100282 w 478275"/>
                    <a:gd name="connsiteY424" fmla="*/ 306862 h 477060"/>
                    <a:gd name="connsiteX425" fmla="*/ 99019 w 478275"/>
                    <a:gd name="connsiteY425" fmla="*/ 306609 h 477060"/>
                    <a:gd name="connsiteX426" fmla="*/ 98979 w 478275"/>
                    <a:gd name="connsiteY426" fmla="*/ 300472 h 477060"/>
                    <a:gd name="connsiteX427" fmla="*/ 98938 w 478275"/>
                    <a:gd name="connsiteY427" fmla="*/ 295086 h 477060"/>
                    <a:gd name="connsiteX428" fmla="*/ 98897 w 478275"/>
                    <a:gd name="connsiteY428" fmla="*/ 289731 h 477060"/>
                    <a:gd name="connsiteX429" fmla="*/ 94570 w 478275"/>
                    <a:gd name="connsiteY429" fmla="*/ 289519 h 477060"/>
                    <a:gd name="connsiteX430" fmla="*/ 90691 w 478275"/>
                    <a:gd name="connsiteY430" fmla="*/ 289332 h 477060"/>
                    <a:gd name="connsiteX431" fmla="*/ 90691 w 478275"/>
                    <a:gd name="connsiteY431" fmla="*/ 284849 h 477060"/>
                    <a:gd name="connsiteX432" fmla="*/ 90691 w 478275"/>
                    <a:gd name="connsiteY432" fmla="*/ 276488 h 477060"/>
                    <a:gd name="connsiteX433" fmla="*/ 92541 w 478275"/>
                    <a:gd name="connsiteY433" fmla="*/ 270001 h 477060"/>
                    <a:gd name="connsiteX434" fmla="*/ 94415 w 478275"/>
                    <a:gd name="connsiteY434" fmla="*/ 263750 h 477060"/>
                    <a:gd name="connsiteX435" fmla="*/ 91554 w 478275"/>
                    <a:gd name="connsiteY435" fmla="*/ 259153 h 477060"/>
                    <a:gd name="connsiteX436" fmla="*/ 88498 w 478275"/>
                    <a:gd name="connsiteY436" fmla="*/ 254239 h 477060"/>
                    <a:gd name="connsiteX437" fmla="*/ 86526 w 478275"/>
                    <a:gd name="connsiteY437" fmla="*/ 252202 h 477060"/>
                    <a:gd name="connsiteX438" fmla="*/ 84203 w 478275"/>
                    <a:gd name="connsiteY438" fmla="*/ 246057 h 477060"/>
                    <a:gd name="connsiteX439" fmla="*/ 83038 w 478275"/>
                    <a:gd name="connsiteY439" fmla="*/ 243343 h 477060"/>
                    <a:gd name="connsiteX440" fmla="*/ 82003 w 478275"/>
                    <a:gd name="connsiteY440" fmla="*/ 242316 h 477060"/>
                    <a:gd name="connsiteX441" fmla="*/ 80902 w 478275"/>
                    <a:gd name="connsiteY441" fmla="*/ 241713 h 477060"/>
                    <a:gd name="connsiteX442" fmla="*/ 76844 w 478275"/>
                    <a:gd name="connsiteY442" fmla="*/ 241957 h 477060"/>
                    <a:gd name="connsiteX443" fmla="*/ 73046 w 478275"/>
                    <a:gd name="connsiteY443" fmla="*/ 238649 h 477060"/>
                    <a:gd name="connsiteX444" fmla="*/ 68596 w 478275"/>
                    <a:gd name="connsiteY444" fmla="*/ 234761 h 477060"/>
                    <a:gd name="connsiteX445" fmla="*/ 63152 w 478275"/>
                    <a:gd name="connsiteY445" fmla="*/ 230010 h 477060"/>
                    <a:gd name="connsiteX446" fmla="*/ 58377 w 478275"/>
                    <a:gd name="connsiteY446" fmla="*/ 226905 h 477060"/>
                    <a:gd name="connsiteX447" fmla="*/ 56421 w 478275"/>
                    <a:gd name="connsiteY447" fmla="*/ 226228 h 477060"/>
                    <a:gd name="connsiteX448" fmla="*/ 51824 w 478275"/>
                    <a:gd name="connsiteY448" fmla="*/ 225992 h 477060"/>
                    <a:gd name="connsiteX449" fmla="*/ 51335 w 478275"/>
                    <a:gd name="connsiteY449" fmla="*/ 225397 h 477060"/>
                    <a:gd name="connsiteX450" fmla="*/ 51017 w 478275"/>
                    <a:gd name="connsiteY450" fmla="*/ 223694 h 477060"/>
                    <a:gd name="connsiteX451" fmla="*/ 51026 w 478275"/>
                    <a:gd name="connsiteY451" fmla="*/ 221795 h 477060"/>
                    <a:gd name="connsiteX452" fmla="*/ 52534 w 478275"/>
                    <a:gd name="connsiteY452" fmla="*/ 218934 h 477060"/>
                    <a:gd name="connsiteX453" fmla="*/ 52655 w 478275"/>
                    <a:gd name="connsiteY453" fmla="*/ 217125 h 477060"/>
                    <a:gd name="connsiteX454" fmla="*/ 49526 w 478275"/>
                    <a:gd name="connsiteY454" fmla="*/ 211054 h 477060"/>
                    <a:gd name="connsiteX455" fmla="*/ 48565 w 478275"/>
                    <a:gd name="connsiteY455" fmla="*/ 209277 h 477060"/>
                    <a:gd name="connsiteX456" fmla="*/ 45883 w 478275"/>
                    <a:gd name="connsiteY456" fmla="*/ 208568 h 477060"/>
                    <a:gd name="connsiteX457" fmla="*/ 46421 w 478275"/>
                    <a:gd name="connsiteY457" fmla="*/ 206816 h 477060"/>
                    <a:gd name="connsiteX458" fmla="*/ 46421 w 478275"/>
                    <a:gd name="connsiteY458" fmla="*/ 205642 h 477060"/>
                    <a:gd name="connsiteX459" fmla="*/ 46038 w 478275"/>
                    <a:gd name="connsiteY459" fmla="*/ 204721 h 477060"/>
                    <a:gd name="connsiteX460" fmla="*/ 45427 w 478275"/>
                    <a:gd name="connsiteY460" fmla="*/ 204281 h 477060"/>
                    <a:gd name="connsiteX461" fmla="*/ 44628 w 478275"/>
                    <a:gd name="connsiteY461" fmla="*/ 204232 h 477060"/>
                    <a:gd name="connsiteX462" fmla="*/ 42533 w 478275"/>
                    <a:gd name="connsiteY462" fmla="*/ 204949 h 477060"/>
                    <a:gd name="connsiteX463" fmla="*/ 40936 w 478275"/>
                    <a:gd name="connsiteY463" fmla="*/ 202211 h 477060"/>
                    <a:gd name="connsiteX464" fmla="*/ 35965 w 478275"/>
                    <a:gd name="connsiteY464" fmla="*/ 194404 h 477060"/>
                    <a:gd name="connsiteX465" fmla="*/ 34368 w 478275"/>
                    <a:gd name="connsiteY465" fmla="*/ 193458 h 477060"/>
                    <a:gd name="connsiteX466" fmla="*/ 34082 w 478275"/>
                    <a:gd name="connsiteY466" fmla="*/ 192920 h 477060"/>
                    <a:gd name="connsiteX467" fmla="*/ 35288 w 478275"/>
                    <a:gd name="connsiteY467" fmla="*/ 190533 h 477060"/>
                    <a:gd name="connsiteX468" fmla="*/ 37334 w 478275"/>
                    <a:gd name="connsiteY468" fmla="*/ 186971 h 477060"/>
                    <a:gd name="connsiteX469" fmla="*/ 37693 w 478275"/>
                    <a:gd name="connsiteY469" fmla="*/ 184909 h 477060"/>
                    <a:gd name="connsiteX470" fmla="*/ 37302 w 478275"/>
                    <a:gd name="connsiteY470" fmla="*/ 182644 h 477060"/>
                    <a:gd name="connsiteX471" fmla="*/ 35085 w 478275"/>
                    <a:gd name="connsiteY471" fmla="*/ 178365 h 477060"/>
                    <a:gd name="connsiteX472" fmla="*/ 35623 w 478275"/>
                    <a:gd name="connsiteY472" fmla="*/ 176556 h 477060"/>
                    <a:gd name="connsiteX473" fmla="*/ 36568 w 478275"/>
                    <a:gd name="connsiteY473" fmla="*/ 174470 h 477060"/>
                    <a:gd name="connsiteX474" fmla="*/ 36649 w 478275"/>
                    <a:gd name="connsiteY474" fmla="*/ 172897 h 477060"/>
                    <a:gd name="connsiteX475" fmla="*/ 38149 w 478275"/>
                    <a:gd name="connsiteY475" fmla="*/ 173133 h 477060"/>
                    <a:gd name="connsiteX476" fmla="*/ 40040 w 478275"/>
                    <a:gd name="connsiteY476" fmla="*/ 173157 h 477060"/>
                    <a:gd name="connsiteX477" fmla="*/ 40635 w 478275"/>
                    <a:gd name="connsiteY477" fmla="*/ 171878 h 477060"/>
                    <a:gd name="connsiteX478" fmla="*/ 40594 w 478275"/>
                    <a:gd name="connsiteY478" fmla="*/ 167412 h 477060"/>
                    <a:gd name="connsiteX479" fmla="*/ 41042 w 478275"/>
                    <a:gd name="connsiteY479" fmla="*/ 165774 h 477060"/>
                    <a:gd name="connsiteX480" fmla="*/ 47073 w 478275"/>
                    <a:gd name="connsiteY480" fmla="*/ 158203 h 477060"/>
                    <a:gd name="connsiteX481" fmla="*/ 50064 w 478275"/>
                    <a:gd name="connsiteY481" fmla="*/ 156507 h 477060"/>
                    <a:gd name="connsiteX482" fmla="*/ 52346 w 478275"/>
                    <a:gd name="connsiteY482" fmla="*/ 154943 h 477060"/>
                    <a:gd name="connsiteX483" fmla="*/ 52859 w 478275"/>
                    <a:gd name="connsiteY483" fmla="*/ 152669 h 477060"/>
                    <a:gd name="connsiteX484" fmla="*/ 52378 w 478275"/>
                    <a:gd name="connsiteY484" fmla="*/ 151495 h 477060"/>
                    <a:gd name="connsiteX485" fmla="*/ 51939 w 478275"/>
                    <a:gd name="connsiteY485" fmla="*/ 149776 h 477060"/>
                    <a:gd name="connsiteX486" fmla="*/ 51792 w 478275"/>
                    <a:gd name="connsiteY486" fmla="*/ 148545 h 477060"/>
                    <a:gd name="connsiteX487" fmla="*/ 49265 w 478275"/>
                    <a:gd name="connsiteY487" fmla="*/ 145139 h 477060"/>
                    <a:gd name="connsiteX488" fmla="*/ 48394 w 478275"/>
                    <a:gd name="connsiteY488" fmla="*/ 143427 h 477060"/>
                    <a:gd name="connsiteX489" fmla="*/ 48288 w 478275"/>
                    <a:gd name="connsiteY489" fmla="*/ 141871 h 477060"/>
                    <a:gd name="connsiteX490" fmla="*/ 48882 w 478275"/>
                    <a:gd name="connsiteY490" fmla="*/ 139100 h 477060"/>
                    <a:gd name="connsiteX491" fmla="*/ 49934 w 478275"/>
                    <a:gd name="connsiteY491" fmla="*/ 136956 h 477060"/>
                    <a:gd name="connsiteX492" fmla="*/ 53495 w 478275"/>
                    <a:gd name="connsiteY492" fmla="*/ 135693 h 477060"/>
                    <a:gd name="connsiteX493" fmla="*/ 55516 w 478275"/>
                    <a:gd name="connsiteY493" fmla="*/ 134609 h 477060"/>
                    <a:gd name="connsiteX494" fmla="*/ 55793 w 478275"/>
                    <a:gd name="connsiteY494" fmla="*/ 133639 h 477060"/>
                    <a:gd name="connsiteX495" fmla="*/ 53169 w 478275"/>
                    <a:gd name="connsiteY495" fmla="*/ 132075 h 477060"/>
                    <a:gd name="connsiteX496" fmla="*/ 47562 w 478275"/>
                    <a:gd name="connsiteY496" fmla="*/ 131586 h 477060"/>
                    <a:gd name="connsiteX497" fmla="*/ 43471 w 478275"/>
                    <a:gd name="connsiteY497" fmla="*/ 132034 h 477060"/>
                    <a:gd name="connsiteX498" fmla="*/ 42159 w 478275"/>
                    <a:gd name="connsiteY498" fmla="*/ 131537 h 477060"/>
                    <a:gd name="connsiteX499" fmla="*/ 40211 w 478275"/>
                    <a:gd name="connsiteY499" fmla="*/ 128505 h 477060"/>
                    <a:gd name="connsiteX500" fmla="*/ 38149 w 478275"/>
                    <a:gd name="connsiteY500" fmla="*/ 126891 h 477060"/>
                    <a:gd name="connsiteX501" fmla="*/ 36218 w 478275"/>
                    <a:gd name="connsiteY501" fmla="*/ 125856 h 477060"/>
                    <a:gd name="connsiteX502" fmla="*/ 34343 w 478275"/>
                    <a:gd name="connsiteY502" fmla="*/ 126052 h 477060"/>
                    <a:gd name="connsiteX503" fmla="*/ 33186 w 478275"/>
                    <a:gd name="connsiteY503" fmla="*/ 125636 h 477060"/>
                    <a:gd name="connsiteX504" fmla="*/ 32917 w 478275"/>
                    <a:gd name="connsiteY504" fmla="*/ 124332 h 477060"/>
                    <a:gd name="connsiteX505" fmla="*/ 30203 w 478275"/>
                    <a:gd name="connsiteY505" fmla="*/ 114349 h 477060"/>
                    <a:gd name="connsiteX506" fmla="*/ 29347 w 478275"/>
                    <a:gd name="connsiteY506" fmla="*/ 112980 h 477060"/>
                    <a:gd name="connsiteX507" fmla="*/ 28076 w 478275"/>
                    <a:gd name="connsiteY507" fmla="*/ 112637 h 477060"/>
                    <a:gd name="connsiteX508" fmla="*/ 27016 w 478275"/>
                    <a:gd name="connsiteY508" fmla="*/ 112580 h 477060"/>
                    <a:gd name="connsiteX509" fmla="*/ 26300 w 478275"/>
                    <a:gd name="connsiteY509" fmla="*/ 111896 h 477060"/>
                    <a:gd name="connsiteX510" fmla="*/ 25542 w 478275"/>
                    <a:gd name="connsiteY510" fmla="*/ 110510 h 477060"/>
                    <a:gd name="connsiteX511" fmla="*/ 24987 w 478275"/>
                    <a:gd name="connsiteY511" fmla="*/ 108709 h 477060"/>
                    <a:gd name="connsiteX512" fmla="*/ 24955 w 478275"/>
                    <a:gd name="connsiteY512" fmla="*/ 106330 h 477060"/>
                    <a:gd name="connsiteX513" fmla="*/ 25069 w 478275"/>
                    <a:gd name="connsiteY513" fmla="*/ 104292 h 477060"/>
                    <a:gd name="connsiteX514" fmla="*/ 24702 w 478275"/>
                    <a:gd name="connsiteY514" fmla="*/ 102980 h 477060"/>
                    <a:gd name="connsiteX515" fmla="*/ 23773 w 478275"/>
                    <a:gd name="connsiteY515" fmla="*/ 101668 h 477060"/>
                    <a:gd name="connsiteX516" fmla="*/ 22437 w 478275"/>
                    <a:gd name="connsiteY516" fmla="*/ 100731 h 477060"/>
                    <a:gd name="connsiteX517" fmla="*/ 21271 w 478275"/>
                    <a:gd name="connsiteY517" fmla="*/ 99622 h 477060"/>
                    <a:gd name="connsiteX518" fmla="*/ 19234 w 478275"/>
                    <a:gd name="connsiteY518" fmla="*/ 90821 h 477060"/>
                    <a:gd name="connsiteX519" fmla="*/ 18402 w 478275"/>
                    <a:gd name="connsiteY519" fmla="*/ 88449 h 477060"/>
                    <a:gd name="connsiteX520" fmla="*/ 18394 w 478275"/>
                    <a:gd name="connsiteY520" fmla="*/ 88205 h 477060"/>
                    <a:gd name="connsiteX521" fmla="*/ 18435 w 478275"/>
                    <a:gd name="connsiteY521" fmla="*/ 87740 h 477060"/>
                    <a:gd name="connsiteX522" fmla="*/ 18231 w 478275"/>
                    <a:gd name="connsiteY522" fmla="*/ 85711 h 477060"/>
                    <a:gd name="connsiteX523" fmla="*/ 19185 w 478275"/>
                    <a:gd name="connsiteY523" fmla="*/ 83959 h 477060"/>
                    <a:gd name="connsiteX524" fmla="*/ 19119 w 478275"/>
                    <a:gd name="connsiteY524" fmla="*/ 83274 h 477060"/>
                    <a:gd name="connsiteX525" fmla="*/ 17163 w 478275"/>
                    <a:gd name="connsiteY525" fmla="*/ 81049 h 477060"/>
                    <a:gd name="connsiteX526" fmla="*/ 14401 w 478275"/>
                    <a:gd name="connsiteY526" fmla="*/ 78832 h 477060"/>
                    <a:gd name="connsiteX527" fmla="*/ 13659 w 478275"/>
                    <a:gd name="connsiteY527" fmla="*/ 78441 h 477060"/>
                    <a:gd name="connsiteX528" fmla="*/ 13635 w 478275"/>
                    <a:gd name="connsiteY528" fmla="*/ 76062 h 477060"/>
                    <a:gd name="connsiteX529" fmla="*/ 13732 w 478275"/>
                    <a:gd name="connsiteY529" fmla="*/ 74260 h 477060"/>
                    <a:gd name="connsiteX530" fmla="*/ 13488 w 478275"/>
                    <a:gd name="connsiteY530" fmla="*/ 72647 h 477060"/>
                    <a:gd name="connsiteX531" fmla="*/ 12975 w 478275"/>
                    <a:gd name="connsiteY531" fmla="*/ 71726 h 477060"/>
                    <a:gd name="connsiteX532" fmla="*/ 12950 w 478275"/>
                    <a:gd name="connsiteY532" fmla="*/ 71001 h 477060"/>
                    <a:gd name="connsiteX533" fmla="*/ 14059 w 478275"/>
                    <a:gd name="connsiteY533" fmla="*/ 69248 h 477060"/>
                    <a:gd name="connsiteX534" fmla="*/ 13349 w 478275"/>
                    <a:gd name="connsiteY534" fmla="*/ 68107 h 477060"/>
                    <a:gd name="connsiteX535" fmla="*/ 9291 w 478275"/>
                    <a:gd name="connsiteY535" fmla="*/ 65279 h 477060"/>
                    <a:gd name="connsiteX536" fmla="*/ 7759 w 478275"/>
                    <a:gd name="connsiteY536" fmla="*/ 63853 h 477060"/>
                    <a:gd name="connsiteX537" fmla="*/ 4955 w 478275"/>
                    <a:gd name="connsiteY537" fmla="*/ 63576 h 477060"/>
                    <a:gd name="connsiteX538" fmla="*/ 4662 w 478275"/>
                    <a:gd name="connsiteY538" fmla="*/ 62647 h 477060"/>
                    <a:gd name="connsiteX539" fmla="*/ 5102 w 478275"/>
                    <a:gd name="connsiteY539" fmla="*/ 60667 h 477060"/>
                    <a:gd name="connsiteX540" fmla="*/ 6072 w 478275"/>
                    <a:gd name="connsiteY540" fmla="*/ 58262 h 477060"/>
                    <a:gd name="connsiteX541" fmla="*/ 7596 w 478275"/>
                    <a:gd name="connsiteY541" fmla="*/ 55907 h 477060"/>
                    <a:gd name="connsiteX542" fmla="*/ 8085 w 478275"/>
                    <a:gd name="connsiteY542" fmla="*/ 54660 h 477060"/>
                    <a:gd name="connsiteX543" fmla="*/ 8679 w 478275"/>
                    <a:gd name="connsiteY543" fmla="*/ 52541 h 477060"/>
                    <a:gd name="connsiteX544" fmla="*/ 8875 w 478275"/>
                    <a:gd name="connsiteY544" fmla="*/ 51034 h 477060"/>
                    <a:gd name="connsiteX545" fmla="*/ 10579 w 478275"/>
                    <a:gd name="connsiteY545" fmla="*/ 48915 h 477060"/>
                    <a:gd name="connsiteX546" fmla="*/ 10579 w 478275"/>
                    <a:gd name="connsiteY546" fmla="*/ 48361 h 477060"/>
                    <a:gd name="connsiteX547" fmla="*/ 10106 w 478275"/>
                    <a:gd name="connsiteY547" fmla="*/ 47603 h 477060"/>
                    <a:gd name="connsiteX548" fmla="*/ 8745 w 478275"/>
                    <a:gd name="connsiteY548" fmla="*/ 47171 h 477060"/>
                    <a:gd name="connsiteX549" fmla="*/ 7351 w 478275"/>
                    <a:gd name="connsiteY549" fmla="*/ 46999 h 477060"/>
                    <a:gd name="connsiteX550" fmla="*/ 6830 w 478275"/>
                    <a:gd name="connsiteY550" fmla="*/ 46608 h 477060"/>
                    <a:gd name="connsiteX551" fmla="*/ 6642 w 478275"/>
                    <a:gd name="connsiteY551" fmla="*/ 45467 h 477060"/>
                    <a:gd name="connsiteX552" fmla="*/ 6813 w 478275"/>
                    <a:gd name="connsiteY552" fmla="*/ 40847 h 477060"/>
                    <a:gd name="connsiteX553" fmla="*/ 6373 w 478275"/>
                    <a:gd name="connsiteY553" fmla="*/ 38059 h 477060"/>
                    <a:gd name="connsiteX554" fmla="*/ 5803 w 478275"/>
                    <a:gd name="connsiteY554" fmla="*/ 36038 h 477060"/>
                    <a:gd name="connsiteX555" fmla="*/ 6170 w 478275"/>
                    <a:gd name="connsiteY555" fmla="*/ 31482 h 477060"/>
                    <a:gd name="connsiteX556" fmla="*/ 5200 w 478275"/>
                    <a:gd name="connsiteY556" fmla="*/ 30570 h 477060"/>
                    <a:gd name="connsiteX557" fmla="*/ 3667 w 478275"/>
                    <a:gd name="connsiteY557" fmla="*/ 28174 h 477060"/>
                    <a:gd name="connsiteX558" fmla="*/ 3015 w 478275"/>
                    <a:gd name="connsiteY558" fmla="*/ 26152 h 477060"/>
                    <a:gd name="connsiteX559" fmla="*/ 3374 w 478275"/>
                    <a:gd name="connsiteY559" fmla="*/ 25403 h 477060"/>
                    <a:gd name="connsiteX560" fmla="*/ 3700 w 478275"/>
                    <a:gd name="connsiteY560" fmla="*/ 24066 h 477060"/>
                    <a:gd name="connsiteX561" fmla="*/ 3912 w 478275"/>
                    <a:gd name="connsiteY561" fmla="*/ 22322 h 477060"/>
                    <a:gd name="connsiteX562" fmla="*/ 3847 w 478275"/>
                    <a:gd name="connsiteY562" fmla="*/ 21075 h 477060"/>
                    <a:gd name="connsiteX563" fmla="*/ 2437 w 478275"/>
                    <a:gd name="connsiteY563" fmla="*/ 19877 h 477060"/>
                    <a:gd name="connsiteX564" fmla="*/ 1386 w 478275"/>
                    <a:gd name="connsiteY564" fmla="*/ 18598 h 477060"/>
                    <a:gd name="connsiteX565" fmla="*/ 1271 w 478275"/>
                    <a:gd name="connsiteY565" fmla="*/ 17196 h 477060"/>
                    <a:gd name="connsiteX566" fmla="*/ 848 w 478275"/>
                    <a:gd name="connsiteY566" fmla="*/ 15476 h 477060"/>
                    <a:gd name="connsiteX567" fmla="*/ 269 w 478275"/>
                    <a:gd name="connsiteY567" fmla="*/ 14115 h 477060"/>
                    <a:gd name="connsiteX568" fmla="*/ 0 w 478275"/>
                    <a:gd name="connsiteY568" fmla="*/ 13227 h 477060"/>
                    <a:gd name="connsiteX569" fmla="*/ 514 w 478275"/>
                    <a:gd name="connsiteY569" fmla="*/ 12705 h 477060"/>
                    <a:gd name="connsiteX570" fmla="*/ 2494 w 478275"/>
                    <a:gd name="connsiteY570" fmla="*/ 12298 h 477060"/>
                    <a:gd name="connsiteX571" fmla="*/ 5387 w 478275"/>
                    <a:gd name="connsiteY571" fmla="*/ 12583 h 477060"/>
                    <a:gd name="connsiteX572" fmla="*/ 7734 w 478275"/>
                    <a:gd name="connsiteY572" fmla="*/ 12608 h 477060"/>
                    <a:gd name="connsiteX573" fmla="*/ 9071 w 478275"/>
                    <a:gd name="connsiteY573" fmla="*/ 11727 h 477060"/>
                    <a:gd name="connsiteX574" fmla="*/ 10725 w 478275"/>
                    <a:gd name="connsiteY574" fmla="*/ 3455 h 477060"/>
                    <a:gd name="connsiteX575" fmla="*/ 12225 w 478275"/>
                    <a:gd name="connsiteY575" fmla="*/ 1271 h 477060"/>
                    <a:gd name="connsiteX576" fmla="*/ 13985 w 478275"/>
                    <a:gd name="connsiteY576" fmla="*/ 0 h 477060"/>
                    <a:gd name="connsiteX577" fmla="*/ 17400 w 478275"/>
                    <a:gd name="connsiteY577" fmla="*/ 2942 h 477060"/>
                    <a:gd name="connsiteX578" fmla="*/ 18818 w 478275"/>
                    <a:gd name="connsiteY578" fmla="*/ 3977 h 477060"/>
                    <a:gd name="connsiteX579" fmla="*/ 19682 w 478275"/>
                    <a:gd name="connsiteY579" fmla="*/ 3993 h 477060"/>
                    <a:gd name="connsiteX580" fmla="*/ 20203 w 478275"/>
                    <a:gd name="connsiteY580" fmla="*/ 4719 h 477060"/>
                    <a:gd name="connsiteX581" fmla="*/ 24262 w 478275"/>
                    <a:gd name="connsiteY581" fmla="*/ 11630 h 477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Lst>
                  <a:rect l="l" t="t" r="r" b="b"/>
                  <a:pathLst>
                    <a:path w="478275" h="477060">
                      <a:moveTo>
                        <a:pt x="24262" y="11630"/>
                      </a:moveTo>
                      <a:lnTo>
                        <a:pt x="26038" y="13675"/>
                      </a:lnTo>
                      <a:lnTo>
                        <a:pt x="27066" y="15403"/>
                      </a:lnTo>
                      <a:lnTo>
                        <a:pt x="27766" y="17343"/>
                      </a:lnTo>
                      <a:lnTo>
                        <a:pt x="28981" y="18647"/>
                      </a:lnTo>
                      <a:lnTo>
                        <a:pt x="30594" y="19348"/>
                      </a:lnTo>
                      <a:lnTo>
                        <a:pt x="32567" y="21222"/>
                      </a:lnTo>
                      <a:lnTo>
                        <a:pt x="33903" y="22681"/>
                      </a:lnTo>
                      <a:lnTo>
                        <a:pt x="36144" y="25704"/>
                      </a:lnTo>
                      <a:lnTo>
                        <a:pt x="38508" y="26829"/>
                      </a:lnTo>
                      <a:lnTo>
                        <a:pt x="47114" y="29013"/>
                      </a:lnTo>
                      <a:lnTo>
                        <a:pt x="51889" y="30032"/>
                      </a:lnTo>
                      <a:lnTo>
                        <a:pt x="53275" y="30325"/>
                      </a:lnTo>
                      <a:lnTo>
                        <a:pt x="56926" y="28858"/>
                      </a:lnTo>
                      <a:lnTo>
                        <a:pt x="61213" y="29054"/>
                      </a:lnTo>
                      <a:lnTo>
                        <a:pt x="62810" y="29135"/>
                      </a:lnTo>
                      <a:lnTo>
                        <a:pt x="68466" y="22974"/>
                      </a:lnTo>
                      <a:lnTo>
                        <a:pt x="70185" y="20912"/>
                      </a:lnTo>
                      <a:lnTo>
                        <a:pt x="73576" y="19845"/>
                      </a:lnTo>
                      <a:lnTo>
                        <a:pt x="75459" y="17392"/>
                      </a:lnTo>
                      <a:lnTo>
                        <a:pt x="78515" y="14417"/>
                      </a:lnTo>
                      <a:lnTo>
                        <a:pt x="82231" y="11621"/>
                      </a:lnTo>
                      <a:lnTo>
                        <a:pt x="85646" y="9103"/>
                      </a:lnTo>
                      <a:lnTo>
                        <a:pt x="88270" y="7579"/>
                      </a:lnTo>
                      <a:lnTo>
                        <a:pt x="93013" y="4018"/>
                      </a:lnTo>
                      <a:lnTo>
                        <a:pt x="95971" y="2787"/>
                      </a:lnTo>
                      <a:lnTo>
                        <a:pt x="98538" y="2828"/>
                      </a:lnTo>
                      <a:lnTo>
                        <a:pt x="102385" y="7001"/>
                      </a:lnTo>
                      <a:lnTo>
                        <a:pt x="105629" y="10790"/>
                      </a:lnTo>
                      <a:lnTo>
                        <a:pt x="106631" y="12453"/>
                      </a:lnTo>
                      <a:lnTo>
                        <a:pt x="105009" y="13944"/>
                      </a:lnTo>
                      <a:lnTo>
                        <a:pt x="102010" y="15387"/>
                      </a:lnTo>
                      <a:lnTo>
                        <a:pt x="101440" y="16438"/>
                      </a:lnTo>
                      <a:lnTo>
                        <a:pt x="101228" y="17791"/>
                      </a:lnTo>
                      <a:lnTo>
                        <a:pt x="101350" y="19079"/>
                      </a:lnTo>
                      <a:lnTo>
                        <a:pt x="101758" y="20130"/>
                      </a:lnTo>
                      <a:lnTo>
                        <a:pt x="105442" y="22575"/>
                      </a:lnTo>
                      <a:lnTo>
                        <a:pt x="105865" y="23919"/>
                      </a:lnTo>
                      <a:lnTo>
                        <a:pt x="105890" y="25289"/>
                      </a:lnTo>
                      <a:lnTo>
                        <a:pt x="105474" y="26136"/>
                      </a:lnTo>
                      <a:lnTo>
                        <a:pt x="104651" y="26633"/>
                      </a:lnTo>
                      <a:lnTo>
                        <a:pt x="102084" y="27310"/>
                      </a:lnTo>
                      <a:lnTo>
                        <a:pt x="99891" y="28108"/>
                      </a:lnTo>
                      <a:lnTo>
                        <a:pt x="99117" y="28891"/>
                      </a:lnTo>
                      <a:lnTo>
                        <a:pt x="98457" y="29812"/>
                      </a:lnTo>
                      <a:lnTo>
                        <a:pt x="98555" y="30839"/>
                      </a:lnTo>
                      <a:lnTo>
                        <a:pt x="99223" y="32012"/>
                      </a:lnTo>
                      <a:lnTo>
                        <a:pt x="103722" y="35207"/>
                      </a:lnTo>
                      <a:lnTo>
                        <a:pt x="104227" y="36380"/>
                      </a:lnTo>
                      <a:lnTo>
                        <a:pt x="105124" y="37953"/>
                      </a:lnTo>
                      <a:lnTo>
                        <a:pt x="106224" y="38923"/>
                      </a:lnTo>
                      <a:lnTo>
                        <a:pt x="108098" y="39184"/>
                      </a:lnTo>
                      <a:lnTo>
                        <a:pt x="108987" y="39836"/>
                      </a:lnTo>
                      <a:lnTo>
                        <a:pt x="113330" y="45728"/>
                      </a:lnTo>
                      <a:lnTo>
                        <a:pt x="114398" y="46144"/>
                      </a:lnTo>
                      <a:lnTo>
                        <a:pt x="119475" y="44848"/>
                      </a:lnTo>
                      <a:lnTo>
                        <a:pt x="120184" y="44913"/>
                      </a:lnTo>
                      <a:lnTo>
                        <a:pt x="120233" y="46356"/>
                      </a:lnTo>
                      <a:lnTo>
                        <a:pt x="120991" y="54701"/>
                      </a:lnTo>
                      <a:lnTo>
                        <a:pt x="121586" y="59004"/>
                      </a:lnTo>
                      <a:lnTo>
                        <a:pt x="122442" y="63193"/>
                      </a:lnTo>
                      <a:lnTo>
                        <a:pt x="123819" y="67007"/>
                      </a:lnTo>
                      <a:lnTo>
                        <a:pt x="125441" y="70634"/>
                      </a:lnTo>
                      <a:lnTo>
                        <a:pt x="127674" y="72875"/>
                      </a:lnTo>
                      <a:lnTo>
                        <a:pt x="132661" y="75572"/>
                      </a:lnTo>
                      <a:lnTo>
                        <a:pt x="135082" y="76347"/>
                      </a:lnTo>
                      <a:lnTo>
                        <a:pt x="141455" y="76893"/>
                      </a:lnTo>
                      <a:lnTo>
                        <a:pt x="147747" y="78083"/>
                      </a:lnTo>
                      <a:lnTo>
                        <a:pt x="151455" y="79338"/>
                      </a:lnTo>
                      <a:lnTo>
                        <a:pt x="152596" y="80226"/>
                      </a:lnTo>
                      <a:lnTo>
                        <a:pt x="153533" y="81587"/>
                      </a:lnTo>
                      <a:lnTo>
                        <a:pt x="156605" y="87936"/>
                      </a:lnTo>
                      <a:lnTo>
                        <a:pt x="161455" y="92451"/>
                      </a:lnTo>
                      <a:lnTo>
                        <a:pt x="171226" y="99223"/>
                      </a:lnTo>
                      <a:lnTo>
                        <a:pt x="175969" y="101472"/>
                      </a:lnTo>
                      <a:lnTo>
                        <a:pt x="191927" y="105727"/>
                      </a:lnTo>
                      <a:lnTo>
                        <a:pt x="202546" y="105490"/>
                      </a:lnTo>
                      <a:lnTo>
                        <a:pt x="231917" y="97275"/>
                      </a:lnTo>
                      <a:lnTo>
                        <a:pt x="241673" y="95230"/>
                      </a:lnTo>
                      <a:lnTo>
                        <a:pt x="245340" y="95230"/>
                      </a:lnTo>
                      <a:lnTo>
                        <a:pt x="243155" y="96860"/>
                      </a:lnTo>
                      <a:lnTo>
                        <a:pt x="239480" y="97789"/>
                      </a:lnTo>
                      <a:lnTo>
                        <a:pt x="241697" y="98946"/>
                      </a:lnTo>
                      <a:lnTo>
                        <a:pt x="245103" y="99133"/>
                      </a:lnTo>
                      <a:lnTo>
                        <a:pt x="246693" y="98946"/>
                      </a:lnTo>
                      <a:lnTo>
                        <a:pt x="247834" y="97911"/>
                      </a:lnTo>
                      <a:lnTo>
                        <a:pt x="248013" y="96191"/>
                      </a:lnTo>
                      <a:lnTo>
                        <a:pt x="247850" y="94496"/>
                      </a:lnTo>
                      <a:lnTo>
                        <a:pt x="246236" y="86860"/>
                      </a:lnTo>
                      <a:lnTo>
                        <a:pt x="245299" y="81457"/>
                      </a:lnTo>
                      <a:lnTo>
                        <a:pt x="252177" y="81823"/>
                      </a:lnTo>
                      <a:lnTo>
                        <a:pt x="254867" y="81122"/>
                      </a:lnTo>
                      <a:lnTo>
                        <a:pt x="258803" y="79321"/>
                      </a:lnTo>
                      <a:lnTo>
                        <a:pt x="261786" y="78229"/>
                      </a:lnTo>
                      <a:lnTo>
                        <a:pt x="263293" y="78074"/>
                      </a:lnTo>
                      <a:lnTo>
                        <a:pt x="264777" y="77227"/>
                      </a:lnTo>
                      <a:lnTo>
                        <a:pt x="265910" y="76167"/>
                      </a:lnTo>
                      <a:lnTo>
                        <a:pt x="268477" y="68792"/>
                      </a:lnTo>
                      <a:lnTo>
                        <a:pt x="269748" y="66942"/>
                      </a:lnTo>
                      <a:lnTo>
                        <a:pt x="274108" y="62777"/>
                      </a:lnTo>
                      <a:lnTo>
                        <a:pt x="277792" y="60137"/>
                      </a:lnTo>
                      <a:lnTo>
                        <a:pt x="281680" y="57798"/>
                      </a:lnTo>
                      <a:lnTo>
                        <a:pt x="286577" y="56168"/>
                      </a:lnTo>
                      <a:lnTo>
                        <a:pt x="293105" y="56339"/>
                      </a:lnTo>
                      <a:lnTo>
                        <a:pt x="298288" y="56910"/>
                      </a:lnTo>
                      <a:lnTo>
                        <a:pt x="301279" y="56885"/>
                      </a:lnTo>
                      <a:lnTo>
                        <a:pt x="302714" y="57048"/>
                      </a:lnTo>
                      <a:lnTo>
                        <a:pt x="303781" y="56820"/>
                      </a:lnTo>
                      <a:lnTo>
                        <a:pt x="304409" y="56331"/>
                      </a:lnTo>
                      <a:lnTo>
                        <a:pt x="305085" y="53104"/>
                      </a:lnTo>
                      <a:lnTo>
                        <a:pt x="306137" y="52052"/>
                      </a:lnTo>
                      <a:lnTo>
                        <a:pt x="307979" y="51148"/>
                      </a:lnTo>
                      <a:lnTo>
                        <a:pt x="310546" y="51148"/>
                      </a:lnTo>
                      <a:lnTo>
                        <a:pt x="313659" y="50911"/>
                      </a:lnTo>
                      <a:lnTo>
                        <a:pt x="316250" y="51140"/>
                      </a:lnTo>
                      <a:lnTo>
                        <a:pt x="319518" y="52378"/>
                      </a:lnTo>
                      <a:lnTo>
                        <a:pt x="323789" y="52484"/>
                      </a:lnTo>
                      <a:lnTo>
                        <a:pt x="326641" y="52272"/>
                      </a:lnTo>
                      <a:lnTo>
                        <a:pt x="328288" y="53503"/>
                      </a:lnTo>
                      <a:lnTo>
                        <a:pt x="329478" y="55149"/>
                      </a:lnTo>
                      <a:lnTo>
                        <a:pt x="330048" y="56527"/>
                      </a:lnTo>
                      <a:lnTo>
                        <a:pt x="330187" y="58409"/>
                      </a:lnTo>
                      <a:lnTo>
                        <a:pt x="330162" y="59852"/>
                      </a:lnTo>
                      <a:lnTo>
                        <a:pt x="330602" y="60406"/>
                      </a:lnTo>
                      <a:lnTo>
                        <a:pt x="332354" y="61270"/>
                      </a:lnTo>
                      <a:lnTo>
                        <a:pt x="334759" y="61914"/>
                      </a:lnTo>
                      <a:lnTo>
                        <a:pt x="339469" y="62688"/>
                      </a:lnTo>
                      <a:lnTo>
                        <a:pt x="343870" y="64171"/>
                      </a:lnTo>
                      <a:lnTo>
                        <a:pt x="346152" y="65190"/>
                      </a:lnTo>
                      <a:lnTo>
                        <a:pt x="349339" y="66779"/>
                      </a:lnTo>
                      <a:lnTo>
                        <a:pt x="353128" y="70699"/>
                      </a:lnTo>
                      <a:lnTo>
                        <a:pt x="354530" y="71318"/>
                      </a:lnTo>
                      <a:lnTo>
                        <a:pt x="356233" y="71709"/>
                      </a:lnTo>
                      <a:lnTo>
                        <a:pt x="357448" y="71604"/>
                      </a:lnTo>
                      <a:lnTo>
                        <a:pt x="360300" y="69941"/>
                      </a:lnTo>
                      <a:lnTo>
                        <a:pt x="362769" y="71163"/>
                      </a:lnTo>
                      <a:lnTo>
                        <a:pt x="364016" y="71009"/>
                      </a:lnTo>
                      <a:lnTo>
                        <a:pt x="366869" y="70096"/>
                      </a:lnTo>
                      <a:lnTo>
                        <a:pt x="369892" y="71220"/>
                      </a:lnTo>
                      <a:lnTo>
                        <a:pt x="377414" y="75532"/>
                      </a:lnTo>
                      <a:lnTo>
                        <a:pt x="378246" y="75434"/>
                      </a:lnTo>
                      <a:lnTo>
                        <a:pt x="378930" y="75874"/>
                      </a:lnTo>
                      <a:lnTo>
                        <a:pt x="379557" y="76860"/>
                      </a:lnTo>
                      <a:lnTo>
                        <a:pt x="379998" y="78074"/>
                      </a:lnTo>
                      <a:lnTo>
                        <a:pt x="380560" y="81783"/>
                      </a:lnTo>
                      <a:lnTo>
                        <a:pt x="382736" y="84480"/>
                      </a:lnTo>
                      <a:lnTo>
                        <a:pt x="385401" y="86941"/>
                      </a:lnTo>
                      <a:lnTo>
                        <a:pt x="388490" y="88294"/>
                      </a:lnTo>
                      <a:lnTo>
                        <a:pt x="394985" y="91521"/>
                      </a:lnTo>
                      <a:lnTo>
                        <a:pt x="397813" y="94146"/>
                      </a:lnTo>
                      <a:lnTo>
                        <a:pt x="400682" y="98579"/>
                      </a:lnTo>
                      <a:lnTo>
                        <a:pt x="404211" y="104423"/>
                      </a:lnTo>
                      <a:lnTo>
                        <a:pt x="404724" y="104952"/>
                      </a:lnTo>
                      <a:lnTo>
                        <a:pt x="413811" y="104781"/>
                      </a:lnTo>
                      <a:lnTo>
                        <a:pt x="424023" y="104797"/>
                      </a:lnTo>
                      <a:lnTo>
                        <a:pt x="425269" y="107128"/>
                      </a:lnTo>
                      <a:lnTo>
                        <a:pt x="425042" y="111765"/>
                      </a:lnTo>
                      <a:lnTo>
                        <a:pt x="425408" y="116509"/>
                      </a:lnTo>
                      <a:lnTo>
                        <a:pt x="426321" y="119793"/>
                      </a:lnTo>
                      <a:lnTo>
                        <a:pt x="426329" y="122825"/>
                      </a:lnTo>
                      <a:lnTo>
                        <a:pt x="425587" y="124357"/>
                      </a:lnTo>
                      <a:lnTo>
                        <a:pt x="425017" y="126109"/>
                      </a:lnTo>
                      <a:lnTo>
                        <a:pt x="424846" y="126875"/>
                      </a:lnTo>
                      <a:lnTo>
                        <a:pt x="426158" y="127967"/>
                      </a:lnTo>
                      <a:lnTo>
                        <a:pt x="427307" y="130485"/>
                      </a:lnTo>
                      <a:lnTo>
                        <a:pt x="427478" y="133990"/>
                      </a:lnTo>
                      <a:lnTo>
                        <a:pt x="426907" y="135848"/>
                      </a:lnTo>
                      <a:lnTo>
                        <a:pt x="426989" y="137380"/>
                      </a:lnTo>
                      <a:lnTo>
                        <a:pt x="427568" y="138692"/>
                      </a:lnTo>
                      <a:lnTo>
                        <a:pt x="428057" y="140884"/>
                      </a:lnTo>
                      <a:lnTo>
                        <a:pt x="427975" y="142188"/>
                      </a:lnTo>
                      <a:lnTo>
                        <a:pt x="427152" y="143501"/>
                      </a:lnTo>
                      <a:lnTo>
                        <a:pt x="426655" y="145139"/>
                      </a:lnTo>
                      <a:lnTo>
                        <a:pt x="425995" y="147209"/>
                      </a:lnTo>
                      <a:lnTo>
                        <a:pt x="425758" y="148839"/>
                      </a:lnTo>
                      <a:lnTo>
                        <a:pt x="424528" y="149605"/>
                      </a:lnTo>
                      <a:lnTo>
                        <a:pt x="423550" y="150151"/>
                      </a:lnTo>
                      <a:lnTo>
                        <a:pt x="423713" y="152221"/>
                      </a:lnTo>
                      <a:lnTo>
                        <a:pt x="424210" y="153965"/>
                      </a:lnTo>
                      <a:lnTo>
                        <a:pt x="424789" y="156027"/>
                      </a:lnTo>
                      <a:lnTo>
                        <a:pt x="424128" y="157445"/>
                      </a:lnTo>
                      <a:lnTo>
                        <a:pt x="423713" y="159075"/>
                      </a:lnTo>
                      <a:lnTo>
                        <a:pt x="422817" y="161691"/>
                      </a:lnTo>
                      <a:lnTo>
                        <a:pt x="423053" y="163867"/>
                      </a:lnTo>
                      <a:lnTo>
                        <a:pt x="422075" y="165725"/>
                      </a:lnTo>
                      <a:lnTo>
                        <a:pt x="420844" y="167355"/>
                      </a:lnTo>
                      <a:lnTo>
                        <a:pt x="420029" y="168667"/>
                      </a:lnTo>
                      <a:lnTo>
                        <a:pt x="419858" y="170509"/>
                      </a:lnTo>
                      <a:lnTo>
                        <a:pt x="418954" y="171161"/>
                      </a:lnTo>
                      <a:lnTo>
                        <a:pt x="417226" y="172693"/>
                      </a:lnTo>
                      <a:lnTo>
                        <a:pt x="416166" y="173777"/>
                      </a:lnTo>
                      <a:lnTo>
                        <a:pt x="414610" y="174103"/>
                      </a:lnTo>
                      <a:lnTo>
                        <a:pt x="414275" y="174975"/>
                      </a:lnTo>
                      <a:lnTo>
                        <a:pt x="414528" y="175839"/>
                      </a:lnTo>
                      <a:lnTo>
                        <a:pt x="415180" y="176376"/>
                      </a:lnTo>
                      <a:lnTo>
                        <a:pt x="416207" y="178259"/>
                      </a:lnTo>
                      <a:lnTo>
                        <a:pt x="418334" y="181486"/>
                      </a:lnTo>
                      <a:lnTo>
                        <a:pt x="412214" y="181886"/>
                      </a:lnTo>
                      <a:lnTo>
                        <a:pt x="410412" y="184754"/>
                      </a:lnTo>
                      <a:lnTo>
                        <a:pt x="408310" y="188846"/>
                      </a:lnTo>
                      <a:lnTo>
                        <a:pt x="409337" y="197118"/>
                      </a:lnTo>
                      <a:lnTo>
                        <a:pt x="408310" y="201372"/>
                      </a:lnTo>
                      <a:lnTo>
                        <a:pt x="408938" y="203760"/>
                      </a:lnTo>
                      <a:lnTo>
                        <a:pt x="410494" y="205406"/>
                      </a:lnTo>
                      <a:lnTo>
                        <a:pt x="412499" y="206319"/>
                      </a:lnTo>
                      <a:lnTo>
                        <a:pt x="416264" y="206376"/>
                      </a:lnTo>
                      <a:lnTo>
                        <a:pt x="418758" y="207020"/>
                      </a:lnTo>
                      <a:lnTo>
                        <a:pt x="419010" y="208120"/>
                      </a:lnTo>
                      <a:lnTo>
                        <a:pt x="417568" y="209717"/>
                      </a:lnTo>
                      <a:lnTo>
                        <a:pt x="415278" y="212732"/>
                      </a:lnTo>
                      <a:lnTo>
                        <a:pt x="414080" y="214053"/>
                      </a:lnTo>
                      <a:lnTo>
                        <a:pt x="410168" y="220108"/>
                      </a:lnTo>
                      <a:lnTo>
                        <a:pt x="410201" y="222683"/>
                      </a:lnTo>
                      <a:lnTo>
                        <a:pt x="410576" y="224761"/>
                      </a:lnTo>
                      <a:lnTo>
                        <a:pt x="412262" y="231289"/>
                      </a:lnTo>
                      <a:lnTo>
                        <a:pt x="413892" y="237605"/>
                      </a:lnTo>
                      <a:lnTo>
                        <a:pt x="416835" y="248982"/>
                      </a:lnTo>
                      <a:lnTo>
                        <a:pt x="416777" y="251631"/>
                      </a:lnTo>
                      <a:lnTo>
                        <a:pt x="415865" y="257491"/>
                      </a:lnTo>
                      <a:lnTo>
                        <a:pt x="415800" y="261044"/>
                      </a:lnTo>
                      <a:lnTo>
                        <a:pt x="416215" y="265665"/>
                      </a:lnTo>
                      <a:lnTo>
                        <a:pt x="415905" y="268053"/>
                      </a:lnTo>
                      <a:lnTo>
                        <a:pt x="416623" y="273399"/>
                      </a:lnTo>
                      <a:lnTo>
                        <a:pt x="417454" y="273782"/>
                      </a:lnTo>
                      <a:lnTo>
                        <a:pt x="423819" y="274817"/>
                      </a:lnTo>
                      <a:lnTo>
                        <a:pt x="429671" y="275771"/>
                      </a:lnTo>
                      <a:lnTo>
                        <a:pt x="437445" y="277042"/>
                      </a:lnTo>
                      <a:lnTo>
                        <a:pt x="439801" y="280180"/>
                      </a:lnTo>
                      <a:lnTo>
                        <a:pt x="441267" y="287050"/>
                      </a:lnTo>
                      <a:lnTo>
                        <a:pt x="441186" y="292184"/>
                      </a:lnTo>
                      <a:lnTo>
                        <a:pt x="440526" y="294809"/>
                      </a:lnTo>
                      <a:lnTo>
                        <a:pt x="434943" y="302298"/>
                      </a:lnTo>
                      <a:lnTo>
                        <a:pt x="429296" y="309877"/>
                      </a:lnTo>
                      <a:lnTo>
                        <a:pt x="423664" y="317440"/>
                      </a:lnTo>
                      <a:lnTo>
                        <a:pt x="417805" y="325264"/>
                      </a:lnTo>
                      <a:lnTo>
                        <a:pt x="417201" y="326095"/>
                      </a:lnTo>
                      <a:lnTo>
                        <a:pt x="421920" y="332354"/>
                      </a:lnTo>
                      <a:lnTo>
                        <a:pt x="424846" y="336225"/>
                      </a:lnTo>
                      <a:lnTo>
                        <a:pt x="428970" y="341669"/>
                      </a:lnTo>
                      <a:lnTo>
                        <a:pt x="429491" y="342973"/>
                      </a:lnTo>
                      <a:lnTo>
                        <a:pt x="429450" y="345117"/>
                      </a:lnTo>
                      <a:lnTo>
                        <a:pt x="433688" y="353389"/>
                      </a:lnTo>
                      <a:lnTo>
                        <a:pt x="435180" y="357708"/>
                      </a:lnTo>
                      <a:lnTo>
                        <a:pt x="436533" y="360243"/>
                      </a:lnTo>
                      <a:lnTo>
                        <a:pt x="439882" y="364195"/>
                      </a:lnTo>
                      <a:lnTo>
                        <a:pt x="443150" y="368058"/>
                      </a:lnTo>
                      <a:lnTo>
                        <a:pt x="446695" y="369827"/>
                      </a:lnTo>
                      <a:lnTo>
                        <a:pt x="449124" y="370218"/>
                      </a:lnTo>
                      <a:lnTo>
                        <a:pt x="454641" y="372255"/>
                      </a:lnTo>
                      <a:lnTo>
                        <a:pt x="456638" y="373877"/>
                      </a:lnTo>
                      <a:lnTo>
                        <a:pt x="459881" y="377968"/>
                      </a:lnTo>
                      <a:lnTo>
                        <a:pt x="463679" y="377406"/>
                      </a:lnTo>
                      <a:lnTo>
                        <a:pt x="464470" y="377406"/>
                      </a:lnTo>
                      <a:lnTo>
                        <a:pt x="464682" y="377708"/>
                      </a:lnTo>
                      <a:lnTo>
                        <a:pt x="464796" y="379028"/>
                      </a:lnTo>
                      <a:lnTo>
                        <a:pt x="464225" y="385393"/>
                      </a:lnTo>
                      <a:lnTo>
                        <a:pt x="465293" y="391798"/>
                      </a:lnTo>
                      <a:lnTo>
                        <a:pt x="466027" y="401439"/>
                      </a:lnTo>
                      <a:lnTo>
                        <a:pt x="465749" y="403102"/>
                      </a:lnTo>
                      <a:lnTo>
                        <a:pt x="464853" y="405889"/>
                      </a:lnTo>
                      <a:lnTo>
                        <a:pt x="464804" y="407682"/>
                      </a:lnTo>
                      <a:lnTo>
                        <a:pt x="464560" y="408782"/>
                      </a:lnTo>
                      <a:lnTo>
                        <a:pt x="464812" y="409271"/>
                      </a:lnTo>
                      <a:lnTo>
                        <a:pt x="466018" y="409931"/>
                      </a:lnTo>
                      <a:lnTo>
                        <a:pt x="468585" y="410274"/>
                      </a:lnTo>
                      <a:lnTo>
                        <a:pt x="474820" y="409198"/>
                      </a:lnTo>
                      <a:lnTo>
                        <a:pt x="475554" y="409467"/>
                      </a:lnTo>
                      <a:lnTo>
                        <a:pt x="477045" y="410608"/>
                      </a:lnTo>
                      <a:lnTo>
                        <a:pt x="478170" y="412393"/>
                      </a:lnTo>
                      <a:lnTo>
                        <a:pt x="478276" y="413240"/>
                      </a:lnTo>
                      <a:lnTo>
                        <a:pt x="476703" y="414724"/>
                      </a:lnTo>
                      <a:lnTo>
                        <a:pt x="476442" y="417250"/>
                      </a:lnTo>
                      <a:lnTo>
                        <a:pt x="476915" y="421007"/>
                      </a:lnTo>
                      <a:lnTo>
                        <a:pt x="476694" y="421472"/>
                      </a:lnTo>
                      <a:lnTo>
                        <a:pt x="475317" y="422327"/>
                      </a:lnTo>
                      <a:lnTo>
                        <a:pt x="474877" y="427771"/>
                      </a:lnTo>
                      <a:lnTo>
                        <a:pt x="474624" y="428268"/>
                      </a:lnTo>
                      <a:lnTo>
                        <a:pt x="473011" y="428823"/>
                      </a:lnTo>
                      <a:lnTo>
                        <a:pt x="465407" y="428464"/>
                      </a:lnTo>
                      <a:lnTo>
                        <a:pt x="464551" y="428611"/>
                      </a:lnTo>
                      <a:lnTo>
                        <a:pt x="461691" y="430045"/>
                      </a:lnTo>
                      <a:lnTo>
                        <a:pt x="456793" y="431080"/>
                      </a:lnTo>
                      <a:lnTo>
                        <a:pt x="455456" y="431667"/>
                      </a:lnTo>
                      <a:lnTo>
                        <a:pt x="453639" y="433305"/>
                      </a:lnTo>
                      <a:lnTo>
                        <a:pt x="452335" y="435310"/>
                      </a:lnTo>
                      <a:lnTo>
                        <a:pt x="452098" y="437152"/>
                      </a:lnTo>
                      <a:lnTo>
                        <a:pt x="451838" y="437535"/>
                      </a:lnTo>
                      <a:lnTo>
                        <a:pt x="449018" y="437152"/>
                      </a:lnTo>
                      <a:lnTo>
                        <a:pt x="448113" y="438757"/>
                      </a:lnTo>
                      <a:lnTo>
                        <a:pt x="442677" y="441153"/>
                      </a:lnTo>
                      <a:lnTo>
                        <a:pt x="441993" y="441667"/>
                      </a:lnTo>
                      <a:lnTo>
                        <a:pt x="441186" y="443582"/>
                      </a:lnTo>
                      <a:lnTo>
                        <a:pt x="440461" y="448920"/>
                      </a:lnTo>
                      <a:lnTo>
                        <a:pt x="439809" y="453728"/>
                      </a:lnTo>
                      <a:lnTo>
                        <a:pt x="439393" y="454429"/>
                      </a:lnTo>
                      <a:lnTo>
                        <a:pt x="437674" y="456075"/>
                      </a:lnTo>
                      <a:lnTo>
                        <a:pt x="437502" y="456638"/>
                      </a:lnTo>
                      <a:lnTo>
                        <a:pt x="437747" y="458488"/>
                      </a:lnTo>
                      <a:lnTo>
                        <a:pt x="436964" y="461886"/>
                      </a:lnTo>
                      <a:lnTo>
                        <a:pt x="436353" y="471275"/>
                      </a:lnTo>
                      <a:lnTo>
                        <a:pt x="435668" y="473915"/>
                      </a:lnTo>
                      <a:lnTo>
                        <a:pt x="434308" y="474127"/>
                      </a:lnTo>
                      <a:lnTo>
                        <a:pt x="433248" y="475439"/>
                      </a:lnTo>
                      <a:lnTo>
                        <a:pt x="431309" y="477061"/>
                      </a:lnTo>
                      <a:lnTo>
                        <a:pt x="427111" y="475806"/>
                      </a:lnTo>
                      <a:lnTo>
                        <a:pt x="423786" y="474486"/>
                      </a:lnTo>
                      <a:lnTo>
                        <a:pt x="412751" y="471397"/>
                      </a:lnTo>
                      <a:lnTo>
                        <a:pt x="411546" y="469897"/>
                      </a:lnTo>
                      <a:lnTo>
                        <a:pt x="410853" y="467265"/>
                      </a:lnTo>
                      <a:lnTo>
                        <a:pt x="408954" y="466523"/>
                      </a:lnTo>
                      <a:lnTo>
                        <a:pt x="406207" y="470468"/>
                      </a:lnTo>
                      <a:lnTo>
                        <a:pt x="396901" y="468186"/>
                      </a:lnTo>
                      <a:lnTo>
                        <a:pt x="393730" y="468887"/>
                      </a:lnTo>
                      <a:lnTo>
                        <a:pt x="391774" y="467656"/>
                      </a:lnTo>
                      <a:lnTo>
                        <a:pt x="386770" y="467583"/>
                      </a:lnTo>
                      <a:lnTo>
                        <a:pt x="382793" y="465121"/>
                      </a:lnTo>
                      <a:lnTo>
                        <a:pt x="377121" y="466817"/>
                      </a:lnTo>
                      <a:lnTo>
                        <a:pt x="372630" y="467143"/>
                      </a:lnTo>
                      <a:lnTo>
                        <a:pt x="366469" y="462823"/>
                      </a:lnTo>
                      <a:lnTo>
                        <a:pt x="359852" y="461634"/>
                      </a:lnTo>
                      <a:lnTo>
                        <a:pt x="354473" y="462000"/>
                      </a:lnTo>
                      <a:lnTo>
                        <a:pt x="351710" y="461658"/>
                      </a:lnTo>
                      <a:lnTo>
                        <a:pt x="347228" y="460101"/>
                      </a:lnTo>
                      <a:lnTo>
                        <a:pt x="345101" y="458504"/>
                      </a:lnTo>
                      <a:lnTo>
                        <a:pt x="341621" y="459718"/>
                      </a:lnTo>
                      <a:lnTo>
                        <a:pt x="340039" y="457453"/>
                      </a:lnTo>
                      <a:lnTo>
                        <a:pt x="330179" y="455350"/>
                      </a:lnTo>
                      <a:lnTo>
                        <a:pt x="328345" y="451340"/>
                      </a:lnTo>
                      <a:lnTo>
                        <a:pt x="326967" y="447608"/>
                      </a:lnTo>
                      <a:lnTo>
                        <a:pt x="326861" y="443769"/>
                      </a:lnTo>
                      <a:lnTo>
                        <a:pt x="324449" y="437062"/>
                      </a:lnTo>
                      <a:lnTo>
                        <a:pt x="323642" y="427307"/>
                      </a:lnTo>
                      <a:lnTo>
                        <a:pt x="322762" y="423493"/>
                      </a:lnTo>
                      <a:lnTo>
                        <a:pt x="321434" y="420176"/>
                      </a:lnTo>
                      <a:lnTo>
                        <a:pt x="319649" y="417356"/>
                      </a:lnTo>
                      <a:lnTo>
                        <a:pt x="317220" y="414332"/>
                      </a:lnTo>
                      <a:lnTo>
                        <a:pt x="315118" y="413143"/>
                      </a:lnTo>
                      <a:lnTo>
                        <a:pt x="305901" y="410844"/>
                      </a:lnTo>
                      <a:lnTo>
                        <a:pt x="304107" y="411146"/>
                      </a:lnTo>
                      <a:lnTo>
                        <a:pt x="299976" y="412662"/>
                      </a:lnTo>
                      <a:lnTo>
                        <a:pt x="295599" y="416003"/>
                      </a:lnTo>
                      <a:lnTo>
                        <a:pt x="288387" y="417894"/>
                      </a:lnTo>
                      <a:lnTo>
                        <a:pt x="286928" y="419336"/>
                      </a:lnTo>
                      <a:lnTo>
                        <a:pt x="285102" y="422572"/>
                      </a:lnTo>
                      <a:lnTo>
                        <a:pt x="282764" y="424454"/>
                      </a:lnTo>
                      <a:lnTo>
                        <a:pt x="279536" y="423957"/>
                      </a:lnTo>
                      <a:lnTo>
                        <a:pt x="276081" y="425880"/>
                      </a:lnTo>
                      <a:lnTo>
                        <a:pt x="269667" y="431211"/>
                      </a:lnTo>
                      <a:lnTo>
                        <a:pt x="266277" y="432840"/>
                      </a:lnTo>
                      <a:lnTo>
                        <a:pt x="263432" y="432718"/>
                      </a:lnTo>
                      <a:lnTo>
                        <a:pt x="260384" y="430175"/>
                      </a:lnTo>
                      <a:lnTo>
                        <a:pt x="253563" y="426777"/>
                      </a:lnTo>
                      <a:lnTo>
                        <a:pt x="249162" y="425644"/>
                      </a:lnTo>
                      <a:lnTo>
                        <a:pt x="243042" y="426427"/>
                      </a:lnTo>
                      <a:lnTo>
                        <a:pt x="240140" y="425864"/>
                      </a:lnTo>
                      <a:lnTo>
                        <a:pt x="235218" y="421871"/>
                      </a:lnTo>
                      <a:lnTo>
                        <a:pt x="233930" y="418978"/>
                      </a:lnTo>
                      <a:lnTo>
                        <a:pt x="231110" y="417038"/>
                      </a:lnTo>
                      <a:lnTo>
                        <a:pt x="222203" y="412686"/>
                      </a:lnTo>
                      <a:lnTo>
                        <a:pt x="214982" y="406932"/>
                      </a:lnTo>
                      <a:lnTo>
                        <a:pt x="213653" y="404757"/>
                      </a:lnTo>
                      <a:lnTo>
                        <a:pt x="212781" y="401537"/>
                      </a:lnTo>
                      <a:lnTo>
                        <a:pt x="209636" y="397634"/>
                      </a:lnTo>
                      <a:lnTo>
                        <a:pt x="202594" y="394431"/>
                      </a:lnTo>
                      <a:lnTo>
                        <a:pt x="198601" y="391032"/>
                      </a:lnTo>
                      <a:lnTo>
                        <a:pt x="193923" y="390274"/>
                      </a:lnTo>
                      <a:lnTo>
                        <a:pt x="189563" y="390380"/>
                      </a:lnTo>
                      <a:lnTo>
                        <a:pt x="187648" y="389769"/>
                      </a:lnTo>
                      <a:lnTo>
                        <a:pt x="185895" y="388310"/>
                      </a:lnTo>
                      <a:lnTo>
                        <a:pt x="179954" y="381277"/>
                      </a:lnTo>
                      <a:lnTo>
                        <a:pt x="179889" y="378490"/>
                      </a:lnTo>
                      <a:lnTo>
                        <a:pt x="176230" y="371595"/>
                      </a:lnTo>
                      <a:lnTo>
                        <a:pt x="175374" y="369150"/>
                      </a:lnTo>
                      <a:lnTo>
                        <a:pt x="174584" y="362329"/>
                      </a:lnTo>
                      <a:lnTo>
                        <a:pt x="173565" y="360536"/>
                      </a:lnTo>
                      <a:lnTo>
                        <a:pt x="169743" y="357724"/>
                      </a:lnTo>
                      <a:lnTo>
                        <a:pt x="169148" y="355883"/>
                      </a:lnTo>
                      <a:lnTo>
                        <a:pt x="169963" y="353438"/>
                      </a:lnTo>
                      <a:lnTo>
                        <a:pt x="169963" y="351571"/>
                      </a:lnTo>
                      <a:lnTo>
                        <a:pt x="167982" y="349827"/>
                      </a:lnTo>
                      <a:lnTo>
                        <a:pt x="165000" y="348898"/>
                      </a:lnTo>
                      <a:lnTo>
                        <a:pt x="164266" y="346804"/>
                      </a:lnTo>
                      <a:lnTo>
                        <a:pt x="164812" y="342721"/>
                      </a:lnTo>
                      <a:lnTo>
                        <a:pt x="164356" y="340162"/>
                      </a:lnTo>
                      <a:lnTo>
                        <a:pt x="161723" y="336062"/>
                      </a:lnTo>
                      <a:lnTo>
                        <a:pt x="157836" y="331865"/>
                      </a:lnTo>
                      <a:lnTo>
                        <a:pt x="153941" y="325655"/>
                      </a:lnTo>
                      <a:lnTo>
                        <a:pt x="152424" y="324107"/>
                      </a:lnTo>
                      <a:lnTo>
                        <a:pt x="151430" y="320032"/>
                      </a:lnTo>
                      <a:lnTo>
                        <a:pt x="150004" y="315199"/>
                      </a:lnTo>
                      <a:lnTo>
                        <a:pt x="147804" y="314849"/>
                      </a:lnTo>
                      <a:lnTo>
                        <a:pt x="137185" y="320643"/>
                      </a:lnTo>
                      <a:lnTo>
                        <a:pt x="134080" y="317383"/>
                      </a:lnTo>
                      <a:lnTo>
                        <a:pt x="124772" y="311711"/>
                      </a:lnTo>
                      <a:lnTo>
                        <a:pt x="124121" y="310863"/>
                      </a:lnTo>
                      <a:lnTo>
                        <a:pt x="123477" y="309560"/>
                      </a:lnTo>
                      <a:lnTo>
                        <a:pt x="124642" y="308810"/>
                      </a:lnTo>
                      <a:lnTo>
                        <a:pt x="125808" y="308500"/>
                      </a:lnTo>
                      <a:lnTo>
                        <a:pt x="128146" y="309511"/>
                      </a:lnTo>
                      <a:lnTo>
                        <a:pt x="129557" y="308321"/>
                      </a:lnTo>
                      <a:lnTo>
                        <a:pt x="128994" y="306397"/>
                      </a:lnTo>
                      <a:lnTo>
                        <a:pt x="126663" y="305208"/>
                      </a:lnTo>
                      <a:lnTo>
                        <a:pt x="123485" y="305297"/>
                      </a:lnTo>
                      <a:lnTo>
                        <a:pt x="124341" y="307098"/>
                      </a:lnTo>
                      <a:lnTo>
                        <a:pt x="121358" y="308810"/>
                      </a:lnTo>
                      <a:lnTo>
                        <a:pt x="120730" y="311043"/>
                      </a:lnTo>
                      <a:lnTo>
                        <a:pt x="121171" y="313814"/>
                      </a:lnTo>
                      <a:lnTo>
                        <a:pt x="121415" y="317693"/>
                      </a:lnTo>
                      <a:lnTo>
                        <a:pt x="120209" y="319567"/>
                      </a:lnTo>
                      <a:lnTo>
                        <a:pt x="119271" y="320423"/>
                      </a:lnTo>
                      <a:lnTo>
                        <a:pt x="115270" y="320651"/>
                      </a:lnTo>
                      <a:lnTo>
                        <a:pt x="113404" y="322363"/>
                      </a:lnTo>
                      <a:lnTo>
                        <a:pt x="112190" y="322770"/>
                      </a:lnTo>
                      <a:lnTo>
                        <a:pt x="110502" y="321434"/>
                      </a:lnTo>
                      <a:lnTo>
                        <a:pt x="109411" y="320350"/>
                      </a:lnTo>
                      <a:lnTo>
                        <a:pt x="108522" y="318043"/>
                      </a:lnTo>
                      <a:lnTo>
                        <a:pt x="108245" y="316430"/>
                      </a:lnTo>
                      <a:lnTo>
                        <a:pt x="108595" y="315517"/>
                      </a:lnTo>
                      <a:lnTo>
                        <a:pt x="108115" y="314172"/>
                      </a:lnTo>
                      <a:lnTo>
                        <a:pt x="106843" y="312396"/>
                      </a:lnTo>
                      <a:lnTo>
                        <a:pt x="105556" y="311418"/>
                      </a:lnTo>
                      <a:lnTo>
                        <a:pt x="104243" y="311247"/>
                      </a:lnTo>
                      <a:lnTo>
                        <a:pt x="103152" y="310163"/>
                      </a:lnTo>
                      <a:lnTo>
                        <a:pt x="102295" y="308174"/>
                      </a:lnTo>
                      <a:lnTo>
                        <a:pt x="100282" y="306862"/>
                      </a:lnTo>
                      <a:lnTo>
                        <a:pt x="99019" y="306609"/>
                      </a:lnTo>
                      <a:lnTo>
                        <a:pt x="98979" y="300472"/>
                      </a:lnTo>
                      <a:lnTo>
                        <a:pt x="98938" y="295086"/>
                      </a:lnTo>
                      <a:lnTo>
                        <a:pt x="98897" y="289731"/>
                      </a:lnTo>
                      <a:lnTo>
                        <a:pt x="94570" y="289519"/>
                      </a:lnTo>
                      <a:lnTo>
                        <a:pt x="90691" y="289332"/>
                      </a:lnTo>
                      <a:lnTo>
                        <a:pt x="90691" y="284849"/>
                      </a:lnTo>
                      <a:lnTo>
                        <a:pt x="90691" y="276488"/>
                      </a:lnTo>
                      <a:lnTo>
                        <a:pt x="92541" y="270001"/>
                      </a:lnTo>
                      <a:lnTo>
                        <a:pt x="94415" y="263750"/>
                      </a:lnTo>
                      <a:lnTo>
                        <a:pt x="91554" y="259153"/>
                      </a:lnTo>
                      <a:lnTo>
                        <a:pt x="88498" y="254239"/>
                      </a:lnTo>
                      <a:lnTo>
                        <a:pt x="86526" y="252202"/>
                      </a:lnTo>
                      <a:lnTo>
                        <a:pt x="84203" y="246057"/>
                      </a:lnTo>
                      <a:lnTo>
                        <a:pt x="83038" y="243343"/>
                      </a:lnTo>
                      <a:lnTo>
                        <a:pt x="82003" y="242316"/>
                      </a:lnTo>
                      <a:lnTo>
                        <a:pt x="80902" y="241713"/>
                      </a:lnTo>
                      <a:lnTo>
                        <a:pt x="76844" y="241957"/>
                      </a:lnTo>
                      <a:lnTo>
                        <a:pt x="73046" y="238649"/>
                      </a:lnTo>
                      <a:lnTo>
                        <a:pt x="68596" y="234761"/>
                      </a:lnTo>
                      <a:lnTo>
                        <a:pt x="63152" y="230010"/>
                      </a:lnTo>
                      <a:lnTo>
                        <a:pt x="58377" y="226905"/>
                      </a:lnTo>
                      <a:lnTo>
                        <a:pt x="56421" y="226228"/>
                      </a:lnTo>
                      <a:lnTo>
                        <a:pt x="51824" y="225992"/>
                      </a:lnTo>
                      <a:lnTo>
                        <a:pt x="51335" y="225397"/>
                      </a:lnTo>
                      <a:lnTo>
                        <a:pt x="51017" y="223694"/>
                      </a:lnTo>
                      <a:lnTo>
                        <a:pt x="51026" y="221795"/>
                      </a:lnTo>
                      <a:lnTo>
                        <a:pt x="52534" y="218934"/>
                      </a:lnTo>
                      <a:lnTo>
                        <a:pt x="52655" y="217125"/>
                      </a:lnTo>
                      <a:lnTo>
                        <a:pt x="49526" y="211054"/>
                      </a:lnTo>
                      <a:lnTo>
                        <a:pt x="48565" y="209277"/>
                      </a:lnTo>
                      <a:lnTo>
                        <a:pt x="45883" y="208568"/>
                      </a:lnTo>
                      <a:lnTo>
                        <a:pt x="46421" y="206816"/>
                      </a:lnTo>
                      <a:lnTo>
                        <a:pt x="46421" y="205642"/>
                      </a:lnTo>
                      <a:lnTo>
                        <a:pt x="46038" y="204721"/>
                      </a:lnTo>
                      <a:lnTo>
                        <a:pt x="45427" y="204281"/>
                      </a:lnTo>
                      <a:lnTo>
                        <a:pt x="44628" y="204232"/>
                      </a:lnTo>
                      <a:lnTo>
                        <a:pt x="42533" y="204949"/>
                      </a:lnTo>
                      <a:lnTo>
                        <a:pt x="40936" y="202211"/>
                      </a:lnTo>
                      <a:lnTo>
                        <a:pt x="35965" y="194404"/>
                      </a:lnTo>
                      <a:lnTo>
                        <a:pt x="34368" y="193458"/>
                      </a:lnTo>
                      <a:lnTo>
                        <a:pt x="34082" y="192920"/>
                      </a:lnTo>
                      <a:lnTo>
                        <a:pt x="35288" y="190533"/>
                      </a:lnTo>
                      <a:lnTo>
                        <a:pt x="37334" y="186971"/>
                      </a:lnTo>
                      <a:lnTo>
                        <a:pt x="37693" y="184909"/>
                      </a:lnTo>
                      <a:lnTo>
                        <a:pt x="37302" y="182644"/>
                      </a:lnTo>
                      <a:lnTo>
                        <a:pt x="35085" y="178365"/>
                      </a:lnTo>
                      <a:lnTo>
                        <a:pt x="35623" y="176556"/>
                      </a:lnTo>
                      <a:lnTo>
                        <a:pt x="36568" y="174470"/>
                      </a:lnTo>
                      <a:lnTo>
                        <a:pt x="36649" y="172897"/>
                      </a:lnTo>
                      <a:lnTo>
                        <a:pt x="38149" y="173133"/>
                      </a:lnTo>
                      <a:lnTo>
                        <a:pt x="40040" y="173157"/>
                      </a:lnTo>
                      <a:lnTo>
                        <a:pt x="40635" y="171878"/>
                      </a:lnTo>
                      <a:lnTo>
                        <a:pt x="40594" y="167412"/>
                      </a:lnTo>
                      <a:lnTo>
                        <a:pt x="41042" y="165774"/>
                      </a:lnTo>
                      <a:lnTo>
                        <a:pt x="47073" y="158203"/>
                      </a:lnTo>
                      <a:lnTo>
                        <a:pt x="50064" y="156507"/>
                      </a:lnTo>
                      <a:lnTo>
                        <a:pt x="52346" y="154943"/>
                      </a:lnTo>
                      <a:lnTo>
                        <a:pt x="52859" y="152669"/>
                      </a:lnTo>
                      <a:lnTo>
                        <a:pt x="52378" y="151495"/>
                      </a:lnTo>
                      <a:lnTo>
                        <a:pt x="51939" y="149776"/>
                      </a:lnTo>
                      <a:lnTo>
                        <a:pt x="51792" y="148545"/>
                      </a:lnTo>
                      <a:lnTo>
                        <a:pt x="49265" y="145139"/>
                      </a:lnTo>
                      <a:lnTo>
                        <a:pt x="48394" y="143427"/>
                      </a:lnTo>
                      <a:lnTo>
                        <a:pt x="48288" y="141871"/>
                      </a:lnTo>
                      <a:lnTo>
                        <a:pt x="48882" y="139100"/>
                      </a:lnTo>
                      <a:lnTo>
                        <a:pt x="49934" y="136956"/>
                      </a:lnTo>
                      <a:lnTo>
                        <a:pt x="53495" y="135693"/>
                      </a:lnTo>
                      <a:lnTo>
                        <a:pt x="55516" y="134609"/>
                      </a:lnTo>
                      <a:lnTo>
                        <a:pt x="55793" y="133639"/>
                      </a:lnTo>
                      <a:lnTo>
                        <a:pt x="53169" y="132075"/>
                      </a:lnTo>
                      <a:lnTo>
                        <a:pt x="47562" y="131586"/>
                      </a:lnTo>
                      <a:lnTo>
                        <a:pt x="43471" y="132034"/>
                      </a:lnTo>
                      <a:lnTo>
                        <a:pt x="42159" y="131537"/>
                      </a:lnTo>
                      <a:lnTo>
                        <a:pt x="40211" y="128505"/>
                      </a:lnTo>
                      <a:lnTo>
                        <a:pt x="38149" y="126891"/>
                      </a:lnTo>
                      <a:lnTo>
                        <a:pt x="36218" y="125856"/>
                      </a:lnTo>
                      <a:lnTo>
                        <a:pt x="34343" y="126052"/>
                      </a:lnTo>
                      <a:lnTo>
                        <a:pt x="33186" y="125636"/>
                      </a:lnTo>
                      <a:lnTo>
                        <a:pt x="32917" y="124332"/>
                      </a:lnTo>
                      <a:lnTo>
                        <a:pt x="30203" y="114349"/>
                      </a:lnTo>
                      <a:lnTo>
                        <a:pt x="29347" y="112980"/>
                      </a:lnTo>
                      <a:lnTo>
                        <a:pt x="28076" y="112637"/>
                      </a:lnTo>
                      <a:lnTo>
                        <a:pt x="27016" y="112580"/>
                      </a:lnTo>
                      <a:lnTo>
                        <a:pt x="26300" y="111896"/>
                      </a:lnTo>
                      <a:lnTo>
                        <a:pt x="25542" y="110510"/>
                      </a:lnTo>
                      <a:lnTo>
                        <a:pt x="24987" y="108709"/>
                      </a:lnTo>
                      <a:lnTo>
                        <a:pt x="24955" y="106330"/>
                      </a:lnTo>
                      <a:lnTo>
                        <a:pt x="25069" y="104292"/>
                      </a:lnTo>
                      <a:lnTo>
                        <a:pt x="24702" y="102980"/>
                      </a:lnTo>
                      <a:lnTo>
                        <a:pt x="23773" y="101668"/>
                      </a:lnTo>
                      <a:lnTo>
                        <a:pt x="22437" y="100731"/>
                      </a:lnTo>
                      <a:lnTo>
                        <a:pt x="21271" y="99622"/>
                      </a:lnTo>
                      <a:lnTo>
                        <a:pt x="19234" y="90821"/>
                      </a:lnTo>
                      <a:lnTo>
                        <a:pt x="18402" y="88449"/>
                      </a:lnTo>
                      <a:lnTo>
                        <a:pt x="18394" y="88205"/>
                      </a:lnTo>
                      <a:lnTo>
                        <a:pt x="18435" y="87740"/>
                      </a:lnTo>
                      <a:lnTo>
                        <a:pt x="18231" y="85711"/>
                      </a:lnTo>
                      <a:lnTo>
                        <a:pt x="19185" y="83959"/>
                      </a:lnTo>
                      <a:lnTo>
                        <a:pt x="19119" y="83274"/>
                      </a:lnTo>
                      <a:lnTo>
                        <a:pt x="17163" y="81049"/>
                      </a:lnTo>
                      <a:lnTo>
                        <a:pt x="14401" y="78832"/>
                      </a:lnTo>
                      <a:lnTo>
                        <a:pt x="13659" y="78441"/>
                      </a:lnTo>
                      <a:lnTo>
                        <a:pt x="13635" y="76062"/>
                      </a:lnTo>
                      <a:lnTo>
                        <a:pt x="13732" y="74260"/>
                      </a:lnTo>
                      <a:lnTo>
                        <a:pt x="13488" y="72647"/>
                      </a:lnTo>
                      <a:lnTo>
                        <a:pt x="12975" y="71726"/>
                      </a:lnTo>
                      <a:lnTo>
                        <a:pt x="12950" y="71001"/>
                      </a:lnTo>
                      <a:lnTo>
                        <a:pt x="14059" y="69248"/>
                      </a:lnTo>
                      <a:lnTo>
                        <a:pt x="13349" y="68107"/>
                      </a:lnTo>
                      <a:lnTo>
                        <a:pt x="9291" y="65279"/>
                      </a:lnTo>
                      <a:lnTo>
                        <a:pt x="7759" y="63853"/>
                      </a:lnTo>
                      <a:lnTo>
                        <a:pt x="4955" y="63576"/>
                      </a:lnTo>
                      <a:lnTo>
                        <a:pt x="4662" y="62647"/>
                      </a:lnTo>
                      <a:lnTo>
                        <a:pt x="5102" y="60667"/>
                      </a:lnTo>
                      <a:lnTo>
                        <a:pt x="6072" y="58262"/>
                      </a:lnTo>
                      <a:lnTo>
                        <a:pt x="7596" y="55907"/>
                      </a:lnTo>
                      <a:lnTo>
                        <a:pt x="8085" y="54660"/>
                      </a:lnTo>
                      <a:lnTo>
                        <a:pt x="8679" y="52541"/>
                      </a:lnTo>
                      <a:lnTo>
                        <a:pt x="8875" y="51034"/>
                      </a:lnTo>
                      <a:lnTo>
                        <a:pt x="10579" y="48915"/>
                      </a:lnTo>
                      <a:lnTo>
                        <a:pt x="10579" y="48361"/>
                      </a:lnTo>
                      <a:lnTo>
                        <a:pt x="10106" y="47603"/>
                      </a:lnTo>
                      <a:lnTo>
                        <a:pt x="8745" y="47171"/>
                      </a:lnTo>
                      <a:lnTo>
                        <a:pt x="7351" y="46999"/>
                      </a:lnTo>
                      <a:lnTo>
                        <a:pt x="6830" y="46608"/>
                      </a:lnTo>
                      <a:lnTo>
                        <a:pt x="6642" y="45467"/>
                      </a:lnTo>
                      <a:lnTo>
                        <a:pt x="6813" y="40847"/>
                      </a:lnTo>
                      <a:lnTo>
                        <a:pt x="6373" y="38059"/>
                      </a:lnTo>
                      <a:lnTo>
                        <a:pt x="5803" y="36038"/>
                      </a:lnTo>
                      <a:lnTo>
                        <a:pt x="6170" y="31482"/>
                      </a:lnTo>
                      <a:lnTo>
                        <a:pt x="5200" y="30570"/>
                      </a:lnTo>
                      <a:lnTo>
                        <a:pt x="3667" y="28174"/>
                      </a:lnTo>
                      <a:lnTo>
                        <a:pt x="3015" y="26152"/>
                      </a:lnTo>
                      <a:lnTo>
                        <a:pt x="3374" y="25403"/>
                      </a:lnTo>
                      <a:lnTo>
                        <a:pt x="3700" y="24066"/>
                      </a:lnTo>
                      <a:lnTo>
                        <a:pt x="3912" y="22322"/>
                      </a:lnTo>
                      <a:lnTo>
                        <a:pt x="3847" y="21075"/>
                      </a:lnTo>
                      <a:lnTo>
                        <a:pt x="2437" y="19877"/>
                      </a:lnTo>
                      <a:lnTo>
                        <a:pt x="1386" y="18598"/>
                      </a:lnTo>
                      <a:lnTo>
                        <a:pt x="1271" y="17196"/>
                      </a:lnTo>
                      <a:lnTo>
                        <a:pt x="848" y="15476"/>
                      </a:lnTo>
                      <a:lnTo>
                        <a:pt x="269" y="14115"/>
                      </a:lnTo>
                      <a:lnTo>
                        <a:pt x="0" y="13227"/>
                      </a:lnTo>
                      <a:lnTo>
                        <a:pt x="514" y="12705"/>
                      </a:lnTo>
                      <a:lnTo>
                        <a:pt x="2494" y="12298"/>
                      </a:lnTo>
                      <a:lnTo>
                        <a:pt x="5387" y="12583"/>
                      </a:lnTo>
                      <a:lnTo>
                        <a:pt x="7734" y="12608"/>
                      </a:lnTo>
                      <a:lnTo>
                        <a:pt x="9071" y="11727"/>
                      </a:lnTo>
                      <a:lnTo>
                        <a:pt x="10725" y="3455"/>
                      </a:lnTo>
                      <a:lnTo>
                        <a:pt x="12225" y="1271"/>
                      </a:lnTo>
                      <a:lnTo>
                        <a:pt x="13985" y="0"/>
                      </a:lnTo>
                      <a:lnTo>
                        <a:pt x="17400" y="2942"/>
                      </a:lnTo>
                      <a:lnTo>
                        <a:pt x="18818" y="3977"/>
                      </a:lnTo>
                      <a:lnTo>
                        <a:pt x="19682" y="3993"/>
                      </a:lnTo>
                      <a:lnTo>
                        <a:pt x="20203" y="4719"/>
                      </a:lnTo>
                      <a:lnTo>
                        <a:pt x="24262" y="11630"/>
                      </a:lnTo>
                      <a:close/>
                    </a:path>
                  </a:pathLst>
                </a:custGeom>
                <a:solidFill>
                  <a:srgbClr val="D6D6D2"/>
                </a:solidFill>
                <a:ln w="6112" cap="rnd">
                  <a:solidFill>
                    <a:srgbClr val="FFFFFF"/>
                  </a:solidFill>
                  <a:prstDash val="solid"/>
                  <a:round/>
                </a:ln>
              </p:spPr>
              <p:txBody>
                <a:bodyPr rtlCol="0" anchor="ctr"/>
                <a:lstStyle/>
                <a:p>
                  <a:endParaRPr lang="en-US"/>
                </a:p>
              </p:txBody>
            </p:sp>
            <p:sp>
              <p:nvSpPr>
                <p:cNvPr id="711" name="Freeform: Shape 710">
                  <a:extLst>
                    <a:ext uri="{FF2B5EF4-FFF2-40B4-BE49-F238E27FC236}">
                      <a16:creationId xmlns:a16="http://schemas.microsoft.com/office/drawing/2014/main" id="{CFED265F-7E44-4F5B-A7DB-42132F95AF98}"/>
                    </a:ext>
                  </a:extLst>
                </p:cNvPr>
                <p:cNvSpPr/>
                <p:nvPr/>
              </p:nvSpPr>
              <p:spPr>
                <a:xfrm>
                  <a:off x="5685905" y="2724620"/>
                  <a:ext cx="108228" cy="146051"/>
                </a:xfrm>
                <a:custGeom>
                  <a:avLst/>
                  <a:gdLst>
                    <a:gd name="connsiteX0" fmla="*/ 74154 w 108228"/>
                    <a:gd name="connsiteY0" fmla="*/ 13814 h 146051"/>
                    <a:gd name="connsiteX1" fmla="*/ 73046 w 108228"/>
                    <a:gd name="connsiteY1" fmla="*/ 17546 h 146051"/>
                    <a:gd name="connsiteX2" fmla="*/ 72916 w 108228"/>
                    <a:gd name="connsiteY2" fmla="*/ 18606 h 146051"/>
                    <a:gd name="connsiteX3" fmla="*/ 71652 w 108228"/>
                    <a:gd name="connsiteY3" fmla="*/ 20570 h 146051"/>
                    <a:gd name="connsiteX4" fmla="*/ 70463 w 108228"/>
                    <a:gd name="connsiteY4" fmla="*/ 22754 h 146051"/>
                    <a:gd name="connsiteX5" fmla="*/ 69069 w 108228"/>
                    <a:gd name="connsiteY5" fmla="*/ 23602 h 146051"/>
                    <a:gd name="connsiteX6" fmla="*/ 66999 w 108228"/>
                    <a:gd name="connsiteY6" fmla="*/ 24270 h 146051"/>
                    <a:gd name="connsiteX7" fmla="*/ 65826 w 108228"/>
                    <a:gd name="connsiteY7" fmla="*/ 24938 h 146051"/>
                    <a:gd name="connsiteX8" fmla="*/ 64342 w 108228"/>
                    <a:gd name="connsiteY8" fmla="*/ 24604 h 146051"/>
                    <a:gd name="connsiteX9" fmla="*/ 62468 w 108228"/>
                    <a:gd name="connsiteY9" fmla="*/ 24661 h 146051"/>
                    <a:gd name="connsiteX10" fmla="*/ 61530 w 108228"/>
                    <a:gd name="connsiteY10" fmla="*/ 25403 h 146051"/>
                    <a:gd name="connsiteX11" fmla="*/ 61580 w 108228"/>
                    <a:gd name="connsiteY11" fmla="*/ 25973 h 146051"/>
                    <a:gd name="connsiteX12" fmla="*/ 62142 w 108228"/>
                    <a:gd name="connsiteY12" fmla="*/ 26625 h 146051"/>
                    <a:gd name="connsiteX13" fmla="*/ 63780 w 108228"/>
                    <a:gd name="connsiteY13" fmla="*/ 27628 h 146051"/>
                    <a:gd name="connsiteX14" fmla="*/ 65605 w 108228"/>
                    <a:gd name="connsiteY14" fmla="*/ 28532 h 146051"/>
                    <a:gd name="connsiteX15" fmla="*/ 65410 w 108228"/>
                    <a:gd name="connsiteY15" fmla="*/ 29331 h 146051"/>
                    <a:gd name="connsiteX16" fmla="*/ 64432 w 108228"/>
                    <a:gd name="connsiteY16" fmla="*/ 30227 h 146051"/>
                    <a:gd name="connsiteX17" fmla="*/ 58222 w 108228"/>
                    <a:gd name="connsiteY17" fmla="*/ 32460 h 146051"/>
                    <a:gd name="connsiteX18" fmla="*/ 56364 w 108228"/>
                    <a:gd name="connsiteY18" fmla="*/ 33805 h 146051"/>
                    <a:gd name="connsiteX19" fmla="*/ 55720 w 108228"/>
                    <a:gd name="connsiteY19" fmla="*/ 34693 h 146051"/>
                    <a:gd name="connsiteX20" fmla="*/ 56380 w 108228"/>
                    <a:gd name="connsiteY20" fmla="*/ 36177 h 146051"/>
                    <a:gd name="connsiteX21" fmla="*/ 61335 w 108228"/>
                    <a:gd name="connsiteY21" fmla="*/ 40626 h 146051"/>
                    <a:gd name="connsiteX22" fmla="*/ 62183 w 108228"/>
                    <a:gd name="connsiteY22" fmla="*/ 41115 h 146051"/>
                    <a:gd name="connsiteX23" fmla="*/ 62916 w 108228"/>
                    <a:gd name="connsiteY23" fmla="*/ 43707 h 146051"/>
                    <a:gd name="connsiteX24" fmla="*/ 67284 w 108228"/>
                    <a:gd name="connsiteY24" fmla="*/ 44783 h 146051"/>
                    <a:gd name="connsiteX25" fmla="*/ 69077 w 108228"/>
                    <a:gd name="connsiteY25" fmla="*/ 46405 h 146051"/>
                    <a:gd name="connsiteX26" fmla="*/ 70617 w 108228"/>
                    <a:gd name="connsiteY26" fmla="*/ 46788 h 146051"/>
                    <a:gd name="connsiteX27" fmla="*/ 73967 w 108228"/>
                    <a:gd name="connsiteY27" fmla="*/ 46649 h 146051"/>
                    <a:gd name="connsiteX28" fmla="*/ 75312 w 108228"/>
                    <a:gd name="connsiteY28" fmla="*/ 47252 h 146051"/>
                    <a:gd name="connsiteX29" fmla="*/ 76078 w 108228"/>
                    <a:gd name="connsiteY29" fmla="*/ 46788 h 146051"/>
                    <a:gd name="connsiteX30" fmla="*/ 76518 w 108228"/>
                    <a:gd name="connsiteY30" fmla="*/ 45940 h 146051"/>
                    <a:gd name="connsiteX31" fmla="*/ 79338 w 108228"/>
                    <a:gd name="connsiteY31" fmla="*/ 43740 h 146051"/>
                    <a:gd name="connsiteX32" fmla="*/ 80267 w 108228"/>
                    <a:gd name="connsiteY32" fmla="*/ 42778 h 146051"/>
                    <a:gd name="connsiteX33" fmla="*/ 79713 w 108228"/>
                    <a:gd name="connsiteY33" fmla="*/ 41441 h 146051"/>
                    <a:gd name="connsiteX34" fmla="*/ 79101 w 108228"/>
                    <a:gd name="connsiteY34" fmla="*/ 40423 h 146051"/>
                    <a:gd name="connsiteX35" fmla="*/ 80813 w 108228"/>
                    <a:gd name="connsiteY35" fmla="*/ 38393 h 146051"/>
                    <a:gd name="connsiteX36" fmla="*/ 82891 w 108228"/>
                    <a:gd name="connsiteY36" fmla="*/ 36397 h 146051"/>
                    <a:gd name="connsiteX37" fmla="*/ 83934 w 108228"/>
                    <a:gd name="connsiteY37" fmla="*/ 36454 h 146051"/>
                    <a:gd name="connsiteX38" fmla="*/ 85703 w 108228"/>
                    <a:gd name="connsiteY38" fmla="*/ 37676 h 146051"/>
                    <a:gd name="connsiteX39" fmla="*/ 87169 w 108228"/>
                    <a:gd name="connsiteY39" fmla="*/ 39388 h 146051"/>
                    <a:gd name="connsiteX40" fmla="*/ 87365 w 108228"/>
                    <a:gd name="connsiteY40" fmla="*/ 40716 h 146051"/>
                    <a:gd name="connsiteX41" fmla="*/ 87634 w 108228"/>
                    <a:gd name="connsiteY41" fmla="*/ 41678 h 146051"/>
                    <a:gd name="connsiteX42" fmla="*/ 89011 w 108228"/>
                    <a:gd name="connsiteY42" fmla="*/ 43723 h 146051"/>
                    <a:gd name="connsiteX43" fmla="*/ 89900 w 108228"/>
                    <a:gd name="connsiteY43" fmla="*/ 44432 h 146051"/>
                    <a:gd name="connsiteX44" fmla="*/ 92304 w 108228"/>
                    <a:gd name="connsiteY44" fmla="*/ 44848 h 146051"/>
                    <a:gd name="connsiteX45" fmla="*/ 92866 w 108228"/>
                    <a:gd name="connsiteY45" fmla="*/ 45655 h 146051"/>
                    <a:gd name="connsiteX46" fmla="*/ 92434 w 108228"/>
                    <a:gd name="connsiteY46" fmla="*/ 48621 h 146051"/>
                    <a:gd name="connsiteX47" fmla="*/ 92785 w 108228"/>
                    <a:gd name="connsiteY47" fmla="*/ 49616 h 146051"/>
                    <a:gd name="connsiteX48" fmla="*/ 95311 w 108228"/>
                    <a:gd name="connsiteY48" fmla="*/ 49664 h 146051"/>
                    <a:gd name="connsiteX49" fmla="*/ 97992 w 108228"/>
                    <a:gd name="connsiteY49" fmla="*/ 49428 h 146051"/>
                    <a:gd name="connsiteX50" fmla="*/ 98921 w 108228"/>
                    <a:gd name="connsiteY50" fmla="*/ 49542 h 146051"/>
                    <a:gd name="connsiteX51" fmla="*/ 99883 w 108228"/>
                    <a:gd name="connsiteY51" fmla="*/ 48923 h 146051"/>
                    <a:gd name="connsiteX52" fmla="*/ 101375 w 108228"/>
                    <a:gd name="connsiteY52" fmla="*/ 48254 h 146051"/>
                    <a:gd name="connsiteX53" fmla="*/ 103502 w 108228"/>
                    <a:gd name="connsiteY53" fmla="*/ 48483 h 146051"/>
                    <a:gd name="connsiteX54" fmla="*/ 104545 w 108228"/>
                    <a:gd name="connsiteY54" fmla="*/ 49819 h 146051"/>
                    <a:gd name="connsiteX55" fmla="*/ 105017 w 108228"/>
                    <a:gd name="connsiteY55" fmla="*/ 51180 h 146051"/>
                    <a:gd name="connsiteX56" fmla="*/ 103184 w 108228"/>
                    <a:gd name="connsiteY56" fmla="*/ 51694 h 146051"/>
                    <a:gd name="connsiteX57" fmla="*/ 101277 w 108228"/>
                    <a:gd name="connsiteY57" fmla="*/ 51417 h 146051"/>
                    <a:gd name="connsiteX58" fmla="*/ 100340 w 108228"/>
                    <a:gd name="connsiteY58" fmla="*/ 52313 h 146051"/>
                    <a:gd name="connsiteX59" fmla="*/ 100282 w 108228"/>
                    <a:gd name="connsiteY59" fmla="*/ 54041 h 146051"/>
                    <a:gd name="connsiteX60" fmla="*/ 100927 w 108228"/>
                    <a:gd name="connsiteY60" fmla="*/ 56266 h 146051"/>
                    <a:gd name="connsiteX61" fmla="*/ 102206 w 108228"/>
                    <a:gd name="connsiteY61" fmla="*/ 57847 h 146051"/>
                    <a:gd name="connsiteX62" fmla="*/ 103225 w 108228"/>
                    <a:gd name="connsiteY62" fmla="*/ 61400 h 146051"/>
                    <a:gd name="connsiteX63" fmla="*/ 104072 w 108228"/>
                    <a:gd name="connsiteY63" fmla="*/ 65336 h 146051"/>
                    <a:gd name="connsiteX64" fmla="*/ 105384 w 108228"/>
                    <a:gd name="connsiteY64" fmla="*/ 67716 h 146051"/>
                    <a:gd name="connsiteX65" fmla="*/ 105662 w 108228"/>
                    <a:gd name="connsiteY65" fmla="*/ 70674 h 146051"/>
                    <a:gd name="connsiteX66" fmla="*/ 105466 w 108228"/>
                    <a:gd name="connsiteY66" fmla="*/ 72125 h 146051"/>
                    <a:gd name="connsiteX67" fmla="*/ 105710 w 108228"/>
                    <a:gd name="connsiteY67" fmla="*/ 74733 h 146051"/>
                    <a:gd name="connsiteX68" fmla="*/ 105148 w 108228"/>
                    <a:gd name="connsiteY68" fmla="*/ 75654 h 146051"/>
                    <a:gd name="connsiteX69" fmla="*/ 105571 w 108228"/>
                    <a:gd name="connsiteY69" fmla="*/ 78091 h 146051"/>
                    <a:gd name="connsiteX70" fmla="*/ 107112 w 108228"/>
                    <a:gd name="connsiteY70" fmla="*/ 83144 h 146051"/>
                    <a:gd name="connsiteX71" fmla="*/ 107788 w 108228"/>
                    <a:gd name="connsiteY71" fmla="*/ 85963 h 146051"/>
                    <a:gd name="connsiteX72" fmla="*/ 108229 w 108228"/>
                    <a:gd name="connsiteY72" fmla="*/ 92092 h 146051"/>
                    <a:gd name="connsiteX73" fmla="*/ 107136 w 108228"/>
                    <a:gd name="connsiteY73" fmla="*/ 94390 h 146051"/>
                    <a:gd name="connsiteX74" fmla="*/ 105669 w 108228"/>
                    <a:gd name="connsiteY74" fmla="*/ 96566 h 146051"/>
                    <a:gd name="connsiteX75" fmla="*/ 104699 w 108228"/>
                    <a:gd name="connsiteY75" fmla="*/ 99150 h 146051"/>
                    <a:gd name="connsiteX76" fmla="*/ 103966 w 108228"/>
                    <a:gd name="connsiteY76" fmla="*/ 101929 h 146051"/>
                    <a:gd name="connsiteX77" fmla="*/ 103518 w 108228"/>
                    <a:gd name="connsiteY77" fmla="*/ 106419 h 146051"/>
                    <a:gd name="connsiteX78" fmla="*/ 100340 w 108228"/>
                    <a:gd name="connsiteY78" fmla="*/ 111668 h 146051"/>
                    <a:gd name="connsiteX79" fmla="*/ 98979 w 108228"/>
                    <a:gd name="connsiteY79" fmla="*/ 112980 h 146051"/>
                    <a:gd name="connsiteX80" fmla="*/ 97414 w 108228"/>
                    <a:gd name="connsiteY80" fmla="*/ 113778 h 146051"/>
                    <a:gd name="connsiteX81" fmla="*/ 100845 w 108228"/>
                    <a:gd name="connsiteY81" fmla="*/ 117438 h 146051"/>
                    <a:gd name="connsiteX82" fmla="*/ 98042 w 108228"/>
                    <a:gd name="connsiteY82" fmla="*/ 119076 h 146051"/>
                    <a:gd name="connsiteX83" fmla="*/ 94985 w 108228"/>
                    <a:gd name="connsiteY83" fmla="*/ 119589 h 146051"/>
                    <a:gd name="connsiteX84" fmla="*/ 91603 w 108228"/>
                    <a:gd name="connsiteY84" fmla="*/ 118668 h 146051"/>
                    <a:gd name="connsiteX85" fmla="*/ 89492 w 108228"/>
                    <a:gd name="connsiteY85" fmla="*/ 118782 h 146051"/>
                    <a:gd name="connsiteX86" fmla="*/ 87569 w 108228"/>
                    <a:gd name="connsiteY86" fmla="*/ 119964 h 146051"/>
                    <a:gd name="connsiteX87" fmla="*/ 86819 w 108228"/>
                    <a:gd name="connsiteY87" fmla="*/ 120689 h 146051"/>
                    <a:gd name="connsiteX88" fmla="*/ 86208 w 108228"/>
                    <a:gd name="connsiteY88" fmla="*/ 120339 h 146051"/>
                    <a:gd name="connsiteX89" fmla="*/ 84936 w 108228"/>
                    <a:gd name="connsiteY89" fmla="*/ 117332 h 146051"/>
                    <a:gd name="connsiteX90" fmla="*/ 84007 w 108228"/>
                    <a:gd name="connsiteY90" fmla="*/ 120437 h 146051"/>
                    <a:gd name="connsiteX91" fmla="*/ 82060 w 108228"/>
                    <a:gd name="connsiteY91" fmla="*/ 121423 h 146051"/>
                    <a:gd name="connsiteX92" fmla="*/ 78727 w 108228"/>
                    <a:gd name="connsiteY92" fmla="*/ 121211 h 146051"/>
                    <a:gd name="connsiteX93" fmla="*/ 73152 w 108228"/>
                    <a:gd name="connsiteY93" fmla="*/ 122034 h 146051"/>
                    <a:gd name="connsiteX94" fmla="*/ 71009 w 108228"/>
                    <a:gd name="connsiteY94" fmla="*/ 122914 h 146051"/>
                    <a:gd name="connsiteX95" fmla="*/ 70120 w 108228"/>
                    <a:gd name="connsiteY95" fmla="*/ 124291 h 146051"/>
                    <a:gd name="connsiteX96" fmla="*/ 69460 w 108228"/>
                    <a:gd name="connsiteY96" fmla="*/ 125889 h 146051"/>
                    <a:gd name="connsiteX97" fmla="*/ 68596 w 108228"/>
                    <a:gd name="connsiteY97" fmla="*/ 126834 h 146051"/>
                    <a:gd name="connsiteX98" fmla="*/ 67610 w 108228"/>
                    <a:gd name="connsiteY98" fmla="*/ 127331 h 146051"/>
                    <a:gd name="connsiteX99" fmla="*/ 63307 w 108228"/>
                    <a:gd name="connsiteY99" fmla="*/ 128505 h 146051"/>
                    <a:gd name="connsiteX100" fmla="*/ 62460 w 108228"/>
                    <a:gd name="connsiteY100" fmla="*/ 128978 h 146051"/>
                    <a:gd name="connsiteX101" fmla="*/ 60471 w 108228"/>
                    <a:gd name="connsiteY101" fmla="*/ 131553 h 146051"/>
                    <a:gd name="connsiteX102" fmla="*/ 57863 w 108228"/>
                    <a:gd name="connsiteY102" fmla="*/ 133044 h 146051"/>
                    <a:gd name="connsiteX103" fmla="*/ 55695 w 108228"/>
                    <a:gd name="connsiteY103" fmla="*/ 133493 h 146051"/>
                    <a:gd name="connsiteX104" fmla="*/ 53772 w 108228"/>
                    <a:gd name="connsiteY104" fmla="*/ 131993 h 146051"/>
                    <a:gd name="connsiteX105" fmla="*/ 52982 w 108228"/>
                    <a:gd name="connsiteY105" fmla="*/ 131097 h 146051"/>
                    <a:gd name="connsiteX106" fmla="*/ 52093 w 108228"/>
                    <a:gd name="connsiteY106" fmla="*/ 130640 h 146051"/>
                    <a:gd name="connsiteX107" fmla="*/ 49143 w 108228"/>
                    <a:gd name="connsiteY107" fmla="*/ 130705 h 146051"/>
                    <a:gd name="connsiteX108" fmla="*/ 50072 w 108228"/>
                    <a:gd name="connsiteY108" fmla="*/ 131170 h 146051"/>
                    <a:gd name="connsiteX109" fmla="*/ 50667 w 108228"/>
                    <a:gd name="connsiteY109" fmla="*/ 132229 h 146051"/>
                    <a:gd name="connsiteX110" fmla="*/ 50969 w 108228"/>
                    <a:gd name="connsiteY110" fmla="*/ 134250 h 146051"/>
                    <a:gd name="connsiteX111" fmla="*/ 50634 w 108228"/>
                    <a:gd name="connsiteY111" fmla="*/ 136239 h 146051"/>
                    <a:gd name="connsiteX112" fmla="*/ 49175 w 108228"/>
                    <a:gd name="connsiteY112" fmla="*/ 137250 h 146051"/>
                    <a:gd name="connsiteX113" fmla="*/ 47448 w 108228"/>
                    <a:gd name="connsiteY113" fmla="*/ 137429 h 146051"/>
                    <a:gd name="connsiteX114" fmla="*/ 44701 w 108228"/>
                    <a:gd name="connsiteY114" fmla="*/ 139491 h 146051"/>
                    <a:gd name="connsiteX115" fmla="*/ 41083 w 108228"/>
                    <a:gd name="connsiteY115" fmla="*/ 140053 h 146051"/>
                    <a:gd name="connsiteX116" fmla="*/ 39119 w 108228"/>
                    <a:gd name="connsiteY116" fmla="*/ 141944 h 146051"/>
                    <a:gd name="connsiteX117" fmla="*/ 27139 w 108228"/>
                    <a:gd name="connsiteY117" fmla="*/ 145147 h 146051"/>
                    <a:gd name="connsiteX118" fmla="*/ 26462 w 108228"/>
                    <a:gd name="connsiteY118" fmla="*/ 145187 h 146051"/>
                    <a:gd name="connsiteX119" fmla="*/ 24808 w 108228"/>
                    <a:gd name="connsiteY119" fmla="*/ 144372 h 146051"/>
                    <a:gd name="connsiteX120" fmla="*/ 23015 w 108228"/>
                    <a:gd name="connsiteY120" fmla="*/ 144006 h 146051"/>
                    <a:gd name="connsiteX121" fmla="*/ 21230 w 108228"/>
                    <a:gd name="connsiteY121" fmla="*/ 144258 h 146051"/>
                    <a:gd name="connsiteX122" fmla="*/ 16210 w 108228"/>
                    <a:gd name="connsiteY122" fmla="*/ 146051 h 146051"/>
                    <a:gd name="connsiteX123" fmla="*/ 13781 w 108228"/>
                    <a:gd name="connsiteY123" fmla="*/ 145693 h 146051"/>
                    <a:gd name="connsiteX124" fmla="*/ 16878 w 108228"/>
                    <a:gd name="connsiteY124" fmla="*/ 141251 h 146051"/>
                    <a:gd name="connsiteX125" fmla="*/ 21043 w 108228"/>
                    <a:gd name="connsiteY125" fmla="*/ 139010 h 146051"/>
                    <a:gd name="connsiteX126" fmla="*/ 21475 w 108228"/>
                    <a:gd name="connsiteY126" fmla="*/ 138399 h 146051"/>
                    <a:gd name="connsiteX127" fmla="*/ 20114 w 108228"/>
                    <a:gd name="connsiteY127" fmla="*/ 138097 h 146051"/>
                    <a:gd name="connsiteX128" fmla="*/ 12192 w 108228"/>
                    <a:gd name="connsiteY128" fmla="*/ 139646 h 146051"/>
                    <a:gd name="connsiteX129" fmla="*/ 9446 w 108228"/>
                    <a:gd name="connsiteY129" fmla="*/ 140982 h 146051"/>
                    <a:gd name="connsiteX130" fmla="*/ 6699 w 108228"/>
                    <a:gd name="connsiteY130" fmla="*/ 141365 h 146051"/>
                    <a:gd name="connsiteX131" fmla="*/ 7970 w 108228"/>
                    <a:gd name="connsiteY131" fmla="*/ 139336 h 146051"/>
                    <a:gd name="connsiteX132" fmla="*/ 11516 w 108228"/>
                    <a:gd name="connsiteY132" fmla="*/ 136557 h 146051"/>
                    <a:gd name="connsiteX133" fmla="*/ 13414 w 108228"/>
                    <a:gd name="connsiteY133" fmla="*/ 135253 h 146051"/>
                    <a:gd name="connsiteX134" fmla="*/ 14580 w 108228"/>
                    <a:gd name="connsiteY134" fmla="*/ 134739 h 146051"/>
                    <a:gd name="connsiteX135" fmla="*/ 15908 w 108228"/>
                    <a:gd name="connsiteY135" fmla="*/ 133101 h 146051"/>
                    <a:gd name="connsiteX136" fmla="*/ 19641 w 108228"/>
                    <a:gd name="connsiteY136" fmla="*/ 131251 h 146051"/>
                    <a:gd name="connsiteX137" fmla="*/ 7604 w 108228"/>
                    <a:gd name="connsiteY137" fmla="*/ 135074 h 146051"/>
                    <a:gd name="connsiteX138" fmla="*/ 4442 w 108228"/>
                    <a:gd name="connsiteY138" fmla="*/ 134601 h 146051"/>
                    <a:gd name="connsiteX139" fmla="*/ 3692 w 108228"/>
                    <a:gd name="connsiteY139" fmla="*/ 133533 h 146051"/>
                    <a:gd name="connsiteX140" fmla="*/ 1222 w 108228"/>
                    <a:gd name="connsiteY140" fmla="*/ 134039 h 146051"/>
                    <a:gd name="connsiteX141" fmla="*/ 293 w 108228"/>
                    <a:gd name="connsiteY141" fmla="*/ 131447 h 146051"/>
                    <a:gd name="connsiteX142" fmla="*/ 3945 w 108228"/>
                    <a:gd name="connsiteY142" fmla="*/ 127535 h 146051"/>
                    <a:gd name="connsiteX143" fmla="*/ 6072 w 108228"/>
                    <a:gd name="connsiteY143" fmla="*/ 125840 h 146051"/>
                    <a:gd name="connsiteX144" fmla="*/ 8598 w 108228"/>
                    <a:gd name="connsiteY144" fmla="*/ 124935 h 146051"/>
                    <a:gd name="connsiteX145" fmla="*/ 11027 w 108228"/>
                    <a:gd name="connsiteY145" fmla="*/ 123623 h 146051"/>
                    <a:gd name="connsiteX146" fmla="*/ 11923 w 108228"/>
                    <a:gd name="connsiteY146" fmla="*/ 122026 h 146051"/>
                    <a:gd name="connsiteX147" fmla="*/ 10782 w 108228"/>
                    <a:gd name="connsiteY147" fmla="*/ 121521 h 146051"/>
                    <a:gd name="connsiteX148" fmla="*/ 3496 w 108228"/>
                    <a:gd name="connsiteY148" fmla="*/ 121928 h 146051"/>
                    <a:gd name="connsiteX149" fmla="*/ 0 w 108228"/>
                    <a:gd name="connsiteY149" fmla="*/ 121586 h 146051"/>
                    <a:gd name="connsiteX150" fmla="*/ 188 w 108228"/>
                    <a:gd name="connsiteY150" fmla="*/ 120314 h 146051"/>
                    <a:gd name="connsiteX151" fmla="*/ 831 w 108228"/>
                    <a:gd name="connsiteY151" fmla="*/ 118913 h 146051"/>
                    <a:gd name="connsiteX152" fmla="*/ 4442 w 108228"/>
                    <a:gd name="connsiteY152" fmla="*/ 116508 h 146051"/>
                    <a:gd name="connsiteX153" fmla="*/ 6398 w 108228"/>
                    <a:gd name="connsiteY153" fmla="*/ 116125 h 146051"/>
                    <a:gd name="connsiteX154" fmla="*/ 8142 w 108228"/>
                    <a:gd name="connsiteY154" fmla="*/ 116354 h 146051"/>
                    <a:gd name="connsiteX155" fmla="*/ 9845 w 108228"/>
                    <a:gd name="connsiteY155" fmla="*/ 116973 h 146051"/>
                    <a:gd name="connsiteX156" fmla="*/ 11222 w 108228"/>
                    <a:gd name="connsiteY156" fmla="*/ 117780 h 146051"/>
                    <a:gd name="connsiteX157" fmla="*/ 15322 w 108228"/>
                    <a:gd name="connsiteY157" fmla="*/ 117315 h 146051"/>
                    <a:gd name="connsiteX158" fmla="*/ 13610 w 108228"/>
                    <a:gd name="connsiteY158" fmla="*/ 115775 h 146051"/>
                    <a:gd name="connsiteX159" fmla="*/ 13308 w 108228"/>
                    <a:gd name="connsiteY159" fmla="*/ 112654 h 146051"/>
                    <a:gd name="connsiteX160" fmla="*/ 11996 w 108228"/>
                    <a:gd name="connsiteY160" fmla="*/ 111602 h 146051"/>
                    <a:gd name="connsiteX161" fmla="*/ 13675 w 108228"/>
                    <a:gd name="connsiteY161" fmla="*/ 110152 h 146051"/>
                    <a:gd name="connsiteX162" fmla="*/ 15591 w 108228"/>
                    <a:gd name="connsiteY162" fmla="*/ 109272 h 146051"/>
                    <a:gd name="connsiteX163" fmla="*/ 18785 w 108228"/>
                    <a:gd name="connsiteY163" fmla="*/ 106272 h 146051"/>
                    <a:gd name="connsiteX164" fmla="*/ 19926 w 108228"/>
                    <a:gd name="connsiteY164" fmla="*/ 105816 h 146051"/>
                    <a:gd name="connsiteX165" fmla="*/ 26258 w 108228"/>
                    <a:gd name="connsiteY165" fmla="*/ 105083 h 146051"/>
                    <a:gd name="connsiteX166" fmla="*/ 33071 w 108228"/>
                    <a:gd name="connsiteY166" fmla="*/ 103510 h 146051"/>
                    <a:gd name="connsiteX167" fmla="*/ 39836 w 108228"/>
                    <a:gd name="connsiteY167" fmla="*/ 101326 h 146051"/>
                    <a:gd name="connsiteX168" fmla="*/ 36364 w 108228"/>
                    <a:gd name="connsiteY168" fmla="*/ 100111 h 146051"/>
                    <a:gd name="connsiteX169" fmla="*/ 34702 w 108228"/>
                    <a:gd name="connsiteY169" fmla="*/ 98498 h 146051"/>
                    <a:gd name="connsiteX170" fmla="*/ 32028 w 108228"/>
                    <a:gd name="connsiteY170" fmla="*/ 101749 h 146051"/>
                    <a:gd name="connsiteX171" fmla="*/ 30105 w 108228"/>
                    <a:gd name="connsiteY171" fmla="*/ 102988 h 146051"/>
                    <a:gd name="connsiteX172" fmla="*/ 24678 w 108228"/>
                    <a:gd name="connsiteY172" fmla="*/ 103656 h 146051"/>
                    <a:gd name="connsiteX173" fmla="*/ 22958 w 108228"/>
                    <a:gd name="connsiteY173" fmla="*/ 103298 h 146051"/>
                    <a:gd name="connsiteX174" fmla="*/ 20537 w 108228"/>
                    <a:gd name="connsiteY174" fmla="*/ 102287 h 146051"/>
                    <a:gd name="connsiteX175" fmla="*/ 19787 w 108228"/>
                    <a:gd name="connsiteY175" fmla="*/ 102662 h 146051"/>
                    <a:gd name="connsiteX176" fmla="*/ 19087 w 108228"/>
                    <a:gd name="connsiteY176" fmla="*/ 103444 h 146051"/>
                    <a:gd name="connsiteX177" fmla="*/ 15501 w 108228"/>
                    <a:gd name="connsiteY177" fmla="*/ 105034 h 146051"/>
                    <a:gd name="connsiteX178" fmla="*/ 11719 w 108228"/>
                    <a:gd name="connsiteY178" fmla="*/ 105417 h 146051"/>
                    <a:gd name="connsiteX179" fmla="*/ 16112 w 108228"/>
                    <a:gd name="connsiteY179" fmla="*/ 102491 h 146051"/>
                    <a:gd name="connsiteX180" fmla="*/ 21687 w 108228"/>
                    <a:gd name="connsiteY180" fmla="*/ 97536 h 146051"/>
                    <a:gd name="connsiteX181" fmla="*/ 22925 w 108228"/>
                    <a:gd name="connsiteY181" fmla="*/ 95971 h 146051"/>
                    <a:gd name="connsiteX182" fmla="*/ 24685 w 108228"/>
                    <a:gd name="connsiteY182" fmla="*/ 93241 h 146051"/>
                    <a:gd name="connsiteX183" fmla="*/ 24140 w 108228"/>
                    <a:gd name="connsiteY183" fmla="*/ 92027 h 146051"/>
                    <a:gd name="connsiteX184" fmla="*/ 22990 w 108228"/>
                    <a:gd name="connsiteY184" fmla="*/ 91334 h 146051"/>
                    <a:gd name="connsiteX185" fmla="*/ 27024 w 108228"/>
                    <a:gd name="connsiteY185" fmla="*/ 85719 h 146051"/>
                    <a:gd name="connsiteX186" fmla="*/ 28451 w 108228"/>
                    <a:gd name="connsiteY186" fmla="*/ 84700 h 146051"/>
                    <a:gd name="connsiteX187" fmla="*/ 31034 w 108228"/>
                    <a:gd name="connsiteY187" fmla="*/ 84537 h 146051"/>
                    <a:gd name="connsiteX188" fmla="*/ 32933 w 108228"/>
                    <a:gd name="connsiteY188" fmla="*/ 83649 h 146051"/>
                    <a:gd name="connsiteX189" fmla="*/ 33764 w 108228"/>
                    <a:gd name="connsiteY189" fmla="*/ 83649 h 146051"/>
                    <a:gd name="connsiteX190" fmla="*/ 34514 w 108228"/>
                    <a:gd name="connsiteY190" fmla="*/ 83315 h 146051"/>
                    <a:gd name="connsiteX191" fmla="*/ 36177 w 108228"/>
                    <a:gd name="connsiteY191" fmla="*/ 81628 h 146051"/>
                    <a:gd name="connsiteX192" fmla="*/ 33618 w 108228"/>
                    <a:gd name="connsiteY192" fmla="*/ 80552 h 146051"/>
                    <a:gd name="connsiteX193" fmla="*/ 30969 w 108228"/>
                    <a:gd name="connsiteY193" fmla="*/ 79998 h 146051"/>
                    <a:gd name="connsiteX194" fmla="*/ 22778 w 108228"/>
                    <a:gd name="connsiteY194" fmla="*/ 80584 h 146051"/>
                    <a:gd name="connsiteX195" fmla="*/ 21694 w 108228"/>
                    <a:gd name="connsiteY195" fmla="*/ 80462 h 146051"/>
                    <a:gd name="connsiteX196" fmla="*/ 20684 w 108228"/>
                    <a:gd name="connsiteY196" fmla="*/ 79949 h 146051"/>
                    <a:gd name="connsiteX197" fmla="*/ 20024 w 108228"/>
                    <a:gd name="connsiteY197" fmla="*/ 79199 h 146051"/>
                    <a:gd name="connsiteX198" fmla="*/ 19527 w 108228"/>
                    <a:gd name="connsiteY198" fmla="*/ 77284 h 146051"/>
                    <a:gd name="connsiteX199" fmla="*/ 18924 w 108228"/>
                    <a:gd name="connsiteY199" fmla="*/ 76860 h 146051"/>
                    <a:gd name="connsiteX200" fmla="*/ 17074 w 108228"/>
                    <a:gd name="connsiteY200" fmla="*/ 76860 h 146051"/>
                    <a:gd name="connsiteX201" fmla="*/ 15248 w 108228"/>
                    <a:gd name="connsiteY201" fmla="*/ 77439 h 146051"/>
                    <a:gd name="connsiteX202" fmla="*/ 13977 w 108228"/>
                    <a:gd name="connsiteY202" fmla="*/ 77382 h 146051"/>
                    <a:gd name="connsiteX203" fmla="*/ 12730 w 108228"/>
                    <a:gd name="connsiteY203" fmla="*/ 76542 h 146051"/>
                    <a:gd name="connsiteX204" fmla="*/ 14727 w 108228"/>
                    <a:gd name="connsiteY204" fmla="*/ 74578 h 146051"/>
                    <a:gd name="connsiteX205" fmla="*/ 12159 w 108228"/>
                    <a:gd name="connsiteY205" fmla="*/ 74114 h 146051"/>
                    <a:gd name="connsiteX206" fmla="*/ 9560 w 108228"/>
                    <a:gd name="connsiteY206" fmla="*/ 74497 h 146051"/>
                    <a:gd name="connsiteX207" fmla="*/ 7392 w 108228"/>
                    <a:gd name="connsiteY207" fmla="*/ 73902 h 146051"/>
                    <a:gd name="connsiteX208" fmla="*/ 7319 w 108228"/>
                    <a:gd name="connsiteY208" fmla="*/ 72679 h 146051"/>
                    <a:gd name="connsiteX209" fmla="*/ 8305 w 108228"/>
                    <a:gd name="connsiteY209" fmla="*/ 71449 h 146051"/>
                    <a:gd name="connsiteX210" fmla="*/ 7017 w 108228"/>
                    <a:gd name="connsiteY210" fmla="*/ 70283 h 146051"/>
                    <a:gd name="connsiteX211" fmla="*/ 6748 w 108228"/>
                    <a:gd name="connsiteY211" fmla="*/ 68808 h 146051"/>
                    <a:gd name="connsiteX212" fmla="*/ 8117 w 108228"/>
                    <a:gd name="connsiteY212" fmla="*/ 68091 h 146051"/>
                    <a:gd name="connsiteX213" fmla="*/ 9617 w 108228"/>
                    <a:gd name="connsiteY213" fmla="*/ 68327 h 146051"/>
                    <a:gd name="connsiteX214" fmla="*/ 12673 w 108228"/>
                    <a:gd name="connsiteY214" fmla="*/ 67243 h 146051"/>
                    <a:gd name="connsiteX215" fmla="*/ 16577 w 108228"/>
                    <a:gd name="connsiteY215" fmla="*/ 66714 h 146051"/>
                    <a:gd name="connsiteX216" fmla="*/ 13227 w 108228"/>
                    <a:gd name="connsiteY216" fmla="*/ 65638 h 146051"/>
                    <a:gd name="connsiteX217" fmla="*/ 11890 w 108228"/>
                    <a:gd name="connsiteY217" fmla="*/ 64717 h 146051"/>
                    <a:gd name="connsiteX218" fmla="*/ 11825 w 108228"/>
                    <a:gd name="connsiteY218" fmla="*/ 63307 h 146051"/>
                    <a:gd name="connsiteX219" fmla="*/ 12094 w 108228"/>
                    <a:gd name="connsiteY219" fmla="*/ 62101 h 146051"/>
                    <a:gd name="connsiteX220" fmla="*/ 15974 w 108228"/>
                    <a:gd name="connsiteY220" fmla="*/ 60055 h 146051"/>
                    <a:gd name="connsiteX221" fmla="*/ 20114 w 108228"/>
                    <a:gd name="connsiteY221" fmla="*/ 59159 h 146051"/>
                    <a:gd name="connsiteX222" fmla="*/ 19804 w 108228"/>
                    <a:gd name="connsiteY222" fmla="*/ 57806 h 146051"/>
                    <a:gd name="connsiteX223" fmla="*/ 20097 w 108228"/>
                    <a:gd name="connsiteY223" fmla="*/ 56355 h 146051"/>
                    <a:gd name="connsiteX224" fmla="*/ 15916 w 108228"/>
                    <a:gd name="connsiteY224" fmla="*/ 55932 h 146051"/>
                    <a:gd name="connsiteX225" fmla="*/ 11784 w 108228"/>
                    <a:gd name="connsiteY225" fmla="*/ 56958 h 146051"/>
                    <a:gd name="connsiteX226" fmla="*/ 12225 w 108228"/>
                    <a:gd name="connsiteY226" fmla="*/ 54179 h 146051"/>
                    <a:gd name="connsiteX227" fmla="*/ 13219 w 108228"/>
                    <a:gd name="connsiteY227" fmla="*/ 51669 h 146051"/>
                    <a:gd name="connsiteX228" fmla="*/ 13414 w 108228"/>
                    <a:gd name="connsiteY228" fmla="*/ 50007 h 146051"/>
                    <a:gd name="connsiteX229" fmla="*/ 13219 w 108228"/>
                    <a:gd name="connsiteY229" fmla="*/ 48230 h 146051"/>
                    <a:gd name="connsiteX230" fmla="*/ 11287 w 108228"/>
                    <a:gd name="connsiteY230" fmla="*/ 48988 h 146051"/>
                    <a:gd name="connsiteX231" fmla="*/ 11059 w 108228"/>
                    <a:gd name="connsiteY231" fmla="*/ 46478 h 146051"/>
                    <a:gd name="connsiteX232" fmla="*/ 10228 w 108228"/>
                    <a:gd name="connsiteY232" fmla="*/ 44758 h 146051"/>
                    <a:gd name="connsiteX233" fmla="*/ 7359 w 108228"/>
                    <a:gd name="connsiteY233" fmla="*/ 45948 h 146051"/>
                    <a:gd name="connsiteX234" fmla="*/ 7433 w 108228"/>
                    <a:gd name="connsiteY234" fmla="*/ 43674 h 146051"/>
                    <a:gd name="connsiteX235" fmla="*/ 8264 w 108228"/>
                    <a:gd name="connsiteY235" fmla="*/ 42093 h 146051"/>
                    <a:gd name="connsiteX236" fmla="*/ 9763 w 108228"/>
                    <a:gd name="connsiteY236" fmla="*/ 41409 h 146051"/>
                    <a:gd name="connsiteX237" fmla="*/ 11255 w 108228"/>
                    <a:gd name="connsiteY237" fmla="*/ 41710 h 146051"/>
                    <a:gd name="connsiteX238" fmla="*/ 14018 w 108228"/>
                    <a:gd name="connsiteY238" fmla="*/ 41678 h 146051"/>
                    <a:gd name="connsiteX239" fmla="*/ 16682 w 108228"/>
                    <a:gd name="connsiteY239" fmla="*/ 40488 h 146051"/>
                    <a:gd name="connsiteX240" fmla="*/ 20529 w 108228"/>
                    <a:gd name="connsiteY240" fmla="*/ 40178 h 146051"/>
                    <a:gd name="connsiteX241" fmla="*/ 26650 w 108228"/>
                    <a:gd name="connsiteY241" fmla="*/ 40553 h 146051"/>
                    <a:gd name="connsiteX242" fmla="*/ 30855 w 108228"/>
                    <a:gd name="connsiteY242" fmla="*/ 43919 h 146051"/>
                    <a:gd name="connsiteX243" fmla="*/ 31939 w 108228"/>
                    <a:gd name="connsiteY243" fmla="*/ 43324 h 146051"/>
                    <a:gd name="connsiteX244" fmla="*/ 33626 w 108228"/>
                    <a:gd name="connsiteY244" fmla="*/ 41197 h 146051"/>
                    <a:gd name="connsiteX245" fmla="*/ 34417 w 108228"/>
                    <a:gd name="connsiteY245" fmla="*/ 40960 h 146051"/>
                    <a:gd name="connsiteX246" fmla="*/ 40757 w 108228"/>
                    <a:gd name="connsiteY246" fmla="*/ 41881 h 146051"/>
                    <a:gd name="connsiteX247" fmla="*/ 44693 w 108228"/>
                    <a:gd name="connsiteY247" fmla="*/ 43104 h 146051"/>
                    <a:gd name="connsiteX248" fmla="*/ 45745 w 108228"/>
                    <a:gd name="connsiteY248" fmla="*/ 42729 h 146051"/>
                    <a:gd name="connsiteX249" fmla="*/ 45182 w 108228"/>
                    <a:gd name="connsiteY249" fmla="*/ 40366 h 146051"/>
                    <a:gd name="connsiteX250" fmla="*/ 43821 w 108228"/>
                    <a:gd name="connsiteY250" fmla="*/ 38728 h 146051"/>
                    <a:gd name="connsiteX251" fmla="*/ 45524 w 108228"/>
                    <a:gd name="connsiteY251" fmla="*/ 36584 h 146051"/>
                    <a:gd name="connsiteX252" fmla="*/ 47595 w 108228"/>
                    <a:gd name="connsiteY252" fmla="*/ 35133 h 146051"/>
                    <a:gd name="connsiteX253" fmla="*/ 48972 w 108228"/>
                    <a:gd name="connsiteY253" fmla="*/ 34408 h 146051"/>
                    <a:gd name="connsiteX254" fmla="*/ 52166 w 108228"/>
                    <a:gd name="connsiteY254" fmla="*/ 33503 h 146051"/>
                    <a:gd name="connsiteX255" fmla="*/ 53560 w 108228"/>
                    <a:gd name="connsiteY255" fmla="*/ 32656 h 146051"/>
                    <a:gd name="connsiteX256" fmla="*/ 54489 w 108228"/>
                    <a:gd name="connsiteY256" fmla="*/ 29893 h 146051"/>
                    <a:gd name="connsiteX257" fmla="*/ 55964 w 108228"/>
                    <a:gd name="connsiteY257" fmla="*/ 27595 h 146051"/>
                    <a:gd name="connsiteX258" fmla="*/ 47953 w 108228"/>
                    <a:gd name="connsiteY258" fmla="*/ 28785 h 146051"/>
                    <a:gd name="connsiteX259" fmla="*/ 40325 w 108228"/>
                    <a:gd name="connsiteY259" fmla="*/ 26063 h 146051"/>
                    <a:gd name="connsiteX260" fmla="*/ 41539 w 108228"/>
                    <a:gd name="connsiteY260" fmla="*/ 24131 h 146051"/>
                    <a:gd name="connsiteX261" fmla="*/ 43145 w 108228"/>
                    <a:gd name="connsiteY261" fmla="*/ 23039 h 146051"/>
                    <a:gd name="connsiteX262" fmla="*/ 45924 w 108228"/>
                    <a:gd name="connsiteY262" fmla="*/ 22192 h 146051"/>
                    <a:gd name="connsiteX263" fmla="*/ 46184 w 108228"/>
                    <a:gd name="connsiteY263" fmla="*/ 21189 h 146051"/>
                    <a:gd name="connsiteX264" fmla="*/ 47595 w 108228"/>
                    <a:gd name="connsiteY264" fmla="*/ 20350 h 146051"/>
                    <a:gd name="connsiteX265" fmla="*/ 49917 w 108228"/>
                    <a:gd name="connsiteY265" fmla="*/ 18149 h 146051"/>
                    <a:gd name="connsiteX266" fmla="*/ 49070 w 108228"/>
                    <a:gd name="connsiteY266" fmla="*/ 15264 h 146051"/>
                    <a:gd name="connsiteX267" fmla="*/ 49526 w 108228"/>
                    <a:gd name="connsiteY267" fmla="*/ 13162 h 146051"/>
                    <a:gd name="connsiteX268" fmla="*/ 51196 w 108228"/>
                    <a:gd name="connsiteY268" fmla="*/ 11793 h 146051"/>
                    <a:gd name="connsiteX269" fmla="*/ 51718 w 108228"/>
                    <a:gd name="connsiteY269" fmla="*/ 9820 h 146051"/>
                    <a:gd name="connsiteX270" fmla="*/ 52468 w 108228"/>
                    <a:gd name="connsiteY270" fmla="*/ 8370 h 146051"/>
                    <a:gd name="connsiteX271" fmla="*/ 55866 w 108228"/>
                    <a:gd name="connsiteY271" fmla="*/ 7848 h 146051"/>
                    <a:gd name="connsiteX272" fmla="*/ 59126 w 108228"/>
                    <a:gd name="connsiteY272" fmla="*/ 6495 h 146051"/>
                    <a:gd name="connsiteX273" fmla="*/ 60308 w 108228"/>
                    <a:gd name="connsiteY273" fmla="*/ 6626 h 146051"/>
                    <a:gd name="connsiteX274" fmla="*/ 64155 w 108228"/>
                    <a:gd name="connsiteY274" fmla="*/ 6316 h 146051"/>
                    <a:gd name="connsiteX275" fmla="*/ 65459 w 108228"/>
                    <a:gd name="connsiteY275" fmla="*/ 6854 h 146051"/>
                    <a:gd name="connsiteX276" fmla="*/ 65166 w 108228"/>
                    <a:gd name="connsiteY276" fmla="*/ 4474 h 146051"/>
                    <a:gd name="connsiteX277" fmla="*/ 67537 w 108228"/>
                    <a:gd name="connsiteY277" fmla="*/ 4164 h 146051"/>
                    <a:gd name="connsiteX278" fmla="*/ 68458 w 108228"/>
                    <a:gd name="connsiteY278" fmla="*/ 4637 h 146051"/>
                    <a:gd name="connsiteX279" fmla="*/ 68865 w 108228"/>
                    <a:gd name="connsiteY279" fmla="*/ 6332 h 146051"/>
                    <a:gd name="connsiteX280" fmla="*/ 69941 w 108228"/>
                    <a:gd name="connsiteY280" fmla="*/ 7408 h 146051"/>
                    <a:gd name="connsiteX281" fmla="*/ 70275 w 108228"/>
                    <a:gd name="connsiteY281" fmla="*/ 9282 h 146051"/>
                    <a:gd name="connsiteX282" fmla="*/ 69558 w 108228"/>
                    <a:gd name="connsiteY282" fmla="*/ 10725 h 146051"/>
                    <a:gd name="connsiteX283" fmla="*/ 68352 w 108228"/>
                    <a:gd name="connsiteY283" fmla="*/ 11841 h 146051"/>
                    <a:gd name="connsiteX284" fmla="*/ 69452 w 108228"/>
                    <a:gd name="connsiteY284" fmla="*/ 12991 h 146051"/>
                    <a:gd name="connsiteX285" fmla="*/ 67749 w 108228"/>
                    <a:gd name="connsiteY285" fmla="*/ 15044 h 146051"/>
                    <a:gd name="connsiteX286" fmla="*/ 69599 w 108228"/>
                    <a:gd name="connsiteY286" fmla="*/ 14172 h 146051"/>
                    <a:gd name="connsiteX287" fmla="*/ 72223 w 108228"/>
                    <a:gd name="connsiteY287" fmla="*/ 12151 h 146051"/>
                    <a:gd name="connsiteX288" fmla="*/ 72085 w 108228"/>
                    <a:gd name="connsiteY288" fmla="*/ 10497 h 146051"/>
                    <a:gd name="connsiteX289" fmla="*/ 71636 w 108228"/>
                    <a:gd name="connsiteY289" fmla="*/ 8427 h 146051"/>
                    <a:gd name="connsiteX290" fmla="*/ 70911 w 108228"/>
                    <a:gd name="connsiteY290" fmla="*/ 6552 h 146051"/>
                    <a:gd name="connsiteX291" fmla="*/ 71253 w 108228"/>
                    <a:gd name="connsiteY291" fmla="*/ 4499 h 146051"/>
                    <a:gd name="connsiteX292" fmla="*/ 72728 w 108228"/>
                    <a:gd name="connsiteY292" fmla="*/ 3203 h 146051"/>
                    <a:gd name="connsiteX293" fmla="*/ 76616 w 108228"/>
                    <a:gd name="connsiteY293" fmla="*/ 2567 h 146051"/>
                    <a:gd name="connsiteX294" fmla="*/ 75018 w 108228"/>
                    <a:gd name="connsiteY294" fmla="*/ 220 h 146051"/>
                    <a:gd name="connsiteX295" fmla="*/ 76437 w 108228"/>
                    <a:gd name="connsiteY295" fmla="*/ 0 h 146051"/>
                    <a:gd name="connsiteX296" fmla="*/ 77977 w 108228"/>
                    <a:gd name="connsiteY296" fmla="*/ 489 h 146051"/>
                    <a:gd name="connsiteX297" fmla="*/ 80242 w 108228"/>
                    <a:gd name="connsiteY297" fmla="*/ 2314 h 146051"/>
                    <a:gd name="connsiteX298" fmla="*/ 82606 w 108228"/>
                    <a:gd name="connsiteY298" fmla="*/ 3749 h 146051"/>
                    <a:gd name="connsiteX299" fmla="*/ 85051 w 108228"/>
                    <a:gd name="connsiteY299" fmla="*/ 4882 h 146051"/>
                    <a:gd name="connsiteX300" fmla="*/ 82696 w 108228"/>
                    <a:gd name="connsiteY300" fmla="*/ 7155 h 146051"/>
                    <a:gd name="connsiteX301" fmla="*/ 79811 w 108228"/>
                    <a:gd name="connsiteY301" fmla="*/ 8728 h 146051"/>
                    <a:gd name="connsiteX302" fmla="*/ 78669 w 108228"/>
                    <a:gd name="connsiteY302" fmla="*/ 10440 h 146051"/>
                    <a:gd name="connsiteX303" fmla="*/ 74749 w 108228"/>
                    <a:gd name="connsiteY303" fmla="*/ 12893 h 146051"/>
                    <a:gd name="connsiteX304" fmla="*/ 74154 w 108228"/>
                    <a:gd name="connsiteY304" fmla="*/ 13814 h 14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Lst>
                  <a:rect l="l" t="t" r="r" b="b"/>
                  <a:pathLst>
                    <a:path w="108228" h="146051">
                      <a:moveTo>
                        <a:pt x="74154" y="13814"/>
                      </a:moveTo>
                      <a:lnTo>
                        <a:pt x="73046" y="17546"/>
                      </a:lnTo>
                      <a:lnTo>
                        <a:pt x="72916" y="18606"/>
                      </a:lnTo>
                      <a:lnTo>
                        <a:pt x="71652" y="20570"/>
                      </a:lnTo>
                      <a:lnTo>
                        <a:pt x="70463" y="22754"/>
                      </a:lnTo>
                      <a:lnTo>
                        <a:pt x="69069" y="23602"/>
                      </a:lnTo>
                      <a:lnTo>
                        <a:pt x="66999" y="24270"/>
                      </a:lnTo>
                      <a:lnTo>
                        <a:pt x="65826" y="24938"/>
                      </a:lnTo>
                      <a:lnTo>
                        <a:pt x="64342" y="24604"/>
                      </a:lnTo>
                      <a:lnTo>
                        <a:pt x="62468" y="24661"/>
                      </a:lnTo>
                      <a:lnTo>
                        <a:pt x="61530" y="25403"/>
                      </a:lnTo>
                      <a:lnTo>
                        <a:pt x="61580" y="25973"/>
                      </a:lnTo>
                      <a:lnTo>
                        <a:pt x="62142" y="26625"/>
                      </a:lnTo>
                      <a:lnTo>
                        <a:pt x="63780" y="27628"/>
                      </a:lnTo>
                      <a:lnTo>
                        <a:pt x="65605" y="28532"/>
                      </a:lnTo>
                      <a:lnTo>
                        <a:pt x="65410" y="29331"/>
                      </a:lnTo>
                      <a:lnTo>
                        <a:pt x="64432" y="30227"/>
                      </a:lnTo>
                      <a:lnTo>
                        <a:pt x="58222" y="32460"/>
                      </a:lnTo>
                      <a:lnTo>
                        <a:pt x="56364" y="33805"/>
                      </a:lnTo>
                      <a:lnTo>
                        <a:pt x="55720" y="34693"/>
                      </a:lnTo>
                      <a:lnTo>
                        <a:pt x="56380" y="36177"/>
                      </a:lnTo>
                      <a:lnTo>
                        <a:pt x="61335" y="40626"/>
                      </a:lnTo>
                      <a:lnTo>
                        <a:pt x="62183" y="41115"/>
                      </a:lnTo>
                      <a:lnTo>
                        <a:pt x="62916" y="43707"/>
                      </a:lnTo>
                      <a:lnTo>
                        <a:pt x="67284" y="44783"/>
                      </a:lnTo>
                      <a:lnTo>
                        <a:pt x="69077" y="46405"/>
                      </a:lnTo>
                      <a:lnTo>
                        <a:pt x="70617" y="46788"/>
                      </a:lnTo>
                      <a:lnTo>
                        <a:pt x="73967" y="46649"/>
                      </a:lnTo>
                      <a:lnTo>
                        <a:pt x="75312" y="47252"/>
                      </a:lnTo>
                      <a:lnTo>
                        <a:pt x="76078" y="46788"/>
                      </a:lnTo>
                      <a:lnTo>
                        <a:pt x="76518" y="45940"/>
                      </a:lnTo>
                      <a:lnTo>
                        <a:pt x="79338" y="43740"/>
                      </a:lnTo>
                      <a:lnTo>
                        <a:pt x="80267" y="42778"/>
                      </a:lnTo>
                      <a:lnTo>
                        <a:pt x="79713" y="41441"/>
                      </a:lnTo>
                      <a:lnTo>
                        <a:pt x="79101" y="40423"/>
                      </a:lnTo>
                      <a:lnTo>
                        <a:pt x="80813" y="38393"/>
                      </a:lnTo>
                      <a:lnTo>
                        <a:pt x="82891" y="36397"/>
                      </a:lnTo>
                      <a:lnTo>
                        <a:pt x="83934" y="36454"/>
                      </a:lnTo>
                      <a:lnTo>
                        <a:pt x="85703" y="37676"/>
                      </a:lnTo>
                      <a:lnTo>
                        <a:pt x="87169" y="39388"/>
                      </a:lnTo>
                      <a:lnTo>
                        <a:pt x="87365" y="40716"/>
                      </a:lnTo>
                      <a:lnTo>
                        <a:pt x="87634" y="41678"/>
                      </a:lnTo>
                      <a:lnTo>
                        <a:pt x="89011" y="43723"/>
                      </a:lnTo>
                      <a:lnTo>
                        <a:pt x="89900" y="44432"/>
                      </a:lnTo>
                      <a:lnTo>
                        <a:pt x="92304" y="44848"/>
                      </a:lnTo>
                      <a:lnTo>
                        <a:pt x="92866" y="45655"/>
                      </a:lnTo>
                      <a:lnTo>
                        <a:pt x="92434" y="48621"/>
                      </a:lnTo>
                      <a:lnTo>
                        <a:pt x="92785" y="49616"/>
                      </a:lnTo>
                      <a:lnTo>
                        <a:pt x="95311" y="49664"/>
                      </a:lnTo>
                      <a:lnTo>
                        <a:pt x="97992" y="49428"/>
                      </a:lnTo>
                      <a:lnTo>
                        <a:pt x="98921" y="49542"/>
                      </a:lnTo>
                      <a:lnTo>
                        <a:pt x="99883" y="48923"/>
                      </a:lnTo>
                      <a:lnTo>
                        <a:pt x="101375" y="48254"/>
                      </a:lnTo>
                      <a:lnTo>
                        <a:pt x="103502" y="48483"/>
                      </a:lnTo>
                      <a:lnTo>
                        <a:pt x="104545" y="49819"/>
                      </a:lnTo>
                      <a:lnTo>
                        <a:pt x="105017" y="51180"/>
                      </a:lnTo>
                      <a:lnTo>
                        <a:pt x="103184" y="51694"/>
                      </a:lnTo>
                      <a:lnTo>
                        <a:pt x="101277" y="51417"/>
                      </a:lnTo>
                      <a:lnTo>
                        <a:pt x="100340" y="52313"/>
                      </a:lnTo>
                      <a:lnTo>
                        <a:pt x="100282" y="54041"/>
                      </a:lnTo>
                      <a:lnTo>
                        <a:pt x="100927" y="56266"/>
                      </a:lnTo>
                      <a:lnTo>
                        <a:pt x="102206" y="57847"/>
                      </a:lnTo>
                      <a:lnTo>
                        <a:pt x="103225" y="61400"/>
                      </a:lnTo>
                      <a:lnTo>
                        <a:pt x="104072" y="65336"/>
                      </a:lnTo>
                      <a:lnTo>
                        <a:pt x="105384" y="67716"/>
                      </a:lnTo>
                      <a:lnTo>
                        <a:pt x="105662" y="70674"/>
                      </a:lnTo>
                      <a:lnTo>
                        <a:pt x="105466" y="72125"/>
                      </a:lnTo>
                      <a:lnTo>
                        <a:pt x="105710" y="74733"/>
                      </a:lnTo>
                      <a:lnTo>
                        <a:pt x="105148" y="75654"/>
                      </a:lnTo>
                      <a:lnTo>
                        <a:pt x="105571" y="78091"/>
                      </a:lnTo>
                      <a:lnTo>
                        <a:pt x="107112" y="83144"/>
                      </a:lnTo>
                      <a:lnTo>
                        <a:pt x="107788" y="85963"/>
                      </a:lnTo>
                      <a:lnTo>
                        <a:pt x="108229" y="92092"/>
                      </a:lnTo>
                      <a:lnTo>
                        <a:pt x="107136" y="94390"/>
                      </a:lnTo>
                      <a:lnTo>
                        <a:pt x="105669" y="96566"/>
                      </a:lnTo>
                      <a:lnTo>
                        <a:pt x="104699" y="99150"/>
                      </a:lnTo>
                      <a:lnTo>
                        <a:pt x="103966" y="101929"/>
                      </a:lnTo>
                      <a:lnTo>
                        <a:pt x="103518" y="106419"/>
                      </a:lnTo>
                      <a:lnTo>
                        <a:pt x="100340" y="111668"/>
                      </a:lnTo>
                      <a:lnTo>
                        <a:pt x="98979" y="112980"/>
                      </a:lnTo>
                      <a:lnTo>
                        <a:pt x="97414" y="113778"/>
                      </a:lnTo>
                      <a:lnTo>
                        <a:pt x="100845" y="117438"/>
                      </a:lnTo>
                      <a:lnTo>
                        <a:pt x="98042" y="119076"/>
                      </a:lnTo>
                      <a:lnTo>
                        <a:pt x="94985" y="119589"/>
                      </a:lnTo>
                      <a:lnTo>
                        <a:pt x="91603" y="118668"/>
                      </a:lnTo>
                      <a:lnTo>
                        <a:pt x="89492" y="118782"/>
                      </a:lnTo>
                      <a:lnTo>
                        <a:pt x="87569" y="119964"/>
                      </a:lnTo>
                      <a:lnTo>
                        <a:pt x="86819" y="120689"/>
                      </a:lnTo>
                      <a:lnTo>
                        <a:pt x="86208" y="120339"/>
                      </a:lnTo>
                      <a:lnTo>
                        <a:pt x="84936" y="117332"/>
                      </a:lnTo>
                      <a:lnTo>
                        <a:pt x="84007" y="120437"/>
                      </a:lnTo>
                      <a:lnTo>
                        <a:pt x="82060" y="121423"/>
                      </a:lnTo>
                      <a:lnTo>
                        <a:pt x="78727" y="121211"/>
                      </a:lnTo>
                      <a:lnTo>
                        <a:pt x="73152" y="122034"/>
                      </a:lnTo>
                      <a:lnTo>
                        <a:pt x="71009" y="122914"/>
                      </a:lnTo>
                      <a:lnTo>
                        <a:pt x="70120" y="124291"/>
                      </a:lnTo>
                      <a:lnTo>
                        <a:pt x="69460" y="125889"/>
                      </a:lnTo>
                      <a:lnTo>
                        <a:pt x="68596" y="126834"/>
                      </a:lnTo>
                      <a:lnTo>
                        <a:pt x="67610" y="127331"/>
                      </a:lnTo>
                      <a:lnTo>
                        <a:pt x="63307" y="128505"/>
                      </a:lnTo>
                      <a:lnTo>
                        <a:pt x="62460" y="128978"/>
                      </a:lnTo>
                      <a:lnTo>
                        <a:pt x="60471" y="131553"/>
                      </a:lnTo>
                      <a:lnTo>
                        <a:pt x="57863" y="133044"/>
                      </a:lnTo>
                      <a:lnTo>
                        <a:pt x="55695" y="133493"/>
                      </a:lnTo>
                      <a:lnTo>
                        <a:pt x="53772" y="131993"/>
                      </a:lnTo>
                      <a:lnTo>
                        <a:pt x="52982" y="131097"/>
                      </a:lnTo>
                      <a:lnTo>
                        <a:pt x="52093" y="130640"/>
                      </a:lnTo>
                      <a:lnTo>
                        <a:pt x="49143" y="130705"/>
                      </a:lnTo>
                      <a:lnTo>
                        <a:pt x="50072" y="131170"/>
                      </a:lnTo>
                      <a:lnTo>
                        <a:pt x="50667" y="132229"/>
                      </a:lnTo>
                      <a:lnTo>
                        <a:pt x="50969" y="134250"/>
                      </a:lnTo>
                      <a:lnTo>
                        <a:pt x="50634" y="136239"/>
                      </a:lnTo>
                      <a:lnTo>
                        <a:pt x="49175" y="137250"/>
                      </a:lnTo>
                      <a:lnTo>
                        <a:pt x="47448" y="137429"/>
                      </a:lnTo>
                      <a:lnTo>
                        <a:pt x="44701" y="139491"/>
                      </a:lnTo>
                      <a:lnTo>
                        <a:pt x="41083" y="140053"/>
                      </a:lnTo>
                      <a:lnTo>
                        <a:pt x="39119" y="141944"/>
                      </a:lnTo>
                      <a:lnTo>
                        <a:pt x="27139" y="145147"/>
                      </a:lnTo>
                      <a:lnTo>
                        <a:pt x="26462" y="145187"/>
                      </a:lnTo>
                      <a:lnTo>
                        <a:pt x="24808" y="144372"/>
                      </a:lnTo>
                      <a:lnTo>
                        <a:pt x="23015" y="144006"/>
                      </a:lnTo>
                      <a:lnTo>
                        <a:pt x="21230" y="144258"/>
                      </a:lnTo>
                      <a:lnTo>
                        <a:pt x="16210" y="146051"/>
                      </a:lnTo>
                      <a:lnTo>
                        <a:pt x="13781" y="145693"/>
                      </a:lnTo>
                      <a:lnTo>
                        <a:pt x="16878" y="141251"/>
                      </a:lnTo>
                      <a:lnTo>
                        <a:pt x="21043" y="139010"/>
                      </a:lnTo>
                      <a:lnTo>
                        <a:pt x="21475" y="138399"/>
                      </a:lnTo>
                      <a:lnTo>
                        <a:pt x="20114" y="138097"/>
                      </a:lnTo>
                      <a:lnTo>
                        <a:pt x="12192" y="139646"/>
                      </a:lnTo>
                      <a:lnTo>
                        <a:pt x="9446" y="140982"/>
                      </a:lnTo>
                      <a:lnTo>
                        <a:pt x="6699" y="141365"/>
                      </a:lnTo>
                      <a:lnTo>
                        <a:pt x="7970" y="139336"/>
                      </a:lnTo>
                      <a:lnTo>
                        <a:pt x="11516" y="136557"/>
                      </a:lnTo>
                      <a:lnTo>
                        <a:pt x="13414" y="135253"/>
                      </a:lnTo>
                      <a:lnTo>
                        <a:pt x="14580" y="134739"/>
                      </a:lnTo>
                      <a:lnTo>
                        <a:pt x="15908" y="133101"/>
                      </a:lnTo>
                      <a:lnTo>
                        <a:pt x="19641" y="131251"/>
                      </a:lnTo>
                      <a:lnTo>
                        <a:pt x="7604" y="135074"/>
                      </a:lnTo>
                      <a:lnTo>
                        <a:pt x="4442" y="134601"/>
                      </a:lnTo>
                      <a:lnTo>
                        <a:pt x="3692" y="133533"/>
                      </a:lnTo>
                      <a:lnTo>
                        <a:pt x="1222" y="134039"/>
                      </a:lnTo>
                      <a:lnTo>
                        <a:pt x="293" y="131447"/>
                      </a:lnTo>
                      <a:lnTo>
                        <a:pt x="3945" y="127535"/>
                      </a:lnTo>
                      <a:lnTo>
                        <a:pt x="6072" y="125840"/>
                      </a:lnTo>
                      <a:lnTo>
                        <a:pt x="8598" y="124935"/>
                      </a:lnTo>
                      <a:lnTo>
                        <a:pt x="11027" y="123623"/>
                      </a:lnTo>
                      <a:lnTo>
                        <a:pt x="11923" y="122026"/>
                      </a:lnTo>
                      <a:lnTo>
                        <a:pt x="10782" y="121521"/>
                      </a:lnTo>
                      <a:lnTo>
                        <a:pt x="3496" y="121928"/>
                      </a:lnTo>
                      <a:lnTo>
                        <a:pt x="0" y="121586"/>
                      </a:lnTo>
                      <a:lnTo>
                        <a:pt x="188" y="120314"/>
                      </a:lnTo>
                      <a:lnTo>
                        <a:pt x="831" y="118913"/>
                      </a:lnTo>
                      <a:lnTo>
                        <a:pt x="4442" y="116508"/>
                      </a:lnTo>
                      <a:lnTo>
                        <a:pt x="6398" y="116125"/>
                      </a:lnTo>
                      <a:lnTo>
                        <a:pt x="8142" y="116354"/>
                      </a:lnTo>
                      <a:lnTo>
                        <a:pt x="9845" y="116973"/>
                      </a:lnTo>
                      <a:lnTo>
                        <a:pt x="11222" y="117780"/>
                      </a:lnTo>
                      <a:lnTo>
                        <a:pt x="15322" y="117315"/>
                      </a:lnTo>
                      <a:lnTo>
                        <a:pt x="13610" y="115775"/>
                      </a:lnTo>
                      <a:lnTo>
                        <a:pt x="13308" y="112654"/>
                      </a:lnTo>
                      <a:lnTo>
                        <a:pt x="11996" y="111602"/>
                      </a:lnTo>
                      <a:lnTo>
                        <a:pt x="13675" y="110152"/>
                      </a:lnTo>
                      <a:lnTo>
                        <a:pt x="15591" y="109272"/>
                      </a:lnTo>
                      <a:lnTo>
                        <a:pt x="18785" y="106272"/>
                      </a:lnTo>
                      <a:lnTo>
                        <a:pt x="19926" y="105816"/>
                      </a:lnTo>
                      <a:lnTo>
                        <a:pt x="26258" y="105083"/>
                      </a:lnTo>
                      <a:lnTo>
                        <a:pt x="33071" y="103510"/>
                      </a:lnTo>
                      <a:lnTo>
                        <a:pt x="39836" y="101326"/>
                      </a:lnTo>
                      <a:lnTo>
                        <a:pt x="36364" y="100111"/>
                      </a:lnTo>
                      <a:lnTo>
                        <a:pt x="34702" y="98498"/>
                      </a:lnTo>
                      <a:lnTo>
                        <a:pt x="32028" y="101749"/>
                      </a:lnTo>
                      <a:lnTo>
                        <a:pt x="30105" y="102988"/>
                      </a:lnTo>
                      <a:lnTo>
                        <a:pt x="24678" y="103656"/>
                      </a:lnTo>
                      <a:lnTo>
                        <a:pt x="22958" y="103298"/>
                      </a:lnTo>
                      <a:lnTo>
                        <a:pt x="20537" y="102287"/>
                      </a:lnTo>
                      <a:lnTo>
                        <a:pt x="19787" y="102662"/>
                      </a:lnTo>
                      <a:lnTo>
                        <a:pt x="19087" y="103444"/>
                      </a:lnTo>
                      <a:lnTo>
                        <a:pt x="15501" y="105034"/>
                      </a:lnTo>
                      <a:lnTo>
                        <a:pt x="11719" y="105417"/>
                      </a:lnTo>
                      <a:lnTo>
                        <a:pt x="16112" y="102491"/>
                      </a:lnTo>
                      <a:lnTo>
                        <a:pt x="21687" y="97536"/>
                      </a:lnTo>
                      <a:lnTo>
                        <a:pt x="22925" y="95971"/>
                      </a:lnTo>
                      <a:lnTo>
                        <a:pt x="24685" y="93241"/>
                      </a:lnTo>
                      <a:lnTo>
                        <a:pt x="24140" y="92027"/>
                      </a:lnTo>
                      <a:lnTo>
                        <a:pt x="22990" y="91334"/>
                      </a:lnTo>
                      <a:lnTo>
                        <a:pt x="27024" y="85719"/>
                      </a:lnTo>
                      <a:lnTo>
                        <a:pt x="28451" y="84700"/>
                      </a:lnTo>
                      <a:lnTo>
                        <a:pt x="31034" y="84537"/>
                      </a:lnTo>
                      <a:lnTo>
                        <a:pt x="32933" y="83649"/>
                      </a:lnTo>
                      <a:lnTo>
                        <a:pt x="33764" y="83649"/>
                      </a:lnTo>
                      <a:lnTo>
                        <a:pt x="34514" y="83315"/>
                      </a:lnTo>
                      <a:lnTo>
                        <a:pt x="36177" y="81628"/>
                      </a:lnTo>
                      <a:lnTo>
                        <a:pt x="33618" y="80552"/>
                      </a:lnTo>
                      <a:lnTo>
                        <a:pt x="30969" y="79998"/>
                      </a:lnTo>
                      <a:lnTo>
                        <a:pt x="22778" y="80584"/>
                      </a:lnTo>
                      <a:lnTo>
                        <a:pt x="21694" y="80462"/>
                      </a:lnTo>
                      <a:lnTo>
                        <a:pt x="20684" y="79949"/>
                      </a:lnTo>
                      <a:lnTo>
                        <a:pt x="20024" y="79199"/>
                      </a:lnTo>
                      <a:lnTo>
                        <a:pt x="19527" y="77284"/>
                      </a:lnTo>
                      <a:lnTo>
                        <a:pt x="18924" y="76860"/>
                      </a:lnTo>
                      <a:lnTo>
                        <a:pt x="17074" y="76860"/>
                      </a:lnTo>
                      <a:lnTo>
                        <a:pt x="15248" y="77439"/>
                      </a:lnTo>
                      <a:lnTo>
                        <a:pt x="13977" y="77382"/>
                      </a:lnTo>
                      <a:lnTo>
                        <a:pt x="12730" y="76542"/>
                      </a:lnTo>
                      <a:lnTo>
                        <a:pt x="14727" y="74578"/>
                      </a:lnTo>
                      <a:lnTo>
                        <a:pt x="12159" y="74114"/>
                      </a:lnTo>
                      <a:lnTo>
                        <a:pt x="9560" y="74497"/>
                      </a:lnTo>
                      <a:lnTo>
                        <a:pt x="7392" y="73902"/>
                      </a:lnTo>
                      <a:lnTo>
                        <a:pt x="7319" y="72679"/>
                      </a:lnTo>
                      <a:lnTo>
                        <a:pt x="8305" y="71449"/>
                      </a:lnTo>
                      <a:lnTo>
                        <a:pt x="7017" y="70283"/>
                      </a:lnTo>
                      <a:lnTo>
                        <a:pt x="6748" y="68808"/>
                      </a:lnTo>
                      <a:lnTo>
                        <a:pt x="8117" y="68091"/>
                      </a:lnTo>
                      <a:lnTo>
                        <a:pt x="9617" y="68327"/>
                      </a:lnTo>
                      <a:lnTo>
                        <a:pt x="12673" y="67243"/>
                      </a:lnTo>
                      <a:lnTo>
                        <a:pt x="16577" y="66714"/>
                      </a:lnTo>
                      <a:lnTo>
                        <a:pt x="13227" y="65638"/>
                      </a:lnTo>
                      <a:lnTo>
                        <a:pt x="11890" y="64717"/>
                      </a:lnTo>
                      <a:lnTo>
                        <a:pt x="11825" y="63307"/>
                      </a:lnTo>
                      <a:lnTo>
                        <a:pt x="12094" y="62101"/>
                      </a:lnTo>
                      <a:lnTo>
                        <a:pt x="15974" y="60055"/>
                      </a:lnTo>
                      <a:lnTo>
                        <a:pt x="20114" y="59159"/>
                      </a:lnTo>
                      <a:lnTo>
                        <a:pt x="19804" y="57806"/>
                      </a:lnTo>
                      <a:lnTo>
                        <a:pt x="20097" y="56355"/>
                      </a:lnTo>
                      <a:lnTo>
                        <a:pt x="15916" y="55932"/>
                      </a:lnTo>
                      <a:lnTo>
                        <a:pt x="11784" y="56958"/>
                      </a:lnTo>
                      <a:lnTo>
                        <a:pt x="12225" y="54179"/>
                      </a:lnTo>
                      <a:lnTo>
                        <a:pt x="13219" y="51669"/>
                      </a:lnTo>
                      <a:lnTo>
                        <a:pt x="13414" y="50007"/>
                      </a:lnTo>
                      <a:lnTo>
                        <a:pt x="13219" y="48230"/>
                      </a:lnTo>
                      <a:lnTo>
                        <a:pt x="11287" y="48988"/>
                      </a:lnTo>
                      <a:lnTo>
                        <a:pt x="11059" y="46478"/>
                      </a:lnTo>
                      <a:lnTo>
                        <a:pt x="10228" y="44758"/>
                      </a:lnTo>
                      <a:lnTo>
                        <a:pt x="7359" y="45948"/>
                      </a:lnTo>
                      <a:lnTo>
                        <a:pt x="7433" y="43674"/>
                      </a:lnTo>
                      <a:lnTo>
                        <a:pt x="8264" y="42093"/>
                      </a:lnTo>
                      <a:lnTo>
                        <a:pt x="9763" y="41409"/>
                      </a:lnTo>
                      <a:lnTo>
                        <a:pt x="11255" y="41710"/>
                      </a:lnTo>
                      <a:lnTo>
                        <a:pt x="14018" y="41678"/>
                      </a:lnTo>
                      <a:lnTo>
                        <a:pt x="16682" y="40488"/>
                      </a:lnTo>
                      <a:lnTo>
                        <a:pt x="20529" y="40178"/>
                      </a:lnTo>
                      <a:lnTo>
                        <a:pt x="26650" y="40553"/>
                      </a:lnTo>
                      <a:lnTo>
                        <a:pt x="30855" y="43919"/>
                      </a:lnTo>
                      <a:lnTo>
                        <a:pt x="31939" y="43324"/>
                      </a:lnTo>
                      <a:lnTo>
                        <a:pt x="33626" y="41197"/>
                      </a:lnTo>
                      <a:lnTo>
                        <a:pt x="34417" y="40960"/>
                      </a:lnTo>
                      <a:lnTo>
                        <a:pt x="40757" y="41881"/>
                      </a:lnTo>
                      <a:lnTo>
                        <a:pt x="44693" y="43104"/>
                      </a:lnTo>
                      <a:lnTo>
                        <a:pt x="45745" y="42729"/>
                      </a:lnTo>
                      <a:lnTo>
                        <a:pt x="45182" y="40366"/>
                      </a:lnTo>
                      <a:lnTo>
                        <a:pt x="43821" y="38728"/>
                      </a:lnTo>
                      <a:lnTo>
                        <a:pt x="45524" y="36584"/>
                      </a:lnTo>
                      <a:lnTo>
                        <a:pt x="47595" y="35133"/>
                      </a:lnTo>
                      <a:lnTo>
                        <a:pt x="48972" y="34408"/>
                      </a:lnTo>
                      <a:lnTo>
                        <a:pt x="52166" y="33503"/>
                      </a:lnTo>
                      <a:lnTo>
                        <a:pt x="53560" y="32656"/>
                      </a:lnTo>
                      <a:lnTo>
                        <a:pt x="54489" y="29893"/>
                      </a:lnTo>
                      <a:lnTo>
                        <a:pt x="55964" y="27595"/>
                      </a:lnTo>
                      <a:lnTo>
                        <a:pt x="47953" y="28785"/>
                      </a:lnTo>
                      <a:lnTo>
                        <a:pt x="40325" y="26063"/>
                      </a:lnTo>
                      <a:lnTo>
                        <a:pt x="41539" y="24131"/>
                      </a:lnTo>
                      <a:lnTo>
                        <a:pt x="43145" y="23039"/>
                      </a:lnTo>
                      <a:lnTo>
                        <a:pt x="45924" y="22192"/>
                      </a:lnTo>
                      <a:lnTo>
                        <a:pt x="46184" y="21189"/>
                      </a:lnTo>
                      <a:lnTo>
                        <a:pt x="47595" y="20350"/>
                      </a:lnTo>
                      <a:lnTo>
                        <a:pt x="49917" y="18149"/>
                      </a:lnTo>
                      <a:lnTo>
                        <a:pt x="49070" y="15264"/>
                      </a:lnTo>
                      <a:lnTo>
                        <a:pt x="49526" y="13162"/>
                      </a:lnTo>
                      <a:lnTo>
                        <a:pt x="51196" y="11793"/>
                      </a:lnTo>
                      <a:lnTo>
                        <a:pt x="51718" y="9820"/>
                      </a:lnTo>
                      <a:lnTo>
                        <a:pt x="52468" y="8370"/>
                      </a:lnTo>
                      <a:lnTo>
                        <a:pt x="55866" y="7848"/>
                      </a:lnTo>
                      <a:lnTo>
                        <a:pt x="59126" y="6495"/>
                      </a:lnTo>
                      <a:lnTo>
                        <a:pt x="60308" y="6626"/>
                      </a:lnTo>
                      <a:lnTo>
                        <a:pt x="64155" y="6316"/>
                      </a:lnTo>
                      <a:lnTo>
                        <a:pt x="65459" y="6854"/>
                      </a:lnTo>
                      <a:lnTo>
                        <a:pt x="65166" y="4474"/>
                      </a:lnTo>
                      <a:lnTo>
                        <a:pt x="67537" y="4164"/>
                      </a:lnTo>
                      <a:lnTo>
                        <a:pt x="68458" y="4637"/>
                      </a:lnTo>
                      <a:lnTo>
                        <a:pt x="68865" y="6332"/>
                      </a:lnTo>
                      <a:lnTo>
                        <a:pt x="69941" y="7408"/>
                      </a:lnTo>
                      <a:lnTo>
                        <a:pt x="70275" y="9282"/>
                      </a:lnTo>
                      <a:lnTo>
                        <a:pt x="69558" y="10725"/>
                      </a:lnTo>
                      <a:lnTo>
                        <a:pt x="68352" y="11841"/>
                      </a:lnTo>
                      <a:lnTo>
                        <a:pt x="69452" y="12991"/>
                      </a:lnTo>
                      <a:lnTo>
                        <a:pt x="67749" y="15044"/>
                      </a:lnTo>
                      <a:lnTo>
                        <a:pt x="69599" y="14172"/>
                      </a:lnTo>
                      <a:lnTo>
                        <a:pt x="72223" y="12151"/>
                      </a:lnTo>
                      <a:lnTo>
                        <a:pt x="72085" y="10497"/>
                      </a:lnTo>
                      <a:lnTo>
                        <a:pt x="71636" y="8427"/>
                      </a:lnTo>
                      <a:lnTo>
                        <a:pt x="70911" y="6552"/>
                      </a:lnTo>
                      <a:lnTo>
                        <a:pt x="71253" y="4499"/>
                      </a:lnTo>
                      <a:lnTo>
                        <a:pt x="72728" y="3203"/>
                      </a:lnTo>
                      <a:lnTo>
                        <a:pt x="76616" y="2567"/>
                      </a:lnTo>
                      <a:lnTo>
                        <a:pt x="75018" y="220"/>
                      </a:lnTo>
                      <a:lnTo>
                        <a:pt x="76437" y="0"/>
                      </a:lnTo>
                      <a:lnTo>
                        <a:pt x="77977" y="489"/>
                      </a:lnTo>
                      <a:lnTo>
                        <a:pt x="80242" y="2314"/>
                      </a:lnTo>
                      <a:lnTo>
                        <a:pt x="82606" y="3749"/>
                      </a:lnTo>
                      <a:lnTo>
                        <a:pt x="85051" y="4882"/>
                      </a:lnTo>
                      <a:lnTo>
                        <a:pt x="82696" y="7155"/>
                      </a:lnTo>
                      <a:lnTo>
                        <a:pt x="79811" y="8728"/>
                      </a:lnTo>
                      <a:lnTo>
                        <a:pt x="78669" y="10440"/>
                      </a:lnTo>
                      <a:lnTo>
                        <a:pt x="74749" y="12893"/>
                      </a:lnTo>
                      <a:lnTo>
                        <a:pt x="74154" y="13814"/>
                      </a:lnTo>
                      <a:close/>
                    </a:path>
                  </a:pathLst>
                </a:custGeom>
                <a:solidFill>
                  <a:srgbClr val="D6D6D2"/>
                </a:solidFill>
                <a:ln w="8150" cap="flat">
                  <a:noFill/>
                  <a:prstDash val="solid"/>
                  <a:miter/>
                </a:ln>
              </p:spPr>
              <p:txBody>
                <a:bodyPr rtlCol="0" anchor="ctr"/>
                <a:lstStyle/>
                <a:p>
                  <a:endParaRPr lang="en-US"/>
                </a:p>
              </p:txBody>
            </p:sp>
            <p:sp>
              <p:nvSpPr>
                <p:cNvPr id="712" name="Freeform: Shape 711">
                  <a:extLst>
                    <a:ext uri="{FF2B5EF4-FFF2-40B4-BE49-F238E27FC236}">
                      <a16:creationId xmlns:a16="http://schemas.microsoft.com/office/drawing/2014/main" id="{114AE539-8F76-4D1A-8B36-95F4F4D6A3B4}"/>
                    </a:ext>
                  </a:extLst>
                </p:cNvPr>
                <p:cNvSpPr/>
                <p:nvPr/>
              </p:nvSpPr>
              <p:spPr>
                <a:xfrm>
                  <a:off x="8238678" y="4117067"/>
                  <a:ext cx="13463" cy="61595"/>
                </a:xfrm>
                <a:custGeom>
                  <a:avLst/>
                  <a:gdLst>
                    <a:gd name="connsiteX0" fmla="*/ 4686 w 13463"/>
                    <a:gd name="connsiteY0" fmla="*/ 60887 h 61595"/>
                    <a:gd name="connsiteX1" fmla="*/ 4140 w 13463"/>
                    <a:gd name="connsiteY1" fmla="*/ 61596 h 61595"/>
                    <a:gd name="connsiteX2" fmla="*/ 3333 w 13463"/>
                    <a:gd name="connsiteY2" fmla="*/ 60805 h 61595"/>
                    <a:gd name="connsiteX3" fmla="*/ 1035 w 13463"/>
                    <a:gd name="connsiteY3" fmla="*/ 55378 h 61595"/>
                    <a:gd name="connsiteX4" fmla="*/ 636 w 13463"/>
                    <a:gd name="connsiteY4" fmla="*/ 51889 h 61595"/>
                    <a:gd name="connsiteX5" fmla="*/ 0 w 13463"/>
                    <a:gd name="connsiteY5" fmla="*/ 50683 h 61595"/>
                    <a:gd name="connsiteX6" fmla="*/ 807 w 13463"/>
                    <a:gd name="connsiteY6" fmla="*/ 48956 h 61595"/>
                    <a:gd name="connsiteX7" fmla="*/ 1826 w 13463"/>
                    <a:gd name="connsiteY7" fmla="*/ 48377 h 61595"/>
                    <a:gd name="connsiteX8" fmla="*/ 2428 w 13463"/>
                    <a:gd name="connsiteY8" fmla="*/ 46429 h 61595"/>
                    <a:gd name="connsiteX9" fmla="*/ 2649 w 13463"/>
                    <a:gd name="connsiteY9" fmla="*/ 43454 h 61595"/>
                    <a:gd name="connsiteX10" fmla="*/ 3537 w 13463"/>
                    <a:gd name="connsiteY10" fmla="*/ 41026 h 61595"/>
                    <a:gd name="connsiteX11" fmla="*/ 3985 w 13463"/>
                    <a:gd name="connsiteY11" fmla="*/ 40349 h 61595"/>
                    <a:gd name="connsiteX12" fmla="*/ 5843 w 13463"/>
                    <a:gd name="connsiteY12" fmla="*/ 40317 h 61595"/>
                    <a:gd name="connsiteX13" fmla="*/ 6308 w 13463"/>
                    <a:gd name="connsiteY13" fmla="*/ 40015 h 61595"/>
                    <a:gd name="connsiteX14" fmla="*/ 6047 w 13463"/>
                    <a:gd name="connsiteY14" fmla="*/ 37693 h 61595"/>
                    <a:gd name="connsiteX15" fmla="*/ 4963 w 13463"/>
                    <a:gd name="connsiteY15" fmla="*/ 36682 h 61595"/>
                    <a:gd name="connsiteX16" fmla="*/ 4588 w 13463"/>
                    <a:gd name="connsiteY16" fmla="*/ 36030 h 61595"/>
                    <a:gd name="connsiteX17" fmla="*/ 4629 w 13463"/>
                    <a:gd name="connsiteY17" fmla="*/ 30456 h 61595"/>
                    <a:gd name="connsiteX18" fmla="*/ 4915 w 13463"/>
                    <a:gd name="connsiteY18" fmla="*/ 28206 h 61595"/>
                    <a:gd name="connsiteX19" fmla="*/ 5591 w 13463"/>
                    <a:gd name="connsiteY19" fmla="*/ 26584 h 61595"/>
                    <a:gd name="connsiteX20" fmla="*/ 5110 w 13463"/>
                    <a:gd name="connsiteY20" fmla="*/ 23235 h 61595"/>
                    <a:gd name="connsiteX21" fmla="*/ 5436 w 13463"/>
                    <a:gd name="connsiteY21" fmla="*/ 21980 h 61595"/>
                    <a:gd name="connsiteX22" fmla="*/ 6772 w 13463"/>
                    <a:gd name="connsiteY22" fmla="*/ 20220 h 61595"/>
                    <a:gd name="connsiteX23" fmla="*/ 7367 w 13463"/>
                    <a:gd name="connsiteY23" fmla="*/ 16471 h 61595"/>
                    <a:gd name="connsiteX24" fmla="*/ 6821 w 13463"/>
                    <a:gd name="connsiteY24" fmla="*/ 15354 h 61595"/>
                    <a:gd name="connsiteX25" fmla="*/ 8085 w 13463"/>
                    <a:gd name="connsiteY25" fmla="*/ 9560 h 61595"/>
                    <a:gd name="connsiteX26" fmla="*/ 8019 w 13463"/>
                    <a:gd name="connsiteY26" fmla="*/ 5688 h 61595"/>
                    <a:gd name="connsiteX27" fmla="*/ 9698 w 13463"/>
                    <a:gd name="connsiteY27" fmla="*/ 1809 h 61595"/>
                    <a:gd name="connsiteX28" fmla="*/ 12290 w 13463"/>
                    <a:gd name="connsiteY28" fmla="*/ 49 h 61595"/>
                    <a:gd name="connsiteX29" fmla="*/ 13105 w 13463"/>
                    <a:gd name="connsiteY29" fmla="*/ 0 h 61595"/>
                    <a:gd name="connsiteX30" fmla="*/ 13210 w 13463"/>
                    <a:gd name="connsiteY30" fmla="*/ 3309 h 61595"/>
                    <a:gd name="connsiteX31" fmla="*/ 13463 w 13463"/>
                    <a:gd name="connsiteY31" fmla="*/ 4393 h 61595"/>
                    <a:gd name="connsiteX32" fmla="*/ 11964 w 13463"/>
                    <a:gd name="connsiteY32" fmla="*/ 6349 h 61595"/>
                    <a:gd name="connsiteX33" fmla="*/ 13390 w 13463"/>
                    <a:gd name="connsiteY33" fmla="*/ 8908 h 61595"/>
                    <a:gd name="connsiteX34" fmla="*/ 13195 w 13463"/>
                    <a:gd name="connsiteY34" fmla="*/ 9837 h 61595"/>
                    <a:gd name="connsiteX35" fmla="*/ 12632 w 13463"/>
                    <a:gd name="connsiteY35" fmla="*/ 11858 h 61595"/>
                    <a:gd name="connsiteX36" fmla="*/ 11678 w 13463"/>
                    <a:gd name="connsiteY36" fmla="*/ 13838 h 61595"/>
                    <a:gd name="connsiteX37" fmla="*/ 10358 w 13463"/>
                    <a:gd name="connsiteY37" fmla="*/ 14653 h 61595"/>
                    <a:gd name="connsiteX38" fmla="*/ 9332 w 13463"/>
                    <a:gd name="connsiteY38" fmla="*/ 17310 h 61595"/>
                    <a:gd name="connsiteX39" fmla="*/ 8737 w 13463"/>
                    <a:gd name="connsiteY39" fmla="*/ 18304 h 61595"/>
                    <a:gd name="connsiteX40" fmla="*/ 10701 w 13463"/>
                    <a:gd name="connsiteY40" fmla="*/ 21083 h 61595"/>
                    <a:gd name="connsiteX41" fmla="*/ 11328 w 13463"/>
                    <a:gd name="connsiteY41" fmla="*/ 30545 h 61595"/>
                    <a:gd name="connsiteX42" fmla="*/ 9894 w 13463"/>
                    <a:gd name="connsiteY42" fmla="*/ 33129 h 61595"/>
                    <a:gd name="connsiteX43" fmla="*/ 8183 w 13463"/>
                    <a:gd name="connsiteY43" fmla="*/ 33642 h 61595"/>
                    <a:gd name="connsiteX44" fmla="*/ 8574 w 13463"/>
                    <a:gd name="connsiteY44" fmla="*/ 39942 h 61595"/>
                    <a:gd name="connsiteX45" fmla="*/ 8264 w 13463"/>
                    <a:gd name="connsiteY45" fmla="*/ 41360 h 61595"/>
                    <a:gd name="connsiteX46" fmla="*/ 6568 w 13463"/>
                    <a:gd name="connsiteY46" fmla="*/ 44449 h 61595"/>
                    <a:gd name="connsiteX47" fmla="*/ 6259 w 13463"/>
                    <a:gd name="connsiteY47" fmla="*/ 45801 h 61595"/>
                    <a:gd name="connsiteX48" fmla="*/ 5298 w 13463"/>
                    <a:gd name="connsiteY48" fmla="*/ 47073 h 61595"/>
                    <a:gd name="connsiteX49" fmla="*/ 5705 w 13463"/>
                    <a:gd name="connsiteY49" fmla="*/ 48654 h 61595"/>
                    <a:gd name="connsiteX50" fmla="*/ 6520 w 13463"/>
                    <a:gd name="connsiteY50" fmla="*/ 49347 h 61595"/>
                    <a:gd name="connsiteX51" fmla="*/ 6544 w 13463"/>
                    <a:gd name="connsiteY51" fmla="*/ 50643 h 61595"/>
                    <a:gd name="connsiteX52" fmla="*/ 5778 w 13463"/>
                    <a:gd name="connsiteY52" fmla="*/ 53976 h 61595"/>
                    <a:gd name="connsiteX53" fmla="*/ 5721 w 13463"/>
                    <a:gd name="connsiteY53" fmla="*/ 57765 h 6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463" h="61595">
                      <a:moveTo>
                        <a:pt x="4686" y="60887"/>
                      </a:moveTo>
                      <a:lnTo>
                        <a:pt x="4140" y="61596"/>
                      </a:lnTo>
                      <a:lnTo>
                        <a:pt x="3333" y="60805"/>
                      </a:lnTo>
                      <a:lnTo>
                        <a:pt x="1035" y="55378"/>
                      </a:lnTo>
                      <a:lnTo>
                        <a:pt x="636" y="51889"/>
                      </a:lnTo>
                      <a:lnTo>
                        <a:pt x="0" y="50683"/>
                      </a:lnTo>
                      <a:lnTo>
                        <a:pt x="807" y="48956"/>
                      </a:lnTo>
                      <a:lnTo>
                        <a:pt x="1826" y="48377"/>
                      </a:lnTo>
                      <a:lnTo>
                        <a:pt x="2428" y="46429"/>
                      </a:lnTo>
                      <a:lnTo>
                        <a:pt x="2649" y="43454"/>
                      </a:lnTo>
                      <a:lnTo>
                        <a:pt x="3537" y="41026"/>
                      </a:lnTo>
                      <a:lnTo>
                        <a:pt x="3985" y="40349"/>
                      </a:lnTo>
                      <a:lnTo>
                        <a:pt x="5843" y="40317"/>
                      </a:lnTo>
                      <a:lnTo>
                        <a:pt x="6308" y="40015"/>
                      </a:lnTo>
                      <a:lnTo>
                        <a:pt x="6047" y="37693"/>
                      </a:lnTo>
                      <a:lnTo>
                        <a:pt x="4963" y="36682"/>
                      </a:lnTo>
                      <a:lnTo>
                        <a:pt x="4588" y="36030"/>
                      </a:lnTo>
                      <a:lnTo>
                        <a:pt x="4629" y="30456"/>
                      </a:lnTo>
                      <a:lnTo>
                        <a:pt x="4915" y="28206"/>
                      </a:lnTo>
                      <a:lnTo>
                        <a:pt x="5591" y="26584"/>
                      </a:lnTo>
                      <a:lnTo>
                        <a:pt x="5110" y="23235"/>
                      </a:lnTo>
                      <a:lnTo>
                        <a:pt x="5436" y="21980"/>
                      </a:lnTo>
                      <a:lnTo>
                        <a:pt x="6772" y="20220"/>
                      </a:lnTo>
                      <a:lnTo>
                        <a:pt x="7367" y="16471"/>
                      </a:lnTo>
                      <a:lnTo>
                        <a:pt x="6821" y="15354"/>
                      </a:lnTo>
                      <a:lnTo>
                        <a:pt x="8085" y="9560"/>
                      </a:lnTo>
                      <a:lnTo>
                        <a:pt x="8019" y="5688"/>
                      </a:lnTo>
                      <a:lnTo>
                        <a:pt x="9698" y="1809"/>
                      </a:lnTo>
                      <a:lnTo>
                        <a:pt x="12290" y="49"/>
                      </a:lnTo>
                      <a:lnTo>
                        <a:pt x="13105" y="0"/>
                      </a:lnTo>
                      <a:lnTo>
                        <a:pt x="13210" y="3309"/>
                      </a:lnTo>
                      <a:lnTo>
                        <a:pt x="13463" y="4393"/>
                      </a:lnTo>
                      <a:lnTo>
                        <a:pt x="11964" y="6349"/>
                      </a:lnTo>
                      <a:lnTo>
                        <a:pt x="13390" y="8908"/>
                      </a:lnTo>
                      <a:lnTo>
                        <a:pt x="13195" y="9837"/>
                      </a:lnTo>
                      <a:lnTo>
                        <a:pt x="12632" y="11858"/>
                      </a:lnTo>
                      <a:lnTo>
                        <a:pt x="11678" y="13838"/>
                      </a:lnTo>
                      <a:lnTo>
                        <a:pt x="10358" y="14653"/>
                      </a:lnTo>
                      <a:lnTo>
                        <a:pt x="9332" y="17310"/>
                      </a:lnTo>
                      <a:lnTo>
                        <a:pt x="8737" y="18304"/>
                      </a:lnTo>
                      <a:lnTo>
                        <a:pt x="10701" y="21083"/>
                      </a:lnTo>
                      <a:lnTo>
                        <a:pt x="11328" y="30545"/>
                      </a:lnTo>
                      <a:lnTo>
                        <a:pt x="9894" y="33129"/>
                      </a:lnTo>
                      <a:lnTo>
                        <a:pt x="8183" y="33642"/>
                      </a:lnTo>
                      <a:lnTo>
                        <a:pt x="8574" y="39942"/>
                      </a:lnTo>
                      <a:lnTo>
                        <a:pt x="8264" y="41360"/>
                      </a:lnTo>
                      <a:lnTo>
                        <a:pt x="6568" y="44449"/>
                      </a:lnTo>
                      <a:lnTo>
                        <a:pt x="6259" y="45801"/>
                      </a:lnTo>
                      <a:lnTo>
                        <a:pt x="5298" y="47073"/>
                      </a:lnTo>
                      <a:lnTo>
                        <a:pt x="5705" y="48654"/>
                      </a:lnTo>
                      <a:lnTo>
                        <a:pt x="6520" y="49347"/>
                      </a:lnTo>
                      <a:lnTo>
                        <a:pt x="6544" y="50643"/>
                      </a:lnTo>
                      <a:lnTo>
                        <a:pt x="5778" y="53976"/>
                      </a:lnTo>
                      <a:lnTo>
                        <a:pt x="5721" y="57765"/>
                      </a:lnTo>
                      <a:close/>
                    </a:path>
                  </a:pathLst>
                </a:custGeom>
                <a:solidFill>
                  <a:srgbClr val="D6D6D2"/>
                </a:solidFill>
                <a:ln w="8150" cap="flat">
                  <a:noFill/>
                  <a:prstDash val="solid"/>
                  <a:miter/>
                </a:ln>
              </p:spPr>
              <p:txBody>
                <a:bodyPr rtlCol="0" anchor="ctr"/>
                <a:lstStyle/>
                <a:p>
                  <a:endParaRPr lang="en-US"/>
                </a:p>
              </p:txBody>
            </p:sp>
            <p:sp>
              <p:nvSpPr>
                <p:cNvPr id="713" name="Freeform: Shape 712">
                  <a:extLst>
                    <a:ext uri="{FF2B5EF4-FFF2-40B4-BE49-F238E27FC236}">
                      <a16:creationId xmlns:a16="http://schemas.microsoft.com/office/drawing/2014/main" id="{4F2B7766-2BB0-4896-A5E9-D95BCDF129C9}"/>
                    </a:ext>
                  </a:extLst>
                </p:cNvPr>
                <p:cNvSpPr/>
                <p:nvPr/>
              </p:nvSpPr>
              <p:spPr>
                <a:xfrm>
                  <a:off x="7634278" y="3426450"/>
                  <a:ext cx="723696" cy="855795"/>
                </a:xfrm>
                <a:custGeom>
                  <a:avLst/>
                  <a:gdLst>
                    <a:gd name="connsiteX0" fmla="*/ 261777 w 723696"/>
                    <a:gd name="connsiteY0" fmla="*/ 117943 h 855795"/>
                    <a:gd name="connsiteX1" fmla="*/ 261704 w 723696"/>
                    <a:gd name="connsiteY1" fmla="*/ 117829 h 855795"/>
                    <a:gd name="connsiteX2" fmla="*/ 260262 w 723696"/>
                    <a:gd name="connsiteY2" fmla="*/ 115417 h 855795"/>
                    <a:gd name="connsiteX3" fmla="*/ 261777 w 723696"/>
                    <a:gd name="connsiteY3" fmla="*/ 117943 h 855795"/>
                    <a:gd name="connsiteX4" fmla="*/ 260963 w 723696"/>
                    <a:gd name="connsiteY4" fmla="*/ 120600 h 855795"/>
                    <a:gd name="connsiteX5" fmla="*/ 261126 w 723696"/>
                    <a:gd name="connsiteY5" fmla="*/ 122702 h 855795"/>
                    <a:gd name="connsiteX6" fmla="*/ 262633 w 723696"/>
                    <a:gd name="connsiteY6" fmla="*/ 125041 h 855795"/>
                    <a:gd name="connsiteX7" fmla="*/ 263839 w 723696"/>
                    <a:gd name="connsiteY7" fmla="*/ 126663 h 855795"/>
                    <a:gd name="connsiteX8" fmla="*/ 262649 w 723696"/>
                    <a:gd name="connsiteY8" fmla="*/ 128855 h 855795"/>
                    <a:gd name="connsiteX9" fmla="*/ 261957 w 723696"/>
                    <a:gd name="connsiteY9" fmla="*/ 131390 h 855795"/>
                    <a:gd name="connsiteX10" fmla="*/ 262747 w 723696"/>
                    <a:gd name="connsiteY10" fmla="*/ 132531 h 855795"/>
                    <a:gd name="connsiteX11" fmla="*/ 262364 w 723696"/>
                    <a:gd name="connsiteY11" fmla="*/ 136166 h 855795"/>
                    <a:gd name="connsiteX12" fmla="*/ 262723 w 723696"/>
                    <a:gd name="connsiteY12" fmla="*/ 136867 h 855795"/>
                    <a:gd name="connsiteX13" fmla="*/ 263562 w 723696"/>
                    <a:gd name="connsiteY13" fmla="*/ 137144 h 855795"/>
                    <a:gd name="connsiteX14" fmla="*/ 264874 w 723696"/>
                    <a:gd name="connsiteY14" fmla="*/ 136891 h 855795"/>
                    <a:gd name="connsiteX15" fmla="*/ 266235 w 723696"/>
                    <a:gd name="connsiteY15" fmla="*/ 135929 h 855795"/>
                    <a:gd name="connsiteX16" fmla="*/ 267393 w 723696"/>
                    <a:gd name="connsiteY16" fmla="*/ 135742 h 855795"/>
                    <a:gd name="connsiteX17" fmla="*/ 268077 w 723696"/>
                    <a:gd name="connsiteY17" fmla="*/ 136019 h 855795"/>
                    <a:gd name="connsiteX18" fmla="*/ 269006 w 723696"/>
                    <a:gd name="connsiteY18" fmla="*/ 133256 h 855795"/>
                    <a:gd name="connsiteX19" fmla="*/ 269805 w 723696"/>
                    <a:gd name="connsiteY19" fmla="*/ 132865 h 855795"/>
                    <a:gd name="connsiteX20" fmla="*/ 271394 w 723696"/>
                    <a:gd name="connsiteY20" fmla="*/ 133623 h 855795"/>
                    <a:gd name="connsiteX21" fmla="*/ 274499 w 723696"/>
                    <a:gd name="connsiteY21" fmla="*/ 138831 h 855795"/>
                    <a:gd name="connsiteX22" fmla="*/ 277132 w 723696"/>
                    <a:gd name="connsiteY22" fmla="*/ 143215 h 855795"/>
                    <a:gd name="connsiteX23" fmla="*/ 277686 w 723696"/>
                    <a:gd name="connsiteY23" fmla="*/ 143818 h 855795"/>
                    <a:gd name="connsiteX24" fmla="*/ 277898 w 723696"/>
                    <a:gd name="connsiteY24" fmla="*/ 144038 h 855795"/>
                    <a:gd name="connsiteX25" fmla="*/ 278362 w 723696"/>
                    <a:gd name="connsiteY25" fmla="*/ 144552 h 855795"/>
                    <a:gd name="connsiteX26" fmla="*/ 280970 w 723696"/>
                    <a:gd name="connsiteY26" fmla="*/ 146826 h 855795"/>
                    <a:gd name="connsiteX27" fmla="*/ 282747 w 723696"/>
                    <a:gd name="connsiteY27" fmla="*/ 148268 h 855795"/>
                    <a:gd name="connsiteX28" fmla="*/ 285200 w 723696"/>
                    <a:gd name="connsiteY28" fmla="*/ 147738 h 855795"/>
                    <a:gd name="connsiteX29" fmla="*/ 288444 w 723696"/>
                    <a:gd name="connsiteY29" fmla="*/ 147649 h 855795"/>
                    <a:gd name="connsiteX30" fmla="*/ 290359 w 723696"/>
                    <a:gd name="connsiteY30" fmla="*/ 149050 h 855795"/>
                    <a:gd name="connsiteX31" fmla="*/ 291467 w 723696"/>
                    <a:gd name="connsiteY31" fmla="*/ 150028 h 855795"/>
                    <a:gd name="connsiteX32" fmla="*/ 291508 w 723696"/>
                    <a:gd name="connsiteY32" fmla="*/ 150167 h 855795"/>
                    <a:gd name="connsiteX33" fmla="*/ 291662 w 723696"/>
                    <a:gd name="connsiteY33" fmla="*/ 150208 h 855795"/>
                    <a:gd name="connsiteX34" fmla="*/ 291662 w 723696"/>
                    <a:gd name="connsiteY34" fmla="*/ 150208 h 855795"/>
                    <a:gd name="connsiteX35" fmla="*/ 295558 w 723696"/>
                    <a:gd name="connsiteY35" fmla="*/ 153647 h 855795"/>
                    <a:gd name="connsiteX36" fmla="*/ 297237 w 723696"/>
                    <a:gd name="connsiteY36" fmla="*/ 153394 h 855795"/>
                    <a:gd name="connsiteX37" fmla="*/ 298354 w 723696"/>
                    <a:gd name="connsiteY37" fmla="*/ 154380 h 855795"/>
                    <a:gd name="connsiteX38" fmla="*/ 298672 w 723696"/>
                    <a:gd name="connsiteY38" fmla="*/ 156809 h 855795"/>
                    <a:gd name="connsiteX39" fmla="*/ 298150 w 723696"/>
                    <a:gd name="connsiteY39" fmla="*/ 159335 h 855795"/>
                    <a:gd name="connsiteX40" fmla="*/ 298280 w 723696"/>
                    <a:gd name="connsiteY40" fmla="*/ 160517 h 855795"/>
                    <a:gd name="connsiteX41" fmla="*/ 300000 w 723696"/>
                    <a:gd name="connsiteY41" fmla="*/ 160745 h 855795"/>
                    <a:gd name="connsiteX42" fmla="*/ 303691 w 723696"/>
                    <a:gd name="connsiteY42" fmla="*/ 162424 h 855795"/>
                    <a:gd name="connsiteX43" fmla="*/ 306952 w 723696"/>
                    <a:gd name="connsiteY43" fmla="*/ 163891 h 855795"/>
                    <a:gd name="connsiteX44" fmla="*/ 308638 w 723696"/>
                    <a:gd name="connsiteY44" fmla="*/ 164364 h 855795"/>
                    <a:gd name="connsiteX45" fmla="*/ 310456 w 723696"/>
                    <a:gd name="connsiteY45" fmla="*/ 165464 h 855795"/>
                    <a:gd name="connsiteX46" fmla="*/ 312053 w 723696"/>
                    <a:gd name="connsiteY46" fmla="*/ 167208 h 855795"/>
                    <a:gd name="connsiteX47" fmla="*/ 315199 w 723696"/>
                    <a:gd name="connsiteY47" fmla="*/ 169457 h 855795"/>
                    <a:gd name="connsiteX48" fmla="*/ 317978 w 723696"/>
                    <a:gd name="connsiteY48" fmla="*/ 171177 h 855795"/>
                    <a:gd name="connsiteX49" fmla="*/ 318589 w 723696"/>
                    <a:gd name="connsiteY49" fmla="*/ 173508 h 855795"/>
                    <a:gd name="connsiteX50" fmla="*/ 317489 w 723696"/>
                    <a:gd name="connsiteY50" fmla="*/ 173011 h 855795"/>
                    <a:gd name="connsiteX51" fmla="*/ 316038 w 723696"/>
                    <a:gd name="connsiteY51" fmla="*/ 173272 h 855795"/>
                    <a:gd name="connsiteX52" fmla="*/ 314572 w 723696"/>
                    <a:gd name="connsiteY52" fmla="*/ 174298 h 855795"/>
                    <a:gd name="connsiteX53" fmla="*/ 313871 w 723696"/>
                    <a:gd name="connsiteY53" fmla="*/ 174959 h 855795"/>
                    <a:gd name="connsiteX54" fmla="*/ 310497 w 723696"/>
                    <a:gd name="connsiteY54" fmla="*/ 178968 h 855795"/>
                    <a:gd name="connsiteX55" fmla="*/ 308736 w 723696"/>
                    <a:gd name="connsiteY55" fmla="*/ 180207 h 855795"/>
                    <a:gd name="connsiteX56" fmla="*/ 307139 w 723696"/>
                    <a:gd name="connsiteY56" fmla="*/ 182000 h 855795"/>
                    <a:gd name="connsiteX57" fmla="*/ 303504 w 723696"/>
                    <a:gd name="connsiteY57" fmla="*/ 187436 h 855795"/>
                    <a:gd name="connsiteX58" fmla="*/ 301385 w 723696"/>
                    <a:gd name="connsiteY58" fmla="*/ 192497 h 855795"/>
                    <a:gd name="connsiteX59" fmla="*/ 299853 w 723696"/>
                    <a:gd name="connsiteY59" fmla="*/ 197256 h 855795"/>
                    <a:gd name="connsiteX60" fmla="*/ 299877 w 723696"/>
                    <a:gd name="connsiteY60" fmla="*/ 200630 h 855795"/>
                    <a:gd name="connsiteX61" fmla="*/ 299315 w 723696"/>
                    <a:gd name="connsiteY61" fmla="*/ 204583 h 855795"/>
                    <a:gd name="connsiteX62" fmla="*/ 297734 w 723696"/>
                    <a:gd name="connsiteY62" fmla="*/ 206832 h 855795"/>
                    <a:gd name="connsiteX63" fmla="*/ 296772 w 723696"/>
                    <a:gd name="connsiteY63" fmla="*/ 207590 h 855795"/>
                    <a:gd name="connsiteX64" fmla="*/ 295623 w 723696"/>
                    <a:gd name="connsiteY64" fmla="*/ 210988 h 855795"/>
                    <a:gd name="connsiteX65" fmla="*/ 294816 w 723696"/>
                    <a:gd name="connsiteY65" fmla="*/ 214941 h 855795"/>
                    <a:gd name="connsiteX66" fmla="*/ 295281 w 723696"/>
                    <a:gd name="connsiteY66" fmla="*/ 216221 h 855795"/>
                    <a:gd name="connsiteX67" fmla="*/ 297237 w 723696"/>
                    <a:gd name="connsiteY67" fmla="*/ 217948 h 855795"/>
                    <a:gd name="connsiteX68" fmla="*/ 299152 w 723696"/>
                    <a:gd name="connsiteY68" fmla="*/ 219627 h 855795"/>
                    <a:gd name="connsiteX69" fmla="*/ 301589 w 723696"/>
                    <a:gd name="connsiteY69" fmla="*/ 221445 h 855795"/>
                    <a:gd name="connsiteX70" fmla="*/ 303912 w 723696"/>
                    <a:gd name="connsiteY70" fmla="*/ 223180 h 855795"/>
                    <a:gd name="connsiteX71" fmla="*/ 305420 w 723696"/>
                    <a:gd name="connsiteY71" fmla="*/ 223409 h 855795"/>
                    <a:gd name="connsiteX72" fmla="*/ 305818 w 723696"/>
                    <a:gd name="connsiteY72" fmla="*/ 222422 h 855795"/>
                    <a:gd name="connsiteX73" fmla="*/ 306381 w 723696"/>
                    <a:gd name="connsiteY73" fmla="*/ 221485 h 855795"/>
                    <a:gd name="connsiteX74" fmla="*/ 308093 w 723696"/>
                    <a:gd name="connsiteY74" fmla="*/ 221982 h 855795"/>
                    <a:gd name="connsiteX75" fmla="*/ 310179 w 723696"/>
                    <a:gd name="connsiteY75" fmla="*/ 223678 h 855795"/>
                    <a:gd name="connsiteX76" fmla="*/ 311540 w 723696"/>
                    <a:gd name="connsiteY76" fmla="*/ 225039 h 855795"/>
                    <a:gd name="connsiteX77" fmla="*/ 312151 w 723696"/>
                    <a:gd name="connsiteY77" fmla="*/ 225487 h 855795"/>
                    <a:gd name="connsiteX78" fmla="*/ 315753 w 723696"/>
                    <a:gd name="connsiteY78" fmla="*/ 227753 h 855795"/>
                    <a:gd name="connsiteX79" fmla="*/ 318736 w 723696"/>
                    <a:gd name="connsiteY79" fmla="*/ 229635 h 855795"/>
                    <a:gd name="connsiteX80" fmla="*/ 322534 w 723696"/>
                    <a:gd name="connsiteY80" fmla="*/ 232015 h 855795"/>
                    <a:gd name="connsiteX81" fmla="*/ 323447 w 723696"/>
                    <a:gd name="connsiteY81" fmla="*/ 233457 h 855795"/>
                    <a:gd name="connsiteX82" fmla="*/ 324253 w 723696"/>
                    <a:gd name="connsiteY82" fmla="*/ 235006 h 855795"/>
                    <a:gd name="connsiteX83" fmla="*/ 326046 w 723696"/>
                    <a:gd name="connsiteY83" fmla="*/ 237060 h 855795"/>
                    <a:gd name="connsiteX84" fmla="*/ 330390 w 723696"/>
                    <a:gd name="connsiteY84" fmla="*/ 240694 h 855795"/>
                    <a:gd name="connsiteX85" fmla="*/ 334098 w 723696"/>
                    <a:gd name="connsiteY85" fmla="*/ 243286 h 855795"/>
                    <a:gd name="connsiteX86" fmla="*/ 337114 w 723696"/>
                    <a:gd name="connsiteY86" fmla="*/ 245413 h 855795"/>
                    <a:gd name="connsiteX87" fmla="*/ 339477 w 723696"/>
                    <a:gd name="connsiteY87" fmla="*/ 246896 h 855795"/>
                    <a:gd name="connsiteX88" fmla="*/ 340577 w 723696"/>
                    <a:gd name="connsiteY88" fmla="*/ 246660 h 855795"/>
                    <a:gd name="connsiteX89" fmla="*/ 341775 w 723696"/>
                    <a:gd name="connsiteY89" fmla="*/ 245878 h 855795"/>
                    <a:gd name="connsiteX90" fmla="*/ 342826 w 723696"/>
                    <a:gd name="connsiteY90" fmla="*/ 245413 h 855795"/>
                    <a:gd name="connsiteX91" fmla="*/ 344057 w 723696"/>
                    <a:gd name="connsiteY91" fmla="*/ 245829 h 855795"/>
                    <a:gd name="connsiteX92" fmla="*/ 345907 w 723696"/>
                    <a:gd name="connsiteY92" fmla="*/ 246961 h 855795"/>
                    <a:gd name="connsiteX93" fmla="*/ 350267 w 723696"/>
                    <a:gd name="connsiteY93" fmla="*/ 250409 h 855795"/>
                    <a:gd name="connsiteX94" fmla="*/ 354326 w 723696"/>
                    <a:gd name="connsiteY94" fmla="*/ 253098 h 855795"/>
                    <a:gd name="connsiteX95" fmla="*/ 358751 w 723696"/>
                    <a:gd name="connsiteY95" fmla="*/ 252617 h 855795"/>
                    <a:gd name="connsiteX96" fmla="*/ 359933 w 723696"/>
                    <a:gd name="connsiteY96" fmla="*/ 253049 h 855795"/>
                    <a:gd name="connsiteX97" fmla="*/ 360772 w 723696"/>
                    <a:gd name="connsiteY97" fmla="*/ 255478 h 855795"/>
                    <a:gd name="connsiteX98" fmla="*/ 361327 w 723696"/>
                    <a:gd name="connsiteY98" fmla="*/ 257947 h 855795"/>
                    <a:gd name="connsiteX99" fmla="*/ 366273 w 723696"/>
                    <a:gd name="connsiteY99" fmla="*/ 259577 h 855795"/>
                    <a:gd name="connsiteX100" fmla="*/ 369533 w 723696"/>
                    <a:gd name="connsiteY100" fmla="*/ 260311 h 855795"/>
                    <a:gd name="connsiteX101" fmla="*/ 373241 w 723696"/>
                    <a:gd name="connsiteY101" fmla="*/ 261647 h 855795"/>
                    <a:gd name="connsiteX102" fmla="*/ 375124 w 723696"/>
                    <a:gd name="connsiteY102" fmla="*/ 262641 h 855795"/>
                    <a:gd name="connsiteX103" fmla="*/ 377096 w 723696"/>
                    <a:gd name="connsiteY103" fmla="*/ 261403 h 855795"/>
                    <a:gd name="connsiteX104" fmla="*/ 377463 w 723696"/>
                    <a:gd name="connsiteY104" fmla="*/ 260302 h 855795"/>
                    <a:gd name="connsiteX105" fmla="*/ 379036 w 723696"/>
                    <a:gd name="connsiteY105" fmla="*/ 259651 h 855795"/>
                    <a:gd name="connsiteX106" fmla="*/ 381619 w 723696"/>
                    <a:gd name="connsiteY106" fmla="*/ 259936 h 855795"/>
                    <a:gd name="connsiteX107" fmla="*/ 386468 w 723696"/>
                    <a:gd name="connsiteY107" fmla="*/ 261851 h 855795"/>
                    <a:gd name="connsiteX108" fmla="*/ 388506 w 723696"/>
                    <a:gd name="connsiteY108" fmla="*/ 262429 h 855795"/>
                    <a:gd name="connsiteX109" fmla="*/ 390193 w 723696"/>
                    <a:gd name="connsiteY109" fmla="*/ 260612 h 855795"/>
                    <a:gd name="connsiteX110" fmla="*/ 393363 w 723696"/>
                    <a:gd name="connsiteY110" fmla="*/ 259765 h 855795"/>
                    <a:gd name="connsiteX111" fmla="*/ 395001 w 723696"/>
                    <a:gd name="connsiteY111" fmla="*/ 258827 h 855795"/>
                    <a:gd name="connsiteX112" fmla="*/ 398449 w 723696"/>
                    <a:gd name="connsiteY112" fmla="*/ 260848 h 855795"/>
                    <a:gd name="connsiteX113" fmla="*/ 404667 w 723696"/>
                    <a:gd name="connsiteY113" fmla="*/ 263367 h 855795"/>
                    <a:gd name="connsiteX114" fmla="*/ 407878 w 723696"/>
                    <a:gd name="connsiteY114" fmla="*/ 264940 h 855795"/>
                    <a:gd name="connsiteX115" fmla="*/ 408636 w 723696"/>
                    <a:gd name="connsiteY115" fmla="*/ 266488 h 855795"/>
                    <a:gd name="connsiteX116" fmla="*/ 408986 w 723696"/>
                    <a:gd name="connsiteY116" fmla="*/ 267947 h 855795"/>
                    <a:gd name="connsiteX117" fmla="*/ 408954 w 723696"/>
                    <a:gd name="connsiteY117" fmla="*/ 271500 h 855795"/>
                    <a:gd name="connsiteX118" fmla="*/ 409736 w 723696"/>
                    <a:gd name="connsiteY118" fmla="*/ 273106 h 855795"/>
                    <a:gd name="connsiteX119" fmla="*/ 415979 w 723696"/>
                    <a:gd name="connsiteY119" fmla="*/ 276716 h 855795"/>
                    <a:gd name="connsiteX120" fmla="*/ 418048 w 723696"/>
                    <a:gd name="connsiteY120" fmla="*/ 278248 h 855795"/>
                    <a:gd name="connsiteX121" fmla="*/ 419711 w 723696"/>
                    <a:gd name="connsiteY121" fmla="*/ 278745 h 855795"/>
                    <a:gd name="connsiteX122" fmla="*/ 420656 w 723696"/>
                    <a:gd name="connsiteY122" fmla="*/ 278802 h 855795"/>
                    <a:gd name="connsiteX123" fmla="*/ 421292 w 723696"/>
                    <a:gd name="connsiteY123" fmla="*/ 279259 h 855795"/>
                    <a:gd name="connsiteX124" fmla="*/ 421871 w 723696"/>
                    <a:gd name="connsiteY124" fmla="*/ 281313 h 855795"/>
                    <a:gd name="connsiteX125" fmla="*/ 422294 w 723696"/>
                    <a:gd name="connsiteY125" fmla="*/ 281793 h 855795"/>
                    <a:gd name="connsiteX126" fmla="*/ 423501 w 723696"/>
                    <a:gd name="connsiteY126" fmla="*/ 282299 h 855795"/>
                    <a:gd name="connsiteX127" fmla="*/ 424813 w 723696"/>
                    <a:gd name="connsiteY127" fmla="*/ 282600 h 855795"/>
                    <a:gd name="connsiteX128" fmla="*/ 428863 w 723696"/>
                    <a:gd name="connsiteY128" fmla="*/ 280824 h 855795"/>
                    <a:gd name="connsiteX129" fmla="*/ 431650 w 723696"/>
                    <a:gd name="connsiteY129" fmla="*/ 279471 h 855795"/>
                    <a:gd name="connsiteX130" fmla="*/ 433631 w 723696"/>
                    <a:gd name="connsiteY130" fmla="*/ 279813 h 855795"/>
                    <a:gd name="connsiteX131" fmla="*/ 434902 w 723696"/>
                    <a:gd name="connsiteY131" fmla="*/ 281313 h 855795"/>
                    <a:gd name="connsiteX132" fmla="*/ 435098 w 723696"/>
                    <a:gd name="connsiteY132" fmla="*/ 283497 h 855795"/>
                    <a:gd name="connsiteX133" fmla="*/ 435823 w 723696"/>
                    <a:gd name="connsiteY133" fmla="*/ 285803 h 855795"/>
                    <a:gd name="connsiteX134" fmla="*/ 437249 w 723696"/>
                    <a:gd name="connsiteY134" fmla="*/ 286928 h 855795"/>
                    <a:gd name="connsiteX135" fmla="*/ 438765 w 723696"/>
                    <a:gd name="connsiteY135" fmla="*/ 287050 h 855795"/>
                    <a:gd name="connsiteX136" fmla="*/ 442530 w 723696"/>
                    <a:gd name="connsiteY136" fmla="*/ 285493 h 855795"/>
                    <a:gd name="connsiteX137" fmla="*/ 445554 w 723696"/>
                    <a:gd name="connsiteY137" fmla="*/ 286691 h 855795"/>
                    <a:gd name="connsiteX138" fmla="*/ 448341 w 723696"/>
                    <a:gd name="connsiteY138" fmla="*/ 287115 h 855795"/>
                    <a:gd name="connsiteX139" fmla="*/ 451430 w 723696"/>
                    <a:gd name="connsiteY139" fmla="*/ 287865 h 855795"/>
                    <a:gd name="connsiteX140" fmla="*/ 452628 w 723696"/>
                    <a:gd name="connsiteY140" fmla="*/ 288435 h 855795"/>
                    <a:gd name="connsiteX141" fmla="*/ 455831 w 723696"/>
                    <a:gd name="connsiteY141" fmla="*/ 290342 h 855795"/>
                    <a:gd name="connsiteX142" fmla="*/ 459743 w 723696"/>
                    <a:gd name="connsiteY142" fmla="*/ 292266 h 855795"/>
                    <a:gd name="connsiteX143" fmla="*/ 461267 w 723696"/>
                    <a:gd name="connsiteY143" fmla="*/ 292054 h 855795"/>
                    <a:gd name="connsiteX144" fmla="*/ 467558 w 723696"/>
                    <a:gd name="connsiteY144" fmla="*/ 288468 h 855795"/>
                    <a:gd name="connsiteX145" fmla="*/ 468088 w 723696"/>
                    <a:gd name="connsiteY145" fmla="*/ 288908 h 855795"/>
                    <a:gd name="connsiteX146" fmla="*/ 469376 w 723696"/>
                    <a:gd name="connsiteY146" fmla="*/ 292323 h 855795"/>
                    <a:gd name="connsiteX147" fmla="*/ 471291 w 723696"/>
                    <a:gd name="connsiteY147" fmla="*/ 293561 h 855795"/>
                    <a:gd name="connsiteX148" fmla="*/ 474282 w 723696"/>
                    <a:gd name="connsiteY148" fmla="*/ 294629 h 855795"/>
                    <a:gd name="connsiteX149" fmla="*/ 477403 w 723696"/>
                    <a:gd name="connsiteY149" fmla="*/ 292649 h 855795"/>
                    <a:gd name="connsiteX150" fmla="*/ 479872 w 723696"/>
                    <a:gd name="connsiteY150" fmla="*/ 293219 h 855795"/>
                    <a:gd name="connsiteX151" fmla="*/ 482855 w 723696"/>
                    <a:gd name="connsiteY151" fmla="*/ 293407 h 855795"/>
                    <a:gd name="connsiteX152" fmla="*/ 485732 w 723696"/>
                    <a:gd name="connsiteY152" fmla="*/ 292453 h 855795"/>
                    <a:gd name="connsiteX153" fmla="*/ 488209 w 723696"/>
                    <a:gd name="connsiteY153" fmla="*/ 292209 h 855795"/>
                    <a:gd name="connsiteX154" fmla="*/ 491836 w 723696"/>
                    <a:gd name="connsiteY154" fmla="*/ 293937 h 855795"/>
                    <a:gd name="connsiteX155" fmla="*/ 492611 w 723696"/>
                    <a:gd name="connsiteY155" fmla="*/ 293529 h 855795"/>
                    <a:gd name="connsiteX156" fmla="*/ 493312 w 723696"/>
                    <a:gd name="connsiteY156" fmla="*/ 292429 h 855795"/>
                    <a:gd name="connsiteX157" fmla="*/ 494705 w 723696"/>
                    <a:gd name="connsiteY157" fmla="*/ 287482 h 855795"/>
                    <a:gd name="connsiteX158" fmla="*/ 495960 w 723696"/>
                    <a:gd name="connsiteY158" fmla="*/ 283114 h 855795"/>
                    <a:gd name="connsiteX159" fmla="*/ 495846 w 723696"/>
                    <a:gd name="connsiteY159" fmla="*/ 280497 h 855795"/>
                    <a:gd name="connsiteX160" fmla="*/ 494705 w 723696"/>
                    <a:gd name="connsiteY160" fmla="*/ 276667 h 855795"/>
                    <a:gd name="connsiteX161" fmla="*/ 491779 w 723696"/>
                    <a:gd name="connsiteY161" fmla="*/ 271679 h 855795"/>
                    <a:gd name="connsiteX162" fmla="*/ 491551 w 723696"/>
                    <a:gd name="connsiteY162" fmla="*/ 270156 h 855795"/>
                    <a:gd name="connsiteX163" fmla="*/ 492546 w 723696"/>
                    <a:gd name="connsiteY163" fmla="*/ 261444 h 855795"/>
                    <a:gd name="connsiteX164" fmla="*/ 493637 w 723696"/>
                    <a:gd name="connsiteY164" fmla="*/ 256415 h 855795"/>
                    <a:gd name="connsiteX165" fmla="*/ 494567 w 723696"/>
                    <a:gd name="connsiteY165" fmla="*/ 254035 h 855795"/>
                    <a:gd name="connsiteX166" fmla="*/ 495585 w 723696"/>
                    <a:gd name="connsiteY166" fmla="*/ 250645 h 855795"/>
                    <a:gd name="connsiteX167" fmla="*/ 495773 w 723696"/>
                    <a:gd name="connsiteY167" fmla="*/ 249064 h 855795"/>
                    <a:gd name="connsiteX168" fmla="*/ 495683 w 723696"/>
                    <a:gd name="connsiteY168" fmla="*/ 247654 h 855795"/>
                    <a:gd name="connsiteX169" fmla="*/ 494672 w 723696"/>
                    <a:gd name="connsiteY169" fmla="*/ 246782 h 855795"/>
                    <a:gd name="connsiteX170" fmla="*/ 494403 w 723696"/>
                    <a:gd name="connsiteY170" fmla="*/ 245706 h 855795"/>
                    <a:gd name="connsiteX171" fmla="*/ 494656 w 723696"/>
                    <a:gd name="connsiteY171" fmla="*/ 244802 h 855795"/>
                    <a:gd name="connsiteX172" fmla="*/ 495455 w 723696"/>
                    <a:gd name="connsiteY172" fmla="*/ 244296 h 855795"/>
                    <a:gd name="connsiteX173" fmla="*/ 498772 w 723696"/>
                    <a:gd name="connsiteY173" fmla="*/ 243661 h 855795"/>
                    <a:gd name="connsiteX174" fmla="*/ 502512 w 723696"/>
                    <a:gd name="connsiteY174" fmla="*/ 242300 h 855795"/>
                    <a:gd name="connsiteX175" fmla="*/ 504012 w 723696"/>
                    <a:gd name="connsiteY175" fmla="*/ 241566 h 855795"/>
                    <a:gd name="connsiteX176" fmla="*/ 505137 w 723696"/>
                    <a:gd name="connsiteY176" fmla="*/ 240841 h 855795"/>
                    <a:gd name="connsiteX177" fmla="*/ 506278 w 723696"/>
                    <a:gd name="connsiteY177" fmla="*/ 239700 h 855795"/>
                    <a:gd name="connsiteX178" fmla="*/ 507353 w 723696"/>
                    <a:gd name="connsiteY178" fmla="*/ 239749 h 855795"/>
                    <a:gd name="connsiteX179" fmla="*/ 510711 w 723696"/>
                    <a:gd name="connsiteY179" fmla="*/ 241411 h 855795"/>
                    <a:gd name="connsiteX180" fmla="*/ 511885 w 723696"/>
                    <a:gd name="connsiteY180" fmla="*/ 242455 h 855795"/>
                    <a:gd name="connsiteX181" fmla="*/ 512504 w 723696"/>
                    <a:gd name="connsiteY181" fmla="*/ 245617 h 855795"/>
                    <a:gd name="connsiteX182" fmla="*/ 513009 w 723696"/>
                    <a:gd name="connsiteY182" fmla="*/ 246847 h 855795"/>
                    <a:gd name="connsiteX183" fmla="*/ 512545 w 723696"/>
                    <a:gd name="connsiteY183" fmla="*/ 250058 h 855795"/>
                    <a:gd name="connsiteX184" fmla="*/ 510532 w 723696"/>
                    <a:gd name="connsiteY184" fmla="*/ 257849 h 855795"/>
                    <a:gd name="connsiteX185" fmla="*/ 510915 w 723696"/>
                    <a:gd name="connsiteY185" fmla="*/ 260775 h 855795"/>
                    <a:gd name="connsiteX186" fmla="*/ 512594 w 723696"/>
                    <a:gd name="connsiteY186" fmla="*/ 262902 h 855795"/>
                    <a:gd name="connsiteX187" fmla="*/ 514060 w 723696"/>
                    <a:gd name="connsiteY187" fmla="*/ 264386 h 855795"/>
                    <a:gd name="connsiteX188" fmla="*/ 513824 w 723696"/>
                    <a:gd name="connsiteY188" fmla="*/ 264980 h 855795"/>
                    <a:gd name="connsiteX189" fmla="*/ 510809 w 723696"/>
                    <a:gd name="connsiteY189" fmla="*/ 267490 h 855795"/>
                    <a:gd name="connsiteX190" fmla="*/ 510263 w 723696"/>
                    <a:gd name="connsiteY190" fmla="*/ 268835 h 855795"/>
                    <a:gd name="connsiteX191" fmla="*/ 510931 w 723696"/>
                    <a:gd name="connsiteY191" fmla="*/ 270147 h 855795"/>
                    <a:gd name="connsiteX192" fmla="*/ 512129 w 723696"/>
                    <a:gd name="connsiteY192" fmla="*/ 271264 h 855795"/>
                    <a:gd name="connsiteX193" fmla="*/ 512659 w 723696"/>
                    <a:gd name="connsiteY193" fmla="*/ 272323 h 855795"/>
                    <a:gd name="connsiteX194" fmla="*/ 513221 w 723696"/>
                    <a:gd name="connsiteY194" fmla="*/ 275624 h 855795"/>
                    <a:gd name="connsiteX195" fmla="*/ 514745 w 723696"/>
                    <a:gd name="connsiteY195" fmla="*/ 276545 h 855795"/>
                    <a:gd name="connsiteX196" fmla="*/ 517761 w 723696"/>
                    <a:gd name="connsiteY196" fmla="*/ 278672 h 855795"/>
                    <a:gd name="connsiteX197" fmla="*/ 520434 w 723696"/>
                    <a:gd name="connsiteY197" fmla="*/ 280220 h 855795"/>
                    <a:gd name="connsiteX198" fmla="*/ 524989 w 723696"/>
                    <a:gd name="connsiteY198" fmla="*/ 279193 h 855795"/>
                    <a:gd name="connsiteX199" fmla="*/ 526277 w 723696"/>
                    <a:gd name="connsiteY199" fmla="*/ 279894 h 855795"/>
                    <a:gd name="connsiteX200" fmla="*/ 528526 w 723696"/>
                    <a:gd name="connsiteY200" fmla="*/ 280620 h 855795"/>
                    <a:gd name="connsiteX201" fmla="*/ 530262 w 723696"/>
                    <a:gd name="connsiteY201" fmla="*/ 280856 h 855795"/>
                    <a:gd name="connsiteX202" fmla="*/ 531289 w 723696"/>
                    <a:gd name="connsiteY202" fmla="*/ 281402 h 855795"/>
                    <a:gd name="connsiteX203" fmla="*/ 531868 w 723696"/>
                    <a:gd name="connsiteY203" fmla="*/ 281924 h 855795"/>
                    <a:gd name="connsiteX204" fmla="*/ 531786 w 723696"/>
                    <a:gd name="connsiteY204" fmla="*/ 282600 h 855795"/>
                    <a:gd name="connsiteX205" fmla="*/ 531892 w 723696"/>
                    <a:gd name="connsiteY205" fmla="*/ 283277 h 855795"/>
                    <a:gd name="connsiteX206" fmla="*/ 534378 w 723696"/>
                    <a:gd name="connsiteY206" fmla="*/ 283456 h 855795"/>
                    <a:gd name="connsiteX207" fmla="*/ 535698 w 723696"/>
                    <a:gd name="connsiteY207" fmla="*/ 283847 h 855795"/>
                    <a:gd name="connsiteX208" fmla="*/ 540148 w 723696"/>
                    <a:gd name="connsiteY208" fmla="*/ 283138 h 855795"/>
                    <a:gd name="connsiteX209" fmla="*/ 544606 w 723696"/>
                    <a:gd name="connsiteY209" fmla="*/ 282168 h 855795"/>
                    <a:gd name="connsiteX210" fmla="*/ 546659 w 723696"/>
                    <a:gd name="connsiteY210" fmla="*/ 279234 h 855795"/>
                    <a:gd name="connsiteX211" fmla="*/ 547564 w 723696"/>
                    <a:gd name="connsiteY211" fmla="*/ 279014 h 855795"/>
                    <a:gd name="connsiteX212" fmla="*/ 550131 w 723696"/>
                    <a:gd name="connsiteY212" fmla="*/ 277873 h 855795"/>
                    <a:gd name="connsiteX213" fmla="*/ 552650 w 723696"/>
                    <a:gd name="connsiteY213" fmla="*/ 279128 h 855795"/>
                    <a:gd name="connsiteX214" fmla="*/ 555437 w 723696"/>
                    <a:gd name="connsiteY214" fmla="*/ 280840 h 855795"/>
                    <a:gd name="connsiteX215" fmla="*/ 556937 w 723696"/>
                    <a:gd name="connsiteY215" fmla="*/ 281353 h 855795"/>
                    <a:gd name="connsiteX216" fmla="*/ 559895 w 723696"/>
                    <a:gd name="connsiteY216" fmla="*/ 281622 h 855795"/>
                    <a:gd name="connsiteX217" fmla="*/ 562788 w 723696"/>
                    <a:gd name="connsiteY217" fmla="*/ 281443 h 855795"/>
                    <a:gd name="connsiteX218" fmla="*/ 569674 w 723696"/>
                    <a:gd name="connsiteY218" fmla="*/ 280620 h 855795"/>
                    <a:gd name="connsiteX219" fmla="*/ 573456 w 723696"/>
                    <a:gd name="connsiteY219" fmla="*/ 281044 h 855795"/>
                    <a:gd name="connsiteX220" fmla="*/ 576944 w 723696"/>
                    <a:gd name="connsiteY220" fmla="*/ 278607 h 855795"/>
                    <a:gd name="connsiteX221" fmla="*/ 577669 w 723696"/>
                    <a:gd name="connsiteY221" fmla="*/ 278615 h 855795"/>
                    <a:gd name="connsiteX222" fmla="*/ 579193 w 723696"/>
                    <a:gd name="connsiteY222" fmla="*/ 280497 h 855795"/>
                    <a:gd name="connsiteX223" fmla="*/ 583015 w 723696"/>
                    <a:gd name="connsiteY223" fmla="*/ 280669 h 855795"/>
                    <a:gd name="connsiteX224" fmla="*/ 585053 w 723696"/>
                    <a:gd name="connsiteY224" fmla="*/ 279756 h 855795"/>
                    <a:gd name="connsiteX225" fmla="*/ 587245 w 723696"/>
                    <a:gd name="connsiteY225" fmla="*/ 279055 h 855795"/>
                    <a:gd name="connsiteX226" fmla="*/ 588639 w 723696"/>
                    <a:gd name="connsiteY226" fmla="*/ 278835 h 855795"/>
                    <a:gd name="connsiteX227" fmla="*/ 589763 w 723696"/>
                    <a:gd name="connsiteY227" fmla="*/ 278810 h 855795"/>
                    <a:gd name="connsiteX228" fmla="*/ 591108 w 723696"/>
                    <a:gd name="connsiteY228" fmla="*/ 278990 h 855795"/>
                    <a:gd name="connsiteX229" fmla="*/ 592388 w 723696"/>
                    <a:gd name="connsiteY229" fmla="*/ 278362 h 855795"/>
                    <a:gd name="connsiteX230" fmla="*/ 592983 w 723696"/>
                    <a:gd name="connsiteY230" fmla="*/ 277099 h 855795"/>
                    <a:gd name="connsiteX231" fmla="*/ 592844 w 723696"/>
                    <a:gd name="connsiteY231" fmla="*/ 275184 h 855795"/>
                    <a:gd name="connsiteX232" fmla="*/ 591931 w 723696"/>
                    <a:gd name="connsiteY232" fmla="*/ 273114 h 855795"/>
                    <a:gd name="connsiteX233" fmla="*/ 591116 w 723696"/>
                    <a:gd name="connsiteY233" fmla="*/ 271891 h 855795"/>
                    <a:gd name="connsiteX234" fmla="*/ 590970 w 723696"/>
                    <a:gd name="connsiteY234" fmla="*/ 271240 h 855795"/>
                    <a:gd name="connsiteX235" fmla="*/ 591222 w 723696"/>
                    <a:gd name="connsiteY235" fmla="*/ 269740 h 855795"/>
                    <a:gd name="connsiteX236" fmla="*/ 591940 w 723696"/>
                    <a:gd name="connsiteY236" fmla="*/ 267613 h 855795"/>
                    <a:gd name="connsiteX237" fmla="*/ 593235 w 723696"/>
                    <a:gd name="connsiteY237" fmla="*/ 265192 h 855795"/>
                    <a:gd name="connsiteX238" fmla="*/ 592274 w 723696"/>
                    <a:gd name="connsiteY238" fmla="*/ 262845 h 855795"/>
                    <a:gd name="connsiteX239" fmla="*/ 590937 w 723696"/>
                    <a:gd name="connsiteY239" fmla="*/ 260131 h 855795"/>
                    <a:gd name="connsiteX240" fmla="*/ 589951 w 723696"/>
                    <a:gd name="connsiteY240" fmla="*/ 259879 h 855795"/>
                    <a:gd name="connsiteX241" fmla="*/ 587473 w 723696"/>
                    <a:gd name="connsiteY241" fmla="*/ 260506 h 855795"/>
                    <a:gd name="connsiteX242" fmla="*/ 584792 w 723696"/>
                    <a:gd name="connsiteY242" fmla="*/ 260376 h 855795"/>
                    <a:gd name="connsiteX243" fmla="*/ 582673 w 723696"/>
                    <a:gd name="connsiteY243" fmla="*/ 258754 h 855795"/>
                    <a:gd name="connsiteX244" fmla="*/ 581109 w 723696"/>
                    <a:gd name="connsiteY244" fmla="*/ 256717 h 855795"/>
                    <a:gd name="connsiteX245" fmla="*/ 580725 w 723696"/>
                    <a:gd name="connsiteY245" fmla="*/ 255021 h 855795"/>
                    <a:gd name="connsiteX246" fmla="*/ 581174 w 723696"/>
                    <a:gd name="connsiteY246" fmla="*/ 252935 h 855795"/>
                    <a:gd name="connsiteX247" fmla="*/ 581875 w 723696"/>
                    <a:gd name="connsiteY247" fmla="*/ 251020 h 855795"/>
                    <a:gd name="connsiteX248" fmla="*/ 582029 w 723696"/>
                    <a:gd name="connsiteY248" fmla="*/ 250295 h 855795"/>
                    <a:gd name="connsiteX249" fmla="*/ 584026 w 723696"/>
                    <a:gd name="connsiteY249" fmla="*/ 250311 h 855795"/>
                    <a:gd name="connsiteX250" fmla="*/ 586813 w 723696"/>
                    <a:gd name="connsiteY250" fmla="*/ 250727 h 855795"/>
                    <a:gd name="connsiteX251" fmla="*/ 588916 w 723696"/>
                    <a:gd name="connsiteY251" fmla="*/ 251256 h 855795"/>
                    <a:gd name="connsiteX252" fmla="*/ 590611 w 723696"/>
                    <a:gd name="connsiteY252" fmla="*/ 251240 h 855795"/>
                    <a:gd name="connsiteX253" fmla="*/ 593667 w 723696"/>
                    <a:gd name="connsiteY253" fmla="*/ 248787 h 855795"/>
                    <a:gd name="connsiteX254" fmla="*/ 595077 w 723696"/>
                    <a:gd name="connsiteY254" fmla="*/ 248640 h 855795"/>
                    <a:gd name="connsiteX255" fmla="*/ 596674 w 723696"/>
                    <a:gd name="connsiteY255" fmla="*/ 248176 h 855795"/>
                    <a:gd name="connsiteX256" fmla="*/ 597375 w 723696"/>
                    <a:gd name="connsiteY256" fmla="*/ 247711 h 855795"/>
                    <a:gd name="connsiteX257" fmla="*/ 597856 w 723696"/>
                    <a:gd name="connsiteY257" fmla="*/ 248070 h 855795"/>
                    <a:gd name="connsiteX258" fmla="*/ 599617 w 723696"/>
                    <a:gd name="connsiteY258" fmla="*/ 248363 h 855795"/>
                    <a:gd name="connsiteX259" fmla="*/ 601450 w 723696"/>
                    <a:gd name="connsiteY259" fmla="*/ 248249 h 855795"/>
                    <a:gd name="connsiteX260" fmla="*/ 603080 w 723696"/>
                    <a:gd name="connsiteY260" fmla="*/ 247565 h 855795"/>
                    <a:gd name="connsiteX261" fmla="*/ 604718 w 723696"/>
                    <a:gd name="connsiteY261" fmla="*/ 246513 h 855795"/>
                    <a:gd name="connsiteX262" fmla="*/ 607644 w 723696"/>
                    <a:gd name="connsiteY262" fmla="*/ 244296 h 855795"/>
                    <a:gd name="connsiteX263" fmla="*/ 608215 w 723696"/>
                    <a:gd name="connsiteY263" fmla="*/ 243025 h 855795"/>
                    <a:gd name="connsiteX264" fmla="*/ 608206 w 723696"/>
                    <a:gd name="connsiteY264" fmla="*/ 241851 h 855795"/>
                    <a:gd name="connsiteX265" fmla="*/ 607660 w 723696"/>
                    <a:gd name="connsiteY265" fmla="*/ 241085 h 855795"/>
                    <a:gd name="connsiteX266" fmla="*/ 607114 w 723696"/>
                    <a:gd name="connsiteY266" fmla="*/ 240711 h 855795"/>
                    <a:gd name="connsiteX267" fmla="*/ 607334 w 723696"/>
                    <a:gd name="connsiteY267" fmla="*/ 239700 h 855795"/>
                    <a:gd name="connsiteX268" fmla="*/ 608565 w 723696"/>
                    <a:gd name="connsiteY268" fmla="*/ 237988 h 855795"/>
                    <a:gd name="connsiteX269" fmla="*/ 613031 w 723696"/>
                    <a:gd name="connsiteY269" fmla="*/ 235413 h 855795"/>
                    <a:gd name="connsiteX270" fmla="*/ 616829 w 723696"/>
                    <a:gd name="connsiteY270" fmla="*/ 232243 h 855795"/>
                    <a:gd name="connsiteX271" fmla="*/ 618915 w 723696"/>
                    <a:gd name="connsiteY271" fmla="*/ 229871 h 855795"/>
                    <a:gd name="connsiteX272" fmla="*/ 619869 w 723696"/>
                    <a:gd name="connsiteY272" fmla="*/ 226986 h 855795"/>
                    <a:gd name="connsiteX273" fmla="*/ 621083 w 723696"/>
                    <a:gd name="connsiteY273" fmla="*/ 223857 h 855795"/>
                    <a:gd name="connsiteX274" fmla="*/ 622208 w 723696"/>
                    <a:gd name="connsiteY274" fmla="*/ 222626 h 855795"/>
                    <a:gd name="connsiteX275" fmla="*/ 624905 w 723696"/>
                    <a:gd name="connsiteY275" fmla="*/ 221844 h 855795"/>
                    <a:gd name="connsiteX276" fmla="*/ 632443 w 723696"/>
                    <a:gd name="connsiteY276" fmla="*/ 220687 h 855795"/>
                    <a:gd name="connsiteX277" fmla="*/ 634823 w 723696"/>
                    <a:gd name="connsiteY277" fmla="*/ 219432 h 855795"/>
                    <a:gd name="connsiteX278" fmla="*/ 638344 w 723696"/>
                    <a:gd name="connsiteY278" fmla="*/ 217084 h 855795"/>
                    <a:gd name="connsiteX279" fmla="*/ 640104 w 723696"/>
                    <a:gd name="connsiteY279" fmla="*/ 215243 h 855795"/>
                    <a:gd name="connsiteX280" fmla="*/ 641091 w 723696"/>
                    <a:gd name="connsiteY280" fmla="*/ 213751 h 855795"/>
                    <a:gd name="connsiteX281" fmla="*/ 641205 w 723696"/>
                    <a:gd name="connsiteY281" fmla="*/ 212089 h 855795"/>
                    <a:gd name="connsiteX282" fmla="*/ 643535 w 723696"/>
                    <a:gd name="connsiteY282" fmla="*/ 211567 h 855795"/>
                    <a:gd name="connsiteX283" fmla="*/ 645565 w 723696"/>
                    <a:gd name="connsiteY283" fmla="*/ 208886 h 855795"/>
                    <a:gd name="connsiteX284" fmla="*/ 648042 w 723696"/>
                    <a:gd name="connsiteY284" fmla="*/ 206180 h 855795"/>
                    <a:gd name="connsiteX285" fmla="*/ 652378 w 723696"/>
                    <a:gd name="connsiteY285" fmla="*/ 203890 h 855795"/>
                    <a:gd name="connsiteX286" fmla="*/ 656216 w 723696"/>
                    <a:gd name="connsiteY286" fmla="*/ 200810 h 855795"/>
                    <a:gd name="connsiteX287" fmla="*/ 657561 w 723696"/>
                    <a:gd name="connsiteY287" fmla="*/ 201306 h 855795"/>
                    <a:gd name="connsiteX288" fmla="*/ 658947 w 723696"/>
                    <a:gd name="connsiteY288" fmla="*/ 202757 h 855795"/>
                    <a:gd name="connsiteX289" fmla="*/ 659688 w 723696"/>
                    <a:gd name="connsiteY289" fmla="*/ 204371 h 855795"/>
                    <a:gd name="connsiteX290" fmla="*/ 659851 w 723696"/>
                    <a:gd name="connsiteY290" fmla="*/ 205178 h 855795"/>
                    <a:gd name="connsiteX291" fmla="*/ 664749 w 723696"/>
                    <a:gd name="connsiteY291" fmla="*/ 206196 h 855795"/>
                    <a:gd name="connsiteX292" fmla="*/ 665540 w 723696"/>
                    <a:gd name="connsiteY292" fmla="*/ 206033 h 855795"/>
                    <a:gd name="connsiteX293" fmla="*/ 669158 w 723696"/>
                    <a:gd name="connsiteY293" fmla="*/ 207476 h 855795"/>
                    <a:gd name="connsiteX294" fmla="*/ 672491 w 723696"/>
                    <a:gd name="connsiteY294" fmla="*/ 209212 h 855795"/>
                    <a:gd name="connsiteX295" fmla="*/ 674317 w 723696"/>
                    <a:gd name="connsiteY295" fmla="*/ 209652 h 855795"/>
                    <a:gd name="connsiteX296" fmla="*/ 675222 w 723696"/>
                    <a:gd name="connsiteY296" fmla="*/ 209611 h 855795"/>
                    <a:gd name="connsiteX297" fmla="*/ 675988 w 723696"/>
                    <a:gd name="connsiteY297" fmla="*/ 209065 h 855795"/>
                    <a:gd name="connsiteX298" fmla="*/ 676892 w 723696"/>
                    <a:gd name="connsiteY298" fmla="*/ 207533 h 855795"/>
                    <a:gd name="connsiteX299" fmla="*/ 677813 w 723696"/>
                    <a:gd name="connsiteY299" fmla="*/ 206425 h 855795"/>
                    <a:gd name="connsiteX300" fmla="*/ 678384 w 723696"/>
                    <a:gd name="connsiteY300" fmla="*/ 205968 h 855795"/>
                    <a:gd name="connsiteX301" fmla="*/ 678359 w 723696"/>
                    <a:gd name="connsiteY301" fmla="*/ 204200 h 855795"/>
                    <a:gd name="connsiteX302" fmla="*/ 683184 w 723696"/>
                    <a:gd name="connsiteY302" fmla="*/ 200777 h 855795"/>
                    <a:gd name="connsiteX303" fmla="*/ 687519 w 723696"/>
                    <a:gd name="connsiteY303" fmla="*/ 198299 h 855795"/>
                    <a:gd name="connsiteX304" fmla="*/ 691244 w 723696"/>
                    <a:gd name="connsiteY304" fmla="*/ 196498 h 855795"/>
                    <a:gd name="connsiteX305" fmla="*/ 692344 w 723696"/>
                    <a:gd name="connsiteY305" fmla="*/ 197240 h 855795"/>
                    <a:gd name="connsiteX306" fmla="*/ 693558 w 723696"/>
                    <a:gd name="connsiteY306" fmla="*/ 198609 h 855795"/>
                    <a:gd name="connsiteX307" fmla="*/ 695196 w 723696"/>
                    <a:gd name="connsiteY307" fmla="*/ 202089 h 855795"/>
                    <a:gd name="connsiteX308" fmla="*/ 696199 w 723696"/>
                    <a:gd name="connsiteY308" fmla="*/ 202945 h 855795"/>
                    <a:gd name="connsiteX309" fmla="*/ 698734 w 723696"/>
                    <a:gd name="connsiteY309" fmla="*/ 202456 h 855795"/>
                    <a:gd name="connsiteX310" fmla="*/ 699198 w 723696"/>
                    <a:gd name="connsiteY310" fmla="*/ 202839 h 855795"/>
                    <a:gd name="connsiteX311" fmla="*/ 698799 w 723696"/>
                    <a:gd name="connsiteY311" fmla="*/ 204094 h 855795"/>
                    <a:gd name="connsiteX312" fmla="*/ 697079 w 723696"/>
                    <a:gd name="connsiteY312" fmla="*/ 205650 h 855795"/>
                    <a:gd name="connsiteX313" fmla="*/ 694854 w 723696"/>
                    <a:gd name="connsiteY313" fmla="*/ 207036 h 855795"/>
                    <a:gd name="connsiteX314" fmla="*/ 693404 w 723696"/>
                    <a:gd name="connsiteY314" fmla="*/ 208177 h 855795"/>
                    <a:gd name="connsiteX315" fmla="*/ 693884 w 723696"/>
                    <a:gd name="connsiteY315" fmla="*/ 211966 h 855795"/>
                    <a:gd name="connsiteX316" fmla="*/ 693770 w 723696"/>
                    <a:gd name="connsiteY316" fmla="*/ 213270 h 855795"/>
                    <a:gd name="connsiteX317" fmla="*/ 694390 w 723696"/>
                    <a:gd name="connsiteY317" fmla="*/ 213686 h 855795"/>
                    <a:gd name="connsiteX318" fmla="*/ 698978 w 723696"/>
                    <a:gd name="connsiteY318" fmla="*/ 209921 h 855795"/>
                    <a:gd name="connsiteX319" fmla="*/ 701171 w 723696"/>
                    <a:gd name="connsiteY319" fmla="*/ 209187 h 855795"/>
                    <a:gd name="connsiteX320" fmla="*/ 701952 w 723696"/>
                    <a:gd name="connsiteY320" fmla="*/ 210084 h 855795"/>
                    <a:gd name="connsiteX321" fmla="*/ 702205 w 723696"/>
                    <a:gd name="connsiteY321" fmla="*/ 212097 h 855795"/>
                    <a:gd name="connsiteX322" fmla="*/ 704015 w 723696"/>
                    <a:gd name="connsiteY322" fmla="*/ 216245 h 855795"/>
                    <a:gd name="connsiteX323" fmla="*/ 704764 w 723696"/>
                    <a:gd name="connsiteY323" fmla="*/ 218340 h 855795"/>
                    <a:gd name="connsiteX324" fmla="*/ 700176 w 723696"/>
                    <a:gd name="connsiteY324" fmla="*/ 223360 h 855795"/>
                    <a:gd name="connsiteX325" fmla="*/ 698489 w 723696"/>
                    <a:gd name="connsiteY325" fmla="*/ 225943 h 855795"/>
                    <a:gd name="connsiteX326" fmla="*/ 698554 w 723696"/>
                    <a:gd name="connsiteY326" fmla="*/ 226848 h 855795"/>
                    <a:gd name="connsiteX327" fmla="*/ 698457 w 723696"/>
                    <a:gd name="connsiteY327" fmla="*/ 227753 h 855795"/>
                    <a:gd name="connsiteX328" fmla="*/ 697291 w 723696"/>
                    <a:gd name="connsiteY328" fmla="*/ 229040 h 855795"/>
                    <a:gd name="connsiteX329" fmla="*/ 697340 w 723696"/>
                    <a:gd name="connsiteY329" fmla="*/ 229545 h 855795"/>
                    <a:gd name="connsiteX330" fmla="*/ 698301 w 723696"/>
                    <a:gd name="connsiteY330" fmla="*/ 230368 h 855795"/>
                    <a:gd name="connsiteX331" fmla="*/ 699451 w 723696"/>
                    <a:gd name="connsiteY331" fmla="*/ 230988 h 855795"/>
                    <a:gd name="connsiteX332" fmla="*/ 700013 w 723696"/>
                    <a:gd name="connsiteY332" fmla="*/ 230963 h 855795"/>
                    <a:gd name="connsiteX333" fmla="*/ 700975 w 723696"/>
                    <a:gd name="connsiteY333" fmla="*/ 229749 h 855795"/>
                    <a:gd name="connsiteX334" fmla="*/ 705319 w 723696"/>
                    <a:gd name="connsiteY334" fmla="*/ 228030 h 855795"/>
                    <a:gd name="connsiteX335" fmla="*/ 706557 w 723696"/>
                    <a:gd name="connsiteY335" fmla="*/ 228355 h 855795"/>
                    <a:gd name="connsiteX336" fmla="*/ 709613 w 723696"/>
                    <a:gd name="connsiteY336" fmla="*/ 230988 h 855795"/>
                    <a:gd name="connsiteX337" fmla="*/ 711023 w 723696"/>
                    <a:gd name="connsiteY337" fmla="*/ 231134 h 855795"/>
                    <a:gd name="connsiteX338" fmla="*/ 714691 w 723696"/>
                    <a:gd name="connsiteY338" fmla="*/ 231925 h 855795"/>
                    <a:gd name="connsiteX339" fmla="*/ 717038 w 723696"/>
                    <a:gd name="connsiteY339" fmla="*/ 230923 h 855795"/>
                    <a:gd name="connsiteX340" fmla="*/ 718774 w 723696"/>
                    <a:gd name="connsiteY340" fmla="*/ 231844 h 855795"/>
                    <a:gd name="connsiteX341" fmla="*/ 722352 w 723696"/>
                    <a:gd name="connsiteY341" fmla="*/ 235128 h 855795"/>
                    <a:gd name="connsiteX342" fmla="*/ 723166 w 723696"/>
                    <a:gd name="connsiteY342" fmla="*/ 235739 h 855795"/>
                    <a:gd name="connsiteX343" fmla="*/ 722865 w 723696"/>
                    <a:gd name="connsiteY343" fmla="*/ 237728 h 855795"/>
                    <a:gd name="connsiteX344" fmla="*/ 722677 w 723696"/>
                    <a:gd name="connsiteY344" fmla="*/ 239936 h 855795"/>
                    <a:gd name="connsiteX345" fmla="*/ 723574 w 723696"/>
                    <a:gd name="connsiteY345" fmla="*/ 241689 h 855795"/>
                    <a:gd name="connsiteX346" fmla="*/ 723696 w 723696"/>
                    <a:gd name="connsiteY346" fmla="*/ 243237 h 855795"/>
                    <a:gd name="connsiteX347" fmla="*/ 723476 w 723696"/>
                    <a:gd name="connsiteY347" fmla="*/ 244647 h 855795"/>
                    <a:gd name="connsiteX348" fmla="*/ 722767 w 723696"/>
                    <a:gd name="connsiteY348" fmla="*/ 245625 h 855795"/>
                    <a:gd name="connsiteX349" fmla="*/ 720770 w 723696"/>
                    <a:gd name="connsiteY349" fmla="*/ 246163 h 855795"/>
                    <a:gd name="connsiteX350" fmla="*/ 719084 w 723696"/>
                    <a:gd name="connsiteY350" fmla="*/ 247850 h 855795"/>
                    <a:gd name="connsiteX351" fmla="*/ 716402 w 723696"/>
                    <a:gd name="connsiteY351" fmla="*/ 250295 h 855795"/>
                    <a:gd name="connsiteX352" fmla="*/ 714251 w 723696"/>
                    <a:gd name="connsiteY352" fmla="*/ 252259 h 855795"/>
                    <a:gd name="connsiteX353" fmla="*/ 712678 w 723696"/>
                    <a:gd name="connsiteY353" fmla="*/ 253986 h 855795"/>
                    <a:gd name="connsiteX354" fmla="*/ 712115 w 723696"/>
                    <a:gd name="connsiteY354" fmla="*/ 255804 h 855795"/>
                    <a:gd name="connsiteX355" fmla="*/ 712278 w 723696"/>
                    <a:gd name="connsiteY355" fmla="*/ 258078 h 855795"/>
                    <a:gd name="connsiteX356" fmla="*/ 712735 w 723696"/>
                    <a:gd name="connsiteY356" fmla="*/ 260465 h 855795"/>
                    <a:gd name="connsiteX357" fmla="*/ 717739 w 723696"/>
                    <a:gd name="connsiteY357" fmla="*/ 269226 h 855795"/>
                    <a:gd name="connsiteX358" fmla="*/ 717698 w 723696"/>
                    <a:gd name="connsiteY358" fmla="*/ 270742 h 855795"/>
                    <a:gd name="connsiteX359" fmla="*/ 716117 w 723696"/>
                    <a:gd name="connsiteY359" fmla="*/ 271174 h 855795"/>
                    <a:gd name="connsiteX360" fmla="*/ 714014 w 723696"/>
                    <a:gd name="connsiteY360" fmla="*/ 270180 h 855795"/>
                    <a:gd name="connsiteX361" fmla="*/ 712197 w 723696"/>
                    <a:gd name="connsiteY361" fmla="*/ 268770 h 855795"/>
                    <a:gd name="connsiteX362" fmla="*/ 710159 w 723696"/>
                    <a:gd name="connsiteY362" fmla="*/ 265013 h 855795"/>
                    <a:gd name="connsiteX363" fmla="*/ 708513 w 723696"/>
                    <a:gd name="connsiteY363" fmla="*/ 263897 h 855795"/>
                    <a:gd name="connsiteX364" fmla="*/ 706875 w 723696"/>
                    <a:gd name="connsiteY364" fmla="*/ 263652 h 855795"/>
                    <a:gd name="connsiteX365" fmla="*/ 697169 w 723696"/>
                    <a:gd name="connsiteY365" fmla="*/ 265584 h 855795"/>
                    <a:gd name="connsiteX366" fmla="*/ 695107 w 723696"/>
                    <a:gd name="connsiteY366" fmla="*/ 266121 h 855795"/>
                    <a:gd name="connsiteX367" fmla="*/ 691888 w 723696"/>
                    <a:gd name="connsiteY367" fmla="*/ 267523 h 855795"/>
                    <a:gd name="connsiteX368" fmla="*/ 689647 w 723696"/>
                    <a:gd name="connsiteY368" fmla="*/ 270351 h 855795"/>
                    <a:gd name="connsiteX369" fmla="*/ 688017 w 723696"/>
                    <a:gd name="connsiteY369" fmla="*/ 272927 h 855795"/>
                    <a:gd name="connsiteX370" fmla="*/ 686338 w 723696"/>
                    <a:gd name="connsiteY370" fmla="*/ 273970 h 855795"/>
                    <a:gd name="connsiteX371" fmla="*/ 683885 w 723696"/>
                    <a:gd name="connsiteY371" fmla="*/ 275974 h 855795"/>
                    <a:gd name="connsiteX372" fmla="*/ 677079 w 723696"/>
                    <a:gd name="connsiteY372" fmla="*/ 282128 h 855795"/>
                    <a:gd name="connsiteX373" fmla="*/ 673135 w 723696"/>
                    <a:gd name="connsiteY373" fmla="*/ 284776 h 855795"/>
                    <a:gd name="connsiteX374" fmla="*/ 670560 w 723696"/>
                    <a:gd name="connsiteY374" fmla="*/ 285746 h 855795"/>
                    <a:gd name="connsiteX375" fmla="*/ 668767 w 723696"/>
                    <a:gd name="connsiteY375" fmla="*/ 287140 h 855795"/>
                    <a:gd name="connsiteX376" fmla="*/ 667781 w 723696"/>
                    <a:gd name="connsiteY376" fmla="*/ 289413 h 855795"/>
                    <a:gd name="connsiteX377" fmla="*/ 667055 w 723696"/>
                    <a:gd name="connsiteY377" fmla="*/ 291035 h 855795"/>
                    <a:gd name="connsiteX378" fmla="*/ 666827 w 723696"/>
                    <a:gd name="connsiteY378" fmla="*/ 295037 h 855795"/>
                    <a:gd name="connsiteX379" fmla="*/ 667284 w 723696"/>
                    <a:gd name="connsiteY379" fmla="*/ 299975 h 855795"/>
                    <a:gd name="connsiteX380" fmla="*/ 668254 w 723696"/>
                    <a:gd name="connsiteY380" fmla="*/ 303121 h 855795"/>
                    <a:gd name="connsiteX381" fmla="*/ 668775 w 723696"/>
                    <a:gd name="connsiteY381" fmla="*/ 303781 h 855795"/>
                    <a:gd name="connsiteX382" fmla="*/ 668840 w 723696"/>
                    <a:gd name="connsiteY382" fmla="*/ 304702 h 855795"/>
                    <a:gd name="connsiteX383" fmla="*/ 667871 w 723696"/>
                    <a:gd name="connsiteY383" fmla="*/ 306406 h 855795"/>
                    <a:gd name="connsiteX384" fmla="*/ 666575 w 723696"/>
                    <a:gd name="connsiteY384" fmla="*/ 307848 h 855795"/>
                    <a:gd name="connsiteX385" fmla="*/ 665947 w 723696"/>
                    <a:gd name="connsiteY385" fmla="*/ 308744 h 855795"/>
                    <a:gd name="connsiteX386" fmla="*/ 665369 w 723696"/>
                    <a:gd name="connsiteY386" fmla="*/ 313235 h 855795"/>
                    <a:gd name="connsiteX387" fmla="*/ 664220 w 723696"/>
                    <a:gd name="connsiteY387" fmla="*/ 315452 h 855795"/>
                    <a:gd name="connsiteX388" fmla="*/ 662125 w 723696"/>
                    <a:gd name="connsiteY388" fmla="*/ 318687 h 855795"/>
                    <a:gd name="connsiteX389" fmla="*/ 660259 w 723696"/>
                    <a:gd name="connsiteY389" fmla="*/ 321140 h 855795"/>
                    <a:gd name="connsiteX390" fmla="*/ 657316 w 723696"/>
                    <a:gd name="connsiteY390" fmla="*/ 323047 h 855795"/>
                    <a:gd name="connsiteX391" fmla="*/ 656216 w 723696"/>
                    <a:gd name="connsiteY391" fmla="*/ 324588 h 855795"/>
                    <a:gd name="connsiteX392" fmla="*/ 655149 w 723696"/>
                    <a:gd name="connsiteY392" fmla="*/ 327424 h 855795"/>
                    <a:gd name="connsiteX393" fmla="*/ 654513 w 723696"/>
                    <a:gd name="connsiteY393" fmla="*/ 329828 h 855795"/>
                    <a:gd name="connsiteX394" fmla="*/ 654481 w 723696"/>
                    <a:gd name="connsiteY394" fmla="*/ 330692 h 855795"/>
                    <a:gd name="connsiteX395" fmla="*/ 654814 w 723696"/>
                    <a:gd name="connsiteY395" fmla="*/ 331458 h 855795"/>
                    <a:gd name="connsiteX396" fmla="*/ 656029 w 723696"/>
                    <a:gd name="connsiteY396" fmla="*/ 332305 h 855795"/>
                    <a:gd name="connsiteX397" fmla="*/ 657512 w 723696"/>
                    <a:gd name="connsiteY397" fmla="*/ 333120 h 855795"/>
                    <a:gd name="connsiteX398" fmla="*/ 658221 w 723696"/>
                    <a:gd name="connsiteY398" fmla="*/ 334400 h 855795"/>
                    <a:gd name="connsiteX399" fmla="*/ 658311 w 723696"/>
                    <a:gd name="connsiteY399" fmla="*/ 335948 h 855795"/>
                    <a:gd name="connsiteX400" fmla="*/ 657219 w 723696"/>
                    <a:gd name="connsiteY400" fmla="*/ 339640 h 855795"/>
                    <a:gd name="connsiteX401" fmla="*/ 655247 w 723696"/>
                    <a:gd name="connsiteY401" fmla="*/ 344783 h 855795"/>
                    <a:gd name="connsiteX402" fmla="*/ 652997 w 723696"/>
                    <a:gd name="connsiteY402" fmla="*/ 348849 h 855795"/>
                    <a:gd name="connsiteX403" fmla="*/ 650674 w 723696"/>
                    <a:gd name="connsiteY403" fmla="*/ 352720 h 855795"/>
                    <a:gd name="connsiteX404" fmla="*/ 650120 w 723696"/>
                    <a:gd name="connsiteY404" fmla="*/ 353984 h 855795"/>
                    <a:gd name="connsiteX405" fmla="*/ 648034 w 723696"/>
                    <a:gd name="connsiteY405" fmla="*/ 358743 h 855795"/>
                    <a:gd name="connsiteX406" fmla="*/ 646217 w 723696"/>
                    <a:gd name="connsiteY406" fmla="*/ 365279 h 855795"/>
                    <a:gd name="connsiteX407" fmla="*/ 644994 w 723696"/>
                    <a:gd name="connsiteY407" fmla="*/ 369680 h 855795"/>
                    <a:gd name="connsiteX408" fmla="*/ 643926 w 723696"/>
                    <a:gd name="connsiteY408" fmla="*/ 372687 h 855795"/>
                    <a:gd name="connsiteX409" fmla="*/ 642623 w 723696"/>
                    <a:gd name="connsiteY409" fmla="*/ 372826 h 855795"/>
                    <a:gd name="connsiteX410" fmla="*/ 641033 w 723696"/>
                    <a:gd name="connsiteY410" fmla="*/ 371856 h 855795"/>
                    <a:gd name="connsiteX411" fmla="*/ 637187 w 723696"/>
                    <a:gd name="connsiteY411" fmla="*/ 370577 h 855795"/>
                    <a:gd name="connsiteX412" fmla="*/ 634717 w 723696"/>
                    <a:gd name="connsiteY412" fmla="*/ 369550 h 855795"/>
                    <a:gd name="connsiteX413" fmla="*/ 632908 w 723696"/>
                    <a:gd name="connsiteY413" fmla="*/ 368621 h 855795"/>
                    <a:gd name="connsiteX414" fmla="*/ 631669 w 723696"/>
                    <a:gd name="connsiteY414" fmla="*/ 368653 h 855795"/>
                    <a:gd name="connsiteX415" fmla="*/ 629958 w 723696"/>
                    <a:gd name="connsiteY415" fmla="*/ 369256 h 855795"/>
                    <a:gd name="connsiteX416" fmla="*/ 628206 w 723696"/>
                    <a:gd name="connsiteY416" fmla="*/ 369672 h 855795"/>
                    <a:gd name="connsiteX417" fmla="*/ 627171 w 723696"/>
                    <a:gd name="connsiteY417" fmla="*/ 369224 h 855795"/>
                    <a:gd name="connsiteX418" fmla="*/ 624775 w 723696"/>
                    <a:gd name="connsiteY418" fmla="*/ 366502 h 855795"/>
                    <a:gd name="connsiteX419" fmla="*/ 624049 w 723696"/>
                    <a:gd name="connsiteY419" fmla="*/ 366820 h 855795"/>
                    <a:gd name="connsiteX420" fmla="*/ 623585 w 723696"/>
                    <a:gd name="connsiteY420" fmla="*/ 368140 h 855795"/>
                    <a:gd name="connsiteX421" fmla="*/ 625199 w 723696"/>
                    <a:gd name="connsiteY421" fmla="*/ 375882 h 855795"/>
                    <a:gd name="connsiteX422" fmla="*/ 626250 w 723696"/>
                    <a:gd name="connsiteY422" fmla="*/ 378759 h 855795"/>
                    <a:gd name="connsiteX423" fmla="*/ 626078 w 723696"/>
                    <a:gd name="connsiteY423" fmla="*/ 383584 h 855795"/>
                    <a:gd name="connsiteX424" fmla="*/ 625663 w 723696"/>
                    <a:gd name="connsiteY424" fmla="*/ 389484 h 855795"/>
                    <a:gd name="connsiteX425" fmla="*/ 625035 w 723696"/>
                    <a:gd name="connsiteY425" fmla="*/ 395930 h 855795"/>
                    <a:gd name="connsiteX426" fmla="*/ 624628 w 723696"/>
                    <a:gd name="connsiteY426" fmla="*/ 397414 h 855795"/>
                    <a:gd name="connsiteX427" fmla="*/ 623609 w 723696"/>
                    <a:gd name="connsiteY427" fmla="*/ 399109 h 855795"/>
                    <a:gd name="connsiteX428" fmla="*/ 622248 w 723696"/>
                    <a:gd name="connsiteY428" fmla="*/ 399573 h 855795"/>
                    <a:gd name="connsiteX429" fmla="*/ 621018 w 723696"/>
                    <a:gd name="connsiteY429" fmla="*/ 398905 h 855795"/>
                    <a:gd name="connsiteX430" fmla="*/ 620040 w 723696"/>
                    <a:gd name="connsiteY430" fmla="*/ 399060 h 855795"/>
                    <a:gd name="connsiteX431" fmla="*/ 619706 w 723696"/>
                    <a:gd name="connsiteY431" fmla="*/ 400135 h 855795"/>
                    <a:gd name="connsiteX432" fmla="*/ 619991 w 723696"/>
                    <a:gd name="connsiteY432" fmla="*/ 402931 h 855795"/>
                    <a:gd name="connsiteX433" fmla="*/ 618793 w 723696"/>
                    <a:gd name="connsiteY433" fmla="*/ 406109 h 855795"/>
                    <a:gd name="connsiteX434" fmla="*/ 617913 w 723696"/>
                    <a:gd name="connsiteY434" fmla="*/ 408840 h 855795"/>
                    <a:gd name="connsiteX435" fmla="*/ 618149 w 723696"/>
                    <a:gd name="connsiteY435" fmla="*/ 411488 h 855795"/>
                    <a:gd name="connsiteX436" fmla="*/ 618564 w 723696"/>
                    <a:gd name="connsiteY436" fmla="*/ 414161 h 855795"/>
                    <a:gd name="connsiteX437" fmla="*/ 619983 w 723696"/>
                    <a:gd name="connsiteY437" fmla="*/ 419980 h 855795"/>
                    <a:gd name="connsiteX438" fmla="*/ 619991 w 723696"/>
                    <a:gd name="connsiteY438" fmla="*/ 422107 h 855795"/>
                    <a:gd name="connsiteX439" fmla="*/ 619714 w 723696"/>
                    <a:gd name="connsiteY439" fmla="*/ 424014 h 855795"/>
                    <a:gd name="connsiteX440" fmla="*/ 618980 w 723696"/>
                    <a:gd name="connsiteY440" fmla="*/ 424805 h 855795"/>
                    <a:gd name="connsiteX441" fmla="*/ 617717 w 723696"/>
                    <a:gd name="connsiteY441" fmla="*/ 424674 h 855795"/>
                    <a:gd name="connsiteX442" fmla="*/ 617032 w 723696"/>
                    <a:gd name="connsiteY442" fmla="*/ 425457 h 855795"/>
                    <a:gd name="connsiteX443" fmla="*/ 616503 w 723696"/>
                    <a:gd name="connsiteY443" fmla="*/ 426655 h 855795"/>
                    <a:gd name="connsiteX444" fmla="*/ 615084 w 723696"/>
                    <a:gd name="connsiteY444" fmla="*/ 431064 h 855795"/>
                    <a:gd name="connsiteX445" fmla="*/ 613716 w 723696"/>
                    <a:gd name="connsiteY445" fmla="*/ 431528 h 855795"/>
                    <a:gd name="connsiteX446" fmla="*/ 612355 w 723696"/>
                    <a:gd name="connsiteY446" fmla="*/ 430860 h 855795"/>
                    <a:gd name="connsiteX447" fmla="*/ 610293 w 723696"/>
                    <a:gd name="connsiteY447" fmla="*/ 427926 h 855795"/>
                    <a:gd name="connsiteX448" fmla="*/ 609037 w 723696"/>
                    <a:gd name="connsiteY448" fmla="*/ 427062 h 855795"/>
                    <a:gd name="connsiteX449" fmla="*/ 608247 w 723696"/>
                    <a:gd name="connsiteY449" fmla="*/ 427111 h 855795"/>
                    <a:gd name="connsiteX450" fmla="*/ 607897 w 723696"/>
                    <a:gd name="connsiteY450" fmla="*/ 427885 h 855795"/>
                    <a:gd name="connsiteX451" fmla="*/ 607334 w 723696"/>
                    <a:gd name="connsiteY451" fmla="*/ 429654 h 855795"/>
                    <a:gd name="connsiteX452" fmla="*/ 606796 w 723696"/>
                    <a:gd name="connsiteY452" fmla="*/ 430828 h 855795"/>
                    <a:gd name="connsiteX453" fmla="*/ 605419 w 723696"/>
                    <a:gd name="connsiteY453" fmla="*/ 431862 h 855795"/>
                    <a:gd name="connsiteX454" fmla="*/ 605077 w 723696"/>
                    <a:gd name="connsiteY454" fmla="*/ 429686 h 855795"/>
                    <a:gd name="connsiteX455" fmla="*/ 604343 w 723696"/>
                    <a:gd name="connsiteY455" fmla="*/ 418424 h 855795"/>
                    <a:gd name="connsiteX456" fmla="*/ 603798 w 723696"/>
                    <a:gd name="connsiteY456" fmla="*/ 414838 h 855795"/>
                    <a:gd name="connsiteX457" fmla="*/ 603349 w 723696"/>
                    <a:gd name="connsiteY457" fmla="*/ 409866 h 855795"/>
                    <a:gd name="connsiteX458" fmla="*/ 602681 w 723696"/>
                    <a:gd name="connsiteY458" fmla="*/ 408334 h 855795"/>
                    <a:gd name="connsiteX459" fmla="*/ 601841 w 723696"/>
                    <a:gd name="connsiteY459" fmla="*/ 405612 h 855795"/>
                    <a:gd name="connsiteX460" fmla="*/ 600904 w 723696"/>
                    <a:gd name="connsiteY460" fmla="*/ 403265 h 855795"/>
                    <a:gd name="connsiteX461" fmla="*/ 600130 w 723696"/>
                    <a:gd name="connsiteY461" fmla="*/ 402271 h 855795"/>
                    <a:gd name="connsiteX462" fmla="*/ 599617 w 723696"/>
                    <a:gd name="connsiteY462" fmla="*/ 397878 h 855795"/>
                    <a:gd name="connsiteX463" fmla="*/ 599437 w 723696"/>
                    <a:gd name="connsiteY463" fmla="*/ 392491 h 855795"/>
                    <a:gd name="connsiteX464" fmla="*/ 599446 w 723696"/>
                    <a:gd name="connsiteY464" fmla="*/ 389957 h 855795"/>
                    <a:gd name="connsiteX465" fmla="*/ 598345 w 723696"/>
                    <a:gd name="connsiteY465" fmla="*/ 384684 h 855795"/>
                    <a:gd name="connsiteX466" fmla="*/ 597261 w 723696"/>
                    <a:gd name="connsiteY466" fmla="*/ 378718 h 855795"/>
                    <a:gd name="connsiteX467" fmla="*/ 595802 w 723696"/>
                    <a:gd name="connsiteY467" fmla="*/ 378971 h 855795"/>
                    <a:gd name="connsiteX468" fmla="*/ 594938 w 723696"/>
                    <a:gd name="connsiteY468" fmla="*/ 377528 h 855795"/>
                    <a:gd name="connsiteX469" fmla="*/ 594303 w 723696"/>
                    <a:gd name="connsiteY469" fmla="*/ 377553 h 855795"/>
                    <a:gd name="connsiteX470" fmla="*/ 592257 w 723696"/>
                    <a:gd name="connsiteY470" fmla="*/ 378906 h 855795"/>
                    <a:gd name="connsiteX471" fmla="*/ 590627 w 723696"/>
                    <a:gd name="connsiteY471" fmla="*/ 378457 h 855795"/>
                    <a:gd name="connsiteX472" fmla="*/ 589413 w 723696"/>
                    <a:gd name="connsiteY472" fmla="*/ 378645 h 855795"/>
                    <a:gd name="connsiteX473" fmla="*/ 589413 w 723696"/>
                    <a:gd name="connsiteY473" fmla="*/ 381391 h 855795"/>
                    <a:gd name="connsiteX474" fmla="*/ 589633 w 723696"/>
                    <a:gd name="connsiteY474" fmla="*/ 384309 h 855795"/>
                    <a:gd name="connsiteX475" fmla="*/ 589152 w 723696"/>
                    <a:gd name="connsiteY475" fmla="*/ 385360 h 855795"/>
                    <a:gd name="connsiteX476" fmla="*/ 585950 w 723696"/>
                    <a:gd name="connsiteY476" fmla="*/ 388799 h 855795"/>
                    <a:gd name="connsiteX477" fmla="*/ 585061 w 723696"/>
                    <a:gd name="connsiteY477" fmla="*/ 391098 h 855795"/>
                    <a:gd name="connsiteX478" fmla="*/ 585159 w 723696"/>
                    <a:gd name="connsiteY478" fmla="*/ 393510 h 855795"/>
                    <a:gd name="connsiteX479" fmla="*/ 585558 w 723696"/>
                    <a:gd name="connsiteY479" fmla="*/ 396745 h 855795"/>
                    <a:gd name="connsiteX480" fmla="*/ 584980 w 723696"/>
                    <a:gd name="connsiteY480" fmla="*/ 398392 h 855795"/>
                    <a:gd name="connsiteX481" fmla="*/ 583594 w 723696"/>
                    <a:gd name="connsiteY481" fmla="*/ 399907 h 855795"/>
                    <a:gd name="connsiteX482" fmla="*/ 581728 w 723696"/>
                    <a:gd name="connsiteY482" fmla="*/ 400690 h 855795"/>
                    <a:gd name="connsiteX483" fmla="*/ 580082 w 723696"/>
                    <a:gd name="connsiteY483" fmla="*/ 400323 h 855795"/>
                    <a:gd name="connsiteX484" fmla="*/ 579030 w 723696"/>
                    <a:gd name="connsiteY484" fmla="*/ 399011 h 855795"/>
                    <a:gd name="connsiteX485" fmla="*/ 578044 w 723696"/>
                    <a:gd name="connsiteY485" fmla="*/ 395653 h 855795"/>
                    <a:gd name="connsiteX486" fmla="*/ 577180 w 723696"/>
                    <a:gd name="connsiteY486" fmla="*/ 393828 h 855795"/>
                    <a:gd name="connsiteX487" fmla="*/ 576259 w 723696"/>
                    <a:gd name="connsiteY487" fmla="*/ 393387 h 855795"/>
                    <a:gd name="connsiteX488" fmla="*/ 575558 w 723696"/>
                    <a:gd name="connsiteY488" fmla="*/ 393885 h 855795"/>
                    <a:gd name="connsiteX489" fmla="*/ 575453 w 723696"/>
                    <a:gd name="connsiteY489" fmla="*/ 395987 h 855795"/>
                    <a:gd name="connsiteX490" fmla="*/ 575501 w 723696"/>
                    <a:gd name="connsiteY490" fmla="*/ 397740 h 855795"/>
                    <a:gd name="connsiteX491" fmla="*/ 575273 w 723696"/>
                    <a:gd name="connsiteY491" fmla="*/ 397927 h 855795"/>
                    <a:gd name="connsiteX492" fmla="*/ 574752 w 723696"/>
                    <a:gd name="connsiteY492" fmla="*/ 397658 h 855795"/>
                    <a:gd name="connsiteX493" fmla="*/ 574173 w 723696"/>
                    <a:gd name="connsiteY493" fmla="*/ 396802 h 855795"/>
                    <a:gd name="connsiteX494" fmla="*/ 572649 w 723696"/>
                    <a:gd name="connsiteY494" fmla="*/ 388400 h 855795"/>
                    <a:gd name="connsiteX495" fmla="*/ 570465 w 723696"/>
                    <a:gd name="connsiteY495" fmla="*/ 381921 h 855795"/>
                    <a:gd name="connsiteX496" fmla="*/ 570335 w 723696"/>
                    <a:gd name="connsiteY496" fmla="*/ 379435 h 855795"/>
                    <a:gd name="connsiteX497" fmla="*/ 571125 w 723696"/>
                    <a:gd name="connsiteY497" fmla="*/ 376241 h 855795"/>
                    <a:gd name="connsiteX498" fmla="*/ 572111 w 723696"/>
                    <a:gd name="connsiteY498" fmla="*/ 371318 h 855795"/>
                    <a:gd name="connsiteX499" fmla="*/ 574711 w 723696"/>
                    <a:gd name="connsiteY499" fmla="*/ 368229 h 855795"/>
                    <a:gd name="connsiteX500" fmla="*/ 575045 w 723696"/>
                    <a:gd name="connsiteY500" fmla="*/ 366925 h 855795"/>
                    <a:gd name="connsiteX501" fmla="*/ 575460 w 723696"/>
                    <a:gd name="connsiteY501" fmla="*/ 365899 h 855795"/>
                    <a:gd name="connsiteX502" fmla="*/ 576088 w 723696"/>
                    <a:gd name="connsiteY502" fmla="*/ 365687 h 855795"/>
                    <a:gd name="connsiteX503" fmla="*/ 579405 w 723696"/>
                    <a:gd name="connsiteY503" fmla="*/ 365980 h 855795"/>
                    <a:gd name="connsiteX504" fmla="*/ 580522 w 723696"/>
                    <a:gd name="connsiteY504" fmla="*/ 365483 h 855795"/>
                    <a:gd name="connsiteX505" fmla="*/ 581508 w 723696"/>
                    <a:gd name="connsiteY505" fmla="*/ 364040 h 855795"/>
                    <a:gd name="connsiteX506" fmla="*/ 582942 w 723696"/>
                    <a:gd name="connsiteY506" fmla="*/ 362867 h 855795"/>
                    <a:gd name="connsiteX507" fmla="*/ 584376 w 723696"/>
                    <a:gd name="connsiteY507" fmla="*/ 362402 h 855795"/>
                    <a:gd name="connsiteX508" fmla="*/ 585517 w 723696"/>
                    <a:gd name="connsiteY508" fmla="*/ 362231 h 855795"/>
                    <a:gd name="connsiteX509" fmla="*/ 587335 w 723696"/>
                    <a:gd name="connsiteY509" fmla="*/ 363340 h 855795"/>
                    <a:gd name="connsiteX510" fmla="*/ 588109 w 723696"/>
                    <a:gd name="connsiteY510" fmla="*/ 362712 h 855795"/>
                    <a:gd name="connsiteX511" fmla="*/ 588647 w 723696"/>
                    <a:gd name="connsiteY511" fmla="*/ 360666 h 855795"/>
                    <a:gd name="connsiteX512" fmla="*/ 589454 w 723696"/>
                    <a:gd name="connsiteY512" fmla="*/ 358637 h 855795"/>
                    <a:gd name="connsiteX513" fmla="*/ 589959 w 723696"/>
                    <a:gd name="connsiteY513" fmla="*/ 357651 h 855795"/>
                    <a:gd name="connsiteX514" fmla="*/ 591181 w 723696"/>
                    <a:gd name="connsiteY514" fmla="*/ 357211 h 855795"/>
                    <a:gd name="connsiteX515" fmla="*/ 592754 w 723696"/>
                    <a:gd name="connsiteY515" fmla="*/ 357105 h 855795"/>
                    <a:gd name="connsiteX516" fmla="*/ 593260 w 723696"/>
                    <a:gd name="connsiteY516" fmla="*/ 356730 h 855795"/>
                    <a:gd name="connsiteX517" fmla="*/ 593691 w 723696"/>
                    <a:gd name="connsiteY517" fmla="*/ 356046 h 855795"/>
                    <a:gd name="connsiteX518" fmla="*/ 594074 w 723696"/>
                    <a:gd name="connsiteY518" fmla="*/ 353356 h 855795"/>
                    <a:gd name="connsiteX519" fmla="*/ 596080 w 723696"/>
                    <a:gd name="connsiteY519" fmla="*/ 347342 h 855795"/>
                    <a:gd name="connsiteX520" fmla="*/ 596780 w 723696"/>
                    <a:gd name="connsiteY520" fmla="*/ 344660 h 855795"/>
                    <a:gd name="connsiteX521" fmla="*/ 596878 w 723696"/>
                    <a:gd name="connsiteY521" fmla="*/ 344188 h 855795"/>
                    <a:gd name="connsiteX522" fmla="*/ 596821 w 723696"/>
                    <a:gd name="connsiteY522" fmla="*/ 341197 h 855795"/>
                    <a:gd name="connsiteX523" fmla="*/ 597400 w 723696"/>
                    <a:gd name="connsiteY523" fmla="*/ 340765 h 855795"/>
                    <a:gd name="connsiteX524" fmla="*/ 600709 w 723696"/>
                    <a:gd name="connsiteY524" fmla="*/ 342224 h 855795"/>
                    <a:gd name="connsiteX525" fmla="*/ 602159 w 723696"/>
                    <a:gd name="connsiteY525" fmla="*/ 342207 h 855795"/>
                    <a:gd name="connsiteX526" fmla="*/ 602941 w 723696"/>
                    <a:gd name="connsiteY526" fmla="*/ 341596 h 855795"/>
                    <a:gd name="connsiteX527" fmla="*/ 603203 w 723696"/>
                    <a:gd name="connsiteY527" fmla="*/ 340512 h 855795"/>
                    <a:gd name="connsiteX528" fmla="*/ 602779 w 723696"/>
                    <a:gd name="connsiteY528" fmla="*/ 339224 h 855795"/>
                    <a:gd name="connsiteX529" fmla="*/ 600424 w 723696"/>
                    <a:gd name="connsiteY529" fmla="*/ 336991 h 855795"/>
                    <a:gd name="connsiteX530" fmla="*/ 596234 w 723696"/>
                    <a:gd name="connsiteY530" fmla="*/ 333984 h 855795"/>
                    <a:gd name="connsiteX531" fmla="*/ 592388 w 723696"/>
                    <a:gd name="connsiteY531" fmla="*/ 332151 h 855795"/>
                    <a:gd name="connsiteX532" fmla="*/ 585297 w 723696"/>
                    <a:gd name="connsiteY532" fmla="*/ 332428 h 855795"/>
                    <a:gd name="connsiteX533" fmla="*/ 578256 w 723696"/>
                    <a:gd name="connsiteY533" fmla="*/ 333006 h 855795"/>
                    <a:gd name="connsiteX534" fmla="*/ 576202 w 723696"/>
                    <a:gd name="connsiteY534" fmla="*/ 332713 h 855795"/>
                    <a:gd name="connsiteX535" fmla="*/ 573635 w 723696"/>
                    <a:gd name="connsiteY535" fmla="*/ 331881 h 855795"/>
                    <a:gd name="connsiteX536" fmla="*/ 567295 w 723696"/>
                    <a:gd name="connsiteY536" fmla="*/ 332004 h 855795"/>
                    <a:gd name="connsiteX537" fmla="*/ 559666 w 723696"/>
                    <a:gd name="connsiteY537" fmla="*/ 332468 h 855795"/>
                    <a:gd name="connsiteX538" fmla="*/ 556757 w 723696"/>
                    <a:gd name="connsiteY538" fmla="*/ 332208 h 855795"/>
                    <a:gd name="connsiteX539" fmla="*/ 555331 w 723696"/>
                    <a:gd name="connsiteY539" fmla="*/ 332232 h 855795"/>
                    <a:gd name="connsiteX540" fmla="*/ 552446 w 723696"/>
                    <a:gd name="connsiteY540" fmla="*/ 332517 h 855795"/>
                    <a:gd name="connsiteX541" fmla="*/ 547768 w 723696"/>
                    <a:gd name="connsiteY541" fmla="*/ 331662 h 855795"/>
                    <a:gd name="connsiteX542" fmla="*/ 544516 w 723696"/>
                    <a:gd name="connsiteY542" fmla="*/ 330553 h 855795"/>
                    <a:gd name="connsiteX543" fmla="*/ 541656 w 723696"/>
                    <a:gd name="connsiteY543" fmla="*/ 329355 h 855795"/>
                    <a:gd name="connsiteX544" fmla="*/ 538241 w 723696"/>
                    <a:gd name="connsiteY544" fmla="*/ 328263 h 855795"/>
                    <a:gd name="connsiteX545" fmla="*/ 537418 w 723696"/>
                    <a:gd name="connsiteY545" fmla="*/ 328271 h 855795"/>
                    <a:gd name="connsiteX546" fmla="*/ 536945 w 723696"/>
                    <a:gd name="connsiteY546" fmla="*/ 327872 h 855795"/>
                    <a:gd name="connsiteX547" fmla="*/ 536619 w 723696"/>
                    <a:gd name="connsiteY547" fmla="*/ 326910 h 855795"/>
                    <a:gd name="connsiteX548" fmla="*/ 536505 w 723696"/>
                    <a:gd name="connsiteY548" fmla="*/ 325655 h 855795"/>
                    <a:gd name="connsiteX549" fmla="*/ 537214 w 723696"/>
                    <a:gd name="connsiteY549" fmla="*/ 319861 h 855795"/>
                    <a:gd name="connsiteX550" fmla="*/ 536587 w 723696"/>
                    <a:gd name="connsiteY550" fmla="*/ 311059 h 855795"/>
                    <a:gd name="connsiteX551" fmla="*/ 537165 w 723696"/>
                    <a:gd name="connsiteY551" fmla="*/ 307848 h 855795"/>
                    <a:gd name="connsiteX552" fmla="*/ 534353 w 723696"/>
                    <a:gd name="connsiteY552" fmla="*/ 300595 h 855795"/>
                    <a:gd name="connsiteX553" fmla="*/ 533392 w 723696"/>
                    <a:gd name="connsiteY553" fmla="*/ 299250 h 855795"/>
                    <a:gd name="connsiteX554" fmla="*/ 532104 w 723696"/>
                    <a:gd name="connsiteY554" fmla="*/ 299201 h 855795"/>
                    <a:gd name="connsiteX555" fmla="*/ 531281 w 723696"/>
                    <a:gd name="connsiteY555" fmla="*/ 300130 h 855795"/>
                    <a:gd name="connsiteX556" fmla="*/ 530955 w 723696"/>
                    <a:gd name="connsiteY556" fmla="*/ 301825 h 855795"/>
                    <a:gd name="connsiteX557" fmla="*/ 531419 w 723696"/>
                    <a:gd name="connsiteY557" fmla="*/ 303716 h 855795"/>
                    <a:gd name="connsiteX558" fmla="*/ 530393 w 723696"/>
                    <a:gd name="connsiteY558" fmla="*/ 305835 h 855795"/>
                    <a:gd name="connsiteX559" fmla="*/ 528331 w 723696"/>
                    <a:gd name="connsiteY559" fmla="*/ 306520 h 855795"/>
                    <a:gd name="connsiteX560" fmla="*/ 525926 w 723696"/>
                    <a:gd name="connsiteY560" fmla="*/ 305811 h 855795"/>
                    <a:gd name="connsiteX561" fmla="*/ 523930 w 723696"/>
                    <a:gd name="connsiteY561" fmla="*/ 304816 h 855795"/>
                    <a:gd name="connsiteX562" fmla="*/ 521379 w 723696"/>
                    <a:gd name="connsiteY562" fmla="*/ 302657 h 855795"/>
                    <a:gd name="connsiteX563" fmla="*/ 519431 w 723696"/>
                    <a:gd name="connsiteY563" fmla="*/ 299617 h 855795"/>
                    <a:gd name="connsiteX564" fmla="*/ 519284 w 723696"/>
                    <a:gd name="connsiteY564" fmla="*/ 296267 h 855795"/>
                    <a:gd name="connsiteX565" fmla="*/ 518404 w 723696"/>
                    <a:gd name="connsiteY565" fmla="*/ 294108 h 855795"/>
                    <a:gd name="connsiteX566" fmla="*/ 517215 w 723696"/>
                    <a:gd name="connsiteY566" fmla="*/ 293048 h 855795"/>
                    <a:gd name="connsiteX567" fmla="*/ 516343 w 723696"/>
                    <a:gd name="connsiteY567" fmla="*/ 292763 h 855795"/>
                    <a:gd name="connsiteX568" fmla="*/ 515560 w 723696"/>
                    <a:gd name="connsiteY568" fmla="*/ 292999 h 855795"/>
                    <a:gd name="connsiteX569" fmla="*/ 514867 w 723696"/>
                    <a:gd name="connsiteY569" fmla="*/ 294165 h 855795"/>
                    <a:gd name="connsiteX570" fmla="*/ 515471 w 723696"/>
                    <a:gd name="connsiteY570" fmla="*/ 295330 h 855795"/>
                    <a:gd name="connsiteX571" fmla="*/ 516302 w 723696"/>
                    <a:gd name="connsiteY571" fmla="*/ 296976 h 855795"/>
                    <a:gd name="connsiteX572" fmla="*/ 516016 w 723696"/>
                    <a:gd name="connsiteY572" fmla="*/ 298093 h 855795"/>
                    <a:gd name="connsiteX573" fmla="*/ 515283 w 723696"/>
                    <a:gd name="connsiteY573" fmla="*/ 298264 h 855795"/>
                    <a:gd name="connsiteX574" fmla="*/ 514191 w 723696"/>
                    <a:gd name="connsiteY574" fmla="*/ 297783 h 855795"/>
                    <a:gd name="connsiteX575" fmla="*/ 512488 w 723696"/>
                    <a:gd name="connsiteY575" fmla="*/ 298052 h 855795"/>
                    <a:gd name="connsiteX576" fmla="*/ 510858 w 723696"/>
                    <a:gd name="connsiteY576" fmla="*/ 297188 h 855795"/>
                    <a:gd name="connsiteX577" fmla="*/ 509855 w 723696"/>
                    <a:gd name="connsiteY577" fmla="*/ 297107 h 855795"/>
                    <a:gd name="connsiteX578" fmla="*/ 508885 w 723696"/>
                    <a:gd name="connsiteY578" fmla="*/ 296797 h 855795"/>
                    <a:gd name="connsiteX579" fmla="*/ 508837 w 723696"/>
                    <a:gd name="connsiteY579" fmla="*/ 294865 h 855795"/>
                    <a:gd name="connsiteX580" fmla="*/ 507329 w 723696"/>
                    <a:gd name="connsiteY580" fmla="*/ 292412 h 855795"/>
                    <a:gd name="connsiteX581" fmla="*/ 504794 w 723696"/>
                    <a:gd name="connsiteY581" fmla="*/ 289658 h 855795"/>
                    <a:gd name="connsiteX582" fmla="*/ 502325 w 723696"/>
                    <a:gd name="connsiteY582" fmla="*/ 287955 h 855795"/>
                    <a:gd name="connsiteX583" fmla="*/ 501127 w 723696"/>
                    <a:gd name="connsiteY583" fmla="*/ 288191 h 855795"/>
                    <a:gd name="connsiteX584" fmla="*/ 500524 w 723696"/>
                    <a:gd name="connsiteY584" fmla="*/ 290074 h 855795"/>
                    <a:gd name="connsiteX585" fmla="*/ 500670 w 723696"/>
                    <a:gd name="connsiteY585" fmla="*/ 290766 h 855795"/>
                    <a:gd name="connsiteX586" fmla="*/ 501526 w 723696"/>
                    <a:gd name="connsiteY586" fmla="*/ 291125 h 855795"/>
                    <a:gd name="connsiteX587" fmla="*/ 502789 w 723696"/>
                    <a:gd name="connsiteY587" fmla="*/ 292209 h 855795"/>
                    <a:gd name="connsiteX588" fmla="*/ 503058 w 723696"/>
                    <a:gd name="connsiteY588" fmla="*/ 293350 h 855795"/>
                    <a:gd name="connsiteX589" fmla="*/ 502871 w 723696"/>
                    <a:gd name="connsiteY589" fmla="*/ 294344 h 855795"/>
                    <a:gd name="connsiteX590" fmla="*/ 501322 w 723696"/>
                    <a:gd name="connsiteY590" fmla="*/ 296161 h 855795"/>
                    <a:gd name="connsiteX591" fmla="*/ 500239 w 723696"/>
                    <a:gd name="connsiteY591" fmla="*/ 297881 h 855795"/>
                    <a:gd name="connsiteX592" fmla="*/ 497785 w 723696"/>
                    <a:gd name="connsiteY592" fmla="*/ 300383 h 855795"/>
                    <a:gd name="connsiteX593" fmla="*/ 495683 w 723696"/>
                    <a:gd name="connsiteY593" fmla="*/ 303251 h 855795"/>
                    <a:gd name="connsiteX594" fmla="*/ 495153 w 723696"/>
                    <a:gd name="connsiteY594" fmla="*/ 305427 h 855795"/>
                    <a:gd name="connsiteX595" fmla="*/ 494363 w 723696"/>
                    <a:gd name="connsiteY595" fmla="*/ 307384 h 855795"/>
                    <a:gd name="connsiteX596" fmla="*/ 494045 w 723696"/>
                    <a:gd name="connsiteY596" fmla="*/ 309519 h 855795"/>
                    <a:gd name="connsiteX597" fmla="*/ 494591 w 723696"/>
                    <a:gd name="connsiteY597" fmla="*/ 311010 h 855795"/>
                    <a:gd name="connsiteX598" fmla="*/ 495602 w 723696"/>
                    <a:gd name="connsiteY598" fmla="*/ 311947 h 855795"/>
                    <a:gd name="connsiteX599" fmla="*/ 498226 w 723696"/>
                    <a:gd name="connsiteY599" fmla="*/ 312624 h 855795"/>
                    <a:gd name="connsiteX600" fmla="*/ 500964 w 723696"/>
                    <a:gd name="connsiteY600" fmla="*/ 315509 h 855795"/>
                    <a:gd name="connsiteX601" fmla="*/ 503164 w 723696"/>
                    <a:gd name="connsiteY601" fmla="*/ 319404 h 855795"/>
                    <a:gd name="connsiteX602" fmla="*/ 504419 w 723696"/>
                    <a:gd name="connsiteY602" fmla="*/ 320586 h 855795"/>
                    <a:gd name="connsiteX603" fmla="*/ 506669 w 723696"/>
                    <a:gd name="connsiteY603" fmla="*/ 321898 h 855795"/>
                    <a:gd name="connsiteX604" fmla="*/ 511029 w 723696"/>
                    <a:gd name="connsiteY604" fmla="*/ 322045 h 855795"/>
                    <a:gd name="connsiteX605" fmla="*/ 511681 w 723696"/>
                    <a:gd name="connsiteY605" fmla="*/ 323129 h 855795"/>
                    <a:gd name="connsiteX606" fmla="*/ 512292 w 723696"/>
                    <a:gd name="connsiteY606" fmla="*/ 325989 h 855795"/>
                    <a:gd name="connsiteX607" fmla="*/ 513156 w 723696"/>
                    <a:gd name="connsiteY607" fmla="*/ 326992 h 855795"/>
                    <a:gd name="connsiteX608" fmla="*/ 515356 w 723696"/>
                    <a:gd name="connsiteY608" fmla="*/ 328328 h 855795"/>
                    <a:gd name="connsiteX609" fmla="*/ 515560 w 723696"/>
                    <a:gd name="connsiteY609" fmla="*/ 329331 h 855795"/>
                    <a:gd name="connsiteX610" fmla="*/ 515014 w 723696"/>
                    <a:gd name="connsiteY610" fmla="*/ 330472 h 855795"/>
                    <a:gd name="connsiteX611" fmla="*/ 514028 w 723696"/>
                    <a:gd name="connsiteY611" fmla="*/ 331368 h 855795"/>
                    <a:gd name="connsiteX612" fmla="*/ 512227 w 723696"/>
                    <a:gd name="connsiteY612" fmla="*/ 331939 h 855795"/>
                    <a:gd name="connsiteX613" fmla="*/ 510491 w 723696"/>
                    <a:gd name="connsiteY613" fmla="*/ 332167 h 855795"/>
                    <a:gd name="connsiteX614" fmla="*/ 508755 w 723696"/>
                    <a:gd name="connsiteY614" fmla="*/ 331808 h 855795"/>
                    <a:gd name="connsiteX615" fmla="*/ 506180 w 723696"/>
                    <a:gd name="connsiteY615" fmla="*/ 331564 h 855795"/>
                    <a:gd name="connsiteX616" fmla="*/ 503270 w 723696"/>
                    <a:gd name="connsiteY616" fmla="*/ 331547 h 855795"/>
                    <a:gd name="connsiteX617" fmla="*/ 501200 w 723696"/>
                    <a:gd name="connsiteY617" fmla="*/ 338678 h 855795"/>
                    <a:gd name="connsiteX618" fmla="*/ 499717 w 723696"/>
                    <a:gd name="connsiteY618" fmla="*/ 341188 h 855795"/>
                    <a:gd name="connsiteX619" fmla="*/ 498886 w 723696"/>
                    <a:gd name="connsiteY619" fmla="*/ 341181 h 855795"/>
                    <a:gd name="connsiteX620" fmla="*/ 496636 w 723696"/>
                    <a:gd name="connsiteY620" fmla="*/ 339966 h 855795"/>
                    <a:gd name="connsiteX621" fmla="*/ 495667 w 723696"/>
                    <a:gd name="connsiteY621" fmla="*/ 340154 h 855795"/>
                    <a:gd name="connsiteX622" fmla="*/ 493067 w 723696"/>
                    <a:gd name="connsiteY622" fmla="*/ 346478 h 855795"/>
                    <a:gd name="connsiteX623" fmla="*/ 492708 w 723696"/>
                    <a:gd name="connsiteY623" fmla="*/ 348010 h 855795"/>
                    <a:gd name="connsiteX624" fmla="*/ 492537 w 723696"/>
                    <a:gd name="connsiteY624" fmla="*/ 349159 h 855795"/>
                    <a:gd name="connsiteX625" fmla="*/ 493906 w 723696"/>
                    <a:gd name="connsiteY625" fmla="*/ 351596 h 855795"/>
                    <a:gd name="connsiteX626" fmla="*/ 495561 w 723696"/>
                    <a:gd name="connsiteY626" fmla="*/ 353609 h 855795"/>
                    <a:gd name="connsiteX627" fmla="*/ 497525 w 723696"/>
                    <a:gd name="connsiteY627" fmla="*/ 354399 h 855795"/>
                    <a:gd name="connsiteX628" fmla="*/ 499065 w 723696"/>
                    <a:gd name="connsiteY628" fmla="*/ 353796 h 855795"/>
                    <a:gd name="connsiteX629" fmla="*/ 500320 w 723696"/>
                    <a:gd name="connsiteY629" fmla="*/ 354611 h 855795"/>
                    <a:gd name="connsiteX630" fmla="*/ 501795 w 723696"/>
                    <a:gd name="connsiteY630" fmla="*/ 356632 h 855795"/>
                    <a:gd name="connsiteX631" fmla="*/ 504313 w 723696"/>
                    <a:gd name="connsiteY631" fmla="*/ 357969 h 855795"/>
                    <a:gd name="connsiteX632" fmla="*/ 507883 w 723696"/>
                    <a:gd name="connsiteY632" fmla="*/ 358613 h 855795"/>
                    <a:gd name="connsiteX633" fmla="*/ 509896 w 723696"/>
                    <a:gd name="connsiteY633" fmla="*/ 360218 h 855795"/>
                    <a:gd name="connsiteX634" fmla="*/ 510149 w 723696"/>
                    <a:gd name="connsiteY634" fmla="*/ 361596 h 855795"/>
                    <a:gd name="connsiteX635" fmla="*/ 509970 w 723696"/>
                    <a:gd name="connsiteY635" fmla="*/ 362997 h 855795"/>
                    <a:gd name="connsiteX636" fmla="*/ 509652 w 723696"/>
                    <a:gd name="connsiteY636" fmla="*/ 366640 h 855795"/>
                    <a:gd name="connsiteX637" fmla="*/ 509309 w 723696"/>
                    <a:gd name="connsiteY637" fmla="*/ 368743 h 855795"/>
                    <a:gd name="connsiteX638" fmla="*/ 507394 w 723696"/>
                    <a:gd name="connsiteY638" fmla="*/ 374260 h 855795"/>
                    <a:gd name="connsiteX639" fmla="*/ 506025 w 723696"/>
                    <a:gd name="connsiteY639" fmla="*/ 379003 h 855795"/>
                    <a:gd name="connsiteX640" fmla="*/ 506734 w 723696"/>
                    <a:gd name="connsiteY640" fmla="*/ 381261 h 855795"/>
                    <a:gd name="connsiteX641" fmla="*/ 507239 w 723696"/>
                    <a:gd name="connsiteY641" fmla="*/ 382182 h 855795"/>
                    <a:gd name="connsiteX642" fmla="*/ 507720 w 723696"/>
                    <a:gd name="connsiteY642" fmla="*/ 382891 h 855795"/>
                    <a:gd name="connsiteX643" fmla="*/ 509244 w 723696"/>
                    <a:gd name="connsiteY643" fmla="*/ 384675 h 855795"/>
                    <a:gd name="connsiteX644" fmla="*/ 510320 w 723696"/>
                    <a:gd name="connsiteY644" fmla="*/ 386436 h 855795"/>
                    <a:gd name="connsiteX645" fmla="*/ 509407 w 723696"/>
                    <a:gd name="connsiteY645" fmla="*/ 390927 h 855795"/>
                    <a:gd name="connsiteX646" fmla="*/ 509912 w 723696"/>
                    <a:gd name="connsiteY646" fmla="*/ 392108 h 855795"/>
                    <a:gd name="connsiteX647" fmla="*/ 511974 w 723696"/>
                    <a:gd name="connsiteY647" fmla="*/ 392891 h 855795"/>
                    <a:gd name="connsiteX648" fmla="*/ 514207 w 723696"/>
                    <a:gd name="connsiteY648" fmla="*/ 393502 h 855795"/>
                    <a:gd name="connsiteX649" fmla="*/ 514965 w 723696"/>
                    <a:gd name="connsiteY649" fmla="*/ 394235 h 855795"/>
                    <a:gd name="connsiteX650" fmla="*/ 513050 w 723696"/>
                    <a:gd name="connsiteY650" fmla="*/ 398791 h 855795"/>
                    <a:gd name="connsiteX651" fmla="*/ 513450 w 723696"/>
                    <a:gd name="connsiteY651" fmla="*/ 401969 h 855795"/>
                    <a:gd name="connsiteX652" fmla="*/ 514264 w 723696"/>
                    <a:gd name="connsiteY652" fmla="*/ 404936 h 855795"/>
                    <a:gd name="connsiteX653" fmla="*/ 514859 w 723696"/>
                    <a:gd name="connsiteY653" fmla="*/ 409793 h 855795"/>
                    <a:gd name="connsiteX654" fmla="*/ 514941 w 723696"/>
                    <a:gd name="connsiteY654" fmla="*/ 410306 h 855795"/>
                    <a:gd name="connsiteX655" fmla="*/ 514786 w 723696"/>
                    <a:gd name="connsiteY655" fmla="*/ 411521 h 855795"/>
                    <a:gd name="connsiteX656" fmla="*/ 516041 w 723696"/>
                    <a:gd name="connsiteY656" fmla="*/ 415294 h 855795"/>
                    <a:gd name="connsiteX657" fmla="*/ 517997 w 723696"/>
                    <a:gd name="connsiteY657" fmla="*/ 422645 h 855795"/>
                    <a:gd name="connsiteX658" fmla="*/ 518135 w 723696"/>
                    <a:gd name="connsiteY658" fmla="*/ 425392 h 855795"/>
                    <a:gd name="connsiteX659" fmla="*/ 518021 w 723696"/>
                    <a:gd name="connsiteY659" fmla="*/ 428293 h 855795"/>
                    <a:gd name="connsiteX660" fmla="*/ 517451 w 723696"/>
                    <a:gd name="connsiteY660" fmla="*/ 433134 h 855795"/>
                    <a:gd name="connsiteX661" fmla="*/ 515503 w 723696"/>
                    <a:gd name="connsiteY661" fmla="*/ 433109 h 855795"/>
                    <a:gd name="connsiteX662" fmla="*/ 517239 w 723696"/>
                    <a:gd name="connsiteY662" fmla="*/ 436345 h 855795"/>
                    <a:gd name="connsiteX663" fmla="*/ 517793 w 723696"/>
                    <a:gd name="connsiteY663" fmla="*/ 438676 h 855795"/>
                    <a:gd name="connsiteX664" fmla="*/ 518029 w 723696"/>
                    <a:gd name="connsiteY664" fmla="*/ 441919 h 855795"/>
                    <a:gd name="connsiteX665" fmla="*/ 515943 w 723696"/>
                    <a:gd name="connsiteY665" fmla="*/ 442327 h 855795"/>
                    <a:gd name="connsiteX666" fmla="*/ 514460 w 723696"/>
                    <a:gd name="connsiteY666" fmla="*/ 441952 h 855795"/>
                    <a:gd name="connsiteX667" fmla="*/ 513221 w 723696"/>
                    <a:gd name="connsiteY667" fmla="*/ 439108 h 855795"/>
                    <a:gd name="connsiteX668" fmla="*/ 512643 w 723696"/>
                    <a:gd name="connsiteY668" fmla="*/ 441699 h 855795"/>
                    <a:gd name="connsiteX669" fmla="*/ 510434 w 723696"/>
                    <a:gd name="connsiteY669" fmla="*/ 444087 h 855795"/>
                    <a:gd name="connsiteX670" fmla="*/ 509627 w 723696"/>
                    <a:gd name="connsiteY670" fmla="*/ 442922 h 855795"/>
                    <a:gd name="connsiteX671" fmla="*/ 509179 w 723696"/>
                    <a:gd name="connsiteY671" fmla="*/ 441667 h 855795"/>
                    <a:gd name="connsiteX672" fmla="*/ 509097 w 723696"/>
                    <a:gd name="connsiteY672" fmla="*/ 439458 h 855795"/>
                    <a:gd name="connsiteX673" fmla="*/ 510303 w 723696"/>
                    <a:gd name="connsiteY673" fmla="*/ 431015 h 855795"/>
                    <a:gd name="connsiteX674" fmla="*/ 510067 w 723696"/>
                    <a:gd name="connsiteY674" fmla="*/ 430061 h 855795"/>
                    <a:gd name="connsiteX675" fmla="*/ 509513 w 723696"/>
                    <a:gd name="connsiteY675" fmla="*/ 429434 h 855795"/>
                    <a:gd name="connsiteX676" fmla="*/ 508307 w 723696"/>
                    <a:gd name="connsiteY676" fmla="*/ 429100 h 855795"/>
                    <a:gd name="connsiteX677" fmla="*/ 507867 w 723696"/>
                    <a:gd name="connsiteY677" fmla="*/ 427396 h 855795"/>
                    <a:gd name="connsiteX678" fmla="*/ 506009 w 723696"/>
                    <a:gd name="connsiteY678" fmla="*/ 436394 h 855795"/>
                    <a:gd name="connsiteX679" fmla="*/ 506823 w 723696"/>
                    <a:gd name="connsiteY679" fmla="*/ 440069 h 855795"/>
                    <a:gd name="connsiteX680" fmla="*/ 506449 w 723696"/>
                    <a:gd name="connsiteY680" fmla="*/ 441748 h 855795"/>
                    <a:gd name="connsiteX681" fmla="*/ 503018 w 723696"/>
                    <a:gd name="connsiteY681" fmla="*/ 443158 h 855795"/>
                    <a:gd name="connsiteX682" fmla="*/ 499530 w 723696"/>
                    <a:gd name="connsiteY682" fmla="*/ 439776 h 855795"/>
                    <a:gd name="connsiteX683" fmla="*/ 499082 w 723696"/>
                    <a:gd name="connsiteY683" fmla="*/ 438692 h 855795"/>
                    <a:gd name="connsiteX684" fmla="*/ 498878 w 723696"/>
                    <a:gd name="connsiteY684" fmla="*/ 440591 h 855795"/>
                    <a:gd name="connsiteX685" fmla="*/ 498242 w 723696"/>
                    <a:gd name="connsiteY685" fmla="*/ 442914 h 855795"/>
                    <a:gd name="connsiteX686" fmla="*/ 494974 w 723696"/>
                    <a:gd name="connsiteY686" fmla="*/ 442490 h 855795"/>
                    <a:gd name="connsiteX687" fmla="*/ 493360 w 723696"/>
                    <a:gd name="connsiteY687" fmla="*/ 440680 h 855795"/>
                    <a:gd name="connsiteX688" fmla="*/ 494420 w 723696"/>
                    <a:gd name="connsiteY688" fmla="*/ 437592 h 855795"/>
                    <a:gd name="connsiteX689" fmla="*/ 496441 w 723696"/>
                    <a:gd name="connsiteY689" fmla="*/ 430159 h 855795"/>
                    <a:gd name="connsiteX690" fmla="*/ 496824 w 723696"/>
                    <a:gd name="connsiteY690" fmla="*/ 426842 h 855795"/>
                    <a:gd name="connsiteX691" fmla="*/ 494110 w 723696"/>
                    <a:gd name="connsiteY691" fmla="*/ 424414 h 855795"/>
                    <a:gd name="connsiteX692" fmla="*/ 491812 w 723696"/>
                    <a:gd name="connsiteY692" fmla="*/ 422930 h 855795"/>
                    <a:gd name="connsiteX693" fmla="*/ 490500 w 723696"/>
                    <a:gd name="connsiteY693" fmla="*/ 419540 h 855795"/>
                    <a:gd name="connsiteX694" fmla="*/ 490997 w 723696"/>
                    <a:gd name="connsiteY694" fmla="*/ 423256 h 855795"/>
                    <a:gd name="connsiteX695" fmla="*/ 492211 w 723696"/>
                    <a:gd name="connsiteY695" fmla="*/ 424577 h 855795"/>
                    <a:gd name="connsiteX696" fmla="*/ 494012 w 723696"/>
                    <a:gd name="connsiteY696" fmla="*/ 425506 h 855795"/>
                    <a:gd name="connsiteX697" fmla="*/ 495903 w 723696"/>
                    <a:gd name="connsiteY697" fmla="*/ 427396 h 855795"/>
                    <a:gd name="connsiteX698" fmla="*/ 494526 w 723696"/>
                    <a:gd name="connsiteY698" fmla="*/ 429711 h 855795"/>
                    <a:gd name="connsiteX699" fmla="*/ 493214 w 723696"/>
                    <a:gd name="connsiteY699" fmla="*/ 431153 h 855795"/>
                    <a:gd name="connsiteX700" fmla="*/ 490671 w 723696"/>
                    <a:gd name="connsiteY700" fmla="*/ 436606 h 855795"/>
                    <a:gd name="connsiteX701" fmla="*/ 487582 w 723696"/>
                    <a:gd name="connsiteY701" fmla="*/ 439654 h 855795"/>
                    <a:gd name="connsiteX702" fmla="*/ 483972 w 723696"/>
                    <a:gd name="connsiteY702" fmla="*/ 441944 h 855795"/>
                    <a:gd name="connsiteX703" fmla="*/ 472130 w 723696"/>
                    <a:gd name="connsiteY703" fmla="*/ 445309 h 855795"/>
                    <a:gd name="connsiteX704" fmla="*/ 469645 w 723696"/>
                    <a:gd name="connsiteY704" fmla="*/ 446679 h 855795"/>
                    <a:gd name="connsiteX705" fmla="*/ 466010 w 723696"/>
                    <a:gd name="connsiteY705" fmla="*/ 450884 h 855795"/>
                    <a:gd name="connsiteX706" fmla="*/ 463663 w 723696"/>
                    <a:gd name="connsiteY706" fmla="*/ 454861 h 855795"/>
                    <a:gd name="connsiteX707" fmla="*/ 463239 w 723696"/>
                    <a:gd name="connsiteY707" fmla="*/ 458903 h 855795"/>
                    <a:gd name="connsiteX708" fmla="*/ 464567 w 723696"/>
                    <a:gd name="connsiteY708" fmla="*/ 463272 h 855795"/>
                    <a:gd name="connsiteX709" fmla="*/ 465643 w 723696"/>
                    <a:gd name="connsiteY709" fmla="*/ 470093 h 855795"/>
                    <a:gd name="connsiteX710" fmla="*/ 466539 w 723696"/>
                    <a:gd name="connsiteY710" fmla="*/ 471486 h 855795"/>
                    <a:gd name="connsiteX711" fmla="*/ 465276 w 723696"/>
                    <a:gd name="connsiteY711" fmla="*/ 473972 h 855795"/>
                    <a:gd name="connsiteX712" fmla="*/ 463076 w 723696"/>
                    <a:gd name="connsiteY712" fmla="*/ 476613 h 855795"/>
                    <a:gd name="connsiteX713" fmla="*/ 461267 w 723696"/>
                    <a:gd name="connsiteY713" fmla="*/ 480174 h 855795"/>
                    <a:gd name="connsiteX714" fmla="*/ 461429 w 723696"/>
                    <a:gd name="connsiteY714" fmla="*/ 482122 h 855795"/>
                    <a:gd name="connsiteX715" fmla="*/ 460949 w 723696"/>
                    <a:gd name="connsiteY715" fmla="*/ 483442 h 855795"/>
                    <a:gd name="connsiteX716" fmla="*/ 454714 w 723696"/>
                    <a:gd name="connsiteY716" fmla="*/ 487818 h 855795"/>
                    <a:gd name="connsiteX717" fmla="*/ 453410 w 723696"/>
                    <a:gd name="connsiteY717" fmla="*/ 490377 h 855795"/>
                    <a:gd name="connsiteX718" fmla="*/ 451691 w 723696"/>
                    <a:gd name="connsiteY718" fmla="*/ 492912 h 855795"/>
                    <a:gd name="connsiteX719" fmla="*/ 449629 w 723696"/>
                    <a:gd name="connsiteY719" fmla="*/ 491462 h 855795"/>
                    <a:gd name="connsiteX720" fmla="*/ 448423 w 723696"/>
                    <a:gd name="connsiteY720" fmla="*/ 491478 h 855795"/>
                    <a:gd name="connsiteX721" fmla="*/ 450085 w 723696"/>
                    <a:gd name="connsiteY721" fmla="*/ 493499 h 855795"/>
                    <a:gd name="connsiteX722" fmla="*/ 449857 w 723696"/>
                    <a:gd name="connsiteY722" fmla="*/ 494827 h 855795"/>
                    <a:gd name="connsiteX723" fmla="*/ 449278 w 723696"/>
                    <a:gd name="connsiteY723" fmla="*/ 495602 h 855795"/>
                    <a:gd name="connsiteX724" fmla="*/ 447714 w 723696"/>
                    <a:gd name="connsiteY724" fmla="*/ 496335 h 855795"/>
                    <a:gd name="connsiteX725" fmla="*/ 438700 w 723696"/>
                    <a:gd name="connsiteY725" fmla="*/ 499546 h 855795"/>
                    <a:gd name="connsiteX726" fmla="*/ 431806 w 723696"/>
                    <a:gd name="connsiteY726" fmla="*/ 502594 h 855795"/>
                    <a:gd name="connsiteX727" fmla="*/ 429866 w 723696"/>
                    <a:gd name="connsiteY727" fmla="*/ 502472 h 855795"/>
                    <a:gd name="connsiteX728" fmla="*/ 430224 w 723696"/>
                    <a:gd name="connsiteY728" fmla="*/ 501543 h 855795"/>
                    <a:gd name="connsiteX729" fmla="*/ 431423 w 723696"/>
                    <a:gd name="connsiteY729" fmla="*/ 500720 h 855795"/>
                    <a:gd name="connsiteX730" fmla="*/ 431308 w 723696"/>
                    <a:gd name="connsiteY730" fmla="*/ 497231 h 855795"/>
                    <a:gd name="connsiteX731" fmla="*/ 430045 w 723696"/>
                    <a:gd name="connsiteY731" fmla="*/ 496580 h 855795"/>
                    <a:gd name="connsiteX732" fmla="*/ 428953 w 723696"/>
                    <a:gd name="connsiteY732" fmla="*/ 496335 h 855795"/>
                    <a:gd name="connsiteX733" fmla="*/ 423712 w 723696"/>
                    <a:gd name="connsiteY733" fmla="*/ 500597 h 855795"/>
                    <a:gd name="connsiteX734" fmla="*/ 421578 w 723696"/>
                    <a:gd name="connsiteY734" fmla="*/ 504811 h 855795"/>
                    <a:gd name="connsiteX735" fmla="*/ 422026 w 723696"/>
                    <a:gd name="connsiteY735" fmla="*/ 505618 h 855795"/>
                    <a:gd name="connsiteX736" fmla="*/ 423216 w 723696"/>
                    <a:gd name="connsiteY736" fmla="*/ 505422 h 855795"/>
                    <a:gd name="connsiteX737" fmla="*/ 426736 w 723696"/>
                    <a:gd name="connsiteY737" fmla="*/ 503026 h 855795"/>
                    <a:gd name="connsiteX738" fmla="*/ 428374 w 723696"/>
                    <a:gd name="connsiteY738" fmla="*/ 503702 h 855795"/>
                    <a:gd name="connsiteX739" fmla="*/ 428497 w 723696"/>
                    <a:gd name="connsiteY739" fmla="*/ 504639 h 855795"/>
                    <a:gd name="connsiteX740" fmla="*/ 423142 w 723696"/>
                    <a:gd name="connsiteY740" fmla="*/ 508283 h 855795"/>
                    <a:gd name="connsiteX741" fmla="*/ 411863 w 723696"/>
                    <a:gd name="connsiteY741" fmla="*/ 520083 h 855795"/>
                    <a:gd name="connsiteX742" fmla="*/ 411341 w 723696"/>
                    <a:gd name="connsiteY742" fmla="*/ 522398 h 855795"/>
                    <a:gd name="connsiteX743" fmla="*/ 409874 w 723696"/>
                    <a:gd name="connsiteY743" fmla="*/ 525030 h 855795"/>
                    <a:gd name="connsiteX744" fmla="*/ 407861 w 723696"/>
                    <a:gd name="connsiteY744" fmla="*/ 527500 h 855795"/>
                    <a:gd name="connsiteX745" fmla="*/ 404227 w 723696"/>
                    <a:gd name="connsiteY745" fmla="*/ 533490 h 855795"/>
                    <a:gd name="connsiteX746" fmla="*/ 397242 w 723696"/>
                    <a:gd name="connsiteY746" fmla="*/ 542373 h 855795"/>
                    <a:gd name="connsiteX747" fmla="*/ 395327 w 723696"/>
                    <a:gd name="connsiteY747" fmla="*/ 545690 h 855795"/>
                    <a:gd name="connsiteX748" fmla="*/ 384170 w 723696"/>
                    <a:gd name="connsiteY748" fmla="*/ 552527 h 855795"/>
                    <a:gd name="connsiteX749" fmla="*/ 382133 w 723696"/>
                    <a:gd name="connsiteY749" fmla="*/ 554565 h 855795"/>
                    <a:gd name="connsiteX750" fmla="*/ 377561 w 723696"/>
                    <a:gd name="connsiteY750" fmla="*/ 561223 h 855795"/>
                    <a:gd name="connsiteX751" fmla="*/ 372858 w 723696"/>
                    <a:gd name="connsiteY751" fmla="*/ 566675 h 855795"/>
                    <a:gd name="connsiteX752" fmla="*/ 367357 w 723696"/>
                    <a:gd name="connsiteY752" fmla="*/ 571182 h 855795"/>
                    <a:gd name="connsiteX753" fmla="*/ 357847 w 723696"/>
                    <a:gd name="connsiteY753" fmla="*/ 576936 h 855795"/>
                    <a:gd name="connsiteX754" fmla="*/ 352052 w 723696"/>
                    <a:gd name="connsiteY754" fmla="*/ 582380 h 855795"/>
                    <a:gd name="connsiteX755" fmla="*/ 350243 w 723696"/>
                    <a:gd name="connsiteY755" fmla="*/ 585998 h 855795"/>
                    <a:gd name="connsiteX756" fmla="*/ 350137 w 723696"/>
                    <a:gd name="connsiteY756" fmla="*/ 587278 h 855795"/>
                    <a:gd name="connsiteX757" fmla="*/ 350756 w 723696"/>
                    <a:gd name="connsiteY757" fmla="*/ 589038 h 855795"/>
                    <a:gd name="connsiteX758" fmla="*/ 351816 w 723696"/>
                    <a:gd name="connsiteY758" fmla="*/ 590668 h 855795"/>
                    <a:gd name="connsiteX759" fmla="*/ 352060 w 723696"/>
                    <a:gd name="connsiteY759" fmla="*/ 591964 h 855795"/>
                    <a:gd name="connsiteX760" fmla="*/ 351539 w 723696"/>
                    <a:gd name="connsiteY760" fmla="*/ 594303 h 855795"/>
                    <a:gd name="connsiteX761" fmla="*/ 351262 w 723696"/>
                    <a:gd name="connsiteY761" fmla="*/ 595591 h 855795"/>
                    <a:gd name="connsiteX762" fmla="*/ 349558 w 723696"/>
                    <a:gd name="connsiteY762" fmla="*/ 598785 h 855795"/>
                    <a:gd name="connsiteX763" fmla="*/ 346649 w 723696"/>
                    <a:gd name="connsiteY763" fmla="*/ 601067 h 855795"/>
                    <a:gd name="connsiteX764" fmla="*/ 337236 w 723696"/>
                    <a:gd name="connsiteY764" fmla="*/ 605827 h 855795"/>
                    <a:gd name="connsiteX765" fmla="*/ 335989 w 723696"/>
                    <a:gd name="connsiteY765" fmla="*/ 605680 h 855795"/>
                    <a:gd name="connsiteX766" fmla="*/ 328295 w 723696"/>
                    <a:gd name="connsiteY766" fmla="*/ 604735 h 855795"/>
                    <a:gd name="connsiteX767" fmla="*/ 325435 w 723696"/>
                    <a:gd name="connsiteY767" fmla="*/ 605590 h 855795"/>
                    <a:gd name="connsiteX768" fmla="*/ 324253 w 723696"/>
                    <a:gd name="connsiteY768" fmla="*/ 607832 h 855795"/>
                    <a:gd name="connsiteX769" fmla="*/ 321613 w 723696"/>
                    <a:gd name="connsiteY769" fmla="*/ 617057 h 855795"/>
                    <a:gd name="connsiteX770" fmla="*/ 319078 w 723696"/>
                    <a:gd name="connsiteY770" fmla="*/ 619510 h 855795"/>
                    <a:gd name="connsiteX771" fmla="*/ 318174 w 723696"/>
                    <a:gd name="connsiteY771" fmla="*/ 621735 h 855795"/>
                    <a:gd name="connsiteX772" fmla="*/ 317807 w 723696"/>
                    <a:gd name="connsiteY772" fmla="*/ 623259 h 855795"/>
                    <a:gd name="connsiteX773" fmla="*/ 316291 w 723696"/>
                    <a:gd name="connsiteY773" fmla="*/ 623226 h 855795"/>
                    <a:gd name="connsiteX774" fmla="*/ 314979 w 723696"/>
                    <a:gd name="connsiteY774" fmla="*/ 622542 h 855795"/>
                    <a:gd name="connsiteX775" fmla="*/ 314017 w 723696"/>
                    <a:gd name="connsiteY775" fmla="*/ 623039 h 855795"/>
                    <a:gd name="connsiteX776" fmla="*/ 312925 w 723696"/>
                    <a:gd name="connsiteY776" fmla="*/ 619942 h 855795"/>
                    <a:gd name="connsiteX777" fmla="*/ 311092 w 723696"/>
                    <a:gd name="connsiteY777" fmla="*/ 619306 h 855795"/>
                    <a:gd name="connsiteX778" fmla="*/ 309567 w 723696"/>
                    <a:gd name="connsiteY778" fmla="*/ 619103 h 855795"/>
                    <a:gd name="connsiteX779" fmla="*/ 303072 w 723696"/>
                    <a:gd name="connsiteY779" fmla="*/ 622216 h 855795"/>
                    <a:gd name="connsiteX780" fmla="*/ 300815 w 723696"/>
                    <a:gd name="connsiteY780" fmla="*/ 624726 h 855795"/>
                    <a:gd name="connsiteX781" fmla="*/ 296039 w 723696"/>
                    <a:gd name="connsiteY781" fmla="*/ 636527 h 855795"/>
                    <a:gd name="connsiteX782" fmla="*/ 294865 w 723696"/>
                    <a:gd name="connsiteY782" fmla="*/ 644122 h 855795"/>
                    <a:gd name="connsiteX783" fmla="*/ 295973 w 723696"/>
                    <a:gd name="connsiteY783" fmla="*/ 652525 h 855795"/>
                    <a:gd name="connsiteX784" fmla="*/ 297636 w 723696"/>
                    <a:gd name="connsiteY784" fmla="*/ 659232 h 855795"/>
                    <a:gd name="connsiteX785" fmla="*/ 297962 w 723696"/>
                    <a:gd name="connsiteY785" fmla="*/ 662272 h 855795"/>
                    <a:gd name="connsiteX786" fmla="*/ 297750 w 723696"/>
                    <a:gd name="connsiteY786" fmla="*/ 666184 h 855795"/>
                    <a:gd name="connsiteX787" fmla="*/ 296911 w 723696"/>
                    <a:gd name="connsiteY787" fmla="*/ 668099 h 855795"/>
                    <a:gd name="connsiteX788" fmla="*/ 296300 w 723696"/>
                    <a:gd name="connsiteY788" fmla="*/ 670356 h 855795"/>
                    <a:gd name="connsiteX789" fmla="*/ 297090 w 723696"/>
                    <a:gd name="connsiteY789" fmla="*/ 675018 h 855795"/>
                    <a:gd name="connsiteX790" fmla="*/ 299095 w 723696"/>
                    <a:gd name="connsiteY790" fmla="*/ 681122 h 855795"/>
                    <a:gd name="connsiteX791" fmla="*/ 299584 w 723696"/>
                    <a:gd name="connsiteY791" fmla="*/ 683697 h 855795"/>
                    <a:gd name="connsiteX792" fmla="*/ 299633 w 723696"/>
                    <a:gd name="connsiteY792" fmla="*/ 686354 h 855795"/>
                    <a:gd name="connsiteX793" fmla="*/ 301133 w 723696"/>
                    <a:gd name="connsiteY793" fmla="*/ 692450 h 855795"/>
                    <a:gd name="connsiteX794" fmla="*/ 300122 w 723696"/>
                    <a:gd name="connsiteY794" fmla="*/ 691350 h 855795"/>
                    <a:gd name="connsiteX795" fmla="*/ 299323 w 723696"/>
                    <a:gd name="connsiteY795" fmla="*/ 688783 h 855795"/>
                    <a:gd name="connsiteX796" fmla="*/ 297408 w 723696"/>
                    <a:gd name="connsiteY796" fmla="*/ 685507 h 855795"/>
                    <a:gd name="connsiteX797" fmla="*/ 295077 w 723696"/>
                    <a:gd name="connsiteY797" fmla="*/ 688767 h 855795"/>
                    <a:gd name="connsiteX798" fmla="*/ 296373 w 723696"/>
                    <a:gd name="connsiteY798" fmla="*/ 691130 h 855795"/>
                    <a:gd name="connsiteX799" fmla="*/ 300725 w 723696"/>
                    <a:gd name="connsiteY799" fmla="*/ 693917 h 855795"/>
                    <a:gd name="connsiteX800" fmla="*/ 302021 w 723696"/>
                    <a:gd name="connsiteY800" fmla="*/ 696207 h 855795"/>
                    <a:gd name="connsiteX801" fmla="*/ 299217 w 723696"/>
                    <a:gd name="connsiteY801" fmla="*/ 716557 h 855795"/>
                    <a:gd name="connsiteX802" fmla="*/ 297074 w 723696"/>
                    <a:gd name="connsiteY802" fmla="*/ 723770 h 855795"/>
                    <a:gd name="connsiteX803" fmla="*/ 294458 w 723696"/>
                    <a:gd name="connsiteY803" fmla="*/ 728505 h 855795"/>
                    <a:gd name="connsiteX804" fmla="*/ 293080 w 723696"/>
                    <a:gd name="connsiteY804" fmla="*/ 730338 h 855795"/>
                    <a:gd name="connsiteX805" fmla="*/ 290016 w 723696"/>
                    <a:gd name="connsiteY805" fmla="*/ 737812 h 855795"/>
                    <a:gd name="connsiteX806" fmla="*/ 287865 w 723696"/>
                    <a:gd name="connsiteY806" fmla="*/ 746833 h 855795"/>
                    <a:gd name="connsiteX807" fmla="*/ 287433 w 723696"/>
                    <a:gd name="connsiteY807" fmla="*/ 750322 h 855795"/>
                    <a:gd name="connsiteX808" fmla="*/ 288411 w 723696"/>
                    <a:gd name="connsiteY808" fmla="*/ 754209 h 855795"/>
                    <a:gd name="connsiteX809" fmla="*/ 287310 w 723696"/>
                    <a:gd name="connsiteY809" fmla="*/ 756507 h 855795"/>
                    <a:gd name="connsiteX810" fmla="*/ 285925 w 723696"/>
                    <a:gd name="connsiteY810" fmla="*/ 758267 h 855795"/>
                    <a:gd name="connsiteX811" fmla="*/ 288541 w 723696"/>
                    <a:gd name="connsiteY811" fmla="*/ 757477 h 855795"/>
                    <a:gd name="connsiteX812" fmla="*/ 289454 w 723696"/>
                    <a:gd name="connsiteY812" fmla="*/ 759580 h 855795"/>
                    <a:gd name="connsiteX813" fmla="*/ 289780 w 723696"/>
                    <a:gd name="connsiteY813" fmla="*/ 761755 h 855795"/>
                    <a:gd name="connsiteX814" fmla="*/ 289804 w 723696"/>
                    <a:gd name="connsiteY814" fmla="*/ 774689 h 855795"/>
                    <a:gd name="connsiteX815" fmla="*/ 289519 w 723696"/>
                    <a:gd name="connsiteY815" fmla="*/ 788169 h 855795"/>
                    <a:gd name="connsiteX816" fmla="*/ 287498 w 723696"/>
                    <a:gd name="connsiteY816" fmla="*/ 788715 h 855795"/>
                    <a:gd name="connsiteX817" fmla="*/ 285289 w 723696"/>
                    <a:gd name="connsiteY817" fmla="*/ 788861 h 855795"/>
                    <a:gd name="connsiteX818" fmla="*/ 283334 w 723696"/>
                    <a:gd name="connsiteY818" fmla="*/ 788478 h 855795"/>
                    <a:gd name="connsiteX819" fmla="*/ 281915 w 723696"/>
                    <a:gd name="connsiteY819" fmla="*/ 787957 h 855795"/>
                    <a:gd name="connsiteX820" fmla="*/ 278411 w 723696"/>
                    <a:gd name="connsiteY820" fmla="*/ 788666 h 855795"/>
                    <a:gd name="connsiteX821" fmla="*/ 276537 w 723696"/>
                    <a:gd name="connsiteY821" fmla="*/ 790149 h 855795"/>
                    <a:gd name="connsiteX822" fmla="*/ 275021 w 723696"/>
                    <a:gd name="connsiteY822" fmla="*/ 792627 h 855795"/>
                    <a:gd name="connsiteX823" fmla="*/ 275119 w 723696"/>
                    <a:gd name="connsiteY823" fmla="*/ 796840 h 855795"/>
                    <a:gd name="connsiteX824" fmla="*/ 268640 w 723696"/>
                    <a:gd name="connsiteY824" fmla="*/ 807451 h 855795"/>
                    <a:gd name="connsiteX825" fmla="*/ 267238 w 723696"/>
                    <a:gd name="connsiteY825" fmla="*/ 810996 h 855795"/>
                    <a:gd name="connsiteX826" fmla="*/ 266724 w 723696"/>
                    <a:gd name="connsiteY826" fmla="*/ 814403 h 855795"/>
                    <a:gd name="connsiteX827" fmla="*/ 267572 w 723696"/>
                    <a:gd name="connsiteY827" fmla="*/ 816179 h 855795"/>
                    <a:gd name="connsiteX828" fmla="*/ 269226 w 723696"/>
                    <a:gd name="connsiteY828" fmla="*/ 817997 h 855795"/>
                    <a:gd name="connsiteX829" fmla="*/ 271386 w 723696"/>
                    <a:gd name="connsiteY829" fmla="*/ 818738 h 855795"/>
                    <a:gd name="connsiteX830" fmla="*/ 275559 w 723696"/>
                    <a:gd name="connsiteY830" fmla="*/ 819472 h 855795"/>
                    <a:gd name="connsiteX831" fmla="*/ 277571 w 723696"/>
                    <a:gd name="connsiteY831" fmla="*/ 820450 h 855795"/>
                    <a:gd name="connsiteX832" fmla="*/ 278941 w 723696"/>
                    <a:gd name="connsiteY832" fmla="*/ 822251 h 855795"/>
                    <a:gd name="connsiteX833" fmla="*/ 274010 w 723696"/>
                    <a:gd name="connsiteY833" fmla="*/ 820336 h 855795"/>
                    <a:gd name="connsiteX834" fmla="*/ 268224 w 723696"/>
                    <a:gd name="connsiteY834" fmla="*/ 819961 h 855795"/>
                    <a:gd name="connsiteX835" fmla="*/ 254386 w 723696"/>
                    <a:gd name="connsiteY835" fmla="*/ 824883 h 855795"/>
                    <a:gd name="connsiteX836" fmla="*/ 250743 w 723696"/>
                    <a:gd name="connsiteY836" fmla="*/ 828339 h 855795"/>
                    <a:gd name="connsiteX837" fmla="*/ 248705 w 723696"/>
                    <a:gd name="connsiteY837" fmla="*/ 831338 h 855795"/>
                    <a:gd name="connsiteX838" fmla="*/ 247303 w 723696"/>
                    <a:gd name="connsiteY838" fmla="*/ 838184 h 855795"/>
                    <a:gd name="connsiteX839" fmla="*/ 247059 w 723696"/>
                    <a:gd name="connsiteY839" fmla="*/ 842764 h 855795"/>
                    <a:gd name="connsiteX840" fmla="*/ 245421 w 723696"/>
                    <a:gd name="connsiteY840" fmla="*/ 846578 h 855795"/>
                    <a:gd name="connsiteX841" fmla="*/ 238224 w 723696"/>
                    <a:gd name="connsiteY841" fmla="*/ 852438 h 855795"/>
                    <a:gd name="connsiteX842" fmla="*/ 233693 w 723696"/>
                    <a:gd name="connsiteY842" fmla="*/ 854239 h 855795"/>
                    <a:gd name="connsiteX843" fmla="*/ 231957 w 723696"/>
                    <a:gd name="connsiteY843" fmla="*/ 855795 h 855795"/>
                    <a:gd name="connsiteX844" fmla="*/ 226603 w 723696"/>
                    <a:gd name="connsiteY844" fmla="*/ 853774 h 855795"/>
                    <a:gd name="connsiteX845" fmla="*/ 220760 w 723696"/>
                    <a:gd name="connsiteY845" fmla="*/ 848648 h 855795"/>
                    <a:gd name="connsiteX846" fmla="*/ 218307 w 723696"/>
                    <a:gd name="connsiteY846" fmla="*/ 845893 h 855795"/>
                    <a:gd name="connsiteX847" fmla="*/ 209635 w 723696"/>
                    <a:gd name="connsiteY847" fmla="*/ 832650 h 855795"/>
                    <a:gd name="connsiteX848" fmla="*/ 208054 w 723696"/>
                    <a:gd name="connsiteY848" fmla="*/ 830979 h 855795"/>
                    <a:gd name="connsiteX849" fmla="*/ 206294 w 723696"/>
                    <a:gd name="connsiteY849" fmla="*/ 825315 h 855795"/>
                    <a:gd name="connsiteX850" fmla="*/ 206025 w 723696"/>
                    <a:gd name="connsiteY850" fmla="*/ 823205 h 855795"/>
                    <a:gd name="connsiteX851" fmla="*/ 205544 w 723696"/>
                    <a:gd name="connsiteY851" fmla="*/ 822357 h 855795"/>
                    <a:gd name="connsiteX852" fmla="*/ 204713 w 723696"/>
                    <a:gd name="connsiteY852" fmla="*/ 821786 h 855795"/>
                    <a:gd name="connsiteX853" fmla="*/ 204314 w 723696"/>
                    <a:gd name="connsiteY853" fmla="*/ 820914 h 855795"/>
                    <a:gd name="connsiteX854" fmla="*/ 202374 w 723696"/>
                    <a:gd name="connsiteY854" fmla="*/ 814419 h 855795"/>
                    <a:gd name="connsiteX855" fmla="*/ 201576 w 723696"/>
                    <a:gd name="connsiteY855" fmla="*/ 807655 h 855795"/>
                    <a:gd name="connsiteX856" fmla="*/ 200336 w 723696"/>
                    <a:gd name="connsiteY856" fmla="*/ 800100 h 855795"/>
                    <a:gd name="connsiteX857" fmla="*/ 201388 w 723696"/>
                    <a:gd name="connsiteY857" fmla="*/ 800622 h 855795"/>
                    <a:gd name="connsiteX858" fmla="*/ 202831 w 723696"/>
                    <a:gd name="connsiteY858" fmla="*/ 803107 h 855795"/>
                    <a:gd name="connsiteX859" fmla="*/ 203556 w 723696"/>
                    <a:gd name="connsiteY859" fmla="*/ 806734 h 855795"/>
                    <a:gd name="connsiteX860" fmla="*/ 203629 w 723696"/>
                    <a:gd name="connsiteY860" fmla="*/ 811770 h 855795"/>
                    <a:gd name="connsiteX861" fmla="*/ 204729 w 723696"/>
                    <a:gd name="connsiteY861" fmla="*/ 812365 h 855795"/>
                    <a:gd name="connsiteX862" fmla="*/ 205707 w 723696"/>
                    <a:gd name="connsiteY862" fmla="*/ 811885 h 855795"/>
                    <a:gd name="connsiteX863" fmla="*/ 202920 w 723696"/>
                    <a:gd name="connsiteY863" fmla="*/ 800247 h 855795"/>
                    <a:gd name="connsiteX864" fmla="*/ 200492 w 723696"/>
                    <a:gd name="connsiteY864" fmla="*/ 797362 h 855795"/>
                    <a:gd name="connsiteX865" fmla="*/ 199840 w 723696"/>
                    <a:gd name="connsiteY865" fmla="*/ 797174 h 855795"/>
                    <a:gd name="connsiteX866" fmla="*/ 199163 w 723696"/>
                    <a:gd name="connsiteY866" fmla="*/ 795300 h 855795"/>
                    <a:gd name="connsiteX867" fmla="*/ 199106 w 723696"/>
                    <a:gd name="connsiteY867" fmla="*/ 792961 h 855795"/>
                    <a:gd name="connsiteX868" fmla="*/ 199318 w 723696"/>
                    <a:gd name="connsiteY868" fmla="*/ 791844 h 855795"/>
                    <a:gd name="connsiteX869" fmla="*/ 197386 w 723696"/>
                    <a:gd name="connsiteY869" fmla="*/ 788038 h 855795"/>
                    <a:gd name="connsiteX870" fmla="*/ 196710 w 723696"/>
                    <a:gd name="connsiteY870" fmla="*/ 785765 h 855795"/>
                    <a:gd name="connsiteX871" fmla="*/ 192399 w 723696"/>
                    <a:gd name="connsiteY871" fmla="*/ 774233 h 855795"/>
                    <a:gd name="connsiteX872" fmla="*/ 190467 w 723696"/>
                    <a:gd name="connsiteY872" fmla="*/ 765969 h 855795"/>
                    <a:gd name="connsiteX873" fmla="*/ 187468 w 723696"/>
                    <a:gd name="connsiteY873" fmla="*/ 756776 h 855795"/>
                    <a:gd name="connsiteX874" fmla="*/ 185545 w 723696"/>
                    <a:gd name="connsiteY874" fmla="*/ 753549 h 855795"/>
                    <a:gd name="connsiteX875" fmla="*/ 182529 w 723696"/>
                    <a:gd name="connsiteY875" fmla="*/ 746450 h 855795"/>
                    <a:gd name="connsiteX876" fmla="*/ 180003 w 723696"/>
                    <a:gd name="connsiteY876" fmla="*/ 743150 h 855795"/>
                    <a:gd name="connsiteX877" fmla="*/ 177322 w 723696"/>
                    <a:gd name="connsiteY877" fmla="*/ 738724 h 855795"/>
                    <a:gd name="connsiteX878" fmla="*/ 175219 w 723696"/>
                    <a:gd name="connsiteY878" fmla="*/ 736760 h 855795"/>
                    <a:gd name="connsiteX879" fmla="*/ 174396 w 723696"/>
                    <a:gd name="connsiteY879" fmla="*/ 735725 h 855795"/>
                    <a:gd name="connsiteX880" fmla="*/ 168170 w 723696"/>
                    <a:gd name="connsiteY880" fmla="*/ 720363 h 855795"/>
                    <a:gd name="connsiteX881" fmla="*/ 166246 w 723696"/>
                    <a:gd name="connsiteY881" fmla="*/ 711879 h 855795"/>
                    <a:gd name="connsiteX882" fmla="*/ 164633 w 723696"/>
                    <a:gd name="connsiteY882" fmla="*/ 707869 h 855795"/>
                    <a:gd name="connsiteX883" fmla="*/ 163826 w 723696"/>
                    <a:gd name="connsiteY883" fmla="*/ 704822 h 855795"/>
                    <a:gd name="connsiteX884" fmla="*/ 161642 w 723696"/>
                    <a:gd name="connsiteY884" fmla="*/ 691782 h 855795"/>
                    <a:gd name="connsiteX885" fmla="*/ 161625 w 723696"/>
                    <a:gd name="connsiteY885" fmla="*/ 689451 h 855795"/>
                    <a:gd name="connsiteX886" fmla="*/ 161357 w 723696"/>
                    <a:gd name="connsiteY886" fmla="*/ 686908 h 855795"/>
                    <a:gd name="connsiteX887" fmla="*/ 159800 w 723696"/>
                    <a:gd name="connsiteY887" fmla="*/ 681375 h 855795"/>
                    <a:gd name="connsiteX888" fmla="*/ 157078 w 723696"/>
                    <a:gd name="connsiteY888" fmla="*/ 675401 h 855795"/>
                    <a:gd name="connsiteX889" fmla="*/ 156304 w 723696"/>
                    <a:gd name="connsiteY889" fmla="*/ 671676 h 855795"/>
                    <a:gd name="connsiteX890" fmla="*/ 156312 w 723696"/>
                    <a:gd name="connsiteY890" fmla="*/ 670226 h 855795"/>
                    <a:gd name="connsiteX891" fmla="*/ 154568 w 723696"/>
                    <a:gd name="connsiteY891" fmla="*/ 664423 h 855795"/>
                    <a:gd name="connsiteX892" fmla="*/ 154201 w 723696"/>
                    <a:gd name="connsiteY892" fmla="*/ 661766 h 855795"/>
                    <a:gd name="connsiteX893" fmla="*/ 153019 w 723696"/>
                    <a:gd name="connsiteY893" fmla="*/ 659313 h 855795"/>
                    <a:gd name="connsiteX894" fmla="*/ 151674 w 723696"/>
                    <a:gd name="connsiteY894" fmla="*/ 657056 h 855795"/>
                    <a:gd name="connsiteX895" fmla="*/ 150248 w 723696"/>
                    <a:gd name="connsiteY895" fmla="*/ 655255 h 855795"/>
                    <a:gd name="connsiteX896" fmla="*/ 146915 w 723696"/>
                    <a:gd name="connsiteY896" fmla="*/ 649363 h 855795"/>
                    <a:gd name="connsiteX897" fmla="*/ 145725 w 723696"/>
                    <a:gd name="connsiteY897" fmla="*/ 647928 h 855795"/>
                    <a:gd name="connsiteX898" fmla="*/ 143452 w 723696"/>
                    <a:gd name="connsiteY898" fmla="*/ 644114 h 855795"/>
                    <a:gd name="connsiteX899" fmla="*/ 141846 w 723696"/>
                    <a:gd name="connsiteY899" fmla="*/ 637048 h 855795"/>
                    <a:gd name="connsiteX900" fmla="*/ 139776 w 723696"/>
                    <a:gd name="connsiteY900" fmla="*/ 634294 h 855795"/>
                    <a:gd name="connsiteX901" fmla="*/ 143036 w 723696"/>
                    <a:gd name="connsiteY901" fmla="*/ 634294 h 855795"/>
                    <a:gd name="connsiteX902" fmla="*/ 141047 w 723696"/>
                    <a:gd name="connsiteY902" fmla="*/ 631686 h 855795"/>
                    <a:gd name="connsiteX903" fmla="*/ 140102 w 723696"/>
                    <a:gd name="connsiteY903" fmla="*/ 629974 h 855795"/>
                    <a:gd name="connsiteX904" fmla="*/ 139059 w 723696"/>
                    <a:gd name="connsiteY904" fmla="*/ 628923 h 855795"/>
                    <a:gd name="connsiteX905" fmla="*/ 140574 w 723696"/>
                    <a:gd name="connsiteY905" fmla="*/ 626291 h 855795"/>
                    <a:gd name="connsiteX906" fmla="*/ 138089 w 723696"/>
                    <a:gd name="connsiteY906" fmla="*/ 626364 h 855795"/>
                    <a:gd name="connsiteX907" fmla="*/ 136777 w 723696"/>
                    <a:gd name="connsiteY907" fmla="*/ 624775 h 855795"/>
                    <a:gd name="connsiteX908" fmla="*/ 134992 w 723696"/>
                    <a:gd name="connsiteY908" fmla="*/ 619828 h 855795"/>
                    <a:gd name="connsiteX909" fmla="*/ 131716 w 723696"/>
                    <a:gd name="connsiteY909" fmla="*/ 614237 h 855795"/>
                    <a:gd name="connsiteX910" fmla="*/ 131178 w 723696"/>
                    <a:gd name="connsiteY910" fmla="*/ 611246 h 855795"/>
                    <a:gd name="connsiteX911" fmla="*/ 128285 w 723696"/>
                    <a:gd name="connsiteY911" fmla="*/ 601841 h 855795"/>
                    <a:gd name="connsiteX912" fmla="*/ 125848 w 723696"/>
                    <a:gd name="connsiteY912" fmla="*/ 579250 h 855795"/>
                    <a:gd name="connsiteX913" fmla="*/ 123607 w 723696"/>
                    <a:gd name="connsiteY913" fmla="*/ 569169 h 855795"/>
                    <a:gd name="connsiteX914" fmla="*/ 123786 w 723696"/>
                    <a:gd name="connsiteY914" fmla="*/ 566268 h 855795"/>
                    <a:gd name="connsiteX915" fmla="*/ 121088 w 723696"/>
                    <a:gd name="connsiteY915" fmla="*/ 557540 h 855795"/>
                    <a:gd name="connsiteX916" fmla="*/ 119760 w 723696"/>
                    <a:gd name="connsiteY916" fmla="*/ 551680 h 855795"/>
                    <a:gd name="connsiteX917" fmla="*/ 119231 w 723696"/>
                    <a:gd name="connsiteY917" fmla="*/ 546717 h 855795"/>
                    <a:gd name="connsiteX918" fmla="*/ 118505 w 723696"/>
                    <a:gd name="connsiteY918" fmla="*/ 543449 h 855795"/>
                    <a:gd name="connsiteX919" fmla="*/ 117861 w 723696"/>
                    <a:gd name="connsiteY919" fmla="*/ 536978 h 855795"/>
                    <a:gd name="connsiteX920" fmla="*/ 116826 w 723696"/>
                    <a:gd name="connsiteY920" fmla="*/ 534932 h 855795"/>
                    <a:gd name="connsiteX921" fmla="*/ 116712 w 723696"/>
                    <a:gd name="connsiteY921" fmla="*/ 533693 h 855795"/>
                    <a:gd name="connsiteX922" fmla="*/ 117405 w 723696"/>
                    <a:gd name="connsiteY922" fmla="*/ 530743 h 855795"/>
                    <a:gd name="connsiteX923" fmla="*/ 119345 w 723696"/>
                    <a:gd name="connsiteY923" fmla="*/ 526179 h 855795"/>
                    <a:gd name="connsiteX924" fmla="*/ 120053 w 723696"/>
                    <a:gd name="connsiteY924" fmla="*/ 523294 h 855795"/>
                    <a:gd name="connsiteX925" fmla="*/ 119231 w 723696"/>
                    <a:gd name="connsiteY925" fmla="*/ 519219 h 855795"/>
                    <a:gd name="connsiteX926" fmla="*/ 117454 w 723696"/>
                    <a:gd name="connsiteY926" fmla="*/ 523498 h 855795"/>
                    <a:gd name="connsiteX927" fmla="*/ 115816 w 723696"/>
                    <a:gd name="connsiteY927" fmla="*/ 524696 h 855795"/>
                    <a:gd name="connsiteX928" fmla="*/ 115033 w 723696"/>
                    <a:gd name="connsiteY928" fmla="*/ 521501 h 855795"/>
                    <a:gd name="connsiteX929" fmla="*/ 115025 w 723696"/>
                    <a:gd name="connsiteY929" fmla="*/ 517207 h 855795"/>
                    <a:gd name="connsiteX930" fmla="*/ 114821 w 723696"/>
                    <a:gd name="connsiteY930" fmla="*/ 516180 h 855795"/>
                    <a:gd name="connsiteX931" fmla="*/ 115253 w 723696"/>
                    <a:gd name="connsiteY931" fmla="*/ 514737 h 855795"/>
                    <a:gd name="connsiteX932" fmla="*/ 119605 w 723696"/>
                    <a:gd name="connsiteY932" fmla="*/ 515405 h 855795"/>
                    <a:gd name="connsiteX933" fmla="*/ 114650 w 723696"/>
                    <a:gd name="connsiteY933" fmla="*/ 512765 h 855795"/>
                    <a:gd name="connsiteX934" fmla="*/ 114063 w 723696"/>
                    <a:gd name="connsiteY934" fmla="*/ 511216 h 855795"/>
                    <a:gd name="connsiteX935" fmla="*/ 113876 w 723696"/>
                    <a:gd name="connsiteY935" fmla="*/ 510067 h 855795"/>
                    <a:gd name="connsiteX936" fmla="*/ 114935 w 723696"/>
                    <a:gd name="connsiteY936" fmla="*/ 507932 h 855795"/>
                    <a:gd name="connsiteX937" fmla="*/ 113143 w 723696"/>
                    <a:gd name="connsiteY937" fmla="*/ 506131 h 855795"/>
                    <a:gd name="connsiteX938" fmla="*/ 112417 w 723696"/>
                    <a:gd name="connsiteY938" fmla="*/ 500614 h 855795"/>
                    <a:gd name="connsiteX939" fmla="*/ 111879 w 723696"/>
                    <a:gd name="connsiteY939" fmla="*/ 499350 h 855795"/>
                    <a:gd name="connsiteX940" fmla="*/ 111676 w 723696"/>
                    <a:gd name="connsiteY940" fmla="*/ 498340 h 855795"/>
                    <a:gd name="connsiteX941" fmla="*/ 112702 w 723696"/>
                    <a:gd name="connsiteY941" fmla="*/ 490712 h 855795"/>
                    <a:gd name="connsiteX942" fmla="*/ 116965 w 723696"/>
                    <a:gd name="connsiteY942" fmla="*/ 475716 h 855795"/>
                    <a:gd name="connsiteX943" fmla="*/ 117291 w 723696"/>
                    <a:gd name="connsiteY943" fmla="*/ 472326 h 855795"/>
                    <a:gd name="connsiteX944" fmla="*/ 116916 w 723696"/>
                    <a:gd name="connsiteY944" fmla="*/ 467509 h 855795"/>
                    <a:gd name="connsiteX945" fmla="*/ 115954 w 723696"/>
                    <a:gd name="connsiteY945" fmla="*/ 463671 h 855795"/>
                    <a:gd name="connsiteX946" fmla="*/ 115563 w 723696"/>
                    <a:gd name="connsiteY946" fmla="*/ 459612 h 855795"/>
                    <a:gd name="connsiteX947" fmla="*/ 115294 w 723696"/>
                    <a:gd name="connsiteY947" fmla="*/ 458569 h 855795"/>
                    <a:gd name="connsiteX948" fmla="*/ 113762 w 723696"/>
                    <a:gd name="connsiteY948" fmla="*/ 458194 h 855795"/>
                    <a:gd name="connsiteX949" fmla="*/ 112287 w 723696"/>
                    <a:gd name="connsiteY949" fmla="*/ 456695 h 855795"/>
                    <a:gd name="connsiteX950" fmla="*/ 110583 w 723696"/>
                    <a:gd name="connsiteY950" fmla="*/ 450672 h 855795"/>
                    <a:gd name="connsiteX951" fmla="*/ 112148 w 723696"/>
                    <a:gd name="connsiteY951" fmla="*/ 448700 h 855795"/>
                    <a:gd name="connsiteX952" fmla="*/ 113338 w 723696"/>
                    <a:gd name="connsiteY952" fmla="*/ 447608 h 855795"/>
                    <a:gd name="connsiteX953" fmla="*/ 111684 w 723696"/>
                    <a:gd name="connsiteY953" fmla="*/ 448072 h 855795"/>
                    <a:gd name="connsiteX954" fmla="*/ 110331 w 723696"/>
                    <a:gd name="connsiteY954" fmla="*/ 447885 h 855795"/>
                    <a:gd name="connsiteX955" fmla="*/ 112914 w 723696"/>
                    <a:gd name="connsiteY955" fmla="*/ 445114 h 855795"/>
                    <a:gd name="connsiteX956" fmla="*/ 115221 w 723696"/>
                    <a:gd name="connsiteY956" fmla="*/ 442979 h 855795"/>
                    <a:gd name="connsiteX957" fmla="*/ 120469 w 723696"/>
                    <a:gd name="connsiteY957" fmla="*/ 440509 h 855795"/>
                    <a:gd name="connsiteX958" fmla="*/ 122719 w 723696"/>
                    <a:gd name="connsiteY958" fmla="*/ 438928 h 855795"/>
                    <a:gd name="connsiteX959" fmla="*/ 119393 w 723696"/>
                    <a:gd name="connsiteY959" fmla="*/ 440354 h 855795"/>
                    <a:gd name="connsiteX960" fmla="*/ 115946 w 723696"/>
                    <a:gd name="connsiteY960" fmla="*/ 440892 h 855795"/>
                    <a:gd name="connsiteX961" fmla="*/ 108579 w 723696"/>
                    <a:gd name="connsiteY961" fmla="*/ 440607 h 855795"/>
                    <a:gd name="connsiteX962" fmla="*/ 109809 w 723696"/>
                    <a:gd name="connsiteY962" fmla="*/ 434984 h 855795"/>
                    <a:gd name="connsiteX963" fmla="*/ 111089 w 723696"/>
                    <a:gd name="connsiteY963" fmla="*/ 433109 h 855795"/>
                    <a:gd name="connsiteX964" fmla="*/ 112491 w 723696"/>
                    <a:gd name="connsiteY964" fmla="*/ 432050 h 855795"/>
                    <a:gd name="connsiteX965" fmla="*/ 110429 w 723696"/>
                    <a:gd name="connsiteY965" fmla="*/ 432368 h 855795"/>
                    <a:gd name="connsiteX966" fmla="*/ 108066 w 723696"/>
                    <a:gd name="connsiteY966" fmla="*/ 431920 h 855795"/>
                    <a:gd name="connsiteX967" fmla="*/ 108832 w 723696"/>
                    <a:gd name="connsiteY967" fmla="*/ 426215 h 855795"/>
                    <a:gd name="connsiteX968" fmla="*/ 110681 w 723696"/>
                    <a:gd name="connsiteY968" fmla="*/ 424976 h 855795"/>
                    <a:gd name="connsiteX969" fmla="*/ 112695 w 723696"/>
                    <a:gd name="connsiteY969" fmla="*/ 424740 h 855795"/>
                    <a:gd name="connsiteX970" fmla="*/ 115180 w 723696"/>
                    <a:gd name="connsiteY970" fmla="*/ 423933 h 855795"/>
                    <a:gd name="connsiteX971" fmla="*/ 112523 w 723696"/>
                    <a:gd name="connsiteY971" fmla="*/ 422987 h 855795"/>
                    <a:gd name="connsiteX972" fmla="*/ 109752 w 723696"/>
                    <a:gd name="connsiteY972" fmla="*/ 422539 h 855795"/>
                    <a:gd name="connsiteX973" fmla="*/ 106427 w 723696"/>
                    <a:gd name="connsiteY973" fmla="*/ 423468 h 855795"/>
                    <a:gd name="connsiteX974" fmla="*/ 103371 w 723696"/>
                    <a:gd name="connsiteY974" fmla="*/ 422784 h 855795"/>
                    <a:gd name="connsiteX975" fmla="*/ 99647 w 723696"/>
                    <a:gd name="connsiteY975" fmla="*/ 422800 h 855795"/>
                    <a:gd name="connsiteX976" fmla="*/ 101130 w 723696"/>
                    <a:gd name="connsiteY976" fmla="*/ 423558 h 855795"/>
                    <a:gd name="connsiteX977" fmla="*/ 102719 w 723696"/>
                    <a:gd name="connsiteY977" fmla="*/ 425302 h 855795"/>
                    <a:gd name="connsiteX978" fmla="*/ 101920 w 723696"/>
                    <a:gd name="connsiteY978" fmla="*/ 428391 h 855795"/>
                    <a:gd name="connsiteX979" fmla="*/ 101179 w 723696"/>
                    <a:gd name="connsiteY979" fmla="*/ 430330 h 855795"/>
                    <a:gd name="connsiteX980" fmla="*/ 99117 w 723696"/>
                    <a:gd name="connsiteY980" fmla="*/ 431651 h 855795"/>
                    <a:gd name="connsiteX981" fmla="*/ 97455 w 723696"/>
                    <a:gd name="connsiteY981" fmla="*/ 433664 h 855795"/>
                    <a:gd name="connsiteX982" fmla="*/ 96982 w 723696"/>
                    <a:gd name="connsiteY982" fmla="*/ 435440 h 855795"/>
                    <a:gd name="connsiteX983" fmla="*/ 96036 w 723696"/>
                    <a:gd name="connsiteY983" fmla="*/ 436679 h 855795"/>
                    <a:gd name="connsiteX984" fmla="*/ 97658 w 723696"/>
                    <a:gd name="connsiteY984" fmla="*/ 437559 h 855795"/>
                    <a:gd name="connsiteX985" fmla="*/ 99345 w 723696"/>
                    <a:gd name="connsiteY985" fmla="*/ 438187 h 855795"/>
                    <a:gd name="connsiteX986" fmla="*/ 100331 w 723696"/>
                    <a:gd name="connsiteY986" fmla="*/ 439621 h 855795"/>
                    <a:gd name="connsiteX987" fmla="*/ 101472 w 723696"/>
                    <a:gd name="connsiteY987" fmla="*/ 441699 h 855795"/>
                    <a:gd name="connsiteX988" fmla="*/ 101407 w 723696"/>
                    <a:gd name="connsiteY988" fmla="*/ 445741 h 855795"/>
                    <a:gd name="connsiteX989" fmla="*/ 97006 w 723696"/>
                    <a:gd name="connsiteY989" fmla="*/ 455260 h 855795"/>
                    <a:gd name="connsiteX990" fmla="*/ 95498 w 723696"/>
                    <a:gd name="connsiteY990" fmla="*/ 457371 h 855795"/>
                    <a:gd name="connsiteX991" fmla="*/ 84472 w 723696"/>
                    <a:gd name="connsiteY991" fmla="*/ 463109 h 855795"/>
                    <a:gd name="connsiteX992" fmla="*/ 80152 w 723696"/>
                    <a:gd name="connsiteY992" fmla="*/ 466230 h 855795"/>
                    <a:gd name="connsiteX993" fmla="*/ 70927 w 723696"/>
                    <a:gd name="connsiteY993" fmla="*/ 470288 h 855795"/>
                    <a:gd name="connsiteX994" fmla="*/ 67333 w 723696"/>
                    <a:gd name="connsiteY994" fmla="*/ 471038 h 855795"/>
                    <a:gd name="connsiteX995" fmla="*/ 63348 w 723696"/>
                    <a:gd name="connsiteY995" fmla="*/ 470240 h 855795"/>
                    <a:gd name="connsiteX996" fmla="*/ 57537 w 723696"/>
                    <a:gd name="connsiteY996" fmla="*/ 467151 h 855795"/>
                    <a:gd name="connsiteX997" fmla="*/ 48662 w 723696"/>
                    <a:gd name="connsiteY997" fmla="*/ 459262 h 855795"/>
                    <a:gd name="connsiteX998" fmla="*/ 46356 w 723696"/>
                    <a:gd name="connsiteY998" fmla="*/ 456662 h 855795"/>
                    <a:gd name="connsiteX999" fmla="*/ 39265 w 723696"/>
                    <a:gd name="connsiteY999" fmla="*/ 446524 h 855795"/>
                    <a:gd name="connsiteX1000" fmla="*/ 34147 w 723696"/>
                    <a:gd name="connsiteY1000" fmla="*/ 441169 h 855795"/>
                    <a:gd name="connsiteX1001" fmla="*/ 30268 w 723696"/>
                    <a:gd name="connsiteY1001" fmla="*/ 436166 h 855795"/>
                    <a:gd name="connsiteX1002" fmla="*/ 25468 w 723696"/>
                    <a:gd name="connsiteY1002" fmla="*/ 431447 h 855795"/>
                    <a:gd name="connsiteX1003" fmla="*/ 20920 w 723696"/>
                    <a:gd name="connsiteY1003" fmla="*/ 425066 h 855795"/>
                    <a:gd name="connsiteX1004" fmla="*/ 19958 w 723696"/>
                    <a:gd name="connsiteY1004" fmla="*/ 422156 h 855795"/>
                    <a:gd name="connsiteX1005" fmla="*/ 20301 w 723696"/>
                    <a:gd name="connsiteY1005" fmla="*/ 419198 h 855795"/>
                    <a:gd name="connsiteX1006" fmla="*/ 21988 w 723696"/>
                    <a:gd name="connsiteY1006" fmla="*/ 417584 h 855795"/>
                    <a:gd name="connsiteX1007" fmla="*/ 23968 w 723696"/>
                    <a:gd name="connsiteY1007" fmla="*/ 418244 h 855795"/>
                    <a:gd name="connsiteX1008" fmla="*/ 25525 w 723696"/>
                    <a:gd name="connsiteY1008" fmla="*/ 420730 h 855795"/>
                    <a:gd name="connsiteX1009" fmla="*/ 26641 w 723696"/>
                    <a:gd name="connsiteY1009" fmla="*/ 421855 h 855795"/>
                    <a:gd name="connsiteX1010" fmla="*/ 27571 w 723696"/>
                    <a:gd name="connsiteY1010" fmla="*/ 422311 h 855795"/>
                    <a:gd name="connsiteX1011" fmla="*/ 34326 w 723696"/>
                    <a:gd name="connsiteY1011" fmla="*/ 418481 h 855795"/>
                    <a:gd name="connsiteX1012" fmla="*/ 36959 w 723696"/>
                    <a:gd name="connsiteY1012" fmla="*/ 418636 h 855795"/>
                    <a:gd name="connsiteX1013" fmla="*/ 38752 w 723696"/>
                    <a:gd name="connsiteY1013" fmla="*/ 416720 h 855795"/>
                    <a:gd name="connsiteX1014" fmla="*/ 41017 w 723696"/>
                    <a:gd name="connsiteY1014" fmla="*/ 417128 h 855795"/>
                    <a:gd name="connsiteX1015" fmla="*/ 45655 w 723696"/>
                    <a:gd name="connsiteY1015" fmla="*/ 414145 h 855795"/>
                    <a:gd name="connsiteX1016" fmla="*/ 47603 w 723696"/>
                    <a:gd name="connsiteY1016" fmla="*/ 413966 h 855795"/>
                    <a:gd name="connsiteX1017" fmla="*/ 49909 w 723696"/>
                    <a:gd name="connsiteY1017" fmla="*/ 413371 h 855795"/>
                    <a:gd name="connsiteX1018" fmla="*/ 53633 w 723696"/>
                    <a:gd name="connsiteY1018" fmla="*/ 405800 h 855795"/>
                    <a:gd name="connsiteX1019" fmla="*/ 56429 w 723696"/>
                    <a:gd name="connsiteY1019" fmla="*/ 400983 h 855795"/>
                    <a:gd name="connsiteX1020" fmla="*/ 58238 w 723696"/>
                    <a:gd name="connsiteY1020" fmla="*/ 399973 h 855795"/>
                    <a:gd name="connsiteX1021" fmla="*/ 58140 w 723696"/>
                    <a:gd name="connsiteY1021" fmla="*/ 398807 h 855795"/>
                    <a:gd name="connsiteX1022" fmla="*/ 57635 w 723696"/>
                    <a:gd name="connsiteY1022" fmla="*/ 397267 h 855795"/>
                    <a:gd name="connsiteX1023" fmla="*/ 56282 w 723696"/>
                    <a:gd name="connsiteY1023" fmla="*/ 397658 h 855795"/>
                    <a:gd name="connsiteX1024" fmla="*/ 55337 w 723696"/>
                    <a:gd name="connsiteY1024" fmla="*/ 399117 h 855795"/>
                    <a:gd name="connsiteX1025" fmla="*/ 54628 w 723696"/>
                    <a:gd name="connsiteY1025" fmla="*/ 400885 h 855795"/>
                    <a:gd name="connsiteX1026" fmla="*/ 53935 w 723696"/>
                    <a:gd name="connsiteY1026" fmla="*/ 401937 h 855795"/>
                    <a:gd name="connsiteX1027" fmla="*/ 51743 w 723696"/>
                    <a:gd name="connsiteY1027" fmla="*/ 400967 h 855795"/>
                    <a:gd name="connsiteX1028" fmla="*/ 50267 w 723696"/>
                    <a:gd name="connsiteY1028" fmla="*/ 401130 h 855795"/>
                    <a:gd name="connsiteX1029" fmla="*/ 48442 w 723696"/>
                    <a:gd name="connsiteY1029" fmla="*/ 401709 h 855795"/>
                    <a:gd name="connsiteX1030" fmla="*/ 41784 w 723696"/>
                    <a:gd name="connsiteY1030" fmla="*/ 404536 h 855795"/>
                    <a:gd name="connsiteX1031" fmla="*/ 39061 w 723696"/>
                    <a:gd name="connsiteY1031" fmla="*/ 407063 h 855795"/>
                    <a:gd name="connsiteX1032" fmla="*/ 37187 w 723696"/>
                    <a:gd name="connsiteY1032" fmla="*/ 407568 h 855795"/>
                    <a:gd name="connsiteX1033" fmla="*/ 26560 w 723696"/>
                    <a:gd name="connsiteY1033" fmla="*/ 404773 h 855795"/>
                    <a:gd name="connsiteX1034" fmla="*/ 16169 w 723696"/>
                    <a:gd name="connsiteY1034" fmla="*/ 398383 h 855795"/>
                    <a:gd name="connsiteX1035" fmla="*/ 11792 w 723696"/>
                    <a:gd name="connsiteY1035" fmla="*/ 394137 h 855795"/>
                    <a:gd name="connsiteX1036" fmla="*/ 9030 w 723696"/>
                    <a:gd name="connsiteY1036" fmla="*/ 388702 h 855795"/>
                    <a:gd name="connsiteX1037" fmla="*/ 6267 w 723696"/>
                    <a:gd name="connsiteY1037" fmla="*/ 382222 h 855795"/>
                    <a:gd name="connsiteX1038" fmla="*/ 7163 w 723696"/>
                    <a:gd name="connsiteY1038" fmla="*/ 380413 h 855795"/>
                    <a:gd name="connsiteX1039" fmla="*/ 11450 w 723696"/>
                    <a:gd name="connsiteY1039" fmla="*/ 376518 h 855795"/>
                    <a:gd name="connsiteX1040" fmla="*/ 15166 w 723696"/>
                    <a:gd name="connsiteY1040" fmla="*/ 373453 h 855795"/>
                    <a:gd name="connsiteX1041" fmla="*/ 11842 w 723696"/>
                    <a:gd name="connsiteY1041" fmla="*/ 374814 h 855795"/>
                    <a:gd name="connsiteX1042" fmla="*/ 8231 w 723696"/>
                    <a:gd name="connsiteY1042" fmla="*/ 376705 h 855795"/>
                    <a:gd name="connsiteX1043" fmla="*/ 6447 w 723696"/>
                    <a:gd name="connsiteY1043" fmla="*/ 378034 h 855795"/>
                    <a:gd name="connsiteX1044" fmla="*/ 4417 w 723696"/>
                    <a:gd name="connsiteY1044" fmla="*/ 380805 h 855795"/>
                    <a:gd name="connsiteX1045" fmla="*/ 1728 w 723696"/>
                    <a:gd name="connsiteY1045" fmla="*/ 381424 h 855795"/>
                    <a:gd name="connsiteX1046" fmla="*/ 668 w 723696"/>
                    <a:gd name="connsiteY1046" fmla="*/ 377308 h 855795"/>
                    <a:gd name="connsiteX1047" fmla="*/ 0 w 723696"/>
                    <a:gd name="connsiteY1047" fmla="*/ 373290 h 855795"/>
                    <a:gd name="connsiteX1048" fmla="*/ 1711 w 723696"/>
                    <a:gd name="connsiteY1048" fmla="*/ 371937 h 855795"/>
                    <a:gd name="connsiteX1049" fmla="*/ 2909 w 723696"/>
                    <a:gd name="connsiteY1049" fmla="*/ 371082 h 855795"/>
                    <a:gd name="connsiteX1050" fmla="*/ 5354 w 723696"/>
                    <a:gd name="connsiteY1050" fmla="*/ 370365 h 855795"/>
                    <a:gd name="connsiteX1051" fmla="*/ 8019 w 723696"/>
                    <a:gd name="connsiteY1051" fmla="*/ 369851 h 855795"/>
                    <a:gd name="connsiteX1052" fmla="*/ 10456 w 723696"/>
                    <a:gd name="connsiteY1052" fmla="*/ 369867 h 855795"/>
                    <a:gd name="connsiteX1053" fmla="*/ 13863 w 723696"/>
                    <a:gd name="connsiteY1053" fmla="*/ 369924 h 855795"/>
                    <a:gd name="connsiteX1054" fmla="*/ 13969 w 723696"/>
                    <a:gd name="connsiteY1054" fmla="*/ 360504 h 855795"/>
                    <a:gd name="connsiteX1055" fmla="*/ 14254 w 723696"/>
                    <a:gd name="connsiteY1055" fmla="*/ 359680 h 855795"/>
                    <a:gd name="connsiteX1056" fmla="*/ 14735 w 723696"/>
                    <a:gd name="connsiteY1056" fmla="*/ 359208 h 855795"/>
                    <a:gd name="connsiteX1057" fmla="*/ 15272 w 723696"/>
                    <a:gd name="connsiteY1057" fmla="*/ 359004 h 855795"/>
                    <a:gd name="connsiteX1058" fmla="*/ 15745 w 723696"/>
                    <a:gd name="connsiteY1058" fmla="*/ 359142 h 855795"/>
                    <a:gd name="connsiteX1059" fmla="*/ 16454 w 723696"/>
                    <a:gd name="connsiteY1059" fmla="*/ 360560 h 855795"/>
                    <a:gd name="connsiteX1060" fmla="*/ 17326 w 723696"/>
                    <a:gd name="connsiteY1060" fmla="*/ 360479 h 855795"/>
                    <a:gd name="connsiteX1061" fmla="*/ 18239 w 723696"/>
                    <a:gd name="connsiteY1061" fmla="*/ 359672 h 855795"/>
                    <a:gd name="connsiteX1062" fmla="*/ 20325 w 723696"/>
                    <a:gd name="connsiteY1062" fmla="*/ 360275 h 855795"/>
                    <a:gd name="connsiteX1063" fmla="*/ 21988 w 723696"/>
                    <a:gd name="connsiteY1063" fmla="*/ 359860 h 855795"/>
                    <a:gd name="connsiteX1064" fmla="*/ 23675 w 723696"/>
                    <a:gd name="connsiteY1064" fmla="*/ 360414 h 855795"/>
                    <a:gd name="connsiteX1065" fmla="*/ 26535 w 723696"/>
                    <a:gd name="connsiteY1065" fmla="*/ 360422 h 855795"/>
                    <a:gd name="connsiteX1066" fmla="*/ 31711 w 723696"/>
                    <a:gd name="connsiteY1066" fmla="*/ 360202 h 855795"/>
                    <a:gd name="connsiteX1067" fmla="*/ 34579 w 723696"/>
                    <a:gd name="connsiteY1067" fmla="*/ 360275 h 855795"/>
                    <a:gd name="connsiteX1068" fmla="*/ 36438 w 723696"/>
                    <a:gd name="connsiteY1068" fmla="*/ 361775 h 855795"/>
                    <a:gd name="connsiteX1069" fmla="*/ 38467 w 723696"/>
                    <a:gd name="connsiteY1069" fmla="*/ 363421 h 855795"/>
                    <a:gd name="connsiteX1070" fmla="*/ 40675 w 723696"/>
                    <a:gd name="connsiteY1070" fmla="*/ 363649 h 855795"/>
                    <a:gd name="connsiteX1071" fmla="*/ 43870 w 723696"/>
                    <a:gd name="connsiteY1071" fmla="*/ 363462 h 855795"/>
                    <a:gd name="connsiteX1072" fmla="*/ 46030 w 723696"/>
                    <a:gd name="connsiteY1072" fmla="*/ 362826 h 855795"/>
                    <a:gd name="connsiteX1073" fmla="*/ 47130 w 723696"/>
                    <a:gd name="connsiteY1073" fmla="*/ 361294 h 855795"/>
                    <a:gd name="connsiteX1074" fmla="*/ 47953 w 723696"/>
                    <a:gd name="connsiteY1074" fmla="*/ 359819 h 855795"/>
                    <a:gd name="connsiteX1075" fmla="*/ 52680 w 723696"/>
                    <a:gd name="connsiteY1075" fmla="*/ 357667 h 855795"/>
                    <a:gd name="connsiteX1076" fmla="*/ 57635 w 723696"/>
                    <a:gd name="connsiteY1076" fmla="*/ 355915 h 855795"/>
                    <a:gd name="connsiteX1077" fmla="*/ 59069 w 723696"/>
                    <a:gd name="connsiteY1077" fmla="*/ 355720 h 855795"/>
                    <a:gd name="connsiteX1078" fmla="*/ 59526 w 723696"/>
                    <a:gd name="connsiteY1078" fmla="*/ 356747 h 855795"/>
                    <a:gd name="connsiteX1079" fmla="*/ 59297 w 723696"/>
                    <a:gd name="connsiteY1079" fmla="*/ 358458 h 855795"/>
                    <a:gd name="connsiteX1080" fmla="*/ 59884 w 723696"/>
                    <a:gd name="connsiteY1080" fmla="*/ 360088 h 855795"/>
                    <a:gd name="connsiteX1081" fmla="*/ 61865 w 723696"/>
                    <a:gd name="connsiteY1081" fmla="*/ 361115 h 855795"/>
                    <a:gd name="connsiteX1082" fmla="*/ 63283 w 723696"/>
                    <a:gd name="connsiteY1082" fmla="*/ 361376 h 855795"/>
                    <a:gd name="connsiteX1083" fmla="*/ 64538 w 723696"/>
                    <a:gd name="connsiteY1083" fmla="*/ 361139 h 855795"/>
                    <a:gd name="connsiteX1084" fmla="*/ 65475 w 723696"/>
                    <a:gd name="connsiteY1084" fmla="*/ 360626 h 855795"/>
                    <a:gd name="connsiteX1085" fmla="*/ 67488 w 723696"/>
                    <a:gd name="connsiteY1085" fmla="*/ 358058 h 855795"/>
                    <a:gd name="connsiteX1086" fmla="*/ 68523 w 723696"/>
                    <a:gd name="connsiteY1086" fmla="*/ 357480 h 855795"/>
                    <a:gd name="connsiteX1087" fmla="*/ 69884 w 723696"/>
                    <a:gd name="connsiteY1087" fmla="*/ 357521 h 855795"/>
                    <a:gd name="connsiteX1088" fmla="*/ 71408 w 723696"/>
                    <a:gd name="connsiteY1088" fmla="*/ 356290 h 855795"/>
                    <a:gd name="connsiteX1089" fmla="*/ 71448 w 723696"/>
                    <a:gd name="connsiteY1089" fmla="*/ 355353 h 855795"/>
                    <a:gd name="connsiteX1090" fmla="*/ 70463 w 723696"/>
                    <a:gd name="connsiteY1090" fmla="*/ 354905 h 855795"/>
                    <a:gd name="connsiteX1091" fmla="*/ 69656 w 723696"/>
                    <a:gd name="connsiteY1091" fmla="*/ 353560 h 855795"/>
                    <a:gd name="connsiteX1092" fmla="*/ 69794 w 723696"/>
                    <a:gd name="connsiteY1092" fmla="*/ 352460 h 855795"/>
                    <a:gd name="connsiteX1093" fmla="*/ 69558 w 723696"/>
                    <a:gd name="connsiteY1093" fmla="*/ 350903 h 855795"/>
                    <a:gd name="connsiteX1094" fmla="*/ 69729 w 723696"/>
                    <a:gd name="connsiteY1094" fmla="*/ 349436 h 855795"/>
                    <a:gd name="connsiteX1095" fmla="*/ 70373 w 723696"/>
                    <a:gd name="connsiteY1095" fmla="*/ 348336 h 855795"/>
                    <a:gd name="connsiteX1096" fmla="*/ 71489 w 723696"/>
                    <a:gd name="connsiteY1096" fmla="*/ 347276 h 855795"/>
                    <a:gd name="connsiteX1097" fmla="*/ 70813 w 723696"/>
                    <a:gd name="connsiteY1097" fmla="*/ 345084 h 855795"/>
                    <a:gd name="connsiteX1098" fmla="*/ 69093 w 723696"/>
                    <a:gd name="connsiteY1098" fmla="*/ 340879 h 855795"/>
                    <a:gd name="connsiteX1099" fmla="*/ 67284 w 723696"/>
                    <a:gd name="connsiteY1099" fmla="*/ 335492 h 855795"/>
                    <a:gd name="connsiteX1100" fmla="*/ 65353 w 723696"/>
                    <a:gd name="connsiteY1100" fmla="*/ 331010 h 855795"/>
                    <a:gd name="connsiteX1101" fmla="*/ 62940 w 723696"/>
                    <a:gd name="connsiteY1101" fmla="*/ 327065 h 855795"/>
                    <a:gd name="connsiteX1102" fmla="*/ 61677 w 723696"/>
                    <a:gd name="connsiteY1102" fmla="*/ 324180 h 855795"/>
                    <a:gd name="connsiteX1103" fmla="*/ 61815 w 723696"/>
                    <a:gd name="connsiteY1103" fmla="*/ 317791 h 855795"/>
                    <a:gd name="connsiteX1104" fmla="*/ 61596 w 723696"/>
                    <a:gd name="connsiteY1104" fmla="*/ 316495 h 855795"/>
                    <a:gd name="connsiteX1105" fmla="*/ 60756 w 723696"/>
                    <a:gd name="connsiteY1105" fmla="*/ 315713 h 855795"/>
                    <a:gd name="connsiteX1106" fmla="*/ 59631 w 723696"/>
                    <a:gd name="connsiteY1106" fmla="*/ 315264 h 855795"/>
                    <a:gd name="connsiteX1107" fmla="*/ 58058 w 723696"/>
                    <a:gd name="connsiteY1107" fmla="*/ 315916 h 855795"/>
                    <a:gd name="connsiteX1108" fmla="*/ 56632 w 723696"/>
                    <a:gd name="connsiteY1108" fmla="*/ 316047 h 855795"/>
                    <a:gd name="connsiteX1109" fmla="*/ 53568 w 723696"/>
                    <a:gd name="connsiteY1109" fmla="*/ 315908 h 855795"/>
                    <a:gd name="connsiteX1110" fmla="*/ 52085 w 723696"/>
                    <a:gd name="connsiteY1110" fmla="*/ 315240 h 855795"/>
                    <a:gd name="connsiteX1111" fmla="*/ 47994 w 723696"/>
                    <a:gd name="connsiteY1111" fmla="*/ 308834 h 855795"/>
                    <a:gd name="connsiteX1112" fmla="*/ 47456 w 723696"/>
                    <a:gd name="connsiteY1112" fmla="*/ 306316 h 855795"/>
                    <a:gd name="connsiteX1113" fmla="*/ 47432 w 723696"/>
                    <a:gd name="connsiteY1113" fmla="*/ 303732 h 855795"/>
                    <a:gd name="connsiteX1114" fmla="*/ 48800 w 723696"/>
                    <a:gd name="connsiteY1114" fmla="*/ 299226 h 855795"/>
                    <a:gd name="connsiteX1115" fmla="*/ 49208 w 723696"/>
                    <a:gd name="connsiteY1115" fmla="*/ 295028 h 855795"/>
                    <a:gd name="connsiteX1116" fmla="*/ 49395 w 723696"/>
                    <a:gd name="connsiteY1116" fmla="*/ 291125 h 855795"/>
                    <a:gd name="connsiteX1117" fmla="*/ 49167 w 723696"/>
                    <a:gd name="connsiteY1117" fmla="*/ 290016 h 855795"/>
                    <a:gd name="connsiteX1118" fmla="*/ 48352 w 723696"/>
                    <a:gd name="connsiteY1118" fmla="*/ 288696 h 855795"/>
                    <a:gd name="connsiteX1119" fmla="*/ 46983 w 723696"/>
                    <a:gd name="connsiteY1119" fmla="*/ 287726 h 855795"/>
                    <a:gd name="connsiteX1120" fmla="*/ 43316 w 723696"/>
                    <a:gd name="connsiteY1120" fmla="*/ 287490 h 855795"/>
                    <a:gd name="connsiteX1121" fmla="*/ 38955 w 723696"/>
                    <a:gd name="connsiteY1121" fmla="*/ 286202 h 855795"/>
                    <a:gd name="connsiteX1122" fmla="*/ 35598 w 723696"/>
                    <a:gd name="connsiteY1122" fmla="*/ 283920 h 855795"/>
                    <a:gd name="connsiteX1123" fmla="*/ 33283 w 723696"/>
                    <a:gd name="connsiteY1123" fmla="*/ 282543 h 855795"/>
                    <a:gd name="connsiteX1124" fmla="*/ 32640 w 723696"/>
                    <a:gd name="connsiteY1124" fmla="*/ 281647 h 855795"/>
                    <a:gd name="connsiteX1125" fmla="*/ 32363 w 723696"/>
                    <a:gd name="connsiteY1125" fmla="*/ 280595 h 855795"/>
                    <a:gd name="connsiteX1126" fmla="*/ 32966 w 723696"/>
                    <a:gd name="connsiteY1126" fmla="*/ 275852 h 855795"/>
                    <a:gd name="connsiteX1127" fmla="*/ 34025 w 723696"/>
                    <a:gd name="connsiteY1127" fmla="*/ 270506 h 855795"/>
                    <a:gd name="connsiteX1128" fmla="*/ 34791 w 723696"/>
                    <a:gd name="connsiteY1128" fmla="*/ 268876 h 855795"/>
                    <a:gd name="connsiteX1129" fmla="*/ 36120 w 723696"/>
                    <a:gd name="connsiteY1129" fmla="*/ 267173 h 855795"/>
                    <a:gd name="connsiteX1130" fmla="*/ 37114 w 723696"/>
                    <a:gd name="connsiteY1130" fmla="*/ 266024 h 855795"/>
                    <a:gd name="connsiteX1131" fmla="*/ 38678 w 723696"/>
                    <a:gd name="connsiteY1131" fmla="*/ 264491 h 855795"/>
                    <a:gd name="connsiteX1132" fmla="*/ 42933 w 723696"/>
                    <a:gd name="connsiteY1132" fmla="*/ 259390 h 855795"/>
                    <a:gd name="connsiteX1133" fmla="*/ 46747 w 723696"/>
                    <a:gd name="connsiteY1133" fmla="*/ 252373 h 855795"/>
                    <a:gd name="connsiteX1134" fmla="*/ 49086 w 723696"/>
                    <a:gd name="connsiteY1134" fmla="*/ 247467 h 855795"/>
                    <a:gd name="connsiteX1135" fmla="*/ 50317 w 723696"/>
                    <a:gd name="connsiteY1135" fmla="*/ 246016 h 855795"/>
                    <a:gd name="connsiteX1136" fmla="*/ 51572 w 723696"/>
                    <a:gd name="connsiteY1136" fmla="*/ 244761 h 855795"/>
                    <a:gd name="connsiteX1137" fmla="*/ 53413 w 723696"/>
                    <a:gd name="connsiteY1137" fmla="*/ 243253 h 855795"/>
                    <a:gd name="connsiteX1138" fmla="*/ 55516 w 723696"/>
                    <a:gd name="connsiteY1138" fmla="*/ 241876 h 855795"/>
                    <a:gd name="connsiteX1139" fmla="*/ 57619 w 723696"/>
                    <a:gd name="connsiteY1139" fmla="*/ 241933 h 855795"/>
                    <a:gd name="connsiteX1140" fmla="*/ 59623 w 723696"/>
                    <a:gd name="connsiteY1140" fmla="*/ 243180 h 855795"/>
                    <a:gd name="connsiteX1141" fmla="*/ 61115 w 723696"/>
                    <a:gd name="connsiteY1141" fmla="*/ 244655 h 855795"/>
                    <a:gd name="connsiteX1142" fmla="*/ 61612 w 723696"/>
                    <a:gd name="connsiteY1142" fmla="*/ 247899 h 855795"/>
                    <a:gd name="connsiteX1143" fmla="*/ 62663 w 723696"/>
                    <a:gd name="connsiteY1143" fmla="*/ 250009 h 855795"/>
                    <a:gd name="connsiteX1144" fmla="*/ 63796 w 723696"/>
                    <a:gd name="connsiteY1144" fmla="*/ 251281 h 855795"/>
                    <a:gd name="connsiteX1145" fmla="*/ 65304 w 723696"/>
                    <a:gd name="connsiteY1145" fmla="*/ 251900 h 855795"/>
                    <a:gd name="connsiteX1146" fmla="*/ 67202 w 723696"/>
                    <a:gd name="connsiteY1146" fmla="*/ 251745 h 855795"/>
                    <a:gd name="connsiteX1147" fmla="*/ 74888 w 723696"/>
                    <a:gd name="connsiteY1147" fmla="*/ 248021 h 855795"/>
                    <a:gd name="connsiteX1148" fmla="*/ 77512 w 723696"/>
                    <a:gd name="connsiteY1148" fmla="*/ 247279 h 855795"/>
                    <a:gd name="connsiteX1149" fmla="*/ 83779 w 723696"/>
                    <a:gd name="connsiteY1149" fmla="*/ 246806 h 855795"/>
                    <a:gd name="connsiteX1150" fmla="*/ 88090 w 723696"/>
                    <a:gd name="connsiteY1150" fmla="*/ 245372 h 855795"/>
                    <a:gd name="connsiteX1151" fmla="*/ 91888 w 723696"/>
                    <a:gd name="connsiteY1151" fmla="*/ 243864 h 855795"/>
                    <a:gd name="connsiteX1152" fmla="*/ 92353 w 723696"/>
                    <a:gd name="connsiteY1152" fmla="*/ 241159 h 855795"/>
                    <a:gd name="connsiteX1153" fmla="*/ 93819 w 723696"/>
                    <a:gd name="connsiteY1153" fmla="*/ 237035 h 855795"/>
                    <a:gd name="connsiteX1154" fmla="*/ 98294 w 723696"/>
                    <a:gd name="connsiteY1154" fmla="*/ 231648 h 855795"/>
                    <a:gd name="connsiteX1155" fmla="*/ 99557 w 723696"/>
                    <a:gd name="connsiteY1155" fmla="*/ 229244 h 855795"/>
                    <a:gd name="connsiteX1156" fmla="*/ 100918 w 723696"/>
                    <a:gd name="connsiteY1156" fmla="*/ 224656 h 855795"/>
                    <a:gd name="connsiteX1157" fmla="*/ 102361 w 723696"/>
                    <a:gd name="connsiteY1157" fmla="*/ 220467 h 855795"/>
                    <a:gd name="connsiteX1158" fmla="*/ 103591 w 723696"/>
                    <a:gd name="connsiteY1158" fmla="*/ 218714 h 855795"/>
                    <a:gd name="connsiteX1159" fmla="*/ 110624 w 723696"/>
                    <a:gd name="connsiteY1159" fmla="*/ 214110 h 855795"/>
                    <a:gd name="connsiteX1160" fmla="*/ 117519 w 723696"/>
                    <a:gd name="connsiteY1160" fmla="*/ 209880 h 855795"/>
                    <a:gd name="connsiteX1161" fmla="*/ 118652 w 723696"/>
                    <a:gd name="connsiteY1161" fmla="*/ 207957 h 855795"/>
                    <a:gd name="connsiteX1162" fmla="*/ 123094 w 723696"/>
                    <a:gd name="connsiteY1162" fmla="*/ 199163 h 855795"/>
                    <a:gd name="connsiteX1163" fmla="*/ 125652 w 723696"/>
                    <a:gd name="connsiteY1163" fmla="*/ 193190 h 855795"/>
                    <a:gd name="connsiteX1164" fmla="*/ 126312 w 723696"/>
                    <a:gd name="connsiteY1164" fmla="*/ 191266 h 855795"/>
                    <a:gd name="connsiteX1165" fmla="*/ 127788 w 723696"/>
                    <a:gd name="connsiteY1165" fmla="*/ 186066 h 855795"/>
                    <a:gd name="connsiteX1166" fmla="*/ 129377 w 723696"/>
                    <a:gd name="connsiteY1166" fmla="*/ 180892 h 855795"/>
                    <a:gd name="connsiteX1167" fmla="*/ 131512 w 723696"/>
                    <a:gd name="connsiteY1167" fmla="*/ 179694 h 855795"/>
                    <a:gd name="connsiteX1168" fmla="*/ 136239 w 723696"/>
                    <a:gd name="connsiteY1168" fmla="*/ 177713 h 855795"/>
                    <a:gd name="connsiteX1169" fmla="*/ 139980 w 723696"/>
                    <a:gd name="connsiteY1169" fmla="*/ 175782 h 855795"/>
                    <a:gd name="connsiteX1170" fmla="*/ 141903 w 723696"/>
                    <a:gd name="connsiteY1170" fmla="*/ 173589 h 855795"/>
                    <a:gd name="connsiteX1171" fmla="*/ 143076 w 723696"/>
                    <a:gd name="connsiteY1171" fmla="*/ 171650 h 855795"/>
                    <a:gd name="connsiteX1172" fmla="*/ 142849 w 723696"/>
                    <a:gd name="connsiteY1172" fmla="*/ 169734 h 855795"/>
                    <a:gd name="connsiteX1173" fmla="*/ 141805 w 723696"/>
                    <a:gd name="connsiteY1173" fmla="*/ 167477 h 855795"/>
                    <a:gd name="connsiteX1174" fmla="*/ 142033 w 723696"/>
                    <a:gd name="connsiteY1174" fmla="*/ 166132 h 855795"/>
                    <a:gd name="connsiteX1175" fmla="*/ 142221 w 723696"/>
                    <a:gd name="connsiteY1175" fmla="*/ 164804 h 855795"/>
                    <a:gd name="connsiteX1176" fmla="*/ 144935 w 723696"/>
                    <a:gd name="connsiteY1176" fmla="*/ 162090 h 855795"/>
                    <a:gd name="connsiteX1177" fmla="*/ 150061 w 723696"/>
                    <a:gd name="connsiteY1177" fmla="*/ 154062 h 855795"/>
                    <a:gd name="connsiteX1178" fmla="*/ 153142 w 723696"/>
                    <a:gd name="connsiteY1178" fmla="*/ 150053 h 855795"/>
                    <a:gd name="connsiteX1179" fmla="*/ 154160 w 723696"/>
                    <a:gd name="connsiteY1179" fmla="*/ 150053 h 855795"/>
                    <a:gd name="connsiteX1180" fmla="*/ 157363 w 723696"/>
                    <a:gd name="connsiteY1180" fmla="*/ 147918 h 855795"/>
                    <a:gd name="connsiteX1181" fmla="*/ 160419 w 723696"/>
                    <a:gd name="connsiteY1181" fmla="*/ 145505 h 855795"/>
                    <a:gd name="connsiteX1182" fmla="*/ 160240 w 723696"/>
                    <a:gd name="connsiteY1182" fmla="*/ 144405 h 855795"/>
                    <a:gd name="connsiteX1183" fmla="*/ 159857 w 723696"/>
                    <a:gd name="connsiteY1183" fmla="*/ 142979 h 855795"/>
                    <a:gd name="connsiteX1184" fmla="*/ 158105 w 723696"/>
                    <a:gd name="connsiteY1184" fmla="*/ 142343 h 855795"/>
                    <a:gd name="connsiteX1185" fmla="*/ 157559 w 723696"/>
                    <a:gd name="connsiteY1185" fmla="*/ 140640 h 855795"/>
                    <a:gd name="connsiteX1186" fmla="*/ 157991 w 723696"/>
                    <a:gd name="connsiteY1186" fmla="*/ 138187 h 855795"/>
                    <a:gd name="connsiteX1187" fmla="*/ 159450 w 723696"/>
                    <a:gd name="connsiteY1187" fmla="*/ 131594 h 855795"/>
                    <a:gd name="connsiteX1188" fmla="*/ 159140 w 723696"/>
                    <a:gd name="connsiteY1188" fmla="*/ 129703 h 855795"/>
                    <a:gd name="connsiteX1189" fmla="*/ 157371 w 723696"/>
                    <a:gd name="connsiteY1189" fmla="*/ 123599 h 855795"/>
                    <a:gd name="connsiteX1190" fmla="*/ 157762 w 723696"/>
                    <a:gd name="connsiteY1190" fmla="*/ 121904 h 855795"/>
                    <a:gd name="connsiteX1191" fmla="*/ 158488 w 723696"/>
                    <a:gd name="connsiteY1191" fmla="*/ 120176 h 855795"/>
                    <a:gd name="connsiteX1192" fmla="*/ 160484 w 723696"/>
                    <a:gd name="connsiteY1192" fmla="*/ 117870 h 855795"/>
                    <a:gd name="connsiteX1193" fmla="*/ 163060 w 723696"/>
                    <a:gd name="connsiteY1193" fmla="*/ 115954 h 855795"/>
                    <a:gd name="connsiteX1194" fmla="*/ 171299 w 723696"/>
                    <a:gd name="connsiteY1194" fmla="*/ 111407 h 855795"/>
                    <a:gd name="connsiteX1195" fmla="*/ 172961 w 723696"/>
                    <a:gd name="connsiteY1195" fmla="*/ 110902 h 855795"/>
                    <a:gd name="connsiteX1196" fmla="*/ 175822 w 723696"/>
                    <a:gd name="connsiteY1196" fmla="*/ 109753 h 855795"/>
                    <a:gd name="connsiteX1197" fmla="*/ 177575 w 723696"/>
                    <a:gd name="connsiteY1197" fmla="*/ 107324 h 855795"/>
                    <a:gd name="connsiteX1198" fmla="*/ 177794 w 723696"/>
                    <a:gd name="connsiteY1198" fmla="*/ 105246 h 855795"/>
                    <a:gd name="connsiteX1199" fmla="*/ 177028 w 723696"/>
                    <a:gd name="connsiteY1199" fmla="*/ 103958 h 855795"/>
                    <a:gd name="connsiteX1200" fmla="*/ 175317 w 723696"/>
                    <a:gd name="connsiteY1200" fmla="*/ 102238 h 855795"/>
                    <a:gd name="connsiteX1201" fmla="*/ 172098 w 723696"/>
                    <a:gd name="connsiteY1201" fmla="*/ 100666 h 855795"/>
                    <a:gd name="connsiteX1202" fmla="*/ 169213 w 723696"/>
                    <a:gd name="connsiteY1202" fmla="*/ 99304 h 855795"/>
                    <a:gd name="connsiteX1203" fmla="*/ 164282 w 723696"/>
                    <a:gd name="connsiteY1203" fmla="*/ 99451 h 855795"/>
                    <a:gd name="connsiteX1204" fmla="*/ 161731 w 723696"/>
                    <a:gd name="connsiteY1204" fmla="*/ 98278 h 855795"/>
                    <a:gd name="connsiteX1205" fmla="*/ 161030 w 723696"/>
                    <a:gd name="connsiteY1205" fmla="*/ 97463 h 855795"/>
                    <a:gd name="connsiteX1206" fmla="*/ 160672 w 723696"/>
                    <a:gd name="connsiteY1206" fmla="*/ 94578 h 855795"/>
                    <a:gd name="connsiteX1207" fmla="*/ 161169 w 723696"/>
                    <a:gd name="connsiteY1207" fmla="*/ 89704 h 855795"/>
                    <a:gd name="connsiteX1208" fmla="*/ 160411 w 723696"/>
                    <a:gd name="connsiteY1208" fmla="*/ 89272 h 855795"/>
                    <a:gd name="connsiteX1209" fmla="*/ 159311 w 723696"/>
                    <a:gd name="connsiteY1209" fmla="*/ 89851 h 855795"/>
                    <a:gd name="connsiteX1210" fmla="*/ 156703 w 723696"/>
                    <a:gd name="connsiteY1210" fmla="*/ 89272 h 855795"/>
                    <a:gd name="connsiteX1211" fmla="*/ 153508 w 723696"/>
                    <a:gd name="connsiteY1211" fmla="*/ 89345 h 855795"/>
                    <a:gd name="connsiteX1212" fmla="*/ 152294 w 723696"/>
                    <a:gd name="connsiteY1212" fmla="*/ 87985 h 855795"/>
                    <a:gd name="connsiteX1213" fmla="*/ 152905 w 723696"/>
                    <a:gd name="connsiteY1213" fmla="*/ 86346 h 855795"/>
                    <a:gd name="connsiteX1214" fmla="*/ 152726 w 723696"/>
                    <a:gd name="connsiteY1214" fmla="*/ 84162 h 855795"/>
                    <a:gd name="connsiteX1215" fmla="*/ 152253 w 723696"/>
                    <a:gd name="connsiteY1215" fmla="*/ 82084 h 855795"/>
                    <a:gd name="connsiteX1216" fmla="*/ 151748 w 723696"/>
                    <a:gd name="connsiteY1216" fmla="*/ 81652 h 855795"/>
                    <a:gd name="connsiteX1217" fmla="*/ 150224 w 723696"/>
                    <a:gd name="connsiteY1217" fmla="*/ 81155 h 855795"/>
                    <a:gd name="connsiteX1218" fmla="*/ 147852 w 723696"/>
                    <a:gd name="connsiteY1218" fmla="*/ 79354 h 855795"/>
                    <a:gd name="connsiteX1219" fmla="*/ 145929 w 723696"/>
                    <a:gd name="connsiteY1219" fmla="*/ 77145 h 855795"/>
                    <a:gd name="connsiteX1220" fmla="*/ 144812 w 723696"/>
                    <a:gd name="connsiteY1220" fmla="*/ 75646 h 855795"/>
                    <a:gd name="connsiteX1221" fmla="*/ 144462 w 723696"/>
                    <a:gd name="connsiteY1221" fmla="*/ 74611 h 855795"/>
                    <a:gd name="connsiteX1222" fmla="*/ 144576 w 723696"/>
                    <a:gd name="connsiteY1222" fmla="*/ 73926 h 855795"/>
                    <a:gd name="connsiteX1223" fmla="*/ 145962 w 723696"/>
                    <a:gd name="connsiteY1223" fmla="*/ 71995 h 855795"/>
                    <a:gd name="connsiteX1224" fmla="*/ 147632 w 723696"/>
                    <a:gd name="connsiteY1224" fmla="*/ 69297 h 855795"/>
                    <a:gd name="connsiteX1225" fmla="*/ 148252 w 723696"/>
                    <a:gd name="connsiteY1225" fmla="*/ 66975 h 855795"/>
                    <a:gd name="connsiteX1226" fmla="*/ 148439 w 723696"/>
                    <a:gd name="connsiteY1226" fmla="*/ 65288 h 855795"/>
                    <a:gd name="connsiteX1227" fmla="*/ 147975 w 723696"/>
                    <a:gd name="connsiteY1227" fmla="*/ 64041 h 855795"/>
                    <a:gd name="connsiteX1228" fmla="*/ 146450 w 723696"/>
                    <a:gd name="connsiteY1228" fmla="*/ 62517 h 855795"/>
                    <a:gd name="connsiteX1229" fmla="*/ 144812 w 723696"/>
                    <a:gd name="connsiteY1229" fmla="*/ 61188 h 855795"/>
                    <a:gd name="connsiteX1230" fmla="*/ 144160 w 723696"/>
                    <a:gd name="connsiteY1230" fmla="*/ 60031 h 855795"/>
                    <a:gd name="connsiteX1231" fmla="*/ 144136 w 723696"/>
                    <a:gd name="connsiteY1231" fmla="*/ 58287 h 855795"/>
                    <a:gd name="connsiteX1232" fmla="*/ 144739 w 723696"/>
                    <a:gd name="connsiteY1232" fmla="*/ 56103 h 855795"/>
                    <a:gd name="connsiteX1233" fmla="*/ 146662 w 723696"/>
                    <a:gd name="connsiteY1233" fmla="*/ 54448 h 855795"/>
                    <a:gd name="connsiteX1234" fmla="*/ 150061 w 723696"/>
                    <a:gd name="connsiteY1234" fmla="*/ 52876 h 855795"/>
                    <a:gd name="connsiteX1235" fmla="*/ 150941 w 723696"/>
                    <a:gd name="connsiteY1235" fmla="*/ 50928 h 855795"/>
                    <a:gd name="connsiteX1236" fmla="*/ 150835 w 723696"/>
                    <a:gd name="connsiteY1236" fmla="*/ 49485 h 855795"/>
                    <a:gd name="connsiteX1237" fmla="*/ 149906 w 723696"/>
                    <a:gd name="connsiteY1237" fmla="*/ 49053 h 855795"/>
                    <a:gd name="connsiteX1238" fmla="*/ 147518 w 723696"/>
                    <a:gd name="connsiteY1238" fmla="*/ 49045 h 855795"/>
                    <a:gd name="connsiteX1239" fmla="*/ 143468 w 723696"/>
                    <a:gd name="connsiteY1239" fmla="*/ 48548 h 855795"/>
                    <a:gd name="connsiteX1240" fmla="*/ 142783 w 723696"/>
                    <a:gd name="connsiteY1240" fmla="*/ 47749 h 855795"/>
                    <a:gd name="connsiteX1241" fmla="*/ 142335 w 723696"/>
                    <a:gd name="connsiteY1241" fmla="*/ 46690 h 855795"/>
                    <a:gd name="connsiteX1242" fmla="*/ 142335 w 723696"/>
                    <a:gd name="connsiteY1242" fmla="*/ 45622 h 855795"/>
                    <a:gd name="connsiteX1243" fmla="*/ 143182 w 723696"/>
                    <a:gd name="connsiteY1243" fmla="*/ 44424 h 855795"/>
                    <a:gd name="connsiteX1244" fmla="*/ 144218 w 723696"/>
                    <a:gd name="connsiteY1244" fmla="*/ 42900 h 855795"/>
                    <a:gd name="connsiteX1245" fmla="*/ 144030 w 723696"/>
                    <a:gd name="connsiteY1245" fmla="*/ 41417 h 855795"/>
                    <a:gd name="connsiteX1246" fmla="*/ 142849 w 723696"/>
                    <a:gd name="connsiteY1246" fmla="*/ 39730 h 855795"/>
                    <a:gd name="connsiteX1247" fmla="*/ 140004 w 723696"/>
                    <a:gd name="connsiteY1247" fmla="*/ 38508 h 855795"/>
                    <a:gd name="connsiteX1248" fmla="*/ 139621 w 723696"/>
                    <a:gd name="connsiteY1248" fmla="*/ 36772 h 855795"/>
                    <a:gd name="connsiteX1249" fmla="*/ 140061 w 723696"/>
                    <a:gd name="connsiteY1249" fmla="*/ 35321 h 855795"/>
                    <a:gd name="connsiteX1250" fmla="*/ 141007 w 723696"/>
                    <a:gd name="connsiteY1250" fmla="*/ 33259 h 855795"/>
                    <a:gd name="connsiteX1251" fmla="*/ 141814 w 723696"/>
                    <a:gd name="connsiteY1251" fmla="*/ 31817 h 855795"/>
                    <a:gd name="connsiteX1252" fmla="*/ 143761 w 723696"/>
                    <a:gd name="connsiteY1252" fmla="*/ 27734 h 855795"/>
                    <a:gd name="connsiteX1253" fmla="*/ 146108 w 723696"/>
                    <a:gd name="connsiteY1253" fmla="*/ 26845 h 855795"/>
                    <a:gd name="connsiteX1254" fmla="*/ 148985 w 723696"/>
                    <a:gd name="connsiteY1254" fmla="*/ 25517 h 855795"/>
                    <a:gd name="connsiteX1255" fmla="*/ 152172 w 723696"/>
                    <a:gd name="connsiteY1255" fmla="*/ 24058 h 855795"/>
                    <a:gd name="connsiteX1256" fmla="*/ 157061 w 723696"/>
                    <a:gd name="connsiteY1256" fmla="*/ 25150 h 855795"/>
                    <a:gd name="connsiteX1257" fmla="*/ 159458 w 723696"/>
                    <a:gd name="connsiteY1257" fmla="*/ 25688 h 855795"/>
                    <a:gd name="connsiteX1258" fmla="*/ 164274 w 723696"/>
                    <a:gd name="connsiteY1258" fmla="*/ 26935 h 855795"/>
                    <a:gd name="connsiteX1259" fmla="*/ 168325 w 723696"/>
                    <a:gd name="connsiteY1259" fmla="*/ 27986 h 855795"/>
                    <a:gd name="connsiteX1260" fmla="*/ 172457 w 723696"/>
                    <a:gd name="connsiteY1260" fmla="*/ 28288 h 855795"/>
                    <a:gd name="connsiteX1261" fmla="*/ 174176 w 723696"/>
                    <a:gd name="connsiteY1261" fmla="*/ 28206 h 855795"/>
                    <a:gd name="connsiteX1262" fmla="*/ 176067 w 723696"/>
                    <a:gd name="connsiteY1262" fmla="*/ 29445 h 855795"/>
                    <a:gd name="connsiteX1263" fmla="*/ 180753 w 723696"/>
                    <a:gd name="connsiteY1263" fmla="*/ 31572 h 855795"/>
                    <a:gd name="connsiteX1264" fmla="*/ 184542 w 723696"/>
                    <a:gd name="connsiteY1264" fmla="*/ 32681 h 855795"/>
                    <a:gd name="connsiteX1265" fmla="*/ 187110 w 723696"/>
                    <a:gd name="connsiteY1265" fmla="*/ 32672 h 855795"/>
                    <a:gd name="connsiteX1266" fmla="*/ 190899 w 723696"/>
                    <a:gd name="connsiteY1266" fmla="*/ 30798 h 855795"/>
                    <a:gd name="connsiteX1267" fmla="*/ 192790 w 723696"/>
                    <a:gd name="connsiteY1267" fmla="*/ 29086 h 855795"/>
                    <a:gd name="connsiteX1268" fmla="*/ 195341 w 723696"/>
                    <a:gd name="connsiteY1268" fmla="*/ 27196 h 855795"/>
                    <a:gd name="connsiteX1269" fmla="*/ 198600 w 723696"/>
                    <a:gd name="connsiteY1269" fmla="*/ 27269 h 855795"/>
                    <a:gd name="connsiteX1270" fmla="*/ 205650 w 723696"/>
                    <a:gd name="connsiteY1270" fmla="*/ 24360 h 855795"/>
                    <a:gd name="connsiteX1271" fmla="*/ 206971 w 723696"/>
                    <a:gd name="connsiteY1271" fmla="*/ 24865 h 855795"/>
                    <a:gd name="connsiteX1272" fmla="*/ 209073 w 723696"/>
                    <a:gd name="connsiteY1272" fmla="*/ 25028 h 855795"/>
                    <a:gd name="connsiteX1273" fmla="*/ 211592 w 723696"/>
                    <a:gd name="connsiteY1273" fmla="*/ 23349 h 855795"/>
                    <a:gd name="connsiteX1274" fmla="*/ 212895 w 723696"/>
                    <a:gd name="connsiteY1274" fmla="*/ 21352 h 855795"/>
                    <a:gd name="connsiteX1275" fmla="*/ 213107 w 723696"/>
                    <a:gd name="connsiteY1275" fmla="*/ 20358 h 855795"/>
                    <a:gd name="connsiteX1276" fmla="*/ 213743 w 723696"/>
                    <a:gd name="connsiteY1276" fmla="*/ 19625 h 855795"/>
                    <a:gd name="connsiteX1277" fmla="*/ 216440 w 723696"/>
                    <a:gd name="connsiteY1277" fmla="*/ 18361 h 855795"/>
                    <a:gd name="connsiteX1278" fmla="*/ 219146 w 723696"/>
                    <a:gd name="connsiteY1278" fmla="*/ 16601 h 855795"/>
                    <a:gd name="connsiteX1279" fmla="*/ 219880 w 723696"/>
                    <a:gd name="connsiteY1279" fmla="*/ 14287 h 855795"/>
                    <a:gd name="connsiteX1280" fmla="*/ 220328 w 723696"/>
                    <a:gd name="connsiteY1280" fmla="*/ 12714 h 855795"/>
                    <a:gd name="connsiteX1281" fmla="*/ 223302 w 723696"/>
                    <a:gd name="connsiteY1281" fmla="*/ 10692 h 855795"/>
                    <a:gd name="connsiteX1282" fmla="*/ 226391 w 723696"/>
                    <a:gd name="connsiteY1282" fmla="*/ 8582 h 855795"/>
                    <a:gd name="connsiteX1283" fmla="*/ 229627 w 723696"/>
                    <a:gd name="connsiteY1283" fmla="*/ 6373 h 855795"/>
                    <a:gd name="connsiteX1284" fmla="*/ 233303 w 723696"/>
                    <a:gd name="connsiteY1284" fmla="*/ 3863 h 855795"/>
                    <a:gd name="connsiteX1285" fmla="*/ 236407 w 723696"/>
                    <a:gd name="connsiteY1285" fmla="*/ 1728 h 855795"/>
                    <a:gd name="connsiteX1286" fmla="*/ 238950 w 723696"/>
                    <a:gd name="connsiteY1286" fmla="*/ 0 h 855795"/>
                    <a:gd name="connsiteX1287" fmla="*/ 239235 w 723696"/>
                    <a:gd name="connsiteY1287" fmla="*/ 367 h 855795"/>
                    <a:gd name="connsiteX1288" fmla="*/ 240238 w 723696"/>
                    <a:gd name="connsiteY1288" fmla="*/ 1149 h 855795"/>
                    <a:gd name="connsiteX1289" fmla="*/ 241321 w 723696"/>
                    <a:gd name="connsiteY1289" fmla="*/ 1540 h 855795"/>
                    <a:gd name="connsiteX1290" fmla="*/ 242585 w 723696"/>
                    <a:gd name="connsiteY1290" fmla="*/ 799 h 855795"/>
                    <a:gd name="connsiteX1291" fmla="*/ 244158 w 723696"/>
                    <a:gd name="connsiteY1291" fmla="*/ 179 h 855795"/>
                    <a:gd name="connsiteX1292" fmla="*/ 244981 w 723696"/>
                    <a:gd name="connsiteY1292" fmla="*/ 522 h 855795"/>
                    <a:gd name="connsiteX1293" fmla="*/ 245103 w 723696"/>
                    <a:gd name="connsiteY1293" fmla="*/ 1532 h 855795"/>
                    <a:gd name="connsiteX1294" fmla="*/ 244150 w 723696"/>
                    <a:gd name="connsiteY1294" fmla="*/ 6235 h 855795"/>
                    <a:gd name="connsiteX1295" fmla="*/ 244239 w 723696"/>
                    <a:gd name="connsiteY1295" fmla="*/ 8076 h 855795"/>
                    <a:gd name="connsiteX1296" fmla="*/ 245804 w 723696"/>
                    <a:gd name="connsiteY1296" fmla="*/ 11890 h 855795"/>
                    <a:gd name="connsiteX1297" fmla="*/ 247866 w 723696"/>
                    <a:gd name="connsiteY1297" fmla="*/ 18101 h 855795"/>
                    <a:gd name="connsiteX1298" fmla="*/ 249773 w 723696"/>
                    <a:gd name="connsiteY1298" fmla="*/ 23911 h 855795"/>
                    <a:gd name="connsiteX1299" fmla="*/ 250922 w 723696"/>
                    <a:gd name="connsiteY1299" fmla="*/ 27725 h 855795"/>
                    <a:gd name="connsiteX1300" fmla="*/ 252038 w 723696"/>
                    <a:gd name="connsiteY1300" fmla="*/ 29282 h 855795"/>
                    <a:gd name="connsiteX1301" fmla="*/ 256717 w 723696"/>
                    <a:gd name="connsiteY1301" fmla="*/ 30871 h 855795"/>
                    <a:gd name="connsiteX1302" fmla="*/ 260571 w 723696"/>
                    <a:gd name="connsiteY1302" fmla="*/ 32183 h 855795"/>
                    <a:gd name="connsiteX1303" fmla="*/ 262853 w 723696"/>
                    <a:gd name="connsiteY1303" fmla="*/ 34319 h 855795"/>
                    <a:gd name="connsiteX1304" fmla="*/ 265372 w 723696"/>
                    <a:gd name="connsiteY1304" fmla="*/ 36372 h 855795"/>
                    <a:gd name="connsiteX1305" fmla="*/ 267148 w 723696"/>
                    <a:gd name="connsiteY1305" fmla="*/ 37635 h 855795"/>
                    <a:gd name="connsiteX1306" fmla="*/ 267988 w 723696"/>
                    <a:gd name="connsiteY1306" fmla="*/ 39249 h 855795"/>
                    <a:gd name="connsiteX1307" fmla="*/ 268151 w 723696"/>
                    <a:gd name="connsiteY1307" fmla="*/ 40708 h 855795"/>
                    <a:gd name="connsiteX1308" fmla="*/ 268004 w 723696"/>
                    <a:gd name="connsiteY1308" fmla="*/ 41694 h 855795"/>
                    <a:gd name="connsiteX1309" fmla="*/ 267034 w 723696"/>
                    <a:gd name="connsiteY1309" fmla="*/ 42974 h 855795"/>
                    <a:gd name="connsiteX1310" fmla="*/ 262609 w 723696"/>
                    <a:gd name="connsiteY1310" fmla="*/ 46291 h 855795"/>
                    <a:gd name="connsiteX1311" fmla="*/ 262079 w 723696"/>
                    <a:gd name="connsiteY1311" fmla="*/ 47350 h 855795"/>
                    <a:gd name="connsiteX1312" fmla="*/ 261957 w 723696"/>
                    <a:gd name="connsiteY1312" fmla="*/ 48727 h 855795"/>
                    <a:gd name="connsiteX1313" fmla="*/ 262820 w 723696"/>
                    <a:gd name="connsiteY1313" fmla="*/ 52843 h 855795"/>
                    <a:gd name="connsiteX1314" fmla="*/ 263367 w 723696"/>
                    <a:gd name="connsiteY1314" fmla="*/ 55426 h 855795"/>
                    <a:gd name="connsiteX1315" fmla="*/ 263521 w 723696"/>
                    <a:gd name="connsiteY1315" fmla="*/ 60601 h 855795"/>
                    <a:gd name="connsiteX1316" fmla="*/ 263815 w 723696"/>
                    <a:gd name="connsiteY1316" fmla="*/ 65524 h 855795"/>
                    <a:gd name="connsiteX1317" fmla="*/ 265380 w 723696"/>
                    <a:gd name="connsiteY1317" fmla="*/ 67765 h 855795"/>
                    <a:gd name="connsiteX1318" fmla="*/ 266667 w 723696"/>
                    <a:gd name="connsiteY1318" fmla="*/ 69208 h 855795"/>
                    <a:gd name="connsiteX1319" fmla="*/ 267449 w 723696"/>
                    <a:gd name="connsiteY1319" fmla="*/ 70520 h 855795"/>
                    <a:gd name="connsiteX1320" fmla="*/ 269047 w 723696"/>
                    <a:gd name="connsiteY1320" fmla="*/ 72321 h 855795"/>
                    <a:gd name="connsiteX1321" fmla="*/ 270384 w 723696"/>
                    <a:gd name="connsiteY1321" fmla="*/ 73657 h 855795"/>
                    <a:gd name="connsiteX1322" fmla="*/ 271516 w 723696"/>
                    <a:gd name="connsiteY1322" fmla="*/ 74448 h 855795"/>
                    <a:gd name="connsiteX1323" fmla="*/ 272087 w 723696"/>
                    <a:gd name="connsiteY1323" fmla="*/ 76216 h 855795"/>
                    <a:gd name="connsiteX1324" fmla="*/ 271753 w 723696"/>
                    <a:gd name="connsiteY1324" fmla="*/ 78295 h 855795"/>
                    <a:gd name="connsiteX1325" fmla="*/ 271272 w 723696"/>
                    <a:gd name="connsiteY1325" fmla="*/ 80104 h 855795"/>
                    <a:gd name="connsiteX1326" fmla="*/ 271427 w 723696"/>
                    <a:gd name="connsiteY1326" fmla="*/ 81074 h 855795"/>
                    <a:gd name="connsiteX1327" fmla="*/ 272340 w 723696"/>
                    <a:gd name="connsiteY1327" fmla="*/ 81774 h 855795"/>
                    <a:gd name="connsiteX1328" fmla="*/ 273749 w 723696"/>
                    <a:gd name="connsiteY1328" fmla="*/ 83576 h 855795"/>
                    <a:gd name="connsiteX1329" fmla="*/ 273920 w 723696"/>
                    <a:gd name="connsiteY1329" fmla="*/ 86216 h 855795"/>
                    <a:gd name="connsiteX1330" fmla="*/ 273831 w 723696"/>
                    <a:gd name="connsiteY1330" fmla="*/ 88033 h 855795"/>
                    <a:gd name="connsiteX1331" fmla="*/ 274385 w 723696"/>
                    <a:gd name="connsiteY1331" fmla="*/ 89672 h 855795"/>
                    <a:gd name="connsiteX1332" fmla="*/ 274532 w 723696"/>
                    <a:gd name="connsiteY1332" fmla="*/ 91473 h 855795"/>
                    <a:gd name="connsiteX1333" fmla="*/ 274100 w 723696"/>
                    <a:gd name="connsiteY1333" fmla="*/ 96004 h 855795"/>
                    <a:gd name="connsiteX1334" fmla="*/ 274173 w 723696"/>
                    <a:gd name="connsiteY1334" fmla="*/ 98041 h 855795"/>
                    <a:gd name="connsiteX1335" fmla="*/ 272942 w 723696"/>
                    <a:gd name="connsiteY1335" fmla="*/ 98164 h 855795"/>
                    <a:gd name="connsiteX1336" fmla="*/ 271891 w 723696"/>
                    <a:gd name="connsiteY1336" fmla="*/ 98864 h 855795"/>
                    <a:gd name="connsiteX1337" fmla="*/ 270400 w 723696"/>
                    <a:gd name="connsiteY1337" fmla="*/ 101709 h 855795"/>
                    <a:gd name="connsiteX1338" fmla="*/ 268672 w 723696"/>
                    <a:gd name="connsiteY1338" fmla="*/ 102458 h 855795"/>
                    <a:gd name="connsiteX1339" fmla="*/ 266716 w 723696"/>
                    <a:gd name="connsiteY1339" fmla="*/ 102687 h 855795"/>
                    <a:gd name="connsiteX1340" fmla="*/ 264703 w 723696"/>
                    <a:gd name="connsiteY1340" fmla="*/ 100943 h 855795"/>
                    <a:gd name="connsiteX1341" fmla="*/ 263057 w 723696"/>
                    <a:gd name="connsiteY1341" fmla="*/ 99117 h 855795"/>
                    <a:gd name="connsiteX1342" fmla="*/ 262617 w 723696"/>
                    <a:gd name="connsiteY1342" fmla="*/ 98107 h 855795"/>
                    <a:gd name="connsiteX1343" fmla="*/ 262201 w 723696"/>
                    <a:gd name="connsiteY1343" fmla="*/ 96183 h 855795"/>
                    <a:gd name="connsiteX1344" fmla="*/ 261305 w 723696"/>
                    <a:gd name="connsiteY1344" fmla="*/ 94928 h 855795"/>
                    <a:gd name="connsiteX1345" fmla="*/ 259585 w 723696"/>
                    <a:gd name="connsiteY1345" fmla="*/ 95515 h 855795"/>
                    <a:gd name="connsiteX1346" fmla="*/ 256985 w 723696"/>
                    <a:gd name="connsiteY1346" fmla="*/ 95784 h 855795"/>
                    <a:gd name="connsiteX1347" fmla="*/ 254157 w 723696"/>
                    <a:gd name="connsiteY1347" fmla="*/ 96208 h 855795"/>
                    <a:gd name="connsiteX1348" fmla="*/ 253644 w 723696"/>
                    <a:gd name="connsiteY1348" fmla="*/ 96623 h 855795"/>
                    <a:gd name="connsiteX1349" fmla="*/ 253595 w 723696"/>
                    <a:gd name="connsiteY1349" fmla="*/ 97430 h 855795"/>
                    <a:gd name="connsiteX1350" fmla="*/ 254280 w 723696"/>
                    <a:gd name="connsiteY1350" fmla="*/ 99166 h 855795"/>
                    <a:gd name="connsiteX1351" fmla="*/ 254875 w 723696"/>
                    <a:gd name="connsiteY1351" fmla="*/ 101415 h 855795"/>
                    <a:gd name="connsiteX1352" fmla="*/ 255217 w 723696"/>
                    <a:gd name="connsiteY1352" fmla="*/ 104561 h 855795"/>
                    <a:gd name="connsiteX1353" fmla="*/ 255983 w 723696"/>
                    <a:gd name="connsiteY1353" fmla="*/ 106639 h 855795"/>
                    <a:gd name="connsiteX1354" fmla="*/ 256219 w 723696"/>
                    <a:gd name="connsiteY1354" fmla="*/ 107308 h 855795"/>
                    <a:gd name="connsiteX1355" fmla="*/ 260734 w 723696"/>
                    <a:gd name="connsiteY1355" fmla="*/ 113558 h 855795"/>
                    <a:gd name="connsiteX1356" fmla="*/ 261924 w 723696"/>
                    <a:gd name="connsiteY1356" fmla="*/ 114830 h 855795"/>
                    <a:gd name="connsiteX1357" fmla="*/ 262160 w 723696"/>
                    <a:gd name="connsiteY1357" fmla="*/ 115661 h 85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Lst>
                  <a:rect l="l" t="t" r="r" b="b"/>
                  <a:pathLst>
                    <a:path w="723696" h="855795">
                      <a:moveTo>
                        <a:pt x="261777" y="117943"/>
                      </a:moveTo>
                      <a:lnTo>
                        <a:pt x="261704" y="117829"/>
                      </a:lnTo>
                      <a:lnTo>
                        <a:pt x="260262" y="115417"/>
                      </a:lnTo>
                      <a:lnTo>
                        <a:pt x="261777" y="117943"/>
                      </a:lnTo>
                      <a:lnTo>
                        <a:pt x="260963" y="120600"/>
                      </a:lnTo>
                      <a:lnTo>
                        <a:pt x="261126" y="122702"/>
                      </a:lnTo>
                      <a:lnTo>
                        <a:pt x="262633" y="125041"/>
                      </a:lnTo>
                      <a:lnTo>
                        <a:pt x="263839" y="126663"/>
                      </a:lnTo>
                      <a:lnTo>
                        <a:pt x="262649" y="128855"/>
                      </a:lnTo>
                      <a:lnTo>
                        <a:pt x="261957" y="131390"/>
                      </a:lnTo>
                      <a:lnTo>
                        <a:pt x="262747" y="132531"/>
                      </a:lnTo>
                      <a:lnTo>
                        <a:pt x="262364" y="136166"/>
                      </a:lnTo>
                      <a:lnTo>
                        <a:pt x="262723" y="136867"/>
                      </a:lnTo>
                      <a:lnTo>
                        <a:pt x="263562" y="137144"/>
                      </a:lnTo>
                      <a:lnTo>
                        <a:pt x="264874" y="136891"/>
                      </a:lnTo>
                      <a:lnTo>
                        <a:pt x="266235" y="135929"/>
                      </a:lnTo>
                      <a:lnTo>
                        <a:pt x="267393" y="135742"/>
                      </a:lnTo>
                      <a:lnTo>
                        <a:pt x="268077" y="136019"/>
                      </a:lnTo>
                      <a:lnTo>
                        <a:pt x="269006" y="133256"/>
                      </a:lnTo>
                      <a:lnTo>
                        <a:pt x="269805" y="132865"/>
                      </a:lnTo>
                      <a:lnTo>
                        <a:pt x="271394" y="133623"/>
                      </a:lnTo>
                      <a:lnTo>
                        <a:pt x="274499" y="138831"/>
                      </a:lnTo>
                      <a:lnTo>
                        <a:pt x="277132" y="143215"/>
                      </a:lnTo>
                      <a:lnTo>
                        <a:pt x="277686" y="143818"/>
                      </a:lnTo>
                      <a:lnTo>
                        <a:pt x="277898" y="144038"/>
                      </a:lnTo>
                      <a:lnTo>
                        <a:pt x="278362" y="144552"/>
                      </a:lnTo>
                      <a:lnTo>
                        <a:pt x="280970" y="146826"/>
                      </a:lnTo>
                      <a:lnTo>
                        <a:pt x="282747" y="148268"/>
                      </a:lnTo>
                      <a:lnTo>
                        <a:pt x="285200" y="147738"/>
                      </a:lnTo>
                      <a:lnTo>
                        <a:pt x="288444" y="147649"/>
                      </a:lnTo>
                      <a:lnTo>
                        <a:pt x="290359" y="149050"/>
                      </a:lnTo>
                      <a:lnTo>
                        <a:pt x="291467" y="150028"/>
                      </a:lnTo>
                      <a:lnTo>
                        <a:pt x="291508" y="150167"/>
                      </a:lnTo>
                      <a:lnTo>
                        <a:pt x="291662" y="150208"/>
                      </a:lnTo>
                      <a:lnTo>
                        <a:pt x="291662" y="150208"/>
                      </a:lnTo>
                      <a:lnTo>
                        <a:pt x="295558" y="153647"/>
                      </a:lnTo>
                      <a:lnTo>
                        <a:pt x="297237" y="153394"/>
                      </a:lnTo>
                      <a:lnTo>
                        <a:pt x="298354" y="154380"/>
                      </a:lnTo>
                      <a:lnTo>
                        <a:pt x="298672" y="156809"/>
                      </a:lnTo>
                      <a:lnTo>
                        <a:pt x="298150" y="159335"/>
                      </a:lnTo>
                      <a:lnTo>
                        <a:pt x="298280" y="160517"/>
                      </a:lnTo>
                      <a:lnTo>
                        <a:pt x="300000" y="160745"/>
                      </a:lnTo>
                      <a:lnTo>
                        <a:pt x="303691" y="162424"/>
                      </a:lnTo>
                      <a:lnTo>
                        <a:pt x="306952" y="163891"/>
                      </a:lnTo>
                      <a:lnTo>
                        <a:pt x="308638" y="164364"/>
                      </a:lnTo>
                      <a:lnTo>
                        <a:pt x="310456" y="165464"/>
                      </a:lnTo>
                      <a:lnTo>
                        <a:pt x="312053" y="167208"/>
                      </a:lnTo>
                      <a:lnTo>
                        <a:pt x="315199" y="169457"/>
                      </a:lnTo>
                      <a:lnTo>
                        <a:pt x="317978" y="171177"/>
                      </a:lnTo>
                      <a:lnTo>
                        <a:pt x="318589" y="173508"/>
                      </a:lnTo>
                      <a:lnTo>
                        <a:pt x="317489" y="173011"/>
                      </a:lnTo>
                      <a:lnTo>
                        <a:pt x="316038" y="173272"/>
                      </a:lnTo>
                      <a:lnTo>
                        <a:pt x="314572" y="174298"/>
                      </a:lnTo>
                      <a:lnTo>
                        <a:pt x="313871" y="174959"/>
                      </a:lnTo>
                      <a:lnTo>
                        <a:pt x="310497" y="178968"/>
                      </a:lnTo>
                      <a:lnTo>
                        <a:pt x="308736" y="180207"/>
                      </a:lnTo>
                      <a:lnTo>
                        <a:pt x="307139" y="182000"/>
                      </a:lnTo>
                      <a:lnTo>
                        <a:pt x="303504" y="187436"/>
                      </a:lnTo>
                      <a:lnTo>
                        <a:pt x="301385" y="192497"/>
                      </a:lnTo>
                      <a:lnTo>
                        <a:pt x="299853" y="197256"/>
                      </a:lnTo>
                      <a:lnTo>
                        <a:pt x="299877" y="200630"/>
                      </a:lnTo>
                      <a:lnTo>
                        <a:pt x="299315" y="204583"/>
                      </a:lnTo>
                      <a:lnTo>
                        <a:pt x="297734" y="206832"/>
                      </a:lnTo>
                      <a:lnTo>
                        <a:pt x="296772" y="207590"/>
                      </a:lnTo>
                      <a:lnTo>
                        <a:pt x="295623" y="210988"/>
                      </a:lnTo>
                      <a:lnTo>
                        <a:pt x="294816" y="214941"/>
                      </a:lnTo>
                      <a:lnTo>
                        <a:pt x="295281" y="216221"/>
                      </a:lnTo>
                      <a:lnTo>
                        <a:pt x="297237" y="217948"/>
                      </a:lnTo>
                      <a:lnTo>
                        <a:pt x="299152" y="219627"/>
                      </a:lnTo>
                      <a:lnTo>
                        <a:pt x="301589" y="221445"/>
                      </a:lnTo>
                      <a:lnTo>
                        <a:pt x="303912" y="223180"/>
                      </a:lnTo>
                      <a:lnTo>
                        <a:pt x="305420" y="223409"/>
                      </a:lnTo>
                      <a:lnTo>
                        <a:pt x="305818" y="222422"/>
                      </a:lnTo>
                      <a:lnTo>
                        <a:pt x="306381" y="221485"/>
                      </a:lnTo>
                      <a:lnTo>
                        <a:pt x="308093" y="221982"/>
                      </a:lnTo>
                      <a:lnTo>
                        <a:pt x="310179" y="223678"/>
                      </a:lnTo>
                      <a:lnTo>
                        <a:pt x="311540" y="225039"/>
                      </a:lnTo>
                      <a:lnTo>
                        <a:pt x="312151" y="225487"/>
                      </a:lnTo>
                      <a:lnTo>
                        <a:pt x="315753" y="227753"/>
                      </a:lnTo>
                      <a:lnTo>
                        <a:pt x="318736" y="229635"/>
                      </a:lnTo>
                      <a:lnTo>
                        <a:pt x="322534" y="232015"/>
                      </a:lnTo>
                      <a:lnTo>
                        <a:pt x="323447" y="233457"/>
                      </a:lnTo>
                      <a:lnTo>
                        <a:pt x="324253" y="235006"/>
                      </a:lnTo>
                      <a:lnTo>
                        <a:pt x="326046" y="237060"/>
                      </a:lnTo>
                      <a:lnTo>
                        <a:pt x="330390" y="240694"/>
                      </a:lnTo>
                      <a:lnTo>
                        <a:pt x="334098" y="243286"/>
                      </a:lnTo>
                      <a:lnTo>
                        <a:pt x="337114" y="245413"/>
                      </a:lnTo>
                      <a:lnTo>
                        <a:pt x="339477" y="246896"/>
                      </a:lnTo>
                      <a:lnTo>
                        <a:pt x="340577" y="246660"/>
                      </a:lnTo>
                      <a:lnTo>
                        <a:pt x="341775" y="245878"/>
                      </a:lnTo>
                      <a:lnTo>
                        <a:pt x="342826" y="245413"/>
                      </a:lnTo>
                      <a:lnTo>
                        <a:pt x="344057" y="245829"/>
                      </a:lnTo>
                      <a:lnTo>
                        <a:pt x="345907" y="246961"/>
                      </a:lnTo>
                      <a:lnTo>
                        <a:pt x="350267" y="250409"/>
                      </a:lnTo>
                      <a:lnTo>
                        <a:pt x="354326" y="253098"/>
                      </a:lnTo>
                      <a:lnTo>
                        <a:pt x="358751" y="252617"/>
                      </a:lnTo>
                      <a:lnTo>
                        <a:pt x="359933" y="253049"/>
                      </a:lnTo>
                      <a:lnTo>
                        <a:pt x="360772" y="255478"/>
                      </a:lnTo>
                      <a:lnTo>
                        <a:pt x="361327" y="257947"/>
                      </a:lnTo>
                      <a:lnTo>
                        <a:pt x="366273" y="259577"/>
                      </a:lnTo>
                      <a:lnTo>
                        <a:pt x="369533" y="260311"/>
                      </a:lnTo>
                      <a:lnTo>
                        <a:pt x="373241" y="261647"/>
                      </a:lnTo>
                      <a:lnTo>
                        <a:pt x="375124" y="262641"/>
                      </a:lnTo>
                      <a:lnTo>
                        <a:pt x="377096" y="261403"/>
                      </a:lnTo>
                      <a:lnTo>
                        <a:pt x="377463" y="260302"/>
                      </a:lnTo>
                      <a:lnTo>
                        <a:pt x="379036" y="259651"/>
                      </a:lnTo>
                      <a:lnTo>
                        <a:pt x="381619" y="259936"/>
                      </a:lnTo>
                      <a:lnTo>
                        <a:pt x="386468" y="261851"/>
                      </a:lnTo>
                      <a:lnTo>
                        <a:pt x="388506" y="262429"/>
                      </a:lnTo>
                      <a:lnTo>
                        <a:pt x="390193" y="260612"/>
                      </a:lnTo>
                      <a:lnTo>
                        <a:pt x="393363" y="259765"/>
                      </a:lnTo>
                      <a:lnTo>
                        <a:pt x="395001" y="258827"/>
                      </a:lnTo>
                      <a:lnTo>
                        <a:pt x="398449" y="260848"/>
                      </a:lnTo>
                      <a:lnTo>
                        <a:pt x="404667" y="263367"/>
                      </a:lnTo>
                      <a:lnTo>
                        <a:pt x="407878" y="264940"/>
                      </a:lnTo>
                      <a:lnTo>
                        <a:pt x="408636" y="266488"/>
                      </a:lnTo>
                      <a:lnTo>
                        <a:pt x="408986" y="267947"/>
                      </a:lnTo>
                      <a:lnTo>
                        <a:pt x="408954" y="271500"/>
                      </a:lnTo>
                      <a:lnTo>
                        <a:pt x="409736" y="273106"/>
                      </a:lnTo>
                      <a:lnTo>
                        <a:pt x="415979" y="276716"/>
                      </a:lnTo>
                      <a:lnTo>
                        <a:pt x="418048" y="278248"/>
                      </a:lnTo>
                      <a:lnTo>
                        <a:pt x="419711" y="278745"/>
                      </a:lnTo>
                      <a:lnTo>
                        <a:pt x="420656" y="278802"/>
                      </a:lnTo>
                      <a:lnTo>
                        <a:pt x="421292" y="279259"/>
                      </a:lnTo>
                      <a:lnTo>
                        <a:pt x="421871" y="281313"/>
                      </a:lnTo>
                      <a:lnTo>
                        <a:pt x="422294" y="281793"/>
                      </a:lnTo>
                      <a:lnTo>
                        <a:pt x="423501" y="282299"/>
                      </a:lnTo>
                      <a:lnTo>
                        <a:pt x="424813" y="282600"/>
                      </a:lnTo>
                      <a:lnTo>
                        <a:pt x="428863" y="280824"/>
                      </a:lnTo>
                      <a:lnTo>
                        <a:pt x="431650" y="279471"/>
                      </a:lnTo>
                      <a:lnTo>
                        <a:pt x="433631" y="279813"/>
                      </a:lnTo>
                      <a:lnTo>
                        <a:pt x="434902" y="281313"/>
                      </a:lnTo>
                      <a:lnTo>
                        <a:pt x="435098" y="283497"/>
                      </a:lnTo>
                      <a:lnTo>
                        <a:pt x="435823" y="285803"/>
                      </a:lnTo>
                      <a:lnTo>
                        <a:pt x="437249" y="286928"/>
                      </a:lnTo>
                      <a:lnTo>
                        <a:pt x="438765" y="287050"/>
                      </a:lnTo>
                      <a:lnTo>
                        <a:pt x="442530" y="285493"/>
                      </a:lnTo>
                      <a:lnTo>
                        <a:pt x="445554" y="286691"/>
                      </a:lnTo>
                      <a:lnTo>
                        <a:pt x="448341" y="287115"/>
                      </a:lnTo>
                      <a:lnTo>
                        <a:pt x="451430" y="287865"/>
                      </a:lnTo>
                      <a:lnTo>
                        <a:pt x="452628" y="288435"/>
                      </a:lnTo>
                      <a:lnTo>
                        <a:pt x="455831" y="290342"/>
                      </a:lnTo>
                      <a:lnTo>
                        <a:pt x="459743" y="292266"/>
                      </a:lnTo>
                      <a:lnTo>
                        <a:pt x="461267" y="292054"/>
                      </a:lnTo>
                      <a:lnTo>
                        <a:pt x="467558" y="288468"/>
                      </a:lnTo>
                      <a:lnTo>
                        <a:pt x="468088" y="288908"/>
                      </a:lnTo>
                      <a:lnTo>
                        <a:pt x="469376" y="292323"/>
                      </a:lnTo>
                      <a:lnTo>
                        <a:pt x="471291" y="293561"/>
                      </a:lnTo>
                      <a:lnTo>
                        <a:pt x="474282" y="294629"/>
                      </a:lnTo>
                      <a:lnTo>
                        <a:pt x="477403" y="292649"/>
                      </a:lnTo>
                      <a:lnTo>
                        <a:pt x="479872" y="293219"/>
                      </a:lnTo>
                      <a:lnTo>
                        <a:pt x="482855" y="293407"/>
                      </a:lnTo>
                      <a:lnTo>
                        <a:pt x="485732" y="292453"/>
                      </a:lnTo>
                      <a:lnTo>
                        <a:pt x="488209" y="292209"/>
                      </a:lnTo>
                      <a:lnTo>
                        <a:pt x="491836" y="293937"/>
                      </a:lnTo>
                      <a:lnTo>
                        <a:pt x="492611" y="293529"/>
                      </a:lnTo>
                      <a:lnTo>
                        <a:pt x="493312" y="292429"/>
                      </a:lnTo>
                      <a:lnTo>
                        <a:pt x="494705" y="287482"/>
                      </a:lnTo>
                      <a:lnTo>
                        <a:pt x="495960" y="283114"/>
                      </a:lnTo>
                      <a:lnTo>
                        <a:pt x="495846" y="280497"/>
                      </a:lnTo>
                      <a:lnTo>
                        <a:pt x="494705" y="276667"/>
                      </a:lnTo>
                      <a:lnTo>
                        <a:pt x="491779" y="271679"/>
                      </a:lnTo>
                      <a:lnTo>
                        <a:pt x="491551" y="270156"/>
                      </a:lnTo>
                      <a:lnTo>
                        <a:pt x="492546" y="261444"/>
                      </a:lnTo>
                      <a:lnTo>
                        <a:pt x="493637" y="256415"/>
                      </a:lnTo>
                      <a:lnTo>
                        <a:pt x="494567" y="254035"/>
                      </a:lnTo>
                      <a:lnTo>
                        <a:pt x="495585" y="250645"/>
                      </a:lnTo>
                      <a:lnTo>
                        <a:pt x="495773" y="249064"/>
                      </a:lnTo>
                      <a:lnTo>
                        <a:pt x="495683" y="247654"/>
                      </a:lnTo>
                      <a:lnTo>
                        <a:pt x="494672" y="246782"/>
                      </a:lnTo>
                      <a:lnTo>
                        <a:pt x="494403" y="245706"/>
                      </a:lnTo>
                      <a:lnTo>
                        <a:pt x="494656" y="244802"/>
                      </a:lnTo>
                      <a:lnTo>
                        <a:pt x="495455" y="244296"/>
                      </a:lnTo>
                      <a:lnTo>
                        <a:pt x="498772" y="243661"/>
                      </a:lnTo>
                      <a:lnTo>
                        <a:pt x="502512" y="242300"/>
                      </a:lnTo>
                      <a:lnTo>
                        <a:pt x="504012" y="241566"/>
                      </a:lnTo>
                      <a:lnTo>
                        <a:pt x="505137" y="240841"/>
                      </a:lnTo>
                      <a:lnTo>
                        <a:pt x="506278" y="239700"/>
                      </a:lnTo>
                      <a:lnTo>
                        <a:pt x="507353" y="239749"/>
                      </a:lnTo>
                      <a:lnTo>
                        <a:pt x="510711" y="241411"/>
                      </a:lnTo>
                      <a:lnTo>
                        <a:pt x="511885" y="242455"/>
                      </a:lnTo>
                      <a:lnTo>
                        <a:pt x="512504" y="245617"/>
                      </a:lnTo>
                      <a:lnTo>
                        <a:pt x="513009" y="246847"/>
                      </a:lnTo>
                      <a:lnTo>
                        <a:pt x="512545" y="250058"/>
                      </a:lnTo>
                      <a:lnTo>
                        <a:pt x="510532" y="257849"/>
                      </a:lnTo>
                      <a:lnTo>
                        <a:pt x="510915" y="260775"/>
                      </a:lnTo>
                      <a:lnTo>
                        <a:pt x="512594" y="262902"/>
                      </a:lnTo>
                      <a:lnTo>
                        <a:pt x="514060" y="264386"/>
                      </a:lnTo>
                      <a:lnTo>
                        <a:pt x="513824" y="264980"/>
                      </a:lnTo>
                      <a:lnTo>
                        <a:pt x="510809" y="267490"/>
                      </a:lnTo>
                      <a:lnTo>
                        <a:pt x="510263" y="268835"/>
                      </a:lnTo>
                      <a:lnTo>
                        <a:pt x="510931" y="270147"/>
                      </a:lnTo>
                      <a:lnTo>
                        <a:pt x="512129" y="271264"/>
                      </a:lnTo>
                      <a:lnTo>
                        <a:pt x="512659" y="272323"/>
                      </a:lnTo>
                      <a:lnTo>
                        <a:pt x="513221" y="275624"/>
                      </a:lnTo>
                      <a:lnTo>
                        <a:pt x="514745" y="276545"/>
                      </a:lnTo>
                      <a:lnTo>
                        <a:pt x="517761" y="278672"/>
                      </a:lnTo>
                      <a:lnTo>
                        <a:pt x="520434" y="280220"/>
                      </a:lnTo>
                      <a:lnTo>
                        <a:pt x="524989" y="279193"/>
                      </a:lnTo>
                      <a:lnTo>
                        <a:pt x="526277" y="279894"/>
                      </a:lnTo>
                      <a:lnTo>
                        <a:pt x="528526" y="280620"/>
                      </a:lnTo>
                      <a:lnTo>
                        <a:pt x="530262" y="280856"/>
                      </a:lnTo>
                      <a:lnTo>
                        <a:pt x="531289" y="281402"/>
                      </a:lnTo>
                      <a:lnTo>
                        <a:pt x="531868" y="281924"/>
                      </a:lnTo>
                      <a:lnTo>
                        <a:pt x="531786" y="282600"/>
                      </a:lnTo>
                      <a:lnTo>
                        <a:pt x="531892" y="283277"/>
                      </a:lnTo>
                      <a:lnTo>
                        <a:pt x="534378" y="283456"/>
                      </a:lnTo>
                      <a:lnTo>
                        <a:pt x="535698" y="283847"/>
                      </a:lnTo>
                      <a:lnTo>
                        <a:pt x="540148" y="283138"/>
                      </a:lnTo>
                      <a:lnTo>
                        <a:pt x="544606" y="282168"/>
                      </a:lnTo>
                      <a:lnTo>
                        <a:pt x="546659" y="279234"/>
                      </a:lnTo>
                      <a:lnTo>
                        <a:pt x="547564" y="279014"/>
                      </a:lnTo>
                      <a:lnTo>
                        <a:pt x="550131" y="277873"/>
                      </a:lnTo>
                      <a:lnTo>
                        <a:pt x="552650" y="279128"/>
                      </a:lnTo>
                      <a:lnTo>
                        <a:pt x="555437" y="280840"/>
                      </a:lnTo>
                      <a:lnTo>
                        <a:pt x="556937" y="281353"/>
                      </a:lnTo>
                      <a:lnTo>
                        <a:pt x="559895" y="281622"/>
                      </a:lnTo>
                      <a:lnTo>
                        <a:pt x="562788" y="281443"/>
                      </a:lnTo>
                      <a:lnTo>
                        <a:pt x="569674" y="280620"/>
                      </a:lnTo>
                      <a:lnTo>
                        <a:pt x="573456" y="281044"/>
                      </a:lnTo>
                      <a:lnTo>
                        <a:pt x="576944" y="278607"/>
                      </a:lnTo>
                      <a:lnTo>
                        <a:pt x="577669" y="278615"/>
                      </a:lnTo>
                      <a:lnTo>
                        <a:pt x="579193" y="280497"/>
                      </a:lnTo>
                      <a:lnTo>
                        <a:pt x="583015" y="280669"/>
                      </a:lnTo>
                      <a:lnTo>
                        <a:pt x="585053" y="279756"/>
                      </a:lnTo>
                      <a:lnTo>
                        <a:pt x="587245" y="279055"/>
                      </a:lnTo>
                      <a:lnTo>
                        <a:pt x="588639" y="278835"/>
                      </a:lnTo>
                      <a:lnTo>
                        <a:pt x="589763" y="278810"/>
                      </a:lnTo>
                      <a:lnTo>
                        <a:pt x="591108" y="278990"/>
                      </a:lnTo>
                      <a:lnTo>
                        <a:pt x="592388" y="278362"/>
                      </a:lnTo>
                      <a:lnTo>
                        <a:pt x="592983" y="277099"/>
                      </a:lnTo>
                      <a:lnTo>
                        <a:pt x="592844" y="275184"/>
                      </a:lnTo>
                      <a:lnTo>
                        <a:pt x="591931" y="273114"/>
                      </a:lnTo>
                      <a:lnTo>
                        <a:pt x="591116" y="271891"/>
                      </a:lnTo>
                      <a:lnTo>
                        <a:pt x="590970" y="271240"/>
                      </a:lnTo>
                      <a:lnTo>
                        <a:pt x="591222" y="269740"/>
                      </a:lnTo>
                      <a:lnTo>
                        <a:pt x="591940" y="267613"/>
                      </a:lnTo>
                      <a:lnTo>
                        <a:pt x="593235" y="265192"/>
                      </a:lnTo>
                      <a:lnTo>
                        <a:pt x="592274" y="262845"/>
                      </a:lnTo>
                      <a:lnTo>
                        <a:pt x="590937" y="260131"/>
                      </a:lnTo>
                      <a:lnTo>
                        <a:pt x="589951" y="259879"/>
                      </a:lnTo>
                      <a:lnTo>
                        <a:pt x="587473" y="260506"/>
                      </a:lnTo>
                      <a:lnTo>
                        <a:pt x="584792" y="260376"/>
                      </a:lnTo>
                      <a:lnTo>
                        <a:pt x="582673" y="258754"/>
                      </a:lnTo>
                      <a:lnTo>
                        <a:pt x="581109" y="256717"/>
                      </a:lnTo>
                      <a:lnTo>
                        <a:pt x="580725" y="255021"/>
                      </a:lnTo>
                      <a:lnTo>
                        <a:pt x="581174" y="252935"/>
                      </a:lnTo>
                      <a:lnTo>
                        <a:pt x="581875" y="251020"/>
                      </a:lnTo>
                      <a:lnTo>
                        <a:pt x="582029" y="250295"/>
                      </a:lnTo>
                      <a:lnTo>
                        <a:pt x="584026" y="250311"/>
                      </a:lnTo>
                      <a:lnTo>
                        <a:pt x="586813" y="250727"/>
                      </a:lnTo>
                      <a:lnTo>
                        <a:pt x="588916" y="251256"/>
                      </a:lnTo>
                      <a:lnTo>
                        <a:pt x="590611" y="251240"/>
                      </a:lnTo>
                      <a:lnTo>
                        <a:pt x="593667" y="248787"/>
                      </a:lnTo>
                      <a:lnTo>
                        <a:pt x="595077" y="248640"/>
                      </a:lnTo>
                      <a:lnTo>
                        <a:pt x="596674" y="248176"/>
                      </a:lnTo>
                      <a:lnTo>
                        <a:pt x="597375" y="247711"/>
                      </a:lnTo>
                      <a:lnTo>
                        <a:pt x="597856" y="248070"/>
                      </a:lnTo>
                      <a:lnTo>
                        <a:pt x="599617" y="248363"/>
                      </a:lnTo>
                      <a:lnTo>
                        <a:pt x="601450" y="248249"/>
                      </a:lnTo>
                      <a:lnTo>
                        <a:pt x="603080" y="247565"/>
                      </a:lnTo>
                      <a:lnTo>
                        <a:pt x="604718" y="246513"/>
                      </a:lnTo>
                      <a:lnTo>
                        <a:pt x="607644" y="244296"/>
                      </a:lnTo>
                      <a:lnTo>
                        <a:pt x="608215" y="243025"/>
                      </a:lnTo>
                      <a:lnTo>
                        <a:pt x="608206" y="241851"/>
                      </a:lnTo>
                      <a:lnTo>
                        <a:pt x="607660" y="241085"/>
                      </a:lnTo>
                      <a:lnTo>
                        <a:pt x="607114" y="240711"/>
                      </a:lnTo>
                      <a:lnTo>
                        <a:pt x="607334" y="239700"/>
                      </a:lnTo>
                      <a:lnTo>
                        <a:pt x="608565" y="237988"/>
                      </a:lnTo>
                      <a:lnTo>
                        <a:pt x="613031" y="235413"/>
                      </a:lnTo>
                      <a:lnTo>
                        <a:pt x="616829" y="232243"/>
                      </a:lnTo>
                      <a:lnTo>
                        <a:pt x="618915" y="229871"/>
                      </a:lnTo>
                      <a:lnTo>
                        <a:pt x="619869" y="226986"/>
                      </a:lnTo>
                      <a:lnTo>
                        <a:pt x="621083" y="223857"/>
                      </a:lnTo>
                      <a:lnTo>
                        <a:pt x="622208" y="222626"/>
                      </a:lnTo>
                      <a:lnTo>
                        <a:pt x="624905" y="221844"/>
                      </a:lnTo>
                      <a:lnTo>
                        <a:pt x="632443" y="220687"/>
                      </a:lnTo>
                      <a:lnTo>
                        <a:pt x="634823" y="219432"/>
                      </a:lnTo>
                      <a:lnTo>
                        <a:pt x="638344" y="217084"/>
                      </a:lnTo>
                      <a:lnTo>
                        <a:pt x="640104" y="215243"/>
                      </a:lnTo>
                      <a:lnTo>
                        <a:pt x="641091" y="213751"/>
                      </a:lnTo>
                      <a:lnTo>
                        <a:pt x="641205" y="212089"/>
                      </a:lnTo>
                      <a:lnTo>
                        <a:pt x="643535" y="211567"/>
                      </a:lnTo>
                      <a:lnTo>
                        <a:pt x="645565" y="208886"/>
                      </a:lnTo>
                      <a:lnTo>
                        <a:pt x="648042" y="206180"/>
                      </a:lnTo>
                      <a:lnTo>
                        <a:pt x="652378" y="203890"/>
                      </a:lnTo>
                      <a:lnTo>
                        <a:pt x="656216" y="200810"/>
                      </a:lnTo>
                      <a:lnTo>
                        <a:pt x="657561" y="201306"/>
                      </a:lnTo>
                      <a:lnTo>
                        <a:pt x="658947" y="202757"/>
                      </a:lnTo>
                      <a:lnTo>
                        <a:pt x="659688" y="204371"/>
                      </a:lnTo>
                      <a:lnTo>
                        <a:pt x="659851" y="205178"/>
                      </a:lnTo>
                      <a:lnTo>
                        <a:pt x="664749" y="206196"/>
                      </a:lnTo>
                      <a:lnTo>
                        <a:pt x="665540" y="206033"/>
                      </a:lnTo>
                      <a:lnTo>
                        <a:pt x="669158" y="207476"/>
                      </a:lnTo>
                      <a:lnTo>
                        <a:pt x="672491" y="209212"/>
                      </a:lnTo>
                      <a:lnTo>
                        <a:pt x="674317" y="209652"/>
                      </a:lnTo>
                      <a:lnTo>
                        <a:pt x="675222" y="209611"/>
                      </a:lnTo>
                      <a:lnTo>
                        <a:pt x="675988" y="209065"/>
                      </a:lnTo>
                      <a:lnTo>
                        <a:pt x="676892" y="207533"/>
                      </a:lnTo>
                      <a:lnTo>
                        <a:pt x="677813" y="206425"/>
                      </a:lnTo>
                      <a:lnTo>
                        <a:pt x="678384" y="205968"/>
                      </a:lnTo>
                      <a:lnTo>
                        <a:pt x="678359" y="204200"/>
                      </a:lnTo>
                      <a:lnTo>
                        <a:pt x="683184" y="200777"/>
                      </a:lnTo>
                      <a:lnTo>
                        <a:pt x="687519" y="198299"/>
                      </a:lnTo>
                      <a:lnTo>
                        <a:pt x="691244" y="196498"/>
                      </a:lnTo>
                      <a:lnTo>
                        <a:pt x="692344" y="197240"/>
                      </a:lnTo>
                      <a:lnTo>
                        <a:pt x="693558" y="198609"/>
                      </a:lnTo>
                      <a:lnTo>
                        <a:pt x="695196" y="202089"/>
                      </a:lnTo>
                      <a:lnTo>
                        <a:pt x="696199" y="202945"/>
                      </a:lnTo>
                      <a:lnTo>
                        <a:pt x="698734" y="202456"/>
                      </a:lnTo>
                      <a:lnTo>
                        <a:pt x="699198" y="202839"/>
                      </a:lnTo>
                      <a:lnTo>
                        <a:pt x="698799" y="204094"/>
                      </a:lnTo>
                      <a:lnTo>
                        <a:pt x="697079" y="205650"/>
                      </a:lnTo>
                      <a:lnTo>
                        <a:pt x="694854" y="207036"/>
                      </a:lnTo>
                      <a:lnTo>
                        <a:pt x="693404" y="208177"/>
                      </a:lnTo>
                      <a:lnTo>
                        <a:pt x="693884" y="211966"/>
                      </a:lnTo>
                      <a:lnTo>
                        <a:pt x="693770" y="213270"/>
                      </a:lnTo>
                      <a:lnTo>
                        <a:pt x="694390" y="213686"/>
                      </a:lnTo>
                      <a:lnTo>
                        <a:pt x="698978" y="209921"/>
                      </a:lnTo>
                      <a:lnTo>
                        <a:pt x="701171" y="209187"/>
                      </a:lnTo>
                      <a:lnTo>
                        <a:pt x="701952" y="210084"/>
                      </a:lnTo>
                      <a:lnTo>
                        <a:pt x="702205" y="212097"/>
                      </a:lnTo>
                      <a:lnTo>
                        <a:pt x="704015" y="216245"/>
                      </a:lnTo>
                      <a:lnTo>
                        <a:pt x="704764" y="218340"/>
                      </a:lnTo>
                      <a:lnTo>
                        <a:pt x="700176" y="223360"/>
                      </a:lnTo>
                      <a:lnTo>
                        <a:pt x="698489" y="225943"/>
                      </a:lnTo>
                      <a:lnTo>
                        <a:pt x="698554" y="226848"/>
                      </a:lnTo>
                      <a:lnTo>
                        <a:pt x="698457" y="227753"/>
                      </a:lnTo>
                      <a:lnTo>
                        <a:pt x="697291" y="229040"/>
                      </a:lnTo>
                      <a:lnTo>
                        <a:pt x="697340" y="229545"/>
                      </a:lnTo>
                      <a:lnTo>
                        <a:pt x="698301" y="230368"/>
                      </a:lnTo>
                      <a:lnTo>
                        <a:pt x="699451" y="230988"/>
                      </a:lnTo>
                      <a:lnTo>
                        <a:pt x="700013" y="230963"/>
                      </a:lnTo>
                      <a:lnTo>
                        <a:pt x="700975" y="229749"/>
                      </a:lnTo>
                      <a:lnTo>
                        <a:pt x="705319" y="228030"/>
                      </a:lnTo>
                      <a:lnTo>
                        <a:pt x="706557" y="228355"/>
                      </a:lnTo>
                      <a:lnTo>
                        <a:pt x="709613" y="230988"/>
                      </a:lnTo>
                      <a:lnTo>
                        <a:pt x="711023" y="231134"/>
                      </a:lnTo>
                      <a:lnTo>
                        <a:pt x="714691" y="231925"/>
                      </a:lnTo>
                      <a:lnTo>
                        <a:pt x="717038" y="230923"/>
                      </a:lnTo>
                      <a:lnTo>
                        <a:pt x="718774" y="231844"/>
                      </a:lnTo>
                      <a:lnTo>
                        <a:pt x="722352" y="235128"/>
                      </a:lnTo>
                      <a:lnTo>
                        <a:pt x="723166" y="235739"/>
                      </a:lnTo>
                      <a:lnTo>
                        <a:pt x="722865" y="237728"/>
                      </a:lnTo>
                      <a:lnTo>
                        <a:pt x="722677" y="239936"/>
                      </a:lnTo>
                      <a:lnTo>
                        <a:pt x="723574" y="241689"/>
                      </a:lnTo>
                      <a:lnTo>
                        <a:pt x="723696" y="243237"/>
                      </a:lnTo>
                      <a:lnTo>
                        <a:pt x="723476" y="244647"/>
                      </a:lnTo>
                      <a:lnTo>
                        <a:pt x="722767" y="245625"/>
                      </a:lnTo>
                      <a:lnTo>
                        <a:pt x="720770" y="246163"/>
                      </a:lnTo>
                      <a:lnTo>
                        <a:pt x="719084" y="247850"/>
                      </a:lnTo>
                      <a:lnTo>
                        <a:pt x="716402" y="250295"/>
                      </a:lnTo>
                      <a:lnTo>
                        <a:pt x="714251" y="252259"/>
                      </a:lnTo>
                      <a:lnTo>
                        <a:pt x="712678" y="253986"/>
                      </a:lnTo>
                      <a:lnTo>
                        <a:pt x="712115" y="255804"/>
                      </a:lnTo>
                      <a:lnTo>
                        <a:pt x="712278" y="258078"/>
                      </a:lnTo>
                      <a:lnTo>
                        <a:pt x="712735" y="260465"/>
                      </a:lnTo>
                      <a:lnTo>
                        <a:pt x="717739" y="269226"/>
                      </a:lnTo>
                      <a:lnTo>
                        <a:pt x="717698" y="270742"/>
                      </a:lnTo>
                      <a:lnTo>
                        <a:pt x="716117" y="271174"/>
                      </a:lnTo>
                      <a:lnTo>
                        <a:pt x="714014" y="270180"/>
                      </a:lnTo>
                      <a:lnTo>
                        <a:pt x="712197" y="268770"/>
                      </a:lnTo>
                      <a:lnTo>
                        <a:pt x="710159" y="265013"/>
                      </a:lnTo>
                      <a:lnTo>
                        <a:pt x="708513" y="263897"/>
                      </a:lnTo>
                      <a:lnTo>
                        <a:pt x="706875" y="263652"/>
                      </a:lnTo>
                      <a:lnTo>
                        <a:pt x="697169" y="265584"/>
                      </a:lnTo>
                      <a:lnTo>
                        <a:pt x="695107" y="266121"/>
                      </a:lnTo>
                      <a:lnTo>
                        <a:pt x="691888" y="267523"/>
                      </a:lnTo>
                      <a:lnTo>
                        <a:pt x="689647" y="270351"/>
                      </a:lnTo>
                      <a:lnTo>
                        <a:pt x="688017" y="272927"/>
                      </a:lnTo>
                      <a:lnTo>
                        <a:pt x="686338" y="273970"/>
                      </a:lnTo>
                      <a:lnTo>
                        <a:pt x="683885" y="275974"/>
                      </a:lnTo>
                      <a:lnTo>
                        <a:pt x="677079" y="282128"/>
                      </a:lnTo>
                      <a:lnTo>
                        <a:pt x="673135" y="284776"/>
                      </a:lnTo>
                      <a:lnTo>
                        <a:pt x="670560" y="285746"/>
                      </a:lnTo>
                      <a:lnTo>
                        <a:pt x="668767" y="287140"/>
                      </a:lnTo>
                      <a:lnTo>
                        <a:pt x="667781" y="289413"/>
                      </a:lnTo>
                      <a:lnTo>
                        <a:pt x="667055" y="291035"/>
                      </a:lnTo>
                      <a:lnTo>
                        <a:pt x="666827" y="295037"/>
                      </a:lnTo>
                      <a:lnTo>
                        <a:pt x="667284" y="299975"/>
                      </a:lnTo>
                      <a:lnTo>
                        <a:pt x="668254" y="303121"/>
                      </a:lnTo>
                      <a:lnTo>
                        <a:pt x="668775" y="303781"/>
                      </a:lnTo>
                      <a:lnTo>
                        <a:pt x="668840" y="304702"/>
                      </a:lnTo>
                      <a:lnTo>
                        <a:pt x="667871" y="306406"/>
                      </a:lnTo>
                      <a:lnTo>
                        <a:pt x="666575" y="307848"/>
                      </a:lnTo>
                      <a:lnTo>
                        <a:pt x="665947" y="308744"/>
                      </a:lnTo>
                      <a:lnTo>
                        <a:pt x="665369" y="313235"/>
                      </a:lnTo>
                      <a:lnTo>
                        <a:pt x="664220" y="315452"/>
                      </a:lnTo>
                      <a:lnTo>
                        <a:pt x="662125" y="318687"/>
                      </a:lnTo>
                      <a:lnTo>
                        <a:pt x="660259" y="321140"/>
                      </a:lnTo>
                      <a:lnTo>
                        <a:pt x="657316" y="323047"/>
                      </a:lnTo>
                      <a:lnTo>
                        <a:pt x="656216" y="324588"/>
                      </a:lnTo>
                      <a:lnTo>
                        <a:pt x="655149" y="327424"/>
                      </a:lnTo>
                      <a:lnTo>
                        <a:pt x="654513" y="329828"/>
                      </a:lnTo>
                      <a:lnTo>
                        <a:pt x="654481" y="330692"/>
                      </a:lnTo>
                      <a:lnTo>
                        <a:pt x="654814" y="331458"/>
                      </a:lnTo>
                      <a:lnTo>
                        <a:pt x="656029" y="332305"/>
                      </a:lnTo>
                      <a:lnTo>
                        <a:pt x="657512" y="333120"/>
                      </a:lnTo>
                      <a:lnTo>
                        <a:pt x="658221" y="334400"/>
                      </a:lnTo>
                      <a:lnTo>
                        <a:pt x="658311" y="335948"/>
                      </a:lnTo>
                      <a:lnTo>
                        <a:pt x="657219" y="339640"/>
                      </a:lnTo>
                      <a:lnTo>
                        <a:pt x="655247" y="344783"/>
                      </a:lnTo>
                      <a:lnTo>
                        <a:pt x="652997" y="348849"/>
                      </a:lnTo>
                      <a:lnTo>
                        <a:pt x="650674" y="352720"/>
                      </a:lnTo>
                      <a:lnTo>
                        <a:pt x="650120" y="353984"/>
                      </a:lnTo>
                      <a:lnTo>
                        <a:pt x="648034" y="358743"/>
                      </a:lnTo>
                      <a:lnTo>
                        <a:pt x="646217" y="365279"/>
                      </a:lnTo>
                      <a:lnTo>
                        <a:pt x="644994" y="369680"/>
                      </a:lnTo>
                      <a:lnTo>
                        <a:pt x="643926" y="372687"/>
                      </a:lnTo>
                      <a:lnTo>
                        <a:pt x="642623" y="372826"/>
                      </a:lnTo>
                      <a:lnTo>
                        <a:pt x="641033" y="371856"/>
                      </a:lnTo>
                      <a:lnTo>
                        <a:pt x="637187" y="370577"/>
                      </a:lnTo>
                      <a:lnTo>
                        <a:pt x="634717" y="369550"/>
                      </a:lnTo>
                      <a:lnTo>
                        <a:pt x="632908" y="368621"/>
                      </a:lnTo>
                      <a:lnTo>
                        <a:pt x="631669" y="368653"/>
                      </a:lnTo>
                      <a:lnTo>
                        <a:pt x="629958" y="369256"/>
                      </a:lnTo>
                      <a:lnTo>
                        <a:pt x="628206" y="369672"/>
                      </a:lnTo>
                      <a:lnTo>
                        <a:pt x="627171" y="369224"/>
                      </a:lnTo>
                      <a:lnTo>
                        <a:pt x="624775" y="366502"/>
                      </a:lnTo>
                      <a:lnTo>
                        <a:pt x="624049" y="366820"/>
                      </a:lnTo>
                      <a:lnTo>
                        <a:pt x="623585" y="368140"/>
                      </a:lnTo>
                      <a:lnTo>
                        <a:pt x="625199" y="375882"/>
                      </a:lnTo>
                      <a:lnTo>
                        <a:pt x="626250" y="378759"/>
                      </a:lnTo>
                      <a:lnTo>
                        <a:pt x="626078" y="383584"/>
                      </a:lnTo>
                      <a:lnTo>
                        <a:pt x="625663" y="389484"/>
                      </a:lnTo>
                      <a:lnTo>
                        <a:pt x="625035" y="395930"/>
                      </a:lnTo>
                      <a:lnTo>
                        <a:pt x="624628" y="397414"/>
                      </a:lnTo>
                      <a:lnTo>
                        <a:pt x="623609" y="399109"/>
                      </a:lnTo>
                      <a:lnTo>
                        <a:pt x="622248" y="399573"/>
                      </a:lnTo>
                      <a:lnTo>
                        <a:pt x="621018" y="398905"/>
                      </a:lnTo>
                      <a:lnTo>
                        <a:pt x="620040" y="399060"/>
                      </a:lnTo>
                      <a:lnTo>
                        <a:pt x="619706" y="400135"/>
                      </a:lnTo>
                      <a:lnTo>
                        <a:pt x="619991" y="402931"/>
                      </a:lnTo>
                      <a:lnTo>
                        <a:pt x="618793" y="406109"/>
                      </a:lnTo>
                      <a:lnTo>
                        <a:pt x="617913" y="408840"/>
                      </a:lnTo>
                      <a:lnTo>
                        <a:pt x="618149" y="411488"/>
                      </a:lnTo>
                      <a:lnTo>
                        <a:pt x="618564" y="414161"/>
                      </a:lnTo>
                      <a:lnTo>
                        <a:pt x="619983" y="419980"/>
                      </a:lnTo>
                      <a:lnTo>
                        <a:pt x="619991" y="422107"/>
                      </a:lnTo>
                      <a:lnTo>
                        <a:pt x="619714" y="424014"/>
                      </a:lnTo>
                      <a:lnTo>
                        <a:pt x="618980" y="424805"/>
                      </a:lnTo>
                      <a:lnTo>
                        <a:pt x="617717" y="424674"/>
                      </a:lnTo>
                      <a:lnTo>
                        <a:pt x="617032" y="425457"/>
                      </a:lnTo>
                      <a:lnTo>
                        <a:pt x="616503" y="426655"/>
                      </a:lnTo>
                      <a:lnTo>
                        <a:pt x="615084" y="431064"/>
                      </a:lnTo>
                      <a:lnTo>
                        <a:pt x="613716" y="431528"/>
                      </a:lnTo>
                      <a:lnTo>
                        <a:pt x="612355" y="430860"/>
                      </a:lnTo>
                      <a:lnTo>
                        <a:pt x="610293" y="427926"/>
                      </a:lnTo>
                      <a:lnTo>
                        <a:pt x="609037" y="427062"/>
                      </a:lnTo>
                      <a:lnTo>
                        <a:pt x="608247" y="427111"/>
                      </a:lnTo>
                      <a:lnTo>
                        <a:pt x="607897" y="427885"/>
                      </a:lnTo>
                      <a:lnTo>
                        <a:pt x="607334" y="429654"/>
                      </a:lnTo>
                      <a:lnTo>
                        <a:pt x="606796" y="430828"/>
                      </a:lnTo>
                      <a:lnTo>
                        <a:pt x="605419" y="431862"/>
                      </a:lnTo>
                      <a:lnTo>
                        <a:pt x="605077" y="429686"/>
                      </a:lnTo>
                      <a:lnTo>
                        <a:pt x="604343" y="418424"/>
                      </a:lnTo>
                      <a:lnTo>
                        <a:pt x="603798" y="414838"/>
                      </a:lnTo>
                      <a:lnTo>
                        <a:pt x="603349" y="409866"/>
                      </a:lnTo>
                      <a:lnTo>
                        <a:pt x="602681" y="408334"/>
                      </a:lnTo>
                      <a:lnTo>
                        <a:pt x="601841" y="405612"/>
                      </a:lnTo>
                      <a:lnTo>
                        <a:pt x="600904" y="403265"/>
                      </a:lnTo>
                      <a:lnTo>
                        <a:pt x="600130" y="402271"/>
                      </a:lnTo>
                      <a:lnTo>
                        <a:pt x="599617" y="397878"/>
                      </a:lnTo>
                      <a:lnTo>
                        <a:pt x="599437" y="392491"/>
                      </a:lnTo>
                      <a:lnTo>
                        <a:pt x="599446" y="389957"/>
                      </a:lnTo>
                      <a:lnTo>
                        <a:pt x="598345" y="384684"/>
                      </a:lnTo>
                      <a:lnTo>
                        <a:pt x="597261" y="378718"/>
                      </a:lnTo>
                      <a:lnTo>
                        <a:pt x="595802" y="378971"/>
                      </a:lnTo>
                      <a:lnTo>
                        <a:pt x="594938" y="377528"/>
                      </a:lnTo>
                      <a:lnTo>
                        <a:pt x="594303" y="377553"/>
                      </a:lnTo>
                      <a:lnTo>
                        <a:pt x="592257" y="378906"/>
                      </a:lnTo>
                      <a:lnTo>
                        <a:pt x="590627" y="378457"/>
                      </a:lnTo>
                      <a:lnTo>
                        <a:pt x="589413" y="378645"/>
                      </a:lnTo>
                      <a:lnTo>
                        <a:pt x="589413" y="381391"/>
                      </a:lnTo>
                      <a:lnTo>
                        <a:pt x="589633" y="384309"/>
                      </a:lnTo>
                      <a:lnTo>
                        <a:pt x="589152" y="385360"/>
                      </a:lnTo>
                      <a:lnTo>
                        <a:pt x="585950" y="388799"/>
                      </a:lnTo>
                      <a:lnTo>
                        <a:pt x="585061" y="391098"/>
                      </a:lnTo>
                      <a:lnTo>
                        <a:pt x="585159" y="393510"/>
                      </a:lnTo>
                      <a:lnTo>
                        <a:pt x="585558" y="396745"/>
                      </a:lnTo>
                      <a:lnTo>
                        <a:pt x="584980" y="398392"/>
                      </a:lnTo>
                      <a:lnTo>
                        <a:pt x="583594" y="399907"/>
                      </a:lnTo>
                      <a:lnTo>
                        <a:pt x="581728" y="400690"/>
                      </a:lnTo>
                      <a:lnTo>
                        <a:pt x="580082" y="400323"/>
                      </a:lnTo>
                      <a:lnTo>
                        <a:pt x="579030" y="399011"/>
                      </a:lnTo>
                      <a:lnTo>
                        <a:pt x="578044" y="395653"/>
                      </a:lnTo>
                      <a:lnTo>
                        <a:pt x="577180" y="393828"/>
                      </a:lnTo>
                      <a:lnTo>
                        <a:pt x="576259" y="393387"/>
                      </a:lnTo>
                      <a:lnTo>
                        <a:pt x="575558" y="393885"/>
                      </a:lnTo>
                      <a:lnTo>
                        <a:pt x="575453" y="395987"/>
                      </a:lnTo>
                      <a:lnTo>
                        <a:pt x="575501" y="397740"/>
                      </a:lnTo>
                      <a:lnTo>
                        <a:pt x="575273" y="397927"/>
                      </a:lnTo>
                      <a:lnTo>
                        <a:pt x="574752" y="397658"/>
                      </a:lnTo>
                      <a:lnTo>
                        <a:pt x="574173" y="396802"/>
                      </a:lnTo>
                      <a:lnTo>
                        <a:pt x="572649" y="388400"/>
                      </a:lnTo>
                      <a:lnTo>
                        <a:pt x="570465" y="381921"/>
                      </a:lnTo>
                      <a:lnTo>
                        <a:pt x="570335" y="379435"/>
                      </a:lnTo>
                      <a:lnTo>
                        <a:pt x="571125" y="376241"/>
                      </a:lnTo>
                      <a:lnTo>
                        <a:pt x="572111" y="371318"/>
                      </a:lnTo>
                      <a:lnTo>
                        <a:pt x="574711" y="368229"/>
                      </a:lnTo>
                      <a:lnTo>
                        <a:pt x="575045" y="366925"/>
                      </a:lnTo>
                      <a:lnTo>
                        <a:pt x="575460" y="365899"/>
                      </a:lnTo>
                      <a:lnTo>
                        <a:pt x="576088" y="365687"/>
                      </a:lnTo>
                      <a:lnTo>
                        <a:pt x="579405" y="365980"/>
                      </a:lnTo>
                      <a:lnTo>
                        <a:pt x="580522" y="365483"/>
                      </a:lnTo>
                      <a:lnTo>
                        <a:pt x="581508" y="364040"/>
                      </a:lnTo>
                      <a:lnTo>
                        <a:pt x="582942" y="362867"/>
                      </a:lnTo>
                      <a:lnTo>
                        <a:pt x="584376" y="362402"/>
                      </a:lnTo>
                      <a:lnTo>
                        <a:pt x="585517" y="362231"/>
                      </a:lnTo>
                      <a:lnTo>
                        <a:pt x="587335" y="363340"/>
                      </a:lnTo>
                      <a:lnTo>
                        <a:pt x="588109" y="362712"/>
                      </a:lnTo>
                      <a:lnTo>
                        <a:pt x="588647" y="360666"/>
                      </a:lnTo>
                      <a:lnTo>
                        <a:pt x="589454" y="358637"/>
                      </a:lnTo>
                      <a:lnTo>
                        <a:pt x="589959" y="357651"/>
                      </a:lnTo>
                      <a:lnTo>
                        <a:pt x="591181" y="357211"/>
                      </a:lnTo>
                      <a:lnTo>
                        <a:pt x="592754" y="357105"/>
                      </a:lnTo>
                      <a:lnTo>
                        <a:pt x="593260" y="356730"/>
                      </a:lnTo>
                      <a:lnTo>
                        <a:pt x="593691" y="356046"/>
                      </a:lnTo>
                      <a:lnTo>
                        <a:pt x="594074" y="353356"/>
                      </a:lnTo>
                      <a:lnTo>
                        <a:pt x="596080" y="347342"/>
                      </a:lnTo>
                      <a:lnTo>
                        <a:pt x="596780" y="344660"/>
                      </a:lnTo>
                      <a:lnTo>
                        <a:pt x="596878" y="344188"/>
                      </a:lnTo>
                      <a:lnTo>
                        <a:pt x="596821" y="341197"/>
                      </a:lnTo>
                      <a:lnTo>
                        <a:pt x="597400" y="340765"/>
                      </a:lnTo>
                      <a:lnTo>
                        <a:pt x="600709" y="342224"/>
                      </a:lnTo>
                      <a:lnTo>
                        <a:pt x="602159" y="342207"/>
                      </a:lnTo>
                      <a:lnTo>
                        <a:pt x="602941" y="341596"/>
                      </a:lnTo>
                      <a:lnTo>
                        <a:pt x="603203" y="340512"/>
                      </a:lnTo>
                      <a:lnTo>
                        <a:pt x="602779" y="339224"/>
                      </a:lnTo>
                      <a:lnTo>
                        <a:pt x="600424" y="336991"/>
                      </a:lnTo>
                      <a:lnTo>
                        <a:pt x="596234" y="333984"/>
                      </a:lnTo>
                      <a:lnTo>
                        <a:pt x="592388" y="332151"/>
                      </a:lnTo>
                      <a:lnTo>
                        <a:pt x="585297" y="332428"/>
                      </a:lnTo>
                      <a:lnTo>
                        <a:pt x="578256" y="333006"/>
                      </a:lnTo>
                      <a:lnTo>
                        <a:pt x="576202" y="332713"/>
                      </a:lnTo>
                      <a:lnTo>
                        <a:pt x="573635" y="331881"/>
                      </a:lnTo>
                      <a:lnTo>
                        <a:pt x="567295" y="332004"/>
                      </a:lnTo>
                      <a:lnTo>
                        <a:pt x="559666" y="332468"/>
                      </a:lnTo>
                      <a:lnTo>
                        <a:pt x="556757" y="332208"/>
                      </a:lnTo>
                      <a:lnTo>
                        <a:pt x="555331" y="332232"/>
                      </a:lnTo>
                      <a:lnTo>
                        <a:pt x="552446" y="332517"/>
                      </a:lnTo>
                      <a:lnTo>
                        <a:pt x="547768" y="331662"/>
                      </a:lnTo>
                      <a:lnTo>
                        <a:pt x="544516" y="330553"/>
                      </a:lnTo>
                      <a:lnTo>
                        <a:pt x="541656" y="329355"/>
                      </a:lnTo>
                      <a:lnTo>
                        <a:pt x="538241" y="328263"/>
                      </a:lnTo>
                      <a:lnTo>
                        <a:pt x="537418" y="328271"/>
                      </a:lnTo>
                      <a:lnTo>
                        <a:pt x="536945" y="327872"/>
                      </a:lnTo>
                      <a:lnTo>
                        <a:pt x="536619" y="326910"/>
                      </a:lnTo>
                      <a:lnTo>
                        <a:pt x="536505" y="325655"/>
                      </a:lnTo>
                      <a:lnTo>
                        <a:pt x="537214" y="319861"/>
                      </a:lnTo>
                      <a:lnTo>
                        <a:pt x="536587" y="311059"/>
                      </a:lnTo>
                      <a:lnTo>
                        <a:pt x="537165" y="307848"/>
                      </a:lnTo>
                      <a:lnTo>
                        <a:pt x="534353" y="300595"/>
                      </a:lnTo>
                      <a:lnTo>
                        <a:pt x="533392" y="299250"/>
                      </a:lnTo>
                      <a:lnTo>
                        <a:pt x="532104" y="299201"/>
                      </a:lnTo>
                      <a:lnTo>
                        <a:pt x="531281" y="300130"/>
                      </a:lnTo>
                      <a:lnTo>
                        <a:pt x="530955" y="301825"/>
                      </a:lnTo>
                      <a:lnTo>
                        <a:pt x="531419" y="303716"/>
                      </a:lnTo>
                      <a:lnTo>
                        <a:pt x="530393" y="305835"/>
                      </a:lnTo>
                      <a:lnTo>
                        <a:pt x="528331" y="306520"/>
                      </a:lnTo>
                      <a:lnTo>
                        <a:pt x="525926" y="305811"/>
                      </a:lnTo>
                      <a:lnTo>
                        <a:pt x="523930" y="304816"/>
                      </a:lnTo>
                      <a:lnTo>
                        <a:pt x="521379" y="302657"/>
                      </a:lnTo>
                      <a:lnTo>
                        <a:pt x="519431" y="299617"/>
                      </a:lnTo>
                      <a:lnTo>
                        <a:pt x="519284" y="296267"/>
                      </a:lnTo>
                      <a:lnTo>
                        <a:pt x="518404" y="294108"/>
                      </a:lnTo>
                      <a:lnTo>
                        <a:pt x="517215" y="293048"/>
                      </a:lnTo>
                      <a:lnTo>
                        <a:pt x="516343" y="292763"/>
                      </a:lnTo>
                      <a:lnTo>
                        <a:pt x="515560" y="292999"/>
                      </a:lnTo>
                      <a:lnTo>
                        <a:pt x="514867" y="294165"/>
                      </a:lnTo>
                      <a:lnTo>
                        <a:pt x="515471" y="295330"/>
                      </a:lnTo>
                      <a:lnTo>
                        <a:pt x="516302" y="296976"/>
                      </a:lnTo>
                      <a:lnTo>
                        <a:pt x="516016" y="298093"/>
                      </a:lnTo>
                      <a:lnTo>
                        <a:pt x="515283" y="298264"/>
                      </a:lnTo>
                      <a:lnTo>
                        <a:pt x="514191" y="297783"/>
                      </a:lnTo>
                      <a:lnTo>
                        <a:pt x="512488" y="298052"/>
                      </a:lnTo>
                      <a:lnTo>
                        <a:pt x="510858" y="297188"/>
                      </a:lnTo>
                      <a:lnTo>
                        <a:pt x="509855" y="297107"/>
                      </a:lnTo>
                      <a:lnTo>
                        <a:pt x="508885" y="296797"/>
                      </a:lnTo>
                      <a:lnTo>
                        <a:pt x="508837" y="294865"/>
                      </a:lnTo>
                      <a:lnTo>
                        <a:pt x="507329" y="292412"/>
                      </a:lnTo>
                      <a:lnTo>
                        <a:pt x="504794" y="289658"/>
                      </a:lnTo>
                      <a:lnTo>
                        <a:pt x="502325" y="287955"/>
                      </a:lnTo>
                      <a:lnTo>
                        <a:pt x="501127" y="288191"/>
                      </a:lnTo>
                      <a:lnTo>
                        <a:pt x="500524" y="290074"/>
                      </a:lnTo>
                      <a:lnTo>
                        <a:pt x="500670" y="290766"/>
                      </a:lnTo>
                      <a:lnTo>
                        <a:pt x="501526" y="291125"/>
                      </a:lnTo>
                      <a:lnTo>
                        <a:pt x="502789" y="292209"/>
                      </a:lnTo>
                      <a:lnTo>
                        <a:pt x="503058" y="293350"/>
                      </a:lnTo>
                      <a:lnTo>
                        <a:pt x="502871" y="294344"/>
                      </a:lnTo>
                      <a:lnTo>
                        <a:pt x="501322" y="296161"/>
                      </a:lnTo>
                      <a:lnTo>
                        <a:pt x="500239" y="297881"/>
                      </a:lnTo>
                      <a:lnTo>
                        <a:pt x="497785" y="300383"/>
                      </a:lnTo>
                      <a:lnTo>
                        <a:pt x="495683" y="303251"/>
                      </a:lnTo>
                      <a:lnTo>
                        <a:pt x="495153" y="305427"/>
                      </a:lnTo>
                      <a:lnTo>
                        <a:pt x="494363" y="307384"/>
                      </a:lnTo>
                      <a:lnTo>
                        <a:pt x="494045" y="309519"/>
                      </a:lnTo>
                      <a:lnTo>
                        <a:pt x="494591" y="311010"/>
                      </a:lnTo>
                      <a:lnTo>
                        <a:pt x="495602" y="311947"/>
                      </a:lnTo>
                      <a:lnTo>
                        <a:pt x="498226" y="312624"/>
                      </a:lnTo>
                      <a:lnTo>
                        <a:pt x="500964" y="315509"/>
                      </a:lnTo>
                      <a:lnTo>
                        <a:pt x="503164" y="319404"/>
                      </a:lnTo>
                      <a:lnTo>
                        <a:pt x="504419" y="320586"/>
                      </a:lnTo>
                      <a:lnTo>
                        <a:pt x="506669" y="321898"/>
                      </a:lnTo>
                      <a:lnTo>
                        <a:pt x="511029" y="322045"/>
                      </a:lnTo>
                      <a:lnTo>
                        <a:pt x="511681" y="323129"/>
                      </a:lnTo>
                      <a:lnTo>
                        <a:pt x="512292" y="325989"/>
                      </a:lnTo>
                      <a:lnTo>
                        <a:pt x="513156" y="326992"/>
                      </a:lnTo>
                      <a:lnTo>
                        <a:pt x="515356" y="328328"/>
                      </a:lnTo>
                      <a:lnTo>
                        <a:pt x="515560" y="329331"/>
                      </a:lnTo>
                      <a:lnTo>
                        <a:pt x="515014" y="330472"/>
                      </a:lnTo>
                      <a:lnTo>
                        <a:pt x="514028" y="331368"/>
                      </a:lnTo>
                      <a:lnTo>
                        <a:pt x="512227" y="331939"/>
                      </a:lnTo>
                      <a:lnTo>
                        <a:pt x="510491" y="332167"/>
                      </a:lnTo>
                      <a:lnTo>
                        <a:pt x="508755" y="331808"/>
                      </a:lnTo>
                      <a:lnTo>
                        <a:pt x="506180" y="331564"/>
                      </a:lnTo>
                      <a:lnTo>
                        <a:pt x="503270" y="331547"/>
                      </a:lnTo>
                      <a:lnTo>
                        <a:pt x="501200" y="338678"/>
                      </a:lnTo>
                      <a:lnTo>
                        <a:pt x="499717" y="341188"/>
                      </a:lnTo>
                      <a:lnTo>
                        <a:pt x="498886" y="341181"/>
                      </a:lnTo>
                      <a:lnTo>
                        <a:pt x="496636" y="339966"/>
                      </a:lnTo>
                      <a:lnTo>
                        <a:pt x="495667" y="340154"/>
                      </a:lnTo>
                      <a:lnTo>
                        <a:pt x="493067" y="346478"/>
                      </a:lnTo>
                      <a:lnTo>
                        <a:pt x="492708" y="348010"/>
                      </a:lnTo>
                      <a:lnTo>
                        <a:pt x="492537" y="349159"/>
                      </a:lnTo>
                      <a:lnTo>
                        <a:pt x="493906" y="351596"/>
                      </a:lnTo>
                      <a:lnTo>
                        <a:pt x="495561" y="353609"/>
                      </a:lnTo>
                      <a:lnTo>
                        <a:pt x="497525" y="354399"/>
                      </a:lnTo>
                      <a:lnTo>
                        <a:pt x="499065" y="353796"/>
                      </a:lnTo>
                      <a:lnTo>
                        <a:pt x="500320" y="354611"/>
                      </a:lnTo>
                      <a:lnTo>
                        <a:pt x="501795" y="356632"/>
                      </a:lnTo>
                      <a:lnTo>
                        <a:pt x="504313" y="357969"/>
                      </a:lnTo>
                      <a:lnTo>
                        <a:pt x="507883" y="358613"/>
                      </a:lnTo>
                      <a:lnTo>
                        <a:pt x="509896" y="360218"/>
                      </a:lnTo>
                      <a:lnTo>
                        <a:pt x="510149" y="361596"/>
                      </a:lnTo>
                      <a:lnTo>
                        <a:pt x="509970" y="362997"/>
                      </a:lnTo>
                      <a:lnTo>
                        <a:pt x="509652" y="366640"/>
                      </a:lnTo>
                      <a:lnTo>
                        <a:pt x="509309" y="368743"/>
                      </a:lnTo>
                      <a:lnTo>
                        <a:pt x="507394" y="374260"/>
                      </a:lnTo>
                      <a:lnTo>
                        <a:pt x="506025" y="379003"/>
                      </a:lnTo>
                      <a:lnTo>
                        <a:pt x="506734" y="381261"/>
                      </a:lnTo>
                      <a:lnTo>
                        <a:pt x="507239" y="382182"/>
                      </a:lnTo>
                      <a:lnTo>
                        <a:pt x="507720" y="382891"/>
                      </a:lnTo>
                      <a:lnTo>
                        <a:pt x="509244" y="384675"/>
                      </a:lnTo>
                      <a:lnTo>
                        <a:pt x="510320" y="386436"/>
                      </a:lnTo>
                      <a:lnTo>
                        <a:pt x="509407" y="390927"/>
                      </a:lnTo>
                      <a:lnTo>
                        <a:pt x="509912" y="392108"/>
                      </a:lnTo>
                      <a:lnTo>
                        <a:pt x="511974" y="392891"/>
                      </a:lnTo>
                      <a:lnTo>
                        <a:pt x="514207" y="393502"/>
                      </a:lnTo>
                      <a:lnTo>
                        <a:pt x="514965" y="394235"/>
                      </a:lnTo>
                      <a:lnTo>
                        <a:pt x="513050" y="398791"/>
                      </a:lnTo>
                      <a:lnTo>
                        <a:pt x="513450" y="401969"/>
                      </a:lnTo>
                      <a:lnTo>
                        <a:pt x="514264" y="404936"/>
                      </a:lnTo>
                      <a:lnTo>
                        <a:pt x="514859" y="409793"/>
                      </a:lnTo>
                      <a:lnTo>
                        <a:pt x="514941" y="410306"/>
                      </a:lnTo>
                      <a:lnTo>
                        <a:pt x="514786" y="411521"/>
                      </a:lnTo>
                      <a:lnTo>
                        <a:pt x="516041" y="415294"/>
                      </a:lnTo>
                      <a:lnTo>
                        <a:pt x="517997" y="422645"/>
                      </a:lnTo>
                      <a:lnTo>
                        <a:pt x="518135" y="425392"/>
                      </a:lnTo>
                      <a:lnTo>
                        <a:pt x="518021" y="428293"/>
                      </a:lnTo>
                      <a:lnTo>
                        <a:pt x="517451" y="433134"/>
                      </a:lnTo>
                      <a:lnTo>
                        <a:pt x="515503" y="433109"/>
                      </a:lnTo>
                      <a:lnTo>
                        <a:pt x="517239" y="436345"/>
                      </a:lnTo>
                      <a:lnTo>
                        <a:pt x="517793" y="438676"/>
                      </a:lnTo>
                      <a:lnTo>
                        <a:pt x="518029" y="441919"/>
                      </a:lnTo>
                      <a:lnTo>
                        <a:pt x="515943" y="442327"/>
                      </a:lnTo>
                      <a:lnTo>
                        <a:pt x="514460" y="441952"/>
                      </a:lnTo>
                      <a:lnTo>
                        <a:pt x="513221" y="439108"/>
                      </a:lnTo>
                      <a:lnTo>
                        <a:pt x="512643" y="441699"/>
                      </a:lnTo>
                      <a:lnTo>
                        <a:pt x="510434" y="444087"/>
                      </a:lnTo>
                      <a:lnTo>
                        <a:pt x="509627" y="442922"/>
                      </a:lnTo>
                      <a:lnTo>
                        <a:pt x="509179" y="441667"/>
                      </a:lnTo>
                      <a:lnTo>
                        <a:pt x="509097" y="439458"/>
                      </a:lnTo>
                      <a:lnTo>
                        <a:pt x="510303" y="431015"/>
                      </a:lnTo>
                      <a:lnTo>
                        <a:pt x="510067" y="430061"/>
                      </a:lnTo>
                      <a:lnTo>
                        <a:pt x="509513" y="429434"/>
                      </a:lnTo>
                      <a:lnTo>
                        <a:pt x="508307" y="429100"/>
                      </a:lnTo>
                      <a:lnTo>
                        <a:pt x="507867" y="427396"/>
                      </a:lnTo>
                      <a:lnTo>
                        <a:pt x="506009" y="436394"/>
                      </a:lnTo>
                      <a:lnTo>
                        <a:pt x="506823" y="440069"/>
                      </a:lnTo>
                      <a:lnTo>
                        <a:pt x="506449" y="441748"/>
                      </a:lnTo>
                      <a:lnTo>
                        <a:pt x="503018" y="443158"/>
                      </a:lnTo>
                      <a:lnTo>
                        <a:pt x="499530" y="439776"/>
                      </a:lnTo>
                      <a:lnTo>
                        <a:pt x="499082" y="438692"/>
                      </a:lnTo>
                      <a:lnTo>
                        <a:pt x="498878" y="440591"/>
                      </a:lnTo>
                      <a:lnTo>
                        <a:pt x="498242" y="442914"/>
                      </a:lnTo>
                      <a:lnTo>
                        <a:pt x="494974" y="442490"/>
                      </a:lnTo>
                      <a:lnTo>
                        <a:pt x="493360" y="440680"/>
                      </a:lnTo>
                      <a:lnTo>
                        <a:pt x="494420" y="437592"/>
                      </a:lnTo>
                      <a:lnTo>
                        <a:pt x="496441" y="430159"/>
                      </a:lnTo>
                      <a:lnTo>
                        <a:pt x="496824" y="426842"/>
                      </a:lnTo>
                      <a:lnTo>
                        <a:pt x="494110" y="424414"/>
                      </a:lnTo>
                      <a:lnTo>
                        <a:pt x="491812" y="422930"/>
                      </a:lnTo>
                      <a:lnTo>
                        <a:pt x="490500" y="419540"/>
                      </a:lnTo>
                      <a:lnTo>
                        <a:pt x="490997" y="423256"/>
                      </a:lnTo>
                      <a:lnTo>
                        <a:pt x="492211" y="424577"/>
                      </a:lnTo>
                      <a:lnTo>
                        <a:pt x="494012" y="425506"/>
                      </a:lnTo>
                      <a:lnTo>
                        <a:pt x="495903" y="427396"/>
                      </a:lnTo>
                      <a:lnTo>
                        <a:pt x="494526" y="429711"/>
                      </a:lnTo>
                      <a:lnTo>
                        <a:pt x="493214" y="431153"/>
                      </a:lnTo>
                      <a:lnTo>
                        <a:pt x="490671" y="436606"/>
                      </a:lnTo>
                      <a:lnTo>
                        <a:pt x="487582" y="439654"/>
                      </a:lnTo>
                      <a:lnTo>
                        <a:pt x="483972" y="441944"/>
                      </a:lnTo>
                      <a:lnTo>
                        <a:pt x="472130" y="445309"/>
                      </a:lnTo>
                      <a:lnTo>
                        <a:pt x="469645" y="446679"/>
                      </a:lnTo>
                      <a:lnTo>
                        <a:pt x="466010" y="450884"/>
                      </a:lnTo>
                      <a:lnTo>
                        <a:pt x="463663" y="454861"/>
                      </a:lnTo>
                      <a:lnTo>
                        <a:pt x="463239" y="458903"/>
                      </a:lnTo>
                      <a:lnTo>
                        <a:pt x="464567" y="463272"/>
                      </a:lnTo>
                      <a:lnTo>
                        <a:pt x="465643" y="470093"/>
                      </a:lnTo>
                      <a:lnTo>
                        <a:pt x="466539" y="471486"/>
                      </a:lnTo>
                      <a:lnTo>
                        <a:pt x="465276" y="473972"/>
                      </a:lnTo>
                      <a:lnTo>
                        <a:pt x="463076" y="476613"/>
                      </a:lnTo>
                      <a:lnTo>
                        <a:pt x="461267" y="480174"/>
                      </a:lnTo>
                      <a:lnTo>
                        <a:pt x="461429" y="482122"/>
                      </a:lnTo>
                      <a:lnTo>
                        <a:pt x="460949" y="483442"/>
                      </a:lnTo>
                      <a:lnTo>
                        <a:pt x="454714" y="487818"/>
                      </a:lnTo>
                      <a:lnTo>
                        <a:pt x="453410" y="490377"/>
                      </a:lnTo>
                      <a:lnTo>
                        <a:pt x="451691" y="492912"/>
                      </a:lnTo>
                      <a:lnTo>
                        <a:pt x="449629" y="491462"/>
                      </a:lnTo>
                      <a:lnTo>
                        <a:pt x="448423" y="491478"/>
                      </a:lnTo>
                      <a:lnTo>
                        <a:pt x="450085" y="493499"/>
                      </a:lnTo>
                      <a:lnTo>
                        <a:pt x="449857" y="494827"/>
                      </a:lnTo>
                      <a:lnTo>
                        <a:pt x="449278" y="495602"/>
                      </a:lnTo>
                      <a:lnTo>
                        <a:pt x="447714" y="496335"/>
                      </a:lnTo>
                      <a:lnTo>
                        <a:pt x="438700" y="499546"/>
                      </a:lnTo>
                      <a:lnTo>
                        <a:pt x="431806" y="502594"/>
                      </a:lnTo>
                      <a:lnTo>
                        <a:pt x="429866" y="502472"/>
                      </a:lnTo>
                      <a:lnTo>
                        <a:pt x="430224" y="501543"/>
                      </a:lnTo>
                      <a:lnTo>
                        <a:pt x="431423" y="500720"/>
                      </a:lnTo>
                      <a:lnTo>
                        <a:pt x="431308" y="497231"/>
                      </a:lnTo>
                      <a:lnTo>
                        <a:pt x="430045" y="496580"/>
                      </a:lnTo>
                      <a:lnTo>
                        <a:pt x="428953" y="496335"/>
                      </a:lnTo>
                      <a:lnTo>
                        <a:pt x="423712" y="500597"/>
                      </a:lnTo>
                      <a:lnTo>
                        <a:pt x="421578" y="504811"/>
                      </a:lnTo>
                      <a:lnTo>
                        <a:pt x="422026" y="505618"/>
                      </a:lnTo>
                      <a:lnTo>
                        <a:pt x="423216" y="505422"/>
                      </a:lnTo>
                      <a:lnTo>
                        <a:pt x="426736" y="503026"/>
                      </a:lnTo>
                      <a:lnTo>
                        <a:pt x="428374" y="503702"/>
                      </a:lnTo>
                      <a:lnTo>
                        <a:pt x="428497" y="504639"/>
                      </a:lnTo>
                      <a:lnTo>
                        <a:pt x="423142" y="508283"/>
                      </a:lnTo>
                      <a:lnTo>
                        <a:pt x="411863" y="520083"/>
                      </a:lnTo>
                      <a:lnTo>
                        <a:pt x="411341" y="522398"/>
                      </a:lnTo>
                      <a:lnTo>
                        <a:pt x="409874" y="525030"/>
                      </a:lnTo>
                      <a:lnTo>
                        <a:pt x="407861" y="527500"/>
                      </a:lnTo>
                      <a:lnTo>
                        <a:pt x="404227" y="533490"/>
                      </a:lnTo>
                      <a:lnTo>
                        <a:pt x="397242" y="542373"/>
                      </a:lnTo>
                      <a:lnTo>
                        <a:pt x="395327" y="545690"/>
                      </a:lnTo>
                      <a:lnTo>
                        <a:pt x="384170" y="552527"/>
                      </a:lnTo>
                      <a:lnTo>
                        <a:pt x="382133" y="554565"/>
                      </a:lnTo>
                      <a:lnTo>
                        <a:pt x="377561" y="561223"/>
                      </a:lnTo>
                      <a:lnTo>
                        <a:pt x="372858" y="566675"/>
                      </a:lnTo>
                      <a:lnTo>
                        <a:pt x="367357" y="571182"/>
                      </a:lnTo>
                      <a:lnTo>
                        <a:pt x="357847" y="576936"/>
                      </a:lnTo>
                      <a:lnTo>
                        <a:pt x="352052" y="582380"/>
                      </a:lnTo>
                      <a:lnTo>
                        <a:pt x="350243" y="585998"/>
                      </a:lnTo>
                      <a:lnTo>
                        <a:pt x="350137" y="587278"/>
                      </a:lnTo>
                      <a:lnTo>
                        <a:pt x="350756" y="589038"/>
                      </a:lnTo>
                      <a:lnTo>
                        <a:pt x="351816" y="590668"/>
                      </a:lnTo>
                      <a:lnTo>
                        <a:pt x="352060" y="591964"/>
                      </a:lnTo>
                      <a:lnTo>
                        <a:pt x="351539" y="594303"/>
                      </a:lnTo>
                      <a:lnTo>
                        <a:pt x="351262" y="595591"/>
                      </a:lnTo>
                      <a:lnTo>
                        <a:pt x="349558" y="598785"/>
                      </a:lnTo>
                      <a:lnTo>
                        <a:pt x="346649" y="601067"/>
                      </a:lnTo>
                      <a:lnTo>
                        <a:pt x="337236" y="605827"/>
                      </a:lnTo>
                      <a:lnTo>
                        <a:pt x="335989" y="605680"/>
                      </a:lnTo>
                      <a:lnTo>
                        <a:pt x="328295" y="604735"/>
                      </a:lnTo>
                      <a:lnTo>
                        <a:pt x="325435" y="605590"/>
                      </a:lnTo>
                      <a:lnTo>
                        <a:pt x="324253" y="607832"/>
                      </a:lnTo>
                      <a:lnTo>
                        <a:pt x="321613" y="617057"/>
                      </a:lnTo>
                      <a:lnTo>
                        <a:pt x="319078" y="619510"/>
                      </a:lnTo>
                      <a:lnTo>
                        <a:pt x="318174" y="621735"/>
                      </a:lnTo>
                      <a:lnTo>
                        <a:pt x="317807" y="623259"/>
                      </a:lnTo>
                      <a:lnTo>
                        <a:pt x="316291" y="623226"/>
                      </a:lnTo>
                      <a:lnTo>
                        <a:pt x="314979" y="622542"/>
                      </a:lnTo>
                      <a:lnTo>
                        <a:pt x="314017" y="623039"/>
                      </a:lnTo>
                      <a:lnTo>
                        <a:pt x="312925" y="619942"/>
                      </a:lnTo>
                      <a:lnTo>
                        <a:pt x="311092" y="619306"/>
                      </a:lnTo>
                      <a:lnTo>
                        <a:pt x="309567" y="619103"/>
                      </a:lnTo>
                      <a:lnTo>
                        <a:pt x="303072" y="622216"/>
                      </a:lnTo>
                      <a:lnTo>
                        <a:pt x="300815" y="624726"/>
                      </a:lnTo>
                      <a:lnTo>
                        <a:pt x="296039" y="636527"/>
                      </a:lnTo>
                      <a:lnTo>
                        <a:pt x="294865" y="644122"/>
                      </a:lnTo>
                      <a:lnTo>
                        <a:pt x="295973" y="652525"/>
                      </a:lnTo>
                      <a:lnTo>
                        <a:pt x="297636" y="659232"/>
                      </a:lnTo>
                      <a:lnTo>
                        <a:pt x="297962" y="662272"/>
                      </a:lnTo>
                      <a:lnTo>
                        <a:pt x="297750" y="666184"/>
                      </a:lnTo>
                      <a:lnTo>
                        <a:pt x="296911" y="668099"/>
                      </a:lnTo>
                      <a:lnTo>
                        <a:pt x="296300" y="670356"/>
                      </a:lnTo>
                      <a:lnTo>
                        <a:pt x="297090" y="675018"/>
                      </a:lnTo>
                      <a:lnTo>
                        <a:pt x="299095" y="681122"/>
                      </a:lnTo>
                      <a:lnTo>
                        <a:pt x="299584" y="683697"/>
                      </a:lnTo>
                      <a:lnTo>
                        <a:pt x="299633" y="686354"/>
                      </a:lnTo>
                      <a:lnTo>
                        <a:pt x="301133" y="692450"/>
                      </a:lnTo>
                      <a:lnTo>
                        <a:pt x="300122" y="691350"/>
                      </a:lnTo>
                      <a:lnTo>
                        <a:pt x="299323" y="688783"/>
                      </a:lnTo>
                      <a:lnTo>
                        <a:pt x="297408" y="685507"/>
                      </a:lnTo>
                      <a:lnTo>
                        <a:pt x="295077" y="688767"/>
                      </a:lnTo>
                      <a:lnTo>
                        <a:pt x="296373" y="691130"/>
                      </a:lnTo>
                      <a:lnTo>
                        <a:pt x="300725" y="693917"/>
                      </a:lnTo>
                      <a:lnTo>
                        <a:pt x="302021" y="696207"/>
                      </a:lnTo>
                      <a:lnTo>
                        <a:pt x="299217" y="716557"/>
                      </a:lnTo>
                      <a:lnTo>
                        <a:pt x="297074" y="723770"/>
                      </a:lnTo>
                      <a:lnTo>
                        <a:pt x="294458" y="728505"/>
                      </a:lnTo>
                      <a:lnTo>
                        <a:pt x="293080" y="730338"/>
                      </a:lnTo>
                      <a:lnTo>
                        <a:pt x="290016" y="737812"/>
                      </a:lnTo>
                      <a:lnTo>
                        <a:pt x="287865" y="746833"/>
                      </a:lnTo>
                      <a:lnTo>
                        <a:pt x="287433" y="750322"/>
                      </a:lnTo>
                      <a:lnTo>
                        <a:pt x="288411" y="754209"/>
                      </a:lnTo>
                      <a:lnTo>
                        <a:pt x="287310" y="756507"/>
                      </a:lnTo>
                      <a:lnTo>
                        <a:pt x="285925" y="758267"/>
                      </a:lnTo>
                      <a:lnTo>
                        <a:pt x="288541" y="757477"/>
                      </a:lnTo>
                      <a:lnTo>
                        <a:pt x="289454" y="759580"/>
                      </a:lnTo>
                      <a:lnTo>
                        <a:pt x="289780" y="761755"/>
                      </a:lnTo>
                      <a:lnTo>
                        <a:pt x="289804" y="774689"/>
                      </a:lnTo>
                      <a:lnTo>
                        <a:pt x="289519" y="788169"/>
                      </a:lnTo>
                      <a:lnTo>
                        <a:pt x="287498" y="788715"/>
                      </a:lnTo>
                      <a:lnTo>
                        <a:pt x="285289" y="788861"/>
                      </a:lnTo>
                      <a:lnTo>
                        <a:pt x="283334" y="788478"/>
                      </a:lnTo>
                      <a:lnTo>
                        <a:pt x="281915" y="787957"/>
                      </a:lnTo>
                      <a:lnTo>
                        <a:pt x="278411" y="788666"/>
                      </a:lnTo>
                      <a:lnTo>
                        <a:pt x="276537" y="790149"/>
                      </a:lnTo>
                      <a:lnTo>
                        <a:pt x="275021" y="792627"/>
                      </a:lnTo>
                      <a:lnTo>
                        <a:pt x="275119" y="796840"/>
                      </a:lnTo>
                      <a:lnTo>
                        <a:pt x="268640" y="807451"/>
                      </a:lnTo>
                      <a:lnTo>
                        <a:pt x="267238" y="810996"/>
                      </a:lnTo>
                      <a:lnTo>
                        <a:pt x="266724" y="814403"/>
                      </a:lnTo>
                      <a:lnTo>
                        <a:pt x="267572" y="816179"/>
                      </a:lnTo>
                      <a:lnTo>
                        <a:pt x="269226" y="817997"/>
                      </a:lnTo>
                      <a:lnTo>
                        <a:pt x="271386" y="818738"/>
                      </a:lnTo>
                      <a:lnTo>
                        <a:pt x="275559" y="819472"/>
                      </a:lnTo>
                      <a:lnTo>
                        <a:pt x="277571" y="820450"/>
                      </a:lnTo>
                      <a:lnTo>
                        <a:pt x="278941" y="822251"/>
                      </a:lnTo>
                      <a:lnTo>
                        <a:pt x="274010" y="820336"/>
                      </a:lnTo>
                      <a:lnTo>
                        <a:pt x="268224" y="819961"/>
                      </a:lnTo>
                      <a:lnTo>
                        <a:pt x="254386" y="824883"/>
                      </a:lnTo>
                      <a:lnTo>
                        <a:pt x="250743" y="828339"/>
                      </a:lnTo>
                      <a:lnTo>
                        <a:pt x="248705" y="831338"/>
                      </a:lnTo>
                      <a:lnTo>
                        <a:pt x="247303" y="838184"/>
                      </a:lnTo>
                      <a:lnTo>
                        <a:pt x="247059" y="842764"/>
                      </a:lnTo>
                      <a:lnTo>
                        <a:pt x="245421" y="846578"/>
                      </a:lnTo>
                      <a:lnTo>
                        <a:pt x="238224" y="852438"/>
                      </a:lnTo>
                      <a:lnTo>
                        <a:pt x="233693" y="854239"/>
                      </a:lnTo>
                      <a:lnTo>
                        <a:pt x="231957" y="855795"/>
                      </a:lnTo>
                      <a:lnTo>
                        <a:pt x="226603" y="853774"/>
                      </a:lnTo>
                      <a:lnTo>
                        <a:pt x="220760" y="848648"/>
                      </a:lnTo>
                      <a:lnTo>
                        <a:pt x="218307" y="845893"/>
                      </a:lnTo>
                      <a:lnTo>
                        <a:pt x="209635" y="832650"/>
                      </a:lnTo>
                      <a:lnTo>
                        <a:pt x="208054" y="830979"/>
                      </a:lnTo>
                      <a:lnTo>
                        <a:pt x="206294" y="825315"/>
                      </a:lnTo>
                      <a:lnTo>
                        <a:pt x="206025" y="823205"/>
                      </a:lnTo>
                      <a:lnTo>
                        <a:pt x="205544" y="822357"/>
                      </a:lnTo>
                      <a:lnTo>
                        <a:pt x="204713" y="821786"/>
                      </a:lnTo>
                      <a:lnTo>
                        <a:pt x="204314" y="820914"/>
                      </a:lnTo>
                      <a:lnTo>
                        <a:pt x="202374" y="814419"/>
                      </a:lnTo>
                      <a:lnTo>
                        <a:pt x="201576" y="807655"/>
                      </a:lnTo>
                      <a:lnTo>
                        <a:pt x="200336" y="800100"/>
                      </a:lnTo>
                      <a:lnTo>
                        <a:pt x="201388" y="800622"/>
                      </a:lnTo>
                      <a:lnTo>
                        <a:pt x="202831" y="803107"/>
                      </a:lnTo>
                      <a:lnTo>
                        <a:pt x="203556" y="806734"/>
                      </a:lnTo>
                      <a:lnTo>
                        <a:pt x="203629" y="811770"/>
                      </a:lnTo>
                      <a:lnTo>
                        <a:pt x="204729" y="812365"/>
                      </a:lnTo>
                      <a:lnTo>
                        <a:pt x="205707" y="811885"/>
                      </a:lnTo>
                      <a:lnTo>
                        <a:pt x="202920" y="800247"/>
                      </a:lnTo>
                      <a:lnTo>
                        <a:pt x="200492" y="797362"/>
                      </a:lnTo>
                      <a:lnTo>
                        <a:pt x="199840" y="797174"/>
                      </a:lnTo>
                      <a:lnTo>
                        <a:pt x="199163" y="795300"/>
                      </a:lnTo>
                      <a:lnTo>
                        <a:pt x="199106" y="792961"/>
                      </a:lnTo>
                      <a:lnTo>
                        <a:pt x="199318" y="791844"/>
                      </a:lnTo>
                      <a:lnTo>
                        <a:pt x="197386" y="788038"/>
                      </a:lnTo>
                      <a:lnTo>
                        <a:pt x="196710" y="785765"/>
                      </a:lnTo>
                      <a:lnTo>
                        <a:pt x="192399" y="774233"/>
                      </a:lnTo>
                      <a:lnTo>
                        <a:pt x="190467" y="765969"/>
                      </a:lnTo>
                      <a:lnTo>
                        <a:pt x="187468" y="756776"/>
                      </a:lnTo>
                      <a:lnTo>
                        <a:pt x="185545" y="753549"/>
                      </a:lnTo>
                      <a:lnTo>
                        <a:pt x="182529" y="746450"/>
                      </a:lnTo>
                      <a:lnTo>
                        <a:pt x="180003" y="743150"/>
                      </a:lnTo>
                      <a:lnTo>
                        <a:pt x="177322" y="738724"/>
                      </a:lnTo>
                      <a:lnTo>
                        <a:pt x="175219" y="736760"/>
                      </a:lnTo>
                      <a:lnTo>
                        <a:pt x="174396" y="735725"/>
                      </a:lnTo>
                      <a:lnTo>
                        <a:pt x="168170" y="720363"/>
                      </a:lnTo>
                      <a:lnTo>
                        <a:pt x="166246" y="711879"/>
                      </a:lnTo>
                      <a:lnTo>
                        <a:pt x="164633" y="707869"/>
                      </a:lnTo>
                      <a:lnTo>
                        <a:pt x="163826" y="704822"/>
                      </a:lnTo>
                      <a:lnTo>
                        <a:pt x="161642" y="691782"/>
                      </a:lnTo>
                      <a:lnTo>
                        <a:pt x="161625" y="689451"/>
                      </a:lnTo>
                      <a:lnTo>
                        <a:pt x="161357" y="686908"/>
                      </a:lnTo>
                      <a:lnTo>
                        <a:pt x="159800" y="681375"/>
                      </a:lnTo>
                      <a:lnTo>
                        <a:pt x="157078" y="675401"/>
                      </a:lnTo>
                      <a:lnTo>
                        <a:pt x="156304" y="671676"/>
                      </a:lnTo>
                      <a:lnTo>
                        <a:pt x="156312" y="670226"/>
                      </a:lnTo>
                      <a:lnTo>
                        <a:pt x="154568" y="664423"/>
                      </a:lnTo>
                      <a:lnTo>
                        <a:pt x="154201" y="661766"/>
                      </a:lnTo>
                      <a:lnTo>
                        <a:pt x="153019" y="659313"/>
                      </a:lnTo>
                      <a:lnTo>
                        <a:pt x="151674" y="657056"/>
                      </a:lnTo>
                      <a:lnTo>
                        <a:pt x="150248" y="655255"/>
                      </a:lnTo>
                      <a:lnTo>
                        <a:pt x="146915" y="649363"/>
                      </a:lnTo>
                      <a:lnTo>
                        <a:pt x="145725" y="647928"/>
                      </a:lnTo>
                      <a:lnTo>
                        <a:pt x="143452" y="644114"/>
                      </a:lnTo>
                      <a:lnTo>
                        <a:pt x="141846" y="637048"/>
                      </a:lnTo>
                      <a:lnTo>
                        <a:pt x="139776" y="634294"/>
                      </a:lnTo>
                      <a:lnTo>
                        <a:pt x="143036" y="634294"/>
                      </a:lnTo>
                      <a:lnTo>
                        <a:pt x="141047" y="631686"/>
                      </a:lnTo>
                      <a:lnTo>
                        <a:pt x="140102" y="629974"/>
                      </a:lnTo>
                      <a:lnTo>
                        <a:pt x="139059" y="628923"/>
                      </a:lnTo>
                      <a:lnTo>
                        <a:pt x="140574" y="626291"/>
                      </a:lnTo>
                      <a:lnTo>
                        <a:pt x="138089" y="626364"/>
                      </a:lnTo>
                      <a:lnTo>
                        <a:pt x="136777" y="624775"/>
                      </a:lnTo>
                      <a:lnTo>
                        <a:pt x="134992" y="619828"/>
                      </a:lnTo>
                      <a:lnTo>
                        <a:pt x="131716" y="614237"/>
                      </a:lnTo>
                      <a:lnTo>
                        <a:pt x="131178" y="611246"/>
                      </a:lnTo>
                      <a:lnTo>
                        <a:pt x="128285" y="601841"/>
                      </a:lnTo>
                      <a:lnTo>
                        <a:pt x="125848" y="579250"/>
                      </a:lnTo>
                      <a:lnTo>
                        <a:pt x="123607" y="569169"/>
                      </a:lnTo>
                      <a:lnTo>
                        <a:pt x="123786" y="566268"/>
                      </a:lnTo>
                      <a:lnTo>
                        <a:pt x="121088" y="557540"/>
                      </a:lnTo>
                      <a:lnTo>
                        <a:pt x="119760" y="551680"/>
                      </a:lnTo>
                      <a:lnTo>
                        <a:pt x="119231" y="546717"/>
                      </a:lnTo>
                      <a:lnTo>
                        <a:pt x="118505" y="543449"/>
                      </a:lnTo>
                      <a:lnTo>
                        <a:pt x="117861" y="536978"/>
                      </a:lnTo>
                      <a:lnTo>
                        <a:pt x="116826" y="534932"/>
                      </a:lnTo>
                      <a:lnTo>
                        <a:pt x="116712" y="533693"/>
                      </a:lnTo>
                      <a:lnTo>
                        <a:pt x="117405" y="530743"/>
                      </a:lnTo>
                      <a:lnTo>
                        <a:pt x="119345" y="526179"/>
                      </a:lnTo>
                      <a:lnTo>
                        <a:pt x="120053" y="523294"/>
                      </a:lnTo>
                      <a:lnTo>
                        <a:pt x="119231" y="519219"/>
                      </a:lnTo>
                      <a:lnTo>
                        <a:pt x="117454" y="523498"/>
                      </a:lnTo>
                      <a:lnTo>
                        <a:pt x="115816" y="524696"/>
                      </a:lnTo>
                      <a:lnTo>
                        <a:pt x="115033" y="521501"/>
                      </a:lnTo>
                      <a:lnTo>
                        <a:pt x="115025" y="517207"/>
                      </a:lnTo>
                      <a:lnTo>
                        <a:pt x="114821" y="516180"/>
                      </a:lnTo>
                      <a:lnTo>
                        <a:pt x="115253" y="514737"/>
                      </a:lnTo>
                      <a:lnTo>
                        <a:pt x="119605" y="515405"/>
                      </a:lnTo>
                      <a:lnTo>
                        <a:pt x="114650" y="512765"/>
                      </a:lnTo>
                      <a:lnTo>
                        <a:pt x="114063" y="511216"/>
                      </a:lnTo>
                      <a:lnTo>
                        <a:pt x="113876" y="510067"/>
                      </a:lnTo>
                      <a:lnTo>
                        <a:pt x="114935" y="507932"/>
                      </a:lnTo>
                      <a:lnTo>
                        <a:pt x="113143" y="506131"/>
                      </a:lnTo>
                      <a:lnTo>
                        <a:pt x="112417" y="500614"/>
                      </a:lnTo>
                      <a:lnTo>
                        <a:pt x="111879" y="499350"/>
                      </a:lnTo>
                      <a:lnTo>
                        <a:pt x="111676" y="498340"/>
                      </a:lnTo>
                      <a:lnTo>
                        <a:pt x="112702" y="490712"/>
                      </a:lnTo>
                      <a:lnTo>
                        <a:pt x="116965" y="475716"/>
                      </a:lnTo>
                      <a:lnTo>
                        <a:pt x="117291" y="472326"/>
                      </a:lnTo>
                      <a:lnTo>
                        <a:pt x="116916" y="467509"/>
                      </a:lnTo>
                      <a:lnTo>
                        <a:pt x="115954" y="463671"/>
                      </a:lnTo>
                      <a:lnTo>
                        <a:pt x="115563" y="459612"/>
                      </a:lnTo>
                      <a:lnTo>
                        <a:pt x="115294" y="458569"/>
                      </a:lnTo>
                      <a:lnTo>
                        <a:pt x="113762" y="458194"/>
                      </a:lnTo>
                      <a:lnTo>
                        <a:pt x="112287" y="456695"/>
                      </a:lnTo>
                      <a:lnTo>
                        <a:pt x="110583" y="450672"/>
                      </a:lnTo>
                      <a:lnTo>
                        <a:pt x="112148" y="448700"/>
                      </a:lnTo>
                      <a:lnTo>
                        <a:pt x="113338" y="447608"/>
                      </a:lnTo>
                      <a:lnTo>
                        <a:pt x="111684" y="448072"/>
                      </a:lnTo>
                      <a:lnTo>
                        <a:pt x="110331" y="447885"/>
                      </a:lnTo>
                      <a:lnTo>
                        <a:pt x="112914" y="445114"/>
                      </a:lnTo>
                      <a:lnTo>
                        <a:pt x="115221" y="442979"/>
                      </a:lnTo>
                      <a:lnTo>
                        <a:pt x="120469" y="440509"/>
                      </a:lnTo>
                      <a:lnTo>
                        <a:pt x="122719" y="438928"/>
                      </a:lnTo>
                      <a:lnTo>
                        <a:pt x="119393" y="440354"/>
                      </a:lnTo>
                      <a:lnTo>
                        <a:pt x="115946" y="440892"/>
                      </a:lnTo>
                      <a:lnTo>
                        <a:pt x="108579" y="440607"/>
                      </a:lnTo>
                      <a:lnTo>
                        <a:pt x="109809" y="434984"/>
                      </a:lnTo>
                      <a:lnTo>
                        <a:pt x="111089" y="433109"/>
                      </a:lnTo>
                      <a:lnTo>
                        <a:pt x="112491" y="432050"/>
                      </a:lnTo>
                      <a:lnTo>
                        <a:pt x="110429" y="432368"/>
                      </a:lnTo>
                      <a:lnTo>
                        <a:pt x="108066" y="431920"/>
                      </a:lnTo>
                      <a:lnTo>
                        <a:pt x="108832" y="426215"/>
                      </a:lnTo>
                      <a:lnTo>
                        <a:pt x="110681" y="424976"/>
                      </a:lnTo>
                      <a:lnTo>
                        <a:pt x="112695" y="424740"/>
                      </a:lnTo>
                      <a:lnTo>
                        <a:pt x="115180" y="423933"/>
                      </a:lnTo>
                      <a:lnTo>
                        <a:pt x="112523" y="422987"/>
                      </a:lnTo>
                      <a:lnTo>
                        <a:pt x="109752" y="422539"/>
                      </a:lnTo>
                      <a:lnTo>
                        <a:pt x="106427" y="423468"/>
                      </a:lnTo>
                      <a:lnTo>
                        <a:pt x="103371" y="422784"/>
                      </a:lnTo>
                      <a:lnTo>
                        <a:pt x="99647" y="422800"/>
                      </a:lnTo>
                      <a:lnTo>
                        <a:pt x="101130" y="423558"/>
                      </a:lnTo>
                      <a:lnTo>
                        <a:pt x="102719" y="425302"/>
                      </a:lnTo>
                      <a:lnTo>
                        <a:pt x="101920" y="428391"/>
                      </a:lnTo>
                      <a:lnTo>
                        <a:pt x="101179" y="430330"/>
                      </a:lnTo>
                      <a:lnTo>
                        <a:pt x="99117" y="431651"/>
                      </a:lnTo>
                      <a:lnTo>
                        <a:pt x="97455" y="433664"/>
                      </a:lnTo>
                      <a:lnTo>
                        <a:pt x="96982" y="435440"/>
                      </a:lnTo>
                      <a:lnTo>
                        <a:pt x="96036" y="436679"/>
                      </a:lnTo>
                      <a:lnTo>
                        <a:pt x="97658" y="437559"/>
                      </a:lnTo>
                      <a:lnTo>
                        <a:pt x="99345" y="438187"/>
                      </a:lnTo>
                      <a:lnTo>
                        <a:pt x="100331" y="439621"/>
                      </a:lnTo>
                      <a:lnTo>
                        <a:pt x="101472" y="441699"/>
                      </a:lnTo>
                      <a:lnTo>
                        <a:pt x="101407" y="445741"/>
                      </a:lnTo>
                      <a:lnTo>
                        <a:pt x="97006" y="455260"/>
                      </a:lnTo>
                      <a:lnTo>
                        <a:pt x="95498" y="457371"/>
                      </a:lnTo>
                      <a:lnTo>
                        <a:pt x="84472" y="463109"/>
                      </a:lnTo>
                      <a:lnTo>
                        <a:pt x="80152" y="466230"/>
                      </a:lnTo>
                      <a:lnTo>
                        <a:pt x="70927" y="470288"/>
                      </a:lnTo>
                      <a:lnTo>
                        <a:pt x="67333" y="471038"/>
                      </a:lnTo>
                      <a:lnTo>
                        <a:pt x="63348" y="470240"/>
                      </a:lnTo>
                      <a:lnTo>
                        <a:pt x="57537" y="467151"/>
                      </a:lnTo>
                      <a:lnTo>
                        <a:pt x="48662" y="459262"/>
                      </a:lnTo>
                      <a:lnTo>
                        <a:pt x="46356" y="456662"/>
                      </a:lnTo>
                      <a:lnTo>
                        <a:pt x="39265" y="446524"/>
                      </a:lnTo>
                      <a:lnTo>
                        <a:pt x="34147" y="441169"/>
                      </a:lnTo>
                      <a:lnTo>
                        <a:pt x="30268" y="436166"/>
                      </a:lnTo>
                      <a:lnTo>
                        <a:pt x="25468" y="431447"/>
                      </a:lnTo>
                      <a:lnTo>
                        <a:pt x="20920" y="425066"/>
                      </a:lnTo>
                      <a:lnTo>
                        <a:pt x="19958" y="422156"/>
                      </a:lnTo>
                      <a:lnTo>
                        <a:pt x="20301" y="419198"/>
                      </a:lnTo>
                      <a:lnTo>
                        <a:pt x="21988" y="417584"/>
                      </a:lnTo>
                      <a:lnTo>
                        <a:pt x="23968" y="418244"/>
                      </a:lnTo>
                      <a:lnTo>
                        <a:pt x="25525" y="420730"/>
                      </a:lnTo>
                      <a:lnTo>
                        <a:pt x="26641" y="421855"/>
                      </a:lnTo>
                      <a:lnTo>
                        <a:pt x="27571" y="422311"/>
                      </a:lnTo>
                      <a:lnTo>
                        <a:pt x="34326" y="418481"/>
                      </a:lnTo>
                      <a:lnTo>
                        <a:pt x="36959" y="418636"/>
                      </a:lnTo>
                      <a:lnTo>
                        <a:pt x="38752" y="416720"/>
                      </a:lnTo>
                      <a:lnTo>
                        <a:pt x="41017" y="417128"/>
                      </a:lnTo>
                      <a:lnTo>
                        <a:pt x="45655" y="414145"/>
                      </a:lnTo>
                      <a:lnTo>
                        <a:pt x="47603" y="413966"/>
                      </a:lnTo>
                      <a:lnTo>
                        <a:pt x="49909" y="413371"/>
                      </a:lnTo>
                      <a:lnTo>
                        <a:pt x="53633" y="405800"/>
                      </a:lnTo>
                      <a:lnTo>
                        <a:pt x="56429" y="400983"/>
                      </a:lnTo>
                      <a:lnTo>
                        <a:pt x="58238" y="399973"/>
                      </a:lnTo>
                      <a:lnTo>
                        <a:pt x="58140" y="398807"/>
                      </a:lnTo>
                      <a:lnTo>
                        <a:pt x="57635" y="397267"/>
                      </a:lnTo>
                      <a:lnTo>
                        <a:pt x="56282" y="397658"/>
                      </a:lnTo>
                      <a:lnTo>
                        <a:pt x="55337" y="399117"/>
                      </a:lnTo>
                      <a:lnTo>
                        <a:pt x="54628" y="400885"/>
                      </a:lnTo>
                      <a:lnTo>
                        <a:pt x="53935" y="401937"/>
                      </a:lnTo>
                      <a:lnTo>
                        <a:pt x="51743" y="400967"/>
                      </a:lnTo>
                      <a:lnTo>
                        <a:pt x="50267" y="401130"/>
                      </a:lnTo>
                      <a:lnTo>
                        <a:pt x="48442" y="401709"/>
                      </a:lnTo>
                      <a:lnTo>
                        <a:pt x="41784" y="404536"/>
                      </a:lnTo>
                      <a:lnTo>
                        <a:pt x="39061" y="407063"/>
                      </a:lnTo>
                      <a:lnTo>
                        <a:pt x="37187" y="407568"/>
                      </a:lnTo>
                      <a:lnTo>
                        <a:pt x="26560" y="404773"/>
                      </a:lnTo>
                      <a:lnTo>
                        <a:pt x="16169" y="398383"/>
                      </a:lnTo>
                      <a:lnTo>
                        <a:pt x="11792" y="394137"/>
                      </a:lnTo>
                      <a:lnTo>
                        <a:pt x="9030" y="388702"/>
                      </a:lnTo>
                      <a:lnTo>
                        <a:pt x="6267" y="382222"/>
                      </a:lnTo>
                      <a:lnTo>
                        <a:pt x="7163" y="380413"/>
                      </a:lnTo>
                      <a:lnTo>
                        <a:pt x="11450" y="376518"/>
                      </a:lnTo>
                      <a:lnTo>
                        <a:pt x="15166" y="373453"/>
                      </a:lnTo>
                      <a:lnTo>
                        <a:pt x="11842" y="374814"/>
                      </a:lnTo>
                      <a:lnTo>
                        <a:pt x="8231" y="376705"/>
                      </a:lnTo>
                      <a:lnTo>
                        <a:pt x="6447" y="378034"/>
                      </a:lnTo>
                      <a:lnTo>
                        <a:pt x="4417" y="380805"/>
                      </a:lnTo>
                      <a:lnTo>
                        <a:pt x="1728" y="381424"/>
                      </a:lnTo>
                      <a:lnTo>
                        <a:pt x="668" y="377308"/>
                      </a:lnTo>
                      <a:lnTo>
                        <a:pt x="0" y="373290"/>
                      </a:lnTo>
                      <a:lnTo>
                        <a:pt x="1711" y="371937"/>
                      </a:lnTo>
                      <a:lnTo>
                        <a:pt x="2909" y="371082"/>
                      </a:lnTo>
                      <a:lnTo>
                        <a:pt x="5354" y="370365"/>
                      </a:lnTo>
                      <a:lnTo>
                        <a:pt x="8019" y="369851"/>
                      </a:lnTo>
                      <a:lnTo>
                        <a:pt x="10456" y="369867"/>
                      </a:lnTo>
                      <a:lnTo>
                        <a:pt x="13863" y="369924"/>
                      </a:lnTo>
                      <a:lnTo>
                        <a:pt x="13969" y="360504"/>
                      </a:lnTo>
                      <a:lnTo>
                        <a:pt x="14254" y="359680"/>
                      </a:lnTo>
                      <a:lnTo>
                        <a:pt x="14735" y="359208"/>
                      </a:lnTo>
                      <a:lnTo>
                        <a:pt x="15272" y="359004"/>
                      </a:lnTo>
                      <a:lnTo>
                        <a:pt x="15745" y="359142"/>
                      </a:lnTo>
                      <a:lnTo>
                        <a:pt x="16454" y="360560"/>
                      </a:lnTo>
                      <a:lnTo>
                        <a:pt x="17326" y="360479"/>
                      </a:lnTo>
                      <a:lnTo>
                        <a:pt x="18239" y="359672"/>
                      </a:lnTo>
                      <a:lnTo>
                        <a:pt x="20325" y="360275"/>
                      </a:lnTo>
                      <a:lnTo>
                        <a:pt x="21988" y="359860"/>
                      </a:lnTo>
                      <a:lnTo>
                        <a:pt x="23675" y="360414"/>
                      </a:lnTo>
                      <a:lnTo>
                        <a:pt x="26535" y="360422"/>
                      </a:lnTo>
                      <a:lnTo>
                        <a:pt x="31711" y="360202"/>
                      </a:lnTo>
                      <a:lnTo>
                        <a:pt x="34579" y="360275"/>
                      </a:lnTo>
                      <a:lnTo>
                        <a:pt x="36438" y="361775"/>
                      </a:lnTo>
                      <a:lnTo>
                        <a:pt x="38467" y="363421"/>
                      </a:lnTo>
                      <a:lnTo>
                        <a:pt x="40675" y="363649"/>
                      </a:lnTo>
                      <a:lnTo>
                        <a:pt x="43870" y="363462"/>
                      </a:lnTo>
                      <a:lnTo>
                        <a:pt x="46030" y="362826"/>
                      </a:lnTo>
                      <a:lnTo>
                        <a:pt x="47130" y="361294"/>
                      </a:lnTo>
                      <a:lnTo>
                        <a:pt x="47953" y="359819"/>
                      </a:lnTo>
                      <a:lnTo>
                        <a:pt x="52680" y="357667"/>
                      </a:lnTo>
                      <a:lnTo>
                        <a:pt x="57635" y="355915"/>
                      </a:lnTo>
                      <a:lnTo>
                        <a:pt x="59069" y="355720"/>
                      </a:lnTo>
                      <a:lnTo>
                        <a:pt x="59526" y="356747"/>
                      </a:lnTo>
                      <a:lnTo>
                        <a:pt x="59297" y="358458"/>
                      </a:lnTo>
                      <a:lnTo>
                        <a:pt x="59884" y="360088"/>
                      </a:lnTo>
                      <a:lnTo>
                        <a:pt x="61865" y="361115"/>
                      </a:lnTo>
                      <a:lnTo>
                        <a:pt x="63283" y="361376"/>
                      </a:lnTo>
                      <a:lnTo>
                        <a:pt x="64538" y="361139"/>
                      </a:lnTo>
                      <a:lnTo>
                        <a:pt x="65475" y="360626"/>
                      </a:lnTo>
                      <a:lnTo>
                        <a:pt x="67488" y="358058"/>
                      </a:lnTo>
                      <a:lnTo>
                        <a:pt x="68523" y="357480"/>
                      </a:lnTo>
                      <a:lnTo>
                        <a:pt x="69884" y="357521"/>
                      </a:lnTo>
                      <a:lnTo>
                        <a:pt x="71408" y="356290"/>
                      </a:lnTo>
                      <a:lnTo>
                        <a:pt x="71448" y="355353"/>
                      </a:lnTo>
                      <a:lnTo>
                        <a:pt x="70463" y="354905"/>
                      </a:lnTo>
                      <a:lnTo>
                        <a:pt x="69656" y="353560"/>
                      </a:lnTo>
                      <a:lnTo>
                        <a:pt x="69794" y="352460"/>
                      </a:lnTo>
                      <a:lnTo>
                        <a:pt x="69558" y="350903"/>
                      </a:lnTo>
                      <a:lnTo>
                        <a:pt x="69729" y="349436"/>
                      </a:lnTo>
                      <a:lnTo>
                        <a:pt x="70373" y="348336"/>
                      </a:lnTo>
                      <a:lnTo>
                        <a:pt x="71489" y="347276"/>
                      </a:lnTo>
                      <a:lnTo>
                        <a:pt x="70813" y="345084"/>
                      </a:lnTo>
                      <a:lnTo>
                        <a:pt x="69093" y="340879"/>
                      </a:lnTo>
                      <a:lnTo>
                        <a:pt x="67284" y="335492"/>
                      </a:lnTo>
                      <a:lnTo>
                        <a:pt x="65353" y="331010"/>
                      </a:lnTo>
                      <a:lnTo>
                        <a:pt x="62940" y="327065"/>
                      </a:lnTo>
                      <a:lnTo>
                        <a:pt x="61677" y="324180"/>
                      </a:lnTo>
                      <a:lnTo>
                        <a:pt x="61815" y="317791"/>
                      </a:lnTo>
                      <a:lnTo>
                        <a:pt x="61596" y="316495"/>
                      </a:lnTo>
                      <a:lnTo>
                        <a:pt x="60756" y="315713"/>
                      </a:lnTo>
                      <a:lnTo>
                        <a:pt x="59631" y="315264"/>
                      </a:lnTo>
                      <a:lnTo>
                        <a:pt x="58058" y="315916"/>
                      </a:lnTo>
                      <a:lnTo>
                        <a:pt x="56632" y="316047"/>
                      </a:lnTo>
                      <a:lnTo>
                        <a:pt x="53568" y="315908"/>
                      </a:lnTo>
                      <a:lnTo>
                        <a:pt x="52085" y="315240"/>
                      </a:lnTo>
                      <a:lnTo>
                        <a:pt x="47994" y="308834"/>
                      </a:lnTo>
                      <a:lnTo>
                        <a:pt x="47456" y="306316"/>
                      </a:lnTo>
                      <a:lnTo>
                        <a:pt x="47432" y="303732"/>
                      </a:lnTo>
                      <a:lnTo>
                        <a:pt x="48800" y="299226"/>
                      </a:lnTo>
                      <a:lnTo>
                        <a:pt x="49208" y="295028"/>
                      </a:lnTo>
                      <a:lnTo>
                        <a:pt x="49395" y="291125"/>
                      </a:lnTo>
                      <a:lnTo>
                        <a:pt x="49167" y="290016"/>
                      </a:lnTo>
                      <a:lnTo>
                        <a:pt x="48352" y="288696"/>
                      </a:lnTo>
                      <a:lnTo>
                        <a:pt x="46983" y="287726"/>
                      </a:lnTo>
                      <a:lnTo>
                        <a:pt x="43316" y="287490"/>
                      </a:lnTo>
                      <a:lnTo>
                        <a:pt x="38955" y="286202"/>
                      </a:lnTo>
                      <a:lnTo>
                        <a:pt x="35598" y="283920"/>
                      </a:lnTo>
                      <a:lnTo>
                        <a:pt x="33283" y="282543"/>
                      </a:lnTo>
                      <a:lnTo>
                        <a:pt x="32640" y="281647"/>
                      </a:lnTo>
                      <a:lnTo>
                        <a:pt x="32363" y="280595"/>
                      </a:lnTo>
                      <a:lnTo>
                        <a:pt x="32966" y="275852"/>
                      </a:lnTo>
                      <a:lnTo>
                        <a:pt x="34025" y="270506"/>
                      </a:lnTo>
                      <a:lnTo>
                        <a:pt x="34791" y="268876"/>
                      </a:lnTo>
                      <a:lnTo>
                        <a:pt x="36120" y="267173"/>
                      </a:lnTo>
                      <a:lnTo>
                        <a:pt x="37114" y="266024"/>
                      </a:lnTo>
                      <a:lnTo>
                        <a:pt x="38678" y="264491"/>
                      </a:lnTo>
                      <a:lnTo>
                        <a:pt x="42933" y="259390"/>
                      </a:lnTo>
                      <a:lnTo>
                        <a:pt x="46747" y="252373"/>
                      </a:lnTo>
                      <a:lnTo>
                        <a:pt x="49086" y="247467"/>
                      </a:lnTo>
                      <a:lnTo>
                        <a:pt x="50317" y="246016"/>
                      </a:lnTo>
                      <a:lnTo>
                        <a:pt x="51572" y="244761"/>
                      </a:lnTo>
                      <a:lnTo>
                        <a:pt x="53413" y="243253"/>
                      </a:lnTo>
                      <a:lnTo>
                        <a:pt x="55516" y="241876"/>
                      </a:lnTo>
                      <a:lnTo>
                        <a:pt x="57619" y="241933"/>
                      </a:lnTo>
                      <a:lnTo>
                        <a:pt x="59623" y="243180"/>
                      </a:lnTo>
                      <a:lnTo>
                        <a:pt x="61115" y="244655"/>
                      </a:lnTo>
                      <a:lnTo>
                        <a:pt x="61612" y="247899"/>
                      </a:lnTo>
                      <a:lnTo>
                        <a:pt x="62663" y="250009"/>
                      </a:lnTo>
                      <a:lnTo>
                        <a:pt x="63796" y="251281"/>
                      </a:lnTo>
                      <a:lnTo>
                        <a:pt x="65304" y="251900"/>
                      </a:lnTo>
                      <a:lnTo>
                        <a:pt x="67202" y="251745"/>
                      </a:lnTo>
                      <a:lnTo>
                        <a:pt x="74888" y="248021"/>
                      </a:lnTo>
                      <a:lnTo>
                        <a:pt x="77512" y="247279"/>
                      </a:lnTo>
                      <a:lnTo>
                        <a:pt x="83779" y="246806"/>
                      </a:lnTo>
                      <a:lnTo>
                        <a:pt x="88090" y="245372"/>
                      </a:lnTo>
                      <a:lnTo>
                        <a:pt x="91888" y="243864"/>
                      </a:lnTo>
                      <a:lnTo>
                        <a:pt x="92353" y="241159"/>
                      </a:lnTo>
                      <a:lnTo>
                        <a:pt x="93819" y="237035"/>
                      </a:lnTo>
                      <a:lnTo>
                        <a:pt x="98294" y="231648"/>
                      </a:lnTo>
                      <a:lnTo>
                        <a:pt x="99557" y="229244"/>
                      </a:lnTo>
                      <a:lnTo>
                        <a:pt x="100918" y="224656"/>
                      </a:lnTo>
                      <a:lnTo>
                        <a:pt x="102361" y="220467"/>
                      </a:lnTo>
                      <a:lnTo>
                        <a:pt x="103591" y="218714"/>
                      </a:lnTo>
                      <a:lnTo>
                        <a:pt x="110624" y="214110"/>
                      </a:lnTo>
                      <a:lnTo>
                        <a:pt x="117519" y="209880"/>
                      </a:lnTo>
                      <a:lnTo>
                        <a:pt x="118652" y="207957"/>
                      </a:lnTo>
                      <a:lnTo>
                        <a:pt x="123094" y="199163"/>
                      </a:lnTo>
                      <a:lnTo>
                        <a:pt x="125652" y="193190"/>
                      </a:lnTo>
                      <a:lnTo>
                        <a:pt x="126312" y="191266"/>
                      </a:lnTo>
                      <a:lnTo>
                        <a:pt x="127788" y="186066"/>
                      </a:lnTo>
                      <a:lnTo>
                        <a:pt x="129377" y="180892"/>
                      </a:lnTo>
                      <a:lnTo>
                        <a:pt x="131512" y="179694"/>
                      </a:lnTo>
                      <a:lnTo>
                        <a:pt x="136239" y="177713"/>
                      </a:lnTo>
                      <a:lnTo>
                        <a:pt x="139980" y="175782"/>
                      </a:lnTo>
                      <a:lnTo>
                        <a:pt x="141903" y="173589"/>
                      </a:lnTo>
                      <a:lnTo>
                        <a:pt x="143076" y="171650"/>
                      </a:lnTo>
                      <a:lnTo>
                        <a:pt x="142849" y="169734"/>
                      </a:lnTo>
                      <a:lnTo>
                        <a:pt x="141805" y="167477"/>
                      </a:lnTo>
                      <a:lnTo>
                        <a:pt x="142033" y="166132"/>
                      </a:lnTo>
                      <a:lnTo>
                        <a:pt x="142221" y="164804"/>
                      </a:lnTo>
                      <a:lnTo>
                        <a:pt x="144935" y="162090"/>
                      </a:lnTo>
                      <a:lnTo>
                        <a:pt x="150061" y="154062"/>
                      </a:lnTo>
                      <a:lnTo>
                        <a:pt x="153142" y="150053"/>
                      </a:lnTo>
                      <a:lnTo>
                        <a:pt x="154160" y="150053"/>
                      </a:lnTo>
                      <a:lnTo>
                        <a:pt x="157363" y="147918"/>
                      </a:lnTo>
                      <a:lnTo>
                        <a:pt x="160419" y="145505"/>
                      </a:lnTo>
                      <a:lnTo>
                        <a:pt x="160240" y="144405"/>
                      </a:lnTo>
                      <a:lnTo>
                        <a:pt x="159857" y="142979"/>
                      </a:lnTo>
                      <a:lnTo>
                        <a:pt x="158105" y="142343"/>
                      </a:lnTo>
                      <a:lnTo>
                        <a:pt x="157559" y="140640"/>
                      </a:lnTo>
                      <a:lnTo>
                        <a:pt x="157991" y="138187"/>
                      </a:lnTo>
                      <a:lnTo>
                        <a:pt x="159450" y="131594"/>
                      </a:lnTo>
                      <a:lnTo>
                        <a:pt x="159140" y="129703"/>
                      </a:lnTo>
                      <a:lnTo>
                        <a:pt x="157371" y="123599"/>
                      </a:lnTo>
                      <a:lnTo>
                        <a:pt x="157762" y="121904"/>
                      </a:lnTo>
                      <a:lnTo>
                        <a:pt x="158488" y="120176"/>
                      </a:lnTo>
                      <a:lnTo>
                        <a:pt x="160484" y="117870"/>
                      </a:lnTo>
                      <a:lnTo>
                        <a:pt x="163060" y="115954"/>
                      </a:lnTo>
                      <a:lnTo>
                        <a:pt x="171299" y="111407"/>
                      </a:lnTo>
                      <a:lnTo>
                        <a:pt x="172961" y="110902"/>
                      </a:lnTo>
                      <a:lnTo>
                        <a:pt x="175822" y="109753"/>
                      </a:lnTo>
                      <a:lnTo>
                        <a:pt x="177575" y="107324"/>
                      </a:lnTo>
                      <a:lnTo>
                        <a:pt x="177794" y="105246"/>
                      </a:lnTo>
                      <a:lnTo>
                        <a:pt x="177028" y="103958"/>
                      </a:lnTo>
                      <a:lnTo>
                        <a:pt x="175317" y="102238"/>
                      </a:lnTo>
                      <a:lnTo>
                        <a:pt x="172098" y="100666"/>
                      </a:lnTo>
                      <a:lnTo>
                        <a:pt x="169213" y="99304"/>
                      </a:lnTo>
                      <a:lnTo>
                        <a:pt x="164282" y="99451"/>
                      </a:lnTo>
                      <a:lnTo>
                        <a:pt x="161731" y="98278"/>
                      </a:lnTo>
                      <a:lnTo>
                        <a:pt x="161030" y="97463"/>
                      </a:lnTo>
                      <a:lnTo>
                        <a:pt x="160672" y="94578"/>
                      </a:lnTo>
                      <a:lnTo>
                        <a:pt x="161169" y="89704"/>
                      </a:lnTo>
                      <a:lnTo>
                        <a:pt x="160411" y="89272"/>
                      </a:lnTo>
                      <a:lnTo>
                        <a:pt x="159311" y="89851"/>
                      </a:lnTo>
                      <a:lnTo>
                        <a:pt x="156703" y="89272"/>
                      </a:lnTo>
                      <a:lnTo>
                        <a:pt x="153508" y="89345"/>
                      </a:lnTo>
                      <a:lnTo>
                        <a:pt x="152294" y="87985"/>
                      </a:lnTo>
                      <a:lnTo>
                        <a:pt x="152905" y="86346"/>
                      </a:lnTo>
                      <a:lnTo>
                        <a:pt x="152726" y="84162"/>
                      </a:lnTo>
                      <a:lnTo>
                        <a:pt x="152253" y="82084"/>
                      </a:lnTo>
                      <a:lnTo>
                        <a:pt x="151748" y="81652"/>
                      </a:lnTo>
                      <a:lnTo>
                        <a:pt x="150224" y="81155"/>
                      </a:lnTo>
                      <a:lnTo>
                        <a:pt x="147852" y="79354"/>
                      </a:lnTo>
                      <a:lnTo>
                        <a:pt x="145929" y="77145"/>
                      </a:lnTo>
                      <a:lnTo>
                        <a:pt x="144812" y="75646"/>
                      </a:lnTo>
                      <a:lnTo>
                        <a:pt x="144462" y="74611"/>
                      </a:lnTo>
                      <a:lnTo>
                        <a:pt x="144576" y="73926"/>
                      </a:lnTo>
                      <a:lnTo>
                        <a:pt x="145962" y="71995"/>
                      </a:lnTo>
                      <a:lnTo>
                        <a:pt x="147632" y="69297"/>
                      </a:lnTo>
                      <a:lnTo>
                        <a:pt x="148252" y="66975"/>
                      </a:lnTo>
                      <a:lnTo>
                        <a:pt x="148439" y="65288"/>
                      </a:lnTo>
                      <a:lnTo>
                        <a:pt x="147975" y="64041"/>
                      </a:lnTo>
                      <a:lnTo>
                        <a:pt x="146450" y="62517"/>
                      </a:lnTo>
                      <a:lnTo>
                        <a:pt x="144812" y="61188"/>
                      </a:lnTo>
                      <a:lnTo>
                        <a:pt x="144160" y="60031"/>
                      </a:lnTo>
                      <a:lnTo>
                        <a:pt x="144136" y="58287"/>
                      </a:lnTo>
                      <a:lnTo>
                        <a:pt x="144739" y="56103"/>
                      </a:lnTo>
                      <a:lnTo>
                        <a:pt x="146662" y="54448"/>
                      </a:lnTo>
                      <a:lnTo>
                        <a:pt x="150061" y="52876"/>
                      </a:lnTo>
                      <a:lnTo>
                        <a:pt x="150941" y="50928"/>
                      </a:lnTo>
                      <a:lnTo>
                        <a:pt x="150835" y="49485"/>
                      </a:lnTo>
                      <a:lnTo>
                        <a:pt x="149906" y="49053"/>
                      </a:lnTo>
                      <a:lnTo>
                        <a:pt x="147518" y="49045"/>
                      </a:lnTo>
                      <a:lnTo>
                        <a:pt x="143468" y="48548"/>
                      </a:lnTo>
                      <a:lnTo>
                        <a:pt x="142783" y="47749"/>
                      </a:lnTo>
                      <a:lnTo>
                        <a:pt x="142335" y="46690"/>
                      </a:lnTo>
                      <a:lnTo>
                        <a:pt x="142335" y="45622"/>
                      </a:lnTo>
                      <a:lnTo>
                        <a:pt x="143182" y="44424"/>
                      </a:lnTo>
                      <a:lnTo>
                        <a:pt x="144218" y="42900"/>
                      </a:lnTo>
                      <a:lnTo>
                        <a:pt x="144030" y="41417"/>
                      </a:lnTo>
                      <a:lnTo>
                        <a:pt x="142849" y="39730"/>
                      </a:lnTo>
                      <a:lnTo>
                        <a:pt x="140004" y="38508"/>
                      </a:lnTo>
                      <a:lnTo>
                        <a:pt x="139621" y="36772"/>
                      </a:lnTo>
                      <a:lnTo>
                        <a:pt x="140061" y="35321"/>
                      </a:lnTo>
                      <a:lnTo>
                        <a:pt x="141007" y="33259"/>
                      </a:lnTo>
                      <a:lnTo>
                        <a:pt x="141814" y="31817"/>
                      </a:lnTo>
                      <a:lnTo>
                        <a:pt x="143761" y="27734"/>
                      </a:lnTo>
                      <a:lnTo>
                        <a:pt x="146108" y="26845"/>
                      </a:lnTo>
                      <a:lnTo>
                        <a:pt x="148985" y="25517"/>
                      </a:lnTo>
                      <a:lnTo>
                        <a:pt x="152172" y="24058"/>
                      </a:lnTo>
                      <a:lnTo>
                        <a:pt x="157061" y="25150"/>
                      </a:lnTo>
                      <a:lnTo>
                        <a:pt x="159458" y="25688"/>
                      </a:lnTo>
                      <a:lnTo>
                        <a:pt x="164274" y="26935"/>
                      </a:lnTo>
                      <a:lnTo>
                        <a:pt x="168325" y="27986"/>
                      </a:lnTo>
                      <a:lnTo>
                        <a:pt x="172457" y="28288"/>
                      </a:lnTo>
                      <a:lnTo>
                        <a:pt x="174176" y="28206"/>
                      </a:lnTo>
                      <a:lnTo>
                        <a:pt x="176067" y="29445"/>
                      </a:lnTo>
                      <a:lnTo>
                        <a:pt x="180753" y="31572"/>
                      </a:lnTo>
                      <a:lnTo>
                        <a:pt x="184542" y="32681"/>
                      </a:lnTo>
                      <a:lnTo>
                        <a:pt x="187110" y="32672"/>
                      </a:lnTo>
                      <a:lnTo>
                        <a:pt x="190899" y="30798"/>
                      </a:lnTo>
                      <a:lnTo>
                        <a:pt x="192790" y="29086"/>
                      </a:lnTo>
                      <a:lnTo>
                        <a:pt x="195341" y="27196"/>
                      </a:lnTo>
                      <a:lnTo>
                        <a:pt x="198600" y="27269"/>
                      </a:lnTo>
                      <a:lnTo>
                        <a:pt x="205650" y="24360"/>
                      </a:lnTo>
                      <a:lnTo>
                        <a:pt x="206971" y="24865"/>
                      </a:lnTo>
                      <a:lnTo>
                        <a:pt x="209073" y="25028"/>
                      </a:lnTo>
                      <a:lnTo>
                        <a:pt x="211592" y="23349"/>
                      </a:lnTo>
                      <a:lnTo>
                        <a:pt x="212895" y="21352"/>
                      </a:lnTo>
                      <a:lnTo>
                        <a:pt x="213107" y="20358"/>
                      </a:lnTo>
                      <a:lnTo>
                        <a:pt x="213743" y="19625"/>
                      </a:lnTo>
                      <a:lnTo>
                        <a:pt x="216440" y="18361"/>
                      </a:lnTo>
                      <a:lnTo>
                        <a:pt x="219146" y="16601"/>
                      </a:lnTo>
                      <a:lnTo>
                        <a:pt x="219880" y="14287"/>
                      </a:lnTo>
                      <a:lnTo>
                        <a:pt x="220328" y="12714"/>
                      </a:lnTo>
                      <a:lnTo>
                        <a:pt x="223302" y="10692"/>
                      </a:lnTo>
                      <a:lnTo>
                        <a:pt x="226391" y="8582"/>
                      </a:lnTo>
                      <a:lnTo>
                        <a:pt x="229627" y="6373"/>
                      </a:lnTo>
                      <a:lnTo>
                        <a:pt x="233303" y="3863"/>
                      </a:lnTo>
                      <a:lnTo>
                        <a:pt x="236407" y="1728"/>
                      </a:lnTo>
                      <a:lnTo>
                        <a:pt x="238950" y="0"/>
                      </a:lnTo>
                      <a:lnTo>
                        <a:pt x="239235" y="367"/>
                      </a:lnTo>
                      <a:lnTo>
                        <a:pt x="240238" y="1149"/>
                      </a:lnTo>
                      <a:lnTo>
                        <a:pt x="241321" y="1540"/>
                      </a:lnTo>
                      <a:lnTo>
                        <a:pt x="242585" y="799"/>
                      </a:lnTo>
                      <a:lnTo>
                        <a:pt x="244158" y="179"/>
                      </a:lnTo>
                      <a:lnTo>
                        <a:pt x="244981" y="522"/>
                      </a:lnTo>
                      <a:lnTo>
                        <a:pt x="245103" y="1532"/>
                      </a:lnTo>
                      <a:lnTo>
                        <a:pt x="244150" y="6235"/>
                      </a:lnTo>
                      <a:lnTo>
                        <a:pt x="244239" y="8076"/>
                      </a:lnTo>
                      <a:lnTo>
                        <a:pt x="245804" y="11890"/>
                      </a:lnTo>
                      <a:lnTo>
                        <a:pt x="247866" y="18101"/>
                      </a:lnTo>
                      <a:lnTo>
                        <a:pt x="249773" y="23911"/>
                      </a:lnTo>
                      <a:lnTo>
                        <a:pt x="250922" y="27725"/>
                      </a:lnTo>
                      <a:lnTo>
                        <a:pt x="252038" y="29282"/>
                      </a:lnTo>
                      <a:lnTo>
                        <a:pt x="256717" y="30871"/>
                      </a:lnTo>
                      <a:lnTo>
                        <a:pt x="260571" y="32183"/>
                      </a:lnTo>
                      <a:lnTo>
                        <a:pt x="262853" y="34319"/>
                      </a:lnTo>
                      <a:lnTo>
                        <a:pt x="265372" y="36372"/>
                      </a:lnTo>
                      <a:lnTo>
                        <a:pt x="267148" y="37635"/>
                      </a:lnTo>
                      <a:lnTo>
                        <a:pt x="267988" y="39249"/>
                      </a:lnTo>
                      <a:lnTo>
                        <a:pt x="268151" y="40708"/>
                      </a:lnTo>
                      <a:lnTo>
                        <a:pt x="268004" y="41694"/>
                      </a:lnTo>
                      <a:lnTo>
                        <a:pt x="267034" y="42974"/>
                      </a:lnTo>
                      <a:lnTo>
                        <a:pt x="262609" y="46291"/>
                      </a:lnTo>
                      <a:lnTo>
                        <a:pt x="262079" y="47350"/>
                      </a:lnTo>
                      <a:lnTo>
                        <a:pt x="261957" y="48727"/>
                      </a:lnTo>
                      <a:lnTo>
                        <a:pt x="262820" y="52843"/>
                      </a:lnTo>
                      <a:lnTo>
                        <a:pt x="263367" y="55426"/>
                      </a:lnTo>
                      <a:lnTo>
                        <a:pt x="263521" y="60601"/>
                      </a:lnTo>
                      <a:lnTo>
                        <a:pt x="263815" y="65524"/>
                      </a:lnTo>
                      <a:lnTo>
                        <a:pt x="265380" y="67765"/>
                      </a:lnTo>
                      <a:lnTo>
                        <a:pt x="266667" y="69208"/>
                      </a:lnTo>
                      <a:lnTo>
                        <a:pt x="267449" y="70520"/>
                      </a:lnTo>
                      <a:lnTo>
                        <a:pt x="269047" y="72321"/>
                      </a:lnTo>
                      <a:lnTo>
                        <a:pt x="270384" y="73657"/>
                      </a:lnTo>
                      <a:lnTo>
                        <a:pt x="271516" y="74448"/>
                      </a:lnTo>
                      <a:lnTo>
                        <a:pt x="272087" y="76216"/>
                      </a:lnTo>
                      <a:lnTo>
                        <a:pt x="271753" y="78295"/>
                      </a:lnTo>
                      <a:lnTo>
                        <a:pt x="271272" y="80104"/>
                      </a:lnTo>
                      <a:lnTo>
                        <a:pt x="271427" y="81074"/>
                      </a:lnTo>
                      <a:lnTo>
                        <a:pt x="272340" y="81774"/>
                      </a:lnTo>
                      <a:lnTo>
                        <a:pt x="273749" y="83576"/>
                      </a:lnTo>
                      <a:lnTo>
                        <a:pt x="273920" y="86216"/>
                      </a:lnTo>
                      <a:lnTo>
                        <a:pt x="273831" y="88033"/>
                      </a:lnTo>
                      <a:lnTo>
                        <a:pt x="274385" y="89672"/>
                      </a:lnTo>
                      <a:lnTo>
                        <a:pt x="274532" y="91473"/>
                      </a:lnTo>
                      <a:lnTo>
                        <a:pt x="274100" y="96004"/>
                      </a:lnTo>
                      <a:lnTo>
                        <a:pt x="274173" y="98041"/>
                      </a:lnTo>
                      <a:lnTo>
                        <a:pt x="272942" y="98164"/>
                      </a:lnTo>
                      <a:lnTo>
                        <a:pt x="271891" y="98864"/>
                      </a:lnTo>
                      <a:lnTo>
                        <a:pt x="270400" y="101709"/>
                      </a:lnTo>
                      <a:lnTo>
                        <a:pt x="268672" y="102458"/>
                      </a:lnTo>
                      <a:lnTo>
                        <a:pt x="266716" y="102687"/>
                      </a:lnTo>
                      <a:lnTo>
                        <a:pt x="264703" y="100943"/>
                      </a:lnTo>
                      <a:lnTo>
                        <a:pt x="263057" y="99117"/>
                      </a:lnTo>
                      <a:lnTo>
                        <a:pt x="262617" y="98107"/>
                      </a:lnTo>
                      <a:lnTo>
                        <a:pt x="262201" y="96183"/>
                      </a:lnTo>
                      <a:lnTo>
                        <a:pt x="261305" y="94928"/>
                      </a:lnTo>
                      <a:lnTo>
                        <a:pt x="259585" y="95515"/>
                      </a:lnTo>
                      <a:lnTo>
                        <a:pt x="256985" y="95784"/>
                      </a:lnTo>
                      <a:lnTo>
                        <a:pt x="254157" y="96208"/>
                      </a:lnTo>
                      <a:lnTo>
                        <a:pt x="253644" y="96623"/>
                      </a:lnTo>
                      <a:lnTo>
                        <a:pt x="253595" y="97430"/>
                      </a:lnTo>
                      <a:lnTo>
                        <a:pt x="254280" y="99166"/>
                      </a:lnTo>
                      <a:lnTo>
                        <a:pt x="254875" y="101415"/>
                      </a:lnTo>
                      <a:lnTo>
                        <a:pt x="255217" y="104561"/>
                      </a:lnTo>
                      <a:lnTo>
                        <a:pt x="255983" y="106639"/>
                      </a:lnTo>
                      <a:lnTo>
                        <a:pt x="256219" y="107308"/>
                      </a:lnTo>
                      <a:lnTo>
                        <a:pt x="260734" y="113558"/>
                      </a:lnTo>
                      <a:lnTo>
                        <a:pt x="261924" y="114830"/>
                      </a:lnTo>
                      <a:lnTo>
                        <a:pt x="262160" y="115661"/>
                      </a:lnTo>
                      <a:close/>
                    </a:path>
                  </a:pathLst>
                </a:custGeom>
                <a:solidFill>
                  <a:srgbClr val="D6D6D2"/>
                </a:solidFill>
                <a:ln w="6112" cap="rnd">
                  <a:solidFill>
                    <a:srgbClr val="FFFFFF"/>
                  </a:solidFill>
                  <a:prstDash val="solid"/>
                  <a:round/>
                </a:ln>
              </p:spPr>
              <p:txBody>
                <a:bodyPr rtlCol="0" anchor="ctr"/>
                <a:lstStyle/>
                <a:p>
                  <a:endParaRPr lang="en-US"/>
                </a:p>
              </p:txBody>
            </p:sp>
            <p:sp>
              <p:nvSpPr>
                <p:cNvPr id="714" name="Freeform: Shape 713">
                  <a:extLst>
                    <a:ext uri="{FF2B5EF4-FFF2-40B4-BE49-F238E27FC236}">
                      <a16:creationId xmlns:a16="http://schemas.microsoft.com/office/drawing/2014/main" id="{D4215A16-DD53-490E-ADAD-03BD18C749DE}"/>
                    </a:ext>
                  </a:extLst>
                </p:cNvPr>
                <p:cNvSpPr/>
                <p:nvPr/>
              </p:nvSpPr>
              <p:spPr>
                <a:xfrm>
                  <a:off x="8304903" y="4355773"/>
                  <a:ext cx="1135258" cy="479350"/>
                </a:xfrm>
                <a:custGeom>
                  <a:avLst/>
                  <a:gdLst>
                    <a:gd name="connsiteX0" fmla="*/ 615305 w 1135258"/>
                    <a:gd name="connsiteY0" fmla="*/ 450028 h 479350"/>
                    <a:gd name="connsiteX1" fmla="*/ 616422 w 1135258"/>
                    <a:gd name="connsiteY1" fmla="*/ 451389 h 479350"/>
                    <a:gd name="connsiteX2" fmla="*/ 620480 w 1135258"/>
                    <a:gd name="connsiteY2" fmla="*/ 453997 h 479350"/>
                    <a:gd name="connsiteX3" fmla="*/ 621149 w 1135258"/>
                    <a:gd name="connsiteY3" fmla="*/ 455097 h 479350"/>
                    <a:gd name="connsiteX4" fmla="*/ 621401 w 1135258"/>
                    <a:gd name="connsiteY4" fmla="*/ 456923 h 479350"/>
                    <a:gd name="connsiteX5" fmla="*/ 622216 w 1135258"/>
                    <a:gd name="connsiteY5" fmla="*/ 458267 h 479350"/>
                    <a:gd name="connsiteX6" fmla="*/ 624042 w 1135258"/>
                    <a:gd name="connsiteY6" fmla="*/ 458463 h 479350"/>
                    <a:gd name="connsiteX7" fmla="*/ 626006 w 1135258"/>
                    <a:gd name="connsiteY7" fmla="*/ 458202 h 479350"/>
                    <a:gd name="connsiteX8" fmla="*/ 627497 w 1135258"/>
                    <a:gd name="connsiteY8" fmla="*/ 459050 h 479350"/>
                    <a:gd name="connsiteX9" fmla="*/ 628784 w 1135258"/>
                    <a:gd name="connsiteY9" fmla="*/ 460419 h 479350"/>
                    <a:gd name="connsiteX10" fmla="*/ 630684 w 1135258"/>
                    <a:gd name="connsiteY10" fmla="*/ 463051 h 479350"/>
                    <a:gd name="connsiteX11" fmla="*/ 632370 w 1135258"/>
                    <a:gd name="connsiteY11" fmla="*/ 465961 h 479350"/>
                    <a:gd name="connsiteX12" fmla="*/ 634457 w 1135258"/>
                    <a:gd name="connsiteY12" fmla="*/ 467583 h 479350"/>
                    <a:gd name="connsiteX13" fmla="*/ 635647 w 1135258"/>
                    <a:gd name="connsiteY13" fmla="*/ 470011 h 479350"/>
                    <a:gd name="connsiteX14" fmla="*/ 634938 w 1135258"/>
                    <a:gd name="connsiteY14" fmla="*/ 472155 h 479350"/>
                    <a:gd name="connsiteX15" fmla="*/ 632314 w 1135258"/>
                    <a:gd name="connsiteY15" fmla="*/ 475121 h 479350"/>
                    <a:gd name="connsiteX16" fmla="*/ 630879 w 1135258"/>
                    <a:gd name="connsiteY16" fmla="*/ 475757 h 479350"/>
                    <a:gd name="connsiteX17" fmla="*/ 628931 w 1135258"/>
                    <a:gd name="connsiteY17" fmla="*/ 475993 h 479350"/>
                    <a:gd name="connsiteX18" fmla="*/ 625891 w 1135258"/>
                    <a:gd name="connsiteY18" fmla="*/ 477754 h 479350"/>
                    <a:gd name="connsiteX19" fmla="*/ 624783 w 1135258"/>
                    <a:gd name="connsiteY19" fmla="*/ 476841 h 479350"/>
                    <a:gd name="connsiteX20" fmla="*/ 621336 w 1135258"/>
                    <a:gd name="connsiteY20" fmla="*/ 476189 h 479350"/>
                    <a:gd name="connsiteX21" fmla="*/ 618581 w 1135258"/>
                    <a:gd name="connsiteY21" fmla="*/ 474934 h 479350"/>
                    <a:gd name="connsiteX22" fmla="*/ 616283 w 1135258"/>
                    <a:gd name="connsiteY22" fmla="*/ 472587 h 479350"/>
                    <a:gd name="connsiteX23" fmla="*/ 614955 w 1135258"/>
                    <a:gd name="connsiteY23" fmla="*/ 470076 h 479350"/>
                    <a:gd name="connsiteX24" fmla="*/ 613276 w 1135258"/>
                    <a:gd name="connsiteY24" fmla="*/ 467868 h 479350"/>
                    <a:gd name="connsiteX25" fmla="*/ 610358 w 1135258"/>
                    <a:gd name="connsiteY25" fmla="*/ 466409 h 479350"/>
                    <a:gd name="connsiteX26" fmla="*/ 605102 w 1135258"/>
                    <a:gd name="connsiteY26" fmla="*/ 462065 h 479350"/>
                    <a:gd name="connsiteX27" fmla="*/ 601866 w 1135258"/>
                    <a:gd name="connsiteY27" fmla="*/ 461666 h 479350"/>
                    <a:gd name="connsiteX28" fmla="*/ 600529 w 1135258"/>
                    <a:gd name="connsiteY28" fmla="*/ 461976 h 479350"/>
                    <a:gd name="connsiteX29" fmla="*/ 599193 w 1135258"/>
                    <a:gd name="connsiteY29" fmla="*/ 462008 h 479350"/>
                    <a:gd name="connsiteX30" fmla="*/ 592315 w 1135258"/>
                    <a:gd name="connsiteY30" fmla="*/ 460052 h 479350"/>
                    <a:gd name="connsiteX31" fmla="*/ 591255 w 1135258"/>
                    <a:gd name="connsiteY31" fmla="*/ 458903 h 479350"/>
                    <a:gd name="connsiteX32" fmla="*/ 590407 w 1135258"/>
                    <a:gd name="connsiteY32" fmla="*/ 457436 h 479350"/>
                    <a:gd name="connsiteX33" fmla="*/ 589633 w 1135258"/>
                    <a:gd name="connsiteY33" fmla="*/ 456002 h 479350"/>
                    <a:gd name="connsiteX34" fmla="*/ 589169 w 1135258"/>
                    <a:gd name="connsiteY34" fmla="*/ 454388 h 479350"/>
                    <a:gd name="connsiteX35" fmla="*/ 590049 w 1135258"/>
                    <a:gd name="connsiteY35" fmla="*/ 452962 h 479350"/>
                    <a:gd name="connsiteX36" fmla="*/ 590970 w 1135258"/>
                    <a:gd name="connsiteY36" fmla="*/ 452000 h 479350"/>
                    <a:gd name="connsiteX37" fmla="*/ 594792 w 1135258"/>
                    <a:gd name="connsiteY37" fmla="*/ 450322 h 479350"/>
                    <a:gd name="connsiteX38" fmla="*/ 597531 w 1135258"/>
                    <a:gd name="connsiteY38" fmla="*/ 449800 h 479350"/>
                    <a:gd name="connsiteX39" fmla="*/ 600709 w 1135258"/>
                    <a:gd name="connsiteY39" fmla="*/ 449890 h 479350"/>
                    <a:gd name="connsiteX40" fmla="*/ 605444 w 1135258"/>
                    <a:gd name="connsiteY40" fmla="*/ 449368 h 479350"/>
                    <a:gd name="connsiteX41" fmla="*/ 609918 w 1135258"/>
                    <a:gd name="connsiteY41" fmla="*/ 450216 h 479350"/>
                    <a:gd name="connsiteX42" fmla="*/ 611295 w 1135258"/>
                    <a:gd name="connsiteY42" fmla="*/ 449588 h 479350"/>
                    <a:gd name="connsiteX43" fmla="*/ 613561 w 1135258"/>
                    <a:gd name="connsiteY43" fmla="*/ 447836 h 479350"/>
                    <a:gd name="connsiteX44" fmla="*/ 614351 w 1135258"/>
                    <a:gd name="connsiteY44" fmla="*/ 448439 h 479350"/>
                    <a:gd name="connsiteX45" fmla="*/ 615305 w 1135258"/>
                    <a:gd name="connsiteY45" fmla="*/ 450028 h 479350"/>
                    <a:gd name="connsiteX46" fmla="*/ 737445 w 1135258"/>
                    <a:gd name="connsiteY46" fmla="*/ 440338 h 479350"/>
                    <a:gd name="connsiteX47" fmla="*/ 738333 w 1135258"/>
                    <a:gd name="connsiteY47" fmla="*/ 440664 h 479350"/>
                    <a:gd name="connsiteX48" fmla="*/ 741487 w 1135258"/>
                    <a:gd name="connsiteY48" fmla="*/ 438847 h 479350"/>
                    <a:gd name="connsiteX49" fmla="*/ 742090 w 1135258"/>
                    <a:gd name="connsiteY49" fmla="*/ 439197 h 479350"/>
                    <a:gd name="connsiteX50" fmla="*/ 742702 w 1135258"/>
                    <a:gd name="connsiteY50" fmla="*/ 440012 h 479350"/>
                    <a:gd name="connsiteX51" fmla="*/ 742710 w 1135258"/>
                    <a:gd name="connsiteY51" fmla="*/ 442441 h 479350"/>
                    <a:gd name="connsiteX52" fmla="*/ 741504 w 1135258"/>
                    <a:gd name="connsiteY52" fmla="*/ 444454 h 479350"/>
                    <a:gd name="connsiteX53" fmla="*/ 738456 w 1135258"/>
                    <a:gd name="connsiteY53" fmla="*/ 444617 h 479350"/>
                    <a:gd name="connsiteX54" fmla="*/ 738015 w 1135258"/>
                    <a:gd name="connsiteY54" fmla="*/ 445179 h 479350"/>
                    <a:gd name="connsiteX55" fmla="*/ 737975 w 1135258"/>
                    <a:gd name="connsiteY55" fmla="*/ 446402 h 479350"/>
                    <a:gd name="connsiteX56" fmla="*/ 738211 w 1135258"/>
                    <a:gd name="connsiteY56" fmla="*/ 447591 h 479350"/>
                    <a:gd name="connsiteX57" fmla="*/ 738937 w 1135258"/>
                    <a:gd name="connsiteY57" fmla="*/ 448545 h 479350"/>
                    <a:gd name="connsiteX58" fmla="*/ 739825 w 1135258"/>
                    <a:gd name="connsiteY58" fmla="*/ 450232 h 479350"/>
                    <a:gd name="connsiteX59" fmla="*/ 740681 w 1135258"/>
                    <a:gd name="connsiteY59" fmla="*/ 454160 h 479350"/>
                    <a:gd name="connsiteX60" fmla="*/ 738945 w 1135258"/>
                    <a:gd name="connsiteY60" fmla="*/ 455758 h 479350"/>
                    <a:gd name="connsiteX61" fmla="*/ 738081 w 1135258"/>
                    <a:gd name="connsiteY61" fmla="*/ 458781 h 479350"/>
                    <a:gd name="connsiteX62" fmla="*/ 735082 w 1135258"/>
                    <a:gd name="connsiteY62" fmla="*/ 461625 h 479350"/>
                    <a:gd name="connsiteX63" fmla="*/ 731765 w 1135258"/>
                    <a:gd name="connsiteY63" fmla="*/ 466279 h 479350"/>
                    <a:gd name="connsiteX64" fmla="*/ 729132 w 1135258"/>
                    <a:gd name="connsiteY64" fmla="*/ 468659 h 479350"/>
                    <a:gd name="connsiteX65" fmla="*/ 726802 w 1135258"/>
                    <a:gd name="connsiteY65" fmla="*/ 471462 h 479350"/>
                    <a:gd name="connsiteX66" fmla="*/ 724805 w 1135258"/>
                    <a:gd name="connsiteY66" fmla="*/ 473345 h 479350"/>
                    <a:gd name="connsiteX67" fmla="*/ 722303 w 1135258"/>
                    <a:gd name="connsiteY67" fmla="*/ 473988 h 479350"/>
                    <a:gd name="connsiteX68" fmla="*/ 718562 w 1135258"/>
                    <a:gd name="connsiteY68" fmla="*/ 474396 h 479350"/>
                    <a:gd name="connsiteX69" fmla="*/ 713485 w 1135258"/>
                    <a:gd name="connsiteY69" fmla="*/ 477762 h 479350"/>
                    <a:gd name="connsiteX70" fmla="*/ 710665 w 1135258"/>
                    <a:gd name="connsiteY70" fmla="*/ 479237 h 479350"/>
                    <a:gd name="connsiteX71" fmla="*/ 707927 w 1135258"/>
                    <a:gd name="connsiteY71" fmla="*/ 479351 h 479350"/>
                    <a:gd name="connsiteX72" fmla="*/ 705376 w 1135258"/>
                    <a:gd name="connsiteY72" fmla="*/ 478251 h 479350"/>
                    <a:gd name="connsiteX73" fmla="*/ 704398 w 1135258"/>
                    <a:gd name="connsiteY73" fmla="*/ 477020 h 479350"/>
                    <a:gd name="connsiteX74" fmla="*/ 704626 w 1135258"/>
                    <a:gd name="connsiteY74" fmla="*/ 475366 h 479350"/>
                    <a:gd name="connsiteX75" fmla="*/ 705474 w 1135258"/>
                    <a:gd name="connsiteY75" fmla="*/ 473939 h 479350"/>
                    <a:gd name="connsiteX76" fmla="*/ 706517 w 1135258"/>
                    <a:gd name="connsiteY76" fmla="*/ 472750 h 479350"/>
                    <a:gd name="connsiteX77" fmla="*/ 707169 w 1135258"/>
                    <a:gd name="connsiteY77" fmla="*/ 471242 h 479350"/>
                    <a:gd name="connsiteX78" fmla="*/ 704259 w 1135258"/>
                    <a:gd name="connsiteY78" fmla="*/ 469319 h 479350"/>
                    <a:gd name="connsiteX79" fmla="*/ 704015 w 1135258"/>
                    <a:gd name="connsiteY79" fmla="*/ 467860 h 479350"/>
                    <a:gd name="connsiteX80" fmla="*/ 705172 w 1135258"/>
                    <a:gd name="connsiteY80" fmla="*/ 463972 h 479350"/>
                    <a:gd name="connsiteX81" fmla="*/ 705914 w 1135258"/>
                    <a:gd name="connsiteY81" fmla="*/ 459979 h 479350"/>
                    <a:gd name="connsiteX82" fmla="*/ 707006 w 1135258"/>
                    <a:gd name="connsiteY82" fmla="*/ 457257 h 479350"/>
                    <a:gd name="connsiteX83" fmla="*/ 711154 w 1135258"/>
                    <a:gd name="connsiteY83" fmla="*/ 452375 h 479350"/>
                    <a:gd name="connsiteX84" fmla="*/ 713648 w 1135258"/>
                    <a:gd name="connsiteY84" fmla="*/ 449947 h 479350"/>
                    <a:gd name="connsiteX85" fmla="*/ 715123 w 1135258"/>
                    <a:gd name="connsiteY85" fmla="*/ 449010 h 479350"/>
                    <a:gd name="connsiteX86" fmla="*/ 715514 w 1135258"/>
                    <a:gd name="connsiteY86" fmla="*/ 450036 h 479350"/>
                    <a:gd name="connsiteX87" fmla="*/ 716451 w 1135258"/>
                    <a:gd name="connsiteY87" fmla="*/ 451259 h 479350"/>
                    <a:gd name="connsiteX88" fmla="*/ 717079 w 1135258"/>
                    <a:gd name="connsiteY88" fmla="*/ 451454 h 479350"/>
                    <a:gd name="connsiteX89" fmla="*/ 717552 w 1135258"/>
                    <a:gd name="connsiteY89" fmla="*/ 451177 h 479350"/>
                    <a:gd name="connsiteX90" fmla="*/ 721219 w 1135258"/>
                    <a:gd name="connsiteY90" fmla="*/ 451601 h 479350"/>
                    <a:gd name="connsiteX91" fmla="*/ 722132 w 1135258"/>
                    <a:gd name="connsiteY91" fmla="*/ 451177 h 479350"/>
                    <a:gd name="connsiteX92" fmla="*/ 723534 w 1135258"/>
                    <a:gd name="connsiteY92" fmla="*/ 449254 h 479350"/>
                    <a:gd name="connsiteX93" fmla="*/ 724454 w 1135258"/>
                    <a:gd name="connsiteY93" fmla="*/ 448178 h 479350"/>
                    <a:gd name="connsiteX94" fmla="*/ 725082 w 1135258"/>
                    <a:gd name="connsiteY94" fmla="*/ 445904 h 479350"/>
                    <a:gd name="connsiteX95" fmla="*/ 725237 w 1135258"/>
                    <a:gd name="connsiteY95" fmla="*/ 444446 h 479350"/>
                    <a:gd name="connsiteX96" fmla="*/ 728488 w 1135258"/>
                    <a:gd name="connsiteY96" fmla="*/ 443386 h 479350"/>
                    <a:gd name="connsiteX97" fmla="*/ 730224 w 1135258"/>
                    <a:gd name="connsiteY97" fmla="*/ 442229 h 479350"/>
                    <a:gd name="connsiteX98" fmla="*/ 731773 w 1135258"/>
                    <a:gd name="connsiteY98" fmla="*/ 440575 h 479350"/>
                    <a:gd name="connsiteX99" fmla="*/ 736279 w 1135258"/>
                    <a:gd name="connsiteY99" fmla="*/ 437755 h 479350"/>
                    <a:gd name="connsiteX100" fmla="*/ 737086 w 1135258"/>
                    <a:gd name="connsiteY100" fmla="*/ 436964 h 479350"/>
                    <a:gd name="connsiteX101" fmla="*/ 736907 w 1135258"/>
                    <a:gd name="connsiteY101" fmla="*/ 439645 h 479350"/>
                    <a:gd name="connsiteX102" fmla="*/ 737445 w 1135258"/>
                    <a:gd name="connsiteY102" fmla="*/ 440338 h 479350"/>
                    <a:gd name="connsiteX103" fmla="*/ 531681 w 1135258"/>
                    <a:gd name="connsiteY103" fmla="*/ 427111 h 479350"/>
                    <a:gd name="connsiteX104" fmla="*/ 528543 w 1135258"/>
                    <a:gd name="connsiteY104" fmla="*/ 433338 h 479350"/>
                    <a:gd name="connsiteX105" fmla="*/ 529660 w 1135258"/>
                    <a:gd name="connsiteY105" fmla="*/ 434348 h 479350"/>
                    <a:gd name="connsiteX106" fmla="*/ 530336 w 1135258"/>
                    <a:gd name="connsiteY106" fmla="*/ 435302 h 479350"/>
                    <a:gd name="connsiteX107" fmla="*/ 525136 w 1135258"/>
                    <a:gd name="connsiteY107" fmla="*/ 436606 h 479350"/>
                    <a:gd name="connsiteX108" fmla="*/ 522969 w 1135258"/>
                    <a:gd name="connsiteY108" fmla="*/ 435905 h 479350"/>
                    <a:gd name="connsiteX109" fmla="*/ 521722 w 1135258"/>
                    <a:gd name="connsiteY109" fmla="*/ 436076 h 479350"/>
                    <a:gd name="connsiteX110" fmla="*/ 516449 w 1135258"/>
                    <a:gd name="connsiteY110" fmla="*/ 434910 h 479350"/>
                    <a:gd name="connsiteX111" fmla="*/ 512684 w 1135258"/>
                    <a:gd name="connsiteY111" fmla="*/ 433476 h 479350"/>
                    <a:gd name="connsiteX112" fmla="*/ 512243 w 1135258"/>
                    <a:gd name="connsiteY112" fmla="*/ 432335 h 479350"/>
                    <a:gd name="connsiteX113" fmla="*/ 512545 w 1135258"/>
                    <a:gd name="connsiteY113" fmla="*/ 430982 h 479350"/>
                    <a:gd name="connsiteX114" fmla="*/ 513661 w 1135258"/>
                    <a:gd name="connsiteY114" fmla="*/ 431430 h 479350"/>
                    <a:gd name="connsiteX115" fmla="*/ 516563 w 1135258"/>
                    <a:gd name="connsiteY115" fmla="*/ 431659 h 479350"/>
                    <a:gd name="connsiteX116" fmla="*/ 517671 w 1135258"/>
                    <a:gd name="connsiteY116" fmla="*/ 431039 h 479350"/>
                    <a:gd name="connsiteX117" fmla="*/ 517712 w 1135258"/>
                    <a:gd name="connsiteY117" fmla="*/ 427022 h 479350"/>
                    <a:gd name="connsiteX118" fmla="*/ 517305 w 1135258"/>
                    <a:gd name="connsiteY118" fmla="*/ 421781 h 479350"/>
                    <a:gd name="connsiteX119" fmla="*/ 521233 w 1135258"/>
                    <a:gd name="connsiteY119" fmla="*/ 417503 h 479350"/>
                    <a:gd name="connsiteX120" fmla="*/ 523327 w 1135258"/>
                    <a:gd name="connsiteY120" fmla="*/ 415783 h 479350"/>
                    <a:gd name="connsiteX121" fmla="*/ 525739 w 1135258"/>
                    <a:gd name="connsiteY121" fmla="*/ 414764 h 479350"/>
                    <a:gd name="connsiteX122" fmla="*/ 531827 w 1135258"/>
                    <a:gd name="connsiteY122" fmla="*/ 417128 h 479350"/>
                    <a:gd name="connsiteX123" fmla="*/ 532838 w 1135258"/>
                    <a:gd name="connsiteY123" fmla="*/ 417780 h 479350"/>
                    <a:gd name="connsiteX124" fmla="*/ 533612 w 1135258"/>
                    <a:gd name="connsiteY124" fmla="*/ 418733 h 479350"/>
                    <a:gd name="connsiteX125" fmla="*/ 533995 w 1135258"/>
                    <a:gd name="connsiteY125" fmla="*/ 420265 h 479350"/>
                    <a:gd name="connsiteX126" fmla="*/ 531681 w 1135258"/>
                    <a:gd name="connsiteY126" fmla="*/ 427111 h 479350"/>
                    <a:gd name="connsiteX127" fmla="*/ 684032 w 1135258"/>
                    <a:gd name="connsiteY127" fmla="*/ 427046 h 479350"/>
                    <a:gd name="connsiteX128" fmla="*/ 680511 w 1135258"/>
                    <a:gd name="connsiteY128" fmla="*/ 428122 h 479350"/>
                    <a:gd name="connsiteX129" fmla="*/ 678335 w 1135258"/>
                    <a:gd name="connsiteY129" fmla="*/ 429124 h 479350"/>
                    <a:gd name="connsiteX130" fmla="*/ 676265 w 1135258"/>
                    <a:gd name="connsiteY130" fmla="*/ 430469 h 479350"/>
                    <a:gd name="connsiteX131" fmla="*/ 674953 w 1135258"/>
                    <a:gd name="connsiteY131" fmla="*/ 430746 h 479350"/>
                    <a:gd name="connsiteX132" fmla="*/ 672573 w 1135258"/>
                    <a:gd name="connsiteY132" fmla="*/ 430852 h 479350"/>
                    <a:gd name="connsiteX133" fmla="*/ 669199 w 1135258"/>
                    <a:gd name="connsiteY133" fmla="*/ 430624 h 479350"/>
                    <a:gd name="connsiteX134" fmla="*/ 666942 w 1135258"/>
                    <a:gd name="connsiteY134" fmla="*/ 431056 h 479350"/>
                    <a:gd name="connsiteX135" fmla="*/ 660601 w 1135258"/>
                    <a:gd name="connsiteY135" fmla="*/ 434544 h 479350"/>
                    <a:gd name="connsiteX136" fmla="*/ 658107 w 1135258"/>
                    <a:gd name="connsiteY136" fmla="*/ 434845 h 479350"/>
                    <a:gd name="connsiteX137" fmla="*/ 655956 w 1135258"/>
                    <a:gd name="connsiteY137" fmla="*/ 435693 h 479350"/>
                    <a:gd name="connsiteX138" fmla="*/ 655206 w 1135258"/>
                    <a:gd name="connsiteY138" fmla="*/ 434332 h 479350"/>
                    <a:gd name="connsiteX139" fmla="*/ 654293 w 1135258"/>
                    <a:gd name="connsiteY139" fmla="*/ 433338 h 479350"/>
                    <a:gd name="connsiteX140" fmla="*/ 652183 w 1135258"/>
                    <a:gd name="connsiteY140" fmla="*/ 433085 h 479350"/>
                    <a:gd name="connsiteX141" fmla="*/ 650080 w 1135258"/>
                    <a:gd name="connsiteY141" fmla="*/ 433166 h 479350"/>
                    <a:gd name="connsiteX142" fmla="*/ 647937 w 1135258"/>
                    <a:gd name="connsiteY142" fmla="*/ 436255 h 479350"/>
                    <a:gd name="connsiteX143" fmla="*/ 644522 w 1135258"/>
                    <a:gd name="connsiteY143" fmla="*/ 435603 h 479350"/>
                    <a:gd name="connsiteX144" fmla="*/ 643193 w 1135258"/>
                    <a:gd name="connsiteY144" fmla="*/ 435880 h 479350"/>
                    <a:gd name="connsiteX145" fmla="*/ 641930 w 1135258"/>
                    <a:gd name="connsiteY145" fmla="*/ 436516 h 479350"/>
                    <a:gd name="connsiteX146" fmla="*/ 640675 w 1135258"/>
                    <a:gd name="connsiteY146" fmla="*/ 436801 h 479350"/>
                    <a:gd name="connsiteX147" fmla="*/ 639347 w 1135258"/>
                    <a:gd name="connsiteY147" fmla="*/ 436589 h 479350"/>
                    <a:gd name="connsiteX148" fmla="*/ 634367 w 1135258"/>
                    <a:gd name="connsiteY148" fmla="*/ 434193 h 479350"/>
                    <a:gd name="connsiteX149" fmla="*/ 628654 w 1135258"/>
                    <a:gd name="connsiteY149" fmla="*/ 432775 h 479350"/>
                    <a:gd name="connsiteX150" fmla="*/ 622925 w 1135258"/>
                    <a:gd name="connsiteY150" fmla="*/ 433338 h 479350"/>
                    <a:gd name="connsiteX151" fmla="*/ 618002 w 1135258"/>
                    <a:gd name="connsiteY151" fmla="*/ 432034 h 479350"/>
                    <a:gd name="connsiteX152" fmla="*/ 615305 w 1135258"/>
                    <a:gd name="connsiteY152" fmla="*/ 433028 h 479350"/>
                    <a:gd name="connsiteX153" fmla="*/ 612763 w 1135258"/>
                    <a:gd name="connsiteY153" fmla="*/ 434454 h 479350"/>
                    <a:gd name="connsiteX154" fmla="*/ 611996 w 1135258"/>
                    <a:gd name="connsiteY154" fmla="*/ 432955 h 479350"/>
                    <a:gd name="connsiteX155" fmla="*/ 611067 w 1135258"/>
                    <a:gd name="connsiteY155" fmla="*/ 431626 h 479350"/>
                    <a:gd name="connsiteX156" fmla="*/ 610236 w 1135258"/>
                    <a:gd name="connsiteY156" fmla="*/ 429646 h 479350"/>
                    <a:gd name="connsiteX157" fmla="*/ 610211 w 1135258"/>
                    <a:gd name="connsiteY157" fmla="*/ 427396 h 479350"/>
                    <a:gd name="connsiteX158" fmla="*/ 610480 w 1135258"/>
                    <a:gd name="connsiteY158" fmla="*/ 425824 h 479350"/>
                    <a:gd name="connsiteX159" fmla="*/ 611222 w 1135258"/>
                    <a:gd name="connsiteY159" fmla="*/ 424381 h 479350"/>
                    <a:gd name="connsiteX160" fmla="*/ 611678 w 1135258"/>
                    <a:gd name="connsiteY160" fmla="*/ 422882 h 479350"/>
                    <a:gd name="connsiteX161" fmla="*/ 611899 w 1135258"/>
                    <a:gd name="connsiteY161" fmla="*/ 421284 h 479350"/>
                    <a:gd name="connsiteX162" fmla="*/ 612966 w 1135258"/>
                    <a:gd name="connsiteY162" fmla="*/ 422042 h 479350"/>
                    <a:gd name="connsiteX163" fmla="*/ 614107 w 1135258"/>
                    <a:gd name="connsiteY163" fmla="*/ 421749 h 479350"/>
                    <a:gd name="connsiteX164" fmla="*/ 617457 w 1135258"/>
                    <a:gd name="connsiteY164" fmla="*/ 420013 h 479350"/>
                    <a:gd name="connsiteX165" fmla="*/ 620725 w 1135258"/>
                    <a:gd name="connsiteY165" fmla="*/ 417364 h 479350"/>
                    <a:gd name="connsiteX166" fmla="*/ 623781 w 1135258"/>
                    <a:gd name="connsiteY166" fmla="*/ 416411 h 479350"/>
                    <a:gd name="connsiteX167" fmla="*/ 625533 w 1135258"/>
                    <a:gd name="connsiteY167" fmla="*/ 416142 h 479350"/>
                    <a:gd name="connsiteX168" fmla="*/ 627040 w 1135258"/>
                    <a:gd name="connsiteY168" fmla="*/ 416655 h 479350"/>
                    <a:gd name="connsiteX169" fmla="*/ 628573 w 1135258"/>
                    <a:gd name="connsiteY169" fmla="*/ 416476 h 479350"/>
                    <a:gd name="connsiteX170" fmla="*/ 630137 w 1135258"/>
                    <a:gd name="connsiteY170" fmla="*/ 415889 h 479350"/>
                    <a:gd name="connsiteX171" fmla="*/ 632607 w 1135258"/>
                    <a:gd name="connsiteY171" fmla="*/ 417910 h 479350"/>
                    <a:gd name="connsiteX172" fmla="*/ 633634 w 1135258"/>
                    <a:gd name="connsiteY172" fmla="*/ 418326 h 479350"/>
                    <a:gd name="connsiteX173" fmla="*/ 636983 w 1135258"/>
                    <a:gd name="connsiteY173" fmla="*/ 418481 h 479350"/>
                    <a:gd name="connsiteX174" fmla="*/ 640023 w 1135258"/>
                    <a:gd name="connsiteY174" fmla="*/ 419662 h 479350"/>
                    <a:gd name="connsiteX175" fmla="*/ 642737 w 1135258"/>
                    <a:gd name="connsiteY175" fmla="*/ 421406 h 479350"/>
                    <a:gd name="connsiteX176" fmla="*/ 646665 w 1135258"/>
                    <a:gd name="connsiteY176" fmla="*/ 423044 h 479350"/>
                    <a:gd name="connsiteX177" fmla="*/ 649028 w 1135258"/>
                    <a:gd name="connsiteY177" fmla="*/ 425237 h 479350"/>
                    <a:gd name="connsiteX178" fmla="*/ 650830 w 1135258"/>
                    <a:gd name="connsiteY178" fmla="*/ 426068 h 479350"/>
                    <a:gd name="connsiteX179" fmla="*/ 652158 w 1135258"/>
                    <a:gd name="connsiteY179" fmla="*/ 426272 h 479350"/>
                    <a:gd name="connsiteX180" fmla="*/ 653397 w 1135258"/>
                    <a:gd name="connsiteY180" fmla="*/ 425978 h 479350"/>
                    <a:gd name="connsiteX181" fmla="*/ 654937 w 1135258"/>
                    <a:gd name="connsiteY181" fmla="*/ 424503 h 479350"/>
                    <a:gd name="connsiteX182" fmla="*/ 656754 w 1135258"/>
                    <a:gd name="connsiteY182" fmla="*/ 423892 h 479350"/>
                    <a:gd name="connsiteX183" fmla="*/ 658319 w 1135258"/>
                    <a:gd name="connsiteY183" fmla="*/ 423916 h 479350"/>
                    <a:gd name="connsiteX184" fmla="*/ 661204 w 1135258"/>
                    <a:gd name="connsiteY184" fmla="*/ 423533 h 479350"/>
                    <a:gd name="connsiteX185" fmla="*/ 662402 w 1135258"/>
                    <a:gd name="connsiteY185" fmla="*/ 423175 h 479350"/>
                    <a:gd name="connsiteX186" fmla="*/ 663771 w 1135258"/>
                    <a:gd name="connsiteY186" fmla="*/ 422360 h 479350"/>
                    <a:gd name="connsiteX187" fmla="*/ 665100 w 1135258"/>
                    <a:gd name="connsiteY187" fmla="*/ 422865 h 479350"/>
                    <a:gd name="connsiteX188" fmla="*/ 666266 w 1135258"/>
                    <a:gd name="connsiteY188" fmla="*/ 423607 h 479350"/>
                    <a:gd name="connsiteX189" fmla="*/ 671131 w 1135258"/>
                    <a:gd name="connsiteY189" fmla="*/ 427486 h 479350"/>
                    <a:gd name="connsiteX190" fmla="*/ 672630 w 1135258"/>
                    <a:gd name="connsiteY190" fmla="*/ 427576 h 479350"/>
                    <a:gd name="connsiteX191" fmla="*/ 675360 w 1135258"/>
                    <a:gd name="connsiteY191" fmla="*/ 426752 h 479350"/>
                    <a:gd name="connsiteX192" fmla="*/ 676184 w 1135258"/>
                    <a:gd name="connsiteY192" fmla="*/ 425718 h 479350"/>
                    <a:gd name="connsiteX193" fmla="*/ 676615 w 1135258"/>
                    <a:gd name="connsiteY193" fmla="*/ 424128 h 479350"/>
                    <a:gd name="connsiteX194" fmla="*/ 677357 w 1135258"/>
                    <a:gd name="connsiteY194" fmla="*/ 422808 h 479350"/>
                    <a:gd name="connsiteX195" fmla="*/ 678409 w 1135258"/>
                    <a:gd name="connsiteY195" fmla="*/ 421659 h 479350"/>
                    <a:gd name="connsiteX196" fmla="*/ 679598 w 1135258"/>
                    <a:gd name="connsiteY196" fmla="*/ 420779 h 479350"/>
                    <a:gd name="connsiteX197" fmla="*/ 683217 w 1135258"/>
                    <a:gd name="connsiteY197" fmla="*/ 419296 h 479350"/>
                    <a:gd name="connsiteX198" fmla="*/ 685719 w 1135258"/>
                    <a:gd name="connsiteY198" fmla="*/ 417837 h 479350"/>
                    <a:gd name="connsiteX199" fmla="*/ 687414 w 1135258"/>
                    <a:gd name="connsiteY199" fmla="*/ 415335 h 479350"/>
                    <a:gd name="connsiteX200" fmla="*/ 683429 w 1135258"/>
                    <a:gd name="connsiteY200" fmla="*/ 414259 h 479350"/>
                    <a:gd name="connsiteX201" fmla="*/ 684276 w 1135258"/>
                    <a:gd name="connsiteY201" fmla="*/ 412466 h 479350"/>
                    <a:gd name="connsiteX202" fmla="*/ 685596 w 1135258"/>
                    <a:gd name="connsiteY202" fmla="*/ 411464 h 479350"/>
                    <a:gd name="connsiteX203" fmla="*/ 687373 w 1135258"/>
                    <a:gd name="connsiteY203" fmla="*/ 411830 h 479350"/>
                    <a:gd name="connsiteX204" fmla="*/ 688897 w 1135258"/>
                    <a:gd name="connsiteY204" fmla="*/ 413232 h 479350"/>
                    <a:gd name="connsiteX205" fmla="*/ 689582 w 1135258"/>
                    <a:gd name="connsiteY205" fmla="*/ 418562 h 479350"/>
                    <a:gd name="connsiteX206" fmla="*/ 688327 w 1135258"/>
                    <a:gd name="connsiteY206" fmla="*/ 419320 h 479350"/>
                    <a:gd name="connsiteX207" fmla="*/ 687544 w 1135258"/>
                    <a:gd name="connsiteY207" fmla="*/ 420127 h 479350"/>
                    <a:gd name="connsiteX208" fmla="*/ 687014 w 1135258"/>
                    <a:gd name="connsiteY208" fmla="*/ 421195 h 479350"/>
                    <a:gd name="connsiteX209" fmla="*/ 684749 w 1135258"/>
                    <a:gd name="connsiteY209" fmla="*/ 423150 h 479350"/>
                    <a:gd name="connsiteX210" fmla="*/ 685637 w 1135258"/>
                    <a:gd name="connsiteY210" fmla="*/ 425587 h 479350"/>
                    <a:gd name="connsiteX211" fmla="*/ 684969 w 1135258"/>
                    <a:gd name="connsiteY211" fmla="*/ 426590 h 479350"/>
                    <a:gd name="connsiteX212" fmla="*/ 684032 w 1135258"/>
                    <a:gd name="connsiteY212" fmla="*/ 427046 h 479350"/>
                    <a:gd name="connsiteX213" fmla="*/ 571410 w 1135258"/>
                    <a:gd name="connsiteY213" fmla="*/ 418195 h 479350"/>
                    <a:gd name="connsiteX214" fmla="*/ 572641 w 1135258"/>
                    <a:gd name="connsiteY214" fmla="*/ 419385 h 479350"/>
                    <a:gd name="connsiteX215" fmla="*/ 573774 w 1135258"/>
                    <a:gd name="connsiteY215" fmla="*/ 419271 h 479350"/>
                    <a:gd name="connsiteX216" fmla="*/ 576137 w 1135258"/>
                    <a:gd name="connsiteY216" fmla="*/ 417454 h 479350"/>
                    <a:gd name="connsiteX217" fmla="*/ 577556 w 1135258"/>
                    <a:gd name="connsiteY217" fmla="*/ 416794 h 479350"/>
                    <a:gd name="connsiteX218" fmla="*/ 579088 w 1135258"/>
                    <a:gd name="connsiteY218" fmla="*/ 416769 h 479350"/>
                    <a:gd name="connsiteX219" fmla="*/ 580579 w 1135258"/>
                    <a:gd name="connsiteY219" fmla="*/ 417071 h 479350"/>
                    <a:gd name="connsiteX220" fmla="*/ 582029 w 1135258"/>
                    <a:gd name="connsiteY220" fmla="*/ 418358 h 479350"/>
                    <a:gd name="connsiteX221" fmla="*/ 582551 w 1135258"/>
                    <a:gd name="connsiteY221" fmla="*/ 420469 h 479350"/>
                    <a:gd name="connsiteX222" fmla="*/ 583097 w 1135258"/>
                    <a:gd name="connsiteY222" fmla="*/ 421113 h 479350"/>
                    <a:gd name="connsiteX223" fmla="*/ 583953 w 1135258"/>
                    <a:gd name="connsiteY223" fmla="*/ 418587 h 479350"/>
                    <a:gd name="connsiteX224" fmla="*/ 585086 w 1135258"/>
                    <a:gd name="connsiteY224" fmla="*/ 417821 h 479350"/>
                    <a:gd name="connsiteX225" fmla="*/ 586357 w 1135258"/>
                    <a:gd name="connsiteY225" fmla="*/ 417438 h 479350"/>
                    <a:gd name="connsiteX226" fmla="*/ 588362 w 1135258"/>
                    <a:gd name="connsiteY226" fmla="*/ 417576 h 479350"/>
                    <a:gd name="connsiteX227" fmla="*/ 589894 w 1135258"/>
                    <a:gd name="connsiteY227" fmla="*/ 418774 h 479350"/>
                    <a:gd name="connsiteX228" fmla="*/ 591279 w 1135258"/>
                    <a:gd name="connsiteY228" fmla="*/ 422360 h 479350"/>
                    <a:gd name="connsiteX229" fmla="*/ 591247 w 1135258"/>
                    <a:gd name="connsiteY229" fmla="*/ 425497 h 479350"/>
                    <a:gd name="connsiteX230" fmla="*/ 591752 w 1135258"/>
                    <a:gd name="connsiteY230" fmla="*/ 426671 h 479350"/>
                    <a:gd name="connsiteX231" fmla="*/ 592706 w 1135258"/>
                    <a:gd name="connsiteY231" fmla="*/ 427519 h 479350"/>
                    <a:gd name="connsiteX232" fmla="*/ 593415 w 1135258"/>
                    <a:gd name="connsiteY232" fmla="*/ 428725 h 479350"/>
                    <a:gd name="connsiteX233" fmla="*/ 592779 w 1135258"/>
                    <a:gd name="connsiteY233" fmla="*/ 429988 h 479350"/>
                    <a:gd name="connsiteX234" fmla="*/ 592151 w 1135258"/>
                    <a:gd name="connsiteY234" fmla="*/ 430599 h 479350"/>
                    <a:gd name="connsiteX235" fmla="*/ 590359 w 1135258"/>
                    <a:gd name="connsiteY235" fmla="*/ 431170 h 479350"/>
                    <a:gd name="connsiteX236" fmla="*/ 589495 w 1135258"/>
                    <a:gd name="connsiteY236" fmla="*/ 430917 h 479350"/>
                    <a:gd name="connsiteX237" fmla="*/ 588696 w 1135258"/>
                    <a:gd name="connsiteY237" fmla="*/ 430069 h 479350"/>
                    <a:gd name="connsiteX238" fmla="*/ 587799 w 1135258"/>
                    <a:gd name="connsiteY238" fmla="*/ 429760 h 479350"/>
                    <a:gd name="connsiteX239" fmla="*/ 585771 w 1135258"/>
                    <a:gd name="connsiteY239" fmla="*/ 430045 h 479350"/>
                    <a:gd name="connsiteX240" fmla="*/ 583904 w 1135258"/>
                    <a:gd name="connsiteY240" fmla="*/ 430746 h 479350"/>
                    <a:gd name="connsiteX241" fmla="*/ 584165 w 1135258"/>
                    <a:gd name="connsiteY241" fmla="*/ 431903 h 479350"/>
                    <a:gd name="connsiteX242" fmla="*/ 585697 w 1135258"/>
                    <a:gd name="connsiteY242" fmla="*/ 432408 h 479350"/>
                    <a:gd name="connsiteX243" fmla="*/ 586170 w 1135258"/>
                    <a:gd name="connsiteY243" fmla="*/ 432955 h 479350"/>
                    <a:gd name="connsiteX244" fmla="*/ 586056 w 1135258"/>
                    <a:gd name="connsiteY244" fmla="*/ 433688 h 479350"/>
                    <a:gd name="connsiteX245" fmla="*/ 585461 w 1135258"/>
                    <a:gd name="connsiteY245" fmla="*/ 433851 h 479350"/>
                    <a:gd name="connsiteX246" fmla="*/ 583464 w 1135258"/>
                    <a:gd name="connsiteY246" fmla="*/ 432857 h 479350"/>
                    <a:gd name="connsiteX247" fmla="*/ 582119 w 1135258"/>
                    <a:gd name="connsiteY247" fmla="*/ 433052 h 479350"/>
                    <a:gd name="connsiteX248" fmla="*/ 577279 w 1135258"/>
                    <a:gd name="connsiteY248" fmla="*/ 434389 h 479350"/>
                    <a:gd name="connsiteX249" fmla="*/ 575999 w 1135258"/>
                    <a:gd name="connsiteY249" fmla="*/ 434356 h 479350"/>
                    <a:gd name="connsiteX250" fmla="*/ 575273 w 1135258"/>
                    <a:gd name="connsiteY250" fmla="*/ 433085 h 479350"/>
                    <a:gd name="connsiteX251" fmla="*/ 575322 w 1135258"/>
                    <a:gd name="connsiteY251" fmla="*/ 429784 h 479350"/>
                    <a:gd name="connsiteX252" fmla="*/ 574809 w 1135258"/>
                    <a:gd name="connsiteY252" fmla="*/ 428920 h 479350"/>
                    <a:gd name="connsiteX253" fmla="*/ 571223 w 1135258"/>
                    <a:gd name="connsiteY253" fmla="*/ 432938 h 479350"/>
                    <a:gd name="connsiteX254" fmla="*/ 570131 w 1135258"/>
                    <a:gd name="connsiteY254" fmla="*/ 433916 h 479350"/>
                    <a:gd name="connsiteX255" fmla="*/ 568680 w 1135258"/>
                    <a:gd name="connsiteY255" fmla="*/ 434373 h 479350"/>
                    <a:gd name="connsiteX256" fmla="*/ 567165 w 1135258"/>
                    <a:gd name="connsiteY256" fmla="*/ 434218 h 479350"/>
                    <a:gd name="connsiteX257" fmla="*/ 561965 w 1135258"/>
                    <a:gd name="connsiteY257" fmla="*/ 436655 h 479350"/>
                    <a:gd name="connsiteX258" fmla="*/ 560343 w 1135258"/>
                    <a:gd name="connsiteY258" fmla="*/ 436312 h 479350"/>
                    <a:gd name="connsiteX259" fmla="*/ 558754 w 1135258"/>
                    <a:gd name="connsiteY259" fmla="*/ 436304 h 479350"/>
                    <a:gd name="connsiteX260" fmla="*/ 553204 w 1135258"/>
                    <a:gd name="connsiteY260" fmla="*/ 438944 h 479350"/>
                    <a:gd name="connsiteX261" fmla="*/ 550229 w 1135258"/>
                    <a:gd name="connsiteY261" fmla="*/ 439678 h 479350"/>
                    <a:gd name="connsiteX262" fmla="*/ 548705 w 1135258"/>
                    <a:gd name="connsiteY262" fmla="*/ 439735 h 479350"/>
                    <a:gd name="connsiteX263" fmla="*/ 547173 w 1135258"/>
                    <a:gd name="connsiteY263" fmla="*/ 439507 h 479350"/>
                    <a:gd name="connsiteX264" fmla="*/ 545812 w 1135258"/>
                    <a:gd name="connsiteY264" fmla="*/ 439743 h 479350"/>
                    <a:gd name="connsiteX265" fmla="*/ 544606 w 1135258"/>
                    <a:gd name="connsiteY265" fmla="*/ 440811 h 479350"/>
                    <a:gd name="connsiteX266" fmla="*/ 542120 w 1135258"/>
                    <a:gd name="connsiteY266" fmla="*/ 441699 h 479350"/>
                    <a:gd name="connsiteX267" fmla="*/ 539570 w 1135258"/>
                    <a:gd name="connsiteY267" fmla="*/ 441014 h 479350"/>
                    <a:gd name="connsiteX268" fmla="*/ 537410 w 1135258"/>
                    <a:gd name="connsiteY268" fmla="*/ 440110 h 479350"/>
                    <a:gd name="connsiteX269" fmla="*/ 535356 w 1135258"/>
                    <a:gd name="connsiteY269" fmla="*/ 438920 h 479350"/>
                    <a:gd name="connsiteX270" fmla="*/ 534851 w 1135258"/>
                    <a:gd name="connsiteY270" fmla="*/ 437388 h 479350"/>
                    <a:gd name="connsiteX271" fmla="*/ 534949 w 1135258"/>
                    <a:gd name="connsiteY271" fmla="*/ 435538 h 479350"/>
                    <a:gd name="connsiteX272" fmla="*/ 535813 w 1135258"/>
                    <a:gd name="connsiteY272" fmla="*/ 433020 h 479350"/>
                    <a:gd name="connsiteX273" fmla="*/ 535226 w 1135258"/>
                    <a:gd name="connsiteY273" fmla="*/ 428619 h 479350"/>
                    <a:gd name="connsiteX274" fmla="*/ 535674 w 1135258"/>
                    <a:gd name="connsiteY274" fmla="*/ 426614 h 479350"/>
                    <a:gd name="connsiteX275" fmla="*/ 536521 w 1135258"/>
                    <a:gd name="connsiteY275" fmla="*/ 424642 h 479350"/>
                    <a:gd name="connsiteX276" fmla="*/ 537785 w 1135258"/>
                    <a:gd name="connsiteY276" fmla="*/ 423908 h 479350"/>
                    <a:gd name="connsiteX277" fmla="*/ 539439 w 1135258"/>
                    <a:gd name="connsiteY277" fmla="*/ 423770 h 479350"/>
                    <a:gd name="connsiteX278" fmla="*/ 542178 w 1135258"/>
                    <a:gd name="connsiteY278" fmla="*/ 421985 h 479350"/>
                    <a:gd name="connsiteX279" fmla="*/ 544688 w 1135258"/>
                    <a:gd name="connsiteY279" fmla="*/ 419670 h 479350"/>
                    <a:gd name="connsiteX280" fmla="*/ 546154 w 1135258"/>
                    <a:gd name="connsiteY280" fmla="*/ 419882 h 479350"/>
                    <a:gd name="connsiteX281" fmla="*/ 549447 w 1135258"/>
                    <a:gd name="connsiteY281" fmla="*/ 421504 h 479350"/>
                    <a:gd name="connsiteX282" fmla="*/ 551387 w 1135258"/>
                    <a:gd name="connsiteY282" fmla="*/ 421692 h 479350"/>
                    <a:gd name="connsiteX283" fmla="*/ 554663 w 1135258"/>
                    <a:gd name="connsiteY283" fmla="*/ 421439 h 479350"/>
                    <a:gd name="connsiteX284" fmla="*/ 556024 w 1135258"/>
                    <a:gd name="connsiteY284" fmla="*/ 422441 h 479350"/>
                    <a:gd name="connsiteX285" fmla="*/ 556554 w 1135258"/>
                    <a:gd name="connsiteY285" fmla="*/ 424731 h 479350"/>
                    <a:gd name="connsiteX286" fmla="*/ 557287 w 1135258"/>
                    <a:gd name="connsiteY286" fmla="*/ 425555 h 479350"/>
                    <a:gd name="connsiteX287" fmla="*/ 558265 w 1135258"/>
                    <a:gd name="connsiteY287" fmla="*/ 426141 h 479350"/>
                    <a:gd name="connsiteX288" fmla="*/ 560596 w 1135258"/>
                    <a:gd name="connsiteY288" fmla="*/ 430020 h 479350"/>
                    <a:gd name="connsiteX289" fmla="*/ 562755 w 1135258"/>
                    <a:gd name="connsiteY289" fmla="*/ 429817 h 479350"/>
                    <a:gd name="connsiteX290" fmla="*/ 564646 w 1135258"/>
                    <a:gd name="connsiteY290" fmla="*/ 430534 h 479350"/>
                    <a:gd name="connsiteX291" fmla="*/ 567979 w 1135258"/>
                    <a:gd name="connsiteY291" fmla="*/ 428187 h 479350"/>
                    <a:gd name="connsiteX292" fmla="*/ 570506 w 1135258"/>
                    <a:gd name="connsiteY292" fmla="*/ 428244 h 479350"/>
                    <a:gd name="connsiteX293" fmla="*/ 571231 w 1135258"/>
                    <a:gd name="connsiteY293" fmla="*/ 426427 h 479350"/>
                    <a:gd name="connsiteX294" fmla="*/ 569715 w 1135258"/>
                    <a:gd name="connsiteY294" fmla="*/ 424495 h 479350"/>
                    <a:gd name="connsiteX295" fmla="*/ 567890 w 1135258"/>
                    <a:gd name="connsiteY295" fmla="*/ 422922 h 479350"/>
                    <a:gd name="connsiteX296" fmla="*/ 566912 w 1135258"/>
                    <a:gd name="connsiteY296" fmla="*/ 422588 h 479350"/>
                    <a:gd name="connsiteX297" fmla="*/ 565836 w 1135258"/>
                    <a:gd name="connsiteY297" fmla="*/ 422686 h 479350"/>
                    <a:gd name="connsiteX298" fmla="*/ 564874 w 1135258"/>
                    <a:gd name="connsiteY298" fmla="*/ 422433 h 479350"/>
                    <a:gd name="connsiteX299" fmla="*/ 560808 w 1135258"/>
                    <a:gd name="connsiteY299" fmla="*/ 418913 h 479350"/>
                    <a:gd name="connsiteX300" fmla="*/ 559602 w 1135258"/>
                    <a:gd name="connsiteY300" fmla="*/ 417022 h 479350"/>
                    <a:gd name="connsiteX301" fmla="*/ 558909 w 1135258"/>
                    <a:gd name="connsiteY301" fmla="*/ 414781 h 479350"/>
                    <a:gd name="connsiteX302" fmla="*/ 559341 w 1135258"/>
                    <a:gd name="connsiteY302" fmla="*/ 413126 h 479350"/>
                    <a:gd name="connsiteX303" fmla="*/ 562136 w 1135258"/>
                    <a:gd name="connsiteY303" fmla="*/ 411659 h 479350"/>
                    <a:gd name="connsiteX304" fmla="*/ 563440 w 1135258"/>
                    <a:gd name="connsiteY304" fmla="*/ 411301 h 479350"/>
                    <a:gd name="connsiteX305" fmla="*/ 568314 w 1135258"/>
                    <a:gd name="connsiteY305" fmla="*/ 412303 h 479350"/>
                    <a:gd name="connsiteX306" fmla="*/ 569137 w 1135258"/>
                    <a:gd name="connsiteY306" fmla="*/ 413134 h 479350"/>
                    <a:gd name="connsiteX307" fmla="*/ 570441 w 1135258"/>
                    <a:gd name="connsiteY307" fmla="*/ 416671 h 479350"/>
                    <a:gd name="connsiteX308" fmla="*/ 571410 w 1135258"/>
                    <a:gd name="connsiteY308" fmla="*/ 418195 h 479350"/>
                    <a:gd name="connsiteX309" fmla="*/ 502089 w 1135258"/>
                    <a:gd name="connsiteY309" fmla="*/ 413305 h 479350"/>
                    <a:gd name="connsiteX310" fmla="*/ 504615 w 1135258"/>
                    <a:gd name="connsiteY310" fmla="*/ 414903 h 479350"/>
                    <a:gd name="connsiteX311" fmla="*/ 508120 w 1135258"/>
                    <a:gd name="connsiteY311" fmla="*/ 419573 h 479350"/>
                    <a:gd name="connsiteX312" fmla="*/ 508462 w 1135258"/>
                    <a:gd name="connsiteY312" fmla="*/ 420877 h 479350"/>
                    <a:gd name="connsiteX313" fmla="*/ 507394 w 1135258"/>
                    <a:gd name="connsiteY313" fmla="*/ 422107 h 479350"/>
                    <a:gd name="connsiteX314" fmla="*/ 504868 w 1135258"/>
                    <a:gd name="connsiteY314" fmla="*/ 424096 h 479350"/>
                    <a:gd name="connsiteX315" fmla="*/ 499261 w 1135258"/>
                    <a:gd name="connsiteY315" fmla="*/ 427152 h 479350"/>
                    <a:gd name="connsiteX316" fmla="*/ 498299 w 1135258"/>
                    <a:gd name="connsiteY316" fmla="*/ 428603 h 479350"/>
                    <a:gd name="connsiteX317" fmla="*/ 497109 w 1135258"/>
                    <a:gd name="connsiteY317" fmla="*/ 431422 h 479350"/>
                    <a:gd name="connsiteX318" fmla="*/ 496832 w 1135258"/>
                    <a:gd name="connsiteY318" fmla="*/ 432637 h 479350"/>
                    <a:gd name="connsiteX319" fmla="*/ 496441 w 1135258"/>
                    <a:gd name="connsiteY319" fmla="*/ 433297 h 479350"/>
                    <a:gd name="connsiteX320" fmla="*/ 495797 w 1135258"/>
                    <a:gd name="connsiteY320" fmla="*/ 433770 h 479350"/>
                    <a:gd name="connsiteX321" fmla="*/ 494575 w 1135258"/>
                    <a:gd name="connsiteY321" fmla="*/ 434185 h 479350"/>
                    <a:gd name="connsiteX322" fmla="*/ 493246 w 1135258"/>
                    <a:gd name="connsiteY322" fmla="*/ 433606 h 479350"/>
                    <a:gd name="connsiteX323" fmla="*/ 494445 w 1135258"/>
                    <a:gd name="connsiteY323" fmla="*/ 431773 h 479350"/>
                    <a:gd name="connsiteX324" fmla="*/ 494493 w 1135258"/>
                    <a:gd name="connsiteY324" fmla="*/ 429597 h 479350"/>
                    <a:gd name="connsiteX325" fmla="*/ 493597 w 1135258"/>
                    <a:gd name="connsiteY325" fmla="*/ 427567 h 479350"/>
                    <a:gd name="connsiteX326" fmla="*/ 492350 w 1135258"/>
                    <a:gd name="connsiteY326" fmla="*/ 425864 h 479350"/>
                    <a:gd name="connsiteX327" fmla="*/ 489799 w 1135258"/>
                    <a:gd name="connsiteY327" fmla="*/ 423566 h 479350"/>
                    <a:gd name="connsiteX328" fmla="*/ 487077 w 1135258"/>
                    <a:gd name="connsiteY328" fmla="*/ 421520 h 479350"/>
                    <a:gd name="connsiteX329" fmla="*/ 484323 w 1135258"/>
                    <a:gd name="connsiteY329" fmla="*/ 420485 h 479350"/>
                    <a:gd name="connsiteX330" fmla="*/ 481397 w 1135258"/>
                    <a:gd name="connsiteY330" fmla="*/ 420013 h 479350"/>
                    <a:gd name="connsiteX331" fmla="*/ 480345 w 1135258"/>
                    <a:gd name="connsiteY331" fmla="*/ 419019 h 479350"/>
                    <a:gd name="connsiteX332" fmla="*/ 478634 w 1135258"/>
                    <a:gd name="connsiteY332" fmla="*/ 416476 h 479350"/>
                    <a:gd name="connsiteX333" fmla="*/ 478064 w 1135258"/>
                    <a:gd name="connsiteY333" fmla="*/ 415082 h 479350"/>
                    <a:gd name="connsiteX334" fmla="*/ 477795 w 1135258"/>
                    <a:gd name="connsiteY334" fmla="*/ 413623 h 479350"/>
                    <a:gd name="connsiteX335" fmla="*/ 477982 w 1135258"/>
                    <a:gd name="connsiteY335" fmla="*/ 412213 h 479350"/>
                    <a:gd name="connsiteX336" fmla="*/ 478691 w 1135258"/>
                    <a:gd name="connsiteY336" fmla="*/ 412124 h 479350"/>
                    <a:gd name="connsiteX337" fmla="*/ 481576 w 1135258"/>
                    <a:gd name="connsiteY337" fmla="*/ 412458 h 479350"/>
                    <a:gd name="connsiteX338" fmla="*/ 486849 w 1135258"/>
                    <a:gd name="connsiteY338" fmla="*/ 414120 h 479350"/>
                    <a:gd name="connsiteX339" fmla="*/ 489465 w 1135258"/>
                    <a:gd name="connsiteY339" fmla="*/ 414259 h 479350"/>
                    <a:gd name="connsiteX340" fmla="*/ 490948 w 1135258"/>
                    <a:gd name="connsiteY340" fmla="*/ 413876 h 479350"/>
                    <a:gd name="connsiteX341" fmla="*/ 494819 w 1135258"/>
                    <a:gd name="connsiteY341" fmla="*/ 410600 h 479350"/>
                    <a:gd name="connsiteX342" fmla="*/ 495724 w 1135258"/>
                    <a:gd name="connsiteY342" fmla="*/ 410657 h 479350"/>
                    <a:gd name="connsiteX343" fmla="*/ 499432 w 1135258"/>
                    <a:gd name="connsiteY343" fmla="*/ 412091 h 479350"/>
                    <a:gd name="connsiteX344" fmla="*/ 502089 w 1135258"/>
                    <a:gd name="connsiteY344" fmla="*/ 413305 h 479350"/>
                    <a:gd name="connsiteX345" fmla="*/ 783670 w 1135258"/>
                    <a:gd name="connsiteY345" fmla="*/ 398644 h 479350"/>
                    <a:gd name="connsiteX346" fmla="*/ 784013 w 1135258"/>
                    <a:gd name="connsiteY346" fmla="*/ 400111 h 479350"/>
                    <a:gd name="connsiteX347" fmla="*/ 783964 w 1135258"/>
                    <a:gd name="connsiteY347" fmla="*/ 400747 h 479350"/>
                    <a:gd name="connsiteX348" fmla="*/ 780989 w 1135258"/>
                    <a:gd name="connsiteY348" fmla="*/ 401219 h 479350"/>
                    <a:gd name="connsiteX349" fmla="*/ 778128 w 1135258"/>
                    <a:gd name="connsiteY349" fmla="*/ 402841 h 479350"/>
                    <a:gd name="connsiteX350" fmla="*/ 776661 w 1135258"/>
                    <a:gd name="connsiteY350" fmla="*/ 404716 h 479350"/>
                    <a:gd name="connsiteX351" fmla="*/ 775512 w 1135258"/>
                    <a:gd name="connsiteY351" fmla="*/ 407136 h 479350"/>
                    <a:gd name="connsiteX352" fmla="*/ 771560 w 1135258"/>
                    <a:gd name="connsiteY352" fmla="*/ 406150 h 479350"/>
                    <a:gd name="connsiteX353" fmla="*/ 768047 w 1135258"/>
                    <a:gd name="connsiteY353" fmla="*/ 405987 h 479350"/>
                    <a:gd name="connsiteX354" fmla="*/ 766491 w 1135258"/>
                    <a:gd name="connsiteY354" fmla="*/ 405140 h 479350"/>
                    <a:gd name="connsiteX355" fmla="*/ 764796 w 1135258"/>
                    <a:gd name="connsiteY355" fmla="*/ 405205 h 479350"/>
                    <a:gd name="connsiteX356" fmla="*/ 762603 w 1135258"/>
                    <a:gd name="connsiteY356" fmla="*/ 405963 h 479350"/>
                    <a:gd name="connsiteX357" fmla="*/ 759490 w 1135258"/>
                    <a:gd name="connsiteY357" fmla="*/ 408016 h 479350"/>
                    <a:gd name="connsiteX358" fmla="*/ 758797 w 1135258"/>
                    <a:gd name="connsiteY358" fmla="*/ 408179 h 479350"/>
                    <a:gd name="connsiteX359" fmla="*/ 759042 w 1135258"/>
                    <a:gd name="connsiteY359" fmla="*/ 405050 h 479350"/>
                    <a:gd name="connsiteX360" fmla="*/ 759906 w 1135258"/>
                    <a:gd name="connsiteY360" fmla="*/ 403126 h 479350"/>
                    <a:gd name="connsiteX361" fmla="*/ 763182 w 1135258"/>
                    <a:gd name="connsiteY361" fmla="*/ 398514 h 479350"/>
                    <a:gd name="connsiteX362" fmla="*/ 765904 w 1135258"/>
                    <a:gd name="connsiteY362" fmla="*/ 399541 h 479350"/>
                    <a:gd name="connsiteX363" fmla="*/ 769090 w 1135258"/>
                    <a:gd name="connsiteY363" fmla="*/ 399826 h 479350"/>
                    <a:gd name="connsiteX364" fmla="*/ 772701 w 1135258"/>
                    <a:gd name="connsiteY364" fmla="*/ 398921 h 479350"/>
                    <a:gd name="connsiteX365" fmla="*/ 775268 w 1135258"/>
                    <a:gd name="connsiteY365" fmla="*/ 396851 h 479350"/>
                    <a:gd name="connsiteX366" fmla="*/ 778911 w 1135258"/>
                    <a:gd name="connsiteY366" fmla="*/ 395759 h 479350"/>
                    <a:gd name="connsiteX367" fmla="*/ 781796 w 1135258"/>
                    <a:gd name="connsiteY367" fmla="*/ 398481 h 479350"/>
                    <a:gd name="connsiteX368" fmla="*/ 783670 w 1135258"/>
                    <a:gd name="connsiteY368" fmla="*/ 398644 h 479350"/>
                    <a:gd name="connsiteX369" fmla="*/ 1074714 w 1135258"/>
                    <a:gd name="connsiteY369" fmla="*/ 416859 h 479350"/>
                    <a:gd name="connsiteX370" fmla="*/ 1068789 w 1135258"/>
                    <a:gd name="connsiteY370" fmla="*/ 420819 h 479350"/>
                    <a:gd name="connsiteX371" fmla="*/ 1061006 w 1135258"/>
                    <a:gd name="connsiteY371" fmla="*/ 420119 h 479350"/>
                    <a:gd name="connsiteX372" fmla="*/ 1058260 w 1135258"/>
                    <a:gd name="connsiteY372" fmla="*/ 420045 h 479350"/>
                    <a:gd name="connsiteX373" fmla="*/ 1053687 w 1135258"/>
                    <a:gd name="connsiteY373" fmla="*/ 421007 h 479350"/>
                    <a:gd name="connsiteX374" fmla="*/ 1052758 w 1135258"/>
                    <a:gd name="connsiteY374" fmla="*/ 420241 h 479350"/>
                    <a:gd name="connsiteX375" fmla="*/ 1053622 w 1135258"/>
                    <a:gd name="connsiteY375" fmla="*/ 416517 h 479350"/>
                    <a:gd name="connsiteX376" fmla="*/ 1057281 w 1135258"/>
                    <a:gd name="connsiteY376" fmla="*/ 406582 h 479350"/>
                    <a:gd name="connsiteX377" fmla="*/ 1061609 w 1135258"/>
                    <a:gd name="connsiteY377" fmla="*/ 397829 h 479350"/>
                    <a:gd name="connsiteX378" fmla="*/ 1063451 w 1135258"/>
                    <a:gd name="connsiteY378" fmla="*/ 395572 h 479350"/>
                    <a:gd name="connsiteX379" fmla="*/ 1066018 w 1135258"/>
                    <a:gd name="connsiteY379" fmla="*/ 393453 h 479350"/>
                    <a:gd name="connsiteX380" fmla="*/ 1068756 w 1135258"/>
                    <a:gd name="connsiteY380" fmla="*/ 391725 h 479350"/>
                    <a:gd name="connsiteX381" fmla="*/ 1074917 w 1135258"/>
                    <a:gd name="connsiteY381" fmla="*/ 389957 h 479350"/>
                    <a:gd name="connsiteX382" fmla="*/ 1080516 w 1135258"/>
                    <a:gd name="connsiteY382" fmla="*/ 390291 h 479350"/>
                    <a:gd name="connsiteX383" fmla="*/ 1081323 w 1135258"/>
                    <a:gd name="connsiteY383" fmla="*/ 391024 h 479350"/>
                    <a:gd name="connsiteX384" fmla="*/ 1083743 w 1135258"/>
                    <a:gd name="connsiteY384" fmla="*/ 393925 h 479350"/>
                    <a:gd name="connsiteX385" fmla="*/ 1085308 w 1135258"/>
                    <a:gd name="connsiteY385" fmla="*/ 396224 h 479350"/>
                    <a:gd name="connsiteX386" fmla="*/ 1085960 w 1135258"/>
                    <a:gd name="connsiteY386" fmla="*/ 399475 h 479350"/>
                    <a:gd name="connsiteX387" fmla="*/ 1083589 w 1135258"/>
                    <a:gd name="connsiteY387" fmla="*/ 405082 h 479350"/>
                    <a:gd name="connsiteX388" fmla="*/ 1080932 w 1135258"/>
                    <a:gd name="connsiteY388" fmla="*/ 410412 h 479350"/>
                    <a:gd name="connsiteX389" fmla="*/ 1076612 w 1135258"/>
                    <a:gd name="connsiteY389" fmla="*/ 414601 h 479350"/>
                    <a:gd name="connsiteX390" fmla="*/ 1074714 w 1135258"/>
                    <a:gd name="connsiteY390" fmla="*/ 416859 h 479350"/>
                    <a:gd name="connsiteX391" fmla="*/ 895900 w 1135258"/>
                    <a:gd name="connsiteY391" fmla="*/ 408619 h 479350"/>
                    <a:gd name="connsiteX392" fmla="*/ 895493 w 1135258"/>
                    <a:gd name="connsiteY392" fmla="*/ 408970 h 479350"/>
                    <a:gd name="connsiteX393" fmla="*/ 892412 w 1135258"/>
                    <a:gd name="connsiteY393" fmla="*/ 408570 h 479350"/>
                    <a:gd name="connsiteX394" fmla="*/ 890644 w 1135258"/>
                    <a:gd name="connsiteY394" fmla="*/ 408554 h 479350"/>
                    <a:gd name="connsiteX395" fmla="*/ 890880 w 1135258"/>
                    <a:gd name="connsiteY395" fmla="*/ 406289 h 479350"/>
                    <a:gd name="connsiteX396" fmla="*/ 889975 w 1135258"/>
                    <a:gd name="connsiteY396" fmla="*/ 404577 h 479350"/>
                    <a:gd name="connsiteX397" fmla="*/ 891214 w 1135258"/>
                    <a:gd name="connsiteY397" fmla="*/ 402075 h 479350"/>
                    <a:gd name="connsiteX398" fmla="*/ 891239 w 1135258"/>
                    <a:gd name="connsiteY398" fmla="*/ 399158 h 479350"/>
                    <a:gd name="connsiteX399" fmla="*/ 892535 w 1135258"/>
                    <a:gd name="connsiteY399" fmla="*/ 398766 h 479350"/>
                    <a:gd name="connsiteX400" fmla="*/ 892714 w 1135258"/>
                    <a:gd name="connsiteY400" fmla="*/ 397104 h 479350"/>
                    <a:gd name="connsiteX401" fmla="*/ 894262 w 1135258"/>
                    <a:gd name="connsiteY401" fmla="*/ 392711 h 479350"/>
                    <a:gd name="connsiteX402" fmla="*/ 895167 w 1135258"/>
                    <a:gd name="connsiteY402" fmla="*/ 391733 h 479350"/>
                    <a:gd name="connsiteX403" fmla="*/ 896463 w 1135258"/>
                    <a:gd name="connsiteY403" fmla="*/ 391358 h 479350"/>
                    <a:gd name="connsiteX404" fmla="*/ 898003 w 1135258"/>
                    <a:gd name="connsiteY404" fmla="*/ 388799 h 479350"/>
                    <a:gd name="connsiteX405" fmla="*/ 898859 w 1135258"/>
                    <a:gd name="connsiteY405" fmla="*/ 388041 h 479350"/>
                    <a:gd name="connsiteX406" fmla="*/ 899771 w 1135258"/>
                    <a:gd name="connsiteY406" fmla="*/ 386110 h 479350"/>
                    <a:gd name="connsiteX407" fmla="*/ 901075 w 1135258"/>
                    <a:gd name="connsiteY407" fmla="*/ 385205 h 479350"/>
                    <a:gd name="connsiteX408" fmla="*/ 900961 w 1135258"/>
                    <a:gd name="connsiteY408" fmla="*/ 383535 h 479350"/>
                    <a:gd name="connsiteX409" fmla="*/ 901703 w 1135258"/>
                    <a:gd name="connsiteY409" fmla="*/ 382654 h 479350"/>
                    <a:gd name="connsiteX410" fmla="*/ 903757 w 1135258"/>
                    <a:gd name="connsiteY410" fmla="*/ 381978 h 479350"/>
                    <a:gd name="connsiteX411" fmla="*/ 905174 w 1135258"/>
                    <a:gd name="connsiteY411" fmla="*/ 382793 h 479350"/>
                    <a:gd name="connsiteX412" fmla="*/ 906047 w 1135258"/>
                    <a:gd name="connsiteY412" fmla="*/ 384504 h 479350"/>
                    <a:gd name="connsiteX413" fmla="*/ 903765 w 1135258"/>
                    <a:gd name="connsiteY413" fmla="*/ 386607 h 479350"/>
                    <a:gd name="connsiteX414" fmla="*/ 904938 w 1135258"/>
                    <a:gd name="connsiteY414" fmla="*/ 391782 h 479350"/>
                    <a:gd name="connsiteX415" fmla="*/ 903284 w 1135258"/>
                    <a:gd name="connsiteY415" fmla="*/ 397405 h 479350"/>
                    <a:gd name="connsiteX416" fmla="*/ 902184 w 1135258"/>
                    <a:gd name="connsiteY416" fmla="*/ 399092 h 479350"/>
                    <a:gd name="connsiteX417" fmla="*/ 900162 w 1135258"/>
                    <a:gd name="connsiteY417" fmla="*/ 400559 h 479350"/>
                    <a:gd name="connsiteX418" fmla="*/ 899543 w 1135258"/>
                    <a:gd name="connsiteY418" fmla="*/ 401928 h 479350"/>
                    <a:gd name="connsiteX419" fmla="*/ 897147 w 1135258"/>
                    <a:gd name="connsiteY419" fmla="*/ 404716 h 479350"/>
                    <a:gd name="connsiteX420" fmla="*/ 896414 w 1135258"/>
                    <a:gd name="connsiteY420" fmla="*/ 407095 h 479350"/>
                    <a:gd name="connsiteX421" fmla="*/ 896316 w 1135258"/>
                    <a:gd name="connsiteY421" fmla="*/ 408090 h 479350"/>
                    <a:gd name="connsiteX422" fmla="*/ 895900 w 1135258"/>
                    <a:gd name="connsiteY422" fmla="*/ 408619 h 479350"/>
                    <a:gd name="connsiteX423" fmla="*/ 462326 w 1135258"/>
                    <a:gd name="connsiteY423" fmla="*/ 381725 h 479350"/>
                    <a:gd name="connsiteX424" fmla="*/ 461862 w 1135258"/>
                    <a:gd name="connsiteY424" fmla="*/ 382174 h 479350"/>
                    <a:gd name="connsiteX425" fmla="*/ 457648 w 1135258"/>
                    <a:gd name="connsiteY425" fmla="*/ 381929 h 479350"/>
                    <a:gd name="connsiteX426" fmla="*/ 454935 w 1135258"/>
                    <a:gd name="connsiteY426" fmla="*/ 384382 h 479350"/>
                    <a:gd name="connsiteX427" fmla="*/ 453060 w 1135258"/>
                    <a:gd name="connsiteY427" fmla="*/ 385140 h 479350"/>
                    <a:gd name="connsiteX428" fmla="*/ 446304 w 1135258"/>
                    <a:gd name="connsiteY428" fmla="*/ 385140 h 479350"/>
                    <a:gd name="connsiteX429" fmla="*/ 445497 w 1135258"/>
                    <a:gd name="connsiteY429" fmla="*/ 384798 h 479350"/>
                    <a:gd name="connsiteX430" fmla="*/ 444902 w 1135258"/>
                    <a:gd name="connsiteY430" fmla="*/ 384806 h 479350"/>
                    <a:gd name="connsiteX431" fmla="*/ 444535 w 1135258"/>
                    <a:gd name="connsiteY431" fmla="*/ 385311 h 479350"/>
                    <a:gd name="connsiteX432" fmla="*/ 442384 w 1135258"/>
                    <a:gd name="connsiteY432" fmla="*/ 384936 h 479350"/>
                    <a:gd name="connsiteX433" fmla="*/ 435514 w 1135258"/>
                    <a:gd name="connsiteY433" fmla="*/ 382760 h 479350"/>
                    <a:gd name="connsiteX434" fmla="*/ 434585 w 1135258"/>
                    <a:gd name="connsiteY434" fmla="*/ 380756 h 479350"/>
                    <a:gd name="connsiteX435" fmla="*/ 435652 w 1135258"/>
                    <a:gd name="connsiteY435" fmla="*/ 378596 h 479350"/>
                    <a:gd name="connsiteX436" fmla="*/ 438113 w 1135258"/>
                    <a:gd name="connsiteY436" fmla="*/ 375548 h 479350"/>
                    <a:gd name="connsiteX437" fmla="*/ 443052 w 1135258"/>
                    <a:gd name="connsiteY437" fmla="*/ 374953 h 479350"/>
                    <a:gd name="connsiteX438" fmla="*/ 465553 w 1135258"/>
                    <a:gd name="connsiteY438" fmla="*/ 374757 h 479350"/>
                    <a:gd name="connsiteX439" fmla="*/ 468015 w 1135258"/>
                    <a:gd name="connsiteY439" fmla="*/ 377365 h 479350"/>
                    <a:gd name="connsiteX440" fmla="*/ 468243 w 1135258"/>
                    <a:gd name="connsiteY440" fmla="*/ 378245 h 479350"/>
                    <a:gd name="connsiteX441" fmla="*/ 463337 w 1135258"/>
                    <a:gd name="connsiteY441" fmla="*/ 380038 h 479350"/>
                    <a:gd name="connsiteX442" fmla="*/ 462326 w 1135258"/>
                    <a:gd name="connsiteY442" fmla="*/ 381725 h 479350"/>
                    <a:gd name="connsiteX443" fmla="*/ 975547 w 1135258"/>
                    <a:gd name="connsiteY443" fmla="*/ 361807 h 479350"/>
                    <a:gd name="connsiteX444" fmla="*/ 975132 w 1135258"/>
                    <a:gd name="connsiteY444" fmla="*/ 363934 h 479350"/>
                    <a:gd name="connsiteX445" fmla="*/ 974741 w 1135258"/>
                    <a:gd name="connsiteY445" fmla="*/ 366298 h 479350"/>
                    <a:gd name="connsiteX446" fmla="*/ 972459 w 1135258"/>
                    <a:gd name="connsiteY446" fmla="*/ 368947 h 479350"/>
                    <a:gd name="connsiteX447" fmla="*/ 971057 w 1135258"/>
                    <a:gd name="connsiteY447" fmla="*/ 373005 h 479350"/>
                    <a:gd name="connsiteX448" fmla="*/ 970234 w 1135258"/>
                    <a:gd name="connsiteY448" fmla="*/ 374016 h 479350"/>
                    <a:gd name="connsiteX449" fmla="*/ 967178 w 1135258"/>
                    <a:gd name="connsiteY449" fmla="*/ 375825 h 479350"/>
                    <a:gd name="connsiteX450" fmla="*/ 964480 w 1135258"/>
                    <a:gd name="connsiteY450" fmla="*/ 373584 h 479350"/>
                    <a:gd name="connsiteX451" fmla="*/ 963690 w 1135258"/>
                    <a:gd name="connsiteY451" fmla="*/ 371644 h 479350"/>
                    <a:gd name="connsiteX452" fmla="*/ 964880 w 1135258"/>
                    <a:gd name="connsiteY452" fmla="*/ 362696 h 479350"/>
                    <a:gd name="connsiteX453" fmla="*/ 966045 w 1135258"/>
                    <a:gd name="connsiteY453" fmla="*/ 362997 h 479350"/>
                    <a:gd name="connsiteX454" fmla="*/ 966819 w 1135258"/>
                    <a:gd name="connsiteY454" fmla="*/ 362932 h 479350"/>
                    <a:gd name="connsiteX455" fmla="*/ 967056 w 1135258"/>
                    <a:gd name="connsiteY455" fmla="*/ 362337 h 479350"/>
                    <a:gd name="connsiteX456" fmla="*/ 965320 w 1135258"/>
                    <a:gd name="connsiteY456" fmla="*/ 361351 h 479350"/>
                    <a:gd name="connsiteX457" fmla="*/ 964986 w 1135258"/>
                    <a:gd name="connsiteY457" fmla="*/ 356200 h 479350"/>
                    <a:gd name="connsiteX458" fmla="*/ 965075 w 1135258"/>
                    <a:gd name="connsiteY458" fmla="*/ 354269 h 479350"/>
                    <a:gd name="connsiteX459" fmla="*/ 966395 w 1135258"/>
                    <a:gd name="connsiteY459" fmla="*/ 353829 h 479350"/>
                    <a:gd name="connsiteX460" fmla="*/ 968033 w 1135258"/>
                    <a:gd name="connsiteY460" fmla="*/ 355336 h 479350"/>
                    <a:gd name="connsiteX461" fmla="*/ 970112 w 1135258"/>
                    <a:gd name="connsiteY461" fmla="*/ 358026 h 479350"/>
                    <a:gd name="connsiteX462" fmla="*/ 972524 w 1135258"/>
                    <a:gd name="connsiteY462" fmla="*/ 360153 h 479350"/>
                    <a:gd name="connsiteX463" fmla="*/ 975547 w 1135258"/>
                    <a:gd name="connsiteY463" fmla="*/ 361807 h 479350"/>
                    <a:gd name="connsiteX464" fmla="*/ 301842 w 1135258"/>
                    <a:gd name="connsiteY464" fmla="*/ 348751 h 479350"/>
                    <a:gd name="connsiteX465" fmla="*/ 304344 w 1135258"/>
                    <a:gd name="connsiteY465" fmla="*/ 352182 h 479350"/>
                    <a:gd name="connsiteX466" fmla="*/ 306536 w 1135258"/>
                    <a:gd name="connsiteY466" fmla="*/ 354016 h 479350"/>
                    <a:gd name="connsiteX467" fmla="*/ 309111 w 1135258"/>
                    <a:gd name="connsiteY467" fmla="*/ 355011 h 479350"/>
                    <a:gd name="connsiteX468" fmla="*/ 311817 w 1135258"/>
                    <a:gd name="connsiteY468" fmla="*/ 355108 h 479350"/>
                    <a:gd name="connsiteX469" fmla="*/ 314490 w 1135258"/>
                    <a:gd name="connsiteY469" fmla="*/ 355540 h 479350"/>
                    <a:gd name="connsiteX470" fmla="*/ 317587 w 1135258"/>
                    <a:gd name="connsiteY470" fmla="*/ 356852 h 479350"/>
                    <a:gd name="connsiteX471" fmla="*/ 320782 w 1135258"/>
                    <a:gd name="connsiteY471" fmla="*/ 357439 h 479350"/>
                    <a:gd name="connsiteX472" fmla="*/ 322273 w 1135258"/>
                    <a:gd name="connsiteY472" fmla="*/ 357219 h 479350"/>
                    <a:gd name="connsiteX473" fmla="*/ 323699 w 1135258"/>
                    <a:gd name="connsiteY473" fmla="*/ 356534 h 479350"/>
                    <a:gd name="connsiteX474" fmla="*/ 324694 w 1135258"/>
                    <a:gd name="connsiteY474" fmla="*/ 356494 h 479350"/>
                    <a:gd name="connsiteX475" fmla="*/ 325566 w 1135258"/>
                    <a:gd name="connsiteY475" fmla="*/ 357121 h 479350"/>
                    <a:gd name="connsiteX476" fmla="*/ 327774 w 1135258"/>
                    <a:gd name="connsiteY476" fmla="*/ 360023 h 479350"/>
                    <a:gd name="connsiteX477" fmla="*/ 330162 w 1135258"/>
                    <a:gd name="connsiteY477" fmla="*/ 362679 h 479350"/>
                    <a:gd name="connsiteX478" fmla="*/ 330716 w 1135258"/>
                    <a:gd name="connsiteY478" fmla="*/ 364024 h 479350"/>
                    <a:gd name="connsiteX479" fmla="*/ 332338 w 1135258"/>
                    <a:gd name="connsiteY479" fmla="*/ 370430 h 479350"/>
                    <a:gd name="connsiteX480" fmla="*/ 334188 w 1135258"/>
                    <a:gd name="connsiteY480" fmla="*/ 372264 h 479350"/>
                    <a:gd name="connsiteX481" fmla="*/ 336715 w 1135258"/>
                    <a:gd name="connsiteY481" fmla="*/ 372801 h 479350"/>
                    <a:gd name="connsiteX482" fmla="*/ 339681 w 1135258"/>
                    <a:gd name="connsiteY482" fmla="*/ 372801 h 479350"/>
                    <a:gd name="connsiteX483" fmla="*/ 342631 w 1135258"/>
                    <a:gd name="connsiteY483" fmla="*/ 373078 h 479350"/>
                    <a:gd name="connsiteX484" fmla="*/ 349477 w 1135258"/>
                    <a:gd name="connsiteY484" fmla="*/ 374570 h 479350"/>
                    <a:gd name="connsiteX485" fmla="*/ 352183 w 1135258"/>
                    <a:gd name="connsiteY485" fmla="*/ 374366 h 479350"/>
                    <a:gd name="connsiteX486" fmla="*/ 354595 w 1135258"/>
                    <a:gd name="connsiteY486" fmla="*/ 372858 h 479350"/>
                    <a:gd name="connsiteX487" fmla="*/ 356738 w 1135258"/>
                    <a:gd name="connsiteY487" fmla="*/ 373828 h 479350"/>
                    <a:gd name="connsiteX488" fmla="*/ 362541 w 1135258"/>
                    <a:gd name="connsiteY488" fmla="*/ 375638 h 479350"/>
                    <a:gd name="connsiteX489" fmla="*/ 365401 w 1135258"/>
                    <a:gd name="connsiteY489" fmla="*/ 376037 h 479350"/>
                    <a:gd name="connsiteX490" fmla="*/ 368654 w 1135258"/>
                    <a:gd name="connsiteY490" fmla="*/ 375523 h 479350"/>
                    <a:gd name="connsiteX491" fmla="*/ 371897 w 1135258"/>
                    <a:gd name="connsiteY491" fmla="*/ 375417 h 479350"/>
                    <a:gd name="connsiteX492" fmla="*/ 373445 w 1135258"/>
                    <a:gd name="connsiteY492" fmla="*/ 375939 h 479350"/>
                    <a:gd name="connsiteX493" fmla="*/ 374945 w 1135258"/>
                    <a:gd name="connsiteY493" fmla="*/ 376713 h 479350"/>
                    <a:gd name="connsiteX494" fmla="*/ 376224 w 1135258"/>
                    <a:gd name="connsiteY494" fmla="*/ 376990 h 479350"/>
                    <a:gd name="connsiteX495" fmla="*/ 377553 w 1135258"/>
                    <a:gd name="connsiteY495" fmla="*/ 376982 h 479350"/>
                    <a:gd name="connsiteX496" fmla="*/ 379900 w 1135258"/>
                    <a:gd name="connsiteY496" fmla="*/ 375466 h 479350"/>
                    <a:gd name="connsiteX497" fmla="*/ 381440 w 1135258"/>
                    <a:gd name="connsiteY497" fmla="*/ 372728 h 479350"/>
                    <a:gd name="connsiteX498" fmla="*/ 382704 w 1135258"/>
                    <a:gd name="connsiteY498" fmla="*/ 369256 h 479350"/>
                    <a:gd name="connsiteX499" fmla="*/ 383690 w 1135258"/>
                    <a:gd name="connsiteY499" fmla="*/ 365638 h 479350"/>
                    <a:gd name="connsiteX500" fmla="*/ 384350 w 1135258"/>
                    <a:gd name="connsiteY500" fmla="*/ 364089 h 479350"/>
                    <a:gd name="connsiteX501" fmla="*/ 385238 w 1135258"/>
                    <a:gd name="connsiteY501" fmla="*/ 362712 h 479350"/>
                    <a:gd name="connsiteX502" fmla="*/ 386411 w 1135258"/>
                    <a:gd name="connsiteY502" fmla="*/ 361832 h 479350"/>
                    <a:gd name="connsiteX503" fmla="*/ 387666 w 1135258"/>
                    <a:gd name="connsiteY503" fmla="*/ 361270 h 479350"/>
                    <a:gd name="connsiteX504" fmla="*/ 391081 w 1135258"/>
                    <a:gd name="connsiteY504" fmla="*/ 361620 h 479350"/>
                    <a:gd name="connsiteX505" fmla="*/ 391791 w 1135258"/>
                    <a:gd name="connsiteY505" fmla="*/ 362484 h 479350"/>
                    <a:gd name="connsiteX506" fmla="*/ 395604 w 1135258"/>
                    <a:gd name="connsiteY506" fmla="*/ 368620 h 479350"/>
                    <a:gd name="connsiteX507" fmla="*/ 396281 w 1135258"/>
                    <a:gd name="connsiteY507" fmla="*/ 369150 h 479350"/>
                    <a:gd name="connsiteX508" fmla="*/ 400250 w 1135258"/>
                    <a:gd name="connsiteY508" fmla="*/ 369550 h 479350"/>
                    <a:gd name="connsiteX509" fmla="*/ 401358 w 1135258"/>
                    <a:gd name="connsiteY509" fmla="*/ 369338 h 479350"/>
                    <a:gd name="connsiteX510" fmla="*/ 403779 w 1135258"/>
                    <a:gd name="connsiteY510" fmla="*/ 368107 h 479350"/>
                    <a:gd name="connsiteX511" fmla="*/ 405172 w 1135258"/>
                    <a:gd name="connsiteY511" fmla="*/ 368001 h 479350"/>
                    <a:gd name="connsiteX512" fmla="*/ 407723 w 1135258"/>
                    <a:gd name="connsiteY512" fmla="*/ 369525 h 479350"/>
                    <a:gd name="connsiteX513" fmla="*/ 408840 w 1135258"/>
                    <a:gd name="connsiteY513" fmla="*/ 370805 h 479350"/>
                    <a:gd name="connsiteX514" fmla="*/ 410062 w 1135258"/>
                    <a:gd name="connsiteY514" fmla="*/ 371766 h 479350"/>
                    <a:gd name="connsiteX515" fmla="*/ 416321 w 1135258"/>
                    <a:gd name="connsiteY515" fmla="*/ 372744 h 479350"/>
                    <a:gd name="connsiteX516" fmla="*/ 418742 w 1135258"/>
                    <a:gd name="connsiteY516" fmla="*/ 375360 h 479350"/>
                    <a:gd name="connsiteX517" fmla="*/ 419956 w 1135258"/>
                    <a:gd name="connsiteY517" fmla="*/ 375719 h 479350"/>
                    <a:gd name="connsiteX518" fmla="*/ 424316 w 1135258"/>
                    <a:gd name="connsiteY518" fmla="*/ 375401 h 479350"/>
                    <a:gd name="connsiteX519" fmla="*/ 427323 w 1135258"/>
                    <a:gd name="connsiteY519" fmla="*/ 375654 h 479350"/>
                    <a:gd name="connsiteX520" fmla="*/ 429939 w 1135258"/>
                    <a:gd name="connsiteY520" fmla="*/ 376363 h 479350"/>
                    <a:gd name="connsiteX521" fmla="*/ 431129 w 1135258"/>
                    <a:gd name="connsiteY521" fmla="*/ 380087 h 479350"/>
                    <a:gd name="connsiteX522" fmla="*/ 432091 w 1135258"/>
                    <a:gd name="connsiteY522" fmla="*/ 383918 h 479350"/>
                    <a:gd name="connsiteX523" fmla="*/ 432662 w 1135258"/>
                    <a:gd name="connsiteY523" fmla="*/ 385222 h 479350"/>
                    <a:gd name="connsiteX524" fmla="*/ 435212 w 1135258"/>
                    <a:gd name="connsiteY524" fmla="*/ 386542 h 479350"/>
                    <a:gd name="connsiteX525" fmla="*/ 436263 w 1135258"/>
                    <a:gd name="connsiteY525" fmla="*/ 387724 h 479350"/>
                    <a:gd name="connsiteX526" fmla="*/ 435978 w 1135258"/>
                    <a:gd name="connsiteY526" fmla="*/ 391546 h 479350"/>
                    <a:gd name="connsiteX527" fmla="*/ 436272 w 1135258"/>
                    <a:gd name="connsiteY527" fmla="*/ 395180 h 479350"/>
                    <a:gd name="connsiteX528" fmla="*/ 441699 w 1135258"/>
                    <a:gd name="connsiteY528" fmla="*/ 398351 h 479350"/>
                    <a:gd name="connsiteX529" fmla="*/ 447534 w 1135258"/>
                    <a:gd name="connsiteY529" fmla="*/ 400160 h 479350"/>
                    <a:gd name="connsiteX530" fmla="*/ 453712 w 1135258"/>
                    <a:gd name="connsiteY530" fmla="*/ 400331 h 479350"/>
                    <a:gd name="connsiteX531" fmla="*/ 459914 w 1135258"/>
                    <a:gd name="connsiteY531" fmla="*/ 399703 h 479350"/>
                    <a:gd name="connsiteX532" fmla="*/ 463109 w 1135258"/>
                    <a:gd name="connsiteY532" fmla="*/ 398929 h 479350"/>
                    <a:gd name="connsiteX533" fmla="*/ 467094 w 1135258"/>
                    <a:gd name="connsiteY533" fmla="*/ 397568 h 479350"/>
                    <a:gd name="connsiteX534" fmla="*/ 467925 w 1135258"/>
                    <a:gd name="connsiteY534" fmla="*/ 397593 h 479350"/>
                    <a:gd name="connsiteX535" fmla="*/ 475668 w 1135258"/>
                    <a:gd name="connsiteY535" fmla="*/ 401766 h 479350"/>
                    <a:gd name="connsiteX536" fmla="*/ 476328 w 1135258"/>
                    <a:gd name="connsiteY536" fmla="*/ 402401 h 479350"/>
                    <a:gd name="connsiteX537" fmla="*/ 477183 w 1135258"/>
                    <a:gd name="connsiteY537" fmla="*/ 405506 h 479350"/>
                    <a:gd name="connsiteX538" fmla="*/ 477167 w 1135258"/>
                    <a:gd name="connsiteY538" fmla="*/ 408774 h 479350"/>
                    <a:gd name="connsiteX539" fmla="*/ 475708 w 1135258"/>
                    <a:gd name="connsiteY539" fmla="*/ 416557 h 479350"/>
                    <a:gd name="connsiteX540" fmla="*/ 475627 w 1135258"/>
                    <a:gd name="connsiteY540" fmla="*/ 418701 h 479350"/>
                    <a:gd name="connsiteX541" fmla="*/ 475766 w 1135258"/>
                    <a:gd name="connsiteY541" fmla="*/ 420836 h 479350"/>
                    <a:gd name="connsiteX542" fmla="*/ 477298 w 1135258"/>
                    <a:gd name="connsiteY542" fmla="*/ 425473 h 479350"/>
                    <a:gd name="connsiteX543" fmla="*/ 478120 w 1135258"/>
                    <a:gd name="connsiteY543" fmla="*/ 426818 h 479350"/>
                    <a:gd name="connsiteX544" fmla="*/ 480932 w 1135258"/>
                    <a:gd name="connsiteY544" fmla="*/ 429246 h 479350"/>
                    <a:gd name="connsiteX545" fmla="*/ 481030 w 1135258"/>
                    <a:gd name="connsiteY545" fmla="*/ 430526 h 479350"/>
                    <a:gd name="connsiteX546" fmla="*/ 480647 w 1135258"/>
                    <a:gd name="connsiteY546" fmla="*/ 431797 h 479350"/>
                    <a:gd name="connsiteX547" fmla="*/ 477558 w 1135258"/>
                    <a:gd name="connsiteY547" fmla="*/ 430933 h 479350"/>
                    <a:gd name="connsiteX548" fmla="*/ 475675 w 1135258"/>
                    <a:gd name="connsiteY548" fmla="*/ 429866 h 479350"/>
                    <a:gd name="connsiteX549" fmla="*/ 474592 w 1135258"/>
                    <a:gd name="connsiteY549" fmla="*/ 428122 h 479350"/>
                    <a:gd name="connsiteX550" fmla="*/ 473043 w 1135258"/>
                    <a:gd name="connsiteY550" fmla="*/ 427127 h 479350"/>
                    <a:gd name="connsiteX551" fmla="*/ 470142 w 1135258"/>
                    <a:gd name="connsiteY551" fmla="*/ 427486 h 479350"/>
                    <a:gd name="connsiteX552" fmla="*/ 464698 w 1135258"/>
                    <a:gd name="connsiteY552" fmla="*/ 425750 h 479350"/>
                    <a:gd name="connsiteX553" fmla="*/ 458553 w 1135258"/>
                    <a:gd name="connsiteY553" fmla="*/ 423020 h 479350"/>
                    <a:gd name="connsiteX554" fmla="*/ 447657 w 1135258"/>
                    <a:gd name="connsiteY554" fmla="*/ 417266 h 479350"/>
                    <a:gd name="connsiteX555" fmla="*/ 444690 w 1135258"/>
                    <a:gd name="connsiteY555" fmla="*/ 417315 h 479350"/>
                    <a:gd name="connsiteX556" fmla="*/ 441846 w 1135258"/>
                    <a:gd name="connsiteY556" fmla="*/ 418057 h 479350"/>
                    <a:gd name="connsiteX557" fmla="*/ 438839 w 1135258"/>
                    <a:gd name="connsiteY557" fmla="*/ 419524 h 479350"/>
                    <a:gd name="connsiteX558" fmla="*/ 435709 w 1135258"/>
                    <a:gd name="connsiteY558" fmla="*/ 420567 h 479350"/>
                    <a:gd name="connsiteX559" fmla="*/ 433411 w 1135258"/>
                    <a:gd name="connsiteY559" fmla="*/ 420958 h 479350"/>
                    <a:gd name="connsiteX560" fmla="*/ 431113 w 1135258"/>
                    <a:gd name="connsiteY560" fmla="*/ 420681 h 479350"/>
                    <a:gd name="connsiteX561" fmla="*/ 425294 w 1135258"/>
                    <a:gd name="connsiteY561" fmla="*/ 419287 h 479350"/>
                    <a:gd name="connsiteX562" fmla="*/ 419426 w 1135258"/>
                    <a:gd name="connsiteY562" fmla="*/ 418399 h 479350"/>
                    <a:gd name="connsiteX563" fmla="*/ 404415 w 1135258"/>
                    <a:gd name="connsiteY563" fmla="*/ 417829 h 479350"/>
                    <a:gd name="connsiteX564" fmla="*/ 400169 w 1135258"/>
                    <a:gd name="connsiteY564" fmla="*/ 416533 h 479350"/>
                    <a:gd name="connsiteX565" fmla="*/ 393151 w 1135258"/>
                    <a:gd name="connsiteY565" fmla="*/ 415864 h 479350"/>
                    <a:gd name="connsiteX566" fmla="*/ 387560 w 1135258"/>
                    <a:gd name="connsiteY566" fmla="*/ 414724 h 479350"/>
                    <a:gd name="connsiteX567" fmla="*/ 382035 w 1135258"/>
                    <a:gd name="connsiteY567" fmla="*/ 413143 h 479350"/>
                    <a:gd name="connsiteX568" fmla="*/ 367928 w 1135258"/>
                    <a:gd name="connsiteY568" fmla="*/ 405359 h 479350"/>
                    <a:gd name="connsiteX569" fmla="*/ 363323 w 1135258"/>
                    <a:gd name="connsiteY569" fmla="*/ 403493 h 479350"/>
                    <a:gd name="connsiteX570" fmla="*/ 349159 w 1135258"/>
                    <a:gd name="connsiteY570" fmla="*/ 399785 h 479350"/>
                    <a:gd name="connsiteX571" fmla="*/ 346967 w 1135258"/>
                    <a:gd name="connsiteY571" fmla="*/ 399484 h 479350"/>
                    <a:gd name="connsiteX572" fmla="*/ 341841 w 1135258"/>
                    <a:gd name="connsiteY572" fmla="*/ 399752 h 479350"/>
                    <a:gd name="connsiteX573" fmla="*/ 338605 w 1135258"/>
                    <a:gd name="connsiteY573" fmla="*/ 398669 h 479350"/>
                    <a:gd name="connsiteX574" fmla="*/ 335753 w 1135258"/>
                    <a:gd name="connsiteY574" fmla="*/ 398644 h 479350"/>
                    <a:gd name="connsiteX575" fmla="*/ 331515 w 1135258"/>
                    <a:gd name="connsiteY575" fmla="*/ 399842 h 479350"/>
                    <a:gd name="connsiteX576" fmla="*/ 330211 w 1135258"/>
                    <a:gd name="connsiteY576" fmla="*/ 400706 h 479350"/>
                    <a:gd name="connsiteX577" fmla="*/ 328573 w 1135258"/>
                    <a:gd name="connsiteY577" fmla="*/ 402540 h 479350"/>
                    <a:gd name="connsiteX578" fmla="*/ 325688 w 1135258"/>
                    <a:gd name="connsiteY578" fmla="*/ 402450 h 479350"/>
                    <a:gd name="connsiteX579" fmla="*/ 322844 w 1135258"/>
                    <a:gd name="connsiteY579" fmla="*/ 402100 h 479350"/>
                    <a:gd name="connsiteX580" fmla="*/ 315322 w 1135258"/>
                    <a:gd name="connsiteY580" fmla="*/ 400347 h 479350"/>
                    <a:gd name="connsiteX581" fmla="*/ 312510 w 1135258"/>
                    <a:gd name="connsiteY581" fmla="*/ 399280 h 479350"/>
                    <a:gd name="connsiteX582" fmla="*/ 309821 w 1135258"/>
                    <a:gd name="connsiteY582" fmla="*/ 397691 h 479350"/>
                    <a:gd name="connsiteX583" fmla="*/ 307384 w 1135258"/>
                    <a:gd name="connsiteY583" fmla="*/ 395621 h 479350"/>
                    <a:gd name="connsiteX584" fmla="*/ 306129 w 1135258"/>
                    <a:gd name="connsiteY584" fmla="*/ 394863 h 479350"/>
                    <a:gd name="connsiteX585" fmla="*/ 299634 w 1135258"/>
                    <a:gd name="connsiteY585" fmla="*/ 392760 h 479350"/>
                    <a:gd name="connsiteX586" fmla="*/ 294336 w 1135258"/>
                    <a:gd name="connsiteY586" fmla="*/ 392027 h 479350"/>
                    <a:gd name="connsiteX587" fmla="*/ 283424 w 1135258"/>
                    <a:gd name="connsiteY587" fmla="*/ 391073 h 479350"/>
                    <a:gd name="connsiteX588" fmla="*/ 281035 w 1135258"/>
                    <a:gd name="connsiteY588" fmla="*/ 390437 h 479350"/>
                    <a:gd name="connsiteX589" fmla="*/ 279055 w 1135258"/>
                    <a:gd name="connsiteY589" fmla="*/ 389655 h 479350"/>
                    <a:gd name="connsiteX590" fmla="*/ 277963 w 1135258"/>
                    <a:gd name="connsiteY590" fmla="*/ 387943 h 479350"/>
                    <a:gd name="connsiteX591" fmla="*/ 278102 w 1135258"/>
                    <a:gd name="connsiteY591" fmla="*/ 385768 h 479350"/>
                    <a:gd name="connsiteX592" fmla="*/ 278884 w 1135258"/>
                    <a:gd name="connsiteY592" fmla="*/ 383885 h 479350"/>
                    <a:gd name="connsiteX593" fmla="*/ 279960 w 1135258"/>
                    <a:gd name="connsiteY593" fmla="*/ 382002 h 479350"/>
                    <a:gd name="connsiteX594" fmla="*/ 280661 w 1135258"/>
                    <a:gd name="connsiteY594" fmla="*/ 380193 h 479350"/>
                    <a:gd name="connsiteX595" fmla="*/ 272682 w 1135258"/>
                    <a:gd name="connsiteY595" fmla="*/ 376404 h 479350"/>
                    <a:gd name="connsiteX596" fmla="*/ 266390 w 1135258"/>
                    <a:gd name="connsiteY596" fmla="*/ 374334 h 479350"/>
                    <a:gd name="connsiteX597" fmla="*/ 263669 w 1135258"/>
                    <a:gd name="connsiteY597" fmla="*/ 373942 h 479350"/>
                    <a:gd name="connsiteX598" fmla="*/ 260947 w 1135258"/>
                    <a:gd name="connsiteY598" fmla="*/ 373951 h 479350"/>
                    <a:gd name="connsiteX599" fmla="*/ 257874 w 1135258"/>
                    <a:gd name="connsiteY599" fmla="*/ 374382 h 479350"/>
                    <a:gd name="connsiteX600" fmla="*/ 254834 w 1135258"/>
                    <a:gd name="connsiteY600" fmla="*/ 374187 h 479350"/>
                    <a:gd name="connsiteX601" fmla="*/ 253400 w 1135258"/>
                    <a:gd name="connsiteY601" fmla="*/ 373568 h 479350"/>
                    <a:gd name="connsiteX602" fmla="*/ 251933 w 1135258"/>
                    <a:gd name="connsiteY602" fmla="*/ 373364 h 479350"/>
                    <a:gd name="connsiteX603" fmla="*/ 250474 w 1135258"/>
                    <a:gd name="connsiteY603" fmla="*/ 373804 h 479350"/>
                    <a:gd name="connsiteX604" fmla="*/ 249284 w 1135258"/>
                    <a:gd name="connsiteY604" fmla="*/ 373641 h 479350"/>
                    <a:gd name="connsiteX605" fmla="*/ 248991 w 1135258"/>
                    <a:gd name="connsiteY605" fmla="*/ 371913 h 479350"/>
                    <a:gd name="connsiteX606" fmla="*/ 249741 w 1135258"/>
                    <a:gd name="connsiteY606" fmla="*/ 370454 h 479350"/>
                    <a:gd name="connsiteX607" fmla="*/ 251281 w 1135258"/>
                    <a:gd name="connsiteY607" fmla="*/ 368792 h 479350"/>
                    <a:gd name="connsiteX608" fmla="*/ 252153 w 1135258"/>
                    <a:gd name="connsiteY608" fmla="*/ 368498 h 479350"/>
                    <a:gd name="connsiteX609" fmla="*/ 252552 w 1135258"/>
                    <a:gd name="connsiteY609" fmla="*/ 371090 h 479350"/>
                    <a:gd name="connsiteX610" fmla="*/ 252992 w 1135258"/>
                    <a:gd name="connsiteY610" fmla="*/ 371603 h 479350"/>
                    <a:gd name="connsiteX611" fmla="*/ 254370 w 1135258"/>
                    <a:gd name="connsiteY611" fmla="*/ 372174 h 479350"/>
                    <a:gd name="connsiteX612" fmla="*/ 254948 w 1135258"/>
                    <a:gd name="connsiteY612" fmla="*/ 372003 h 479350"/>
                    <a:gd name="connsiteX613" fmla="*/ 257361 w 1135258"/>
                    <a:gd name="connsiteY613" fmla="*/ 368686 h 479350"/>
                    <a:gd name="connsiteX614" fmla="*/ 258029 w 1135258"/>
                    <a:gd name="connsiteY614" fmla="*/ 367048 h 479350"/>
                    <a:gd name="connsiteX615" fmla="*/ 259202 w 1135258"/>
                    <a:gd name="connsiteY615" fmla="*/ 362639 h 479350"/>
                    <a:gd name="connsiteX616" fmla="*/ 260474 w 1135258"/>
                    <a:gd name="connsiteY616" fmla="*/ 363486 h 479350"/>
                    <a:gd name="connsiteX617" fmla="*/ 261737 w 1135258"/>
                    <a:gd name="connsiteY617" fmla="*/ 362957 h 479350"/>
                    <a:gd name="connsiteX618" fmla="*/ 262470 w 1135258"/>
                    <a:gd name="connsiteY618" fmla="*/ 362264 h 479350"/>
                    <a:gd name="connsiteX619" fmla="*/ 264483 w 1135258"/>
                    <a:gd name="connsiteY619" fmla="*/ 352028 h 479350"/>
                    <a:gd name="connsiteX620" fmla="*/ 266171 w 1135258"/>
                    <a:gd name="connsiteY620" fmla="*/ 349045 h 479350"/>
                    <a:gd name="connsiteX621" fmla="*/ 268461 w 1135258"/>
                    <a:gd name="connsiteY621" fmla="*/ 346559 h 479350"/>
                    <a:gd name="connsiteX622" fmla="*/ 269618 w 1135258"/>
                    <a:gd name="connsiteY622" fmla="*/ 345956 h 479350"/>
                    <a:gd name="connsiteX623" fmla="*/ 271867 w 1135258"/>
                    <a:gd name="connsiteY623" fmla="*/ 347480 h 479350"/>
                    <a:gd name="connsiteX624" fmla="*/ 276431 w 1135258"/>
                    <a:gd name="connsiteY624" fmla="*/ 348059 h 479350"/>
                    <a:gd name="connsiteX625" fmla="*/ 279145 w 1135258"/>
                    <a:gd name="connsiteY625" fmla="*/ 349061 h 479350"/>
                    <a:gd name="connsiteX626" fmla="*/ 281859 w 1135258"/>
                    <a:gd name="connsiteY626" fmla="*/ 349200 h 479350"/>
                    <a:gd name="connsiteX627" fmla="*/ 284515 w 1135258"/>
                    <a:gd name="connsiteY627" fmla="*/ 349697 h 479350"/>
                    <a:gd name="connsiteX628" fmla="*/ 288224 w 1135258"/>
                    <a:gd name="connsiteY628" fmla="*/ 351490 h 479350"/>
                    <a:gd name="connsiteX629" fmla="*/ 289527 w 1135258"/>
                    <a:gd name="connsiteY629" fmla="*/ 351302 h 479350"/>
                    <a:gd name="connsiteX630" fmla="*/ 290864 w 1135258"/>
                    <a:gd name="connsiteY630" fmla="*/ 350756 h 479350"/>
                    <a:gd name="connsiteX631" fmla="*/ 292845 w 1135258"/>
                    <a:gd name="connsiteY631" fmla="*/ 348808 h 479350"/>
                    <a:gd name="connsiteX632" fmla="*/ 293700 w 1135258"/>
                    <a:gd name="connsiteY632" fmla="*/ 345671 h 479350"/>
                    <a:gd name="connsiteX633" fmla="*/ 296569 w 1135258"/>
                    <a:gd name="connsiteY633" fmla="*/ 347268 h 479350"/>
                    <a:gd name="connsiteX634" fmla="*/ 300783 w 1135258"/>
                    <a:gd name="connsiteY634" fmla="*/ 347888 h 479350"/>
                    <a:gd name="connsiteX635" fmla="*/ 301842 w 1135258"/>
                    <a:gd name="connsiteY635" fmla="*/ 348751 h 479350"/>
                    <a:gd name="connsiteX636" fmla="*/ 980755 w 1135258"/>
                    <a:gd name="connsiteY636" fmla="*/ 339738 h 479350"/>
                    <a:gd name="connsiteX637" fmla="*/ 980568 w 1135258"/>
                    <a:gd name="connsiteY637" fmla="*/ 340903 h 479350"/>
                    <a:gd name="connsiteX638" fmla="*/ 980552 w 1135258"/>
                    <a:gd name="connsiteY638" fmla="*/ 343030 h 479350"/>
                    <a:gd name="connsiteX639" fmla="*/ 980959 w 1135258"/>
                    <a:gd name="connsiteY639" fmla="*/ 345011 h 479350"/>
                    <a:gd name="connsiteX640" fmla="*/ 979899 w 1135258"/>
                    <a:gd name="connsiteY640" fmla="*/ 347024 h 479350"/>
                    <a:gd name="connsiteX641" fmla="*/ 980894 w 1135258"/>
                    <a:gd name="connsiteY641" fmla="*/ 350047 h 479350"/>
                    <a:gd name="connsiteX642" fmla="*/ 981041 w 1135258"/>
                    <a:gd name="connsiteY642" fmla="*/ 351539 h 479350"/>
                    <a:gd name="connsiteX643" fmla="*/ 980983 w 1135258"/>
                    <a:gd name="connsiteY643" fmla="*/ 353658 h 479350"/>
                    <a:gd name="connsiteX644" fmla="*/ 980706 w 1135258"/>
                    <a:gd name="connsiteY644" fmla="*/ 354619 h 479350"/>
                    <a:gd name="connsiteX645" fmla="*/ 979949 w 1135258"/>
                    <a:gd name="connsiteY645" fmla="*/ 357390 h 479350"/>
                    <a:gd name="connsiteX646" fmla="*/ 979199 w 1135258"/>
                    <a:gd name="connsiteY646" fmla="*/ 358392 h 479350"/>
                    <a:gd name="connsiteX647" fmla="*/ 978628 w 1135258"/>
                    <a:gd name="connsiteY647" fmla="*/ 358662 h 479350"/>
                    <a:gd name="connsiteX648" fmla="*/ 978058 w 1135258"/>
                    <a:gd name="connsiteY648" fmla="*/ 359509 h 479350"/>
                    <a:gd name="connsiteX649" fmla="*/ 973176 w 1135258"/>
                    <a:gd name="connsiteY649" fmla="*/ 358596 h 479350"/>
                    <a:gd name="connsiteX650" fmla="*/ 971065 w 1135258"/>
                    <a:gd name="connsiteY650" fmla="*/ 356665 h 479350"/>
                    <a:gd name="connsiteX651" fmla="*/ 969191 w 1135258"/>
                    <a:gd name="connsiteY651" fmla="*/ 354570 h 479350"/>
                    <a:gd name="connsiteX652" fmla="*/ 968792 w 1135258"/>
                    <a:gd name="connsiteY652" fmla="*/ 353707 h 479350"/>
                    <a:gd name="connsiteX653" fmla="*/ 966583 w 1135258"/>
                    <a:gd name="connsiteY653" fmla="*/ 351270 h 479350"/>
                    <a:gd name="connsiteX654" fmla="*/ 966078 w 1135258"/>
                    <a:gd name="connsiteY654" fmla="*/ 350438 h 479350"/>
                    <a:gd name="connsiteX655" fmla="*/ 966029 w 1135258"/>
                    <a:gd name="connsiteY655" fmla="*/ 349126 h 479350"/>
                    <a:gd name="connsiteX656" fmla="*/ 967822 w 1135258"/>
                    <a:gd name="connsiteY656" fmla="*/ 348800 h 479350"/>
                    <a:gd name="connsiteX657" fmla="*/ 969721 w 1135258"/>
                    <a:gd name="connsiteY657" fmla="*/ 348841 h 479350"/>
                    <a:gd name="connsiteX658" fmla="*/ 969639 w 1135258"/>
                    <a:gd name="connsiteY658" fmla="*/ 347659 h 479350"/>
                    <a:gd name="connsiteX659" fmla="*/ 970739 w 1135258"/>
                    <a:gd name="connsiteY659" fmla="*/ 343528 h 479350"/>
                    <a:gd name="connsiteX660" fmla="*/ 967854 w 1135258"/>
                    <a:gd name="connsiteY660" fmla="*/ 340871 h 479350"/>
                    <a:gd name="connsiteX661" fmla="*/ 967333 w 1135258"/>
                    <a:gd name="connsiteY661" fmla="*/ 339754 h 479350"/>
                    <a:gd name="connsiteX662" fmla="*/ 968368 w 1135258"/>
                    <a:gd name="connsiteY662" fmla="*/ 338996 h 479350"/>
                    <a:gd name="connsiteX663" fmla="*/ 970699 w 1135258"/>
                    <a:gd name="connsiteY663" fmla="*/ 339917 h 479350"/>
                    <a:gd name="connsiteX664" fmla="*/ 973559 w 1135258"/>
                    <a:gd name="connsiteY664" fmla="*/ 335255 h 479350"/>
                    <a:gd name="connsiteX665" fmla="*/ 974407 w 1135258"/>
                    <a:gd name="connsiteY665" fmla="*/ 334286 h 479350"/>
                    <a:gd name="connsiteX666" fmla="*/ 974814 w 1135258"/>
                    <a:gd name="connsiteY666" fmla="*/ 331694 h 479350"/>
                    <a:gd name="connsiteX667" fmla="*/ 976412 w 1135258"/>
                    <a:gd name="connsiteY667" fmla="*/ 331360 h 479350"/>
                    <a:gd name="connsiteX668" fmla="*/ 977536 w 1135258"/>
                    <a:gd name="connsiteY668" fmla="*/ 331694 h 479350"/>
                    <a:gd name="connsiteX669" fmla="*/ 978278 w 1135258"/>
                    <a:gd name="connsiteY669" fmla="*/ 333308 h 479350"/>
                    <a:gd name="connsiteX670" fmla="*/ 978571 w 1135258"/>
                    <a:gd name="connsiteY670" fmla="*/ 334710 h 479350"/>
                    <a:gd name="connsiteX671" fmla="*/ 978261 w 1135258"/>
                    <a:gd name="connsiteY671" fmla="*/ 335973 h 479350"/>
                    <a:gd name="connsiteX672" fmla="*/ 979631 w 1135258"/>
                    <a:gd name="connsiteY672" fmla="*/ 336616 h 479350"/>
                    <a:gd name="connsiteX673" fmla="*/ 980755 w 1135258"/>
                    <a:gd name="connsiteY673" fmla="*/ 339738 h 479350"/>
                    <a:gd name="connsiteX674" fmla="*/ 680601 w 1135258"/>
                    <a:gd name="connsiteY674" fmla="*/ 326609 h 479350"/>
                    <a:gd name="connsiteX675" fmla="*/ 679965 w 1135258"/>
                    <a:gd name="connsiteY675" fmla="*/ 328589 h 479350"/>
                    <a:gd name="connsiteX676" fmla="*/ 678596 w 1135258"/>
                    <a:gd name="connsiteY676" fmla="*/ 330138 h 479350"/>
                    <a:gd name="connsiteX677" fmla="*/ 677487 w 1135258"/>
                    <a:gd name="connsiteY677" fmla="*/ 330260 h 479350"/>
                    <a:gd name="connsiteX678" fmla="*/ 676347 w 1135258"/>
                    <a:gd name="connsiteY678" fmla="*/ 329942 h 479350"/>
                    <a:gd name="connsiteX679" fmla="*/ 674317 w 1135258"/>
                    <a:gd name="connsiteY679" fmla="*/ 328581 h 479350"/>
                    <a:gd name="connsiteX680" fmla="*/ 673812 w 1135258"/>
                    <a:gd name="connsiteY680" fmla="*/ 330015 h 479350"/>
                    <a:gd name="connsiteX681" fmla="*/ 672223 w 1135258"/>
                    <a:gd name="connsiteY681" fmla="*/ 329950 h 479350"/>
                    <a:gd name="connsiteX682" fmla="*/ 671636 w 1135258"/>
                    <a:gd name="connsiteY682" fmla="*/ 328092 h 479350"/>
                    <a:gd name="connsiteX683" fmla="*/ 672769 w 1135258"/>
                    <a:gd name="connsiteY683" fmla="*/ 322640 h 479350"/>
                    <a:gd name="connsiteX684" fmla="*/ 674448 w 1135258"/>
                    <a:gd name="connsiteY684" fmla="*/ 320602 h 479350"/>
                    <a:gd name="connsiteX685" fmla="*/ 674284 w 1135258"/>
                    <a:gd name="connsiteY685" fmla="*/ 318467 h 479350"/>
                    <a:gd name="connsiteX686" fmla="*/ 672907 w 1135258"/>
                    <a:gd name="connsiteY686" fmla="*/ 313903 h 479350"/>
                    <a:gd name="connsiteX687" fmla="*/ 673755 w 1135258"/>
                    <a:gd name="connsiteY687" fmla="*/ 311524 h 479350"/>
                    <a:gd name="connsiteX688" fmla="*/ 677610 w 1135258"/>
                    <a:gd name="connsiteY688" fmla="*/ 309722 h 479350"/>
                    <a:gd name="connsiteX689" fmla="*/ 680976 w 1135258"/>
                    <a:gd name="connsiteY689" fmla="*/ 307522 h 479350"/>
                    <a:gd name="connsiteX690" fmla="*/ 682019 w 1135258"/>
                    <a:gd name="connsiteY690" fmla="*/ 307066 h 479350"/>
                    <a:gd name="connsiteX691" fmla="*/ 682956 w 1135258"/>
                    <a:gd name="connsiteY691" fmla="*/ 308744 h 479350"/>
                    <a:gd name="connsiteX692" fmla="*/ 683453 w 1135258"/>
                    <a:gd name="connsiteY692" fmla="*/ 316519 h 479350"/>
                    <a:gd name="connsiteX693" fmla="*/ 679835 w 1135258"/>
                    <a:gd name="connsiteY693" fmla="*/ 322656 h 479350"/>
                    <a:gd name="connsiteX694" fmla="*/ 680601 w 1135258"/>
                    <a:gd name="connsiteY694" fmla="*/ 326609 h 479350"/>
                    <a:gd name="connsiteX695" fmla="*/ 693860 w 1135258"/>
                    <a:gd name="connsiteY695" fmla="*/ 305061 h 479350"/>
                    <a:gd name="connsiteX696" fmla="*/ 694447 w 1135258"/>
                    <a:gd name="connsiteY696" fmla="*/ 311507 h 479350"/>
                    <a:gd name="connsiteX697" fmla="*/ 694268 w 1135258"/>
                    <a:gd name="connsiteY697" fmla="*/ 313194 h 479350"/>
                    <a:gd name="connsiteX698" fmla="*/ 692866 w 1135258"/>
                    <a:gd name="connsiteY698" fmla="*/ 310709 h 479350"/>
                    <a:gd name="connsiteX699" fmla="*/ 692361 w 1135258"/>
                    <a:gd name="connsiteY699" fmla="*/ 310228 h 479350"/>
                    <a:gd name="connsiteX700" fmla="*/ 691986 w 1135258"/>
                    <a:gd name="connsiteY700" fmla="*/ 310709 h 479350"/>
                    <a:gd name="connsiteX701" fmla="*/ 691489 w 1135258"/>
                    <a:gd name="connsiteY701" fmla="*/ 310986 h 479350"/>
                    <a:gd name="connsiteX702" fmla="*/ 690780 w 1135258"/>
                    <a:gd name="connsiteY702" fmla="*/ 310969 h 479350"/>
                    <a:gd name="connsiteX703" fmla="*/ 689851 w 1135258"/>
                    <a:gd name="connsiteY703" fmla="*/ 313471 h 479350"/>
                    <a:gd name="connsiteX704" fmla="*/ 689777 w 1135258"/>
                    <a:gd name="connsiteY704" fmla="*/ 315835 h 479350"/>
                    <a:gd name="connsiteX705" fmla="*/ 689068 w 1135258"/>
                    <a:gd name="connsiteY705" fmla="*/ 317408 h 479350"/>
                    <a:gd name="connsiteX706" fmla="*/ 688702 w 1135258"/>
                    <a:gd name="connsiteY706" fmla="*/ 322672 h 479350"/>
                    <a:gd name="connsiteX707" fmla="*/ 688930 w 1135258"/>
                    <a:gd name="connsiteY707" fmla="*/ 324090 h 479350"/>
                    <a:gd name="connsiteX708" fmla="*/ 690013 w 1135258"/>
                    <a:gd name="connsiteY708" fmla="*/ 323390 h 479350"/>
                    <a:gd name="connsiteX709" fmla="*/ 690674 w 1135258"/>
                    <a:gd name="connsiteY709" fmla="*/ 323210 h 479350"/>
                    <a:gd name="connsiteX710" fmla="*/ 693127 w 1135258"/>
                    <a:gd name="connsiteY710" fmla="*/ 325239 h 479350"/>
                    <a:gd name="connsiteX711" fmla="*/ 694415 w 1135258"/>
                    <a:gd name="connsiteY711" fmla="*/ 326715 h 479350"/>
                    <a:gd name="connsiteX712" fmla="*/ 694048 w 1135258"/>
                    <a:gd name="connsiteY712" fmla="*/ 328516 h 479350"/>
                    <a:gd name="connsiteX713" fmla="*/ 692394 w 1135258"/>
                    <a:gd name="connsiteY713" fmla="*/ 330325 h 479350"/>
                    <a:gd name="connsiteX714" fmla="*/ 690486 w 1135258"/>
                    <a:gd name="connsiteY714" fmla="*/ 331115 h 479350"/>
                    <a:gd name="connsiteX715" fmla="*/ 689052 w 1135258"/>
                    <a:gd name="connsiteY715" fmla="*/ 330333 h 479350"/>
                    <a:gd name="connsiteX716" fmla="*/ 688628 w 1135258"/>
                    <a:gd name="connsiteY716" fmla="*/ 330700 h 479350"/>
                    <a:gd name="connsiteX717" fmla="*/ 687780 w 1135258"/>
                    <a:gd name="connsiteY717" fmla="*/ 331629 h 479350"/>
                    <a:gd name="connsiteX718" fmla="*/ 687137 w 1135258"/>
                    <a:gd name="connsiteY718" fmla="*/ 332843 h 479350"/>
                    <a:gd name="connsiteX719" fmla="*/ 687316 w 1135258"/>
                    <a:gd name="connsiteY719" fmla="*/ 334098 h 479350"/>
                    <a:gd name="connsiteX720" fmla="*/ 685686 w 1135258"/>
                    <a:gd name="connsiteY720" fmla="*/ 337660 h 479350"/>
                    <a:gd name="connsiteX721" fmla="*/ 684733 w 1135258"/>
                    <a:gd name="connsiteY721" fmla="*/ 338662 h 479350"/>
                    <a:gd name="connsiteX722" fmla="*/ 682776 w 1135258"/>
                    <a:gd name="connsiteY722" fmla="*/ 337570 h 479350"/>
                    <a:gd name="connsiteX723" fmla="*/ 681579 w 1135258"/>
                    <a:gd name="connsiteY723" fmla="*/ 338507 h 479350"/>
                    <a:gd name="connsiteX724" fmla="*/ 680601 w 1135258"/>
                    <a:gd name="connsiteY724" fmla="*/ 338418 h 479350"/>
                    <a:gd name="connsiteX725" fmla="*/ 679109 w 1135258"/>
                    <a:gd name="connsiteY725" fmla="*/ 334856 h 479350"/>
                    <a:gd name="connsiteX726" fmla="*/ 679150 w 1135258"/>
                    <a:gd name="connsiteY726" fmla="*/ 333177 h 479350"/>
                    <a:gd name="connsiteX727" fmla="*/ 680536 w 1135258"/>
                    <a:gd name="connsiteY727" fmla="*/ 331303 h 479350"/>
                    <a:gd name="connsiteX728" fmla="*/ 680543 w 1135258"/>
                    <a:gd name="connsiteY728" fmla="*/ 329958 h 479350"/>
                    <a:gd name="connsiteX729" fmla="*/ 681228 w 1135258"/>
                    <a:gd name="connsiteY729" fmla="*/ 328442 h 479350"/>
                    <a:gd name="connsiteX730" fmla="*/ 682752 w 1135258"/>
                    <a:gd name="connsiteY730" fmla="*/ 326372 h 479350"/>
                    <a:gd name="connsiteX731" fmla="*/ 683616 w 1135258"/>
                    <a:gd name="connsiteY731" fmla="*/ 324816 h 479350"/>
                    <a:gd name="connsiteX732" fmla="*/ 683640 w 1135258"/>
                    <a:gd name="connsiteY732" fmla="*/ 323838 h 479350"/>
                    <a:gd name="connsiteX733" fmla="*/ 684285 w 1135258"/>
                    <a:gd name="connsiteY733" fmla="*/ 320089 h 479350"/>
                    <a:gd name="connsiteX734" fmla="*/ 684537 w 1135258"/>
                    <a:gd name="connsiteY734" fmla="*/ 318524 h 479350"/>
                    <a:gd name="connsiteX735" fmla="*/ 684977 w 1135258"/>
                    <a:gd name="connsiteY735" fmla="*/ 316853 h 479350"/>
                    <a:gd name="connsiteX736" fmla="*/ 685678 w 1135258"/>
                    <a:gd name="connsiteY736" fmla="*/ 313455 h 479350"/>
                    <a:gd name="connsiteX737" fmla="*/ 685767 w 1135258"/>
                    <a:gd name="connsiteY737" fmla="*/ 307082 h 479350"/>
                    <a:gd name="connsiteX738" fmla="*/ 688082 w 1135258"/>
                    <a:gd name="connsiteY738" fmla="*/ 301817 h 479350"/>
                    <a:gd name="connsiteX739" fmla="*/ 690356 w 1135258"/>
                    <a:gd name="connsiteY739" fmla="*/ 300375 h 479350"/>
                    <a:gd name="connsiteX740" fmla="*/ 691252 w 1135258"/>
                    <a:gd name="connsiteY740" fmla="*/ 300138 h 479350"/>
                    <a:gd name="connsiteX741" fmla="*/ 691106 w 1135258"/>
                    <a:gd name="connsiteY741" fmla="*/ 301540 h 479350"/>
                    <a:gd name="connsiteX742" fmla="*/ 693860 w 1135258"/>
                    <a:gd name="connsiteY742" fmla="*/ 305061 h 479350"/>
                    <a:gd name="connsiteX743" fmla="*/ 785170 w 1135258"/>
                    <a:gd name="connsiteY743" fmla="*/ 261207 h 479350"/>
                    <a:gd name="connsiteX744" fmla="*/ 789245 w 1135258"/>
                    <a:gd name="connsiteY744" fmla="*/ 263546 h 479350"/>
                    <a:gd name="connsiteX745" fmla="*/ 790174 w 1135258"/>
                    <a:gd name="connsiteY745" fmla="*/ 265078 h 479350"/>
                    <a:gd name="connsiteX746" fmla="*/ 790899 w 1135258"/>
                    <a:gd name="connsiteY746" fmla="*/ 266887 h 479350"/>
                    <a:gd name="connsiteX747" fmla="*/ 791714 w 1135258"/>
                    <a:gd name="connsiteY747" fmla="*/ 267882 h 479350"/>
                    <a:gd name="connsiteX748" fmla="*/ 792667 w 1135258"/>
                    <a:gd name="connsiteY748" fmla="*/ 268705 h 479350"/>
                    <a:gd name="connsiteX749" fmla="*/ 794257 w 1135258"/>
                    <a:gd name="connsiteY749" fmla="*/ 270286 h 479350"/>
                    <a:gd name="connsiteX750" fmla="*/ 794681 w 1135258"/>
                    <a:gd name="connsiteY750" fmla="*/ 272690 h 479350"/>
                    <a:gd name="connsiteX751" fmla="*/ 794306 w 1135258"/>
                    <a:gd name="connsiteY751" fmla="*/ 277547 h 479350"/>
                    <a:gd name="connsiteX752" fmla="*/ 792456 w 1135258"/>
                    <a:gd name="connsiteY752" fmla="*/ 277971 h 479350"/>
                    <a:gd name="connsiteX753" fmla="*/ 790720 w 1135258"/>
                    <a:gd name="connsiteY753" fmla="*/ 278688 h 479350"/>
                    <a:gd name="connsiteX754" fmla="*/ 787150 w 1135258"/>
                    <a:gd name="connsiteY754" fmla="*/ 281492 h 479350"/>
                    <a:gd name="connsiteX755" fmla="*/ 785382 w 1135258"/>
                    <a:gd name="connsiteY755" fmla="*/ 282038 h 479350"/>
                    <a:gd name="connsiteX756" fmla="*/ 783507 w 1135258"/>
                    <a:gd name="connsiteY756" fmla="*/ 282225 h 479350"/>
                    <a:gd name="connsiteX757" fmla="*/ 782171 w 1135258"/>
                    <a:gd name="connsiteY757" fmla="*/ 282959 h 479350"/>
                    <a:gd name="connsiteX758" fmla="*/ 780834 w 1135258"/>
                    <a:gd name="connsiteY758" fmla="*/ 283260 h 479350"/>
                    <a:gd name="connsiteX759" fmla="*/ 777371 w 1135258"/>
                    <a:gd name="connsiteY759" fmla="*/ 281712 h 479350"/>
                    <a:gd name="connsiteX760" fmla="*/ 774013 w 1135258"/>
                    <a:gd name="connsiteY760" fmla="*/ 279862 h 479350"/>
                    <a:gd name="connsiteX761" fmla="*/ 769131 w 1135258"/>
                    <a:gd name="connsiteY761" fmla="*/ 276708 h 479350"/>
                    <a:gd name="connsiteX762" fmla="*/ 768235 w 1135258"/>
                    <a:gd name="connsiteY762" fmla="*/ 275925 h 479350"/>
                    <a:gd name="connsiteX763" fmla="*/ 767452 w 1135258"/>
                    <a:gd name="connsiteY763" fmla="*/ 274238 h 479350"/>
                    <a:gd name="connsiteX764" fmla="*/ 765219 w 1135258"/>
                    <a:gd name="connsiteY764" fmla="*/ 271191 h 479350"/>
                    <a:gd name="connsiteX765" fmla="*/ 764665 w 1135258"/>
                    <a:gd name="connsiteY765" fmla="*/ 269235 h 479350"/>
                    <a:gd name="connsiteX766" fmla="*/ 764478 w 1135258"/>
                    <a:gd name="connsiteY766" fmla="*/ 263676 h 479350"/>
                    <a:gd name="connsiteX767" fmla="*/ 765065 w 1135258"/>
                    <a:gd name="connsiteY767" fmla="*/ 262413 h 479350"/>
                    <a:gd name="connsiteX768" fmla="*/ 766002 w 1135258"/>
                    <a:gd name="connsiteY768" fmla="*/ 261737 h 479350"/>
                    <a:gd name="connsiteX769" fmla="*/ 769262 w 1135258"/>
                    <a:gd name="connsiteY769" fmla="*/ 263016 h 479350"/>
                    <a:gd name="connsiteX770" fmla="*/ 771413 w 1135258"/>
                    <a:gd name="connsiteY770" fmla="*/ 261672 h 479350"/>
                    <a:gd name="connsiteX771" fmla="*/ 777583 w 1135258"/>
                    <a:gd name="connsiteY771" fmla="*/ 260523 h 479350"/>
                    <a:gd name="connsiteX772" fmla="*/ 783866 w 1135258"/>
                    <a:gd name="connsiteY772" fmla="*/ 260645 h 479350"/>
                    <a:gd name="connsiteX773" fmla="*/ 785170 w 1135258"/>
                    <a:gd name="connsiteY773" fmla="*/ 261207 h 479350"/>
                    <a:gd name="connsiteX774" fmla="*/ 856928 w 1135258"/>
                    <a:gd name="connsiteY774" fmla="*/ 254549 h 479350"/>
                    <a:gd name="connsiteX775" fmla="*/ 862625 w 1135258"/>
                    <a:gd name="connsiteY775" fmla="*/ 257866 h 479350"/>
                    <a:gd name="connsiteX776" fmla="*/ 865575 w 1135258"/>
                    <a:gd name="connsiteY776" fmla="*/ 258355 h 479350"/>
                    <a:gd name="connsiteX777" fmla="*/ 870538 w 1135258"/>
                    <a:gd name="connsiteY777" fmla="*/ 257923 h 479350"/>
                    <a:gd name="connsiteX778" fmla="*/ 872413 w 1135258"/>
                    <a:gd name="connsiteY778" fmla="*/ 258241 h 479350"/>
                    <a:gd name="connsiteX779" fmla="*/ 877140 w 1135258"/>
                    <a:gd name="connsiteY779" fmla="*/ 262487 h 479350"/>
                    <a:gd name="connsiteX780" fmla="*/ 878525 w 1135258"/>
                    <a:gd name="connsiteY780" fmla="*/ 265396 h 479350"/>
                    <a:gd name="connsiteX781" fmla="*/ 878925 w 1135258"/>
                    <a:gd name="connsiteY781" fmla="*/ 267914 h 479350"/>
                    <a:gd name="connsiteX782" fmla="*/ 879650 w 1135258"/>
                    <a:gd name="connsiteY782" fmla="*/ 270294 h 479350"/>
                    <a:gd name="connsiteX783" fmla="*/ 880823 w 1135258"/>
                    <a:gd name="connsiteY783" fmla="*/ 270889 h 479350"/>
                    <a:gd name="connsiteX784" fmla="*/ 882193 w 1135258"/>
                    <a:gd name="connsiteY784" fmla="*/ 271109 h 479350"/>
                    <a:gd name="connsiteX785" fmla="*/ 883993 w 1135258"/>
                    <a:gd name="connsiteY785" fmla="*/ 274540 h 479350"/>
                    <a:gd name="connsiteX786" fmla="*/ 884336 w 1135258"/>
                    <a:gd name="connsiteY786" fmla="*/ 275657 h 479350"/>
                    <a:gd name="connsiteX787" fmla="*/ 882991 w 1135258"/>
                    <a:gd name="connsiteY787" fmla="*/ 284271 h 479350"/>
                    <a:gd name="connsiteX788" fmla="*/ 877408 w 1135258"/>
                    <a:gd name="connsiteY788" fmla="*/ 281011 h 479350"/>
                    <a:gd name="connsiteX789" fmla="*/ 872013 w 1135258"/>
                    <a:gd name="connsiteY789" fmla="*/ 277303 h 479350"/>
                    <a:gd name="connsiteX790" fmla="*/ 869707 w 1135258"/>
                    <a:gd name="connsiteY790" fmla="*/ 275925 h 479350"/>
                    <a:gd name="connsiteX791" fmla="*/ 863489 w 1135258"/>
                    <a:gd name="connsiteY791" fmla="*/ 272788 h 479350"/>
                    <a:gd name="connsiteX792" fmla="*/ 862544 w 1135258"/>
                    <a:gd name="connsiteY792" fmla="*/ 271720 h 479350"/>
                    <a:gd name="connsiteX793" fmla="*/ 861851 w 1135258"/>
                    <a:gd name="connsiteY793" fmla="*/ 270294 h 479350"/>
                    <a:gd name="connsiteX794" fmla="*/ 859153 w 1135258"/>
                    <a:gd name="connsiteY794" fmla="*/ 268371 h 479350"/>
                    <a:gd name="connsiteX795" fmla="*/ 853750 w 1135258"/>
                    <a:gd name="connsiteY795" fmla="*/ 268085 h 479350"/>
                    <a:gd name="connsiteX796" fmla="*/ 851729 w 1135258"/>
                    <a:gd name="connsiteY796" fmla="*/ 268118 h 479350"/>
                    <a:gd name="connsiteX797" fmla="*/ 850897 w 1135258"/>
                    <a:gd name="connsiteY797" fmla="*/ 268411 h 479350"/>
                    <a:gd name="connsiteX798" fmla="*/ 851109 w 1135258"/>
                    <a:gd name="connsiteY798" fmla="*/ 269455 h 479350"/>
                    <a:gd name="connsiteX799" fmla="*/ 851142 w 1135258"/>
                    <a:gd name="connsiteY799" fmla="*/ 271574 h 479350"/>
                    <a:gd name="connsiteX800" fmla="*/ 849806 w 1135258"/>
                    <a:gd name="connsiteY800" fmla="*/ 272152 h 479350"/>
                    <a:gd name="connsiteX801" fmla="*/ 846456 w 1135258"/>
                    <a:gd name="connsiteY801" fmla="*/ 270816 h 479350"/>
                    <a:gd name="connsiteX802" fmla="*/ 843465 w 1135258"/>
                    <a:gd name="connsiteY802" fmla="*/ 270335 h 479350"/>
                    <a:gd name="connsiteX803" fmla="*/ 840881 w 1135258"/>
                    <a:gd name="connsiteY803" fmla="*/ 269031 h 479350"/>
                    <a:gd name="connsiteX804" fmla="*/ 837401 w 1135258"/>
                    <a:gd name="connsiteY804" fmla="*/ 268346 h 479350"/>
                    <a:gd name="connsiteX805" fmla="*/ 837018 w 1135258"/>
                    <a:gd name="connsiteY805" fmla="*/ 267686 h 479350"/>
                    <a:gd name="connsiteX806" fmla="*/ 837320 w 1135258"/>
                    <a:gd name="connsiteY806" fmla="*/ 266716 h 479350"/>
                    <a:gd name="connsiteX807" fmla="*/ 837165 w 1135258"/>
                    <a:gd name="connsiteY807" fmla="*/ 265795 h 479350"/>
                    <a:gd name="connsiteX808" fmla="*/ 836358 w 1135258"/>
                    <a:gd name="connsiteY808" fmla="*/ 265445 h 479350"/>
                    <a:gd name="connsiteX809" fmla="*/ 834793 w 1135258"/>
                    <a:gd name="connsiteY809" fmla="*/ 265616 h 479350"/>
                    <a:gd name="connsiteX810" fmla="*/ 833286 w 1135258"/>
                    <a:gd name="connsiteY810" fmla="*/ 266537 h 479350"/>
                    <a:gd name="connsiteX811" fmla="*/ 832039 w 1135258"/>
                    <a:gd name="connsiteY811" fmla="*/ 267580 h 479350"/>
                    <a:gd name="connsiteX812" fmla="*/ 830189 w 1135258"/>
                    <a:gd name="connsiteY812" fmla="*/ 270465 h 479350"/>
                    <a:gd name="connsiteX813" fmla="*/ 829244 w 1135258"/>
                    <a:gd name="connsiteY813" fmla="*/ 271574 h 479350"/>
                    <a:gd name="connsiteX814" fmla="*/ 826212 w 1135258"/>
                    <a:gd name="connsiteY814" fmla="*/ 272046 h 479350"/>
                    <a:gd name="connsiteX815" fmla="*/ 824949 w 1135258"/>
                    <a:gd name="connsiteY815" fmla="*/ 271761 h 479350"/>
                    <a:gd name="connsiteX816" fmla="*/ 823800 w 1135258"/>
                    <a:gd name="connsiteY816" fmla="*/ 271060 h 479350"/>
                    <a:gd name="connsiteX817" fmla="*/ 820344 w 1135258"/>
                    <a:gd name="connsiteY817" fmla="*/ 265787 h 479350"/>
                    <a:gd name="connsiteX818" fmla="*/ 819171 w 1135258"/>
                    <a:gd name="connsiteY818" fmla="*/ 264663 h 479350"/>
                    <a:gd name="connsiteX819" fmla="*/ 817875 w 1135258"/>
                    <a:gd name="connsiteY819" fmla="*/ 263725 h 479350"/>
                    <a:gd name="connsiteX820" fmla="*/ 816669 w 1135258"/>
                    <a:gd name="connsiteY820" fmla="*/ 263301 h 479350"/>
                    <a:gd name="connsiteX821" fmla="*/ 815438 w 1135258"/>
                    <a:gd name="connsiteY821" fmla="*/ 264108 h 479350"/>
                    <a:gd name="connsiteX822" fmla="*/ 814786 w 1135258"/>
                    <a:gd name="connsiteY822" fmla="*/ 265746 h 479350"/>
                    <a:gd name="connsiteX823" fmla="*/ 814493 w 1135258"/>
                    <a:gd name="connsiteY823" fmla="*/ 267678 h 479350"/>
                    <a:gd name="connsiteX824" fmla="*/ 814151 w 1135258"/>
                    <a:gd name="connsiteY824" fmla="*/ 268786 h 479350"/>
                    <a:gd name="connsiteX825" fmla="*/ 812659 w 1135258"/>
                    <a:gd name="connsiteY825" fmla="*/ 271900 h 479350"/>
                    <a:gd name="connsiteX826" fmla="*/ 811428 w 1135258"/>
                    <a:gd name="connsiteY826" fmla="*/ 273749 h 479350"/>
                    <a:gd name="connsiteX827" fmla="*/ 810980 w 1135258"/>
                    <a:gd name="connsiteY827" fmla="*/ 273456 h 479350"/>
                    <a:gd name="connsiteX828" fmla="*/ 811608 w 1135258"/>
                    <a:gd name="connsiteY828" fmla="*/ 270498 h 479350"/>
                    <a:gd name="connsiteX829" fmla="*/ 811616 w 1135258"/>
                    <a:gd name="connsiteY829" fmla="*/ 268819 h 479350"/>
                    <a:gd name="connsiteX830" fmla="*/ 810850 w 1135258"/>
                    <a:gd name="connsiteY830" fmla="*/ 267059 h 479350"/>
                    <a:gd name="connsiteX831" fmla="*/ 810369 w 1135258"/>
                    <a:gd name="connsiteY831" fmla="*/ 265241 h 479350"/>
                    <a:gd name="connsiteX832" fmla="*/ 816204 w 1135258"/>
                    <a:gd name="connsiteY832" fmla="*/ 256627 h 479350"/>
                    <a:gd name="connsiteX833" fmla="*/ 818323 w 1135258"/>
                    <a:gd name="connsiteY833" fmla="*/ 254573 h 479350"/>
                    <a:gd name="connsiteX834" fmla="*/ 827532 w 1135258"/>
                    <a:gd name="connsiteY834" fmla="*/ 253864 h 479350"/>
                    <a:gd name="connsiteX835" fmla="*/ 833009 w 1135258"/>
                    <a:gd name="connsiteY835" fmla="*/ 254304 h 479350"/>
                    <a:gd name="connsiteX836" fmla="*/ 835983 w 1135258"/>
                    <a:gd name="connsiteY836" fmla="*/ 254092 h 479350"/>
                    <a:gd name="connsiteX837" fmla="*/ 837980 w 1135258"/>
                    <a:gd name="connsiteY837" fmla="*/ 253449 h 479350"/>
                    <a:gd name="connsiteX838" fmla="*/ 839626 w 1135258"/>
                    <a:gd name="connsiteY838" fmla="*/ 253750 h 479350"/>
                    <a:gd name="connsiteX839" fmla="*/ 840042 w 1135258"/>
                    <a:gd name="connsiteY839" fmla="*/ 255462 h 479350"/>
                    <a:gd name="connsiteX840" fmla="*/ 841085 w 1135258"/>
                    <a:gd name="connsiteY840" fmla="*/ 256700 h 479350"/>
                    <a:gd name="connsiteX841" fmla="*/ 842528 w 1135258"/>
                    <a:gd name="connsiteY841" fmla="*/ 256602 h 479350"/>
                    <a:gd name="connsiteX842" fmla="*/ 845127 w 1135258"/>
                    <a:gd name="connsiteY842" fmla="*/ 255258 h 479350"/>
                    <a:gd name="connsiteX843" fmla="*/ 847410 w 1135258"/>
                    <a:gd name="connsiteY843" fmla="*/ 253204 h 479350"/>
                    <a:gd name="connsiteX844" fmla="*/ 848795 w 1135258"/>
                    <a:gd name="connsiteY844" fmla="*/ 252324 h 479350"/>
                    <a:gd name="connsiteX845" fmla="*/ 850213 w 1135258"/>
                    <a:gd name="connsiteY845" fmla="*/ 252169 h 479350"/>
                    <a:gd name="connsiteX846" fmla="*/ 851672 w 1135258"/>
                    <a:gd name="connsiteY846" fmla="*/ 252316 h 479350"/>
                    <a:gd name="connsiteX847" fmla="*/ 853098 w 1135258"/>
                    <a:gd name="connsiteY847" fmla="*/ 252797 h 479350"/>
                    <a:gd name="connsiteX848" fmla="*/ 856928 w 1135258"/>
                    <a:gd name="connsiteY848" fmla="*/ 254549 h 479350"/>
                    <a:gd name="connsiteX849" fmla="*/ 322509 w 1135258"/>
                    <a:gd name="connsiteY849" fmla="*/ 258501 h 479350"/>
                    <a:gd name="connsiteX850" fmla="*/ 322126 w 1135258"/>
                    <a:gd name="connsiteY850" fmla="*/ 261655 h 479350"/>
                    <a:gd name="connsiteX851" fmla="*/ 321523 w 1135258"/>
                    <a:gd name="connsiteY851" fmla="*/ 262845 h 479350"/>
                    <a:gd name="connsiteX852" fmla="*/ 319445 w 1135258"/>
                    <a:gd name="connsiteY852" fmla="*/ 264418 h 479350"/>
                    <a:gd name="connsiteX853" fmla="*/ 318736 w 1135258"/>
                    <a:gd name="connsiteY853" fmla="*/ 265372 h 479350"/>
                    <a:gd name="connsiteX854" fmla="*/ 316805 w 1135258"/>
                    <a:gd name="connsiteY854" fmla="*/ 265209 h 479350"/>
                    <a:gd name="connsiteX855" fmla="*/ 316560 w 1135258"/>
                    <a:gd name="connsiteY855" fmla="*/ 263562 h 479350"/>
                    <a:gd name="connsiteX856" fmla="*/ 315908 w 1135258"/>
                    <a:gd name="connsiteY856" fmla="*/ 262438 h 479350"/>
                    <a:gd name="connsiteX857" fmla="*/ 313855 w 1135258"/>
                    <a:gd name="connsiteY857" fmla="*/ 261158 h 479350"/>
                    <a:gd name="connsiteX858" fmla="*/ 313325 w 1135258"/>
                    <a:gd name="connsiteY858" fmla="*/ 261468 h 479350"/>
                    <a:gd name="connsiteX859" fmla="*/ 312950 w 1135258"/>
                    <a:gd name="connsiteY859" fmla="*/ 263375 h 479350"/>
                    <a:gd name="connsiteX860" fmla="*/ 308932 w 1135258"/>
                    <a:gd name="connsiteY860" fmla="*/ 264720 h 479350"/>
                    <a:gd name="connsiteX861" fmla="*/ 307808 w 1135258"/>
                    <a:gd name="connsiteY861" fmla="*/ 264842 h 479350"/>
                    <a:gd name="connsiteX862" fmla="*/ 308362 w 1135258"/>
                    <a:gd name="connsiteY862" fmla="*/ 262299 h 479350"/>
                    <a:gd name="connsiteX863" fmla="*/ 307319 w 1135258"/>
                    <a:gd name="connsiteY863" fmla="*/ 260311 h 479350"/>
                    <a:gd name="connsiteX864" fmla="*/ 307237 w 1135258"/>
                    <a:gd name="connsiteY864" fmla="*/ 257857 h 479350"/>
                    <a:gd name="connsiteX865" fmla="*/ 307050 w 1135258"/>
                    <a:gd name="connsiteY865" fmla="*/ 256782 h 479350"/>
                    <a:gd name="connsiteX866" fmla="*/ 306544 w 1135258"/>
                    <a:gd name="connsiteY866" fmla="*/ 256170 h 479350"/>
                    <a:gd name="connsiteX867" fmla="*/ 307579 w 1135258"/>
                    <a:gd name="connsiteY867" fmla="*/ 254459 h 479350"/>
                    <a:gd name="connsiteX868" fmla="*/ 307408 w 1135258"/>
                    <a:gd name="connsiteY868" fmla="*/ 252560 h 479350"/>
                    <a:gd name="connsiteX869" fmla="*/ 308484 w 1135258"/>
                    <a:gd name="connsiteY869" fmla="*/ 250514 h 479350"/>
                    <a:gd name="connsiteX870" fmla="*/ 309103 w 1135258"/>
                    <a:gd name="connsiteY870" fmla="*/ 245576 h 479350"/>
                    <a:gd name="connsiteX871" fmla="*/ 313349 w 1135258"/>
                    <a:gd name="connsiteY871" fmla="*/ 244492 h 479350"/>
                    <a:gd name="connsiteX872" fmla="*/ 314270 w 1135258"/>
                    <a:gd name="connsiteY872" fmla="*/ 245372 h 479350"/>
                    <a:gd name="connsiteX873" fmla="*/ 319217 w 1135258"/>
                    <a:gd name="connsiteY873" fmla="*/ 246497 h 479350"/>
                    <a:gd name="connsiteX874" fmla="*/ 322705 w 1135258"/>
                    <a:gd name="connsiteY874" fmla="*/ 249480 h 479350"/>
                    <a:gd name="connsiteX875" fmla="*/ 324580 w 1135258"/>
                    <a:gd name="connsiteY875" fmla="*/ 253465 h 479350"/>
                    <a:gd name="connsiteX876" fmla="*/ 322509 w 1135258"/>
                    <a:gd name="connsiteY876" fmla="*/ 258501 h 479350"/>
                    <a:gd name="connsiteX877" fmla="*/ 738260 w 1135258"/>
                    <a:gd name="connsiteY877" fmla="*/ 219790 h 479350"/>
                    <a:gd name="connsiteX878" fmla="*/ 740575 w 1135258"/>
                    <a:gd name="connsiteY878" fmla="*/ 220866 h 479350"/>
                    <a:gd name="connsiteX879" fmla="*/ 741389 w 1135258"/>
                    <a:gd name="connsiteY879" fmla="*/ 220858 h 479350"/>
                    <a:gd name="connsiteX880" fmla="*/ 742155 w 1135258"/>
                    <a:gd name="connsiteY880" fmla="*/ 219611 h 479350"/>
                    <a:gd name="connsiteX881" fmla="*/ 742628 w 1135258"/>
                    <a:gd name="connsiteY881" fmla="*/ 219423 h 479350"/>
                    <a:gd name="connsiteX882" fmla="*/ 743672 w 1135258"/>
                    <a:gd name="connsiteY882" fmla="*/ 220018 h 479350"/>
                    <a:gd name="connsiteX883" fmla="*/ 743916 w 1135258"/>
                    <a:gd name="connsiteY883" fmla="*/ 222039 h 479350"/>
                    <a:gd name="connsiteX884" fmla="*/ 745416 w 1135258"/>
                    <a:gd name="connsiteY884" fmla="*/ 221771 h 479350"/>
                    <a:gd name="connsiteX885" fmla="*/ 746597 w 1135258"/>
                    <a:gd name="connsiteY885" fmla="*/ 222455 h 479350"/>
                    <a:gd name="connsiteX886" fmla="*/ 746964 w 1135258"/>
                    <a:gd name="connsiteY886" fmla="*/ 222936 h 479350"/>
                    <a:gd name="connsiteX887" fmla="*/ 746809 w 1135258"/>
                    <a:gd name="connsiteY887" fmla="*/ 224941 h 479350"/>
                    <a:gd name="connsiteX888" fmla="*/ 742367 w 1135258"/>
                    <a:gd name="connsiteY888" fmla="*/ 225299 h 479350"/>
                    <a:gd name="connsiteX889" fmla="*/ 739173 w 1135258"/>
                    <a:gd name="connsiteY889" fmla="*/ 226921 h 479350"/>
                    <a:gd name="connsiteX890" fmla="*/ 734911 w 1135258"/>
                    <a:gd name="connsiteY890" fmla="*/ 225454 h 479350"/>
                    <a:gd name="connsiteX891" fmla="*/ 730061 w 1135258"/>
                    <a:gd name="connsiteY891" fmla="*/ 227972 h 479350"/>
                    <a:gd name="connsiteX892" fmla="*/ 727127 w 1135258"/>
                    <a:gd name="connsiteY892" fmla="*/ 228828 h 479350"/>
                    <a:gd name="connsiteX893" fmla="*/ 724585 w 1135258"/>
                    <a:gd name="connsiteY893" fmla="*/ 228779 h 479350"/>
                    <a:gd name="connsiteX894" fmla="*/ 722392 w 1135258"/>
                    <a:gd name="connsiteY894" fmla="*/ 224386 h 479350"/>
                    <a:gd name="connsiteX895" fmla="*/ 723656 w 1135258"/>
                    <a:gd name="connsiteY895" fmla="*/ 219252 h 479350"/>
                    <a:gd name="connsiteX896" fmla="*/ 724577 w 1135258"/>
                    <a:gd name="connsiteY896" fmla="*/ 218413 h 479350"/>
                    <a:gd name="connsiteX897" fmla="*/ 726190 w 1135258"/>
                    <a:gd name="connsiteY897" fmla="*/ 217956 h 479350"/>
                    <a:gd name="connsiteX898" fmla="*/ 730681 w 1135258"/>
                    <a:gd name="connsiteY898" fmla="*/ 217712 h 479350"/>
                    <a:gd name="connsiteX899" fmla="*/ 738260 w 1135258"/>
                    <a:gd name="connsiteY899" fmla="*/ 219790 h 479350"/>
                    <a:gd name="connsiteX900" fmla="*/ 998799 w 1135258"/>
                    <a:gd name="connsiteY900" fmla="*/ 216392 h 479350"/>
                    <a:gd name="connsiteX901" fmla="*/ 1008587 w 1135258"/>
                    <a:gd name="connsiteY901" fmla="*/ 217899 h 479350"/>
                    <a:gd name="connsiteX902" fmla="*/ 1011243 w 1135258"/>
                    <a:gd name="connsiteY902" fmla="*/ 217712 h 479350"/>
                    <a:gd name="connsiteX903" fmla="*/ 1016834 w 1135258"/>
                    <a:gd name="connsiteY903" fmla="*/ 218282 h 479350"/>
                    <a:gd name="connsiteX904" fmla="*/ 1021504 w 1135258"/>
                    <a:gd name="connsiteY904" fmla="*/ 220279 h 479350"/>
                    <a:gd name="connsiteX905" fmla="*/ 1029654 w 1135258"/>
                    <a:gd name="connsiteY905" fmla="*/ 220654 h 479350"/>
                    <a:gd name="connsiteX906" fmla="*/ 1032091 w 1135258"/>
                    <a:gd name="connsiteY906" fmla="*/ 221249 h 479350"/>
                    <a:gd name="connsiteX907" fmla="*/ 1033973 w 1135258"/>
                    <a:gd name="connsiteY907" fmla="*/ 222618 h 479350"/>
                    <a:gd name="connsiteX908" fmla="*/ 1029401 w 1135258"/>
                    <a:gd name="connsiteY908" fmla="*/ 223767 h 479350"/>
                    <a:gd name="connsiteX909" fmla="*/ 1027249 w 1135258"/>
                    <a:gd name="connsiteY909" fmla="*/ 224819 h 479350"/>
                    <a:gd name="connsiteX910" fmla="*/ 1023256 w 1135258"/>
                    <a:gd name="connsiteY910" fmla="*/ 225340 h 479350"/>
                    <a:gd name="connsiteX911" fmla="*/ 1019915 w 1135258"/>
                    <a:gd name="connsiteY911" fmla="*/ 224802 h 479350"/>
                    <a:gd name="connsiteX912" fmla="*/ 1017486 w 1135258"/>
                    <a:gd name="connsiteY912" fmla="*/ 225430 h 479350"/>
                    <a:gd name="connsiteX913" fmla="*/ 1016614 w 1135258"/>
                    <a:gd name="connsiteY913" fmla="*/ 224395 h 479350"/>
                    <a:gd name="connsiteX914" fmla="*/ 1013045 w 1135258"/>
                    <a:gd name="connsiteY914" fmla="*/ 223352 h 479350"/>
                    <a:gd name="connsiteX915" fmla="*/ 1008497 w 1135258"/>
                    <a:gd name="connsiteY915" fmla="*/ 221192 h 479350"/>
                    <a:gd name="connsiteX916" fmla="*/ 999117 w 1135258"/>
                    <a:gd name="connsiteY916" fmla="*/ 218682 h 479350"/>
                    <a:gd name="connsiteX917" fmla="*/ 998677 w 1135258"/>
                    <a:gd name="connsiteY917" fmla="*/ 217125 h 479350"/>
                    <a:gd name="connsiteX918" fmla="*/ 998799 w 1135258"/>
                    <a:gd name="connsiteY918" fmla="*/ 216392 h 479350"/>
                    <a:gd name="connsiteX919" fmla="*/ 268900 w 1135258"/>
                    <a:gd name="connsiteY919" fmla="*/ 218706 h 479350"/>
                    <a:gd name="connsiteX920" fmla="*/ 269748 w 1135258"/>
                    <a:gd name="connsiteY920" fmla="*/ 220768 h 479350"/>
                    <a:gd name="connsiteX921" fmla="*/ 270922 w 1135258"/>
                    <a:gd name="connsiteY921" fmla="*/ 222634 h 479350"/>
                    <a:gd name="connsiteX922" fmla="*/ 271770 w 1135258"/>
                    <a:gd name="connsiteY922" fmla="*/ 224639 h 479350"/>
                    <a:gd name="connsiteX923" fmla="*/ 272935 w 1135258"/>
                    <a:gd name="connsiteY923" fmla="*/ 234272 h 479350"/>
                    <a:gd name="connsiteX924" fmla="*/ 276838 w 1135258"/>
                    <a:gd name="connsiteY924" fmla="*/ 242544 h 479350"/>
                    <a:gd name="connsiteX925" fmla="*/ 288061 w 1135258"/>
                    <a:gd name="connsiteY925" fmla="*/ 245788 h 479350"/>
                    <a:gd name="connsiteX926" fmla="*/ 286219 w 1135258"/>
                    <a:gd name="connsiteY926" fmla="*/ 247124 h 479350"/>
                    <a:gd name="connsiteX927" fmla="*/ 285290 w 1135258"/>
                    <a:gd name="connsiteY927" fmla="*/ 248331 h 479350"/>
                    <a:gd name="connsiteX928" fmla="*/ 284597 w 1135258"/>
                    <a:gd name="connsiteY928" fmla="*/ 249700 h 479350"/>
                    <a:gd name="connsiteX929" fmla="*/ 282935 w 1135258"/>
                    <a:gd name="connsiteY929" fmla="*/ 255445 h 479350"/>
                    <a:gd name="connsiteX930" fmla="*/ 283106 w 1135258"/>
                    <a:gd name="connsiteY930" fmla="*/ 256651 h 479350"/>
                    <a:gd name="connsiteX931" fmla="*/ 284067 w 1135258"/>
                    <a:gd name="connsiteY931" fmla="*/ 258599 h 479350"/>
                    <a:gd name="connsiteX932" fmla="*/ 284304 w 1135258"/>
                    <a:gd name="connsiteY932" fmla="*/ 260710 h 479350"/>
                    <a:gd name="connsiteX933" fmla="*/ 282885 w 1135258"/>
                    <a:gd name="connsiteY933" fmla="*/ 260710 h 479350"/>
                    <a:gd name="connsiteX934" fmla="*/ 281321 w 1135258"/>
                    <a:gd name="connsiteY934" fmla="*/ 260221 h 479350"/>
                    <a:gd name="connsiteX935" fmla="*/ 280058 w 1135258"/>
                    <a:gd name="connsiteY935" fmla="*/ 259430 h 479350"/>
                    <a:gd name="connsiteX936" fmla="*/ 278876 w 1135258"/>
                    <a:gd name="connsiteY936" fmla="*/ 258387 h 479350"/>
                    <a:gd name="connsiteX937" fmla="*/ 277605 w 1135258"/>
                    <a:gd name="connsiteY937" fmla="*/ 257556 h 479350"/>
                    <a:gd name="connsiteX938" fmla="*/ 276227 w 1135258"/>
                    <a:gd name="connsiteY938" fmla="*/ 257018 h 479350"/>
                    <a:gd name="connsiteX939" fmla="*/ 273962 w 1135258"/>
                    <a:gd name="connsiteY939" fmla="*/ 255388 h 479350"/>
                    <a:gd name="connsiteX940" fmla="*/ 270881 w 1135258"/>
                    <a:gd name="connsiteY940" fmla="*/ 254223 h 479350"/>
                    <a:gd name="connsiteX941" fmla="*/ 267727 w 1135258"/>
                    <a:gd name="connsiteY941" fmla="*/ 253318 h 479350"/>
                    <a:gd name="connsiteX942" fmla="*/ 266195 w 1135258"/>
                    <a:gd name="connsiteY942" fmla="*/ 250873 h 479350"/>
                    <a:gd name="connsiteX943" fmla="*/ 265461 w 1135258"/>
                    <a:gd name="connsiteY943" fmla="*/ 247874 h 479350"/>
                    <a:gd name="connsiteX944" fmla="*/ 266244 w 1135258"/>
                    <a:gd name="connsiteY944" fmla="*/ 243383 h 479350"/>
                    <a:gd name="connsiteX945" fmla="*/ 265445 w 1135258"/>
                    <a:gd name="connsiteY945" fmla="*/ 242137 h 479350"/>
                    <a:gd name="connsiteX946" fmla="*/ 264337 w 1135258"/>
                    <a:gd name="connsiteY946" fmla="*/ 241045 h 479350"/>
                    <a:gd name="connsiteX947" fmla="*/ 262960 w 1135258"/>
                    <a:gd name="connsiteY947" fmla="*/ 237817 h 479350"/>
                    <a:gd name="connsiteX948" fmla="*/ 262446 w 1135258"/>
                    <a:gd name="connsiteY948" fmla="*/ 234028 h 479350"/>
                    <a:gd name="connsiteX949" fmla="*/ 260441 w 1135258"/>
                    <a:gd name="connsiteY949" fmla="*/ 232569 h 479350"/>
                    <a:gd name="connsiteX950" fmla="*/ 257809 w 1135258"/>
                    <a:gd name="connsiteY950" fmla="*/ 231681 h 479350"/>
                    <a:gd name="connsiteX951" fmla="*/ 256660 w 1135258"/>
                    <a:gd name="connsiteY951" fmla="*/ 230963 h 479350"/>
                    <a:gd name="connsiteX952" fmla="*/ 251444 w 1135258"/>
                    <a:gd name="connsiteY952" fmla="*/ 232349 h 479350"/>
                    <a:gd name="connsiteX953" fmla="*/ 250205 w 1135258"/>
                    <a:gd name="connsiteY953" fmla="*/ 232023 h 479350"/>
                    <a:gd name="connsiteX954" fmla="*/ 249081 w 1135258"/>
                    <a:gd name="connsiteY954" fmla="*/ 230972 h 479350"/>
                    <a:gd name="connsiteX955" fmla="*/ 246252 w 1135258"/>
                    <a:gd name="connsiteY955" fmla="*/ 229871 h 479350"/>
                    <a:gd name="connsiteX956" fmla="*/ 246358 w 1135258"/>
                    <a:gd name="connsiteY956" fmla="*/ 227777 h 479350"/>
                    <a:gd name="connsiteX957" fmla="*/ 247679 w 1135258"/>
                    <a:gd name="connsiteY957" fmla="*/ 226106 h 479350"/>
                    <a:gd name="connsiteX958" fmla="*/ 250784 w 1135258"/>
                    <a:gd name="connsiteY958" fmla="*/ 224419 h 479350"/>
                    <a:gd name="connsiteX959" fmla="*/ 252234 w 1135258"/>
                    <a:gd name="connsiteY959" fmla="*/ 223009 h 479350"/>
                    <a:gd name="connsiteX960" fmla="*/ 252536 w 1135258"/>
                    <a:gd name="connsiteY960" fmla="*/ 221143 h 479350"/>
                    <a:gd name="connsiteX961" fmla="*/ 251982 w 1135258"/>
                    <a:gd name="connsiteY961" fmla="*/ 219766 h 479350"/>
                    <a:gd name="connsiteX962" fmla="*/ 252202 w 1135258"/>
                    <a:gd name="connsiteY962" fmla="*/ 218331 h 479350"/>
                    <a:gd name="connsiteX963" fmla="*/ 253180 w 1135258"/>
                    <a:gd name="connsiteY963" fmla="*/ 216954 h 479350"/>
                    <a:gd name="connsiteX964" fmla="*/ 254353 w 1135258"/>
                    <a:gd name="connsiteY964" fmla="*/ 215854 h 479350"/>
                    <a:gd name="connsiteX965" fmla="*/ 257475 w 1135258"/>
                    <a:gd name="connsiteY965" fmla="*/ 214428 h 479350"/>
                    <a:gd name="connsiteX966" fmla="*/ 258836 w 1135258"/>
                    <a:gd name="connsiteY966" fmla="*/ 216930 h 479350"/>
                    <a:gd name="connsiteX967" fmla="*/ 259496 w 1135258"/>
                    <a:gd name="connsiteY967" fmla="*/ 219024 h 479350"/>
                    <a:gd name="connsiteX968" fmla="*/ 260335 w 1135258"/>
                    <a:gd name="connsiteY968" fmla="*/ 220548 h 479350"/>
                    <a:gd name="connsiteX969" fmla="*/ 261663 w 1135258"/>
                    <a:gd name="connsiteY969" fmla="*/ 218380 h 479350"/>
                    <a:gd name="connsiteX970" fmla="*/ 260816 w 1135258"/>
                    <a:gd name="connsiteY970" fmla="*/ 214640 h 479350"/>
                    <a:gd name="connsiteX971" fmla="*/ 263188 w 1135258"/>
                    <a:gd name="connsiteY971" fmla="*/ 213800 h 479350"/>
                    <a:gd name="connsiteX972" fmla="*/ 265518 w 1135258"/>
                    <a:gd name="connsiteY972" fmla="*/ 213768 h 479350"/>
                    <a:gd name="connsiteX973" fmla="*/ 267279 w 1135258"/>
                    <a:gd name="connsiteY973" fmla="*/ 214794 h 479350"/>
                    <a:gd name="connsiteX974" fmla="*/ 268428 w 1135258"/>
                    <a:gd name="connsiteY974" fmla="*/ 216408 h 479350"/>
                    <a:gd name="connsiteX975" fmla="*/ 268900 w 1135258"/>
                    <a:gd name="connsiteY975" fmla="*/ 218706 h 479350"/>
                    <a:gd name="connsiteX976" fmla="*/ 817207 w 1135258"/>
                    <a:gd name="connsiteY976" fmla="*/ 218445 h 479350"/>
                    <a:gd name="connsiteX977" fmla="*/ 815691 w 1135258"/>
                    <a:gd name="connsiteY977" fmla="*/ 219668 h 479350"/>
                    <a:gd name="connsiteX978" fmla="*/ 814925 w 1135258"/>
                    <a:gd name="connsiteY978" fmla="*/ 220002 h 479350"/>
                    <a:gd name="connsiteX979" fmla="*/ 811273 w 1135258"/>
                    <a:gd name="connsiteY979" fmla="*/ 219187 h 479350"/>
                    <a:gd name="connsiteX980" fmla="*/ 806987 w 1135258"/>
                    <a:gd name="connsiteY980" fmla="*/ 219358 h 479350"/>
                    <a:gd name="connsiteX981" fmla="*/ 802537 w 1135258"/>
                    <a:gd name="connsiteY981" fmla="*/ 220491 h 479350"/>
                    <a:gd name="connsiteX982" fmla="*/ 799970 w 1135258"/>
                    <a:gd name="connsiteY982" fmla="*/ 219537 h 479350"/>
                    <a:gd name="connsiteX983" fmla="*/ 798332 w 1135258"/>
                    <a:gd name="connsiteY983" fmla="*/ 217981 h 479350"/>
                    <a:gd name="connsiteX984" fmla="*/ 798413 w 1135258"/>
                    <a:gd name="connsiteY984" fmla="*/ 216343 h 479350"/>
                    <a:gd name="connsiteX985" fmla="*/ 799945 w 1135258"/>
                    <a:gd name="connsiteY985" fmla="*/ 212268 h 479350"/>
                    <a:gd name="connsiteX986" fmla="*/ 803295 w 1135258"/>
                    <a:gd name="connsiteY986" fmla="*/ 209171 h 479350"/>
                    <a:gd name="connsiteX987" fmla="*/ 804648 w 1135258"/>
                    <a:gd name="connsiteY987" fmla="*/ 208625 h 479350"/>
                    <a:gd name="connsiteX988" fmla="*/ 807035 w 1135258"/>
                    <a:gd name="connsiteY988" fmla="*/ 209464 h 479350"/>
                    <a:gd name="connsiteX989" fmla="*/ 811062 w 1135258"/>
                    <a:gd name="connsiteY989" fmla="*/ 211828 h 479350"/>
                    <a:gd name="connsiteX990" fmla="*/ 814224 w 1135258"/>
                    <a:gd name="connsiteY990" fmla="*/ 214599 h 479350"/>
                    <a:gd name="connsiteX991" fmla="*/ 817109 w 1135258"/>
                    <a:gd name="connsiteY991" fmla="*/ 216767 h 479350"/>
                    <a:gd name="connsiteX992" fmla="*/ 817207 w 1135258"/>
                    <a:gd name="connsiteY992" fmla="*/ 218445 h 479350"/>
                    <a:gd name="connsiteX993" fmla="*/ 694667 w 1135258"/>
                    <a:gd name="connsiteY993" fmla="*/ 203800 h 479350"/>
                    <a:gd name="connsiteX994" fmla="*/ 695205 w 1135258"/>
                    <a:gd name="connsiteY994" fmla="*/ 205667 h 479350"/>
                    <a:gd name="connsiteX995" fmla="*/ 694309 w 1135258"/>
                    <a:gd name="connsiteY995" fmla="*/ 207280 h 479350"/>
                    <a:gd name="connsiteX996" fmla="*/ 695294 w 1135258"/>
                    <a:gd name="connsiteY996" fmla="*/ 210328 h 479350"/>
                    <a:gd name="connsiteX997" fmla="*/ 697797 w 1135258"/>
                    <a:gd name="connsiteY997" fmla="*/ 206270 h 479350"/>
                    <a:gd name="connsiteX998" fmla="*/ 700193 w 1135258"/>
                    <a:gd name="connsiteY998" fmla="*/ 205756 h 479350"/>
                    <a:gd name="connsiteX999" fmla="*/ 701537 w 1135258"/>
                    <a:gd name="connsiteY999" fmla="*/ 206433 h 479350"/>
                    <a:gd name="connsiteX1000" fmla="*/ 702466 w 1135258"/>
                    <a:gd name="connsiteY1000" fmla="*/ 207231 h 479350"/>
                    <a:gd name="connsiteX1001" fmla="*/ 702972 w 1135258"/>
                    <a:gd name="connsiteY1001" fmla="*/ 208772 h 479350"/>
                    <a:gd name="connsiteX1002" fmla="*/ 702100 w 1135258"/>
                    <a:gd name="connsiteY1002" fmla="*/ 212056 h 479350"/>
                    <a:gd name="connsiteX1003" fmla="*/ 700535 w 1135258"/>
                    <a:gd name="connsiteY1003" fmla="*/ 213596 h 479350"/>
                    <a:gd name="connsiteX1004" fmla="*/ 698506 w 1135258"/>
                    <a:gd name="connsiteY1004" fmla="*/ 213841 h 479350"/>
                    <a:gd name="connsiteX1005" fmla="*/ 697560 w 1135258"/>
                    <a:gd name="connsiteY1005" fmla="*/ 211934 h 479350"/>
                    <a:gd name="connsiteX1006" fmla="*/ 696224 w 1135258"/>
                    <a:gd name="connsiteY1006" fmla="*/ 211755 h 479350"/>
                    <a:gd name="connsiteX1007" fmla="*/ 695303 w 1135258"/>
                    <a:gd name="connsiteY1007" fmla="*/ 215944 h 479350"/>
                    <a:gd name="connsiteX1008" fmla="*/ 694879 w 1135258"/>
                    <a:gd name="connsiteY1008" fmla="*/ 216587 h 479350"/>
                    <a:gd name="connsiteX1009" fmla="*/ 693689 w 1135258"/>
                    <a:gd name="connsiteY1009" fmla="*/ 217117 h 479350"/>
                    <a:gd name="connsiteX1010" fmla="*/ 692638 w 1135258"/>
                    <a:gd name="connsiteY1010" fmla="*/ 215951 h 479350"/>
                    <a:gd name="connsiteX1011" fmla="*/ 692459 w 1135258"/>
                    <a:gd name="connsiteY1011" fmla="*/ 215308 h 479350"/>
                    <a:gd name="connsiteX1012" fmla="*/ 693950 w 1135258"/>
                    <a:gd name="connsiteY1012" fmla="*/ 213425 h 479350"/>
                    <a:gd name="connsiteX1013" fmla="*/ 693143 w 1135258"/>
                    <a:gd name="connsiteY1013" fmla="*/ 207794 h 479350"/>
                    <a:gd name="connsiteX1014" fmla="*/ 692011 w 1135258"/>
                    <a:gd name="connsiteY1014" fmla="*/ 208845 h 479350"/>
                    <a:gd name="connsiteX1015" fmla="*/ 689011 w 1135258"/>
                    <a:gd name="connsiteY1015" fmla="*/ 213963 h 479350"/>
                    <a:gd name="connsiteX1016" fmla="*/ 686689 w 1135258"/>
                    <a:gd name="connsiteY1016" fmla="*/ 216253 h 479350"/>
                    <a:gd name="connsiteX1017" fmla="*/ 685890 w 1135258"/>
                    <a:gd name="connsiteY1017" fmla="*/ 215071 h 479350"/>
                    <a:gd name="connsiteX1018" fmla="*/ 684708 w 1135258"/>
                    <a:gd name="connsiteY1018" fmla="*/ 211608 h 479350"/>
                    <a:gd name="connsiteX1019" fmla="*/ 685230 w 1135258"/>
                    <a:gd name="connsiteY1019" fmla="*/ 207133 h 479350"/>
                    <a:gd name="connsiteX1020" fmla="*/ 687112 w 1135258"/>
                    <a:gd name="connsiteY1020" fmla="*/ 204118 h 479350"/>
                    <a:gd name="connsiteX1021" fmla="*/ 688702 w 1135258"/>
                    <a:gd name="connsiteY1021" fmla="*/ 204330 h 479350"/>
                    <a:gd name="connsiteX1022" fmla="*/ 693314 w 1135258"/>
                    <a:gd name="connsiteY1022" fmla="*/ 203385 h 479350"/>
                    <a:gd name="connsiteX1023" fmla="*/ 694667 w 1135258"/>
                    <a:gd name="connsiteY1023" fmla="*/ 203800 h 479350"/>
                    <a:gd name="connsiteX1024" fmla="*/ 98213 w 1135258"/>
                    <a:gd name="connsiteY1024" fmla="*/ 221958 h 479350"/>
                    <a:gd name="connsiteX1025" fmla="*/ 95939 w 1135258"/>
                    <a:gd name="connsiteY1025" fmla="*/ 222129 h 479350"/>
                    <a:gd name="connsiteX1026" fmla="*/ 91033 w 1135258"/>
                    <a:gd name="connsiteY1026" fmla="*/ 218551 h 479350"/>
                    <a:gd name="connsiteX1027" fmla="*/ 89875 w 1135258"/>
                    <a:gd name="connsiteY1027" fmla="*/ 216938 h 479350"/>
                    <a:gd name="connsiteX1028" fmla="*/ 89590 w 1135258"/>
                    <a:gd name="connsiteY1028" fmla="*/ 214802 h 479350"/>
                    <a:gd name="connsiteX1029" fmla="*/ 84896 w 1135258"/>
                    <a:gd name="connsiteY1029" fmla="*/ 206498 h 479350"/>
                    <a:gd name="connsiteX1030" fmla="*/ 84276 w 1135258"/>
                    <a:gd name="connsiteY1030" fmla="*/ 204599 h 479350"/>
                    <a:gd name="connsiteX1031" fmla="*/ 86118 w 1135258"/>
                    <a:gd name="connsiteY1031" fmla="*/ 197786 h 479350"/>
                    <a:gd name="connsiteX1032" fmla="*/ 90911 w 1135258"/>
                    <a:gd name="connsiteY1032" fmla="*/ 196148 h 479350"/>
                    <a:gd name="connsiteX1033" fmla="*/ 92475 w 1135258"/>
                    <a:gd name="connsiteY1033" fmla="*/ 197297 h 479350"/>
                    <a:gd name="connsiteX1034" fmla="*/ 93030 w 1135258"/>
                    <a:gd name="connsiteY1034" fmla="*/ 200361 h 479350"/>
                    <a:gd name="connsiteX1035" fmla="*/ 95768 w 1135258"/>
                    <a:gd name="connsiteY1035" fmla="*/ 205887 h 479350"/>
                    <a:gd name="connsiteX1036" fmla="*/ 96664 w 1135258"/>
                    <a:gd name="connsiteY1036" fmla="*/ 208861 h 479350"/>
                    <a:gd name="connsiteX1037" fmla="*/ 97341 w 1135258"/>
                    <a:gd name="connsiteY1037" fmla="*/ 210173 h 479350"/>
                    <a:gd name="connsiteX1038" fmla="*/ 97626 w 1135258"/>
                    <a:gd name="connsiteY1038" fmla="*/ 211200 h 479350"/>
                    <a:gd name="connsiteX1039" fmla="*/ 97389 w 1135258"/>
                    <a:gd name="connsiteY1039" fmla="*/ 211926 h 479350"/>
                    <a:gd name="connsiteX1040" fmla="*/ 99362 w 1135258"/>
                    <a:gd name="connsiteY1040" fmla="*/ 215430 h 479350"/>
                    <a:gd name="connsiteX1041" fmla="*/ 100772 w 1135258"/>
                    <a:gd name="connsiteY1041" fmla="*/ 217476 h 479350"/>
                    <a:gd name="connsiteX1042" fmla="*/ 100886 w 1135258"/>
                    <a:gd name="connsiteY1042" fmla="*/ 220793 h 479350"/>
                    <a:gd name="connsiteX1043" fmla="*/ 98213 w 1135258"/>
                    <a:gd name="connsiteY1043" fmla="*/ 221958 h 479350"/>
                    <a:gd name="connsiteX1044" fmla="*/ 996525 w 1135258"/>
                    <a:gd name="connsiteY1044" fmla="*/ 188234 h 479350"/>
                    <a:gd name="connsiteX1045" fmla="*/ 1001798 w 1135258"/>
                    <a:gd name="connsiteY1045" fmla="*/ 189408 h 479350"/>
                    <a:gd name="connsiteX1046" fmla="*/ 1003721 w 1135258"/>
                    <a:gd name="connsiteY1046" fmla="*/ 189335 h 479350"/>
                    <a:gd name="connsiteX1047" fmla="*/ 1005588 w 1135258"/>
                    <a:gd name="connsiteY1047" fmla="*/ 190663 h 479350"/>
                    <a:gd name="connsiteX1048" fmla="*/ 1007878 w 1135258"/>
                    <a:gd name="connsiteY1048" fmla="*/ 190044 h 479350"/>
                    <a:gd name="connsiteX1049" fmla="*/ 1009174 w 1135258"/>
                    <a:gd name="connsiteY1049" fmla="*/ 190467 h 479350"/>
                    <a:gd name="connsiteX1050" fmla="*/ 1013517 w 1135258"/>
                    <a:gd name="connsiteY1050" fmla="*/ 195015 h 479350"/>
                    <a:gd name="connsiteX1051" fmla="*/ 1015653 w 1135258"/>
                    <a:gd name="connsiteY1051" fmla="*/ 198030 h 479350"/>
                    <a:gd name="connsiteX1052" fmla="*/ 1018831 w 1135258"/>
                    <a:gd name="connsiteY1052" fmla="*/ 200614 h 479350"/>
                    <a:gd name="connsiteX1053" fmla="*/ 1021121 w 1135258"/>
                    <a:gd name="connsiteY1053" fmla="*/ 201486 h 479350"/>
                    <a:gd name="connsiteX1054" fmla="*/ 1019393 w 1135258"/>
                    <a:gd name="connsiteY1054" fmla="*/ 203857 h 479350"/>
                    <a:gd name="connsiteX1055" fmla="*/ 1015905 w 1135258"/>
                    <a:gd name="connsiteY1055" fmla="*/ 205096 h 479350"/>
                    <a:gd name="connsiteX1056" fmla="*/ 1014552 w 1135258"/>
                    <a:gd name="connsiteY1056" fmla="*/ 205161 h 479350"/>
                    <a:gd name="connsiteX1057" fmla="*/ 1011879 w 1135258"/>
                    <a:gd name="connsiteY1057" fmla="*/ 203752 h 479350"/>
                    <a:gd name="connsiteX1058" fmla="*/ 1009703 w 1135258"/>
                    <a:gd name="connsiteY1058" fmla="*/ 204004 h 479350"/>
                    <a:gd name="connsiteX1059" fmla="*/ 1007821 w 1135258"/>
                    <a:gd name="connsiteY1059" fmla="*/ 202244 h 479350"/>
                    <a:gd name="connsiteX1060" fmla="*/ 1007486 w 1135258"/>
                    <a:gd name="connsiteY1060" fmla="*/ 199522 h 479350"/>
                    <a:gd name="connsiteX1061" fmla="*/ 1005547 w 1135258"/>
                    <a:gd name="connsiteY1061" fmla="*/ 193369 h 479350"/>
                    <a:gd name="connsiteX1062" fmla="*/ 1003037 w 1135258"/>
                    <a:gd name="connsiteY1062" fmla="*/ 195129 h 479350"/>
                    <a:gd name="connsiteX1063" fmla="*/ 1000013 w 1135258"/>
                    <a:gd name="connsiteY1063" fmla="*/ 192293 h 479350"/>
                    <a:gd name="connsiteX1064" fmla="*/ 999190 w 1135258"/>
                    <a:gd name="connsiteY1064" fmla="*/ 192228 h 479350"/>
                    <a:gd name="connsiteX1065" fmla="*/ 999002 w 1135258"/>
                    <a:gd name="connsiteY1065" fmla="*/ 192709 h 479350"/>
                    <a:gd name="connsiteX1066" fmla="*/ 997723 w 1135258"/>
                    <a:gd name="connsiteY1066" fmla="*/ 191747 h 479350"/>
                    <a:gd name="connsiteX1067" fmla="*/ 996623 w 1135258"/>
                    <a:gd name="connsiteY1067" fmla="*/ 189832 h 479350"/>
                    <a:gd name="connsiteX1068" fmla="*/ 996525 w 1135258"/>
                    <a:gd name="connsiteY1068" fmla="*/ 188234 h 479350"/>
                    <a:gd name="connsiteX1069" fmla="*/ 949159 w 1135258"/>
                    <a:gd name="connsiteY1069" fmla="*/ 190467 h 479350"/>
                    <a:gd name="connsiteX1070" fmla="*/ 955385 w 1135258"/>
                    <a:gd name="connsiteY1070" fmla="*/ 190932 h 479350"/>
                    <a:gd name="connsiteX1071" fmla="*/ 958523 w 1135258"/>
                    <a:gd name="connsiteY1071" fmla="*/ 190630 h 479350"/>
                    <a:gd name="connsiteX1072" fmla="*/ 961595 w 1135258"/>
                    <a:gd name="connsiteY1072" fmla="*/ 191022 h 479350"/>
                    <a:gd name="connsiteX1073" fmla="*/ 962850 w 1135258"/>
                    <a:gd name="connsiteY1073" fmla="*/ 191788 h 479350"/>
                    <a:gd name="connsiteX1074" fmla="*/ 965002 w 1135258"/>
                    <a:gd name="connsiteY1074" fmla="*/ 194086 h 479350"/>
                    <a:gd name="connsiteX1075" fmla="*/ 964391 w 1135258"/>
                    <a:gd name="connsiteY1075" fmla="*/ 195610 h 479350"/>
                    <a:gd name="connsiteX1076" fmla="*/ 964024 w 1135258"/>
                    <a:gd name="connsiteY1076" fmla="*/ 198739 h 479350"/>
                    <a:gd name="connsiteX1077" fmla="*/ 965124 w 1135258"/>
                    <a:gd name="connsiteY1077" fmla="*/ 201747 h 479350"/>
                    <a:gd name="connsiteX1078" fmla="*/ 966909 w 1135258"/>
                    <a:gd name="connsiteY1078" fmla="*/ 204754 h 479350"/>
                    <a:gd name="connsiteX1079" fmla="*/ 968368 w 1135258"/>
                    <a:gd name="connsiteY1079" fmla="*/ 207981 h 479350"/>
                    <a:gd name="connsiteX1080" fmla="*/ 968686 w 1135258"/>
                    <a:gd name="connsiteY1080" fmla="*/ 209554 h 479350"/>
                    <a:gd name="connsiteX1081" fmla="*/ 968131 w 1135258"/>
                    <a:gd name="connsiteY1081" fmla="*/ 212879 h 479350"/>
                    <a:gd name="connsiteX1082" fmla="*/ 967626 w 1135258"/>
                    <a:gd name="connsiteY1082" fmla="*/ 214525 h 479350"/>
                    <a:gd name="connsiteX1083" fmla="*/ 965849 w 1135258"/>
                    <a:gd name="connsiteY1083" fmla="*/ 217264 h 479350"/>
                    <a:gd name="connsiteX1084" fmla="*/ 964871 w 1135258"/>
                    <a:gd name="connsiteY1084" fmla="*/ 220263 h 479350"/>
                    <a:gd name="connsiteX1085" fmla="*/ 965499 w 1135258"/>
                    <a:gd name="connsiteY1085" fmla="*/ 223963 h 479350"/>
                    <a:gd name="connsiteX1086" fmla="*/ 965849 w 1135258"/>
                    <a:gd name="connsiteY1086" fmla="*/ 227687 h 479350"/>
                    <a:gd name="connsiteX1087" fmla="*/ 965784 w 1135258"/>
                    <a:gd name="connsiteY1087" fmla="*/ 231102 h 479350"/>
                    <a:gd name="connsiteX1088" fmla="*/ 966094 w 1135258"/>
                    <a:gd name="connsiteY1088" fmla="*/ 234468 h 479350"/>
                    <a:gd name="connsiteX1089" fmla="*/ 967072 w 1135258"/>
                    <a:gd name="connsiteY1089" fmla="*/ 237874 h 479350"/>
                    <a:gd name="connsiteX1090" fmla="*/ 971220 w 1135258"/>
                    <a:gd name="connsiteY1090" fmla="*/ 247214 h 479350"/>
                    <a:gd name="connsiteX1091" fmla="*/ 973649 w 1135258"/>
                    <a:gd name="connsiteY1091" fmla="*/ 253538 h 479350"/>
                    <a:gd name="connsiteX1092" fmla="*/ 974423 w 1135258"/>
                    <a:gd name="connsiteY1092" fmla="*/ 250001 h 479350"/>
                    <a:gd name="connsiteX1093" fmla="*/ 974235 w 1135258"/>
                    <a:gd name="connsiteY1093" fmla="*/ 246073 h 479350"/>
                    <a:gd name="connsiteX1094" fmla="*/ 975091 w 1135258"/>
                    <a:gd name="connsiteY1094" fmla="*/ 244663 h 479350"/>
                    <a:gd name="connsiteX1095" fmla="*/ 976298 w 1135258"/>
                    <a:gd name="connsiteY1095" fmla="*/ 243897 h 479350"/>
                    <a:gd name="connsiteX1096" fmla="*/ 977797 w 1135258"/>
                    <a:gd name="connsiteY1096" fmla="*/ 244687 h 479350"/>
                    <a:gd name="connsiteX1097" fmla="*/ 978237 w 1135258"/>
                    <a:gd name="connsiteY1097" fmla="*/ 246269 h 479350"/>
                    <a:gd name="connsiteX1098" fmla="*/ 978343 w 1135258"/>
                    <a:gd name="connsiteY1098" fmla="*/ 249748 h 479350"/>
                    <a:gd name="connsiteX1099" fmla="*/ 979655 w 1135258"/>
                    <a:gd name="connsiteY1099" fmla="*/ 256578 h 479350"/>
                    <a:gd name="connsiteX1100" fmla="*/ 981334 w 1135258"/>
                    <a:gd name="connsiteY1100" fmla="*/ 256888 h 479350"/>
                    <a:gd name="connsiteX1101" fmla="*/ 983167 w 1135258"/>
                    <a:gd name="connsiteY1101" fmla="*/ 255836 h 479350"/>
                    <a:gd name="connsiteX1102" fmla="*/ 983461 w 1135258"/>
                    <a:gd name="connsiteY1102" fmla="*/ 257931 h 479350"/>
                    <a:gd name="connsiteX1103" fmla="*/ 983396 w 1135258"/>
                    <a:gd name="connsiteY1103" fmla="*/ 261794 h 479350"/>
                    <a:gd name="connsiteX1104" fmla="*/ 984243 w 1135258"/>
                    <a:gd name="connsiteY1104" fmla="*/ 264850 h 479350"/>
                    <a:gd name="connsiteX1105" fmla="*/ 984993 w 1135258"/>
                    <a:gd name="connsiteY1105" fmla="*/ 266048 h 479350"/>
                    <a:gd name="connsiteX1106" fmla="*/ 987976 w 1135258"/>
                    <a:gd name="connsiteY1106" fmla="*/ 268542 h 479350"/>
                    <a:gd name="connsiteX1107" fmla="*/ 989337 w 1135258"/>
                    <a:gd name="connsiteY1107" fmla="*/ 269015 h 479350"/>
                    <a:gd name="connsiteX1108" fmla="*/ 993289 w 1135258"/>
                    <a:gd name="connsiteY1108" fmla="*/ 269609 h 479350"/>
                    <a:gd name="connsiteX1109" fmla="*/ 996264 w 1135258"/>
                    <a:gd name="connsiteY1109" fmla="*/ 269797 h 479350"/>
                    <a:gd name="connsiteX1110" fmla="*/ 999117 w 1135258"/>
                    <a:gd name="connsiteY1110" fmla="*/ 268909 h 479350"/>
                    <a:gd name="connsiteX1111" fmla="*/ 1000959 w 1135258"/>
                    <a:gd name="connsiteY1111" fmla="*/ 266627 h 479350"/>
                    <a:gd name="connsiteX1112" fmla="*/ 1002621 w 1135258"/>
                    <a:gd name="connsiteY1112" fmla="*/ 264149 h 479350"/>
                    <a:gd name="connsiteX1113" fmla="*/ 1008367 w 1135258"/>
                    <a:gd name="connsiteY1113" fmla="*/ 258428 h 479350"/>
                    <a:gd name="connsiteX1114" fmla="*/ 1010029 w 1135258"/>
                    <a:gd name="connsiteY1114" fmla="*/ 255698 h 479350"/>
                    <a:gd name="connsiteX1115" fmla="*/ 1011618 w 1135258"/>
                    <a:gd name="connsiteY1115" fmla="*/ 251509 h 479350"/>
                    <a:gd name="connsiteX1116" fmla="*/ 1012173 w 1135258"/>
                    <a:gd name="connsiteY1116" fmla="*/ 250612 h 479350"/>
                    <a:gd name="connsiteX1117" fmla="*/ 1017877 w 1135258"/>
                    <a:gd name="connsiteY1117" fmla="*/ 246073 h 479350"/>
                    <a:gd name="connsiteX1118" fmla="*/ 1018530 w 1135258"/>
                    <a:gd name="connsiteY1118" fmla="*/ 244468 h 479350"/>
                    <a:gd name="connsiteX1119" fmla="*/ 1019352 w 1135258"/>
                    <a:gd name="connsiteY1119" fmla="*/ 241362 h 479350"/>
                    <a:gd name="connsiteX1120" fmla="*/ 1020591 w 1135258"/>
                    <a:gd name="connsiteY1120" fmla="*/ 238355 h 479350"/>
                    <a:gd name="connsiteX1121" fmla="*/ 1021512 w 1135258"/>
                    <a:gd name="connsiteY1121" fmla="*/ 236807 h 479350"/>
                    <a:gd name="connsiteX1122" fmla="*/ 1027037 w 1135258"/>
                    <a:gd name="connsiteY1122" fmla="*/ 235324 h 479350"/>
                    <a:gd name="connsiteX1123" fmla="*/ 1032759 w 1135258"/>
                    <a:gd name="connsiteY1123" fmla="*/ 234525 h 479350"/>
                    <a:gd name="connsiteX1124" fmla="*/ 1038431 w 1135258"/>
                    <a:gd name="connsiteY1124" fmla="*/ 231754 h 479350"/>
                    <a:gd name="connsiteX1125" fmla="*/ 1040892 w 1135258"/>
                    <a:gd name="connsiteY1125" fmla="*/ 229374 h 479350"/>
                    <a:gd name="connsiteX1126" fmla="*/ 1041007 w 1135258"/>
                    <a:gd name="connsiteY1126" fmla="*/ 227809 h 479350"/>
                    <a:gd name="connsiteX1127" fmla="*/ 1039767 w 1135258"/>
                    <a:gd name="connsiteY1127" fmla="*/ 225055 h 479350"/>
                    <a:gd name="connsiteX1128" fmla="*/ 1039711 w 1135258"/>
                    <a:gd name="connsiteY1128" fmla="*/ 223849 h 479350"/>
                    <a:gd name="connsiteX1129" fmla="*/ 1041022 w 1135258"/>
                    <a:gd name="connsiteY1129" fmla="*/ 222683 h 479350"/>
                    <a:gd name="connsiteX1130" fmla="*/ 1046084 w 1135258"/>
                    <a:gd name="connsiteY1130" fmla="*/ 219187 h 479350"/>
                    <a:gd name="connsiteX1131" fmla="*/ 1051943 w 1135258"/>
                    <a:gd name="connsiteY1131" fmla="*/ 215609 h 479350"/>
                    <a:gd name="connsiteX1132" fmla="*/ 1056654 w 1135258"/>
                    <a:gd name="connsiteY1132" fmla="*/ 213132 h 479350"/>
                    <a:gd name="connsiteX1133" fmla="*/ 1059237 w 1135258"/>
                    <a:gd name="connsiteY1133" fmla="*/ 213148 h 479350"/>
                    <a:gd name="connsiteX1134" fmla="*/ 1061642 w 1135258"/>
                    <a:gd name="connsiteY1134" fmla="*/ 215324 h 479350"/>
                    <a:gd name="connsiteX1135" fmla="*/ 1064192 w 1135258"/>
                    <a:gd name="connsiteY1135" fmla="*/ 217117 h 479350"/>
                    <a:gd name="connsiteX1136" fmla="*/ 1077558 w 1135258"/>
                    <a:gd name="connsiteY1136" fmla="*/ 222365 h 479350"/>
                    <a:gd name="connsiteX1137" fmla="*/ 1079701 w 1135258"/>
                    <a:gd name="connsiteY1137" fmla="*/ 223995 h 479350"/>
                    <a:gd name="connsiteX1138" fmla="*/ 1081576 w 1135258"/>
                    <a:gd name="connsiteY1138" fmla="*/ 226155 h 479350"/>
                    <a:gd name="connsiteX1139" fmla="*/ 1084241 w 1135258"/>
                    <a:gd name="connsiteY1139" fmla="*/ 227663 h 479350"/>
                    <a:gd name="connsiteX1140" fmla="*/ 1087232 w 1135258"/>
                    <a:gd name="connsiteY1140" fmla="*/ 228388 h 479350"/>
                    <a:gd name="connsiteX1141" fmla="*/ 1089937 w 1135258"/>
                    <a:gd name="connsiteY1141" fmla="*/ 229790 h 479350"/>
                    <a:gd name="connsiteX1142" fmla="*/ 1092512 w 1135258"/>
                    <a:gd name="connsiteY1142" fmla="*/ 231599 h 479350"/>
                    <a:gd name="connsiteX1143" fmla="*/ 1098185 w 1135258"/>
                    <a:gd name="connsiteY1143" fmla="*/ 234973 h 479350"/>
                    <a:gd name="connsiteX1144" fmla="*/ 1105821 w 1135258"/>
                    <a:gd name="connsiteY1144" fmla="*/ 239064 h 479350"/>
                    <a:gd name="connsiteX1145" fmla="*/ 1107777 w 1135258"/>
                    <a:gd name="connsiteY1145" fmla="*/ 239301 h 479350"/>
                    <a:gd name="connsiteX1146" fmla="*/ 1114875 w 1135258"/>
                    <a:gd name="connsiteY1146" fmla="*/ 239121 h 479350"/>
                    <a:gd name="connsiteX1147" fmla="*/ 1116098 w 1135258"/>
                    <a:gd name="connsiteY1147" fmla="*/ 239879 h 479350"/>
                    <a:gd name="connsiteX1148" fmla="*/ 1117271 w 1135258"/>
                    <a:gd name="connsiteY1148" fmla="*/ 240971 h 479350"/>
                    <a:gd name="connsiteX1149" fmla="*/ 1118355 w 1135258"/>
                    <a:gd name="connsiteY1149" fmla="*/ 241224 h 479350"/>
                    <a:gd name="connsiteX1150" fmla="*/ 1126481 w 1135258"/>
                    <a:gd name="connsiteY1150" fmla="*/ 241990 h 479350"/>
                    <a:gd name="connsiteX1151" fmla="*/ 1127736 w 1135258"/>
                    <a:gd name="connsiteY1151" fmla="*/ 242781 h 479350"/>
                    <a:gd name="connsiteX1152" fmla="*/ 1128918 w 1135258"/>
                    <a:gd name="connsiteY1152" fmla="*/ 243856 h 479350"/>
                    <a:gd name="connsiteX1153" fmla="*/ 1129594 w 1135258"/>
                    <a:gd name="connsiteY1153" fmla="*/ 246815 h 479350"/>
                    <a:gd name="connsiteX1154" fmla="*/ 1135201 w 1135258"/>
                    <a:gd name="connsiteY1154" fmla="*/ 246896 h 479350"/>
                    <a:gd name="connsiteX1155" fmla="*/ 1135201 w 1135258"/>
                    <a:gd name="connsiteY1155" fmla="*/ 252699 h 479350"/>
                    <a:gd name="connsiteX1156" fmla="*/ 1135201 w 1135258"/>
                    <a:gd name="connsiteY1156" fmla="*/ 258795 h 479350"/>
                    <a:gd name="connsiteX1157" fmla="*/ 1135201 w 1135258"/>
                    <a:gd name="connsiteY1157" fmla="*/ 264882 h 479350"/>
                    <a:gd name="connsiteX1158" fmla="*/ 1135201 w 1135258"/>
                    <a:gd name="connsiteY1158" fmla="*/ 270979 h 479350"/>
                    <a:gd name="connsiteX1159" fmla="*/ 1135217 w 1135258"/>
                    <a:gd name="connsiteY1159" fmla="*/ 277067 h 479350"/>
                    <a:gd name="connsiteX1160" fmla="*/ 1135217 w 1135258"/>
                    <a:gd name="connsiteY1160" fmla="*/ 283154 h 479350"/>
                    <a:gd name="connsiteX1161" fmla="*/ 1135217 w 1135258"/>
                    <a:gd name="connsiteY1161" fmla="*/ 289250 h 479350"/>
                    <a:gd name="connsiteX1162" fmla="*/ 1135217 w 1135258"/>
                    <a:gd name="connsiteY1162" fmla="*/ 295338 h 479350"/>
                    <a:gd name="connsiteX1163" fmla="*/ 1135217 w 1135258"/>
                    <a:gd name="connsiteY1163" fmla="*/ 301434 h 479350"/>
                    <a:gd name="connsiteX1164" fmla="*/ 1135217 w 1135258"/>
                    <a:gd name="connsiteY1164" fmla="*/ 307538 h 479350"/>
                    <a:gd name="connsiteX1165" fmla="*/ 1135217 w 1135258"/>
                    <a:gd name="connsiteY1165" fmla="*/ 313634 h 479350"/>
                    <a:gd name="connsiteX1166" fmla="*/ 1135217 w 1135258"/>
                    <a:gd name="connsiteY1166" fmla="*/ 319730 h 479350"/>
                    <a:gd name="connsiteX1167" fmla="*/ 1135217 w 1135258"/>
                    <a:gd name="connsiteY1167" fmla="*/ 325826 h 479350"/>
                    <a:gd name="connsiteX1168" fmla="*/ 1135217 w 1135258"/>
                    <a:gd name="connsiteY1168" fmla="*/ 331930 h 479350"/>
                    <a:gd name="connsiteX1169" fmla="*/ 1135217 w 1135258"/>
                    <a:gd name="connsiteY1169" fmla="*/ 338018 h 479350"/>
                    <a:gd name="connsiteX1170" fmla="*/ 1135233 w 1135258"/>
                    <a:gd name="connsiteY1170" fmla="*/ 344130 h 479350"/>
                    <a:gd name="connsiteX1171" fmla="*/ 1135233 w 1135258"/>
                    <a:gd name="connsiteY1171" fmla="*/ 350227 h 479350"/>
                    <a:gd name="connsiteX1172" fmla="*/ 1135233 w 1135258"/>
                    <a:gd name="connsiteY1172" fmla="*/ 356339 h 479350"/>
                    <a:gd name="connsiteX1173" fmla="*/ 1135233 w 1135258"/>
                    <a:gd name="connsiteY1173" fmla="*/ 358939 h 479350"/>
                    <a:gd name="connsiteX1174" fmla="*/ 1134459 w 1135258"/>
                    <a:gd name="connsiteY1174" fmla="*/ 362125 h 479350"/>
                    <a:gd name="connsiteX1175" fmla="*/ 1132748 w 1135258"/>
                    <a:gd name="connsiteY1175" fmla="*/ 366917 h 479350"/>
                    <a:gd name="connsiteX1176" fmla="*/ 1132430 w 1135258"/>
                    <a:gd name="connsiteY1176" fmla="*/ 370772 h 479350"/>
                    <a:gd name="connsiteX1177" fmla="*/ 1133864 w 1135258"/>
                    <a:gd name="connsiteY1177" fmla="*/ 373779 h 479350"/>
                    <a:gd name="connsiteX1178" fmla="*/ 1135233 w 1135258"/>
                    <a:gd name="connsiteY1178" fmla="*/ 375743 h 479350"/>
                    <a:gd name="connsiteX1179" fmla="*/ 1135233 w 1135258"/>
                    <a:gd name="connsiteY1179" fmla="*/ 380764 h 479350"/>
                    <a:gd name="connsiteX1180" fmla="*/ 1135233 w 1135258"/>
                    <a:gd name="connsiteY1180" fmla="*/ 386868 h 479350"/>
                    <a:gd name="connsiteX1181" fmla="*/ 1135233 w 1135258"/>
                    <a:gd name="connsiteY1181" fmla="*/ 392980 h 479350"/>
                    <a:gd name="connsiteX1182" fmla="*/ 1135242 w 1135258"/>
                    <a:gd name="connsiteY1182" fmla="*/ 399101 h 479350"/>
                    <a:gd name="connsiteX1183" fmla="*/ 1135242 w 1135258"/>
                    <a:gd name="connsiteY1183" fmla="*/ 405213 h 479350"/>
                    <a:gd name="connsiteX1184" fmla="*/ 1135242 w 1135258"/>
                    <a:gd name="connsiteY1184" fmla="*/ 411325 h 479350"/>
                    <a:gd name="connsiteX1185" fmla="*/ 1135250 w 1135258"/>
                    <a:gd name="connsiteY1185" fmla="*/ 417454 h 479350"/>
                    <a:gd name="connsiteX1186" fmla="*/ 1135250 w 1135258"/>
                    <a:gd name="connsiteY1186" fmla="*/ 423574 h 479350"/>
                    <a:gd name="connsiteX1187" fmla="*/ 1135250 w 1135258"/>
                    <a:gd name="connsiteY1187" fmla="*/ 429686 h 479350"/>
                    <a:gd name="connsiteX1188" fmla="*/ 1135250 w 1135258"/>
                    <a:gd name="connsiteY1188" fmla="*/ 435807 h 479350"/>
                    <a:gd name="connsiteX1189" fmla="*/ 1135250 w 1135258"/>
                    <a:gd name="connsiteY1189" fmla="*/ 441944 h 479350"/>
                    <a:gd name="connsiteX1190" fmla="*/ 1135258 w 1135258"/>
                    <a:gd name="connsiteY1190" fmla="*/ 442327 h 479350"/>
                    <a:gd name="connsiteX1191" fmla="*/ 1133987 w 1135258"/>
                    <a:gd name="connsiteY1191" fmla="*/ 441316 h 479350"/>
                    <a:gd name="connsiteX1192" fmla="*/ 1130564 w 1135258"/>
                    <a:gd name="connsiteY1192" fmla="*/ 437975 h 479350"/>
                    <a:gd name="connsiteX1193" fmla="*/ 1127459 w 1135258"/>
                    <a:gd name="connsiteY1193" fmla="*/ 434136 h 479350"/>
                    <a:gd name="connsiteX1194" fmla="*/ 1125462 w 1135258"/>
                    <a:gd name="connsiteY1194" fmla="*/ 430575 h 479350"/>
                    <a:gd name="connsiteX1195" fmla="*/ 1123205 w 1135258"/>
                    <a:gd name="connsiteY1195" fmla="*/ 427323 h 479350"/>
                    <a:gd name="connsiteX1196" fmla="*/ 1113572 w 1135258"/>
                    <a:gd name="connsiteY1196" fmla="*/ 417698 h 479350"/>
                    <a:gd name="connsiteX1197" fmla="*/ 1111127 w 1135258"/>
                    <a:gd name="connsiteY1197" fmla="*/ 414528 h 479350"/>
                    <a:gd name="connsiteX1198" fmla="*/ 1110629 w 1135258"/>
                    <a:gd name="connsiteY1198" fmla="*/ 413664 h 479350"/>
                    <a:gd name="connsiteX1199" fmla="*/ 1110866 w 1135258"/>
                    <a:gd name="connsiteY1199" fmla="*/ 412833 h 479350"/>
                    <a:gd name="connsiteX1200" fmla="*/ 1111982 w 1135258"/>
                    <a:gd name="connsiteY1200" fmla="*/ 411178 h 479350"/>
                    <a:gd name="connsiteX1201" fmla="*/ 1113946 w 1135258"/>
                    <a:gd name="connsiteY1201" fmla="*/ 406354 h 479350"/>
                    <a:gd name="connsiteX1202" fmla="*/ 1111884 w 1135258"/>
                    <a:gd name="connsiteY1202" fmla="*/ 409328 h 479350"/>
                    <a:gd name="connsiteX1203" fmla="*/ 1109423 w 1135258"/>
                    <a:gd name="connsiteY1203" fmla="*/ 411684 h 479350"/>
                    <a:gd name="connsiteX1204" fmla="*/ 1105854 w 1135258"/>
                    <a:gd name="connsiteY1204" fmla="*/ 411847 h 479350"/>
                    <a:gd name="connsiteX1205" fmla="*/ 1102349 w 1135258"/>
                    <a:gd name="connsiteY1205" fmla="*/ 412417 h 479350"/>
                    <a:gd name="connsiteX1206" fmla="*/ 1099106 w 1135258"/>
                    <a:gd name="connsiteY1206" fmla="*/ 413843 h 479350"/>
                    <a:gd name="connsiteX1207" fmla="*/ 1095821 w 1135258"/>
                    <a:gd name="connsiteY1207" fmla="*/ 414332 h 479350"/>
                    <a:gd name="connsiteX1208" fmla="*/ 1094167 w 1135258"/>
                    <a:gd name="connsiteY1208" fmla="*/ 413640 h 479350"/>
                    <a:gd name="connsiteX1209" fmla="*/ 1093173 w 1135258"/>
                    <a:gd name="connsiteY1209" fmla="*/ 411863 h 479350"/>
                    <a:gd name="connsiteX1210" fmla="*/ 1092659 w 1135258"/>
                    <a:gd name="connsiteY1210" fmla="*/ 410037 h 479350"/>
                    <a:gd name="connsiteX1211" fmla="*/ 1092423 w 1135258"/>
                    <a:gd name="connsiteY1211" fmla="*/ 408114 h 479350"/>
                    <a:gd name="connsiteX1212" fmla="*/ 1091046 w 1135258"/>
                    <a:gd name="connsiteY1212" fmla="*/ 411235 h 479350"/>
                    <a:gd name="connsiteX1213" fmla="*/ 1088324 w 1135258"/>
                    <a:gd name="connsiteY1213" fmla="*/ 412947 h 479350"/>
                    <a:gd name="connsiteX1214" fmla="*/ 1084607 w 1135258"/>
                    <a:gd name="connsiteY1214" fmla="*/ 416541 h 479350"/>
                    <a:gd name="connsiteX1215" fmla="*/ 1083540 w 1135258"/>
                    <a:gd name="connsiteY1215" fmla="*/ 415799 h 479350"/>
                    <a:gd name="connsiteX1216" fmla="*/ 1082896 w 1135258"/>
                    <a:gd name="connsiteY1216" fmla="*/ 414422 h 479350"/>
                    <a:gd name="connsiteX1217" fmla="*/ 1082684 w 1135258"/>
                    <a:gd name="connsiteY1217" fmla="*/ 413012 h 479350"/>
                    <a:gd name="connsiteX1218" fmla="*/ 1083410 w 1135258"/>
                    <a:gd name="connsiteY1218" fmla="*/ 411480 h 479350"/>
                    <a:gd name="connsiteX1219" fmla="*/ 1083915 w 1135258"/>
                    <a:gd name="connsiteY1219" fmla="*/ 409883 h 479350"/>
                    <a:gd name="connsiteX1220" fmla="*/ 1084673 w 1135258"/>
                    <a:gd name="connsiteY1220" fmla="*/ 406028 h 479350"/>
                    <a:gd name="connsiteX1221" fmla="*/ 1086335 w 1135258"/>
                    <a:gd name="connsiteY1221" fmla="*/ 403754 h 479350"/>
                    <a:gd name="connsiteX1222" fmla="*/ 1087403 w 1135258"/>
                    <a:gd name="connsiteY1222" fmla="*/ 399353 h 479350"/>
                    <a:gd name="connsiteX1223" fmla="*/ 1088095 w 1135258"/>
                    <a:gd name="connsiteY1223" fmla="*/ 397805 h 479350"/>
                    <a:gd name="connsiteX1224" fmla="*/ 1088446 w 1135258"/>
                    <a:gd name="connsiteY1224" fmla="*/ 396232 h 479350"/>
                    <a:gd name="connsiteX1225" fmla="*/ 1087484 w 1135258"/>
                    <a:gd name="connsiteY1225" fmla="*/ 394455 h 479350"/>
                    <a:gd name="connsiteX1226" fmla="*/ 1085846 w 1135258"/>
                    <a:gd name="connsiteY1226" fmla="*/ 393852 h 479350"/>
                    <a:gd name="connsiteX1227" fmla="*/ 1084730 w 1135258"/>
                    <a:gd name="connsiteY1227" fmla="*/ 392776 h 479350"/>
                    <a:gd name="connsiteX1228" fmla="*/ 1083434 w 1135258"/>
                    <a:gd name="connsiteY1228" fmla="*/ 389802 h 479350"/>
                    <a:gd name="connsiteX1229" fmla="*/ 1082627 w 1135258"/>
                    <a:gd name="connsiteY1229" fmla="*/ 388791 h 479350"/>
                    <a:gd name="connsiteX1230" fmla="*/ 1081152 w 1135258"/>
                    <a:gd name="connsiteY1230" fmla="*/ 387560 h 479350"/>
                    <a:gd name="connsiteX1231" fmla="*/ 1080003 w 1135258"/>
                    <a:gd name="connsiteY1231" fmla="*/ 386143 h 479350"/>
                    <a:gd name="connsiteX1232" fmla="*/ 1081258 w 1135258"/>
                    <a:gd name="connsiteY1232" fmla="*/ 385058 h 479350"/>
                    <a:gd name="connsiteX1233" fmla="*/ 1082904 w 1135258"/>
                    <a:gd name="connsiteY1233" fmla="*/ 384627 h 479350"/>
                    <a:gd name="connsiteX1234" fmla="*/ 1084257 w 1135258"/>
                    <a:gd name="connsiteY1234" fmla="*/ 384700 h 479350"/>
                    <a:gd name="connsiteX1235" fmla="*/ 1086702 w 1135258"/>
                    <a:gd name="connsiteY1235" fmla="*/ 385360 h 479350"/>
                    <a:gd name="connsiteX1236" fmla="*/ 1087810 w 1135258"/>
                    <a:gd name="connsiteY1236" fmla="*/ 385401 h 479350"/>
                    <a:gd name="connsiteX1237" fmla="*/ 1090647 w 1135258"/>
                    <a:gd name="connsiteY1237" fmla="*/ 384301 h 479350"/>
                    <a:gd name="connsiteX1238" fmla="*/ 1089057 w 1135258"/>
                    <a:gd name="connsiteY1238" fmla="*/ 384651 h 479350"/>
                    <a:gd name="connsiteX1239" fmla="*/ 1087484 w 1135258"/>
                    <a:gd name="connsiteY1239" fmla="*/ 384610 h 479350"/>
                    <a:gd name="connsiteX1240" fmla="*/ 1082448 w 1135258"/>
                    <a:gd name="connsiteY1240" fmla="*/ 382671 h 479350"/>
                    <a:gd name="connsiteX1241" fmla="*/ 1079326 w 1135258"/>
                    <a:gd name="connsiteY1241" fmla="*/ 380674 h 479350"/>
                    <a:gd name="connsiteX1242" fmla="*/ 1076385 w 1135258"/>
                    <a:gd name="connsiteY1242" fmla="*/ 376664 h 479350"/>
                    <a:gd name="connsiteX1243" fmla="*/ 1076360 w 1135258"/>
                    <a:gd name="connsiteY1243" fmla="*/ 375898 h 479350"/>
                    <a:gd name="connsiteX1244" fmla="*/ 1078422 w 1135258"/>
                    <a:gd name="connsiteY1244" fmla="*/ 375173 h 479350"/>
                    <a:gd name="connsiteX1245" fmla="*/ 1082912 w 1135258"/>
                    <a:gd name="connsiteY1245" fmla="*/ 374325 h 479350"/>
                    <a:gd name="connsiteX1246" fmla="*/ 1081518 w 1135258"/>
                    <a:gd name="connsiteY1246" fmla="*/ 372280 h 479350"/>
                    <a:gd name="connsiteX1247" fmla="*/ 1079489 w 1135258"/>
                    <a:gd name="connsiteY1247" fmla="*/ 370503 h 479350"/>
                    <a:gd name="connsiteX1248" fmla="*/ 1078789 w 1135258"/>
                    <a:gd name="connsiteY1248" fmla="*/ 367333 h 479350"/>
                    <a:gd name="connsiteX1249" fmla="*/ 1077395 w 1135258"/>
                    <a:gd name="connsiteY1249" fmla="*/ 365377 h 479350"/>
                    <a:gd name="connsiteX1250" fmla="*/ 1074404 w 1135258"/>
                    <a:gd name="connsiteY1250" fmla="*/ 362166 h 479350"/>
                    <a:gd name="connsiteX1251" fmla="*/ 1072350 w 1135258"/>
                    <a:gd name="connsiteY1251" fmla="*/ 358849 h 479350"/>
                    <a:gd name="connsiteX1252" fmla="*/ 1070598 w 1135258"/>
                    <a:gd name="connsiteY1252" fmla="*/ 352101 h 479350"/>
                    <a:gd name="connsiteX1253" fmla="*/ 1068821 w 1135258"/>
                    <a:gd name="connsiteY1253" fmla="*/ 347015 h 479350"/>
                    <a:gd name="connsiteX1254" fmla="*/ 1069254 w 1135258"/>
                    <a:gd name="connsiteY1254" fmla="*/ 345166 h 479350"/>
                    <a:gd name="connsiteX1255" fmla="*/ 1070753 w 1135258"/>
                    <a:gd name="connsiteY1255" fmla="*/ 343845 h 479350"/>
                    <a:gd name="connsiteX1256" fmla="*/ 1068487 w 1135258"/>
                    <a:gd name="connsiteY1256" fmla="*/ 343690 h 479350"/>
                    <a:gd name="connsiteX1257" fmla="*/ 1066425 w 1135258"/>
                    <a:gd name="connsiteY1257" fmla="*/ 342737 h 479350"/>
                    <a:gd name="connsiteX1258" fmla="*/ 1067518 w 1135258"/>
                    <a:gd name="connsiteY1258" fmla="*/ 340260 h 479350"/>
                    <a:gd name="connsiteX1259" fmla="*/ 1069897 w 1135258"/>
                    <a:gd name="connsiteY1259" fmla="*/ 338792 h 479350"/>
                    <a:gd name="connsiteX1260" fmla="*/ 1067729 w 1135258"/>
                    <a:gd name="connsiteY1260" fmla="*/ 339176 h 479350"/>
                    <a:gd name="connsiteX1261" fmla="*/ 1065602 w 1135258"/>
                    <a:gd name="connsiteY1261" fmla="*/ 339893 h 479350"/>
                    <a:gd name="connsiteX1262" fmla="*/ 1064633 w 1135258"/>
                    <a:gd name="connsiteY1262" fmla="*/ 340031 h 479350"/>
                    <a:gd name="connsiteX1263" fmla="*/ 1063630 w 1135258"/>
                    <a:gd name="connsiteY1263" fmla="*/ 339811 h 479350"/>
                    <a:gd name="connsiteX1264" fmla="*/ 1063108 w 1135258"/>
                    <a:gd name="connsiteY1264" fmla="*/ 338817 h 479350"/>
                    <a:gd name="connsiteX1265" fmla="*/ 1063043 w 1135258"/>
                    <a:gd name="connsiteY1265" fmla="*/ 337399 h 479350"/>
                    <a:gd name="connsiteX1266" fmla="*/ 1063345 w 1135258"/>
                    <a:gd name="connsiteY1266" fmla="*/ 334905 h 479350"/>
                    <a:gd name="connsiteX1267" fmla="*/ 1062978 w 1135258"/>
                    <a:gd name="connsiteY1267" fmla="*/ 332485 h 479350"/>
                    <a:gd name="connsiteX1268" fmla="*/ 1061104 w 1135258"/>
                    <a:gd name="connsiteY1268" fmla="*/ 331360 h 479350"/>
                    <a:gd name="connsiteX1269" fmla="*/ 1059547 w 1135258"/>
                    <a:gd name="connsiteY1269" fmla="*/ 329624 h 479350"/>
                    <a:gd name="connsiteX1270" fmla="*/ 1058675 w 1135258"/>
                    <a:gd name="connsiteY1270" fmla="*/ 328988 h 479350"/>
                    <a:gd name="connsiteX1271" fmla="*/ 1057526 w 1135258"/>
                    <a:gd name="connsiteY1271" fmla="*/ 329045 h 479350"/>
                    <a:gd name="connsiteX1272" fmla="*/ 1056393 w 1135258"/>
                    <a:gd name="connsiteY1272" fmla="*/ 327888 h 479350"/>
                    <a:gd name="connsiteX1273" fmla="*/ 1055505 w 1135258"/>
                    <a:gd name="connsiteY1273" fmla="*/ 326209 h 479350"/>
                    <a:gd name="connsiteX1274" fmla="*/ 1044290 w 1135258"/>
                    <a:gd name="connsiteY1274" fmla="*/ 318948 h 479350"/>
                    <a:gd name="connsiteX1275" fmla="*/ 1043622 w 1135258"/>
                    <a:gd name="connsiteY1275" fmla="*/ 316886 h 479350"/>
                    <a:gd name="connsiteX1276" fmla="*/ 1042579 w 1135258"/>
                    <a:gd name="connsiteY1276" fmla="*/ 317791 h 479350"/>
                    <a:gd name="connsiteX1277" fmla="*/ 1041536 w 1135258"/>
                    <a:gd name="connsiteY1277" fmla="*/ 318239 h 479350"/>
                    <a:gd name="connsiteX1278" fmla="*/ 1040248 w 1135258"/>
                    <a:gd name="connsiteY1278" fmla="*/ 317049 h 479350"/>
                    <a:gd name="connsiteX1279" fmla="*/ 1038887 w 1135258"/>
                    <a:gd name="connsiteY1279" fmla="*/ 316259 h 479350"/>
                    <a:gd name="connsiteX1280" fmla="*/ 1037412 w 1135258"/>
                    <a:gd name="connsiteY1280" fmla="*/ 316389 h 479350"/>
                    <a:gd name="connsiteX1281" fmla="*/ 1036043 w 1135258"/>
                    <a:gd name="connsiteY1281" fmla="*/ 315745 h 479350"/>
                    <a:gd name="connsiteX1282" fmla="*/ 1034617 w 1135258"/>
                    <a:gd name="connsiteY1282" fmla="*/ 315370 h 479350"/>
                    <a:gd name="connsiteX1283" fmla="*/ 1033117 w 1135258"/>
                    <a:gd name="connsiteY1283" fmla="*/ 315329 h 479350"/>
                    <a:gd name="connsiteX1284" fmla="*/ 1027217 w 1135258"/>
                    <a:gd name="connsiteY1284" fmla="*/ 313096 h 479350"/>
                    <a:gd name="connsiteX1285" fmla="*/ 1021618 w 1135258"/>
                    <a:gd name="connsiteY1285" fmla="*/ 309576 h 479350"/>
                    <a:gd name="connsiteX1286" fmla="*/ 1017087 w 1135258"/>
                    <a:gd name="connsiteY1286" fmla="*/ 308052 h 479350"/>
                    <a:gd name="connsiteX1287" fmla="*/ 1014275 w 1135258"/>
                    <a:gd name="connsiteY1287" fmla="*/ 306071 h 479350"/>
                    <a:gd name="connsiteX1288" fmla="*/ 1011358 w 1135258"/>
                    <a:gd name="connsiteY1288" fmla="*/ 304450 h 479350"/>
                    <a:gd name="connsiteX1289" fmla="*/ 1004830 w 1135258"/>
                    <a:gd name="connsiteY1289" fmla="*/ 302885 h 479350"/>
                    <a:gd name="connsiteX1290" fmla="*/ 998220 w 1135258"/>
                    <a:gd name="connsiteY1290" fmla="*/ 301825 h 479350"/>
                    <a:gd name="connsiteX1291" fmla="*/ 995824 w 1135258"/>
                    <a:gd name="connsiteY1291" fmla="*/ 301785 h 479350"/>
                    <a:gd name="connsiteX1292" fmla="*/ 993828 w 1135258"/>
                    <a:gd name="connsiteY1292" fmla="*/ 302127 h 479350"/>
                    <a:gd name="connsiteX1293" fmla="*/ 991904 w 1135258"/>
                    <a:gd name="connsiteY1293" fmla="*/ 302053 h 479350"/>
                    <a:gd name="connsiteX1294" fmla="*/ 980951 w 1135258"/>
                    <a:gd name="connsiteY1294" fmla="*/ 294393 h 479350"/>
                    <a:gd name="connsiteX1295" fmla="*/ 979109 w 1135258"/>
                    <a:gd name="connsiteY1295" fmla="*/ 290913 h 479350"/>
                    <a:gd name="connsiteX1296" fmla="*/ 979280 w 1135258"/>
                    <a:gd name="connsiteY1296" fmla="*/ 288875 h 479350"/>
                    <a:gd name="connsiteX1297" fmla="*/ 979778 w 1135258"/>
                    <a:gd name="connsiteY1297" fmla="*/ 287180 h 479350"/>
                    <a:gd name="connsiteX1298" fmla="*/ 984235 w 1135258"/>
                    <a:gd name="connsiteY1298" fmla="*/ 286691 h 479350"/>
                    <a:gd name="connsiteX1299" fmla="*/ 981098 w 1135258"/>
                    <a:gd name="connsiteY1299" fmla="*/ 286202 h 479350"/>
                    <a:gd name="connsiteX1300" fmla="*/ 979793 w 1135258"/>
                    <a:gd name="connsiteY1300" fmla="*/ 286430 h 479350"/>
                    <a:gd name="connsiteX1301" fmla="*/ 977218 w 1135258"/>
                    <a:gd name="connsiteY1301" fmla="*/ 287816 h 479350"/>
                    <a:gd name="connsiteX1302" fmla="*/ 975809 w 1135258"/>
                    <a:gd name="connsiteY1302" fmla="*/ 287906 h 479350"/>
                    <a:gd name="connsiteX1303" fmla="*/ 973836 w 1135258"/>
                    <a:gd name="connsiteY1303" fmla="*/ 287001 h 479350"/>
                    <a:gd name="connsiteX1304" fmla="*/ 971954 w 1135258"/>
                    <a:gd name="connsiteY1304" fmla="*/ 285836 h 479350"/>
                    <a:gd name="connsiteX1305" fmla="*/ 968857 w 1135258"/>
                    <a:gd name="connsiteY1305" fmla="*/ 286911 h 479350"/>
                    <a:gd name="connsiteX1306" fmla="*/ 967276 w 1135258"/>
                    <a:gd name="connsiteY1306" fmla="*/ 285151 h 479350"/>
                    <a:gd name="connsiteX1307" fmla="*/ 966730 w 1135258"/>
                    <a:gd name="connsiteY1307" fmla="*/ 283293 h 479350"/>
                    <a:gd name="connsiteX1308" fmla="*/ 965899 w 1135258"/>
                    <a:gd name="connsiteY1308" fmla="*/ 282445 h 479350"/>
                    <a:gd name="connsiteX1309" fmla="*/ 964733 w 1135258"/>
                    <a:gd name="connsiteY1309" fmla="*/ 282527 h 479350"/>
                    <a:gd name="connsiteX1310" fmla="*/ 963168 w 1135258"/>
                    <a:gd name="connsiteY1310" fmla="*/ 283195 h 479350"/>
                    <a:gd name="connsiteX1311" fmla="*/ 961603 w 1135258"/>
                    <a:gd name="connsiteY1311" fmla="*/ 283073 h 479350"/>
                    <a:gd name="connsiteX1312" fmla="*/ 960609 w 1135258"/>
                    <a:gd name="connsiteY1312" fmla="*/ 281801 h 479350"/>
                    <a:gd name="connsiteX1313" fmla="*/ 959876 w 1135258"/>
                    <a:gd name="connsiteY1313" fmla="*/ 280147 h 479350"/>
                    <a:gd name="connsiteX1314" fmla="*/ 958792 w 1135258"/>
                    <a:gd name="connsiteY1314" fmla="*/ 278957 h 479350"/>
                    <a:gd name="connsiteX1315" fmla="*/ 957513 w 1135258"/>
                    <a:gd name="connsiteY1315" fmla="*/ 278044 h 479350"/>
                    <a:gd name="connsiteX1316" fmla="*/ 955394 w 1135258"/>
                    <a:gd name="connsiteY1316" fmla="*/ 275893 h 479350"/>
                    <a:gd name="connsiteX1317" fmla="*/ 954285 w 1135258"/>
                    <a:gd name="connsiteY1317" fmla="*/ 272943 h 479350"/>
                    <a:gd name="connsiteX1318" fmla="*/ 954407 w 1135258"/>
                    <a:gd name="connsiteY1318" fmla="*/ 267833 h 479350"/>
                    <a:gd name="connsiteX1319" fmla="*/ 954749 w 1135258"/>
                    <a:gd name="connsiteY1319" fmla="*/ 266007 h 479350"/>
                    <a:gd name="connsiteX1320" fmla="*/ 956844 w 1135258"/>
                    <a:gd name="connsiteY1320" fmla="*/ 263033 h 479350"/>
                    <a:gd name="connsiteX1321" fmla="*/ 958335 w 1135258"/>
                    <a:gd name="connsiteY1321" fmla="*/ 260205 h 479350"/>
                    <a:gd name="connsiteX1322" fmla="*/ 956485 w 1135258"/>
                    <a:gd name="connsiteY1322" fmla="*/ 259895 h 479350"/>
                    <a:gd name="connsiteX1323" fmla="*/ 954823 w 1135258"/>
                    <a:gd name="connsiteY1323" fmla="*/ 261191 h 479350"/>
                    <a:gd name="connsiteX1324" fmla="*/ 954122 w 1135258"/>
                    <a:gd name="connsiteY1324" fmla="*/ 262519 h 479350"/>
                    <a:gd name="connsiteX1325" fmla="*/ 953845 w 1135258"/>
                    <a:gd name="connsiteY1325" fmla="*/ 264125 h 479350"/>
                    <a:gd name="connsiteX1326" fmla="*/ 953658 w 1135258"/>
                    <a:gd name="connsiteY1326" fmla="*/ 269479 h 479350"/>
                    <a:gd name="connsiteX1327" fmla="*/ 952329 w 1135258"/>
                    <a:gd name="connsiteY1327" fmla="*/ 271036 h 479350"/>
                    <a:gd name="connsiteX1328" fmla="*/ 950316 w 1135258"/>
                    <a:gd name="connsiteY1328" fmla="*/ 270897 h 479350"/>
                    <a:gd name="connsiteX1329" fmla="*/ 950911 w 1135258"/>
                    <a:gd name="connsiteY1329" fmla="*/ 274027 h 479350"/>
                    <a:gd name="connsiteX1330" fmla="*/ 950080 w 1135258"/>
                    <a:gd name="connsiteY1330" fmla="*/ 277001 h 479350"/>
                    <a:gd name="connsiteX1331" fmla="*/ 947749 w 1135258"/>
                    <a:gd name="connsiteY1331" fmla="*/ 280497 h 479350"/>
                    <a:gd name="connsiteX1332" fmla="*/ 947553 w 1135258"/>
                    <a:gd name="connsiteY1332" fmla="*/ 282087 h 479350"/>
                    <a:gd name="connsiteX1333" fmla="*/ 947936 w 1135258"/>
                    <a:gd name="connsiteY1333" fmla="*/ 283815 h 479350"/>
                    <a:gd name="connsiteX1334" fmla="*/ 947406 w 1135258"/>
                    <a:gd name="connsiteY1334" fmla="*/ 285502 h 479350"/>
                    <a:gd name="connsiteX1335" fmla="*/ 943634 w 1135258"/>
                    <a:gd name="connsiteY1335" fmla="*/ 290391 h 479350"/>
                    <a:gd name="connsiteX1336" fmla="*/ 942386 w 1135258"/>
                    <a:gd name="connsiteY1336" fmla="*/ 290628 h 479350"/>
                    <a:gd name="connsiteX1337" fmla="*/ 939583 w 1135258"/>
                    <a:gd name="connsiteY1337" fmla="*/ 290595 h 479350"/>
                    <a:gd name="connsiteX1338" fmla="*/ 936682 w 1135258"/>
                    <a:gd name="connsiteY1338" fmla="*/ 291361 h 479350"/>
                    <a:gd name="connsiteX1339" fmla="*/ 935345 w 1135258"/>
                    <a:gd name="connsiteY1339" fmla="*/ 290236 h 479350"/>
                    <a:gd name="connsiteX1340" fmla="*/ 934245 w 1135258"/>
                    <a:gd name="connsiteY1340" fmla="*/ 288737 h 479350"/>
                    <a:gd name="connsiteX1341" fmla="*/ 933430 w 1135258"/>
                    <a:gd name="connsiteY1341" fmla="*/ 286993 h 479350"/>
                    <a:gd name="connsiteX1342" fmla="*/ 932281 w 1135258"/>
                    <a:gd name="connsiteY1342" fmla="*/ 283366 h 479350"/>
                    <a:gd name="connsiteX1343" fmla="*/ 931360 w 1135258"/>
                    <a:gd name="connsiteY1343" fmla="*/ 279642 h 479350"/>
                    <a:gd name="connsiteX1344" fmla="*/ 934237 w 1135258"/>
                    <a:gd name="connsiteY1344" fmla="*/ 275062 h 479350"/>
                    <a:gd name="connsiteX1345" fmla="*/ 933250 w 1135258"/>
                    <a:gd name="connsiteY1345" fmla="*/ 270938 h 479350"/>
                    <a:gd name="connsiteX1346" fmla="*/ 931311 w 1135258"/>
                    <a:gd name="connsiteY1346" fmla="*/ 267376 h 479350"/>
                    <a:gd name="connsiteX1347" fmla="*/ 926388 w 1135258"/>
                    <a:gd name="connsiteY1347" fmla="*/ 262462 h 479350"/>
                    <a:gd name="connsiteX1348" fmla="*/ 921303 w 1135258"/>
                    <a:gd name="connsiteY1348" fmla="*/ 257800 h 479350"/>
                    <a:gd name="connsiteX1349" fmla="*/ 918988 w 1135258"/>
                    <a:gd name="connsiteY1349" fmla="*/ 256855 h 479350"/>
                    <a:gd name="connsiteX1350" fmla="*/ 915191 w 1135258"/>
                    <a:gd name="connsiteY1350" fmla="*/ 256448 h 479350"/>
                    <a:gd name="connsiteX1351" fmla="*/ 914001 w 1135258"/>
                    <a:gd name="connsiteY1351" fmla="*/ 255983 h 479350"/>
                    <a:gd name="connsiteX1352" fmla="*/ 912819 w 1135258"/>
                    <a:gd name="connsiteY1352" fmla="*/ 254239 h 479350"/>
                    <a:gd name="connsiteX1353" fmla="*/ 911955 w 1135258"/>
                    <a:gd name="connsiteY1353" fmla="*/ 252218 h 479350"/>
                    <a:gd name="connsiteX1354" fmla="*/ 914327 w 1135258"/>
                    <a:gd name="connsiteY1354" fmla="*/ 251346 h 479350"/>
                    <a:gd name="connsiteX1355" fmla="*/ 918385 w 1135258"/>
                    <a:gd name="connsiteY1355" fmla="*/ 248974 h 479350"/>
                    <a:gd name="connsiteX1356" fmla="*/ 920692 w 1135258"/>
                    <a:gd name="connsiteY1356" fmla="*/ 249097 h 479350"/>
                    <a:gd name="connsiteX1357" fmla="*/ 926943 w 1135258"/>
                    <a:gd name="connsiteY1357" fmla="*/ 250376 h 479350"/>
                    <a:gd name="connsiteX1358" fmla="*/ 928866 w 1135258"/>
                    <a:gd name="connsiteY1358" fmla="*/ 251558 h 479350"/>
                    <a:gd name="connsiteX1359" fmla="*/ 930651 w 1135258"/>
                    <a:gd name="connsiteY1359" fmla="*/ 252242 h 479350"/>
                    <a:gd name="connsiteX1360" fmla="*/ 934921 w 1135258"/>
                    <a:gd name="connsiteY1360" fmla="*/ 248322 h 479350"/>
                    <a:gd name="connsiteX1361" fmla="*/ 938303 w 1135258"/>
                    <a:gd name="connsiteY1361" fmla="*/ 243196 h 479350"/>
                    <a:gd name="connsiteX1362" fmla="*/ 940422 w 1135258"/>
                    <a:gd name="connsiteY1362" fmla="*/ 242088 h 479350"/>
                    <a:gd name="connsiteX1363" fmla="*/ 942215 w 1135258"/>
                    <a:gd name="connsiteY1363" fmla="*/ 241721 h 479350"/>
                    <a:gd name="connsiteX1364" fmla="*/ 944049 w 1135258"/>
                    <a:gd name="connsiteY1364" fmla="*/ 242210 h 479350"/>
                    <a:gd name="connsiteX1365" fmla="*/ 947684 w 1135258"/>
                    <a:gd name="connsiteY1365" fmla="*/ 244003 h 479350"/>
                    <a:gd name="connsiteX1366" fmla="*/ 950536 w 1135258"/>
                    <a:gd name="connsiteY1366" fmla="*/ 244834 h 479350"/>
                    <a:gd name="connsiteX1367" fmla="*/ 952574 w 1135258"/>
                    <a:gd name="connsiteY1367" fmla="*/ 245005 h 479350"/>
                    <a:gd name="connsiteX1368" fmla="*/ 953641 w 1135258"/>
                    <a:gd name="connsiteY1368" fmla="*/ 246603 h 479350"/>
                    <a:gd name="connsiteX1369" fmla="*/ 954831 w 1135258"/>
                    <a:gd name="connsiteY1369" fmla="*/ 247328 h 479350"/>
                    <a:gd name="connsiteX1370" fmla="*/ 955108 w 1135258"/>
                    <a:gd name="connsiteY1370" fmla="*/ 244916 h 479350"/>
                    <a:gd name="connsiteX1371" fmla="*/ 956151 w 1135258"/>
                    <a:gd name="connsiteY1371" fmla="*/ 242104 h 479350"/>
                    <a:gd name="connsiteX1372" fmla="*/ 958173 w 1135258"/>
                    <a:gd name="connsiteY1372" fmla="*/ 241248 h 479350"/>
                    <a:gd name="connsiteX1373" fmla="*/ 959240 w 1135258"/>
                    <a:gd name="connsiteY1373" fmla="*/ 241053 h 479350"/>
                    <a:gd name="connsiteX1374" fmla="*/ 959917 w 1135258"/>
                    <a:gd name="connsiteY1374" fmla="*/ 240327 h 479350"/>
                    <a:gd name="connsiteX1375" fmla="*/ 959770 w 1135258"/>
                    <a:gd name="connsiteY1375" fmla="*/ 237744 h 479350"/>
                    <a:gd name="connsiteX1376" fmla="*/ 957097 w 1135258"/>
                    <a:gd name="connsiteY1376" fmla="*/ 237418 h 479350"/>
                    <a:gd name="connsiteX1377" fmla="*/ 958547 w 1135258"/>
                    <a:gd name="connsiteY1377" fmla="*/ 235209 h 479350"/>
                    <a:gd name="connsiteX1378" fmla="*/ 959859 w 1135258"/>
                    <a:gd name="connsiteY1378" fmla="*/ 234125 h 479350"/>
                    <a:gd name="connsiteX1379" fmla="*/ 960300 w 1135258"/>
                    <a:gd name="connsiteY1379" fmla="*/ 233033 h 479350"/>
                    <a:gd name="connsiteX1380" fmla="*/ 960324 w 1135258"/>
                    <a:gd name="connsiteY1380" fmla="*/ 231681 h 479350"/>
                    <a:gd name="connsiteX1381" fmla="*/ 955092 w 1135258"/>
                    <a:gd name="connsiteY1381" fmla="*/ 234288 h 479350"/>
                    <a:gd name="connsiteX1382" fmla="*/ 949566 w 1135258"/>
                    <a:gd name="connsiteY1382" fmla="*/ 235380 h 479350"/>
                    <a:gd name="connsiteX1383" fmla="*/ 946307 w 1135258"/>
                    <a:gd name="connsiteY1383" fmla="*/ 235079 h 479350"/>
                    <a:gd name="connsiteX1384" fmla="*/ 943063 w 1135258"/>
                    <a:gd name="connsiteY1384" fmla="*/ 235038 h 479350"/>
                    <a:gd name="connsiteX1385" fmla="*/ 936551 w 1135258"/>
                    <a:gd name="connsiteY1385" fmla="*/ 236790 h 479350"/>
                    <a:gd name="connsiteX1386" fmla="*/ 934082 w 1135258"/>
                    <a:gd name="connsiteY1386" fmla="*/ 236717 h 479350"/>
                    <a:gd name="connsiteX1387" fmla="*/ 928328 w 1135258"/>
                    <a:gd name="connsiteY1387" fmla="*/ 236008 h 479350"/>
                    <a:gd name="connsiteX1388" fmla="*/ 925133 w 1135258"/>
                    <a:gd name="connsiteY1388" fmla="*/ 235161 h 479350"/>
                    <a:gd name="connsiteX1389" fmla="*/ 922664 w 1135258"/>
                    <a:gd name="connsiteY1389" fmla="*/ 235821 h 479350"/>
                    <a:gd name="connsiteX1390" fmla="*/ 920293 w 1135258"/>
                    <a:gd name="connsiteY1390" fmla="*/ 235869 h 479350"/>
                    <a:gd name="connsiteX1391" fmla="*/ 917807 w 1135258"/>
                    <a:gd name="connsiteY1391" fmla="*/ 233881 h 479350"/>
                    <a:gd name="connsiteX1392" fmla="*/ 915688 w 1135258"/>
                    <a:gd name="connsiteY1392" fmla="*/ 231387 h 479350"/>
                    <a:gd name="connsiteX1393" fmla="*/ 914636 w 1135258"/>
                    <a:gd name="connsiteY1393" fmla="*/ 229611 h 479350"/>
                    <a:gd name="connsiteX1394" fmla="*/ 913243 w 1135258"/>
                    <a:gd name="connsiteY1394" fmla="*/ 228323 h 479350"/>
                    <a:gd name="connsiteX1395" fmla="*/ 912632 w 1135258"/>
                    <a:gd name="connsiteY1395" fmla="*/ 226595 h 479350"/>
                    <a:gd name="connsiteX1396" fmla="*/ 911083 w 1135258"/>
                    <a:gd name="connsiteY1396" fmla="*/ 220075 h 479350"/>
                    <a:gd name="connsiteX1397" fmla="*/ 910937 w 1135258"/>
                    <a:gd name="connsiteY1397" fmla="*/ 215430 h 479350"/>
                    <a:gd name="connsiteX1398" fmla="*/ 908435 w 1135258"/>
                    <a:gd name="connsiteY1398" fmla="*/ 215324 h 479350"/>
                    <a:gd name="connsiteX1399" fmla="*/ 905998 w 1135258"/>
                    <a:gd name="connsiteY1399" fmla="*/ 214876 h 479350"/>
                    <a:gd name="connsiteX1400" fmla="*/ 895143 w 1135258"/>
                    <a:gd name="connsiteY1400" fmla="*/ 210451 h 479350"/>
                    <a:gd name="connsiteX1401" fmla="*/ 893830 w 1135258"/>
                    <a:gd name="connsiteY1401" fmla="*/ 211534 h 479350"/>
                    <a:gd name="connsiteX1402" fmla="*/ 892298 w 1135258"/>
                    <a:gd name="connsiteY1402" fmla="*/ 212089 h 479350"/>
                    <a:gd name="connsiteX1403" fmla="*/ 890774 w 1135258"/>
                    <a:gd name="connsiteY1403" fmla="*/ 212292 h 479350"/>
                    <a:gd name="connsiteX1404" fmla="*/ 889259 w 1135258"/>
                    <a:gd name="connsiteY1404" fmla="*/ 212072 h 479350"/>
                    <a:gd name="connsiteX1405" fmla="*/ 887742 w 1135258"/>
                    <a:gd name="connsiteY1405" fmla="*/ 211380 h 479350"/>
                    <a:gd name="connsiteX1406" fmla="*/ 887873 w 1135258"/>
                    <a:gd name="connsiteY1406" fmla="*/ 210165 h 479350"/>
                    <a:gd name="connsiteX1407" fmla="*/ 888997 w 1135258"/>
                    <a:gd name="connsiteY1407" fmla="*/ 207182 h 479350"/>
                    <a:gd name="connsiteX1408" fmla="*/ 890098 w 1135258"/>
                    <a:gd name="connsiteY1408" fmla="*/ 206066 h 479350"/>
                    <a:gd name="connsiteX1409" fmla="*/ 891630 w 1135258"/>
                    <a:gd name="connsiteY1409" fmla="*/ 205218 h 479350"/>
                    <a:gd name="connsiteX1410" fmla="*/ 892592 w 1135258"/>
                    <a:gd name="connsiteY1410" fmla="*/ 203637 h 479350"/>
                    <a:gd name="connsiteX1411" fmla="*/ 894156 w 1135258"/>
                    <a:gd name="connsiteY1411" fmla="*/ 198870 h 479350"/>
                    <a:gd name="connsiteX1412" fmla="*/ 894286 w 1135258"/>
                    <a:gd name="connsiteY1412" fmla="*/ 197248 h 479350"/>
                    <a:gd name="connsiteX1413" fmla="*/ 894115 w 1135258"/>
                    <a:gd name="connsiteY1413" fmla="*/ 195594 h 479350"/>
                    <a:gd name="connsiteX1414" fmla="*/ 894246 w 1135258"/>
                    <a:gd name="connsiteY1414" fmla="*/ 194347 h 479350"/>
                    <a:gd name="connsiteX1415" fmla="*/ 895216 w 1135258"/>
                    <a:gd name="connsiteY1415" fmla="*/ 193686 h 479350"/>
                    <a:gd name="connsiteX1416" fmla="*/ 899307 w 1135258"/>
                    <a:gd name="connsiteY1416" fmla="*/ 192146 h 479350"/>
                    <a:gd name="connsiteX1417" fmla="*/ 907815 w 1135258"/>
                    <a:gd name="connsiteY1417" fmla="*/ 189807 h 479350"/>
                    <a:gd name="connsiteX1418" fmla="*/ 909967 w 1135258"/>
                    <a:gd name="connsiteY1418" fmla="*/ 188414 h 479350"/>
                    <a:gd name="connsiteX1419" fmla="*/ 911743 w 1135258"/>
                    <a:gd name="connsiteY1419" fmla="*/ 186181 h 479350"/>
                    <a:gd name="connsiteX1420" fmla="*/ 913814 w 1135258"/>
                    <a:gd name="connsiteY1420" fmla="*/ 184811 h 479350"/>
                    <a:gd name="connsiteX1421" fmla="*/ 914775 w 1135258"/>
                    <a:gd name="connsiteY1421" fmla="*/ 183442 h 479350"/>
                    <a:gd name="connsiteX1422" fmla="*/ 915851 w 1135258"/>
                    <a:gd name="connsiteY1422" fmla="*/ 182334 h 479350"/>
                    <a:gd name="connsiteX1423" fmla="*/ 922444 w 1135258"/>
                    <a:gd name="connsiteY1423" fmla="*/ 179376 h 479350"/>
                    <a:gd name="connsiteX1424" fmla="*/ 925272 w 1135258"/>
                    <a:gd name="connsiteY1424" fmla="*/ 179139 h 479350"/>
                    <a:gd name="connsiteX1425" fmla="*/ 928173 w 1135258"/>
                    <a:gd name="connsiteY1425" fmla="*/ 179490 h 479350"/>
                    <a:gd name="connsiteX1426" fmla="*/ 933919 w 1135258"/>
                    <a:gd name="connsiteY1426" fmla="*/ 181242 h 479350"/>
                    <a:gd name="connsiteX1427" fmla="*/ 939395 w 1135258"/>
                    <a:gd name="connsiteY1427" fmla="*/ 184070 h 479350"/>
                    <a:gd name="connsiteX1428" fmla="*/ 944130 w 1135258"/>
                    <a:gd name="connsiteY1428" fmla="*/ 187770 h 479350"/>
                    <a:gd name="connsiteX1429" fmla="*/ 949159 w 1135258"/>
                    <a:gd name="connsiteY1429" fmla="*/ 190467 h 479350"/>
                    <a:gd name="connsiteX1430" fmla="*/ 883187 w 1135258"/>
                    <a:gd name="connsiteY1430" fmla="*/ 168854 h 479350"/>
                    <a:gd name="connsiteX1431" fmla="*/ 887473 w 1135258"/>
                    <a:gd name="connsiteY1431" fmla="*/ 170126 h 479350"/>
                    <a:gd name="connsiteX1432" fmla="*/ 888452 w 1135258"/>
                    <a:gd name="connsiteY1432" fmla="*/ 169930 h 479350"/>
                    <a:gd name="connsiteX1433" fmla="*/ 894694 w 1135258"/>
                    <a:gd name="connsiteY1433" fmla="*/ 173214 h 479350"/>
                    <a:gd name="connsiteX1434" fmla="*/ 895680 w 1135258"/>
                    <a:gd name="connsiteY1434" fmla="*/ 174844 h 479350"/>
                    <a:gd name="connsiteX1435" fmla="*/ 895330 w 1135258"/>
                    <a:gd name="connsiteY1435" fmla="*/ 175953 h 479350"/>
                    <a:gd name="connsiteX1436" fmla="*/ 896234 w 1135258"/>
                    <a:gd name="connsiteY1436" fmla="*/ 177420 h 479350"/>
                    <a:gd name="connsiteX1437" fmla="*/ 894205 w 1135258"/>
                    <a:gd name="connsiteY1437" fmla="*/ 179685 h 479350"/>
                    <a:gd name="connsiteX1438" fmla="*/ 893219 w 1135258"/>
                    <a:gd name="connsiteY1438" fmla="*/ 179930 h 479350"/>
                    <a:gd name="connsiteX1439" fmla="*/ 892225 w 1135258"/>
                    <a:gd name="connsiteY1439" fmla="*/ 179082 h 479350"/>
                    <a:gd name="connsiteX1440" fmla="*/ 890244 w 1135258"/>
                    <a:gd name="connsiteY1440" fmla="*/ 178601 h 479350"/>
                    <a:gd name="connsiteX1441" fmla="*/ 887954 w 1135258"/>
                    <a:gd name="connsiteY1441" fmla="*/ 179514 h 479350"/>
                    <a:gd name="connsiteX1442" fmla="*/ 886487 w 1135258"/>
                    <a:gd name="connsiteY1442" fmla="*/ 178830 h 479350"/>
                    <a:gd name="connsiteX1443" fmla="*/ 885265 w 1135258"/>
                    <a:gd name="connsiteY1443" fmla="*/ 176760 h 479350"/>
                    <a:gd name="connsiteX1444" fmla="*/ 883065 w 1135258"/>
                    <a:gd name="connsiteY1444" fmla="*/ 175505 h 479350"/>
                    <a:gd name="connsiteX1445" fmla="*/ 879968 w 1135258"/>
                    <a:gd name="connsiteY1445" fmla="*/ 171136 h 479350"/>
                    <a:gd name="connsiteX1446" fmla="*/ 878444 w 1135258"/>
                    <a:gd name="connsiteY1446" fmla="*/ 171299 h 479350"/>
                    <a:gd name="connsiteX1447" fmla="*/ 878843 w 1135258"/>
                    <a:gd name="connsiteY1447" fmla="*/ 173002 h 479350"/>
                    <a:gd name="connsiteX1448" fmla="*/ 880163 w 1135258"/>
                    <a:gd name="connsiteY1448" fmla="*/ 174135 h 479350"/>
                    <a:gd name="connsiteX1449" fmla="*/ 881899 w 1135258"/>
                    <a:gd name="connsiteY1449" fmla="*/ 177452 h 479350"/>
                    <a:gd name="connsiteX1450" fmla="*/ 882894 w 1135258"/>
                    <a:gd name="connsiteY1450" fmla="*/ 177778 h 479350"/>
                    <a:gd name="connsiteX1451" fmla="*/ 883920 w 1135258"/>
                    <a:gd name="connsiteY1451" fmla="*/ 177664 h 479350"/>
                    <a:gd name="connsiteX1452" fmla="*/ 885314 w 1135258"/>
                    <a:gd name="connsiteY1452" fmla="*/ 179041 h 479350"/>
                    <a:gd name="connsiteX1453" fmla="*/ 885240 w 1135258"/>
                    <a:gd name="connsiteY1453" fmla="*/ 181185 h 479350"/>
                    <a:gd name="connsiteX1454" fmla="*/ 881622 w 1135258"/>
                    <a:gd name="connsiteY1454" fmla="*/ 182024 h 479350"/>
                    <a:gd name="connsiteX1455" fmla="*/ 880375 w 1135258"/>
                    <a:gd name="connsiteY1455" fmla="*/ 180468 h 479350"/>
                    <a:gd name="connsiteX1456" fmla="*/ 880098 w 1135258"/>
                    <a:gd name="connsiteY1456" fmla="*/ 177615 h 479350"/>
                    <a:gd name="connsiteX1457" fmla="*/ 878061 w 1135258"/>
                    <a:gd name="connsiteY1457" fmla="*/ 178577 h 479350"/>
                    <a:gd name="connsiteX1458" fmla="*/ 877270 w 1135258"/>
                    <a:gd name="connsiteY1458" fmla="*/ 179571 h 479350"/>
                    <a:gd name="connsiteX1459" fmla="*/ 876675 w 1135258"/>
                    <a:gd name="connsiteY1459" fmla="*/ 179710 h 479350"/>
                    <a:gd name="connsiteX1460" fmla="*/ 875330 w 1135258"/>
                    <a:gd name="connsiteY1460" fmla="*/ 176751 h 479350"/>
                    <a:gd name="connsiteX1461" fmla="*/ 871459 w 1135258"/>
                    <a:gd name="connsiteY1461" fmla="*/ 176597 h 479350"/>
                    <a:gd name="connsiteX1462" fmla="*/ 868892 w 1135258"/>
                    <a:gd name="connsiteY1462" fmla="*/ 175016 h 479350"/>
                    <a:gd name="connsiteX1463" fmla="*/ 870147 w 1135258"/>
                    <a:gd name="connsiteY1463" fmla="*/ 173369 h 479350"/>
                    <a:gd name="connsiteX1464" fmla="*/ 870326 w 1135258"/>
                    <a:gd name="connsiteY1464" fmla="*/ 171772 h 479350"/>
                    <a:gd name="connsiteX1465" fmla="*/ 871997 w 1135258"/>
                    <a:gd name="connsiteY1465" fmla="*/ 170924 h 479350"/>
                    <a:gd name="connsiteX1466" fmla="*/ 873700 w 1135258"/>
                    <a:gd name="connsiteY1466" fmla="*/ 171690 h 479350"/>
                    <a:gd name="connsiteX1467" fmla="*/ 875395 w 1135258"/>
                    <a:gd name="connsiteY1467" fmla="*/ 170541 h 479350"/>
                    <a:gd name="connsiteX1468" fmla="*/ 876610 w 1135258"/>
                    <a:gd name="connsiteY1468" fmla="*/ 170843 h 479350"/>
                    <a:gd name="connsiteX1469" fmla="*/ 877498 w 1135258"/>
                    <a:gd name="connsiteY1469" fmla="*/ 170109 h 479350"/>
                    <a:gd name="connsiteX1470" fmla="*/ 880921 w 1135258"/>
                    <a:gd name="connsiteY1470" fmla="*/ 169645 h 479350"/>
                    <a:gd name="connsiteX1471" fmla="*/ 883187 w 1135258"/>
                    <a:gd name="connsiteY1471" fmla="*/ 168854 h 479350"/>
                    <a:gd name="connsiteX1472" fmla="*/ 56486 w 1135258"/>
                    <a:gd name="connsiteY1472" fmla="*/ 124862 h 479350"/>
                    <a:gd name="connsiteX1473" fmla="*/ 61873 w 1135258"/>
                    <a:gd name="connsiteY1473" fmla="*/ 133289 h 479350"/>
                    <a:gd name="connsiteX1474" fmla="*/ 64057 w 1135258"/>
                    <a:gd name="connsiteY1474" fmla="*/ 134422 h 479350"/>
                    <a:gd name="connsiteX1475" fmla="*/ 66950 w 1135258"/>
                    <a:gd name="connsiteY1475" fmla="*/ 138244 h 479350"/>
                    <a:gd name="connsiteX1476" fmla="*/ 67668 w 1135258"/>
                    <a:gd name="connsiteY1476" fmla="*/ 139572 h 479350"/>
                    <a:gd name="connsiteX1477" fmla="*/ 66917 w 1135258"/>
                    <a:gd name="connsiteY1477" fmla="*/ 142262 h 479350"/>
                    <a:gd name="connsiteX1478" fmla="*/ 66282 w 1135258"/>
                    <a:gd name="connsiteY1478" fmla="*/ 149922 h 479350"/>
                    <a:gd name="connsiteX1479" fmla="*/ 64888 w 1135258"/>
                    <a:gd name="connsiteY1479" fmla="*/ 151830 h 479350"/>
                    <a:gd name="connsiteX1480" fmla="*/ 61514 w 1135258"/>
                    <a:gd name="connsiteY1480" fmla="*/ 150884 h 479350"/>
                    <a:gd name="connsiteX1481" fmla="*/ 61474 w 1135258"/>
                    <a:gd name="connsiteY1481" fmla="*/ 149531 h 479350"/>
                    <a:gd name="connsiteX1482" fmla="*/ 59526 w 1135258"/>
                    <a:gd name="connsiteY1482" fmla="*/ 143761 h 479350"/>
                    <a:gd name="connsiteX1483" fmla="*/ 55981 w 1135258"/>
                    <a:gd name="connsiteY1483" fmla="*/ 140542 h 479350"/>
                    <a:gd name="connsiteX1484" fmla="*/ 54595 w 1135258"/>
                    <a:gd name="connsiteY1484" fmla="*/ 140371 h 479350"/>
                    <a:gd name="connsiteX1485" fmla="*/ 53699 w 1135258"/>
                    <a:gd name="connsiteY1485" fmla="*/ 137087 h 479350"/>
                    <a:gd name="connsiteX1486" fmla="*/ 51906 w 1135258"/>
                    <a:gd name="connsiteY1486" fmla="*/ 133175 h 479350"/>
                    <a:gd name="connsiteX1487" fmla="*/ 46502 w 1135258"/>
                    <a:gd name="connsiteY1487" fmla="*/ 126044 h 479350"/>
                    <a:gd name="connsiteX1488" fmla="*/ 50602 w 1135258"/>
                    <a:gd name="connsiteY1488" fmla="*/ 126101 h 479350"/>
                    <a:gd name="connsiteX1489" fmla="*/ 52599 w 1135258"/>
                    <a:gd name="connsiteY1489" fmla="*/ 124365 h 479350"/>
                    <a:gd name="connsiteX1490" fmla="*/ 53055 w 1135258"/>
                    <a:gd name="connsiteY1490" fmla="*/ 122979 h 479350"/>
                    <a:gd name="connsiteX1491" fmla="*/ 53373 w 1135258"/>
                    <a:gd name="connsiteY1491" fmla="*/ 122629 h 479350"/>
                    <a:gd name="connsiteX1492" fmla="*/ 56486 w 1135258"/>
                    <a:gd name="connsiteY1492" fmla="*/ 124862 h 479350"/>
                    <a:gd name="connsiteX1493" fmla="*/ 736255 w 1135258"/>
                    <a:gd name="connsiteY1493" fmla="*/ 138937 h 479350"/>
                    <a:gd name="connsiteX1494" fmla="*/ 731529 w 1135258"/>
                    <a:gd name="connsiteY1494" fmla="*/ 144014 h 479350"/>
                    <a:gd name="connsiteX1495" fmla="*/ 730070 w 1135258"/>
                    <a:gd name="connsiteY1495" fmla="*/ 146467 h 479350"/>
                    <a:gd name="connsiteX1496" fmla="*/ 728823 w 1135258"/>
                    <a:gd name="connsiteY1496" fmla="*/ 149107 h 479350"/>
                    <a:gd name="connsiteX1497" fmla="*/ 726956 w 1135258"/>
                    <a:gd name="connsiteY1497" fmla="*/ 152050 h 479350"/>
                    <a:gd name="connsiteX1498" fmla="*/ 724805 w 1135258"/>
                    <a:gd name="connsiteY1498" fmla="*/ 154633 h 479350"/>
                    <a:gd name="connsiteX1499" fmla="*/ 723737 w 1135258"/>
                    <a:gd name="connsiteY1499" fmla="*/ 155407 h 479350"/>
                    <a:gd name="connsiteX1500" fmla="*/ 721097 w 1135258"/>
                    <a:gd name="connsiteY1500" fmla="*/ 156801 h 479350"/>
                    <a:gd name="connsiteX1501" fmla="*/ 719573 w 1135258"/>
                    <a:gd name="connsiteY1501" fmla="*/ 157339 h 479350"/>
                    <a:gd name="connsiteX1502" fmla="*/ 716712 w 1135258"/>
                    <a:gd name="connsiteY1502" fmla="*/ 157510 h 479350"/>
                    <a:gd name="connsiteX1503" fmla="*/ 708082 w 1135258"/>
                    <a:gd name="connsiteY1503" fmla="*/ 159572 h 479350"/>
                    <a:gd name="connsiteX1504" fmla="*/ 705254 w 1135258"/>
                    <a:gd name="connsiteY1504" fmla="*/ 159808 h 479350"/>
                    <a:gd name="connsiteX1505" fmla="*/ 702426 w 1135258"/>
                    <a:gd name="connsiteY1505" fmla="*/ 159727 h 479350"/>
                    <a:gd name="connsiteX1506" fmla="*/ 697088 w 1135258"/>
                    <a:gd name="connsiteY1506" fmla="*/ 159213 h 479350"/>
                    <a:gd name="connsiteX1507" fmla="*/ 695963 w 1135258"/>
                    <a:gd name="connsiteY1507" fmla="*/ 158944 h 479350"/>
                    <a:gd name="connsiteX1508" fmla="*/ 693828 w 1135258"/>
                    <a:gd name="connsiteY1508" fmla="*/ 156279 h 479350"/>
                    <a:gd name="connsiteX1509" fmla="*/ 691432 w 1135258"/>
                    <a:gd name="connsiteY1509" fmla="*/ 154177 h 479350"/>
                    <a:gd name="connsiteX1510" fmla="*/ 689305 w 1135258"/>
                    <a:gd name="connsiteY1510" fmla="*/ 153948 h 479350"/>
                    <a:gd name="connsiteX1511" fmla="*/ 687137 w 1135258"/>
                    <a:gd name="connsiteY1511" fmla="*/ 154168 h 479350"/>
                    <a:gd name="connsiteX1512" fmla="*/ 671538 w 1135258"/>
                    <a:gd name="connsiteY1512" fmla="*/ 154315 h 479350"/>
                    <a:gd name="connsiteX1513" fmla="*/ 666086 w 1135258"/>
                    <a:gd name="connsiteY1513" fmla="*/ 154706 h 479350"/>
                    <a:gd name="connsiteX1514" fmla="*/ 660658 w 1135258"/>
                    <a:gd name="connsiteY1514" fmla="*/ 155652 h 479350"/>
                    <a:gd name="connsiteX1515" fmla="*/ 657700 w 1135258"/>
                    <a:gd name="connsiteY1515" fmla="*/ 155220 h 479350"/>
                    <a:gd name="connsiteX1516" fmla="*/ 654774 w 1135258"/>
                    <a:gd name="connsiteY1516" fmla="*/ 154168 h 479350"/>
                    <a:gd name="connsiteX1517" fmla="*/ 652566 w 1135258"/>
                    <a:gd name="connsiteY1517" fmla="*/ 153802 h 479350"/>
                    <a:gd name="connsiteX1518" fmla="*/ 650341 w 1135258"/>
                    <a:gd name="connsiteY1518" fmla="*/ 153908 h 479350"/>
                    <a:gd name="connsiteX1519" fmla="*/ 640096 w 1135258"/>
                    <a:gd name="connsiteY1519" fmla="*/ 155497 h 479350"/>
                    <a:gd name="connsiteX1520" fmla="*/ 637530 w 1135258"/>
                    <a:gd name="connsiteY1520" fmla="*/ 155342 h 479350"/>
                    <a:gd name="connsiteX1521" fmla="*/ 632346 w 1135258"/>
                    <a:gd name="connsiteY1521" fmla="*/ 153305 h 479350"/>
                    <a:gd name="connsiteX1522" fmla="*/ 629331 w 1135258"/>
                    <a:gd name="connsiteY1522" fmla="*/ 152897 h 479350"/>
                    <a:gd name="connsiteX1523" fmla="*/ 626380 w 1135258"/>
                    <a:gd name="connsiteY1523" fmla="*/ 153435 h 479350"/>
                    <a:gd name="connsiteX1524" fmla="*/ 623634 w 1135258"/>
                    <a:gd name="connsiteY1524" fmla="*/ 155269 h 479350"/>
                    <a:gd name="connsiteX1525" fmla="*/ 622591 w 1135258"/>
                    <a:gd name="connsiteY1525" fmla="*/ 156491 h 479350"/>
                    <a:gd name="connsiteX1526" fmla="*/ 619747 w 1135258"/>
                    <a:gd name="connsiteY1526" fmla="*/ 160672 h 479350"/>
                    <a:gd name="connsiteX1527" fmla="*/ 618133 w 1135258"/>
                    <a:gd name="connsiteY1527" fmla="*/ 163728 h 479350"/>
                    <a:gd name="connsiteX1528" fmla="*/ 616918 w 1135258"/>
                    <a:gd name="connsiteY1528" fmla="*/ 167518 h 479350"/>
                    <a:gd name="connsiteX1529" fmla="*/ 615875 w 1135258"/>
                    <a:gd name="connsiteY1529" fmla="*/ 171405 h 479350"/>
                    <a:gd name="connsiteX1530" fmla="*/ 615305 w 1135258"/>
                    <a:gd name="connsiteY1530" fmla="*/ 174584 h 479350"/>
                    <a:gd name="connsiteX1531" fmla="*/ 615280 w 1135258"/>
                    <a:gd name="connsiteY1531" fmla="*/ 177909 h 479350"/>
                    <a:gd name="connsiteX1532" fmla="*/ 615769 w 1135258"/>
                    <a:gd name="connsiteY1532" fmla="*/ 181641 h 479350"/>
                    <a:gd name="connsiteX1533" fmla="*/ 616552 w 1135258"/>
                    <a:gd name="connsiteY1533" fmla="*/ 185349 h 479350"/>
                    <a:gd name="connsiteX1534" fmla="*/ 617399 w 1135258"/>
                    <a:gd name="connsiteY1534" fmla="*/ 188169 h 479350"/>
                    <a:gd name="connsiteX1535" fmla="*/ 620953 w 1135258"/>
                    <a:gd name="connsiteY1535" fmla="*/ 194705 h 479350"/>
                    <a:gd name="connsiteX1536" fmla="*/ 621678 w 1135258"/>
                    <a:gd name="connsiteY1536" fmla="*/ 195643 h 479350"/>
                    <a:gd name="connsiteX1537" fmla="*/ 625533 w 1135258"/>
                    <a:gd name="connsiteY1537" fmla="*/ 197484 h 479350"/>
                    <a:gd name="connsiteX1538" fmla="*/ 627823 w 1135258"/>
                    <a:gd name="connsiteY1538" fmla="*/ 199831 h 479350"/>
                    <a:gd name="connsiteX1539" fmla="*/ 629991 w 1135258"/>
                    <a:gd name="connsiteY1539" fmla="*/ 206400 h 479350"/>
                    <a:gd name="connsiteX1540" fmla="*/ 631539 w 1135258"/>
                    <a:gd name="connsiteY1540" fmla="*/ 209741 h 479350"/>
                    <a:gd name="connsiteX1541" fmla="*/ 633063 w 1135258"/>
                    <a:gd name="connsiteY1541" fmla="*/ 209782 h 479350"/>
                    <a:gd name="connsiteX1542" fmla="*/ 634758 w 1135258"/>
                    <a:gd name="connsiteY1542" fmla="*/ 209554 h 479350"/>
                    <a:gd name="connsiteX1543" fmla="*/ 637701 w 1135258"/>
                    <a:gd name="connsiteY1543" fmla="*/ 209978 h 479350"/>
                    <a:gd name="connsiteX1544" fmla="*/ 640626 w 1135258"/>
                    <a:gd name="connsiteY1544" fmla="*/ 210834 h 479350"/>
                    <a:gd name="connsiteX1545" fmla="*/ 643479 w 1135258"/>
                    <a:gd name="connsiteY1545" fmla="*/ 208829 h 479350"/>
                    <a:gd name="connsiteX1546" fmla="*/ 645060 w 1135258"/>
                    <a:gd name="connsiteY1546" fmla="*/ 205023 h 479350"/>
                    <a:gd name="connsiteX1547" fmla="*/ 646657 w 1135258"/>
                    <a:gd name="connsiteY1547" fmla="*/ 202187 h 479350"/>
                    <a:gd name="connsiteX1548" fmla="*/ 650479 w 1135258"/>
                    <a:gd name="connsiteY1548" fmla="*/ 196816 h 479350"/>
                    <a:gd name="connsiteX1549" fmla="*/ 652672 w 1135258"/>
                    <a:gd name="connsiteY1549" fmla="*/ 194330 h 479350"/>
                    <a:gd name="connsiteX1550" fmla="*/ 654065 w 1135258"/>
                    <a:gd name="connsiteY1550" fmla="*/ 193524 h 479350"/>
                    <a:gd name="connsiteX1551" fmla="*/ 655491 w 1135258"/>
                    <a:gd name="connsiteY1551" fmla="*/ 193882 h 479350"/>
                    <a:gd name="connsiteX1552" fmla="*/ 656681 w 1135258"/>
                    <a:gd name="connsiteY1552" fmla="*/ 195292 h 479350"/>
                    <a:gd name="connsiteX1553" fmla="*/ 658083 w 1135258"/>
                    <a:gd name="connsiteY1553" fmla="*/ 196433 h 479350"/>
                    <a:gd name="connsiteX1554" fmla="*/ 660952 w 1135258"/>
                    <a:gd name="connsiteY1554" fmla="*/ 197036 h 479350"/>
                    <a:gd name="connsiteX1555" fmla="*/ 663837 w 1135258"/>
                    <a:gd name="connsiteY1555" fmla="*/ 196661 h 479350"/>
                    <a:gd name="connsiteX1556" fmla="*/ 666917 w 1135258"/>
                    <a:gd name="connsiteY1556" fmla="*/ 194909 h 479350"/>
                    <a:gd name="connsiteX1557" fmla="*/ 668017 w 1135258"/>
                    <a:gd name="connsiteY1557" fmla="*/ 193841 h 479350"/>
                    <a:gd name="connsiteX1558" fmla="*/ 668930 w 1135258"/>
                    <a:gd name="connsiteY1558" fmla="*/ 192480 h 479350"/>
                    <a:gd name="connsiteX1559" fmla="*/ 671530 w 1135258"/>
                    <a:gd name="connsiteY1559" fmla="*/ 191372 h 479350"/>
                    <a:gd name="connsiteX1560" fmla="*/ 677732 w 1135258"/>
                    <a:gd name="connsiteY1560" fmla="*/ 191356 h 479350"/>
                    <a:gd name="connsiteX1561" fmla="*/ 680935 w 1135258"/>
                    <a:gd name="connsiteY1561" fmla="*/ 191763 h 479350"/>
                    <a:gd name="connsiteX1562" fmla="*/ 686640 w 1135258"/>
                    <a:gd name="connsiteY1562" fmla="*/ 191307 h 479350"/>
                    <a:gd name="connsiteX1563" fmla="*/ 686558 w 1135258"/>
                    <a:gd name="connsiteY1563" fmla="*/ 190329 h 479350"/>
                    <a:gd name="connsiteX1564" fmla="*/ 685450 w 1135258"/>
                    <a:gd name="connsiteY1564" fmla="*/ 189278 h 479350"/>
                    <a:gd name="connsiteX1565" fmla="*/ 685165 w 1135258"/>
                    <a:gd name="connsiteY1565" fmla="*/ 188438 h 479350"/>
                    <a:gd name="connsiteX1566" fmla="*/ 686224 w 1135258"/>
                    <a:gd name="connsiteY1566" fmla="*/ 187892 h 479350"/>
                    <a:gd name="connsiteX1567" fmla="*/ 689899 w 1135258"/>
                    <a:gd name="connsiteY1567" fmla="*/ 186678 h 479350"/>
                    <a:gd name="connsiteX1568" fmla="*/ 693640 w 1135258"/>
                    <a:gd name="connsiteY1568" fmla="*/ 185798 h 479350"/>
                    <a:gd name="connsiteX1569" fmla="*/ 696378 w 1135258"/>
                    <a:gd name="connsiteY1569" fmla="*/ 186417 h 479350"/>
                    <a:gd name="connsiteX1570" fmla="*/ 698807 w 1135258"/>
                    <a:gd name="connsiteY1570" fmla="*/ 188137 h 479350"/>
                    <a:gd name="connsiteX1571" fmla="*/ 699744 w 1135258"/>
                    <a:gd name="connsiteY1571" fmla="*/ 189897 h 479350"/>
                    <a:gd name="connsiteX1572" fmla="*/ 700168 w 1135258"/>
                    <a:gd name="connsiteY1572" fmla="*/ 192016 h 479350"/>
                    <a:gd name="connsiteX1573" fmla="*/ 699231 w 1135258"/>
                    <a:gd name="connsiteY1573" fmla="*/ 197509 h 479350"/>
                    <a:gd name="connsiteX1574" fmla="*/ 698759 w 1135258"/>
                    <a:gd name="connsiteY1574" fmla="*/ 198780 h 479350"/>
                    <a:gd name="connsiteX1575" fmla="*/ 696827 w 1135258"/>
                    <a:gd name="connsiteY1575" fmla="*/ 199440 h 479350"/>
                    <a:gd name="connsiteX1576" fmla="*/ 694993 w 1135258"/>
                    <a:gd name="connsiteY1576" fmla="*/ 198715 h 479350"/>
                    <a:gd name="connsiteX1577" fmla="*/ 693184 w 1135258"/>
                    <a:gd name="connsiteY1577" fmla="*/ 195871 h 479350"/>
                    <a:gd name="connsiteX1578" fmla="*/ 690625 w 1135258"/>
                    <a:gd name="connsiteY1578" fmla="*/ 194836 h 479350"/>
                    <a:gd name="connsiteX1579" fmla="*/ 686990 w 1135258"/>
                    <a:gd name="connsiteY1579" fmla="*/ 195691 h 479350"/>
                    <a:gd name="connsiteX1580" fmla="*/ 685735 w 1135258"/>
                    <a:gd name="connsiteY1580" fmla="*/ 196498 h 479350"/>
                    <a:gd name="connsiteX1581" fmla="*/ 684618 w 1135258"/>
                    <a:gd name="connsiteY1581" fmla="*/ 197639 h 479350"/>
                    <a:gd name="connsiteX1582" fmla="*/ 682557 w 1135258"/>
                    <a:gd name="connsiteY1582" fmla="*/ 200581 h 479350"/>
                    <a:gd name="connsiteX1583" fmla="*/ 680853 w 1135258"/>
                    <a:gd name="connsiteY1583" fmla="*/ 203898 h 479350"/>
                    <a:gd name="connsiteX1584" fmla="*/ 677162 w 1135258"/>
                    <a:gd name="connsiteY1584" fmla="*/ 209065 h 479350"/>
                    <a:gd name="connsiteX1585" fmla="*/ 672891 w 1135258"/>
                    <a:gd name="connsiteY1585" fmla="*/ 213556 h 479350"/>
                    <a:gd name="connsiteX1586" fmla="*/ 670813 w 1135258"/>
                    <a:gd name="connsiteY1586" fmla="*/ 215283 h 479350"/>
                    <a:gd name="connsiteX1587" fmla="*/ 668506 w 1135258"/>
                    <a:gd name="connsiteY1587" fmla="*/ 216440 h 479350"/>
                    <a:gd name="connsiteX1588" fmla="*/ 661090 w 1135258"/>
                    <a:gd name="connsiteY1588" fmla="*/ 219415 h 479350"/>
                    <a:gd name="connsiteX1589" fmla="*/ 659135 w 1135258"/>
                    <a:gd name="connsiteY1589" fmla="*/ 221624 h 479350"/>
                    <a:gd name="connsiteX1590" fmla="*/ 657626 w 1135258"/>
                    <a:gd name="connsiteY1590" fmla="*/ 224492 h 479350"/>
                    <a:gd name="connsiteX1591" fmla="*/ 655940 w 1135258"/>
                    <a:gd name="connsiteY1591" fmla="*/ 225470 h 479350"/>
                    <a:gd name="connsiteX1592" fmla="*/ 654000 w 1135258"/>
                    <a:gd name="connsiteY1592" fmla="*/ 225788 h 479350"/>
                    <a:gd name="connsiteX1593" fmla="*/ 652541 w 1135258"/>
                    <a:gd name="connsiteY1593" fmla="*/ 225251 h 479350"/>
                    <a:gd name="connsiteX1594" fmla="*/ 649591 w 1135258"/>
                    <a:gd name="connsiteY1594" fmla="*/ 223629 h 479350"/>
                    <a:gd name="connsiteX1595" fmla="*/ 648621 w 1135258"/>
                    <a:gd name="connsiteY1595" fmla="*/ 224965 h 479350"/>
                    <a:gd name="connsiteX1596" fmla="*/ 648450 w 1135258"/>
                    <a:gd name="connsiteY1596" fmla="*/ 226986 h 479350"/>
                    <a:gd name="connsiteX1597" fmla="*/ 649909 w 1135258"/>
                    <a:gd name="connsiteY1597" fmla="*/ 227712 h 479350"/>
                    <a:gd name="connsiteX1598" fmla="*/ 652248 w 1135258"/>
                    <a:gd name="connsiteY1598" fmla="*/ 229953 h 479350"/>
                    <a:gd name="connsiteX1599" fmla="*/ 654057 w 1135258"/>
                    <a:gd name="connsiteY1599" fmla="*/ 233131 h 479350"/>
                    <a:gd name="connsiteX1600" fmla="*/ 655231 w 1135258"/>
                    <a:gd name="connsiteY1600" fmla="*/ 233808 h 479350"/>
                    <a:gd name="connsiteX1601" fmla="*/ 657806 w 1135258"/>
                    <a:gd name="connsiteY1601" fmla="*/ 234835 h 479350"/>
                    <a:gd name="connsiteX1602" fmla="*/ 658898 w 1135258"/>
                    <a:gd name="connsiteY1602" fmla="*/ 235829 h 479350"/>
                    <a:gd name="connsiteX1603" fmla="*/ 660838 w 1135258"/>
                    <a:gd name="connsiteY1603" fmla="*/ 238535 h 479350"/>
                    <a:gd name="connsiteX1604" fmla="*/ 663902 w 1135258"/>
                    <a:gd name="connsiteY1604" fmla="*/ 244851 h 479350"/>
                    <a:gd name="connsiteX1605" fmla="*/ 664945 w 1135258"/>
                    <a:gd name="connsiteY1605" fmla="*/ 248265 h 479350"/>
                    <a:gd name="connsiteX1606" fmla="*/ 666657 w 1135258"/>
                    <a:gd name="connsiteY1606" fmla="*/ 251052 h 479350"/>
                    <a:gd name="connsiteX1607" fmla="*/ 671840 w 1135258"/>
                    <a:gd name="connsiteY1607" fmla="*/ 255796 h 479350"/>
                    <a:gd name="connsiteX1608" fmla="*/ 672125 w 1135258"/>
                    <a:gd name="connsiteY1608" fmla="*/ 257132 h 479350"/>
                    <a:gd name="connsiteX1609" fmla="*/ 671815 w 1135258"/>
                    <a:gd name="connsiteY1609" fmla="*/ 258689 h 479350"/>
                    <a:gd name="connsiteX1610" fmla="*/ 672206 w 1135258"/>
                    <a:gd name="connsiteY1610" fmla="*/ 260107 h 479350"/>
                    <a:gd name="connsiteX1611" fmla="*/ 674065 w 1135258"/>
                    <a:gd name="connsiteY1611" fmla="*/ 262829 h 479350"/>
                    <a:gd name="connsiteX1612" fmla="*/ 674505 w 1135258"/>
                    <a:gd name="connsiteY1612" fmla="*/ 264581 h 479350"/>
                    <a:gd name="connsiteX1613" fmla="*/ 672484 w 1135258"/>
                    <a:gd name="connsiteY1613" fmla="*/ 266798 h 479350"/>
                    <a:gd name="connsiteX1614" fmla="*/ 672361 w 1135258"/>
                    <a:gd name="connsiteY1614" fmla="*/ 270025 h 479350"/>
                    <a:gd name="connsiteX1615" fmla="*/ 671131 w 1135258"/>
                    <a:gd name="connsiteY1615" fmla="*/ 274369 h 479350"/>
                    <a:gd name="connsiteX1616" fmla="*/ 670845 w 1135258"/>
                    <a:gd name="connsiteY1616" fmla="*/ 275828 h 479350"/>
                    <a:gd name="connsiteX1617" fmla="*/ 670886 w 1135258"/>
                    <a:gd name="connsiteY1617" fmla="*/ 277156 h 479350"/>
                    <a:gd name="connsiteX1618" fmla="*/ 671758 w 1135258"/>
                    <a:gd name="connsiteY1618" fmla="*/ 278387 h 479350"/>
                    <a:gd name="connsiteX1619" fmla="*/ 672769 w 1135258"/>
                    <a:gd name="connsiteY1619" fmla="*/ 279356 h 479350"/>
                    <a:gd name="connsiteX1620" fmla="*/ 674171 w 1135258"/>
                    <a:gd name="connsiteY1620" fmla="*/ 279870 h 479350"/>
                    <a:gd name="connsiteX1621" fmla="*/ 675385 w 1135258"/>
                    <a:gd name="connsiteY1621" fmla="*/ 280718 h 479350"/>
                    <a:gd name="connsiteX1622" fmla="*/ 677732 w 1135258"/>
                    <a:gd name="connsiteY1622" fmla="*/ 284092 h 479350"/>
                    <a:gd name="connsiteX1623" fmla="*/ 678946 w 1135258"/>
                    <a:gd name="connsiteY1623" fmla="*/ 284980 h 479350"/>
                    <a:gd name="connsiteX1624" fmla="*/ 679737 w 1135258"/>
                    <a:gd name="connsiteY1624" fmla="*/ 286219 h 479350"/>
                    <a:gd name="connsiteX1625" fmla="*/ 679655 w 1135258"/>
                    <a:gd name="connsiteY1625" fmla="*/ 288061 h 479350"/>
                    <a:gd name="connsiteX1626" fmla="*/ 680731 w 1135258"/>
                    <a:gd name="connsiteY1626" fmla="*/ 289136 h 479350"/>
                    <a:gd name="connsiteX1627" fmla="*/ 681709 w 1135258"/>
                    <a:gd name="connsiteY1627" fmla="*/ 291043 h 479350"/>
                    <a:gd name="connsiteX1628" fmla="*/ 683225 w 1135258"/>
                    <a:gd name="connsiteY1628" fmla="*/ 291516 h 479350"/>
                    <a:gd name="connsiteX1629" fmla="*/ 683926 w 1135258"/>
                    <a:gd name="connsiteY1629" fmla="*/ 290970 h 479350"/>
                    <a:gd name="connsiteX1630" fmla="*/ 684406 w 1135258"/>
                    <a:gd name="connsiteY1630" fmla="*/ 290138 h 479350"/>
                    <a:gd name="connsiteX1631" fmla="*/ 685646 w 1135258"/>
                    <a:gd name="connsiteY1631" fmla="*/ 290456 h 479350"/>
                    <a:gd name="connsiteX1632" fmla="*/ 686379 w 1135258"/>
                    <a:gd name="connsiteY1632" fmla="*/ 291777 h 479350"/>
                    <a:gd name="connsiteX1633" fmla="*/ 686795 w 1135258"/>
                    <a:gd name="connsiteY1633" fmla="*/ 293505 h 479350"/>
                    <a:gd name="connsiteX1634" fmla="*/ 686933 w 1135258"/>
                    <a:gd name="connsiteY1634" fmla="*/ 295387 h 479350"/>
                    <a:gd name="connsiteX1635" fmla="*/ 686876 w 1135258"/>
                    <a:gd name="connsiteY1635" fmla="*/ 298965 h 479350"/>
                    <a:gd name="connsiteX1636" fmla="*/ 686248 w 1135258"/>
                    <a:gd name="connsiteY1636" fmla="*/ 300253 h 479350"/>
                    <a:gd name="connsiteX1637" fmla="*/ 684904 w 1135258"/>
                    <a:gd name="connsiteY1637" fmla="*/ 300187 h 479350"/>
                    <a:gd name="connsiteX1638" fmla="*/ 682467 w 1135258"/>
                    <a:gd name="connsiteY1638" fmla="*/ 298712 h 479350"/>
                    <a:gd name="connsiteX1639" fmla="*/ 682353 w 1135258"/>
                    <a:gd name="connsiteY1639" fmla="*/ 299780 h 479350"/>
                    <a:gd name="connsiteX1640" fmla="*/ 682516 w 1135258"/>
                    <a:gd name="connsiteY1640" fmla="*/ 300815 h 479350"/>
                    <a:gd name="connsiteX1641" fmla="*/ 681285 w 1135258"/>
                    <a:gd name="connsiteY1641" fmla="*/ 301157 h 479350"/>
                    <a:gd name="connsiteX1642" fmla="*/ 679867 w 1135258"/>
                    <a:gd name="connsiteY1642" fmla="*/ 301010 h 479350"/>
                    <a:gd name="connsiteX1643" fmla="*/ 676306 w 1135258"/>
                    <a:gd name="connsiteY1643" fmla="*/ 301149 h 479350"/>
                    <a:gd name="connsiteX1644" fmla="*/ 669753 w 1135258"/>
                    <a:gd name="connsiteY1644" fmla="*/ 303382 h 479350"/>
                    <a:gd name="connsiteX1645" fmla="*/ 667455 w 1135258"/>
                    <a:gd name="connsiteY1645" fmla="*/ 304694 h 479350"/>
                    <a:gd name="connsiteX1646" fmla="*/ 665956 w 1135258"/>
                    <a:gd name="connsiteY1646" fmla="*/ 307082 h 479350"/>
                    <a:gd name="connsiteX1647" fmla="*/ 665850 w 1135258"/>
                    <a:gd name="connsiteY1647" fmla="*/ 308744 h 479350"/>
                    <a:gd name="connsiteX1648" fmla="*/ 666420 w 1135258"/>
                    <a:gd name="connsiteY1648" fmla="*/ 312241 h 479350"/>
                    <a:gd name="connsiteX1649" fmla="*/ 665548 w 1135258"/>
                    <a:gd name="connsiteY1649" fmla="*/ 313447 h 479350"/>
                    <a:gd name="connsiteX1650" fmla="*/ 662557 w 1135258"/>
                    <a:gd name="connsiteY1650" fmla="*/ 313928 h 479350"/>
                    <a:gd name="connsiteX1651" fmla="*/ 658360 w 1135258"/>
                    <a:gd name="connsiteY1651" fmla="*/ 312990 h 479350"/>
                    <a:gd name="connsiteX1652" fmla="*/ 655817 w 1135258"/>
                    <a:gd name="connsiteY1652" fmla="*/ 312053 h 479350"/>
                    <a:gd name="connsiteX1653" fmla="*/ 654408 w 1135258"/>
                    <a:gd name="connsiteY1653" fmla="*/ 311271 h 479350"/>
                    <a:gd name="connsiteX1654" fmla="*/ 652549 w 1135258"/>
                    <a:gd name="connsiteY1654" fmla="*/ 308932 h 479350"/>
                    <a:gd name="connsiteX1655" fmla="*/ 651865 w 1135258"/>
                    <a:gd name="connsiteY1655" fmla="*/ 305925 h 479350"/>
                    <a:gd name="connsiteX1656" fmla="*/ 653218 w 1135258"/>
                    <a:gd name="connsiteY1656" fmla="*/ 296984 h 479350"/>
                    <a:gd name="connsiteX1657" fmla="*/ 653609 w 1135258"/>
                    <a:gd name="connsiteY1657" fmla="*/ 295835 h 479350"/>
                    <a:gd name="connsiteX1658" fmla="*/ 654269 w 1135258"/>
                    <a:gd name="connsiteY1658" fmla="*/ 294816 h 479350"/>
                    <a:gd name="connsiteX1659" fmla="*/ 654962 w 1135258"/>
                    <a:gd name="connsiteY1659" fmla="*/ 293187 h 479350"/>
                    <a:gd name="connsiteX1660" fmla="*/ 655125 w 1135258"/>
                    <a:gd name="connsiteY1660" fmla="*/ 291280 h 479350"/>
                    <a:gd name="connsiteX1661" fmla="*/ 653136 w 1135258"/>
                    <a:gd name="connsiteY1661" fmla="*/ 288949 h 479350"/>
                    <a:gd name="connsiteX1662" fmla="*/ 650121 w 1135258"/>
                    <a:gd name="connsiteY1662" fmla="*/ 288036 h 479350"/>
                    <a:gd name="connsiteX1663" fmla="*/ 647562 w 1135258"/>
                    <a:gd name="connsiteY1663" fmla="*/ 286096 h 479350"/>
                    <a:gd name="connsiteX1664" fmla="*/ 637676 w 1135258"/>
                    <a:gd name="connsiteY1664" fmla="*/ 275200 h 479350"/>
                    <a:gd name="connsiteX1665" fmla="*/ 637122 w 1135258"/>
                    <a:gd name="connsiteY1665" fmla="*/ 274141 h 479350"/>
                    <a:gd name="connsiteX1666" fmla="*/ 637097 w 1135258"/>
                    <a:gd name="connsiteY1666" fmla="*/ 272331 h 479350"/>
                    <a:gd name="connsiteX1667" fmla="*/ 637497 w 1135258"/>
                    <a:gd name="connsiteY1667" fmla="*/ 270636 h 479350"/>
                    <a:gd name="connsiteX1668" fmla="*/ 640740 w 1135258"/>
                    <a:gd name="connsiteY1668" fmla="*/ 264687 h 479350"/>
                    <a:gd name="connsiteX1669" fmla="*/ 641156 w 1135258"/>
                    <a:gd name="connsiteY1669" fmla="*/ 263546 h 479350"/>
                    <a:gd name="connsiteX1670" fmla="*/ 641555 w 1135258"/>
                    <a:gd name="connsiteY1670" fmla="*/ 258852 h 479350"/>
                    <a:gd name="connsiteX1671" fmla="*/ 641466 w 1135258"/>
                    <a:gd name="connsiteY1671" fmla="*/ 254964 h 479350"/>
                    <a:gd name="connsiteX1672" fmla="*/ 641099 w 1135258"/>
                    <a:gd name="connsiteY1672" fmla="*/ 251085 h 479350"/>
                    <a:gd name="connsiteX1673" fmla="*/ 639567 w 1135258"/>
                    <a:gd name="connsiteY1673" fmla="*/ 248648 h 479350"/>
                    <a:gd name="connsiteX1674" fmla="*/ 636804 w 1135258"/>
                    <a:gd name="connsiteY1674" fmla="*/ 247915 h 479350"/>
                    <a:gd name="connsiteX1675" fmla="*/ 633968 w 1135258"/>
                    <a:gd name="connsiteY1675" fmla="*/ 247784 h 479350"/>
                    <a:gd name="connsiteX1676" fmla="*/ 631205 w 1135258"/>
                    <a:gd name="connsiteY1676" fmla="*/ 248575 h 479350"/>
                    <a:gd name="connsiteX1677" fmla="*/ 628491 w 1135258"/>
                    <a:gd name="connsiteY1677" fmla="*/ 250514 h 479350"/>
                    <a:gd name="connsiteX1678" fmla="*/ 623463 w 1135258"/>
                    <a:gd name="connsiteY1678" fmla="*/ 254622 h 479350"/>
                    <a:gd name="connsiteX1679" fmla="*/ 621474 w 1135258"/>
                    <a:gd name="connsiteY1679" fmla="*/ 257002 h 479350"/>
                    <a:gd name="connsiteX1680" fmla="*/ 621303 w 1135258"/>
                    <a:gd name="connsiteY1680" fmla="*/ 260115 h 479350"/>
                    <a:gd name="connsiteX1681" fmla="*/ 622461 w 1135258"/>
                    <a:gd name="connsiteY1681" fmla="*/ 263147 h 479350"/>
                    <a:gd name="connsiteX1682" fmla="*/ 623952 w 1135258"/>
                    <a:gd name="connsiteY1682" fmla="*/ 265934 h 479350"/>
                    <a:gd name="connsiteX1683" fmla="*/ 624742 w 1135258"/>
                    <a:gd name="connsiteY1683" fmla="*/ 268957 h 479350"/>
                    <a:gd name="connsiteX1684" fmla="*/ 625843 w 1135258"/>
                    <a:gd name="connsiteY1684" fmla="*/ 279723 h 479350"/>
                    <a:gd name="connsiteX1685" fmla="*/ 625802 w 1135258"/>
                    <a:gd name="connsiteY1685" fmla="*/ 280929 h 479350"/>
                    <a:gd name="connsiteX1686" fmla="*/ 624514 w 1135258"/>
                    <a:gd name="connsiteY1686" fmla="*/ 284067 h 479350"/>
                    <a:gd name="connsiteX1687" fmla="*/ 624009 w 1135258"/>
                    <a:gd name="connsiteY1687" fmla="*/ 291051 h 479350"/>
                    <a:gd name="connsiteX1688" fmla="*/ 624538 w 1135258"/>
                    <a:gd name="connsiteY1688" fmla="*/ 300937 h 479350"/>
                    <a:gd name="connsiteX1689" fmla="*/ 625427 w 1135258"/>
                    <a:gd name="connsiteY1689" fmla="*/ 307000 h 479350"/>
                    <a:gd name="connsiteX1690" fmla="*/ 625044 w 1135258"/>
                    <a:gd name="connsiteY1690" fmla="*/ 310293 h 479350"/>
                    <a:gd name="connsiteX1691" fmla="*/ 622705 w 1135258"/>
                    <a:gd name="connsiteY1691" fmla="*/ 317367 h 479350"/>
                    <a:gd name="connsiteX1692" fmla="*/ 621980 w 1135258"/>
                    <a:gd name="connsiteY1692" fmla="*/ 321254 h 479350"/>
                    <a:gd name="connsiteX1693" fmla="*/ 621923 w 1135258"/>
                    <a:gd name="connsiteY1693" fmla="*/ 322843 h 479350"/>
                    <a:gd name="connsiteX1694" fmla="*/ 624694 w 1135258"/>
                    <a:gd name="connsiteY1694" fmla="*/ 330243 h 479350"/>
                    <a:gd name="connsiteX1695" fmla="*/ 625337 w 1135258"/>
                    <a:gd name="connsiteY1695" fmla="*/ 333169 h 479350"/>
                    <a:gd name="connsiteX1696" fmla="*/ 625680 w 1135258"/>
                    <a:gd name="connsiteY1696" fmla="*/ 336201 h 479350"/>
                    <a:gd name="connsiteX1697" fmla="*/ 622738 w 1135258"/>
                    <a:gd name="connsiteY1697" fmla="*/ 334710 h 479350"/>
                    <a:gd name="connsiteX1698" fmla="*/ 621368 w 1135258"/>
                    <a:gd name="connsiteY1698" fmla="*/ 334783 h 479350"/>
                    <a:gd name="connsiteX1699" fmla="*/ 619991 w 1135258"/>
                    <a:gd name="connsiteY1699" fmla="*/ 335255 h 479350"/>
                    <a:gd name="connsiteX1700" fmla="*/ 616911 w 1135258"/>
                    <a:gd name="connsiteY1700" fmla="*/ 335736 h 479350"/>
                    <a:gd name="connsiteX1701" fmla="*/ 613806 w 1135258"/>
                    <a:gd name="connsiteY1701" fmla="*/ 335802 h 479350"/>
                    <a:gd name="connsiteX1702" fmla="*/ 612713 w 1135258"/>
                    <a:gd name="connsiteY1702" fmla="*/ 336356 h 479350"/>
                    <a:gd name="connsiteX1703" fmla="*/ 610497 w 1135258"/>
                    <a:gd name="connsiteY1703" fmla="*/ 338328 h 479350"/>
                    <a:gd name="connsiteX1704" fmla="*/ 609152 w 1135258"/>
                    <a:gd name="connsiteY1704" fmla="*/ 339127 h 479350"/>
                    <a:gd name="connsiteX1705" fmla="*/ 607987 w 1135258"/>
                    <a:gd name="connsiteY1705" fmla="*/ 339273 h 479350"/>
                    <a:gd name="connsiteX1706" fmla="*/ 604026 w 1135258"/>
                    <a:gd name="connsiteY1706" fmla="*/ 336796 h 479350"/>
                    <a:gd name="connsiteX1707" fmla="*/ 601695 w 1135258"/>
                    <a:gd name="connsiteY1707" fmla="*/ 334123 h 479350"/>
                    <a:gd name="connsiteX1708" fmla="*/ 599535 w 1135258"/>
                    <a:gd name="connsiteY1708" fmla="*/ 331213 h 479350"/>
                    <a:gd name="connsiteX1709" fmla="*/ 599136 w 1135258"/>
                    <a:gd name="connsiteY1709" fmla="*/ 327904 h 479350"/>
                    <a:gd name="connsiteX1710" fmla="*/ 599886 w 1135258"/>
                    <a:gd name="connsiteY1710" fmla="*/ 324490 h 479350"/>
                    <a:gd name="connsiteX1711" fmla="*/ 600953 w 1135258"/>
                    <a:gd name="connsiteY1711" fmla="*/ 320847 h 479350"/>
                    <a:gd name="connsiteX1712" fmla="*/ 603089 w 1135258"/>
                    <a:gd name="connsiteY1712" fmla="*/ 314792 h 479350"/>
                    <a:gd name="connsiteX1713" fmla="*/ 602983 w 1135258"/>
                    <a:gd name="connsiteY1713" fmla="*/ 310741 h 479350"/>
                    <a:gd name="connsiteX1714" fmla="*/ 603716 w 1135258"/>
                    <a:gd name="connsiteY1714" fmla="*/ 307416 h 479350"/>
                    <a:gd name="connsiteX1715" fmla="*/ 604931 w 1135258"/>
                    <a:gd name="connsiteY1715" fmla="*/ 304181 h 479350"/>
                    <a:gd name="connsiteX1716" fmla="*/ 605370 w 1135258"/>
                    <a:gd name="connsiteY1716" fmla="*/ 301198 h 479350"/>
                    <a:gd name="connsiteX1717" fmla="*/ 605672 w 1135258"/>
                    <a:gd name="connsiteY1717" fmla="*/ 289536 h 479350"/>
                    <a:gd name="connsiteX1718" fmla="*/ 605362 w 1135258"/>
                    <a:gd name="connsiteY1718" fmla="*/ 288492 h 479350"/>
                    <a:gd name="connsiteX1719" fmla="*/ 602445 w 1135258"/>
                    <a:gd name="connsiteY1719" fmla="*/ 281557 h 479350"/>
                    <a:gd name="connsiteX1720" fmla="*/ 602111 w 1135258"/>
                    <a:gd name="connsiteY1720" fmla="*/ 280392 h 479350"/>
                    <a:gd name="connsiteX1721" fmla="*/ 602094 w 1135258"/>
                    <a:gd name="connsiteY1721" fmla="*/ 278525 h 479350"/>
                    <a:gd name="connsiteX1722" fmla="*/ 602404 w 1135258"/>
                    <a:gd name="connsiteY1722" fmla="*/ 276740 h 479350"/>
                    <a:gd name="connsiteX1723" fmla="*/ 602469 w 1135258"/>
                    <a:gd name="connsiteY1723" fmla="*/ 275135 h 479350"/>
                    <a:gd name="connsiteX1724" fmla="*/ 601801 w 1135258"/>
                    <a:gd name="connsiteY1724" fmla="*/ 273904 h 479350"/>
                    <a:gd name="connsiteX1725" fmla="*/ 600619 w 1135258"/>
                    <a:gd name="connsiteY1725" fmla="*/ 272780 h 479350"/>
                    <a:gd name="connsiteX1726" fmla="*/ 599176 w 1135258"/>
                    <a:gd name="connsiteY1726" fmla="*/ 272283 h 479350"/>
                    <a:gd name="connsiteX1727" fmla="*/ 596153 w 1135258"/>
                    <a:gd name="connsiteY1727" fmla="*/ 272772 h 479350"/>
                    <a:gd name="connsiteX1728" fmla="*/ 590065 w 1135258"/>
                    <a:gd name="connsiteY1728" fmla="*/ 274638 h 479350"/>
                    <a:gd name="connsiteX1729" fmla="*/ 588273 w 1135258"/>
                    <a:gd name="connsiteY1729" fmla="*/ 272983 h 479350"/>
                    <a:gd name="connsiteX1730" fmla="*/ 586920 w 1135258"/>
                    <a:gd name="connsiteY1730" fmla="*/ 270457 h 479350"/>
                    <a:gd name="connsiteX1731" fmla="*/ 586056 w 1135258"/>
                    <a:gd name="connsiteY1731" fmla="*/ 266912 h 479350"/>
                    <a:gd name="connsiteX1732" fmla="*/ 585550 w 1135258"/>
                    <a:gd name="connsiteY1732" fmla="*/ 263212 h 479350"/>
                    <a:gd name="connsiteX1733" fmla="*/ 585787 w 1135258"/>
                    <a:gd name="connsiteY1733" fmla="*/ 259740 h 479350"/>
                    <a:gd name="connsiteX1734" fmla="*/ 586675 w 1135258"/>
                    <a:gd name="connsiteY1734" fmla="*/ 256382 h 479350"/>
                    <a:gd name="connsiteX1735" fmla="*/ 585958 w 1135258"/>
                    <a:gd name="connsiteY1735" fmla="*/ 254027 h 479350"/>
                    <a:gd name="connsiteX1736" fmla="*/ 584833 w 1135258"/>
                    <a:gd name="connsiteY1736" fmla="*/ 251476 h 479350"/>
                    <a:gd name="connsiteX1737" fmla="*/ 584817 w 1135258"/>
                    <a:gd name="connsiteY1737" fmla="*/ 250156 h 479350"/>
                    <a:gd name="connsiteX1738" fmla="*/ 585461 w 1135258"/>
                    <a:gd name="connsiteY1738" fmla="*/ 249007 h 479350"/>
                    <a:gd name="connsiteX1739" fmla="*/ 586561 w 1135258"/>
                    <a:gd name="connsiteY1739" fmla="*/ 248045 h 479350"/>
                    <a:gd name="connsiteX1740" fmla="*/ 587905 w 1135258"/>
                    <a:gd name="connsiteY1740" fmla="*/ 247491 h 479350"/>
                    <a:gd name="connsiteX1741" fmla="*/ 589152 w 1135258"/>
                    <a:gd name="connsiteY1741" fmla="*/ 246472 h 479350"/>
                    <a:gd name="connsiteX1742" fmla="*/ 592478 w 1135258"/>
                    <a:gd name="connsiteY1742" fmla="*/ 243033 h 479350"/>
                    <a:gd name="connsiteX1743" fmla="*/ 593553 w 1135258"/>
                    <a:gd name="connsiteY1743" fmla="*/ 240026 h 479350"/>
                    <a:gd name="connsiteX1744" fmla="*/ 593619 w 1135258"/>
                    <a:gd name="connsiteY1744" fmla="*/ 236310 h 479350"/>
                    <a:gd name="connsiteX1745" fmla="*/ 594466 w 1135258"/>
                    <a:gd name="connsiteY1745" fmla="*/ 232756 h 479350"/>
                    <a:gd name="connsiteX1746" fmla="*/ 596170 w 1135258"/>
                    <a:gd name="connsiteY1746" fmla="*/ 229505 h 479350"/>
                    <a:gd name="connsiteX1747" fmla="*/ 598183 w 1135258"/>
                    <a:gd name="connsiteY1747" fmla="*/ 226465 h 479350"/>
                    <a:gd name="connsiteX1748" fmla="*/ 598834 w 1135258"/>
                    <a:gd name="connsiteY1748" fmla="*/ 223343 h 479350"/>
                    <a:gd name="connsiteX1749" fmla="*/ 597848 w 1135258"/>
                    <a:gd name="connsiteY1749" fmla="*/ 218388 h 479350"/>
                    <a:gd name="connsiteX1750" fmla="*/ 598239 w 1135258"/>
                    <a:gd name="connsiteY1750" fmla="*/ 216123 h 479350"/>
                    <a:gd name="connsiteX1751" fmla="*/ 597889 w 1135258"/>
                    <a:gd name="connsiteY1751" fmla="*/ 213474 h 479350"/>
                    <a:gd name="connsiteX1752" fmla="*/ 597865 w 1135258"/>
                    <a:gd name="connsiteY1752" fmla="*/ 210866 h 479350"/>
                    <a:gd name="connsiteX1753" fmla="*/ 599111 w 1135258"/>
                    <a:gd name="connsiteY1753" fmla="*/ 205927 h 479350"/>
                    <a:gd name="connsiteX1754" fmla="*/ 602803 w 1135258"/>
                    <a:gd name="connsiteY1754" fmla="*/ 195854 h 479350"/>
                    <a:gd name="connsiteX1755" fmla="*/ 606398 w 1135258"/>
                    <a:gd name="connsiteY1755" fmla="*/ 190500 h 479350"/>
                    <a:gd name="connsiteX1756" fmla="*/ 607840 w 1135258"/>
                    <a:gd name="connsiteY1756" fmla="*/ 189090 h 479350"/>
                    <a:gd name="connsiteX1757" fmla="*/ 609706 w 1135258"/>
                    <a:gd name="connsiteY1757" fmla="*/ 191576 h 479350"/>
                    <a:gd name="connsiteX1758" fmla="*/ 611132 w 1135258"/>
                    <a:gd name="connsiteY1758" fmla="*/ 194510 h 479350"/>
                    <a:gd name="connsiteX1759" fmla="*/ 611157 w 1135258"/>
                    <a:gd name="connsiteY1759" fmla="*/ 191853 h 479350"/>
                    <a:gd name="connsiteX1760" fmla="*/ 610782 w 1135258"/>
                    <a:gd name="connsiteY1760" fmla="*/ 189253 h 479350"/>
                    <a:gd name="connsiteX1761" fmla="*/ 609331 w 1135258"/>
                    <a:gd name="connsiteY1761" fmla="*/ 183190 h 479350"/>
                    <a:gd name="connsiteX1762" fmla="*/ 608093 w 1135258"/>
                    <a:gd name="connsiteY1762" fmla="*/ 171356 h 479350"/>
                    <a:gd name="connsiteX1763" fmla="*/ 608451 w 1135258"/>
                    <a:gd name="connsiteY1763" fmla="*/ 170240 h 479350"/>
                    <a:gd name="connsiteX1764" fmla="*/ 609698 w 1135258"/>
                    <a:gd name="connsiteY1764" fmla="*/ 170419 h 479350"/>
                    <a:gd name="connsiteX1765" fmla="*/ 610977 w 1135258"/>
                    <a:gd name="connsiteY1765" fmla="*/ 169376 h 479350"/>
                    <a:gd name="connsiteX1766" fmla="*/ 611662 w 1135258"/>
                    <a:gd name="connsiteY1766" fmla="*/ 167509 h 479350"/>
                    <a:gd name="connsiteX1767" fmla="*/ 610317 w 1135258"/>
                    <a:gd name="connsiteY1767" fmla="*/ 163109 h 479350"/>
                    <a:gd name="connsiteX1768" fmla="*/ 610261 w 1135258"/>
                    <a:gd name="connsiteY1768" fmla="*/ 161569 h 479350"/>
                    <a:gd name="connsiteX1769" fmla="*/ 612836 w 1135258"/>
                    <a:gd name="connsiteY1769" fmla="*/ 155391 h 479350"/>
                    <a:gd name="connsiteX1770" fmla="*/ 614938 w 1135258"/>
                    <a:gd name="connsiteY1770" fmla="*/ 153142 h 479350"/>
                    <a:gd name="connsiteX1771" fmla="*/ 615859 w 1135258"/>
                    <a:gd name="connsiteY1771" fmla="*/ 151756 h 479350"/>
                    <a:gd name="connsiteX1772" fmla="*/ 616381 w 1135258"/>
                    <a:gd name="connsiteY1772" fmla="*/ 147983 h 479350"/>
                    <a:gd name="connsiteX1773" fmla="*/ 617481 w 1135258"/>
                    <a:gd name="connsiteY1773" fmla="*/ 146557 h 479350"/>
                    <a:gd name="connsiteX1774" fmla="*/ 618875 w 1135258"/>
                    <a:gd name="connsiteY1774" fmla="*/ 145538 h 479350"/>
                    <a:gd name="connsiteX1775" fmla="*/ 620692 w 1135258"/>
                    <a:gd name="connsiteY1775" fmla="*/ 142930 h 479350"/>
                    <a:gd name="connsiteX1776" fmla="*/ 621678 w 1135258"/>
                    <a:gd name="connsiteY1776" fmla="*/ 139654 h 479350"/>
                    <a:gd name="connsiteX1777" fmla="*/ 622273 w 1135258"/>
                    <a:gd name="connsiteY1777" fmla="*/ 139401 h 479350"/>
                    <a:gd name="connsiteX1778" fmla="*/ 622982 w 1135258"/>
                    <a:gd name="connsiteY1778" fmla="*/ 139287 h 479350"/>
                    <a:gd name="connsiteX1779" fmla="*/ 624074 w 1135258"/>
                    <a:gd name="connsiteY1779" fmla="*/ 142148 h 479350"/>
                    <a:gd name="connsiteX1780" fmla="*/ 625305 w 1135258"/>
                    <a:gd name="connsiteY1780" fmla="*/ 143313 h 479350"/>
                    <a:gd name="connsiteX1781" fmla="*/ 627807 w 1135258"/>
                    <a:gd name="connsiteY1781" fmla="*/ 144242 h 479350"/>
                    <a:gd name="connsiteX1782" fmla="*/ 629942 w 1135258"/>
                    <a:gd name="connsiteY1782" fmla="*/ 143142 h 479350"/>
                    <a:gd name="connsiteX1783" fmla="*/ 630529 w 1135258"/>
                    <a:gd name="connsiteY1783" fmla="*/ 141708 h 479350"/>
                    <a:gd name="connsiteX1784" fmla="*/ 631327 w 1135258"/>
                    <a:gd name="connsiteY1784" fmla="*/ 140477 h 479350"/>
                    <a:gd name="connsiteX1785" fmla="*/ 632623 w 1135258"/>
                    <a:gd name="connsiteY1785" fmla="*/ 139189 h 479350"/>
                    <a:gd name="connsiteX1786" fmla="*/ 633715 w 1135258"/>
                    <a:gd name="connsiteY1786" fmla="*/ 137722 h 479350"/>
                    <a:gd name="connsiteX1787" fmla="*/ 634922 w 1135258"/>
                    <a:gd name="connsiteY1787" fmla="*/ 134316 h 479350"/>
                    <a:gd name="connsiteX1788" fmla="*/ 636519 w 1135258"/>
                    <a:gd name="connsiteY1788" fmla="*/ 131219 h 479350"/>
                    <a:gd name="connsiteX1789" fmla="*/ 637611 w 1135258"/>
                    <a:gd name="connsiteY1789" fmla="*/ 130143 h 479350"/>
                    <a:gd name="connsiteX1790" fmla="*/ 638923 w 1135258"/>
                    <a:gd name="connsiteY1790" fmla="*/ 129459 h 479350"/>
                    <a:gd name="connsiteX1791" fmla="*/ 640398 w 1135258"/>
                    <a:gd name="connsiteY1791" fmla="*/ 129043 h 479350"/>
                    <a:gd name="connsiteX1792" fmla="*/ 641824 w 1135258"/>
                    <a:gd name="connsiteY1792" fmla="*/ 128986 h 479350"/>
                    <a:gd name="connsiteX1793" fmla="*/ 644962 w 1135258"/>
                    <a:gd name="connsiteY1793" fmla="*/ 130942 h 479350"/>
                    <a:gd name="connsiteX1794" fmla="*/ 646788 w 1135258"/>
                    <a:gd name="connsiteY1794" fmla="*/ 131317 h 479350"/>
                    <a:gd name="connsiteX1795" fmla="*/ 648654 w 1135258"/>
                    <a:gd name="connsiteY1795" fmla="*/ 131178 h 479350"/>
                    <a:gd name="connsiteX1796" fmla="*/ 649827 w 1135258"/>
                    <a:gd name="connsiteY1796" fmla="*/ 131504 h 479350"/>
                    <a:gd name="connsiteX1797" fmla="*/ 650716 w 1135258"/>
                    <a:gd name="connsiteY1797" fmla="*/ 132376 h 479350"/>
                    <a:gd name="connsiteX1798" fmla="*/ 651530 w 1135258"/>
                    <a:gd name="connsiteY1798" fmla="*/ 134145 h 479350"/>
                    <a:gd name="connsiteX1799" fmla="*/ 652541 w 1135258"/>
                    <a:gd name="connsiteY1799" fmla="*/ 135660 h 479350"/>
                    <a:gd name="connsiteX1800" fmla="*/ 653454 w 1135258"/>
                    <a:gd name="connsiteY1800" fmla="*/ 136410 h 479350"/>
                    <a:gd name="connsiteX1801" fmla="*/ 654473 w 1135258"/>
                    <a:gd name="connsiteY1801" fmla="*/ 136761 h 479350"/>
                    <a:gd name="connsiteX1802" fmla="*/ 661310 w 1135258"/>
                    <a:gd name="connsiteY1802" fmla="*/ 136141 h 479350"/>
                    <a:gd name="connsiteX1803" fmla="*/ 667284 w 1135258"/>
                    <a:gd name="connsiteY1803" fmla="*/ 137861 h 479350"/>
                    <a:gd name="connsiteX1804" fmla="*/ 675434 w 1135258"/>
                    <a:gd name="connsiteY1804" fmla="*/ 138252 h 479350"/>
                    <a:gd name="connsiteX1805" fmla="*/ 678229 w 1135258"/>
                    <a:gd name="connsiteY1805" fmla="*/ 139255 h 479350"/>
                    <a:gd name="connsiteX1806" fmla="*/ 680911 w 1135258"/>
                    <a:gd name="connsiteY1806" fmla="*/ 140575 h 479350"/>
                    <a:gd name="connsiteX1807" fmla="*/ 684195 w 1135258"/>
                    <a:gd name="connsiteY1807" fmla="*/ 142906 h 479350"/>
                    <a:gd name="connsiteX1808" fmla="*/ 685384 w 1135258"/>
                    <a:gd name="connsiteY1808" fmla="*/ 143419 h 479350"/>
                    <a:gd name="connsiteX1809" fmla="*/ 686729 w 1135258"/>
                    <a:gd name="connsiteY1809" fmla="*/ 143289 h 479350"/>
                    <a:gd name="connsiteX1810" fmla="*/ 688408 w 1135258"/>
                    <a:gd name="connsiteY1810" fmla="*/ 141104 h 479350"/>
                    <a:gd name="connsiteX1811" fmla="*/ 689712 w 1135258"/>
                    <a:gd name="connsiteY1811" fmla="*/ 140624 h 479350"/>
                    <a:gd name="connsiteX1812" fmla="*/ 691049 w 1135258"/>
                    <a:gd name="connsiteY1812" fmla="*/ 140542 h 479350"/>
                    <a:gd name="connsiteX1813" fmla="*/ 696297 w 1135258"/>
                    <a:gd name="connsiteY1813" fmla="*/ 140949 h 479350"/>
                    <a:gd name="connsiteX1814" fmla="*/ 710396 w 1135258"/>
                    <a:gd name="connsiteY1814" fmla="*/ 143639 h 479350"/>
                    <a:gd name="connsiteX1815" fmla="*/ 712482 w 1135258"/>
                    <a:gd name="connsiteY1815" fmla="*/ 143272 h 479350"/>
                    <a:gd name="connsiteX1816" fmla="*/ 720983 w 1135258"/>
                    <a:gd name="connsiteY1816" fmla="*/ 138130 h 479350"/>
                    <a:gd name="connsiteX1817" fmla="*/ 724398 w 1135258"/>
                    <a:gd name="connsiteY1817" fmla="*/ 133256 h 479350"/>
                    <a:gd name="connsiteX1818" fmla="*/ 727437 w 1135258"/>
                    <a:gd name="connsiteY1818" fmla="*/ 131895 h 479350"/>
                    <a:gd name="connsiteX1819" fmla="*/ 728472 w 1135258"/>
                    <a:gd name="connsiteY1819" fmla="*/ 129687 h 479350"/>
                    <a:gd name="connsiteX1820" fmla="*/ 729083 w 1135258"/>
                    <a:gd name="connsiteY1820" fmla="*/ 127038 h 479350"/>
                    <a:gd name="connsiteX1821" fmla="*/ 730176 w 1135258"/>
                    <a:gd name="connsiteY1821" fmla="*/ 126321 h 479350"/>
                    <a:gd name="connsiteX1822" fmla="*/ 732718 w 1135258"/>
                    <a:gd name="connsiteY1822" fmla="*/ 125571 h 479350"/>
                    <a:gd name="connsiteX1823" fmla="*/ 733737 w 1135258"/>
                    <a:gd name="connsiteY1823" fmla="*/ 124781 h 479350"/>
                    <a:gd name="connsiteX1824" fmla="*/ 735538 w 1135258"/>
                    <a:gd name="connsiteY1824" fmla="*/ 121537 h 479350"/>
                    <a:gd name="connsiteX1825" fmla="*/ 737690 w 1135258"/>
                    <a:gd name="connsiteY1825" fmla="*/ 118660 h 479350"/>
                    <a:gd name="connsiteX1826" fmla="*/ 738741 w 1135258"/>
                    <a:gd name="connsiteY1826" fmla="*/ 117796 h 479350"/>
                    <a:gd name="connsiteX1827" fmla="*/ 741757 w 1135258"/>
                    <a:gd name="connsiteY1827" fmla="*/ 118261 h 479350"/>
                    <a:gd name="connsiteX1828" fmla="*/ 743093 w 1135258"/>
                    <a:gd name="connsiteY1828" fmla="*/ 119516 h 479350"/>
                    <a:gd name="connsiteX1829" fmla="*/ 744804 w 1135258"/>
                    <a:gd name="connsiteY1829" fmla="*/ 123754 h 479350"/>
                    <a:gd name="connsiteX1830" fmla="*/ 744503 w 1135258"/>
                    <a:gd name="connsiteY1830" fmla="*/ 124463 h 479350"/>
                    <a:gd name="connsiteX1831" fmla="*/ 742498 w 1135258"/>
                    <a:gd name="connsiteY1831" fmla="*/ 126565 h 479350"/>
                    <a:gd name="connsiteX1832" fmla="*/ 741919 w 1135258"/>
                    <a:gd name="connsiteY1832" fmla="*/ 127446 h 479350"/>
                    <a:gd name="connsiteX1833" fmla="*/ 739711 w 1135258"/>
                    <a:gd name="connsiteY1833" fmla="*/ 133395 h 479350"/>
                    <a:gd name="connsiteX1834" fmla="*/ 738179 w 1135258"/>
                    <a:gd name="connsiteY1834" fmla="*/ 136312 h 479350"/>
                    <a:gd name="connsiteX1835" fmla="*/ 736255 w 1135258"/>
                    <a:gd name="connsiteY1835" fmla="*/ 138937 h 479350"/>
                    <a:gd name="connsiteX1836" fmla="*/ 806783 w 1135258"/>
                    <a:gd name="connsiteY1836" fmla="*/ 143329 h 479350"/>
                    <a:gd name="connsiteX1837" fmla="*/ 808584 w 1135258"/>
                    <a:gd name="connsiteY1837" fmla="*/ 143998 h 479350"/>
                    <a:gd name="connsiteX1838" fmla="*/ 810459 w 1135258"/>
                    <a:gd name="connsiteY1838" fmla="*/ 143818 h 479350"/>
                    <a:gd name="connsiteX1839" fmla="*/ 811396 w 1135258"/>
                    <a:gd name="connsiteY1839" fmla="*/ 142474 h 479350"/>
                    <a:gd name="connsiteX1840" fmla="*/ 811656 w 1135258"/>
                    <a:gd name="connsiteY1840" fmla="*/ 140746 h 479350"/>
                    <a:gd name="connsiteX1841" fmla="*/ 812594 w 1135258"/>
                    <a:gd name="connsiteY1841" fmla="*/ 137519 h 479350"/>
                    <a:gd name="connsiteX1842" fmla="*/ 814778 w 1135258"/>
                    <a:gd name="connsiteY1842" fmla="*/ 135326 h 479350"/>
                    <a:gd name="connsiteX1843" fmla="*/ 816310 w 1135258"/>
                    <a:gd name="connsiteY1843" fmla="*/ 134984 h 479350"/>
                    <a:gd name="connsiteX1844" fmla="*/ 817394 w 1135258"/>
                    <a:gd name="connsiteY1844" fmla="*/ 134063 h 479350"/>
                    <a:gd name="connsiteX1845" fmla="*/ 817207 w 1135258"/>
                    <a:gd name="connsiteY1845" fmla="*/ 131667 h 479350"/>
                    <a:gd name="connsiteX1846" fmla="*/ 817321 w 1135258"/>
                    <a:gd name="connsiteY1846" fmla="*/ 129312 h 479350"/>
                    <a:gd name="connsiteX1847" fmla="*/ 818934 w 1135258"/>
                    <a:gd name="connsiteY1847" fmla="*/ 126793 h 479350"/>
                    <a:gd name="connsiteX1848" fmla="*/ 823930 w 1135258"/>
                    <a:gd name="connsiteY1848" fmla="*/ 123289 h 479350"/>
                    <a:gd name="connsiteX1849" fmla="*/ 826791 w 1135258"/>
                    <a:gd name="connsiteY1849" fmla="*/ 122042 h 479350"/>
                    <a:gd name="connsiteX1850" fmla="*/ 830482 w 1135258"/>
                    <a:gd name="connsiteY1850" fmla="*/ 121643 h 479350"/>
                    <a:gd name="connsiteX1851" fmla="*/ 830906 w 1135258"/>
                    <a:gd name="connsiteY1851" fmla="*/ 122979 h 479350"/>
                    <a:gd name="connsiteX1852" fmla="*/ 830474 w 1135258"/>
                    <a:gd name="connsiteY1852" fmla="*/ 124895 h 479350"/>
                    <a:gd name="connsiteX1853" fmla="*/ 831200 w 1135258"/>
                    <a:gd name="connsiteY1853" fmla="*/ 127788 h 479350"/>
                    <a:gd name="connsiteX1854" fmla="*/ 830841 w 1135258"/>
                    <a:gd name="connsiteY1854" fmla="*/ 135595 h 479350"/>
                    <a:gd name="connsiteX1855" fmla="*/ 830001 w 1135258"/>
                    <a:gd name="connsiteY1855" fmla="*/ 136704 h 479350"/>
                    <a:gd name="connsiteX1856" fmla="*/ 826171 w 1135258"/>
                    <a:gd name="connsiteY1856" fmla="*/ 139401 h 479350"/>
                    <a:gd name="connsiteX1857" fmla="*/ 821982 w 1135258"/>
                    <a:gd name="connsiteY1857" fmla="*/ 141561 h 479350"/>
                    <a:gd name="connsiteX1858" fmla="*/ 820809 w 1135258"/>
                    <a:gd name="connsiteY1858" fmla="*/ 142465 h 479350"/>
                    <a:gd name="connsiteX1859" fmla="*/ 819790 w 1135258"/>
                    <a:gd name="connsiteY1859" fmla="*/ 144617 h 479350"/>
                    <a:gd name="connsiteX1860" fmla="*/ 819863 w 1135258"/>
                    <a:gd name="connsiteY1860" fmla="*/ 146752 h 479350"/>
                    <a:gd name="connsiteX1861" fmla="*/ 823278 w 1135258"/>
                    <a:gd name="connsiteY1861" fmla="*/ 149596 h 479350"/>
                    <a:gd name="connsiteX1862" fmla="*/ 828559 w 1135258"/>
                    <a:gd name="connsiteY1862" fmla="*/ 152253 h 479350"/>
                    <a:gd name="connsiteX1863" fmla="*/ 829651 w 1135258"/>
                    <a:gd name="connsiteY1863" fmla="*/ 153500 h 479350"/>
                    <a:gd name="connsiteX1864" fmla="*/ 830368 w 1135258"/>
                    <a:gd name="connsiteY1864" fmla="*/ 155587 h 479350"/>
                    <a:gd name="connsiteX1865" fmla="*/ 830556 w 1135258"/>
                    <a:gd name="connsiteY1865" fmla="*/ 157934 h 479350"/>
                    <a:gd name="connsiteX1866" fmla="*/ 831835 w 1135258"/>
                    <a:gd name="connsiteY1866" fmla="*/ 159042 h 479350"/>
                    <a:gd name="connsiteX1867" fmla="*/ 833628 w 1135258"/>
                    <a:gd name="connsiteY1867" fmla="*/ 159580 h 479350"/>
                    <a:gd name="connsiteX1868" fmla="*/ 834818 w 1135258"/>
                    <a:gd name="connsiteY1868" fmla="*/ 160688 h 479350"/>
                    <a:gd name="connsiteX1869" fmla="*/ 835715 w 1135258"/>
                    <a:gd name="connsiteY1869" fmla="*/ 162245 h 479350"/>
                    <a:gd name="connsiteX1870" fmla="*/ 826807 w 1135258"/>
                    <a:gd name="connsiteY1870" fmla="*/ 158610 h 479350"/>
                    <a:gd name="connsiteX1871" fmla="*/ 824468 w 1135258"/>
                    <a:gd name="connsiteY1871" fmla="*/ 157004 h 479350"/>
                    <a:gd name="connsiteX1872" fmla="*/ 821648 w 1135258"/>
                    <a:gd name="connsiteY1872" fmla="*/ 156809 h 479350"/>
                    <a:gd name="connsiteX1873" fmla="*/ 818869 w 1135258"/>
                    <a:gd name="connsiteY1873" fmla="*/ 156320 h 479350"/>
                    <a:gd name="connsiteX1874" fmla="*/ 816017 w 1135258"/>
                    <a:gd name="connsiteY1874" fmla="*/ 154926 h 479350"/>
                    <a:gd name="connsiteX1875" fmla="*/ 812977 w 1135258"/>
                    <a:gd name="connsiteY1875" fmla="*/ 154600 h 479350"/>
                    <a:gd name="connsiteX1876" fmla="*/ 811518 w 1135258"/>
                    <a:gd name="connsiteY1876" fmla="*/ 155619 h 479350"/>
                    <a:gd name="connsiteX1877" fmla="*/ 810948 w 1135258"/>
                    <a:gd name="connsiteY1877" fmla="*/ 157591 h 479350"/>
                    <a:gd name="connsiteX1878" fmla="*/ 810597 w 1135258"/>
                    <a:gd name="connsiteY1878" fmla="*/ 159800 h 479350"/>
                    <a:gd name="connsiteX1879" fmla="*/ 811281 w 1135258"/>
                    <a:gd name="connsiteY1879" fmla="*/ 162554 h 479350"/>
                    <a:gd name="connsiteX1880" fmla="*/ 811208 w 1135258"/>
                    <a:gd name="connsiteY1880" fmla="*/ 164225 h 479350"/>
                    <a:gd name="connsiteX1881" fmla="*/ 810646 w 1135258"/>
                    <a:gd name="connsiteY1881" fmla="*/ 167249 h 479350"/>
                    <a:gd name="connsiteX1882" fmla="*/ 812846 w 1135258"/>
                    <a:gd name="connsiteY1882" fmla="*/ 176165 h 479350"/>
                    <a:gd name="connsiteX1883" fmla="*/ 815617 w 1135258"/>
                    <a:gd name="connsiteY1883" fmla="*/ 183255 h 479350"/>
                    <a:gd name="connsiteX1884" fmla="*/ 819684 w 1135258"/>
                    <a:gd name="connsiteY1884" fmla="*/ 190630 h 479350"/>
                    <a:gd name="connsiteX1885" fmla="*/ 821697 w 1135258"/>
                    <a:gd name="connsiteY1885" fmla="*/ 193165 h 479350"/>
                    <a:gd name="connsiteX1886" fmla="*/ 823955 w 1135258"/>
                    <a:gd name="connsiteY1886" fmla="*/ 195455 h 479350"/>
                    <a:gd name="connsiteX1887" fmla="*/ 820295 w 1135258"/>
                    <a:gd name="connsiteY1887" fmla="*/ 194770 h 479350"/>
                    <a:gd name="connsiteX1888" fmla="*/ 819179 w 1135258"/>
                    <a:gd name="connsiteY1888" fmla="*/ 192317 h 479350"/>
                    <a:gd name="connsiteX1889" fmla="*/ 814542 w 1135258"/>
                    <a:gd name="connsiteY1889" fmla="*/ 189856 h 479350"/>
                    <a:gd name="connsiteX1890" fmla="*/ 813670 w 1135258"/>
                    <a:gd name="connsiteY1890" fmla="*/ 188406 h 479350"/>
                    <a:gd name="connsiteX1891" fmla="*/ 810654 w 1135258"/>
                    <a:gd name="connsiteY1891" fmla="*/ 181405 h 479350"/>
                    <a:gd name="connsiteX1892" fmla="*/ 809766 w 1135258"/>
                    <a:gd name="connsiteY1892" fmla="*/ 180101 h 479350"/>
                    <a:gd name="connsiteX1893" fmla="*/ 806979 w 1135258"/>
                    <a:gd name="connsiteY1893" fmla="*/ 177721 h 479350"/>
                    <a:gd name="connsiteX1894" fmla="*/ 805756 w 1135258"/>
                    <a:gd name="connsiteY1894" fmla="*/ 175961 h 479350"/>
                    <a:gd name="connsiteX1895" fmla="*/ 805340 w 1135258"/>
                    <a:gd name="connsiteY1895" fmla="*/ 173597 h 479350"/>
                    <a:gd name="connsiteX1896" fmla="*/ 805650 w 1135258"/>
                    <a:gd name="connsiteY1896" fmla="*/ 171112 h 479350"/>
                    <a:gd name="connsiteX1897" fmla="*/ 805495 w 1135258"/>
                    <a:gd name="connsiteY1897" fmla="*/ 167681 h 479350"/>
                    <a:gd name="connsiteX1898" fmla="*/ 805593 w 1135258"/>
                    <a:gd name="connsiteY1898" fmla="*/ 164266 h 479350"/>
                    <a:gd name="connsiteX1899" fmla="*/ 806172 w 1135258"/>
                    <a:gd name="connsiteY1899" fmla="*/ 160101 h 479350"/>
                    <a:gd name="connsiteX1900" fmla="*/ 805178 w 1135258"/>
                    <a:gd name="connsiteY1900" fmla="*/ 158643 h 479350"/>
                    <a:gd name="connsiteX1901" fmla="*/ 803882 w 1135258"/>
                    <a:gd name="connsiteY1901" fmla="*/ 157265 h 479350"/>
                    <a:gd name="connsiteX1902" fmla="*/ 802366 w 1135258"/>
                    <a:gd name="connsiteY1902" fmla="*/ 154071 h 479350"/>
                    <a:gd name="connsiteX1903" fmla="*/ 801918 w 1135258"/>
                    <a:gd name="connsiteY1903" fmla="*/ 150436 h 479350"/>
                    <a:gd name="connsiteX1904" fmla="*/ 802032 w 1135258"/>
                    <a:gd name="connsiteY1904" fmla="*/ 148341 h 479350"/>
                    <a:gd name="connsiteX1905" fmla="*/ 802659 w 1135258"/>
                    <a:gd name="connsiteY1905" fmla="*/ 146491 h 479350"/>
                    <a:gd name="connsiteX1906" fmla="*/ 803499 w 1135258"/>
                    <a:gd name="connsiteY1906" fmla="*/ 144886 h 479350"/>
                    <a:gd name="connsiteX1907" fmla="*/ 803670 w 1135258"/>
                    <a:gd name="connsiteY1907" fmla="*/ 143321 h 479350"/>
                    <a:gd name="connsiteX1908" fmla="*/ 801494 w 1135258"/>
                    <a:gd name="connsiteY1908" fmla="*/ 141055 h 479350"/>
                    <a:gd name="connsiteX1909" fmla="*/ 799220 w 1135258"/>
                    <a:gd name="connsiteY1909" fmla="*/ 134593 h 479350"/>
                    <a:gd name="connsiteX1910" fmla="*/ 799016 w 1135258"/>
                    <a:gd name="connsiteY1910" fmla="*/ 131235 h 479350"/>
                    <a:gd name="connsiteX1911" fmla="*/ 801918 w 1135258"/>
                    <a:gd name="connsiteY1911" fmla="*/ 124781 h 479350"/>
                    <a:gd name="connsiteX1912" fmla="*/ 801852 w 1135258"/>
                    <a:gd name="connsiteY1912" fmla="*/ 121651 h 479350"/>
                    <a:gd name="connsiteX1913" fmla="*/ 802431 w 1135258"/>
                    <a:gd name="connsiteY1913" fmla="*/ 119793 h 479350"/>
                    <a:gd name="connsiteX1914" fmla="*/ 802749 w 1135258"/>
                    <a:gd name="connsiteY1914" fmla="*/ 117812 h 479350"/>
                    <a:gd name="connsiteX1915" fmla="*/ 804265 w 1135258"/>
                    <a:gd name="connsiteY1915" fmla="*/ 113518 h 479350"/>
                    <a:gd name="connsiteX1916" fmla="*/ 806742 w 1135258"/>
                    <a:gd name="connsiteY1916" fmla="*/ 109850 h 479350"/>
                    <a:gd name="connsiteX1917" fmla="*/ 810915 w 1135258"/>
                    <a:gd name="connsiteY1917" fmla="*/ 104724 h 479350"/>
                    <a:gd name="connsiteX1918" fmla="*/ 812512 w 1135258"/>
                    <a:gd name="connsiteY1918" fmla="*/ 103608 h 479350"/>
                    <a:gd name="connsiteX1919" fmla="*/ 814305 w 1135258"/>
                    <a:gd name="connsiteY1919" fmla="*/ 102882 h 479350"/>
                    <a:gd name="connsiteX1920" fmla="*/ 814468 w 1135258"/>
                    <a:gd name="connsiteY1920" fmla="*/ 104137 h 479350"/>
                    <a:gd name="connsiteX1921" fmla="*/ 814183 w 1135258"/>
                    <a:gd name="connsiteY1921" fmla="*/ 105254 h 479350"/>
                    <a:gd name="connsiteX1922" fmla="*/ 811086 w 1135258"/>
                    <a:gd name="connsiteY1922" fmla="*/ 110478 h 479350"/>
                    <a:gd name="connsiteX1923" fmla="*/ 810679 w 1135258"/>
                    <a:gd name="connsiteY1923" fmla="*/ 111659 h 479350"/>
                    <a:gd name="connsiteX1924" fmla="*/ 810597 w 1135258"/>
                    <a:gd name="connsiteY1924" fmla="*/ 113860 h 479350"/>
                    <a:gd name="connsiteX1925" fmla="*/ 812072 w 1135258"/>
                    <a:gd name="connsiteY1925" fmla="*/ 115156 h 479350"/>
                    <a:gd name="connsiteX1926" fmla="*/ 813670 w 1135258"/>
                    <a:gd name="connsiteY1926" fmla="*/ 117804 h 479350"/>
                    <a:gd name="connsiteX1927" fmla="*/ 813995 w 1135258"/>
                    <a:gd name="connsiteY1927" fmla="*/ 121333 h 479350"/>
                    <a:gd name="connsiteX1928" fmla="*/ 814045 w 1135258"/>
                    <a:gd name="connsiteY1928" fmla="*/ 125082 h 479350"/>
                    <a:gd name="connsiteX1929" fmla="*/ 813694 w 1135258"/>
                    <a:gd name="connsiteY1929" fmla="*/ 128872 h 479350"/>
                    <a:gd name="connsiteX1930" fmla="*/ 813099 w 1135258"/>
                    <a:gd name="connsiteY1930" fmla="*/ 130135 h 479350"/>
                    <a:gd name="connsiteX1931" fmla="*/ 810556 w 1135258"/>
                    <a:gd name="connsiteY1931" fmla="*/ 133924 h 479350"/>
                    <a:gd name="connsiteX1932" fmla="*/ 804786 w 1135258"/>
                    <a:gd name="connsiteY1932" fmla="*/ 138383 h 479350"/>
                    <a:gd name="connsiteX1933" fmla="*/ 804289 w 1135258"/>
                    <a:gd name="connsiteY1933" fmla="*/ 139474 h 479350"/>
                    <a:gd name="connsiteX1934" fmla="*/ 804330 w 1135258"/>
                    <a:gd name="connsiteY1934" fmla="*/ 140705 h 479350"/>
                    <a:gd name="connsiteX1935" fmla="*/ 805397 w 1135258"/>
                    <a:gd name="connsiteY1935" fmla="*/ 142188 h 479350"/>
                    <a:gd name="connsiteX1936" fmla="*/ 806783 w 1135258"/>
                    <a:gd name="connsiteY1936" fmla="*/ 143329 h 479350"/>
                    <a:gd name="connsiteX1937" fmla="*/ 824671 w 1135258"/>
                    <a:gd name="connsiteY1937" fmla="*/ 107299 h 479350"/>
                    <a:gd name="connsiteX1938" fmla="*/ 820752 w 1135258"/>
                    <a:gd name="connsiteY1938" fmla="*/ 107805 h 479350"/>
                    <a:gd name="connsiteX1939" fmla="*/ 819863 w 1135258"/>
                    <a:gd name="connsiteY1939" fmla="*/ 106370 h 479350"/>
                    <a:gd name="connsiteX1940" fmla="*/ 818828 w 1135258"/>
                    <a:gd name="connsiteY1940" fmla="*/ 99932 h 479350"/>
                    <a:gd name="connsiteX1941" fmla="*/ 821615 w 1135258"/>
                    <a:gd name="connsiteY1941" fmla="*/ 94781 h 479350"/>
                    <a:gd name="connsiteX1942" fmla="*/ 825128 w 1135258"/>
                    <a:gd name="connsiteY1942" fmla="*/ 91750 h 479350"/>
                    <a:gd name="connsiteX1943" fmla="*/ 827524 w 1135258"/>
                    <a:gd name="connsiteY1943" fmla="*/ 90984 h 479350"/>
                    <a:gd name="connsiteX1944" fmla="*/ 828355 w 1135258"/>
                    <a:gd name="connsiteY1944" fmla="*/ 90943 h 479350"/>
                    <a:gd name="connsiteX1945" fmla="*/ 830499 w 1135258"/>
                    <a:gd name="connsiteY1945" fmla="*/ 94651 h 479350"/>
                    <a:gd name="connsiteX1946" fmla="*/ 828893 w 1135258"/>
                    <a:gd name="connsiteY1946" fmla="*/ 102124 h 479350"/>
                    <a:gd name="connsiteX1947" fmla="*/ 827019 w 1135258"/>
                    <a:gd name="connsiteY1947" fmla="*/ 105938 h 479350"/>
                    <a:gd name="connsiteX1948" fmla="*/ 824671 w 1135258"/>
                    <a:gd name="connsiteY1948" fmla="*/ 107299 h 479350"/>
                    <a:gd name="connsiteX1949" fmla="*/ 529513 w 1135258"/>
                    <a:gd name="connsiteY1949" fmla="*/ 38141 h 479350"/>
                    <a:gd name="connsiteX1950" fmla="*/ 530401 w 1135258"/>
                    <a:gd name="connsiteY1950" fmla="*/ 38785 h 479350"/>
                    <a:gd name="connsiteX1951" fmla="*/ 531623 w 1135258"/>
                    <a:gd name="connsiteY1951" fmla="*/ 38760 h 479350"/>
                    <a:gd name="connsiteX1952" fmla="*/ 533099 w 1135258"/>
                    <a:gd name="connsiteY1952" fmla="*/ 38279 h 479350"/>
                    <a:gd name="connsiteX1953" fmla="*/ 536701 w 1135258"/>
                    <a:gd name="connsiteY1953" fmla="*/ 38727 h 479350"/>
                    <a:gd name="connsiteX1954" fmla="*/ 543082 w 1135258"/>
                    <a:gd name="connsiteY1954" fmla="*/ 38817 h 479350"/>
                    <a:gd name="connsiteX1955" fmla="*/ 547467 w 1135258"/>
                    <a:gd name="connsiteY1955" fmla="*/ 39950 h 479350"/>
                    <a:gd name="connsiteX1956" fmla="*/ 551761 w 1135258"/>
                    <a:gd name="connsiteY1956" fmla="*/ 43145 h 479350"/>
                    <a:gd name="connsiteX1957" fmla="*/ 553905 w 1135258"/>
                    <a:gd name="connsiteY1957" fmla="*/ 43788 h 479350"/>
                    <a:gd name="connsiteX1958" fmla="*/ 554834 w 1135258"/>
                    <a:gd name="connsiteY1958" fmla="*/ 43813 h 479350"/>
                    <a:gd name="connsiteX1959" fmla="*/ 554630 w 1135258"/>
                    <a:gd name="connsiteY1959" fmla="*/ 44066 h 479350"/>
                    <a:gd name="connsiteX1960" fmla="*/ 552927 w 1135258"/>
                    <a:gd name="connsiteY1960" fmla="*/ 44921 h 479350"/>
                    <a:gd name="connsiteX1961" fmla="*/ 552120 w 1135258"/>
                    <a:gd name="connsiteY1961" fmla="*/ 46641 h 479350"/>
                    <a:gd name="connsiteX1962" fmla="*/ 554451 w 1135258"/>
                    <a:gd name="connsiteY1962" fmla="*/ 49273 h 479350"/>
                    <a:gd name="connsiteX1963" fmla="*/ 554622 w 1135258"/>
                    <a:gd name="connsiteY1963" fmla="*/ 51025 h 479350"/>
                    <a:gd name="connsiteX1964" fmla="*/ 556440 w 1135258"/>
                    <a:gd name="connsiteY1964" fmla="*/ 52574 h 479350"/>
                    <a:gd name="connsiteX1965" fmla="*/ 558648 w 1135258"/>
                    <a:gd name="connsiteY1965" fmla="*/ 55011 h 479350"/>
                    <a:gd name="connsiteX1966" fmla="*/ 558730 w 1135258"/>
                    <a:gd name="connsiteY1966" fmla="*/ 55801 h 479350"/>
                    <a:gd name="connsiteX1967" fmla="*/ 559487 w 1135258"/>
                    <a:gd name="connsiteY1967" fmla="*/ 56893 h 479350"/>
                    <a:gd name="connsiteX1968" fmla="*/ 559862 w 1135258"/>
                    <a:gd name="connsiteY1968" fmla="*/ 58230 h 479350"/>
                    <a:gd name="connsiteX1969" fmla="*/ 558314 w 1135258"/>
                    <a:gd name="connsiteY1969" fmla="*/ 59566 h 479350"/>
                    <a:gd name="connsiteX1970" fmla="*/ 556211 w 1135258"/>
                    <a:gd name="connsiteY1970" fmla="*/ 59819 h 479350"/>
                    <a:gd name="connsiteX1971" fmla="*/ 554663 w 1135258"/>
                    <a:gd name="connsiteY1971" fmla="*/ 58564 h 479350"/>
                    <a:gd name="connsiteX1972" fmla="*/ 553237 w 1135258"/>
                    <a:gd name="connsiteY1972" fmla="*/ 56999 h 479350"/>
                    <a:gd name="connsiteX1973" fmla="*/ 552870 w 1135258"/>
                    <a:gd name="connsiteY1973" fmla="*/ 58947 h 479350"/>
                    <a:gd name="connsiteX1974" fmla="*/ 551753 w 1135258"/>
                    <a:gd name="connsiteY1974" fmla="*/ 60055 h 479350"/>
                    <a:gd name="connsiteX1975" fmla="*/ 547736 w 1135258"/>
                    <a:gd name="connsiteY1975" fmla="*/ 59737 h 479350"/>
                    <a:gd name="connsiteX1976" fmla="*/ 544851 w 1135258"/>
                    <a:gd name="connsiteY1976" fmla="*/ 59746 h 479350"/>
                    <a:gd name="connsiteX1977" fmla="*/ 541982 w 1135258"/>
                    <a:gd name="connsiteY1977" fmla="*/ 60235 h 479350"/>
                    <a:gd name="connsiteX1978" fmla="*/ 543416 w 1135258"/>
                    <a:gd name="connsiteY1978" fmla="*/ 60536 h 479350"/>
                    <a:gd name="connsiteX1979" fmla="*/ 544720 w 1135258"/>
                    <a:gd name="connsiteY1979" fmla="*/ 61156 h 479350"/>
                    <a:gd name="connsiteX1980" fmla="*/ 549178 w 1135258"/>
                    <a:gd name="connsiteY1980" fmla="*/ 66111 h 479350"/>
                    <a:gd name="connsiteX1981" fmla="*/ 550132 w 1135258"/>
                    <a:gd name="connsiteY1981" fmla="*/ 67944 h 479350"/>
                    <a:gd name="connsiteX1982" fmla="*/ 548583 w 1135258"/>
                    <a:gd name="connsiteY1982" fmla="*/ 71595 h 479350"/>
                    <a:gd name="connsiteX1983" fmla="*/ 549341 w 1135258"/>
                    <a:gd name="connsiteY1983" fmla="*/ 73087 h 479350"/>
                    <a:gd name="connsiteX1984" fmla="*/ 551061 w 1135258"/>
                    <a:gd name="connsiteY1984" fmla="*/ 73943 h 479350"/>
                    <a:gd name="connsiteX1985" fmla="*/ 553172 w 1135258"/>
                    <a:gd name="connsiteY1985" fmla="*/ 75760 h 479350"/>
                    <a:gd name="connsiteX1986" fmla="*/ 554663 w 1135258"/>
                    <a:gd name="connsiteY1986" fmla="*/ 75939 h 479350"/>
                    <a:gd name="connsiteX1987" fmla="*/ 555739 w 1135258"/>
                    <a:gd name="connsiteY1987" fmla="*/ 76958 h 479350"/>
                    <a:gd name="connsiteX1988" fmla="*/ 555788 w 1135258"/>
                    <a:gd name="connsiteY1988" fmla="*/ 78743 h 479350"/>
                    <a:gd name="connsiteX1989" fmla="*/ 556423 w 1135258"/>
                    <a:gd name="connsiteY1989" fmla="*/ 80356 h 479350"/>
                    <a:gd name="connsiteX1990" fmla="*/ 554720 w 1135258"/>
                    <a:gd name="connsiteY1990" fmla="*/ 81008 h 479350"/>
                    <a:gd name="connsiteX1991" fmla="*/ 556399 w 1135258"/>
                    <a:gd name="connsiteY1991" fmla="*/ 81440 h 479350"/>
                    <a:gd name="connsiteX1992" fmla="*/ 557907 w 1135258"/>
                    <a:gd name="connsiteY1992" fmla="*/ 82272 h 479350"/>
                    <a:gd name="connsiteX1993" fmla="*/ 557083 w 1135258"/>
                    <a:gd name="connsiteY1993" fmla="*/ 83111 h 479350"/>
                    <a:gd name="connsiteX1994" fmla="*/ 556448 w 1135258"/>
                    <a:gd name="connsiteY1994" fmla="*/ 84130 h 479350"/>
                    <a:gd name="connsiteX1995" fmla="*/ 557141 w 1135258"/>
                    <a:gd name="connsiteY1995" fmla="*/ 84676 h 479350"/>
                    <a:gd name="connsiteX1996" fmla="*/ 559202 w 1135258"/>
                    <a:gd name="connsiteY1996" fmla="*/ 85613 h 479350"/>
                    <a:gd name="connsiteX1997" fmla="*/ 560091 w 1135258"/>
                    <a:gd name="connsiteY1997" fmla="*/ 86477 h 479350"/>
                    <a:gd name="connsiteX1998" fmla="*/ 560571 w 1135258"/>
                    <a:gd name="connsiteY1998" fmla="*/ 88808 h 479350"/>
                    <a:gd name="connsiteX1999" fmla="*/ 562568 w 1135258"/>
                    <a:gd name="connsiteY1999" fmla="*/ 92622 h 479350"/>
                    <a:gd name="connsiteX2000" fmla="*/ 566252 w 1135258"/>
                    <a:gd name="connsiteY2000" fmla="*/ 97536 h 479350"/>
                    <a:gd name="connsiteX2001" fmla="*/ 567059 w 1135258"/>
                    <a:gd name="connsiteY2001" fmla="*/ 99329 h 479350"/>
                    <a:gd name="connsiteX2002" fmla="*/ 567051 w 1135258"/>
                    <a:gd name="connsiteY2002" fmla="*/ 100983 h 479350"/>
                    <a:gd name="connsiteX2003" fmla="*/ 566439 w 1135258"/>
                    <a:gd name="connsiteY2003" fmla="*/ 102401 h 479350"/>
                    <a:gd name="connsiteX2004" fmla="*/ 564337 w 1135258"/>
                    <a:gd name="connsiteY2004" fmla="*/ 104064 h 479350"/>
                    <a:gd name="connsiteX2005" fmla="*/ 562666 w 1135258"/>
                    <a:gd name="connsiteY2005" fmla="*/ 106248 h 479350"/>
                    <a:gd name="connsiteX2006" fmla="*/ 562462 w 1135258"/>
                    <a:gd name="connsiteY2006" fmla="*/ 107039 h 479350"/>
                    <a:gd name="connsiteX2007" fmla="*/ 560197 w 1135258"/>
                    <a:gd name="connsiteY2007" fmla="*/ 108049 h 479350"/>
                    <a:gd name="connsiteX2008" fmla="*/ 561232 w 1135258"/>
                    <a:gd name="connsiteY2008" fmla="*/ 108799 h 479350"/>
                    <a:gd name="connsiteX2009" fmla="*/ 562063 w 1135258"/>
                    <a:gd name="connsiteY2009" fmla="*/ 109801 h 479350"/>
                    <a:gd name="connsiteX2010" fmla="*/ 563636 w 1135258"/>
                    <a:gd name="connsiteY2010" fmla="*/ 112849 h 479350"/>
                    <a:gd name="connsiteX2011" fmla="*/ 567409 w 1135258"/>
                    <a:gd name="connsiteY2011" fmla="*/ 117788 h 479350"/>
                    <a:gd name="connsiteX2012" fmla="*/ 569300 w 1135258"/>
                    <a:gd name="connsiteY2012" fmla="*/ 119630 h 479350"/>
                    <a:gd name="connsiteX2013" fmla="*/ 577107 w 1135258"/>
                    <a:gd name="connsiteY2013" fmla="*/ 126329 h 479350"/>
                    <a:gd name="connsiteX2014" fmla="*/ 581263 w 1135258"/>
                    <a:gd name="connsiteY2014" fmla="*/ 129255 h 479350"/>
                    <a:gd name="connsiteX2015" fmla="*/ 586561 w 1135258"/>
                    <a:gd name="connsiteY2015" fmla="*/ 135929 h 479350"/>
                    <a:gd name="connsiteX2016" fmla="*/ 589307 w 1135258"/>
                    <a:gd name="connsiteY2016" fmla="*/ 137470 h 479350"/>
                    <a:gd name="connsiteX2017" fmla="*/ 589837 w 1135258"/>
                    <a:gd name="connsiteY2017" fmla="*/ 139336 h 479350"/>
                    <a:gd name="connsiteX2018" fmla="*/ 587539 w 1135258"/>
                    <a:gd name="connsiteY2018" fmla="*/ 142180 h 479350"/>
                    <a:gd name="connsiteX2019" fmla="*/ 584198 w 1135258"/>
                    <a:gd name="connsiteY2019" fmla="*/ 143606 h 479350"/>
                    <a:gd name="connsiteX2020" fmla="*/ 578680 w 1135258"/>
                    <a:gd name="connsiteY2020" fmla="*/ 144381 h 479350"/>
                    <a:gd name="connsiteX2021" fmla="*/ 573130 w 1135258"/>
                    <a:gd name="connsiteY2021" fmla="*/ 143370 h 479350"/>
                    <a:gd name="connsiteX2022" fmla="*/ 570269 w 1135258"/>
                    <a:gd name="connsiteY2022" fmla="*/ 142547 h 479350"/>
                    <a:gd name="connsiteX2023" fmla="*/ 567776 w 1135258"/>
                    <a:gd name="connsiteY2023" fmla="*/ 140909 h 479350"/>
                    <a:gd name="connsiteX2024" fmla="*/ 565812 w 1135258"/>
                    <a:gd name="connsiteY2024" fmla="*/ 137616 h 479350"/>
                    <a:gd name="connsiteX2025" fmla="*/ 563212 w 1135258"/>
                    <a:gd name="connsiteY2025" fmla="*/ 135832 h 479350"/>
                    <a:gd name="connsiteX2026" fmla="*/ 564214 w 1135258"/>
                    <a:gd name="connsiteY2026" fmla="*/ 137828 h 479350"/>
                    <a:gd name="connsiteX2027" fmla="*/ 564842 w 1135258"/>
                    <a:gd name="connsiteY2027" fmla="*/ 139866 h 479350"/>
                    <a:gd name="connsiteX2028" fmla="*/ 564516 w 1135258"/>
                    <a:gd name="connsiteY2028" fmla="*/ 142082 h 479350"/>
                    <a:gd name="connsiteX2029" fmla="*/ 563497 w 1135258"/>
                    <a:gd name="connsiteY2029" fmla="*/ 143827 h 479350"/>
                    <a:gd name="connsiteX2030" fmla="*/ 561745 w 1135258"/>
                    <a:gd name="connsiteY2030" fmla="*/ 145106 h 479350"/>
                    <a:gd name="connsiteX2031" fmla="*/ 559870 w 1135258"/>
                    <a:gd name="connsiteY2031" fmla="*/ 146133 h 479350"/>
                    <a:gd name="connsiteX2032" fmla="*/ 559080 w 1135258"/>
                    <a:gd name="connsiteY2032" fmla="*/ 146866 h 479350"/>
                    <a:gd name="connsiteX2033" fmla="*/ 554321 w 1135258"/>
                    <a:gd name="connsiteY2033" fmla="*/ 158496 h 479350"/>
                    <a:gd name="connsiteX2034" fmla="*/ 553555 w 1135258"/>
                    <a:gd name="connsiteY2034" fmla="*/ 161650 h 479350"/>
                    <a:gd name="connsiteX2035" fmla="*/ 552104 w 1135258"/>
                    <a:gd name="connsiteY2035" fmla="*/ 174714 h 479350"/>
                    <a:gd name="connsiteX2036" fmla="*/ 552079 w 1135258"/>
                    <a:gd name="connsiteY2036" fmla="*/ 178406 h 479350"/>
                    <a:gd name="connsiteX2037" fmla="*/ 554223 w 1135258"/>
                    <a:gd name="connsiteY2037" fmla="*/ 185317 h 479350"/>
                    <a:gd name="connsiteX2038" fmla="*/ 554402 w 1135258"/>
                    <a:gd name="connsiteY2038" fmla="*/ 188935 h 479350"/>
                    <a:gd name="connsiteX2039" fmla="*/ 554834 w 1135258"/>
                    <a:gd name="connsiteY2039" fmla="*/ 190500 h 479350"/>
                    <a:gd name="connsiteX2040" fmla="*/ 554557 w 1135258"/>
                    <a:gd name="connsiteY2040" fmla="*/ 191796 h 479350"/>
                    <a:gd name="connsiteX2041" fmla="*/ 553546 w 1135258"/>
                    <a:gd name="connsiteY2041" fmla="*/ 192570 h 479350"/>
                    <a:gd name="connsiteX2042" fmla="*/ 549455 w 1135258"/>
                    <a:gd name="connsiteY2042" fmla="*/ 194673 h 479350"/>
                    <a:gd name="connsiteX2043" fmla="*/ 546570 w 1135258"/>
                    <a:gd name="connsiteY2043" fmla="*/ 196433 h 479350"/>
                    <a:gd name="connsiteX2044" fmla="*/ 544223 w 1135258"/>
                    <a:gd name="connsiteY2044" fmla="*/ 198927 h 479350"/>
                    <a:gd name="connsiteX2045" fmla="*/ 542332 w 1135258"/>
                    <a:gd name="connsiteY2045" fmla="*/ 202040 h 479350"/>
                    <a:gd name="connsiteX2046" fmla="*/ 540678 w 1135258"/>
                    <a:gd name="connsiteY2046" fmla="*/ 204281 h 479350"/>
                    <a:gd name="connsiteX2047" fmla="*/ 538469 w 1135258"/>
                    <a:gd name="connsiteY2047" fmla="*/ 205357 h 479350"/>
                    <a:gd name="connsiteX2048" fmla="*/ 536864 w 1135258"/>
                    <a:gd name="connsiteY2048" fmla="*/ 205194 h 479350"/>
                    <a:gd name="connsiteX2049" fmla="*/ 535560 w 1135258"/>
                    <a:gd name="connsiteY2049" fmla="*/ 204159 h 479350"/>
                    <a:gd name="connsiteX2050" fmla="*/ 534664 w 1135258"/>
                    <a:gd name="connsiteY2050" fmla="*/ 202162 h 479350"/>
                    <a:gd name="connsiteX2051" fmla="*/ 534158 w 1135258"/>
                    <a:gd name="connsiteY2051" fmla="*/ 199978 h 479350"/>
                    <a:gd name="connsiteX2052" fmla="*/ 533816 w 1135258"/>
                    <a:gd name="connsiteY2052" fmla="*/ 201600 h 479350"/>
                    <a:gd name="connsiteX2053" fmla="*/ 533881 w 1135258"/>
                    <a:gd name="connsiteY2053" fmla="*/ 203157 h 479350"/>
                    <a:gd name="connsiteX2054" fmla="*/ 534639 w 1135258"/>
                    <a:gd name="connsiteY2054" fmla="*/ 204844 h 479350"/>
                    <a:gd name="connsiteX2055" fmla="*/ 534924 w 1135258"/>
                    <a:gd name="connsiteY2055" fmla="*/ 206637 h 479350"/>
                    <a:gd name="connsiteX2056" fmla="*/ 534492 w 1135258"/>
                    <a:gd name="connsiteY2056" fmla="*/ 208454 h 479350"/>
                    <a:gd name="connsiteX2057" fmla="*/ 533547 w 1135258"/>
                    <a:gd name="connsiteY2057" fmla="*/ 209905 h 479350"/>
                    <a:gd name="connsiteX2058" fmla="*/ 530980 w 1135258"/>
                    <a:gd name="connsiteY2058" fmla="*/ 211486 h 479350"/>
                    <a:gd name="connsiteX2059" fmla="*/ 529570 w 1135258"/>
                    <a:gd name="connsiteY2059" fmla="*/ 212847 h 479350"/>
                    <a:gd name="connsiteX2060" fmla="*/ 529334 w 1135258"/>
                    <a:gd name="connsiteY2060" fmla="*/ 215218 h 479350"/>
                    <a:gd name="connsiteX2061" fmla="*/ 528649 w 1135258"/>
                    <a:gd name="connsiteY2061" fmla="*/ 216563 h 479350"/>
                    <a:gd name="connsiteX2062" fmla="*/ 527663 w 1135258"/>
                    <a:gd name="connsiteY2062" fmla="*/ 217598 h 479350"/>
                    <a:gd name="connsiteX2063" fmla="*/ 524044 w 1135258"/>
                    <a:gd name="connsiteY2063" fmla="*/ 219986 h 479350"/>
                    <a:gd name="connsiteX2064" fmla="*/ 523237 w 1135258"/>
                    <a:gd name="connsiteY2064" fmla="*/ 220947 h 479350"/>
                    <a:gd name="connsiteX2065" fmla="*/ 522651 w 1135258"/>
                    <a:gd name="connsiteY2065" fmla="*/ 222154 h 479350"/>
                    <a:gd name="connsiteX2066" fmla="*/ 524574 w 1135258"/>
                    <a:gd name="connsiteY2066" fmla="*/ 221974 h 479350"/>
                    <a:gd name="connsiteX2067" fmla="*/ 526334 w 1135258"/>
                    <a:gd name="connsiteY2067" fmla="*/ 222154 h 479350"/>
                    <a:gd name="connsiteX2068" fmla="*/ 526473 w 1135258"/>
                    <a:gd name="connsiteY2068" fmla="*/ 224525 h 479350"/>
                    <a:gd name="connsiteX2069" fmla="*/ 527019 w 1135258"/>
                    <a:gd name="connsiteY2069" fmla="*/ 226294 h 479350"/>
                    <a:gd name="connsiteX2070" fmla="*/ 526318 w 1135258"/>
                    <a:gd name="connsiteY2070" fmla="*/ 230165 h 479350"/>
                    <a:gd name="connsiteX2071" fmla="*/ 523604 w 1135258"/>
                    <a:gd name="connsiteY2071" fmla="*/ 232781 h 479350"/>
                    <a:gd name="connsiteX2072" fmla="*/ 524957 w 1135258"/>
                    <a:gd name="connsiteY2072" fmla="*/ 233335 h 479350"/>
                    <a:gd name="connsiteX2073" fmla="*/ 526172 w 1135258"/>
                    <a:gd name="connsiteY2073" fmla="*/ 234182 h 479350"/>
                    <a:gd name="connsiteX2074" fmla="*/ 528910 w 1135258"/>
                    <a:gd name="connsiteY2074" fmla="*/ 234810 h 479350"/>
                    <a:gd name="connsiteX2075" fmla="*/ 529831 w 1135258"/>
                    <a:gd name="connsiteY2075" fmla="*/ 237565 h 479350"/>
                    <a:gd name="connsiteX2076" fmla="*/ 529431 w 1135258"/>
                    <a:gd name="connsiteY2076" fmla="*/ 240890 h 479350"/>
                    <a:gd name="connsiteX2077" fmla="*/ 528926 w 1135258"/>
                    <a:gd name="connsiteY2077" fmla="*/ 243873 h 479350"/>
                    <a:gd name="connsiteX2078" fmla="*/ 526970 w 1135258"/>
                    <a:gd name="connsiteY2078" fmla="*/ 244712 h 479350"/>
                    <a:gd name="connsiteX2079" fmla="*/ 525756 w 1135258"/>
                    <a:gd name="connsiteY2079" fmla="*/ 244158 h 479350"/>
                    <a:gd name="connsiteX2080" fmla="*/ 524550 w 1135258"/>
                    <a:gd name="connsiteY2080" fmla="*/ 244207 h 479350"/>
                    <a:gd name="connsiteX2081" fmla="*/ 523670 w 1135258"/>
                    <a:gd name="connsiteY2081" fmla="*/ 245111 h 479350"/>
                    <a:gd name="connsiteX2082" fmla="*/ 523433 w 1135258"/>
                    <a:gd name="connsiteY2082" fmla="*/ 246660 h 479350"/>
                    <a:gd name="connsiteX2083" fmla="*/ 525128 w 1135258"/>
                    <a:gd name="connsiteY2083" fmla="*/ 245894 h 479350"/>
                    <a:gd name="connsiteX2084" fmla="*/ 525031 w 1135258"/>
                    <a:gd name="connsiteY2084" fmla="*/ 249757 h 479350"/>
                    <a:gd name="connsiteX2085" fmla="*/ 524574 w 1135258"/>
                    <a:gd name="connsiteY2085" fmla="*/ 253538 h 479350"/>
                    <a:gd name="connsiteX2086" fmla="*/ 524012 w 1135258"/>
                    <a:gd name="connsiteY2086" fmla="*/ 255608 h 479350"/>
                    <a:gd name="connsiteX2087" fmla="*/ 522985 w 1135258"/>
                    <a:gd name="connsiteY2087" fmla="*/ 257303 h 479350"/>
                    <a:gd name="connsiteX2088" fmla="*/ 521420 w 1135258"/>
                    <a:gd name="connsiteY2088" fmla="*/ 257849 h 479350"/>
                    <a:gd name="connsiteX2089" fmla="*/ 519937 w 1135258"/>
                    <a:gd name="connsiteY2089" fmla="*/ 256578 h 479350"/>
                    <a:gd name="connsiteX2090" fmla="*/ 519636 w 1135258"/>
                    <a:gd name="connsiteY2090" fmla="*/ 258053 h 479350"/>
                    <a:gd name="connsiteX2091" fmla="*/ 520092 w 1135258"/>
                    <a:gd name="connsiteY2091" fmla="*/ 259300 h 479350"/>
                    <a:gd name="connsiteX2092" fmla="*/ 522194 w 1135258"/>
                    <a:gd name="connsiteY2092" fmla="*/ 262323 h 479350"/>
                    <a:gd name="connsiteX2093" fmla="*/ 520906 w 1135258"/>
                    <a:gd name="connsiteY2093" fmla="*/ 262992 h 479350"/>
                    <a:gd name="connsiteX2094" fmla="*/ 519969 w 1135258"/>
                    <a:gd name="connsiteY2094" fmla="*/ 264027 h 479350"/>
                    <a:gd name="connsiteX2095" fmla="*/ 519538 w 1135258"/>
                    <a:gd name="connsiteY2095" fmla="*/ 265526 h 479350"/>
                    <a:gd name="connsiteX2096" fmla="*/ 517239 w 1135258"/>
                    <a:gd name="connsiteY2096" fmla="*/ 268982 h 479350"/>
                    <a:gd name="connsiteX2097" fmla="*/ 516229 w 1135258"/>
                    <a:gd name="connsiteY2097" fmla="*/ 271525 h 479350"/>
                    <a:gd name="connsiteX2098" fmla="*/ 515805 w 1135258"/>
                    <a:gd name="connsiteY2098" fmla="*/ 274222 h 479350"/>
                    <a:gd name="connsiteX2099" fmla="*/ 514729 w 1135258"/>
                    <a:gd name="connsiteY2099" fmla="*/ 276374 h 479350"/>
                    <a:gd name="connsiteX2100" fmla="*/ 497419 w 1135258"/>
                    <a:gd name="connsiteY2100" fmla="*/ 285713 h 479350"/>
                    <a:gd name="connsiteX2101" fmla="*/ 483410 w 1135258"/>
                    <a:gd name="connsiteY2101" fmla="*/ 293610 h 479350"/>
                    <a:gd name="connsiteX2102" fmla="*/ 482399 w 1135258"/>
                    <a:gd name="connsiteY2102" fmla="*/ 293073 h 479350"/>
                    <a:gd name="connsiteX2103" fmla="*/ 481715 w 1135258"/>
                    <a:gd name="connsiteY2103" fmla="*/ 291874 h 479350"/>
                    <a:gd name="connsiteX2104" fmla="*/ 481242 w 1135258"/>
                    <a:gd name="connsiteY2104" fmla="*/ 279634 h 479350"/>
                    <a:gd name="connsiteX2105" fmla="*/ 479506 w 1135258"/>
                    <a:gd name="connsiteY2105" fmla="*/ 273366 h 479350"/>
                    <a:gd name="connsiteX2106" fmla="*/ 479245 w 1135258"/>
                    <a:gd name="connsiteY2106" fmla="*/ 269838 h 479350"/>
                    <a:gd name="connsiteX2107" fmla="*/ 477273 w 1135258"/>
                    <a:gd name="connsiteY2107" fmla="*/ 272983 h 479350"/>
                    <a:gd name="connsiteX2108" fmla="*/ 476067 w 1135258"/>
                    <a:gd name="connsiteY2108" fmla="*/ 272666 h 479350"/>
                    <a:gd name="connsiteX2109" fmla="*/ 474755 w 1135258"/>
                    <a:gd name="connsiteY2109" fmla="*/ 271859 h 479350"/>
                    <a:gd name="connsiteX2110" fmla="*/ 473768 w 1135258"/>
                    <a:gd name="connsiteY2110" fmla="*/ 270832 h 479350"/>
                    <a:gd name="connsiteX2111" fmla="*/ 473703 w 1135258"/>
                    <a:gd name="connsiteY2111" fmla="*/ 269471 h 479350"/>
                    <a:gd name="connsiteX2112" fmla="*/ 474755 w 1135258"/>
                    <a:gd name="connsiteY2112" fmla="*/ 265592 h 479350"/>
                    <a:gd name="connsiteX2113" fmla="*/ 473475 w 1135258"/>
                    <a:gd name="connsiteY2113" fmla="*/ 267719 h 479350"/>
                    <a:gd name="connsiteX2114" fmla="*/ 472082 w 1135258"/>
                    <a:gd name="connsiteY2114" fmla="*/ 269365 h 479350"/>
                    <a:gd name="connsiteX2115" fmla="*/ 470623 w 1135258"/>
                    <a:gd name="connsiteY2115" fmla="*/ 269161 h 479350"/>
                    <a:gd name="connsiteX2116" fmla="*/ 469384 w 1135258"/>
                    <a:gd name="connsiteY2116" fmla="*/ 268362 h 479350"/>
                    <a:gd name="connsiteX2117" fmla="*/ 468920 w 1135258"/>
                    <a:gd name="connsiteY2117" fmla="*/ 267091 h 479350"/>
                    <a:gd name="connsiteX2118" fmla="*/ 468251 w 1135258"/>
                    <a:gd name="connsiteY2118" fmla="*/ 266912 h 479350"/>
                    <a:gd name="connsiteX2119" fmla="*/ 465195 w 1135258"/>
                    <a:gd name="connsiteY2119" fmla="*/ 270367 h 479350"/>
                    <a:gd name="connsiteX2120" fmla="*/ 461153 w 1135258"/>
                    <a:gd name="connsiteY2120" fmla="*/ 272225 h 479350"/>
                    <a:gd name="connsiteX2121" fmla="*/ 458903 w 1135258"/>
                    <a:gd name="connsiteY2121" fmla="*/ 272201 h 479350"/>
                    <a:gd name="connsiteX2122" fmla="*/ 457135 w 1135258"/>
                    <a:gd name="connsiteY2122" fmla="*/ 271134 h 479350"/>
                    <a:gd name="connsiteX2123" fmla="*/ 457217 w 1135258"/>
                    <a:gd name="connsiteY2123" fmla="*/ 268509 h 479350"/>
                    <a:gd name="connsiteX2124" fmla="*/ 457045 w 1135258"/>
                    <a:gd name="connsiteY2124" fmla="*/ 265934 h 479350"/>
                    <a:gd name="connsiteX2125" fmla="*/ 456548 w 1135258"/>
                    <a:gd name="connsiteY2125" fmla="*/ 264418 h 479350"/>
                    <a:gd name="connsiteX2126" fmla="*/ 455464 w 1135258"/>
                    <a:gd name="connsiteY2126" fmla="*/ 263880 h 479350"/>
                    <a:gd name="connsiteX2127" fmla="*/ 454454 w 1135258"/>
                    <a:gd name="connsiteY2127" fmla="*/ 264076 h 479350"/>
                    <a:gd name="connsiteX2128" fmla="*/ 451561 w 1135258"/>
                    <a:gd name="connsiteY2128" fmla="*/ 265420 h 479350"/>
                    <a:gd name="connsiteX2129" fmla="*/ 450525 w 1135258"/>
                    <a:gd name="connsiteY2129" fmla="*/ 265249 h 479350"/>
                    <a:gd name="connsiteX2130" fmla="*/ 449931 w 1135258"/>
                    <a:gd name="connsiteY2130" fmla="*/ 265934 h 479350"/>
                    <a:gd name="connsiteX2131" fmla="*/ 442270 w 1135258"/>
                    <a:gd name="connsiteY2131" fmla="*/ 256570 h 479350"/>
                    <a:gd name="connsiteX2132" fmla="*/ 440721 w 1135258"/>
                    <a:gd name="connsiteY2132" fmla="*/ 264157 h 479350"/>
                    <a:gd name="connsiteX2133" fmla="*/ 435432 w 1135258"/>
                    <a:gd name="connsiteY2133" fmla="*/ 268208 h 479350"/>
                    <a:gd name="connsiteX2134" fmla="*/ 431520 w 1135258"/>
                    <a:gd name="connsiteY2134" fmla="*/ 270555 h 479350"/>
                    <a:gd name="connsiteX2135" fmla="*/ 427641 w 1135258"/>
                    <a:gd name="connsiteY2135" fmla="*/ 269683 h 479350"/>
                    <a:gd name="connsiteX2136" fmla="*/ 423697 w 1135258"/>
                    <a:gd name="connsiteY2136" fmla="*/ 268167 h 479350"/>
                    <a:gd name="connsiteX2137" fmla="*/ 419785 w 1135258"/>
                    <a:gd name="connsiteY2137" fmla="*/ 269984 h 479350"/>
                    <a:gd name="connsiteX2138" fmla="*/ 415530 w 1135258"/>
                    <a:gd name="connsiteY2138" fmla="*/ 274434 h 479350"/>
                    <a:gd name="connsiteX2139" fmla="*/ 414341 w 1135258"/>
                    <a:gd name="connsiteY2139" fmla="*/ 275119 h 479350"/>
                    <a:gd name="connsiteX2140" fmla="*/ 413118 w 1135258"/>
                    <a:gd name="connsiteY2140" fmla="*/ 275094 h 479350"/>
                    <a:gd name="connsiteX2141" fmla="*/ 412222 w 1135258"/>
                    <a:gd name="connsiteY2141" fmla="*/ 274516 h 479350"/>
                    <a:gd name="connsiteX2142" fmla="*/ 412539 w 1135258"/>
                    <a:gd name="connsiteY2142" fmla="*/ 271150 h 479350"/>
                    <a:gd name="connsiteX2143" fmla="*/ 412564 w 1135258"/>
                    <a:gd name="connsiteY2143" fmla="*/ 267784 h 479350"/>
                    <a:gd name="connsiteX2144" fmla="*/ 412254 w 1135258"/>
                    <a:gd name="connsiteY2144" fmla="*/ 260278 h 479350"/>
                    <a:gd name="connsiteX2145" fmla="*/ 411912 w 1135258"/>
                    <a:gd name="connsiteY2145" fmla="*/ 258811 h 479350"/>
                    <a:gd name="connsiteX2146" fmla="*/ 410698 w 1135258"/>
                    <a:gd name="connsiteY2146" fmla="*/ 256741 h 479350"/>
                    <a:gd name="connsiteX2147" fmla="*/ 409084 w 1135258"/>
                    <a:gd name="connsiteY2147" fmla="*/ 255250 h 479350"/>
                    <a:gd name="connsiteX2148" fmla="*/ 408172 w 1135258"/>
                    <a:gd name="connsiteY2148" fmla="*/ 256334 h 479350"/>
                    <a:gd name="connsiteX2149" fmla="*/ 407356 w 1135258"/>
                    <a:gd name="connsiteY2149" fmla="*/ 257825 h 479350"/>
                    <a:gd name="connsiteX2150" fmla="*/ 404129 w 1135258"/>
                    <a:gd name="connsiteY2150" fmla="*/ 257760 h 479350"/>
                    <a:gd name="connsiteX2151" fmla="*/ 400967 w 1135258"/>
                    <a:gd name="connsiteY2151" fmla="*/ 256570 h 479350"/>
                    <a:gd name="connsiteX2152" fmla="*/ 398277 w 1135258"/>
                    <a:gd name="connsiteY2152" fmla="*/ 257255 h 479350"/>
                    <a:gd name="connsiteX2153" fmla="*/ 392948 w 1135258"/>
                    <a:gd name="connsiteY2153" fmla="*/ 260221 h 479350"/>
                    <a:gd name="connsiteX2154" fmla="*/ 390112 w 1135258"/>
                    <a:gd name="connsiteY2154" fmla="*/ 260694 h 479350"/>
                    <a:gd name="connsiteX2155" fmla="*/ 388588 w 1135258"/>
                    <a:gd name="connsiteY2155" fmla="*/ 260009 h 479350"/>
                    <a:gd name="connsiteX2156" fmla="*/ 387618 w 1135258"/>
                    <a:gd name="connsiteY2156" fmla="*/ 258412 h 479350"/>
                    <a:gd name="connsiteX2157" fmla="*/ 388172 w 1135258"/>
                    <a:gd name="connsiteY2157" fmla="*/ 256945 h 479350"/>
                    <a:gd name="connsiteX2158" fmla="*/ 389354 w 1135258"/>
                    <a:gd name="connsiteY2158" fmla="*/ 255812 h 479350"/>
                    <a:gd name="connsiteX2159" fmla="*/ 387153 w 1135258"/>
                    <a:gd name="connsiteY2159" fmla="*/ 256708 h 479350"/>
                    <a:gd name="connsiteX2160" fmla="*/ 385287 w 1135258"/>
                    <a:gd name="connsiteY2160" fmla="*/ 258216 h 479350"/>
                    <a:gd name="connsiteX2161" fmla="*/ 384464 w 1135258"/>
                    <a:gd name="connsiteY2161" fmla="*/ 259178 h 479350"/>
                    <a:gd name="connsiteX2162" fmla="*/ 383616 w 1135258"/>
                    <a:gd name="connsiteY2162" fmla="*/ 258697 h 479350"/>
                    <a:gd name="connsiteX2163" fmla="*/ 381277 w 1135258"/>
                    <a:gd name="connsiteY2163" fmla="*/ 255298 h 479350"/>
                    <a:gd name="connsiteX2164" fmla="*/ 376395 w 1135258"/>
                    <a:gd name="connsiteY2164" fmla="*/ 256562 h 479350"/>
                    <a:gd name="connsiteX2165" fmla="*/ 375735 w 1135258"/>
                    <a:gd name="connsiteY2165" fmla="*/ 256953 h 479350"/>
                    <a:gd name="connsiteX2166" fmla="*/ 374538 w 1135258"/>
                    <a:gd name="connsiteY2166" fmla="*/ 258110 h 479350"/>
                    <a:gd name="connsiteX2167" fmla="*/ 373388 w 1135258"/>
                    <a:gd name="connsiteY2167" fmla="*/ 257548 h 479350"/>
                    <a:gd name="connsiteX2168" fmla="*/ 372802 w 1135258"/>
                    <a:gd name="connsiteY2168" fmla="*/ 256309 h 479350"/>
                    <a:gd name="connsiteX2169" fmla="*/ 372598 w 1135258"/>
                    <a:gd name="connsiteY2169" fmla="*/ 249227 h 479350"/>
                    <a:gd name="connsiteX2170" fmla="*/ 370120 w 1135258"/>
                    <a:gd name="connsiteY2170" fmla="*/ 235609 h 479350"/>
                    <a:gd name="connsiteX2171" fmla="*/ 369428 w 1135258"/>
                    <a:gd name="connsiteY2171" fmla="*/ 228649 h 479350"/>
                    <a:gd name="connsiteX2172" fmla="*/ 368898 w 1135258"/>
                    <a:gd name="connsiteY2172" fmla="*/ 227003 h 479350"/>
                    <a:gd name="connsiteX2173" fmla="*/ 366046 w 1135258"/>
                    <a:gd name="connsiteY2173" fmla="*/ 224492 h 479350"/>
                    <a:gd name="connsiteX2174" fmla="*/ 366143 w 1135258"/>
                    <a:gd name="connsiteY2174" fmla="*/ 220915 h 479350"/>
                    <a:gd name="connsiteX2175" fmla="*/ 367626 w 1135258"/>
                    <a:gd name="connsiteY2175" fmla="*/ 217899 h 479350"/>
                    <a:gd name="connsiteX2176" fmla="*/ 367936 w 1135258"/>
                    <a:gd name="connsiteY2176" fmla="*/ 214403 h 479350"/>
                    <a:gd name="connsiteX2177" fmla="*/ 367520 w 1135258"/>
                    <a:gd name="connsiteY2177" fmla="*/ 210605 h 479350"/>
                    <a:gd name="connsiteX2178" fmla="*/ 366624 w 1135258"/>
                    <a:gd name="connsiteY2178" fmla="*/ 206889 h 479350"/>
                    <a:gd name="connsiteX2179" fmla="*/ 365507 w 1135258"/>
                    <a:gd name="connsiteY2179" fmla="*/ 204094 h 479350"/>
                    <a:gd name="connsiteX2180" fmla="*/ 363902 w 1135258"/>
                    <a:gd name="connsiteY2180" fmla="*/ 201689 h 479350"/>
                    <a:gd name="connsiteX2181" fmla="*/ 361767 w 1135258"/>
                    <a:gd name="connsiteY2181" fmla="*/ 199000 h 479350"/>
                    <a:gd name="connsiteX2182" fmla="*/ 359142 w 1135258"/>
                    <a:gd name="connsiteY2182" fmla="*/ 196987 h 479350"/>
                    <a:gd name="connsiteX2183" fmla="*/ 353503 w 1135258"/>
                    <a:gd name="connsiteY2183" fmla="*/ 194738 h 479350"/>
                    <a:gd name="connsiteX2184" fmla="*/ 350520 w 1135258"/>
                    <a:gd name="connsiteY2184" fmla="*/ 194925 h 479350"/>
                    <a:gd name="connsiteX2185" fmla="*/ 349404 w 1135258"/>
                    <a:gd name="connsiteY2185" fmla="*/ 194045 h 479350"/>
                    <a:gd name="connsiteX2186" fmla="*/ 348662 w 1135258"/>
                    <a:gd name="connsiteY2186" fmla="*/ 192888 h 479350"/>
                    <a:gd name="connsiteX2187" fmla="*/ 348955 w 1135258"/>
                    <a:gd name="connsiteY2187" fmla="*/ 190639 h 479350"/>
                    <a:gd name="connsiteX2188" fmla="*/ 349974 w 1135258"/>
                    <a:gd name="connsiteY2188" fmla="*/ 189090 h 479350"/>
                    <a:gd name="connsiteX2189" fmla="*/ 351327 w 1135258"/>
                    <a:gd name="connsiteY2189" fmla="*/ 188715 h 479350"/>
                    <a:gd name="connsiteX2190" fmla="*/ 351498 w 1135258"/>
                    <a:gd name="connsiteY2190" fmla="*/ 187843 h 479350"/>
                    <a:gd name="connsiteX2191" fmla="*/ 348613 w 1135258"/>
                    <a:gd name="connsiteY2191" fmla="*/ 186010 h 479350"/>
                    <a:gd name="connsiteX2192" fmla="*/ 346225 w 1135258"/>
                    <a:gd name="connsiteY2192" fmla="*/ 183548 h 479350"/>
                    <a:gd name="connsiteX2193" fmla="*/ 345467 w 1135258"/>
                    <a:gd name="connsiteY2193" fmla="*/ 182065 h 479350"/>
                    <a:gd name="connsiteX2194" fmla="*/ 345247 w 1135258"/>
                    <a:gd name="connsiteY2194" fmla="*/ 180427 h 479350"/>
                    <a:gd name="connsiteX2195" fmla="*/ 345264 w 1135258"/>
                    <a:gd name="connsiteY2195" fmla="*/ 176662 h 479350"/>
                    <a:gd name="connsiteX2196" fmla="*/ 345956 w 1135258"/>
                    <a:gd name="connsiteY2196" fmla="*/ 174282 h 479350"/>
                    <a:gd name="connsiteX2197" fmla="*/ 346331 w 1135258"/>
                    <a:gd name="connsiteY2197" fmla="*/ 172994 h 479350"/>
                    <a:gd name="connsiteX2198" fmla="*/ 347073 w 1135258"/>
                    <a:gd name="connsiteY2198" fmla="*/ 169009 h 479350"/>
                    <a:gd name="connsiteX2199" fmla="*/ 348629 w 1135258"/>
                    <a:gd name="connsiteY2199" fmla="*/ 167795 h 479350"/>
                    <a:gd name="connsiteX2200" fmla="*/ 348377 w 1135258"/>
                    <a:gd name="connsiteY2200" fmla="*/ 167053 h 479350"/>
                    <a:gd name="connsiteX2201" fmla="*/ 347709 w 1135258"/>
                    <a:gd name="connsiteY2201" fmla="*/ 166515 h 479350"/>
                    <a:gd name="connsiteX2202" fmla="*/ 346731 w 1135258"/>
                    <a:gd name="connsiteY2202" fmla="*/ 165203 h 479350"/>
                    <a:gd name="connsiteX2203" fmla="*/ 345924 w 1135258"/>
                    <a:gd name="connsiteY2203" fmla="*/ 163704 h 479350"/>
                    <a:gd name="connsiteX2204" fmla="*/ 344098 w 1135258"/>
                    <a:gd name="connsiteY2204" fmla="*/ 161153 h 479350"/>
                    <a:gd name="connsiteX2205" fmla="*/ 340863 w 1135258"/>
                    <a:gd name="connsiteY2205" fmla="*/ 158072 h 479350"/>
                    <a:gd name="connsiteX2206" fmla="*/ 340325 w 1135258"/>
                    <a:gd name="connsiteY2206" fmla="*/ 152775 h 479350"/>
                    <a:gd name="connsiteX2207" fmla="*/ 339909 w 1135258"/>
                    <a:gd name="connsiteY2207" fmla="*/ 144959 h 479350"/>
                    <a:gd name="connsiteX2208" fmla="*/ 340178 w 1135258"/>
                    <a:gd name="connsiteY2208" fmla="*/ 141398 h 479350"/>
                    <a:gd name="connsiteX2209" fmla="*/ 341221 w 1135258"/>
                    <a:gd name="connsiteY2209" fmla="*/ 134756 h 479350"/>
                    <a:gd name="connsiteX2210" fmla="*/ 343006 w 1135258"/>
                    <a:gd name="connsiteY2210" fmla="*/ 132661 h 479350"/>
                    <a:gd name="connsiteX2211" fmla="*/ 344441 w 1135258"/>
                    <a:gd name="connsiteY2211" fmla="*/ 132083 h 479350"/>
                    <a:gd name="connsiteX2212" fmla="*/ 345516 w 1135258"/>
                    <a:gd name="connsiteY2212" fmla="*/ 131186 h 479350"/>
                    <a:gd name="connsiteX2213" fmla="*/ 344636 w 1135258"/>
                    <a:gd name="connsiteY2213" fmla="*/ 131056 h 479350"/>
                    <a:gd name="connsiteX2214" fmla="*/ 343870 w 1135258"/>
                    <a:gd name="connsiteY2214" fmla="*/ 131390 h 479350"/>
                    <a:gd name="connsiteX2215" fmla="*/ 342501 w 1135258"/>
                    <a:gd name="connsiteY2215" fmla="*/ 131610 h 479350"/>
                    <a:gd name="connsiteX2216" fmla="*/ 343617 w 1135258"/>
                    <a:gd name="connsiteY2216" fmla="*/ 125661 h 479350"/>
                    <a:gd name="connsiteX2217" fmla="*/ 344123 w 1135258"/>
                    <a:gd name="connsiteY2217" fmla="*/ 123949 h 479350"/>
                    <a:gd name="connsiteX2218" fmla="*/ 346389 w 1135258"/>
                    <a:gd name="connsiteY2218" fmla="*/ 120616 h 479350"/>
                    <a:gd name="connsiteX2219" fmla="*/ 349021 w 1135258"/>
                    <a:gd name="connsiteY2219" fmla="*/ 117666 h 479350"/>
                    <a:gd name="connsiteX2220" fmla="*/ 350137 w 1135258"/>
                    <a:gd name="connsiteY2220" fmla="*/ 114202 h 479350"/>
                    <a:gd name="connsiteX2221" fmla="*/ 351637 w 1135258"/>
                    <a:gd name="connsiteY2221" fmla="*/ 111154 h 479350"/>
                    <a:gd name="connsiteX2222" fmla="*/ 357847 w 1135258"/>
                    <a:gd name="connsiteY2222" fmla="*/ 108017 h 479350"/>
                    <a:gd name="connsiteX2223" fmla="*/ 355622 w 1135258"/>
                    <a:gd name="connsiteY2223" fmla="*/ 111945 h 479350"/>
                    <a:gd name="connsiteX2224" fmla="*/ 355866 w 1135258"/>
                    <a:gd name="connsiteY2224" fmla="*/ 113379 h 479350"/>
                    <a:gd name="connsiteX2225" fmla="*/ 356404 w 1135258"/>
                    <a:gd name="connsiteY2225" fmla="*/ 114642 h 479350"/>
                    <a:gd name="connsiteX2226" fmla="*/ 358018 w 1135258"/>
                    <a:gd name="connsiteY2226" fmla="*/ 115522 h 479350"/>
                    <a:gd name="connsiteX2227" fmla="*/ 358474 w 1135258"/>
                    <a:gd name="connsiteY2227" fmla="*/ 120371 h 479350"/>
                    <a:gd name="connsiteX2228" fmla="*/ 360495 w 1135258"/>
                    <a:gd name="connsiteY2228" fmla="*/ 123126 h 479350"/>
                    <a:gd name="connsiteX2229" fmla="*/ 362541 w 1135258"/>
                    <a:gd name="connsiteY2229" fmla="*/ 125644 h 479350"/>
                    <a:gd name="connsiteX2230" fmla="*/ 364049 w 1135258"/>
                    <a:gd name="connsiteY2230" fmla="*/ 126875 h 479350"/>
                    <a:gd name="connsiteX2231" fmla="*/ 365687 w 1135258"/>
                    <a:gd name="connsiteY2231" fmla="*/ 128668 h 479350"/>
                    <a:gd name="connsiteX2232" fmla="*/ 366844 w 1135258"/>
                    <a:gd name="connsiteY2232" fmla="*/ 130331 h 479350"/>
                    <a:gd name="connsiteX2233" fmla="*/ 368075 w 1135258"/>
                    <a:gd name="connsiteY2233" fmla="*/ 131732 h 479350"/>
                    <a:gd name="connsiteX2234" fmla="*/ 369900 w 1135258"/>
                    <a:gd name="connsiteY2234" fmla="*/ 133101 h 479350"/>
                    <a:gd name="connsiteX2235" fmla="*/ 374872 w 1135258"/>
                    <a:gd name="connsiteY2235" fmla="*/ 138912 h 479350"/>
                    <a:gd name="connsiteX2236" fmla="*/ 376950 w 1135258"/>
                    <a:gd name="connsiteY2236" fmla="*/ 140615 h 479350"/>
                    <a:gd name="connsiteX2237" fmla="*/ 378506 w 1135258"/>
                    <a:gd name="connsiteY2237" fmla="*/ 142319 h 479350"/>
                    <a:gd name="connsiteX2238" fmla="*/ 379598 w 1135258"/>
                    <a:gd name="connsiteY2238" fmla="*/ 142922 h 479350"/>
                    <a:gd name="connsiteX2239" fmla="*/ 382304 w 1135258"/>
                    <a:gd name="connsiteY2239" fmla="*/ 142425 h 479350"/>
                    <a:gd name="connsiteX2240" fmla="*/ 390315 w 1135258"/>
                    <a:gd name="connsiteY2240" fmla="*/ 138268 h 479350"/>
                    <a:gd name="connsiteX2241" fmla="*/ 391750 w 1135258"/>
                    <a:gd name="connsiteY2241" fmla="*/ 137999 h 479350"/>
                    <a:gd name="connsiteX2242" fmla="*/ 394366 w 1135258"/>
                    <a:gd name="connsiteY2242" fmla="*/ 137274 h 479350"/>
                    <a:gd name="connsiteX2243" fmla="*/ 398954 w 1135258"/>
                    <a:gd name="connsiteY2243" fmla="*/ 137494 h 479350"/>
                    <a:gd name="connsiteX2244" fmla="*/ 403836 w 1135258"/>
                    <a:gd name="connsiteY2244" fmla="*/ 138912 h 479350"/>
                    <a:gd name="connsiteX2245" fmla="*/ 405408 w 1135258"/>
                    <a:gd name="connsiteY2245" fmla="*/ 138945 h 479350"/>
                    <a:gd name="connsiteX2246" fmla="*/ 406916 w 1135258"/>
                    <a:gd name="connsiteY2246" fmla="*/ 138097 h 479350"/>
                    <a:gd name="connsiteX2247" fmla="*/ 408994 w 1135258"/>
                    <a:gd name="connsiteY2247" fmla="*/ 138350 h 479350"/>
                    <a:gd name="connsiteX2248" fmla="*/ 410934 w 1135258"/>
                    <a:gd name="connsiteY2248" fmla="*/ 138790 h 479350"/>
                    <a:gd name="connsiteX2249" fmla="*/ 411912 w 1135258"/>
                    <a:gd name="connsiteY2249" fmla="*/ 138423 h 479350"/>
                    <a:gd name="connsiteX2250" fmla="*/ 414740 w 1135258"/>
                    <a:gd name="connsiteY2250" fmla="*/ 135383 h 479350"/>
                    <a:gd name="connsiteX2251" fmla="*/ 418603 w 1135258"/>
                    <a:gd name="connsiteY2251" fmla="*/ 134479 h 479350"/>
                    <a:gd name="connsiteX2252" fmla="*/ 419842 w 1135258"/>
                    <a:gd name="connsiteY2252" fmla="*/ 131471 h 479350"/>
                    <a:gd name="connsiteX2253" fmla="*/ 420812 w 1135258"/>
                    <a:gd name="connsiteY2253" fmla="*/ 128644 h 479350"/>
                    <a:gd name="connsiteX2254" fmla="*/ 421268 w 1135258"/>
                    <a:gd name="connsiteY2254" fmla="*/ 125620 h 479350"/>
                    <a:gd name="connsiteX2255" fmla="*/ 422865 w 1135258"/>
                    <a:gd name="connsiteY2255" fmla="*/ 124406 h 479350"/>
                    <a:gd name="connsiteX2256" fmla="*/ 425123 w 1135258"/>
                    <a:gd name="connsiteY2256" fmla="*/ 123354 h 479350"/>
                    <a:gd name="connsiteX2257" fmla="*/ 428456 w 1135258"/>
                    <a:gd name="connsiteY2257" fmla="*/ 122026 h 479350"/>
                    <a:gd name="connsiteX2258" fmla="*/ 440029 w 1135258"/>
                    <a:gd name="connsiteY2258" fmla="*/ 121790 h 479350"/>
                    <a:gd name="connsiteX2259" fmla="*/ 441169 w 1135258"/>
                    <a:gd name="connsiteY2259" fmla="*/ 122368 h 479350"/>
                    <a:gd name="connsiteX2260" fmla="*/ 441406 w 1135258"/>
                    <a:gd name="connsiteY2260" fmla="*/ 123900 h 479350"/>
                    <a:gd name="connsiteX2261" fmla="*/ 441169 w 1135258"/>
                    <a:gd name="connsiteY2261" fmla="*/ 125074 h 479350"/>
                    <a:gd name="connsiteX2262" fmla="*/ 441618 w 1135258"/>
                    <a:gd name="connsiteY2262" fmla="*/ 125767 h 479350"/>
                    <a:gd name="connsiteX2263" fmla="*/ 443158 w 1135258"/>
                    <a:gd name="connsiteY2263" fmla="*/ 125832 h 479350"/>
                    <a:gd name="connsiteX2264" fmla="*/ 444584 w 1135258"/>
                    <a:gd name="connsiteY2264" fmla="*/ 126541 h 479350"/>
                    <a:gd name="connsiteX2265" fmla="*/ 450363 w 1135258"/>
                    <a:gd name="connsiteY2265" fmla="*/ 128961 h 479350"/>
                    <a:gd name="connsiteX2266" fmla="*/ 452816 w 1135258"/>
                    <a:gd name="connsiteY2266" fmla="*/ 129711 h 479350"/>
                    <a:gd name="connsiteX2267" fmla="*/ 454185 w 1135258"/>
                    <a:gd name="connsiteY2267" fmla="*/ 129516 h 479350"/>
                    <a:gd name="connsiteX2268" fmla="*/ 456890 w 1135258"/>
                    <a:gd name="connsiteY2268" fmla="*/ 131691 h 479350"/>
                    <a:gd name="connsiteX2269" fmla="*/ 458366 w 1135258"/>
                    <a:gd name="connsiteY2269" fmla="*/ 130950 h 479350"/>
                    <a:gd name="connsiteX2270" fmla="*/ 460313 w 1135258"/>
                    <a:gd name="connsiteY2270" fmla="*/ 129426 h 479350"/>
                    <a:gd name="connsiteX2271" fmla="*/ 462179 w 1135258"/>
                    <a:gd name="connsiteY2271" fmla="*/ 127380 h 479350"/>
                    <a:gd name="connsiteX2272" fmla="*/ 463842 w 1135258"/>
                    <a:gd name="connsiteY2272" fmla="*/ 125750 h 479350"/>
                    <a:gd name="connsiteX2273" fmla="*/ 466263 w 1135258"/>
                    <a:gd name="connsiteY2273" fmla="*/ 125115 h 479350"/>
                    <a:gd name="connsiteX2274" fmla="*/ 469392 w 1135258"/>
                    <a:gd name="connsiteY2274" fmla="*/ 125204 h 479350"/>
                    <a:gd name="connsiteX2275" fmla="*/ 473076 w 1135258"/>
                    <a:gd name="connsiteY2275" fmla="*/ 124642 h 479350"/>
                    <a:gd name="connsiteX2276" fmla="*/ 475871 w 1135258"/>
                    <a:gd name="connsiteY2276" fmla="*/ 123770 h 479350"/>
                    <a:gd name="connsiteX2277" fmla="*/ 478984 w 1135258"/>
                    <a:gd name="connsiteY2277" fmla="*/ 125212 h 479350"/>
                    <a:gd name="connsiteX2278" fmla="*/ 479816 w 1135258"/>
                    <a:gd name="connsiteY2278" fmla="*/ 124756 h 479350"/>
                    <a:gd name="connsiteX2279" fmla="*/ 480345 w 1135258"/>
                    <a:gd name="connsiteY2279" fmla="*/ 123346 h 479350"/>
                    <a:gd name="connsiteX2280" fmla="*/ 481951 w 1135258"/>
                    <a:gd name="connsiteY2280" fmla="*/ 120266 h 479350"/>
                    <a:gd name="connsiteX2281" fmla="*/ 482660 w 1135258"/>
                    <a:gd name="connsiteY2281" fmla="*/ 118195 h 479350"/>
                    <a:gd name="connsiteX2282" fmla="*/ 483280 w 1135258"/>
                    <a:gd name="connsiteY2282" fmla="*/ 114218 h 479350"/>
                    <a:gd name="connsiteX2283" fmla="*/ 483711 w 1135258"/>
                    <a:gd name="connsiteY2283" fmla="*/ 113273 h 479350"/>
                    <a:gd name="connsiteX2284" fmla="*/ 484901 w 1135258"/>
                    <a:gd name="connsiteY2284" fmla="*/ 112727 h 479350"/>
                    <a:gd name="connsiteX2285" fmla="*/ 486107 w 1135258"/>
                    <a:gd name="connsiteY2285" fmla="*/ 111985 h 479350"/>
                    <a:gd name="connsiteX2286" fmla="*/ 486425 w 1135258"/>
                    <a:gd name="connsiteY2286" fmla="*/ 110796 h 479350"/>
                    <a:gd name="connsiteX2287" fmla="*/ 486865 w 1135258"/>
                    <a:gd name="connsiteY2287" fmla="*/ 109410 h 479350"/>
                    <a:gd name="connsiteX2288" fmla="*/ 486498 w 1135258"/>
                    <a:gd name="connsiteY2288" fmla="*/ 108245 h 479350"/>
                    <a:gd name="connsiteX2289" fmla="*/ 485814 w 1135258"/>
                    <a:gd name="connsiteY2289" fmla="*/ 107267 h 479350"/>
                    <a:gd name="connsiteX2290" fmla="*/ 485089 w 1135258"/>
                    <a:gd name="connsiteY2290" fmla="*/ 103950 h 479350"/>
                    <a:gd name="connsiteX2291" fmla="*/ 485325 w 1135258"/>
                    <a:gd name="connsiteY2291" fmla="*/ 102434 h 479350"/>
                    <a:gd name="connsiteX2292" fmla="*/ 485773 w 1135258"/>
                    <a:gd name="connsiteY2292" fmla="*/ 101309 h 479350"/>
                    <a:gd name="connsiteX2293" fmla="*/ 487004 w 1135258"/>
                    <a:gd name="connsiteY2293" fmla="*/ 100747 h 479350"/>
                    <a:gd name="connsiteX2294" fmla="*/ 490296 w 1135258"/>
                    <a:gd name="connsiteY2294" fmla="*/ 98310 h 479350"/>
                    <a:gd name="connsiteX2295" fmla="*/ 493214 w 1135258"/>
                    <a:gd name="connsiteY2295" fmla="*/ 95450 h 479350"/>
                    <a:gd name="connsiteX2296" fmla="*/ 494795 w 1135258"/>
                    <a:gd name="connsiteY2296" fmla="*/ 94048 h 479350"/>
                    <a:gd name="connsiteX2297" fmla="*/ 495504 w 1135258"/>
                    <a:gd name="connsiteY2297" fmla="*/ 93143 h 479350"/>
                    <a:gd name="connsiteX2298" fmla="*/ 495553 w 1135258"/>
                    <a:gd name="connsiteY2298" fmla="*/ 91839 h 479350"/>
                    <a:gd name="connsiteX2299" fmla="*/ 494281 w 1135258"/>
                    <a:gd name="connsiteY2299" fmla="*/ 90478 h 479350"/>
                    <a:gd name="connsiteX2300" fmla="*/ 493067 w 1135258"/>
                    <a:gd name="connsiteY2300" fmla="*/ 89818 h 479350"/>
                    <a:gd name="connsiteX2301" fmla="*/ 492978 w 1135258"/>
                    <a:gd name="connsiteY2301" fmla="*/ 88237 h 479350"/>
                    <a:gd name="connsiteX2302" fmla="*/ 493027 w 1135258"/>
                    <a:gd name="connsiteY2302" fmla="*/ 87145 h 479350"/>
                    <a:gd name="connsiteX2303" fmla="*/ 493393 w 1135258"/>
                    <a:gd name="connsiteY2303" fmla="*/ 86110 h 479350"/>
                    <a:gd name="connsiteX2304" fmla="*/ 493222 w 1135258"/>
                    <a:gd name="connsiteY2304" fmla="*/ 85108 h 479350"/>
                    <a:gd name="connsiteX2305" fmla="*/ 493214 w 1135258"/>
                    <a:gd name="connsiteY2305" fmla="*/ 83608 h 479350"/>
                    <a:gd name="connsiteX2306" fmla="*/ 493988 w 1135258"/>
                    <a:gd name="connsiteY2306" fmla="*/ 82003 h 479350"/>
                    <a:gd name="connsiteX2307" fmla="*/ 495789 w 1135258"/>
                    <a:gd name="connsiteY2307" fmla="*/ 79623 h 479350"/>
                    <a:gd name="connsiteX2308" fmla="*/ 497199 w 1135258"/>
                    <a:gd name="connsiteY2308" fmla="*/ 78083 h 479350"/>
                    <a:gd name="connsiteX2309" fmla="*/ 498764 w 1135258"/>
                    <a:gd name="connsiteY2309" fmla="*/ 79036 h 479350"/>
                    <a:gd name="connsiteX2310" fmla="*/ 500606 w 1135258"/>
                    <a:gd name="connsiteY2310" fmla="*/ 78596 h 479350"/>
                    <a:gd name="connsiteX2311" fmla="*/ 502350 w 1135258"/>
                    <a:gd name="connsiteY2311" fmla="*/ 77830 h 479350"/>
                    <a:gd name="connsiteX2312" fmla="*/ 503303 w 1135258"/>
                    <a:gd name="connsiteY2312" fmla="*/ 75026 h 479350"/>
                    <a:gd name="connsiteX2313" fmla="*/ 503458 w 1135258"/>
                    <a:gd name="connsiteY2313" fmla="*/ 73674 h 479350"/>
                    <a:gd name="connsiteX2314" fmla="*/ 503230 w 1135258"/>
                    <a:gd name="connsiteY2314" fmla="*/ 72614 h 479350"/>
                    <a:gd name="connsiteX2315" fmla="*/ 503841 w 1135258"/>
                    <a:gd name="connsiteY2315" fmla="*/ 68604 h 479350"/>
                    <a:gd name="connsiteX2316" fmla="*/ 503980 w 1135258"/>
                    <a:gd name="connsiteY2316" fmla="*/ 68018 h 479350"/>
                    <a:gd name="connsiteX2317" fmla="*/ 505129 w 1135258"/>
                    <a:gd name="connsiteY2317" fmla="*/ 65499 h 479350"/>
                    <a:gd name="connsiteX2318" fmla="*/ 505243 w 1135258"/>
                    <a:gd name="connsiteY2318" fmla="*/ 63804 h 479350"/>
                    <a:gd name="connsiteX2319" fmla="*/ 504591 w 1135258"/>
                    <a:gd name="connsiteY2319" fmla="*/ 59868 h 479350"/>
                    <a:gd name="connsiteX2320" fmla="*/ 504998 w 1135258"/>
                    <a:gd name="connsiteY2320" fmla="*/ 56893 h 479350"/>
                    <a:gd name="connsiteX2321" fmla="*/ 505186 w 1135258"/>
                    <a:gd name="connsiteY2321" fmla="*/ 50724 h 479350"/>
                    <a:gd name="connsiteX2322" fmla="*/ 505870 w 1135258"/>
                    <a:gd name="connsiteY2322" fmla="*/ 49624 h 479350"/>
                    <a:gd name="connsiteX2323" fmla="*/ 506661 w 1135258"/>
                    <a:gd name="connsiteY2323" fmla="*/ 46429 h 479350"/>
                    <a:gd name="connsiteX2324" fmla="*/ 507924 w 1135258"/>
                    <a:gd name="connsiteY2324" fmla="*/ 43104 h 479350"/>
                    <a:gd name="connsiteX2325" fmla="*/ 510499 w 1135258"/>
                    <a:gd name="connsiteY2325" fmla="*/ 41278 h 479350"/>
                    <a:gd name="connsiteX2326" fmla="*/ 511836 w 1135258"/>
                    <a:gd name="connsiteY2326" fmla="*/ 38899 h 479350"/>
                    <a:gd name="connsiteX2327" fmla="*/ 512431 w 1135258"/>
                    <a:gd name="connsiteY2327" fmla="*/ 38450 h 479350"/>
                    <a:gd name="connsiteX2328" fmla="*/ 513311 w 1135258"/>
                    <a:gd name="connsiteY2328" fmla="*/ 38434 h 479350"/>
                    <a:gd name="connsiteX2329" fmla="*/ 516424 w 1135258"/>
                    <a:gd name="connsiteY2329" fmla="*/ 40170 h 479350"/>
                    <a:gd name="connsiteX2330" fmla="*/ 519220 w 1135258"/>
                    <a:gd name="connsiteY2330" fmla="*/ 38238 h 479350"/>
                    <a:gd name="connsiteX2331" fmla="*/ 521754 w 1135258"/>
                    <a:gd name="connsiteY2331" fmla="*/ 38019 h 479350"/>
                    <a:gd name="connsiteX2332" fmla="*/ 523832 w 1135258"/>
                    <a:gd name="connsiteY2332" fmla="*/ 38279 h 479350"/>
                    <a:gd name="connsiteX2333" fmla="*/ 525014 w 1135258"/>
                    <a:gd name="connsiteY2333" fmla="*/ 39070 h 479350"/>
                    <a:gd name="connsiteX2334" fmla="*/ 526180 w 1135258"/>
                    <a:gd name="connsiteY2334" fmla="*/ 39640 h 479350"/>
                    <a:gd name="connsiteX2335" fmla="*/ 528665 w 1135258"/>
                    <a:gd name="connsiteY2335" fmla="*/ 37774 h 479350"/>
                    <a:gd name="connsiteX2336" fmla="*/ 529513 w 1135258"/>
                    <a:gd name="connsiteY2336" fmla="*/ 38141 h 479350"/>
                    <a:gd name="connsiteX2337" fmla="*/ 31963 w 1135258"/>
                    <a:gd name="connsiteY2337" fmla="*/ 12062 h 479350"/>
                    <a:gd name="connsiteX2338" fmla="*/ 35003 w 1135258"/>
                    <a:gd name="connsiteY2338" fmla="*/ 12339 h 479350"/>
                    <a:gd name="connsiteX2339" fmla="*/ 40643 w 1135258"/>
                    <a:gd name="connsiteY2339" fmla="*/ 10709 h 479350"/>
                    <a:gd name="connsiteX2340" fmla="*/ 43740 w 1135258"/>
                    <a:gd name="connsiteY2340" fmla="*/ 10872 h 479350"/>
                    <a:gd name="connsiteX2341" fmla="*/ 46674 w 1135258"/>
                    <a:gd name="connsiteY2341" fmla="*/ 12045 h 479350"/>
                    <a:gd name="connsiteX2342" fmla="*/ 49257 w 1135258"/>
                    <a:gd name="connsiteY2342" fmla="*/ 12722 h 479350"/>
                    <a:gd name="connsiteX2343" fmla="*/ 55728 w 1135258"/>
                    <a:gd name="connsiteY2343" fmla="*/ 11858 h 479350"/>
                    <a:gd name="connsiteX2344" fmla="*/ 56934 w 1135258"/>
                    <a:gd name="connsiteY2344" fmla="*/ 12086 h 479350"/>
                    <a:gd name="connsiteX2345" fmla="*/ 58108 w 1135258"/>
                    <a:gd name="connsiteY2345" fmla="*/ 12763 h 479350"/>
                    <a:gd name="connsiteX2346" fmla="*/ 59110 w 1135258"/>
                    <a:gd name="connsiteY2346" fmla="*/ 13830 h 479350"/>
                    <a:gd name="connsiteX2347" fmla="*/ 62061 w 1135258"/>
                    <a:gd name="connsiteY2347" fmla="*/ 17734 h 479350"/>
                    <a:gd name="connsiteX2348" fmla="*/ 67064 w 1135258"/>
                    <a:gd name="connsiteY2348" fmla="*/ 22542 h 479350"/>
                    <a:gd name="connsiteX2349" fmla="*/ 68507 w 1135258"/>
                    <a:gd name="connsiteY2349" fmla="*/ 25606 h 479350"/>
                    <a:gd name="connsiteX2350" fmla="*/ 69330 w 1135258"/>
                    <a:gd name="connsiteY2350" fmla="*/ 29062 h 479350"/>
                    <a:gd name="connsiteX2351" fmla="*/ 69852 w 1135258"/>
                    <a:gd name="connsiteY2351" fmla="*/ 29877 h 479350"/>
                    <a:gd name="connsiteX2352" fmla="*/ 75491 w 1135258"/>
                    <a:gd name="connsiteY2352" fmla="*/ 36494 h 479350"/>
                    <a:gd name="connsiteX2353" fmla="*/ 76111 w 1135258"/>
                    <a:gd name="connsiteY2353" fmla="*/ 39257 h 479350"/>
                    <a:gd name="connsiteX2354" fmla="*/ 75312 w 1135258"/>
                    <a:gd name="connsiteY2354" fmla="*/ 43088 h 479350"/>
                    <a:gd name="connsiteX2355" fmla="*/ 76950 w 1135258"/>
                    <a:gd name="connsiteY2355" fmla="*/ 46136 h 479350"/>
                    <a:gd name="connsiteX2356" fmla="*/ 82427 w 1135258"/>
                    <a:gd name="connsiteY2356" fmla="*/ 48996 h 479350"/>
                    <a:gd name="connsiteX2357" fmla="*/ 85662 w 1135258"/>
                    <a:gd name="connsiteY2357" fmla="*/ 51083 h 479350"/>
                    <a:gd name="connsiteX2358" fmla="*/ 86347 w 1135258"/>
                    <a:gd name="connsiteY2358" fmla="*/ 52354 h 479350"/>
                    <a:gd name="connsiteX2359" fmla="*/ 86836 w 1135258"/>
                    <a:gd name="connsiteY2359" fmla="*/ 53878 h 479350"/>
                    <a:gd name="connsiteX2360" fmla="*/ 88628 w 1135258"/>
                    <a:gd name="connsiteY2360" fmla="*/ 56135 h 479350"/>
                    <a:gd name="connsiteX2361" fmla="*/ 90878 w 1135258"/>
                    <a:gd name="connsiteY2361" fmla="*/ 57602 h 479350"/>
                    <a:gd name="connsiteX2362" fmla="*/ 97878 w 1135258"/>
                    <a:gd name="connsiteY2362" fmla="*/ 61473 h 479350"/>
                    <a:gd name="connsiteX2363" fmla="*/ 107063 w 1135258"/>
                    <a:gd name="connsiteY2363" fmla="*/ 69566 h 479350"/>
                    <a:gd name="connsiteX2364" fmla="*/ 112295 w 1135258"/>
                    <a:gd name="connsiteY2364" fmla="*/ 73405 h 479350"/>
                    <a:gd name="connsiteX2365" fmla="*/ 116615 w 1135258"/>
                    <a:gd name="connsiteY2365" fmla="*/ 79240 h 479350"/>
                    <a:gd name="connsiteX2366" fmla="*/ 118163 w 1135258"/>
                    <a:gd name="connsiteY2366" fmla="*/ 82035 h 479350"/>
                    <a:gd name="connsiteX2367" fmla="*/ 119451 w 1135258"/>
                    <a:gd name="connsiteY2367" fmla="*/ 85059 h 479350"/>
                    <a:gd name="connsiteX2368" fmla="*/ 122075 w 1135258"/>
                    <a:gd name="connsiteY2368" fmla="*/ 89451 h 479350"/>
                    <a:gd name="connsiteX2369" fmla="*/ 126541 w 1135258"/>
                    <a:gd name="connsiteY2369" fmla="*/ 94871 h 479350"/>
                    <a:gd name="connsiteX2370" fmla="*/ 127682 w 1135258"/>
                    <a:gd name="connsiteY2370" fmla="*/ 96517 h 479350"/>
                    <a:gd name="connsiteX2371" fmla="*/ 128872 w 1135258"/>
                    <a:gd name="connsiteY2371" fmla="*/ 98913 h 479350"/>
                    <a:gd name="connsiteX2372" fmla="*/ 130265 w 1135258"/>
                    <a:gd name="connsiteY2372" fmla="*/ 101130 h 479350"/>
                    <a:gd name="connsiteX2373" fmla="*/ 131920 w 1135258"/>
                    <a:gd name="connsiteY2373" fmla="*/ 103176 h 479350"/>
                    <a:gd name="connsiteX2374" fmla="*/ 133900 w 1135258"/>
                    <a:gd name="connsiteY2374" fmla="*/ 104740 h 479350"/>
                    <a:gd name="connsiteX2375" fmla="*/ 135922 w 1135258"/>
                    <a:gd name="connsiteY2375" fmla="*/ 105246 h 479350"/>
                    <a:gd name="connsiteX2376" fmla="*/ 139181 w 1135258"/>
                    <a:gd name="connsiteY2376" fmla="*/ 109166 h 479350"/>
                    <a:gd name="connsiteX2377" fmla="*/ 140934 w 1135258"/>
                    <a:gd name="connsiteY2377" fmla="*/ 110388 h 479350"/>
                    <a:gd name="connsiteX2378" fmla="*/ 140664 w 1135258"/>
                    <a:gd name="connsiteY2378" fmla="*/ 107332 h 479350"/>
                    <a:gd name="connsiteX2379" fmla="*/ 139181 w 1135258"/>
                    <a:gd name="connsiteY2379" fmla="*/ 104651 h 479350"/>
                    <a:gd name="connsiteX2380" fmla="*/ 139206 w 1135258"/>
                    <a:gd name="connsiteY2380" fmla="*/ 103029 h 479350"/>
                    <a:gd name="connsiteX2381" fmla="*/ 139458 w 1135258"/>
                    <a:gd name="connsiteY2381" fmla="*/ 101578 h 479350"/>
                    <a:gd name="connsiteX2382" fmla="*/ 140673 w 1135258"/>
                    <a:gd name="connsiteY2382" fmla="*/ 100356 h 479350"/>
                    <a:gd name="connsiteX2383" fmla="*/ 142131 w 1135258"/>
                    <a:gd name="connsiteY2383" fmla="*/ 100014 h 479350"/>
                    <a:gd name="connsiteX2384" fmla="*/ 144870 w 1135258"/>
                    <a:gd name="connsiteY2384" fmla="*/ 101130 h 479350"/>
                    <a:gd name="connsiteX2385" fmla="*/ 149303 w 1135258"/>
                    <a:gd name="connsiteY2385" fmla="*/ 105775 h 479350"/>
                    <a:gd name="connsiteX2386" fmla="*/ 151169 w 1135258"/>
                    <a:gd name="connsiteY2386" fmla="*/ 108481 h 479350"/>
                    <a:gd name="connsiteX2387" fmla="*/ 152588 w 1135258"/>
                    <a:gd name="connsiteY2387" fmla="*/ 112222 h 479350"/>
                    <a:gd name="connsiteX2388" fmla="*/ 153770 w 1135258"/>
                    <a:gd name="connsiteY2388" fmla="*/ 116101 h 479350"/>
                    <a:gd name="connsiteX2389" fmla="*/ 155546 w 1135258"/>
                    <a:gd name="connsiteY2389" fmla="*/ 118033 h 479350"/>
                    <a:gd name="connsiteX2390" fmla="*/ 157983 w 1135258"/>
                    <a:gd name="connsiteY2390" fmla="*/ 118709 h 479350"/>
                    <a:gd name="connsiteX2391" fmla="*/ 160697 w 1135258"/>
                    <a:gd name="connsiteY2391" fmla="*/ 118994 h 479350"/>
                    <a:gd name="connsiteX2392" fmla="*/ 163191 w 1135258"/>
                    <a:gd name="connsiteY2392" fmla="*/ 120184 h 479350"/>
                    <a:gd name="connsiteX2393" fmla="*/ 169026 w 1135258"/>
                    <a:gd name="connsiteY2393" fmla="*/ 125547 h 479350"/>
                    <a:gd name="connsiteX2394" fmla="*/ 170957 w 1135258"/>
                    <a:gd name="connsiteY2394" fmla="*/ 128073 h 479350"/>
                    <a:gd name="connsiteX2395" fmla="*/ 172424 w 1135258"/>
                    <a:gd name="connsiteY2395" fmla="*/ 131040 h 479350"/>
                    <a:gd name="connsiteX2396" fmla="*/ 173443 w 1135258"/>
                    <a:gd name="connsiteY2396" fmla="*/ 134552 h 479350"/>
                    <a:gd name="connsiteX2397" fmla="*/ 174070 w 1135258"/>
                    <a:gd name="connsiteY2397" fmla="*/ 138236 h 479350"/>
                    <a:gd name="connsiteX2398" fmla="*/ 174462 w 1135258"/>
                    <a:gd name="connsiteY2398" fmla="*/ 139083 h 479350"/>
                    <a:gd name="connsiteX2399" fmla="*/ 178202 w 1135258"/>
                    <a:gd name="connsiteY2399" fmla="*/ 143525 h 479350"/>
                    <a:gd name="connsiteX2400" fmla="*/ 180166 w 1135258"/>
                    <a:gd name="connsiteY2400" fmla="*/ 145399 h 479350"/>
                    <a:gd name="connsiteX2401" fmla="*/ 182587 w 1135258"/>
                    <a:gd name="connsiteY2401" fmla="*/ 146312 h 479350"/>
                    <a:gd name="connsiteX2402" fmla="*/ 189596 w 1135258"/>
                    <a:gd name="connsiteY2402" fmla="*/ 147314 h 479350"/>
                    <a:gd name="connsiteX2403" fmla="*/ 192073 w 1135258"/>
                    <a:gd name="connsiteY2403" fmla="*/ 148847 h 479350"/>
                    <a:gd name="connsiteX2404" fmla="*/ 194127 w 1135258"/>
                    <a:gd name="connsiteY2404" fmla="*/ 151398 h 479350"/>
                    <a:gd name="connsiteX2405" fmla="*/ 194974 w 1135258"/>
                    <a:gd name="connsiteY2405" fmla="*/ 153997 h 479350"/>
                    <a:gd name="connsiteX2406" fmla="*/ 193507 w 1135258"/>
                    <a:gd name="connsiteY2406" fmla="*/ 156296 h 479350"/>
                    <a:gd name="connsiteX2407" fmla="*/ 188031 w 1135258"/>
                    <a:gd name="connsiteY2407" fmla="*/ 159816 h 479350"/>
                    <a:gd name="connsiteX2408" fmla="*/ 182163 w 1135258"/>
                    <a:gd name="connsiteY2408" fmla="*/ 162245 h 479350"/>
                    <a:gd name="connsiteX2409" fmla="*/ 187860 w 1135258"/>
                    <a:gd name="connsiteY2409" fmla="*/ 161414 h 479350"/>
                    <a:gd name="connsiteX2410" fmla="*/ 190736 w 1135258"/>
                    <a:gd name="connsiteY2410" fmla="*/ 160395 h 479350"/>
                    <a:gd name="connsiteX2411" fmla="*/ 193394 w 1135258"/>
                    <a:gd name="connsiteY2411" fmla="*/ 158797 h 479350"/>
                    <a:gd name="connsiteX2412" fmla="*/ 196017 w 1135258"/>
                    <a:gd name="connsiteY2412" fmla="*/ 156768 h 479350"/>
                    <a:gd name="connsiteX2413" fmla="*/ 200182 w 1135258"/>
                    <a:gd name="connsiteY2413" fmla="*/ 153932 h 479350"/>
                    <a:gd name="connsiteX2414" fmla="*/ 201731 w 1135258"/>
                    <a:gd name="connsiteY2414" fmla="*/ 153362 h 479350"/>
                    <a:gd name="connsiteX2415" fmla="*/ 203548 w 1135258"/>
                    <a:gd name="connsiteY2415" fmla="*/ 153557 h 479350"/>
                    <a:gd name="connsiteX2416" fmla="*/ 205194 w 1135258"/>
                    <a:gd name="connsiteY2416" fmla="*/ 154364 h 479350"/>
                    <a:gd name="connsiteX2417" fmla="*/ 207680 w 1135258"/>
                    <a:gd name="connsiteY2417" fmla="*/ 157151 h 479350"/>
                    <a:gd name="connsiteX2418" fmla="*/ 210011 w 1135258"/>
                    <a:gd name="connsiteY2418" fmla="*/ 160085 h 479350"/>
                    <a:gd name="connsiteX2419" fmla="*/ 211746 w 1135258"/>
                    <a:gd name="connsiteY2419" fmla="*/ 163516 h 479350"/>
                    <a:gd name="connsiteX2420" fmla="*/ 212839 w 1135258"/>
                    <a:gd name="connsiteY2420" fmla="*/ 167330 h 479350"/>
                    <a:gd name="connsiteX2421" fmla="*/ 210850 w 1135258"/>
                    <a:gd name="connsiteY2421" fmla="*/ 169319 h 479350"/>
                    <a:gd name="connsiteX2422" fmla="*/ 207949 w 1135258"/>
                    <a:gd name="connsiteY2422" fmla="*/ 170794 h 479350"/>
                    <a:gd name="connsiteX2423" fmla="*/ 203955 w 1135258"/>
                    <a:gd name="connsiteY2423" fmla="*/ 174478 h 479350"/>
                    <a:gd name="connsiteX2424" fmla="*/ 203540 w 1135258"/>
                    <a:gd name="connsiteY2424" fmla="*/ 175937 h 479350"/>
                    <a:gd name="connsiteX2425" fmla="*/ 204355 w 1135258"/>
                    <a:gd name="connsiteY2425" fmla="*/ 176874 h 479350"/>
                    <a:gd name="connsiteX2426" fmla="*/ 203385 w 1135258"/>
                    <a:gd name="connsiteY2426" fmla="*/ 179579 h 479350"/>
                    <a:gd name="connsiteX2427" fmla="*/ 205618 w 1135258"/>
                    <a:gd name="connsiteY2427" fmla="*/ 181258 h 479350"/>
                    <a:gd name="connsiteX2428" fmla="*/ 205960 w 1135258"/>
                    <a:gd name="connsiteY2428" fmla="*/ 182676 h 479350"/>
                    <a:gd name="connsiteX2429" fmla="*/ 204029 w 1135258"/>
                    <a:gd name="connsiteY2429" fmla="*/ 184714 h 479350"/>
                    <a:gd name="connsiteX2430" fmla="*/ 204208 w 1135258"/>
                    <a:gd name="connsiteY2430" fmla="*/ 185961 h 479350"/>
                    <a:gd name="connsiteX2431" fmla="*/ 206539 w 1135258"/>
                    <a:gd name="connsiteY2431" fmla="*/ 191331 h 479350"/>
                    <a:gd name="connsiteX2432" fmla="*/ 207656 w 1135258"/>
                    <a:gd name="connsiteY2432" fmla="*/ 192562 h 479350"/>
                    <a:gd name="connsiteX2433" fmla="*/ 211217 w 1135258"/>
                    <a:gd name="connsiteY2433" fmla="*/ 195284 h 479350"/>
                    <a:gd name="connsiteX2434" fmla="*/ 216653 w 1135258"/>
                    <a:gd name="connsiteY2434" fmla="*/ 198038 h 479350"/>
                    <a:gd name="connsiteX2435" fmla="*/ 219652 w 1135258"/>
                    <a:gd name="connsiteY2435" fmla="*/ 199302 h 479350"/>
                    <a:gd name="connsiteX2436" fmla="*/ 223067 w 1135258"/>
                    <a:gd name="connsiteY2436" fmla="*/ 200296 h 479350"/>
                    <a:gd name="connsiteX2437" fmla="*/ 224526 w 1135258"/>
                    <a:gd name="connsiteY2437" fmla="*/ 200263 h 479350"/>
                    <a:gd name="connsiteX2438" fmla="*/ 227076 w 1135258"/>
                    <a:gd name="connsiteY2438" fmla="*/ 199815 h 479350"/>
                    <a:gd name="connsiteX2439" fmla="*/ 227582 w 1135258"/>
                    <a:gd name="connsiteY2439" fmla="*/ 200891 h 479350"/>
                    <a:gd name="connsiteX2440" fmla="*/ 228690 w 1135258"/>
                    <a:gd name="connsiteY2440" fmla="*/ 206172 h 479350"/>
                    <a:gd name="connsiteX2441" fmla="*/ 229220 w 1135258"/>
                    <a:gd name="connsiteY2441" fmla="*/ 209513 h 479350"/>
                    <a:gd name="connsiteX2442" fmla="*/ 229994 w 1135258"/>
                    <a:gd name="connsiteY2442" fmla="*/ 216628 h 479350"/>
                    <a:gd name="connsiteX2443" fmla="*/ 230996 w 1135258"/>
                    <a:gd name="connsiteY2443" fmla="*/ 219578 h 479350"/>
                    <a:gd name="connsiteX2444" fmla="*/ 230931 w 1135258"/>
                    <a:gd name="connsiteY2444" fmla="*/ 223197 h 479350"/>
                    <a:gd name="connsiteX2445" fmla="*/ 232227 w 1135258"/>
                    <a:gd name="connsiteY2445" fmla="*/ 226253 h 479350"/>
                    <a:gd name="connsiteX2446" fmla="*/ 234900 w 1135258"/>
                    <a:gd name="connsiteY2446" fmla="*/ 228217 h 479350"/>
                    <a:gd name="connsiteX2447" fmla="*/ 237752 w 1135258"/>
                    <a:gd name="connsiteY2447" fmla="*/ 229814 h 479350"/>
                    <a:gd name="connsiteX2448" fmla="*/ 239089 w 1135258"/>
                    <a:gd name="connsiteY2448" fmla="*/ 231371 h 479350"/>
                    <a:gd name="connsiteX2449" fmla="*/ 239073 w 1135258"/>
                    <a:gd name="connsiteY2449" fmla="*/ 233734 h 479350"/>
                    <a:gd name="connsiteX2450" fmla="*/ 238616 w 1135258"/>
                    <a:gd name="connsiteY2450" fmla="*/ 235601 h 479350"/>
                    <a:gd name="connsiteX2451" fmla="*/ 237654 w 1135258"/>
                    <a:gd name="connsiteY2451" fmla="*/ 237060 h 479350"/>
                    <a:gd name="connsiteX2452" fmla="*/ 234713 w 1135258"/>
                    <a:gd name="connsiteY2452" fmla="*/ 240140 h 479350"/>
                    <a:gd name="connsiteX2453" fmla="*/ 234191 w 1135258"/>
                    <a:gd name="connsiteY2453" fmla="*/ 241468 h 479350"/>
                    <a:gd name="connsiteX2454" fmla="*/ 233767 w 1135258"/>
                    <a:gd name="connsiteY2454" fmla="*/ 244867 h 479350"/>
                    <a:gd name="connsiteX2455" fmla="*/ 234272 w 1135258"/>
                    <a:gd name="connsiteY2455" fmla="*/ 246415 h 479350"/>
                    <a:gd name="connsiteX2456" fmla="*/ 235454 w 1135258"/>
                    <a:gd name="connsiteY2456" fmla="*/ 246497 h 479350"/>
                    <a:gd name="connsiteX2457" fmla="*/ 236375 w 1135258"/>
                    <a:gd name="connsiteY2457" fmla="*/ 245690 h 479350"/>
                    <a:gd name="connsiteX2458" fmla="*/ 239920 w 1135258"/>
                    <a:gd name="connsiteY2458" fmla="*/ 241134 h 479350"/>
                    <a:gd name="connsiteX2459" fmla="*/ 240874 w 1135258"/>
                    <a:gd name="connsiteY2459" fmla="*/ 240319 h 479350"/>
                    <a:gd name="connsiteX2460" fmla="*/ 242210 w 1135258"/>
                    <a:gd name="connsiteY2460" fmla="*/ 239692 h 479350"/>
                    <a:gd name="connsiteX2461" fmla="*/ 243579 w 1135258"/>
                    <a:gd name="connsiteY2461" fmla="*/ 239284 h 479350"/>
                    <a:gd name="connsiteX2462" fmla="*/ 250042 w 1135258"/>
                    <a:gd name="connsiteY2462" fmla="*/ 239252 h 479350"/>
                    <a:gd name="connsiteX2463" fmla="*/ 252780 w 1135258"/>
                    <a:gd name="connsiteY2463" fmla="*/ 239961 h 479350"/>
                    <a:gd name="connsiteX2464" fmla="*/ 255217 w 1135258"/>
                    <a:gd name="connsiteY2464" fmla="*/ 241452 h 479350"/>
                    <a:gd name="connsiteX2465" fmla="*/ 257369 w 1135258"/>
                    <a:gd name="connsiteY2465" fmla="*/ 243318 h 479350"/>
                    <a:gd name="connsiteX2466" fmla="*/ 265241 w 1135258"/>
                    <a:gd name="connsiteY2466" fmla="*/ 255168 h 479350"/>
                    <a:gd name="connsiteX2467" fmla="*/ 268835 w 1135258"/>
                    <a:gd name="connsiteY2467" fmla="*/ 261720 h 479350"/>
                    <a:gd name="connsiteX2468" fmla="*/ 269121 w 1135258"/>
                    <a:gd name="connsiteY2468" fmla="*/ 263342 h 479350"/>
                    <a:gd name="connsiteX2469" fmla="*/ 269194 w 1135258"/>
                    <a:gd name="connsiteY2469" fmla="*/ 265037 h 479350"/>
                    <a:gd name="connsiteX2470" fmla="*/ 268583 w 1135258"/>
                    <a:gd name="connsiteY2470" fmla="*/ 266350 h 479350"/>
                    <a:gd name="connsiteX2471" fmla="*/ 265299 w 1135258"/>
                    <a:gd name="connsiteY2471" fmla="*/ 270816 h 479350"/>
                    <a:gd name="connsiteX2472" fmla="*/ 264891 w 1135258"/>
                    <a:gd name="connsiteY2472" fmla="*/ 272054 h 479350"/>
                    <a:gd name="connsiteX2473" fmla="*/ 263864 w 1135258"/>
                    <a:gd name="connsiteY2473" fmla="*/ 276912 h 479350"/>
                    <a:gd name="connsiteX2474" fmla="*/ 264060 w 1135258"/>
                    <a:gd name="connsiteY2474" fmla="*/ 280424 h 479350"/>
                    <a:gd name="connsiteX2475" fmla="*/ 265152 w 1135258"/>
                    <a:gd name="connsiteY2475" fmla="*/ 281899 h 479350"/>
                    <a:gd name="connsiteX2476" fmla="*/ 266016 w 1135258"/>
                    <a:gd name="connsiteY2476" fmla="*/ 283497 h 479350"/>
                    <a:gd name="connsiteX2477" fmla="*/ 265942 w 1135258"/>
                    <a:gd name="connsiteY2477" fmla="*/ 284947 h 479350"/>
                    <a:gd name="connsiteX2478" fmla="*/ 263774 w 1135258"/>
                    <a:gd name="connsiteY2478" fmla="*/ 292152 h 479350"/>
                    <a:gd name="connsiteX2479" fmla="*/ 263555 w 1135258"/>
                    <a:gd name="connsiteY2479" fmla="*/ 293382 h 479350"/>
                    <a:gd name="connsiteX2480" fmla="*/ 264924 w 1135258"/>
                    <a:gd name="connsiteY2480" fmla="*/ 305110 h 479350"/>
                    <a:gd name="connsiteX2481" fmla="*/ 265022 w 1135258"/>
                    <a:gd name="connsiteY2481" fmla="*/ 308280 h 479350"/>
                    <a:gd name="connsiteX2482" fmla="*/ 264752 w 1135258"/>
                    <a:gd name="connsiteY2482" fmla="*/ 312290 h 479350"/>
                    <a:gd name="connsiteX2483" fmla="*/ 264940 w 1135258"/>
                    <a:gd name="connsiteY2483" fmla="*/ 318777 h 479350"/>
                    <a:gd name="connsiteX2484" fmla="*/ 263171 w 1135258"/>
                    <a:gd name="connsiteY2484" fmla="*/ 338784 h 479350"/>
                    <a:gd name="connsiteX2485" fmla="*/ 262845 w 1135258"/>
                    <a:gd name="connsiteY2485" fmla="*/ 339982 h 479350"/>
                    <a:gd name="connsiteX2486" fmla="*/ 261492 w 1135258"/>
                    <a:gd name="connsiteY2486" fmla="*/ 343030 h 479350"/>
                    <a:gd name="connsiteX2487" fmla="*/ 259708 w 1135258"/>
                    <a:gd name="connsiteY2487" fmla="*/ 343014 h 479350"/>
                    <a:gd name="connsiteX2488" fmla="*/ 258274 w 1135258"/>
                    <a:gd name="connsiteY2488" fmla="*/ 342476 h 479350"/>
                    <a:gd name="connsiteX2489" fmla="*/ 257263 w 1135258"/>
                    <a:gd name="connsiteY2489" fmla="*/ 341294 h 479350"/>
                    <a:gd name="connsiteX2490" fmla="*/ 256709 w 1135258"/>
                    <a:gd name="connsiteY2490" fmla="*/ 339844 h 479350"/>
                    <a:gd name="connsiteX2491" fmla="*/ 255885 w 1135258"/>
                    <a:gd name="connsiteY2491" fmla="*/ 338662 h 479350"/>
                    <a:gd name="connsiteX2492" fmla="*/ 251591 w 1135258"/>
                    <a:gd name="connsiteY2492" fmla="*/ 334962 h 479350"/>
                    <a:gd name="connsiteX2493" fmla="*/ 250474 w 1135258"/>
                    <a:gd name="connsiteY2493" fmla="*/ 335582 h 479350"/>
                    <a:gd name="connsiteX2494" fmla="*/ 246106 w 1135258"/>
                    <a:gd name="connsiteY2494" fmla="*/ 340162 h 479350"/>
                    <a:gd name="connsiteX2495" fmla="*/ 244940 w 1135258"/>
                    <a:gd name="connsiteY2495" fmla="*/ 340838 h 479350"/>
                    <a:gd name="connsiteX2496" fmla="*/ 243482 w 1135258"/>
                    <a:gd name="connsiteY2496" fmla="*/ 340284 h 479350"/>
                    <a:gd name="connsiteX2497" fmla="*/ 241192 w 1135258"/>
                    <a:gd name="connsiteY2497" fmla="*/ 338907 h 479350"/>
                    <a:gd name="connsiteX2498" fmla="*/ 233987 w 1135258"/>
                    <a:gd name="connsiteY2498" fmla="*/ 334090 h 479350"/>
                    <a:gd name="connsiteX2499" fmla="*/ 233531 w 1135258"/>
                    <a:gd name="connsiteY2499" fmla="*/ 335622 h 479350"/>
                    <a:gd name="connsiteX2500" fmla="*/ 233449 w 1135258"/>
                    <a:gd name="connsiteY2500" fmla="*/ 337717 h 479350"/>
                    <a:gd name="connsiteX2501" fmla="*/ 234884 w 1135258"/>
                    <a:gd name="connsiteY2501" fmla="*/ 342965 h 479350"/>
                    <a:gd name="connsiteX2502" fmla="*/ 235079 w 1135258"/>
                    <a:gd name="connsiteY2502" fmla="*/ 345263 h 479350"/>
                    <a:gd name="connsiteX2503" fmla="*/ 233767 w 1135258"/>
                    <a:gd name="connsiteY2503" fmla="*/ 345728 h 479350"/>
                    <a:gd name="connsiteX2504" fmla="*/ 233033 w 1135258"/>
                    <a:gd name="connsiteY2504" fmla="*/ 345622 h 479350"/>
                    <a:gd name="connsiteX2505" fmla="*/ 230043 w 1135258"/>
                    <a:gd name="connsiteY2505" fmla="*/ 342574 h 479350"/>
                    <a:gd name="connsiteX2506" fmla="*/ 227280 w 1135258"/>
                    <a:gd name="connsiteY2506" fmla="*/ 339208 h 479350"/>
                    <a:gd name="connsiteX2507" fmla="*/ 224134 w 1135258"/>
                    <a:gd name="connsiteY2507" fmla="*/ 334644 h 479350"/>
                    <a:gd name="connsiteX2508" fmla="*/ 221844 w 1135258"/>
                    <a:gd name="connsiteY2508" fmla="*/ 332476 h 479350"/>
                    <a:gd name="connsiteX2509" fmla="*/ 219774 w 1135258"/>
                    <a:gd name="connsiteY2509" fmla="*/ 330048 h 479350"/>
                    <a:gd name="connsiteX2510" fmla="*/ 213930 w 1135258"/>
                    <a:gd name="connsiteY2510" fmla="*/ 320863 h 479350"/>
                    <a:gd name="connsiteX2511" fmla="*/ 212415 w 1135258"/>
                    <a:gd name="connsiteY2511" fmla="*/ 319445 h 479350"/>
                    <a:gd name="connsiteX2512" fmla="*/ 203377 w 1135258"/>
                    <a:gd name="connsiteY2512" fmla="*/ 312958 h 479350"/>
                    <a:gd name="connsiteX2513" fmla="*/ 201551 w 1135258"/>
                    <a:gd name="connsiteY2513" fmla="*/ 311426 h 479350"/>
                    <a:gd name="connsiteX2514" fmla="*/ 199229 w 1135258"/>
                    <a:gd name="connsiteY2514" fmla="*/ 308736 h 479350"/>
                    <a:gd name="connsiteX2515" fmla="*/ 196751 w 1135258"/>
                    <a:gd name="connsiteY2515" fmla="*/ 306348 h 479350"/>
                    <a:gd name="connsiteX2516" fmla="*/ 191299 w 1135258"/>
                    <a:gd name="connsiteY2516" fmla="*/ 302591 h 479350"/>
                    <a:gd name="connsiteX2517" fmla="*/ 181837 w 1135258"/>
                    <a:gd name="connsiteY2517" fmla="*/ 293040 h 479350"/>
                    <a:gd name="connsiteX2518" fmla="*/ 177730 w 1135258"/>
                    <a:gd name="connsiteY2518" fmla="*/ 287547 h 479350"/>
                    <a:gd name="connsiteX2519" fmla="*/ 173149 w 1135258"/>
                    <a:gd name="connsiteY2519" fmla="*/ 278713 h 479350"/>
                    <a:gd name="connsiteX2520" fmla="*/ 171658 w 1135258"/>
                    <a:gd name="connsiteY2520" fmla="*/ 276472 h 479350"/>
                    <a:gd name="connsiteX2521" fmla="*/ 163981 w 1135258"/>
                    <a:gd name="connsiteY2521" fmla="*/ 269846 h 479350"/>
                    <a:gd name="connsiteX2522" fmla="*/ 159792 w 1135258"/>
                    <a:gd name="connsiteY2522" fmla="*/ 265828 h 479350"/>
                    <a:gd name="connsiteX2523" fmla="*/ 158048 w 1135258"/>
                    <a:gd name="connsiteY2523" fmla="*/ 263522 h 479350"/>
                    <a:gd name="connsiteX2524" fmla="*/ 153965 w 1135258"/>
                    <a:gd name="connsiteY2524" fmla="*/ 255486 h 479350"/>
                    <a:gd name="connsiteX2525" fmla="*/ 152783 w 1135258"/>
                    <a:gd name="connsiteY2525" fmla="*/ 252788 h 479350"/>
                    <a:gd name="connsiteX2526" fmla="*/ 151275 w 1135258"/>
                    <a:gd name="connsiteY2526" fmla="*/ 250401 h 479350"/>
                    <a:gd name="connsiteX2527" fmla="*/ 148798 w 1135258"/>
                    <a:gd name="connsiteY2527" fmla="*/ 248461 h 479350"/>
                    <a:gd name="connsiteX2528" fmla="*/ 146630 w 1135258"/>
                    <a:gd name="connsiteY2528" fmla="*/ 246179 h 479350"/>
                    <a:gd name="connsiteX2529" fmla="*/ 142311 w 1135258"/>
                    <a:gd name="connsiteY2529" fmla="*/ 238901 h 479350"/>
                    <a:gd name="connsiteX2530" fmla="*/ 140942 w 1135258"/>
                    <a:gd name="connsiteY2530" fmla="*/ 236016 h 479350"/>
                    <a:gd name="connsiteX2531" fmla="*/ 139915 w 1135258"/>
                    <a:gd name="connsiteY2531" fmla="*/ 232895 h 479350"/>
                    <a:gd name="connsiteX2532" fmla="*/ 140086 w 1135258"/>
                    <a:gd name="connsiteY2532" fmla="*/ 226611 h 479350"/>
                    <a:gd name="connsiteX2533" fmla="*/ 130950 w 1135258"/>
                    <a:gd name="connsiteY2533" fmla="*/ 207590 h 479350"/>
                    <a:gd name="connsiteX2534" fmla="*/ 128644 w 1135258"/>
                    <a:gd name="connsiteY2534" fmla="*/ 201657 h 479350"/>
                    <a:gd name="connsiteX2535" fmla="*/ 126517 w 1135258"/>
                    <a:gd name="connsiteY2535" fmla="*/ 193434 h 479350"/>
                    <a:gd name="connsiteX2536" fmla="*/ 126044 w 1135258"/>
                    <a:gd name="connsiteY2536" fmla="*/ 192594 h 479350"/>
                    <a:gd name="connsiteX2537" fmla="*/ 121056 w 1135258"/>
                    <a:gd name="connsiteY2537" fmla="*/ 185235 h 479350"/>
                    <a:gd name="connsiteX2538" fmla="*/ 119288 w 1135258"/>
                    <a:gd name="connsiteY2538" fmla="*/ 182880 h 479350"/>
                    <a:gd name="connsiteX2539" fmla="*/ 117152 w 1135258"/>
                    <a:gd name="connsiteY2539" fmla="*/ 180671 h 479350"/>
                    <a:gd name="connsiteX2540" fmla="*/ 115392 w 1135258"/>
                    <a:gd name="connsiteY2540" fmla="*/ 178080 h 479350"/>
                    <a:gd name="connsiteX2541" fmla="*/ 111953 w 1135258"/>
                    <a:gd name="connsiteY2541" fmla="*/ 169669 h 479350"/>
                    <a:gd name="connsiteX2542" fmla="*/ 110681 w 1135258"/>
                    <a:gd name="connsiteY2542" fmla="*/ 167330 h 479350"/>
                    <a:gd name="connsiteX2543" fmla="*/ 108897 w 1135258"/>
                    <a:gd name="connsiteY2543" fmla="*/ 165619 h 479350"/>
                    <a:gd name="connsiteX2544" fmla="*/ 102361 w 1135258"/>
                    <a:gd name="connsiteY2544" fmla="*/ 162441 h 479350"/>
                    <a:gd name="connsiteX2545" fmla="*/ 99932 w 1135258"/>
                    <a:gd name="connsiteY2545" fmla="*/ 160664 h 479350"/>
                    <a:gd name="connsiteX2546" fmla="*/ 98017 w 1135258"/>
                    <a:gd name="connsiteY2546" fmla="*/ 158154 h 479350"/>
                    <a:gd name="connsiteX2547" fmla="*/ 96835 w 1135258"/>
                    <a:gd name="connsiteY2547" fmla="*/ 154943 h 479350"/>
                    <a:gd name="connsiteX2548" fmla="*/ 95540 w 1135258"/>
                    <a:gd name="connsiteY2548" fmla="*/ 148138 h 479350"/>
                    <a:gd name="connsiteX2549" fmla="*/ 92467 w 1135258"/>
                    <a:gd name="connsiteY2549" fmla="*/ 137788 h 479350"/>
                    <a:gd name="connsiteX2550" fmla="*/ 89011 w 1135258"/>
                    <a:gd name="connsiteY2550" fmla="*/ 123933 h 479350"/>
                    <a:gd name="connsiteX2551" fmla="*/ 86689 w 1135258"/>
                    <a:gd name="connsiteY2551" fmla="*/ 117723 h 479350"/>
                    <a:gd name="connsiteX2552" fmla="*/ 84032 w 1135258"/>
                    <a:gd name="connsiteY2552" fmla="*/ 112849 h 479350"/>
                    <a:gd name="connsiteX2553" fmla="*/ 83258 w 1135258"/>
                    <a:gd name="connsiteY2553" fmla="*/ 111725 h 479350"/>
                    <a:gd name="connsiteX2554" fmla="*/ 71408 w 1135258"/>
                    <a:gd name="connsiteY2554" fmla="*/ 102947 h 479350"/>
                    <a:gd name="connsiteX2555" fmla="*/ 69387 w 1135258"/>
                    <a:gd name="connsiteY2555" fmla="*/ 101660 h 479350"/>
                    <a:gd name="connsiteX2556" fmla="*/ 67244 w 1135258"/>
                    <a:gd name="connsiteY2556" fmla="*/ 100877 h 479350"/>
                    <a:gd name="connsiteX2557" fmla="*/ 64179 w 1135258"/>
                    <a:gd name="connsiteY2557" fmla="*/ 100315 h 479350"/>
                    <a:gd name="connsiteX2558" fmla="*/ 61840 w 1135258"/>
                    <a:gd name="connsiteY2558" fmla="*/ 98049 h 479350"/>
                    <a:gd name="connsiteX2559" fmla="*/ 60879 w 1135258"/>
                    <a:gd name="connsiteY2559" fmla="*/ 93983 h 479350"/>
                    <a:gd name="connsiteX2560" fmla="*/ 60349 w 1135258"/>
                    <a:gd name="connsiteY2560" fmla="*/ 88531 h 479350"/>
                    <a:gd name="connsiteX2561" fmla="*/ 59771 w 1135258"/>
                    <a:gd name="connsiteY2561" fmla="*/ 85271 h 479350"/>
                    <a:gd name="connsiteX2562" fmla="*/ 59126 w 1135258"/>
                    <a:gd name="connsiteY2562" fmla="*/ 83429 h 479350"/>
                    <a:gd name="connsiteX2563" fmla="*/ 54180 w 1135258"/>
                    <a:gd name="connsiteY2563" fmla="*/ 79574 h 479350"/>
                    <a:gd name="connsiteX2564" fmla="*/ 52240 w 1135258"/>
                    <a:gd name="connsiteY2564" fmla="*/ 76518 h 479350"/>
                    <a:gd name="connsiteX2565" fmla="*/ 50626 w 1135258"/>
                    <a:gd name="connsiteY2565" fmla="*/ 73160 h 479350"/>
                    <a:gd name="connsiteX2566" fmla="*/ 49143 w 1135258"/>
                    <a:gd name="connsiteY2566" fmla="*/ 70569 h 479350"/>
                    <a:gd name="connsiteX2567" fmla="*/ 43699 w 1135258"/>
                    <a:gd name="connsiteY2567" fmla="*/ 61596 h 479350"/>
                    <a:gd name="connsiteX2568" fmla="*/ 41833 w 1135258"/>
                    <a:gd name="connsiteY2568" fmla="*/ 59241 h 479350"/>
                    <a:gd name="connsiteX2569" fmla="*/ 39534 w 1135258"/>
                    <a:gd name="connsiteY2569" fmla="*/ 57594 h 479350"/>
                    <a:gd name="connsiteX2570" fmla="*/ 32705 w 1135258"/>
                    <a:gd name="connsiteY2570" fmla="*/ 55858 h 479350"/>
                    <a:gd name="connsiteX2571" fmla="*/ 30700 w 1135258"/>
                    <a:gd name="connsiteY2571" fmla="*/ 54359 h 479350"/>
                    <a:gd name="connsiteX2572" fmla="*/ 27383 w 1135258"/>
                    <a:gd name="connsiteY2572" fmla="*/ 49265 h 479350"/>
                    <a:gd name="connsiteX2573" fmla="*/ 25378 w 1135258"/>
                    <a:gd name="connsiteY2573" fmla="*/ 46673 h 479350"/>
                    <a:gd name="connsiteX2574" fmla="*/ 19372 w 1135258"/>
                    <a:gd name="connsiteY2574" fmla="*/ 40961 h 479350"/>
                    <a:gd name="connsiteX2575" fmla="*/ 9218 w 1135258"/>
                    <a:gd name="connsiteY2575" fmla="*/ 29005 h 479350"/>
                    <a:gd name="connsiteX2576" fmla="*/ 7139 w 1135258"/>
                    <a:gd name="connsiteY2576" fmla="*/ 26022 h 479350"/>
                    <a:gd name="connsiteX2577" fmla="*/ 5583 w 1135258"/>
                    <a:gd name="connsiteY2577" fmla="*/ 22909 h 479350"/>
                    <a:gd name="connsiteX2578" fmla="*/ 4328 w 1135258"/>
                    <a:gd name="connsiteY2578" fmla="*/ 19584 h 479350"/>
                    <a:gd name="connsiteX2579" fmla="*/ 0 w 1135258"/>
                    <a:gd name="connsiteY2579" fmla="*/ 10342 h 479350"/>
                    <a:gd name="connsiteX2580" fmla="*/ 351 w 1135258"/>
                    <a:gd name="connsiteY2580" fmla="*/ 8476 h 479350"/>
                    <a:gd name="connsiteX2581" fmla="*/ 1003 w 1135258"/>
                    <a:gd name="connsiteY2581" fmla="*/ 6544 h 479350"/>
                    <a:gd name="connsiteX2582" fmla="*/ 897 w 1135258"/>
                    <a:gd name="connsiteY2582" fmla="*/ 4939 h 479350"/>
                    <a:gd name="connsiteX2583" fmla="*/ 432 w 1135258"/>
                    <a:gd name="connsiteY2583" fmla="*/ 3350 h 479350"/>
                    <a:gd name="connsiteX2584" fmla="*/ 522 w 1135258"/>
                    <a:gd name="connsiteY2584" fmla="*/ 1923 h 479350"/>
                    <a:gd name="connsiteX2585" fmla="*/ 1801 w 1135258"/>
                    <a:gd name="connsiteY2585" fmla="*/ 1084 h 479350"/>
                    <a:gd name="connsiteX2586" fmla="*/ 4686 w 1135258"/>
                    <a:gd name="connsiteY2586" fmla="*/ 0 h 479350"/>
                    <a:gd name="connsiteX2587" fmla="*/ 7685 w 1135258"/>
                    <a:gd name="connsiteY2587" fmla="*/ 130 h 479350"/>
                    <a:gd name="connsiteX2588" fmla="*/ 10464 w 1135258"/>
                    <a:gd name="connsiteY2588" fmla="*/ 603 h 479350"/>
                    <a:gd name="connsiteX2589" fmla="*/ 13162 w 1135258"/>
                    <a:gd name="connsiteY2589" fmla="*/ 1491 h 479350"/>
                    <a:gd name="connsiteX2590" fmla="*/ 15729 w 1135258"/>
                    <a:gd name="connsiteY2590" fmla="*/ 3439 h 479350"/>
                    <a:gd name="connsiteX2591" fmla="*/ 20342 w 1135258"/>
                    <a:gd name="connsiteY2591" fmla="*/ 8345 h 479350"/>
                    <a:gd name="connsiteX2592" fmla="*/ 22966 w 1135258"/>
                    <a:gd name="connsiteY2592" fmla="*/ 10049 h 479350"/>
                    <a:gd name="connsiteX2593" fmla="*/ 25884 w 1135258"/>
                    <a:gd name="connsiteY2593" fmla="*/ 10872 h 479350"/>
                    <a:gd name="connsiteX2594" fmla="*/ 31963 w 1135258"/>
                    <a:gd name="connsiteY2594" fmla="*/ 12062 h 47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Lst>
                  <a:rect l="l" t="t" r="r" b="b"/>
                  <a:pathLst>
                    <a:path w="1135258" h="479350">
                      <a:moveTo>
                        <a:pt x="615305" y="450028"/>
                      </a:moveTo>
                      <a:lnTo>
                        <a:pt x="616422" y="451389"/>
                      </a:lnTo>
                      <a:lnTo>
                        <a:pt x="620480" y="453997"/>
                      </a:lnTo>
                      <a:lnTo>
                        <a:pt x="621149" y="455097"/>
                      </a:lnTo>
                      <a:lnTo>
                        <a:pt x="621401" y="456923"/>
                      </a:lnTo>
                      <a:lnTo>
                        <a:pt x="622216" y="458267"/>
                      </a:lnTo>
                      <a:lnTo>
                        <a:pt x="624042" y="458463"/>
                      </a:lnTo>
                      <a:lnTo>
                        <a:pt x="626006" y="458202"/>
                      </a:lnTo>
                      <a:lnTo>
                        <a:pt x="627497" y="459050"/>
                      </a:lnTo>
                      <a:lnTo>
                        <a:pt x="628784" y="460419"/>
                      </a:lnTo>
                      <a:lnTo>
                        <a:pt x="630684" y="463051"/>
                      </a:lnTo>
                      <a:lnTo>
                        <a:pt x="632370" y="465961"/>
                      </a:lnTo>
                      <a:lnTo>
                        <a:pt x="634457" y="467583"/>
                      </a:lnTo>
                      <a:lnTo>
                        <a:pt x="635647" y="470011"/>
                      </a:lnTo>
                      <a:lnTo>
                        <a:pt x="634938" y="472155"/>
                      </a:lnTo>
                      <a:lnTo>
                        <a:pt x="632314" y="475121"/>
                      </a:lnTo>
                      <a:lnTo>
                        <a:pt x="630879" y="475757"/>
                      </a:lnTo>
                      <a:lnTo>
                        <a:pt x="628931" y="475993"/>
                      </a:lnTo>
                      <a:lnTo>
                        <a:pt x="625891" y="477754"/>
                      </a:lnTo>
                      <a:lnTo>
                        <a:pt x="624783" y="476841"/>
                      </a:lnTo>
                      <a:lnTo>
                        <a:pt x="621336" y="476189"/>
                      </a:lnTo>
                      <a:lnTo>
                        <a:pt x="618581" y="474934"/>
                      </a:lnTo>
                      <a:lnTo>
                        <a:pt x="616283" y="472587"/>
                      </a:lnTo>
                      <a:lnTo>
                        <a:pt x="614955" y="470076"/>
                      </a:lnTo>
                      <a:lnTo>
                        <a:pt x="613276" y="467868"/>
                      </a:lnTo>
                      <a:lnTo>
                        <a:pt x="610358" y="466409"/>
                      </a:lnTo>
                      <a:lnTo>
                        <a:pt x="605102" y="462065"/>
                      </a:lnTo>
                      <a:lnTo>
                        <a:pt x="601866" y="461666"/>
                      </a:lnTo>
                      <a:lnTo>
                        <a:pt x="600529" y="461976"/>
                      </a:lnTo>
                      <a:lnTo>
                        <a:pt x="599193" y="462008"/>
                      </a:lnTo>
                      <a:lnTo>
                        <a:pt x="592315" y="460052"/>
                      </a:lnTo>
                      <a:lnTo>
                        <a:pt x="591255" y="458903"/>
                      </a:lnTo>
                      <a:lnTo>
                        <a:pt x="590407" y="457436"/>
                      </a:lnTo>
                      <a:lnTo>
                        <a:pt x="589633" y="456002"/>
                      </a:lnTo>
                      <a:lnTo>
                        <a:pt x="589169" y="454388"/>
                      </a:lnTo>
                      <a:lnTo>
                        <a:pt x="590049" y="452962"/>
                      </a:lnTo>
                      <a:lnTo>
                        <a:pt x="590970" y="452000"/>
                      </a:lnTo>
                      <a:lnTo>
                        <a:pt x="594792" y="450322"/>
                      </a:lnTo>
                      <a:lnTo>
                        <a:pt x="597531" y="449800"/>
                      </a:lnTo>
                      <a:lnTo>
                        <a:pt x="600709" y="449890"/>
                      </a:lnTo>
                      <a:lnTo>
                        <a:pt x="605444" y="449368"/>
                      </a:lnTo>
                      <a:lnTo>
                        <a:pt x="609918" y="450216"/>
                      </a:lnTo>
                      <a:lnTo>
                        <a:pt x="611295" y="449588"/>
                      </a:lnTo>
                      <a:lnTo>
                        <a:pt x="613561" y="447836"/>
                      </a:lnTo>
                      <a:lnTo>
                        <a:pt x="614351" y="448439"/>
                      </a:lnTo>
                      <a:lnTo>
                        <a:pt x="615305" y="450028"/>
                      </a:lnTo>
                      <a:close/>
                      <a:moveTo>
                        <a:pt x="737445" y="440338"/>
                      </a:moveTo>
                      <a:lnTo>
                        <a:pt x="738333" y="440664"/>
                      </a:lnTo>
                      <a:lnTo>
                        <a:pt x="741487" y="438847"/>
                      </a:lnTo>
                      <a:lnTo>
                        <a:pt x="742090" y="439197"/>
                      </a:lnTo>
                      <a:lnTo>
                        <a:pt x="742702" y="440012"/>
                      </a:lnTo>
                      <a:lnTo>
                        <a:pt x="742710" y="442441"/>
                      </a:lnTo>
                      <a:lnTo>
                        <a:pt x="741504" y="444454"/>
                      </a:lnTo>
                      <a:lnTo>
                        <a:pt x="738456" y="444617"/>
                      </a:lnTo>
                      <a:lnTo>
                        <a:pt x="738015" y="445179"/>
                      </a:lnTo>
                      <a:lnTo>
                        <a:pt x="737975" y="446402"/>
                      </a:lnTo>
                      <a:lnTo>
                        <a:pt x="738211" y="447591"/>
                      </a:lnTo>
                      <a:lnTo>
                        <a:pt x="738937" y="448545"/>
                      </a:lnTo>
                      <a:lnTo>
                        <a:pt x="739825" y="450232"/>
                      </a:lnTo>
                      <a:lnTo>
                        <a:pt x="740681" y="454160"/>
                      </a:lnTo>
                      <a:lnTo>
                        <a:pt x="738945" y="455758"/>
                      </a:lnTo>
                      <a:lnTo>
                        <a:pt x="738081" y="458781"/>
                      </a:lnTo>
                      <a:lnTo>
                        <a:pt x="735082" y="461625"/>
                      </a:lnTo>
                      <a:lnTo>
                        <a:pt x="731765" y="466279"/>
                      </a:lnTo>
                      <a:lnTo>
                        <a:pt x="729132" y="468659"/>
                      </a:lnTo>
                      <a:lnTo>
                        <a:pt x="726802" y="471462"/>
                      </a:lnTo>
                      <a:lnTo>
                        <a:pt x="724805" y="473345"/>
                      </a:lnTo>
                      <a:lnTo>
                        <a:pt x="722303" y="473988"/>
                      </a:lnTo>
                      <a:lnTo>
                        <a:pt x="718562" y="474396"/>
                      </a:lnTo>
                      <a:lnTo>
                        <a:pt x="713485" y="477762"/>
                      </a:lnTo>
                      <a:lnTo>
                        <a:pt x="710665" y="479237"/>
                      </a:lnTo>
                      <a:lnTo>
                        <a:pt x="707927" y="479351"/>
                      </a:lnTo>
                      <a:lnTo>
                        <a:pt x="705376" y="478251"/>
                      </a:lnTo>
                      <a:lnTo>
                        <a:pt x="704398" y="477020"/>
                      </a:lnTo>
                      <a:lnTo>
                        <a:pt x="704626" y="475366"/>
                      </a:lnTo>
                      <a:lnTo>
                        <a:pt x="705474" y="473939"/>
                      </a:lnTo>
                      <a:lnTo>
                        <a:pt x="706517" y="472750"/>
                      </a:lnTo>
                      <a:lnTo>
                        <a:pt x="707169" y="471242"/>
                      </a:lnTo>
                      <a:lnTo>
                        <a:pt x="704259" y="469319"/>
                      </a:lnTo>
                      <a:lnTo>
                        <a:pt x="704015" y="467860"/>
                      </a:lnTo>
                      <a:lnTo>
                        <a:pt x="705172" y="463972"/>
                      </a:lnTo>
                      <a:lnTo>
                        <a:pt x="705914" y="459979"/>
                      </a:lnTo>
                      <a:lnTo>
                        <a:pt x="707006" y="457257"/>
                      </a:lnTo>
                      <a:lnTo>
                        <a:pt x="711154" y="452375"/>
                      </a:lnTo>
                      <a:lnTo>
                        <a:pt x="713648" y="449947"/>
                      </a:lnTo>
                      <a:lnTo>
                        <a:pt x="715123" y="449010"/>
                      </a:lnTo>
                      <a:lnTo>
                        <a:pt x="715514" y="450036"/>
                      </a:lnTo>
                      <a:lnTo>
                        <a:pt x="716451" y="451259"/>
                      </a:lnTo>
                      <a:lnTo>
                        <a:pt x="717079" y="451454"/>
                      </a:lnTo>
                      <a:lnTo>
                        <a:pt x="717552" y="451177"/>
                      </a:lnTo>
                      <a:lnTo>
                        <a:pt x="721219" y="451601"/>
                      </a:lnTo>
                      <a:lnTo>
                        <a:pt x="722132" y="451177"/>
                      </a:lnTo>
                      <a:lnTo>
                        <a:pt x="723534" y="449254"/>
                      </a:lnTo>
                      <a:lnTo>
                        <a:pt x="724454" y="448178"/>
                      </a:lnTo>
                      <a:lnTo>
                        <a:pt x="725082" y="445904"/>
                      </a:lnTo>
                      <a:lnTo>
                        <a:pt x="725237" y="444446"/>
                      </a:lnTo>
                      <a:lnTo>
                        <a:pt x="728488" y="443386"/>
                      </a:lnTo>
                      <a:lnTo>
                        <a:pt x="730224" y="442229"/>
                      </a:lnTo>
                      <a:lnTo>
                        <a:pt x="731773" y="440575"/>
                      </a:lnTo>
                      <a:lnTo>
                        <a:pt x="736279" y="437755"/>
                      </a:lnTo>
                      <a:lnTo>
                        <a:pt x="737086" y="436964"/>
                      </a:lnTo>
                      <a:lnTo>
                        <a:pt x="736907" y="439645"/>
                      </a:lnTo>
                      <a:lnTo>
                        <a:pt x="737445" y="440338"/>
                      </a:lnTo>
                      <a:close/>
                      <a:moveTo>
                        <a:pt x="531681" y="427111"/>
                      </a:moveTo>
                      <a:lnTo>
                        <a:pt x="528543" y="433338"/>
                      </a:lnTo>
                      <a:lnTo>
                        <a:pt x="529660" y="434348"/>
                      </a:lnTo>
                      <a:lnTo>
                        <a:pt x="530336" y="435302"/>
                      </a:lnTo>
                      <a:lnTo>
                        <a:pt x="525136" y="436606"/>
                      </a:lnTo>
                      <a:lnTo>
                        <a:pt x="522969" y="435905"/>
                      </a:lnTo>
                      <a:lnTo>
                        <a:pt x="521722" y="436076"/>
                      </a:lnTo>
                      <a:lnTo>
                        <a:pt x="516449" y="434910"/>
                      </a:lnTo>
                      <a:lnTo>
                        <a:pt x="512684" y="433476"/>
                      </a:lnTo>
                      <a:lnTo>
                        <a:pt x="512243" y="432335"/>
                      </a:lnTo>
                      <a:lnTo>
                        <a:pt x="512545" y="430982"/>
                      </a:lnTo>
                      <a:lnTo>
                        <a:pt x="513661" y="431430"/>
                      </a:lnTo>
                      <a:lnTo>
                        <a:pt x="516563" y="431659"/>
                      </a:lnTo>
                      <a:lnTo>
                        <a:pt x="517671" y="431039"/>
                      </a:lnTo>
                      <a:lnTo>
                        <a:pt x="517712" y="427022"/>
                      </a:lnTo>
                      <a:lnTo>
                        <a:pt x="517305" y="421781"/>
                      </a:lnTo>
                      <a:lnTo>
                        <a:pt x="521233" y="417503"/>
                      </a:lnTo>
                      <a:lnTo>
                        <a:pt x="523327" y="415783"/>
                      </a:lnTo>
                      <a:lnTo>
                        <a:pt x="525739" y="414764"/>
                      </a:lnTo>
                      <a:lnTo>
                        <a:pt x="531827" y="417128"/>
                      </a:lnTo>
                      <a:lnTo>
                        <a:pt x="532838" y="417780"/>
                      </a:lnTo>
                      <a:lnTo>
                        <a:pt x="533612" y="418733"/>
                      </a:lnTo>
                      <a:lnTo>
                        <a:pt x="533995" y="420265"/>
                      </a:lnTo>
                      <a:lnTo>
                        <a:pt x="531681" y="427111"/>
                      </a:lnTo>
                      <a:close/>
                      <a:moveTo>
                        <a:pt x="684032" y="427046"/>
                      </a:moveTo>
                      <a:lnTo>
                        <a:pt x="680511" y="428122"/>
                      </a:lnTo>
                      <a:lnTo>
                        <a:pt x="678335" y="429124"/>
                      </a:lnTo>
                      <a:lnTo>
                        <a:pt x="676265" y="430469"/>
                      </a:lnTo>
                      <a:lnTo>
                        <a:pt x="674953" y="430746"/>
                      </a:lnTo>
                      <a:lnTo>
                        <a:pt x="672573" y="430852"/>
                      </a:lnTo>
                      <a:lnTo>
                        <a:pt x="669199" y="430624"/>
                      </a:lnTo>
                      <a:lnTo>
                        <a:pt x="666942" y="431056"/>
                      </a:lnTo>
                      <a:lnTo>
                        <a:pt x="660601" y="434544"/>
                      </a:lnTo>
                      <a:lnTo>
                        <a:pt x="658107" y="434845"/>
                      </a:lnTo>
                      <a:lnTo>
                        <a:pt x="655956" y="435693"/>
                      </a:lnTo>
                      <a:lnTo>
                        <a:pt x="655206" y="434332"/>
                      </a:lnTo>
                      <a:lnTo>
                        <a:pt x="654293" y="433338"/>
                      </a:lnTo>
                      <a:lnTo>
                        <a:pt x="652183" y="433085"/>
                      </a:lnTo>
                      <a:lnTo>
                        <a:pt x="650080" y="433166"/>
                      </a:lnTo>
                      <a:lnTo>
                        <a:pt x="647937" y="436255"/>
                      </a:lnTo>
                      <a:lnTo>
                        <a:pt x="644522" y="435603"/>
                      </a:lnTo>
                      <a:lnTo>
                        <a:pt x="643193" y="435880"/>
                      </a:lnTo>
                      <a:lnTo>
                        <a:pt x="641930" y="436516"/>
                      </a:lnTo>
                      <a:lnTo>
                        <a:pt x="640675" y="436801"/>
                      </a:lnTo>
                      <a:lnTo>
                        <a:pt x="639347" y="436589"/>
                      </a:lnTo>
                      <a:lnTo>
                        <a:pt x="634367" y="434193"/>
                      </a:lnTo>
                      <a:lnTo>
                        <a:pt x="628654" y="432775"/>
                      </a:lnTo>
                      <a:lnTo>
                        <a:pt x="622925" y="433338"/>
                      </a:lnTo>
                      <a:lnTo>
                        <a:pt x="618002" y="432034"/>
                      </a:lnTo>
                      <a:lnTo>
                        <a:pt x="615305" y="433028"/>
                      </a:lnTo>
                      <a:lnTo>
                        <a:pt x="612763" y="434454"/>
                      </a:lnTo>
                      <a:lnTo>
                        <a:pt x="611996" y="432955"/>
                      </a:lnTo>
                      <a:lnTo>
                        <a:pt x="611067" y="431626"/>
                      </a:lnTo>
                      <a:lnTo>
                        <a:pt x="610236" y="429646"/>
                      </a:lnTo>
                      <a:lnTo>
                        <a:pt x="610211" y="427396"/>
                      </a:lnTo>
                      <a:lnTo>
                        <a:pt x="610480" y="425824"/>
                      </a:lnTo>
                      <a:lnTo>
                        <a:pt x="611222" y="424381"/>
                      </a:lnTo>
                      <a:lnTo>
                        <a:pt x="611678" y="422882"/>
                      </a:lnTo>
                      <a:lnTo>
                        <a:pt x="611899" y="421284"/>
                      </a:lnTo>
                      <a:lnTo>
                        <a:pt x="612966" y="422042"/>
                      </a:lnTo>
                      <a:lnTo>
                        <a:pt x="614107" y="421749"/>
                      </a:lnTo>
                      <a:lnTo>
                        <a:pt x="617457" y="420013"/>
                      </a:lnTo>
                      <a:lnTo>
                        <a:pt x="620725" y="417364"/>
                      </a:lnTo>
                      <a:lnTo>
                        <a:pt x="623781" y="416411"/>
                      </a:lnTo>
                      <a:lnTo>
                        <a:pt x="625533" y="416142"/>
                      </a:lnTo>
                      <a:lnTo>
                        <a:pt x="627040" y="416655"/>
                      </a:lnTo>
                      <a:lnTo>
                        <a:pt x="628573" y="416476"/>
                      </a:lnTo>
                      <a:lnTo>
                        <a:pt x="630137" y="415889"/>
                      </a:lnTo>
                      <a:lnTo>
                        <a:pt x="632607" y="417910"/>
                      </a:lnTo>
                      <a:lnTo>
                        <a:pt x="633634" y="418326"/>
                      </a:lnTo>
                      <a:lnTo>
                        <a:pt x="636983" y="418481"/>
                      </a:lnTo>
                      <a:lnTo>
                        <a:pt x="640023" y="419662"/>
                      </a:lnTo>
                      <a:lnTo>
                        <a:pt x="642737" y="421406"/>
                      </a:lnTo>
                      <a:lnTo>
                        <a:pt x="646665" y="423044"/>
                      </a:lnTo>
                      <a:lnTo>
                        <a:pt x="649028" y="425237"/>
                      </a:lnTo>
                      <a:lnTo>
                        <a:pt x="650830" y="426068"/>
                      </a:lnTo>
                      <a:lnTo>
                        <a:pt x="652158" y="426272"/>
                      </a:lnTo>
                      <a:lnTo>
                        <a:pt x="653397" y="425978"/>
                      </a:lnTo>
                      <a:lnTo>
                        <a:pt x="654937" y="424503"/>
                      </a:lnTo>
                      <a:lnTo>
                        <a:pt x="656754" y="423892"/>
                      </a:lnTo>
                      <a:lnTo>
                        <a:pt x="658319" y="423916"/>
                      </a:lnTo>
                      <a:lnTo>
                        <a:pt x="661204" y="423533"/>
                      </a:lnTo>
                      <a:lnTo>
                        <a:pt x="662402" y="423175"/>
                      </a:lnTo>
                      <a:lnTo>
                        <a:pt x="663771" y="422360"/>
                      </a:lnTo>
                      <a:lnTo>
                        <a:pt x="665100" y="422865"/>
                      </a:lnTo>
                      <a:lnTo>
                        <a:pt x="666266" y="423607"/>
                      </a:lnTo>
                      <a:lnTo>
                        <a:pt x="671131" y="427486"/>
                      </a:lnTo>
                      <a:lnTo>
                        <a:pt x="672630" y="427576"/>
                      </a:lnTo>
                      <a:lnTo>
                        <a:pt x="675360" y="426752"/>
                      </a:lnTo>
                      <a:lnTo>
                        <a:pt x="676184" y="425718"/>
                      </a:lnTo>
                      <a:lnTo>
                        <a:pt x="676615" y="424128"/>
                      </a:lnTo>
                      <a:lnTo>
                        <a:pt x="677357" y="422808"/>
                      </a:lnTo>
                      <a:lnTo>
                        <a:pt x="678409" y="421659"/>
                      </a:lnTo>
                      <a:lnTo>
                        <a:pt x="679598" y="420779"/>
                      </a:lnTo>
                      <a:lnTo>
                        <a:pt x="683217" y="419296"/>
                      </a:lnTo>
                      <a:lnTo>
                        <a:pt x="685719" y="417837"/>
                      </a:lnTo>
                      <a:lnTo>
                        <a:pt x="687414" y="415335"/>
                      </a:lnTo>
                      <a:lnTo>
                        <a:pt x="683429" y="414259"/>
                      </a:lnTo>
                      <a:lnTo>
                        <a:pt x="684276" y="412466"/>
                      </a:lnTo>
                      <a:lnTo>
                        <a:pt x="685596" y="411464"/>
                      </a:lnTo>
                      <a:lnTo>
                        <a:pt x="687373" y="411830"/>
                      </a:lnTo>
                      <a:lnTo>
                        <a:pt x="688897" y="413232"/>
                      </a:lnTo>
                      <a:lnTo>
                        <a:pt x="689582" y="418562"/>
                      </a:lnTo>
                      <a:lnTo>
                        <a:pt x="688327" y="419320"/>
                      </a:lnTo>
                      <a:lnTo>
                        <a:pt x="687544" y="420127"/>
                      </a:lnTo>
                      <a:lnTo>
                        <a:pt x="687014" y="421195"/>
                      </a:lnTo>
                      <a:lnTo>
                        <a:pt x="684749" y="423150"/>
                      </a:lnTo>
                      <a:lnTo>
                        <a:pt x="685637" y="425587"/>
                      </a:lnTo>
                      <a:lnTo>
                        <a:pt x="684969" y="426590"/>
                      </a:lnTo>
                      <a:lnTo>
                        <a:pt x="684032" y="427046"/>
                      </a:lnTo>
                      <a:close/>
                      <a:moveTo>
                        <a:pt x="571410" y="418195"/>
                      </a:moveTo>
                      <a:lnTo>
                        <a:pt x="572641" y="419385"/>
                      </a:lnTo>
                      <a:lnTo>
                        <a:pt x="573774" y="419271"/>
                      </a:lnTo>
                      <a:lnTo>
                        <a:pt x="576137" y="417454"/>
                      </a:lnTo>
                      <a:lnTo>
                        <a:pt x="577556" y="416794"/>
                      </a:lnTo>
                      <a:lnTo>
                        <a:pt x="579088" y="416769"/>
                      </a:lnTo>
                      <a:lnTo>
                        <a:pt x="580579" y="417071"/>
                      </a:lnTo>
                      <a:lnTo>
                        <a:pt x="582029" y="418358"/>
                      </a:lnTo>
                      <a:lnTo>
                        <a:pt x="582551" y="420469"/>
                      </a:lnTo>
                      <a:lnTo>
                        <a:pt x="583097" y="421113"/>
                      </a:lnTo>
                      <a:lnTo>
                        <a:pt x="583953" y="418587"/>
                      </a:lnTo>
                      <a:lnTo>
                        <a:pt x="585086" y="417821"/>
                      </a:lnTo>
                      <a:lnTo>
                        <a:pt x="586357" y="417438"/>
                      </a:lnTo>
                      <a:lnTo>
                        <a:pt x="588362" y="417576"/>
                      </a:lnTo>
                      <a:lnTo>
                        <a:pt x="589894" y="418774"/>
                      </a:lnTo>
                      <a:lnTo>
                        <a:pt x="591279" y="422360"/>
                      </a:lnTo>
                      <a:lnTo>
                        <a:pt x="591247" y="425497"/>
                      </a:lnTo>
                      <a:lnTo>
                        <a:pt x="591752" y="426671"/>
                      </a:lnTo>
                      <a:lnTo>
                        <a:pt x="592706" y="427519"/>
                      </a:lnTo>
                      <a:lnTo>
                        <a:pt x="593415" y="428725"/>
                      </a:lnTo>
                      <a:lnTo>
                        <a:pt x="592779" y="429988"/>
                      </a:lnTo>
                      <a:lnTo>
                        <a:pt x="592151" y="430599"/>
                      </a:lnTo>
                      <a:lnTo>
                        <a:pt x="590359" y="431170"/>
                      </a:lnTo>
                      <a:lnTo>
                        <a:pt x="589495" y="430917"/>
                      </a:lnTo>
                      <a:lnTo>
                        <a:pt x="588696" y="430069"/>
                      </a:lnTo>
                      <a:lnTo>
                        <a:pt x="587799" y="429760"/>
                      </a:lnTo>
                      <a:lnTo>
                        <a:pt x="585771" y="430045"/>
                      </a:lnTo>
                      <a:lnTo>
                        <a:pt x="583904" y="430746"/>
                      </a:lnTo>
                      <a:lnTo>
                        <a:pt x="584165" y="431903"/>
                      </a:lnTo>
                      <a:lnTo>
                        <a:pt x="585697" y="432408"/>
                      </a:lnTo>
                      <a:lnTo>
                        <a:pt x="586170" y="432955"/>
                      </a:lnTo>
                      <a:lnTo>
                        <a:pt x="586056" y="433688"/>
                      </a:lnTo>
                      <a:lnTo>
                        <a:pt x="585461" y="433851"/>
                      </a:lnTo>
                      <a:lnTo>
                        <a:pt x="583464" y="432857"/>
                      </a:lnTo>
                      <a:lnTo>
                        <a:pt x="582119" y="433052"/>
                      </a:lnTo>
                      <a:lnTo>
                        <a:pt x="577279" y="434389"/>
                      </a:lnTo>
                      <a:lnTo>
                        <a:pt x="575999" y="434356"/>
                      </a:lnTo>
                      <a:lnTo>
                        <a:pt x="575273" y="433085"/>
                      </a:lnTo>
                      <a:lnTo>
                        <a:pt x="575322" y="429784"/>
                      </a:lnTo>
                      <a:lnTo>
                        <a:pt x="574809" y="428920"/>
                      </a:lnTo>
                      <a:lnTo>
                        <a:pt x="571223" y="432938"/>
                      </a:lnTo>
                      <a:lnTo>
                        <a:pt x="570131" y="433916"/>
                      </a:lnTo>
                      <a:lnTo>
                        <a:pt x="568680" y="434373"/>
                      </a:lnTo>
                      <a:lnTo>
                        <a:pt x="567165" y="434218"/>
                      </a:lnTo>
                      <a:lnTo>
                        <a:pt x="561965" y="436655"/>
                      </a:lnTo>
                      <a:lnTo>
                        <a:pt x="560343" y="436312"/>
                      </a:lnTo>
                      <a:lnTo>
                        <a:pt x="558754" y="436304"/>
                      </a:lnTo>
                      <a:lnTo>
                        <a:pt x="553204" y="438944"/>
                      </a:lnTo>
                      <a:lnTo>
                        <a:pt x="550229" y="439678"/>
                      </a:lnTo>
                      <a:lnTo>
                        <a:pt x="548705" y="439735"/>
                      </a:lnTo>
                      <a:lnTo>
                        <a:pt x="547173" y="439507"/>
                      </a:lnTo>
                      <a:lnTo>
                        <a:pt x="545812" y="439743"/>
                      </a:lnTo>
                      <a:lnTo>
                        <a:pt x="544606" y="440811"/>
                      </a:lnTo>
                      <a:lnTo>
                        <a:pt x="542120" y="441699"/>
                      </a:lnTo>
                      <a:lnTo>
                        <a:pt x="539570" y="441014"/>
                      </a:lnTo>
                      <a:lnTo>
                        <a:pt x="537410" y="440110"/>
                      </a:lnTo>
                      <a:lnTo>
                        <a:pt x="535356" y="438920"/>
                      </a:lnTo>
                      <a:lnTo>
                        <a:pt x="534851" y="437388"/>
                      </a:lnTo>
                      <a:lnTo>
                        <a:pt x="534949" y="435538"/>
                      </a:lnTo>
                      <a:lnTo>
                        <a:pt x="535813" y="433020"/>
                      </a:lnTo>
                      <a:lnTo>
                        <a:pt x="535226" y="428619"/>
                      </a:lnTo>
                      <a:lnTo>
                        <a:pt x="535674" y="426614"/>
                      </a:lnTo>
                      <a:lnTo>
                        <a:pt x="536521" y="424642"/>
                      </a:lnTo>
                      <a:lnTo>
                        <a:pt x="537785" y="423908"/>
                      </a:lnTo>
                      <a:lnTo>
                        <a:pt x="539439" y="423770"/>
                      </a:lnTo>
                      <a:lnTo>
                        <a:pt x="542178" y="421985"/>
                      </a:lnTo>
                      <a:lnTo>
                        <a:pt x="544688" y="419670"/>
                      </a:lnTo>
                      <a:lnTo>
                        <a:pt x="546154" y="419882"/>
                      </a:lnTo>
                      <a:lnTo>
                        <a:pt x="549447" y="421504"/>
                      </a:lnTo>
                      <a:lnTo>
                        <a:pt x="551387" y="421692"/>
                      </a:lnTo>
                      <a:lnTo>
                        <a:pt x="554663" y="421439"/>
                      </a:lnTo>
                      <a:lnTo>
                        <a:pt x="556024" y="422441"/>
                      </a:lnTo>
                      <a:lnTo>
                        <a:pt x="556554" y="424731"/>
                      </a:lnTo>
                      <a:lnTo>
                        <a:pt x="557287" y="425555"/>
                      </a:lnTo>
                      <a:lnTo>
                        <a:pt x="558265" y="426141"/>
                      </a:lnTo>
                      <a:lnTo>
                        <a:pt x="560596" y="430020"/>
                      </a:lnTo>
                      <a:lnTo>
                        <a:pt x="562755" y="429817"/>
                      </a:lnTo>
                      <a:lnTo>
                        <a:pt x="564646" y="430534"/>
                      </a:lnTo>
                      <a:lnTo>
                        <a:pt x="567979" y="428187"/>
                      </a:lnTo>
                      <a:lnTo>
                        <a:pt x="570506" y="428244"/>
                      </a:lnTo>
                      <a:lnTo>
                        <a:pt x="571231" y="426427"/>
                      </a:lnTo>
                      <a:lnTo>
                        <a:pt x="569715" y="424495"/>
                      </a:lnTo>
                      <a:lnTo>
                        <a:pt x="567890" y="422922"/>
                      </a:lnTo>
                      <a:lnTo>
                        <a:pt x="566912" y="422588"/>
                      </a:lnTo>
                      <a:lnTo>
                        <a:pt x="565836" y="422686"/>
                      </a:lnTo>
                      <a:lnTo>
                        <a:pt x="564874" y="422433"/>
                      </a:lnTo>
                      <a:lnTo>
                        <a:pt x="560808" y="418913"/>
                      </a:lnTo>
                      <a:lnTo>
                        <a:pt x="559602" y="417022"/>
                      </a:lnTo>
                      <a:lnTo>
                        <a:pt x="558909" y="414781"/>
                      </a:lnTo>
                      <a:lnTo>
                        <a:pt x="559341" y="413126"/>
                      </a:lnTo>
                      <a:lnTo>
                        <a:pt x="562136" y="411659"/>
                      </a:lnTo>
                      <a:lnTo>
                        <a:pt x="563440" y="411301"/>
                      </a:lnTo>
                      <a:lnTo>
                        <a:pt x="568314" y="412303"/>
                      </a:lnTo>
                      <a:lnTo>
                        <a:pt x="569137" y="413134"/>
                      </a:lnTo>
                      <a:lnTo>
                        <a:pt x="570441" y="416671"/>
                      </a:lnTo>
                      <a:lnTo>
                        <a:pt x="571410" y="418195"/>
                      </a:lnTo>
                      <a:close/>
                      <a:moveTo>
                        <a:pt x="502089" y="413305"/>
                      </a:moveTo>
                      <a:lnTo>
                        <a:pt x="504615" y="414903"/>
                      </a:lnTo>
                      <a:lnTo>
                        <a:pt x="508120" y="419573"/>
                      </a:lnTo>
                      <a:lnTo>
                        <a:pt x="508462" y="420877"/>
                      </a:lnTo>
                      <a:lnTo>
                        <a:pt x="507394" y="422107"/>
                      </a:lnTo>
                      <a:lnTo>
                        <a:pt x="504868" y="424096"/>
                      </a:lnTo>
                      <a:lnTo>
                        <a:pt x="499261" y="427152"/>
                      </a:lnTo>
                      <a:lnTo>
                        <a:pt x="498299" y="428603"/>
                      </a:lnTo>
                      <a:lnTo>
                        <a:pt x="497109" y="431422"/>
                      </a:lnTo>
                      <a:lnTo>
                        <a:pt x="496832" y="432637"/>
                      </a:lnTo>
                      <a:lnTo>
                        <a:pt x="496441" y="433297"/>
                      </a:lnTo>
                      <a:lnTo>
                        <a:pt x="495797" y="433770"/>
                      </a:lnTo>
                      <a:lnTo>
                        <a:pt x="494575" y="434185"/>
                      </a:lnTo>
                      <a:lnTo>
                        <a:pt x="493246" y="433606"/>
                      </a:lnTo>
                      <a:lnTo>
                        <a:pt x="494445" y="431773"/>
                      </a:lnTo>
                      <a:lnTo>
                        <a:pt x="494493" y="429597"/>
                      </a:lnTo>
                      <a:lnTo>
                        <a:pt x="493597" y="427567"/>
                      </a:lnTo>
                      <a:lnTo>
                        <a:pt x="492350" y="425864"/>
                      </a:lnTo>
                      <a:lnTo>
                        <a:pt x="489799" y="423566"/>
                      </a:lnTo>
                      <a:lnTo>
                        <a:pt x="487077" y="421520"/>
                      </a:lnTo>
                      <a:lnTo>
                        <a:pt x="484323" y="420485"/>
                      </a:lnTo>
                      <a:lnTo>
                        <a:pt x="481397" y="420013"/>
                      </a:lnTo>
                      <a:lnTo>
                        <a:pt x="480345" y="419019"/>
                      </a:lnTo>
                      <a:lnTo>
                        <a:pt x="478634" y="416476"/>
                      </a:lnTo>
                      <a:lnTo>
                        <a:pt x="478064" y="415082"/>
                      </a:lnTo>
                      <a:lnTo>
                        <a:pt x="477795" y="413623"/>
                      </a:lnTo>
                      <a:lnTo>
                        <a:pt x="477982" y="412213"/>
                      </a:lnTo>
                      <a:lnTo>
                        <a:pt x="478691" y="412124"/>
                      </a:lnTo>
                      <a:lnTo>
                        <a:pt x="481576" y="412458"/>
                      </a:lnTo>
                      <a:lnTo>
                        <a:pt x="486849" y="414120"/>
                      </a:lnTo>
                      <a:lnTo>
                        <a:pt x="489465" y="414259"/>
                      </a:lnTo>
                      <a:lnTo>
                        <a:pt x="490948" y="413876"/>
                      </a:lnTo>
                      <a:lnTo>
                        <a:pt x="494819" y="410600"/>
                      </a:lnTo>
                      <a:lnTo>
                        <a:pt x="495724" y="410657"/>
                      </a:lnTo>
                      <a:lnTo>
                        <a:pt x="499432" y="412091"/>
                      </a:lnTo>
                      <a:lnTo>
                        <a:pt x="502089" y="413305"/>
                      </a:lnTo>
                      <a:close/>
                      <a:moveTo>
                        <a:pt x="783670" y="398644"/>
                      </a:moveTo>
                      <a:lnTo>
                        <a:pt x="784013" y="400111"/>
                      </a:lnTo>
                      <a:lnTo>
                        <a:pt x="783964" y="400747"/>
                      </a:lnTo>
                      <a:lnTo>
                        <a:pt x="780989" y="401219"/>
                      </a:lnTo>
                      <a:lnTo>
                        <a:pt x="778128" y="402841"/>
                      </a:lnTo>
                      <a:lnTo>
                        <a:pt x="776661" y="404716"/>
                      </a:lnTo>
                      <a:lnTo>
                        <a:pt x="775512" y="407136"/>
                      </a:lnTo>
                      <a:lnTo>
                        <a:pt x="771560" y="406150"/>
                      </a:lnTo>
                      <a:lnTo>
                        <a:pt x="768047" y="405987"/>
                      </a:lnTo>
                      <a:lnTo>
                        <a:pt x="766491" y="405140"/>
                      </a:lnTo>
                      <a:lnTo>
                        <a:pt x="764796" y="405205"/>
                      </a:lnTo>
                      <a:lnTo>
                        <a:pt x="762603" y="405963"/>
                      </a:lnTo>
                      <a:lnTo>
                        <a:pt x="759490" y="408016"/>
                      </a:lnTo>
                      <a:lnTo>
                        <a:pt x="758797" y="408179"/>
                      </a:lnTo>
                      <a:lnTo>
                        <a:pt x="759042" y="405050"/>
                      </a:lnTo>
                      <a:lnTo>
                        <a:pt x="759906" y="403126"/>
                      </a:lnTo>
                      <a:lnTo>
                        <a:pt x="763182" y="398514"/>
                      </a:lnTo>
                      <a:lnTo>
                        <a:pt x="765904" y="399541"/>
                      </a:lnTo>
                      <a:lnTo>
                        <a:pt x="769090" y="399826"/>
                      </a:lnTo>
                      <a:lnTo>
                        <a:pt x="772701" y="398921"/>
                      </a:lnTo>
                      <a:lnTo>
                        <a:pt x="775268" y="396851"/>
                      </a:lnTo>
                      <a:lnTo>
                        <a:pt x="778911" y="395759"/>
                      </a:lnTo>
                      <a:lnTo>
                        <a:pt x="781796" y="398481"/>
                      </a:lnTo>
                      <a:lnTo>
                        <a:pt x="783670" y="398644"/>
                      </a:lnTo>
                      <a:close/>
                      <a:moveTo>
                        <a:pt x="1074714" y="416859"/>
                      </a:moveTo>
                      <a:lnTo>
                        <a:pt x="1068789" y="420819"/>
                      </a:lnTo>
                      <a:lnTo>
                        <a:pt x="1061006" y="420119"/>
                      </a:lnTo>
                      <a:lnTo>
                        <a:pt x="1058260" y="420045"/>
                      </a:lnTo>
                      <a:lnTo>
                        <a:pt x="1053687" y="421007"/>
                      </a:lnTo>
                      <a:lnTo>
                        <a:pt x="1052758" y="420241"/>
                      </a:lnTo>
                      <a:lnTo>
                        <a:pt x="1053622" y="416517"/>
                      </a:lnTo>
                      <a:lnTo>
                        <a:pt x="1057281" y="406582"/>
                      </a:lnTo>
                      <a:lnTo>
                        <a:pt x="1061609" y="397829"/>
                      </a:lnTo>
                      <a:lnTo>
                        <a:pt x="1063451" y="395572"/>
                      </a:lnTo>
                      <a:lnTo>
                        <a:pt x="1066018" y="393453"/>
                      </a:lnTo>
                      <a:lnTo>
                        <a:pt x="1068756" y="391725"/>
                      </a:lnTo>
                      <a:lnTo>
                        <a:pt x="1074917" y="389957"/>
                      </a:lnTo>
                      <a:lnTo>
                        <a:pt x="1080516" y="390291"/>
                      </a:lnTo>
                      <a:lnTo>
                        <a:pt x="1081323" y="391024"/>
                      </a:lnTo>
                      <a:lnTo>
                        <a:pt x="1083743" y="393925"/>
                      </a:lnTo>
                      <a:lnTo>
                        <a:pt x="1085308" y="396224"/>
                      </a:lnTo>
                      <a:lnTo>
                        <a:pt x="1085960" y="399475"/>
                      </a:lnTo>
                      <a:lnTo>
                        <a:pt x="1083589" y="405082"/>
                      </a:lnTo>
                      <a:lnTo>
                        <a:pt x="1080932" y="410412"/>
                      </a:lnTo>
                      <a:lnTo>
                        <a:pt x="1076612" y="414601"/>
                      </a:lnTo>
                      <a:lnTo>
                        <a:pt x="1074714" y="416859"/>
                      </a:lnTo>
                      <a:close/>
                      <a:moveTo>
                        <a:pt x="895900" y="408619"/>
                      </a:moveTo>
                      <a:lnTo>
                        <a:pt x="895493" y="408970"/>
                      </a:lnTo>
                      <a:lnTo>
                        <a:pt x="892412" y="408570"/>
                      </a:lnTo>
                      <a:lnTo>
                        <a:pt x="890644" y="408554"/>
                      </a:lnTo>
                      <a:lnTo>
                        <a:pt x="890880" y="406289"/>
                      </a:lnTo>
                      <a:lnTo>
                        <a:pt x="889975" y="404577"/>
                      </a:lnTo>
                      <a:lnTo>
                        <a:pt x="891214" y="402075"/>
                      </a:lnTo>
                      <a:lnTo>
                        <a:pt x="891239" y="399158"/>
                      </a:lnTo>
                      <a:lnTo>
                        <a:pt x="892535" y="398766"/>
                      </a:lnTo>
                      <a:lnTo>
                        <a:pt x="892714" y="397104"/>
                      </a:lnTo>
                      <a:lnTo>
                        <a:pt x="894262" y="392711"/>
                      </a:lnTo>
                      <a:lnTo>
                        <a:pt x="895167" y="391733"/>
                      </a:lnTo>
                      <a:lnTo>
                        <a:pt x="896463" y="391358"/>
                      </a:lnTo>
                      <a:lnTo>
                        <a:pt x="898003" y="388799"/>
                      </a:lnTo>
                      <a:lnTo>
                        <a:pt x="898859" y="388041"/>
                      </a:lnTo>
                      <a:lnTo>
                        <a:pt x="899771" y="386110"/>
                      </a:lnTo>
                      <a:lnTo>
                        <a:pt x="901075" y="385205"/>
                      </a:lnTo>
                      <a:lnTo>
                        <a:pt x="900961" y="383535"/>
                      </a:lnTo>
                      <a:lnTo>
                        <a:pt x="901703" y="382654"/>
                      </a:lnTo>
                      <a:lnTo>
                        <a:pt x="903757" y="381978"/>
                      </a:lnTo>
                      <a:lnTo>
                        <a:pt x="905174" y="382793"/>
                      </a:lnTo>
                      <a:lnTo>
                        <a:pt x="906047" y="384504"/>
                      </a:lnTo>
                      <a:lnTo>
                        <a:pt x="903765" y="386607"/>
                      </a:lnTo>
                      <a:lnTo>
                        <a:pt x="904938" y="391782"/>
                      </a:lnTo>
                      <a:lnTo>
                        <a:pt x="903284" y="397405"/>
                      </a:lnTo>
                      <a:lnTo>
                        <a:pt x="902184" y="399092"/>
                      </a:lnTo>
                      <a:lnTo>
                        <a:pt x="900162" y="400559"/>
                      </a:lnTo>
                      <a:lnTo>
                        <a:pt x="899543" y="401928"/>
                      </a:lnTo>
                      <a:lnTo>
                        <a:pt x="897147" y="404716"/>
                      </a:lnTo>
                      <a:lnTo>
                        <a:pt x="896414" y="407095"/>
                      </a:lnTo>
                      <a:lnTo>
                        <a:pt x="896316" y="408090"/>
                      </a:lnTo>
                      <a:lnTo>
                        <a:pt x="895900" y="408619"/>
                      </a:lnTo>
                      <a:close/>
                      <a:moveTo>
                        <a:pt x="462326" y="381725"/>
                      </a:moveTo>
                      <a:lnTo>
                        <a:pt x="461862" y="382174"/>
                      </a:lnTo>
                      <a:lnTo>
                        <a:pt x="457648" y="381929"/>
                      </a:lnTo>
                      <a:lnTo>
                        <a:pt x="454935" y="384382"/>
                      </a:lnTo>
                      <a:lnTo>
                        <a:pt x="453060" y="385140"/>
                      </a:lnTo>
                      <a:lnTo>
                        <a:pt x="446304" y="385140"/>
                      </a:lnTo>
                      <a:lnTo>
                        <a:pt x="445497" y="384798"/>
                      </a:lnTo>
                      <a:lnTo>
                        <a:pt x="444902" y="384806"/>
                      </a:lnTo>
                      <a:lnTo>
                        <a:pt x="444535" y="385311"/>
                      </a:lnTo>
                      <a:lnTo>
                        <a:pt x="442384" y="384936"/>
                      </a:lnTo>
                      <a:lnTo>
                        <a:pt x="435514" y="382760"/>
                      </a:lnTo>
                      <a:lnTo>
                        <a:pt x="434585" y="380756"/>
                      </a:lnTo>
                      <a:lnTo>
                        <a:pt x="435652" y="378596"/>
                      </a:lnTo>
                      <a:lnTo>
                        <a:pt x="438113" y="375548"/>
                      </a:lnTo>
                      <a:lnTo>
                        <a:pt x="443052" y="374953"/>
                      </a:lnTo>
                      <a:lnTo>
                        <a:pt x="465553" y="374757"/>
                      </a:lnTo>
                      <a:lnTo>
                        <a:pt x="468015" y="377365"/>
                      </a:lnTo>
                      <a:lnTo>
                        <a:pt x="468243" y="378245"/>
                      </a:lnTo>
                      <a:lnTo>
                        <a:pt x="463337" y="380038"/>
                      </a:lnTo>
                      <a:lnTo>
                        <a:pt x="462326" y="381725"/>
                      </a:lnTo>
                      <a:close/>
                      <a:moveTo>
                        <a:pt x="975547" y="361807"/>
                      </a:moveTo>
                      <a:lnTo>
                        <a:pt x="975132" y="363934"/>
                      </a:lnTo>
                      <a:lnTo>
                        <a:pt x="974741" y="366298"/>
                      </a:lnTo>
                      <a:lnTo>
                        <a:pt x="972459" y="368947"/>
                      </a:lnTo>
                      <a:lnTo>
                        <a:pt x="971057" y="373005"/>
                      </a:lnTo>
                      <a:lnTo>
                        <a:pt x="970234" y="374016"/>
                      </a:lnTo>
                      <a:lnTo>
                        <a:pt x="967178" y="375825"/>
                      </a:lnTo>
                      <a:lnTo>
                        <a:pt x="964480" y="373584"/>
                      </a:lnTo>
                      <a:lnTo>
                        <a:pt x="963690" y="371644"/>
                      </a:lnTo>
                      <a:lnTo>
                        <a:pt x="964880" y="362696"/>
                      </a:lnTo>
                      <a:lnTo>
                        <a:pt x="966045" y="362997"/>
                      </a:lnTo>
                      <a:lnTo>
                        <a:pt x="966819" y="362932"/>
                      </a:lnTo>
                      <a:lnTo>
                        <a:pt x="967056" y="362337"/>
                      </a:lnTo>
                      <a:lnTo>
                        <a:pt x="965320" y="361351"/>
                      </a:lnTo>
                      <a:lnTo>
                        <a:pt x="964986" y="356200"/>
                      </a:lnTo>
                      <a:lnTo>
                        <a:pt x="965075" y="354269"/>
                      </a:lnTo>
                      <a:lnTo>
                        <a:pt x="966395" y="353829"/>
                      </a:lnTo>
                      <a:lnTo>
                        <a:pt x="968033" y="355336"/>
                      </a:lnTo>
                      <a:lnTo>
                        <a:pt x="970112" y="358026"/>
                      </a:lnTo>
                      <a:lnTo>
                        <a:pt x="972524" y="360153"/>
                      </a:lnTo>
                      <a:lnTo>
                        <a:pt x="975547" y="361807"/>
                      </a:lnTo>
                      <a:close/>
                      <a:moveTo>
                        <a:pt x="301842" y="348751"/>
                      </a:moveTo>
                      <a:lnTo>
                        <a:pt x="304344" y="352182"/>
                      </a:lnTo>
                      <a:lnTo>
                        <a:pt x="306536" y="354016"/>
                      </a:lnTo>
                      <a:lnTo>
                        <a:pt x="309111" y="355011"/>
                      </a:lnTo>
                      <a:lnTo>
                        <a:pt x="311817" y="355108"/>
                      </a:lnTo>
                      <a:lnTo>
                        <a:pt x="314490" y="355540"/>
                      </a:lnTo>
                      <a:lnTo>
                        <a:pt x="317587" y="356852"/>
                      </a:lnTo>
                      <a:lnTo>
                        <a:pt x="320782" y="357439"/>
                      </a:lnTo>
                      <a:lnTo>
                        <a:pt x="322273" y="357219"/>
                      </a:lnTo>
                      <a:lnTo>
                        <a:pt x="323699" y="356534"/>
                      </a:lnTo>
                      <a:lnTo>
                        <a:pt x="324694" y="356494"/>
                      </a:lnTo>
                      <a:lnTo>
                        <a:pt x="325566" y="357121"/>
                      </a:lnTo>
                      <a:lnTo>
                        <a:pt x="327774" y="360023"/>
                      </a:lnTo>
                      <a:lnTo>
                        <a:pt x="330162" y="362679"/>
                      </a:lnTo>
                      <a:lnTo>
                        <a:pt x="330716" y="364024"/>
                      </a:lnTo>
                      <a:lnTo>
                        <a:pt x="332338" y="370430"/>
                      </a:lnTo>
                      <a:lnTo>
                        <a:pt x="334188" y="372264"/>
                      </a:lnTo>
                      <a:lnTo>
                        <a:pt x="336715" y="372801"/>
                      </a:lnTo>
                      <a:lnTo>
                        <a:pt x="339681" y="372801"/>
                      </a:lnTo>
                      <a:lnTo>
                        <a:pt x="342631" y="373078"/>
                      </a:lnTo>
                      <a:lnTo>
                        <a:pt x="349477" y="374570"/>
                      </a:lnTo>
                      <a:lnTo>
                        <a:pt x="352183" y="374366"/>
                      </a:lnTo>
                      <a:lnTo>
                        <a:pt x="354595" y="372858"/>
                      </a:lnTo>
                      <a:lnTo>
                        <a:pt x="356738" y="373828"/>
                      </a:lnTo>
                      <a:lnTo>
                        <a:pt x="362541" y="375638"/>
                      </a:lnTo>
                      <a:lnTo>
                        <a:pt x="365401" y="376037"/>
                      </a:lnTo>
                      <a:lnTo>
                        <a:pt x="368654" y="375523"/>
                      </a:lnTo>
                      <a:lnTo>
                        <a:pt x="371897" y="375417"/>
                      </a:lnTo>
                      <a:lnTo>
                        <a:pt x="373445" y="375939"/>
                      </a:lnTo>
                      <a:lnTo>
                        <a:pt x="374945" y="376713"/>
                      </a:lnTo>
                      <a:lnTo>
                        <a:pt x="376224" y="376990"/>
                      </a:lnTo>
                      <a:lnTo>
                        <a:pt x="377553" y="376982"/>
                      </a:lnTo>
                      <a:lnTo>
                        <a:pt x="379900" y="375466"/>
                      </a:lnTo>
                      <a:lnTo>
                        <a:pt x="381440" y="372728"/>
                      </a:lnTo>
                      <a:lnTo>
                        <a:pt x="382704" y="369256"/>
                      </a:lnTo>
                      <a:lnTo>
                        <a:pt x="383690" y="365638"/>
                      </a:lnTo>
                      <a:lnTo>
                        <a:pt x="384350" y="364089"/>
                      </a:lnTo>
                      <a:lnTo>
                        <a:pt x="385238" y="362712"/>
                      </a:lnTo>
                      <a:lnTo>
                        <a:pt x="386411" y="361832"/>
                      </a:lnTo>
                      <a:lnTo>
                        <a:pt x="387666" y="361270"/>
                      </a:lnTo>
                      <a:lnTo>
                        <a:pt x="391081" y="361620"/>
                      </a:lnTo>
                      <a:lnTo>
                        <a:pt x="391791" y="362484"/>
                      </a:lnTo>
                      <a:lnTo>
                        <a:pt x="395604" y="368620"/>
                      </a:lnTo>
                      <a:lnTo>
                        <a:pt x="396281" y="369150"/>
                      </a:lnTo>
                      <a:lnTo>
                        <a:pt x="400250" y="369550"/>
                      </a:lnTo>
                      <a:lnTo>
                        <a:pt x="401358" y="369338"/>
                      </a:lnTo>
                      <a:lnTo>
                        <a:pt x="403779" y="368107"/>
                      </a:lnTo>
                      <a:lnTo>
                        <a:pt x="405172" y="368001"/>
                      </a:lnTo>
                      <a:lnTo>
                        <a:pt x="407723" y="369525"/>
                      </a:lnTo>
                      <a:lnTo>
                        <a:pt x="408840" y="370805"/>
                      </a:lnTo>
                      <a:lnTo>
                        <a:pt x="410062" y="371766"/>
                      </a:lnTo>
                      <a:lnTo>
                        <a:pt x="416321" y="372744"/>
                      </a:lnTo>
                      <a:lnTo>
                        <a:pt x="418742" y="375360"/>
                      </a:lnTo>
                      <a:lnTo>
                        <a:pt x="419956" y="375719"/>
                      </a:lnTo>
                      <a:lnTo>
                        <a:pt x="424316" y="375401"/>
                      </a:lnTo>
                      <a:lnTo>
                        <a:pt x="427323" y="375654"/>
                      </a:lnTo>
                      <a:lnTo>
                        <a:pt x="429939" y="376363"/>
                      </a:lnTo>
                      <a:lnTo>
                        <a:pt x="431129" y="380087"/>
                      </a:lnTo>
                      <a:lnTo>
                        <a:pt x="432091" y="383918"/>
                      </a:lnTo>
                      <a:lnTo>
                        <a:pt x="432662" y="385222"/>
                      </a:lnTo>
                      <a:lnTo>
                        <a:pt x="435212" y="386542"/>
                      </a:lnTo>
                      <a:lnTo>
                        <a:pt x="436263" y="387724"/>
                      </a:lnTo>
                      <a:lnTo>
                        <a:pt x="435978" y="391546"/>
                      </a:lnTo>
                      <a:lnTo>
                        <a:pt x="436272" y="395180"/>
                      </a:lnTo>
                      <a:lnTo>
                        <a:pt x="441699" y="398351"/>
                      </a:lnTo>
                      <a:lnTo>
                        <a:pt x="447534" y="400160"/>
                      </a:lnTo>
                      <a:lnTo>
                        <a:pt x="453712" y="400331"/>
                      </a:lnTo>
                      <a:lnTo>
                        <a:pt x="459914" y="399703"/>
                      </a:lnTo>
                      <a:lnTo>
                        <a:pt x="463109" y="398929"/>
                      </a:lnTo>
                      <a:lnTo>
                        <a:pt x="467094" y="397568"/>
                      </a:lnTo>
                      <a:lnTo>
                        <a:pt x="467925" y="397593"/>
                      </a:lnTo>
                      <a:lnTo>
                        <a:pt x="475668" y="401766"/>
                      </a:lnTo>
                      <a:lnTo>
                        <a:pt x="476328" y="402401"/>
                      </a:lnTo>
                      <a:lnTo>
                        <a:pt x="477183" y="405506"/>
                      </a:lnTo>
                      <a:lnTo>
                        <a:pt x="477167" y="408774"/>
                      </a:lnTo>
                      <a:lnTo>
                        <a:pt x="475708" y="416557"/>
                      </a:lnTo>
                      <a:lnTo>
                        <a:pt x="475627" y="418701"/>
                      </a:lnTo>
                      <a:lnTo>
                        <a:pt x="475766" y="420836"/>
                      </a:lnTo>
                      <a:lnTo>
                        <a:pt x="477298" y="425473"/>
                      </a:lnTo>
                      <a:lnTo>
                        <a:pt x="478120" y="426818"/>
                      </a:lnTo>
                      <a:lnTo>
                        <a:pt x="480932" y="429246"/>
                      </a:lnTo>
                      <a:lnTo>
                        <a:pt x="481030" y="430526"/>
                      </a:lnTo>
                      <a:lnTo>
                        <a:pt x="480647" y="431797"/>
                      </a:lnTo>
                      <a:lnTo>
                        <a:pt x="477558" y="430933"/>
                      </a:lnTo>
                      <a:lnTo>
                        <a:pt x="475675" y="429866"/>
                      </a:lnTo>
                      <a:lnTo>
                        <a:pt x="474592" y="428122"/>
                      </a:lnTo>
                      <a:lnTo>
                        <a:pt x="473043" y="427127"/>
                      </a:lnTo>
                      <a:lnTo>
                        <a:pt x="470142" y="427486"/>
                      </a:lnTo>
                      <a:lnTo>
                        <a:pt x="464698" y="425750"/>
                      </a:lnTo>
                      <a:lnTo>
                        <a:pt x="458553" y="423020"/>
                      </a:lnTo>
                      <a:lnTo>
                        <a:pt x="447657" y="417266"/>
                      </a:lnTo>
                      <a:lnTo>
                        <a:pt x="444690" y="417315"/>
                      </a:lnTo>
                      <a:lnTo>
                        <a:pt x="441846" y="418057"/>
                      </a:lnTo>
                      <a:lnTo>
                        <a:pt x="438839" y="419524"/>
                      </a:lnTo>
                      <a:lnTo>
                        <a:pt x="435709" y="420567"/>
                      </a:lnTo>
                      <a:lnTo>
                        <a:pt x="433411" y="420958"/>
                      </a:lnTo>
                      <a:lnTo>
                        <a:pt x="431113" y="420681"/>
                      </a:lnTo>
                      <a:lnTo>
                        <a:pt x="425294" y="419287"/>
                      </a:lnTo>
                      <a:lnTo>
                        <a:pt x="419426" y="418399"/>
                      </a:lnTo>
                      <a:lnTo>
                        <a:pt x="404415" y="417829"/>
                      </a:lnTo>
                      <a:lnTo>
                        <a:pt x="400169" y="416533"/>
                      </a:lnTo>
                      <a:lnTo>
                        <a:pt x="393151" y="415864"/>
                      </a:lnTo>
                      <a:lnTo>
                        <a:pt x="387560" y="414724"/>
                      </a:lnTo>
                      <a:lnTo>
                        <a:pt x="382035" y="413143"/>
                      </a:lnTo>
                      <a:lnTo>
                        <a:pt x="367928" y="405359"/>
                      </a:lnTo>
                      <a:lnTo>
                        <a:pt x="363323" y="403493"/>
                      </a:lnTo>
                      <a:lnTo>
                        <a:pt x="349159" y="399785"/>
                      </a:lnTo>
                      <a:lnTo>
                        <a:pt x="346967" y="399484"/>
                      </a:lnTo>
                      <a:lnTo>
                        <a:pt x="341841" y="399752"/>
                      </a:lnTo>
                      <a:lnTo>
                        <a:pt x="338605" y="398669"/>
                      </a:lnTo>
                      <a:lnTo>
                        <a:pt x="335753" y="398644"/>
                      </a:lnTo>
                      <a:lnTo>
                        <a:pt x="331515" y="399842"/>
                      </a:lnTo>
                      <a:lnTo>
                        <a:pt x="330211" y="400706"/>
                      </a:lnTo>
                      <a:lnTo>
                        <a:pt x="328573" y="402540"/>
                      </a:lnTo>
                      <a:lnTo>
                        <a:pt x="325688" y="402450"/>
                      </a:lnTo>
                      <a:lnTo>
                        <a:pt x="322844" y="402100"/>
                      </a:lnTo>
                      <a:lnTo>
                        <a:pt x="315322" y="400347"/>
                      </a:lnTo>
                      <a:lnTo>
                        <a:pt x="312510" y="399280"/>
                      </a:lnTo>
                      <a:lnTo>
                        <a:pt x="309821" y="397691"/>
                      </a:lnTo>
                      <a:lnTo>
                        <a:pt x="307384" y="395621"/>
                      </a:lnTo>
                      <a:lnTo>
                        <a:pt x="306129" y="394863"/>
                      </a:lnTo>
                      <a:lnTo>
                        <a:pt x="299634" y="392760"/>
                      </a:lnTo>
                      <a:lnTo>
                        <a:pt x="294336" y="392027"/>
                      </a:lnTo>
                      <a:lnTo>
                        <a:pt x="283424" y="391073"/>
                      </a:lnTo>
                      <a:lnTo>
                        <a:pt x="281035" y="390437"/>
                      </a:lnTo>
                      <a:lnTo>
                        <a:pt x="279055" y="389655"/>
                      </a:lnTo>
                      <a:lnTo>
                        <a:pt x="277963" y="387943"/>
                      </a:lnTo>
                      <a:lnTo>
                        <a:pt x="278102" y="385768"/>
                      </a:lnTo>
                      <a:lnTo>
                        <a:pt x="278884" y="383885"/>
                      </a:lnTo>
                      <a:lnTo>
                        <a:pt x="279960" y="382002"/>
                      </a:lnTo>
                      <a:lnTo>
                        <a:pt x="280661" y="380193"/>
                      </a:lnTo>
                      <a:lnTo>
                        <a:pt x="272682" y="376404"/>
                      </a:lnTo>
                      <a:lnTo>
                        <a:pt x="266390" y="374334"/>
                      </a:lnTo>
                      <a:lnTo>
                        <a:pt x="263669" y="373942"/>
                      </a:lnTo>
                      <a:lnTo>
                        <a:pt x="260947" y="373951"/>
                      </a:lnTo>
                      <a:lnTo>
                        <a:pt x="257874" y="374382"/>
                      </a:lnTo>
                      <a:lnTo>
                        <a:pt x="254834" y="374187"/>
                      </a:lnTo>
                      <a:lnTo>
                        <a:pt x="253400" y="373568"/>
                      </a:lnTo>
                      <a:lnTo>
                        <a:pt x="251933" y="373364"/>
                      </a:lnTo>
                      <a:lnTo>
                        <a:pt x="250474" y="373804"/>
                      </a:lnTo>
                      <a:lnTo>
                        <a:pt x="249284" y="373641"/>
                      </a:lnTo>
                      <a:lnTo>
                        <a:pt x="248991" y="371913"/>
                      </a:lnTo>
                      <a:lnTo>
                        <a:pt x="249741" y="370454"/>
                      </a:lnTo>
                      <a:lnTo>
                        <a:pt x="251281" y="368792"/>
                      </a:lnTo>
                      <a:lnTo>
                        <a:pt x="252153" y="368498"/>
                      </a:lnTo>
                      <a:lnTo>
                        <a:pt x="252552" y="371090"/>
                      </a:lnTo>
                      <a:lnTo>
                        <a:pt x="252992" y="371603"/>
                      </a:lnTo>
                      <a:lnTo>
                        <a:pt x="254370" y="372174"/>
                      </a:lnTo>
                      <a:lnTo>
                        <a:pt x="254948" y="372003"/>
                      </a:lnTo>
                      <a:lnTo>
                        <a:pt x="257361" y="368686"/>
                      </a:lnTo>
                      <a:lnTo>
                        <a:pt x="258029" y="367048"/>
                      </a:lnTo>
                      <a:lnTo>
                        <a:pt x="259202" y="362639"/>
                      </a:lnTo>
                      <a:lnTo>
                        <a:pt x="260474" y="363486"/>
                      </a:lnTo>
                      <a:lnTo>
                        <a:pt x="261737" y="362957"/>
                      </a:lnTo>
                      <a:lnTo>
                        <a:pt x="262470" y="362264"/>
                      </a:lnTo>
                      <a:lnTo>
                        <a:pt x="264483" y="352028"/>
                      </a:lnTo>
                      <a:lnTo>
                        <a:pt x="266171" y="349045"/>
                      </a:lnTo>
                      <a:lnTo>
                        <a:pt x="268461" y="346559"/>
                      </a:lnTo>
                      <a:lnTo>
                        <a:pt x="269618" y="345956"/>
                      </a:lnTo>
                      <a:lnTo>
                        <a:pt x="271867" y="347480"/>
                      </a:lnTo>
                      <a:lnTo>
                        <a:pt x="276431" y="348059"/>
                      </a:lnTo>
                      <a:lnTo>
                        <a:pt x="279145" y="349061"/>
                      </a:lnTo>
                      <a:lnTo>
                        <a:pt x="281859" y="349200"/>
                      </a:lnTo>
                      <a:lnTo>
                        <a:pt x="284515" y="349697"/>
                      </a:lnTo>
                      <a:lnTo>
                        <a:pt x="288224" y="351490"/>
                      </a:lnTo>
                      <a:lnTo>
                        <a:pt x="289527" y="351302"/>
                      </a:lnTo>
                      <a:lnTo>
                        <a:pt x="290864" y="350756"/>
                      </a:lnTo>
                      <a:lnTo>
                        <a:pt x="292845" y="348808"/>
                      </a:lnTo>
                      <a:lnTo>
                        <a:pt x="293700" y="345671"/>
                      </a:lnTo>
                      <a:lnTo>
                        <a:pt x="296569" y="347268"/>
                      </a:lnTo>
                      <a:lnTo>
                        <a:pt x="300783" y="347888"/>
                      </a:lnTo>
                      <a:lnTo>
                        <a:pt x="301842" y="348751"/>
                      </a:lnTo>
                      <a:close/>
                      <a:moveTo>
                        <a:pt x="980755" y="339738"/>
                      </a:moveTo>
                      <a:lnTo>
                        <a:pt x="980568" y="340903"/>
                      </a:lnTo>
                      <a:lnTo>
                        <a:pt x="980552" y="343030"/>
                      </a:lnTo>
                      <a:lnTo>
                        <a:pt x="980959" y="345011"/>
                      </a:lnTo>
                      <a:lnTo>
                        <a:pt x="979899" y="347024"/>
                      </a:lnTo>
                      <a:lnTo>
                        <a:pt x="980894" y="350047"/>
                      </a:lnTo>
                      <a:lnTo>
                        <a:pt x="981041" y="351539"/>
                      </a:lnTo>
                      <a:lnTo>
                        <a:pt x="980983" y="353658"/>
                      </a:lnTo>
                      <a:lnTo>
                        <a:pt x="980706" y="354619"/>
                      </a:lnTo>
                      <a:lnTo>
                        <a:pt x="979949" y="357390"/>
                      </a:lnTo>
                      <a:lnTo>
                        <a:pt x="979199" y="358392"/>
                      </a:lnTo>
                      <a:lnTo>
                        <a:pt x="978628" y="358662"/>
                      </a:lnTo>
                      <a:lnTo>
                        <a:pt x="978058" y="359509"/>
                      </a:lnTo>
                      <a:lnTo>
                        <a:pt x="973176" y="358596"/>
                      </a:lnTo>
                      <a:lnTo>
                        <a:pt x="971065" y="356665"/>
                      </a:lnTo>
                      <a:lnTo>
                        <a:pt x="969191" y="354570"/>
                      </a:lnTo>
                      <a:lnTo>
                        <a:pt x="968792" y="353707"/>
                      </a:lnTo>
                      <a:lnTo>
                        <a:pt x="966583" y="351270"/>
                      </a:lnTo>
                      <a:lnTo>
                        <a:pt x="966078" y="350438"/>
                      </a:lnTo>
                      <a:lnTo>
                        <a:pt x="966029" y="349126"/>
                      </a:lnTo>
                      <a:lnTo>
                        <a:pt x="967822" y="348800"/>
                      </a:lnTo>
                      <a:lnTo>
                        <a:pt x="969721" y="348841"/>
                      </a:lnTo>
                      <a:lnTo>
                        <a:pt x="969639" y="347659"/>
                      </a:lnTo>
                      <a:lnTo>
                        <a:pt x="970739" y="343528"/>
                      </a:lnTo>
                      <a:lnTo>
                        <a:pt x="967854" y="340871"/>
                      </a:lnTo>
                      <a:lnTo>
                        <a:pt x="967333" y="339754"/>
                      </a:lnTo>
                      <a:lnTo>
                        <a:pt x="968368" y="338996"/>
                      </a:lnTo>
                      <a:lnTo>
                        <a:pt x="970699" y="339917"/>
                      </a:lnTo>
                      <a:lnTo>
                        <a:pt x="973559" y="335255"/>
                      </a:lnTo>
                      <a:lnTo>
                        <a:pt x="974407" y="334286"/>
                      </a:lnTo>
                      <a:lnTo>
                        <a:pt x="974814" y="331694"/>
                      </a:lnTo>
                      <a:lnTo>
                        <a:pt x="976412" y="331360"/>
                      </a:lnTo>
                      <a:lnTo>
                        <a:pt x="977536" y="331694"/>
                      </a:lnTo>
                      <a:lnTo>
                        <a:pt x="978278" y="333308"/>
                      </a:lnTo>
                      <a:lnTo>
                        <a:pt x="978571" y="334710"/>
                      </a:lnTo>
                      <a:lnTo>
                        <a:pt x="978261" y="335973"/>
                      </a:lnTo>
                      <a:lnTo>
                        <a:pt x="979631" y="336616"/>
                      </a:lnTo>
                      <a:lnTo>
                        <a:pt x="980755" y="339738"/>
                      </a:lnTo>
                      <a:close/>
                      <a:moveTo>
                        <a:pt x="680601" y="326609"/>
                      </a:moveTo>
                      <a:lnTo>
                        <a:pt x="679965" y="328589"/>
                      </a:lnTo>
                      <a:lnTo>
                        <a:pt x="678596" y="330138"/>
                      </a:lnTo>
                      <a:lnTo>
                        <a:pt x="677487" y="330260"/>
                      </a:lnTo>
                      <a:lnTo>
                        <a:pt x="676347" y="329942"/>
                      </a:lnTo>
                      <a:lnTo>
                        <a:pt x="674317" y="328581"/>
                      </a:lnTo>
                      <a:lnTo>
                        <a:pt x="673812" y="330015"/>
                      </a:lnTo>
                      <a:lnTo>
                        <a:pt x="672223" y="329950"/>
                      </a:lnTo>
                      <a:lnTo>
                        <a:pt x="671636" y="328092"/>
                      </a:lnTo>
                      <a:lnTo>
                        <a:pt x="672769" y="322640"/>
                      </a:lnTo>
                      <a:lnTo>
                        <a:pt x="674448" y="320602"/>
                      </a:lnTo>
                      <a:lnTo>
                        <a:pt x="674284" y="318467"/>
                      </a:lnTo>
                      <a:lnTo>
                        <a:pt x="672907" y="313903"/>
                      </a:lnTo>
                      <a:lnTo>
                        <a:pt x="673755" y="311524"/>
                      </a:lnTo>
                      <a:lnTo>
                        <a:pt x="677610" y="309722"/>
                      </a:lnTo>
                      <a:lnTo>
                        <a:pt x="680976" y="307522"/>
                      </a:lnTo>
                      <a:lnTo>
                        <a:pt x="682019" y="307066"/>
                      </a:lnTo>
                      <a:lnTo>
                        <a:pt x="682956" y="308744"/>
                      </a:lnTo>
                      <a:lnTo>
                        <a:pt x="683453" y="316519"/>
                      </a:lnTo>
                      <a:lnTo>
                        <a:pt x="679835" y="322656"/>
                      </a:lnTo>
                      <a:lnTo>
                        <a:pt x="680601" y="326609"/>
                      </a:lnTo>
                      <a:close/>
                      <a:moveTo>
                        <a:pt x="693860" y="305061"/>
                      </a:moveTo>
                      <a:lnTo>
                        <a:pt x="694447" y="311507"/>
                      </a:lnTo>
                      <a:lnTo>
                        <a:pt x="694268" y="313194"/>
                      </a:lnTo>
                      <a:lnTo>
                        <a:pt x="692866" y="310709"/>
                      </a:lnTo>
                      <a:lnTo>
                        <a:pt x="692361" y="310228"/>
                      </a:lnTo>
                      <a:lnTo>
                        <a:pt x="691986" y="310709"/>
                      </a:lnTo>
                      <a:lnTo>
                        <a:pt x="691489" y="310986"/>
                      </a:lnTo>
                      <a:lnTo>
                        <a:pt x="690780" y="310969"/>
                      </a:lnTo>
                      <a:lnTo>
                        <a:pt x="689851" y="313471"/>
                      </a:lnTo>
                      <a:lnTo>
                        <a:pt x="689777" y="315835"/>
                      </a:lnTo>
                      <a:lnTo>
                        <a:pt x="689068" y="317408"/>
                      </a:lnTo>
                      <a:lnTo>
                        <a:pt x="688702" y="322672"/>
                      </a:lnTo>
                      <a:lnTo>
                        <a:pt x="688930" y="324090"/>
                      </a:lnTo>
                      <a:lnTo>
                        <a:pt x="690013" y="323390"/>
                      </a:lnTo>
                      <a:lnTo>
                        <a:pt x="690674" y="323210"/>
                      </a:lnTo>
                      <a:lnTo>
                        <a:pt x="693127" y="325239"/>
                      </a:lnTo>
                      <a:lnTo>
                        <a:pt x="694415" y="326715"/>
                      </a:lnTo>
                      <a:lnTo>
                        <a:pt x="694048" y="328516"/>
                      </a:lnTo>
                      <a:lnTo>
                        <a:pt x="692394" y="330325"/>
                      </a:lnTo>
                      <a:lnTo>
                        <a:pt x="690486" y="331115"/>
                      </a:lnTo>
                      <a:lnTo>
                        <a:pt x="689052" y="330333"/>
                      </a:lnTo>
                      <a:lnTo>
                        <a:pt x="688628" y="330700"/>
                      </a:lnTo>
                      <a:lnTo>
                        <a:pt x="687780" y="331629"/>
                      </a:lnTo>
                      <a:lnTo>
                        <a:pt x="687137" y="332843"/>
                      </a:lnTo>
                      <a:lnTo>
                        <a:pt x="687316" y="334098"/>
                      </a:lnTo>
                      <a:lnTo>
                        <a:pt x="685686" y="337660"/>
                      </a:lnTo>
                      <a:lnTo>
                        <a:pt x="684733" y="338662"/>
                      </a:lnTo>
                      <a:lnTo>
                        <a:pt x="682776" y="337570"/>
                      </a:lnTo>
                      <a:lnTo>
                        <a:pt x="681579" y="338507"/>
                      </a:lnTo>
                      <a:lnTo>
                        <a:pt x="680601" y="338418"/>
                      </a:lnTo>
                      <a:lnTo>
                        <a:pt x="679109" y="334856"/>
                      </a:lnTo>
                      <a:lnTo>
                        <a:pt x="679150" y="333177"/>
                      </a:lnTo>
                      <a:lnTo>
                        <a:pt x="680536" y="331303"/>
                      </a:lnTo>
                      <a:lnTo>
                        <a:pt x="680543" y="329958"/>
                      </a:lnTo>
                      <a:lnTo>
                        <a:pt x="681228" y="328442"/>
                      </a:lnTo>
                      <a:lnTo>
                        <a:pt x="682752" y="326372"/>
                      </a:lnTo>
                      <a:lnTo>
                        <a:pt x="683616" y="324816"/>
                      </a:lnTo>
                      <a:lnTo>
                        <a:pt x="683640" y="323838"/>
                      </a:lnTo>
                      <a:lnTo>
                        <a:pt x="684285" y="320089"/>
                      </a:lnTo>
                      <a:lnTo>
                        <a:pt x="684537" y="318524"/>
                      </a:lnTo>
                      <a:lnTo>
                        <a:pt x="684977" y="316853"/>
                      </a:lnTo>
                      <a:lnTo>
                        <a:pt x="685678" y="313455"/>
                      </a:lnTo>
                      <a:lnTo>
                        <a:pt x="685767" y="307082"/>
                      </a:lnTo>
                      <a:lnTo>
                        <a:pt x="688082" y="301817"/>
                      </a:lnTo>
                      <a:lnTo>
                        <a:pt x="690356" y="300375"/>
                      </a:lnTo>
                      <a:lnTo>
                        <a:pt x="691252" y="300138"/>
                      </a:lnTo>
                      <a:lnTo>
                        <a:pt x="691106" y="301540"/>
                      </a:lnTo>
                      <a:lnTo>
                        <a:pt x="693860" y="305061"/>
                      </a:lnTo>
                      <a:close/>
                      <a:moveTo>
                        <a:pt x="785170" y="261207"/>
                      </a:moveTo>
                      <a:lnTo>
                        <a:pt x="789245" y="263546"/>
                      </a:lnTo>
                      <a:lnTo>
                        <a:pt x="790174" y="265078"/>
                      </a:lnTo>
                      <a:lnTo>
                        <a:pt x="790899" y="266887"/>
                      </a:lnTo>
                      <a:lnTo>
                        <a:pt x="791714" y="267882"/>
                      </a:lnTo>
                      <a:lnTo>
                        <a:pt x="792667" y="268705"/>
                      </a:lnTo>
                      <a:lnTo>
                        <a:pt x="794257" y="270286"/>
                      </a:lnTo>
                      <a:lnTo>
                        <a:pt x="794681" y="272690"/>
                      </a:lnTo>
                      <a:lnTo>
                        <a:pt x="794306" y="277547"/>
                      </a:lnTo>
                      <a:lnTo>
                        <a:pt x="792456" y="277971"/>
                      </a:lnTo>
                      <a:lnTo>
                        <a:pt x="790720" y="278688"/>
                      </a:lnTo>
                      <a:lnTo>
                        <a:pt x="787150" y="281492"/>
                      </a:lnTo>
                      <a:lnTo>
                        <a:pt x="785382" y="282038"/>
                      </a:lnTo>
                      <a:lnTo>
                        <a:pt x="783507" y="282225"/>
                      </a:lnTo>
                      <a:lnTo>
                        <a:pt x="782171" y="282959"/>
                      </a:lnTo>
                      <a:lnTo>
                        <a:pt x="780834" y="283260"/>
                      </a:lnTo>
                      <a:lnTo>
                        <a:pt x="777371" y="281712"/>
                      </a:lnTo>
                      <a:lnTo>
                        <a:pt x="774013" y="279862"/>
                      </a:lnTo>
                      <a:lnTo>
                        <a:pt x="769131" y="276708"/>
                      </a:lnTo>
                      <a:lnTo>
                        <a:pt x="768235" y="275925"/>
                      </a:lnTo>
                      <a:lnTo>
                        <a:pt x="767452" y="274238"/>
                      </a:lnTo>
                      <a:lnTo>
                        <a:pt x="765219" y="271191"/>
                      </a:lnTo>
                      <a:lnTo>
                        <a:pt x="764665" y="269235"/>
                      </a:lnTo>
                      <a:lnTo>
                        <a:pt x="764478" y="263676"/>
                      </a:lnTo>
                      <a:lnTo>
                        <a:pt x="765065" y="262413"/>
                      </a:lnTo>
                      <a:lnTo>
                        <a:pt x="766002" y="261737"/>
                      </a:lnTo>
                      <a:lnTo>
                        <a:pt x="769262" y="263016"/>
                      </a:lnTo>
                      <a:lnTo>
                        <a:pt x="771413" y="261672"/>
                      </a:lnTo>
                      <a:lnTo>
                        <a:pt x="777583" y="260523"/>
                      </a:lnTo>
                      <a:lnTo>
                        <a:pt x="783866" y="260645"/>
                      </a:lnTo>
                      <a:lnTo>
                        <a:pt x="785170" y="261207"/>
                      </a:lnTo>
                      <a:close/>
                      <a:moveTo>
                        <a:pt x="856928" y="254549"/>
                      </a:moveTo>
                      <a:lnTo>
                        <a:pt x="862625" y="257866"/>
                      </a:lnTo>
                      <a:lnTo>
                        <a:pt x="865575" y="258355"/>
                      </a:lnTo>
                      <a:lnTo>
                        <a:pt x="870538" y="257923"/>
                      </a:lnTo>
                      <a:lnTo>
                        <a:pt x="872413" y="258241"/>
                      </a:lnTo>
                      <a:lnTo>
                        <a:pt x="877140" y="262487"/>
                      </a:lnTo>
                      <a:lnTo>
                        <a:pt x="878525" y="265396"/>
                      </a:lnTo>
                      <a:lnTo>
                        <a:pt x="878925" y="267914"/>
                      </a:lnTo>
                      <a:lnTo>
                        <a:pt x="879650" y="270294"/>
                      </a:lnTo>
                      <a:lnTo>
                        <a:pt x="880823" y="270889"/>
                      </a:lnTo>
                      <a:lnTo>
                        <a:pt x="882193" y="271109"/>
                      </a:lnTo>
                      <a:lnTo>
                        <a:pt x="883993" y="274540"/>
                      </a:lnTo>
                      <a:lnTo>
                        <a:pt x="884336" y="275657"/>
                      </a:lnTo>
                      <a:lnTo>
                        <a:pt x="882991" y="284271"/>
                      </a:lnTo>
                      <a:lnTo>
                        <a:pt x="877408" y="281011"/>
                      </a:lnTo>
                      <a:lnTo>
                        <a:pt x="872013" y="277303"/>
                      </a:lnTo>
                      <a:lnTo>
                        <a:pt x="869707" y="275925"/>
                      </a:lnTo>
                      <a:lnTo>
                        <a:pt x="863489" y="272788"/>
                      </a:lnTo>
                      <a:lnTo>
                        <a:pt x="862544" y="271720"/>
                      </a:lnTo>
                      <a:lnTo>
                        <a:pt x="861851" y="270294"/>
                      </a:lnTo>
                      <a:lnTo>
                        <a:pt x="859153" y="268371"/>
                      </a:lnTo>
                      <a:lnTo>
                        <a:pt x="853750" y="268085"/>
                      </a:lnTo>
                      <a:lnTo>
                        <a:pt x="851729" y="268118"/>
                      </a:lnTo>
                      <a:lnTo>
                        <a:pt x="850897" y="268411"/>
                      </a:lnTo>
                      <a:lnTo>
                        <a:pt x="851109" y="269455"/>
                      </a:lnTo>
                      <a:lnTo>
                        <a:pt x="851142" y="271574"/>
                      </a:lnTo>
                      <a:lnTo>
                        <a:pt x="849806" y="272152"/>
                      </a:lnTo>
                      <a:lnTo>
                        <a:pt x="846456" y="270816"/>
                      </a:lnTo>
                      <a:lnTo>
                        <a:pt x="843465" y="270335"/>
                      </a:lnTo>
                      <a:lnTo>
                        <a:pt x="840881" y="269031"/>
                      </a:lnTo>
                      <a:lnTo>
                        <a:pt x="837401" y="268346"/>
                      </a:lnTo>
                      <a:lnTo>
                        <a:pt x="837018" y="267686"/>
                      </a:lnTo>
                      <a:lnTo>
                        <a:pt x="837320" y="266716"/>
                      </a:lnTo>
                      <a:lnTo>
                        <a:pt x="837165" y="265795"/>
                      </a:lnTo>
                      <a:lnTo>
                        <a:pt x="836358" y="265445"/>
                      </a:lnTo>
                      <a:lnTo>
                        <a:pt x="834793" y="265616"/>
                      </a:lnTo>
                      <a:lnTo>
                        <a:pt x="833286" y="266537"/>
                      </a:lnTo>
                      <a:lnTo>
                        <a:pt x="832039" y="267580"/>
                      </a:lnTo>
                      <a:lnTo>
                        <a:pt x="830189" y="270465"/>
                      </a:lnTo>
                      <a:lnTo>
                        <a:pt x="829244" y="271574"/>
                      </a:lnTo>
                      <a:lnTo>
                        <a:pt x="826212" y="272046"/>
                      </a:lnTo>
                      <a:lnTo>
                        <a:pt x="824949" y="271761"/>
                      </a:lnTo>
                      <a:lnTo>
                        <a:pt x="823800" y="271060"/>
                      </a:lnTo>
                      <a:lnTo>
                        <a:pt x="820344" y="265787"/>
                      </a:lnTo>
                      <a:lnTo>
                        <a:pt x="819171" y="264663"/>
                      </a:lnTo>
                      <a:lnTo>
                        <a:pt x="817875" y="263725"/>
                      </a:lnTo>
                      <a:lnTo>
                        <a:pt x="816669" y="263301"/>
                      </a:lnTo>
                      <a:lnTo>
                        <a:pt x="815438" y="264108"/>
                      </a:lnTo>
                      <a:lnTo>
                        <a:pt x="814786" y="265746"/>
                      </a:lnTo>
                      <a:lnTo>
                        <a:pt x="814493" y="267678"/>
                      </a:lnTo>
                      <a:lnTo>
                        <a:pt x="814151" y="268786"/>
                      </a:lnTo>
                      <a:lnTo>
                        <a:pt x="812659" y="271900"/>
                      </a:lnTo>
                      <a:lnTo>
                        <a:pt x="811428" y="273749"/>
                      </a:lnTo>
                      <a:lnTo>
                        <a:pt x="810980" y="273456"/>
                      </a:lnTo>
                      <a:lnTo>
                        <a:pt x="811608" y="270498"/>
                      </a:lnTo>
                      <a:lnTo>
                        <a:pt x="811616" y="268819"/>
                      </a:lnTo>
                      <a:lnTo>
                        <a:pt x="810850" y="267059"/>
                      </a:lnTo>
                      <a:lnTo>
                        <a:pt x="810369" y="265241"/>
                      </a:lnTo>
                      <a:lnTo>
                        <a:pt x="816204" y="256627"/>
                      </a:lnTo>
                      <a:lnTo>
                        <a:pt x="818323" y="254573"/>
                      </a:lnTo>
                      <a:lnTo>
                        <a:pt x="827532" y="253864"/>
                      </a:lnTo>
                      <a:lnTo>
                        <a:pt x="833009" y="254304"/>
                      </a:lnTo>
                      <a:lnTo>
                        <a:pt x="835983" y="254092"/>
                      </a:lnTo>
                      <a:lnTo>
                        <a:pt x="837980" y="253449"/>
                      </a:lnTo>
                      <a:lnTo>
                        <a:pt x="839626" y="253750"/>
                      </a:lnTo>
                      <a:lnTo>
                        <a:pt x="840042" y="255462"/>
                      </a:lnTo>
                      <a:lnTo>
                        <a:pt x="841085" y="256700"/>
                      </a:lnTo>
                      <a:lnTo>
                        <a:pt x="842528" y="256602"/>
                      </a:lnTo>
                      <a:lnTo>
                        <a:pt x="845127" y="255258"/>
                      </a:lnTo>
                      <a:lnTo>
                        <a:pt x="847410" y="253204"/>
                      </a:lnTo>
                      <a:lnTo>
                        <a:pt x="848795" y="252324"/>
                      </a:lnTo>
                      <a:lnTo>
                        <a:pt x="850213" y="252169"/>
                      </a:lnTo>
                      <a:lnTo>
                        <a:pt x="851672" y="252316"/>
                      </a:lnTo>
                      <a:lnTo>
                        <a:pt x="853098" y="252797"/>
                      </a:lnTo>
                      <a:lnTo>
                        <a:pt x="856928" y="254549"/>
                      </a:lnTo>
                      <a:close/>
                      <a:moveTo>
                        <a:pt x="322509" y="258501"/>
                      </a:moveTo>
                      <a:lnTo>
                        <a:pt x="322126" y="261655"/>
                      </a:lnTo>
                      <a:lnTo>
                        <a:pt x="321523" y="262845"/>
                      </a:lnTo>
                      <a:lnTo>
                        <a:pt x="319445" y="264418"/>
                      </a:lnTo>
                      <a:lnTo>
                        <a:pt x="318736" y="265372"/>
                      </a:lnTo>
                      <a:lnTo>
                        <a:pt x="316805" y="265209"/>
                      </a:lnTo>
                      <a:lnTo>
                        <a:pt x="316560" y="263562"/>
                      </a:lnTo>
                      <a:lnTo>
                        <a:pt x="315908" y="262438"/>
                      </a:lnTo>
                      <a:lnTo>
                        <a:pt x="313855" y="261158"/>
                      </a:lnTo>
                      <a:lnTo>
                        <a:pt x="313325" y="261468"/>
                      </a:lnTo>
                      <a:lnTo>
                        <a:pt x="312950" y="263375"/>
                      </a:lnTo>
                      <a:lnTo>
                        <a:pt x="308932" y="264720"/>
                      </a:lnTo>
                      <a:lnTo>
                        <a:pt x="307808" y="264842"/>
                      </a:lnTo>
                      <a:lnTo>
                        <a:pt x="308362" y="262299"/>
                      </a:lnTo>
                      <a:lnTo>
                        <a:pt x="307319" y="260311"/>
                      </a:lnTo>
                      <a:lnTo>
                        <a:pt x="307237" y="257857"/>
                      </a:lnTo>
                      <a:lnTo>
                        <a:pt x="307050" y="256782"/>
                      </a:lnTo>
                      <a:lnTo>
                        <a:pt x="306544" y="256170"/>
                      </a:lnTo>
                      <a:lnTo>
                        <a:pt x="307579" y="254459"/>
                      </a:lnTo>
                      <a:lnTo>
                        <a:pt x="307408" y="252560"/>
                      </a:lnTo>
                      <a:lnTo>
                        <a:pt x="308484" y="250514"/>
                      </a:lnTo>
                      <a:lnTo>
                        <a:pt x="309103" y="245576"/>
                      </a:lnTo>
                      <a:lnTo>
                        <a:pt x="313349" y="244492"/>
                      </a:lnTo>
                      <a:lnTo>
                        <a:pt x="314270" y="245372"/>
                      </a:lnTo>
                      <a:lnTo>
                        <a:pt x="319217" y="246497"/>
                      </a:lnTo>
                      <a:lnTo>
                        <a:pt x="322705" y="249480"/>
                      </a:lnTo>
                      <a:lnTo>
                        <a:pt x="324580" y="253465"/>
                      </a:lnTo>
                      <a:lnTo>
                        <a:pt x="322509" y="258501"/>
                      </a:lnTo>
                      <a:close/>
                      <a:moveTo>
                        <a:pt x="738260" y="219790"/>
                      </a:moveTo>
                      <a:lnTo>
                        <a:pt x="740575" y="220866"/>
                      </a:lnTo>
                      <a:lnTo>
                        <a:pt x="741389" y="220858"/>
                      </a:lnTo>
                      <a:lnTo>
                        <a:pt x="742155" y="219611"/>
                      </a:lnTo>
                      <a:lnTo>
                        <a:pt x="742628" y="219423"/>
                      </a:lnTo>
                      <a:lnTo>
                        <a:pt x="743672" y="220018"/>
                      </a:lnTo>
                      <a:lnTo>
                        <a:pt x="743916" y="222039"/>
                      </a:lnTo>
                      <a:lnTo>
                        <a:pt x="745416" y="221771"/>
                      </a:lnTo>
                      <a:lnTo>
                        <a:pt x="746597" y="222455"/>
                      </a:lnTo>
                      <a:lnTo>
                        <a:pt x="746964" y="222936"/>
                      </a:lnTo>
                      <a:lnTo>
                        <a:pt x="746809" y="224941"/>
                      </a:lnTo>
                      <a:lnTo>
                        <a:pt x="742367" y="225299"/>
                      </a:lnTo>
                      <a:lnTo>
                        <a:pt x="739173" y="226921"/>
                      </a:lnTo>
                      <a:lnTo>
                        <a:pt x="734911" y="225454"/>
                      </a:lnTo>
                      <a:lnTo>
                        <a:pt x="730061" y="227972"/>
                      </a:lnTo>
                      <a:lnTo>
                        <a:pt x="727127" y="228828"/>
                      </a:lnTo>
                      <a:lnTo>
                        <a:pt x="724585" y="228779"/>
                      </a:lnTo>
                      <a:lnTo>
                        <a:pt x="722392" y="224386"/>
                      </a:lnTo>
                      <a:lnTo>
                        <a:pt x="723656" y="219252"/>
                      </a:lnTo>
                      <a:lnTo>
                        <a:pt x="724577" y="218413"/>
                      </a:lnTo>
                      <a:lnTo>
                        <a:pt x="726190" y="217956"/>
                      </a:lnTo>
                      <a:lnTo>
                        <a:pt x="730681" y="217712"/>
                      </a:lnTo>
                      <a:lnTo>
                        <a:pt x="738260" y="219790"/>
                      </a:lnTo>
                      <a:close/>
                      <a:moveTo>
                        <a:pt x="998799" y="216392"/>
                      </a:moveTo>
                      <a:lnTo>
                        <a:pt x="1008587" y="217899"/>
                      </a:lnTo>
                      <a:lnTo>
                        <a:pt x="1011243" y="217712"/>
                      </a:lnTo>
                      <a:lnTo>
                        <a:pt x="1016834" y="218282"/>
                      </a:lnTo>
                      <a:lnTo>
                        <a:pt x="1021504" y="220279"/>
                      </a:lnTo>
                      <a:lnTo>
                        <a:pt x="1029654" y="220654"/>
                      </a:lnTo>
                      <a:lnTo>
                        <a:pt x="1032091" y="221249"/>
                      </a:lnTo>
                      <a:lnTo>
                        <a:pt x="1033973" y="222618"/>
                      </a:lnTo>
                      <a:lnTo>
                        <a:pt x="1029401" y="223767"/>
                      </a:lnTo>
                      <a:lnTo>
                        <a:pt x="1027249" y="224819"/>
                      </a:lnTo>
                      <a:lnTo>
                        <a:pt x="1023256" y="225340"/>
                      </a:lnTo>
                      <a:lnTo>
                        <a:pt x="1019915" y="224802"/>
                      </a:lnTo>
                      <a:lnTo>
                        <a:pt x="1017486" y="225430"/>
                      </a:lnTo>
                      <a:lnTo>
                        <a:pt x="1016614" y="224395"/>
                      </a:lnTo>
                      <a:lnTo>
                        <a:pt x="1013045" y="223352"/>
                      </a:lnTo>
                      <a:lnTo>
                        <a:pt x="1008497" y="221192"/>
                      </a:lnTo>
                      <a:lnTo>
                        <a:pt x="999117" y="218682"/>
                      </a:lnTo>
                      <a:lnTo>
                        <a:pt x="998677" y="217125"/>
                      </a:lnTo>
                      <a:lnTo>
                        <a:pt x="998799" y="216392"/>
                      </a:lnTo>
                      <a:close/>
                      <a:moveTo>
                        <a:pt x="268900" y="218706"/>
                      </a:moveTo>
                      <a:lnTo>
                        <a:pt x="269748" y="220768"/>
                      </a:lnTo>
                      <a:lnTo>
                        <a:pt x="270922" y="222634"/>
                      </a:lnTo>
                      <a:lnTo>
                        <a:pt x="271770" y="224639"/>
                      </a:lnTo>
                      <a:lnTo>
                        <a:pt x="272935" y="234272"/>
                      </a:lnTo>
                      <a:lnTo>
                        <a:pt x="276838" y="242544"/>
                      </a:lnTo>
                      <a:lnTo>
                        <a:pt x="288061" y="245788"/>
                      </a:lnTo>
                      <a:lnTo>
                        <a:pt x="286219" y="247124"/>
                      </a:lnTo>
                      <a:lnTo>
                        <a:pt x="285290" y="248331"/>
                      </a:lnTo>
                      <a:lnTo>
                        <a:pt x="284597" y="249700"/>
                      </a:lnTo>
                      <a:lnTo>
                        <a:pt x="282935" y="255445"/>
                      </a:lnTo>
                      <a:lnTo>
                        <a:pt x="283106" y="256651"/>
                      </a:lnTo>
                      <a:lnTo>
                        <a:pt x="284067" y="258599"/>
                      </a:lnTo>
                      <a:lnTo>
                        <a:pt x="284304" y="260710"/>
                      </a:lnTo>
                      <a:lnTo>
                        <a:pt x="282885" y="260710"/>
                      </a:lnTo>
                      <a:lnTo>
                        <a:pt x="281321" y="260221"/>
                      </a:lnTo>
                      <a:lnTo>
                        <a:pt x="280058" y="259430"/>
                      </a:lnTo>
                      <a:lnTo>
                        <a:pt x="278876" y="258387"/>
                      </a:lnTo>
                      <a:lnTo>
                        <a:pt x="277605" y="257556"/>
                      </a:lnTo>
                      <a:lnTo>
                        <a:pt x="276227" y="257018"/>
                      </a:lnTo>
                      <a:lnTo>
                        <a:pt x="273962" y="255388"/>
                      </a:lnTo>
                      <a:lnTo>
                        <a:pt x="270881" y="254223"/>
                      </a:lnTo>
                      <a:lnTo>
                        <a:pt x="267727" y="253318"/>
                      </a:lnTo>
                      <a:lnTo>
                        <a:pt x="266195" y="250873"/>
                      </a:lnTo>
                      <a:lnTo>
                        <a:pt x="265461" y="247874"/>
                      </a:lnTo>
                      <a:lnTo>
                        <a:pt x="266244" y="243383"/>
                      </a:lnTo>
                      <a:lnTo>
                        <a:pt x="265445" y="242137"/>
                      </a:lnTo>
                      <a:lnTo>
                        <a:pt x="264337" y="241045"/>
                      </a:lnTo>
                      <a:lnTo>
                        <a:pt x="262960" y="237817"/>
                      </a:lnTo>
                      <a:lnTo>
                        <a:pt x="262446" y="234028"/>
                      </a:lnTo>
                      <a:lnTo>
                        <a:pt x="260441" y="232569"/>
                      </a:lnTo>
                      <a:lnTo>
                        <a:pt x="257809" y="231681"/>
                      </a:lnTo>
                      <a:lnTo>
                        <a:pt x="256660" y="230963"/>
                      </a:lnTo>
                      <a:lnTo>
                        <a:pt x="251444" y="232349"/>
                      </a:lnTo>
                      <a:lnTo>
                        <a:pt x="250205" y="232023"/>
                      </a:lnTo>
                      <a:lnTo>
                        <a:pt x="249081" y="230972"/>
                      </a:lnTo>
                      <a:lnTo>
                        <a:pt x="246252" y="229871"/>
                      </a:lnTo>
                      <a:lnTo>
                        <a:pt x="246358" y="227777"/>
                      </a:lnTo>
                      <a:lnTo>
                        <a:pt x="247679" y="226106"/>
                      </a:lnTo>
                      <a:lnTo>
                        <a:pt x="250784" y="224419"/>
                      </a:lnTo>
                      <a:lnTo>
                        <a:pt x="252234" y="223009"/>
                      </a:lnTo>
                      <a:lnTo>
                        <a:pt x="252536" y="221143"/>
                      </a:lnTo>
                      <a:lnTo>
                        <a:pt x="251982" y="219766"/>
                      </a:lnTo>
                      <a:lnTo>
                        <a:pt x="252202" y="218331"/>
                      </a:lnTo>
                      <a:lnTo>
                        <a:pt x="253180" y="216954"/>
                      </a:lnTo>
                      <a:lnTo>
                        <a:pt x="254353" y="215854"/>
                      </a:lnTo>
                      <a:lnTo>
                        <a:pt x="257475" y="214428"/>
                      </a:lnTo>
                      <a:lnTo>
                        <a:pt x="258836" y="216930"/>
                      </a:lnTo>
                      <a:lnTo>
                        <a:pt x="259496" y="219024"/>
                      </a:lnTo>
                      <a:lnTo>
                        <a:pt x="260335" y="220548"/>
                      </a:lnTo>
                      <a:lnTo>
                        <a:pt x="261663" y="218380"/>
                      </a:lnTo>
                      <a:lnTo>
                        <a:pt x="260816" y="214640"/>
                      </a:lnTo>
                      <a:lnTo>
                        <a:pt x="263188" y="213800"/>
                      </a:lnTo>
                      <a:lnTo>
                        <a:pt x="265518" y="213768"/>
                      </a:lnTo>
                      <a:lnTo>
                        <a:pt x="267279" y="214794"/>
                      </a:lnTo>
                      <a:lnTo>
                        <a:pt x="268428" y="216408"/>
                      </a:lnTo>
                      <a:lnTo>
                        <a:pt x="268900" y="218706"/>
                      </a:lnTo>
                      <a:close/>
                      <a:moveTo>
                        <a:pt x="817207" y="218445"/>
                      </a:moveTo>
                      <a:lnTo>
                        <a:pt x="815691" y="219668"/>
                      </a:lnTo>
                      <a:lnTo>
                        <a:pt x="814925" y="220002"/>
                      </a:lnTo>
                      <a:lnTo>
                        <a:pt x="811273" y="219187"/>
                      </a:lnTo>
                      <a:lnTo>
                        <a:pt x="806987" y="219358"/>
                      </a:lnTo>
                      <a:lnTo>
                        <a:pt x="802537" y="220491"/>
                      </a:lnTo>
                      <a:lnTo>
                        <a:pt x="799970" y="219537"/>
                      </a:lnTo>
                      <a:lnTo>
                        <a:pt x="798332" y="217981"/>
                      </a:lnTo>
                      <a:lnTo>
                        <a:pt x="798413" y="216343"/>
                      </a:lnTo>
                      <a:lnTo>
                        <a:pt x="799945" y="212268"/>
                      </a:lnTo>
                      <a:lnTo>
                        <a:pt x="803295" y="209171"/>
                      </a:lnTo>
                      <a:lnTo>
                        <a:pt x="804648" y="208625"/>
                      </a:lnTo>
                      <a:lnTo>
                        <a:pt x="807035" y="209464"/>
                      </a:lnTo>
                      <a:lnTo>
                        <a:pt x="811062" y="211828"/>
                      </a:lnTo>
                      <a:lnTo>
                        <a:pt x="814224" y="214599"/>
                      </a:lnTo>
                      <a:lnTo>
                        <a:pt x="817109" y="216767"/>
                      </a:lnTo>
                      <a:lnTo>
                        <a:pt x="817207" y="218445"/>
                      </a:lnTo>
                      <a:close/>
                      <a:moveTo>
                        <a:pt x="694667" y="203800"/>
                      </a:moveTo>
                      <a:lnTo>
                        <a:pt x="695205" y="205667"/>
                      </a:lnTo>
                      <a:lnTo>
                        <a:pt x="694309" y="207280"/>
                      </a:lnTo>
                      <a:lnTo>
                        <a:pt x="695294" y="210328"/>
                      </a:lnTo>
                      <a:lnTo>
                        <a:pt x="697797" y="206270"/>
                      </a:lnTo>
                      <a:lnTo>
                        <a:pt x="700193" y="205756"/>
                      </a:lnTo>
                      <a:lnTo>
                        <a:pt x="701537" y="206433"/>
                      </a:lnTo>
                      <a:lnTo>
                        <a:pt x="702466" y="207231"/>
                      </a:lnTo>
                      <a:lnTo>
                        <a:pt x="702972" y="208772"/>
                      </a:lnTo>
                      <a:lnTo>
                        <a:pt x="702100" y="212056"/>
                      </a:lnTo>
                      <a:lnTo>
                        <a:pt x="700535" y="213596"/>
                      </a:lnTo>
                      <a:lnTo>
                        <a:pt x="698506" y="213841"/>
                      </a:lnTo>
                      <a:lnTo>
                        <a:pt x="697560" y="211934"/>
                      </a:lnTo>
                      <a:lnTo>
                        <a:pt x="696224" y="211755"/>
                      </a:lnTo>
                      <a:lnTo>
                        <a:pt x="695303" y="215944"/>
                      </a:lnTo>
                      <a:lnTo>
                        <a:pt x="694879" y="216587"/>
                      </a:lnTo>
                      <a:lnTo>
                        <a:pt x="693689" y="217117"/>
                      </a:lnTo>
                      <a:lnTo>
                        <a:pt x="692638" y="215951"/>
                      </a:lnTo>
                      <a:lnTo>
                        <a:pt x="692459" y="215308"/>
                      </a:lnTo>
                      <a:lnTo>
                        <a:pt x="693950" y="213425"/>
                      </a:lnTo>
                      <a:lnTo>
                        <a:pt x="693143" y="207794"/>
                      </a:lnTo>
                      <a:lnTo>
                        <a:pt x="692011" y="208845"/>
                      </a:lnTo>
                      <a:lnTo>
                        <a:pt x="689011" y="213963"/>
                      </a:lnTo>
                      <a:lnTo>
                        <a:pt x="686689" y="216253"/>
                      </a:lnTo>
                      <a:lnTo>
                        <a:pt x="685890" y="215071"/>
                      </a:lnTo>
                      <a:lnTo>
                        <a:pt x="684708" y="211608"/>
                      </a:lnTo>
                      <a:lnTo>
                        <a:pt x="685230" y="207133"/>
                      </a:lnTo>
                      <a:lnTo>
                        <a:pt x="687112" y="204118"/>
                      </a:lnTo>
                      <a:lnTo>
                        <a:pt x="688702" y="204330"/>
                      </a:lnTo>
                      <a:lnTo>
                        <a:pt x="693314" y="203385"/>
                      </a:lnTo>
                      <a:lnTo>
                        <a:pt x="694667" y="203800"/>
                      </a:lnTo>
                      <a:close/>
                      <a:moveTo>
                        <a:pt x="98213" y="221958"/>
                      </a:moveTo>
                      <a:lnTo>
                        <a:pt x="95939" y="222129"/>
                      </a:lnTo>
                      <a:lnTo>
                        <a:pt x="91033" y="218551"/>
                      </a:lnTo>
                      <a:lnTo>
                        <a:pt x="89875" y="216938"/>
                      </a:lnTo>
                      <a:lnTo>
                        <a:pt x="89590" y="214802"/>
                      </a:lnTo>
                      <a:lnTo>
                        <a:pt x="84896" y="206498"/>
                      </a:lnTo>
                      <a:lnTo>
                        <a:pt x="84276" y="204599"/>
                      </a:lnTo>
                      <a:lnTo>
                        <a:pt x="86118" y="197786"/>
                      </a:lnTo>
                      <a:lnTo>
                        <a:pt x="90911" y="196148"/>
                      </a:lnTo>
                      <a:lnTo>
                        <a:pt x="92475" y="197297"/>
                      </a:lnTo>
                      <a:lnTo>
                        <a:pt x="93030" y="200361"/>
                      </a:lnTo>
                      <a:lnTo>
                        <a:pt x="95768" y="205887"/>
                      </a:lnTo>
                      <a:lnTo>
                        <a:pt x="96664" y="208861"/>
                      </a:lnTo>
                      <a:lnTo>
                        <a:pt x="97341" y="210173"/>
                      </a:lnTo>
                      <a:lnTo>
                        <a:pt x="97626" y="211200"/>
                      </a:lnTo>
                      <a:lnTo>
                        <a:pt x="97389" y="211926"/>
                      </a:lnTo>
                      <a:lnTo>
                        <a:pt x="99362" y="215430"/>
                      </a:lnTo>
                      <a:lnTo>
                        <a:pt x="100772" y="217476"/>
                      </a:lnTo>
                      <a:lnTo>
                        <a:pt x="100886" y="220793"/>
                      </a:lnTo>
                      <a:lnTo>
                        <a:pt x="98213" y="221958"/>
                      </a:lnTo>
                      <a:close/>
                      <a:moveTo>
                        <a:pt x="996525" y="188234"/>
                      </a:moveTo>
                      <a:lnTo>
                        <a:pt x="1001798" y="189408"/>
                      </a:lnTo>
                      <a:lnTo>
                        <a:pt x="1003721" y="189335"/>
                      </a:lnTo>
                      <a:lnTo>
                        <a:pt x="1005588" y="190663"/>
                      </a:lnTo>
                      <a:lnTo>
                        <a:pt x="1007878" y="190044"/>
                      </a:lnTo>
                      <a:lnTo>
                        <a:pt x="1009174" y="190467"/>
                      </a:lnTo>
                      <a:lnTo>
                        <a:pt x="1013517" y="195015"/>
                      </a:lnTo>
                      <a:lnTo>
                        <a:pt x="1015653" y="198030"/>
                      </a:lnTo>
                      <a:lnTo>
                        <a:pt x="1018831" y="200614"/>
                      </a:lnTo>
                      <a:lnTo>
                        <a:pt x="1021121" y="201486"/>
                      </a:lnTo>
                      <a:lnTo>
                        <a:pt x="1019393" y="203857"/>
                      </a:lnTo>
                      <a:lnTo>
                        <a:pt x="1015905" y="205096"/>
                      </a:lnTo>
                      <a:lnTo>
                        <a:pt x="1014552" y="205161"/>
                      </a:lnTo>
                      <a:lnTo>
                        <a:pt x="1011879" y="203752"/>
                      </a:lnTo>
                      <a:lnTo>
                        <a:pt x="1009703" y="204004"/>
                      </a:lnTo>
                      <a:lnTo>
                        <a:pt x="1007821" y="202244"/>
                      </a:lnTo>
                      <a:lnTo>
                        <a:pt x="1007486" y="199522"/>
                      </a:lnTo>
                      <a:lnTo>
                        <a:pt x="1005547" y="193369"/>
                      </a:lnTo>
                      <a:lnTo>
                        <a:pt x="1003037" y="195129"/>
                      </a:lnTo>
                      <a:lnTo>
                        <a:pt x="1000013" y="192293"/>
                      </a:lnTo>
                      <a:lnTo>
                        <a:pt x="999190" y="192228"/>
                      </a:lnTo>
                      <a:lnTo>
                        <a:pt x="999002" y="192709"/>
                      </a:lnTo>
                      <a:lnTo>
                        <a:pt x="997723" y="191747"/>
                      </a:lnTo>
                      <a:lnTo>
                        <a:pt x="996623" y="189832"/>
                      </a:lnTo>
                      <a:lnTo>
                        <a:pt x="996525" y="188234"/>
                      </a:lnTo>
                      <a:close/>
                      <a:moveTo>
                        <a:pt x="949159" y="190467"/>
                      </a:moveTo>
                      <a:lnTo>
                        <a:pt x="955385" y="190932"/>
                      </a:lnTo>
                      <a:lnTo>
                        <a:pt x="958523" y="190630"/>
                      </a:lnTo>
                      <a:lnTo>
                        <a:pt x="961595" y="191022"/>
                      </a:lnTo>
                      <a:lnTo>
                        <a:pt x="962850" y="191788"/>
                      </a:lnTo>
                      <a:lnTo>
                        <a:pt x="965002" y="194086"/>
                      </a:lnTo>
                      <a:lnTo>
                        <a:pt x="964391" y="195610"/>
                      </a:lnTo>
                      <a:lnTo>
                        <a:pt x="964024" y="198739"/>
                      </a:lnTo>
                      <a:lnTo>
                        <a:pt x="965124" y="201747"/>
                      </a:lnTo>
                      <a:lnTo>
                        <a:pt x="966909" y="204754"/>
                      </a:lnTo>
                      <a:lnTo>
                        <a:pt x="968368" y="207981"/>
                      </a:lnTo>
                      <a:lnTo>
                        <a:pt x="968686" y="209554"/>
                      </a:lnTo>
                      <a:lnTo>
                        <a:pt x="968131" y="212879"/>
                      </a:lnTo>
                      <a:lnTo>
                        <a:pt x="967626" y="214525"/>
                      </a:lnTo>
                      <a:lnTo>
                        <a:pt x="965849" y="217264"/>
                      </a:lnTo>
                      <a:lnTo>
                        <a:pt x="964871" y="220263"/>
                      </a:lnTo>
                      <a:lnTo>
                        <a:pt x="965499" y="223963"/>
                      </a:lnTo>
                      <a:lnTo>
                        <a:pt x="965849" y="227687"/>
                      </a:lnTo>
                      <a:lnTo>
                        <a:pt x="965784" y="231102"/>
                      </a:lnTo>
                      <a:lnTo>
                        <a:pt x="966094" y="234468"/>
                      </a:lnTo>
                      <a:lnTo>
                        <a:pt x="967072" y="237874"/>
                      </a:lnTo>
                      <a:lnTo>
                        <a:pt x="971220" y="247214"/>
                      </a:lnTo>
                      <a:lnTo>
                        <a:pt x="973649" y="253538"/>
                      </a:lnTo>
                      <a:lnTo>
                        <a:pt x="974423" y="250001"/>
                      </a:lnTo>
                      <a:lnTo>
                        <a:pt x="974235" y="246073"/>
                      </a:lnTo>
                      <a:lnTo>
                        <a:pt x="975091" y="244663"/>
                      </a:lnTo>
                      <a:lnTo>
                        <a:pt x="976298" y="243897"/>
                      </a:lnTo>
                      <a:lnTo>
                        <a:pt x="977797" y="244687"/>
                      </a:lnTo>
                      <a:lnTo>
                        <a:pt x="978237" y="246269"/>
                      </a:lnTo>
                      <a:lnTo>
                        <a:pt x="978343" y="249748"/>
                      </a:lnTo>
                      <a:lnTo>
                        <a:pt x="979655" y="256578"/>
                      </a:lnTo>
                      <a:lnTo>
                        <a:pt x="981334" y="256888"/>
                      </a:lnTo>
                      <a:lnTo>
                        <a:pt x="983167" y="255836"/>
                      </a:lnTo>
                      <a:lnTo>
                        <a:pt x="983461" y="257931"/>
                      </a:lnTo>
                      <a:lnTo>
                        <a:pt x="983396" y="261794"/>
                      </a:lnTo>
                      <a:lnTo>
                        <a:pt x="984243" y="264850"/>
                      </a:lnTo>
                      <a:lnTo>
                        <a:pt x="984993" y="266048"/>
                      </a:lnTo>
                      <a:lnTo>
                        <a:pt x="987976" y="268542"/>
                      </a:lnTo>
                      <a:lnTo>
                        <a:pt x="989337" y="269015"/>
                      </a:lnTo>
                      <a:lnTo>
                        <a:pt x="993289" y="269609"/>
                      </a:lnTo>
                      <a:lnTo>
                        <a:pt x="996264" y="269797"/>
                      </a:lnTo>
                      <a:lnTo>
                        <a:pt x="999117" y="268909"/>
                      </a:lnTo>
                      <a:lnTo>
                        <a:pt x="1000959" y="266627"/>
                      </a:lnTo>
                      <a:lnTo>
                        <a:pt x="1002621" y="264149"/>
                      </a:lnTo>
                      <a:lnTo>
                        <a:pt x="1008367" y="258428"/>
                      </a:lnTo>
                      <a:lnTo>
                        <a:pt x="1010029" y="255698"/>
                      </a:lnTo>
                      <a:lnTo>
                        <a:pt x="1011618" y="251509"/>
                      </a:lnTo>
                      <a:lnTo>
                        <a:pt x="1012173" y="250612"/>
                      </a:lnTo>
                      <a:lnTo>
                        <a:pt x="1017877" y="246073"/>
                      </a:lnTo>
                      <a:lnTo>
                        <a:pt x="1018530" y="244468"/>
                      </a:lnTo>
                      <a:lnTo>
                        <a:pt x="1019352" y="241362"/>
                      </a:lnTo>
                      <a:lnTo>
                        <a:pt x="1020591" y="238355"/>
                      </a:lnTo>
                      <a:lnTo>
                        <a:pt x="1021512" y="236807"/>
                      </a:lnTo>
                      <a:lnTo>
                        <a:pt x="1027037" y="235324"/>
                      </a:lnTo>
                      <a:lnTo>
                        <a:pt x="1032759" y="234525"/>
                      </a:lnTo>
                      <a:lnTo>
                        <a:pt x="1038431" y="231754"/>
                      </a:lnTo>
                      <a:lnTo>
                        <a:pt x="1040892" y="229374"/>
                      </a:lnTo>
                      <a:lnTo>
                        <a:pt x="1041007" y="227809"/>
                      </a:lnTo>
                      <a:lnTo>
                        <a:pt x="1039767" y="225055"/>
                      </a:lnTo>
                      <a:lnTo>
                        <a:pt x="1039711" y="223849"/>
                      </a:lnTo>
                      <a:lnTo>
                        <a:pt x="1041022" y="222683"/>
                      </a:lnTo>
                      <a:lnTo>
                        <a:pt x="1046084" y="219187"/>
                      </a:lnTo>
                      <a:lnTo>
                        <a:pt x="1051943" y="215609"/>
                      </a:lnTo>
                      <a:lnTo>
                        <a:pt x="1056654" y="213132"/>
                      </a:lnTo>
                      <a:lnTo>
                        <a:pt x="1059237" y="213148"/>
                      </a:lnTo>
                      <a:lnTo>
                        <a:pt x="1061642" y="215324"/>
                      </a:lnTo>
                      <a:lnTo>
                        <a:pt x="1064192" y="217117"/>
                      </a:lnTo>
                      <a:lnTo>
                        <a:pt x="1077558" y="222365"/>
                      </a:lnTo>
                      <a:lnTo>
                        <a:pt x="1079701" y="223995"/>
                      </a:lnTo>
                      <a:lnTo>
                        <a:pt x="1081576" y="226155"/>
                      </a:lnTo>
                      <a:lnTo>
                        <a:pt x="1084241" y="227663"/>
                      </a:lnTo>
                      <a:lnTo>
                        <a:pt x="1087232" y="228388"/>
                      </a:lnTo>
                      <a:lnTo>
                        <a:pt x="1089937" y="229790"/>
                      </a:lnTo>
                      <a:lnTo>
                        <a:pt x="1092512" y="231599"/>
                      </a:lnTo>
                      <a:lnTo>
                        <a:pt x="1098185" y="234973"/>
                      </a:lnTo>
                      <a:lnTo>
                        <a:pt x="1105821" y="239064"/>
                      </a:lnTo>
                      <a:lnTo>
                        <a:pt x="1107777" y="239301"/>
                      </a:lnTo>
                      <a:lnTo>
                        <a:pt x="1114875" y="239121"/>
                      </a:lnTo>
                      <a:lnTo>
                        <a:pt x="1116098" y="239879"/>
                      </a:lnTo>
                      <a:lnTo>
                        <a:pt x="1117271" y="240971"/>
                      </a:lnTo>
                      <a:lnTo>
                        <a:pt x="1118355" y="241224"/>
                      </a:lnTo>
                      <a:lnTo>
                        <a:pt x="1126481" y="241990"/>
                      </a:lnTo>
                      <a:lnTo>
                        <a:pt x="1127736" y="242781"/>
                      </a:lnTo>
                      <a:lnTo>
                        <a:pt x="1128918" y="243856"/>
                      </a:lnTo>
                      <a:lnTo>
                        <a:pt x="1129594" y="246815"/>
                      </a:lnTo>
                      <a:lnTo>
                        <a:pt x="1135201" y="246896"/>
                      </a:lnTo>
                      <a:lnTo>
                        <a:pt x="1135201" y="252699"/>
                      </a:lnTo>
                      <a:lnTo>
                        <a:pt x="1135201" y="258795"/>
                      </a:lnTo>
                      <a:lnTo>
                        <a:pt x="1135201" y="264882"/>
                      </a:lnTo>
                      <a:lnTo>
                        <a:pt x="1135201" y="270979"/>
                      </a:lnTo>
                      <a:lnTo>
                        <a:pt x="1135217" y="277067"/>
                      </a:lnTo>
                      <a:lnTo>
                        <a:pt x="1135217" y="283154"/>
                      </a:lnTo>
                      <a:lnTo>
                        <a:pt x="1135217" y="289250"/>
                      </a:lnTo>
                      <a:lnTo>
                        <a:pt x="1135217" y="295338"/>
                      </a:lnTo>
                      <a:lnTo>
                        <a:pt x="1135217" y="301434"/>
                      </a:lnTo>
                      <a:lnTo>
                        <a:pt x="1135217" y="307538"/>
                      </a:lnTo>
                      <a:lnTo>
                        <a:pt x="1135217" y="313634"/>
                      </a:lnTo>
                      <a:lnTo>
                        <a:pt x="1135217" y="319730"/>
                      </a:lnTo>
                      <a:lnTo>
                        <a:pt x="1135217" y="325826"/>
                      </a:lnTo>
                      <a:lnTo>
                        <a:pt x="1135217" y="331930"/>
                      </a:lnTo>
                      <a:lnTo>
                        <a:pt x="1135217" y="338018"/>
                      </a:lnTo>
                      <a:lnTo>
                        <a:pt x="1135233" y="344130"/>
                      </a:lnTo>
                      <a:lnTo>
                        <a:pt x="1135233" y="350227"/>
                      </a:lnTo>
                      <a:lnTo>
                        <a:pt x="1135233" y="356339"/>
                      </a:lnTo>
                      <a:lnTo>
                        <a:pt x="1135233" y="358939"/>
                      </a:lnTo>
                      <a:lnTo>
                        <a:pt x="1134459" y="362125"/>
                      </a:lnTo>
                      <a:lnTo>
                        <a:pt x="1132748" y="366917"/>
                      </a:lnTo>
                      <a:lnTo>
                        <a:pt x="1132430" y="370772"/>
                      </a:lnTo>
                      <a:lnTo>
                        <a:pt x="1133864" y="373779"/>
                      </a:lnTo>
                      <a:lnTo>
                        <a:pt x="1135233" y="375743"/>
                      </a:lnTo>
                      <a:lnTo>
                        <a:pt x="1135233" y="380764"/>
                      </a:lnTo>
                      <a:lnTo>
                        <a:pt x="1135233" y="386868"/>
                      </a:lnTo>
                      <a:lnTo>
                        <a:pt x="1135233" y="392980"/>
                      </a:lnTo>
                      <a:lnTo>
                        <a:pt x="1135242" y="399101"/>
                      </a:lnTo>
                      <a:lnTo>
                        <a:pt x="1135242" y="405213"/>
                      </a:lnTo>
                      <a:lnTo>
                        <a:pt x="1135242" y="411325"/>
                      </a:lnTo>
                      <a:lnTo>
                        <a:pt x="1135250" y="417454"/>
                      </a:lnTo>
                      <a:lnTo>
                        <a:pt x="1135250" y="423574"/>
                      </a:lnTo>
                      <a:lnTo>
                        <a:pt x="1135250" y="429686"/>
                      </a:lnTo>
                      <a:lnTo>
                        <a:pt x="1135250" y="435807"/>
                      </a:lnTo>
                      <a:lnTo>
                        <a:pt x="1135250" y="441944"/>
                      </a:lnTo>
                      <a:lnTo>
                        <a:pt x="1135258" y="442327"/>
                      </a:lnTo>
                      <a:lnTo>
                        <a:pt x="1133987" y="441316"/>
                      </a:lnTo>
                      <a:lnTo>
                        <a:pt x="1130564" y="437975"/>
                      </a:lnTo>
                      <a:lnTo>
                        <a:pt x="1127459" y="434136"/>
                      </a:lnTo>
                      <a:lnTo>
                        <a:pt x="1125462" y="430575"/>
                      </a:lnTo>
                      <a:lnTo>
                        <a:pt x="1123205" y="427323"/>
                      </a:lnTo>
                      <a:lnTo>
                        <a:pt x="1113572" y="417698"/>
                      </a:lnTo>
                      <a:lnTo>
                        <a:pt x="1111127" y="414528"/>
                      </a:lnTo>
                      <a:lnTo>
                        <a:pt x="1110629" y="413664"/>
                      </a:lnTo>
                      <a:lnTo>
                        <a:pt x="1110866" y="412833"/>
                      </a:lnTo>
                      <a:lnTo>
                        <a:pt x="1111982" y="411178"/>
                      </a:lnTo>
                      <a:lnTo>
                        <a:pt x="1113946" y="406354"/>
                      </a:lnTo>
                      <a:lnTo>
                        <a:pt x="1111884" y="409328"/>
                      </a:lnTo>
                      <a:lnTo>
                        <a:pt x="1109423" y="411684"/>
                      </a:lnTo>
                      <a:lnTo>
                        <a:pt x="1105854" y="411847"/>
                      </a:lnTo>
                      <a:lnTo>
                        <a:pt x="1102349" y="412417"/>
                      </a:lnTo>
                      <a:lnTo>
                        <a:pt x="1099106" y="413843"/>
                      </a:lnTo>
                      <a:lnTo>
                        <a:pt x="1095821" y="414332"/>
                      </a:lnTo>
                      <a:lnTo>
                        <a:pt x="1094167" y="413640"/>
                      </a:lnTo>
                      <a:lnTo>
                        <a:pt x="1093173" y="411863"/>
                      </a:lnTo>
                      <a:lnTo>
                        <a:pt x="1092659" y="410037"/>
                      </a:lnTo>
                      <a:lnTo>
                        <a:pt x="1092423" y="408114"/>
                      </a:lnTo>
                      <a:lnTo>
                        <a:pt x="1091046" y="411235"/>
                      </a:lnTo>
                      <a:lnTo>
                        <a:pt x="1088324" y="412947"/>
                      </a:lnTo>
                      <a:lnTo>
                        <a:pt x="1084607" y="416541"/>
                      </a:lnTo>
                      <a:lnTo>
                        <a:pt x="1083540" y="415799"/>
                      </a:lnTo>
                      <a:lnTo>
                        <a:pt x="1082896" y="414422"/>
                      </a:lnTo>
                      <a:lnTo>
                        <a:pt x="1082684" y="413012"/>
                      </a:lnTo>
                      <a:lnTo>
                        <a:pt x="1083410" y="411480"/>
                      </a:lnTo>
                      <a:lnTo>
                        <a:pt x="1083915" y="409883"/>
                      </a:lnTo>
                      <a:lnTo>
                        <a:pt x="1084673" y="406028"/>
                      </a:lnTo>
                      <a:lnTo>
                        <a:pt x="1086335" y="403754"/>
                      </a:lnTo>
                      <a:lnTo>
                        <a:pt x="1087403" y="399353"/>
                      </a:lnTo>
                      <a:lnTo>
                        <a:pt x="1088095" y="397805"/>
                      </a:lnTo>
                      <a:lnTo>
                        <a:pt x="1088446" y="396232"/>
                      </a:lnTo>
                      <a:lnTo>
                        <a:pt x="1087484" y="394455"/>
                      </a:lnTo>
                      <a:lnTo>
                        <a:pt x="1085846" y="393852"/>
                      </a:lnTo>
                      <a:lnTo>
                        <a:pt x="1084730" y="392776"/>
                      </a:lnTo>
                      <a:lnTo>
                        <a:pt x="1083434" y="389802"/>
                      </a:lnTo>
                      <a:lnTo>
                        <a:pt x="1082627" y="388791"/>
                      </a:lnTo>
                      <a:lnTo>
                        <a:pt x="1081152" y="387560"/>
                      </a:lnTo>
                      <a:lnTo>
                        <a:pt x="1080003" y="386143"/>
                      </a:lnTo>
                      <a:lnTo>
                        <a:pt x="1081258" y="385058"/>
                      </a:lnTo>
                      <a:lnTo>
                        <a:pt x="1082904" y="384627"/>
                      </a:lnTo>
                      <a:lnTo>
                        <a:pt x="1084257" y="384700"/>
                      </a:lnTo>
                      <a:lnTo>
                        <a:pt x="1086702" y="385360"/>
                      </a:lnTo>
                      <a:lnTo>
                        <a:pt x="1087810" y="385401"/>
                      </a:lnTo>
                      <a:lnTo>
                        <a:pt x="1090647" y="384301"/>
                      </a:lnTo>
                      <a:lnTo>
                        <a:pt x="1089057" y="384651"/>
                      </a:lnTo>
                      <a:lnTo>
                        <a:pt x="1087484" y="384610"/>
                      </a:lnTo>
                      <a:lnTo>
                        <a:pt x="1082448" y="382671"/>
                      </a:lnTo>
                      <a:lnTo>
                        <a:pt x="1079326" y="380674"/>
                      </a:lnTo>
                      <a:lnTo>
                        <a:pt x="1076385" y="376664"/>
                      </a:lnTo>
                      <a:lnTo>
                        <a:pt x="1076360" y="375898"/>
                      </a:lnTo>
                      <a:lnTo>
                        <a:pt x="1078422" y="375173"/>
                      </a:lnTo>
                      <a:lnTo>
                        <a:pt x="1082912" y="374325"/>
                      </a:lnTo>
                      <a:lnTo>
                        <a:pt x="1081518" y="372280"/>
                      </a:lnTo>
                      <a:lnTo>
                        <a:pt x="1079489" y="370503"/>
                      </a:lnTo>
                      <a:lnTo>
                        <a:pt x="1078789" y="367333"/>
                      </a:lnTo>
                      <a:lnTo>
                        <a:pt x="1077395" y="365377"/>
                      </a:lnTo>
                      <a:lnTo>
                        <a:pt x="1074404" y="362166"/>
                      </a:lnTo>
                      <a:lnTo>
                        <a:pt x="1072350" y="358849"/>
                      </a:lnTo>
                      <a:lnTo>
                        <a:pt x="1070598" y="352101"/>
                      </a:lnTo>
                      <a:lnTo>
                        <a:pt x="1068821" y="347015"/>
                      </a:lnTo>
                      <a:lnTo>
                        <a:pt x="1069254" y="345166"/>
                      </a:lnTo>
                      <a:lnTo>
                        <a:pt x="1070753" y="343845"/>
                      </a:lnTo>
                      <a:lnTo>
                        <a:pt x="1068487" y="343690"/>
                      </a:lnTo>
                      <a:lnTo>
                        <a:pt x="1066425" y="342737"/>
                      </a:lnTo>
                      <a:lnTo>
                        <a:pt x="1067518" y="340260"/>
                      </a:lnTo>
                      <a:lnTo>
                        <a:pt x="1069897" y="338792"/>
                      </a:lnTo>
                      <a:lnTo>
                        <a:pt x="1067729" y="339176"/>
                      </a:lnTo>
                      <a:lnTo>
                        <a:pt x="1065602" y="339893"/>
                      </a:lnTo>
                      <a:lnTo>
                        <a:pt x="1064633" y="340031"/>
                      </a:lnTo>
                      <a:lnTo>
                        <a:pt x="1063630" y="339811"/>
                      </a:lnTo>
                      <a:lnTo>
                        <a:pt x="1063108" y="338817"/>
                      </a:lnTo>
                      <a:lnTo>
                        <a:pt x="1063043" y="337399"/>
                      </a:lnTo>
                      <a:lnTo>
                        <a:pt x="1063345" y="334905"/>
                      </a:lnTo>
                      <a:lnTo>
                        <a:pt x="1062978" y="332485"/>
                      </a:lnTo>
                      <a:lnTo>
                        <a:pt x="1061104" y="331360"/>
                      </a:lnTo>
                      <a:lnTo>
                        <a:pt x="1059547" y="329624"/>
                      </a:lnTo>
                      <a:lnTo>
                        <a:pt x="1058675" y="328988"/>
                      </a:lnTo>
                      <a:lnTo>
                        <a:pt x="1057526" y="329045"/>
                      </a:lnTo>
                      <a:lnTo>
                        <a:pt x="1056393" y="327888"/>
                      </a:lnTo>
                      <a:lnTo>
                        <a:pt x="1055505" y="326209"/>
                      </a:lnTo>
                      <a:lnTo>
                        <a:pt x="1044290" y="318948"/>
                      </a:lnTo>
                      <a:lnTo>
                        <a:pt x="1043622" y="316886"/>
                      </a:lnTo>
                      <a:lnTo>
                        <a:pt x="1042579" y="317791"/>
                      </a:lnTo>
                      <a:lnTo>
                        <a:pt x="1041536" y="318239"/>
                      </a:lnTo>
                      <a:lnTo>
                        <a:pt x="1040248" y="317049"/>
                      </a:lnTo>
                      <a:lnTo>
                        <a:pt x="1038887" y="316259"/>
                      </a:lnTo>
                      <a:lnTo>
                        <a:pt x="1037412" y="316389"/>
                      </a:lnTo>
                      <a:lnTo>
                        <a:pt x="1036043" y="315745"/>
                      </a:lnTo>
                      <a:lnTo>
                        <a:pt x="1034617" y="315370"/>
                      </a:lnTo>
                      <a:lnTo>
                        <a:pt x="1033117" y="315329"/>
                      </a:lnTo>
                      <a:lnTo>
                        <a:pt x="1027217" y="313096"/>
                      </a:lnTo>
                      <a:lnTo>
                        <a:pt x="1021618" y="309576"/>
                      </a:lnTo>
                      <a:lnTo>
                        <a:pt x="1017087" y="308052"/>
                      </a:lnTo>
                      <a:lnTo>
                        <a:pt x="1014275" y="306071"/>
                      </a:lnTo>
                      <a:lnTo>
                        <a:pt x="1011358" y="304450"/>
                      </a:lnTo>
                      <a:lnTo>
                        <a:pt x="1004830" y="302885"/>
                      </a:lnTo>
                      <a:lnTo>
                        <a:pt x="998220" y="301825"/>
                      </a:lnTo>
                      <a:lnTo>
                        <a:pt x="995824" y="301785"/>
                      </a:lnTo>
                      <a:lnTo>
                        <a:pt x="993828" y="302127"/>
                      </a:lnTo>
                      <a:lnTo>
                        <a:pt x="991904" y="302053"/>
                      </a:lnTo>
                      <a:lnTo>
                        <a:pt x="980951" y="294393"/>
                      </a:lnTo>
                      <a:lnTo>
                        <a:pt x="979109" y="290913"/>
                      </a:lnTo>
                      <a:lnTo>
                        <a:pt x="979280" y="288875"/>
                      </a:lnTo>
                      <a:lnTo>
                        <a:pt x="979778" y="287180"/>
                      </a:lnTo>
                      <a:lnTo>
                        <a:pt x="984235" y="286691"/>
                      </a:lnTo>
                      <a:lnTo>
                        <a:pt x="981098" y="286202"/>
                      </a:lnTo>
                      <a:lnTo>
                        <a:pt x="979793" y="286430"/>
                      </a:lnTo>
                      <a:lnTo>
                        <a:pt x="977218" y="287816"/>
                      </a:lnTo>
                      <a:lnTo>
                        <a:pt x="975809" y="287906"/>
                      </a:lnTo>
                      <a:lnTo>
                        <a:pt x="973836" y="287001"/>
                      </a:lnTo>
                      <a:lnTo>
                        <a:pt x="971954" y="285836"/>
                      </a:lnTo>
                      <a:lnTo>
                        <a:pt x="968857" y="286911"/>
                      </a:lnTo>
                      <a:lnTo>
                        <a:pt x="967276" y="285151"/>
                      </a:lnTo>
                      <a:lnTo>
                        <a:pt x="966730" y="283293"/>
                      </a:lnTo>
                      <a:lnTo>
                        <a:pt x="965899" y="282445"/>
                      </a:lnTo>
                      <a:lnTo>
                        <a:pt x="964733" y="282527"/>
                      </a:lnTo>
                      <a:lnTo>
                        <a:pt x="963168" y="283195"/>
                      </a:lnTo>
                      <a:lnTo>
                        <a:pt x="961603" y="283073"/>
                      </a:lnTo>
                      <a:lnTo>
                        <a:pt x="960609" y="281801"/>
                      </a:lnTo>
                      <a:lnTo>
                        <a:pt x="959876" y="280147"/>
                      </a:lnTo>
                      <a:lnTo>
                        <a:pt x="958792" y="278957"/>
                      </a:lnTo>
                      <a:lnTo>
                        <a:pt x="957513" y="278044"/>
                      </a:lnTo>
                      <a:lnTo>
                        <a:pt x="955394" y="275893"/>
                      </a:lnTo>
                      <a:lnTo>
                        <a:pt x="954285" y="272943"/>
                      </a:lnTo>
                      <a:lnTo>
                        <a:pt x="954407" y="267833"/>
                      </a:lnTo>
                      <a:lnTo>
                        <a:pt x="954749" y="266007"/>
                      </a:lnTo>
                      <a:lnTo>
                        <a:pt x="956844" y="263033"/>
                      </a:lnTo>
                      <a:lnTo>
                        <a:pt x="958335" y="260205"/>
                      </a:lnTo>
                      <a:lnTo>
                        <a:pt x="956485" y="259895"/>
                      </a:lnTo>
                      <a:lnTo>
                        <a:pt x="954823" y="261191"/>
                      </a:lnTo>
                      <a:lnTo>
                        <a:pt x="954122" y="262519"/>
                      </a:lnTo>
                      <a:lnTo>
                        <a:pt x="953845" y="264125"/>
                      </a:lnTo>
                      <a:lnTo>
                        <a:pt x="953658" y="269479"/>
                      </a:lnTo>
                      <a:lnTo>
                        <a:pt x="952329" y="271036"/>
                      </a:lnTo>
                      <a:lnTo>
                        <a:pt x="950316" y="270897"/>
                      </a:lnTo>
                      <a:lnTo>
                        <a:pt x="950911" y="274027"/>
                      </a:lnTo>
                      <a:lnTo>
                        <a:pt x="950080" y="277001"/>
                      </a:lnTo>
                      <a:lnTo>
                        <a:pt x="947749" y="280497"/>
                      </a:lnTo>
                      <a:lnTo>
                        <a:pt x="947553" y="282087"/>
                      </a:lnTo>
                      <a:lnTo>
                        <a:pt x="947936" y="283815"/>
                      </a:lnTo>
                      <a:lnTo>
                        <a:pt x="947406" y="285502"/>
                      </a:lnTo>
                      <a:lnTo>
                        <a:pt x="943634" y="290391"/>
                      </a:lnTo>
                      <a:lnTo>
                        <a:pt x="942386" y="290628"/>
                      </a:lnTo>
                      <a:lnTo>
                        <a:pt x="939583" y="290595"/>
                      </a:lnTo>
                      <a:lnTo>
                        <a:pt x="936682" y="291361"/>
                      </a:lnTo>
                      <a:lnTo>
                        <a:pt x="935345" y="290236"/>
                      </a:lnTo>
                      <a:lnTo>
                        <a:pt x="934245" y="288737"/>
                      </a:lnTo>
                      <a:lnTo>
                        <a:pt x="933430" y="286993"/>
                      </a:lnTo>
                      <a:lnTo>
                        <a:pt x="932281" y="283366"/>
                      </a:lnTo>
                      <a:lnTo>
                        <a:pt x="931360" y="279642"/>
                      </a:lnTo>
                      <a:lnTo>
                        <a:pt x="934237" y="275062"/>
                      </a:lnTo>
                      <a:lnTo>
                        <a:pt x="933250" y="270938"/>
                      </a:lnTo>
                      <a:lnTo>
                        <a:pt x="931311" y="267376"/>
                      </a:lnTo>
                      <a:lnTo>
                        <a:pt x="926388" y="262462"/>
                      </a:lnTo>
                      <a:lnTo>
                        <a:pt x="921303" y="257800"/>
                      </a:lnTo>
                      <a:lnTo>
                        <a:pt x="918988" y="256855"/>
                      </a:lnTo>
                      <a:lnTo>
                        <a:pt x="915191" y="256448"/>
                      </a:lnTo>
                      <a:lnTo>
                        <a:pt x="914001" y="255983"/>
                      </a:lnTo>
                      <a:lnTo>
                        <a:pt x="912819" y="254239"/>
                      </a:lnTo>
                      <a:lnTo>
                        <a:pt x="911955" y="252218"/>
                      </a:lnTo>
                      <a:lnTo>
                        <a:pt x="914327" y="251346"/>
                      </a:lnTo>
                      <a:lnTo>
                        <a:pt x="918385" y="248974"/>
                      </a:lnTo>
                      <a:lnTo>
                        <a:pt x="920692" y="249097"/>
                      </a:lnTo>
                      <a:lnTo>
                        <a:pt x="926943" y="250376"/>
                      </a:lnTo>
                      <a:lnTo>
                        <a:pt x="928866" y="251558"/>
                      </a:lnTo>
                      <a:lnTo>
                        <a:pt x="930651" y="252242"/>
                      </a:lnTo>
                      <a:lnTo>
                        <a:pt x="934921" y="248322"/>
                      </a:lnTo>
                      <a:lnTo>
                        <a:pt x="938303" y="243196"/>
                      </a:lnTo>
                      <a:lnTo>
                        <a:pt x="940422" y="242088"/>
                      </a:lnTo>
                      <a:lnTo>
                        <a:pt x="942215" y="241721"/>
                      </a:lnTo>
                      <a:lnTo>
                        <a:pt x="944049" y="242210"/>
                      </a:lnTo>
                      <a:lnTo>
                        <a:pt x="947684" y="244003"/>
                      </a:lnTo>
                      <a:lnTo>
                        <a:pt x="950536" y="244834"/>
                      </a:lnTo>
                      <a:lnTo>
                        <a:pt x="952574" y="245005"/>
                      </a:lnTo>
                      <a:lnTo>
                        <a:pt x="953641" y="246603"/>
                      </a:lnTo>
                      <a:lnTo>
                        <a:pt x="954831" y="247328"/>
                      </a:lnTo>
                      <a:lnTo>
                        <a:pt x="955108" y="244916"/>
                      </a:lnTo>
                      <a:lnTo>
                        <a:pt x="956151" y="242104"/>
                      </a:lnTo>
                      <a:lnTo>
                        <a:pt x="958173" y="241248"/>
                      </a:lnTo>
                      <a:lnTo>
                        <a:pt x="959240" y="241053"/>
                      </a:lnTo>
                      <a:lnTo>
                        <a:pt x="959917" y="240327"/>
                      </a:lnTo>
                      <a:lnTo>
                        <a:pt x="959770" y="237744"/>
                      </a:lnTo>
                      <a:lnTo>
                        <a:pt x="957097" y="237418"/>
                      </a:lnTo>
                      <a:lnTo>
                        <a:pt x="958547" y="235209"/>
                      </a:lnTo>
                      <a:lnTo>
                        <a:pt x="959859" y="234125"/>
                      </a:lnTo>
                      <a:lnTo>
                        <a:pt x="960300" y="233033"/>
                      </a:lnTo>
                      <a:lnTo>
                        <a:pt x="960324" y="231681"/>
                      </a:lnTo>
                      <a:lnTo>
                        <a:pt x="955092" y="234288"/>
                      </a:lnTo>
                      <a:lnTo>
                        <a:pt x="949566" y="235380"/>
                      </a:lnTo>
                      <a:lnTo>
                        <a:pt x="946307" y="235079"/>
                      </a:lnTo>
                      <a:lnTo>
                        <a:pt x="943063" y="235038"/>
                      </a:lnTo>
                      <a:lnTo>
                        <a:pt x="936551" y="236790"/>
                      </a:lnTo>
                      <a:lnTo>
                        <a:pt x="934082" y="236717"/>
                      </a:lnTo>
                      <a:lnTo>
                        <a:pt x="928328" y="236008"/>
                      </a:lnTo>
                      <a:lnTo>
                        <a:pt x="925133" y="235161"/>
                      </a:lnTo>
                      <a:lnTo>
                        <a:pt x="922664" y="235821"/>
                      </a:lnTo>
                      <a:lnTo>
                        <a:pt x="920293" y="235869"/>
                      </a:lnTo>
                      <a:lnTo>
                        <a:pt x="917807" y="233881"/>
                      </a:lnTo>
                      <a:lnTo>
                        <a:pt x="915688" y="231387"/>
                      </a:lnTo>
                      <a:lnTo>
                        <a:pt x="914636" y="229611"/>
                      </a:lnTo>
                      <a:lnTo>
                        <a:pt x="913243" y="228323"/>
                      </a:lnTo>
                      <a:lnTo>
                        <a:pt x="912632" y="226595"/>
                      </a:lnTo>
                      <a:lnTo>
                        <a:pt x="911083" y="220075"/>
                      </a:lnTo>
                      <a:lnTo>
                        <a:pt x="910937" y="215430"/>
                      </a:lnTo>
                      <a:lnTo>
                        <a:pt x="908435" y="215324"/>
                      </a:lnTo>
                      <a:lnTo>
                        <a:pt x="905998" y="214876"/>
                      </a:lnTo>
                      <a:lnTo>
                        <a:pt x="895143" y="210451"/>
                      </a:lnTo>
                      <a:lnTo>
                        <a:pt x="893830" y="211534"/>
                      </a:lnTo>
                      <a:lnTo>
                        <a:pt x="892298" y="212089"/>
                      </a:lnTo>
                      <a:lnTo>
                        <a:pt x="890774" y="212292"/>
                      </a:lnTo>
                      <a:lnTo>
                        <a:pt x="889259" y="212072"/>
                      </a:lnTo>
                      <a:lnTo>
                        <a:pt x="887742" y="211380"/>
                      </a:lnTo>
                      <a:lnTo>
                        <a:pt x="887873" y="210165"/>
                      </a:lnTo>
                      <a:lnTo>
                        <a:pt x="888997" y="207182"/>
                      </a:lnTo>
                      <a:lnTo>
                        <a:pt x="890098" y="206066"/>
                      </a:lnTo>
                      <a:lnTo>
                        <a:pt x="891630" y="205218"/>
                      </a:lnTo>
                      <a:lnTo>
                        <a:pt x="892592" y="203637"/>
                      </a:lnTo>
                      <a:lnTo>
                        <a:pt x="894156" y="198870"/>
                      </a:lnTo>
                      <a:lnTo>
                        <a:pt x="894286" y="197248"/>
                      </a:lnTo>
                      <a:lnTo>
                        <a:pt x="894115" y="195594"/>
                      </a:lnTo>
                      <a:lnTo>
                        <a:pt x="894246" y="194347"/>
                      </a:lnTo>
                      <a:lnTo>
                        <a:pt x="895216" y="193686"/>
                      </a:lnTo>
                      <a:lnTo>
                        <a:pt x="899307" y="192146"/>
                      </a:lnTo>
                      <a:lnTo>
                        <a:pt x="907815" y="189807"/>
                      </a:lnTo>
                      <a:lnTo>
                        <a:pt x="909967" y="188414"/>
                      </a:lnTo>
                      <a:lnTo>
                        <a:pt x="911743" y="186181"/>
                      </a:lnTo>
                      <a:lnTo>
                        <a:pt x="913814" y="184811"/>
                      </a:lnTo>
                      <a:lnTo>
                        <a:pt x="914775" y="183442"/>
                      </a:lnTo>
                      <a:lnTo>
                        <a:pt x="915851" y="182334"/>
                      </a:lnTo>
                      <a:lnTo>
                        <a:pt x="922444" y="179376"/>
                      </a:lnTo>
                      <a:lnTo>
                        <a:pt x="925272" y="179139"/>
                      </a:lnTo>
                      <a:lnTo>
                        <a:pt x="928173" y="179490"/>
                      </a:lnTo>
                      <a:lnTo>
                        <a:pt x="933919" y="181242"/>
                      </a:lnTo>
                      <a:lnTo>
                        <a:pt x="939395" y="184070"/>
                      </a:lnTo>
                      <a:lnTo>
                        <a:pt x="944130" y="187770"/>
                      </a:lnTo>
                      <a:lnTo>
                        <a:pt x="949159" y="190467"/>
                      </a:lnTo>
                      <a:close/>
                      <a:moveTo>
                        <a:pt x="883187" y="168854"/>
                      </a:moveTo>
                      <a:lnTo>
                        <a:pt x="887473" y="170126"/>
                      </a:lnTo>
                      <a:lnTo>
                        <a:pt x="888452" y="169930"/>
                      </a:lnTo>
                      <a:lnTo>
                        <a:pt x="894694" y="173214"/>
                      </a:lnTo>
                      <a:lnTo>
                        <a:pt x="895680" y="174844"/>
                      </a:lnTo>
                      <a:lnTo>
                        <a:pt x="895330" y="175953"/>
                      </a:lnTo>
                      <a:lnTo>
                        <a:pt x="896234" y="177420"/>
                      </a:lnTo>
                      <a:lnTo>
                        <a:pt x="894205" y="179685"/>
                      </a:lnTo>
                      <a:lnTo>
                        <a:pt x="893219" y="179930"/>
                      </a:lnTo>
                      <a:lnTo>
                        <a:pt x="892225" y="179082"/>
                      </a:lnTo>
                      <a:lnTo>
                        <a:pt x="890244" y="178601"/>
                      </a:lnTo>
                      <a:lnTo>
                        <a:pt x="887954" y="179514"/>
                      </a:lnTo>
                      <a:lnTo>
                        <a:pt x="886487" y="178830"/>
                      </a:lnTo>
                      <a:lnTo>
                        <a:pt x="885265" y="176760"/>
                      </a:lnTo>
                      <a:lnTo>
                        <a:pt x="883065" y="175505"/>
                      </a:lnTo>
                      <a:lnTo>
                        <a:pt x="879968" y="171136"/>
                      </a:lnTo>
                      <a:lnTo>
                        <a:pt x="878444" y="171299"/>
                      </a:lnTo>
                      <a:lnTo>
                        <a:pt x="878843" y="173002"/>
                      </a:lnTo>
                      <a:lnTo>
                        <a:pt x="880163" y="174135"/>
                      </a:lnTo>
                      <a:lnTo>
                        <a:pt x="881899" y="177452"/>
                      </a:lnTo>
                      <a:lnTo>
                        <a:pt x="882894" y="177778"/>
                      </a:lnTo>
                      <a:lnTo>
                        <a:pt x="883920" y="177664"/>
                      </a:lnTo>
                      <a:lnTo>
                        <a:pt x="885314" y="179041"/>
                      </a:lnTo>
                      <a:lnTo>
                        <a:pt x="885240" y="181185"/>
                      </a:lnTo>
                      <a:lnTo>
                        <a:pt x="881622" y="182024"/>
                      </a:lnTo>
                      <a:lnTo>
                        <a:pt x="880375" y="180468"/>
                      </a:lnTo>
                      <a:lnTo>
                        <a:pt x="880098" y="177615"/>
                      </a:lnTo>
                      <a:lnTo>
                        <a:pt x="878061" y="178577"/>
                      </a:lnTo>
                      <a:lnTo>
                        <a:pt x="877270" y="179571"/>
                      </a:lnTo>
                      <a:lnTo>
                        <a:pt x="876675" y="179710"/>
                      </a:lnTo>
                      <a:lnTo>
                        <a:pt x="875330" y="176751"/>
                      </a:lnTo>
                      <a:lnTo>
                        <a:pt x="871459" y="176597"/>
                      </a:lnTo>
                      <a:lnTo>
                        <a:pt x="868892" y="175016"/>
                      </a:lnTo>
                      <a:lnTo>
                        <a:pt x="870147" y="173369"/>
                      </a:lnTo>
                      <a:lnTo>
                        <a:pt x="870326" y="171772"/>
                      </a:lnTo>
                      <a:lnTo>
                        <a:pt x="871997" y="170924"/>
                      </a:lnTo>
                      <a:lnTo>
                        <a:pt x="873700" y="171690"/>
                      </a:lnTo>
                      <a:lnTo>
                        <a:pt x="875395" y="170541"/>
                      </a:lnTo>
                      <a:lnTo>
                        <a:pt x="876610" y="170843"/>
                      </a:lnTo>
                      <a:lnTo>
                        <a:pt x="877498" y="170109"/>
                      </a:lnTo>
                      <a:lnTo>
                        <a:pt x="880921" y="169645"/>
                      </a:lnTo>
                      <a:lnTo>
                        <a:pt x="883187" y="168854"/>
                      </a:lnTo>
                      <a:close/>
                      <a:moveTo>
                        <a:pt x="56486" y="124862"/>
                      </a:moveTo>
                      <a:lnTo>
                        <a:pt x="61873" y="133289"/>
                      </a:lnTo>
                      <a:lnTo>
                        <a:pt x="64057" y="134422"/>
                      </a:lnTo>
                      <a:lnTo>
                        <a:pt x="66950" y="138244"/>
                      </a:lnTo>
                      <a:lnTo>
                        <a:pt x="67668" y="139572"/>
                      </a:lnTo>
                      <a:lnTo>
                        <a:pt x="66917" y="142262"/>
                      </a:lnTo>
                      <a:lnTo>
                        <a:pt x="66282" y="149922"/>
                      </a:lnTo>
                      <a:lnTo>
                        <a:pt x="64888" y="151830"/>
                      </a:lnTo>
                      <a:lnTo>
                        <a:pt x="61514" y="150884"/>
                      </a:lnTo>
                      <a:lnTo>
                        <a:pt x="61474" y="149531"/>
                      </a:lnTo>
                      <a:lnTo>
                        <a:pt x="59526" y="143761"/>
                      </a:lnTo>
                      <a:lnTo>
                        <a:pt x="55981" y="140542"/>
                      </a:lnTo>
                      <a:lnTo>
                        <a:pt x="54595" y="140371"/>
                      </a:lnTo>
                      <a:lnTo>
                        <a:pt x="53699" y="137087"/>
                      </a:lnTo>
                      <a:lnTo>
                        <a:pt x="51906" y="133175"/>
                      </a:lnTo>
                      <a:lnTo>
                        <a:pt x="46502" y="126044"/>
                      </a:lnTo>
                      <a:lnTo>
                        <a:pt x="50602" y="126101"/>
                      </a:lnTo>
                      <a:lnTo>
                        <a:pt x="52599" y="124365"/>
                      </a:lnTo>
                      <a:lnTo>
                        <a:pt x="53055" y="122979"/>
                      </a:lnTo>
                      <a:lnTo>
                        <a:pt x="53373" y="122629"/>
                      </a:lnTo>
                      <a:lnTo>
                        <a:pt x="56486" y="124862"/>
                      </a:lnTo>
                      <a:close/>
                      <a:moveTo>
                        <a:pt x="736255" y="138937"/>
                      </a:moveTo>
                      <a:lnTo>
                        <a:pt x="731529" y="144014"/>
                      </a:lnTo>
                      <a:lnTo>
                        <a:pt x="730070" y="146467"/>
                      </a:lnTo>
                      <a:lnTo>
                        <a:pt x="728823" y="149107"/>
                      </a:lnTo>
                      <a:lnTo>
                        <a:pt x="726956" y="152050"/>
                      </a:lnTo>
                      <a:lnTo>
                        <a:pt x="724805" y="154633"/>
                      </a:lnTo>
                      <a:lnTo>
                        <a:pt x="723737" y="155407"/>
                      </a:lnTo>
                      <a:lnTo>
                        <a:pt x="721097" y="156801"/>
                      </a:lnTo>
                      <a:lnTo>
                        <a:pt x="719573" y="157339"/>
                      </a:lnTo>
                      <a:lnTo>
                        <a:pt x="716712" y="157510"/>
                      </a:lnTo>
                      <a:lnTo>
                        <a:pt x="708082" y="159572"/>
                      </a:lnTo>
                      <a:lnTo>
                        <a:pt x="705254" y="159808"/>
                      </a:lnTo>
                      <a:lnTo>
                        <a:pt x="702426" y="159727"/>
                      </a:lnTo>
                      <a:lnTo>
                        <a:pt x="697088" y="159213"/>
                      </a:lnTo>
                      <a:lnTo>
                        <a:pt x="695963" y="158944"/>
                      </a:lnTo>
                      <a:lnTo>
                        <a:pt x="693828" y="156279"/>
                      </a:lnTo>
                      <a:lnTo>
                        <a:pt x="691432" y="154177"/>
                      </a:lnTo>
                      <a:lnTo>
                        <a:pt x="689305" y="153948"/>
                      </a:lnTo>
                      <a:lnTo>
                        <a:pt x="687137" y="154168"/>
                      </a:lnTo>
                      <a:lnTo>
                        <a:pt x="671538" y="154315"/>
                      </a:lnTo>
                      <a:lnTo>
                        <a:pt x="666086" y="154706"/>
                      </a:lnTo>
                      <a:lnTo>
                        <a:pt x="660658" y="155652"/>
                      </a:lnTo>
                      <a:lnTo>
                        <a:pt x="657700" y="155220"/>
                      </a:lnTo>
                      <a:lnTo>
                        <a:pt x="654774" y="154168"/>
                      </a:lnTo>
                      <a:lnTo>
                        <a:pt x="652566" y="153802"/>
                      </a:lnTo>
                      <a:lnTo>
                        <a:pt x="650341" y="153908"/>
                      </a:lnTo>
                      <a:lnTo>
                        <a:pt x="640096" y="155497"/>
                      </a:lnTo>
                      <a:lnTo>
                        <a:pt x="637530" y="155342"/>
                      </a:lnTo>
                      <a:lnTo>
                        <a:pt x="632346" y="153305"/>
                      </a:lnTo>
                      <a:lnTo>
                        <a:pt x="629331" y="152897"/>
                      </a:lnTo>
                      <a:lnTo>
                        <a:pt x="626380" y="153435"/>
                      </a:lnTo>
                      <a:lnTo>
                        <a:pt x="623634" y="155269"/>
                      </a:lnTo>
                      <a:lnTo>
                        <a:pt x="622591" y="156491"/>
                      </a:lnTo>
                      <a:lnTo>
                        <a:pt x="619747" y="160672"/>
                      </a:lnTo>
                      <a:lnTo>
                        <a:pt x="618133" y="163728"/>
                      </a:lnTo>
                      <a:lnTo>
                        <a:pt x="616918" y="167518"/>
                      </a:lnTo>
                      <a:lnTo>
                        <a:pt x="615875" y="171405"/>
                      </a:lnTo>
                      <a:lnTo>
                        <a:pt x="615305" y="174584"/>
                      </a:lnTo>
                      <a:lnTo>
                        <a:pt x="615280" y="177909"/>
                      </a:lnTo>
                      <a:lnTo>
                        <a:pt x="615769" y="181641"/>
                      </a:lnTo>
                      <a:lnTo>
                        <a:pt x="616552" y="185349"/>
                      </a:lnTo>
                      <a:lnTo>
                        <a:pt x="617399" y="188169"/>
                      </a:lnTo>
                      <a:lnTo>
                        <a:pt x="620953" y="194705"/>
                      </a:lnTo>
                      <a:lnTo>
                        <a:pt x="621678" y="195643"/>
                      </a:lnTo>
                      <a:lnTo>
                        <a:pt x="625533" y="197484"/>
                      </a:lnTo>
                      <a:lnTo>
                        <a:pt x="627823" y="199831"/>
                      </a:lnTo>
                      <a:lnTo>
                        <a:pt x="629991" y="206400"/>
                      </a:lnTo>
                      <a:lnTo>
                        <a:pt x="631539" y="209741"/>
                      </a:lnTo>
                      <a:lnTo>
                        <a:pt x="633063" y="209782"/>
                      </a:lnTo>
                      <a:lnTo>
                        <a:pt x="634758" y="209554"/>
                      </a:lnTo>
                      <a:lnTo>
                        <a:pt x="637701" y="209978"/>
                      </a:lnTo>
                      <a:lnTo>
                        <a:pt x="640626" y="210834"/>
                      </a:lnTo>
                      <a:lnTo>
                        <a:pt x="643479" y="208829"/>
                      </a:lnTo>
                      <a:lnTo>
                        <a:pt x="645060" y="205023"/>
                      </a:lnTo>
                      <a:lnTo>
                        <a:pt x="646657" y="202187"/>
                      </a:lnTo>
                      <a:lnTo>
                        <a:pt x="650479" y="196816"/>
                      </a:lnTo>
                      <a:lnTo>
                        <a:pt x="652672" y="194330"/>
                      </a:lnTo>
                      <a:lnTo>
                        <a:pt x="654065" y="193524"/>
                      </a:lnTo>
                      <a:lnTo>
                        <a:pt x="655491" y="193882"/>
                      </a:lnTo>
                      <a:lnTo>
                        <a:pt x="656681" y="195292"/>
                      </a:lnTo>
                      <a:lnTo>
                        <a:pt x="658083" y="196433"/>
                      </a:lnTo>
                      <a:lnTo>
                        <a:pt x="660952" y="197036"/>
                      </a:lnTo>
                      <a:lnTo>
                        <a:pt x="663837" y="196661"/>
                      </a:lnTo>
                      <a:lnTo>
                        <a:pt x="666917" y="194909"/>
                      </a:lnTo>
                      <a:lnTo>
                        <a:pt x="668017" y="193841"/>
                      </a:lnTo>
                      <a:lnTo>
                        <a:pt x="668930" y="192480"/>
                      </a:lnTo>
                      <a:lnTo>
                        <a:pt x="671530" y="191372"/>
                      </a:lnTo>
                      <a:lnTo>
                        <a:pt x="677732" y="191356"/>
                      </a:lnTo>
                      <a:lnTo>
                        <a:pt x="680935" y="191763"/>
                      </a:lnTo>
                      <a:lnTo>
                        <a:pt x="686640" y="191307"/>
                      </a:lnTo>
                      <a:lnTo>
                        <a:pt x="686558" y="190329"/>
                      </a:lnTo>
                      <a:lnTo>
                        <a:pt x="685450" y="189278"/>
                      </a:lnTo>
                      <a:lnTo>
                        <a:pt x="685165" y="188438"/>
                      </a:lnTo>
                      <a:lnTo>
                        <a:pt x="686224" y="187892"/>
                      </a:lnTo>
                      <a:lnTo>
                        <a:pt x="689899" y="186678"/>
                      </a:lnTo>
                      <a:lnTo>
                        <a:pt x="693640" y="185798"/>
                      </a:lnTo>
                      <a:lnTo>
                        <a:pt x="696378" y="186417"/>
                      </a:lnTo>
                      <a:lnTo>
                        <a:pt x="698807" y="188137"/>
                      </a:lnTo>
                      <a:lnTo>
                        <a:pt x="699744" y="189897"/>
                      </a:lnTo>
                      <a:lnTo>
                        <a:pt x="700168" y="192016"/>
                      </a:lnTo>
                      <a:lnTo>
                        <a:pt x="699231" y="197509"/>
                      </a:lnTo>
                      <a:lnTo>
                        <a:pt x="698759" y="198780"/>
                      </a:lnTo>
                      <a:lnTo>
                        <a:pt x="696827" y="199440"/>
                      </a:lnTo>
                      <a:lnTo>
                        <a:pt x="694993" y="198715"/>
                      </a:lnTo>
                      <a:lnTo>
                        <a:pt x="693184" y="195871"/>
                      </a:lnTo>
                      <a:lnTo>
                        <a:pt x="690625" y="194836"/>
                      </a:lnTo>
                      <a:lnTo>
                        <a:pt x="686990" y="195691"/>
                      </a:lnTo>
                      <a:lnTo>
                        <a:pt x="685735" y="196498"/>
                      </a:lnTo>
                      <a:lnTo>
                        <a:pt x="684618" y="197639"/>
                      </a:lnTo>
                      <a:lnTo>
                        <a:pt x="682557" y="200581"/>
                      </a:lnTo>
                      <a:lnTo>
                        <a:pt x="680853" y="203898"/>
                      </a:lnTo>
                      <a:lnTo>
                        <a:pt x="677162" y="209065"/>
                      </a:lnTo>
                      <a:lnTo>
                        <a:pt x="672891" y="213556"/>
                      </a:lnTo>
                      <a:lnTo>
                        <a:pt x="670813" y="215283"/>
                      </a:lnTo>
                      <a:lnTo>
                        <a:pt x="668506" y="216440"/>
                      </a:lnTo>
                      <a:lnTo>
                        <a:pt x="661090" y="219415"/>
                      </a:lnTo>
                      <a:lnTo>
                        <a:pt x="659135" y="221624"/>
                      </a:lnTo>
                      <a:lnTo>
                        <a:pt x="657626" y="224492"/>
                      </a:lnTo>
                      <a:lnTo>
                        <a:pt x="655940" y="225470"/>
                      </a:lnTo>
                      <a:lnTo>
                        <a:pt x="654000" y="225788"/>
                      </a:lnTo>
                      <a:lnTo>
                        <a:pt x="652541" y="225251"/>
                      </a:lnTo>
                      <a:lnTo>
                        <a:pt x="649591" y="223629"/>
                      </a:lnTo>
                      <a:lnTo>
                        <a:pt x="648621" y="224965"/>
                      </a:lnTo>
                      <a:lnTo>
                        <a:pt x="648450" y="226986"/>
                      </a:lnTo>
                      <a:lnTo>
                        <a:pt x="649909" y="227712"/>
                      </a:lnTo>
                      <a:lnTo>
                        <a:pt x="652248" y="229953"/>
                      </a:lnTo>
                      <a:lnTo>
                        <a:pt x="654057" y="233131"/>
                      </a:lnTo>
                      <a:lnTo>
                        <a:pt x="655231" y="233808"/>
                      </a:lnTo>
                      <a:lnTo>
                        <a:pt x="657806" y="234835"/>
                      </a:lnTo>
                      <a:lnTo>
                        <a:pt x="658898" y="235829"/>
                      </a:lnTo>
                      <a:lnTo>
                        <a:pt x="660838" y="238535"/>
                      </a:lnTo>
                      <a:lnTo>
                        <a:pt x="663902" y="244851"/>
                      </a:lnTo>
                      <a:lnTo>
                        <a:pt x="664945" y="248265"/>
                      </a:lnTo>
                      <a:lnTo>
                        <a:pt x="666657" y="251052"/>
                      </a:lnTo>
                      <a:lnTo>
                        <a:pt x="671840" y="255796"/>
                      </a:lnTo>
                      <a:lnTo>
                        <a:pt x="672125" y="257132"/>
                      </a:lnTo>
                      <a:lnTo>
                        <a:pt x="671815" y="258689"/>
                      </a:lnTo>
                      <a:lnTo>
                        <a:pt x="672206" y="260107"/>
                      </a:lnTo>
                      <a:lnTo>
                        <a:pt x="674065" y="262829"/>
                      </a:lnTo>
                      <a:lnTo>
                        <a:pt x="674505" y="264581"/>
                      </a:lnTo>
                      <a:lnTo>
                        <a:pt x="672484" y="266798"/>
                      </a:lnTo>
                      <a:lnTo>
                        <a:pt x="672361" y="270025"/>
                      </a:lnTo>
                      <a:lnTo>
                        <a:pt x="671131" y="274369"/>
                      </a:lnTo>
                      <a:lnTo>
                        <a:pt x="670845" y="275828"/>
                      </a:lnTo>
                      <a:lnTo>
                        <a:pt x="670886" y="277156"/>
                      </a:lnTo>
                      <a:lnTo>
                        <a:pt x="671758" y="278387"/>
                      </a:lnTo>
                      <a:lnTo>
                        <a:pt x="672769" y="279356"/>
                      </a:lnTo>
                      <a:lnTo>
                        <a:pt x="674171" y="279870"/>
                      </a:lnTo>
                      <a:lnTo>
                        <a:pt x="675385" y="280718"/>
                      </a:lnTo>
                      <a:lnTo>
                        <a:pt x="677732" y="284092"/>
                      </a:lnTo>
                      <a:lnTo>
                        <a:pt x="678946" y="284980"/>
                      </a:lnTo>
                      <a:lnTo>
                        <a:pt x="679737" y="286219"/>
                      </a:lnTo>
                      <a:lnTo>
                        <a:pt x="679655" y="288061"/>
                      </a:lnTo>
                      <a:lnTo>
                        <a:pt x="680731" y="289136"/>
                      </a:lnTo>
                      <a:lnTo>
                        <a:pt x="681709" y="291043"/>
                      </a:lnTo>
                      <a:lnTo>
                        <a:pt x="683225" y="291516"/>
                      </a:lnTo>
                      <a:lnTo>
                        <a:pt x="683926" y="290970"/>
                      </a:lnTo>
                      <a:lnTo>
                        <a:pt x="684406" y="290138"/>
                      </a:lnTo>
                      <a:lnTo>
                        <a:pt x="685646" y="290456"/>
                      </a:lnTo>
                      <a:lnTo>
                        <a:pt x="686379" y="291777"/>
                      </a:lnTo>
                      <a:lnTo>
                        <a:pt x="686795" y="293505"/>
                      </a:lnTo>
                      <a:lnTo>
                        <a:pt x="686933" y="295387"/>
                      </a:lnTo>
                      <a:lnTo>
                        <a:pt x="686876" y="298965"/>
                      </a:lnTo>
                      <a:lnTo>
                        <a:pt x="686248" y="300253"/>
                      </a:lnTo>
                      <a:lnTo>
                        <a:pt x="684904" y="300187"/>
                      </a:lnTo>
                      <a:lnTo>
                        <a:pt x="682467" y="298712"/>
                      </a:lnTo>
                      <a:lnTo>
                        <a:pt x="682353" y="299780"/>
                      </a:lnTo>
                      <a:lnTo>
                        <a:pt x="682516" y="300815"/>
                      </a:lnTo>
                      <a:lnTo>
                        <a:pt x="681285" y="301157"/>
                      </a:lnTo>
                      <a:lnTo>
                        <a:pt x="679867" y="301010"/>
                      </a:lnTo>
                      <a:lnTo>
                        <a:pt x="676306" y="301149"/>
                      </a:lnTo>
                      <a:lnTo>
                        <a:pt x="669753" y="303382"/>
                      </a:lnTo>
                      <a:lnTo>
                        <a:pt x="667455" y="304694"/>
                      </a:lnTo>
                      <a:lnTo>
                        <a:pt x="665956" y="307082"/>
                      </a:lnTo>
                      <a:lnTo>
                        <a:pt x="665850" y="308744"/>
                      </a:lnTo>
                      <a:lnTo>
                        <a:pt x="666420" y="312241"/>
                      </a:lnTo>
                      <a:lnTo>
                        <a:pt x="665548" y="313447"/>
                      </a:lnTo>
                      <a:lnTo>
                        <a:pt x="662557" y="313928"/>
                      </a:lnTo>
                      <a:lnTo>
                        <a:pt x="658360" y="312990"/>
                      </a:lnTo>
                      <a:lnTo>
                        <a:pt x="655817" y="312053"/>
                      </a:lnTo>
                      <a:lnTo>
                        <a:pt x="654408" y="311271"/>
                      </a:lnTo>
                      <a:lnTo>
                        <a:pt x="652549" y="308932"/>
                      </a:lnTo>
                      <a:lnTo>
                        <a:pt x="651865" y="305925"/>
                      </a:lnTo>
                      <a:lnTo>
                        <a:pt x="653218" y="296984"/>
                      </a:lnTo>
                      <a:lnTo>
                        <a:pt x="653609" y="295835"/>
                      </a:lnTo>
                      <a:lnTo>
                        <a:pt x="654269" y="294816"/>
                      </a:lnTo>
                      <a:lnTo>
                        <a:pt x="654962" y="293187"/>
                      </a:lnTo>
                      <a:lnTo>
                        <a:pt x="655125" y="291280"/>
                      </a:lnTo>
                      <a:lnTo>
                        <a:pt x="653136" y="288949"/>
                      </a:lnTo>
                      <a:lnTo>
                        <a:pt x="650121" y="288036"/>
                      </a:lnTo>
                      <a:lnTo>
                        <a:pt x="647562" y="286096"/>
                      </a:lnTo>
                      <a:lnTo>
                        <a:pt x="637676" y="275200"/>
                      </a:lnTo>
                      <a:lnTo>
                        <a:pt x="637122" y="274141"/>
                      </a:lnTo>
                      <a:lnTo>
                        <a:pt x="637097" y="272331"/>
                      </a:lnTo>
                      <a:lnTo>
                        <a:pt x="637497" y="270636"/>
                      </a:lnTo>
                      <a:lnTo>
                        <a:pt x="640740" y="264687"/>
                      </a:lnTo>
                      <a:lnTo>
                        <a:pt x="641156" y="263546"/>
                      </a:lnTo>
                      <a:lnTo>
                        <a:pt x="641555" y="258852"/>
                      </a:lnTo>
                      <a:lnTo>
                        <a:pt x="641466" y="254964"/>
                      </a:lnTo>
                      <a:lnTo>
                        <a:pt x="641099" y="251085"/>
                      </a:lnTo>
                      <a:lnTo>
                        <a:pt x="639567" y="248648"/>
                      </a:lnTo>
                      <a:lnTo>
                        <a:pt x="636804" y="247915"/>
                      </a:lnTo>
                      <a:lnTo>
                        <a:pt x="633968" y="247784"/>
                      </a:lnTo>
                      <a:lnTo>
                        <a:pt x="631205" y="248575"/>
                      </a:lnTo>
                      <a:lnTo>
                        <a:pt x="628491" y="250514"/>
                      </a:lnTo>
                      <a:lnTo>
                        <a:pt x="623463" y="254622"/>
                      </a:lnTo>
                      <a:lnTo>
                        <a:pt x="621474" y="257002"/>
                      </a:lnTo>
                      <a:lnTo>
                        <a:pt x="621303" y="260115"/>
                      </a:lnTo>
                      <a:lnTo>
                        <a:pt x="622461" y="263147"/>
                      </a:lnTo>
                      <a:lnTo>
                        <a:pt x="623952" y="265934"/>
                      </a:lnTo>
                      <a:lnTo>
                        <a:pt x="624742" y="268957"/>
                      </a:lnTo>
                      <a:lnTo>
                        <a:pt x="625843" y="279723"/>
                      </a:lnTo>
                      <a:lnTo>
                        <a:pt x="625802" y="280929"/>
                      </a:lnTo>
                      <a:lnTo>
                        <a:pt x="624514" y="284067"/>
                      </a:lnTo>
                      <a:lnTo>
                        <a:pt x="624009" y="291051"/>
                      </a:lnTo>
                      <a:lnTo>
                        <a:pt x="624538" y="300937"/>
                      </a:lnTo>
                      <a:lnTo>
                        <a:pt x="625427" y="307000"/>
                      </a:lnTo>
                      <a:lnTo>
                        <a:pt x="625044" y="310293"/>
                      </a:lnTo>
                      <a:lnTo>
                        <a:pt x="622705" y="317367"/>
                      </a:lnTo>
                      <a:lnTo>
                        <a:pt x="621980" y="321254"/>
                      </a:lnTo>
                      <a:lnTo>
                        <a:pt x="621923" y="322843"/>
                      </a:lnTo>
                      <a:lnTo>
                        <a:pt x="624694" y="330243"/>
                      </a:lnTo>
                      <a:lnTo>
                        <a:pt x="625337" y="333169"/>
                      </a:lnTo>
                      <a:lnTo>
                        <a:pt x="625680" y="336201"/>
                      </a:lnTo>
                      <a:lnTo>
                        <a:pt x="622738" y="334710"/>
                      </a:lnTo>
                      <a:lnTo>
                        <a:pt x="621368" y="334783"/>
                      </a:lnTo>
                      <a:lnTo>
                        <a:pt x="619991" y="335255"/>
                      </a:lnTo>
                      <a:lnTo>
                        <a:pt x="616911" y="335736"/>
                      </a:lnTo>
                      <a:lnTo>
                        <a:pt x="613806" y="335802"/>
                      </a:lnTo>
                      <a:lnTo>
                        <a:pt x="612713" y="336356"/>
                      </a:lnTo>
                      <a:lnTo>
                        <a:pt x="610497" y="338328"/>
                      </a:lnTo>
                      <a:lnTo>
                        <a:pt x="609152" y="339127"/>
                      </a:lnTo>
                      <a:lnTo>
                        <a:pt x="607987" y="339273"/>
                      </a:lnTo>
                      <a:lnTo>
                        <a:pt x="604026" y="336796"/>
                      </a:lnTo>
                      <a:lnTo>
                        <a:pt x="601695" y="334123"/>
                      </a:lnTo>
                      <a:lnTo>
                        <a:pt x="599535" y="331213"/>
                      </a:lnTo>
                      <a:lnTo>
                        <a:pt x="599136" y="327904"/>
                      </a:lnTo>
                      <a:lnTo>
                        <a:pt x="599886" y="324490"/>
                      </a:lnTo>
                      <a:lnTo>
                        <a:pt x="600953" y="320847"/>
                      </a:lnTo>
                      <a:lnTo>
                        <a:pt x="603089" y="314792"/>
                      </a:lnTo>
                      <a:lnTo>
                        <a:pt x="602983" y="310741"/>
                      </a:lnTo>
                      <a:lnTo>
                        <a:pt x="603716" y="307416"/>
                      </a:lnTo>
                      <a:lnTo>
                        <a:pt x="604931" y="304181"/>
                      </a:lnTo>
                      <a:lnTo>
                        <a:pt x="605370" y="301198"/>
                      </a:lnTo>
                      <a:lnTo>
                        <a:pt x="605672" y="289536"/>
                      </a:lnTo>
                      <a:lnTo>
                        <a:pt x="605362" y="288492"/>
                      </a:lnTo>
                      <a:lnTo>
                        <a:pt x="602445" y="281557"/>
                      </a:lnTo>
                      <a:lnTo>
                        <a:pt x="602111" y="280392"/>
                      </a:lnTo>
                      <a:lnTo>
                        <a:pt x="602094" y="278525"/>
                      </a:lnTo>
                      <a:lnTo>
                        <a:pt x="602404" y="276740"/>
                      </a:lnTo>
                      <a:lnTo>
                        <a:pt x="602469" y="275135"/>
                      </a:lnTo>
                      <a:lnTo>
                        <a:pt x="601801" y="273904"/>
                      </a:lnTo>
                      <a:lnTo>
                        <a:pt x="600619" y="272780"/>
                      </a:lnTo>
                      <a:lnTo>
                        <a:pt x="599176" y="272283"/>
                      </a:lnTo>
                      <a:lnTo>
                        <a:pt x="596153" y="272772"/>
                      </a:lnTo>
                      <a:lnTo>
                        <a:pt x="590065" y="274638"/>
                      </a:lnTo>
                      <a:lnTo>
                        <a:pt x="588273" y="272983"/>
                      </a:lnTo>
                      <a:lnTo>
                        <a:pt x="586920" y="270457"/>
                      </a:lnTo>
                      <a:lnTo>
                        <a:pt x="586056" y="266912"/>
                      </a:lnTo>
                      <a:lnTo>
                        <a:pt x="585550" y="263212"/>
                      </a:lnTo>
                      <a:lnTo>
                        <a:pt x="585787" y="259740"/>
                      </a:lnTo>
                      <a:lnTo>
                        <a:pt x="586675" y="256382"/>
                      </a:lnTo>
                      <a:lnTo>
                        <a:pt x="585958" y="254027"/>
                      </a:lnTo>
                      <a:lnTo>
                        <a:pt x="584833" y="251476"/>
                      </a:lnTo>
                      <a:lnTo>
                        <a:pt x="584817" y="250156"/>
                      </a:lnTo>
                      <a:lnTo>
                        <a:pt x="585461" y="249007"/>
                      </a:lnTo>
                      <a:lnTo>
                        <a:pt x="586561" y="248045"/>
                      </a:lnTo>
                      <a:lnTo>
                        <a:pt x="587905" y="247491"/>
                      </a:lnTo>
                      <a:lnTo>
                        <a:pt x="589152" y="246472"/>
                      </a:lnTo>
                      <a:lnTo>
                        <a:pt x="592478" y="243033"/>
                      </a:lnTo>
                      <a:lnTo>
                        <a:pt x="593553" y="240026"/>
                      </a:lnTo>
                      <a:lnTo>
                        <a:pt x="593619" y="236310"/>
                      </a:lnTo>
                      <a:lnTo>
                        <a:pt x="594466" y="232756"/>
                      </a:lnTo>
                      <a:lnTo>
                        <a:pt x="596170" y="229505"/>
                      </a:lnTo>
                      <a:lnTo>
                        <a:pt x="598183" y="226465"/>
                      </a:lnTo>
                      <a:lnTo>
                        <a:pt x="598834" y="223343"/>
                      </a:lnTo>
                      <a:lnTo>
                        <a:pt x="597848" y="218388"/>
                      </a:lnTo>
                      <a:lnTo>
                        <a:pt x="598239" y="216123"/>
                      </a:lnTo>
                      <a:lnTo>
                        <a:pt x="597889" y="213474"/>
                      </a:lnTo>
                      <a:lnTo>
                        <a:pt x="597865" y="210866"/>
                      </a:lnTo>
                      <a:lnTo>
                        <a:pt x="599111" y="205927"/>
                      </a:lnTo>
                      <a:lnTo>
                        <a:pt x="602803" y="195854"/>
                      </a:lnTo>
                      <a:lnTo>
                        <a:pt x="606398" y="190500"/>
                      </a:lnTo>
                      <a:lnTo>
                        <a:pt x="607840" y="189090"/>
                      </a:lnTo>
                      <a:lnTo>
                        <a:pt x="609706" y="191576"/>
                      </a:lnTo>
                      <a:lnTo>
                        <a:pt x="611132" y="194510"/>
                      </a:lnTo>
                      <a:lnTo>
                        <a:pt x="611157" y="191853"/>
                      </a:lnTo>
                      <a:lnTo>
                        <a:pt x="610782" y="189253"/>
                      </a:lnTo>
                      <a:lnTo>
                        <a:pt x="609331" y="183190"/>
                      </a:lnTo>
                      <a:lnTo>
                        <a:pt x="608093" y="171356"/>
                      </a:lnTo>
                      <a:lnTo>
                        <a:pt x="608451" y="170240"/>
                      </a:lnTo>
                      <a:lnTo>
                        <a:pt x="609698" y="170419"/>
                      </a:lnTo>
                      <a:lnTo>
                        <a:pt x="610977" y="169376"/>
                      </a:lnTo>
                      <a:lnTo>
                        <a:pt x="611662" y="167509"/>
                      </a:lnTo>
                      <a:lnTo>
                        <a:pt x="610317" y="163109"/>
                      </a:lnTo>
                      <a:lnTo>
                        <a:pt x="610261" y="161569"/>
                      </a:lnTo>
                      <a:lnTo>
                        <a:pt x="612836" y="155391"/>
                      </a:lnTo>
                      <a:lnTo>
                        <a:pt x="614938" y="153142"/>
                      </a:lnTo>
                      <a:lnTo>
                        <a:pt x="615859" y="151756"/>
                      </a:lnTo>
                      <a:lnTo>
                        <a:pt x="616381" y="147983"/>
                      </a:lnTo>
                      <a:lnTo>
                        <a:pt x="617481" y="146557"/>
                      </a:lnTo>
                      <a:lnTo>
                        <a:pt x="618875" y="145538"/>
                      </a:lnTo>
                      <a:lnTo>
                        <a:pt x="620692" y="142930"/>
                      </a:lnTo>
                      <a:lnTo>
                        <a:pt x="621678" y="139654"/>
                      </a:lnTo>
                      <a:lnTo>
                        <a:pt x="622273" y="139401"/>
                      </a:lnTo>
                      <a:lnTo>
                        <a:pt x="622982" y="139287"/>
                      </a:lnTo>
                      <a:lnTo>
                        <a:pt x="624074" y="142148"/>
                      </a:lnTo>
                      <a:lnTo>
                        <a:pt x="625305" y="143313"/>
                      </a:lnTo>
                      <a:lnTo>
                        <a:pt x="627807" y="144242"/>
                      </a:lnTo>
                      <a:lnTo>
                        <a:pt x="629942" y="143142"/>
                      </a:lnTo>
                      <a:lnTo>
                        <a:pt x="630529" y="141708"/>
                      </a:lnTo>
                      <a:lnTo>
                        <a:pt x="631327" y="140477"/>
                      </a:lnTo>
                      <a:lnTo>
                        <a:pt x="632623" y="139189"/>
                      </a:lnTo>
                      <a:lnTo>
                        <a:pt x="633715" y="137722"/>
                      </a:lnTo>
                      <a:lnTo>
                        <a:pt x="634922" y="134316"/>
                      </a:lnTo>
                      <a:lnTo>
                        <a:pt x="636519" y="131219"/>
                      </a:lnTo>
                      <a:lnTo>
                        <a:pt x="637611" y="130143"/>
                      </a:lnTo>
                      <a:lnTo>
                        <a:pt x="638923" y="129459"/>
                      </a:lnTo>
                      <a:lnTo>
                        <a:pt x="640398" y="129043"/>
                      </a:lnTo>
                      <a:lnTo>
                        <a:pt x="641824" y="128986"/>
                      </a:lnTo>
                      <a:lnTo>
                        <a:pt x="644962" y="130942"/>
                      </a:lnTo>
                      <a:lnTo>
                        <a:pt x="646788" y="131317"/>
                      </a:lnTo>
                      <a:lnTo>
                        <a:pt x="648654" y="131178"/>
                      </a:lnTo>
                      <a:lnTo>
                        <a:pt x="649827" y="131504"/>
                      </a:lnTo>
                      <a:lnTo>
                        <a:pt x="650716" y="132376"/>
                      </a:lnTo>
                      <a:lnTo>
                        <a:pt x="651530" y="134145"/>
                      </a:lnTo>
                      <a:lnTo>
                        <a:pt x="652541" y="135660"/>
                      </a:lnTo>
                      <a:lnTo>
                        <a:pt x="653454" y="136410"/>
                      </a:lnTo>
                      <a:lnTo>
                        <a:pt x="654473" y="136761"/>
                      </a:lnTo>
                      <a:lnTo>
                        <a:pt x="661310" y="136141"/>
                      </a:lnTo>
                      <a:lnTo>
                        <a:pt x="667284" y="137861"/>
                      </a:lnTo>
                      <a:lnTo>
                        <a:pt x="675434" y="138252"/>
                      </a:lnTo>
                      <a:lnTo>
                        <a:pt x="678229" y="139255"/>
                      </a:lnTo>
                      <a:lnTo>
                        <a:pt x="680911" y="140575"/>
                      </a:lnTo>
                      <a:lnTo>
                        <a:pt x="684195" y="142906"/>
                      </a:lnTo>
                      <a:lnTo>
                        <a:pt x="685384" y="143419"/>
                      </a:lnTo>
                      <a:lnTo>
                        <a:pt x="686729" y="143289"/>
                      </a:lnTo>
                      <a:lnTo>
                        <a:pt x="688408" y="141104"/>
                      </a:lnTo>
                      <a:lnTo>
                        <a:pt x="689712" y="140624"/>
                      </a:lnTo>
                      <a:lnTo>
                        <a:pt x="691049" y="140542"/>
                      </a:lnTo>
                      <a:lnTo>
                        <a:pt x="696297" y="140949"/>
                      </a:lnTo>
                      <a:lnTo>
                        <a:pt x="710396" y="143639"/>
                      </a:lnTo>
                      <a:lnTo>
                        <a:pt x="712482" y="143272"/>
                      </a:lnTo>
                      <a:lnTo>
                        <a:pt x="720983" y="138130"/>
                      </a:lnTo>
                      <a:lnTo>
                        <a:pt x="724398" y="133256"/>
                      </a:lnTo>
                      <a:lnTo>
                        <a:pt x="727437" y="131895"/>
                      </a:lnTo>
                      <a:lnTo>
                        <a:pt x="728472" y="129687"/>
                      </a:lnTo>
                      <a:lnTo>
                        <a:pt x="729083" y="127038"/>
                      </a:lnTo>
                      <a:lnTo>
                        <a:pt x="730176" y="126321"/>
                      </a:lnTo>
                      <a:lnTo>
                        <a:pt x="732718" y="125571"/>
                      </a:lnTo>
                      <a:lnTo>
                        <a:pt x="733737" y="124781"/>
                      </a:lnTo>
                      <a:lnTo>
                        <a:pt x="735538" y="121537"/>
                      </a:lnTo>
                      <a:lnTo>
                        <a:pt x="737690" y="118660"/>
                      </a:lnTo>
                      <a:lnTo>
                        <a:pt x="738741" y="117796"/>
                      </a:lnTo>
                      <a:lnTo>
                        <a:pt x="741757" y="118261"/>
                      </a:lnTo>
                      <a:lnTo>
                        <a:pt x="743093" y="119516"/>
                      </a:lnTo>
                      <a:lnTo>
                        <a:pt x="744804" y="123754"/>
                      </a:lnTo>
                      <a:lnTo>
                        <a:pt x="744503" y="124463"/>
                      </a:lnTo>
                      <a:lnTo>
                        <a:pt x="742498" y="126565"/>
                      </a:lnTo>
                      <a:lnTo>
                        <a:pt x="741919" y="127446"/>
                      </a:lnTo>
                      <a:lnTo>
                        <a:pt x="739711" y="133395"/>
                      </a:lnTo>
                      <a:lnTo>
                        <a:pt x="738179" y="136312"/>
                      </a:lnTo>
                      <a:lnTo>
                        <a:pt x="736255" y="138937"/>
                      </a:lnTo>
                      <a:close/>
                      <a:moveTo>
                        <a:pt x="806783" y="143329"/>
                      </a:moveTo>
                      <a:lnTo>
                        <a:pt x="808584" y="143998"/>
                      </a:lnTo>
                      <a:lnTo>
                        <a:pt x="810459" y="143818"/>
                      </a:lnTo>
                      <a:lnTo>
                        <a:pt x="811396" y="142474"/>
                      </a:lnTo>
                      <a:lnTo>
                        <a:pt x="811656" y="140746"/>
                      </a:lnTo>
                      <a:lnTo>
                        <a:pt x="812594" y="137519"/>
                      </a:lnTo>
                      <a:lnTo>
                        <a:pt x="814778" y="135326"/>
                      </a:lnTo>
                      <a:lnTo>
                        <a:pt x="816310" y="134984"/>
                      </a:lnTo>
                      <a:lnTo>
                        <a:pt x="817394" y="134063"/>
                      </a:lnTo>
                      <a:lnTo>
                        <a:pt x="817207" y="131667"/>
                      </a:lnTo>
                      <a:lnTo>
                        <a:pt x="817321" y="129312"/>
                      </a:lnTo>
                      <a:lnTo>
                        <a:pt x="818934" y="126793"/>
                      </a:lnTo>
                      <a:lnTo>
                        <a:pt x="823930" y="123289"/>
                      </a:lnTo>
                      <a:lnTo>
                        <a:pt x="826791" y="122042"/>
                      </a:lnTo>
                      <a:lnTo>
                        <a:pt x="830482" y="121643"/>
                      </a:lnTo>
                      <a:lnTo>
                        <a:pt x="830906" y="122979"/>
                      </a:lnTo>
                      <a:lnTo>
                        <a:pt x="830474" y="124895"/>
                      </a:lnTo>
                      <a:lnTo>
                        <a:pt x="831200" y="127788"/>
                      </a:lnTo>
                      <a:lnTo>
                        <a:pt x="830841" y="135595"/>
                      </a:lnTo>
                      <a:lnTo>
                        <a:pt x="830001" y="136704"/>
                      </a:lnTo>
                      <a:lnTo>
                        <a:pt x="826171" y="139401"/>
                      </a:lnTo>
                      <a:lnTo>
                        <a:pt x="821982" y="141561"/>
                      </a:lnTo>
                      <a:lnTo>
                        <a:pt x="820809" y="142465"/>
                      </a:lnTo>
                      <a:lnTo>
                        <a:pt x="819790" y="144617"/>
                      </a:lnTo>
                      <a:lnTo>
                        <a:pt x="819863" y="146752"/>
                      </a:lnTo>
                      <a:lnTo>
                        <a:pt x="823278" y="149596"/>
                      </a:lnTo>
                      <a:lnTo>
                        <a:pt x="828559" y="152253"/>
                      </a:lnTo>
                      <a:lnTo>
                        <a:pt x="829651" y="153500"/>
                      </a:lnTo>
                      <a:lnTo>
                        <a:pt x="830368" y="155587"/>
                      </a:lnTo>
                      <a:lnTo>
                        <a:pt x="830556" y="157934"/>
                      </a:lnTo>
                      <a:lnTo>
                        <a:pt x="831835" y="159042"/>
                      </a:lnTo>
                      <a:lnTo>
                        <a:pt x="833628" y="159580"/>
                      </a:lnTo>
                      <a:lnTo>
                        <a:pt x="834818" y="160688"/>
                      </a:lnTo>
                      <a:lnTo>
                        <a:pt x="835715" y="162245"/>
                      </a:lnTo>
                      <a:lnTo>
                        <a:pt x="826807" y="158610"/>
                      </a:lnTo>
                      <a:lnTo>
                        <a:pt x="824468" y="157004"/>
                      </a:lnTo>
                      <a:lnTo>
                        <a:pt x="821648" y="156809"/>
                      </a:lnTo>
                      <a:lnTo>
                        <a:pt x="818869" y="156320"/>
                      </a:lnTo>
                      <a:lnTo>
                        <a:pt x="816017" y="154926"/>
                      </a:lnTo>
                      <a:lnTo>
                        <a:pt x="812977" y="154600"/>
                      </a:lnTo>
                      <a:lnTo>
                        <a:pt x="811518" y="155619"/>
                      </a:lnTo>
                      <a:lnTo>
                        <a:pt x="810948" y="157591"/>
                      </a:lnTo>
                      <a:lnTo>
                        <a:pt x="810597" y="159800"/>
                      </a:lnTo>
                      <a:lnTo>
                        <a:pt x="811281" y="162554"/>
                      </a:lnTo>
                      <a:lnTo>
                        <a:pt x="811208" y="164225"/>
                      </a:lnTo>
                      <a:lnTo>
                        <a:pt x="810646" y="167249"/>
                      </a:lnTo>
                      <a:lnTo>
                        <a:pt x="812846" y="176165"/>
                      </a:lnTo>
                      <a:lnTo>
                        <a:pt x="815617" y="183255"/>
                      </a:lnTo>
                      <a:lnTo>
                        <a:pt x="819684" y="190630"/>
                      </a:lnTo>
                      <a:lnTo>
                        <a:pt x="821697" y="193165"/>
                      </a:lnTo>
                      <a:lnTo>
                        <a:pt x="823955" y="195455"/>
                      </a:lnTo>
                      <a:lnTo>
                        <a:pt x="820295" y="194770"/>
                      </a:lnTo>
                      <a:lnTo>
                        <a:pt x="819179" y="192317"/>
                      </a:lnTo>
                      <a:lnTo>
                        <a:pt x="814542" y="189856"/>
                      </a:lnTo>
                      <a:lnTo>
                        <a:pt x="813670" y="188406"/>
                      </a:lnTo>
                      <a:lnTo>
                        <a:pt x="810654" y="181405"/>
                      </a:lnTo>
                      <a:lnTo>
                        <a:pt x="809766" y="180101"/>
                      </a:lnTo>
                      <a:lnTo>
                        <a:pt x="806979" y="177721"/>
                      </a:lnTo>
                      <a:lnTo>
                        <a:pt x="805756" y="175961"/>
                      </a:lnTo>
                      <a:lnTo>
                        <a:pt x="805340" y="173597"/>
                      </a:lnTo>
                      <a:lnTo>
                        <a:pt x="805650" y="171112"/>
                      </a:lnTo>
                      <a:lnTo>
                        <a:pt x="805495" y="167681"/>
                      </a:lnTo>
                      <a:lnTo>
                        <a:pt x="805593" y="164266"/>
                      </a:lnTo>
                      <a:lnTo>
                        <a:pt x="806172" y="160101"/>
                      </a:lnTo>
                      <a:lnTo>
                        <a:pt x="805178" y="158643"/>
                      </a:lnTo>
                      <a:lnTo>
                        <a:pt x="803882" y="157265"/>
                      </a:lnTo>
                      <a:lnTo>
                        <a:pt x="802366" y="154071"/>
                      </a:lnTo>
                      <a:lnTo>
                        <a:pt x="801918" y="150436"/>
                      </a:lnTo>
                      <a:lnTo>
                        <a:pt x="802032" y="148341"/>
                      </a:lnTo>
                      <a:lnTo>
                        <a:pt x="802659" y="146491"/>
                      </a:lnTo>
                      <a:lnTo>
                        <a:pt x="803499" y="144886"/>
                      </a:lnTo>
                      <a:lnTo>
                        <a:pt x="803670" y="143321"/>
                      </a:lnTo>
                      <a:lnTo>
                        <a:pt x="801494" y="141055"/>
                      </a:lnTo>
                      <a:lnTo>
                        <a:pt x="799220" y="134593"/>
                      </a:lnTo>
                      <a:lnTo>
                        <a:pt x="799016" y="131235"/>
                      </a:lnTo>
                      <a:lnTo>
                        <a:pt x="801918" y="124781"/>
                      </a:lnTo>
                      <a:lnTo>
                        <a:pt x="801852" y="121651"/>
                      </a:lnTo>
                      <a:lnTo>
                        <a:pt x="802431" y="119793"/>
                      </a:lnTo>
                      <a:lnTo>
                        <a:pt x="802749" y="117812"/>
                      </a:lnTo>
                      <a:lnTo>
                        <a:pt x="804265" y="113518"/>
                      </a:lnTo>
                      <a:lnTo>
                        <a:pt x="806742" y="109850"/>
                      </a:lnTo>
                      <a:lnTo>
                        <a:pt x="810915" y="104724"/>
                      </a:lnTo>
                      <a:lnTo>
                        <a:pt x="812512" y="103608"/>
                      </a:lnTo>
                      <a:lnTo>
                        <a:pt x="814305" y="102882"/>
                      </a:lnTo>
                      <a:lnTo>
                        <a:pt x="814468" y="104137"/>
                      </a:lnTo>
                      <a:lnTo>
                        <a:pt x="814183" y="105254"/>
                      </a:lnTo>
                      <a:lnTo>
                        <a:pt x="811086" y="110478"/>
                      </a:lnTo>
                      <a:lnTo>
                        <a:pt x="810679" y="111659"/>
                      </a:lnTo>
                      <a:lnTo>
                        <a:pt x="810597" y="113860"/>
                      </a:lnTo>
                      <a:lnTo>
                        <a:pt x="812072" y="115156"/>
                      </a:lnTo>
                      <a:lnTo>
                        <a:pt x="813670" y="117804"/>
                      </a:lnTo>
                      <a:lnTo>
                        <a:pt x="813995" y="121333"/>
                      </a:lnTo>
                      <a:lnTo>
                        <a:pt x="814045" y="125082"/>
                      </a:lnTo>
                      <a:lnTo>
                        <a:pt x="813694" y="128872"/>
                      </a:lnTo>
                      <a:lnTo>
                        <a:pt x="813099" y="130135"/>
                      </a:lnTo>
                      <a:lnTo>
                        <a:pt x="810556" y="133924"/>
                      </a:lnTo>
                      <a:lnTo>
                        <a:pt x="804786" y="138383"/>
                      </a:lnTo>
                      <a:lnTo>
                        <a:pt x="804289" y="139474"/>
                      </a:lnTo>
                      <a:lnTo>
                        <a:pt x="804330" y="140705"/>
                      </a:lnTo>
                      <a:lnTo>
                        <a:pt x="805397" y="142188"/>
                      </a:lnTo>
                      <a:lnTo>
                        <a:pt x="806783" y="143329"/>
                      </a:lnTo>
                      <a:close/>
                      <a:moveTo>
                        <a:pt x="824671" y="107299"/>
                      </a:moveTo>
                      <a:lnTo>
                        <a:pt x="820752" y="107805"/>
                      </a:lnTo>
                      <a:lnTo>
                        <a:pt x="819863" y="106370"/>
                      </a:lnTo>
                      <a:lnTo>
                        <a:pt x="818828" y="99932"/>
                      </a:lnTo>
                      <a:lnTo>
                        <a:pt x="821615" y="94781"/>
                      </a:lnTo>
                      <a:lnTo>
                        <a:pt x="825128" y="91750"/>
                      </a:lnTo>
                      <a:lnTo>
                        <a:pt x="827524" y="90984"/>
                      </a:lnTo>
                      <a:lnTo>
                        <a:pt x="828355" y="90943"/>
                      </a:lnTo>
                      <a:lnTo>
                        <a:pt x="830499" y="94651"/>
                      </a:lnTo>
                      <a:lnTo>
                        <a:pt x="828893" y="102124"/>
                      </a:lnTo>
                      <a:lnTo>
                        <a:pt x="827019" y="105938"/>
                      </a:lnTo>
                      <a:lnTo>
                        <a:pt x="824671" y="107299"/>
                      </a:lnTo>
                      <a:close/>
                      <a:moveTo>
                        <a:pt x="529513" y="38141"/>
                      </a:moveTo>
                      <a:lnTo>
                        <a:pt x="530401" y="38785"/>
                      </a:lnTo>
                      <a:lnTo>
                        <a:pt x="531623" y="38760"/>
                      </a:lnTo>
                      <a:lnTo>
                        <a:pt x="533099" y="38279"/>
                      </a:lnTo>
                      <a:lnTo>
                        <a:pt x="536701" y="38727"/>
                      </a:lnTo>
                      <a:lnTo>
                        <a:pt x="543082" y="38817"/>
                      </a:lnTo>
                      <a:lnTo>
                        <a:pt x="547467" y="39950"/>
                      </a:lnTo>
                      <a:lnTo>
                        <a:pt x="551761" y="43145"/>
                      </a:lnTo>
                      <a:lnTo>
                        <a:pt x="553905" y="43788"/>
                      </a:lnTo>
                      <a:lnTo>
                        <a:pt x="554834" y="43813"/>
                      </a:lnTo>
                      <a:lnTo>
                        <a:pt x="554630" y="44066"/>
                      </a:lnTo>
                      <a:lnTo>
                        <a:pt x="552927" y="44921"/>
                      </a:lnTo>
                      <a:lnTo>
                        <a:pt x="552120" y="46641"/>
                      </a:lnTo>
                      <a:lnTo>
                        <a:pt x="554451" y="49273"/>
                      </a:lnTo>
                      <a:lnTo>
                        <a:pt x="554622" y="51025"/>
                      </a:lnTo>
                      <a:lnTo>
                        <a:pt x="556440" y="52574"/>
                      </a:lnTo>
                      <a:lnTo>
                        <a:pt x="558648" y="55011"/>
                      </a:lnTo>
                      <a:lnTo>
                        <a:pt x="558730" y="55801"/>
                      </a:lnTo>
                      <a:lnTo>
                        <a:pt x="559487" y="56893"/>
                      </a:lnTo>
                      <a:lnTo>
                        <a:pt x="559862" y="58230"/>
                      </a:lnTo>
                      <a:lnTo>
                        <a:pt x="558314" y="59566"/>
                      </a:lnTo>
                      <a:lnTo>
                        <a:pt x="556211" y="59819"/>
                      </a:lnTo>
                      <a:lnTo>
                        <a:pt x="554663" y="58564"/>
                      </a:lnTo>
                      <a:lnTo>
                        <a:pt x="553237" y="56999"/>
                      </a:lnTo>
                      <a:lnTo>
                        <a:pt x="552870" y="58947"/>
                      </a:lnTo>
                      <a:lnTo>
                        <a:pt x="551753" y="60055"/>
                      </a:lnTo>
                      <a:lnTo>
                        <a:pt x="547736" y="59737"/>
                      </a:lnTo>
                      <a:lnTo>
                        <a:pt x="544851" y="59746"/>
                      </a:lnTo>
                      <a:lnTo>
                        <a:pt x="541982" y="60235"/>
                      </a:lnTo>
                      <a:lnTo>
                        <a:pt x="543416" y="60536"/>
                      </a:lnTo>
                      <a:lnTo>
                        <a:pt x="544720" y="61156"/>
                      </a:lnTo>
                      <a:lnTo>
                        <a:pt x="549178" y="66111"/>
                      </a:lnTo>
                      <a:lnTo>
                        <a:pt x="550132" y="67944"/>
                      </a:lnTo>
                      <a:lnTo>
                        <a:pt x="548583" y="71595"/>
                      </a:lnTo>
                      <a:lnTo>
                        <a:pt x="549341" y="73087"/>
                      </a:lnTo>
                      <a:lnTo>
                        <a:pt x="551061" y="73943"/>
                      </a:lnTo>
                      <a:lnTo>
                        <a:pt x="553172" y="75760"/>
                      </a:lnTo>
                      <a:lnTo>
                        <a:pt x="554663" y="75939"/>
                      </a:lnTo>
                      <a:lnTo>
                        <a:pt x="555739" y="76958"/>
                      </a:lnTo>
                      <a:lnTo>
                        <a:pt x="555788" y="78743"/>
                      </a:lnTo>
                      <a:lnTo>
                        <a:pt x="556423" y="80356"/>
                      </a:lnTo>
                      <a:lnTo>
                        <a:pt x="554720" y="81008"/>
                      </a:lnTo>
                      <a:lnTo>
                        <a:pt x="556399" y="81440"/>
                      </a:lnTo>
                      <a:lnTo>
                        <a:pt x="557907" y="82272"/>
                      </a:lnTo>
                      <a:lnTo>
                        <a:pt x="557083" y="83111"/>
                      </a:lnTo>
                      <a:lnTo>
                        <a:pt x="556448" y="84130"/>
                      </a:lnTo>
                      <a:lnTo>
                        <a:pt x="557141" y="84676"/>
                      </a:lnTo>
                      <a:lnTo>
                        <a:pt x="559202" y="85613"/>
                      </a:lnTo>
                      <a:lnTo>
                        <a:pt x="560091" y="86477"/>
                      </a:lnTo>
                      <a:lnTo>
                        <a:pt x="560571" y="88808"/>
                      </a:lnTo>
                      <a:lnTo>
                        <a:pt x="562568" y="92622"/>
                      </a:lnTo>
                      <a:lnTo>
                        <a:pt x="566252" y="97536"/>
                      </a:lnTo>
                      <a:lnTo>
                        <a:pt x="567059" y="99329"/>
                      </a:lnTo>
                      <a:lnTo>
                        <a:pt x="567051" y="100983"/>
                      </a:lnTo>
                      <a:lnTo>
                        <a:pt x="566439" y="102401"/>
                      </a:lnTo>
                      <a:lnTo>
                        <a:pt x="564337" y="104064"/>
                      </a:lnTo>
                      <a:lnTo>
                        <a:pt x="562666" y="106248"/>
                      </a:lnTo>
                      <a:lnTo>
                        <a:pt x="562462" y="107039"/>
                      </a:lnTo>
                      <a:lnTo>
                        <a:pt x="560197" y="108049"/>
                      </a:lnTo>
                      <a:lnTo>
                        <a:pt x="561232" y="108799"/>
                      </a:lnTo>
                      <a:lnTo>
                        <a:pt x="562063" y="109801"/>
                      </a:lnTo>
                      <a:lnTo>
                        <a:pt x="563636" y="112849"/>
                      </a:lnTo>
                      <a:lnTo>
                        <a:pt x="567409" y="117788"/>
                      </a:lnTo>
                      <a:lnTo>
                        <a:pt x="569300" y="119630"/>
                      </a:lnTo>
                      <a:lnTo>
                        <a:pt x="577107" y="126329"/>
                      </a:lnTo>
                      <a:lnTo>
                        <a:pt x="581263" y="129255"/>
                      </a:lnTo>
                      <a:lnTo>
                        <a:pt x="586561" y="135929"/>
                      </a:lnTo>
                      <a:lnTo>
                        <a:pt x="589307" y="137470"/>
                      </a:lnTo>
                      <a:lnTo>
                        <a:pt x="589837" y="139336"/>
                      </a:lnTo>
                      <a:lnTo>
                        <a:pt x="587539" y="142180"/>
                      </a:lnTo>
                      <a:lnTo>
                        <a:pt x="584198" y="143606"/>
                      </a:lnTo>
                      <a:lnTo>
                        <a:pt x="578680" y="144381"/>
                      </a:lnTo>
                      <a:lnTo>
                        <a:pt x="573130" y="143370"/>
                      </a:lnTo>
                      <a:lnTo>
                        <a:pt x="570269" y="142547"/>
                      </a:lnTo>
                      <a:lnTo>
                        <a:pt x="567776" y="140909"/>
                      </a:lnTo>
                      <a:lnTo>
                        <a:pt x="565812" y="137616"/>
                      </a:lnTo>
                      <a:lnTo>
                        <a:pt x="563212" y="135832"/>
                      </a:lnTo>
                      <a:lnTo>
                        <a:pt x="564214" y="137828"/>
                      </a:lnTo>
                      <a:lnTo>
                        <a:pt x="564842" y="139866"/>
                      </a:lnTo>
                      <a:lnTo>
                        <a:pt x="564516" y="142082"/>
                      </a:lnTo>
                      <a:lnTo>
                        <a:pt x="563497" y="143827"/>
                      </a:lnTo>
                      <a:lnTo>
                        <a:pt x="561745" y="145106"/>
                      </a:lnTo>
                      <a:lnTo>
                        <a:pt x="559870" y="146133"/>
                      </a:lnTo>
                      <a:lnTo>
                        <a:pt x="559080" y="146866"/>
                      </a:lnTo>
                      <a:lnTo>
                        <a:pt x="554321" y="158496"/>
                      </a:lnTo>
                      <a:lnTo>
                        <a:pt x="553555" y="161650"/>
                      </a:lnTo>
                      <a:lnTo>
                        <a:pt x="552104" y="174714"/>
                      </a:lnTo>
                      <a:lnTo>
                        <a:pt x="552079" y="178406"/>
                      </a:lnTo>
                      <a:lnTo>
                        <a:pt x="554223" y="185317"/>
                      </a:lnTo>
                      <a:lnTo>
                        <a:pt x="554402" y="188935"/>
                      </a:lnTo>
                      <a:lnTo>
                        <a:pt x="554834" y="190500"/>
                      </a:lnTo>
                      <a:lnTo>
                        <a:pt x="554557" y="191796"/>
                      </a:lnTo>
                      <a:lnTo>
                        <a:pt x="553546" y="192570"/>
                      </a:lnTo>
                      <a:lnTo>
                        <a:pt x="549455" y="194673"/>
                      </a:lnTo>
                      <a:lnTo>
                        <a:pt x="546570" y="196433"/>
                      </a:lnTo>
                      <a:lnTo>
                        <a:pt x="544223" y="198927"/>
                      </a:lnTo>
                      <a:lnTo>
                        <a:pt x="542332" y="202040"/>
                      </a:lnTo>
                      <a:lnTo>
                        <a:pt x="540678" y="204281"/>
                      </a:lnTo>
                      <a:lnTo>
                        <a:pt x="538469" y="205357"/>
                      </a:lnTo>
                      <a:lnTo>
                        <a:pt x="536864" y="205194"/>
                      </a:lnTo>
                      <a:lnTo>
                        <a:pt x="535560" y="204159"/>
                      </a:lnTo>
                      <a:lnTo>
                        <a:pt x="534664" y="202162"/>
                      </a:lnTo>
                      <a:lnTo>
                        <a:pt x="534158" y="199978"/>
                      </a:lnTo>
                      <a:lnTo>
                        <a:pt x="533816" y="201600"/>
                      </a:lnTo>
                      <a:lnTo>
                        <a:pt x="533881" y="203157"/>
                      </a:lnTo>
                      <a:lnTo>
                        <a:pt x="534639" y="204844"/>
                      </a:lnTo>
                      <a:lnTo>
                        <a:pt x="534924" y="206637"/>
                      </a:lnTo>
                      <a:lnTo>
                        <a:pt x="534492" y="208454"/>
                      </a:lnTo>
                      <a:lnTo>
                        <a:pt x="533547" y="209905"/>
                      </a:lnTo>
                      <a:lnTo>
                        <a:pt x="530980" y="211486"/>
                      </a:lnTo>
                      <a:lnTo>
                        <a:pt x="529570" y="212847"/>
                      </a:lnTo>
                      <a:lnTo>
                        <a:pt x="529334" y="215218"/>
                      </a:lnTo>
                      <a:lnTo>
                        <a:pt x="528649" y="216563"/>
                      </a:lnTo>
                      <a:lnTo>
                        <a:pt x="527663" y="217598"/>
                      </a:lnTo>
                      <a:lnTo>
                        <a:pt x="524044" y="219986"/>
                      </a:lnTo>
                      <a:lnTo>
                        <a:pt x="523237" y="220947"/>
                      </a:lnTo>
                      <a:lnTo>
                        <a:pt x="522651" y="222154"/>
                      </a:lnTo>
                      <a:lnTo>
                        <a:pt x="524574" y="221974"/>
                      </a:lnTo>
                      <a:lnTo>
                        <a:pt x="526334" y="222154"/>
                      </a:lnTo>
                      <a:lnTo>
                        <a:pt x="526473" y="224525"/>
                      </a:lnTo>
                      <a:lnTo>
                        <a:pt x="527019" y="226294"/>
                      </a:lnTo>
                      <a:lnTo>
                        <a:pt x="526318" y="230165"/>
                      </a:lnTo>
                      <a:lnTo>
                        <a:pt x="523604" y="232781"/>
                      </a:lnTo>
                      <a:lnTo>
                        <a:pt x="524957" y="233335"/>
                      </a:lnTo>
                      <a:lnTo>
                        <a:pt x="526172" y="234182"/>
                      </a:lnTo>
                      <a:lnTo>
                        <a:pt x="528910" y="234810"/>
                      </a:lnTo>
                      <a:lnTo>
                        <a:pt x="529831" y="237565"/>
                      </a:lnTo>
                      <a:lnTo>
                        <a:pt x="529431" y="240890"/>
                      </a:lnTo>
                      <a:lnTo>
                        <a:pt x="528926" y="243873"/>
                      </a:lnTo>
                      <a:lnTo>
                        <a:pt x="526970" y="244712"/>
                      </a:lnTo>
                      <a:lnTo>
                        <a:pt x="525756" y="244158"/>
                      </a:lnTo>
                      <a:lnTo>
                        <a:pt x="524550" y="244207"/>
                      </a:lnTo>
                      <a:lnTo>
                        <a:pt x="523670" y="245111"/>
                      </a:lnTo>
                      <a:lnTo>
                        <a:pt x="523433" y="246660"/>
                      </a:lnTo>
                      <a:lnTo>
                        <a:pt x="525128" y="245894"/>
                      </a:lnTo>
                      <a:lnTo>
                        <a:pt x="525031" y="249757"/>
                      </a:lnTo>
                      <a:lnTo>
                        <a:pt x="524574" y="253538"/>
                      </a:lnTo>
                      <a:lnTo>
                        <a:pt x="524012" y="255608"/>
                      </a:lnTo>
                      <a:lnTo>
                        <a:pt x="522985" y="257303"/>
                      </a:lnTo>
                      <a:lnTo>
                        <a:pt x="521420" y="257849"/>
                      </a:lnTo>
                      <a:lnTo>
                        <a:pt x="519937" y="256578"/>
                      </a:lnTo>
                      <a:lnTo>
                        <a:pt x="519636" y="258053"/>
                      </a:lnTo>
                      <a:lnTo>
                        <a:pt x="520092" y="259300"/>
                      </a:lnTo>
                      <a:lnTo>
                        <a:pt x="522194" y="262323"/>
                      </a:lnTo>
                      <a:lnTo>
                        <a:pt x="520906" y="262992"/>
                      </a:lnTo>
                      <a:lnTo>
                        <a:pt x="519969" y="264027"/>
                      </a:lnTo>
                      <a:lnTo>
                        <a:pt x="519538" y="265526"/>
                      </a:lnTo>
                      <a:lnTo>
                        <a:pt x="517239" y="268982"/>
                      </a:lnTo>
                      <a:lnTo>
                        <a:pt x="516229" y="271525"/>
                      </a:lnTo>
                      <a:lnTo>
                        <a:pt x="515805" y="274222"/>
                      </a:lnTo>
                      <a:lnTo>
                        <a:pt x="514729" y="276374"/>
                      </a:lnTo>
                      <a:lnTo>
                        <a:pt x="497419" y="285713"/>
                      </a:lnTo>
                      <a:lnTo>
                        <a:pt x="483410" y="293610"/>
                      </a:lnTo>
                      <a:lnTo>
                        <a:pt x="482399" y="293073"/>
                      </a:lnTo>
                      <a:lnTo>
                        <a:pt x="481715" y="291874"/>
                      </a:lnTo>
                      <a:lnTo>
                        <a:pt x="481242" y="279634"/>
                      </a:lnTo>
                      <a:lnTo>
                        <a:pt x="479506" y="273366"/>
                      </a:lnTo>
                      <a:lnTo>
                        <a:pt x="479245" y="269838"/>
                      </a:lnTo>
                      <a:lnTo>
                        <a:pt x="477273" y="272983"/>
                      </a:lnTo>
                      <a:lnTo>
                        <a:pt x="476067" y="272666"/>
                      </a:lnTo>
                      <a:lnTo>
                        <a:pt x="474755" y="271859"/>
                      </a:lnTo>
                      <a:lnTo>
                        <a:pt x="473768" y="270832"/>
                      </a:lnTo>
                      <a:lnTo>
                        <a:pt x="473703" y="269471"/>
                      </a:lnTo>
                      <a:lnTo>
                        <a:pt x="474755" y="265592"/>
                      </a:lnTo>
                      <a:lnTo>
                        <a:pt x="473475" y="267719"/>
                      </a:lnTo>
                      <a:lnTo>
                        <a:pt x="472082" y="269365"/>
                      </a:lnTo>
                      <a:lnTo>
                        <a:pt x="470623" y="269161"/>
                      </a:lnTo>
                      <a:lnTo>
                        <a:pt x="469384" y="268362"/>
                      </a:lnTo>
                      <a:lnTo>
                        <a:pt x="468920" y="267091"/>
                      </a:lnTo>
                      <a:lnTo>
                        <a:pt x="468251" y="266912"/>
                      </a:lnTo>
                      <a:lnTo>
                        <a:pt x="465195" y="270367"/>
                      </a:lnTo>
                      <a:lnTo>
                        <a:pt x="461153" y="272225"/>
                      </a:lnTo>
                      <a:lnTo>
                        <a:pt x="458903" y="272201"/>
                      </a:lnTo>
                      <a:lnTo>
                        <a:pt x="457135" y="271134"/>
                      </a:lnTo>
                      <a:lnTo>
                        <a:pt x="457217" y="268509"/>
                      </a:lnTo>
                      <a:lnTo>
                        <a:pt x="457045" y="265934"/>
                      </a:lnTo>
                      <a:lnTo>
                        <a:pt x="456548" y="264418"/>
                      </a:lnTo>
                      <a:lnTo>
                        <a:pt x="455464" y="263880"/>
                      </a:lnTo>
                      <a:lnTo>
                        <a:pt x="454454" y="264076"/>
                      </a:lnTo>
                      <a:lnTo>
                        <a:pt x="451561" y="265420"/>
                      </a:lnTo>
                      <a:lnTo>
                        <a:pt x="450525" y="265249"/>
                      </a:lnTo>
                      <a:lnTo>
                        <a:pt x="449931" y="265934"/>
                      </a:lnTo>
                      <a:lnTo>
                        <a:pt x="442270" y="256570"/>
                      </a:lnTo>
                      <a:lnTo>
                        <a:pt x="440721" y="264157"/>
                      </a:lnTo>
                      <a:lnTo>
                        <a:pt x="435432" y="268208"/>
                      </a:lnTo>
                      <a:lnTo>
                        <a:pt x="431520" y="270555"/>
                      </a:lnTo>
                      <a:lnTo>
                        <a:pt x="427641" y="269683"/>
                      </a:lnTo>
                      <a:lnTo>
                        <a:pt x="423697" y="268167"/>
                      </a:lnTo>
                      <a:lnTo>
                        <a:pt x="419785" y="269984"/>
                      </a:lnTo>
                      <a:lnTo>
                        <a:pt x="415530" y="274434"/>
                      </a:lnTo>
                      <a:lnTo>
                        <a:pt x="414341" y="275119"/>
                      </a:lnTo>
                      <a:lnTo>
                        <a:pt x="413118" y="275094"/>
                      </a:lnTo>
                      <a:lnTo>
                        <a:pt x="412222" y="274516"/>
                      </a:lnTo>
                      <a:lnTo>
                        <a:pt x="412539" y="271150"/>
                      </a:lnTo>
                      <a:lnTo>
                        <a:pt x="412564" y="267784"/>
                      </a:lnTo>
                      <a:lnTo>
                        <a:pt x="412254" y="260278"/>
                      </a:lnTo>
                      <a:lnTo>
                        <a:pt x="411912" y="258811"/>
                      </a:lnTo>
                      <a:lnTo>
                        <a:pt x="410698" y="256741"/>
                      </a:lnTo>
                      <a:lnTo>
                        <a:pt x="409084" y="255250"/>
                      </a:lnTo>
                      <a:lnTo>
                        <a:pt x="408172" y="256334"/>
                      </a:lnTo>
                      <a:lnTo>
                        <a:pt x="407356" y="257825"/>
                      </a:lnTo>
                      <a:lnTo>
                        <a:pt x="404129" y="257760"/>
                      </a:lnTo>
                      <a:lnTo>
                        <a:pt x="400967" y="256570"/>
                      </a:lnTo>
                      <a:lnTo>
                        <a:pt x="398277" y="257255"/>
                      </a:lnTo>
                      <a:lnTo>
                        <a:pt x="392948" y="260221"/>
                      </a:lnTo>
                      <a:lnTo>
                        <a:pt x="390112" y="260694"/>
                      </a:lnTo>
                      <a:lnTo>
                        <a:pt x="388588" y="260009"/>
                      </a:lnTo>
                      <a:lnTo>
                        <a:pt x="387618" y="258412"/>
                      </a:lnTo>
                      <a:lnTo>
                        <a:pt x="388172" y="256945"/>
                      </a:lnTo>
                      <a:lnTo>
                        <a:pt x="389354" y="255812"/>
                      </a:lnTo>
                      <a:lnTo>
                        <a:pt x="387153" y="256708"/>
                      </a:lnTo>
                      <a:lnTo>
                        <a:pt x="385287" y="258216"/>
                      </a:lnTo>
                      <a:lnTo>
                        <a:pt x="384464" y="259178"/>
                      </a:lnTo>
                      <a:lnTo>
                        <a:pt x="383616" y="258697"/>
                      </a:lnTo>
                      <a:lnTo>
                        <a:pt x="381277" y="255298"/>
                      </a:lnTo>
                      <a:lnTo>
                        <a:pt x="376395" y="256562"/>
                      </a:lnTo>
                      <a:lnTo>
                        <a:pt x="375735" y="256953"/>
                      </a:lnTo>
                      <a:lnTo>
                        <a:pt x="374538" y="258110"/>
                      </a:lnTo>
                      <a:lnTo>
                        <a:pt x="373388" y="257548"/>
                      </a:lnTo>
                      <a:lnTo>
                        <a:pt x="372802" y="256309"/>
                      </a:lnTo>
                      <a:lnTo>
                        <a:pt x="372598" y="249227"/>
                      </a:lnTo>
                      <a:lnTo>
                        <a:pt x="370120" y="235609"/>
                      </a:lnTo>
                      <a:lnTo>
                        <a:pt x="369428" y="228649"/>
                      </a:lnTo>
                      <a:lnTo>
                        <a:pt x="368898" y="227003"/>
                      </a:lnTo>
                      <a:lnTo>
                        <a:pt x="366046" y="224492"/>
                      </a:lnTo>
                      <a:lnTo>
                        <a:pt x="366143" y="220915"/>
                      </a:lnTo>
                      <a:lnTo>
                        <a:pt x="367626" y="217899"/>
                      </a:lnTo>
                      <a:lnTo>
                        <a:pt x="367936" y="214403"/>
                      </a:lnTo>
                      <a:lnTo>
                        <a:pt x="367520" y="210605"/>
                      </a:lnTo>
                      <a:lnTo>
                        <a:pt x="366624" y="206889"/>
                      </a:lnTo>
                      <a:lnTo>
                        <a:pt x="365507" y="204094"/>
                      </a:lnTo>
                      <a:lnTo>
                        <a:pt x="363902" y="201689"/>
                      </a:lnTo>
                      <a:lnTo>
                        <a:pt x="361767" y="199000"/>
                      </a:lnTo>
                      <a:lnTo>
                        <a:pt x="359142" y="196987"/>
                      </a:lnTo>
                      <a:lnTo>
                        <a:pt x="353503" y="194738"/>
                      </a:lnTo>
                      <a:lnTo>
                        <a:pt x="350520" y="194925"/>
                      </a:lnTo>
                      <a:lnTo>
                        <a:pt x="349404" y="194045"/>
                      </a:lnTo>
                      <a:lnTo>
                        <a:pt x="348662" y="192888"/>
                      </a:lnTo>
                      <a:lnTo>
                        <a:pt x="348955" y="190639"/>
                      </a:lnTo>
                      <a:lnTo>
                        <a:pt x="349974" y="189090"/>
                      </a:lnTo>
                      <a:lnTo>
                        <a:pt x="351327" y="188715"/>
                      </a:lnTo>
                      <a:lnTo>
                        <a:pt x="351498" y="187843"/>
                      </a:lnTo>
                      <a:lnTo>
                        <a:pt x="348613" y="186010"/>
                      </a:lnTo>
                      <a:lnTo>
                        <a:pt x="346225" y="183548"/>
                      </a:lnTo>
                      <a:lnTo>
                        <a:pt x="345467" y="182065"/>
                      </a:lnTo>
                      <a:lnTo>
                        <a:pt x="345247" y="180427"/>
                      </a:lnTo>
                      <a:lnTo>
                        <a:pt x="345264" y="176662"/>
                      </a:lnTo>
                      <a:lnTo>
                        <a:pt x="345956" y="174282"/>
                      </a:lnTo>
                      <a:lnTo>
                        <a:pt x="346331" y="172994"/>
                      </a:lnTo>
                      <a:lnTo>
                        <a:pt x="347073" y="169009"/>
                      </a:lnTo>
                      <a:lnTo>
                        <a:pt x="348629" y="167795"/>
                      </a:lnTo>
                      <a:lnTo>
                        <a:pt x="348377" y="167053"/>
                      </a:lnTo>
                      <a:lnTo>
                        <a:pt x="347709" y="166515"/>
                      </a:lnTo>
                      <a:lnTo>
                        <a:pt x="346731" y="165203"/>
                      </a:lnTo>
                      <a:lnTo>
                        <a:pt x="345924" y="163704"/>
                      </a:lnTo>
                      <a:lnTo>
                        <a:pt x="344098" y="161153"/>
                      </a:lnTo>
                      <a:lnTo>
                        <a:pt x="340863" y="158072"/>
                      </a:lnTo>
                      <a:lnTo>
                        <a:pt x="340325" y="152775"/>
                      </a:lnTo>
                      <a:lnTo>
                        <a:pt x="339909" y="144959"/>
                      </a:lnTo>
                      <a:lnTo>
                        <a:pt x="340178" y="141398"/>
                      </a:lnTo>
                      <a:lnTo>
                        <a:pt x="341221" y="134756"/>
                      </a:lnTo>
                      <a:lnTo>
                        <a:pt x="343006" y="132661"/>
                      </a:lnTo>
                      <a:lnTo>
                        <a:pt x="344441" y="132083"/>
                      </a:lnTo>
                      <a:lnTo>
                        <a:pt x="345516" y="131186"/>
                      </a:lnTo>
                      <a:lnTo>
                        <a:pt x="344636" y="131056"/>
                      </a:lnTo>
                      <a:lnTo>
                        <a:pt x="343870" y="131390"/>
                      </a:lnTo>
                      <a:lnTo>
                        <a:pt x="342501" y="131610"/>
                      </a:lnTo>
                      <a:lnTo>
                        <a:pt x="343617" y="125661"/>
                      </a:lnTo>
                      <a:lnTo>
                        <a:pt x="344123" y="123949"/>
                      </a:lnTo>
                      <a:lnTo>
                        <a:pt x="346389" y="120616"/>
                      </a:lnTo>
                      <a:lnTo>
                        <a:pt x="349021" y="117666"/>
                      </a:lnTo>
                      <a:lnTo>
                        <a:pt x="350137" y="114202"/>
                      </a:lnTo>
                      <a:lnTo>
                        <a:pt x="351637" y="111154"/>
                      </a:lnTo>
                      <a:lnTo>
                        <a:pt x="357847" y="108017"/>
                      </a:lnTo>
                      <a:lnTo>
                        <a:pt x="355622" y="111945"/>
                      </a:lnTo>
                      <a:lnTo>
                        <a:pt x="355866" y="113379"/>
                      </a:lnTo>
                      <a:lnTo>
                        <a:pt x="356404" y="114642"/>
                      </a:lnTo>
                      <a:lnTo>
                        <a:pt x="358018" y="115522"/>
                      </a:lnTo>
                      <a:lnTo>
                        <a:pt x="358474" y="120371"/>
                      </a:lnTo>
                      <a:lnTo>
                        <a:pt x="360495" y="123126"/>
                      </a:lnTo>
                      <a:lnTo>
                        <a:pt x="362541" y="125644"/>
                      </a:lnTo>
                      <a:lnTo>
                        <a:pt x="364049" y="126875"/>
                      </a:lnTo>
                      <a:lnTo>
                        <a:pt x="365687" y="128668"/>
                      </a:lnTo>
                      <a:lnTo>
                        <a:pt x="366844" y="130331"/>
                      </a:lnTo>
                      <a:lnTo>
                        <a:pt x="368075" y="131732"/>
                      </a:lnTo>
                      <a:lnTo>
                        <a:pt x="369900" y="133101"/>
                      </a:lnTo>
                      <a:lnTo>
                        <a:pt x="374872" y="138912"/>
                      </a:lnTo>
                      <a:lnTo>
                        <a:pt x="376950" y="140615"/>
                      </a:lnTo>
                      <a:lnTo>
                        <a:pt x="378506" y="142319"/>
                      </a:lnTo>
                      <a:lnTo>
                        <a:pt x="379598" y="142922"/>
                      </a:lnTo>
                      <a:lnTo>
                        <a:pt x="382304" y="142425"/>
                      </a:lnTo>
                      <a:lnTo>
                        <a:pt x="390315" y="138268"/>
                      </a:lnTo>
                      <a:lnTo>
                        <a:pt x="391750" y="137999"/>
                      </a:lnTo>
                      <a:lnTo>
                        <a:pt x="394366" y="137274"/>
                      </a:lnTo>
                      <a:lnTo>
                        <a:pt x="398954" y="137494"/>
                      </a:lnTo>
                      <a:lnTo>
                        <a:pt x="403836" y="138912"/>
                      </a:lnTo>
                      <a:lnTo>
                        <a:pt x="405408" y="138945"/>
                      </a:lnTo>
                      <a:lnTo>
                        <a:pt x="406916" y="138097"/>
                      </a:lnTo>
                      <a:lnTo>
                        <a:pt x="408994" y="138350"/>
                      </a:lnTo>
                      <a:lnTo>
                        <a:pt x="410934" y="138790"/>
                      </a:lnTo>
                      <a:lnTo>
                        <a:pt x="411912" y="138423"/>
                      </a:lnTo>
                      <a:lnTo>
                        <a:pt x="414740" y="135383"/>
                      </a:lnTo>
                      <a:lnTo>
                        <a:pt x="418603" y="134479"/>
                      </a:lnTo>
                      <a:lnTo>
                        <a:pt x="419842" y="131471"/>
                      </a:lnTo>
                      <a:lnTo>
                        <a:pt x="420812" y="128644"/>
                      </a:lnTo>
                      <a:lnTo>
                        <a:pt x="421268" y="125620"/>
                      </a:lnTo>
                      <a:lnTo>
                        <a:pt x="422865" y="124406"/>
                      </a:lnTo>
                      <a:lnTo>
                        <a:pt x="425123" y="123354"/>
                      </a:lnTo>
                      <a:lnTo>
                        <a:pt x="428456" y="122026"/>
                      </a:lnTo>
                      <a:lnTo>
                        <a:pt x="440029" y="121790"/>
                      </a:lnTo>
                      <a:lnTo>
                        <a:pt x="441169" y="122368"/>
                      </a:lnTo>
                      <a:lnTo>
                        <a:pt x="441406" y="123900"/>
                      </a:lnTo>
                      <a:lnTo>
                        <a:pt x="441169" y="125074"/>
                      </a:lnTo>
                      <a:lnTo>
                        <a:pt x="441618" y="125767"/>
                      </a:lnTo>
                      <a:lnTo>
                        <a:pt x="443158" y="125832"/>
                      </a:lnTo>
                      <a:lnTo>
                        <a:pt x="444584" y="126541"/>
                      </a:lnTo>
                      <a:lnTo>
                        <a:pt x="450363" y="128961"/>
                      </a:lnTo>
                      <a:lnTo>
                        <a:pt x="452816" y="129711"/>
                      </a:lnTo>
                      <a:lnTo>
                        <a:pt x="454185" y="129516"/>
                      </a:lnTo>
                      <a:lnTo>
                        <a:pt x="456890" y="131691"/>
                      </a:lnTo>
                      <a:lnTo>
                        <a:pt x="458366" y="130950"/>
                      </a:lnTo>
                      <a:lnTo>
                        <a:pt x="460313" y="129426"/>
                      </a:lnTo>
                      <a:lnTo>
                        <a:pt x="462179" y="127380"/>
                      </a:lnTo>
                      <a:lnTo>
                        <a:pt x="463842" y="125750"/>
                      </a:lnTo>
                      <a:lnTo>
                        <a:pt x="466263" y="125115"/>
                      </a:lnTo>
                      <a:lnTo>
                        <a:pt x="469392" y="125204"/>
                      </a:lnTo>
                      <a:lnTo>
                        <a:pt x="473076" y="124642"/>
                      </a:lnTo>
                      <a:lnTo>
                        <a:pt x="475871" y="123770"/>
                      </a:lnTo>
                      <a:lnTo>
                        <a:pt x="478984" y="125212"/>
                      </a:lnTo>
                      <a:lnTo>
                        <a:pt x="479816" y="124756"/>
                      </a:lnTo>
                      <a:lnTo>
                        <a:pt x="480345" y="123346"/>
                      </a:lnTo>
                      <a:lnTo>
                        <a:pt x="481951" y="120266"/>
                      </a:lnTo>
                      <a:lnTo>
                        <a:pt x="482660" y="118195"/>
                      </a:lnTo>
                      <a:lnTo>
                        <a:pt x="483280" y="114218"/>
                      </a:lnTo>
                      <a:lnTo>
                        <a:pt x="483711" y="113273"/>
                      </a:lnTo>
                      <a:lnTo>
                        <a:pt x="484901" y="112727"/>
                      </a:lnTo>
                      <a:lnTo>
                        <a:pt x="486107" y="111985"/>
                      </a:lnTo>
                      <a:lnTo>
                        <a:pt x="486425" y="110796"/>
                      </a:lnTo>
                      <a:lnTo>
                        <a:pt x="486865" y="109410"/>
                      </a:lnTo>
                      <a:lnTo>
                        <a:pt x="486498" y="108245"/>
                      </a:lnTo>
                      <a:lnTo>
                        <a:pt x="485814" y="107267"/>
                      </a:lnTo>
                      <a:lnTo>
                        <a:pt x="485089" y="103950"/>
                      </a:lnTo>
                      <a:lnTo>
                        <a:pt x="485325" y="102434"/>
                      </a:lnTo>
                      <a:lnTo>
                        <a:pt x="485773" y="101309"/>
                      </a:lnTo>
                      <a:lnTo>
                        <a:pt x="487004" y="100747"/>
                      </a:lnTo>
                      <a:lnTo>
                        <a:pt x="490296" y="98310"/>
                      </a:lnTo>
                      <a:lnTo>
                        <a:pt x="493214" y="95450"/>
                      </a:lnTo>
                      <a:lnTo>
                        <a:pt x="494795" y="94048"/>
                      </a:lnTo>
                      <a:lnTo>
                        <a:pt x="495504" y="93143"/>
                      </a:lnTo>
                      <a:lnTo>
                        <a:pt x="495553" y="91839"/>
                      </a:lnTo>
                      <a:lnTo>
                        <a:pt x="494281" y="90478"/>
                      </a:lnTo>
                      <a:lnTo>
                        <a:pt x="493067" y="89818"/>
                      </a:lnTo>
                      <a:lnTo>
                        <a:pt x="492978" y="88237"/>
                      </a:lnTo>
                      <a:lnTo>
                        <a:pt x="493027" y="87145"/>
                      </a:lnTo>
                      <a:lnTo>
                        <a:pt x="493393" y="86110"/>
                      </a:lnTo>
                      <a:lnTo>
                        <a:pt x="493222" y="85108"/>
                      </a:lnTo>
                      <a:lnTo>
                        <a:pt x="493214" y="83608"/>
                      </a:lnTo>
                      <a:lnTo>
                        <a:pt x="493988" y="82003"/>
                      </a:lnTo>
                      <a:lnTo>
                        <a:pt x="495789" y="79623"/>
                      </a:lnTo>
                      <a:lnTo>
                        <a:pt x="497199" y="78083"/>
                      </a:lnTo>
                      <a:lnTo>
                        <a:pt x="498764" y="79036"/>
                      </a:lnTo>
                      <a:lnTo>
                        <a:pt x="500606" y="78596"/>
                      </a:lnTo>
                      <a:lnTo>
                        <a:pt x="502350" y="77830"/>
                      </a:lnTo>
                      <a:lnTo>
                        <a:pt x="503303" y="75026"/>
                      </a:lnTo>
                      <a:lnTo>
                        <a:pt x="503458" y="73674"/>
                      </a:lnTo>
                      <a:lnTo>
                        <a:pt x="503230" y="72614"/>
                      </a:lnTo>
                      <a:lnTo>
                        <a:pt x="503841" y="68604"/>
                      </a:lnTo>
                      <a:lnTo>
                        <a:pt x="503980" y="68018"/>
                      </a:lnTo>
                      <a:lnTo>
                        <a:pt x="505129" y="65499"/>
                      </a:lnTo>
                      <a:lnTo>
                        <a:pt x="505243" y="63804"/>
                      </a:lnTo>
                      <a:lnTo>
                        <a:pt x="504591" y="59868"/>
                      </a:lnTo>
                      <a:lnTo>
                        <a:pt x="504998" y="56893"/>
                      </a:lnTo>
                      <a:lnTo>
                        <a:pt x="505186" y="50724"/>
                      </a:lnTo>
                      <a:lnTo>
                        <a:pt x="505870" y="49624"/>
                      </a:lnTo>
                      <a:lnTo>
                        <a:pt x="506661" y="46429"/>
                      </a:lnTo>
                      <a:lnTo>
                        <a:pt x="507924" y="43104"/>
                      </a:lnTo>
                      <a:lnTo>
                        <a:pt x="510499" y="41278"/>
                      </a:lnTo>
                      <a:lnTo>
                        <a:pt x="511836" y="38899"/>
                      </a:lnTo>
                      <a:lnTo>
                        <a:pt x="512431" y="38450"/>
                      </a:lnTo>
                      <a:lnTo>
                        <a:pt x="513311" y="38434"/>
                      </a:lnTo>
                      <a:lnTo>
                        <a:pt x="516424" y="40170"/>
                      </a:lnTo>
                      <a:lnTo>
                        <a:pt x="519220" y="38238"/>
                      </a:lnTo>
                      <a:lnTo>
                        <a:pt x="521754" y="38019"/>
                      </a:lnTo>
                      <a:lnTo>
                        <a:pt x="523832" y="38279"/>
                      </a:lnTo>
                      <a:lnTo>
                        <a:pt x="525014" y="39070"/>
                      </a:lnTo>
                      <a:lnTo>
                        <a:pt x="526180" y="39640"/>
                      </a:lnTo>
                      <a:lnTo>
                        <a:pt x="528665" y="37774"/>
                      </a:lnTo>
                      <a:lnTo>
                        <a:pt x="529513" y="38141"/>
                      </a:lnTo>
                      <a:close/>
                      <a:moveTo>
                        <a:pt x="31963" y="12062"/>
                      </a:moveTo>
                      <a:lnTo>
                        <a:pt x="35003" y="12339"/>
                      </a:lnTo>
                      <a:lnTo>
                        <a:pt x="40643" y="10709"/>
                      </a:lnTo>
                      <a:lnTo>
                        <a:pt x="43740" y="10872"/>
                      </a:lnTo>
                      <a:lnTo>
                        <a:pt x="46674" y="12045"/>
                      </a:lnTo>
                      <a:lnTo>
                        <a:pt x="49257" y="12722"/>
                      </a:lnTo>
                      <a:lnTo>
                        <a:pt x="55728" y="11858"/>
                      </a:lnTo>
                      <a:lnTo>
                        <a:pt x="56934" y="12086"/>
                      </a:lnTo>
                      <a:lnTo>
                        <a:pt x="58108" y="12763"/>
                      </a:lnTo>
                      <a:lnTo>
                        <a:pt x="59110" y="13830"/>
                      </a:lnTo>
                      <a:lnTo>
                        <a:pt x="62061" y="17734"/>
                      </a:lnTo>
                      <a:lnTo>
                        <a:pt x="67064" y="22542"/>
                      </a:lnTo>
                      <a:lnTo>
                        <a:pt x="68507" y="25606"/>
                      </a:lnTo>
                      <a:lnTo>
                        <a:pt x="69330" y="29062"/>
                      </a:lnTo>
                      <a:lnTo>
                        <a:pt x="69852" y="29877"/>
                      </a:lnTo>
                      <a:lnTo>
                        <a:pt x="75491" y="36494"/>
                      </a:lnTo>
                      <a:lnTo>
                        <a:pt x="76111" y="39257"/>
                      </a:lnTo>
                      <a:lnTo>
                        <a:pt x="75312" y="43088"/>
                      </a:lnTo>
                      <a:lnTo>
                        <a:pt x="76950" y="46136"/>
                      </a:lnTo>
                      <a:lnTo>
                        <a:pt x="82427" y="48996"/>
                      </a:lnTo>
                      <a:lnTo>
                        <a:pt x="85662" y="51083"/>
                      </a:lnTo>
                      <a:lnTo>
                        <a:pt x="86347" y="52354"/>
                      </a:lnTo>
                      <a:lnTo>
                        <a:pt x="86836" y="53878"/>
                      </a:lnTo>
                      <a:lnTo>
                        <a:pt x="88628" y="56135"/>
                      </a:lnTo>
                      <a:lnTo>
                        <a:pt x="90878" y="57602"/>
                      </a:lnTo>
                      <a:lnTo>
                        <a:pt x="97878" y="61473"/>
                      </a:lnTo>
                      <a:lnTo>
                        <a:pt x="107063" y="69566"/>
                      </a:lnTo>
                      <a:lnTo>
                        <a:pt x="112295" y="73405"/>
                      </a:lnTo>
                      <a:lnTo>
                        <a:pt x="116615" y="79240"/>
                      </a:lnTo>
                      <a:lnTo>
                        <a:pt x="118163" y="82035"/>
                      </a:lnTo>
                      <a:lnTo>
                        <a:pt x="119451" y="85059"/>
                      </a:lnTo>
                      <a:lnTo>
                        <a:pt x="122075" y="89451"/>
                      </a:lnTo>
                      <a:lnTo>
                        <a:pt x="126541" y="94871"/>
                      </a:lnTo>
                      <a:lnTo>
                        <a:pt x="127682" y="96517"/>
                      </a:lnTo>
                      <a:lnTo>
                        <a:pt x="128872" y="98913"/>
                      </a:lnTo>
                      <a:lnTo>
                        <a:pt x="130265" y="101130"/>
                      </a:lnTo>
                      <a:lnTo>
                        <a:pt x="131920" y="103176"/>
                      </a:lnTo>
                      <a:lnTo>
                        <a:pt x="133900" y="104740"/>
                      </a:lnTo>
                      <a:lnTo>
                        <a:pt x="135922" y="105246"/>
                      </a:lnTo>
                      <a:lnTo>
                        <a:pt x="139181" y="109166"/>
                      </a:lnTo>
                      <a:lnTo>
                        <a:pt x="140934" y="110388"/>
                      </a:lnTo>
                      <a:lnTo>
                        <a:pt x="140664" y="107332"/>
                      </a:lnTo>
                      <a:lnTo>
                        <a:pt x="139181" y="104651"/>
                      </a:lnTo>
                      <a:lnTo>
                        <a:pt x="139206" y="103029"/>
                      </a:lnTo>
                      <a:lnTo>
                        <a:pt x="139458" y="101578"/>
                      </a:lnTo>
                      <a:lnTo>
                        <a:pt x="140673" y="100356"/>
                      </a:lnTo>
                      <a:lnTo>
                        <a:pt x="142131" y="100014"/>
                      </a:lnTo>
                      <a:lnTo>
                        <a:pt x="144870" y="101130"/>
                      </a:lnTo>
                      <a:lnTo>
                        <a:pt x="149303" y="105775"/>
                      </a:lnTo>
                      <a:lnTo>
                        <a:pt x="151169" y="108481"/>
                      </a:lnTo>
                      <a:lnTo>
                        <a:pt x="152588" y="112222"/>
                      </a:lnTo>
                      <a:lnTo>
                        <a:pt x="153770" y="116101"/>
                      </a:lnTo>
                      <a:lnTo>
                        <a:pt x="155546" y="118033"/>
                      </a:lnTo>
                      <a:lnTo>
                        <a:pt x="157983" y="118709"/>
                      </a:lnTo>
                      <a:lnTo>
                        <a:pt x="160697" y="118994"/>
                      </a:lnTo>
                      <a:lnTo>
                        <a:pt x="163191" y="120184"/>
                      </a:lnTo>
                      <a:lnTo>
                        <a:pt x="169026" y="125547"/>
                      </a:lnTo>
                      <a:lnTo>
                        <a:pt x="170957" y="128073"/>
                      </a:lnTo>
                      <a:lnTo>
                        <a:pt x="172424" y="131040"/>
                      </a:lnTo>
                      <a:lnTo>
                        <a:pt x="173443" y="134552"/>
                      </a:lnTo>
                      <a:lnTo>
                        <a:pt x="174070" y="138236"/>
                      </a:lnTo>
                      <a:lnTo>
                        <a:pt x="174462" y="139083"/>
                      </a:lnTo>
                      <a:lnTo>
                        <a:pt x="178202" y="143525"/>
                      </a:lnTo>
                      <a:lnTo>
                        <a:pt x="180166" y="145399"/>
                      </a:lnTo>
                      <a:lnTo>
                        <a:pt x="182587" y="146312"/>
                      </a:lnTo>
                      <a:lnTo>
                        <a:pt x="189596" y="147314"/>
                      </a:lnTo>
                      <a:lnTo>
                        <a:pt x="192073" y="148847"/>
                      </a:lnTo>
                      <a:lnTo>
                        <a:pt x="194127" y="151398"/>
                      </a:lnTo>
                      <a:lnTo>
                        <a:pt x="194974" y="153997"/>
                      </a:lnTo>
                      <a:lnTo>
                        <a:pt x="193507" y="156296"/>
                      </a:lnTo>
                      <a:lnTo>
                        <a:pt x="188031" y="159816"/>
                      </a:lnTo>
                      <a:lnTo>
                        <a:pt x="182163" y="162245"/>
                      </a:lnTo>
                      <a:lnTo>
                        <a:pt x="187860" y="161414"/>
                      </a:lnTo>
                      <a:lnTo>
                        <a:pt x="190736" y="160395"/>
                      </a:lnTo>
                      <a:lnTo>
                        <a:pt x="193394" y="158797"/>
                      </a:lnTo>
                      <a:lnTo>
                        <a:pt x="196017" y="156768"/>
                      </a:lnTo>
                      <a:lnTo>
                        <a:pt x="200182" y="153932"/>
                      </a:lnTo>
                      <a:lnTo>
                        <a:pt x="201731" y="153362"/>
                      </a:lnTo>
                      <a:lnTo>
                        <a:pt x="203548" y="153557"/>
                      </a:lnTo>
                      <a:lnTo>
                        <a:pt x="205194" y="154364"/>
                      </a:lnTo>
                      <a:lnTo>
                        <a:pt x="207680" y="157151"/>
                      </a:lnTo>
                      <a:lnTo>
                        <a:pt x="210011" y="160085"/>
                      </a:lnTo>
                      <a:lnTo>
                        <a:pt x="211746" y="163516"/>
                      </a:lnTo>
                      <a:lnTo>
                        <a:pt x="212839" y="167330"/>
                      </a:lnTo>
                      <a:lnTo>
                        <a:pt x="210850" y="169319"/>
                      </a:lnTo>
                      <a:lnTo>
                        <a:pt x="207949" y="170794"/>
                      </a:lnTo>
                      <a:lnTo>
                        <a:pt x="203955" y="174478"/>
                      </a:lnTo>
                      <a:lnTo>
                        <a:pt x="203540" y="175937"/>
                      </a:lnTo>
                      <a:lnTo>
                        <a:pt x="204355" y="176874"/>
                      </a:lnTo>
                      <a:lnTo>
                        <a:pt x="203385" y="179579"/>
                      </a:lnTo>
                      <a:lnTo>
                        <a:pt x="205618" y="181258"/>
                      </a:lnTo>
                      <a:lnTo>
                        <a:pt x="205960" y="182676"/>
                      </a:lnTo>
                      <a:lnTo>
                        <a:pt x="204029" y="184714"/>
                      </a:lnTo>
                      <a:lnTo>
                        <a:pt x="204208" y="185961"/>
                      </a:lnTo>
                      <a:lnTo>
                        <a:pt x="206539" y="191331"/>
                      </a:lnTo>
                      <a:lnTo>
                        <a:pt x="207656" y="192562"/>
                      </a:lnTo>
                      <a:lnTo>
                        <a:pt x="211217" y="195284"/>
                      </a:lnTo>
                      <a:lnTo>
                        <a:pt x="216653" y="198038"/>
                      </a:lnTo>
                      <a:lnTo>
                        <a:pt x="219652" y="199302"/>
                      </a:lnTo>
                      <a:lnTo>
                        <a:pt x="223067" y="200296"/>
                      </a:lnTo>
                      <a:lnTo>
                        <a:pt x="224526" y="200263"/>
                      </a:lnTo>
                      <a:lnTo>
                        <a:pt x="227076" y="199815"/>
                      </a:lnTo>
                      <a:lnTo>
                        <a:pt x="227582" y="200891"/>
                      </a:lnTo>
                      <a:lnTo>
                        <a:pt x="228690" y="206172"/>
                      </a:lnTo>
                      <a:lnTo>
                        <a:pt x="229220" y="209513"/>
                      </a:lnTo>
                      <a:lnTo>
                        <a:pt x="229994" y="216628"/>
                      </a:lnTo>
                      <a:lnTo>
                        <a:pt x="230996" y="219578"/>
                      </a:lnTo>
                      <a:lnTo>
                        <a:pt x="230931" y="223197"/>
                      </a:lnTo>
                      <a:lnTo>
                        <a:pt x="232227" y="226253"/>
                      </a:lnTo>
                      <a:lnTo>
                        <a:pt x="234900" y="228217"/>
                      </a:lnTo>
                      <a:lnTo>
                        <a:pt x="237752" y="229814"/>
                      </a:lnTo>
                      <a:lnTo>
                        <a:pt x="239089" y="231371"/>
                      </a:lnTo>
                      <a:lnTo>
                        <a:pt x="239073" y="233734"/>
                      </a:lnTo>
                      <a:lnTo>
                        <a:pt x="238616" y="235601"/>
                      </a:lnTo>
                      <a:lnTo>
                        <a:pt x="237654" y="237060"/>
                      </a:lnTo>
                      <a:lnTo>
                        <a:pt x="234713" y="240140"/>
                      </a:lnTo>
                      <a:lnTo>
                        <a:pt x="234191" y="241468"/>
                      </a:lnTo>
                      <a:lnTo>
                        <a:pt x="233767" y="244867"/>
                      </a:lnTo>
                      <a:lnTo>
                        <a:pt x="234272" y="246415"/>
                      </a:lnTo>
                      <a:lnTo>
                        <a:pt x="235454" y="246497"/>
                      </a:lnTo>
                      <a:lnTo>
                        <a:pt x="236375" y="245690"/>
                      </a:lnTo>
                      <a:lnTo>
                        <a:pt x="239920" y="241134"/>
                      </a:lnTo>
                      <a:lnTo>
                        <a:pt x="240874" y="240319"/>
                      </a:lnTo>
                      <a:lnTo>
                        <a:pt x="242210" y="239692"/>
                      </a:lnTo>
                      <a:lnTo>
                        <a:pt x="243579" y="239284"/>
                      </a:lnTo>
                      <a:lnTo>
                        <a:pt x="250042" y="239252"/>
                      </a:lnTo>
                      <a:lnTo>
                        <a:pt x="252780" y="239961"/>
                      </a:lnTo>
                      <a:lnTo>
                        <a:pt x="255217" y="241452"/>
                      </a:lnTo>
                      <a:lnTo>
                        <a:pt x="257369" y="243318"/>
                      </a:lnTo>
                      <a:lnTo>
                        <a:pt x="265241" y="255168"/>
                      </a:lnTo>
                      <a:lnTo>
                        <a:pt x="268835" y="261720"/>
                      </a:lnTo>
                      <a:lnTo>
                        <a:pt x="269121" y="263342"/>
                      </a:lnTo>
                      <a:lnTo>
                        <a:pt x="269194" y="265037"/>
                      </a:lnTo>
                      <a:lnTo>
                        <a:pt x="268583" y="266350"/>
                      </a:lnTo>
                      <a:lnTo>
                        <a:pt x="265299" y="270816"/>
                      </a:lnTo>
                      <a:lnTo>
                        <a:pt x="264891" y="272054"/>
                      </a:lnTo>
                      <a:lnTo>
                        <a:pt x="263864" y="276912"/>
                      </a:lnTo>
                      <a:lnTo>
                        <a:pt x="264060" y="280424"/>
                      </a:lnTo>
                      <a:lnTo>
                        <a:pt x="265152" y="281899"/>
                      </a:lnTo>
                      <a:lnTo>
                        <a:pt x="266016" y="283497"/>
                      </a:lnTo>
                      <a:lnTo>
                        <a:pt x="265942" y="284947"/>
                      </a:lnTo>
                      <a:lnTo>
                        <a:pt x="263774" y="292152"/>
                      </a:lnTo>
                      <a:lnTo>
                        <a:pt x="263555" y="293382"/>
                      </a:lnTo>
                      <a:lnTo>
                        <a:pt x="264924" y="305110"/>
                      </a:lnTo>
                      <a:lnTo>
                        <a:pt x="265022" y="308280"/>
                      </a:lnTo>
                      <a:lnTo>
                        <a:pt x="264752" y="312290"/>
                      </a:lnTo>
                      <a:lnTo>
                        <a:pt x="264940" y="318777"/>
                      </a:lnTo>
                      <a:lnTo>
                        <a:pt x="263171" y="338784"/>
                      </a:lnTo>
                      <a:lnTo>
                        <a:pt x="262845" y="339982"/>
                      </a:lnTo>
                      <a:lnTo>
                        <a:pt x="261492" y="343030"/>
                      </a:lnTo>
                      <a:lnTo>
                        <a:pt x="259708" y="343014"/>
                      </a:lnTo>
                      <a:lnTo>
                        <a:pt x="258274" y="342476"/>
                      </a:lnTo>
                      <a:lnTo>
                        <a:pt x="257263" y="341294"/>
                      </a:lnTo>
                      <a:lnTo>
                        <a:pt x="256709" y="339844"/>
                      </a:lnTo>
                      <a:lnTo>
                        <a:pt x="255885" y="338662"/>
                      </a:lnTo>
                      <a:lnTo>
                        <a:pt x="251591" y="334962"/>
                      </a:lnTo>
                      <a:lnTo>
                        <a:pt x="250474" y="335582"/>
                      </a:lnTo>
                      <a:lnTo>
                        <a:pt x="246106" y="340162"/>
                      </a:lnTo>
                      <a:lnTo>
                        <a:pt x="244940" y="340838"/>
                      </a:lnTo>
                      <a:lnTo>
                        <a:pt x="243482" y="340284"/>
                      </a:lnTo>
                      <a:lnTo>
                        <a:pt x="241192" y="338907"/>
                      </a:lnTo>
                      <a:lnTo>
                        <a:pt x="233987" y="334090"/>
                      </a:lnTo>
                      <a:lnTo>
                        <a:pt x="233531" y="335622"/>
                      </a:lnTo>
                      <a:lnTo>
                        <a:pt x="233449" y="337717"/>
                      </a:lnTo>
                      <a:lnTo>
                        <a:pt x="234884" y="342965"/>
                      </a:lnTo>
                      <a:lnTo>
                        <a:pt x="235079" y="345263"/>
                      </a:lnTo>
                      <a:lnTo>
                        <a:pt x="233767" y="345728"/>
                      </a:lnTo>
                      <a:lnTo>
                        <a:pt x="233033" y="345622"/>
                      </a:lnTo>
                      <a:lnTo>
                        <a:pt x="230043" y="342574"/>
                      </a:lnTo>
                      <a:lnTo>
                        <a:pt x="227280" y="339208"/>
                      </a:lnTo>
                      <a:lnTo>
                        <a:pt x="224134" y="334644"/>
                      </a:lnTo>
                      <a:lnTo>
                        <a:pt x="221844" y="332476"/>
                      </a:lnTo>
                      <a:lnTo>
                        <a:pt x="219774" y="330048"/>
                      </a:lnTo>
                      <a:lnTo>
                        <a:pt x="213930" y="320863"/>
                      </a:lnTo>
                      <a:lnTo>
                        <a:pt x="212415" y="319445"/>
                      </a:lnTo>
                      <a:lnTo>
                        <a:pt x="203377" y="312958"/>
                      </a:lnTo>
                      <a:lnTo>
                        <a:pt x="201551" y="311426"/>
                      </a:lnTo>
                      <a:lnTo>
                        <a:pt x="199229" y="308736"/>
                      </a:lnTo>
                      <a:lnTo>
                        <a:pt x="196751" y="306348"/>
                      </a:lnTo>
                      <a:lnTo>
                        <a:pt x="191299" y="302591"/>
                      </a:lnTo>
                      <a:lnTo>
                        <a:pt x="181837" y="293040"/>
                      </a:lnTo>
                      <a:lnTo>
                        <a:pt x="177730" y="287547"/>
                      </a:lnTo>
                      <a:lnTo>
                        <a:pt x="173149" y="278713"/>
                      </a:lnTo>
                      <a:lnTo>
                        <a:pt x="171658" y="276472"/>
                      </a:lnTo>
                      <a:lnTo>
                        <a:pt x="163981" y="269846"/>
                      </a:lnTo>
                      <a:lnTo>
                        <a:pt x="159792" y="265828"/>
                      </a:lnTo>
                      <a:lnTo>
                        <a:pt x="158048" y="263522"/>
                      </a:lnTo>
                      <a:lnTo>
                        <a:pt x="153965" y="255486"/>
                      </a:lnTo>
                      <a:lnTo>
                        <a:pt x="152783" y="252788"/>
                      </a:lnTo>
                      <a:lnTo>
                        <a:pt x="151275" y="250401"/>
                      </a:lnTo>
                      <a:lnTo>
                        <a:pt x="148798" y="248461"/>
                      </a:lnTo>
                      <a:lnTo>
                        <a:pt x="146630" y="246179"/>
                      </a:lnTo>
                      <a:lnTo>
                        <a:pt x="142311" y="238901"/>
                      </a:lnTo>
                      <a:lnTo>
                        <a:pt x="140942" y="236016"/>
                      </a:lnTo>
                      <a:lnTo>
                        <a:pt x="139915" y="232895"/>
                      </a:lnTo>
                      <a:lnTo>
                        <a:pt x="140086" y="226611"/>
                      </a:lnTo>
                      <a:lnTo>
                        <a:pt x="130950" y="207590"/>
                      </a:lnTo>
                      <a:lnTo>
                        <a:pt x="128644" y="201657"/>
                      </a:lnTo>
                      <a:lnTo>
                        <a:pt x="126517" y="193434"/>
                      </a:lnTo>
                      <a:lnTo>
                        <a:pt x="126044" y="192594"/>
                      </a:lnTo>
                      <a:lnTo>
                        <a:pt x="121056" y="185235"/>
                      </a:lnTo>
                      <a:lnTo>
                        <a:pt x="119288" y="182880"/>
                      </a:lnTo>
                      <a:lnTo>
                        <a:pt x="117152" y="180671"/>
                      </a:lnTo>
                      <a:lnTo>
                        <a:pt x="115392" y="178080"/>
                      </a:lnTo>
                      <a:lnTo>
                        <a:pt x="111953" y="169669"/>
                      </a:lnTo>
                      <a:lnTo>
                        <a:pt x="110681" y="167330"/>
                      </a:lnTo>
                      <a:lnTo>
                        <a:pt x="108897" y="165619"/>
                      </a:lnTo>
                      <a:lnTo>
                        <a:pt x="102361" y="162441"/>
                      </a:lnTo>
                      <a:lnTo>
                        <a:pt x="99932" y="160664"/>
                      </a:lnTo>
                      <a:lnTo>
                        <a:pt x="98017" y="158154"/>
                      </a:lnTo>
                      <a:lnTo>
                        <a:pt x="96835" y="154943"/>
                      </a:lnTo>
                      <a:lnTo>
                        <a:pt x="95540" y="148138"/>
                      </a:lnTo>
                      <a:lnTo>
                        <a:pt x="92467" y="137788"/>
                      </a:lnTo>
                      <a:lnTo>
                        <a:pt x="89011" y="123933"/>
                      </a:lnTo>
                      <a:lnTo>
                        <a:pt x="86689" y="117723"/>
                      </a:lnTo>
                      <a:lnTo>
                        <a:pt x="84032" y="112849"/>
                      </a:lnTo>
                      <a:lnTo>
                        <a:pt x="83258" y="111725"/>
                      </a:lnTo>
                      <a:lnTo>
                        <a:pt x="71408" y="102947"/>
                      </a:lnTo>
                      <a:lnTo>
                        <a:pt x="69387" y="101660"/>
                      </a:lnTo>
                      <a:lnTo>
                        <a:pt x="67244" y="100877"/>
                      </a:lnTo>
                      <a:lnTo>
                        <a:pt x="64179" y="100315"/>
                      </a:lnTo>
                      <a:lnTo>
                        <a:pt x="61840" y="98049"/>
                      </a:lnTo>
                      <a:lnTo>
                        <a:pt x="60879" y="93983"/>
                      </a:lnTo>
                      <a:lnTo>
                        <a:pt x="60349" y="88531"/>
                      </a:lnTo>
                      <a:lnTo>
                        <a:pt x="59771" y="85271"/>
                      </a:lnTo>
                      <a:lnTo>
                        <a:pt x="59126" y="83429"/>
                      </a:lnTo>
                      <a:lnTo>
                        <a:pt x="54180" y="79574"/>
                      </a:lnTo>
                      <a:lnTo>
                        <a:pt x="52240" y="76518"/>
                      </a:lnTo>
                      <a:lnTo>
                        <a:pt x="50626" y="73160"/>
                      </a:lnTo>
                      <a:lnTo>
                        <a:pt x="49143" y="70569"/>
                      </a:lnTo>
                      <a:lnTo>
                        <a:pt x="43699" y="61596"/>
                      </a:lnTo>
                      <a:lnTo>
                        <a:pt x="41833" y="59241"/>
                      </a:lnTo>
                      <a:lnTo>
                        <a:pt x="39534" y="57594"/>
                      </a:lnTo>
                      <a:lnTo>
                        <a:pt x="32705" y="55858"/>
                      </a:lnTo>
                      <a:lnTo>
                        <a:pt x="30700" y="54359"/>
                      </a:lnTo>
                      <a:lnTo>
                        <a:pt x="27383" y="49265"/>
                      </a:lnTo>
                      <a:lnTo>
                        <a:pt x="25378" y="46673"/>
                      </a:lnTo>
                      <a:lnTo>
                        <a:pt x="19372" y="40961"/>
                      </a:lnTo>
                      <a:lnTo>
                        <a:pt x="9218" y="29005"/>
                      </a:lnTo>
                      <a:lnTo>
                        <a:pt x="7139" y="26022"/>
                      </a:lnTo>
                      <a:lnTo>
                        <a:pt x="5583" y="22909"/>
                      </a:lnTo>
                      <a:lnTo>
                        <a:pt x="4328" y="19584"/>
                      </a:lnTo>
                      <a:lnTo>
                        <a:pt x="0" y="10342"/>
                      </a:lnTo>
                      <a:lnTo>
                        <a:pt x="351" y="8476"/>
                      </a:lnTo>
                      <a:lnTo>
                        <a:pt x="1003" y="6544"/>
                      </a:lnTo>
                      <a:lnTo>
                        <a:pt x="897" y="4939"/>
                      </a:lnTo>
                      <a:lnTo>
                        <a:pt x="432" y="3350"/>
                      </a:lnTo>
                      <a:lnTo>
                        <a:pt x="522" y="1923"/>
                      </a:lnTo>
                      <a:lnTo>
                        <a:pt x="1801" y="1084"/>
                      </a:lnTo>
                      <a:lnTo>
                        <a:pt x="4686" y="0"/>
                      </a:lnTo>
                      <a:lnTo>
                        <a:pt x="7685" y="130"/>
                      </a:lnTo>
                      <a:lnTo>
                        <a:pt x="10464" y="603"/>
                      </a:lnTo>
                      <a:lnTo>
                        <a:pt x="13162" y="1491"/>
                      </a:lnTo>
                      <a:lnTo>
                        <a:pt x="15729" y="3439"/>
                      </a:lnTo>
                      <a:lnTo>
                        <a:pt x="20342" y="8345"/>
                      </a:lnTo>
                      <a:lnTo>
                        <a:pt x="22966" y="10049"/>
                      </a:lnTo>
                      <a:lnTo>
                        <a:pt x="25884" y="10872"/>
                      </a:lnTo>
                      <a:lnTo>
                        <a:pt x="31963" y="12062"/>
                      </a:lnTo>
                      <a:close/>
                    </a:path>
                  </a:pathLst>
                </a:custGeom>
                <a:solidFill>
                  <a:srgbClr val="D6D6D2"/>
                </a:solidFill>
                <a:ln w="6112" cap="rnd">
                  <a:solidFill>
                    <a:srgbClr val="FFFFFF"/>
                  </a:solidFill>
                  <a:prstDash val="solid"/>
                  <a:round/>
                </a:ln>
              </p:spPr>
              <p:txBody>
                <a:bodyPr rtlCol="0" anchor="ctr"/>
                <a:lstStyle/>
                <a:p>
                  <a:endParaRPr lang="en-US"/>
                </a:p>
              </p:txBody>
            </p:sp>
            <p:sp>
              <p:nvSpPr>
                <p:cNvPr id="715" name="Freeform: Shape 714">
                  <a:extLst>
                    <a:ext uri="{FF2B5EF4-FFF2-40B4-BE49-F238E27FC236}">
                      <a16:creationId xmlns:a16="http://schemas.microsoft.com/office/drawing/2014/main" id="{93C8FFAC-8360-4F7A-B986-D3F987EDEA83}"/>
                    </a:ext>
                  </a:extLst>
                </p:cNvPr>
                <p:cNvSpPr/>
                <p:nvPr/>
              </p:nvSpPr>
              <p:spPr>
                <a:xfrm>
                  <a:off x="6342774" y="2977139"/>
                  <a:ext cx="168250" cy="99817"/>
                </a:xfrm>
                <a:custGeom>
                  <a:avLst/>
                  <a:gdLst>
                    <a:gd name="connsiteX0" fmla="*/ 149767 w 168250"/>
                    <a:gd name="connsiteY0" fmla="*/ 5330 h 99817"/>
                    <a:gd name="connsiteX1" fmla="*/ 152139 w 168250"/>
                    <a:gd name="connsiteY1" fmla="*/ 5037 h 99817"/>
                    <a:gd name="connsiteX2" fmla="*/ 152237 w 168250"/>
                    <a:gd name="connsiteY2" fmla="*/ 5085 h 99817"/>
                    <a:gd name="connsiteX3" fmla="*/ 152791 w 168250"/>
                    <a:gd name="connsiteY3" fmla="*/ 5257 h 99817"/>
                    <a:gd name="connsiteX4" fmla="*/ 153191 w 168250"/>
                    <a:gd name="connsiteY4" fmla="*/ 6936 h 99817"/>
                    <a:gd name="connsiteX5" fmla="*/ 153256 w 168250"/>
                    <a:gd name="connsiteY5" fmla="*/ 7033 h 99817"/>
                    <a:gd name="connsiteX6" fmla="*/ 153826 w 168250"/>
                    <a:gd name="connsiteY6" fmla="*/ 8142 h 99817"/>
                    <a:gd name="connsiteX7" fmla="*/ 154364 w 168250"/>
                    <a:gd name="connsiteY7" fmla="*/ 9600 h 99817"/>
                    <a:gd name="connsiteX8" fmla="*/ 155195 w 168250"/>
                    <a:gd name="connsiteY8" fmla="*/ 10701 h 99817"/>
                    <a:gd name="connsiteX9" fmla="*/ 157021 w 168250"/>
                    <a:gd name="connsiteY9" fmla="*/ 11157 h 99817"/>
                    <a:gd name="connsiteX10" fmla="*/ 159409 w 168250"/>
                    <a:gd name="connsiteY10" fmla="*/ 12518 h 99817"/>
                    <a:gd name="connsiteX11" fmla="*/ 160949 w 168250"/>
                    <a:gd name="connsiteY11" fmla="*/ 15085 h 99817"/>
                    <a:gd name="connsiteX12" fmla="*/ 163280 w 168250"/>
                    <a:gd name="connsiteY12" fmla="*/ 16145 h 99817"/>
                    <a:gd name="connsiteX13" fmla="*/ 163451 w 168250"/>
                    <a:gd name="connsiteY13" fmla="*/ 16169 h 99817"/>
                    <a:gd name="connsiteX14" fmla="*/ 163907 w 168250"/>
                    <a:gd name="connsiteY14" fmla="*/ 16055 h 99817"/>
                    <a:gd name="connsiteX15" fmla="*/ 165586 w 168250"/>
                    <a:gd name="connsiteY15" fmla="*/ 15965 h 99817"/>
                    <a:gd name="connsiteX16" fmla="*/ 165912 w 168250"/>
                    <a:gd name="connsiteY16" fmla="*/ 16479 h 99817"/>
                    <a:gd name="connsiteX17" fmla="*/ 167249 w 168250"/>
                    <a:gd name="connsiteY17" fmla="*/ 17734 h 99817"/>
                    <a:gd name="connsiteX18" fmla="*/ 167762 w 168250"/>
                    <a:gd name="connsiteY18" fmla="*/ 18834 h 99817"/>
                    <a:gd name="connsiteX19" fmla="*/ 167501 w 168250"/>
                    <a:gd name="connsiteY19" fmla="*/ 20000 h 99817"/>
                    <a:gd name="connsiteX20" fmla="*/ 167738 w 168250"/>
                    <a:gd name="connsiteY20" fmla="*/ 21320 h 99817"/>
                    <a:gd name="connsiteX21" fmla="*/ 168251 w 168250"/>
                    <a:gd name="connsiteY21" fmla="*/ 21784 h 99817"/>
                    <a:gd name="connsiteX22" fmla="*/ 167632 w 168250"/>
                    <a:gd name="connsiteY22" fmla="*/ 22673 h 99817"/>
                    <a:gd name="connsiteX23" fmla="*/ 163296 w 168250"/>
                    <a:gd name="connsiteY23" fmla="*/ 27098 h 99817"/>
                    <a:gd name="connsiteX24" fmla="*/ 161592 w 168250"/>
                    <a:gd name="connsiteY24" fmla="*/ 28271 h 99817"/>
                    <a:gd name="connsiteX25" fmla="*/ 160468 w 168250"/>
                    <a:gd name="connsiteY25" fmla="*/ 28508 h 99817"/>
                    <a:gd name="connsiteX26" fmla="*/ 158691 w 168250"/>
                    <a:gd name="connsiteY26" fmla="*/ 28043 h 99817"/>
                    <a:gd name="connsiteX27" fmla="*/ 156857 w 168250"/>
                    <a:gd name="connsiteY27" fmla="*/ 28402 h 99817"/>
                    <a:gd name="connsiteX28" fmla="*/ 155219 w 168250"/>
                    <a:gd name="connsiteY28" fmla="*/ 29347 h 99817"/>
                    <a:gd name="connsiteX29" fmla="*/ 153712 w 168250"/>
                    <a:gd name="connsiteY29" fmla="*/ 29649 h 99817"/>
                    <a:gd name="connsiteX30" fmla="*/ 152571 w 168250"/>
                    <a:gd name="connsiteY30" fmla="*/ 30765 h 99817"/>
                    <a:gd name="connsiteX31" fmla="*/ 151087 w 168250"/>
                    <a:gd name="connsiteY31" fmla="*/ 33186 h 99817"/>
                    <a:gd name="connsiteX32" fmla="*/ 149287 w 168250"/>
                    <a:gd name="connsiteY32" fmla="*/ 35223 h 99817"/>
                    <a:gd name="connsiteX33" fmla="*/ 147445 w 168250"/>
                    <a:gd name="connsiteY33" fmla="*/ 36486 h 99817"/>
                    <a:gd name="connsiteX34" fmla="*/ 146499 w 168250"/>
                    <a:gd name="connsiteY34" fmla="*/ 37619 h 99817"/>
                    <a:gd name="connsiteX35" fmla="*/ 146385 w 168250"/>
                    <a:gd name="connsiteY35" fmla="*/ 41523 h 99817"/>
                    <a:gd name="connsiteX36" fmla="*/ 145375 w 168250"/>
                    <a:gd name="connsiteY36" fmla="*/ 42639 h 99817"/>
                    <a:gd name="connsiteX37" fmla="*/ 143997 w 168250"/>
                    <a:gd name="connsiteY37" fmla="*/ 43772 h 99817"/>
                    <a:gd name="connsiteX38" fmla="*/ 143264 w 168250"/>
                    <a:gd name="connsiteY38" fmla="*/ 44775 h 99817"/>
                    <a:gd name="connsiteX39" fmla="*/ 141186 w 168250"/>
                    <a:gd name="connsiteY39" fmla="*/ 50708 h 99817"/>
                    <a:gd name="connsiteX40" fmla="*/ 139604 w 168250"/>
                    <a:gd name="connsiteY40" fmla="*/ 52607 h 99817"/>
                    <a:gd name="connsiteX41" fmla="*/ 138113 w 168250"/>
                    <a:gd name="connsiteY41" fmla="*/ 54065 h 99817"/>
                    <a:gd name="connsiteX42" fmla="*/ 137853 w 168250"/>
                    <a:gd name="connsiteY42" fmla="*/ 55402 h 99817"/>
                    <a:gd name="connsiteX43" fmla="*/ 137885 w 168250"/>
                    <a:gd name="connsiteY43" fmla="*/ 56918 h 99817"/>
                    <a:gd name="connsiteX44" fmla="*/ 136182 w 168250"/>
                    <a:gd name="connsiteY44" fmla="*/ 59958 h 99817"/>
                    <a:gd name="connsiteX45" fmla="*/ 133973 w 168250"/>
                    <a:gd name="connsiteY45" fmla="*/ 63112 h 99817"/>
                    <a:gd name="connsiteX46" fmla="*/ 133541 w 168250"/>
                    <a:gd name="connsiteY46" fmla="*/ 64399 h 99817"/>
                    <a:gd name="connsiteX47" fmla="*/ 134038 w 168250"/>
                    <a:gd name="connsiteY47" fmla="*/ 66151 h 99817"/>
                    <a:gd name="connsiteX48" fmla="*/ 131895 w 168250"/>
                    <a:gd name="connsiteY48" fmla="*/ 68148 h 99817"/>
                    <a:gd name="connsiteX49" fmla="*/ 130664 w 168250"/>
                    <a:gd name="connsiteY49" fmla="*/ 69110 h 99817"/>
                    <a:gd name="connsiteX50" fmla="*/ 129646 w 168250"/>
                    <a:gd name="connsiteY50" fmla="*/ 69574 h 99817"/>
                    <a:gd name="connsiteX51" fmla="*/ 129010 w 168250"/>
                    <a:gd name="connsiteY51" fmla="*/ 70829 h 99817"/>
                    <a:gd name="connsiteX52" fmla="*/ 127959 w 168250"/>
                    <a:gd name="connsiteY52" fmla="*/ 73877 h 99817"/>
                    <a:gd name="connsiteX53" fmla="*/ 128244 w 168250"/>
                    <a:gd name="connsiteY53" fmla="*/ 75246 h 99817"/>
                    <a:gd name="connsiteX54" fmla="*/ 128260 w 168250"/>
                    <a:gd name="connsiteY54" fmla="*/ 76502 h 99817"/>
                    <a:gd name="connsiteX55" fmla="*/ 126459 w 168250"/>
                    <a:gd name="connsiteY55" fmla="*/ 77243 h 99817"/>
                    <a:gd name="connsiteX56" fmla="*/ 125929 w 168250"/>
                    <a:gd name="connsiteY56" fmla="*/ 78612 h 99817"/>
                    <a:gd name="connsiteX57" fmla="*/ 125465 w 168250"/>
                    <a:gd name="connsiteY57" fmla="*/ 80332 h 99817"/>
                    <a:gd name="connsiteX58" fmla="*/ 124723 w 168250"/>
                    <a:gd name="connsiteY58" fmla="*/ 81106 h 99817"/>
                    <a:gd name="connsiteX59" fmla="*/ 122694 w 168250"/>
                    <a:gd name="connsiteY59" fmla="*/ 82524 h 99817"/>
                    <a:gd name="connsiteX60" fmla="*/ 117657 w 168250"/>
                    <a:gd name="connsiteY60" fmla="*/ 81913 h 99817"/>
                    <a:gd name="connsiteX61" fmla="*/ 115750 w 168250"/>
                    <a:gd name="connsiteY61" fmla="*/ 82386 h 99817"/>
                    <a:gd name="connsiteX62" fmla="*/ 115188 w 168250"/>
                    <a:gd name="connsiteY62" fmla="*/ 83404 h 99817"/>
                    <a:gd name="connsiteX63" fmla="*/ 115066 w 168250"/>
                    <a:gd name="connsiteY63" fmla="*/ 84219 h 99817"/>
                    <a:gd name="connsiteX64" fmla="*/ 114438 w 168250"/>
                    <a:gd name="connsiteY64" fmla="*/ 84985 h 99817"/>
                    <a:gd name="connsiteX65" fmla="*/ 113305 w 168250"/>
                    <a:gd name="connsiteY65" fmla="*/ 85947 h 99817"/>
                    <a:gd name="connsiteX66" fmla="*/ 112116 w 168250"/>
                    <a:gd name="connsiteY66" fmla="*/ 86379 h 99817"/>
                    <a:gd name="connsiteX67" fmla="*/ 109508 w 168250"/>
                    <a:gd name="connsiteY67" fmla="*/ 85189 h 99817"/>
                    <a:gd name="connsiteX68" fmla="*/ 103868 w 168250"/>
                    <a:gd name="connsiteY68" fmla="*/ 86395 h 99817"/>
                    <a:gd name="connsiteX69" fmla="*/ 102898 w 168250"/>
                    <a:gd name="connsiteY69" fmla="*/ 87259 h 99817"/>
                    <a:gd name="connsiteX70" fmla="*/ 102108 w 168250"/>
                    <a:gd name="connsiteY70" fmla="*/ 86640 h 99817"/>
                    <a:gd name="connsiteX71" fmla="*/ 100910 w 168250"/>
                    <a:gd name="connsiteY71" fmla="*/ 86078 h 99817"/>
                    <a:gd name="connsiteX72" fmla="*/ 95262 w 168250"/>
                    <a:gd name="connsiteY72" fmla="*/ 85385 h 99817"/>
                    <a:gd name="connsiteX73" fmla="*/ 93037 w 168250"/>
                    <a:gd name="connsiteY73" fmla="*/ 85939 h 99817"/>
                    <a:gd name="connsiteX74" fmla="*/ 90062 w 168250"/>
                    <a:gd name="connsiteY74" fmla="*/ 85727 h 99817"/>
                    <a:gd name="connsiteX75" fmla="*/ 87316 w 168250"/>
                    <a:gd name="connsiteY75" fmla="*/ 85116 h 99817"/>
                    <a:gd name="connsiteX76" fmla="*/ 85254 w 168250"/>
                    <a:gd name="connsiteY76" fmla="*/ 85613 h 99817"/>
                    <a:gd name="connsiteX77" fmla="*/ 83445 w 168250"/>
                    <a:gd name="connsiteY77" fmla="*/ 88009 h 99817"/>
                    <a:gd name="connsiteX78" fmla="*/ 82548 w 168250"/>
                    <a:gd name="connsiteY78" fmla="*/ 88816 h 99817"/>
                    <a:gd name="connsiteX79" fmla="*/ 81848 w 168250"/>
                    <a:gd name="connsiteY79" fmla="*/ 89329 h 99817"/>
                    <a:gd name="connsiteX80" fmla="*/ 80291 w 168250"/>
                    <a:gd name="connsiteY80" fmla="*/ 90087 h 99817"/>
                    <a:gd name="connsiteX81" fmla="*/ 78995 w 168250"/>
                    <a:gd name="connsiteY81" fmla="*/ 90992 h 99817"/>
                    <a:gd name="connsiteX82" fmla="*/ 77276 w 168250"/>
                    <a:gd name="connsiteY82" fmla="*/ 91644 h 99817"/>
                    <a:gd name="connsiteX83" fmla="*/ 75719 w 168250"/>
                    <a:gd name="connsiteY83" fmla="*/ 91554 h 99817"/>
                    <a:gd name="connsiteX84" fmla="*/ 74268 w 168250"/>
                    <a:gd name="connsiteY84" fmla="*/ 90519 h 99817"/>
                    <a:gd name="connsiteX85" fmla="*/ 73739 w 168250"/>
                    <a:gd name="connsiteY85" fmla="*/ 90755 h 99817"/>
                    <a:gd name="connsiteX86" fmla="*/ 73282 w 168250"/>
                    <a:gd name="connsiteY86" fmla="*/ 91709 h 99817"/>
                    <a:gd name="connsiteX87" fmla="*/ 72500 w 168250"/>
                    <a:gd name="connsiteY87" fmla="*/ 92516 h 99817"/>
                    <a:gd name="connsiteX88" fmla="*/ 70307 w 168250"/>
                    <a:gd name="connsiteY88" fmla="*/ 93518 h 99817"/>
                    <a:gd name="connsiteX89" fmla="*/ 69745 w 168250"/>
                    <a:gd name="connsiteY89" fmla="*/ 93510 h 99817"/>
                    <a:gd name="connsiteX90" fmla="*/ 69623 w 168250"/>
                    <a:gd name="connsiteY90" fmla="*/ 93510 h 99817"/>
                    <a:gd name="connsiteX91" fmla="*/ 67961 w 168250"/>
                    <a:gd name="connsiteY91" fmla="*/ 94244 h 99817"/>
                    <a:gd name="connsiteX92" fmla="*/ 65198 w 168250"/>
                    <a:gd name="connsiteY92" fmla="*/ 94651 h 99817"/>
                    <a:gd name="connsiteX93" fmla="*/ 63812 w 168250"/>
                    <a:gd name="connsiteY93" fmla="*/ 94366 h 99817"/>
                    <a:gd name="connsiteX94" fmla="*/ 61302 w 168250"/>
                    <a:gd name="connsiteY94" fmla="*/ 97683 h 99817"/>
                    <a:gd name="connsiteX95" fmla="*/ 60536 w 168250"/>
                    <a:gd name="connsiteY95" fmla="*/ 98294 h 99817"/>
                    <a:gd name="connsiteX96" fmla="*/ 58140 w 168250"/>
                    <a:gd name="connsiteY96" fmla="*/ 99313 h 99817"/>
                    <a:gd name="connsiteX97" fmla="*/ 56184 w 168250"/>
                    <a:gd name="connsiteY97" fmla="*/ 99818 h 99817"/>
                    <a:gd name="connsiteX98" fmla="*/ 54505 w 168250"/>
                    <a:gd name="connsiteY98" fmla="*/ 99411 h 99817"/>
                    <a:gd name="connsiteX99" fmla="*/ 53845 w 168250"/>
                    <a:gd name="connsiteY99" fmla="*/ 99378 h 99817"/>
                    <a:gd name="connsiteX100" fmla="*/ 46396 w 168250"/>
                    <a:gd name="connsiteY100" fmla="*/ 99199 h 99817"/>
                    <a:gd name="connsiteX101" fmla="*/ 42509 w 168250"/>
                    <a:gd name="connsiteY101" fmla="*/ 98498 h 99817"/>
                    <a:gd name="connsiteX102" fmla="*/ 40015 w 168250"/>
                    <a:gd name="connsiteY102" fmla="*/ 97194 h 99817"/>
                    <a:gd name="connsiteX103" fmla="*/ 38361 w 168250"/>
                    <a:gd name="connsiteY103" fmla="*/ 95743 h 99817"/>
                    <a:gd name="connsiteX104" fmla="*/ 37554 w 168250"/>
                    <a:gd name="connsiteY104" fmla="*/ 94146 h 99817"/>
                    <a:gd name="connsiteX105" fmla="*/ 35622 w 168250"/>
                    <a:gd name="connsiteY105" fmla="*/ 93176 h 99817"/>
                    <a:gd name="connsiteX106" fmla="*/ 32566 w 168250"/>
                    <a:gd name="connsiteY106" fmla="*/ 92826 h 99817"/>
                    <a:gd name="connsiteX107" fmla="*/ 30194 w 168250"/>
                    <a:gd name="connsiteY107" fmla="*/ 91228 h 99817"/>
                    <a:gd name="connsiteX108" fmla="*/ 28499 w 168250"/>
                    <a:gd name="connsiteY108" fmla="*/ 88384 h 99817"/>
                    <a:gd name="connsiteX109" fmla="*/ 26209 w 168250"/>
                    <a:gd name="connsiteY109" fmla="*/ 86126 h 99817"/>
                    <a:gd name="connsiteX110" fmla="*/ 23308 w 168250"/>
                    <a:gd name="connsiteY110" fmla="*/ 84480 h 99817"/>
                    <a:gd name="connsiteX111" fmla="*/ 21002 w 168250"/>
                    <a:gd name="connsiteY111" fmla="*/ 82125 h 99817"/>
                    <a:gd name="connsiteX112" fmla="*/ 19298 w 168250"/>
                    <a:gd name="connsiteY112" fmla="*/ 79093 h 99817"/>
                    <a:gd name="connsiteX113" fmla="*/ 16242 w 168250"/>
                    <a:gd name="connsiteY113" fmla="*/ 76363 h 99817"/>
                    <a:gd name="connsiteX114" fmla="*/ 11825 w 168250"/>
                    <a:gd name="connsiteY114" fmla="*/ 73926 h 99817"/>
                    <a:gd name="connsiteX115" fmla="*/ 10497 w 168250"/>
                    <a:gd name="connsiteY115" fmla="*/ 73397 h 99817"/>
                    <a:gd name="connsiteX116" fmla="*/ 10227 w 168250"/>
                    <a:gd name="connsiteY116" fmla="*/ 72614 h 99817"/>
                    <a:gd name="connsiteX117" fmla="*/ 8068 w 168250"/>
                    <a:gd name="connsiteY117" fmla="*/ 69591 h 99817"/>
                    <a:gd name="connsiteX118" fmla="*/ 7147 w 168250"/>
                    <a:gd name="connsiteY118" fmla="*/ 68474 h 99817"/>
                    <a:gd name="connsiteX119" fmla="*/ 7229 w 168250"/>
                    <a:gd name="connsiteY119" fmla="*/ 66983 h 99817"/>
                    <a:gd name="connsiteX120" fmla="*/ 6797 w 168250"/>
                    <a:gd name="connsiteY120" fmla="*/ 66127 h 99817"/>
                    <a:gd name="connsiteX121" fmla="*/ 6022 w 168250"/>
                    <a:gd name="connsiteY121" fmla="*/ 65524 h 99817"/>
                    <a:gd name="connsiteX122" fmla="*/ 5591 w 168250"/>
                    <a:gd name="connsiteY122" fmla="*/ 63364 h 99817"/>
                    <a:gd name="connsiteX123" fmla="*/ 5354 w 168250"/>
                    <a:gd name="connsiteY123" fmla="*/ 61751 h 99817"/>
                    <a:gd name="connsiteX124" fmla="*/ 4719 w 168250"/>
                    <a:gd name="connsiteY124" fmla="*/ 60707 h 99817"/>
                    <a:gd name="connsiteX125" fmla="*/ 0 w 168250"/>
                    <a:gd name="connsiteY125" fmla="*/ 60495 h 99817"/>
                    <a:gd name="connsiteX126" fmla="*/ 3960 w 168250"/>
                    <a:gd name="connsiteY126" fmla="*/ 56633 h 99817"/>
                    <a:gd name="connsiteX127" fmla="*/ 5916 w 168250"/>
                    <a:gd name="connsiteY127" fmla="*/ 55549 h 99817"/>
                    <a:gd name="connsiteX128" fmla="*/ 8206 w 168250"/>
                    <a:gd name="connsiteY128" fmla="*/ 55744 h 99817"/>
                    <a:gd name="connsiteX129" fmla="*/ 8940 w 168250"/>
                    <a:gd name="connsiteY129" fmla="*/ 55386 h 99817"/>
                    <a:gd name="connsiteX130" fmla="*/ 9128 w 168250"/>
                    <a:gd name="connsiteY130" fmla="*/ 54831 h 99817"/>
                    <a:gd name="connsiteX131" fmla="*/ 9511 w 168250"/>
                    <a:gd name="connsiteY131" fmla="*/ 53568 h 99817"/>
                    <a:gd name="connsiteX132" fmla="*/ 9714 w 168250"/>
                    <a:gd name="connsiteY132" fmla="*/ 52387 h 99817"/>
                    <a:gd name="connsiteX133" fmla="*/ 9918 w 168250"/>
                    <a:gd name="connsiteY133" fmla="*/ 51262 h 99817"/>
                    <a:gd name="connsiteX134" fmla="*/ 9673 w 168250"/>
                    <a:gd name="connsiteY134" fmla="*/ 50626 h 99817"/>
                    <a:gd name="connsiteX135" fmla="*/ 8565 w 168250"/>
                    <a:gd name="connsiteY135" fmla="*/ 50431 h 99817"/>
                    <a:gd name="connsiteX136" fmla="*/ 8027 w 168250"/>
                    <a:gd name="connsiteY136" fmla="*/ 47668 h 99817"/>
                    <a:gd name="connsiteX137" fmla="*/ 8606 w 168250"/>
                    <a:gd name="connsiteY137" fmla="*/ 46625 h 99817"/>
                    <a:gd name="connsiteX138" fmla="*/ 9160 w 168250"/>
                    <a:gd name="connsiteY138" fmla="*/ 45899 h 99817"/>
                    <a:gd name="connsiteX139" fmla="*/ 8459 w 168250"/>
                    <a:gd name="connsiteY139" fmla="*/ 42534 h 99817"/>
                    <a:gd name="connsiteX140" fmla="*/ 8671 w 168250"/>
                    <a:gd name="connsiteY140" fmla="*/ 41384 h 99817"/>
                    <a:gd name="connsiteX141" fmla="*/ 10456 w 168250"/>
                    <a:gd name="connsiteY141" fmla="*/ 41205 h 99817"/>
                    <a:gd name="connsiteX142" fmla="*/ 11939 w 168250"/>
                    <a:gd name="connsiteY142" fmla="*/ 40488 h 99817"/>
                    <a:gd name="connsiteX143" fmla="*/ 13145 w 168250"/>
                    <a:gd name="connsiteY143" fmla="*/ 39673 h 99817"/>
                    <a:gd name="connsiteX144" fmla="*/ 13488 w 168250"/>
                    <a:gd name="connsiteY144" fmla="*/ 38630 h 99817"/>
                    <a:gd name="connsiteX145" fmla="*/ 14474 w 168250"/>
                    <a:gd name="connsiteY145" fmla="*/ 36511 h 99817"/>
                    <a:gd name="connsiteX146" fmla="*/ 13553 w 168250"/>
                    <a:gd name="connsiteY146" fmla="*/ 33911 h 99817"/>
                    <a:gd name="connsiteX147" fmla="*/ 8410 w 168250"/>
                    <a:gd name="connsiteY147" fmla="*/ 32208 h 99817"/>
                    <a:gd name="connsiteX148" fmla="*/ 8141 w 168250"/>
                    <a:gd name="connsiteY148" fmla="*/ 31564 h 99817"/>
                    <a:gd name="connsiteX149" fmla="*/ 9340 w 168250"/>
                    <a:gd name="connsiteY149" fmla="*/ 30814 h 99817"/>
                    <a:gd name="connsiteX150" fmla="*/ 10619 w 168250"/>
                    <a:gd name="connsiteY150" fmla="*/ 29771 h 99817"/>
                    <a:gd name="connsiteX151" fmla="*/ 11361 w 168250"/>
                    <a:gd name="connsiteY151" fmla="*/ 28948 h 99817"/>
                    <a:gd name="connsiteX152" fmla="*/ 12346 w 168250"/>
                    <a:gd name="connsiteY152" fmla="*/ 28834 h 99817"/>
                    <a:gd name="connsiteX153" fmla="*/ 13757 w 168250"/>
                    <a:gd name="connsiteY153" fmla="*/ 29241 h 99817"/>
                    <a:gd name="connsiteX154" fmla="*/ 16234 w 168250"/>
                    <a:gd name="connsiteY154" fmla="*/ 31140 h 99817"/>
                    <a:gd name="connsiteX155" fmla="*/ 17187 w 168250"/>
                    <a:gd name="connsiteY155" fmla="*/ 31409 h 99817"/>
                    <a:gd name="connsiteX156" fmla="*/ 18100 w 168250"/>
                    <a:gd name="connsiteY156" fmla="*/ 30863 h 99817"/>
                    <a:gd name="connsiteX157" fmla="*/ 19087 w 168250"/>
                    <a:gd name="connsiteY157" fmla="*/ 30741 h 99817"/>
                    <a:gd name="connsiteX158" fmla="*/ 21833 w 168250"/>
                    <a:gd name="connsiteY158" fmla="*/ 30814 h 99817"/>
                    <a:gd name="connsiteX159" fmla="*/ 24147 w 168250"/>
                    <a:gd name="connsiteY159" fmla="*/ 30374 h 99817"/>
                    <a:gd name="connsiteX160" fmla="*/ 23626 w 168250"/>
                    <a:gd name="connsiteY160" fmla="*/ 28361 h 99817"/>
                    <a:gd name="connsiteX161" fmla="*/ 23634 w 168250"/>
                    <a:gd name="connsiteY161" fmla="*/ 26902 h 99817"/>
                    <a:gd name="connsiteX162" fmla="*/ 23234 w 168250"/>
                    <a:gd name="connsiteY162" fmla="*/ 25729 h 99817"/>
                    <a:gd name="connsiteX163" fmla="*/ 23487 w 168250"/>
                    <a:gd name="connsiteY163" fmla="*/ 24449 h 99817"/>
                    <a:gd name="connsiteX164" fmla="*/ 24416 w 168250"/>
                    <a:gd name="connsiteY164" fmla="*/ 23447 h 99817"/>
                    <a:gd name="connsiteX165" fmla="*/ 24710 w 168250"/>
                    <a:gd name="connsiteY165" fmla="*/ 21198 h 99817"/>
                    <a:gd name="connsiteX166" fmla="*/ 26144 w 168250"/>
                    <a:gd name="connsiteY166" fmla="*/ 19682 h 99817"/>
                    <a:gd name="connsiteX167" fmla="*/ 26820 w 168250"/>
                    <a:gd name="connsiteY167" fmla="*/ 19462 h 99817"/>
                    <a:gd name="connsiteX168" fmla="*/ 29371 w 168250"/>
                    <a:gd name="connsiteY168" fmla="*/ 19739 h 99817"/>
                    <a:gd name="connsiteX169" fmla="*/ 29975 w 168250"/>
                    <a:gd name="connsiteY169" fmla="*/ 20130 h 99817"/>
                    <a:gd name="connsiteX170" fmla="*/ 30358 w 168250"/>
                    <a:gd name="connsiteY170" fmla="*/ 20220 h 99817"/>
                    <a:gd name="connsiteX171" fmla="*/ 34416 w 168250"/>
                    <a:gd name="connsiteY171" fmla="*/ 23928 h 99817"/>
                    <a:gd name="connsiteX172" fmla="*/ 38255 w 168250"/>
                    <a:gd name="connsiteY172" fmla="*/ 26707 h 99817"/>
                    <a:gd name="connsiteX173" fmla="*/ 41392 w 168250"/>
                    <a:gd name="connsiteY173" fmla="*/ 28133 h 99817"/>
                    <a:gd name="connsiteX174" fmla="*/ 46013 w 168250"/>
                    <a:gd name="connsiteY174" fmla="*/ 28247 h 99817"/>
                    <a:gd name="connsiteX175" fmla="*/ 50903 w 168250"/>
                    <a:gd name="connsiteY175" fmla="*/ 28369 h 99817"/>
                    <a:gd name="connsiteX176" fmla="*/ 59110 w 168250"/>
                    <a:gd name="connsiteY176" fmla="*/ 27888 h 99817"/>
                    <a:gd name="connsiteX177" fmla="*/ 65255 w 168250"/>
                    <a:gd name="connsiteY177" fmla="*/ 27522 h 99817"/>
                    <a:gd name="connsiteX178" fmla="*/ 65670 w 168250"/>
                    <a:gd name="connsiteY178" fmla="*/ 26829 h 99817"/>
                    <a:gd name="connsiteX179" fmla="*/ 66591 w 168250"/>
                    <a:gd name="connsiteY179" fmla="*/ 25175 h 99817"/>
                    <a:gd name="connsiteX180" fmla="*/ 65858 w 168250"/>
                    <a:gd name="connsiteY180" fmla="*/ 23740 h 99817"/>
                    <a:gd name="connsiteX181" fmla="*/ 65890 w 168250"/>
                    <a:gd name="connsiteY181" fmla="*/ 22070 h 99817"/>
                    <a:gd name="connsiteX182" fmla="*/ 66933 w 168250"/>
                    <a:gd name="connsiteY182" fmla="*/ 19877 h 99817"/>
                    <a:gd name="connsiteX183" fmla="*/ 69965 w 168250"/>
                    <a:gd name="connsiteY183" fmla="*/ 18068 h 99817"/>
                    <a:gd name="connsiteX184" fmla="*/ 78669 w 168250"/>
                    <a:gd name="connsiteY184" fmla="*/ 17278 h 99817"/>
                    <a:gd name="connsiteX185" fmla="*/ 83681 w 168250"/>
                    <a:gd name="connsiteY185" fmla="*/ 15916 h 99817"/>
                    <a:gd name="connsiteX186" fmla="*/ 84431 w 168250"/>
                    <a:gd name="connsiteY186" fmla="*/ 14075 h 99817"/>
                    <a:gd name="connsiteX187" fmla="*/ 86093 w 168250"/>
                    <a:gd name="connsiteY187" fmla="*/ 12249 h 99817"/>
                    <a:gd name="connsiteX188" fmla="*/ 87601 w 168250"/>
                    <a:gd name="connsiteY188" fmla="*/ 11882 h 99817"/>
                    <a:gd name="connsiteX189" fmla="*/ 89696 w 168250"/>
                    <a:gd name="connsiteY189" fmla="*/ 12722 h 99817"/>
                    <a:gd name="connsiteX190" fmla="*/ 92189 w 168250"/>
                    <a:gd name="connsiteY190" fmla="*/ 14327 h 99817"/>
                    <a:gd name="connsiteX191" fmla="*/ 94382 w 168250"/>
                    <a:gd name="connsiteY191" fmla="*/ 15183 h 99817"/>
                    <a:gd name="connsiteX192" fmla="*/ 95678 w 168250"/>
                    <a:gd name="connsiteY192" fmla="*/ 14629 h 99817"/>
                    <a:gd name="connsiteX193" fmla="*/ 100095 w 168250"/>
                    <a:gd name="connsiteY193" fmla="*/ 11923 h 99817"/>
                    <a:gd name="connsiteX194" fmla="*/ 105188 w 168250"/>
                    <a:gd name="connsiteY194" fmla="*/ 9283 h 99817"/>
                    <a:gd name="connsiteX195" fmla="*/ 108676 w 168250"/>
                    <a:gd name="connsiteY195" fmla="*/ 2095 h 99817"/>
                    <a:gd name="connsiteX196" fmla="*/ 109059 w 168250"/>
                    <a:gd name="connsiteY196" fmla="*/ 945 h 99817"/>
                    <a:gd name="connsiteX197" fmla="*/ 112857 w 168250"/>
                    <a:gd name="connsiteY197" fmla="*/ 130 h 99817"/>
                    <a:gd name="connsiteX198" fmla="*/ 118399 w 168250"/>
                    <a:gd name="connsiteY198" fmla="*/ 277 h 99817"/>
                    <a:gd name="connsiteX199" fmla="*/ 121227 w 168250"/>
                    <a:gd name="connsiteY199" fmla="*/ 1206 h 99817"/>
                    <a:gd name="connsiteX200" fmla="*/ 123371 w 168250"/>
                    <a:gd name="connsiteY200" fmla="*/ 1703 h 99817"/>
                    <a:gd name="connsiteX201" fmla="*/ 126582 w 168250"/>
                    <a:gd name="connsiteY201" fmla="*/ 1540 h 99817"/>
                    <a:gd name="connsiteX202" fmla="*/ 131194 w 168250"/>
                    <a:gd name="connsiteY202" fmla="*/ 0 h 99817"/>
                    <a:gd name="connsiteX203" fmla="*/ 132897 w 168250"/>
                    <a:gd name="connsiteY203" fmla="*/ 41 h 99817"/>
                    <a:gd name="connsiteX204" fmla="*/ 134218 w 168250"/>
                    <a:gd name="connsiteY204" fmla="*/ 1133 h 99817"/>
                    <a:gd name="connsiteX205" fmla="*/ 135676 w 168250"/>
                    <a:gd name="connsiteY205" fmla="*/ 2078 h 99817"/>
                    <a:gd name="connsiteX206" fmla="*/ 136654 w 168250"/>
                    <a:gd name="connsiteY206" fmla="*/ 3227 h 99817"/>
                    <a:gd name="connsiteX207" fmla="*/ 137388 w 168250"/>
                    <a:gd name="connsiteY207" fmla="*/ 4857 h 99817"/>
                    <a:gd name="connsiteX208" fmla="*/ 137795 w 168250"/>
                    <a:gd name="connsiteY208" fmla="*/ 5469 h 99817"/>
                    <a:gd name="connsiteX209" fmla="*/ 138440 w 168250"/>
                    <a:gd name="connsiteY209" fmla="*/ 6300 h 99817"/>
                    <a:gd name="connsiteX210" fmla="*/ 139597 w 168250"/>
                    <a:gd name="connsiteY210" fmla="*/ 7441 h 99817"/>
                    <a:gd name="connsiteX211" fmla="*/ 140729 w 168250"/>
                    <a:gd name="connsiteY211" fmla="*/ 7750 h 99817"/>
                    <a:gd name="connsiteX212" fmla="*/ 149270 w 168250"/>
                    <a:gd name="connsiteY212" fmla="*/ 5762 h 9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168250" h="99817">
                      <a:moveTo>
                        <a:pt x="149767" y="5330"/>
                      </a:moveTo>
                      <a:lnTo>
                        <a:pt x="152139" y="5037"/>
                      </a:lnTo>
                      <a:lnTo>
                        <a:pt x="152237" y="5085"/>
                      </a:lnTo>
                      <a:lnTo>
                        <a:pt x="152791" y="5257"/>
                      </a:lnTo>
                      <a:lnTo>
                        <a:pt x="153191" y="6936"/>
                      </a:lnTo>
                      <a:lnTo>
                        <a:pt x="153256" y="7033"/>
                      </a:lnTo>
                      <a:lnTo>
                        <a:pt x="153826" y="8142"/>
                      </a:lnTo>
                      <a:lnTo>
                        <a:pt x="154364" y="9600"/>
                      </a:lnTo>
                      <a:lnTo>
                        <a:pt x="155195" y="10701"/>
                      </a:lnTo>
                      <a:lnTo>
                        <a:pt x="157021" y="11157"/>
                      </a:lnTo>
                      <a:lnTo>
                        <a:pt x="159409" y="12518"/>
                      </a:lnTo>
                      <a:lnTo>
                        <a:pt x="160949" y="15085"/>
                      </a:lnTo>
                      <a:lnTo>
                        <a:pt x="163280" y="16145"/>
                      </a:lnTo>
                      <a:lnTo>
                        <a:pt x="163451" y="16169"/>
                      </a:lnTo>
                      <a:lnTo>
                        <a:pt x="163907" y="16055"/>
                      </a:lnTo>
                      <a:lnTo>
                        <a:pt x="165586" y="15965"/>
                      </a:lnTo>
                      <a:lnTo>
                        <a:pt x="165912" y="16479"/>
                      </a:lnTo>
                      <a:lnTo>
                        <a:pt x="167249" y="17734"/>
                      </a:lnTo>
                      <a:lnTo>
                        <a:pt x="167762" y="18834"/>
                      </a:lnTo>
                      <a:lnTo>
                        <a:pt x="167501" y="20000"/>
                      </a:lnTo>
                      <a:lnTo>
                        <a:pt x="167738" y="21320"/>
                      </a:lnTo>
                      <a:lnTo>
                        <a:pt x="168251" y="21784"/>
                      </a:lnTo>
                      <a:lnTo>
                        <a:pt x="167632" y="22673"/>
                      </a:lnTo>
                      <a:lnTo>
                        <a:pt x="163296" y="27098"/>
                      </a:lnTo>
                      <a:lnTo>
                        <a:pt x="161592" y="28271"/>
                      </a:lnTo>
                      <a:lnTo>
                        <a:pt x="160468" y="28508"/>
                      </a:lnTo>
                      <a:lnTo>
                        <a:pt x="158691" y="28043"/>
                      </a:lnTo>
                      <a:lnTo>
                        <a:pt x="156857" y="28402"/>
                      </a:lnTo>
                      <a:lnTo>
                        <a:pt x="155219" y="29347"/>
                      </a:lnTo>
                      <a:lnTo>
                        <a:pt x="153712" y="29649"/>
                      </a:lnTo>
                      <a:lnTo>
                        <a:pt x="152571" y="30765"/>
                      </a:lnTo>
                      <a:lnTo>
                        <a:pt x="151087" y="33186"/>
                      </a:lnTo>
                      <a:lnTo>
                        <a:pt x="149287" y="35223"/>
                      </a:lnTo>
                      <a:lnTo>
                        <a:pt x="147445" y="36486"/>
                      </a:lnTo>
                      <a:lnTo>
                        <a:pt x="146499" y="37619"/>
                      </a:lnTo>
                      <a:lnTo>
                        <a:pt x="146385" y="41523"/>
                      </a:lnTo>
                      <a:lnTo>
                        <a:pt x="145375" y="42639"/>
                      </a:lnTo>
                      <a:lnTo>
                        <a:pt x="143997" y="43772"/>
                      </a:lnTo>
                      <a:lnTo>
                        <a:pt x="143264" y="44775"/>
                      </a:lnTo>
                      <a:lnTo>
                        <a:pt x="141186" y="50708"/>
                      </a:lnTo>
                      <a:lnTo>
                        <a:pt x="139604" y="52607"/>
                      </a:lnTo>
                      <a:lnTo>
                        <a:pt x="138113" y="54065"/>
                      </a:lnTo>
                      <a:lnTo>
                        <a:pt x="137853" y="55402"/>
                      </a:lnTo>
                      <a:lnTo>
                        <a:pt x="137885" y="56918"/>
                      </a:lnTo>
                      <a:lnTo>
                        <a:pt x="136182" y="59958"/>
                      </a:lnTo>
                      <a:lnTo>
                        <a:pt x="133973" y="63112"/>
                      </a:lnTo>
                      <a:lnTo>
                        <a:pt x="133541" y="64399"/>
                      </a:lnTo>
                      <a:lnTo>
                        <a:pt x="134038" y="66151"/>
                      </a:lnTo>
                      <a:lnTo>
                        <a:pt x="131895" y="68148"/>
                      </a:lnTo>
                      <a:lnTo>
                        <a:pt x="130664" y="69110"/>
                      </a:lnTo>
                      <a:lnTo>
                        <a:pt x="129646" y="69574"/>
                      </a:lnTo>
                      <a:lnTo>
                        <a:pt x="129010" y="70829"/>
                      </a:lnTo>
                      <a:lnTo>
                        <a:pt x="127959" y="73877"/>
                      </a:lnTo>
                      <a:lnTo>
                        <a:pt x="128244" y="75246"/>
                      </a:lnTo>
                      <a:lnTo>
                        <a:pt x="128260" y="76502"/>
                      </a:lnTo>
                      <a:lnTo>
                        <a:pt x="126459" y="77243"/>
                      </a:lnTo>
                      <a:lnTo>
                        <a:pt x="125929" y="78612"/>
                      </a:lnTo>
                      <a:lnTo>
                        <a:pt x="125465" y="80332"/>
                      </a:lnTo>
                      <a:lnTo>
                        <a:pt x="124723" y="81106"/>
                      </a:lnTo>
                      <a:lnTo>
                        <a:pt x="122694" y="82524"/>
                      </a:lnTo>
                      <a:lnTo>
                        <a:pt x="117657" y="81913"/>
                      </a:lnTo>
                      <a:lnTo>
                        <a:pt x="115750" y="82386"/>
                      </a:lnTo>
                      <a:lnTo>
                        <a:pt x="115188" y="83404"/>
                      </a:lnTo>
                      <a:lnTo>
                        <a:pt x="115066" y="84219"/>
                      </a:lnTo>
                      <a:lnTo>
                        <a:pt x="114438" y="84985"/>
                      </a:lnTo>
                      <a:lnTo>
                        <a:pt x="113305" y="85947"/>
                      </a:lnTo>
                      <a:lnTo>
                        <a:pt x="112116" y="86379"/>
                      </a:lnTo>
                      <a:lnTo>
                        <a:pt x="109508" y="85189"/>
                      </a:lnTo>
                      <a:lnTo>
                        <a:pt x="103868" y="86395"/>
                      </a:lnTo>
                      <a:lnTo>
                        <a:pt x="102898" y="87259"/>
                      </a:lnTo>
                      <a:lnTo>
                        <a:pt x="102108" y="86640"/>
                      </a:lnTo>
                      <a:lnTo>
                        <a:pt x="100910" y="86078"/>
                      </a:lnTo>
                      <a:lnTo>
                        <a:pt x="95262" y="85385"/>
                      </a:lnTo>
                      <a:lnTo>
                        <a:pt x="93037" y="85939"/>
                      </a:lnTo>
                      <a:lnTo>
                        <a:pt x="90062" y="85727"/>
                      </a:lnTo>
                      <a:lnTo>
                        <a:pt x="87316" y="85116"/>
                      </a:lnTo>
                      <a:lnTo>
                        <a:pt x="85254" y="85613"/>
                      </a:lnTo>
                      <a:lnTo>
                        <a:pt x="83445" y="88009"/>
                      </a:lnTo>
                      <a:lnTo>
                        <a:pt x="82548" y="88816"/>
                      </a:lnTo>
                      <a:lnTo>
                        <a:pt x="81848" y="89329"/>
                      </a:lnTo>
                      <a:lnTo>
                        <a:pt x="80291" y="90087"/>
                      </a:lnTo>
                      <a:lnTo>
                        <a:pt x="78995" y="90992"/>
                      </a:lnTo>
                      <a:lnTo>
                        <a:pt x="77276" y="91644"/>
                      </a:lnTo>
                      <a:lnTo>
                        <a:pt x="75719" y="91554"/>
                      </a:lnTo>
                      <a:lnTo>
                        <a:pt x="74268" y="90519"/>
                      </a:lnTo>
                      <a:lnTo>
                        <a:pt x="73739" y="90755"/>
                      </a:lnTo>
                      <a:lnTo>
                        <a:pt x="73282" y="91709"/>
                      </a:lnTo>
                      <a:lnTo>
                        <a:pt x="72500" y="92516"/>
                      </a:lnTo>
                      <a:lnTo>
                        <a:pt x="70307" y="93518"/>
                      </a:lnTo>
                      <a:lnTo>
                        <a:pt x="69745" y="93510"/>
                      </a:lnTo>
                      <a:lnTo>
                        <a:pt x="69623" y="93510"/>
                      </a:lnTo>
                      <a:lnTo>
                        <a:pt x="67961" y="94244"/>
                      </a:lnTo>
                      <a:lnTo>
                        <a:pt x="65198" y="94651"/>
                      </a:lnTo>
                      <a:lnTo>
                        <a:pt x="63812" y="94366"/>
                      </a:lnTo>
                      <a:lnTo>
                        <a:pt x="61302" y="97683"/>
                      </a:lnTo>
                      <a:lnTo>
                        <a:pt x="60536" y="98294"/>
                      </a:lnTo>
                      <a:lnTo>
                        <a:pt x="58140" y="99313"/>
                      </a:lnTo>
                      <a:lnTo>
                        <a:pt x="56184" y="99818"/>
                      </a:lnTo>
                      <a:lnTo>
                        <a:pt x="54505" y="99411"/>
                      </a:lnTo>
                      <a:lnTo>
                        <a:pt x="53845" y="99378"/>
                      </a:lnTo>
                      <a:lnTo>
                        <a:pt x="46396" y="99199"/>
                      </a:lnTo>
                      <a:lnTo>
                        <a:pt x="42509" y="98498"/>
                      </a:lnTo>
                      <a:lnTo>
                        <a:pt x="40015" y="97194"/>
                      </a:lnTo>
                      <a:lnTo>
                        <a:pt x="38361" y="95743"/>
                      </a:lnTo>
                      <a:lnTo>
                        <a:pt x="37554" y="94146"/>
                      </a:lnTo>
                      <a:lnTo>
                        <a:pt x="35622" y="93176"/>
                      </a:lnTo>
                      <a:lnTo>
                        <a:pt x="32566" y="92826"/>
                      </a:lnTo>
                      <a:lnTo>
                        <a:pt x="30194" y="91228"/>
                      </a:lnTo>
                      <a:lnTo>
                        <a:pt x="28499" y="88384"/>
                      </a:lnTo>
                      <a:lnTo>
                        <a:pt x="26209" y="86126"/>
                      </a:lnTo>
                      <a:lnTo>
                        <a:pt x="23308" y="84480"/>
                      </a:lnTo>
                      <a:lnTo>
                        <a:pt x="21002" y="82125"/>
                      </a:lnTo>
                      <a:lnTo>
                        <a:pt x="19298" y="79093"/>
                      </a:lnTo>
                      <a:lnTo>
                        <a:pt x="16242" y="76363"/>
                      </a:lnTo>
                      <a:lnTo>
                        <a:pt x="11825" y="73926"/>
                      </a:lnTo>
                      <a:lnTo>
                        <a:pt x="10497" y="73397"/>
                      </a:lnTo>
                      <a:lnTo>
                        <a:pt x="10227" y="72614"/>
                      </a:lnTo>
                      <a:lnTo>
                        <a:pt x="8068" y="69591"/>
                      </a:lnTo>
                      <a:lnTo>
                        <a:pt x="7147" y="68474"/>
                      </a:lnTo>
                      <a:lnTo>
                        <a:pt x="7229" y="66983"/>
                      </a:lnTo>
                      <a:lnTo>
                        <a:pt x="6797" y="66127"/>
                      </a:lnTo>
                      <a:lnTo>
                        <a:pt x="6022" y="65524"/>
                      </a:lnTo>
                      <a:lnTo>
                        <a:pt x="5591" y="63364"/>
                      </a:lnTo>
                      <a:lnTo>
                        <a:pt x="5354" y="61751"/>
                      </a:lnTo>
                      <a:lnTo>
                        <a:pt x="4719" y="60707"/>
                      </a:lnTo>
                      <a:lnTo>
                        <a:pt x="0" y="60495"/>
                      </a:lnTo>
                      <a:lnTo>
                        <a:pt x="3960" y="56633"/>
                      </a:lnTo>
                      <a:lnTo>
                        <a:pt x="5916" y="55549"/>
                      </a:lnTo>
                      <a:lnTo>
                        <a:pt x="8206" y="55744"/>
                      </a:lnTo>
                      <a:lnTo>
                        <a:pt x="8940" y="55386"/>
                      </a:lnTo>
                      <a:lnTo>
                        <a:pt x="9128" y="54831"/>
                      </a:lnTo>
                      <a:lnTo>
                        <a:pt x="9511" y="53568"/>
                      </a:lnTo>
                      <a:lnTo>
                        <a:pt x="9714" y="52387"/>
                      </a:lnTo>
                      <a:lnTo>
                        <a:pt x="9918" y="51262"/>
                      </a:lnTo>
                      <a:lnTo>
                        <a:pt x="9673" y="50626"/>
                      </a:lnTo>
                      <a:lnTo>
                        <a:pt x="8565" y="50431"/>
                      </a:lnTo>
                      <a:lnTo>
                        <a:pt x="8027" y="47668"/>
                      </a:lnTo>
                      <a:lnTo>
                        <a:pt x="8606" y="46625"/>
                      </a:lnTo>
                      <a:lnTo>
                        <a:pt x="9160" y="45899"/>
                      </a:lnTo>
                      <a:lnTo>
                        <a:pt x="8459" y="42534"/>
                      </a:lnTo>
                      <a:lnTo>
                        <a:pt x="8671" y="41384"/>
                      </a:lnTo>
                      <a:lnTo>
                        <a:pt x="10456" y="41205"/>
                      </a:lnTo>
                      <a:lnTo>
                        <a:pt x="11939" y="40488"/>
                      </a:lnTo>
                      <a:lnTo>
                        <a:pt x="13145" y="39673"/>
                      </a:lnTo>
                      <a:lnTo>
                        <a:pt x="13488" y="38630"/>
                      </a:lnTo>
                      <a:lnTo>
                        <a:pt x="14474" y="36511"/>
                      </a:lnTo>
                      <a:lnTo>
                        <a:pt x="13553" y="33911"/>
                      </a:lnTo>
                      <a:lnTo>
                        <a:pt x="8410" y="32208"/>
                      </a:lnTo>
                      <a:lnTo>
                        <a:pt x="8141" y="31564"/>
                      </a:lnTo>
                      <a:lnTo>
                        <a:pt x="9340" y="30814"/>
                      </a:lnTo>
                      <a:lnTo>
                        <a:pt x="10619" y="29771"/>
                      </a:lnTo>
                      <a:lnTo>
                        <a:pt x="11361" y="28948"/>
                      </a:lnTo>
                      <a:lnTo>
                        <a:pt x="12346" y="28834"/>
                      </a:lnTo>
                      <a:lnTo>
                        <a:pt x="13757" y="29241"/>
                      </a:lnTo>
                      <a:lnTo>
                        <a:pt x="16234" y="31140"/>
                      </a:lnTo>
                      <a:lnTo>
                        <a:pt x="17187" y="31409"/>
                      </a:lnTo>
                      <a:lnTo>
                        <a:pt x="18100" y="30863"/>
                      </a:lnTo>
                      <a:lnTo>
                        <a:pt x="19087" y="30741"/>
                      </a:lnTo>
                      <a:lnTo>
                        <a:pt x="21833" y="30814"/>
                      </a:lnTo>
                      <a:lnTo>
                        <a:pt x="24147" y="30374"/>
                      </a:lnTo>
                      <a:lnTo>
                        <a:pt x="23626" y="28361"/>
                      </a:lnTo>
                      <a:lnTo>
                        <a:pt x="23634" y="26902"/>
                      </a:lnTo>
                      <a:lnTo>
                        <a:pt x="23234" y="25729"/>
                      </a:lnTo>
                      <a:lnTo>
                        <a:pt x="23487" y="24449"/>
                      </a:lnTo>
                      <a:lnTo>
                        <a:pt x="24416" y="23447"/>
                      </a:lnTo>
                      <a:lnTo>
                        <a:pt x="24710" y="21198"/>
                      </a:lnTo>
                      <a:lnTo>
                        <a:pt x="26144" y="19682"/>
                      </a:lnTo>
                      <a:lnTo>
                        <a:pt x="26820" y="19462"/>
                      </a:lnTo>
                      <a:lnTo>
                        <a:pt x="29371" y="19739"/>
                      </a:lnTo>
                      <a:lnTo>
                        <a:pt x="29975" y="20130"/>
                      </a:lnTo>
                      <a:lnTo>
                        <a:pt x="30358" y="20220"/>
                      </a:lnTo>
                      <a:lnTo>
                        <a:pt x="34416" y="23928"/>
                      </a:lnTo>
                      <a:lnTo>
                        <a:pt x="38255" y="26707"/>
                      </a:lnTo>
                      <a:lnTo>
                        <a:pt x="41392" y="28133"/>
                      </a:lnTo>
                      <a:lnTo>
                        <a:pt x="46013" y="28247"/>
                      </a:lnTo>
                      <a:lnTo>
                        <a:pt x="50903" y="28369"/>
                      </a:lnTo>
                      <a:lnTo>
                        <a:pt x="59110" y="27888"/>
                      </a:lnTo>
                      <a:lnTo>
                        <a:pt x="65255" y="27522"/>
                      </a:lnTo>
                      <a:lnTo>
                        <a:pt x="65670" y="26829"/>
                      </a:lnTo>
                      <a:lnTo>
                        <a:pt x="66591" y="25175"/>
                      </a:lnTo>
                      <a:lnTo>
                        <a:pt x="65858" y="23740"/>
                      </a:lnTo>
                      <a:lnTo>
                        <a:pt x="65890" y="22070"/>
                      </a:lnTo>
                      <a:lnTo>
                        <a:pt x="66933" y="19877"/>
                      </a:lnTo>
                      <a:lnTo>
                        <a:pt x="69965" y="18068"/>
                      </a:lnTo>
                      <a:lnTo>
                        <a:pt x="78669" y="17278"/>
                      </a:lnTo>
                      <a:lnTo>
                        <a:pt x="83681" y="15916"/>
                      </a:lnTo>
                      <a:lnTo>
                        <a:pt x="84431" y="14075"/>
                      </a:lnTo>
                      <a:lnTo>
                        <a:pt x="86093" y="12249"/>
                      </a:lnTo>
                      <a:lnTo>
                        <a:pt x="87601" y="11882"/>
                      </a:lnTo>
                      <a:lnTo>
                        <a:pt x="89696" y="12722"/>
                      </a:lnTo>
                      <a:lnTo>
                        <a:pt x="92189" y="14327"/>
                      </a:lnTo>
                      <a:lnTo>
                        <a:pt x="94382" y="15183"/>
                      </a:lnTo>
                      <a:lnTo>
                        <a:pt x="95678" y="14629"/>
                      </a:lnTo>
                      <a:lnTo>
                        <a:pt x="100095" y="11923"/>
                      </a:lnTo>
                      <a:lnTo>
                        <a:pt x="105188" y="9283"/>
                      </a:lnTo>
                      <a:lnTo>
                        <a:pt x="108676" y="2095"/>
                      </a:lnTo>
                      <a:lnTo>
                        <a:pt x="109059" y="945"/>
                      </a:lnTo>
                      <a:lnTo>
                        <a:pt x="112857" y="130"/>
                      </a:lnTo>
                      <a:lnTo>
                        <a:pt x="118399" y="277"/>
                      </a:lnTo>
                      <a:lnTo>
                        <a:pt x="121227" y="1206"/>
                      </a:lnTo>
                      <a:lnTo>
                        <a:pt x="123371" y="1703"/>
                      </a:lnTo>
                      <a:lnTo>
                        <a:pt x="126582" y="1540"/>
                      </a:lnTo>
                      <a:lnTo>
                        <a:pt x="131194" y="0"/>
                      </a:lnTo>
                      <a:lnTo>
                        <a:pt x="132897" y="41"/>
                      </a:lnTo>
                      <a:lnTo>
                        <a:pt x="134218" y="1133"/>
                      </a:lnTo>
                      <a:lnTo>
                        <a:pt x="135676" y="2078"/>
                      </a:lnTo>
                      <a:lnTo>
                        <a:pt x="136654" y="3227"/>
                      </a:lnTo>
                      <a:lnTo>
                        <a:pt x="137388" y="4857"/>
                      </a:lnTo>
                      <a:lnTo>
                        <a:pt x="137795" y="5469"/>
                      </a:lnTo>
                      <a:lnTo>
                        <a:pt x="138440" y="6300"/>
                      </a:lnTo>
                      <a:lnTo>
                        <a:pt x="139597" y="7441"/>
                      </a:lnTo>
                      <a:lnTo>
                        <a:pt x="140729" y="7750"/>
                      </a:lnTo>
                      <a:lnTo>
                        <a:pt x="149270" y="5762"/>
                      </a:lnTo>
                      <a:close/>
                    </a:path>
                  </a:pathLst>
                </a:custGeom>
                <a:solidFill>
                  <a:srgbClr val="D6D6D2"/>
                </a:solidFill>
                <a:ln w="6112" cap="rnd">
                  <a:solidFill>
                    <a:srgbClr val="FFFFFF"/>
                  </a:solidFill>
                  <a:prstDash val="solid"/>
                  <a:round/>
                </a:ln>
              </p:spPr>
              <p:txBody>
                <a:bodyPr rtlCol="0" anchor="ctr"/>
                <a:lstStyle/>
                <a:p>
                  <a:endParaRPr lang="en-US"/>
                </a:p>
              </p:txBody>
            </p:sp>
            <p:sp>
              <p:nvSpPr>
                <p:cNvPr id="716" name="Freeform: Shape 715">
                  <a:extLst>
                    <a:ext uri="{FF2B5EF4-FFF2-40B4-BE49-F238E27FC236}">
                      <a16:creationId xmlns:a16="http://schemas.microsoft.com/office/drawing/2014/main" id="{452935A7-A65F-470C-88BC-D6AA193DEBD3}"/>
                    </a:ext>
                  </a:extLst>
                </p:cNvPr>
                <p:cNvSpPr/>
                <p:nvPr/>
              </p:nvSpPr>
              <p:spPr>
                <a:xfrm>
                  <a:off x="4096422" y="3921824"/>
                  <a:ext cx="70250" cy="58099"/>
                </a:xfrm>
                <a:custGeom>
                  <a:avLst/>
                  <a:gdLst>
                    <a:gd name="connsiteX0" fmla="*/ 62582 w 70250"/>
                    <a:gd name="connsiteY0" fmla="*/ 6332 h 58099"/>
                    <a:gd name="connsiteX1" fmla="*/ 65548 w 70250"/>
                    <a:gd name="connsiteY1" fmla="*/ 7098 h 58099"/>
                    <a:gd name="connsiteX2" fmla="*/ 66917 w 70250"/>
                    <a:gd name="connsiteY2" fmla="*/ 6430 h 58099"/>
                    <a:gd name="connsiteX3" fmla="*/ 67464 w 70250"/>
                    <a:gd name="connsiteY3" fmla="*/ 7359 h 58099"/>
                    <a:gd name="connsiteX4" fmla="*/ 68604 w 70250"/>
                    <a:gd name="connsiteY4" fmla="*/ 13578 h 58099"/>
                    <a:gd name="connsiteX5" fmla="*/ 68719 w 70250"/>
                    <a:gd name="connsiteY5" fmla="*/ 15566 h 58099"/>
                    <a:gd name="connsiteX6" fmla="*/ 67570 w 70250"/>
                    <a:gd name="connsiteY6" fmla="*/ 18573 h 58099"/>
                    <a:gd name="connsiteX7" fmla="*/ 67732 w 70250"/>
                    <a:gd name="connsiteY7" fmla="*/ 19763 h 58099"/>
                    <a:gd name="connsiteX8" fmla="*/ 70202 w 70250"/>
                    <a:gd name="connsiteY8" fmla="*/ 22526 h 58099"/>
                    <a:gd name="connsiteX9" fmla="*/ 70251 w 70250"/>
                    <a:gd name="connsiteY9" fmla="*/ 23528 h 58099"/>
                    <a:gd name="connsiteX10" fmla="*/ 69957 w 70250"/>
                    <a:gd name="connsiteY10" fmla="*/ 24539 h 58099"/>
                    <a:gd name="connsiteX11" fmla="*/ 67847 w 70250"/>
                    <a:gd name="connsiteY11" fmla="*/ 27155 h 58099"/>
                    <a:gd name="connsiteX12" fmla="*/ 66241 w 70250"/>
                    <a:gd name="connsiteY12" fmla="*/ 28964 h 58099"/>
                    <a:gd name="connsiteX13" fmla="*/ 66746 w 70250"/>
                    <a:gd name="connsiteY13" fmla="*/ 31018 h 58099"/>
                    <a:gd name="connsiteX14" fmla="*/ 68059 w 70250"/>
                    <a:gd name="connsiteY14" fmla="*/ 32982 h 58099"/>
                    <a:gd name="connsiteX15" fmla="*/ 68230 w 70250"/>
                    <a:gd name="connsiteY15" fmla="*/ 34620 h 58099"/>
                    <a:gd name="connsiteX16" fmla="*/ 67822 w 70250"/>
                    <a:gd name="connsiteY16" fmla="*/ 36780 h 58099"/>
                    <a:gd name="connsiteX17" fmla="*/ 65817 w 70250"/>
                    <a:gd name="connsiteY17" fmla="*/ 39469 h 58099"/>
                    <a:gd name="connsiteX18" fmla="*/ 64766 w 70250"/>
                    <a:gd name="connsiteY18" fmla="*/ 40439 h 58099"/>
                    <a:gd name="connsiteX19" fmla="*/ 61783 w 70250"/>
                    <a:gd name="connsiteY19" fmla="*/ 40553 h 58099"/>
                    <a:gd name="connsiteX20" fmla="*/ 61449 w 70250"/>
                    <a:gd name="connsiteY20" fmla="*/ 40936 h 58099"/>
                    <a:gd name="connsiteX21" fmla="*/ 62941 w 70250"/>
                    <a:gd name="connsiteY21" fmla="*/ 43560 h 58099"/>
                    <a:gd name="connsiteX22" fmla="*/ 64619 w 70250"/>
                    <a:gd name="connsiteY22" fmla="*/ 46527 h 58099"/>
                    <a:gd name="connsiteX23" fmla="*/ 67366 w 70250"/>
                    <a:gd name="connsiteY23" fmla="*/ 48825 h 58099"/>
                    <a:gd name="connsiteX24" fmla="*/ 67977 w 70250"/>
                    <a:gd name="connsiteY24" fmla="*/ 50993 h 58099"/>
                    <a:gd name="connsiteX25" fmla="*/ 67317 w 70250"/>
                    <a:gd name="connsiteY25" fmla="*/ 53038 h 58099"/>
                    <a:gd name="connsiteX26" fmla="*/ 67203 w 70250"/>
                    <a:gd name="connsiteY26" fmla="*/ 58099 h 58099"/>
                    <a:gd name="connsiteX27" fmla="*/ 65108 w 70250"/>
                    <a:gd name="connsiteY27" fmla="*/ 55638 h 58099"/>
                    <a:gd name="connsiteX28" fmla="*/ 62802 w 70250"/>
                    <a:gd name="connsiteY28" fmla="*/ 53585 h 58099"/>
                    <a:gd name="connsiteX29" fmla="*/ 61416 w 70250"/>
                    <a:gd name="connsiteY29" fmla="*/ 52794 h 58099"/>
                    <a:gd name="connsiteX30" fmla="*/ 59982 w 70250"/>
                    <a:gd name="connsiteY30" fmla="*/ 52289 h 58099"/>
                    <a:gd name="connsiteX31" fmla="*/ 48980 w 70250"/>
                    <a:gd name="connsiteY31" fmla="*/ 52558 h 58099"/>
                    <a:gd name="connsiteX32" fmla="*/ 47749 w 70250"/>
                    <a:gd name="connsiteY32" fmla="*/ 52908 h 58099"/>
                    <a:gd name="connsiteX33" fmla="*/ 46788 w 70250"/>
                    <a:gd name="connsiteY33" fmla="*/ 53568 h 58099"/>
                    <a:gd name="connsiteX34" fmla="*/ 45761 w 70250"/>
                    <a:gd name="connsiteY34" fmla="*/ 53902 h 58099"/>
                    <a:gd name="connsiteX35" fmla="*/ 42737 w 70250"/>
                    <a:gd name="connsiteY35" fmla="*/ 54522 h 58099"/>
                    <a:gd name="connsiteX36" fmla="*/ 39722 w 70250"/>
                    <a:gd name="connsiteY36" fmla="*/ 54660 h 58099"/>
                    <a:gd name="connsiteX37" fmla="*/ 32689 w 70250"/>
                    <a:gd name="connsiteY37" fmla="*/ 53006 h 58099"/>
                    <a:gd name="connsiteX38" fmla="*/ 29910 w 70250"/>
                    <a:gd name="connsiteY38" fmla="*/ 52142 h 58099"/>
                    <a:gd name="connsiteX39" fmla="*/ 27106 w 70250"/>
                    <a:gd name="connsiteY39" fmla="*/ 51604 h 58099"/>
                    <a:gd name="connsiteX40" fmla="*/ 23895 w 70250"/>
                    <a:gd name="connsiteY40" fmla="*/ 51783 h 58099"/>
                    <a:gd name="connsiteX41" fmla="*/ 20692 w 70250"/>
                    <a:gd name="connsiteY41" fmla="*/ 52289 h 58099"/>
                    <a:gd name="connsiteX42" fmla="*/ 18133 w 70250"/>
                    <a:gd name="connsiteY42" fmla="*/ 53479 h 58099"/>
                    <a:gd name="connsiteX43" fmla="*/ 16210 w 70250"/>
                    <a:gd name="connsiteY43" fmla="*/ 55581 h 58099"/>
                    <a:gd name="connsiteX44" fmla="*/ 15851 w 70250"/>
                    <a:gd name="connsiteY44" fmla="*/ 57529 h 58099"/>
                    <a:gd name="connsiteX45" fmla="*/ 14718 w 70250"/>
                    <a:gd name="connsiteY45" fmla="*/ 58034 h 58099"/>
                    <a:gd name="connsiteX46" fmla="*/ 12127 w 70250"/>
                    <a:gd name="connsiteY46" fmla="*/ 54921 h 58099"/>
                    <a:gd name="connsiteX47" fmla="*/ 9747 w 70250"/>
                    <a:gd name="connsiteY47" fmla="*/ 52713 h 58099"/>
                    <a:gd name="connsiteX48" fmla="*/ 7041 w 70250"/>
                    <a:gd name="connsiteY48" fmla="*/ 51058 h 58099"/>
                    <a:gd name="connsiteX49" fmla="*/ 1467 w 70250"/>
                    <a:gd name="connsiteY49" fmla="*/ 48695 h 58099"/>
                    <a:gd name="connsiteX50" fmla="*/ 448 w 70250"/>
                    <a:gd name="connsiteY50" fmla="*/ 47252 h 58099"/>
                    <a:gd name="connsiteX51" fmla="*/ 0 w 70250"/>
                    <a:gd name="connsiteY51" fmla="*/ 45500 h 58099"/>
                    <a:gd name="connsiteX52" fmla="*/ 2249 w 70250"/>
                    <a:gd name="connsiteY52" fmla="*/ 40129 h 58099"/>
                    <a:gd name="connsiteX53" fmla="*/ 4800 w 70250"/>
                    <a:gd name="connsiteY53" fmla="*/ 39143 h 58099"/>
                    <a:gd name="connsiteX54" fmla="*/ 6210 w 70250"/>
                    <a:gd name="connsiteY54" fmla="*/ 38964 h 58099"/>
                    <a:gd name="connsiteX55" fmla="*/ 9364 w 70250"/>
                    <a:gd name="connsiteY55" fmla="*/ 39624 h 58099"/>
                    <a:gd name="connsiteX56" fmla="*/ 12445 w 70250"/>
                    <a:gd name="connsiteY56" fmla="*/ 40846 h 58099"/>
                    <a:gd name="connsiteX57" fmla="*/ 15265 w 70250"/>
                    <a:gd name="connsiteY57" fmla="*/ 41645 h 58099"/>
                    <a:gd name="connsiteX58" fmla="*/ 19617 w 70250"/>
                    <a:gd name="connsiteY58" fmla="*/ 41955 h 58099"/>
                    <a:gd name="connsiteX59" fmla="*/ 21988 w 70250"/>
                    <a:gd name="connsiteY59" fmla="*/ 43275 h 58099"/>
                    <a:gd name="connsiteX60" fmla="*/ 38711 w 70250"/>
                    <a:gd name="connsiteY60" fmla="*/ 45329 h 58099"/>
                    <a:gd name="connsiteX61" fmla="*/ 41882 w 70250"/>
                    <a:gd name="connsiteY61" fmla="*/ 45973 h 58099"/>
                    <a:gd name="connsiteX62" fmla="*/ 43120 w 70250"/>
                    <a:gd name="connsiteY62" fmla="*/ 45753 h 58099"/>
                    <a:gd name="connsiteX63" fmla="*/ 44196 w 70250"/>
                    <a:gd name="connsiteY63" fmla="*/ 44946 h 58099"/>
                    <a:gd name="connsiteX64" fmla="*/ 45093 w 70250"/>
                    <a:gd name="connsiteY64" fmla="*/ 43495 h 58099"/>
                    <a:gd name="connsiteX65" fmla="*/ 46128 w 70250"/>
                    <a:gd name="connsiteY65" fmla="*/ 42411 h 58099"/>
                    <a:gd name="connsiteX66" fmla="*/ 51083 w 70250"/>
                    <a:gd name="connsiteY66" fmla="*/ 42167 h 58099"/>
                    <a:gd name="connsiteX67" fmla="*/ 52118 w 70250"/>
                    <a:gd name="connsiteY67" fmla="*/ 41678 h 58099"/>
                    <a:gd name="connsiteX68" fmla="*/ 52843 w 70250"/>
                    <a:gd name="connsiteY68" fmla="*/ 40162 h 58099"/>
                    <a:gd name="connsiteX69" fmla="*/ 52827 w 70250"/>
                    <a:gd name="connsiteY69" fmla="*/ 38597 h 58099"/>
                    <a:gd name="connsiteX70" fmla="*/ 49909 w 70250"/>
                    <a:gd name="connsiteY70" fmla="*/ 36487 h 58099"/>
                    <a:gd name="connsiteX71" fmla="*/ 45345 w 70250"/>
                    <a:gd name="connsiteY71" fmla="*/ 31849 h 58099"/>
                    <a:gd name="connsiteX72" fmla="*/ 41327 w 70250"/>
                    <a:gd name="connsiteY72" fmla="*/ 26389 h 58099"/>
                    <a:gd name="connsiteX73" fmla="*/ 43063 w 70250"/>
                    <a:gd name="connsiteY73" fmla="*/ 24555 h 58099"/>
                    <a:gd name="connsiteX74" fmla="*/ 42395 w 70250"/>
                    <a:gd name="connsiteY74" fmla="*/ 21181 h 58099"/>
                    <a:gd name="connsiteX75" fmla="*/ 43047 w 70250"/>
                    <a:gd name="connsiteY75" fmla="*/ 18068 h 58099"/>
                    <a:gd name="connsiteX76" fmla="*/ 44001 w 70250"/>
                    <a:gd name="connsiteY76" fmla="*/ 15012 h 58099"/>
                    <a:gd name="connsiteX77" fmla="*/ 40032 w 70250"/>
                    <a:gd name="connsiteY77" fmla="*/ 12396 h 58099"/>
                    <a:gd name="connsiteX78" fmla="*/ 35337 w 70250"/>
                    <a:gd name="connsiteY78" fmla="*/ 9780 h 58099"/>
                    <a:gd name="connsiteX79" fmla="*/ 28818 w 70250"/>
                    <a:gd name="connsiteY79" fmla="*/ 8965 h 58099"/>
                    <a:gd name="connsiteX80" fmla="*/ 26813 w 70250"/>
                    <a:gd name="connsiteY80" fmla="*/ 8305 h 58099"/>
                    <a:gd name="connsiteX81" fmla="*/ 25770 w 70250"/>
                    <a:gd name="connsiteY81" fmla="*/ 6349 h 58099"/>
                    <a:gd name="connsiteX82" fmla="*/ 26707 w 70250"/>
                    <a:gd name="connsiteY82" fmla="*/ 3716 h 58099"/>
                    <a:gd name="connsiteX83" fmla="*/ 28826 w 70250"/>
                    <a:gd name="connsiteY83" fmla="*/ 2266 h 58099"/>
                    <a:gd name="connsiteX84" fmla="*/ 31246 w 70250"/>
                    <a:gd name="connsiteY84" fmla="*/ 1369 h 58099"/>
                    <a:gd name="connsiteX85" fmla="*/ 33724 w 70250"/>
                    <a:gd name="connsiteY85" fmla="*/ 750 h 58099"/>
                    <a:gd name="connsiteX86" fmla="*/ 39706 w 70250"/>
                    <a:gd name="connsiteY86" fmla="*/ 0 h 58099"/>
                    <a:gd name="connsiteX87" fmla="*/ 45647 w 70250"/>
                    <a:gd name="connsiteY87" fmla="*/ 839 h 58099"/>
                    <a:gd name="connsiteX88" fmla="*/ 50781 w 70250"/>
                    <a:gd name="connsiteY88" fmla="*/ 3545 h 58099"/>
                    <a:gd name="connsiteX89" fmla="*/ 55997 w 70250"/>
                    <a:gd name="connsiteY89" fmla="*/ 5664 h 58099"/>
                    <a:gd name="connsiteX90" fmla="*/ 62582 w 70250"/>
                    <a:gd name="connsiteY90" fmla="*/ 6332 h 58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0250" h="58099">
                      <a:moveTo>
                        <a:pt x="62582" y="6332"/>
                      </a:moveTo>
                      <a:lnTo>
                        <a:pt x="65548" y="7098"/>
                      </a:lnTo>
                      <a:lnTo>
                        <a:pt x="66917" y="6430"/>
                      </a:lnTo>
                      <a:lnTo>
                        <a:pt x="67464" y="7359"/>
                      </a:lnTo>
                      <a:lnTo>
                        <a:pt x="68604" y="13578"/>
                      </a:lnTo>
                      <a:lnTo>
                        <a:pt x="68719" y="15566"/>
                      </a:lnTo>
                      <a:lnTo>
                        <a:pt x="67570" y="18573"/>
                      </a:lnTo>
                      <a:lnTo>
                        <a:pt x="67732" y="19763"/>
                      </a:lnTo>
                      <a:lnTo>
                        <a:pt x="70202" y="22526"/>
                      </a:lnTo>
                      <a:lnTo>
                        <a:pt x="70251" y="23528"/>
                      </a:lnTo>
                      <a:lnTo>
                        <a:pt x="69957" y="24539"/>
                      </a:lnTo>
                      <a:lnTo>
                        <a:pt x="67847" y="27155"/>
                      </a:lnTo>
                      <a:lnTo>
                        <a:pt x="66241" y="28964"/>
                      </a:lnTo>
                      <a:lnTo>
                        <a:pt x="66746" y="31018"/>
                      </a:lnTo>
                      <a:lnTo>
                        <a:pt x="68059" y="32982"/>
                      </a:lnTo>
                      <a:lnTo>
                        <a:pt x="68230" y="34620"/>
                      </a:lnTo>
                      <a:lnTo>
                        <a:pt x="67822" y="36780"/>
                      </a:lnTo>
                      <a:lnTo>
                        <a:pt x="65817" y="39469"/>
                      </a:lnTo>
                      <a:lnTo>
                        <a:pt x="64766" y="40439"/>
                      </a:lnTo>
                      <a:lnTo>
                        <a:pt x="61783" y="40553"/>
                      </a:lnTo>
                      <a:lnTo>
                        <a:pt x="61449" y="40936"/>
                      </a:lnTo>
                      <a:lnTo>
                        <a:pt x="62941" y="43560"/>
                      </a:lnTo>
                      <a:lnTo>
                        <a:pt x="64619" y="46527"/>
                      </a:lnTo>
                      <a:lnTo>
                        <a:pt x="67366" y="48825"/>
                      </a:lnTo>
                      <a:lnTo>
                        <a:pt x="67977" y="50993"/>
                      </a:lnTo>
                      <a:lnTo>
                        <a:pt x="67317" y="53038"/>
                      </a:lnTo>
                      <a:lnTo>
                        <a:pt x="67203" y="58099"/>
                      </a:lnTo>
                      <a:lnTo>
                        <a:pt x="65108" y="55638"/>
                      </a:lnTo>
                      <a:lnTo>
                        <a:pt x="62802" y="53585"/>
                      </a:lnTo>
                      <a:lnTo>
                        <a:pt x="61416" y="52794"/>
                      </a:lnTo>
                      <a:lnTo>
                        <a:pt x="59982" y="52289"/>
                      </a:lnTo>
                      <a:lnTo>
                        <a:pt x="48980" y="52558"/>
                      </a:lnTo>
                      <a:lnTo>
                        <a:pt x="47749" y="52908"/>
                      </a:lnTo>
                      <a:lnTo>
                        <a:pt x="46788" y="53568"/>
                      </a:lnTo>
                      <a:lnTo>
                        <a:pt x="45761" y="53902"/>
                      </a:lnTo>
                      <a:lnTo>
                        <a:pt x="42737" y="54522"/>
                      </a:lnTo>
                      <a:lnTo>
                        <a:pt x="39722" y="54660"/>
                      </a:lnTo>
                      <a:lnTo>
                        <a:pt x="32689" y="53006"/>
                      </a:lnTo>
                      <a:lnTo>
                        <a:pt x="29910" y="52142"/>
                      </a:lnTo>
                      <a:lnTo>
                        <a:pt x="27106" y="51604"/>
                      </a:lnTo>
                      <a:lnTo>
                        <a:pt x="23895" y="51783"/>
                      </a:lnTo>
                      <a:lnTo>
                        <a:pt x="20692" y="52289"/>
                      </a:lnTo>
                      <a:lnTo>
                        <a:pt x="18133" y="53479"/>
                      </a:lnTo>
                      <a:lnTo>
                        <a:pt x="16210" y="55581"/>
                      </a:lnTo>
                      <a:lnTo>
                        <a:pt x="15851" y="57529"/>
                      </a:lnTo>
                      <a:lnTo>
                        <a:pt x="14718" y="58034"/>
                      </a:lnTo>
                      <a:lnTo>
                        <a:pt x="12127" y="54921"/>
                      </a:lnTo>
                      <a:lnTo>
                        <a:pt x="9747" y="52713"/>
                      </a:lnTo>
                      <a:lnTo>
                        <a:pt x="7041" y="51058"/>
                      </a:lnTo>
                      <a:lnTo>
                        <a:pt x="1467" y="48695"/>
                      </a:lnTo>
                      <a:lnTo>
                        <a:pt x="448" y="47252"/>
                      </a:lnTo>
                      <a:lnTo>
                        <a:pt x="0" y="45500"/>
                      </a:lnTo>
                      <a:lnTo>
                        <a:pt x="2249" y="40129"/>
                      </a:lnTo>
                      <a:lnTo>
                        <a:pt x="4800" y="39143"/>
                      </a:lnTo>
                      <a:lnTo>
                        <a:pt x="6210" y="38964"/>
                      </a:lnTo>
                      <a:lnTo>
                        <a:pt x="9364" y="39624"/>
                      </a:lnTo>
                      <a:lnTo>
                        <a:pt x="12445" y="40846"/>
                      </a:lnTo>
                      <a:lnTo>
                        <a:pt x="15265" y="41645"/>
                      </a:lnTo>
                      <a:lnTo>
                        <a:pt x="19617" y="41955"/>
                      </a:lnTo>
                      <a:lnTo>
                        <a:pt x="21988" y="43275"/>
                      </a:lnTo>
                      <a:lnTo>
                        <a:pt x="38711" y="45329"/>
                      </a:lnTo>
                      <a:lnTo>
                        <a:pt x="41882" y="45973"/>
                      </a:lnTo>
                      <a:lnTo>
                        <a:pt x="43120" y="45753"/>
                      </a:lnTo>
                      <a:lnTo>
                        <a:pt x="44196" y="44946"/>
                      </a:lnTo>
                      <a:lnTo>
                        <a:pt x="45093" y="43495"/>
                      </a:lnTo>
                      <a:lnTo>
                        <a:pt x="46128" y="42411"/>
                      </a:lnTo>
                      <a:lnTo>
                        <a:pt x="51083" y="42167"/>
                      </a:lnTo>
                      <a:lnTo>
                        <a:pt x="52118" y="41678"/>
                      </a:lnTo>
                      <a:lnTo>
                        <a:pt x="52843" y="40162"/>
                      </a:lnTo>
                      <a:lnTo>
                        <a:pt x="52827" y="38597"/>
                      </a:lnTo>
                      <a:lnTo>
                        <a:pt x="49909" y="36487"/>
                      </a:lnTo>
                      <a:lnTo>
                        <a:pt x="45345" y="31849"/>
                      </a:lnTo>
                      <a:lnTo>
                        <a:pt x="41327" y="26389"/>
                      </a:lnTo>
                      <a:lnTo>
                        <a:pt x="43063" y="24555"/>
                      </a:lnTo>
                      <a:lnTo>
                        <a:pt x="42395" y="21181"/>
                      </a:lnTo>
                      <a:lnTo>
                        <a:pt x="43047" y="18068"/>
                      </a:lnTo>
                      <a:lnTo>
                        <a:pt x="44001" y="15012"/>
                      </a:lnTo>
                      <a:lnTo>
                        <a:pt x="40032" y="12396"/>
                      </a:lnTo>
                      <a:lnTo>
                        <a:pt x="35337" y="9780"/>
                      </a:lnTo>
                      <a:lnTo>
                        <a:pt x="28818" y="8965"/>
                      </a:lnTo>
                      <a:lnTo>
                        <a:pt x="26813" y="8305"/>
                      </a:lnTo>
                      <a:lnTo>
                        <a:pt x="25770" y="6349"/>
                      </a:lnTo>
                      <a:lnTo>
                        <a:pt x="26707" y="3716"/>
                      </a:lnTo>
                      <a:lnTo>
                        <a:pt x="28826" y="2266"/>
                      </a:lnTo>
                      <a:lnTo>
                        <a:pt x="31246" y="1369"/>
                      </a:lnTo>
                      <a:lnTo>
                        <a:pt x="33724" y="750"/>
                      </a:lnTo>
                      <a:lnTo>
                        <a:pt x="39706" y="0"/>
                      </a:lnTo>
                      <a:lnTo>
                        <a:pt x="45647" y="839"/>
                      </a:lnTo>
                      <a:lnTo>
                        <a:pt x="50781" y="3545"/>
                      </a:lnTo>
                      <a:lnTo>
                        <a:pt x="55997" y="5664"/>
                      </a:lnTo>
                      <a:lnTo>
                        <a:pt x="62582" y="6332"/>
                      </a:lnTo>
                      <a:close/>
                    </a:path>
                  </a:pathLst>
                </a:custGeom>
                <a:solidFill>
                  <a:srgbClr val="D6D6D2"/>
                </a:solidFill>
                <a:ln w="8150" cap="flat">
                  <a:noFill/>
                  <a:prstDash val="solid"/>
                  <a:miter/>
                </a:ln>
              </p:spPr>
              <p:txBody>
                <a:bodyPr rtlCol="0" anchor="ctr"/>
                <a:lstStyle/>
                <a:p>
                  <a:endParaRPr lang="en-US"/>
                </a:p>
              </p:txBody>
            </p:sp>
            <p:sp>
              <p:nvSpPr>
                <p:cNvPr id="717" name="Freeform: Shape 716">
                  <a:extLst>
                    <a:ext uri="{FF2B5EF4-FFF2-40B4-BE49-F238E27FC236}">
                      <a16:creationId xmlns:a16="http://schemas.microsoft.com/office/drawing/2014/main" id="{1E50518B-8F4E-4D13-AD84-F0D8B507C95E}"/>
                    </a:ext>
                  </a:extLst>
                </p:cNvPr>
                <p:cNvSpPr/>
                <p:nvPr/>
              </p:nvSpPr>
              <p:spPr>
                <a:xfrm>
                  <a:off x="6278887" y="3049297"/>
                  <a:ext cx="145937" cy="125929"/>
                </a:xfrm>
                <a:custGeom>
                  <a:avLst/>
                  <a:gdLst>
                    <a:gd name="connsiteX0" fmla="*/ 80128 w 145937"/>
                    <a:gd name="connsiteY0" fmla="*/ 4205 h 125929"/>
                    <a:gd name="connsiteX1" fmla="*/ 83185 w 145937"/>
                    <a:gd name="connsiteY1" fmla="*/ 6927 h 125929"/>
                    <a:gd name="connsiteX2" fmla="*/ 84888 w 145937"/>
                    <a:gd name="connsiteY2" fmla="*/ 9959 h 125929"/>
                    <a:gd name="connsiteX3" fmla="*/ 87186 w 145937"/>
                    <a:gd name="connsiteY3" fmla="*/ 12314 h 125929"/>
                    <a:gd name="connsiteX4" fmla="*/ 90087 w 145937"/>
                    <a:gd name="connsiteY4" fmla="*/ 13969 h 125929"/>
                    <a:gd name="connsiteX5" fmla="*/ 92377 w 145937"/>
                    <a:gd name="connsiteY5" fmla="*/ 16226 h 125929"/>
                    <a:gd name="connsiteX6" fmla="*/ 94073 w 145937"/>
                    <a:gd name="connsiteY6" fmla="*/ 19070 h 125929"/>
                    <a:gd name="connsiteX7" fmla="*/ 96444 w 145937"/>
                    <a:gd name="connsiteY7" fmla="*/ 20668 h 125929"/>
                    <a:gd name="connsiteX8" fmla="*/ 99500 w 145937"/>
                    <a:gd name="connsiteY8" fmla="*/ 21010 h 125929"/>
                    <a:gd name="connsiteX9" fmla="*/ 101423 w 145937"/>
                    <a:gd name="connsiteY9" fmla="*/ 21980 h 125929"/>
                    <a:gd name="connsiteX10" fmla="*/ 102239 w 145937"/>
                    <a:gd name="connsiteY10" fmla="*/ 23577 h 125929"/>
                    <a:gd name="connsiteX11" fmla="*/ 103893 w 145937"/>
                    <a:gd name="connsiteY11" fmla="*/ 25036 h 125929"/>
                    <a:gd name="connsiteX12" fmla="*/ 106387 w 145937"/>
                    <a:gd name="connsiteY12" fmla="*/ 26340 h 125929"/>
                    <a:gd name="connsiteX13" fmla="*/ 110274 w 145937"/>
                    <a:gd name="connsiteY13" fmla="*/ 27041 h 125929"/>
                    <a:gd name="connsiteX14" fmla="*/ 117723 w 145937"/>
                    <a:gd name="connsiteY14" fmla="*/ 27212 h 125929"/>
                    <a:gd name="connsiteX15" fmla="*/ 118383 w 145937"/>
                    <a:gd name="connsiteY15" fmla="*/ 27245 h 125929"/>
                    <a:gd name="connsiteX16" fmla="*/ 120062 w 145937"/>
                    <a:gd name="connsiteY16" fmla="*/ 27644 h 125929"/>
                    <a:gd name="connsiteX17" fmla="*/ 122018 w 145937"/>
                    <a:gd name="connsiteY17" fmla="*/ 27139 h 125929"/>
                    <a:gd name="connsiteX18" fmla="*/ 124414 w 145937"/>
                    <a:gd name="connsiteY18" fmla="*/ 26120 h 125929"/>
                    <a:gd name="connsiteX19" fmla="*/ 125180 w 145937"/>
                    <a:gd name="connsiteY19" fmla="*/ 25509 h 125929"/>
                    <a:gd name="connsiteX20" fmla="*/ 127698 w 145937"/>
                    <a:gd name="connsiteY20" fmla="*/ 22184 h 125929"/>
                    <a:gd name="connsiteX21" fmla="*/ 129084 w 145937"/>
                    <a:gd name="connsiteY21" fmla="*/ 22477 h 125929"/>
                    <a:gd name="connsiteX22" fmla="*/ 131847 w 145937"/>
                    <a:gd name="connsiteY22" fmla="*/ 22070 h 125929"/>
                    <a:gd name="connsiteX23" fmla="*/ 133509 w 145937"/>
                    <a:gd name="connsiteY23" fmla="*/ 21336 h 125929"/>
                    <a:gd name="connsiteX24" fmla="*/ 133631 w 145937"/>
                    <a:gd name="connsiteY24" fmla="*/ 21336 h 125929"/>
                    <a:gd name="connsiteX25" fmla="*/ 133533 w 145937"/>
                    <a:gd name="connsiteY25" fmla="*/ 22184 h 125929"/>
                    <a:gd name="connsiteX26" fmla="*/ 133346 w 145937"/>
                    <a:gd name="connsiteY26" fmla="*/ 23675 h 125929"/>
                    <a:gd name="connsiteX27" fmla="*/ 131993 w 145937"/>
                    <a:gd name="connsiteY27" fmla="*/ 24726 h 125929"/>
                    <a:gd name="connsiteX28" fmla="*/ 133379 w 145937"/>
                    <a:gd name="connsiteY28" fmla="*/ 27147 h 125929"/>
                    <a:gd name="connsiteX29" fmla="*/ 134682 w 145937"/>
                    <a:gd name="connsiteY29" fmla="*/ 31067 h 125929"/>
                    <a:gd name="connsiteX30" fmla="*/ 133949 w 145937"/>
                    <a:gd name="connsiteY30" fmla="*/ 33006 h 125929"/>
                    <a:gd name="connsiteX31" fmla="*/ 134838 w 145937"/>
                    <a:gd name="connsiteY31" fmla="*/ 34514 h 125929"/>
                    <a:gd name="connsiteX32" fmla="*/ 137356 w 145937"/>
                    <a:gd name="connsiteY32" fmla="*/ 35598 h 125929"/>
                    <a:gd name="connsiteX33" fmla="*/ 137576 w 145937"/>
                    <a:gd name="connsiteY33" fmla="*/ 36030 h 125929"/>
                    <a:gd name="connsiteX34" fmla="*/ 136802 w 145937"/>
                    <a:gd name="connsiteY34" fmla="*/ 36486 h 125929"/>
                    <a:gd name="connsiteX35" fmla="*/ 136166 w 145937"/>
                    <a:gd name="connsiteY35" fmla="*/ 37766 h 125929"/>
                    <a:gd name="connsiteX36" fmla="*/ 136093 w 145937"/>
                    <a:gd name="connsiteY36" fmla="*/ 40105 h 125929"/>
                    <a:gd name="connsiteX37" fmla="*/ 138293 w 145937"/>
                    <a:gd name="connsiteY37" fmla="*/ 42305 h 125929"/>
                    <a:gd name="connsiteX38" fmla="*/ 142759 w 145937"/>
                    <a:gd name="connsiteY38" fmla="*/ 44375 h 125929"/>
                    <a:gd name="connsiteX39" fmla="*/ 144177 w 145937"/>
                    <a:gd name="connsiteY39" fmla="*/ 44726 h 125929"/>
                    <a:gd name="connsiteX40" fmla="*/ 144715 w 145937"/>
                    <a:gd name="connsiteY40" fmla="*/ 45524 h 125929"/>
                    <a:gd name="connsiteX41" fmla="*/ 145473 w 145937"/>
                    <a:gd name="connsiteY41" fmla="*/ 46038 h 125929"/>
                    <a:gd name="connsiteX42" fmla="*/ 145913 w 145937"/>
                    <a:gd name="connsiteY42" fmla="*/ 46682 h 125929"/>
                    <a:gd name="connsiteX43" fmla="*/ 145938 w 145937"/>
                    <a:gd name="connsiteY43" fmla="*/ 47497 h 125929"/>
                    <a:gd name="connsiteX44" fmla="*/ 145611 w 145937"/>
                    <a:gd name="connsiteY44" fmla="*/ 48067 h 125929"/>
                    <a:gd name="connsiteX45" fmla="*/ 143501 w 145937"/>
                    <a:gd name="connsiteY45" fmla="*/ 48263 h 125929"/>
                    <a:gd name="connsiteX46" fmla="*/ 141088 w 145937"/>
                    <a:gd name="connsiteY46" fmla="*/ 48246 h 125929"/>
                    <a:gd name="connsiteX47" fmla="*/ 139377 w 145937"/>
                    <a:gd name="connsiteY47" fmla="*/ 47244 h 125929"/>
                    <a:gd name="connsiteX48" fmla="*/ 139222 w 145937"/>
                    <a:gd name="connsiteY48" fmla="*/ 47969 h 125929"/>
                    <a:gd name="connsiteX49" fmla="*/ 139198 w 145937"/>
                    <a:gd name="connsiteY49" fmla="*/ 48809 h 125929"/>
                    <a:gd name="connsiteX50" fmla="*/ 137543 w 145937"/>
                    <a:gd name="connsiteY50" fmla="*/ 49314 h 125929"/>
                    <a:gd name="connsiteX51" fmla="*/ 138464 w 145937"/>
                    <a:gd name="connsiteY51" fmla="*/ 55051 h 125929"/>
                    <a:gd name="connsiteX52" fmla="*/ 138089 w 145937"/>
                    <a:gd name="connsiteY52" fmla="*/ 56698 h 125929"/>
                    <a:gd name="connsiteX53" fmla="*/ 137478 w 145937"/>
                    <a:gd name="connsiteY53" fmla="*/ 57252 h 125929"/>
                    <a:gd name="connsiteX54" fmla="*/ 136916 w 145937"/>
                    <a:gd name="connsiteY54" fmla="*/ 57016 h 125929"/>
                    <a:gd name="connsiteX55" fmla="*/ 136223 w 145937"/>
                    <a:gd name="connsiteY55" fmla="*/ 56958 h 125929"/>
                    <a:gd name="connsiteX56" fmla="*/ 135872 w 145937"/>
                    <a:gd name="connsiteY56" fmla="*/ 57496 h 125929"/>
                    <a:gd name="connsiteX57" fmla="*/ 136166 w 145937"/>
                    <a:gd name="connsiteY57" fmla="*/ 58719 h 125929"/>
                    <a:gd name="connsiteX58" fmla="*/ 134528 w 145937"/>
                    <a:gd name="connsiteY58" fmla="*/ 58857 h 125929"/>
                    <a:gd name="connsiteX59" fmla="*/ 131928 w 145937"/>
                    <a:gd name="connsiteY59" fmla="*/ 58222 h 125929"/>
                    <a:gd name="connsiteX60" fmla="*/ 130738 w 145937"/>
                    <a:gd name="connsiteY60" fmla="*/ 57113 h 125929"/>
                    <a:gd name="connsiteX61" fmla="*/ 130535 w 145937"/>
                    <a:gd name="connsiteY61" fmla="*/ 55981 h 125929"/>
                    <a:gd name="connsiteX62" fmla="*/ 130510 w 145937"/>
                    <a:gd name="connsiteY62" fmla="*/ 54921 h 125929"/>
                    <a:gd name="connsiteX63" fmla="*/ 129687 w 145937"/>
                    <a:gd name="connsiteY63" fmla="*/ 53201 h 125929"/>
                    <a:gd name="connsiteX64" fmla="*/ 127617 w 145937"/>
                    <a:gd name="connsiteY64" fmla="*/ 51417 h 125929"/>
                    <a:gd name="connsiteX65" fmla="*/ 123289 w 145937"/>
                    <a:gd name="connsiteY65" fmla="*/ 51123 h 125929"/>
                    <a:gd name="connsiteX66" fmla="*/ 121692 w 145937"/>
                    <a:gd name="connsiteY66" fmla="*/ 50553 h 125929"/>
                    <a:gd name="connsiteX67" fmla="*/ 120046 w 145937"/>
                    <a:gd name="connsiteY67" fmla="*/ 49909 h 125929"/>
                    <a:gd name="connsiteX68" fmla="*/ 118253 w 145937"/>
                    <a:gd name="connsiteY68" fmla="*/ 49420 h 125929"/>
                    <a:gd name="connsiteX69" fmla="*/ 116590 w 145937"/>
                    <a:gd name="connsiteY69" fmla="*/ 49469 h 125929"/>
                    <a:gd name="connsiteX70" fmla="*/ 114585 w 145937"/>
                    <a:gd name="connsiteY70" fmla="*/ 49950 h 125929"/>
                    <a:gd name="connsiteX71" fmla="*/ 111089 w 145937"/>
                    <a:gd name="connsiteY71" fmla="*/ 49159 h 125929"/>
                    <a:gd name="connsiteX72" fmla="*/ 109907 w 145937"/>
                    <a:gd name="connsiteY72" fmla="*/ 50211 h 125929"/>
                    <a:gd name="connsiteX73" fmla="*/ 108066 w 145937"/>
                    <a:gd name="connsiteY73" fmla="*/ 51425 h 125929"/>
                    <a:gd name="connsiteX74" fmla="*/ 106533 w 145937"/>
                    <a:gd name="connsiteY74" fmla="*/ 51392 h 125929"/>
                    <a:gd name="connsiteX75" fmla="*/ 103485 w 145937"/>
                    <a:gd name="connsiteY75" fmla="*/ 48572 h 125929"/>
                    <a:gd name="connsiteX76" fmla="*/ 102589 w 145937"/>
                    <a:gd name="connsiteY76" fmla="*/ 48393 h 125929"/>
                    <a:gd name="connsiteX77" fmla="*/ 99932 w 145937"/>
                    <a:gd name="connsiteY77" fmla="*/ 49827 h 125929"/>
                    <a:gd name="connsiteX78" fmla="*/ 98848 w 145937"/>
                    <a:gd name="connsiteY78" fmla="*/ 49909 h 125929"/>
                    <a:gd name="connsiteX79" fmla="*/ 98017 w 145937"/>
                    <a:gd name="connsiteY79" fmla="*/ 49453 h 125929"/>
                    <a:gd name="connsiteX80" fmla="*/ 94415 w 145937"/>
                    <a:gd name="connsiteY80" fmla="*/ 48377 h 125929"/>
                    <a:gd name="connsiteX81" fmla="*/ 92793 w 145937"/>
                    <a:gd name="connsiteY81" fmla="*/ 48149 h 125929"/>
                    <a:gd name="connsiteX82" fmla="*/ 91603 w 145937"/>
                    <a:gd name="connsiteY82" fmla="*/ 48654 h 125929"/>
                    <a:gd name="connsiteX83" fmla="*/ 89492 w 145937"/>
                    <a:gd name="connsiteY83" fmla="*/ 48100 h 125929"/>
                    <a:gd name="connsiteX84" fmla="*/ 84366 w 145937"/>
                    <a:gd name="connsiteY84" fmla="*/ 44416 h 125929"/>
                    <a:gd name="connsiteX85" fmla="*/ 81188 w 145937"/>
                    <a:gd name="connsiteY85" fmla="*/ 47211 h 125929"/>
                    <a:gd name="connsiteX86" fmla="*/ 74733 w 145937"/>
                    <a:gd name="connsiteY86" fmla="*/ 46519 h 125929"/>
                    <a:gd name="connsiteX87" fmla="*/ 72826 w 145937"/>
                    <a:gd name="connsiteY87" fmla="*/ 48434 h 125929"/>
                    <a:gd name="connsiteX88" fmla="*/ 70626 w 145937"/>
                    <a:gd name="connsiteY88" fmla="*/ 52077 h 125929"/>
                    <a:gd name="connsiteX89" fmla="*/ 68849 w 145937"/>
                    <a:gd name="connsiteY89" fmla="*/ 53813 h 125929"/>
                    <a:gd name="connsiteX90" fmla="*/ 67309 w 145937"/>
                    <a:gd name="connsiteY90" fmla="*/ 53185 h 125929"/>
                    <a:gd name="connsiteX91" fmla="*/ 65475 w 145937"/>
                    <a:gd name="connsiteY91" fmla="*/ 51588 h 125929"/>
                    <a:gd name="connsiteX92" fmla="*/ 62280 w 145937"/>
                    <a:gd name="connsiteY92" fmla="*/ 47472 h 125929"/>
                    <a:gd name="connsiteX93" fmla="*/ 60650 w 145937"/>
                    <a:gd name="connsiteY93" fmla="*/ 46722 h 125929"/>
                    <a:gd name="connsiteX94" fmla="*/ 58801 w 145937"/>
                    <a:gd name="connsiteY94" fmla="*/ 46551 h 125929"/>
                    <a:gd name="connsiteX95" fmla="*/ 57178 w 145937"/>
                    <a:gd name="connsiteY95" fmla="*/ 47008 h 125929"/>
                    <a:gd name="connsiteX96" fmla="*/ 56323 w 145937"/>
                    <a:gd name="connsiteY96" fmla="*/ 47847 h 125929"/>
                    <a:gd name="connsiteX97" fmla="*/ 55663 w 145937"/>
                    <a:gd name="connsiteY97" fmla="*/ 53870 h 125929"/>
                    <a:gd name="connsiteX98" fmla="*/ 55084 w 145937"/>
                    <a:gd name="connsiteY98" fmla="*/ 59167 h 125929"/>
                    <a:gd name="connsiteX99" fmla="*/ 55044 w 145937"/>
                    <a:gd name="connsiteY99" fmla="*/ 62337 h 125929"/>
                    <a:gd name="connsiteX100" fmla="*/ 58605 w 145937"/>
                    <a:gd name="connsiteY100" fmla="*/ 65271 h 125929"/>
                    <a:gd name="connsiteX101" fmla="*/ 62802 w 145937"/>
                    <a:gd name="connsiteY101" fmla="*/ 70324 h 125929"/>
                    <a:gd name="connsiteX102" fmla="*/ 64147 w 145937"/>
                    <a:gd name="connsiteY102" fmla="*/ 70903 h 125929"/>
                    <a:gd name="connsiteX103" fmla="*/ 64815 w 145937"/>
                    <a:gd name="connsiteY103" fmla="*/ 72557 h 125929"/>
                    <a:gd name="connsiteX104" fmla="*/ 65785 w 145937"/>
                    <a:gd name="connsiteY104" fmla="*/ 76811 h 125929"/>
                    <a:gd name="connsiteX105" fmla="*/ 66902 w 145937"/>
                    <a:gd name="connsiteY105" fmla="*/ 81587 h 125929"/>
                    <a:gd name="connsiteX106" fmla="*/ 69028 w 145937"/>
                    <a:gd name="connsiteY106" fmla="*/ 84749 h 125929"/>
                    <a:gd name="connsiteX107" fmla="*/ 70944 w 145937"/>
                    <a:gd name="connsiteY107" fmla="*/ 87007 h 125929"/>
                    <a:gd name="connsiteX108" fmla="*/ 73291 w 145937"/>
                    <a:gd name="connsiteY108" fmla="*/ 88995 h 125929"/>
                    <a:gd name="connsiteX109" fmla="*/ 76225 w 145937"/>
                    <a:gd name="connsiteY109" fmla="*/ 92108 h 125929"/>
                    <a:gd name="connsiteX110" fmla="*/ 78637 w 145937"/>
                    <a:gd name="connsiteY110" fmla="*/ 95515 h 125929"/>
                    <a:gd name="connsiteX111" fmla="*/ 79281 w 145937"/>
                    <a:gd name="connsiteY111" fmla="*/ 96778 h 125929"/>
                    <a:gd name="connsiteX112" fmla="*/ 83951 w 145937"/>
                    <a:gd name="connsiteY112" fmla="*/ 101285 h 125929"/>
                    <a:gd name="connsiteX113" fmla="*/ 88482 w 145937"/>
                    <a:gd name="connsiteY113" fmla="*/ 105881 h 125929"/>
                    <a:gd name="connsiteX114" fmla="*/ 92541 w 145937"/>
                    <a:gd name="connsiteY114" fmla="*/ 107495 h 125929"/>
                    <a:gd name="connsiteX115" fmla="*/ 93176 w 145937"/>
                    <a:gd name="connsiteY115" fmla="*/ 108343 h 125929"/>
                    <a:gd name="connsiteX116" fmla="*/ 93209 w 145937"/>
                    <a:gd name="connsiteY116" fmla="*/ 111888 h 125929"/>
                    <a:gd name="connsiteX117" fmla="*/ 93649 w 145937"/>
                    <a:gd name="connsiteY117" fmla="*/ 113208 h 125929"/>
                    <a:gd name="connsiteX118" fmla="*/ 96371 w 145937"/>
                    <a:gd name="connsiteY118" fmla="*/ 116908 h 125929"/>
                    <a:gd name="connsiteX119" fmla="*/ 101880 w 145937"/>
                    <a:gd name="connsiteY119" fmla="*/ 122319 h 125929"/>
                    <a:gd name="connsiteX120" fmla="*/ 102516 w 145937"/>
                    <a:gd name="connsiteY120" fmla="*/ 123574 h 125929"/>
                    <a:gd name="connsiteX121" fmla="*/ 102695 w 145937"/>
                    <a:gd name="connsiteY121" fmla="*/ 124487 h 125929"/>
                    <a:gd name="connsiteX122" fmla="*/ 102336 w 145937"/>
                    <a:gd name="connsiteY122" fmla="*/ 125188 h 125929"/>
                    <a:gd name="connsiteX123" fmla="*/ 100886 w 145937"/>
                    <a:gd name="connsiteY123" fmla="*/ 125930 h 125929"/>
                    <a:gd name="connsiteX124" fmla="*/ 99696 w 145937"/>
                    <a:gd name="connsiteY124" fmla="*/ 125098 h 125929"/>
                    <a:gd name="connsiteX125" fmla="*/ 94554 w 145937"/>
                    <a:gd name="connsiteY125" fmla="*/ 119826 h 125929"/>
                    <a:gd name="connsiteX126" fmla="*/ 89582 w 145937"/>
                    <a:gd name="connsiteY126" fmla="*/ 116492 h 125929"/>
                    <a:gd name="connsiteX127" fmla="*/ 83975 w 145937"/>
                    <a:gd name="connsiteY127" fmla="*/ 110209 h 125929"/>
                    <a:gd name="connsiteX128" fmla="*/ 76469 w 145937"/>
                    <a:gd name="connsiteY128" fmla="*/ 107723 h 125929"/>
                    <a:gd name="connsiteX129" fmla="*/ 71351 w 145937"/>
                    <a:gd name="connsiteY129" fmla="*/ 104977 h 125929"/>
                    <a:gd name="connsiteX130" fmla="*/ 68254 w 145937"/>
                    <a:gd name="connsiteY130" fmla="*/ 105392 h 125929"/>
                    <a:gd name="connsiteX131" fmla="*/ 64823 w 145937"/>
                    <a:gd name="connsiteY131" fmla="*/ 106256 h 125929"/>
                    <a:gd name="connsiteX132" fmla="*/ 62712 w 145937"/>
                    <a:gd name="connsiteY132" fmla="*/ 106289 h 125929"/>
                    <a:gd name="connsiteX133" fmla="*/ 61213 w 145937"/>
                    <a:gd name="connsiteY133" fmla="*/ 105784 h 125929"/>
                    <a:gd name="connsiteX134" fmla="*/ 60145 w 145937"/>
                    <a:gd name="connsiteY134" fmla="*/ 104080 h 125929"/>
                    <a:gd name="connsiteX135" fmla="*/ 60308 w 145937"/>
                    <a:gd name="connsiteY135" fmla="*/ 102760 h 125929"/>
                    <a:gd name="connsiteX136" fmla="*/ 60129 w 145937"/>
                    <a:gd name="connsiteY136" fmla="*/ 101032 h 125929"/>
                    <a:gd name="connsiteX137" fmla="*/ 57130 w 145937"/>
                    <a:gd name="connsiteY137" fmla="*/ 98286 h 125929"/>
                    <a:gd name="connsiteX138" fmla="*/ 53038 w 145937"/>
                    <a:gd name="connsiteY138" fmla="*/ 95662 h 125929"/>
                    <a:gd name="connsiteX139" fmla="*/ 49151 w 145937"/>
                    <a:gd name="connsiteY139" fmla="*/ 92271 h 125929"/>
                    <a:gd name="connsiteX140" fmla="*/ 41384 w 145937"/>
                    <a:gd name="connsiteY140" fmla="*/ 83103 h 125929"/>
                    <a:gd name="connsiteX141" fmla="*/ 39820 w 145937"/>
                    <a:gd name="connsiteY141" fmla="*/ 80153 h 125929"/>
                    <a:gd name="connsiteX142" fmla="*/ 41352 w 145937"/>
                    <a:gd name="connsiteY142" fmla="*/ 79590 h 125929"/>
                    <a:gd name="connsiteX143" fmla="*/ 42517 w 145937"/>
                    <a:gd name="connsiteY143" fmla="*/ 79639 h 125929"/>
                    <a:gd name="connsiteX144" fmla="*/ 43821 w 145937"/>
                    <a:gd name="connsiteY144" fmla="*/ 79028 h 125929"/>
                    <a:gd name="connsiteX145" fmla="*/ 45940 w 145937"/>
                    <a:gd name="connsiteY145" fmla="*/ 79012 h 125929"/>
                    <a:gd name="connsiteX146" fmla="*/ 48459 w 145937"/>
                    <a:gd name="connsiteY146" fmla="*/ 79615 h 125929"/>
                    <a:gd name="connsiteX147" fmla="*/ 46242 w 145937"/>
                    <a:gd name="connsiteY147" fmla="*/ 77643 h 125929"/>
                    <a:gd name="connsiteX148" fmla="*/ 43471 w 145937"/>
                    <a:gd name="connsiteY148" fmla="*/ 75719 h 125929"/>
                    <a:gd name="connsiteX149" fmla="*/ 36324 w 145937"/>
                    <a:gd name="connsiteY149" fmla="*/ 68050 h 125929"/>
                    <a:gd name="connsiteX150" fmla="*/ 34180 w 145937"/>
                    <a:gd name="connsiteY150" fmla="*/ 64424 h 125929"/>
                    <a:gd name="connsiteX151" fmla="*/ 33936 w 145937"/>
                    <a:gd name="connsiteY151" fmla="*/ 60512 h 125929"/>
                    <a:gd name="connsiteX152" fmla="*/ 34457 w 145937"/>
                    <a:gd name="connsiteY152" fmla="*/ 55149 h 125929"/>
                    <a:gd name="connsiteX153" fmla="*/ 33178 w 145937"/>
                    <a:gd name="connsiteY153" fmla="*/ 51303 h 125929"/>
                    <a:gd name="connsiteX154" fmla="*/ 27644 w 145937"/>
                    <a:gd name="connsiteY154" fmla="*/ 46315 h 125929"/>
                    <a:gd name="connsiteX155" fmla="*/ 25623 w 145937"/>
                    <a:gd name="connsiteY155" fmla="*/ 43691 h 125929"/>
                    <a:gd name="connsiteX156" fmla="*/ 21548 w 145937"/>
                    <a:gd name="connsiteY156" fmla="*/ 42134 h 125929"/>
                    <a:gd name="connsiteX157" fmla="*/ 19731 w 145937"/>
                    <a:gd name="connsiteY157" fmla="*/ 42281 h 125929"/>
                    <a:gd name="connsiteX158" fmla="*/ 18639 w 145937"/>
                    <a:gd name="connsiteY158" fmla="*/ 44221 h 125929"/>
                    <a:gd name="connsiteX159" fmla="*/ 17824 w 145937"/>
                    <a:gd name="connsiteY159" fmla="*/ 48540 h 125929"/>
                    <a:gd name="connsiteX160" fmla="*/ 14213 w 145937"/>
                    <a:gd name="connsiteY160" fmla="*/ 54228 h 125929"/>
                    <a:gd name="connsiteX161" fmla="*/ 13015 w 145937"/>
                    <a:gd name="connsiteY161" fmla="*/ 56690 h 125929"/>
                    <a:gd name="connsiteX162" fmla="*/ 11125 w 145937"/>
                    <a:gd name="connsiteY162" fmla="*/ 59901 h 125929"/>
                    <a:gd name="connsiteX163" fmla="*/ 9495 w 145937"/>
                    <a:gd name="connsiteY163" fmla="*/ 60129 h 125929"/>
                    <a:gd name="connsiteX164" fmla="*/ 8525 w 145937"/>
                    <a:gd name="connsiteY164" fmla="*/ 59844 h 125929"/>
                    <a:gd name="connsiteX165" fmla="*/ 5591 w 145937"/>
                    <a:gd name="connsiteY165" fmla="*/ 54440 h 125929"/>
                    <a:gd name="connsiteX166" fmla="*/ 2779 w 145937"/>
                    <a:gd name="connsiteY166" fmla="*/ 50341 h 125929"/>
                    <a:gd name="connsiteX167" fmla="*/ 2396 w 145937"/>
                    <a:gd name="connsiteY167" fmla="*/ 48401 h 125929"/>
                    <a:gd name="connsiteX168" fmla="*/ 2135 w 145937"/>
                    <a:gd name="connsiteY168" fmla="*/ 46013 h 125929"/>
                    <a:gd name="connsiteX169" fmla="*/ 0 w 145937"/>
                    <a:gd name="connsiteY169" fmla="*/ 37204 h 125929"/>
                    <a:gd name="connsiteX170" fmla="*/ 1508 w 145937"/>
                    <a:gd name="connsiteY170" fmla="*/ 35973 h 125929"/>
                    <a:gd name="connsiteX171" fmla="*/ 2437 w 145937"/>
                    <a:gd name="connsiteY171" fmla="*/ 37383 h 125929"/>
                    <a:gd name="connsiteX172" fmla="*/ 8973 w 145937"/>
                    <a:gd name="connsiteY172" fmla="*/ 39078 h 125929"/>
                    <a:gd name="connsiteX173" fmla="*/ 10391 w 145937"/>
                    <a:gd name="connsiteY173" fmla="*/ 38328 h 125929"/>
                    <a:gd name="connsiteX174" fmla="*/ 11239 w 145937"/>
                    <a:gd name="connsiteY174" fmla="*/ 37171 h 125929"/>
                    <a:gd name="connsiteX175" fmla="*/ 11247 w 145937"/>
                    <a:gd name="connsiteY175" fmla="*/ 36446 h 125929"/>
                    <a:gd name="connsiteX176" fmla="*/ 11801 w 145937"/>
                    <a:gd name="connsiteY176" fmla="*/ 36234 h 125929"/>
                    <a:gd name="connsiteX177" fmla="*/ 14099 w 145937"/>
                    <a:gd name="connsiteY177" fmla="*/ 37350 h 125929"/>
                    <a:gd name="connsiteX178" fmla="*/ 15974 w 145937"/>
                    <a:gd name="connsiteY178" fmla="*/ 37090 h 125929"/>
                    <a:gd name="connsiteX179" fmla="*/ 18989 w 145937"/>
                    <a:gd name="connsiteY179" fmla="*/ 37041 h 125929"/>
                    <a:gd name="connsiteX180" fmla="*/ 21149 w 145937"/>
                    <a:gd name="connsiteY180" fmla="*/ 37220 h 125929"/>
                    <a:gd name="connsiteX181" fmla="*/ 22575 w 145937"/>
                    <a:gd name="connsiteY181" fmla="*/ 36364 h 125929"/>
                    <a:gd name="connsiteX182" fmla="*/ 24498 w 145937"/>
                    <a:gd name="connsiteY182" fmla="*/ 33218 h 125929"/>
                    <a:gd name="connsiteX183" fmla="*/ 25215 w 145937"/>
                    <a:gd name="connsiteY183" fmla="*/ 31450 h 125929"/>
                    <a:gd name="connsiteX184" fmla="*/ 26079 w 145937"/>
                    <a:gd name="connsiteY184" fmla="*/ 31026 h 125929"/>
                    <a:gd name="connsiteX185" fmla="*/ 26642 w 145937"/>
                    <a:gd name="connsiteY185" fmla="*/ 31230 h 125929"/>
                    <a:gd name="connsiteX186" fmla="*/ 27066 w 145937"/>
                    <a:gd name="connsiteY186" fmla="*/ 32689 h 125929"/>
                    <a:gd name="connsiteX187" fmla="*/ 28068 w 145937"/>
                    <a:gd name="connsiteY187" fmla="*/ 34050 h 125929"/>
                    <a:gd name="connsiteX188" fmla="*/ 30171 w 145937"/>
                    <a:gd name="connsiteY188" fmla="*/ 36266 h 125929"/>
                    <a:gd name="connsiteX189" fmla="*/ 31645 w 145937"/>
                    <a:gd name="connsiteY189" fmla="*/ 37334 h 125929"/>
                    <a:gd name="connsiteX190" fmla="*/ 32982 w 145937"/>
                    <a:gd name="connsiteY190" fmla="*/ 37717 h 125929"/>
                    <a:gd name="connsiteX191" fmla="*/ 34294 w 145937"/>
                    <a:gd name="connsiteY191" fmla="*/ 36821 h 125929"/>
                    <a:gd name="connsiteX192" fmla="*/ 35647 w 145937"/>
                    <a:gd name="connsiteY192" fmla="*/ 36568 h 125929"/>
                    <a:gd name="connsiteX193" fmla="*/ 39518 w 145937"/>
                    <a:gd name="connsiteY193" fmla="*/ 38296 h 125929"/>
                    <a:gd name="connsiteX194" fmla="*/ 42778 w 145937"/>
                    <a:gd name="connsiteY194" fmla="*/ 38630 h 125929"/>
                    <a:gd name="connsiteX195" fmla="*/ 45191 w 145937"/>
                    <a:gd name="connsiteY195" fmla="*/ 37725 h 125929"/>
                    <a:gd name="connsiteX196" fmla="*/ 44873 w 145937"/>
                    <a:gd name="connsiteY196" fmla="*/ 36478 h 125929"/>
                    <a:gd name="connsiteX197" fmla="*/ 44001 w 145937"/>
                    <a:gd name="connsiteY197" fmla="*/ 35101 h 125929"/>
                    <a:gd name="connsiteX198" fmla="*/ 43805 w 145937"/>
                    <a:gd name="connsiteY198" fmla="*/ 33756 h 125929"/>
                    <a:gd name="connsiteX199" fmla="*/ 43976 w 145937"/>
                    <a:gd name="connsiteY199" fmla="*/ 32599 h 125929"/>
                    <a:gd name="connsiteX200" fmla="*/ 45630 w 145937"/>
                    <a:gd name="connsiteY200" fmla="*/ 31434 h 125929"/>
                    <a:gd name="connsiteX201" fmla="*/ 45557 w 145937"/>
                    <a:gd name="connsiteY201" fmla="*/ 30928 h 125929"/>
                    <a:gd name="connsiteX202" fmla="*/ 43552 w 145937"/>
                    <a:gd name="connsiteY202" fmla="*/ 28891 h 125929"/>
                    <a:gd name="connsiteX203" fmla="*/ 43650 w 145937"/>
                    <a:gd name="connsiteY203" fmla="*/ 28361 h 125929"/>
                    <a:gd name="connsiteX204" fmla="*/ 48051 w 145937"/>
                    <a:gd name="connsiteY204" fmla="*/ 26071 h 125929"/>
                    <a:gd name="connsiteX205" fmla="*/ 52289 w 145937"/>
                    <a:gd name="connsiteY205" fmla="*/ 24783 h 125929"/>
                    <a:gd name="connsiteX206" fmla="*/ 52957 w 145937"/>
                    <a:gd name="connsiteY206" fmla="*/ 23789 h 125929"/>
                    <a:gd name="connsiteX207" fmla="*/ 53365 w 145937"/>
                    <a:gd name="connsiteY207" fmla="*/ 22298 h 125929"/>
                    <a:gd name="connsiteX208" fmla="*/ 53544 w 145937"/>
                    <a:gd name="connsiteY208" fmla="*/ 19502 h 125929"/>
                    <a:gd name="connsiteX209" fmla="*/ 53315 w 145937"/>
                    <a:gd name="connsiteY209" fmla="*/ 17212 h 125929"/>
                    <a:gd name="connsiteX210" fmla="*/ 51588 w 145937"/>
                    <a:gd name="connsiteY210" fmla="*/ 15069 h 125929"/>
                    <a:gd name="connsiteX211" fmla="*/ 51482 w 145937"/>
                    <a:gd name="connsiteY211" fmla="*/ 13985 h 125929"/>
                    <a:gd name="connsiteX212" fmla="*/ 51889 w 145937"/>
                    <a:gd name="connsiteY212" fmla="*/ 12852 h 125929"/>
                    <a:gd name="connsiteX213" fmla="*/ 52558 w 145937"/>
                    <a:gd name="connsiteY213" fmla="*/ 11834 h 125929"/>
                    <a:gd name="connsiteX214" fmla="*/ 54245 w 145937"/>
                    <a:gd name="connsiteY214" fmla="*/ 11385 h 125929"/>
                    <a:gd name="connsiteX215" fmla="*/ 56233 w 145937"/>
                    <a:gd name="connsiteY215" fmla="*/ 10652 h 125929"/>
                    <a:gd name="connsiteX216" fmla="*/ 57806 w 145937"/>
                    <a:gd name="connsiteY216" fmla="*/ 9804 h 125929"/>
                    <a:gd name="connsiteX217" fmla="*/ 59933 w 145937"/>
                    <a:gd name="connsiteY217" fmla="*/ 9103 h 125929"/>
                    <a:gd name="connsiteX218" fmla="*/ 61604 w 145937"/>
                    <a:gd name="connsiteY218" fmla="*/ 8125 h 125929"/>
                    <a:gd name="connsiteX219" fmla="*/ 63234 w 145937"/>
                    <a:gd name="connsiteY219" fmla="*/ 5786 h 125929"/>
                    <a:gd name="connsiteX220" fmla="*/ 64228 w 145937"/>
                    <a:gd name="connsiteY220" fmla="*/ 5403 h 125929"/>
                    <a:gd name="connsiteX221" fmla="*/ 67227 w 145937"/>
                    <a:gd name="connsiteY221" fmla="*/ 5737 h 125929"/>
                    <a:gd name="connsiteX222" fmla="*/ 67863 w 145937"/>
                    <a:gd name="connsiteY222" fmla="*/ 5159 h 125929"/>
                    <a:gd name="connsiteX223" fmla="*/ 67447 w 145937"/>
                    <a:gd name="connsiteY223" fmla="*/ 1801 h 125929"/>
                    <a:gd name="connsiteX224" fmla="*/ 67985 w 145937"/>
                    <a:gd name="connsiteY224" fmla="*/ 945 h 125929"/>
                    <a:gd name="connsiteX225" fmla="*/ 69053 w 145937"/>
                    <a:gd name="connsiteY225" fmla="*/ 465 h 125929"/>
                    <a:gd name="connsiteX226" fmla="*/ 69550 w 145937"/>
                    <a:gd name="connsiteY226" fmla="*/ 0 h 125929"/>
                    <a:gd name="connsiteX227" fmla="*/ 72182 w 145937"/>
                    <a:gd name="connsiteY227" fmla="*/ 359 h 125929"/>
                    <a:gd name="connsiteX228" fmla="*/ 74391 w 145937"/>
                    <a:gd name="connsiteY228" fmla="*/ 1223 h 125929"/>
                    <a:gd name="connsiteX229" fmla="*/ 75719 w 145937"/>
                    <a:gd name="connsiteY229" fmla="*/ 1752 h 125929"/>
                    <a:gd name="connsiteX230" fmla="*/ 80128 w 145937"/>
                    <a:gd name="connsiteY230" fmla="*/ 4205 h 12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Lst>
                  <a:rect l="l" t="t" r="r" b="b"/>
                  <a:pathLst>
                    <a:path w="145937" h="125929">
                      <a:moveTo>
                        <a:pt x="80128" y="4205"/>
                      </a:moveTo>
                      <a:lnTo>
                        <a:pt x="83185" y="6927"/>
                      </a:lnTo>
                      <a:lnTo>
                        <a:pt x="84888" y="9959"/>
                      </a:lnTo>
                      <a:lnTo>
                        <a:pt x="87186" y="12314"/>
                      </a:lnTo>
                      <a:lnTo>
                        <a:pt x="90087" y="13969"/>
                      </a:lnTo>
                      <a:lnTo>
                        <a:pt x="92377" y="16226"/>
                      </a:lnTo>
                      <a:lnTo>
                        <a:pt x="94073" y="19070"/>
                      </a:lnTo>
                      <a:lnTo>
                        <a:pt x="96444" y="20668"/>
                      </a:lnTo>
                      <a:lnTo>
                        <a:pt x="99500" y="21010"/>
                      </a:lnTo>
                      <a:lnTo>
                        <a:pt x="101423" y="21980"/>
                      </a:lnTo>
                      <a:lnTo>
                        <a:pt x="102239" y="23577"/>
                      </a:lnTo>
                      <a:lnTo>
                        <a:pt x="103893" y="25036"/>
                      </a:lnTo>
                      <a:lnTo>
                        <a:pt x="106387" y="26340"/>
                      </a:lnTo>
                      <a:lnTo>
                        <a:pt x="110274" y="27041"/>
                      </a:lnTo>
                      <a:lnTo>
                        <a:pt x="117723" y="27212"/>
                      </a:lnTo>
                      <a:lnTo>
                        <a:pt x="118383" y="27245"/>
                      </a:lnTo>
                      <a:lnTo>
                        <a:pt x="120062" y="27644"/>
                      </a:lnTo>
                      <a:lnTo>
                        <a:pt x="122018" y="27139"/>
                      </a:lnTo>
                      <a:lnTo>
                        <a:pt x="124414" y="26120"/>
                      </a:lnTo>
                      <a:lnTo>
                        <a:pt x="125180" y="25509"/>
                      </a:lnTo>
                      <a:lnTo>
                        <a:pt x="127698" y="22184"/>
                      </a:lnTo>
                      <a:lnTo>
                        <a:pt x="129084" y="22477"/>
                      </a:lnTo>
                      <a:lnTo>
                        <a:pt x="131847" y="22070"/>
                      </a:lnTo>
                      <a:lnTo>
                        <a:pt x="133509" y="21336"/>
                      </a:lnTo>
                      <a:lnTo>
                        <a:pt x="133631" y="21336"/>
                      </a:lnTo>
                      <a:lnTo>
                        <a:pt x="133533" y="22184"/>
                      </a:lnTo>
                      <a:lnTo>
                        <a:pt x="133346" y="23675"/>
                      </a:lnTo>
                      <a:lnTo>
                        <a:pt x="131993" y="24726"/>
                      </a:lnTo>
                      <a:lnTo>
                        <a:pt x="133379" y="27147"/>
                      </a:lnTo>
                      <a:lnTo>
                        <a:pt x="134682" y="31067"/>
                      </a:lnTo>
                      <a:lnTo>
                        <a:pt x="133949" y="33006"/>
                      </a:lnTo>
                      <a:lnTo>
                        <a:pt x="134838" y="34514"/>
                      </a:lnTo>
                      <a:lnTo>
                        <a:pt x="137356" y="35598"/>
                      </a:lnTo>
                      <a:lnTo>
                        <a:pt x="137576" y="36030"/>
                      </a:lnTo>
                      <a:lnTo>
                        <a:pt x="136802" y="36486"/>
                      </a:lnTo>
                      <a:lnTo>
                        <a:pt x="136166" y="37766"/>
                      </a:lnTo>
                      <a:lnTo>
                        <a:pt x="136093" y="40105"/>
                      </a:lnTo>
                      <a:lnTo>
                        <a:pt x="138293" y="42305"/>
                      </a:lnTo>
                      <a:lnTo>
                        <a:pt x="142759" y="44375"/>
                      </a:lnTo>
                      <a:lnTo>
                        <a:pt x="144177" y="44726"/>
                      </a:lnTo>
                      <a:lnTo>
                        <a:pt x="144715" y="45524"/>
                      </a:lnTo>
                      <a:lnTo>
                        <a:pt x="145473" y="46038"/>
                      </a:lnTo>
                      <a:lnTo>
                        <a:pt x="145913" y="46682"/>
                      </a:lnTo>
                      <a:lnTo>
                        <a:pt x="145938" y="47497"/>
                      </a:lnTo>
                      <a:lnTo>
                        <a:pt x="145611" y="48067"/>
                      </a:lnTo>
                      <a:lnTo>
                        <a:pt x="143501" y="48263"/>
                      </a:lnTo>
                      <a:lnTo>
                        <a:pt x="141088" y="48246"/>
                      </a:lnTo>
                      <a:lnTo>
                        <a:pt x="139377" y="47244"/>
                      </a:lnTo>
                      <a:lnTo>
                        <a:pt x="139222" y="47969"/>
                      </a:lnTo>
                      <a:lnTo>
                        <a:pt x="139198" y="48809"/>
                      </a:lnTo>
                      <a:lnTo>
                        <a:pt x="137543" y="49314"/>
                      </a:lnTo>
                      <a:lnTo>
                        <a:pt x="138464" y="55051"/>
                      </a:lnTo>
                      <a:lnTo>
                        <a:pt x="138089" y="56698"/>
                      </a:lnTo>
                      <a:lnTo>
                        <a:pt x="137478" y="57252"/>
                      </a:lnTo>
                      <a:lnTo>
                        <a:pt x="136916" y="57016"/>
                      </a:lnTo>
                      <a:lnTo>
                        <a:pt x="136223" y="56958"/>
                      </a:lnTo>
                      <a:lnTo>
                        <a:pt x="135872" y="57496"/>
                      </a:lnTo>
                      <a:lnTo>
                        <a:pt x="136166" y="58719"/>
                      </a:lnTo>
                      <a:lnTo>
                        <a:pt x="134528" y="58857"/>
                      </a:lnTo>
                      <a:lnTo>
                        <a:pt x="131928" y="58222"/>
                      </a:lnTo>
                      <a:lnTo>
                        <a:pt x="130738" y="57113"/>
                      </a:lnTo>
                      <a:lnTo>
                        <a:pt x="130535" y="55981"/>
                      </a:lnTo>
                      <a:lnTo>
                        <a:pt x="130510" y="54921"/>
                      </a:lnTo>
                      <a:lnTo>
                        <a:pt x="129687" y="53201"/>
                      </a:lnTo>
                      <a:lnTo>
                        <a:pt x="127617" y="51417"/>
                      </a:lnTo>
                      <a:lnTo>
                        <a:pt x="123289" y="51123"/>
                      </a:lnTo>
                      <a:lnTo>
                        <a:pt x="121692" y="50553"/>
                      </a:lnTo>
                      <a:lnTo>
                        <a:pt x="120046" y="49909"/>
                      </a:lnTo>
                      <a:lnTo>
                        <a:pt x="118253" y="49420"/>
                      </a:lnTo>
                      <a:lnTo>
                        <a:pt x="116590" y="49469"/>
                      </a:lnTo>
                      <a:lnTo>
                        <a:pt x="114585" y="49950"/>
                      </a:lnTo>
                      <a:lnTo>
                        <a:pt x="111089" y="49159"/>
                      </a:lnTo>
                      <a:lnTo>
                        <a:pt x="109907" y="50211"/>
                      </a:lnTo>
                      <a:lnTo>
                        <a:pt x="108066" y="51425"/>
                      </a:lnTo>
                      <a:lnTo>
                        <a:pt x="106533" y="51392"/>
                      </a:lnTo>
                      <a:lnTo>
                        <a:pt x="103485" y="48572"/>
                      </a:lnTo>
                      <a:lnTo>
                        <a:pt x="102589" y="48393"/>
                      </a:lnTo>
                      <a:lnTo>
                        <a:pt x="99932" y="49827"/>
                      </a:lnTo>
                      <a:lnTo>
                        <a:pt x="98848" y="49909"/>
                      </a:lnTo>
                      <a:lnTo>
                        <a:pt x="98017" y="49453"/>
                      </a:lnTo>
                      <a:lnTo>
                        <a:pt x="94415" y="48377"/>
                      </a:lnTo>
                      <a:lnTo>
                        <a:pt x="92793" y="48149"/>
                      </a:lnTo>
                      <a:lnTo>
                        <a:pt x="91603" y="48654"/>
                      </a:lnTo>
                      <a:lnTo>
                        <a:pt x="89492" y="48100"/>
                      </a:lnTo>
                      <a:lnTo>
                        <a:pt x="84366" y="44416"/>
                      </a:lnTo>
                      <a:lnTo>
                        <a:pt x="81188" y="47211"/>
                      </a:lnTo>
                      <a:lnTo>
                        <a:pt x="74733" y="46519"/>
                      </a:lnTo>
                      <a:lnTo>
                        <a:pt x="72826" y="48434"/>
                      </a:lnTo>
                      <a:lnTo>
                        <a:pt x="70626" y="52077"/>
                      </a:lnTo>
                      <a:lnTo>
                        <a:pt x="68849" y="53813"/>
                      </a:lnTo>
                      <a:lnTo>
                        <a:pt x="67309" y="53185"/>
                      </a:lnTo>
                      <a:lnTo>
                        <a:pt x="65475" y="51588"/>
                      </a:lnTo>
                      <a:lnTo>
                        <a:pt x="62280" y="47472"/>
                      </a:lnTo>
                      <a:lnTo>
                        <a:pt x="60650" y="46722"/>
                      </a:lnTo>
                      <a:lnTo>
                        <a:pt x="58801" y="46551"/>
                      </a:lnTo>
                      <a:lnTo>
                        <a:pt x="57178" y="47008"/>
                      </a:lnTo>
                      <a:lnTo>
                        <a:pt x="56323" y="47847"/>
                      </a:lnTo>
                      <a:lnTo>
                        <a:pt x="55663" y="53870"/>
                      </a:lnTo>
                      <a:lnTo>
                        <a:pt x="55084" y="59167"/>
                      </a:lnTo>
                      <a:lnTo>
                        <a:pt x="55044" y="62337"/>
                      </a:lnTo>
                      <a:lnTo>
                        <a:pt x="58605" y="65271"/>
                      </a:lnTo>
                      <a:lnTo>
                        <a:pt x="62802" y="70324"/>
                      </a:lnTo>
                      <a:lnTo>
                        <a:pt x="64147" y="70903"/>
                      </a:lnTo>
                      <a:lnTo>
                        <a:pt x="64815" y="72557"/>
                      </a:lnTo>
                      <a:lnTo>
                        <a:pt x="65785" y="76811"/>
                      </a:lnTo>
                      <a:lnTo>
                        <a:pt x="66902" y="81587"/>
                      </a:lnTo>
                      <a:lnTo>
                        <a:pt x="69028" y="84749"/>
                      </a:lnTo>
                      <a:lnTo>
                        <a:pt x="70944" y="87007"/>
                      </a:lnTo>
                      <a:lnTo>
                        <a:pt x="73291" y="88995"/>
                      </a:lnTo>
                      <a:lnTo>
                        <a:pt x="76225" y="92108"/>
                      </a:lnTo>
                      <a:lnTo>
                        <a:pt x="78637" y="95515"/>
                      </a:lnTo>
                      <a:lnTo>
                        <a:pt x="79281" y="96778"/>
                      </a:lnTo>
                      <a:lnTo>
                        <a:pt x="83951" y="101285"/>
                      </a:lnTo>
                      <a:lnTo>
                        <a:pt x="88482" y="105881"/>
                      </a:lnTo>
                      <a:lnTo>
                        <a:pt x="92541" y="107495"/>
                      </a:lnTo>
                      <a:lnTo>
                        <a:pt x="93176" y="108343"/>
                      </a:lnTo>
                      <a:lnTo>
                        <a:pt x="93209" y="111888"/>
                      </a:lnTo>
                      <a:lnTo>
                        <a:pt x="93649" y="113208"/>
                      </a:lnTo>
                      <a:lnTo>
                        <a:pt x="96371" y="116908"/>
                      </a:lnTo>
                      <a:lnTo>
                        <a:pt x="101880" y="122319"/>
                      </a:lnTo>
                      <a:lnTo>
                        <a:pt x="102516" y="123574"/>
                      </a:lnTo>
                      <a:lnTo>
                        <a:pt x="102695" y="124487"/>
                      </a:lnTo>
                      <a:lnTo>
                        <a:pt x="102336" y="125188"/>
                      </a:lnTo>
                      <a:lnTo>
                        <a:pt x="100886" y="125930"/>
                      </a:lnTo>
                      <a:lnTo>
                        <a:pt x="99696" y="125098"/>
                      </a:lnTo>
                      <a:lnTo>
                        <a:pt x="94554" y="119826"/>
                      </a:lnTo>
                      <a:lnTo>
                        <a:pt x="89582" y="116492"/>
                      </a:lnTo>
                      <a:lnTo>
                        <a:pt x="83975" y="110209"/>
                      </a:lnTo>
                      <a:lnTo>
                        <a:pt x="76469" y="107723"/>
                      </a:lnTo>
                      <a:lnTo>
                        <a:pt x="71351" y="104977"/>
                      </a:lnTo>
                      <a:lnTo>
                        <a:pt x="68254" y="105392"/>
                      </a:lnTo>
                      <a:lnTo>
                        <a:pt x="64823" y="106256"/>
                      </a:lnTo>
                      <a:lnTo>
                        <a:pt x="62712" y="106289"/>
                      </a:lnTo>
                      <a:lnTo>
                        <a:pt x="61213" y="105784"/>
                      </a:lnTo>
                      <a:lnTo>
                        <a:pt x="60145" y="104080"/>
                      </a:lnTo>
                      <a:lnTo>
                        <a:pt x="60308" y="102760"/>
                      </a:lnTo>
                      <a:lnTo>
                        <a:pt x="60129" y="101032"/>
                      </a:lnTo>
                      <a:lnTo>
                        <a:pt x="57130" y="98286"/>
                      </a:lnTo>
                      <a:lnTo>
                        <a:pt x="53038" y="95662"/>
                      </a:lnTo>
                      <a:lnTo>
                        <a:pt x="49151" y="92271"/>
                      </a:lnTo>
                      <a:lnTo>
                        <a:pt x="41384" y="83103"/>
                      </a:lnTo>
                      <a:lnTo>
                        <a:pt x="39820" y="80153"/>
                      </a:lnTo>
                      <a:lnTo>
                        <a:pt x="41352" y="79590"/>
                      </a:lnTo>
                      <a:lnTo>
                        <a:pt x="42517" y="79639"/>
                      </a:lnTo>
                      <a:lnTo>
                        <a:pt x="43821" y="79028"/>
                      </a:lnTo>
                      <a:lnTo>
                        <a:pt x="45940" y="79012"/>
                      </a:lnTo>
                      <a:lnTo>
                        <a:pt x="48459" y="79615"/>
                      </a:lnTo>
                      <a:lnTo>
                        <a:pt x="46242" y="77643"/>
                      </a:lnTo>
                      <a:lnTo>
                        <a:pt x="43471" y="75719"/>
                      </a:lnTo>
                      <a:lnTo>
                        <a:pt x="36324" y="68050"/>
                      </a:lnTo>
                      <a:lnTo>
                        <a:pt x="34180" y="64424"/>
                      </a:lnTo>
                      <a:lnTo>
                        <a:pt x="33936" y="60512"/>
                      </a:lnTo>
                      <a:lnTo>
                        <a:pt x="34457" y="55149"/>
                      </a:lnTo>
                      <a:lnTo>
                        <a:pt x="33178" y="51303"/>
                      </a:lnTo>
                      <a:lnTo>
                        <a:pt x="27644" y="46315"/>
                      </a:lnTo>
                      <a:lnTo>
                        <a:pt x="25623" y="43691"/>
                      </a:lnTo>
                      <a:lnTo>
                        <a:pt x="21548" y="42134"/>
                      </a:lnTo>
                      <a:lnTo>
                        <a:pt x="19731" y="42281"/>
                      </a:lnTo>
                      <a:lnTo>
                        <a:pt x="18639" y="44221"/>
                      </a:lnTo>
                      <a:lnTo>
                        <a:pt x="17824" y="48540"/>
                      </a:lnTo>
                      <a:lnTo>
                        <a:pt x="14213" y="54228"/>
                      </a:lnTo>
                      <a:lnTo>
                        <a:pt x="13015" y="56690"/>
                      </a:lnTo>
                      <a:lnTo>
                        <a:pt x="11125" y="59901"/>
                      </a:lnTo>
                      <a:lnTo>
                        <a:pt x="9495" y="60129"/>
                      </a:lnTo>
                      <a:lnTo>
                        <a:pt x="8525" y="59844"/>
                      </a:lnTo>
                      <a:lnTo>
                        <a:pt x="5591" y="54440"/>
                      </a:lnTo>
                      <a:lnTo>
                        <a:pt x="2779" y="50341"/>
                      </a:lnTo>
                      <a:lnTo>
                        <a:pt x="2396" y="48401"/>
                      </a:lnTo>
                      <a:lnTo>
                        <a:pt x="2135" y="46013"/>
                      </a:lnTo>
                      <a:lnTo>
                        <a:pt x="0" y="37204"/>
                      </a:lnTo>
                      <a:lnTo>
                        <a:pt x="1508" y="35973"/>
                      </a:lnTo>
                      <a:lnTo>
                        <a:pt x="2437" y="37383"/>
                      </a:lnTo>
                      <a:lnTo>
                        <a:pt x="8973" y="39078"/>
                      </a:lnTo>
                      <a:lnTo>
                        <a:pt x="10391" y="38328"/>
                      </a:lnTo>
                      <a:lnTo>
                        <a:pt x="11239" y="37171"/>
                      </a:lnTo>
                      <a:lnTo>
                        <a:pt x="11247" y="36446"/>
                      </a:lnTo>
                      <a:lnTo>
                        <a:pt x="11801" y="36234"/>
                      </a:lnTo>
                      <a:lnTo>
                        <a:pt x="14099" y="37350"/>
                      </a:lnTo>
                      <a:lnTo>
                        <a:pt x="15974" y="37090"/>
                      </a:lnTo>
                      <a:lnTo>
                        <a:pt x="18989" y="37041"/>
                      </a:lnTo>
                      <a:lnTo>
                        <a:pt x="21149" y="37220"/>
                      </a:lnTo>
                      <a:lnTo>
                        <a:pt x="22575" y="36364"/>
                      </a:lnTo>
                      <a:lnTo>
                        <a:pt x="24498" y="33218"/>
                      </a:lnTo>
                      <a:lnTo>
                        <a:pt x="25215" y="31450"/>
                      </a:lnTo>
                      <a:lnTo>
                        <a:pt x="26079" y="31026"/>
                      </a:lnTo>
                      <a:lnTo>
                        <a:pt x="26642" y="31230"/>
                      </a:lnTo>
                      <a:lnTo>
                        <a:pt x="27066" y="32689"/>
                      </a:lnTo>
                      <a:lnTo>
                        <a:pt x="28068" y="34050"/>
                      </a:lnTo>
                      <a:lnTo>
                        <a:pt x="30171" y="36266"/>
                      </a:lnTo>
                      <a:lnTo>
                        <a:pt x="31645" y="37334"/>
                      </a:lnTo>
                      <a:lnTo>
                        <a:pt x="32982" y="37717"/>
                      </a:lnTo>
                      <a:lnTo>
                        <a:pt x="34294" y="36821"/>
                      </a:lnTo>
                      <a:lnTo>
                        <a:pt x="35647" y="36568"/>
                      </a:lnTo>
                      <a:lnTo>
                        <a:pt x="39518" y="38296"/>
                      </a:lnTo>
                      <a:lnTo>
                        <a:pt x="42778" y="38630"/>
                      </a:lnTo>
                      <a:lnTo>
                        <a:pt x="45191" y="37725"/>
                      </a:lnTo>
                      <a:lnTo>
                        <a:pt x="44873" y="36478"/>
                      </a:lnTo>
                      <a:lnTo>
                        <a:pt x="44001" y="35101"/>
                      </a:lnTo>
                      <a:lnTo>
                        <a:pt x="43805" y="33756"/>
                      </a:lnTo>
                      <a:lnTo>
                        <a:pt x="43976" y="32599"/>
                      </a:lnTo>
                      <a:lnTo>
                        <a:pt x="45630" y="31434"/>
                      </a:lnTo>
                      <a:lnTo>
                        <a:pt x="45557" y="30928"/>
                      </a:lnTo>
                      <a:lnTo>
                        <a:pt x="43552" y="28891"/>
                      </a:lnTo>
                      <a:lnTo>
                        <a:pt x="43650" y="28361"/>
                      </a:lnTo>
                      <a:lnTo>
                        <a:pt x="48051" y="26071"/>
                      </a:lnTo>
                      <a:lnTo>
                        <a:pt x="52289" y="24783"/>
                      </a:lnTo>
                      <a:lnTo>
                        <a:pt x="52957" y="23789"/>
                      </a:lnTo>
                      <a:lnTo>
                        <a:pt x="53365" y="22298"/>
                      </a:lnTo>
                      <a:lnTo>
                        <a:pt x="53544" y="19502"/>
                      </a:lnTo>
                      <a:lnTo>
                        <a:pt x="53315" y="17212"/>
                      </a:lnTo>
                      <a:lnTo>
                        <a:pt x="51588" y="15069"/>
                      </a:lnTo>
                      <a:lnTo>
                        <a:pt x="51482" y="13985"/>
                      </a:lnTo>
                      <a:lnTo>
                        <a:pt x="51889" y="12852"/>
                      </a:lnTo>
                      <a:lnTo>
                        <a:pt x="52558" y="11834"/>
                      </a:lnTo>
                      <a:lnTo>
                        <a:pt x="54245" y="11385"/>
                      </a:lnTo>
                      <a:lnTo>
                        <a:pt x="56233" y="10652"/>
                      </a:lnTo>
                      <a:lnTo>
                        <a:pt x="57806" y="9804"/>
                      </a:lnTo>
                      <a:lnTo>
                        <a:pt x="59933" y="9103"/>
                      </a:lnTo>
                      <a:lnTo>
                        <a:pt x="61604" y="8125"/>
                      </a:lnTo>
                      <a:lnTo>
                        <a:pt x="63234" y="5786"/>
                      </a:lnTo>
                      <a:lnTo>
                        <a:pt x="64228" y="5403"/>
                      </a:lnTo>
                      <a:lnTo>
                        <a:pt x="67227" y="5737"/>
                      </a:lnTo>
                      <a:lnTo>
                        <a:pt x="67863" y="5159"/>
                      </a:lnTo>
                      <a:lnTo>
                        <a:pt x="67447" y="1801"/>
                      </a:lnTo>
                      <a:lnTo>
                        <a:pt x="67985" y="945"/>
                      </a:lnTo>
                      <a:lnTo>
                        <a:pt x="69053" y="465"/>
                      </a:lnTo>
                      <a:lnTo>
                        <a:pt x="69550" y="0"/>
                      </a:lnTo>
                      <a:lnTo>
                        <a:pt x="72182" y="359"/>
                      </a:lnTo>
                      <a:lnTo>
                        <a:pt x="74391" y="1223"/>
                      </a:lnTo>
                      <a:lnTo>
                        <a:pt x="75719" y="1752"/>
                      </a:lnTo>
                      <a:lnTo>
                        <a:pt x="80128" y="4205"/>
                      </a:lnTo>
                      <a:close/>
                    </a:path>
                  </a:pathLst>
                </a:custGeom>
                <a:solidFill>
                  <a:srgbClr val="D6D6D2"/>
                </a:solidFill>
                <a:ln w="6112" cap="rnd">
                  <a:solidFill>
                    <a:srgbClr val="FFFFFF"/>
                  </a:solidFill>
                  <a:prstDash val="solid"/>
                  <a:round/>
                </a:ln>
              </p:spPr>
              <p:txBody>
                <a:bodyPr rtlCol="0" anchor="ctr"/>
                <a:lstStyle/>
                <a:p>
                  <a:endParaRPr lang="en-US"/>
                </a:p>
              </p:txBody>
            </p:sp>
            <p:sp>
              <p:nvSpPr>
                <p:cNvPr id="718" name="Freeform: Shape 717">
                  <a:extLst>
                    <a:ext uri="{FF2B5EF4-FFF2-40B4-BE49-F238E27FC236}">
                      <a16:creationId xmlns:a16="http://schemas.microsoft.com/office/drawing/2014/main" id="{8F7035D9-1F0A-47AC-AD4B-08379D2C386E}"/>
                    </a:ext>
                  </a:extLst>
                </p:cNvPr>
                <p:cNvSpPr/>
                <p:nvPr/>
              </p:nvSpPr>
              <p:spPr>
                <a:xfrm>
                  <a:off x="3727263" y="4041601"/>
                  <a:ext cx="153875" cy="92645"/>
                </a:xfrm>
                <a:custGeom>
                  <a:avLst/>
                  <a:gdLst>
                    <a:gd name="connsiteX0" fmla="*/ 88726 w 153875"/>
                    <a:gd name="connsiteY0" fmla="*/ 652 h 92645"/>
                    <a:gd name="connsiteX1" fmla="*/ 96175 w 153875"/>
                    <a:gd name="connsiteY1" fmla="*/ 3806 h 92645"/>
                    <a:gd name="connsiteX2" fmla="*/ 104113 w 153875"/>
                    <a:gd name="connsiteY2" fmla="*/ 3235 h 92645"/>
                    <a:gd name="connsiteX3" fmla="*/ 106973 w 153875"/>
                    <a:gd name="connsiteY3" fmla="*/ 1540 h 92645"/>
                    <a:gd name="connsiteX4" fmla="*/ 108823 w 153875"/>
                    <a:gd name="connsiteY4" fmla="*/ 1051 h 92645"/>
                    <a:gd name="connsiteX5" fmla="*/ 116949 w 153875"/>
                    <a:gd name="connsiteY5" fmla="*/ 4295 h 92645"/>
                    <a:gd name="connsiteX6" fmla="*/ 119092 w 153875"/>
                    <a:gd name="connsiteY6" fmla="*/ 6781 h 92645"/>
                    <a:gd name="connsiteX7" fmla="*/ 120763 w 153875"/>
                    <a:gd name="connsiteY7" fmla="*/ 7033 h 92645"/>
                    <a:gd name="connsiteX8" fmla="*/ 122067 w 153875"/>
                    <a:gd name="connsiteY8" fmla="*/ 6463 h 92645"/>
                    <a:gd name="connsiteX9" fmla="*/ 122409 w 153875"/>
                    <a:gd name="connsiteY9" fmla="*/ 5949 h 92645"/>
                    <a:gd name="connsiteX10" fmla="*/ 120812 w 153875"/>
                    <a:gd name="connsiteY10" fmla="*/ 5411 h 92645"/>
                    <a:gd name="connsiteX11" fmla="*/ 120086 w 153875"/>
                    <a:gd name="connsiteY11" fmla="*/ 4629 h 92645"/>
                    <a:gd name="connsiteX12" fmla="*/ 126492 w 153875"/>
                    <a:gd name="connsiteY12" fmla="*/ 6161 h 92645"/>
                    <a:gd name="connsiteX13" fmla="*/ 138545 w 153875"/>
                    <a:gd name="connsiteY13" fmla="*/ 17929 h 92645"/>
                    <a:gd name="connsiteX14" fmla="*/ 138798 w 153875"/>
                    <a:gd name="connsiteY14" fmla="*/ 18883 h 92645"/>
                    <a:gd name="connsiteX15" fmla="*/ 133656 w 153875"/>
                    <a:gd name="connsiteY15" fmla="*/ 15403 h 92645"/>
                    <a:gd name="connsiteX16" fmla="*/ 130934 w 153875"/>
                    <a:gd name="connsiteY16" fmla="*/ 15672 h 92645"/>
                    <a:gd name="connsiteX17" fmla="*/ 130225 w 153875"/>
                    <a:gd name="connsiteY17" fmla="*/ 16234 h 92645"/>
                    <a:gd name="connsiteX18" fmla="*/ 130371 w 153875"/>
                    <a:gd name="connsiteY18" fmla="*/ 18133 h 92645"/>
                    <a:gd name="connsiteX19" fmla="*/ 130624 w 153875"/>
                    <a:gd name="connsiteY19" fmla="*/ 19021 h 92645"/>
                    <a:gd name="connsiteX20" fmla="*/ 131790 w 153875"/>
                    <a:gd name="connsiteY20" fmla="*/ 19119 h 92645"/>
                    <a:gd name="connsiteX21" fmla="*/ 132653 w 153875"/>
                    <a:gd name="connsiteY21" fmla="*/ 18614 h 92645"/>
                    <a:gd name="connsiteX22" fmla="*/ 134780 w 153875"/>
                    <a:gd name="connsiteY22" fmla="*/ 19233 h 92645"/>
                    <a:gd name="connsiteX23" fmla="*/ 136182 w 153875"/>
                    <a:gd name="connsiteY23" fmla="*/ 20496 h 92645"/>
                    <a:gd name="connsiteX24" fmla="*/ 137894 w 153875"/>
                    <a:gd name="connsiteY24" fmla="*/ 22428 h 92645"/>
                    <a:gd name="connsiteX25" fmla="*/ 138921 w 153875"/>
                    <a:gd name="connsiteY25" fmla="*/ 24531 h 92645"/>
                    <a:gd name="connsiteX26" fmla="*/ 140021 w 153875"/>
                    <a:gd name="connsiteY26" fmla="*/ 24563 h 92645"/>
                    <a:gd name="connsiteX27" fmla="*/ 141104 w 153875"/>
                    <a:gd name="connsiteY27" fmla="*/ 23292 h 92645"/>
                    <a:gd name="connsiteX28" fmla="*/ 143150 w 153875"/>
                    <a:gd name="connsiteY28" fmla="*/ 23137 h 92645"/>
                    <a:gd name="connsiteX29" fmla="*/ 144487 w 153875"/>
                    <a:gd name="connsiteY29" fmla="*/ 24555 h 92645"/>
                    <a:gd name="connsiteX30" fmla="*/ 145432 w 153875"/>
                    <a:gd name="connsiteY30" fmla="*/ 24465 h 92645"/>
                    <a:gd name="connsiteX31" fmla="*/ 144112 w 153875"/>
                    <a:gd name="connsiteY31" fmla="*/ 22273 h 92645"/>
                    <a:gd name="connsiteX32" fmla="*/ 141015 w 153875"/>
                    <a:gd name="connsiteY32" fmla="*/ 20089 h 92645"/>
                    <a:gd name="connsiteX33" fmla="*/ 141748 w 153875"/>
                    <a:gd name="connsiteY33" fmla="*/ 19999 h 92645"/>
                    <a:gd name="connsiteX34" fmla="*/ 148627 w 153875"/>
                    <a:gd name="connsiteY34" fmla="*/ 23911 h 92645"/>
                    <a:gd name="connsiteX35" fmla="*/ 150566 w 153875"/>
                    <a:gd name="connsiteY35" fmla="*/ 28817 h 92645"/>
                    <a:gd name="connsiteX36" fmla="*/ 152180 w 153875"/>
                    <a:gd name="connsiteY36" fmla="*/ 29934 h 92645"/>
                    <a:gd name="connsiteX37" fmla="*/ 153875 w 153875"/>
                    <a:gd name="connsiteY37" fmla="*/ 31433 h 92645"/>
                    <a:gd name="connsiteX38" fmla="*/ 147486 w 153875"/>
                    <a:gd name="connsiteY38" fmla="*/ 30985 h 92645"/>
                    <a:gd name="connsiteX39" fmla="*/ 144478 w 153875"/>
                    <a:gd name="connsiteY39" fmla="*/ 31931 h 92645"/>
                    <a:gd name="connsiteX40" fmla="*/ 143158 w 153875"/>
                    <a:gd name="connsiteY40" fmla="*/ 34049 h 92645"/>
                    <a:gd name="connsiteX41" fmla="*/ 142017 w 153875"/>
                    <a:gd name="connsiteY41" fmla="*/ 34995 h 92645"/>
                    <a:gd name="connsiteX42" fmla="*/ 141072 w 153875"/>
                    <a:gd name="connsiteY42" fmla="*/ 34783 h 92645"/>
                    <a:gd name="connsiteX43" fmla="*/ 139157 w 153875"/>
                    <a:gd name="connsiteY43" fmla="*/ 35614 h 92645"/>
                    <a:gd name="connsiteX44" fmla="*/ 136272 w 153875"/>
                    <a:gd name="connsiteY44" fmla="*/ 37497 h 92645"/>
                    <a:gd name="connsiteX45" fmla="*/ 133664 w 153875"/>
                    <a:gd name="connsiteY45" fmla="*/ 38206 h 92645"/>
                    <a:gd name="connsiteX46" fmla="*/ 131341 w 153875"/>
                    <a:gd name="connsiteY46" fmla="*/ 37749 h 92645"/>
                    <a:gd name="connsiteX47" fmla="*/ 130673 w 153875"/>
                    <a:gd name="connsiteY47" fmla="*/ 38214 h 92645"/>
                    <a:gd name="connsiteX48" fmla="*/ 130493 w 153875"/>
                    <a:gd name="connsiteY48" fmla="*/ 38833 h 92645"/>
                    <a:gd name="connsiteX49" fmla="*/ 130143 w 153875"/>
                    <a:gd name="connsiteY49" fmla="*/ 39428 h 92645"/>
                    <a:gd name="connsiteX50" fmla="*/ 129247 w 153875"/>
                    <a:gd name="connsiteY50" fmla="*/ 39754 h 92645"/>
                    <a:gd name="connsiteX51" fmla="*/ 128212 w 153875"/>
                    <a:gd name="connsiteY51" fmla="*/ 39583 h 92645"/>
                    <a:gd name="connsiteX52" fmla="*/ 127054 w 153875"/>
                    <a:gd name="connsiteY52" fmla="*/ 38915 h 92645"/>
                    <a:gd name="connsiteX53" fmla="*/ 126443 w 153875"/>
                    <a:gd name="connsiteY53" fmla="*/ 39208 h 92645"/>
                    <a:gd name="connsiteX54" fmla="*/ 126378 w 153875"/>
                    <a:gd name="connsiteY54" fmla="*/ 40439 h 92645"/>
                    <a:gd name="connsiteX55" fmla="*/ 125751 w 153875"/>
                    <a:gd name="connsiteY55" fmla="*/ 40773 h 92645"/>
                    <a:gd name="connsiteX56" fmla="*/ 124560 w 153875"/>
                    <a:gd name="connsiteY56" fmla="*/ 40186 h 92645"/>
                    <a:gd name="connsiteX57" fmla="*/ 123216 w 153875"/>
                    <a:gd name="connsiteY57" fmla="*/ 40635 h 92645"/>
                    <a:gd name="connsiteX58" fmla="*/ 121733 w 153875"/>
                    <a:gd name="connsiteY58" fmla="*/ 42101 h 92645"/>
                    <a:gd name="connsiteX59" fmla="*/ 119646 w 153875"/>
                    <a:gd name="connsiteY59" fmla="*/ 42419 h 92645"/>
                    <a:gd name="connsiteX60" fmla="*/ 116957 w 153875"/>
                    <a:gd name="connsiteY60" fmla="*/ 41572 h 92645"/>
                    <a:gd name="connsiteX61" fmla="*/ 114879 w 153875"/>
                    <a:gd name="connsiteY61" fmla="*/ 39982 h 92645"/>
                    <a:gd name="connsiteX62" fmla="*/ 113404 w 153875"/>
                    <a:gd name="connsiteY62" fmla="*/ 37644 h 92645"/>
                    <a:gd name="connsiteX63" fmla="*/ 111635 w 153875"/>
                    <a:gd name="connsiteY63" fmla="*/ 37049 h 92645"/>
                    <a:gd name="connsiteX64" fmla="*/ 108538 w 153875"/>
                    <a:gd name="connsiteY64" fmla="*/ 38793 h 92645"/>
                    <a:gd name="connsiteX65" fmla="*/ 107242 w 153875"/>
                    <a:gd name="connsiteY65" fmla="*/ 40830 h 92645"/>
                    <a:gd name="connsiteX66" fmla="*/ 106965 w 153875"/>
                    <a:gd name="connsiteY66" fmla="*/ 42069 h 92645"/>
                    <a:gd name="connsiteX67" fmla="*/ 107267 w 153875"/>
                    <a:gd name="connsiteY67" fmla="*/ 43193 h 92645"/>
                    <a:gd name="connsiteX68" fmla="*/ 106696 w 153875"/>
                    <a:gd name="connsiteY68" fmla="*/ 43951 h 92645"/>
                    <a:gd name="connsiteX69" fmla="*/ 105262 w 153875"/>
                    <a:gd name="connsiteY69" fmla="*/ 44326 h 92645"/>
                    <a:gd name="connsiteX70" fmla="*/ 104170 w 153875"/>
                    <a:gd name="connsiteY70" fmla="*/ 45703 h 92645"/>
                    <a:gd name="connsiteX71" fmla="*/ 103420 w 153875"/>
                    <a:gd name="connsiteY71" fmla="*/ 48091 h 92645"/>
                    <a:gd name="connsiteX72" fmla="*/ 103273 w 153875"/>
                    <a:gd name="connsiteY72" fmla="*/ 49941 h 92645"/>
                    <a:gd name="connsiteX73" fmla="*/ 103722 w 153875"/>
                    <a:gd name="connsiteY73" fmla="*/ 51237 h 92645"/>
                    <a:gd name="connsiteX74" fmla="*/ 103005 w 153875"/>
                    <a:gd name="connsiteY74" fmla="*/ 52191 h 92645"/>
                    <a:gd name="connsiteX75" fmla="*/ 101130 w 153875"/>
                    <a:gd name="connsiteY75" fmla="*/ 52810 h 92645"/>
                    <a:gd name="connsiteX76" fmla="*/ 98913 w 153875"/>
                    <a:gd name="connsiteY76" fmla="*/ 54864 h 92645"/>
                    <a:gd name="connsiteX77" fmla="*/ 96354 w 153875"/>
                    <a:gd name="connsiteY77" fmla="*/ 58376 h 92645"/>
                    <a:gd name="connsiteX78" fmla="*/ 93812 w 153875"/>
                    <a:gd name="connsiteY78" fmla="*/ 60813 h 92645"/>
                    <a:gd name="connsiteX79" fmla="*/ 91277 w 153875"/>
                    <a:gd name="connsiteY79" fmla="*/ 62199 h 92645"/>
                    <a:gd name="connsiteX80" fmla="*/ 90055 w 153875"/>
                    <a:gd name="connsiteY80" fmla="*/ 63739 h 92645"/>
                    <a:gd name="connsiteX81" fmla="*/ 90136 w 153875"/>
                    <a:gd name="connsiteY81" fmla="*/ 65434 h 92645"/>
                    <a:gd name="connsiteX82" fmla="*/ 89981 w 153875"/>
                    <a:gd name="connsiteY82" fmla="*/ 65956 h 92645"/>
                    <a:gd name="connsiteX83" fmla="*/ 89500 w 153875"/>
                    <a:gd name="connsiteY83" fmla="*/ 66159 h 92645"/>
                    <a:gd name="connsiteX84" fmla="*/ 88669 w 153875"/>
                    <a:gd name="connsiteY84" fmla="*/ 66388 h 92645"/>
                    <a:gd name="connsiteX85" fmla="*/ 83779 w 153875"/>
                    <a:gd name="connsiteY85" fmla="*/ 62704 h 92645"/>
                    <a:gd name="connsiteX86" fmla="*/ 82378 w 153875"/>
                    <a:gd name="connsiteY86" fmla="*/ 60137 h 92645"/>
                    <a:gd name="connsiteX87" fmla="*/ 81163 w 153875"/>
                    <a:gd name="connsiteY87" fmla="*/ 60528 h 92645"/>
                    <a:gd name="connsiteX88" fmla="*/ 79631 w 153875"/>
                    <a:gd name="connsiteY88" fmla="*/ 61824 h 92645"/>
                    <a:gd name="connsiteX89" fmla="*/ 77471 w 153875"/>
                    <a:gd name="connsiteY89" fmla="*/ 64709 h 92645"/>
                    <a:gd name="connsiteX90" fmla="*/ 75157 w 153875"/>
                    <a:gd name="connsiteY90" fmla="*/ 68645 h 92645"/>
                    <a:gd name="connsiteX91" fmla="*/ 74041 w 153875"/>
                    <a:gd name="connsiteY91" fmla="*/ 69085 h 92645"/>
                    <a:gd name="connsiteX92" fmla="*/ 68254 w 153875"/>
                    <a:gd name="connsiteY92" fmla="*/ 68498 h 92645"/>
                    <a:gd name="connsiteX93" fmla="*/ 65198 w 153875"/>
                    <a:gd name="connsiteY93" fmla="*/ 68841 h 92645"/>
                    <a:gd name="connsiteX94" fmla="*/ 64562 w 153875"/>
                    <a:gd name="connsiteY94" fmla="*/ 69370 h 92645"/>
                    <a:gd name="connsiteX95" fmla="*/ 64277 w 153875"/>
                    <a:gd name="connsiteY95" fmla="*/ 70805 h 92645"/>
                    <a:gd name="connsiteX96" fmla="*/ 64448 w 153875"/>
                    <a:gd name="connsiteY96" fmla="*/ 72736 h 92645"/>
                    <a:gd name="connsiteX97" fmla="*/ 65288 w 153875"/>
                    <a:gd name="connsiteY97" fmla="*/ 79664 h 92645"/>
                    <a:gd name="connsiteX98" fmla="*/ 65760 w 153875"/>
                    <a:gd name="connsiteY98" fmla="*/ 82516 h 92645"/>
                    <a:gd name="connsiteX99" fmla="*/ 65296 w 153875"/>
                    <a:gd name="connsiteY99" fmla="*/ 83388 h 92645"/>
                    <a:gd name="connsiteX100" fmla="*/ 63739 w 153875"/>
                    <a:gd name="connsiteY100" fmla="*/ 83535 h 92645"/>
                    <a:gd name="connsiteX101" fmla="*/ 61718 w 153875"/>
                    <a:gd name="connsiteY101" fmla="*/ 83934 h 92645"/>
                    <a:gd name="connsiteX102" fmla="*/ 60610 w 153875"/>
                    <a:gd name="connsiteY102" fmla="*/ 85230 h 92645"/>
                    <a:gd name="connsiteX103" fmla="*/ 60341 w 153875"/>
                    <a:gd name="connsiteY103" fmla="*/ 86574 h 92645"/>
                    <a:gd name="connsiteX104" fmla="*/ 60235 w 153875"/>
                    <a:gd name="connsiteY104" fmla="*/ 88449 h 92645"/>
                    <a:gd name="connsiteX105" fmla="*/ 59591 w 153875"/>
                    <a:gd name="connsiteY105" fmla="*/ 90388 h 92645"/>
                    <a:gd name="connsiteX106" fmla="*/ 58336 w 153875"/>
                    <a:gd name="connsiteY106" fmla="*/ 91782 h 92645"/>
                    <a:gd name="connsiteX107" fmla="*/ 57105 w 153875"/>
                    <a:gd name="connsiteY107" fmla="*/ 92279 h 92645"/>
                    <a:gd name="connsiteX108" fmla="*/ 50211 w 153875"/>
                    <a:gd name="connsiteY108" fmla="*/ 92646 h 92645"/>
                    <a:gd name="connsiteX109" fmla="*/ 50325 w 153875"/>
                    <a:gd name="connsiteY109" fmla="*/ 89451 h 92645"/>
                    <a:gd name="connsiteX110" fmla="*/ 48336 w 153875"/>
                    <a:gd name="connsiteY110" fmla="*/ 88156 h 92645"/>
                    <a:gd name="connsiteX111" fmla="*/ 47203 w 153875"/>
                    <a:gd name="connsiteY111" fmla="*/ 85474 h 92645"/>
                    <a:gd name="connsiteX112" fmla="*/ 46209 w 153875"/>
                    <a:gd name="connsiteY112" fmla="*/ 83673 h 92645"/>
                    <a:gd name="connsiteX113" fmla="*/ 46535 w 153875"/>
                    <a:gd name="connsiteY113" fmla="*/ 82589 h 92645"/>
                    <a:gd name="connsiteX114" fmla="*/ 46437 w 153875"/>
                    <a:gd name="connsiteY114" fmla="*/ 81310 h 92645"/>
                    <a:gd name="connsiteX115" fmla="*/ 43634 w 153875"/>
                    <a:gd name="connsiteY115" fmla="*/ 80315 h 92645"/>
                    <a:gd name="connsiteX116" fmla="*/ 41001 w 153875"/>
                    <a:gd name="connsiteY116" fmla="*/ 81090 h 92645"/>
                    <a:gd name="connsiteX117" fmla="*/ 39485 w 153875"/>
                    <a:gd name="connsiteY117" fmla="*/ 80585 h 92645"/>
                    <a:gd name="connsiteX118" fmla="*/ 38377 w 153875"/>
                    <a:gd name="connsiteY118" fmla="*/ 79908 h 92645"/>
                    <a:gd name="connsiteX119" fmla="*/ 40292 w 153875"/>
                    <a:gd name="connsiteY119" fmla="*/ 78327 h 92645"/>
                    <a:gd name="connsiteX120" fmla="*/ 40423 w 153875"/>
                    <a:gd name="connsiteY120" fmla="*/ 77365 h 92645"/>
                    <a:gd name="connsiteX121" fmla="*/ 39812 w 153875"/>
                    <a:gd name="connsiteY121" fmla="*/ 76664 h 92645"/>
                    <a:gd name="connsiteX122" fmla="*/ 39176 w 153875"/>
                    <a:gd name="connsiteY122" fmla="*/ 76200 h 92645"/>
                    <a:gd name="connsiteX123" fmla="*/ 39363 w 153875"/>
                    <a:gd name="connsiteY123" fmla="*/ 74407 h 92645"/>
                    <a:gd name="connsiteX124" fmla="*/ 39755 w 153875"/>
                    <a:gd name="connsiteY124" fmla="*/ 72296 h 92645"/>
                    <a:gd name="connsiteX125" fmla="*/ 40830 w 153875"/>
                    <a:gd name="connsiteY125" fmla="*/ 67357 h 92645"/>
                    <a:gd name="connsiteX126" fmla="*/ 40431 w 153875"/>
                    <a:gd name="connsiteY126" fmla="*/ 66494 h 92645"/>
                    <a:gd name="connsiteX127" fmla="*/ 38679 w 153875"/>
                    <a:gd name="connsiteY127" fmla="*/ 65002 h 92645"/>
                    <a:gd name="connsiteX128" fmla="*/ 36454 w 153875"/>
                    <a:gd name="connsiteY128" fmla="*/ 64855 h 92645"/>
                    <a:gd name="connsiteX129" fmla="*/ 34001 w 153875"/>
                    <a:gd name="connsiteY129" fmla="*/ 65320 h 92645"/>
                    <a:gd name="connsiteX130" fmla="*/ 32811 w 153875"/>
                    <a:gd name="connsiteY130" fmla="*/ 64562 h 92645"/>
                    <a:gd name="connsiteX131" fmla="*/ 31776 w 153875"/>
                    <a:gd name="connsiteY131" fmla="*/ 62867 h 92645"/>
                    <a:gd name="connsiteX132" fmla="*/ 30024 w 153875"/>
                    <a:gd name="connsiteY132" fmla="*/ 62052 h 92645"/>
                    <a:gd name="connsiteX133" fmla="*/ 26919 w 153875"/>
                    <a:gd name="connsiteY133" fmla="*/ 63413 h 92645"/>
                    <a:gd name="connsiteX134" fmla="*/ 23642 w 153875"/>
                    <a:gd name="connsiteY134" fmla="*/ 65459 h 92645"/>
                    <a:gd name="connsiteX135" fmla="*/ 22632 w 153875"/>
                    <a:gd name="connsiteY135" fmla="*/ 66200 h 92645"/>
                    <a:gd name="connsiteX136" fmla="*/ 21801 w 153875"/>
                    <a:gd name="connsiteY136" fmla="*/ 66094 h 92645"/>
                    <a:gd name="connsiteX137" fmla="*/ 21434 w 153875"/>
                    <a:gd name="connsiteY137" fmla="*/ 64570 h 92645"/>
                    <a:gd name="connsiteX138" fmla="*/ 21263 w 153875"/>
                    <a:gd name="connsiteY138" fmla="*/ 62753 h 92645"/>
                    <a:gd name="connsiteX139" fmla="*/ 21059 w 153875"/>
                    <a:gd name="connsiteY139" fmla="*/ 62305 h 92645"/>
                    <a:gd name="connsiteX140" fmla="*/ 19307 w 153875"/>
                    <a:gd name="connsiteY140" fmla="*/ 61661 h 92645"/>
                    <a:gd name="connsiteX141" fmla="*/ 17261 w 153875"/>
                    <a:gd name="connsiteY141" fmla="*/ 61196 h 92645"/>
                    <a:gd name="connsiteX142" fmla="*/ 16226 w 153875"/>
                    <a:gd name="connsiteY142" fmla="*/ 60691 h 92645"/>
                    <a:gd name="connsiteX143" fmla="*/ 15240 w 153875"/>
                    <a:gd name="connsiteY143" fmla="*/ 59469 h 92645"/>
                    <a:gd name="connsiteX144" fmla="*/ 12795 w 153875"/>
                    <a:gd name="connsiteY144" fmla="*/ 57871 h 92645"/>
                    <a:gd name="connsiteX145" fmla="*/ 12241 w 153875"/>
                    <a:gd name="connsiteY145" fmla="*/ 56689 h 92645"/>
                    <a:gd name="connsiteX146" fmla="*/ 8973 w 153875"/>
                    <a:gd name="connsiteY146" fmla="*/ 53976 h 92645"/>
                    <a:gd name="connsiteX147" fmla="*/ 8313 w 153875"/>
                    <a:gd name="connsiteY147" fmla="*/ 52631 h 92645"/>
                    <a:gd name="connsiteX148" fmla="*/ 7563 w 153875"/>
                    <a:gd name="connsiteY148" fmla="*/ 51645 h 92645"/>
                    <a:gd name="connsiteX149" fmla="*/ 5998 w 153875"/>
                    <a:gd name="connsiteY149" fmla="*/ 50398 h 92645"/>
                    <a:gd name="connsiteX150" fmla="*/ 4768 w 153875"/>
                    <a:gd name="connsiteY150" fmla="*/ 50699 h 92645"/>
                    <a:gd name="connsiteX151" fmla="*/ 627 w 153875"/>
                    <a:gd name="connsiteY151" fmla="*/ 49151 h 92645"/>
                    <a:gd name="connsiteX152" fmla="*/ 0 w 153875"/>
                    <a:gd name="connsiteY152" fmla="*/ 49012 h 92645"/>
                    <a:gd name="connsiteX153" fmla="*/ 571 w 153875"/>
                    <a:gd name="connsiteY153" fmla="*/ 47651 h 92645"/>
                    <a:gd name="connsiteX154" fmla="*/ 1875 w 153875"/>
                    <a:gd name="connsiteY154" fmla="*/ 45541 h 92645"/>
                    <a:gd name="connsiteX155" fmla="*/ 4727 w 153875"/>
                    <a:gd name="connsiteY155" fmla="*/ 43202 h 92645"/>
                    <a:gd name="connsiteX156" fmla="*/ 4963 w 153875"/>
                    <a:gd name="connsiteY156" fmla="*/ 41303 h 92645"/>
                    <a:gd name="connsiteX157" fmla="*/ 4213 w 153875"/>
                    <a:gd name="connsiteY157" fmla="*/ 37668 h 92645"/>
                    <a:gd name="connsiteX158" fmla="*/ 3472 w 153875"/>
                    <a:gd name="connsiteY158" fmla="*/ 35313 h 92645"/>
                    <a:gd name="connsiteX159" fmla="*/ 3871 w 153875"/>
                    <a:gd name="connsiteY159" fmla="*/ 34261 h 92645"/>
                    <a:gd name="connsiteX160" fmla="*/ 4760 w 153875"/>
                    <a:gd name="connsiteY160" fmla="*/ 30015 h 92645"/>
                    <a:gd name="connsiteX161" fmla="*/ 5444 w 153875"/>
                    <a:gd name="connsiteY161" fmla="*/ 29029 h 92645"/>
                    <a:gd name="connsiteX162" fmla="*/ 9568 w 153875"/>
                    <a:gd name="connsiteY162" fmla="*/ 26886 h 92645"/>
                    <a:gd name="connsiteX163" fmla="*/ 9951 w 153875"/>
                    <a:gd name="connsiteY163" fmla="*/ 26593 h 92645"/>
                    <a:gd name="connsiteX164" fmla="*/ 13195 w 153875"/>
                    <a:gd name="connsiteY164" fmla="*/ 23585 h 92645"/>
                    <a:gd name="connsiteX165" fmla="*/ 16805 w 153875"/>
                    <a:gd name="connsiteY165" fmla="*/ 20244 h 92645"/>
                    <a:gd name="connsiteX166" fmla="*/ 20545 w 153875"/>
                    <a:gd name="connsiteY166" fmla="*/ 16568 h 92645"/>
                    <a:gd name="connsiteX167" fmla="*/ 24734 w 153875"/>
                    <a:gd name="connsiteY167" fmla="*/ 12453 h 92645"/>
                    <a:gd name="connsiteX168" fmla="*/ 27041 w 153875"/>
                    <a:gd name="connsiteY168" fmla="*/ 10048 h 92645"/>
                    <a:gd name="connsiteX169" fmla="*/ 28108 w 153875"/>
                    <a:gd name="connsiteY169" fmla="*/ 9005 h 92645"/>
                    <a:gd name="connsiteX170" fmla="*/ 30521 w 153875"/>
                    <a:gd name="connsiteY170" fmla="*/ 9853 h 92645"/>
                    <a:gd name="connsiteX171" fmla="*/ 32412 w 153875"/>
                    <a:gd name="connsiteY171" fmla="*/ 7913 h 92645"/>
                    <a:gd name="connsiteX172" fmla="*/ 33504 w 153875"/>
                    <a:gd name="connsiteY172" fmla="*/ 7253 h 92645"/>
                    <a:gd name="connsiteX173" fmla="*/ 36071 w 153875"/>
                    <a:gd name="connsiteY173" fmla="*/ 4922 h 92645"/>
                    <a:gd name="connsiteX174" fmla="*/ 36870 w 153875"/>
                    <a:gd name="connsiteY174" fmla="*/ 4417 h 92645"/>
                    <a:gd name="connsiteX175" fmla="*/ 41156 w 153875"/>
                    <a:gd name="connsiteY175" fmla="*/ 3455 h 92645"/>
                    <a:gd name="connsiteX176" fmla="*/ 43235 w 153875"/>
                    <a:gd name="connsiteY176" fmla="*/ 3480 h 92645"/>
                    <a:gd name="connsiteX177" fmla="*/ 45052 w 153875"/>
                    <a:gd name="connsiteY177" fmla="*/ 5843 h 92645"/>
                    <a:gd name="connsiteX178" fmla="*/ 46494 w 153875"/>
                    <a:gd name="connsiteY178" fmla="*/ 7131 h 92645"/>
                    <a:gd name="connsiteX179" fmla="*/ 49208 w 153875"/>
                    <a:gd name="connsiteY179" fmla="*/ 6031 h 92645"/>
                    <a:gd name="connsiteX180" fmla="*/ 51474 w 153875"/>
                    <a:gd name="connsiteY180" fmla="*/ 5794 h 92645"/>
                    <a:gd name="connsiteX181" fmla="*/ 60862 w 153875"/>
                    <a:gd name="connsiteY181" fmla="*/ 7995 h 92645"/>
                    <a:gd name="connsiteX182" fmla="*/ 64587 w 153875"/>
                    <a:gd name="connsiteY182" fmla="*/ 7025 h 92645"/>
                    <a:gd name="connsiteX183" fmla="*/ 71441 w 153875"/>
                    <a:gd name="connsiteY183" fmla="*/ 6813 h 92645"/>
                    <a:gd name="connsiteX184" fmla="*/ 74521 w 153875"/>
                    <a:gd name="connsiteY184" fmla="*/ 7359 h 92645"/>
                    <a:gd name="connsiteX185" fmla="*/ 78873 w 153875"/>
                    <a:gd name="connsiteY185" fmla="*/ 4254 h 92645"/>
                    <a:gd name="connsiteX186" fmla="*/ 81668 w 153875"/>
                    <a:gd name="connsiteY186" fmla="*/ 3626 h 92645"/>
                    <a:gd name="connsiteX187" fmla="*/ 84945 w 153875"/>
                    <a:gd name="connsiteY187" fmla="*/ 2168 h 92645"/>
                    <a:gd name="connsiteX188" fmla="*/ 84513 w 153875"/>
                    <a:gd name="connsiteY188" fmla="*/ 668 h 92645"/>
                    <a:gd name="connsiteX189" fmla="*/ 83722 w 153875"/>
                    <a:gd name="connsiteY189" fmla="*/ 0 h 92645"/>
                    <a:gd name="connsiteX190" fmla="*/ 88726 w 153875"/>
                    <a:gd name="connsiteY190" fmla="*/ 652 h 92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153875" h="92645">
                      <a:moveTo>
                        <a:pt x="88726" y="652"/>
                      </a:moveTo>
                      <a:lnTo>
                        <a:pt x="96175" y="3806"/>
                      </a:lnTo>
                      <a:lnTo>
                        <a:pt x="104113" y="3235"/>
                      </a:lnTo>
                      <a:lnTo>
                        <a:pt x="106973" y="1540"/>
                      </a:lnTo>
                      <a:lnTo>
                        <a:pt x="108823" y="1051"/>
                      </a:lnTo>
                      <a:lnTo>
                        <a:pt x="116949" y="4295"/>
                      </a:lnTo>
                      <a:lnTo>
                        <a:pt x="119092" y="6781"/>
                      </a:lnTo>
                      <a:lnTo>
                        <a:pt x="120763" y="7033"/>
                      </a:lnTo>
                      <a:lnTo>
                        <a:pt x="122067" y="6463"/>
                      </a:lnTo>
                      <a:lnTo>
                        <a:pt x="122409" y="5949"/>
                      </a:lnTo>
                      <a:lnTo>
                        <a:pt x="120812" y="5411"/>
                      </a:lnTo>
                      <a:lnTo>
                        <a:pt x="120086" y="4629"/>
                      </a:lnTo>
                      <a:lnTo>
                        <a:pt x="126492" y="6161"/>
                      </a:lnTo>
                      <a:lnTo>
                        <a:pt x="138545" y="17929"/>
                      </a:lnTo>
                      <a:lnTo>
                        <a:pt x="138798" y="18883"/>
                      </a:lnTo>
                      <a:lnTo>
                        <a:pt x="133656" y="15403"/>
                      </a:lnTo>
                      <a:lnTo>
                        <a:pt x="130934" y="15672"/>
                      </a:lnTo>
                      <a:lnTo>
                        <a:pt x="130225" y="16234"/>
                      </a:lnTo>
                      <a:lnTo>
                        <a:pt x="130371" y="18133"/>
                      </a:lnTo>
                      <a:lnTo>
                        <a:pt x="130624" y="19021"/>
                      </a:lnTo>
                      <a:lnTo>
                        <a:pt x="131790" y="19119"/>
                      </a:lnTo>
                      <a:lnTo>
                        <a:pt x="132653" y="18614"/>
                      </a:lnTo>
                      <a:lnTo>
                        <a:pt x="134780" y="19233"/>
                      </a:lnTo>
                      <a:lnTo>
                        <a:pt x="136182" y="20496"/>
                      </a:lnTo>
                      <a:lnTo>
                        <a:pt x="137894" y="22428"/>
                      </a:lnTo>
                      <a:lnTo>
                        <a:pt x="138921" y="24531"/>
                      </a:lnTo>
                      <a:lnTo>
                        <a:pt x="140021" y="24563"/>
                      </a:lnTo>
                      <a:lnTo>
                        <a:pt x="141104" y="23292"/>
                      </a:lnTo>
                      <a:lnTo>
                        <a:pt x="143150" y="23137"/>
                      </a:lnTo>
                      <a:lnTo>
                        <a:pt x="144487" y="24555"/>
                      </a:lnTo>
                      <a:lnTo>
                        <a:pt x="145432" y="24465"/>
                      </a:lnTo>
                      <a:lnTo>
                        <a:pt x="144112" y="22273"/>
                      </a:lnTo>
                      <a:lnTo>
                        <a:pt x="141015" y="20089"/>
                      </a:lnTo>
                      <a:lnTo>
                        <a:pt x="141748" y="19999"/>
                      </a:lnTo>
                      <a:lnTo>
                        <a:pt x="148627" y="23911"/>
                      </a:lnTo>
                      <a:lnTo>
                        <a:pt x="150566" y="28817"/>
                      </a:lnTo>
                      <a:lnTo>
                        <a:pt x="152180" y="29934"/>
                      </a:lnTo>
                      <a:lnTo>
                        <a:pt x="153875" y="31433"/>
                      </a:lnTo>
                      <a:lnTo>
                        <a:pt x="147486" y="30985"/>
                      </a:lnTo>
                      <a:lnTo>
                        <a:pt x="144478" y="31931"/>
                      </a:lnTo>
                      <a:lnTo>
                        <a:pt x="143158" y="34049"/>
                      </a:lnTo>
                      <a:lnTo>
                        <a:pt x="142017" y="34995"/>
                      </a:lnTo>
                      <a:lnTo>
                        <a:pt x="141072" y="34783"/>
                      </a:lnTo>
                      <a:lnTo>
                        <a:pt x="139157" y="35614"/>
                      </a:lnTo>
                      <a:lnTo>
                        <a:pt x="136272" y="37497"/>
                      </a:lnTo>
                      <a:lnTo>
                        <a:pt x="133664" y="38206"/>
                      </a:lnTo>
                      <a:lnTo>
                        <a:pt x="131341" y="37749"/>
                      </a:lnTo>
                      <a:lnTo>
                        <a:pt x="130673" y="38214"/>
                      </a:lnTo>
                      <a:lnTo>
                        <a:pt x="130493" y="38833"/>
                      </a:lnTo>
                      <a:lnTo>
                        <a:pt x="130143" y="39428"/>
                      </a:lnTo>
                      <a:lnTo>
                        <a:pt x="129247" y="39754"/>
                      </a:lnTo>
                      <a:lnTo>
                        <a:pt x="128212" y="39583"/>
                      </a:lnTo>
                      <a:lnTo>
                        <a:pt x="127054" y="38915"/>
                      </a:lnTo>
                      <a:lnTo>
                        <a:pt x="126443" y="39208"/>
                      </a:lnTo>
                      <a:lnTo>
                        <a:pt x="126378" y="40439"/>
                      </a:lnTo>
                      <a:lnTo>
                        <a:pt x="125751" y="40773"/>
                      </a:lnTo>
                      <a:lnTo>
                        <a:pt x="124560" y="40186"/>
                      </a:lnTo>
                      <a:lnTo>
                        <a:pt x="123216" y="40635"/>
                      </a:lnTo>
                      <a:lnTo>
                        <a:pt x="121733" y="42101"/>
                      </a:lnTo>
                      <a:lnTo>
                        <a:pt x="119646" y="42419"/>
                      </a:lnTo>
                      <a:lnTo>
                        <a:pt x="116957" y="41572"/>
                      </a:lnTo>
                      <a:lnTo>
                        <a:pt x="114879" y="39982"/>
                      </a:lnTo>
                      <a:lnTo>
                        <a:pt x="113404" y="37644"/>
                      </a:lnTo>
                      <a:lnTo>
                        <a:pt x="111635" y="37049"/>
                      </a:lnTo>
                      <a:lnTo>
                        <a:pt x="108538" y="38793"/>
                      </a:lnTo>
                      <a:lnTo>
                        <a:pt x="107242" y="40830"/>
                      </a:lnTo>
                      <a:lnTo>
                        <a:pt x="106965" y="42069"/>
                      </a:lnTo>
                      <a:lnTo>
                        <a:pt x="107267" y="43193"/>
                      </a:lnTo>
                      <a:lnTo>
                        <a:pt x="106696" y="43951"/>
                      </a:lnTo>
                      <a:lnTo>
                        <a:pt x="105262" y="44326"/>
                      </a:lnTo>
                      <a:lnTo>
                        <a:pt x="104170" y="45703"/>
                      </a:lnTo>
                      <a:lnTo>
                        <a:pt x="103420" y="48091"/>
                      </a:lnTo>
                      <a:lnTo>
                        <a:pt x="103273" y="49941"/>
                      </a:lnTo>
                      <a:lnTo>
                        <a:pt x="103722" y="51237"/>
                      </a:lnTo>
                      <a:lnTo>
                        <a:pt x="103005" y="52191"/>
                      </a:lnTo>
                      <a:lnTo>
                        <a:pt x="101130" y="52810"/>
                      </a:lnTo>
                      <a:lnTo>
                        <a:pt x="98913" y="54864"/>
                      </a:lnTo>
                      <a:lnTo>
                        <a:pt x="96354" y="58376"/>
                      </a:lnTo>
                      <a:lnTo>
                        <a:pt x="93812" y="60813"/>
                      </a:lnTo>
                      <a:lnTo>
                        <a:pt x="91277" y="62199"/>
                      </a:lnTo>
                      <a:lnTo>
                        <a:pt x="90055" y="63739"/>
                      </a:lnTo>
                      <a:lnTo>
                        <a:pt x="90136" y="65434"/>
                      </a:lnTo>
                      <a:lnTo>
                        <a:pt x="89981" y="65956"/>
                      </a:lnTo>
                      <a:lnTo>
                        <a:pt x="89500" y="66159"/>
                      </a:lnTo>
                      <a:lnTo>
                        <a:pt x="88669" y="66388"/>
                      </a:lnTo>
                      <a:lnTo>
                        <a:pt x="83779" y="62704"/>
                      </a:lnTo>
                      <a:lnTo>
                        <a:pt x="82378" y="60137"/>
                      </a:lnTo>
                      <a:lnTo>
                        <a:pt x="81163" y="60528"/>
                      </a:lnTo>
                      <a:lnTo>
                        <a:pt x="79631" y="61824"/>
                      </a:lnTo>
                      <a:lnTo>
                        <a:pt x="77471" y="64709"/>
                      </a:lnTo>
                      <a:lnTo>
                        <a:pt x="75157" y="68645"/>
                      </a:lnTo>
                      <a:lnTo>
                        <a:pt x="74041" y="69085"/>
                      </a:lnTo>
                      <a:lnTo>
                        <a:pt x="68254" y="68498"/>
                      </a:lnTo>
                      <a:lnTo>
                        <a:pt x="65198" y="68841"/>
                      </a:lnTo>
                      <a:lnTo>
                        <a:pt x="64562" y="69370"/>
                      </a:lnTo>
                      <a:lnTo>
                        <a:pt x="64277" y="70805"/>
                      </a:lnTo>
                      <a:lnTo>
                        <a:pt x="64448" y="72736"/>
                      </a:lnTo>
                      <a:lnTo>
                        <a:pt x="65288" y="79664"/>
                      </a:lnTo>
                      <a:lnTo>
                        <a:pt x="65760" y="82516"/>
                      </a:lnTo>
                      <a:lnTo>
                        <a:pt x="65296" y="83388"/>
                      </a:lnTo>
                      <a:lnTo>
                        <a:pt x="63739" y="83535"/>
                      </a:lnTo>
                      <a:lnTo>
                        <a:pt x="61718" y="83934"/>
                      </a:lnTo>
                      <a:lnTo>
                        <a:pt x="60610" y="85230"/>
                      </a:lnTo>
                      <a:lnTo>
                        <a:pt x="60341" y="86574"/>
                      </a:lnTo>
                      <a:lnTo>
                        <a:pt x="60235" y="88449"/>
                      </a:lnTo>
                      <a:lnTo>
                        <a:pt x="59591" y="90388"/>
                      </a:lnTo>
                      <a:lnTo>
                        <a:pt x="58336" y="91782"/>
                      </a:lnTo>
                      <a:lnTo>
                        <a:pt x="57105" y="92279"/>
                      </a:lnTo>
                      <a:lnTo>
                        <a:pt x="50211" y="92646"/>
                      </a:lnTo>
                      <a:lnTo>
                        <a:pt x="50325" y="89451"/>
                      </a:lnTo>
                      <a:lnTo>
                        <a:pt x="48336" y="88156"/>
                      </a:lnTo>
                      <a:lnTo>
                        <a:pt x="47203" y="85474"/>
                      </a:lnTo>
                      <a:lnTo>
                        <a:pt x="46209" y="83673"/>
                      </a:lnTo>
                      <a:lnTo>
                        <a:pt x="46535" y="82589"/>
                      </a:lnTo>
                      <a:lnTo>
                        <a:pt x="46437" y="81310"/>
                      </a:lnTo>
                      <a:lnTo>
                        <a:pt x="43634" y="80315"/>
                      </a:lnTo>
                      <a:lnTo>
                        <a:pt x="41001" y="81090"/>
                      </a:lnTo>
                      <a:lnTo>
                        <a:pt x="39485" y="80585"/>
                      </a:lnTo>
                      <a:lnTo>
                        <a:pt x="38377" y="79908"/>
                      </a:lnTo>
                      <a:lnTo>
                        <a:pt x="40292" y="78327"/>
                      </a:lnTo>
                      <a:lnTo>
                        <a:pt x="40423" y="77365"/>
                      </a:lnTo>
                      <a:lnTo>
                        <a:pt x="39812" y="76664"/>
                      </a:lnTo>
                      <a:lnTo>
                        <a:pt x="39176" y="76200"/>
                      </a:lnTo>
                      <a:lnTo>
                        <a:pt x="39363" y="74407"/>
                      </a:lnTo>
                      <a:lnTo>
                        <a:pt x="39755" y="72296"/>
                      </a:lnTo>
                      <a:lnTo>
                        <a:pt x="40830" y="67357"/>
                      </a:lnTo>
                      <a:lnTo>
                        <a:pt x="40431" y="66494"/>
                      </a:lnTo>
                      <a:lnTo>
                        <a:pt x="38679" y="65002"/>
                      </a:lnTo>
                      <a:lnTo>
                        <a:pt x="36454" y="64855"/>
                      </a:lnTo>
                      <a:lnTo>
                        <a:pt x="34001" y="65320"/>
                      </a:lnTo>
                      <a:lnTo>
                        <a:pt x="32811" y="64562"/>
                      </a:lnTo>
                      <a:lnTo>
                        <a:pt x="31776" y="62867"/>
                      </a:lnTo>
                      <a:lnTo>
                        <a:pt x="30024" y="62052"/>
                      </a:lnTo>
                      <a:lnTo>
                        <a:pt x="26919" y="63413"/>
                      </a:lnTo>
                      <a:lnTo>
                        <a:pt x="23642" y="65459"/>
                      </a:lnTo>
                      <a:lnTo>
                        <a:pt x="22632" y="66200"/>
                      </a:lnTo>
                      <a:lnTo>
                        <a:pt x="21801" y="66094"/>
                      </a:lnTo>
                      <a:lnTo>
                        <a:pt x="21434" y="64570"/>
                      </a:lnTo>
                      <a:lnTo>
                        <a:pt x="21263" y="62753"/>
                      </a:lnTo>
                      <a:lnTo>
                        <a:pt x="21059" y="62305"/>
                      </a:lnTo>
                      <a:lnTo>
                        <a:pt x="19307" y="61661"/>
                      </a:lnTo>
                      <a:lnTo>
                        <a:pt x="17261" y="61196"/>
                      </a:lnTo>
                      <a:lnTo>
                        <a:pt x="16226" y="60691"/>
                      </a:lnTo>
                      <a:lnTo>
                        <a:pt x="15240" y="59469"/>
                      </a:lnTo>
                      <a:lnTo>
                        <a:pt x="12795" y="57871"/>
                      </a:lnTo>
                      <a:lnTo>
                        <a:pt x="12241" y="56689"/>
                      </a:lnTo>
                      <a:lnTo>
                        <a:pt x="8973" y="53976"/>
                      </a:lnTo>
                      <a:lnTo>
                        <a:pt x="8313" y="52631"/>
                      </a:lnTo>
                      <a:lnTo>
                        <a:pt x="7563" y="51645"/>
                      </a:lnTo>
                      <a:lnTo>
                        <a:pt x="5998" y="50398"/>
                      </a:lnTo>
                      <a:lnTo>
                        <a:pt x="4768" y="50699"/>
                      </a:lnTo>
                      <a:lnTo>
                        <a:pt x="627" y="49151"/>
                      </a:lnTo>
                      <a:lnTo>
                        <a:pt x="0" y="49012"/>
                      </a:lnTo>
                      <a:lnTo>
                        <a:pt x="571" y="47651"/>
                      </a:lnTo>
                      <a:lnTo>
                        <a:pt x="1875" y="45541"/>
                      </a:lnTo>
                      <a:lnTo>
                        <a:pt x="4727" y="43202"/>
                      </a:lnTo>
                      <a:lnTo>
                        <a:pt x="4963" y="41303"/>
                      </a:lnTo>
                      <a:lnTo>
                        <a:pt x="4213" y="37668"/>
                      </a:lnTo>
                      <a:lnTo>
                        <a:pt x="3472" y="35313"/>
                      </a:lnTo>
                      <a:lnTo>
                        <a:pt x="3871" y="34261"/>
                      </a:lnTo>
                      <a:lnTo>
                        <a:pt x="4760" y="30015"/>
                      </a:lnTo>
                      <a:lnTo>
                        <a:pt x="5444" y="29029"/>
                      </a:lnTo>
                      <a:lnTo>
                        <a:pt x="9568" y="26886"/>
                      </a:lnTo>
                      <a:lnTo>
                        <a:pt x="9951" y="26593"/>
                      </a:lnTo>
                      <a:lnTo>
                        <a:pt x="13195" y="23585"/>
                      </a:lnTo>
                      <a:lnTo>
                        <a:pt x="16805" y="20244"/>
                      </a:lnTo>
                      <a:lnTo>
                        <a:pt x="20545" y="16568"/>
                      </a:lnTo>
                      <a:lnTo>
                        <a:pt x="24734" y="12453"/>
                      </a:lnTo>
                      <a:lnTo>
                        <a:pt x="27041" y="10048"/>
                      </a:lnTo>
                      <a:lnTo>
                        <a:pt x="28108" y="9005"/>
                      </a:lnTo>
                      <a:lnTo>
                        <a:pt x="30521" y="9853"/>
                      </a:lnTo>
                      <a:lnTo>
                        <a:pt x="32412" y="7913"/>
                      </a:lnTo>
                      <a:lnTo>
                        <a:pt x="33504" y="7253"/>
                      </a:lnTo>
                      <a:lnTo>
                        <a:pt x="36071" y="4922"/>
                      </a:lnTo>
                      <a:lnTo>
                        <a:pt x="36870" y="4417"/>
                      </a:lnTo>
                      <a:lnTo>
                        <a:pt x="41156" y="3455"/>
                      </a:lnTo>
                      <a:lnTo>
                        <a:pt x="43235" y="3480"/>
                      </a:lnTo>
                      <a:lnTo>
                        <a:pt x="45052" y="5843"/>
                      </a:lnTo>
                      <a:lnTo>
                        <a:pt x="46494" y="7131"/>
                      </a:lnTo>
                      <a:lnTo>
                        <a:pt x="49208" y="6031"/>
                      </a:lnTo>
                      <a:lnTo>
                        <a:pt x="51474" y="5794"/>
                      </a:lnTo>
                      <a:lnTo>
                        <a:pt x="60862" y="7995"/>
                      </a:lnTo>
                      <a:lnTo>
                        <a:pt x="64587" y="7025"/>
                      </a:lnTo>
                      <a:lnTo>
                        <a:pt x="71441" y="6813"/>
                      </a:lnTo>
                      <a:lnTo>
                        <a:pt x="74521" y="7359"/>
                      </a:lnTo>
                      <a:lnTo>
                        <a:pt x="78873" y="4254"/>
                      </a:lnTo>
                      <a:lnTo>
                        <a:pt x="81668" y="3626"/>
                      </a:lnTo>
                      <a:lnTo>
                        <a:pt x="84945" y="2168"/>
                      </a:lnTo>
                      <a:lnTo>
                        <a:pt x="84513" y="668"/>
                      </a:lnTo>
                      <a:lnTo>
                        <a:pt x="83722" y="0"/>
                      </a:lnTo>
                      <a:lnTo>
                        <a:pt x="88726" y="652"/>
                      </a:lnTo>
                      <a:close/>
                    </a:path>
                  </a:pathLst>
                </a:custGeom>
                <a:solidFill>
                  <a:srgbClr val="D6D6D2"/>
                </a:solidFill>
                <a:ln w="6112" cap="rnd">
                  <a:solidFill>
                    <a:srgbClr val="FFFFFF"/>
                  </a:solidFill>
                  <a:prstDash val="solid"/>
                  <a:round/>
                </a:ln>
              </p:spPr>
              <p:txBody>
                <a:bodyPr rtlCol="0" anchor="ctr"/>
                <a:lstStyle/>
                <a:p>
                  <a:endParaRPr lang="en-US"/>
                </a:p>
              </p:txBody>
            </p:sp>
            <p:sp>
              <p:nvSpPr>
                <p:cNvPr id="719" name="Freeform: Shape 718">
                  <a:extLst>
                    <a:ext uri="{FF2B5EF4-FFF2-40B4-BE49-F238E27FC236}">
                      <a16:creationId xmlns:a16="http://schemas.microsoft.com/office/drawing/2014/main" id="{0708EE78-31D8-42A0-8ACF-B1046F6FCFAF}"/>
                    </a:ext>
                  </a:extLst>
                </p:cNvPr>
                <p:cNvSpPr/>
                <p:nvPr/>
              </p:nvSpPr>
              <p:spPr>
                <a:xfrm>
                  <a:off x="4421001" y="4268073"/>
                  <a:ext cx="121724" cy="220458"/>
                </a:xfrm>
                <a:custGeom>
                  <a:avLst/>
                  <a:gdLst>
                    <a:gd name="connsiteX0" fmla="*/ 104072 w 121724"/>
                    <a:gd name="connsiteY0" fmla="*/ 90185 h 220458"/>
                    <a:gd name="connsiteX1" fmla="*/ 102752 w 121724"/>
                    <a:gd name="connsiteY1" fmla="*/ 92084 h 220458"/>
                    <a:gd name="connsiteX2" fmla="*/ 102516 w 121724"/>
                    <a:gd name="connsiteY2" fmla="*/ 93290 h 220458"/>
                    <a:gd name="connsiteX3" fmla="*/ 101660 w 121724"/>
                    <a:gd name="connsiteY3" fmla="*/ 95425 h 220458"/>
                    <a:gd name="connsiteX4" fmla="*/ 101000 w 121724"/>
                    <a:gd name="connsiteY4" fmla="*/ 96574 h 220458"/>
                    <a:gd name="connsiteX5" fmla="*/ 101961 w 121724"/>
                    <a:gd name="connsiteY5" fmla="*/ 99239 h 220458"/>
                    <a:gd name="connsiteX6" fmla="*/ 103062 w 121724"/>
                    <a:gd name="connsiteY6" fmla="*/ 99353 h 220458"/>
                    <a:gd name="connsiteX7" fmla="*/ 103477 w 121724"/>
                    <a:gd name="connsiteY7" fmla="*/ 99696 h 220458"/>
                    <a:gd name="connsiteX8" fmla="*/ 103763 w 121724"/>
                    <a:gd name="connsiteY8" fmla="*/ 100217 h 220458"/>
                    <a:gd name="connsiteX9" fmla="*/ 103697 w 121724"/>
                    <a:gd name="connsiteY9" fmla="*/ 100780 h 220458"/>
                    <a:gd name="connsiteX10" fmla="*/ 103274 w 121724"/>
                    <a:gd name="connsiteY10" fmla="*/ 101285 h 220458"/>
                    <a:gd name="connsiteX11" fmla="*/ 102222 w 121724"/>
                    <a:gd name="connsiteY11" fmla="*/ 101929 h 220458"/>
                    <a:gd name="connsiteX12" fmla="*/ 101220 w 121724"/>
                    <a:gd name="connsiteY12" fmla="*/ 103469 h 220458"/>
                    <a:gd name="connsiteX13" fmla="*/ 101318 w 121724"/>
                    <a:gd name="connsiteY13" fmla="*/ 105156 h 220458"/>
                    <a:gd name="connsiteX14" fmla="*/ 100690 w 121724"/>
                    <a:gd name="connsiteY14" fmla="*/ 106036 h 220458"/>
                    <a:gd name="connsiteX15" fmla="*/ 98677 w 121724"/>
                    <a:gd name="connsiteY15" fmla="*/ 106501 h 220458"/>
                    <a:gd name="connsiteX16" fmla="*/ 94741 w 121724"/>
                    <a:gd name="connsiteY16" fmla="*/ 106501 h 220458"/>
                    <a:gd name="connsiteX17" fmla="*/ 92809 w 121724"/>
                    <a:gd name="connsiteY17" fmla="*/ 106615 h 220458"/>
                    <a:gd name="connsiteX18" fmla="*/ 91261 w 121724"/>
                    <a:gd name="connsiteY18" fmla="*/ 106908 h 220458"/>
                    <a:gd name="connsiteX19" fmla="*/ 90250 w 121724"/>
                    <a:gd name="connsiteY19" fmla="*/ 108009 h 220458"/>
                    <a:gd name="connsiteX20" fmla="*/ 88954 w 121724"/>
                    <a:gd name="connsiteY20" fmla="*/ 108766 h 220458"/>
                    <a:gd name="connsiteX21" fmla="*/ 87944 w 121724"/>
                    <a:gd name="connsiteY21" fmla="*/ 108954 h 220458"/>
                    <a:gd name="connsiteX22" fmla="*/ 87048 w 121724"/>
                    <a:gd name="connsiteY22" fmla="*/ 110225 h 220458"/>
                    <a:gd name="connsiteX23" fmla="*/ 86151 w 121724"/>
                    <a:gd name="connsiteY23" fmla="*/ 112026 h 220458"/>
                    <a:gd name="connsiteX24" fmla="*/ 86461 w 121724"/>
                    <a:gd name="connsiteY24" fmla="*/ 113257 h 220458"/>
                    <a:gd name="connsiteX25" fmla="*/ 87373 w 121724"/>
                    <a:gd name="connsiteY25" fmla="*/ 114911 h 220458"/>
                    <a:gd name="connsiteX26" fmla="*/ 87920 w 121724"/>
                    <a:gd name="connsiteY26" fmla="*/ 116590 h 220458"/>
                    <a:gd name="connsiteX27" fmla="*/ 87202 w 121724"/>
                    <a:gd name="connsiteY27" fmla="*/ 119320 h 220458"/>
                    <a:gd name="connsiteX28" fmla="*/ 86420 w 121724"/>
                    <a:gd name="connsiteY28" fmla="*/ 121431 h 220458"/>
                    <a:gd name="connsiteX29" fmla="*/ 85972 w 121724"/>
                    <a:gd name="connsiteY29" fmla="*/ 123045 h 220458"/>
                    <a:gd name="connsiteX30" fmla="*/ 85344 w 121724"/>
                    <a:gd name="connsiteY30" fmla="*/ 126134 h 220458"/>
                    <a:gd name="connsiteX31" fmla="*/ 83836 w 121724"/>
                    <a:gd name="connsiteY31" fmla="*/ 129532 h 220458"/>
                    <a:gd name="connsiteX32" fmla="*/ 82744 w 121724"/>
                    <a:gd name="connsiteY32" fmla="*/ 131472 h 220458"/>
                    <a:gd name="connsiteX33" fmla="*/ 82753 w 121724"/>
                    <a:gd name="connsiteY33" fmla="*/ 133574 h 220458"/>
                    <a:gd name="connsiteX34" fmla="*/ 83298 w 121724"/>
                    <a:gd name="connsiteY34" fmla="*/ 136565 h 220458"/>
                    <a:gd name="connsiteX35" fmla="*/ 86387 w 121724"/>
                    <a:gd name="connsiteY35" fmla="*/ 140917 h 220458"/>
                    <a:gd name="connsiteX36" fmla="*/ 87406 w 121724"/>
                    <a:gd name="connsiteY36" fmla="*/ 143004 h 220458"/>
                    <a:gd name="connsiteX37" fmla="*/ 88245 w 121724"/>
                    <a:gd name="connsiteY37" fmla="*/ 146337 h 220458"/>
                    <a:gd name="connsiteX38" fmla="*/ 91033 w 121724"/>
                    <a:gd name="connsiteY38" fmla="*/ 148961 h 220458"/>
                    <a:gd name="connsiteX39" fmla="*/ 92785 w 121724"/>
                    <a:gd name="connsiteY39" fmla="*/ 151088 h 220458"/>
                    <a:gd name="connsiteX40" fmla="*/ 92622 w 121724"/>
                    <a:gd name="connsiteY40" fmla="*/ 153900 h 220458"/>
                    <a:gd name="connsiteX41" fmla="*/ 92858 w 121724"/>
                    <a:gd name="connsiteY41" fmla="*/ 154772 h 220458"/>
                    <a:gd name="connsiteX42" fmla="*/ 93950 w 121724"/>
                    <a:gd name="connsiteY42" fmla="*/ 155481 h 220458"/>
                    <a:gd name="connsiteX43" fmla="*/ 95270 w 121724"/>
                    <a:gd name="connsiteY43" fmla="*/ 156019 h 220458"/>
                    <a:gd name="connsiteX44" fmla="*/ 96729 w 121724"/>
                    <a:gd name="connsiteY44" fmla="*/ 155978 h 220458"/>
                    <a:gd name="connsiteX45" fmla="*/ 98042 w 121724"/>
                    <a:gd name="connsiteY45" fmla="*/ 155742 h 220458"/>
                    <a:gd name="connsiteX46" fmla="*/ 98343 w 121724"/>
                    <a:gd name="connsiteY46" fmla="*/ 155342 h 220458"/>
                    <a:gd name="connsiteX47" fmla="*/ 101367 w 121724"/>
                    <a:gd name="connsiteY47" fmla="*/ 155293 h 220458"/>
                    <a:gd name="connsiteX48" fmla="*/ 101709 w 121724"/>
                    <a:gd name="connsiteY48" fmla="*/ 156002 h 220458"/>
                    <a:gd name="connsiteX49" fmla="*/ 101880 w 121724"/>
                    <a:gd name="connsiteY49" fmla="*/ 160036 h 220458"/>
                    <a:gd name="connsiteX50" fmla="*/ 102010 w 121724"/>
                    <a:gd name="connsiteY50" fmla="*/ 161674 h 220458"/>
                    <a:gd name="connsiteX51" fmla="*/ 102727 w 121724"/>
                    <a:gd name="connsiteY51" fmla="*/ 162335 h 220458"/>
                    <a:gd name="connsiteX52" fmla="*/ 103151 w 121724"/>
                    <a:gd name="connsiteY52" fmla="*/ 163329 h 220458"/>
                    <a:gd name="connsiteX53" fmla="*/ 103184 w 121724"/>
                    <a:gd name="connsiteY53" fmla="*/ 164242 h 220458"/>
                    <a:gd name="connsiteX54" fmla="*/ 103314 w 121724"/>
                    <a:gd name="connsiteY54" fmla="*/ 166507 h 220458"/>
                    <a:gd name="connsiteX55" fmla="*/ 103763 w 121724"/>
                    <a:gd name="connsiteY55" fmla="*/ 167689 h 220458"/>
                    <a:gd name="connsiteX56" fmla="*/ 103697 w 121724"/>
                    <a:gd name="connsiteY56" fmla="*/ 170101 h 220458"/>
                    <a:gd name="connsiteX57" fmla="*/ 104007 w 121724"/>
                    <a:gd name="connsiteY57" fmla="*/ 170990 h 220458"/>
                    <a:gd name="connsiteX58" fmla="*/ 104838 w 121724"/>
                    <a:gd name="connsiteY58" fmla="*/ 171593 h 220458"/>
                    <a:gd name="connsiteX59" fmla="*/ 105898 w 121724"/>
                    <a:gd name="connsiteY59" fmla="*/ 173312 h 220458"/>
                    <a:gd name="connsiteX60" fmla="*/ 106289 w 121724"/>
                    <a:gd name="connsiteY60" fmla="*/ 173532 h 220458"/>
                    <a:gd name="connsiteX61" fmla="*/ 106501 w 121724"/>
                    <a:gd name="connsiteY61" fmla="*/ 174144 h 220458"/>
                    <a:gd name="connsiteX62" fmla="*/ 107397 w 121724"/>
                    <a:gd name="connsiteY62" fmla="*/ 176605 h 220458"/>
                    <a:gd name="connsiteX63" fmla="*/ 107862 w 121724"/>
                    <a:gd name="connsiteY63" fmla="*/ 177346 h 220458"/>
                    <a:gd name="connsiteX64" fmla="*/ 108180 w 121724"/>
                    <a:gd name="connsiteY64" fmla="*/ 177452 h 220458"/>
                    <a:gd name="connsiteX65" fmla="*/ 108318 w 121724"/>
                    <a:gd name="connsiteY65" fmla="*/ 178308 h 220458"/>
                    <a:gd name="connsiteX66" fmla="*/ 108970 w 121724"/>
                    <a:gd name="connsiteY66" fmla="*/ 180606 h 220458"/>
                    <a:gd name="connsiteX67" fmla="*/ 109410 w 121724"/>
                    <a:gd name="connsiteY67" fmla="*/ 181177 h 220458"/>
                    <a:gd name="connsiteX68" fmla="*/ 110258 w 121724"/>
                    <a:gd name="connsiteY68" fmla="*/ 182856 h 220458"/>
                    <a:gd name="connsiteX69" fmla="*/ 110600 w 121724"/>
                    <a:gd name="connsiteY69" fmla="*/ 184698 h 220458"/>
                    <a:gd name="connsiteX70" fmla="*/ 111717 w 121724"/>
                    <a:gd name="connsiteY70" fmla="*/ 186784 h 220458"/>
                    <a:gd name="connsiteX71" fmla="*/ 112849 w 121724"/>
                    <a:gd name="connsiteY71" fmla="*/ 188243 h 220458"/>
                    <a:gd name="connsiteX72" fmla="*/ 113363 w 121724"/>
                    <a:gd name="connsiteY72" fmla="*/ 189759 h 220458"/>
                    <a:gd name="connsiteX73" fmla="*/ 114822 w 121724"/>
                    <a:gd name="connsiteY73" fmla="*/ 193108 h 220458"/>
                    <a:gd name="connsiteX74" fmla="*/ 116232 w 121724"/>
                    <a:gd name="connsiteY74" fmla="*/ 195455 h 220458"/>
                    <a:gd name="connsiteX75" fmla="*/ 118147 w 121724"/>
                    <a:gd name="connsiteY75" fmla="*/ 196066 h 220458"/>
                    <a:gd name="connsiteX76" fmla="*/ 119744 w 121724"/>
                    <a:gd name="connsiteY76" fmla="*/ 196392 h 220458"/>
                    <a:gd name="connsiteX77" fmla="*/ 120747 w 121724"/>
                    <a:gd name="connsiteY77" fmla="*/ 197297 h 220458"/>
                    <a:gd name="connsiteX78" fmla="*/ 121724 w 121724"/>
                    <a:gd name="connsiteY78" fmla="*/ 198275 h 220458"/>
                    <a:gd name="connsiteX79" fmla="*/ 120665 w 121724"/>
                    <a:gd name="connsiteY79" fmla="*/ 198723 h 220458"/>
                    <a:gd name="connsiteX80" fmla="*/ 119720 w 121724"/>
                    <a:gd name="connsiteY80" fmla="*/ 199326 h 220458"/>
                    <a:gd name="connsiteX81" fmla="*/ 118408 w 121724"/>
                    <a:gd name="connsiteY81" fmla="*/ 198862 h 220458"/>
                    <a:gd name="connsiteX82" fmla="*/ 116590 w 121724"/>
                    <a:gd name="connsiteY82" fmla="*/ 199114 h 220458"/>
                    <a:gd name="connsiteX83" fmla="*/ 114691 w 121724"/>
                    <a:gd name="connsiteY83" fmla="*/ 199774 h 220458"/>
                    <a:gd name="connsiteX84" fmla="*/ 112947 w 121724"/>
                    <a:gd name="connsiteY84" fmla="*/ 200109 h 220458"/>
                    <a:gd name="connsiteX85" fmla="*/ 109655 w 121724"/>
                    <a:gd name="connsiteY85" fmla="*/ 199049 h 220458"/>
                    <a:gd name="connsiteX86" fmla="*/ 108644 w 121724"/>
                    <a:gd name="connsiteY86" fmla="*/ 198902 h 220458"/>
                    <a:gd name="connsiteX87" fmla="*/ 107968 w 121724"/>
                    <a:gd name="connsiteY87" fmla="*/ 198446 h 220458"/>
                    <a:gd name="connsiteX88" fmla="*/ 106599 w 121724"/>
                    <a:gd name="connsiteY88" fmla="*/ 196376 h 220458"/>
                    <a:gd name="connsiteX89" fmla="*/ 105955 w 121724"/>
                    <a:gd name="connsiteY89" fmla="*/ 196132 h 220458"/>
                    <a:gd name="connsiteX90" fmla="*/ 104194 w 121724"/>
                    <a:gd name="connsiteY90" fmla="*/ 197093 h 220458"/>
                    <a:gd name="connsiteX91" fmla="*/ 102067 w 121724"/>
                    <a:gd name="connsiteY91" fmla="*/ 197770 h 220458"/>
                    <a:gd name="connsiteX92" fmla="*/ 101024 w 121724"/>
                    <a:gd name="connsiteY92" fmla="*/ 197639 h 220458"/>
                    <a:gd name="connsiteX93" fmla="*/ 99802 w 121724"/>
                    <a:gd name="connsiteY93" fmla="*/ 198340 h 220458"/>
                    <a:gd name="connsiteX94" fmla="*/ 98661 w 121724"/>
                    <a:gd name="connsiteY94" fmla="*/ 199269 h 220458"/>
                    <a:gd name="connsiteX95" fmla="*/ 96493 w 121724"/>
                    <a:gd name="connsiteY95" fmla="*/ 203320 h 220458"/>
                    <a:gd name="connsiteX96" fmla="*/ 95360 w 121724"/>
                    <a:gd name="connsiteY96" fmla="*/ 204746 h 220458"/>
                    <a:gd name="connsiteX97" fmla="*/ 94162 w 121724"/>
                    <a:gd name="connsiteY97" fmla="*/ 205406 h 220458"/>
                    <a:gd name="connsiteX98" fmla="*/ 91742 w 121724"/>
                    <a:gd name="connsiteY98" fmla="*/ 205390 h 220458"/>
                    <a:gd name="connsiteX99" fmla="*/ 89166 w 121724"/>
                    <a:gd name="connsiteY99" fmla="*/ 205528 h 220458"/>
                    <a:gd name="connsiteX100" fmla="*/ 87235 w 121724"/>
                    <a:gd name="connsiteY100" fmla="*/ 206514 h 220458"/>
                    <a:gd name="connsiteX101" fmla="*/ 85434 w 121724"/>
                    <a:gd name="connsiteY101" fmla="*/ 207011 h 220458"/>
                    <a:gd name="connsiteX102" fmla="*/ 84521 w 121724"/>
                    <a:gd name="connsiteY102" fmla="*/ 207077 h 220458"/>
                    <a:gd name="connsiteX103" fmla="*/ 84219 w 121724"/>
                    <a:gd name="connsiteY103" fmla="*/ 209293 h 220458"/>
                    <a:gd name="connsiteX104" fmla="*/ 83804 w 121724"/>
                    <a:gd name="connsiteY104" fmla="*/ 210320 h 220458"/>
                    <a:gd name="connsiteX105" fmla="*/ 83242 w 121724"/>
                    <a:gd name="connsiteY105" fmla="*/ 210907 h 220458"/>
                    <a:gd name="connsiteX106" fmla="*/ 81832 w 121724"/>
                    <a:gd name="connsiteY106" fmla="*/ 211086 h 220458"/>
                    <a:gd name="connsiteX107" fmla="*/ 80568 w 121724"/>
                    <a:gd name="connsiteY107" fmla="*/ 211013 h 220458"/>
                    <a:gd name="connsiteX108" fmla="*/ 79802 w 121724"/>
                    <a:gd name="connsiteY108" fmla="*/ 210084 h 220458"/>
                    <a:gd name="connsiteX109" fmla="*/ 78384 w 121724"/>
                    <a:gd name="connsiteY109" fmla="*/ 209628 h 220458"/>
                    <a:gd name="connsiteX110" fmla="*/ 77129 w 121724"/>
                    <a:gd name="connsiteY110" fmla="*/ 209293 h 220458"/>
                    <a:gd name="connsiteX111" fmla="*/ 76306 w 121724"/>
                    <a:gd name="connsiteY111" fmla="*/ 208764 h 220458"/>
                    <a:gd name="connsiteX112" fmla="*/ 75646 w 121724"/>
                    <a:gd name="connsiteY112" fmla="*/ 208902 h 220458"/>
                    <a:gd name="connsiteX113" fmla="*/ 75108 w 121724"/>
                    <a:gd name="connsiteY113" fmla="*/ 209823 h 220458"/>
                    <a:gd name="connsiteX114" fmla="*/ 74660 w 121724"/>
                    <a:gd name="connsiteY114" fmla="*/ 210622 h 220458"/>
                    <a:gd name="connsiteX115" fmla="*/ 74277 w 121724"/>
                    <a:gd name="connsiteY115" fmla="*/ 212072 h 220458"/>
                    <a:gd name="connsiteX116" fmla="*/ 72370 w 121724"/>
                    <a:gd name="connsiteY116" fmla="*/ 212529 h 220458"/>
                    <a:gd name="connsiteX117" fmla="*/ 71547 w 121724"/>
                    <a:gd name="connsiteY117" fmla="*/ 213360 h 220458"/>
                    <a:gd name="connsiteX118" fmla="*/ 72027 w 121724"/>
                    <a:gd name="connsiteY118" fmla="*/ 216082 h 220458"/>
                    <a:gd name="connsiteX119" fmla="*/ 71807 w 121724"/>
                    <a:gd name="connsiteY119" fmla="*/ 217133 h 220458"/>
                    <a:gd name="connsiteX120" fmla="*/ 71400 w 121724"/>
                    <a:gd name="connsiteY120" fmla="*/ 217965 h 220458"/>
                    <a:gd name="connsiteX121" fmla="*/ 69094 w 121724"/>
                    <a:gd name="connsiteY121" fmla="*/ 218128 h 220458"/>
                    <a:gd name="connsiteX122" fmla="*/ 67121 w 121724"/>
                    <a:gd name="connsiteY122" fmla="*/ 218071 h 220458"/>
                    <a:gd name="connsiteX123" fmla="*/ 65980 w 121724"/>
                    <a:gd name="connsiteY123" fmla="*/ 219073 h 220458"/>
                    <a:gd name="connsiteX124" fmla="*/ 64579 w 121724"/>
                    <a:gd name="connsiteY124" fmla="*/ 220247 h 220458"/>
                    <a:gd name="connsiteX125" fmla="*/ 63723 w 121724"/>
                    <a:gd name="connsiteY125" fmla="*/ 220459 h 220458"/>
                    <a:gd name="connsiteX126" fmla="*/ 62704 w 121724"/>
                    <a:gd name="connsiteY126" fmla="*/ 220393 h 220458"/>
                    <a:gd name="connsiteX127" fmla="*/ 61360 w 121724"/>
                    <a:gd name="connsiteY127" fmla="*/ 219040 h 220458"/>
                    <a:gd name="connsiteX128" fmla="*/ 60080 w 121724"/>
                    <a:gd name="connsiteY128" fmla="*/ 217370 h 220458"/>
                    <a:gd name="connsiteX129" fmla="*/ 56804 w 121724"/>
                    <a:gd name="connsiteY129" fmla="*/ 216204 h 220458"/>
                    <a:gd name="connsiteX130" fmla="*/ 53560 w 121724"/>
                    <a:gd name="connsiteY130" fmla="*/ 215234 h 220458"/>
                    <a:gd name="connsiteX131" fmla="*/ 51433 w 121724"/>
                    <a:gd name="connsiteY131" fmla="*/ 212586 h 220458"/>
                    <a:gd name="connsiteX132" fmla="*/ 50928 w 121724"/>
                    <a:gd name="connsiteY132" fmla="*/ 211274 h 220458"/>
                    <a:gd name="connsiteX133" fmla="*/ 49925 w 121724"/>
                    <a:gd name="connsiteY133" fmla="*/ 210695 h 220458"/>
                    <a:gd name="connsiteX134" fmla="*/ 47407 w 121724"/>
                    <a:gd name="connsiteY134" fmla="*/ 207549 h 220458"/>
                    <a:gd name="connsiteX135" fmla="*/ 46005 w 121724"/>
                    <a:gd name="connsiteY135" fmla="*/ 205528 h 220458"/>
                    <a:gd name="connsiteX136" fmla="*/ 44498 w 121724"/>
                    <a:gd name="connsiteY136" fmla="*/ 204990 h 220458"/>
                    <a:gd name="connsiteX137" fmla="*/ 42762 w 121724"/>
                    <a:gd name="connsiteY137" fmla="*/ 204143 h 220458"/>
                    <a:gd name="connsiteX138" fmla="*/ 42835 w 121724"/>
                    <a:gd name="connsiteY138" fmla="*/ 202676 h 220458"/>
                    <a:gd name="connsiteX139" fmla="*/ 42713 w 121724"/>
                    <a:gd name="connsiteY139" fmla="*/ 201266 h 220458"/>
                    <a:gd name="connsiteX140" fmla="*/ 41971 w 121724"/>
                    <a:gd name="connsiteY140" fmla="*/ 200687 h 220458"/>
                    <a:gd name="connsiteX141" fmla="*/ 40920 w 121724"/>
                    <a:gd name="connsiteY141" fmla="*/ 200312 h 220458"/>
                    <a:gd name="connsiteX142" fmla="*/ 40537 w 121724"/>
                    <a:gd name="connsiteY142" fmla="*/ 199514 h 220458"/>
                    <a:gd name="connsiteX143" fmla="*/ 40651 w 121724"/>
                    <a:gd name="connsiteY143" fmla="*/ 197672 h 220458"/>
                    <a:gd name="connsiteX144" fmla="*/ 40847 w 121724"/>
                    <a:gd name="connsiteY144" fmla="*/ 192896 h 220458"/>
                    <a:gd name="connsiteX145" fmla="*/ 40561 w 121724"/>
                    <a:gd name="connsiteY145" fmla="*/ 188340 h 220458"/>
                    <a:gd name="connsiteX146" fmla="*/ 38239 w 121724"/>
                    <a:gd name="connsiteY146" fmla="*/ 186751 h 220458"/>
                    <a:gd name="connsiteX147" fmla="*/ 37236 w 121724"/>
                    <a:gd name="connsiteY147" fmla="*/ 185684 h 220458"/>
                    <a:gd name="connsiteX148" fmla="*/ 35460 w 121724"/>
                    <a:gd name="connsiteY148" fmla="*/ 178919 h 220458"/>
                    <a:gd name="connsiteX149" fmla="*/ 34636 w 121724"/>
                    <a:gd name="connsiteY149" fmla="*/ 175880 h 220458"/>
                    <a:gd name="connsiteX150" fmla="*/ 34596 w 121724"/>
                    <a:gd name="connsiteY150" fmla="*/ 173622 h 220458"/>
                    <a:gd name="connsiteX151" fmla="*/ 35183 w 121724"/>
                    <a:gd name="connsiteY151" fmla="*/ 166874 h 220458"/>
                    <a:gd name="connsiteX152" fmla="*/ 35843 w 121724"/>
                    <a:gd name="connsiteY152" fmla="*/ 163965 h 220458"/>
                    <a:gd name="connsiteX153" fmla="*/ 37644 w 121724"/>
                    <a:gd name="connsiteY153" fmla="*/ 158113 h 220458"/>
                    <a:gd name="connsiteX154" fmla="*/ 38679 w 121724"/>
                    <a:gd name="connsiteY154" fmla="*/ 156133 h 220458"/>
                    <a:gd name="connsiteX155" fmla="*/ 38736 w 121724"/>
                    <a:gd name="connsiteY155" fmla="*/ 154649 h 220458"/>
                    <a:gd name="connsiteX156" fmla="*/ 38630 w 121724"/>
                    <a:gd name="connsiteY156" fmla="*/ 152751 h 220458"/>
                    <a:gd name="connsiteX157" fmla="*/ 38100 w 121724"/>
                    <a:gd name="connsiteY157" fmla="*/ 148994 h 220458"/>
                    <a:gd name="connsiteX158" fmla="*/ 41148 w 121724"/>
                    <a:gd name="connsiteY158" fmla="*/ 146622 h 220458"/>
                    <a:gd name="connsiteX159" fmla="*/ 42452 w 121724"/>
                    <a:gd name="connsiteY159" fmla="*/ 145628 h 220458"/>
                    <a:gd name="connsiteX160" fmla="*/ 42672 w 121724"/>
                    <a:gd name="connsiteY160" fmla="*/ 144038 h 220458"/>
                    <a:gd name="connsiteX161" fmla="*/ 44302 w 121724"/>
                    <a:gd name="connsiteY161" fmla="*/ 142034 h 220458"/>
                    <a:gd name="connsiteX162" fmla="*/ 45027 w 121724"/>
                    <a:gd name="connsiteY162" fmla="*/ 140119 h 220458"/>
                    <a:gd name="connsiteX163" fmla="*/ 45622 w 121724"/>
                    <a:gd name="connsiteY163" fmla="*/ 138619 h 220458"/>
                    <a:gd name="connsiteX164" fmla="*/ 45459 w 121724"/>
                    <a:gd name="connsiteY164" fmla="*/ 137820 h 220458"/>
                    <a:gd name="connsiteX165" fmla="*/ 44750 w 121724"/>
                    <a:gd name="connsiteY165" fmla="*/ 137364 h 220458"/>
                    <a:gd name="connsiteX166" fmla="*/ 43911 w 121724"/>
                    <a:gd name="connsiteY166" fmla="*/ 135938 h 220458"/>
                    <a:gd name="connsiteX167" fmla="*/ 42151 w 121724"/>
                    <a:gd name="connsiteY167" fmla="*/ 131814 h 220458"/>
                    <a:gd name="connsiteX168" fmla="*/ 41515 w 121724"/>
                    <a:gd name="connsiteY168" fmla="*/ 130983 h 220458"/>
                    <a:gd name="connsiteX169" fmla="*/ 40977 w 121724"/>
                    <a:gd name="connsiteY169" fmla="*/ 129825 h 220458"/>
                    <a:gd name="connsiteX170" fmla="*/ 41254 w 121724"/>
                    <a:gd name="connsiteY170" fmla="*/ 128000 h 220458"/>
                    <a:gd name="connsiteX171" fmla="*/ 41939 w 121724"/>
                    <a:gd name="connsiteY171" fmla="*/ 126028 h 220458"/>
                    <a:gd name="connsiteX172" fmla="*/ 41849 w 121724"/>
                    <a:gd name="connsiteY172" fmla="*/ 125196 h 220458"/>
                    <a:gd name="connsiteX173" fmla="*/ 40798 w 121724"/>
                    <a:gd name="connsiteY173" fmla="*/ 124137 h 220458"/>
                    <a:gd name="connsiteX174" fmla="*/ 38622 w 121724"/>
                    <a:gd name="connsiteY174" fmla="*/ 122360 h 220458"/>
                    <a:gd name="connsiteX175" fmla="*/ 36821 w 121724"/>
                    <a:gd name="connsiteY175" fmla="*/ 122222 h 220458"/>
                    <a:gd name="connsiteX176" fmla="*/ 35427 w 121724"/>
                    <a:gd name="connsiteY176" fmla="*/ 121586 h 220458"/>
                    <a:gd name="connsiteX177" fmla="*/ 33373 w 121724"/>
                    <a:gd name="connsiteY177" fmla="*/ 121496 h 220458"/>
                    <a:gd name="connsiteX178" fmla="*/ 31735 w 121724"/>
                    <a:gd name="connsiteY178" fmla="*/ 121301 h 220458"/>
                    <a:gd name="connsiteX179" fmla="*/ 30806 w 121724"/>
                    <a:gd name="connsiteY179" fmla="*/ 120641 h 220458"/>
                    <a:gd name="connsiteX180" fmla="*/ 30994 w 121724"/>
                    <a:gd name="connsiteY180" fmla="*/ 119548 h 220458"/>
                    <a:gd name="connsiteX181" fmla="*/ 31401 w 121724"/>
                    <a:gd name="connsiteY181" fmla="*/ 118709 h 220458"/>
                    <a:gd name="connsiteX182" fmla="*/ 32786 w 121724"/>
                    <a:gd name="connsiteY182" fmla="*/ 116639 h 220458"/>
                    <a:gd name="connsiteX183" fmla="*/ 33707 w 121724"/>
                    <a:gd name="connsiteY183" fmla="*/ 114414 h 220458"/>
                    <a:gd name="connsiteX184" fmla="*/ 33830 w 121724"/>
                    <a:gd name="connsiteY184" fmla="*/ 112255 h 220458"/>
                    <a:gd name="connsiteX185" fmla="*/ 34107 w 121724"/>
                    <a:gd name="connsiteY185" fmla="*/ 109419 h 220458"/>
                    <a:gd name="connsiteX186" fmla="*/ 34506 w 121724"/>
                    <a:gd name="connsiteY186" fmla="*/ 106949 h 220458"/>
                    <a:gd name="connsiteX187" fmla="*/ 34718 w 121724"/>
                    <a:gd name="connsiteY187" fmla="*/ 104154 h 220458"/>
                    <a:gd name="connsiteX188" fmla="*/ 32558 w 121724"/>
                    <a:gd name="connsiteY188" fmla="*/ 102320 h 220458"/>
                    <a:gd name="connsiteX189" fmla="*/ 31865 w 121724"/>
                    <a:gd name="connsiteY189" fmla="*/ 100812 h 220458"/>
                    <a:gd name="connsiteX190" fmla="*/ 30969 w 121724"/>
                    <a:gd name="connsiteY190" fmla="*/ 99476 h 220458"/>
                    <a:gd name="connsiteX191" fmla="*/ 29983 w 121724"/>
                    <a:gd name="connsiteY191" fmla="*/ 99476 h 220458"/>
                    <a:gd name="connsiteX192" fmla="*/ 28500 w 121724"/>
                    <a:gd name="connsiteY192" fmla="*/ 98905 h 220458"/>
                    <a:gd name="connsiteX193" fmla="*/ 26177 w 121724"/>
                    <a:gd name="connsiteY193" fmla="*/ 100657 h 220458"/>
                    <a:gd name="connsiteX194" fmla="*/ 24351 w 121724"/>
                    <a:gd name="connsiteY194" fmla="*/ 100331 h 220458"/>
                    <a:gd name="connsiteX195" fmla="*/ 23096 w 121724"/>
                    <a:gd name="connsiteY195" fmla="*/ 100992 h 220458"/>
                    <a:gd name="connsiteX196" fmla="*/ 20195 w 121724"/>
                    <a:gd name="connsiteY196" fmla="*/ 100861 h 220458"/>
                    <a:gd name="connsiteX197" fmla="*/ 18337 w 121724"/>
                    <a:gd name="connsiteY197" fmla="*/ 100006 h 220458"/>
                    <a:gd name="connsiteX198" fmla="*/ 16088 w 121724"/>
                    <a:gd name="connsiteY198" fmla="*/ 100584 h 220458"/>
                    <a:gd name="connsiteX199" fmla="*/ 10831 w 121724"/>
                    <a:gd name="connsiteY199" fmla="*/ 93518 h 220458"/>
                    <a:gd name="connsiteX200" fmla="*/ 5542 w 121724"/>
                    <a:gd name="connsiteY200" fmla="*/ 86412 h 220458"/>
                    <a:gd name="connsiteX201" fmla="*/ 342 w 121724"/>
                    <a:gd name="connsiteY201" fmla="*/ 79419 h 220458"/>
                    <a:gd name="connsiteX202" fmla="*/ 0 w 121724"/>
                    <a:gd name="connsiteY202" fmla="*/ 78466 h 220458"/>
                    <a:gd name="connsiteX203" fmla="*/ 2168 w 121724"/>
                    <a:gd name="connsiteY203" fmla="*/ 75149 h 220458"/>
                    <a:gd name="connsiteX204" fmla="*/ 4116 w 121724"/>
                    <a:gd name="connsiteY204" fmla="*/ 72753 h 220458"/>
                    <a:gd name="connsiteX205" fmla="*/ 5737 w 121724"/>
                    <a:gd name="connsiteY205" fmla="*/ 71392 h 220458"/>
                    <a:gd name="connsiteX206" fmla="*/ 6504 w 121724"/>
                    <a:gd name="connsiteY206" fmla="*/ 70194 h 220458"/>
                    <a:gd name="connsiteX207" fmla="*/ 5917 w 121724"/>
                    <a:gd name="connsiteY207" fmla="*/ 65068 h 220458"/>
                    <a:gd name="connsiteX208" fmla="*/ 5941 w 121724"/>
                    <a:gd name="connsiteY208" fmla="*/ 63226 h 220458"/>
                    <a:gd name="connsiteX209" fmla="*/ 5192 w 121724"/>
                    <a:gd name="connsiteY209" fmla="*/ 61221 h 220458"/>
                    <a:gd name="connsiteX210" fmla="*/ 4645 w 121724"/>
                    <a:gd name="connsiteY210" fmla="*/ 58963 h 220458"/>
                    <a:gd name="connsiteX211" fmla="*/ 5298 w 121724"/>
                    <a:gd name="connsiteY211" fmla="*/ 57089 h 220458"/>
                    <a:gd name="connsiteX212" fmla="*/ 6080 w 121724"/>
                    <a:gd name="connsiteY212" fmla="*/ 55777 h 220458"/>
                    <a:gd name="connsiteX213" fmla="*/ 7090 w 121724"/>
                    <a:gd name="connsiteY213" fmla="*/ 55272 h 220458"/>
                    <a:gd name="connsiteX214" fmla="*/ 9511 w 121724"/>
                    <a:gd name="connsiteY214" fmla="*/ 54807 h 220458"/>
                    <a:gd name="connsiteX215" fmla="*/ 11231 w 121724"/>
                    <a:gd name="connsiteY215" fmla="*/ 54620 h 220458"/>
                    <a:gd name="connsiteX216" fmla="*/ 11834 w 121724"/>
                    <a:gd name="connsiteY216" fmla="*/ 53870 h 220458"/>
                    <a:gd name="connsiteX217" fmla="*/ 12828 w 121724"/>
                    <a:gd name="connsiteY217" fmla="*/ 52998 h 220458"/>
                    <a:gd name="connsiteX218" fmla="*/ 14132 w 121724"/>
                    <a:gd name="connsiteY218" fmla="*/ 52949 h 220458"/>
                    <a:gd name="connsiteX219" fmla="*/ 16691 w 121724"/>
                    <a:gd name="connsiteY219" fmla="*/ 53560 h 220458"/>
                    <a:gd name="connsiteX220" fmla="*/ 17848 w 121724"/>
                    <a:gd name="connsiteY220" fmla="*/ 52419 h 220458"/>
                    <a:gd name="connsiteX221" fmla="*/ 19959 w 121724"/>
                    <a:gd name="connsiteY221" fmla="*/ 50887 h 220458"/>
                    <a:gd name="connsiteX222" fmla="*/ 24694 w 121724"/>
                    <a:gd name="connsiteY222" fmla="*/ 48238 h 220458"/>
                    <a:gd name="connsiteX223" fmla="*/ 25761 w 121724"/>
                    <a:gd name="connsiteY223" fmla="*/ 46511 h 220458"/>
                    <a:gd name="connsiteX224" fmla="*/ 26503 w 121724"/>
                    <a:gd name="connsiteY224" fmla="*/ 43829 h 220458"/>
                    <a:gd name="connsiteX225" fmla="*/ 26421 w 121724"/>
                    <a:gd name="connsiteY225" fmla="*/ 42574 h 220458"/>
                    <a:gd name="connsiteX226" fmla="*/ 25933 w 121724"/>
                    <a:gd name="connsiteY226" fmla="*/ 42085 h 220458"/>
                    <a:gd name="connsiteX227" fmla="*/ 24759 w 121724"/>
                    <a:gd name="connsiteY227" fmla="*/ 41653 h 220458"/>
                    <a:gd name="connsiteX228" fmla="*/ 22966 w 121724"/>
                    <a:gd name="connsiteY228" fmla="*/ 41588 h 220458"/>
                    <a:gd name="connsiteX229" fmla="*/ 21515 w 121724"/>
                    <a:gd name="connsiteY229" fmla="*/ 42273 h 220458"/>
                    <a:gd name="connsiteX230" fmla="*/ 20024 w 121724"/>
                    <a:gd name="connsiteY230" fmla="*/ 41906 h 220458"/>
                    <a:gd name="connsiteX231" fmla="*/ 18785 w 121724"/>
                    <a:gd name="connsiteY231" fmla="*/ 40252 h 220458"/>
                    <a:gd name="connsiteX232" fmla="*/ 18720 w 121724"/>
                    <a:gd name="connsiteY232" fmla="*/ 38883 h 220458"/>
                    <a:gd name="connsiteX233" fmla="*/ 19445 w 121724"/>
                    <a:gd name="connsiteY233" fmla="*/ 36959 h 220458"/>
                    <a:gd name="connsiteX234" fmla="*/ 19022 w 121724"/>
                    <a:gd name="connsiteY234" fmla="*/ 35671 h 220458"/>
                    <a:gd name="connsiteX235" fmla="*/ 16658 w 121724"/>
                    <a:gd name="connsiteY235" fmla="*/ 31605 h 220458"/>
                    <a:gd name="connsiteX236" fmla="*/ 16675 w 121724"/>
                    <a:gd name="connsiteY236" fmla="*/ 30488 h 220458"/>
                    <a:gd name="connsiteX237" fmla="*/ 18386 w 121724"/>
                    <a:gd name="connsiteY237" fmla="*/ 28663 h 220458"/>
                    <a:gd name="connsiteX238" fmla="*/ 19364 w 121724"/>
                    <a:gd name="connsiteY238" fmla="*/ 27106 h 220458"/>
                    <a:gd name="connsiteX239" fmla="*/ 20692 w 121724"/>
                    <a:gd name="connsiteY239" fmla="*/ 23390 h 220458"/>
                    <a:gd name="connsiteX240" fmla="*/ 21752 w 121724"/>
                    <a:gd name="connsiteY240" fmla="*/ 22151 h 220458"/>
                    <a:gd name="connsiteX241" fmla="*/ 25052 w 121724"/>
                    <a:gd name="connsiteY241" fmla="*/ 21711 h 220458"/>
                    <a:gd name="connsiteX242" fmla="*/ 25892 w 121724"/>
                    <a:gd name="connsiteY242" fmla="*/ 20920 h 220458"/>
                    <a:gd name="connsiteX243" fmla="*/ 27571 w 121724"/>
                    <a:gd name="connsiteY243" fmla="*/ 18956 h 220458"/>
                    <a:gd name="connsiteX244" fmla="*/ 30081 w 121724"/>
                    <a:gd name="connsiteY244" fmla="*/ 16707 h 220458"/>
                    <a:gd name="connsiteX245" fmla="*/ 33691 w 121724"/>
                    <a:gd name="connsiteY245" fmla="*/ 14914 h 220458"/>
                    <a:gd name="connsiteX246" fmla="*/ 34718 w 121724"/>
                    <a:gd name="connsiteY246" fmla="*/ 11662 h 220458"/>
                    <a:gd name="connsiteX247" fmla="*/ 35370 w 121724"/>
                    <a:gd name="connsiteY247" fmla="*/ 10758 h 220458"/>
                    <a:gd name="connsiteX248" fmla="*/ 38239 w 121724"/>
                    <a:gd name="connsiteY248" fmla="*/ 9046 h 220458"/>
                    <a:gd name="connsiteX249" fmla="*/ 38736 w 121724"/>
                    <a:gd name="connsiteY249" fmla="*/ 8125 h 220458"/>
                    <a:gd name="connsiteX250" fmla="*/ 38671 w 121724"/>
                    <a:gd name="connsiteY250" fmla="*/ 7327 h 220458"/>
                    <a:gd name="connsiteX251" fmla="*/ 34050 w 121724"/>
                    <a:gd name="connsiteY251" fmla="*/ 0 h 220458"/>
                    <a:gd name="connsiteX252" fmla="*/ 34971 w 121724"/>
                    <a:gd name="connsiteY252" fmla="*/ 497 h 220458"/>
                    <a:gd name="connsiteX253" fmla="*/ 38548 w 121724"/>
                    <a:gd name="connsiteY253" fmla="*/ 5281 h 220458"/>
                    <a:gd name="connsiteX254" fmla="*/ 40529 w 121724"/>
                    <a:gd name="connsiteY254" fmla="*/ 6316 h 220458"/>
                    <a:gd name="connsiteX255" fmla="*/ 40944 w 121724"/>
                    <a:gd name="connsiteY255" fmla="*/ 6332 h 220458"/>
                    <a:gd name="connsiteX256" fmla="*/ 40961 w 121724"/>
                    <a:gd name="connsiteY256" fmla="*/ 5094 h 220458"/>
                    <a:gd name="connsiteX257" fmla="*/ 42770 w 121724"/>
                    <a:gd name="connsiteY257" fmla="*/ 5615 h 220458"/>
                    <a:gd name="connsiteX258" fmla="*/ 47464 w 121724"/>
                    <a:gd name="connsiteY258" fmla="*/ 8883 h 220458"/>
                    <a:gd name="connsiteX259" fmla="*/ 54326 w 121724"/>
                    <a:gd name="connsiteY259" fmla="*/ 14287 h 220458"/>
                    <a:gd name="connsiteX260" fmla="*/ 63967 w 121724"/>
                    <a:gd name="connsiteY260" fmla="*/ 24474 h 220458"/>
                    <a:gd name="connsiteX261" fmla="*/ 66706 w 121724"/>
                    <a:gd name="connsiteY261" fmla="*/ 28361 h 220458"/>
                    <a:gd name="connsiteX262" fmla="*/ 68556 w 121724"/>
                    <a:gd name="connsiteY262" fmla="*/ 30187 h 220458"/>
                    <a:gd name="connsiteX263" fmla="*/ 71424 w 121724"/>
                    <a:gd name="connsiteY263" fmla="*/ 34628 h 220458"/>
                    <a:gd name="connsiteX264" fmla="*/ 72256 w 121724"/>
                    <a:gd name="connsiteY264" fmla="*/ 36804 h 220458"/>
                    <a:gd name="connsiteX265" fmla="*/ 72174 w 121724"/>
                    <a:gd name="connsiteY265" fmla="*/ 45451 h 220458"/>
                    <a:gd name="connsiteX266" fmla="*/ 69640 w 121724"/>
                    <a:gd name="connsiteY266" fmla="*/ 51294 h 220458"/>
                    <a:gd name="connsiteX267" fmla="*/ 69020 w 121724"/>
                    <a:gd name="connsiteY267" fmla="*/ 55687 h 220458"/>
                    <a:gd name="connsiteX268" fmla="*/ 68882 w 121724"/>
                    <a:gd name="connsiteY268" fmla="*/ 61539 h 220458"/>
                    <a:gd name="connsiteX269" fmla="*/ 67407 w 121724"/>
                    <a:gd name="connsiteY269" fmla="*/ 64896 h 220458"/>
                    <a:gd name="connsiteX270" fmla="*/ 69363 w 121724"/>
                    <a:gd name="connsiteY270" fmla="*/ 63079 h 220458"/>
                    <a:gd name="connsiteX271" fmla="*/ 69974 w 121724"/>
                    <a:gd name="connsiteY271" fmla="*/ 57798 h 220458"/>
                    <a:gd name="connsiteX272" fmla="*/ 71636 w 121724"/>
                    <a:gd name="connsiteY272" fmla="*/ 54595 h 220458"/>
                    <a:gd name="connsiteX273" fmla="*/ 73804 w 121724"/>
                    <a:gd name="connsiteY273" fmla="*/ 51066 h 220458"/>
                    <a:gd name="connsiteX274" fmla="*/ 76697 w 121724"/>
                    <a:gd name="connsiteY274" fmla="*/ 50219 h 220458"/>
                    <a:gd name="connsiteX275" fmla="*/ 79811 w 121724"/>
                    <a:gd name="connsiteY275" fmla="*/ 51726 h 220458"/>
                    <a:gd name="connsiteX276" fmla="*/ 82321 w 121724"/>
                    <a:gd name="connsiteY276" fmla="*/ 51987 h 220458"/>
                    <a:gd name="connsiteX277" fmla="*/ 84529 w 121724"/>
                    <a:gd name="connsiteY277" fmla="*/ 53030 h 220458"/>
                    <a:gd name="connsiteX278" fmla="*/ 89231 w 121724"/>
                    <a:gd name="connsiteY278" fmla="*/ 58662 h 220458"/>
                    <a:gd name="connsiteX279" fmla="*/ 93836 w 121724"/>
                    <a:gd name="connsiteY279" fmla="*/ 63112 h 220458"/>
                    <a:gd name="connsiteX280" fmla="*/ 95499 w 121724"/>
                    <a:gd name="connsiteY280" fmla="*/ 66681 h 220458"/>
                    <a:gd name="connsiteX281" fmla="*/ 100372 w 121724"/>
                    <a:gd name="connsiteY281" fmla="*/ 68458 h 220458"/>
                    <a:gd name="connsiteX282" fmla="*/ 103257 w 121724"/>
                    <a:gd name="connsiteY282" fmla="*/ 71278 h 220458"/>
                    <a:gd name="connsiteX283" fmla="*/ 104178 w 121724"/>
                    <a:gd name="connsiteY283" fmla="*/ 73714 h 220458"/>
                    <a:gd name="connsiteX284" fmla="*/ 104749 w 121724"/>
                    <a:gd name="connsiteY284" fmla="*/ 80088 h 220458"/>
                    <a:gd name="connsiteX285" fmla="*/ 103803 w 121724"/>
                    <a:gd name="connsiteY285" fmla="*/ 89696 h 220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21724" h="220458">
                      <a:moveTo>
                        <a:pt x="104072" y="90185"/>
                      </a:moveTo>
                      <a:lnTo>
                        <a:pt x="102752" y="92084"/>
                      </a:lnTo>
                      <a:lnTo>
                        <a:pt x="102516" y="93290"/>
                      </a:lnTo>
                      <a:lnTo>
                        <a:pt x="101660" y="95425"/>
                      </a:lnTo>
                      <a:lnTo>
                        <a:pt x="101000" y="96574"/>
                      </a:lnTo>
                      <a:lnTo>
                        <a:pt x="101961" y="99239"/>
                      </a:lnTo>
                      <a:lnTo>
                        <a:pt x="103062" y="99353"/>
                      </a:lnTo>
                      <a:lnTo>
                        <a:pt x="103477" y="99696"/>
                      </a:lnTo>
                      <a:lnTo>
                        <a:pt x="103763" y="100217"/>
                      </a:lnTo>
                      <a:lnTo>
                        <a:pt x="103697" y="100780"/>
                      </a:lnTo>
                      <a:lnTo>
                        <a:pt x="103274" y="101285"/>
                      </a:lnTo>
                      <a:lnTo>
                        <a:pt x="102222" y="101929"/>
                      </a:lnTo>
                      <a:lnTo>
                        <a:pt x="101220" y="103469"/>
                      </a:lnTo>
                      <a:lnTo>
                        <a:pt x="101318" y="105156"/>
                      </a:lnTo>
                      <a:lnTo>
                        <a:pt x="100690" y="106036"/>
                      </a:lnTo>
                      <a:lnTo>
                        <a:pt x="98677" y="106501"/>
                      </a:lnTo>
                      <a:lnTo>
                        <a:pt x="94741" y="106501"/>
                      </a:lnTo>
                      <a:lnTo>
                        <a:pt x="92809" y="106615"/>
                      </a:lnTo>
                      <a:lnTo>
                        <a:pt x="91261" y="106908"/>
                      </a:lnTo>
                      <a:lnTo>
                        <a:pt x="90250" y="108009"/>
                      </a:lnTo>
                      <a:lnTo>
                        <a:pt x="88954" y="108766"/>
                      </a:lnTo>
                      <a:lnTo>
                        <a:pt x="87944" y="108954"/>
                      </a:lnTo>
                      <a:lnTo>
                        <a:pt x="87048" y="110225"/>
                      </a:lnTo>
                      <a:lnTo>
                        <a:pt x="86151" y="112026"/>
                      </a:lnTo>
                      <a:lnTo>
                        <a:pt x="86461" y="113257"/>
                      </a:lnTo>
                      <a:lnTo>
                        <a:pt x="87373" y="114911"/>
                      </a:lnTo>
                      <a:lnTo>
                        <a:pt x="87920" y="116590"/>
                      </a:lnTo>
                      <a:lnTo>
                        <a:pt x="87202" y="119320"/>
                      </a:lnTo>
                      <a:lnTo>
                        <a:pt x="86420" y="121431"/>
                      </a:lnTo>
                      <a:lnTo>
                        <a:pt x="85972" y="123045"/>
                      </a:lnTo>
                      <a:lnTo>
                        <a:pt x="85344" y="126134"/>
                      </a:lnTo>
                      <a:lnTo>
                        <a:pt x="83836" y="129532"/>
                      </a:lnTo>
                      <a:lnTo>
                        <a:pt x="82744" y="131472"/>
                      </a:lnTo>
                      <a:lnTo>
                        <a:pt x="82753" y="133574"/>
                      </a:lnTo>
                      <a:lnTo>
                        <a:pt x="83298" y="136565"/>
                      </a:lnTo>
                      <a:lnTo>
                        <a:pt x="86387" y="140917"/>
                      </a:lnTo>
                      <a:lnTo>
                        <a:pt x="87406" y="143004"/>
                      </a:lnTo>
                      <a:lnTo>
                        <a:pt x="88245" y="146337"/>
                      </a:lnTo>
                      <a:lnTo>
                        <a:pt x="91033" y="148961"/>
                      </a:lnTo>
                      <a:lnTo>
                        <a:pt x="92785" y="151088"/>
                      </a:lnTo>
                      <a:lnTo>
                        <a:pt x="92622" y="153900"/>
                      </a:lnTo>
                      <a:lnTo>
                        <a:pt x="92858" y="154772"/>
                      </a:lnTo>
                      <a:lnTo>
                        <a:pt x="93950" y="155481"/>
                      </a:lnTo>
                      <a:lnTo>
                        <a:pt x="95270" y="156019"/>
                      </a:lnTo>
                      <a:lnTo>
                        <a:pt x="96729" y="155978"/>
                      </a:lnTo>
                      <a:lnTo>
                        <a:pt x="98042" y="155742"/>
                      </a:lnTo>
                      <a:lnTo>
                        <a:pt x="98343" y="155342"/>
                      </a:lnTo>
                      <a:lnTo>
                        <a:pt x="101367" y="155293"/>
                      </a:lnTo>
                      <a:lnTo>
                        <a:pt x="101709" y="156002"/>
                      </a:lnTo>
                      <a:lnTo>
                        <a:pt x="101880" y="160036"/>
                      </a:lnTo>
                      <a:lnTo>
                        <a:pt x="102010" y="161674"/>
                      </a:lnTo>
                      <a:lnTo>
                        <a:pt x="102727" y="162335"/>
                      </a:lnTo>
                      <a:lnTo>
                        <a:pt x="103151" y="163329"/>
                      </a:lnTo>
                      <a:lnTo>
                        <a:pt x="103184" y="164242"/>
                      </a:lnTo>
                      <a:lnTo>
                        <a:pt x="103314" y="166507"/>
                      </a:lnTo>
                      <a:lnTo>
                        <a:pt x="103763" y="167689"/>
                      </a:lnTo>
                      <a:lnTo>
                        <a:pt x="103697" y="170101"/>
                      </a:lnTo>
                      <a:lnTo>
                        <a:pt x="104007" y="170990"/>
                      </a:lnTo>
                      <a:lnTo>
                        <a:pt x="104838" y="171593"/>
                      </a:lnTo>
                      <a:lnTo>
                        <a:pt x="105898" y="173312"/>
                      </a:lnTo>
                      <a:lnTo>
                        <a:pt x="106289" y="173532"/>
                      </a:lnTo>
                      <a:lnTo>
                        <a:pt x="106501" y="174144"/>
                      </a:lnTo>
                      <a:lnTo>
                        <a:pt x="107397" y="176605"/>
                      </a:lnTo>
                      <a:lnTo>
                        <a:pt x="107862" y="177346"/>
                      </a:lnTo>
                      <a:lnTo>
                        <a:pt x="108180" y="177452"/>
                      </a:lnTo>
                      <a:lnTo>
                        <a:pt x="108318" y="178308"/>
                      </a:lnTo>
                      <a:lnTo>
                        <a:pt x="108970" y="180606"/>
                      </a:lnTo>
                      <a:lnTo>
                        <a:pt x="109410" y="181177"/>
                      </a:lnTo>
                      <a:lnTo>
                        <a:pt x="110258" y="182856"/>
                      </a:lnTo>
                      <a:lnTo>
                        <a:pt x="110600" y="184698"/>
                      </a:lnTo>
                      <a:lnTo>
                        <a:pt x="111717" y="186784"/>
                      </a:lnTo>
                      <a:lnTo>
                        <a:pt x="112849" y="188243"/>
                      </a:lnTo>
                      <a:lnTo>
                        <a:pt x="113363" y="189759"/>
                      </a:lnTo>
                      <a:lnTo>
                        <a:pt x="114822" y="193108"/>
                      </a:lnTo>
                      <a:lnTo>
                        <a:pt x="116232" y="195455"/>
                      </a:lnTo>
                      <a:lnTo>
                        <a:pt x="118147" y="196066"/>
                      </a:lnTo>
                      <a:lnTo>
                        <a:pt x="119744" y="196392"/>
                      </a:lnTo>
                      <a:lnTo>
                        <a:pt x="120747" y="197297"/>
                      </a:lnTo>
                      <a:lnTo>
                        <a:pt x="121724" y="198275"/>
                      </a:lnTo>
                      <a:lnTo>
                        <a:pt x="120665" y="198723"/>
                      </a:lnTo>
                      <a:lnTo>
                        <a:pt x="119720" y="199326"/>
                      </a:lnTo>
                      <a:lnTo>
                        <a:pt x="118408" y="198862"/>
                      </a:lnTo>
                      <a:lnTo>
                        <a:pt x="116590" y="199114"/>
                      </a:lnTo>
                      <a:lnTo>
                        <a:pt x="114691" y="199774"/>
                      </a:lnTo>
                      <a:lnTo>
                        <a:pt x="112947" y="200109"/>
                      </a:lnTo>
                      <a:lnTo>
                        <a:pt x="109655" y="199049"/>
                      </a:lnTo>
                      <a:lnTo>
                        <a:pt x="108644" y="198902"/>
                      </a:lnTo>
                      <a:lnTo>
                        <a:pt x="107968" y="198446"/>
                      </a:lnTo>
                      <a:lnTo>
                        <a:pt x="106599" y="196376"/>
                      </a:lnTo>
                      <a:lnTo>
                        <a:pt x="105955" y="196132"/>
                      </a:lnTo>
                      <a:lnTo>
                        <a:pt x="104194" y="197093"/>
                      </a:lnTo>
                      <a:lnTo>
                        <a:pt x="102067" y="197770"/>
                      </a:lnTo>
                      <a:lnTo>
                        <a:pt x="101024" y="197639"/>
                      </a:lnTo>
                      <a:lnTo>
                        <a:pt x="99802" y="198340"/>
                      </a:lnTo>
                      <a:lnTo>
                        <a:pt x="98661" y="199269"/>
                      </a:lnTo>
                      <a:lnTo>
                        <a:pt x="96493" y="203320"/>
                      </a:lnTo>
                      <a:lnTo>
                        <a:pt x="95360" y="204746"/>
                      </a:lnTo>
                      <a:lnTo>
                        <a:pt x="94162" y="205406"/>
                      </a:lnTo>
                      <a:lnTo>
                        <a:pt x="91742" y="205390"/>
                      </a:lnTo>
                      <a:lnTo>
                        <a:pt x="89166" y="205528"/>
                      </a:lnTo>
                      <a:lnTo>
                        <a:pt x="87235" y="206514"/>
                      </a:lnTo>
                      <a:lnTo>
                        <a:pt x="85434" y="207011"/>
                      </a:lnTo>
                      <a:lnTo>
                        <a:pt x="84521" y="207077"/>
                      </a:lnTo>
                      <a:lnTo>
                        <a:pt x="84219" y="209293"/>
                      </a:lnTo>
                      <a:lnTo>
                        <a:pt x="83804" y="210320"/>
                      </a:lnTo>
                      <a:lnTo>
                        <a:pt x="83242" y="210907"/>
                      </a:lnTo>
                      <a:lnTo>
                        <a:pt x="81832" y="211086"/>
                      </a:lnTo>
                      <a:lnTo>
                        <a:pt x="80568" y="211013"/>
                      </a:lnTo>
                      <a:lnTo>
                        <a:pt x="79802" y="210084"/>
                      </a:lnTo>
                      <a:lnTo>
                        <a:pt x="78384" y="209628"/>
                      </a:lnTo>
                      <a:lnTo>
                        <a:pt x="77129" y="209293"/>
                      </a:lnTo>
                      <a:lnTo>
                        <a:pt x="76306" y="208764"/>
                      </a:lnTo>
                      <a:lnTo>
                        <a:pt x="75646" y="208902"/>
                      </a:lnTo>
                      <a:lnTo>
                        <a:pt x="75108" y="209823"/>
                      </a:lnTo>
                      <a:lnTo>
                        <a:pt x="74660" y="210622"/>
                      </a:lnTo>
                      <a:lnTo>
                        <a:pt x="74277" y="212072"/>
                      </a:lnTo>
                      <a:lnTo>
                        <a:pt x="72370" y="212529"/>
                      </a:lnTo>
                      <a:lnTo>
                        <a:pt x="71547" y="213360"/>
                      </a:lnTo>
                      <a:lnTo>
                        <a:pt x="72027" y="216082"/>
                      </a:lnTo>
                      <a:lnTo>
                        <a:pt x="71807" y="217133"/>
                      </a:lnTo>
                      <a:lnTo>
                        <a:pt x="71400" y="217965"/>
                      </a:lnTo>
                      <a:lnTo>
                        <a:pt x="69094" y="218128"/>
                      </a:lnTo>
                      <a:lnTo>
                        <a:pt x="67121" y="218071"/>
                      </a:lnTo>
                      <a:lnTo>
                        <a:pt x="65980" y="219073"/>
                      </a:lnTo>
                      <a:lnTo>
                        <a:pt x="64579" y="220247"/>
                      </a:lnTo>
                      <a:lnTo>
                        <a:pt x="63723" y="220459"/>
                      </a:lnTo>
                      <a:lnTo>
                        <a:pt x="62704" y="220393"/>
                      </a:lnTo>
                      <a:lnTo>
                        <a:pt x="61360" y="219040"/>
                      </a:lnTo>
                      <a:lnTo>
                        <a:pt x="60080" y="217370"/>
                      </a:lnTo>
                      <a:lnTo>
                        <a:pt x="56804" y="216204"/>
                      </a:lnTo>
                      <a:lnTo>
                        <a:pt x="53560" y="215234"/>
                      </a:lnTo>
                      <a:lnTo>
                        <a:pt x="51433" y="212586"/>
                      </a:lnTo>
                      <a:lnTo>
                        <a:pt x="50928" y="211274"/>
                      </a:lnTo>
                      <a:lnTo>
                        <a:pt x="49925" y="210695"/>
                      </a:lnTo>
                      <a:lnTo>
                        <a:pt x="47407" y="207549"/>
                      </a:lnTo>
                      <a:lnTo>
                        <a:pt x="46005" y="205528"/>
                      </a:lnTo>
                      <a:lnTo>
                        <a:pt x="44498" y="204990"/>
                      </a:lnTo>
                      <a:lnTo>
                        <a:pt x="42762" y="204143"/>
                      </a:lnTo>
                      <a:lnTo>
                        <a:pt x="42835" y="202676"/>
                      </a:lnTo>
                      <a:lnTo>
                        <a:pt x="42713" y="201266"/>
                      </a:lnTo>
                      <a:lnTo>
                        <a:pt x="41971" y="200687"/>
                      </a:lnTo>
                      <a:lnTo>
                        <a:pt x="40920" y="200312"/>
                      </a:lnTo>
                      <a:lnTo>
                        <a:pt x="40537" y="199514"/>
                      </a:lnTo>
                      <a:lnTo>
                        <a:pt x="40651" y="197672"/>
                      </a:lnTo>
                      <a:lnTo>
                        <a:pt x="40847" y="192896"/>
                      </a:lnTo>
                      <a:lnTo>
                        <a:pt x="40561" y="188340"/>
                      </a:lnTo>
                      <a:lnTo>
                        <a:pt x="38239" y="186751"/>
                      </a:lnTo>
                      <a:lnTo>
                        <a:pt x="37236" y="185684"/>
                      </a:lnTo>
                      <a:lnTo>
                        <a:pt x="35460" y="178919"/>
                      </a:lnTo>
                      <a:lnTo>
                        <a:pt x="34636" y="175880"/>
                      </a:lnTo>
                      <a:lnTo>
                        <a:pt x="34596" y="173622"/>
                      </a:lnTo>
                      <a:lnTo>
                        <a:pt x="35183" y="166874"/>
                      </a:lnTo>
                      <a:lnTo>
                        <a:pt x="35843" y="163965"/>
                      </a:lnTo>
                      <a:lnTo>
                        <a:pt x="37644" y="158113"/>
                      </a:lnTo>
                      <a:lnTo>
                        <a:pt x="38679" y="156133"/>
                      </a:lnTo>
                      <a:lnTo>
                        <a:pt x="38736" y="154649"/>
                      </a:lnTo>
                      <a:lnTo>
                        <a:pt x="38630" y="152751"/>
                      </a:lnTo>
                      <a:lnTo>
                        <a:pt x="38100" y="148994"/>
                      </a:lnTo>
                      <a:lnTo>
                        <a:pt x="41148" y="146622"/>
                      </a:lnTo>
                      <a:lnTo>
                        <a:pt x="42452" y="145628"/>
                      </a:lnTo>
                      <a:lnTo>
                        <a:pt x="42672" y="144038"/>
                      </a:lnTo>
                      <a:lnTo>
                        <a:pt x="44302" y="142034"/>
                      </a:lnTo>
                      <a:lnTo>
                        <a:pt x="45027" y="140119"/>
                      </a:lnTo>
                      <a:lnTo>
                        <a:pt x="45622" y="138619"/>
                      </a:lnTo>
                      <a:lnTo>
                        <a:pt x="45459" y="137820"/>
                      </a:lnTo>
                      <a:lnTo>
                        <a:pt x="44750" y="137364"/>
                      </a:lnTo>
                      <a:lnTo>
                        <a:pt x="43911" y="135938"/>
                      </a:lnTo>
                      <a:lnTo>
                        <a:pt x="42151" y="131814"/>
                      </a:lnTo>
                      <a:lnTo>
                        <a:pt x="41515" y="130983"/>
                      </a:lnTo>
                      <a:lnTo>
                        <a:pt x="40977" y="129825"/>
                      </a:lnTo>
                      <a:lnTo>
                        <a:pt x="41254" y="128000"/>
                      </a:lnTo>
                      <a:lnTo>
                        <a:pt x="41939" y="126028"/>
                      </a:lnTo>
                      <a:lnTo>
                        <a:pt x="41849" y="125196"/>
                      </a:lnTo>
                      <a:lnTo>
                        <a:pt x="40798" y="124137"/>
                      </a:lnTo>
                      <a:lnTo>
                        <a:pt x="38622" y="122360"/>
                      </a:lnTo>
                      <a:lnTo>
                        <a:pt x="36821" y="122222"/>
                      </a:lnTo>
                      <a:lnTo>
                        <a:pt x="35427" y="121586"/>
                      </a:lnTo>
                      <a:lnTo>
                        <a:pt x="33373" y="121496"/>
                      </a:lnTo>
                      <a:lnTo>
                        <a:pt x="31735" y="121301"/>
                      </a:lnTo>
                      <a:lnTo>
                        <a:pt x="30806" y="120641"/>
                      </a:lnTo>
                      <a:lnTo>
                        <a:pt x="30994" y="119548"/>
                      </a:lnTo>
                      <a:lnTo>
                        <a:pt x="31401" y="118709"/>
                      </a:lnTo>
                      <a:lnTo>
                        <a:pt x="32786" y="116639"/>
                      </a:lnTo>
                      <a:lnTo>
                        <a:pt x="33707" y="114414"/>
                      </a:lnTo>
                      <a:lnTo>
                        <a:pt x="33830" y="112255"/>
                      </a:lnTo>
                      <a:lnTo>
                        <a:pt x="34107" y="109419"/>
                      </a:lnTo>
                      <a:lnTo>
                        <a:pt x="34506" y="106949"/>
                      </a:lnTo>
                      <a:lnTo>
                        <a:pt x="34718" y="104154"/>
                      </a:lnTo>
                      <a:lnTo>
                        <a:pt x="32558" y="102320"/>
                      </a:lnTo>
                      <a:lnTo>
                        <a:pt x="31865" y="100812"/>
                      </a:lnTo>
                      <a:lnTo>
                        <a:pt x="30969" y="99476"/>
                      </a:lnTo>
                      <a:lnTo>
                        <a:pt x="29983" y="99476"/>
                      </a:lnTo>
                      <a:lnTo>
                        <a:pt x="28500" y="98905"/>
                      </a:lnTo>
                      <a:lnTo>
                        <a:pt x="26177" y="100657"/>
                      </a:lnTo>
                      <a:lnTo>
                        <a:pt x="24351" y="100331"/>
                      </a:lnTo>
                      <a:lnTo>
                        <a:pt x="23096" y="100992"/>
                      </a:lnTo>
                      <a:lnTo>
                        <a:pt x="20195" y="100861"/>
                      </a:lnTo>
                      <a:lnTo>
                        <a:pt x="18337" y="100006"/>
                      </a:lnTo>
                      <a:lnTo>
                        <a:pt x="16088" y="100584"/>
                      </a:lnTo>
                      <a:lnTo>
                        <a:pt x="10831" y="93518"/>
                      </a:lnTo>
                      <a:lnTo>
                        <a:pt x="5542" y="86412"/>
                      </a:lnTo>
                      <a:lnTo>
                        <a:pt x="342" y="79419"/>
                      </a:lnTo>
                      <a:lnTo>
                        <a:pt x="0" y="78466"/>
                      </a:lnTo>
                      <a:lnTo>
                        <a:pt x="2168" y="75149"/>
                      </a:lnTo>
                      <a:lnTo>
                        <a:pt x="4116" y="72753"/>
                      </a:lnTo>
                      <a:lnTo>
                        <a:pt x="5737" y="71392"/>
                      </a:lnTo>
                      <a:lnTo>
                        <a:pt x="6504" y="70194"/>
                      </a:lnTo>
                      <a:lnTo>
                        <a:pt x="5917" y="65068"/>
                      </a:lnTo>
                      <a:lnTo>
                        <a:pt x="5941" y="63226"/>
                      </a:lnTo>
                      <a:lnTo>
                        <a:pt x="5192" y="61221"/>
                      </a:lnTo>
                      <a:lnTo>
                        <a:pt x="4645" y="58963"/>
                      </a:lnTo>
                      <a:lnTo>
                        <a:pt x="5298" y="57089"/>
                      </a:lnTo>
                      <a:lnTo>
                        <a:pt x="6080" y="55777"/>
                      </a:lnTo>
                      <a:lnTo>
                        <a:pt x="7090" y="55272"/>
                      </a:lnTo>
                      <a:lnTo>
                        <a:pt x="9511" y="54807"/>
                      </a:lnTo>
                      <a:lnTo>
                        <a:pt x="11231" y="54620"/>
                      </a:lnTo>
                      <a:lnTo>
                        <a:pt x="11834" y="53870"/>
                      </a:lnTo>
                      <a:lnTo>
                        <a:pt x="12828" y="52998"/>
                      </a:lnTo>
                      <a:lnTo>
                        <a:pt x="14132" y="52949"/>
                      </a:lnTo>
                      <a:lnTo>
                        <a:pt x="16691" y="53560"/>
                      </a:lnTo>
                      <a:lnTo>
                        <a:pt x="17848" y="52419"/>
                      </a:lnTo>
                      <a:lnTo>
                        <a:pt x="19959" y="50887"/>
                      </a:lnTo>
                      <a:lnTo>
                        <a:pt x="24694" y="48238"/>
                      </a:lnTo>
                      <a:lnTo>
                        <a:pt x="25761" y="46511"/>
                      </a:lnTo>
                      <a:lnTo>
                        <a:pt x="26503" y="43829"/>
                      </a:lnTo>
                      <a:lnTo>
                        <a:pt x="26421" y="42574"/>
                      </a:lnTo>
                      <a:lnTo>
                        <a:pt x="25933" y="42085"/>
                      </a:lnTo>
                      <a:lnTo>
                        <a:pt x="24759" y="41653"/>
                      </a:lnTo>
                      <a:lnTo>
                        <a:pt x="22966" y="41588"/>
                      </a:lnTo>
                      <a:lnTo>
                        <a:pt x="21515" y="42273"/>
                      </a:lnTo>
                      <a:lnTo>
                        <a:pt x="20024" y="41906"/>
                      </a:lnTo>
                      <a:lnTo>
                        <a:pt x="18785" y="40252"/>
                      </a:lnTo>
                      <a:lnTo>
                        <a:pt x="18720" y="38883"/>
                      </a:lnTo>
                      <a:lnTo>
                        <a:pt x="19445" y="36959"/>
                      </a:lnTo>
                      <a:lnTo>
                        <a:pt x="19022" y="35671"/>
                      </a:lnTo>
                      <a:lnTo>
                        <a:pt x="16658" y="31605"/>
                      </a:lnTo>
                      <a:lnTo>
                        <a:pt x="16675" y="30488"/>
                      </a:lnTo>
                      <a:lnTo>
                        <a:pt x="18386" y="28663"/>
                      </a:lnTo>
                      <a:lnTo>
                        <a:pt x="19364" y="27106"/>
                      </a:lnTo>
                      <a:lnTo>
                        <a:pt x="20692" y="23390"/>
                      </a:lnTo>
                      <a:lnTo>
                        <a:pt x="21752" y="22151"/>
                      </a:lnTo>
                      <a:lnTo>
                        <a:pt x="25052" y="21711"/>
                      </a:lnTo>
                      <a:lnTo>
                        <a:pt x="25892" y="20920"/>
                      </a:lnTo>
                      <a:lnTo>
                        <a:pt x="27571" y="18956"/>
                      </a:lnTo>
                      <a:lnTo>
                        <a:pt x="30081" y="16707"/>
                      </a:lnTo>
                      <a:lnTo>
                        <a:pt x="33691" y="14914"/>
                      </a:lnTo>
                      <a:lnTo>
                        <a:pt x="34718" y="11662"/>
                      </a:lnTo>
                      <a:lnTo>
                        <a:pt x="35370" y="10758"/>
                      </a:lnTo>
                      <a:lnTo>
                        <a:pt x="38239" y="9046"/>
                      </a:lnTo>
                      <a:lnTo>
                        <a:pt x="38736" y="8125"/>
                      </a:lnTo>
                      <a:lnTo>
                        <a:pt x="38671" y="7327"/>
                      </a:lnTo>
                      <a:lnTo>
                        <a:pt x="34050" y="0"/>
                      </a:lnTo>
                      <a:lnTo>
                        <a:pt x="34971" y="497"/>
                      </a:lnTo>
                      <a:lnTo>
                        <a:pt x="38548" y="5281"/>
                      </a:lnTo>
                      <a:lnTo>
                        <a:pt x="40529" y="6316"/>
                      </a:lnTo>
                      <a:lnTo>
                        <a:pt x="40944" y="6332"/>
                      </a:lnTo>
                      <a:lnTo>
                        <a:pt x="40961" y="5094"/>
                      </a:lnTo>
                      <a:lnTo>
                        <a:pt x="42770" y="5615"/>
                      </a:lnTo>
                      <a:lnTo>
                        <a:pt x="47464" y="8883"/>
                      </a:lnTo>
                      <a:lnTo>
                        <a:pt x="54326" y="14287"/>
                      </a:lnTo>
                      <a:lnTo>
                        <a:pt x="63967" y="24474"/>
                      </a:lnTo>
                      <a:lnTo>
                        <a:pt x="66706" y="28361"/>
                      </a:lnTo>
                      <a:lnTo>
                        <a:pt x="68556" y="30187"/>
                      </a:lnTo>
                      <a:lnTo>
                        <a:pt x="71424" y="34628"/>
                      </a:lnTo>
                      <a:lnTo>
                        <a:pt x="72256" y="36804"/>
                      </a:lnTo>
                      <a:lnTo>
                        <a:pt x="72174" y="45451"/>
                      </a:lnTo>
                      <a:lnTo>
                        <a:pt x="69640" y="51294"/>
                      </a:lnTo>
                      <a:lnTo>
                        <a:pt x="69020" y="55687"/>
                      </a:lnTo>
                      <a:lnTo>
                        <a:pt x="68882" y="61539"/>
                      </a:lnTo>
                      <a:lnTo>
                        <a:pt x="67407" y="64896"/>
                      </a:lnTo>
                      <a:lnTo>
                        <a:pt x="69363" y="63079"/>
                      </a:lnTo>
                      <a:lnTo>
                        <a:pt x="69974" y="57798"/>
                      </a:lnTo>
                      <a:lnTo>
                        <a:pt x="71636" y="54595"/>
                      </a:lnTo>
                      <a:lnTo>
                        <a:pt x="73804" y="51066"/>
                      </a:lnTo>
                      <a:lnTo>
                        <a:pt x="76697" y="50219"/>
                      </a:lnTo>
                      <a:lnTo>
                        <a:pt x="79811" y="51726"/>
                      </a:lnTo>
                      <a:lnTo>
                        <a:pt x="82321" y="51987"/>
                      </a:lnTo>
                      <a:lnTo>
                        <a:pt x="84529" y="53030"/>
                      </a:lnTo>
                      <a:lnTo>
                        <a:pt x="89231" y="58662"/>
                      </a:lnTo>
                      <a:lnTo>
                        <a:pt x="93836" y="63112"/>
                      </a:lnTo>
                      <a:lnTo>
                        <a:pt x="95499" y="66681"/>
                      </a:lnTo>
                      <a:lnTo>
                        <a:pt x="100372" y="68458"/>
                      </a:lnTo>
                      <a:lnTo>
                        <a:pt x="103257" y="71278"/>
                      </a:lnTo>
                      <a:lnTo>
                        <a:pt x="104178" y="73714"/>
                      </a:lnTo>
                      <a:lnTo>
                        <a:pt x="104749" y="80088"/>
                      </a:lnTo>
                      <a:lnTo>
                        <a:pt x="103803" y="89696"/>
                      </a:lnTo>
                      <a:close/>
                    </a:path>
                  </a:pathLst>
                </a:custGeom>
                <a:solidFill>
                  <a:srgbClr val="D6D6D2"/>
                </a:solidFill>
                <a:ln w="6112" cap="rnd">
                  <a:solidFill>
                    <a:srgbClr val="FFFFFF"/>
                  </a:solidFill>
                  <a:prstDash val="solid"/>
                  <a:round/>
                </a:ln>
              </p:spPr>
              <p:txBody>
                <a:bodyPr rtlCol="0" anchor="ctr"/>
                <a:lstStyle/>
                <a:p>
                  <a:endParaRPr lang="en-US"/>
                </a:p>
              </p:txBody>
            </p:sp>
            <p:sp>
              <p:nvSpPr>
                <p:cNvPr id="720" name="Freeform: Shape 719">
                  <a:extLst>
                    <a:ext uri="{FF2B5EF4-FFF2-40B4-BE49-F238E27FC236}">
                      <a16:creationId xmlns:a16="http://schemas.microsoft.com/office/drawing/2014/main" id="{040208CB-F886-4690-A0CB-4BAE17895675}"/>
                    </a:ext>
                  </a:extLst>
                </p:cNvPr>
                <p:cNvSpPr/>
                <p:nvPr/>
              </p:nvSpPr>
              <p:spPr>
                <a:xfrm>
                  <a:off x="3655994" y="3986753"/>
                  <a:ext cx="99369" cy="124519"/>
                </a:xfrm>
                <a:custGeom>
                  <a:avLst/>
                  <a:gdLst>
                    <a:gd name="connsiteX0" fmla="*/ 76233 w 99369"/>
                    <a:gd name="connsiteY0" fmla="*/ 57 h 124519"/>
                    <a:gd name="connsiteX1" fmla="*/ 75988 w 99369"/>
                    <a:gd name="connsiteY1" fmla="*/ 7498 h 124519"/>
                    <a:gd name="connsiteX2" fmla="*/ 75719 w 99369"/>
                    <a:gd name="connsiteY2" fmla="*/ 16104 h 124519"/>
                    <a:gd name="connsiteX3" fmla="*/ 75507 w 99369"/>
                    <a:gd name="connsiteY3" fmla="*/ 22428 h 124519"/>
                    <a:gd name="connsiteX4" fmla="*/ 75238 w 99369"/>
                    <a:gd name="connsiteY4" fmla="*/ 30863 h 124519"/>
                    <a:gd name="connsiteX5" fmla="*/ 74969 w 99369"/>
                    <a:gd name="connsiteY5" fmla="*/ 39485 h 124519"/>
                    <a:gd name="connsiteX6" fmla="*/ 74586 w 99369"/>
                    <a:gd name="connsiteY6" fmla="*/ 51221 h 124519"/>
                    <a:gd name="connsiteX7" fmla="*/ 74342 w 99369"/>
                    <a:gd name="connsiteY7" fmla="*/ 58817 h 124519"/>
                    <a:gd name="connsiteX8" fmla="*/ 74456 w 99369"/>
                    <a:gd name="connsiteY8" fmla="*/ 58988 h 124519"/>
                    <a:gd name="connsiteX9" fmla="*/ 77422 w 99369"/>
                    <a:gd name="connsiteY9" fmla="*/ 58621 h 124519"/>
                    <a:gd name="connsiteX10" fmla="*/ 81791 w 99369"/>
                    <a:gd name="connsiteY10" fmla="*/ 58955 h 124519"/>
                    <a:gd name="connsiteX11" fmla="*/ 82866 w 99369"/>
                    <a:gd name="connsiteY11" fmla="*/ 58931 h 124519"/>
                    <a:gd name="connsiteX12" fmla="*/ 84203 w 99369"/>
                    <a:gd name="connsiteY12" fmla="*/ 59591 h 124519"/>
                    <a:gd name="connsiteX13" fmla="*/ 85238 w 99369"/>
                    <a:gd name="connsiteY13" fmla="*/ 59786 h 124519"/>
                    <a:gd name="connsiteX14" fmla="*/ 87455 w 99369"/>
                    <a:gd name="connsiteY14" fmla="*/ 61498 h 124519"/>
                    <a:gd name="connsiteX15" fmla="*/ 90071 w 99369"/>
                    <a:gd name="connsiteY15" fmla="*/ 62786 h 124519"/>
                    <a:gd name="connsiteX16" fmla="*/ 91733 w 99369"/>
                    <a:gd name="connsiteY16" fmla="*/ 60186 h 124519"/>
                    <a:gd name="connsiteX17" fmla="*/ 90862 w 99369"/>
                    <a:gd name="connsiteY17" fmla="*/ 58613 h 124519"/>
                    <a:gd name="connsiteX18" fmla="*/ 90201 w 99369"/>
                    <a:gd name="connsiteY18" fmla="*/ 57806 h 124519"/>
                    <a:gd name="connsiteX19" fmla="*/ 90307 w 99369"/>
                    <a:gd name="connsiteY19" fmla="*/ 57113 h 124519"/>
                    <a:gd name="connsiteX20" fmla="*/ 99370 w 99369"/>
                    <a:gd name="connsiteY20" fmla="*/ 63861 h 124519"/>
                    <a:gd name="connsiteX21" fmla="*/ 98302 w 99369"/>
                    <a:gd name="connsiteY21" fmla="*/ 64904 h 124519"/>
                    <a:gd name="connsiteX22" fmla="*/ 95996 w 99369"/>
                    <a:gd name="connsiteY22" fmla="*/ 67309 h 124519"/>
                    <a:gd name="connsiteX23" fmla="*/ 91807 w 99369"/>
                    <a:gd name="connsiteY23" fmla="*/ 71424 h 124519"/>
                    <a:gd name="connsiteX24" fmla="*/ 88066 w 99369"/>
                    <a:gd name="connsiteY24" fmla="*/ 75100 h 124519"/>
                    <a:gd name="connsiteX25" fmla="*/ 84448 w 99369"/>
                    <a:gd name="connsiteY25" fmla="*/ 78433 h 124519"/>
                    <a:gd name="connsiteX26" fmla="*/ 81204 w 99369"/>
                    <a:gd name="connsiteY26" fmla="*/ 81440 h 124519"/>
                    <a:gd name="connsiteX27" fmla="*/ 80821 w 99369"/>
                    <a:gd name="connsiteY27" fmla="*/ 81734 h 124519"/>
                    <a:gd name="connsiteX28" fmla="*/ 76697 w 99369"/>
                    <a:gd name="connsiteY28" fmla="*/ 83877 h 124519"/>
                    <a:gd name="connsiteX29" fmla="*/ 76013 w 99369"/>
                    <a:gd name="connsiteY29" fmla="*/ 84863 h 124519"/>
                    <a:gd name="connsiteX30" fmla="*/ 75124 w 99369"/>
                    <a:gd name="connsiteY30" fmla="*/ 89109 h 124519"/>
                    <a:gd name="connsiteX31" fmla="*/ 74717 w 99369"/>
                    <a:gd name="connsiteY31" fmla="*/ 90160 h 124519"/>
                    <a:gd name="connsiteX32" fmla="*/ 75467 w 99369"/>
                    <a:gd name="connsiteY32" fmla="*/ 92516 h 124519"/>
                    <a:gd name="connsiteX33" fmla="*/ 76216 w 99369"/>
                    <a:gd name="connsiteY33" fmla="*/ 96151 h 124519"/>
                    <a:gd name="connsiteX34" fmla="*/ 75972 w 99369"/>
                    <a:gd name="connsiteY34" fmla="*/ 98049 h 124519"/>
                    <a:gd name="connsiteX35" fmla="*/ 73120 w 99369"/>
                    <a:gd name="connsiteY35" fmla="*/ 100388 h 124519"/>
                    <a:gd name="connsiteX36" fmla="*/ 71816 w 99369"/>
                    <a:gd name="connsiteY36" fmla="*/ 102499 h 124519"/>
                    <a:gd name="connsiteX37" fmla="*/ 71245 w 99369"/>
                    <a:gd name="connsiteY37" fmla="*/ 103860 h 124519"/>
                    <a:gd name="connsiteX38" fmla="*/ 70723 w 99369"/>
                    <a:gd name="connsiteY38" fmla="*/ 103510 h 124519"/>
                    <a:gd name="connsiteX39" fmla="*/ 69843 w 99369"/>
                    <a:gd name="connsiteY39" fmla="*/ 103396 h 124519"/>
                    <a:gd name="connsiteX40" fmla="*/ 67814 w 99369"/>
                    <a:gd name="connsiteY40" fmla="*/ 103925 h 124519"/>
                    <a:gd name="connsiteX41" fmla="*/ 66828 w 99369"/>
                    <a:gd name="connsiteY41" fmla="*/ 104039 h 124519"/>
                    <a:gd name="connsiteX42" fmla="*/ 66005 w 99369"/>
                    <a:gd name="connsiteY42" fmla="*/ 104651 h 124519"/>
                    <a:gd name="connsiteX43" fmla="*/ 65923 w 99369"/>
                    <a:gd name="connsiteY43" fmla="*/ 105955 h 124519"/>
                    <a:gd name="connsiteX44" fmla="*/ 66469 w 99369"/>
                    <a:gd name="connsiteY44" fmla="*/ 108082 h 124519"/>
                    <a:gd name="connsiteX45" fmla="*/ 66665 w 99369"/>
                    <a:gd name="connsiteY45" fmla="*/ 109174 h 124519"/>
                    <a:gd name="connsiteX46" fmla="*/ 66086 w 99369"/>
                    <a:gd name="connsiteY46" fmla="*/ 109679 h 124519"/>
                    <a:gd name="connsiteX47" fmla="*/ 63584 w 99369"/>
                    <a:gd name="connsiteY47" fmla="*/ 110950 h 124519"/>
                    <a:gd name="connsiteX48" fmla="*/ 62598 w 99369"/>
                    <a:gd name="connsiteY48" fmla="*/ 112214 h 124519"/>
                    <a:gd name="connsiteX49" fmla="*/ 61645 w 99369"/>
                    <a:gd name="connsiteY49" fmla="*/ 114170 h 124519"/>
                    <a:gd name="connsiteX50" fmla="*/ 60544 w 99369"/>
                    <a:gd name="connsiteY50" fmla="*/ 114985 h 124519"/>
                    <a:gd name="connsiteX51" fmla="*/ 59403 w 99369"/>
                    <a:gd name="connsiteY51" fmla="*/ 114830 h 124519"/>
                    <a:gd name="connsiteX52" fmla="*/ 58588 w 99369"/>
                    <a:gd name="connsiteY52" fmla="*/ 115115 h 124519"/>
                    <a:gd name="connsiteX53" fmla="*/ 56853 w 99369"/>
                    <a:gd name="connsiteY53" fmla="*/ 116590 h 124519"/>
                    <a:gd name="connsiteX54" fmla="*/ 54236 w 99369"/>
                    <a:gd name="connsiteY54" fmla="*/ 119426 h 124519"/>
                    <a:gd name="connsiteX55" fmla="*/ 52835 w 99369"/>
                    <a:gd name="connsiteY55" fmla="*/ 121529 h 124519"/>
                    <a:gd name="connsiteX56" fmla="*/ 52810 w 99369"/>
                    <a:gd name="connsiteY56" fmla="*/ 123102 h 124519"/>
                    <a:gd name="connsiteX57" fmla="*/ 53071 w 99369"/>
                    <a:gd name="connsiteY57" fmla="*/ 124520 h 124519"/>
                    <a:gd name="connsiteX58" fmla="*/ 43552 w 99369"/>
                    <a:gd name="connsiteY58" fmla="*/ 119516 h 124519"/>
                    <a:gd name="connsiteX59" fmla="*/ 40382 w 99369"/>
                    <a:gd name="connsiteY59" fmla="*/ 118660 h 124519"/>
                    <a:gd name="connsiteX60" fmla="*/ 27008 w 99369"/>
                    <a:gd name="connsiteY60" fmla="*/ 118774 h 124519"/>
                    <a:gd name="connsiteX61" fmla="*/ 21271 w 99369"/>
                    <a:gd name="connsiteY61" fmla="*/ 116802 h 124519"/>
                    <a:gd name="connsiteX62" fmla="*/ 14735 w 99369"/>
                    <a:gd name="connsiteY62" fmla="*/ 113012 h 124519"/>
                    <a:gd name="connsiteX63" fmla="*/ 10317 w 99369"/>
                    <a:gd name="connsiteY63" fmla="*/ 109573 h 124519"/>
                    <a:gd name="connsiteX64" fmla="*/ 0 w 99369"/>
                    <a:gd name="connsiteY64" fmla="*/ 99924 h 124519"/>
                    <a:gd name="connsiteX65" fmla="*/ 644 w 99369"/>
                    <a:gd name="connsiteY65" fmla="*/ 99142 h 124519"/>
                    <a:gd name="connsiteX66" fmla="*/ 1190 w 99369"/>
                    <a:gd name="connsiteY66" fmla="*/ 97340 h 124519"/>
                    <a:gd name="connsiteX67" fmla="*/ 1866 w 99369"/>
                    <a:gd name="connsiteY67" fmla="*/ 95490 h 124519"/>
                    <a:gd name="connsiteX68" fmla="*/ 1451 w 99369"/>
                    <a:gd name="connsiteY68" fmla="*/ 93347 h 124519"/>
                    <a:gd name="connsiteX69" fmla="*/ 1206 w 99369"/>
                    <a:gd name="connsiteY69" fmla="*/ 91619 h 124519"/>
                    <a:gd name="connsiteX70" fmla="*/ 1972 w 99369"/>
                    <a:gd name="connsiteY70" fmla="*/ 89085 h 124519"/>
                    <a:gd name="connsiteX71" fmla="*/ 1891 w 99369"/>
                    <a:gd name="connsiteY71" fmla="*/ 87194 h 124519"/>
                    <a:gd name="connsiteX72" fmla="*/ 2249 w 99369"/>
                    <a:gd name="connsiteY72" fmla="*/ 86020 h 124519"/>
                    <a:gd name="connsiteX73" fmla="*/ 3382 w 99369"/>
                    <a:gd name="connsiteY73" fmla="*/ 85263 h 124519"/>
                    <a:gd name="connsiteX74" fmla="*/ 3977 w 99369"/>
                    <a:gd name="connsiteY74" fmla="*/ 83820 h 124519"/>
                    <a:gd name="connsiteX75" fmla="*/ 758 w 99369"/>
                    <a:gd name="connsiteY75" fmla="*/ 78841 h 124519"/>
                    <a:gd name="connsiteX76" fmla="*/ 758 w 99369"/>
                    <a:gd name="connsiteY76" fmla="*/ 77700 h 124519"/>
                    <a:gd name="connsiteX77" fmla="*/ 1190 w 99369"/>
                    <a:gd name="connsiteY77" fmla="*/ 76306 h 124519"/>
                    <a:gd name="connsiteX78" fmla="*/ 3790 w 99369"/>
                    <a:gd name="connsiteY78" fmla="*/ 70976 h 124519"/>
                    <a:gd name="connsiteX79" fmla="*/ 6887 w 99369"/>
                    <a:gd name="connsiteY79" fmla="*/ 64644 h 124519"/>
                    <a:gd name="connsiteX80" fmla="*/ 10301 w 99369"/>
                    <a:gd name="connsiteY80" fmla="*/ 57651 h 124519"/>
                    <a:gd name="connsiteX81" fmla="*/ 12363 w 99369"/>
                    <a:gd name="connsiteY81" fmla="*/ 53446 h 124519"/>
                    <a:gd name="connsiteX82" fmla="*/ 19861 w 99369"/>
                    <a:gd name="connsiteY82" fmla="*/ 53438 h 124519"/>
                    <a:gd name="connsiteX83" fmla="*/ 24832 w 99369"/>
                    <a:gd name="connsiteY83" fmla="*/ 53438 h 124519"/>
                    <a:gd name="connsiteX84" fmla="*/ 31132 w 99369"/>
                    <a:gd name="connsiteY84" fmla="*/ 53421 h 124519"/>
                    <a:gd name="connsiteX85" fmla="*/ 37986 w 99369"/>
                    <a:gd name="connsiteY85" fmla="*/ 53421 h 124519"/>
                    <a:gd name="connsiteX86" fmla="*/ 42485 w 99369"/>
                    <a:gd name="connsiteY86" fmla="*/ 53421 h 124519"/>
                    <a:gd name="connsiteX87" fmla="*/ 44343 w 99369"/>
                    <a:gd name="connsiteY87" fmla="*/ 53373 h 124519"/>
                    <a:gd name="connsiteX88" fmla="*/ 44025 w 99369"/>
                    <a:gd name="connsiteY88" fmla="*/ 50634 h 124519"/>
                    <a:gd name="connsiteX89" fmla="*/ 44269 w 99369"/>
                    <a:gd name="connsiteY89" fmla="*/ 47611 h 124519"/>
                    <a:gd name="connsiteX90" fmla="*/ 45084 w 99369"/>
                    <a:gd name="connsiteY90" fmla="*/ 44864 h 124519"/>
                    <a:gd name="connsiteX91" fmla="*/ 45084 w 99369"/>
                    <a:gd name="connsiteY91" fmla="*/ 43642 h 124519"/>
                    <a:gd name="connsiteX92" fmla="*/ 43748 w 99369"/>
                    <a:gd name="connsiteY92" fmla="*/ 42167 h 124519"/>
                    <a:gd name="connsiteX93" fmla="*/ 41148 w 99369"/>
                    <a:gd name="connsiteY93" fmla="*/ 41295 h 124519"/>
                    <a:gd name="connsiteX94" fmla="*/ 39706 w 99369"/>
                    <a:gd name="connsiteY94" fmla="*/ 39991 h 124519"/>
                    <a:gd name="connsiteX95" fmla="*/ 39697 w 99369"/>
                    <a:gd name="connsiteY95" fmla="*/ 38320 h 124519"/>
                    <a:gd name="connsiteX96" fmla="*/ 39062 w 99369"/>
                    <a:gd name="connsiteY96" fmla="*/ 36315 h 124519"/>
                    <a:gd name="connsiteX97" fmla="*/ 37807 w 99369"/>
                    <a:gd name="connsiteY97" fmla="*/ 33952 h 124519"/>
                    <a:gd name="connsiteX98" fmla="*/ 35190 w 99369"/>
                    <a:gd name="connsiteY98" fmla="*/ 31531 h 124519"/>
                    <a:gd name="connsiteX99" fmla="*/ 31230 w 99369"/>
                    <a:gd name="connsiteY99" fmla="*/ 29070 h 124519"/>
                    <a:gd name="connsiteX100" fmla="*/ 27856 w 99369"/>
                    <a:gd name="connsiteY100" fmla="*/ 25753 h 124519"/>
                    <a:gd name="connsiteX101" fmla="*/ 25068 w 99369"/>
                    <a:gd name="connsiteY101" fmla="*/ 21589 h 124519"/>
                    <a:gd name="connsiteX102" fmla="*/ 22713 w 99369"/>
                    <a:gd name="connsiteY102" fmla="*/ 18907 h 124519"/>
                    <a:gd name="connsiteX103" fmla="*/ 20896 w 99369"/>
                    <a:gd name="connsiteY103" fmla="*/ 17783 h 124519"/>
                    <a:gd name="connsiteX104" fmla="*/ 20472 w 99369"/>
                    <a:gd name="connsiteY104" fmla="*/ 17188 h 124519"/>
                    <a:gd name="connsiteX105" fmla="*/ 25786 w 99369"/>
                    <a:gd name="connsiteY105" fmla="*/ 17245 h 124519"/>
                    <a:gd name="connsiteX106" fmla="*/ 30806 w 99369"/>
                    <a:gd name="connsiteY106" fmla="*/ 17294 h 124519"/>
                    <a:gd name="connsiteX107" fmla="*/ 30839 w 99369"/>
                    <a:gd name="connsiteY107" fmla="*/ 11312 h 124519"/>
                    <a:gd name="connsiteX108" fmla="*/ 30863 w 99369"/>
                    <a:gd name="connsiteY108" fmla="*/ 6006 h 124519"/>
                    <a:gd name="connsiteX109" fmla="*/ 30904 w 99369"/>
                    <a:gd name="connsiteY109" fmla="*/ 0 h 124519"/>
                    <a:gd name="connsiteX110" fmla="*/ 40007 w 99369"/>
                    <a:gd name="connsiteY110" fmla="*/ 8 h 124519"/>
                    <a:gd name="connsiteX111" fmla="*/ 50879 w 99369"/>
                    <a:gd name="connsiteY111" fmla="*/ 24 h 124519"/>
                    <a:gd name="connsiteX112" fmla="*/ 62158 w 99369"/>
                    <a:gd name="connsiteY112" fmla="*/ 33 h 124519"/>
                    <a:gd name="connsiteX113" fmla="*/ 71017 w 99369"/>
                    <a:gd name="connsiteY113" fmla="*/ 49 h 124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99369" h="124519">
                      <a:moveTo>
                        <a:pt x="76233" y="57"/>
                      </a:moveTo>
                      <a:lnTo>
                        <a:pt x="75988" y="7498"/>
                      </a:lnTo>
                      <a:lnTo>
                        <a:pt x="75719" y="16104"/>
                      </a:lnTo>
                      <a:lnTo>
                        <a:pt x="75507" y="22428"/>
                      </a:lnTo>
                      <a:lnTo>
                        <a:pt x="75238" y="30863"/>
                      </a:lnTo>
                      <a:lnTo>
                        <a:pt x="74969" y="39485"/>
                      </a:lnTo>
                      <a:lnTo>
                        <a:pt x="74586" y="51221"/>
                      </a:lnTo>
                      <a:lnTo>
                        <a:pt x="74342" y="58817"/>
                      </a:lnTo>
                      <a:lnTo>
                        <a:pt x="74456" y="58988"/>
                      </a:lnTo>
                      <a:lnTo>
                        <a:pt x="77422" y="58621"/>
                      </a:lnTo>
                      <a:lnTo>
                        <a:pt x="81791" y="58955"/>
                      </a:lnTo>
                      <a:lnTo>
                        <a:pt x="82866" y="58931"/>
                      </a:lnTo>
                      <a:lnTo>
                        <a:pt x="84203" y="59591"/>
                      </a:lnTo>
                      <a:lnTo>
                        <a:pt x="85238" y="59786"/>
                      </a:lnTo>
                      <a:lnTo>
                        <a:pt x="87455" y="61498"/>
                      </a:lnTo>
                      <a:lnTo>
                        <a:pt x="90071" y="62786"/>
                      </a:lnTo>
                      <a:lnTo>
                        <a:pt x="91733" y="60186"/>
                      </a:lnTo>
                      <a:lnTo>
                        <a:pt x="90862" y="58613"/>
                      </a:lnTo>
                      <a:lnTo>
                        <a:pt x="90201" y="57806"/>
                      </a:lnTo>
                      <a:lnTo>
                        <a:pt x="90307" y="57113"/>
                      </a:lnTo>
                      <a:lnTo>
                        <a:pt x="99370" y="63861"/>
                      </a:lnTo>
                      <a:lnTo>
                        <a:pt x="98302" y="64904"/>
                      </a:lnTo>
                      <a:lnTo>
                        <a:pt x="95996" y="67309"/>
                      </a:lnTo>
                      <a:lnTo>
                        <a:pt x="91807" y="71424"/>
                      </a:lnTo>
                      <a:lnTo>
                        <a:pt x="88066" y="75100"/>
                      </a:lnTo>
                      <a:lnTo>
                        <a:pt x="84448" y="78433"/>
                      </a:lnTo>
                      <a:lnTo>
                        <a:pt x="81204" y="81440"/>
                      </a:lnTo>
                      <a:lnTo>
                        <a:pt x="80821" y="81734"/>
                      </a:lnTo>
                      <a:lnTo>
                        <a:pt x="76697" y="83877"/>
                      </a:lnTo>
                      <a:lnTo>
                        <a:pt x="76013" y="84863"/>
                      </a:lnTo>
                      <a:lnTo>
                        <a:pt x="75124" y="89109"/>
                      </a:lnTo>
                      <a:lnTo>
                        <a:pt x="74717" y="90160"/>
                      </a:lnTo>
                      <a:lnTo>
                        <a:pt x="75467" y="92516"/>
                      </a:lnTo>
                      <a:lnTo>
                        <a:pt x="76216" y="96151"/>
                      </a:lnTo>
                      <a:lnTo>
                        <a:pt x="75972" y="98049"/>
                      </a:lnTo>
                      <a:lnTo>
                        <a:pt x="73120" y="100388"/>
                      </a:lnTo>
                      <a:lnTo>
                        <a:pt x="71816" y="102499"/>
                      </a:lnTo>
                      <a:lnTo>
                        <a:pt x="71245" y="103860"/>
                      </a:lnTo>
                      <a:lnTo>
                        <a:pt x="70723" y="103510"/>
                      </a:lnTo>
                      <a:lnTo>
                        <a:pt x="69843" y="103396"/>
                      </a:lnTo>
                      <a:lnTo>
                        <a:pt x="67814" y="103925"/>
                      </a:lnTo>
                      <a:lnTo>
                        <a:pt x="66828" y="104039"/>
                      </a:lnTo>
                      <a:lnTo>
                        <a:pt x="66005" y="104651"/>
                      </a:lnTo>
                      <a:lnTo>
                        <a:pt x="65923" y="105955"/>
                      </a:lnTo>
                      <a:lnTo>
                        <a:pt x="66469" y="108082"/>
                      </a:lnTo>
                      <a:lnTo>
                        <a:pt x="66665" y="109174"/>
                      </a:lnTo>
                      <a:lnTo>
                        <a:pt x="66086" y="109679"/>
                      </a:lnTo>
                      <a:lnTo>
                        <a:pt x="63584" y="110950"/>
                      </a:lnTo>
                      <a:lnTo>
                        <a:pt x="62598" y="112214"/>
                      </a:lnTo>
                      <a:lnTo>
                        <a:pt x="61645" y="114170"/>
                      </a:lnTo>
                      <a:lnTo>
                        <a:pt x="60544" y="114985"/>
                      </a:lnTo>
                      <a:lnTo>
                        <a:pt x="59403" y="114830"/>
                      </a:lnTo>
                      <a:lnTo>
                        <a:pt x="58588" y="115115"/>
                      </a:lnTo>
                      <a:lnTo>
                        <a:pt x="56853" y="116590"/>
                      </a:lnTo>
                      <a:lnTo>
                        <a:pt x="54236" y="119426"/>
                      </a:lnTo>
                      <a:lnTo>
                        <a:pt x="52835" y="121529"/>
                      </a:lnTo>
                      <a:lnTo>
                        <a:pt x="52810" y="123102"/>
                      </a:lnTo>
                      <a:lnTo>
                        <a:pt x="53071" y="124520"/>
                      </a:lnTo>
                      <a:lnTo>
                        <a:pt x="43552" y="119516"/>
                      </a:lnTo>
                      <a:lnTo>
                        <a:pt x="40382" y="118660"/>
                      </a:lnTo>
                      <a:lnTo>
                        <a:pt x="27008" y="118774"/>
                      </a:lnTo>
                      <a:lnTo>
                        <a:pt x="21271" y="116802"/>
                      </a:lnTo>
                      <a:lnTo>
                        <a:pt x="14735" y="113012"/>
                      </a:lnTo>
                      <a:lnTo>
                        <a:pt x="10317" y="109573"/>
                      </a:lnTo>
                      <a:lnTo>
                        <a:pt x="0" y="99924"/>
                      </a:lnTo>
                      <a:lnTo>
                        <a:pt x="644" y="99142"/>
                      </a:lnTo>
                      <a:lnTo>
                        <a:pt x="1190" y="97340"/>
                      </a:lnTo>
                      <a:lnTo>
                        <a:pt x="1866" y="95490"/>
                      </a:lnTo>
                      <a:lnTo>
                        <a:pt x="1451" y="93347"/>
                      </a:lnTo>
                      <a:lnTo>
                        <a:pt x="1206" y="91619"/>
                      </a:lnTo>
                      <a:lnTo>
                        <a:pt x="1972" y="89085"/>
                      </a:lnTo>
                      <a:lnTo>
                        <a:pt x="1891" y="87194"/>
                      </a:lnTo>
                      <a:lnTo>
                        <a:pt x="2249" y="86020"/>
                      </a:lnTo>
                      <a:lnTo>
                        <a:pt x="3382" y="85263"/>
                      </a:lnTo>
                      <a:lnTo>
                        <a:pt x="3977" y="83820"/>
                      </a:lnTo>
                      <a:lnTo>
                        <a:pt x="758" y="78841"/>
                      </a:lnTo>
                      <a:lnTo>
                        <a:pt x="758" y="77700"/>
                      </a:lnTo>
                      <a:lnTo>
                        <a:pt x="1190" y="76306"/>
                      </a:lnTo>
                      <a:lnTo>
                        <a:pt x="3790" y="70976"/>
                      </a:lnTo>
                      <a:lnTo>
                        <a:pt x="6887" y="64644"/>
                      </a:lnTo>
                      <a:lnTo>
                        <a:pt x="10301" y="57651"/>
                      </a:lnTo>
                      <a:lnTo>
                        <a:pt x="12363" y="53446"/>
                      </a:lnTo>
                      <a:lnTo>
                        <a:pt x="19861" y="53438"/>
                      </a:lnTo>
                      <a:lnTo>
                        <a:pt x="24832" y="53438"/>
                      </a:lnTo>
                      <a:lnTo>
                        <a:pt x="31132" y="53421"/>
                      </a:lnTo>
                      <a:lnTo>
                        <a:pt x="37986" y="53421"/>
                      </a:lnTo>
                      <a:lnTo>
                        <a:pt x="42485" y="53421"/>
                      </a:lnTo>
                      <a:lnTo>
                        <a:pt x="44343" y="53373"/>
                      </a:lnTo>
                      <a:lnTo>
                        <a:pt x="44025" y="50634"/>
                      </a:lnTo>
                      <a:lnTo>
                        <a:pt x="44269" y="47611"/>
                      </a:lnTo>
                      <a:lnTo>
                        <a:pt x="45084" y="44864"/>
                      </a:lnTo>
                      <a:lnTo>
                        <a:pt x="45084" y="43642"/>
                      </a:lnTo>
                      <a:lnTo>
                        <a:pt x="43748" y="42167"/>
                      </a:lnTo>
                      <a:lnTo>
                        <a:pt x="41148" y="41295"/>
                      </a:lnTo>
                      <a:lnTo>
                        <a:pt x="39706" y="39991"/>
                      </a:lnTo>
                      <a:lnTo>
                        <a:pt x="39697" y="38320"/>
                      </a:lnTo>
                      <a:lnTo>
                        <a:pt x="39062" y="36315"/>
                      </a:lnTo>
                      <a:lnTo>
                        <a:pt x="37807" y="33952"/>
                      </a:lnTo>
                      <a:lnTo>
                        <a:pt x="35190" y="31531"/>
                      </a:lnTo>
                      <a:lnTo>
                        <a:pt x="31230" y="29070"/>
                      </a:lnTo>
                      <a:lnTo>
                        <a:pt x="27856" y="25753"/>
                      </a:lnTo>
                      <a:lnTo>
                        <a:pt x="25068" y="21589"/>
                      </a:lnTo>
                      <a:lnTo>
                        <a:pt x="22713" y="18907"/>
                      </a:lnTo>
                      <a:lnTo>
                        <a:pt x="20896" y="17783"/>
                      </a:lnTo>
                      <a:lnTo>
                        <a:pt x="20472" y="17188"/>
                      </a:lnTo>
                      <a:lnTo>
                        <a:pt x="25786" y="17245"/>
                      </a:lnTo>
                      <a:lnTo>
                        <a:pt x="30806" y="17294"/>
                      </a:lnTo>
                      <a:lnTo>
                        <a:pt x="30839" y="11312"/>
                      </a:lnTo>
                      <a:lnTo>
                        <a:pt x="30863" y="6006"/>
                      </a:lnTo>
                      <a:lnTo>
                        <a:pt x="30904" y="0"/>
                      </a:lnTo>
                      <a:lnTo>
                        <a:pt x="40007" y="8"/>
                      </a:lnTo>
                      <a:lnTo>
                        <a:pt x="50879" y="24"/>
                      </a:lnTo>
                      <a:lnTo>
                        <a:pt x="62158" y="33"/>
                      </a:lnTo>
                      <a:lnTo>
                        <a:pt x="71017" y="49"/>
                      </a:lnTo>
                      <a:close/>
                    </a:path>
                  </a:pathLst>
                </a:custGeom>
                <a:solidFill>
                  <a:srgbClr val="D6D6D2"/>
                </a:solidFill>
                <a:ln w="6112" cap="rnd">
                  <a:solidFill>
                    <a:srgbClr val="FFFFFF"/>
                  </a:solidFill>
                  <a:prstDash val="solid"/>
                  <a:round/>
                </a:ln>
              </p:spPr>
              <p:txBody>
                <a:bodyPr rtlCol="0" anchor="ctr"/>
                <a:lstStyle/>
                <a:p>
                  <a:endParaRPr lang="en-US"/>
                </a:p>
              </p:txBody>
            </p:sp>
            <p:grpSp>
              <p:nvGrpSpPr>
                <p:cNvPr id="721" name="Graphic 7">
                  <a:extLst>
                    <a:ext uri="{FF2B5EF4-FFF2-40B4-BE49-F238E27FC236}">
                      <a16:creationId xmlns:a16="http://schemas.microsoft.com/office/drawing/2014/main" id="{2AB598EA-2629-4D8B-8721-012FEAB6654E}"/>
                    </a:ext>
                  </a:extLst>
                </p:cNvPr>
                <p:cNvGrpSpPr/>
                <p:nvPr/>
              </p:nvGrpSpPr>
              <p:grpSpPr>
                <a:xfrm>
                  <a:off x="6439714" y="3216359"/>
                  <a:ext cx="164274" cy="228591"/>
                  <a:chOff x="6439714" y="3216359"/>
                  <a:chExt cx="164274" cy="228591"/>
                </a:xfrm>
                <a:solidFill>
                  <a:srgbClr val="D6D6D2"/>
                </a:solidFill>
              </p:grpSpPr>
              <p:sp>
                <p:nvSpPr>
                  <p:cNvPr id="791" name="Freeform: Shape 790">
                    <a:extLst>
                      <a:ext uri="{FF2B5EF4-FFF2-40B4-BE49-F238E27FC236}">
                        <a16:creationId xmlns:a16="http://schemas.microsoft.com/office/drawing/2014/main" id="{0604CF80-DD02-481E-8846-BDF1D735F45D}"/>
                      </a:ext>
                    </a:extLst>
                  </p:cNvPr>
                  <p:cNvSpPr/>
                  <p:nvPr/>
                </p:nvSpPr>
                <p:spPr>
                  <a:xfrm>
                    <a:off x="6527658" y="3421169"/>
                    <a:ext cx="68767" cy="23780"/>
                  </a:xfrm>
                  <a:custGeom>
                    <a:avLst/>
                    <a:gdLst>
                      <a:gd name="connsiteX0" fmla="*/ 7563 w 68767"/>
                      <a:gd name="connsiteY0" fmla="*/ 3969 h 23780"/>
                      <a:gd name="connsiteX1" fmla="*/ 9258 w 68767"/>
                      <a:gd name="connsiteY1" fmla="*/ 4213 h 23780"/>
                      <a:gd name="connsiteX2" fmla="*/ 11556 w 68767"/>
                      <a:gd name="connsiteY2" fmla="*/ 4173 h 23780"/>
                      <a:gd name="connsiteX3" fmla="*/ 12078 w 68767"/>
                      <a:gd name="connsiteY3" fmla="*/ 3977 h 23780"/>
                      <a:gd name="connsiteX4" fmla="*/ 13545 w 68767"/>
                      <a:gd name="connsiteY4" fmla="*/ 2037 h 23780"/>
                      <a:gd name="connsiteX5" fmla="*/ 15338 w 68767"/>
                      <a:gd name="connsiteY5" fmla="*/ 1997 h 23780"/>
                      <a:gd name="connsiteX6" fmla="*/ 16128 w 68767"/>
                      <a:gd name="connsiteY6" fmla="*/ 3904 h 23780"/>
                      <a:gd name="connsiteX7" fmla="*/ 14303 w 68767"/>
                      <a:gd name="connsiteY7" fmla="*/ 4784 h 23780"/>
                      <a:gd name="connsiteX8" fmla="*/ 13936 w 68767"/>
                      <a:gd name="connsiteY8" fmla="*/ 5281 h 23780"/>
                      <a:gd name="connsiteX9" fmla="*/ 14286 w 68767"/>
                      <a:gd name="connsiteY9" fmla="*/ 5680 h 23780"/>
                      <a:gd name="connsiteX10" fmla="*/ 15656 w 68767"/>
                      <a:gd name="connsiteY10" fmla="*/ 6479 h 23780"/>
                      <a:gd name="connsiteX11" fmla="*/ 17562 w 68767"/>
                      <a:gd name="connsiteY11" fmla="*/ 6177 h 23780"/>
                      <a:gd name="connsiteX12" fmla="*/ 17620 w 68767"/>
                      <a:gd name="connsiteY12" fmla="*/ 7677 h 23780"/>
                      <a:gd name="connsiteX13" fmla="*/ 18052 w 68767"/>
                      <a:gd name="connsiteY13" fmla="*/ 8908 h 23780"/>
                      <a:gd name="connsiteX14" fmla="*/ 18981 w 68767"/>
                      <a:gd name="connsiteY14" fmla="*/ 9641 h 23780"/>
                      <a:gd name="connsiteX15" fmla="*/ 19999 w 68767"/>
                      <a:gd name="connsiteY15" fmla="*/ 9780 h 23780"/>
                      <a:gd name="connsiteX16" fmla="*/ 22257 w 68767"/>
                      <a:gd name="connsiteY16" fmla="*/ 9560 h 23780"/>
                      <a:gd name="connsiteX17" fmla="*/ 24482 w 68767"/>
                      <a:gd name="connsiteY17" fmla="*/ 9079 h 23780"/>
                      <a:gd name="connsiteX18" fmla="*/ 26780 w 68767"/>
                      <a:gd name="connsiteY18" fmla="*/ 8117 h 23780"/>
                      <a:gd name="connsiteX19" fmla="*/ 29119 w 68767"/>
                      <a:gd name="connsiteY19" fmla="*/ 7620 h 23780"/>
                      <a:gd name="connsiteX20" fmla="*/ 36103 w 68767"/>
                      <a:gd name="connsiteY20" fmla="*/ 8117 h 23780"/>
                      <a:gd name="connsiteX21" fmla="*/ 38622 w 68767"/>
                      <a:gd name="connsiteY21" fmla="*/ 10187 h 23780"/>
                      <a:gd name="connsiteX22" fmla="*/ 43389 w 68767"/>
                      <a:gd name="connsiteY22" fmla="*/ 10440 h 23780"/>
                      <a:gd name="connsiteX23" fmla="*/ 47831 w 68767"/>
                      <a:gd name="connsiteY23" fmla="*/ 11532 h 23780"/>
                      <a:gd name="connsiteX24" fmla="*/ 50161 w 68767"/>
                      <a:gd name="connsiteY24" fmla="*/ 10815 h 23780"/>
                      <a:gd name="connsiteX25" fmla="*/ 54139 w 68767"/>
                      <a:gd name="connsiteY25" fmla="*/ 10138 h 23780"/>
                      <a:gd name="connsiteX26" fmla="*/ 54782 w 68767"/>
                      <a:gd name="connsiteY26" fmla="*/ 10872 h 23780"/>
                      <a:gd name="connsiteX27" fmla="*/ 54261 w 68767"/>
                      <a:gd name="connsiteY27" fmla="*/ 15566 h 23780"/>
                      <a:gd name="connsiteX28" fmla="*/ 54497 w 68767"/>
                      <a:gd name="connsiteY28" fmla="*/ 16919 h 23780"/>
                      <a:gd name="connsiteX29" fmla="*/ 55654 w 68767"/>
                      <a:gd name="connsiteY29" fmla="*/ 17579 h 23780"/>
                      <a:gd name="connsiteX30" fmla="*/ 56795 w 68767"/>
                      <a:gd name="connsiteY30" fmla="*/ 17261 h 23780"/>
                      <a:gd name="connsiteX31" fmla="*/ 58181 w 68767"/>
                      <a:gd name="connsiteY31" fmla="*/ 15721 h 23780"/>
                      <a:gd name="connsiteX32" fmla="*/ 61530 w 68767"/>
                      <a:gd name="connsiteY32" fmla="*/ 14539 h 23780"/>
                      <a:gd name="connsiteX33" fmla="*/ 64994 w 68767"/>
                      <a:gd name="connsiteY33" fmla="*/ 14539 h 23780"/>
                      <a:gd name="connsiteX34" fmla="*/ 67912 w 68767"/>
                      <a:gd name="connsiteY34" fmla="*/ 11418 h 23780"/>
                      <a:gd name="connsiteX35" fmla="*/ 68767 w 68767"/>
                      <a:gd name="connsiteY35" fmla="*/ 11238 h 23780"/>
                      <a:gd name="connsiteX36" fmla="*/ 68238 w 68767"/>
                      <a:gd name="connsiteY36" fmla="*/ 12771 h 23780"/>
                      <a:gd name="connsiteX37" fmla="*/ 67797 w 68767"/>
                      <a:gd name="connsiteY37" fmla="*/ 16381 h 23780"/>
                      <a:gd name="connsiteX38" fmla="*/ 67170 w 68767"/>
                      <a:gd name="connsiteY38" fmla="*/ 18484 h 23780"/>
                      <a:gd name="connsiteX39" fmla="*/ 66893 w 68767"/>
                      <a:gd name="connsiteY39" fmla="*/ 20154 h 23780"/>
                      <a:gd name="connsiteX40" fmla="*/ 64937 w 68767"/>
                      <a:gd name="connsiteY40" fmla="*/ 21010 h 23780"/>
                      <a:gd name="connsiteX41" fmla="*/ 61987 w 68767"/>
                      <a:gd name="connsiteY41" fmla="*/ 21157 h 23780"/>
                      <a:gd name="connsiteX42" fmla="*/ 56600 w 68767"/>
                      <a:gd name="connsiteY42" fmla="*/ 20790 h 23780"/>
                      <a:gd name="connsiteX43" fmla="*/ 51180 w 68767"/>
                      <a:gd name="connsiteY43" fmla="*/ 21385 h 23780"/>
                      <a:gd name="connsiteX44" fmla="*/ 41132 w 68767"/>
                      <a:gd name="connsiteY44" fmla="*/ 22966 h 23780"/>
                      <a:gd name="connsiteX45" fmla="*/ 31058 w 68767"/>
                      <a:gd name="connsiteY45" fmla="*/ 23781 h 23780"/>
                      <a:gd name="connsiteX46" fmla="*/ 29706 w 68767"/>
                      <a:gd name="connsiteY46" fmla="*/ 23243 h 23780"/>
                      <a:gd name="connsiteX47" fmla="*/ 29681 w 68767"/>
                      <a:gd name="connsiteY47" fmla="*/ 21149 h 23780"/>
                      <a:gd name="connsiteX48" fmla="*/ 29461 w 68767"/>
                      <a:gd name="connsiteY48" fmla="*/ 19698 h 23780"/>
                      <a:gd name="connsiteX49" fmla="*/ 28809 w 68767"/>
                      <a:gd name="connsiteY49" fmla="*/ 18687 h 23780"/>
                      <a:gd name="connsiteX50" fmla="*/ 25696 w 68767"/>
                      <a:gd name="connsiteY50" fmla="*/ 17823 h 23780"/>
                      <a:gd name="connsiteX51" fmla="*/ 22730 w 68767"/>
                      <a:gd name="connsiteY51" fmla="*/ 16340 h 23780"/>
                      <a:gd name="connsiteX52" fmla="*/ 11084 w 68767"/>
                      <a:gd name="connsiteY52" fmla="*/ 14319 h 23780"/>
                      <a:gd name="connsiteX53" fmla="*/ 8337 w 68767"/>
                      <a:gd name="connsiteY53" fmla="*/ 13520 h 23780"/>
                      <a:gd name="connsiteX54" fmla="*/ 3879 w 68767"/>
                      <a:gd name="connsiteY54" fmla="*/ 13928 h 23780"/>
                      <a:gd name="connsiteX55" fmla="*/ 2249 w 68767"/>
                      <a:gd name="connsiteY55" fmla="*/ 13879 h 23780"/>
                      <a:gd name="connsiteX56" fmla="*/ 1125 w 68767"/>
                      <a:gd name="connsiteY56" fmla="*/ 13154 h 23780"/>
                      <a:gd name="connsiteX57" fmla="*/ 359 w 68767"/>
                      <a:gd name="connsiteY57" fmla="*/ 11899 h 23780"/>
                      <a:gd name="connsiteX58" fmla="*/ 0 w 68767"/>
                      <a:gd name="connsiteY58" fmla="*/ 7922 h 23780"/>
                      <a:gd name="connsiteX59" fmla="*/ 562 w 68767"/>
                      <a:gd name="connsiteY59" fmla="*/ 3993 h 23780"/>
                      <a:gd name="connsiteX60" fmla="*/ 1516 w 68767"/>
                      <a:gd name="connsiteY60" fmla="*/ 2950 h 23780"/>
                      <a:gd name="connsiteX61" fmla="*/ 1964 w 68767"/>
                      <a:gd name="connsiteY61" fmla="*/ 4140 h 23780"/>
                      <a:gd name="connsiteX62" fmla="*/ 3113 w 68767"/>
                      <a:gd name="connsiteY62" fmla="*/ 4686 h 23780"/>
                      <a:gd name="connsiteX63" fmla="*/ 4173 w 68767"/>
                      <a:gd name="connsiteY63" fmla="*/ 3488 h 23780"/>
                      <a:gd name="connsiteX64" fmla="*/ 4164 w 68767"/>
                      <a:gd name="connsiteY64" fmla="*/ 1679 h 23780"/>
                      <a:gd name="connsiteX65" fmla="*/ 4703 w 68767"/>
                      <a:gd name="connsiteY65" fmla="*/ 0 h 23780"/>
                      <a:gd name="connsiteX66" fmla="*/ 5542 w 68767"/>
                      <a:gd name="connsiteY66" fmla="*/ 709 h 23780"/>
                      <a:gd name="connsiteX67" fmla="*/ 6104 w 68767"/>
                      <a:gd name="connsiteY67" fmla="*/ 3284 h 2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8767" h="23780">
                        <a:moveTo>
                          <a:pt x="7563" y="3969"/>
                        </a:moveTo>
                        <a:lnTo>
                          <a:pt x="9258" y="4213"/>
                        </a:lnTo>
                        <a:lnTo>
                          <a:pt x="11556" y="4173"/>
                        </a:lnTo>
                        <a:lnTo>
                          <a:pt x="12078" y="3977"/>
                        </a:lnTo>
                        <a:lnTo>
                          <a:pt x="13545" y="2037"/>
                        </a:lnTo>
                        <a:lnTo>
                          <a:pt x="15338" y="1997"/>
                        </a:lnTo>
                        <a:lnTo>
                          <a:pt x="16128" y="3904"/>
                        </a:lnTo>
                        <a:lnTo>
                          <a:pt x="14303" y="4784"/>
                        </a:lnTo>
                        <a:lnTo>
                          <a:pt x="13936" y="5281"/>
                        </a:lnTo>
                        <a:lnTo>
                          <a:pt x="14286" y="5680"/>
                        </a:lnTo>
                        <a:lnTo>
                          <a:pt x="15656" y="6479"/>
                        </a:lnTo>
                        <a:lnTo>
                          <a:pt x="17562" y="6177"/>
                        </a:lnTo>
                        <a:lnTo>
                          <a:pt x="17620" y="7677"/>
                        </a:lnTo>
                        <a:lnTo>
                          <a:pt x="18052" y="8908"/>
                        </a:lnTo>
                        <a:lnTo>
                          <a:pt x="18981" y="9641"/>
                        </a:lnTo>
                        <a:lnTo>
                          <a:pt x="19999" y="9780"/>
                        </a:lnTo>
                        <a:lnTo>
                          <a:pt x="22257" y="9560"/>
                        </a:lnTo>
                        <a:lnTo>
                          <a:pt x="24482" y="9079"/>
                        </a:lnTo>
                        <a:lnTo>
                          <a:pt x="26780" y="8117"/>
                        </a:lnTo>
                        <a:lnTo>
                          <a:pt x="29119" y="7620"/>
                        </a:lnTo>
                        <a:lnTo>
                          <a:pt x="36103" y="8117"/>
                        </a:lnTo>
                        <a:lnTo>
                          <a:pt x="38622" y="10187"/>
                        </a:lnTo>
                        <a:lnTo>
                          <a:pt x="43389" y="10440"/>
                        </a:lnTo>
                        <a:lnTo>
                          <a:pt x="47831" y="11532"/>
                        </a:lnTo>
                        <a:lnTo>
                          <a:pt x="50161" y="10815"/>
                        </a:lnTo>
                        <a:lnTo>
                          <a:pt x="54139" y="10138"/>
                        </a:lnTo>
                        <a:lnTo>
                          <a:pt x="54782" y="10872"/>
                        </a:lnTo>
                        <a:lnTo>
                          <a:pt x="54261" y="15566"/>
                        </a:lnTo>
                        <a:lnTo>
                          <a:pt x="54497" y="16919"/>
                        </a:lnTo>
                        <a:lnTo>
                          <a:pt x="55654" y="17579"/>
                        </a:lnTo>
                        <a:lnTo>
                          <a:pt x="56795" y="17261"/>
                        </a:lnTo>
                        <a:lnTo>
                          <a:pt x="58181" y="15721"/>
                        </a:lnTo>
                        <a:lnTo>
                          <a:pt x="61530" y="14539"/>
                        </a:lnTo>
                        <a:lnTo>
                          <a:pt x="64994" y="14539"/>
                        </a:lnTo>
                        <a:lnTo>
                          <a:pt x="67912" y="11418"/>
                        </a:lnTo>
                        <a:lnTo>
                          <a:pt x="68767" y="11238"/>
                        </a:lnTo>
                        <a:lnTo>
                          <a:pt x="68238" y="12771"/>
                        </a:lnTo>
                        <a:lnTo>
                          <a:pt x="67797" y="16381"/>
                        </a:lnTo>
                        <a:lnTo>
                          <a:pt x="67170" y="18484"/>
                        </a:lnTo>
                        <a:lnTo>
                          <a:pt x="66893" y="20154"/>
                        </a:lnTo>
                        <a:lnTo>
                          <a:pt x="64937" y="21010"/>
                        </a:lnTo>
                        <a:lnTo>
                          <a:pt x="61987" y="21157"/>
                        </a:lnTo>
                        <a:lnTo>
                          <a:pt x="56600" y="20790"/>
                        </a:lnTo>
                        <a:lnTo>
                          <a:pt x="51180" y="21385"/>
                        </a:lnTo>
                        <a:lnTo>
                          <a:pt x="41132" y="22966"/>
                        </a:lnTo>
                        <a:lnTo>
                          <a:pt x="31058" y="23781"/>
                        </a:lnTo>
                        <a:lnTo>
                          <a:pt x="29706" y="23243"/>
                        </a:lnTo>
                        <a:lnTo>
                          <a:pt x="29681" y="21149"/>
                        </a:lnTo>
                        <a:lnTo>
                          <a:pt x="29461" y="19698"/>
                        </a:lnTo>
                        <a:lnTo>
                          <a:pt x="28809" y="18687"/>
                        </a:lnTo>
                        <a:lnTo>
                          <a:pt x="25696" y="17823"/>
                        </a:lnTo>
                        <a:lnTo>
                          <a:pt x="22730" y="16340"/>
                        </a:lnTo>
                        <a:lnTo>
                          <a:pt x="11084" y="14319"/>
                        </a:lnTo>
                        <a:lnTo>
                          <a:pt x="8337" y="13520"/>
                        </a:lnTo>
                        <a:lnTo>
                          <a:pt x="3879" y="13928"/>
                        </a:lnTo>
                        <a:lnTo>
                          <a:pt x="2249" y="13879"/>
                        </a:lnTo>
                        <a:lnTo>
                          <a:pt x="1125" y="13154"/>
                        </a:lnTo>
                        <a:lnTo>
                          <a:pt x="359" y="11899"/>
                        </a:lnTo>
                        <a:lnTo>
                          <a:pt x="0" y="7922"/>
                        </a:lnTo>
                        <a:lnTo>
                          <a:pt x="562" y="3993"/>
                        </a:lnTo>
                        <a:lnTo>
                          <a:pt x="1516" y="2950"/>
                        </a:lnTo>
                        <a:lnTo>
                          <a:pt x="1964" y="4140"/>
                        </a:lnTo>
                        <a:lnTo>
                          <a:pt x="3113" y="4686"/>
                        </a:lnTo>
                        <a:lnTo>
                          <a:pt x="4173" y="3488"/>
                        </a:lnTo>
                        <a:lnTo>
                          <a:pt x="4164" y="1679"/>
                        </a:lnTo>
                        <a:lnTo>
                          <a:pt x="4703" y="0"/>
                        </a:lnTo>
                        <a:lnTo>
                          <a:pt x="5542" y="709"/>
                        </a:lnTo>
                        <a:lnTo>
                          <a:pt x="6104" y="3284"/>
                        </a:lnTo>
                        <a:close/>
                      </a:path>
                    </a:pathLst>
                  </a:custGeom>
                  <a:solidFill>
                    <a:srgbClr val="D6D6D2"/>
                  </a:solidFill>
                  <a:ln w="8150" cap="flat">
                    <a:noFill/>
                    <a:prstDash val="solid"/>
                    <a:miter/>
                  </a:ln>
                </p:spPr>
                <p:txBody>
                  <a:bodyPr rtlCol="0" anchor="ctr"/>
                  <a:lstStyle/>
                  <a:p>
                    <a:endParaRPr lang="en-US"/>
                  </a:p>
                </p:txBody>
              </p:sp>
              <p:sp>
                <p:nvSpPr>
                  <p:cNvPr id="792" name="Freeform: Shape 791">
                    <a:extLst>
                      <a:ext uri="{FF2B5EF4-FFF2-40B4-BE49-F238E27FC236}">
                        <a16:creationId xmlns:a16="http://schemas.microsoft.com/office/drawing/2014/main" id="{1FAE3798-A0BF-43F9-A20E-6C2EA3A5DBDB}"/>
                      </a:ext>
                    </a:extLst>
                  </p:cNvPr>
                  <p:cNvSpPr/>
                  <p:nvPr/>
                </p:nvSpPr>
                <p:spPr>
                  <a:xfrm>
                    <a:off x="6510862" y="3308434"/>
                    <a:ext cx="42614" cy="35769"/>
                  </a:xfrm>
                  <a:custGeom>
                    <a:avLst/>
                    <a:gdLst>
                      <a:gd name="connsiteX0" fmla="*/ 13520 w 42614"/>
                      <a:gd name="connsiteY0" fmla="*/ 2567 h 35769"/>
                      <a:gd name="connsiteX1" fmla="*/ 14922 w 42614"/>
                      <a:gd name="connsiteY1" fmla="*/ 6226 h 35769"/>
                      <a:gd name="connsiteX2" fmla="*/ 16234 w 42614"/>
                      <a:gd name="connsiteY2" fmla="*/ 7457 h 35769"/>
                      <a:gd name="connsiteX3" fmla="*/ 18997 w 42614"/>
                      <a:gd name="connsiteY3" fmla="*/ 8916 h 35769"/>
                      <a:gd name="connsiteX4" fmla="*/ 20301 w 42614"/>
                      <a:gd name="connsiteY4" fmla="*/ 9095 h 35769"/>
                      <a:gd name="connsiteX5" fmla="*/ 25003 w 42614"/>
                      <a:gd name="connsiteY5" fmla="*/ 11728 h 35769"/>
                      <a:gd name="connsiteX6" fmla="*/ 30480 w 42614"/>
                      <a:gd name="connsiteY6" fmla="*/ 12249 h 35769"/>
                      <a:gd name="connsiteX7" fmla="*/ 31181 w 42614"/>
                      <a:gd name="connsiteY7" fmla="*/ 13007 h 35769"/>
                      <a:gd name="connsiteX8" fmla="*/ 31857 w 42614"/>
                      <a:gd name="connsiteY8" fmla="*/ 15036 h 35769"/>
                      <a:gd name="connsiteX9" fmla="*/ 32966 w 42614"/>
                      <a:gd name="connsiteY9" fmla="*/ 16617 h 35769"/>
                      <a:gd name="connsiteX10" fmla="*/ 33259 w 42614"/>
                      <a:gd name="connsiteY10" fmla="*/ 17848 h 35769"/>
                      <a:gd name="connsiteX11" fmla="*/ 32672 w 42614"/>
                      <a:gd name="connsiteY11" fmla="*/ 19225 h 35769"/>
                      <a:gd name="connsiteX12" fmla="*/ 33487 w 42614"/>
                      <a:gd name="connsiteY12" fmla="*/ 23414 h 35769"/>
                      <a:gd name="connsiteX13" fmla="*/ 34864 w 42614"/>
                      <a:gd name="connsiteY13" fmla="*/ 27391 h 35769"/>
                      <a:gd name="connsiteX14" fmla="*/ 36942 w 42614"/>
                      <a:gd name="connsiteY14" fmla="*/ 29323 h 35769"/>
                      <a:gd name="connsiteX15" fmla="*/ 39526 w 42614"/>
                      <a:gd name="connsiteY15" fmla="*/ 29901 h 35769"/>
                      <a:gd name="connsiteX16" fmla="*/ 41995 w 42614"/>
                      <a:gd name="connsiteY16" fmla="*/ 29828 h 35769"/>
                      <a:gd name="connsiteX17" fmla="*/ 42614 w 42614"/>
                      <a:gd name="connsiteY17" fmla="*/ 30610 h 35769"/>
                      <a:gd name="connsiteX18" fmla="*/ 42370 w 42614"/>
                      <a:gd name="connsiteY18" fmla="*/ 34090 h 35769"/>
                      <a:gd name="connsiteX19" fmla="*/ 41335 w 42614"/>
                      <a:gd name="connsiteY19" fmla="*/ 35443 h 35769"/>
                      <a:gd name="connsiteX20" fmla="*/ 40480 w 42614"/>
                      <a:gd name="connsiteY20" fmla="*/ 35769 h 35769"/>
                      <a:gd name="connsiteX21" fmla="*/ 39746 w 42614"/>
                      <a:gd name="connsiteY21" fmla="*/ 35419 h 35769"/>
                      <a:gd name="connsiteX22" fmla="*/ 39078 w 42614"/>
                      <a:gd name="connsiteY22" fmla="*/ 34596 h 35769"/>
                      <a:gd name="connsiteX23" fmla="*/ 38353 w 42614"/>
                      <a:gd name="connsiteY23" fmla="*/ 34213 h 35769"/>
                      <a:gd name="connsiteX24" fmla="*/ 36942 w 42614"/>
                      <a:gd name="connsiteY24" fmla="*/ 34139 h 35769"/>
                      <a:gd name="connsiteX25" fmla="*/ 35907 w 42614"/>
                      <a:gd name="connsiteY25" fmla="*/ 32738 h 35769"/>
                      <a:gd name="connsiteX26" fmla="*/ 33275 w 42614"/>
                      <a:gd name="connsiteY26" fmla="*/ 30830 h 35769"/>
                      <a:gd name="connsiteX27" fmla="*/ 32794 w 42614"/>
                      <a:gd name="connsiteY27" fmla="*/ 29690 h 35769"/>
                      <a:gd name="connsiteX28" fmla="*/ 32713 w 42614"/>
                      <a:gd name="connsiteY28" fmla="*/ 27921 h 35769"/>
                      <a:gd name="connsiteX29" fmla="*/ 31596 w 42614"/>
                      <a:gd name="connsiteY29" fmla="*/ 26617 h 35769"/>
                      <a:gd name="connsiteX30" fmla="*/ 30577 w 42614"/>
                      <a:gd name="connsiteY30" fmla="*/ 24148 h 35769"/>
                      <a:gd name="connsiteX31" fmla="*/ 29599 w 42614"/>
                      <a:gd name="connsiteY31" fmla="*/ 23463 h 35769"/>
                      <a:gd name="connsiteX32" fmla="*/ 29070 w 42614"/>
                      <a:gd name="connsiteY32" fmla="*/ 22224 h 35769"/>
                      <a:gd name="connsiteX33" fmla="*/ 29021 w 42614"/>
                      <a:gd name="connsiteY33" fmla="*/ 21695 h 35769"/>
                      <a:gd name="connsiteX34" fmla="*/ 25199 w 42614"/>
                      <a:gd name="connsiteY34" fmla="*/ 21336 h 35769"/>
                      <a:gd name="connsiteX35" fmla="*/ 22037 w 42614"/>
                      <a:gd name="connsiteY35" fmla="*/ 21312 h 35769"/>
                      <a:gd name="connsiteX36" fmla="*/ 19364 w 42614"/>
                      <a:gd name="connsiteY36" fmla="*/ 19910 h 35769"/>
                      <a:gd name="connsiteX37" fmla="*/ 18540 w 42614"/>
                      <a:gd name="connsiteY37" fmla="*/ 16234 h 35769"/>
                      <a:gd name="connsiteX38" fmla="*/ 16943 w 42614"/>
                      <a:gd name="connsiteY38" fmla="*/ 15240 h 35769"/>
                      <a:gd name="connsiteX39" fmla="*/ 15745 w 42614"/>
                      <a:gd name="connsiteY39" fmla="*/ 14205 h 35769"/>
                      <a:gd name="connsiteX40" fmla="*/ 14759 w 42614"/>
                      <a:gd name="connsiteY40" fmla="*/ 12763 h 35769"/>
                      <a:gd name="connsiteX41" fmla="*/ 12249 w 42614"/>
                      <a:gd name="connsiteY41" fmla="*/ 10098 h 35769"/>
                      <a:gd name="connsiteX42" fmla="*/ 9470 w 42614"/>
                      <a:gd name="connsiteY42" fmla="*/ 7865 h 35769"/>
                      <a:gd name="connsiteX43" fmla="*/ 6788 w 42614"/>
                      <a:gd name="connsiteY43" fmla="*/ 6406 h 35769"/>
                      <a:gd name="connsiteX44" fmla="*/ 3944 w 42614"/>
                      <a:gd name="connsiteY44" fmla="*/ 5436 h 35769"/>
                      <a:gd name="connsiteX45" fmla="*/ 1630 w 42614"/>
                      <a:gd name="connsiteY45" fmla="*/ 6577 h 35769"/>
                      <a:gd name="connsiteX46" fmla="*/ 277 w 42614"/>
                      <a:gd name="connsiteY46" fmla="*/ 6308 h 35769"/>
                      <a:gd name="connsiteX47" fmla="*/ 0 w 42614"/>
                      <a:gd name="connsiteY47" fmla="*/ 5542 h 35769"/>
                      <a:gd name="connsiteX48" fmla="*/ 2885 w 42614"/>
                      <a:gd name="connsiteY48" fmla="*/ 4010 h 35769"/>
                      <a:gd name="connsiteX49" fmla="*/ 6829 w 42614"/>
                      <a:gd name="connsiteY49" fmla="*/ 1084 h 35769"/>
                      <a:gd name="connsiteX50" fmla="*/ 9625 w 42614"/>
                      <a:gd name="connsiteY50" fmla="*/ 122 h 35769"/>
                      <a:gd name="connsiteX51" fmla="*/ 10978 w 42614"/>
                      <a:gd name="connsiteY51" fmla="*/ 0 h 35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2614" h="35769">
                        <a:moveTo>
                          <a:pt x="13520" y="2567"/>
                        </a:moveTo>
                        <a:lnTo>
                          <a:pt x="14922" y="6226"/>
                        </a:lnTo>
                        <a:lnTo>
                          <a:pt x="16234" y="7457"/>
                        </a:lnTo>
                        <a:lnTo>
                          <a:pt x="18997" y="8916"/>
                        </a:lnTo>
                        <a:lnTo>
                          <a:pt x="20301" y="9095"/>
                        </a:lnTo>
                        <a:lnTo>
                          <a:pt x="25003" y="11728"/>
                        </a:lnTo>
                        <a:lnTo>
                          <a:pt x="30480" y="12249"/>
                        </a:lnTo>
                        <a:lnTo>
                          <a:pt x="31181" y="13007"/>
                        </a:lnTo>
                        <a:lnTo>
                          <a:pt x="31857" y="15036"/>
                        </a:lnTo>
                        <a:lnTo>
                          <a:pt x="32966" y="16617"/>
                        </a:lnTo>
                        <a:lnTo>
                          <a:pt x="33259" y="17848"/>
                        </a:lnTo>
                        <a:lnTo>
                          <a:pt x="32672" y="19225"/>
                        </a:lnTo>
                        <a:lnTo>
                          <a:pt x="33487" y="23414"/>
                        </a:lnTo>
                        <a:lnTo>
                          <a:pt x="34864" y="27391"/>
                        </a:lnTo>
                        <a:lnTo>
                          <a:pt x="36942" y="29323"/>
                        </a:lnTo>
                        <a:lnTo>
                          <a:pt x="39526" y="29901"/>
                        </a:lnTo>
                        <a:lnTo>
                          <a:pt x="41995" y="29828"/>
                        </a:lnTo>
                        <a:lnTo>
                          <a:pt x="42614" y="30610"/>
                        </a:lnTo>
                        <a:lnTo>
                          <a:pt x="42370" y="34090"/>
                        </a:lnTo>
                        <a:lnTo>
                          <a:pt x="41335" y="35443"/>
                        </a:lnTo>
                        <a:lnTo>
                          <a:pt x="40480" y="35769"/>
                        </a:lnTo>
                        <a:lnTo>
                          <a:pt x="39746" y="35419"/>
                        </a:lnTo>
                        <a:lnTo>
                          <a:pt x="39078" y="34596"/>
                        </a:lnTo>
                        <a:lnTo>
                          <a:pt x="38353" y="34213"/>
                        </a:lnTo>
                        <a:lnTo>
                          <a:pt x="36942" y="34139"/>
                        </a:lnTo>
                        <a:lnTo>
                          <a:pt x="35907" y="32738"/>
                        </a:lnTo>
                        <a:lnTo>
                          <a:pt x="33275" y="30830"/>
                        </a:lnTo>
                        <a:lnTo>
                          <a:pt x="32794" y="29690"/>
                        </a:lnTo>
                        <a:lnTo>
                          <a:pt x="32713" y="27921"/>
                        </a:lnTo>
                        <a:lnTo>
                          <a:pt x="31596" y="26617"/>
                        </a:lnTo>
                        <a:lnTo>
                          <a:pt x="30577" y="24148"/>
                        </a:lnTo>
                        <a:lnTo>
                          <a:pt x="29599" y="23463"/>
                        </a:lnTo>
                        <a:lnTo>
                          <a:pt x="29070" y="22224"/>
                        </a:lnTo>
                        <a:lnTo>
                          <a:pt x="29021" y="21695"/>
                        </a:lnTo>
                        <a:lnTo>
                          <a:pt x="25199" y="21336"/>
                        </a:lnTo>
                        <a:lnTo>
                          <a:pt x="22037" y="21312"/>
                        </a:lnTo>
                        <a:lnTo>
                          <a:pt x="19364" y="19910"/>
                        </a:lnTo>
                        <a:lnTo>
                          <a:pt x="18540" y="16234"/>
                        </a:lnTo>
                        <a:lnTo>
                          <a:pt x="16943" y="15240"/>
                        </a:lnTo>
                        <a:lnTo>
                          <a:pt x="15745" y="14205"/>
                        </a:lnTo>
                        <a:lnTo>
                          <a:pt x="14759" y="12763"/>
                        </a:lnTo>
                        <a:lnTo>
                          <a:pt x="12249" y="10098"/>
                        </a:lnTo>
                        <a:lnTo>
                          <a:pt x="9470" y="7865"/>
                        </a:lnTo>
                        <a:lnTo>
                          <a:pt x="6788" y="6406"/>
                        </a:lnTo>
                        <a:lnTo>
                          <a:pt x="3944" y="5436"/>
                        </a:lnTo>
                        <a:lnTo>
                          <a:pt x="1630" y="6577"/>
                        </a:lnTo>
                        <a:lnTo>
                          <a:pt x="277" y="6308"/>
                        </a:lnTo>
                        <a:lnTo>
                          <a:pt x="0" y="5542"/>
                        </a:lnTo>
                        <a:lnTo>
                          <a:pt x="2885" y="4010"/>
                        </a:lnTo>
                        <a:lnTo>
                          <a:pt x="6829" y="1084"/>
                        </a:lnTo>
                        <a:lnTo>
                          <a:pt x="9625" y="122"/>
                        </a:lnTo>
                        <a:lnTo>
                          <a:pt x="10978" y="0"/>
                        </a:lnTo>
                        <a:close/>
                      </a:path>
                    </a:pathLst>
                  </a:custGeom>
                  <a:solidFill>
                    <a:srgbClr val="D6D6D2"/>
                  </a:solidFill>
                  <a:ln w="6112" cap="rnd">
                    <a:solidFill>
                      <a:srgbClr val="FFFFFF"/>
                    </a:solidFill>
                    <a:prstDash val="solid"/>
                    <a:round/>
                  </a:ln>
                </p:spPr>
                <p:txBody>
                  <a:bodyPr rtlCol="0" anchor="ctr"/>
                  <a:lstStyle/>
                  <a:p>
                    <a:endParaRPr lang="en-US"/>
                  </a:p>
                </p:txBody>
              </p:sp>
              <p:sp>
                <p:nvSpPr>
                  <p:cNvPr id="793" name="Freeform: Shape 792">
                    <a:extLst>
                      <a:ext uri="{FF2B5EF4-FFF2-40B4-BE49-F238E27FC236}">
                        <a16:creationId xmlns:a16="http://schemas.microsoft.com/office/drawing/2014/main" id="{34842D83-F8A3-493E-B2E7-3C56723DF33E}"/>
                      </a:ext>
                    </a:extLst>
                  </p:cNvPr>
                  <p:cNvSpPr/>
                  <p:nvPr/>
                </p:nvSpPr>
                <p:spPr>
                  <a:xfrm>
                    <a:off x="6584625" y="3296690"/>
                    <a:ext cx="18638" cy="13838"/>
                  </a:xfrm>
                  <a:custGeom>
                    <a:avLst/>
                    <a:gdLst>
                      <a:gd name="connsiteX0" fmla="*/ 14042 w 18638"/>
                      <a:gd name="connsiteY0" fmla="*/ 1809 h 13838"/>
                      <a:gd name="connsiteX1" fmla="*/ 13602 w 18638"/>
                      <a:gd name="connsiteY1" fmla="*/ 3814 h 13838"/>
                      <a:gd name="connsiteX2" fmla="*/ 17041 w 18638"/>
                      <a:gd name="connsiteY2" fmla="*/ 7131 h 13838"/>
                      <a:gd name="connsiteX3" fmla="*/ 18199 w 18638"/>
                      <a:gd name="connsiteY3" fmla="*/ 9226 h 13838"/>
                      <a:gd name="connsiteX4" fmla="*/ 18638 w 18638"/>
                      <a:gd name="connsiteY4" fmla="*/ 11279 h 13838"/>
                      <a:gd name="connsiteX5" fmla="*/ 18345 w 18638"/>
                      <a:gd name="connsiteY5" fmla="*/ 11858 h 13838"/>
                      <a:gd name="connsiteX6" fmla="*/ 17041 w 18638"/>
                      <a:gd name="connsiteY6" fmla="*/ 10749 h 13838"/>
                      <a:gd name="connsiteX7" fmla="*/ 15982 w 18638"/>
                      <a:gd name="connsiteY7" fmla="*/ 10399 h 13838"/>
                      <a:gd name="connsiteX8" fmla="*/ 16348 w 18638"/>
                      <a:gd name="connsiteY8" fmla="*/ 11858 h 13838"/>
                      <a:gd name="connsiteX9" fmla="*/ 17441 w 18638"/>
                      <a:gd name="connsiteY9" fmla="*/ 13113 h 13838"/>
                      <a:gd name="connsiteX10" fmla="*/ 15485 w 18638"/>
                      <a:gd name="connsiteY10" fmla="*/ 13838 h 13838"/>
                      <a:gd name="connsiteX11" fmla="*/ 13537 w 18638"/>
                      <a:gd name="connsiteY11" fmla="*/ 13797 h 13838"/>
                      <a:gd name="connsiteX12" fmla="*/ 7856 w 18638"/>
                      <a:gd name="connsiteY12" fmla="*/ 12045 h 13838"/>
                      <a:gd name="connsiteX13" fmla="*/ 6544 w 18638"/>
                      <a:gd name="connsiteY13" fmla="*/ 10187 h 13838"/>
                      <a:gd name="connsiteX14" fmla="*/ 9943 w 18638"/>
                      <a:gd name="connsiteY14" fmla="*/ 7384 h 13838"/>
                      <a:gd name="connsiteX15" fmla="*/ 10644 w 18638"/>
                      <a:gd name="connsiteY15" fmla="*/ 6259 h 13838"/>
                      <a:gd name="connsiteX16" fmla="*/ 8231 w 18638"/>
                      <a:gd name="connsiteY16" fmla="*/ 6373 h 13838"/>
                      <a:gd name="connsiteX17" fmla="*/ 5648 w 18638"/>
                      <a:gd name="connsiteY17" fmla="*/ 9698 h 13838"/>
                      <a:gd name="connsiteX18" fmla="*/ 1541 w 18638"/>
                      <a:gd name="connsiteY18" fmla="*/ 8239 h 13838"/>
                      <a:gd name="connsiteX19" fmla="*/ 277 w 18638"/>
                      <a:gd name="connsiteY19" fmla="*/ 6895 h 13838"/>
                      <a:gd name="connsiteX20" fmla="*/ 0 w 18638"/>
                      <a:gd name="connsiteY20" fmla="*/ 6177 h 13838"/>
                      <a:gd name="connsiteX21" fmla="*/ 1622 w 18638"/>
                      <a:gd name="connsiteY21" fmla="*/ 3219 h 13838"/>
                      <a:gd name="connsiteX22" fmla="*/ 4515 w 18638"/>
                      <a:gd name="connsiteY22" fmla="*/ 3317 h 13838"/>
                      <a:gd name="connsiteX23" fmla="*/ 6055 w 18638"/>
                      <a:gd name="connsiteY23" fmla="*/ 2657 h 13838"/>
                      <a:gd name="connsiteX24" fmla="*/ 7954 w 18638"/>
                      <a:gd name="connsiteY24" fmla="*/ 1720 h 13838"/>
                      <a:gd name="connsiteX25" fmla="*/ 7962 w 18638"/>
                      <a:gd name="connsiteY25" fmla="*/ 318 h 13838"/>
                      <a:gd name="connsiteX26" fmla="*/ 12485 w 18638"/>
                      <a:gd name="connsiteY26" fmla="*/ 0 h 13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638" h="13838">
                        <a:moveTo>
                          <a:pt x="14042" y="1809"/>
                        </a:moveTo>
                        <a:lnTo>
                          <a:pt x="13602" y="3814"/>
                        </a:lnTo>
                        <a:lnTo>
                          <a:pt x="17041" y="7131"/>
                        </a:lnTo>
                        <a:lnTo>
                          <a:pt x="18199" y="9226"/>
                        </a:lnTo>
                        <a:lnTo>
                          <a:pt x="18638" y="11279"/>
                        </a:lnTo>
                        <a:lnTo>
                          <a:pt x="18345" y="11858"/>
                        </a:lnTo>
                        <a:lnTo>
                          <a:pt x="17041" y="10749"/>
                        </a:lnTo>
                        <a:lnTo>
                          <a:pt x="15982" y="10399"/>
                        </a:lnTo>
                        <a:lnTo>
                          <a:pt x="16348" y="11858"/>
                        </a:lnTo>
                        <a:lnTo>
                          <a:pt x="17441" y="13113"/>
                        </a:lnTo>
                        <a:lnTo>
                          <a:pt x="15485" y="13838"/>
                        </a:lnTo>
                        <a:lnTo>
                          <a:pt x="13537" y="13797"/>
                        </a:lnTo>
                        <a:lnTo>
                          <a:pt x="7856" y="12045"/>
                        </a:lnTo>
                        <a:lnTo>
                          <a:pt x="6544" y="10187"/>
                        </a:lnTo>
                        <a:lnTo>
                          <a:pt x="9943" y="7384"/>
                        </a:lnTo>
                        <a:lnTo>
                          <a:pt x="10644" y="6259"/>
                        </a:lnTo>
                        <a:lnTo>
                          <a:pt x="8231" y="6373"/>
                        </a:lnTo>
                        <a:lnTo>
                          <a:pt x="5648" y="9698"/>
                        </a:lnTo>
                        <a:lnTo>
                          <a:pt x="1541" y="8239"/>
                        </a:lnTo>
                        <a:lnTo>
                          <a:pt x="277" y="6895"/>
                        </a:lnTo>
                        <a:lnTo>
                          <a:pt x="0" y="6177"/>
                        </a:lnTo>
                        <a:lnTo>
                          <a:pt x="1622" y="3219"/>
                        </a:lnTo>
                        <a:lnTo>
                          <a:pt x="4515" y="3317"/>
                        </a:lnTo>
                        <a:lnTo>
                          <a:pt x="6055" y="2657"/>
                        </a:lnTo>
                        <a:lnTo>
                          <a:pt x="7954" y="1720"/>
                        </a:lnTo>
                        <a:lnTo>
                          <a:pt x="7962" y="318"/>
                        </a:lnTo>
                        <a:lnTo>
                          <a:pt x="12485" y="0"/>
                        </a:lnTo>
                        <a:close/>
                      </a:path>
                    </a:pathLst>
                  </a:custGeom>
                  <a:solidFill>
                    <a:srgbClr val="D6D6D2"/>
                  </a:solidFill>
                  <a:ln w="6112" cap="rnd">
                    <a:solidFill>
                      <a:srgbClr val="FFFFFF"/>
                    </a:solidFill>
                    <a:prstDash val="solid"/>
                    <a:round/>
                  </a:ln>
                </p:spPr>
                <p:txBody>
                  <a:bodyPr rtlCol="0" anchor="ctr"/>
                  <a:lstStyle/>
                  <a:p>
                    <a:endParaRPr lang="en-US"/>
                  </a:p>
                </p:txBody>
              </p:sp>
              <p:sp>
                <p:nvSpPr>
                  <p:cNvPr id="794" name="Freeform: Shape 793">
                    <a:extLst>
                      <a:ext uri="{FF2B5EF4-FFF2-40B4-BE49-F238E27FC236}">
                        <a16:creationId xmlns:a16="http://schemas.microsoft.com/office/drawing/2014/main" id="{A96631D9-0963-4EE3-A29D-548FFFBEEEC2}"/>
                      </a:ext>
                    </a:extLst>
                  </p:cNvPr>
                  <p:cNvSpPr/>
                  <p:nvPr/>
                </p:nvSpPr>
                <p:spPr>
                  <a:xfrm>
                    <a:off x="6439714" y="3216359"/>
                    <a:ext cx="164274" cy="178617"/>
                  </a:xfrm>
                  <a:custGeom>
                    <a:avLst/>
                    <a:gdLst>
                      <a:gd name="connsiteX0" fmla="*/ 162074 w 164274"/>
                      <a:gd name="connsiteY0" fmla="*/ 13716 h 178617"/>
                      <a:gd name="connsiteX1" fmla="*/ 156980 w 164274"/>
                      <a:gd name="connsiteY1" fmla="*/ 17286 h 178617"/>
                      <a:gd name="connsiteX2" fmla="*/ 156850 w 164274"/>
                      <a:gd name="connsiteY2" fmla="*/ 20545 h 178617"/>
                      <a:gd name="connsiteX3" fmla="*/ 156923 w 164274"/>
                      <a:gd name="connsiteY3" fmla="*/ 22126 h 178617"/>
                      <a:gd name="connsiteX4" fmla="*/ 157021 w 164274"/>
                      <a:gd name="connsiteY4" fmla="*/ 23243 h 178617"/>
                      <a:gd name="connsiteX5" fmla="*/ 157559 w 164274"/>
                      <a:gd name="connsiteY5" fmla="*/ 24180 h 178617"/>
                      <a:gd name="connsiteX6" fmla="*/ 157559 w 164274"/>
                      <a:gd name="connsiteY6" fmla="*/ 25533 h 178617"/>
                      <a:gd name="connsiteX7" fmla="*/ 156988 w 164274"/>
                      <a:gd name="connsiteY7" fmla="*/ 26992 h 178617"/>
                      <a:gd name="connsiteX8" fmla="*/ 154755 w 164274"/>
                      <a:gd name="connsiteY8" fmla="*/ 29429 h 178617"/>
                      <a:gd name="connsiteX9" fmla="*/ 153215 w 164274"/>
                      <a:gd name="connsiteY9" fmla="*/ 31352 h 178617"/>
                      <a:gd name="connsiteX10" fmla="*/ 151487 w 164274"/>
                      <a:gd name="connsiteY10" fmla="*/ 33968 h 178617"/>
                      <a:gd name="connsiteX11" fmla="*/ 150509 w 164274"/>
                      <a:gd name="connsiteY11" fmla="*/ 34294 h 178617"/>
                      <a:gd name="connsiteX12" fmla="*/ 149735 w 164274"/>
                      <a:gd name="connsiteY12" fmla="*/ 34750 h 178617"/>
                      <a:gd name="connsiteX13" fmla="*/ 149043 w 164274"/>
                      <a:gd name="connsiteY13" fmla="*/ 33308 h 178617"/>
                      <a:gd name="connsiteX14" fmla="*/ 145188 w 164274"/>
                      <a:gd name="connsiteY14" fmla="*/ 30749 h 178617"/>
                      <a:gd name="connsiteX15" fmla="*/ 136288 w 164274"/>
                      <a:gd name="connsiteY15" fmla="*/ 29266 h 178617"/>
                      <a:gd name="connsiteX16" fmla="*/ 132034 w 164274"/>
                      <a:gd name="connsiteY16" fmla="*/ 27375 h 178617"/>
                      <a:gd name="connsiteX17" fmla="*/ 130176 w 164274"/>
                      <a:gd name="connsiteY17" fmla="*/ 27734 h 178617"/>
                      <a:gd name="connsiteX18" fmla="*/ 126566 w 164274"/>
                      <a:gd name="connsiteY18" fmla="*/ 25623 h 178617"/>
                      <a:gd name="connsiteX19" fmla="*/ 124088 w 164274"/>
                      <a:gd name="connsiteY19" fmla="*/ 26544 h 178617"/>
                      <a:gd name="connsiteX20" fmla="*/ 118831 w 164274"/>
                      <a:gd name="connsiteY20" fmla="*/ 30301 h 178617"/>
                      <a:gd name="connsiteX21" fmla="*/ 115995 w 164274"/>
                      <a:gd name="connsiteY21" fmla="*/ 29893 h 178617"/>
                      <a:gd name="connsiteX22" fmla="*/ 112980 w 164274"/>
                      <a:gd name="connsiteY22" fmla="*/ 27636 h 178617"/>
                      <a:gd name="connsiteX23" fmla="*/ 111008 w 164274"/>
                      <a:gd name="connsiteY23" fmla="*/ 27220 h 178617"/>
                      <a:gd name="connsiteX24" fmla="*/ 108693 w 164274"/>
                      <a:gd name="connsiteY24" fmla="*/ 28418 h 178617"/>
                      <a:gd name="connsiteX25" fmla="*/ 104985 w 164274"/>
                      <a:gd name="connsiteY25" fmla="*/ 32729 h 178617"/>
                      <a:gd name="connsiteX26" fmla="*/ 101212 w 164274"/>
                      <a:gd name="connsiteY26" fmla="*/ 34840 h 178617"/>
                      <a:gd name="connsiteX27" fmla="*/ 97838 w 164274"/>
                      <a:gd name="connsiteY27" fmla="*/ 34017 h 178617"/>
                      <a:gd name="connsiteX28" fmla="*/ 93282 w 164274"/>
                      <a:gd name="connsiteY28" fmla="*/ 34033 h 178617"/>
                      <a:gd name="connsiteX29" fmla="*/ 92801 w 164274"/>
                      <a:gd name="connsiteY29" fmla="*/ 36454 h 178617"/>
                      <a:gd name="connsiteX30" fmla="*/ 93673 w 164274"/>
                      <a:gd name="connsiteY30" fmla="*/ 38116 h 178617"/>
                      <a:gd name="connsiteX31" fmla="*/ 96167 w 164274"/>
                      <a:gd name="connsiteY31" fmla="*/ 40961 h 178617"/>
                      <a:gd name="connsiteX32" fmla="*/ 94993 w 164274"/>
                      <a:gd name="connsiteY32" fmla="*/ 43104 h 178617"/>
                      <a:gd name="connsiteX33" fmla="*/ 95865 w 164274"/>
                      <a:gd name="connsiteY33" fmla="*/ 45247 h 178617"/>
                      <a:gd name="connsiteX34" fmla="*/ 97487 w 164274"/>
                      <a:gd name="connsiteY34" fmla="*/ 45679 h 178617"/>
                      <a:gd name="connsiteX35" fmla="*/ 99932 w 164274"/>
                      <a:gd name="connsiteY35" fmla="*/ 45557 h 178617"/>
                      <a:gd name="connsiteX36" fmla="*/ 104447 w 164274"/>
                      <a:gd name="connsiteY36" fmla="*/ 48328 h 178617"/>
                      <a:gd name="connsiteX37" fmla="*/ 106411 w 164274"/>
                      <a:gd name="connsiteY37" fmla="*/ 51245 h 178617"/>
                      <a:gd name="connsiteX38" fmla="*/ 107690 w 164274"/>
                      <a:gd name="connsiteY38" fmla="*/ 54440 h 178617"/>
                      <a:gd name="connsiteX39" fmla="*/ 104928 w 164274"/>
                      <a:gd name="connsiteY39" fmla="*/ 52150 h 178617"/>
                      <a:gd name="connsiteX40" fmla="*/ 103102 w 164274"/>
                      <a:gd name="connsiteY40" fmla="*/ 49950 h 178617"/>
                      <a:gd name="connsiteX41" fmla="*/ 100568 w 164274"/>
                      <a:gd name="connsiteY41" fmla="*/ 49151 h 178617"/>
                      <a:gd name="connsiteX42" fmla="*/ 97014 w 164274"/>
                      <a:gd name="connsiteY42" fmla="*/ 47268 h 178617"/>
                      <a:gd name="connsiteX43" fmla="*/ 94798 w 164274"/>
                      <a:gd name="connsiteY43" fmla="*/ 46959 h 178617"/>
                      <a:gd name="connsiteX44" fmla="*/ 92418 w 164274"/>
                      <a:gd name="connsiteY44" fmla="*/ 48254 h 178617"/>
                      <a:gd name="connsiteX45" fmla="*/ 92231 w 164274"/>
                      <a:gd name="connsiteY45" fmla="*/ 49738 h 178617"/>
                      <a:gd name="connsiteX46" fmla="*/ 94798 w 164274"/>
                      <a:gd name="connsiteY46" fmla="*/ 52492 h 178617"/>
                      <a:gd name="connsiteX47" fmla="*/ 97120 w 164274"/>
                      <a:gd name="connsiteY47" fmla="*/ 54188 h 178617"/>
                      <a:gd name="connsiteX48" fmla="*/ 98359 w 164274"/>
                      <a:gd name="connsiteY48" fmla="*/ 55565 h 178617"/>
                      <a:gd name="connsiteX49" fmla="*/ 99191 w 164274"/>
                      <a:gd name="connsiteY49" fmla="*/ 58621 h 178617"/>
                      <a:gd name="connsiteX50" fmla="*/ 98718 w 164274"/>
                      <a:gd name="connsiteY50" fmla="*/ 59656 h 178617"/>
                      <a:gd name="connsiteX51" fmla="*/ 97862 w 164274"/>
                      <a:gd name="connsiteY51" fmla="*/ 60618 h 178617"/>
                      <a:gd name="connsiteX52" fmla="*/ 95091 w 164274"/>
                      <a:gd name="connsiteY52" fmla="*/ 58703 h 178617"/>
                      <a:gd name="connsiteX53" fmla="*/ 90845 w 164274"/>
                      <a:gd name="connsiteY53" fmla="*/ 51857 h 178617"/>
                      <a:gd name="connsiteX54" fmla="*/ 84936 w 164274"/>
                      <a:gd name="connsiteY54" fmla="*/ 50496 h 178617"/>
                      <a:gd name="connsiteX55" fmla="*/ 83951 w 164274"/>
                      <a:gd name="connsiteY55" fmla="*/ 51922 h 178617"/>
                      <a:gd name="connsiteX56" fmla="*/ 85116 w 164274"/>
                      <a:gd name="connsiteY56" fmla="*/ 55532 h 178617"/>
                      <a:gd name="connsiteX57" fmla="*/ 85955 w 164274"/>
                      <a:gd name="connsiteY57" fmla="*/ 56950 h 178617"/>
                      <a:gd name="connsiteX58" fmla="*/ 91090 w 164274"/>
                      <a:gd name="connsiteY58" fmla="*/ 60846 h 178617"/>
                      <a:gd name="connsiteX59" fmla="*/ 90674 w 164274"/>
                      <a:gd name="connsiteY59" fmla="*/ 61669 h 178617"/>
                      <a:gd name="connsiteX60" fmla="*/ 89924 w 164274"/>
                      <a:gd name="connsiteY60" fmla="*/ 62028 h 178617"/>
                      <a:gd name="connsiteX61" fmla="*/ 84179 w 164274"/>
                      <a:gd name="connsiteY61" fmla="*/ 59795 h 178617"/>
                      <a:gd name="connsiteX62" fmla="*/ 82508 w 164274"/>
                      <a:gd name="connsiteY62" fmla="*/ 56396 h 178617"/>
                      <a:gd name="connsiteX63" fmla="*/ 82109 w 164274"/>
                      <a:gd name="connsiteY63" fmla="*/ 52109 h 178617"/>
                      <a:gd name="connsiteX64" fmla="*/ 76803 w 164274"/>
                      <a:gd name="connsiteY64" fmla="*/ 49127 h 178617"/>
                      <a:gd name="connsiteX65" fmla="*/ 71799 w 164274"/>
                      <a:gd name="connsiteY65" fmla="*/ 45875 h 178617"/>
                      <a:gd name="connsiteX66" fmla="*/ 70674 w 164274"/>
                      <a:gd name="connsiteY66" fmla="*/ 42794 h 178617"/>
                      <a:gd name="connsiteX67" fmla="*/ 71718 w 164274"/>
                      <a:gd name="connsiteY67" fmla="*/ 41645 h 178617"/>
                      <a:gd name="connsiteX68" fmla="*/ 72435 w 164274"/>
                      <a:gd name="connsiteY68" fmla="*/ 39380 h 178617"/>
                      <a:gd name="connsiteX69" fmla="*/ 69689 w 164274"/>
                      <a:gd name="connsiteY69" fmla="*/ 39795 h 178617"/>
                      <a:gd name="connsiteX70" fmla="*/ 67969 w 164274"/>
                      <a:gd name="connsiteY70" fmla="*/ 41229 h 178617"/>
                      <a:gd name="connsiteX71" fmla="*/ 65181 w 164274"/>
                      <a:gd name="connsiteY71" fmla="*/ 42623 h 178617"/>
                      <a:gd name="connsiteX72" fmla="*/ 65060 w 164274"/>
                      <a:gd name="connsiteY72" fmla="*/ 44905 h 178617"/>
                      <a:gd name="connsiteX73" fmla="*/ 65508 w 164274"/>
                      <a:gd name="connsiteY73" fmla="*/ 47008 h 178617"/>
                      <a:gd name="connsiteX74" fmla="*/ 64579 w 164274"/>
                      <a:gd name="connsiteY74" fmla="*/ 50072 h 178617"/>
                      <a:gd name="connsiteX75" fmla="*/ 63682 w 164274"/>
                      <a:gd name="connsiteY75" fmla="*/ 55402 h 178617"/>
                      <a:gd name="connsiteX76" fmla="*/ 64253 w 164274"/>
                      <a:gd name="connsiteY76" fmla="*/ 58205 h 178617"/>
                      <a:gd name="connsiteX77" fmla="*/ 70291 w 164274"/>
                      <a:gd name="connsiteY77" fmla="*/ 66208 h 178617"/>
                      <a:gd name="connsiteX78" fmla="*/ 72362 w 164274"/>
                      <a:gd name="connsiteY78" fmla="*/ 72019 h 178617"/>
                      <a:gd name="connsiteX79" fmla="*/ 73837 w 164274"/>
                      <a:gd name="connsiteY79" fmla="*/ 74211 h 178617"/>
                      <a:gd name="connsiteX80" fmla="*/ 76933 w 164274"/>
                      <a:gd name="connsiteY80" fmla="*/ 76648 h 178617"/>
                      <a:gd name="connsiteX81" fmla="*/ 80161 w 164274"/>
                      <a:gd name="connsiteY81" fmla="*/ 81163 h 178617"/>
                      <a:gd name="connsiteX82" fmla="*/ 81530 w 164274"/>
                      <a:gd name="connsiteY82" fmla="*/ 83510 h 178617"/>
                      <a:gd name="connsiteX83" fmla="*/ 82500 w 164274"/>
                      <a:gd name="connsiteY83" fmla="*/ 87357 h 178617"/>
                      <a:gd name="connsiteX84" fmla="*/ 79786 w 164274"/>
                      <a:gd name="connsiteY84" fmla="*/ 89737 h 178617"/>
                      <a:gd name="connsiteX85" fmla="*/ 78205 w 164274"/>
                      <a:gd name="connsiteY85" fmla="*/ 89826 h 178617"/>
                      <a:gd name="connsiteX86" fmla="*/ 77325 w 164274"/>
                      <a:gd name="connsiteY86" fmla="*/ 88775 h 178617"/>
                      <a:gd name="connsiteX87" fmla="*/ 78547 w 164274"/>
                      <a:gd name="connsiteY87" fmla="*/ 86151 h 178617"/>
                      <a:gd name="connsiteX88" fmla="*/ 78376 w 164274"/>
                      <a:gd name="connsiteY88" fmla="*/ 84562 h 178617"/>
                      <a:gd name="connsiteX89" fmla="*/ 74187 w 164274"/>
                      <a:gd name="connsiteY89" fmla="*/ 82084 h 178617"/>
                      <a:gd name="connsiteX90" fmla="*/ 72418 w 164274"/>
                      <a:gd name="connsiteY90" fmla="*/ 82915 h 178617"/>
                      <a:gd name="connsiteX91" fmla="*/ 70373 w 164274"/>
                      <a:gd name="connsiteY91" fmla="*/ 84537 h 178617"/>
                      <a:gd name="connsiteX92" fmla="*/ 71531 w 164274"/>
                      <a:gd name="connsiteY92" fmla="*/ 87520 h 178617"/>
                      <a:gd name="connsiteX93" fmla="*/ 72851 w 164274"/>
                      <a:gd name="connsiteY93" fmla="*/ 89492 h 178617"/>
                      <a:gd name="connsiteX94" fmla="*/ 73502 w 164274"/>
                      <a:gd name="connsiteY94" fmla="*/ 92206 h 178617"/>
                      <a:gd name="connsiteX95" fmla="*/ 76021 w 164274"/>
                      <a:gd name="connsiteY95" fmla="*/ 91970 h 178617"/>
                      <a:gd name="connsiteX96" fmla="*/ 72647 w 164274"/>
                      <a:gd name="connsiteY96" fmla="*/ 95018 h 178617"/>
                      <a:gd name="connsiteX97" fmla="*/ 69468 w 164274"/>
                      <a:gd name="connsiteY97" fmla="*/ 96566 h 178617"/>
                      <a:gd name="connsiteX98" fmla="*/ 66355 w 164274"/>
                      <a:gd name="connsiteY98" fmla="*/ 96656 h 178617"/>
                      <a:gd name="connsiteX99" fmla="*/ 64367 w 164274"/>
                      <a:gd name="connsiteY99" fmla="*/ 96933 h 178617"/>
                      <a:gd name="connsiteX100" fmla="*/ 63674 w 164274"/>
                      <a:gd name="connsiteY100" fmla="*/ 97715 h 178617"/>
                      <a:gd name="connsiteX101" fmla="*/ 65304 w 164274"/>
                      <a:gd name="connsiteY101" fmla="*/ 98278 h 178617"/>
                      <a:gd name="connsiteX102" fmla="*/ 66624 w 164274"/>
                      <a:gd name="connsiteY102" fmla="*/ 98335 h 178617"/>
                      <a:gd name="connsiteX103" fmla="*/ 68759 w 164274"/>
                      <a:gd name="connsiteY103" fmla="*/ 99973 h 178617"/>
                      <a:gd name="connsiteX104" fmla="*/ 74872 w 164274"/>
                      <a:gd name="connsiteY104" fmla="*/ 101937 h 178617"/>
                      <a:gd name="connsiteX105" fmla="*/ 77781 w 164274"/>
                      <a:gd name="connsiteY105" fmla="*/ 104431 h 178617"/>
                      <a:gd name="connsiteX106" fmla="*/ 80642 w 164274"/>
                      <a:gd name="connsiteY106" fmla="*/ 104651 h 178617"/>
                      <a:gd name="connsiteX107" fmla="*/ 83518 w 164274"/>
                      <a:gd name="connsiteY107" fmla="*/ 109215 h 178617"/>
                      <a:gd name="connsiteX108" fmla="*/ 88498 w 164274"/>
                      <a:gd name="connsiteY108" fmla="*/ 110429 h 178617"/>
                      <a:gd name="connsiteX109" fmla="*/ 91334 w 164274"/>
                      <a:gd name="connsiteY109" fmla="*/ 115025 h 178617"/>
                      <a:gd name="connsiteX110" fmla="*/ 95107 w 164274"/>
                      <a:gd name="connsiteY110" fmla="*/ 115938 h 178617"/>
                      <a:gd name="connsiteX111" fmla="*/ 98343 w 164274"/>
                      <a:gd name="connsiteY111" fmla="*/ 117625 h 178617"/>
                      <a:gd name="connsiteX112" fmla="*/ 99297 w 164274"/>
                      <a:gd name="connsiteY112" fmla="*/ 119239 h 178617"/>
                      <a:gd name="connsiteX113" fmla="*/ 99778 w 164274"/>
                      <a:gd name="connsiteY113" fmla="*/ 122156 h 178617"/>
                      <a:gd name="connsiteX114" fmla="*/ 99989 w 164274"/>
                      <a:gd name="connsiteY114" fmla="*/ 128342 h 178617"/>
                      <a:gd name="connsiteX115" fmla="*/ 100682 w 164274"/>
                      <a:gd name="connsiteY115" fmla="*/ 132938 h 178617"/>
                      <a:gd name="connsiteX116" fmla="*/ 100715 w 164274"/>
                      <a:gd name="connsiteY116" fmla="*/ 134381 h 178617"/>
                      <a:gd name="connsiteX117" fmla="*/ 100544 w 164274"/>
                      <a:gd name="connsiteY117" fmla="*/ 136557 h 178617"/>
                      <a:gd name="connsiteX118" fmla="*/ 99655 w 164274"/>
                      <a:gd name="connsiteY118" fmla="*/ 137624 h 178617"/>
                      <a:gd name="connsiteX119" fmla="*/ 98465 w 164274"/>
                      <a:gd name="connsiteY119" fmla="*/ 137657 h 178617"/>
                      <a:gd name="connsiteX120" fmla="*/ 96134 w 164274"/>
                      <a:gd name="connsiteY120" fmla="*/ 134275 h 178617"/>
                      <a:gd name="connsiteX121" fmla="*/ 92541 w 164274"/>
                      <a:gd name="connsiteY121" fmla="*/ 130722 h 178617"/>
                      <a:gd name="connsiteX122" fmla="*/ 88759 w 164274"/>
                      <a:gd name="connsiteY122" fmla="*/ 126492 h 178617"/>
                      <a:gd name="connsiteX123" fmla="*/ 87699 w 164274"/>
                      <a:gd name="connsiteY123" fmla="*/ 125742 h 178617"/>
                      <a:gd name="connsiteX124" fmla="*/ 86811 w 164274"/>
                      <a:gd name="connsiteY124" fmla="*/ 125677 h 178617"/>
                      <a:gd name="connsiteX125" fmla="*/ 84790 w 164274"/>
                      <a:gd name="connsiteY125" fmla="*/ 127103 h 178617"/>
                      <a:gd name="connsiteX126" fmla="*/ 79175 w 164274"/>
                      <a:gd name="connsiteY126" fmla="*/ 128212 h 178617"/>
                      <a:gd name="connsiteX127" fmla="*/ 76534 w 164274"/>
                      <a:gd name="connsiteY127" fmla="*/ 129752 h 178617"/>
                      <a:gd name="connsiteX128" fmla="*/ 75548 w 164274"/>
                      <a:gd name="connsiteY128" fmla="*/ 130102 h 178617"/>
                      <a:gd name="connsiteX129" fmla="*/ 75271 w 164274"/>
                      <a:gd name="connsiteY129" fmla="*/ 130917 h 178617"/>
                      <a:gd name="connsiteX130" fmla="*/ 76502 w 164274"/>
                      <a:gd name="connsiteY130" fmla="*/ 131765 h 178617"/>
                      <a:gd name="connsiteX131" fmla="*/ 78017 w 164274"/>
                      <a:gd name="connsiteY131" fmla="*/ 133696 h 178617"/>
                      <a:gd name="connsiteX132" fmla="*/ 78017 w 164274"/>
                      <a:gd name="connsiteY132" fmla="*/ 136337 h 178617"/>
                      <a:gd name="connsiteX133" fmla="*/ 79256 w 164274"/>
                      <a:gd name="connsiteY133" fmla="*/ 139540 h 178617"/>
                      <a:gd name="connsiteX134" fmla="*/ 80894 w 164274"/>
                      <a:gd name="connsiteY134" fmla="*/ 140371 h 178617"/>
                      <a:gd name="connsiteX135" fmla="*/ 82989 w 164274"/>
                      <a:gd name="connsiteY135" fmla="*/ 140306 h 178617"/>
                      <a:gd name="connsiteX136" fmla="*/ 84195 w 164274"/>
                      <a:gd name="connsiteY136" fmla="*/ 140901 h 178617"/>
                      <a:gd name="connsiteX137" fmla="*/ 84505 w 164274"/>
                      <a:gd name="connsiteY137" fmla="*/ 142172 h 178617"/>
                      <a:gd name="connsiteX138" fmla="*/ 85727 w 164274"/>
                      <a:gd name="connsiteY138" fmla="*/ 143663 h 178617"/>
                      <a:gd name="connsiteX139" fmla="*/ 86534 w 164274"/>
                      <a:gd name="connsiteY139" fmla="*/ 144764 h 178617"/>
                      <a:gd name="connsiteX140" fmla="*/ 86501 w 164274"/>
                      <a:gd name="connsiteY140" fmla="*/ 145554 h 178617"/>
                      <a:gd name="connsiteX141" fmla="*/ 80625 w 164274"/>
                      <a:gd name="connsiteY141" fmla="*/ 147657 h 178617"/>
                      <a:gd name="connsiteX142" fmla="*/ 79403 w 164274"/>
                      <a:gd name="connsiteY142" fmla="*/ 148610 h 178617"/>
                      <a:gd name="connsiteX143" fmla="*/ 78368 w 164274"/>
                      <a:gd name="connsiteY143" fmla="*/ 149107 h 178617"/>
                      <a:gd name="connsiteX144" fmla="*/ 76844 w 164274"/>
                      <a:gd name="connsiteY144" fmla="*/ 148105 h 178617"/>
                      <a:gd name="connsiteX145" fmla="*/ 76762 w 164274"/>
                      <a:gd name="connsiteY145" fmla="*/ 145546 h 178617"/>
                      <a:gd name="connsiteX146" fmla="*/ 74741 w 164274"/>
                      <a:gd name="connsiteY146" fmla="*/ 144169 h 178617"/>
                      <a:gd name="connsiteX147" fmla="*/ 72891 w 164274"/>
                      <a:gd name="connsiteY147" fmla="*/ 142987 h 178617"/>
                      <a:gd name="connsiteX148" fmla="*/ 70667 w 164274"/>
                      <a:gd name="connsiteY148" fmla="*/ 142482 h 178617"/>
                      <a:gd name="connsiteX149" fmla="*/ 68784 w 164274"/>
                      <a:gd name="connsiteY149" fmla="*/ 140721 h 178617"/>
                      <a:gd name="connsiteX150" fmla="*/ 67553 w 164274"/>
                      <a:gd name="connsiteY150" fmla="*/ 142156 h 178617"/>
                      <a:gd name="connsiteX151" fmla="*/ 68540 w 164274"/>
                      <a:gd name="connsiteY151" fmla="*/ 147127 h 178617"/>
                      <a:gd name="connsiteX152" fmla="*/ 70667 w 164274"/>
                      <a:gd name="connsiteY152" fmla="*/ 150542 h 178617"/>
                      <a:gd name="connsiteX153" fmla="*/ 74244 w 164274"/>
                      <a:gd name="connsiteY153" fmla="*/ 159702 h 178617"/>
                      <a:gd name="connsiteX154" fmla="*/ 75858 w 164274"/>
                      <a:gd name="connsiteY154" fmla="*/ 165105 h 178617"/>
                      <a:gd name="connsiteX155" fmla="*/ 76192 w 164274"/>
                      <a:gd name="connsiteY155" fmla="*/ 167713 h 178617"/>
                      <a:gd name="connsiteX156" fmla="*/ 75385 w 164274"/>
                      <a:gd name="connsiteY156" fmla="*/ 172057 h 178617"/>
                      <a:gd name="connsiteX157" fmla="*/ 77137 w 164274"/>
                      <a:gd name="connsiteY157" fmla="*/ 175268 h 178617"/>
                      <a:gd name="connsiteX158" fmla="*/ 78335 w 164274"/>
                      <a:gd name="connsiteY158" fmla="*/ 178577 h 178617"/>
                      <a:gd name="connsiteX159" fmla="*/ 77015 w 164274"/>
                      <a:gd name="connsiteY159" fmla="*/ 178447 h 178617"/>
                      <a:gd name="connsiteX160" fmla="*/ 75866 w 164274"/>
                      <a:gd name="connsiteY160" fmla="*/ 177281 h 178617"/>
                      <a:gd name="connsiteX161" fmla="*/ 73943 w 164274"/>
                      <a:gd name="connsiteY161" fmla="*/ 175912 h 178617"/>
                      <a:gd name="connsiteX162" fmla="*/ 70210 w 164274"/>
                      <a:gd name="connsiteY162" fmla="*/ 170639 h 178617"/>
                      <a:gd name="connsiteX163" fmla="*/ 68906 w 164274"/>
                      <a:gd name="connsiteY163" fmla="*/ 167347 h 178617"/>
                      <a:gd name="connsiteX164" fmla="*/ 67350 w 164274"/>
                      <a:gd name="connsiteY164" fmla="*/ 167086 h 178617"/>
                      <a:gd name="connsiteX165" fmla="*/ 64652 w 164274"/>
                      <a:gd name="connsiteY165" fmla="*/ 167558 h 178617"/>
                      <a:gd name="connsiteX166" fmla="*/ 61701 w 164274"/>
                      <a:gd name="connsiteY166" fmla="*/ 174584 h 178617"/>
                      <a:gd name="connsiteX167" fmla="*/ 61710 w 164274"/>
                      <a:gd name="connsiteY167" fmla="*/ 178618 h 178617"/>
                      <a:gd name="connsiteX168" fmla="*/ 60178 w 164274"/>
                      <a:gd name="connsiteY168" fmla="*/ 177656 h 178617"/>
                      <a:gd name="connsiteX169" fmla="*/ 58857 w 164274"/>
                      <a:gd name="connsiteY169" fmla="*/ 176401 h 178617"/>
                      <a:gd name="connsiteX170" fmla="*/ 59020 w 164274"/>
                      <a:gd name="connsiteY170" fmla="*/ 171992 h 178617"/>
                      <a:gd name="connsiteX171" fmla="*/ 58890 w 164274"/>
                      <a:gd name="connsiteY171" fmla="*/ 170150 h 178617"/>
                      <a:gd name="connsiteX172" fmla="*/ 55296 w 164274"/>
                      <a:gd name="connsiteY172" fmla="*/ 164136 h 178617"/>
                      <a:gd name="connsiteX173" fmla="*/ 53642 w 164274"/>
                      <a:gd name="connsiteY173" fmla="*/ 163467 h 178617"/>
                      <a:gd name="connsiteX174" fmla="*/ 52884 w 164274"/>
                      <a:gd name="connsiteY174" fmla="*/ 161438 h 178617"/>
                      <a:gd name="connsiteX175" fmla="*/ 51555 w 164274"/>
                      <a:gd name="connsiteY175" fmla="*/ 159270 h 178617"/>
                      <a:gd name="connsiteX176" fmla="*/ 49852 w 164274"/>
                      <a:gd name="connsiteY176" fmla="*/ 159678 h 178617"/>
                      <a:gd name="connsiteX177" fmla="*/ 48467 w 164274"/>
                      <a:gd name="connsiteY177" fmla="*/ 160566 h 178617"/>
                      <a:gd name="connsiteX178" fmla="*/ 48075 w 164274"/>
                      <a:gd name="connsiteY178" fmla="*/ 163834 h 178617"/>
                      <a:gd name="connsiteX179" fmla="*/ 47937 w 164274"/>
                      <a:gd name="connsiteY179" fmla="*/ 166760 h 178617"/>
                      <a:gd name="connsiteX180" fmla="*/ 46894 w 164274"/>
                      <a:gd name="connsiteY180" fmla="*/ 168968 h 178617"/>
                      <a:gd name="connsiteX181" fmla="*/ 43063 w 164274"/>
                      <a:gd name="connsiteY181" fmla="*/ 164779 h 178617"/>
                      <a:gd name="connsiteX182" fmla="*/ 39217 w 164274"/>
                      <a:gd name="connsiteY182" fmla="*/ 157534 h 178617"/>
                      <a:gd name="connsiteX183" fmla="*/ 39119 w 164274"/>
                      <a:gd name="connsiteY183" fmla="*/ 153557 h 178617"/>
                      <a:gd name="connsiteX184" fmla="*/ 41931 w 164274"/>
                      <a:gd name="connsiteY184" fmla="*/ 149931 h 178617"/>
                      <a:gd name="connsiteX185" fmla="*/ 41596 w 164274"/>
                      <a:gd name="connsiteY185" fmla="*/ 147331 h 178617"/>
                      <a:gd name="connsiteX186" fmla="*/ 38932 w 164274"/>
                      <a:gd name="connsiteY186" fmla="*/ 142188 h 178617"/>
                      <a:gd name="connsiteX187" fmla="*/ 35085 w 164274"/>
                      <a:gd name="connsiteY187" fmla="*/ 138888 h 178617"/>
                      <a:gd name="connsiteX188" fmla="*/ 32933 w 164274"/>
                      <a:gd name="connsiteY188" fmla="*/ 137902 h 178617"/>
                      <a:gd name="connsiteX189" fmla="*/ 31922 w 164274"/>
                      <a:gd name="connsiteY189" fmla="*/ 134381 h 178617"/>
                      <a:gd name="connsiteX190" fmla="*/ 29853 w 164274"/>
                      <a:gd name="connsiteY190" fmla="*/ 132572 h 178617"/>
                      <a:gd name="connsiteX191" fmla="*/ 28182 w 164274"/>
                      <a:gd name="connsiteY191" fmla="*/ 131724 h 178617"/>
                      <a:gd name="connsiteX192" fmla="*/ 27856 w 164274"/>
                      <a:gd name="connsiteY192" fmla="*/ 130469 h 178617"/>
                      <a:gd name="connsiteX193" fmla="*/ 28353 w 164274"/>
                      <a:gd name="connsiteY193" fmla="*/ 129548 h 178617"/>
                      <a:gd name="connsiteX194" fmla="*/ 32403 w 164274"/>
                      <a:gd name="connsiteY194" fmla="*/ 125921 h 178617"/>
                      <a:gd name="connsiteX195" fmla="*/ 34767 w 164274"/>
                      <a:gd name="connsiteY195" fmla="*/ 120249 h 178617"/>
                      <a:gd name="connsiteX196" fmla="*/ 35949 w 164274"/>
                      <a:gd name="connsiteY196" fmla="*/ 119980 h 178617"/>
                      <a:gd name="connsiteX197" fmla="*/ 38377 w 164274"/>
                      <a:gd name="connsiteY197" fmla="*/ 121325 h 178617"/>
                      <a:gd name="connsiteX198" fmla="*/ 41099 w 164274"/>
                      <a:gd name="connsiteY198" fmla="*/ 120975 h 178617"/>
                      <a:gd name="connsiteX199" fmla="*/ 43324 w 164274"/>
                      <a:gd name="connsiteY199" fmla="*/ 117658 h 178617"/>
                      <a:gd name="connsiteX200" fmla="*/ 45215 w 164274"/>
                      <a:gd name="connsiteY200" fmla="*/ 115840 h 178617"/>
                      <a:gd name="connsiteX201" fmla="*/ 48401 w 164274"/>
                      <a:gd name="connsiteY201" fmla="*/ 116077 h 178617"/>
                      <a:gd name="connsiteX202" fmla="*/ 55606 w 164274"/>
                      <a:gd name="connsiteY202" fmla="*/ 120518 h 178617"/>
                      <a:gd name="connsiteX203" fmla="*/ 63356 w 164274"/>
                      <a:gd name="connsiteY203" fmla="*/ 123053 h 178617"/>
                      <a:gd name="connsiteX204" fmla="*/ 67211 w 164274"/>
                      <a:gd name="connsiteY204" fmla="*/ 125270 h 178617"/>
                      <a:gd name="connsiteX205" fmla="*/ 69387 w 164274"/>
                      <a:gd name="connsiteY205" fmla="*/ 127470 h 178617"/>
                      <a:gd name="connsiteX206" fmla="*/ 70552 w 164274"/>
                      <a:gd name="connsiteY206" fmla="*/ 127926 h 178617"/>
                      <a:gd name="connsiteX207" fmla="*/ 72386 w 164274"/>
                      <a:gd name="connsiteY207" fmla="*/ 128236 h 178617"/>
                      <a:gd name="connsiteX208" fmla="*/ 72312 w 164274"/>
                      <a:gd name="connsiteY208" fmla="*/ 126590 h 178617"/>
                      <a:gd name="connsiteX209" fmla="*/ 71726 w 164274"/>
                      <a:gd name="connsiteY209" fmla="*/ 125139 h 178617"/>
                      <a:gd name="connsiteX210" fmla="*/ 73242 w 164274"/>
                      <a:gd name="connsiteY210" fmla="*/ 124340 h 178617"/>
                      <a:gd name="connsiteX211" fmla="*/ 77398 w 164274"/>
                      <a:gd name="connsiteY211" fmla="*/ 124389 h 178617"/>
                      <a:gd name="connsiteX212" fmla="*/ 78148 w 164274"/>
                      <a:gd name="connsiteY212" fmla="*/ 123615 h 178617"/>
                      <a:gd name="connsiteX213" fmla="*/ 78922 w 164274"/>
                      <a:gd name="connsiteY213" fmla="*/ 122360 h 178617"/>
                      <a:gd name="connsiteX214" fmla="*/ 78067 w 164274"/>
                      <a:gd name="connsiteY214" fmla="*/ 120942 h 178617"/>
                      <a:gd name="connsiteX215" fmla="*/ 76681 w 164274"/>
                      <a:gd name="connsiteY215" fmla="*/ 120257 h 178617"/>
                      <a:gd name="connsiteX216" fmla="*/ 75214 w 164274"/>
                      <a:gd name="connsiteY216" fmla="*/ 120070 h 178617"/>
                      <a:gd name="connsiteX217" fmla="*/ 74252 w 164274"/>
                      <a:gd name="connsiteY217" fmla="*/ 119622 h 178617"/>
                      <a:gd name="connsiteX218" fmla="*/ 72695 w 164274"/>
                      <a:gd name="connsiteY218" fmla="*/ 120070 h 178617"/>
                      <a:gd name="connsiteX219" fmla="*/ 70259 w 164274"/>
                      <a:gd name="connsiteY219" fmla="*/ 118978 h 178617"/>
                      <a:gd name="connsiteX220" fmla="*/ 69004 w 164274"/>
                      <a:gd name="connsiteY220" fmla="*/ 118065 h 178617"/>
                      <a:gd name="connsiteX221" fmla="*/ 68270 w 164274"/>
                      <a:gd name="connsiteY221" fmla="*/ 117136 h 178617"/>
                      <a:gd name="connsiteX222" fmla="*/ 64041 w 164274"/>
                      <a:gd name="connsiteY222" fmla="*/ 115278 h 178617"/>
                      <a:gd name="connsiteX223" fmla="*/ 60023 w 164274"/>
                      <a:gd name="connsiteY223" fmla="*/ 112140 h 178617"/>
                      <a:gd name="connsiteX224" fmla="*/ 59118 w 164274"/>
                      <a:gd name="connsiteY224" fmla="*/ 113917 h 178617"/>
                      <a:gd name="connsiteX225" fmla="*/ 57488 w 164274"/>
                      <a:gd name="connsiteY225" fmla="*/ 114879 h 178617"/>
                      <a:gd name="connsiteX226" fmla="*/ 55190 w 164274"/>
                      <a:gd name="connsiteY226" fmla="*/ 115017 h 178617"/>
                      <a:gd name="connsiteX227" fmla="*/ 48703 w 164274"/>
                      <a:gd name="connsiteY227" fmla="*/ 113012 h 178617"/>
                      <a:gd name="connsiteX228" fmla="*/ 44710 w 164274"/>
                      <a:gd name="connsiteY228" fmla="*/ 114536 h 178617"/>
                      <a:gd name="connsiteX229" fmla="*/ 42550 w 164274"/>
                      <a:gd name="connsiteY229" fmla="*/ 114944 h 178617"/>
                      <a:gd name="connsiteX230" fmla="*/ 40887 w 164274"/>
                      <a:gd name="connsiteY230" fmla="*/ 114976 h 178617"/>
                      <a:gd name="connsiteX231" fmla="*/ 38842 w 164274"/>
                      <a:gd name="connsiteY231" fmla="*/ 115661 h 178617"/>
                      <a:gd name="connsiteX232" fmla="*/ 36478 w 164274"/>
                      <a:gd name="connsiteY232" fmla="*/ 116068 h 178617"/>
                      <a:gd name="connsiteX233" fmla="*/ 34433 w 164274"/>
                      <a:gd name="connsiteY233" fmla="*/ 113167 h 178617"/>
                      <a:gd name="connsiteX234" fmla="*/ 33585 w 164274"/>
                      <a:gd name="connsiteY234" fmla="*/ 110918 h 178617"/>
                      <a:gd name="connsiteX235" fmla="*/ 32974 w 164274"/>
                      <a:gd name="connsiteY235" fmla="*/ 110502 h 178617"/>
                      <a:gd name="connsiteX236" fmla="*/ 32950 w 164274"/>
                      <a:gd name="connsiteY236" fmla="*/ 112613 h 178617"/>
                      <a:gd name="connsiteX237" fmla="*/ 32290 w 164274"/>
                      <a:gd name="connsiteY237" fmla="*/ 114300 h 178617"/>
                      <a:gd name="connsiteX238" fmla="*/ 29299 w 164274"/>
                      <a:gd name="connsiteY238" fmla="*/ 115262 h 178617"/>
                      <a:gd name="connsiteX239" fmla="*/ 27571 w 164274"/>
                      <a:gd name="connsiteY239" fmla="*/ 113941 h 178617"/>
                      <a:gd name="connsiteX240" fmla="*/ 26242 w 164274"/>
                      <a:gd name="connsiteY240" fmla="*/ 109964 h 178617"/>
                      <a:gd name="connsiteX241" fmla="*/ 24564 w 164274"/>
                      <a:gd name="connsiteY241" fmla="*/ 104895 h 178617"/>
                      <a:gd name="connsiteX242" fmla="*/ 21613 w 164274"/>
                      <a:gd name="connsiteY242" fmla="*/ 100804 h 178617"/>
                      <a:gd name="connsiteX243" fmla="*/ 19225 w 164274"/>
                      <a:gd name="connsiteY243" fmla="*/ 99728 h 178617"/>
                      <a:gd name="connsiteX244" fmla="*/ 19021 w 164274"/>
                      <a:gd name="connsiteY244" fmla="*/ 97479 h 178617"/>
                      <a:gd name="connsiteX245" fmla="*/ 19233 w 164274"/>
                      <a:gd name="connsiteY245" fmla="*/ 95678 h 178617"/>
                      <a:gd name="connsiteX246" fmla="*/ 22118 w 164274"/>
                      <a:gd name="connsiteY246" fmla="*/ 95238 h 178617"/>
                      <a:gd name="connsiteX247" fmla="*/ 26601 w 164274"/>
                      <a:gd name="connsiteY247" fmla="*/ 97120 h 178617"/>
                      <a:gd name="connsiteX248" fmla="*/ 27530 w 164274"/>
                      <a:gd name="connsiteY248" fmla="*/ 96745 h 178617"/>
                      <a:gd name="connsiteX249" fmla="*/ 28540 w 164274"/>
                      <a:gd name="connsiteY249" fmla="*/ 95873 h 178617"/>
                      <a:gd name="connsiteX250" fmla="*/ 28337 w 164274"/>
                      <a:gd name="connsiteY250" fmla="*/ 93950 h 178617"/>
                      <a:gd name="connsiteX251" fmla="*/ 27693 w 164274"/>
                      <a:gd name="connsiteY251" fmla="*/ 92239 h 178617"/>
                      <a:gd name="connsiteX252" fmla="*/ 26462 w 164274"/>
                      <a:gd name="connsiteY252" fmla="*/ 92165 h 178617"/>
                      <a:gd name="connsiteX253" fmla="*/ 25607 w 164274"/>
                      <a:gd name="connsiteY253" fmla="*/ 92361 h 178617"/>
                      <a:gd name="connsiteX254" fmla="*/ 22852 w 164274"/>
                      <a:gd name="connsiteY254" fmla="*/ 92010 h 178617"/>
                      <a:gd name="connsiteX255" fmla="*/ 19299 w 164274"/>
                      <a:gd name="connsiteY255" fmla="*/ 92964 h 178617"/>
                      <a:gd name="connsiteX256" fmla="*/ 17660 w 164274"/>
                      <a:gd name="connsiteY256" fmla="*/ 92059 h 178617"/>
                      <a:gd name="connsiteX257" fmla="*/ 17098 w 164274"/>
                      <a:gd name="connsiteY257" fmla="*/ 90975 h 178617"/>
                      <a:gd name="connsiteX258" fmla="*/ 14132 w 164274"/>
                      <a:gd name="connsiteY258" fmla="*/ 88278 h 178617"/>
                      <a:gd name="connsiteX259" fmla="*/ 11572 w 164274"/>
                      <a:gd name="connsiteY259" fmla="*/ 84643 h 178617"/>
                      <a:gd name="connsiteX260" fmla="*/ 7424 w 164274"/>
                      <a:gd name="connsiteY260" fmla="*/ 82223 h 178617"/>
                      <a:gd name="connsiteX261" fmla="*/ 4703 w 164274"/>
                      <a:gd name="connsiteY261" fmla="*/ 74831 h 178617"/>
                      <a:gd name="connsiteX262" fmla="*/ 2429 w 164274"/>
                      <a:gd name="connsiteY262" fmla="*/ 71604 h 178617"/>
                      <a:gd name="connsiteX263" fmla="*/ 0 w 164274"/>
                      <a:gd name="connsiteY263" fmla="*/ 69289 h 178617"/>
                      <a:gd name="connsiteX264" fmla="*/ 522 w 164274"/>
                      <a:gd name="connsiteY264" fmla="*/ 69256 h 178617"/>
                      <a:gd name="connsiteX265" fmla="*/ 1451 w 164274"/>
                      <a:gd name="connsiteY265" fmla="*/ 69639 h 178617"/>
                      <a:gd name="connsiteX266" fmla="*/ 3203 w 164274"/>
                      <a:gd name="connsiteY266" fmla="*/ 70911 h 178617"/>
                      <a:gd name="connsiteX267" fmla="*/ 5094 w 164274"/>
                      <a:gd name="connsiteY267" fmla="*/ 71188 h 178617"/>
                      <a:gd name="connsiteX268" fmla="*/ 6121 w 164274"/>
                      <a:gd name="connsiteY268" fmla="*/ 70340 h 178617"/>
                      <a:gd name="connsiteX269" fmla="*/ 6707 w 164274"/>
                      <a:gd name="connsiteY269" fmla="*/ 69574 h 178617"/>
                      <a:gd name="connsiteX270" fmla="*/ 7090 w 164274"/>
                      <a:gd name="connsiteY270" fmla="*/ 68311 h 178617"/>
                      <a:gd name="connsiteX271" fmla="*/ 7245 w 164274"/>
                      <a:gd name="connsiteY271" fmla="*/ 66836 h 178617"/>
                      <a:gd name="connsiteX272" fmla="*/ 7555 w 164274"/>
                      <a:gd name="connsiteY272" fmla="*/ 66339 h 178617"/>
                      <a:gd name="connsiteX273" fmla="*/ 8981 w 164274"/>
                      <a:gd name="connsiteY273" fmla="*/ 66510 h 178617"/>
                      <a:gd name="connsiteX274" fmla="*/ 9446 w 164274"/>
                      <a:gd name="connsiteY274" fmla="*/ 66143 h 178617"/>
                      <a:gd name="connsiteX275" fmla="*/ 9421 w 164274"/>
                      <a:gd name="connsiteY275" fmla="*/ 64815 h 178617"/>
                      <a:gd name="connsiteX276" fmla="*/ 8500 w 164274"/>
                      <a:gd name="connsiteY276" fmla="*/ 63160 h 178617"/>
                      <a:gd name="connsiteX277" fmla="*/ 7685 w 164274"/>
                      <a:gd name="connsiteY277" fmla="*/ 61123 h 178617"/>
                      <a:gd name="connsiteX278" fmla="*/ 7669 w 164274"/>
                      <a:gd name="connsiteY278" fmla="*/ 60145 h 178617"/>
                      <a:gd name="connsiteX279" fmla="*/ 8345 w 164274"/>
                      <a:gd name="connsiteY279" fmla="*/ 59754 h 178617"/>
                      <a:gd name="connsiteX280" fmla="*/ 9478 w 164274"/>
                      <a:gd name="connsiteY280" fmla="*/ 58874 h 178617"/>
                      <a:gd name="connsiteX281" fmla="*/ 10081 w 164274"/>
                      <a:gd name="connsiteY281" fmla="*/ 57773 h 178617"/>
                      <a:gd name="connsiteX282" fmla="*/ 11280 w 164274"/>
                      <a:gd name="connsiteY282" fmla="*/ 57227 h 178617"/>
                      <a:gd name="connsiteX283" fmla="*/ 13023 w 164274"/>
                      <a:gd name="connsiteY283" fmla="*/ 57130 h 178617"/>
                      <a:gd name="connsiteX284" fmla="*/ 14996 w 164274"/>
                      <a:gd name="connsiteY284" fmla="*/ 56649 h 178617"/>
                      <a:gd name="connsiteX285" fmla="*/ 16259 w 164274"/>
                      <a:gd name="connsiteY285" fmla="*/ 55467 h 178617"/>
                      <a:gd name="connsiteX286" fmla="*/ 16446 w 164274"/>
                      <a:gd name="connsiteY286" fmla="*/ 54310 h 178617"/>
                      <a:gd name="connsiteX287" fmla="*/ 17245 w 164274"/>
                      <a:gd name="connsiteY287" fmla="*/ 51091 h 178617"/>
                      <a:gd name="connsiteX288" fmla="*/ 17758 w 164274"/>
                      <a:gd name="connsiteY288" fmla="*/ 49518 h 178617"/>
                      <a:gd name="connsiteX289" fmla="*/ 18598 w 164274"/>
                      <a:gd name="connsiteY289" fmla="*/ 48083 h 178617"/>
                      <a:gd name="connsiteX290" fmla="*/ 19062 w 164274"/>
                      <a:gd name="connsiteY290" fmla="*/ 46152 h 178617"/>
                      <a:gd name="connsiteX291" fmla="*/ 19951 w 164274"/>
                      <a:gd name="connsiteY291" fmla="*/ 44326 h 178617"/>
                      <a:gd name="connsiteX292" fmla="*/ 21833 w 164274"/>
                      <a:gd name="connsiteY292" fmla="*/ 43568 h 178617"/>
                      <a:gd name="connsiteX293" fmla="*/ 23528 w 164274"/>
                      <a:gd name="connsiteY293" fmla="*/ 42656 h 178617"/>
                      <a:gd name="connsiteX294" fmla="*/ 24816 w 164274"/>
                      <a:gd name="connsiteY294" fmla="*/ 40317 h 178617"/>
                      <a:gd name="connsiteX295" fmla="*/ 25533 w 164274"/>
                      <a:gd name="connsiteY295" fmla="*/ 38304 h 178617"/>
                      <a:gd name="connsiteX296" fmla="*/ 25533 w 164274"/>
                      <a:gd name="connsiteY296" fmla="*/ 37073 h 178617"/>
                      <a:gd name="connsiteX297" fmla="*/ 24466 w 164274"/>
                      <a:gd name="connsiteY297" fmla="*/ 35060 h 178617"/>
                      <a:gd name="connsiteX298" fmla="*/ 23667 w 164274"/>
                      <a:gd name="connsiteY298" fmla="*/ 33104 h 178617"/>
                      <a:gd name="connsiteX299" fmla="*/ 23871 w 164274"/>
                      <a:gd name="connsiteY299" fmla="*/ 30561 h 178617"/>
                      <a:gd name="connsiteX300" fmla="*/ 27253 w 164274"/>
                      <a:gd name="connsiteY300" fmla="*/ 30350 h 178617"/>
                      <a:gd name="connsiteX301" fmla="*/ 28418 w 164274"/>
                      <a:gd name="connsiteY301" fmla="*/ 30113 h 178617"/>
                      <a:gd name="connsiteX302" fmla="*/ 32794 w 164274"/>
                      <a:gd name="connsiteY302" fmla="*/ 29967 h 178617"/>
                      <a:gd name="connsiteX303" fmla="*/ 34775 w 164274"/>
                      <a:gd name="connsiteY303" fmla="*/ 28606 h 178617"/>
                      <a:gd name="connsiteX304" fmla="*/ 36160 w 164274"/>
                      <a:gd name="connsiteY304" fmla="*/ 28728 h 178617"/>
                      <a:gd name="connsiteX305" fmla="*/ 39045 w 164274"/>
                      <a:gd name="connsiteY305" fmla="*/ 29910 h 178617"/>
                      <a:gd name="connsiteX306" fmla="*/ 40325 w 164274"/>
                      <a:gd name="connsiteY306" fmla="*/ 28980 h 178617"/>
                      <a:gd name="connsiteX307" fmla="*/ 44090 w 164274"/>
                      <a:gd name="connsiteY307" fmla="*/ 27130 h 178617"/>
                      <a:gd name="connsiteX308" fmla="*/ 47823 w 164274"/>
                      <a:gd name="connsiteY308" fmla="*/ 21768 h 178617"/>
                      <a:gd name="connsiteX309" fmla="*/ 49396 w 164274"/>
                      <a:gd name="connsiteY309" fmla="*/ 20969 h 178617"/>
                      <a:gd name="connsiteX310" fmla="*/ 53006 w 164274"/>
                      <a:gd name="connsiteY310" fmla="*/ 20643 h 178617"/>
                      <a:gd name="connsiteX311" fmla="*/ 54131 w 164274"/>
                      <a:gd name="connsiteY311" fmla="*/ 20024 h 178617"/>
                      <a:gd name="connsiteX312" fmla="*/ 55451 w 164274"/>
                      <a:gd name="connsiteY312" fmla="*/ 20146 h 178617"/>
                      <a:gd name="connsiteX313" fmla="*/ 59509 w 164274"/>
                      <a:gd name="connsiteY313" fmla="*/ 21230 h 178617"/>
                      <a:gd name="connsiteX314" fmla="*/ 61807 w 164274"/>
                      <a:gd name="connsiteY314" fmla="*/ 21393 h 178617"/>
                      <a:gd name="connsiteX315" fmla="*/ 64538 w 164274"/>
                      <a:gd name="connsiteY315" fmla="*/ 20651 h 178617"/>
                      <a:gd name="connsiteX316" fmla="*/ 67537 w 164274"/>
                      <a:gd name="connsiteY316" fmla="*/ 19347 h 178617"/>
                      <a:gd name="connsiteX317" fmla="*/ 68303 w 164274"/>
                      <a:gd name="connsiteY317" fmla="*/ 14759 h 178617"/>
                      <a:gd name="connsiteX318" fmla="*/ 69012 w 164274"/>
                      <a:gd name="connsiteY318" fmla="*/ 14099 h 178617"/>
                      <a:gd name="connsiteX319" fmla="*/ 70878 w 164274"/>
                      <a:gd name="connsiteY319" fmla="*/ 13912 h 178617"/>
                      <a:gd name="connsiteX320" fmla="*/ 72288 w 164274"/>
                      <a:gd name="connsiteY320" fmla="*/ 13944 h 178617"/>
                      <a:gd name="connsiteX321" fmla="*/ 75002 w 164274"/>
                      <a:gd name="connsiteY321" fmla="*/ 14311 h 178617"/>
                      <a:gd name="connsiteX322" fmla="*/ 78238 w 164274"/>
                      <a:gd name="connsiteY322" fmla="*/ 14433 h 178617"/>
                      <a:gd name="connsiteX323" fmla="*/ 80308 w 164274"/>
                      <a:gd name="connsiteY323" fmla="*/ 12282 h 178617"/>
                      <a:gd name="connsiteX324" fmla="*/ 83600 w 164274"/>
                      <a:gd name="connsiteY324" fmla="*/ 12119 h 178617"/>
                      <a:gd name="connsiteX325" fmla="*/ 85116 w 164274"/>
                      <a:gd name="connsiteY325" fmla="*/ 11817 h 178617"/>
                      <a:gd name="connsiteX326" fmla="*/ 87667 w 164274"/>
                      <a:gd name="connsiteY326" fmla="*/ 12249 h 178617"/>
                      <a:gd name="connsiteX327" fmla="*/ 90120 w 164274"/>
                      <a:gd name="connsiteY327" fmla="*/ 12225 h 178617"/>
                      <a:gd name="connsiteX328" fmla="*/ 93274 w 164274"/>
                      <a:gd name="connsiteY328" fmla="*/ 11328 h 178617"/>
                      <a:gd name="connsiteX329" fmla="*/ 96208 w 164274"/>
                      <a:gd name="connsiteY329" fmla="*/ 9861 h 178617"/>
                      <a:gd name="connsiteX330" fmla="*/ 98514 w 164274"/>
                      <a:gd name="connsiteY330" fmla="*/ 9983 h 178617"/>
                      <a:gd name="connsiteX331" fmla="*/ 99443 w 164274"/>
                      <a:gd name="connsiteY331" fmla="*/ 9714 h 178617"/>
                      <a:gd name="connsiteX332" fmla="*/ 99981 w 164274"/>
                      <a:gd name="connsiteY332" fmla="*/ 9405 h 178617"/>
                      <a:gd name="connsiteX333" fmla="*/ 100568 w 164274"/>
                      <a:gd name="connsiteY333" fmla="*/ 7416 h 178617"/>
                      <a:gd name="connsiteX334" fmla="*/ 104887 w 164274"/>
                      <a:gd name="connsiteY334" fmla="*/ 7294 h 178617"/>
                      <a:gd name="connsiteX335" fmla="*/ 106354 w 164274"/>
                      <a:gd name="connsiteY335" fmla="*/ 7490 h 178617"/>
                      <a:gd name="connsiteX336" fmla="*/ 108758 w 164274"/>
                      <a:gd name="connsiteY336" fmla="*/ 7547 h 178617"/>
                      <a:gd name="connsiteX337" fmla="*/ 111268 w 164274"/>
                      <a:gd name="connsiteY337" fmla="*/ 6463 h 178617"/>
                      <a:gd name="connsiteX338" fmla="*/ 112018 w 164274"/>
                      <a:gd name="connsiteY338" fmla="*/ 6552 h 178617"/>
                      <a:gd name="connsiteX339" fmla="*/ 113289 w 164274"/>
                      <a:gd name="connsiteY339" fmla="*/ 9462 h 178617"/>
                      <a:gd name="connsiteX340" fmla="*/ 113950 w 164274"/>
                      <a:gd name="connsiteY340" fmla="*/ 10309 h 178617"/>
                      <a:gd name="connsiteX341" fmla="*/ 115310 w 164274"/>
                      <a:gd name="connsiteY341" fmla="*/ 11084 h 178617"/>
                      <a:gd name="connsiteX342" fmla="*/ 118351 w 164274"/>
                      <a:gd name="connsiteY342" fmla="*/ 13268 h 178617"/>
                      <a:gd name="connsiteX343" fmla="*/ 118913 w 164274"/>
                      <a:gd name="connsiteY343" fmla="*/ 12705 h 178617"/>
                      <a:gd name="connsiteX344" fmla="*/ 120176 w 164274"/>
                      <a:gd name="connsiteY344" fmla="*/ 11964 h 178617"/>
                      <a:gd name="connsiteX345" fmla="*/ 123811 w 164274"/>
                      <a:gd name="connsiteY345" fmla="*/ 12966 h 178617"/>
                      <a:gd name="connsiteX346" fmla="*/ 127283 w 164274"/>
                      <a:gd name="connsiteY346" fmla="*/ 14645 h 178617"/>
                      <a:gd name="connsiteX347" fmla="*/ 130200 w 164274"/>
                      <a:gd name="connsiteY347" fmla="*/ 17123 h 178617"/>
                      <a:gd name="connsiteX348" fmla="*/ 133452 w 164274"/>
                      <a:gd name="connsiteY348" fmla="*/ 16405 h 178617"/>
                      <a:gd name="connsiteX349" fmla="*/ 137046 w 164274"/>
                      <a:gd name="connsiteY349" fmla="*/ 15199 h 178617"/>
                      <a:gd name="connsiteX350" fmla="*/ 139385 w 164274"/>
                      <a:gd name="connsiteY350" fmla="*/ 14849 h 178617"/>
                      <a:gd name="connsiteX351" fmla="*/ 141936 w 164274"/>
                      <a:gd name="connsiteY351" fmla="*/ 14678 h 178617"/>
                      <a:gd name="connsiteX352" fmla="*/ 143436 w 164274"/>
                      <a:gd name="connsiteY352" fmla="*/ 14148 h 178617"/>
                      <a:gd name="connsiteX353" fmla="*/ 146866 w 164274"/>
                      <a:gd name="connsiteY353" fmla="*/ 14784 h 178617"/>
                      <a:gd name="connsiteX354" fmla="*/ 150420 w 164274"/>
                      <a:gd name="connsiteY354" fmla="*/ 13455 h 178617"/>
                      <a:gd name="connsiteX355" fmla="*/ 152139 w 164274"/>
                      <a:gd name="connsiteY355" fmla="*/ 12257 h 178617"/>
                      <a:gd name="connsiteX356" fmla="*/ 152620 w 164274"/>
                      <a:gd name="connsiteY356" fmla="*/ 10570 h 178617"/>
                      <a:gd name="connsiteX357" fmla="*/ 152335 w 164274"/>
                      <a:gd name="connsiteY357" fmla="*/ 7612 h 178617"/>
                      <a:gd name="connsiteX358" fmla="*/ 151545 w 164274"/>
                      <a:gd name="connsiteY358" fmla="*/ 4645 h 178617"/>
                      <a:gd name="connsiteX359" fmla="*/ 150688 w 164274"/>
                      <a:gd name="connsiteY359" fmla="*/ 3545 h 178617"/>
                      <a:gd name="connsiteX360" fmla="*/ 150411 w 164274"/>
                      <a:gd name="connsiteY360" fmla="*/ 2412 h 178617"/>
                      <a:gd name="connsiteX361" fmla="*/ 150892 w 164274"/>
                      <a:gd name="connsiteY361" fmla="*/ 1361 h 178617"/>
                      <a:gd name="connsiteX362" fmla="*/ 151439 w 164274"/>
                      <a:gd name="connsiteY362" fmla="*/ 619 h 178617"/>
                      <a:gd name="connsiteX363" fmla="*/ 153745 w 164274"/>
                      <a:gd name="connsiteY363" fmla="*/ 0 h 178617"/>
                      <a:gd name="connsiteX364" fmla="*/ 156728 w 164274"/>
                      <a:gd name="connsiteY364" fmla="*/ 929 h 178617"/>
                      <a:gd name="connsiteX365" fmla="*/ 158969 w 164274"/>
                      <a:gd name="connsiteY365" fmla="*/ 1622 h 178617"/>
                      <a:gd name="connsiteX366" fmla="*/ 160248 w 164274"/>
                      <a:gd name="connsiteY366" fmla="*/ 2746 h 178617"/>
                      <a:gd name="connsiteX367" fmla="*/ 161055 w 164274"/>
                      <a:gd name="connsiteY367" fmla="*/ 3781 h 178617"/>
                      <a:gd name="connsiteX368" fmla="*/ 162286 w 164274"/>
                      <a:gd name="connsiteY368" fmla="*/ 4678 h 178617"/>
                      <a:gd name="connsiteX369" fmla="*/ 163190 w 164274"/>
                      <a:gd name="connsiteY369" fmla="*/ 4882 h 178617"/>
                      <a:gd name="connsiteX370" fmla="*/ 163891 w 164274"/>
                      <a:gd name="connsiteY370" fmla="*/ 7930 h 178617"/>
                      <a:gd name="connsiteX371" fmla="*/ 164274 w 164274"/>
                      <a:gd name="connsiteY371" fmla="*/ 11711 h 178617"/>
                      <a:gd name="connsiteX372" fmla="*/ 163712 w 164274"/>
                      <a:gd name="connsiteY372" fmla="*/ 13341 h 178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Lst>
                    <a:rect l="l" t="t" r="r" b="b"/>
                    <a:pathLst>
                      <a:path w="164274" h="178617">
                        <a:moveTo>
                          <a:pt x="162074" y="13716"/>
                        </a:moveTo>
                        <a:lnTo>
                          <a:pt x="156980" y="17286"/>
                        </a:lnTo>
                        <a:lnTo>
                          <a:pt x="156850" y="20545"/>
                        </a:lnTo>
                        <a:lnTo>
                          <a:pt x="156923" y="22126"/>
                        </a:lnTo>
                        <a:lnTo>
                          <a:pt x="157021" y="23243"/>
                        </a:lnTo>
                        <a:lnTo>
                          <a:pt x="157559" y="24180"/>
                        </a:lnTo>
                        <a:lnTo>
                          <a:pt x="157559" y="25533"/>
                        </a:lnTo>
                        <a:lnTo>
                          <a:pt x="156988" y="26992"/>
                        </a:lnTo>
                        <a:lnTo>
                          <a:pt x="154755" y="29429"/>
                        </a:lnTo>
                        <a:lnTo>
                          <a:pt x="153215" y="31352"/>
                        </a:lnTo>
                        <a:lnTo>
                          <a:pt x="151487" y="33968"/>
                        </a:lnTo>
                        <a:lnTo>
                          <a:pt x="150509" y="34294"/>
                        </a:lnTo>
                        <a:lnTo>
                          <a:pt x="149735" y="34750"/>
                        </a:lnTo>
                        <a:lnTo>
                          <a:pt x="149043" y="33308"/>
                        </a:lnTo>
                        <a:lnTo>
                          <a:pt x="145188" y="30749"/>
                        </a:lnTo>
                        <a:lnTo>
                          <a:pt x="136288" y="29266"/>
                        </a:lnTo>
                        <a:lnTo>
                          <a:pt x="132034" y="27375"/>
                        </a:lnTo>
                        <a:lnTo>
                          <a:pt x="130176" y="27734"/>
                        </a:lnTo>
                        <a:lnTo>
                          <a:pt x="126566" y="25623"/>
                        </a:lnTo>
                        <a:lnTo>
                          <a:pt x="124088" y="26544"/>
                        </a:lnTo>
                        <a:lnTo>
                          <a:pt x="118831" y="30301"/>
                        </a:lnTo>
                        <a:lnTo>
                          <a:pt x="115995" y="29893"/>
                        </a:lnTo>
                        <a:lnTo>
                          <a:pt x="112980" y="27636"/>
                        </a:lnTo>
                        <a:lnTo>
                          <a:pt x="111008" y="27220"/>
                        </a:lnTo>
                        <a:lnTo>
                          <a:pt x="108693" y="28418"/>
                        </a:lnTo>
                        <a:lnTo>
                          <a:pt x="104985" y="32729"/>
                        </a:lnTo>
                        <a:lnTo>
                          <a:pt x="101212" y="34840"/>
                        </a:lnTo>
                        <a:lnTo>
                          <a:pt x="97838" y="34017"/>
                        </a:lnTo>
                        <a:lnTo>
                          <a:pt x="93282" y="34033"/>
                        </a:lnTo>
                        <a:lnTo>
                          <a:pt x="92801" y="36454"/>
                        </a:lnTo>
                        <a:lnTo>
                          <a:pt x="93673" y="38116"/>
                        </a:lnTo>
                        <a:lnTo>
                          <a:pt x="96167" y="40961"/>
                        </a:lnTo>
                        <a:lnTo>
                          <a:pt x="94993" y="43104"/>
                        </a:lnTo>
                        <a:lnTo>
                          <a:pt x="95865" y="45247"/>
                        </a:lnTo>
                        <a:lnTo>
                          <a:pt x="97487" y="45679"/>
                        </a:lnTo>
                        <a:lnTo>
                          <a:pt x="99932" y="45557"/>
                        </a:lnTo>
                        <a:lnTo>
                          <a:pt x="104447" y="48328"/>
                        </a:lnTo>
                        <a:lnTo>
                          <a:pt x="106411" y="51245"/>
                        </a:lnTo>
                        <a:lnTo>
                          <a:pt x="107690" y="54440"/>
                        </a:lnTo>
                        <a:lnTo>
                          <a:pt x="104928" y="52150"/>
                        </a:lnTo>
                        <a:lnTo>
                          <a:pt x="103102" y="49950"/>
                        </a:lnTo>
                        <a:lnTo>
                          <a:pt x="100568" y="49151"/>
                        </a:lnTo>
                        <a:lnTo>
                          <a:pt x="97014" y="47268"/>
                        </a:lnTo>
                        <a:lnTo>
                          <a:pt x="94798" y="46959"/>
                        </a:lnTo>
                        <a:lnTo>
                          <a:pt x="92418" y="48254"/>
                        </a:lnTo>
                        <a:lnTo>
                          <a:pt x="92231" y="49738"/>
                        </a:lnTo>
                        <a:lnTo>
                          <a:pt x="94798" y="52492"/>
                        </a:lnTo>
                        <a:lnTo>
                          <a:pt x="97120" y="54188"/>
                        </a:lnTo>
                        <a:lnTo>
                          <a:pt x="98359" y="55565"/>
                        </a:lnTo>
                        <a:lnTo>
                          <a:pt x="99191" y="58621"/>
                        </a:lnTo>
                        <a:lnTo>
                          <a:pt x="98718" y="59656"/>
                        </a:lnTo>
                        <a:lnTo>
                          <a:pt x="97862" y="60618"/>
                        </a:lnTo>
                        <a:lnTo>
                          <a:pt x="95091" y="58703"/>
                        </a:lnTo>
                        <a:lnTo>
                          <a:pt x="90845" y="51857"/>
                        </a:lnTo>
                        <a:lnTo>
                          <a:pt x="84936" y="50496"/>
                        </a:lnTo>
                        <a:lnTo>
                          <a:pt x="83951" y="51922"/>
                        </a:lnTo>
                        <a:lnTo>
                          <a:pt x="85116" y="55532"/>
                        </a:lnTo>
                        <a:lnTo>
                          <a:pt x="85955" y="56950"/>
                        </a:lnTo>
                        <a:lnTo>
                          <a:pt x="91090" y="60846"/>
                        </a:lnTo>
                        <a:lnTo>
                          <a:pt x="90674" y="61669"/>
                        </a:lnTo>
                        <a:lnTo>
                          <a:pt x="89924" y="62028"/>
                        </a:lnTo>
                        <a:lnTo>
                          <a:pt x="84179" y="59795"/>
                        </a:lnTo>
                        <a:lnTo>
                          <a:pt x="82508" y="56396"/>
                        </a:lnTo>
                        <a:lnTo>
                          <a:pt x="82109" y="52109"/>
                        </a:lnTo>
                        <a:lnTo>
                          <a:pt x="76803" y="49127"/>
                        </a:lnTo>
                        <a:lnTo>
                          <a:pt x="71799" y="45875"/>
                        </a:lnTo>
                        <a:lnTo>
                          <a:pt x="70674" y="42794"/>
                        </a:lnTo>
                        <a:lnTo>
                          <a:pt x="71718" y="41645"/>
                        </a:lnTo>
                        <a:lnTo>
                          <a:pt x="72435" y="39380"/>
                        </a:lnTo>
                        <a:lnTo>
                          <a:pt x="69689" y="39795"/>
                        </a:lnTo>
                        <a:lnTo>
                          <a:pt x="67969" y="41229"/>
                        </a:lnTo>
                        <a:lnTo>
                          <a:pt x="65181" y="42623"/>
                        </a:lnTo>
                        <a:lnTo>
                          <a:pt x="65060" y="44905"/>
                        </a:lnTo>
                        <a:lnTo>
                          <a:pt x="65508" y="47008"/>
                        </a:lnTo>
                        <a:lnTo>
                          <a:pt x="64579" y="50072"/>
                        </a:lnTo>
                        <a:lnTo>
                          <a:pt x="63682" y="55402"/>
                        </a:lnTo>
                        <a:lnTo>
                          <a:pt x="64253" y="58205"/>
                        </a:lnTo>
                        <a:lnTo>
                          <a:pt x="70291" y="66208"/>
                        </a:lnTo>
                        <a:lnTo>
                          <a:pt x="72362" y="72019"/>
                        </a:lnTo>
                        <a:lnTo>
                          <a:pt x="73837" y="74211"/>
                        </a:lnTo>
                        <a:lnTo>
                          <a:pt x="76933" y="76648"/>
                        </a:lnTo>
                        <a:lnTo>
                          <a:pt x="80161" y="81163"/>
                        </a:lnTo>
                        <a:lnTo>
                          <a:pt x="81530" y="83510"/>
                        </a:lnTo>
                        <a:lnTo>
                          <a:pt x="82500" y="87357"/>
                        </a:lnTo>
                        <a:lnTo>
                          <a:pt x="79786" y="89737"/>
                        </a:lnTo>
                        <a:lnTo>
                          <a:pt x="78205" y="89826"/>
                        </a:lnTo>
                        <a:lnTo>
                          <a:pt x="77325" y="88775"/>
                        </a:lnTo>
                        <a:lnTo>
                          <a:pt x="78547" y="86151"/>
                        </a:lnTo>
                        <a:lnTo>
                          <a:pt x="78376" y="84562"/>
                        </a:lnTo>
                        <a:lnTo>
                          <a:pt x="74187" y="82084"/>
                        </a:lnTo>
                        <a:lnTo>
                          <a:pt x="72418" y="82915"/>
                        </a:lnTo>
                        <a:lnTo>
                          <a:pt x="70373" y="84537"/>
                        </a:lnTo>
                        <a:lnTo>
                          <a:pt x="71531" y="87520"/>
                        </a:lnTo>
                        <a:lnTo>
                          <a:pt x="72851" y="89492"/>
                        </a:lnTo>
                        <a:lnTo>
                          <a:pt x="73502" y="92206"/>
                        </a:lnTo>
                        <a:lnTo>
                          <a:pt x="76021" y="91970"/>
                        </a:lnTo>
                        <a:lnTo>
                          <a:pt x="72647" y="95018"/>
                        </a:lnTo>
                        <a:lnTo>
                          <a:pt x="69468" y="96566"/>
                        </a:lnTo>
                        <a:lnTo>
                          <a:pt x="66355" y="96656"/>
                        </a:lnTo>
                        <a:lnTo>
                          <a:pt x="64367" y="96933"/>
                        </a:lnTo>
                        <a:lnTo>
                          <a:pt x="63674" y="97715"/>
                        </a:lnTo>
                        <a:lnTo>
                          <a:pt x="65304" y="98278"/>
                        </a:lnTo>
                        <a:lnTo>
                          <a:pt x="66624" y="98335"/>
                        </a:lnTo>
                        <a:lnTo>
                          <a:pt x="68759" y="99973"/>
                        </a:lnTo>
                        <a:lnTo>
                          <a:pt x="74872" y="101937"/>
                        </a:lnTo>
                        <a:lnTo>
                          <a:pt x="77781" y="104431"/>
                        </a:lnTo>
                        <a:lnTo>
                          <a:pt x="80642" y="104651"/>
                        </a:lnTo>
                        <a:lnTo>
                          <a:pt x="83518" y="109215"/>
                        </a:lnTo>
                        <a:lnTo>
                          <a:pt x="88498" y="110429"/>
                        </a:lnTo>
                        <a:lnTo>
                          <a:pt x="91334" y="115025"/>
                        </a:lnTo>
                        <a:lnTo>
                          <a:pt x="95107" y="115938"/>
                        </a:lnTo>
                        <a:lnTo>
                          <a:pt x="98343" y="117625"/>
                        </a:lnTo>
                        <a:lnTo>
                          <a:pt x="99297" y="119239"/>
                        </a:lnTo>
                        <a:lnTo>
                          <a:pt x="99778" y="122156"/>
                        </a:lnTo>
                        <a:lnTo>
                          <a:pt x="99989" y="128342"/>
                        </a:lnTo>
                        <a:lnTo>
                          <a:pt x="100682" y="132938"/>
                        </a:lnTo>
                        <a:lnTo>
                          <a:pt x="100715" y="134381"/>
                        </a:lnTo>
                        <a:lnTo>
                          <a:pt x="100544" y="136557"/>
                        </a:lnTo>
                        <a:lnTo>
                          <a:pt x="99655" y="137624"/>
                        </a:lnTo>
                        <a:lnTo>
                          <a:pt x="98465" y="137657"/>
                        </a:lnTo>
                        <a:lnTo>
                          <a:pt x="96134" y="134275"/>
                        </a:lnTo>
                        <a:lnTo>
                          <a:pt x="92541" y="130722"/>
                        </a:lnTo>
                        <a:lnTo>
                          <a:pt x="88759" y="126492"/>
                        </a:lnTo>
                        <a:lnTo>
                          <a:pt x="87699" y="125742"/>
                        </a:lnTo>
                        <a:lnTo>
                          <a:pt x="86811" y="125677"/>
                        </a:lnTo>
                        <a:lnTo>
                          <a:pt x="84790" y="127103"/>
                        </a:lnTo>
                        <a:lnTo>
                          <a:pt x="79175" y="128212"/>
                        </a:lnTo>
                        <a:lnTo>
                          <a:pt x="76534" y="129752"/>
                        </a:lnTo>
                        <a:lnTo>
                          <a:pt x="75548" y="130102"/>
                        </a:lnTo>
                        <a:lnTo>
                          <a:pt x="75271" y="130917"/>
                        </a:lnTo>
                        <a:lnTo>
                          <a:pt x="76502" y="131765"/>
                        </a:lnTo>
                        <a:lnTo>
                          <a:pt x="78017" y="133696"/>
                        </a:lnTo>
                        <a:lnTo>
                          <a:pt x="78017" y="136337"/>
                        </a:lnTo>
                        <a:lnTo>
                          <a:pt x="79256" y="139540"/>
                        </a:lnTo>
                        <a:lnTo>
                          <a:pt x="80894" y="140371"/>
                        </a:lnTo>
                        <a:lnTo>
                          <a:pt x="82989" y="140306"/>
                        </a:lnTo>
                        <a:lnTo>
                          <a:pt x="84195" y="140901"/>
                        </a:lnTo>
                        <a:lnTo>
                          <a:pt x="84505" y="142172"/>
                        </a:lnTo>
                        <a:lnTo>
                          <a:pt x="85727" y="143663"/>
                        </a:lnTo>
                        <a:lnTo>
                          <a:pt x="86534" y="144764"/>
                        </a:lnTo>
                        <a:lnTo>
                          <a:pt x="86501" y="145554"/>
                        </a:lnTo>
                        <a:lnTo>
                          <a:pt x="80625" y="147657"/>
                        </a:lnTo>
                        <a:lnTo>
                          <a:pt x="79403" y="148610"/>
                        </a:lnTo>
                        <a:lnTo>
                          <a:pt x="78368" y="149107"/>
                        </a:lnTo>
                        <a:lnTo>
                          <a:pt x="76844" y="148105"/>
                        </a:lnTo>
                        <a:lnTo>
                          <a:pt x="76762" y="145546"/>
                        </a:lnTo>
                        <a:lnTo>
                          <a:pt x="74741" y="144169"/>
                        </a:lnTo>
                        <a:lnTo>
                          <a:pt x="72891" y="142987"/>
                        </a:lnTo>
                        <a:lnTo>
                          <a:pt x="70667" y="142482"/>
                        </a:lnTo>
                        <a:lnTo>
                          <a:pt x="68784" y="140721"/>
                        </a:lnTo>
                        <a:lnTo>
                          <a:pt x="67553" y="142156"/>
                        </a:lnTo>
                        <a:lnTo>
                          <a:pt x="68540" y="147127"/>
                        </a:lnTo>
                        <a:lnTo>
                          <a:pt x="70667" y="150542"/>
                        </a:lnTo>
                        <a:lnTo>
                          <a:pt x="74244" y="159702"/>
                        </a:lnTo>
                        <a:lnTo>
                          <a:pt x="75858" y="165105"/>
                        </a:lnTo>
                        <a:lnTo>
                          <a:pt x="76192" y="167713"/>
                        </a:lnTo>
                        <a:lnTo>
                          <a:pt x="75385" y="172057"/>
                        </a:lnTo>
                        <a:lnTo>
                          <a:pt x="77137" y="175268"/>
                        </a:lnTo>
                        <a:lnTo>
                          <a:pt x="78335" y="178577"/>
                        </a:lnTo>
                        <a:lnTo>
                          <a:pt x="77015" y="178447"/>
                        </a:lnTo>
                        <a:lnTo>
                          <a:pt x="75866" y="177281"/>
                        </a:lnTo>
                        <a:lnTo>
                          <a:pt x="73943" y="175912"/>
                        </a:lnTo>
                        <a:lnTo>
                          <a:pt x="70210" y="170639"/>
                        </a:lnTo>
                        <a:lnTo>
                          <a:pt x="68906" y="167347"/>
                        </a:lnTo>
                        <a:lnTo>
                          <a:pt x="67350" y="167086"/>
                        </a:lnTo>
                        <a:lnTo>
                          <a:pt x="64652" y="167558"/>
                        </a:lnTo>
                        <a:lnTo>
                          <a:pt x="61701" y="174584"/>
                        </a:lnTo>
                        <a:lnTo>
                          <a:pt x="61710" y="178618"/>
                        </a:lnTo>
                        <a:lnTo>
                          <a:pt x="60178" y="177656"/>
                        </a:lnTo>
                        <a:lnTo>
                          <a:pt x="58857" y="176401"/>
                        </a:lnTo>
                        <a:lnTo>
                          <a:pt x="59020" y="171992"/>
                        </a:lnTo>
                        <a:lnTo>
                          <a:pt x="58890" y="170150"/>
                        </a:lnTo>
                        <a:lnTo>
                          <a:pt x="55296" y="164136"/>
                        </a:lnTo>
                        <a:lnTo>
                          <a:pt x="53642" y="163467"/>
                        </a:lnTo>
                        <a:lnTo>
                          <a:pt x="52884" y="161438"/>
                        </a:lnTo>
                        <a:lnTo>
                          <a:pt x="51555" y="159270"/>
                        </a:lnTo>
                        <a:lnTo>
                          <a:pt x="49852" y="159678"/>
                        </a:lnTo>
                        <a:lnTo>
                          <a:pt x="48467" y="160566"/>
                        </a:lnTo>
                        <a:lnTo>
                          <a:pt x="48075" y="163834"/>
                        </a:lnTo>
                        <a:lnTo>
                          <a:pt x="47937" y="166760"/>
                        </a:lnTo>
                        <a:lnTo>
                          <a:pt x="46894" y="168968"/>
                        </a:lnTo>
                        <a:lnTo>
                          <a:pt x="43063" y="164779"/>
                        </a:lnTo>
                        <a:lnTo>
                          <a:pt x="39217" y="157534"/>
                        </a:lnTo>
                        <a:lnTo>
                          <a:pt x="39119" y="153557"/>
                        </a:lnTo>
                        <a:lnTo>
                          <a:pt x="41931" y="149931"/>
                        </a:lnTo>
                        <a:lnTo>
                          <a:pt x="41596" y="147331"/>
                        </a:lnTo>
                        <a:lnTo>
                          <a:pt x="38932" y="142188"/>
                        </a:lnTo>
                        <a:lnTo>
                          <a:pt x="35085" y="138888"/>
                        </a:lnTo>
                        <a:lnTo>
                          <a:pt x="32933" y="137902"/>
                        </a:lnTo>
                        <a:lnTo>
                          <a:pt x="31922" y="134381"/>
                        </a:lnTo>
                        <a:lnTo>
                          <a:pt x="29853" y="132572"/>
                        </a:lnTo>
                        <a:lnTo>
                          <a:pt x="28182" y="131724"/>
                        </a:lnTo>
                        <a:lnTo>
                          <a:pt x="27856" y="130469"/>
                        </a:lnTo>
                        <a:lnTo>
                          <a:pt x="28353" y="129548"/>
                        </a:lnTo>
                        <a:lnTo>
                          <a:pt x="32403" y="125921"/>
                        </a:lnTo>
                        <a:lnTo>
                          <a:pt x="34767" y="120249"/>
                        </a:lnTo>
                        <a:lnTo>
                          <a:pt x="35949" y="119980"/>
                        </a:lnTo>
                        <a:lnTo>
                          <a:pt x="38377" y="121325"/>
                        </a:lnTo>
                        <a:lnTo>
                          <a:pt x="41099" y="120975"/>
                        </a:lnTo>
                        <a:lnTo>
                          <a:pt x="43324" y="117658"/>
                        </a:lnTo>
                        <a:lnTo>
                          <a:pt x="45215" y="115840"/>
                        </a:lnTo>
                        <a:lnTo>
                          <a:pt x="48401" y="116077"/>
                        </a:lnTo>
                        <a:lnTo>
                          <a:pt x="55606" y="120518"/>
                        </a:lnTo>
                        <a:lnTo>
                          <a:pt x="63356" y="123053"/>
                        </a:lnTo>
                        <a:lnTo>
                          <a:pt x="67211" y="125270"/>
                        </a:lnTo>
                        <a:lnTo>
                          <a:pt x="69387" y="127470"/>
                        </a:lnTo>
                        <a:lnTo>
                          <a:pt x="70552" y="127926"/>
                        </a:lnTo>
                        <a:lnTo>
                          <a:pt x="72386" y="128236"/>
                        </a:lnTo>
                        <a:lnTo>
                          <a:pt x="72312" y="126590"/>
                        </a:lnTo>
                        <a:lnTo>
                          <a:pt x="71726" y="125139"/>
                        </a:lnTo>
                        <a:lnTo>
                          <a:pt x="73242" y="124340"/>
                        </a:lnTo>
                        <a:lnTo>
                          <a:pt x="77398" y="124389"/>
                        </a:lnTo>
                        <a:lnTo>
                          <a:pt x="78148" y="123615"/>
                        </a:lnTo>
                        <a:lnTo>
                          <a:pt x="78922" y="122360"/>
                        </a:lnTo>
                        <a:lnTo>
                          <a:pt x="78067" y="120942"/>
                        </a:lnTo>
                        <a:lnTo>
                          <a:pt x="76681" y="120257"/>
                        </a:lnTo>
                        <a:lnTo>
                          <a:pt x="75214" y="120070"/>
                        </a:lnTo>
                        <a:lnTo>
                          <a:pt x="74252" y="119622"/>
                        </a:lnTo>
                        <a:lnTo>
                          <a:pt x="72695" y="120070"/>
                        </a:lnTo>
                        <a:lnTo>
                          <a:pt x="70259" y="118978"/>
                        </a:lnTo>
                        <a:lnTo>
                          <a:pt x="69004" y="118065"/>
                        </a:lnTo>
                        <a:lnTo>
                          <a:pt x="68270" y="117136"/>
                        </a:lnTo>
                        <a:lnTo>
                          <a:pt x="64041" y="115278"/>
                        </a:lnTo>
                        <a:lnTo>
                          <a:pt x="60023" y="112140"/>
                        </a:lnTo>
                        <a:lnTo>
                          <a:pt x="59118" y="113917"/>
                        </a:lnTo>
                        <a:lnTo>
                          <a:pt x="57488" y="114879"/>
                        </a:lnTo>
                        <a:lnTo>
                          <a:pt x="55190" y="115017"/>
                        </a:lnTo>
                        <a:lnTo>
                          <a:pt x="48703" y="113012"/>
                        </a:lnTo>
                        <a:lnTo>
                          <a:pt x="44710" y="114536"/>
                        </a:lnTo>
                        <a:lnTo>
                          <a:pt x="42550" y="114944"/>
                        </a:lnTo>
                        <a:lnTo>
                          <a:pt x="40887" y="114976"/>
                        </a:lnTo>
                        <a:lnTo>
                          <a:pt x="38842" y="115661"/>
                        </a:lnTo>
                        <a:lnTo>
                          <a:pt x="36478" y="116068"/>
                        </a:lnTo>
                        <a:lnTo>
                          <a:pt x="34433" y="113167"/>
                        </a:lnTo>
                        <a:lnTo>
                          <a:pt x="33585" y="110918"/>
                        </a:lnTo>
                        <a:lnTo>
                          <a:pt x="32974" y="110502"/>
                        </a:lnTo>
                        <a:lnTo>
                          <a:pt x="32950" y="112613"/>
                        </a:lnTo>
                        <a:lnTo>
                          <a:pt x="32290" y="114300"/>
                        </a:lnTo>
                        <a:lnTo>
                          <a:pt x="29299" y="115262"/>
                        </a:lnTo>
                        <a:lnTo>
                          <a:pt x="27571" y="113941"/>
                        </a:lnTo>
                        <a:lnTo>
                          <a:pt x="26242" y="109964"/>
                        </a:lnTo>
                        <a:lnTo>
                          <a:pt x="24564" y="104895"/>
                        </a:lnTo>
                        <a:lnTo>
                          <a:pt x="21613" y="100804"/>
                        </a:lnTo>
                        <a:lnTo>
                          <a:pt x="19225" y="99728"/>
                        </a:lnTo>
                        <a:lnTo>
                          <a:pt x="19021" y="97479"/>
                        </a:lnTo>
                        <a:lnTo>
                          <a:pt x="19233" y="95678"/>
                        </a:lnTo>
                        <a:lnTo>
                          <a:pt x="22118" y="95238"/>
                        </a:lnTo>
                        <a:lnTo>
                          <a:pt x="26601" y="97120"/>
                        </a:lnTo>
                        <a:lnTo>
                          <a:pt x="27530" y="96745"/>
                        </a:lnTo>
                        <a:lnTo>
                          <a:pt x="28540" y="95873"/>
                        </a:lnTo>
                        <a:lnTo>
                          <a:pt x="28337" y="93950"/>
                        </a:lnTo>
                        <a:lnTo>
                          <a:pt x="27693" y="92239"/>
                        </a:lnTo>
                        <a:lnTo>
                          <a:pt x="26462" y="92165"/>
                        </a:lnTo>
                        <a:lnTo>
                          <a:pt x="25607" y="92361"/>
                        </a:lnTo>
                        <a:lnTo>
                          <a:pt x="22852" y="92010"/>
                        </a:lnTo>
                        <a:lnTo>
                          <a:pt x="19299" y="92964"/>
                        </a:lnTo>
                        <a:lnTo>
                          <a:pt x="17660" y="92059"/>
                        </a:lnTo>
                        <a:lnTo>
                          <a:pt x="17098" y="90975"/>
                        </a:lnTo>
                        <a:lnTo>
                          <a:pt x="14132" y="88278"/>
                        </a:lnTo>
                        <a:lnTo>
                          <a:pt x="11572" y="84643"/>
                        </a:lnTo>
                        <a:lnTo>
                          <a:pt x="7424" y="82223"/>
                        </a:lnTo>
                        <a:lnTo>
                          <a:pt x="4703" y="74831"/>
                        </a:lnTo>
                        <a:lnTo>
                          <a:pt x="2429" y="71604"/>
                        </a:lnTo>
                        <a:lnTo>
                          <a:pt x="0" y="69289"/>
                        </a:lnTo>
                        <a:lnTo>
                          <a:pt x="522" y="69256"/>
                        </a:lnTo>
                        <a:lnTo>
                          <a:pt x="1451" y="69639"/>
                        </a:lnTo>
                        <a:lnTo>
                          <a:pt x="3203" y="70911"/>
                        </a:lnTo>
                        <a:lnTo>
                          <a:pt x="5094" y="71188"/>
                        </a:lnTo>
                        <a:lnTo>
                          <a:pt x="6121" y="70340"/>
                        </a:lnTo>
                        <a:lnTo>
                          <a:pt x="6707" y="69574"/>
                        </a:lnTo>
                        <a:lnTo>
                          <a:pt x="7090" y="68311"/>
                        </a:lnTo>
                        <a:lnTo>
                          <a:pt x="7245" y="66836"/>
                        </a:lnTo>
                        <a:lnTo>
                          <a:pt x="7555" y="66339"/>
                        </a:lnTo>
                        <a:lnTo>
                          <a:pt x="8981" y="66510"/>
                        </a:lnTo>
                        <a:lnTo>
                          <a:pt x="9446" y="66143"/>
                        </a:lnTo>
                        <a:lnTo>
                          <a:pt x="9421" y="64815"/>
                        </a:lnTo>
                        <a:lnTo>
                          <a:pt x="8500" y="63160"/>
                        </a:lnTo>
                        <a:lnTo>
                          <a:pt x="7685" y="61123"/>
                        </a:lnTo>
                        <a:lnTo>
                          <a:pt x="7669" y="60145"/>
                        </a:lnTo>
                        <a:lnTo>
                          <a:pt x="8345" y="59754"/>
                        </a:lnTo>
                        <a:lnTo>
                          <a:pt x="9478" y="58874"/>
                        </a:lnTo>
                        <a:lnTo>
                          <a:pt x="10081" y="57773"/>
                        </a:lnTo>
                        <a:lnTo>
                          <a:pt x="11280" y="57227"/>
                        </a:lnTo>
                        <a:lnTo>
                          <a:pt x="13023" y="57130"/>
                        </a:lnTo>
                        <a:lnTo>
                          <a:pt x="14996" y="56649"/>
                        </a:lnTo>
                        <a:lnTo>
                          <a:pt x="16259" y="55467"/>
                        </a:lnTo>
                        <a:lnTo>
                          <a:pt x="16446" y="54310"/>
                        </a:lnTo>
                        <a:lnTo>
                          <a:pt x="17245" y="51091"/>
                        </a:lnTo>
                        <a:lnTo>
                          <a:pt x="17758" y="49518"/>
                        </a:lnTo>
                        <a:lnTo>
                          <a:pt x="18598" y="48083"/>
                        </a:lnTo>
                        <a:lnTo>
                          <a:pt x="19062" y="46152"/>
                        </a:lnTo>
                        <a:lnTo>
                          <a:pt x="19951" y="44326"/>
                        </a:lnTo>
                        <a:lnTo>
                          <a:pt x="21833" y="43568"/>
                        </a:lnTo>
                        <a:lnTo>
                          <a:pt x="23528" y="42656"/>
                        </a:lnTo>
                        <a:lnTo>
                          <a:pt x="24816" y="40317"/>
                        </a:lnTo>
                        <a:lnTo>
                          <a:pt x="25533" y="38304"/>
                        </a:lnTo>
                        <a:lnTo>
                          <a:pt x="25533" y="37073"/>
                        </a:lnTo>
                        <a:lnTo>
                          <a:pt x="24466" y="35060"/>
                        </a:lnTo>
                        <a:lnTo>
                          <a:pt x="23667" y="33104"/>
                        </a:lnTo>
                        <a:lnTo>
                          <a:pt x="23871" y="30561"/>
                        </a:lnTo>
                        <a:lnTo>
                          <a:pt x="27253" y="30350"/>
                        </a:lnTo>
                        <a:lnTo>
                          <a:pt x="28418" y="30113"/>
                        </a:lnTo>
                        <a:lnTo>
                          <a:pt x="32794" y="29967"/>
                        </a:lnTo>
                        <a:lnTo>
                          <a:pt x="34775" y="28606"/>
                        </a:lnTo>
                        <a:lnTo>
                          <a:pt x="36160" y="28728"/>
                        </a:lnTo>
                        <a:lnTo>
                          <a:pt x="39045" y="29910"/>
                        </a:lnTo>
                        <a:lnTo>
                          <a:pt x="40325" y="28980"/>
                        </a:lnTo>
                        <a:lnTo>
                          <a:pt x="44090" y="27130"/>
                        </a:lnTo>
                        <a:lnTo>
                          <a:pt x="47823" y="21768"/>
                        </a:lnTo>
                        <a:lnTo>
                          <a:pt x="49396" y="20969"/>
                        </a:lnTo>
                        <a:lnTo>
                          <a:pt x="53006" y="20643"/>
                        </a:lnTo>
                        <a:lnTo>
                          <a:pt x="54131" y="20024"/>
                        </a:lnTo>
                        <a:lnTo>
                          <a:pt x="55451" y="20146"/>
                        </a:lnTo>
                        <a:lnTo>
                          <a:pt x="59509" y="21230"/>
                        </a:lnTo>
                        <a:lnTo>
                          <a:pt x="61807" y="21393"/>
                        </a:lnTo>
                        <a:lnTo>
                          <a:pt x="64538" y="20651"/>
                        </a:lnTo>
                        <a:lnTo>
                          <a:pt x="67537" y="19347"/>
                        </a:lnTo>
                        <a:lnTo>
                          <a:pt x="68303" y="14759"/>
                        </a:lnTo>
                        <a:lnTo>
                          <a:pt x="69012" y="14099"/>
                        </a:lnTo>
                        <a:lnTo>
                          <a:pt x="70878" y="13912"/>
                        </a:lnTo>
                        <a:lnTo>
                          <a:pt x="72288" y="13944"/>
                        </a:lnTo>
                        <a:lnTo>
                          <a:pt x="75002" y="14311"/>
                        </a:lnTo>
                        <a:lnTo>
                          <a:pt x="78238" y="14433"/>
                        </a:lnTo>
                        <a:lnTo>
                          <a:pt x="80308" y="12282"/>
                        </a:lnTo>
                        <a:lnTo>
                          <a:pt x="83600" y="12119"/>
                        </a:lnTo>
                        <a:lnTo>
                          <a:pt x="85116" y="11817"/>
                        </a:lnTo>
                        <a:lnTo>
                          <a:pt x="87667" y="12249"/>
                        </a:lnTo>
                        <a:lnTo>
                          <a:pt x="90120" y="12225"/>
                        </a:lnTo>
                        <a:lnTo>
                          <a:pt x="93274" y="11328"/>
                        </a:lnTo>
                        <a:lnTo>
                          <a:pt x="96208" y="9861"/>
                        </a:lnTo>
                        <a:lnTo>
                          <a:pt x="98514" y="9983"/>
                        </a:lnTo>
                        <a:lnTo>
                          <a:pt x="99443" y="9714"/>
                        </a:lnTo>
                        <a:lnTo>
                          <a:pt x="99981" y="9405"/>
                        </a:lnTo>
                        <a:lnTo>
                          <a:pt x="100568" y="7416"/>
                        </a:lnTo>
                        <a:lnTo>
                          <a:pt x="104887" y="7294"/>
                        </a:lnTo>
                        <a:lnTo>
                          <a:pt x="106354" y="7490"/>
                        </a:lnTo>
                        <a:lnTo>
                          <a:pt x="108758" y="7547"/>
                        </a:lnTo>
                        <a:lnTo>
                          <a:pt x="111268" y="6463"/>
                        </a:lnTo>
                        <a:lnTo>
                          <a:pt x="112018" y="6552"/>
                        </a:lnTo>
                        <a:lnTo>
                          <a:pt x="113289" y="9462"/>
                        </a:lnTo>
                        <a:lnTo>
                          <a:pt x="113950" y="10309"/>
                        </a:lnTo>
                        <a:lnTo>
                          <a:pt x="115310" y="11084"/>
                        </a:lnTo>
                        <a:lnTo>
                          <a:pt x="118351" y="13268"/>
                        </a:lnTo>
                        <a:lnTo>
                          <a:pt x="118913" y="12705"/>
                        </a:lnTo>
                        <a:lnTo>
                          <a:pt x="120176" y="11964"/>
                        </a:lnTo>
                        <a:lnTo>
                          <a:pt x="123811" y="12966"/>
                        </a:lnTo>
                        <a:lnTo>
                          <a:pt x="127283" y="14645"/>
                        </a:lnTo>
                        <a:lnTo>
                          <a:pt x="130200" y="17123"/>
                        </a:lnTo>
                        <a:lnTo>
                          <a:pt x="133452" y="16405"/>
                        </a:lnTo>
                        <a:lnTo>
                          <a:pt x="137046" y="15199"/>
                        </a:lnTo>
                        <a:lnTo>
                          <a:pt x="139385" y="14849"/>
                        </a:lnTo>
                        <a:lnTo>
                          <a:pt x="141936" y="14678"/>
                        </a:lnTo>
                        <a:lnTo>
                          <a:pt x="143436" y="14148"/>
                        </a:lnTo>
                        <a:lnTo>
                          <a:pt x="146866" y="14784"/>
                        </a:lnTo>
                        <a:lnTo>
                          <a:pt x="150420" y="13455"/>
                        </a:lnTo>
                        <a:lnTo>
                          <a:pt x="152139" y="12257"/>
                        </a:lnTo>
                        <a:lnTo>
                          <a:pt x="152620" y="10570"/>
                        </a:lnTo>
                        <a:lnTo>
                          <a:pt x="152335" y="7612"/>
                        </a:lnTo>
                        <a:lnTo>
                          <a:pt x="151545" y="4645"/>
                        </a:lnTo>
                        <a:lnTo>
                          <a:pt x="150688" y="3545"/>
                        </a:lnTo>
                        <a:lnTo>
                          <a:pt x="150411" y="2412"/>
                        </a:lnTo>
                        <a:lnTo>
                          <a:pt x="150892" y="1361"/>
                        </a:lnTo>
                        <a:lnTo>
                          <a:pt x="151439" y="619"/>
                        </a:lnTo>
                        <a:lnTo>
                          <a:pt x="153745" y="0"/>
                        </a:lnTo>
                        <a:lnTo>
                          <a:pt x="156728" y="929"/>
                        </a:lnTo>
                        <a:lnTo>
                          <a:pt x="158969" y="1622"/>
                        </a:lnTo>
                        <a:lnTo>
                          <a:pt x="160248" y="2746"/>
                        </a:lnTo>
                        <a:lnTo>
                          <a:pt x="161055" y="3781"/>
                        </a:lnTo>
                        <a:lnTo>
                          <a:pt x="162286" y="4678"/>
                        </a:lnTo>
                        <a:lnTo>
                          <a:pt x="163190" y="4882"/>
                        </a:lnTo>
                        <a:lnTo>
                          <a:pt x="163891" y="7930"/>
                        </a:lnTo>
                        <a:lnTo>
                          <a:pt x="164274" y="11711"/>
                        </a:lnTo>
                        <a:lnTo>
                          <a:pt x="163712" y="13341"/>
                        </a:lnTo>
                        <a:close/>
                      </a:path>
                    </a:pathLst>
                  </a:custGeom>
                  <a:solidFill>
                    <a:srgbClr val="D6D6D2"/>
                  </a:solidFill>
                  <a:ln w="6112" cap="rnd">
                    <a:solidFill>
                      <a:srgbClr val="FFFFFF"/>
                    </a:solidFill>
                    <a:prstDash val="solid"/>
                    <a:round/>
                  </a:ln>
                </p:spPr>
                <p:txBody>
                  <a:bodyPr rtlCol="0" anchor="ctr"/>
                  <a:lstStyle/>
                  <a:p>
                    <a:endParaRPr lang="en-US"/>
                  </a:p>
                </p:txBody>
              </p:sp>
            </p:grpSp>
            <p:sp>
              <p:nvSpPr>
                <p:cNvPr id="722" name="Freeform: Shape 721">
                  <a:extLst>
                    <a:ext uri="{FF2B5EF4-FFF2-40B4-BE49-F238E27FC236}">
                      <a16:creationId xmlns:a16="http://schemas.microsoft.com/office/drawing/2014/main" id="{DAB8A395-9B52-4A77-9118-40FBC680E264}"/>
                    </a:ext>
                  </a:extLst>
                </p:cNvPr>
                <p:cNvSpPr/>
                <p:nvPr/>
              </p:nvSpPr>
              <p:spPr>
                <a:xfrm>
                  <a:off x="6176421" y="4455525"/>
                  <a:ext cx="48352" cy="40243"/>
                </a:xfrm>
                <a:custGeom>
                  <a:avLst/>
                  <a:gdLst>
                    <a:gd name="connsiteX0" fmla="*/ 48336 w 48352"/>
                    <a:gd name="connsiteY0" fmla="*/ 35427 h 40243"/>
                    <a:gd name="connsiteX1" fmla="*/ 48353 w 48352"/>
                    <a:gd name="connsiteY1" fmla="*/ 39054 h 40243"/>
                    <a:gd name="connsiteX2" fmla="*/ 43275 w 48352"/>
                    <a:gd name="connsiteY2" fmla="*/ 39029 h 40243"/>
                    <a:gd name="connsiteX3" fmla="*/ 36536 w 48352"/>
                    <a:gd name="connsiteY3" fmla="*/ 39005 h 40243"/>
                    <a:gd name="connsiteX4" fmla="*/ 29804 w 48352"/>
                    <a:gd name="connsiteY4" fmla="*/ 38980 h 40243"/>
                    <a:gd name="connsiteX5" fmla="*/ 23064 w 48352"/>
                    <a:gd name="connsiteY5" fmla="*/ 38956 h 40243"/>
                    <a:gd name="connsiteX6" fmla="*/ 19673 w 48352"/>
                    <a:gd name="connsiteY6" fmla="*/ 38948 h 40243"/>
                    <a:gd name="connsiteX7" fmla="*/ 15941 w 48352"/>
                    <a:gd name="connsiteY7" fmla="*/ 38940 h 40243"/>
                    <a:gd name="connsiteX8" fmla="*/ 14743 w 48352"/>
                    <a:gd name="connsiteY8" fmla="*/ 39119 h 40243"/>
                    <a:gd name="connsiteX9" fmla="*/ 13912 w 48352"/>
                    <a:gd name="connsiteY9" fmla="*/ 40032 h 40243"/>
                    <a:gd name="connsiteX10" fmla="*/ 12925 w 48352"/>
                    <a:gd name="connsiteY10" fmla="*/ 40244 h 40243"/>
                    <a:gd name="connsiteX11" fmla="*/ 11776 w 48352"/>
                    <a:gd name="connsiteY11" fmla="*/ 39469 h 40243"/>
                    <a:gd name="connsiteX12" fmla="*/ 10367 w 48352"/>
                    <a:gd name="connsiteY12" fmla="*/ 39086 h 40243"/>
                    <a:gd name="connsiteX13" fmla="*/ 9992 w 48352"/>
                    <a:gd name="connsiteY13" fmla="*/ 38279 h 40243"/>
                    <a:gd name="connsiteX14" fmla="*/ 9299 w 48352"/>
                    <a:gd name="connsiteY14" fmla="*/ 36812 h 40243"/>
                    <a:gd name="connsiteX15" fmla="*/ 7905 w 48352"/>
                    <a:gd name="connsiteY15" fmla="*/ 36658 h 40243"/>
                    <a:gd name="connsiteX16" fmla="*/ 7205 w 48352"/>
                    <a:gd name="connsiteY16" fmla="*/ 36812 h 40243"/>
                    <a:gd name="connsiteX17" fmla="*/ 6210 w 48352"/>
                    <a:gd name="connsiteY17" fmla="*/ 37660 h 40243"/>
                    <a:gd name="connsiteX18" fmla="*/ 5078 w 48352"/>
                    <a:gd name="connsiteY18" fmla="*/ 38100 h 40243"/>
                    <a:gd name="connsiteX19" fmla="*/ 5290 w 48352"/>
                    <a:gd name="connsiteY19" fmla="*/ 37424 h 40243"/>
                    <a:gd name="connsiteX20" fmla="*/ 3065 w 48352"/>
                    <a:gd name="connsiteY20" fmla="*/ 35614 h 40243"/>
                    <a:gd name="connsiteX21" fmla="*/ 1475 w 48352"/>
                    <a:gd name="connsiteY21" fmla="*/ 35443 h 40243"/>
                    <a:gd name="connsiteX22" fmla="*/ 0 w 48352"/>
                    <a:gd name="connsiteY22" fmla="*/ 34889 h 40243"/>
                    <a:gd name="connsiteX23" fmla="*/ 1190 w 48352"/>
                    <a:gd name="connsiteY23" fmla="*/ 30187 h 40243"/>
                    <a:gd name="connsiteX24" fmla="*/ 2690 w 48352"/>
                    <a:gd name="connsiteY24" fmla="*/ 26030 h 40243"/>
                    <a:gd name="connsiteX25" fmla="*/ 4915 w 48352"/>
                    <a:gd name="connsiteY25" fmla="*/ 22885 h 40243"/>
                    <a:gd name="connsiteX26" fmla="*/ 6104 w 48352"/>
                    <a:gd name="connsiteY26" fmla="*/ 22126 h 40243"/>
                    <a:gd name="connsiteX27" fmla="*/ 6495 w 48352"/>
                    <a:gd name="connsiteY27" fmla="*/ 20570 h 40243"/>
                    <a:gd name="connsiteX28" fmla="*/ 8264 w 48352"/>
                    <a:gd name="connsiteY28" fmla="*/ 15452 h 40243"/>
                    <a:gd name="connsiteX29" fmla="*/ 10456 w 48352"/>
                    <a:gd name="connsiteY29" fmla="*/ 11296 h 40243"/>
                    <a:gd name="connsiteX30" fmla="*/ 9772 w 48352"/>
                    <a:gd name="connsiteY30" fmla="*/ 7082 h 40243"/>
                    <a:gd name="connsiteX31" fmla="*/ 10293 w 48352"/>
                    <a:gd name="connsiteY31" fmla="*/ 0 h 40243"/>
                    <a:gd name="connsiteX32" fmla="*/ 10929 w 48352"/>
                    <a:gd name="connsiteY32" fmla="*/ 204 h 40243"/>
                    <a:gd name="connsiteX33" fmla="*/ 11027 w 48352"/>
                    <a:gd name="connsiteY33" fmla="*/ 872 h 40243"/>
                    <a:gd name="connsiteX34" fmla="*/ 11190 w 48352"/>
                    <a:gd name="connsiteY34" fmla="*/ 1866 h 40243"/>
                    <a:gd name="connsiteX35" fmla="*/ 12013 w 48352"/>
                    <a:gd name="connsiteY35" fmla="*/ 2738 h 40243"/>
                    <a:gd name="connsiteX36" fmla="*/ 14751 w 48352"/>
                    <a:gd name="connsiteY36" fmla="*/ 4099 h 40243"/>
                    <a:gd name="connsiteX37" fmla="*/ 22860 w 48352"/>
                    <a:gd name="connsiteY37" fmla="*/ 4099 h 40243"/>
                    <a:gd name="connsiteX38" fmla="*/ 27701 w 48352"/>
                    <a:gd name="connsiteY38" fmla="*/ 4099 h 40243"/>
                    <a:gd name="connsiteX39" fmla="*/ 34857 w 48352"/>
                    <a:gd name="connsiteY39" fmla="*/ 4099 h 40243"/>
                    <a:gd name="connsiteX40" fmla="*/ 42436 w 48352"/>
                    <a:gd name="connsiteY40" fmla="*/ 4099 h 40243"/>
                    <a:gd name="connsiteX41" fmla="*/ 48190 w 48352"/>
                    <a:gd name="connsiteY41" fmla="*/ 4099 h 40243"/>
                    <a:gd name="connsiteX42" fmla="*/ 48230 w 48352"/>
                    <a:gd name="connsiteY42" fmla="*/ 11043 h 40243"/>
                    <a:gd name="connsiteX43" fmla="*/ 48263 w 48352"/>
                    <a:gd name="connsiteY43" fmla="*/ 16894 h 40243"/>
                    <a:gd name="connsiteX44" fmla="*/ 48296 w 48352"/>
                    <a:gd name="connsiteY44" fmla="*/ 23235 h 40243"/>
                    <a:gd name="connsiteX45" fmla="*/ 48328 w 48352"/>
                    <a:gd name="connsiteY45" fmla="*/ 29852 h 40243"/>
                    <a:gd name="connsiteX46" fmla="*/ 48336 w 48352"/>
                    <a:gd name="connsiteY46" fmla="*/ 35427 h 40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8352" h="40243">
                      <a:moveTo>
                        <a:pt x="48336" y="35427"/>
                      </a:moveTo>
                      <a:lnTo>
                        <a:pt x="48353" y="39054"/>
                      </a:lnTo>
                      <a:lnTo>
                        <a:pt x="43275" y="39029"/>
                      </a:lnTo>
                      <a:lnTo>
                        <a:pt x="36536" y="39005"/>
                      </a:lnTo>
                      <a:lnTo>
                        <a:pt x="29804" y="38980"/>
                      </a:lnTo>
                      <a:lnTo>
                        <a:pt x="23064" y="38956"/>
                      </a:lnTo>
                      <a:lnTo>
                        <a:pt x="19673" y="38948"/>
                      </a:lnTo>
                      <a:lnTo>
                        <a:pt x="15941" y="38940"/>
                      </a:lnTo>
                      <a:lnTo>
                        <a:pt x="14743" y="39119"/>
                      </a:lnTo>
                      <a:lnTo>
                        <a:pt x="13912" y="40032"/>
                      </a:lnTo>
                      <a:lnTo>
                        <a:pt x="12925" y="40244"/>
                      </a:lnTo>
                      <a:lnTo>
                        <a:pt x="11776" y="39469"/>
                      </a:lnTo>
                      <a:lnTo>
                        <a:pt x="10367" y="39086"/>
                      </a:lnTo>
                      <a:lnTo>
                        <a:pt x="9992" y="38279"/>
                      </a:lnTo>
                      <a:lnTo>
                        <a:pt x="9299" y="36812"/>
                      </a:lnTo>
                      <a:lnTo>
                        <a:pt x="7905" y="36658"/>
                      </a:lnTo>
                      <a:lnTo>
                        <a:pt x="7205" y="36812"/>
                      </a:lnTo>
                      <a:lnTo>
                        <a:pt x="6210" y="37660"/>
                      </a:lnTo>
                      <a:lnTo>
                        <a:pt x="5078" y="38100"/>
                      </a:lnTo>
                      <a:lnTo>
                        <a:pt x="5290" y="37424"/>
                      </a:lnTo>
                      <a:lnTo>
                        <a:pt x="3065" y="35614"/>
                      </a:lnTo>
                      <a:lnTo>
                        <a:pt x="1475" y="35443"/>
                      </a:lnTo>
                      <a:lnTo>
                        <a:pt x="0" y="34889"/>
                      </a:lnTo>
                      <a:lnTo>
                        <a:pt x="1190" y="30187"/>
                      </a:lnTo>
                      <a:lnTo>
                        <a:pt x="2690" y="26030"/>
                      </a:lnTo>
                      <a:lnTo>
                        <a:pt x="4915" y="22885"/>
                      </a:lnTo>
                      <a:lnTo>
                        <a:pt x="6104" y="22126"/>
                      </a:lnTo>
                      <a:lnTo>
                        <a:pt x="6495" y="20570"/>
                      </a:lnTo>
                      <a:lnTo>
                        <a:pt x="8264" y="15452"/>
                      </a:lnTo>
                      <a:lnTo>
                        <a:pt x="10456" y="11296"/>
                      </a:lnTo>
                      <a:lnTo>
                        <a:pt x="9772" y="7082"/>
                      </a:lnTo>
                      <a:lnTo>
                        <a:pt x="10293" y="0"/>
                      </a:lnTo>
                      <a:lnTo>
                        <a:pt x="10929" y="204"/>
                      </a:lnTo>
                      <a:lnTo>
                        <a:pt x="11027" y="872"/>
                      </a:lnTo>
                      <a:lnTo>
                        <a:pt x="11190" y="1866"/>
                      </a:lnTo>
                      <a:lnTo>
                        <a:pt x="12013" y="2738"/>
                      </a:lnTo>
                      <a:lnTo>
                        <a:pt x="14751" y="4099"/>
                      </a:lnTo>
                      <a:lnTo>
                        <a:pt x="22860" y="4099"/>
                      </a:lnTo>
                      <a:lnTo>
                        <a:pt x="27701" y="4099"/>
                      </a:lnTo>
                      <a:lnTo>
                        <a:pt x="34857" y="4099"/>
                      </a:lnTo>
                      <a:lnTo>
                        <a:pt x="42436" y="4099"/>
                      </a:lnTo>
                      <a:lnTo>
                        <a:pt x="48190" y="4099"/>
                      </a:lnTo>
                      <a:lnTo>
                        <a:pt x="48230" y="11043"/>
                      </a:lnTo>
                      <a:lnTo>
                        <a:pt x="48263" y="16894"/>
                      </a:lnTo>
                      <a:lnTo>
                        <a:pt x="48296" y="23235"/>
                      </a:lnTo>
                      <a:lnTo>
                        <a:pt x="48328" y="29852"/>
                      </a:lnTo>
                      <a:lnTo>
                        <a:pt x="48336" y="35427"/>
                      </a:lnTo>
                      <a:close/>
                    </a:path>
                  </a:pathLst>
                </a:custGeom>
                <a:solidFill>
                  <a:srgbClr val="D6D6D2"/>
                </a:solidFill>
                <a:ln w="6112" cap="rnd">
                  <a:solidFill>
                    <a:srgbClr val="FFFFFF"/>
                  </a:solidFill>
                  <a:prstDash val="solid"/>
                  <a:round/>
                </a:ln>
              </p:spPr>
              <p:txBody>
                <a:bodyPr rtlCol="0" anchor="ctr"/>
                <a:lstStyle/>
                <a:p>
                  <a:endParaRPr lang="en-US"/>
                </a:p>
              </p:txBody>
            </p:sp>
            <p:sp>
              <p:nvSpPr>
                <p:cNvPr id="723" name="Freeform: Shape 722">
                  <a:extLst>
                    <a:ext uri="{FF2B5EF4-FFF2-40B4-BE49-F238E27FC236}">
                      <a16:creationId xmlns:a16="http://schemas.microsoft.com/office/drawing/2014/main" id="{946DE249-01FE-40C5-8E17-90E09D4E3795}"/>
                    </a:ext>
                  </a:extLst>
                </p:cNvPr>
                <p:cNvSpPr/>
                <p:nvPr/>
              </p:nvSpPr>
              <p:spPr>
                <a:xfrm>
                  <a:off x="5529137" y="4143350"/>
                  <a:ext cx="75360" cy="52614"/>
                </a:xfrm>
                <a:custGeom>
                  <a:avLst/>
                  <a:gdLst>
                    <a:gd name="connsiteX0" fmla="*/ 75361 w 75360"/>
                    <a:gd name="connsiteY0" fmla="*/ 6080 h 52614"/>
                    <a:gd name="connsiteX1" fmla="*/ 75141 w 75360"/>
                    <a:gd name="connsiteY1" fmla="*/ 8655 h 52614"/>
                    <a:gd name="connsiteX2" fmla="*/ 74505 w 75360"/>
                    <a:gd name="connsiteY2" fmla="*/ 11100 h 52614"/>
                    <a:gd name="connsiteX3" fmla="*/ 73959 w 75360"/>
                    <a:gd name="connsiteY3" fmla="*/ 12062 h 52614"/>
                    <a:gd name="connsiteX4" fmla="*/ 73225 w 75360"/>
                    <a:gd name="connsiteY4" fmla="*/ 12624 h 52614"/>
                    <a:gd name="connsiteX5" fmla="*/ 71009 w 75360"/>
                    <a:gd name="connsiteY5" fmla="*/ 12599 h 52614"/>
                    <a:gd name="connsiteX6" fmla="*/ 70063 w 75360"/>
                    <a:gd name="connsiteY6" fmla="*/ 13088 h 52614"/>
                    <a:gd name="connsiteX7" fmla="*/ 68580 w 75360"/>
                    <a:gd name="connsiteY7" fmla="*/ 14042 h 52614"/>
                    <a:gd name="connsiteX8" fmla="*/ 68547 w 75360"/>
                    <a:gd name="connsiteY8" fmla="*/ 15167 h 52614"/>
                    <a:gd name="connsiteX9" fmla="*/ 69729 w 75360"/>
                    <a:gd name="connsiteY9" fmla="*/ 16234 h 52614"/>
                    <a:gd name="connsiteX10" fmla="*/ 70699 w 75360"/>
                    <a:gd name="connsiteY10" fmla="*/ 17734 h 52614"/>
                    <a:gd name="connsiteX11" fmla="*/ 71832 w 75360"/>
                    <a:gd name="connsiteY11" fmla="*/ 18907 h 52614"/>
                    <a:gd name="connsiteX12" fmla="*/ 73771 w 75360"/>
                    <a:gd name="connsiteY12" fmla="*/ 20268 h 52614"/>
                    <a:gd name="connsiteX13" fmla="*/ 73951 w 75360"/>
                    <a:gd name="connsiteY13" fmla="*/ 21776 h 52614"/>
                    <a:gd name="connsiteX14" fmla="*/ 74008 w 75360"/>
                    <a:gd name="connsiteY14" fmla="*/ 25582 h 52614"/>
                    <a:gd name="connsiteX15" fmla="*/ 73902 w 75360"/>
                    <a:gd name="connsiteY15" fmla="*/ 28548 h 52614"/>
                    <a:gd name="connsiteX16" fmla="*/ 68433 w 75360"/>
                    <a:gd name="connsiteY16" fmla="*/ 30716 h 52614"/>
                    <a:gd name="connsiteX17" fmla="*/ 64236 w 75360"/>
                    <a:gd name="connsiteY17" fmla="*/ 31091 h 52614"/>
                    <a:gd name="connsiteX18" fmla="*/ 60683 w 75360"/>
                    <a:gd name="connsiteY18" fmla="*/ 30855 h 52614"/>
                    <a:gd name="connsiteX19" fmla="*/ 59135 w 75360"/>
                    <a:gd name="connsiteY19" fmla="*/ 31760 h 52614"/>
                    <a:gd name="connsiteX20" fmla="*/ 56046 w 75360"/>
                    <a:gd name="connsiteY20" fmla="*/ 33984 h 52614"/>
                    <a:gd name="connsiteX21" fmla="*/ 52264 w 75360"/>
                    <a:gd name="connsiteY21" fmla="*/ 35337 h 52614"/>
                    <a:gd name="connsiteX22" fmla="*/ 50325 w 75360"/>
                    <a:gd name="connsiteY22" fmla="*/ 35435 h 52614"/>
                    <a:gd name="connsiteX23" fmla="*/ 49404 w 75360"/>
                    <a:gd name="connsiteY23" fmla="*/ 36242 h 52614"/>
                    <a:gd name="connsiteX24" fmla="*/ 47937 w 75360"/>
                    <a:gd name="connsiteY24" fmla="*/ 38556 h 52614"/>
                    <a:gd name="connsiteX25" fmla="*/ 43846 w 75360"/>
                    <a:gd name="connsiteY25" fmla="*/ 48630 h 52614"/>
                    <a:gd name="connsiteX26" fmla="*/ 42493 w 75360"/>
                    <a:gd name="connsiteY26" fmla="*/ 51042 h 52614"/>
                    <a:gd name="connsiteX27" fmla="*/ 41401 w 75360"/>
                    <a:gd name="connsiteY27" fmla="*/ 52615 h 52614"/>
                    <a:gd name="connsiteX28" fmla="*/ 40137 w 75360"/>
                    <a:gd name="connsiteY28" fmla="*/ 50479 h 52614"/>
                    <a:gd name="connsiteX29" fmla="*/ 41107 w 75360"/>
                    <a:gd name="connsiteY29" fmla="*/ 46527 h 52614"/>
                    <a:gd name="connsiteX30" fmla="*/ 40056 w 75360"/>
                    <a:gd name="connsiteY30" fmla="*/ 46584 h 52614"/>
                    <a:gd name="connsiteX31" fmla="*/ 37970 w 75360"/>
                    <a:gd name="connsiteY31" fmla="*/ 49787 h 52614"/>
                    <a:gd name="connsiteX32" fmla="*/ 36951 w 75360"/>
                    <a:gd name="connsiteY32" fmla="*/ 49885 h 52614"/>
                    <a:gd name="connsiteX33" fmla="*/ 37089 w 75360"/>
                    <a:gd name="connsiteY33" fmla="*/ 46103 h 52614"/>
                    <a:gd name="connsiteX34" fmla="*/ 35924 w 75360"/>
                    <a:gd name="connsiteY34" fmla="*/ 45965 h 52614"/>
                    <a:gd name="connsiteX35" fmla="*/ 34579 w 75360"/>
                    <a:gd name="connsiteY35" fmla="*/ 46225 h 52614"/>
                    <a:gd name="connsiteX36" fmla="*/ 32713 w 75360"/>
                    <a:gd name="connsiteY36" fmla="*/ 44253 h 52614"/>
                    <a:gd name="connsiteX37" fmla="*/ 32526 w 75360"/>
                    <a:gd name="connsiteY37" fmla="*/ 42770 h 52614"/>
                    <a:gd name="connsiteX38" fmla="*/ 32681 w 75360"/>
                    <a:gd name="connsiteY38" fmla="*/ 40708 h 52614"/>
                    <a:gd name="connsiteX39" fmla="*/ 33821 w 75360"/>
                    <a:gd name="connsiteY39" fmla="*/ 39388 h 52614"/>
                    <a:gd name="connsiteX40" fmla="*/ 33667 w 75360"/>
                    <a:gd name="connsiteY40" fmla="*/ 38842 h 52614"/>
                    <a:gd name="connsiteX41" fmla="*/ 32558 w 75360"/>
                    <a:gd name="connsiteY41" fmla="*/ 38687 h 52614"/>
                    <a:gd name="connsiteX42" fmla="*/ 31328 w 75360"/>
                    <a:gd name="connsiteY42" fmla="*/ 39037 h 52614"/>
                    <a:gd name="connsiteX43" fmla="*/ 30570 w 75360"/>
                    <a:gd name="connsiteY43" fmla="*/ 38418 h 52614"/>
                    <a:gd name="connsiteX44" fmla="*/ 31816 w 75360"/>
                    <a:gd name="connsiteY44" fmla="*/ 35737 h 52614"/>
                    <a:gd name="connsiteX45" fmla="*/ 36193 w 75360"/>
                    <a:gd name="connsiteY45" fmla="*/ 33487 h 52614"/>
                    <a:gd name="connsiteX46" fmla="*/ 38393 w 75360"/>
                    <a:gd name="connsiteY46" fmla="*/ 33251 h 52614"/>
                    <a:gd name="connsiteX47" fmla="*/ 40659 w 75360"/>
                    <a:gd name="connsiteY47" fmla="*/ 32746 h 52614"/>
                    <a:gd name="connsiteX48" fmla="*/ 39429 w 75360"/>
                    <a:gd name="connsiteY48" fmla="*/ 30814 h 52614"/>
                    <a:gd name="connsiteX49" fmla="*/ 36747 w 75360"/>
                    <a:gd name="connsiteY49" fmla="*/ 30056 h 52614"/>
                    <a:gd name="connsiteX50" fmla="*/ 34604 w 75360"/>
                    <a:gd name="connsiteY50" fmla="*/ 30586 h 52614"/>
                    <a:gd name="connsiteX51" fmla="*/ 33544 w 75360"/>
                    <a:gd name="connsiteY51" fmla="*/ 31988 h 52614"/>
                    <a:gd name="connsiteX52" fmla="*/ 32216 w 75360"/>
                    <a:gd name="connsiteY52" fmla="*/ 32224 h 52614"/>
                    <a:gd name="connsiteX53" fmla="*/ 30007 w 75360"/>
                    <a:gd name="connsiteY53" fmla="*/ 28931 h 52614"/>
                    <a:gd name="connsiteX54" fmla="*/ 30048 w 75360"/>
                    <a:gd name="connsiteY54" fmla="*/ 27277 h 52614"/>
                    <a:gd name="connsiteX55" fmla="*/ 30863 w 75360"/>
                    <a:gd name="connsiteY55" fmla="*/ 25329 h 52614"/>
                    <a:gd name="connsiteX56" fmla="*/ 32143 w 75360"/>
                    <a:gd name="connsiteY56" fmla="*/ 24457 h 52614"/>
                    <a:gd name="connsiteX57" fmla="*/ 37228 w 75360"/>
                    <a:gd name="connsiteY57" fmla="*/ 24482 h 52614"/>
                    <a:gd name="connsiteX58" fmla="*/ 39159 w 75360"/>
                    <a:gd name="connsiteY58" fmla="*/ 23390 h 52614"/>
                    <a:gd name="connsiteX59" fmla="*/ 39934 w 75360"/>
                    <a:gd name="connsiteY59" fmla="*/ 23186 h 52614"/>
                    <a:gd name="connsiteX60" fmla="*/ 40667 w 75360"/>
                    <a:gd name="connsiteY60" fmla="*/ 22184 h 52614"/>
                    <a:gd name="connsiteX61" fmla="*/ 40512 w 75360"/>
                    <a:gd name="connsiteY61" fmla="*/ 21515 h 52614"/>
                    <a:gd name="connsiteX62" fmla="*/ 39689 w 75360"/>
                    <a:gd name="connsiteY62" fmla="*/ 21483 h 52614"/>
                    <a:gd name="connsiteX63" fmla="*/ 37790 w 75360"/>
                    <a:gd name="connsiteY63" fmla="*/ 22779 h 52614"/>
                    <a:gd name="connsiteX64" fmla="*/ 31670 w 75360"/>
                    <a:gd name="connsiteY64" fmla="*/ 22289 h 52614"/>
                    <a:gd name="connsiteX65" fmla="*/ 29722 w 75360"/>
                    <a:gd name="connsiteY65" fmla="*/ 23080 h 52614"/>
                    <a:gd name="connsiteX66" fmla="*/ 26324 w 75360"/>
                    <a:gd name="connsiteY66" fmla="*/ 26087 h 52614"/>
                    <a:gd name="connsiteX67" fmla="*/ 22143 w 75360"/>
                    <a:gd name="connsiteY67" fmla="*/ 27750 h 52614"/>
                    <a:gd name="connsiteX68" fmla="*/ 19103 w 75360"/>
                    <a:gd name="connsiteY68" fmla="*/ 27049 h 52614"/>
                    <a:gd name="connsiteX69" fmla="*/ 20073 w 75360"/>
                    <a:gd name="connsiteY69" fmla="*/ 23023 h 52614"/>
                    <a:gd name="connsiteX70" fmla="*/ 19641 w 75360"/>
                    <a:gd name="connsiteY70" fmla="*/ 22477 h 52614"/>
                    <a:gd name="connsiteX71" fmla="*/ 18679 w 75360"/>
                    <a:gd name="connsiteY71" fmla="*/ 21817 h 52614"/>
                    <a:gd name="connsiteX72" fmla="*/ 14229 w 75360"/>
                    <a:gd name="connsiteY72" fmla="*/ 23096 h 52614"/>
                    <a:gd name="connsiteX73" fmla="*/ 10864 w 75360"/>
                    <a:gd name="connsiteY73" fmla="*/ 21255 h 52614"/>
                    <a:gd name="connsiteX74" fmla="*/ 9527 w 75360"/>
                    <a:gd name="connsiteY74" fmla="*/ 19030 h 52614"/>
                    <a:gd name="connsiteX75" fmla="*/ 9747 w 75360"/>
                    <a:gd name="connsiteY75" fmla="*/ 16243 h 52614"/>
                    <a:gd name="connsiteX76" fmla="*/ 11336 w 75360"/>
                    <a:gd name="connsiteY76" fmla="*/ 14352 h 52614"/>
                    <a:gd name="connsiteX77" fmla="*/ 11589 w 75360"/>
                    <a:gd name="connsiteY77" fmla="*/ 13406 h 52614"/>
                    <a:gd name="connsiteX78" fmla="*/ 9910 w 75360"/>
                    <a:gd name="connsiteY78" fmla="*/ 13227 h 52614"/>
                    <a:gd name="connsiteX79" fmla="*/ 6821 w 75360"/>
                    <a:gd name="connsiteY79" fmla="*/ 14409 h 52614"/>
                    <a:gd name="connsiteX80" fmla="*/ 0 w 75360"/>
                    <a:gd name="connsiteY80" fmla="*/ 9845 h 52614"/>
                    <a:gd name="connsiteX81" fmla="*/ 1361 w 75360"/>
                    <a:gd name="connsiteY81" fmla="*/ 9551 h 52614"/>
                    <a:gd name="connsiteX82" fmla="*/ 4719 w 75360"/>
                    <a:gd name="connsiteY82" fmla="*/ 10032 h 52614"/>
                    <a:gd name="connsiteX83" fmla="*/ 7327 w 75360"/>
                    <a:gd name="connsiteY83" fmla="*/ 9454 h 52614"/>
                    <a:gd name="connsiteX84" fmla="*/ 9168 w 75360"/>
                    <a:gd name="connsiteY84" fmla="*/ 8492 h 52614"/>
                    <a:gd name="connsiteX85" fmla="*/ 11662 w 75360"/>
                    <a:gd name="connsiteY85" fmla="*/ 7164 h 52614"/>
                    <a:gd name="connsiteX86" fmla="*/ 14075 w 75360"/>
                    <a:gd name="connsiteY86" fmla="*/ 6740 h 52614"/>
                    <a:gd name="connsiteX87" fmla="*/ 21629 w 75360"/>
                    <a:gd name="connsiteY87" fmla="*/ 7335 h 52614"/>
                    <a:gd name="connsiteX88" fmla="*/ 28190 w 75360"/>
                    <a:gd name="connsiteY88" fmla="*/ 5745 h 52614"/>
                    <a:gd name="connsiteX89" fmla="*/ 33072 w 75360"/>
                    <a:gd name="connsiteY89" fmla="*/ 2755 h 52614"/>
                    <a:gd name="connsiteX90" fmla="*/ 37587 w 75360"/>
                    <a:gd name="connsiteY90" fmla="*/ 0 h 52614"/>
                    <a:gd name="connsiteX91" fmla="*/ 43430 w 75360"/>
                    <a:gd name="connsiteY91" fmla="*/ 33 h 52614"/>
                    <a:gd name="connsiteX92" fmla="*/ 49689 w 75360"/>
                    <a:gd name="connsiteY92" fmla="*/ 65 h 52614"/>
                    <a:gd name="connsiteX93" fmla="*/ 58588 w 75360"/>
                    <a:gd name="connsiteY93" fmla="*/ 106 h 52614"/>
                    <a:gd name="connsiteX94" fmla="*/ 65638 w 75360"/>
                    <a:gd name="connsiteY94" fmla="*/ 147 h 52614"/>
                    <a:gd name="connsiteX95" fmla="*/ 73967 w 75360"/>
                    <a:gd name="connsiteY95" fmla="*/ 188 h 52614"/>
                    <a:gd name="connsiteX96" fmla="*/ 73877 w 75360"/>
                    <a:gd name="connsiteY96" fmla="*/ 2649 h 52614"/>
                    <a:gd name="connsiteX97" fmla="*/ 75361 w 75360"/>
                    <a:gd name="connsiteY97" fmla="*/ 6080 h 5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75360" h="52614">
                      <a:moveTo>
                        <a:pt x="75361" y="6080"/>
                      </a:moveTo>
                      <a:lnTo>
                        <a:pt x="75141" y="8655"/>
                      </a:lnTo>
                      <a:lnTo>
                        <a:pt x="74505" y="11100"/>
                      </a:lnTo>
                      <a:lnTo>
                        <a:pt x="73959" y="12062"/>
                      </a:lnTo>
                      <a:lnTo>
                        <a:pt x="73225" y="12624"/>
                      </a:lnTo>
                      <a:lnTo>
                        <a:pt x="71009" y="12599"/>
                      </a:lnTo>
                      <a:lnTo>
                        <a:pt x="70063" y="13088"/>
                      </a:lnTo>
                      <a:lnTo>
                        <a:pt x="68580" y="14042"/>
                      </a:lnTo>
                      <a:lnTo>
                        <a:pt x="68547" y="15167"/>
                      </a:lnTo>
                      <a:lnTo>
                        <a:pt x="69729" y="16234"/>
                      </a:lnTo>
                      <a:lnTo>
                        <a:pt x="70699" y="17734"/>
                      </a:lnTo>
                      <a:lnTo>
                        <a:pt x="71832" y="18907"/>
                      </a:lnTo>
                      <a:lnTo>
                        <a:pt x="73771" y="20268"/>
                      </a:lnTo>
                      <a:lnTo>
                        <a:pt x="73951" y="21776"/>
                      </a:lnTo>
                      <a:lnTo>
                        <a:pt x="74008" y="25582"/>
                      </a:lnTo>
                      <a:lnTo>
                        <a:pt x="73902" y="28548"/>
                      </a:lnTo>
                      <a:lnTo>
                        <a:pt x="68433" y="30716"/>
                      </a:lnTo>
                      <a:lnTo>
                        <a:pt x="64236" y="31091"/>
                      </a:lnTo>
                      <a:lnTo>
                        <a:pt x="60683" y="30855"/>
                      </a:lnTo>
                      <a:lnTo>
                        <a:pt x="59135" y="31760"/>
                      </a:lnTo>
                      <a:lnTo>
                        <a:pt x="56046" y="33984"/>
                      </a:lnTo>
                      <a:lnTo>
                        <a:pt x="52264" y="35337"/>
                      </a:lnTo>
                      <a:lnTo>
                        <a:pt x="50325" y="35435"/>
                      </a:lnTo>
                      <a:lnTo>
                        <a:pt x="49404" y="36242"/>
                      </a:lnTo>
                      <a:lnTo>
                        <a:pt x="47937" y="38556"/>
                      </a:lnTo>
                      <a:lnTo>
                        <a:pt x="43846" y="48630"/>
                      </a:lnTo>
                      <a:lnTo>
                        <a:pt x="42493" y="51042"/>
                      </a:lnTo>
                      <a:lnTo>
                        <a:pt x="41401" y="52615"/>
                      </a:lnTo>
                      <a:lnTo>
                        <a:pt x="40137" y="50479"/>
                      </a:lnTo>
                      <a:lnTo>
                        <a:pt x="41107" y="46527"/>
                      </a:lnTo>
                      <a:lnTo>
                        <a:pt x="40056" y="46584"/>
                      </a:lnTo>
                      <a:lnTo>
                        <a:pt x="37970" y="49787"/>
                      </a:lnTo>
                      <a:lnTo>
                        <a:pt x="36951" y="49885"/>
                      </a:lnTo>
                      <a:lnTo>
                        <a:pt x="37089" y="46103"/>
                      </a:lnTo>
                      <a:lnTo>
                        <a:pt x="35924" y="45965"/>
                      </a:lnTo>
                      <a:lnTo>
                        <a:pt x="34579" y="46225"/>
                      </a:lnTo>
                      <a:lnTo>
                        <a:pt x="32713" y="44253"/>
                      </a:lnTo>
                      <a:lnTo>
                        <a:pt x="32526" y="42770"/>
                      </a:lnTo>
                      <a:lnTo>
                        <a:pt x="32681" y="40708"/>
                      </a:lnTo>
                      <a:lnTo>
                        <a:pt x="33821" y="39388"/>
                      </a:lnTo>
                      <a:lnTo>
                        <a:pt x="33667" y="38842"/>
                      </a:lnTo>
                      <a:lnTo>
                        <a:pt x="32558" y="38687"/>
                      </a:lnTo>
                      <a:lnTo>
                        <a:pt x="31328" y="39037"/>
                      </a:lnTo>
                      <a:lnTo>
                        <a:pt x="30570" y="38418"/>
                      </a:lnTo>
                      <a:lnTo>
                        <a:pt x="31816" y="35737"/>
                      </a:lnTo>
                      <a:lnTo>
                        <a:pt x="36193" y="33487"/>
                      </a:lnTo>
                      <a:lnTo>
                        <a:pt x="38393" y="33251"/>
                      </a:lnTo>
                      <a:lnTo>
                        <a:pt x="40659" y="32746"/>
                      </a:lnTo>
                      <a:lnTo>
                        <a:pt x="39429" y="30814"/>
                      </a:lnTo>
                      <a:lnTo>
                        <a:pt x="36747" y="30056"/>
                      </a:lnTo>
                      <a:lnTo>
                        <a:pt x="34604" y="30586"/>
                      </a:lnTo>
                      <a:lnTo>
                        <a:pt x="33544" y="31988"/>
                      </a:lnTo>
                      <a:lnTo>
                        <a:pt x="32216" y="32224"/>
                      </a:lnTo>
                      <a:lnTo>
                        <a:pt x="30007" y="28931"/>
                      </a:lnTo>
                      <a:lnTo>
                        <a:pt x="30048" y="27277"/>
                      </a:lnTo>
                      <a:lnTo>
                        <a:pt x="30863" y="25329"/>
                      </a:lnTo>
                      <a:lnTo>
                        <a:pt x="32143" y="24457"/>
                      </a:lnTo>
                      <a:lnTo>
                        <a:pt x="37228" y="24482"/>
                      </a:lnTo>
                      <a:lnTo>
                        <a:pt x="39159" y="23390"/>
                      </a:lnTo>
                      <a:lnTo>
                        <a:pt x="39934" y="23186"/>
                      </a:lnTo>
                      <a:lnTo>
                        <a:pt x="40667" y="22184"/>
                      </a:lnTo>
                      <a:lnTo>
                        <a:pt x="40512" y="21515"/>
                      </a:lnTo>
                      <a:lnTo>
                        <a:pt x="39689" y="21483"/>
                      </a:lnTo>
                      <a:lnTo>
                        <a:pt x="37790" y="22779"/>
                      </a:lnTo>
                      <a:lnTo>
                        <a:pt x="31670" y="22289"/>
                      </a:lnTo>
                      <a:lnTo>
                        <a:pt x="29722" y="23080"/>
                      </a:lnTo>
                      <a:lnTo>
                        <a:pt x="26324" y="26087"/>
                      </a:lnTo>
                      <a:lnTo>
                        <a:pt x="22143" y="27750"/>
                      </a:lnTo>
                      <a:lnTo>
                        <a:pt x="19103" y="27049"/>
                      </a:lnTo>
                      <a:lnTo>
                        <a:pt x="20073" y="23023"/>
                      </a:lnTo>
                      <a:lnTo>
                        <a:pt x="19641" y="22477"/>
                      </a:lnTo>
                      <a:lnTo>
                        <a:pt x="18679" y="21817"/>
                      </a:lnTo>
                      <a:lnTo>
                        <a:pt x="14229" y="23096"/>
                      </a:lnTo>
                      <a:lnTo>
                        <a:pt x="10864" y="21255"/>
                      </a:lnTo>
                      <a:lnTo>
                        <a:pt x="9527" y="19030"/>
                      </a:lnTo>
                      <a:lnTo>
                        <a:pt x="9747" y="16243"/>
                      </a:lnTo>
                      <a:lnTo>
                        <a:pt x="11336" y="14352"/>
                      </a:lnTo>
                      <a:lnTo>
                        <a:pt x="11589" y="13406"/>
                      </a:lnTo>
                      <a:lnTo>
                        <a:pt x="9910" y="13227"/>
                      </a:lnTo>
                      <a:lnTo>
                        <a:pt x="6821" y="14409"/>
                      </a:lnTo>
                      <a:lnTo>
                        <a:pt x="0" y="9845"/>
                      </a:lnTo>
                      <a:lnTo>
                        <a:pt x="1361" y="9551"/>
                      </a:lnTo>
                      <a:lnTo>
                        <a:pt x="4719" y="10032"/>
                      </a:lnTo>
                      <a:lnTo>
                        <a:pt x="7327" y="9454"/>
                      </a:lnTo>
                      <a:lnTo>
                        <a:pt x="9168" y="8492"/>
                      </a:lnTo>
                      <a:lnTo>
                        <a:pt x="11662" y="7164"/>
                      </a:lnTo>
                      <a:lnTo>
                        <a:pt x="14075" y="6740"/>
                      </a:lnTo>
                      <a:lnTo>
                        <a:pt x="21629" y="7335"/>
                      </a:lnTo>
                      <a:lnTo>
                        <a:pt x="28190" y="5745"/>
                      </a:lnTo>
                      <a:lnTo>
                        <a:pt x="33072" y="2755"/>
                      </a:lnTo>
                      <a:lnTo>
                        <a:pt x="37587" y="0"/>
                      </a:lnTo>
                      <a:lnTo>
                        <a:pt x="43430" y="33"/>
                      </a:lnTo>
                      <a:lnTo>
                        <a:pt x="49689" y="65"/>
                      </a:lnTo>
                      <a:lnTo>
                        <a:pt x="58588" y="106"/>
                      </a:lnTo>
                      <a:lnTo>
                        <a:pt x="65638" y="147"/>
                      </a:lnTo>
                      <a:lnTo>
                        <a:pt x="73967" y="188"/>
                      </a:lnTo>
                      <a:lnTo>
                        <a:pt x="73877" y="2649"/>
                      </a:lnTo>
                      <a:lnTo>
                        <a:pt x="75361" y="6080"/>
                      </a:lnTo>
                      <a:close/>
                    </a:path>
                  </a:pathLst>
                </a:custGeom>
                <a:solidFill>
                  <a:srgbClr val="D6D6D2"/>
                </a:solidFill>
                <a:ln w="8150" cap="flat">
                  <a:noFill/>
                  <a:prstDash val="solid"/>
                  <a:miter/>
                </a:ln>
              </p:spPr>
              <p:txBody>
                <a:bodyPr rtlCol="0" anchor="ctr"/>
                <a:lstStyle/>
                <a:p>
                  <a:endParaRPr lang="en-US"/>
                </a:p>
              </p:txBody>
            </p:sp>
            <p:sp>
              <p:nvSpPr>
                <p:cNvPr id="724" name="Freeform: Shape 723">
                  <a:extLst>
                    <a:ext uri="{FF2B5EF4-FFF2-40B4-BE49-F238E27FC236}">
                      <a16:creationId xmlns:a16="http://schemas.microsoft.com/office/drawing/2014/main" id="{74AF9E6E-F7A0-4B4C-AACC-8187A48E3FC9}"/>
                    </a:ext>
                  </a:extLst>
                </p:cNvPr>
                <p:cNvSpPr/>
                <p:nvPr/>
              </p:nvSpPr>
              <p:spPr>
                <a:xfrm>
                  <a:off x="5526333" y="4108966"/>
                  <a:ext cx="74366" cy="22713"/>
                </a:xfrm>
                <a:custGeom>
                  <a:avLst/>
                  <a:gdLst>
                    <a:gd name="connsiteX0" fmla="*/ 1532 w 74366"/>
                    <a:gd name="connsiteY0" fmla="*/ 22713 h 22713"/>
                    <a:gd name="connsiteX1" fmla="*/ 1377 w 74366"/>
                    <a:gd name="connsiteY1" fmla="*/ 20146 h 22713"/>
                    <a:gd name="connsiteX2" fmla="*/ 0 w 74366"/>
                    <a:gd name="connsiteY2" fmla="*/ 14303 h 22713"/>
                    <a:gd name="connsiteX3" fmla="*/ 1850 w 74366"/>
                    <a:gd name="connsiteY3" fmla="*/ 11744 h 22713"/>
                    <a:gd name="connsiteX4" fmla="*/ 3863 w 74366"/>
                    <a:gd name="connsiteY4" fmla="*/ 10236 h 22713"/>
                    <a:gd name="connsiteX5" fmla="*/ 5208 w 74366"/>
                    <a:gd name="connsiteY5" fmla="*/ 11442 h 22713"/>
                    <a:gd name="connsiteX6" fmla="*/ 5623 w 74366"/>
                    <a:gd name="connsiteY6" fmla="*/ 13830 h 22713"/>
                    <a:gd name="connsiteX7" fmla="*/ 6658 w 74366"/>
                    <a:gd name="connsiteY7" fmla="*/ 15452 h 22713"/>
                    <a:gd name="connsiteX8" fmla="*/ 10212 w 74366"/>
                    <a:gd name="connsiteY8" fmla="*/ 16471 h 22713"/>
                    <a:gd name="connsiteX9" fmla="*/ 13716 w 74366"/>
                    <a:gd name="connsiteY9" fmla="*/ 15745 h 22713"/>
                    <a:gd name="connsiteX10" fmla="*/ 15867 w 74366"/>
                    <a:gd name="connsiteY10" fmla="*/ 16079 h 22713"/>
                    <a:gd name="connsiteX11" fmla="*/ 15802 w 74366"/>
                    <a:gd name="connsiteY11" fmla="*/ 14751 h 22713"/>
                    <a:gd name="connsiteX12" fmla="*/ 16528 w 74366"/>
                    <a:gd name="connsiteY12" fmla="*/ 13007 h 22713"/>
                    <a:gd name="connsiteX13" fmla="*/ 20798 w 74366"/>
                    <a:gd name="connsiteY13" fmla="*/ 12249 h 22713"/>
                    <a:gd name="connsiteX14" fmla="*/ 25313 w 74366"/>
                    <a:gd name="connsiteY14" fmla="*/ 11744 h 22713"/>
                    <a:gd name="connsiteX15" fmla="*/ 29942 w 74366"/>
                    <a:gd name="connsiteY15" fmla="*/ 10692 h 22713"/>
                    <a:gd name="connsiteX16" fmla="*/ 33577 w 74366"/>
                    <a:gd name="connsiteY16" fmla="*/ 10733 h 22713"/>
                    <a:gd name="connsiteX17" fmla="*/ 34661 w 74366"/>
                    <a:gd name="connsiteY17" fmla="*/ 10440 h 22713"/>
                    <a:gd name="connsiteX18" fmla="*/ 34392 w 74366"/>
                    <a:gd name="connsiteY18" fmla="*/ 9991 h 22713"/>
                    <a:gd name="connsiteX19" fmla="*/ 31140 w 74366"/>
                    <a:gd name="connsiteY19" fmla="*/ 9486 h 22713"/>
                    <a:gd name="connsiteX20" fmla="*/ 24180 w 74366"/>
                    <a:gd name="connsiteY20" fmla="*/ 10692 h 22713"/>
                    <a:gd name="connsiteX21" fmla="*/ 17098 w 74366"/>
                    <a:gd name="connsiteY21" fmla="*/ 11051 h 22713"/>
                    <a:gd name="connsiteX22" fmla="*/ 11736 w 74366"/>
                    <a:gd name="connsiteY22" fmla="*/ 14229 h 22713"/>
                    <a:gd name="connsiteX23" fmla="*/ 9535 w 74366"/>
                    <a:gd name="connsiteY23" fmla="*/ 13936 h 22713"/>
                    <a:gd name="connsiteX24" fmla="*/ 7318 w 74366"/>
                    <a:gd name="connsiteY24" fmla="*/ 10758 h 22713"/>
                    <a:gd name="connsiteX25" fmla="*/ 6511 w 74366"/>
                    <a:gd name="connsiteY25" fmla="*/ 6829 h 22713"/>
                    <a:gd name="connsiteX26" fmla="*/ 12803 w 74366"/>
                    <a:gd name="connsiteY26" fmla="*/ 6536 h 22713"/>
                    <a:gd name="connsiteX27" fmla="*/ 20415 w 74366"/>
                    <a:gd name="connsiteY27" fmla="*/ 6658 h 22713"/>
                    <a:gd name="connsiteX28" fmla="*/ 28711 w 74366"/>
                    <a:gd name="connsiteY28" fmla="*/ 6805 h 22713"/>
                    <a:gd name="connsiteX29" fmla="*/ 32623 w 74366"/>
                    <a:gd name="connsiteY29" fmla="*/ 6862 h 22713"/>
                    <a:gd name="connsiteX30" fmla="*/ 34669 w 74366"/>
                    <a:gd name="connsiteY30" fmla="*/ 2583 h 22713"/>
                    <a:gd name="connsiteX31" fmla="*/ 38581 w 74366"/>
                    <a:gd name="connsiteY31" fmla="*/ 701 h 22713"/>
                    <a:gd name="connsiteX32" fmla="*/ 42574 w 74366"/>
                    <a:gd name="connsiteY32" fmla="*/ 0 h 22713"/>
                    <a:gd name="connsiteX33" fmla="*/ 44660 w 74366"/>
                    <a:gd name="connsiteY33" fmla="*/ 187 h 22713"/>
                    <a:gd name="connsiteX34" fmla="*/ 46861 w 74366"/>
                    <a:gd name="connsiteY34" fmla="*/ 823 h 22713"/>
                    <a:gd name="connsiteX35" fmla="*/ 51066 w 74366"/>
                    <a:gd name="connsiteY35" fmla="*/ 4352 h 22713"/>
                    <a:gd name="connsiteX36" fmla="*/ 53690 w 74366"/>
                    <a:gd name="connsiteY36" fmla="*/ 5151 h 22713"/>
                    <a:gd name="connsiteX37" fmla="*/ 55907 w 74366"/>
                    <a:gd name="connsiteY37" fmla="*/ 5949 h 22713"/>
                    <a:gd name="connsiteX38" fmla="*/ 57488 w 74366"/>
                    <a:gd name="connsiteY38" fmla="*/ 7669 h 22713"/>
                    <a:gd name="connsiteX39" fmla="*/ 60007 w 74366"/>
                    <a:gd name="connsiteY39" fmla="*/ 9364 h 22713"/>
                    <a:gd name="connsiteX40" fmla="*/ 61995 w 74366"/>
                    <a:gd name="connsiteY40" fmla="*/ 9820 h 22713"/>
                    <a:gd name="connsiteX41" fmla="*/ 63169 w 74366"/>
                    <a:gd name="connsiteY41" fmla="*/ 9568 h 22713"/>
                    <a:gd name="connsiteX42" fmla="*/ 65124 w 74366"/>
                    <a:gd name="connsiteY42" fmla="*/ 8916 h 22713"/>
                    <a:gd name="connsiteX43" fmla="*/ 66420 w 74366"/>
                    <a:gd name="connsiteY43" fmla="*/ 8386 h 22713"/>
                    <a:gd name="connsiteX44" fmla="*/ 70625 w 74366"/>
                    <a:gd name="connsiteY44" fmla="*/ 8166 h 22713"/>
                    <a:gd name="connsiteX45" fmla="*/ 73722 w 74366"/>
                    <a:gd name="connsiteY45" fmla="*/ 10130 h 22713"/>
                    <a:gd name="connsiteX46" fmla="*/ 74366 w 74366"/>
                    <a:gd name="connsiteY46" fmla="*/ 12282 h 22713"/>
                    <a:gd name="connsiteX47" fmla="*/ 73845 w 74366"/>
                    <a:gd name="connsiteY47" fmla="*/ 14482 h 22713"/>
                    <a:gd name="connsiteX48" fmla="*/ 69688 w 74366"/>
                    <a:gd name="connsiteY48" fmla="*/ 15664 h 22713"/>
                    <a:gd name="connsiteX49" fmla="*/ 63943 w 74366"/>
                    <a:gd name="connsiteY49" fmla="*/ 17498 h 22713"/>
                    <a:gd name="connsiteX50" fmla="*/ 59183 w 74366"/>
                    <a:gd name="connsiteY50" fmla="*/ 16495 h 22713"/>
                    <a:gd name="connsiteX51" fmla="*/ 53397 w 74366"/>
                    <a:gd name="connsiteY51" fmla="*/ 13977 h 22713"/>
                    <a:gd name="connsiteX52" fmla="*/ 50015 w 74366"/>
                    <a:gd name="connsiteY52" fmla="*/ 12176 h 22713"/>
                    <a:gd name="connsiteX53" fmla="*/ 48605 w 74366"/>
                    <a:gd name="connsiteY53" fmla="*/ 11459 h 22713"/>
                    <a:gd name="connsiteX54" fmla="*/ 46494 w 74366"/>
                    <a:gd name="connsiteY54" fmla="*/ 10317 h 22713"/>
                    <a:gd name="connsiteX55" fmla="*/ 44652 w 74366"/>
                    <a:gd name="connsiteY55" fmla="*/ 9079 h 22713"/>
                    <a:gd name="connsiteX56" fmla="*/ 42867 w 74366"/>
                    <a:gd name="connsiteY56" fmla="*/ 8280 h 22713"/>
                    <a:gd name="connsiteX57" fmla="*/ 41515 w 74366"/>
                    <a:gd name="connsiteY57" fmla="*/ 7767 h 22713"/>
                    <a:gd name="connsiteX58" fmla="*/ 40512 w 74366"/>
                    <a:gd name="connsiteY58" fmla="*/ 8410 h 22713"/>
                    <a:gd name="connsiteX59" fmla="*/ 39999 w 74366"/>
                    <a:gd name="connsiteY59" fmla="*/ 9934 h 22713"/>
                    <a:gd name="connsiteX60" fmla="*/ 39200 w 74366"/>
                    <a:gd name="connsiteY60" fmla="*/ 11630 h 22713"/>
                    <a:gd name="connsiteX61" fmla="*/ 38165 w 74366"/>
                    <a:gd name="connsiteY61" fmla="*/ 12640 h 22713"/>
                    <a:gd name="connsiteX62" fmla="*/ 33316 w 74366"/>
                    <a:gd name="connsiteY62" fmla="*/ 13227 h 22713"/>
                    <a:gd name="connsiteX63" fmla="*/ 28956 w 74366"/>
                    <a:gd name="connsiteY63" fmla="*/ 13863 h 22713"/>
                    <a:gd name="connsiteX64" fmla="*/ 26617 w 74366"/>
                    <a:gd name="connsiteY64" fmla="*/ 14384 h 22713"/>
                    <a:gd name="connsiteX65" fmla="*/ 25060 w 74366"/>
                    <a:gd name="connsiteY65" fmla="*/ 14784 h 22713"/>
                    <a:gd name="connsiteX66" fmla="*/ 24571 w 74366"/>
                    <a:gd name="connsiteY66" fmla="*/ 19902 h 22713"/>
                    <a:gd name="connsiteX67" fmla="*/ 19641 w 74366"/>
                    <a:gd name="connsiteY67" fmla="*/ 19845 h 22713"/>
                    <a:gd name="connsiteX68" fmla="*/ 14800 w 74366"/>
                    <a:gd name="connsiteY68" fmla="*/ 19796 h 22713"/>
                    <a:gd name="connsiteX69" fmla="*/ 9772 w 74366"/>
                    <a:gd name="connsiteY69" fmla="*/ 19877 h 22713"/>
                    <a:gd name="connsiteX70" fmla="*/ 4368 w 74366"/>
                    <a:gd name="connsiteY70" fmla="*/ 19983 h 22713"/>
                    <a:gd name="connsiteX71" fmla="*/ 2983 w 74366"/>
                    <a:gd name="connsiteY71" fmla="*/ 21026 h 2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74366" h="22713">
                      <a:moveTo>
                        <a:pt x="1532" y="22713"/>
                      </a:moveTo>
                      <a:lnTo>
                        <a:pt x="1377" y="20146"/>
                      </a:lnTo>
                      <a:lnTo>
                        <a:pt x="0" y="14303"/>
                      </a:lnTo>
                      <a:lnTo>
                        <a:pt x="1850" y="11744"/>
                      </a:lnTo>
                      <a:lnTo>
                        <a:pt x="3863" y="10236"/>
                      </a:lnTo>
                      <a:lnTo>
                        <a:pt x="5208" y="11442"/>
                      </a:lnTo>
                      <a:lnTo>
                        <a:pt x="5623" y="13830"/>
                      </a:lnTo>
                      <a:lnTo>
                        <a:pt x="6658" y="15452"/>
                      </a:lnTo>
                      <a:lnTo>
                        <a:pt x="10212" y="16471"/>
                      </a:lnTo>
                      <a:lnTo>
                        <a:pt x="13716" y="15745"/>
                      </a:lnTo>
                      <a:lnTo>
                        <a:pt x="15867" y="16079"/>
                      </a:lnTo>
                      <a:lnTo>
                        <a:pt x="15802" y="14751"/>
                      </a:lnTo>
                      <a:lnTo>
                        <a:pt x="16528" y="13007"/>
                      </a:lnTo>
                      <a:lnTo>
                        <a:pt x="20798" y="12249"/>
                      </a:lnTo>
                      <a:lnTo>
                        <a:pt x="25313" y="11744"/>
                      </a:lnTo>
                      <a:lnTo>
                        <a:pt x="29942" y="10692"/>
                      </a:lnTo>
                      <a:lnTo>
                        <a:pt x="33577" y="10733"/>
                      </a:lnTo>
                      <a:lnTo>
                        <a:pt x="34661" y="10440"/>
                      </a:lnTo>
                      <a:lnTo>
                        <a:pt x="34392" y="9991"/>
                      </a:lnTo>
                      <a:lnTo>
                        <a:pt x="31140" y="9486"/>
                      </a:lnTo>
                      <a:lnTo>
                        <a:pt x="24180" y="10692"/>
                      </a:lnTo>
                      <a:lnTo>
                        <a:pt x="17098" y="11051"/>
                      </a:lnTo>
                      <a:lnTo>
                        <a:pt x="11736" y="14229"/>
                      </a:lnTo>
                      <a:lnTo>
                        <a:pt x="9535" y="13936"/>
                      </a:lnTo>
                      <a:lnTo>
                        <a:pt x="7318" y="10758"/>
                      </a:lnTo>
                      <a:lnTo>
                        <a:pt x="6511" y="6829"/>
                      </a:lnTo>
                      <a:lnTo>
                        <a:pt x="12803" y="6536"/>
                      </a:lnTo>
                      <a:lnTo>
                        <a:pt x="20415" y="6658"/>
                      </a:lnTo>
                      <a:lnTo>
                        <a:pt x="28711" y="6805"/>
                      </a:lnTo>
                      <a:lnTo>
                        <a:pt x="32623" y="6862"/>
                      </a:lnTo>
                      <a:lnTo>
                        <a:pt x="34669" y="2583"/>
                      </a:lnTo>
                      <a:lnTo>
                        <a:pt x="38581" y="701"/>
                      </a:lnTo>
                      <a:lnTo>
                        <a:pt x="42574" y="0"/>
                      </a:lnTo>
                      <a:lnTo>
                        <a:pt x="44660" y="187"/>
                      </a:lnTo>
                      <a:lnTo>
                        <a:pt x="46861" y="823"/>
                      </a:lnTo>
                      <a:lnTo>
                        <a:pt x="51066" y="4352"/>
                      </a:lnTo>
                      <a:lnTo>
                        <a:pt x="53690" y="5151"/>
                      </a:lnTo>
                      <a:lnTo>
                        <a:pt x="55907" y="5949"/>
                      </a:lnTo>
                      <a:lnTo>
                        <a:pt x="57488" y="7669"/>
                      </a:lnTo>
                      <a:lnTo>
                        <a:pt x="60007" y="9364"/>
                      </a:lnTo>
                      <a:lnTo>
                        <a:pt x="61995" y="9820"/>
                      </a:lnTo>
                      <a:lnTo>
                        <a:pt x="63169" y="9568"/>
                      </a:lnTo>
                      <a:lnTo>
                        <a:pt x="65124" y="8916"/>
                      </a:lnTo>
                      <a:lnTo>
                        <a:pt x="66420" y="8386"/>
                      </a:lnTo>
                      <a:lnTo>
                        <a:pt x="70625" y="8166"/>
                      </a:lnTo>
                      <a:lnTo>
                        <a:pt x="73722" y="10130"/>
                      </a:lnTo>
                      <a:lnTo>
                        <a:pt x="74366" y="12282"/>
                      </a:lnTo>
                      <a:lnTo>
                        <a:pt x="73845" y="14482"/>
                      </a:lnTo>
                      <a:lnTo>
                        <a:pt x="69688" y="15664"/>
                      </a:lnTo>
                      <a:lnTo>
                        <a:pt x="63943" y="17498"/>
                      </a:lnTo>
                      <a:lnTo>
                        <a:pt x="59183" y="16495"/>
                      </a:lnTo>
                      <a:lnTo>
                        <a:pt x="53397" y="13977"/>
                      </a:lnTo>
                      <a:lnTo>
                        <a:pt x="50015" y="12176"/>
                      </a:lnTo>
                      <a:lnTo>
                        <a:pt x="48605" y="11459"/>
                      </a:lnTo>
                      <a:lnTo>
                        <a:pt x="46494" y="10317"/>
                      </a:lnTo>
                      <a:lnTo>
                        <a:pt x="44652" y="9079"/>
                      </a:lnTo>
                      <a:lnTo>
                        <a:pt x="42867" y="8280"/>
                      </a:lnTo>
                      <a:lnTo>
                        <a:pt x="41515" y="7767"/>
                      </a:lnTo>
                      <a:lnTo>
                        <a:pt x="40512" y="8410"/>
                      </a:lnTo>
                      <a:lnTo>
                        <a:pt x="39999" y="9934"/>
                      </a:lnTo>
                      <a:lnTo>
                        <a:pt x="39200" y="11630"/>
                      </a:lnTo>
                      <a:lnTo>
                        <a:pt x="38165" y="12640"/>
                      </a:lnTo>
                      <a:lnTo>
                        <a:pt x="33316" y="13227"/>
                      </a:lnTo>
                      <a:lnTo>
                        <a:pt x="28956" y="13863"/>
                      </a:lnTo>
                      <a:lnTo>
                        <a:pt x="26617" y="14384"/>
                      </a:lnTo>
                      <a:lnTo>
                        <a:pt x="25060" y="14784"/>
                      </a:lnTo>
                      <a:lnTo>
                        <a:pt x="24571" y="19902"/>
                      </a:lnTo>
                      <a:lnTo>
                        <a:pt x="19641" y="19845"/>
                      </a:lnTo>
                      <a:lnTo>
                        <a:pt x="14800" y="19796"/>
                      </a:lnTo>
                      <a:lnTo>
                        <a:pt x="9772" y="19877"/>
                      </a:lnTo>
                      <a:lnTo>
                        <a:pt x="4368" y="19983"/>
                      </a:lnTo>
                      <a:lnTo>
                        <a:pt x="2983" y="21026"/>
                      </a:lnTo>
                      <a:close/>
                    </a:path>
                  </a:pathLst>
                </a:custGeom>
                <a:solidFill>
                  <a:srgbClr val="D6D6D2"/>
                </a:solidFill>
                <a:ln w="8150" cap="flat">
                  <a:noFill/>
                  <a:prstDash val="solid"/>
                  <a:miter/>
                </a:ln>
              </p:spPr>
              <p:txBody>
                <a:bodyPr rtlCol="0" anchor="ctr"/>
                <a:lstStyle/>
                <a:p>
                  <a:endParaRPr lang="en-US"/>
                </a:p>
              </p:txBody>
            </p:sp>
            <p:sp>
              <p:nvSpPr>
                <p:cNvPr id="725" name="Freeform: Shape 724">
                  <a:extLst>
                    <a:ext uri="{FF2B5EF4-FFF2-40B4-BE49-F238E27FC236}">
                      <a16:creationId xmlns:a16="http://schemas.microsoft.com/office/drawing/2014/main" id="{9DCD3FD4-5B53-4EFF-9C77-C0B63FA35D9E}"/>
                    </a:ext>
                  </a:extLst>
                </p:cNvPr>
                <p:cNvSpPr/>
                <p:nvPr/>
              </p:nvSpPr>
              <p:spPr>
                <a:xfrm>
                  <a:off x="5570325" y="4143505"/>
                  <a:ext cx="182790" cy="164673"/>
                </a:xfrm>
                <a:custGeom>
                  <a:avLst/>
                  <a:gdLst>
                    <a:gd name="connsiteX0" fmla="*/ 90821 w 182790"/>
                    <a:gd name="connsiteY0" fmla="*/ 8166 h 164673"/>
                    <a:gd name="connsiteX1" fmla="*/ 90112 w 182790"/>
                    <a:gd name="connsiteY1" fmla="*/ 8973 h 164673"/>
                    <a:gd name="connsiteX2" fmla="*/ 89378 w 182790"/>
                    <a:gd name="connsiteY2" fmla="*/ 10749 h 164673"/>
                    <a:gd name="connsiteX3" fmla="*/ 88710 w 182790"/>
                    <a:gd name="connsiteY3" fmla="*/ 12925 h 164673"/>
                    <a:gd name="connsiteX4" fmla="*/ 88025 w 182790"/>
                    <a:gd name="connsiteY4" fmla="*/ 14401 h 164673"/>
                    <a:gd name="connsiteX5" fmla="*/ 88270 w 182790"/>
                    <a:gd name="connsiteY5" fmla="*/ 15354 h 164673"/>
                    <a:gd name="connsiteX6" fmla="*/ 90193 w 182790"/>
                    <a:gd name="connsiteY6" fmla="*/ 17261 h 164673"/>
                    <a:gd name="connsiteX7" fmla="*/ 92915 w 182790"/>
                    <a:gd name="connsiteY7" fmla="*/ 19942 h 164673"/>
                    <a:gd name="connsiteX8" fmla="*/ 94007 w 182790"/>
                    <a:gd name="connsiteY8" fmla="*/ 20285 h 164673"/>
                    <a:gd name="connsiteX9" fmla="*/ 95279 w 182790"/>
                    <a:gd name="connsiteY9" fmla="*/ 19657 h 164673"/>
                    <a:gd name="connsiteX10" fmla="*/ 97275 w 182790"/>
                    <a:gd name="connsiteY10" fmla="*/ 17538 h 164673"/>
                    <a:gd name="connsiteX11" fmla="*/ 98848 w 182790"/>
                    <a:gd name="connsiteY11" fmla="*/ 15240 h 164673"/>
                    <a:gd name="connsiteX12" fmla="*/ 100364 w 182790"/>
                    <a:gd name="connsiteY12" fmla="*/ 14131 h 164673"/>
                    <a:gd name="connsiteX13" fmla="*/ 102133 w 182790"/>
                    <a:gd name="connsiteY13" fmla="*/ 14197 h 164673"/>
                    <a:gd name="connsiteX14" fmla="*/ 103551 w 182790"/>
                    <a:gd name="connsiteY14" fmla="*/ 15818 h 164673"/>
                    <a:gd name="connsiteX15" fmla="*/ 105278 w 182790"/>
                    <a:gd name="connsiteY15" fmla="*/ 19372 h 164673"/>
                    <a:gd name="connsiteX16" fmla="*/ 106851 w 182790"/>
                    <a:gd name="connsiteY16" fmla="*/ 22615 h 164673"/>
                    <a:gd name="connsiteX17" fmla="*/ 107055 w 182790"/>
                    <a:gd name="connsiteY17" fmla="*/ 22942 h 164673"/>
                    <a:gd name="connsiteX18" fmla="*/ 107691 w 182790"/>
                    <a:gd name="connsiteY18" fmla="*/ 23479 h 164673"/>
                    <a:gd name="connsiteX19" fmla="*/ 108481 w 182790"/>
                    <a:gd name="connsiteY19" fmla="*/ 23455 h 164673"/>
                    <a:gd name="connsiteX20" fmla="*/ 109321 w 182790"/>
                    <a:gd name="connsiteY20" fmla="*/ 22664 h 164673"/>
                    <a:gd name="connsiteX21" fmla="*/ 109932 w 182790"/>
                    <a:gd name="connsiteY21" fmla="*/ 22183 h 164673"/>
                    <a:gd name="connsiteX22" fmla="*/ 110665 w 182790"/>
                    <a:gd name="connsiteY22" fmla="*/ 20700 h 164673"/>
                    <a:gd name="connsiteX23" fmla="*/ 113730 w 182790"/>
                    <a:gd name="connsiteY23" fmla="*/ 16210 h 164673"/>
                    <a:gd name="connsiteX24" fmla="*/ 116036 w 182790"/>
                    <a:gd name="connsiteY24" fmla="*/ 14979 h 164673"/>
                    <a:gd name="connsiteX25" fmla="*/ 116851 w 182790"/>
                    <a:gd name="connsiteY25" fmla="*/ 14653 h 164673"/>
                    <a:gd name="connsiteX26" fmla="*/ 118465 w 182790"/>
                    <a:gd name="connsiteY26" fmla="*/ 13977 h 164673"/>
                    <a:gd name="connsiteX27" fmla="*/ 121138 w 182790"/>
                    <a:gd name="connsiteY27" fmla="*/ 15036 h 164673"/>
                    <a:gd name="connsiteX28" fmla="*/ 125017 w 182790"/>
                    <a:gd name="connsiteY28" fmla="*/ 16886 h 164673"/>
                    <a:gd name="connsiteX29" fmla="*/ 129728 w 182790"/>
                    <a:gd name="connsiteY29" fmla="*/ 19127 h 164673"/>
                    <a:gd name="connsiteX30" fmla="*/ 131382 w 182790"/>
                    <a:gd name="connsiteY30" fmla="*/ 19510 h 164673"/>
                    <a:gd name="connsiteX31" fmla="*/ 132360 w 182790"/>
                    <a:gd name="connsiteY31" fmla="*/ 19127 h 164673"/>
                    <a:gd name="connsiteX32" fmla="*/ 133762 w 182790"/>
                    <a:gd name="connsiteY32" fmla="*/ 16079 h 164673"/>
                    <a:gd name="connsiteX33" fmla="*/ 135506 w 182790"/>
                    <a:gd name="connsiteY33" fmla="*/ 14890 h 164673"/>
                    <a:gd name="connsiteX34" fmla="*/ 138008 w 182790"/>
                    <a:gd name="connsiteY34" fmla="*/ 13488 h 164673"/>
                    <a:gd name="connsiteX35" fmla="*/ 140045 w 182790"/>
                    <a:gd name="connsiteY35" fmla="*/ 12771 h 164673"/>
                    <a:gd name="connsiteX36" fmla="*/ 141202 w 182790"/>
                    <a:gd name="connsiteY36" fmla="*/ 12673 h 164673"/>
                    <a:gd name="connsiteX37" fmla="*/ 141642 w 182790"/>
                    <a:gd name="connsiteY37" fmla="*/ 11858 h 164673"/>
                    <a:gd name="connsiteX38" fmla="*/ 141863 w 182790"/>
                    <a:gd name="connsiteY38" fmla="*/ 10603 h 164673"/>
                    <a:gd name="connsiteX39" fmla="*/ 141634 w 182790"/>
                    <a:gd name="connsiteY39" fmla="*/ 9331 h 164673"/>
                    <a:gd name="connsiteX40" fmla="*/ 140314 w 182790"/>
                    <a:gd name="connsiteY40" fmla="*/ 7017 h 164673"/>
                    <a:gd name="connsiteX41" fmla="*/ 140274 w 182790"/>
                    <a:gd name="connsiteY41" fmla="*/ 6340 h 164673"/>
                    <a:gd name="connsiteX42" fmla="*/ 141031 w 182790"/>
                    <a:gd name="connsiteY42" fmla="*/ 5900 h 164673"/>
                    <a:gd name="connsiteX43" fmla="*/ 142637 w 182790"/>
                    <a:gd name="connsiteY43" fmla="*/ 5558 h 164673"/>
                    <a:gd name="connsiteX44" fmla="*/ 144739 w 182790"/>
                    <a:gd name="connsiteY44" fmla="*/ 5786 h 164673"/>
                    <a:gd name="connsiteX45" fmla="*/ 147095 w 182790"/>
                    <a:gd name="connsiteY45" fmla="*/ 6781 h 164673"/>
                    <a:gd name="connsiteX46" fmla="*/ 149010 w 182790"/>
                    <a:gd name="connsiteY46" fmla="*/ 8223 h 164673"/>
                    <a:gd name="connsiteX47" fmla="*/ 150110 w 182790"/>
                    <a:gd name="connsiteY47" fmla="*/ 9934 h 164673"/>
                    <a:gd name="connsiteX48" fmla="*/ 151300 w 182790"/>
                    <a:gd name="connsiteY48" fmla="*/ 13577 h 164673"/>
                    <a:gd name="connsiteX49" fmla="*/ 152221 w 182790"/>
                    <a:gd name="connsiteY49" fmla="*/ 17122 h 164673"/>
                    <a:gd name="connsiteX50" fmla="*/ 154592 w 182790"/>
                    <a:gd name="connsiteY50" fmla="*/ 22762 h 164673"/>
                    <a:gd name="connsiteX51" fmla="*/ 154543 w 182790"/>
                    <a:gd name="connsiteY51" fmla="*/ 26250 h 164673"/>
                    <a:gd name="connsiteX52" fmla="*/ 154503 w 182790"/>
                    <a:gd name="connsiteY52" fmla="*/ 30301 h 164673"/>
                    <a:gd name="connsiteX53" fmla="*/ 155546 w 182790"/>
                    <a:gd name="connsiteY53" fmla="*/ 31050 h 164673"/>
                    <a:gd name="connsiteX54" fmla="*/ 156703 w 182790"/>
                    <a:gd name="connsiteY54" fmla="*/ 31384 h 164673"/>
                    <a:gd name="connsiteX55" fmla="*/ 157241 w 182790"/>
                    <a:gd name="connsiteY55" fmla="*/ 31979 h 164673"/>
                    <a:gd name="connsiteX56" fmla="*/ 158398 w 182790"/>
                    <a:gd name="connsiteY56" fmla="*/ 35085 h 164673"/>
                    <a:gd name="connsiteX57" fmla="*/ 159482 w 182790"/>
                    <a:gd name="connsiteY57" fmla="*/ 35989 h 164673"/>
                    <a:gd name="connsiteX58" fmla="*/ 160786 w 182790"/>
                    <a:gd name="connsiteY58" fmla="*/ 36201 h 164673"/>
                    <a:gd name="connsiteX59" fmla="*/ 163207 w 182790"/>
                    <a:gd name="connsiteY59" fmla="*/ 38189 h 164673"/>
                    <a:gd name="connsiteX60" fmla="*/ 164779 w 182790"/>
                    <a:gd name="connsiteY60" fmla="*/ 38980 h 164673"/>
                    <a:gd name="connsiteX61" fmla="*/ 165000 w 182790"/>
                    <a:gd name="connsiteY61" fmla="*/ 39575 h 164673"/>
                    <a:gd name="connsiteX62" fmla="*/ 164951 w 182790"/>
                    <a:gd name="connsiteY62" fmla="*/ 40398 h 164673"/>
                    <a:gd name="connsiteX63" fmla="*/ 164340 w 182790"/>
                    <a:gd name="connsiteY63" fmla="*/ 41441 h 164673"/>
                    <a:gd name="connsiteX64" fmla="*/ 163386 w 182790"/>
                    <a:gd name="connsiteY64" fmla="*/ 42175 h 164673"/>
                    <a:gd name="connsiteX65" fmla="*/ 161976 w 182790"/>
                    <a:gd name="connsiteY65" fmla="*/ 43527 h 164673"/>
                    <a:gd name="connsiteX66" fmla="*/ 160810 w 182790"/>
                    <a:gd name="connsiteY66" fmla="*/ 45304 h 164673"/>
                    <a:gd name="connsiteX67" fmla="*/ 158423 w 182790"/>
                    <a:gd name="connsiteY67" fmla="*/ 49575 h 164673"/>
                    <a:gd name="connsiteX68" fmla="*/ 158349 w 182790"/>
                    <a:gd name="connsiteY68" fmla="*/ 50365 h 164673"/>
                    <a:gd name="connsiteX69" fmla="*/ 158863 w 182790"/>
                    <a:gd name="connsiteY69" fmla="*/ 50944 h 164673"/>
                    <a:gd name="connsiteX70" fmla="*/ 159849 w 182790"/>
                    <a:gd name="connsiteY70" fmla="*/ 51050 h 164673"/>
                    <a:gd name="connsiteX71" fmla="*/ 160908 w 182790"/>
                    <a:gd name="connsiteY71" fmla="*/ 50757 h 164673"/>
                    <a:gd name="connsiteX72" fmla="*/ 163117 w 182790"/>
                    <a:gd name="connsiteY72" fmla="*/ 49192 h 164673"/>
                    <a:gd name="connsiteX73" fmla="*/ 164861 w 182790"/>
                    <a:gd name="connsiteY73" fmla="*/ 49746 h 164673"/>
                    <a:gd name="connsiteX74" fmla="*/ 166524 w 182790"/>
                    <a:gd name="connsiteY74" fmla="*/ 50936 h 164673"/>
                    <a:gd name="connsiteX75" fmla="*/ 167127 w 182790"/>
                    <a:gd name="connsiteY75" fmla="*/ 52174 h 164673"/>
                    <a:gd name="connsiteX76" fmla="*/ 167290 w 182790"/>
                    <a:gd name="connsiteY76" fmla="*/ 53796 h 164673"/>
                    <a:gd name="connsiteX77" fmla="*/ 166907 w 182790"/>
                    <a:gd name="connsiteY77" fmla="*/ 55883 h 164673"/>
                    <a:gd name="connsiteX78" fmla="*/ 166850 w 182790"/>
                    <a:gd name="connsiteY78" fmla="*/ 58222 h 164673"/>
                    <a:gd name="connsiteX79" fmla="*/ 167412 w 182790"/>
                    <a:gd name="connsiteY79" fmla="*/ 62207 h 164673"/>
                    <a:gd name="connsiteX80" fmla="*/ 168268 w 182790"/>
                    <a:gd name="connsiteY80" fmla="*/ 66176 h 164673"/>
                    <a:gd name="connsiteX81" fmla="*/ 169140 w 182790"/>
                    <a:gd name="connsiteY81" fmla="*/ 67626 h 164673"/>
                    <a:gd name="connsiteX82" fmla="*/ 174706 w 182790"/>
                    <a:gd name="connsiteY82" fmla="*/ 71131 h 164673"/>
                    <a:gd name="connsiteX83" fmla="*/ 175236 w 182790"/>
                    <a:gd name="connsiteY83" fmla="*/ 72443 h 164673"/>
                    <a:gd name="connsiteX84" fmla="*/ 175521 w 182790"/>
                    <a:gd name="connsiteY84" fmla="*/ 73926 h 164673"/>
                    <a:gd name="connsiteX85" fmla="*/ 175113 w 182790"/>
                    <a:gd name="connsiteY85" fmla="*/ 75947 h 164673"/>
                    <a:gd name="connsiteX86" fmla="*/ 174551 w 182790"/>
                    <a:gd name="connsiteY86" fmla="*/ 77064 h 164673"/>
                    <a:gd name="connsiteX87" fmla="*/ 172954 w 182790"/>
                    <a:gd name="connsiteY87" fmla="*/ 78824 h 164673"/>
                    <a:gd name="connsiteX88" fmla="*/ 171495 w 182790"/>
                    <a:gd name="connsiteY88" fmla="*/ 80185 h 164673"/>
                    <a:gd name="connsiteX89" fmla="*/ 171038 w 182790"/>
                    <a:gd name="connsiteY89" fmla="*/ 81660 h 164673"/>
                    <a:gd name="connsiteX90" fmla="*/ 171267 w 182790"/>
                    <a:gd name="connsiteY90" fmla="*/ 84415 h 164673"/>
                    <a:gd name="connsiteX91" fmla="*/ 171259 w 182790"/>
                    <a:gd name="connsiteY91" fmla="*/ 90658 h 164673"/>
                    <a:gd name="connsiteX92" fmla="*/ 171487 w 182790"/>
                    <a:gd name="connsiteY92" fmla="*/ 96053 h 164673"/>
                    <a:gd name="connsiteX93" fmla="*/ 172693 w 182790"/>
                    <a:gd name="connsiteY93" fmla="*/ 98017 h 164673"/>
                    <a:gd name="connsiteX94" fmla="*/ 174119 w 182790"/>
                    <a:gd name="connsiteY94" fmla="*/ 99011 h 164673"/>
                    <a:gd name="connsiteX95" fmla="*/ 175814 w 182790"/>
                    <a:gd name="connsiteY95" fmla="*/ 98823 h 164673"/>
                    <a:gd name="connsiteX96" fmla="*/ 177461 w 182790"/>
                    <a:gd name="connsiteY96" fmla="*/ 98465 h 164673"/>
                    <a:gd name="connsiteX97" fmla="*/ 177363 w 182790"/>
                    <a:gd name="connsiteY97" fmla="*/ 101692 h 164673"/>
                    <a:gd name="connsiteX98" fmla="*/ 176922 w 182790"/>
                    <a:gd name="connsiteY98" fmla="*/ 105311 h 164673"/>
                    <a:gd name="connsiteX99" fmla="*/ 178870 w 182790"/>
                    <a:gd name="connsiteY99" fmla="*/ 106427 h 164673"/>
                    <a:gd name="connsiteX100" fmla="*/ 179848 w 182790"/>
                    <a:gd name="connsiteY100" fmla="*/ 107528 h 164673"/>
                    <a:gd name="connsiteX101" fmla="*/ 180394 w 182790"/>
                    <a:gd name="connsiteY101" fmla="*/ 108562 h 164673"/>
                    <a:gd name="connsiteX102" fmla="*/ 177314 w 182790"/>
                    <a:gd name="connsiteY102" fmla="*/ 110470 h 164673"/>
                    <a:gd name="connsiteX103" fmla="*/ 176426 w 182790"/>
                    <a:gd name="connsiteY103" fmla="*/ 111602 h 164673"/>
                    <a:gd name="connsiteX104" fmla="*/ 176002 w 182790"/>
                    <a:gd name="connsiteY104" fmla="*/ 114626 h 164673"/>
                    <a:gd name="connsiteX105" fmla="*/ 176100 w 182790"/>
                    <a:gd name="connsiteY105" fmla="*/ 117405 h 164673"/>
                    <a:gd name="connsiteX106" fmla="*/ 180240 w 182790"/>
                    <a:gd name="connsiteY106" fmla="*/ 119410 h 164673"/>
                    <a:gd name="connsiteX107" fmla="*/ 181845 w 182790"/>
                    <a:gd name="connsiteY107" fmla="*/ 121741 h 164673"/>
                    <a:gd name="connsiteX108" fmla="*/ 182546 w 182790"/>
                    <a:gd name="connsiteY108" fmla="*/ 124169 h 164673"/>
                    <a:gd name="connsiteX109" fmla="*/ 182790 w 182790"/>
                    <a:gd name="connsiteY109" fmla="*/ 128749 h 164673"/>
                    <a:gd name="connsiteX110" fmla="*/ 182424 w 182790"/>
                    <a:gd name="connsiteY110" fmla="*/ 129793 h 164673"/>
                    <a:gd name="connsiteX111" fmla="*/ 181356 w 182790"/>
                    <a:gd name="connsiteY111" fmla="*/ 129801 h 164673"/>
                    <a:gd name="connsiteX112" fmla="*/ 180158 w 182790"/>
                    <a:gd name="connsiteY112" fmla="*/ 128399 h 164673"/>
                    <a:gd name="connsiteX113" fmla="*/ 179262 w 182790"/>
                    <a:gd name="connsiteY113" fmla="*/ 127022 h 164673"/>
                    <a:gd name="connsiteX114" fmla="*/ 178145 w 182790"/>
                    <a:gd name="connsiteY114" fmla="*/ 127022 h 164673"/>
                    <a:gd name="connsiteX115" fmla="*/ 176050 w 182790"/>
                    <a:gd name="connsiteY115" fmla="*/ 126720 h 164673"/>
                    <a:gd name="connsiteX116" fmla="*/ 173671 w 182790"/>
                    <a:gd name="connsiteY116" fmla="*/ 126190 h 164673"/>
                    <a:gd name="connsiteX117" fmla="*/ 170721 w 182790"/>
                    <a:gd name="connsiteY117" fmla="*/ 126337 h 164673"/>
                    <a:gd name="connsiteX118" fmla="*/ 169678 w 182790"/>
                    <a:gd name="connsiteY118" fmla="*/ 126557 h 164673"/>
                    <a:gd name="connsiteX119" fmla="*/ 169009 w 182790"/>
                    <a:gd name="connsiteY119" fmla="*/ 127388 h 164673"/>
                    <a:gd name="connsiteX120" fmla="*/ 168830 w 182790"/>
                    <a:gd name="connsiteY120" fmla="*/ 128823 h 164673"/>
                    <a:gd name="connsiteX121" fmla="*/ 168536 w 182790"/>
                    <a:gd name="connsiteY121" fmla="*/ 133460 h 164673"/>
                    <a:gd name="connsiteX122" fmla="*/ 169498 w 182790"/>
                    <a:gd name="connsiteY122" fmla="*/ 134487 h 164673"/>
                    <a:gd name="connsiteX123" fmla="*/ 171397 w 182790"/>
                    <a:gd name="connsiteY123" fmla="*/ 135636 h 164673"/>
                    <a:gd name="connsiteX124" fmla="*/ 172644 w 182790"/>
                    <a:gd name="connsiteY124" fmla="*/ 136125 h 164673"/>
                    <a:gd name="connsiteX125" fmla="*/ 173687 w 182790"/>
                    <a:gd name="connsiteY125" fmla="*/ 135986 h 164673"/>
                    <a:gd name="connsiteX126" fmla="*/ 174470 w 182790"/>
                    <a:gd name="connsiteY126" fmla="*/ 136736 h 164673"/>
                    <a:gd name="connsiteX127" fmla="*/ 174641 w 182790"/>
                    <a:gd name="connsiteY127" fmla="*/ 138733 h 164673"/>
                    <a:gd name="connsiteX128" fmla="*/ 174103 w 182790"/>
                    <a:gd name="connsiteY128" fmla="*/ 140200 h 164673"/>
                    <a:gd name="connsiteX129" fmla="*/ 173052 w 182790"/>
                    <a:gd name="connsiteY129" fmla="*/ 141569 h 164673"/>
                    <a:gd name="connsiteX130" fmla="*/ 171739 w 182790"/>
                    <a:gd name="connsiteY130" fmla="*/ 145073 h 164673"/>
                    <a:gd name="connsiteX131" fmla="*/ 171968 w 182790"/>
                    <a:gd name="connsiteY131" fmla="*/ 146393 h 164673"/>
                    <a:gd name="connsiteX132" fmla="*/ 172016 w 182790"/>
                    <a:gd name="connsiteY132" fmla="*/ 148292 h 164673"/>
                    <a:gd name="connsiteX133" fmla="*/ 169775 w 182790"/>
                    <a:gd name="connsiteY133" fmla="*/ 153419 h 164673"/>
                    <a:gd name="connsiteX134" fmla="*/ 169131 w 182790"/>
                    <a:gd name="connsiteY134" fmla="*/ 154429 h 164673"/>
                    <a:gd name="connsiteX135" fmla="*/ 166165 w 182790"/>
                    <a:gd name="connsiteY135" fmla="*/ 153410 h 164673"/>
                    <a:gd name="connsiteX136" fmla="*/ 164217 w 182790"/>
                    <a:gd name="connsiteY136" fmla="*/ 153068 h 164673"/>
                    <a:gd name="connsiteX137" fmla="*/ 162824 w 182790"/>
                    <a:gd name="connsiteY137" fmla="*/ 154380 h 164673"/>
                    <a:gd name="connsiteX138" fmla="*/ 161935 w 182790"/>
                    <a:gd name="connsiteY138" fmla="*/ 153565 h 164673"/>
                    <a:gd name="connsiteX139" fmla="*/ 160892 w 182790"/>
                    <a:gd name="connsiteY139" fmla="*/ 152375 h 164673"/>
                    <a:gd name="connsiteX140" fmla="*/ 160525 w 182790"/>
                    <a:gd name="connsiteY140" fmla="*/ 150811 h 164673"/>
                    <a:gd name="connsiteX141" fmla="*/ 159816 w 182790"/>
                    <a:gd name="connsiteY141" fmla="*/ 150485 h 164673"/>
                    <a:gd name="connsiteX142" fmla="*/ 158520 w 182790"/>
                    <a:gd name="connsiteY142" fmla="*/ 150468 h 164673"/>
                    <a:gd name="connsiteX143" fmla="*/ 157315 w 182790"/>
                    <a:gd name="connsiteY143" fmla="*/ 151357 h 164673"/>
                    <a:gd name="connsiteX144" fmla="*/ 156793 w 182790"/>
                    <a:gd name="connsiteY144" fmla="*/ 152970 h 164673"/>
                    <a:gd name="connsiteX145" fmla="*/ 156720 w 182790"/>
                    <a:gd name="connsiteY145" fmla="*/ 154829 h 164673"/>
                    <a:gd name="connsiteX146" fmla="*/ 156524 w 182790"/>
                    <a:gd name="connsiteY146" fmla="*/ 156263 h 164673"/>
                    <a:gd name="connsiteX147" fmla="*/ 155815 w 182790"/>
                    <a:gd name="connsiteY147" fmla="*/ 157135 h 164673"/>
                    <a:gd name="connsiteX148" fmla="*/ 154356 w 182790"/>
                    <a:gd name="connsiteY148" fmla="*/ 159384 h 164673"/>
                    <a:gd name="connsiteX149" fmla="*/ 153672 w 182790"/>
                    <a:gd name="connsiteY149" fmla="*/ 161462 h 164673"/>
                    <a:gd name="connsiteX150" fmla="*/ 152824 w 182790"/>
                    <a:gd name="connsiteY150" fmla="*/ 163264 h 164673"/>
                    <a:gd name="connsiteX151" fmla="*/ 151610 w 182790"/>
                    <a:gd name="connsiteY151" fmla="*/ 163166 h 164673"/>
                    <a:gd name="connsiteX152" fmla="*/ 151056 w 182790"/>
                    <a:gd name="connsiteY152" fmla="*/ 162913 h 164673"/>
                    <a:gd name="connsiteX153" fmla="*/ 150664 w 182790"/>
                    <a:gd name="connsiteY153" fmla="*/ 163386 h 164673"/>
                    <a:gd name="connsiteX154" fmla="*/ 148790 w 182790"/>
                    <a:gd name="connsiteY154" fmla="*/ 164388 h 164673"/>
                    <a:gd name="connsiteX155" fmla="*/ 147168 w 182790"/>
                    <a:gd name="connsiteY155" fmla="*/ 164673 h 164673"/>
                    <a:gd name="connsiteX156" fmla="*/ 146744 w 182790"/>
                    <a:gd name="connsiteY156" fmla="*/ 163630 h 164673"/>
                    <a:gd name="connsiteX157" fmla="*/ 145799 w 182790"/>
                    <a:gd name="connsiteY157" fmla="*/ 162799 h 164673"/>
                    <a:gd name="connsiteX158" fmla="*/ 144747 w 182790"/>
                    <a:gd name="connsiteY158" fmla="*/ 161144 h 164673"/>
                    <a:gd name="connsiteX159" fmla="*/ 143550 w 182790"/>
                    <a:gd name="connsiteY159" fmla="*/ 159816 h 164673"/>
                    <a:gd name="connsiteX160" fmla="*/ 141276 w 182790"/>
                    <a:gd name="connsiteY160" fmla="*/ 158879 h 164673"/>
                    <a:gd name="connsiteX161" fmla="*/ 140371 w 182790"/>
                    <a:gd name="connsiteY161" fmla="*/ 159295 h 164673"/>
                    <a:gd name="connsiteX162" fmla="*/ 139296 w 182790"/>
                    <a:gd name="connsiteY162" fmla="*/ 159189 h 164673"/>
                    <a:gd name="connsiteX163" fmla="*/ 138578 w 182790"/>
                    <a:gd name="connsiteY163" fmla="*/ 158667 h 164673"/>
                    <a:gd name="connsiteX164" fmla="*/ 138684 w 182790"/>
                    <a:gd name="connsiteY164" fmla="*/ 157860 h 164673"/>
                    <a:gd name="connsiteX165" fmla="*/ 139882 w 182790"/>
                    <a:gd name="connsiteY165" fmla="*/ 155831 h 164673"/>
                    <a:gd name="connsiteX166" fmla="*/ 140559 w 182790"/>
                    <a:gd name="connsiteY166" fmla="*/ 153973 h 164673"/>
                    <a:gd name="connsiteX167" fmla="*/ 140934 w 182790"/>
                    <a:gd name="connsiteY167" fmla="*/ 151935 h 164673"/>
                    <a:gd name="connsiteX168" fmla="*/ 140925 w 182790"/>
                    <a:gd name="connsiteY168" fmla="*/ 150004 h 164673"/>
                    <a:gd name="connsiteX169" fmla="*/ 140289 w 182790"/>
                    <a:gd name="connsiteY169" fmla="*/ 147274 h 164673"/>
                    <a:gd name="connsiteX170" fmla="*/ 139263 w 182790"/>
                    <a:gd name="connsiteY170" fmla="*/ 145106 h 164673"/>
                    <a:gd name="connsiteX171" fmla="*/ 139010 w 182790"/>
                    <a:gd name="connsiteY171" fmla="*/ 143851 h 164673"/>
                    <a:gd name="connsiteX172" fmla="*/ 139132 w 182790"/>
                    <a:gd name="connsiteY172" fmla="*/ 142058 h 164673"/>
                    <a:gd name="connsiteX173" fmla="*/ 138896 w 182790"/>
                    <a:gd name="connsiteY173" fmla="*/ 140395 h 164673"/>
                    <a:gd name="connsiteX174" fmla="*/ 138562 w 182790"/>
                    <a:gd name="connsiteY174" fmla="*/ 139532 h 164673"/>
                    <a:gd name="connsiteX175" fmla="*/ 138399 w 182790"/>
                    <a:gd name="connsiteY175" fmla="*/ 137877 h 164673"/>
                    <a:gd name="connsiteX176" fmla="*/ 138073 w 182790"/>
                    <a:gd name="connsiteY176" fmla="*/ 136377 h 164673"/>
                    <a:gd name="connsiteX177" fmla="*/ 137470 w 182790"/>
                    <a:gd name="connsiteY177" fmla="*/ 135791 h 164673"/>
                    <a:gd name="connsiteX178" fmla="*/ 137136 w 182790"/>
                    <a:gd name="connsiteY178" fmla="*/ 133273 h 164673"/>
                    <a:gd name="connsiteX179" fmla="*/ 137225 w 182790"/>
                    <a:gd name="connsiteY179" fmla="*/ 130681 h 164673"/>
                    <a:gd name="connsiteX180" fmla="*/ 136345 w 182790"/>
                    <a:gd name="connsiteY180" fmla="*/ 129703 h 164673"/>
                    <a:gd name="connsiteX181" fmla="*/ 134952 w 182790"/>
                    <a:gd name="connsiteY181" fmla="*/ 128986 h 164673"/>
                    <a:gd name="connsiteX182" fmla="*/ 134128 w 182790"/>
                    <a:gd name="connsiteY182" fmla="*/ 127975 h 164673"/>
                    <a:gd name="connsiteX183" fmla="*/ 133623 w 182790"/>
                    <a:gd name="connsiteY183" fmla="*/ 126842 h 164673"/>
                    <a:gd name="connsiteX184" fmla="*/ 133126 w 182790"/>
                    <a:gd name="connsiteY184" fmla="*/ 126516 h 164673"/>
                    <a:gd name="connsiteX185" fmla="*/ 132694 w 182790"/>
                    <a:gd name="connsiteY185" fmla="*/ 126581 h 164673"/>
                    <a:gd name="connsiteX186" fmla="*/ 132303 w 182790"/>
                    <a:gd name="connsiteY186" fmla="*/ 127291 h 164673"/>
                    <a:gd name="connsiteX187" fmla="*/ 131838 w 182790"/>
                    <a:gd name="connsiteY187" fmla="*/ 127437 h 164673"/>
                    <a:gd name="connsiteX188" fmla="*/ 131031 w 182790"/>
                    <a:gd name="connsiteY188" fmla="*/ 125009 h 164673"/>
                    <a:gd name="connsiteX189" fmla="*/ 130689 w 182790"/>
                    <a:gd name="connsiteY189" fmla="*/ 124911 h 164673"/>
                    <a:gd name="connsiteX190" fmla="*/ 130127 w 182790"/>
                    <a:gd name="connsiteY190" fmla="*/ 125473 h 164673"/>
                    <a:gd name="connsiteX191" fmla="*/ 123689 w 182790"/>
                    <a:gd name="connsiteY191" fmla="*/ 128154 h 164673"/>
                    <a:gd name="connsiteX192" fmla="*/ 123403 w 182790"/>
                    <a:gd name="connsiteY192" fmla="*/ 127111 h 164673"/>
                    <a:gd name="connsiteX193" fmla="*/ 122857 w 182790"/>
                    <a:gd name="connsiteY193" fmla="*/ 125872 h 164673"/>
                    <a:gd name="connsiteX194" fmla="*/ 121627 w 182790"/>
                    <a:gd name="connsiteY194" fmla="*/ 125457 h 164673"/>
                    <a:gd name="connsiteX195" fmla="*/ 119500 w 182790"/>
                    <a:gd name="connsiteY195" fmla="*/ 126386 h 164673"/>
                    <a:gd name="connsiteX196" fmla="*/ 118253 w 182790"/>
                    <a:gd name="connsiteY196" fmla="*/ 126500 h 164673"/>
                    <a:gd name="connsiteX197" fmla="*/ 116346 w 182790"/>
                    <a:gd name="connsiteY197" fmla="*/ 126190 h 164673"/>
                    <a:gd name="connsiteX198" fmla="*/ 115498 w 182790"/>
                    <a:gd name="connsiteY198" fmla="*/ 126622 h 164673"/>
                    <a:gd name="connsiteX199" fmla="*/ 112964 w 182790"/>
                    <a:gd name="connsiteY199" fmla="*/ 130200 h 164673"/>
                    <a:gd name="connsiteX200" fmla="*/ 111456 w 182790"/>
                    <a:gd name="connsiteY200" fmla="*/ 131602 h 164673"/>
                    <a:gd name="connsiteX201" fmla="*/ 110299 w 182790"/>
                    <a:gd name="connsiteY201" fmla="*/ 131480 h 164673"/>
                    <a:gd name="connsiteX202" fmla="*/ 109092 w 182790"/>
                    <a:gd name="connsiteY202" fmla="*/ 131154 h 164673"/>
                    <a:gd name="connsiteX203" fmla="*/ 108245 w 182790"/>
                    <a:gd name="connsiteY203" fmla="*/ 131414 h 164673"/>
                    <a:gd name="connsiteX204" fmla="*/ 107617 w 182790"/>
                    <a:gd name="connsiteY204" fmla="*/ 131007 h 164673"/>
                    <a:gd name="connsiteX205" fmla="*/ 107870 w 182790"/>
                    <a:gd name="connsiteY205" fmla="*/ 130135 h 164673"/>
                    <a:gd name="connsiteX206" fmla="*/ 108481 w 182790"/>
                    <a:gd name="connsiteY206" fmla="*/ 129043 h 164673"/>
                    <a:gd name="connsiteX207" fmla="*/ 109696 w 182790"/>
                    <a:gd name="connsiteY207" fmla="*/ 125147 h 164673"/>
                    <a:gd name="connsiteX208" fmla="*/ 112800 w 182790"/>
                    <a:gd name="connsiteY208" fmla="*/ 121219 h 164673"/>
                    <a:gd name="connsiteX209" fmla="*/ 112866 w 182790"/>
                    <a:gd name="connsiteY209" fmla="*/ 120404 h 164673"/>
                    <a:gd name="connsiteX210" fmla="*/ 111594 w 182790"/>
                    <a:gd name="connsiteY210" fmla="*/ 118106 h 164673"/>
                    <a:gd name="connsiteX211" fmla="*/ 110258 w 182790"/>
                    <a:gd name="connsiteY211" fmla="*/ 114984 h 164673"/>
                    <a:gd name="connsiteX212" fmla="*/ 110258 w 182790"/>
                    <a:gd name="connsiteY212" fmla="*/ 111627 h 164673"/>
                    <a:gd name="connsiteX213" fmla="*/ 110005 w 182790"/>
                    <a:gd name="connsiteY213" fmla="*/ 109206 h 164673"/>
                    <a:gd name="connsiteX214" fmla="*/ 107251 w 182790"/>
                    <a:gd name="connsiteY214" fmla="*/ 108530 h 164673"/>
                    <a:gd name="connsiteX215" fmla="*/ 106753 w 182790"/>
                    <a:gd name="connsiteY215" fmla="*/ 108122 h 164673"/>
                    <a:gd name="connsiteX216" fmla="*/ 106680 w 182790"/>
                    <a:gd name="connsiteY216" fmla="*/ 107307 h 164673"/>
                    <a:gd name="connsiteX217" fmla="*/ 107397 w 182790"/>
                    <a:gd name="connsiteY217" fmla="*/ 105131 h 164673"/>
                    <a:gd name="connsiteX218" fmla="*/ 108229 w 182790"/>
                    <a:gd name="connsiteY218" fmla="*/ 103127 h 164673"/>
                    <a:gd name="connsiteX219" fmla="*/ 108351 w 182790"/>
                    <a:gd name="connsiteY219" fmla="*/ 102271 h 164673"/>
                    <a:gd name="connsiteX220" fmla="*/ 108155 w 182790"/>
                    <a:gd name="connsiteY220" fmla="*/ 101529 h 164673"/>
                    <a:gd name="connsiteX221" fmla="*/ 106468 w 182790"/>
                    <a:gd name="connsiteY221" fmla="*/ 99386 h 164673"/>
                    <a:gd name="connsiteX222" fmla="*/ 103836 w 182790"/>
                    <a:gd name="connsiteY222" fmla="*/ 95433 h 164673"/>
                    <a:gd name="connsiteX223" fmla="*/ 101391 w 182790"/>
                    <a:gd name="connsiteY223" fmla="*/ 91057 h 164673"/>
                    <a:gd name="connsiteX224" fmla="*/ 99305 w 182790"/>
                    <a:gd name="connsiteY224" fmla="*/ 87292 h 164673"/>
                    <a:gd name="connsiteX225" fmla="*/ 97610 w 182790"/>
                    <a:gd name="connsiteY225" fmla="*/ 85580 h 164673"/>
                    <a:gd name="connsiteX226" fmla="*/ 95996 w 182790"/>
                    <a:gd name="connsiteY226" fmla="*/ 83095 h 164673"/>
                    <a:gd name="connsiteX227" fmla="*/ 95376 w 182790"/>
                    <a:gd name="connsiteY227" fmla="*/ 81522 h 164673"/>
                    <a:gd name="connsiteX228" fmla="*/ 93689 w 182790"/>
                    <a:gd name="connsiteY228" fmla="*/ 80951 h 164673"/>
                    <a:gd name="connsiteX229" fmla="*/ 88775 w 182790"/>
                    <a:gd name="connsiteY229" fmla="*/ 80984 h 164673"/>
                    <a:gd name="connsiteX230" fmla="*/ 82866 w 182790"/>
                    <a:gd name="connsiteY230" fmla="*/ 81025 h 164673"/>
                    <a:gd name="connsiteX231" fmla="*/ 77879 w 182790"/>
                    <a:gd name="connsiteY231" fmla="*/ 81057 h 164673"/>
                    <a:gd name="connsiteX232" fmla="*/ 77594 w 182790"/>
                    <a:gd name="connsiteY232" fmla="*/ 83176 h 164673"/>
                    <a:gd name="connsiteX233" fmla="*/ 72150 w 182790"/>
                    <a:gd name="connsiteY233" fmla="*/ 84602 h 164673"/>
                    <a:gd name="connsiteX234" fmla="*/ 68784 w 182790"/>
                    <a:gd name="connsiteY234" fmla="*/ 82964 h 164673"/>
                    <a:gd name="connsiteX235" fmla="*/ 65059 w 182790"/>
                    <a:gd name="connsiteY235" fmla="*/ 83918 h 164673"/>
                    <a:gd name="connsiteX236" fmla="*/ 63242 w 182790"/>
                    <a:gd name="connsiteY236" fmla="*/ 85002 h 164673"/>
                    <a:gd name="connsiteX237" fmla="*/ 62671 w 182790"/>
                    <a:gd name="connsiteY237" fmla="*/ 87267 h 164673"/>
                    <a:gd name="connsiteX238" fmla="*/ 61840 w 182790"/>
                    <a:gd name="connsiteY238" fmla="*/ 89745 h 164673"/>
                    <a:gd name="connsiteX239" fmla="*/ 61050 w 182790"/>
                    <a:gd name="connsiteY239" fmla="*/ 90764 h 164673"/>
                    <a:gd name="connsiteX240" fmla="*/ 60707 w 182790"/>
                    <a:gd name="connsiteY240" fmla="*/ 91880 h 164673"/>
                    <a:gd name="connsiteX241" fmla="*/ 60251 w 182790"/>
                    <a:gd name="connsiteY241" fmla="*/ 92890 h 164673"/>
                    <a:gd name="connsiteX242" fmla="*/ 59518 w 182790"/>
                    <a:gd name="connsiteY242" fmla="*/ 94056 h 164673"/>
                    <a:gd name="connsiteX243" fmla="*/ 58703 w 182790"/>
                    <a:gd name="connsiteY243" fmla="*/ 96403 h 164673"/>
                    <a:gd name="connsiteX244" fmla="*/ 56926 w 182790"/>
                    <a:gd name="connsiteY244" fmla="*/ 99728 h 164673"/>
                    <a:gd name="connsiteX245" fmla="*/ 55060 w 182790"/>
                    <a:gd name="connsiteY245" fmla="*/ 101888 h 164673"/>
                    <a:gd name="connsiteX246" fmla="*/ 51898 w 182790"/>
                    <a:gd name="connsiteY246" fmla="*/ 103061 h 164673"/>
                    <a:gd name="connsiteX247" fmla="*/ 50911 w 182790"/>
                    <a:gd name="connsiteY247" fmla="*/ 106566 h 164673"/>
                    <a:gd name="connsiteX248" fmla="*/ 50178 w 182790"/>
                    <a:gd name="connsiteY248" fmla="*/ 107870 h 164673"/>
                    <a:gd name="connsiteX249" fmla="*/ 48956 w 182790"/>
                    <a:gd name="connsiteY249" fmla="*/ 108897 h 164673"/>
                    <a:gd name="connsiteX250" fmla="*/ 47652 w 182790"/>
                    <a:gd name="connsiteY250" fmla="*/ 109565 h 164673"/>
                    <a:gd name="connsiteX251" fmla="*/ 46445 w 182790"/>
                    <a:gd name="connsiteY251" fmla="*/ 109157 h 164673"/>
                    <a:gd name="connsiteX252" fmla="*/ 45060 w 182790"/>
                    <a:gd name="connsiteY252" fmla="*/ 108880 h 164673"/>
                    <a:gd name="connsiteX253" fmla="*/ 43618 w 182790"/>
                    <a:gd name="connsiteY253" fmla="*/ 109508 h 164673"/>
                    <a:gd name="connsiteX254" fmla="*/ 43365 w 182790"/>
                    <a:gd name="connsiteY254" fmla="*/ 108636 h 164673"/>
                    <a:gd name="connsiteX255" fmla="*/ 44188 w 182790"/>
                    <a:gd name="connsiteY255" fmla="*/ 105849 h 164673"/>
                    <a:gd name="connsiteX256" fmla="*/ 43536 w 182790"/>
                    <a:gd name="connsiteY256" fmla="*/ 104414 h 164673"/>
                    <a:gd name="connsiteX257" fmla="*/ 41050 w 182790"/>
                    <a:gd name="connsiteY257" fmla="*/ 101521 h 164673"/>
                    <a:gd name="connsiteX258" fmla="*/ 40814 w 182790"/>
                    <a:gd name="connsiteY258" fmla="*/ 100127 h 164673"/>
                    <a:gd name="connsiteX259" fmla="*/ 40056 w 182790"/>
                    <a:gd name="connsiteY259" fmla="*/ 98327 h 164673"/>
                    <a:gd name="connsiteX260" fmla="*/ 36780 w 182790"/>
                    <a:gd name="connsiteY260" fmla="*/ 94618 h 164673"/>
                    <a:gd name="connsiteX261" fmla="*/ 33724 w 182790"/>
                    <a:gd name="connsiteY261" fmla="*/ 94847 h 164673"/>
                    <a:gd name="connsiteX262" fmla="*/ 34579 w 182790"/>
                    <a:gd name="connsiteY262" fmla="*/ 91733 h 164673"/>
                    <a:gd name="connsiteX263" fmla="*/ 34539 w 182790"/>
                    <a:gd name="connsiteY263" fmla="*/ 87585 h 164673"/>
                    <a:gd name="connsiteX264" fmla="*/ 33496 w 182790"/>
                    <a:gd name="connsiteY264" fmla="*/ 85328 h 164673"/>
                    <a:gd name="connsiteX265" fmla="*/ 33764 w 182790"/>
                    <a:gd name="connsiteY265" fmla="*/ 83029 h 164673"/>
                    <a:gd name="connsiteX266" fmla="*/ 33202 w 182790"/>
                    <a:gd name="connsiteY266" fmla="*/ 83168 h 164673"/>
                    <a:gd name="connsiteX267" fmla="*/ 32175 w 182790"/>
                    <a:gd name="connsiteY267" fmla="*/ 84757 h 164673"/>
                    <a:gd name="connsiteX268" fmla="*/ 30537 w 182790"/>
                    <a:gd name="connsiteY268" fmla="*/ 84244 h 164673"/>
                    <a:gd name="connsiteX269" fmla="*/ 27196 w 182790"/>
                    <a:gd name="connsiteY269" fmla="*/ 81791 h 164673"/>
                    <a:gd name="connsiteX270" fmla="*/ 25533 w 182790"/>
                    <a:gd name="connsiteY270" fmla="*/ 79403 h 164673"/>
                    <a:gd name="connsiteX271" fmla="*/ 25329 w 182790"/>
                    <a:gd name="connsiteY271" fmla="*/ 77373 h 164673"/>
                    <a:gd name="connsiteX272" fmla="*/ 24955 w 182790"/>
                    <a:gd name="connsiteY272" fmla="*/ 76583 h 164673"/>
                    <a:gd name="connsiteX273" fmla="*/ 23936 w 182790"/>
                    <a:gd name="connsiteY273" fmla="*/ 77007 h 164673"/>
                    <a:gd name="connsiteX274" fmla="*/ 21841 w 182790"/>
                    <a:gd name="connsiteY274" fmla="*/ 76966 h 164673"/>
                    <a:gd name="connsiteX275" fmla="*/ 15485 w 182790"/>
                    <a:gd name="connsiteY275" fmla="*/ 73356 h 164673"/>
                    <a:gd name="connsiteX276" fmla="*/ 10953 w 182790"/>
                    <a:gd name="connsiteY276" fmla="*/ 64244 h 164673"/>
                    <a:gd name="connsiteX277" fmla="*/ 10855 w 182790"/>
                    <a:gd name="connsiteY277" fmla="*/ 62199 h 164673"/>
                    <a:gd name="connsiteX278" fmla="*/ 11508 w 182790"/>
                    <a:gd name="connsiteY278" fmla="*/ 58662 h 164673"/>
                    <a:gd name="connsiteX279" fmla="*/ 11353 w 182790"/>
                    <a:gd name="connsiteY279" fmla="*/ 57700 h 164673"/>
                    <a:gd name="connsiteX280" fmla="*/ 9274 w 182790"/>
                    <a:gd name="connsiteY280" fmla="*/ 60055 h 164673"/>
                    <a:gd name="connsiteX281" fmla="*/ 8875 w 182790"/>
                    <a:gd name="connsiteY281" fmla="*/ 58482 h 164673"/>
                    <a:gd name="connsiteX282" fmla="*/ 7286 w 182790"/>
                    <a:gd name="connsiteY282" fmla="*/ 54823 h 164673"/>
                    <a:gd name="connsiteX283" fmla="*/ 6830 w 182790"/>
                    <a:gd name="connsiteY283" fmla="*/ 52721 h 164673"/>
                    <a:gd name="connsiteX284" fmla="*/ 5298 w 182790"/>
                    <a:gd name="connsiteY284" fmla="*/ 51791 h 164673"/>
                    <a:gd name="connsiteX285" fmla="*/ 4083 w 182790"/>
                    <a:gd name="connsiteY285" fmla="*/ 51620 h 164673"/>
                    <a:gd name="connsiteX286" fmla="*/ 3130 w 182790"/>
                    <a:gd name="connsiteY286" fmla="*/ 52321 h 164673"/>
                    <a:gd name="connsiteX287" fmla="*/ 1883 w 182790"/>
                    <a:gd name="connsiteY287" fmla="*/ 56592 h 164673"/>
                    <a:gd name="connsiteX288" fmla="*/ 962 w 182790"/>
                    <a:gd name="connsiteY288" fmla="*/ 56567 h 164673"/>
                    <a:gd name="connsiteX289" fmla="*/ 0 w 182790"/>
                    <a:gd name="connsiteY289" fmla="*/ 55654 h 164673"/>
                    <a:gd name="connsiteX290" fmla="*/ 204 w 182790"/>
                    <a:gd name="connsiteY290" fmla="*/ 52460 h 164673"/>
                    <a:gd name="connsiteX291" fmla="*/ 1296 w 182790"/>
                    <a:gd name="connsiteY291" fmla="*/ 50887 h 164673"/>
                    <a:gd name="connsiteX292" fmla="*/ 2649 w 182790"/>
                    <a:gd name="connsiteY292" fmla="*/ 48475 h 164673"/>
                    <a:gd name="connsiteX293" fmla="*/ 6740 w 182790"/>
                    <a:gd name="connsiteY293" fmla="*/ 38401 h 164673"/>
                    <a:gd name="connsiteX294" fmla="*/ 8207 w 182790"/>
                    <a:gd name="connsiteY294" fmla="*/ 36087 h 164673"/>
                    <a:gd name="connsiteX295" fmla="*/ 9136 w 182790"/>
                    <a:gd name="connsiteY295" fmla="*/ 35280 h 164673"/>
                    <a:gd name="connsiteX296" fmla="*/ 11067 w 182790"/>
                    <a:gd name="connsiteY296" fmla="*/ 35190 h 164673"/>
                    <a:gd name="connsiteX297" fmla="*/ 14849 w 182790"/>
                    <a:gd name="connsiteY297" fmla="*/ 33838 h 164673"/>
                    <a:gd name="connsiteX298" fmla="*/ 17938 w 182790"/>
                    <a:gd name="connsiteY298" fmla="*/ 31613 h 164673"/>
                    <a:gd name="connsiteX299" fmla="*/ 19486 w 182790"/>
                    <a:gd name="connsiteY299" fmla="*/ 30708 h 164673"/>
                    <a:gd name="connsiteX300" fmla="*/ 23040 w 182790"/>
                    <a:gd name="connsiteY300" fmla="*/ 30945 h 164673"/>
                    <a:gd name="connsiteX301" fmla="*/ 27236 w 182790"/>
                    <a:gd name="connsiteY301" fmla="*/ 30561 h 164673"/>
                    <a:gd name="connsiteX302" fmla="*/ 32705 w 182790"/>
                    <a:gd name="connsiteY302" fmla="*/ 28402 h 164673"/>
                    <a:gd name="connsiteX303" fmla="*/ 32803 w 182790"/>
                    <a:gd name="connsiteY303" fmla="*/ 25435 h 164673"/>
                    <a:gd name="connsiteX304" fmla="*/ 32754 w 182790"/>
                    <a:gd name="connsiteY304" fmla="*/ 21629 h 164673"/>
                    <a:gd name="connsiteX305" fmla="*/ 32575 w 182790"/>
                    <a:gd name="connsiteY305" fmla="*/ 20113 h 164673"/>
                    <a:gd name="connsiteX306" fmla="*/ 30627 w 182790"/>
                    <a:gd name="connsiteY306" fmla="*/ 18761 h 164673"/>
                    <a:gd name="connsiteX307" fmla="*/ 29494 w 182790"/>
                    <a:gd name="connsiteY307" fmla="*/ 17587 h 164673"/>
                    <a:gd name="connsiteX308" fmla="*/ 28524 w 182790"/>
                    <a:gd name="connsiteY308" fmla="*/ 16088 h 164673"/>
                    <a:gd name="connsiteX309" fmla="*/ 27342 w 182790"/>
                    <a:gd name="connsiteY309" fmla="*/ 15012 h 164673"/>
                    <a:gd name="connsiteX310" fmla="*/ 27375 w 182790"/>
                    <a:gd name="connsiteY310" fmla="*/ 13895 h 164673"/>
                    <a:gd name="connsiteX311" fmla="*/ 28867 w 182790"/>
                    <a:gd name="connsiteY311" fmla="*/ 12942 h 164673"/>
                    <a:gd name="connsiteX312" fmla="*/ 29812 w 182790"/>
                    <a:gd name="connsiteY312" fmla="*/ 12453 h 164673"/>
                    <a:gd name="connsiteX313" fmla="*/ 32029 w 182790"/>
                    <a:gd name="connsiteY313" fmla="*/ 12469 h 164673"/>
                    <a:gd name="connsiteX314" fmla="*/ 32770 w 182790"/>
                    <a:gd name="connsiteY314" fmla="*/ 11907 h 164673"/>
                    <a:gd name="connsiteX315" fmla="*/ 33316 w 182790"/>
                    <a:gd name="connsiteY315" fmla="*/ 10945 h 164673"/>
                    <a:gd name="connsiteX316" fmla="*/ 33952 w 182790"/>
                    <a:gd name="connsiteY316" fmla="*/ 8500 h 164673"/>
                    <a:gd name="connsiteX317" fmla="*/ 34172 w 182790"/>
                    <a:gd name="connsiteY317" fmla="*/ 5925 h 164673"/>
                    <a:gd name="connsiteX318" fmla="*/ 32705 w 182790"/>
                    <a:gd name="connsiteY318" fmla="*/ 2461 h 164673"/>
                    <a:gd name="connsiteX319" fmla="*/ 32786 w 182790"/>
                    <a:gd name="connsiteY319" fmla="*/ 0 h 164673"/>
                    <a:gd name="connsiteX320" fmla="*/ 40814 w 182790"/>
                    <a:gd name="connsiteY320" fmla="*/ 350 h 164673"/>
                    <a:gd name="connsiteX321" fmla="*/ 41637 w 182790"/>
                    <a:gd name="connsiteY321" fmla="*/ 611 h 164673"/>
                    <a:gd name="connsiteX322" fmla="*/ 45215 w 182790"/>
                    <a:gd name="connsiteY322" fmla="*/ 1043 h 164673"/>
                    <a:gd name="connsiteX323" fmla="*/ 47440 w 182790"/>
                    <a:gd name="connsiteY323" fmla="*/ 1035 h 164673"/>
                    <a:gd name="connsiteX324" fmla="*/ 48817 w 182790"/>
                    <a:gd name="connsiteY324" fmla="*/ 1222 h 164673"/>
                    <a:gd name="connsiteX325" fmla="*/ 49396 w 182790"/>
                    <a:gd name="connsiteY325" fmla="*/ 1785 h 164673"/>
                    <a:gd name="connsiteX326" fmla="*/ 49273 w 182790"/>
                    <a:gd name="connsiteY326" fmla="*/ 2812 h 164673"/>
                    <a:gd name="connsiteX327" fmla="*/ 48898 w 182790"/>
                    <a:gd name="connsiteY327" fmla="*/ 4173 h 164673"/>
                    <a:gd name="connsiteX328" fmla="*/ 49355 w 182790"/>
                    <a:gd name="connsiteY328" fmla="*/ 5566 h 164673"/>
                    <a:gd name="connsiteX329" fmla="*/ 50577 w 182790"/>
                    <a:gd name="connsiteY329" fmla="*/ 5949 h 164673"/>
                    <a:gd name="connsiteX330" fmla="*/ 51229 w 182790"/>
                    <a:gd name="connsiteY330" fmla="*/ 5525 h 164673"/>
                    <a:gd name="connsiteX331" fmla="*/ 51849 w 182790"/>
                    <a:gd name="connsiteY331" fmla="*/ 4833 h 164673"/>
                    <a:gd name="connsiteX332" fmla="*/ 52598 w 182790"/>
                    <a:gd name="connsiteY332" fmla="*/ 4295 h 164673"/>
                    <a:gd name="connsiteX333" fmla="*/ 53650 w 182790"/>
                    <a:gd name="connsiteY333" fmla="*/ 4662 h 164673"/>
                    <a:gd name="connsiteX334" fmla="*/ 55899 w 182790"/>
                    <a:gd name="connsiteY334" fmla="*/ 6723 h 164673"/>
                    <a:gd name="connsiteX335" fmla="*/ 57994 w 182790"/>
                    <a:gd name="connsiteY335" fmla="*/ 7294 h 164673"/>
                    <a:gd name="connsiteX336" fmla="*/ 60276 w 182790"/>
                    <a:gd name="connsiteY336" fmla="*/ 8410 h 164673"/>
                    <a:gd name="connsiteX337" fmla="*/ 62427 w 182790"/>
                    <a:gd name="connsiteY337" fmla="*/ 9030 h 164673"/>
                    <a:gd name="connsiteX338" fmla="*/ 64334 w 182790"/>
                    <a:gd name="connsiteY338" fmla="*/ 8957 h 164673"/>
                    <a:gd name="connsiteX339" fmla="*/ 65777 w 182790"/>
                    <a:gd name="connsiteY339" fmla="*/ 10114 h 164673"/>
                    <a:gd name="connsiteX340" fmla="*/ 68450 w 182790"/>
                    <a:gd name="connsiteY340" fmla="*/ 10480 h 164673"/>
                    <a:gd name="connsiteX341" fmla="*/ 71905 w 182790"/>
                    <a:gd name="connsiteY341" fmla="*/ 9005 h 164673"/>
                    <a:gd name="connsiteX342" fmla="*/ 74627 w 182790"/>
                    <a:gd name="connsiteY342" fmla="*/ 8362 h 164673"/>
                    <a:gd name="connsiteX343" fmla="*/ 78441 w 182790"/>
                    <a:gd name="connsiteY343" fmla="*/ 8198 h 164673"/>
                    <a:gd name="connsiteX344" fmla="*/ 80438 w 182790"/>
                    <a:gd name="connsiteY344" fmla="*/ 8687 h 164673"/>
                    <a:gd name="connsiteX345" fmla="*/ 86249 w 182790"/>
                    <a:gd name="connsiteY345" fmla="*/ 7506 h 164673"/>
                    <a:gd name="connsiteX346" fmla="*/ 89150 w 182790"/>
                    <a:gd name="connsiteY346" fmla="*/ 7767 h 164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Lst>
                  <a:rect l="l" t="t" r="r" b="b"/>
                  <a:pathLst>
                    <a:path w="182790" h="164673">
                      <a:moveTo>
                        <a:pt x="90821" y="8166"/>
                      </a:moveTo>
                      <a:lnTo>
                        <a:pt x="90112" y="8973"/>
                      </a:lnTo>
                      <a:lnTo>
                        <a:pt x="89378" y="10749"/>
                      </a:lnTo>
                      <a:lnTo>
                        <a:pt x="88710" y="12925"/>
                      </a:lnTo>
                      <a:lnTo>
                        <a:pt x="88025" y="14401"/>
                      </a:lnTo>
                      <a:lnTo>
                        <a:pt x="88270" y="15354"/>
                      </a:lnTo>
                      <a:lnTo>
                        <a:pt x="90193" y="17261"/>
                      </a:lnTo>
                      <a:lnTo>
                        <a:pt x="92915" y="19942"/>
                      </a:lnTo>
                      <a:lnTo>
                        <a:pt x="94007" y="20285"/>
                      </a:lnTo>
                      <a:lnTo>
                        <a:pt x="95279" y="19657"/>
                      </a:lnTo>
                      <a:lnTo>
                        <a:pt x="97275" y="17538"/>
                      </a:lnTo>
                      <a:lnTo>
                        <a:pt x="98848" y="15240"/>
                      </a:lnTo>
                      <a:lnTo>
                        <a:pt x="100364" y="14131"/>
                      </a:lnTo>
                      <a:lnTo>
                        <a:pt x="102133" y="14197"/>
                      </a:lnTo>
                      <a:lnTo>
                        <a:pt x="103551" y="15818"/>
                      </a:lnTo>
                      <a:lnTo>
                        <a:pt x="105278" y="19372"/>
                      </a:lnTo>
                      <a:lnTo>
                        <a:pt x="106851" y="22615"/>
                      </a:lnTo>
                      <a:lnTo>
                        <a:pt x="107055" y="22942"/>
                      </a:lnTo>
                      <a:lnTo>
                        <a:pt x="107691" y="23479"/>
                      </a:lnTo>
                      <a:lnTo>
                        <a:pt x="108481" y="23455"/>
                      </a:lnTo>
                      <a:lnTo>
                        <a:pt x="109321" y="22664"/>
                      </a:lnTo>
                      <a:lnTo>
                        <a:pt x="109932" y="22183"/>
                      </a:lnTo>
                      <a:lnTo>
                        <a:pt x="110665" y="20700"/>
                      </a:lnTo>
                      <a:lnTo>
                        <a:pt x="113730" y="16210"/>
                      </a:lnTo>
                      <a:lnTo>
                        <a:pt x="116036" y="14979"/>
                      </a:lnTo>
                      <a:lnTo>
                        <a:pt x="116851" y="14653"/>
                      </a:lnTo>
                      <a:lnTo>
                        <a:pt x="118465" y="13977"/>
                      </a:lnTo>
                      <a:lnTo>
                        <a:pt x="121138" y="15036"/>
                      </a:lnTo>
                      <a:lnTo>
                        <a:pt x="125017" y="16886"/>
                      </a:lnTo>
                      <a:lnTo>
                        <a:pt x="129728" y="19127"/>
                      </a:lnTo>
                      <a:lnTo>
                        <a:pt x="131382" y="19510"/>
                      </a:lnTo>
                      <a:lnTo>
                        <a:pt x="132360" y="19127"/>
                      </a:lnTo>
                      <a:lnTo>
                        <a:pt x="133762" y="16079"/>
                      </a:lnTo>
                      <a:lnTo>
                        <a:pt x="135506" y="14890"/>
                      </a:lnTo>
                      <a:lnTo>
                        <a:pt x="138008" y="13488"/>
                      </a:lnTo>
                      <a:lnTo>
                        <a:pt x="140045" y="12771"/>
                      </a:lnTo>
                      <a:lnTo>
                        <a:pt x="141202" y="12673"/>
                      </a:lnTo>
                      <a:lnTo>
                        <a:pt x="141642" y="11858"/>
                      </a:lnTo>
                      <a:lnTo>
                        <a:pt x="141863" y="10603"/>
                      </a:lnTo>
                      <a:lnTo>
                        <a:pt x="141634" y="9331"/>
                      </a:lnTo>
                      <a:lnTo>
                        <a:pt x="140314" y="7017"/>
                      </a:lnTo>
                      <a:lnTo>
                        <a:pt x="140274" y="6340"/>
                      </a:lnTo>
                      <a:lnTo>
                        <a:pt x="141031" y="5900"/>
                      </a:lnTo>
                      <a:lnTo>
                        <a:pt x="142637" y="5558"/>
                      </a:lnTo>
                      <a:lnTo>
                        <a:pt x="144739" y="5786"/>
                      </a:lnTo>
                      <a:lnTo>
                        <a:pt x="147095" y="6781"/>
                      </a:lnTo>
                      <a:lnTo>
                        <a:pt x="149010" y="8223"/>
                      </a:lnTo>
                      <a:lnTo>
                        <a:pt x="150110" y="9934"/>
                      </a:lnTo>
                      <a:lnTo>
                        <a:pt x="151300" y="13577"/>
                      </a:lnTo>
                      <a:lnTo>
                        <a:pt x="152221" y="17122"/>
                      </a:lnTo>
                      <a:lnTo>
                        <a:pt x="154592" y="22762"/>
                      </a:lnTo>
                      <a:lnTo>
                        <a:pt x="154543" y="26250"/>
                      </a:lnTo>
                      <a:lnTo>
                        <a:pt x="154503" y="30301"/>
                      </a:lnTo>
                      <a:lnTo>
                        <a:pt x="155546" y="31050"/>
                      </a:lnTo>
                      <a:lnTo>
                        <a:pt x="156703" y="31384"/>
                      </a:lnTo>
                      <a:lnTo>
                        <a:pt x="157241" y="31979"/>
                      </a:lnTo>
                      <a:lnTo>
                        <a:pt x="158398" y="35085"/>
                      </a:lnTo>
                      <a:lnTo>
                        <a:pt x="159482" y="35989"/>
                      </a:lnTo>
                      <a:lnTo>
                        <a:pt x="160786" y="36201"/>
                      </a:lnTo>
                      <a:lnTo>
                        <a:pt x="163207" y="38189"/>
                      </a:lnTo>
                      <a:lnTo>
                        <a:pt x="164779" y="38980"/>
                      </a:lnTo>
                      <a:lnTo>
                        <a:pt x="165000" y="39575"/>
                      </a:lnTo>
                      <a:lnTo>
                        <a:pt x="164951" y="40398"/>
                      </a:lnTo>
                      <a:lnTo>
                        <a:pt x="164340" y="41441"/>
                      </a:lnTo>
                      <a:lnTo>
                        <a:pt x="163386" y="42175"/>
                      </a:lnTo>
                      <a:lnTo>
                        <a:pt x="161976" y="43527"/>
                      </a:lnTo>
                      <a:lnTo>
                        <a:pt x="160810" y="45304"/>
                      </a:lnTo>
                      <a:lnTo>
                        <a:pt x="158423" y="49575"/>
                      </a:lnTo>
                      <a:lnTo>
                        <a:pt x="158349" y="50365"/>
                      </a:lnTo>
                      <a:lnTo>
                        <a:pt x="158863" y="50944"/>
                      </a:lnTo>
                      <a:lnTo>
                        <a:pt x="159849" y="51050"/>
                      </a:lnTo>
                      <a:lnTo>
                        <a:pt x="160908" y="50757"/>
                      </a:lnTo>
                      <a:lnTo>
                        <a:pt x="163117" y="49192"/>
                      </a:lnTo>
                      <a:lnTo>
                        <a:pt x="164861" y="49746"/>
                      </a:lnTo>
                      <a:lnTo>
                        <a:pt x="166524" y="50936"/>
                      </a:lnTo>
                      <a:lnTo>
                        <a:pt x="167127" y="52174"/>
                      </a:lnTo>
                      <a:lnTo>
                        <a:pt x="167290" y="53796"/>
                      </a:lnTo>
                      <a:lnTo>
                        <a:pt x="166907" y="55883"/>
                      </a:lnTo>
                      <a:lnTo>
                        <a:pt x="166850" y="58222"/>
                      </a:lnTo>
                      <a:lnTo>
                        <a:pt x="167412" y="62207"/>
                      </a:lnTo>
                      <a:lnTo>
                        <a:pt x="168268" y="66176"/>
                      </a:lnTo>
                      <a:lnTo>
                        <a:pt x="169140" y="67626"/>
                      </a:lnTo>
                      <a:lnTo>
                        <a:pt x="174706" y="71131"/>
                      </a:lnTo>
                      <a:lnTo>
                        <a:pt x="175236" y="72443"/>
                      </a:lnTo>
                      <a:lnTo>
                        <a:pt x="175521" y="73926"/>
                      </a:lnTo>
                      <a:lnTo>
                        <a:pt x="175113" y="75947"/>
                      </a:lnTo>
                      <a:lnTo>
                        <a:pt x="174551" y="77064"/>
                      </a:lnTo>
                      <a:lnTo>
                        <a:pt x="172954" y="78824"/>
                      </a:lnTo>
                      <a:lnTo>
                        <a:pt x="171495" y="80185"/>
                      </a:lnTo>
                      <a:lnTo>
                        <a:pt x="171038" y="81660"/>
                      </a:lnTo>
                      <a:lnTo>
                        <a:pt x="171267" y="84415"/>
                      </a:lnTo>
                      <a:lnTo>
                        <a:pt x="171259" y="90658"/>
                      </a:lnTo>
                      <a:lnTo>
                        <a:pt x="171487" y="96053"/>
                      </a:lnTo>
                      <a:lnTo>
                        <a:pt x="172693" y="98017"/>
                      </a:lnTo>
                      <a:lnTo>
                        <a:pt x="174119" y="99011"/>
                      </a:lnTo>
                      <a:lnTo>
                        <a:pt x="175814" y="98823"/>
                      </a:lnTo>
                      <a:lnTo>
                        <a:pt x="177461" y="98465"/>
                      </a:lnTo>
                      <a:lnTo>
                        <a:pt x="177363" y="101692"/>
                      </a:lnTo>
                      <a:lnTo>
                        <a:pt x="176922" y="105311"/>
                      </a:lnTo>
                      <a:lnTo>
                        <a:pt x="178870" y="106427"/>
                      </a:lnTo>
                      <a:lnTo>
                        <a:pt x="179848" y="107528"/>
                      </a:lnTo>
                      <a:lnTo>
                        <a:pt x="180394" y="108562"/>
                      </a:lnTo>
                      <a:lnTo>
                        <a:pt x="177314" y="110470"/>
                      </a:lnTo>
                      <a:lnTo>
                        <a:pt x="176426" y="111602"/>
                      </a:lnTo>
                      <a:lnTo>
                        <a:pt x="176002" y="114626"/>
                      </a:lnTo>
                      <a:lnTo>
                        <a:pt x="176100" y="117405"/>
                      </a:lnTo>
                      <a:lnTo>
                        <a:pt x="180240" y="119410"/>
                      </a:lnTo>
                      <a:lnTo>
                        <a:pt x="181845" y="121741"/>
                      </a:lnTo>
                      <a:lnTo>
                        <a:pt x="182546" y="124169"/>
                      </a:lnTo>
                      <a:lnTo>
                        <a:pt x="182790" y="128749"/>
                      </a:lnTo>
                      <a:lnTo>
                        <a:pt x="182424" y="129793"/>
                      </a:lnTo>
                      <a:lnTo>
                        <a:pt x="181356" y="129801"/>
                      </a:lnTo>
                      <a:lnTo>
                        <a:pt x="180158" y="128399"/>
                      </a:lnTo>
                      <a:lnTo>
                        <a:pt x="179262" y="127022"/>
                      </a:lnTo>
                      <a:lnTo>
                        <a:pt x="178145" y="127022"/>
                      </a:lnTo>
                      <a:lnTo>
                        <a:pt x="176050" y="126720"/>
                      </a:lnTo>
                      <a:lnTo>
                        <a:pt x="173671" y="126190"/>
                      </a:lnTo>
                      <a:lnTo>
                        <a:pt x="170721" y="126337"/>
                      </a:lnTo>
                      <a:lnTo>
                        <a:pt x="169678" y="126557"/>
                      </a:lnTo>
                      <a:lnTo>
                        <a:pt x="169009" y="127388"/>
                      </a:lnTo>
                      <a:lnTo>
                        <a:pt x="168830" y="128823"/>
                      </a:lnTo>
                      <a:lnTo>
                        <a:pt x="168536" y="133460"/>
                      </a:lnTo>
                      <a:lnTo>
                        <a:pt x="169498" y="134487"/>
                      </a:lnTo>
                      <a:lnTo>
                        <a:pt x="171397" y="135636"/>
                      </a:lnTo>
                      <a:lnTo>
                        <a:pt x="172644" y="136125"/>
                      </a:lnTo>
                      <a:lnTo>
                        <a:pt x="173687" y="135986"/>
                      </a:lnTo>
                      <a:lnTo>
                        <a:pt x="174470" y="136736"/>
                      </a:lnTo>
                      <a:lnTo>
                        <a:pt x="174641" y="138733"/>
                      </a:lnTo>
                      <a:lnTo>
                        <a:pt x="174103" y="140200"/>
                      </a:lnTo>
                      <a:lnTo>
                        <a:pt x="173052" y="141569"/>
                      </a:lnTo>
                      <a:lnTo>
                        <a:pt x="171739" y="145073"/>
                      </a:lnTo>
                      <a:lnTo>
                        <a:pt x="171968" y="146393"/>
                      </a:lnTo>
                      <a:lnTo>
                        <a:pt x="172016" y="148292"/>
                      </a:lnTo>
                      <a:lnTo>
                        <a:pt x="169775" y="153419"/>
                      </a:lnTo>
                      <a:lnTo>
                        <a:pt x="169131" y="154429"/>
                      </a:lnTo>
                      <a:lnTo>
                        <a:pt x="166165" y="153410"/>
                      </a:lnTo>
                      <a:lnTo>
                        <a:pt x="164217" y="153068"/>
                      </a:lnTo>
                      <a:lnTo>
                        <a:pt x="162824" y="154380"/>
                      </a:lnTo>
                      <a:lnTo>
                        <a:pt x="161935" y="153565"/>
                      </a:lnTo>
                      <a:lnTo>
                        <a:pt x="160892" y="152375"/>
                      </a:lnTo>
                      <a:lnTo>
                        <a:pt x="160525" y="150811"/>
                      </a:lnTo>
                      <a:lnTo>
                        <a:pt x="159816" y="150485"/>
                      </a:lnTo>
                      <a:lnTo>
                        <a:pt x="158520" y="150468"/>
                      </a:lnTo>
                      <a:lnTo>
                        <a:pt x="157315" y="151357"/>
                      </a:lnTo>
                      <a:lnTo>
                        <a:pt x="156793" y="152970"/>
                      </a:lnTo>
                      <a:lnTo>
                        <a:pt x="156720" y="154829"/>
                      </a:lnTo>
                      <a:lnTo>
                        <a:pt x="156524" y="156263"/>
                      </a:lnTo>
                      <a:lnTo>
                        <a:pt x="155815" y="157135"/>
                      </a:lnTo>
                      <a:lnTo>
                        <a:pt x="154356" y="159384"/>
                      </a:lnTo>
                      <a:lnTo>
                        <a:pt x="153672" y="161462"/>
                      </a:lnTo>
                      <a:lnTo>
                        <a:pt x="152824" y="163264"/>
                      </a:lnTo>
                      <a:lnTo>
                        <a:pt x="151610" y="163166"/>
                      </a:lnTo>
                      <a:lnTo>
                        <a:pt x="151056" y="162913"/>
                      </a:lnTo>
                      <a:lnTo>
                        <a:pt x="150664" y="163386"/>
                      </a:lnTo>
                      <a:lnTo>
                        <a:pt x="148790" y="164388"/>
                      </a:lnTo>
                      <a:lnTo>
                        <a:pt x="147168" y="164673"/>
                      </a:lnTo>
                      <a:lnTo>
                        <a:pt x="146744" y="163630"/>
                      </a:lnTo>
                      <a:lnTo>
                        <a:pt x="145799" y="162799"/>
                      </a:lnTo>
                      <a:lnTo>
                        <a:pt x="144747" y="161144"/>
                      </a:lnTo>
                      <a:lnTo>
                        <a:pt x="143550" y="159816"/>
                      </a:lnTo>
                      <a:lnTo>
                        <a:pt x="141276" y="158879"/>
                      </a:lnTo>
                      <a:lnTo>
                        <a:pt x="140371" y="159295"/>
                      </a:lnTo>
                      <a:lnTo>
                        <a:pt x="139296" y="159189"/>
                      </a:lnTo>
                      <a:lnTo>
                        <a:pt x="138578" y="158667"/>
                      </a:lnTo>
                      <a:lnTo>
                        <a:pt x="138684" y="157860"/>
                      </a:lnTo>
                      <a:lnTo>
                        <a:pt x="139882" y="155831"/>
                      </a:lnTo>
                      <a:lnTo>
                        <a:pt x="140559" y="153973"/>
                      </a:lnTo>
                      <a:lnTo>
                        <a:pt x="140934" y="151935"/>
                      </a:lnTo>
                      <a:lnTo>
                        <a:pt x="140925" y="150004"/>
                      </a:lnTo>
                      <a:lnTo>
                        <a:pt x="140289" y="147274"/>
                      </a:lnTo>
                      <a:lnTo>
                        <a:pt x="139263" y="145106"/>
                      </a:lnTo>
                      <a:lnTo>
                        <a:pt x="139010" y="143851"/>
                      </a:lnTo>
                      <a:lnTo>
                        <a:pt x="139132" y="142058"/>
                      </a:lnTo>
                      <a:lnTo>
                        <a:pt x="138896" y="140395"/>
                      </a:lnTo>
                      <a:lnTo>
                        <a:pt x="138562" y="139532"/>
                      </a:lnTo>
                      <a:lnTo>
                        <a:pt x="138399" y="137877"/>
                      </a:lnTo>
                      <a:lnTo>
                        <a:pt x="138073" y="136377"/>
                      </a:lnTo>
                      <a:lnTo>
                        <a:pt x="137470" y="135791"/>
                      </a:lnTo>
                      <a:lnTo>
                        <a:pt x="137136" y="133273"/>
                      </a:lnTo>
                      <a:lnTo>
                        <a:pt x="137225" y="130681"/>
                      </a:lnTo>
                      <a:lnTo>
                        <a:pt x="136345" y="129703"/>
                      </a:lnTo>
                      <a:lnTo>
                        <a:pt x="134952" y="128986"/>
                      </a:lnTo>
                      <a:lnTo>
                        <a:pt x="134128" y="127975"/>
                      </a:lnTo>
                      <a:lnTo>
                        <a:pt x="133623" y="126842"/>
                      </a:lnTo>
                      <a:lnTo>
                        <a:pt x="133126" y="126516"/>
                      </a:lnTo>
                      <a:lnTo>
                        <a:pt x="132694" y="126581"/>
                      </a:lnTo>
                      <a:lnTo>
                        <a:pt x="132303" y="127291"/>
                      </a:lnTo>
                      <a:lnTo>
                        <a:pt x="131838" y="127437"/>
                      </a:lnTo>
                      <a:lnTo>
                        <a:pt x="131031" y="125009"/>
                      </a:lnTo>
                      <a:lnTo>
                        <a:pt x="130689" y="124911"/>
                      </a:lnTo>
                      <a:lnTo>
                        <a:pt x="130127" y="125473"/>
                      </a:lnTo>
                      <a:lnTo>
                        <a:pt x="123689" y="128154"/>
                      </a:lnTo>
                      <a:lnTo>
                        <a:pt x="123403" y="127111"/>
                      </a:lnTo>
                      <a:lnTo>
                        <a:pt x="122857" y="125872"/>
                      </a:lnTo>
                      <a:lnTo>
                        <a:pt x="121627" y="125457"/>
                      </a:lnTo>
                      <a:lnTo>
                        <a:pt x="119500" y="126386"/>
                      </a:lnTo>
                      <a:lnTo>
                        <a:pt x="118253" y="126500"/>
                      </a:lnTo>
                      <a:lnTo>
                        <a:pt x="116346" y="126190"/>
                      </a:lnTo>
                      <a:lnTo>
                        <a:pt x="115498" y="126622"/>
                      </a:lnTo>
                      <a:lnTo>
                        <a:pt x="112964" y="130200"/>
                      </a:lnTo>
                      <a:lnTo>
                        <a:pt x="111456" y="131602"/>
                      </a:lnTo>
                      <a:lnTo>
                        <a:pt x="110299" y="131480"/>
                      </a:lnTo>
                      <a:lnTo>
                        <a:pt x="109092" y="131154"/>
                      </a:lnTo>
                      <a:lnTo>
                        <a:pt x="108245" y="131414"/>
                      </a:lnTo>
                      <a:lnTo>
                        <a:pt x="107617" y="131007"/>
                      </a:lnTo>
                      <a:lnTo>
                        <a:pt x="107870" y="130135"/>
                      </a:lnTo>
                      <a:lnTo>
                        <a:pt x="108481" y="129043"/>
                      </a:lnTo>
                      <a:lnTo>
                        <a:pt x="109696" y="125147"/>
                      </a:lnTo>
                      <a:lnTo>
                        <a:pt x="112800" y="121219"/>
                      </a:lnTo>
                      <a:lnTo>
                        <a:pt x="112866" y="120404"/>
                      </a:lnTo>
                      <a:lnTo>
                        <a:pt x="111594" y="118106"/>
                      </a:lnTo>
                      <a:lnTo>
                        <a:pt x="110258" y="114984"/>
                      </a:lnTo>
                      <a:lnTo>
                        <a:pt x="110258" y="111627"/>
                      </a:lnTo>
                      <a:lnTo>
                        <a:pt x="110005" y="109206"/>
                      </a:lnTo>
                      <a:lnTo>
                        <a:pt x="107251" y="108530"/>
                      </a:lnTo>
                      <a:lnTo>
                        <a:pt x="106753" y="108122"/>
                      </a:lnTo>
                      <a:lnTo>
                        <a:pt x="106680" y="107307"/>
                      </a:lnTo>
                      <a:lnTo>
                        <a:pt x="107397" y="105131"/>
                      </a:lnTo>
                      <a:lnTo>
                        <a:pt x="108229" y="103127"/>
                      </a:lnTo>
                      <a:lnTo>
                        <a:pt x="108351" y="102271"/>
                      </a:lnTo>
                      <a:lnTo>
                        <a:pt x="108155" y="101529"/>
                      </a:lnTo>
                      <a:lnTo>
                        <a:pt x="106468" y="99386"/>
                      </a:lnTo>
                      <a:lnTo>
                        <a:pt x="103836" y="95433"/>
                      </a:lnTo>
                      <a:lnTo>
                        <a:pt x="101391" y="91057"/>
                      </a:lnTo>
                      <a:lnTo>
                        <a:pt x="99305" y="87292"/>
                      </a:lnTo>
                      <a:lnTo>
                        <a:pt x="97610" y="85580"/>
                      </a:lnTo>
                      <a:lnTo>
                        <a:pt x="95996" y="83095"/>
                      </a:lnTo>
                      <a:lnTo>
                        <a:pt x="95376" y="81522"/>
                      </a:lnTo>
                      <a:lnTo>
                        <a:pt x="93689" y="80951"/>
                      </a:lnTo>
                      <a:lnTo>
                        <a:pt x="88775" y="80984"/>
                      </a:lnTo>
                      <a:lnTo>
                        <a:pt x="82866" y="81025"/>
                      </a:lnTo>
                      <a:lnTo>
                        <a:pt x="77879" y="81057"/>
                      </a:lnTo>
                      <a:lnTo>
                        <a:pt x="77594" y="83176"/>
                      </a:lnTo>
                      <a:lnTo>
                        <a:pt x="72150" y="84602"/>
                      </a:lnTo>
                      <a:lnTo>
                        <a:pt x="68784" y="82964"/>
                      </a:lnTo>
                      <a:lnTo>
                        <a:pt x="65059" y="83918"/>
                      </a:lnTo>
                      <a:lnTo>
                        <a:pt x="63242" y="85002"/>
                      </a:lnTo>
                      <a:lnTo>
                        <a:pt x="62671" y="87267"/>
                      </a:lnTo>
                      <a:lnTo>
                        <a:pt x="61840" y="89745"/>
                      </a:lnTo>
                      <a:lnTo>
                        <a:pt x="61050" y="90764"/>
                      </a:lnTo>
                      <a:lnTo>
                        <a:pt x="60707" y="91880"/>
                      </a:lnTo>
                      <a:lnTo>
                        <a:pt x="60251" y="92890"/>
                      </a:lnTo>
                      <a:lnTo>
                        <a:pt x="59518" y="94056"/>
                      </a:lnTo>
                      <a:lnTo>
                        <a:pt x="58703" y="96403"/>
                      </a:lnTo>
                      <a:lnTo>
                        <a:pt x="56926" y="99728"/>
                      </a:lnTo>
                      <a:lnTo>
                        <a:pt x="55060" y="101888"/>
                      </a:lnTo>
                      <a:lnTo>
                        <a:pt x="51898" y="103061"/>
                      </a:lnTo>
                      <a:lnTo>
                        <a:pt x="50911" y="106566"/>
                      </a:lnTo>
                      <a:lnTo>
                        <a:pt x="50178" y="107870"/>
                      </a:lnTo>
                      <a:lnTo>
                        <a:pt x="48956" y="108897"/>
                      </a:lnTo>
                      <a:lnTo>
                        <a:pt x="47652" y="109565"/>
                      </a:lnTo>
                      <a:lnTo>
                        <a:pt x="46445" y="109157"/>
                      </a:lnTo>
                      <a:lnTo>
                        <a:pt x="45060" y="108880"/>
                      </a:lnTo>
                      <a:lnTo>
                        <a:pt x="43618" y="109508"/>
                      </a:lnTo>
                      <a:lnTo>
                        <a:pt x="43365" y="108636"/>
                      </a:lnTo>
                      <a:lnTo>
                        <a:pt x="44188" y="105849"/>
                      </a:lnTo>
                      <a:lnTo>
                        <a:pt x="43536" y="104414"/>
                      </a:lnTo>
                      <a:lnTo>
                        <a:pt x="41050" y="101521"/>
                      </a:lnTo>
                      <a:lnTo>
                        <a:pt x="40814" y="100127"/>
                      </a:lnTo>
                      <a:lnTo>
                        <a:pt x="40056" y="98327"/>
                      </a:lnTo>
                      <a:lnTo>
                        <a:pt x="36780" y="94618"/>
                      </a:lnTo>
                      <a:lnTo>
                        <a:pt x="33724" y="94847"/>
                      </a:lnTo>
                      <a:lnTo>
                        <a:pt x="34579" y="91733"/>
                      </a:lnTo>
                      <a:lnTo>
                        <a:pt x="34539" y="87585"/>
                      </a:lnTo>
                      <a:lnTo>
                        <a:pt x="33496" y="85328"/>
                      </a:lnTo>
                      <a:lnTo>
                        <a:pt x="33764" y="83029"/>
                      </a:lnTo>
                      <a:lnTo>
                        <a:pt x="33202" y="83168"/>
                      </a:lnTo>
                      <a:lnTo>
                        <a:pt x="32175" y="84757"/>
                      </a:lnTo>
                      <a:lnTo>
                        <a:pt x="30537" y="84244"/>
                      </a:lnTo>
                      <a:lnTo>
                        <a:pt x="27196" y="81791"/>
                      </a:lnTo>
                      <a:lnTo>
                        <a:pt x="25533" y="79403"/>
                      </a:lnTo>
                      <a:lnTo>
                        <a:pt x="25329" y="77373"/>
                      </a:lnTo>
                      <a:lnTo>
                        <a:pt x="24955" y="76583"/>
                      </a:lnTo>
                      <a:lnTo>
                        <a:pt x="23936" y="77007"/>
                      </a:lnTo>
                      <a:lnTo>
                        <a:pt x="21841" y="76966"/>
                      </a:lnTo>
                      <a:lnTo>
                        <a:pt x="15485" y="73356"/>
                      </a:lnTo>
                      <a:lnTo>
                        <a:pt x="10953" y="64244"/>
                      </a:lnTo>
                      <a:lnTo>
                        <a:pt x="10855" y="62199"/>
                      </a:lnTo>
                      <a:lnTo>
                        <a:pt x="11508" y="58662"/>
                      </a:lnTo>
                      <a:lnTo>
                        <a:pt x="11353" y="57700"/>
                      </a:lnTo>
                      <a:lnTo>
                        <a:pt x="9274" y="60055"/>
                      </a:lnTo>
                      <a:lnTo>
                        <a:pt x="8875" y="58482"/>
                      </a:lnTo>
                      <a:lnTo>
                        <a:pt x="7286" y="54823"/>
                      </a:lnTo>
                      <a:lnTo>
                        <a:pt x="6830" y="52721"/>
                      </a:lnTo>
                      <a:lnTo>
                        <a:pt x="5298" y="51791"/>
                      </a:lnTo>
                      <a:lnTo>
                        <a:pt x="4083" y="51620"/>
                      </a:lnTo>
                      <a:lnTo>
                        <a:pt x="3130" y="52321"/>
                      </a:lnTo>
                      <a:lnTo>
                        <a:pt x="1883" y="56592"/>
                      </a:lnTo>
                      <a:lnTo>
                        <a:pt x="962" y="56567"/>
                      </a:lnTo>
                      <a:lnTo>
                        <a:pt x="0" y="55654"/>
                      </a:lnTo>
                      <a:lnTo>
                        <a:pt x="204" y="52460"/>
                      </a:lnTo>
                      <a:lnTo>
                        <a:pt x="1296" y="50887"/>
                      </a:lnTo>
                      <a:lnTo>
                        <a:pt x="2649" y="48475"/>
                      </a:lnTo>
                      <a:lnTo>
                        <a:pt x="6740" y="38401"/>
                      </a:lnTo>
                      <a:lnTo>
                        <a:pt x="8207" y="36087"/>
                      </a:lnTo>
                      <a:lnTo>
                        <a:pt x="9136" y="35280"/>
                      </a:lnTo>
                      <a:lnTo>
                        <a:pt x="11067" y="35190"/>
                      </a:lnTo>
                      <a:lnTo>
                        <a:pt x="14849" y="33838"/>
                      </a:lnTo>
                      <a:lnTo>
                        <a:pt x="17938" y="31613"/>
                      </a:lnTo>
                      <a:lnTo>
                        <a:pt x="19486" y="30708"/>
                      </a:lnTo>
                      <a:lnTo>
                        <a:pt x="23040" y="30945"/>
                      </a:lnTo>
                      <a:lnTo>
                        <a:pt x="27236" y="30561"/>
                      </a:lnTo>
                      <a:lnTo>
                        <a:pt x="32705" y="28402"/>
                      </a:lnTo>
                      <a:lnTo>
                        <a:pt x="32803" y="25435"/>
                      </a:lnTo>
                      <a:lnTo>
                        <a:pt x="32754" y="21629"/>
                      </a:lnTo>
                      <a:lnTo>
                        <a:pt x="32575" y="20113"/>
                      </a:lnTo>
                      <a:lnTo>
                        <a:pt x="30627" y="18761"/>
                      </a:lnTo>
                      <a:lnTo>
                        <a:pt x="29494" y="17587"/>
                      </a:lnTo>
                      <a:lnTo>
                        <a:pt x="28524" y="16088"/>
                      </a:lnTo>
                      <a:lnTo>
                        <a:pt x="27342" y="15012"/>
                      </a:lnTo>
                      <a:lnTo>
                        <a:pt x="27375" y="13895"/>
                      </a:lnTo>
                      <a:lnTo>
                        <a:pt x="28867" y="12942"/>
                      </a:lnTo>
                      <a:lnTo>
                        <a:pt x="29812" y="12453"/>
                      </a:lnTo>
                      <a:lnTo>
                        <a:pt x="32029" y="12469"/>
                      </a:lnTo>
                      <a:lnTo>
                        <a:pt x="32770" y="11907"/>
                      </a:lnTo>
                      <a:lnTo>
                        <a:pt x="33316" y="10945"/>
                      </a:lnTo>
                      <a:lnTo>
                        <a:pt x="33952" y="8500"/>
                      </a:lnTo>
                      <a:lnTo>
                        <a:pt x="34172" y="5925"/>
                      </a:lnTo>
                      <a:lnTo>
                        <a:pt x="32705" y="2461"/>
                      </a:lnTo>
                      <a:lnTo>
                        <a:pt x="32786" y="0"/>
                      </a:lnTo>
                      <a:lnTo>
                        <a:pt x="40814" y="350"/>
                      </a:lnTo>
                      <a:lnTo>
                        <a:pt x="41637" y="611"/>
                      </a:lnTo>
                      <a:lnTo>
                        <a:pt x="45215" y="1043"/>
                      </a:lnTo>
                      <a:lnTo>
                        <a:pt x="47440" y="1035"/>
                      </a:lnTo>
                      <a:lnTo>
                        <a:pt x="48817" y="1222"/>
                      </a:lnTo>
                      <a:lnTo>
                        <a:pt x="49396" y="1785"/>
                      </a:lnTo>
                      <a:lnTo>
                        <a:pt x="49273" y="2812"/>
                      </a:lnTo>
                      <a:lnTo>
                        <a:pt x="48898" y="4173"/>
                      </a:lnTo>
                      <a:lnTo>
                        <a:pt x="49355" y="5566"/>
                      </a:lnTo>
                      <a:lnTo>
                        <a:pt x="50577" y="5949"/>
                      </a:lnTo>
                      <a:lnTo>
                        <a:pt x="51229" y="5525"/>
                      </a:lnTo>
                      <a:lnTo>
                        <a:pt x="51849" y="4833"/>
                      </a:lnTo>
                      <a:lnTo>
                        <a:pt x="52598" y="4295"/>
                      </a:lnTo>
                      <a:lnTo>
                        <a:pt x="53650" y="4662"/>
                      </a:lnTo>
                      <a:lnTo>
                        <a:pt x="55899" y="6723"/>
                      </a:lnTo>
                      <a:lnTo>
                        <a:pt x="57994" y="7294"/>
                      </a:lnTo>
                      <a:lnTo>
                        <a:pt x="60276" y="8410"/>
                      </a:lnTo>
                      <a:lnTo>
                        <a:pt x="62427" y="9030"/>
                      </a:lnTo>
                      <a:lnTo>
                        <a:pt x="64334" y="8957"/>
                      </a:lnTo>
                      <a:lnTo>
                        <a:pt x="65777" y="10114"/>
                      </a:lnTo>
                      <a:lnTo>
                        <a:pt x="68450" y="10480"/>
                      </a:lnTo>
                      <a:lnTo>
                        <a:pt x="71905" y="9005"/>
                      </a:lnTo>
                      <a:lnTo>
                        <a:pt x="74627" y="8362"/>
                      </a:lnTo>
                      <a:lnTo>
                        <a:pt x="78441" y="8198"/>
                      </a:lnTo>
                      <a:lnTo>
                        <a:pt x="80438" y="8687"/>
                      </a:lnTo>
                      <a:lnTo>
                        <a:pt x="86249" y="7506"/>
                      </a:lnTo>
                      <a:lnTo>
                        <a:pt x="89150" y="7767"/>
                      </a:lnTo>
                      <a:close/>
                    </a:path>
                  </a:pathLst>
                </a:custGeom>
                <a:solidFill>
                  <a:srgbClr val="D6D6D2"/>
                </a:solidFill>
                <a:ln w="6112" cap="rnd">
                  <a:solidFill>
                    <a:srgbClr val="FFFFFF"/>
                  </a:solidFill>
                  <a:prstDash val="solid"/>
                  <a:round/>
                </a:ln>
              </p:spPr>
              <p:txBody>
                <a:bodyPr rtlCol="0" anchor="ctr"/>
                <a:lstStyle/>
                <a:p>
                  <a:endParaRPr lang="en-US"/>
                </a:p>
              </p:txBody>
            </p:sp>
            <p:sp>
              <p:nvSpPr>
                <p:cNvPr id="726" name="Freeform: Shape 725">
                  <a:extLst>
                    <a:ext uri="{FF2B5EF4-FFF2-40B4-BE49-F238E27FC236}">
                      <a16:creationId xmlns:a16="http://schemas.microsoft.com/office/drawing/2014/main" id="{0007E6AE-5DE5-4A88-93DE-25FD0E6954E7}"/>
                    </a:ext>
                  </a:extLst>
                </p:cNvPr>
                <p:cNvSpPr/>
                <p:nvPr/>
              </p:nvSpPr>
              <p:spPr>
                <a:xfrm>
                  <a:off x="5863178" y="4189110"/>
                  <a:ext cx="109891" cy="192724"/>
                </a:xfrm>
                <a:custGeom>
                  <a:avLst/>
                  <a:gdLst>
                    <a:gd name="connsiteX0" fmla="*/ 78751 w 109891"/>
                    <a:gd name="connsiteY0" fmla="*/ 1557 h 192724"/>
                    <a:gd name="connsiteX1" fmla="*/ 80340 w 109891"/>
                    <a:gd name="connsiteY1" fmla="*/ 3366 h 192724"/>
                    <a:gd name="connsiteX2" fmla="*/ 80682 w 109891"/>
                    <a:gd name="connsiteY2" fmla="*/ 4409 h 192724"/>
                    <a:gd name="connsiteX3" fmla="*/ 80112 w 109891"/>
                    <a:gd name="connsiteY3" fmla="*/ 8329 h 192724"/>
                    <a:gd name="connsiteX4" fmla="*/ 78955 w 109891"/>
                    <a:gd name="connsiteY4" fmla="*/ 11076 h 192724"/>
                    <a:gd name="connsiteX5" fmla="*/ 78213 w 109891"/>
                    <a:gd name="connsiteY5" fmla="*/ 13643 h 192724"/>
                    <a:gd name="connsiteX6" fmla="*/ 78319 w 109891"/>
                    <a:gd name="connsiteY6" fmla="*/ 14922 h 192724"/>
                    <a:gd name="connsiteX7" fmla="*/ 79020 w 109891"/>
                    <a:gd name="connsiteY7" fmla="*/ 16210 h 192724"/>
                    <a:gd name="connsiteX8" fmla="*/ 81424 w 109891"/>
                    <a:gd name="connsiteY8" fmla="*/ 18223 h 192724"/>
                    <a:gd name="connsiteX9" fmla="*/ 82671 w 109891"/>
                    <a:gd name="connsiteY9" fmla="*/ 19527 h 192724"/>
                    <a:gd name="connsiteX10" fmla="*/ 84130 w 109891"/>
                    <a:gd name="connsiteY10" fmla="*/ 21515 h 192724"/>
                    <a:gd name="connsiteX11" fmla="*/ 85808 w 109891"/>
                    <a:gd name="connsiteY11" fmla="*/ 23455 h 192724"/>
                    <a:gd name="connsiteX12" fmla="*/ 88677 w 109891"/>
                    <a:gd name="connsiteY12" fmla="*/ 25973 h 192724"/>
                    <a:gd name="connsiteX13" fmla="*/ 89891 w 109891"/>
                    <a:gd name="connsiteY13" fmla="*/ 26438 h 192724"/>
                    <a:gd name="connsiteX14" fmla="*/ 89851 w 109891"/>
                    <a:gd name="connsiteY14" fmla="*/ 27131 h 192724"/>
                    <a:gd name="connsiteX15" fmla="*/ 89443 w 109891"/>
                    <a:gd name="connsiteY15" fmla="*/ 28108 h 192724"/>
                    <a:gd name="connsiteX16" fmla="*/ 89182 w 109891"/>
                    <a:gd name="connsiteY16" fmla="*/ 37505 h 192724"/>
                    <a:gd name="connsiteX17" fmla="*/ 88963 w 109891"/>
                    <a:gd name="connsiteY17" fmla="*/ 39926 h 192724"/>
                    <a:gd name="connsiteX18" fmla="*/ 88751 w 109891"/>
                    <a:gd name="connsiteY18" fmla="*/ 41148 h 192724"/>
                    <a:gd name="connsiteX19" fmla="*/ 88490 w 109891"/>
                    <a:gd name="connsiteY19" fmla="*/ 44661 h 192724"/>
                    <a:gd name="connsiteX20" fmla="*/ 88180 w 109891"/>
                    <a:gd name="connsiteY20" fmla="*/ 45158 h 192724"/>
                    <a:gd name="connsiteX21" fmla="*/ 87642 w 109891"/>
                    <a:gd name="connsiteY21" fmla="*/ 45125 h 192724"/>
                    <a:gd name="connsiteX22" fmla="*/ 87137 w 109891"/>
                    <a:gd name="connsiteY22" fmla="*/ 45256 h 192724"/>
                    <a:gd name="connsiteX23" fmla="*/ 87015 w 109891"/>
                    <a:gd name="connsiteY23" fmla="*/ 45956 h 192724"/>
                    <a:gd name="connsiteX24" fmla="*/ 87210 w 109891"/>
                    <a:gd name="connsiteY24" fmla="*/ 46674 h 192724"/>
                    <a:gd name="connsiteX25" fmla="*/ 88954 w 109891"/>
                    <a:gd name="connsiteY25" fmla="*/ 47179 h 192724"/>
                    <a:gd name="connsiteX26" fmla="*/ 88571 w 109891"/>
                    <a:gd name="connsiteY26" fmla="*/ 47709 h 192724"/>
                    <a:gd name="connsiteX27" fmla="*/ 87292 w 109891"/>
                    <a:gd name="connsiteY27" fmla="*/ 48190 h 192724"/>
                    <a:gd name="connsiteX28" fmla="*/ 86688 w 109891"/>
                    <a:gd name="connsiteY28" fmla="*/ 49249 h 192724"/>
                    <a:gd name="connsiteX29" fmla="*/ 86950 w 109891"/>
                    <a:gd name="connsiteY29" fmla="*/ 50455 h 192724"/>
                    <a:gd name="connsiteX30" fmla="*/ 86240 w 109891"/>
                    <a:gd name="connsiteY30" fmla="*/ 51417 h 192724"/>
                    <a:gd name="connsiteX31" fmla="*/ 86444 w 109891"/>
                    <a:gd name="connsiteY31" fmla="*/ 52069 h 192724"/>
                    <a:gd name="connsiteX32" fmla="*/ 86900 w 109891"/>
                    <a:gd name="connsiteY32" fmla="*/ 52558 h 192724"/>
                    <a:gd name="connsiteX33" fmla="*/ 87634 w 109891"/>
                    <a:gd name="connsiteY33" fmla="*/ 52370 h 192724"/>
                    <a:gd name="connsiteX34" fmla="*/ 89663 w 109891"/>
                    <a:gd name="connsiteY34" fmla="*/ 50757 h 192724"/>
                    <a:gd name="connsiteX35" fmla="*/ 90511 w 109891"/>
                    <a:gd name="connsiteY35" fmla="*/ 50577 h 192724"/>
                    <a:gd name="connsiteX36" fmla="*/ 91554 w 109891"/>
                    <a:gd name="connsiteY36" fmla="*/ 50911 h 192724"/>
                    <a:gd name="connsiteX37" fmla="*/ 93486 w 109891"/>
                    <a:gd name="connsiteY37" fmla="*/ 53381 h 192724"/>
                    <a:gd name="connsiteX38" fmla="*/ 93567 w 109891"/>
                    <a:gd name="connsiteY38" fmla="*/ 54595 h 192724"/>
                    <a:gd name="connsiteX39" fmla="*/ 92785 w 109891"/>
                    <a:gd name="connsiteY39" fmla="*/ 58719 h 192724"/>
                    <a:gd name="connsiteX40" fmla="*/ 92019 w 109891"/>
                    <a:gd name="connsiteY40" fmla="*/ 61914 h 192724"/>
                    <a:gd name="connsiteX41" fmla="*/ 91864 w 109891"/>
                    <a:gd name="connsiteY41" fmla="*/ 66168 h 192724"/>
                    <a:gd name="connsiteX42" fmla="*/ 92679 w 109891"/>
                    <a:gd name="connsiteY42" fmla="*/ 68556 h 192724"/>
                    <a:gd name="connsiteX43" fmla="*/ 92573 w 109891"/>
                    <a:gd name="connsiteY43" fmla="*/ 69860 h 192724"/>
                    <a:gd name="connsiteX44" fmla="*/ 91692 w 109891"/>
                    <a:gd name="connsiteY44" fmla="*/ 70992 h 192724"/>
                    <a:gd name="connsiteX45" fmla="*/ 89696 w 109891"/>
                    <a:gd name="connsiteY45" fmla="*/ 72639 h 192724"/>
                    <a:gd name="connsiteX46" fmla="*/ 89851 w 109891"/>
                    <a:gd name="connsiteY46" fmla="*/ 73763 h 192724"/>
                    <a:gd name="connsiteX47" fmla="*/ 90747 w 109891"/>
                    <a:gd name="connsiteY47" fmla="*/ 75850 h 192724"/>
                    <a:gd name="connsiteX48" fmla="*/ 92434 w 109891"/>
                    <a:gd name="connsiteY48" fmla="*/ 78172 h 192724"/>
                    <a:gd name="connsiteX49" fmla="*/ 95735 w 109891"/>
                    <a:gd name="connsiteY49" fmla="*/ 81057 h 192724"/>
                    <a:gd name="connsiteX50" fmla="*/ 97479 w 109891"/>
                    <a:gd name="connsiteY50" fmla="*/ 84814 h 192724"/>
                    <a:gd name="connsiteX51" fmla="*/ 97520 w 109891"/>
                    <a:gd name="connsiteY51" fmla="*/ 86338 h 192724"/>
                    <a:gd name="connsiteX52" fmla="*/ 96493 w 109891"/>
                    <a:gd name="connsiteY52" fmla="*/ 87871 h 192724"/>
                    <a:gd name="connsiteX53" fmla="*/ 95319 w 109891"/>
                    <a:gd name="connsiteY53" fmla="*/ 89191 h 192724"/>
                    <a:gd name="connsiteX54" fmla="*/ 94928 w 109891"/>
                    <a:gd name="connsiteY54" fmla="*/ 91106 h 192724"/>
                    <a:gd name="connsiteX55" fmla="*/ 95466 w 109891"/>
                    <a:gd name="connsiteY55" fmla="*/ 103665 h 192724"/>
                    <a:gd name="connsiteX56" fmla="*/ 92841 w 109891"/>
                    <a:gd name="connsiteY56" fmla="*/ 109125 h 192724"/>
                    <a:gd name="connsiteX57" fmla="*/ 92834 w 109891"/>
                    <a:gd name="connsiteY57" fmla="*/ 110674 h 192724"/>
                    <a:gd name="connsiteX58" fmla="*/ 93086 w 109891"/>
                    <a:gd name="connsiteY58" fmla="*/ 112483 h 192724"/>
                    <a:gd name="connsiteX59" fmla="*/ 93771 w 109891"/>
                    <a:gd name="connsiteY59" fmla="*/ 113575 h 192724"/>
                    <a:gd name="connsiteX60" fmla="*/ 95116 w 109891"/>
                    <a:gd name="connsiteY60" fmla="*/ 113876 h 192724"/>
                    <a:gd name="connsiteX61" fmla="*/ 96191 w 109891"/>
                    <a:gd name="connsiteY61" fmla="*/ 114928 h 192724"/>
                    <a:gd name="connsiteX62" fmla="*/ 95817 w 109891"/>
                    <a:gd name="connsiteY62" fmla="*/ 118750 h 192724"/>
                    <a:gd name="connsiteX63" fmla="*/ 95238 w 109891"/>
                    <a:gd name="connsiteY63" fmla="*/ 122654 h 192724"/>
                    <a:gd name="connsiteX64" fmla="*/ 95148 w 109891"/>
                    <a:gd name="connsiteY64" fmla="*/ 124536 h 192724"/>
                    <a:gd name="connsiteX65" fmla="*/ 94814 w 109891"/>
                    <a:gd name="connsiteY65" fmla="*/ 125433 h 192724"/>
                    <a:gd name="connsiteX66" fmla="*/ 93795 w 109891"/>
                    <a:gd name="connsiteY66" fmla="*/ 126166 h 192724"/>
                    <a:gd name="connsiteX67" fmla="*/ 93428 w 109891"/>
                    <a:gd name="connsiteY67" fmla="*/ 127397 h 192724"/>
                    <a:gd name="connsiteX68" fmla="*/ 93681 w 109891"/>
                    <a:gd name="connsiteY68" fmla="*/ 128913 h 192724"/>
                    <a:gd name="connsiteX69" fmla="*/ 93486 w 109891"/>
                    <a:gd name="connsiteY69" fmla="*/ 130037 h 192724"/>
                    <a:gd name="connsiteX70" fmla="*/ 94048 w 109891"/>
                    <a:gd name="connsiteY70" fmla="*/ 131496 h 192724"/>
                    <a:gd name="connsiteX71" fmla="*/ 95222 w 109891"/>
                    <a:gd name="connsiteY71" fmla="*/ 133305 h 192724"/>
                    <a:gd name="connsiteX72" fmla="*/ 97145 w 109891"/>
                    <a:gd name="connsiteY72" fmla="*/ 137804 h 192724"/>
                    <a:gd name="connsiteX73" fmla="*/ 97862 w 109891"/>
                    <a:gd name="connsiteY73" fmla="*/ 138154 h 192724"/>
                    <a:gd name="connsiteX74" fmla="*/ 98188 w 109891"/>
                    <a:gd name="connsiteY74" fmla="*/ 139100 h 192724"/>
                    <a:gd name="connsiteX75" fmla="*/ 97984 w 109891"/>
                    <a:gd name="connsiteY75" fmla="*/ 140013 h 192724"/>
                    <a:gd name="connsiteX76" fmla="*/ 98734 w 109891"/>
                    <a:gd name="connsiteY76" fmla="*/ 142009 h 192724"/>
                    <a:gd name="connsiteX77" fmla="*/ 100853 w 109891"/>
                    <a:gd name="connsiteY77" fmla="*/ 143989 h 192724"/>
                    <a:gd name="connsiteX78" fmla="*/ 103078 w 109891"/>
                    <a:gd name="connsiteY78" fmla="*/ 145725 h 192724"/>
                    <a:gd name="connsiteX79" fmla="*/ 104887 w 109891"/>
                    <a:gd name="connsiteY79" fmla="*/ 145978 h 192724"/>
                    <a:gd name="connsiteX80" fmla="*/ 105311 w 109891"/>
                    <a:gd name="connsiteY80" fmla="*/ 147527 h 192724"/>
                    <a:gd name="connsiteX81" fmla="*/ 106493 w 109891"/>
                    <a:gd name="connsiteY81" fmla="*/ 149515 h 192724"/>
                    <a:gd name="connsiteX82" fmla="*/ 107348 w 109891"/>
                    <a:gd name="connsiteY82" fmla="*/ 150379 h 192724"/>
                    <a:gd name="connsiteX83" fmla="*/ 108709 w 109891"/>
                    <a:gd name="connsiteY83" fmla="*/ 150941 h 192724"/>
                    <a:gd name="connsiteX84" fmla="*/ 109850 w 109891"/>
                    <a:gd name="connsiteY84" fmla="*/ 151243 h 192724"/>
                    <a:gd name="connsiteX85" fmla="*/ 109891 w 109891"/>
                    <a:gd name="connsiteY85" fmla="*/ 152913 h 192724"/>
                    <a:gd name="connsiteX86" fmla="*/ 107878 w 109891"/>
                    <a:gd name="connsiteY86" fmla="*/ 154055 h 192724"/>
                    <a:gd name="connsiteX87" fmla="*/ 106501 w 109891"/>
                    <a:gd name="connsiteY87" fmla="*/ 155774 h 192724"/>
                    <a:gd name="connsiteX88" fmla="*/ 105449 w 109891"/>
                    <a:gd name="connsiteY88" fmla="*/ 158398 h 192724"/>
                    <a:gd name="connsiteX89" fmla="*/ 104007 w 109891"/>
                    <a:gd name="connsiteY89" fmla="*/ 161291 h 192724"/>
                    <a:gd name="connsiteX90" fmla="*/ 99019 w 109891"/>
                    <a:gd name="connsiteY90" fmla="*/ 162791 h 192724"/>
                    <a:gd name="connsiteX91" fmla="*/ 97120 w 109891"/>
                    <a:gd name="connsiteY91" fmla="*/ 162807 h 192724"/>
                    <a:gd name="connsiteX92" fmla="*/ 86892 w 109891"/>
                    <a:gd name="connsiteY92" fmla="*/ 162881 h 192724"/>
                    <a:gd name="connsiteX93" fmla="*/ 77317 w 109891"/>
                    <a:gd name="connsiteY93" fmla="*/ 168561 h 192724"/>
                    <a:gd name="connsiteX94" fmla="*/ 71799 w 109891"/>
                    <a:gd name="connsiteY94" fmla="*/ 170582 h 192724"/>
                    <a:gd name="connsiteX95" fmla="*/ 68409 w 109891"/>
                    <a:gd name="connsiteY95" fmla="*/ 173777 h 192724"/>
                    <a:gd name="connsiteX96" fmla="*/ 63853 w 109891"/>
                    <a:gd name="connsiteY96" fmla="*/ 176051 h 192724"/>
                    <a:gd name="connsiteX97" fmla="*/ 60666 w 109891"/>
                    <a:gd name="connsiteY97" fmla="*/ 178805 h 192724"/>
                    <a:gd name="connsiteX98" fmla="*/ 54057 w 109891"/>
                    <a:gd name="connsiteY98" fmla="*/ 180117 h 192724"/>
                    <a:gd name="connsiteX99" fmla="*/ 43210 w 109891"/>
                    <a:gd name="connsiteY99" fmla="*/ 184461 h 192724"/>
                    <a:gd name="connsiteX100" fmla="*/ 39812 w 109891"/>
                    <a:gd name="connsiteY100" fmla="*/ 186181 h 192724"/>
                    <a:gd name="connsiteX101" fmla="*/ 36380 w 109891"/>
                    <a:gd name="connsiteY101" fmla="*/ 189188 h 192724"/>
                    <a:gd name="connsiteX102" fmla="*/ 30798 w 109891"/>
                    <a:gd name="connsiteY102" fmla="*/ 192725 h 192724"/>
                    <a:gd name="connsiteX103" fmla="*/ 28614 w 109891"/>
                    <a:gd name="connsiteY103" fmla="*/ 192676 h 192724"/>
                    <a:gd name="connsiteX104" fmla="*/ 24245 w 109891"/>
                    <a:gd name="connsiteY104" fmla="*/ 189375 h 192724"/>
                    <a:gd name="connsiteX105" fmla="*/ 20953 w 109891"/>
                    <a:gd name="connsiteY105" fmla="*/ 187721 h 192724"/>
                    <a:gd name="connsiteX106" fmla="*/ 12918 w 109891"/>
                    <a:gd name="connsiteY106" fmla="*/ 185195 h 192724"/>
                    <a:gd name="connsiteX107" fmla="*/ 6911 w 109891"/>
                    <a:gd name="connsiteY107" fmla="*/ 184217 h 192724"/>
                    <a:gd name="connsiteX108" fmla="*/ 4010 w 109891"/>
                    <a:gd name="connsiteY108" fmla="*/ 183133 h 192724"/>
                    <a:gd name="connsiteX109" fmla="*/ 3219 w 109891"/>
                    <a:gd name="connsiteY109" fmla="*/ 182945 h 192724"/>
                    <a:gd name="connsiteX110" fmla="*/ 3895 w 109891"/>
                    <a:gd name="connsiteY110" fmla="*/ 181755 h 192724"/>
                    <a:gd name="connsiteX111" fmla="*/ 5566 w 109891"/>
                    <a:gd name="connsiteY111" fmla="*/ 181682 h 192724"/>
                    <a:gd name="connsiteX112" fmla="*/ 7327 w 109891"/>
                    <a:gd name="connsiteY112" fmla="*/ 182032 h 192724"/>
                    <a:gd name="connsiteX113" fmla="*/ 8655 w 109891"/>
                    <a:gd name="connsiteY113" fmla="*/ 181128 h 192724"/>
                    <a:gd name="connsiteX114" fmla="*/ 10611 w 109891"/>
                    <a:gd name="connsiteY114" fmla="*/ 181014 h 192724"/>
                    <a:gd name="connsiteX115" fmla="*/ 11124 w 109891"/>
                    <a:gd name="connsiteY115" fmla="*/ 180068 h 192724"/>
                    <a:gd name="connsiteX116" fmla="*/ 11287 w 109891"/>
                    <a:gd name="connsiteY116" fmla="*/ 177680 h 192724"/>
                    <a:gd name="connsiteX117" fmla="*/ 11263 w 109891"/>
                    <a:gd name="connsiteY117" fmla="*/ 175757 h 192724"/>
                    <a:gd name="connsiteX118" fmla="*/ 11948 w 109891"/>
                    <a:gd name="connsiteY118" fmla="*/ 174893 h 192724"/>
                    <a:gd name="connsiteX119" fmla="*/ 12119 w 109891"/>
                    <a:gd name="connsiteY119" fmla="*/ 172628 h 192724"/>
                    <a:gd name="connsiteX120" fmla="*/ 11165 w 109891"/>
                    <a:gd name="connsiteY120" fmla="*/ 167599 h 192724"/>
                    <a:gd name="connsiteX121" fmla="*/ 10481 w 109891"/>
                    <a:gd name="connsiteY121" fmla="*/ 167029 h 192724"/>
                    <a:gd name="connsiteX122" fmla="*/ 6984 w 109891"/>
                    <a:gd name="connsiteY122" fmla="*/ 166312 h 192724"/>
                    <a:gd name="connsiteX123" fmla="*/ 6715 w 109891"/>
                    <a:gd name="connsiteY123" fmla="*/ 165309 h 192724"/>
                    <a:gd name="connsiteX124" fmla="*/ 6088 w 109891"/>
                    <a:gd name="connsiteY124" fmla="*/ 164258 h 192724"/>
                    <a:gd name="connsiteX125" fmla="*/ 5419 w 109891"/>
                    <a:gd name="connsiteY125" fmla="*/ 161666 h 192724"/>
                    <a:gd name="connsiteX126" fmla="*/ 4653 w 109891"/>
                    <a:gd name="connsiteY126" fmla="*/ 157812 h 192724"/>
                    <a:gd name="connsiteX127" fmla="*/ 3423 w 109891"/>
                    <a:gd name="connsiteY127" fmla="*/ 153019 h 192724"/>
                    <a:gd name="connsiteX128" fmla="*/ 1067 w 109891"/>
                    <a:gd name="connsiteY128" fmla="*/ 145139 h 192724"/>
                    <a:gd name="connsiteX129" fmla="*/ 489 w 109891"/>
                    <a:gd name="connsiteY129" fmla="*/ 142351 h 192724"/>
                    <a:gd name="connsiteX130" fmla="*/ 90 w 109891"/>
                    <a:gd name="connsiteY130" fmla="*/ 139515 h 192724"/>
                    <a:gd name="connsiteX131" fmla="*/ 0 w 109891"/>
                    <a:gd name="connsiteY131" fmla="*/ 136117 h 192724"/>
                    <a:gd name="connsiteX132" fmla="*/ 489 w 109891"/>
                    <a:gd name="connsiteY132" fmla="*/ 134854 h 192724"/>
                    <a:gd name="connsiteX133" fmla="*/ 415 w 109891"/>
                    <a:gd name="connsiteY133" fmla="*/ 133101 h 192724"/>
                    <a:gd name="connsiteX134" fmla="*/ 195 w 109891"/>
                    <a:gd name="connsiteY134" fmla="*/ 131349 h 192724"/>
                    <a:gd name="connsiteX135" fmla="*/ 1858 w 109891"/>
                    <a:gd name="connsiteY135" fmla="*/ 127332 h 192724"/>
                    <a:gd name="connsiteX136" fmla="*/ 5110 w 109891"/>
                    <a:gd name="connsiteY136" fmla="*/ 122417 h 192724"/>
                    <a:gd name="connsiteX137" fmla="*/ 5794 w 109891"/>
                    <a:gd name="connsiteY137" fmla="*/ 120641 h 192724"/>
                    <a:gd name="connsiteX138" fmla="*/ 6397 w 109891"/>
                    <a:gd name="connsiteY138" fmla="*/ 119402 h 192724"/>
                    <a:gd name="connsiteX139" fmla="*/ 6487 w 109891"/>
                    <a:gd name="connsiteY139" fmla="*/ 117633 h 192724"/>
                    <a:gd name="connsiteX140" fmla="*/ 7057 w 109891"/>
                    <a:gd name="connsiteY140" fmla="*/ 111896 h 192724"/>
                    <a:gd name="connsiteX141" fmla="*/ 8614 w 109891"/>
                    <a:gd name="connsiteY141" fmla="*/ 104969 h 192724"/>
                    <a:gd name="connsiteX142" fmla="*/ 9592 w 109891"/>
                    <a:gd name="connsiteY142" fmla="*/ 102353 h 192724"/>
                    <a:gd name="connsiteX143" fmla="*/ 10260 w 109891"/>
                    <a:gd name="connsiteY143" fmla="*/ 100935 h 192724"/>
                    <a:gd name="connsiteX144" fmla="*/ 11051 w 109891"/>
                    <a:gd name="connsiteY144" fmla="*/ 98620 h 192724"/>
                    <a:gd name="connsiteX145" fmla="*/ 11255 w 109891"/>
                    <a:gd name="connsiteY145" fmla="*/ 97544 h 192724"/>
                    <a:gd name="connsiteX146" fmla="*/ 14262 w 109891"/>
                    <a:gd name="connsiteY146" fmla="*/ 94822 h 192724"/>
                    <a:gd name="connsiteX147" fmla="*/ 15639 w 109891"/>
                    <a:gd name="connsiteY147" fmla="*/ 94089 h 192724"/>
                    <a:gd name="connsiteX148" fmla="*/ 15941 w 109891"/>
                    <a:gd name="connsiteY148" fmla="*/ 93013 h 192724"/>
                    <a:gd name="connsiteX149" fmla="*/ 15476 w 109891"/>
                    <a:gd name="connsiteY149" fmla="*/ 91848 h 192724"/>
                    <a:gd name="connsiteX150" fmla="*/ 15672 w 109891"/>
                    <a:gd name="connsiteY150" fmla="*/ 91049 h 192724"/>
                    <a:gd name="connsiteX151" fmla="*/ 16389 w 109891"/>
                    <a:gd name="connsiteY151" fmla="*/ 90650 h 192724"/>
                    <a:gd name="connsiteX152" fmla="*/ 17497 w 109891"/>
                    <a:gd name="connsiteY152" fmla="*/ 90324 h 192724"/>
                    <a:gd name="connsiteX153" fmla="*/ 18304 w 109891"/>
                    <a:gd name="connsiteY153" fmla="*/ 89215 h 192724"/>
                    <a:gd name="connsiteX154" fmla="*/ 17033 w 109891"/>
                    <a:gd name="connsiteY154" fmla="*/ 80650 h 192724"/>
                    <a:gd name="connsiteX155" fmla="*/ 16014 w 109891"/>
                    <a:gd name="connsiteY155" fmla="*/ 72125 h 192724"/>
                    <a:gd name="connsiteX156" fmla="*/ 15957 w 109891"/>
                    <a:gd name="connsiteY156" fmla="*/ 71400 h 192724"/>
                    <a:gd name="connsiteX157" fmla="*/ 15346 w 109891"/>
                    <a:gd name="connsiteY157" fmla="*/ 70218 h 192724"/>
                    <a:gd name="connsiteX158" fmla="*/ 14743 w 109891"/>
                    <a:gd name="connsiteY158" fmla="*/ 66698 h 192724"/>
                    <a:gd name="connsiteX159" fmla="*/ 13732 w 109891"/>
                    <a:gd name="connsiteY159" fmla="*/ 64636 h 192724"/>
                    <a:gd name="connsiteX160" fmla="*/ 12322 w 109891"/>
                    <a:gd name="connsiteY160" fmla="*/ 64024 h 192724"/>
                    <a:gd name="connsiteX161" fmla="*/ 12331 w 109891"/>
                    <a:gd name="connsiteY161" fmla="*/ 62085 h 192724"/>
                    <a:gd name="connsiteX162" fmla="*/ 13749 w 109891"/>
                    <a:gd name="connsiteY162" fmla="*/ 58800 h 192724"/>
                    <a:gd name="connsiteX163" fmla="*/ 14123 w 109891"/>
                    <a:gd name="connsiteY163" fmla="*/ 56869 h 192724"/>
                    <a:gd name="connsiteX164" fmla="*/ 13439 w 109891"/>
                    <a:gd name="connsiteY164" fmla="*/ 56299 h 192724"/>
                    <a:gd name="connsiteX165" fmla="*/ 13341 w 109891"/>
                    <a:gd name="connsiteY165" fmla="*/ 54799 h 192724"/>
                    <a:gd name="connsiteX166" fmla="*/ 13830 w 109891"/>
                    <a:gd name="connsiteY166" fmla="*/ 52378 h 192724"/>
                    <a:gd name="connsiteX167" fmla="*/ 13586 w 109891"/>
                    <a:gd name="connsiteY167" fmla="*/ 50879 h 192724"/>
                    <a:gd name="connsiteX168" fmla="*/ 13325 w 109891"/>
                    <a:gd name="connsiteY168" fmla="*/ 49290 h 192724"/>
                    <a:gd name="connsiteX169" fmla="*/ 11850 w 109891"/>
                    <a:gd name="connsiteY169" fmla="*/ 45557 h 192724"/>
                    <a:gd name="connsiteX170" fmla="*/ 11491 w 109891"/>
                    <a:gd name="connsiteY170" fmla="*/ 42908 h 192724"/>
                    <a:gd name="connsiteX171" fmla="*/ 12257 w 109891"/>
                    <a:gd name="connsiteY171" fmla="*/ 41360 h 192724"/>
                    <a:gd name="connsiteX172" fmla="*/ 12233 w 109891"/>
                    <a:gd name="connsiteY172" fmla="*/ 37962 h 192724"/>
                    <a:gd name="connsiteX173" fmla="*/ 11418 w 109891"/>
                    <a:gd name="connsiteY173" fmla="*/ 32737 h 192724"/>
                    <a:gd name="connsiteX174" fmla="*/ 11287 w 109891"/>
                    <a:gd name="connsiteY174" fmla="*/ 29429 h 192724"/>
                    <a:gd name="connsiteX175" fmla="*/ 11833 w 109891"/>
                    <a:gd name="connsiteY175" fmla="*/ 28052 h 192724"/>
                    <a:gd name="connsiteX176" fmla="*/ 11572 w 109891"/>
                    <a:gd name="connsiteY176" fmla="*/ 26748 h 192724"/>
                    <a:gd name="connsiteX177" fmla="*/ 10505 w 109891"/>
                    <a:gd name="connsiteY177" fmla="*/ 25500 h 192724"/>
                    <a:gd name="connsiteX178" fmla="*/ 10423 w 109891"/>
                    <a:gd name="connsiteY178" fmla="*/ 24286 h 192724"/>
                    <a:gd name="connsiteX179" fmla="*/ 11336 w 109891"/>
                    <a:gd name="connsiteY179" fmla="*/ 23113 h 192724"/>
                    <a:gd name="connsiteX180" fmla="*/ 11222 w 109891"/>
                    <a:gd name="connsiteY180" fmla="*/ 22192 h 192724"/>
                    <a:gd name="connsiteX181" fmla="*/ 10081 w 109891"/>
                    <a:gd name="connsiteY181" fmla="*/ 21524 h 192724"/>
                    <a:gd name="connsiteX182" fmla="*/ 9055 w 109891"/>
                    <a:gd name="connsiteY182" fmla="*/ 19910 h 192724"/>
                    <a:gd name="connsiteX183" fmla="*/ 8158 w 109891"/>
                    <a:gd name="connsiteY183" fmla="*/ 17359 h 192724"/>
                    <a:gd name="connsiteX184" fmla="*/ 8345 w 109891"/>
                    <a:gd name="connsiteY184" fmla="*/ 13268 h 192724"/>
                    <a:gd name="connsiteX185" fmla="*/ 10048 w 109891"/>
                    <a:gd name="connsiteY185" fmla="*/ 5729 h 192724"/>
                    <a:gd name="connsiteX186" fmla="*/ 10260 w 109891"/>
                    <a:gd name="connsiteY186" fmla="*/ 5102 h 192724"/>
                    <a:gd name="connsiteX187" fmla="*/ 12192 w 109891"/>
                    <a:gd name="connsiteY187" fmla="*/ 5143 h 192724"/>
                    <a:gd name="connsiteX188" fmla="*/ 12200 w 109891"/>
                    <a:gd name="connsiteY188" fmla="*/ 5460 h 192724"/>
                    <a:gd name="connsiteX189" fmla="*/ 18215 w 109891"/>
                    <a:gd name="connsiteY189" fmla="*/ 5395 h 192724"/>
                    <a:gd name="connsiteX190" fmla="*/ 25093 w 109891"/>
                    <a:gd name="connsiteY190" fmla="*/ 5305 h 192724"/>
                    <a:gd name="connsiteX191" fmla="*/ 33308 w 109891"/>
                    <a:gd name="connsiteY191" fmla="*/ 5208 h 192724"/>
                    <a:gd name="connsiteX192" fmla="*/ 40781 w 109891"/>
                    <a:gd name="connsiteY192" fmla="*/ 5118 h 192724"/>
                    <a:gd name="connsiteX193" fmla="*/ 41107 w 109891"/>
                    <a:gd name="connsiteY193" fmla="*/ 4776 h 192724"/>
                    <a:gd name="connsiteX194" fmla="*/ 42338 w 109891"/>
                    <a:gd name="connsiteY194" fmla="*/ 4368 h 192724"/>
                    <a:gd name="connsiteX195" fmla="*/ 49884 w 109891"/>
                    <a:gd name="connsiteY195" fmla="*/ 5134 h 192724"/>
                    <a:gd name="connsiteX196" fmla="*/ 54595 w 109891"/>
                    <a:gd name="connsiteY196" fmla="*/ 4743 h 192724"/>
                    <a:gd name="connsiteX197" fmla="*/ 56591 w 109891"/>
                    <a:gd name="connsiteY197" fmla="*/ 4996 h 192724"/>
                    <a:gd name="connsiteX198" fmla="*/ 58059 w 109891"/>
                    <a:gd name="connsiteY198" fmla="*/ 5509 h 192724"/>
                    <a:gd name="connsiteX199" fmla="*/ 61311 w 109891"/>
                    <a:gd name="connsiteY199" fmla="*/ 5192 h 192724"/>
                    <a:gd name="connsiteX200" fmla="*/ 63054 w 109891"/>
                    <a:gd name="connsiteY200" fmla="*/ 5387 h 192724"/>
                    <a:gd name="connsiteX201" fmla="*/ 64367 w 109891"/>
                    <a:gd name="connsiteY201" fmla="*/ 7262 h 192724"/>
                    <a:gd name="connsiteX202" fmla="*/ 64896 w 109891"/>
                    <a:gd name="connsiteY202" fmla="*/ 7245 h 192724"/>
                    <a:gd name="connsiteX203" fmla="*/ 65630 w 109891"/>
                    <a:gd name="connsiteY203" fmla="*/ 6455 h 192724"/>
                    <a:gd name="connsiteX204" fmla="*/ 66934 w 109891"/>
                    <a:gd name="connsiteY204" fmla="*/ 5542 h 192724"/>
                    <a:gd name="connsiteX205" fmla="*/ 68254 w 109891"/>
                    <a:gd name="connsiteY205" fmla="*/ 4817 h 192724"/>
                    <a:gd name="connsiteX206" fmla="*/ 69199 w 109891"/>
                    <a:gd name="connsiteY206" fmla="*/ 3341 h 192724"/>
                    <a:gd name="connsiteX207" fmla="*/ 69778 w 109891"/>
                    <a:gd name="connsiteY207" fmla="*/ 2225 h 192724"/>
                    <a:gd name="connsiteX208" fmla="*/ 70642 w 109891"/>
                    <a:gd name="connsiteY208" fmla="*/ 2461 h 192724"/>
                    <a:gd name="connsiteX209" fmla="*/ 71872 w 109891"/>
                    <a:gd name="connsiteY209" fmla="*/ 2388 h 192724"/>
                    <a:gd name="connsiteX210" fmla="*/ 72704 w 109891"/>
                    <a:gd name="connsiteY210" fmla="*/ 1459 h 192724"/>
                    <a:gd name="connsiteX211" fmla="*/ 73030 w 109891"/>
                    <a:gd name="connsiteY211" fmla="*/ 0 h 192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109891" h="192724">
                      <a:moveTo>
                        <a:pt x="78751" y="1557"/>
                      </a:moveTo>
                      <a:lnTo>
                        <a:pt x="80340" y="3366"/>
                      </a:lnTo>
                      <a:lnTo>
                        <a:pt x="80682" y="4409"/>
                      </a:lnTo>
                      <a:lnTo>
                        <a:pt x="80112" y="8329"/>
                      </a:lnTo>
                      <a:lnTo>
                        <a:pt x="78955" y="11076"/>
                      </a:lnTo>
                      <a:lnTo>
                        <a:pt x="78213" y="13643"/>
                      </a:lnTo>
                      <a:lnTo>
                        <a:pt x="78319" y="14922"/>
                      </a:lnTo>
                      <a:lnTo>
                        <a:pt x="79020" y="16210"/>
                      </a:lnTo>
                      <a:lnTo>
                        <a:pt x="81424" y="18223"/>
                      </a:lnTo>
                      <a:lnTo>
                        <a:pt x="82671" y="19527"/>
                      </a:lnTo>
                      <a:lnTo>
                        <a:pt x="84130" y="21515"/>
                      </a:lnTo>
                      <a:lnTo>
                        <a:pt x="85808" y="23455"/>
                      </a:lnTo>
                      <a:lnTo>
                        <a:pt x="88677" y="25973"/>
                      </a:lnTo>
                      <a:lnTo>
                        <a:pt x="89891" y="26438"/>
                      </a:lnTo>
                      <a:lnTo>
                        <a:pt x="89851" y="27131"/>
                      </a:lnTo>
                      <a:lnTo>
                        <a:pt x="89443" y="28108"/>
                      </a:lnTo>
                      <a:lnTo>
                        <a:pt x="89182" y="37505"/>
                      </a:lnTo>
                      <a:lnTo>
                        <a:pt x="88963" y="39926"/>
                      </a:lnTo>
                      <a:lnTo>
                        <a:pt x="88751" y="41148"/>
                      </a:lnTo>
                      <a:lnTo>
                        <a:pt x="88490" y="44661"/>
                      </a:lnTo>
                      <a:lnTo>
                        <a:pt x="88180" y="45158"/>
                      </a:lnTo>
                      <a:lnTo>
                        <a:pt x="87642" y="45125"/>
                      </a:lnTo>
                      <a:lnTo>
                        <a:pt x="87137" y="45256"/>
                      </a:lnTo>
                      <a:lnTo>
                        <a:pt x="87015" y="45956"/>
                      </a:lnTo>
                      <a:lnTo>
                        <a:pt x="87210" y="46674"/>
                      </a:lnTo>
                      <a:lnTo>
                        <a:pt x="88954" y="47179"/>
                      </a:lnTo>
                      <a:lnTo>
                        <a:pt x="88571" y="47709"/>
                      </a:lnTo>
                      <a:lnTo>
                        <a:pt x="87292" y="48190"/>
                      </a:lnTo>
                      <a:lnTo>
                        <a:pt x="86688" y="49249"/>
                      </a:lnTo>
                      <a:lnTo>
                        <a:pt x="86950" y="50455"/>
                      </a:lnTo>
                      <a:lnTo>
                        <a:pt x="86240" y="51417"/>
                      </a:lnTo>
                      <a:lnTo>
                        <a:pt x="86444" y="52069"/>
                      </a:lnTo>
                      <a:lnTo>
                        <a:pt x="86900" y="52558"/>
                      </a:lnTo>
                      <a:lnTo>
                        <a:pt x="87634" y="52370"/>
                      </a:lnTo>
                      <a:lnTo>
                        <a:pt x="89663" y="50757"/>
                      </a:lnTo>
                      <a:lnTo>
                        <a:pt x="90511" y="50577"/>
                      </a:lnTo>
                      <a:lnTo>
                        <a:pt x="91554" y="50911"/>
                      </a:lnTo>
                      <a:lnTo>
                        <a:pt x="93486" y="53381"/>
                      </a:lnTo>
                      <a:lnTo>
                        <a:pt x="93567" y="54595"/>
                      </a:lnTo>
                      <a:lnTo>
                        <a:pt x="92785" y="58719"/>
                      </a:lnTo>
                      <a:lnTo>
                        <a:pt x="92019" y="61914"/>
                      </a:lnTo>
                      <a:lnTo>
                        <a:pt x="91864" y="66168"/>
                      </a:lnTo>
                      <a:lnTo>
                        <a:pt x="92679" y="68556"/>
                      </a:lnTo>
                      <a:lnTo>
                        <a:pt x="92573" y="69860"/>
                      </a:lnTo>
                      <a:lnTo>
                        <a:pt x="91692" y="70992"/>
                      </a:lnTo>
                      <a:lnTo>
                        <a:pt x="89696" y="72639"/>
                      </a:lnTo>
                      <a:lnTo>
                        <a:pt x="89851" y="73763"/>
                      </a:lnTo>
                      <a:lnTo>
                        <a:pt x="90747" y="75850"/>
                      </a:lnTo>
                      <a:lnTo>
                        <a:pt x="92434" y="78172"/>
                      </a:lnTo>
                      <a:lnTo>
                        <a:pt x="95735" y="81057"/>
                      </a:lnTo>
                      <a:lnTo>
                        <a:pt x="97479" y="84814"/>
                      </a:lnTo>
                      <a:lnTo>
                        <a:pt x="97520" y="86338"/>
                      </a:lnTo>
                      <a:lnTo>
                        <a:pt x="96493" y="87871"/>
                      </a:lnTo>
                      <a:lnTo>
                        <a:pt x="95319" y="89191"/>
                      </a:lnTo>
                      <a:lnTo>
                        <a:pt x="94928" y="91106"/>
                      </a:lnTo>
                      <a:lnTo>
                        <a:pt x="95466" y="103665"/>
                      </a:lnTo>
                      <a:lnTo>
                        <a:pt x="92841" y="109125"/>
                      </a:lnTo>
                      <a:lnTo>
                        <a:pt x="92834" y="110674"/>
                      </a:lnTo>
                      <a:lnTo>
                        <a:pt x="93086" y="112483"/>
                      </a:lnTo>
                      <a:lnTo>
                        <a:pt x="93771" y="113575"/>
                      </a:lnTo>
                      <a:lnTo>
                        <a:pt x="95116" y="113876"/>
                      </a:lnTo>
                      <a:lnTo>
                        <a:pt x="96191" y="114928"/>
                      </a:lnTo>
                      <a:lnTo>
                        <a:pt x="95817" y="118750"/>
                      </a:lnTo>
                      <a:lnTo>
                        <a:pt x="95238" y="122654"/>
                      </a:lnTo>
                      <a:lnTo>
                        <a:pt x="95148" y="124536"/>
                      </a:lnTo>
                      <a:lnTo>
                        <a:pt x="94814" y="125433"/>
                      </a:lnTo>
                      <a:lnTo>
                        <a:pt x="93795" y="126166"/>
                      </a:lnTo>
                      <a:lnTo>
                        <a:pt x="93428" y="127397"/>
                      </a:lnTo>
                      <a:lnTo>
                        <a:pt x="93681" y="128913"/>
                      </a:lnTo>
                      <a:lnTo>
                        <a:pt x="93486" y="130037"/>
                      </a:lnTo>
                      <a:lnTo>
                        <a:pt x="94048" y="131496"/>
                      </a:lnTo>
                      <a:lnTo>
                        <a:pt x="95222" y="133305"/>
                      </a:lnTo>
                      <a:lnTo>
                        <a:pt x="97145" y="137804"/>
                      </a:lnTo>
                      <a:lnTo>
                        <a:pt x="97862" y="138154"/>
                      </a:lnTo>
                      <a:lnTo>
                        <a:pt x="98188" y="139100"/>
                      </a:lnTo>
                      <a:lnTo>
                        <a:pt x="97984" y="140013"/>
                      </a:lnTo>
                      <a:lnTo>
                        <a:pt x="98734" y="142009"/>
                      </a:lnTo>
                      <a:lnTo>
                        <a:pt x="100853" y="143989"/>
                      </a:lnTo>
                      <a:lnTo>
                        <a:pt x="103078" y="145725"/>
                      </a:lnTo>
                      <a:lnTo>
                        <a:pt x="104887" y="145978"/>
                      </a:lnTo>
                      <a:lnTo>
                        <a:pt x="105311" y="147527"/>
                      </a:lnTo>
                      <a:lnTo>
                        <a:pt x="106493" y="149515"/>
                      </a:lnTo>
                      <a:lnTo>
                        <a:pt x="107348" y="150379"/>
                      </a:lnTo>
                      <a:lnTo>
                        <a:pt x="108709" y="150941"/>
                      </a:lnTo>
                      <a:lnTo>
                        <a:pt x="109850" y="151243"/>
                      </a:lnTo>
                      <a:lnTo>
                        <a:pt x="109891" y="152913"/>
                      </a:lnTo>
                      <a:lnTo>
                        <a:pt x="107878" y="154055"/>
                      </a:lnTo>
                      <a:lnTo>
                        <a:pt x="106501" y="155774"/>
                      </a:lnTo>
                      <a:lnTo>
                        <a:pt x="105449" y="158398"/>
                      </a:lnTo>
                      <a:lnTo>
                        <a:pt x="104007" y="161291"/>
                      </a:lnTo>
                      <a:lnTo>
                        <a:pt x="99019" y="162791"/>
                      </a:lnTo>
                      <a:lnTo>
                        <a:pt x="97120" y="162807"/>
                      </a:lnTo>
                      <a:lnTo>
                        <a:pt x="86892" y="162881"/>
                      </a:lnTo>
                      <a:lnTo>
                        <a:pt x="77317" y="168561"/>
                      </a:lnTo>
                      <a:lnTo>
                        <a:pt x="71799" y="170582"/>
                      </a:lnTo>
                      <a:lnTo>
                        <a:pt x="68409" y="173777"/>
                      </a:lnTo>
                      <a:lnTo>
                        <a:pt x="63853" y="176051"/>
                      </a:lnTo>
                      <a:lnTo>
                        <a:pt x="60666" y="178805"/>
                      </a:lnTo>
                      <a:lnTo>
                        <a:pt x="54057" y="180117"/>
                      </a:lnTo>
                      <a:lnTo>
                        <a:pt x="43210" y="184461"/>
                      </a:lnTo>
                      <a:lnTo>
                        <a:pt x="39812" y="186181"/>
                      </a:lnTo>
                      <a:lnTo>
                        <a:pt x="36380" y="189188"/>
                      </a:lnTo>
                      <a:lnTo>
                        <a:pt x="30798" y="192725"/>
                      </a:lnTo>
                      <a:lnTo>
                        <a:pt x="28614" y="192676"/>
                      </a:lnTo>
                      <a:lnTo>
                        <a:pt x="24245" y="189375"/>
                      </a:lnTo>
                      <a:lnTo>
                        <a:pt x="20953" y="187721"/>
                      </a:lnTo>
                      <a:lnTo>
                        <a:pt x="12918" y="185195"/>
                      </a:lnTo>
                      <a:lnTo>
                        <a:pt x="6911" y="184217"/>
                      </a:lnTo>
                      <a:lnTo>
                        <a:pt x="4010" y="183133"/>
                      </a:lnTo>
                      <a:lnTo>
                        <a:pt x="3219" y="182945"/>
                      </a:lnTo>
                      <a:lnTo>
                        <a:pt x="3895" y="181755"/>
                      </a:lnTo>
                      <a:lnTo>
                        <a:pt x="5566" y="181682"/>
                      </a:lnTo>
                      <a:lnTo>
                        <a:pt x="7327" y="182032"/>
                      </a:lnTo>
                      <a:lnTo>
                        <a:pt x="8655" y="181128"/>
                      </a:lnTo>
                      <a:lnTo>
                        <a:pt x="10611" y="181014"/>
                      </a:lnTo>
                      <a:lnTo>
                        <a:pt x="11124" y="180068"/>
                      </a:lnTo>
                      <a:lnTo>
                        <a:pt x="11287" y="177680"/>
                      </a:lnTo>
                      <a:lnTo>
                        <a:pt x="11263" y="175757"/>
                      </a:lnTo>
                      <a:lnTo>
                        <a:pt x="11948" y="174893"/>
                      </a:lnTo>
                      <a:lnTo>
                        <a:pt x="12119" y="172628"/>
                      </a:lnTo>
                      <a:lnTo>
                        <a:pt x="11165" y="167599"/>
                      </a:lnTo>
                      <a:lnTo>
                        <a:pt x="10481" y="167029"/>
                      </a:lnTo>
                      <a:lnTo>
                        <a:pt x="6984" y="166312"/>
                      </a:lnTo>
                      <a:lnTo>
                        <a:pt x="6715" y="165309"/>
                      </a:lnTo>
                      <a:lnTo>
                        <a:pt x="6088" y="164258"/>
                      </a:lnTo>
                      <a:lnTo>
                        <a:pt x="5419" y="161666"/>
                      </a:lnTo>
                      <a:lnTo>
                        <a:pt x="4653" y="157812"/>
                      </a:lnTo>
                      <a:lnTo>
                        <a:pt x="3423" y="153019"/>
                      </a:lnTo>
                      <a:lnTo>
                        <a:pt x="1067" y="145139"/>
                      </a:lnTo>
                      <a:lnTo>
                        <a:pt x="489" y="142351"/>
                      </a:lnTo>
                      <a:lnTo>
                        <a:pt x="90" y="139515"/>
                      </a:lnTo>
                      <a:lnTo>
                        <a:pt x="0" y="136117"/>
                      </a:lnTo>
                      <a:lnTo>
                        <a:pt x="489" y="134854"/>
                      </a:lnTo>
                      <a:lnTo>
                        <a:pt x="415" y="133101"/>
                      </a:lnTo>
                      <a:lnTo>
                        <a:pt x="195" y="131349"/>
                      </a:lnTo>
                      <a:lnTo>
                        <a:pt x="1858" y="127332"/>
                      </a:lnTo>
                      <a:lnTo>
                        <a:pt x="5110" y="122417"/>
                      </a:lnTo>
                      <a:lnTo>
                        <a:pt x="5794" y="120641"/>
                      </a:lnTo>
                      <a:lnTo>
                        <a:pt x="6397" y="119402"/>
                      </a:lnTo>
                      <a:lnTo>
                        <a:pt x="6487" y="117633"/>
                      </a:lnTo>
                      <a:lnTo>
                        <a:pt x="7057" y="111896"/>
                      </a:lnTo>
                      <a:lnTo>
                        <a:pt x="8614" y="104969"/>
                      </a:lnTo>
                      <a:lnTo>
                        <a:pt x="9592" y="102353"/>
                      </a:lnTo>
                      <a:lnTo>
                        <a:pt x="10260" y="100935"/>
                      </a:lnTo>
                      <a:lnTo>
                        <a:pt x="11051" y="98620"/>
                      </a:lnTo>
                      <a:lnTo>
                        <a:pt x="11255" y="97544"/>
                      </a:lnTo>
                      <a:lnTo>
                        <a:pt x="14262" y="94822"/>
                      </a:lnTo>
                      <a:lnTo>
                        <a:pt x="15639" y="94089"/>
                      </a:lnTo>
                      <a:lnTo>
                        <a:pt x="15941" y="93013"/>
                      </a:lnTo>
                      <a:lnTo>
                        <a:pt x="15476" y="91848"/>
                      </a:lnTo>
                      <a:lnTo>
                        <a:pt x="15672" y="91049"/>
                      </a:lnTo>
                      <a:lnTo>
                        <a:pt x="16389" y="90650"/>
                      </a:lnTo>
                      <a:lnTo>
                        <a:pt x="17497" y="90324"/>
                      </a:lnTo>
                      <a:lnTo>
                        <a:pt x="18304" y="89215"/>
                      </a:lnTo>
                      <a:lnTo>
                        <a:pt x="17033" y="80650"/>
                      </a:lnTo>
                      <a:lnTo>
                        <a:pt x="16014" y="72125"/>
                      </a:lnTo>
                      <a:lnTo>
                        <a:pt x="15957" y="71400"/>
                      </a:lnTo>
                      <a:lnTo>
                        <a:pt x="15346" y="70218"/>
                      </a:lnTo>
                      <a:lnTo>
                        <a:pt x="14743" y="66698"/>
                      </a:lnTo>
                      <a:lnTo>
                        <a:pt x="13732" y="64636"/>
                      </a:lnTo>
                      <a:lnTo>
                        <a:pt x="12322" y="64024"/>
                      </a:lnTo>
                      <a:lnTo>
                        <a:pt x="12331" y="62085"/>
                      </a:lnTo>
                      <a:lnTo>
                        <a:pt x="13749" y="58800"/>
                      </a:lnTo>
                      <a:lnTo>
                        <a:pt x="14123" y="56869"/>
                      </a:lnTo>
                      <a:lnTo>
                        <a:pt x="13439" y="56299"/>
                      </a:lnTo>
                      <a:lnTo>
                        <a:pt x="13341" y="54799"/>
                      </a:lnTo>
                      <a:lnTo>
                        <a:pt x="13830" y="52378"/>
                      </a:lnTo>
                      <a:lnTo>
                        <a:pt x="13586" y="50879"/>
                      </a:lnTo>
                      <a:lnTo>
                        <a:pt x="13325" y="49290"/>
                      </a:lnTo>
                      <a:lnTo>
                        <a:pt x="11850" y="45557"/>
                      </a:lnTo>
                      <a:lnTo>
                        <a:pt x="11491" y="42908"/>
                      </a:lnTo>
                      <a:lnTo>
                        <a:pt x="12257" y="41360"/>
                      </a:lnTo>
                      <a:lnTo>
                        <a:pt x="12233" y="37962"/>
                      </a:lnTo>
                      <a:lnTo>
                        <a:pt x="11418" y="32737"/>
                      </a:lnTo>
                      <a:lnTo>
                        <a:pt x="11287" y="29429"/>
                      </a:lnTo>
                      <a:lnTo>
                        <a:pt x="11833" y="28052"/>
                      </a:lnTo>
                      <a:lnTo>
                        <a:pt x="11572" y="26748"/>
                      </a:lnTo>
                      <a:lnTo>
                        <a:pt x="10505" y="25500"/>
                      </a:lnTo>
                      <a:lnTo>
                        <a:pt x="10423" y="24286"/>
                      </a:lnTo>
                      <a:lnTo>
                        <a:pt x="11336" y="23113"/>
                      </a:lnTo>
                      <a:lnTo>
                        <a:pt x="11222" y="22192"/>
                      </a:lnTo>
                      <a:lnTo>
                        <a:pt x="10081" y="21524"/>
                      </a:lnTo>
                      <a:lnTo>
                        <a:pt x="9055" y="19910"/>
                      </a:lnTo>
                      <a:lnTo>
                        <a:pt x="8158" y="17359"/>
                      </a:lnTo>
                      <a:lnTo>
                        <a:pt x="8345" y="13268"/>
                      </a:lnTo>
                      <a:lnTo>
                        <a:pt x="10048" y="5729"/>
                      </a:lnTo>
                      <a:lnTo>
                        <a:pt x="10260" y="5102"/>
                      </a:lnTo>
                      <a:lnTo>
                        <a:pt x="12192" y="5143"/>
                      </a:lnTo>
                      <a:lnTo>
                        <a:pt x="12200" y="5460"/>
                      </a:lnTo>
                      <a:lnTo>
                        <a:pt x="18215" y="5395"/>
                      </a:lnTo>
                      <a:lnTo>
                        <a:pt x="25093" y="5305"/>
                      </a:lnTo>
                      <a:lnTo>
                        <a:pt x="33308" y="5208"/>
                      </a:lnTo>
                      <a:lnTo>
                        <a:pt x="40781" y="5118"/>
                      </a:lnTo>
                      <a:lnTo>
                        <a:pt x="41107" y="4776"/>
                      </a:lnTo>
                      <a:lnTo>
                        <a:pt x="42338" y="4368"/>
                      </a:lnTo>
                      <a:lnTo>
                        <a:pt x="49884" y="5134"/>
                      </a:lnTo>
                      <a:lnTo>
                        <a:pt x="54595" y="4743"/>
                      </a:lnTo>
                      <a:lnTo>
                        <a:pt x="56591" y="4996"/>
                      </a:lnTo>
                      <a:lnTo>
                        <a:pt x="58059" y="5509"/>
                      </a:lnTo>
                      <a:lnTo>
                        <a:pt x="61311" y="5192"/>
                      </a:lnTo>
                      <a:lnTo>
                        <a:pt x="63054" y="5387"/>
                      </a:lnTo>
                      <a:lnTo>
                        <a:pt x="64367" y="7262"/>
                      </a:lnTo>
                      <a:lnTo>
                        <a:pt x="64896" y="7245"/>
                      </a:lnTo>
                      <a:lnTo>
                        <a:pt x="65630" y="6455"/>
                      </a:lnTo>
                      <a:lnTo>
                        <a:pt x="66934" y="5542"/>
                      </a:lnTo>
                      <a:lnTo>
                        <a:pt x="68254" y="4817"/>
                      </a:lnTo>
                      <a:lnTo>
                        <a:pt x="69199" y="3341"/>
                      </a:lnTo>
                      <a:lnTo>
                        <a:pt x="69778" y="2225"/>
                      </a:lnTo>
                      <a:lnTo>
                        <a:pt x="70642" y="2461"/>
                      </a:lnTo>
                      <a:lnTo>
                        <a:pt x="71872" y="2388"/>
                      </a:lnTo>
                      <a:lnTo>
                        <a:pt x="72704" y="1459"/>
                      </a:lnTo>
                      <a:lnTo>
                        <a:pt x="73030" y="0"/>
                      </a:lnTo>
                      <a:close/>
                    </a:path>
                  </a:pathLst>
                </a:custGeom>
                <a:solidFill>
                  <a:srgbClr val="D6D6D2"/>
                </a:solidFill>
                <a:ln w="6112" cap="rnd">
                  <a:solidFill>
                    <a:srgbClr val="FFFFFF"/>
                  </a:solidFill>
                  <a:prstDash val="solid"/>
                  <a:round/>
                </a:ln>
              </p:spPr>
              <p:txBody>
                <a:bodyPr rtlCol="0" anchor="ctr"/>
                <a:lstStyle/>
                <a:p>
                  <a:endParaRPr lang="en-US"/>
                </a:p>
              </p:txBody>
            </p:sp>
            <p:sp>
              <p:nvSpPr>
                <p:cNvPr id="727" name="Freeform: Shape 726">
                  <a:extLst>
                    <a:ext uri="{FF2B5EF4-FFF2-40B4-BE49-F238E27FC236}">
                      <a16:creationId xmlns:a16="http://schemas.microsoft.com/office/drawing/2014/main" id="{512F79D4-B05F-432B-B3B1-71C758A5D2E5}"/>
                    </a:ext>
                  </a:extLst>
                </p:cNvPr>
                <p:cNvSpPr/>
                <p:nvPr/>
              </p:nvSpPr>
              <p:spPr>
                <a:xfrm>
                  <a:off x="6935186" y="3153353"/>
                  <a:ext cx="166026" cy="86044"/>
                </a:xfrm>
                <a:custGeom>
                  <a:avLst/>
                  <a:gdLst>
                    <a:gd name="connsiteX0" fmla="*/ 160004 w 166026"/>
                    <a:gd name="connsiteY0" fmla="*/ 57953 h 86044"/>
                    <a:gd name="connsiteX1" fmla="*/ 159401 w 166026"/>
                    <a:gd name="connsiteY1" fmla="*/ 59183 h 86044"/>
                    <a:gd name="connsiteX2" fmla="*/ 157983 w 166026"/>
                    <a:gd name="connsiteY2" fmla="*/ 61408 h 86044"/>
                    <a:gd name="connsiteX3" fmla="*/ 156850 w 166026"/>
                    <a:gd name="connsiteY3" fmla="*/ 62541 h 86044"/>
                    <a:gd name="connsiteX4" fmla="*/ 155587 w 166026"/>
                    <a:gd name="connsiteY4" fmla="*/ 62720 h 86044"/>
                    <a:gd name="connsiteX5" fmla="*/ 154356 w 166026"/>
                    <a:gd name="connsiteY5" fmla="*/ 63234 h 86044"/>
                    <a:gd name="connsiteX6" fmla="*/ 153916 w 166026"/>
                    <a:gd name="connsiteY6" fmla="*/ 64432 h 86044"/>
                    <a:gd name="connsiteX7" fmla="*/ 153859 w 166026"/>
                    <a:gd name="connsiteY7" fmla="*/ 65972 h 86044"/>
                    <a:gd name="connsiteX8" fmla="*/ 154070 w 166026"/>
                    <a:gd name="connsiteY8" fmla="*/ 67080 h 86044"/>
                    <a:gd name="connsiteX9" fmla="*/ 154397 w 166026"/>
                    <a:gd name="connsiteY9" fmla="*/ 67496 h 86044"/>
                    <a:gd name="connsiteX10" fmla="*/ 155668 w 166026"/>
                    <a:gd name="connsiteY10" fmla="*/ 67855 h 86044"/>
                    <a:gd name="connsiteX11" fmla="*/ 156931 w 166026"/>
                    <a:gd name="connsiteY11" fmla="*/ 71090 h 86044"/>
                    <a:gd name="connsiteX12" fmla="*/ 158895 w 166026"/>
                    <a:gd name="connsiteY12" fmla="*/ 72720 h 86044"/>
                    <a:gd name="connsiteX13" fmla="*/ 161960 w 166026"/>
                    <a:gd name="connsiteY13" fmla="*/ 74586 h 86044"/>
                    <a:gd name="connsiteX14" fmla="*/ 164698 w 166026"/>
                    <a:gd name="connsiteY14" fmla="*/ 76705 h 86044"/>
                    <a:gd name="connsiteX15" fmla="*/ 166026 w 166026"/>
                    <a:gd name="connsiteY15" fmla="*/ 78645 h 86044"/>
                    <a:gd name="connsiteX16" fmla="*/ 165774 w 166026"/>
                    <a:gd name="connsiteY16" fmla="*/ 80055 h 86044"/>
                    <a:gd name="connsiteX17" fmla="*/ 164877 w 166026"/>
                    <a:gd name="connsiteY17" fmla="*/ 82989 h 86044"/>
                    <a:gd name="connsiteX18" fmla="*/ 162603 w 166026"/>
                    <a:gd name="connsiteY18" fmla="*/ 85417 h 86044"/>
                    <a:gd name="connsiteX19" fmla="*/ 160697 w 166026"/>
                    <a:gd name="connsiteY19" fmla="*/ 86045 h 86044"/>
                    <a:gd name="connsiteX20" fmla="*/ 160028 w 166026"/>
                    <a:gd name="connsiteY20" fmla="*/ 85808 h 86044"/>
                    <a:gd name="connsiteX21" fmla="*/ 158789 w 166026"/>
                    <a:gd name="connsiteY21" fmla="*/ 85059 h 86044"/>
                    <a:gd name="connsiteX22" fmla="*/ 156287 w 166026"/>
                    <a:gd name="connsiteY22" fmla="*/ 83168 h 86044"/>
                    <a:gd name="connsiteX23" fmla="*/ 153581 w 166026"/>
                    <a:gd name="connsiteY23" fmla="*/ 81693 h 86044"/>
                    <a:gd name="connsiteX24" fmla="*/ 151495 w 166026"/>
                    <a:gd name="connsiteY24" fmla="*/ 82166 h 86044"/>
                    <a:gd name="connsiteX25" fmla="*/ 150126 w 166026"/>
                    <a:gd name="connsiteY25" fmla="*/ 82728 h 86044"/>
                    <a:gd name="connsiteX26" fmla="*/ 147412 w 166026"/>
                    <a:gd name="connsiteY26" fmla="*/ 82068 h 86044"/>
                    <a:gd name="connsiteX27" fmla="*/ 144210 w 166026"/>
                    <a:gd name="connsiteY27" fmla="*/ 80780 h 86044"/>
                    <a:gd name="connsiteX28" fmla="*/ 142539 w 166026"/>
                    <a:gd name="connsiteY28" fmla="*/ 79509 h 86044"/>
                    <a:gd name="connsiteX29" fmla="*/ 141797 w 166026"/>
                    <a:gd name="connsiteY29" fmla="*/ 78571 h 86044"/>
                    <a:gd name="connsiteX30" fmla="*/ 142295 w 166026"/>
                    <a:gd name="connsiteY30" fmla="*/ 76909 h 86044"/>
                    <a:gd name="connsiteX31" fmla="*/ 135017 w 166026"/>
                    <a:gd name="connsiteY31" fmla="*/ 73910 h 86044"/>
                    <a:gd name="connsiteX32" fmla="*/ 131512 w 166026"/>
                    <a:gd name="connsiteY32" fmla="*/ 73079 h 86044"/>
                    <a:gd name="connsiteX33" fmla="*/ 129931 w 166026"/>
                    <a:gd name="connsiteY33" fmla="*/ 73975 h 86044"/>
                    <a:gd name="connsiteX34" fmla="*/ 124585 w 166026"/>
                    <a:gd name="connsiteY34" fmla="*/ 78506 h 86044"/>
                    <a:gd name="connsiteX35" fmla="*/ 123949 w 166026"/>
                    <a:gd name="connsiteY35" fmla="*/ 78971 h 86044"/>
                    <a:gd name="connsiteX36" fmla="*/ 119866 w 166026"/>
                    <a:gd name="connsiteY36" fmla="*/ 79590 h 86044"/>
                    <a:gd name="connsiteX37" fmla="*/ 119858 w 166026"/>
                    <a:gd name="connsiteY37" fmla="*/ 79957 h 86044"/>
                    <a:gd name="connsiteX38" fmla="*/ 120796 w 166026"/>
                    <a:gd name="connsiteY38" fmla="*/ 80927 h 86044"/>
                    <a:gd name="connsiteX39" fmla="*/ 120616 w 166026"/>
                    <a:gd name="connsiteY39" fmla="*/ 81228 h 86044"/>
                    <a:gd name="connsiteX40" fmla="*/ 113754 w 166026"/>
                    <a:gd name="connsiteY40" fmla="*/ 81343 h 86044"/>
                    <a:gd name="connsiteX41" fmla="*/ 111480 w 166026"/>
                    <a:gd name="connsiteY41" fmla="*/ 81921 h 86044"/>
                    <a:gd name="connsiteX42" fmla="*/ 105384 w 166026"/>
                    <a:gd name="connsiteY42" fmla="*/ 81155 h 86044"/>
                    <a:gd name="connsiteX43" fmla="*/ 103379 w 166026"/>
                    <a:gd name="connsiteY43" fmla="*/ 81497 h 86044"/>
                    <a:gd name="connsiteX44" fmla="*/ 101660 w 166026"/>
                    <a:gd name="connsiteY44" fmla="*/ 82214 h 86044"/>
                    <a:gd name="connsiteX45" fmla="*/ 97487 w 166026"/>
                    <a:gd name="connsiteY45" fmla="*/ 83021 h 86044"/>
                    <a:gd name="connsiteX46" fmla="*/ 94618 w 166026"/>
                    <a:gd name="connsiteY46" fmla="*/ 83967 h 86044"/>
                    <a:gd name="connsiteX47" fmla="*/ 90943 w 166026"/>
                    <a:gd name="connsiteY47" fmla="*/ 84464 h 86044"/>
                    <a:gd name="connsiteX48" fmla="*/ 87145 w 166026"/>
                    <a:gd name="connsiteY48" fmla="*/ 84505 h 86044"/>
                    <a:gd name="connsiteX49" fmla="*/ 85841 w 166026"/>
                    <a:gd name="connsiteY49" fmla="*/ 84782 h 86044"/>
                    <a:gd name="connsiteX50" fmla="*/ 85898 w 166026"/>
                    <a:gd name="connsiteY50" fmla="*/ 84138 h 86044"/>
                    <a:gd name="connsiteX51" fmla="*/ 85695 w 166026"/>
                    <a:gd name="connsiteY51" fmla="*/ 83135 h 86044"/>
                    <a:gd name="connsiteX52" fmla="*/ 84920 w 166026"/>
                    <a:gd name="connsiteY52" fmla="*/ 82418 h 86044"/>
                    <a:gd name="connsiteX53" fmla="*/ 83844 w 166026"/>
                    <a:gd name="connsiteY53" fmla="*/ 81954 h 86044"/>
                    <a:gd name="connsiteX54" fmla="*/ 81872 w 166026"/>
                    <a:gd name="connsiteY54" fmla="*/ 82117 h 86044"/>
                    <a:gd name="connsiteX55" fmla="*/ 80038 w 166026"/>
                    <a:gd name="connsiteY55" fmla="*/ 81644 h 86044"/>
                    <a:gd name="connsiteX56" fmla="*/ 78735 w 166026"/>
                    <a:gd name="connsiteY56" fmla="*/ 80373 h 86044"/>
                    <a:gd name="connsiteX57" fmla="*/ 78449 w 166026"/>
                    <a:gd name="connsiteY57" fmla="*/ 79403 h 86044"/>
                    <a:gd name="connsiteX58" fmla="*/ 79191 w 166026"/>
                    <a:gd name="connsiteY58" fmla="*/ 78612 h 86044"/>
                    <a:gd name="connsiteX59" fmla="*/ 78637 w 166026"/>
                    <a:gd name="connsiteY59" fmla="*/ 77952 h 86044"/>
                    <a:gd name="connsiteX60" fmla="*/ 76355 w 166026"/>
                    <a:gd name="connsiteY60" fmla="*/ 76387 h 86044"/>
                    <a:gd name="connsiteX61" fmla="*/ 72630 w 166026"/>
                    <a:gd name="connsiteY61" fmla="*/ 72492 h 86044"/>
                    <a:gd name="connsiteX62" fmla="*/ 70511 w 166026"/>
                    <a:gd name="connsiteY62" fmla="*/ 71612 h 86044"/>
                    <a:gd name="connsiteX63" fmla="*/ 69680 w 166026"/>
                    <a:gd name="connsiteY63" fmla="*/ 69175 h 86044"/>
                    <a:gd name="connsiteX64" fmla="*/ 68849 w 166026"/>
                    <a:gd name="connsiteY64" fmla="*/ 68653 h 86044"/>
                    <a:gd name="connsiteX65" fmla="*/ 67056 w 166026"/>
                    <a:gd name="connsiteY65" fmla="*/ 68417 h 86044"/>
                    <a:gd name="connsiteX66" fmla="*/ 65198 w 166026"/>
                    <a:gd name="connsiteY66" fmla="*/ 68653 h 86044"/>
                    <a:gd name="connsiteX67" fmla="*/ 64782 w 166026"/>
                    <a:gd name="connsiteY67" fmla="*/ 68930 h 86044"/>
                    <a:gd name="connsiteX68" fmla="*/ 64220 w 166026"/>
                    <a:gd name="connsiteY68" fmla="*/ 69322 h 86044"/>
                    <a:gd name="connsiteX69" fmla="*/ 62729 w 166026"/>
                    <a:gd name="connsiteY69" fmla="*/ 72378 h 86044"/>
                    <a:gd name="connsiteX70" fmla="*/ 61710 w 166026"/>
                    <a:gd name="connsiteY70" fmla="*/ 73413 h 86044"/>
                    <a:gd name="connsiteX71" fmla="*/ 59167 w 166026"/>
                    <a:gd name="connsiteY71" fmla="*/ 72932 h 86044"/>
                    <a:gd name="connsiteX72" fmla="*/ 57089 w 166026"/>
                    <a:gd name="connsiteY72" fmla="*/ 72207 h 86044"/>
                    <a:gd name="connsiteX73" fmla="*/ 55377 w 166026"/>
                    <a:gd name="connsiteY73" fmla="*/ 71807 h 86044"/>
                    <a:gd name="connsiteX74" fmla="*/ 52068 w 166026"/>
                    <a:gd name="connsiteY74" fmla="*/ 71555 h 86044"/>
                    <a:gd name="connsiteX75" fmla="*/ 48295 w 166026"/>
                    <a:gd name="connsiteY75" fmla="*/ 71506 h 86044"/>
                    <a:gd name="connsiteX76" fmla="*/ 45761 w 166026"/>
                    <a:gd name="connsiteY76" fmla="*/ 73665 h 86044"/>
                    <a:gd name="connsiteX77" fmla="*/ 44660 w 166026"/>
                    <a:gd name="connsiteY77" fmla="*/ 73388 h 86044"/>
                    <a:gd name="connsiteX78" fmla="*/ 42737 w 166026"/>
                    <a:gd name="connsiteY78" fmla="*/ 72329 h 86044"/>
                    <a:gd name="connsiteX79" fmla="*/ 39632 w 166026"/>
                    <a:gd name="connsiteY79" fmla="*/ 71449 h 86044"/>
                    <a:gd name="connsiteX80" fmla="*/ 37986 w 166026"/>
                    <a:gd name="connsiteY80" fmla="*/ 70748 h 86044"/>
                    <a:gd name="connsiteX81" fmla="*/ 42737 w 166026"/>
                    <a:gd name="connsiteY81" fmla="*/ 64318 h 86044"/>
                    <a:gd name="connsiteX82" fmla="*/ 44163 w 166026"/>
                    <a:gd name="connsiteY82" fmla="*/ 60487 h 86044"/>
                    <a:gd name="connsiteX83" fmla="*/ 44212 w 166026"/>
                    <a:gd name="connsiteY83" fmla="*/ 58165 h 86044"/>
                    <a:gd name="connsiteX84" fmla="*/ 44253 w 166026"/>
                    <a:gd name="connsiteY84" fmla="*/ 55239 h 86044"/>
                    <a:gd name="connsiteX85" fmla="*/ 41792 w 166026"/>
                    <a:gd name="connsiteY85" fmla="*/ 49159 h 86044"/>
                    <a:gd name="connsiteX86" fmla="*/ 39665 w 166026"/>
                    <a:gd name="connsiteY86" fmla="*/ 40520 h 86044"/>
                    <a:gd name="connsiteX87" fmla="*/ 37448 w 166026"/>
                    <a:gd name="connsiteY87" fmla="*/ 31507 h 86044"/>
                    <a:gd name="connsiteX88" fmla="*/ 35737 w 166026"/>
                    <a:gd name="connsiteY88" fmla="*/ 28809 h 86044"/>
                    <a:gd name="connsiteX89" fmla="*/ 28524 w 166026"/>
                    <a:gd name="connsiteY89" fmla="*/ 25680 h 86044"/>
                    <a:gd name="connsiteX90" fmla="*/ 26862 w 166026"/>
                    <a:gd name="connsiteY90" fmla="*/ 22126 h 86044"/>
                    <a:gd name="connsiteX91" fmla="*/ 21279 w 166026"/>
                    <a:gd name="connsiteY91" fmla="*/ 17546 h 86044"/>
                    <a:gd name="connsiteX92" fmla="*/ 13537 w 166026"/>
                    <a:gd name="connsiteY92" fmla="*/ 15550 h 86044"/>
                    <a:gd name="connsiteX93" fmla="*/ 11988 w 166026"/>
                    <a:gd name="connsiteY93" fmla="*/ 14694 h 86044"/>
                    <a:gd name="connsiteX94" fmla="*/ 5265 w 166026"/>
                    <a:gd name="connsiteY94" fmla="*/ 8924 h 86044"/>
                    <a:gd name="connsiteX95" fmla="*/ 0 w 166026"/>
                    <a:gd name="connsiteY95" fmla="*/ 5200 h 86044"/>
                    <a:gd name="connsiteX96" fmla="*/ 1116 w 166026"/>
                    <a:gd name="connsiteY96" fmla="*/ 2942 h 86044"/>
                    <a:gd name="connsiteX97" fmla="*/ 2632 w 166026"/>
                    <a:gd name="connsiteY97" fmla="*/ 570 h 86044"/>
                    <a:gd name="connsiteX98" fmla="*/ 4254 w 166026"/>
                    <a:gd name="connsiteY98" fmla="*/ 0 h 86044"/>
                    <a:gd name="connsiteX99" fmla="*/ 9022 w 166026"/>
                    <a:gd name="connsiteY99" fmla="*/ 937 h 86044"/>
                    <a:gd name="connsiteX100" fmla="*/ 13398 w 166026"/>
                    <a:gd name="connsiteY100" fmla="*/ 1997 h 86044"/>
                    <a:gd name="connsiteX101" fmla="*/ 16601 w 166026"/>
                    <a:gd name="connsiteY101" fmla="*/ 1239 h 86044"/>
                    <a:gd name="connsiteX102" fmla="*/ 20415 w 166026"/>
                    <a:gd name="connsiteY102" fmla="*/ 3113 h 86044"/>
                    <a:gd name="connsiteX103" fmla="*/ 23895 w 166026"/>
                    <a:gd name="connsiteY103" fmla="*/ 5265 h 86044"/>
                    <a:gd name="connsiteX104" fmla="*/ 27399 w 166026"/>
                    <a:gd name="connsiteY104" fmla="*/ 6772 h 86044"/>
                    <a:gd name="connsiteX105" fmla="*/ 34229 w 166026"/>
                    <a:gd name="connsiteY105" fmla="*/ 8199 h 86044"/>
                    <a:gd name="connsiteX106" fmla="*/ 36763 w 166026"/>
                    <a:gd name="connsiteY106" fmla="*/ 10171 h 86044"/>
                    <a:gd name="connsiteX107" fmla="*/ 39746 w 166026"/>
                    <a:gd name="connsiteY107" fmla="*/ 12151 h 86044"/>
                    <a:gd name="connsiteX108" fmla="*/ 51376 w 166026"/>
                    <a:gd name="connsiteY108" fmla="*/ 13162 h 86044"/>
                    <a:gd name="connsiteX109" fmla="*/ 52321 w 166026"/>
                    <a:gd name="connsiteY109" fmla="*/ 12852 h 86044"/>
                    <a:gd name="connsiteX110" fmla="*/ 53161 w 166026"/>
                    <a:gd name="connsiteY110" fmla="*/ 12567 h 86044"/>
                    <a:gd name="connsiteX111" fmla="*/ 57080 w 166026"/>
                    <a:gd name="connsiteY111" fmla="*/ 11842 h 86044"/>
                    <a:gd name="connsiteX112" fmla="*/ 60528 w 166026"/>
                    <a:gd name="connsiteY112" fmla="*/ 11980 h 86044"/>
                    <a:gd name="connsiteX113" fmla="*/ 64187 w 166026"/>
                    <a:gd name="connsiteY113" fmla="*/ 14368 h 86044"/>
                    <a:gd name="connsiteX114" fmla="*/ 66518 w 166026"/>
                    <a:gd name="connsiteY114" fmla="*/ 14238 h 86044"/>
                    <a:gd name="connsiteX115" fmla="*/ 69004 w 166026"/>
                    <a:gd name="connsiteY115" fmla="*/ 13879 h 86044"/>
                    <a:gd name="connsiteX116" fmla="*/ 72214 w 166026"/>
                    <a:gd name="connsiteY116" fmla="*/ 15150 h 86044"/>
                    <a:gd name="connsiteX117" fmla="*/ 74733 w 166026"/>
                    <a:gd name="connsiteY117" fmla="*/ 16577 h 86044"/>
                    <a:gd name="connsiteX118" fmla="*/ 74945 w 166026"/>
                    <a:gd name="connsiteY118" fmla="*/ 18027 h 86044"/>
                    <a:gd name="connsiteX119" fmla="*/ 77153 w 166026"/>
                    <a:gd name="connsiteY119" fmla="*/ 20122 h 86044"/>
                    <a:gd name="connsiteX120" fmla="*/ 83584 w 166026"/>
                    <a:gd name="connsiteY120" fmla="*/ 23308 h 86044"/>
                    <a:gd name="connsiteX121" fmla="*/ 88775 w 166026"/>
                    <a:gd name="connsiteY121" fmla="*/ 25117 h 86044"/>
                    <a:gd name="connsiteX122" fmla="*/ 90389 w 166026"/>
                    <a:gd name="connsiteY122" fmla="*/ 26389 h 86044"/>
                    <a:gd name="connsiteX123" fmla="*/ 94349 w 166026"/>
                    <a:gd name="connsiteY123" fmla="*/ 28483 h 86044"/>
                    <a:gd name="connsiteX124" fmla="*/ 94757 w 166026"/>
                    <a:gd name="connsiteY124" fmla="*/ 29152 h 86044"/>
                    <a:gd name="connsiteX125" fmla="*/ 94667 w 166026"/>
                    <a:gd name="connsiteY125" fmla="*/ 30007 h 86044"/>
                    <a:gd name="connsiteX126" fmla="*/ 93534 w 166026"/>
                    <a:gd name="connsiteY126" fmla="*/ 31572 h 86044"/>
                    <a:gd name="connsiteX127" fmla="*/ 93249 w 166026"/>
                    <a:gd name="connsiteY127" fmla="*/ 32966 h 86044"/>
                    <a:gd name="connsiteX128" fmla="*/ 93787 w 166026"/>
                    <a:gd name="connsiteY128" fmla="*/ 33764 h 86044"/>
                    <a:gd name="connsiteX129" fmla="*/ 95434 w 166026"/>
                    <a:gd name="connsiteY129" fmla="*/ 34530 h 86044"/>
                    <a:gd name="connsiteX130" fmla="*/ 98685 w 166026"/>
                    <a:gd name="connsiteY130" fmla="*/ 34710 h 86044"/>
                    <a:gd name="connsiteX131" fmla="*/ 99859 w 166026"/>
                    <a:gd name="connsiteY131" fmla="*/ 33707 h 86044"/>
                    <a:gd name="connsiteX132" fmla="*/ 102287 w 166026"/>
                    <a:gd name="connsiteY132" fmla="*/ 32990 h 86044"/>
                    <a:gd name="connsiteX133" fmla="*/ 104692 w 166026"/>
                    <a:gd name="connsiteY133" fmla="*/ 31711 h 86044"/>
                    <a:gd name="connsiteX134" fmla="*/ 107910 w 166026"/>
                    <a:gd name="connsiteY134" fmla="*/ 29983 h 86044"/>
                    <a:gd name="connsiteX135" fmla="*/ 112295 w 166026"/>
                    <a:gd name="connsiteY135" fmla="*/ 28426 h 86044"/>
                    <a:gd name="connsiteX136" fmla="*/ 114039 w 166026"/>
                    <a:gd name="connsiteY136" fmla="*/ 28434 h 86044"/>
                    <a:gd name="connsiteX137" fmla="*/ 115718 w 166026"/>
                    <a:gd name="connsiteY137" fmla="*/ 28907 h 86044"/>
                    <a:gd name="connsiteX138" fmla="*/ 116900 w 166026"/>
                    <a:gd name="connsiteY138" fmla="*/ 29771 h 86044"/>
                    <a:gd name="connsiteX139" fmla="*/ 118872 w 166026"/>
                    <a:gd name="connsiteY139" fmla="*/ 32974 h 86044"/>
                    <a:gd name="connsiteX140" fmla="*/ 120836 w 166026"/>
                    <a:gd name="connsiteY140" fmla="*/ 28491 h 86044"/>
                    <a:gd name="connsiteX141" fmla="*/ 121341 w 166026"/>
                    <a:gd name="connsiteY141" fmla="*/ 28157 h 86044"/>
                    <a:gd name="connsiteX142" fmla="*/ 123142 w 166026"/>
                    <a:gd name="connsiteY142" fmla="*/ 29062 h 86044"/>
                    <a:gd name="connsiteX143" fmla="*/ 126329 w 166026"/>
                    <a:gd name="connsiteY143" fmla="*/ 30301 h 86044"/>
                    <a:gd name="connsiteX144" fmla="*/ 128521 w 166026"/>
                    <a:gd name="connsiteY144" fmla="*/ 30969 h 86044"/>
                    <a:gd name="connsiteX145" fmla="*/ 129711 w 166026"/>
                    <a:gd name="connsiteY145" fmla="*/ 31890 h 86044"/>
                    <a:gd name="connsiteX146" fmla="*/ 133069 w 166026"/>
                    <a:gd name="connsiteY146" fmla="*/ 35973 h 86044"/>
                    <a:gd name="connsiteX147" fmla="*/ 138505 w 166026"/>
                    <a:gd name="connsiteY147" fmla="*/ 35769 h 86044"/>
                    <a:gd name="connsiteX148" fmla="*/ 140803 w 166026"/>
                    <a:gd name="connsiteY148" fmla="*/ 36389 h 86044"/>
                    <a:gd name="connsiteX149" fmla="*/ 142033 w 166026"/>
                    <a:gd name="connsiteY149" fmla="*/ 37073 h 86044"/>
                    <a:gd name="connsiteX150" fmla="*/ 142596 w 166026"/>
                    <a:gd name="connsiteY150" fmla="*/ 37864 h 86044"/>
                    <a:gd name="connsiteX151" fmla="*/ 141626 w 166026"/>
                    <a:gd name="connsiteY151" fmla="*/ 41922 h 86044"/>
                    <a:gd name="connsiteX152" fmla="*/ 140281 w 166026"/>
                    <a:gd name="connsiteY152" fmla="*/ 46136 h 86044"/>
                    <a:gd name="connsiteX153" fmla="*/ 140387 w 166026"/>
                    <a:gd name="connsiteY153" fmla="*/ 47154 h 86044"/>
                    <a:gd name="connsiteX154" fmla="*/ 142563 w 166026"/>
                    <a:gd name="connsiteY154" fmla="*/ 48752 h 86044"/>
                    <a:gd name="connsiteX155" fmla="*/ 145530 w 166026"/>
                    <a:gd name="connsiteY155" fmla="*/ 50431 h 86044"/>
                    <a:gd name="connsiteX156" fmla="*/ 147119 w 166026"/>
                    <a:gd name="connsiteY156" fmla="*/ 51783 h 86044"/>
                    <a:gd name="connsiteX157" fmla="*/ 148211 w 166026"/>
                    <a:gd name="connsiteY157" fmla="*/ 52990 h 86044"/>
                    <a:gd name="connsiteX158" fmla="*/ 150550 w 166026"/>
                    <a:gd name="connsiteY158" fmla="*/ 53911 h 86044"/>
                    <a:gd name="connsiteX159" fmla="*/ 153313 w 166026"/>
                    <a:gd name="connsiteY159" fmla="*/ 54481 h 86044"/>
                    <a:gd name="connsiteX160" fmla="*/ 154625 w 166026"/>
                    <a:gd name="connsiteY160" fmla="*/ 54554 h 86044"/>
                    <a:gd name="connsiteX161" fmla="*/ 155986 w 166026"/>
                    <a:gd name="connsiteY161" fmla="*/ 55565 h 86044"/>
                    <a:gd name="connsiteX162" fmla="*/ 159555 w 166026"/>
                    <a:gd name="connsiteY162" fmla="*/ 57480 h 86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66026" h="86044">
                      <a:moveTo>
                        <a:pt x="160004" y="57953"/>
                      </a:moveTo>
                      <a:lnTo>
                        <a:pt x="159401" y="59183"/>
                      </a:lnTo>
                      <a:lnTo>
                        <a:pt x="157983" y="61408"/>
                      </a:lnTo>
                      <a:lnTo>
                        <a:pt x="156850" y="62541"/>
                      </a:lnTo>
                      <a:lnTo>
                        <a:pt x="155587" y="62720"/>
                      </a:lnTo>
                      <a:lnTo>
                        <a:pt x="154356" y="63234"/>
                      </a:lnTo>
                      <a:lnTo>
                        <a:pt x="153916" y="64432"/>
                      </a:lnTo>
                      <a:lnTo>
                        <a:pt x="153859" y="65972"/>
                      </a:lnTo>
                      <a:lnTo>
                        <a:pt x="154070" y="67080"/>
                      </a:lnTo>
                      <a:lnTo>
                        <a:pt x="154397" y="67496"/>
                      </a:lnTo>
                      <a:lnTo>
                        <a:pt x="155668" y="67855"/>
                      </a:lnTo>
                      <a:lnTo>
                        <a:pt x="156931" y="71090"/>
                      </a:lnTo>
                      <a:lnTo>
                        <a:pt x="158895" y="72720"/>
                      </a:lnTo>
                      <a:lnTo>
                        <a:pt x="161960" y="74586"/>
                      </a:lnTo>
                      <a:lnTo>
                        <a:pt x="164698" y="76705"/>
                      </a:lnTo>
                      <a:lnTo>
                        <a:pt x="166026" y="78645"/>
                      </a:lnTo>
                      <a:lnTo>
                        <a:pt x="165774" y="80055"/>
                      </a:lnTo>
                      <a:lnTo>
                        <a:pt x="164877" y="82989"/>
                      </a:lnTo>
                      <a:lnTo>
                        <a:pt x="162603" y="85417"/>
                      </a:lnTo>
                      <a:lnTo>
                        <a:pt x="160697" y="86045"/>
                      </a:lnTo>
                      <a:lnTo>
                        <a:pt x="160028" y="85808"/>
                      </a:lnTo>
                      <a:lnTo>
                        <a:pt x="158789" y="85059"/>
                      </a:lnTo>
                      <a:lnTo>
                        <a:pt x="156287" y="83168"/>
                      </a:lnTo>
                      <a:lnTo>
                        <a:pt x="153581" y="81693"/>
                      </a:lnTo>
                      <a:lnTo>
                        <a:pt x="151495" y="82166"/>
                      </a:lnTo>
                      <a:lnTo>
                        <a:pt x="150126" y="82728"/>
                      </a:lnTo>
                      <a:lnTo>
                        <a:pt x="147412" y="82068"/>
                      </a:lnTo>
                      <a:lnTo>
                        <a:pt x="144210" y="80780"/>
                      </a:lnTo>
                      <a:lnTo>
                        <a:pt x="142539" y="79509"/>
                      </a:lnTo>
                      <a:lnTo>
                        <a:pt x="141797" y="78571"/>
                      </a:lnTo>
                      <a:lnTo>
                        <a:pt x="142295" y="76909"/>
                      </a:lnTo>
                      <a:lnTo>
                        <a:pt x="135017" y="73910"/>
                      </a:lnTo>
                      <a:lnTo>
                        <a:pt x="131512" y="73079"/>
                      </a:lnTo>
                      <a:lnTo>
                        <a:pt x="129931" y="73975"/>
                      </a:lnTo>
                      <a:lnTo>
                        <a:pt x="124585" y="78506"/>
                      </a:lnTo>
                      <a:lnTo>
                        <a:pt x="123949" y="78971"/>
                      </a:lnTo>
                      <a:lnTo>
                        <a:pt x="119866" y="79590"/>
                      </a:lnTo>
                      <a:lnTo>
                        <a:pt x="119858" y="79957"/>
                      </a:lnTo>
                      <a:lnTo>
                        <a:pt x="120796" y="80927"/>
                      </a:lnTo>
                      <a:lnTo>
                        <a:pt x="120616" y="81228"/>
                      </a:lnTo>
                      <a:lnTo>
                        <a:pt x="113754" y="81343"/>
                      </a:lnTo>
                      <a:lnTo>
                        <a:pt x="111480" y="81921"/>
                      </a:lnTo>
                      <a:lnTo>
                        <a:pt x="105384" y="81155"/>
                      </a:lnTo>
                      <a:lnTo>
                        <a:pt x="103379" y="81497"/>
                      </a:lnTo>
                      <a:lnTo>
                        <a:pt x="101660" y="82214"/>
                      </a:lnTo>
                      <a:lnTo>
                        <a:pt x="97487" y="83021"/>
                      </a:lnTo>
                      <a:lnTo>
                        <a:pt x="94618" y="83967"/>
                      </a:lnTo>
                      <a:lnTo>
                        <a:pt x="90943" y="84464"/>
                      </a:lnTo>
                      <a:lnTo>
                        <a:pt x="87145" y="84505"/>
                      </a:lnTo>
                      <a:lnTo>
                        <a:pt x="85841" y="84782"/>
                      </a:lnTo>
                      <a:lnTo>
                        <a:pt x="85898" y="84138"/>
                      </a:lnTo>
                      <a:lnTo>
                        <a:pt x="85695" y="83135"/>
                      </a:lnTo>
                      <a:lnTo>
                        <a:pt x="84920" y="82418"/>
                      </a:lnTo>
                      <a:lnTo>
                        <a:pt x="83844" y="81954"/>
                      </a:lnTo>
                      <a:lnTo>
                        <a:pt x="81872" y="82117"/>
                      </a:lnTo>
                      <a:lnTo>
                        <a:pt x="80038" y="81644"/>
                      </a:lnTo>
                      <a:lnTo>
                        <a:pt x="78735" y="80373"/>
                      </a:lnTo>
                      <a:lnTo>
                        <a:pt x="78449" y="79403"/>
                      </a:lnTo>
                      <a:lnTo>
                        <a:pt x="79191" y="78612"/>
                      </a:lnTo>
                      <a:lnTo>
                        <a:pt x="78637" y="77952"/>
                      </a:lnTo>
                      <a:lnTo>
                        <a:pt x="76355" y="76387"/>
                      </a:lnTo>
                      <a:lnTo>
                        <a:pt x="72630" y="72492"/>
                      </a:lnTo>
                      <a:lnTo>
                        <a:pt x="70511" y="71612"/>
                      </a:lnTo>
                      <a:lnTo>
                        <a:pt x="69680" y="69175"/>
                      </a:lnTo>
                      <a:lnTo>
                        <a:pt x="68849" y="68653"/>
                      </a:lnTo>
                      <a:lnTo>
                        <a:pt x="67056" y="68417"/>
                      </a:lnTo>
                      <a:lnTo>
                        <a:pt x="65198" y="68653"/>
                      </a:lnTo>
                      <a:lnTo>
                        <a:pt x="64782" y="68930"/>
                      </a:lnTo>
                      <a:lnTo>
                        <a:pt x="64220" y="69322"/>
                      </a:lnTo>
                      <a:lnTo>
                        <a:pt x="62729" y="72378"/>
                      </a:lnTo>
                      <a:lnTo>
                        <a:pt x="61710" y="73413"/>
                      </a:lnTo>
                      <a:lnTo>
                        <a:pt x="59167" y="72932"/>
                      </a:lnTo>
                      <a:lnTo>
                        <a:pt x="57089" y="72207"/>
                      </a:lnTo>
                      <a:lnTo>
                        <a:pt x="55377" y="71807"/>
                      </a:lnTo>
                      <a:lnTo>
                        <a:pt x="52068" y="71555"/>
                      </a:lnTo>
                      <a:lnTo>
                        <a:pt x="48295" y="71506"/>
                      </a:lnTo>
                      <a:lnTo>
                        <a:pt x="45761" y="73665"/>
                      </a:lnTo>
                      <a:lnTo>
                        <a:pt x="44660" y="73388"/>
                      </a:lnTo>
                      <a:lnTo>
                        <a:pt x="42737" y="72329"/>
                      </a:lnTo>
                      <a:lnTo>
                        <a:pt x="39632" y="71449"/>
                      </a:lnTo>
                      <a:lnTo>
                        <a:pt x="37986" y="70748"/>
                      </a:lnTo>
                      <a:lnTo>
                        <a:pt x="42737" y="64318"/>
                      </a:lnTo>
                      <a:lnTo>
                        <a:pt x="44163" y="60487"/>
                      </a:lnTo>
                      <a:lnTo>
                        <a:pt x="44212" y="58165"/>
                      </a:lnTo>
                      <a:lnTo>
                        <a:pt x="44253" y="55239"/>
                      </a:lnTo>
                      <a:lnTo>
                        <a:pt x="41792" y="49159"/>
                      </a:lnTo>
                      <a:lnTo>
                        <a:pt x="39665" y="40520"/>
                      </a:lnTo>
                      <a:lnTo>
                        <a:pt x="37448" y="31507"/>
                      </a:lnTo>
                      <a:lnTo>
                        <a:pt x="35737" y="28809"/>
                      </a:lnTo>
                      <a:lnTo>
                        <a:pt x="28524" y="25680"/>
                      </a:lnTo>
                      <a:lnTo>
                        <a:pt x="26862" y="22126"/>
                      </a:lnTo>
                      <a:lnTo>
                        <a:pt x="21279" y="17546"/>
                      </a:lnTo>
                      <a:lnTo>
                        <a:pt x="13537" y="15550"/>
                      </a:lnTo>
                      <a:lnTo>
                        <a:pt x="11988" y="14694"/>
                      </a:lnTo>
                      <a:lnTo>
                        <a:pt x="5265" y="8924"/>
                      </a:lnTo>
                      <a:lnTo>
                        <a:pt x="0" y="5200"/>
                      </a:lnTo>
                      <a:lnTo>
                        <a:pt x="1116" y="2942"/>
                      </a:lnTo>
                      <a:lnTo>
                        <a:pt x="2632" y="570"/>
                      </a:lnTo>
                      <a:lnTo>
                        <a:pt x="4254" y="0"/>
                      </a:lnTo>
                      <a:lnTo>
                        <a:pt x="9022" y="937"/>
                      </a:lnTo>
                      <a:lnTo>
                        <a:pt x="13398" y="1997"/>
                      </a:lnTo>
                      <a:lnTo>
                        <a:pt x="16601" y="1239"/>
                      </a:lnTo>
                      <a:lnTo>
                        <a:pt x="20415" y="3113"/>
                      </a:lnTo>
                      <a:lnTo>
                        <a:pt x="23895" y="5265"/>
                      </a:lnTo>
                      <a:lnTo>
                        <a:pt x="27399" y="6772"/>
                      </a:lnTo>
                      <a:lnTo>
                        <a:pt x="34229" y="8199"/>
                      </a:lnTo>
                      <a:lnTo>
                        <a:pt x="36763" y="10171"/>
                      </a:lnTo>
                      <a:lnTo>
                        <a:pt x="39746" y="12151"/>
                      </a:lnTo>
                      <a:lnTo>
                        <a:pt x="51376" y="13162"/>
                      </a:lnTo>
                      <a:lnTo>
                        <a:pt x="52321" y="12852"/>
                      </a:lnTo>
                      <a:lnTo>
                        <a:pt x="53161" y="12567"/>
                      </a:lnTo>
                      <a:lnTo>
                        <a:pt x="57080" y="11842"/>
                      </a:lnTo>
                      <a:lnTo>
                        <a:pt x="60528" y="11980"/>
                      </a:lnTo>
                      <a:lnTo>
                        <a:pt x="64187" y="14368"/>
                      </a:lnTo>
                      <a:lnTo>
                        <a:pt x="66518" y="14238"/>
                      </a:lnTo>
                      <a:lnTo>
                        <a:pt x="69004" y="13879"/>
                      </a:lnTo>
                      <a:lnTo>
                        <a:pt x="72214" y="15150"/>
                      </a:lnTo>
                      <a:lnTo>
                        <a:pt x="74733" y="16577"/>
                      </a:lnTo>
                      <a:lnTo>
                        <a:pt x="74945" y="18027"/>
                      </a:lnTo>
                      <a:lnTo>
                        <a:pt x="77153" y="20122"/>
                      </a:lnTo>
                      <a:lnTo>
                        <a:pt x="83584" y="23308"/>
                      </a:lnTo>
                      <a:lnTo>
                        <a:pt x="88775" y="25117"/>
                      </a:lnTo>
                      <a:lnTo>
                        <a:pt x="90389" y="26389"/>
                      </a:lnTo>
                      <a:lnTo>
                        <a:pt x="94349" y="28483"/>
                      </a:lnTo>
                      <a:lnTo>
                        <a:pt x="94757" y="29152"/>
                      </a:lnTo>
                      <a:lnTo>
                        <a:pt x="94667" y="30007"/>
                      </a:lnTo>
                      <a:lnTo>
                        <a:pt x="93534" y="31572"/>
                      </a:lnTo>
                      <a:lnTo>
                        <a:pt x="93249" y="32966"/>
                      </a:lnTo>
                      <a:lnTo>
                        <a:pt x="93787" y="33764"/>
                      </a:lnTo>
                      <a:lnTo>
                        <a:pt x="95434" y="34530"/>
                      </a:lnTo>
                      <a:lnTo>
                        <a:pt x="98685" y="34710"/>
                      </a:lnTo>
                      <a:lnTo>
                        <a:pt x="99859" y="33707"/>
                      </a:lnTo>
                      <a:lnTo>
                        <a:pt x="102287" y="32990"/>
                      </a:lnTo>
                      <a:lnTo>
                        <a:pt x="104692" y="31711"/>
                      </a:lnTo>
                      <a:lnTo>
                        <a:pt x="107910" y="29983"/>
                      </a:lnTo>
                      <a:lnTo>
                        <a:pt x="112295" y="28426"/>
                      </a:lnTo>
                      <a:lnTo>
                        <a:pt x="114039" y="28434"/>
                      </a:lnTo>
                      <a:lnTo>
                        <a:pt x="115718" y="28907"/>
                      </a:lnTo>
                      <a:lnTo>
                        <a:pt x="116900" y="29771"/>
                      </a:lnTo>
                      <a:lnTo>
                        <a:pt x="118872" y="32974"/>
                      </a:lnTo>
                      <a:lnTo>
                        <a:pt x="120836" y="28491"/>
                      </a:lnTo>
                      <a:lnTo>
                        <a:pt x="121341" y="28157"/>
                      </a:lnTo>
                      <a:lnTo>
                        <a:pt x="123142" y="29062"/>
                      </a:lnTo>
                      <a:lnTo>
                        <a:pt x="126329" y="30301"/>
                      </a:lnTo>
                      <a:lnTo>
                        <a:pt x="128521" y="30969"/>
                      </a:lnTo>
                      <a:lnTo>
                        <a:pt x="129711" y="31890"/>
                      </a:lnTo>
                      <a:lnTo>
                        <a:pt x="133069" y="35973"/>
                      </a:lnTo>
                      <a:lnTo>
                        <a:pt x="138505" y="35769"/>
                      </a:lnTo>
                      <a:lnTo>
                        <a:pt x="140803" y="36389"/>
                      </a:lnTo>
                      <a:lnTo>
                        <a:pt x="142033" y="37073"/>
                      </a:lnTo>
                      <a:lnTo>
                        <a:pt x="142596" y="37864"/>
                      </a:lnTo>
                      <a:lnTo>
                        <a:pt x="141626" y="41922"/>
                      </a:lnTo>
                      <a:lnTo>
                        <a:pt x="140281" y="46136"/>
                      </a:lnTo>
                      <a:lnTo>
                        <a:pt x="140387" y="47154"/>
                      </a:lnTo>
                      <a:lnTo>
                        <a:pt x="142563" y="48752"/>
                      </a:lnTo>
                      <a:lnTo>
                        <a:pt x="145530" y="50431"/>
                      </a:lnTo>
                      <a:lnTo>
                        <a:pt x="147119" y="51783"/>
                      </a:lnTo>
                      <a:lnTo>
                        <a:pt x="148211" y="52990"/>
                      </a:lnTo>
                      <a:lnTo>
                        <a:pt x="150550" y="53911"/>
                      </a:lnTo>
                      <a:lnTo>
                        <a:pt x="153313" y="54481"/>
                      </a:lnTo>
                      <a:lnTo>
                        <a:pt x="154625" y="54554"/>
                      </a:lnTo>
                      <a:lnTo>
                        <a:pt x="155986" y="55565"/>
                      </a:lnTo>
                      <a:lnTo>
                        <a:pt x="159555" y="57480"/>
                      </a:lnTo>
                      <a:close/>
                    </a:path>
                  </a:pathLst>
                </a:custGeom>
                <a:solidFill>
                  <a:srgbClr val="D6D6D2"/>
                </a:solidFill>
                <a:ln w="6112" cap="rnd">
                  <a:solidFill>
                    <a:srgbClr val="FFFFFF"/>
                  </a:solidFill>
                  <a:prstDash val="solid"/>
                  <a:round/>
                </a:ln>
              </p:spPr>
              <p:txBody>
                <a:bodyPr rtlCol="0" anchor="ctr"/>
                <a:lstStyle/>
                <a:p>
                  <a:endParaRPr lang="en-US"/>
                </a:p>
              </p:txBody>
            </p:sp>
            <p:sp>
              <p:nvSpPr>
                <p:cNvPr id="728" name="Freeform: Shape 727">
                  <a:extLst>
                    <a:ext uri="{FF2B5EF4-FFF2-40B4-BE49-F238E27FC236}">
                      <a16:creationId xmlns:a16="http://schemas.microsoft.com/office/drawing/2014/main" id="{3DC91EAA-8017-4BAE-97D0-DC0AB7982CF0}"/>
                    </a:ext>
                  </a:extLst>
                </p:cNvPr>
                <p:cNvSpPr/>
                <p:nvPr/>
              </p:nvSpPr>
              <p:spPr>
                <a:xfrm>
                  <a:off x="5741625" y="2519361"/>
                  <a:ext cx="245306" cy="404601"/>
                </a:xfrm>
                <a:custGeom>
                  <a:avLst/>
                  <a:gdLst>
                    <a:gd name="connsiteX0" fmla="*/ 43886 w 245306"/>
                    <a:gd name="connsiteY0" fmla="*/ 209994 h 404601"/>
                    <a:gd name="connsiteX1" fmla="*/ 47382 w 245306"/>
                    <a:gd name="connsiteY1" fmla="*/ 210948 h 404601"/>
                    <a:gd name="connsiteX2" fmla="*/ 49982 w 245306"/>
                    <a:gd name="connsiteY2" fmla="*/ 210923 h 404601"/>
                    <a:gd name="connsiteX3" fmla="*/ 52297 w 245306"/>
                    <a:gd name="connsiteY3" fmla="*/ 213702 h 404601"/>
                    <a:gd name="connsiteX4" fmla="*/ 53543 w 245306"/>
                    <a:gd name="connsiteY4" fmla="*/ 218079 h 404601"/>
                    <a:gd name="connsiteX5" fmla="*/ 56428 w 245306"/>
                    <a:gd name="connsiteY5" fmla="*/ 222398 h 404601"/>
                    <a:gd name="connsiteX6" fmla="*/ 60202 w 245306"/>
                    <a:gd name="connsiteY6" fmla="*/ 226147 h 404601"/>
                    <a:gd name="connsiteX7" fmla="*/ 60356 w 245306"/>
                    <a:gd name="connsiteY7" fmla="*/ 228445 h 404601"/>
                    <a:gd name="connsiteX8" fmla="*/ 59004 w 245306"/>
                    <a:gd name="connsiteY8" fmla="*/ 229676 h 404601"/>
                    <a:gd name="connsiteX9" fmla="*/ 56176 w 245306"/>
                    <a:gd name="connsiteY9" fmla="*/ 231200 h 404601"/>
                    <a:gd name="connsiteX10" fmla="*/ 56184 w 245306"/>
                    <a:gd name="connsiteY10" fmla="*/ 232838 h 404601"/>
                    <a:gd name="connsiteX11" fmla="*/ 58050 w 245306"/>
                    <a:gd name="connsiteY11" fmla="*/ 232015 h 404601"/>
                    <a:gd name="connsiteX12" fmla="*/ 59664 w 245306"/>
                    <a:gd name="connsiteY12" fmla="*/ 231632 h 404601"/>
                    <a:gd name="connsiteX13" fmla="*/ 63535 w 245306"/>
                    <a:gd name="connsiteY13" fmla="*/ 231990 h 404601"/>
                    <a:gd name="connsiteX14" fmla="*/ 64888 w 245306"/>
                    <a:gd name="connsiteY14" fmla="*/ 233653 h 404601"/>
                    <a:gd name="connsiteX15" fmla="*/ 65817 w 245306"/>
                    <a:gd name="connsiteY15" fmla="*/ 236138 h 404601"/>
                    <a:gd name="connsiteX16" fmla="*/ 66314 w 245306"/>
                    <a:gd name="connsiteY16" fmla="*/ 238176 h 404601"/>
                    <a:gd name="connsiteX17" fmla="*/ 65980 w 245306"/>
                    <a:gd name="connsiteY17" fmla="*/ 240401 h 404601"/>
                    <a:gd name="connsiteX18" fmla="*/ 64937 w 245306"/>
                    <a:gd name="connsiteY18" fmla="*/ 239692 h 404601"/>
                    <a:gd name="connsiteX19" fmla="*/ 63886 w 245306"/>
                    <a:gd name="connsiteY19" fmla="*/ 237711 h 404601"/>
                    <a:gd name="connsiteX20" fmla="*/ 62704 w 245306"/>
                    <a:gd name="connsiteY20" fmla="*/ 236790 h 404601"/>
                    <a:gd name="connsiteX21" fmla="*/ 61335 w 245306"/>
                    <a:gd name="connsiteY21" fmla="*/ 236301 h 404601"/>
                    <a:gd name="connsiteX22" fmla="*/ 61962 w 245306"/>
                    <a:gd name="connsiteY22" fmla="*/ 239023 h 404601"/>
                    <a:gd name="connsiteX23" fmla="*/ 61718 w 245306"/>
                    <a:gd name="connsiteY23" fmla="*/ 242666 h 404601"/>
                    <a:gd name="connsiteX24" fmla="*/ 62313 w 245306"/>
                    <a:gd name="connsiteY24" fmla="*/ 243009 h 404601"/>
                    <a:gd name="connsiteX25" fmla="*/ 64154 w 245306"/>
                    <a:gd name="connsiteY25" fmla="*/ 243074 h 404601"/>
                    <a:gd name="connsiteX26" fmla="*/ 62940 w 245306"/>
                    <a:gd name="connsiteY26" fmla="*/ 246798 h 404601"/>
                    <a:gd name="connsiteX27" fmla="*/ 60430 w 245306"/>
                    <a:gd name="connsiteY27" fmla="*/ 247809 h 404601"/>
                    <a:gd name="connsiteX28" fmla="*/ 57496 w 245306"/>
                    <a:gd name="connsiteY28" fmla="*/ 248184 h 404601"/>
                    <a:gd name="connsiteX29" fmla="*/ 56795 w 245306"/>
                    <a:gd name="connsiteY29" fmla="*/ 249504 h 404601"/>
                    <a:gd name="connsiteX30" fmla="*/ 56266 w 245306"/>
                    <a:gd name="connsiteY30" fmla="*/ 251199 h 404601"/>
                    <a:gd name="connsiteX31" fmla="*/ 54733 w 245306"/>
                    <a:gd name="connsiteY31" fmla="*/ 253726 h 404601"/>
                    <a:gd name="connsiteX32" fmla="*/ 52712 w 245306"/>
                    <a:gd name="connsiteY32" fmla="*/ 255152 h 404601"/>
                    <a:gd name="connsiteX33" fmla="*/ 50219 w 245306"/>
                    <a:gd name="connsiteY33" fmla="*/ 254867 h 404601"/>
                    <a:gd name="connsiteX34" fmla="*/ 47782 w 245306"/>
                    <a:gd name="connsiteY34" fmla="*/ 253742 h 404601"/>
                    <a:gd name="connsiteX35" fmla="*/ 45655 w 245306"/>
                    <a:gd name="connsiteY35" fmla="*/ 253514 h 404601"/>
                    <a:gd name="connsiteX36" fmla="*/ 44163 w 245306"/>
                    <a:gd name="connsiteY36" fmla="*/ 254182 h 404601"/>
                    <a:gd name="connsiteX37" fmla="*/ 43201 w 245306"/>
                    <a:gd name="connsiteY37" fmla="*/ 254801 h 404601"/>
                    <a:gd name="connsiteX38" fmla="*/ 42272 w 245306"/>
                    <a:gd name="connsiteY38" fmla="*/ 254687 h 404601"/>
                    <a:gd name="connsiteX39" fmla="*/ 39591 w 245306"/>
                    <a:gd name="connsiteY39" fmla="*/ 254924 h 404601"/>
                    <a:gd name="connsiteX40" fmla="*/ 37065 w 245306"/>
                    <a:gd name="connsiteY40" fmla="*/ 254875 h 404601"/>
                    <a:gd name="connsiteX41" fmla="*/ 36714 w 245306"/>
                    <a:gd name="connsiteY41" fmla="*/ 253880 h 404601"/>
                    <a:gd name="connsiteX42" fmla="*/ 37146 w 245306"/>
                    <a:gd name="connsiteY42" fmla="*/ 250914 h 404601"/>
                    <a:gd name="connsiteX43" fmla="*/ 36584 w 245306"/>
                    <a:gd name="connsiteY43" fmla="*/ 250107 h 404601"/>
                    <a:gd name="connsiteX44" fmla="*/ 34180 w 245306"/>
                    <a:gd name="connsiteY44" fmla="*/ 249692 h 404601"/>
                    <a:gd name="connsiteX45" fmla="*/ 33291 w 245306"/>
                    <a:gd name="connsiteY45" fmla="*/ 248982 h 404601"/>
                    <a:gd name="connsiteX46" fmla="*/ 31914 w 245306"/>
                    <a:gd name="connsiteY46" fmla="*/ 246937 h 404601"/>
                    <a:gd name="connsiteX47" fmla="*/ 31645 w 245306"/>
                    <a:gd name="connsiteY47" fmla="*/ 245975 h 404601"/>
                    <a:gd name="connsiteX48" fmla="*/ 31449 w 245306"/>
                    <a:gd name="connsiteY48" fmla="*/ 244647 h 404601"/>
                    <a:gd name="connsiteX49" fmla="*/ 29983 w 245306"/>
                    <a:gd name="connsiteY49" fmla="*/ 242935 h 404601"/>
                    <a:gd name="connsiteX50" fmla="*/ 28214 w 245306"/>
                    <a:gd name="connsiteY50" fmla="*/ 241713 h 404601"/>
                    <a:gd name="connsiteX51" fmla="*/ 27171 w 245306"/>
                    <a:gd name="connsiteY51" fmla="*/ 241656 h 404601"/>
                    <a:gd name="connsiteX52" fmla="*/ 25093 w 245306"/>
                    <a:gd name="connsiteY52" fmla="*/ 243653 h 404601"/>
                    <a:gd name="connsiteX53" fmla="*/ 23381 w 245306"/>
                    <a:gd name="connsiteY53" fmla="*/ 245682 h 404601"/>
                    <a:gd name="connsiteX54" fmla="*/ 23993 w 245306"/>
                    <a:gd name="connsiteY54" fmla="*/ 246701 h 404601"/>
                    <a:gd name="connsiteX55" fmla="*/ 24547 w 245306"/>
                    <a:gd name="connsiteY55" fmla="*/ 248037 h 404601"/>
                    <a:gd name="connsiteX56" fmla="*/ 23618 w 245306"/>
                    <a:gd name="connsiteY56" fmla="*/ 248999 h 404601"/>
                    <a:gd name="connsiteX57" fmla="*/ 20798 w 245306"/>
                    <a:gd name="connsiteY57" fmla="*/ 251199 h 404601"/>
                    <a:gd name="connsiteX58" fmla="*/ 20358 w 245306"/>
                    <a:gd name="connsiteY58" fmla="*/ 252047 h 404601"/>
                    <a:gd name="connsiteX59" fmla="*/ 19592 w 245306"/>
                    <a:gd name="connsiteY59" fmla="*/ 252511 h 404601"/>
                    <a:gd name="connsiteX60" fmla="*/ 18247 w 245306"/>
                    <a:gd name="connsiteY60" fmla="*/ 251908 h 404601"/>
                    <a:gd name="connsiteX61" fmla="*/ 14897 w 245306"/>
                    <a:gd name="connsiteY61" fmla="*/ 252047 h 404601"/>
                    <a:gd name="connsiteX62" fmla="*/ 13357 w 245306"/>
                    <a:gd name="connsiteY62" fmla="*/ 251664 h 404601"/>
                    <a:gd name="connsiteX63" fmla="*/ 11564 w 245306"/>
                    <a:gd name="connsiteY63" fmla="*/ 250042 h 404601"/>
                    <a:gd name="connsiteX64" fmla="*/ 7196 w 245306"/>
                    <a:gd name="connsiteY64" fmla="*/ 248966 h 404601"/>
                    <a:gd name="connsiteX65" fmla="*/ 6462 w 245306"/>
                    <a:gd name="connsiteY65" fmla="*/ 246375 h 404601"/>
                    <a:gd name="connsiteX66" fmla="*/ 5615 w 245306"/>
                    <a:gd name="connsiteY66" fmla="*/ 245885 h 404601"/>
                    <a:gd name="connsiteX67" fmla="*/ 660 w 245306"/>
                    <a:gd name="connsiteY67" fmla="*/ 241436 h 404601"/>
                    <a:gd name="connsiteX68" fmla="*/ 0 w 245306"/>
                    <a:gd name="connsiteY68" fmla="*/ 239953 h 404601"/>
                    <a:gd name="connsiteX69" fmla="*/ 644 w 245306"/>
                    <a:gd name="connsiteY69" fmla="*/ 239064 h 404601"/>
                    <a:gd name="connsiteX70" fmla="*/ 2502 w 245306"/>
                    <a:gd name="connsiteY70" fmla="*/ 237719 h 404601"/>
                    <a:gd name="connsiteX71" fmla="*/ 8712 w 245306"/>
                    <a:gd name="connsiteY71" fmla="*/ 235487 h 404601"/>
                    <a:gd name="connsiteX72" fmla="*/ 9690 w 245306"/>
                    <a:gd name="connsiteY72" fmla="*/ 234590 h 404601"/>
                    <a:gd name="connsiteX73" fmla="*/ 9885 w 245306"/>
                    <a:gd name="connsiteY73" fmla="*/ 233791 h 404601"/>
                    <a:gd name="connsiteX74" fmla="*/ 8060 w 245306"/>
                    <a:gd name="connsiteY74" fmla="*/ 232887 h 404601"/>
                    <a:gd name="connsiteX75" fmla="*/ 6422 w 245306"/>
                    <a:gd name="connsiteY75" fmla="*/ 231884 h 404601"/>
                    <a:gd name="connsiteX76" fmla="*/ 5860 w 245306"/>
                    <a:gd name="connsiteY76" fmla="*/ 231232 h 404601"/>
                    <a:gd name="connsiteX77" fmla="*/ 5810 w 245306"/>
                    <a:gd name="connsiteY77" fmla="*/ 230662 h 404601"/>
                    <a:gd name="connsiteX78" fmla="*/ 6748 w 245306"/>
                    <a:gd name="connsiteY78" fmla="*/ 229920 h 404601"/>
                    <a:gd name="connsiteX79" fmla="*/ 8622 w 245306"/>
                    <a:gd name="connsiteY79" fmla="*/ 229863 h 404601"/>
                    <a:gd name="connsiteX80" fmla="*/ 10106 w 245306"/>
                    <a:gd name="connsiteY80" fmla="*/ 230197 h 404601"/>
                    <a:gd name="connsiteX81" fmla="*/ 11279 w 245306"/>
                    <a:gd name="connsiteY81" fmla="*/ 229529 h 404601"/>
                    <a:gd name="connsiteX82" fmla="*/ 13349 w 245306"/>
                    <a:gd name="connsiteY82" fmla="*/ 228861 h 404601"/>
                    <a:gd name="connsiteX83" fmla="*/ 14743 w 245306"/>
                    <a:gd name="connsiteY83" fmla="*/ 228013 h 404601"/>
                    <a:gd name="connsiteX84" fmla="*/ 15932 w 245306"/>
                    <a:gd name="connsiteY84" fmla="*/ 225829 h 404601"/>
                    <a:gd name="connsiteX85" fmla="*/ 17196 w 245306"/>
                    <a:gd name="connsiteY85" fmla="*/ 223865 h 404601"/>
                    <a:gd name="connsiteX86" fmla="*/ 17326 w 245306"/>
                    <a:gd name="connsiteY86" fmla="*/ 222806 h 404601"/>
                    <a:gd name="connsiteX87" fmla="*/ 18434 w 245306"/>
                    <a:gd name="connsiteY87" fmla="*/ 219073 h 404601"/>
                    <a:gd name="connsiteX88" fmla="*/ 19046 w 245306"/>
                    <a:gd name="connsiteY88" fmla="*/ 218152 h 404601"/>
                    <a:gd name="connsiteX89" fmla="*/ 22966 w 245306"/>
                    <a:gd name="connsiteY89" fmla="*/ 215699 h 404601"/>
                    <a:gd name="connsiteX90" fmla="*/ 23960 w 245306"/>
                    <a:gd name="connsiteY90" fmla="*/ 217044 h 404601"/>
                    <a:gd name="connsiteX91" fmla="*/ 25891 w 245306"/>
                    <a:gd name="connsiteY91" fmla="*/ 217370 h 404601"/>
                    <a:gd name="connsiteX92" fmla="*/ 27619 w 245306"/>
                    <a:gd name="connsiteY92" fmla="*/ 216147 h 404601"/>
                    <a:gd name="connsiteX93" fmla="*/ 29689 w 245306"/>
                    <a:gd name="connsiteY93" fmla="*/ 212260 h 404601"/>
                    <a:gd name="connsiteX94" fmla="*/ 31132 w 245306"/>
                    <a:gd name="connsiteY94" fmla="*/ 212015 h 404601"/>
                    <a:gd name="connsiteX95" fmla="*/ 32721 w 245306"/>
                    <a:gd name="connsiteY95" fmla="*/ 212333 h 404601"/>
                    <a:gd name="connsiteX96" fmla="*/ 35851 w 245306"/>
                    <a:gd name="connsiteY96" fmla="*/ 211836 h 404601"/>
                    <a:gd name="connsiteX97" fmla="*/ 41400 w 245306"/>
                    <a:gd name="connsiteY97" fmla="*/ 210027 h 404601"/>
                    <a:gd name="connsiteX98" fmla="*/ 43886 w 245306"/>
                    <a:gd name="connsiteY98" fmla="*/ 209994 h 404601"/>
                    <a:gd name="connsiteX99" fmla="*/ 49607 w 245306"/>
                    <a:gd name="connsiteY99" fmla="*/ 122776 h 404601"/>
                    <a:gd name="connsiteX100" fmla="*/ 49566 w 245306"/>
                    <a:gd name="connsiteY100" fmla="*/ 124495 h 404601"/>
                    <a:gd name="connsiteX101" fmla="*/ 49135 w 245306"/>
                    <a:gd name="connsiteY101" fmla="*/ 126516 h 404601"/>
                    <a:gd name="connsiteX102" fmla="*/ 49705 w 245306"/>
                    <a:gd name="connsiteY102" fmla="*/ 128668 h 404601"/>
                    <a:gd name="connsiteX103" fmla="*/ 49836 w 245306"/>
                    <a:gd name="connsiteY103" fmla="*/ 130200 h 404601"/>
                    <a:gd name="connsiteX104" fmla="*/ 50879 w 245306"/>
                    <a:gd name="connsiteY104" fmla="*/ 130689 h 404601"/>
                    <a:gd name="connsiteX105" fmla="*/ 51522 w 245306"/>
                    <a:gd name="connsiteY105" fmla="*/ 131390 h 404601"/>
                    <a:gd name="connsiteX106" fmla="*/ 56168 w 245306"/>
                    <a:gd name="connsiteY106" fmla="*/ 132180 h 404601"/>
                    <a:gd name="connsiteX107" fmla="*/ 60487 w 245306"/>
                    <a:gd name="connsiteY107" fmla="*/ 131960 h 404601"/>
                    <a:gd name="connsiteX108" fmla="*/ 61318 w 245306"/>
                    <a:gd name="connsiteY108" fmla="*/ 132596 h 404601"/>
                    <a:gd name="connsiteX109" fmla="*/ 61416 w 245306"/>
                    <a:gd name="connsiteY109" fmla="*/ 133598 h 404601"/>
                    <a:gd name="connsiteX110" fmla="*/ 60732 w 245306"/>
                    <a:gd name="connsiteY110" fmla="*/ 134707 h 404601"/>
                    <a:gd name="connsiteX111" fmla="*/ 58270 w 245306"/>
                    <a:gd name="connsiteY111" fmla="*/ 136720 h 404601"/>
                    <a:gd name="connsiteX112" fmla="*/ 55337 w 245306"/>
                    <a:gd name="connsiteY112" fmla="*/ 139980 h 404601"/>
                    <a:gd name="connsiteX113" fmla="*/ 54465 w 245306"/>
                    <a:gd name="connsiteY113" fmla="*/ 140656 h 404601"/>
                    <a:gd name="connsiteX114" fmla="*/ 53519 w 245306"/>
                    <a:gd name="connsiteY114" fmla="*/ 140681 h 404601"/>
                    <a:gd name="connsiteX115" fmla="*/ 52834 w 245306"/>
                    <a:gd name="connsiteY115" fmla="*/ 140387 h 404601"/>
                    <a:gd name="connsiteX116" fmla="*/ 52346 w 245306"/>
                    <a:gd name="connsiteY116" fmla="*/ 134593 h 404601"/>
                    <a:gd name="connsiteX117" fmla="*/ 49159 w 245306"/>
                    <a:gd name="connsiteY117" fmla="*/ 135334 h 404601"/>
                    <a:gd name="connsiteX118" fmla="*/ 46600 w 245306"/>
                    <a:gd name="connsiteY118" fmla="*/ 135245 h 404601"/>
                    <a:gd name="connsiteX119" fmla="*/ 45198 w 245306"/>
                    <a:gd name="connsiteY119" fmla="*/ 134544 h 404601"/>
                    <a:gd name="connsiteX120" fmla="*/ 44212 w 245306"/>
                    <a:gd name="connsiteY120" fmla="*/ 133183 h 404601"/>
                    <a:gd name="connsiteX121" fmla="*/ 42224 w 245306"/>
                    <a:gd name="connsiteY121" fmla="*/ 129687 h 404601"/>
                    <a:gd name="connsiteX122" fmla="*/ 36445 w 245306"/>
                    <a:gd name="connsiteY122" fmla="*/ 128309 h 404601"/>
                    <a:gd name="connsiteX123" fmla="*/ 34815 w 245306"/>
                    <a:gd name="connsiteY123" fmla="*/ 126386 h 404601"/>
                    <a:gd name="connsiteX124" fmla="*/ 34319 w 245306"/>
                    <a:gd name="connsiteY124" fmla="*/ 125212 h 404601"/>
                    <a:gd name="connsiteX125" fmla="*/ 34530 w 245306"/>
                    <a:gd name="connsiteY125" fmla="*/ 124569 h 404601"/>
                    <a:gd name="connsiteX126" fmla="*/ 35736 w 245306"/>
                    <a:gd name="connsiteY126" fmla="*/ 123134 h 404601"/>
                    <a:gd name="connsiteX127" fmla="*/ 37244 w 245306"/>
                    <a:gd name="connsiteY127" fmla="*/ 123648 h 404601"/>
                    <a:gd name="connsiteX128" fmla="*/ 38173 w 245306"/>
                    <a:gd name="connsiteY128" fmla="*/ 123338 h 404601"/>
                    <a:gd name="connsiteX129" fmla="*/ 38736 w 245306"/>
                    <a:gd name="connsiteY129" fmla="*/ 122686 h 404601"/>
                    <a:gd name="connsiteX130" fmla="*/ 38727 w 245306"/>
                    <a:gd name="connsiteY130" fmla="*/ 122164 h 404601"/>
                    <a:gd name="connsiteX131" fmla="*/ 37945 w 245306"/>
                    <a:gd name="connsiteY131" fmla="*/ 120917 h 404601"/>
                    <a:gd name="connsiteX132" fmla="*/ 37912 w 245306"/>
                    <a:gd name="connsiteY132" fmla="*/ 120526 h 404601"/>
                    <a:gd name="connsiteX133" fmla="*/ 43821 w 245306"/>
                    <a:gd name="connsiteY133" fmla="*/ 118953 h 404601"/>
                    <a:gd name="connsiteX134" fmla="*/ 44334 w 245306"/>
                    <a:gd name="connsiteY134" fmla="*/ 116476 h 404601"/>
                    <a:gd name="connsiteX135" fmla="*/ 45614 w 245306"/>
                    <a:gd name="connsiteY135" fmla="*/ 116272 h 404601"/>
                    <a:gd name="connsiteX136" fmla="*/ 47081 w 245306"/>
                    <a:gd name="connsiteY136" fmla="*/ 117087 h 404601"/>
                    <a:gd name="connsiteX137" fmla="*/ 49094 w 245306"/>
                    <a:gd name="connsiteY137" fmla="*/ 119646 h 404601"/>
                    <a:gd name="connsiteX138" fmla="*/ 49607 w 245306"/>
                    <a:gd name="connsiteY138" fmla="*/ 122776 h 404601"/>
                    <a:gd name="connsiteX139" fmla="*/ 48263 w 245306"/>
                    <a:gd name="connsiteY139" fmla="*/ 89199 h 404601"/>
                    <a:gd name="connsiteX140" fmla="*/ 45109 w 245306"/>
                    <a:gd name="connsiteY140" fmla="*/ 96045 h 404601"/>
                    <a:gd name="connsiteX141" fmla="*/ 43878 w 245306"/>
                    <a:gd name="connsiteY141" fmla="*/ 96216 h 404601"/>
                    <a:gd name="connsiteX142" fmla="*/ 42794 w 245306"/>
                    <a:gd name="connsiteY142" fmla="*/ 97927 h 404601"/>
                    <a:gd name="connsiteX143" fmla="*/ 39436 w 245306"/>
                    <a:gd name="connsiteY143" fmla="*/ 99810 h 404601"/>
                    <a:gd name="connsiteX144" fmla="*/ 42362 w 245306"/>
                    <a:gd name="connsiteY144" fmla="*/ 99851 h 404601"/>
                    <a:gd name="connsiteX145" fmla="*/ 43185 w 245306"/>
                    <a:gd name="connsiteY145" fmla="*/ 100470 h 404601"/>
                    <a:gd name="connsiteX146" fmla="*/ 43209 w 245306"/>
                    <a:gd name="connsiteY146" fmla="*/ 101831 h 404601"/>
                    <a:gd name="connsiteX147" fmla="*/ 42647 w 245306"/>
                    <a:gd name="connsiteY147" fmla="*/ 102613 h 404601"/>
                    <a:gd name="connsiteX148" fmla="*/ 38857 w 245306"/>
                    <a:gd name="connsiteY148" fmla="*/ 105735 h 404601"/>
                    <a:gd name="connsiteX149" fmla="*/ 36242 w 245306"/>
                    <a:gd name="connsiteY149" fmla="*/ 106924 h 404601"/>
                    <a:gd name="connsiteX150" fmla="*/ 33438 w 245306"/>
                    <a:gd name="connsiteY150" fmla="*/ 110184 h 404601"/>
                    <a:gd name="connsiteX151" fmla="*/ 32020 w 245306"/>
                    <a:gd name="connsiteY151" fmla="*/ 110217 h 404601"/>
                    <a:gd name="connsiteX152" fmla="*/ 30618 w 245306"/>
                    <a:gd name="connsiteY152" fmla="*/ 112295 h 404601"/>
                    <a:gd name="connsiteX153" fmla="*/ 29461 w 245306"/>
                    <a:gd name="connsiteY153" fmla="*/ 113200 h 404601"/>
                    <a:gd name="connsiteX154" fmla="*/ 28809 w 245306"/>
                    <a:gd name="connsiteY154" fmla="*/ 113200 h 404601"/>
                    <a:gd name="connsiteX155" fmla="*/ 28059 w 245306"/>
                    <a:gd name="connsiteY155" fmla="*/ 112743 h 404601"/>
                    <a:gd name="connsiteX156" fmla="*/ 26323 w 245306"/>
                    <a:gd name="connsiteY156" fmla="*/ 110714 h 404601"/>
                    <a:gd name="connsiteX157" fmla="*/ 29486 w 245306"/>
                    <a:gd name="connsiteY157" fmla="*/ 108709 h 404601"/>
                    <a:gd name="connsiteX158" fmla="*/ 29779 w 245306"/>
                    <a:gd name="connsiteY158" fmla="*/ 107585 h 404601"/>
                    <a:gd name="connsiteX159" fmla="*/ 31947 w 245306"/>
                    <a:gd name="connsiteY159" fmla="*/ 106411 h 404601"/>
                    <a:gd name="connsiteX160" fmla="*/ 31767 w 245306"/>
                    <a:gd name="connsiteY160" fmla="*/ 106052 h 404601"/>
                    <a:gd name="connsiteX161" fmla="*/ 28337 w 245306"/>
                    <a:gd name="connsiteY161" fmla="*/ 104414 h 404601"/>
                    <a:gd name="connsiteX162" fmla="*/ 26984 w 245306"/>
                    <a:gd name="connsiteY162" fmla="*/ 103298 h 404601"/>
                    <a:gd name="connsiteX163" fmla="*/ 27106 w 245306"/>
                    <a:gd name="connsiteY163" fmla="*/ 102719 h 404601"/>
                    <a:gd name="connsiteX164" fmla="*/ 28760 w 245306"/>
                    <a:gd name="connsiteY164" fmla="*/ 101448 h 404601"/>
                    <a:gd name="connsiteX165" fmla="*/ 27978 w 245306"/>
                    <a:gd name="connsiteY165" fmla="*/ 101277 h 404601"/>
                    <a:gd name="connsiteX166" fmla="*/ 27448 w 245306"/>
                    <a:gd name="connsiteY166" fmla="*/ 100592 h 404601"/>
                    <a:gd name="connsiteX167" fmla="*/ 26487 w 245306"/>
                    <a:gd name="connsiteY167" fmla="*/ 100331 h 404601"/>
                    <a:gd name="connsiteX168" fmla="*/ 26201 w 245306"/>
                    <a:gd name="connsiteY168" fmla="*/ 99687 h 404601"/>
                    <a:gd name="connsiteX169" fmla="*/ 26022 w 245306"/>
                    <a:gd name="connsiteY169" fmla="*/ 98009 h 404601"/>
                    <a:gd name="connsiteX170" fmla="*/ 26275 w 245306"/>
                    <a:gd name="connsiteY170" fmla="*/ 96289 h 404601"/>
                    <a:gd name="connsiteX171" fmla="*/ 27277 w 245306"/>
                    <a:gd name="connsiteY171" fmla="*/ 95531 h 404601"/>
                    <a:gd name="connsiteX172" fmla="*/ 27684 w 245306"/>
                    <a:gd name="connsiteY172" fmla="*/ 94724 h 404601"/>
                    <a:gd name="connsiteX173" fmla="*/ 28092 w 245306"/>
                    <a:gd name="connsiteY173" fmla="*/ 94472 h 404601"/>
                    <a:gd name="connsiteX174" fmla="*/ 29632 w 245306"/>
                    <a:gd name="connsiteY174" fmla="*/ 94904 h 404601"/>
                    <a:gd name="connsiteX175" fmla="*/ 31205 w 245306"/>
                    <a:gd name="connsiteY175" fmla="*/ 96273 h 404601"/>
                    <a:gd name="connsiteX176" fmla="*/ 33039 w 245306"/>
                    <a:gd name="connsiteY176" fmla="*/ 95743 h 404601"/>
                    <a:gd name="connsiteX177" fmla="*/ 35166 w 245306"/>
                    <a:gd name="connsiteY177" fmla="*/ 96012 h 404601"/>
                    <a:gd name="connsiteX178" fmla="*/ 35215 w 245306"/>
                    <a:gd name="connsiteY178" fmla="*/ 95686 h 404601"/>
                    <a:gd name="connsiteX179" fmla="*/ 33650 w 245306"/>
                    <a:gd name="connsiteY179" fmla="*/ 92304 h 404601"/>
                    <a:gd name="connsiteX180" fmla="*/ 33927 w 245306"/>
                    <a:gd name="connsiteY180" fmla="*/ 91611 h 404601"/>
                    <a:gd name="connsiteX181" fmla="*/ 34775 w 245306"/>
                    <a:gd name="connsiteY181" fmla="*/ 90821 h 404601"/>
                    <a:gd name="connsiteX182" fmla="*/ 39689 w 245306"/>
                    <a:gd name="connsiteY182" fmla="*/ 88400 h 404601"/>
                    <a:gd name="connsiteX183" fmla="*/ 45809 w 245306"/>
                    <a:gd name="connsiteY183" fmla="*/ 84333 h 404601"/>
                    <a:gd name="connsiteX184" fmla="*/ 47293 w 245306"/>
                    <a:gd name="connsiteY184" fmla="*/ 83698 h 404601"/>
                    <a:gd name="connsiteX185" fmla="*/ 47741 w 245306"/>
                    <a:gd name="connsiteY185" fmla="*/ 84252 h 404601"/>
                    <a:gd name="connsiteX186" fmla="*/ 48369 w 245306"/>
                    <a:gd name="connsiteY186" fmla="*/ 86363 h 404601"/>
                    <a:gd name="connsiteX187" fmla="*/ 48263 w 245306"/>
                    <a:gd name="connsiteY187" fmla="*/ 89199 h 404601"/>
                    <a:gd name="connsiteX188" fmla="*/ 124878 w 245306"/>
                    <a:gd name="connsiteY188" fmla="*/ 83225 h 404601"/>
                    <a:gd name="connsiteX189" fmla="*/ 125090 w 245306"/>
                    <a:gd name="connsiteY189" fmla="*/ 86436 h 404601"/>
                    <a:gd name="connsiteX190" fmla="*/ 124797 w 245306"/>
                    <a:gd name="connsiteY190" fmla="*/ 87414 h 404601"/>
                    <a:gd name="connsiteX191" fmla="*/ 124210 w 245306"/>
                    <a:gd name="connsiteY191" fmla="*/ 88620 h 404601"/>
                    <a:gd name="connsiteX192" fmla="*/ 122336 w 245306"/>
                    <a:gd name="connsiteY192" fmla="*/ 90853 h 404601"/>
                    <a:gd name="connsiteX193" fmla="*/ 117413 w 245306"/>
                    <a:gd name="connsiteY193" fmla="*/ 94056 h 404601"/>
                    <a:gd name="connsiteX194" fmla="*/ 108383 w 245306"/>
                    <a:gd name="connsiteY194" fmla="*/ 101407 h 404601"/>
                    <a:gd name="connsiteX195" fmla="*/ 103053 w 245306"/>
                    <a:gd name="connsiteY195" fmla="*/ 105050 h 404601"/>
                    <a:gd name="connsiteX196" fmla="*/ 102311 w 245306"/>
                    <a:gd name="connsiteY196" fmla="*/ 106802 h 404601"/>
                    <a:gd name="connsiteX197" fmla="*/ 101920 w 245306"/>
                    <a:gd name="connsiteY197" fmla="*/ 109239 h 404601"/>
                    <a:gd name="connsiteX198" fmla="*/ 105115 w 245306"/>
                    <a:gd name="connsiteY198" fmla="*/ 109720 h 404601"/>
                    <a:gd name="connsiteX199" fmla="*/ 106345 w 245306"/>
                    <a:gd name="connsiteY199" fmla="*/ 110543 h 404601"/>
                    <a:gd name="connsiteX200" fmla="*/ 105579 w 245306"/>
                    <a:gd name="connsiteY200" fmla="*/ 111774 h 404601"/>
                    <a:gd name="connsiteX201" fmla="*/ 100853 w 245306"/>
                    <a:gd name="connsiteY201" fmla="*/ 116069 h 404601"/>
                    <a:gd name="connsiteX202" fmla="*/ 99459 w 245306"/>
                    <a:gd name="connsiteY202" fmla="*/ 119940 h 404601"/>
                    <a:gd name="connsiteX203" fmla="*/ 103077 w 245306"/>
                    <a:gd name="connsiteY203" fmla="*/ 119801 h 404601"/>
                    <a:gd name="connsiteX204" fmla="*/ 106060 w 245306"/>
                    <a:gd name="connsiteY204" fmla="*/ 119059 h 404601"/>
                    <a:gd name="connsiteX205" fmla="*/ 112010 w 245306"/>
                    <a:gd name="connsiteY205" fmla="*/ 116639 h 404601"/>
                    <a:gd name="connsiteX206" fmla="*/ 117601 w 245306"/>
                    <a:gd name="connsiteY206" fmla="*/ 114846 h 404601"/>
                    <a:gd name="connsiteX207" fmla="*/ 120290 w 245306"/>
                    <a:gd name="connsiteY207" fmla="*/ 114773 h 404601"/>
                    <a:gd name="connsiteX208" fmla="*/ 125514 w 245306"/>
                    <a:gd name="connsiteY208" fmla="*/ 116199 h 404601"/>
                    <a:gd name="connsiteX209" fmla="*/ 126704 w 245306"/>
                    <a:gd name="connsiteY209" fmla="*/ 116248 h 404601"/>
                    <a:gd name="connsiteX210" fmla="*/ 128920 w 245306"/>
                    <a:gd name="connsiteY210" fmla="*/ 115579 h 404601"/>
                    <a:gd name="connsiteX211" fmla="*/ 131162 w 245306"/>
                    <a:gd name="connsiteY211" fmla="*/ 115465 h 404601"/>
                    <a:gd name="connsiteX212" fmla="*/ 146345 w 245306"/>
                    <a:gd name="connsiteY212" fmla="*/ 115905 h 404601"/>
                    <a:gd name="connsiteX213" fmla="*/ 150566 w 245306"/>
                    <a:gd name="connsiteY213" fmla="*/ 115058 h 404601"/>
                    <a:gd name="connsiteX214" fmla="*/ 153353 w 245306"/>
                    <a:gd name="connsiteY214" fmla="*/ 116069 h 404601"/>
                    <a:gd name="connsiteX215" fmla="*/ 155692 w 245306"/>
                    <a:gd name="connsiteY215" fmla="*/ 118579 h 404601"/>
                    <a:gd name="connsiteX216" fmla="*/ 157909 w 245306"/>
                    <a:gd name="connsiteY216" fmla="*/ 123200 h 404601"/>
                    <a:gd name="connsiteX217" fmla="*/ 157844 w 245306"/>
                    <a:gd name="connsiteY217" fmla="*/ 123966 h 404601"/>
                    <a:gd name="connsiteX218" fmla="*/ 156499 w 245306"/>
                    <a:gd name="connsiteY218" fmla="*/ 126068 h 404601"/>
                    <a:gd name="connsiteX219" fmla="*/ 154022 w 245306"/>
                    <a:gd name="connsiteY219" fmla="*/ 128701 h 404601"/>
                    <a:gd name="connsiteX220" fmla="*/ 151895 w 245306"/>
                    <a:gd name="connsiteY220" fmla="*/ 132335 h 404601"/>
                    <a:gd name="connsiteX221" fmla="*/ 151267 w 245306"/>
                    <a:gd name="connsiteY221" fmla="*/ 134291 h 404601"/>
                    <a:gd name="connsiteX222" fmla="*/ 150851 w 245306"/>
                    <a:gd name="connsiteY222" fmla="*/ 136435 h 404601"/>
                    <a:gd name="connsiteX223" fmla="*/ 150175 w 245306"/>
                    <a:gd name="connsiteY223" fmla="*/ 138415 h 404601"/>
                    <a:gd name="connsiteX224" fmla="*/ 145937 w 245306"/>
                    <a:gd name="connsiteY224" fmla="*/ 147689 h 404601"/>
                    <a:gd name="connsiteX225" fmla="*/ 141814 w 245306"/>
                    <a:gd name="connsiteY225" fmla="*/ 152816 h 404601"/>
                    <a:gd name="connsiteX226" fmla="*/ 139972 w 245306"/>
                    <a:gd name="connsiteY226" fmla="*/ 156450 h 404601"/>
                    <a:gd name="connsiteX227" fmla="*/ 137689 w 245306"/>
                    <a:gd name="connsiteY227" fmla="*/ 159352 h 404601"/>
                    <a:gd name="connsiteX228" fmla="*/ 135497 w 245306"/>
                    <a:gd name="connsiteY228" fmla="*/ 161177 h 404601"/>
                    <a:gd name="connsiteX229" fmla="*/ 133158 w 245306"/>
                    <a:gd name="connsiteY229" fmla="*/ 162383 h 404601"/>
                    <a:gd name="connsiteX230" fmla="*/ 126410 w 245306"/>
                    <a:gd name="connsiteY230" fmla="*/ 163679 h 404601"/>
                    <a:gd name="connsiteX231" fmla="*/ 124520 w 245306"/>
                    <a:gd name="connsiteY231" fmla="*/ 164608 h 404601"/>
                    <a:gd name="connsiteX232" fmla="*/ 122262 w 245306"/>
                    <a:gd name="connsiteY232" fmla="*/ 166206 h 404601"/>
                    <a:gd name="connsiteX233" fmla="*/ 119891 w 245306"/>
                    <a:gd name="connsiteY233" fmla="*/ 166996 h 404601"/>
                    <a:gd name="connsiteX234" fmla="*/ 122669 w 245306"/>
                    <a:gd name="connsiteY234" fmla="*/ 166898 h 404601"/>
                    <a:gd name="connsiteX235" fmla="*/ 125424 w 245306"/>
                    <a:gd name="connsiteY235" fmla="*/ 166018 h 404601"/>
                    <a:gd name="connsiteX236" fmla="*/ 130428 w 245306"/>
                    <a:gd name="connsiteY236" fmla="*/ 165692 h 404601"/>
                    <a:gd name="connsiteX237" fmla="*/ 136198 w 245306"/>
                    <a:gd name="connsiteY237" fmla="*/ 168748 h 404601"/>
                    <a:gd name="connsiteX238" fmla="*/ 135668 w 245306"/>
                    <a:gd name="connsiteY238" fmla="*/ 171250 h 404601"/>
                    <a:gd name="connsiteX239" fmla="*/ 133354 w 245306"/>
                    <a:gd name="connsiteY239" fmla="*/ 173223 h 404601"/>
                    <a:gd name="connsiteX240" fmla="*/ 128089 w 245306"/>
                    <a:gd name="connsiteY240" fmla="*/ 173532 h 404601"/>
                    <a:gd name="connsiteX241" fmla="*/ 123167 w 245306"/>
                    <a:gd name="connsiteY241" fmla="*/ 177917 h 404601"/>
                    <a:gd name="connsiteX242" fmla="*/ 120950 w 245306"/>
                    <a:gd name="connsiteY242" fmla="*/ 179270 h 404601"/>
                    <a:gd name="connsiteX243" fmla="*/ 118603 w 245306"/>
                    <a:gd name="connsiteY243" fmla="*/ 179938 h 404601"/>
                    <a:gd name="connsiteX244" fmla="*/ 115677 w 245306"/>
                    <a:gd name="connsiteY244" fmla="*/ 179742 h 404601"/>
                    <a:gd name="connsiteX245" fmla="*/ 110347 w 245306"/>
                    <a:gd name="connsiteY245" fmla="*/ 178569 h 404601"/>
                    <a:gd name="connsiteX246" fmla="*/ 108016 w 245306"/>
                    <a:gd name="connsiteY246" fmla="*/ 177346 h 404601"/>
                    <a:gd name="connsiteX247" fmla="*/ 110119 w 245306"/>
                    <a:gd name="connsiteY247" fmla="*/ 179343 h 404601"/>
                    <a:gd name="connsiteX248" fmla="*/ 112507 w 245306"/>
                    <a:gd name="connsiteY248" fmla="*/ 180386 h 404601"/>
                    <a:gd name="connsiteX249" fmla="*/ 126378 w 245306"/>
                    <a:gd name="connsiteY249" fmla="*/ 182839 h 404601"/>
                    <a:gd name="connsiteX250" fmla="*/ 127209 w 245306"/>
                    <a:gd name="connsiteY250" fmla="*/ 182587 h 404601"/>
                    <a:gd name="connsiteX251" fmla="*/ 131634 w 245306"/>
                    <a:gd name="connsiteY251" fmla="*/ 179995 h 404601"/>
                    <a:gd name="connsiteX252" fmla="*/ 137518 w 245306"/>
                    <a:gd name="connsiteY252" fmla="*/ 179954 h 404601"/>
                    <a:gd name="connsiteX253" fmla="*/ 148741 w 245306"/>
                    <a:gd name="connsiteY253" fmla="*/ 184730 h 404601"/>
                    <a:gd name="connsiteX254" fmla="*/ 151968 w 245306"/>
                    <a:gd name="connsiteY254" fmla="*/ 188373 h 404601"/>
                    <a:gd name="connsiteX255" fmla="*/ 156589 w 245306"/>
                    <a:gd name="connsiteY255" fmla="*/ 193597 h 404601"/>
                    <a:gd name="connsiteX256" fmla="*/ 159107 w 245306"/>
                    <a:gd name="connsiteY256" fmla="*/ 195634 h 404601"/>
                    <a:gd name="connsiteX257" fmla="*/ 160924 w 245306"/>
                    <a:gd name="connsiteY257" fmla="*/ 197476 h 404601"/>
                    <a:gd name="connsiteX258" fmla="*/ 162049 w 245306"/>
                    <a:gd name="connsiteY258" fmla="*/ 200239 h 404601"/>
                    <a:gd name="connsiteX259" fmla="*/ 164217 w 245306"/>
                    <a:gd name="connsiteY259" fmla="*/ 209350 h 404601"/>
                    <a:gd name="connsiteX260" fmla="*/ 166694 w 245306"/>
                    <a:gd name="connsiteY260" fmla="*/ 218234 h 404601"/>
                    <a:gd name="connsiteX261" fmla="*/ 169946 w 245306"/>
                    <a:gd name="connsiteY261" fmla="*/ 227834 h 404601"/>
                    <a:gd name="connsiteX262" fmla="*/ 171413 w 245306"/>
                    <a:gd name="connsiteY262" fmla="*/ 230507 h 404601"/>
                    <a:gd name="connsiteX263" fmla="*/ 173353 w 245306"/>
                    <a:gd name="connsiteY263" fmla="*/ 232373 h 404601"/>
                    <a:gd name="connsiteX264" fmla="*/ 183149 w 245306"/>
                    <a:gd name="connsiteY264" fmla="*/ 236660 h 404601"/>
                    <a:gd name="connsiteX265" fmla="*/ 185333 w 245306"/>
                    <a:gd name="connsiteY265" fmla="*/ 238078 h 404601"/>
                    <a:gd name="connsiteX266" fmla="*/ 189131 w 245306"/>
                    <a:gd name="connsiteY266" fmla="*/ 242202 h 404601"/>
                    <a:gd name="connsiteX267" fmla="*/ 192798 w 245306"/>
                    <a:gd name="connsiteY267" fmla="*/ 246578 h 404601"/>
                    <a:gd name="connsiteX268" fmla="*/ 196204 w 245306"/>
                    <a:gd name="connsiteY268" fmla="*/ 249944 h 404601"/>
                    <a:gd name="connsiteX269" fmla="*/ 199888 w 245306"/>
                    <a:gd name="connsiteY269" fmla="*/ 252666 h 404601"/>
                    <a:gd name="connsiteX270" fmla="*/ 198104 w 245306"/>
                    <a:gd name="connsiteY270" fmla="*/ 254076 h 404601"/>
                    <a:gd name="connsiteX271" fmla="*/ 196881 w 245306"/>
                    <a:gd name="connsiteY271" fmla="*/ 256301 h 404601"/>
                    <a:gd name="connsiteX272" fmla="*/ 197794 w 245306"/>
                    <a:gd name="connsiteY272" fmla="*/ 259324 h 404601"/>
                    <a:gd name="connsiteX273" fmla="*/ 199293 w 245306"/>
                    <a:gd name="connsiteY273" fmla="*/ 262209 h 404601"/>
                    <a:gd name="connsiteX274" fmla="*/ 202244 w 245306"/>
                    <a:gd name="connsiteY274" fmla="*/ 266814 h 404601"/>
                    <a:gd name="connsiteX275" fmla="*/ 204843 w 245306"/>
                    <a:gd name="connsiteY275" fmla="*/ 271834 h 404601"/>
                    <a:gd name="connsiteX276" fmla="*/ 203890 w 245306"/>
                    <a:gd name="connsiteY276" fmla="*/ 271076 h 404601"/>
                    <a:gd name="connsiteX277" fmla="*/ 202879 w 245306"/>
                    <a:gd name="connsiteY277" fmla="*/ 270661 h 404601"/>
                    <a:gd name="connsiteX278" fmla="*/ 201502 w 245306"/>
                    <a:gd name="connsiteY278" fmla="*/ 270783 h 404601"/>
                    <a:gd name="connsiteX279" fmla="*/ 200157 w 245306"/>
                    <a:gd name="connsiteY279" fmla="*/ 270547 h 404601"/>
                    <a:gd name="connsiteX280" fmla="*/ 197671 w 245306"/>
                    <a:gd name="connsiteY280" fmla="*/ 268974 h 404601"/>
                    <a:gd name="connsiteX281" fmla="*/ 195284 w 245306"/>
                    <a:gd name="connsiteY281" fmla="*/ 267042 h 404601"/>
                    <a:gd name="connsiteX282" fmla="*/ 190532 w 245306"/>
                    <a:gd name="connsiteY282" fmla="*/ 267817 h 404601"/>
                    <a:gd name="connsiteX283" fmla="*/ 187900 w 245306"/>
                    <a:gd name="connsiteY283" fmla="*/ 267474 h 404601"/>
                    <a:gd name="connsiteX284" fmla="*/ 185610 w 245306"/>
                    <a:gd name="connsiteY284" fmla="*/ 267523 h 404601"/>
                    <a:gd name="connsiteX285" fmla="*/ 189945 w 245306"/>
                    <a:gd name="connsiteY285" fmla="*/ 268640 h 404601"/>
                    <a:gd name="connsiteX286" fmla="*/ 194697 w 245306"/>
                    <a:gd name="connsiteY286" fmla="*/ 268713 h 404601"/>
                    <a:gd name="connsiteX287" fmla="*/ 205169 w 245306"/>
                    <a:gd name="connsiteY287" fmla="*/ 277132 h 404601"/>
                    <a:gd name="connsiteX288" fmla="*/ 208715 w 245306"/>
                    <a:gd name="connsiteY288" fmla="*/ 282119 h 404601"/>
                    <a:gd name="connsiteX289" fmla="*/ 210809 w 245306"/>
                    <a:gd name="connsiteY289" fmla="*/ 288688 h 404601"/>
                    <a:gd name="connsiteX290" fmla="*/ 209383 w 245306"/>
                    <a:gd name="connsiteY290" fmla="*/ 291638 h 404601"/>
                    <a:gd name="connsiteX291" fmla="*/ 207150 w 245306"/>
                    <a:gd name="connsiteY291" fmla="*/ 293545 h 404601"/>
                    <a:gd name="connsiteX292" fmla="*/ 205080 w 245306"/>
                    <a:gd name="connsiteY292" fmla="*/ 295737 h 404601"/>
                    <a:gd name="connsiteX293" fmla="*/ 203132 w 245306"/>
                    <a:gd name="connsiteY293" fmla="*/ 298199 h 404601"/>
                    <a:gd name="connsiteX294" fmla="*/ 208926 w 245306"/>
                    <a:gd name="connsiteY294" fmla="*/ 301817 h 404601"/>
                    <a:gd name="connsiteX295" fmla="*/ 210181 w 245306"/>
                    <a:gd name="connsiteY295" fmla="*/ 301703 h 404601"/>
                    <a:gd name="connsiteX296" fmla="*/ 211461 w 245306"/>
                    <a:gd name="connsiteY296" fmla="*/ 301198 h 404601"/>
                    <a:gd name="connsiteX297" fmla="*/ 212691 w 245306"/>
                    <a:gd name="connsiteY297" fmla="*/ 299967 h 404601"/>
                    <a:gd name="connsiteX298" fmla="*/ 214778 w 245306"/>
                    <a:gd name="connsiteY298" fmla="*/ 296968 h 404601"/>
                    <a:gd name="connsiteX299" fmla="*/ 215854 w 245306"/>
                    <a:gd name="connsiteY299" fmla="*/ 295900 h 404601"/>
                    <a:gd name="connsiteX300" fmla="*/ 219464 w 245306"/>
                    <a:gd name="connsiteY300" fmla="*/ 295517 h 404601"/>
                    <a:gd name="connsiteX301" fmla="*/ 222488 w 245306"/>
                    <a:gd name="connsiteY301" fmla="*/ 295746 h 404601"/>
                    <a:gd name="connsiteX302" fmla="*/ 225511 w 245306"/>
                    <a:gd name="connsiteY302" fmla="*/ 296414 h 404601"/>
                    <a:gd name="connsiteX303" fmla="*/ 228168 w 245306"/>
                    <a:gd name="connsiteY303" fmla="*/ 296202 h 404601"/>
                    <a:gd name="connsiteX304" fmla="*/ 233514 w 245306"/>
                    <a:gd name="connsiteY304" fmla="*/ 297490 h 404601"/>
                    <a:gd name="connsiteX305" fmla="*/ 236261 w 245306"/>
                    <a:gd name="connsiteY305" fmla="*/ 298647 h 404601"/>
                    <a:gd name="connsiteX306" fmla="*/ 243074 w 245306"/>
                    <a:gd name="connsiteY306" fmla="*/ 303863 h 404601"/>
                    <a:gd name="connsiteX307" fmla="*/ 244549 w 245306"/>
                    <a:gd name="connsiteY307" fmla="*/ 306715 h 404601"/>
                    <a:gd name="connsiteX308" fmla="*/ 245225 w 245306"/>
                    <a:gd name="connsiteY308" fmla="*/ 310391 h 404601"/>
                    <a:gd name="connsiteX309" fmla="*/ 245307 w 245306"/>
                    <a:gd name="connsiteY309" fmla="*/ 314466 h 404601"/>
                    <a:gd name="connsiteX310" fmla="*/ 244158 w 245306"/>
                    <a:gd name="connsiteY310" fmla="*/ 318190 h 404601"/>
                    <a:gd name="connsiteX311" fmla="*/ 242846 w 245306"/>
                    <a:gd name="connsiteY311" fmla="*/ 321548 h 404601"/>
                    <a:gd name="connsiteX312" fmla="*/ 242031 w 245306"/>
                    <a:gd name="connsiteY312" fmla="*/ 325883 h 404601"/>
                    <a:gd name="connsiteX313" fmla="*/ 241452 w 245306"/>
                    <a:gd name="connsiteY313" fmla="*/ 327440 h 404601"/>
                    <a:gd name="connsiteX314" fmla="*/ 240653 w 245306"/>
                    <a:gd name="connsiteY314" fmla="*/ 328654 h 404601"/>
                    <a:gd name="connsiteX315" fmla="*/ 237035 w 245306"/>
                    <a:gd name="connsiteY315" fmla="*/ 332069 h 404601"/>
                    <a:gd name="connsiteX316" fmla="*/ 234639 w 245306"/>
                    <a:gd name="connsiteY316" fmla="*/ 333471 h 404601"/>
                    <a:gd name="connsiteX317" fmla="*/ 233628 w 245306"/>
                    <a:gd name="connsiteY317" fmla="*/ 332851 h 404601"/>
                    <a:gd name="connsiteX318" fmla="*/ 232552 w 245306"/>
                    <a:gd name="connsiteY318" fmla="*/ 332941 h 404601"/>
                    <a:gd name="connsiteX319" fmla="*/ 232430 w 245306"/>
                    <a:gd name="connsiteY319" fmla="*/ 333756 h 404601"/>
                    <a:gd name="connsiteX320" fmla="*/ 233571 w 245306"/>
                    <a:gd name="connsiteY320" fmla="*/ 335500 h 404601"/>
                    <a:gd name="connsiteX321" fmla="*/ 233588 w 245306"/>
                    <a:gd name="connsiteY321" fmla="*/ 337594 h 404601"/>
                    <a:gd name="connsiteX322" fmla="*/ 231452 w 245306"/>
                    <a:gd name="connsiteY322" fmla="*/ 339151 h 404601"/>
                    <a:gd name="connsiteX323" fmla="*/ 229284 w 245306"/>
                    <a:gd name="connsiteY323" fmla="*/ 339819 h 404601"/>
                    <a:gd name="connsiteX324" fmla="*/ 225666 w 245306"/>
                    <a:gd name="connsiteY324" fmla="*/ 338980 h 404601"/>
                    <a:gd name="connsiteX325" fmla="*/ 220646 w 245306"/>
                    <a:gd name="connsiteY325" fmla="*/ 341881 h 404601"/>
                    <a:gd name="connsiteX326" fmla="*/ 224256 w 245306"/>
                    <a:gd name="connsiteY326" fmla="*/ 343373 h 404601"/>
                    <a:gd name="connsiteX327" fmla="*/ 224981 w 245306"/>
                    <a:gd name="connsiteY327" fmla="*/ 344946 h 404601"/>
                    <a:gd name="connsiteX328" fmla="*/ 224085 w 245306"/>
                    <a:gd name="connsiteY328" fmla="*/ 347725 h 404601"/>
                    <a:gd name="connsiteX329" fmla="*/ 221811 w 245306"/>
                    <a:gd name="connsiteY329" fmla="*/ 348963 h 404601"/>
                    <a:gd name="connsiteX330" fmla="*/ 219285 w 245306"/>
                    <a:gd name="connsiteY330" fmla="*/ 349509 h 404601"/>
                    <a:gd name="connsiteX331" fmla="*/ 216701 w 245306"/>
                    <a:gd name="connsiteY331" fmla="*/ 349640 h 404601"/>
                    <a:gd name="connsiteX332" fmla="*/ 214566 w 245306"/>
                    <a:gd name="connsiteY332" fmla="*/ 350316 h 404601"/>
                    <a:gd name="connsiteX333" fmla="*/ 212512 w 245306"/>
                    <a:gd name="connsiteY333" fmla="*/ 351628 h 404601"/>
                    <a:gd name="connsiteX334" fmla="*/ 215080 w 245306"/>
                    <a:gd name="connsiteY334" fmla="*/ 350936 h 404601"/>
                    <a:gd name="connsiteX335" fmla="*/ 216864 w 245306"/>
                    <a:gd name="connsiteY335" fmla="*/ 351547 h 404601"/>
                    <a:gd name="connsiteX336" fmla="*/ 217997 w 245306"/>
                    <a:gd name="connsiteY336" fmla="*/ 353886 h 404601"/>
                    <a:gd name="connsiteX337" fmla="*/ 219008 w 245306"/>
                    <a:gd name="connsiteY337" fmla="*/ 354546 h 404601"/>
                    <a:gd name="connsiteX338" fmla="*/ 224036 w 245306"/>
                    <a:gd name="connsiteY338" fmla="*/ 355556 h 404601"/>
                    <a:gd name="connsiteX339" fmla="*/ 227149 w 245306"/>
                    <a:gd name="connsiteY339" fmla="*/ 355548 h 404601"/>
                    <a:gd name="connsiteX340" fmla="*/ 233155 w 245306"/>
                    <a:gd name="connsiteY340" fmla="*/ 354978 h 404601"/>
                    <a:gd name="connsiteX341" fmla="*/ 236040 w 245306"/>
                    <a:gd name="connsiteY341" fmla="*/ 354994 h 404601"/>
                    <a:gd name="connsiteX342" fmla="*/ 237067 w 245306"/>
                    <a:gd name="connsiteY342" fmla="*/ 355418 h 404601"/>
                    <a:gd name="connsiteX343" fmla="*/ 237092 w 245306"/>
                    <a:gd name="connsiteY343" fmla="*/ 357349 h 404601"/>
                    <a:gd name="connsiteX344" fmla="*/ 236644 w 245306"/>
                    <a:gd name="connsiteY344" fmla="*/ 362093 h 404601"/>
                    <a:gd name="connsiteX345" fmla="*/ 235845 w 245306"/>
                    <a:gd name="connsiteY345" fmla="*/ 363071 h 404601"/>
                    <a:gd name="connsiteX346" fmla="*/ 227875 w 245306"/>
                    <a:gd name="connsiteY346" fmla="*/ 367048 h 404601"/>
                    <a:gd name="connsiteX347" fmla="*/ 226245 w 245306"/>
                    <a:gd name="connsiteY347" fmla="*/ 369827 h 404601"/>
                    <a:gd name="connsiteX348" fmla="*/ 225780 w 245306"/>
                    <a:gd name="connsiteY348" fmla="*/ 371514 h 404601"/>
                    <a:gd name="connsiteX349" fmla="*/ 221135 w 245306"/>
                    <a:gd name="connsiteY349" fmla="*/ 371212 h 404601"/>
                    <a:gd name="connsiteX350" fmla="*/ 218942 w 245306"/>
                    <a:gd name="connsiteY350" fmla="*/ 372981 h 404601"/>
                    <a:gd name="connsiteX351" fmla="*/ 215177 w 245306"/>
                    <a:gd name="connsiteY351" fmla="*/ 374171 h 404601"/>
                    <a:gd name="connsiteX352" fmla="*/ 212251 w 245306"/>
                    <a:gd name="connsiteY352" fmla="*/ 375426 h 404601"/>
                    <a:gd name="connsiteX353" fmla="*/ 209399 w 245306"/>
                    <a:gd name="connsiteY353" fmla="*/ 377015 h 404601"/>
                    <a:gd name="connsiteX354" fmla="*/ 207052 w 245306"/>
                    <a:gd name="connsiteY354" fmla="*/ 377487 h 404601"/>
                    <a:gd name="connsiteX355" fmla="*/ 196905 w 245306"/>
                    <a:gd name="connsiteY355" fmla="*/ 375605 h 404601"/>
                    <a:gd name="connsiteX356" fmla="*/ 190785 w 245306"/>
                    <a:gd name="connsiteY356" fmla="*/ 375760 h 404601"/>
                    <a:gd name="connsiteX357" fmla="*/ 182489 w 245306"/>
                    <a:gd name="connsiteY357" fmla="*/ 377406 h 404601"/>
                    <a:gd name="connsiteX358" fmla="*/ 180353 w 245306"/>
                    <a:gd name="connsiteY358" fmla="*/ 377137 h 404601"/>
                    <a:gd name="connsiteX359" fmla="*/ 177151 w 245306"/>
                    <a:gd name="connsiteY359" fmla="*/ 375564 h 404601"/>
                    <a:gd name="connsiteX360" fmla="*/ 173866 w 245306"/>
                    <a:gd name="connsiteY360" fmla="*/ 374505 h 404601"/>
                    <a:gd name="connsiteX361" fmla="*/ 170093 w 245306"/>
                    <a:gd name="connsiteY361" fmla="*/ 374032 h 404601"/>
                    <a:gd name="connsiteX362" fmla="*/ 166841 w 245306"/>
                    <a:gd name="connsiteY362" fmla="*/ 372581 h 404601"/>
                    <a:gd name="connsiteX363" fmla="*/ 168879 w 245306"/>
                    <a:gd name="connsiteY363" fmla="*/ 375368 h 404601"/>
                    <a:gd name="connsiteX364" fmla="*/ 164356 w 245306"/>
                    <a:gd name="connsiteY364" fmla="*/ 378066 h 404601"/>
                    <a:gd name="connsiteX365" fmla="*/ 162269 w 245306"/>
                    <a:gd name="connsiteY365" fmla="*/ 378596 h 404601"/>
                    <a:gd name="connsiteX366" fmla="*/ 160110 w 245306"/>
                    <a:gd name="connsiteY366" fmla="*/ 378514 h 404601"/>
                    <a:gd name="connsiteX367" fmla="*/ 155692 w 245306"/>
                    <a:gd name="connsiteY367" fmla="*/ 379240 h 404601"/>
                    <a:gd name="connsiteX368" fmla="*/ 151601 w 245306"/>
                    <a:gd name="connsiteY368" fmla="*/ 378873 h 404601"/>
                    <a:gd name="connsiteX369" fmla="*/ 152221 w 245306"/>
                    <a:gd name="connsiteY369" fmla="*/ 380780 h 404601"/>
                    <a:gd name="connsiteX370" fmla="*/ 153312 w 245306"/>
                    <a:gd name="connsiteY370" fmla="*/ 382443 h 404601"/>
                    <a:gd name="connsiteX371" fmla="*/ 152424 w 245306"/>
                    <a:gd name="connsiteY371" fmla="*/ 383168 h 404601"/>
                    <a:gd name="connsiteX372" fmla="*/ 151487 w 245306"/>
                    <a:gd name="connsiteY372" fmla="*/ 383347 h 404601"/>
                    <a:gd name="connsiteX373" fmla="*/ 143688 w 245306"/>
                    <a:gd name="connsiteY373" fmla="*/ 382092 h 404601"/>
                    <a:gd name="connsiteX374" fmla="*/ 142587 w 245306"/>
                    <a:gd name="connsiteY374" fmla="*/ 382328 h 404601"/>
                    <a:gd name="connsiteX375" fmla="*/ 141626 w 245306"/>
                    <a:gd name="connsiteY375" fmla="*/ 383494 h 404601"/>
                    <a:gd name="connsiteX376" fmla="*/ 138782 w 245306"/>
                    <a:gd name="connsiteY376" fmla="*/ 382866 h 404601"/>
                    <a:gd name="connsiteX377" fmla="*/ 136027 w 245306"/>
                    <a:gd name="connsiteY377" fmla="*/ 380902 h 404601"/>
                    <a:gd name="connsiteX378" fmla="*/ 133101 w 245306"/>
                    <a:gd name="connsiteY378" fmla="*/ 379590 h 404601"/>
                    <a:gd name="connsiteX379" fmla="*/ 130029 w 245306"/>
                    <a:gd name="connsiteY379" fmla="*/ 378971 h 404601"/>
                    <a:gd name="connsiteX380" fmla="*/ 127584 w 245306"/>
                    <a:gd name="connsiteY380" fmla="*/ 379174 h 404601"/>
                    <a:gd name="connsiteX381" fmla="*/ 117535 w 245306"/>
                    <a:gd name="connsiteY381" fmla="*/ 382263 h 404601"/>
                    <a:gd name="connsiteX382" fmla="*/ 115530 w 245306"/>
                    <a:gd name="connsiteY382" fmla="*/ 385352 h 404601"/>
                    <a:gd name="connsiteX383" fmla="*/ 114520 w 245306"/>
                    <a:gd name="connsiteY383" fmla="*/ 389736 h 404601"/>
                    <a:gd name="connsiteX384" fmla="*/ 113078 w 245306"/>
                    <a:gd name="connsiteY384" fmla="*/ 393624 h 404601"/>
                    <a:gd name="connsiteX385" fmla="*/ 110706 w 245306"/>
                    <a:gd name="connsiteY385" fmla="*/ 396615 h 404601"/>
                    <a:gd name="connsiteX386" fmla="*/ 107894 w 245306"/>
                    <a:gd name="connsiteY386" fmla="*/ 397006 h 404601"/>
                    <a:gd name="connsiteX387" fmla="*/ 105246 w 245306"/>
                    <a:gd name="connsiteY387" fmla="*/ 394936 h 404601"/>
                    <a:gd name="connsiteX388" fmla="*/ 100201 w 245306"/>
                    <a:gd name="connsiteY388" fmla="*/ 392654 h 404601"/>
                    <a:gd name="connsiteX389" fmla="*/ 98481 w 245306"/>
                    <a:gd name="connsiteY389" fmla="*/ 391114 h 404601"/>
                    <a:gd name="connsiteX390" fmla="*/ 97935 w 245306"/>
                    <a:gd name="connsiteY390" fmla="*/ 391016 h 404601"/>
                    <a:gd name="connsiteX391" fmla="*/ 97373 w 245306"/>
                    <a:gd name="connsiteY391" fmla="*/ 391570 h 404601"/>
                    <a:gd name="connsiteX392" fmla="*/ 95401 w 245306"/>
                    <a:gd name="connsiteY392" fmla="*/ 392263 h 404601"/>
                    <a:gd name="connsiteX393" fmla="*/ 93355 w 245306"/>
                    <a:gd name="connsiteY393" fmla="*/ 392296 h 404601"/>
                    <a:gd name="connsiteX394" fmla="*/ 90201 w 245306"/>
                    <a:gd name="connsiteY394" fmla="*/ 392915 h 404601"/>
                    <a:gd name="connsiteX395" fmla="*/ 84716 w 245306"/>
                    <a:gd name="connsiteY395" fmla="*/ 394773 h 404601"/>
                    <a:gd name="connsiteX396" fmla="*/ 82500 w 245306"/>
                    <a:gd name="connsiteY396" fmla="*/ 396036 h 404601"/>
                    <a:gd name="connsiteX397" fmla="*/ 77732 w 245306"/>
                    <a:gd name="connsiteY397" fmla="*/ 399508 h 404601"/>
                    <a:gd name="connsiteX398" fmla="*/ 76762 w 245306"/>
                    <a:gd name="connsiteY398" fmla="*/ 400478 h 404601"/>
                    <a:gd name="connsiteX399" fmla="*/ 75034 w 245306"/>
                    <a:gd name="connsiteY399" fmla="*/ 403974 h 404601"/>
                    <a:gd name="connsiteX400" fmla="*/ 72386 w 245306"/>
                    <a:gd name="connsiteY400" fmla="*/ 404602 h 404601"/>
                    <a:gd name="connsiteX401" fmla="*/ 69965 w 245306"/>
                    <a:gd name="connsiteY401" fmla="*/ 402352 h 404601"/>
                    <a:gd name="connsiteX402" fmla="*/ 67219 w 245306"/>
                    <a:gd name="connsiteY402" fmla="*/ 401570 h 404601"/>
                    <a:gd name="connsiteX403" fmla="*/ 64309 w 245306"/>
                    <a:gd name="connsiteY403" fmla="*/ 402336 h 404601"/>
                    <a:gd name="connsiteX404" fmla="*/ 62557 w 245306"/>
                    <a:gd name="connsiteY404" fmla="*/ 403526 h 404601"/>
                    <a:gd name="connsiteX405" fmla="*/ 61734 w 245306"/>
                    <a:gd name="connsiteY405" fmla="*/ 402556 h 404601"/>
                    <a:gd name="connsiteX406" fmla="*/ 61709 w 245306"/>
                    <a:gd name="connsiteY406" fmla="*/ 400559 h 404601"/>
                    <a:gd name="connsiteX407" fmla="*/ 63836 w 245306"/>
                    <a:gd name="connsiteY407" fmla="*/ 398180 h 404601"/>
                    <a:gd name="connsiteX408" fmla="*/ 69501 w 245306"/>
                    <a:gd name="connsiteY408" fmla="*/ 396387 h 404601"/>
                    <a:gd name="connsiteX409" fmla="*/ 74472 w 245306"/>
                    <a:gd name="connsiteY409" fmla="*/ 391725 h 404601"/>
                    <a:gd name="connsiteX410" fmla="*/ 76917 w 245306"/>
                    <a:gd name="connsiteY410" fmla="*/ 388881 h 404601"/>
                    <a:gd name="connsiteX411" fmla="*/ 77887 w 245306"/>
                    <a:gd name="connsiteY411" fmla="*/ 387283 h 404601"/>
                    <a:gd name="connsiteX412" fmla="*/ 79076 w 245306"/>
                    <a:gd name="connsiteY412" fmla="*/ 386257 h 404601"/>
                    <a:gd name="connsiteX413" fmla="*/ 80633 w 245306"/>
                    <a:gd name="connsiteY413" fmla="*/ 385873 h 404601"/>
                    <a:gd name="connsiteX414" fmla="*/ 81432 w 245306"/>
                    <a:gd name="connsiteY414" fmla="*/ 384105 h 404601"/>
                    <a:gd name="connsiteX415" fmla="*/ 88335 w 245306"/>
                    <a:gd name="connsiteY415" fmla="*/ 376982 h 404601"/>
                    <a:gd name="connsiteX416" fmla="*/ 88897 w 245306"/>
                    <a:gd name="connsiteY416" fmla="*/ 375336 h 404601"/>
                    <a:gd name="connsiteX417" fmla="*/ 89239 w 245306"/>
                    <a:gd name="connsiteY417" fmla="*/ 372418 h 404601"/>
                    <a:gd name="connsiteX418" fmla="*/ 89810 w 245306"/>
                    <a:gd name="connsiteY418" fmla="*/ 369598 h 404601"/>
                    <a:gd name="connsiteX419" fmla="*/ 95433 w 245306"/>
                    <a:gd name="connsiteY419" fmla="*/ 367765 h 404601"/>
                    <a:gd name="connsiteX420" fmla="*/ 98115 w 245306"/>
                    <a:gd name="connsiteY420" fmla="*/ 361824 h 404601"/>
                    <a:gd name="connsiteX421" fmla="*/ 98856 w 245306"/>
                    <a:gd name="connsiteY421" fmla="*/ 361351 h 404601"/>
                    <a:gd name="connsiteX422" fmla="*/ 106688 w 245306"/>
                    <a:gd name="connsiteY422" fmla="*/ 360259 h 404601"/>
                    <a:gd name="connsiteX423" fmla="*/ 112507 w 245306"/>
                    <a:gd name="connsiteY423" fmla="*/ 360349 h 404601"/>
                    <a:gd name="connsiteX424" fmla="*/ 118277 w 245306"/>
                    <a:gd name="connsiteY424" fmla="*/ 361506 h 404601"/>
                    <a:gd name="connsiteX425" fmla="*/ 121235 w 245306"/>
                    <a:gd name="connsiteY425" fmla="*/ 361612 h 404601"/>
                    <a:gd name="connsiteX426" fmla="*/ 124210 w 245306"/>
                    <a:gd name="connsiteY426" fmla="*/ 361212 h 404601"/>
                    <a:gd name="connsiteX427" fmla="*/ 126541 w 245306"/>
                    <a:gd name="connsiteY427" fmla="*/ 359607 h 404601"/>
                    <a:gd name="connsiteX428" fmla="*/ 130526 w 245306"/>
                    <a:gd name="connsiteY428" fmla="*/ 353821 h 404601"/>
                    <a:gd name="connsiteX429" fmla="*/ 132767 w 245306"/>
                    <a:gd name="connsiteY429" fmla="*/ 351278 h 404601"/>
                    <a:gd name="connsiteX430" fmla="*/ 135334 w 245306"/>
                    <a:gd name="connsiteY430" fmla="*/ 348971 h 404601"/>
                    <a:gd name="connsiteX431" fmla="*/ 137730 w 245306"/>
                    <a:gd name="connsiteY431" fmla="*/ 346339 h 404601"/>
                    <a:gd name="connsiteX432" fmla="*/ 141634 w 245306"/>
                    <a:gd name="connsiteY432" fmla="*/ 341457 h 404601"/>
                    <a:gd name="connsiteX433" fmla="*/ 138994 w 245306"/>
                    <a:gd name="connsiteY433" fmla="*/ 343136 h 404601"/>
                    <a:gd name="connsiteX434" fmla="*/ 135815 w 245306"/>
                    <a:gd name="connsiteY434" fmla="*/ 345809 h 404601"/>
                    <a:gd name="connsiteX435" fmla="*/ 133965 w 245306"/>
                    <a:gd name="connsiteY435" fmla="*/ 347350 h 404601"/>
                    <a:gd name="connsiteX436" fmla="*/ 128106 w 245306"/>
                    <a:gd name="connsiteY436" fmla="*/ 348906 h 404601"/>
                    <a:gd name="connsiteX437" fmla="*/ 125579 w 245306"/>
                    <a:gd name="connsiteY437" fmla="*/ 350504 h 404601"/>
                    <a:gd name="connsiteX438" fmla="*/ 121154 w 245306"/>
                    <a:gd name="connsiteY438" fmla="*/ 354081 h 404601"/>
                    <a:gd name="connsiteX439" fmla="*/ 120306 w 245306"/>
                    <a:gd name="connsiteY439" fmla="*/ 354383 h 404601"/>
                    <a:gd name="connsiteX440" fmla="*/ 113632 w 245306"/>
                    <a:gd name="connsiteY440" fmla="*/ 353519 h 404601"/>
                    <a:gd name="connsiteX441" fmla="*/ 108660 w 245306"/>
                    <a:gd name="connsiteY441" fmla="*/ 348874 h 404601"/>
                    <a:gd name="connsiteX442" fmla="*/ 105490 w 245306"/>
                    <a:gd name="connsiteY442" fmla="*/ 346959 h 404601"/>
                    <a:gd name="connsiteX443" fmla="*/ 104178 w 245306"/>
                    <a:gd name="connsiteY443" fmla="*/ 346747 h 404601"/>
                    <a:gd name="connsiteX444" fmla="*/ 102817 w 245306"/>
                    <a:gd name="connsiteY444" fmla="*/ 347317 h 404601"/>
                    <a:gd name="connsiteX445" fmla="*/ 99915 w 245306"/>
                    <a:gd name="connsiteY445" fmla="*/ 347896 h 404601"/>
                    <a:gd name="connsiteX446" fmla="*/ 96957 w 245306"/>
                    <a:gd name="connsiteY446" fmla="*/ 347798 h 404601"/>
                    <a:gd name="connsiteX447" fmla="*/ 98473 w 245306"/>
                    <a:gd name="connsiteY447" fmla="*/ 345646 h 404601"/>
                    <a:gd name="connsiteX448" fmla="*/ 100519 w 245306"/>
                    <a:gd name="connsiteY448" fmla="*/ 344440 h 404601"/>
                    <a:gd name="connsiteX449" fmla="*/ 95922 w 245306"/>
                    <a:gd name="connsiteY449" fmla="*/ 343601 h 404601"/>
                    <a:gd name="connsiteX450" fmla="*/ 94651 w 245306"/>
                    <a:gd name="connsiteY450" fmla="*/ 342941 h 404601"/>
                    <a:gd name="connsiteX451" fmla="*/ 93192 w 245306"/>
                    <a:gd name="connsiteY451" fmla="*/ 341433 h 404601"/>
                    <a:gd name="connsiteX452" fmla="*/ 89598 w 245306"/>
                    <a:gd name="connsiteY452" fmla="*/ 341172 h 404601"/>
                    <a:gd name="connsiteX453" fmla="*/ 87878 w 245306"/>
                    <a:gd name="connsiteY453" fmla="*/ 341555 h 404601"/>
                    <a:gd name="connsiteX454" fmla="*/ 84977 w 245306"/>
                    <a:gd name="connsiteY454" fmla="*/ 343544 h 404601"/>
                    <a:gd name="connsiteX455" fmla="*/ 80397 w 245306"/>
                    <a:gd name="connsiteY455" fmla="*/ 345671 h 404601"/>
                    <a:gd name="connsiteX456" fmla="*/ 74880 w 245306"/>
                    <a:gd name="connsiteY456" fmla="*/ 342729 h 404601"/>
                    <a:gd name="connsiteX457" fmla="*/ 73796 w 245306"/>
                    <a:gd name="connsiteY457" fmla="*/ 341441 h 404601"/>
                    <a:gd name="connsiteX458" fmla="*/ 73820 w 245306"/>
                    <a:gd name="connsiteY458" fmla="*/ 338947 h 404601"/>
                    <a:gd name="connsiteX459" fmla="*/ 72997 w 245306"/>
                    <a:gd name="connsiteY459" fmla="*/ 336975 h 404601"/>
                    <a:gd name="connsiteX460" fmla="*/ 71465 w 245306"/>
                    <a:gd name="connsiteY460" fmla="*/ 336282 h 404601"/>
                    <a:gd name="connsiteX461" fmla="*/ 73429 w 245306"/>
                    <a:gd name="connsiteY461" fmla="*/ 333715 h 404601"/>
                    <a:gd name="connsiteX462" fmla="*/ 75792 w 245306"/>
                    <a:gd name="connsiteY462" fmla="*/ 332004 h 404601"/>
                    <a:gd name="connsiteX463" fmla="*/ 80992 w 245306"/>
                    <a:gd name="connsiteY463" fmla="*/ 330300 h 404601"/>
                    <a:gd name="connsiteX464" fmla="*/ 88865 w 245306"/>
                    <a:gd name="connsiteY464" fmla="*/ 326250 h 404601"/>
                    <a:gd name="connsiteX465" fmla="*/ 93273 w 245306"/>
                    <a:gd name="connsiteY465" fmla="*/ 324530 h 404601"/>
                    <a:gd name="connsiteX466" fmla="*/ 97381 w 245306"/>
                    <a:gd name="connsiteY466" fmla="*/ 321556 h 404601"/>
                    <a:gd name="connsiteX467" fmla="*/ 99076 w 245306"/>
                    <a:gd name="connsiteY467" fmla="*/ 319738 h 404601"/>
                    <a:gd name="connsiteX468" fmla="*/ 100307 w 245306"/>
                    <a:gd name="connsiteY468" fmla="*/ 317253 h 404601"/>
                    <a:gd name="connsiteX469" fmla="*/ 101529 w 245306"/>
                    <a:gd name="connsiteY469" fmla="*/ 314205 h 404601"/>
                    <a:gd name="connsiteX470" fmla="*/ 103265 w 245306"/>
                    <a:gd name="connsiteY470" fmla="*/ 311719 h 404601"/>
                    <a:gd name="connsiteX471" fmla="*/ 101570 w 245306"/>
                    <a:gd name="connsiteY471" fmla="*/ 311132 h 404601"/>
                    <a:gd name="connsiteX472" fmla="*/ 100812 w 245306"/>
                    <a:gd name="connsiteY472" fmla="*/ 309258 h 404601"/>
                    <a:gd name="connsiteX473" fmla="*/ 101016 w 245306"/>
                    <a:gd name="connsiteY473" fmla="*/ 307359 h 404601"/>
                    <a:gd name="connsiteX474" fmla="*/ 101798 w 245306"/>
                    <a:gd name="connsiteY474" fmla="*/ 305672 h 404601"/>
                    <a:gd name="connsiteX475" fmla="*/ 101105 w 245306"/>
                    <a:gd name="connsiteY475" fmla="*/ 303553 h 404601"/>
                    <a:gd name="connsiteX476" fmla="*/ 99859 w 245306"/>
                    <a:gd name="connsiteY476" fmla="*/ 301344 h 404601"/>
                    <a:gd name="connsiteX477" fmla="*/ 99932 w 245306"/>
                    <a:gd name="connsiteY477" fmla="*/ 299625 h 404601"/>
                    <a:gd name="connsiteX478" fmla="*/ 100266 w 245306"/>
                    <a:gd name="connsiteY478" fmla="*/ 297783 h 404601"/>
                    <a:gd name="connsiteX479" fmla="*/ 97096 w 245306"/>
                    <a:gd name="connsiteY479" fmla="*/ 297881 h 404601"/>
                    <a:gd name="connsiteX480" fmla="*/ 93942 w 245306"/>
                    <a:gd name="connsiteY480" fmla="*/ 298451 h 404601"/>
                    <a:gd name="connsiteX481" fmla="*/ 91073 w 245306"/>
                    <a:gd name="connsiteY481" fmla="*/ 299763 h 404601"/>
                    <a:gd name="connsiteX482" fmla="*/ 88302 w 245306"/>
                    <a:gd name="connsiteY482" fmla="*/ 301532 h 404601"/>
                    <a:gd name="connsiteX483" fmla="*/ 85833 w 245306"/>
                    <a:gd name="connsiteY483" fmla="*/ 301866 h 404601"/>
                    <a:gd name="connsiteX484" fmla="*/ 85874 w 245306"/>
                    <a:gd name="connsiteY484" fmla="*/ 300448 h 404601"/>
                    <a:gd name="connsiteX485" fmla="*/ 86941 w 245306"/>
                    <a:gd name="connsiteY485" fmla="*/ 298696 h 404601"/>
                    <a:gd name="connsiteX486" fmla="*/ 89728 w 245306"/>
                    <a:gd name="connsiteY486" fmla="*/ 296186 h 404601"/>
                    <a:gd name="connsiteX487" fmla="*/ 92719 w 245306"/>
                    <a:gd name="connsiteY487" fmla="*/ 294108 h 404601"/>
                    <a:gd name="connsiteX488" fmla="*/ 93779 w 245306"/>
                    <a:gd name="connsiteY488" fmla="*/ 292526 h 404601"/>
                    <a:gd name="connsiteX489" fmla="*/ 94618 w 245306"/>
                    <a:gd name="connsiteY489" fmla="*/ 290693 h 404601"/>
                    <a:gd name="connsiteX490" fmla="*/ 96110 w 245306"/>
                    <a:gd name="connsiteY490" fmla="*/ 289218 h 404601"/>
                    <a:gd name="connsiteX491" fmla="*/ 100013 w 245306"/>
                    <a:gd name="connsiteY491" fmla="*/ 286422 h 404601"/>
                    <a:gd name="connsiteX492" fmla="*/ 107494 w 245306"/>
                    <a:gd name="connsiteY492" fmla="*/ 283293 h 404601"/>
                    <a:gd name="connsiteX493" fmla="*/ 108619 w 245306"/>
                    <a:gd name="connsiteY493" fmla="*/ 283105 h 404601"/>
                    <a:gd name="connsiteX494" fmla="*/ 111545 w 245306"/>
                    <a:gd name="connsiteY494" fmla="*/ 283472 h 404601"/>
                    <a:gd name="connsiteX495" fmla="*/ 114430 w 245306"/>
                    <a:gd name="connsiteY495" fmla="*/ 282991 h 404601"/>
                    <a:gd name="connsiteX496" fmla="*/ 116956 w 245306"/>
                    <a:gd name="connsiteY496" fmla="*/ 281867 h 404601"/>
                    <a:gd name="connsiteX497" fmla="*/ 119483 w 245306"/>
                    <a:gd name="connsiteY497" fmla="*/ 281622 h 404601"/>
                    <a:gd name="connsiteX498" fmla="*/ 125155 w 245306"/>
                    <a:gd name="connsiteY498" fmla="*/ 284874 h 404601"/>
                    <a:gd name="connsiteX499" fmla="*/ 123460 w 245306"/>
                    <a:gd name="connsiteY499" fmla="*/ 279837 h 404601"/>
                    <a:gd name="connsiteX500" fmla="*/ 125962 w 245306"/>
                    <a:gd name="connsiteY500" fmla="*/ 278631 h 404601"/>
                    <a:gd name="connsiteX501" fmla="*/ 129589 w 245306"/>
                    <a:gd name="connsiteY501" fmla="*/ 283187 h 404601"/>
                    <a:gd name="connsiteX502" fmla="*/ 130941 w 245306"/>
                    <a:gd name="connsiteY502" fmla="*/ 283668 h 404601"/>
                    <a:gd name="connsiteX503" fmla="*/ 133786 w 245306"/>
                    <a:gd name="connsiteY503" fmla="*/ 283008 h 404601"/>
                    <a:gd name="connsiteX504" fmla="*/ 132694 w 245306"/>
                    <a:gd name="connsiteY504" fmla="*/ 282242 h 404601"/>
                    <a:gd name="connsiteX505" fmla="*/ 131406 w 245306"/>
                    <a:gd name="connsiteY505" fmla="*/ 282201 h 404601"/>
                    <a:gd name="connsiteX506" fmla="*/ 129727 w 245306"/>
                    <a:gd name="connsiteY506" fmla="*/ 281516 h 404601"/>
                    <a:gd name="connsiteX507" fmla="*/ 128325 w 245306"/>
                    <a:gd name="connsiteY507" fmla="*/ 280049 h 404601"/>
                    <a:gd name="connsiteX508" fmla="*/ 125970 w 245306"/>
                    <a:gd name="connsiteY508" fmla="*/ 275412 h 404601"/>
                    <a:gd name="connsiteX509" fmla="*/ 126101 w 245306"/>
                    <a:gd name="connsiteY509" fmla="*/ 272649 h 404601"/>
                    <a:gd name="connsiteX510" fmla="*/ 127673 w 245306"/>
                    <a:gd name="connsiteY510" fmla="*/ 269781 h 404601"/>
                    <a:gd name="connsiteX511" fmla="*/ 129426 w 245306"/>
                    <a:gd name="connsiteY511" fmla="*/ 267140 h 404601"/>
                    <a:gd name="connsiteX512" fmla="*/ 127959 w 245306"/>
                    <a:gd name="connsiteY512" fmla="*/ 266610 h 404601"/>
                    <a:gd name="connsiteX513" fmla="*/ 126777 w 245306"/>
                    <a:gd name="connsiteY513" fmla="*/ 265600 h 404601"/>
                    <a:gd name="connsiteX514" fmla="*/ 126435 w 245306"/>
                    <a:gd name="connsiteY514" fmla="*/ 262951 h 404601"/>
                    <a:gd name="connsiteX515" fmla="*/ 126899 w 245306"/>
                    <a:gd name="connsiteY515" fmla="*/ 260612 h 404601"/>
                    <a:gd name="connsiteX516" fmla="*/ 130045 w 245306"/>
                    <a:gd name="connsiteY516" fmla="*/ 258550 h 404601"/>
                    <a:gd name="connsiteX517" fmla="*/ 130974 w 245306"/>
                    <a:gd name="connsiteY517" fmla="*/ 255413 h 404601"/>
                    <a:gd name="connsiteX518" fmla="*/ 131374 w 245306"/>
                    <a:gd name="connsiteY518" fmla="*/ 251965 h 404601"/>
                    <a:gd name="connsiteX519" fmla="*/ 130852 w 245306"/>
                    <a:gd name="connsiteY519" fmla="*/ 250384 h 404601"/>
                    <a:gd name="connsiteX520" fmla="*/ 127731 w 245306"/>
                    <a:gd name="connsiteY520" fmla="*/ 250637 h 404601"/>
                    <a:gd name="connsiteX521" fmla="*/ 126215 w 245306"/>
                    <a:gd name="connsiteY521" fmla="*/ 251281 h 404601"/>
                    <a:gd name="connsiteX522" fmla="*/ 124853 w 245306"/>
                    <a:gd name="connsiteY522" fmla="*/ 252299 h 404601"/>
                    <a:gd name="connsiteX523" fmla="*/ 123452 w 245306"/>
                    <a:gd name="connsiteY523" fmla="*/ 252234 h 404601"/>
                    <a:gd name="connsiteX524" fmla="*/ 119597 w 245306"/>
                    <a:gd name="connsiteY524" fmla="*/ 248420 h 404601"/>
                    <a:gd name="connsiteX525" fmla="*/ 117397 w 245306"/>
                    <a:gd name="connsiteY525" fmla="*/ 245527 h 404601"/>
                    <a:gd name="connsiteX526" fmla="*/ 113452 w 245306"/>
                    <a:gd name="connsiteY526" fmla="*/ 239398 h 404601"/>
                    <a:gd name="connsiteX527" fmla="*/ 112890 w 245306"/>
                    <a:gd name="connsiteY527" fmla="*/ 235731 h 404601"/>
                    <a:gd name="connsiteX528" fmla="*/ 116052 w 245306"/>
                    <a:gd name="connsiteY528" fmla="*/ 227818 h 404601"/>
                    <a:gd name="connsiteX529" fmla="*/ 120934 w 245306"/>
                    <a:gd name="connsiteY529" fmla="*/ 222748 h 404601"/>
                    <a:gd name="connsiteX530" fmla="*/ 126679 w 245306"/>
                    <a:gd name="connsiteY530" fmla="*/ 220972 h 404601"/>
                    <a:gd name="connsiteX531" fmla="*/ 125571 w 245306"/>
                    <a:gd name="connsiteY531" fmla="*/ 220638 h 404601"/>
                    <a:gd name="connsiteX532" fmla="*/ 116810 w 245306"/>
                    <a:gd name="connsiteY532" fmla="*/ 220564 h 404601"/>
                    <a:gd name="connsiteX533" fmla="*/ 113925 w 245306"/>
                    <a:gd name="connsiteY533" fmla="*/ 221192 h 404601"/>
                    <a:gd name="connsiteX534" fmla="*/ 111244 w 245306"/>
                    <a:gd name="connsiteY534" fmla="*/ 223262 h 404601"/>
                    <a:gd name="connsiteX535" fmla="*/ 109728 w 245306"/>
                    <a:gd name="connsiteY535" fmla="*/ 223906 h 404601"/>
                    <a:gd name="connsiteX536" fmla="*/ 108147 w 245306"/>
                    <a:gd name="connsiteY536" fmla="*/ 224134 h 404601"/>
                    <a:gd name="connsiteX537" fmla="*/ 106696 w 245306"/>
                    <a:gd name="connsiteY537" fmla="*/ 225169 h 404601"/>
                    <a:gd name="connsiteX538" fmla="*/ 105286 w 245306"/>
                    <a:gd name="connsiteY538" fmla="*/ 226603 h 404601"/>
                    <a:gd name="connsiteX539" fmla="*/ 103811 w 245306"/>
                    <a:gd name="connsiteY539" fmla="*/ 227516 h 404601"/>
                    <a:gd name="connsiteX540" fmla="*/ 100893 w 245306"/>
                    <a:gd name="connsiteY540" fmla="*/ 227280 h 404601"/>
                    <a:gd name="connsiteX541" fmla="*/ 99476 w 245306"/>
                    <a:gd name="connsiteY541" fmla="*/ 227581 h 404601"/>
                    <a:gd name="connsiteX542" fmla="*/ 98457 w 245306"/>
                    <a:gd name="connsiteY542" fmla="*/ 226750 h 404601"/>
                    <a:gd name="connsiteX543" fmla="*/ 97601 w 245306"/>
                    <a:gd name="connsiteY543" fmla="*/ 225381 h 404601"/>
                    <a:gd name="connsiteX544" fmla="*/ 96485 w 245306"/>
                    <a:gd name="connsiteY544" fmla="*/ 225022 h 404601"/>
                    <a:gd name="connsiteX545" fmla="*/ 95238 w 245306"/>
                    <a:gd name="connsiteY545" fmla="*/ 225446 h 404601"/>
                    <a:gd name="connsiteX546" fmla="*/ 92597 w 245306"/>
                    <a:gd name="connsiteY546" fmla="*/ 227296 h 404601"/>
                    <a:gd name="connsiteX547" fmla="*/ 89932 w 245306"/>
                    <a:gd name="connsiteY547" fmla="*/ 228388 h 404601"/>
                    <a:gd name="connsiteX548" fmla="*/ 86705 w 245306"/>
                    <a:gd name="connsiteY548" fmla="*/ 227215 h 404601"/>
                    <a:gd name="connsiteX549" fmla="*/ 82475 w 245306"/>
                    <a:gd name="connsiteY549" fmla="*/ 225047 h 404601"/>
                    <a:gd name="connsiteX550" fmla="*/ 81636 w 245306"/>
                    <a:gd name="connsiteY550" fmla="*/ 225837 h 404601"/>
                    <a:gd name="connsiteX551" fmla="*/ 80698 w 245306"/>
                    <a:gd name="connsiteY551" fmla="*/ 227858 h 404601"/>
                    <a:gd name="connsiteX552" fmla="*/ 80161 w 245306"/>
                    <a:gd name="connsiteY552" fmla="*/ 231004 h 404601"/>
                    <a:gd name="connsiteX553" fmla="*/ 77153 w 245306"/>
                    <a:gd name="connsiteY553" fmla="*/ 228274 h 404601"/>
                    <a:gd name="connsiteX554" fmla="*/ 74594 w 245306"/>
                    <a:gd name="connsiteY554" fmla="*/ 224623 h 404601"/>
                    <a:gd name="connsiteX555" fmla="*/ 73739 w 245306"/>
                    <a:gd name="connsiteY555" fmla="*/ 222325 h 404601"/>
                    <a:gd name="connsiteX556" fmla="*/ 73673 w 245306"/>
                    <a:gd name="connsiteY556" fmla="*/ 219741 h 404601"/>
                    <a:gd name="connsiteX557" fmla="*/ 75059 w 245306"/>
                    <a:gd name="connsiteY557" fmla="*/ 218739 h 404601"/>
                    <a:gd name="connsiteX558" fmla="*/ 76575 w 245306"/>
                    <a:gd name="connsiteY558" fmla="*/ 219652 h 404601"/>
                    <a:gd name="connsiteX559" fmla="*/ 78824 w 245306"/>
                    <a:gd name="connsiteY559" fmla="*/ 213515 h 404601"/>
                    <a:gd name="connsiteX560" fmla="*/ 83298 w 245306"/>
                    <a:gd name="connsiteY560" fmla="*/ 205504 h 404601"/>
                    <a:gd name="connsiteX561" fmla="*/ 84879 w 245306"/>
                    <a:gd name="connsiteY561" fmla="*/ 203156 h 404601"/>
                    <a:gd name="connsiteX562" fmla="*/ 85980 w 245306"/>
                    <a:gd name="connsiteY562" fmla="*/ 200084 h 404601"/>
                    <a:gd name="connsiteX563" fmla="*/ 85784 w 245306"/>
                    <a:gd name="connsiteY563" fmla="*/ 198071 h 404601"/>
                    <a:gd name="connsiteX564" fmla="*/ 84798 w 245306"/>
                    <a:gd name="connsiteY564" fmla="*/ 196376 h 404601"/>
                    <a:gd name="connsiteX565" fmla="*/ 80633 w 245306"/>
                    <a:gd name="connsiteY565" fmla="*/ 192521 h 404601"/>
                    <a:gd name="connsiteX566" fmla="*/ 80691 w 245306"/>
                    <a:gd name="connsiteY566" fmla="*/ 189375 h 404601"/>
                    <a:gd name="connsiteX567" fmla="*/ 81139 w 245306"/>
                    <a:gd name="connsiteY567" fmla="*/ 185814 h 404601"/>
                    <a:gd name="connsiteX568" fmla="*/ 82271 w 245306"/>
                    <a:gd name="connsiteY568" fmla="*/ 183679 h 404601"/>
                    <a:gd name="connsiteX569" fmla="*/ 82752 w 245306"/>
                    <a:gd name="connsiteY569" fmla="*/ 183271 h 404601"/>
                    <a:gd name="connsiteX570" fmla="*/ 88278 w 245306"/>
                    <a:gd name="connsiteY570" fmla="*/ 183328 h 404601"/>
                    <a:gd name="connsiteX571" fmla="*/ 86118 w 245306"/>
                    <a:gd name="connsiteY571" fmla="*/ 182228 h 404601"/>
                    <a:gd name="connsiteX572" fmla="*/ 81831 w 245306"/>
                    <a:gd name="connsiteY572" fmla="*/ 179009 h 404601"/>
                    <a:gd name="connsiteX573" fmla="*/ 81905 w 245306"/>
                    <a:gd name="connsiteY573" fmla="*/ 177868 h 404601"/>
                    <a:gd name="connsiteX574" fmla="*/ 82915 w 245306"/>
                    <a:gd name="connsiteY574" fmla="*/ 174893 h 404601"/>
                    <a:gd name="connsiteX575" fmla="*/ 82442 w 245306"/>
                    <a:gd name="connsiteY575" fmla="*/ 175195 h 404601"/>
                    <a:gd name="connsiteX576" fmla="*/ 81522 w 245306"/>
                    <a:gd name="connsiteY576" fmla="*/ 176564 h 404601"/>
                    <a:gd name="connsiteX577" fmla="*/ 79769 w 245306"/>
                    <a:gd name="connsiteY577" fmla="*/ 179889 h 404601"/>
                    <a:gd name="connsiteX578" fmla="*/ 78693 w 245306"/>
                    <a:gd name="connsiteY578" fmla="*/ 180671 h 404601"/>
                    <a:gd name="connsiteX579" fmla="*/ 75654 w 245306"/>
                    <a:gd name="connsiteY579" fmla="*/ 181462 h 404601"/>
                    <a:gd name="connsiteX580" fmla="*/ 75107 w 245306"/>
                    <a:gd name="connsiteY580" fmla="*/ 183100 h 404601"/>
                    <a:gd name="connsiteX581" fmla="*/ 74619 w 245306"/>
                    <a:gd name="connsiteY581" fmla="*/ 183524 h 404601"/>
                    <a:gd name="connsiteX582" fmla="*/ 73103 w 245306"/>
                    <a:gd name="connsiteY582" fmla="*/ 183711 h 404601"/>
                    <a:gd name="connsiteX583" fmla="*/ 72638 w 245306"/>
                    <a:gd name="connsiteY583" fmla="*/ 185235 h 404601"/>
                    <a:gd name="connsiteX584" fmla="*/ 72296 w 245306"/>
                    <a:gd name="connsiteY584" fmla="*/ 185341 h 404601"/>
                    <a:gd name="connsiteX585" fmla="*/ 71864 w 245306"/>
                    <a:gd name="connsiteY585" fmla="*/ 183687 h 404601"/>
                    <a:gd name="connsiteX586" fmla="*/ 71831 w 245306"/>
                    <a:gd name="connsiteY586" fmla="*/ 180957 h 404601"/>
                    <a:gd name="connsiteX587" fmla="*/ 72426 w 245306"/>
                    <a:gd name="connsiteY587" fmla="*/ 178447 h 404601"/>
                    <a:gd name="connsiteX588" fmla="*/ 73584 w 245306"/>
                    <a:gd name="connsiteY588" fmla="*/ 176482 h 404601"/>
                    <a:gd name="connsiteX589" fmla="*/ 78033 w 245306"/>
                    <a:gd name="connsiteY589" fmla="*/ 172000 h 404601"/>
                    <a:gd name="connsiteX590" fmla="*/ 75866 w 245306"/>
                    <a:gd name="connsiteY590" fmla="*/ 173377 h 404601"/>
                    <a:gd name="connsiteX591" fmla="*/ 70952 w 245306"/>
                    <a:gd name="connsiteY591" fmla="*/ 177517 h 404601"/>
                    <a:gd name="connsiteX592" fmla="*/ 68441 w 245306"/>
                    <a:gd name="connsiteY592" fmla="*/ 180231 h 404601"/>
                    <a:gd name="connsiteX593" fmla="*/ 67773 w 245306"/>
                    <a:gd name="connsiteY593" fmla="*/ 181152 h 404601"/>
                    <a:gd name="connsiteX594" fmla="*/ 67561 w 245306"/>
                    <a:gd name="connsiteY594" fmla="*/ 181926 h 404601"/>
                    <a:gd name="connsiteX595" fmla="*/ 67578 w 245306"/>
                    <a:gd name="connsiteY595" fmla="*/ 182815 h 404601"/>
                    <a:gd name="connsiteX596" fmla="*/ 68702 w 245306"/>
                    <a:gd name="connsiteY596" fmla="*/ 187582 h 404601"/>
                    <a:gd name="connsiteX597" fmla="*/ 68376 w 245306"/>
                    <a:gd name="connsiteY597" fmla="*/ 189783 h 404601"/>
                    <a:gd name="connsiteX598" fmla="*/ 64146 w 245306"/>
                    <a:gd name="connsiteY598" fmla="*/ 204346 h 404601"/>
                    <a:gd name="connsiteX599" fmla="*/ 63340 w 245306"/>
                    <a:gd name="connsiteY599" fmla="*/ 205805 h 404601"/>
                    <a:gd name="connsiteX600" fmla="*/ 62606 w 245306"/>
                    <a:gd name="connsiteY600" fmla="*/ 206563 h 404601"/>
                    <a:gd name="connsiteX601" fmla="*/ 61913 w 245306"/>
                    <a:gd name="connsiteY601" fmla="*/ 206742 h 404601"/>
                    <a:gd name="connsiteX602" fmla="*/ 59827 w 245306"/>
                    <a:gd name="connsiteY602" fmla="*/ 206465 h 404601"/>
                    <a:gd name="connsiteX603" fmla="*/ 58898 w 245306"/>
                    <a:gd name="connsiteY603" fmla="*/ 205381 h 404601"/>
                    <a:gd name="connsiteX604" fmla="*/ 58906 w 245306"/>
                    <a:gd name="connsiteY604" fmla="*/ 204151 h 404601"/>
                    <a:gd name="connsiteX605" fmla="*/ 59289 w 245306"/>
                    <a:gd name="connsiteY605" fmla="*/ 202301 h 404601"/>
                    <a:gd name="connsiteX606" fmla="*/ 61049 w 245306"/>
                    <a:gd name="connsiteY606" fmla="*/ 195398 h 404601"/>
                    <a:gd name="connsiteX607" fmla="*/ 61815 w 245306"/>
                    <a:gd name="connsiteY607" fmla="*/ 193483 h 404601"/>
                    <a:gd name="connsiteX608" fmla="*/ 62940 w 245306"/>
                    <a:gd name="connsiteY608" fmla="*/ 191690 h 404601"/>
                    <a:gd name="connsiteX609" fmla="*/ 65434 w 245306"/>
                    <a:gd name="connsiteY609" fmla="*/ 188569 h 404601"/>
                    <a:gd name="connsiteX610" fmla="*/ 65377 w 245306"/>
                    <a:gd name="connsiteY610" fmla="*/ 188365 h 404601"/>
                    <a:gd name="connsiteX611" fmla="*/ 63715 w 245306"/>
                    <a:gd name="connsiteY611" fmla="*/ 188976 h 404601"/>
                    <a:gd name="connsiteX612" fmla="*/ 63005 w 245306"/>
                    <a:gd name="connsiteY612" fmla="*/ 188780 h 404601"/>
                    <a:gd name="connsiteX613" fmla="*/ 62500 w 245306"/>
                    <a:gd name="connsiteY613" fmla="*/ 188161 h 404601"/>
                    <a:gd name="connsiteX614" fmla="*/ 62834 w 245306"/>
                    <a:gd name="connsiteY614" fmla="*/ 178862 h 404601"/>
                    <a:gd name="connsiteX615" fmla="*/ 64179 w 245306"/>
                    <a:gd name="connsiteY615" fmla="*/ 175798 h 404601"/>
                    <a:gd name="connsiteX616" fmla="*/ 64684 w 245306"/>
                    <a:gd name="connsiteY616" fmla="*/ 171348 h 404601"/>
                    <a:gd name="connsiteX617" fmla="*/ 65858 w 245306"/>
                    <a:gd name="connsiteY617" fmla="*/ 167526 h 404601"/>
                    <a:gd name="connsiteX618" fmla="*/ 67202 w 245306"/>
                    <a:gd name="connsiteY618" fmla="*/ 164739 h 404601"/>
                    <a:gd name="connsiteX619" fmla="*/ 68229 w 245306"/>
                    <a:gd name="connsiteY619" fmla="*/ 161169 h 404601"/>
                    <a:gd name="connsiteX620" fmla="*/ 69778 w 245306"/>
                    <a:gd name="connsiteY620" fmla="*/ 159588 h 404601"/>
                    <a:gd name="connsiteX621" fmla="*/ 70193 w 245306"/>
                    <a:gd name="connsiteY621" fmla="*/ 157159 h 404601"/>
                    <a:gd name="connsiteX622" fmla="*/ 71937 w 245306"/>
                    <a:gd name="connsiteY622" fmla="*/ 154527 h 404601"/>
                    <a:gd name="connsiteX623" fmla="*/ 73282 w 245306"/>
                    <a:gd name="connsiteY623" fmla="*/ 151772 h 404601"/>
                    <a:gd name="connsiteX624" fmla="*/ 72565 w 245306"/>
                    <a:gd name="connsiteY624" fmla="*/ 152050 h 404601"/>
                    <a:gd name="connsiteX625" fmla="*/ 63967 w 245306"/>
                    <a:gd name="connsiteY625" fmla="*/ 159213 h 404601"/>
                    <a:gd name="connsiteX626" fmla="*/ 61775 w 245306"/>
                    <a:gd name="connsiteY626" fmla="*/ 160509 h 404601"/>
                    <a:gd name="connsiteX627" fmla="*/ 58792 w 245306"/>
                    <a:gd name="connsiteY627" fmla="*/ 160167 h 404601"/>
                    <a:gd name="connsiteX628" fmla="*/ 56510 w 245306"/>
                    <a:gd name="connsiteY628" fmla="*/ 159360 h 404601"/>
                    <a:gd name="connsiteX629" fmla="*/ 54725 w 245306"/>
                    <a:gd name="connsiteY629" fmla="*/ 157665 h 404601"/>
                    <a:gd name="connsiteX630" fmla="*/ 53926 w 245306"/>
                    <a:gd name="connsiteY630" fmla="*/ 154421 h 404601"/>
                    <a:gd name="connsiteX631" fmla="*/ 51718 w 245306"/>
                    <a:gd name="connsiteY631" fmla="*/ 154331 h 404601"/>
                    <a:gd name="connsiteX632" fmla="*/ 49836 w 245306"/>
                    <a:gd name="connsiteY632" fmla="*/ 153769 h 404601"/>
                    <a:gd name="connsiteX633" fmla="*/ 49860 w 245306"/>
                    <a:gd name="connsiteY633" fmla="*/ 153329 h 404601"/>
                    <a:gd name="connsiteX634" fmla="*/ 52288 w 245306"/>
                    <a:gd name="connsiteY634" fmla="*/ 151561 h 404601"/>
                    <a:gd name="connsiteX635" fmla="*/ 56184 w 245306"/>
                    <a:gd name="connsiteY635" fmla="*/ 150949 h 404601"/>
                    <a:gd name="connsiteX636" fmla="*/ 59835 w 245306"/>
                    <a:gd name="connsiteY636" fmla="*/ 148105 h 404601"/>
                    <a:gd name="connsiteX637" fmla="*/ 56591 w 245306"/>
                    <a:gd name="connsiteY637" fmla="*/ 146182 h 404601"/>
                    <a:gd name="connsiteX638" fmla="*/ 56861 w 245306"/>
                    <a:gd name="connsiteY638" fmla="*/ 145571 h 404601"/>
                    <a:gd name="connsiteX639" fmla="*/ 59688 w 245306"/>
                    <a:gd name="connsiteY639" fmla="*/ 143932 h 404601"/>
                    <a:gd name="connsiteX640" fmla="*/ 63282 w 245306"/>
                    <a:gd name="connsiteY640" fmla="*/ 138440 h 404601"/>
                    <a:gd name="connsiteX641" fmla="*/ 64008 w 245306"/>
                    <a:gd name="connsiteY641" fmla="*/ 133370 h 404601"/>
                    <a:gd name="connsiteX642" fmla="*/ 62288 w 245306"/>
                    <a:gd name="connsiteY642" fmla="*/ 130991 h 404601"/>
                    <a:gd name="connsiteX643" fmla="*/ 61661 w 245306"/>
                    <a:gd name="connsiteY643" fmla="*/ 129426 h 404601"/>
                    <a:gd name="connsiteX644" fmla="*/ 58222 w 245306"/>
                    <a:gd name="connsiteY644" fmla="*/ 127690 h 404601"/>
                    <a:gd name="connsiteX645" fmla="*/ 57651 w 245306"/>
                    <a:gd name="connsiteY645" fmla="*/ 125465 h 404601"/>
                    <a:gd name="connsiteX646" fmla="*/ 58050 w 245306"/>
                    <a:gd name="connsiteY646" fmla="*/ 124218 h 404601"/>
                    <a:gd name="connsiteX647" fmla="*/ 59175 w 245306"/>
                    <a:gd name="connsiteY647" fmla="*/ 123004 h 404601"/>
                    <a:gd name="connsiteX648" fmla="*/ 60870 w 245306"/>
                    <a:gd name="connsiteY648" fmla="*/ 122059 h 404601"/>
                    <a:gd name="connsiteX649" fmla="*/ 63519 w 245306"/>
                    <a:gd name="connsiteY649" fmla="*/ 121154 h 404601"/>
                    <a:gd name="connsiteX650" fmla="*/ 61107 w 245306"/>
                    <a:gd name="connsiteY650" fmla="*/ 120184 h 404601"/>
                    <a:gd name="connsiteX651" fmla="*/ 60218 w 245306"/>
                    <a:gd name="connsiteY651" fmla="*/ 119035 h 404601"/>
                    <a:gd name="connsiteX652" fmla="*/ 59534 w 245306"/>
                    <a:gd name="connsiteY652" fmla="*/ 117372 h 404601"/>
                    <a:gd name="connsiteX653" fmla="*/ 59477 w 245306"/>
                    <a:gd name="connsiteY653" fmla="*/ 116411 h 404601"/>
                    <a:gd name="connsiteX654" fmla="*/ 60715 w 245306"/>
                    <a:gd name="connsiteY654" fmla="*/ 112124 h 404601"/>
                    <a:gd name="connsiteX655" fmla="*/ 61441 w 245306"/>
                    <a:gd name="connsiteY655" fmla="*/ 110356 h 404601"/>
                    <a:gd name="connsiteX656" fmla="*/ 62858 w 245306"/>
                    <a:gd name="connsiteY656" fmla="*/ 108090 h 404601"/>
                    <a:gd name="connsiteX657" fmla="*/ 69289 w 245306"/>
                    <a:gd name="connsiteY657" fmla="*/ 108220 h 404601"/>
                    <a:gd name="connsiteX658" fmla="*/ 70030 w 245306"/>
                    <a:gd name="connsiteY658" fmla="*/ 107218 h 404601"/>
                    <a:gd name="connsiteX659" fmla="*/ 70764 w 245306"/>
                    <a:gd name="connsiteY659" fmla="*/ 107177 h 404601"/>
                    <a:gd name="connsiteX660" fmla="*/ 74056 w 245306"/>
                    <a:gd name="connsiteY660" fmla="*/ 108090 h 404601"/>
                    <a:gd name="connsiteX661" fmla="*/ 73567 w 245306"/>
                    <a:gd name="connsiteY661" fmla="*/ 107112 h 404601"/>
                    <a:gd name="connsiteX662" fmla="*/ 68188 w 245306"/>
                    <a:gd name="connsiteY662" fmla="*/ 101741 h 404601"/>
                    <a:gd name="connsiteX663" fmla="*/ 67699 w 245306"/>
                    <a:gd name="connsiteY663" fmla="*/ 100714 h 404601"/>
                    <a:gd name="connsiteX664" fmla="*/ 69240 w 245306"/>
                    <a:gd name="connsiteY664" fmla="*/ 97813 h 404601"/>
                    <a:gd name="connsiteX665" fmla="*/ 69346 w 245306"/>
                    <a:gd name="connsiteY665" fmla="*/ 96517 h 404601"/>
                    <a:gd name="connsiteX666" fmla="*/ 69118 w 245306"/>
                    <a:gd name="connsiteY666" fmla="*/ 95140 h 404601"/>
                    <a:gd name="connsiteX667" fmla="*/ 69558 w 245306"/>
                    <a:gd name="connsiteY667" fmla="*/ 94080 h 404601"/>
                    <a:gd name="connsiteX668" fmla="*/ 71261 w 245306"/>
                    <a:gd name="connsiteY668" fmla="*/ 93591 h 404601"/>
                    <a:gd name="connsiteX669" fmla="*/ 76460 w 245306"/>
                    <a:gd name="connsiteY669" fmla="*/ 93632 h 404601"/>
                    <a:gd name="connsiteX670" fmla="*/ 77748 w 245306"/>
                    <a:gd name="connsiteY670" fmla="*/ 93143 h 404601"/>
                    <a:gd name="connsiteX671" fmla="*/ 77161 w 245306"/>
                    <a:gd name="connsiteY671" fmla="*/ 91742 h 404601"/>
                    <a:gd name="connsiteX672" fmla="*/ 75955 w 245306"/>
                    <a:gd name="connsiteY672" fmla="*/ 89900 h 404601"/>
                    <a:gd name="connsiteX673" fmla="*/ 75719 w 245306"/>
                    <a:gd name="connsiteY673" fmla="*/ 88359 h 404601"/>
                    <a:gd name="connsiteX674" fmla="*/ 76004 w 245306"/>
                    <a:gd name="connsiteY674" fmla="*/ 86998 h 404601"/>
                    <a:gd name="connsiteX675" fmla="*/ 76069 w 245306"/>
                    <a:gd name="connsiteY675" fmla="*/ 84244 h 404601"/>
                    <a:gd name="connsiteX676" fmla="*/ 76306 w 245306"/>
                    <a:gd name="connsiteY676" fmla="*/ 83030 h 404601"/>
                    <a:gd name="connsiteX677" fmla="*/ 77536 w 245306"/>
                    <a:gd name="connsiteY677" fmla="*/ 81196 h 404601"/>
                    <a:gd name="connsiteX678" fmla="*/ 78555 w 245306"/>
                    <a:gd name="connsiteY678" fmla="*/ 80658 h 404601"/>
                    <a:gd name="connsiteX679" fmla="*/ 79818 w 245306"/>
                    <a:gd name="connsiteY679" fmla="*/ 80340 h 404601"/>
                    <a:gd name="connsiteX680" fmla="*/ 82679 w 245306"/>
                    <a:gd name="connsiteY680" fmla="*/ 80951 h 404601"/>
                    <a:gd name="connsiteX681" fmla="*/ 83763 w 245306"/>
                    <a:gd name="connsiteY681" fmla="*/ 81685 h 404601"/>
                    <a:gd name="connsiteX682" fmla="*/ 85010 w 245306"/>
                    <a:gd name="connsiteY682" fmla="*/ 83421 h 404601"/>
                    <a:gd name="connsiteX683" fmla="*/ 85930 w 245306"/>
                    <a:gd name="connsiteY683" fmla="*/ 83282 h 404601"/>
                    <a:gd name="connsiteX684" fmla="*/ 89484 w 245306"/>
                    <a:gd name="connsiteY684" fmla="*/ 81391 h 404601"/>
                    <a:gd name="connsiteX685" fmla="*/ 90543 w 245306"/>
                    <a:gd name="connsiteY685" fmla="*/ 81131 h 404601"/>
                    <a:gd name="connsiteX686" fmla="*/ 92002 w 245306"/>
                    <a:gd name="connsiteY686" fmla="*/ 83315 h 404601"/>
                    <a:gd name="connsiteX687" fmla="*/ 98074 w 245306"/>
                    <a:gd name="connsiteY687" fmla="*/ 81571 h 404601"/>
                    <a:gd name="connsiteX688" fmla="*/ 106232 w 245306"/>
                    <a:gd name="connsiteY688" fmla="*/ 80788 h 404601"/>
                    <a:gd name="connsiteX689" fmla="*/ 111138 w 245306"/>
                    <a:gd name="connsiteY689" fmla="*/ 79639 h 404601"/>
                    <a:gd name="connsiteX690" fmla="*/ 116305 w 245306"/>
                    <a:gd name="connsiteY690" fmla="*/ 79215 h 404601"/>
                    <a:gd name="connsiteX691" fmla="*/ 121121 w 245306"/>
                    <a:gd name="connsiteY691" fmla="*/ 77911 h 404601"/>
                    <a:gd name="connsiteX692" fmla="*/ 126231 w 245306"/>
                    <a:gd name="connsiteY692" fmla="*/ 78506 h 404601"/>
                    <a:gd name="connsiteX693" fmla="*/ 126402 w 245306"/>
                    <a:gd name="connsiteY693" fmla="*/ 79264 h 404601"/>
                    <a:gd name="connsiteX694" fmla="*/ 126182 w 245306"/>
                    <a:gd name="connsiteY694" fmla="*/ 80340 h 404601"/>
                    <a:gd name="connsiteX695" fmla="*/ 124878 w 245306"/>
                    <a:gd name="connsiteY695" fmla="*/ 83225 h 404601"/>
                    <a:gd name="connsiteX696" fmla="*/ 169555 w 245306"/>
                    <a:gd name="connsiteY696" fmla="*/ 2885 h 404601"/>
                    <a:gd name="connsiteX697" fmla="*/ 170068 w 245306"/>
                    <a:gd name="connsiteY697" fmla="*/ 5713 h 404601"/>
                    <a:gd name="connsiteX698" fmla="*/ 171348 w 245306"/>
                    <a:gd name="connsiteY698" fmla="*/ 4979 h 404601"/>
                    <a:gd name="connsiteX699" fmla="*/ 173279 w 245306"/>
                    <a:gd name="connsiteY699" fmla="*/ 7693 h 404601"/>
                    <a:gd name="connsiteX700" fmla="*/ 174274 w 245306"/>
                    <a:gd name="connsiteY700" fmla="*/ 7693 h 404601"/>
                    <a:gd name="connsiteX701" fmla="*/ 175895 w 245306"/>
                    <a:gd name="connsiteY701" fmla="*/ 6618 h 404601"/>
                    <a:gd name="connsiteX702" fmla="*/ 175569 w 245306"/>
                    <a:gd name="connsiteY702" fmla="*/ 9136 h 404601"/>
                    <a:gd name="connsiteX703" fmla="*/ 173883 w 245306"/>
                    <a:gd name="connsiteY703" fmla="*/ 16128 h 404601"/>
                    <a:gd name="connsiteX704" fmla="*/ 173410 w 245306"/>
                    <a:gd name="connsiteY704" fmla="*/ 17318 h 404601"/>
                    <a:gd name="connsiteX705" fmla="*/ 173084 w 245306"/>
                    <a:gd name="connsiteY705" fmla="*/ 19437 h 404601"/>
                    <a:gd name="connsiteX706" fmla="*/ 172750 w 245306"/>
                    <a:gd name="connsiteY706" fmla="*/ 19853 h 404601"/>
                    <a:gd name="connsiteX707" fmla="*/ 172244 w 245306"/>
                    <a:gd name="connsiteY707" fmla="*/ 24148 h 404601"/>
                    <a:gd name="connsiteX708" fmla="*/ 171104 w 245306"/>
                    <a:gd name="connsiteY708" fmla="*/ 25558 h 404601"/>
                    <a:gd name="connsiteX709" fmla="*/ 170150 w 245306"/>
                    <a:gd name="connsiteY709" fmla="*/ 28923 h 404601"/>
                    <a:gd name="connsiteX710" fmla="*/ 169759 w 245306"/>
                    <a:gd name="connsiteY710" fmla="*/ 29249 h 404601"/>
                    <a:gd name="connsiteX711" fmla="*/ 168365 w 245306"/>
                    <a:gd name="connsiteY711" fmla="*/ 27954 h 404601"/>
                    <a:gd name="connsiteX712" fmla="*/ 169759 w 245306"/>
                    <a:gd name="connsiteY712" fmla="*/ 22827 h 404601"/>
                    <a:gd name="connsiteX713" fmla="*/ 170338 w 245306"/>
                    <a:gd name="connsiteY713" fmla="*/ 19836 h 404601"/>
                    <a:gd name="connsiteX714" fmla="*/ 169970 w 245306"/>
                    <a:gd name="connsiteY714" fmla="*/ 18288 h 404601"/>
                    <a:gd name="connsiteX715" fmla="*/ 169180 w 245306"/>
                    <a:gd name="connsiteY715" fmla="*/ 16894 h 404601"/>
                    <a:gd name="connsiteX716" fmla="*/ 167037 w 245306"/>
                    <a:gd name="connsiteY716" fmla="*/ 16846 h 404601"/>
                    <a:gd name="connsiteX717" fmla="*/ 165236 w 245306"/>
                    <a:gd name="connsiteY717" fmla="*/ 17489 h 404601"/>
                    <a:gd name="connsiteX718" fmla="*/ 164853 w 245306"/>
                    <a:gd name="connsiteY718" fmla="*/ 16666 h 404601"/>
                    <a:gd name="connsiteX719" fmla="*/ 164795 w 245306"/>
                    <a:gd name="connsiteY719" fmla="*/ 15550 h 404601"/>
                    <a:gd name="connsiteX720" fmla="*/ 164364 w 245306"/>
                    <a:gd name="connsiteY720" fmla="*/ 15183 h 404601"/>
                    <a:gd name="connsiteX721" fmla="*/ 161976 w 245306"/>
                    <a:gd name="connsiteY721" fmla="*/ 15256 h 404601"/>
                    <a:gd name="connsiteX722" fmla="*/ 161275 w 245306"/>
                    <a:gd name="connsiteY722" fmla="*/ 14947 h 404601"/>
                    <a:gd name="connsiteX723" fmla="*/ 160810 w 245306"/>
                    <a:gd name="connsiteY723" fmla="*/ 13928 h 404601"/>
                    <a:gd name="connsiteX724" fmla="*/ 160720 w 245306"/>
                    <a:gd name="connsiteY724" fmla="*/ 13113 h 404601"/>
                    <a:gd name="connsiteX725" fmla="*/ 162880 w 245306"/>
                    <a:gd name="connsiteY725" fmla="*/ 12469 h 404601"/>
                    <a:gd name="connsiteX726" fmla="*/ 164918 w 245306"/>
                    <a:gd name="connsiteY726" fmla="*/ 12705 h 404601"/>
                    <a:gd name="connsiteX727" fmla="*/ 167884 w 245306"/>
                    <a:gd name="connsiteY727" fmla="*/ 11092 h 404601"/>
                    <a:gd name="connsiteX728" fmla="*/ 166026 w 245306"/>
                    <a:gd name="connsiteY728" fmla="*/ 5656 h 404601"/>
                    <a:gd name="connsiteX729" fmla="*/ 163565 w 245306"/>
                    <a:gd name="connsiteY729" fmla="*/ 5151 h 404601"/>
                    <a:gd name="connsiteX730" fmla="*/ 162995 w 245306"/>
                    <a:gd name="connsiteY730" fmla="*/ 4621 h 404601"/>
                    <a:gd name="connsiteX731" fmla="*/ 163467 w 245306"/>
                    <a:gd name="connsiteY731" fmla="*/ 3692 h 404601"/>
                    <a:gd name="connsiteX732" fmla="*/ 164828 w 245306"/>
                    <a:gd name="connsiteY732" fmla="*/ 3195 h 404601"/>
                    <a:gd name="connsiteX733" fmla="*/ 166906 w 245306"/>
                    <a:gd name="connsiteY733" fmla="*/ 432 h 404601"/>
                    <a:gd name="connsiteX734" fmla="*/ 168153 w 245306"/>
                    <a:gd name="connsiteY734" fmla="*/ 0 h 404601"/>
                    <a:gd name="connsiteX735" fmla="*/ 169693 w 245306"/>
                    <a:gd name="connsiteY735" fmla="*/ 73 h 404601"/>
                    <a:gd name="connsiteX736" fmla="*/ 169555 w 245306"/>
                    <a:gd name="connsiteY736" fmla="*/ 2885 h 40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Lst>
                  <a:rect l="l" t="t" r="r" b="b"/>
                  <a:pathLst>
                    <a:path w="245306" h="404601">
                      <a:moveTo>
                        <a:pt x="43886" y="209994"/>
                      </a:moveTo>
                      <a:lnTo>
                        <a:pt x="47382" y="210948"/>
                      </a:lnTo>
                      <a:lnTo>
                        <a:pt x="49982" y="210923"/>
                      </a:lnTo>
                      <a:lnTo>
                        <a:pt x="52297" y="213702"/>
                      </a:lnTo>
                      <a:lnTo>
                        <a:pt x="53543" y="218079"/>
                      </a:lnTo>
                      <a:lnTo>
                        <a:pt x="56428" y="222398"/>
                      </a:lnTo>
                      <a:lnTo>
                        <a:pt x="60202" y="226147"/>
                      </a:lnTo>
                      <a:lnTo>
                        <a:pt x="60356" y="228445"/>
                      </a:lnTo>
                      <a:lnTo>
                        <a:pt x="59004" y="229676"/>
                      </a:lnTo>
                      <a:lnTo>
                        <a:pt x="56176" y="231200"/>
                      </a:lnTo>
                      <a:lnTo>
                        <a:pt x="56184" y="232838"/>
                      </a:lnTo>
                      <a:lnTo>
                        <a:pt x="58050" y="232015"/>
                      </a:lnTo>
                      <a:lnTo>
                        <a:pt x="59664" y="231632"/>
                      </a:lnTo>
                      <a:lnTo>
                        <a:pt x="63535" y="231990"/>
                      </a:lnTo>
                      <a:lnTo>
                        <a:pt x="64888" y="233653"/>
                      </a:lnTo>
                      <a:lnTo>
                        <a:pt x="65817" y="236138"/>
                      </a:lnTo>
                      <a:lnTo>
                        <a:pt x="66314" y="238176"/>
                      </a:lnTo>
                      <a:lnTo>
                        <a:pt x="65980" y="240401"/>
                      </a:lnTo>
                      <a:lnTo>
                        <a:pt x="64937" y="239692"/>
                      </a:lnTo>
                      <a:lnTo>
                        <a:pt x="63886" y="237711"/>
                      </a:lnTo>
                      <a:lnTo>
                        <a:pt x="62704" y="236790"/>
                      </a:lnTo>
                      <a:lnTo>
                        <a:pt x="61335" y="236301"/>
                      </a:lnTo>
                      <a:lnTo>
                        <a:pt x="61962" y="239023"/>
                      </a:lnTo>
                      <a:lnTo>
                        <a:pt x="61718" y="242666"/>
                      </a:lnTo>
                      <a:lnTo>
                        <a:pt x="62313" y="243009"/>
                      </a:lnTo>
                      <a:lnTo>
                        <a:pt x="64154" y="243074"/>
                      </a:lnTo>
                      <a:lnTo>
                        <a:pt x="62940" y="246798"/>
                      </a:lnTo>
                      <a:lnTo>
                        <a:pt x="60430" y="247809"/>
                      </a:lnTo>
                      <a:lnTo>
                        <a:pt x="57496" y="248184"/>
                      </a:lnTo>
                      <a:lnTo>
                        <a:pt x="56795" y="249504"/>
                      </a:lnTo>
                      <a:lnTo>
                        <a:pt x="56266" y="251199"/>
                      </a:lnTo>
                      <a:lnTo>
                        <a:pt x="54733" y="253726"/>
                      </a:lnTo>
                      <a:lnTo>
                        <a:pt x="52712" y="255152"/>
                      </a:lnTo>
                      <a:lnTo>
                        <a:pt x="50219" y="254867"/>
                      </a:lnTo>
                      <a:lnTo>
                        <a:pt x="47782" y="253742"/>
                      </a:lnTo>
                      <a:lnTo>
                        <a:pt x="45655" y="253514"/>
                      </a:lnTo>
                      <a:lnTo>
                        <a:pt x="44163" y="254182"/>
                      </a:lnTo>
                      <a:lnTo>
                        <a:pt x="43201" y="254801"/>
                      </a:lnTo>
                      <a:lnTo>
                        <a:pt x="42272" y="254687"/>
                      </a:lnTo>
                      <a:lnTo>
                        <a:pt x="39591" y="254924"/>
                      </a:lnTo>
                      <a:lnTo>
                        <a:pt x="37065" y="254875"/>
                      </a:lnTo>
                      <a:lnTo>
                        <a:pt x="36714" y="253880"/>
                      </a:lnTo>
                      <a:lnTo>
                        <a:pt x="37146" y="250914"/>
                      </a:lnTo>
                      <a:lnTo>
                        <a:pt x="36584" y="250107"/>
                      </a:lnTo>
                      <a:lnTo>
                        <a:pt x="34180" y="249692"/>
                      </a:lnTo>
                      <a:lnTo>
                        <a:pt x="33291" y="248982"/>
                      </a:lnTo>
                      <a:lnTo>
                        <a:pt x="31914" y="246937"/>
                      </a:lnTo>
                      <a:lnTo>
                        <a:pt x="31645" y="245975"/>
                      </a:lnTo>
                      <a:lnTo>
                        <a:pt x="31449" y="244647"/>
                      </a:lnTo>
                      <a:lnTo>
                        <a:pt x="29983" y="242935"/>
                      </a:lnTo>
                      <a:lnTo>
                        <a:pt x="28214" y="241713"/>
                      </a:lnTo>
                      <a:lnTo>
                        <a:pt x="27171" y="241656"/>
                      </a:lnTo>
                      <a:lnTo>
                        <a:pt x="25093" y="243653"/>
                      </a:lnTo>
                      <a:lnTo>
                        <a:pt x="23381" y="245682"/>
                      </a:lnTo>
                      <a:lnTo>
                        <a:pt x="23993" y="246701"/>
                      </a:lnTo>
                      <a:lnTo>
                        <a:pt x="24547" y="248037"/>
                      </a:lnTo>
                      <a:lnTo>
                        <a:pt x="23618" y="248999"/>
                      </a:lnTo>
                      <a:lnTo>
                        <a:pt x="20798" y="251199"/>
                      </a:lnTo>
                      <a:lnTo>
                        <a:pt x="20358" y="252047"/>
                      </a:lnTo>
                      <a:lnTo>
                        <a:pt x="19592" y="252511"/>
                      </a:lnTo>
                      <a:lnTo>
                        <a:pt x="18247" y="251908"/>
                      </a:lnTo>
                      <a:lnTo>
                        <a:pt x="14897" y="252047"/>
                      </a:lnTo>
                      <a:lnTo>
                        <a:pt x="13357" y="251664"/>
                      </a:lnTo>
                      <a:lnTo>
                        <a:pt x="11564" y="250042"/>
                      </a:lnTo>
                      <a:lnTo>
                        <a:pt x="7196" y="248966"/>
                      </a:lnTo>
                      <a:lnTo>
                        <a:pt x="6462" y="246375"/>
                      </a:lnTo>
                      <a:lnTo>
                        <a:pt x="5615" y="245885"/>
                      </a:lnTo>
                      <a:lnTo>
                        <a:pt x="660" y="241436"/>
                      </a:lnTo>
                      <a:lnTo>
                        <a:pt x="0" y="239953"/>
                      </a:lnTo>
                      <a:lnTo>
                        <a:pt x="644" y="239064"/>
                      </a:lnTo>
                      <a:lnTo>
                        <a:pt x="2502" y="237719"/>
                      </a:lnTo>
                      <a:lnTo>
                        <a:pt x="8712" y="235487"/>
                      </a:lnTo>
                      <a:lnTo>
                        <a:pt x="9690" y="234590"/>
                      </a:lnTo>
                      <a:lnTo>
                        <a:pt x="9885" y="233791"/>
                      </a:lnTo>
                      <a:lnTo>
                        <a:pt x="8060" y="232887"/>
                      </a:lnTo>
                      <a:lnTo>
                        <a:pt x="6422" y="231884"/>
                      </a:lnTo>
                      <a:lnTo>
                        <a:pt x="5860" y="231232"/>
                      </a:lnTo>
                      <a:lnTo>
                        <a:pt x="5810" y="230662"/>
                      </a:lnTo>
                      <a:lnTo>
                        <a:pt x="6748" y="229920"/>
                      </a:lnTo>
                      <a:lnTo>
                        <a:pt x="8622" y="229863"/>
                      </a:lnTo>
                      <a:lnTo>
                        <a:pt x="10106" y="230197"/>
                      </a:lnTo>
                      <a:lnTo>
                        <a:pt x="11279" y="229529"/>
                      </a:lnTo>
                      <a:lnTo>
                        <a:pt x="13349" y="228861"/>
                      </a:lnTo>
                      <a:lnTo>
                        <a:pt x="14743" y="228013"/>
                      </a:lnTo>
                      <a:lnTo>
                        <a:pt x="15932" y="225829"/>
                      </a:lnTo>
                      <a:lnTo>
                        <a:pt x="17196" y="223865"/>
                      </a:lnTo>
                      <a:lnTo>
                        <a:pt x="17326" y="222806"/>
                      </a:lnTo>
                      <a:lnTo>
                        <a:pt x="18434" y="219073"/>
                      </a:lnTo>
                      <a:lnTo>
                        <a:pt x="19046" y="218152"/>
                      </a:lnTo>
                      <a:lnTo>
                        <a:pt x="22966" y="215699"/>
                      </a:lnTo>
                      <a:lnTo>
                        <a:pt x="23960" y="217044"/>
                      </a:lnTo>
                      <a:lnTo>
                        <a:pt x="25891" y="217370"/>
                      </a:lnTo>
                      <a:lnTo>
                        <a:pt x="27619" y="216147"/>
                      </a:lnTo>
                      <a:lnTo>
                        <a:pt x="29689" y="212260"/>
                      </a:lnTo>
                      <a:lnTo>
                        <a:pt x="31132" y="212015"/>
                      </a:lnTo>
                      <a:lnTo>
                        <a:pt x="32721" y="212333"/>
                      </a:lnTo>
                      <a:lnTo>
                        <a:pt x="35851" y="211836"/>
                      </a:lnTo>
                      <a:lnTo>
                        <a:pt x="41400" y="210027"/>
                      </a:lnTo>
                      <a:lnTo>
                        <a:pt x="43886" y="209994"/>
                      </a:lnTo>
                      <a:close/>
                      <a:moveTo>
                        <a:pt x="49607" y="122776"/>
                      </a:moveTo>
                      <a:lnTo>
                        <a:pt x="49566" y="124495"/>
                      </a:lnTo>
                      <a:lnTo>
                        <a:pt x="49135" y="126516"/>
                      </a:lnTo>
                      <a:lnTo>
                        <a:pt x="49705" y="128668"/>
                      </a:lnTo>
                      <a:lnTo>
                        <a:pt x="49836" y="130200"/>
                      </a:lnTo>
                      <a:lnTo>
                        <a:pt x="50879" y="130689"/>
                      </a:lnTo>
                      <a:lnTo>
                        <a:pt x="51522" y="131390"/>
                      </a:lnTo>
                      <a:lnTo>
                        <a:pt x="56168" y="132180"/>
                      </a:lnTo>
                      <a:lnTo>
                        <a:pt x="60487" y="131960"/>
                      </a:lnTo>
                      <a:lnTo>
                        <a:pt x="61318" y="132596"/>
                      </a:lnTo>
                      <a:lnTo>
                        <a:pt x="61416" y="133598"/>
                      </a:lnTo>
                      <a:lnTo>
                        <a:pt x="60732" y="134707"/>
                      </a:lnTo>
                      <a:lnTo>
                        <a:pt x="58270" y="136720"/>
                      </a:lnTo>
                      <a:lnTo>
                        <a:pt x="55337" y="139980"/>
                      </a:lnTo>
                      <a:lnTo>
                        <a:pt x="54465" y="140656"/>
                      </a:lnTo>
                      <a:lnTo>
                        <a:pt x="53519" y="140681"/>
                      </a:lnTo>
                      <a:lnTo>
                        <a:pt x="52834" y="140387"/>
                      </a:lnTo>
                      <a:lnTo>
                        <a:pt x="52346" y="134593"/>
                      </a:lnTo>
                      <a:lnTo>
                        <a:pt x="49159" y="135334"/>
                      </a:lnTo>
                      <a:lnTo>
                        <a:pt x="46600" y="135245"/>
                      </a:lnTo>
                      <a:lnTo>
                        <a:pt x="45198" y="134544"/>
                      </a:lnTo>
                      <a:lnTo>
                        <a:pt x="44212" y="133183"/>
                      </a:lnTo>
                      <a:lnTo>
                        <a:pt x="42224" y="129687"/>
                      </a:lnTo>
                      <a:lnTo>
                        <a:pt x="36445" y="128309"/>
                      </a:lnTo>
                      <a:lnTo>
                        <a:pt x="34815" y="126386"/>
                      </a:lnTo>
                      <a:lnTo>
                        <a:pt x="34319" y="125212"/>
                      </a:lnTo>
                      <a:lnTo>
                        <a:pt x="34530" y="124569"/>
                      </a:lnTo>
                      <a:lnTo>
                        <a:pt x="35736" y="123134"/>
                      </a:lnTo>
                      <a:lnTo>
                        <a:pt x="37244" y="123648"/>
                      </a:lnTo>
                      <a:lnTo>
                        <a:pt x="38173" y="123338"/>
                      </a:lnTo>
                      <a:lnTo>
                        <a:pt x="38736" y="122686"/>
                      </a:lnTo>
                      <a:lnTo>
                        <a:pt x="38727" y="122164"/>
                      </a:lnTo>
                      <a:lnTo>
                        <a:pt x="37945" y="120917"/>
                      </a:lnTo>
                      <a:lnTo>
                        <a:pt x="37912" y="120526"/>
                      </a:lnTo>
                      <a:lnTo>
                        <a:pt x="43821" y="118953"/>
                      </a:lnTo>
                      <a:lnTo>
                        <a:pt x="44334" y="116476"/>
                      </a:lnTo>
                      <a:lnTo>
                        <a:pt x="45614" y="116272"/>
                      </a:lnTo>
                      <a:lnTo>
                        <a:pt x="47081" y="117087"/>
                      </a:lnTo>
                      <a:lnTo>
                        <a:pt x="49094" y="119646"/>
                      </a:lnTo>
                      <a:lnTo>
                        <a:pt x="49607" y="122776"/>
                      </a:lnTo>
                      <a:close/>
                      <a:moveTo>
                        <a:pt x="48263" y="89199"/>
                      </a:moveTo>
                      <a:lnTo>
                        <a:pt x="45109" y="96045"/>
                      </a:lnTo>
                      <a:lnTo>
                        <a:pt x="43878" y="96216"/>
                      </a:lnTo>
                      <a:lnTo>
                        <a:pt x="42794" y="97927"/>
                      </a:lnTo>
                      <a:lnTo>
                        <a:pt x="39436" y="99810"/>
                      </a:lnTo>
                      <a:lnTo>
                        <a:pt x="42362" y="99851"/>
                      </a:lnTo>
                      <a:lnTo>
                        <a:pt x="43185" y="100470"/>
                      </a:lnTo>
                      <a:lnTo>
                        <a:pt x="43209" y="101831"/>
                      </a:lnTo>
                      <a:lnTo>
                        <a:pt x="42647" y="102613"/>
                      </a:lnTo>
                      <a:lnTo>
                        <a:pt x="38857" y="105735"/>
                      </a:lnTo>
                      <a:lnTo>
                        <a:pt x="36242" y="106924"/>
                      </a:lnTo>
                      <a:lnTo>
                        <a:pt x="33438" y="110184"/>
                      </a:lnTo>
                      <a:lnTo>
                        <a:pt x="32020" y="110217"/>
                      </a:lnTo>
                      <a:lnTo>
                        <a:pt x="30618" y="112295"/>
                      </a:lnTo>
                      <a:lnTo>
                        <a:pt x="29461" y="113200"/>
                      </a:lnTo>
                      <a:lnTo>
                        <a:pt x="28809" y="113200"/>
                      </a:lnTo>
                      <a:lnTo>
                        <a:pt x="28059" y="112743"/>
                      </a:lnTo>
                      <a:lnTo>
                        <a:pt x="26323" y="110714"/>
                      </a:lnTo>
                      <a:lnTo>
                        <a:pt x="29486" y="108709"/>
                      </a:lnTo>
                      <a:lnTo>
                        <a:pt x="29779" y="107585"/>
                      </a:lnTo>
                      <a:lnTo>
                        <a:pt x="31947" y="106411"/>
                      </a:lnTo>
                      <a:lnTo>
                        <a:pt x="31767" y="106052"/>
                      </a:lnTo>
                      <a:lnTo>
                        <a:pt x="28337" y="104414"/>
                      </a:lnTo>
                      <a:lnTo>
                        <a:pt x="26984" y="103298"/>
                      </a:lnTo>
                      <a:lnTo>
                        <a:pt x="27106" y="102719"/>
                      </a:lnTo>
                      <a:lnTo>
                        <a:pt x="28760" y="101448"/>
                      </a:lnTo>
                      <a:lnTo>
                        <a:pt x="27978" y="101277"/>
                      </a:lnTo>
                      <a:lnTo>
                        <a:pt x="27448" y="100592"/>
                      </a:lnTo>
                      <a:lnTo>
                        <a:pt x="26487" y="100331"/>
                      </a:lnTo>
                      <a:lnTo>
                        <a:pt x="26201" y="99687"/>
                      </a:lnTo>
                      <a:lnTo>
                        <a:pt x="26022" y="98009"/>
                      </a:lnTo>
                      <a:lnTo>
                        <a:pt x="26275" y="96289"/>
                      </a:lnTo>
                      <a:lnTo>
                        <a:pt x="27277" y="95531"/>
                      </a:lnTo>
                      <a:lnTo>
                        <a:pt x="27684" y="94724"/>
                      </a:lnTo>
                      <a:lnTo>
                        <a:pt x="28092" y="94472"/>
                      </a:lnTo>
                      <a:lnTo>
                        <a:pt x="29632" y="94904"/>
                      </a:lnTo>
                      <a:lnTo>
                        <a:pt x="31205" y="96273"/>
                      </a:lnTo>
                      <a:lnTo>
                        <a:pt x="33039" y="95743"/>
                      </a:lnTo>
                      <a:lnTo>
                        <a:pt x="35166" y="96012"/>
                      </a:lnTo>
                      <a:lnTo>
                        <a:pt x="35215" y="95686"/>
                      </a:lnTo>
                      <a:lnTo>
                        <a:pt x="33650" y="92304"/>
                      </a:lnTo>
                      <a:lnTo>
                        <a:pt x="33927" y="91611"/>
                      </a:lnTo>
                      <a:lnTo>
                        <a:pt x="34775" y="90821"/>
                      </a:lnTo>
                      <a:lnTo>
                        <a:pt x="39689" y="88400"/>
                      </a:lnTo>
                      <a:lnTo>
                        <a:pt x="45809" y="84333"/>
                      </a:lnTo>
                      <a:lnTo>
                        <a:pt x="47293" y="83698"/>
                      </a:lnTo>
                      <a:lnTo>
                        <a:pt x="47741" y="84252"/>
                      </a:lnTo>
                      <a:lnTo>
                        <a:pt x="48369" y="86363"/>
                      </a:lnTo>
                      <a:lnTo>
                        <a:pt x="48263" y="89199"/>
                      </a:lnTo>
                      <a:close/>
                      <a:moveTo>
                        <a:pt x="124878" y="83225"/>
                      </a:moveTo>
                      <a:lnTo>
                        <a:pt x="125090" y="86436"/>
                      </a:lnTo>
                      <a:lnTo>
                        <a:pt x="124797" y="87414"/>
                      </a:lnTo>
                      <a:lnTo>
                        <a:pt x="124210" y="88620"/>
                      </a:lnTo>
                      <a:lnTo>
                        <a:pt x="122336" y="90853"/>
                      </a:lnTo>
                      <a:lnTo>
                        <a:pt x="117413" y="94056"/>
                      </a:lnTo>
                      <a:lnTo>
                        <a:pt x="108383" y="101407"/>
                      </a:lnTo>
                      <a:lnTo>
                        <a:pt x="103053" y="105050"/>
                      </a:lnTo>
                      <a:lnTo>
                        <a:pt x="102311" y="106802"/>
                      </a:lnTo>
                      <a:lnTo>
                        <a:pt x="101920" y="109239"/>
                      </a:lnTo>
                      <a:lnTo>
                        <a:pt x="105115" y="109720"/>
                      </a:lnTo>
                      <a:lnTo>
                        <a:pt x="106345" y="110543"/>
                      </a:lnTo>
                      <a:lnTo>
                        <a:pt x="105579" y="111774"/>
                      </a:lnTo>
                      <a:lnTo>
                        <a:pt x="100853" y="116069"/>
                      </a:lnTo>
                      <a:lnTo>
                        <a:pt x="99459" y="119940"/>
                      </a:lnTo>
                      <a:lnTo>
                        <a:pt x="103077" y="119801"/>
                      </a:lnTo>
                      <a:lnTo>
                        <a:pt x="106060" y="119059"/>
                      </a:lnTo>
                      <a:lnTo>
                        <a:pt x="112010" y="116639"/>
                      </a:lnTo>
                      <a:lnTo>
                        <a:pt x="117601" y="114846"/>
                      </a:lnTo>
                      <a:lnTo>
                        <a:pt x="120290" y="114773"/>
                      </a:lnTo>
                      <a:lnTo>
                        <a:pt x="125514" y="116199"/>
                      </a:lnTo>
                      <a:lnTo>
                        <a:pt x="126704" y="116248"/>
                      </a:lnTo>
                      <a:lnTo>
                        <a:pt x="128920" y="115579"/>
                      </a:lnTo>
                      <a:lnTo>
                        <a:pt x="131162" y="115465"/>
                      </a:lnTo>
                      <a:lnTo>
                        <a:pt x="146345" y="115905"/>
                      </a:lnTo>
                      <a:lnTo>
                        <a:pt x="150566" y="115058"/>
                      </a:lnTo>
                      <a:lnTo>
                        <a:pt x="153353" y="116069"/>
                      </a:lnTo>
                      <a:lnTo>
                        <a:pt x="155692" y="118579"/>
                      </a:lnTo>
                      <a:lnTo>
                        <a:pt x="157909" y="123200"/>
                      </a:lnTo>
                      <a:lnTo>
                        <a:pt x="157844" y="123966"/>
                      </a:lnTo>
                      <a:lnTo>
                        <a:pt x="156499" y="126068"/>
                      </a:lnTo>
                      <a:lnTo>
                        <a:pt x="154022" y="128701"/>
                      </a:lnTo>
                      <a:lnTo>
                        <a:pt x="151895" y="132335"/>
                      </a:lnTo>
                      <a:lnTo>
                        <a:pt x="151267" y="134291"/>
                      </a:lnTo>
                      <a:lnTo>
                        <a:pt x="150851" y="136435"/>
                      </a:lnTo>
                      <a:lnTo>
                        <a:pt x="150175" y="138415"/>
                      </a:lnTo>
                      <a:lnTo>
                        <a:pt x="145937" y="147689"/>
                      </a:lnTo>
                      <a:lnTo>
                        <a:pt x="141814" y="152816"/>
                      </a:lnTo>
                      <a:lnTo>
                        <a:pt x="139972" y="156450"/>
                      </a:lnTo>
                      <a:lnTo>
                        <a:pt x="137689" y="159352"/>
                      </a:lnTo>
                      <a:lnTo>
                        <a:pt x="135497" y="161177"/>
                      </a:lnTo>
                      <a:lnTo>
                        <a:pt x="133158" y="162383"/>
                      </a:lnTo>
                      <a:lnTo>
                        <a:pt x="126410" y="163679"/>
                      </a:lnTo>
                      <a:lnTo>
                        <a:pt x="124520" y="164608"/>
                      </a:lnTo>
                      <a:lnTo>
                        <a:pt x="122262" y="166206"/>
                      </a:lnTo>
                      <a:lnTo>
                        <a:pt x="119891" y="166996"/>
                      </a:lnTo>
                      <a:lnTo>
                        <a:pt x="122669" y="166898"/>
                      </a:lnTo>
                      <a:lnTo>
                        <a:pt x="125424" y="166018"/>
                      </a:lnTo>
                      <a:lnTo>
                        <a:pt x="130428" y="165692"/>
                      </a:lnTo>
                      <a:lnTo>
                        <a:pt x="136198" y="168748"/>
                      </a:lnTo>
                      <a:lnTo>
                        <a:pt x="135668" y="171250"/>
                      </a:lnTo>
                      <a:lnTo>
                        <a:pt x="133354" y="173223"/>
                      </a:lnTo>
                      <a:lnTo>
                        <a:pt x="128089" y="173532"/>
                      </a:lnTo>
                      <a:lnTo>
                        <a:pt x="123167" y="177917"/>
                      </a:lnTo>
                      <a:lnTo>
                        <a:pt x="120950" y="179270"/>
                      </a:lnTo>
                      <a:lnTo>
                        <a:pt x="118603" y="179938"/>
                      </a:lnTo>
                      <a:lnTo>
                        <a:pt x="115677" y="179742"/>
                      </a:lnTo>
                      <a:lnTo>
                        <a:pt x="110347" y="178569"/>
                      </a:lnTo>
                      <a:lnTo>
                        <a:pt x="108016" y="177346"/>
                      </a:lnTo>
                      <a:lnTo>
                        <a:pt x="110119" y="179343"/>
                      </a:lnTo>
                      <a:lnTo>
                        <a:pt x="112507" y="180386"/>
                      </a:lnTo>
                      <a:lnTo>
                        <a:pt x="126378" y="182839"/>
                      </a:lnTo>
                      <a:lnTo>
                        <a:pt x="127209" y="182587"/>
                      </a:lnTo>
                      <a:lnTo>
                        <a:pt x="131634" y="179995"/>
                      </a:lnTo>
                      <a:lnTo>
                        <a:pt x="137518" y="179954"/>
                      </a:lnTo>
                      <a:lnTo>
                        <a:pt x="148741" y="184730"/>
                      </a:lnTo>
                      <a:lnTo>
                        <a:pt x="151968" y="188373"/>
                      </a:lnTo>
                      <a:lnTo>
                        <a:pt x="156589" y="193597"/>
                      </a:lnTo>
                      <a:lnTo>
                        <a:pt x="159107" y="195634"/>
                      </a:lnTo>
                      <a:lnTo>
                        <a:pt x="160924" y="197476"/>
                      </a:lnTo>
                      <a:lnTo>
                        <a:pt x="162049" y="200239"/>
                      </a:lnTo>
                      <a:lnTo>
                        <a:pt x="164217" y="209350"/>
                      </a:lnTo>
                      <a:lnTo>
                        <a:pt x="166694" y="218234"/>
                      </a:lnTo>
                      <a:lnTo>
                        <a:pt x="169946" y="227834"/>
                      </a:lnTo>
                      <a:lnTo>
                        <a:pt x="171413" y="230507"/>
                      </a:lnTo>
                      <a:lnTo>
                        <a:pt x="173353" y="232373"/>
                      </a:lnTo>
                      <a:lnTo>
                        <a:pt x="183149" y="236660"/>
                      </a:lnTo>
                      <a:lnTo>
                        <a:pt x="185333" y="238078"/>
                      </a:lnTo>
                      <a:lnTo>
                        <a:pt x="189131" y="242202"/>
                      </a:lnTo>
                      <a:lnTo>
                        <a:pt x="192798" y="246578"/>
                      </a:lnTo>
                      <a:lnTo>
                        <a:pt x="196204" y="249944"/>
                      </a:lnTo>
                      <a:lnTo>
                        <a:pt x="199888" y="252666"/>
                      </a:lnTo>
                      <a:lnTo>
                        <a:pt x="198104" y="254076"/>
                      </a:lnTo>
                      <a:lnTo>
                        <a:pt x="196881" y="256301"/>
                      </a:lnTo>
                      <a:lnTo>
                        <a:pt x="197794" y="259324"/>
                      </a:lnTo>
                      <a:lnTo>
                        <a:pt x="199293" y="262209"/>
                      </a:lnTo>
                      <a:lnTo>
                        <a:pt x="202244" y="266814"/>
                      </a:lnTo>
                      <a:lnTo>
                        <a:pt x="204843" y="271834"/>
                      </a:lnTo>
                      <a:lnTo>
                        <a:pt x="203890" y="271076"/>
                      </a:lnTo>
                      <a:lnTo>
                        <a:pt x="202879" y="270661"/>
                      </a:lnTo>
                      <a:lnTo>
                        <a:pt x="201502" y="270783"/>
                      </a:lnTo>
                      <a:lnTo>
                        <a:pt x="200157" y="270547"/>
                      </a:lnTo>
                      <a:lnTo>
                        <a:pt x="197671" y="268974"/>
                      </a:lnTo>
                      <a:lnTo>
                        <a:pt x="195284" y="267042"/>
                      </a:lnTo>
                      <a:lnTo>
                        <a:pt x="190532" y="267817"/>
                      </a:lnTo>
                      <a:lnTo>
                        <a:pt x="187900" y="267474"/>
                      </a:lnTo>
                      <a:lnTo>
                        <a:pt x="185610" y="267523"/>
                      </a:lnTo>
                      <a:lnTo>
                        <a:pt x="189945" y="268640"/>
                      </a:lnTo>
                      <a:lnTo>
                        <a:pt x="194697" y="268713"/>
                      </a:lnTo>
                      <a:lnTo>
                        <a:pt x="205169" y="277132"/>
                      </a:lnTo>
                      <a:lnTo>
                        <a:pt x="208715" y="282119"/>
                      </a:lnTo>
                      <a:lnTo>
                        <a:pt x="210809" y="288688"/>
                      </a:lnTo>
                      <a:lnTo>
                        <a:pt x="209383" y="291638"/>
                      </a:lnTo>
                      <a:lnTo>
                        <a:pt x="207150" y="293545"/>
                      </a:lnTo>
                      <a:lnTo>
                        <a:pt x="205080" y="295737"/>
                      </a:lnTo>
                      <a:lnTo>
                        <a:pt x="203132" y="298199"/>
                      </a:lnTo>
                      <a:lnTo>
                        <a:pt x="208926" y="301817"/>
                      </a:lnTo>
                      <a:lnTo>
                        <a:pt x="210181" y="301703"/>
                      </a:lnTo>
                      <a:lnTo>
                        <a:pt x="211461" y="301198"/>
                      </a:lnTo>
                      <a:lnTo>
                        <a:pt x="212691" y="299967"/>
                      </a:lnTo>
                      <a:lnTo>
                        <a:pt x="214778" y="296968"/>
                      </a:lnTo>
                      <a:lnTo>
                        <a:pt x="215854" y="295900"/>
                      </a:lnTo>
                      <a:lnTo>
                        <a:pt x="219464" y="295517"/>
                      </a:lnTo>
                      <a:lnTo>
                        <a:pt x="222488" y="295746"/>
                      </a:lnTo>
                      <a:lnTo>
                        <a:pt x="225511" y="296414"/>
                      </a:lnTo>
                      <a:lnTo>
                        <a:pt x="228168" y="296202"/>
                      </a:lnTo>
                      <a:lnTo>
                        <a:pt x="233514" y="297490"/>
                      </a:lnTo>
                      <a:lnTo>
                        <a:pt x="236261" y="298647"/>
                      </a:lnTo>
                      <a:lnTo>
                        <a:pt x="243074" y="303863"/>
                      </a:lnTo>
                      <a:lnTo>
                        <a:pt x="244549" y="306715"/>
                      </a:lnTo>
                      <a:lnTo>
                        <a:pt x="245225" y="310391"/>
                      </a:lnTo>
                      <a:lnTo>
                        <a:pt x="245307" y="314466"/>
                      </a:lnTo>
                      <a:lnTo>
                        <a:pt x="244158" y="318190"/>
                      </a:lnTo>
                      <a:lnTo>
                        <a:pt x="242846" y="321548"/>
                      </a:lnTo>
                      <a:lnTo>
                        <a:pt x="242031" y="325883"/>
                      </a:lnTo>
                      <a:lnTo>
                        <a:pt x="241452" y="327440"/>
                      </a:lnTo>
                      <a:lnTo>
                        <a:pt x="240653" y="328654"/>
                      </a:lnTo>
                      <a:lnTo>
                        <a:pt x="237035" y="332069"/>
                      </a:lnTo>
                      <a:lnTo>
                        <a:pt x="234639" y="333471"/>
                      </a:lnTo>
                      <a:lnTo>
                        <a:pt x="233628" y="332851"/>
                      </a:lnTo>
                      <a:lnTo>
                        <a:pt x="232552" y="332941"/>
                      </a:lnTo>
                      <a:lnTo>
                        <a:pt x="232430" y="333756"/>
                      </a:lnTo>
                      <a:lnTo>
                        <a:pt x="233571" y="335500"/>
                      </a:lnTo>
                      <a:lnTo>
                        <a:pt x="233588" y="337594"/>
                      </a:lnTo>
                      <a:lnTo>
                        <a:pt x="231452" y="339151"/>
                      </a:lnTo>
                      <a:lnTo>
                        <a:pt x="229284" y="339819"/>
                      </a:lnTo>
                      <a:lnTo>
                        <a:pt x="225666" y="338980"/>
                      </a:lnTo>
                      <a:lnTo>
                        <a:pt x="220646" y="341881"/>
                      </a:lnTo>
                      <a:lnTo>
                        <a:pt x="224256" y="343373"/>
                      </a:lnTo>
                      <a:lnTo>
                        <a:pt x="224981" y="344946"/>
                      </a:lnTo>
                      <a:lnTo>
                        <a:pt x="224085" y="347725"/>
                      </a:lnTo>
                      <a:lnTo>
                        <a:pt x="221811" y="348963"/>
                      </a:lnTo>
                      <a:lnTo>
                        <a:pt x="219285" y="349509"/>
                      </a:lnTo>
                      <a:lnTo>
                        <a:pt x="216701" y="349640"/>
                      </a:lnTo>
                      <a:lnTo>
                        <a:pt x="214566" y="350316"/>
                      </a:lnTo>
                      <a:lnTo>
                        <a:pt x="212512" y="351628"/>
                      </a:lnTo>
                      <a:lnTo>
                        <a:pt x="215080" y="350936"/>
                      </a:lnTo>
                      <a:lnTo>
                        <a:pt x="216864" y="351547"/>
                      </a:lnTo>
                      <a:lnTo>
                        <a:pt x="217997" y="353886"/>
                      </a:lnTo>
                      <a:lnTo>
                        <a:pt x="219008" y="354546"/>
                      </a:lnTo>
                      <a:lnTo>
                        <a:pt x="224036" y="355556"/>
                      </a:lnTo>
                      <a:lnTo>
                        <a:pt x="227149" y="355548"/>
                      </a:lnTo>
                      <a:lnTo>
                        <a:pt x="233155" y="354978"/>
                      </a:lnTo>
                      <a:lnTo>
                        <a:pt x="236040" y="354994"/>
                      </a:lnTo>
                      <a:lnTo>
                        <a:pt x="237067" y="355418"/>
                      </a:lnTo>
                      <a:lnTo>
                        <a:pt x="237092" y="357349"/>
                      </a:lnTo>
                      <a:lnTo>
                        <a:pt x="236644" y="362093"/>
                      </a:lnTo>
                      <a:lnTo>
                        <a:pt x="235845" y="363071"/>
                      </a:lnTo>
                      <a:lnTo>
                        <a:pt x="227875" y="367048"/>
                      </a:lnTo>
                      <a:lnTo>
                        <a:pt x="226245" y="369827"/>
                      </a:lnTo>
                      <a:lnTo>
                        <a:pt x="225780" y="371514"/>
                      </a:lnTo>
                      <a:lnTo>
                        <a:pt x="221135" y="371212"/>
                      </a:lnTo>
                      <a:lnTo>
                        <a:pt x="218942" y="372981"/>
                      </a:lnTo>
                      <a:lnTo>
                        <a:pt x="215177" y="374171"/>
                      </a:lnTo>
                      <a:lnTo>
                        <a:pt x="212251" y="375426"/>
                      </a:lnTo>
                      <a:lnTo>
                        <a:pt x="209399" y="377015"/>
                      </a:lnTo>
                      <a:lnTo>
                        <a:pt x="207052" y="377487"/>
                      </a:lnTo>
                      <a:lnTo>
                        <a:pt x="196905" y="375605"/>
                      </a:lnTo>
                      <a:lnTo>
                        <a:pt x="190785" y="375760"/>
                      </a:lnTo>
                      <a:lnTo>
                        <a:pt x="182489" y="377406"/>
                      </a:lnTo>
                      <a:lnTo>
                        <a:pt x="180353" y="377137"/>
                      </a:lnTo>
                      <a:lnTo>
                        <a:pt x="177151" y="375564"/>
                      </a:lnTo>
                      <a:lnTo>
                        <a:pt x="173866" y="374505"/>
                      </a:lnTo>
                      <a:lnTo>
                        <a:pt x="170093" y="374032"/>
                      </a:lnTo>
                      <a:lnTo>
                        <a:pt x="166841" y="372581"/>
                      </a:lnTo>
                      <a:lnTo>
                        <a:pt x="168879" y="375368"/>
                      </a:lnTo>
                      <a:lnTo>
                        <a:pt x="164356" y="378066"/>
                      </a:lnTo>
                      <a:lnTo>
                        <a:pt x="162269" y="378596"/>
                      </a:lnTo>
                      <a:lnTo>
                        <a:pt x="160110" y="378514"/>
                      </a:lnTo>
                      <a:lnTo>
                        <a:pt x="155692" y="379240"/>
                      </a:lnTo>
                      <a:lnTo>
                        <a:pt x="151601" y="378873"/>
                      </a:lnTo>
                      <a:lnTo>
                        <a:pt x="152221" y="380780"/>
                      </a:lnTo>
                      <a:lnTo>
                        <a:pt x="153312" y="382443"/>
                      </a:lnTo>
                      <a:lnTo>
                        <a:pt x="152424" y="383168"/>
                      </a:lnTo>
                      <a:lnTo>
                        <a:pt x="151487" y="383347"/>
                      </a:lnTo>
                      <a:lnTo>
                        <a:pt x="143688" y="382092"/>
                      </a:lnTo>
                      <a:lnTo>
                        <a:pt x="142587" y="382328"/>
                      </a:lnTo>
                      <a:lnTo>
                        <a:pt x="141626" y="383494"/>
                      </a:lnTo>
                      <a:lnTo>
                        <a:pt x="138782" y="382866"/>
                      </a:lnTo>
                      <a:lnTo>
                        <a:pt x="136027" y="380902"/>
                      </a:lnTo>
                      <a:lnTo>
                        <a:pt x="133101" y="379590"/>
                      </a:lnTo>
                      <a:lnTo>
                        <a:pt x="130029" y="378971"/>
                      </a:lnTo>
                      <a:lnTo>
                        <a:pt x="127584" y="379174"/>
                      </a:lnTo>
                      <a:lnTo>
                        <a:pt x="117535" y="382263"/>
                      </a:lnTo>
                      <a:lnTo>
                        <a:pt x="115530" y="385352"/>
                      </a:lnTo>
                      <a:lnTo>
                        <a:pt x="114520" y="389736"/>
                      </a:lnTo>
                      <a:lnTo>
                        <a:pt x="113078" y="393624"/>
                      </a:lnTo>
                      <a:lnTo>
                        <a:pt x="110706" y="396615"/>
                      </a:lnTo>
                      <a:lnTo>
                        <a:pt x="107894" y="397006"/>
                      </a:lnTo>
                      <a:lnTo>
                        <a:pt x="105246" y="394936"/>
                      </a:lnTo>
                      <a:lnTo>
                        <a:pt x="100201" y="392654"/>
                      </a:lnTo>
                      <a:lnTo>
                        <a:pt x="98481" y="391114"/>
                      </a:lnTo>
                      <a:lnTo>
                        <a:pt x="97935" y="391016"/>
                      </a:lnTo>
                      <a:lnTo>
                        <a:pt x="97373" y="391570"/>
                      </a:lnTo>
                      <a:lnTo>
                        <a:pt x="95401" y="392263"/>
                      </a:lnTo>
                      <a:lnTo>
                        <a:pt x="93355" y="392296"/>
                      </a:lnTo>
                      <a:lnTo>
                        <a:pt x="90201" y="392915"/>
                      </a:lnTo>
                      <a:lnTo>
                        <a:pt x="84716" y="394773"/>
                      </a:lnTo>
                      <a:lnTo>
                        <a:pt x="82500" y="396036"/>
                      </a:lnTo>
                      <a:lnTo>
                        <a:pt x="77732" y="399508"/>
                      </a:lnTo>
                      <a:lnTo>
                        <a:pt x="76762" y="400478"/>
                      </a:lnTo>
                      <a:lnTo>
                        <a:pt x="75034" y="403974"/>
                      </a:lnTo>
                      <a:lnTo>
                        <a:pt x="72386" y="404602"/>
                      </a:lnTo>
                      <a:lnTo>
                        <a:pt x="69965" y="402352"/>
                      </a:lnTo>
                      <a:lnTo>
                        <a:pt x="67219" y="401570"/>
                      </a:lnTo>
                      <a:lnTo>
                        <a:pt x="64309" y="402336"/>
                      </a:lnTo>
                      <a:lnTo>
                        <a:pt x="62557" y="403526"/>
                      </a:lnTo>
                      <a:lnTo>
                        <a:pt x="61734" y="402556"/>
                      </a:lnTo>
                      <a:lnTo>
                        <a:pt x="61709" y="400559"/>
                      </a:lnTo>
                      <a:lnTo>
                        <a:pt x="63836" y="398180"/>
                      </a:lnTo>
                      <a:lnTo>
                        <a:pt x="69501" y="396387"/>
                      </a:lnTo>
                      <a:lnTo>
                        <a:pt x="74472" y="391725"/>
                      </a:lnTo>
                      <a:lnTo>
                        <a:pt x="76917" y="388881"/>
                      </a:lnTo>
                      <a:lnTo>
                        <a:pt x="77887" y="387283"/>
                      </a:lnTo>
                      <a:lnTo>
                        <a:pt x="79076" y="386257"/>
                      </a:lnTo>
                      <a:lnTo>
                        <a:pt x="80633" y="385873"/>
                      </a:lnTo>
                      <a:lnTo>
                        <a:pt x="81432" y="384105"/>
                      </a:lnTo>
                      <a:lnTo>
                        <a:pt x="88335" y="376982"/>
                      </a:lnTo>
                      <a:lnTo>
                        <a:pt x="88897" y="375336"/>
                      </a:lnTo>
                      <a:lnTo>
                        <a:pt x="89239" y="372418"/>
                      </a:lnTo>
                      <a:lnTo>
                        <a:pt x="89810" y="369598"/>
                      </a:lnTo>
                      <a:lnTo>
                        <a:pt x="95433" y="367765"/>
                      </a:lnTo>
                      <a:lnTo>
                        <a:pt x="98115" y="361824"/>
                      </a:lnTo>
                      <a:lnTo>
                        <a:pt x="98856" y="361351"/>
                      </a:lnTo>
                      <a:lnTo>
                        <a:pt x="106688" y="360259"/>
                      </a:lnTo>
                      <a:lnTo>
                        <a:pt x="112507" y="360349"/>
                      </a:lnTo>
                      <a:lnTo>
                        <a:pt x="118277" y="361506"/>
                      </a:lnTo>
                      <a:lnTo>
                        <a:pt x="121235" y="361612"/>
                      </a:lnTo>
                      <a:lnTo>
                        <a:pt x="124210" y="361212"/>
                      </a:lnTo>
                      <a:lnTo>
                        <a:pt x="126541" y="359607"/>
                      </a:lnTo>
                      <a:lnTo>
                        <a:pt x="130526" y="353821"/>
                      </a:lnTo>
                      <a:lnTo>
                        <a:pt x="132767" y="351278"/>
                      </a:lnTo>
                      <a:lnTo>
                        <a:pt x="135334" y="348971"/>
                      </a:lnTo>
                      <a:lnTo>
                        <a:pt x="137730" y="346339"/>
                      </a:lnTo>
                      <a:lnTo>
                        <a:pt x="141634" y="341457"/>
                      </a:lnTo>
                      <a:lnTo>
                        <a:pt x="138994" y="343136"/>
                      </a:lnTo>
                      <a:lnTo>
                        <a:pt x="135815" y="345809"/>
                      </a:lnTo>
                      <a:lnTo>
                        <a:pt x="133965" y="347350"/>
                      </a:lnTo>
                      <a:lnTo>
                        <a:pt x="128106" y="348906"/>
                      </a:lnTo>
                      <a:lnTo>
                        <a:pt x="125579" y="350504"/>
                      </a:lnTo>
                      <a:lnTo>
                        <a:pt x="121154" y="354081"/>
                      </a:lnTo>
                      <a:lnTo>
                        <a:pt x="120306" y="354383"/>
                      </a:lnTo>
                      <a:lnTo>
                        <a:pt x="113632" y="353519"/>
                      </a:lnTo>
                      <a:lnTo>
                        <a:pt x="108660" y="348874"/>
                      </a:lnTo>
                      <a:lnTo>
                        <a:pt x="105490" y="346959"/>
                      </a:lnTo>
                      <a:lnTo>
                        <a:pt x="104178" y="346747"/>
                      </a:lnTo>
                      <a:lnTo>
                        <a:pt x="102817" y="347317"/>
                      </a:lnTo>
                      <a:lnTo>
                        <a:pt x="99915" y="347896"/>
                      </a:lnTo>
                      <a:lnTo>
                        <a:pt x="96957" y="347798"/>
                      </a:lnTo>
                      <a:lnTo>
                        <a:pt x="98473" y="345646"/>
                      </a:lnTo>
                      <a:lnTo>
                        <a:pt x="100519" y="344440"/>
                      </a:lnTo>
                      <a:lnTo>
                        <a:pt x="95922" y="343601"/>
                      </a:lnTo>
                      <a:lnTo>
                        <a:pt x="94651" y="342941"/>
                      </a:lnTo>
                      <a:lnTo>
                        <a:pt x="93192" y="341433"/>
                      </a:lnTo>
                      <a:lnTo>
                        <a:pt x="89598" y="341172"/>
                      </a:lnTo>
                      <a:lnTo>
                        <a:pt x="87878" y="341555"/>
                      </a:lnTo>
                      <a:lnTo>
                        <a:pt x="84977" y="343544"/>
                      </a:lnTo>
                      <a:lnTo>
                        <a:pt x="80397" y="345671"/>
                      </a:lnTo>
                      <a:lnTo>
                        <a:pt x="74880" y="342729"/>
                      </a:lnTo>
                      <a:lnTo>
                        <a:pt x="73796" y="341441"/>
                      </a:lnTo>
                      <a:lnTo>
                        <a:pt x="73820" y="338947"/>
                      </a:lnTo>
                      <a:lnTo>
                        <a:pt x="72997" y="336975"/>
                      </a:lnTo>
                      <a:lnTo>
                        <a:pt x="71465" y="336282"/>
                      </a:lnTo>
                      <a:lnTo>
                        <a:pt x="73429" y="333715"/>
                      </a:lnTo>
                      <a:lnTo>
                        <a:pt x="75792" y="332004"/>
                      </a:lnTo>
                      <a:lnTo>
                        <a:pt x="80992" y="330300"/>
                      </a:lnTo>
                      <a:lnTo>
                        <a:pt x="88865" y="326250"/>
                      </a:lnTo>
                      <a:lnTo>
                        <a:pt x="93273" y="324530"/>
                      </a:lnTo>
                      <a:lnTo>
                        <a:pt x="97381" y="321556"/>
                      </a:lnTo>
                      <a:lnTo>
                        <a:pt x="99076" y="319738"/>
                      </a:lnTo>
                      <a:lnTo>
                        <a:pt x="100307" y="317253"/>
                      </a:lnTo>
                      <a:lnTo>
                        <a:pt x="101529" y="314205"/>
                      </a:lnTo>
                      <a:lnTo>
                        <a:pt x="103265" y="311719"/>
                      </a:lnTo>
                      <a:lnTo>
                        <a:pt x="101570" y="311132"/>
                      </a:lnTo>
                      <a:lnTo>
                        <a:pt x="100812" y="309258"/>
                      </a:lnTo>
                      <a:lnTo>
                        <a:pt x="101016" y="307359"/>
                      </a:lnTo>
                      <a:lnTo>
                        <a:pt x="101798" y="305672"/>
                      </a:lnTo>
                      <a:lnTo>
                        <a:pt x="101105" y="303553"/>
                      </a:lnTo>
                      <a:lnTo>
                        <a:pt x="99859" y="301344"/>
                      </a:lnTo>
                      <a:lnTo>
                        <a:pt x="99932" y="299625"/>
                      </a:lnTo>
                      <a:lnTo>
                        <a:pt x="100266" y="297783"/>
                      </a:lnTo>
                      <a:lnTo>
                        <a:pt x="97096" y="297881"/>
                      </a:lnTo>
                      <a:lnTo>
                        <a:pt x="93942" y="298451"/>
                      </a:lnTo>
                      <a:lnTo>
                        <a:pt x="91073" y="299763"/>
                      </a:lnTo>
                      <a:lnTo>
                        <a:pt x="88302" y="301532"/>
                      </a:lnTo>
                      <a:lnTo>
                        <a:pt x="85833" y="301866"/>
                      </a:lnTo>
                      <a:lnTo>
                        <a:pt x="85874" y="300448"/>
                      </a:lnTo>
                      <a:lnTo>
                        <a:pt x="86941" y="298696"/>
                      </a:lnTo>
                      <a:lnTo>
                        <a:pt x="89728" y="296186"/>
                      </a:lnTo>
                      <a:lnTo>
                        <a:pt x="92719" y="294108"/>
                      </a:lnTo>
                      <a:lnTo>
                        <a:pt x="93779" y="292526"/>
                      </a:lnTo>
                      <a:lnTo>
                        <a:pt x="94618" y="290693"/>
                      </a:lnTo>
                      <a:lnTo>
                        <a:pt x="96110" y="289218"/>
                      </a:lnTo>
                      <a:lnTo>
                        <a:pt x="100013" y="286422"/>
                      </a:lnTo>
                      <a:lnTo>
                        <a:pt x="107494" y="283293"/>
                      </a:lnTo>
                      <a:lnTo>
                        <a:pt x="108619" y="283105"/>
                      </a:lnTo>
                      <a:lnTo>
                        <a:pt x="111545" y="283472"/>
                      </a:lnTo>
                      <a:lnTo>
                        <a:pt x="114430" y="282991"/>
                      </a:lnTo>
                      <a:lnTo>
                        <a:pt x="116956" y="281867"/>
                      </a:lnTo>
                      <a:lnTo>
                        <a:pt x="119483" y="281622"/>
                      </a:lnTo>
                      <a:lnTo>
                        <a:pt x="125155" y="284874"/>
                      </a:lnTo>
                      <a:lnTo>
                        <a:pt x="123460" y="279837"/>
                      </a:lnTo>
                      <a:lnTo>
                        <a:pt x="125962" y="278631"/>
                      </a:lnTo>
                      <a:lnTo>
                        <a:pt x="129589" y="283187"/>
                      </a:lnTo>
                      <a:lnTo>
                        <a:pt x="130941" y="283668"/>
                      </a:lnTo>
                      <a:lnTo>
                        <a:pt x="133786" y="283008"/>
                      </a:lnTo>
                      <a:lnTo>
                        <a:pt x="132694" y="282242"/>
                      </a:lnTo>
                      <a:lnTo>
                        <a:pt x="131406" y="282201"/>
                      </a:lnTo>
                      <a:lnTo>
                        <a:pt x="129727" y="281516"/>
                      </a:lnTo>
                      <a:lnTo>
                        <a:pt x="128325" y="280049"/>
                      </a:lnTo>
                      <a:lnTo>
                        <a:pt x="125970" y="275412"/>
                      </a:lnTo>
                      <a:lnTo>
                        <a:pt x="126101" y="272649"/>
                      </a:lnTo>
                      <a:lnTo>
                        <a:pt x="127673" y="269781"/>
                      </a:lnTo>
                      <a:lnTo>
                        <a:pt x="129426" y="267140"/>
                      </a:lnTo>
                      <a:lnTo>
                        <a:pt x="127959" y="266610"/>
                      </a:lnTo>
                      <a:lnTo>
                        <a:pt x="126777" y="265600"/>
                      </a:lnTo>
                      <a:lnTo>
                        <a:pt x="126435" y="262951"/>
                      </a:lnTo>
                      <a:lnTo>
                        <a:pt x="126899" y="260612"/>
                      </a:lnTo>
                      <a:lnTo>
                        <a:pt x="130045" y="258550"/>
                      </a:lnTo>
                      <a:lnTo>
                        <a:pt x="130974" y="255413"/>
                      </a:lnTo>
                      <a:lnTo>
                        <a:pt x="131374" y="251965"/>
                      </a:lnTo>
                      <a:lnTo>
                        <a:pt x="130852" y="250384"/>
                      </a:lnTo>
                      <a:lnTo>
                        <a:pt x="127731" y="250637"/>
                      </a:lnTo>
                      <a:lnTo>
                        <a:pt x="126215" y="251281"/>
                      </a:lnTo>
                      <a:lnTo>
                        <a:pt x="124853" y="252299"/>
                      </a:lnTo>
                      <a:lnTo>
                        <a:pt x="123452" y="252234"/>
                      </a:lnTo>
                      <a:lnTo>
                        <a:pt x="119597" y="248420"/>
                      </a:lnTo>
                      <a:lnTo>
                        <a:pt x="117397" y="245527"/>
                      </a:lnTo>
                      <a:lnTo>
                        <a:pt x="113452" y="239398"/>
                      </a:lnTo>
                      <a:lnTo>
                        <a:pt x="112890" y="235731"/>
                      </a:lnTo>
                      <a:lnTo>
                        <a:pt x="116052" y="227818"/>
                      </a:lnTo>
                      <a:lnTo>
                        <a:pt x="120934" y="222748"/>
                      </a:lnTo>
                      <a:lnTo>
                        <a:pt x="126679" y="220972"/>
                      </a:lnTo>
                      <a:lnTo>
                        <a:pt x="125571" y="220638"/>
                      </a:lnTo>
                      <a:lnTo>
                        <a:pt x="116810" y="220564"/>
                      </a:lnTo>
                      <a:lnTo>
                        <a:pt x="113925" y="221192"/>
                      </a:lnTo>
                      <a:lnTo>
                        <a:pt x="111244" y="223262"/>
                      </a:lnTo>
                      <a:lnTo>
                        <a:pt x="109728" y="223906"/>
                      </a:lnTo>
                      <a:lnTo>
                        <a:pt x="108147" y="224134"/>
                      </a:lnTo>
                      <a:lnTo>
                        <a:pt x="106696" y="225169"/>
                      </a:lnTo>
                      <a:lnTo>
                        <a:pt x="105286" y="226603"/>
                      </a:lnTo>
                      <a:lnTo>
                        <a:pt x="103811" y="227516"/>
                      </a:lnTo>
                      <a:lnTo>
                        <a:pt x="100893" y="227280"/>
                      </a:lnTo>
                      <a:lnTo>
                        <a:pt x="99476" y="227581"/>
                      </a:lnTo>
                      <a:lnTo>
                        <a:pt x="98457" y="226750"/>
                      </a:lnTo>
                      <a:lnTo>
                        <a:pt x="97601" y="225381"/>
                      </a:lnTo>
                      <a:lnTo>
                        <a:pt x="96485" y="225022"/>
                      </a:lnTo>
                      <a:lnTo>
                        <a:pt x="95238" y="225446"/>
                      </a:lnTo>
                      <a:lnTo>
                        <a:pt x="92597" y="227296"/>
                      </a:lnTo>
                      <a:lnTo>
                        <a:pt x="89932" y="228388"/>
                      </a:lnTo>
                      <a:lnTo>
                        <a:pt x="86705" y="227215"/>
                      </a:lnTo>
                      <a:lnTo>
                        <a:pt x="82475" y="225047"/>
                      </a:lnTo>
                      <a:lnTo>
                        <a:pt x="81636" y="225837"/>
                      </a:lnTo>
                      <a:lnTo>
                        <a:pt x="80698" y="227858"/>
                      </a:lnTo>
                      <a:lnTo>
                        <a:pt x="80161" y="231004"/>
                      </a:lnTo>
                      <a:lnTo>
                        <a:pt x="77153" y="228274"/>
                      </a:lnTo>
                      <a:lnTo>
                        <a:pt x="74594" y="224623"/>
                      </a:lnTo>
                      <a:lnTo>
                        <a:pt x="73739" y="222325"/>
                      </a:lnTo>
                      <a:lnTo>
                        <a:pt x="73673" y="219741"/>
                      </a:lnTo>
                      <a:lnTo>
                        <a:pt x="75059" y="218739"/>
                      </a:lnTo>
                      <a:lnTo>
                        <a:pt x="76575" y="219652"/>
                      </a:lnTo>
                      <a:lnTo>
                        <a:pt x="78824" y="213515"/>
                      </a:lnTo>
                      <a:lnTo>
                        <a:pt x="83298" y="205504"/>
                      </a:lnTo>
                      <a:lnTo>
                        <a:pt x="84879" y="203156"/>
                      </a:lnTo>
                      <a:lnTo>
                        <a:pt x="85980" y="200084"/>
                      </a:lnTo>
                      <a:lnTo>
                        <a:pt x="85784" y="198071"/>
                      </a:lnTo>
                      <a:lnTo>
                        <a:pt x="84798" y="196376"/>
                      </a:lnTo>
                      <a:lnTo>
                        <a:pt x="80633" y="192521"/>
                      </a:lnTo>
                      <a:lnTo>
                        <a:pt x="80691" y="189375"/>
                      </a:lnTo>
                      <a:lnTo>
                        <a:pt x="81139" y="185814"/>
                      </a:lnTo>
                      <a:lnTo>
                        <a:pt x="82271" y="183679"/>
                      </a:lnTo>
                      <a:lnTo>
                        <a:pt x="82752" y="183271"/>
                      </a:lnTo>
                      <a:lnTo>
                        <a:pt x="88278" y="183328"/>
                      </a:lnTo>
                      <a:lnTo>
                        <a:pt x="86118" y="182228"/>
                      </a:lnTo>
                      <a:lnTo>
                        <a:pt x="81831" y="179009"/>
                      </a:lnTo>
                      <a:lnTo>
                        <a:pt x="81905" y="177868"/>
                      </a:lnTo>
                      <a:lnTo>
                        <a:pt x="82915" y="174893"/>
                      </a:lnTo>
                      <a:lnTo>
                        <a:pt x="82442" y="175195"/>
                      </a:lnTo>
                      <a:lnTo>
                        <a:pt x="81522" y="176564"/>
                      </a:lnTo>
                      <a:lnTo>
                        <a:pt x="79769" y="179889"/>
                      </a:lnTo>
                      <a:lnTo>
                        <a:pt x="78693" y="180671"/>
                      </a:lnTo>
                      <a:lnTo>
                        <a:pt x="75654" y="181462"/>
                      </a:lnTo>
                      <a:lnTo>
                        <a:pt x="75107" y="183100"/>
                      </a:lnTo>
                      <a:lnTo>
                        <a:pt x="74619" y="183524"/>
                      </a:lnTo>
                      <a:lnTo>
                        <a:pt x="73103" y="183711"/>
                      </a:lnTo>
                      <a:lnTo>
                        <a:pt x="72638" y="185235"/>
                      </a:lnTo>
                      <a:lnTo>
                        <a:pt x="72296" y="185341"/>
                      </a:lnTo>
                      <a:lnTo>
                        <a:pt x="71864" y="183687"/>
                      </a:lnTo>
                      <a:lnTo>
                        <a:pt x="71831" y="180957"/>
                      </a:lnTo>
                      <a:lnTo>
                        <a:pt x="72426" y="178447"/>
                      </a:lnTo>
                      <a:lnTo>
                        <a:pt x="73584" y="176482"/>
                      </a:lnTo>
                      <a:lnTo>
                        <a:pt x="78033" y="172000"/>
                      </a:lnTo>
                      <a:lnTo>
                        <a:pt x="75866" y="173377"/>
                      </a:lnTo>
                      <a:lnTo>
                        <a:pt x="70952" y="177517"/>
                      </a:lnTo>
                      <a:lnTo>
                        <a:pt x="68441" y="180231"/>
                      </a:lnTo>
                      <a:lnTo>
                        <a:pt x="67773" y="181152"/>
                      </a:lnTo>
                      <a:lnTo>
                        <a:pt x="67561" y="181926"/>
                      </a:lnTo>
                      <a:lnTo>
                        <a:pt x="67578" y="182815"/>
                      </a:lnTo>
                      <a:lnTo>
                        <a:pt x="68702" y="187582"/>
                      </a:lnTo>
                      <a:lnTo>
                        <a:pt x="68376" y="189783"/>
                      </a:lnTo>
                      <a:lnTo>
                        <a:pt x="64146" y="204346"/>
                      </a:lnTo>
                      <a:lnTo>
                        <a:pt x="63340" y="205805"/>
                      </a:lnTo>
                      <a:lnTo>
                        <a:pt x="62606" y="206563"/>
                      </a:lnTo>
                      <a:lnTo>
                        <a:pt x="61913" y="206742"/>
                      </a:lnTo>
                      <a:lnTo>
                        <a:pt x="59827" y="206465"/>
                      </a:lnTo>
                      <a:lnTo>
                        <a:pt x="58898" y="205381"/>
                      </a:lnTo>
                      <a:lnTo>
                        <a:pt x="58906" y="204151"/>
                      </a:lnTo>
                      <a:lnTo>
                        <a:pt x="59289" y="202301"/>
                      </a:lnTo>
                      <a:lnTo>
                        <a:pt x="61049" y="195398"/>
                      </a:lnTo>
                      <a:lnTo>
                        <a:pt x="61815" y="193483"/>
                      </a:lnTo>
                      <a:lnTo>
                        <a:pt x="62940" y="191690"/>
                      </a:lnTo>
                      <a:lnTo>
                        <a:pt x="65434" y="188569"/>
                      </a:lnTo>
                      <a:lnTo>
                        <a:pt x="65377" y="188365"/>
                      </a:lnTo>
                      <a:lnTo>
                        <a:pt x="63715" y="188976"/>
                      </a:lnTo>
                      <a:lnTo>
                        <a:pt x="63005" y="188780"/>
                      </a:lnTo>
                      <a:lnTo>
                        <a:pt x="62500" y="188161"/>
                      </a:lnTo>
                      <a:lnTo>
                        <a:pt x="62834" y="178862"/>
                      </a:lnTo>
                      <a:lnTo>
                        <a:pt x="64179" y="175798"/>
                      </a:lnTo>
                      <a:lnTo>
                        <a:pt x="64684" y="171348"/>
                      </a:lnTo>
                      <a:lnTo>
                        <a:pt x="65858" y="167526"/>
                      </a:lnTo>
                      <a:lnTo>
                        <a:pt x="67202" y="164739"/>
                      </a:lnTo>
                      <a:lnTo>
                        <a:pt x="68229" y="161169"/>
                      </a:lnTo>
                      <a:lnTo>
                        <a:pt x="69778" y="159588"/>
                      </a:lnTo>
                      <a:lnTo>
                        <a:pt x="70193" y="157159"/>
                      </a:lnTo>
                      <a:lnTo>
                        <a:pt x="71937" y="154527"/>
                      </a:lnTo>
                      <a:lnTo>
                        <a:pt x="73282" y="151772"/>
                      </a:lnTo>
                      <a:lnTo>
                        <a:pt x="72565" y="152050"/>
                      </a:lnTo>
                      <a:lnTo>
                        <a:pt x="63967" y="159213"/>
                      </a:lnTo>
                      <a:lnTo>
                        <a:pt x="61775" y="160509"/>
                      </a:lnTo>
                      <a:lnTo>
                        <a:pt x="58792" y="160167"/>
                      </a:lnTo>
                      <a:lnTo>
                        <a:pt x="56510" y="159360"/>
                      </a:lnTo>
                      <a:lnTo>
                        <a:pt x="54725" y="157665"/>
                      </a:lnTo>
                      <a:lnTo>
                        <a:pt x="53926" y="154421"/>
                      </a:lnTo>
                      <a:lnTo>
                        <a:pt x="51718" y="154331"/>
                      </a:lnTo>
                      <a:lnTo>
                        <a:pt x="49836" y="153769"/>
                      </a:lnTo>
                      <a:lnTo>
                        <a:pt x="49860" y="153329"/>
                      </a:lnTo>
                      <a:lnTo>
                        <a:pt x="52288" y="151561"/>
                      </a:lnTo>
                      <a:lnTo>
                        <a:pt x="56184" y="150949"/>
                      </a:lnTo>
                      <a:lnTo>
                        <a:pt x="59835" y="148105"/>
                      </a:lnTo>
                      <a:lnTo>
                        <a:pt x="56591" y="146182"/>
                      </a:lnTo>
                      <a:lnTo>
                        <a:pt x="56861" y="145571"/>
                      </a:lnTo>
                      <a:lnTo>
                        <a:pt x="59688" y="143932"/>
                      </a:lnTo>
                      <a:lnTo>
                        <a:pt x="63282" y="138440"/>
                      </a:lnTo>
                      <a:lnTo>
                        <a:pt x="64008" y="133370"/>
                      </a:lnTo>
                      <a:lnTo>
                        <a:pt x="62288" y="130991"/>
                      </a:lnTo>
                      <a:lnTo>
                        <a:pt x="61661" y="129426"/>
                      </a:lnTo>
                      <a:lnTo>
                        <a:pt x="58222" y="127690"/>
                      </a:lnTo>
                      <a:lnTo>
                        <a:pt x="57651" y="125465"/>
                      </a:lnTo>
                      <a:lnTo>
                        <a:pt x="58050" y="124218"/>
                      </a:lnTo>
                      <a:lnTo>
                        <a:pt x="59175" y="123004"/>
                      </a:lnTo>
                      <a:lnTo>
                        <a:pt x="60870" y="122059"/>
                      </a:lnTo>
                      <a:lnTo>
                        <a:pt x="63519" y="121154"/>
                      </a:lnTo>
                      <a:lnTo>
                        <a:pt x="61107" y="120184"/>
                      </a:lnTo>
                      <a:lnTo>
                        <a:pt x="60218" y="119035"/>
                      </a:lnTo>
                      <a:lnTo>
                        <a:pt x="59534" y="117372"/>
                      </a:lnTo>
                      <a:lnTo>
                        <a:pt x="59477" y="116411"/>
                      </a:lnTo>
                      <a:lnTo>
                        <a:pt x="60715" y="112124"/>
                      </a:lnTo>
                      <a:lnTo>
                        <a:pt x="61441" y="110356"/>
                      </a:lnTo>
                      <a:lnTo>
                        <a:pt x="62858" y="108090"/>
                      </a:lnTo>
                      <a:lnTo>
                        <a:pt x="69289" y="108220"/>
                      </a:lnTo>
                      <a:lnTo>
                        <a:pt x="70030" y="107218"/>
                      </a:lnTo>
                      <a:lnTo>
                        <a:pt x="70764" y="107177"/>
                      </a:lnTo>
                      <a:lnTo>
                        <a:pt x="74056" y="108090"/>
                      </a:lnTo>
                      <a:lnTo>
                        <a:pt x="73567" y="107112"/>
                      </a:lnTo>
                      <a:lnTo>
                        <a:pt x="68188" y="101741"/>
                      </a:lnTo>
                      <a:lnTo>
                        <a:pt x="67699" y="100714"/>
                      </a:lnTo>
                      <a:lnTo>
                        <a:pt x="69240" y="97813"/>
                      </a:lnTo>
                      <a:lnTo>
                        <a:pt x="69346" y="96517"/>
                      </a:lnTo>
                      <a:lnTo>
                        <a:pt x="69118" y="95140"/>
                      </a:lnTo>
                      <a:lnTo>
                        <a:pt x="69558" y="94080"/>
                      </a:lnTo>
                      <a:lnTo>
                        <a:pt x="71261" y="93591"/>
                      </a:lnTo>
                      <a:lnTo>
                        <a:pt x="76460" y="93632"/>
                      </a:lnTo>
                      <a:lnTo>
                        <a:pt x="77748" y="93143"/>
                      </a:lnTo>
                      <a:lnTo>
                        <a:pt x="77161" y="91742"/>
                      </a:lnTo>
                      <a:lnTo>
                        <a:pt x="75955" y="89900"/>
                      </a:lnTo>
                      <a:lnTo>
                        <a:pt x="75719" y="88359"/>
                      </a:lnTo>
                      <a:lnTo>
                        <a:pt x="76004" y="86998"/>
                      </a:lnTo>
                      <a:lnTo>
                        <a:pt x="76069" y="84244"/>
                      </a:lnTo>
                      <a:lnTo>
                        <a:pt x="76306" y="83030"/>
                      </a:lnTo>
                      <a:lnTo>
                        <a:pt x="77536" y="81196"/>
                      </a:lnTo>
                      <a:lnTo>
                        <a:pt x="78555" y="80658"/>
                      </a:lnTo>
                      <a:lnTo>
                        <a:pt x="79818" y="80340"/>
                      </a:lnTo>
                      <a:lnTo>
                        <a:pt x="82679" y="80951"/>
                      </a:lnTo>
                      <a:lnTo>
                        <a:pt x="83763" y="81685"/>
                      </a:lnTo>
                      <a:lnTo>
                        <a:pt x="85010" y="83421"/>
                      </a:lnTo>
                      <a:lnTo>
                        <a:pt x="85930" y="83282"/>
                      </a:lnTo>
                      <a:lnTo>
                        <a:pt x="89484" y="81391"/>
                      </a:lnTo>
                      <a:lnTo>
                        <a:pt x="90543" y="81131"/>
                      </a:lnTo>
                      <a:lnTo>
                        <a:pt x="92002" y="83315"/>
                      </a:lnTo>
                      <a:lnTo>
                        <a:pt x="98074" y="81571"/>
                      </a:lnTo>
                      <a:lnTo>
                        <a:pt x="106232" y="80788"/>
                      </a:lnTo>
                      <a:lnTo>
                        <a:pt x="111138" y="79639"/>
                      </a:lnTo>
                      <a:lnTo>
                        <a:pt x="116305" y="79215"/>
                      </a:lnTo>
                      <a:lnTo>
                        <a:pt x="121121" y="77911"/>
                      </a:lnTo>
                      <a:lnTo>
                        <a:pt x="126231" y="78506"/>
                      </a:lnTo>
                      <a:lnTo>
                        <a:pt x="126402" y="79264"/>
                      </a:lnTo>
                      <a:lnTo>
                        <a:pt x="126182" y="80340"/>
                      </a:lnTo>
                      <a:lnTo>
                        <a:pt x="124878" y="83225"/>
                      </a:lnTo>
                      <a:close/>
                      <a:moveTo>
                        <a:pt x="169555" y="2885"/>
                      </a:moveTo>
                      <a:lnTo>
                        <a:pt x="170068" y="5713"/>
                      </a:lnTo>
                      <a:lnTo>
                        <a:pt x="171348" y="4979"/>
                      </a:lnTo>
                      <a:lnTo>
                        <a:pt x="173279" y="7693"/>
                      </a:lnTo>
                      <a:lnTo>
                        <a:pt x="174274" y="7693"/>
                      </a:lnTo>
                      <a:lnTo>
                        <a:pt x="175895" y="6618"/>
                      </a:lnTo>
                      <a:lnTo>
                        <a:pt x="175569" y="9136"/>
                      </a:lnTo>
                      <a:lnTo>
                        <a:pt x="173883" y="16128"/>
                      </a:lnTo>
                      <a:lnTo>
                        <a:pt x="173410" y="17318"/>
                      </a:lnTo>
                      <a:lnTo>
                        <a:pt x="173084" y="19437"/>
                      </a:lnTo>
                      <a:lnTo>
                        <a:pt x="172750" y="19853"/>
                      </a:lnTo>
                      <a:lnTo>
                        <a:pt x="172244" y="24148"/>
                      </a:lnTo>
                      <a:lnTo>
                        <a:pt x="171104" y="25558"/>
                      </a:lnTo>
                      <a:lnTo>
                        <a:pt x="170150" y="28923"/>
                      </a:lnTo>
                      <a:lnTo>
                        <a:pt x="169759" y="29249"/>
                      </a:lnTo>
                      <a:lnTo>
                        <a:pt x="168365" y="27954"/>
                      </a:lnTo>
                      <a:lnTo>
                        <a:pt x="169759" y="22827"/>
                      </a:lnTo>
                      <a:lnTo>
                        <a:pt x="170338" y="19836"/>
                      </a:lnTo>
                      <a:lnTo>
                        <a:pt x="169970" y="18288"/>
                      </a:lnTo>
                      <a:lnTo>
                        <a:pt x="169180" y="16894"/>
                      </a:lnTo>
                      <a:lnTo>
                        <a:pt x="167037" y="16846"/>
                      </a:lnTo>
                      <a:lnTo>
                        <a:pt x="165236" y="17489"/>
                      </a:lnTo>
                      <a:lnTo>
                        <a:pt x="164853" y="16666"/>
                      </a:lnTo>
                      <a:lnTo>
                        <a:pt x="164795" y="15550"/>
                      </a:lnTo>
                      <a:lnTo>
                        <a:pt x="164364" y="15183"/>
                      </a:lnTo>
                      <a:lnTo>
                        <a:pt x="161976" y="15256"/>
                      </a:lnTo>
                      <a:lnTo>
                        <a:pt x="161275" y="14947"/>
                      </a:lnTo>
                      <a:lnTo>
                        <a:pt x="160810" y="13928"/>
                      </a:lnTo>
                      <a:lnTo>
                        <a:pt x="160720" y="13113"/>
                      </a:lnTo>
                      <a:lnTo>
                        <a:pt x="162880" y="12469"/>
                      </a:lnTo>
                      <a:lnTo>
                        <a:pt x="164918" y="12705"/>
                      </a:lnTo>
                      <a:lnTo>
                        <a:pt x="167884" y="11092"/>
                      </a:lnTo>
                      <a:lnTo>
                        <a:pt x="166026" y="5656"/>
                      </a:lnTo>
                      <a:lnTo>
                        <a:pt x="163565" y="5151"/>
                      </a:lnTo>
                      <a:lnTo>
                        <a:pt x="162995" y="4621"/>
                      </a:lnTo>
                      <a:lnTo>
                        <a:pt x="163467" y="3692"/>
                      </a:lnTo>
                      <a:lnTo>
                        <a:pt x="164828" y="3195"/>
                      </a:lnTo>
                      <a:lnTo>
                        <a:pt x="166906" y="432"/>
                      </a:lnTo>
                      <a:lnTo>
                        <a:pt x="168153" y="0"/>
                      </a:lnTo>
                      <a:lnTo>
                        <a:pt x="169693" y="73"/>
                      </a:lnTo>
                      <a:lnTo>
                        <a:pt x="169555" y="2885"/>
                      </a:lnTo>
                      <a:close/>
                    </a:path>
                  </a:pathLst>
                </a:custGeom>
                <a:solidFill>
                  <a:srgbClr val="D6D6D2"/>
                </a:solidFill>
                <a:ln w="8150" cap="flat">
                  <a:noFill/>
                  <a:prstDash val="solid"/>
                  <a:miter/>
                </a:ln>
              </p:spPr>
              <p:txBody>
                <a:bodyPr rtlCol="0" anchor="ctr"/>
                <a:lstStyle/>
                <a:p>
                  <a:endParaRPr lang="en-US"/>
                </a:p>
              </p:txBody>
            </p:sp>
            <p:sp>
              <p:nvSpPr>
                <p:cNvPr id="729" name="Freeform: Shape 728">
                  <a:extLst>
                    <a:ext uri="{FF2B5EF4-FFF2-40B4-BE49-F238E27FC236}">
                      <a16:creationId xmlns:a16="http://schemas.microsoft.com/office/drawing/2014/main" id="{B8AD9B69-6200-4DEE-8286-4A8B4EACC445}"/>
                    </a:ext>
                  </a:extLst>
                </p:cNvPr>
                <p:cNvSpPr/>
                <p:nvPr/>
              </p:nvSpPr>
              <p:spPr>
                <a:xfrm>
                  <a:off x="6159478" y="4455574"/>
                  <a:ext cx="143304" cy="186221"/>
                </a:xfrm>
                <a:custGeom>
                  <a:avLst/>
                  <a:gdLst>
                    <a:gd name="connsiteX0" fmla="*/ 113860 w 143304"/>
                    <a:gd name="connsiteY0" fmla="*/ 4205 h 186221"/>
                    <a:gd name="connsiteX1" fmla="*/ 113746 w 143304"/>
                    <a:gd name="connsiteY1" fmla="*/ 6300 h 186221"/>
                    <a:gd name="connsiteX2" fmla="*/ 111774 w 143304"/>
                    <a:gd name="connsiteY2" fmla="*/ 11434 h 186221"/>
                    <a:gd name="connsiteX3" fmla="*/ 110861 w 143304"/>
                    <a:gd name="connsiteY3" fmla="*/ 15378 h 186221"/>
                    <a:gd name="connsiteX4" fmla="*/ 110616 w 143304"/>
                    <a:gd name="connsiteY4" fmla="*/ 19584 h 186221"/>
                    <a:gd name="connsiteX5" fmla="*/ 111162 w 143304"/>
                    <a:gd name="connsiteY5" fmla="*/ 22974 h 186221"/>
                    <a:gd name="connsiteX6" fmla="*/ 112108 w 143304"/>
                    <a:gd name="connsiteY6" fmla="*/ 25370 h 186221"/>
                    <a:gd name="connsiteX7" fmla="*/ 112719 w 143304"/>
                    <a:gd name="connsiteY7" fmla="*/ 28010 h 186221"/>
                    <a:gd name="connsiteX8" fmla="*/ 112246 w 143304"/>
                    <a:gd name="connsiteY8" fmla="*/ 29844 h 186221"/>
                    <a:gd name="connsiteX9" fmla="*/ 111284 w 143304"/>
                    <a:gd name="connsiteY9" fmla="*/ 30627 h 186221"/>
                    <a:gd name="connsiteX10" fmla="*/ 111936 w 143304"/>
                    <a:gd name="connsiteY10" fmla="*/ 31548 h 186221"/>
                    <a:gd name="connsiteX11" fmla="*/ 113387 w 143304"/>
                    <a:gd name="connsiteY11" fmla="*/ 31776 h 186221"/>
                    <a:gd name="connsiteX12" fmla="*/ 115816 w 143304"/>
                    <a:gd name="connsiteY12" fmla="*/ 30969 h 186221"/>
                    <a:gd name="connsiteX13" fmla="*/ 119565 w 143304"/>
                    <a:gd name="connsiteY13" fmla="*/ 29567 h 186221"/>
                    <a:gd name="connsiteX14" fmla="*/ 124471 w 143304"/>
                    <a:gd name="connsiteY14" fmla="*/ 27546 h 186221"/>
                    <a:gd name="connsiteX15" fmla="*/ 127690 w 143304"/>
                    <a:gd name="connsiteY15" fmla="*/ 26454 h 186221"/>
                    <a:gd name="connsiteX16" fmla="*/ 133020 w 143304"/>
                    <a:gd name="connsiteY16" fmla="*/ 27138 h 186221"/>
                    <a:gd name="connsiteX17" fmla="*/ 135872 w 143304"/>
                    <a:gd name="connsiteY17" fmla="*/ 27905 h 186221"/>
                    <a:gd name="connsiteX18" fmla="*/ 137331 w 143304"/>
                    <a:gd name="connsiteY18" fmla="*/ 29331 h 186221"/>
                    <a:gd name="connsiteX19" fmla="*/ 138896 w 143304"/>
                    <a:gd name="connsiteY19" fmla="*/ 35370 h 186221"/>
                    <a:gd name="connsiteX20" fmla="*/ 139687 w 143304"/>
                    <a:gd name="connsiteY20" fmla="*/ 36283 h 186221"/>
                    <a:gd name="connsiteX21" fmla="*/ 140966 w 143304"/>
                    <a:gd name="connsiteY21" fmla="*/ 38858 h 186221"/>
                    <a:gd name="connsiteX22" fmla="*/ 142042 w 143304"/>
                    <a:gd name="connsiteY22" fmla="*/ 41947 h 186221"/>
                    <a:gd name="connsiteX23" fmla="*/ 142278 w 143304"/>
                    <a:gd name="connsiteY23" fmla="*/ 43511 h 186221"/>
                    <a:gd name="connsiteX24" fmla="*/ 142156 w 143304"/>
                    <a:gd name="connsiteY24" fmla="*/ 44636 h 186221"/>
                    <a:gd name="connsiteX25" fmla="*/ 141072 w 143304"/>
                    <a:gd name="connsiteY25" fmla="*/ 46307 h 186221"/>
                    <a:gd name="connsiteX26" fmla="*/ 139849 w 143304"/>
                    <a:gd name="connsiteY26" fmla="*/ 48760 h 186221"/>
                    <a:gd name="connsiteX27" fmla="*/ 139417 w 143304"/>
                    <a:gd name="connsiteY27" fmla="*/ 50235 h 186221"/>
                    <a:gd name="connsiteX28" fmla="*/ 138399 w 143304"/>
                    <a:gd name="connsiteY28" fmla="*/ 51343 h 186221"/>
                    <a:gd name="connsiteX29" fmla="*/ 137103 w 143304"/>
                    <a:gd name="connsiteY29" fmla="*/ 52427 h 186221"/>
                    <a:gd name="connsiteX30" fmla="*/ 133558 w 143304"/>
                    <a:gd name="connsiteY30" fmla="*/ 52867 h 186221"/>
                    <a:gd name="connsiteX31" fmla="*/ 133004 w 143304"/>
                    <a:gd name="connsiteY31" fmla="*/ 53511 h 186221"/>
                    <a:gd name="connsiteX32" fmla="*/ 132009 w 143304"/>
                    <a:gd name="connsiteY32" fmla="*/ 56119 h 186221"/>
                    <a:gd name="connsiteX33" fmla="*/ 130135 w 143304"/>
                    <a:gd name="connsiteY33" fmla="*/ 58336 h 186221"/>
                    <a:gd name="connsiteX34" fmla="*/ 129279 w 143304"/>
                    <a:gd name="connsiteY34" fmla="*/ 60422 h 186221"/>
                    <a:gd name="connsiteX35" fmla="*/ 128529 w 143304"/>
                    <a:gd name="connsiteY35" fmla="*/ 63217 h 186221"/>
                    <a:gd name="connsiteX36" fmla="*/ 128668 w 143304"/>
                    <a:gd name="connsiteY36" fmla="*/ 66673 h 186221"/>
                    <a:gd name="connsiteX37" fmla="*/ 128293 w 143304"/>
                    <a:gd name="connsiteY37" fmla="*/ 71652 h 186221"/>
                    <a:gd name="connsiteX38" fmla="*/ 127910 w 143304"/>
                    <a:gd name="connsiteY38" fmla="*/ 75010 h 186221"/>
                    <a:gd name="connsiteX39" fmla="*/ 128855 w 143304"/>
                    <a:gd name="connsiteY39" fmla="*/ 76192 h 186221"/>
                    <a:gd name="connsiteX40" fmla="*/ 133101 w 143304"/>
                    <a:gd name="connsiteY40" fmla="*/ 77015 h 186221"/>
                    <a:gd name="connsiteX41" fmla="*/ 133933 w 143304"/>
                    <a:gd name="connsiteY41" fmla="*/ 77683 h 186221"/>
                    <a:gd name="connsiteX42" fmla="*/ 135066 w 143304"/>
                    <a:gd name="connsiteY42" fmla="*/ 79761 h 186221"/>
                    <a:gd name="connsiteX43" fmla="*/ 136516 w 143304"/>
                    <a:gd name="connsiteY43" fmla="*/ 81734 h 186221"/>
                    <a:gd name="connsiteX44" fmla="*/ 140412 w 143304"/>
                    <a:gd name="connsiteY44" fmla="*/ 82964 h 186221"/>
                    <a:gd name="connsiteX45" fmla="*/ 141919 w 143304"/>
                    <a:gd name="connsiteY45" fmla="*/ 84448 h 186221"/>
                    <a:gd name="connsiteX46" fmla="*/ 143150 w 143304"/>
                    <a:gd name="connsiteY46" fmla="*/ 86110 h 186221"/>
                    <a:gd name="connsiteX47" fmla="*/ 143305 w 143304"/>
                    <a:gd name="connsiteY47" fmla="*/ 87446 h 186221"/>
                    <a:gd name="connsiteX48" fmla="*/ 142416 w 143304"/>
                    <a:gd name="connsiteY48" fmla="*/ 92842 h 186221"/>
                    <a:gd name="connsiteX49" fmla="*/ 141561 w 143304"/>
                    <a:gd name="connsiteY49" fmla="*/ 98033 h 186221"/>
                    <a:gd name="connsiteX50" fmla="*/ 141895 w 143304"/>
                    <a:gd name="connsiteY50" fmla="*/ 101978 h 186221"/>
                    <a:gd name="connsiteX51" fmla="*/ 142213 w 143304"/>
                    <a:gd name="connsiteY51" fmla="*/ 105751 h 186221"/>
                    <a:gd name="connsiteX52" fmla="*/ 142685 w 143304"/>
                    <a:gd name="connsiteY52" fmla="*/ 111236 h 186221"/>
                    <a:gd name="connsiteX53" fmla="*/ 142474 w 143304"/>
                    <a:gd name="connsiteY53" fmla="*/ 114593 h 186221"/>
                    <a:gd name="connsiteX54" fmla="*/ 141373 w 143304"/>
                    <a:gd name="connsiteY54" fmla="*/ 116639 h 186221"/>
                    <a:gd name="connsiteX55" fmla="*/ 141373 w 143304"/>
                    <a:gd name="connsiteY55" fmla="*/ 118236 h 186221"/>
                    <a:gd name="connsiteX56" fmla="*/ 141879 w 143304"/>
                    <a:gd name="connsiteY56" fmla="*/ 120168 h 186221"/>
                    <a:gd name="connsiteX57" fmla="*/ 140901 w 143304"/>
                    <a:gd name="connsiteY57" fmla="*/ 125530 h 186221"/>
                    <a:gd name="connsiteX58" fmla="*/ 140273 w 143304"/>
                    <a:gd name="connsiteY58" fmla="*/ 126427 h 186221"/>
                    <a:gd name="connsiteX59" fmla="*/ 138538 w 143304"/>
                    <a:gd name="connsiteY59" fmla="*/ 127421 h 186221"/>
                    <a:gd name="connsiteX60" fmla="*/ 137625 w 143304"/>
                    <a:gd name="connsiteY60" fmla="*/ 128863 h 186221"/>
                    <a:gd name="connsiteX61" fmla="*/ 137331 w 143304"/>
                    <a:gd name="connsiteY61" fmla="*/ 131105 h 186221"/>
                    <a:gd name="connsiteX62" fmla="*/ 136394 w 143304"/>
                    <a:gd name="connsiteY62" fmla="*/ 134194 h 186221"/>
                    <a:gd name="connsiteX63" fmla="*/ 135416 w 143304"/>
                    <a:gd name="connsiteY63" fmla="*/ 135334 h 186221"/>
                    <a:gd name="connsiteX64" fmla="*/ 135416 w 143304"/>
                    <a:gd name="connsiteY64" fmla="*/ 136769 h 186221"/>
                    <a:gd name="connsiteX65" fmla="*/ 136361 w 143304"/>
                    <a:gd name="connsiteY65" fmla="*/ 137812 h 186221"/>
                    <a:gd name="connsiteX66" fmla="*/ 136345 w 143304"/>
                    <a:gd name="connsiteY66" fmla="*/ 139426 h 186221"/>
                    <a:gd name="connsiteX67" fmla="*/ 134601 w 143304"/>
                    <a:gd name="connsiteY67" fmla="*/ 141333 h 186221"/>
                    <a:gd name="connsiteX68" fmla="*/ 133558 w 143304"/>
                    <a:gd name="connsiteY68" fmla="*/ 142800 h 186221"/>
                    <a:gd name="connsiteX69" fmla="*/ 131235 w 143304"/>
                    <a:gd name="connsiteY69" fmla="*/ 143509 h 186221"/>
                    <a:gd name="connsiteX70" fmla="*/ 128578 w 143304"/>
                    <a:gd name="connsiteY70" fmla="*/ 142759 h 186221"/>
                    <a:gd name="connsiteX71" fmla="*/ 127959 w 143304"/>
                    <a:gd name="connsiteY71" fmla="*/ 141691 h 186221"/>
                    <a:gd name="connsiteX72" fmla="*/ 128595 w 143304"/>
                    <a:gd name="connsiteY72" fmla="*/ 140037 h 186221"/>
                    <a:gd name="connsiteX73" fmla="*/ 128366 w 143304"/>
                    <a:gd name="connsiteY73" fmla="*/ 138708 h 186221"/>
                    <a:gd name="connsiteX74" fmla="*/ 127462 w 143304"/>
                    <a:gd name="connsiteY74" fmla="*/ 137315 h 186221"/>
                    <a:gd name="connsiteX75" fmla="*/ 126036 w 143304"/>
                    <a:gd name="connsiteY75" fmla="*/ 133713 h 186221"/>
                    <a:gd name="connsiteX76" fmla="*/ 124789 w 143304"/>
                    <a:gd name="connsiteY76" fmla="*/ 132963 h 186221"/>
                    <a:gd name="connsiteX77" fmla="*/ 124079 w 143304"/>
                    <a:gd name="connsiteY77" fmla="*/ 134430 h 186221"/>
                    <a:gd name="connsiteX78" fmla="*/ 121920 w 143304"/>
                    <a:gd name="connsiteY78" fmla="*/ 137152 h 186221"/>
                    <a:gd name="connsiteX79" fmla="*/ 118106 w 143304"/>
                    <a:gd name="connsiteY79" fmla="*/ 140656 h 186221"/>
                    <a:gd name="connsiteX80" fmla="*/ 115441 w 143304"/>
                    <a:gd name="connsiteY80" fmla="*/ 140942 h 186221"/>
                    <a:gd name="connsiteX81" fmla="*/ 110518 w 143304"/>
                    <a:gd name="connsiteY81" fmla="*/ 139866 h 186221"/>
                    <a:gd name="connsiteX82" fmla="*/ 106387 w 143304"/>
                    <a:gd name="connsiteY82" fmla="*/ 138195 h 186221"/>
                    <a:gd name="connsiteX83" fmla="*/ 104439 w 143304"/>
                    <a:gd name="connsiteY83" fmla="*/ 134096 h 186221"/>
                    <a:gd name="connsiteX84" fmla="*/ 103216 w 143304"/>
                    <a:gd name="connsiteY84" fmla="*/ 130714 h 186221"/>
                    <a:gd name="connsiteX85" fmla="*/ 101464 w 143304"/>
                    <a:gd name="connsiteY85" fmla="*/ 126769 h 186221"/>
                    <a:gd name="connsiteX86" fmla="*/ 99484 w 143304"/>
                    <a:gd name="connsiteY86" fmla="*/ 124894 h 186221"/>
                    <a:gd name="connsiteX87" fmla="*/ 97365 w 143304"/>
                    <a:gd name="connsiteY87" fmla="*/ 123713 h 186221"/>
                    <a:gd name="connsiteX88" fmla="*/ 96419 w 143304"/>
                    <a:gd name="connsiteY88" fmla="*/ 123623 h 186221"/>
                    <a:gd name="connsiteX89" fmla="*/ 93404 w 143304"/>
                    <a:gd name="connsiteY89" fmla="*/ 125824 h 186221"/>
                    <a:gd name="connsiteX90" fmla="*/ 92499 w 143304"/>
                    <a:gd name="connsiteY90" fmla="*/ 126679 h 186221"/>
                    <a:gd name="connsiteX91" fmla="*/ 92508 w 143304"/>
                    <a:gd name="connsiteY91" fmla="*/ 128521 h 186221"/>
                    <a:gd name="connsiteX92" fmla="*/ 92785 w 143304"/>
                    <a:gd name="connsiteY92" fmla="*/ 130241 h 186221"/>
                    <a:gd name="connsiteX93" fmla="*/ 93241 w 143304"/>
                    <a:gd name="connsiteY93" fmla="*/ 131064 h 186221"/>
                    <a:gd name="connsiteX94" fmla="*/ 93640 w 143304"/>
                    <a:gd name="connsiteY94" fmla="*/ 132172 h 186221"/>
                    <a:gd name="connsiteX95" fmla="*/ 93575 w 143304"/>
                    <a:gd name="connsiteY95" fmla="*/ 133884 h 186221"/>
                    <a:gd name="connsiteX96" fmla="*/ 93037 w 143304"/>
                    <a:gd name="connsiteY96" fmla="*/ 136166 h 186221"/>
                    <a:gd name="connsiteX97" fmla="*/ 92850 w 143304"/>
                    <a:gd name="connsiteY97" fmla="*/ 138700 h 186221"/>
                    <a:gd name="connsiteX98" fmla="*/ 83380 w 143304"/>
                    <a:gd name="connsiteY98" fmla="*/ 141170 h 186221"/>
                    <a:gd name="connsiteX99" fmla="*/ 81726 w 143304"/>
                    <a:gd name="connsiteY99" fmla="*/ 140281 h 186221"/>
                    <a:gd name="connsiteX100" fmla="*/ 80544 w 143304"/>
                    <a:gd name="connsiteY100" fmla="*/ 139132 h 186221"/>
                    <a:gd name="connsiteX101" fmla="*/ 79109 w 143304"/>
                    <a:gd name="connsiteY101" fmla="*/ 139344 h 186221"/>
                    <a:gd name="connsiteX102" fmla="*/ 75002 w 143304"/>
                    <a:gd name="connsiteY102" fmla="*/ 140640 h 186221"/>
                    <a:gd name="connsiteX103" fmla="*/ 73494 w 143304"/>
                    <a:gd name="connsiteY103" fmla="*/ 139735 h 186221"/>
                    <a:gd name="connsiteX104" fmla="*/ 71995 w 143304"/>
                    <a:gd name="connsiteY104" fmla="*/ 139075 h 186221"/>
                    <a:gd name="connsiteX105" fmla="*/ 71302 w 143304"/>
                    <a:gd name="connsiteY105" fmla="*/ 139629 h 186221"/>
                    <a:gd name="connsiteX106" fmla="*/ 71245 w 143304"/>
                    <a:gd name="connsiteY106" fmla="*/ 140713 h 186221"/>
                    <a:gd name="connsiteX107" fmla="*/ 71938 w 143304"/>
                    <a:gd name="connsiteY107" fmla="*/ 146646 h 186221"/>
                    <a:gd name="connsiteX108" fmla="*/ 71726 w 143304"/>
                    <a:gd name="connsiteY108" fmla="*/ 148920 h 186221"/>
                    <a:gd name="connsiteX109" fmla="*/ 70797 w 143304"/>
                    <a:gd name="connsiteY109" fmla="*/ 151862 h 186221"/>
                    <a:gd name="connsiteX110" fmla="*/ 70316 w 143304"/>
                    <a:gd name="connsiteY110" fmla="*/ 153875 h 186221"/>
                    <a:gd name="connsiteX111" fmla="*/ 72826 w 143304"/>
                    <a:gd name="connsiteY111" fmla="*/ 154429 h 186221"/>
                    <a:gd name="connsiteX112" fmla="*/ 73731 w 143304"/>
                    <a:gd name="connsiteY112" fmla="*/ 155375 h 186221"/>
                    <a:gd name="connsiteX113" fmla="*/ 74619 w 143304"/>
                    <a:gd name="connsiteY113" fmla="*/ 156866 h 186221"/>
                    <a:gd name="connsiteX114" fmla="*/ 75833 w 143304"/>
                    <a:gd name="connsiteY114" fmla="*/ 158260 h 186221"/>
                    <a:gd name="connsiteX115" fmla="*/ 75915 w 143304"/>
                    <a:gd name="connsiteY115" fmla="*/ 159099 h 186221"/>
                    <a:gd name="connsiteX116" fmla="*/ 74545 w 143304"/>
                    <a:gd name="connsiteY116" fmla="*/ 160656 h 186221"/>
                    <a:gd name="connsiteX117" fmla="*/ 74056 w 143304"/>
                    <a:gd name="connsiteY117" fmla="*/ 162563 h 186221"/>
                    <a:gd name="connsiteX118" fmla="*/ 74716 w 143304"/>
                    <a:gd name="connsiteY118" fmla="*/ 164070 h 186221"/>
                    <a:gd name="connsiteX119" fmla="*/ 76428 w 143304"/>
                    <a:gd name="connsiteY119" fmla="*/ 165635 h 186221"/>
                    <a:gd name="connsiteX120" fmla="*/ 78938 w 143304"/>
                    <a:gd name="connsiteY120" fmla="*/ 167265 h 186221"/>
                    <a:gd name="connsiteX121" fmla="*/ 80153 w 143304"/>
                    <a:gd name="connsiteY121" fmla="*/ 168316 h 186221"/>
                    <a:gd name="connsiteX122" fmla="*/ 80014 w 143304"/>
                    <a:gd name="connsiteY122" fmla="*/ 169286 h 186221"/>
                    <a:gd name="connsiteX123" fmla="*/ 78873 w 143304"/>
                    <a:gd name="connsiteY123" fmla="*/ 171356 h 186221"/>
                    <a:gd name="connsiteX124" fmla="*/ 78425 w 143304"/>
                    <a:gd name="connsiteY124" fmla="*/ 173100 h 186221"/>
                    <a:gd name="connsiteX125" fmla="*/ 77634 w 143304"/>
                    <a:gd name="connsiteY125" fmla="*/ 174698 h 186221"/>
                    <a:gd name="connsiteX126" fmla="*/ 77798 w 143304"/>
                    <a:gd name="connsiteY126" fmla="*/ 176148 h 186221"/>
                    <a:gd name="connsiteX127" fmla="*/ 78922 w 143304"/>
                    <a:gd name="connsiteY127" fmla="*/ 177501 h 186221"/>
                    <a:gd name="connsiteX128" fmla="*/ 78800 w 143304"/>
                    <a:gd name="connsiteY128" fmla="*/ 178715 h 186221"/>
                    <a:gd name="connsiteX129" fmla="*/ 78034 w 143304"/>
                    <a:gd name="connsiteY129" fmla="*/ 179636 h 186221"/>
                    <a:gd name="connsiteX130" fmla="*/ 76485 w 143304"/>
                    <a:gd name="connsiteY130" fmla="*/ 179449 h 186221"/>
                    <a:gd name="connsiteX131" fmla="*/ 75165 w 143304"/>
                    <a:gd name="connsiteY131" fmla="*/ 179571 h 186221"/>
                    <a:gd name="connsiteX132" fmla="*/ 73983 w 143304"/>
                    <a:gd name="connsiteY132" fmla="*/ 179204 h 186221"/>
                    <a:gd name="connsiteX133" fmla="*/ 70283 w 143304"/>
                    <a:gd name="connsiteY133" fmla="*/ 174486 h 186221"/>
                    <a:gd name="connsiteX134" fmla="*/ 69477 w 143304"/>
                    <a:gd name="connsiteY134" fmla="*/ 174363 h 186221"/>
                    <a:gd name="connsiteX135" fmla="*/ 64130 w 143304"/>
                    <a:gd name="connsiteY135" fmla="*/ 177974 h 186221"/>
                    <a:gd name="connsiteX136" fmla="*/ 62794 w 143304"/>
                    <a:gd name="connsiteY136" fmla="*/ 179465 h 186221"/>
                    <a:gd name="connsiteX137" fmla="*/ 61685 w 143304"/>
                    <a:gd name="connsiteY137" fmla="*/ 181600 h 186221"/>
                    <a:gd name="connsiteX138" fmla="*/ 60210 w 143304"/>
                    <a:gd name="connsiteY138" fmla="*/ 186221 h 186221"/>
                    <a:gd name="connsiteX139" fmla="*/ 57773 w 143304"/>
                    <a:gd name="connsiteY139" fmla="*/ 183524 h 186221"/>
                    <a:gd name="connsiteX140" fmla="*/ 55671 w 143304"/>
                    <a:gd name="connsiteY140" fmla="*/ 178601 h 186221"/>
                    <a:gd name="connsiteX141" fmla="*/ 53210 w 143304"/>
                    <a:gd name="connsiteY141" fmla="*/ 175578 h 186221"/>
                    <a:gd name="connsiteX142" fmla="*/ 48075 w 143304"/>
                    <a:gd name="connsiteY142" fmla="*/ 170696 h 186221"/>
                    <a:gd name="connsiteX143" fmla="*/ 46698 w 143304"/>
                    <a:gd name="connsiteY143" fmla="*/ 167094 h 186221"/>
                    <a:gd name="connsiteX144" fmla="*/ 40806 w 143304"/>
                    <a:gd name="connsiteY144" fmla="*/ 159156 h 186221"/>
                    <a:gd name="connsiteX145" fmla="*/ 32330 w 143304"/>
                    <a:gd name="connsiteY145" fmla="*/ 151226 h 186221"/>
                    <a:gd name="connsiteX146" fmla="*/ 26210 w 143304"/>
                    <a:gd name="connsiteY146" fmla="*/ 144348 h 186221"/>
                    <a:gd name="connsiteX147" fmla="*/ 25280 w 143304"/>
                    <a:gd name="connsiteY147" fmla="*/ 142816 h 186221"/>
                    <a:gd name="connsiteX148" fmla="*/ 26316 w 143304"/>
                    <a:gd name="connsiteY148" fmla="*/ 143003 h 186221"/>
                    <a:gd name="connsiteX149" fmla="*/ 32216 w 143304"/>
                    <a:gd name="connsiteY149" fmla="*/ 146442 h 186221"/>
                    <a:gd name="connsiteX150" fmla="*/ 33031 w 143304"/>
                    <a:gd name="connsiteY150" fmla="*/ 146051 h 186221"/>
                    <a:gd name="connsiteX151" fmla="*/ 33707 w 143304"/>
                    <a:gd name="connsiteY151" fmla="*/ 145285 h 186221"/>
                    <a:gd name="connsiteX152" fmla="*/ 31156 w 143304"/>
                    <a:gd name="connsiteY152" fmla="*/ 143492 h 186221"/>
                    <a:gd name="connsiteX153" fmla="*/ 28720 w 143304"/>
                    <a:gd name="connsiteY153" fmla="*/ 142066 h 186221"/>
                    <a:gd name="connsiteX154" fmla="*/ 26429 w 143304"/>
                    <a:gd name="connsiteY154" fmla="*/ 141186 h 186221"/>
                    <a:gd name="connsiteX155" fmla="*/ 24148 w 143304"/>
                    <a:gd name="connsiteY155" fmla="*/ 141259 h 186221"/>
                    <a:gd name="connsiteX156" fmla="*/ 22868 w 143304"/>
                    <a:gd name="connsiteY156" fmla="*/ 139800 h 186221"/>
                    <a:gd name="connsiteX157" fmla="*/ 22029 w 143304"/>
                    <a:gd name="connsiteY157" fmla="*/ 137584 h 186221"/>
                    <a:gd name="connsiteX158" fmla="*/ 21613 w 143304"/>
                    <a:gd name="connsiteY158" fmla="*/ 135709 h 186221"/>
                    <a:gd name="connsiteX159" fmla="*/ 20603 w 143304"/>
                    <a:gd name="connsiteY159" fmla="*/ 133713 h 186221"/>
                    <a:gd name="connsiteX160" fmla="*/ 17343 w 143304"/>
                    <a:gd name="connsiteY160" fmla="*/ 129638 h 186221"/>
                    <a:gd name="connsiteX161" fmla="*/ 16560 w 143304"/>
                    <a:gd name="connsiteY161" fmla="*/ 128065 h 186221"/>
                    <a:gd name="connsiteX162" fmla="*/ 14792 w 143304"/>
                    <a:gd name="connsiteY162" fmla="*/ 125905 h 186221"/>
                    <a:gd name="connsiteX163" fmla="*/ 15859 w 143304"/>
                    <a:gd name="connsiteY163" fmla="*/ 125620 h 186221"/>
                    <a:gd name="connsiteX164" fmla="*/ 19348 w 143304"/>
                    <a:gd name="connsiteY164" fmla="*/ 127690 h 186221"/>
                    <a:gd name="connsiteX165" fmla="*/ 19649 w 143304"/>
                    <a:gd name="connsiteY165" fmla="*/ 126875 h 186221"/>
                    <a:gd name="connsiteX166" fmla="*/ 19348 w 143304"/>
                    <a:gd name="connsiteY166" fmla="*/ 125653 h 186221"/>
                    <a:gd name="connsiteX167" fmla="*/ 15851 w 143304"/>
                    <a:gd name="connsiteY167" fmla="*/ 123705 h 186221"/>
                    <a:gd name="connsiteX168" fmla="*/ 13961 w 143304"/>
                    <a:gd name="connsiteY168" fmla="*/ 123566 h 186221"/>
                    <a:gd name="connsiteX169" fmla="*/ 13512 w 143304"/>
                    <a:gd name="connsiteY169" fmla="*/ 122205 h 186221"/>
                    <a:gd name="connsiteX170" fmla="*/ 13781 w 143304"/>
                    <a:gd name="connsiteY170" fmla="*/ 120624 h 186221"/>
                    <a:gd name="connsiteX171" fmla="*/ 11279 w 143304"/>
                    <a:gd name="connsiteY171" fmla="*/ 114675 h 186221"/>
                    <a:gd name="connsiteX172" fmla="*/ 8679 w 143304"/>
                    <a:gd name="connsiteY172" fmla="*/ 110225 h 186221"/>
                    <a:gd name="connsiteX173" fmla="*/ 8280 w 143304"/>
                    <a:gd name="connsiteY173" fmla="*/ 108122 h 186221"/>
                    <a:gd name="connsiteX174" fmla="*/ 15281 w 143304"/>
                    <a:gd name="connsiteY174" fmla="*/ 117796 h 186221"/>
                    <a:gd name="connsiteX175" fmla="*/ 16210 w 143304"/>
                    <a:gd name="connsiteY175" fmla="*/ 117967 h 186221"/>
                    <a:gd name="connsiteX176" fmla="*/ 17449 w 143304"/>
                    <a:gd name="connsiteY176" fmla="*/ 117861 h 186221"/>
                    <a:gd name="connsiteX177" fmla="*/ 20350 w 143304"/>
                    <a:gd name="connsiteY177" fmla="*/ 116786 h 186221"/>
                    <a:gd name="connsiteX178" fmla="*/ 19804 w 143304"/>
                    <a:gd name="connsiteY178" fmla="*/ 115498 h 186221"/>
                    <a:gd name="connsiteX179" fmla="*/ 18492 w 143304"/>
                    <a:gd name="connsiteY179" fmla="*/ 114104 h 186221"/>
                    <a:gd name="connsiteX180" fmla="*/ 17220 w 143304"/>
                    <a:gd name="connsiteY180" fmla="*/ 114732 h 186221"/>
                    <a:gd name="connsiteX181" fmla="*/ 15566 w 143304"/>
                    <a:gd name="connsiteY181" fmla="*/ 114879 h 186221"/>
                    <a:gd name="connsiteX182" fmla="*/ 14702 w 143304"/>
                    <a:gd name="connsiteY182" fmla="*/ 114300 h 186221"/>
                    <a:gd name="connsiteX183" fmla="*/ 14327 w 143304"/>
                    <a:gd name="connsiteY183" fmla="*/ 113306 h 186221"/>
                    <a:gd name="connsiteX184" fmla="*/ 15965 w 143304"/>
                    <a:gd name="connsiteY184" fmla="*/ 108595 h 186221"/>
                    <a:gd name="connsiteX185" fmla="*/ 15256 w 143304"/>
                    <a:gd name="connsiteY185" fmla="*/ 108840 h 186221"/>
                    <a:gd name="connsiteX186" fmla="*/ 14727 w 143304"/>
                    <a:gd name="connsiteY186" fmla="*/ 109679 h 186221"/>
                    <a:gd name="connsiteX187" fmla="*/ 13822 w 143304"/>
                    <a:gd name="connsiteY187" fmla="*/ 110078 h 186221"/>
                    <a:gd name="connsiteX188" fmla="*/ 12420 w 143304"/>
                    <a:gd name="connsiteY188" fmla="*/ 110315 h 186221"/>
                    <a:gd name="connsiteX189" fmla="*/ 8973 w 143304"/>
                    <a:gd name="connsiteY189" fmla="*/ 107805 h 186221"/>
                    <a:gd name="connsiteX190" fmla="*/ 5933 w 143304"/>
                    <a:gd name="connsiteY190" fmla="*/ 101016 h 186221"/>
                    <a:gd name="connsiteX191" fmla="*/ 5118 w 143304"/>
                    <a:gd name="connsiteY191" fmla="*/ 99614 h 186221"/>
                    <a:gd name="connsiteX192" fmla="*/ 4303 w 143304"/>
                    <a:gd name="connsiteY192" fmla="*/ 97251 h 186221"/>
                    <a:gd name="connsiteX193" fmla="*/ 3512 w 143304"/>
                    <a:gd name="connsiteY193" fmla="*/ 96281 h 186221"/>
                    <a:gd name="connsiteX194" fmla="*/ 0 w 143304"/>
                    <a:gd name="connsiteY194" fmla="*/ 86623 h 186221"/>
                    <a:gd name="connsiteX195" fmla="*/ 1345 w 143304"/>
                    <a:gd name="connsiteY195" fmla="*/ 87341 h 186221"/>
                    <a:gd name="connsiteX196" fmla="*/ 2942 w 143304"/>
                    <a:gd name="connsiteY196" fmla="*/ 90136 h 186221"/>
                    <a:gd name="connsiteX197" fmla="*/ 6039 w 143304"/>
                    <a:gd name="connsiteY197" fmla="*/ 89549 h 186221"/>
                    <a:gd name="connsiteX198" fmla="*/ 7253 w 143304"/>
                    <a:gd name="connsiteY198" fmla="*/ 87927 h 186221"/>
                    <a:gd name="connsiteX199" fmla="*/ 8313 w 143304"/>
                    <a:gd name="connsiteY199" fmla="*/ 87993 h 186221"/>
                    <a:gd name="connsiteX200" fmla="*/ 9388 w 143304"/>
                    <a:gd name="connsiteY200" fmla="*/ 87626 h 186221"/>
                    <a:gd name="connsiteX201" fmla="*/ 10758 w 143304"/>
                    <a:gd name="connsiteY201" fmla="*/ 86094 h 186221"/>
                    <a:gd name="connsiteX202" fmla="*/ 14727 w 143304"/>
                    <a:gd name="connsiteY202" fmla="*/ 79443 h 186221"/>
                    <a:gd name="connsiteX203" fmla="*/ 15786 w 143304"/>
                    <a:gd name="connsiteY203" fmla="*/ 70674 h 186221"/>
                    <a:gd name="connsiteX204" fmla="*/ 15444 w 143304"/>
                    <a:gd name="connsiteY204" fmla="*/ 65459 h 186221"/>
                    <a:gd name="connsiteX205" fmla="*/ 14857 w 143304"/>
                    <a:gd name="connsiteY205" fmla="*/ 60292 h 186221"/>
                    <a:gd name="connsiteX206" fmla="*/ 16169 w 143304"/>
                    <a:gd name="connsiteY206" fmla="*/ 58637 h 186221"/>
                    <a:gd name="connsiteX207" fmla="*/ 16690 w 143304"/>
                    <a:gd name="connsiteY207" fmla="*/ 59729 h 186221"/>
                    <a:gd name="connsiteX208" fmla="*/ 16952 w 143304"/>
                    <a:gd name="connsiteY208" fmla="*/ 61563 h 186221"/>
                    <a:gd name="connsiteX209" fmla="*/ 17562 w 143304"/>
                    <a:gd name="connsiteY209" fmla="*/ 62932 h 186221"/>
                    <a:gd name="connsiteX210" fmla="*/ 18973 w 143304"/>
                    <a:gd name="connsiteY210" fmla="*/ 64147 h 186221"/>
                    <a:gd name="connsiteX211" fmla="*/ 21613 w 143304"/>
                    <a:gd name="connsiteY211" fmla="*/ 64473 h 186221"/>
                    <a:gd name="connsiteX212" fmla="*/ 25688 w 143304"/>
                    <a:gd name="connsiteY212" fmla="*/ 66388 h 186221"/>
                    <a:gd name="connsiteX213" fmla="*/ 27130 w 143304"/>
                    <a:gd name="connsiteY213" fmla="*/ 67602 h 186221"/>
                    <a:gd name="connsiteX214" fmla="*/ 27530 w 143304"/>
                    <a:gd name="connsiteY214" fmla="*/ 65165 h 186221"/>
                    <a:gd name="connsiteX215" fmla="*/ 32216 w 143304"/>
                    <a:gd name="connsiteY215" fmla="*/ 63095 h 186221"/>
                    <a:gd name="connsiteX216" fmla="*/ 30798 w 143304"/>
                    <a:gd name="connsiteY216" fmla="*/ 62345 h 186221"/>
                    <a:gd name="connsiteX217" fmla="*/ 26633 w 143304"/>
                    <a:gd name="connsiteY217" fmla="*/ 63169 h 186221"/>
                    <a:gd name="connsiteX218" fmla="*/ 20920 w 143304"/>
                    <a:gd name="connsiteY218" fmla="*/ 60063 h 186221"/>
                    <a:gd name="connsiteX219" fmla="*/ 19030 w 143304"/>
                    <a:gd name="connsiteY219" fmla="*/ 58091 h 186221"/>
                    <a:gd name="connsiteX220" fmla="*/ 17261 w 143304"/>
                    <a:gd name="connsiteY220" fmla="*/ 54359 h 186221"/>
                    <a:gd name="connsiteX221" fmla="*/ 15427 w 143304"/>
                    <a:gd name="connsiteY221" fmla="*/ 52403 h 186221"/>
                    <a:gd name="connsiteX222" fmla="*/ 15550 w 143304"/>
                    <a:gd name="connsiteY222" fmla="*/ 50642 h 186221"/>
                    <a:gd name="connsiteX223" fmla="*/ 19649 w 143304"/>
                    <a:gd name="connsiteY223" fmla="*/ 49029 h 186221"/>
                    <a:gd name="connsiteX224" fmla="*/ 20741 w 143304"/>
                    <a:gd name="connsiteY224" fmla="*/ 49208 h 186221"/>
                    <a:gd name="connsiteX225" fmla="*/ 21181 w 143304"/>
                    <a:gd name="connsiteY225" fmla="*/ 51140 h 186221"/>
                    <a:gd name="connsiteX226" fmla="*/ 22281 w 143304"/>
                    <a:gd name="connsiteY226" fmla="*/ 51930 h 186221"/>
                    <a:gd name="connsiteX227" fmla="*/ 22697 w 143304"/>
                    <a:gd name="connsiteY227" fmla="*/ 51669 h 186221"/>
                    <a:gd name="connsiteX228" fmla="*/ 22884 w 143304"/>
                    <a:gd name="connsiteY228" fmla="*/ 50015 h 186221"/>
                    <a:gd name="connsiteX229" fmla="*/ 22901 w 143304"/>
                    <a:gd name="connsiteY229" fmla="*/ 45590 h 186221"/>
                    <a:gd name="connsiteX230" fmla="*/ 21637 w 143304"/>
                    <a:gd name="connsiteY230" fmla="*/ 39257 h 186221"/>
                    <a:gd name="connsiteX231" fmla="*/ 22021 w 143304"/>
                    <a:gd name="connsiteY231" fmla="*/ 38035 h 186221"/>
                    <a:gd name="connsiteX232" fmla="*/ 23153 w 143304"/>
                    <a:gd name="connsiteY232" fmla="*/ 37595 h 186221"/>
                    <a:gd name="connsiteX233" fmla="*/ 24148 w 143304"/>
                    <a:gd name="connsiteY233" fmla="*/ 36747 h 186221"/>
                    <a:gd name="connsiteX234" fmla="*/ 24849 w 143304"/>
                    <a:gd name="connsiteY234" fmla="*/ 36592 h 186221"/>
                    <a:gd name="connsiteX235" fmla="*/ 26242 w 143304"/>
                    <a:gd name="connsiteY235" fmla="*/ 36747 h 186221"/>
                    <a:gd name="connsiteX236" fmla="*/ 26935 w 143304"/>
                    <a:gd name="connsiteY236" fmla="*/ 38222 h 186221"/>
                    <a:gd name="connsiteX237" fmla="*/ 27310 w 143304"/>
                    <a:gd name="connsiteY237" fmla="*/ 39021 h 186221"/>
                    <a:gd name="connsiteX238" fmla="*/ 28712 w 143304"/>
                    <a:gd name="connsiteY238" fmla="*/ 39404 h 186221"/>
                    <a:gd name="connsiteX239" fmla="*/ 29861 w 143304"/>
                    <a:gd name="connsiteY239" fmla="*/ 40178 h 186221"/>
                    <a:gd name="connsiteX240" fmla="*/ 30847 w 143304"/>
                    <a:gd name="connsiteY240" fmla="*/ 39966 h 186221"/>
                    <a:gd name="connsiteX241" fmla="*/ 31678 w 143304"/>
                    <a:gd name="connsiteY241" fmla="*/ 39053 h 186221"/>
                    <a:gd name="connsiteX242" fmla="*/ 32876 w 143304"/>
                    <a:gd name="connsiteY242" fmla="*/ 38874 h 186221"/>
                    <a:gd name="connsiteX243" fmla="*/ 36609 w 143304"/>
                    <a:gd name="connsiteY243" fmla="*/ 38882 h 186221"/>
                    <a:gd name="connsiteX244" fmla="*/ 39999 w 143304"/>
                    <a:gd name="connsiteY244" fmla="*/ 38899 h 186221"/>
                    <a:gd name="connsiteX245" fmla="*/ 46739 w 143304"/>
                    <a:gd name="connsiteY245" fmla="*/ 38923 h 186221"/>
                    <a:gd name="connsiteX246" fmla="*/ 53479 w 143304"/>
                    <a:gd name="connsiteY246" fmla="*/ 38948 h 186221"/>
                    <a:gd name="connsiteX247" fmla="*/ 60218 w 143304"/>
                    <a:gd name="connsiteY247" fmla="*/ 38972 h 186221"/>
                    <a:gd name="connsiteX248" fmla="*/ 65296 w 143304"/>
                    <a:gd name="connsiteY248" fmla="*/ 38996 h 186221"/>
                    <a:gd name="connsiteX249" fmla="*/ 65279 w 143304"/>
                    <a:gd name="connsiteY249" fmla="*/ 35378 h 186221"/>
                    <a:gd name="connsiteX250" fmla="*/ 65255 w 143304"/>
                    <a:gd name="connsiteY250" fmla="*/ 29779 h 186221"/>
                    <a:gd name="connsiteX251" fmla="*/ 65222 w 143304"/>
                    <a:gd name="connsiteY251" fmla="*/ 23162 h 186221"/>
                    <a:gd name="connsiteX252" fmla="*/ 65190 w 143304"/>
                    <a:gd name="connsiteY252" fmla="*/ 16821 h 186221"/>
                    <a:gd name="connsiteX253" fmla="*/ 65157 w 143304"/>
                    <a:gd name="connsiteY253" fmla="*/ 10970 h 186221"/>
                    <a:gd name="connsiteX254" fmla="*/ 65116 w 143304"/>
                    <a:gd name="connsiteY254" fmla="*/ 4026 h 186221"/>
                    <a:gd name="connsiteX255" fmla="*/ 65402 w 143304"/>
                    <a:gd name="connsiteY255" fmla="*/ 2037 h 186221"/>
                    <a:gd name="connsiteX256" fmla="*/ 65744 w 143304"/>
                    <a:gd name="connsiteY256" fmla="*/ 1214 h 186221"/>
                    <a:gd name="connsiteX257" fmla="*/ 65614 w 143304"/>
                    <a:gd name="connsiteY257" fmla="*/ 65 h 186221"/>
                    <a:gd name="connsiteX258" fmla="*/ 70838 w 143304"/>
                    <a:gd name="connsiteY258" fmla="*/ 0 h 186221"/>
                    <a:gd name="connsiteX259" fmla="*/ 80283 w 143304"/>
                    <a:gd name="connsiteY259" fmla="*/ 505 h 186221"/>
                    <a:gd name="connsiteX260" fmla="*/ 84407 w 143304"/>
                    <a:gd name="connsiteY260" fmla="*/ 432 h 186221"/>
                    <a:gd name="connsiteX261" fmla="*/ 85580 w 143304"/>
                    <a:gd name="connsiteY261" fmla="*/ 530 h 186221"/>
                    <a:gd name="connsiteX262" fmla="*/ 90747 w 143304"/>
                    <a:gd name="connsiteY262" fmla="*/ 179 h 186221"/>
                    <a:gd name="connsiteX263" fmla="*/ 94920 w 143304"/>
                    <a:gd name="connsiteY263" fmla="*/ 619 h 186221"/>
                    <a:gd name="connsiteX264" fmla="*/ 96697 w 143304"/>
                    <a:gd name="connsiteY264" fmla="*/ 1108 h 186221"/>
                    <a:gd name="connsiteX265" fmla="*/ 98294 w 143304"/>
                    <a:gd name="connsiteY265" fmla="*/ 1353 h 186221"/>
                    <a:gd name="connsiteX266" fmla="*/ 103298 w 143304"/>
                    <a:gd name="connsiteY266" fmla="*/ 1654 h 186221"/>
                    <a:gd name="connsiteX267" fmla="*/ 109826 w 143304"/>
                    <a:gd name="connsiteY267" fmla="*/ 1271 h 186221"/>
                    <a:gd name="connsiteX268" fmla="*/ 112042 w 143304"/>
                    <a:gd name="connsiteY268" fmla="*/ 1361 h 186221"/>
                    <a:gd name="connsiteX269" fmla="*/ 113273 w 143304"/>
                    <a:gd name="connsiteY269" fmla="*/ 2331 h 186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143304" h="186221">
                      <a:moveTo>
                        <a:pt x="113860" y="4205"/>
                      </a:moveTo>
                      <a:lnTo>
                        <a:pt x="113746" y="6300"/>
                      </a:lnTo>
                      <a:lnTo>
                        <a:pt x="111774" y="11434"/>
                      </a:lnTo>
                      <a:lnTo>
                        <a:pt x="110861" y="15378"/>
                      </a:lnTo>
                      <a:lnTo>
                        <a:pt x="110616" y="19584"/>
                      </a:lnTo>
                      <a:lnTo>
                        <a:pt x="111162" y="22974"/>
                      </a:lnTo>
                      <a:lnTo>
                        <a:pt x="112108" y="25370"/>
                      </a:lnTo>
                      <a:lnTo>
                        <a:pt x="112719" y="28010"/>
                      </a:lnTo>
                      <a:lnTo>
                        <a:pt x="112246" y="29844"/>
                      </a:lnTo>
                      <a:lnTo>
                        <a:pt x="111284" y="30627"/>
                      </a:lnTo>
                      <a:lnTo>
                        <a:pt x="111936" y="31548"/>
                      </a:lnTo>
                      <a:lnTo>
                        <a:pt x="113387" y="31776"/>
                      </a:lnTo>
                      <a:lnTo>
                        <a:pt x="115816" y="30969"/>
                      </a:lnTo>
                      <a:lnTo>
                        <a:pt x="119565" y="29567"/>
                      </a:lnTo>
                      <a:lnTo>
                        <a:pt x="124471" y="27546"/>
                      </a:lnTo>
                      <a:lnTo>
                        <a:pt x="127690" y="26454"/>
                      </a:lnTo>
                      <a:lnTo>
                        <a:pt x="133020" y="27138"/>
                      </a:lnTo>
                      <a:lnTo>
                        <a:pt x="135872" y="27905"/>
                      </a:lnTo>
                      <a:lnTo>
                        <a:pt x="137331" y="29331"/>
                      </a:lnTo>
                      <a:lnTo>
                        <a:pt x="138896" y="35370"/>
                      </a:lnTo>
                      <a:lnTo>
                        <a:pt x="139687" y="36283"/>
                      </a:lnTo>
                      <a:lnTo>
                        <a:pt x="140966" y="38858"/>
                      </a:lnTo>
                      <a:lnTo>
                        <a:pt x="142042" y="41947"/>
                      </a:lnTo>
                      <a:lnTo>
                        <a:pt x="142278" y="43511"/>
                      </a:lnTo>
                      <a:lnTo>
                        <a:pt x="142156" y="44636"/>
                      </a:lnTo>
                      <a:lnTo>
                        <a:pt x="141072" y="46307"/>
                      </a:lnTo>
                      <a:lnTo>
                        <a:pt x="139849" y="48760"/>
                      </a:lnTo>
                      <a:lnTo>
                        <a:pt x="139417" y="50235"/>
                      </a:lnTo>
                      <a:lnTo>
                        <a:pt x="138399" y="51343"/>
                      </a:lnTo>
                      <a:lnTo>
                        <a:pt x="137103" y="52427"/>
                      </a:lnTo>
                      <a:lnTo>
                        <a:pt x="133558" y="52867"/>
                      </a:lnTo>
                      <a:lnTo>
                        <a:pt x="133004" y="53511"/>
                      </a:lnTo>
                      <a:lnTo>
                        <a:pt x="132009" y="56119"/>
                      </a:lnTo>
                      <a:lnTo>
                        <a:pt x="130135" y="58336"/>
                      </a:lnTo>
                      <a:lnTo>
                        <a:pt x="129279" y="60422"/>
                      </a:lnTo>
                      <a:lnTo>
                        <a:pt x="128529" y="63217"/>
                      </a:lnTo>
                      <a:lnTo>
                        <a:pt x="128668" y="66673"/>
                      </a:lnTo>
                      <a:lnTo>
                        <a:pt x="128293" y="71652"/>
                      </a:lnTo>
                      <a:lnTo>
                        <a:pt x="127910" y="75010"/>
                      </a:lnTo>
                      <a:lnTo>
                        <a:pt x="128855" y="76192"/>
                      </a:lnTo>
                      <a:lnTo>
                        <a:pt x="133101" y="77015"/>
                      </a:lnTo>
                      <a:lnTo>
                        <a:pt x="133933" y="77683"/>
                      </a:lnTo>
                      <a:lnTo>
                        <a:pt x="135066" y="79761"/>
                      </a:lnTo>
                      <a:lnTo>
                        <a:pt x="136516" y="81734"/>
                      </a:lnTo>
                      <a:lnTo>
                        <a:pt x="140412" y="82964"/>
                      </a:lnTo>
                      <a:lnTo>
                        <a:pt x="141919" y="84448"/>
                      </a:lnTo>
                      <a:lnTo>
                        <a:pt x="143150" y="86110"/>
                      </a:lnTo>
                      <a:lnTo>
                        <a:pt x="143305" y="87446"/>
                      </a:lnTo>
                      <a:lnTo>
                        <a:pt x="142416" y="92842"/>
                      </a:lnTo>
                      <a:lnTo>
                        <a:pt x="141561" y="98033"/>
                      </a:lnTo>
                      <a:lnTo>
                        <a:pt x="141895" y="101978"/>
                      </a:lnTo>
                      <a:lnTo>
                        <a:pt x="142213" y="105751"/>
                      </a:lnTo>
                      <a:lnTo>
                        <a:pt x="142685" y="111236"/>
                      </a:lnTo>
                      <a:lnTo>
                        <a:pt x="142474" y="114593"/>
                      </a:lnTo>
                      <a:lnTo>
                        <a:pt x="141373" y="116639"/>
                      </a:lnTo>
                      <a:lnTo>
                        <a:pt x="141373" y="118236"/>
                      </a:lnTo>
                      <a:lnTo>
                        <a:pt x="141879" y="120168"/>
                      </a:lnTo>
                      <a:lnTo>
                        <a:pt x="140901" y="125530"/>
                      </a:lnTo>
                      <a:lnTo>
                        <a:pt x="140273" y="126427"/>
                      </a:lnTo>
                      <a:lnTo>
                        <a:pt x="138538" y="127421"/>
                      </a:lnTo>
                      <a:lnTo>
                        <a:pt x="137625" y="128863"/>
                      </a:lnTo>
                      <a:lnTo>
                        <a:pt x="137331" y="131105"/>
                      </a:lnTo>
                      <a:lnTo>
                        <a:pt x="136394" y="134194"/>
                      </a:lnTo>
                      <a:lnTo>
                        <a:pt x="135416" y="135334"/>
                      </a:lnTo>
                      <a:lnTo>
                        <a:pt x="135416" y="136769"/>
                      </a:lnTo>
                      <a:lnTo>
                        <a:pt x="136361" y="137812"/>
                      </a:lnTo>
                      <a:lnTo>
                        <a:pt x="136345" y="139426"/>
                      </a:lnTo>
                      <a:lnTo>
                        <a:pt x="134601" y="141333"/>
                      </a:lnTo>
                      <a:lnTo>
                        <a:pt x="133558" y="142800"/>
                      </a:lnTo>
                      <a:lnTo>
                        <a:pt x="131235" y="143509"/>
                      </a:lnTo>
                      <a:lnTo>
                        <a:pt x="128578" y="142759"/>
                      </a:lnTo>
                      <a:lnTo>
                        <a:pt x="127959" y="141691"/>
                      </a:lnTo>
                      <a:lnTo>
                        <a:pt x="128595" y="140037"/>
                      </a:lnTo>
                      <a:lnTo>
                        <a:pt x="128366" y="138708"/>
                      </a:lnTo>
                      <a:lnTo>
                        <a:pt x="127462" y="137315"/>
                      </a:lnTo>
                      <a:lnTo>
                        <a:pt x="126036" y="133713"/>
                      </a:lnTo>
                      <a:lnTo>
                        <a:pt x="124789" y="132963"/>
                      </a:lnTo>
                      <a:lnTo>
                        <a:pt x="124079" y="134430"/>
                      </a:lnTo>
                      <a:lnTo>
                        <a:pt x="121920" y="137152"/>
                      </a:lnTo>
                      <a:lnTo>
                        <a:pt x="118106" y="140656"/>
                      </a:lnTo>
                      <a:lnTo>
                        <a:pt x="115441" y="140942"/>
                      </a:lnTo>
                      <a:lnTo>
                        <a:pt x="110518" y="139866"/>
                      </a:lnTo>
                      <a:lnTo>
                        <a:pt x="106387" y="138195"/>
                      </a:lnTo>
                      <a:lnTo>
                        <a:pt x="104439" y="134096"/>
                      </a:lnTo>
                      <a:lnTo>
                        <a:pt x="103216" y="130714"/>
                      </a:lnTo>
                      <a:lnTo>
                        <a:pt x="101464" y="126769"/>
                      </a:lnTo>
                      <a:lnTo>
                        <a:pt x="99484" y="124894"/>
                      </a:lnTo>
                      <a:lnTo>
                        <a:pt x="97365" y="123713"/>
                      </a:lnTo>
                      <a:lnTo>
                        <a:pt x="96419" y="123623"/>
                      </a:lnTo>
                      <a:lnTo>
                        <a:pt x="93404" y="125824"/>
                      </a:lnTo>
                      <a:lnTo>
                        <a:pt x="92499" y="126679"/>
                      </a:lnTo>
                      <a:lnTo>
                        <a:pt x="92508" y="128521"/>
                      </a:lnTo>
                      <a:lnTo>
                        <a:pt x="92785" y="130241"/>
                      </a:lnTo>
                      <a:lnTo>
                        <a:pt x="93241" y="131064"/>
                      </a:lnTo>
                      <a:lnTo>
                        <a:pt x="93640" y="132172"/>
                      </a:lnTo>
                      <a:lnTo>
                        <a:pt x="93575" y="133884"/>
                      </a:lnTo>
                      <a:lnTo>
                        <a:pt x="93037" y="136166"/>
                      </a:lnTo>
                      <a:lnTo>
                        <a:pt x="92850" y="138700"/>
                      </a:lnTo>
                      <a:lnTo>
                        <a:pt x="83380" y="141170"/>
                      </a:lnTo>
                      <a:lnTo>
                        <a:pt x="81726" y="140281"/>
                      </a:lnTo>
                      <a:lnTo>
                        <a:pt x="80544" y="139132"/>
                      </a:lnTo>
                      <a:lnTo>
                        <a:pt x="79109" y="139344"/>
                      </a:lnTo>
                      <a:lnTo>
                        <a:pt x="75002" y="140640"/>
                      </a:lnTo>
                      <a:lnTo>
                        <a:pt x="73494" y="139735"/>
                      </a:lnTo>
                      <a:lnTo>
                        <a:pt x="71995" y="139075"/>
                      </a:lnTo>
                      <a:lnTo>
                        <a:pt x="71302" y="139629"/>
                      </a:lnTo>
                      <a:lnTo>
                        <a:pt x="71245" y="140713"/>
                      </a:lnTo>
                      <a:lnTo>
                        <a:pt x="71938" y="146646"/>
                      </a:lnTo>
                      <a:lnTo>
                        <a:pt x="71726" y="148920"/>
                      </a:lnTo>
                      <a:lnTo>
                        <a:pt x="70797" y="151862"/>
                      </a:lnTo>
                      <a:lnTo>
                        <a:pt x="70316" y="153875"/>
                      </a:lnTo>
                      <a:lnTo>
                        <a:pt x="72826" y="154429"/>
                      </a:lnTo>
                      <a:lnTo>
                        <a:pt x="73731" y="155375"/>
                      </a:lnTo>
                      <a:lnTo>
                        <a:pt x="74619" y="156866"/>
                      </a:lnTo>
                      <a:lnTo>
                        <a:pt x="75833" y="158260"/>
                      </a:lnTo>
                      <a:lnTo>
                        <a:pt x="75915" y="159099"/>
                      </a:lnTo>
                      <a:lnTo>
                        <a:pt x="74545" y="160656"/>
                      </a:lnTo>
                      <a:lnTo>
                        <a:pt x="74056" y="162563"/>
                      </a:lnTo>
                      <a:lnTo>
                        <a:pt x="74716" y="164070"/>
                      </a:lnTo>
                      <a:lnTo>
                        <a:pt x="76428" y="165635"/>
                      </a:lnTo>
                      <a:lnTo>
                        <a:pt x="78938" y="167265"/>
                      </a:lnTo>
                      <a:lnTo>
                        <a:pt x="80153" y="168316"/>
                      </a:lnTo>
                      <a:lnTo>
                        <a:pt x="80014" y="169286"/>
                      </a:lnTo>
                      <a:lnTo>
                        <a:pt x="78873" y="171356"/>
                      </a:lnTo>
                      <a:lnTo>
                        <a:pt x="78425" y="173100"/>
                      </a:lnTo>
                      <a:lnTo>
                        <a:pt x="77634" y="174698"/>
                      </a:lnTo>
                      <a:lnTo>
                        <a:pt x="77798" y="176148"/>
                      </a:lnTo>
                      <a:lnTo>
                        <a:pt x="78922" y="177501"/>
                      </a:lnTo>
                      <a:lnTo>
                        <a:pt x="78800" y="178715"/>
                      </a:lnTo>
                      <a:lnTo>
                        <a:pt x="78034" y="179636"/>
                      </a:lnTo>
                      <a:lnTo>
                        <a:pt x="76485" y="179449"/>
                      </a:lnTo>
                      <a:lnTo>
                        <a:pt x="75165" y="179571"/>
                      </a:lnTo>
                      <a:lnTo>
                        <a:pt x="73983" y="179204"/>
                      </a:lnTo>
                      <a:lnTo>
                        <a:pt x="70283" y="174486"/>
                      </a:lnTo>
                      <a:lnTo>
                        <a:pt x="69477" y="174363"/>
                      </a:lnTo>
                      <a:lnTo>
                        <a:pt x="64130" y="177974"/>
                      </a:lnTo>
                      <a:lnTo>
                        <a:pt x="62794" y="179465"/>
                      </a:lnTo>
                      <a:lnTo>
                        <a:pt x="61685" y="181600"/>
                      </a:lnTo>
                      <a:lnTo>
                        <a:pt x="60210" y="186221"/>
                      </a:lnTo>
                      <a:lnTo>
                        <a:pt x="57773" y="183524"/>
                      </a:lnTo>
                      <a:lnTo>
                        <a:pt x="55671" y="178601"/>
                      </a:lnTo>
                      <a:lnTo>
                        <a:pt x="53210" y="175578"/>
                      </a:lnTo>
                      <a:lnTo>
                        <a:pt x="48075" y="170696"/>
                      </a:lnTo>
                      <a:lnTo>
                        <a:pt x="46698" y="167094"/>
                      </a:lnTo>
                      <a:lnTo>
                        <a:pt x="40806" y="159156"/>
                      </a:lnTo>
                      <a:lnTo>
                        <a:pt x="32330" y="151226"/>
                      </a:lnTo>
                      <a:lnTo>
                        <a:pt x="26210" y="144348"/>
                      </a:lnTo>
                      <a:lnTo>
                        <a:pt x="25280" y="142816"/>
                      </a:lnTo>
                      <a:lnTo>
                        <a:pt x="26316" y="143003"/>
                      </a:lnTo>
                      <a:lnTo>
                        <a:pt x="32216" y="146442"/>
                      </a:lnTo>
                      <a:lnTo>
                        <a:pt x="33031" y="146051"/>
                      </a:lnTo>
                      <a:lnTo>
                        <a:pt x="33707" y="145285"/>
                      </a:lnTo>
                      <a:lnTo>
                        <a:pt x="31156" y="143492"/>
                      </a:lnTo>
                      <a:lnTo>
                        <a:pt x="28720" y="142066"/>
                      </a:lnTo>
                      <a:lnTo>
                        <a:pt x="26429" y="141186"/>
                      </a:lnTo>
                      <a:lnTo>
                        <a:pt x="24148" y="141259"/>
                      </a:lnTo>
                      <a:lnTo>
                        <a:pt x="22868" y="139800"/>
                      </a:lnTo>
                      <a:lnTo>
                        <a:pt x="22029" y="137584"/>
                      </a:lnTo>
                      <a:lnTo>
                        <a:pt x="21613" y="135709"/>
                      </a:lnTo>
                      <a:lnTo>
                        <a:pt x="20603" y="133713"/>
                      </a:lnTo>
                      <a:lnTo>
                        <a:pt x="17343" y="129638"/>
                      </a:lnTo>
                      <a:lnTo>
                        <a:pt x="16560" y="128065"/>
                      </a:lnTo>
                      <a:lnTo>
                        <a:pt x="14792" y="125905"/>
                      </a:lnTo>
                      <a:lnTo>
                        <a:pt x="15859" y="125620"/>
                      </a:lnTo>
                      <a:lnTo>
                        <a:pt x="19348" y="127690"/>
                      </a:lnTo>
                      <a:lnTo>
                        <a:pt x="19649" y="126875"/>
                      </a:lnTo>
                      <a:lnTo>
                        <a:pt x="19348" y="125653"/>
                      </a:lnTo>
                      <a:lnTo>
                        <a:pt x="15851" y="123705"/>
                      </a:lnTo>
                      <a:lnTo>
                        <a:pt x="13961" y="123566"/>
                      </a:lnTo>
                      <a:lnTo>
                        <a:pt x="13512" y="122205"/>
                      </a:lnTo>
                      <a:lnTo>
                        <a:pt x="13781" y="120624"/>
                      </a:lnTo>
                      <a:lnTo>
                        <a:pt x="11279" y="114675"/>
                      </a:lnTo>
                      <a:lnTo>
                        <a:pt x="8679" y="110225"/>
                      </a:lnTo>
                      <a:lnTo>
                        <a:pt x="8280" y="108122"/>
                      </a:lnTo>
                      <a:lnTo>
                        <a:pt x="15281" y="117796"/>
                      </a:lnTo>
                      <a:lnTo>
                        <a:pt x="16210" y="117967"/>
                      </a:lnTo>
                      <a:lnTo>
                        <a:pt x="17449" y="117861"/>
                      </a:lnTo>
                      <a:lnTo>
                        <a:pt x="20350" y="116786"/>
                      </a:lnTo>
                      <a:lnTo>
                        <a:pt x="19804" y="115498"/>
                      </a:lnTo>
                      <a:lnTo>
                        <a:pt x="18492" y="114104"/>
                      </a:lnTo>
                      <a:lnTo>
                        <a:pt x="17220" y="114732"/>
                      </a:lnTo>
                      <a:lnTo>
                        <a:pt x="15566" y="114879"/>
                      </a:lnTo>
                      <a:lnTo>
                        <a:pt x="14702" y="114300"/>
                      </a:lnTo>
                      <a:lnTo>
                        <a:pt x="14327" y="113306"/>
                      </a:lnTo>
                      <a:lnTo>
                        <a:pt x="15965" y="108595"/>
                      </a:lnTo>
                      <a:lnTo>
                        <a:pt x="15256" y="108840"/>
                      </a:lnTo>
                      <a:lnTo>
                        <a:pt x="14727" y="109679"/>
                      </a:lnTo>
                      <a:lnTo>
                        <a:pt x="13822" y="110078"/>
                      </a:lnTo>
                      <a:lnTo>
                        <a:pt x="12420" y="110315"/>
                      </a:lnTo>
                      <a:lnTo>
                        <a:pt x="8973" y="107805"/>
                      </a:lnTo>
                      <a:lnTo>
                        <a:pt x="5933" y="101016"/>
                      </a:lnTo>
                      <a:lnTo>
                        <a:pt x="5118" y="99614"/>
                      </a:lnTo>
                      <a:lnTo>
                        <a:pt x="4303" y="97251"/>
                      </a:lnTo>
                      <a:lnTo>
                        <a:pt x="3512" y="96281"/>
                      </a:lnTo>
                      <a:lnTo>
                        <a:pt x="0" y="86623"/>
                      </a:lnTo>
                      <a:lnTo>
                        <a:pt x="1345" y="87341"/>
                      </a:lnTo>
                      <a:lnTo>
                        <a:pt x="2942" y="90136"/>
                      </a:lnTo>
                      <a:lnTo>
                        <a:pt x="6039" y="89549"/>
                      </a:lnTo>
                      <a:lnTo>
                        <a:pt x="7253" y="87927"/>
                      </a:lnTo>
                      <a:lnTo>
                        <a:pt x="8313" y="87993"/>
                      </a:lnTo>
                      <a:lnTo>
                        <a:pt x="9388" y="87626"/>
                      </a:lnTo>
                      <a:lnTo>
                        <a:pt x="10758" y="86094"/>
                      </a:lnTo>
                      <a:lnTo>
                        <a:pt x="14727" y="79443"/>
                      </a:lnTo>
                      <a:lnTo>
                        <a:pt x="15786" y="70674"/>
                      </a:lnTo>
                      <a:lnTo>
                        <a:pt x="15444" y="65459"/>
                      </a:lnTo>
                      <a:lnTo>
                        <a:pt x="14857" y="60292"/>
                      </a:lnTo>
                      <a:lnTo>
                        <a:pt x="16169" y="58637"/>
                      </a:lnTo>
                      <a:lnTo>
                        <a:pt x="16690" y="59729"/>
                      </a:lnTo>
                      <a:lnTo>
                        <a:pt x="16952" y="61563"/>
                      </a:lnTo>
                      <a:lnTo>
                        <a:pt x="17562" y="62932"/>
                      </a:lnTo>
                      <a:lnTo>
                        <a:pt x="18973" y="64147"/>
                      </a:lnTo>
                      <a:lnTo>
                        <a:pt x="21613" y="64473"/>
                      </a:lnTo>
                      <a:lnTo>
                        <a:pt x="25688" y="66388"/>
                      </a:lnTo>
                      <a:lnTo>
                        <a:pt x="27130" y="67602"/>
                      </a:lnTo>
                      <a:lnTo>
                        <a:pt x="27530" y="65165"/>
                      </a:lnTo>
                      <a:lnTo>
                        <a:pt x="32216" y="63095"/>
                      </a:lnTo>
                      <a:lnTo>
                        <a:pt x="30798" y="62345"/>
                      </a:lnTo>
                      <a:lnTo>
                        <a:pt x="26633" y="63169"/>
                      </a:lnTo>
                      <a:lnTo>
                        <a:pt x="20920" y="60063"/>
                      </a:lnTo>
                      <a:lnTo>
                        <a:pt x="19030" y="58091"/>
                      </a:lnTo>
                      <a:lnTo>
                        <a:pt x="17261" y="54359"/>
                      </a:lnTo>
                      <a:lnTo>
                        <a:pt x="15427" y="52403"/>
                      </a:lnTo>
                      <a:lnTo>
                        <a:pt x="15550" y="50642"/>
                      </a:lnTo>
                      <a:lnTo>
                        <a:pt x="19649" y="49029"/>
                      </a:lnTo>
                      <a:lnTo>
                        <a:pt x="20741" y="49208"/>
                      </a:lnTo>
                      <a:lnTo>
                        <a:pt x="21181" y="51140"/>
                      </a:lnTo>
                      <a:lnTo>
                        <a:pt x="22281" y="51930"/>
                      </a:lnTo>
                      <a:lnTo>
                        <a:pt x="22697" y="51669"/>
                      </a:lnTo>
                      <a:lnTo>
                        <a:pt x="22884" y="50015"/>
                      </a:lnTo>
                      <a:lnTo>
                        <a:pt x="22901" y="45590"/>
                      </a:lnTo>
                      <a:lnTo>
                        <a:pt x="21637" y="39257"/>
                      </a:lnTo>
                      <a:lnTo>
                        <a:pt x="22021" y="38035"/>
                      </a:lnTo>
                      <a:lnTo>
                        <a:pt x="23153" y="37595"/>
                      </a:lnTo>
                      <a:lnTo>
                        <a:pt x="24148" y="36747"/>
                      </a:lnTo>
                      <a:lnTo>
                        <a:pt x="24849" y="36592"/>
                      </a:lnTo>
                      <a:lnTo>
                        <a:pt x="26242" y="36747"/>
                      </a:lnTo>
                      <a:lnTo>
                        <a:pt x="26935" y="38222"/>
                      </a:lnTo>
                      <a:lnTo>
                        <a:pt x="27310" y="39021"/>
                      </a:lnTo>
                      <a:lnTo>
                        <a:pt x="28712" y="39404"/>
                      </a:lnTo>
                      <a:lnTo>
                        <a:pt x="29861" y="40178"/>
                      </a:lnTo>
                      <a:lnTo>
                        <a:pt x="30847" y="39966"/>
                      </a:lnTo>
                      <a:lnTo>
                        <a:pt x="31678" y="39053"/>
                      </a:lnTo>
                      <a:lnTo>
                        <a:pt x="32876" y="38874"/>
                      </a:lnTo>
                      <a:lnTo>
                        <a:pt x="36609" y="38882"/>
                      </a:lnTo>
                      <a:lnTo>
                        <a:pt x="39999" y="38899"/>
                      </a:lnTo>
                      <a:lnTo>
                        <a:pt x="46739" y="38923"/>
                      </a:lnTo>
                      <a:lnTo>
                        <a:pt x="53479" y="38948"/>
                      </a:lnTo>
                      <a:lnTo>
                        <a:pt x="60218" y="38972"/>
                      </a:lnTo>
                      <a:lnTo>
                        <a:pt x="65296" y="38996"/>
                      </a:lnTo>
                      <a:lnTo>
                        <a:pt x="65279" y="35378"/>
                      </a:lnTo>
                      <a:lnTo>
                        <a:pt x="65255" y="29779"/>
                      </a:lnTo>
                      <a:lnTo>
                        <a:pt x="65222" y="23162"/>
                      </a:lnTo>
                      <a:lnTo>
                        <a:pt x="65190" y="16821"/>
                      </a:lnTo>
                      <a:lnTo>
                        <a:pt x="65157" y="10970"/>
                      </a:lnTo>
                      <a:lnTo>
                        <a:pt x="65116" y="4026"/>
                      </a:lnTo>
                      <a:lnTo>
                        <a:pt x="65402" y="2037"/>
                      </a:lnTo>
                      <a:lnTo>
                        <a:pt x="65744" y="1214"/>
                      </a:lnTo>
                      <a:lnTo>
                        <a:pt x="65614" y="65"/>
                      </a:lnTo>
                      <a:lnTo>
                        <a:pt x="70838" y="0"/>
                      </a:lnTo>
                      <a:lnTo>
                        <a:pt x="80283" y="505"/>
                      </a:lnTo>
                      <a:lnTo>
                        <a:pt x="84407" y="432"/>
                      </a:lnTo>
                      <a:lnTo>
                        <a:pt x="85580" y="530"/>
                      </a:lnTo>
                      <a:lnTo>
                        <a:pt x="90747" y="179"/>
                      </a:lnTo>
                      <a:lnTo>
                        <a:pt x="94920" y="619"/>
                      </a:lnTo>
                      <a:lnTo>
                        <a:pt x="96697" y="1108"/>
                      </a:lnTo>
                      <a:lnTo>
                        <a:pt x="98294" y="1353"/>
                      </a:lnTo>
                      <a:lnTo>
                        <a:pt x="103298" y="1654"/>
                      </a:lnTo>
                      <a:lnTo>
                        <a:pt x="109826" y="1271"/>
                      </a:lnTo>
                      <a:lnTo>
                        <a:pt x="112042" y="1361"/>
                      </a:lnTo>
                      <a:lnTo>
                        <a:pt x="113273" y="2331"/>
                      </a:lnTo>
                      <a:close/>
                    </a:path>
                  </a:pathLst>
                </a:custGeom>
                <a:solidFill>
                  <a:srgbClr val="D6D6D2"/>
                </a:solidFill>
                <a:ln w="6112" cap="rnd">
                  <a:solidFill>
                    <a:srgbClr val="FFFFFF"/>
                  </a:solidFill>
                  <a:prstDash val="solid"/>
                  <a:round/>
                </a:ln>
              </p:spPr>
              <p:txBody>
                <a:bodyPr rtlCol="0" anchor="ctr"/>
                <a:lstStyle/>
                <a:p>
                  <a:endParaRPr lang="en-US"/>
                </a:p>
              </p:txBody>
            </p:sp>
            <p:sp>
              <p:nvSpPr>
                <p:cNvPr id="730" name="Freeform: Shape 729">
                  <a:extLst>
                    <a:ext uri="{FF2B5EF4-FFF2-40B4-BE49-F238E27FC236}">
                      <a16:creationId xmlns:a16="http://schemas.microsoft.com/office/drawing/2014/main" id="{0F09F6FC-F07C-4DC4-A5FC-4547DBE94547}"/>
                    </a:ext>
                  </a:extLst>
                </p:cNvPr>
                <p:cNvSpPr/>
                <p:nvPr/>
              </p:nvSpPr>
              <p:spPr>
                <a:xfrm>
                  <a:off x="7313529" y="5156182"/>
                  <a:ext cx="15036" cy="15606"/>
                </a:xfrm>
                <a:custGeom>
                  <a:avLst/>
                  <a:gdLst>
                    <a:gd name="connsiteX0" fmla="*/ 14001 w 15036"/>
                    <a:gd name="connsiteY0" fmla="*/ 14686 h 15606"/>
                    <a:gd name="connsiteX1" fmla="*/ 10505 w 15036"/>
                    <a:gd name="connsiteY1" fmla="*/ 15607 h 15606"/>
                    <a:gd name="connsiteX2" fmla="*/ 8052 w 15036"/>
                    <a:gd name="connsiteY2" fmla="*/ 15273 h 15606"/>
                    <a:gd name="connsiteX3" fmla="*/ 3219 w 15036"/>
                    <a:gd name="connsiteY3" fmla="*/ 12656 h 15606"/>
                    <a:gd name="connsiteX4" fmla="*/ 1923 w 15036"/>
                    <a:gd name="connsiteY4" fmla="*/ 10912 h 15606"/>
                    <a:gd name="connsiteX5" fmla="*/ 0 w 15036"/>
                    <a:gd name="connsiteY5" fmla="*/ 5982 h 15606"/>
                    <a:gd name="connsiteX6" fmla="*/ 424 w 15036"/>
                    <a:gd name="connsiteY6" fmla="*/ 4254 h 15606"/>
                    <a:gd name="connsiteX7" fmla="*/ 1939 w 15036"/>
                    <a:gd name="connsiteY7" fmla="*/ 1206 h 15606"/>
                    <a:gd name="connsiteX8" fmla="*/ 5395 w 15036"/>
                    <a:gd name="connsiteY8" fmla="*/ 0 h 15606"/>
                    <a:gd name="connsiteX9" fmla="*/ 9022 w 15036"/>
                    <a:gd name="connsiteY9" fmla="*/ 448 h 15606"/>
                    <a:gd name="connsiteX10" fmla="*/ 10635 w 15036"/>
                    <a:gd name="connsiteY10" fmla="*/ 1271 h 15606"/>
                    <a:gd name="connsiteX11" fmla="*/ 12558 w 15036"/>
                    <a:gd name="connsiteY11" fmla="*/ 4841 h 15606"/>
                    <a:gd name="connsiteX12" fmla="*/ 15036 w 15036"/>
                    <a:gd name="connsiteY12" fmla="*/ 8467 h 15606"/>
                    <a:gd name="connsiteX13" fmla="*/ 14621 w 15036"/>
                    <a:gd name="connsiteY13" fmla="*/ 12779 h 15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036" h="15606">
                      <a:moveTo>
                        <a:pt x="14001" y="14686"/>
                      </a:moveTo>
                      <a:lnTo>
                        <a:pt x="10505" y="15607"/>
                      </a:lnTo>
                      <a:lnTo>
                        <a:pt x="8052" y="15273"/>
                      </a:lnTo>
                      <a:lnTo>
                        <a:pt x="3219" y="12656"/>
                      </a:lnTo>
                      <a:lnTo>
                        <a:pt x="1923" y="10912"/>
                      </a:lnTo>
                      <a:lnTo>
                        <a:pt x="0" y="5982"/>
                      </a:lnTo>
                      <a:lnTo>
                        <a:pt x="424" y="4254"/>
                      </a:lnTo>
                      <a:lnTo>
                        <a:pt x="1939" y="1206"/>
                      </a:lnTo>
                      <a:lnTo>
                        <a:pt x="5395" y="0"/>
                      </a:lnTo>
                      <a:lnTo>
                        <a:pt x="9022" y="448"/>
                      </a:lnTo>
                      <a:lnTo>
                        <a:pt x="10635" y="1271"/>
                      </a:lnTo>
                      <a:lnTo>
                        <a:pt x="12558" y="4841"/>
                      </a:lnTo>
                      <a:lnTo>
                        <a:pt x="15036" y="8467"/>
                      </a:lnTo>
                      <a:lnTo>
                        <a:pt x="14621" y="12779"/>
                      </a:lnTo>
                      <a:close/>
                    </a:path>
                  </a:pathLst>
                </a:custGeom>
                <a:solidFill>
                  <a:srgbClr val="D6D6D2"/>
                </a:solidFill>
                <a:ln w="8150" cap="flat">
                  <a:noFill/>
                  <a:prstDash val="solid"/>
                  <a:miter/>
                </a:ln>
              </p:spPr>
              <p:txBody>
                <a:bodyPr rtlCol="0" anchor="ctr"/>
                <a:lstStyle/>
                <a:p>
                  <a:endParaRPr lang="en-US"/>
                </a:p>
              </p:txBody>
            </p:sp>
            <p:sp>
              <p:nvSpPr>
                <p:cNvPr id="731" name="Freeform: Shape 730">
                  <a:extLst>
                    <a:ext uri="{FF2B5EF4-FFF2-40B4-BE49-F238E27FC236}">
                      <a16:creationId xmlns:a16="http://schemas.microsoft.com/office/drawing/2014/main" id="{EF9665E7-1833-4294-8EC8-3F770A4EC817}"/>
                    </a:ext>
                  </a:extLst>
                </p:cNvPr>
                <p:cNvSpPr/>
                <p:nvPr/>
              </p:nvSpPr>
              <p:spPr>
                <a:xfrm>
                  <a:off x="4589016" y="4351241"/>
                  <a:ext cx="73510" cy="109752"/>
                </a:xfrm>
                <a:custGeom>
                  <a:avLst/>
                  <a:gdLst>
                    <a:gd name="connsiteX0" fmla="*/ 57724 w 73510"/>
                    <a:gd name="connsiteY0" fmla="*/ 27187 h 109752"/>
                    <a:gd name="connsiteX1" fmla="*/ 56844 w 73510"/>
                    <a:gd name="connsiteY1" fmla="*/ 30350 h 109752"/>
                    <a:gd name="connsiteX2" fmla="*/ 59444 w 73510"/>
                    <a:gd name="connsiteY2" fmla="*/ 27587 h 109752"/>
                    <a:gd name="connsiteX3" fmla="*/ 63454 w 73510"/>
                    <a:gd name="connsiteY3" fmla="*/ 31947 h 109752"/>
                    <a:gd name="connsiteX4" fmla="*/ 64587 w 73510"/>
                    <a:gd name="connsiteY4" fmla="*/ 34090 h 109752"/>
                    <a:gd name="connsiteX5" fmla="*/ 65842 w 73510"/>
                    <a:gd name="connsiteY5" fmla="*/ 38035 h 109752"/>
                    <a:gd name="connsiteX6" fmla="*/ 65410 w 73510"/>
                    <a:gd name="connsiteY6" fmla="*/ 40569 h 109752"/>
                    <a:gd name="connsiteX7" fmla="*/ 64855 w 73510"/>
                    <a:gd name="connsiteY7" fmla="*/ 41882 h 109752"/>
                    <a:gd name="connsiteX8" fmla="*/ 64823 w 73510"/>
                    <a:gd name="connsiteY8" fmla="*/ 42900 h 109752"/>
                    <a:gd name="connsiteX9" fmla="*/ 66013 w 73510"/>
                    <a:gd name="connsiteY9" fmla="*/ 41490 h 109752"/>
                    <a:gd name="connsiteX10" fmla="*/ 66689 w 73510"/>
                    <a:gd name="connsiteY10" fmla="*/ 40382 h 109752"/>
                    <a:gd name="connsiteX11" fmla="*/ 66893 w 73510"/>
                    <a:gd name="connsiteY11" fmla="*/ 37742 h 109752"/>
                    <a:gd name="connsiteX12" fmla="*/ 67871 w 73510"/>
                    <a:gd name="connsiteY12" fmla="*/ 34457 h 109752"/>
                    <a:gd name="connsiteX13" fmla="*/ 69175 w 73510"/>
                    <a:gd name="connsiteY13" fmla="*/ 34400 h 109752"/>
                    <a:gd name="connsiteX14" fmla="*/ 70210 w 73510"/>
                    <a:gd name="connsiteY14" fmla="*/ 36356 h 109752"/>
                    <a:gd name="connsiteX15" fmla="*/ 72369 w 73510"/>
                    <a:gd name="connsiteY15" fmla="*/ 44856 h 109752"/>
                    <a:gd name="connsiteX16" fmla="*/ 73184 w 73510"/>
                    <a:gd name="connsiteY16" fmla="*/ 46600 h 109752"/>
                    <a:gd name="connsiteX17" fmla="*/ 73494 w 73510"/>
                    <a:gd name="connsiteY17" fmla="*/ 49298 h 109752"/>
                    <a:gd name="connsiteX18" fmla="*/ 73372 w 73510"/>
                    <a:gd name="connsiteY18" fmla="*/ 50504 h 109752"/>
                    <a:gd name="connsiteX19" fmla="*/ 73511 w 73510"/>
                    <a:gd name="connsiteY19" fmla="*/ 51620 h 109752"/>
                    <a:gd name="connsiteX20" fmla="*/ 72753 w 73510"/>
                    <a:gd name="connsiteY20" fmla="*/ 52264 h 109752"/>
                    <a:gd name="connsiteX21" fmla="*/ 70674 w 73510"/>
                    <a:gd name="connsiteY21" fmla="*/ 53674 h 109752"/>
                    <a:gd name="connsiteX22" fmla="*/ 69729 w 73510"/>
                    <a:gd name="connsiteY22" fmla="*/ 55557 h 109752"/>
                    <a:gd name="connsiteX23" fmla="*/ 69175 w 73510"/>
                    <a:gd name="connsiteY23" fmla="*/ 57366 h 109752"/>
                    <a:gd name="connsiteX24" fmla="*/ 67879 w 73510"/>
                    <a:gd name="connsiteY24" fmla="*/ 58597 h 109752"/>
                    <a:gd name="connsiteX25" fmla="*/ 66657 w 73510"/>
                    <a:gd name="connsiteY25" fmla="*/ 60145 h 109752"/>
                    <a:gd name="connsiteX26" fmla="*/ 66274 w 73510"/>
                    <a:gd name="connsiteY26" fmla="*/ 61400 h 109752"/>
                    <a:gd name="connsiteX27" fmla="*/ 65132 w 73510"/>
                    <a:gd name="connsiteY27" fmla="*/ 62394 h 109752"/>
                    <a:gd name="connsiteX28" fmla="*/ 64904 w 73510"/>
                    <a:gd name="connsiteY28" fmla="*/ 64041 h 109752"/>
                    <a:gd name="connsiteX29" fmla="*/ 62019 w 73510"/>
                    <a:gd name="connsiteY29" fmla="*/ 69876 h 109752"/>
                    <a:gd name="connsiteX30" fmla="*/ 60862 w 73510"/>
                    <a:gd name="connsiteY30" fmla="*/ 72492 h 109752"/>
                    <a:gd name="connsiteX31" fmla="*/ 59208 w 73510"/>
                    <a:gd name="connsiteY31" fmla="*/ 75287 h 109752"/>
                    <a:gd name="connsiteX32" fmla="*/ 58173 w 73510"/>
                    <a:gd name="connsiteY32" fmla="*/ 76322 h 109752"/>
                    <a:gd name="connsiteX33" fmla="*/ 56763 w 73510"/>
                    <a:gd name="connsiteY33" fmla="*/ 77985 h 109752"/>
                    <a:gd name="connsiteX34" fmla="*/ 56054 w 73510"/>
                    <a:gd name="connsiteY34" fmla="*/ 79900 h 109752"/>
                    <a:gd name="connsiteX35" fmla="*/ 56054 w 73510"/>
                    <a:gd name="connsiteY35" fmla="*/ 81880 h 109752"/>
                    <a:gd name="connsiteX36" fmla="*/ 55068 w 73510"/>
                    <a:gd name="connsiteY36" fmla="*/ 84252 h 109752"/>
                    <a:gd name="connsiteX37" fmla="*/ 54514 w 73510"/>
                    <a:gd name="connsiteY37" fmla="*/ 86306 h 109752"/>
                    <a:gd name="connsiteX38" fmla="*/ 53593 w 73510"/>
                    <a:gd name="connsiteY38" fmla="*/ 87495 h 109752"/>
                    <a:gd name="connsiteX39" fmla="*/ 51140 w 73510"/>
                    <a:gd name="connsiteY39" fmla="*/ 93983 h 109752"/>
                    <a:gd name="connsiteX40" fmla="*/ 51017 w 73510"/>
                    <a:gd name="connsiteY40" fmla="*/ 96208 h 109752"/>
                    <a:gd name="connsiteX41" fmla="*/ 50430 w 73510"/>
                    <a:gd name="connsiteY41" fmla="*/ 97536 h 109752"/>
                    <a:gd name="connsiteX42" fmla="*/ 48694 w 73510"/>
                    <a:gd name="connsiteY42" fmla="*/ 100625 h 109752"/>
                    <a:gd name="connsiteX43" fmla="*/ 47521 w 73510"/>
                    <a:gd name="connsiteY43" fmla="*/ 102491 h 109752"/>
                    <a:gd name="connsiteX44" fmla="*/ 45467 w 73510"/>
                    <a:gd name="connsiteY44" fmla="*/ 103877 h 109752"/>
                    <a:gd name="connsiteX45" fmla="*/ 43308 w 73510"/>
                    <a:gd name="connsiteY45" fmla="*/ 105392 h 109752"/>
                    <a:gd name="connsiteX46" fmla="*/ 42493 w 73510"/>
                    <a:gd name="connsiteY46" fmla="*/ 107047 h 109752"/>
                    <a:gd name="connsiteX47" fmla="*/ 40961 w 73510"/>
                    <a:gd name="connsiteY47" fmla="*/ 107878 h 109752"/>
                    <a:gd name="connsiteX48" fmla="*/ 39860 w 73510"/>
                    <a:gd name="connsiteY48" fmla="*/ 107935 h 109752"/>
                    <a:gd name="connsiteX49" fmla="*/ 38051 w 73510"/>
                    <a:gd name="connsiteY49" fmla="*/ 107332 h 109752"/>
                    <a:gd name="connsiteX50" fmla="*/ 35630 w 73510"/>
                    <a:gd name="connsiteY50" fmla="*/ 107047 h 109752"/>
                    <a:gd name="connsiteX51" fmla="*/ 34400 w 73510"/>
                    <a:gd name="connsiteY51" fmla="*/ 107242 h 109752"/>
                    <a:gd name="connsiteX52" fmla="*/ 33838 w 73510"/>
                    <a:gd name="connsiteY52" fmla="*/ 106427 h 109752"/>
                    <a:gd name="connsiteX53" fmla="*/ 33015 w 73510"/>
                    <a:gd name="connsiteY53" fmla="*/ 104537 h 109752"/>
                    <a:gd name="connsiteX54" fmla="*/ 31800 w 73510"/>
                    <a:gd name="connsiteY54" fmla="*/ 103208 h 109752"/>
                    <a:gd name="connsiteX55" fmla="*/ 31018 w 73510"/>
                    <a:gd name="connsiteY55" fmla="*/ 103673 h 109752"/>
                    <a:gd name="connsiteX56" fmla="*/ 29380 w 73510"/>
                    <a:gd name="connsiteY56" fmla="*/ 105009 h 109752"/>
                    <a:gd name="connsiteX57" fmla="*/ 27465 w 73510"/>
                    <a:gd name="connsiteY57" fmla="*/ 105800 h 109752"/>
                    <a:gd name="connsiteX58" fmla="*/ 26112 w 73510"/>
                    <a:gd name="connsiteY58" fmla="*/ 105539 h 109752"/>
                    <a:gd name="connsiteX59" fmla="*/ 23137 w 73510"/>
                    <a:gd name="connsiteY59" fmla="*/ 104602 h 109752"/>
                    <a:gd name="connsiteX60" fmla="*/ 21866 w 73510"/>
                    <a:gd name="connsiteY60" fmla="*/ 104137 h 109752"/>
                    <a:gd name="connsiteX61" fmla="*/ 21491 w 73510"/>
                    <a:gd name="connsiteY61" fmla="*/ 103347 h 109752"/>
                    <a:gd name="connsiteX62" fmla="*/ 21051 w 73510"/>
                    <a:gd name="connsiteY62" fmla="*/ 102752 h 109752"/>
                    <a:gd name="connsiteX63" fmla="*/ 20399 w 73510"/>
                    <a:gd name="connsiteY63" fmla="*/ 103012 h 109752"/>
                    <a:gd name="connsiteX64" fmla="*/ 19519 w 73510"/>
                    <a:gd name="connsiteY64" fmla="*/ 104007 h 109752"/>
                    <a:gd name="connsiteX65" fmla="*/ 18353 w 73510"/>
                    <a:gd name="connsiteY65" fmla="*/ 105042 h 109752"/>
                    <a:gd name="connsiteX66" fmla="*/ 16617 w 73510"/>
                    <a:gd name="connsiteY66" fmla="*/ 106419 h 109752"/>
                    <a:gd name="connsiteX67" fmla="*/ 13064 w 73510"/>
                    <a:gd name="connsiteY67" fmla="*/ 108872 h 109752"/>
                    <a:gd name="connsiteX68" fmla="*/ 12061 w 73510"/>
                    <a:gd name="connsiteY68" fmla="*/ 109753 h 109752"/>
                    <a:gd name="connsiteX69" fmla="*/ 11140 w 73510"/>
                    <a:gd name="connsiteY69" fmla="*/ 109272 h 109752"/>
                    <a:gd name="connsiteX70" fmla="*/ 9641 w 73510"/>
                    <a:gd name="connsiteY70" fmla="*/ 108791 h 109752"/>
                    <a:gd name="connsiteX71" fmla="*/ 8019 w 73510"/>
                    <a:gd name="connsiteY71" fmla="*/ 108758 h 109752"/>
                    <a:gd name="connsiteX72" fmla="*/ 4547 w 73510"/>
                    <a:gd name="connsiteY72" fmla="*/ 107161 h 109752"/>
                    <a:gd name="connsiteX73" fmla="*/ 2518 w 73510"/>
                    <a:gd name="connsiteY73" fmla="*/ 106028 h 109752"/>
                    <a:gd name="connsiteX74" fmla="*/ 1638 w 73510"/>
                    <a:gd name="connsiteY74" fmla="*/ 104602 h 109752"/>
                    <a:gd name="connsiteX75" fmla="*/ 611 w 73510"/>
                    <a:gd name="connsiteY75" fmla="*/ 103982 h 109752"/>
                    <a:gd name="connsiteX76" fmla="*/ 0 w 73510"/>
                    <a:gd name="connsiteY76" fmla="*/ 103591 h 109752"/>
                    <a:gd name="connsiteX77" fmla="*/ 293 w 73510"/>
                    <a:gd name="connsiteY77" fmla="*/ 103322 h 109752"/>
                    <a:gd name="connsiteX78" fmla="*/ 1190 w 73510"/>
                    <a:gd name="connsiteY78" fmla="*/ 103118 h 109752"/>
                    <a:gd name="connsiteX79" fmla="*/ 1997 w 73510"/>
                    <a:gd name="connsiteY79" fmla="*/ 103094 h 109752"/>
                    <a:gd name="connsiteX80" fmla="*/ 3252 w 73510"/>
                    <a:gd name="connsiteY80" fmla="*/ 100918 h 109752"/>
                    <a:gd name="connsiteX81" fmla="*/ 5322 w 73510"/>
                    <a:gd name="connsiteY81" fmla="*/ 99557 h 109752"/>
                    <a:gd name="connsiteX82" fmla="*/ 8932 w 73510"/>
                    <a:gd name="connsiteY82" fmla="*/ 92002 h 109752"/>
                    <a:gd name="connsiteX83" fmla="*/ 10440 w 73510"/>
                    <a:gd name="connsiteY83" fmla="*/ 88881 h 109752"/>
                    <a:gd name="connsiteX84" fmla="*/ 10627 w 73510"/>
                    <a:gd name="connsiteY84" fmla="*/ 87178 h 109752"/>
                    <a:gd name="connsiteX85" fmla="*/ 11059 w 73510"/>
                    <a:gd name="connsiteY85" fmla="*/ 83616 h 109752"/>
                    <a:gd name="connsiteX86" fmla="*/ 10252 w 73510"/>
                    <a:gd name="connsiteY86" fmla="*/ 79289 h 109752"/>
                    <a:gd name="connsiteX87" fmla="*/ 10627 w 73510"/>
                    <a:gd name="connsiteY87" fmla="*/ 78074 h 109752"/>
                    <a:gd name="connsiteX88" fmla="*/ 13716 w 73510"/>
                    <a:gd name="connsiteY88" fmla="*/ 72834 h 109752"/>
                    <a:gd name="connsiteX89" fmla="*/ 15052 w 73510"/>
                    <a:gd name="connsiteY89" fmla="*/ 69982 h 109752"/>
                    <a:gd name="connsiteX90" fmla="*/ 15142 w 73510"/>
                    <a:gd name="connsiteY90" fmla="*/ 67529 h 109752"/>
                    <a:gd name="connsiteX91" fmla="*/ 15533 w 73510"/>
                    <a:gd name="connsiteY91" fmla="*/ 65760 h 109752"/>
                    <a:gd name="connsiteX92" fmla="*/ 15142 w 73510"/>
                    <a:gd name="connsiteY92" fmla="*/ 64839 h 109752"/>
                    <a:gd name="connsiteX93" fmla="*/ 14441 w 73510"/>
                    <a:gd name="connsiteY93" fmla="*/ 64562 h 109752"/>
                    <a:gd name="connsiteX94" fmla="*/ 13259 w 73510"/>
                    <a:gd name="connsiteY94" fmla="*/ 62272 h 109752"/>
                    <a:gd name="connsiteX95" fmla="*/ 12493 w 73510"/>
                    <a:gd name="connsiteY95" fmla="*/ 60373 h 109752"/>
                    <a:gd name="connsiteX96" fmla="*/ 10399 w 73510"/>
                    <a:gd name="connsiteY96" fmla="*/ 58417 h 109752"/>
                    <a:gd name="connsiteX97" fmla="*/ 8957 w 73510"/>
                    <a:gd name="connsiteY97" fmla="*/ 56421 h 109752"/>
                    <a:gd name="connsiteX98" fmla="*/ 6593 w 73510"/>
                    <a:gd name="connsiteY98" fmla="*/ 51840 h 109752"/>
                    <a:gd name="connsiteX99" fmla="*/ 6805 w 73510"/>
                    <a:gd name="connsiteY99" fmla="*/ 49257 h 109752"/>
                    <a:gd name="connsiteX100" fmla="*/ 6137 w 73510"/>
                    <a:gd name="connsiteY100" fmla="*/ 48336 h 109752"/>
                    <a:gd name="connsiteX101" fmla="*/ 5411 w 73510"/>
                    <a:gd name="connsiteY101" fmla="*/ 47391 h 109752"/>
                    <a:gd name="connsiteX102" fmla="*/ 5460 w 73510"/>
                    <a:gd name="connsiteY102" fmla="*/ 46217 h 109752"/>
                    <a:gd name="connsiteX103" fmla="*/ 4971 w 73510"/>
                    <a:gd name="connsiteY103" fmla="*/ 43332 h 109752"/>
                    <a:gd name="connsiteX104" fmla="*/ 4360 w 73510"/>
                    <a:gd name="connsiteY104" fmla="*/ 40626 h 109752"/>
                    <a:gd name="connsiteX105" fmla="*/ 4140 w 73510"/>
                    <a:gd name="connsiteY105" fmla="*/ 38915 h 109752"/>
                    <a:gd name="connsiteX106" fmla="*/ 4719 w 73510"/>
                    <a:gd name="connsiteY106" fmla="*/ 35973 h 109752"/>
                    <a:gd name="connsiteX107" fmla="*/ 4376 w 73510"/>
                    <a:gd name="connsiteY107" fmla="*/ 32713 h 109752"/>
                    <a:gd name="connsiteX108" fmla="*/ 3610 w 73510"/>
                    <a:gd name="connsiteY108" fmla="*/ 30994 h 109752"/>
                    <a:gd name="connsiteX109" fmla="*/ 3390 w 73510"/>
                    <a:gd name="connsiteY109" fmla="*/ 28377 h 109752"/>
                    <a:gd name="connsiteX110" fmla="*/ 3545 w 73510"/>
                    <a:gd name="connsiteY110" fmla="*/ 26030 h 109752"/>
                    <a:gd name="connsiteX111" fmla="*/ 4205 w 73510"/>
                    <a:gd name="connsiteY111" fmla="*/ 24710 h 109752"/>
                    <a:gd name="connsiteX112" fmla="*/ 4075 w 73510"/>
                    <a:gd name="connsiteY112" fmla="*/ 23072 h 109752"/>
                    <a:gd name="connsiteX113" fmla="*/ 7066 w 73510"/>
                    <a:gd name="connsiteY113" fmla="*/ 17848 h 109752"/>
                    <a:gd name="connsiteX114" fmla="*/ 9340 w 73510"/>
                    <a:gd name="connsiteY114" fmla="*/ 14824 h 109752"/>
                    <a:gd name="connsiteX115" fmla="*/ 11418 w 73510"/>
                    <a:gd name="connsiteY115" fmla="*/ 12705 h 109752"/>
                    <a:gd name="connsiteX116" fmla="*/ 13178 w 73510"/>
                    <a:gd name="connsiteY116" fmla="*/ 11124 h 109752"/>
                    <a:gd name="connsiteX117" fmla="*/ 15550 w 73510"/>
                    <a:gd name="connsiteY117" fmla="*/ 3186 h 109752"/>
                    <a:gd name="connsiteX118" fmla="*/ 17277 w 73510"/>
                    <a:gd name="connsiteY118" fmla="*/ 399 h 109752"/>
                    <a:gd name="connsiteX119" fmla="*/ 19087 w 73510"/>
                    <a:gd name="connsiteY119" fmla="*/ 0 h 109752"/>
                    <a:gd name="connsiteX120" fmla="*/ 28826 w 73510"/>
                    <a:gd name="connsiteY120" fmla="*/ 6569 h 109752"/>
                    <a:gd name="connsiteX121" fmla="*/ 33389 w 73510"/>
                    <a:gd name="connsiteY121" fmla="*/ 7172 h 109752"/>
                    <a:gd name="connsiteX122" fmla="*/ 42590 w 73510"/>
                    <a:gd name="connsiteY122" fmla="*/ 10717 h 109752"/>
                    <a:gd name="connsiteX123" fmla="*/ 45924 w 73510"/>
                    <a:gd name="connsiteY123" fmla="*/ 15264 h 109752"/>
                    <a:gd name="connsiteX124" fmla="*/ 53633 w 73510"/>
                    <a:gd name="connsiteY124" fmla="*/ 22827 h 109752"/>
                    <a:gd name="connsiteX125" fmla="*/ 57692 w 73510"/>
                    <a:gd name="connsiteY125" fmla="*/ 25207 h 109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73510" h="109752">
                      <a:moveTo>
                        <a:pt x="57724" y="27187"/>
                      </a:moveTo>
                      <a:lnTo>
                        <a:pt x="56844" y="30350"/>
                      </a:lnTo>
                      <a:lnTo>
                        <a:pt x="59444" y="27587"/>
                      </a:lnTo>
                      <a:lnTo>
                        <a:pt x="63454" y="31947"/>
                      </a:lnTo>
                      <a:lnTo>
                        <a:pt x="64587" y="34090"/>
                      </a:lnTo>
                      <a:lnTo>
                        <a:pt x="65842" y="38035"/>
                      </a:lnTo>
                      <a:lnTo>
                        <a:pt x="65410" y="40569"/>
                      </a:lnTo>
                      <a:lnTo>
                        <a:pt x="64855" y="41882"/>
                      </a:lnTo>
                      <a:lnTo>
                        <a:pt x="64823" y="42900"/>
                      </a:lnTo>
                      <a:lnTo>
                        <a:pt x="66013" y="41490"/>
                      </a:lnTo>
                      <a:lnTo>
                        <a:pt x="66689" y="40382"/>
                      </a:lnTo>
                      <a:lnTo>
                        <a:pt x="66893" y="37742"/>
                      </a:lnTo>
                      <a:lnTo>
                        <a:pt x="67871" y="34457"/>
                      </a:lnTo>
                      <a:lnTo>
                        <a:pt x="69175" y="34400"/>
                      </a:lnTo>
                      <a:lnTo>
                        <a:pt x="70210" y="36356"/>
                      </a:lnTo>
                      <a:lnTo>
                        <a:pt x="72369" y="44856"/>
                      </a:lnTo>
                      <a:lnTo>
                        <a:pt x="73184" y="46600"/>
                      </a:lnTo>
                      <a:lnTo>
                        <a:pt x="73494" y="49298"/>
                      </a:lnTo>
                      <a:lnTo>
                        <a:pt x="73372" y="50504"/>
                      </a:lnTo>
                      <a:lnTo>
                        <a:pt x="73511" y="51620"/>
                      </a:lnTo>
                      <a:lnTo>
                        <a:pt x="72753" y="52264"/>
                      </a:lnTo>
                      <a:lnTo>
                        <a:pt x="70674" y="53674"/>
                      </a:lnTo>
                      <a:lnTo>
                        <a:pt x="69729" y="55557"/>
                      </a:lnTo>
                      <a:lnTo>
                        <a:pt x="69175" y="57366"/>
                      </a:lnTo>
                      <a:lnTo>
                        <a:pt x="67879" y="58597"/>
                      </a:lnTo>
                      <a:lnTo>
                        <a:pt x="66657" y="60145"/>
                      </a:lnTo>
                      <a:lnTo>
                        <a:pt x="66274" y="61400"/>
                      </a:lnTo>
                      <a:lnTo>
                        <a:pt x="65132" y="62394"/>
                      </a:lnTo>
                      <a:lnTo>
                        <a:pt x="64904" y="64041"/>
                      </a:lnTo>
                      <a:lnTo>
                        <a:pt x="62019" y="69876"/>
                      </a:lnTo>
                      <a:lnTo>
                        <a:pt x="60862" y="72492"/>
                      </a:lnTo>
                      <a:lnTo>
                        <a:pt x="59208" y="75287"/>
                      </a:lnTo>
                      <a:lnTo>
                        <a:pt x="58173" y="76322"/>
                      </a:lnTo>
                      <a:lnTo>
                        <a:pt x="56763" y="77985"/>
                      </a:lnTo>
                      <a:lnTo>
                        <a:pt x="56054" y="79900"/>
                      </a:lnTo>
                      <a:lnTo>
                        <a:pt x="56054" y="81880"/>
                      </a:lnTo>
                      <a:lnTo>
                        <a:pt x="55068" y="84252"/>
                      </a:lnTo>
                      <a:lnTo>
                        <a:pt x="54514" y="86306"/>
                      </a:lnTo>
                      <a:lnTo>
                        <a:pt x="53593" y="87495"/>
                      </a:lnTo>
                      <a:lnTo>
                        <a:pt x="51140" y="93983"/>
                      </a:lnTo>
                      <a:lnTo>
                        <a:pt x="51017" y="96208"/>
                      </a:lnTo>
                      <a:lnTo>
                        <a:pt x="50430" y="97536"/>
                      </a:lnTo>
                      <a:lnTo>
                        <a:pt x="48694" y="100625"/>
                      </a:lnTo>
                      <a:lnTo>
                        <a:pt x="47521" y="102491"/>
                      </a:lnTo>
                      <a:lnTo>
                        <a:pt x="45467" y="103877"/>
                      </a:lnTo>
                      <a:lnTo>
                        <a:pt x="43308" y="105392"/>
                      </a:lnTo>
                      <a:lnTo>
                        <a:pt x="42493" y="107047"/>
                      </a:lnTo>
                      <a:lnTo>
                        <a:pt x="40961" y="107878"/>
                      </a:lnTo>
                      <a:lnTo>
                        <a:pt x="39860" y="107935"/>
                      </a:lnTo>
                      <a:lnTo>
                        <a:pt x="38051" y="107332"/>
                      </a:lnTo>
                      <a:lnTo>
                        <a:pt x="35630" y="107047"/>
                      </a:lnTo>
                      <a:lnTo>
                        <a:pt x="34400" y="107242"/>
                      </a:lnTo>
                      <a:lnTo>
                        <a:pt x="33838" y="106427"/>
                      </a:lnTo>
                      <a:lnTo>
                        <a:pt x="33015" y="104537"/>
                      </a:lnTo>
                      <a:lnTo>
                        <a:pt x="31800" y="103208"/>
                      </a:lnTo>
                      <a:lnTo>
                        <a:pt x="31018" y="103673"/>
                      </a:lnTo>
                      <a:lnTo>
                        <a:pt x="29380" y="105009"/>
                      </a:lnTo>
                      <a:lnTo>
                        <a:pt x="27465" y="105800"/>
                      </a:lnTo>
                      <a:lnTo>
                        <a:pt x="26112" y="105539"/>
                      </a:lnTo>
                      <a:lnTo>
                        <a:pt x="23137" y="104602"/>
                      </a:lnTo>
                      <a:lnTo>
                        <a:pt x="21866" y="104137"/>
                      </a:lnTo>
                      <a:lnTo>
                        <a:pt x="21491" y="103347"/>
                      </a:lnTo>
                      <a:lnTo>
                        <a:pt x="21051" y="102752"/>
                      </a:lnTo>
                      <a:lnTo>
                        <a:pt x="20399" y="103012"/>
                      </a:lnTo>
                      <a:lnTo>
                        <a:pt x="19519" y="104007"/>
                      </a:lnTo>
                      <a:lnTo>
                        <a:pt x="18353" y="105042"/>
                      </a:lnTo>
                      <a:lnTo>
                        <a:pt x="16617" y="106419"/>
                      </a:lnTo>
                      <a:lnTo>
                        <a:pt x="13064" y="108872"/>
                      </a:lnTo>
                      <a:lnTo>
                        <a:pt x="12061" y="109753"/>
                      </a:lnTo>
                      <a:lnTo>
                        <a:pt x="11140" y="109272"/>
                      </a:lnTo>
                      <a:lnTo>
                        <a:pt x="9641" y="108791"/>
                      </a:lnTo>
                      <a:lnTo>
                        <a:pt x="8019" y="108758"/>
                      </a:lnTo>
                      <a:lnTo>
                        <a:pt x="4547" y="107161"/>
                      </a:lnTo>
                      <a:lnTo>
                        <a:pt x="2518" y="106028"/>
                      </a:lnTo>
                      <a:lnTo>
                        <a:pt x="1638" y="104602"/>
                      </a:lnTo>
                      <a:lnTo>
                        <a:pt x="611" y="103982"/>
                      </a:lnTo>
                      <a:lnTo>
                        <a:pt x="0" y="103591"/>
                      </a:lnTo>
                      <a:lnTo>
                        <a:pt x="293" y="103322"/>
                      </a:lnTo>
                      <a:lnTo>
                        <a:pt x="1190" y="103118"/>
                      </a:lnTo>
                      <a:lnTo>
                        <a:pt x="1997" y="103094"/>
                      </a:lnTo>
                      <a:lnTo>
                        <a:pt x="3252" y="100918"/>
                      </a:lnTo>
                      <a:lnTo>
                        <a:pt x="5322" y="99557"/>
                      </a:lnTo>
                      <a:lnTo>
                        <a:pt x="8932" y="92002"/>
                      </a:lnTo>
                      <a:lnTo>
                        <a:pt x="10440" y="88881"/>
                      </a:lnTo>
                      <a:lnTo>
                        <a:pt x="10627" y="87178"/>
                      </a:lnTo>
                      <a:lnTo>
                        <a:pt x="11059" y="83616"/>
                      </a:lnTo>
                      <a:lnTo>
                        <a:pt x="10252" y="79289"/>
                      </a:lnTo>
                      <a:lnTo>
                        <a:pt x="10627" y="78074"/>
                      </a:lnTo>
                      <a:lnTo>
                        <a:pt x="13716" y="72834"/>
                      </a:lnTo>
                      <a:lnTo>
                        <a:pt x="15052" y="69982"/>
                      </a:lnTo>
                      <a:lnTo>
                        <a:pt x="15142" y="67529"/>
                      </a:lnTo>
                      <a:lnTo>
                        <a:pt x="15533" y="65760"/>
                      </a:lnTo>
                      <a:lnTo>
                        <a:pt x="15142" y="64839"/>
                      </a:lnTo>
                      <a:lnTo>
                        <a:pt x="14441" y="64562"/>
                      </a:lnTo>
                      <a:lnTo>
                        <a:pt x="13259" y="62272"/>
                      </a:lnTo>
                      <a:lnTo>
                        <a:pt x="12493" y="60373"/>
                      </a:lnTo>
                      <a:lnTo>
                        <a:pt x="10399" y="58417"/>
                      </a:lnTo>
                      <a:lnTo>
                        <a:pt x="8957" y="56421"/>
                      </a:lnTo>
                      <a:lnTo>
                        <a:pt x="6593" y="51840"/>
                      </a:lnTo>
                      <a:lnTo>
                        <a:pt x="6805" y="49257"/>
                      </a:lnTo>
                      <a:lnTo>
                        <a:pt x="6137" y="48336"/>
                      </a:lnTo>
                      <a:lnTo>
                        <a:pt x="5411" y="47391"/>
                      </a:lnTo>
                      <a:lnTo>
                        <a:pt x="5460" y="46217"/>
                      </a:lnTo>
                      <a:lnTo>
                        <a:pt x="4971" y="43332"/>
                      </a:lnTo>
                      <a:lnTo>
                        <a:pt x="4360" y="40626"/>
                      </a:lnTo>
                      <a:lnTo>
                        <a:pt x="4140" y="38915"/>
                      </a:lnTo>
                      <a:lnTo>
                        <a:pt x="4719" y="35973"/>
                      </a:lnTo>
                      <a:lnTo>
                        <a:pt x="4376" y="32713"/>
                      </a:lnTo>
                      <a:lnTo>
                        <a:pt x="3610" y="30994"/>
                      </a:lnTo>
                      <a:lnTo>
                        <a:pt x="3390" y="28377"/>
                      </a:lnTo>
                      <a:lnTo>
                        <a:pt x="3545" y="26030"/>
                      </a:lnTo>
                      <a:lnTo>
                        <a:pt x="4205" y="24710"/>
                      </a:lnTo>
                      <a:lnTo>
                        <a:pt x="4075" y="23072"/>
                      </a:lnTo>
                      <a:lnTo>
                        <a:pt x="7066" y="17848"/>
                      </a:lnTo>
                      <a:lnTo>
                        <a:pt x="9340" y="14824"/>
                      </a:lnTo>
                      <a:lnTo>
                        <a:pt x="11418" y="12705"/>
                      </a:lnTo>
                      <a:lnTo>
                        <a:pt x="13178" y="11124"/>
                      </a:lnTo>
                      <a:lnTo>
                        <a:pt x="15550" y="3186"/>
                      </a:lnTo>
                      <a:lnTo>
                        <a:pt x="17277" y="399"/>
                      </a:lnTo>
                      <a:lnTo>
                        <a:pt x="19087" y="0"/>
                      </a:lnTo>
                      <a:lnTo>
                        <a:pt x="28826" y="6569"/>
                      </a:lnTo>
                      <a:lnTo>
                        <a:pt x="33389" y="7172"/>
                      </a:lnTo>
                      <a:lnTo>
                        <a:pt x="42590" y="10717"/>
                      </a:lnTo>
                      <a:lnTo>
                        <a:pt x="45924" y="15264"/>
                      </a:lnTo>
                      <a:lnTo>
                        <a:pt x="53633" y="22827"/>
                      </a:lnTo>
                      <a:lnTo>
                        <a:pt x="57692" y="25207"/>
                      </a:lnTo>
                      <a:close/>
                    </a:path>
                  </a:pathLst>
                </a:custGeom>
                <a:solidFill>
                  <a:srgbClr val="D6D6D2"/>
                </a:solidFill>
                <a:ln w="6112" cap="rnd">
                  <a:solidFill>
                    <a:srgbClr val="FFFFFF"/>
                  </a:solidFill>
                  <a:prstDash val="solid"/>
                  <a:round/>
                </a:ln>
              </p:spPr>
              <p:txBody>
                <a:bodyPr rtlCol="0" anchor="ctr"/>
                <a:lstStyle/>
                <a:p>
                  <a:endParaRPr lang="en-US"/>
                </a:p>
              </p:txBody>
            </p:sp>
            <p:sp>
              <p:nvSpPr>
                <p:cNvPr id="732" name="Freeform: Shape 731">
                  <a:extLst>
                    <a:ext uri="{FF2B5EF4-FFF2-40B4-BE49-F238E27FC236}">
                      <a16:creationId xmlns:a16="http://schemas.microsoft.com/office/drawing/2014/main" id="{3AC35419-D0D5-43D7-BB9B-C5F216D87080}"/>
                    </a:ext>
                  </a:extLst>
                </p:cNvPr>
                <p:cNvSpPr/>
                <p:nvPr/>
              </p:nvSpPr>
              <p:spPr>
                <a:xfrm>
                  <a:off x="6156071" y="3172350"/>
                  <a:ext cx="24580" cy="56290"/>
                </a:xfrm>
                <a:custGeom>
                  <a:avLst/>
                  <a:gdLst>
                    <a:gd name="connsiteX0" fmla="*/ 22697 w 24580"/>
                    <a:gd name="connsiteY0" fmla="*/ 7465 h 56290"/>
                    <a:gd name="connsiteX1" fmla="*/ 22045 w 24580"/>
                    <a:gd name="connsiteY1" fmla="*/ 12542 h 56290"/>
                    <a:gd name="connsiteX2" fmla="*/ 22526 w 24580"/>
                    <a:gd name="connsiteY2" fmla="*/ 14018 h 56290"/>
                    <a:gd name="connsiteX3" fmla="*/ 23406 w 24580"/>
                    <a:gd name="connsiteY3" fmla="*/ 15061 h 56290"/>
                    <a:gd name="connsiteX4" fmla="*/ 23838 w 24580"/>
                    <a:gd name="connsiteY4" fmla="*/ 16194 h 56290"/>
                    <a:gd name="connsiteX5" fmla="*/ 24580 w 24580"/>
                    <a:gd name="connsiteY5" fmla="*/ 29681 h 56290"/>
                    <a:gd name="connsiteX6" fmla="*/ 24441 w 24580"/>
                    <a:gd name="connsiteY6" fmla="*/ 30757 h 56290"/>
                    <a:gd name="connsiteX7" fmla="*/ 21402 w 24580"/>
                    <a:gd name="connsiteY7" fmla="*/ 36160 h 56290"/>
                    <a:gd name="connsiteX8" fmla="*/ 20725 w 24580"/>
                    <a:gd name="connsiteY8" fmla="*/ 37742 h 56290"/>
                    <a:gd name="connsiteX9" fmla="*/ 20570 w 24580"/>
                    <a:gd name="connsiteY9" fmla="*/ 44432 h 56290"/>
                    <a:gd name="connsiteX10" fmla="*/ 20065 w 24580"/>
                    <a:gd name="connsiteY10" fmla="*/ 46225 h 56290"/>
                    <a:gd name="connsiteX11" fmla="*/ 18981 w 24580"/>
                    <a:gd name="connsiteY11" fmla="*/ 48002 h 56290"/>
                    <a:gd name="connsiteX12" fmla="*/ 17066 w 24580"/>
                    <a:gd name="connsiteY12" fmla="*/ 53723 h 56290"/>
                    <a:gd name="connsiteX13" fmla="*/ 15395 w 24580"/>
                    <a:gd name="connsiteY13" fmla="*/ 56290 h 56290"/>
                    <a:gd name="connsiteX14" fmla="*/ 10848 w 24580"/>
                    <a:gd name="connsiteY14" fmla="*/ 53161 h 56290"/>
                    <a:gd name="connsiteX15" fmla="*/ 8175 w 24580"/>
                    <a:gd name="connsiteY15" fmla="*/ 51808 h 56290"/>
                    <a:gd name="connsiteX16" fmla="*/ 6862 w 24580"/>
                    <a:gd name="connsiteY16" fmla="*/ 50341 h 56290"/>
                    <a:gd name="connsiteX17" fmla="*/ 6006 w 24580"/>
                    <a:gd name="connsiteY17" fmla="*/ 49330 h 56290"/>
                    <a:gd name="connsiteX18" fmla="*/ 6561 w 24580"/>
                    <a:gd name="connsiteY18" fmla="*/ 47986 h 56290"/>
                    <a:gd name="connsiteX19" fmla="*/ 7775 w 24580"/>
                    <a:gd name="connsiteY19" fmla="*/ 46576 h 56290"/>
                    <a:gd name="connsiteX20" fmla="*/ 7979 w 24580"/>
                    <a:gd name="connsiteY20" fmla="*/ 45484 h 56290"/>
                    <a:gd name="connsiteX21" fmla="*/ 5094 w 24580"/>
                    <a:gd name="connsiteY21" fmla="*/ 44229 h 56290"/>
                    <a:gd name="connsiteX22" fmla="*/ 3790 w 24580"/>
                    <a:gd name="connsiteY22" fmla="*/ 43397 h 56290"/>
                    <a:gd name="connsiteX23" fmla="*/ 3806 w 24580"/>
                    <a:gd name="connsiteY23" fmla="*/ 41939 h 56290"/>
                    <a:gd name="connsiteX24" fmla="*/ 4792 w 24580"/>
                    <a:gd name="connsiteY24" fmla="*/ 39657 h 56290"/>
                    <a:gd name="connsiteX25" fmla="*/ 4344 w 24580"/>
                    <a:gd name="connsiteY25" fmla="*/ 37782 h 56290"/>
                    <a:gd name="connsiteX26" fmla="*/ 2690 w 24580"/>
                    <a:gd name="connsiteY26" fmla="*/ 37880 h 56290"/>
                    <a:gd name="connsiteX27" fmla="*/ 1402 w 24580"/>
                    <a:gd name="connsiteY27" fmla="*/ 37595 h 56290"/>
                    <a:gd name="connsiteX28" fmla="*/ 1231 w 24580"/>
                    <a:gd name="connsiteY28" fmla="*/ 36609 h 56290"/>
                    <a:gd name="connsiteX29" fmla="*/ 2184 w 24580"/>
                    <a:gd name="connsiteY29" fmla="*/ 35362 h 56290"/>
                    <a:gd name="connsiteX30" fmla="*/ 3390 w 24580"/>
                    <a:gd name="connsiteY30" fmla="*/ 33732 h 56290"/>
                    <a:gd name="connsiteX31" fmla="*/ 3358 w 24580"/>
                    <a:gd name="connsiteY31" fmla="*/ 31931 h 56290"/>
                    <a:gd name="connsiteX32" fmla="*/ 1891 w 24580"/>
                    <a:gd name="connsiteY32" fmla="*/ 31148 h 56290"/>
                    <a:gd name="connsiteX33" fmla="*/ 555 w 24580"/>
                    <a:gd name="connsiteY33" fmla="*/ 29681 h 56290"/>
                    <a:gd name="connsiteX34" fmla="*/ 16 w 24580"/>
                    <a:gd name="connsiteY34" fmla="*/ 27693 h 56290"/>
                    <a:gd name="connsiteX35" fmla="*/ 1052 w 24580"/>
                    <a:gd name="connsiteY35" fmla="*/ 26324 h 56290"/>
                    <a:gd name="connsiteX36" fmla="*/ 2730 w 24580"/>
                    <a:gd name="connsiteY36" fmla="*/ 25444 h 56290"/>
                    <a:gd name="connsiteX37" fmla="*/ 1500 w 24580"/>
                    <a:gd name="connsiteY37" fmla="*/ 23398 h 56290"/>
                    <a:gd name="connsiteX38" fmla="*/ 669 w 24580"/>
                    <a:gd name="connsiteY38" fmla="*/ 23357 h 56290"/>
                    <a:gd name="connsiteX39" fmla="*/ 0 w 24580"/>
                    <a:gd name="connsiteY39" fmla="*/ 22909 h 56290"/>
                    <a:gd name="connsiteX40" fmla="*/ 546 w 24580"/>
                    <a:gd name="connsiteY40" fmla="*/ 21955 h 56290"/>
                    <a:gd name="connsiteX41" fmla="*/ 1858 w 24580"/>
                    <a:gd name="connsiteY41" fmla="*/ 20537 h 56290"/>
                    <a:gd name="connsiteX42" fmla="*/ 3660 w 24580"/>
                    <a:gd name="connsiteY42" fmla="*/ 16291 h 56290"/>
                    <a:gd name="connsiteX43" fmla="*/ 6178 w 24580"/>
                    <a:gd name="connsiteY43" fmla="*/ 14287 h 56290"/>
                    <a:gd name="connsiteX44" fmla="*/ 10652 w 24580"/>
                    <a:gd name="connsiteY44" fmla="*/ 12999 h 56290"/>
                    <a:gd name="connsiteX45" fmla="*/ 11858 w 24580"/>
                    <a:gd name="connsiteY45" fmla="*/ 12428 h 56290"/>
                    <a:gd name="connsiteX46" fmla="*/ 12975 w 24580"/>
                    <a:gd name="connsiteY46" fmla="*/ 10937 h 56290"/>
                    <a:gd name="connsiteX47" fmla="*/ 14197 w 24580"/>
                    <a:gd name="connsiteY47" fmla="*/ 9975 h 56290"/>
                    <a:gd name="connsiteX48" fmla="*/ 15697 w 24580"/>
                    <a:gd name="connsiteY48" fmla="*/ 10098 h 56290"/>
                    <a:gd name="connsiteX49" fmla="*/ 17066 w 24580"/>
                    <a:gd name="connsiteY49" fmla="*/ 10684 h 56290"/>
                    <a:gd name="connsiteX50" fmla="*/ 17913 w 24580"/>
                    <a:gd name="connsiteY50" fmla="*/ 11296 h 56290"/>
                    <a:gd name="connsiteX51" fmla="*/ 18549 w 24580"/>
                    <a:gd name="connsiteY51" fmla="*/ 10652 h 56290"/>
                    <a:gd name="connsiteX52" fmla="*/ 19169 w 24580"/>
                    <a:gd name="connsiteY52" fmla="*/ 8794 h 56290"/>
                    <a:gd name="connsiteX53" fmla="*/ 18794 w 24580"/>
                    <a:gd name="connsiteY53" fmla="*/ 7172 h 56290"/>
                    <a:gd name="connsiteX54" fmla="*/ 18981 w 24580"/>
                    <a:gd name="connsiteY54" fmla="*/ 2689 h 56290"/>
                    <a:gd name="connsiteX55" fmla="*/ 19779 w 24580"/>
                    <a:gd name="connsiteY55" fmla="*/ 139 h 56290"/>
                    <a:gd name="connsiteX56" fmla="*/ 21067 w 24580"/>
                    <a:gd name="connsiteY56" fmla="*/ 0 h 56290"/>
                    <a:gd name="connsiteX57" fmla="*/ 22273 w 24580"/>
                    <a:gd name="connsiteY57" fmla="*/ 1402 h 56290"/>
                    <a:gd name="connsiteX58" fmla="*/ 22216 w 24580"/>
                    <a:gd name="connsiteY58" fmla="*/ 2641 h 56290"/>
                    <a:gd name="connsiteX59" fmla="*/ 22649 w 24580"/>
                    <a:gd name="connsiteY59" fmla="*/ 5566 h 56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4580" h="56290">
                      <a:moveTo>
                        <a:pt x="22697" y="7465"/>
                      </a:moveTo>
                      <a:lnTo>
                        <a:pt x="22045" y="12542"/>
                      </a:lnTo>
                      <a:lnTo>
                        <a:pt x="22526" y="14018"/>
                      </a:lnTo>
                      <a:lnTo>
                        <a:pt x="23406" y="15061"/>
                      </a:lnTo>
                      <a:lnTo>
                        <a:pt x="23838" y="16194"/>
                      </a:lnTo>
                      <a:lnTo>
                        <a:pt x="24580" y="29681"/>
                      </a:lnTo>
                      <a:lnTo>
                        <a:pt x="24441" y="30757"/>
                      </a:lnTo>
                      <a:lnTo>
                        <a:pt x="21402" y="36160"/>
                      </a:lnTo>
                      <a:lnTo>
                        <a:pt x="20725" y="37742"/>
                      </a:lnTo>
                      <a:lnTo>
                        <a:pt x="20570" y="44432"/>
                      </a:lnTo>
                      <a:lnTo>
                        <a:pt x="20065" y="46225"/>
                      </a:lnTo>
                      <a:lnTo>
                        <a:pt x="18981" y="48002"/>
                      </a:lnTo>
                      <a:lnTo>
                        <a:pt x="17066" y="53723"/>
                      </a:lnTo>
                      <a:lnTo>
                        <a:pt x="15395" y="56290"/>
                      </a:lnTo>
                      <a:lnTo>
                        <a:pt x="10848" y="53161"/>
                      </a:lnTo>
                      <a:lnTo>
                        <a:pt x="8175" y="51808"/>
                      </a:lnTo>
                      <a:lnTo>
                        <a:pt x="6862" y="50341"/>
                      </a:lnTo>
                      <a:lnTo>
                        <a:pt x="6006" y="49330"/>
                      </a:lnTo>
                      <a:lnTo>
                        <a:pt x="6561" y="47986"/>
                      </a:lnTo>
                      <a:lnTo>
                        <a:pt x="7775" y="46576"/>
                      </a:lnTo>
                      <a:lnTo>
                        <a:pt x="7979" y="45484"/>
                      </a:lnTo>
                      <a:lnTo>
                        <a:pt x="5094" y="44229"/>
                      </a:lnTo>
                      <a:lnTo>
                        <a:pt x="3790" y="43397"/>
                      </a:lnTo>
                      <a:lnTo>
                        <a:pt x="3806" y="41939"/>
                      </a:lnTo>
                      <a:lnTo>
                        <a:pt x="4792" y="39657"/>
                      </a:lnTo>
                      <a:lnTo>
                        <a:pt x="4344" y="37782"/>
                      </a:lnTo>
                      <a:lnTo>
                        <a:pt x="2690" y="37880"/>
                      </a:lnTo>
                      <a:lnTo>
                        <a:pt x="1402" y="37595"/>
                      </a:lnTo>
                      <a:lnTo>
                        <a:pt x="1231" y="36609"/>
                      </a:lnTo>
                      <a:lnTo>
                        <a:pt x="2184" y="35362"/>
                      </a:lnTo>
                      <a:lnTo>
                        <a:pt x="3390" y="33732"/>
                      </a:lnTo>
                      <a:lnTo>
                        <a:pt x="3358" y="31931"/>
                      </a:lnTo>
                      <a:lnTo>
                        <a:pt x="1891" y="31148"/>
                      </a:lnTo>
                      <a:lnTo>
                        <a:pt x="555" y="29681"/>
                      </a:lnTo>
                      <a:lnTo>
                        <a:pt x="16" y="27693"/>
                      </a:lnTo>
                      <a:lnTo>
                        <a:pt x="1052" y="26324"/>
                      </a:lnTo>
                      <a:lnTo>
                        <a:pt x="2730" y="25444"/>
                      </a:lnTo>
                      <a:lnTo>
                        <a:pt x="1500" y="23398"/>
                      </a:lnTo>
                      <a:lnTo>
                        <a:pt x="669" y="23357"/>
                      </a:lnTo>
                      <a:lnTo>
                        <a:pt x="0" y="22909"/>
                      </a:lnTo>
                      <a:lnTo>
                        <a:pt x="546" y="21955"/>
                      </a:lnTo>
                      <a:lnTo>
                        <a:pt x="1858" y="20537"/>
                      </a:lnTo>
                      <a:lnTo>
                        <a:pt x="3660" y="16291"/>
                      </a:lnTo>
                      <a:lnTo>
                        <a:pt x="6178" y="14287"/>
                      </a:lnTo>
                      <a:lnTo>
                        <a:pt x="10652" y="12999"/>
                      </a:lnTo>
                      <a:lnTo>
                        <a:pt x="11858" y="12428"/>
                      </a:lnTo>
                      <a:lnTo>
                        <a:pt x="12975" y="10937"/>
                      </a:lnTo>
                      <a:lnTo>
                        <a:pt x="14197" y="9975"/>
                      </a:lnTo>
                      <a:lnTo>
                        <a:pt x="15697" y="10098"/>
                      </a:lnTo>
                      <a:lnTo>
                        <a:pt x="17066" y="10684"/>
                      </a:lnTo>
                      <a:lnTo>
                        <a:pt x="17913" y="11296"/>
                      </a:lnTo>
                      <a:lnTo>
                        <a:pt x="18549" y="10652"/>
                      </a:lnTo>
                      <a:lnTo>
                        <a:pt x="19169" y="8794"/>
                      </a:lnTo>
                      <a:lnTo>
                        <a:pt x="18794" y="7172"/>
                      </a:lnTo>
                      <a:lnTo>
                        <a:pt x="18981" y="2689"/>
                      </a:lnTo>
                      <a:lnTo>
                        <a:pt x="19779" y="139"/>
                      </a:lnTo>
                      <a:lnTo>
                        <a:pt x="21067" y="0"/>
                      </a:lnTo>
                      <a:lnTo>
                        <a:pt x="22273" y="1402"/>
                      </a:lnTo>
                      <a:lnTo>
                        <a:pt x="22216" y="2641"/>
                      </a:lnTo>
                      <a:lnTo>
                        <a:pt x="22649" y="5566"/>
                      </a:lnTo>
                      <a:close/>
                    </a:path>
                  </a:pathLst>
                </a:custGeom>
                <a:solidFill>
                  <a:srgbClr val="D6D6D2"/>
                </a:solidFill>
                <a:ln w="8150" cap="flat">
                  <a:noFill/>
                  <a:prstDash val="solid"/>
                  <a:miter/>
                </a:ln>
              </p:spPr>
              <p:txBody>
                <a:bodyPr rtlCol="0" anchor="ctr"/>
                <a:lstStyle/>
                <a:p>
                  <a:endParaRPr lang="en-US"/>
                </a:p>
              </p:txBody>
            </p:sp>
            <p:sp>
              <p:nvSpPr>
                <p:cNvPr id="733" name="Freeform: Shape 732">
                  <a:extLst>
                    <a:ext uri="{FF2B5EF4-FFF2-40B4-BE49-F238E27FC236}">
                      <a16:creationId xmlns:a16="http://schemas.microsoft.com/office/drawing/2014/main" id="{9282A4AF-35AF-4BB7-8E15-EE0B09AB380D}"/>
                    </a:ext>
                  </a:extLst>
                </p:cNvPr>
                <p:cNvSpPr/>
                <p:nvPr/>
              </p:nvSpPr>
              <p:spPr>
                <a:xfrm>
                  <a:off x="5825510" y="2884550"/>
                  <a:ext cx="320023" cy="311295"/>
                </a:xfrm>
                <a:custGeom>
                  <a:avLst/>
                  <a:gdLst>
                    <a:gd name="connsiteX0" fmla="*/ 186555 w 320023"/>
                    <a:gd name="connsiteY0" fmla="*/ 12722 h 311295"/>
                    <a:gd name="connsiteX1" fmla="*/ 188552 w 320023"/>
                    <a:gd name="connsiteY1" fmla="*/ 14148 h 311295"/>
                    <a:gd name="connsiteX2" fmla="*/ 189115 w 320023"/>
                    <a:gd name="connsiteY2" fmla="*/ 13993 h 311295"/>
                    <a:gd name="connsiteX3" fmla="*/ 190582 w 320023"/>
                    <a:gd name="connsiteY3" fmla="*/ 13594 h 311295"/>
                    <a:gd name="connsiteX4" fmla="*/ 193092 w 320023"/>
                    <a:gd name="connsiteY4" fmla="*/ 12127 h 311295"/>
                    <a:gd name="connsiteX5" fmla="*/ 195178 w 320023"/>
                    <a:gd name="connsiteY5" fmla="*/ 11662 h 311295"/>
                    <a:gd name="connsiteX6" fmla="*/ 196360 w 320023"/>
                    <a:gd name="connsiteY6" fmla="*/ 12787 h 311295"/>
                    <a:gd name="connsiteX7" fmla="*/ 197036 w 320023"/>
                    <a:gd name="connsiteY7" fmla="*/ 13414 h 311295"/>
                    <a:gd name="connsiteX8" fmla="*/ 198348 w 320023"/>
                    <a:gd name="connsiteY8" fmla="*/ 15933 h 311295"/>
                    <a:gd name="connsiteX9" fmla="*/ 198723 w 320023"/>
                    <a:gd name="connsiteY9" fmla="*/ 18565 h 311295"/>
                    <a:gd name="connsiteX10" fmla="*/ 199310 w 320023"/>
                    <a:gd name="connsiteY10" fmla="*/ 20757 h 311295"/>
                    <a:gd name="connsiteX11" fmla="*/ 200369 w 320023"/>
                    <a:gd name="connsiteY11" fmla="*/ 21629 h 311295"/>
                    <a:gd name="connsiteX12" fmla="*/ 204355 w 320023"/>
                    <a:gd name="connsiteY12" fmla="*/ 21923 h 311295"/>
                    <a:gd name="connsiteX13" fmla="*/ 207296 w 320023"/>
                    <a:gd name="connsiteY13" fmla="*/ 22738 h 311295"/>
                    <a:gd name="connsiteX14" fmla="*/ 208079 w 320023"/>
                    <a:gd name="connsiteY14" fmla="*/ 23471 h 311295"/>
                    <a:gd name="connsiteX15" fmla="*/ 209073 w 320023"/>
                    <a:gd name="connsiteY15" fmla="*/ 28304 h 311295"/>
                    <a:gd name="connsiteX16" fmla="*/ 209619 w 320023"/>
                    <a:gd name="connsiteY16" fmla="*/ 28997 h 311295"/>
                    <a:gd name="connsiteX17" fmla="*/ 210353 w 320023"/>
                    <a:gd name="connsiteY17" fmla="*/ 28426 h 311295"/>
                    <a:gd name="connsiteX18" fmla="*/ 211078 w 320023"/>
                    <a:gd name="connsiteY18" fmla="*/ 27628 h 311295"/>
                    <a:gd name="connsiteX19" fmla="*/ 212081 w 320023"/>
                    <a:gd name="connsiteY19" fmla="*/ 27505 h 311295"/>
                    <a:gd name="connsiteX20" fmla="*/ 213808 w 320023"/>
                    <a:gd name="connsiteY20" fmla="*/ 27807 h 311295"/>
                    <a:gd name="connsiteX21" fmla="*/ 216074 w 320023"/>
                    <a:gd name="connsiteY21" fmla="*/ 27905 h 311295"/>
                    <a:gd name="connsiteX22" fmla="*/ 218421 w 320023"/>
                    <a:gd name="connsiteY22" fmla="*/ 28443 h 311295"/>
                    <a:gd name="connsiteX23" fmla="*/ 221656 w 320023"/>
                    <a:gd name="connsiteY23" fmla="*/ 31173 h 311295"/>
                    <a:gd name="connsiteX24" fmla="*/ 221534 w 320023"/>
                    <a:gd name="connsiteY24" fmla="*/ 32077 h 311295"/>
                    <a:gd name="connsiteX25" fmla="*/ 220907 w 320023"/>
                    <a:gd name="connsiteY25" fmla="*/ 33658 h 311295"/>
                    <a:gd name="connsiteX26" fmla="*/ 220686 w 320023"/>
                    <a:gd name="connsiteY26" fmla="*/ 34922 h 311295"/>
                    <a:gd name="connsiteX27" fmla="*/ 221241 w 320023"/>
                    <a:gd name="connsiteY27" fmla="*/ 35435 h 311295"/>
                    <a:gd name="connsiteX28" fmla="*/ 222097 w 320023"/>
                    <a:gd name="connsiteY28" fmla="*/ 36731 h 311295"/>
                    <a:gd name="connsiteX29" fmla="*/ 221885 w 320023"/>
                    <a:gd name="connsiteY29" fmla="*/ 38239 h 311295"/>
                    <a:gd name="connsiteX30" fmla="*/ 221062 w 320023"/>
                    <a:gd name="connsiteY30" fmla="*/ 39290 h 311295"/>
                    <a:gd name="connsiteX31" fmla="*/ 220727 w 320023"/>
                    <a:gd name="connsiteY31" fmla="*/ 40162 h 311295"/>
                    <a:gd name="connsiteX32" fmla="*/ 220736 w 320023"/>
                    <a:gd name="connsiteY32" fmla="*/ 40732 h 311295"/>
                    <a:gd name="connsiteX33" fmla="*/ 221029 w 320023"/>
                    <a:gd name="connsiteY33" fmla="*/ 41197 h 311295"/>
                    <a:gd name="connsiteX34" fmla="*/ 221697 w 320023"/>
                    <a:gd name="connsiteY34" fmla="*/ 41613 h 311295"/>
                    <a:gd name="connsiteX35" fmla="*/ 226481 w 320023"/>
                    <a:gd name="connsiteY35" fmla="*/ 42167 h 311295"/>
                    <a:gd name="connsiteX36" fmla="*/ 230849 w 320023"/>
                    <a:gd name="connsiteY36" fmla="*/ 41613 h 311295"/>
                    <a:gd name="connsiteX37" fmla="*/ 233604 w 320023"/>
                    <a:gd name="connsiteY37" fmla="*/ 40080 h 311295"/>
                    <a:gd name="connsiteX38" fmla="*/ 234069 w 320023"/>
                    <a:gd name="connsiteY38" fmla="*/ 38459 h 311295"/>
                    <a:gd name="connsiteX39" fmla="*/ 234859 w 320023"/>
                    <a:gd name="connsiteY39" fmla="*/ 36625 h 311295"/>
                    <a:gd name="connsiteX40" fmla="*/ 236497 w 320023"/>
                    <a:gd name="connsiteY40" fmla="*/ 35093 h 311295"/>
                    <a:gd name="connsiteX41" fmla="*/ 237638 w 320023"/>
                    <a:gd name="connsiteY41" fmla="*/ 34579 h 311295"/>
                    <a:gd name="connsiteX42" fmla="*/ 238673 w 320023"/>
                    <a:gd name="connsiteY42" fmla="*/ 35207 h 311295"/>
                    <a:gd name="connsiteX43" fmla="*/ 236929 w 320023"/>
                    <a:gd name="connsiteY43" fmla="*/ 41637 h 311295"/>
                    <a:gd name="connsiteX44" fmla="*/ 238201 w 320023"/>
                    <a:gd name="connsiteY44" fmla="*/ 43275 h 311295"/>
                    <a:gd name="connsiteX45" fmla="*/ 238396 w 320023"/>
                    <a:gd name="connsiteY45" fmla="*/ 45728 h 311295"/>
                    <a:gd name="connsiteX46" fmla="*/ 238836 w 320023"/>
                    <a:gd name="connsiteY46" fmla="*/ 47880 h 311295"/>
                    <a:gd name="connsiteX47" fmla="*/ 240409 w 320023"/>
                    <a:gd name="connsiteY47" fmla="*/ 47839 h 311295"/>
                    <a:gd name="connsiteX48" fmla="*/ 242300 w 320023"/>
                    <a:gd name="connsiteY48" fmla="*/ 48238 h 311295"/>
                    <a:gd name="connsiteX49" fmla="*/ 243644 w 320023"/>
                    <a:gd name="connsiteY49" fmla="*/ 49029 h 311295"/>
                    <a:gd name="connsiteX50" fmla="*/ 245209 w 320023"/>
                    <a:gd name="connsiteY50" fmla="*/ 50308 h 311295"/>
                    <a:gd name="connsiteX51" fmla="*/ 247467 w 320023"/>
                    <a:gd name="connsiteY51" fmla="*/ 51482 h 311295"/>
                    <a:gd name="connsiteX52" fmla="*/ 249048 w 320023"/>
                    <a:gd name="connsiteY52" fmla="*/ 51889 h 311295"/>
                    <a:gd name="connsiteX53" fmla="*/ 249618 w 320023"/>
                    <a:gd name="connsiteY53" fmla="*/ 52867 h 311295"/>
                    <a:gd name="connsiteX54" fmla="*/ 250906 w 320023"/>
                    <a:gd name="connsiteY54" fmla="*/ 54000 h 311295"/>
                    <a:gd name="connsiteX55" fmla="*/ 252911 w 320023"/>
                    <a:gd name="connsiteY55" fmla="*/ 56372 h 311295"/>
                    <a:gd name="connsiteX56" fmla="*/ 254712 w 320023"/>
                    <a:gd name="connsiteY56" fmla="*/ 57953 h 311295"/>
                    <a:gd name="connsiteX57" fmla="*/ 255584 w 320023"/>
                    <a:gd name="connsiteY57" fmla="*/ 57953 h 311295"/>
                    <a:gd name="connsiteX58" fmla="*/ 257263 w 320023"/>
                    <a:gd name="connsiteY58" fmla="*/ 57325 h 311295"/>
                    <a:gd name="connsiteX59" fmla="*/ 259756 w 320023"/>
                    <a:gd name="connsiteY59" fmla="*/ 56926 h 311295"/>
                    <a:gd name="connsiteX60" fmla="*/ 261721 w 320023"/>
                    <a:gd name="connsiteY60" fmla="*/ 56967 h 311295"/>
                    <a:gd name="connsiteX61" fmla="*/ 262552 w 320023"/>
                    <a:gd name="connsiteY61" fmla="*/ 58165 h 311295"/>
                    <a:gd name="connsiteX62" fmla="*/ 264483 w 320023"/>
                    <a:gd name="connsiteY62" fmla="*/ 58727 h 311295"/>
                    <a:gd name="connsiteX63" fmla="*/ 265176 w 320023"/>
                    <a:gd name="connsiteY63" fmla="*/ 59167 h 311295"/>
                    <a:gd name="connsiteX64" fmla="*/ 265926 w 320023"/>
                    <a:gd name="connsiteY64" fmla="*/ 59998 h 311295"/>
                    <a:gd name="connsiteX65" fmla="*/ 267222 w 320023"/>
                    <a:gd name="connsiteY65" fmla="*/ 60332 h 311295"/>
                    <a:gd name="connsiteX66" fmla="*/ 268770 w 320023"/>
                    <a:gd name="connsiteY66" fmla="*/ 59998 h 311295"/>
                    <a:gd name="connsiteX67" fmla="*/ 269911 w 320023"/>
                    <a:gd name="connsiteY67" fmla="*/ 58890 h 311295"/>
                    <a:gd name="connsiteX68" fmla="*/ 271419 w 320023"/>
                    <a:gd name="connsiteY68" fmla="*/ 58393 h 311295"/>
                    <a:gd name="connsiteX69" fmla="*/ 272934 w 320023"/>
                    <a:gd name="connsiteY69" fmla="*/ 58564 h 311295"/>
                    <a:gd name="connsiteX70" fmla="*/ 273806 w 320023"/>
                    <a:gd name="connsiteY70" fmla="*/ 59167 h 311295"/>
                    <a:gd name="connsiteX71" fmla="*/ 275469 w 320023"/>
                    <a:gd name="connsiteY71" fmla="*/ 60072 h 311295"/>
                    <a:gd name="connsiteX72" fmla="*/ 276414 w 320023"/>
                    <a:gd name="connsiteY72" fmla="*/ 59868 h 311295"/>
                    <a:gd name="connsiteX73" fmla="*/ 278297 w 320023"/>
                    <a:gd name="connsiteY73" fmla="*/ 60422 h 311295"/>
                    <a:gd name="connsiteX74" fmla="*/ 280180 w 320023"/>
                    <a:gd name="connsiteY74" fmla="*/ 62174 h 311295"/>
                    <a:gd name="connsiteX75" fmla="*/ 280978 w 320023"/>
                    <a:gd name="connsiteY75" fmla="*/ 63935 h 311295"/>
                    <a:gd name="connsiteX76" fmla="*/ 281182 w 320023"/>
                    <a:gd name="connsiteY76" fmla="*/ 64896 h 311295"/>
                    <a:gd name="connsiteX77" fmla="*/ 282005 w 320023"/>
                    <a:gd name="connsiteY77" fmla="*/ 65940 h 311295"/>
                    <a:gd name="connsiteX78" fmla="*/ 285175 w 320023"/>
                    <a:gd name="connsiteY78" fmla="*/ 70666 h 311295"/>
                    <a:gd name="connsiteX79" fmla="*/ 286186 w 320023"/>
                    <a:gd name="connsiteY79" fmla="*/ 70886 h 311295"/>
                    <a:gd name="connsiteX80" fmla="*/ 287286 w 320023"/>
                    <a:gd name="connsiteY80" fmla="*/ 70177 h 311295"/>
                    <a:gd name="connsiteX81" fmla="*/ 287995 w 320023"/>
                    <a:gd name="connsiteY81" fmla="*/ 69159 h 311295"/>
                    <a:gd name="connsiteX82" fmla="*/ 289038 w 320023"/>
                    <a:gd name="connsiteY82" fmla="*/ 68963 h 311295"/>
                    <a:gd name="connsiteX83" fmla="*/ 290701 w 320023"/>
                    <a:gd name="connsiteY83" fmla="*/ 69428 h 311295"/>
                    <a:gd name="connsiteX84" fmla="*/ 291769 w 320023"/>
                    <a:gd name="connsiteY84" fmla="*/ 69957 h 311295"/>
                    <a:gd name="connsiteX85" fmla="*/ 292282 w 320023"/>
                    <a:gd name="connsiteY85" fmla="*/ 72003 h 311295"/>
                    <a:gd name="connsiteX86" fmla="*/ 292649 w 320023"/>
                    <a:gd name="connsiteY86" fmla="*/ 72394 h 311295"/>
                    <a:gd name="connsiteX87" fmla="*/ 293366 w 320023"/>
                    <a:gd name="connsiteY87" fmla="*/ 71954 h 311295"/>
                    <a:gd name="connsiteX88" fmla="*/ 294645 w 320023"/>
                    <a:gd name="connsiteY88" fmla="*/ 71856 h 311295"/>
                    <a:gd name="connsiteX89" fmla="*/ 296699 w 320023"/>
                    <a:gd name="connsiteY89" fmla="*/ 72361 h 311295"/>
                    <a:gd name="connsiteX90" fmla="*/ 299511 w 320023"/>
                    <a:gd name="connsiteY90" fmla="*/ 71783 h 311295"/>
                    <a:gd name="connsiteX91" fmla="*/ 301760 w 320023"/>
                    <a:gd name="connsiteY91" fmla="*/ 70927 h 311295"/>
                    <a:gd name="connsiteX92" fmla="*/ 302910 w 320023"/>
                    <a:gd name="connsiteY92" fmla="*/ 70968 h 311295"/>
                    <a:gd name="connsiteX93" fmla="*/ 304775 w 320023"/>
                    <a:gd name="connsiteY93" fmla="*/ 73348 h 311295"/>
                    <a:gd name="connsiteX94" fmla="*/ 306894 w 320023"/>
                    <a:gd name="connsiteY94" fmla="*/ 74236 h 311295"/>
                    <a:gd name="connsiteX95" fmla="*/ 311564 w 320023"/>
                    <a:gd name="connsiteY95" fmla="*/ 74953 h 311295"/>
                    <a:gd name="connsiteX96" fmla="*/ 316568 w 320023"/>
                    <a:gd name="connsiteY96" fmla="*/ 76078 h 311295"/>
                    <a:gd name="connsiteX97" fmla="*/ 318540 w 320023"/>
                    <a:gd name="connsiteY97" fmla="*/ 76974 h 311295"/>
                    <a:gd name="connsiteX98" fmla="*/ 319885 w 320023"/>
                    <a:gd name="connsiteY98" fmla="*/ 77422 h 311295"/>
                    <a:gd name="connsiteX99" fmla="*/ 320024 w 320023"/>
                    <a:gd name="connsiteY99" fmla="*/ 80568 h 311295"/>
                    <a:gd name="connsiteX100" fmla="*/ 319608 w 320023"/>
                    <a:gd name="connsiteY100" fmla="*/ 81049 h 311295"/>
                    <a:gd name="connsiteX101" fmla="*/ 314620 w 320023"/>
                    <a:gd name="connsiteY101" fmla="*/ 87349 h 311295"/>
                    <a:gd name="connsiteX102" fmla="*/ 312518 w 320023"/>
                    <a:gd name="connsiteY102" fmla="*/ 89606 h 311295"/>
                    <a:gd name="connsiteX103" fmla="*/ 311442 w 320023"/>
                    <a:gd name="connsiteY103" fmla="*/ 92825 h 311295"/>
                    <a:gd name="connsiteX104" fmla="*/ 310717 w 320023"/>
                    <a:gd name="connsiteY104" fmla="*/ 97748 h 311295"/>
                    <a:gd name="connsiteX105" fmla="*/ 309242 w 320023"/>
                    <a:gd name="connsiteY105" fmla="*/ 102434 h 311295"/>
                    <a:gd name="connsiteX106" fmla="*/ 307025 w 320023"/>
                    <a:gd name="connsiteY106" fmla="*/ 106851 h 311295"/>
                    <a:gd name="connsiteX107" fmla="*/ 306226 w 320023"/>
                    <a:gd name="connsiteY107" fmla="*/ 110176 h 311295"/>
                    <a:gd name="connsiteX108" fmla="*/ 306821 w 320023"/>
                    <a:gd name="connsiteY108" fmla="*/ 112393 h 311295"/>
                    <a:gd name="connsiteX109" fmla="*/ 306455 w 320023"/>
                    <a:gd name="connsiteY109" fmla="*/ 115873 h 311295"/>
                    <a:gd name="connsiteX110" fmla="*/ 305093 w 320023"/>
                    <a:gd name="connsiteY110" fmla="*/ 120600 h 311295"/>
                    <a:gd name="connsiteX111" fmla="*/ 304865 w 320023"/>
                    <a:gd name="connsiteY111" fmla="*/ 124169 h 311295"/>
                    <a:gd name="connsiteX112" fmla="*/ 305762 w 320023"/>
                    <a:gd name="connsiteY112" fmla="*/ 126574 h 311295"/>
                    <a:gd name="connsiteX113" fmla="*/ 307000 w 320023"/>
                    <a:gd name="connsiteY113" fmla="*/ 127071 h 311295"/>
                    <a:gd name="connsiteX114" fmla="*/ 304001 w 320023"/>
                    <a:gd name="connsiteY114" fmla="*/ 128692 h 311295"/>
                    <a:gd name="connsiteX115" fmla="*/ 303325 w 320023"/>
                    <a:gd name="connsiteY115" fmla="*/ 130110 h 311295"/>
                    <a:gd name="connsiteX116" fmla="*/ 302159 w 320023"/>
                    <a:gd name="connsiteY116" fmla="*/ 131985 h 311295"/>
                    <a:gd name="connsiteX117" fmla="*/ 300244 w 320023"/>
                    <a:gd name="connsiteY117" fmla="*/ 132776 h 311295"/>
                    <a:gd name="connsiteX118" fmla="*/ 298329 w 320023"/>
                    <a:gd name="connsiteY118" fmla="*/ 133036 h 311295"/>
                    <a:gd name="connsiteX119" fmla="*/ 296772 w 320023"/>
                    <a:gd name="connsiteY119" fmla="*/ 132784 h 311295"/>
                    <a:gd name="connsiteX120" fmla="*/ 295884 w 320023"/>
                    <a:gd name="connsiteY120" fmla="*/ 132034 h 311295"/>
                    <a:gd name="connsiteX121" fmla="*/ 295925 w 320023"/>
                    <a:gd name="connsiteY121" fmla="*/ 131341 h 311295"/>
                    <a:gd name="connsiteX122" fmla="*/ 295110 w 320023"/>
                    <a:gd name="connsiteY122" fmla="*/ 130754 h 311295"/>
                    <a:gd name="connsiteX123" fmla="*/ 293073 w 320023"/>
                    <a:gd name="connsiteY123" fmla="*/ 130762 h 311295"/>
                    <a:gd name="connsiteX124" fmla="*/ 290954 w 320023"/>
                    <a:gd name="connsiteY124" fmla="*/ 132058 h 311295"/>
                    <a:gd name="connsiteX125" fmla="*/ 289267 w 320023"/>
                    <a:gd name="connsiteY125" fmla="*/ 134169 h 311295"/>
                    <a:gd name="connsiteX126" fmla="*/ 289780 w 320023"/>
                    <a:gd name="connsiteY126" fmla="*/ 135343 h 311295"/>
                    <a:gd name="connsiteX127" fmla="*/ 291345 w 320023"/>
                    <a:gd name="connsiteY127" fmla="*/ 135652 h 311295"/>
                    <a:gd name="connsiteX128" fmla="*/ 291752 w 320023"/>
                    <a:gd name="connsiteY128" fmla="*/ 136117 h 311295"/>
                    <a:gd name="connsiteX129" fmla="*/ 291752 w 320023"/>
                    <a:gd name="connsiteY129" fmla="*/ 136720 h 311295"/>
                    <a:gd name="connsiteX130" fmla="*/ 291198 w 320023"/>
                    <a:gd name="connsiteY130" fmla="*/ 137453 h 311295"/>
                    <a:gd name="connsiteX131" fmla="*/ 290554 w 320023"/>
                    <a:gd name="connsiteY131" fmla="*/ 138692 h 311295"/>
                    <a:gd name="connsiteX132" fmla="*/ 287286 w 320023"/>
                    <a:gd name="connsiteY132" fmla="*/ 142400 h 311295"/>
                    <a:gd name="connsiteX133" fmla="*/ 283994 w 320023"/>
                    <a:gd name="connsiteY133" fmla="*/ 146149 h 311295"/>
                    <a:gd name="connsiteX134" fmla="*/ 283480 w 320023"/>
                    <a:gd name="connsiteY134" fmla="*/ 147274 h 311295"/>
                    <a:gd name="connsiteX135" fmla="*/ 282437 w 320023"/>
                    <a:gd name="connsiteY135" fmla="*/ 148073 h 311295"/>
                    <a:gd name="connsiteX136" fmla="*/ 278240 w 320023"/>
                    <a:gd name="connsiteY136" fmla="*/ 150053 h 311295"/>
                    <a:gd name="connsiteX137" fmla="*/ 277808 w 320023"/>
                    <a:gd name="connsiteY137" fmla="*/ 150852 h 311295"/>
                    <a:gd name="connsiteX138" fmla="*/ 277563 w 320023"/>
                    <a:gd name="connsiteY138" fmla="*/ 154185 h 311295"/>
                    <a:gd name="connsiteX139" fmla="*/ 277107 w 320023"/>
                    <a:gd name="connsiteY139" fmla="*/ 156915 h 311295"/>
                    <a:gd name="connsiteX140" fmla="*/ 274010 w 320023"/>
                    <a:gd name="connsiteY140" fmla="*/ 159490 h 311295"/>
                    <a:gd name="connsiteX141" fmla="*/ 270921 w 320023"/>
                    <a:gd name="connsiteY141" fmla="*/ 162049 h 311295"/>
                    <a:gd name="connsiteX142" fmla="*/ 270147 w 320023"/>
                    <a:gd name="connsiteY142" fmla="*/ 163614 h 311295"/>
                    <a:gd name="connsiteX143" fmla="*/ 269593 w 320023"/>
                    <a:gd name="connsiteY143" fmla="*/ 165415 h 311295"/>
                    <a:gd name="connsiteX144" fmla="*/ 268623 w 320023"/>
                    <a:gd name="connsiteY144" fmla="*/ 167453 h 311295"/>
                    <a:gd name="connsiteX145" fmla="*/ 268428 w 320023"/>
                    <a:gd name="connsiteY145" fmla="*/ 168528 h 311295"/>
                    <a:gd name="connsiteX146" fmla="*/ 269984 w 320023"/>
                    <a:gd name="connsiteY146" fmla="*/ 170289 h 311295"/>
                    <a:gd name="connsiteX147" fmla="*/ 269805 w 320023"/>
                    <a:gd name="connsiteY147" fmla="*/ 171739 h 311295"/>
                    <a:gd name="connsiteX148" fmla="*/ 269308 w 320023"/>
                    <a:gd name="connsiteY148" fmla="*/ 173801 h 311295"/>
                    <a:gd name="connsiteX149" fmla="*/ 267824 w 320023"/>
                    <a:gd name="connsiteY149" fmla="*/ 175268 h 311295"/>
                    <a:gd name="connsiteX150" fmla="*/ 266195 w 320023"/>
                    <a:gd name="connsiteY150" fmla="*/ 176091 h 311295"/>
                    <a:gd name="connsiteX151" fmla="*/ 266236 w 320023"/>
                    <a:gd name="connsiteY151" fmla="*/ 178332 h 311295"/>
                    <a:gd name="connsiteX152" fmla="*/ 267108 w 320023"/>
                    <a:gd name="connsiteY152" fmla="*/ 178658 h 311295"/>
                    <a:gd name="connsiteX153" fmla="*/ 269080 w 320023"/>
                    <a:gd name="connsiteY153" fmla="*/ 178487 h 311295"/>
                    <a:gd name="connsiteX154" fmla="*/ 271883 w 320023"/>
                    <a:gd name="connsiteY154" fmla="*/ 176849 h 311295"/>
                    <a:gd name="connsiteX155" fmla="*/ 273709 w 320023"/>
                    <a:gd name="connsiteY155" fmla="*/ 174763 h 311295"/>
                    <a:gd name="connsiteX156" fmla="*/ 272633 w 320023"/>
                    <a:gd name="connsiteY156" fmla="*/ 172774 h 311295"/>
                    <a:gd name="connsiteX157" fmla="*/ 272494 w 320023"/>
                    <a:gd name="connsiteY157" fmla="*/ 172391 h 311295"/>
                    <a:gd name="connsiteX158" fmla="*/ 272747 w 320023"/>
                    <a:gd name="connsiteY158" fmla="*/ 171919 h 311295"/>
                    <a:gd name="connsiteX159" fmla="*/ 274915 w 320023"/>
                    <a:gd name="connsiteY159" fmla="*/ 169751 h 311295"/>
                    <a:gd name="connsiteX160" fmla="*/ 277563 w 320023"/>
                    <a:gd name="connsiteY160" fmla="*/ 168447 h 311295"/>
                    <a:gd name="connsiteX161" fmla="*/ 281272 w 320023"/>
                    <a:gd name="connsiteY161" fmla="*/ 168210 h 311295"/>
                    <a:gd name="connsiteX162" fmla="*/ 285738 w 320023"/>
                    <a:gd name="connsiteY162" fmla="*/ 168976 h 311295"/>
                    <a:gd name="connsiteX163" fmla="*/ 286178 w 320023"/>
                    <a:gd name="connsiteY163" fmla="*/ 169303 h 311295"/>
                    <a:gd name="connsiteX164" fmla="*/ 285958 w 320023"/>
                    <a:gd name="connsiteY164" fmla="*/ 170623 h 311295"/>
                    <a:gd name="connsiteX165" fmla="*/ 286382 w 320023"/>
                    <a:gd name="connsiteY165" fmla="*/ 172579 h 311295"/>
                    <a:gd name="connsiteX166" fmla="*/ 287189 w 320023"/>
                    <a:gd name="connsiteY166" fmla="*/ 173948 h 311295"/>
                    <a:gd name="connsiteX167" fmla="*/ 286080 w 320023"/>
                    <a:gd name="connsiteY167" fmla="*/ 177852 h 311295"/>
                    <a:gd name="connsiteX168" fmla="*/ 286928 w 320023"/>
                    <a:gd name="connsiteY168" fmla="*/ 179066 h 311295"/>
                    <a:gd name="connsiteX169" fmla="*/ 288215 w 320023"/>
                    <a:gd name="connsiteY169" fmla="*/ 180525 h 311295"/>
                    <a:gd name="connsiteX170" fmla="*/ 289185 w 320023"/>
                    <a:gd name="connsiteY170" fmla="*/ 181861 h 311295"/>
                    <a:gd name="connsiteX171" fmla="*/ 290587 w 320023"/>
                    <a:gd name="connsiteY171" fmla="*/ 183084 h 311295"/>
                    <a:gd name="connsiteX172" fmla="*/ 291826 w 320023"/>
                    <a:gd name="connsiteY172" fmla="*/ 185137 h 311295"/>
                    <a:gd name="connsiteX173" fmla="*/ 292249 w 320023"/>
                    <a:gd name="connsiteY173" fmla="*/ 186311 h 311295"/>
                    <a:gd name="connsiteX174" fmla="*/ 290277 w 320023"/>
                    <a:gd name="connsiteY174" fmla="*/ 188332 h 311295"/>
                    <a:gd name="connsiteX175" fmla="*/ 286895 w 320023"/>
                    <a:gd name="connsiteY175" fmla="*/ 190231 h 311295"/>
                    <a:gd name="connsiteX176" fmla="*/ 286504 w 320023"/>
                    <a:gd name="connsiteY176" fmla="*/ 191445 h 311295"/>
                    <a:gd name="connsiteX177" fmla="*/ 286553 w 320023"/>
                    <a:gd name="connsiteY177" fmla="*/ 192831 h 311295"/>
                    <a:gd name="connsiteX178" fmla="*/ 286928 w 320023"/>
                    <a:gd name="connsiteY178" fmla="*/ 193923 h 311295"/>
                    <a:gd name="connsiteX179" fmla="*/ 288794 w 320023"/>
                    <a:gd name="connsiteY179" fmla="*/ 195317 h 311295"/>
                    <a:gd name="connsiteX180" fmla="*/ 290799 w 320023"/>
                    <a:gd name="connsiteY180" fmla="*/ 198487 h 311295"/>
                    <a:gd name="connsiteX181" fmla="*/ 292070 w 320023"/>
                    <a:gd name="connsiteY181" fmla="*/ 201298 h 311295"/>
                    <a:gd name="connsiteX182" fmla="*/ 294857 w 320023"/>
                    <a:gd name="connsiteY182" fmla="*/ 204004 h 311295"/>
                    <a:gd name="connsiteX183" fmla="*/ 295542 w 320023"/>
                    <a:gd name="connsiteY183" fmla="*/ 204811 h 311295"/>
                    <a:gd name="connsiteX184" fmla="*/ 295371 w 320023"/>
                    <a:gd name="connsiteY184" fmla="*/ 205487 h 311295"/>
                    <a:gd name="connsiteX185" fmla="*/ 294629 w 320023"/>
                    <a:gd name="connsiteY185" fmla="*/ 206636 h 311295"/>
                    <a:gd name="connsiteX186" fmla="*/ 293684 w 320023"/>
                    <a:gd name="connsiteY186" fmla="*/ 210467 h 311295"/>
                    <a:gd name="connsiteX187" fmla="*/ 292543 w 320023"/>
                    <a:gd name="connsiteY187" fmla="*/ 211070 h 311295"/>
                    <a:gd name="connsiteX188" fmla="*/ 291263 w 320023"/>
                    <a:gd name="connsiteY188" fmla="*/ 211314 h 311295"/>
                    <a:gd name="connsiteX189" fmla="*/ 287816 w 320023"/>
                    <a:gd name="connsiteY189" fmla="*/ 214126 h 311295"/>
                    <a:gd name="connsiteX190" fmla="*/ 286284 w 320023"/>
                    <a:gd name="connsiteY190" fmla="*/ 213784 h 311295"/>
                    <a:gd name="connsiteX191" fmla="*/ 284108 w 320023"/>
                    <a:gd name="connsiteY191" fmla="*/ 213825 h 311295"/>
                    <a:gd name="connsiteX192" fmla="*/ 282502 w 320023"/>
                    <a:gd name="connsiteY192" fmla="*/ 214745 h 311295"/>
                    <a:gd name="connsiteX193" fmla="*/ 282666 w 320023"/>
                    <a:gd name="connsiteY193" fmla="*/ 216498 h 311295"/>
                    <a:gd name="connsiteX194" fmla="*/ 284084 w 320023"/>
                    <a:gd name="connsiteY194" fmla="*/ 218095 h 311295"/>
                    <a:gd name="connsiteX195" fmla="*/ 284915 w 320023"/>
                    <a:gd name="connsiteY195" fmla="*/ 219831 h 311295"/>
                    <a:gd name="connsiteX196" fmla="*/ 285241 w 320023"/>
                    <a:gd name="connsiteY196" fmla="*/ 221640 h 311295"/>
                    <a:gd name="connsiteX197" fmla="*/ 286797 w 320023"/>
                    <a:gd name="connsiteY197" fmla="*/ 222985 h 311295"/>
                    <a:gd name="connsiteX198" fmla="*/ 288998 w 320023"/>
                    <a:gd name="connsiteY198" fmla="*/ 223792 h 311295"/>
                    <a:gd name="connsiteX199" fmla="*/ 290245 w 320023"/>
                    <a:gd name="connsiteY199" fmla="*/ 223832 h 311295"/>
                    <a:gd name="connsiteX200" fmla="*/ 291059 w 320023"/>
                    <a:gd name="connsiteY200" fmla="*/ 224321 h 311295"/>
                    <a:gd name="connsiteX201" fmla="*/ 291557 w 320023"/>
                    <a:gd name="connsiteY201" fmla="*/ 224941 h 311295"/>
                    <a:gd name="connsiteX202" fmla="*/ 292494 w 320023"/>
                    <a:gd name="connsiteY202" fmla="*/ 228812 h 311295"/>
                    <a:gd name="connsiteX203" fmla="*/ 291931 w 320023"/>
                    <a:gd name="connsiteY203" fmla="*/ 229790 h 311295"/>
                    <a:gd name="connsiteX204" fmla="*/ 290750 w 320023"/>
                    <a:gd name="connsiteY204" fmla="*/ 230197 h 311295"/>
                    <a:gd name="connsiteX205" fmla="*/ 290049 w 320023"/>
                    <a:gd name="connsiteY205" fmla="*/ 231795 h 311295"/>
                    <a:gd name="connsiteX206" fmla="*/ 288639 w 320023"/>
                    <a:gd name="connsiteY206" fmla="*/ 234142 h 311295"/>
                    <a:gd name="connsiteX207" fmla="*/ 287841 w 320023"/>
                    <a:gd name="connsiteY207" fmla="*/ 236024 h 311295"/>
                    <a:gd name="connsiteX208" fmla="*/ 288721 w 320023"/>
                    <a:gd name="connsiteY208" fmla="*/ 237679 h 311295"/>
                    <a:gd name="connsiteX209" fmla="*/ 289104 w 320023"/>
                    <a:gd name="connsiteY209" fmla="*/ 238901 h 311295"/>
                    <a:gd name="connsiteX210" fmla="*/ 288623 w 320023"/>
                    <a:gd name="connsiteY210" fmla="*/ 240164 h 311295"/>
                    <a:gd name="connsiteX211" fmla="*/ 289267 w 320023"/>
                    <a:gd name="connsiteY211" fmla="*/ 242137 h 311295"/>
                    <a:gd name="connsiteX212" fmla="*/ 290929 w 320023"/>
                    <a:gd name="connsiteY212" fmla="*/ 244076 h 311295"/>
                    <a:gd name="connsiteX213" fmla="*/ 295444 w 320023"/>
                    <a:gd name="connsiteY213" fmla="*/ 246815 h 311295"/>
                    <a:gd name="connsiteX214" fmla="*/ 299641 w 320023"/>
                    <a:gd name="connsiteY214" fmla="*/ 249031 h 311295"/>
                    <a:gd name="connsiteX215" fmla="*/ 300937 w 320023"/>
                    <a:gd name="connsiteY215" fmla="*/ 249398 h 311295"/>
                    <a:gd name="connsiteX216" fmla="*/ 306609 w 320023"/>
                    <a:gd name="connsiteY216" fmla="*/ 247972 h 311295"/>
                    <a:gd name="connsiteX217" fmla="*/ 307546 w 320023"/>
                    <a:gd name="connsiteY217" fmla="*/ 248094 h 311295"/>
                    <a:gd name="connsiteX218" fmla="*/ 308231 w 320023"/>
                    <a:gd name="connsiteY218" fmla="*/ 249797 h 311295"/>
                    <a:gd name="connsiteX219" fmla="*/ 308533 w 320023"/>
                    <a:gd name="connsiteY219" fmla="*/ 250947 h 311295"/>
                    <a:gd name="connsiteX220" fmla="*/ 307897 w 320023"/>
                    <a:gd name="connsiteY220" fmla="*/ 252674 h 311295"/>
                    <a:gd name="connsiteX221" fmla="*/ 306357 w 320023"/>
                    <a:gd name="connsiteY221" fmla="*/ 255046 h 311295"/>
                    <a:gd name="connsiteX222" fmla="*/ 304694 w 320023"/>
                    <a:gd name="connsiteY222" fmla="*/ 256937 h 311295"/>
                    <a:gd name="connsiteX223" fmla="*/ 303691 w 320023"/>
                    <a:gd name="connsiteY223" fmla="*/ 258534 h 311295"/>
                    <a:gd name="connsiteX224" fmla="*/ 303903 w 320023"/>
                    <a:gd name="connsiteY224" fmla="*/ 260001 h 311295"/>
                    <a:gd name="connsiteX225" fmla="*/ 303961 w 320023"/>
                    <a:gd name="connsiteY225" fmla="*/ 261941 h 311295"/>
                    <a:gd name="connsiteX226" fmla="*/ 302616 w 320023"/>
                    <a:gd name="connsiteY226" fmla="*/ 262527 h 311295"/>
                    <a:gd name="connsiteX227" fmla="*/ 302575 w 320023"/>
                    <a:gd name="connsiteY227" fmla="*/ 262136 h 311295"/>
                    <a:gd name="connsiteX228" fmla="*/ 302013 w 320023"/>
                    <a:gd name="connsiteY228" fmla="*/ 261810 h 311295"/>
                    <a:gd name="connsiteX229" fmla="*/ 301532 w 320023"/>
                    <a:gd name="connsiteY229" fmla="*/ 262006 h 311295"/>
                    <a:gd name="connsiteX230" fmla="*/ 301174 w 320023"/>
                    <a:gd name="connsiteY230" fmla="*/ 262421 h 311295"/>
                    <a:gd name="connsiteX231" fmla="*/ 301108 w 320023"/>
                    <a:gd name="connsiteY231" fmla="*/ 263171 h 311295"/>
                    <a:gd name="connsiteX232" fmla="*/ 298215 w 320023"/>
                    <a:gd name="connsiteY232" fmla="*/ 264410 h 311295"/>
                    <a:gd name="connsiteX233" fmla="*/ 296235 w 320023"/>
                    <a:gd name="connsiteY233" fmla="*/ 265689 h 311295"/>
                    <a:gd name="connsiteX234" fmla="*/ 288378 w 320023"/>
                    <a:gd name="connsiteY234" fmla="*/ 273358 h 311295"/>
                    <a:gd name="connsiteX235" fmla="*/ 284703 w 320023"/>
                    <a:gd name="connsiteY235" fmla="*/ 275608 h 311295"/>
                    <a:gd name="connsiteX236" fmla="*/ 283978 w 320023"/>
                    <a:gd name="connsiteY236" fmla="*/ 276952 h 311295"/>
                    <a:gd name="connsiteX237" fmla="*/ 283228 w 320023"/>
                    <a:gd name="connsiteY237" fmla="*/ 279487 h 311295"/>
                    <a:gd name="connsiteX238" fmla="*/ 281076 w 320023"/>
                    <a:gd name="connsiteY238" fmla="*/ 281655 h 311295"/>
                    <a:gd name="connsiteX239" fmla="*/ 279177 w 320023"/>
                    <a:gd name="connsiteY239" fmla="*/ 282690 h 311295"/>
                    <a:gd name="connsiteX240" fmla="*/ 274507 w 320023"/>
                    <a:gd name="connsiteY240" fmla="*/ 283749 h 311295"/>
                    <a:gd name="connsiteX241" fmla="*/ 269805 w 320023"/>
                    <a:gd name="connsiteY241" fmla="*/ 286031 h 311295"/>
                    <a:gd name="connsiteX242" fmla="*/ 267686 w 320023"/>
                    <a:gd name="connsiteY242" fmla="*/ 285045 h 311295"/>
                    <a:gd name="connsiteX243" fmla="*/ 262210 w 320023"/>
                    <a:gd name="connsiteY243" fmla="*/ 285159 h 311295"/>
                    <a:gd name="connsiteX244" fmla="*/ 258787 w 320023"/>
                    <a:gd name="connsiteY244" fmla="*/ 282388 h 311295"/>
                    <a:gd name="connsiteX245" fmla="*/ 252226 w 320023"/>
                    <a:gd name="connsiteY245" fmla="*/ 280636 h 311295"/>
                    <a:gd name="connsiteX246" fmla="*/ 250075 w 320023"/>
                    <a:gd name="connsiteY246" fmla="*/ 276602 h 311295"/>
                    <a:gd name="connsiteX247" fmla="*/ 247084 w 320023"/>
                    <a:gd name="connsiteY247" fmla="*/ 276333 h 311295"/>
                    <a:gd name="connsiteX248" fmla="*/ 245120 w 320023"/>
                    <a:gd name="connsiteY248" fmla="*/ 276463 h 311295"/>
                    <a:gd name="connsiteX249" fmla="*/ 243946 w 320023"/>
                    <a:gd name="connsiteY249" fmla="*/ 275852 h 311295"/>
                    <a:gd name="connsiteX250" fmla="*/ 243636 w 320023"/>
                    <a:gd name="connsiteY250" fmla="*/ 274467 h 311295"/>
                    <a:gd name="connsiteX251" fmla="*/ 243612 w 320023"/>
                    <a:gd name="connsiteY251" fmla="*/ 273146 h 311295"/>
                    <a:gd name="connsiteX252" fmla="*/ 241534 w 320023"/>
                    <a:gd name="connsiteY252" fmla="*/ 273758 h 311295"/>
                    <a:gd name="connsiteX253" fmla="*/ 239945 w 320023"/>
                    <a:gd name="connsiteY253" fmla="*/ 273758 h 311295"/>
                    <a:gd name="connsiteX254" fmla="*/ 239007 w 320023"/>
                    <a:gd name="connsiteY254" fmla="*/ 274287 h 311295"/>
                    <a:gd name="connsiteX255" fmla="*/ 238249 w 320023"/>
                    <a:gd name="connsiteY255" fmla="*/ 274899 h 311295"/>
                    <a:gd name="connsiteX256" fmla="*/ 237361 w 320023"/>
                    <a:gd name="connsiteY256" fmla="*/ 274507 h 311295"/>
                    <a:gd name="connsiteX257" fmla="*/ 236856 w 320023"/>
                    <a:gd name="connsiteY257" fmla="*/ 274638 h 311295"/>
                    <a:gd name="connsiteX258" fmla="*/ 236905 w 320023"/>
                    <a:gd name="connsiteY258" fmla="*/ 275420 h 311295"/>
                    <a:gd name="connsiteX259" fmla="*/ 234998 w 320023"/>
                    <a:gd name="connsiteY259" fmla="*/ 275616 h 311295"/>
                    <a:gd name="connsiteX260" fmla="*/ 232920 w 320023"/>
                    <a:gd name="connsiteY260" fmla="*/ 275135 h 311295"/>
                    <a:gd name="connsiteX261" fmla="*/ 227500 w 320023"/>
                    <a:gd name="connsiteY261" fmla="*/ 273049 h 311295"/>
                    <a:gd name="connsiteX262" fmla="*/ 226660 w 320023"/>
                    <a:gd name="connsiteY262" fmla="*/ 272731 h 311295"/>
                    <a:gd name="connsiteX263" fmla="*/ 222887 w 320023"/>
                    <a:gd name="connsiteY263" fmla="*/ 271924 h 311295"/>
                    <a:gd name="connsiteX264" fmla="*/ 221371 w 320023"/>
                    <a:gd name="connsiteY264" fmla="*/ 271093 h 311295"/>
                    <a:gd name="connsiteX265" fmla="*/ 220132 w 320023"/>
                    <a:gd name="connsiteY265" fmla="*/ 269039 h 311295"/>
                    <a:gd name="connsiteX266" fmla="*/ 219187 w 320023"/>
                    <a:gd name="connsiteY266" fmla="*/ 268379 h 311295"/>
                    <a:gd name="connsiteX267" fmla="*/ 218633 w 320023"/>
                    <a:gd name="connsiteY267" fmla="*/ 267996 h 311295"/>
                    <a:gd name="connsiteX268" fmla="*/ 215120 w 320023"/>
                    <a:gd name="connsiteY268" fmla="*/ 269023 h 311295"/>
                    <a:gd name="connsiteX269" fmla="*/ 213898 w 320023"/>
                    <a:gd name="connsiteY269" fmla="*/ 270653 h 311295"/>
                    <a:gd name="connsiteX270" fmla="*/ 211991 w 320023"/>
                    <a:gd name="connsiteY270" fmla="*/ 272551 h 311295"/>
                    <a:gd name="connsiteX271" fmla="*/ 198951 w 320023"/>
                    <a:gd name="connsiteY271" fmla="*/ 281859 h 311295"/>
                    <a:gd name="connsiteX272" fmla="*/ 196572 w 320023"/>
                    <a:gd name="connsiteY272" fmla="*/ 285754 h 311295"/>
                    <a:gd name="connsiteX273" fmla="*/ 193817 w 320023"/>
                    <a:gd name="connsiteY273" fmla="*/ 291475 h 311295"/>
                    <a:gd name="connsiteX274" fmla="*/ 193589 w 320023"/>
                    <a:gd name="connsiteY274" fmla="*/ 294148 h 311295"/>
                    <a:gd name="connsiteX275" fmla="*/ 194787 w 320023"/>
                    <a:gd name="connsiteY275" fmla="*/ 302673 h 311295"/>
                    <a:gd name="connsiteX276" fmla="*/ 197436 w 320023"/>
                    <a:gd name="connsiteY276" fmla="*/ 307147 h 311295"/>
                    <a:gd name="connsiteX277" fmla="*/ 197770 w 320023"/>
                    <a:gd name="connsiteY277" fmla="*/ 308182 h 311295"/>
                    <a:gd name="connsiteX278" fmla="*/ 196294 w 320023"/>
                    <a:gd name="connsiteY278" fmla="*/ 308182 h 311295"/>
                    <a:gd name="connsiteX279" fmla="*/ 193833 w 320023"/>
                    <a:gd name="connsiteY279" fmla="*/ 307628 h 311295"/>
                    <a:gd name="connsiteX280" fmla="*/ 191788 w 320023"/>
                    <a:gd name="connsiteY280" fmla="*/ 306935 h 311295"/>
                    <a:gd name="connsiteX281" fmla="*/ 189840 w 320023"/>
                    <a:gd name="connsiteY281" fmla="*/ 307318 h 311295"/>
                    <a:gd name="connsiteX282" fmla="*/ 187957 w 320023"/>
                    <a:gd name="connsiteY282" fmla="*/ 308247 h 311295"/>
                    <a:gd name="connsiteX283" fmla="*/ 186311 w 320023"/>
                    <a:gd name="connsiteY283" fmla="*/ 308802 h 311295"/>
                    <a:gd name="connsiteX284" fmla="*/ 185129 w 320023"/>
                    <a:gd name="connsiteY284" fmla="*/ 308956 h 311295"/>
                    <a:gd name="connsiteX285" fmla="*/ 184347 w 320023"/>
                    <a:gd name="connsiteY285" fmla="*/ 309494 h 311295"/>
                    <a:gd name="connsiteX286" fmla="*/ 183964 w 320023"/>
                    <a:gd name="connsiteY286" fmla="*/ 310554 h 311295"/>
                    <a:gd name="connsiteX287" fmla="*/ 183891 w 320023"/>
                    <a:gd name="connsiteY287" fmla="*/ 311295 h 311295"/>
                    <a:gd name="connsiteX288" fmla="*/ 181804 w 320023"/>
                    <a:gd name="connsiteY288" fmla="*/ 311116 h 311295"/>
                    <a:gd name="connsiteX289" fmla="*/ 177004 w 320023"/>
                    <a:gd name="connsiteY289" fmla="*/ 309584 h 311295"/>
                    <a:gd name="connsiteX290" fmla="*/ 172685 w 320023"/>
                    <a:gd name="connsiteY290" fmla="*/ 308533 h 311295"/>
                    <a:gd name="connsiteX291" fmla="*/ 170159 w 320023"/>
                    <a:gd name="connsiteY291" fmla="*/ 309739 h 311295"/>
                    <a:gd name="connsiteX292" fmla="*/ 168536 w 320023"/>
                    <a:gd name="connsiteY292" fmla="*/ 310855 h 311295"/>
                    <a:gd name="connsiteX293" fmla="*/ 167395 w 320023"/>
                    <a:gd name="connsiteY293" fmla="*/ 310676 h 311295"/>
                    <a:gd name="connsiteX294" fmla="*/ 166515 w 320023"/>
                    <a:gd name="connsiteY294" fmla="*/ 309494 h 311295"/>
                    <a:gd name="connsiteX295" fmla="*/ 165937 w 320023"/>
                    <a:gd name="connsiteY295" fmla="*/ 308345 h 311295"/>
                    <a:gd name="connsiteX296" fmla="*/ 164242 w 320023"/>
                    <a:gd name="connsiteY296" fmla="*/ 307286 h 311295"/>
                    <a:gd name="connsiteX297" fmla="*/ 160435 w 320023"/>
                    <a:gd name="connsiteY297" fmla="*/ 305688 h 311295"/>
                    <a:gd name="connsiteX298" fmla="*/ 160631 w 320023"/>
                    <a:gd name="connsiteY298" fmla="*/ 304922 h 311295"/>
                    <a:gd name="connsiteX299" fmla="*/ 161283 w 320023"/>
                    <a:gd name="connsiteY299" fmla="*/ 303847 h 311295"/>
                    <a:gd name="connsiteX300" fmla="*/ 161267 w 320023"/>
                    <a:gd name="connsiteY300" fmla="*/ 303186 h 311295"/>
                    <a:gd name="connsiteX301" fmla="*/ 160525 w 320023"/>
                    <a:gd name="connsiteY301" fmla="*/ 302200 h 311295"/>
                    <a:gd name="connsiteX302" fmla="*/ 157013 w 320023"/>
                    <a:gd name="connsiteY302" fmla="*/ 301149 h 311295"/>
                    <a:gd name="connsiteX303" fmla="*/ 155358 w 320023"/>
                    <a:gd name="connsiteY303" fmla="*/ 300880 h 311295"/>
                    <a:gd name="connsiteX304" fmla="*/ 154307 w 320023"/>
                    <a:gd name="connsiteY304" fmla="*/ 301605 h 311295"/>
                    <a:gd name="connsiteX305" fmla="*/ 153541 w 320023"/>
                    <a:gd name="connsiteY305" fmla="*/ 302502 h 311295"/>
                    <a:gd name="connsiteX306" fmla="*/ 151585 w 320023"/>
                    <a:gd name="connsiteY306" fmla="*/ 299234 h 311295"/>
                    <a:gd name="connsiteX307" fmla="*/ 150192 w 320023"/>
                    <a:gd name="connsiteY307" fmla="*/ 298565 h 311295"/>
                    <a:gd name="connsiteX308" fmla="*/ 148081 w 320023"/>
                    <a:gd name="connsiteY308" fmla="*/ 298451 h 311295"/>
                    <a:gd name="connsiteX309" fmla="*/ 145684 w 320023"/>
                    <a:gd name="connsiteY309" fmla="*/ 297457 h 311295"/>
                    <a:gd name="connsiteX310" fmla="*/ 143174 w 320023"/>
                    <a:gd name="connsiteY310" fmla="*/ 296186 h 311295"/>
                    <a:gd name="connsiteX311" fmla="*/ 137087 w 320023"/>
                    <a:gd name="connsiteY311" fmla="*/ 294140 h 311295"/>
                    <a:gd name="connsiteX312" fmla="*/ 135408 w 320023"/>
                    <a:gd name="connsiteY312" fmla="*/ 293896 h 311295"/>
                    <a:gd name="connsiteX313" fmla="*/ 134740 w 320023"/>
                    <a:gd name="connsiteY313" fmla="*/ 294222 h 311295"/>
                    <a:gd name="connsiteX314" fmla="*/ 134292 w 320023"/>
                    <a:gd name="connsiteY314" fmla="*/ 295436 h 311295"/>
                    <a:gd name="connsiteX315" fmla="*/ 134047 w 320023"/>
                    <a:gd name="connsiteY315" fmla="*/ 298883 h 311295"/>
                    <a:gd name="connsiteX316" fmla="*/ 133794 w 320023"/>
                    <a:gd name="connsiteY316" fmla="*/ 299266 h 311295"/>
                    <a:gd name="connsiteX317" fmla="*/ 130958 w 320023"/>
                    <a:gd name="connsiteY317" fmla="*/ 299389 h 311295"/>
                    <a:gd name="connsiteX318" fmla="*/ 127478 w 320023"/>
                    <a:gd name="connsiteY318" fmla="*/ 298900 h 311295"/>
                    <a:gd name="connsiteX319" fmla="*/ 125881 w 320023"/>
                    <a:gd name="connsiteY319" fmla="*/ 299144 h 311295"/>
                    <a:gd name="connsiteX320" fmla="*/ 124455 w 320023"/>
                    <a:gd name="connsiteY320" fmla="*/ 299152 h 311295"/>
                    <a:gd name="connsiteX321" fmla="*/ 123110 w 320023"/>
                    <a:gd name="connsiteY321" fmla="*/ 298239 h 311295"/>
                    <a:gd name="connsiteX322" fmla="*/ 117095 w 320023"/>
                    <a:gd name="connsiteY322" fmla="*/ 299283 h 311295"/>
                    <a:gd name="connsiteX323" fmla="*/ 116093 w 320023"/>
                    <a:gd name="connsiteY323" fmla="*/ 298777 h 311295"/>
                    <a:gd name="connsiteX324" fmla="*/ 114642 w 320023"/>
                    <a:gd name="connsiteY324" fmla="*/ 297221 h 311295"/>
                    <a:gd name="connsiteX325" fmla="*/ 113020 w 320023"/>
                    <a:gd name="connsiteY325" fmla="*/ 295966 h 311295"/>
                    <a:gd name="connsiteX326" fmla="*/ 111765 w 320023"/>
                    <a:gd name="connsiteY326" fmla="*/ 295314 h 311295"/>
                    <a:gd name="connsiteX327" fmla="*/ 110698 w 320023"/>
                    <a:gd name="connsiteY327" fmla="*/ 294580 h 311295"/>
                    <a:gd name="connsiteX328" fmla="*/ 109720 w 320023"/>
                    <a:gd name="connsiteY328" fmla="*/ 294458 h 311295"/>
                    <a:gd name="connsiteX329" fmla="*/ 108237 w 320023"/>
                    <a:gd name="connsiteY329" fmla="*/ 295167 h 311295"/>
                    <a:gd name="connsiteX330" fmla="*/ 106183 w 320023"/>
                    <a:gd name="connsiteY330" fmla="*/ 295477 h 311295"/>
                    <a:gd name="connsiteX331" fmla="*/ 104488 w 320023"/>
                    <a:gd name="connsiteY331" fmla="*/ 295387 h 311295"/>
                    <a:gd name="connsiteX332" fmla="*/ 103575 w 320023"/>
                    <a:gd name="connsiteY332" fmla="*/ 295485 h 311295"/>
                    <a:gd name="connsiteX333" fmla="*/ 99761 w 320023"/>
                    <a:gd name="connsiteY333" fmla="*/ 291671 h 311295"/>
                    <a:gd name="connsiteX334" fmla="*/ 99199 w 320023"/>
                    <a:gd name="connsiteY334" fmla="*/ 290619 h 311295"/>
                    <a:gd name="connsiteX335" fmla="*/ 97308 w 320023"/>
                    <a:gd name="connsiteY335" fmla="*/ 290342 h 311295"/>
                    <a:gd name="connsiteX336" fmla="*/ 94961 w 320023"/>
                    <a:gd name="connsiteY336" fmla="*/ 290293 h 311295"/>
                    <a:gd name="connsiteX337" fmla="*/ 88963 w 320023"/>
                    <a:gd name="connsiteY337" fmla="*/ 287816 h 311295"/>
                    <a:gd name="connsiteX338" fmla="*/ 86232 w 320023"/>
                    <a:gd name="connsiteY338" fmla="*/ 286479 h 311295"/>
                    <a:gd name="connsiteX339" fmla="*/ 85841 w 320023"/>
                    <a:gd name="connsiteY339" fmla="*/ 285689 h 311295"/>
                    <a:gd name="connsiteX340" fmla="*/ 85874 w 320023"/>
                    <a:gd name="connsiteY340" fmla="*/ 285045 h 311295"/>
                    <a:gd name="connsiteX341" fmla="*/ 85409 w 320023"/>
                    <a:gd name="connsiteY341" fmla="*/ 285192 h 311295"/>
                    <a:gd name="connsiteX342" fmla="*/ 84570 w 320023"/>
                    <a:gd name="connsiteY342" fmla="*/ 286316 h 311295"/>
                    <a:gd name="connsiteX343" fmla="*/ 84130 w 320023"/>
                    <a:gd name="connsiteY343" fmla="*/ 287245 h 311295"/>
                    <a:gd name="connsiteX344" fmla="*/ 83543 w 320023"/>
                    <a:gd name="connsiteY344" fmla="*/ 287409 h 311295"/>
                    <a:gd name="connsiteX345" fmla="*/ 82687 w 320023"/>
                    <a:gd name="connsiteY345" fmla="*/ 287270 h 311295"/>
                    <a:gd name="connsiteX346" fmla="*/ 81888 w 320023"/>
                    <a:gd name="connsiteY346" fmla="*/ 286748 h 311295"/>
                    <a:gd name="connsiteX347" fmla="*/ 81399 w 320023"/>
                    <a:gd name="connsiteY347" fmla="*/ 286088 h 311295"/>
                    <a:gd name="connsiteX348" fmla="*/ 81921 w 320023"/>
                    <a:gd name="connsiteY348" fmla="*/ 284915 h 311295"/>
                    <a:gd name="connsiteX349" fmla="*/ 82842 w 320023"/>
                    <a:gd name="connsiteY349" fmla="*/ 283383 h 311295"/>
                    <a:gd name="connsiteX350" fmla="*/ 83217 w 320023"/>
                    <a:gd name="connsiteY350" fmla="*/ 281720 h 311295"/>
                    <a:gd name="connsiteX351" fmla="*/ 83127 w 320023"/>
                    <a:gd name="connsiteY351" fmla="*/ 280229 h 311295"/>
                    <a:gd name="connsiteX352" fmla="*/ 81611 w 320023"/>
                    <a:gd name="connsiteY352" fmla="*/ 279275 h 311295"/>
                    <a:gd name="connsiteX353" fmla="*/ 79387 w 320023"/>
                    <a:gd name="connsiteY353" fmla="*/ 278876 h 311295"/>
                    <a:gd name="connsiteX354" fmla="*/ 77765 w 320023"/>
                    <a:gd name="connsiteY354" fmla="*/ 278770 h 311295"/>
                    <a:gd name="connsiteX355" fmla="*/ 75638 w 320023"/>
                    <a:gd name="connsiteY355" fmla="*/ 277914 h 311295"/>
                    <a:gd name="connsiteX356" fmla="*/ 74635 w 320023"/>
                    <a:gd name="connsiteY356" fmla="*/ 277303 h 311295"/>
                    <a:gd name="connsiteX357" fmla="*/ 73657 w 320023"/>
                    <a:gd name="connsiteY357" fmla="*/ 275640 h 311295"/>
                    <a:gd name="connsiteX358" fmla="*/ 73625 w 320023"/>
                    <a:gd name="connsiteY358" fmla="*/ 274434 h 311295"/>
                    <a:gd name="connsiteX359" fmla="*/ 77659 w 320023"/>
                    <a:gd name="connsiteY359" fmla="*/ 273366 h 311295"/>
                    <a:gd name="connsiteX360" fmla="*/ 81293 w 320023"/>
                    <a:gd name="connsiteY360" fmla="*/ 269006 h 311295"/>
                    <a:gd name="connsiteX361" fmla="*/ 84733 w 320023"/>
                    <a:gd name="connsiteY361" fmla="*/ 253139 h 311295"/>
                    <a:gd name="connsiteX362" fmla="*/ 87227 w 320023"/>
                    <a:gd name="connsiteY362" fmla="*/ 234305 h 311295"/>
                    <a:gd name="connsiteX363" fmla="*/ 89077 w 320023"/>
                    <a:gd name="connsiteY363" fmla="*/ 230743 h 311295"/>
                    <a:gd name="connsiteX364" fmla="*/ 91407 w 320023"/>
                    <a:gd name="connsiteY364" fmla="*/ 229757 h 311295"/>
                    <a:gd name="connsiteX365" fmla="*/ 89525 w 320023"/>
                    <a:gd name="connsiteY365" fmla="*/ 227157 h 311295"/>
                    <a:gd name="connsiteX366" fmla="*/ 88343 w 320023"/>
                    <a:gd name="connsiteY366" fmla="*/ 228470 h 311295"/>
                    <a:gd name="connsiteX367" fmla="*/ 87854 w 320023"/>
                    <a:gd name="connsiteY367" fmla="*/ 229871 h 311295"/>
                    <a:gd name="connsiteX368" fmla="*/ 87235 w 320023"/>
                    <a:gd name="connsiteY368" fmla="*/ 230564 h 311295"/>
                    <a:gd name="connsiteX369" fmla="*/ 88628 w 320023"/>
                    <a:gd name="connsiteY369" fmla="*/ 213221 h 311295"/>
                    <a:gd name="connsiteX370" fmla="*/ 89623 w 320023"/>
                    <a:gd name="connsiteY370" fmla="*/ 206857 h 311295"/>
                    <a:gd name="connsiteX371" fmla="*/ 91309 w 320023"/>
                    <a:gd name="connsiteY371" fmla="*/ 200174 h 311295"/>
                    <a:gd name="connsiteX372" fmla="*/ 94765 w 320023"/>
                    <a:gd name="connsiteY372" fmla="*/ 202831 h 311295"/>
                    <a:gd name="connsiteX373" fmla="*/ 97626 w 320023"/>
                    <a:gd name="connsiteY373" fmla="*/ 205512 h 311295"/>
                    <a:gd name="connsiteX374" fmla="*/ 99109 w 320023"/>
                    <a:gd name="connsiteY374" fmla="*/ 207851 h 311295"/>
                    <a:gd name="connsiteX375" fmla="*/ 100983 w 320023"/>
                    <a:gd name="connsiteY375" fmla="*/ 215609 h 311295"/>
                    <a:gd name="connsiteX376" fmla="*/ 102393 w 320023"/>
                    <a:gd name="connsiteY376" fmla="*/ 217239 h 311295"/>
                    <a:gd name="connsiteX377" fmla="*/ 104512 w 320023"/>
                    <a:gd name="connsiteY377" fmla="*/ 218869 h 311295"/>
                    <a:gd name="connsiteX378" fmla="*/ 103673 w 320023"/>
                    <a:gd name="connsiteY378" fmla="*/ 217084 h 311295"/>
                    <a:gd name="connsiteX379" fmla="*/ 102222 w 320023"/>
                    <a:gd name="connsiteY379" fmla="*/ 215723 h 311295"/>
                    <a:gd name="connsiteX380" fmla="*/ 99940 w 320023"/>
                    <a:gd name="connsiteY380" fmla="*/ 205381 h 311295"/>
                    <a:gd name="connsiteX381" fmla="*/ 98506 w 320023"/>
                    <a:gd name="connsiteY381" fmla="*/ 202448 h 311295"/>
                    <a:gd name="connsiteX382" fmla="*/ 96281 w 320023"/>
                    <a:gd name="connsiteY382" fmla="*/ 199970 h 311295"/>
                    <a:gd name="connsiteX383" fmla="*/ 89101 w 320023"/>
                    <a:gd name="connsiteY383" fmla="*/ 194770 h 311295"/>
                    <a:gd name="connsiteX384" fmla="*/ 88457 w 320023"/>
                    <a:gd name="connsiteY384" fmla="*/ 193768 h 311295"/>
                    <a:gd name="connsiteX385" fmla="*/ 88107 w 320023"/>
                    <a:gd name="connsiteY385" fmla="*/ 191771 h 311295"/>
                    <a:gd name="connsiteX386" fmla="*/ 90478 w 320023"/>
                    <a:gd name="connsiteY386" fmla="*/ 191861 h 311295"/>
                    <a:gd name="connsiteX387" fmla="*/ 92532 w 320023"/>
                    <a:gd name="connsiteY387" fmla="*/ 192831 h 311295"/>
                    <a:gd name="connsiteX388" fmla="*/ 92287 w 320023"/>
                    <a:gd name="connsiteY388" fmla="*/ 191714 h 311295"/>
                    <a:gd name="connsiteX389" fmla="*/ 91684 w 320023"/>
                    <a:gd name="connsiteY389" fmla="*/ 190549 h 311295"/>
                    <a:gd name="connsiteX390" fmla="*/ 90731 w 320023"/>
                    <a:gd name="connsiteY390" fmla="*/ 186319 h 311295"/>
                    <a:gd name="connsiteX391" fmla="*/ 89932 w 320023"/>
                    <a:gd name="connsiteY391" fmla="*/ 176442 h 311295"/>
                    <a:gd name="connsiteX392" fmla="*/ 90038 w 320023"/>
                    <a:gd name="connsiteY392" fmla="*/ 174747 h 311295"/>
                    <a:gd name="connsiteX393" fmla="*/ 89688 w 320023"/>
                    <a:gd name="connsiteY393" fmla="*/ 172668 h 311295"/>
                    <a:gd name="connsiteX394" fmla="*/ 87390 w 320023"/>
                    <a:gd name="connsiteY394" fmla="*/ 172204 h 311295"/>
                    <a:gd name="connsiteX395" fmla="*/ 85564 w 320023"/>
                    <a:gd name="connsiteY395" fmla="*/ 172122 h 311295"/>
                    <a:gd name="connsiteX396" fmla="*/ 83576 w 320023"/>
                    <a:gd name="connsiteY396" fmla="*/ 171299 h 311295"/>
                    <a:gd name="connsiteX397" fmla="*/ 73812 w 320023"/>
                    <a:gd name="connsiteY397" fmla="*/ 165464 h 311295"/>
                    <a:gd name="connsiteX398" fmla="*/ 70463 w 320023"/>
                    <a:gd name="connsiteY398" fmla="*/ 159425 h 311295"/>
                    <a:gd name="connsiteX399" fmla="*/ 67040 w 320023"/>
                    <a:gd name="connsiteY399" fmla="*/ 154967 h 311295"/>
                    <a:gd name="connsiteX400" fmla="*/ 66225 w 320023"/>
                    <a:gd name="connsiteY400" fmla="*/ 153019 h 311295"/>
                    <a:gd name="connsiteX401" fmla="*/ 66274 w 320023"/>
                    <a:gd name="connsiteY401" fmla="*/ 151047 h 311295"/>
                    <a:gd name="connsiteX402" fmla="*/ 68042 w 320023"/>
                    <a:gd name="connsiteY402" fmla="*/ 146875 h 311295"/>
                    <a:gd name="connsiteX403" fmla="*/ 66486 w 320023"/>
                    <a:gd name="connsiteY403" fmla="*/ 144242 h 311295"/>
                    <a:gd name="connsiteX404" fmla="*/ 64954 w 320023"/>
                    <a:gd name="connsiteY404" fmla="*/ 143712 h 311295"/>
                    <a:gd name="connsiteX405" fmla="*/ 63633 w 320023"/>
                    <a:gd name="connsiteY405" fmla="*/ 142417 h 311295"/>
                    <a:gd name="connsiteX406" fmla="*/ 64831 w 320023"/>
                    <a:gd name="connsiteY406" fmla="*/ 140241 h 311295"/>
                    <a:gd name="connsiteX407" fmla="*/ 65826 w 320023"/>
                    <a:gd name="connsiteY407" fmla="*/ 138847 h 311295"/>
                    <a:gd name="connsiteX408" fmla="*/ 67830 w 320023"/>
                    <a:gd name="connsiteY408" fmla="*/ 138472 h 311295"/>
                    <a:gd name="connsiteX409" fmla="*/ 70455 w 320023"/>
                    <a:gd name="connsiteY409" fmla="*/ 138937 h 311295"/>
                    <a:gd name="connsiteX410" fmla="*/ 72948 w 320023"/>
                    <a:gd name="connsiteY410" fmla="*/ 140184 h 311295"/>
                    <a:gd name="connsiteX411" fmla="*/ 74904 w 320023"/>
                    <a:gd name="connsiteY411" fmla="*/ 140526 h 311295"/>
                    <a:gd name="connsiteX412" fmla="*/ 69126 w 320023"/>
                    <a:gd name="connsiteY412" fmla="*/ 137144 h 311295"/>
                    <a:gd name="connsiteX413" fmla="*/ 59762 w 320023"/>
                    <a:gd name="connsiteY413" fmla="*/ 138285 h 311295"/>
                    <a:gd name="connsiteX414" fmla="*/ 57741 w 320023"/>
                    <a:gd name="connsiteY414" fmla="*/ 137845 h 311295"/>
                    <a:gd name="connsiteX415" fmla="*/ 56037 w 320023"/>
                    <a:gd name="connsiteY415" fmla="*/ 137095 h 311295"/>
                    <a:gd name="connsiteX416" fmla="*/ 55369 w 320023"/>
                    <a:gd name="connsiteY416" fmla="*/ 134609 h 311295"/>
                    <a:gd name="connsiteX417" fmla="*/ 56706 w 320023"/>
                    <a:gd name="connsiteY417" fmla="*/ 133493 h 311295"/>
                    <a:gd name="connsiteX418" fmla="*/ 57904 w 320023"/>
                    <a:gd name="connsiteY418" fmla="*/ 131423 h 311295"/>
                    <a:gd name="connsiteX419" fmla="*/ 56543 w 320023"/>
                    <a:gd name="connsiteY419" fmla="*/ 129972 h 311295"/>
                    <a:gd name="connsiteX420" fmla="*/ 54774 w 320023"/>
                    <a:gd name="connsiteY420" fmla="*/ 129418 h 311295"/>
                    <a:gd name="connsiteX421" fmla="*/ 51995 w 320023"/>
                    <a:gd name="connsiteY421" fmla="*/ 129450 h 311295"/>
                    <a:gd name="connsiteX422" fmla="*/ 49412 w 320023"/>
                    <a:gd name="connsiteY422" fmla="*/ 129890 h 311295"/>
                    <a:gd name="connsiteX423" fmla="*/ 48752 w 320023"/>
                    <a:gd name="connsiteY423" fmla="*/ 129051 h 311295"/>
                    <a:gd name="connsiteX424" fmla="*/ 50333 w 320023"/>
                    <a:gd name="connsiteY424" fmla="*/ 126736 h 311295"/>
                    <a:gd name="connsiteX425" fmla="*/ 48988 w 320023"/>
                    <a:gd name="connsiteY425" fmla="*/ 125897 h 311295"/>
                    <a:gd name="connsiteX426" fmla="*/ 47203 w 320023"/>
                    <a:gd name="connsiteY426" fmla="*/ 126296 h 311295"/>
                    <a:gd name="connsiteX427" fmla="*/ 44604 w 320023"/>
                    <a:gd name="connsiteY427" fmla="*/ 126769 h 311295"/>
                    <a:gd name="connsiteX428" fmla="*/ 42126 w 320023"/>
                    <a:gd name="connsiteY428" fmla="*/ 126044 h 311295"/>
                    <a:gd name="connsiteX429" fmla="*/ 39771 w 320023"/>
                    <a:gd name="connsiteY429" fmla="*/ 123428 h 311295"/>
                    <a:gd name="connsiteX430" fmla="*/ 38214 w 320023"/>
                    <a:gd name="connsiteY430" fmla="*/ 123444 h 311295"/>
                    <a:gd name="connsiteX431" fmla="*/ 37146 w 320023"/>
                    <a:gd name="connsiteY431" fmla="*/ 123770 h 311295"/>
                    <a:gd name="connsiteX432" fmla="*/ 35557 w 320023"/>
                    <a:gd name="connsiteY432" fmla="*/ 122759 h 311295"/>
                    <a:gd name="connsiteX433" fmla="*/ 33895 w 320023"/>
                    <a:gd name="connsiteY433" fmla="*/ 122499 h 311295"/>
                    <a:gd name="connsiteX434" fmla="*/ 32705 w 320023"/>
                    <a:gd name="connsiteY434" fmla="*/ 122833 h 311295"/>
                    <a:gd name="connsiteX435" fmla="*/ 31116 w 320023"/>
                    <a:gd name="connsiteY435" fmla="*/ 121333 h 311295"/>
                    <a:gd name="connsiteX436" fmla="*/ 21369 w 320023"/>
                    <a:gd name="connsiteY436" fmla="*/ 118302 h 311295"/>
                    <a:gd name="connsiteX437" fmla="*/ 17155 w 320023"/>
                    <a:gd name="connsiteY437" fmla="*/ 117935 h 311295"/>
                    <a:gd name="connsiteX438" fmla="*/ 13292 w 320023"/>
                    <a:gd name="connsiteY438" fmla="*/ 119304 h 311295"/>
                    <a:gd name="connsiteX439" fmla="*/ 11174 w 320023"/>
                    <a:gd name="connsiteY439" fmla="*/ 118831 h 311295"/>
                    <a:gd name="connsiteX440" fmla="*/ 9609 w 320023"/>
                    <a:gd name="connsiteY440" fmla="*/ 116875 h 311295"/>
                    <a:gd name="connsiteX441" fmla="*/ 8296 w 320023"/>
                    <a:gd name="connsiteY441" fmla="*/ 113591 h 311295"/>
                    <a:gd name="connsiteX442" fmla="*/ 2070 w 320023"/>
                    <a:gd name="connsiteY442" fmla="*/ 111073 h 311295"/>
                    <a:gd name="connsiteX443" fmla="*/ 3301 w 320023"/>
                    <a:gd name="connsiteY443" fmla="*/ 109402 h 311295"/>
                    <a:gd name="connsiteX444" fmla="*/ 6202 w 320023"/>
                    <a:gd name="connsiteY444" fmla="*/ 109011 h 311295"/>
                    <a:gd name="connsiteX445" fmla="*/ 9535 w 320023"/>
                    <a:gd name="connsiteY445" fmla="*/ 107862 h 311295"/>
                    <a:gd name="connsiteX446" fmla="*/ 10741 w 320023"/>
                    <a:gd name="connsiteY446" fmla="*/ 106378 h 311295"/>
                    <a:gd name="connsiteX447" fmla="*/ 8133 w 320023"/>
                    <a:gd name="connsiteY447" fmla="*/ 104651 h 311295"/>
                    <a:gd name="connsiteX448" fmla="*/ 6202 w 320023"/>
                    <a:gd name="connsiteY448" fmla="*/ 104235 h 311295"/>
                    <a:gd name="connsiteX449" fmla="*/ 5411 w 320023"/>
                    <a:gd name="connsiteY449" fmla="*/ 103616 h 311295"/>
                    <a:gd name="connsiteX450" fmla="*/ 4597 w 320023"/>
                    <a:gd name="connsiteY450" fmla="*/ 102067 h 311295"/>
                    <a:gd name="connsiteX451" fmla="*/ 5754 w 320023"/>
                    <a:gd name="connsiteY451" fmla="*/ 101358 h 311295"/>
                    <a:gd name="connsiteX452" fmla="*/ 6560 w 320023"/>
                    <a:gd name="connsiteY452" fmla="*/ 101733 h 311295"/>
                    <a:gd name="connsiteX453" fmla="*/ 8908 w 320023"/>
                    <a:gd name="connsiteY453" fmla="*/ 101953 h 311295"/>
                    <a:gd name="connsiteX454" fmla="*/ 12925 w 320023"/>
                    <a:gd name="connsiteY454" fmla="*/ 101578 h 311295"/>
                    <a:gd name="connsiteX455" fmla="*/ 11426 w 320023"/>
                    <a:gd name="connsiteY455" fmla="*/ 100014 h 311295"/>
                    <a:gd name="connsiteX456" fmla="*/ 9869 w 320023"/>
                    <a:gd name="connsiteY456" fmla="*/ 99671 h 311295"/>
                    <a:gd name="connsiteX457" fmla="*/ 9160 w 320023"/>
                    <a:gd name="connsiteY457" fmla="*/ 99272 h 311295"/>
                    <a:gd name="connsiteX458" fmla="*/ 5892 w 320023"/>
                    <a:gd name="connsiteY458" fmla="*/ 99109 h 311295"/>
                    <a:gd name="connsiteX459" fmla="*/ 4409 w 320023"/>
                    <a:gd name="connsiteY459" fmla="*/ 99639 h 311295"/>
                    <a:gd name="connsiteX460" fmla="*/ 1067 w 320023"/>
                    <a:gd name="connsiteY460" fmla="*/ 99435 h 311295"/>
                    <a:gd name="connsiteX461" fmla="*/ 342 w 320023"/>
                    <a:gd name="connsiteY461" fmla="*/ 97748 h 311295"/>
                    <a:gd name="connsiteX462" fmla="*/ 0 w 320023"/>
                    <a:gd name="connsiteY462" fmla="*/ 96305 h 311295"/>
                    <a:gd name="connsiteX463" fmla="*/ 1035 w 320023"/>
                    <a:gd name="connsiteY463" fmla="*/ 93070 h 311295"/>
                    <a:gd name="connsiteX464" fmla="*/ 5737 w 320023"/>
                    <a:gd name="connsiteY464" fmla="*/ 90193 h 311295"/>
                    <a:gd name="connsiteX465" fmla="*/ 17449 w 320023"/>
                    <a:gd name="connsiteY465" fmla="*/ 87031 h 311295"/>
                    <a:gd name="connsiteX466" fmla="*/ 22485 w 320023"/>
                    <a:gd name="connsiteY466" fmla="*/ 87495 h 311295"/>
                    <a:gd name="connsiteX467" fmla="*/ 25981 w 320023"/>
                    <a:gd name="connsiteY467" fmla="*/ 86925 h 311295"/>
                    <a:gd name="connsiteX468" fmla="*/ 30171 w 320023"/>
                    <a:gd name="connsiteY468" fmla="*/ 84936 h 311295"/>
                    <a:gd name="connsiteX469" fmla="*/ 32020 w 320023"/>
                    <a:gd name="connsiteY469" fmla="*/ 83233 h 311295"/>
                    <a:gd name="connsiteX470" fmla="*/ 37970 w 320023"/>
                    <a:gd name="connsiteY470" fmla="*/ 82214 h 311295"/>
                    <a:gd name="connsiteX471" fmla="*/ 43634 w 320023"/>
                    <a:gd name="connsiteY471" fmla="*/ 84032 h 311295"/>
                    <a:gd name="connsiteX472" fmla="*/ 48850 w 320023"/>
                    <a:gd name="connsiteY472" fmla="*/ 90869 h 311295"/>
                    <a:gd name="connsiteX473" fmla="*/ 51343 w 320023"/>
                    <a:gd name="connsiteY473" fmla="*/ 93184 h 311295"/>
                    <a:gd name="connsiteX474" fmla="*/ 57448 w 320023"/>
                    <a:gd name="connsiteY474" fmla="*/ 89166 h 311295"/>
                    <a:gd name="connsiteX475" fmla="*/ 66551 w 320023"/>
                    <a:gd name="connsiteY475" fmla="*/ 89288 h 311295"/>
                    <a:gd name="connsiteX476" fmla="*/ 68425 w 320023"/>
                    <a:gd name="connsiteY476" fmla="*/ 91554 h 311295"/>
                    <a:gd name="connsiteX477" fmla="*/ 69183 w 320023"/>
                    <a:gd name="connsiteY477" fmla="*/ 89647 h 311295"/>
                    <a:gd name="connsiteX478" fmla="*/ 70854 w 320023"/>
                    <a:gd name="connsiteY478" fmla="*/ 87406 h 311295"/>
                    <a:gd name="connsiteX479" fmla="*/ 72182 w 320023"/>
                    <a:gd name="connsiteY479" fmla="*/ 88425 h 311295"/>
                    <a:gd name="connsiteX480" fmla="*/ 72859 w 320023"/>
                    <a:gd name="connsiteY480" fmla="*/ 89802 h 311295"/>
                    <a:gd name="connsiteX481" fmla="*/ 82467 w 320023"/>
                    <a:gd name="connsiteY481" fmla="*/ 89419 h 311295"/>
                    <a:gd name="connsiteX482" fmla="*/ 83983 w 320023"/>
                    <a:gd name="connsiteY482" fmla="*/ 89011 h 311295"/>
                    <a:gd name="connsiteX483" fmla="*/ 81399 w 320023"/>
                    <a:gd name="connsiteY483" fmla="*/ 87390 h 311295"/>
                    <a:gd name="connsiteX484" fmla="*/ 79289 w 320023"/>
                    <a:gd name="connsiteY484" fmla="*/ 83494 h 311295"/>
                    <a:gd name="connsiteX485" fmla="*/ 78857 w 320023"/>
                    <a:gd name="connsiteY485" fmla="*/ 69142 h 311295"/>
                    <a:gd name="connsiteX486" fmla="*/ 76192 w 320023"/>
                    <a:gd name="connsiteY486" fmla="*/ 65133 h 311295"/>
                    <a:gd name="connsiteX487" fmla="*/ 73144 w 320023"/>
                    <a:gd name="connsiteY487" fmla="*/ 58711 h 311295"/>
                    <a:gd name="connsiteX488" fmla="*/ 71734 w 320023"/>
                    <a:gd name="connsiteY488" fmla="*/ 54897 h 311295"/>
                    <a:gd name="connsiteX489" fmla="*/ 71604 w 320023"/>
                    <a:gd name="connsiteY489" fmla="*/ 53584 h 311295"/>
                    <a:gd name="connsiteX490" fmla="*/ 72076 w 320023"/>
                    <a:gd name="connsiteY490" fmla="*/ 51677 h 311295"/>
                    <a:gd name="connsiteX491" fmla="*/ 75825 w 320023"/>
                    <a:gd name="connsiteY491" fmla="*/ 51775 h 311295"/>
                    <a:gd name="connsiteX492" fmla="*/ 78726 w 320023"/>
                    <a:gd name="connsiteY492" fmla="*/ 52264 h 311295"/>
                    <a:gd name="connsiteX493" fmla="*/ 84244 w 320023"/>
                    <a:gd name="connsiteY493" fmla="*/ 50822 h 311295"/>
                    <a:gd name="connsiteX494" fmla="*/ 86901 w 320023"/>
                    <a:gd name="connsiteY494" fmla="*/ 51816 h 311295"/>
                    <a:gd name="connsiteX495" fmla="*/ 86746 w 320023"/>
                    <a:gd name="connsiteY495" fmla="*/ 54783 h 311295"/>
                    <a:gd name="connsiteX496" fmla="*/ 87552 w 320023"/>
                    <a:gd name="connsiteY496" fmla="*/ 58540 h 311295"/>
                    <a:gd name="connsiteX497" fmla="*/ 88482 w 320023"/>
                    <a:gd name="connsiteY497" fmla="*/ 60357 h 311295"/>
                    <a:gd name="connsiteX498" fmla="*/ 89883 w 320023"/>
                    <a:gd name="connsiteY498" fmla="*/ 62419 h 311295"/>
                    <a:gd name="connsiteX499" fmla="*/ 94333 w 320023"/>
                    <a:gd name="connsiteY499" fmla="*/ 62231 h 311295"/>
                    <a:gd name="connsiteX500" fmla="*/ 99133 w 320023"/>
                    <a:gd name="connsiteY500" fmla="*/ 63446 h 311295"/>
                    <a:gd name="connsiteX501" fmla="*/ 105197 w 320023"/>
                    <a:gd name="connsiteY501" fmla="*/ 63633 h 311295"/>
                    <a:gd name="connsiteX502" fmla="*/ 114072 w 320023"/>
                    <a:gd name="connsiteY502" fmla="*/ 65728 h 311295"/>
                    <a:gd name="connsiteX503" fmla="*/ 117845 w 320023"/>
                    <a:gd name="connsiteY503" fmla="*/ 64513 h 311295"/>
                    <a:gd name="connsiteX504" fmla="*/ 121496 w 320023"/>
                    <a:gd name="connsiteY504" fmla="*/ 61930 h 311295"/>
                    <a:gd name="connsiteX505" fmla="*/ 128456 w 320023"/>
                    <a:gd name="connsiteY505" fmla="*/ 60227 h 311295"/>
                    <a:gd name="connsiteX506" fmla="*/ 129018 w 320023"/>
                    <a:gd name="connsiteY506" fmla="*/ 59330 h 311295"/>
                    <a:gd name="connsiteX507" fmla="*/ 125001 w 320023"/>
                    <a:gd name="connsiteY507" fmla="*/ 59689 h 311295"/>
                    <a:gd name="connsiteX508" fmla="*/ 121325 w 320023"/>
                    <a:gd name="connsiteY508" fmla="*/ 58051 h 311295"/>
                    <a:gd name="connsiteX509" fmla="*/ 120836 w 320023"/>
                    <a:gd name="connsiteY509" fmla="*/ 56266 h 311295"/>
                    <a:gd name="connsiteX510" fmla="*/ 121260 w 320023"/>
                    <a:gd name="connsiteY510" fmla="*/ 54668 h 311295"/>
                    <a:gd name="connsiteX511" fmla="*/ 122751 w 320023"/>
                    <a:gd name="connsiteY511" fmla="*/ 50977 h 311295"/>
                    <a:gd name="connsiteX512" fmla="*/ 133403 w 320023"/>
                    <a:gd name="connsiteY512" fmla="*/ 45158 h 311295"/>
                    <a:gd name="connsiteX513" fmla="*/ 141040 w 320023"/>
                    <a:gd name="connsiteY513" fmla="*/ 43438 h 311295"/>
                    <a:gd name="connsiteX514" fmla="*/ 149018 w 320023"/>
                    <a:gd name="connsiteY514" fmla="*/ 40227 h 311295"/>
                    <a:gd name="connsiteX515" fmla="*/ 153019 w 320023"/>
                    <a:gd name="connsiteY515" fmla="*/ 36943 h 311295"/>
                    <a:gd name="connsiteX516" fmla="*/ 155668 w 320023"/>
                    <a:gd name="connsiteY516" fmla="*/ 32680 h 311295"/>
                    <a:gd name="connsiteX517" fmla="*/ 156524 w 320023"/>
                    <a:gd name="connsiteY517" fmla="*/ 31751 h 311295"/>
                    <a:gd name="connsiteX518" fmla="*/ 157624 w 320023"/>
                    <a:gd name="connsiteY518" fmla="*/ 30961 h 311295"/>
                    <a:gd name="connsiteX519" fmla="*/ 156605 w 320023"/>
                    <a:gd name="connsiteY519" fmla="*/ 29437 h 311295"/>
                    <a:gd name="connsiteX520" fmla="*/ 157298 w 320023"/>
                    <a:gd name="connsiteY520" fmla="*/ 13137 h 311295"/>
                    <a:gd name="connsiteX521" fmla="*/ 158040 w 320023"/>
                    <a:gd name="connsiteY521" fmla="*/ 10195 h 311295"/>
                    <a:gd name="connsiteX522" fmla="*/ 159604 w 320023"/>
                    <a:gd name="connsiteY522" fmla="*/ 7791 h 311295"/>
                    <a:gd name="connsiteX523" fmla="*/ 161968 w 320023"/>
                    <a:gd name="connsiteY523" fmla="*/ 5933 h 311295"/>
                    <a:gd name="connsiteX524" fmla="*/ 165562 w 320023"/>
                    <a:gd name="connsiteY524" fmla="*/ 3912 h 311295"/>
                    <a:gd name="connsiteX525" fmla="*/ 178781 w 320023"/>
                    <a:gd name="connsiteY525" fmla="*/ 1116 h 311295"/>
                    <a:gd name="connsiteX526" fmla="*/ 180737 w 320023"/>
                    <a:gd name="connsiteY526" fmla="*/ 0 h 311295"/>
                    <a:gd name="connsiteX527" fmla="*/ 181014 w 320023"/>
                    <a:gd name="connsiteY527" fmla="*/ 1752 h 311295"/>
                    <a:gd name="connsiteX528" fmla="*/ 181984 w 320023"/>
                    <a:gd name="connsiteY528" fmla="*/ 3985 h 311295"/>
                    <a:gd name="connsiteX529" fmla="*/ 182644 w 320023"/>
                    <a:gd name="connsiteY529" fmla="*/ 5216 h 311295"/>
                    <a:gd name="connsiteX530" fmla="*/ 182090 w 320023"/>
                    <a:gd name="connsiteY530" fmla="*/ 6813 h 311295"/>
                    <a:gd name="connsiteX531" fmla="*/ 182521 w 320023"/>
                    <a:gd name="connsiteY531" fmla="*/ 8125 h 311295"/>
                    <a:gd name="connsiteX532" fmla="*/ 184323 w 320023"/>
                    <a:gd name="connsiteY532" fmla="*/ 10489 h 311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Lst>
                  <a:rect l="l" t="t" r="r" b="b"/>
                  <a:pathLst>
                    <a:path w="320023" h="311295">
                      <a:moveTo>
                        <a:pt x="186555" y="12722"/>
                      </a:moveTo>
                      <a:lnTo>
                        <a:pt x="188552" y="14148"/>
                      </a:lnTo>
                      <a:lnTo>
                        <a:pt x="189115" y="13993"/>
                      </a:lnTo>
                      <a:lnTo>
                        <a:pt x="190582" y="13594"/>
                      </a:lnTo>
                      <a:lnTo>
                        <a:pt x="193092" y="12127"/>
                      </a:lnTo>
                      <a:lnTo>
                        <a:pt x="195178" y="11662"/>
                      </a:lnTo>
                      <a:lnTo>
                        <a:pt x="196360" y="12787"/>
                      </a:lnTo>
                      <a:lnTo>
                        <a:pt x="197036" y="13414"/>
                      </a:lnTo>
                      <a:lnTo>
                        <a:pt x="198348" y="15933"/>
                      </a:lnTo>
                      <a:lnTo>
                        <a:pt x="198723" y="18565"/>
                      </a:lnTo>
                      <a:lnTo>
                        <a:pt x="199310" y="20757"/>
                      </a:lnTo>
                      <a:lnTo>
                        <a:pt x="200369" y="21629"/>
                      </a:lnTo>
                      <a:lnTo>
                        <a:pt x="204355" y="21923"/>
                      </a:lnTo>
                      <a:lnTo>
                        <a:pt x="207296" y="22738"/>
                      </a:lnTo>
                      <a:lnTo>
                        <a:pt x="208079" y="23471"/>
                      </a:lnTo>
                      <a:lnTo>
                        <a:pt x="209073" y="28304"/>
                      </a:lnTo>
                      <a:lnTo>
                        <a:pt x="209619" y="28997"/>
                      </a:lnTo>
                      <a:lnTo>
                        <a:pt x="210353" y="28426"/>
                      </a:lnTo>
                      <a:lnTo>
                        <a:pt x="211078" y="27628"/>
                      </a:lnTo>
                      <a:lnTo>
                        <a:pt x="212081" y="27505"/>
                      </a:lnTo>
                      <a:lnTo>
                        <a:pt x="213808" y="27807"/>
                      </a:lnTo>
                      <a:lnTo>
                        <a:pt x="216074" y="27905"/>
                      </a:lnTo>
                      <a:lnTo>
                        <a:pt x="218421" y="28443"/>
                      </a:lnTo>
                      <a:lnTo>
                        <a:pt x="221656" y="31173"/>
                      </a:lnTo>
                      <a:lnTo>
                        <a:pt x="221534" y="32077"/>
                      </a:lnTo>
                      <a:lnTo>
                        <a:pt x="220907" y="33658"/>
                      </a:lnTo>
                      <a:lnTo>
                        <a:pt x="220686" y="34922"/>
                      </a:lnTo>
                      <a:lnTo>
                        <a:pt x="221241" y="35435"/>
                      </a:lnTo>
                      <a:lnTo>
                        <a:pt x="222097" y="36731"/>
                      </a:lnTo>
                      <a:lnTo>
                        <a:pt x="221885" y="38239"/>
                      </a:lnTo>
                      <a:lnTo>
                        <a:pt x="221062" y="39290"/>
                      </a:lnTo>
                      <a:lnTo>
                        <a:pt x="220727" y="40162"/>
                      </a:lnTo>
                      <a:lnTo>
                        <a:pt x="220736" y="40732"/>
                      </a:lnTo>
                      <a:lnTo>
                        <a:pt x="221029" y="41197"/>
                      </a:lnTo>
                      <a:lnTo>
                        <a:pt x="221697" y="41613"/>
                      </a:lnTo>
                      <a:lnTo>
                        <a:pt x="226481" y="42167"/>
                      </a:lnTo>
                      <a:lnTo>
                        <a:pt x="230849" y="41613"/>
                      </a:lnTo>
                      <a:lnTo>
                        <a:pt x="233604" y="40080"/>
                      </a:lnTo>
                      <a:lnTo>
                        <a:pt x="234069" y="38459"/>
                      </a:lnTo>
                      <a:lnTo>
                        <a:pt x="234859" y="36625"/>
                      </a:lnTo>
                      <a:lnTo>
                        <a:pt x="236497" y="35093"/>
                      </a:lnTo>
                      <a:lnTo>
                        <a:pt x="237638" y="34579"/>
                      </a:lnTo>
                      <a:lnTo>
                        <a:pt x="238673" y="35207"/>
                      </a:lnTo>
                      <a:lnTo>
                        <a:pt x="236929" y="41637"/>
                      </a:lnTo>
                      <a:lnTo>
                        <a:pt x="238201" y="43275"/>
                      </a:lnTo>
                      <a:lnTo>
                        <a:pt x="238396" y="45728"/>
                      </a:lnTo>
                      <a:lnTo>
                        <a:pt x="238836" y="47880"/>
                      </a:lnTo>
                      <a:lnTo>
                        <a:pt x="240409" y="47839"/>
                      </a:lnTo>
                      <a:lnTo>
                        <a:pt x="242300" y="48238"/>
                      </a:lnTo>
                      <a:lnTo>
                        <a:pt x="243644" y="49029"/>
                      </a:lnTo>
                      <a:lnTo>
                        <a:pt x="245209" y="50308"/>
                      </a:lnTo>
                      <a:lnTo>
                        <a:pt x="247467" y="51482"/>
                      </a:lnTo>
                      <a:lnTo>
                        <a:pt x="249048" y="51889"/>
                      </a:lnTo>
                      <a:lnTo>
                        <a:pt x="249618" y="52867"/>
                      </a:lnTo>
                      <a:lnTo>
                        <a:pt x="250906" y="54000"/>
                      </a:lnTo>
                      <a:lnTo>
                        <a:pt x="252911" y="56372"/>
                      </a:lnTo>
                      <a:lnTo>
                        <a:pt x="254712" y="57953"/>
                      </a:lnTo>
                      <a:lnTo>
                        <a:pt x="255584" y="57953"/>
                      </a:lnTo>
                      <a:lnTo>
                        <a:pt x="257263" y="57325"/>
                      </a:lnTo>
                      <a:lnTo>
                        <a:pt x="259756" y="56926"/>
                      </a:lnTo>
                      <a:lnTo>
                        <a:pt x="261721" y="56967"/>
                      </a:lnTo>
                      <a:lnTo>
                        <a:pt x="262552" y="58165"/>
                      </a:lnTo>
                      <a:lnTo>
                        <a:pt x="264483" y="58727"/>
                      </a:lnTo>
                      <a:lnTo>
                        <a:pt x="265176" y="59167"/>
                      </a:lnTo>
                      <a:lnTo>
                        <a:pt x="265926" y="59998"/>
                      </a:lnTo>
                      <a:lnTo>
                        <a:pt x="267222" y="60332"/>
                      </a:lnTo>
                      <a:lnTo>
                        <a:pt x="268770" y="59998"/>
                      </a:lnTo>
                      <a:lnTo>
                        <a:pt x="269911" y="58890"/>
                      </a:lnTo>
                      <a:lnTo>
                        <a:pt x="271419" y="58393"/>
                      </a:lnTo>
                      <a:lnTo>
                        <a:pt x="272934" y="58564"/>
                      </a:lnTo>
                      <a:lnTo>
                        <a:pt x="273806" y="59167"/>
                      </a:lnTo>
                      <a:lnTo>
                        <a:pt x="275469" y="60072"/>
                      </a:lnTo>
                      <a:lnTo>
                        <a:pt x="276414" y="59868"/>
                      </a:lnTo>
                      <a:lnTo>
                        <a:pt x="278297" y="60422"/>
                      </a:lnTo>
                      <a:lnTo>
                        <a:pt x="280180" y="62174"/>
                      </a:lnTo>
                      <a:lnTo>
                        <a:pt x="280978" y="63935"/>
                      </a:lnTo>
                      <a:lnTo>
                        <a:pt x="281182" y="64896"/>
                      </a:lnTo>
                      <a:lnTo>
                        <a:pt x="282005" y="65940"/>
                      </a:lnTo>
                      <a:lnTo>
                        <a:pt x="285175" y="70666"/>
                      </a:lnTo>
                      <a:lnTo>
                        <a:pt x="286186" y="70886"/>
                      </a:lnTo>
                      <a:lnTo>
                        <a:pt x="287286" y="70177"/>
                      </a:lnTo>
                      <a:lnTo>
                        <a:pt x="287995" y="69159"/>
                      </a:lnTo>
                      <a:lnTo>
                        <a:pt x="289038" y="68963"/>
                      </a:lnTo>
                      <a:lnTo>
                        <a:pt x="290701" y="69428"/>
                      </a:lnTo>
                      <a:lnTo>
                        <a:pt x="291769" y="69957"/>
                      </a:lnTo>
                      <a:lnTo>
                        <a:pt x="292282" y="72003"/>
                      </a:lnTo>
                      <a:lnTo>
                        <a:pt x="292649" y="72394"/>
                      </a:lnTo>
                      <a:lnTo>
                        <a:pt x="293366" y="71954"/>
                      </a:lnTo>
                      <a:lnTo>
                        <a:pt x="294645" y="71856"/>
                      </a:lnTo>
                      <a:lnTo>
                        <a:pt x="296699" y="72361"/>
                      </a:lnTo>
                      <a:lnTo>
                        <a:pt x="299511" y="71783"/>
                      </a:lnTo>
                      <a:lnTo>
                        <a:pt x="301760" y="70927"/>
                      </a:lnTo>
                      <a:lnTo>
                        <a:pt x="302910" y="70968"/>
                      </a:lnTo>
                      <a:lnTo>
                        <a:pt x="304775" y="73348"/>
                      </a:lnTo>
                      <a:lnTo>
                        <a:pt x="306894" y="74236"/>
                      </a:lnTo>
                      <a:lnTo>
                        <a:pt x="311564" y="74953"/>
                      </a:lnTo>
                      <a:lnTo>
                        <a:pt x="316568" y="76078"/>
                      </a:lnTo>
                      <a:lnTo>
                        <a:pt x="318540" y="76974"/>
                      </a:lnTo>
                      <a:lnTo>
                        <a:pt x="319885" y="77422"/>
                      </a:lnTo>
                      <a:lnTo>
                        <a:pt x="320024" y="80568"/>
                      </a:lnTo>
                      <a:lnTo>
                        <a:pt x="319608" y="81049"/>
                      </a:lnTo>
                      <a:lnTo>
                        <a:pt x="314620" y="87349"/>
                      </a:lnTo>
                      <a:lnTo>
                        <a:pt x="312518" y="89606"/>
                      </a:lnTo>
                      <a:lnTo>
                        <a:pt x="311442" y="92825"/>
                      </a:lnTo>
                      <a:lnTo>
                        <a:pt x="310717" y="97748"/>
                      </a:lnTo>
                      <a:lnTo>
                        <a:pt x="309242" y="102434"/>
                      </a:lnTo>
                      <a:lnTo>
                        <a:pt x="307025" y="106851"/>
                      </a:lnTo>
                      <a:lnTo>
                        <a:pt x="306226" y="110176"/>
                      </a:lnTo>
                      <a:lnTo>
                        <a:pt x="306821" y="112393"/>
                      </a:lnTo>
                      <a:lnTo>
                        <a:pt x="306455" y="115873"/>
                      </a:lnTo>
                      <a:lnTo>
                        <a:pt x="305093" y="120600"/>
                      </a:lnTo>
                      <a:lnTo>
                        <a:pt x="304865" y="124169"/>
                      </a:lnTo>
                      <a:lnTo>
                        <a:pt x="305762" y="126574"/>
                      </a:lnTo>
                      <a:lnTo>
                        <a:pt x="307000" y="127071"/>
                      </a:lnTo>
                      <a:lnTo>
                        <a:pt x="304001" y="128692"/>
                      </a:lnTo>
                      <a:lnTo>
                        <a:pt x="303325" y="130110"/>
                      </a:lnTo>
                      <a:lnTo>
                        <a:pt x="302159" y="131985"/>
                      </a:lnTo>
                      <a:lnTo>
                        <a:pt x="300244" y="132776"/>
                      </a:lnTo>
                      <a:lnTo>
                        <a:pt x="298329" y="133036"/>
                      </a:lnTo>
                      <a:lnTo>
                        <a:pt x="296772" y="132784"/>
                      </a:lnTo>
                      <a:lnTo>
                        <a:pt x="295884" y="132034"/>
                      </a:lnTo>
                      <a:lnTo>
                        <a:pt x="295925" y="131341"/>
                      </a:lnTo>
                      <a:lnTo>
                        <a:pt x="295110" y="130754"/>
                      </a:lnTo>
                      <a:lnTo>
                        <a:pt x="293073" y="130762"/>
                      </a:lnTo>
                      <a:lnTo>
                        <a:pt x="290954" y="132058"/>
                      </a:lnTo>
                      <a:lnTo>
                        <a:pt x="289267" y="134169"/>
                      </a:lnTo>
                      <a:lnTo>
                        <a:pt x="289780" y="135343"/>
                      </a:lnTo>
                      <a:lnTo>
                        <a:pt x="291345" y="135652"/>
                      </a:lnTo>
                      <a:lnTo>
                        <a:pt x="291752" y="136117"/>
                      </a:lnTo>
                      <a:lnTo>
                        <a:pt x="291752" y="136720"/>
                      </a:lnTo>
                      <a:lnTo>
                        <a:pt x="291198" y="137453"/>
                      </a:lnTo>
                      <a:lnTo>
                        <a:pt x="290554" y="138692"/>
                      </a:lnTo>
                      <a:lnTo>
                        <a:pt x="287286" y="142400"/>
                      </a:lnTo>
                      <a:lnTo>
                        <a:pt x="283994" y="146149"/>
                      </a:lnTo>
                      <a:lnTo>
                        <a:pt x="283480" y="147274"/>
                      </a:lnTo>
                      <a:lnTo>
                        <a:pt x="282437" y="148073"/>
                      </a:lnTo>
                      <a:lnTo>
                        <a:pt x="278240" y="150053"/>
                      </a:lnTo>
                      <a:lnTo>
                        <a:pt x="277808" y="150852"/>
                      </a:lnTo>
                      <a:lnTo>
                        <a:pt x="277563" y="154185"/>
                      </a:lnTo>
                      <a:lnTo>
                        <a:pt x="277107" y="156915"/>
                      </a:lnTo>
                      <a:lnTo>
                        <a:pt x="274010" y="159490"/>
                      </a:lnTo>
                      <a:lnTo>
                        <a:pt x="270921" y="162049"/>
                      </a:lnTo>
                      <a:lnTo>
                        <a:pt x="270147" y="163614"/>
                      </a:lnTo>
                      <a:lnTo>
                        <a:pt x="269593" y="165415"/>
                      </a:lnTo>
                      <a:lnTo>
                        <a:pt x="268623" y="167453"/>
                      </a:lnTo>
                      <a:lnTo>
                        <a:pt x="268428" y="168528"/>
                      </a:lnTo>
                      <a:lnTo>
                        <a:pt x="269984" y="170289"/>
                      </a:lnTo>
                      <a:lnTo>
                        <a:pt x="269805" y="171739"/>
                      </a:lnTo>
                      <a:lnTo>
                        <a:pt x="269308" y="173801"/>
                      </a:lnTo>
                      <a:lnTo>
                        <a:pt x="267824" y="175268"/>
                      </a:lnTo>
                      <a:lnTo>
                        <a:pt x="266195" y="176091"/>
                      </a:lnTo>
                      <a:lnTo>
                        <a:pt x="266236" y="178332"/>
                      </a:lnTo>
                      <a:lnTo>
                        <a:pt x="267108" y="178658"/>
                      </a:lnTo>
                      <a:lnTo>
                        <a:pt x="269080" y="178487"/>
                      </a:lnTo>
                      <a:lnTo>
                        <a:pt x="271883" y="176849"/>
                      </a:lnTo>
                      <a:lnTo>
                        <a:pt x="273709" y="174763"/>
                      </a:lnTo>
                      <a:lnTo>
                        <a:pt x="272633" y="172774"/>
                      </a:lnTo>
                      <a:lnTo>
                        <a:pt x="272494" y="172391"/>
                      </a:lnTo>
                      <a:lnTo>
                        <a:pt x="272747" y="171919"/>
                      </a:lnTo>
                      <a:lnTo>
                        <a:pt x="274915" y="169751"/>
                      </a:lnTo>
                      <a:lnTo>
                        <a:pt x="277563" y="168447"/>
                      </a:lnTo>
                      <a:lnTo>
                        <a:pt x="281272" y="168210"/>
                      </a:lnTo>
                      <a:lnTo>
                        <a:pt x="285738" y="168976"/>
                      </a:lnTo>
                      <a:lnTo>
                        <a:pt x="286178" y="169303"/>
                      </a:lnTo>
                      <a:lnTo>
                        <a:pt x="285958" y="170623"/>
                      </a:lnTo>
                      <a:lnTo>
                        <a:pt x="286382" y="172579"/>
                      </a:lnTo>
                      <a:lnTo>
                        <a:pt x="287189" y="173948"/>
                      </a:lnTo>
                      <a:lnTo>
                        <a:pt x="286080" y="177852"/>
                      </a:lnTo>
                      <a:lnTo>
                        <a:pt x="286928" y="179066"/>
                      </a:lnTo>
                      <a:lnTo>
                        <a:pt x="288215" y="180525"/>
                      </a:lnTo>
                      <a:lnTo>
                        <a:pt x="289185" y="181861"/>
                      </a:lnTo>
                      <a:lnTo>
                        <a:pt x="290587" y="183084"/>
                      </a:lnTo>
                      <a:lnTo>
                        <a:pt x="291826" y="185137"/>
                      </a:lnTo>
                      <a:lnTo>
                        <a:pt x="292249" y="186311"/>
                      </a:lnTo>
                      <a:lnTo>
                        <a:pt x="290277" y="188332"/>
                      </a:lnTo>
                      <a:lnTo>
                        <a:pt x="286895" y="190231"/>
                      </a:lnTo>
                      <a:lnTo>
                        <a:pt x="286504" y="191445"/>
                      </a:lnTo>
                      <a:lnTo>
                        <a:pt x="286553" y="192831"/>
                      </a:lnTo>
                      <a:lnTo>
                        <a:pt x="286928" y="193923"/>
                      </a:lnTo>
                      <a:lnTo>
                        <a:pt x="288794" y="195317"/>
                      </a:lnTo>
                      <a:lnTo>
                        <a:pt x="290799" y="198487"/>
                      </a:lnTo>
                      <a:lnTo>
                        <a:pt x="292070" y="201298"/>
                      </a:lnTo>
                      <a:lnTo>
                        <a:pt x="294857" y="204004"/>
                      </a:lnTo>
                      <a:lnTo>
                        <a:pt x="295542" y="204811"/>
                      </a:lnTo>
                      <a:lnTo>
                        <a:pt x="295371" y="205487"/>
                      </a:lnTo>
                      <a:lnTo>
                        <a:pt x="294629" y="206636"/>
                      </a:lnTo>
                      <a:lnTo>
                        <a:pt x="293684" y="210467"/>
                      </a:lnTo>
                      <a:lnTo>
                        <a:pt x="292543" y="211070"/>
                      </a:lnTo>
                      <a:lnTo>
                        <a:pt x="291263" y="211314"/>
                      </a:lnTo>
                      <a:lnTo>
                        <a:pt x="287816" y="214126"/>
                      </a:lnTo>
                      <a:lnTo>
                        <a:pt x="286284" y="213784"/>
                      </a:lnTo>
                      <a:lnTo>
                        <a:pt x="284108" y="213825"/>
                      </a:lnTo>
                      <a:lnTo>
                        <a:pt x="282502" y="214745"/>
                      </a:lnTo>
                      <a:lnTo>
                        <a:pt x="282666" y="216498"/>
                      </a:lnTo>
                      <a:lnTo>
                        <a:pt x="284084" y="218095"/>
                      </a:lnTo>
                      <a:lnTo>
                        <a:pt x="284915" y="219831"/>
                      </a:lnTo>
                      <a:lnTo>
                        <a:pt x="285241" y="221640"/>
                      </a:lnTo>
                      <a:lnTo>
                        <a:pt x="286797" y="222985"/>
                      </a:lnTo>
                      <a:lnTo>
                        <a:pt x="288998" y="223792"/>
                      </a:lnTo>
                      <a:lnTo>
                        <a:pt x="290245" y="223832"/>
                      </a:lnTo>
                      <a:lnTo>
                        <a:pt x="291059" y="224321"/>
                      </a:lnTo>
                      <a:lnTo>
                        <a:pt x="291557" y="224941"/>
                      </a:lnTo>
                      <a:lnTo>
                        <a:pt x="292494" y="228812"/>
                      </a:lnTo>
                      <a:lnTo>
                        <a:pt x="291931" y="229790"/>
                      </a:lnTo>
                      <a:lnTo>
                        <a:pt x="290750" y="230197"/>
                      </a:lnTo>
                      <a:lnTo>
                        <a:pt x="290049" y="231795"/>
                      </a:lnTo>
                      <a:lnTo>
                        <a:pt x="288639" y="234142"/>
                      </a:lnTo>
                      <a:lnTo>
                        <a:pt x="287841" y="236024"/>
                      </a:lnTo>
                      <a:lnTo>
                        <a:pt x="288721" y="237679"/>
                      </a:lnTo>
                      <a:lnTo>
                        <a:pt x="289104" y="238901"/>
                      </a:lnTo>
                      <a:lnTo>
                        <a:pt x="288623" y="240164"/>
                      </a:lnTo>
                      <a:lnTo>
                        <a:pt x="289267" y="242137"/>
                      </a:lnTo>
                      <a:lnTo>
                        <a:pt x="290929" y="244076"/>
                      </a:lnTo>
                      <a:lnTo>
                        <a:pt x="295444" y="246815"/>
                      </a:lnTo>
                      <a:lnTo>
                        <a:pt x="299641" y="249031"/>
                      </a:lnTo>
                      <a:lnTo>
                        <a:pt x="300937" y="249398"/>
                      </a:lnTo>
                      <a:lnTo>
                        <a:pt x="306609" y="247972"/>
                      </a:lnTo>
                      <a:lnTo>
                        <a:pt x="307546" y="248094"/>
                      </a:lnTo>
                      <a:lnTo>
                        <a:pt x="308231" y="249797"/>
                      </a:lnTo>
                      <a:lnTo>
                        <a:pt x="308533" y="250947"/>
                      </a:lnTo>
                      <a:lnTo>
                        <a:pt x="307897" y="252674"/>
                      </a:lnTo>
                      <a:lnTo>
                        <a:pt x="306357" y="255046"/>
                      </a:lnTo>
                      <a:lnTo>
                        <a:pt x="304694" y="256937"/>
                      </a:lnTo>
                      <a:lnTo>
                        <a:pt x="303691" y="258534"/>
                      </a:lnTo>
                      <a:lnTo>
                        <a:pt x="303903" y="260001"/>
                      </a:lnTo>
                      <a:lnTo>
                        <a:pt x="303961" y="261941"/>
                      </a:lnTo>
                      <a:lnTo>
                        <a:pt x="302616" y="262527"/>
                      </a:lnTo>
                      <a:lnTo>
                        <a:pt x="302575" y="262136"/>
                      </a:lnTo>
                      <a:lnTo>
                        <a:pt x="302013" y="261810"/>
                      </a:lnTo>
                      <a:lnTo>
                        <a:pt x="301532" y="262006"/>
                      </a:lnTo>
                      <a:lnTo>
                        <a:pt x="301174" y="262421"/>
                      </a:lnTo>
                      <a:lnTo>
                        <a:pt x="301108" y="263171"/>
                      </a:lnTo>
                      <a:lnTo>
                        <a:pt x="298215" y="264410"/>
                      </a:lnTo>
                      <a:lnTo>
                        <a:pt x="296235" y="265689"/>
                      </a:lnTo>
                      <a:lnTo>
                        <a:pt x="288378" y="273358"/>
                      </a:lnTo>
                      <a:lnTo>
                        <a:pt x="284703" y="275608"/>
                      </a:lnTo>
                      <a:lnTo>
                        <a:pt x="283978" y="276952"/>
                      </a:lnTo>
                      <a:lnTo>
                        <a:pt x="283228" y="279487"/>
                      </a:lnTo>
                      <a:lnTo>
                        <a:pt x="281076" y="281655"/>
                      </a:lnTo>
                      <a:lnTo>
                        <a:pt x="279177" y="282690"/>
                      </a:lnTo>
                      <a:lnTo>
                        <a:pt x="274507" y="283749"/>
                      </a:lnTo>
                      <a:lnTo>
                        <a:pt x="269805" y="286031"/>
                      </a:lnTo>
                      <a:lnTo>
                        <a:pt x="267686" y="285045"/>
                      </a:lnTo>
                      <a:lnTo>
                        <a:pt x="262210" y="285159"/>
                      </a:lnTo>
                      <a:lnTo>
                        <a:pt x="258787" y="282388"/>
                      </a:lnTo>
                      <a:lnTo>
                        <a:pt x="252226" y="280636"/>
                      </a:lnTo>
                      <a:lnTo>
                        <a:pt x="250075" y="276602"/>
                      </a:lnTo>
                      <a:lnTo>
                        <a:pt x="247084" y="276333"/>
                      </a:lnTo>
                      <a:lnTo>
                        <a:pt x="245120" y="276463"/>
                      </a:lnTo>
                      <a:lnTo>
                        <a:pt x="243946" y="275852"/>
                      </a:lnTo>
                      <a:lnTo>
                        <a:pt x="243636" y="274467"/>
                      </a:lnTo>
                      <a:lnTo>
                        <a:pt x="243612" y="273146"/>
                      </a:lnTo>
                      <a:lnTo>
                        <a:pt x="241534" y="273758"/>
                      </a:lnTo>
                      <a:lnTo>
                        <a:pt x="239945" y="273758"/>
                      </a:lnTo>
                      <a:lnTo>
                        <a:pt x="239007" y="274287"/>
                      </a:lnTo>
                      <a:lnTo>
                        <a:pt x="238249" y="274899"/>
                      </a:lnTo>
                      <a:lnTo>
                        <a:pt x="237361" y="274507"/>
                      </a:lnTo>
                      <a:lnTo>
                        <a:pt x="236856" y="274638"/>
                      </a:lnTo>
                      <a:lnTo>
                        <a:pt x="236905" y="275420"/>
                      </a:lnTo>
                      <a:lnTo>
                        <a:pt x="234998" y="275616"/>
                      </a:lnTo>
                      <a:lnTo>
                        <a:pt x="232920" y="275135"/>
                      </a:lnTo>
                      <a:lnTo>
                        <a:pt x="227500" y="273049"/>
                      </a:lnTo>
                      <a:lnTo>
                        <a:pt x="226660" y="272731"/>
                      </a:lnTo>
                      <a:lnTo>
                        <a:pt x="222887" y="271924"/>
                      </a:lnTo>
                      <a:lnTo>
                        <a:pt x="221371" y="271093"/>
                      </a:lnTo>
                      <a:lnTo>
                        <a:pt x="220132" y="269039"/>
                      </a:lnTo>
                      <a:lnTo>
                        <a:pt x="219187" y="268379"/>
                      </a:lnTo>
                      <a:lnTo>
                        <a:pt x="218633" y="267996"/>
                      </a:lnTo>
                      <a:lnTo>
                        <a:pt x="215120" y="269023"/>
                      </a:lnTo>
                      <a:lnTo>
                        <a:pt x="213898" y="270653"/>
                      </a:lnTo>
                      <a:lnTo>
                        <a:pt x="211991" y="272551"/>
                      </a:lnTo>
                      <a:lnTo>
                        <a:pt x="198951" y="281859"/>
                      </a:lnTo>
                      <a:lnTo>
                        <a:pt x="196572" y="285754"/>
                      </a:lnTo>
                      <a:lnTo>
                        <a:pt x="193817" y="291475"/>
                      </a:lnTo>
                      <a:lnTo>
                        <a:pt x="193589" y="294148"/>
                      </a:lnTo>
                      <a:lnTo>
                        <a:pt x="194787" y="302673"/>
                      </a:lnTo>
                      <a:lnTo>
                        <a:pt x="197436" y="307147"/>
                      </a:lnTo>
                      <a:lnTo>
                        <a:pt x="197770" y="308182"/>
                      </a:lnTo>
                      <a:lnTo>
                        <a:pt x="196294" y="308182"/>
                      </a:lnTo>
                      <a:lnTo>
                        <a:pt x="193833" y="307628"/>
                      </a:lnTo>
                      <a:lnTo>
                        <a:pt x="191788" y="306935"/>
                      </a:lnTo>
                      <a:lnTo>
                        <a:pt x="189840" y="307318"/>
                      </a:lnTo>
                      <a:lnTo>
                        <a:pt x="187957" y="308247"/>
                      </a:lnTo>
                      <a:lnTo>
                        <a:pt x="186311" y="308802"/>
                      </a:lnTo>
                      <a:lnTo>
                        <a:pt x="185129" y="308956"/>
                      </a:lnTo>
                      <a:lnTo>
                        <a:pt x="184347" y="309494"/>
                      </a:lnTo>
                      <a:lnTo>
                        <a:pt x="183964" y="310554"/>
                      </a:lnTo>
                      <a:lnTo>
                        <a:pt x="183891" y="311295"/>
                      </a:lnTo>
                      <a:lnTo>
                        <a:pt x="181804" y="311116"/>
                      </a:lnTo>
                      <a:lnTo>
                        <a:pt x="177004" y="309584"/>
                      </a:lnTo>
                      <a:lnTo>
                        <a:pt x="172685" y="308533"/>
                      </a:lnTo>
                      <a:lnTo>
                        <a:pt x="170159" y="309739"/>
                      </a:lnTo>
                      <a:lnTo>
                        <a:pt x="168536" y="310855"/>
                      </a:lnTo>
                      <a:lnTo>
                        <a:pt x="167395" y="310676"/>
                      </a:lnTo>
                      <a:lnTo>
                        <a:pt x="166515" y="309494"/>
                      </a:lnTo>
                      <a:lnTo>
                        <a:pt x="165937" y="308345"/>
                      </a:lnTo>
                      <a:lnTo>
                        <a:pt x="164242" y="307286"/>
                      </a:lnTo>
                      <a:lnTo>
                        <a:pt x="160435" y="305688"/>
                      </a:lnTo>
                      <a:lnTo>
                        <a:pt x="160631" y="304922"/>
                      </a:lnTo>
                      <a:lnTo>
                        <a:pt x="161283" y="303847"/>
                      </a:lnTo>
                      <a:lnTo>
                        <a:pt x="161267" y="303186"/>
                      </a:lnTo>
                      <a:lnTo>
                        <a:pt x="160525" y="302200"/>
                      </a:lnTo>
                      <a:lnTo>
                        <a:pt x="157013" y="301149"/>
                      </a:lnTo>
                      <a:lnTo>
                        <a:pt x="155358" y="300880"/>
                      </a:lnTo>
                      <a:lnTo>
                        <a:pt x="154307" y="301605"/>
                      </a:lnTo>
                      <a:lnTo>
                        <a:pt x="153541" y="302502"/>
                      </a:lnTo>
                      <a:lnTo>
                        <a:pt x="151585" y="299234"/>
                      </a:lnTo>
                      <a:lnTo>
                        <a:pt x="150192" y="298565"/>
                      </a:lnTo>
                      <a:lnTo>
                        <a:pt x="148081" y="298451"/>
                      </a:lnTo>
                      <a:lnTo>
                        <a:pt x="145684" y="297457"/>
                      </a:lnTo>
                      <a:lnTo>
                        <a:pt x="143174" y="296186"/>
                      </a:lnTo>
                      <a:lnTo>
                        <a:pt x="137087" y="294140"/>
                      </a:lnTo>
                      <a:lnTo>
                        <a:pt x="135408" y="293896"/>
                      </a:lnTo>
                      <a:lnTo>
                        <a:pt x="134740" y="294222"/>
                      </a:lnTo>
                      <a:lnTo>
                        <a:pt x="134292" y="295436"/>
                      </a:lnTo>
                      <a:lnTo>
                        <a:pt x="134047" y="298883"/>
                      </a:lnTo>
                      <a:lnTo>
                        <a:pt x="133794" y="299266"/>
                      </a:lnTo>
                      <a:lnTo>
                        <a:pt x="130958" y="299389"/>
                      </a:lnTo>
                      <a:lnTo>
                        <a:pt x="127478" y="298900"/>
                      </a:lnTo>
                      <a:lnTo>
                        <a:pt x="125881" y="299144"/>
                      </a:lnTo>
                      <a:lnTo>
                        <a:pt x="124455" y="299152"/>
                      </a:lnTo>
                      <a:lnTo>
                        <a:pt x="123110" y="298239"/>
                      </a:lnTo>
                      <a:lnTo>
                        <a:pt x="117095" y="299283"/>
                      </a:lnTo>
                      <a:lnTo>
                        <a:pt x="116093" y="298777"/>
                      </a:lnTo>
                      <a:lnTo>
                        <a:pt x="114642" y="297221"/>
                      </a:lnTo>
                      <a:lnTo>
                        <a:pt x="113020" y="295966"/>
                      </a:lnTo>
                      <a:lnTo>
                        <a:pt x="111765" y="295314"/>
                      </a:lnTo>
                      <a:lnTo>
                        <a:pt x="110698" y="294580"/>
                      </a:lnTo>
                      <a:lnTo>
                        <a:pt x="109720" y="294458"/>
                      </a:lnTo>
                      <a:lnTo>
                        <a:pt x="108237" y="295167"/>
                      </a:lnTo>
                      <a:lnTo>
                        <a:pt x="106183" y="295477"/>
                      </a:lnTo>
                      <a:lnTo>
                        <a:pt x="104488" y="295387"/>
                      </a:lnTo>
                      <a:lnTo>
                        <a:pt x="103575" y="295485"/>
                      </a:lnTo>
                      <a:lnTo>
                        <a:pt x="99761" y="291671"/>
                      </a:lnTo>
                      <a:lnTo>
                        <a:pt x="99199" y="290619"/>
                      </a:lnTo>
                      <a:lnTo>
                        <a:pt x="97308" y="290342"/>
                      </a:lnTo>
                      <a:lnTo>
                        <a:pt x="94961" y="290293"/>
                      </a:lnTo>
                      <a:lnTo>
                        <a:pt x="88963" y="287816"/>
                      </a:lnTo>
                      <a:lnTo>
                        <a:pt x="86232" y="286479"/>
                      </a:lnTo>
                      <a:lnTo>
                        <a:pt x="85841" y="285689"/>
                      </a:lnTo>
                      <a:lnTo>
                        <a:pt x="85874" y="285045"/>
                      </a:lnTo>
                      <a:lnTo>
                        <a:pt x="85409" y="285192"/>
                      </a:lnTo>
                      <a:lnTo>
                        <a:pt x="84570" y="286316"/>
                      </a:lnTo>
                      <a:lnTo>
                        <a:pt x="84130" y="287245"/>
                      </a:lnTo>
                      <a:lnTo>
                        <a:pt x="83543" y="287409"/>
                      </a:lnTo>
                      <a:lnTo>
                        <a:pt x="82687" y="287270"/>
                      </a:lnTo>
                      <a:lnTo>
                        <a:pt x="81888" y="286748"/>
                      </a:lnTo>
                      <a:lnTo>
                        <a:pt x="81399" y="286088"/>
                      </a:lnTo>
                      <a:lnTo>
                        <a:pt x="81921" y="284915"/>
                      </a:lnTo>
                      <a:lnTo>
                        <a:pt x="82842" y="283383"/>
                      </a:lnTo>
                      <a:lnTo>
                        <a:pt x="83217" y="281720"/>
                      </a:lnTo>
                      <a:lnTo>
                        <a:pt x="83127" y="280229"/>
                      </a:lnTo>
                      <a:lnTo>
                        <a:pt x="81611" y="279275"/>
                      </a:lnTo>
                      <a:lnTo>
                        <a:pt x="79387" y="278876"/>
                      </a:lnTo>
                      <a:lnTo>
                        <a:pt x="77765" y="278770"/>
                      </a:lnTo>
                      <a:lnTo>
                        <a:pt x="75638" y="277914"/>
                      </a:lnTo>
                      <a:lnTo>
                        <a:pt x="74635" y="277303"/>
                      </a:lnTo>
                      <a:lnTo>
                        <a:pt x="73657" y="275640"/>
                      </a:lnTo>
                      <a:lnTo>
                        <a:pt x="73625" y="274434"/>
                      </a:lnTo>
                      <a:lnTo>
                        <a:pt x="77659" y="273366"/>
                      </a:lnTo>
                      <a:lnTo>
                        <a:pt x="81293" y="269006"/>
                      </a:lnTo>
                      <a:lnTo>
                        <a:pt x="84733" y="253139"/>
                      </a:lnTo>
                      <a:lnTo>
                        <a:pt x="87227" y="234305"/>
                      </a:lnTo>
                      <a:lnTo>
                        <a:pt x="89077" y="230743"/>
                      </a:lnTo>
                      <a:lnTo>
                        <a:pt x="91407" y="229757"/>
                      </a:lnTo>
                      <a:lnTo>
                        <a:pt x="89525" y="227157"/>
                      </a:lnTo>
                      <a:lnTo>
                        <a:pt x="88343" y="228470"/>
                      </a:lnTo>
                      <a:lnTo>
                        <a:pt x="87854" y="229871"/>
                      </a:lnTo>
                      <a:lnTo>
                        <a:pt x="87235" y="230564"/>
                      </a:lnTo>
                      <a:lnTo>
                        <a:pt x="88628" y="213221"/>
                      </a:lnTo>
                      <a:lnTo>
                        <a:pt x="89623" y="206857"/>
                      </a:lnTo>
                      <a:lnTo>
                        <a:pt x="91309" y="200174"/>
                      </a:lnTo>
                      <a:lnTo>
                        <a:pt x="94765" y="202831"/>
                      </a:lnTo>
                      <a:lnTo>
                        <a:pt x="97626" y="205512"/>
                      </a:lnTo>
                      <a:lnTo>
                        <a:pt x="99109" y="207851"/>
                      </a:lnTo>
                      <a:lnTo>
                        <a:pt x="100983" y="215609"/>
                      </a:lnTo>
                      <a:lnTo>
                        <a:pt x="102393" y="217239"/>
                      </a:lnTo>
                      <a:lnTo>
                        <a:pt x="104512" y="218869"/>
                      </a:lnTo>
                      <a:lnTo>
                        <a:pt x="103673" y="217084"/>
                      </a:lnTo>
                      <a:lnTo>
                        <a:pt x="102222" y="215723"/>
                      </a:lnTo>
                      <a:lnTo>
                        <a:pt x="99940" y="205381"/>
                      </a:lnTo>
                      <a:lnTo>
                        <a:pt x="98506" y="202448"/>
                      </a:lnTo>
                      <a:lnTo>
                        <a:pt x="96281" y="199970"/>
                      </a:lnTo>
                      <a:lnTo>
                        <a:pt x="89101" y="194770"/>
                      </a:lnTo>
                      <a:lnTo>
                        <a:pt x="88457" y="193768"/>
                      </a:lnTo>
                      <a:lnTo>
                        <a:pt x="88107" y="191771"/>
                      </a:lnTo>
                      <a:lnTo>
                        <a:pt x="90478" y="191861"/>
                      </a:lnTo>
                      <a:lnTo>
                        <a:pt x="92532" y="192831"/>
                      </a:lnTo>
                      <a:lnTo>
                        <a:pt x="92287" y="191714"/>
                      </a:lnTo>
                      <a:lnTo>
                        <a:pt x="91684" y="190549"/>
                      </a:lnTo>
                      <a:lnTo>
                        <a:pt x="90731" y="186319"/>
                      </a:lnTo>
                      <a:lnTo>
                        <a:pt x="89932" y="176442"/>
                      </a:lnTo>
                      <a:lnTo>
                        <a:pt x="90038" y="174747"/>
                      </a:lnTo>
                      <a:lnTo>
                        <a:pt x="89688" y="172668"/>
                      </a:lnTo>
                      <a:lnTo>
                        <a:pt x="87390" y="172204"/>
                      </a:lnTo>
                      <a:lnTo>
                        <a:pt x="85564" y="172122"/>
                      </a:lnTo>
                      <a:lnTo>
                        <a:pt x="83576" y="171299"/>
                      </a:lnTo>
                      <a:lnTo>
                        <a:pt x="73812" y="165464"/>
                      </a:lnTo>
                      <a:lnTo>
                        <a:pt x="70463" y="159425"/>
                      </a:lnTo>
                      <a:lnTo>
                        <a:pt x="67040" y="154967"/>
                      </a:lnTo>
                      <a:lnTo>
                        <a:pt x="66225" y="153019"/>
                      </a:lnTo>
                      <a:lnTo>
                        <a:pt x="66274" y="151047"/>
                      </a:lnTo>
                      <a:lnTo>
                        <a:pt x="68042" y="146875"/>
                      </a:lnTo>
                      <a:lnTo>
                        <a:pt x="66486" y="144242"/>
                      </a:lnTo>
                      <a:lnTo>
                        <a:pt x="64954" y="143712"/>
                      </a:lnTo>
                      <a:lnTo>
                        <a:pt x="63633" y="142417"/>
                      </a:lnTo>
                      <a:lnTo>
                        <a:pt x="64831" y="140241"/>
                      </a:lnTo>
                      <a:lnTo>
                        <a:pt x="65826" y="138847"/>
                      </a:lnTo>
                      <a:lnTo>
                        <a:pt x="67830" y="138472"/>
                      </a:lnTo>
                      <a:lnTo>
                        <a:pt x="70455" y="138937"/>
                      </a:lnTo>
                      <a:lnTo>
                        <a:pt x="72948" y="140184"/>
                      </a:lnTo>
                      <a:lnTo>
                        <a:pt x="74904" y="140526"/>
                      </a:lnTo>
                      <a:lnTo>
                        <a:pt x="69126" y="137144"/>
                      </a:lnTo>
                      <a:lnTo>
                        <a:pt x="59762" y="138285"/>
                      </a:lnTo>
                      <a:lnTo>
                        <a:pt x="57741" y="137845"/>
                      </a:lnTo>
                      <a:lnTo>
                        <a:pt x="56037" y="137095"/>
                      </a:lnTo>
                      <a:lnTo>
                        <a:pt x="55369" y="134609"/>
                      </a:lnTo>
                      <a:lnTo>
                        <a:pt x="56706" y="133493"/>
                      </a:lnTo>
                      <a:lnTo>
                        <a:pt x="57904" y="131423"/>
                      </a:lnTo>
                      <a:lnTo>
                        <a:pt x="56543" y="129972"/>
                      </a:lnTo>
                      <a:lnTo>
                        <a:pt x="54774" y="129418"/>
                      </a:lnTo>
                      <a:lnTo>
                        <a:pt x="51995" y="129450"/>
                      </a:lnTo>
                      <a:lnTo>
                        <a:pt x="49412" y="129890"/>
                      </a:lnTo>
                      <a:lnTo>
                        <a:pt x="48752" y="129051"/>
                      </a:lnTo>
                      <a:lnTo>
                        <a:pt x="50333" y="126736"/>
                      </a:lnTo>
                      <a:lnTo>
                        <a:pt x="48988" y="125897"/>
                      </a:lnTo>
                      <a:lnTo>
                        <a:pt x="47203" y="126296"/>
                      </a:lnTo>
                      <a:lnTo>
                        <a:pt x="44604" y="126769"/>
                      </a:lnTo>
                      <a:lnTo>
                        <a:pt x="42126" y="126044"/>
                      </a:lnTo>
                      <a:lnTo>
                        <a:pt x="39771" y="123428"/>
                      </a:lnTo>
                      <a:lnTo>
                        <a:pt x="38214" y="123444"/>
                      </a:lnTo>
                      <a:lnTo>
                        <a:pt x="37146" y="123770"/>
                      </a:lnTo>
                      <a:lnTo>
                        <a:pt x="35557" y="122759"/>
                      </a:lnTo>
                      <a:lnTo>
                        <a:pt x="33895" y="122499"/>
                      </a:lnTo>
                      <a:lnTo>
                        <a:pt x="32705" y="122833"/>
                      </a:lnTo>
                      <a:lnTo>
                        <a:pt x="31116" y="121333"/>
                      </a:lnTo>
                      <a:lnTo>
                        <a:pt x="21369" y="118302"/>
                      </a:lnTo>
                      <a:lnTo>
                        <a:pt x="17155" y="117935"/>
                      </a:lnTo>
                      <a:lnTo>
                        <a:pt x="13292" y="119304"/>
                      </a:lnTo>
                      <a:lnTo>
                        <a:pt x="11174" y="118831"/>
                      </a:lnTo>
                      <a:lnTo>
                        <a:pt x="9609" y="116875"/>
                      </a:lnTo>
                      <a:lnTo>
                        <a:pt x="8296" y="113591"/>
                      </a:lnTo>
                      <a:lnTo>
                        <a:pt x="2070" y="111073"/>
                      </a:lnTo>
                      <a:lnTo>
                        <a:pt x="3301" y="109402"/>
                      </a:lnTo>
                      <a:lnTo>
                        <a:pt x="6202" y="109011"/>
                      </a:lnTo>
                      <a:lnTo>
                        <a:pt x="9535" y="107862"/>
                      </a:lnTo>
                      <a:lnTo>
                        <a:pt x="10741" y="106378"/>
                      </a:lnTo>
                      <a:lnTo>
                        <a:pt x="8133" y="104651"/>
                      </a:lnTo>
                      <a:lnTo>
                        <a:pt x="6202" y="104235"/>
                      </a:lnTo>
                      <a:lnTo>
                        <a:pt x="5411" y="103616"/>
                      </a:lnTo>
                      <a:lnTo>
                        <a:pt x="4597" y="102067"/>
                      </a:lnTo>
                      <a:lnTo>
                        <a:pt x="5754" y="101358"/>
                      </a:lnTo>
                      <a:lnTo>
                        <a:pt x="6560" y="101733"/>
                      </a:lnTo>
                      <a:lnTo>
                        <a:pt x="8908" y="101953"/>
                      </a:lnTo>
                      <a:lnTo>
                        <a:pt x="12925" y="101578"/>
                      </a:lnTo>
                      <a:lnTo>
                        <a:pt x="11426" y="100014"/>
                      </a:lnTo>
                      <a:lnTo>
                        <a:pt x="9869" y="99671"/>
                      </a:lnTo>
                      <a:lnTo>
                        <a:pt x="9160" y="99272"/>
                      </a:lnTo>
                      <a:lnTo>
                        <a:pt x="5892" y="99109"/>
                      </a:lnTo>
                      <a:lnTo>
                        <a:pt x="4409" y="99639"/>
                      </a:lnTo>
                      <a:lnTo>
                        <a:pt x="1067" y="99435"/>
                      </a:lnTo>
                      <a:lnTo>
                        <a:pt x="342" y="97748"/>
                      </a:lnTo>
                      <a:lnTo>
                        <a:pt x="0" y="96305"/>
                      </a:lnTo>
                      <a:lnTo>
                        <a:pt x="1035" y="93070"/>
                      </a:lnTo>
                      <a:lnTo>
                        <a:pt x="5737" y="90193"/>
                      </a:lnTo>
                      <a:lnTo>
                        <a:pt x="17449" y="87031"/>
                      </a:lnTo>
                      <a:lnTo>
                        <a:pt x="22485" y="87495"/>
                      </a:lnTo>
                      <a:lnTo>
                        <a:pt x="25981" y="86925"/>
                      </a:lnTo>
                      <a:lnTo>
                        <a:pt x="30171" y="84936"/>
                      </a:lnTo>
                      <a:lnTo>
                        <a:pt x="32020" y="83233"/>
                      </a:lnTo>
                      <a:lnTo>
                        <a:pt x="37970" y="82214"/>
                      </a:lnTo>
                      <a:lnTo>
                        <a:pt x="43634" y="84032"/>
                      </a:lnTo>
                      <a:lnTo>
                        <a:pt x="48850" y="90869"/>
                      </a:lnTo>
                      <a:lnTo>
                        <a:pt x="51343" y="93184"/>
                      </a:lnTo>
                      <a:lnTo>
                        <a:pt x="57448" y="89166"/>
                      </a:lnTo>
                      <a:lnTo>
                        <a:pt x="66551" y="89288"/>
                      </a:lnTo>
                      <a:lnTo>
                        <a:pt x="68425" y="91554"/>
                      </a:lnTo>
                      <a:lnTo>
                        <a:pt x="69183" y="89647"/>
                      </a:lnTo>
                      <a:lnTo>
                        <a:pt x="70854" y="87406"/>
                      </a:lnTo>
                      <a:lnTo>
                        <a:pt x="72182" y="88425"/>
                      </a:lnTo>
                      <a:lnTo>
                        <a:pt x="72859" y="89802"/>
                      </a:lnTo>
                      <a:lnTo>
                        <a:pt x="82467" y="89419"/>
                      </a:lnTo>
                      <a:lnTo>
                        <a:pt x="83983" y="89011"/>
                      </a:lnTo>
                      <a:lnTo>
                        <a:pt x="81399" y="87390"/>
                      </a:lnTo>
                      <a:lnTo>
                        <a:pt x="79289" y="83494"/>
                      </a:lnTo>
                      <a:lnTo>
                        <a:pt x="78857" y="69142"/>
                      </a:lnTo>
                      <a:lnTo>
                        <a:pt x="76192" y="65133"/>
                      </a:lnTo>
                      <a:lnTo>
                        <a:pt x="73144" y="58711"/>
                      </a:lnTo>
                      <a:lnTo>
                        <a:pt x="71734" y="54897"/>
                      </a:lnTo>
                      <a:lnTo>
                        <a:pt x="71604" y="53584"/>
                      </a:lnTo>
                      <a:lnTo>
                        <a:pt x="72076" y="51677"/>
                      </a:lnTo>
                      <a:lnTo>
                        <a:pt x="75825" y="51775"/>
                      </a:lnTo>
                      <a:lnTo>
                        <a:pt x="78726" y="52264"/>
                      </a:lnTo>
                      <a:lnTo>
                        <a:pt x="84244" y="50822"/>
                      </a:lnTo>
                      <a:lnTo>
                        <a:pt x="86901" y="51816"/>
                      </a:lnTo>
                      <a:lnTo>
                        <a:pt x="86746" y="54783"/>
                      </a:lnTo>
                      <a:lnTo>
                        <a:pt x="87552" y="58540"/>
                      </a:lnTo>
                      <a:lnTo>
                        <a:pt x="88482" y="60357"/>
                      </a:lnTo>
                      <a:lnTo>
                        <a:pt x="89883" y="62419"/>
                      </a:lnTo>
                      <a:lnTo>
                        <a:pt x="94333" y="62231"/>
                      </a:lnTo>
                      <a:lnTo>
                        <a:pt x="99133" y="63446"/>
                      </a:lnTo>
                      <a:lnTo>
                        <a:pt x="105197" y="63633"/>
                      </a:lnTo>
                      <a:lnTo>
                        <a:pt x="114072" y="65728"/>
                      </a:lnTo>
                      <a:lnTo>
                        <a:pt x="117845" y="64513"/>
                      </a:lnTo>
                      <a:lnTo>
                        <a:pt x="121496" y="61930"/>
                      </a:lnTo>
                      <a:lnTo>
                        <a:pt x="128456" y="60227"/>
                      </a:lnTo>
                      <a:lnTo>
                        <a:pt x="129018" y="59330"/>
                      </a:lnTo>
                      <a:lnTo>
                        <a:pt x="125001" y="59689"/>
                      </a:lnTo>
                      <a:lnTo>
                        <a:pt x="121325" y="58051"/>
                      </a:lnTo>
                      <a:lnTo>
                        <a:pt x="120836" y="56266"/>
                      </a:lnTo>
                      <a:lnTo>
                        <a:pt x="121260" y="54668"/>
                      </a:lnTo>
                      <a:lnTo>
                        <a:pt x="122751" y="50977"/>
                      </a:lnTo>
                      <a:lnTo>
                        <a:pt x="133403" y="45158"/>
                      </a:lnTo>
                      <a:lnTo>
                        <a:pt x="141040" y="43438"/>
                      </a:lnTo>
                      <a:lnTo>
                        <a:pt x="149018" y="40227"/>
                      </a:lnTo>
                      <a:lnTo>
                        <a:pt x="153019" y="36943"/>
                      </a:lnTo>
                      <a:lnTo>
                        <a:pt x="155668" y="32680"/>
                      </a:lnTo>
                      <a:lnTo>
                        <a:pt x="156524" y="31751"/>
                      </a:lnTo>
                      <a:lnTo>
                        <a:pt x="157624" y="30961"/>
                      </a:lnTo>
                      <a:lnTo>
                        <a:pt x="156605" y="29437"/>
                      </a:lnTo>
                      <a:lnTo>
                        <a:pt x="157298" y="13137"/>
                      </a:lnTo>
                      <a:lnTo>
                        <a:pt x="158040" y="10195"/>
                      </a:lnTo>
                      <a:lnTo>
                        <a:pt x="159604" y="7791"/>
                      </a:lnTo>
                      <a:lnTo>
                        <a:pt x="161968" y="5933"/>
                      </a:lnTo>
                      <a:lnTo>
                        <a:pt x="165562" y="3912"/>
                      </a:lnTo>
                      <a:lnTo>
                        <a:pt x="178781" y="1116"/>
                      </a:lnTo>
                      <a:lnTo>
                        <a:pt x="180737" y="0"/>
                      </a:lnTo>
                      <a:lnTo>
                        <a:pt x="181014" y="1752"/>
                      </a:lnTo>
                      <a:lnTo>
                        <a:pt x="181984" y="3985"/>
                      </a:lnTo>
                      <a:lnTo>
                        <a:pt x="182644" y="5216"/>
                      </a:lnTo>
                      <a:lnTo>
                        <a:pt x="182090" y="6813"/>
                      </a:lnTo>
                      <a:lnTo>
                        <a:pt x="182521" y="8125"/>
                      </a:lnTo>
                      <a:lnTo>
                        <a:pt x="184323" y="10489"/>
                      </a:lnTo>
                      <a:close/>
                    </a:path>
                  </a:pathLst>
                </a:custGeom>
                <a:solidFill>
                  <a:srgbClr val="D6D6D2"/>
                </a:solidFill>
                <a:ln w="6112" cap="rnd">
                  <a:solidFill>
                    <a:srgbClr val="FFFFFF"/>
                  </a:solidFill>
                  <a:prstDash val="solid"/>
                  <a:round/>
                </a:ln>
              </p:spPr>
              <p:txBody>
                <a:bodyPr rtlCol="0" anchor="ctr"/>
                <a:lstStyle/>
                <a:p>
                  <a:endParaRPr lang="en-US"/>
                </a:p>
              </p:txBody>
            </p:sp>
            <p:sp>
              <p:nvSpPr>
                <p:cNvPr id="734" name="Freeform: Shape 733">
                  <a:extLst>
                    <a:ext uri="{FF2B5EF4-FFF2-40B4-BE49-F238E27FC236}">
                      <a16:creationId xmlns:a16="http://schemas.microsoft.com/office/drawing/2014/main" id="{8D7EFC56-FB71-42C7-A32A-2B5141EF2533}"/>
                    </a:ext>
                  </a:extLst>
                </p:cNvPr>
                <p:cNvSpPr/>
                <p:nvPr/>
              </p:nvSpPr>
              <p:spPr>
                <a:xfrm>
                  <a:off x="4431653" y="6170824"/>
                  <a:ext cx="78620" cy="38434"/>
                </a:xfrm>
                <a:custGeom>
                  <a:avLst/>
                  <a:gdLst>
                    <a:gd name="connsiteX0" fmla="*/ 16740 w 78620"/>
                    <a:gd name="connsiteY0" fmla="*/ 7066 h 38434"/>
                    <a:gd name="connsiteX1" fmla="*/ 20326 w 78620"/>
                    <a:gd name="connsiteY1" fmla="*/ 7775 h 38434"/>
                    <a:gd name="connsiteX2" fmla="*/ 23618 w 78620"/>
                    <a:gd name="connsiteY2" fmla="*/ 5183 h 38434"/>
                    <a:gd name="connsiteX3" fmla="*/ 25892 w 78620"/>
                    <a:gd name="connsiteY3" fmla="*/ 4352 h 38434"/>
                    <a:gd name="connsiteX4" fmla="*/ 27766 w 78620"/>
                    <a:gd name="connsiteY4" fmla="*/ 4906 h 38434"/>
                    <a:gd name="connsiteX5" fmla="*/ 29086 w 78620"/>
                    <a:gd name="connsiteY5" fmla="*/ 6479 h 38434"/>
                    <a:gd name="connsiteX6" fmla="*/ 30994 w 78620"/>
                    <a:gd name="connsiteY6" fmla="*/ 6243 h 38434"/>
                    <a:gd name="connsiteX7" fmla="*/ 36397 w 78620"/>
                    <a:gd name="connsiteY7" fmla="*/ 4629 h 38434"/>
                    <a:gd name="connsiteX8" fmla="*/ 37106 w 78620"/>
                    <a:gd name="connsiteY8" fmla="*/ 5175 h 38434"/>
                    <a:gd name="connsiteX9" fmla="*/ 39029 w 78620"/>
                    <a:gd name="connsiteY9" fmla="*/ 3309 h 38434"/>
                    <a:gd name="connsiteX10" fmla="*/ 40684 w 78620"/>
                    <a:gd name="connsiteY10" fmla="*/ 4173 h 38434"/>
                    <a:gd name="connsiteX11" fmla="*/ 41996 w 78620"/>
                    <a:gd name="connsiteY11" fmla="*/ 5794 h 38434"/>
                    <a:gd name="connsiteX12" fmla="*/ 41352 w 78620"/>
                    <a:gd name="connsiteY12" fmla="*/ 7669 h 38434"/>
                    <a:gd name="connsiteX13" fmla="*/ 39861 w 78620"/>
                    <a:gd name="connsiteY13" fmla="*/ 8867 h 38434"/>
                    <a:gd name="connsiteX14" fmla="*/ 38915 w 78620"/>
                    <a:gd name="connsiteY14" fmla="*/ 10529 h 38434"/>
                    <a:gd name="connsiteX15" fmla="*/ 37807 w 78620"/>
                    <a:gd name="connsiteY15" fmla="*/ 11891 h 38434"/>
                    <a:gd name="connsiteX16" fmla="*/ 35892 w 78620"/>
                    <a:gd name="connsiteY16" fmla="*/ 13129 h 38434"/>
                    <a:gd name="connsiteX17" fmla="*/ 34433 w 78620"/>
                    <a:gd name="connsiteY17" fmla="*/ 15142 h 38434"/>
                    <a:gd name="connsiteX18" fmla="*/ 30920 w 78620"/>
                    <a:gd name="connsiteY18" fmla="*/ 19829 h 38434"/>
                    <a:gd name="connsiteX19" fmla="*/ 25802 w 78620"/>
                    <a:gd name="connsiteY19" fmla="*/ 25810 h 38434"/>
                    <a:gd name="connsiteX20" fmla="*/ 24107 w 78620"/>
                    <a:gd name="connsiteY20" fmla="*/ 26356 h 38434"/>
                    <a:gd name="connsiteX21" fmla="*/ 20570 w 78620"/>
                    <a:gd name="connsiteY21" fmla="*/ 26715 h 38434"/>
                    <a:gd name="connsiteX22" fmla="*/ 19038 w 78620"/>
                    <a:gd name="connsiteY22" fmla="*/ 26299 h 38434"/>
                    <a:gd name="connsiteX23" fmla="*/ 17734 w 78620"/>
                    <a:gd name="connsiteY23" fmla="*/ 26446 h 38434"/>
                    <a:gd name="connsiteX24" fmla="*/ 16699 w 78620"/>
                    <a:gd name="connsiteY24" fmla="*/ 29673 h 38434"/>
                    <a:gd name="connsiteX25" fmla="*/ 15085 w 78620"/>
                    <a:gd name="connsiteY25" fmla="*/ 32134 h 38434"/>
                    <a:gd name="connsiteX26" fmla="*/ 14319 w 78620"/>
                    <a:gd name="connsiteY26" fmla="*/ 32656 h 38434"/>
                    <a:gd name="connsiteX27" fmla="*/ 12640 w 78620"/>
                    <a:gd name="connsiteY27" fmla="*/ 32884 h 38434"/>
                    <a:gd name="connsiteX28" fmla="*/ 11842 w 78620"/>
                    <a:gd name="connsiteY28" fmla="*/ 33259 h 38434"/>
                    <a:gd name="connsiteX29" fmla="*/ 11238 w 78620"/>
                    <a:gd name="connsiteY29" fmla="*/ 34156 h 38434"/>
                    <a:gd name="connsiteX30" fmla="*/ 6821 w 78620"/>
                    <a:gd name="connsiteY30" fmla="*/ 33928 h 38434"/>
                    <a:gd name="connsiteX31" fmla="*/ 3708 w 78620"/>
                    <a:gd name="connsiteY31" fmla="*/ 32403 h 38434"/>
                    <a:gd name="connsiteX32" fmla="*/ 0 w 78620"/>
                    <a:gd name="connsiteY32" fmla="*/ 29062 h 38434"/>
                    <a:gd name="connsiteX33" fmla="*/ 4931 w 78620"/>
                    <a:gd name="connsiteY33" fmla="*/ 24955 h 38434"/>
                    <a:gd name="connsiteX34" fmla="*/ 9177 w 78620"/>
                    <a:gd name="connsiteY34" fmla="*/ 25142 h 38434"/>
                    <a:gd name="connsiteX35" fmla="*/ 12681 w 78620"/>
                    <a:gd name="connsiteY35" fmla="*/ 22379 h 38434"/>
                    <a:gd name="connsiteX36" fmla="*/ 15542 w 78620"/>
                    <a:gd name="connsiteY36" fmla="*/ 20986 h 38434"/>
                    <a:gd name="connsiteX37" fmla="*/ 16682 w 78620"/>
                    <a:gd name="connsiteY37" fmla="*/ 19568 h 38434"/>
                    <a:gd name="connsiteX38" fmla="*/ 17930 w 78620"/>
                    <a:gd name="connsiteY38" fmla="*/ 18476 h 38434"/>
                    <a:gd name="connsiteX39" fmla="*/ 17938 w 78620"/>
                    <a:gd name="connsiteY39" fmla="*/ 17065 h 38434"/>
                    <a:gd name="connsiteX40" fmla="*/ 16984 w 78620"/>
                    <a:gd name="connsiteY40" fmla="*/ 16430 h 38434"/>
                    <a:gd name="connsiteX41" fmla="*/ 15705 w 78620"/>
                    <a:gd name="connsiteY41" fmla="*/ 16503 h 38434"/>
                    <a:gd name="connsiteX42" fmla="*/ 14433 w 78620"/>
                    <a:gd name="connsiteY42" fmla="*/ 17131 h 38434"/>
                    <a:gd name="connsiteX43" fmla="*/ 11442 w 78620"/>
                    <a:gd name="connsiteY43" fmla="*/ 17913 h 38434"/>
                    <a:gd name="connsiteX44" fmla="*/ 9405 w 78620"/>
                    <a:gd name="connsiteY44" fmla="*/ 16299 h 38434"/>
                    <a:gd name="connsiteX45" fmla="*/ 10758 w 78620"/>
                    <a:gd name="connsiteY45" fmla="*/ 15688 h 38434"/>
                    <a:gd name="connsiteX46" fmla="*/ 12265 w 78620"/>
                    <a:gd name="connsiteY46" fmla="*/ 15729 h 38434"/>
                    <a:gd name="connsiteX47" fmla="*/ 16886 w 78620"/>
                    <a:gd name="connsiteY47" fmla="*/ 14205 h 38434"/>
                    <a:gd name="connsiteX48" fmla="*/ 17775 w 78620"/>
                    <a:gd name="connsiteY48" fmla="*/ 13570 h 38434"/>
                    <a:gd name="connsiteX49" fmla="*/ 16348 w 78620"/>
                    <a:gd name="connsiteY49" fmla="*/ 11401 h 38434"/>
                    <a:gd name="connsiteX50" fmla="*/ 13569 w 78620"/>
                    <a:gd name="connsiteY50" fmla="*/ 10098 h 38434"/>
                    <a:gd name="connsiteX51" fmla="*/ 11312 w 78620"/>
                    <a:gd name="connsiteY51" fmla="*/ 7897 h 38434"/>
                    <a:gd name="connsiteX52" fmla="*/ 10888 w 78620"/>
                    <a:gd name="connsiteY52" fmla="*/ 7074 h 38434"/>
                    <a:gd name="connsiteX53" fmla="*/ 11002 w 78620"/>
                    <a:gd name="connsiteY53" fmla="*/ 5770 h 38434"/>
                    <a:gd name="connsiteX54" fmla="*/ 9755 w 78620"/>
                    <a:gd name="connsiteY54" fmla="*/ 3186 h 38434"/>
                    <a:gd name="connsiteX55" fmla="*/ 11059 w 78620"/>
                    <a:gd name="connsiteY55" fmla="*/ 3056 h 38434"/>
                    <a:gd name="connsiteX56" fmla="*/ 12803 w 78620"/>
                    <a:gd name="connsiteY56" fmla="*/ 4727 h 38434"/>
                    <a:gd name="connsiteX57" fmla="*/ 16740 w 78620"/>
                    <a:gd name="connsiteY57" fmla="*/ 7066 h 38434"/>
                    <a:gd name="connsiteX58" fmla="*/ 52354 w 78620"/>
                    <a:gd name="connsiteY58" fmla="*/ 0 h 38434"/>
                    <a:gd name="connsiteX59" fmla="*/ 56144 w 78620"/>
                    <a:gd name="connsiteY59" fmla="*/ 2160 h 38434"/>
                    <a:gd name="connsiteX60" fmla="*/ 60887 w 78620"/>
                    <a:gd name="connsiteY60" fmla="*/ 1410 h 38434"/>
                    <a:gd name="connsiteX61" fmla="*/ 62883 w 78620"/>
                    <a:gd name="connsiteY61" fmla="*/ 1997 h 38434"/>
                    <a:gd name="connsiteX62" fmla="*/ 64057 w 78620"/>
                    <a:gd name="connsiteY62" fmla="*/ 3798 h 38434"/>
                    <a:gd name="connsiteX63" fmla="*/ 63364 w 78620"/>
                    <a:gd name="connsiteY63" fmla="*/ 5469 h 38434"/>
                    <a:gd name="connsiteX64" fmla="*/ 61856 w 78620"/>
                    <a:gd name="connsiteY64" fmla="*/ 5224 h 38434"/>
                    <a:gd name="connsiteX65" fmla="*/ 60577 w 78620"/>
                    <a:gd name="connsiteY65" fmla="*/ 5681 h 38434"/>
                    <a:gd name="connsiteX66" fmla="*/ 60830 w 78620"/>
                    <a:gd name="connsiteY66" fmla="*/ 7889 h 38434"/>
                    <a:gd name="connsiteX67" fmla="*/ 61702 w 78620"/>
                    <a:gd name="connsiteY67" fmla="*/ 8818 h 38434"/>
                    <a:gd name="connsiteX68" fmla="*/ 66714 w 78620"/>
                    <a:gd name="connsiteY68" fmla="*/ 11247 h 38434"/>
                    <a:gd name="connsiteX69" fmla="*/ 67635 w 78620"/>
                    <a:gd name="connsiteY69" fmla="*/ 11393 h 38434"/>
                    <a:gd name="connsiteX70" fmla="*/ 67464 w 78620"/>
                    <a:gd name="connsiteY70" fmla="*/ 10383 h 38434"/>
                    <a:gd name="connsiteX71" fmla="*/ 66592 w 78620"/>
                    <a:gd name="connsiteY71" fmla="*/ 8720 h 38434"/>
                    <a:gd name="connsiteX72" fmla="*/ 66266 w 78620"/>
                    <a:gd name="connsiteY72" fmla="*/ 6919 h 38434"/>
                    <a:gd name="connsiteX73" fmla="*/ 67015 w 78620"/>
                    <a:gd name="connsiteY73" fmla="*/ 5428 h 38434"/>
                    <a:gd name="connsiteX74" fmla="*/ 68319 w 78620"/>
                    <a:gd name="connsiteY74" fmla="*/ 4971 h 38434"/>
                    <a:gd name="connsiteX75" fmla="*/ 74024 w 78620"/>
                    <a:gd name="connsiteY75" fmla="*/ 4214 h 38434"/>
                    <a:gd name="connsiteX76" fmla="*/ 75369 w 78620"/>
                    <a:gd name="connsiteY76" fmla="*/ 4922 h 38434"/>
                    <a:gd name="connsiteX77" fmla="*/ 78197 w 78620"/>
                    <a:gd name="connsiteY77" fmla="*/ 9152 h 38434"/>
                    <a:gd name="connsiteX78" fmla="*/ 75548 w 78620"/>
                    <a:gd name="connsiteY78" fmla="*/ 9731 h 38434"/>
                    <a:gd name="connsiteX79" fmla="*/ 74431 w 78620"/>
                    <a:gd name="connsiteY79" fmla="*/ 11565 h 38434"/>
                    <a:gd name="connsiteX80" fmla="*/ 76771 w 78620"/>
                    <a:gd name="connsiteY80" fmla="*/ 12347 h 38434"/>
                    <a:gd name="connsiteX81" fmla="*/ 78621 w 78620"/>
                    <a:gd name="connsiteY81" fmla="*/ 13529 h 38434"/>
                    <a:gd name="connsiteX82" fmla="*/ 77643 w 78620"/>
                    <a:gd name="connsiteY82" fmla="*/ 15322 h 38434"/>
                    <a:gd name="connsiteX83" fmla="*/ 77463 w 78620"/>
                    <a:gd name="connsiteY83" fmla="*/ 16218 h 38434"/>
                    <a:gd name="connsiteX84" fmla="*/ 73356 w 78620"/>
                    <a:gd name="connsiteY84" fmla="*/ 17489 h 38434"/>
                    <a:gd name="connsiteX85" fmla="*/ 69713 w 78620"/>
                    <a:gd name="connsiteY85" fmla="*/ 18305 h 38434"/>
                    <a:gd name="connsiteX86" fmla="*/ 68059 w 78620"/>
                    <a:gd name="connsiteY86" fmla="*/ 20407 h 38434"/>
                    <a:gd name="connsiteX87" fmla="*/ 65117 w 78620"/>
                    <a:gd name="connsiteY87" fmla="*/ 21939 h 38434"/>
                    <a:gd name="connsiteX88" fmla="*/ 56494 w 78620"/>
                    <a:gd name="connsiteY88" fmla="*/ 24620 h 38434"/>
                    <a:gd name="connsiteX89" fmla="*/ 57505 w 78620"/>
                    <a:gd name="connsiteY89" fmla="*/ 26788 h 38434"/>
                    <a:gd name="connsiteX90" fmla="*/ 57643 w 78620"/>
                    <a:gd name="connsiteY90" fmla="*/ 27840 h 38434"/>
                    <a:gd name="connsiteX91" fmla="*/ 57268 w 78620"/>
                    <a:gd name="connsiteY91" fmla="*/ 30659 h 38434"/>
                    <a:gd name="connsiteX92" fmla="*/ 45402 w 78620"/>
                    <a:gd name="connsiteY92" fmla="*/ 27278 h 38434"/>
                    <a:gd name="connsiteX93" fmla="*/ 43797 w 78620"/>
                    <a:gd name="connsiteY93" fmla="*/ 27644 h 38434"/>
                    <a:gd name="connsiteX94" fmla="*/ 46967 w 78620"/>
                    <a:gd name="connsiteY94" fmla="*/ 33406 h 38434"/>
                    <a:gd name="connsiteX95" fmla="*/ 44612 w 78620"/>
                    <a:gd name="connsiteY95" fmla="*/ 34474 h 38434"/>
                    <a:gd name="connsiteX96" fmla="*/ 42289 w 78620"/>
                    <a:gd name="connsiteY96" fmla="*/ 33781 h 38434"/>
                    <a:gd name="connsiteX97" fmla="*/ 40178 w 78620"/>
                    <a:gd name="connsiteY97" fmla="*/ 34270 h 38434"/>
                    <a:gd name="connsiteX98" fmla="*/ 38834 w 78620"/>
                    <a:gd name="connsiteY98" fmla="*/ 38434 h 38434"/>
                    <a:gd name="connsiteX99" fmla="*/ 35443 w 78620"/>
                    <a:gd name="connsiteY99" fmla="*/ 35769 h 38434"/>
                    <a:gd name="connsiteX100" fmla="*/ 32558 w 78620"/>
                    <a:gd name="connsiteY100" fmla="*/ 31972 h 38434"/>
                    <a:gd name="connsiteX101" fmla="*/ 32550 w 78620"/>
                    <a:gd name="connsiteY101" fmla="*/ 29861 h 38434"/>
                    <a:gd name="connsiteX102" fmla="*/ 35337 w 78620"/>
                    <a:gd name="connsiteY102" fmla="*/ 25900 h 38434"/>
                    <a:gd name="connsiteX103" fmla="*/ 34490 w 78620"/>
                    <a:gd name="connsiteY103" fmla="*/ 24229 h 38434"/>
                    <a:gd name="connsiteX104" fmla="*/ 40993 w 78620"/>
                    <a:gd name="connsiteY104" fmla="*/ 18875 h 38434"/>
                    <a:gd name="connsiteX105" fmla="*/ 42159 w 78620"/>
                    <a:gd name="connsiteY105" fmla="*/ 17277 h 38434"/>
                    <a:gd name="connsiteX106" fmla="*/ 44188 w 78620"/>
                    <a:gd name="connsiteY106" fmla="*/ 16357 h 38434"/>
                    <a:gd name="connsiteX107" fmla="*/ 46282 w 78620"/>
                    <a:gd name="connsiteY107" fmla="*/ 16055 h 38434"/>
                    <a:gd name="connsiteX108" fmla="*/ 47171 w 78620"/>
                    <a:gd name="connsiteY108" fmla="*/ 15354 h 38434"/>
                    <a:gd name="connsiteX109" fmla="*/ 47024 w 78620"/>
                    <a:gd name="connsiteY109" fmla="*/ 14059 h 38434"/>
                    <a:gd name="connsiteX110" fmla="*/ 46177 w 78620"/>
                    <a:gd name="connsiteY110" fmla="*/ 11834 h 38434"/>
                    <a:gd name="connsiteX111" fmla="*/ 46250 w 78620"/>
                    <a:gd name="connsiteY111" fmla="*/ 8199 h 38434"/>
                    <a:gd name="connsiteX112" fmla="*/ 51457 w 78620"/>
                    <a:gd name="connsiteY112" fmla="*/ 3277 h 38434"/>
                    <a:gd name="connsiteX113" fmla="*/ 50691 w 78620"/>
                    <a:gd name="connsiteY113" fmla="*/ 122 h 38434"/>
                    <a:gd name="connsiteX114" fmla="*/ 52354 w 78620"/>
                    <a:gd name="connsiteY114" fmla="*/ 0 h 38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78620" h="38434">
                      <a:moveTo>
                        <a:pt x="16740" y="7066"/>
                      </a:moveTo>
                      <a:lnTo>
                        <a:pt x="20326" y="7775"/>
                      </a:lnTo>
                      <a:lnTo>
                        <a:pt x="23618" y="5183"/>
                      </a:lnTo>
                      <a:lnTo>
                        <a:pt x="25892" y="4352"/>
                      </a:lnTo>
                      <a:lnTo>
                        <a:pt x="27766" y="4906"/>
                      </a:lnTo>
                      <a:lnTo>
                        <a:pt x="29086" y="6479"/>
                      </a:lnTo>
                      <a:lnTo>
                        <a:pt x="30994" y="6243"/>
                      </a:lnTo>
                      <a:lnTo>
                        <a:pt x="36397" y="4629"/>
                      </a:lnTo>
                      <a:lnTo>
                        <a:pt x="37106" y="5175"/>
                      </a:lnTo>
                      <a:lnTo>
                        <a:pt x="39029" y="3309"/>
                      </a:lnTo>
                      <a:lnTo>
                        <a:pt x="40684" y="4173"/>
                      </a:lnTo>
                      <a:lnTo>
                        <a:pt x="41996" y="5794"/>
                      </a:lnTo>
                      <a:lnTo>
                        <a:pt x="41352" y="7669"/>
                      </a:lnTo>
                      <a:lnTo>
                        <a:pt x="39861" y="8867"/>
                      </a:lnTo>
                      <a:lnTo>
                        <a:pt x="38915" y="10529"/>
                      </a:lnTo>
                      <a:lnTo>
                        <a:pt x="37807" y="11891"/>
                      </a:lnTo>
                      <a:lnTo>
                        <a:pt x="35892" y="13129"/>
                      </a:lnTo>
                      <a:lnTo>
                        <a:pt x="34433" y="15142"/>
                      </a:lnTo>
                      <a:lnTo>
                        <a:pt x="30920" y="19829"/>
                      </a:lnTo>
                      <a:lnTo>
                        <a:pt x="25802" y="25810"/>
                      </a:lnTo>
                      <a:lnTo>
                        <a:pt x="24107" y="26356"/>
                      </a:lnTo>
                      <a:lnTo>
                        <a:pt x="20570" y="26715"/>
                      </a:lnTo>
                      <a:lnTo>
                        <a:pt x="19038" y="26299"/>
                      </a:lnTo>
                      <a:lnTo>
                        <a:pt x="17734" y="26446"/>
                      </a:lnTo>
                      <a:lnTo>
                        <a:pt x="16699" y="29673"/>
                      </a:lnTo>
                      <a:lnTo>
                        <a:pt x="15085" y="32134"/>
                      </a:lnTo>
                      <a:lnTo>
                        <a:pt x="14319" y="32656"/>
                      </a:lnTo>
                      <a:lnTo>
                        <a:pt x="12640" y="32884"/>
                      </a:lnTo>
                      <a:lnTo>
                        <a:pt x="11842" y="33259"/>
                      </a:lnTo>
                      <a:lnTo>
                        <a:pt x="11238" y="34156"/>
                      </a:lnTo>
                      <a:lnTo>
                        <a:pt x="6821" y="33928"/>
                      </a:lnTo>
                      <a:lnTo>
                        <a:pt x="3708" y="32403"/>
                      </a:lnTo>
                      <a:lnTo>
                        <a:pt x="0" y="29062"/>
                      </a:lnTo>
                      <a:lnTo>
                        <a:pt x="4931" y="24955"/>
                      </a:lnTo>
                      <a:lnTo>
                        <a:pt x="9177" y="25142"/>
                      </a:lnTo>
                      <a:lnTo>
                        <a:pt x="12681" y="22379"/>
                      </a:lnTo>
                      <a:lnTo>
                        <a:pt x="15542" y="20986"/>
                      </a:lnTo>
                      <a:lnTo>
                        <a:pt x="16682" y="19568"/>
                      </a:lnTo>
                      <a:lnTo>
                        <a:pt x="17930" y="18476"/>
                      </a:lnTo>
                      <a:lnTo>
                        <a:pt x="17938" y="17065"/>
                      </a:lnTo>
                      <a:lnTo>
                        <a:pt x="16984" y="16430"/>
                      </a:lnTo>
                      <a:lnTo>
                        <a:pt x="15705" y="16503"/>
                      </a:lnTo>
                      <a:lnTo>
                        <a:pt x="14433" y="17131"/>
                      </a:lnTo>
                      <a:lnTo>
                        <a:pt x="11442" y="17913"/>
                      </a:lnTo>
                      <a:lnTo>
                        <a:pt x="9405" y="16299"/>
                      </a:lnTo>
                      <a:lnTo>
                        <a:pt x="10758" y="15688"/>
                      </a:lnTo>
                      <a:lnTo>
                        <a:pt x="12265" y="15729"/>
                      </a:lnTo>
                      <a:lnTo>
                        <a:pt x="16886" y="14205"/>
                      </a:lnTo>
                      <a:lnTo>
                        <a:pt x="17775" y="13570"/>
                      </a:lnTo>
                      <a:lnTo>
                        <a:pt x="16348" y="11401"/>
                      </a:lnTo>
                      <a:lnTo>
                        <a:pt x="13569" y="10098"/>
                      </a:lnTo>
                      <a:lnTo>
                        <a:pt x="11312" y="7897"/>
                      </a:lnTo>
                      <a:lnTo>
                        <a:pt x="10888" y="7074"/>
                      </a:lnTo>
                      <a:lnTo>
                        <a:pt x="11002" y="5770"/>
                      </a:lnTo>
                      <a:lnTo>
                        <a:pt x="9755" y="3186"/>
                      </a:lnTo>
                      <a:lnTo>
                        <a:pt x="11059" y="3056"/>
                      </a:lnTo>
                      <a:lnTo>
                        <a:pt x="12803" y="4727"/>
                      </a:lnTo>
                      <a:lnTo>
                        <a:pt x="16740" y="7066"/>
                      </a:lnTo>
                      <a:close/>
                      <a:moveTo>
                        <a:pt x="52354" y="0"/>
                      </a:moveTo>
                      <a:lnTo>
                        <a:pt x="56144" y="2160"/>
                      </a:lnTo>
                      <a:lnTo>
                        <a:pt x="60887" y="1410"/>
                      </a:lnTo>
                      <a:lnTo>
                        <a:pt x="62883" y="1997"/>
                      </a:lnTo>
                      <a:lnTo>
                        <a:pt x="64057" y="3798"/>
                      </a:lnTo>
                      <a:lnTo>
                        <a:pt x="63364" y="5469"/>
                      </a:lnTo>
                      <a:lnTo>
                        <a:pt x="61856" y="5224"/>
                      </a:lnTo>
                      <a:lnTo>
                        <a:pt x="60577" y="5681"/>
                      </a:lnTo>
                      <a:lnTo>
                        <a:pt x="60830" y="7889"/>
                      </a:lnTo>
                      <a:lnTo>
                        <a:pt x="61702" y="8818"/>
                      </a:lnTo>
                      <a:lnTo>
                        <a:pt x="66714" y="11247"/>
                      </a:lnTo>
                      <a:lnTo>
                        <a:pt x="67635" y="11393"/>
                      </a:lnTo>
                      <a:lnTo>
                        <a:pt x="67464" y="10383"/>
                      </a:lnTo>
                      <a:lnTo>
                        <a:pt x="66592" y="8720"/>
                      </a:lnTo>
                      <a:lnTo>
                        <a:pt x="66266" y="6919"/>
                      </a:lnTo>
                      <a:lnTo>
                        <a:pt x="67015" y="5428"/>
                      </a:lnTo>
                      <a:lnTo>
                        <a:pt x="68319" y="4971"/>
                      </a:lnTo>
                      <a:lnTo>
                        <a:pt x="74024" y="4214"/>
                      </a:lnTo>
                      <a:lnTo>
                        <a:pt x="75369" y="4922"/>
                      </a:lnTo>
                      <a:lnTo>
                        <a:pt x="78197" y="9152"/>
                      </a:lnTo>
                      <a:lnTo>
                        <a:pt x="75548" y="9731"/>
                      </a:lnTo>
                      <a:lnTo>
                        <a:pt x="74431" y="11565"/>
                      </a:lnTo>
                      <a:lnTo>
                        <a:pt x="76771" y="12347"/>
                      </a:lnTo>
                      <a:lnTo>
                        <a:pt x="78621" y="13529"/>
                      </a:lnTo>
                      <a:lnTo>
                        <a:pt x="77643" y="15322"/>
                      </a:lnTo>
                      <a:lnTo>
                        <a:pt x="77463" y="16218"/>
                      </a:lnTo>
                      <a:lnTo>
                        <a:pt x="73356" y="17489"/>
                      </a:lnTo>
                      <a:lnTo>
                        <a:pt x="69713" y="18305"/>
                      </a:lnTo>
                      <a:lnTo>
                        <a:pt x="68059" y="20407"/>
                      </a:lnTo>
                      <a:lnTo>
                        <a:pt x="65117" y="21939"/>
                      </a:lnTo>
                      <a:lnTo>
                        <a:pt x="56494" y="24620"/>
                      </a:lnTo>
                      <a:lnTo>
                        <a:pt x="57505" y="26788"/>
                      </a:lnTo>
                      <a:lnTo>
                        <a:pt x="57643" y="27840"/>
                      </a:lnTo>
                      <a:lnTo>
                        <a:pt x="57268" y="30659"/>
                      </a:lnTo>
                      <a:lnTo>
                        <a:pt x="45402" y="27278"/>
                      </a:lnTo>
                      <a:lnTo>
                        <a:pt x="43797" y="27644"/>
                      </a:lnTo>
                      <a:lnTo>
                        <a:pt x="46967" y="33406"/>
                      </a:lnTo>
                      <a:lnTo>
                        <a:pt x="44612" y="34474"/>
                      </a:lnTo>
                      <a:lnTo>
                        <a:pt x="42289" y="33781"/>
                      </a:lnTo>
                      <a:lnTo>
                        <a:pt x="40178" y="34270"/>
                      </a:lnTo>
                      <a:lnTo>
                        <a:pt x="38834" y="38434"/>
                      </a:lnTo>
                      <a:lnTo>
                        <a:pt x="35443" y="35769"/>
                      </a:lnTo>
                      <a:lnTo>
                        <a:pt x="32558" y="31972"/>
                      </a:lnTo>
                      <a:lnTo>
                        <a:pt x="32550" y="29861"/>
                      </a:lnTo>
                      <a:lnTo>
                        <a:pt x="35337" y="25900"/>
                      </a:lnTo>
                      <a:lnTo>
                        <a:pt x="34490" y="24229"/>
                      </a:lnTo>
                      <a:lnTo>
                        <a:pt x="40993" y="18875"/>
                      </a:lnTo>
                      <a:lnTo>
                        <a:pt x="42159" y="17277"/>
                      </a:lnTo>
                      <a:lnTo>
                        <a:pt x="44188" y="16357"/>
                      </a:lnTo>
                      <a:lnTo>
                        <a:pt x="46282" y="16055"/>
                      </a:lnTo>
                      <a:lnTo>
                        <a:pt x="47171" y="15354"/>
                      </a:lnTo>
                      <a:lnTo>
                        <a:pt x="47024" y="14059"/>
                      </a:lnTo>
                      <a:lnTo>
                        <a:pt x="46177" y="11834"/>
                      </a:lnTo>
                      <a:lnTo>
                        <a:pt x="46250" y="8199"/>
                      </a:lnTo>
                      <a:lnTo>
                        <a:pt x="51457" y="3277"/>
                      </a:lnTo>
                      <a:lnTo>
                        <a:pt x="50691" y="122"/>
                      </a:lnTo>
                      <a:lnTo>
                        <a:pt x="52354" y="0"/>
                      </a:lnTo>
                      <a:close/>
                    </a:path>
                  </a:pathLst>
                </a:custGeom>
                <a:solidFill>
                  <a:srgbClr val="D6D6D2"/>
                </a:solidFill>
                <a:ln w="8150" cap="flat">
                  <a:noFill/>
                  <a:prstDash val="solid"/>
                  <a:miter/>
                </a:ln>
              </p:spPr>
              <p:txBody>
                <a:bodyPr rtlCol="0" anchor="ctr"/>
                <a:lstStyle/>
                <a:p>
                  <a:endParaRPr lang="en-US"/>
                </a:p>
              </p:txBody>
            </p:sp>
            <p:sp>
              <p:nvSpPr>
                <p:cNvPr id="735" name="Freeform: Shape 734">
                  <a:extLst>
                    <a:ext uri="{FF2B5EF4-FFF2-40B4-BE49-F238E27FC236}">
                      <a16:creationId xmlns:a16="http://schemas.microsoft.com/office/drawing/2014/main" id="{B68FCD56-94D4-4225-8E5A-6B16D3A2C956}"/>
                    </a:ext>
                  </a:extLst>
                </p:cNvPr>
                <p:cNvSpPr/>
                <p:nvPr/>
              </p:nvSpPr>
              <p:spPr>
                <a:xfrm>
                  <a:off x="10339965" y="5011345"/>
                  <a:ext cx="68090" cy="64651"/>
                </a:xfrm>
                <a:custGeom>
                  <a:avLst/>
                  <a:gdLst>
                    <a:gd name="connsiteX0" fmla="*/ 25419 w 68090"/>
                    <a:gd name="connsiteY0" fmla="*/ 37285 h 64651"/>
                    <a:gd name="connsiteX1" fmla="*/ 25419 w 68090"/>
                    <a:gd name="connsiteY1" fmla="*/ 38638 h 64651"/>
                    <a:gd name="connsiteX2" fmla="*/ 26136 w 68090"/>
                    <a:gd name="connsiteY2" fmla="*/ 39225 h 64651"/>
                    <a:gd name="connsiteX3" fmla="*/ 26870 w 68090"/>
                    <a:gd name="connsiteY3" fmla="*/ 39314 h 64651"/>
                    <a:gd name="connsiteX4" fmla="*/ 28654 w 68090"/>
                    <a:gd name="connsiteY4" fmla="*/ 41906 h 64651"/>
                    <a:gd name="connsiteX5" fmla="*/ 31442 w 68090"/>
                    <a:gd name="connsiteY5" fmla="*/ 44131 h 64651"/>
                    <a:gd name="connsiteX6" fmla="*/ 33145 w 68090"/>
                    <a:gd name="connsiteY6" fmla="*/ 45842 h 64651"/>
                    <a:gd name="connsiteX7" fmla="*/ 33251 w 68090"/>
                    <a:gd name="connsiteY7" fmla="*/ 47301 h 64651"/>
                    <a:gd name="connsiteX8" fmla="*/ 32737 w 68090"/>
                    <a:gd name="connsiteY8" fmla="*/ 48841 h 64651"/>
                    <a:gd name="connsiteX9" fmla="*/ 33454 w 68090"/>
                    <a:gd name="connsiteY9" fmla="*/ 51596 h 64651"/>
                    <a:gd name="connsiteX10" fmla="*/ 33797 w 68090"/>
                    <a:gd name="connsiteY10" fmla="*/ 54465 h 64651"/>
                    <a:gd name="connsiteX11" fmla="*/ 35035 w 68090"/>
                    <a:gd name="connsiteY11" fmla="*/ 59020 h 64651"/>
                    <a:gd name="connsiteX12" fmla="*/ 33291 w 68090"/>
                    <a:gd name="connsiteY12" fmla="*/ 59876 h 64651"/>
                    <a:gd name="connsiteX13" fmla="*/ 30545 w 68090"/>
                    <a:gd name="connsiteY13" fmla="*/ 59982 h 64651"/>
                    <a:gd name="connsiteX14" fmla="*/ 29909 w 68090"/>
                    <a:gd name="connsiteY14" fmla="*/ 60805 h 64651"/>
                    <a:gd name="connsiteX15" fmla="*/ 28981 w 68090"/>
                    <a:gd name="connsiteY15" fmla="*/ 60349 h 64651"/>
                    <a:gd name="connsiteX16" fmla="*/ 26706 w 68090"/>
                    <a:gd name="connsiteY16" fmla="*/ 60683 h 64651"/>
                    <a:gd name="connsiteX17" fmla="*/ 24523 w 68090"/>
                    <a:gd name="connsiteY17" fmla="*/ 62190 h 64651"/>
                    <a:gd name="connsiteX18" fmla="*/ 22453 w 68090"/>
                    <a:gd name="connsiteY18" fmla="*/ 64220 h 64651"/>
                    <a:gd name="connsiteX19" fmla="*/ 20065 w 68090"/>
                    <a:gd name="connsiteY19" fmla="*/ 64228 h 64651"/>
                    <a:gd name="connsiteX20" fmla="*/ 17367 w 68090"/>
                    <a:gd name="connsiteY20" fmla="*/ 64652 h 64651"/>
                    <a:gd name="connsiteX21" fmla="*/ 14686 w 68090"/>
                    <a:gd name="connsiteY21" fmla="*/ 64366 h 64651"/>
                    <a:gd name="connsiteX22" fmla="*/ 12795 w 68090"/>
                    <a:gd name="connsiteY22" fmla="*/ 63274 h 64651"/>
                    <a:gd name="connsiteX23" fmla="*/ 9454 w 68090"/>
                    <a:gd name="connsiteY23" fmla="*/ 62101 h 64651"/>
                    <a:gd name="connsiteX24" fmla="*/ 5012 w 68090"/>
                    <a:gd name="connsiteY24" fmla="*/ 61090 h 64651"/>
                    <a:gd name="connsiteX25" fmla="*/ 3179 w 68090"/>
                    <a:gd name="connsiteY25" fmla="*/ 60243 h 64651"/>
                    <a:gd name="connsiteX26" fmla="*/ 1646 w 68090"/>
                    <a:gd name="connsiteY26" fmla="*/ 58931 h 64651"/>
                    <a:gd name="connsiteX27" fmla="*/ 204 w 68090"/>
                    <a:gd name="connsiteY27" fmla="*/ 55589 h 64651"/>
                    <a:gd name="connsiteX28" fmla="*/ 0 w 68090"/>
                    <a:gd name="connsiteY28" fmla="*/ 53935 h 64651"/>
                    <a:gd name="connsiteX29" fmla="*/ 212 w 68090"/>
                    <a:gd name="connsiteY29" fmla="*/ 52362 h 64651"/>
                    <a:gd name="connsiteX30" fmla="*/ 1516 w 68090"/>
                    <a:gd name="connsiteY30" fmla="*/ 51824 h 64651"/>
                    <a:gd name="connsiteX31" fmla="*/ 2607 w 68090"/>
                    <a:gd name="connsiteY31" fmla="*/ 51034 h 64651"/>
                    <a:gd name="connsiteX32" fmla="*/ 2763 w 68090"/>
                    <a:gd name="connsiteY32" fmla="*/ 49982 h 64651"/>
                    <a:gd name="connsiteX33" fmla="*/ 3243 w 68090"/>
                    <a:gd name="connsiteY33" fmla="*/ 49257 h 64651"/>
                    <a:gd name="connsiteX34" fmla="*/ 3871 w 68090"/>
                    <a:gd name="connsiteY34" fmla="*/ 48988 h 64651"/>
                    <a:gd name="connsiteX35" fmla="*/ 4164 w 68090"/>
                    <a:gd name="connsiteY35" fmla="*/ 48491 h 64651"/>
                    <a:gd name="connsiteX36" fmla="*/ 3733 w 68090"/>
                    <a:gd name="connsiteY36" fmla="*/ 46788 h 64651"/>
                    <a:gd name="connsiteX37" fmla="*/ 3610 w 68090"/>
                    <a:gd name="connsiteY37" fmla="*/ 45255 h 64651"/>
                    <a:gd name="connsiteX38" fmla="*/ 6177 w 68090"/>
                    <a:gd name="connsiteY38" fmla="*/ 42427 h 64651"/>
                    <a:gd name="connsiteX39" fmla="*/ 8997 w 68090"/>
                    <a:gd name="connsiteY39" fmla="*/ 40015 h 64651"/>
                    <a:gd name="connsiteX40" fmla="*/ 13944 w 68090"/>
                    <a:gd name="connsiteY40" fmla="*/ 37798 h 64651"/>
                    <a:gd name="connsiteX41" fmla="*/ 16984 w 68090"/>
                    <a:gd name="connsiteY41" fmla="*/ 37994 h 64651"/>
                    <a:gd name="connsiteX42" fmla="*/ 21629 w 68090"/>
                    <a:gd name="connsiteY42" fmla="*/ 36283 h 64651"/>
                    <a:gd name="connsiteX43" fmla="*/ 23121 w 68090"/>
                    <a:gd name="connsiteY43" fmla="*/ 35484 h 64651"/>
                    <a:gd name="connsiteX44" fmla="*/ 24595 w 68090"/>
                    <a:gd name="connsiteY44" fmla="*/ 35973 h 64651"/>
                    <a:gd name="connsiteX45" fmla="*/ 25419 w 68090"/>
                    <a:gd name="connsiteY45" fmla="*/ 37285 h 64651"/>
                    <a:gd name="connsiteX46" fmla="*/ 68058 w 68090"/>
                    <a:gd name="connsiteY46" fmla="*/ 456 h 64651"/>
                    <a:gd name="connsiteX47" fmla="*/ 64317 w 68090"/>
                    <a:gd name="connsiteY47" fmla="*/ 4523 h 64651"/>
                    <a:gd name="connsiteX48" fmla="*/ 62964 w 68090"/>
                    <a:gd name="connsiteY48" fmla="*/ 6634 h 64651"/>
                    <a:gd name="connsiteX49" fmla="*/ 61823 w 68090"/>
                    <a:gd name="connsiteY49" fmla="*/ 8957 h 64651"/>
                    <a:gd name="connsiteX50" fmla="*/ 58621 w 68090"/>
                    <a:gd name="connsiteY50" fmla="*/ 11442 h 64651"/>
                    <a:gd name="connsiteX51" fmla="*/ 57260 w 68090"/>
                    <a:gd name="connsiteY51" fmla="*/ 14784 h 64651"/>
                    <a:gd name="connsiteX52" fmla="*/ 57358 w 68090"/>
                    <a:gd name="connsiteY52" fmla="*/ 18158 h 64651"/>
                    <a:gd name="connsiteX53" fmla="*/ 60552 w 68090"/>
                    <a:gd name="connsiteY53" fmla="*/ 14629 h 64651"/>
                    <a:gd name="connsiteX54" fmla="*/ 64130 w 68090"/>
                    <a:gd name="connsiteY54" fmla="*/ 11744 h 64651"/>
                    <a:gd name="connsiteX55" fmla="*/ 65222 w 68090"/>
                    <a:gd name="connsiteY55" fmla="*/ 11165 h 64651"/>
                    <a:gd name="connsiteX56" fmla="*/ 66339 w 68090"/>
                    <a:gd name="connsiteY56" fmla="*/ 11189 h 64651"/>
                    <a:gd name="connsiteX57" fmla="*/ 66257 w 68090"/>
                    <a:gd name="connsiteY57" fmla="*/ 12176 h 64651"/>
                    <a:gd name="connsiteX58" fmla="*/ 65744 w 68090"/>
                    <a:gd name="connsiteY58" fmla="*/ 13145 h 64651"/>
                    <a:gd name="connsiteX59" fmla="*/ 65344 w 68090"/>
                    <a:gd name="connsiteY59" fmla="*/ 15696 h 64651"/>
                    <a:gd name="connsiteX60" fmla="*/ 66290 w 68090"/>
                    <a:gd name="connsiteY60" fmla="*/ 18060 h 64651"/>
                    <a:gd name="connsiteX61" fmla="*/ 63633 w 68090"/>
                    <a:gd name="connsiteY61" fmla="*/ 17840 h 64651"/>
                    <a:gd name="connsiteX62" fmla="*/ 61001 w 68090"/>
                    <a:gd name="connsiteY62" fmla="*/ 18035 h 64651"/>
                    <a:gd name="connsiteX63" fmla="*/ 57888 w 68090"/>
                    <a:gd name="connsiteY63" fmla="*/ 19364 h 64651"/>
                    <a:gd name="connsiteX64" fmla="*/ 54815 w 68090"/>
                    <a:gd name="connsiteY64" fmla="*/ 19951 h 64651"/>
                    <a:gd name="connsiteX65" fmla="*/ 53674 w 68090"/>
                    <a:gd name="connsiteY65" fmla="*/ 19967 h 64651"/>
                    <a:gd name="connsiteX66" fmla="*/ 52573 w 68090"/>
                    <a:gd name="connsiteY66" fmla="*/ 19510 h 64651"/>
                    <a:gd name="connsiteX67" fmla="*/ 51848 w 68090"/>
                    <a:gd name="connsiteY67" fmla="*/ 18834 h 64651"/>
                    <a:gd name="connsiteX68" fmla="*/ 51286 w 68090"/>
                    <a:gd name="connsiteY68" fmla="*/ 17261 h 64651"/>
                    <a:gd name="connsiteX69" fmla="*/ 50732 w 68090"/>
                    <a:gd name="connsiteY69" fmla="*/ 17025 h 64651"/>
                    <a:gd name="connsiteX70" fmla="*/ 48287 w 68090"/>
                    <a:gd name="connsiteY70" fmla="*/ 17098 h 64651"/>
                    <a:gd name="connsiteX71" fmla="*/ 44644 w 68090"/>
                    <a:gd name="connsiteY71" fmla="*/ 20179 h 64651"/>
                    <a:gd name="connsiteX72" fmla="*/ 43446 w 68090"/>
                    <a:gd name="connsiteY72" fmla="*/ 22827 h 64651"/>
                    <a:gd name="connsiteX73" fmla="*/ 42036 w 68090"/>
                    <a:gd name="connsiteY73" fmla="*/ 22949 h 64651"/>
                    <a:gd name="connsiteX74" fmla="*/ 40390 w 68090"/>
                    <a:gd name="connsiteY74" fmla="*/ 22404 h 64651"/>
                    <a:gd name="connsiteX75" fmla="*/ 38385 w 68090"/>
                    <a:gd name="connsiteY75" fmla="*/ 24425 h 64651"/>
                    <a:gd name="connsiteX76" fmla="*/ 36005 w 68090"/>
                    <a:gd name="connsiteY76" fmla="*/ 25166 h 64651"/>
                    <a:gd name="connsiteX77" fmla="*/ 34971 w 68090"/>
                    <a:gd name="connsiteY77" fmla="*/ 23447 h 64651"/>
                    <a:gd name="connsiteX78" fmla="*/ 34302 w 68090"/>
                    <a:gd name="connsiteY78" fmla="*/ 21336 h 64651"/>
                    <a:gd name="connsiteX79" fmla="*/ 33454 w 68090"/>
                    <a:gd name="connsiteY79" fmla="*/ 19796 h 64651"/>
                    <a:gd name="connsiteX80" fmla="*/ 30814 w 68090"/>
                    <a:gd name="connsiteY80" fmla="*/ 19396 h 64651"/>
                    <a:gd name="connsiteX81" fmla="*/ 31221 w 68090"/>
                    <a:gd name="connsiteY81" fmla="*/ 17522 h 64651"/>
                    <a:gd name="connsiteX82" fmla="*/ 31922 w 68090"/>
                    <a:gd name="connsiteY82" fmla="*/ 16731 h 64651"/>
                    <a:gd name="connsiteX83" fmla="*/ 32566 w 68090"/>
                    <a:gd name="connsiteY83" fmla="*/ 15607 h 64651"/>
                    <a:gd name="connsiteX84" fmla="*/ 32957 w 68090"/>
                    <a:gd name="connsiteY84" fmla="*/ 14327 h 64651"/>
                    <a:gd name="connsiteX85" fmla="*/ 34213 w 68090"/>
                    <a:gd name="connsiteY85" fmla="*/ 15150 h 64651"/>
                    <a:gd name="connsiteX86" fmla="*/ 35500 w 68090"/>
                    <a:gd name="connsiteY86" fmla="*/ 15664 h 64651"/>
                    <a:gd name="connsiteX87" fmla="*/ 36942 w 68090"/>
                    <a:gd name="connsiteY87" fmla="*/ 14702 h 64651"/>
                    <a:gd name="connsiteX88" fmla="*/ 38451 w 68090"/>
                    <a:gd name="connsiteY88" fmla="*/ 14620 h 64651"/>
                    <a:gd name="connsiteX89" fmla="*/ 39958 w 68090"/>
                    <a:gd name="connsiteY89" fmla="*/ 11817 h 64651"/>
                    <a:gd name="connsiteX90" fmla="*/ 42314 w 68090"/>
                    <a:gd name="connsiteY90" fmla="*/ 10065 h 64651"/>
                    <a:gd name="connsiteX91" fmla="*/ 45549 w 68090"/>
                    <a:gd name="connsiteY91" fmla="*/ 8679 h 64651"/>
                    <a:gd name="connsiteX92" fmla="*/ 48850 w 68090"/>
                    <a:gd name="connsiteY92" fmla="*/ 7701 h 64651"/>
                    <a:gd name="connsiteX93" fmla="*/ 50561 w 68090"/>
                    <a:gd name="connsiteY93" fmla="*/ 7489 h 64651"/>
                    <a:gd name="connsiteX94" fmla="*/ 52190 w 68090"/>
                    <a:gd name="connsiteY94" fmla="*/ 6927 h 64651"/>
                    <a:gd name="connsiteX95" fmla="*/ 55067 w 68090"/>
                    <a:gd name="connsiteY95" fmla="*/ 4319 h 64651"/>
                    <a:gd name="connsiteX96" fmla="*/ 56967 w 68090"/>
                    <a:gd name="connsiteY96" fmla="*/ 2958 h 64651"/>
                    <a:gd name="connsiteX97" fmla="*/ 59045 w 68090"/>
                    <a:gd name="connsiteY97" fmla="*/ 2143 h 64651"/>
                    <a:gd name="connsiteX98" fmla="*/ 61017 w 68090"/>
                    <a:gd name="connsiteY98" fmla="*/ 1654 h 64651"/>
                    <a:gd name="connsiteX99" fmla="*/ 62851 w 68090"/>
                    <a:gd name="connsiteY99" fmla="*/ 2086 h 64651"/>
                    <a:gd name="connsiteX100" fmla="*/ 64325 w 68090"/>
                    <a:gd name="connsiteY100" fmla="*/ 1874 h 64651"/>
                    <a:gd name="connsiteX101" fmla="*/ 68091 w 68090"/>
                    <a:gd name="connsiteY101" fmla="*/ 0 h 64651"/>
                    <a:gd name="connsiteX102" fmla="*/ 68058 w 68090"/>
                    <a:gd name="connsiteY102" fmla="*/ 456 h 64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8090" h="64651">
                      <a:moveTo>
                        <a:pt x="25419" y="37285"/>
                      </a:moveTo>
                      <a:lnTo>
                        <a:pt x="25419" y="38638"/>
                      </a:lnTo>
                      <a:lnTo>
                        <a:pt x="26136" y="39225"/>
                      </a:lnTo>
                      <a:lnTo>
                        <a:pt x="26870" y="39314"/>
                      </a:lnTo>
                      <a:lnTo>
                        <a:pt x="28654" y="41906"/>
                      </a:lnTo>
                      <a:lnTo>
                        <a:pt x="31442" y="44131"/>
                      </a:lnTo>
                      <a:lnTo>
                        <a:pt x="33145" y="45842"/>
                      </a:lnTo>
                      <a:lnTo>
                        <a:pt x="33251" y="47301"/>
                      </a:lnTo>
                      <a:lnTo>
                        <a:pt x="32737" y="48841"/>
                      </a:lnTo>
                      <a:lnTo>
                        <a:pt x="33454" y="51596"/>
                      </a:lnTo>
                      <a:lnTo>
                        <a:pt x="33797" y="54465"/>
                      </a:lnTo>
                      <a:lnTo>
                        <a:pt x="35035" y="59020"/>
                      </a:lnTo>
                      <a:lnTo>
                        <a:pt x="33291" y="59876"/>
                      </a:lnTo>
                      <a:lnTo>
                        <a:pt x="30545" y="59982"/>
                      </a:lnTo>
                      <a:lnTo>
                        <a:pt x="29909" y="60805"/>
                      </a:lnTo>
                      <a:lnTo>
                        <a:pt x="28981" y="60349"/>
                      </a:lnTo>
                      <a:lnTo>
                        <a:pt x="26706" y="60683"/>
                      </a:lnTo>
                      <a:lnTo>
                        <a:pt x="24523" y="62190"/>
                      </a:lnTo>
                      <a:lnTo>
                        <a:pt x="22453" y="64220"/>
                      </a:lnTo>
                      <a:lnTo>
                        <a:pt x="20065" y="64228"/>
                      </a:lnTo>
                      <a:lnTo>
                        <a:pt x="17367" y="64652"/>
                      </a:lnTo>
                      <a:lnTo>
                        <a:pt x="14686" y="64366"/>
                      </a:lnTo>
                      <a:lnTo>
                        <a:pt x="12795" y="63274"/>
                      </a:lnTo>
                      <a:lnTo>
                        <a:pt x="9454" y="62101"/>
                      </a:lnTo>
                      <a:lnTo>
                        <a:pt x="5012" y="61090"/>
                      </a:lnTo>
                      <a:lnTo>
                        <a:pt x="3179" y="60243"/>
                      </a:lnTo>
                      <a:lnTo>
                        <a:pt x="1646" y="58931"/>
                      </a:lnTo>
                      <a:lnTo>
                        <a:pt x="204" y="55589"/>
                      </a:lnTo>
                      <a:lnTo>
                        <a:pt x="0" y="53935"/>
                      </a:lnTo>
                      <a:lnTo>
                        <a:pt x="212" y="52362"/>
                      </a:lnTo>
                      <a:lnTo>
                        <a:pt x="1516" y="51824"/>
                      </a:lnTo>
                      <a:lnTo>
                        <a:pt x="2607" y="51034"/>
                      </a:lnTo>
                      <a:lnTo>
                        <a:pt x="2763" y="49982"/>
                      </a:lnTo>
                      <a:lnTo>
                        <a:pt x="3243" y="49257"/>
                      </a:lnTo>
                      <a:lnTo>
                        <a:pt x="3871" y="48988"/>
                      </a:lnTo>
                      <a:lnTo>
                        <a:pt x="4164" y="48491"/>
                      </a:lnTo>
                      <a:lnTo>
                        <a:pt x="3733" y="46788"/>
                      </a:lnTo>
                      <a:lnTo>
                        <a:pt x="3610" y="45255"/>
                      </a:lnTo>
                      <a:lnTo>
                        <a:pt x="6177" y="42427"/>
                      </a:lnTo>
                      <a:lnTo>
                        <a:pt x="8997" y="40015"/>
                      </a:lnTo>
                      <a:lnTo>
                        <a:pt x="13944" y="37798"/>
                      </a:lnTo>
                      <a:lnTo>
                        <a:pt x="16984" y="37994"/>
                      </a:lnTo>
                      <a:lnTo>
                        <a:pt x="21629" y="36283"/>
                      </a:lnTo>
                      <a:lnTo>
                        <a:pt x="23121" y="35484"/>
                      </a:lnTo>
                      <a:lnTo>
                        <a:pt x="24595" y="35973"/>
                      </a:lnTo>
                      <a:lnTo>
                        <a:pt x="25419" y="37285"/>
                      </a:lnTo>
                      <a:close/>
                      <a:moveTo>
                        <a:pt x="68058" y="456"/>
                      </a:moveTo>
                      <a:lnTo>
                        <a:pt x="64317" y="4523"/>
                      </a:lnTo>
                      <a:lnTo>
                        <a:pt x="62964" y="6634"/>
                      </a:lnTo>
                      <a:lnTo>
                        <a:pt x="61823" y="8957"/>
                      </a:lnTo>
                      <a:lnTo>
                        <a:pt x="58621" y="11442"/>
                      </a:lnTo>
                      <a:lnTo>
                        <a:pt x="57260" y="14784"/>
                      </a:lnTo>
                      <a:lnTo>
                        <a:pt x="57358" y="18158"/>
                      </a:lnTo>
                      <a:lnTo>
                        <a:pt x="60552" y="14629"/>
                      </a:lnTo>
                      <a:lnTo>
                        <a:pt x="64130" y="11744"/>
                      </a:lnTo>
                      <a:lnTo>
                        <a:pt x="65222" y="11165"/>
                      </a:lnTo>
                      <a:lnTo>
                        <a:pt x="66339" y="11189"/>
                      </a:lnTo>
                      <a:lnTo>
                        <a:pt x="66257" y="12176"/>
                      </a:lnTo>
                      <a:lnTo>
                        <a:pt x="65744" y="13145"/>
                      </a:lnTo>
                      <a:lnTo>
                        <a:pt x="65344" y="15696"/>
                      </a:lnTo>
                      <a:lnTo>
                        <a:pt x="66290" y="18060"/>
                      </a:lnTo>
                      <a:lnTo>
                        <a:pt x="63633" y="17840"/>
                      </a:lnTo>
                      <a:lnTo>
                        <a:pt x="61001" y="18035"/>
                      </a:lnTo>
                      <a:lnTo>
                        <a:pt x="57888" y="19364"/>
                      </a:lnTo>
                      <a:lnTo>
                        <a:pt x="54815" y="19951"/>
                      </a:lnTo>
                      <a:lnTo>
                        <a:pt x="53674" y="19967"/>
                      </a:lnTo>
                      <a:lnTo>
                        <a:pt x="52573" y="19510"/>
                      </a:lnTo>
                      <a:lnTo>
                        <a:pt x="51848" y="18834"/>
                      </a:lnTo>
                      <a:lnTo>
                        <a:pt x="51286" y="17261"/>
                      </a:lnTo>
                      <a:lnTo>
                        <a:pt x="50732" y="17025"/>
                      </a:lnTo>
                      <a:lnTo>
                        <a:pt x="48287" y="17098"/>
                      </a:lnTo>
                      <a:lnTo>
                        <a:pt x="44644" y="20179"/>
                      </a:lnTo>
                      <a:lnTo>
                        <a:pt x="43446" y="22827"/>
                      </a:lnTo>
                      <a:lnTo>
                        <a:pt x="42036" y="22949"/>
                      </a:lnTo>
                      <a:lnTo>
                        <a:pt x="40390" y="22404"/>
                      </a:lnTo>
                      <a:lnTo>
                        <a:pt x="38385" y="24425"/>
                      </a:lnTo>
                      <a:lnTo>
                        <a:pt x="36005" y="25166"/>
                      </a:lnTo>
                      <a:lnTo>
                        <a:pt x="34971" y="23447"/>
                      </a:lnTo>
                      <a:lnTo>
                        <a:pt x="34302" y="21336"/>
                      </a:lnTo>
                      <a:lnTo>
                        <a:pt x="33454" y="19796"/>
                      </a:lnTo>
                      <a:lnTo>
                        <a:pt x="30814" y="19396"/>
                      </a:lnTo>
                      <a:lnTo>
                        <a:pt x="31221" y="17522"/>
                      </a:lnTo>
                      <a:lnTo>
                        <a:pt x="31922" y="16731"/>
                      </a:lnTo>
                      <a:lnTo>
                        <a:pt x="32566" y="15607"/>
                      </a:lnTo>
                      <a:lnTo>
                        <a:pt x="32957" y="14327"/>
                      </a:lnTo>
                      <a:lnTo>
                        <a:pt x="34213" y="15150"/>
                      </a:lnTo>
                      <a:lnTo>
                        <a:pt x="35500" y="15664"/>
                      </a:lnTo>
                      <a:lnTo>
                        <a:pt x="36942" y="14702"/>
                      </a:lnTo>
                      <a:lnTo>
                        <a:pt x="38451" y="14620"/>
                      </a:lnTo>
                      <a:lnTo>
                        <a:pt x="39958" y="11817"/>
                      </a:lnTo>
                      <a:lnTo>
                        <a:pt x="42314" y="10065"/>
                      </a:lnTo>
                      <a:lnTo>
                        <a:pt x="45549" y="8679"/>
                      </a:lnTo>
                      <a:lnTo>
                        <a:pt x="48850" y="7701"/>
                      </a:lnTo>
                      <a:lnTo>
                        <a:pt x="50561" y="7489"/>
                      </a:lnTo>
                      <a:lnTo>
                        <a:pt x="52190" y="6927"/>
                      </a:lnTo>
                      <a:lnTo>
                        <a:pt x="55067" y="4319"/>
                      </a:lnTo>
                      <a:lnTo>
                        <a:pt x="56967" y="2958"/>
                      </a:lnTo>
                      <a:lnTo>
                        <a:pt x="59045" y="2143"/>
                      </a:lnTo>
                      <a:lnTo>
                        <a:pt x="61017" y="1654"/>
                      </a:lnTo>
                      <a:lnTo>
                        <a:pt x="62851" y="2086"/>
                      </a:lnTo>
                      <a:lnTo>
                        <a:pt x="64325" y="1874"/>
                      </a:lnTo>
                      <a:lnTo>
                        <a:pt x="68091" y="0"/>
                      </a:lnTo>
                      <a:lnTo>
                        <a:pt x="68058" y="456"/>
                      </a:lnTo>
                      <a:close/>
                    </a:path>
                  </a:pathLst>
                </a:custGeom>
                <a:solidFill>
                  <a:srgbClr val="D6D6D2"/>
                </a:solidFill>
                <a:ln w="8150" cap="flat">
                  <a:noFill/>
                  <a:prstDash val="solid"/>
                  <a:miter/>
                </a:ln>
              </p:spPr>
              <p:txBody>
                <a:bodyPr rtlCol="0" anchor="ctr"/>
                <a:lstStyle/>
                <a:p>
                  <a:endParaRPr lang="en-US"/>
                </a:p>
              </p:txBody>
            </p:sp>
            <p:sp>
              <p:nvSpPr>
                <p:cNvPr id="736" name="Freeform: Shape 735">
                  <a:extLst>
                    <a:ext uri="{FF2B5EF4-FFF2-40B4-BE49-F238E27FC236}">
                      <a16:creationId xmlns:a16="http://schemas.microsoft.com/office/drawing/2014/main" id="{EE5B4565-2DDF-45D1-ADA9-4A732D15E680}"/>
                    </a:ext>
                  </a:extLst>
                </p:cNvPr>
                <p:cNvSpPr/>
                <p:nvPr/>
              </p:nvSpPr>
              <p:spPr>
                <a:xfrm>
                  <a:off x="6455117" y="2119364"/>
                  <a:ext cx="270693" cy="431764"/>
                </a:xfrm>
                <a:custGeom>
                  <a:avLst/>
                  <a:gdLst>
                    <a:gd name="connsiteX0" fmla="*/ 184143 w 270693"/>
                    <a:gd name="connsiteY0" fmla="*/ 4165 h 431764"/>
                    <a:gd name="connsiteX1" fmla="*/ 189652 w 270693"/>
                    <a:gd name="connsiteY1" fmla="*/ 8631 h 431764"/>
                    <a:gd name="connsiteX2" fmla="*/ 193190 w 270693"/>
                    <a:gd name="connsiteY2" fmla="*/ 10807 h 431764"/>
                    <a:gd name="connsiteX3" fmla="*/ 202831 w 270693"/>
                    <a:gd name="connsiteY3" fmla="*/ 14865 h 431764"/>
                    <a:gd name="connsiteX4" fmla="*/ 211290 w 270693"/>
                    <a:gd name="connsiteY4" fmla="*/ 17538 h 431764"/>
                    <a:gd name="connsiteX5" fmla="*/ 216049 w 270693"/>
                    <a:gd name="connsiteY5" fmla="*/ 26340 h 431764"/>
                    <a:gd name="connsiteX6" fmla="*/ 213711 w 270693"/>
                    <a:gd name="connsiteY6" fmla="*/ 29844 h 431764"/>
                    <a:gd name="connsiteX7" fmla="*/ 212545 w 270693"/>
                    <a:gd name="connsiteY7" fmla="*/ 31050 h 431764"/>
                    <a:gd name="connsiteX8" fmla="*/ 208405 w 270693"/>
                    <a:gd name="connsiteY8" fmla="*/ 34539 h 431764"/>
                    <a:gd name="connsiteX9" fmla="*/ 203963 w 270693"/>
                    <a:gd name="connsiteY9" fmla="*/ 39445 h 431764"/>
                    <a:gd name="connsiteX10" fmla="*/ 203621 w 270693"/>
                    <a:gd name="connsiteY10" fmla="*/ 42004 h 431764"/>
                    <a:gd name="connsiteX11" fmla="*/ 205096 w 270693"/>
                    <a:gd name="connsiteY11" fmla="*/ 44579 h 431764"/>
                    <a:gd name="connsiteX12" fmla="*/ 206938 w 270693"/>
                    <a:gd name="connsiteY12" fmla="*/ 46282 h 431764"/>
                    <a:gd name="connsiteX13" fmla="*/ 205275 w 270693"/>
                    <a:gd name="connsiteY13" fmla="*/ 46820 h 431764"/>
                    <a:gd name="connsiteX14" fmla="*/ 200149 w 270693"/>
                    <a:gd name="connsiteY14" fmla="*/ 48964 h 431764"/>
                    <a:gd name="connsiteX15" fmla="*/ 197012 w 270693"/>
                    <a:gd name="connsiteY15" fmla="*/ 50414 h 431764"/>
                    <a:gd name="connsiteX16" fmla="*/ 193246 w 270693"/>
                    <a:gd name="connsiteY16" fmla="*/ 51474 h 431764"/>
                    <a:gd name="connsiteX17" fmla="*/ 194224 w 270693"/>
                    <a:gd name="connsiteY17" fmla="*/ 52867 h 431764"/>
                    <a:gd name="connsiteX18" fmla="*/ 200492 w 270693"/>
                    <a:gd name="connsiteY18" fmla="*/ 53169 h 431764"/>
                    <a:gd name="connsiteX19" fmla="*/ 201461 w 270693"/>
                    <a:gd name="connsiteY19" fmla="*/ 53576 h 431764"/>
                    <a:gd name="connsiteX20" fmla="*/ 202146 w 270693"/>
                    <a:gd name="connsiteY20" fmla="*/ 54293 h 431764"/>
                    <a:gd name="connsiteX21" fmla="*/ 202276 w 270693"/>
                    <a:gd name="connsiteY21" fmla="*/ 55443 h 431764"/>
                    <a:gd name="connsiteX22" fmla="*/ 201633 w 270693"/>
                    <a:gd name="connsiteY22" fmla="*/ 57309 h 431764"/>
                    <a:gd name="connsiteX23" fmla="*/ 194868 w 270693"/>
                    <a:gd name="connsiteY23" fmla="*/ 67569 h 431764"/>
                    <a:gd name="connsiteX24" fmla="*/ 194664 w 270693"/>
                    <a:gd name="connsiteY24" fmla="*/ 69737 h 431764"/>
                    <a:gd name="connsiteX25" fmla="*/ 196873 w 270693"/>
                    <a:gd name="connsiteY25" fmla="*/ 75727 h 431764"/>
                    <a:gd name="connsiteX26" fmla="*/ 199978 w 270693"/>
                    <a:gd name="connsiteY26" fmla="*/ 82793 h 431764"/>
                    <a:gd name="connsiteX27" fmla="*/ 209342 w 270693"/>
                    <a:gd name="connsiteY27" fmla="*/ 85923 h 431764"/>
                    <a:gd name="connsiteX28" fmla="*/ 216310 w 270693"/>
                    <a:gd name="connsiteY28" fmla="*/ 88376 h 431764"/>
                    <a:gd name="connsiteX29" fmla="*/ 220792 w 270693"/>
                    <a:gd name="connsiteY29" fmla="*/ 94154 h 431764"/>
                    <a:gd name="connsiteX30" fmla="*/ 228160 w 270693"/>
                    <a:gd name="connsiteY30" fmla="*/ 101766 h 431764"/>
                    <a:gd name="connsiteX31" fmla="*/ 232063 w 270693"/>
                    <a:gd name="connsiteY31" fmla="*/ 104610 h 431764"/>
                    <a:gd name="connsiteX32" fmla="*/ 232284 w 270693"/>
                    <a:gd name="connsiteY32" fmla="*/ 105482 h 431764"/>
                    <a:gd name="connsiteX33" fmla="*/ 231110 w 270693"/>
                    <a:gd name="connsiteY33" fmla="*/ 110722 h 431764"/>
                    <a:gd name="connsiteX34" fmla="*/ 226383 w 270693"/>
                    <a:gd name="connsiteY34" fmla="*/ 115963 h 431764"/>
                    <a:gd name="connsiteX35" fmla="*/ 221958 w 270693"/>
                    <a:gd name="connsiteY35" fmla="*/ 120380 h 431764"/>
                    <a:gd name="connsiteX36" fmla="*/ 217386 w 270693"/>
                    <a:gd name="connsiteY36" fmla="*/ 125685 h 431764"/>
                    <a:gd name="connsiteX37" fmla="*/ 213808 w 270693"/>
                    <a:gd name="connsiteY37" fmla="*/ 130208 h 431764"/>
                    <a:gd name="connsiteX38" fmla="*/ 209929 w 270693"/>
                    <a:gd name="connsiteY38" fmla="*/ 135620 h 431764"/>
                    <a:gd name="connsiteX39" fmla="*/ 209481 w 270693"/>
                    <a:gd name="connsiteY39" fmla="*/ 137372 h 431764"/>
                    <a:gd name="connsiteX40" fmla="*/ 209399 w 270693"/>
                    <a:gd name="connsiteY40" fmla="*/ 139026 h 431764"/>
                    <a:gd name="connsiteX41" fmla="*/ 210068 w 270693"/>
                    <a:gd name="connsiteY41" fmla="*/ 140860 h 431764"/>
                    <a:gd name="connsiteX42" fmla="*/ 215031 w 270693"/>
                    <a:gd name="connsiteY42" fmla="*/ 147461 h 431764"/>
                    <a:gd name="connsiteX43" fmla="*/ 216970 w 270693"/>
                    <a:gd name="connsiteY43" fmla="*/ 150827 h 431764"/>
                    <a:gd name="connsiteX44" fmla="*/ 219277 w 270693"/>
                    <a:gd name="connsiteY44" fmla="*/ 154462 h 431764"/>
                    <a:gd name="connsiteX45" fmla="*/ 221257 w 270693"/>
                    <a:gd name="connsiteY45" fmla="*/ 158423 h 431764"/>
                    <a:gd name="connsiteX46" fmla="*/ 222414 w 270693"/>
                    <a:gd name="connsiteY46" fmla="*/ 161968 h 431764"/>
                    <a:gd name="connsiteX47" fmla="*/ 224403 w 270693"/>
                    <a:gd name="connsiteY47" fmla="*/ 165415 h 431764"/>
                    <a:gd name="connsiteX48" fmla="*/ 225625 w 270693"/>
                    <a:gd name="connsiteY48" fmla="*/ 167184 h 431764"/>
                    <a:gd name="connsiteX49" fmla="*/ 227687 w 270693"/>
                    <a:gd name="connsiteY49" fmla="*/ 169653 h 431764"/>
                    <a:gd name="connsiteX50" fmla="*/ 230165 w 270693"/>
                    <a:gd name="connsiteY50" fmla="*/ 173320 h 431764"/>
                    <a:gd name="connsiteX51" fmla="*/ 230996 w 270693"/>
                    <a:gd name="connsiteY51" fmla="*/ 176214 h 431764"/>
                    <a:gd name="connsiteX52" fmla="*/ 234729 w 270693"/>
                    <a:gd name="connsiteY52" fmla="*/ 186270 h 431764"/>
                    <a:gd name="connsiteX53" fmla="*/ 235112 w 270693"/>
                    <a:gd name="connsiteY53" fmla="*/ 188829 h 431764"/>
                    <a:gd name="connsiteX54" fmla="*/ 234933 w 270693"/>
                    <a:gd name="connsiteY54" fmla="*/ 190720 h 431764"/>
                    <a:gd name="connsiteX55" fmla="*/ 233286 w 270693"/>
                    <a:gd name="connsiteY55" fmla="*/ 191193 h 431764"/>
                    <a:gd name="connsiteX56" fmla="*/ 229659 w 270693"/>
                    <a:gd name="connsiteY56" fmla="*/ 191494 h 431764"/>
                    <a:gd name="connsiteX57" fmla="*/ 225731 w 270693"/>
                    <a:gd name="connsiteY57" fmla="*/ 192733 h 431764"/>
                    <a:gd name="connsiteX58" fmla="*/ 225527 w 270693"/>
                    <a:gd name="connsiteY58" fmla="*/ 193149 h 431764"/>
                    <a:gd name="connsiteX59" fmla="*/ 228087 w 270693"/>
                    <a:gd name="connsiteY59" fmla="*/ 195512 h 431764"/>
                    <a:gd name="connsiteX60" fmla="*/ 225829 w 270693"/>
                    <a:gd name="connsiteY60" fmla="*/ 199554 h 431764"/>
                    <a:gd name="connsiteX61" fmla="*/ 225503 w 270693"/>
                    <a:gd name="connsiteY61" fmla="*/ 205324 h 431764"/>
                    <a:gd name="connsiteX62" fmla="*/ 223083 w 270693"/>
                    <a:gd name="connsiteY62" fmla="*/ 208348 h 431764"/>
                    <a:gd name="connsiteX63" fmla="*/ 222854 w 270693"/>
                    <a:gd name="connsiteY63" fmla="*/ 209049 h 431764"/>
                    <a:gd name="connsiteX64" fmla="*/ 222960 w 270693"/>
                    <a:gd name="connsiteY64" fmla="*/ 209636 h 431764"/>
                    <a:gd name="connsiteX65" fmla="*/ 223400 w 270693"/>
                    <a:gd name="connsiteY65" fmla="*/ 210100 h 431764"/>
                    <a:gd name="connsiteX66" fmla="*/ 227883 w 270693"/>
                    <a:gd name="connsiteY66" fmla="*/ 210907 h 431764"/>
                    <a:gd name="connsiteX67" fmla="*/ 228274 w 270693"/>
                    <a:gd name="connsiteY67" fmla="*/ 211730 h 431764"/>
                    <a:gd name="connsiteX68" fmla="*/ 228291 w 270693"/>
                    <a:gd name="connsiteY68" fmla="*/ 213425 h 431764"/>
                    <a:gd name="connsiteX69" fmla="*/ 227891 w 270693"/>
                    <a:gd name="connsiteY69" fmla="*/ 214990 h 431764"/>
                    <a:gd name="connsiteX70" fmla="*/ 225642 w 270693"/>
                    <a:gd name="connsiteY70" fmla="*/ 216147 h 431764"/>
                    <a:gd name="connsiteX71" fmla="*/ 223221 w 270693"/>
                    <a:gd name="connsiteY71" fmla="*/ 217867 h 431764"/>
                    <a:gd name="connsiteX72" fmla="*/ 222692 w 270693"/>
                    <a:gd name="connsiteY72" fmla="*/ 219440 h 431764"/>
                    <a:gd name="connsiteX73" fmla="*/ 222773 w 270693"/>
                    <a:gd name="connsiteY73" fmla="*/ 220850 h 431764"/>
                    <a:gd name="connsiteX74" fmla="*/ 223612 w 270693"/>
                    <a:gd name="connsiteY74" fmla="*/ 223229 h 431764"/>
                    <a:gd name="connsiteX75" fmla="*/ 225194 w 270693"/>
                    <a:gd name="connsiteY75" fmla="*/ 226008 h 431764"/>
                    <a:gd name="connsiteX76" fmla="*/ 227223 w 270693"/>
                    <a:gd name="connsiteY76" fmla="*/ 227752 h 431764"/>
                    <a:gd name="connsiteX77" fmla="*/ 234403 w 270693"/>
                    <a:gd name="connsiteY77" fmla="*/ 229399 h 431764"/>
                    <a:gd name="connsiteX78" fmla="*/ 235324 w 270693"/>
                    <a:gd name="connsiteY78" fmla="*/ 230760 h 431764"/>
                    <a:gd name="connsiteX79" fmla="*/ 235723 w 270693"/>
                    <a:gd name="connsiteY79" fmla="*/ 232626 h 431764"/>
                    <a:gd name="connsiteX80" fmla="*/ 235560 w 270693"/>
                    <a:gd name="connsiteY80" fmla="*/ 234451 h 431764"/>
                    <a:gd name="connsiteX81" fmla="*/ 232227 w 270693"/>
                    <a:gd name="connsiteY81" fmla="*/ 238086 h 431764"/>
                    <a:gd name="connsiteX82" fmla="*/ 232259 w 270693"/>
                    <a:gd name="connsiteY82" fmla="*/ 239488 h 431764"/>
                    <a:gd name="connsiteX83" fmla="*/ 233628 w 270693"/>
                    <a:gd name="connsiteY83" fmla="*/ 242878 h 431764"/>
                    <a:gd name="connsiteX84" fmla="*/ 235275 w 270693"/>
                    <a:gd name="connsiteY84" fmla="*/ 246106 h 431764"/>
                    <a:gd name="connsiteX85" fmla="*/ 242283 w 270693"/>
                    <a:gd name="connsiteY85" fmla="*/ 249610 h 431764"/>
                    <a:gd name="connsiteX86" fmla="*/ 244687 w 270693"/>
                    <a:gd name="connsiteY86" fmla="*/ 251525 h 431764"/>
                    <a:gd name="connsiteX87" fmla="*/ 245323 w 270693"/>
                    <a:gd name="connsiteY87" fmla="*/ 253049 h 431764"/>
                    <a:gd name="connsiteX88" fmla="*/ 245682 w 270693"/>
                    <a:gd name="connsiteY88" fmla="*/ 255502 h 431764"/>
                    <a:gd name="connsiteX89" fmla="*/ 245633 w 270693"/>
                    <a:gd name="connsiteY89" fmla="*/ 258167 h 431764"/>
                    <a:gd name="connsiteX90" fmla="*/ 245095 w 270693"/>
                    <a:gd name="connsiteY90" fmla="*/ 260531 h 431764"/>
                    <a:gd name="connsiteX91" fmla="*/ 242886 w 270693"/>
                    <a:gd name="connsiteY91" fmla="*/ 263570 h 431764"/>
                    <a:gd name="connsiteX92" fmla="*/ 237801 w 270693"/>
                    <a:gd name="connsiteY92" fmla="*/ 269569 h 431764"/>
                    <a:gd name="connsiteX93" fmla="*/ 232691 w 270693"/>
                    <a:gd name="connsiteY93" fmla="*/ 271900 h 431764"/>
                    <a:gd name="connsiteX94" fmla="*/ 232373 w 270693"/>
                    <a:gd name="connsiteY94" fmla="*/ 272405 h 431764"/>
                    <a:gd name="connsiteX95" fmla="*/ 233963 w 270693"/>
                    <a:gd name="connsiteY95" fmla="*/ 274320 h 431764"/>
                    <a:gd name="connsiteX96" fmla="*/ 242960 w 270693"/>
                    <a:gd name="connsiteY96" fmla="*/ 281989 h 431764"/>
                    <a:gd name="connsiteX97" fmla="*/ 248836 w 270693"/>
                    <a:gd name="connsiteY97" fmla="*/ 285567 h 431764"/>
                    <a:gd name="connsiteX98" fmla="*/ 256765 w 270693"/>
                    <a:gd name="connsiteY98" fmla="*/ 290399 h 431764"/>
                    <a:gd name="connsiteX99" fmla="*/ 261875 w 270693"/>
                    <a:gd name="connsiteY99" fmla="*/ 294213 h 431764"/>
                    <a:gd name="connsiteX100" fmla="*/ 263522 w 270693"/>
                    <a:gd name="connsiteY100" fmla="*/ 296952 h 431764"/>
                    <a:gd name="connsiteX101" fmla="*/ 265738 w 270693"/>
                    <a:gd name="connsiteY101" fmla="*/ 299992 h 431764"/>
                    <a:gd name="connsiteX102" fmla="*/ 268224 w 270693"/>
                    <a:gd name="connsiteY102" fmla="*/ 302485 h 431764"/>
                    <a:gd name="connsiteX103" fmla="*/ 270017 w 270693"/>
                    <a:gd name="connsiteY103" fmla="*/ 304637 h 431764"/>
                    <a:gd name="connsiteX104" fmla="*/ 270694 w 270693"/>
                    <a:gd name="connsiteY104" fmla="*/ 306022 h 431764"/>
                    <a:gd name="connsiteX105" fmla="*/ 270628 w 270693"/>
                    <a:gd name="connsiteY105" fmla="*/ 307514 h 431764"/>
                    <a:gd name="connsiteX106" fmla="*/ 268232 w 270693"/>
                    <a:gd name="connsiteY106" fmla="*/ 312012 h 431764"/>
                    <a:gd name="connsiteX107" fmla="*/ 266871 w 270693"/>
                    <a:gd name="connsiteY107" fmla="*/ 315476 h 431764"/>
                    <a:gd name="connsiteX108" fmla="*/ 264467 w 270693"/>
                    <a:gd name="connsiteY108" fmla="*/ 320553 h 431764"/>
                    <a:gd name="connsiteX109" fmla="*/ 262014 w 270693"/>
                    <a:gd name="connsiteY109" fmla="*/ 324099 h 431764"/>
                    <a:gd name="connsiteX110" fmla="*/ 255787 w 270693"/>
                    <a:gd name="connsiteY110" fmla="*/ 330545 h 431764"/>
                    <a:gd name="connsiteX111" fmla="*/ 246603 w 270693"/>
                    <a:gd name="connsiteY111" fmla="*/ 338556 h 431764"/>
                    <a:gd name="connsiteX112" fmla="*/ 244468 w 270693"/>
                    <a:gd name="connsiteY112" fmla="*/ 340977 h 431764"/>
                    <a:gd name="connsiteX113" fmla="*/ 240181 w 270693"/>
                    <a:gd name="connsiteY113" fmla="*/ 345190 h 431764"/>
                    <a:gd name="connsiteX114" fmla="*/ 232829 w 270693"/>
                    <a:gd name="connsiteY114" fmla="*/ 353633 h 431764"/>
                    <a:gd name="connsiteX115" fmla="*/ 230923 w 270693"/>
                    <a:gd name="connsiteY115" fmla="*/ 355499 h 431764"/>
                    <a:gd name="connsiteX116" fmla="*/ 224900 w 270693"/>
                    <a:gd name="connsiteY116" fmla="*/ 362215 h 431764"/>
                    <a:gd name="connsiteX117" fmla="*/ 222145 w 270693"/>
                    <a:gd name="connsiteY117" fmla="*/ 364350 h 431764"/>
                    <a:gd name="connsiteX118" fmla="*/ 219986 w 270693"/>
                    <a:gd name="connsiteY118" fmla="*/ 366347 h 431764"/>
                    <a:gd name="connsiteX119" fmla="*/ 214028 w 270693"/>
                    <a:gd name="connsiteY119" fmla="*/ 372679 h 431764"/>
                    <a:gd name="connsiteX120" fmla="*/ 207614 w 270693"/>
                    <a:gd name="connsiteY120" fmla="*/ 377479 h 431764"/>
                    <a:gd name="connsiteX121" fmla="*/ 201315 w 270693"/>
                    <a:gd name="connsiteY121" fmla="*/ 381929 h 431764"/>
                    <a:gd name="connsiteX122" fmla="*/ 199432 w 270693"/>
                    <a:gd name="connsiteY122" fmla="*/ 384187 h 431764"/>
                    <a:gd name="connsiteX123" fmla="*/ 197077 w 270693"/>
                    <a:gd name="connsiteY123" fmla="*/ 385906 h 431764"/>
                    <a:gd name="connsiteX124" fmla="*/ 194273 w 270693"/>
                    <a:gd name="connsiteY124" fmla="*/ 387544 h 431764"/>
                    <a:gd name="connsiteX125" fmla="*/ 193092 w 270693"/>
                    <a:gd name="connsiteY125" fmla="*/ 388457 h 431764"/>
                    <a:gd name="connsiteX126" fmla="*/ 186751 w 270693"/>
                    <a:gd name="connsiteY126" fmla="*/ 394537 h 431764"/>
                    <a:gd name="connsiteX127" fmla="*/ 177974 w 270693"/>
                    <a:gd name="connsiteY127" fmla="*/ 402964 h 431764"/>
                    <a:gd name="connsiteX128" fmla="*/ 177078 w 270693"/>
                    <a:gd name="connsiteY128" fmla="*/ 403094 h 431764"/>
                    <a:gd name="connsiteX129" fmla="*/ 174795 w 270693"/>
                    <a:gd name="connsiteY129" fmla="*/ 404455 h 431764"/>
                    <a:gd name="connsiteX130" fmla="*/ 171218 w 270693"/>
                    <a:gd name="connsiteY130" fmla="*/ 404789 h 431764"/>
                    <a:gd name="connsiteX131" fmla="*/ 169669 w 270693"/>
                    <a:gd name="connsiteY131" fmla="*/ 405824 h 431764"/>
                    <a:gd name="connsiteX132" fmla="*/ 164201 w 270693"/>
                    <a:gd name="connsiteY132" fmla="*/ 402866 h 431764"/>
                    <a:gd name="connsiteX133" fmla="*/ 163288 w 270693"/>
                    <a:gd name="connsiteY133" fmla="*/ 402670 h 431764"/>
                    <a:gd name="connsiteX134" fmla="*/ 160069 w 270693"/>
                    <a:gd name="connsiteY134" fmla="*/ 403404 h 431764"/>
                    <a:gd name="connsiteX135" fmla="*/ 156988 w 270693"/>
                    <a:gd name="connsiteY135" fmla="*/ 405563 h 431764"/>
                    <a:gd name="connsiteX136" fmla="*/ 151283 w 270693"/>
                    <a:gd name="connsiteY136" fmla="*/ 406215 h 431764"/>
                    <a:gd name="connsiteX137" fmla="*/ 148464 w 270693"/>
                    <a:gd name="connsiteY137" fmla="*/ 406916 h 431764"/>
                    <a:gd name="connsiteX138" fmla="*/ 146646 w 270693"/>
                    <a:gd name="connsiteY138" fmla="*/ 407919 h 431764"/>
                    <a:gd name="connsiteX139" fmla="*/ 146279 w 270693"/>
                    <a:gd name="connsiteY139" fmla="*/ 405563 h 431764"/>
                    <a:gd name="connsiteX140" fmla="*/ 147062 w 270693"/>
                    <a:gd name="connsiteY140" fmla="*/ 402572 h 431764"/>
                    <a:gd name="connsiteX141" fmla="*/ 148309 w 270693"/>
                    <a:gd name="connsiteY141" fmla="*/ 400576 h 431764"/>
                    <a:gd name="connsiteX142" fmla="*/ 148431 w 270693"/>
                    <a:gd name="connsiteY142" fmla="*/ 399288 h 431764"/>
                    <a:gd name="connsiteX143" fmla="*/ 147518 w 270693"/>
                    <a:gd name="connsiteY143" fmla="*/ 399418 h 431764"/>
                    <a:gd name="connsiteX144" fmla="*/ 145693 w 270693"/>
                    <a:gd name="connsiteY144" fmla="*/ 402344 h 431764"/>
                    <a:gd name="connsiteX145" fmla="*/ 144715 w 270693"/>
                    <a:gd name="connsiteY145" fmla="*/ 405751 h 431764"/>
                    <a:gd name="connsiteX146" fmla="*/ 142767 w 270693"/>
                    <a:gd name="connsiteY146" fmla="*/ 407462 h 431764"/>
                    <a:gd name="connsiteX147" fmla="*/ 138472 w 270693"/>
                    <a:gd name="connsiteY147" fmla="*/ 408155 h 431764"/>
                    <a:gd name="connsiteX148" fmla="*/ 134292 w 270693"/>
                    <a:gd name="connsiteY148" fmla="*/ 405425 h 431764"/>
                    <a:gd name="connsiteX149" fmla="*/ 132311 w 270693"/>
                    <a:gd name="connsiteY149" fmla="*/ 405449 h 431764"/>
                    <a:gd name="connsiteX150" fmla="*/ 133550 w 270693"/>
                    <a:gd name="connsiteY150" fmla="*/ 407413 h 431764"/>
                    <a:gd name="connsiteX151" fmla="*/ 134397 w 270693"/>
                    <a:gd name="connsiteY151" fmla="*/ 409557 h 431764"/>
                    <a:gd name="connsiteX152" fmla="*/ 134283 w 270693"/>
                    <a:gd name="connsiteY152" fmla="*/ 410763 h 431764"/>
                    <a:gd name="connsiteX153" fmla="*/ 132058 w 270693"/>
                    <a:gd name="connsiteY153" fmla="*/ 410551 h 431764"/>
                    <a:gd name="connsiteX154" fmla="*/ 129565 w 270693"/>
                    <a:gd name="connsiteY154" fmla="*/ 411847 h 431764"/>
                    <a:gd name="connsiteX155" fmla="*/ 127388 w 270693"/>
                    <a:gd name="connsiteY155" fmla="*/ 413729 h 431764"/>
                    <a:gd name="connsiteX156" fmla="*/ 126337 w 270693"/>
                    <a:gd name="connsiteY156" fmla="*/ 413729 h 431764"/>
                    <a:gd name="connsiteX157" fmla="*/ 124870 w 270693"/>
                    <a:gd name="connsiteY157" fmla="*/ 411097 h 431764"/>
                    <a:gd name="connsiteX158" fmla="*/ 122181 w 270693"/>
                    <a:gd name="connsiteY158" fmla="*/ 412328 h 431764"/>
                    <a:gd name="connsiteX159" fmla="*/ 119899 w 270693"/>
                    <a:gd name="connsiteY159" fmla="*/ 413982 h 431764"/>
                    <a:gd name="connsiteX160" fmla="*/ 115237 w 270693"/>
                    <a:gd name="connsiteY160" fmla="*/ 414495 h 431764"/>
                    <a:gd name="connsiteX161" fmla="*/ 112458 w 270693"/>
                    <a:gd name="connsiteY161" fmla="*/ 416663 h 431764"/>
                    <a:gd name="connsiteX162" fmla="*/ 107536 w 270693"/>
                    <a:gd name="connsiteY162" fmla="*/ 418130 h 431764"/>
                    <a:gd name="connsiteX163" fmla="*/ 104838 w 270693"/>
                    <a:gd name="connsiteY163" fmla="*/ 418098 h 431764"/>
                    <a:gd name="connsiteX164" fmla="*/ 98677 w 270693"/>
                    <a:gd name="connsiteY164" fmla="*/ 419858 h 431764"/>
                    <a:gd name="connsiteX165" fmla="*/ 96631 w 270693"/>
                    <a:gd name="connsiteY165" fmla="*/ 422572 h 431764"/>
                    <a:gd name="connsiteX166" fmla="*/ 94830 w 270693"/>
                    <a:gd name="connsiteY166" fmla="*/ 423574 h 431764"/>
                    <a:gd name="connsiteX167" fmla="*/ 92287 w 270693"/>
                    <a:gd name="connsiteY167" fmla="*/ 422735 h 431764"/>
                    <a:gd name="connsiteX168" fmla="*/ 84407 w 270693"/>
                    <a:gd name="connsiteY168" fmla="*/ 424055 h 431764"/>
                    <a:gd name="connsiteX169" fmla="*/ 76885 w 270693"/>
                    <a:gd name="connsiteY169" fmla="*/ 425791 h 431764"/>
                    <a:gd name="connsiteX170" fmla="*/ 73673 w 270693"/>
                    <a:gd name="connsiteY170" fmla="*/ 425693 h 431764"/>
                    <a:gd name="connsiteX171" fmla="*/ 70471 w 270693"/>
                    <a:gd name="connsiteY171" fmla="*/ 424968 h 431764"/>
                    <a:gd name="connsiteX172" fmla="*/ 67072 w 270693"/>
                    <a:gd name="connsiteY172" fmla="*/ 427380 h 431764"/>
                    <a:gd name="connsiteX173" fmla="*/ 63478 w 270693"/>
                    <a:gd name="connsiteY173" fmla="*/ 430607 h 431764"/>
                    <a:gd name="connsiteX174" fmla="*/ 59509 w 270693"/>
                    <a:gd name="connsiteY174" fmla="*/ 431765 h 431764"/>
                    <a:gd name="connsiteX175" fmla="*/ 58075 w 270693"/>
                    <a:gd name="connsiteY175" fmla="*/ 431349 h 431764"/>
                    <a:gd name="connsiteX176" fmla="*/ 59224 w 270693"/>
                    <a:gd name="connsiteY176" fmla="*/ 429654 h 431764"/>
                    <a:gd name="connsiteX177" fmla="*/ 61857 w 270693"/>
                    <a:gd name="connsiteY177" fmla="*/ 427902 h 431764"/>
                    <a:gd name="connsiteX178" fmla="*/ 63657 w 270693"/>
                    <a:gd name="connsiteY178" fmla="*/ 425522 h 431764"/>
                    <a:gd name="connsiteX179" fmla="*/ 63894 w 270693"/>
                    <a:gd name="connsiteY179" fmla="*/ 423542 h 431764"/>
                    <a:gd name="connsiteX180" fmla="*/ 62664 w 270693"/>
                    <a:gd name="connsiteY180" fmla="*/ 422767 h 431764"/>
                    <a:gd name="connsiteX181" fmla="*/ 60968 w 270693"/>
                    <a:gd name="connsiteY181" fmla="*/ 422531 h 431764"/>
                    <a:gd name="connsiteX182" fmla="*/ 58833 w 270693"/>
                    <a:gd name="connsiteY182" fmla="*/ 420485 h 431764"/>
                    <a:gd name="connsiteX183" fmla="*/ 56779 w 270693"/>
                    <a:gd name="connsiteY183" fmla="*/ 416036 h 431764"/>
                    <a:gd name="connsiteX184" fmla="*/ 55679 w 270693"/>
                    <a:gd name="connsiteY184" fmla="*/ 415791 h 431764"/>
                    <a:gd name="connsiteX185" fmla="*/ 55117 w 270693"/>
                    <a:gd name="connsiteY185" fmla="*/ 416965 h 431764"/>
                    <a:gd name="connsiteX186" fmla="*/ 54489 w 270693"/>
                    <a:gd name="connsiteY186" fmla="*/ 420363 h 431764"/>
                    <a:gd name="connsiteX187" fmla="*/ 53853 w 270693"/>
                    <a:gd name="connsiteY187" fmla="*/ 421349 h 431764"/>
                    <a:gd name="connsiteX188" fmla="*/ 52778 w 270693"/>
                    <a:gd name="connsiteY188" fmla="*/ 422132 h 431764"/>
                    <a:gd name="connsiteX189" fmla="*/ 51474 w 270693"/>
                    <a:gd name="connsiteY189" fmla="*/ 422914 h 431764"/>
                    <a:gd name="connsiteX190" fmla="*/ 50202 w 270693"/>
                    <a:gd name="connsiteY190" fmla="*/ 423289 h 431764"/>
                    <a:gd name="connsiteX191" fmla="*/ 45655 w 270693"/>
                    <a:gd name="connsiteY191" fmla="*/ 423248 h 431764"/>
                    <a:gd name="connsiteX192" fmla="*/ 45060 w 270693"/>
                    <a:gd name="connsiteY192" fmla="*/ 421529 h 431764"/>
                    <a:gd name="connsiteX193" fmla="*/ 45060 w 270693"/>
                    <a:gd name="connsiteY193" fmla="*/ 420803 h 431764"/>
                    <a:gd name="connsiteX194" fmla="*/ 45867 w 270693"/>
                    <a:gd name="connsiteY194" fmla="*/ 418546 h 431764"/>
                    <a:gd name="connsiteX195" fmla="*/ 45166 w 270693"/>
                    <a:gd name="connsiteY195" fmla="*/ 418147 h 431764"/>
                    <a:gd name="connsiteX196" fmla="*/ 45834 w 270693"/>
                    <a:gd name="connsiteY196" fmla="*/ 416362 h 431764"/>
                    <a:gd name="connsiteX197" fmla="*/ 46902 w 270693"/>
                    <a:gd name="connsiteY197" fmla="*/ 416460 h 431764"/>
                    <a:gd name="connsiteX198" fmla="*/ 48173 w 270693"/>
                    <a:gd name="connsiteY198" fmla="*/ 416199 h 431764"/>
                    <a:gd name="connsiteX199" fmla="*/ 48817 w 270693"/>
                    <a:gd name="connsiteY199" fmla="*/ 415278 h 431764"/>
                    <a:gd name="connsiteX200" fmla="*/ 48760 w 270693"/>
                    <a:gd name="connsiteY200" fmla="*/ 414186 h 431764"/>
                    <a:gd name="connsiteX201" fmla="*/ 46991 w 270693"/>
                    <a:gd name="connsiteY201" fmla="*/ 413909 h 431764"/>
                    <a:gd name="connsiteX202" fmla="*/ 46877 w 270693"/>
                    <a:gd name="connsiteY202" fmla="*/ 413167 h 431764"/>
                    <a:gd name="connsiteX203" fmla="*/ 48458 w 270693"/>
                    <a:gd name="connsiteY203" fmla="*/ 410054 h 431764"/>
                    <a:gd name="connsiteX204" fmla="*/ 48679 w 270693"/>
                    <a:gd name="connsiteY204" fmla="*/ 409190 h 431764"/>
                    <a:gd name="connsiteX205" fmla="*/ 48067 w 270693"/>
                    <a:gd name="connsiteY205" fmla="*/ 409011 h 431764"/>
                    <a:gd name="connsiteX206" fmla="*/ 47081 w 270693"/>
                    <a:gd name="connsiteY206" fmla="*/ 409353 h 431764"/>
                    <a:gd name="connsiteX207" fmla="*/ 40570 w 270693"/>
                    <a:gd name="connsiteY207" fmla="*/ 408383 h 431764"/>
                    <a:gd name="connsiteX208" fmla="*/ 32534 w 270693"/>
                    <a:gd name="connsiteY208" fmla="*/ 404390 h 431764"/>
                    <a:gd name="connsiteX209" fmla="*/ 30561 w 270693"/>
                    <a:gd name="connsiteY209" fmla="*/ 404194 h 431764"/>
                    <a:gd name="connsiteX210" fmla="*/ 29339 w 270693"/>
                    <a:gd name="connsiteY210" fmla="*/ 400625 h 431764"/>
                    <a:gd name="connsiteX211" fmla="*/ 27416 w 270693"/>
                    <a:gd name="connsiteY211" fmla="*/ 401081 h 431764"/>
                    <a:gd name="connsiteX212" fmla="*/ 24587 w 270693"/>
                    <a:gd name="connsiteY212" fmla="*/ 403167 h 431764"/>
                    <a:gd name="connsiteX213" fmla="*/ 22469 w 270693"/>
                    <a:gd name="connsiteY213" fmla="*/ 401586 h 431764"/>
                    <a:gd name="connsiteX214" fmla="*/ 20187 w 270693"/>
                    <a:gd name="connsiteY214" fmla="*/ 400543 h 431764"/>
                    <a:gd name="connsiteX215" fmla="*/ 19560 w 270693"/>
                    <a:gd name="connsiteY215" fmla="*/ 398921 h 431764"/>
                    <a:gd name="connsiteX216" fmla="*/ 19592 w 270693"/>
                    <a:gd name="connsiteY216" fmla="*/ 396517 h 431764"/>
                    <a:gd name="connsiteX217" fmla="*/ 19396 w 270693"/>
                    <a:gd name="connsiteY217" fmla="*/ 393673 h 431764"/>
                    <a:gd name="connsiteX218" fmla="*/ 18777 w 270693"/>
                    <a:gd name="connsiteY218" fmla="*/ 390348 h 431764"/>
                    <a:gd name="connsiteX219" fmla="*/ 18320 w 270693"/>
                    <a:gd name="connsiteY219" fmla="*/ 385613 h 431764"/>
                    <a:gd name="connsiteX220" fmla="*/ 18744 w 270693"/>
                    <a:gd name="connsiteY220" fmla="*/ 381913 h 431764"/>
                    <a:gd name="connsiteX221" fmla="*/ 20570 w 270693"/>
                    <a:gd name="connsiteY221" fmla="*/ 379174 h 431764"/>
                    <a:gd name="connsiteX222" fmla="*/ 21263 w 270693"/>
                    <a:gd name="connsiteY222" fmla="*/ 377422 h 431764"/>
                    <a:gd name="connsiteX223" fmla="*/ 22110 w 270693"/>
                    <a:gd name="connsiteY223" fmla="*/ 372948 h 431764"/>
                    <a:gd name="connsiteX224" fmla="*/ 22298 w 270693"/>
                    <a:gd name="connsiteY224" fmla="*/ 367700 h 431764"/>
                    <a:gd name="connsiteX225" fmla="*/ 21825 w 270693"/>
                    <a:gd name="connsiteY225" fmla="*/ 365907 h 431764"/>
                    <a:gd name="connsiteX226" fmla="*/ 21939 w 270693"/>
                    <a:gd name="connsiteY226" fmla="*/ 364717 h 431764"/>
                    <a:gd name="connsiteX227" fmla="*/ 23390 w 270693"/>
                    <a:gd name="connsiteY227" fmla="*/ 364717 h 431764"/>
                    <a:gd name="connsiteX228" fmla="*/ 23080 w 270693"/>
                    <a:gd name="connsiteY228" fmla="*/ 363690 h 431764"/>
                    <a:gd name="connsiteX229" fmla="*/ 22444 w 270693"/>
                    <a:gd name="connsiteY229" fmla="*/ 363136 h 431764"/>
                    <a:gd name="connsiteX230" fmla="*/ 21735 w 270693"/>
                    <a:gd name="connsiteY230" fmla="*/ 361970 h 431764"/>
                    <a:gd name="connsiteX231" fmla="*/ 22339 w 270693"/>
                    <a:gd name="connsiteY231" fmla="*/ 361351 h 431764"/>
                    <a:gd name="connsiteX232" fmla="*/ 24066 w 270693"/>
                    <a:gd name="connsiteY232" fmla="*/ 361310 h 431764"/>
                    <a:gd name="connsiteX233" fmla="*/ 24213 w 270693"/>
                    <a:gd name="connsiteY233" fmla="*/ 360919 h 431764"/>
                    <a:gd name="connsiteX234" fmla="*/ 24408 w 270693"/>
                    <a:gd name="connsiteY234" fmla="*/ 360357 h 431764"/>
                    <a:gd name="connsiteX235" fmla="*/ 23064 w 270693"/>
                    <a:gd name="connsiteY235" fmla="*/ 357309 h 431764"/>
                    <a:gd name="connsiteX236" fmla="*/ 22909 w 270693"/>
                    <a:gd name="connsiteY236" fmla="*/ 355842 h 431764"/>
                    <a:gd name="connsiteX237" fmla="*/ 21042 w 270693"/>
                    <a:gd name="connsiteY237" fmla="*/ 351416 h 431764"/>
                    <a:gd name="connsiteX238" fmla="*/ 18915 w 270693"/>
                    <a:gd name="connsiteY238" fmla="*/ 347211 h 431764"/>
                    <a:gd name="connsiteX239" fmla="*/ 15721 w 270693"/>
                    <a:gd name="connsiteY239" fmla="*/ 344171 h 431764"/>
                    <a:gd name="connsiteX240" fmla="*/ 16862 w 270693"/>
                    <a:gd name="connsiteY240" fmla="*/ 339151 h 431764"/>
                    <a:gd name="connsiteX241" fmla="*/ 18149 w 270693"/>
                    <a:gd name="connsiteY241" fmla="*/ 334612 h 431764"/>
                    <a:gd name="connsiteX242" fmla="*/ 17897 w 270693"/>
                    <a:gd name="connsiteY242" fmla="*/ 332428 h 431764"/>
                    <a:gd name="connsiteX243" fmla="*/ 17400 w 270693"/>
                    <a:gd name="connsiteY243" fmla="*/ 329763 h 431764"/>
                    <a:gd name="connsiteX244" fmla="*/ 13488 w 270693"/>
                    <a:gd name="connsiteY244" fmla="*/ 326837 h 431764"/>
                    <a:gd name="connsiteX245" fmla="*/ 12909 w 270693"/>
                    <a:gd name="connsiteY245" fmla="*/ 322713 h 431764"/>
                    <a:gd name="connsiteX246" fmla="*/ 11955 w 270693"/>
                    <a:gd name="connsiteY246" fmla="*/ 318280 h 431764"/>
                    <a:gd name="connsiteX247" fmla="*/ 12306 w 270693"/>
                    <a:gd name="connsiteY247" fmla="*/ 315558 h 431764"/>
                    <a:gd name="connsiteX248" fmla="*/ 12942 w 270693"/>
                    <a:gd name="connsiteY248" fmla="*/ 313479 h 431764"/>
                    <a:gd name="connsiteX249" fmla="*/ 14229 w 270693"/>
                    <a:gd name="connsiteY249" fmla="*/ 311409 h 431764"/>
                    <a:gd name="connsiteX250" fmla="*/ 20725 w 270693"/>
                    <a:gd name="connsiteY250" fmla="*/ 304849 h 431764"/>
                    <a:gd name="connsiteX251" fmla="*/ 21124 w 270693"/>
                    <a:gd name="connsiteY251" fmla="*/ 301426 h 431764"/>
                    <a:gd name="connsiteX252" fmla="*/ 25517 w 270693"/>
                    <a:gd name="connsiteY252" fmla="*/ 301173 h 431764"/>
                    <a:gd name="connsiteX253" fmla="*/ 23488 w 270693"/>
                    <a:gd name="connsiteY253" fmla="*/ 298109 h 431764"/>
                    <a:gd name="connsiteX254" fmla="*/ 22999 w 270693"/>
                    <a:gd name="connsiteY254" fmla="*/ 296381 h 431764"/>
                    <a:gd name="connsiteX255" fmla="*/ 22893 w 270693"/>
                    <a:gd name="connsiteY255" fmla="*/ 294368 h 431764"/>
                    <a:gd name="connsiteX256" fmla="*/ 29225 w 270693"/>
                    <a:gd name="connsiteY256" fmla="*/ 292991 h 431764"/>
                    <a:gd name="connsiteX257" fmla="*/ 31588 w 270693"/>
                    <a:gd name="connsiteY257" fmla="*/ 294116 h 431764"/>
                    <a:gd name="connsiteX258" fmla="*/ 37163 w 270693"/>
                    <a:gd name="connsiteY258" fmla="*/ 292722 h 431764"/>
                    <a:gd name="connsiteX259" fmla="*/ 42102 w 270693"/>
                    <a:gd name="connsiteY259" fmla="*/ 289976 h 431764"/>
                    <a:gd name="connsiteX260" fmla="*/ 42020 w 270693"/>
                    <a:gd name="connsiteY260" fmla="*/ 288525 h 431764"/>
                    <a:gd name="connsiteX261" fmla="*/ 41246 w 270693"/>
                    <a:gd name="connsiteY261" fmla="*/ 287221 h 431764"/>
                    <a:gd name="connsiteX262" fmla="*/ 40202 w 270693"/>
                    <a:gd name="connsiteY262" fmla="*/ 284703 h 431764"/>
                    <a:gd name="connsiteX263" fmla="*/ 40953 w 270693"/>
                    <a:gd name="connsiteY263" fmla="*/ 284010 h 431764"/>
                    <a:gd name="connsiteX264" fmla="*/ 42753 w 270693"/>
                    <a:gd name="connsiteY264" fmla="*/ 284523 h 431764"/>
                    <a:gd name="connsiteX265" fmla="*/ 41922 w 270693"/>
                    <a:gd name="connsiteY265" fmla="*/ 283277 h 431764"/>
                    <a:gd name="connsiteX266" fmla="*/ 42077 w 270693"/>
                    <a:gd name="connsiteY266" fmla="*/ 281956 h 431764"/>
                    <a:gd name="connsiteX267" fmla="*/ 44041 w 270693"/>
                    <a:gd name="connsiteY267" fmla="*/ 282510 h 431764"/>
                    <a:gd name="connsiteX268" fmla="*/ 47260 w 270693"/>
                    <a:gd name="connsiteY268" fmla="*/ 278827 h 431764"/>
                    <a:gd name="connsiteX269" fmla="*/ 47383 w 270693"/>
                    <a:gd name="connsiteY269" fmla="*/ 276015 h 431764"/>
                    <a:gd name="connsiteX270" fmla="*/ 52940 w 270693"/>
                    <a:gd name="connsiteY270" fmla="*/ 274540 h 431764"/>
                    <a:gd name="connsiteX271" fmla="*/ 59338 w 270693"/>
                    <a:gd name="connsiteY271" fmla="*/ 268786 h 431764"/>
                    <a:gd name="connsiteX272" fmla="*/ 62296 w 270693"/>
                    <a:gd name="connsiteY272" fmla="*/ 266993 h 431764"/>
                    <a:gd name="connsiteX273" fmla="*/ 65149 w 270693"/>
                    <a:gd name="connsiteY273" fmla="*/ 265698 h 431764"/>
                    <a:gd name="connsiteX274" fmla="*/ 71237 w 270693"/>
                    <a:gd name="connsiteY274" fmla="*/ 259936 h 431764"/>
                    <a:gd name="connsiteX275" fmla="*/ 73829 w 270693"/>
                    <a:gd name="connsiteY275" fmla="*/ 259667 h 431764"/>
                    <a:gd name="connsiteX276" fmla="*/ 75173 w 270693"/>
                    <a:gd name="connsiteY276" fmla="*/ 255779 h 431764"/>
                    <a:gd name="connsiteX277" fmla="*/ 80348 w 270693"/>
                    <a:gd name="connsiteY277" fmla="*/ 250604 h 431764"/>
                    <a:gd name="connsiteX278" fmla="*/ 81905 w 270693"/>
                    <a:gd name="connsiteY278" fmla="*/ 249936 h 431764"/>
                    <a:gd name="connsiteX279" fmla="*/ 84334 w 270693"/>
                    <a:gd name="connsiteY279" fmla="*/ 245266 h 431764"/>
                    <a:gd name="connsiteX280" fmla="*/ 90674 w 270693"/>
                    <a:gd name="connsiteY280" fmla="*/ 239863 h 431764"/>
                    <a:gd name="connsiteX281" fmla="*/ 94708 w 270693"/>
                    <a:gd name="connsiteY281" fmla="*/ 232952 h 431764"/>
                    <a:gd name="connsiteX282" fmla="*/ 96925 w 270693"/>
                    <a:gd name="connsiteY282" fmla="*/ 230499 h 431764"/>
                    <a:gd name="connsiteX283" fmla="*/ 97609 w 270693"/>
                    <a:gd name="connsiteY283" fmla="*/ 227875 h 431764"/>
                    <a:gd name="connsiteX284" fmla="*/ 100095 w 270693"/>
                    <a:gd name="connsiteY284" fmla="*/ 227655 h 431764"/>
                    <a:gd name="connsiteX285" fmla="*/ 102312 w 270693"/>
                    <a:gd name="connsiteY285" fmla="*/ 225731 h 431764"/>
                    <a:gd name="connsiteX286" fmla="*/ 107144 w 270693"/>
                    <a:gd name="connsiteY286" fmla="*/ 224395 h 431764"/>
                    <a:gd name="connsiteX287" fmla="*/ 111904 w 270693"/>
                    <a:gd name="connsiteY287" fmla="*/ 224761 h 431764"/>
                    <a:gd name="connsiteX288" fmla="*/ 113892 w 270693"/>
                    <a:gd name="connsiteY288" fmla="*/ 225674 h 431764"/>
                    <a:gd name="connsiteX289" fmla="*/ 115726 w 270693"/>
                    <a:gd name="connsiteY289" fmla="*/ 225381 h 431764"/>
                    <a:gd name="connsiteX290" fmla="*/ 115547 w 270693"/>
                    <a:gd name="connsiteY290" fmla="*/ 223026 h 431764"/>
                    <a:gd name="connsiteX291" fmla="*/ 114235 w 270693"/>
                    <a:gd name="connsiteY291" fmla="*/ 221567 h 431764"/>
                    <a:gd name="connsiteX292" fmla="*/ 115303 w 270693"/>
                    <a:gd name="connsiteY292" fmla="*/ 220165 h 431764"/>
                    <a:gd name="connsiteX293" fmla="*/ 117829 w 270693"/>
                    <a:gd name="connsiteY293" fmla="*/ 219106 h 431764"/>
                    <a:gd name="connsiteX294" fmla="*/ 117576 w 270693"/>
                    <a:gd name="connsiteY294" fmla="*/ 216767 h 431764"/>
                    <a:gd name="connsiteX295" fmla="*/ 117030 w 270693"/>
                    <a:gd name="connsiteY295" fmla="*/ 215357 h 431764"/>
                    <a:gd name="connsiteX296" fmla="*/ 114936 w 270693"/>
                    <a:gd name="connsiteY296" fmla="*/ 213474 h 431764"/>
                    <a:gd name="connsiteX297" fmla="*/ 115979 w 270693"/>
                    <a:gd name="connsiteY297" fmla="*/ 209261 h 431764"/>
                    <a:gd name="connsiteX298" fmla="*/ 116223 w 270693"/>
                    <a:gd name="connsiteY298" fmla="*/ 204640 h 431764"/>
                    <a:gd name="connsiteX299" fmla="*/ 117218 w 270693"/>
                    <a:gd name="connsiteY299" fmla="*/ 199285 h 431764"/>
                    <a:gd name="connsiteX300" fmla="*/ 114593 w 270693"/>
                    <a:gd name="connsiteY300" fmla="*/ 196449 h 431764"/>
                    <a:gd name="connsiteX301" fmla="*/ 104602 w 270693"/>
                    <a:gd name="connsiteY301" fmla="*/ 191617 h 431764"/>
                    <a:gd name="connsiteX302" fmla="*/ 102744 w 270693"/>
                    <a:gd name="connsiteY302" fmla="*/ 191779 h 431764"/>
                    <a:gd name="connsiteX303" fmla="*/ 100527 w 270693"/>
                    <a:gd name="connsiteY303" fmla="*/ 191176 h 431764"/>
                    <a:gd name="connsiteX304" fmla="*/ 98213 w 270693"/>
                    <a:gd name="connsiteY304" fmla="*/ 187509 h 431764"/>
                    <a:gd name="connsiteX305" fmla="*/ 99247 w 270693"/>
                    <a:gd name="connsiteY305" fmla="*/ 184339 h 431764"/>
                    <a:gd name="connsiteX306" fmla="*/ 99362 w 270693"/>
                    <a:gd name="connsiteY306" fmla="*/ 183173 h 431764"/>
                    <a:gd name="connsiteX307" fmla="*/ 98465 w 270693"/>
                    <a:gd name="connsiteY307" fmla="*/ 183214 h 431764"/>
                    <a:gd name="connsiteX308" fmla="*/ 97006 w 270693"/>
                    <a:gd name="connsiteY308" fmla="*/ 184754 h 431764"/>
                    <a:gd name="connsiteX309" fmla="*/ 93820 w 270693"/>
                    <a:gd name="connsiteY309" fmla="*/ 186515 h 431764"/>
                    <a:gd name="connsiteX310" fmla="*/ 89679 w 270693"/>
                    <a:gd name="connsiteY310" fmla="*/ 185162 h 431764"/>
                    <a:gd name="connsiteX311" fmla="*/ 87642 w 270693"/>
                    <a:gd name="connsiteY311" fmla="*/ 185463 h 431764"/>
                    <a:gd name="connsiteX312" fmla="*/ 85010 w 270693"/>
                    <a:gd name="connsiteY312" fmla="*/ 177615 h 431764"/>
                    <a:gd name="connsiteX313" fmla="*/ 83657 w 270693"/>
                    <a:gd name="connsiteY313" fmla="*/ 174616 h 431764"/>
                    <a:gd name="connsiteX314" fmla="*/ 81481 w 270693"/>
                    <a:gd name="connsiteY314" fmla="*/ 170875 h 431764"/>
                    <a:gd name="connsiteX315" fmla="*/ 77618 w 270693"/>
                    <a:gd name="connsiteY315" fmla="*/ 169042 h 431764"/>
                    <a:gd name="connsiteX316" fmla="*/ 76860 w 270693"/>
                    <a:gd name="connsiteY316" fmla="*/ 168007 h 431764"/>
                    <a:gd name="connsiteX317" fmla="*/ 76347 w 270693"/>
                    <a:gd name="connsiteY317" fmla="*/ 166418 h 431764"/>
                    <a:gd name="connsiteX318" fmla="*/ 76175 w 270693"/>
                    <a:gd name="connsiteY318" fmla="*/ 164217 h 431764"/>
                    <a:gd name="connsiteX319" fmla="*/ 75695 w 270693"/>
                    <a:gd name="connsiteY319" fmla="*/ 160949 h 431764"/>
                    <a:gd name="connsiteX320" fmla="*/ 75890 w 270693"/>
                    <a:gd name="connsiteY320" fmla="*/ 158268 h 431764"/>
                    <a:gd name="connsiteX321" fmla="*/ 76363 w 270693"/>
                    <a:gd name="connsiteY321" fmla="*/ 156670 h 431764"/>
                    <a:gd name="connsiteX322" fmla="*/ 78034 w 270693"/>
                    <a:gd name="connsiteY322" fmla="*/ 155595 h 431764"/>
                    <a:gd name="connsiteX323" fmla="*/ 80438 w 270693"/>
                    <a:gd name="connsiteY323" fmla="*/ 152563 h 431764"/>
                    <a:gd name="connsiteX324" fmla="*/ 80943 w 270693"/>
                    <a:gd name="connsiteY324" fmla="*/ 150354 h 431764"/>
                    <a:gd name="connsiteX325" fmla="*/ 81147 w 270693"/>
                    <a:gd name="connsiteY325" fmla="*/ 146972 h 431764"/>
                    <a:gd name="connsiteX326" fmla="*/ 82255 w 270693"/>
                    <a:gd name="connsiteY326" fmla="*/ 144014 h 431764"/>
                    <a:gd name="connsiteX327" fmla="*/ 83486 w 270693"/>
                    <a:gd name="connsiteY327" fmla="*/ 142523 h 431764"/>
                    <a:gd name="connsiteX328" fmla="*/ 83176 w 270693"/>
                    <a:gd name="connsiteY328" fmla="*/ 141333 h 431764"/>
                    <a:gd name="connsiteX329" fmla="*/ 82329 w 270693"/>
                    <a:gd name="connsiteY329" fmla="*/ 139629 h 431764"/>
                    <a:gd name="connsiteX330" fmla="*/ 80536 w 270693"/>
                    <a:gd name="connsiteY330" fmla="*/ 137217 h 431764"/>
                    <a:gd name="connsiteX331" fmla="*/ 77798 w 270693"/>
                    <a:gd name="connsiteY331" fmla="*/ 134267 h 431764"/>
                    <a:gd name="connsiteX332" fmla="*/ 75768 w 270693"/>
                    <a:gd name="connsiteY332" fmla="*/ 131447 h 431764"/>
                    <a:gd name="connsiteX333" fmla="*/ 74880 w 270693"/>
                    <a:gd name="connsiteY333" fmla="*/ 128807 h 431764"/>
                    <a:gd name="connsiteX334" fmla="*/ 74424 w 270693"/>
                    <a:gd name="connsiteY334" fmla="*/ 126443 h 431764"/>
                    <a:gd name="connsiteX335" fmla="*/ 74497 w 270693"/>
                    <a:gd name="connsiteY335" fmla="*/ 124300 h 431764"/>
                    <a:gd name="connsiteX336" fmla="*/ 75263 w 270693"/>
                    <a:gd name="connsiteY336" fmla="*/ 122841 h 431764"/>
                    <a:gd name="connsiteX337" fmla="*/ 77838 w 270693"/>
                    <a:gd name="connsiteY337" fmla="*/ 120991 h 431764"/>
                    <a:gd name="connsiteX338" fmla="*/ 78188 w 270693"/>
                    <a:gd name="connsiteY338" fmla="*/ 120200 h 431764"/>
                    <a:gd name="connsiteX339" fmla="*/ 77170 w 270693"/>
                    <a:gd name="connsiteY339" fmla="*/ 116134 h 431764"/>
                    <a:gd name="connsiteX340" fmla="*/ 75361 w 270693"/>
                    <a:gd name="connsiteY340" fmla="*/ 115392 h 431764"/>
                    <a:gd name="connsiteX341" fmla="*/ 72296 w 270693"/>
                    <a:gd name="connsiteY341" fmla="*/ 115001 h 431764"/>
                    <a:gd name="connsiteX342" fmla="*/ 70576 w 270693"/>
                    <a:gd name="connsiteY342" fmla="*/ 114968 h 431764"/>
                    <a:gd name="connsiteX343" fmla="*/ 70251 w 270693"/>
                    <a:gd name="connsiteY343" fmla="*/ 114520 h 431764"/>
                    <a:gd name="connsiteX344" fmla="*/ 70161 w 270693"/>
                    <a:gd name="connsiteY344" fmla="*/ 113697 h 431764"/>
                    <a:gd name="connsiteX345" fmla="*/ 70503 w 270693"/>
                    <a:gd name="connsiteY345" fmla="*/ 112026 h 431764"/>
                    <a:gd name="connsiteX346" fmla="*/ 71473 w 270693"/>
                    <a:gd name="connsiteY346" fmla="*/ 110103 h 431764"/>
                    <a:gd name="connsiteX347" fmla="*/ 72296 w 270693"/>
                    <a:gd name="connsiteY347" fmla="*/ 108889 h 431764"/>
                    <a:gd name="connsiteX348" fmla="*/ 72394 w 270693"/>
                    <a:gd name="connsiteY348" fmla="*/ 107854 h 431764"/>
                    <a:gd name="connsiteX349" fmla="*/ 71375 w 270693"/>
                    <a:gd name="connsiteY349" fmla="*/ 104300 h 431764"/>
                    <a:gd name="connsiteX350" fmla="*/ 71065 w 270693"/>
                    <a:gd name="connsiteY350" fmla="*/ 99932 h 431764"/>
                    <a:gd name="connsiteX351" fmla="*/ 71424 w 270693"/>
                    <a:gd name="connsiteY351" fmla="*/ 96517 h 431764"/>
                    <a:gd name="connsiteX352" fmla="*/ 74660 w 270693"/>
                    <a:gd name="connsiteY352" fmla="*/ 93999 h 431764"/>
                    <a:gd name="connsiteX353" fmla="*/ 74814 w 270693"/>
                    <a:gd name="connsiteY353" fmla="*/ 93078 h 431764"/>
                    <a:gd name="connsiteX354" fmla="*/ 70732 w 270693"/>
                    <a:gd name="connsiteY354" fmla="*/ 90340 h 431764"/>
                    <a:gd name="connsiteX355" fmla="*/ 67797 w 270693"/>
                    <a:gd name="connsiteY355" fmla="*/ 87227 h 431764"/>
                    <a:gd name="connsiteX356" fmla="*/ 66877 w 270693"/>
                    <a:gd name="connsiteY356" fmla="*/ 85409 h 431764"/>
                    <a:gd name="connsiteX357" fmla="*/ 63503 w 270693"/>
                    <a:gd name="connsiteY357" fmla="*/ 85132 h 431764"/>
                    <a:gd name="connsiteX358" fmla="*/ 61400 w 270693"/>
                    <a:gd name="connsiteY358" fmla="*/ 79851 h 431764"/>
                    <a:gd name="connsiteX359" fmla="*/ 58368 w 270693"/>
                    <a:gd name="connsiteY359" fmla="*/ 77284 h 431764"/>
                    <a:gd name="connsiteX360" fmla="*/ 55353 w 270693"/>
                    <a:gd name="connsiteY360" fmla="*/ 75059 h 431764"/>
                    <a:gd name="connsiteX361" fmla="*/ 53576 w 270693"/>
                    <a:gd name="connsiteY361" fmla="*/ 74024 h 431764"/>
                    <a:gd name="connsiteX362" fmla="*/ 43161 w 270693"/>
                    <a:gd name="connsiteY362" fmla="*/ 70821 h 431764"/>
                    <a:gd name="connsiteX363" fmla="*/ 39013 w 270693"/>
                    <a:gd name="connsiteY363" fmla="*/ 70210 h 431764"/>
                    <a:gd name="connsiteX364" fmla="*/ 34107 w 270693"/>
                    <a:gd name="connsiteY364" fmla="*/ 68344 h 431764"/>
                    <a:gd name="connsiteX365" fmla="*/ 30456 w 270693"/>
                    <a:gd name="connsiteY365" fmla="*/ 65997 h 431764"/>
                    <a:gd name="connsiteX366" fmla="*/ 27326 w 270693"/>
                    <a:gd name="connsiteY366" fmla="*/ 64489 h 431764"/>
                    <a:gd name="connsiteX367" fmla="*/ 24645 w 270693"/>
                    <a:gd name="connsiteY367" fmla="*/ 62623 h 431764"/>
                    <a:gd name="connsiteX368" fmla="*/ 20912 w 270693"/>
                    <a:gd name="connsiteY368" fmla="*/ 60879 h 431764"/>
                    <a:gd name="connsiteX369" fmla="*/ 19845 w 270693"/>
                    <a:gd name="connsiteY369" fmla="*/ 59395 h 431764"/>
                    <a:gd name="connsiteX370" fmla="*/ 15811 w 270693"/>
                    <a:gd name="connsiteY370" fmla="*/ 56624 h 431764"/>
                    <a:gd name="connsiteX371" fmla="*/ 13920 w 270693"/>
                    <a:gd name="connsiteY371" fmla="*/ 54799 h 431764"/>
                    <a:gd name="connsiteX372" fmla="*/ 7351 w 270693"/>
                    <a:gd name="connsiteY372" fmla="*/ 51368 h 431764"/>
                    <a:gd name="connsiteX373" fmla="*/ 7115 w 270693"/>
                    <a:gd name="connsiteY373" fmla="*/ 50007 h 431764"/>
                    <a:gd name="connsiteX374" fmla="*/ 7066 w 270693"/>
                    <a:gd name="connsiteY374" fmla="*/ 48695 h 431764"/>
                    <a:gd name="connsiteX375" fmla="*/ 6764 w 270693"/>
                    <a:gd name="connsiteY375" fmla="*/ 48149 h 431764"/>
                    <a:gd name="connsiteX376" fmla="*/ 0 w 270693"/>
                    <a:gd name="connsiteY376" fmla="*/ 45630 h 431764"/>
                    <a:gd name="connsiteX377" fmla="*/ 1337 w 270693"/>
                    <a:gd name="connsiteY377" fmla="*/ 44196 h 431764"/>
                    <a:gd name="connsiteX378" fmla="*/ 6626 w 270693"/>
                    <a:gd name="connsiteY378" fmla="*/ 44115 h 431764"/>
                    <a:gd name="connsiteX379" fmla="*/ 11002 w 270693"/>
                    <a:gd name="connsiteY379" fmla="*/ 45418 h 431764"/>
                    <a:gd name="connsiteX380" fmla="*/ 11955 w 270693"/>
                    <a:gd name="connsiteY380" fmla="*/ 44864 h 431764"/>
                    <a:gd name="connsiteX381" fmla="*/ 12534 w 270693"/>
                    <a:gd name="connsiteY381" fmla="*/ 43699 h 431764"/>
                    <a:gd name="connsiteX382" fmla="*/ 10668 w 270693"/>
                    <a:gd name="connsiteY382" fmla="*/ 39029 h 431764"/>
                    <a:gd name="connsiteX383" fmla="*/ 11002 w 270693"/>
                    <a:gd name="connsiteY383" fmla="*/ 37815 h 431764"/>
                    <a:gd name="connsiteX384" fmla="*/ 12925 w 270693"/>
                    <a:gd name="connsiteY384" fmla="*/ 36340 h 431764"/>
                    <a:gd name="connsiteX385" fmla="*/ 15982 w 270693"/>
                    <a:gd name="connsiteY385" fmla="*/ 35174 h 431764"/>
                    <a:gd name="connsiteX386" fmla="*/ 20806 w 270693"/>
                    <a:gd name="connsiteY386" fmla="*/ 35003 h 431764"/>
                    <a:gd name="connsiteX387" fmla="*/ 24091 w 270693"/>
                    <a:gd name="connsiteY387" fmla="*/ 35174 h 431764"/>
                    <a:gd name="connsiteX388" fmla="*/ 24791 w 270693"/>
                    <a:gd name="connsiteY388" fmla="*/ 35305 h 431764"/>
                    <a:gd name="connsiteX389" fmla="*/ 29697 w 270693"/>
                    <a:gd name="connsiteY389" fmla="*/ 40439 h 431764"/>
                    <a:gd name="connsiteX390" fmla="*/ 33911 w 270693"/>
                    <a:gd name="connsiteY390" fmla="*/ 45443 h 431764"/>
                    <a:gd name="connsiteX391" fmla="*/ 36144 w 270693"/>
                    <a:gd name="connsiteY391" fmla="*/ 47578 h 431764"/>
                    <a:gd name="connsiteX392" fmla="*/ 41621 w 270693"/>
                    <a:gd name="connsiteY392" fmla="*/ 53617 h 431764"/>
                    <a:gd name="connsiteX393" fmla="*/ 43666 w 270693"/>
                    <a:gd name="connsiteY393" fmla="*/ 57097 h 431764"/>
                    <a:gd name="connsiteX394" fmla="*/ 44359 w 270693"/>
                    <a:gd name="connsiteY394" fmla="*/ 59591 h 431764"/>
                    <a:gd name="connsiteX395" fmla="*/ 46584 w 270693"/>
                    <a:gd name="connsiteY395" fmla="*/ 59566 h 431764"/>
                    <a:gd name="connsiteX396" fmla="*/ 54277 w 270693"/>
                    <a:gd name="connsiteY396" fmla="*/ 60667 h 431764"/>
                    <a:gd name="connsiteX397" fmla="*/ 60740 w 270693"/>
                    <a:gd name="connsiteY397" fmla="*/ 61588 h 431764"/>
                    <a:gd name="connsiteX398" fmla="*/ 62541 w 270693"/>
                    <a:gd name="connsiteY398" fmla="*/ 62973 h 431764"/>
                    <a:gd name="connsiteX399" fmla="*/ 67007 w 270693"/>
                    <a:gd name="connsiteY399" fmla="*/ 62696 h 431764"/>
                    <a:gd name="connsiteX400" fmla="*/ 70446 w 270693"/>
                    <a:gd name="connsiteY400" fmla="*/ 61441 h 431764"/>
                    <a:gd name="connsiteX401" fmla="*/ 76510 w 270693"/>
                    <a:gd name="connsiteY401" fmla="*/ 59852 h 431764"/>
                    <a:gd name="connsiteX402" fmla="*/ 78131 w 270693"/>
                    <a:gd name="connsiteY402" fmla="*/ 57896 h 431764"/>
                    <a:gd name="connsiteX403" fmla="*/ 80153 w 270693"/>
                    <a:gd name="connsiteY403" fmla="*/ 55809 h 431764"/>
                    <a:gd name="connsiteX404" fmla="*/ 83714 w 270693"/>
                    <a:gd name="connsiteY404" fmla="*/ 56135 h 431764"/>
                    <a:gd name="connsiteX405" fmla="*/ 87602 w 270693"/>
                    <a:gd name="connsiteY405" fmla="*/ 57790 h 431764"/>
                    <a:gd name="connsiteX406" fmla="*/ 92010 w 270693"/>
                    <a:gd name="connsiteY406" fmla="*/ 59958 h 431764"/>
                    <a:gd name="connsiteX407" fmla="*/ 95938 w 270693"/>
                    <a:gd name="connsiteY407" fmla="*/ 60968 h 431764"/>
                    <a:gd name="connsiteX408" fmla="*/ 101220 w 270693"/>
                    <a:gd name="connsiteY408" fmla="*/ 62533 h 431764"/>
                    <a:gd name="connsiteX409" fmla="*/ 103673 w 270693"/>
                    <a:gd name="connsiteY409" fmla="*/ 64570 h 431764"/>
                    <a:gd name="connsiteX410" fmla="*/ 107128 w 270693"/>
                    <a:gd name="connsiteY410" fmla="*/ 65149 h 431764"/>
                    <a:gd name="connsiteX411" fmla="*/ 110730 w 270693"/>
                    <a:gd name="connsiteY411" fmla="*/ 63111 h 431764"/>
                    <a:gd name="connsiteX412" fmla="*/ 112858 w 270693"/>
                    <a:gd name="connsiteY412" fmla="*/ 57586 h 431764"/>
                    <a:gd name="connsiteX413" fmla="*/ 114756 w 270693"/>
                    <a:gd name="connsiteY413" fmla="*/ 55125 h 431764"/>
                    <a:gd name="connsiteX414" fmla="*/ 117429 w 270693"/>
                    <a:gd name="connsiteY414" fmla="*/ 53316 h 431764"/>
                    <a:gd name="connsiteX415" fmla="*/ 120494 w 270693"/>
                    <a:gd name="connsiteY415" fmla="*/ 52509 h 431764"/>
                    <a:gd name="connsiteX416" fmla="*/ 122841 w 270693"/>
                    <a:gd name="connsiteY416" fmla="*/ 52223 h 431764"/>
                    <a:gd name="connsiteX417" fmla="*/ 124609 w 270693"/>
                    <a:gd name="connsiteY417" fmla="*/ 50805 h 431764"/>
                    <a:gd name="connsiteX418" fmla="*/ 127136 w 270693"/>
                    <a:gd name="connsiteY418" fmla="*/ 47684 h 431764"/>
                    <a:gd name="connsiteX419" fmla="*/ 127625 w 270693"/>
                    <a:gd name="connsiteY419" fmla="*/ 43894 h 431764"/>
                    <a:gd name="connsiteX420" fmla="*/ 127136 w 270693"/>
                    <a:gd name="connsiteY420" fmla="*/ 37032 h 431764"/>
                    <a:gd name="connsiteX421" fmla="*/ 127600 w 270693"/>
                    <a:gd name="connsiteY421" fmla="*/ 34775 h 431764"/>
                    <a:gd name="connsiteX422" fmla="*/ 129662 w 270693"/>
                    <a:gd name="connsiteY422" fmla="*/ 31067 h 431764"/>
                    <a:gd name="connsiteX423" fmla="*/ 132417 w 270693"/>
                    <a:gd name="connsiteY423" fmla="*/ 21222 h 431764"/>
                    <a:gd name="connsiteX424" fmla="*/ 133656 w 270693"/>
                    <a:gd name="connsiteY424" fmla="*/ 18378 h 431764"/>
                    <a:gd name="connsiteX425" fmla="*/ 135171 w 270693"/>
                    <a:gd name="connsiteY425" fmla="*/ 16650 h 431764"/>
                    <a:gd name="connsiteX426" fmla="*/ 137250 w 270693"/>
                    <a:gd name="connsiteY426" fmla="*/ 15615 h 431764"/>
                    <a:gd name="connsiteX427" fmla="*/ 141023 w 270693"/>
                    <a:gd name="connsiteY427" fmla="*/ 12624 h 431764"/>
                    <a:gd name="connsiteX428" fmla="*/ 146402 w 270693"/>
                    <a:gd name="connsiteY428" fmla="*/ 6691 h 431764"/>
                    <a:gd name="connsiteX429" fmla="*/ 147869 w 270693"/>
                    <a:gd name="connsiteY429" fmla="*/ 6186 h 431764"/>
                    <a:gd name="connsiteX430" fmla="*/ 151740 w 270693"/>
                    <a:gd name="connsiteY430" fmla="*/ 5892 h 431764"/>
                    <a:gd name="connsiteX431" fmla="*/ 156557 w 270693"/>
                    <a:gd name="connsiteY431" fmla="*/ 6104 h 431764"/>
                    <a:gd name="connsiteX432" fmla="*/ 160876 w 270693"/>
                    <a:gd name="connsiteY432" fmla="*/ 7147 h 431764"/>
                    <a:gd name="connsiteX433" fmla="*/ 161348 w 270693"/>
                    <a:gd name="connsiteY433" fmla="*/ 7066 h 431764"/>
                    <a:gd name="connsiteX434" fmla="*/ 163280 w 270693"/>
                    <a:gd name="connsiteY434" fmla="*/ 6528 h 431764"/>
                    <a:gd name="connsiteX435" fmla="*/ 166817 w 270693"/>
                    <a:gd name="connsiteY435" fmla="*/ 4678 h 431764"/>
                    <a:gd name="connsiteX436" fmla="*/ 172856 w 270693"/>
                    <a:gd name="connsiteY436" fmla="*/ 1011 h 431764"/>
                    <a:gd name="connsiteX437" fmla="*/ 176735 w 270693"/>
                    <a:gd name="connsiteY437" fmla="*/ 0 h 431764"/>
                    <a:gd name="connsiteX438" fmla="*/ 180264 w 270693"/>
                    <a:gd name="connsiteY438" fmla="*/ 139 h 431764"/>
                    <a:gd name="connsiteX439" fmla="*/ 184143 w 270693"/>
                    <a:gd name="connsiteY439" fmla="*/ 4165 h 43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Lst>
                  <a:rect l="l" t="t" r="r" b="b"/>
                  <a:pathLst>
                    <a:path w="270693" h="431764">
                      <a:moveTo>
                        <a:pt x="184143" y="4165"/>
                      </a:moveTo>
                      <a:lnTo>
                        <a:pt x="189652" y="8631"/>
                      </a:lnTo>
                      <a:lnTo>
                        <a:pt x="193190" y="10807"/>
                      </a:lnTo>
                      <a:lnTo>
                        <a:pt x="202831" y="14865"/>
                      </a:lnTo>
                      <a:lnTo>
                        <a:pt x="211290" y="17538"/>
                      </a:lnTo>
                      <a:lnTo>
                        <a:pt x="216049" y="26340"/>
                      </a:lnTo>
                      <a:lnTo>
                        <a:pt x="213711" y="29844"/>
                      </a:lnTo>
                      <a:lnTo>
                        <a:pt x="212545" y="31050"/>
                      </a:lnTo>
                      <a:lnTo>
                        <a:pt x="208405" y="34539"/>
                      </a:lnTo>
                      <a:lnTo>
                        <a:pt x="203963" y="39445"/>
                      </a:lnTo>
                      <a:lnTo>
                        <a:pt x="203621" y="42004"/>
                      </a:lnTo>
                      <a:lnTo>
                        <a:pt x="205096" y="44579"/>
                      </a:lnTo>
                      <a:lnTo>
                        <a:pt x="206938" y="46282"/>
                      </a:lnTo>
                      <a:lnTo>
                        <a:pt x="205275" y="46820"/>
                      </a:lnTo>
                      <a:lnTo>
                        <a:pt x="200149" y="48964"/>
                      </a:lnTo>
                      <a:lnTo>
                        <a:pt x="197012" y="50414"/>
                      </a:lnTo>
                      <a:lnTo>
                        <a:pt x="193246" y="51474"/>
                      </a:lnTo>
                      <a:lnTo>
                        <a:pt x="194224" y="52867"/>
                      </a:lnTo>
                      <a:lnTo>
                        <a:pt x="200492" y="53169"/>
                      </a:lnTo>
                      <a:lnTo>
                        <a:pt x="201461" y="53576"/>
                      </a:lnTo>
                      <a:lnTo>
                        <a:pt x="202146" y="54293"/>
                      </a:lnTo>
                      <a:lnTo>
                        <a:pt x="202276" y="55443"/>
                      </a:lnTo>
                      <a:lnTo>
                        <a:pt x="201633" y="57309"/>
                      </a:lnTo>
                      <a:lnTo>
                        <a:pt x="194868" y="67569"/>
                      </a:lnTo>
                      <a:lnTo>
                        <a:pt x="194664" y="69737"/>
                      </a:lnTo>
                      <a:lnTo>
                        <a:pt x="196873" y="75727"/>
                      </a:lnTo>
                      <a:lnTo>
                        <a:pt x="199978" y="82793"/>
                      </a:lnTo>
                      <a:lnTo>
                        <a:pt x="209342" y="85923"/>
                      </a:lnTo>
                      <a:lnTo>
                        <a:pt x="216310" y="88376"/>
                      </a:lnTo>
                      <a:lnTo>
                        <a:pt x="220792" y="94154"/>
                      </a:lnTo>
                      <a:lnTo>
                        <a:pt x="228160" y="101766"/>
                      </a:lnTo>
                      <a:lnTo>
                        <a:pt x="232063" y="104610"/>
                      </a:lnTo>
                      <a:lnTo>
                        <a:pt x="232284" y="105482"/>
                      </a:lnTo>
                      <a:lnTo>
                        <a:pt x="231110" y="110722"/>
                      </a:lnTo>
                      <a:lnTo>
                        <a:pt x="226383" y="115963"/>
                      </a:lnTo>
                      <a:lnTo>
                        <a:pt x="221958" y="120380"/>
                      </a:lnTo>
                      <a:lnTo>
                        <a:pt x="217386" y="125685"/>
                      </a:lnTo>
                      <a:lnTo>
                        <a:pt x="213808" y="130208"/>
                      </a:lnTo>
                      <a:lnTo>
                        <a:pt x="209929" y="135620"/>
                      </a:lnTo>
                      <a:lnTo>
                        <a:pt x="209481" y="137372"/>
                      </a:lnTo>
                      <a:lnTo>
                        <a:pt x="209399" y="139026"/>
                      </a:lnTo>
                      <a:lnTo>
                        <a:pt x="210068" y="140860"/>
                      </a:lnTo>
                      <a:lnTo>
                        <a:pt x="215031" y="147461"/>
                      </a:lnTo>
                      <a:lnTo>
                        <a:pt x="216970" y="150827"/>
                      </a:lnTo>
                      <a:lnTo>
                        <a:pt x="219277" y="154462"/>
                      </a:lnTo>
                      <a:lnTo>
                        <a:pt x="221257" y="158423"/>
                      </a:lnTo>
                      <a:lnTo>
                        <a:pt x="222414" y="161968"/>
                      </a:lnTo>
                      <a:lnTo>
                        <a:pt x="224403" y="165415"/>
                      </a:lnTo>
                      <a:lnTo>
                        <a:pt x="225625" y="167184"/>
                      </a:lnTo>
                      <a:lnTo>
                        <a:pt x="227687" y="169653"/>
                      </a:lnTo>
                      <a:lnTo>
                        <a:pt x="230165" y="173320"/>
                      </a:lnTo>
                      <a:lnTo>
                        <a:pt x="230996" y="176214"/>
                      </a:lnTo>
                      <a:lnTo>
                        <a:pt x="234729" y="186270"/>
                      </a:lnTo>
                      <a:lnTo>
                        <a:pt x="235112" y="188829"/>
                      </a:lnTo>
                      <a:lnTo>
                        <a:pt x="234933" y="190720"/>
                      </a:lnTo>
                      <a:lnTo>
                        <a:pt x="233286" y="191193"/>
                      </a:lnTo>
                      <a:lnTo>
                        <a:pt x="229659" y="191494"/>
                      </a:lnTo>
                      <a:lnTo>
                        <a:pt x="225731" y="192733"/>
                      </a:lnTo>
                      <a:lnTo>
                        <a:pt x="225527" y="193149"/>
                      </a:lnTo>
                      <a:lnTo>
                        <a:pt x="228087" y="195512"/>
                      </a:lnTo>
                      <a:lnTo>
                        <a:pt x="225829" y="199554"/>
                      </a:lnTo>
                      <a:lnTo>
                        <a:pt x="225503" y="205324"/>
                      </a:lnTo>
                      <a:lnTo>
                        <a:pt x="223083" y="208348"/>
                      </a:lnTo>
                      <a:lnTo>
                        <a:pt x="222854" y="209049"/>
                      </a:lnTo>
                      <a:lnTo>
                        <a:pt x="222960" y="209636"/>
                      </a:lnTo>
                      <a:lnTo>
                        <a:pt x="223400" y="210100"/>
                      </a:lnTo>
                      <a:lnTo>
                        <a:pt x="227883" y="210907"/>
                      </a:lnTo>
                      <a:lnTo>
                        <a:pt x="228274" y="211730"/>
                      </a:lnTo>
                      <a:lnTo>
                        <a:pt x="228291" y="213425"/>
                      </a:lnTo>
                      <a:lnTo>
                        <a:pt x="227891" y="214990"/>
                      </a:lnTo>
                      <a:lnTo>
                        <a:pt x="225642" y="216147"/>
                      </a:lnTo>
                      <a:lnTo>
                        <a:pt x="223221" y="217867"/>
                      </a:lnTo>
                      <a:lnTo>
                        <a:pt x="222692" y="219440"/>
                      </a:lnTo>
                      <a:lnTo>
                        <a:pt x="222773" y="220850"/>
                      </a:lnTo>
                      <a:lnTo>
                        <a:pt x="223612" y="223229"/>
                      </a:lnTo>
                      <a:lnTo>
                        <a:pt x="225194" y="226008"/>
                      </a:lnTo>
                      <a:lnTo>
                        <a:pt x="227223" y="227752"/>
                      </a:lnTo>
                      <a:lnTo>
                        <a:pt x="234403" y="229399"/>
                      </a:lnTo>
                      <a:lnTo>
                        <a:pt x="235324" y="230760"/>
                      </a:lnTo>
                      <a:lnTo>
                        <a:pt x="235723" y="232626"/>
                      </a:lnTo>
                      <a:lnTo>
                        <a:pt x="235560" y="234451"/>
                      </a:lnTo>
                      <a:lnTo>
                        <a:pt x="232227" y="238086"/>
                      </a:lnTo>
                      <a:lnTo>
                        <a:pt x="232259" y="239488"/>
                      </a:lnTo>
                      <a:lnTo>
                        <a:pt x="233628" y="242878"/>
                      </a:lnTo>
                      <a:lnTo>
                        <a:pt x="235275" y="246106"/>
                      </a:lnTo>
                      <a:lnTo>
                        <a:pt x="242283" y="249610"/>
                      </a:lnTo>
                      <a:lnTo>
                        <a:pt x="244687" y="251525"/>
                      </a:lnTo>
                      <a:lnTo>
                        <a:pt x="245323" y="253049"/>
                      </a:lnTo>
                      <a:lnTo>
                        <a:pt x="245682" y="255502"/>
                      </a:lnTo>
                      <a:lnTo>
                        <a:pt x="245633" y="258167"/>
                      </a:lnTo>
                      <a:lnTo>
                        <a:pt x="245095" y="260531"/>
                      </a:lnTo>
                      <a:lnTo>
                        <a:pt x="242886" y="263570"/>
                      </a:lnTo>
                      <a:lnTo>
                        <a:pt x="237801" y="269569"/>
                      </a:lnTo>
                      <a:lnTo>
                        <a:pt x="232691" y="271900"/>
                      </a:lnTo>
                      <a:lnTo>
                        <a:pt x="232373" y="272405"/>
                      </a:lnTo>
                      <a:lnTo>
                        <a:pt x="233963" y="274320"/>
                      </a:lnTo>
                      <a:lnTo>
                        <a:pt x="242960" y="281989"/>
                      </a:lnTo>
                      <a:lnTo>
                        <a:pt x="248836" y="285567"/>
                      </a:lnTo>
                      <a:lnTo>
                        <a:pt x="256765" y="290399"/>
                      </a:lnTo>
                      <a:lnTo>
                        <a:pt x="261875" y="294213"/>
                      </a:lnTo>
                      <a:lnTo>
                        <a:pt x="263522" y="296952"/>
                      </a:lnTo>
                      <a:lnTo>
                        <a:pt x="265738" y="299992"/>
                      </a:lnTo>
                      <a:lnTo>
                        <a:pt x="268224" y="302485"/>
                      </a:lnTo>
                      <a:lnTo>
                        <a:pt x="270017" y="304637"/>
                      </a:lnTo>
                      <a:lnTo>
                        <a:pt x="270694" y="306022"/>
                      </a:lnTo>
                      <a:lnTo>
                        <a:pt x="270628" y="307514"/>
                      </a:lnTo>
                      <a:lnTo>
                        <a:pt x="268232" y="312012"/>
                      </a:lnTo>
                      <a:lnTo>
                        <a:pt x="266871" y="315476"/>
                      </a:lnTo>
                      <a:lnTo>
                        <a:pt x="264467" y="320553"/>
                      </a:lnTo>
                      <a:lnTo>
                        <a:pt x="262014" y="324099"/>
                      </a:lnTo>
                      <a:lnTo>
                        <a:pt x="255787" y="330545"/>
                      </a:lnTo>
                      <a:lnTo>
                        <a:pt x="246603" y="338556"/>
                      </a:lnTo>
                      <a:lnTo>
                        <a:pt x="244468" y="340977"/>
                      </a:lnTo>
                      <a:lnTo>
                        <a:pt x="240181" y="345190"/>
                      </a:lnTo>
                      <a:lnTo>
                        <a:pt x="232829" y="353633"/>
                      </a:lnTo>
                      <a:lnTo>
                        <a:pt x="230923" y="355499"/>
                      </a:lnTo>
                      <a:lnTo>
                        <a:pt x="224900" y="362215"/>
                      </a:lnTo>
                      <a:lnTo>
                        <a:pt x="222145" y="364350"/>
                      </a:lnTo>
                      <a:lnTo>
                        <a:pt x="219986" y="366347"/>
                      </a:lnTo>
                      <a:lnTo>
                        <a:pt x="214028" y="372679"/>
                      </a:lnTo>
                      <a:lnTo>
                        <a:pt x="207614" y="377479"/>
                      </a:lnTo>
                      <a:lnTo>
                        <a:pt x="201315" y="381929"/>
                      </a:lnTo>
                      <a:lnTo>
                        <a:pt x="199432" y="384187"/>
                      </a:lnTo>
                      <a:lnTo>
                        <a:pt x="197077" y="385906"/>
                      </a:lnTo>
                      <a:lnTo>
                        <a:pt x="194273" y="387544"/>
                      </a:lnTo>
                      <a:lnTo>
                        <a:pt x="193092" y="388457"/>
                      </a:lnTo>
                      <a:lnTo>
                        <a:pt x="186751" y="394537"/>
                      </a:lnTo>
                      <a:lnTo>
                        <a:pt x="177974" y="402964"/>
                      </a:lnTo>
                      <a:lnTo>
                        <a:pt x="177078" y="403094"/>
                      </a:lnTo>
                      <a:lnTo>
                        <a:pt x="174795" y="404455"/>
                      </a:lnTo>
                      <a:lnTo>
                        <a:pt x="171218" y="404789"/>
                      </a:lnTo>
                      <a:lnTo>
                        <a:pt x="169669" y="405824"/>
                      </a:lnTo>
                      <a:lnTo>
                        <a:pt x="164201" y="402866"/>
                      </a:lnTo>
                      <a:lnTo>
                        <a:pt x="163288" y="402670"/>
                      </a:lnTo>
                      <a:lnTo>
                        <a:pt x="160069" y="403404"/>
                      </a:lnTo>
                      <a:lnTo>
                        <a:pt x="156988" y="405563"/>
                      </a:lnTo>
                      <a:lnTo>
                        <a:pt x="151283" y="406215"/>
                      </a:lnTo>
                      <a:lnTo>
                        <a:pt x="148464" y="406916"/>
                      </a:lnTo>
                      <a:lnTo>
                        <a:pt x="146646" y="407919"/>
                      </a:lnTo>
                      <a:lnTo>
                        <a:pt x="146279" y="405563"/>
                      </a:lnTo>
                      <a:lnTo>
                        <a:pt x="147062" y="402572"/>
                      </a:lnTo>
                      <a:lnTo>
                        <a:pt x="148309" y="400576"/>
                      </a:lnTo>
                      <a:lnTo>
                        <a:pt x="148431" y="399288"/>
                      </a:lnTo>
                      <a:lnTo>
                        <a:pt x="147518" y="399418"/>
                      </a:lnTo>
                      <a:lnTo>
                        <a:pt x="145693" y="402344"/>
                      </a:lnTo>
                      <a:lnTo>
                        <a:pt x="144715" y="405751"/>
                      </a:lnTo>
                      <a:lnTo>
                        <a:pt x="142767" y="407462"/>
                      </a:lnTo>
                      <a:lnTo>
                        <a:pt x="138472" y="408155"/>
                      </a:lnTo>
                      <a:lnTo>
                        <a:pt x="134292" y="405425"/>
                      </a:lnTo>
                      <a:lnTo>
                        <a:pt x="132311" y="405449"/>
                      </a:lnTo>
                      <a:lnTo>
                        <a:pt x="133550" y="407413"/>
                      </a:lnTo>
                      <a:lnTo>
                        <a:pt x="134397" y="409557"/>
                      </a:lnTo>
                      <a:lnTo>
                        <a:pt x="134283" y="410763"/>
                      </a:lnTo>
                      <a:lnTo>
                        <a:pt x="132058" y="410551"/>
                      </a:lnTo>
                      <a:lnTo>
                        <a:pt x="129565" y="411847"/>
                      </a:lnTo>
                      <a:lnTo>
                        <a:pt x="127388" y="413729"/>
                      </a:lnTo>
                      <a:lnTo>
                        <a:pt x="126337" y="413729"/>
                      </a:lnTo>
                      <a:lnTo>
                        <a:pt x="124870" y="411097"/>
                      </a:lnTo>
                      <a:lnTo>
                        <a:pt x="122181" y="412328"/>
                      </a:lnTo>
                      <a:lnTo>
                        <a:pt x="119899" y="413982"/>
                      </a:lnTo>
                      <a:lnTo>
                        <a:pt x="115237" y="414495"/>
                      </a:lnTo>
                      <a:lnTo>
                        <a:pt x="112458" y="416663"/>
                      </a:lnTo>
                      <a:lnTo>
                        <a:pt x="107536" y="418130"/>
                      </a:lnTo>
                      <a:lnTo>
                        <a:pt x="104838" y="418098"/>
                      </a:lnTo>
                      <a:lnTo>
                        <a:pt x="98677" y="419858"/>
                      </a:lnTo>
                      <a:lnTo>
                        <a:pt x="96631" y="422572"/>
                      </a:lnTo>
                      <a:lnTo>
                        <a:pt x="94830" y="423574"/>
                      </a:lnTo>
                      <a:lnTo>
                        <a:pt x="92287" y="422735"/>
                      </a:lnTo>
                      <a:lnTo>
                        <a:pt x="84407" y="424055"/>
                      </a:lnTo>
                      <a:lnTo>
                        <a:pt x="76885" y="425791"/>
                      </a:lnTo>
                      <a:lnTo>
                        <a:pt x="73673" y="425693"/>
                      </a:lnTo>
                      <a:lnTo>
                        <a:pt x="70471" y="424968"/>
                      </a:lnTo>
                      <a:lnTo>
                        <a:pt x="67072" y="427380"/>
                      </a:lnTo>
                      <a:lnTo>
                        <a:pt x="63478" y="430607"/>
                      </a:lnTo>
                      <a:lnTo>
                        <a:pt x="59509" y="431765"/>
                      </a:lnTo>
                      <a:lnTo>
                        <a:pt x="58075" y="431349"/>
                      </a:lnTo>
                      <a:lnTo>
                        <a:pt x="59224" y="429654"/>
                      </a:lnTo>
                      <a:lnTo>
                        <a:pt x="61857" y="427902"/>
                      </a:lnTo>
                      <a:lnTo>
                        <a:pt x="63657" y="425522"/>
                      </a:lnTo>
                      <a:lnTo>
                        <a:pt x="63894" y="423542"/>
                      </a:lnTo>
                      <a:lnTo>
                        <a:pt x="62664" y="422767"/>
                      </a:lnTo>
                      <a:lnTo>
                        <a:pt x="60968" y="422531"/>
                      </a:lnTo>
                      <a:lnTo>
                        <a:pt x="58833" y="420485"/>
                      </a:lnTo>
                      <a:lnTo>
                        <a:pt x="56779" y="416036"/>
                      </a:lnTo>
                      <a:lnTo>
                        <a:pt x="55679" y="415791"/>
                      </a:lnTo>
                      <a:lnTo>
                        <a:pt x="55117" y="416965"/>
                      </a:lnTo>
                      <a:lnTo>
                        <a:pt x="54489" y="420363"/>
                      </a:lnTo>
                      <a:lnTo>
                        <a:pt x="53853" y="421349"/>
                      </a:lnTo>
                      <a:lnTo>
                        <a:pt x="52778" y="422132"/>
                      </a:lnTo>
                      <a:lnTo>
                        <a:pt x="51474" y="422914"/>
                      </a:lnTo>
                      <a:lnTo>
                        <a:pt x="50202" y="423289"/>
                      </a:lnTo>
                      <a:lnTo>
                        <a:pt x="45655" y="423248"/>
                      </a:lnTo>
                      <a:lnTo>
                        <a:pt x="45060" y="421529"/>
                      </a:lnTo>
                      <a:lnTo>
                        <a:pt x="45060" y="420803"/>
                      </a:lnTo>
                      <a:lnTo>
                        <a:pt x="45867" y="418546"/>
                      </a:lnTo>
                      <a:lnTo>
                        <a:pt x="45166" y="418147"/>
                      </a:lnTo>
                      <a:lnTo>
                        <a:pt x="45834" y="416362"/>
                      </a:lnTo>
                      <a:lnTo>
                        <a:pt x="46902" y="416460"/>
                      </a:lnTo>
                      <a:lnTo>
                        <a:pt x="48173" y="416199"/>
                      </a:lnTo>
                      <a:lnTo>
                        <a:pt x="48817" y="415278"/>
                      </a:lnTo>
                      <a:lnTo>
                        <a:pt x="48760" y="414186"/>
                      </a:lnTo>
                      <a:lnTo>
                        <a:pt x="46991" y="413909"/>
                      </a:lnTo>
                      <a:lnTo>
                        <a:pt x="46877" y="413167"/>
                      </a:lnTo>
                      <a:lnTo>
                        <a:pt x="48458" y="410054"/>
                      </a:lnTo>
                      <a:lnTo>
                        <a:pt x="48679" y="409190"/>
                      </a:lnTo>
                      <a:lnTo>
                        <a:pt x="48067" y="409011"/>
                      </a:lnTo>
                      <a:lnTo>
                        <a:pt x="47081" y="409353"/>
                      </a:lnTo>
                      <a:lnTo>
                        <a:pt x="40570" y="408383"/>
                      </a:lnTo>
                      <a:lnTo>
                        <a:pt x="32534" y="404390"/>
                      </a:lnTo>
                      <a:lnTo>
                        <a:pt x="30561" y="404194"/>
                      </a:lnTo>
                      <a:lnTo>
                        <a:pt x="29339" y="400625"/>
                      </a:lnTo>
                      <a:lnTo>
                        <a:pt x="27416" y="401081"/>
                      </a:lnTo>
                      <a:lnTo>
                        <a:pt x="24587" y="403167"/>
                      </a:lnTo>
                      <a:lnTo>
                        <a:pt x="22469" y="401586"/>
                      </a:lnTo>
                      <a:lnTo>
                        <a:pt x="20187" y="400543"/>
                      </a:lnTo>
                      <a:lnTo>
                        <a:pt x="19560" y="398921"/>
                      </a:lnTo>
                      <a:lnTo>
                        <a:pt x="19592" y="396517"/>
                      </a:lnTo>
                      <a:lnTo>
                        <a:pt x="19396" y="393673"/>
                      </a:lnTo>
                      <a:lnTo>
                        <a:pt x="18777" y="390348"/>
                      </a:lnTo>
                      <a:lnTo>
                        <a:pt x="18320" y="385613"/>
                      </a:lnTo>
                      <a:lnTo>
                        <a:pt x="18744" y="381913"/>
                      </a:lnTo>
                      <a:lnTo>
                        <a:pt x="20570" y="379174"/>
                      </a:lnTo>
                      <a:lnTo>
                        <a:pt x="21263" y="377422"/>
                      </a:lnTo>
                      <a:lnTo>
                        <a:pt x="22110" y="372948"/>
                      </a:lnTo>
                      <a:lnTo>
                        <a:pt x="22298" y="367700"/>
                      </a:lnTo>
                      <a:lnTo>
                        <a:pt x="21825" y="365907"/>
                      </a:lnTo>
                      <a:lnTo>
                        <a:pt x="21939" y="364717"/>
                      </a:lnTo>
                      <a:lnTo>
                        <a:pt x="23390" y="364717"/>
                      </a:lnTo>
                      <a:lnTo>
                        <a:pt x="23080" y="363690"/>
                      </a:lnTo>
                      <a:lnTo>
                        <a:pt x="22444" y="363136"/>
                      </a:lnTo>
                      <a:lnTo>
                        <a:pt x="21735" y="361970"/>
                      </a:lnTo>
                      <a:lnTo>
                        <a:pt x="22339" y="361351"/>
                      </a:lnTo>
                      <a:lnTo>
                        <a:pt x="24066" y="361310"/>
                      </a:lnTo>
                      <a:lnTo>
                        <a:pt x="24213" y="360919"/>
                      </a:lnTo>
                      <a:lnTo>
                        <a:pt x="24408" y="360357"/>
                      </a:lnTo>
                      <a:lnTo>
                        <a:pt x="23064" y="357309"/>
                      </a:lnTo>
                      <a:lnTo>
                        <a:pt x="22909" y="355842"/>
                      </a:lnTo>
                      <a:lnTo>
                        <a:pt x="21042" y="351416"/>
                      </a:lnTo>
                      <a:lnTo>
                        <a:pt x="18915" y="347211"/>
                      </a:lnTo>
                      <a:lnTo>
                        <a:pt x="15721" y="344171"/>
                      </a:lnTo>
                      <a:lnTo>
                        <a:pt x="16862" y="339151"/>
                      </a:lnTo>
                      <a:lnTo>
                        <a:pt x="18149" y="334612"/>
                      </a:lnTo>
                      <a:lnTo>
                        <a:pt x="17897" y="332428"/>
                      </a:lnTo>
                      <a:lnTo>
                        <a:pt x="17400" y="329763"/>
                      </a:lnTo>
                      <a:lnTo>
                        <a:pt x="13488" y="326837"/>
                      </a:lnTo>
                      <a:lnTo>
                        <a:pt x="12909" y="322713"/>
                      </a:lnTo>
                      <a:lnTo>
                        <a:pt x="11955" y="318280"/>
                      </a:lnTo>
                      <a:lnTo>
                        <a:pt x="12306" y="315558"/>
                      </a:lnTo>
                      <a:lnTo>
                        <a:pt x="12942" y="313479"/>
                      </a:lnTo>
                      <a:lnTo>
                        <a:pt x="14229" y="311409"/>
                      </a:lnTo>
                      <a:lnTo>
                        <a:pt x="20725" y="304849"/>
                      </a:lnTo>
                      <a:lnTo>
                        <a:pt x="21124" y="301426"/>
                      </a:lnTo>
                      <a:lnTo>
                        <a:pt x="25517" y="301173"/>
                      </a:lnTo>
                      <a:lnTo>
                        <a:pt x="23488" y="298109"/>
                      </a:lnTo>
                      <a:lnTo>
                        <a:pt x="22999" y="296381"/>
                      </a:lnTo>
                      <a:lnTo>
                        <a:pt x="22893" y="294368"/>
                      </a:lnTo>
                      <a:lnTo>
                        <a:pt x="29225" y="292991"/>
                      </a:lnTo>
                      <a:lnTo>
                        <a:pt x="31588" y="294116"/>
                      </a:lnTo>
                      <a:lnTo>
                        <a:pt x="37163" y="292722"/>
                      </a:lnTo>
                      <a:lnTo>
                        <a:pt x="42102" y="289976"/>
                      </a:lnTo>
                      <a:lnTo>
                        <a:pt x="42020" y="288525"/>
                      </a:lnTo>
                      <a:lnTo>
                        <a:pt x="41246" y="287221"/>
                      </a:lnTo>
                      <a:lnTo>
                        <a:pt x="40202" y="284703"/>
                      </a:lnTo>
                      <a:lnTo>
                        <a:pt x="40953" y="284010"/>
                      </a:lnTo>
                      <a:lnTo>
                        <a:pt x="42753" y="284523"/>
                      </a:lnTo>
                      <a:lnTo>
                        <a:pt x="41922" y="283277"/>
                      </a:lnTo>
                      <a:lnTo>
                        <a:pt x="42077" y="281956"/>
                      </a:lnTo>
                      <a:lnTo>
                        <a:pt x="44041" y="282510"/>
                      </a:lnTo>
                      <a:lnTo>
                        <a:pt x="47260" y="278827"/>
                      </a:lnTo>
                      <a:lnTo>
                        <a:pt x="47383" y="276015"/>
                      </a:lnTo>
                      <a:lnTo>
                        <a:pt x="52940" y="274540"/>
                      </a:lnTo>
                      <a:lnTo>
                        <a:pt x="59338" y="268786"/>
                      </a:lnTo>
                      <a:lnTo>
                        <a:pt x="62296" y="266993"/>
                      </a:lnTo>
                      <a:lnTo>
                        <a:pt x="65149" y="265698"/>
                      </a:lnTo>
                      <a:lnTo>
                        <a:pt x="71237" y="259936"/>
                      </a:lnTo>
                      <a:lnTo>
                        <a:pt x="73829" y="259667"/>
                      </a:lnTo>
                      <a:lnTo>
                        <a:pt x="75173" y="255779"/>
                      </a:lnTo>
                      <a:lnTo>
                        <a:pt x="80348" y="250604"/>
                      </a:lnTo>
                      <a:lnTo>
                        <a:pt x="81905" y="249936"/>
                      </a:lnTo>
                      <a:lnTo>
                        <a:pt x="84334" y="245266"/>
                      </a:lnTo>
                      <a:lnTo>
                        <a:pt x="90674" y="239863"/>
                      </a:lnTo>
                      <a:lnTo>
                        <a:pt x="94708" y="232952"/>
                      </a:lnTo>
                      <a:lnTo>
                        <a:pt x="96925" y="230499"/>
                      </a:lnTo>
                      <a:lnTo>
                        <a:pt x="97609" y="227875"/>
                      </a:lnTo>
                      <a:lnTo>
                        <a:pt x="100095" y="227655"/>
                      </a:lnTo>
                      <a:lnTo>
                        <a:pt x="102312" y="225731"/>
                      </a:lnTo>
                      <a:lnTo>
                        <a:pt x="107144" y="224395"/>
                      </a:lnTo>
                      <a:lnTo>
                        <a:pt x="111904" y="224761"/>
                      </a:lnTo>
                      <a:lnTo>
                        <a:pt x="113892" y="225674"/>
                      </a:lnTo>
                      <a:lnTo>
                        <a:pt x="115726" y="225381"/>
                      </a:lnTo>
                      <a:lnTo>
                        <a:pt x="115547" y="223026"/>
                      </a:lnTo>
                      <a:lnTo>
                        <a:pt x="114235" y="221567"/>
                      </a:lnTo>
                      <a:lnTo>
                        <a:pt x="115303" y="220165"/>
                      </a:lnTo>
                      <a:lnTo>
                        <a:pt x="117829" y="219106"/>
                      </a:lnTo>
                      <a:lnTo>
                        <a:pt x="117576" y="216767"/>
                      </a:lnTo>
                      <a:lnTo>
                        <a:pt x="117030" y="215357"/>
                      </a:lnTo>
                      <a:lnTo>
                        <a:pt x="114936" y="213474"/>
                      </a:lnTo>
                      <a:lnTo>
                        <a:pt x="115979" y="209261"/>
                      </a:lnTo>
                      <a:lnTo>
                        <a:pt x="116223" y="204640"/>
                      </a:lnTo>
                      <a:lnTo>
                        <a:pt x="117218" y="199285"/>
                      </a:lnTo>
                      <a:lnTo>
                        <a:pt x="114593" y="196449"/>
                      </a:lnTo>
                      <a:lnTo>
                        <a:pt x="104602" y="191617"/>
                      </a:lnTo>
                      <a:lnTo>
                        <a:pt x="102744" y="191779"/>
                      </a:lnTo>
                      <a:lnTo>
                        <a:pt x="100527" y="191176"/>
                      </a:lnTo>
                      <a:lnTo>
                        <a:pt x="98213" y="187509"/>
                      </a:lnTo>
                      <a:lnTo>
                        <a:pt x="99247" y="184339"/>
                      </a:lnTo>
                      <a:lnTo>
                        <a:pt x="99362" y="183173"/>
                      </a:lnTo>
                      <a:lnTo>
                        <a:pt x="98465" y="183214"/>
                      </a:lnTo>
                      <a:lnTo>
                        <a:pt x="97006" y="184754"/>
                      </a:lnTo>
                      <a:lnTo>
                        <a:pt x="93820" y="186515"/>
                      </a:lnTo>
                      <a:lnTo>
                        <a:pt x="89679" y="185162"/>
                      </a:lnTo>
                      <a:lnTo>
                        <a:pt x="87642" y="185463"/>
                      </a:lnTo>
                      <a:lnTo>
                        <a:pt x="85010" y="177615"/>
                      </a:lnTo>
                      <a:lnTo>
                        <a:pt x="83657" y="174616"/>
                      </a:lnTo>
                      <a:lnTo>
                        <a:pt x="81481" y="170875"/>
                      </a:lnTo>
                      <a:lnTo>
                        <a:pt x="77618" y="169042"/>
                      </a:lnTo>
                      <a:lnTo>
                        <a:pt x="76860" y="168007"/>
                      </a:lnTo>
                      <a:lnTo>
                        <a:pt x="76347" y="166418"/>
                      </a:lnTo>
                      <a:lnTo>
                        <a:pt x="76175" y="164217"/>
                      </a:lnTo>
                      <a:lnTo>
                        <a:pt x="75695" y="160949"/>
                      </a:lnTo>
                      <a:lnTo>
                        <a:pt x="75890" y="158268"/>
                      </a:lnTo>
                      <a:lnTo>
                        <a:pt x="76363" y="156670"/>
                      </a:lnTo>
                      <a:lnTo>
                        <a:pt x="78034" y="155595"/>
                      </a:lnTo>
                      <a:lnTo>
                        <a:pt x="80438" y="152563"/>
                      </a:lnTo>
                      <a:lnTo>
                        <a:pt x="80943" y="150354"/>
                      </a:lnTo>
                      <a:lnTo>
                        <a:pt x="81147" y="146972"/>
                      </a:lnTo>
                      <a:lnTo>
                        <a:pt x="82255" y="144014"/>
                      </a:lnTo>
                      <a:lnTo>
                        <a:pt x="83486" y="142523"/>
                      </a:lnTo>
                      <a:lnTo>
                        <a:pt x="83176" y="141333"/>
                      </a:lnTo>
                      <a:lnTo>
                        <a:pt x="82329" y="139629"/>
                      </a:lnTo>
                      <a:lnTo>
                        <a:pt x="80536" y="137217"/>
                      </a:lnTo>
                      <a:lnTo>
                        <a:pt x="77798" y="134267"/>
                      </a:lnTo>
                      <a:lnTo>
                        <a:pt x="75768" y="131447"/>
                      </a:lnTo>
                      <a:lnTo>
                        <a:pt x="74880" y="128807"/>
                      </a:lnTo>
                      <a:lnTo>
                        <a:pt x="74424" y="126443"/>
                      </a:lnTo>
                      <a:lnTo>
                        <a:pt x="74497" y="124300"/>
                      </a:lnTo>
                      <a:lnTo>
                        <a:pt x="75263" y="122841"/>
                      </a:lnTo>
                      <a:lnTo>
                        <a:pt x="77838" y="120991"/>
                      </a:lnTo>
                      <a:lnTo>
                        <a:pt x="78188" y="120200"/>
                      </a:lnTo>
                      <a:lnTo>
                        <a:pt x="77170" y="116134"/>
                      </a:lnTo>
                      <a:lnTo>
                        <a:pt x="75361" y="115392"/>
                      </a:lnTo>
                      <a:lnTo>
                        <a:pt x="72296" y="115001"/>
                      </a:lnTo>
                      <a:lnTo>
                        <a:pt x="70576" y="114968"/>
                      </a:lnTo>
                      <a:lnTo>
                        <a:pt x="70251" y="114520"/>
                      </a:lnTo>
                      <a:lnTo>
                        <a:pt x="70161" y="113697"/>
                      </a:lnTo>
                      <a:lnTo>
                        <a:pt x="70503" y="112026"/>
                      </a:lnTo>
                      <a:lnTo>
                        <a:pt x="71473" y="110103"/>
                      </a:lnTo>
                      <a:lnTo>
                        <a:pt x="72296" y="108889"/>
                      </a:lnTo>
                      <a:lnTo>
                        <a:pt x="72394" y="107854"/>
                      </a:lnTo>
                      <a:lnTo>
                        <a:pt x="71375" y="104300"/>
                      </a:lnTo>
                      <a:lnTo>
                        <a:pt x="71065" y="99932"/>
                      </a:lnTo>
                      <a:lnTo>
                        <a:pt x="71424" y="96517"/>
                      </a:lnTo>
                      <a:lnTo>
                        <a:pt x="74660" y="93999"/>
                      </a:lnTo>
                      <a:lnTo>
                        <a:pt x="74814" y="93078"/>
                      </a:lnTo>
                      <a:lnTo>
                        <a:pt x="70732" y="90340"/>
                      </a:lnTo>
                      <a:lnTo>
                        <a:pt x="67797" y="87227"/>
                      </a:lnTo>
                      <a:lnTo>
                        <a:pt x="66877" y="85409"/>
                      </a:lnTo>
                      <a:lnTo>
                        <a:pt x="63503" y="85132"/>
                      </a:lnTo>
                      <a:lnTo>
                        <a:pt x="61400" y="79851"/>
                      </a:lnTo>
                      <a:lnTo>
                        <a:pt x="58368" y="77284"/>
                      </a:lnTo>
                      <a:lnTo>
                        <a:pt x="55353" y="75059"/>
                      </a:lnTo>
                      <a:lnTo>
                        <a:pt x="53576" y="74024"/>
                      </a:lnTo>
                      <a:lnTo>
                        <a:pt x="43161" y="70821"/>
                      </a:lnTo>
                      <a:lnTo>
                        <a:pt x="39013" y="70210"/>
                      </a:lnTo>
                      <a:lnTo>
                        <a:pt x="34107" y="68344"/>
                      </a:lnTo>
                      <a:lnTo>
                        <a:pt x="30456" y="65997"/>
                      </a:lnTo>
                      <a:lnTo>
                        <a:pt x="27326" y="64489"/>
                      </a:lnTo>
                      <a:lnTo>
                        <a:pt x="24645" y="62623"/>
                      </a:lnTo>
                      <a:lnTo>
                        <a:pt x="20912" y="60879"/>
                      </a:lnTo>
                      <a:lnTo>
                        <a:pt x="19845" y="59395"/>
                      </a:lnTo>
                      <a:lnTo>
                        <a:pt x="15811" y="56624"/>
                      </a:lnTo>
                      <a:lnTo>
                        <a:pt x="13920" y="54799"/>
                      </a:lnTo>
                      <a:lnTo>
                        <a:pt x="7351" y="51368"/>
                      </a:lnTo>
                      <a:lnTo>
                        <a:pt x="7115" y="50007"/>
                      </a:lnTo>
                      <a:lnTo>
                        <a:pt x="7066" y="48695"/>
                      </a:lnTo>
                      <a:lnTo>
                        <a:pt x="6764" y="48149"/>
                      </a:lnTo>
                      <a:lnTo>
                        <a:pt x="0" y="45630"/>
                      </a:lnTo>
                      <a:lnTo>
                        <a:pt x="1337" y="44196"/>
                      </a:lnTo>
                      <a:lnTo>
                        <a:pt x="6626" y="44115"/>
                      </a:lnTo>
                      <a:lnTo>
                        <a:pt x="11002" y="45418"/>
                      </a:lnTo>
                      <a:lnTo>
                        <a:pt x="11955" y="44864"/>
                      </a:lnTo>
                      <a:lnTo>
                        <a:pt x="12534" y="43699"/>
                      </a:lnTo>
                      <a:lnTo>
                        <a:pt x="10668" y="39029"/>
                      </a:lnTo>
                      <a:lnTo>
                        <a:pt x="11002" y="37815"/>
                      </a:lnTo>
                      <a:lnTo>
                        <a:pt x="12925" y="36340"/>
                      </a:lnTo>
                      <a:lnTo>
                        <a:pt x="15982" y="35174"/>
                      </a:lnTo>
                      <a:lnTo>
                        <a:pt x="20806" y="35003"/>
                      </a:lnTo>
                      <a:lnTo>
                        <a:pt x="24091" y="35174"/>
                      </a:lnTo>
                      <a:lnTo>
                        <a:pt x="24791" y="35305"/>
                      </a:lnTo>
                      <a:lnTo>
                        <a:pt x="29697" y="40439"/>
                      </a:lnTo>
                      <a:lnTo>
                        <a:pt x="33911" y="45443"/>
                      </a:lnTo>
                      <a:lnTo>
                        <a:pt x="36144" y="47578"/>
                      </a:lnTo>
                      <a:lnTo>
                        <a:pt x="41621" y="53617"/>
                      </a:lnTo>
                      <a:lnTo>
                        <a:pt x="43666" y="57097"/>
                      </a:lnTo>
                      <a:lnTo>
                        <a:pt x="44359" y="59591"/>
                      </a:lnTo>
                      <a:lnTo>
                        <a:pt x="46584" y="59566"/>
                      </a:lnTo>
                      <a:lnTo>
                        <a:pt x="54277" y="60667"/>
                      </a:lnTo>
                      <a:lnTo>
                        <a:pt x="60740" y="61588"/>
                      </a:lnTo>
                      <a:lnTo>
                        <a:pt x="62541" y="62973"/>
                      </a:lnTo>
                      <a:lnTo>
                        <a:pt x="67007" y="62696"/>
                      </a:lnTo>
                      <a:lnTo>
                        <a:pt x="70446" y="61441"/>
                      </a:lnTo>
                      <a:lnTo>
                        <a:pt x="76510" y="59852"/>
                      </a:lnTo>
                      <a:lnTo>
                        <a:pt x="78131" y="57896"/>
                      </a:lnTo>
                      <a:lnTo>
                        <a:pt x="80153" y="55809"/>
                      </a:lnTo>
                      <a:lnTo>
                        <a:pt x="83714" y="56135"/>
                      </a:lnTo>
                      <a:lnTo>
                        <a:pt x="87602" y="57790"/>
                      </a:lnTo>
                      <a:lnTo>
                        <a:pt x="92010" y="59958"/>
                      </a:lnTo>
                      <a:lnTo>
                        <a:pt x="95938" y="60968"/>
                      </a:lnTo>
                      <a:lnTo>
                        <a:pt x="101220" y="62533"/>
                      </a:lnTo>
                      <a:lnTo>
                        <a:pt x="103673" y="64570"/>
                      </a:lnTo>
                      <a:lnTo>
                        <a:pt x="107128" y="65149"/>
                      </a:lnTo>
                      <a:lnTo>
                        <a:pt x="110730" y="63111"/>
                      </a:lnTo>
                      <a:lnTo>
                        <a:pt x="112858" y="57586"/>
                      </a:lnTo>
                      <a:lnTo>
                        <a:pt x="114756" y="55125"/>
                      </a:lnTo>
                      <a:lnTo>
                        <a:pt x="117429" y="53316"/>
                      </a:lnTo>
                      <a:lnTo>
                        <a:pt x="120494" y="52509"/>
                      </a:lnTo>
                      <a:lnTo>
                        <a:pt x="122841" y="52223"/>
                      </a:lnTo>
                      <a:lnTo>
                        <a:pt x="124609" y="50805"/>
                      </a:lnTo>
                      <a:lnTo>
                        <a:pt x="127136" y="47684"/>
                      </a:lnTo>
                      <a:lnTo>
                        <a:pt x="127625" y="43894"/>
                      </a:lnTo>
                      <a:lnTo>
                        <a:pt x="127136" y="37032"/>
                      </a:lnTo>
                      <a:lnTo>
                        <a:pt x="127600" y="34775"/>
                      </a:lnTo>
                      <a:lnTo>
                        <a:pt x="129662" y="31067"/>
                      </a:lnTo>
                      <a:lnTo>
                        <a:pt x="132417" y="21222"/>
                      </a:lnTo>
                      <a:lnTo>
                        <a:pt x="133656" y="18378"/>
                      </a:lnTo>
                      <a:lnTo>
                        <a:pt x="135171" y="16650"/>
                      </a:lnTo>
                      <a:lnTo>
                        <a:pt x="137250" y="15615"/>
                      </a:lnTo>
                      <a:lnTo>
                        <a:pt x="141023" y="12624"/>
                      </a:lnTo>
                      <a:lnTo>
                        <a:pt x="146402" y="6691"/>
                      </a:lnTo>
                      <a:lnTo>
                        <a:pt x="147869" y="6186"/>
                      </a:lnTo>
                      <a:lnTo>
                        <a:pt x="151740" y="5892"/>
                      </a:lnTo>
                      <a:lnTo>
                        <a:pt x="156557" y="6104"/>
                      </a:lnTo>
                      <a:lnTo>
                        <a:pt x="160876" y="7147"/>
                      </a:lnTo>
                      <a:lnTo>
                        <a:pt x="161348" y="7066"/>
                      </a:lnTo>
                      <a:lnTo>
                        <a:pt x="163280" y="6528"/>
                      </a:lnTo>
                      <a:lnTo>
                        <a:pt x="166817" y="4678"/>
                      </a:lnTo>
                      <a:lnTo>
                        <a:pt x="172856" y="1011"/>
                      </a:lnTo>
                      <a:lnTo>
                        <a:pt x="176735" y="0"/>
                      </a:lnTo>
                      <a:lnTo>
                        <a:pt x="180264" y="139"/>
                      </a:lnTo>
                      <a:lnTo>
                        <a:pt x="184143" y="4165"/>
                      </a:lnTo>
                      <a:close/>
                    </a:path>
                  </a:pathLst>
                </a:custGeom>
                <a:solidFill>
                  <a:srgbClr val="D6D6D2"/>
                </a:solidFill>
                <a:ln w="6112" cap="rnd">
                  <a:solidFill>
                    <a:srgbClr val="FFFFFF"/>
                  </a:solidFill>
                  <a:prstDash val="solid"/>
                  <a:round/>
                </a:ln>
              </p:spPr>
              <p:txBody>
                <a:bodyPr rtlCol="0" anchor="ctr"/>
                <a:lstStyle/>
                <a:p>
                  <a:endParaRPr lang="en-US"/>
                </a:p>
              </p:txBody>
            </p:sp>
            <p:sp>
              <p:nvSpPr>
                <p:cNvPr id="737" name="Freeform: Shape 736">
                  <a:extLst>
                    <a:ext uri="{FF2B5EF4-FFF2-40B4-BE49-F238E27FC236}">
                      <a16:creationId xmlns:a16="http://schemas.microsoft.com/office/drawing/2014/main" id="{5B7A1407-0555-49A1-8275-40917C635C51}"/>
                    </a:ext>
                  </a:extLst>
                </p:cNvPr>
                <p:cNvSpPr/>
                <p:nvPr/>
              </p:nvSpPr>
              <p:spPr>
                <a:xfrm>
                  <a:off x="6762077" y="4077337"/>
                  <a:ext cx="371513" cy="343666"/>
                </a:xfrm>
                <a:custGeom>
                  <a:avLst/>
                  <a:gdLst>
                    <a:gd name="connsiteX0" fmla="*/ 134748 w 371513"/>
                    <a:gd name="connsiteY0" fmla="*/ 12893 h 343666"/>
                    <a:gd name="connsiteX1" fmla="*/ 136549 w 371513"/>
                    <a:gd name="connsiteY1" fmla="*/ 13023 h 343666"/>
                    <a:gd name="connsiteX2" fmla="*/ 144177 w 371513"/>
                    <a:gd name="connsiteY2" fmla="*/ 11255 h 343666"/>
                    <a:gd name="connsiteX3" fmla="*/ 148733 w 371513"/>
                    <a:gd name="connsiteY3" fmla="*/ 8076 h 343666"/>
                    <a:gd name="connsiteX4" fmla="*/ 149433 w 371513"/>
                    <a:gd name="connsiteY4" fmla="*/ 6813 h 343666"/>
                    <a:gd name="connsiteX5" fmla="*/ 150681 w 371513"/>
                    <a:gd name="connsiteY5" fmla="*/ 6813 h 343666"/>
                    <a:gd name="connsiteX6" fmla="*/ 152197 w 371513"/>
                    <a:gd name="connsiteY6" fmla="*/ 8231 h 343666"/>
                    <a:gd name="connsiteX7" fmla="*/ 152783 w 371513"/>
                    <a:gd name="connsiteY7" fmla="*/ 9576 h 343666"/>
                    <a:gd name="connsiteX8" fmla="*/ 153753 w 371513"/>
                    <a:gd name="connsiteY8" fmla="*/ 11353 h 343666"/>
                    <a:gd name="connsiteX9" fmla="*/ 155538 w 371513"/>
                    <a:gd name="connsiteY9" fmla="*/ 11621 h 343666"/>
                    <a:gd name="connsiteX10" fmla="*/ 159906 w 371513"/>
                    <a:gd name="connsiteY10" fmla="*/ 10358 h 343666"/>
                    <a:gd name="connsiteX11" fmla="*/ 162025 w 371513"/>
                    <a:gd name="connsiteY11" fmla="*/ 9600 h 343666"/>
                    <a:gd name="connsiteX12" fmla="*/ 163842 w 371513"/>
                    <a:gd name="connsiteY12" fmla="*/ 10228 h 343666"/>
                    <a:gd name="connsiteX13" fmla="*/ 166149 w 371513"/>
                    <a:gd name="connsiteY13" fmla="*/ 10749 h 343666"/>
                    <a:gd name="connsiteX14" fmla="*/ 167591 w 371513"/>
                    <a:gd name="connsiteY14" fmla="*/ 10749 h 343666"/>
                    <a:gd name="connsiteX15" fmla="*/ 171038 w 371513"/>
                    <a:gd name="connsiteY15" fmla="*/ 12526 h 343666"/>
                    <a:gd name="connsiteX16" fmla="*/ 175187 w 371513"/>
                    <a:gd name="connsiteY16" fmla="*/ 11964 h 343666"/>
                    <a:gd name="connsiteX17" fmla="*/ 177135 w 371513"/>
                    <a:gd name="connsiteY17" fmla="*/ 12062 h 343666"/>
                    <a:gd name="connsiteX18" fmla="*/ 179131 w 371513"/>
                    <a:gd name="connsiteY18" fmla="*/ 12812 h 343666"/>
                    <a:gd name="connsiteX19" fmla="*/ 182407 w 371513"/>
                    <a:gd name="connsiteY19" fmla="*/ 15648 h 343666"/>
                    <a:gd name="connsiteX20" fmla="*/ 186653 w 371513"/>
                    <a:gd name="connsiteY20" fmla="*/ 19079 h 343666"/>
                    <a:gd name="connsiteX21" fmla="*/ 192725 w 371513"/>
                    <a:gd name="connsiteY21" fmla="*/ 21532 h 343666"/>
                    <a:gd name="connsiteX22" fmla="*/ 193980 w 371513"/>
                    <a:gd name="connsiteY22" fmla="*/ 22534 h 343666"/>
                    <a:gd name="connsiteX23" fmla="*/ 196922 w 371513"/>
                    <a:gd name="connsiteY23" fmla="*/ 26430 h 343666"/>
                    <a:gd name="connsiteX24" fmla="*/ 201478 w 371513"/>
                    <a:gd name="connsiteY24" fmla="*/ 33935 h 343666"/>
                    <a:gd name="connsiteX25" fmla="*/ 207452 w 371513"/>
                    <a:gd name="connsiteY25" fmla="*/ 41116 h 343666"/>
                    <a:gd name="connsiteX26" fmla="*/ 213939 w 371513"/>
                    <a:gd name="connsiteY26" fmla="*/ 46780 h 343666"/>
                    <a:gd name="connsiteX27" fmla="*/ 217419 w 371513"/>
                    <a:gd name="connsiteY27" fmla="*/ 50700 h 343666"/>
                    <a:gd name="connsiteX28" fmla="*/ 219766 w 371513"/>
                    <a:gd name="connsiteY28" fmla="*/ 55500 h 343666"/>
                    <a:gd name="connsiteX29" fmla="*/ 222064 w 371513"/>
                    <a:gd name="connsiteY29" fmla="*/ 59852 h 343666"/>
                    <a:gd name="connsiteX30" fmla="*/ 224403 w 371513"/>
                    <a:gd name="connsiteY30" fmla="*/ 61718 h 343666"/>
                    <a:gd name="connsiteX31" fmla="*/ 226579 w 371513"/>
                    <a:gd name="connsiteY31" fmla="*/ 63209 h 343666"/>
                    <a:gd name="connsiteX32" fmla="*/ 228828 w 371513"/>
                    <a:gd name="connsiteY32" fmla="*/ 66534 h 343666"/>
                    <a:gd name="connsiteX33" fmla="*/ 230442 w 371513"/>
                    <a:gd name="connsiteY33" fmla="*/ 69314 h 343666"/>
                    <a:gd name="connsiteX34" fmla="*/ 232634 w 371513"/>
                    <a:gd name="connsiteY34" fmla="*/ 72451 h 343666"/>
                    <a:gd name="connsiteX35" fmla="*/ 230206 w 371513"/>
                    <a:gd name="connsiteY35" fmla="*/ 76762 h 343666"/>
                    <a:gd name="connsiteX36" fmla="*/ 226938 w 371513"/>
                    <a:gd name="connsiteY36" fmla="*/ 82516 h 343666"/>
                    <a:gd name="connsiteX37" fmla="*/ 223140 w 371513"/>
                    <a:gd name="connsiteY37" fmla="*/ 89231 h 343666"/>
                    <a:gd name="connsiteX38" fmla="*/ 221999 w 371513"/>
                    <a:gd name="connsiteY38" fmla="*/ 90878 h 343666"/>
                    <a:gd name="connsiteX39" fmla="*/ 218674 w 371513"/>
                    <a:gd name="connsiteY39" fmla="*/ 94936 h 343666"/>
                    <a:gd name="connsiteX40" fmla="*/ 218103 w 371513"/>
                    <a:gd name="connsiteY40" fmla="*/ 96085 h 343666"/>
                    <a:gd name="connsiteX41" fmla="*/ 217460 w 371513"/>
                    <a:gd name="connsiteY41" fmla="*/ 99011 h 343666"/>
                    <a:gd name="connsiteX42" fmla="*/ 217410 w 371513"/>
                    <a:gd name="connsiteY42" fmla="*/ 104341 h 343666"/>
                    <a:gd name="connsiteX43" fmla="*/ 217834 w 371513"/>
                    <a:gd name="connsiteY43" fmla="*/ 111146 h 343666"/>
                    <a:gd name="connsiteX44" fmla="*/ 218242 w 371513"/>
                    <a:gd name="connsiteY44" fmla="*/ 117413 h 343666"/>
                    <a:gd name="connsiteX45" fmla="*/ 220076 w 371513"/>
                    <a:gd name="connsiteY45" fmla="*/ 118155 h 343666"/>
                    <a:gd name="connsiteX46" fmla="*/ 222195 w 371513"/>
                    <a:gd name="connsiteY46" fmla="*/ 118603 h 343666"/>
                    <a:gd name="connsiteX47" fmla="*/ 224541 w 371513"/>
                    <a:gd name="connsiteY47" fmla="*/ 117780 h 343666"/>
                    <a:gd name="connsiteX48" fmla="*/ 227370 w 371513"/>
                    <a:gd name="connsiteY48" fmla="*/ 117071 h 343666"/>
                    <a:gd name="connsiteX49" fmla="*/ 230890 w 371513"/>
                    <a:gd name="connsiteY49" fmla="*/ 116663 h 343666"/>
                    <a:gd name="connsiteX50" fmla="*/ 234778 w 371513"/>
                    <a:gd name="connsiteY50" fmla="*/ 115400 h 343666"/>
                    <a:gd name="connsiteX51" fmla="*/ 237076 w 371513"/>
                    <a:gd name="connsiteY51" fmla="*/ 114382 h 343666"/>
                    <a:gd name="connsiteX52" fmla="*/ 239480 w 371513"/>
                    <a:gd name="connsiteY52" fmla="*/ 114455 h 343666"/>
                    <a:gd name="connsiteX53" fmla="*/ 241632 w 371513"/>
                    <a:gd name="connsiteY53" fmla="*/ 115539 h 343666"/>
                    <a:gd name="connsiteX54" fmla="*/ 242666 w 371513"/>
                    <a:gd name="connsiteY54" fmla="*/ 116541 h 343666"/>
                    <a:gd name="connsiteX55" fmla="*/ 244174 w 371513"/>
                    <a:gd name="connsiteY55" fmla="*/ 116884 h 343666"/>
                    <a:gd name="connsiteX56" fmla="*/ 246130 w 371513"/>
                    <a:gd name="connsiteY56" fmla="*/ 116843 h 343666"/>
                    <a:gd name="connsiteX57" fmla="*/ 245723 w 371513"/>
                    <a:gd name="connsiteY57" fmla="*/ 118024 h 343666"/>
                    <a:gd name="connsiteX58" fmla="*/ 244647 w 371513"/>
                    <a:gd name="connsiteY58" fmla="*/ 119744 h 343666"/>
                    <a:gd name="connsiteX59" fmla="*/ 243327 w 371513"/>
                    <a:gd name="connsiteY59" fmla="*/ 121472 h 343666"/>
                    <a:gd name="connsiteX60" fmla="*/ 242170 w 371513"/>
                    <a:gd name="connsiteY60" fmla="*/ 123256 h 343666"/>
                    <a:gd name="connsiteX61" fmla="*/ 239610 w 371513"/>
                    <a:gd name="connsiteY61" fmla="*/ 128261 h 343666"/>
                    <a:gd name="connsiteX62" fmla="*/ 239521 w 371513"/>
                    <a:gd name="connsiteY62" fmla="*/ 128904 h 343666"/>
                    <a:gd name="connsiteX63" fmla="*/ 239847 w 371513"/>
                    <a:gd name="connsiteY63" fmla="*/ 129882 h 343666"/>
                    <a:gd name="connsiteX64" fmla="*/ 241232 w 371513"/>
                    <a:gd name="connsiteY64" fmla="*/ 132173 h 343666"/>
                    <a:gd name="connsiteX65" fmla="*/ 242683 w 371513"/>
                    <a:gd name="connsiteY65" fmla="*/ 135856 h 343666"/>
                    <a:gd name="connsiteX66" fmla="*/ 243498 w 371513"/>
                    <a:gd name="connsiteY66" fmla="*/ 139246 h 343666"/>
                    <a:gd name="connsiteX67" fmla="*/ 244125 w 371513"/>
                    <a:gd name="connsiteY67" fmla="*/ 140893 h 343666"/>
                    <a:gd name="connsiteX68" fmla="*/ 245878 w 371513"/>
                    <a:gd name="connsiteY68" fmla="*/ 142767 h 343666"/>
                    <a:gd name="connsiteX69" fmla="*/ 248412 w 371513"/>
                    <a:gd name="connsiteY69" fmla="*/ 146638 h 343666"/>
                    <a:gd name="connsiteX70" fmla="*/ 249757 w 371513"/>
                    <a:gd name="connsiteY70" fmla="*/ 149238 h 343666"/>
                    <a:gd name="connsiteX71" fmla="*/ 252552 w 371513"/>
                    <a:gd name="connsiteY71" fmla="*/ 150632 h 343666"/>
                    <a:gd name="connsiteX72" fmla="*/ 253473 w 371513"/>
                    <a:gd name="connsiteY72" fmla="*/ 153949 h 343666"/>
                    <a:gd name="connsiteX73" fmla="*/ 255568 w 371513"/>
                    <a:gd name="connsiteY73" fmla="*/ 158798 h 343666"/>
                    <a:gd name="connsiteX74" fmla="*/ 257833 w 371513"/>
                    <a:gd name="connsiteY74" fmla="*/ 162685 h 343666"/>
                    <a:gd name="connsiteX75" fmla="*/ 260017 w 371513"/>
                    <a:gd name="connsiteY75" fmla="*/ 165725 h 343666"/>
                    <a:gd name="connsiteX76" fmla="*/ 262462 w 371513"/>
                    <a:gd name="connsiteY76" fmla="*/ 166898 h 343666"/>
                    <a:gd name="connsiteX77" fmla="*/ 263449 w 371513"/>
                    <a:gd name="connsiteY77" fmla="*/ 166996 h 343666"/>
                    <a:gd name="connsiteX78" fmla="*/ 268558 w 371513"/>
                    <a:gd name="connsiteY78" fmla="*/ 172619 h 343666"/>
                    <a:gd name="connsiteX79" fmla="*/ 272454 w 371513"/>
                    <a:gd name="connsiteY79" fmla="*/ 176898 h 343666"/>
                    <a:gd name="connsiteX80" fmla="*/ 273415 w 371513"/>
                    <a:gd name="connsiteY80" fmla="*/ 177583 h 343666"/>
                    <a:gd name="connsiteX81" fmla="*/ 280449 w 371513"/>
                    <a:gd name="connsiteY81" fmla="*/ 180378 h 343666"/>
                    <a:gd name="connsiteX82" fmla="*/ 288533 w 371513"/>
                    <a:gd name="connsiteY82" fmla="*/ 183597 h 343666"/>
                    <a:gd name="connsiteX83" fmla="*/ 295012 w 371513"/>
                    <a:gd name="connsiteY83" fmla="*/ 186189 h 343666"/>
                    <a:gd name="connsiteX84" fmla="*/ 303284 w 371513"/>
                    <a:gd name="connsiteY84" fmla="*/ 189481 h 343666"/>
                    <a:gd name="connsiteX85" fmla="*/ 311426 w 371513"/>
                    <a:gd name="connsiteY85" fmla="*/ 192725 h 343666"/>
                    <a:gd name="connsiteX86" fmla="*/ 319062 w 371513"/>
                    <a:gd name="connsiteY86" fmla="*/ 195830 h 343666"/>
                    <a:gd name="connsiteX87" fmla="*/ 329796 w 371513"/>
                    <a:gd name="connsiteY87" fmla="*/ 200198 h 343666"/>
                    <a:gd name="connsiteX88" fmla="*/ 338442 w 371513"/>
                    <a:gd name="connsiteY88" fmla="*/ 203711 h 343666"/>
                    <a:gd name="connsiteX89" fmla="*/ 345263 w 371513"/>
                    <a:gd name="connsiteY89" fmla="*/ 206482 h 343666"/>
                    <a:gd name="connsiteX90" fmla="*/ 346714 w 371513"/>
                    <a:gd name="connsiteY90" fmla="*/ 207346 h 343666"/>
                    <a:gd name="connsiteX91" fmla="*/ 354840 w 371513"/>
                    <a:gd name="connsiteY91" fmla="*/ 207346 h 343666"/>
                    <a:gd name="connsiteX92" fmla="*/ 363071 w 371513"/>
                    <a:gd name="connsiteY92" fmla="*/ 207346 h 343666"/>
                    <a:gd name="connsiteX93" fmla="*/ 371514 w 371513"/>
                    <a:gd name="connsiteY93" fmla="*/ 207346 h 343666"/>
                    <a:gd name="connsiteX94" fmla="*/ 365401 w 371513"/>
                    <a:gd name="connsiteY94" fmla="*/ 214501 h 343666"/>
                    <a:gd name="connsiteX95" fmla="*/ 358491 w 371513"/>
                    <a:gd name="connsiteY95" fmla="*/ 222586 h 343666"/>
                    <a:gd name="connsiteX96" fmla="*/ 351221 w 371513"/>
                    <a:gd name="connsiteY96" fmla="*/ 231086 h 343666"/>
                    <a:gd name="connsiteX97" fmla="*/ 346543 w 371513"/>
                    <a:gd name="connsiteY97" fmla="*/ 236546 h 343666"/>
                    <a:gd name="connsiteX98" fmla="*/ 339119 w 371513"/>
                    <a:gd name="connsiteY98" fmla="*/ 245225 h 343666"/>
                    <a:gd name="connsiteX99" fmla="*/ 332941 w 371513"/>
                    <a:gd name="connsiteY99" fmla="*/ 252438 h 343666"/>
                    <a:gd name="connsiteX100" fmla="*/ 326593 w 371513"/>
                    <a:gd name="connsiteY100" fmla="*/ 260319 h 343666"/>
                    <a:gd name="connsiteX101" fmla="*/ 320847 w 371513"/>
                    <a:gd name="connsiteY101" fmla="*/ 267450 h 343666"/>
                    <a:gd name="connsiteX102" fmla="*/ 313374 w 371513"/>
                    <a:gd name="connsiteY102" fmla="*/ 277327 h 343666"/>
                    <a:gd name="connsiteX103" fmla="*/ 308533 w 371513"/>
                    <a:gd name="connsiteY103" fmla="*/ 283717 h 343666"/>
                    <a:gd name="connsiteX104" fmla="*/ 300954 w 371513"/>
                    <a:gd name="connsiteY104" fmla="*/ 293733 h 343666"/>
                    <a:gd name="connsiteX105" fmla="*/ 296178 w 371513"/>
                    <a:gd name="connsiteY105" fmla="*/ 300016 h 343666"/>
                    <a:gd name="connsiteX106" fmla="*/ 295452 w 371513"/>
                    <a:gd name="connsiteY106" fmla="*/ 300375 h 343666"/>
                    <a:gd name="connsiteX107" fmla="*/ 288631 w 371513"/>
                    <a:gd name="connsiteY107" fmla="*/ 299902 h 343666"/>
                    <a:gd name="connsiteX108" fmla="*/ 282022 w 371513"/>
                    <a:gd name="connsiteY108" fmla="*/ 299438 h 343666"/>
                    <a:gd name="connsiteX109" fmla="*/ 273546 w 371513"/>
                    <a:gd name="connsiteY109" fmla="*/ 298843 h 343666"/>
                    <a:gd name="connsiteX110" fmla="*/ 272576 w 371513"/>
                    <a:gd name="connsiteY110" fmla="*/ 298859 h 343666"/>
                    <a:gd name="connsiteX111" fmla="*/ 270099 w 371513"/>
                    <a:gd name="connsiteY111" fmla="*/ 299454 h 343666"/>
                    <a:gd name="connsiteX112" fmla="*/ 268607 w 371513"/>
                    <a:gd name="connsiteY112" fmla="*/ 300032 h 343666"/>
                    <a:gd name="connsiteX113" fmla="*/ 262519 w 371513"/>
                    <a:gd name="connsiteY113" fmla="*/ 301728 h 343666"/>
                    <a:gd name="connsiteX114" fmla="*/ 261403 w 371513"/>
                    <a:gd name="connsiteY114" fmla="*/ 302168 h 343666"/>
                    <a:gd name="connsiteX115" fmla="*/ 256334 w 371513"/>
                    <a:gd name="connsiteY115" fmla="*/ 304865 h 343666"/>
                    <a:gd name="connsiteX116" fmla="*/ 251167 w 371513"/>
                    <a:gd name="connsiteY116" fmla="*/ 308035 h 343666"/>
                    <a:gd name="connsiteX117" fmla="*/ 248445 w 371513"/>
                    <a:gd name="connsiteY117" fmla="*/ 310472 h 343666"/>
                    <a:gd name="connsiteX118" fmla="*/ 246334 w 371513"/>
                    <a:gd name="connsiteY118" fmla="*/ 314009 h 343666"/>
                    <a:gd name="connsiteX119" fmla="*/ 245438 w 371513"/>
                    <a:gd name="connsiteY119" fmla="*/ 316536 h 343666"/>
                    <a:gd name="connsiteX120" fmla="*/ 244492 w 371513"/>
                    <a:gd name="connsiteY120" fmla="*/ 317644 h 343666"/>
                    <a:gd name="connsiteX121" fmla="*/ 242878 w 371513"/>
                    <a:gd name="connsiteY121" fmla="*/ 318614 h 343666"/>
                    <a:gd name="connsiteX122" fmla="*/ 232048 w 371513"/>
                    <a:gd name="connsiteY122" fmla="*/ 321002 h 343666"/>
                    <a:gd name="connsiteX123" fmla="*/ 228902 w 371513"/>
                    <a:gd name="connsiteY123" fmla="*/ 321311 h 343666"/>
                    <a:gd name="connsiteX124" fmla="*/ 223841 w 371513"/>
                    <a:gd name="connsiteY124" fmla="*/ 323227 h 343666"/>
                    <a:gd name="connsiteX125" fmla="*/ 221143 w 371513"/>
                    <a:gd name="connsiteY125" fmla="*/ 326430 h 343666"/>
                    <a:gd name="connsiteX126" fmla="*/ 220369 w 371513"/>
                    <a:gd name="connsiteY126" fmla="*/ 328027 h 343666"/>
                    <a:gd name="connsiteX127" fmla="*/ 216734 w 371513"/>
                    <a:gd name="connsiteY127" fmla="*/ 327986 h 343666"/>
                    <a:gd name="connsiteX128" fmla="*/ 210394 w 371513"/>
                    <a:gd name="connsiteY128" fmla="*/ 328459 h 343666"/>
                    <a:gd name="connsiteX129" fmla="*/ 207688 w 371513"/>
                    <a:gd name="connsiteY129" fmla="*/ 328980 h 343666"/>
                    <a:gd name="connsiteX130" fmla="*/ 206360 w 371513"/>
                    <a:gd name="connsiteY130" fmla="*/ 329070 h 343666"/>
                    <a:gd name="connsiteX131" fmla="*/ 203923 w 371513"/>
                    <a:gd name="connsiteY131" fmla="*/ 329054 h 343666"/>
                    <a:gd name="connsiteX132" fmla="*/ 201934 w 371513"/>
                    <a:gd name="connsiteY132" fmla="*/ 328467 h 343666"/>
                    <a:gd name="connsiteX133" fmla="*/ 200614 w 371513"/>
                    <a:gd name="connsiteY133" fmla="*/ 327603 h 343666"/>
                    <a:gd name="connsiteX134" fmla="*/ 198968 w 371513"/>
                    <a:gd name="connsiteY134" fmla="*/ 325639 h 343666"/>
                    <a:gd name="connsiteX135" fmla="*/ 195284 w 371513"/>
                    <a:gd name="connsiteY135" fmla="*/ 321654 h 343666"/>
                    <a:gd name="connsiteX136" fmla="*/ 192627 w 371513"/>
                    <a:gd name="connsiteY136" fmla="*/ 319176 h 343666"/>
                    <a:gd name="connsiteX137" fmla="*/ 186759 w 371513"/>
                    <a:gd name="connsiteY137" fmla="*/ 322037 h 343666"/>
                    <a:gd name="connsiteX138" fmla="*/ 181478 w 371513"/>
                    <a:gd name="connsiteY138" fmla="*/ 324881 h 343666"/>
                    <a:gd name="connsiteX139" fmla="*/ 173997 w 371513"/>
                    <a:gd name="connsiteY139" fmla="*/ 328923 h 343666"/>
                    <a:gd name="connsiteX140" fmla="*/ 169727 w 371513"/>
                    <a:gd name="connsiteY140" fmla="*/ 331816 h 343666"/>
                    <a:gd name="connsiteX141" fmla="*/ 168439 w 371513"/>
                    <a:gd name="connsiteY141" fmla="*/ 334726 h 343666"/>
                    <a:gd name="connsiteX142" fmla="*/ 165147 w 371513"/>
                    <a:gd name="connsiteY142" fmla="*/ 340015 h 343666"/>
                    <a:gd name="connsiteX143" fmla="*/ 162212 w 371513"/>
                    <a:gd name="connsiteY143" fmla="*/ 343275 h 343666"/>
                    <a:gd name="connsiteX144" fmla="*/ 161104 w 371513"/>
                    <a:gd name="connsiteY144" fmla="*/ 343666 h 343666"/>
                    <a:gd name="connsiteX145" fmla="*/ 154438 w 371513"/>
                    <a:gd name="connsiteY145" fmla="*/ 342981 h 343666"/>
                    <a:gd name="connsiteX146" fmla="*/ 152017 w 371513"/>
                    <a:gd name="connsiteY146" fmla="*/ 342321 h 343666"/>
                    <a:gd name="connsiteX147" fmla="*/ 148040 w 371513"/>
                    <a:gd name="connsiteY147" fmla="*/ 341726 h 343666"/>
                    <a:gd name="connsiteX148" fmla="*/ 142710 w 371513"/>
                    <a:gd name="connsiteY148" fmla="*/ 340577 h 343666"/>
                    <a:gd name="connsiteX149" fmla="*/ 139116 w 371513"/>
                    <a:gd name="connsiteY149" fmla="*/ 339347 h 343666"/>
                    <a:gd name="connsiteX150" fmla="*/ 135237 w 371513"/>
                    <a:gd name="connsiteY150" fmla="*/ 339208 h 343666"/>
                    <a:gd name="connsiteX151" fmla="*/ 129630 w 371513"/>
                    <a:gd name="connsiteY151" fmla="*/ 338776 h 343666"/>
                    <a:gd name="connsiteX152" fmla="*/ 126183 w 371513"/>
                    <a:gd name="connsiteY152" fmla="*/ 337888 h 343666"/>
                    <a:gd name="connsiteX153" fmla="*/ 122670 w 371513"/>
                    <a:gd name="connsiteY153" fmla="*/ 334954 h 343666"/>
                    <a:gd name="connsiteX154" fmla="*/ 118163 w 371513"/>
                    <a:gd name="connsiteY154" fmla="*/ 331417 h 343666"/>
                    <a:gd name="connsiteX155" fmla="*/ 113501 w 371513"/>
                    <a:gd name="connsiteY155" fmla="*/ 327782 h 343666"/>
                    <a:gd name="connsiteX156" fmla="*/ 108718 w 371513"/>
                    <a:gd name="connsiteY156" fmla="*/ 324042 h 343666"/>
                    <a:gd name="connsiteX157" fmla="*/ 103061 w 371513"/>
                    <a:gd name="connsiteY157" fmla="*/ 319730 h 343666"/>
                    <a:gd name="connsiteX158" fmla="*/ 96892 w 371513"/>
                    <a:gd name="connsiteY158" fmla="*/ 315028 h 343666"/>
                    <a:gd name="connsiteX159" fmla="*/ 95466 w 371513"/>
                    <a:gd name="connsiteY159" fmla="*/ 314547 h 343666"/>
                    <a:gd name="connsiteX160" fmla="*/ 94863 w 371513"/>
                    <a:gd name="connsiteY160" fmla="*/ 314466 h 343666"/>
                    <a:gd name="connsiteX161" fmla="*/ 88156 w 371513"/>
                    <a:gd name="connsiteY161" fmla="*/ 314254 h 343666"/>
                    <a:gd name="connsiteX162" fmla="*/ 81172 w 371513"/>
                    <a:gd name="connsiteY162" fmla="*/ 314026 h 343666"/>
                    <a:gd name="connsiteX163" fmla="*/ 76461 w 371513"/>
                    <a:gd name="connsiteY163" fmla="*/ 313879 h 343666"/>
                    <a:gd name="connsiteX164" fmla="*/ 74978 w 371513"/>
                    <a:gd name="connsiteY164" fmla="*/ 313325 h 343666"/>
                    <a:gd name="connsiteX165" fmla="*/ 73910 w 371513"/>
                    <a:gd name="connsiteY165" fmla="*/ 312257 h 343666"/>
                    <a:gd name="connsiteX166" fmla="*/ 72443 w 371513"/>
                    <a:gd name="connsiteY166" fmla="*/ 308777 h 343666"/>
                    <a:gd name="connsiteX167" fmla="*/ 70609 w 371513"/>
                    <a:gd name="connsiteY167" fmla="*/ 306300 h 343666"/>
                    <a:gd name="connsiteX168" fmla="*/ 68564 w 371513"/>
                    <a:gd name="connsiteY168" fmla="*/ 303138 h 343666"/>
                    <a:gd name="connsiteX169" fmla="*/ 68384 w 371513"/>
                    <a:gd name="connsiteY169" fmla="*/ 298859 h 343666"/>
                    <a:gd name="connsiteX170" fmla="*/ 68963 w 371513"/>
                    <a:gd name="connsiteY170" fmla="*/ 294214 h 343666"/>
                    <a:gd name="connsiteX171" fmla="*/ 69477 w 371513"/>
                    <a:gd name="connsiteY171" fmla="*/ 292673 h 343666"/>
                    <a:gd name="connsiteX172" fmla="*/ 69191 w 371513"/>
                    <a:gd name="connsiteY172" fmla="*/ 291133 h 343666"/>
                    <a:gd name="connsiteX173" fmla="*/ 69265 w 371513"/>
                    <a:gd name="connsiteY173" fmla="*/ 289014 h 343666"/>
                    <a:gd name="connsiteX174" fmla="*/ 68116 w 371513"/>
                    <a:gd name="connsiteY174" fmla="*/ 287058 h 343666"/>
                    <a:gd name="connsiteX175" fmla="*/ 61253 w 371513"/>
                    <a:gd name="connsiteY175" fmla="*/ 284801 h 343666"/>
                    <a:gd name="connsiteX176" fmla="*/ 60145 w 371513"/>
                    <a:gd name="connsiteY176" fmla="*/ 284980 h 343666"/>
                    <a:gd name="connsiteX177" fmla="*/ 59012 w 371513"/>
                    <a:gd name="connsiteY177" fmla="*/ 285819 h 343666"/>
                    <a:gd name="connsiteX178" fmla="*/ 57708 w 371513"/>
                    <a:gd name="connsiteY178" fmla="*/ 286430 h 343666"/>
                    <a:gd name="connsiteX179" fmla="*/ 56763 w 371513"/>
                    <a:gd name="connsiteY179" fmla="*/ 285852 h 343666"/>
                    <a:gd name="connsiteX180" fmla="*/ 56201 w 371513"/>
                    <a:gd name="connsiteY180" fmla="*/ 285013 h 343666"/>
                    <a:gd name="connsiteX181" fmla="*/ 56176 w 371513"/>
                    <a:gd name="connsiteY181" fmla="*/ 283643 h 343666"/>
                    <a:gd name="connsiteX182" fmla="*/ 56282 w 371513"/>
                    <a:gd name="connsiteY182" fmla="*/ 282608 h 343666"/>
                    <a:gd name="connsiteX183" fmla="*/ 55899 w 371513"/>
                    <a:gd name="connsiteY183" fmla="*/ 282038 h 343666"/>
                    <a:gd name="connsiteX184" fmla="*/ 53707 w 371513"/>
                    <a:gd name="connsiteY184" fmla="*/ 279943 h 343666"/>
                    <a:gd name="connsiteX185" fmla="*/ 51661 w 371513"/>
                    <a:gd name="connsiteY185" fmla="*/ 277181 h 343666"/>
                    <a:gd name="connsiteX186" fmla="*/ 50431 w 371513"/>
                    <a:gd name="connsiteY186" fmla="*/ 274125 h 343666"/>
                    <a:gd name="connsiteX187" fmla="*/ 49225 w 371513"/>
                    <a:gd name="connsiteY187" fmla="*/ 271623 h 343666"/>
                    <a:gd name="connsiteX188" fmla="*/ 48613 w 371513"/>
                    <a:gd name="connsiteY188" fmla="*/ 266015 h 343666"/>
                    <a:gd name="connsiteX189" fmla="*/ 47097 w 371513"/>
                    <a:gd name="connsiteY189" fmla="*/ 262568 h 343666"/>
                    <a:gd name="connsiteX190" fmla="*/ 45614 w 371513"/>
                    <a:gd name="connsiteY190" fmla="*/ 258355 h 343666"/>
                    <a:gd name="connsiteX191" fmla="*/ 43414 w 371513"/>
                    <a:gd name="connsiteY191" fmla="*/ 250319 h 343666"/>
                    <a:gd name="connsiteX192" fmla="*/ 42452 w 371513"/>
                    <a:gd name="connsiteY192" fmla="*/ 247540 h 343666"/>
                    <a:gd name="connsiteX193" fmla="*/ 40684 w 371513"/>
                    <a:gd name="connsiteY193" fmla="*/ 245682 h 343666"/>
                    <a:gd name="connsiteX194" fmla="*/ 38793 w 371513"/>
                    <a:gd name="connsiteY194" fmla="*/ 243946 h 343666"/>
                    <a:gd name="connsiteX195" fmla="*/ 36845 w 371513"/>
                    <a:gd name="connsiteY195" fmla="*/ 240385 h 343666"/>
                    <a:gd name="connsiteX196" fmla="*/ 31760 w 371513"/>
                    <a:gd name="connsiteY196" fmla="*/ 237247 h 343666"/>
                    <a:gd name="connsiteX197" fmla="*/ 29804 w 371513"/>
                    <a:gd name="connsiteY197" fmla="*/ 234794 h 343666"/>
                    <a:gd name="connsiteX198" fmla="*/ 26430 w 371513"/>
                    <a:gd name="connsiteY198" fmla="*/ 230548 h 343666"/>
                    <a:gd name="connsiteX199" fmla="*/ 25582 w 371513"/>
                    <a:gd name="connsiteY199" fmla="*/ 228404 h 343666"/>
                    <a:gd name="connsiteX200" fmla="*/ 25338 w 371513"/>
                    <a:gd name="connsiteY200" fmla="*/ 226269 h 343666"/>
                    <a:gd name="connsiteX201" fmla="*/ 24287 w 371513"/>
                    <a:gd name="connsiteY201" fmla="*/ 224273 h 343666"/>
                    <a:gd name="connsiteX202" fmla="*/ 22404 w 371513"/>
                    <a:gd name="connsiteY202" fmla="*/ 222015 h 343666"/>
                    <a:gd name="connsiteX203" fmla="*/ 16544 w 371513"/>
                    <a:gd name="connsiteY203" fmla="*/ 217166 h 343666"/>
                    <a:gd name="connsiteX204" fmla="*/ 14931 w 371513"/>
                    <a:gd name="connsiteY204" fmla="*/ 216579 h 343666"/>
                    <a:gd name="connsiteX205" fmla="*/ 12828 w 371513"/>
                    <a:gd name="connsiteY205" fmla="*/ 216058 h 343666"/>
                    <a:gd name="connsiteX206" fmla="*/ 9763 w 371513"/>
                    <a:gd name="connsiteY206" fmla="*/ 215577 h 343666"/>
                    <a:gd name="connsiteX207" fmla="*/ 5632 w 371513"/>
                    <a:gd name="connsiteY207" fmla="*/ 214460 h 343666"/>
                    <a:gd name="connsiteX208" fmla="*/ 2029 w 371513"/>
                    <a:gd name="connsiteY208" fmla="*/ 212570 h 343666"/>
                    <a:gd name="connsiteX209" fmla="*/ 383 w 371513"/>
                    <a:gd name="connsiteY209" fmla="*/ 211217 h 343666"/>
                    <a:gd name="connsiteX210" fmla="*/ 0 w 371513"/>
                    <a:gd name="connsiteY210" fmla="*/ 210288 h 343666"/>
                    <a:gd name="connsiteX211" fmla="*/ 334 w 371513"/>
                    <a:gd name="connsiteY211" fmla="*/ 208723 h 343666"/>
                    <a:gd name="connsiteX212" fmla="*/ 1654 w 371513"/>
                    <a:gd name="connsiteY212" fmla="*/ 206050 h 343666"/>
                    <a:gd name="connsiteX213" fmla="*/ 4124 w 371513"/>
                    <a:gd name="connsiteY213" fmla="*/ 199709 h 343666"/>
                    <a:gd name="connsiteX214" fmla="*/ 5827 w 371513"/>
                    <a:gd name="connsiteY214" fmla="*/ 195341 h 343666"/>
                    <a:gd name="connsiteX215" fmla="*/ 7001 w 371513"/>
                    <a:gd name="connsiteY215" fmla="*/ 194102 h 343666"/>
                    <a:gd name="connsiteX216" fmla="*/ 10179 w 371513"/>
                    <a:gd name="connsiteY216" fmla="*/ 193792 h 343666"/>
                    <a:gd name="connsiteX217" fmla="*/ 13561 w 371513"/>
                    <a:gd name="connsiteY217" fmla="*/ 193923 h 343666"/>
                    <a:gd name="connsiteX218" fmla="*/ 16014 w 371513"/>
                    <a:gd name="connsiteY218" fmla="*/ 194249 h 343666"/>
                    <a:gd name="connsiteX219" fmla="*/ 19502 w 371513"/>
                    <a:gd name="connsiteY219" fmla="*/ 194290 h 343666"/>
                    <a:gd name="connsiteX220" fmla="*/ 23675 w 371513"/>
                    <a:gd name="connsiteY220" fmla="*/ 193915 h 343666"/>
                    <a:gd name="connsiteX221" fmla="*/ 25313 w 371513"/>
                    <a:gd name="connsiteY221" fmla="*/ 192456 h 343666"/>
                    <a:gd name="connsiteX222" fmla="*/ 26633 w 371513"/>
                    <a:gd name="connsiteY222" fmla="*/ 190859 h 343666"/>
                    <a:gd name="connsiteX223" fmla="*/ 27172 w 371513"/>
                    <a:gd name="connsiteY223" fmla="*/ 189742 h 343666"/>
                    <a:gd name="connsiteX224" fmla="*/ 27351 w 371513"/>
                    <a:gd name="connsiteY224" fmla="*/ 186914 h 343666"/>
                    <a:gd name="connsiteX225" fmla="*/ 27343 w 371513"/>
                    <a:gd name="connsiteY225" fmla="*/ 184632 h 343666"/>
                    <a:gd name="connsiteX226" fmla="*/ 27090 w 371513"/>
                    <a:gd name="connsiteY226" fmla="*/ 175920 h 343666"/>
                    <a:gd name="connsiteX227" fmla="*/ 26927 w 371513"/>
                    <a:gd name="connsiteY227" fmla="*/ 170582 h 343666"/>
                    <a:gd name="connsiteX228" fmla="*/ 26748 w 371513"/>
                    <a:gd name="connsiteY228" fmla="*/ 164478 h 343666"/>
                    <a:gd name="connsiteX229" fmla="*/ 26772 w 371513"/>
                    <a:gd name="connsiteY229" fmla="*/ 163256 h 343666"/>
                    <a:gd name="connsiteX230" fmla="*/ 26804 w 371513"/>
                    <a:gd name="connsiteY230" fmla="*/ 161691 h 343666"/>
                    <a:gd name="connsiteX231" fmla="*/ 27815 w 371513"/>
                    <a:gd name="connsiteY231" fmla="*/ 155163 h 343666"/>
                    <a:gd name="connsiteX232" fmla="*/ 28785 w 371513"/>
                    <a:gd name="connsiteY232" fmla="*/ 151438 h 343666"/>
                    <a:gd name="connsiteX233" fmla="*/ 29429 w 371513"/>
                    <a:gd name="connsiteY233" fmla="*/ 149474 h 343666"/>
                    <a:gd name="connsiteX234" fmla="*/ 32061 w 371513"/>
                    <a:gd name="connsiteY234" fmla="*/ 143256 h 343666"/>
                    <a:gd name="connsiteX235" fmla="*/ 32558 w 371513"/>
                    <a:gd name="connsiteY235" fmla="*/ 141259 h 343666"/>
                    <a:gd name="connsiteX236" fmla="*/ 32632 w 371513"/>
                    <a:gd name="connsiteY236" fmla="*/ 139426 h 343666"/>
                    <a:gd name="connsiteX237" fmla="*/ 31662 w 371513"/>
                    <a:gd name="connsiteY237" fmla="*/ 131080 h 343666"/>
                    <a:gd name="connsiteX238" fmla="*/ 33357 w 371513"/>
                    <a:gd name="connsiteY238" fmla="*/ 127136 h 343666"/>
                    <a:gd name="connsiteX239" fmla="*/ 35533 w 371513"/>
                    <a:gd name="connsiteY239" fmla="*/ 123232 h 343666"/>
                    <a:gd name="connsiteX240" fmla="*/ 37424 w 371513"/>
                    <a:gd name="connsiteY240" fmla="*/ 121569 h 343666"/>
                    <a:gd name="connsiteX241" fmla="*/ 39013 w 371513"/>
                    <a:gd name="connsiteY241" fmla="*/ 120445 h 343666"/>
                    <a:gd name="connsiteX242" fmla="*/ 39746 w 371513"/>
                    <a:gd name="connsiteY242" fmla="*/ 120918 h 343666"/>
                    <a:gd name="connsiteX243" fmla="*/ 41564 w 371513"/>
                    <a:gd name="connsiteY243" fmla="*/ 122719 h 343666"/>
                    <a:gd name="connsiteX244" fmla="*/ 43960 w 371513"/>
                    <a:gd name="connsiteY244" fmla="*/ 124487 h 343666"/>
                    <a:gd name="connsiteX245" fmla="*/ 45076 w 371513"/>
                    <a:gd name="connsiteY245" fmla="*/ 124104 h 343666"/>
                    <a:gd name="connsiteX246" fmla="*/ 46706 w 371513"/>
                    <a:gd name="connsiteY246" fmla="*/ 122548 h 343666"/>
                    <a:gd name="connsiteX247" fmla="*/ 47937 w 371513"/>
                    <a:gd name="connsiteY247" fmla="*/ 120909 h 343666"/>
                    <a:gd name="connsiteX248" fmla="*/ 47774 w 371513"/>
                    <a:gd name="connsiteY248" fmla="*/ 117967 h 343666"/>
                    <a:gd name="connsiteX249" fmla="*/ 48866 w 371513"/>
                    <a:gd name="connsiteY249" fmla="*/ 111937 h 343666"/>
                    <a:gd name="connsiteX250" fmla="*/ 48654 w 371513"/>
                    <a:gd name="connsiteY250" fmla="*/ 108457 h 343666"/>
                    <a:gd name="connsiteX251" fmla="*/ 49828 w 371513"/>
                    <a:gd name="connsiteY251" fmla="*/ 104129 h 343666"/>
                    <a:gd name="connsiteX252" fmla="*/ 51115 w 371513"/>
                    <a:gd name="connsiteY252" fmla="*/ 98041 h 343666"/>
                    <a:gd name="connsiteX253" fmla="*/ 51677 w 371513"/>
                    <a:gd name="connsiteY253" fmla="*/ 94203 h 343666"/>
                    <a:gd name="connsiteX254" fmla="*/ 52419 w 371513"/>
                    <a:gd name="connsiteY254" fmla="*/ 92133 h 343666"/>
                    <a:gd name="connsiteX255" fmla="*/ 55899 w 371513"/>
                    <a:gd name="connsiteY255" fmla="*/ 87879 h 343666"/>
                    <a:gd name="connsiteX256" fmla="*/ 58882 w 371513"/>
                    <a:gd name="connsiteY256" fmla="*/ 81864 h 343666"/>
                    <a:gd name="connsiteX257" fmla="*/ 60781 w 371513"/>
                    <a:gd name="connsiteY257" fmla="*/ 77480 h 343666"/>
                    <a:gd name="connsiteX258" fmla="*/ 64415 w 371513"/>
                    <a:gd name="connsiteY258" fmla="*/ 70308 h 343666"/>
                    <a:gd name="connsiteX259" fmla="*/ 66249 w 371513"/>
                    <a:gd name="connsiteY259" fmla="*/ 67692 h 343666"/>
                    <a:gd name="connsiteX260" fmla="*/ 67749 w 371513"/>
                    <a:gd name="connsiteY260" fmla="*/ 66559 h 343666"/>
                    <a:gd name="connsiteX261" fmla="*/ 69982 w 371513"/>
                    <a:gd name="connsiteY261" fmla="*/ 65834 h 343666"/>
                    <a:gd name="connsiteX262" fmla="*/ 74122 w 371513"/>
                    <a:gd name="connsiteY262" fmla="*/ 65190 h 343666"/>
                    <a:gd name="connsiteX263" fmla="*/ 77089 w 371513"/>
                    <a:gd name="connsiteY263" fmla="*/ 64579 h 343666"/>
                    <a:gd name="connsiteX264" fmla="*/ 77537 w 371513"/>
                    <a:gd name="connsiteY264" fmla="*/ 63649 h 343666"/>
                    <a:gd name="connsiteX265" fmla="*/ 77781 w 371513"/>
                    <a:gd name="connsiteY265" fmla="*/ 62182 h 343666"/>
                    <a:gd name="connsiteX266" fmla="*/ 77830 w 371513"/>
                    <a:gd name="connsiteY266" fmla="*/ 58980 h 343666"/>
                    <a:gd name="connsiteX267" fmla="*/ 78400 w 371513"/>
                    <a:gd name="connsiteY267" fmla="*/ 53454 h 343666"/>
                    <a:gd name="connsiteX268" fmla="*/ 79696 w 371513"/>
                    <a:gd name="connsiteY268" fmla="*/ 48059 h 343666"/>
                    <a:gd name="connsiteX269" fmla="*/ 81212 w 371513"/>
                    <a:gd name="connsiteY269" fmla="*/ 43976 h 343666"/>
                    <a:gd name="connsiteX270" fmla="*/ 82043 w 371513"/>
                    <a:gd name="connsiteY270" fmla="*/ 42118 h 343666"/>
                    <a:gd name="connsiteX271" fmla="*/ 83030 w 371513"/>
                    <a:gd name="connsiteY271" fmla="*/ 40309 h 343666"/>
                    <a:gd name="connsiteX272" fmla="*/ 84130 w 371513"/>
                    <a:gd name="connsiteY272" fmla="*/ 37285 h 343666"/>
                    <a:gd name="connsiteX273" fmla="*/ 85523 w 371513"/>
                    <a:gd name="connsiteY273" fmla="*/ 30725 h 343666"/>
                    <a:gd name="connsiteX274" fmla="*/ 85442 w 371513"/>
                    <a:gd name="connsiteY274" fmla="*/ 26275 h 343666"/>
                    <a:gd name="connsiteX275" fmla="*/ 87439 w 371513"/>
                    <a:gd name="connsiteY275" fmla="*/ 18117 h 343666"/>
                    <a:gd name="connsiteX276" fmla="*/ 87887 w 371513"/>
                    <a:gd name="connsiteY276" fmla="*/ 18076 h 343666"/>
                    <a:gd name="connsiteX277" fmla="*/ 91286 w 371513"/>
                    <a:gd name="connsiteY277" fmla="*/ 16569 h 343666"/>
                    <a:gd name="connsiteX278" fmla="*/ 94570 w 371513"/>
                    <a:gd name="connsiteY278" fmla="*/ 16348 h 343666"/>
                    <a:gd name="connsiteX279" fmla="*/ 97764 w 371513"/>
                    <a:gd name="connsiteY279" fmla="*/ 17392 h 343666"/>
                    <a:gd name="connsiteX280" fmla="*/ 99843 w 371513"/>
                    <a:gd name="connsiteY280" fmla="*/ 17652 h 343666"/>
                    <a:gd name="connsiteX281" fmla="*/ 100812 w 371513"/>
                    <a:gd name="connsiteY281" fmla="*/ 17131 h 343666"/>
                    <a:gd name="connsiteX282" fmla="*/ 101709 w 371513"/>
                    <a:gd name="connsiteY282" fmla="*/ 15770 h 343666"/>
                    <a:gd name="connsiteX283" fmla="*/ 102532 w 371513"/>
                    <a:gd name="connsiteY283" fmla="*/ 13578 h 343666"/>
                    <a:gd name="connsiteX284" fmla="*/ 103836 w 371513"/>
                    <a:gd name="connsiteY284" fmla="*/ 12363 h 343666"/>
                    <a:gd name="connsiteX285" fmla="*/ 105613 w 371513"/>
                    <a:gd name="connsiteY285" fmla="*/ 12127 h 343666"/>
                    <a:gd name="connsiteX286" fmla="*/ 108000 w 371513"/>
                    <a:gd name="connsiteY286" fmla="*/ 14596 h 343666"/>
                    <a:gd name="connsiteX287" fmla="*/ 111806 w 371513"/>
                    <a:gd name="connsiteY287" fmla="*/ 21173 h 343666"/>
                    <a:gd name="connsiteX288" fmla="*/ 112793 w 371513"/>
                    <a:gd name="connsiteY288" fmla="*/ 21548 h 343666"/>
                    <a:gd name="connsiteX289" fmla="*/ 113412 w 371513"/>
                    <a:gd name="connsiteY289" fmla="*/ 21393 h 343666"/>
                    <a:gd name="connsiteX290" fmla="*/ 115319 w 371513"/>
                    <a:gd name="connsiteY290" fmla="*/ 16120 h 343666"/>
                    <a:gd name="connsiteX291" fmla="*/ 116802 w 371513"/>
                    <a:gd name="connsiteY291" fmla="*/ 12021 h 343666"/>
                    <a:gd name="connsiteX292" fmla="*/ 119573 w 371513"/>
                    <a:gd name="connsiteY292" fmla="*/ 4377 h 343666"/>
                    <a:gd name="connsiteX293" fmla="*/ 121162 w 371513"/>
                    <a:gd name="connsiteY293" fmla="*/ 0 h 343666"/>
                    <a:gd name="connsiteX294" fmla="*/ 122637 w 371513"/>
                    <a:gd name="connsiteY294" fmla="*/ 1263 h 343666"/>
                    <a:gd name="connsiteX295" fmla="*/ 124104 w 371513"/>
                    <a:gd name="connsiteY295" fmla="*/ 3504 h 343666"/>
                    <a:gd name="connsiteX296" fmla="*/ 125775 w 371513"/>
                    <a:gd name="connsiteY296" fmla="*/ 4556 h 343666"/>
                    <a:gd name="connsiteX297" fmla="*/ 127560 w 371513"/>
                    <a:gd name="connsiteY297" fmla="*/ 5191 h 343666"/>
                    <a:gd name="connsiteX298" fmla="*/ 128423 w 371513"/>
                    <a:gd name="connsiteY298" fmla="*/ 5281 h 343666"/>
                    <a:gd name="connsiteX299" fmla="*/ 129524 w 371513"/>
                    <a:gd name="connsiteY299" fmla="*/ 6161 h 343666"/>
                    <a:gd name="connsiteX300" fmla="*/ 133387 w 371513"/>
                    <a:gd name="connsiteY300" fmla="*/ 11614 h 343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371513" h="343666">
                      <a:moveTo>
                        <a:pt x="134748" y="12893"/>
                      </a:moveTo>
                      <a:lnTo>
                        <a:pt x="136549" y="13023"/>
                      </a:lnTo>
                      <a:lnTo>
                        <a:pt x="144177" y="11255"/>
                      </a:lnTo>
                      <a:lnTo>
                        <a:pt x="148733" y="8076"/>
                      </a:lnTo>
                      <a:lnTo>
                        <a:pt x="149433" y="6813"/>
                      </a:lnTo>
                      <a:lnTo>
                        <a:pt x="150681" y="6813"/>
                      </a:lnTo>
                      <a:lnTo>
                        <a:pt x="152197" y="8231"/>
                      </a:lnTo>
                      <a:lnTo>
                        <a:pt x="152783" y="9576"/>
                      </a:lnTo>
                      <a:lnTo>
                        <a:pt x="153753" y="11353"/>
                      </a:lnTo>
                      <a:lnTo>
                        <a:pt x="155538" y="11621"/>
                      </a:lnTo>
                      <a:lnTo>
                        <a:pt x="159906" y="10358"/>
                      </a:lnTo>
                      <a:lnTo>
                        <a:pt x="162025" y="9600"/>
                      </a:lnTo>
                      <a:lnTo>
                        <a:pt x="163842" y="10228"/>
                      </a:lnTo>
                      <a:lnTo>
                        <a:pt x="166149" y="10749"/>
                      </a:lnTo>
                      <a:lnTo>
                        <a:pt x="167591" y="10749"/>
                      </a:lnTo>
                      <a:lnTo>
                        <a:pt x="171038" y="12526"/>
                      </a:lnTo>
                      <a:lnTo>
                        <a:pt x="175187" y="11964"/>
                      </a:lnTo>
                      <a:lnTo>
                        <a:pt x="177135" y="12062"/>
                      </a:lnTo>
                      <a:lnTo>
                        <a:pt x="179131" y="12812"/>
                      </a:lnTo>
                      <a:lnTo>
                        <a:pt x="182407" y="15648"/>
                      </a:lnTo>
                      <a:lnTo>
                        <a:pt x="186653" y="19079"/>
                      </a:lnTo>
                      <a:lnTo>
                        <a:pt x="192725" y="21532"/>
                      </a:lnTo>
                      <a:lnTo>
                        <a:pt x="193980" y="22534"/>
                      </a:lnTo>
                      <a:lnTo>
                        <a:pt x="196922" y="26430"/>
                      </a:lnTo>
                      <a:lnTo>
                        <a:pt x="201478" y="33935"/>
                      </a:lnTo>
                      <a:lnTo>
                        <a:pt x="207452" y="41116"/>
                      </a:lnTo>
                      <a:lnTo>
                        <a:pt x="213939" y="46780"/>
                      </a:lnTo>
                      <a:lnTo>
                        <a:pt x="217419" y="50700"/>
                      </a:lnTo>
                      <a:lnTo>
                        <a:pt x="219766" y="55500"/>
                      </a:lnTo>
                      <a:lnTo>
                        <a:pt x="222064" y="59852"/>
                      </a:lnTo>
                      <a:lnTo>
                        <a:pt x="224403" y="61718"/>
                      </a:lnTo>
                      <a:lnTo>
                        <a:pt x="226579" y="63209"/>
                      </a:lnTo>
                      <a:lnTo>
                        <a:pt x="228828" y="66534"/>
                      </a:lnTo>
                      <a:lnTo>
                        <a:pt x="230442" y="69314"/>
                      </a:lnTo>
                      <a:lnTo>
                        <a:pt x="232634" y="72451"/>
                      </a:lnTo>
                      <a:lnTo>
                        <a:pt x="230206" y="76762"/>
                      </a:lnTo>
                      <a:lnTo>
                        <a:pt x="226938" y="82516"/>
                      </a:lnTo>
                      <a:lnTo>
                        <a:pt x="223140" y="89231"/>
                      </a:lnTo>
                      <a:lnTo>
                        <a:pt x="221999" y="90878"/>
                      </a:lnTo>
                      <a:lnTo>
                        <a:pt x="218674" y="94936"/>
                      </a:lnTo>
                      <a:lnTo>
                        <a:pt x="218103" y="96085"/>
                      </a:lnTo>
                      <a:lnTo>
                        <a:pt x="217460" y="99011"/>
                      </a:lnTo>
                      <a:lnTo>
                        <a:pt x="217410" y="104341"/>
                      </a:lnTo>
                      <a:lnTo>
                        <a:pt x="217834" y="111146"/>
                      </a:lnTo>
                      <a:lnTo>
                        <a:pt x="218242" y="117413"/>
                      </a:lnTo>
                      <a:lnTo>
                        <a:pt x="220076" y="118155"/>
                      </a:lnTo>
                      <a:lnTo>
                        <a:pt x="222195" y="118603"/>
                      </a:lnTo>
                      <a:lnTo>
                        <a:pt x="224541" y="117780"/>
                      </a:lnTo>
                      <a:lnTo>
                        <a:pt x="227370" y="117071"/>
                      </a:lnTo>
                      <a:lnTo>
                        <a:pt x="230890" y="116663"/>
                      </a:lnTo>
                      <a:lnTo>
                        <a:pt x="234778" y="115400"/>
                      </a:lnTo>
                      <a:lnTo>
                        <a:pt x="237076" y="114382"/>
                      </a:lnTo>
                      <a:lnTo>
                        <a:pt x="239480" y="114455"/>
                      </a:lnTo>
                      <a:lnTo>
                        <a:pt x="241632" y="115539"/>
                      </a:lnTo>
                      <a:lnTo>
                        <a:pt x="242666" y="116541"/>
                      </a:lnTo>
                      <a:lnTo>
                        <a:pt x="244174" y="116884"/>
                      </a:lnTo>
                      <a:lnTo>
                        <a:pt x="246130" y="116843"/>
                      </a:lnTo>
                      <a:lnTo>
                        <a:pt x="245723" y="118024"/>
                      </a:lnTo>
                      <a:lnTo>
                        <a:pt x="244647" y="119744"/>
                      </a:lnTo>
                      <a:lnTo>
                        <a:pt x="243327" y="121472"/>
                      </a:lnTo>
                      <a:lnTo>
                        <a:pt x="242170" y="123256"/>
                      </a:lnTo>
                      <a:lnTo>
                        <a:pt x="239610" y="128261"/>
                      </a:lnTo>
                      <a:lnTo>
                        <a:pt x="239521" y="128904"/>
                      </a:lnTo>
                      <a:lnTo>
                        <a:pt x="239847" y="129882"/>
                      </a:lnTo>
                      <a:lnTo>
                        <a:pt x="241232" y="132173"/>
                      </a:lnTo>
                      <a:lnTo>
                        <a:pt x="242683" y="135856"/>
                      </a:lnTo>
                      <a:lnTo>
                        <a:pt x="243498" y="139246"/>
                      </a:lnTo>
                      <a:lnTo>
                        <a:pt x="244125" y="140893"/>
                      </a:lnTo>
                      <a:lnTo>
                        <a:pt x="245878" y="142767"/>
                      </a:lnTo>
                      <a:lnTo>
                        <a:pt x="248412" y="146638"/>
                      </a:lnTo>
                      <a:lnTo>
                        <a:pt x="249757" y="149238"/>
                      </a:lnTo>
                      <a:lnTo>
                        <a:pt x="252552" y="150632"/>
                      </a:lnTo>
                      <a:lnTo>
                        <a:pt x="253473" y="153949"/>
                      </a:lnTo>
                      <a:lnTo>
                        <a:pt x="255568" y="158798"/>
                      </a:lnTo>
                      <a:lnTo>
                        <a:pt x="257833" y="162685"/>
                      </a:lnTo>
                      <a:lnTo>
                        <a:pt x="260017" y="165725"/>
                      </a:lnTo>
                      <a:lnTo>
                        <a:pt x="262462" y="166898"/>
                      </a:lnTo>
                      <a:lnTo>
                        <a:pt x="263449" y="166996"/>
                      </a:lnTo>
                      <a:lnTo>
                        <a:pt x="268558" y="172619"/>
                      </a:lnTo>
                      <a:lnTo>
                        <a:pt x="272454" y="176898"/>
                      </a:lnTo>
                      <a:lnTo>
                        <a:pt x="273415" y="177583"/>
                      </a:lnTo>
                      <a:lnTo>
                        <a:pt x="280449" y="180378"/>
                      </a:lnTo>
                      <a:lnTo>
                        <a:pt x="288533" y="183597"/>
                      </a:lnTo>
                      <a:lnTo>
                        <a:pt x="295012" y="186189"/>
                      </a:lnTo>
                      <a:lnTo>
                        <a:pt x="303284" y="189481"/>
                      </a:lnTo>
                      <a:lnTo>
                        <a:pt x="311426" y="192725"/>
                      </a:lnTo>
                      <a:lnTo>
                        <a:pt x="319062" y="195830"/>
                      </a:lnTo>
                      <a:lnTo>
                        <a:pt x="329796" y="200198"/>
                      </a:lnTo>
                      <a:lnTo>
                        <a:pt x="338442" y="203711"/>
                      </a:lnTo>
                      <a:lnTo>
                        <a:pt x="345263" y="206482"/>
                      </a:lnTo>
                      <a:lnTo>
                        <a:pt x="346714" y="207346"/>
                      </a:lnTo>
                      <a:lnTo>
                        <a:pt x="354840" y="207346"/>
                      </a:lnTo>
                      <a:lnTo>
                        <a:pt x="363071" y="207346"/>
                      </a:lnTo>
                      <a:lnTo>
                        <a:pt x="371514" y="207346"/>
                      </a:lnTo>
                      <a:lnTo>
                        <a:pt x="365401" y="214501"/>
                      </a:lnTo>
                      <a:lnTo>
                        <a:pt x="358491" y="222586"/>
                      </a:lnTo>
                      <a:lnTo>
                        <a:pt x="351221" y="231086"/>
                      </a:lnTo>
                      <a:lnTo>
                        <a:pt x="346543" y="236546"/>
                      </a:lnTo>
                      <a:lnTo>
                        <a:pt x="339119" y="245225"/>
                      </a:lnTo>
                      <a:lnTo>
                        <a:pt x="332941" y="252438"/>
                      </a:lnTo>
                      <a:lnTo>
                        <a:pt x="326593" y="260319"/>
                      </a:lnTo>
                      <a:lnTo>
                        <a:pt x="320847" y="267450"/>
                      </a:lnTo>
                      <a:lnTo>
                        <a:pt x="313374" y="277327"/>
                      </a:lnTo>
                      <a:lnTo>
                        <a:pt x="308533" y="283717"/>
                      </a:lnTo>
                      <a:lnTo>
                        <a:pt x="300954" y="293733"/>
                      </a:lnTo>
                      <a:lnTo>
                        <a:pt x="296178" y="300016"/>
                      </a:lnTo>
                      <a:lnTo>
                        <a:pt x="295452" y="300375"/>
                      </a:lnTo>
                      <a:lnTo>
                        <a:pt x="288631" y="299902"/>
                      </a:lnTo>
                      <a:lnTo>
                        <a:pt x="282022" y="299438"/>
                      </a:lnTo>
                      <a:lnTo>
                        <a:pt x="273546" y="298843"/>
                      </a:lnTo>
                      <a:lnTo>
                        <a:pt x="272576" y="298859"/>
                      </a:lnTo>
                      <a:lnTo>
                        <a:pt x="270099" y="299454"/>
                      </a:lnTo>
                      <a:lnTo>
                        <a:pt x="268607" y="300032"/>
                      </a:lnTo>
                      <a:lnTo>
                        <a:pt x="262519" y="301728"/>
                      </a:lnTo>
                      <a:lnTo>
                        <a:pt x="261403" y="302168"/>
                      </a:lnTo>
                      <a:lnTo>
                        <a:pt x="256334" y="304865"/>
                      </a:lnTo>
                      <a:lnTo>
                        <a:pt x="251167" y="308035"/>
                      </a:lnTo>
                      <a:lnTo>
                        <a:pt x="248445" y="310472"/>
                      </a:lnTo>
                      <a:lnTo>
                        <a:pt x="246334" y="314009"/>
                      </a:lnTo>
                      <a:lnTo>
                        <a:pt x="245438" y="316536"/>
                      </a:lnTo>
                      <a:lnTo>
                        <a:pt x="244492" y="317644"/>
                      </a:lnTo>
                      <a:lnTo>
                        <a:pt x="242878" y="318614"/>
                      </a:lnTo>
                      <a:lnTo>
                        <a:pt x="232048" y="321002"/>
                      </a:lnTo>
                      <a:lnTo>
                        <a:pt x="228902" y="321311"/>
                      </a:lnTo>
                      <a:lnTo>
                        <a:pt x="223841" y="323227"/>
                      </a:lnTo>
                      <a:lnTo>
                        <a:pt x="221143" y="326430"/>
                      </a:lnTo>
                      <a:lnTo>
                        <a:pt x="220369" y="328027"/>
                      </a:lnTo>
                      <a:lnTo>
                        <a:pt x="216734" y="327986"/>
                      </a:lnTo>
                      <a:lnTo>
                        <a:pt x="210394" y="328459"/>
                      </a:lnTo>
                      <a:lnTo>
                        <a:pt x="207688" y="328980"/>
                      </a:lnTo>
                      <a:lnTo>
                        <a:pt x="206360" y="329070"/>
                      </a:lnTo>
                      <a:lnTo>
                        <a:pt x="203923" y="329054"/>
                      </a:lnTo>
                      <a:lnTo>
                        <a:pt x="201934" y="328467"/>
                      </a:lnTo>
                      <a:lnTo>
                        <a:pt x="200614" y="327603"/>
                      </a:lnTo>
                      <a:lnTo>
                        <a:pt x="198968" y="325639"/>
                      </a:lnTo>
                      <a:lnTo>
                        <a:pt x="195284" y="321654"/>
                      </a:lnTo>
                      <a:lnTo>
                        <a:pt x="192627" y="319176"/>
                      </a:lnTo>
                      <a:lnTo>
                        <a:pt x="186759" y="322037"/>
                      </a:lnTo>
                      <a:lnTo>
                        <a:pt x="181478" y="324881"/>
                      </a:lnTo>
                      <a:lnTo>
                        <a:pt x="173997" y="328923"/>
                      </a:lnTo>
                      <a:lnTo>
                        <a:pt x="169727" y="331816"/>
                      </a:lnTo>
                      <a:lnTo>
                        <a:pt x="168439" y="334726"/>
                      </a:lnTo>
                      <a:lnTo>
                        <a:pt x="165147" y="340015"/>
                      </a:lnTo>
                      <a:lnTo>
                        <a:pt x="162212" y="343275"/>
                      </a:lnTo>
                      <a:lnTo>
                        <a:pt x="161104" y="343666"/>
                      </a:lnTo>
                      <a:lnTo>
                        <a:pt x="154438" y="342981"/>
                      </a:lnTo>
                      <a:lnTo>
                        <a:pt x="152017" y="342321"/>
                      </a:lnTo>
                      <a:lnTo>
                        <a:pt x="148040" y="341726"/>
                      </a:lnTo>
                      <a:lnTo>
                        <a:pt x="142710" y="340577"/>
                      </a:lnTo>
                      <a:lnTo>
                        <a:pt x="139116" y="339347"/>
                      </a:lnTo>
                      <a:lnTo>
                        <a:pt x="135237" y="339208"/>
                      </a:lnTo>
                      <a:lnTo>
                        <a:pt x="129630" y="338776"/>
                      </a:lnTo>
                      <a:lnTo>
                        <a:pt x="126183" y="337888"/>
                      </a:lnTo>
                      <a:lnTo>
                        <a:pt x="122670" y="334954"/>
                      </a:lnTo>
                      <a:lnTo>
                        <a:pt x="118163" y="331417"/>
                      </a:lnTo>
                      <a:lnTo>
                        <a:pt x="113501" y="327782"/>
                      </a:lnTo>
                      <a:lnTo>
                        <a:pt x="108718" y="324042"/>
                      </a:lnTo>
                      <a:lnTo>
                        <a:pt x="103061" y="319730"/>
                      </a:lnTo>
                      <a:lnTo>
                        <a:pt x="96892" y="315028"/>
                      </a:lnTo>
                      <a:lnTo>
                        <a:pt x="95466" y="314547"/>
                      </a:lnTo>
                      <a:lnTo>
                        <a:pt x="94863" y="314466"/>
                      </a:lnTo>
                      <a:lnTo>
                        <a:pt x="88156" y="314254"/>
                      </a:lnTo>
                      <a:lnTo>
                        <a:pt x="81172" y="314026"/>
                      </a:lnTo>
                      <a:lnTo>
                        <a:pt x="76461" y="313879"/>
                      </a:lnTo>
                      <a:lnTo>
                        <a:pt x="74978" y="313325"/>
                      </a:lnTo>
                      <a:lnTo>
                        <a:pt x="73910" y="312257"/>
                      </a:lnTo>
                      <a:lnTo>
                        <a:pt x="72443" y="308777"/>
                      </a:lnTo>
                      <a:lnTo>
                        <a:pt x="70609" y="306300"/>
                      </a:lnTo>
                      <a:lnTo>
                        <a:pt x="68564" y="303138"/>
                      </a:lnTo>
                      <a:lnTo>
                        <a:pt x="68384" y="298859"/>
                      </a:lnTo>
                      <a:lnTo>
                        <a:pt x="68963" y="294214"/>
                      </a:lnTo>
                      <a:lnTo>
                        <a:pt x="69477" y="292673"/>
                      </a:lnTo>
                      <a:lnTo>
                        <a:pt x="69191" y="291133"/>
                      </a:lnTo>
                      <a:lnTo>
                        <a:pt x="69265" y="289014"/>
                      </a:lnTo>
                      <a:lnTo>
                        <a:pt x="68116" y="287058"/>
                      </a:lnTo>
                      <a:lnTo>
                        <a:pt x="61253" y="284801"/>
                      </a:lnTo>
                      <a:lnTo>
                        <a:pt x="60145" y="284980"/>
                      </a:lnTo>
                      <a:lnTo>
                        <a:pt x="59012" y="285819"/>
                      </a:lnTo>
                      <a:lnTo>
                        <a:pt x="57708" y="286430"/>
                      </a:lnTo>
                      <a:lnTo>
                        <a:pt x="56763" y="285852"/>
                      </a:lnTo>
                      <a:lnTo>
                        <a:pt x="56201" y="285013"/>
                      </a:lnTo>
                      <a:lnTo>
                        <a:pt x="56176" y="283643"/>
                      </a:lnTo>
                      <a:lnTo>
                        <a:pt x="56282" y="282608"/>
                      </a:lnTo>
                      <a:lnTo>
                        <a:pt x="55899" y="282038"/>
                      </a:lnTo>
                      <a:lnTo>
                        <a:pt x="53707" y="279943"/>
                      </a:lnTo>
                      <a:lnTo>
                        <a:pt x="51661" y="277181"/>
                      </a:lnTo>
                      <a:lnTo>
                        <a:pt x="50431" y="274125"/>
                      </a:lnTo>
                      <a:lnTo>
                        <a:pt x="49225" y="271623"/>
                      </a:lnTo>
                      <a:lnTo>
                        <a:pt x="48613" y="266015"/>
                      </a:lnTo>
                      <a:lnTo>
                        <a:pt x="47097" y="262568"/>
                      </a:lnTo>
                      <a:lnTo>
                        <a:pt x="45614" y="258355"/>
                      </a:lnTo>
                      <a:lnTo>
                        <a:pt x="43414" y="250319"/>
                      </a:lnTo>
                      <a:lnTo>
                        <a:pt x="42452" y="247540"/>
                      </a:lnTo>
                      <a:lnTo>
                        <a:pt x="40684" y="245682"/>
                      </a:lnTo>
                      <a:lnTo>
                        <a:pt x="38793" y="243946"/>
                      </a:lnTo>
                      <a:lnTo>
                        <a:pt x="36845" y="240385"/>
                      </a:lnTo>
                      <a:lnTo>
                        <a:pt x="31760" y="237247"/>
                      </a:lnTo>
                      <a:lnTo>
                        <a:pt x="29804" y="234794"/>
                      </a:lnTo>
                      <a:lnTo>
                        <a:pt x="26430" y="230548"/>
                      </a:lnTo>
                      <a:lnTo>
                        <a:pt x="25582" y="228404"/>
                      </a:lnTo>
                      <a:lnTo>
                        <a:pt x="25338" y="226269"/>
                      </a:lnTo>
                      <a:lnTo>
                        <a:pt x="24287" y="224273"/>
                      </a:lnTo>
                      <a:lnTo>
                        <a:pt x="22404" y="222015"/>
                      </a:lnTo>
                      <a:lnTo>
                        <a:pt x="16544" y="217166"/>
                      </a:lnTo>
                      <a:lnTo>
                        <a:pt x="14931" y="216579"/>
                      </a:lnTo>
                      <a:lnTo>
                        <a:pt x="12828" y="216058"/>
                      </a:lnTo>
                      <a:lnTo>
                        <a:pt x="9763" y="215577"/>
                      </a:lnTo>
                      <a:lnTo>
                        <a:pt x="5632" y="214460"/>
                      </a:lnTo>
                      <a:lnTo>
                        <a:pt x="2029" y="212570"/>
                      </a:lnTo>
                      <a:lnTo>
                        <a:pt x="383" y="211217"/>
                      </a:lnTo>
                      <a:lnTo>
                        <a:pt x="0" y="210288"/>
                      </a:lnTo>
                      <a:lnTo>
                        <a:pt x="334" y="208723"/>
                      </a:lnTo>
                      <a:lnTo>
                        <a:pt x="1654" y="206050"/>
                      </a:lnTo>
                      <a:lnTo>
                        <a:pt x="4124" y="199709"/>
                      </a:lnTo>
                      <a:lnTo>
                        <a:pt x="5827" y="195341"/>
                      </a:lnTo>
                      <a:lnTo>
                        <a:pt x="7001" y="194102"/>
                      </a:lnTo>
                      <a:lnTo>
                        <a:pt x="10179" y="193792"/>
                      </a:lnTo>
                      <a:lnTo>
                        <a:pt x="13561" y="193923"/>
                      </a:lnTo>
                      <a:lnTo>
                        <a:pt x="16014" y="194249"/>
                      </a:lnTo>
                      <a:lnTo>
                        <a:pt x="19502" y="194290"/>
                      </a:lnTo>
                      <a:lnTo>
                        <a:pt x="23675" y="193915"/>
                      </a:lnTo>
                      <a:lnTo>
                        <a:pt x="25313" y="192456"/>
                      </a:lnTo>
                      <a:lnTo>
                        <a:pt x="26633" y="190859"/>
                      </a:lnTo>
                      <a:lnTo>
                        <a:pt x="27172" y="189742"/>
                      </a:lnTo>
                      <a:lnTo>
                        <a:pt x="27351" y="186914"/>
                      </a:lnTo>
                      <a:lnTo>
                        <a:pt x="27343" y="184632"/>
                      </a:lnTo>
                      <a:lnTo>
                        <a:pt x="27090" y="175920"/>
                      </a:lnTo>
                      <a:lnTo>
                        <a:pt x="26927" y="170582"/>
                      </a:lnTo>
                      <a:lnTo>
                        <a:pt x="26748" y="164478"/>
                      </a:lnTo>
                      <a:lnTo>
                        <a:pt x="26772" y="163256"/>
                      </a:lnTo>
                      <a:lnTo>
                        <a:pt x="26804" y="161691"/>
                      </a:lnTo>
                      <a:lnTo>
                        <a:pt x="27815" y="155163"/>
                      </a:lnTo>
                      <a:lnTo>
                        <a:pt x="28785" y="151438"/>
                      </a:lnTo>
                      <a:lnTo>
                        <a:pt x="29429" y="149474"/>
                      </a:lnTo>
                      <a:lnTo>
                        <a:pt x="32061" y="143256"/>
                      </a:lnTo>
                      <a:lnTo>
                        <a:pt x="32558" y="141259"/>
                      </a:lnTo>
                      <a:lnTo>
                        <a:pt x="32632" y="139426"/>
                      </a:lnTo>
                      <a:lnTo>
                        <a:pt x="31662" y="131080"/>
                      </a:lnTo>
                      <a:lnTo>
                        <a:pt x="33357" y="127136"/>
                      </a:lnTo>
                      <a:lnTo>
                        <a:pt x="35533" y="123232"/>
                      </a:lnTo>
                      <a:lnTo>
                        <a:pt x="37424" y="121569"/>
                      </a:lnTo>
                      <a:lnTo>
                        <a:pt x="39013" y="120445"/>
                      </a:lnTo>
                      <a:lnTo>
                        <a:pt x="39746" y="120918"/>
                      </a:lnTo>
                      <a:lnTo>
                        <a:pt x="41564" y="122719"/>
                      </a:lnTo>
                      <a:lnTo>
                        <a:pt x="43960" y="124487"/>
                      </a:lnTo>
                      <a:lnTo>
                        <a:pt x="45076" y="124104"/>
                      </a:lnTo>
                      <a:lnTo>
                        <a:pt x="46706" y="122548"/>
                      </a:lnTo>
                      <a:lnTo>
                        <a:pt x="47937" y="120909"/>
                      </a:lnTo>
                      <a:lnTo>
                        <a:pt x="47774" y="117967"/>
                      </a:lnTo>
                      <a:lnTo>
                        <a:pt x="48866" y="111937"/>
                      </a:lnTo>
                      <a:lnTo>
                        <a:pt x="48654" y="108457"/>
                      </a:lnTo>
                      <a:lnTo>
                        <a:pt x="49828" y="104129"/>
                      </a:lnTo>
                      <a:lnTo>
                        <a:pt x="51115" y="98041"/>
                      </a:lnTo>
                      <a:lnTo>
                        <a:pt x="51677" y="94203"/>
                      </a:lnTo>
                      <a:lnTo>
                        <a:pt x="52419" y="92133"/>
                      </a:lnTo>
                      <a:lnTo>
                        <a:pt x="55899" y="87879"/>
                      </a:lnTo>
                      <a:lnTo>
                        <a:pt x="58882" y="81864"/>
                      </a:lnTo>
                      <a:lnTo>
                        <a:pt x="60781" y="77480"/>
                      </a:lnTo>
                      <a:lnTo>
                        <a:pt x="64415" y="70308"/>
                      </a:lnTo>
                      <a:lnTo>
                        <a:pt x="66249" y="67692"/>
                      </a:lnTo>
                      <a:lnTo>
                        <a:pt x="67749" y="66559"/>
                      </a:lnTo>
                      <a:lnTo>
                        <a:pt x="69982" y="65834"/>
                      </a:lnTo>
                      <a:lnTo>
                        <a:pt x="74122" y="65190"/>
                      </a:lnTo>
                      <a:lnTo>
                        <a:pt x="77089" y="64579"/>
                      </a:lnTo>
                      <a:lnTo>
                        <a:pt x="77537" y="63649"/>
                      </a:lnTo>
                      <a:lnTo>
                        <a:pt x="77781" y="62182"/>
                      </a:lnTo>
                      <a:lnTo>
                        <a:pt x="77830" y="58980"/>
                      </a:lnTo>
                      <a:lnTo>
                        <a:pt x="78400" y="53454"/>
                      </a:lnTo>
                      <a:lnTo>
                        <a:pt x="79696" y="48059"/>
                      </a:lnTo>
                      <a:lnTo>
                        <a:pt x="81212" y="43976"/>
                      </a:lnTo>
                      <a:lnTo>
                        <a:pt x="82043" y="42118"/>
                      </a:lnTo>
                      <a:lnTo>
                        <a:pt x="83030" y="40309"/>
                      </a:lnTo>
                      <a:lnTo>
                        <a:pt x="84130" y="37285"/>
                      </a:lnTo>
                      <a:lnTo>
                        <a:pt x="85523" y="30725"/>
                      </a:lnTo>
                      <a:lnTo>
                        <a:pt x="85442" y="26275"/>
                      </a:lnTo>
                      <a:lnTo>
                        <a:pt x="87439" y="18117"/>
                      </a:lnTo>
                      <a:lnTo>
                        <a:pt x="87887" y="18076"/>
                      </a:lnTo>
                      <a:lnTo>
                        <a:pt x="91286" y="16569"/>
                      </a:lnTo>
                      <a:lnTo>
                        <a:pt x="94570" y="16348"/>
                      </a:lnTo>
                      <a:lnTo>
                        <a:pt x="97764" y="17392"/>
                      </a:lnTo>
                      <a:lnTo>
                        <a:pt x="99843" y="17652"/>
                      </a:lnTo>
                      <a:lnTo>
                        <a:pt x="100812" y="17131"/>
                      </a:lnTo>
                      <a:lnTo>
                        <a:pt x="101709" y="15770"/>
                      </a:lnTo>
                      <a:lnTo>
                        <a:pt x="102532" y="13578"/>
                      </a:lnTo>
                      <a:lnTo>
                        <a:pt x="103836" y="12363"/>
                      </a:lnTo>
                      <a:lnTo>
                        <a:pt x="105613" y="12127"/>
                      </a:lnTo>
                      <a:lnTo>
                        <a:pt x="108000" y="14596"/>
                      </a:lnTo>
                      <a:lnTo>
                        <a:pt x="111806" y="21173"/>
                      </a:lnTo>
                      <a:lnTo>
                        <a:pt x="112793" y="21548"/>
                      </a:lnTo>
                      <a:lnTo>
                        <a:pt x="113412" y="21393"/>
                      </a:lnTo>
                      <a:lnTo>
                        <a:pt x="115319" y="16120"/>
                      </a:lnTo>
                      <a:lnTo>
                        <a:pt x="116802" y="12021"/>
                      </a:lnTo>
                      <a:lnTo>
                        <a:pt x="119573" y="4377"/>
                      </a:lnTo>
                      <a:lnTo>
                        <a:pt x="121162" y="0"/>
                      </a:lnTo>
                      <a:lnTo>
                        <a:pt x="122637" y="1263"/>
                      </a:lnTo>
                      <a:lnTo>
                        <a:pt x="124104" y="3504"/>
                      </a:lnTo>
                      <a:lnTo>
                        <a:pt x="125775" y="4556"/>
                      </a:lnTo>
                      <a:lnTo>
                        <a:pt x="127560" y="5191"/>
                      </a:lnTo>
                      <a:lnTo>
                        <a:pt x="128423" y="5281"/>
                      </a:lnTo>
                      <a:lnTo>
                        <a:pt x="129524" y="6161"/>
                      </a:lnTo>
                      <a:lnTo>
                        <a:pt x="133387" y="11614"/>
                      </a:lnTo>
                      <a:close/>
                    </a:path>
                  </a:pathLst>
                </a:custGeom>
                <a:solidFill>
                  <a:srgbClr val="D6D6D2"/>
                </a:solidFill>
                <a:ln w="6112" cap="rnd">
                  <a:solidFill>
                    <a:srgbClr val="FFFFFF"/>
                  </a:solidFill>
                  <a:prstDash val="solid"/>
                  <a:round/>
                </a:ln>
              </p:spPr>
              <p:txBody>
                <a:bodyPr rtlCol="0" anchor="ctr"/>
                <a:lstStyle/>
                <a:p>
                  <a:endParaRPr lang="en-US"/>
                </a:p>
              </p:txBody>
            </p:sp>
            <p:sp>
              <p:nvSpPr>
                <p:cNvPr id="738" name="Freeform: Shape 737">
                  <a:extLst>
                    <a:ext uri="{FF2B5EF4-FFF2-40B4-BE49-F238E27FC236}">
                      <a16:creationId xmlns:a16="http://schemas.microsoft.com/office/drawing/2014/main" id="{641F8231-0432-415D-979E-2F47301B05EC}"/>
                    </a:ext>
                  </a:extLst>
                </p:cNvPr>
                <p:cNvSpPr/>
                <p:nvPr/>
              </p:nvSpPr>
              <p:spPr>
                <a:xfrm>
                  <a:off x="6485671" y="2598177"/>
                  <a:ext cx="36429" cy="27317"/>
                </a:xfrm>
                <a:custGeom>
                  <a:avLst/>
                  <a:gdLst>
                    <a:gd name="connsiteX0" fmla="*/ 18923 w 36429"/>
                    <a:gd name="connsiteY0" fmla="*/ 236 h 27317"/>
                    <a:gd name="connsiteX1" fmla="*/ 20684 w 36429"/>
                    <a:gd name="connsiteY1" fmla="*/ 1190 h 27317"/>
                    <a:gd name="connsiteX2" fmla="*/ 22306 w 36429"/>
                    <a:gd name="connsiteY2" fmla="*/ 888 h 27317"/>
                    <a:gd name="connsiteX3" fmla="*/ 23952 w 36429"/>
                    <a:gd name="connsiteY3" fmla="*/ 228 h 27317"/>
                    <a:gd name="connsiteX4" fmla="*/ 27521 w 36429"/>
                    <a:gd name="connsiteY4" fmla="*/ 856 h 27317"/>
                    <a:gd name="connsiteX5" fmla="*/ 35671 w 36429"/>
                    <a:gd name="connsiteY5" fmla="*/ 5656 h 27317"/>
                    <a:gd name="connsiteX6" fmla="*/ 36429 w 36429"/>
                    <a:gd name="connsiteY6" fmla="*/ 6952 h 27317"/>
                    <a:gd name="connsiteX7" fmla="*/ 31564 w 36429"/>
                    <a:gd name="connsiteY7" fmla="*/ 7530 h 27317"/>
                    <a:gd name="connsiteX8" fmla="*/ 30471 w 36429"/>
                    <a:gd name="connsiteY8" fmla="*/ 9006 h 27317"/>
                    <a:gd name="connsiteX9" fmla="*/ 29290 w 36429"/>
                    <a:gd name="connsiteY9" fmla="*/ 10032 h 27317"/>
                    <a:gd name="connsiteX10" fmla="*/ 27913 w 36429"/>
                    <a:gd name="connsiteY10" fmla="*/ 10366 h 27317"/>
                    <a:gd name="connsiteX11" fmla="*/ 25557 w 36429"/>
                    <a:gd name="connsiteY11" fmla="*/ 12428 h 27317"/>
                    <a:gd name="connsiteX12" fmla="*/ 22387 w 36429"/>
                    <a:gd name="connsiteY12" fmla="*/ 14409 h 27317"/>
                    <a:gd name="connsiteX13" fmla="*/ 21727 w 36429"/>
                    <a:gd name="connsiteY13" fmla="*/ 15591 h 27317"/>
                    <a:gd name="connsiteX14" fmla="*/ 15965 w 36429"/>
                    <a:gd name="connsiteY14" fmla="*/ 15370 h 27317"/>
                    <a:gd name="connsiteX15" fmla="*/ 12820 w 36429"/>
                    <a:gd name="connsiteY15" fmla="*/ 16120 h 27317"/>
                    <a:gd name="connsiteX16" fmla="*/ 10285 w 36429"/>
                    <a:gd name="connsiteY16" fmla="*/ 18337 h 27317"/>
                    <a:gd name="connsiteX17" fmla="*/ 9242 w 36429"/>
                    <a:gd name="connsiteY17" fmla="*/ 22599 h 27317"/>
                    <a:gd name="connsiteX18" fmla="*/ 7392 w 36429"/>
                    <a:gd name="connsiteY18" fmla="*/ 25924 h 27317"/>
                    <a:gd name="connsiteX19" fmla="*/ 5501 w 36429"/>
                    <a:gd name="connsiteY19" fmla="*/ 27131 h 27317"/>
                    <a:gd name="connsiteX20" fmla="*/ 3537 w 36429"/>
                    <a:gd name="connsiteY20" fmla="*/ 27318 h 27317"/>
                    <a:gd name="connsiteX21" fmla="*/ 3056 w 36429"/>
                    <a:gd name="connsiteY21" fmla="*/ 26063 h 27317"/>
                    <a:gd name="connsiteX22" fmla="*/ 3243 w 36429"/>
                    <a:gd name="connsiteY22" fmla="*/ 24816 h 27317"/>
                    <a:gd name="connsiteX23" fmla="*/ 7400 w 36429"/>
                    <a:gd name="connsiteY23" fmla="*/ 20114 h 27317"/>
                    <a:gd name="connsiteX24" fmla="*/ 8264 w 36429"/>
                    <a:gd name="connsiteY24" fmla="*/ 18582 h 27317"/>
                    <a:gd name="connsiteX25" fmla="*/ 6193 w 36429"/>
                    <a:gd name="connsiteY25" fmla="*/ 17905 h 27317"/>
                    <a:gd name="connsiteX26" fmla="*/ 4466 w 36429"/>
                    <a:gd name="connsiteY26" fmla="*/ 16267 h 27317"/>
                    <a:gd name="connsiteX27" fmla="*/ 676 w 36429"/>
                    <a:gd name="connsiteY27" fmla="*/ 14352 h 27317"/>
                    <a:gd name="connsiteX28" fmla="*/ 0 w 36429"/>
                    <a:gd name="connsiteY28" fmla="*/ 12803 h 27317"/>
                    <a:gd name="connsiteX29" fmla="*/ 896 w 36429"/>
                    <a:gd name="connsiteY29" fmla="*/ 12689 h 27317"/>
                    <a:gd name="connsiteX30" fmla="*/ 1728 w 36429"/>
                    <a:gd name="connsiteY30" fmla="*/ 12249 h 27317"/>
                    <a:gd name="connsiteX31" fmla="*/ 2738 w 36429"/>
                    <a:gd name="connsiteY31" fmla="*/ 10953 h 27317"/>
                    <a:gd name="connsiteX32" fmla="*/ 3211 w 36429"/>
                    <a:gd name="connsiteY32" fmla="*/ 9470 h 27317"/>
                    <a:gd name="connsiteX33" fmla="*/ 195 w 36429"/>
                    <a:gd name="connsiteY33" fmla="*/ 5126 h 27317"/>
                    <a:gd name="connsiteX34" fmla="*/ 1728 w 36429"/>
                    <a:gd name="connsiteY34" fmla="*/ 4450 h 27317"/>
                    <a:gd name="connsiteX35" fmla="*/ 3651 w 36429"/>
                    <a:gd name="connsiteY35" fmla="*/ 4605 h 27317"/>
                    <a:gd name="connsiteX36" fmla="*/ 5623 w 36429"/>
                    <a:gd name="connsiteY36" fmla="*/ 5876 h 27317"/>
                    <a:gd name="connsiteX37" fmla="*/ 7791 w 36429"/>
                    <a:gd name="connsiteY37" fmla="*/ 4393 h 27317"/>
                    <a:gd name="connsiteX38" fmla="*/ 8712 w 36429"/>
                    <a:gd name="connsiteY38" fmla="*/ 4173 h 27317"/>
                    <a:gd name="connsiteX39" fmla="*/ 10219 w 36429"/>
                    <a:gd name="connsiteY39" fmla="*/ 4702 h 27317"/>
                    <a:gd name="connsiteX40" fmla="*/ 11744 w 36429"/>
                    <a:gd name="connsiteY40" fmla="*/ 1834 h 27317"/>
                    <a:gd name="connsiteX41" fmla="*/ 15370 w 36429"/>
                    <a:gd name="connsiteY41" fmla="*/ 880 h 27317"/>
                    <a:gd name="connsiteX42" fmla="*/ 17179 w 36429"/>
                    <a:gd name="connsiteY42" fmla="*/ 0 h 27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429" h="27317">
                      <a:moveTo>
                        <a:pt x="18923" y="236"/>
                      </a:moveTo>
                      <a:lnTo>
                        <a:pt x="20684" y="1190"/>
                      </a:lnTo>
                      <a:lnTo>
                        <a:pt x="22306" y="888"/>
                      </a:lnTo>
                      <a:lnTo>
                        <a:pt x="23952" y="228"/>
                      </a:lnTo>
                      <a:lnTo>
                        <a:pt x="27521" y="856"/>
                      </a:lnTo>
                      <a:lnTo>
                        <a:pt x="35671" y="5656"/>
                      </a:lnTo>
                      <a:lnTo>
                        <a:pt x="36429" y="6952"/>
                      </a:lnTo>
                      <a:lnTo>
                        <a:pt x="31564" y="7530"/>
                      </a:lnTo>
                      <a:lnTo>
                        <a:pt x="30471" y="9006"/>
                      </a:lnTo>
                      <a:lnTo>
                        <a:pt x="29290" y="10032"/>
                      </a:lnTo>
                      <a:lnTo>
                        <a:pt x="27913" y="10366"/>
                      </a:lnTo>
                      <a:lnTo>
                        <a:pt x="25557" y="12428"/>
                      </a:lnTo>
                      <a:lnTo>
                        <a:pt x="22387" y="14409"/>
                      </a:lnTo>
                      <a:lnTo>
                        <a:pt x="21727" y="15591"/>
                      </a:lnTo>
                      <a:lnTo>
                        <a:pt x="15965" y="15370"/>
                      </a:lnTo>
                      <a:lnTo>
                        <a:pt x="12820" y="16120"/>
                      </a:lnTo>
                      <a:lnTo>
                        <a:pt x="10285" y="18337"/>
                      </a:lnTo>
                      <a:lnTo>
                        <a:pt x="9242" y="22599"/>
                      </a:lnTo>
                      <a:lnTo>
                        <a:pt x="7392" y="25924"/>
                      </a:lnTo>
                      <a:lnTo>
                        <a:pt x="5501" y="27131"/>
                      </a:lnTo>
                      <a:lnTo>
                        <a:pt x="3537" y="27318"/>
                      </a:lnTo>
                      <a:lnTo>
                        <a:pt x="3056" y="26063"/>
                      </a:lnTo>
                      <a:lnTo>
                        <a:pt x="3243" y="24816"/>
                      </a:lnTo>
                      <a:lnTo>
                        <a:pt x="7400" y="20114"/>
                      </a:lnTo>
                      <a:lnTo>
                        <a:pt x="8264" y="18582"/>
                      </a:lnTo>
                      <a:lnTo>
                        <a:pt x="6193" y="17905"/>
                      </a:lnTo>
                      <a:lnTo>
                        <a:pt x="4466" y="16267"/>
                      </a:lnTo>
                      <a:lnTo>
                        <a:pt x="676" y="14352"/>
                      </a:lnTo>
                      <a:lnTo>
                        <a:pt x="0" y="12803"/>
                      </a:lnTo>
                      <a:lnTo>
                        <a:pt x="896" y="12689"/>
                      </a:lnTo>
                      <a:lnTo>
                        <a:pt x="1728" y="12249"/>
                      </a:lnTo>
                      <a:lnTo>
                        <a:pt x="2738" y="10953"/>
                      </a:lnTo>
                      <a:lnTo>
                        <a:pt x="3211" y="9470"/>
                      </a:lnTo>
                      <a:lnTo>
                        <a:pt x="195" y="5126"/>
                      </a:lnTo>
                      <a:lnTo>
                        <a:pt x="1728" y="4450"/>
                      </a:lnTo>
                      <a:lnTo>
                        <a:pt x="3651" y="4605"/>
                      </a:lnTo>
                      <a:lnTo>
                        <a:pt x="5623" y="5876"/>
                      </a:lnTo>
                      <a:lnTo>
                        <a:pt x="7791" y="4393"/>
                      </a:lnTo>
                      <a:lnTo>
                        <a:pt x="8712" y="4173"/>
                      </a:lnTo>
                      <a:lnTo>
                        <a:pt x="10219" y="4702"/>
                      </a:lnTo>
                      <a:lnTo>
                        <a:pt x="11744" y="1834"/>
                      </a:lnTo>
                      <a:lnTo>
                        <a:pt x="15370" y="880"/>
                      </a:lnTo>
                      <a:lnTo>
                        <a:pt x="17179" y="0"/>
                      </a:lnTo>
                      <a:close/>
                    </a:path>
                  </a:pathLst>
                </a:custGeom>
                <a:solidFill>
                  <a:srgbClr val="D6D6D2"/>
                </a:solidFill>
                <a:ln w="8150" cap="flat">
                  <a:noFill/>
                  <a:prstDash val="solid"/>
                  <a:miter/>
                </a:ln>
              </p:spPr>
              <p:txBody>
                <a:bodyPr rtlCol="0" anchor="ctr"/>
                <a:lstStyle/>
                <a:p>
                  <a:endParaRPr lang="en-US"/>
                </a:p>
              </p:txBody>
            </p:sp>
            <p:sp>
              <p:nvSpPr>
                <p:cNvPr id="739" name="Freeform: Shape 738">
                  <a:extLst>
                    <a:ext uri="{FF2B5EF4-FFF2-40B4-BE49-F238E27FC236}">
                      <a16:creationId xmlns:a16="http://schemas.microsoft.com/office/drawing/2014/main" id="{5E4AD4EA-CB37-4316-839D-1D94FD91043C}"/>
                    </a:ext>
                  </a:extLst>
                </p:cNvPr>
                <p:cNvSpPr/>
                <p:nvPr/>
              </p:nvSpPr>
              <p:spPr>
                <a:xfrm>
                  <a:off x="6490675" y="2580027"/>
                  <a:ext cx="23618" cy="15680"/>
                </a:xfrm>
                <a:custGeom>
                  <a:avLst/>
                  <a:gdLst>
                    <a:gd name="connsiteX0" fmla="*/ 21515 w 23618"/>
                    <a:gd name="connsiteY0" fmla="*/ 10285 h 15680"/>
                    <a:gd name="connsiteX1" fmla="*/ 19478 w 23618"/>
                    <a:gd name="connsiteY1" fmla="*/ 12233 h 15680"/>
                    <a:gd name="connsiteX2" fmla="*/ 18264 w 23618"/>
                    <a:gd name="connsiteY2" fmla="*/ 11458 h 15680"/>
                    <a:gd name="connsiteX3" fmla="*/ 17636 w 23618"/>
                    <a:gd name="connsiteY3" fmla="*/ 10521 h 15680"/>
                    <a:gd name="connsiteX4" fmla="*/ 15020 w 23618"/>
                    <a:gd name="connsiteY4" fmla="*/ 14930 h 15680"/>
                    <a:gd name="connsiteX5" fmla="*/ 12053 w 23618"/>
                    <a:gd name="connsiteY5" fmla="*/ 15680 h 15680"/>
                    <a:gd name="connsiteX6" fmla="*/ 10326 w 23618"/>
                    <a:gd name="connsiteY6" fmla="*/ 14816 h 15680"/>
                    <a:gd name="connsiteX7" fmla="*/ 10481 w 23618"/>
                    <a:gd name="connsiteY7" fmla="*/ 13170 h 15680"/>
                    <a:gd name="connsiteX8" fmla="*/ 8802 w 23618"/>
                    <a:gd name="connsiteY8" fmla="*/ 8842 h 15680"/>
                    <a:gd name="connsiteX9" fmla="*/ 6227 w 23618"/>
                    <a:gd name="connsiteY9" fmla="*/ 7579 h 15680"/>
                    <a:gd name="connsiteX10" fmla="*/ 2624 w 23618"/>
                    <a:gd name="connsiteY10" fmla="*/ 7457 h 15680"/>
                    <a:gd name="connsiteX11" fmla="*/ 0 w 23618"/>
                    <a:gd name="connsiteY11" fmla="*/ 5680 h 15680"/>
                    <a:gd name="connsiteX12" fmla="*/ 10081 w 23618"/>
                    <a:gd name="connsiteY12" fmla="*/ 4466 h 15680"/>
                    <a:gd name="connsiteX13" fmla="*/ 11116 w 23618"/>
                    <a:gd name="connsiteY13" fmla="*/ 2404 h 15680"/>
                    <a:gd name="connsiteX14" fmla="*/ 13170 w 23618"/>
                    <a:gd name="connsiteY14" fmla="*/ 236 h 15680"/>
                    <a:gd name="connsiteX15" fmla="*/ 14710 w 23618"/>
                    <a:gd name="connsiteY15" fmla="*/ 0 h 15680"/>
                    <a:gd name="connsiteX16" fmla="*/ 16031 w 23618"/>
                    <a:gd name="connsiteY16" fmla="*/ 505 h 15680"/>
                    <a:gd name="connsiteX17" fmla="*/ 16267 w 23618"/>
                    <a:gd name="connsiteY17" fmla="*/ 2184 h 15680"/>
                    <a:gd name="connsiteX18" fmla="*/ 16593 w 23618"/>
                    <a:gd name="connsiteY18" fmla="*/ 2852 h 15680"/>
                    <a:gd name="connsiteX19" fmla="*/ 21173 w 23618"/>
                    <a:gd name="connsiteY19" fmla="*/ 3790 h 15680"/>
                    <a:gd name="connsiteX20" fmla="*/ 22950 w 23618"/>
                    <a:gd name="connsiteY20" fmla="*/ 6609 h 15680"/>
                    <a:gd name="connsiteX21" fmla="*/ 23618 w 23618"/>
                    <a:gd name="connsiteY21" fmla="*/ 10008 h 15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618" h="15680">
                      <a:moveTo>
                        <a:pt x="21515" y="10285"/>
                      </a:moveTo>
                      <a:lnTo>
                        <a:pt x="19478" y="12233"/>
                      </a:lnTo>
                      <a:lnTo>
                        <a:pt x="18264" y="11458"/>
                      </a:lnTo>
                      <a:lnTo>
                        <a:pt x="17636" y="10521"/>
                      </a:lnTo>
                      <a:lnTo>
                        <a:pt x="15020" y="14930"/>
                      </a:lnTo>
                      <a:lnTo>
                        <a:pt x="12053" y="15680"/>
                      </a:lnTo>
                      <a:lnTo>
                        <a:pt x="10326" y="14816"/>
                      </a:lnTo>
                      <a:lnTo>
                        <a:pt x="10481" y="13170"/>
                      </a:lnTo>
                      <a:lnTo>
                        <a:pt x="8802" y="8842"/>
                      </a:lnTo>
                      <a:lnTo>
                        <a:pt x="6227" y="7579"/>
                      </a:lnTo>
                      <a:lnTo>
                        <a:pt x="2624" y="7457"/>
                      </a:lnTo>
                      <a:lnTo>
                        <a:pt x="0" y="5680"/>
                      </a:lnTo>
                      <a:lnTo>
                        <a:pt x="10081" y="4466"/>
                      </a:lnTo>
                      <a:lnTo>
                        <a:pt x="11116" y="2404"/>
                      </a:lnTo>
                      <a:lnTo>
                        <a:pt x="13170" y="236"/>
                      </a:lnTo>
                      <a:lnTo>
                        <a:pt x="14710" y="0"/>
                      </a:lnTo>
                      <a:lnTo>
                        <a:pt x="16031" y="505"/>
                      </a:lnTo>
                      <a:lnTo>
                        <a:pt x="16267" y="2184"/>
                      </a:lnTo>
                      <a:lnTo>
                        <a:pt x="16593" y="2852"/>
                      </a:lnTo>
                      <a:lnTo>
                        <a:pt x="21173" y="3790"/>
                      </a:lnTo>
                      <a:lnTo>
                        <a:pt x="22950" y="6609"/>
                      </a:lnTo>
                      <a:lnTo>
                        <a:pt x="23618" y="10008"/>
                      </a:lnTo>
                      <a:close/>
                    </a:path>
                  </a:pathLst>
                </a:custGeom>
                <a:solidFill>
                  <a:srgbClr val="D6D6D2"/>
                </a:solidFill>
                <a:ln w="8150" cap="flat">
                  <a:noFill/>
                  <a:prstDash val="solid"/>
                  <a:miter/>
                </a:ln>
              </p:spPr>
              <p:txBody>
                <a:bodyPr rtlCol="0" anchor="ctr"/>
                <a:lstStyle/>
                <a:p>
                  <a:endParaRPr lang="en-US"/>
                </a:p>
              </p:txBody>
            </p:sp>
            <p:sp>
              <p:nvSpPr>
                <p:cNvPr id="740" name="Freeform: Shape 739">
                  <a:extLst>
                    <a:ext uri="{FF2B5EF4-FFF2-40B4-BE49-F238E27FC236}">
                      <a16:creationId xmlns:a16="http://schemas.microsoft.com/office/drawing/2014/main" id="{2477CF6B-B8C9-4C4C-A375-FD256CBB54E2}"/>
                    </a:ext>
                  </a:extLst>
                </p:cNvPr>
                <p:cNvSpPr/>
                <p:nvPr/>
              </p:nvSpPr>
              <p:spPr>
                <a:xfrm>
                  <a:off x="6524798" y="2558137"/>
                  <a:ext cx="117054" cy="83192"/>
                </a:xfrm>
                <a:custGeom>
                  <a:avLst/>
                  <a:gdLst>
                    <a:gd name="connsiteX0" fmla="*/ 51531 w 117054"/>
                    <a:gd name="connsiteY0" fmla="*/ 0 h 83192"/>
                    <a:gd name="connsiteX1" fmla="*/ 54163 w 117054"/>
                    <a:gd name="connsiteY1" fmla="*/ 465 h 83192"/>
                    <a:gd name="connsiteX2" fmla="*/ 58572 w 117054"/>
                    <a:gd name="connsiteY2" fmla="*/ 179 h 83192"/>
                    <a:gd name="connsiteX3" fmla="*/ 75124 w 117054"/>
                    <a:gd name="connsiteY3" fmla="*/ 3382 h 83192"/>
                    <a:gd name="connsiteX4" fmla="*/ 79191 w 117054"/>
                    <a:gd name="connsiteY4" fmla="*/ 3382 h 83192"/>
                    <a:gd name="connsiteX5" fmla="*/ 84814 w 117054"/>
                    <a:gd name="connsiteY5" fmla="*/ 6650 h 83192"/>
                    <a:gd name="connsiteX6" fmla="*/ 87862 w 117054"/>
                    <a:gd name="connsiteY6" fmla="*/ 7490 h 83192"/>
                    <a:gd name="connsiteX7" fmla="*/ 96827 w 117054"/>
                    <a:gd name="connsiteY7" fmla="*/ 7498 h 83192"/>
                    <a:gd name="connsiteX8" fmla="*/ 110625 w 117054"/>
                    <a:gd name="connsiteY8" fmla="*/ 8940 h 83192"/>
                    <a:gd name="connsiteX9" fmla="*/ 113338 w 117054"/>
                    <a:gd name="connsiteY9" fmla="*/ 6732 h 83192"/>
                    <a:gd name="connsiteX10" fmla="*/ 113607 w 117054"/>
                    <a:gd name="connsiteY10" fmla="*/ 6153 h 83192"/>
                    <a:gd name="connsiteX11" fmla="*/ 114927 w 117054"/>
                    <a:gd name="connsiteY11" fmla="*/ 7392 h 83192"/>
                    <a:gd name="connsiteX12" fmla="*/ 116590 w 117054"/>
                    <a:gd name="connsiteY12" fmla="*/ 9380 h 83192"/>
                    <a:gd name="connsiteX13" fmla="*/ 117055 w 117054"/>
                    <a:gd name="connsiteY13" fmla="*/ 10513 h 83192"/>
                    <a:gd name="connsiteX14" fmla="*/ 116468 w 117054"/>
                    <a:gd name="connsiteY14" fmla="*/ 11182 h 83192"/>
                    <a:gd name="connsiteX15" fmla="*/ 114814 w 117054"/>
                    <a:gd name="connsiteY15" fmla="*/ 11752 h 83192"/>
                    <a:gd name="connsiteX16" fmla="*/ 114431 w 117054"/>
                    <a:gd name="connsiteY16" fmla="*/ 12363 h 83192"/>
                    <a:gd name="connsiteX17" fmla="*/ 113697 w 117054"/>
                    <a:gd name="connsiteY17" fmla="*/ 13398 h 83192"/>
                    <a:gd name="connsiteX18" fmla="*/ 111757 w 117054"/>
                    <a:gd name="connsiteY18" fmla="*/ 13577 h 83192"/>
                    <a:gd name="connsiteX19" fmla="*/ 110755 w 117054"/>
                    <a:gd name="connsiteY19" fmla="*/ 14352 h 83192"/>
                    <a:gd name="connsiteX20" fmla="*/ 109565 w 117054"/>
                    <a:gd name="connsiteY20" fmla="*/ 17717 h 83192"/>
                    <a:gd name="connsiteX21" fmla="*/ 107283 w 117054"/>
                    <a:gd name="connsiteY21" fmla="*/ 23284 h 83192"/>
                    <a:gd name="connsiteX22" fmla="*/ 103918 w 117054"/>
                    <a:gd name="connsiteY22" fmla="*/ 27514 h 83192"/>
                    <a:gd name="connsiteX23" fmla="*/ 101212 w 117054"/>
                    <a:gd name="connsiteY23" fmla="*/ 29828 h 83192"/>
                    <a:gd name="connsiteX24" fmla="*/ 100022 w 117054"/>
                    <a:gd name="connsiteY24" fmla="*/ 31613 h 83192"/>
                    <a:gd name="connsiteX25" fmla="*/ 99256 w 117054"/>
                    <a:gd name="connsiteY25" fmla="*/ 33740 h 83192"/>
                    <a:gd name="connsiteX26" fmla="*/ 99076 w 117054"/>
                    <a:gd name="connsiteY26" fmla="*/ 35875 h 83192"/>
                    <a:gd name="connsiteX27" fmla="*/ 101676 w 117054"/>
                    <a:gd name="connsiteY27" fmla="*/ 47594 h 83192"/>
                    <a:gd name="connsiteX28" fmla="*/ 101643 w 117054"/>
                    <a:gd name="connsiteY28" fmla="*/ 49713 h 83192"/>
                    <a:gd name="connsiteX29" fmla="*/ 101033 w 117054"/>
                    <a:gd name="connsiteY29" fmla="*/ 51881 h 83192"/>
                    <a:gd name="connsiteX30" fmla="*/ 100592 w 117054"/>
                    <a:gd name="connsiteY30" fmla="*/ 54082 h 83192"/>
                    <a:gd name="connsiteX31" fmla="*/ 100951 w 117054"/>
                    <a:gd name="connsiteY31" fmla="*/ 55997 h 83192"/>
                    <a:gd name="connsiteX32" fmla="*/ 102662 w 117054"/>
                    <a:gd name="connsiteY32" fmla="*/ 59257 h 83192"/>
                    <a:gd name="connsiteX33" fmla="*/ 104480 w 117054"/>
                    <a:gd name="connsiteY33" fmla="*/ 64122 h 83192"/>
                    <a:gd name="connsiteX34" fmla="*/ 105188 w 117054"/>
                    <a:gd name="connsiteY34" fmla="*/ 67227 h 83192"/>
                    <a:gd name="connsiteX35" fmla="*/ 106403 w 117054"/>
                    <a:gd name="connsiteY35" fmla="*/ 68368 h 83192"/>
                    <a:gd name="connsiteX36" fmla="*/ 107552 w 117054"/>
                    <a:gd name="connsiteY36" fmla="*/ 69208 h 83192"/>
                    <a:gd name="connsiteX37" fmla="*/ 107796 w 117054"/>
                    <a:gd name="connsiteY37" fmla="*/ 69729 h 83192"/>
                    <a:gd name="connsiteX38" fmla="*/ 107764 w 117054"/>
                    <a:gd name="connsiteY38" fmla="*/ 70267 h 83192"/>
                    <a:gd name="connsiteX39" fmla="*/ 107161 w 117054"/>
                    <a:gd name="connsiteY39" fmla="*/ 70886 h 83192"/>
                    <a:gd name="connsiteX40" fmla="*/ 101937 w 117054"/>
                    <a:gd name="connsiteY40" fmla="*/ 72508 h 83192"/>
                    <a:gd name="connsiteX41" fmla="*/ 101260 w 117054"/>
                    <a:gd name="connsiteY41" fmla="*/ 73885 h 83192"/>
                    <a:gd name="connsiteX42" fmla="*/ 100698 w 117054"/>
                    <a:gd name="connsiteY42" fmla="*/ 75418 h 83192"/>
                    <a:gd name="connsiteX43" fmla="*/ 98408 w 117054"/>
                    <a:gd name="connsiteY43" fmla="*/ 77691 h 83192"/>
                    <a:gd name="connsiteX44" fmla="*/ 97707 w 117054"/>
                    <a:gd name="connsiteY44" fmla="*/ 79802 h 83192"/>
                    <a:gd name="connsiteX45" fmla="*/ 97283 w 117054"/>
                    <a:gd name="connsiteY45" fmla="*/ 82231 h 83192"/>
                    <a:gd name="connsiteX46" fmla="*/ 97218 w 117054"/>
                    <a:gd name="connsiteY46" fmla="*/ 83095 h 83192"/>
                    <a:gd name="connsiteX47" fmla="*/ 96591 w 117054"/>
                    <a:gd name="connsiteY47" fmla="*/ 83193 h 83192"/>
                    <a:gd name="connsiteX48" fmla="*/ 93127 w 117054"/>
                    <a:gd name="connsiteY48" fmla="*/ 82695 h 83192"/>
                    <a:gd name="connsiteX49" fmla="*/ 89313 w 117054"/>
                    <a:gd name="connsiteY49" fmla="*/ 81122 h 83192"/>
                    <a:gd name="connsiteX50" fmla="*/ 87650 w 117054"/>
                    <a:gd name="connsiteY50" fmla="*/ 79941 h 83192"/>
                    <a:gd name="connsiteX51" fmla="*/ 86012 w 117054"/>
                    <a:gd name="connsiteY51" fmla="*/ 79949 h 83192"/>
                    <a:gd name="connsiteX52" fmla="*/ 84024 w 117054"/>
                    <a:gd name="connsiteY52" fmla="*/ 80731 h 83192"/>
                    <a:gd name="connsiteX53" fmla="*/ 76893 w 117054"/>
                    <a:gd name="connsiteY53" fmla="*/ 82981 h 83192"/>
                    <a:gd name="connsiteX54" fmla="*/ 75157 w 117054"/>
                    <a:gd name="connsiteY54" fmla="*/ 82459 h 83192"/>
                    <a:gd name="connsiteX55" fmla="*/ 71090 w 117054"/>
                    <a:gd name="connsiteY55" fmla="*/ 80259 h 83192"/>
                    <a:gd name="connsiteX56" fmla="*/ 69020 w 117054"/>
                    <a:gd name="connsiteY56" fmla="*/ 77846 h 83192"/>
                    <a:gd name="connsiteX57" fmla="*/ 64440 w 117054"/>
                    <a:gd name="connsiteY57" fmla="*/ 73054 h 83192"/>
                    <a:gd name="connsiteX58" fmla="*/ 64073 w 117054"/>
                    <a:gd name="connsiteY58" fmla="*/ 71913 h 83192"/>
                    <a:gd name="connsiteX59" fmla="*/ 63478 w 117054"/>
                    <a:gd name="connsiteY59" fmla="*/ 70992 h 83192"/>
                    <a:gd name="connsiteX60" fmla="*/ 58572 w 117054"/>
                    <a:gd name="connsiteY60" fmla="*/ 69802 h 83192"/>
                    <a:gd name="connsiteX61" fmla="*/ 56763 w 117054"/>
                    <a:gd name="connsiteY61" fmla="*/ 68042 h 83192"/>
                    <a:gd name="connsiteX62" fmla="*/ 55263 w 117054"/>
                    <a:gd name="connsiteY62" fmla="*/ 67798 h 83192"/>
                    <a:gd name="connsiteX63" fmla="*/ 53055 w 117054"/>
                    <a:gd name="connsiteY63" fmla="*/ 66909 h 83192"/>
                    <a:gd name="connsiteX64" fmla="*/ 47318 w 117054"/>
                    <a:gd name="connsiteY64" fmla="*/ 63128 h 83192"/>
                    <a:gd name="connsiteX65" fmla="*/ 45899 w 117054"/>
                    <a:gd name="connsiteY65" fmla="*/ 62777 h 83192"/>
                    <a:gd name="connsiteX66" fmla="*/ 45557 w 117054"/>
                    <a:gd name="connsiteY66" fmla="*/ 63413 h 83192"/>
                    <a:gd name="connsiteX67" fmla="*/ 45647 w 117054"/>
                    <a:gd name="connsiteY67" fmla="*/ 64301 h 83192"/>
                    <a:gd name="connsiteX68" fmla="*/ 45296 w 117054"/>
                    <a:gd name="connsiteY68" fmla="*/ 64823 h 83192"/>
                    <a:gd name="connsiteX69" fmla="*/ 44563 w 117054"/>
                    <a:gd name="connsiteY69" fmla="*/ 64807 h 83192"/>
                    <a:gd name="connsiteX70" fmla="*/ 43234 w 117054"/>
                    <a:gd name="connsiteY70" fmla="*/ 63413 h 83192"/>
                    <a:gd name="connsiteX71" fmla="*/ 41645 w 117054"/>
                    <a:gd name="connsiteY71" fmla="*/ 62182 h 83192"/>
                    <a:gd name="connsiteX72" fmla="*/ 36690 w 117054"/>
                    <a:gd name="connsiteY72" fmla="*/ 64489 h 83192"/>
                    <a:gd name="connsiteX73" fmla="*/ 34889 w 117054"/>
                    <a:gd name="connsiteY73" fmla="*/ 65108 h 83192"/>
                    <a:gd name="connsiteX74" fmla="*/ 33324 w 117054"/>
                    <a:gd name="connsiteY74" fmla="*/ 65247 h 83192"/>
                    <a:gd name="connsiteX75" fmla="*/ 25460 w 117054"/>
                    <a:gd name="connsiteY75" fmla="*/ 68270 h 83192"/>
                    <a:gd name="connsiteX76" fmla="*/ 23072 w 117054"/>
                    <a:gd name="connsiteY76" fmla="*/ 69900 h 83192"/>
                    <a:gd name="connsiteX77" fmla="*/ 22086 w 117054"/>
                    <a:gd name="connsiteY77" fmla="*/ 69729 h 83192"/>
                    <a:gd name="connsiteX78" fmla="*/ 22322 w 117054"/>
                    <a:gd name="connsiteY78" fmla="*/ 68197 h 83192"/>
                    <a:gd name="connsiteX79" fmla="*/ 25590 w 117054"/>
                    <a:gd name="connsiteY79" fmla="*/ 60520 h 83192"/>
                    <a:gd name="connsiteX80" fmla="*/ 26177 w 117054"/>
                    <a:gd name="connsiteY80" fmla="*/ 54416 h 83192"/>
                    <a:gd name="connsiteX81" fmla="*/ 27375 w 117054"/>
                    <a:gd name="connsiteY81" fmla="*/ 53576 h 83192"/>
                    <a:gd name="connsiteX82" fmla="*/ 27726 w 117054"/>
                    <a:gd name="connsiteY82" fmla="*/ 52729 h 83192"/>
                    <a:gd name="connsiteX83" fmla="*/ 27212 w 117054"/>
                    <a:gd name="connsiteY83" fmla="*/ 50781 h 83192"/>
                    <a:gd name="connsiteX84" fmla="*/ 23813 w 117054"/>
                    <a:gd name="connsiteY84" fmla="*/ 49534 h 83192"/>
                    <a:gd name="connsiteX85" fmla="*/ 22445 w 117054"/>
                    <a:gd name="connsiteY85" fmla="*/ 49713 h 83192"/>
                    <a:gd name="connsiteX86" fmla="*/ 21206 w 117054"/>
                    <a:gd name="connsiteY86" fmla="*/ 51808 h 83192"/>
                    <a:gd name="connsiteX87" fmla="*/ 19934 w 117054"/>
                    <a:gd name="connsiteY87" fmla="*/ 53324 h 83192"/>
                    <a:gd name="connsiteX88" fmla="*/ 16927 w 117054"/>
                    <a:gd name="connsiteY88" fmla="*/ 54236 h 83192"/>
                    <a:gd name="connsiteX89" fmla="*/ 14360 w 117054"/>
                    <a:gd name="connsiteY89" fmla="*/ 52647 h 83192"/>
                    <a:gd name="connsiteX90" fmla="*/ 8329 w 117054"/>
                    <a:gd name="connsiteY90" fmla="*/ 50520 h 83192"/>
                    <a:gd name="connsiteX91" fmla="*/ 6789 w 117054"/>
                    <a:gd name="connsiteY91" fmla="*/ 47684 h 83192"/>
                    <a:gd name="connsiteX92" fmla="*/ 6430 w 117054"/>
                    <a:gd name="connsiteY92" fmla="*/ 44832 h 83192"/>
                    <a:gd name="connsiteX93" fmla="*/ 3252 w 117054"/>
                    <a:gd name="connsiteY93" fmla="*/ 42069 h 83192"/>
                    <a:gd name="connsiteX94" fmla="*/ 1924 w 117054"/>
                    <a:gd name="connsiteY94" fmla="*/ 38817 h 83192"/>
                    <a:gd name="connsiteX95" fmla="*/ 2445 w 117054"/>
                    <a:gd name="connsiteY95" fmla="*/ 36535 h 83192"/>
                    <a:gd name="connsiteX96" fmla="*/ 5346 w 117054"/>
                    <a:gd name="connsiteY96" fmla="*/ 35044 h 83192"/>
                    <a:gd name="connsiteX97" fmla="*/ 6170 w 117054"/>
                    <a:gd name="connsiteY97" fmla="*/ 33740 h 83192"/>
                    <a:gd name="connsiteX98" fmla="*/ 2518 w 117054"/>
                    <a:gd name="connsiteY98" fmla="*/ 33944 h 83192"/>
                    <a:gd name="connsiteX99" fmla="*/ 1777 w 117054"/>
                    <a:gd name="connsiteY99" fmla="*/ 33634 h 83192"/>
                    <a:gd name="connsiteX100" fmla="*/ 1614 w 117054"/>
                    <a:gd name="connsiteY100" fmla="*/ 32460 h 83192"/>
                    <a:gd name="connsiteX101" fmla="*/ 0 w 117054"/>
                    <a:gd name="connsiteY101" fmla="*/ 28475 h 83192"/>
                    <a:gd name="connsiteX102" fmla="*/ 1426 w 117054"/>
                    <a:gd name="connsiteY102" fmla="*/ 26902 h 83192"/>
                    <a:gd name="connsiteX103" fmla="*/ 2054 w 117054"/>
                    <a:gd name="connsiteY103" fmla="*/ 25370 h 83192"/>
                    <a:gd name="connsiteX104" fmla="*/ 888 w 117054"/>
                    <a:gd name="connsiteY104" fmla="*/ 24066 h 83192"/>
                    <a:gd name="connsiteX105" fmla="*/ 1190 w 117054"/>
                    <a:gd name="connsiteY105" fmla="*/ 22575 h 83192"/>
                    <a:gd name="connsiteX106" fmla="*/ 2111 w 117054"/>
                    <a:gd name="connsiteY106" fmla="*/ 21083 h 83192"/>
                    <a:gd name="connsiteX107" fmla="*/ 1548 w 117054"/>
                    <a:gd name="connsiteY107" fmla="*/ 17595 h 83192"/>
                    <a:gd name="connsiteX108" fmla="*/ 5175 w 117054"/>
                    <a:gd name="connsiteY108" fmla="*/ 15745 h 83192"/>
                    <a:gd name="connsiteX109" fmla="*/ 8696 w 117054"/>
                    <a:gd name="connsiteY109" fmla="*/ 14449 h 83192"/>
                    <a:gd name="connsiteX110" fmla="*/ 16161 w 117054"/>
                    <a:gd name="connsiteY110" fmla="*/ 13781 h 83192"/>
                    <a:gd name="connsiteX111" fmla="*/ 15411 w 117054"/>
                    <a:gd name="connsiteY111" fmla="*/ 10603 h 83192"/>
                    <a:gd name="connsiteX112" fmla="*/ 18435 w 117054"/>
                    <a:gd name="connsiteY112" fmla="*/ 10456 h 83192"/>
                    <a:gd name="connsiteX113" fmla="*/ 23520 w 117054"/>
                    <a:gd name="connsiteY113" fmla="*/ 6609 h 83192"/>
                    <a:gd name="connsiteX114" fmla="*/ 28565 w 117054"/>
                    <a:gd name="connsiteY114" fmla="*/ 7286 h 83192"/>
                    <a:gd name="connsiteX115" fmla="*/ 35851 w 117054"/>
                    <a:gd name="connsiteY115" fmla="*/ 4653 h 83192"/>
                    <a:gd name="connsiteX116" fmla="*/ 49893 w 117054"/>
                    <a:gd name="connsiteY116" fmla="*/ 4694 h 83192"/>
                    <a:gd name="connsiteX117" fmla="*/ 51808 w 117054"/>
                    <a:gd name="connsiteY117" fmla="*/ 3170 h 83192"/>
                    <a:gd name="connsiteX118" fmla="*/ 51474 w 117054"/>
                    <a:gd name="connsiteY118" fmla="*/ 1638 h 8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17054" h="83192">
                      <a:moveTo>
                        <a:pt x="51531" y="0"/>
                      </a:moveTo>
                      <a:lnTo>
                        <a:pt x="54163" y="465"/>
                      </a:lnTo>
                      <a:lnTo>
                        <a:pt x="58572" y="179"/>
                      </a:lnTo>
                      <a:lnTo>
                        <a:pt x="75124" y="3382"/>
                      </a:lnTo>
                      <a:lnTo>
                        <a:pt x="79191" y="3382"/>
                      </a:lnTo>
                      <a:lnTo>
                        <a:pt x="84814" y="6650"/>
                      </a:lnTo>
                      <a:lnTo>
                        <a:pt x="87862" y="7490"/>
                      </a:lnTo>
                      <a:lnTo>
                        <a:pt x="96827" y="7498"/>
                      </a:lnTo>
                      <a:lnTo>
                        <a:pt x="110625" y="8940"/>
                      </a:lnTo>
                      <a:lnTo>
                        <a:pt x="113338" y="6732"/>
                      </a:lnTo>
                      <a:lnTo>
                        <a:pt x="113607" y="6153"/>
                      </a:lnTo>
                      <a:lnTo>
                        <a:pt x="114927" y="7392"/>
                      </a:lnTo>
                      <a:lnTo>
                        <a:pt x="116590" y="9380"/>
                      </a:lnTo>
                      <a:lnTo>
                        <a:pt x="117055" y="10513"/>
                      </a:lnTo>
                      <a:lnTo>
                        <a:pt x="116468" y="11182"/>
                      </a:lnTo>
                      <a:lnTo>
                        <a:pt x="114814" y="11752"/>
                      </a:lnTo>
                      <a:lnTo>
                        <a:pt x="114431" y="12363"/>
                      </a:lnTo>
                      <a:lnTo>
                        <a:pt x="113697" y="13398"/>
                      </a:lnTo>
                      <a:lnTo>
                        <a:pt x="111757" y="13577"/>
                      </a:lnTo>
                      <a:lnTo>
                        <a:pt x="110755" y="14352"/>
                      </a:lnTo>
                      <a:lnTo>
                        <a:pt x="109565" y="17717"/>
                      </a:lnTo>
                      <a:lnTo>
                        <a:pt x="107283" y="23284"/>
                      </a:lnTo>
                      <a:lnTo>
                        <a:pt x="103918" y="27514"/>
                      </a:lnTo>
                      <a:lnTo>
                        <a:pt x="101212" y="29828"/>
                      </a:lnTo>
                      <a:lnTo>
                        <a:pt x="100022" y="31613"/>
                      </a:lnTo>
                      <a:lnTo>
                        <a:pt x="99256" y="33740"/>
                      </a:lnTo>
                      <a:lnTo>
                        <a:pt x="99076" y="35875"/>
                      </a:lnTo>
                      <a:lnTo>
                        <a:pt x="101676" y="47594"/>
                      </a:lnTo>
                      <a:lnTo>
                        <a:pt x="101643" y="49713"/>
                      </a:lnTo>
                      <a:lnTo>
                        <a:pt x="101033" y="51881"/>
                      </a:lnTo>
                      <a:lnTo>
                        <a:pt x="100592" y="54082"/>
                      </a:lnTo>
                      <a:lnTo>
                        <a:pt x="100951" y="55997"/>
                      </a:lnTo>
                      <a:lnTo>
                        <a:pt x="102662" y="59257"/>
                      </a:lnTo>
                      <a:lnTo>
                        <a:pt x="104480" y="64122"/>
                      </a:lnTo>
                      <a:lnTo>
                        <a:pt x="105188" y="67227"/>
                      </a:lnTo>
                      <a:lnTo>
                        <a:pt x="106403" y="68368"/>
                      </a:lnTo>
                      <a:lnTo>
                        <a:pt x="107552" y="69208"/>
                      </a:lnTo>
                      <a:lnTo>
                        <a:pt x="107796" y="69729"/>
                      </a:lnTo>
                      <a:lnTo>
                        <a:pt x="107764" y="70267"/>
                      </a:lnTo>
                      <a:lnTo>
                        <a:pt x="107161" y="70886"/>
                      </a:lnTo>
                      <a:lnTo>
                        <a:pt x="101937" y="72508"/>
                      </a:lnTo>
                      <a:lnTo>
                        <a:pt x="101260" y="73885"/>
                      </a:lnTo>
                      <a:lnTo>
                        <a:pt x="100698" y="75418"/>
                      </a:lnTo>
                      <a:lnTo>
                        <a:pt x="98408" y="77691"/>
                      </a:lnTo>
                      <a:lnTo>
                        <a:pt x="97707" y="79802"/>
                      </a:lnTo>
                      <a:lnTo>
                        <a:pt x="97283" y="82231"/>
                      </a:lnTo>
                      <a:lnTo>
                        <a:pt x="97218" y="83095"/>
                      </a:lnTo>
                      <a:lnTo>
                        <a:pt x="96591" y="83193"/>
                      </a:lnTo>
                      <a:lnTo>
                        <a:pt x="93127" y="82695"/>
                      </a:lnTo>
                      <a:lnTo>
                        <a:pt x="89313" y="81122"/>
                      </a:lnTo>
                      <a:lnTo>
                        <a:pt x="87650" y="79941"/>
                      </a:lnTo>
                      <a:lnTo>
                        <a:pt x="86012" y="79949"/>
                      </a:lnTo>
                      <a:lnTo>
                        <a:pt x="84024" y="80731"/>
                      </a:lnTo>
                      <a:lnTo>
                        <a:pt x="76893" y="82981"/>
                      </a:lnTo>
                      <a:lnTo>
                        <a:pt x="75157" y="82459"/>
                      </a:lnTo>
                      <a:lnTo>
                        <a:pt x="71090" y="80259"/>
                      </a:lnTo>
                      <a:lnTo>
                        <a:pt x="69020" y="77846"/>
                      </a:lnTo>
                      <a:lnTo>
                        <a:pt x="64440" y="73054"/>
                      </a:lnTo>
                      <a:lnTo>
                        <a:pt x="64073" y="71913"/>
                      </a:lnTo>
                      <a:lnTo>
                        <a:pt x="63478" y="70992"/>
                      </a:lnTo>
                      <a:lnTo>
                        <a:pt x="58572" y="69802"/>
                      </a:lnTo>
                      <a:lnTo>
                        <a:pt x="56763" y="68042"/>
                      </a:lnTo>
                      <a:lnTo>
                        <a:pt x="55263" y="67798"/>
                      </a:lnTo>
                      <a:lnTo>
                        <a:pt x="53055" y="66909"/>
                      </a:lnTo>
                      <a:lnTo>
                        <a:pt x="47318" y="63128"/>
                      </a:lnTo>
                      <a:lnTo>
                        <a:pt x="45899" y="62777"/>
                      </a:lnTo>
                      <a:lnTo>
                        <a:pt x="45557" y="63413"/>
                      </a:lnTo>
                      <a:lnTo>
                        <a:pt x="45647" y="64301"/>
                      </a:lnTo>
                      <a:lnTo>
                        <a:pt x="45296" y="64823"/>
                      </a:lnTo>
                      <a:lnTo>
                        <a:pt x="44563" y="64807"/>
                      </a:lnTo>
                      <a:lnTo>
                        <a:pt x="43234" y="63413"/>
                      </a:lnTo>
                      <a:lnTo>
                        <a:pt x="41645" y="62182"/>
                      </a:lnTo>
                      <a:lnTo>
                        <a:pt x="36690" y="64489"/>
                      </a:lnTo>
                      <a:lnTo>
                        <a:pt x="34889" y="65108"/>
                      </a:lnTo>
                      <a:lnTo>
                        <a:pt x="33324" y="65247"/>
                      </a:lnTo>
                      <a:lnTo>
                        <a:pt x="25460" y="68270"/>
                      </a:lnTo>
                      <a:lnTo>
                        <a:pt x="23072" y="69900"/>
                      </a:lnTo>
                      <a:lnTo>
                        <a:pt x="22086" y="69729"/>
                      </a:lnTo>
                      <a:lnTo>
                        <a:pt x="22322" y="68197"/>
                      </a:lnTo>
                      <a:lnTo>
                        <a:pt x="25590" y="60520"/>
                      </a:lnTo>
                      <a:lnTo>
                        <a:pt x="26177" y="54416"/>
                      </a:lnTo>
                      <a:lnTo>
                        <a:pt x="27375" y="53576"/>
                      </a:lnTo>
                      <a:lnTo>
                        <a:pt x="27726" y="52729"/>
                      </a:lnTo>
                      <a:lnTo>
                        <a:pt x="27212" y="50781"/>
                      </a:lnTo>
                      <a:lnTo>
                        <a:pt x="23813" y="49534"/>
                      </a:lnTo>
                      <a:lnTo>
                        <a:pt x="22445" y="49713"/>
                      </a:lnTo>
                      <a:lnTo>
                        <a:pt x="21206" y="51808"/>
                      </a:lnTo>
                      <a:lnTo>
                        <a:pt x="19934" y="53324"/>
                      </a:lnTo>
                      <a:lnTo>
                        <a:pt x="16927" y="54236"/>
                      </a:lnTo>
                      <a:lnTo>
                        <a:pt x="14360" y="52647"/>
                      </a:lnTo>
                      <a:lnTo>
                        <a:pt x="8329" y="50520"/>
                      </a:lnTo>
                      <a:lnTo>
                        <a:pt x="6789" y="47684"/>
                      </a:lnTo>
                      <a:lnTo>
                        <a:pt x="6430" y="44832"/>
                      </a:lnTo>
                      <a:lnTo>
                        <a:pt x="3252" y="42069"/>
                      </a:lnTo>
                      <a:lnTo>
                        <a:pt x="1924" y="38817"/>
                      </a:lnTo>
                      <a:lnTo>
                        <a:pt x="2445" y="36535"/>
                      </a:lnTo>
                      <a:lnTo>
                        <a:pt x="5346" y="35044"/>
                      </a:lnTo>
                      <a:lnTo>
                        <a:pt x="6170" y="33740"/>
                      </a:lnTo>
                      <a:lnTo>
                        <a:pt x="2518" y="33944"/>
                      </a:lnTo>
                      <a:lnTo>
                        <a:pt x="1777" y="33634"/>
                      </a:lnTo>
                      <a:lnTo>
                        <a:pt x="1614" y="32460"/>
                      </a:lnTo>
                      <a:lnTo>
                        <a:pt x="0" y="28475"/>
                      </a:lnTo>
                      <a:lnTo>
                        <a:pt x="1426" y="26902"/>
                      </a:lnTo>
                      <a:lnTo>
                        <a:pt x="2054" y="25370"/>
                      </a:lnTo>
                      <a:lnTo>
                        <a:pt x="888" y="24066"/>
                      </a:lnTo>
                      <a:lnTo>
                        <a:pt x="1190" y="22575"/>
                      </a:lnTo>
                      <a:lnTo>
                        <a:pt x="2111" y="21083"/>
                      </a:lnTo>
                      <a:lnTo>
                        <a:pt x="1548" y="17595"/>
                      </a:lnTo>
                      <a:lnTo>
                        <a:pt x="5175" y="15745"/>
                      </a:lnTo>
                      <a:lnTo>
                        <a:pt x="8696" y="14449"/>
                      </a:lnTo>
                      <a:lnTo>
                        <a:pt x="16161" y="13781"/>
                      </a:lnTo>
                      <a:lnTo>
                        <a:pt x="15411" y="10603"/>
                      </a:lnTo>
                      <a:lnTo>
                        <a:pt x="18435" y="10456"/>
                      </a:lnTo>
                      <a:lnTo>
                        <a:pt x="23520" y="6609"/>
                      </a:lnTo>
                      <a:lnTo>
                        <a:pt x="28565" y="7286"/>
                      </a:lnTo>
                      <a:lnTo>
                        <a:pt x="35851" y="4653"/>
                      </a:lnTo>
                      <a:lnTo>
                        <a:pt x="49893" y="4694"/>
                      </a:lnTo>
                      <a:lnTo>
                        <a:pt x="51808" y="3170"/>
                      </a:lnTo>
                      <a:lnTo>
                        <a:pt x="51474" y="1638"/>
                      </a:lnTo>
                      <a:close/>
                    </a:path>
                  </a:pathLst>
                </a:custGeom>
                <a:solidFill>
                  <a:srgbClr val="D6D6D2"/>
                </a:solidFill>
                <a:ln w="6112" cap="rnd">
                  <a:solidFill>
                    <a:srgbClr val="FFFFFF"/>
                  </a:solidFill>
                  <a:prstDash val="solid"/>
                  <a:round/>
                </a:ln>
              </p:spPr>
              <p:txBody>
                <a:bodyPr rtlCol="0" anchor="ctr"/>
                <a:lstStyle/>
                <a:p>
                  <a:endParaRPr lang="en-US"/>
                </a:p>
              </p:txBody>
            </p:sp>
            <p:grpSp>
              <p:nvGrpSpPr>
                <p:cNvPr id="741" name="Graphic 7">
                  <a:extLst>
                    <a:ext uri="{FF2B5EF4-FFF2-40B4-BE49-F238E27FC236}">
                      <a16:creationId xmlns:a16="http://schemas.microsoft.com/office/drawing/2014/main" id="{C361EC9C-6DA2-4355-BB58-1DC2FEBDA74E}"/>
                    </a:ext>
                  </a:extLst>
                </p:cNvPr>
                <p:cNvGrpSpPr/>
                <p:nvPr/>
              </p:nvGrpSpPr>
              <p:grpSpPr>
                <a:xfrm>
                  <a:off x="5524337" y="3146580"/>
                  <a:ext cx="505152" cy="522316"/>
                  <a:chOff x="5524337" y="3146580"/>
                  <a:chExt cx="505152" cy="522316"/>
                </a:xfrm>
                <a:solidFill>
                  <a:srgbClr val="D6D6D2"/>
                </a:solidFill>
              </p:grpSpPr>
              <p:sp>
                <p:nvSpPr>
                  <p:cNvPr id="788" name="Freeform: Shape 787">
                    <a:extLst>
                      <a:ext uri="{FF2B5EF4-FFF2-40B4-BE49-F238E27FC236}">
                        <a16:creationId xmlns:a16="http://schemas.microsoft.com/office/drawing/2014/main" id="{7E98C6A1-7B3E-4793-A785-1F2BC1C76532}"/>
                      </a:ext>
                    </a:extLst>
                  </p:cNvPr>
                  <p:cNvSpPr/>
                  <p:nvPr/>
                </p:nvSpPr>
                <p:spPr>
                  <a:xfrm>
                    <a:off x="5524337" y="3650780"/>
                    <a:ext cx="19502" cy="18116"/>
                  </a:xfrm>
                  <a:custGeom>
                    <a:avLst/>
                    <a:gdLst>
                      <a:gd name="connsiteX0" fmla="*/ 14156 w 19502"/>
                      <a:gd name="connsiteY0" fmla="*/ 6251 h 18116"/>
                      <a:gd name="connsiteX1" fmla="*/ 12078 w 19502"/>
                      <a:gd name="connsiteY1" fmla="*/ 13520 h 18116"/>
                      <a:gd name="connsiteX2" fmla="*/ 10155 w 19502"/>
                      <a:gd name="connsiteY2" fmla="*/ 16373 h 18116"/>
                      <a:gd name="connsiteX3" fmla="*/ 8989 w 19502"/>
                      <a:gd name="connsiteY3" fmla="*/ 17318 h 18116"/>
                      <a:gd name="connsiteX4" fmla="*/ 6137 w 19502"/>
                      <a:gd name="connsiteY4" fmla="*/ 18117 h 18116"/>
                      <a:gd name="connsiteX5" fmla="*/ 2738 w 19502"/>
                      <a:gd name="connsiteY5" fmla="*/ 13594 h 18116"/>
                      <a:gd name="connsiteX6" fmla="*/ 978 w 19502"/>
                      <a:gd name="connsiteY6" fmla="*/ 9006 h 18116"/>
                      <a:gd name="connsiteX7" fmla="*/ 0 w 19502"/>
                      <a:gd name="connsiteY7" fmla="*/ 7530 h 18116"/>
                      <a:gd name="connsiteX8" fmla="*/ 1548 w 19502"/>
                      <a:gd name="connsiteY8" fmla="*/ 6373 h 18116"/>
                      <a:gd name="connsiteX9" fmla="*/ 3798 w 19502"/>
                      <a:gd name="connsiteY9" fmla="*/ 6569 h 18116"/>
                      <a:gd name="connsiteX10" fmla="*/ 8647 w 19502"/>
                      <a:gd name="connsiteY10" fmla="*/ 5591 h 18116"/>
                      <a:gd name="connsiteX11" fmla="*/ 9625 w 19502"/>
                      <a:gd name="connsiteY11" fmla="*/ 5200 h 18116"/>
                      <a:gd name="connsiteX12" fmla="*/ 14547 w 19502"/>
                      <a:gd name="connsiteY12" fmla="*/ 571 h 18116"/>
                      <a:gd name="connsiteX13" fmla="*/ 19388 w 19502"/>
                      <a:gd name="connsiteY13" fmla="*/ 0 h 18116"/>
                      <a:gd name="connsiteX14" fmla="*/ 19502 w 19502"/>
                      <a:gd name="connsiteY14" fmla="*/ 1516 h 18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502" h="18116">
                        <a:moveTo>
                          <a:pt x="14156" y="6251"/>
                        </a:moveTo>
                        <a:lnTo>
                          <a:pt x="12078" y="13520"/>
                        </a:lnTo>
                        <a:lnTo>
                          <a:pt x="10155" y="16373"/>
                        </a:lnTo>
                        <a:lnTo>
                          <a:pt x="8989" y="17318"/>
                        </a:lnTo>
                        <a:lnTo>
                          <a:pt x="6137" y="18117"/>
                        </a:lnTo>
                        <a:lnTo>
                          <a:pt x="2738" y="13594"/>
                        </a:lnTo>
                        <a:lnTo>
                          <a:pt x="978" y="9006"/>
                        </a:lnTo>
                        <a:lnTo>
                          <a:pt x="0" y="7530"/>
                        </a:lnTo>
                        <a:lnTo>
                          <a:pt x="1548" y="6373"/>
                        </a:lnTo>
                        <a:lnTo>
                          <a:pt x="3798" y="6569"/>
                        </a:lnTo>
                        <a:lnTo>
                          <a:pt x="8647" y="5591"/>
                        </a:lnTo>
                        <a:lnTo>
                          <a:pt x="9625" y="5200"/>
                        </a:lnTo>
                        <a:lnTo>
                          <a:pt x="14547" y="571"/>
                        </a:lnTo>
                        <a:lnTo>
                          <a:pt x="19388" y="0"/>
                        </a:lnTo>
                        <a:lnTo>
                          <a:pt x="19502" y="1516"/>
                        </a:lnTo>
                        <a:close/>
                      </a:path>
                    </a:pathLst>
                  </a:custGeom>
                  <a:solidFill>
                    <a:srgbClr val="D6D6D2"/>
                  </a:solidFill>
                  <a:ln w="8150" cap="flat">
                    <a:noFill/>
                    <a:prstDash val="solid"/>
                    <a:miter/>
                  </a:ln>
                </p:spPr>
                <p:txBody>
                  <a:bodyPr rtlCol="0" anchor="ctr"/>
                  <a:lstStyle/>
                  <a:p>
                    <a:endParaRPr lang="en-US"/>
                  </a:p>
                </p:txBody>
              </p:sp>
              <p:sp>
                <p:nvSpPr>
                  <p:cNvPr id="789" name="Freeform: Shape 788">
                    <a:extLst>
                      <a:ext uri="{FF2B5EF4-FFF2-40B4-BE49-F238E27FC236}">
                        <a16:creationId xmlns:a16="http://schemas.microsoft.com/office/drawing/2014/main" id="{A5FF58D3-32D0-4F80-B72C-DE914989D4C2}"/>
                      </a:ext>
                    </a:extLst>
                  </p:cNvPr>
                  <p:cNvSpPr/>
                  <p:nvPr/>
                </p:nvSpPr>
                <p:spPr>
                  <a:xfrm>
                    <a:off x="6002416" y="3276813"/>
                    <a:ext cx="27073" cy="22639"/>
                  </a:xfrm>
                  <a:custGeom>
                    <a:avLst/>
                    <a:gdLst>
                      <a:gd name="connsiteX0" fmla="*/ 19225 w 27073"/>
                      <a:gd name="connsiteY0" fmla="*/ 6112 h 22639"/>
                      <a:gd name="connsiteX1" fmla="*/ 21596 w 27073"/>
                      <a:gd name="connsiteY1" fmla="*/ 7245 h 22639"/>
                      <a:gd name="connsiteX2" fmla="*/ 24106 w 27073"/>
                      <a:gd name="connsiteY2" fmla="*/ 6218 h 22639"/>
                      <a:gd name="connsiteX3" fmla="*/ 25443 w 27073"/>
                      <a:gd name="connsiteY3" fmla="*/ 6544 h 22639"/>
                      <a:gd name="connsiteX4" fmla="*/ 26755 w 27073"/>
                      <a:gd name="connsiteY4" fmla="*/ 7090 h 22639"/>
                      <a:gd name="connsiteX5" fmla="*/ 27073 w 27073"/>
                      <a:gd name="connsiteY5" fmla="*/ 9234 h 22639"/>
                      <a:gd name="connsiteX6" fmla="*/ 25900 w 27073"/>
                      <a:gd name="connsiteY6" fmla="*/ 11621 h 22639"/>
                      <a:gd name="connsiteX7" fmla="*/ 24262 w 27073"/>
                      <a:gd name="connsiteY7" fmla="*/ 14042 h 22639"/>
                      <a:gd name="connsiteX8" fmla="*/ 22892 w 27073"/>
                      <a:gd name="connsiteY8" fmla="*/ 16699 h 22639"/>
                      <a:gd name="connsiteX9" fmla="*/ 21694 w 27073"/>
                      <a:gd name="connsiteY9" fmla="*/ 19747 h 22639"/>
                      <a:gd name="connsiteX10" fmla="*/ 19445 w 27073"/>
                      <a:gd name="connsiteY10" fmla="*/ 21556 h 22639"/>
                      <a:gd name="connsiteX11" fmla="*/ 17432 w 27073"/>
                      <a:gd name="connsiteY11" fmla="*/ 22640 h 22639"/>
                      <a:gd name="connsiteX12" fmla="*/ 13137 w 27073"/>
                      <a:gd name="connsiteY12" fmla="*/ 20374 h 22639"/>
                      <a:gd name="connsiteX13" fmla="*/ 10651 w 27073"/>
                      <a:gd name="connsiteY13" fmla="*/ 19812 h 22639"/>
                      <a:gd name="connsiteX14" fmla="*/ 9910 w 27073"/>
                      <a:gd name="connsiteY14" fmla="*/ 18956 h 22639"/>
                      <a:gd name="connsiteX15" fmla="*/ 9323 w 27073"/>
                      <a:gd name="connsiteY15" fmla="*/ 15582 h 22639"/>
                      <a:gd name="connsiteX16" fmla="*/ 8190 w 27073"/>
                      <a:gd name="connsiteY16" fmla="*/ 14498 h 22639"/>
                      <a:gd name="connsiteX17" fmla="*/ 6544 w 27073"/>
                      <a:gd name="connsiteY17" fmla="*/ 14026 h 22639"/>
                      <a:gd name="connsiteX18" fmla="*/ 5110 w 27073"/>
                      <a:gd name="connsiteY18" fmla="*/ 14890 h 22639"/>
                      <a:gd name="connsiteX19" fmla="*/ 3202 w 27073"/>
                      <a:gd name="connsiteY19" fmla="*/ 16666 h 22639"/>
                      <a:gd name="connsiteX20" fmla="*/ 2200 w 27073"/>
                      <a:gd name="connsiteY20" fmla="*/ 14898 h 22639"/>
                      <a:gd name="connsiteX21" fmla="*/ 603 w 27073"/>
                      <a:gd name="connsiteY21" fmla="*/ 14564 h 22639"/>
                      <a:gd name="connsiteX22" fmla="*/ 0 w 27073"/>
                      <a:gd name="connsiteY22" fmla="*/ 13488 h 22639"/>
                      <a:gd name="connsiteX23" fmla="*/ 32 w 27073"/>
                      <a:gd name="connsiteY23" fmla="*/ 12102 h 22639"/>
                      <a:gd name="connsiteX24" fmla="*/ 10285 w 27073"/>
                      <a:gd name="connsiteY24" fmla="*/ 3920 h 22639"/>
                      <a:gd name="connsiteX25" fmla="*/ 13259 w 27073"/>
                      <a:gd name="connsiteY25" fmla="*/ 2111 h 22639"/>
                      <a:gd name="connsiteX26" fmla="*/ 19559 w 27073"/>
                      <a:gd name="connsiteY26" fmla="*/ 0 h 22639"/>
                      <a:gd name="connsiteX27" fmla="*/ 20521 w 27073"/>
                      <a:gd name="connsiteY27" fmla="*/ 326 h 22639"/>
                      <a:gd name="connsiteX28" fmla="*/ 19706 w 27073"/>
                      <a:gd name="connsiteY28" fmla="*/ 1565 h 22639"/>
                      <a:gd name="connsiteX29" fmla="*/ 19755 w 27073"/>
                      <a:gd name="connsiteY29" fmla="*/ 2127 h 22639"/>
                      <a:gd name="connsiteX30" fmla="*/ 20545 w 27073"/>
                      <a:gd name="connsiteY30" fmla="*/ 2730 h 22639"/>
                      <a:gd name="connsiteX31" fmla="*/ 20358 w 27073"/>
                      <a:gd name="connsiteY31" fmla="*/ 3692 h 22639"/>
                      <a:gd name="connsiteX32" fmla="*/ 19559 w 27073"/>
                      <a:gd name="connsiteY32" fmla="*/ 4531 h 22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7073" h="22639">
                        <a:moveTo>
                          <a:pt x="19225" y="6112"/>
                        </a:moveTo>
                        <a:lnTo>
                          <a:pt x="21596" y="7245"/>
                        </a:lnTo>
                        <a:lnTo>
                          <a:pt x="24106" y="6218"/>
                        </a:lnTo>
                        <a:lnTo>
                          <a:pt x="25443" y="6544"/>
                        </a:lnTo>
                        <a:lnTo>
                          <a:pt x="26755" y="7090"/>
                        </a:lnTo>
                        <a:lnTo>
                          <a:pt x="27073" y="9234"/>
                        </a:lnTo>
                        <a:lnTo>
                          <a:pt x="25900" y="11621"/>
                        </a:lnTo>
                        <a:lnTo>
                          <a:pt x="24262" y="14042"/>
                        </a:lnTo>
                        <a:lnTo>
                          <a:pt x="22892" y="16699"/>
                        </a:lnTo>
                        <a:lnTo>
                          <a:pt x="21694" y="19747"/>
                        </a:lnTo>
                        <a:lnTo>
                          <a:pt x="19445" y="21556"/>
                        </a:lnTo>
                        <a:lnTo>
                          <a:pt x="17432" y="22640"/>
                        </a:lnTo>
                        <a:lnTo>
                          <a:pt x="13137" y="20374"/>
                        </a:lnTo>
                        <a:lnTo>
                          <a:pt x="10651" y="19812"/>
                        </a:lnTo>
                        <a:lnTo>
                          <a:pt x="9910" y="18956"/>
                        </a:lnTo>
                        <a:lnTo>
                          <a:pt x="9323" y="15582"/>
                        </a:lnTo>
                        <a:lnTo>
                          <a:pt x="8190" y="14498"/>
                        </a:lnTo>
                        <a:lnTo>
                          <a:pt x="6544" y="14026"/>
                        </a:lnTo>
                        <a:lnTo>
                          <a:pt x="5110" y="14890"/>
                        </a:lnTo>
                        <a:lnTo>
                          <a:pt x="3202" y="16666"/>
                        </a:lnTo>
                        <a:lnTo>
                          <a:pt x="2200" y="14898"/>
                        </a:lnTo>
                        <a:lnTo>
                          <a:pt x="603" y="14564"/>
                        </a:lnTo>
                        <a:lnTo>
                          <a:pt x="0" y="13488"/>
                        </a:lnTo>
                        <a:lnTo>
                          <a:pt x="32" y="12102"/>
                        </a:lnTo>
                        <a:lnTo>
                          <a:pt x="10285" y="3920"/>
                        </a:lnTo>
                        <a:lnTo>
                          <a:pt x="13259" y="2111"/>
                        </a:lnTo>
                        <a:lnTo>
                          <a:pt x="19559" y="0"/>
                        </a:lnTo>
                        <a:lnTo>
                          <a:pt x="20521" y="326"/>
                        </a:lnTo>
                        <a:lnTo>
                          <a:pt x="19706" y="1565"/>
                        </a:lnTo>
                        <a:lnTo>
                          <a:pt x="19755" y="2127"/>
                        </a:lnTo>
                        <a:lnTo>
                          <a:pt x="20545" y="2730"/>
                        </a:lnTo>
                        <a:lnTo>
                          <a:pt x="20358" y="3692"/>
                        </a:lnTo>
                        <a:lnTo>
                          <a:pt x="19559" y="4531"/>
                        </a:lnTo>
                        <a:close/>
                      </a:path>
                    </a:pathLst>
                  </a:custGeom>
                  <a:solidFill>
                    <a:srgbClr val="D6D6D2"/>
                  </a:solidFill>
                  <a:ln w="8150" cap="flat">
                    <a:noFill/>
                    <a:prstDash val="solid"/>
                    <a:miter/>
                  </a:ln>
                </p:spPr>
                <p:txBody>
                  <a:bodyPr rtlCol="0" anchor="ctr"/>
                  <a:lstStyle/>
                  <a:p>
                    <a:endParaRPr lang="en-US"/>
                  </a:p>
                </p:txBody>
              </p:sp>
              <p:sp>
                <p:nvSpPr>
                  <p:cNvPr id="790" name="Freeform: Shape 789">
                    <a:extLst>
                      <a:ext uri="{FF2B5EF4-FFF2-40B4-BE49-F238E27FC236}">
                        <a16:creationId xmlns:a16="http://schemas.microsoft.com/office/drawing/2014/main" id="{54508A4C-1C4C-42C3-BFB9-AAB61DE55BF8}"/>
                      </a:ext>
                    </a:extLst>
                  </p:cNvPr>
                  <p:cNvSpPr/>
                  <p:nvPr/>
                </p:nvSpPr>
                <p:spPr>
                  <a:xfrm>
                    <a:off x="5714568" y="3146580"/>
                    <a:ext cx="311075" cy="262348"/>
                  </a:xfrm>
                  <a:custGeom>
                    <a:avLst/>
                    <a:gdLst>
                      <a:gd name="connsiteX0" fmla="*/ 38132 w 311075"/>
                      <a:gd name="connsiteY0" fmla="*/ 0 h 262348"/>
                      <a:gd name="connsiteX1" fmla="*/ 40699 w 311075"/>
                      <a:gd name="connsiteY1" fmla="*/ 1296 h 262348"/>
                      <a:gd name="connsiteX2" fmla="*/ 42957 w 311075"/>
                      <a:gd name="connsiteY2" fmla="*/ 856 h 262348"/>
                      <a:gd name="connsiteX3" fmla="*/ 45540 w 311075"/>
                      <a:gd name="connsiteY3" fmla="*/ 2388 h 262348"/>
                      <a:gd name="connsiteX4" fmla="*/ 48947 w 311075"/>
                      <a:gd name="connsiteY4" fmla="*/ 5909 h 262348"/>
                      <a:gd name="connsiteX5" fmla="*/ 53935 w 311075"/>
                      <a:gd name="connsiteY5" fmla="*/ 7310 h 262348"/>
                      <a:gd name="connsiteX6" fmla="*/ 57912 w 311075"/>
                      <a:gd name="connsiteY6" fmla="*/ 6218 h 262348"/>
                      <a:gd name="connsiteX7" fmla="*/ 64945 w 311075"/>
                      <a:gd name="connsiteY7" fmla="*/ 5982 h 262348"/>
                      <a:gd name="connsiteX8" fmla="*/ 68450 w 311075"/>
                      <a:gd name="connsiteY8" fmla="*/ 6446 h 262348"/>
                      <a:gd name="connsiteX9" fmla="*/ 74692 w 311075"/>
                      <a:gd name="connsiteY9" fmla="*/ 5583 h 262348"/>
                      <a:gd name="connsiteX10" fmla="*/ 78262 w 311075"/>
                      <a:gd name="connsiteY10" fmla="*/ 5892 h 262348"/>
                      <a:gd name="connsiteX11" fmla="*/ 84048 w 311075"/>
                      <a:gd name="connsiteY11" fmla="*/ 4156 h 262348"/>
                      <a:gd name="connsiteX12" fmla="*/ 88538 w 311075"/>
                      <a:gd name="connsiteY12" fmla="*/ 6324 h 262348"/>
                      <a:gd name="connsiteX13" fmla="*/ 97218 w 311075"/>
                      <a:gd name="connsiteY13" fmla="*/ 7343 h 262348"/>
                      <a:gd name="connsiteX14" fmla="*/ 102442 w 311075"/>
                      <a:gd name="connsiteY14" fmla="*/ 9128 h 262348"/>
                      <a:gd name="connsiteX15" fmla="*/ 116883 w 311075"/>
                      <a:gd name="connsiteY15" fmla="*/ 12111 h 262348"/>
                      <a:gd name="connsiteX16" fmla="*/ 122091 w 311075"/>
                      <a:gd name="connsiteY16" fmla="*/ 12151 h 262348"/>
                      <a:gd name="connsiteX17" fmla="*/ 129467 w 311075"/>
                      <a:gd name="connsiteY17" fmla="*/ 10472 h 262348"/>
                      <a:gd name="connsiteX18" fmla="*/ 132596 w 311075"/>
                      <a:gd name="connsiteY18" fmla="*/ 9209 h 262348"/>
                      <a:gd name="connsiteX19" fmla="*/ 135456 w 311075"/>
                      <a:gd name="connsiteY19" fmla="*/ 9959 h 262348"/>
                      <a:gd name="connsiteX20" fmla="*/ 139662 w 311075"/>
                      <a:gd name="connsiteY20" fmla="*/ 8508 h 262348"/>
                      <a:gd name="connsiteX21" fmla="*/ 141675 w 311075"/>
                      <a:gd name="connsiteY21" fmla="*/ 8802 h 262348"/>
                      <a:gd name="connsiteX22" fmla="*/ 144291 w 311075"/>
                      <a:gd name="connsiteY22" fmla="*/ 10872 h 262348"/>
                      <a:gd name="connsiteX23" fmla="*/ 153524 w 311075"/>
                      <a:gd name="connsiteY23" fmla="*/ 13643 h 262348"/>
                      <a:gd name="connsiteX24" fmla="*/ 155953 w 311075"/>
                      <a:gd name="connsiteY24" fmla="*/ 11279 h 262348"/>
                      <a:gd name="connsiteX25" fmla="*/ 157754 w 311075"/>
                      <a:gd name="connsiteY25" fmla="*/ 10774 h 262348"/>
                      <a:gd name="connsiteX26" fmla="*/ 164404 w 311075"/>
                      <a:gd name="connsiteY26" fmla="*/ 12225 h 262348"/>
                      <a:gd name="connsiteX27" fmla="*/ 171095 w 311075"/>
                      <a:gd name="connsiteY27" fmla="*/ 15159 h 262348"/>
                      <a:gd name="connsiteX28" fmla="*/ 174575 w 311075"/>
                      <a:gd name="connsiteY28" fmla="*/ 15362 h 262348"/>
                      <a:gd name="connsiteX29" fmla="*/ 179677 w 311075"/>
                      <a:gd name="connsiteY29" fmla="*/ 14564 h 262348"/>
                      <a:gd name="connsiteX30" fmla="*/ 183711 w 311075"/>
                      <a:gd name="connsiteY30" fmla="*/ 12632 h 262348"/>
                      <a:gd name="connsiteX31" fmla="*/ 184567 w 311075"/>
                      <a:gd name="connsiteY31" fmla="*/ 12404 h 262348"/>
                      <a:gd name="connsiteX32" fmla="*/ 184600 w 311075"/>
                      <a:gd name="connsiteY32" fmla="*/ 13610 h 262348"/>
                      <a:gd name="connsiteX33" fmla="*/ 185578 w 311075"/>
                      <a:gd name="connsiteY33" fmla="*/ 15273 h 262348"/>
                      <a:gd name="connsiteX34" fmla="*/ 186580 w 311075"/>
                      <a:gd name="connsiteY34" fmla="*/ 15884 h 262348"/>
                      <a:gd name="connsiteX35" fmla="*/ 188707 w 311075"/>
                      <a:gd name="connsiteY35" fmla="*/ 16740 h 262348"/>
                      <a:gd name="connsiteX36" fmla="*/ 190329 w 311075"/>
                      <a:gd name="connsiteY36" fmla="*/ 16846 h 262348"/>
                      <a:gd name="connsiteX37" fmla="*/ 192553 w 311075"/>
                      <a:gd name="connsiteY37" fmla="*/ 17245 h 262348"/>
                      <a:gd name="connsiteX38" fmla="*/ 194069 w 311075"/>
                      <a:gd name="connsiteY38" fmla="*/ 18198 h 262348"/>
                      <a:gd name="connsiteX39" fmla="*/ 194159 w 311075"/>
                      <a:gd name="connsiteY39" fmla="*/ 19690 h 262348"/>
                      <a:gd name="connsiteX40" fmla="*/ 193784 w 311075"/>
                      <a:gd name="connsiteY40" fmla="*/ 21352 h 262348"/>
                      <a:gd name="connsiteX41" fmla="*/ 192863 w 311075"/>
                      <a:gd name="connsiteY41" fmla="*/ 22885 h 262348"/>
                      <a:gd name="connsiteX42" fmla="*/ 192341 w 311075"/>
                      <a:gd name="connsiteY42" fmla="*/ 24058 h 262348"/>
                      <a:gd name="connsiteX43" fmla="*/ 192830 w 311075"/>
                      <a:gd name="connsiteY43" fmla="*/ 24718 h 262348"/>
                      <a:gd name="connsiteX44" fmla="*/ 193629 w 311075"/>
                      <a:gd name="connsiteY44" fmla="*/ 25240 h 262348"/>
                      <a:gd name="connsiteX45" fmla="*/ 194485 w 311075"/>
                      <a:gd name="connsiteY45" fmla="*/ 25378 h 262348"/>
                      <a:gd name="connsiteX46" fmla="*/ 195072 w 311075"/>
                      <a:gd name="connsiteY46" fmla="*/ 25215 h 262348"/>
                      <a:gd name="connsiteX47" fmla="*/ 195512 w 311075"/>
                      <a:gd name="connsiteY47" fmla="*/ 24286 h 262348"/>
                      <a:gd name="connsiteX48" fmla="*/ 196351 w 311075"/>
                      <a:gd name="connsiteY48" fmla="*/ 23162 h 262348"/>
                      <a:gd name="connsiteX49" fmla="*/ 196816 w 311075"/>
                      <a:gd name="connsiteY49" fmla="*/ 23015 h 262348"/>
                      <a:gd name="connsiteX50" fmla="*/ 196783 w 311075"/>
                      <a:gd name="connsiteY50" fmla="*/ 23659 h 262348"/>
                      <a:gd name="connsiteX51" fmla="*/ 197174 w 311075"/>
                      <a:gd name="connsiteY51" fmla="*/ 24449 h 262348"/>
                      <a:gd name="connsiteX52" fmla="*/ 199905 w 311075"/>
                      <a:gd name="connsiteY52" fmla="*/ 25786 h 262348"/>
                      <a:gd name="connsiteX53" fmla="*/ 205903 w 311075"/>
                      <a:gd name="connsiteY53" fmla="*/ 28263 h 262348"/>
                      <a:gd name="connsiteX54" fmla="*/ 208250 w 311075"/>
                      <a:gd name="connsiteY54" fmla="*/ 28312 h 262348"/>
                      <a:gd name="connsiteX55" fmla="*/ 210141 w 311075"/>
                      <a:gd name="connsiteY55" fmla="*/ 28589 h 262348"/>
                      <a:gd name="connsiteX56" fmla="*/ 210703 w 311075"/>
                      <a:gd name="connsiteY56" fmla="*/ 29641 h 262348"/>
                      <a:gd name="connsiteX57" fmla="*/ 214517 w 311075"/>
                      <a:gd name="connsiteY57" fmla="*/ 33455 h 262348"/>
                      <a:gd name="connsiteX58" fmla="*/ 215430 w 311075"/>
                      <a:gd name="connsiteY58" fmla="*/ 33357 h 262348"/>
                      <a:gd name="connsiteX59" fmla="*/ 217125 w 311075"/>
                      <a:gd name="connsiteY59" fmla="*/ 33447 h 262348"/>
                      <a:gd name="connsiteX60" fmla="*/ 219179 w 311075"/>
                      <a:gd name="connsiteY60" fmla="*/ 33137 h 262348"/>
                      <a:gd name="connsiteX61" fmla="*/ 220662 w 311075"/>
                      <a:gd name="connsiteY61" fmla="*/ 32428 h 262348"/>
                      <a:gd name="connsiteX62" fmla="*/ 221640 w 311075"/>
                      <a:gd name="connsiteY62" fmla="*/ 32550 h 262348"/>
                      <a:gd name="connsiteX63" fmla="*/ 222707 w 311075"/>
                      <a:gd name="connsiteY63" fmla="*/ 33284 h 262348"/>
                      <a:gd name="connsiteX64" fmla="*/ 223962 w 311075"/>
                      <a:gd name="connsiteY64" fmla="*/ 33935 h 262348"/>
                      <a:gd name="connsiteX65" fmla="*/ 225585 w 311075"/>
                      <a:gd name="connsiteY65" fmla="*/ 35191 h 262348"/>
                      <a:gd name="connsiteX66" fmla="*/ 227035 w 311075"/>
                      <a:gd name="connsiteY66" fmla="*/ 36747 h 262348"/>
                      <a:gd name="connsiteX67" fmla="*/ 228037 w 311075"/>
                      <a:gd name="connsiteY67" fmla="*/ 37253 h 262348"/>
                      <a:gd name="connsiteX68" fmla="*/ 234052 w 311075"/>
                      <a:gd name="connsiteY68" fmla="*/ 36209 h 262348"/>
                      <a:gd name="connsiteX69" fmla="*/ 235397 w 311075"/>
                      <a:gd name="connsiteY69" fmla="*/ 37122 h 262348"/>
                      <a:gd name="connsiteX70" fmla="*/ 236823 w 311075"/>
                      <a:gd name="connsiteY70" fmla="*/ 37114 h 262348"/>
                      <a:gd name="connsiteX71" fmla="*/ 238420 w 311075"/>
                      <a:gd name="connsiteY71" fmla="*/ 36869 h 262348"/>
                      <a:gd name="connsiteX72" fmla="*/ 241900 w 311075"/>
                      <a:gd name="connsiteY72" fmla="*/ 37358 h 262348"/>
                      <a:gd name="connsiteX73" fmla="*/ 244736 w 311075"/>
                      <a:gd name="connsiteY73" fmla="*/ 37236 h 262348"/>
                      <a:gd name="connsiteX74" fmla="*/ 244989 w 311075"/>
                      <a:gd name="connsiteY74" fmla="*/ 36853 h 262348"/>
                      <a:gd name="connsiteX75" fmla="*/ 245234 w 311075"/>
                      <a:gd name="connsiteY75" fmla="*/ 33406 h 262348"/>
                      <a:gd name="connsiteX76" fmla="*/ 245682 w 311075"/>
                      <a:gd name="connsiteY76" fmla="*/ 32192 h 262348"/>
                      <a:gd name="connsiteX77" fmla="*/ 246350 w 311075"/>
                      <a:gd name="connsiteY77" fmla="*/ 31865 h 262348"/>
                      <a:gd name="connsiteX78" fmla="*/ 248029 w 311075"/>
                      <a:gd name="connsiteY78" fmla="*/ 32110 h 262348"/>
                      <a:gd name="connsiteX79" fmla="*/ 254117 w 311075"/>
                      <a:gd name="connsiteY79" fmla="*/ 34156 h 262348"/>
                      <a:gd name="connsiteX80" fmla="*/ 256627 w 311075"/>
                      <a:gd name="connsiteY80" fmla="*/ 35427 h 262348"/>
                      <a:gd name="connsiteX81" fmla="*/ 259023 w 311075"/>
                      <a:gd name="connsiteY81" fmla="*/ 36421 h 262348"/>
                      <a:gd name="connsiteX82" fmla="*/ 261134 w 311075"/>
                      <a:gd name="connsiteY82" fmla="*/ 36535 h 262348"/>
                      <a:gd name="connsiteX83" fmla="*/ 262527 w 311075"/>
                      <a:gd name="connsiteY83" fmla="*/ 37204 h 262348"/>
                      <a:gd name="connsiteX84" fmla="*/ 264483 w 311075"/>
                      <a:gd name="connsiteY84" fmla="*/ 40472 h 262348"/>
                      <a:gd name="connsiteX85" fmla="*/ 264149 w 311075"/>
                      <a:gd name="connsiteY85" fmla="*/ 42110 h 262348"/>
                      <a:gd name="connsiteX86" fmla="*/ 264328 w 311075"/>
                      <a:gd name="connsiteY86" fmla="*/ 42713 h 262348"/>
                      <a:gd name="connsiteX87" fmla="*/ 264532 w 311075"/>
                      <a:gd name="connsiteY87" fmla="*/ 43854 h 262348"/>
                      <a:gd name="connsiteX88" fmla="*/ 264475 w 311075"/>
                      <a:gd name="connsiteY88" fmla="*/ 45109 h 262348"/>
                      <a:gd name="connsiteX89" fmla="*/ 264997 w 311075"/>
                      <a:gd name="connsiteY89" fmla="*/ 45932 h 262348"/>
                      <a:gd name="connsiteX90" fmla="*/ 265917 w 311075"/>
                      <a:gd name="connsiteY90" fmla="*/ 46030 h 262348"/>
                      <a:gd name="connsiteX91" fmla="*/ 267107 w 311075"/>
                      <a:gd name="connsiteY91" fmla="*/ 45785 h 262348"/>
                      <a:gd name="connsiteX92" fmla="*/ 268403 w 311075"/>
                      <a:gd name="connsiteY92" fmla="*/ 45296 h 262348"/>
                      <a:gd name="connsiteX93" fmla="*/ 270693 w 311075"/>
                      <a:gd name="connsiteY93" fmla="*/ 43886 h 262348"/>
                      <a:gd name="connsiteX94" fmla="*/ 271378 w 311075"/>
                      <a:gd name="connsiteY94" fmla="*/ 43658 h 262348"/>
                      <a:gd name="connsiteX95" fmla="*/ 275184 w 311075"/>
                      <a:gd name="connsiteY95" fmla="*/ 45256 h 262348"/>
                      <a:gd name="connsiteX96" fmla="*/ 276879 w 311075"/>
                      <a:gd name="connsiteY96" fmla="*/ 46315 h 262348"/>
                      <a:gd name="connsiteX97" fmla="*/ 277458 w 311075"/>
                      <a:gd name="connsiteY97" fmla="*/ 47464 h 262348"/>
                      <a:gd name="connsiteX98" fmla="*/ 278337 w 311075"/>
                      <a:gd name="connsiteY98" fmla="*/ 48646 h 262348"/>
                      <a:gd name="connsiteX99" fmla="*/ 279479 w 311075"/>
                      <a:gd name="connsiteY99" fmla="*/ 48825 h 262348"/>
                      <a:gd name="connsiteX100" fmla="*/ 281101 w 311075"/>
                      <a:gd name="connsiteY100" fmla="*/ 47709 h 262348"/>
                      <a:gd name="connsiteX101" fmla="*/ 283627 w 311075"/>
                      <a:gd name="connsiteY101" fmla="*/ 46502 h 262348"/>
                      <a:gd name="connsiteX102" fmla="*/ 287946 w 311075"/>
                      <a:gd name="connsiteY102" fmla="*/ 47554 h 262348"/>
                      <a:gd name="connsiteX103" fmla="*/ 292746 w 311075"/>
                      <a:gd name="connsiteY103" fmla="*/ 49086 h 262348"/>
                      <a:gd name="connsiteX104" fmla="*/ 294833 w 311075"/>
                      <a:gd name="connsiteY104" fmla="*/ 49265 h 262348"/>
                      <a:gd name="connsiteX105" fmla="*/ 294906 w 311075"/>
                      <a:gd name="connsiteY105" fmla="*/ 48524 h 262348"/>
                      <a:gd name="connsiteX106" fmla="*/ 295289 w 311075"/>
                      <a:gd name="connsiteY106" fmla="*/ 47464 h 262348"/>
                      <a:gd name="connsiteX107" fmla="*/ 296071 w 311075"/>
                      <a:gd name="connsiteY107" fmla="*/ 46926 h 262348"/>
                      <a:gd name="connsiteX108" fmla="*/ 297253 w 311075"/>
                      <a:gd name="connsiteY108" fmla="*/ 46771 h 262348"/>
                      <a:gd name="connsiteX109" fmla="*/ 298899 w 311075"/>
                      <a:gd name="connsiteY109" fmla="*/ 46217 h 262348"/>
                      <a:gd name="connsiteX110" fmla="*/ 300782 w 311075"/>
                      <a:gd name="connsiteY110" fmla="*/ 45288 h 262348"/>
                      <a:gd name="connsiteX111" fmla="*/ 302730 w 311075"/>
                      <a:gd name="connsiteY111" fmla="*/ 44905 h 262348"/>
                      <a:gd name="connsiteX112" fmla="*/ 304775 w 311075"/>
                      <a:gd name="connsiteY112" fmla="*/ 45598 h 262348"/>
                      <a:gd name="connsiteX113" fmla="*/ 307237 w 311075"/>
                      <a:gd name="connsiteY113" fmla="*/ 46152 h 262348"/>
                      <a:gd name="connsiteX114" fmla="*/ 308712 w 311075"/>
                      <a:gd name="connsiteY114" fmla="*/ 46152 h 262348"/>
                      <a:gd name="connsiteX115" fmla="*/ 309421 w 311075"/>
                      <a:gd name="connsiteY115" fmla="*/ 48328 h 262348"/>
                      <a:gd name="connsiteX116" fmla="*/ 310611 w 311075"/>
                      <a:gd name="connsiteY116" fmla="*/ 49159 h 262348"/>
                      <a:gd name="connsiteX117" fmla="*/ 311075 w 311075"/>
                      <a:gd name="connsiteY117" fmla="*/ 51050 h 262348"/>
                      <a:gd name="connsiteX118" fmla="*/ 308899 w 311075"/>
                      <a:gd name="connsiteY118" fmla="*/ 52028 h 262348"/>
                      <a:gd name="connsiteX119" fmla="*/ 307595 w 311075"/>
                      <a:gd name="connsiteY119" fmla="*/ 52158 h 262348"/>
                      <a:gd name="connsiteX120" fmla="*/ 307204 w 311075"/>
                      <a:gd name="connsiteY120" fmla="*/ 55394 h 262348"/>
                      <a:gd name="connsiteX121" fmla="*/ 307815 w 311075"/>
                      <a:gd name="connsiteY121" fmla="*/ 56307 h 262348"/>
                      <a:gd name="connsiteX122" fmla="*/ 309038 w 311075"/>
                      <a:gd name="connsiteY122" fmla="*/ 57162 h 262348"/>
                      <a:gd name="connsiteX123" fmla="*/ 309372 w 311075"/>
                      <a:gd name="connsiteY123" fmla="*/ 58157 h 262348"/>
                      <a:gd name="connsiteX124" fmla="*/ 309616 w 311075"/>
                      <a:gd name="connsiteY124" fmla="*/ 62892 h 262348"/>
                      <a:gd name="connsiteX125" fmla="*/ 307114 w 311075"/>
                      <a:gd name="connsiteY125" fmla="*/ 65752 h 262348"/>
                      <a:gd name="connsiteX126" fmla="*/ 303586 w 311075"/>
                      <a:gd name="connsiteY126" fmla="*/ 68963 h 262348"/>
                      <a:gd name="connsiteX127" fmla="*/ 286373 w 311075"/>
                      <a:gd name="connsiteY127" fmla="*/ 79272 h 262348"/>
                      <a:gd name="connsiteX128" fmla="*/ 282282 w 311075"/>
                      <a:gd name="connsiteY128" fmla="*/ 84260 h 262348"/>
                      <a:gd name="connsiteX129" fmla="*/ 280718 w 311075"/>
                      <a:gd name="connsiteY129" fmla="*/ 85401 h 262348"/>
                      <a:gd name="connsiteX130" fmla="*/ 267906 w 311075"/>
                      <a:gd name="connsiteY130" fmla="*/ 88531 h 262348"/>
                      <a:gd name="connsiteX131" fmla="*/ 258974 w 311075"/>
                      <a:gd name="connsiteY131" fmla="*/ 91888 h 262348"/>
                      <a:gd name="connsiteX132" fmla="*/ 254679 w 311075"/>
                      <a:gd name="connsiteY132" fmla="*/ 93103 h 262348"/>
                      <a:gd name="connsiteX133" fmla="*/ 249324 w 311075"/>
                      <a:gd name="connsiteY133" fmla="*/ 98913 h 262348"/>
                      <a:gd name="connsiteX134" fmla="*/ 246782 w 311075"/>
                      <a:gd name="connsiteY134" fmla="*/ 101260 h 262348"/>
                      <a:gd name="connsiteX135" fmla="*/ 248811 w 311075"/>
                      <a:gd name="connsiteY135" fmla="*/ 101904 h 262348"/>
                      <a:gd name="connsiteX136" fmla="*/ 251166 w 311075"/>
                      <a:gd name="connsiteY136" fmla="*/ 104683 h 262348"/>
                      <a:gd name="connsiteX137" fmla="*/ 250376 w 311075"/>
                      <a:gd name="connsiteY137" fmla="*/ 105914 h 262348"/>
                      <a:gd name="connsiteX138" fmla="*/ 246937 w 311075"/>
                      <a:gd name="connsiteY138" fmla="*/ 107813 h 262348"/>
                      <a:gd name="connsiteX139" fmla="*/ 245429 w 311075"/>
                      <a:gd name="connsiteY139" fmla="*/ 108391 h 262348"/>
                      <a:gd name="connsiteX140" fmla="*/ 244614 w 311075"/>
                      <a:gd name="connsiteY140" fmla="*/ 108098 h 262348"/>
                      <a:gd name="connsiteX141" fmla="*/ 243840 w 311075"/>
                      <a:gd name="connsiteY141" fmla="*/ 108351 h 262348"/>
                      <a:gd name="connsiteX142" fmla="*/ 238078 w 311075"/>
                      <a:gd name="connsiteY142" fmla="*/ 118399 h 262348"/>
                      <a:gd name="connsiteX143" fmla="*/ 232993 w 311075"/>
                      <a:gd name="connsiteY143" fmla="*/ 125620 h 262348"/>
                      <a:gd name="connsiteX144" fmla="*/ 230132 w 311075"/>
                      <a:gd name="connsiteY144" fmla="*/ 128758 h 262348"/>
                      <a:gd name="connsiteX145" fmla="*/ 227198 w 311075"/>
                      <a:gd name="connsiteY145" fmla="*/ 133436 h 262348"/>
                      <a:gd name="connsiteX146" fmla="*/ 220956 w 311075"/>
                      <a:gd name="connsiteY146" fmla="*/ 145489 h 262348"/>
                      <a:gd name="connsiteX147" fmla="*/ 220906 w 311075"/>
                      <a:gd name="connsiteY147" fmla="*/ 148953 h 262348"/>
                      <a:gd name="connsiteX148" fmla="*/ 223979 w 311075"/>
                      <a:gd name="connsiteY148" fmla="*/ 160925 h 262348"/>
                      <a:gd name="connsiteX149" fmla="*/ 225739 w 311075"/>
                      <a:gd name="connsiteY149" fmla="*/ 164062 h 262348"/>
                      <a:gd name="connsiteX150" fmla="*/ 228217 w 311075"/>
                      <a:gd name="connsiteY150" fmla="*/ 166695 h 262348"/>
                      <a:gd name="connsiteX151" fmla="*/ 232903 w 311075"/>
                      <a:gd name="connsiteY151" fmla="*/ 168936 h 262348"/>
                      <a:gd name="connsiteX152" fmla="*/ 234060 w 311075"/>
                      <a:gd name="connsiteY152" fmla="*/ 171136 h 262348"/>
                      <a:gd name="connsiteX153" fmla="*/ 232446 w 311075"/>
                      <a:gd name="connsiteY153" fmla="*/ 173239 h 262348"/>
                      <a:gd name="connsiteX154" fmla="*/ 227760 w 311075"/>
                      <a:gd name="connsiteY154" fmla="*/ 176972 h 262348"/>
                      <a:gd name="connsiteX155" fmla="*/ 219603 w 311075"/>
                      <a:gd name="connsiteY155" fmla="*/ 182008 h 262348"/>
                      <a:gd name="connsiteX156" fmla="*/ 216147 w 311075"/>
                      <a:gd name="connsiteY156" fmla="*/ 185977 h 262348"/>
                      <a:gd name="connsiteX157" fmla="*/ 215405 w 311075"/>
                      <a:gd name="connsiteY157" fmla="*/ 189807 h 262348"/>
                      <a:gd name="connsiteX158" fmla="*/ 213018 w 311075"/>
                      <a:gd name="connsiteY158" fmla="*/ 191527 h 262348"/>
                      <a:gd name="connsiteX159" fmla="*/ 212121 w 311075"/>
                      <a:gd name="connsiteY159" fmla="*/ 196889 h 262348"/>
                      <a:gd name="connsiteX160" fmla="*/ 210662 w 311075"/>
                      <a:gd name="connsiteY160" fmla="*/ 200426 h 262348"/>
                      <a:gd name="connsiteX161" fmla="*/ 210393 w 311075"/>
                      <a:gd name="connsiteY161" fmla="*/ 201633 h 262348"/>
                      <a:gd name="connsiteX162" fmla="*/ 208853 w 311075"/>
                      <a:gd name="connsiteY162" fmla="*/ 204322 h 262348"/>
                      <a:gd name="connsiteX163" fmla="*/ 208649 w 311075"/>
                      <a:gd name="connsiteY163" fmla="*/ 206270 h 262348"/>
                      <a:gd name="connsiteX164" fmla="*/ 211167 w 311075"/>
                      <a:gd name="connsiteY164" fmla="*/ 208959 h 262348"/>
                      <a:gd name="connsiteX165" fmla="*/ 209912 w 311075"/>
                      <a:gd name="connsiteY165" fmla="*/ 210125 h 262348"/>
                      <a:gd name="connsiteX166" fmla="*/ 208666 w 311075"/>
                      <a:gd name="connsiteY166" fmla="*/ 210638 h 262348"/>
                      <a:gd name="connsiteX167" fmla="*/ 205797 w 311075"/>
                      <a:gd name="connsiteY167" fmla="*/ 210956 h 262348"/>
                      <a:gd name="connsiteX168" fmla="*/ 196139 w 311075"/>
                      <a:gd name="connsiteY168" fmla="*/ 211298 h 262348"/>
                      <a:gd name="connsiteX169" fmla="*/ 188365 w 311075"/>
                      <a:gd name="connsiteY169" fmla="*/ 217109 h 262348"/>
                      <a:gd name="connsiteX170" fmla="*/ 184477 w 311075"/>
                      <a:gd name="connsiteY170" fmla="*/ 222251 h 262348"/>
                      <a:gd name="connsiteX171" fmla="*/ 180957 w 311075"/>
                      <a:gd name="connsiteY171" fmla="*/ 231811 h 262348"/>
                      <a:gd name="connsiteX172" fmla="*/ 176694 w 311075"/>
                      <a:gd name="connsiteY172" fmla="*/ 237443 h 262348"/>
                      <a:gd name="connsiteX173" fmla="*/ 174803 w 311075"/>
                      <a:gd name="connsiteY173" fmla="*/ 238478 h 262348"/>
                      <a:gd name="connsiteX174" fmla="*/ 171878 w 311075"/>
                      <a:gd name="connsiteY174" fmla="*/ 236008 h 262348"/>
                      <a:gd name="connsiteX175" fmla="*/ 168227 w 311075"/>
                      <a:gd name="connsiteY175" fmla="*/ 235625 h 262348"/>
                      <a:gd name="connsiteX176" fmla="*/ 164681 w 311075"/>
                      <a:gd name="connsiteY176" fmla="*/ 236448 h 262348"/>
                      <a:gd name="connsiteX177" fmla="*/ 162824 w 311075"/>
                      <a:gd name="connsiteY177" fmla="*/ 238404 h 262348"/>
                      <a:gd name="connsiteX178" fmla="*/ 159922 w 311075"/>
                      <a:gd name="connsiteY178" fmla="*/ 239496 h 262348"/>
                      <a:gd name="connsiteX179" fmla="*/ 157086 w 311075"/>
                      <a:gd name="connsiteY179" fmla="*/ 238559 h 262348"/>
                      <a:gd name="connsiteX180" fmla="*/ 150949 w 311075"/>
                      <a:gd name="connsiteY180" fmla="*/ 238046 h 262348"/>
                      <a:gd name="connsiteX181" fmla="*/ 148227 w 311075"/>
                      <a:gd name="connsiteY181" fmla="*/ 238135 h 262348"/>
                      <a:gd name="connsiteX182" fmla="*/ 143957 w 311075"/>
                      <a:gd name="connsiteY182" fmla="*/ 239724 h 262348"/>
                      <a:gd name="connsiteX183" fmla="*/ 140297 w 311075"/>
                      <a:gd name="connsiteY183" fmla="*/ 238665 h 262348"/>
                      <a:gd name="connsiteX184" fmla="*/ 134128 w 311075"/>
                      <a:gd name="connsiteY184" fmla="*/ 238127 h 262348"/>
                      <a:gd name="connsiteX185" fmla="*/ 120754 w 311075"/>
                      <a:gd name="connsiteY185" fmla="*/ 239390 h 262348"/>
                      <a:gd name="connsiteX186" fmla="*/ 119067 w 311075"/>
                      <a:gd name="connsiteY186" fmla="*/ 239977 h 262348"/>
                      <a:gd name="connsiteX187" fmla="*/ 117397 w 311075"/>
                      <a:gd name="connsiteY187" fmla="*/ 242341 h 262348"/>
                      <a:gd name="connsiteX188" fmla="*/ 113134 w 311075"/>
                      <a:gd name="connsiteY188" fmla="*/ 246415 h 262348"/>
                      <a:gd name="connsiteX189" fmla="*/ 106655 w 311075"/>
                      <a:gd name="connsiteY189" fmla="*/ 246562 h 262348"/>
                      <a:gd name="connsiteX190" fmla="*/ 100796 w 311075"/>
                      <a:gd name="connsiteY190" fmla="*/ 249154 h 262348"/>
                      <a:gd name="connsiteX191" fmla="*/ 99337 w 311075"/>
                      <a:gd name="connsiteY191" fmla="*/ 250816 h 262348"/>
                      <a:gd name="connsiteX192" fmla="*/ 96868 w 311075"/>
                      <a:gd name="connsiteY192" fmla="*/ 255388 h 262348"/>
                      <a:gd name="connsiteX193" fmla="*/ 96102 w 311075"/>
                      <a:gd name="connsiteY193" fmla="*/ 258738 h 262348"/>
                      <a:gd name="connsiteX194" fmla="*/ 95588 w 311075"/>
                      <a:gd name="connsiteY194" fmla="*/ 258762 h 262348"/>
                      <a:gd name="connsiteX195" fmla="*/ 94953 w 311075"/>
                      <a:gd name="connsiteY195" fmla="*/ 257939 h 262348"/>
                      <a:gd name="connsiteX196" fmla="*/ 94048 w 311075"/>
                      <a:gd name="connsiteY196" fmla="*/ 258216 h 262348"/>
                      <a:gd name="connsiteX197" fmla="*/ 93583 w 311075"/>
                      <a:gd name="connsiteY197" fmla="*/ 260759 h 262348"/>
                      <a:gd name="connsiteX198" fmla="*/ 91375 w 311075"/>
                      <a:gd name="connsiteY198" fmla="*/ 261924 h 262348"/>
                      <a:gd name="connsiteX199" fmla="*/ 89541 w 311075"/>
                      <a:gd name="connsiteY199" fmla="*/ 262348 h 262348"/>
                      <a:gd name="connsiteX200" fmla="*/ 84993 w 311075"/>
                      <a:gd name="connsiteY200" fmla="*/ 260286 h 262348"/>
                      <a:gd name="connsiteX201" fmla="*/ 81228 w 311075"/>
                      <a:gd name="connsiteY201" fmla="*/ 257181 h 262348"/>
                      <a:gd name="connsiteX202" fmla="*/ 79240 w 311075"/>
                      <a:gd name="connsiteY202" fmla="*/ 256969 h 262348"/>
                      <a:gd name="connsiteX203" fmla="*/ 76021 w 311075"/>
                      <a:gd name="connsiteY203" fmla="*/ 252145 h 262348"/>
                      <a:gd name="connsiteX204" fmla="*/ 74635 w 311075"/>
                      <a:gd name="connsiteY204" fmla="*/ 249072 h 262348"/>
                      <a:gd name="connsiteX205" fmla="*/ 73649 w 311075"/>
                      <a:gd name="connsiteY205" fmla="*/ 245747 h 262348"/>
                      <a:gd name="connsiteX206" fmla="*/ 73852 w 311075"/>
                      <a:gd name="connsiteY206" fmla="*/ 244476 h 262348"/>
                      <a:gd name="connsiteX207" fmla="*/ 73575 w 311075"/>
                      <a:gd name="connsiteY207" fmla="*/ 243416 h 262348"/>
                      <a:gd name="connsiteX208" fmla="*/ 70723 w 311075"/>
                      <a:gd name="connsiteY208" fmla="*/ 242080 h 262348"/>
                      <a:gd name="connsiteX209" fmla="*/ 70022 w 311075"/>
                      <a:gd name="connsiteY209" fmla="*/ 239032 h 262348"/>
                      <a:gd name="connsiteX210" fmla="*/ 72109 w 311075"/>
                      <a:gd name="connsiteY210" fmla="*/ 235063 h 262348"/>
                      <a:gd name="connsiteX211" fmla="*/ 73812 w 311075"/>
                      <a:gd name="connsiteY211" fmla="*/ 233368 h 262348"/>
                      <a:gd name="connsiteX212" fmla="*/ 74871 w 311075"/>
                      <a:gd name="connsiteY212" fmla="*/ 232887 h 262348"/>
                      <a:gd name="connsiteX213" fmla="*/ 72288 w 311075"/>
                      <a:gd name="connsiteY213" fmla="*/ 233058 h 262348"/>
                      <a:gd name="connsiteX214" fmla="*/ 70413 w 311075"/>
                      <a:gd name="connsiteY214" fmla="*/ 235617 h 262348"/>
                      <a:gd name="connsiteX215" fmla="*/ 68034 w 311075"/>
                      <a:gd name="connsiteY215" fmla="*/ 231518 h 262348"/>
                      <a:gd name="connsiteX216" fmla="*/ 58311 w 311075"/>
                      <a:gd name="connsiteY216" fmla="*/ 223539 h 262348"/>
                      <a:gd name="connsiteX217" fmla="*/ 58930 w 311075"/>
                      <a:gd name="connsiteY217" fmla="*/ 221705 h 262348"/>
                      <a:gd name="connsiteX218" fmla="*/ 58824 w 311075"/>
                      <a:gd name="connsiteY218" fmla="*/ 220719 h 262348"/>
                      <a:gd name="connsiteX219" fmla="*/ 57195 w 311075"/>
                      <a:gd name="connsiteY219" fmla="*/ 222846 h 262348"/>
                      <a:gd name="connsiteX220" fmla="*/ 56078 w 311075"/>
                      <a:gd name="connsiteY220" fmla="*/ 223400 h 262348"/>
                      <a:gd name="connsiteX221" fmla="*/ 51107 w 311075"/>
                      <a:gd name="connsiteY221" fmla="*/ 223050 h 262348"/>
                      <a:gd name="connsiteX222" fmla="*/ 45369 w 311075"/>
                      <a:gd name="connsiteY222" fmla="*/ 224028 h 262348"/>
                      <a:gd name="connsiteX223" fmla="*/ 43854 w 311075"/>
                      <a:gd name="connsiteY223" fmla="*/ 215740 h 262348"/>
                      <a:gd name="connsiteX224" fmla="*/ 43145 w 311075"/>
                      <a:gd name="connsiteY224" fmla="*/ 212553 h 262348"/>
                      <a:gd name="connsiteX225" fmla="*/ 42957 w 311075"/>
                      <a:gd name="connsiteY225" fmla="*/ 210483 h 262348"/>
                      <a:gd name="connsiteX226" fmla="*/ 44432 w 311075"/>
                      <a:gd name="connsiteY226" fmla="*/ 205707 h 262348"/>
                      <a:gd name="connsiteX227" fmla="*/ 46054 w 311075"/>
                      <a:gd name="connsiteY227" fmla="*/ 203768 h 262348"/>
                      <a:gd name="connsiteX228" fmla="*/ 48198 w 311075"/>
                      <a:gd name="connsiteY228" fmla="*/ 199750 h 262348"/>
                      <a:gd name="connsiteX229" fmla="*/ 50846 w 311075"/>
                      <a:gd name="connsiteY229" fmla="*/ 196409 h 262348"/>
                      <a:gd name="connsiteX230" fmla="*/ 53650 w 311075"/>
                      <a:gd name="connsiteY230" fmla="*/ 195618 h 262348"/>
                      <a:gd name="connsiteX231" fmla="*/ 54880 w 311075"/>
                      <a:gd name="connsiteY231" fmla="*/ 195121 h 262348"/>
                      <a:gd name="connsiteX232" fmla="*/ 55915 w 311075"/>
                      <a:gd name="connsiteY232" fmla="*/ 192537 h 262348"/>
                      <a:gd name="connsiteX233" fmla="*/ 56494 w 311075"/>
                      <a:gd name="connsiteY233" fmla="*/ 190329 h 262348"/>
                      <a:gd name="connsiteX234" fmla="*/ 56070 w 311075"/>
                      <a:gd name="connsiteY234" fmla="*/ 190101 h 262348"/>
                      <a:gd name="connsiteX235" fmla="*/ 52802 w 311075"/>
                      <a:gd name="connsiteY235" fmla="*/ 190557 h 262348"/>
                      <a:gd name="connsiteX236" fmla="*/ 46934 w 311075"/>
                      <a:gd name="connsiteY236" fmla="*/ 181283 h 262348"/>
                      <a:gd name="connsiteX237" fmla="*/ 47114 w 311075"/>
                      <a:gd name="connsiteY237" fmla="*/ 179808 h 262348"/>
                      <a:gd name="connsiteX238" fmla="*/ 47855 w 311075"/>
                      <a:gd name="connsiteY238" fmla="*/ 177607 h 262348"/>
                      <a:gd name="connsiteX239" fmla="*/ 48344 w 311075"/>
                      <a:gd name="connsiteY239" fmla="*/ 174828 h 262348"/>
                      <a:gd name="connsiteX240" fmla="*/ 48466 w 311075"/>
                      <a:gd name="connsiteY240" fmla="*/ 172636 h 262348"/>
                      <a:gd name="connsiteX241" fmla="*/ 49990 w 311075"/>
                      <a:gd name="connsiteY241" fmla="*/ 170761 h 262348"/>
                      <a:gd name="connsiteX242" fmla="*/ 52329 w 311075"/>
                      <a:gd name="connsiteY242" fmla="*/ 168854 h 262348"/>
                      <a:gd name="connsiteX243" fmla="*/ 54301 w 311075"/>
                      <a:gd name="connsiteY243" fmla="*/ 166165 h 262348"/>
                      <a:gd name="connsiteX244" fmla="*/ 55288 w 311075"/>
                      <a:gd name="connsiteY244" fmla="*/ 163524 h 262348"/>
                      <a:gd name="connsiteX245" fmla="*/ 55500 w 311075"/>
                      <a:gd name="connsiteY245" fmla="*/ 161128 h 262348"/>
                      <a:gd name="connsiteX246" fmla="*/ 54383 w 311075"/>
                      <a:gd name="connsiteY246" fmla="*/ 159425 h 262348"/>
                      <a:gd name="connsiteX247" fmla="*/ 51172 w 311075"/>
                      <a:gd name="connsiteY247" fmla="*/ 158472 h 262348"/>
                      <a:gd name="connsiteX248" fmla="*/ 47863 w 311075"/>
                      <a:gd name="connsiteY248" fmla="*/ 151626 h 262348"/>
                      <a:gd name="connsiteX249" fmla="*/ 47122 w 311075"/>
                      <a:gd name="connsiteY249" fmla="*/ 147339 h 262348"/>
                      <a:gd name="connsiteX250" fmla="*/ 46445 w 311075"/>
                      <a:gd name="connsiteY250" fmla="*/ 146891 h 262348"/>
                      <a:gd name="connsiteX251" fmla="*/ 44408 w 311075"/>
                      <a:gd name="connsiteY251" fmla="*/ 144927 h 262348"/>
                      <a:gd name="connsiteX252" fmla="*/ 42444 w 311075"/>
                      <a:gd name="connsiteY252" fmla="*/ 141267 h 262348"/>
                      <a:gd name="connsiteX253" fmla="*/ 42158 w 311075"/>
                      <a:gd name="connsiteY253" fmla="*/ 140689 h 262348"/>
                      <a:gd name="connsiteX254" fmla="*/ 44188 w 311075"/>
                      <a:gd name="connsiteY254" fmla="*/ 140045 h 262348"/>
                      <a:gd name="connsiteX255" fmla="*/ 52533 w 311075"/>
                      <a:gd name="connsiteY255" fmla="*/ 140012 h 262348"/>
                      <a:gd name="connsiteX256" fmla="*/ 54269 w 311075"/>
                      <a:gd name="connsiteY256" fmla="*/ 139206 h 262348"/>
                      <a:gd name="connsiteX257" fmla="*/ 54538 w 311075"/>
                      <a:gd name="connsiteY257" fmla="*/ 138920 h 262348"/>
                      <a:gd name="connsiteX258" fmla="*/ 56054 w 311075"/>
                      <a:gd name="connsiteY258" fmla="*/ 136060 h 262348"/>
                      <a:gd name="connsiteX259" fmla="*/ 57651 w 311075"/>
                      <a:gd name="connsiteY259" fmla="*/ 131366 h 262348"/>
                      <a:gd name="connsiteX260" fmla="*/ 58018 w 311075"/>
                      <a:gd name="connsiteY260" fmla="*/ 128497 h 262348"/>
                      <a:gd name="connsiteX261" fmla="*/ 57521 w 311075"/>
                      <a:gd name="connsiteY261" fmla="*/ 127307 h 262348"/>
                      <a:gd name="connsiteX262" fmla="*/ 54758 w 311075"/>
                      <a:gd name="connsiteY262" fmla="*/ 124389 h 262348"/>
                      <a:gd name="connsiteX263" fmla="*/ 54636 w 311075"/>
                      <a:gd name="connsiteY263" fmla="*/ 123534 h 262348"/>
                      <a:gd name="connsiteX264" fmla="*/ 55084 w 311075"/>
                      <a:gd name="connsiteY264" fmla="*/ 122165 h 262348"/>
                      <a:gd name="connsiteX265" fmla="*/ 56722 w 311075"/>
                      <a:gd name="connsiteY265" fmla="*/ 120698 h 262348"/>
                      <a:gd name="connsiteX266" fmla="*/ 58947 w 311075"/>
                      <a:gd name="connsiteY266" fmla="*/ 119027 h 262348"/>
                      <a:gd name="connsiteX267" fmla="*/ 60153 w 311075"/>
                      <a:gd name="connsiteY267" fmla="*/ 117584 h 262348"/>
                      <a:gd name="connsiteX268" fmla="*/ 59868 w 311075"/>
                      <a:gd name="connsiteY268" fmla="*/ 116460 h 262348"/>
                      <a:gd name="connsiteX269" fmla="*/ 59216 w 311075"/>
                      <a:gd name="connsiteY269" fmla="*/ 115278 h 262348"/>
                      <a:gd name="connsiteX270" fmla="*/ 59118 w 311075"/>
                      <a:gd name="connsiteY270" fmla="*/ 114178 h 262348"/>
                      <a:gd name="connsiteX271" fmla="*/ 59517 w 311075"/>
                      <a:gd name="connsiteY271" fmla="*/ 112825 h 262348"/>
                      <a:gd name="connsiteX272" fmla="*/ 59664 w 311075"/>
                      <a:gd name="connsiteY272" fmla="*/ 108204 h 262348"/>
                      <a:gd name="connsiteX273" fmla="*/ 59949 w 311075"/>
                      <a:gd name="connsiteY273" fmla="*/ 107006 h 262348"/>
                      <a:gd name="connsiteX274" fmla="*/ 59517 w 311075"/>
                      <a:gd name="connsiteY274" fmla="*/ 102809 h 262348"/>
                      <a:gd name="connsiteX275" fmla="*/ 58980 w 311075"/>
                      <a:gd name="connsiteY275" fmla="*/ 99370 h 262348"/>
                      <a:gd name="connsiteX276" fmla="*/ 57219 w 311075"/>
                      <a:gd name="connsiteY276" fmla="*/ 94904 h 262348"/>
                      <a:gd name="connsiteX277" fmla="*/ 57537 w 311075"/>
                      <a:gd name="connsiteY277" fmla="*/ 93918 h 262348"/>
                      <a:gd name="connsiteX278" fmla="*/ 58352 w 311075"/>
                      <a:gd name="connsiteY278" fmla="*/ 93086 h 262348"/>
                      <a:gd name="connsiteX279" fmla="*/ 61009 w 311075"/>
                      <a:gd name="connsiteY279" fmla="*/ 91538 h 262348"/>
                      <a:gd name="connsiteX280" fmla="*/ 63128 w 311075"/>
                      <a:gd name="connsiteY280" fmla="*/ 87887 h 262348"/>
                      <a:gd name="connsiteX281" fmla="*/ 66208 w 311075"/>
                      <a:gd name="connsiteY281" fmla="*/ 84847 h 262348"/>
                      <a:gd name="connsiteX282" fmla="*/ 70251 w 311075"/>
                      <a:gd name="connsiteY282" fmla="*/ 82394 h 262348"/>
                      <a:gd name="connsiteX283" fmla="*/ 73071 w 311075"/>
                      <a:gd name="connsiteY283" fmla="*/ 79664 h 262348"/>
                      <a:gd name="connsiteX284" fmla="*/ 74187 w 311075"/>
                      <a:gd name="connsiteY284" fmla="*/ 77585 h 262348"/>
                      <a:gd name="connsiteX285" fmla="*/ 74977 w 311075"/>
                      <a:gd name="connsiteY285" fmla="*/ 77031 h 262348"/>
                      <a:gd name="connsiteX286" fmla="*/ 74749 w 311075"/>
                      <a:gd name="connsiteY286" fmla="*/ 76062 h 262348"/>
                      <a:gd name="connsiteX287" fmla="*/ 74220 w 311075"/>
                      <a:gd name="connsiteY287" fmla="*/ 74635 h 262348"/>
                      <a:gd name="connsiteX288" fmla="*/ 72606 w 311075"/>
                      <a:gd name="connsiteY288" fmla="*/ 73258 h 262348"/>
                      <a:gd name="connsiteX289" fmla="*/ 70536 w 311075"/>
                      <a:gd name="connsiteY289" fmla="*/ 72468 h 262348"/>
                      <a:gd name="connsiteX290" fmla="*/ 68229 w 311075"/>
                      <a:gd name="connsiteY290" fmla="*/ 72492 h 262348"/>
                      <a:gd name="connsiteX291" fmla="*/ 66803 w 311075"/>
                      <a:gd name="connsiteY291" fmla="*/ 72215 h 262348"/>
                      <a:gd name="connsiteX292" fmla="*/ 66379 w 311075"/>
                      <a:gd name="connsiteY292" fmla="*/ 71139 h 262348"/>
                      <a:gd name="connsiteX293" fmla="*/ 66542 w 311075"/>
                      <a:gd name="connsiteY293" fmla="*/ 68205 h 262348"/>
                      <a:gd name="connsiteX294" fmla="*/ 66420 w 311075"/>
                      <a:gd name="connsiteY294" fmla="*/ 65304 h 262348"/>
                      <a:gd name="connsiteX295" fmla="*/ 65972 w 311075"/>
                      <a:gd name="connsiteY295" fmla="*/ 63967 h 262348"/>
                      <a:gd name="connsiteX296" fmla="*/ 64912 w 311075"/>
                      <a:gd name="connsiteY296" fmla="*/ 62965 h 262348"/>
                      <a:gd name="connsiteX297" fmla="*/ 62793 w 311075"/>
                      <a:gd name="connsiteY297" fmla="*/ 63226 h 262348"/>
                      <a:gd name="connsiteX298" fmla="*/ 60968 w 311075"/>
                      <a:gd name="connsiteY298" fmla="*/ 62411 h 262348"/>
                      <a:gd name="connsiteX299" fmla="*/ 59582 w 311075"/>
                      <a:gd name="connsiteY299" fmla="*/ 62207 h 262348"/>
                      <a:gd name="connsiteX300" fmla="*/ 58784 w 311075"/>
                      <a:gd name="connsiteY300" fmla="*/ 62859 h 262348"/>
                      <a:gd name="connsiteX301" fmla="*/ 54684 w 311075"/>
                      <a:gd name="connsiteY301" fmla="*/ 62671 h 262348"/>
                      <a:gd name="connsiteX302" fmla="*/ 52989 w 311075"/>
                      <a:gd name="connsiteY302" fmla="*/ 62207 h 262348"/>
                      <a:gd name="connsiteX303" fmla="*/ 51799 w 311075"/>
                      <a:gd name="connsiteY303" fmla="*/ 61628 h 262348"/>
                      <a:gd name="connsiteX304" fmla="*/ 51033 w 311075"/>
                      <a:gd name="connsiteY304" fmla="*/ 61946 h 262348"/>
                      <a:gd name="connsiteX305" fmla="*/ 50602 w 311075"/>
                      <a:gd name="connsiteY305" fmla="*/ 62517 h 262348"/>
                      <a:gd name="connsiteX306" fmla="*/ 50520 w 311075"/>
                      <a:gd name="connsiteY306" fmla="*/ 63405 h 262348"/>
                      <a:gd name="connsiteX307" fmla="*/ 50243 w 311075"/>
                      <a:gd name="connsiteY307" fmla="*/ 64579 h 262348"/>
                      <a:gd name="connsiteX308" fmla="*/ 48784 w 311075"/>
                      <a:gd name="connsiteY308" fmla="*/ 65638 h 262348"/>
                      <a:gd name="connsiteX309" fmla="*/ 45426 w 311075"/>
                      <a:gd name="connsiteY309" fmla="*/ 66689 h 262348"/>
                      <a:gd name="connsiteX310" fmla="*/ 42729 w 311075"/>
                      <a:gd name="connsiteY310" fmla="*/ 66616 h 262348"/>
                      <a:gd name="connsiteX311" fmla="*/ 40251 w 311075"/>
                      <a:gd name="connsiteY311" fmla="*/ 65858 h 262348"/>
                      <a:gd name="connsiteX312" fmla="*/ 39461 w 311075"/>
                      <a:gd name="connsiteY312" fmla="*/ 65304 h 262348"/>
                      <a:gd name="connsiteX313" fmla="*/ 38255 w 311075"/>
                      <a:gd name="connsiteY313" fmla="*/ 64807 h 262348"/>
                      <a:gd name="connsiteX314" fmla="*/ 33210 w 311075"/>
                      <a:gd name="connsiteY314" fmla="*/ 65426 h 262348"/>
                      <a:gd name="connsiteX315" fmla="*/ 32607 w 311075"/>
                      <a:gd name="connsiteY315" fmla="*/ 64978 h 262348"/>
                      <a:gd name="connsiteX316" fmla="*/ 30871 w 311075"/>
                      <a:gd name="connsiteY316" fmla="*/ 66062 h 262348"/>
                      <a:gd name="connsiteX317" fmla="*/ 28304 w 311075"/>
                      <a:gd name="connsiteY317" fmla="*/ 67358 h 262348"/>
                      <a:gd name="connsiteX318" fmla="*/ 26861 w 311075"/>
                      <a:gd name="connsiteY318" fmla="*/ 67431 h 262348"/>
                      <a:gd name="connsiteX319" fmla="*/ 26340 w 311075"/>
                      <a:gd name="connsiteY319" fmla="*/ 67162 h 262348"/>
                      <a:gd name="connsiteX320" fmla="*/ 26152 w 311075"/>
                      <a:gd name="connsiteY320" fmla="*/ 66575 h 262348"/>
                      <a:gd name="connsiteX321" fmla="*/ 25068 w 311075"/>
                      <a:gd name="connsiteY321" fmla="*/ 64554 h 262348"/>
                      <a:gd name="connsiteX322" fmla="*/ 25354 w 311075"/>
                      <a:gd name="connsiteY322" fmla="*/ 63478 h 262348"/>
                      <a:gd name="connsiteX323" fmla="*/ 27415 w 311075"/>
                      <a:gd name="connsiteY323" fmla="*/ 60357 h 262348"/>
                      <a:gd name="connsiteX324" fmla="*/ 27187 w 311075"/>
                      <a:gd name="connsiteY324" fmla="*/ 59607 h 262348"/>
                      <a:gd name="connsiteX325" fmla="*/ 26340 w 311075"/>
                      <a:gd name="connsiteY325" fmla="*/ 58589 h 262348"/>
                      <a:gd name="connsiteX326" fmla="*/ 25582 w 311075"/>
                      <a:gd name="connsiteY326" fmla="*/ 57138 h 262348"/>
                      <a:gd name="connsiteX327" fmla="*/ 25362 w 311075"/>
                      <a:gd name="connsiteY327" fmla="*/ 56380 h 262348"/>
                      <a:gd name="connsiteX328" fmla="*/ 24041 w 311075"/>
                      <a:gd name="connsiteY328" fmla="*/ 56258 h 262348"/>
                      <a:gd name="connsiteX329" fmla="*/ 22640 w 311075"/>
                      <a:gd name="connsiteY329" fmla="*/ 57024 h 262348"/>
                      <a:gd name="connsiteX330" fmla="*/ 17302 w 311075"/>
                      <a:gd name="connsiteY330" fmla="*/ 58597 h 262348"/>
                      <a:gd name="connsiteX331" fmla="*/ 16022 w 311075"/>
                      <a:gd name="connsiteY331" fmla="*/ 59167 h 262348"/>
                      <a:gd name="connsiteX332" fmla="*/ 13699 w 311075"/>
                      <a:gd name="connsiteY332" fmla="*/ 60683 h 262348"/>
                      <a:gd name="connsiteX333" fmla="*/ 11369 w 311075"/>
                      <a:gd name="connsiteY333" fmla="*/ 62998 h 262348"/>
                      <a:gd name="connsiteX334" fmla="*/ 9502 w 311075"/>
                      <a:gd name="connsiteY334" fmla="*/ 63495 h 262348"/>
                      <a:gd name="connsiteX335" fmla="*/ 8859 w 311075"/>
                      <a:gd name="connsiteY335" fmla="*/ 62802 h 262348"/>
                      <a:gd name="connsiteX336" fmla="*/ 8639 w 311075"/>
                      <a:gd name="connsiteY336" fmla="*/ 57366 h 262348"/>
                      <a:gd name="connsiteX337" fmla="*/ 11483 w 311075"/>
                      <a:gd name="connsiteY337" fmla="*/ 53739 h 262348"/>
                      <a:gd name="connsiteX338" fmla="*/ 13504 w 311075"/>
                      <a:gd name="connsiteY338" fmla="*/ 51555 h 262348"/>
                      <a:gd name="connsiteX339" fmla="*/ 12558 w 311075"/>
                      <a:gd name="connsiteY339" fmla="*/ 51115 h 262348"/>
                      <a:gd name="connsiteX340" fmla="*/ 10407 w 311075"/>
                      <a:gd name="connsiteY340" fmla="*/ 51172 h 262348"/>
                      <a:gd name="connsiteX341" fmla="*/ 10554 w 311075"/>
                      <a:gd name="connsiteY341" fmla="*/ 49477 h 262348"/>
                      <a:gd name="connsiteX342" fmla="*/ 11565 w 311075"/>
                      <a:gd name="connsiteY342" fmla="*/ 48670 h 262348"/>
                      <a:gd name="connsiteX343" fmla="*/ 12534 w 311075"/>
                      <a:gd name="connsiteY343" fmla="*/ 46812 h 262348"/>
                      <a:gd name="connsiteX344" fmla="*/ 11393 w 311075"/>
                      <a:gd name="connsiteY344" fmla="*/ 46022 h 262348"/>
                      <a:gd name="connsiteX345" fmla="*/ 10497 w 311075"/>
                      <a:gd name="connsiteY345" fmla="*/ 44815 h 262348"/>
                      <a:gd name="connsiteX346" fmla="*/ 10554 w 311075"/>
                      <a:gd name="connsiteY346" fmla="*/ 41629 h 262348"/>
                      <a:gd name="connsiteX347" fmla="*/ 10806 w 311075"/>
                      <a:gd name="connsiteY347" fmla="*/ 40333 h 262348"/>
                      <a:gd name="connsiteX348" fmla="*/ 10513 w 311075"/>
                      <a:gd name="connsiteY348" fmla="*/ 38939 h 262348"/>
                      <a:gd name="connsiteX349" fmla="*/ 6145 w 311075"/>
                      <a:gd name="connsiteY349" fmla="*/ 40830 h 262348"/>
                      <a:gd name="connsiteX350" fmla="*/ 5020 w 311075"/>
                      <a:gd name="connsiteY350" fmla="*/ 40537 h 262348"/>
                      <a:gd name="connsiteX351" fmla="*/ 4971 w 311075"/>
                      <a:gd name="connsiteY351" fmla="*/ 38173 h 262348"/>
                      <a:gd name="connsiteX352" fmla="*/ 7400 w 311075"/>
                      <a:gd name="connsiteY352" fmla="*/ 34571 h 262348"/>
                      <a:gd name="connsiteX353" fmla="*/ 7644 w 311075"/>
                      <a:gd name="connsiteY353" fmla="*/ 33471 h 262348"/>
                      <a:gd name="connsiteX354" fmla="*/ 4808 w 311075"/>
                      <a:gd name="connsiteY354" fmla="*/ 32941 h 262348"/>
                      <a:gd name="connsiteX355" fmla="*/ 2681 w 311075"/>
                      <a:gd name="connsiteY355" fmla="*/ 31173 h 262348"/>
                      <a:gd name="connsiteX356" fmla="*/ 1393 w 311075"/>
                      <a:gd name="connsiteY356" fmla="*/ 29592 h 262348"/>
                      <a:gd name="connsiteX357" fmla="*/ 8 w 311075"/>
                      <a:gd name="connsiteY357" fmla="*/ 27318 h 262348"/>
                      <a:gd name="connsiteX358" fmla="*/ 0 w 311075"/>
                      <a:gd name="connsiteY358" fmla="*/ 25281 h 262348"/>
                      <a:gd name="connsiteX359" fmla="*/ 1426 w 311075"/>
                      <a:gd name="connsiteY359" fmla="*/ 20488 h 262348"/>
                      <a:gd name="connsiteX360" fmla="*/ 3471 w 311075"/>
                      <a:gd name="connsiteY360" fmla="*/ 19103 h 262348"/>
                      <a:gd name="connsiteX361" fmla="*/ 5232 w 311075"/>
                      <a:gd name="connsiteY361" fmla="*/ 18239 h 262348"/>
                      <a:gd name="connsiteX362" fmla="*/ 8972 w 311075"/>
                      <a:gd name="connsiteY362" fmla="*/ 14930 h 262348"/>
                      <a:gd name="connsiteX363" fmla="*/ 14132 w 311075"/>
                      <a:gd name="connsiteY363" fmla="*/ 15550 h 262348"/>
                      <a:gd name="connsiteX364" fmla="*/ 17326 w 311075"/>
                      <a:gd name="connsiteY364" fmla="*/ 14849 h 262348"/>
                      <a:gd name="connsiteX365" fmla="*/ 20187 w 311075"/>
                      <a:gd name="connsiteY365" fmla="*/ 13154 h 262348"/>
                      <a:gd name="connsiteX366" fmla="*/ 21825 w 311075"/>
                      <a:gd name="connsiteY366" fmla="*/ 12771 h 262348"/>
                      <a:gd name="connsiteX367" fmla="*/ 24465 w 311075"/>
                      <a:gd name="connsiteY367" fmla="*/ 11296 h 262348"/>
                      <a:gd name="connsiteX368" fmla="*/ 24384 w 311075"/>
                      <a:gd name="connsiteY368" fmla="*/ 9299 h 262348"/>
                      <a:gd name="connsiteX369" fmla="*/ 23479 w 311075"/>
                      <a:gd name="connsiteY369" fmla="*/ 7816 h 262348"/>
                      <a:gd name="connsiteX370" fmla="*/ 24270 w 311075"/>
                      <a:gd name="connsiteY370" fmla="*/ 6422 h 262348"/>
                      <a:gd name="connsiteX371" fmla="*/ 27244 w 311075"/>
                      <a:gd name="connsiteY371" fmla="*/ 4711 h 262348"/>
                      <a:gd name="connsiteX372" fmla="*/ 30529 w 311075"/>
                      <a:gd name="connsiteY372" fmla="*/ 2437 h 262348"/>
                      <a:gd name="connsiteX373" fmla="*/ 34294 w 311075"/>
                      <a:gd name="connsiteY373" fmla="*/ 2005 h 26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Lst>
                    <a:rect l="l" t="t" r="r" b="b"/>
                    <a:pathLst>
                      <a:path w="311075" h="262348">
                        <a:moveTo>
                          <a:pt x="38132" y="0"/>
                        </a:moveTo>
                        <a:lnTo>
                          <a:pt x="40699" y="1296"/>
                        </a:lnTo>
                        <a:lnTo>
                          <a:pt x="42957" y="856"/>
                        </a:lnTo>
                        <a:lnTo>
                          <a:pt x="45540" y="2388"/>
                        </a:lnTo>
                        <a:lnTo>
                          <a:pt x="48947" y="5909"/>
                        </a:lnTo>
                        <a:lnTo>
                          <a:pt x="53935" y="7310"/>
                        </a:lnTo>
                        <a:lnTo>
                          <a:pt x="57912" y="6218"/>
                        </a:lnTo>
                        <a:lnTo>
                          <a:pt x="64945" y="5982"/>
                        </a:lnTo>
                        <a:lnTo>
                          <a:pt x="68450" y="6446"/>
                        </a:lnTo>
                        <a:lnTo>
                          <a:pt x="74692" y="5583"/>
                        </a:lnTo>
                        <a:lnTo>
                          <a:pt x="78262" y="5892"/>
                        </a:lnTo>
                        <a:lnTo>
                          <a:pt x="84048" y="4156"/>
                        </a:lnTo>
                        <a:lnTo>
                          <a:pt x="88538" y="6324"/>
                        </a:lnTo>
                        <a:lnTo>
                          <a:pt x="97218" y="7343"/>
                        </a:lnTo>
                        <a:lnTo>
                          <a:pt x="102442" y="9128"/>
                        </a:lnTo>
                        <a:lnTo>
                          <a:pt x="116883" y="12111"/>
                        </a:lnTo>
                        <a:lnTo>
                          <a:pt x="122091" y="12151"/>
                        </a:lnTo>
                        <a:lnTo>
                          <a:pt x="129467" y="10472"/>
                        </a:lnTo>
                        <a:lnTo>
                          <a:pt x="132596" y="9209"/>
                        </a:lnTo>
                        <a:lnTo>
                          <a:pt x="135456" y="9959"/>
                        </a:lnTo>
                        <a:lnTo>
                          <a:pt x="139662" y="8508"/>
                        </a:lnTo>
                        <a:lnTo>
                          <a:pt x="141675" y="8802"/>
                        </a:lnTo>
                        <a:lnTo>
                          <a:pt x="144291" y="10872"/>
                        </a:lnTo>
                        <a:lnTo>
                          <a:pt x="153524" y="13643"/>
                        </a:lnTo>
                        <a:lnTo>
                          <a:pt x="155953" y="11279"/>
                        </a:lnTo>
                        <a:lnTo>
                          <a:pt x="157754" y="10774"/>
                        </a:lnTo>
                        <a:lnTo>
                          <a:pt x="164404" y="12225"/>
                        </a:lnTo>
                        <a:lnTo>
                          <a:pt x="171095" y="15159"/>
                        </a:lnTo>
                        <a:lnTo>
                          <a:pt x="174575" y="15362"/>
                        </a:lnTo>
                        <a:lnTo>
                          <a:pt x="179677" y="14564"/>
                        </a:lnTo>
                        <a:lnTo>
                          <a:pt x="183711" y="12632"/>
                        </a:lnTo>
                        <a:lnTo>
                          <a:pt x="184567" y="12404"/>
                        </a:lnTo>
                        <a:lnTo>
                          <a:pt x="184600" y="13610"/>
                        </a:lnTo>
                        <a:lnTo>
                          <a:pt x="185578" y="15273"/>
                        </a:lnTo>
                        <a:lnTo>
                          <a:pt x="186580" y="15884"/>
                        </a:lnTo>
                        <a:lnTo>
                          <a:pt x="188707" y="16740"/>
                        </a:lnTo>
                        <a:lnTo>
                          <a:pt x="190329" y="16846"/>
                        </a:lnTo>
                        <a:lnTo>
                          <a:pt x="192553" y="17245"/>
                        </a:lnTo>
                        <a:lnTo>
                          <a:pt x="194069" y="18198"/>
                        </a:lnTo>
                        <a:lnTo>
                          <a:pt x="194159" y="19690"/>
                        </a:lnTo>
                        <a:lnTo>
                          <a:pt x="193784" y="21352"/>
                        </a:lnTo>
                        <a:lnTo>
                          <a:pt x="192863" y="22885"/>
                        </a:lnTo>
                        <a:lnTo>
                          <a:pt x="192341" y="24058"/>
                        </a:lnTo>
                        <a:lnTo>
                          <a:pt x="192830" y="24718"/>
                        </a:lnTo>
                        <a:lnTo>
                          <a:pt x="193629" y="25240"/>
                        </a:lnTo>
                        <a:lnTo>
                          <a:pt x="194485" y="25378"/>
                        </a:lnTo>
                        <a:lnTo>
                          <a:pt x="195072" y="25215"/>
                        </a:lnTo>
                        <a:lnTo>
                          <a:pt x="195512" y="24286"/>
                        </a:lnTo>
                        <a:lnTo>
                          <a:pt x="196351" y="23162"/>
                        </a:lnTo>
                        <a:lnTo>
                          <a:pt x="196816" y="23015"/>
                        </a:lnTo>
                        <a:lnTo>
                          <a:pt x="196783" y="23659"/>
                        </a:lnTo>
                        <a:lnTo>
                          <a:pt x="197174" y="24449"/>
                        </a:lnTo>
                        <a:lnTo>
                          <a:pt x="199905" y="25786"/>
                        </a:lnTo>
                        <a:lnTo>
                          <a:pt x="205903" y="28263"/>
                        </a:lnTo>
                        <a:lnTo>
                          <a:pt x="208250" y="28312"/>
                        </a:lnTo>
                        <a:lnTo>
                          <a:pt x="210141" y="28589"/>
                        </a:lnTo>
                        <a:lnTo>
                          <a:pt x="210703" y="29641"/>
                        </a:lnTo>
                        <a:lnTo>
                          <a:pt x="214517" y="33455"/>
                        </a:lnTo>
                        <a:lnTo>
                          <a:pt x="215430" y="33357"/>
                        </a:lnTo>
                        <a:lnTo>
                          <a:pt x="217125" y="33447"/>
                        </a:lnTo>
                        <a:lnTo>
                          <a:pt x="219179" y="33137"/>
                        </a:lnTo>
                        <a:lnTo>
                          <a:pt x="220662" y="32428"/>
                        </a:lnTo>
                        <a:lnTo>
                          <a:pt x="221640" y="32550"/>
                        </a:lnTo>
                        <a:lnTo>
                          <a:pt x="222707" y="33284"/>
                        </a:lnTo>
                        <a:lnTo>
                          <a:pt x="223962" y="33935"/>
                        </a:lnTo>
                        <a:lnTo>
                          <a:pt x="225585" y="35191"/>
                        </a:lnTo>
                        <a:lnTo>
                          <a:pt x="227035" y="36747"/>
                        </a:lnTo>
                        <a:lnTo>
                          <a:pt x="228037" y="37253"/>
                        </a:lnTo>
                        <a:lnTo>
                          <a:pt x="234052" y="36209"/>
                        </a:lnTo>
                        <a:lnTo>
                          <a:pt x="235397" y="37122"/>
                        </a:lnTo>
                        <a:lnTo>
                          <a:pt x="236823" y="37114"/>
                        </a:lnTo>
                        <a:lnTo>
                          <a:pt x="238420" y="36869"/>
                        </a:lnTo>
                        <a:lnTo>
                          <a:pt x="241900" y="37358"/>
                        </a:lnTo>
                        <a:lnTo>
                          <a:pt x="244736" y="37236"/>
                        </a:lnTo>
                        <a:lnTo>
                          <a:pt x="244989" y="36853"/>
                        </a:lnTo>
                        <a:lnTo>
                          <a:pt x="245234" y="33406"/>
                        </a:lnTo>
                        <a:lnTo>
                          <a:pt x="245682" y="32192"/>
                        </a:lnTo>
                        <a:lnTo>
                          <a:pt x="246350" y="31865"/>
                        </a:lnTo>
                        <a:lnTo>
                          <a:pt x="248029" y="32110"/>
                        </a:lnTo>
                        <a:lnTo>
                          <a:pt x="254117" y="34156"/>
                        </a:lnTo>
                        <a:lnTo>
                          <a:pt x="256627" y="35427"/>
                        </a:lnTo>
                        <a:lnTo>
                          <a:pt x="259023" y="36421"/>
                        </a:lnTo>
                        <a:lnTo>
                          <a:pt x="261134" y="36535"/>
                        </a:lnTo>
                        <a:lnTo>
                          <a:pt x="262527" y="37204"/>
                        </a:lnTo>
                        <a:lnTo>
                          <a:pt x="264483" y="40472"/>
                        </a:lnTo>
                        <a:lnTo>
                          <a:pt x="264149" y="42110"/>
                        </a:lnTo>
                        <a:lnTo>
                          <a:pt x="264328" y="42713"/>
                        </a:lnTo>
                        <a:lnTo>
                          <a:pt x="264532" y="43854"/>
                        </a:lnTo>
                        <a:lnTo>
                          <a:pt x="264475" y="45109"/>
                        </a:lnTo>
                        <a:lnTo>
                          <a:pt x="264997" y="45932"/>
                        </a:lnTo>
                        <a:lnTo>
                          <a:pt x="265917" y="46030"/>
                        </a:lnTo>
                        <a:lnTo>
                          <a:pt x="267107" y="45785"/>
                        </a:lnTo>
                        <a:lnTo>
                          <a:pt x="268403" y="45296"/>
                        </a:lnTo>
                        <a:lnTo>
                          <a:pt x="270693" y="43886"/>
                        </a:lnTo>
                        <a:lnTo>
                          <a:pt x="271378" y="43658"/>
                        </a:lnTo>
                        <a:lnTo>
                          <a:pt x="275184" y="45256"/>
                        </a:lnTo>
                        <a:lnTo>
                          <a:pt x="276879" y="46315"/>
                        </a:lnTo>
                        <a:lnTo>
                          <a:pt x="277458" y="47464"/>
                        </a:lnTo>
                        <a:lnTo>
                          <a:pt x="278337" y="48646"/>
                        </a:lnTo>
                        <a:lnTo>
                          <a:pt x="279479" y="48825"/>
                        </a:lnTo>
                        <a:lnTo>
                          <a:pt x="281101" y="47709"/>
                        </a:lnTo>
                        <a:lnTo>
                          <a:pt x="283627" y="46502"/>
                        </a:lnTo>
                        <a:lnTo>
                          <a:pt x="287946" y="47554"/>
                        </a:lnTo>
                        <a:lnTo>
                          <a:pt x="292746" y="49086"/>
                        </a:lnTo>
                        <a:lnTo>
                          <a:pt x="294833" y="49265"/>
                        </a:lnTo>
                        <a:lnTo>
                          <a:pt x="294906" y="48524"/>
                        </a:lnTo>
                        <a:lnTo>
                          <a:pt x="295289" y="47464"/>
                        </a:lnTo>
                        <a:lnTo>
                          <a:pt x="296071" y="46926"/>
                        </a:lnTo>
                        <a:lnTo>
                          <a:pt x="297253" y="46771"/>
                        </a:lnTo>
                        <a:lnTo>
                          <a:pt x="298899" y="46217"/>
                        </a:lnTo>
                        <a:lnTo>
                          <a:pt x="300782" y="45288"/>
                        </a:lnTo>
                        <a:lnTo>
                          <a:pt x="302730" y="44905"/>
                        </a:lnTo>
                        <a:lnTo>
                          <a:pt x="304775" y="45598"/>
                        </a:lnTo>
                        <a:lnTo>
                          <a:pt x="307237" y="46152"/>
                        </a:lnTo>
                        <a:lnTo>
                          <a:pt x="308712" y="46152"/>
                        </a:lnTo>
                        <a:lnTo>
                          <a:pt x="309421" y="48328"/>
                        </a:lnTo>
                        <a:lnTo>
                          <a:pt x="310611" y="49159"/>
                        </a:lnTo>
                        <a:lnTo>
                          <a:pt x="311075" y="51050"/>
                        </a:lnTo>
                        <a:lnTo>
                          <a:pt x="308899" y="52028"/>
                        </a:lnTo>
                        <a:lnTo>
                          <a:pt x="307595" y="52158"/>
                        </a:lnTo>
                        <a:lnTo>
                          <a:pt x="307204" y="55394"/>
                        </a:lnTo>
                        <a:lnTo>
                          <a:pt x="307815" y="56307"/>
                        </a:lnTo>
                        <a:lnTo>
                          <a:pt x="309038" y="57162"/>
                        </a:lnTo>
                        <a:lnTo>
                          <a:pt x="309372" y="58157"/>
                        </a:lnTo>
                        <a:lnTo>
                          <a:pt x="309616" y="62892"/>
                        </a:lnTo>
                        <a:lnTo>
                          <a:pt x="307114" y="65752"/>
                        </a:lnTo>
                        <a:lnTo>
                          <a:pt x="303586" y="68963"/>
                        </a:lnTo>
                        <a:lnTo>
                          <a:pt x="286373" y="79272"/>
                        </a:lnTo>
                        <a:lnTo>
                          <a:pt x="282282" y="84260"/>
                        </a:lnTo>
                        <a:lnTo>
                          <a:pt x="280718" y="85401"/>
                        </a:lnTo>
                        <a:lnTo>
                          <a:pt x="267906" y="88531"/>
                        </a:lnTo>
                        <a:lnTo>
                          <a:pt x="258974" y="91888"/>
                        </a:lnTo>
                        <a:lnTo>
                          <a:pt x="254679" y="93103"/>
                        </a:lnTo>
                        <a:lnTo>
                          <a:pt x="249324" y="98913"/>
                        </a:lnTo>
                        <a:lnTo>
                          <a:pt x="246782" y="101260"/>
                        </a:lnTo>
                        <a:lnTo>
                          <a:pt x="248811" y="101904"/>
                        </a:lnTo>
                        <a:lnTo>
                          <a:pt x="251166" y="104683"/>
                        </a:lnTo>
                        <a:lnTo>
                          <a:pt x="250376" y="105914"/>
                        </a:lnTo>
                        <a:lnTo>
                          <a:pt x="246937" y="107813"/>
                        </a:lnTo>
                        <a:lnTo>
                          <a:pt x="245429" y="108391"/>
                        </a:lnTo>
                        <a:lnTo>
                          <a:pt x="244614" y="108098"/>
                        </a:lnTo>
                        <a:lnTo>
                          <a:pt x="243840" y="108351"/>
                        </a:lnTo>
                        <a:lnTo>
                          <a:pt x="238078" y="118399"/>
                        </a:lnTo>
                        <a:lnTo>
                          <a:pt x="232993" y="125620"/>
                        </a:lnTo>
                        <a:lnTo>
                          <a:pt x="230132" y="128758"/>
                        </a:lnTo>
                        <a:lnTo>
                          <a:pt x="227198" y="133436"/>
                        </a:lnTo>
                        <a:lnTo>
                          <a:pt x="220956" y="145489"/>
                        </a:lnTo>
                        <a:lnTo>
                          <a:pt x="220906" y="148953"/>
                        </a:lnTo>
                        <a:lnTo>
                          <a:pt x="223979" y="160925"/>
                        </a:lnTo>
                        <a:lnTo>
                          <a:pt x="225739" y="164062"/>
                        </a:lnTo>
                        <a:lnTo>
                          <a:pt x="228217" y="166695"/>
                        </a:lnTo>
                        <a:lnTo>
                          <a:pt x="232903" y="168936"/>
                        </a:lnTo>
                        <a:lnTo>
                          <a:pt x="234060" y="171136"/>
                        </a:lnTo>
                        <a:lnTo>
                          <a:pt x="232446" y="173239"/>
                        </a:lnTo>
                        <a:lnTo>
                          <a:pt x="227760" y="176972"/>
                        </a:lnTo>
                        <a:lnTo>
                          <a:pt x="219603" y="182008"/>
                        </a:lnTo>
                        <a:lnTo>
                          <a:pt x="216147" y="185977"/>
                        </a:lnTo>
                        <a:lnTo>
                          <a:pt x="215405" y="189807"/>
                        </a:lnTo>
                        <a:lnTo>
                          <a:pt x="213018" y="191527"/>
                        </a:lnTo>
                        <a:lnTo>
                          <a:pt x="212121" y="196889"/>
                        </a:lnTo>
                        <a:lnTo>
                          <a:pt x="210662" y="200426"/>
                        </a:lnTo>
                        <a:lnTo>
                          <a:pt x="210393" y="201633"/>
                        </a:lnTo>
                        <a:lnTo>
                          <a:pt x="208853" y="204322"/>
                        </a:lnTo>
                        <a:lnTo>
                          <a:pt x="208649" y="206270"/>
                        </a:lnTo>
                        <a:lnTo>
                          <a:pt x="211167" y="208959"/>
                        </a:lnTo>
                        <a:lnTo>
                          <a:pt x="209912" y="210125"/>
                        </a:lnTo>
                        <a:lnTo>
                          <a:pt x="208666" y="210638"/>
                        </a:lnTo>
                        <a:lnTo>
                          <a:pt x="205797" y="210956"/>
                        </a:lnTo>
                        <a:lnTo>
                          <a:pt x="196139" y="211298"/>
                        </a:lnTo>
                        <a:lnTo>
                          <a:pt x="188365" y="217109"/>
                        </a:lnTo>
                        <a:lnTo>
                          <a:pt x="184477" y="222251"/>
                        </a:lnTo>
                        <a:lnTo>
                          <a:pt x="180957" y="231811"/>
                        </a:lnTo>
                        <a:lnTo>
                          <a:pt x="176694" y="237443"/>
                        </a:lnTo>
                        <a:lnTo>
                          <a:pt x="174803" y="238478"/>
                        </a:lnTo>
                        <a:lnTo>
                          <a:pt x="171878" y="236008"/>
                        </a:lnTo>
                        <a:lnTo>
                          <a:pt x="168227" y="235625"/>
                        </a:lnTo>
                        <a:lnTo>
                          <a:pt x="164681" y="236448"/>
                        </a:lnTo>
                        <a:lnTo>
                          <a:pt x="162824" y="238404"/>
                        </a:lnTo>
                        <a:lnTo>
                          <a:pt x="159922" y="239496"/>
                        </a:lnTo>
                        <a:lnTo>
                          <a:pt x="157086" y="238559"/>
                        </a:lnTo>
                        <a:lnTo>
                          <a:pt x="150949" y="238046"/>
                        </a:lnTo>
                        <a:lnTo>
                          <a:pt x="148227" y="238135"/>
                        </a:lnTo>
                        <a:lnTo>
                          <a:pt x="143957" y="239724"/>
                        </a:lnTo>
                        <a:lnTo>
                          <a:pt x="140297" y="238665"/>
                        </a:lnTo>
                        <a:lnTo>
                          <a:pt x="134128" y="238127"/>
                        </a:lnTo>
                        <a:lnTo>
                          <a:pt x="120754" y="239390"/>
                        </a:lnTo>
                        <a:lnTo>
                          <a:pt x="119067" y="239977"/>
                        </a:lnTo>
                        <a:lnTo>
                          <a:pt x="117397" y="242341"/>
                        </a:lnTo>
                        <a:lnTo>
                          <a:pt x="113134" y="246415"/>
                        </a:lnTo>
                        <a:lnTo>
                          <a:pt x="106655" y="246562"/>
                        </a:lnTo>
                        <a:lnTo>
                          <a:pt x="100796" y="249154"/>
                        </a:lnTo>
                        <a:lnTo>
                          <a:pt x="99337" y="250816"/>
                        </a:lnTo>
                        <a:lnTo>
                          <a:pt x="96868" y="255388"/>
                        </a:lnTo>
                        <a:lnTo>
                          <a:pt x="96102" y="258738"/>
                        </a:lnTo>
                        <a:lnTo>
                          <a:pt x="95588" y="258762"/>
                        </a:lnTo>
                        <a:lnTo>
                          <a:pt x="94953" y="257939"/>
                        </a:lnTo>
                        <a:lnTo>
                          <a:pt x="94048" y="258216"/>
                        </a:lnTo>
                        <a:lnTo>
                          <a:pt x="93583" y="260759"/>
                        </a:lnTo>
                        <a:lnTo>
                          <a:pt x="91375" y="261924"/>
                        </a:lnTo>
                        <a:lnTo>
                          <a:pt x="89541" y="262348"/>
                        </a:lnTo>
                        <a:lnTo>
                          <a:pt x="84993" y="260286"/>
                        </a:lnTo>
                        <a:lnTo>
                          <a:pt x="81228" y="257181"/>
                        </a:lnTo>
                        <a:lnTo>
                          <a:pt x="79240" y="256969"/>
                        </a:lnTo>
                        <a:lnTo>
                          <a:pt x="76021" y="252145"/>
                        </a:lnTo>
                        <a:lnTo>
                          <a:pt x="74635" y="249072"/>
                        </a:lnTo>
                        <a:lnTo>
                          <a:pt x="73649" y="245747"/>
                        </a:lnTo>
                        <a:lnTo>
                          <a:pt x="73852" y="244476"/>
                        </a:lnTo>
                        <a:lnTo>
                          <a:pt x="73575" y="243416"/>
                        </a:lnTo>
                        <a:lnTo>
                          <a:pt x="70723" y="242080"/>
                        </a:lnTo>
                        <a:lnTo>
                          <a:pt x="70022" y="239032"/>
                        </a:lnTo>
                        <a:lnTo>
                          <a:pt x="72109" y="235063"/>
                        </a:lnTo>
                        <a:lnTo>
                          <a:pt x="73812" y="233368"/>
                        </a:lnTo>
                        <a:lnTo>
                          <a:pt x="74871" y="232887"/>
                        </a:lnTo>
                        <a:lnTo>
                          <a:pt x="72288" y="233058"/>
                        </a:lnTo>
                        <a:lnTo>
                          <a:pt x="70413" y="235617"/>
                        </a:lnTo>
                        <a:lnTo>
                          <a:pt x="68034" y="231518"/>
                        </a:lnTo>
                        <a:lnTo>
                          <a:pt x="58311" y="223539"/>
                        </a:lnTo>
                        <a:lnTo>
                          <a:pt x="58930" y="221705"/>
                        </a:lnTo>
                        <a:lnTo>
                          <a:pt x="58824" y="220719"/>
                        </a:lnTo>
                        <a:lnTo>
                          <a:pt x="57195" y="222846"/>
                        </a:lnTo>
                        <a:lnTo>
                          <a:pt x="56078" y="223400"/>
                        </a:lnTo>
                        <a:lnTo>
                          <a:pt x="51107" y="223050"/>
                        </a:lnTo>
                        <a:lnTo>
                          <a:pt x="45369" y="224028"/>
                        </a:lnTo>
                        <a:lnTo>
                          <a:pt x="43854" y="215740"/>
                        </a:lnTo>
                        <a:lnTo>
                          <a:pt x="43145" y="212553"/>
                        </a:lnTo>
                        <a:lnTo>
                          <a:pt x="42957" y="210483"/>
                        </a:lnTo>
                        <a:lnTo>
                          <a:pt x="44432" y="205707"/>
                        </a:lnTo>
                        <a:lnTo>
                          <a:pt x="46054" y="203768"/>
                        </a:lnTo>
                        <a:lnTo>
                          <a:pt x="48198" y="199750"/>
                        </a:lnTo>
                        <a:lnTo>
                          <a:pt x="50846" y="196409"/>
                        </a:lnTo>
                        <a:lnTo>
                          <a:pt x="53650" y="195618"/>
                        </a:lnTo>
                        <a:lnTo>
                          <a:pt x="54880" y="195121"/>
                        </a:lnTo>
                        <a:lnTo>
                          <a:pt x="55915" y="192537"/>
                        </a:lnTo>
                        <a:lnTo>
                          <a:pt x="56494" y="190329"/>
                        </a:lnTo>
                        <a:lnTo>
                          <a:pt x="56070" y="190101"/>
                        </a:lnTo>
                        <a:lnTo>
                          <a:pt x="52802" y="190557"/>
                        </a:lnTo>
                        <a:lnTo>
                          <a:pt x="46934" y="181283"/>
                        </a:lnTo>
                        <a:lnTo>
                          <a:pt x="47114" y="179808"/>
                        </a:lnTo>
                        <a:lnTo>
                          <a:pt x="47855" y="177607"/>
                        </a:lnTo>
                        <a:lnTo>
                          <a:pt x="48344" y="174828"/>
                        </a:lnTo>
                        <a:lnTo>
                          <a:pt x="48466" y="172636"/>
                        </a:lnTo>
                        <a:lnTo>
                          <a:pt x="49990" y="170761"/>
                        </a:lnTo>
                        <a:lnTo>
                          <a:pt x="52329" y="168854"/>
                        </a:lnTo>
                        <a:lnTo>
                          <a:pt x="54301" y="166165"/>
                        </a:lnTo>
                        <a:lnTo>
                          <a:pt x="55288" y="163524"/>
                        </a:lnTo>
                        <a:lnTo>
                          <a:pt x="55500" y="161128"/>
                        </a:lnTo>
                        <a:lnTo>
                          <a:pt x="54383" y="159425"/>
                        </a:lnTo>
                        <a:lnTo>
                          <a:pt x="51172" y="158472"/>
                        </a:lnTo>
                        <a:lnTo>
                          <a:pt x="47863" y="151626"/>
                        </a:lnTo>
                        <a:lnTo>
                          <a:pt x="47122" y="147339"/>
                        </a:lnTo>
                        <a:lnTo>
                          <a:pt x="46445" y="146891"/>
                        </a:lnTo>
                        <a:lnTo>
                          <a:pt x="44408" y="144927"/>
                        </a:lnTo>
                        <a:lnTo>
                          <a:pt x="42444" y="141267"/>
                        </a:lnTo>
                        <a:lnTo>
                          <a:pt x="42158" y="140689"/>
                        </a:lnTo>
                        <a:lnTo>
                          <a:pt x="44188" y="140045"/>
                        </a:lnTo>
                        <a:lnTo>
                          <a:pt x="52533" y="140012"/>
                        </a:lnTo>
                        <a:lnTo>
                          <a:pt x="54269" y="139206"/>
                        </a:lnTo>
                        <a:lnTo>
                          <a:pt x="54538" y="138920"/>
                        </a:lnTo>
                        <a:lnTo>
                          <a:pt x="56054" y="136060"/>
                        </a:lnTo>
                        <a:lnTo>
                          <a:pt x="57651" y="131366"/>
                        </a:lnTo>
                        <a:lnTo>
                          <a:pt x="58018" y="128497"/>
                        </a:lnTo>
                        <a:lnTo>
                          <a:pt x="57521" y="127307"/>
                        </a:lnTo>
                        <a:lnTo>
                          <a:pt x="54758" y="124389"/>
                        </a:lnTo>
                        <a:lnTo>
                          <a:pt x="54636" y="123534"/>
                        </a:lnTo>
                        <a:lnTo>
                          <a:pt x="55084" y="122165"/>
                        </a:lnTo>
                        <a:lnTo>
                          <a:pt x="56722" y="120698"/>
                        </a:lnTo>
                        <a:lnTo>
                          <a:pt x="58947" y="119027"/>
                        </a:lnTo>
                        <a:lnTo>
                          <a:pt x="60153" y="117584"/>
                        </a:lnTo>
                        <a:lnTo>
                          <a:pt x="59868" y="116460"/>
                        </a:lnTo>
                        <a:lnTo>
                          <a:pt x="59216" y="115278"/>
                        </a:lnTo>
                        <a:lnTo>
                          <a:pt x="59118" y="114178"/>
                        </a:lnTo>
                        <a:lnTo>
                          <a:pt x="59517" y="112825"/>
                        </a:lnTo>
                        <a:lnTo>
                          <a:pt x="59664" y="108204"/>
                        </a:lnTo>
                        <a:lnTo>
                          <a:pt x="59949" y="107006"/>
                        </a:lnTo>
                        <a:lnTo>
                          <a:pt x="59517" y="102809"/>
                        </a:lnTo>
                        <a:lnTo>
                          <a:pt x="58980" y="99370"/>
                        </a:lnTo>
                        <a:lnTo>
                          <a:pt x="57219" y="94904"/>
                        </a:lnTo>
                        <a:lnTo>
                          <a:pt x="57537" y="93918"/>
                        </a:lnTo>
                        <a:lnTo>
                          <a:pt x="58352" y="93086"/>
                        </a:lnTo>
                        <a:lnTo>
                          <a:pt x="61009" y="91538"/>
                        </a:lnTo>
                        <a:lnTo>
                          <a:pt x="63128" y="87887"/>
                        </a:lnTo>
                        <a:lnTo>
                          <a:pt x="66208" y="84847"/>
                        </a:lnTo>
                        <a:lnTo>
                          <a:pt x="70251" y="82394"/>
                        </a:lnTo>
                        <a:lnTo>
                          <a:pt x="73071" y="79664"/>
                        </a:lnTo>
                        <a:lnTo>
                          <a:pt x="74187" y="77585"/>
                        </a:lnTo>
                        <a:lnTo>
                          <a:pt x="74977" y="77031"/>
                        </a:lnTo>
                        <a:lnTo>
                          <a:pt x="74749" y="76062"/>
                        </a:lnTo>
                        <a:lnTo>
                          <a:pt x="74220" y="74635"/>
                        </a:lnTo>
                        <a:lnTo>
                          <a:pt x="72606" y="73258"/>
                        </a:lnTo>
                        <a:lnTo>
                          <a:pt x="70536" y="72468"/>
                        </a:lnTo>
                        <a:lnTo>
                          <a:pt x="68229" y="72492"/>
                        </a:lnTo>
                        <a:lnTo>
                          <a:pt x="66803" y="72215"/>
                        </a:lnTo>
                        <a:lnTo>
                          <a:pt x="66379" y="71139"/>
                        </a:lnTo>
                        <a:lnTo>
                          <a:pt x="66542" y="68205"/>
                        </a:lnTo>
                        <a:lnTo>
                          <a:pt x="66420" y="65304"/>
                        </a:lnTo>
                        <a:lnTo>
                          <a:pt x="65972" y="63967"/>
                        </a:lnTo>
                        <a:lnTo>
                          <a:pt x="64912" y="62965"/>
                        </a:lnTo>
                        <a:lnTo>
                          <a:pt x="62793" y="63226"/>
                        </a:lnTo>
                        <a:lnTo>
                          <a:pt x="60968" y="62411"/>
                        </a:lnTo>
                        <a:lnTo>
                          <a:pt x="59582" y="62207"/>
                        </a:lnTo>
                        <a:lnTo>
                          <a:pt x="58784" y="62859"/>
                        </a:lnTo>
                        <a:lnTo>
                          <a:pt x="54684" y="62671"/>
                        </a:lnTo>
                        <a:lnTo>
                          <a:pt x="52989" y="62207"/>
                        </a:lnTo>
                        <a:lnTo>
                          <a:pt x="51799" y="61628"/>
                        </a:lnTo>
                        <a:lnTo>
                          <a:pt x="51033" y="61946"/>
                        </a:lnTo>
                        <a:lnTo>
                          <a:pt x="50602" y="62517"/>
                        </a:lnTo>
                        <a:lnTo>
                          <a:pt x="50520" y="63405"/>
                        </a:lnTo>
                        <a:lnTo>
                          <a:pt x="50243" y="64579"/>
                        </a:lnTo>
                        <a:lnTo>
                          <a:pt x="48784" y="65638"/>
                        </a:lnTo>
                        <a:lnTo>
                          <a:pt x="45426" y="66689"/>
                        </a:lnTo>
                        <a:lnTo>
                          <a:pt x="42729" y="66616"/>
                        </a:lnTo>
                        <a:lnTo>
                          <a:pt x="40251" y="65858"/>
                        </a:lnTo>
                        <a:lnTo>
                          <a:pt x="39461" y="65304"/>
                        </a:lnTo>
                        <a:lnTo>
                          <a:pt x="38255" y="64807"/>
                        </a:lnTo>
                        <a:lnTo>
                          <a:pt x="33210" y="65426"/>
                        </a:lnTo>
                        <a:lnTo>
                          <a:pt x="32607" y="64978"/>
                        </a:lnTo>
                        <a:lnTo>
                          <a:pt x="30871" y="66062"/>
                        </a:lnTo>
                        <a:lnTo>
                          <a:pt x="28304" y="67358"/>
                        </a:lnTo>
                        <a:lnTo>
                          <a:pt x="26861" y="67431"/>
                        </a:lnTo>
                        <a:lnTo>
                          <a:pt x="26340" y="67162"/>
                        </a:lnTo>
                        <a:lnTo>
                          <a:pt x="26152" y="66575"/>
                        </a:lnTo>
                        <a:lnTo>
                          <a:pt x="25068" y="64554"/>
                        </a:lnTo>
                        <a:lnTo>
                          <a:pt x="25354" y="63478"/>
                        </a:lnTo>
                        <a:lnTo>
                          <a:pt x="27415" y="60357"/>
                        </a:lnTo>
                        <a:lnTo>
                          <a:pt x="27187" y="59607"/>
                        </a:lnTo>
                        <a:lnTo>
                          <a:pt x="26340" y="58589"/>
                        </a:lnTo>
                        <a:lnTo>
                          <a:pt x="25582" y="57138"/>
                        </a:lnTo>
                        <a:lnTo>
                          <a:pt x="25362" y="56380"/>
                        </a:lnTo>
                        <a:lnTo>
                          <a:pt x="24041" y="56258"/>
                        </a:lnTo>
                        <a:lnTo>
                          <a:pt x="22640" y="57024"/>
                        </a:lnTo>
                        <a:lnTo>
                          <a:pt x="17302" y="58597"/>
                        </a:lnTo>
                        <a:lnTo>
                          <a:pt x="16022" y="59167"/>
                        </a:lnTo>
                        <a:lnTo>
                          <a:pt x="13699" y="60683"/>
                        </a:lnTo>
                        <a:lnTo>
                          <a:pt x="11369" y="62998"/>
                        </a:lnTo>
                        <a:lnTo>
                          <a:pt x="9502" y="63495"/>
                        </a:lnTo>
                        <a:lnTo>
                          <a:pt x="8859" y="62802"/>
                        </a:lnTo>
                        <a:lnTo>
                          <a:pt x="8639" y="57366"/>
                        </a:lnTo>
                        <a:lnTo>
                          <a:pt x="11483" y="53739"/>
                        </a:lnTo>
                        <a:lnTo>
                          <a:pt x="13504" y="51555"/>
                        </a:lnTo>
                        <a:lnTo>
                          <a:pt x="12558" y="51115"/>
                        </a:lnTo>
                        <a:lnTo>
                          <a:pt x="10407" y="51172"/>
                        </a:lnTo>
                        <a:lnTo>
                          <a:pt x="10554" y="49477"/>
                        </a:lnTo>
                        <a:lnTo>
                          <a:pt x="11565" y="48670"/>
                        </a:lnTo>
                        <a:lnTo>
                          <a:pt x="12534" y="46812"/>
                        </a:lnTo>
                        <a:lnTo>
                          <a:pt x="11393" y="46022"/>
                        </a:lnTo>
                        <a:lnTo>
                          <a:pt x="10497" y="44815"/>
                        </a:lnTo>
                        <a:lnTo>
                          <a:pt x="10554" y="41629"/>
                        </a:lnTo>
                        <a:lnTo>
                          <a:pt x="10806" y="40333"/>
                        </a:lnTo>
                        <a:lnTo>
                          <a:pt x="10513" y="38939"/>
                        </a:lnTo>
                        <a:lnTo>
                          <a:pt x="6145" y="40830"/>
                        </a:lnTo>
                        <a:lnTo>
                          <a:pt x="5020" y="40537"/>
                        </a:lnTo>
                        <a:lnTo>
                          <a:pt x="4971" y="38173"/>
                        </a:lnTo>
                        <a:lnTo>
                          <a:pt x="7400" y="34571"/>
                        </a:lnTo>
                        <a:lnTo>
                          <a:pt x="7644" y="33471"/>
                        </a:lnTo>
                        <a:lnTo>
                          <a:pt x="4808" y="32941"/>
                        </a:lnTo>
                        <a:lnTo>
                          <a:pt x="2681" y="31173"/>
                        </a:lnTo>
                        <a:lnTo>
                          <a:pt x="1393" y="29592"/>
                        </a:lnTo>
                        <a:lnTo>
                          <a:pt x="8" y="27318"/>
                        </a:lnTo>
                        <a:lnTo>
                          <a:pt x="0" y="25281"/>
                        </a:lnTo>
                        <a:lnTo>
                          <a:pt x="1426" y="20488"/>
                        </a:lnTo>
                        <a:lnTo>
                          <a:pt x="3471" y="19103"/>
                        </a:lnTo>
                        <a:lnTo>
                          <a:pt x="5232" y="18239"/>
                        </a:lnTo>
                        <a:lnTo>
                          <a:pt x="8972" y="14930"/>
                        </a:lnTo>
                        <a:lnTo>
                          <a:pt x="14132" y="15550"/>
                        </a:lnTo>
                        <a:lnTo>
                          <a:pt x="17326" y="14849"/>
                        </a:lnTo>
                        <a:lnTo>
                          <a:pt x="20187" y="13154"/>
                        </a:lnTo>
                        <a:lnTo>
                          <a:pt x="21825" y="12771"/>
                        </a:lnTo>
                        <a:lnTo>
                          <a:pt x="24465" y="11296"/>
                        </a:lnTo>
                        <a:lnTo>
                          <a:pt x="24384" y="9299"/>
                        </a:lnTo>
                        <a:lnTo>
                          <a:pt x="23479" y="7816"/>
                        </a:lnTo>
                        <a:lnTo>
                          <a:pt x="24270" y="6422"/>
                        </a:lnTo>
                        <a:lnTo>
                          <a:pt x="27244" y="4711"/>
                        </a:lnTo>
                        <a:lnTo>
                          <a:pt x="30529" y="2437"/>
                        </a:lnTo>
                        <a:lnTo>
                          <a:pt x="34294" y="2005"/>
                        </a:lnTo>
                        <a:close/>
                      </a:path>
                    </a:pathLst>
                  </a:custGeom>
                  <a:solidFill>
                    <a:srgbClr val="D6D6D2"/>
                  </a:solidFill>
                  <a:ln w="6112" cap="rnd">
                    <a:solidFill>
                      <a:srgbClr val="FFFFFF"/>
                    </a:solidFill>
                    <a:prstDash val="solid"/>
                    <a:round/>
                  </a:ln>
                </p:spPr>
                <p:txBody>
                  <a:bodyPr rtlCol="0" anchor="ctr"/>
                  <a:lstStyle/>
                  <a:p>
                    <a:endParaRPr lang="en-US"/>
                  </a:p>
                </p:txBody>
              </p:sp>
            </p:grpSp>
            <p:sp>
              <p:nvSpPr>
                <p:cNvPr id="742" name="Freeform: Shape 741">
                  <a:extLst>
                    <a:ext uri="{FF2B5EF4-FFF2-40B4-BE49-F238E27FC236}">
                      <a16:creationId xmlns:a16="http://schemas.microsoft.com/office/drawing/2014/main" id="{4E37FBDA-D48A-4B67-AE2B-9E7BFBFB253D}"/>
                    </a:ext>
                  </a:extLst>
                </p:cNvPr>
                <p:cNvSpPr/>
                <p:nvPr/>
              </p:nvSpPr>
              <p:spPr>
                <a:xfrm>
                  <a:off x="6847087" y="3980974"/>
                  <a:ext cx="165944" cy="171527"/>
                </a:xfrm>
                <a:custGeom>
                  <a:avLst/>
                  <a:gdLst>
                    <a:gd name="connsiteX0" fmla="*/ 54147 w 165944"/>
                    <a:gd name="connsiteY0" fmla="*/ 0 h 171527"/>
                    <a:gd name="connsiteX1" fmla="*/ 61644 w 165944"/>
                    <a:gd name="connsiteY1" fmla="*/ 17718 h 171527"/>
                    <a:gd name="connsiteX2" fmla="*/ 64685 w 165944"/>
                    <a:gd name="connsiteY2" fmla="*/ 28182 h 171527"/>
                    <a:gd name="connsiteX3" fmla="*/ 67366 w 165944"/>
                    <a:gd name="connsiteY3" fmla="*/ 39086 h 171527"/>
                    <a:gd name="connsiteX4" fmla="*/ 69346 w 165944"/>
                    <a:gd name="connsiteY4" fmla="*/ 55451 h 171527"/>
                    <a:gd name="connsiteX5" fmla="*/ 71237 w 165944"/>
                    <a:gd name="connsiteY5" fmla="*/ 63772 h 171527"/>
                    <a:gd name="connsiteX6" fmla="*/ 74301 w 165944"/>
                    <a:gd name="connsiteY6" fmla="*/ 67871 h 171527"/>
                    <a:gd name="connsiteX7" fmla="*/ 76395 w 165944"/>
                    <a:gd name="connsiteY7" fmla="*/ 75638 h 171527"/>
                    <a:gd name="connsiteX8" fmla="*/ 78188 w 165944"/>
                    <a:gd name="connsiteY8" fmla="*/ 75931 h 171527"/>
                    <a:gd name="connsiteX9" fmla="*/ 79492 w 165944"/>
                    <a:gd name="connsiteY9" fmla="*/ 78066 h 171527"/>
                    <a:gd name="connsiteX10" fmla="*/ 81701 w 165944"/>
                    <a:gd name="connsiteY10" fmla="*/ 85352 h 171527"/>
                    <a:gd name="connsiteX11" fmla="*/ 83323 w 165944"/>
                    <a:gd name="connsiteY11" fmla="*/ 88066 h 171527"/>
                    <a:gd name="connsiteX12" fmla="*/ 84162 w 165944"/>
                    <a:gd name="connsiteY12" fmla="*/ 85735 h 171527"/>
                    <a:gd name="connsiteX13" fmla="*/ 84056 w 165944"/>
                    <a:gd name="connsiteY13" fmla="*/ 84391 h 171527"/>
                    <a:gd name="connsiteX14" fmla="*/ 83437 w 165944"/>
                    <a:gd name="connsiteY14" fmla="*/ 82149 h 171527"/>
                    <a:gd name="connsiteX15" fmla="*/ 84015 w 165944"/>
                    <a:gd name="connsiteY15" fmla="*/ 79256 h 171527"/>
                    <a:gd name="connsiteX16" fmla="*/ 85254 w 165944"/>
                    <a:gd name="connsiteY16" fmla="*/ 77528 h 171527"/>
                    <a:gd name="connsiteX17" fmla="*/ 88099 w 165944"/>
                    <a:gd name="connsiteY17" fmla="*/ 79884 h 171527"/>
                    <a:gd name="connsiteX18" fmla="*/ 89647 w 165944"/>
                    <a:gd name="connsiteY18" fmla="*/ 81669 h 171527"/>
                    <a:gd name="connsiteX19" fmla="*/ 90071 w 165944"/>
                    <a:gd name="connsiteY19" fmla="*/ 85246 h 171527"/>
                    <a:gd name="connsiteX20" fmla="*/ 90715 w 165944"/>
                    <a:gd name="connsiteY20" fmla="*/ 87235 h 171527"/>
                    <a:gd name="connsiteX21" fmla="*/ 93689 w 165944"/>
                    <a:gd name="connsiteY21" fmla="*/ 91440 h 171527"/>
                    <a:gd name="connsiteX22" fmla="*/ 96208 w 165944"/>
                    <a:gd name="connsiteY22" fmla="*/ 92663 h 171527"/>
                    <a:gd name="connsiteX23" fmla="*/ 99459 w 165944"/>
                    <a:gd name="connsiteY23" fmla="*/ 92972 h 171527"/>
                    <a:gd name="connsiteX24" fmla="*/ 102181 w 165944"/>
                    <a:gd name="connsiteY24" fmla="*/ 93893 h 171527"/>
                    <a:gd name="connsiteX25" fmla="*/ 104365 w 165944"/>
                    <a:gd name="connsiteY25" fmla="*/ 95434 h 171527"/>
                    <a:gd name="connsiteX26" fmla="*/ 108464 w 165944"/>
                    <a:gd name="connsiteY26" fmla="*/ 99688 h 171527"/>
                    <a:gd name="connsiteX27" fmla="*/ 117812 w 165944"/>
                    <a:gd name="connsiteY27" fmla="*/ 103420 h 171527"/>
                    <a:gd name="connsiteX28" fmla="*/ 125334 w 165944"/>
                    <a:gd name="connsiteY28" fmla="*/ 114870 h 171527"/>
                    <a:gd name="connsiteX29" fmla="*/ 129760 w 165944"/>
                    <a:gd name="connsiteY29" fmla="*/ 122800 h 171527"/>
                    <a:gd name="connsiteX30" fmla="*/ 144316 w 165944"/>
                    <a:gd name="connsiteY30" fmla="*/ 134813 h 171527"/>
                    <a:gd name="connsiteX31" fmla="*/ 146833 w 165944"/>
                    <a:gd name="connsiteY31" fmla="*/ 140567 h 171527"/>
                    <a:gd name="connsiteX32" fmla="*/ 148146 w 165944"/>
                    <a:gd name="connsiteY32" fmla="*/ 146190 h 171527"/>
                    <a:gd name="connsiteX33" fmla="*/ 151210 w 165944"/>
                    <a:gd name="connsiteY33" fmla="*/ 145921 h 171527"/>
                    <a:gd name="connsiteX34" fmla="*/ 156459 w 165944"/>
                    <a:gd name="connsiteY34" fmla="*/ 152074 h 171527"/>
                    <a:gd name="connsiteX35" fmla="*/ 157991 w 165944"/>
                    <a:gd name="connsiteY35" fmla="*/ 156752 h 171527"/>
                    <a:gd name="connsiteX36" fmla="*/ 162294 w 165944"/>
                    <a:gd name="connsiteY36" fmla="*/ 158447 h 171527"/>
                    <a:gd name="connsiteX37" fmla="*/ 163019 w 165944"/>
                    <a:gd name="connsiteY37" fmla="*/ 155684 h 171527"/>
                    <a:gd name="connsiteX38" fmla="*/ 165097 w 165944"/>
                    <a:gd name="connsiteY38" fmla="*/ 157958 h 171527"/>
                    <a:gd name="connsiteX39" fmla="*/ 165945 w 165944"/>
                    <a:gd name="connsiteY39" fmla="*/ 161471 h 171527"/>
                    <a:gd name="connsiteX40" fmla="*/ 163190 w 165944"/>
                    <a:gd name="connsiteY40" fmla="*/ 162873 h 171527"/>
                    <a:gd name="connsiteX41" fmla="*/ 160158 w 165944"/>
                    <a:gd name="connsiteY41" fmla="*/ 164119 h 171527"/>
                    <a:gd name="connsiteX42" fmla="*/ 159727 w 165944"/>
                    <a:gd name="connsiteY42" fmla="*/ 164071 h 171527"/>
                    <a:gd name="connsiteX43" fmla="*/ 158724 w 165944"/>
                    <a:gd name="connsiteY43" fmla="*/ 165692 h 171527"/>
                    <a:gd name="connsiteX44" fmla="*/ 157282 w 165944"/>
                    <a:gd name="connsiteY44" fmla="*/ 170126 h 171527"/>
                    <a:gd name="connsiteX45" fmla="*/ 155700 w 165944"/>
                    <a:gd name="connsiteY45" fmla="*/ 171413 h 171527"/>
                    <a:gd name="connsiteX46" fmla="*/ 154869 w 165944"/>
                    <a:gd name="connsiteY46" fmla="*/ 171527 h 171527"/>
                    <a:gd name="connsiteX47" fmla="*/ 150134 w 165944"/>
                    <a:gd name="connsiteY47" fmla="*/ 167379 h 171527"/>
                    <a:gd name="connsiteX48" fmla="*/ 149401 w 165944"/>
                    <a:gd name="connsiteY48" fmla="*/ 167143 h 171527"/>
                    <a:gd name="connsiteX49" fmla="*/ 148374 w 165944"/>
                    <a:gd name="connsiteY49" fmla="*/ 167958 h 171527"/>
                    <a:gd name="connsiteX50" fmla="*/ 147632 w 165944"/>
                    <a:gd name="connsiteY50" fmla="*/ 168806 h 171527"/>
                    <a:gd name="connsiteX51" fmla="*/ 145432 w 165944"/>
                    <a:gd name="connsiteY51" fmla="*/ 165668 h 171527"/>
                    <a:gd name="connsiteX52" fmla="*/ 143818 w 165944"/>
                    <a:gd name="connsiteY52" fmla="*/ 162889 h 171527"/>
                    <a:gd name="connsiteX53" fmla="*/ 141577 w 165944"/>
                    <a:gd name="connsiteY53" fmla="*/ 159564 h 171527"/>
                    <a:gd name="connsiteX54" fmla="*/ 139393 w 165944"/>
                    <a:gd name="connsiteY54" fmla="*/ 158072 h 171527"/>
                    <a:gd name="connsiteX55" fmla="*/ 137054 w 165944"/>
                    <a:gd name="connsiteY55" fmla="*/ 156206 h 171527"/>
                    <a:gd name="connsiteX56" fmla="*/ 134764 w 165944"/>
                    <a:gd name="connsiteY56" fmla="*/ 151854 h 171527"/>
                    <a:gd name="connsiteX57" fmla="*/ 132417 w 165944"/>
                    <a:gd name="connsiteY57" fmla="*/ 147054 h 171527"/>
                    <a:gd name="connsiteX58" fmla="*/ 128937 w 165944"/>
                    <a:gd name="connsiteY58" fmla="*/ 143142 h 171527"/>
                    <a:gd name="connsiteX59" fmla="*/ 122441 w 165944"/>
                    <a:gd name="connsiteY59" fmla="*/ 137478 h 171527"/>
                    <a:gd name="connsiteX60" fmla="*/ 116476 w 165944"/>
                    <a:gd name="connsiteY60" fmla="*/ 130298 h 171527"/>
                    <a:gd name="connsiteX61" fmla="*/ 111912 w 165944"/>
                    <a:gd name="connsiteY61" fmla="*/ 122792 h 171527"/>
                    <a:gd name="connsiteX62" fmla="*/ 108978 w 165944"/>
                    <a:gd name="connsiteY62" fmla="*/ 118888 h 171527"/>
                    <a:gd name="connsiteX63" fmla="*/ 107723 w 165944"/>
                    <a:gd name="connsiteY63" fmla="*/ 117886 h 171527"/>
                    <a:gd name="connsiteX64" fmla="*/ 101651 w 165944"/>
                    <a:gd name="connsiteY64" fmla="*/ 115433 h 171527"/>
                    <a:gd name="connsiteX65" fmla="*/ 97405 w 165944"/>
                    <a:gd name="connsiteY65" fmla="*/ 112002 h 171527"/>
                    <a:gd name="connsiteX66" fmla="*/ 94129 w 165944"/>
                    <a:gd name="connsiteY66" fmla="*/ 109166 h 171527"/>
                    <a:gd name="connsiteX67" fmla="*/ 92133 w 165944"/>
                    <a:gd name="connsiteY67" fmla="*/ 108416 h 171527"/>
                    <a:gd name="connsiteX68" fmla="*/ 90185 w 165944"/>
                    <a:gd name="connsiteY68" fmla="*/ 108318 h 171527"/>
                    <a:gd name="connsiteX69" fmla="*/ 86037 w 165944"/>
                    <a:gd name="connsiteY69" fmla="*/ 108881 h 171527"/>
                    <a:gd name="connsiteX70" fmla="*/ 82589 w 165944"/>
                    <a:gd name="connsiteY70" fmla="*/ 107104 h 171527"/>
                    <a:gd name="connsiteX71" fmla="*/ 81147 w 165944"/>
                    <a:gd name="connsiteY71" fmla="*/ 107104 h 171527"/>
                    <a:gd name="connsiteX72" fmla="*/ 78841 w 165944"/>
                    <a:gd name="connsiteY72" fmla="*/ 106582 h 171527"/>
                    <a:gd name="connsiteX73" fmla="*/ 77023 w 165944"/>
                    <a:gd name="connsiteY73" fmla="*/ 105955 h 171527"/>
                    <a:gd name="connsiteX74" fmla="*/ 74896 w 165944"/>
                    <a:gd name="connsiteY74" fmla="*/ 106713 h 171527"/>
                    <a:gd name="connsiteX75" fmla="*/ 70536 w 165944"/>
                    <a:gd name="connsiteY75" fmla="*/ 107976 h 171527"/>
                    <a:gd name="connsiteX76" fmla="*/ 68743 w 165944"/>
                    <a:gd name="connsiteY76" fmla="*/ 107707 h 171527"/>
                    <a:gd name="connsiteX77" fmla="*/ 67773 w 165944"/>
                    <a:gd name="connsiteY77" fmla="*/ 105939 h 171527"/>
                    <a:gd name="connsiteX78" fmla="*/ 67195 w 165944"/>
                    <a:gd name="connsiteY78" fmla="*/ 104586 h 171527"/>
                    <a:gd name="connsiteX79" fmla="*/ 65670 w 165944"/>
                    <a:gd name="connsiteY79" fmla="*/ 103176 h 171527"/>
                    <a:gd name="connsiteX80" fmla="*/ 64432 w 165944"/>
                    <a:gd name="connsiteY80" fmla="*/ 103176 h 171527"/>
                    <a:gd name="connsiteX81" fmla="*/ 63731 w 165944"/>
                    <a:gd name="connsiteY81" fmla="*/ 104431 h 171527"/>
                    <a:gd name="connsiteX82" fmla="*/ 59167 w 165944"/>
                    <a:gd name="connsiteY82" fmla="*/ 107617 h 171527"/>
                    <a:gd name="connsiteX83" fmla="*/ 51539 w 165944"/>
                    <a:gd name="connsiteY83" fmla="*/ 109378 h 171527"/>
                    <a:gd name="connsiteX84" fmla="*/ 49730 w 165944"/>
                    <a:gd name="connsiteY84" fmla="*/ 109247 h 171527"/>
                    <a:gd name="connsiteX85" fmla="*/ 48369 w 165944"/>
                    <a:gd name="connsiteY85" fmla="*/ 107976 h 171527"/>
                    <a:gd name="connsiteX86" fmla="*/ 44506 w 165944"/>
                    <a:gd name="connsiteY86" fmla="*/ 102524 h 171527"/>
                    <a:gd name="connsiteX87" fmla="*/ 43405 w 165944"/>
                    <a:gd name="connsiteY87" fmla="*/ 101635 h 171527"/>
                    <a:gd name="connsiteX88" fmla="*/ 42541 w 165944"/>
                    <a:gd name="connsiteY88" fmla="*/ 101554 h 171527"/>
                    <a:gd name="connsiteX89" fmla="*/ 40757 w 165944"/>
                    <a:gd name="connsiteY89" fmla="*/ 100910 h 171527"/>
                    <a:gd name="connsiteX90" fmla="*/ 39086 w 165944"/>
                    <a:gd name="connsiteY90" fmla="*/ 99859 h 171527"/>
                    <a:gd name="connsiteX91" fmla="*/ 37619 w 165944"/>
                    <a:gd name="connsiteY91" fmla="*/ 97626 h 171527"/>
                    <a:gd name="connsiteX92" fmla="*/ 36136 w 165944"/>
                    <a:gd name="connsiteY92" fmla="*/ 96362 h 171527"/>
                    <a:gd name="connsiteX93" fmla="*/ 34555 w 165944"/>
                    <a:gd name="connsiteY93" fmla="*/ 100739 h 171527"/>
                    <a:gd name="connsiteX94" fmla="*/ 31784 w 165944"/>
                    <a:gd name="connsiteY94" fmla="*/ 108383 h 171527"/>
                    <a:gd name="connsiteX95" fmla="*/ 30292 w 165944"/>
                    <a:gd name="connsiteY95" fmla="*/ 112475 h 171527"/>
                    <a:gd name="connsiteX96" fmla="*/ 28385 w 165944"/>
                    <a:gd name="connsiteY96" fmla="*/ 117747 h 171527"/>
                    <a:gd name="connsiteX97" fmla="*/ 27774 w 165944"/>
                    <a:gd name="connsiteY97" fmla="*/ 117910 h 171527"/>
                    <a:gd name="connsiteX98" fmla="*/ 26788 w 165944"/>
                    <a:gd name="connsiteY98" fmla="*/ 117535 h 171527"/>
                    <a:gd name="connsiteX99" fmla="*/ 22982 w 165944"/>
                    <a:gd name="connsiteY99" fmla="*/ 110959 h 171527"/>
                    <a:gd name="connsiteX100" fmla="*/ 20594 w 165944"/>
                    <a:gd name="connsiteY100" fmla="*/ 108489 h 171527"/>
                    <a:gd name="connsiteX101" fmla="*/ 18809 w 165944"/>
                    <a:gd name="connsiteY101" fmla="*/ 108726 h 171527"/>
                    <a:gd name="connsiteX102" fmla="*/ 17506 w 165944"/>
                    <a:gd name="connsiteY102" fmla="*/ 109940 h 171527"/>
                    <a:gd name="connsiteX103" fmla="*/ 16682 w 165944"/>
                    <a:gd name="connsiteY103" fmla="*/ 112132 h 171527"/>
                    <a:gd name="connsiteX104" fmla="*/ 15786 w 165944"/>
                    <a:gd name="connsiteY104" fmla="*/ 113493 h 171527"/>
                    <a:gd name="connsiteX105" fmla="*/ 14824 w 165944"/>
                    <a:gd name="connsiteY105" fmla="*/ 114015 h 171527"/>
                    <a:gd name="connsiteX106" fmla="*/ 12738 w 165944"/>
                    <a:gd name="connsiteY106" fmla="*/ 113754 h 171527"/>
                    <a:gd name="connsiteX107" fmla="*/ 9543 w 165944"/>
                    <a:gd name="connsiteY107" fmla="*/ 112711 h 171527"/>
                    <a:gd name="connsiteX108" fmla="*/ 6259 w 165944"/>
                    <a:gd name="connsiteY108" fmla="*/ 112931 h 171527"/>
                    <a:gd name="connsiteX109" fmla="*/ 2861 w 165944"/>
                    <a:gd name="connsiteY109" fmla="*/ 114439 h 171527"/>
                    <a:gd name="connsiteX110" fmla="*/ 2412 w 165944"/>
                    <a:gd name="connsiteY110" fmla="*/ 114479 h 171527"/>
                    <a:gd name="connsiteX111" fmla="*/ 1622 w 165944"/>
                    <a:gd name="connsiteY111" fmla="*/ 105735 h 171527"/>
                    <a:gd name="connsiteX112" fmla="*/ 1084 w 165944"/>
                    <a:gd name="connsiteY112" fmla="*/ 99891 h 171527"/>
                    <a:gd name="connsiteX113" fmla="*/ 530 w 165944"/>
                    <a:gd name="connsiteY113" fmla="*/ 93698 h 171527"/>
                    <a:gd name="connsiteX114" fmla="*/ 0 w 165944"/>
                    <a:gd name="connsiteY114" fmla="*/ 87846 h 171527"/>
                    <a:gd name="connsiteX115" fmla="*/ 2355 w 165944"/>
                    <a:gd name="connsiteY115" fmla="*/ 84252 h 171527"/>
                    <a:gd name="connsiteX116" fmla="*/ 3456 w 165944"/>
                    <a:gd name="connsiteY116" fmla="*/ 80837 h 171527"/>
                    <a:gd name="connsiteX117" fmla="*/ 6267 w 165944"/>
                    <a:gd name="connsiteY117" fmla="*/ 69737 h 171527"/>
                    <a:gd name="connsiteX118" fmla="*/ 7392 w 165944"/>
                    <a:gd name="connsiteY118" fmla="*/ 67521 h 171527"/>
                    <a:gd name="connsiteX119" fmla="*/ 9592 w 165944"/>
                    <a:gd name="connsiteY119" fmla="*/ 61571 h 171527"/>
                    <a:gd name="connsiteX120" fmla="*/ 9910 w 165944"/>
                    <a:gd name="connsiteY120" fmla="*/ 59852 h 171527"/>
                    <a:gd name="connsiteX121" fmla="*/ 12086 w 165944"/>
                    <a:gd name="connsiteY121" fmla="*/ 52346 h 171527"/>
                    <a:gd name="connsiteX122" fmla="*/ 11890 w 165944"/>
                    <a:gd name="connsiteY122" fmla="*/ 47350 h 171527"/>
                    <a:gd name="connsiteX123" fmla="*/ 11450 w 165944"/>
                    <a:gd name="connsiteY123" fmla="*/ 42297 h 171527"/>
                    <a:gd name="connsiteX124" fmla="*/ 12640 w 165944"/>
                    <a:gd name="connsiteY124" fmla="*/ 39306 h 171527"/>
                    <a:gd name="connsiteX125" fmla="*/ 13708 w 165944"/>
                    <a:gd name="connsiteY125" fmla="*/ 36918 h 171527"/>
                    <a:gd name="connsiteX126" fmla="*/ 13626 w 165944"/>
                    <a:gd name="connsiteY126" fmla="*/ 34905 h 171527"/>
                    <a:gd name="connsiteX127" fmla="*/ 14115 w 165944"/>
                    <a:gd name="connsiteY127" fmla="*/ 30195 h 171527"/>
                    <a:gd name="connsiteX128" fmla="*/ 14458 w 165944"/>
                    <a:gd name="connsiteY128" fmla="*/ 29013 h 171527"/>
                    <a:gd name="connsiteX129" fmla="*/ 15753 w 165944"/>
                    <a:gd name="connsiteY129" fmla="*/ 28940 h 171527"/>
                    <a:gd name="connsiteX130" fmla="*/ 18443 w 165944"/>
                    <a:gd name="connsiteY130" fmla="*/ 29551 h 171527"/>
                    <a:gd name="connsiteX131" fmla="*/ 20399 w 165944"/>
                    <a:gd name="connsiteY131" fmla="*/ 29070 h 171527"/>
                    <a:gd name="connsiteX132" fmla="*/ 22672 w 165944"/>
                    <a:gd name="connsiteY132" fmla="*/ 29070 h 171527"/>
                    <a:gd name="connsiteX133" fmla="*/ 24433 w 165944"/>
                    <a:gd name="connsiteY133" fmla="*/ 28923 h 171527"/>
                    <a:gd name="connsiteX134" fmla="*/ 25476 w 165944"/>
                    <a:gd name="connsiteY134" fmla="*/ 27481 h 171527"/>
                    <a:gd name="connsiteX135" fmla="*/ 26886 w 165944"/>
                    <a:gd name="connsiteY135" fmla="*/ 21988 h 171527"/>
                    <a:gd name="connsiteX136" fmla="*/ 27807 w 165944"/>
                    <a:gd name="connsiteY136" fmla="*/ 20888 h 171527"/>
                    <a:gd name="connsiteX137" fmla="*/ 28516 w 165944"/>
                    <a:gd name="connsiteY137" fmla="*/ 20554 h 171527"/>
                    <a:gd name="connsiteX138" fmla="*/ 30521 w 165944"/>
                    <a:gd name="connsiteY138" fmla="*/ 19535 h 171527"/>
                    <a:gd name="connsiteX139" fmla="*/ 32240 w 165944"/>
                    <a:gd name="connsiteY139" fmla="*/ 17938 h 171527"/>
                    <a:gd name="connsiteX140" fmla="*/ 33634 w 165944"/>
                    <a:gd name="connsiteY140" fmla="*/ 16788 h 171527"/>
                    <a:gd name="connsiteX141" fmla="*/ 34155 w 165944"/>
                    <a:gd name="connsiteY141" fmla="*/ 16560 h 171527"/>
                    <a:gd name="connsiteX142" fmla="*/ 35639 w 165944"/>
                    <a:gd name="connsiteY142" fmla="*/ 16414 h 171527"/>
                    <a:gd name="connsiteX143" fmla="*/ 37114 w 165944"/>
                    <a:gd name="connsiteY143" fmla="*/ 15737 h 171527"/>
                    <a:gd name="connsiteX144" fmla="*/ 37798 w 165944"/>
                    <a:gd name="connsiteY144" fmla="*/ 14963 h 171527"/>
                    <a:gd name="connsiteX145" fmla="*/ 39665 w 165944"/>
                    <a:gd name="connsiteY145" fmla="*/ 14344 h 171527"/>
                    <a:gd name="connsiteX146" fmla="*/ 41490 w 165944"/>
                    <a:gd name="connsiteY146" fmla="*/ 14694 h 171527"/>
                    <a:gd name="connsiteX147" fmla="*/ 42721 w 165944"/>
                    <a:gd name="connsiteY147" fmla="*/ 14018 h 171527"/>
                    <a:gd name="connsiteX148" fmla="*/ 43536 w 165944"/>
                    <a:gd name="connsiteY148" fmla="*/ 13578 h 171527"/>
                    <a:gd name="connsiteX149" fmla="*/ 44465 w 165944"/>
                    <a:gd name="connsiteY149" fmla="*/ 13545 h 171527"/>
                    <a:gd name="connsiteX150" fmla="*/ 45320 w 165944"/>
                    <a:gd name="connsiteY150" fmla="*/ 12901 h 171527"/>
                    <a:gd name="connsiteX151" fmla="*/ 45663 w 165944"/>
                    <a:gd name="connsiteY151" fmla="*/ 11923 h 171527"/>
                    <a:gd name="connsiteX152" fmla="*/ 46217 w 165944"/>
                    <a:gd name="connsiteY152" fmla="*/ 11304 h 171527"/>
                    <a:gd name="connsiteX153" fmla="*/ 47635 w 165944"/>
                    <a:gd name="connsiteY153" fmla="*/ 9878 h 171527"/>
                    <a:gd name="connsiteX154" fmla="*/ 48303 w 165944"/>
                    <a:gd name="connsiteY154" fmla="*/ 8843 h 171527"/>
                    <a:gd name="connsiteX155" fmla="*/ 48597 w 165944"/>
                    <a:gd name="connsiteY155" fmla="*/ 7808 h 171527"/>
                    <a:gd name="connsiteX156" fmla="*/ 48882 w 165944"/>
                    <a:gd name="connsiteY156" fmla="*/ 6976 h 171527"/>
                    <a:gd name="connsiteX157" fmla="*/ 49501 w 165944"/>
                    <a:gd name="connsiteY157" fmla="*/ 5575 h 171527"/>
                    <a:gd name="connsiteX158" fmla="*/ 51995 w 165944"/>
                    <a:gd name="connsiteY158" fmla="*/ 2054 h 171527"/>
                    <a:gd name="connsiteX159" fmla="*/ 54147 w 165944"/>
                    <a:gd name="connsiteY159" fmla="*/ 0 h 17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65944" h="171527">
                      <a:moveTo>
                        <a:pt x="54147" y="0"/>
                      </a:moveTo>
                      <a:lnTo>
                        <a:pt x="61644" y="17718"/>
                      </a:lnTo>
                      <a:lnTo>
                        <a:pt x="64685" y="28182"/>
                      </a:lnTo>
                      <a:lnTo>
                        <a:pt x="67366" y="39086"/>
                      </a:lnTo>
                      <a:lnTo>
                        <a:pt x="69346" y="55451"/>
                      </a:lnTo>
                      <a:lnTo>
                        <a:pt x="71237" y="63772"/>
                      </a:lnTo>
                      <a:lnTo>
                        <a:pt x="74301" y="67871"/>
                      </a:lnTo>
                      <a:lnTo>
                        <a:pt x="76395" y="75638"/>
                      </a:lnTo>
                      <a:lnTo>
                        <a:pt x="78188" y="75931"/>
                      </a:lnTo>
                      <a:lnTo>
                        <a:pt x="79492" y="78066"/>
                      </a:lnTo>
                      <a:lnTo>
                        <a:pt x="81701" y="85352"/>
                      </a:lnTo>
                      <a:lnTo>
                        <a:pt x="83323" y="88066"/>
                      </a:lnTo>
                      <a:lnTo>
                        <a:pt x="84162" y="85735"/>
                      </a:lnTo>
                      <a:lnTo>
                        <a:pt x="84056" y="84391"/>
                      </a:lnTo>
                      <a:lnTo>
                        <a:pt x="83437" y="82149"/>
                      </a:lnTo>
                      <a:lnTo>
                        <a:pt x="84015" y="79256"/>
                      </a:lnTo>
                      <a:lnTo>
                        <a:pt x="85254" y="77528"/>
                      </a:lnTo>
                      <a:lnTo>
                        <a:pt x="88099" y="79884"/>
                      </a:lnTo>
                      <a:lnTo>
                        <a:pt x="89647" y="81669"/>
                      </a:lnTo>
                      <a:lnTo>
                        <a:pt x="90071" y="85246"/>
                      </a:lnTo>
                      <a:lnTo>
                        <a:pt x="90715" y="87235"/>
                      </a:lnTo>
                      <a:lnTo>
                        <a:pt x="93689" y="91440"/>
                      </a:lnTo>
                      <a:lnTo>
                        <a:pt x="96208" y="92663"/>
                      </a:lnTo>
                      <a:lnTo>
                        <a:pt x="99459" y="92972"/>
                      </a:lnTo>
                      <a:lnTo>
                        <a:pt x="102181" y="93893"/>
                      </a:lnTo>
                      <a:lnTo>
                        <a:pt x="104365" y="95434"/>
                      </a:lnTo>
                      <a:lnTo>
                        <a:pt x="108464" y="99688"/>
                      </a:lnTo>
                      <a:lnTo>
                        <a:pt x="117812" y="103420"/>
                      </a:lnTo>
                      <a:lnTo>
                        <a:pt x="125334" y="114870"/>
                      </a:lnTo>
                      <a:lnTo>
                        <a:pt x="129760" y="122800"/>
                      </a:lnTo>
                      <a:lnTo>
                        <a:pt x="144316" y="134813"/>
                      </a:lnTo>
                      <a:lnTo>
                        <a:pt x="146833" y="140567"/>
                      </a:lnTo>
                      <a:lnTo>
                        <a:pt x="148146" y="146190"/>
                      </a:lnTo>
                      <a:lnTo>
                        <a:pt x="151210" y="145921"/>
                      </a:lnTo>
                      <a:lnTo>
                        <a:pt x="156459" y="152074"/>
                      </a:lnTo>
                      <a:lnTo>
                        <a:pt x="157991" y="156752"/>
                      </a:lnTo>
                      <a:lnTo>
                        <a:pt x="162294" y="158447"/>
                      </a:lnTo>
                      <a:lnTo>
                        <a:pt x="163019" y="155684"/>
                      </a:lnTo>
                      <a:lnTo>
                        <a:pt x="165097" y="157958"/>
                      </a:lnTo>
                      <a:lnTo>
                        <a:pt x="165945" y="161471"/>
                      </a:lnTo>
                      <a:lnTo>
                        <a:pt x="163190" y="162873"/>
                      </a:lnTo>
                      <a:lnTo>
                        <a:pt x="160158" y="164119"/>
                      </a:lnTo>
                      <a:lnTo>
                        <a:pt x="159727" y="164071"/>
                      </a:lnTo>
                      <a:lnTo>
                        <a:pt x="158724" y="165692"/>
                      </a:lnTo>
                      <a:lnTo>
                        <a:pt x="157282" y="170126"/>
                      </a:lnTo>
                      <a:lnTo>
                        <a:pt x="155700" y="171413"/>
                      </a:lnTo>
                      <a:lnTo>
                        <a:pt x="154869" y="171527"/>
                      </a:lnTo>
                      <a:lnTo>
                        <a:pt x="150134" y="167379"/>
                      </a:lnTo>
                      <a:lnTo>
                        <a:pt x="149401" y="167143"/>
                      </a:lnTo>
                      <a:lnTo>
                        <a:pt x="148374" y="167958"/>
                      </a:lnTo>
                      <a:lnTo>
                        <a:pt x="147632" y="168806"/>
                      </a:lnTo>
                      <a:lnTo>
                        <a:pt x="145432" y="165668"/>
                      </a:lnTo>
                      <a:lnTo>
                        <a:pt x="143818" y="162889"/>
                      </a:lnTo>
                      <a:lnTo>
                        <a:pt x="141577" y="159564"/>
                      </a:lnTo>
                      <a:lnTo>
                        <a:pt x="139393" y="158072"/>
                      </a:lnTo>
                      <a:lnTo>
                        <a:pt x="137054" y="156206"/>
                      </a:lnTo>
                      <a:lnTo>
                        <a:pt x="134764" y="151854"/>
                      </a:lnTo>
                      <a:lnTo>
                        <a:pt x="132417" y="147054"/>
                      </a:lnTo>
                      <a:lnTo>
                        <a:pt x="128937" y="143142"/>
                      </a:lnTo>
                      <a:lnTo>
                        <a:pt x="122441" y="137478"/>
                      </a:lnTo>
                      <a:lnTo>
                        <a:pt x="116476" y="130298"/>
                      </a:lnTo>
                      <a:lnTo>
                        <a:pt x="111912" y="122792"/>
                      </a:lnTo>
                      <a:lnTo>
                        <a:pt x="108978" y="118888"/>
                      </a:lnTo>
                      <a:lnTo>
                        <a:pt x="107723" y="117886"/>
                      </a:lnTo>
                      <a:lnTo>
                        <a:pt x="101651" y="115433"/>
                      </a:lnTo>
                      <a:lnTo>
                        <a:pt x="97405" y="112002"/>
                      </a:lnTo>
                      <a:lnTo>
                        <a:pt x="94129" y="109166"/>
                      </a:lnTo>
                      <a:lnTo>
                        <a:pt x="92133" y="108416"/>
                      </a:lnTo>
                      <a:lnTo>
                        <a:pt x="90185" y="108318"/>
                      </a:lnTo>
                      <a:lnTo>
                        <a:pt x="86037" y="108881"/>
                      </a:lnTo>
                      <a:lnTo>
                        <a:pt x="82589" y="107104"/>
                      </a:lnTo>
                      <a:lnTo>
                        <a:pt x="81147" y="107104"/>
                      </a:lnTo>
                      <a:lnTo>
                        <a:pt x="78841" y="106582"/>
                      </a:lnTo>
                      <a:lnTo>
                        <a:pt x="77023" y="105955"/>
                      </a:lnTo>
                      <a:lnTo>
                        <a:pt x="74896" y="106713"/>
                      </a:lnTo>
                      <a:lnTo>
                        <a:pt x="70536" y="107976"/>
                      </a:lnTo>
                      <a:lnTo>
                        <a:pt x="68743" y="107707"/>
                      </a:lnTo>
                      <a:lnTo>
                        <a:pt x="67773" y="105939"/>
                      </a:lnTo>
                      <a:lnTo>
                        <a:pt x="67195" y="104586"/>
                      </a:lnTo>
                      <a:lnTo>
                        <a:pt x="65670" y="103176"/>
                      </a:lnTo>
                      <a:lnTo>
                        <a:pt x="64432" y="103176"/>
                      </a:lnTo>
                      <a:lnTo>
                        <a:pt x="63731" y="104431"/>
                      </a:lnTo>
                      <a:lnTo>
                        <a:pt x="59167" y="107617"/>
                      </a:lnTo>
                      <a:lnTo>
                        <a:pt x="51539" y="109378"/>
                      </a:lnTo>
                      <a:lnTo>
                        <a:pt x="49730" y="109247"/>
                      </a:lnTo>
                      <a:lnTo>
                        <a:pt x="48369" y="107976"/>
                      </a:lnTo>
                      <a:lnTo>
                        <a:pt x="44506" y="102524"/>
                      </a:lnTo>
                      <a:lnTo>
                        <a:pt x="43405" y="101635"/>
                      </a:lnTo>
                      <a:lnTo>
                        <a:pt x="42541" y="101554"/>
                      </a:lnTo>
                      <a:lnTo>
                        <a:pt x="40757" y="100910"/>
                      </a:lnTo>
                      <a:lnTo>
                        <a:pt x="39086" y="99859"/>
                      </a:lnTo>
                      <a:lnTo>
                        <a:pt x="37619" y="97626"/>
                      </a:lnTo>
                      <a:lnTo>
                        <a:pt x="36136" y="96362"/>
                      </a:lnTo>
                      <a:lnTo>
                        <a:pt x="34555" y="100739"/>
                      </a:lnTo>
                      <a:lnTo>
                        <a:pt x="31784" y="108383"/>
                      </a:lnTo>
                      <a:lnTo>
                        <a:pt x="30292" y="112475"/>
                      </a:lnTo>
                      <a:lnTo>
                        <a:pt x="28385" y="117747"/>
                      </a:lnTo>
                      <a:lnTo>
                        <a:pt x="27774" y="117910"/>
                      </a:lnTo>
                      <a:lnTo>
                        <a:pt x="26788" y="117535"/>
                      </a:lnTo>
                      <a:lnTo>
                        <a:pt x="22982" y="110959"/>
                      </a:lnTo>
                      <a:lnTo>
                        <a:pt x="20594" y="108489"/>
                      </a:lnTo>
                      <a:lnTo>
                        <a:pt x="18809" y="108726"/>
                      </a:lnTo>
                      <a:lnTo>
                        <a:pt x="17506" y="109940"/>
                      </a:lnTo>
                      <a:lnTo>
                        <a:pt x="16682" y="112132"/>
                      </a:lnTo>
                      <a:lnTo>
                        <a:pt x="15786" y="113493"/>
                      </a:lnTo>
                      <a:lnTo>
                        <a:pt x="14824" y="114015"/>
                      </a:lnTo>
                      <a:lnTo>
                        <a:pt x="12738" y="113754"/>
                      </a:lnTo>
                      <a:lnTo>
                        <a:pt x="9543" y="112711"/>
                      </a:lnTo>
                      <a:lnTo>
                        <a:pt x="6259" y="112931"/>
                      </a:lnTo>
                      <a:lnTo>
                        <a:pt x="2861" y="114439"/>
                      </a:lnTo>
                      <a:lnTo>
                        <a:pt x="2412" y="114479"/>
                      </a:lnTo>
                      <a:lnTo>
                        <a:pt x="1622" y="105735"/>
                      </a:lnTo>
                      <a:lnTo>
                        <a:pt x="1084" y="99891"/>
                      </a:lnTo>
                      <a:lnTo>
                        <a:pt x="530" y="93698"/>
                      </a:lnTo>
                      <a:lnTo>
                        <a:pt x="0" y="87846"/>
                      </a:lnTo>
                      <a:lnTo>
                        <a:pt x="2355" y="84252"/>
                      </a:lnTo>
                      <a:lnTo>
                        <a:pt x="3456" y="80837"/>
                      </a:lnTo>
                      <a:lnTo>
                        <a:pt x="6267" y="69737"/>
                      </a:lnTo>
                      <a:lnTo>
                        <a:pt x="7392" y="67521"/>
                      </a:lnTo>
                      <a:lnTo>
                        <a:pt x="9592" y="61571"/>
                      </a:lnTo>
                      <a:lnTo>
                        <a:pt x="9910" y="59852"/>
                      </a:lnTo>
                      <a:lnTo>
                        <a:pt x="12086" y="52346"/>
                      </a:lnTo>
                      <a:lnTo>
                        <a:pt x="11890" y="47350"/>
                      </a:lnTo>
                      <a:lnTo>
                        <a:pt x="11450" y="42297"/>
                      </a:lnTo>
                      <a:lnTo>
                        <a:pt x="12640" y="39306"/>
                      </a:lnTo>
                      <a:lnTo>
                        <a:pt x="13708" y="36918"/>
                      </a:lnTo>
                      <a:lnTo>
                        <a:pt x="13626" y="34905"/>
                      </a:lnTo>
                      <a:lnTo>
                        <a:pt x="14115" y="30195"/>
                      </a:lnTo>
                      <a:lnTo>
                        <a:pt x="14458" y="29013"/>
                      </a:lnTo>
                      <a:lnTo>
                        <a:pt x="15753" y="28940"/>
                      </a:lnTo>
                      <a:lnTo>
                        <a:pt x="18443" y="29551"/>
                      </a:lnTo>
                      <a:lnTo>
                        <a:pt x="20399" y="29070"/>
                      </a:lnTo>
                      <a:lnTo>
                        <a:pt x="22672" y="29070"/>
                      </a:lnTo>
                      <a:lnTo>
                        <a:pt x="24433" y="28923"/>
                      </a:lnTo>
                      <a:lnTo>
                        <a:pt x="25476" y="27481"/>
                      </a:lnTo>
                      <a:lnTo>
                        <a:pt x="26886" y="21988"/>
                      </a:lnTo>
                      <a:lnTo>
                        <a:pt x="27807" y="20888"/>
                      </a:lnTo>
                      <a:lnTo>
                        <a:pt x="28516" y="20554"/>
                      </a:lnTo>
                      <a:lnTo>
                        <a:pt x="30521" y="19535"/>
                      </a:lnTo>
                      <a:lnTo>
                        <a:pt x="32240" y="17938"/>
                      </a:lnTo>
                      <a:lnTo>
                        <a:pt x="33634" y="16788"/>
                      </a:lnTo>
                      <a:lnTo>
                        <a:pt x="34155" y="16560"/>
                      </a:lnTo>
                      <a:lnTo>
                        <a:pt x="35639" y="16414"/>
                      </a:lnTo>
                      <a:lnTo>
                        <a:pt x="37114" y="15737"/>
                      </a:lnTo>
                      <a:lnTo>
                        <a:pt x="37798" y="14963"/>
                      </a:lnTo>
                      <a:lnTo>
                        <a:pt x="39665" y="14344"/>
                      </a:lnTo>
                      <a:lnTo>
                        <a:pt x="41490" y="14694"/>
                      </a:lnTo>
                      <a:lnTo>
                        <a:pt x="42721" y="14018"/>
                      </a:lnTo>
                      <a:lnTo>
                        <a:pt x="43536" y="13578"/>
                      </a:lnTo>
                      <a:lnTo>
                        <a:pt x="44465" y="13545"/>
                      </a:lnTo>
                      <a:lnTo>
                        <a:pt x="45320" y="12901"/>
                      </a:lnTo>
                      <a:lnTo>
                        <a:pt x="45663" y="11923"/>
                      </a:lnTo>
                      <a:lnTo>
                        <a:pt x="46217" y="11304"/>
                      </a:lnTo>
                      <a:lnTo>
                        <a:pt x="47635" y="9878"/>
                      </a:lnTo>
                      <a:lnTo>
                        <a:pt x="48303" y="8843"/>
                      </a:lnTo>
                      <a:lnTo>
                        <a:pt x="48597" y="7808"/>
                      </a:lnTo>
                      <a:lnTo>
                        <a:pt x="48882" y="6976"/>
                      </a:lnTo>
                      <a:lnTo>
                        <a:pt x="49501" y="5575"/>
                      </a:lnTo>
                      <a:lnTo>
                        <a:pt x="51995" y="2054"/>
                      </a:lnTo>
                      <a:lnTo>
                        <a:pt x="54147" y="0"/>
                      </a:lnTo>
                      <a:close/>
                    </a:path>
                  </a:pathLst>
                </a:custGeom>
                <a:solidFill>
                  <a:srgbClr val="D6D6D2"/>
                </a:solidFill>
                <a:ln w="6112" cap="rnd">
                  <a:solidFill>
                    <a:srgbClr val="FFFFFF"/>
                  </a:solidFill>
                  <a:prstDash val="solid"/>
                  <a:round/>
                </a:ln>
              </p:spPr>
              <p:txBody>
                <a:bodyPr rtlCol="0" anchor="ctr"/>
                <a:lstStyle/>
                <a:p>
                  <a:endParaRPr lang="en-US"/>
                </a:p>
              </p:txBody>
            </p:sp>
            <p:sp>
              <p:nvSpPr>
                <p:cNvPr id="743" name="Freeform: Shape 742">
                  <a:extLst>
                    <a:ext uri="{FF2B5EF4-FFF2-40B4-BE49-F238E27FC236}">
                      <a16:creationId xmlns:a16="http://schemas.microsoft.com/office/drawing/2014/main" id="{0DD07FD4-E5B6-4270-B5A7-2F7C89B49498}"/>
                    </a:ext>
                  </a:extLst>
                </p:cNvPr>
                <p:cNvSpPr/>
                <p:nvPr/>
              </p:nvSpPr>
              <p:spPr>
                <a:xfrm>
                  <a:off x="6556329" y="3551924"/>
                  <a:ext cx="301792" cy="305867"/>
                </a:xfrm>
                <a:custGeom>
                  <a:avLst/>
                  <a:gdLst>
                    <a:gd name="connsiteX0" fmla="*/ 235495 w 301792"/>
                    <a:gd name="connsiteY0" fmla="*/ 10741 h 305867"/>
                    <a:gd name="connsiteX1" fmla="*/ 235853 w 301792"/>
                    <a:gd name="connsiteY1" fmla="*/ 11719 h 305867"/>
                    <a:gd name="connsiteX2" fmla="*/ 236660 w 301792"/>
                    <a:gd name="connsiteY2" fmla="*/ 14425 h 305867"/>
                    <a:gd name="connsiteX3" fmla="*/ 238722 w 301792"/>
                    <a:gd name="connsiteY3" fmla="*/ 21312 h 305867"/>
                    <a:gd name="connsiteX4" fmla="*/ 240515 w 301792"/>
                    <a:gd name="connsiteY4" fmla="*/ 26699 h 305867"/>
                    <a:gd name="connsiteX5" fmla="*/ 242732 w 301792"/>
                    <a:gd name="connsiteY5" fmla="*/ 34156 h 305867"/>
                    <a:gd name="connsiteX6" fmla="*/ 243425 w 301792"/>
                    <a:gd name="connsiteY6" fmla="*/ 37008 h 305867"/>
                    <a:gd name="connsiteX7" fmla="*/ 243718 w 301792"/>
                    <a:gd name="connsiteY7" fmla="*/ 38980 h 305867"/>
                    <a:gd name="connsiteX8" fmla="*/ 246912 w 301792"/>
                    <a:gd name="connsiteY8" fmla="*/ 47163 h 305867"/>
                    <a:gd name="connsiteX9" fmla="*/ 248803 w 301792"/>
                    <a:gd name="connsiteY9" fmla="*/ 53886 h 305867"/>
                    <a:gd name="connsiteX10" fmla="*/ 250205 w 301792"/>
                    <a:gd name="connsiteY10" fmla="*/ 59338 h 305867"/>
                    <a:gd name="connsiteX11" fmla="*/ 252153 w 301792"/>
                    <a:gd name="connsiteY11" fmla="*/ 67284 h 305867"/>
                    <a:gd name="connsiteX12" fmla="*/ 253008 w 301792"/>
                    <a:gd name="connsiteY12" fmla="*/ 70063 h 305867"/>
                    <a:gd name="connsiteX13" fmla="*/ 251615 w 301792"/>
                    <a:gd name="connsiteY13" fmla="*/ 71506 h 305867"/>
                    <a:gd name="connsiteX14" fmla="*/ 248844 w 301792"/>
                    <a:gd name="connsiteY14" fmla="*/ 76681 h 305867"/>
                    <a:gd name="connsiteX15" fmla="*/ 245886 w 301792"/>
                    <a:gd name="connsiteY15" fmla="*/ 93054 h 305867"/>
                    <a:gd name="connsiteX16" fmla="*/ 241648 w 301792"/>
                    <a:gd name="connsiteY16" fmla="*/ 105824 h 305867"/>
                    <a:gd name="connsiteX17" fmla="*/ 241167 w 301792"/>
                    <a:gd name="connsiteY17" fmla="*/ 113811 h 305867"/>
                    <a:gd name="connsiteX18" fmla="*/ 240482 w 301792"/>
                    <a:gd name="connsiteY18" fmla="*/ 116688 h 305867"/>
                    <a:gd name="connsiteX19" fmla="*/ 238477 w 301792"/>
                    <a:gd name="connsiteY19" fmla="*/ 120730 h 305867"/>
                    <a:gd name="connsiteX20" fmla="*/ 236024 w 301792"/>
                    <a:gd name="connsiteY20" fmla="*/ 124691 h 305867"/>
                    <a:gd name="connsiteX21" fmla="*/ 231697 w 301792"/>
                    <a:gd name="connsiteY21" fmla="*/ 122637 h 305867"/>
                    <a:gd name="connsiteX22" fmla="*/ 224631 w 301792"/>
                    <a:gd name="connsiteY22" fmla="*/ 115677 h 305867"/>
                    <a:gd name="connsiteX23" fmla="*/ 220507 w 301792"/>
                    <a:gd name="connsiteY23" fmla="*/ 109068 h 305867"/>
                    <a:gd name="connsiteX24" fmla="*/ 216090 w 301792"/>
                    <a:gd name="connsiteY24" fmla="*/ 104789 h 305867"/>
                    <a:gd name="connsiteX25" fmla="*/ 211917 w 301792"/>
                    <a:gd name="connsiteY25" fmla="*/ 99117 h 305867"/>
                    <a:gd name="connsiteX26" fmla="*/ 210785 w 301792"/>
                    <a:gd name="connsiteY26" fmla="*/ 95042 h 305867"/>
                    <a:gd name="connsiteX27" fmla="*/ 210834 w 301792"/>
                    <a:gd name="connsiteY27" fmla="*/ 92418 h 305867"/>
                    <a:gd name="connsiteX28" fmla="*/ 209008 w 301792"/>
                    <a:gd name="connsiteY28" fmla="*/ 86020 h 305867"/>
                    <a:gd name="connsiteX29" fmla="*/ 207655 w 301792"/>
                    <a:gd name="connsiteY29" fmla="*/ 82989 h 305867"/>
                    <a:gd name="connsiteX30" fmla="*/ 202570 w 301792"/>
                    <a:gd name="connsiteY30" fmla="*/ 76176 h 305867"/>
                    <a:gd name="connsiteX31" fmla="*/ 201111 w 301792"/>
                    <a:gd name="connsiteY31" fmla="*/ 72541 h 305867"/>
                    <a:gd name="connsiteX32" fmla="*/ 199986 w 301792"/>
                    <a:gd name="connsiteY32" fmla="*/ 70935 h 305867"/>
                    <a:gd name="connsiteX33" fmla="*/ 198870 w 301792"/>
                    <a:gd name="connsiteY33" fmla="*/ 68637 h 305867"/>
                    <a:gd name="connsiteX34" fmla="*/ 197020 w 301792"/>
                    <a:gd name="connsiteY34" fmla="*/ 59778 h 305867"/>
                    <a:gd name="connsiteX35" fmla="*/ 195007 w 301792"/>
                    <a:gd name="connsiteY35" fmla="*/ 54147 h 305867"/>
                    <a:gd name="connsiteX36" fmla="*/ 192701 w 301792"/>
                    <a:gd name="connsiteY36" fmla="*/ 55704 h 305867"/>
                    <a:gd name="connsiteX37" fmla="*/ 193116 w 301792"/>
                    <a:gd name="connsiteY37" fmla="*/ 58075 h 305867"/>
                    <a:gd name="connsiteX38" fmla="*/ 191111 w 301792"/>
                    <a:gd name="connsiteY38" fmla="*/ 61351 h 305867"/>
                    <a:gd name="connsiteX39" fmla="*/ 189889 w 301792"/>
                    <a:gd name="connsiteY39" fmla="*/ 65149 h 305867"/>
                    <a:gd name="connsiteX40" fmla="*/ 190826 w 301792"/>
                    <a:gd name="connsiteY40" fmla="*/ 68254 h 305867"/>
                    <a:gd name="connsiteX41" fmla="*/ 194982 w 301792"/>
                    <a:gd name="connsiteY41" fmla="*/ 72973 h 305867"/>
                    <a:gd name="connsiteX42" fmla="*/ 195830 w 301792"/>
                    <a:gd name="connsiteY42" fmla="*/ 75035 h 305867"/>
                    <a:gd name="connsiteX43" fmla="*/ 196800 w 301792"/>
                    <a:gd name="connsiteY43" fmla="*/ 79501 h 305867"/>
                    <a:gd name="connsiteX44" fmla="*/ 196645 w 301792"/>
                    <a:gd name="connsiteY44" fmla="*/ 85572 h 305867"/>
                    <a:gd name="connsiteX45" fmla="*/ 197313 w 301792"/>
                    <a:gd name="connsiteY45" fmla="*/ 87634 h 305867"/>
                    <a:gd name="connsiteX46" fmla="*/ 200434 w 301792"/>
                    <a:gd name="connsiteY46" fmla="*/ 92141 h 305867"/>
                    <a:gd name="connsiteX47" fmla="*/ 201551 w 301792"/>
                    <a:gd name="connsiteY47" fmla="*/ 94814 h 305867"/>
                    <a:gd name="connsiteX48" fmla="*/ 202219 w 301792"/>
                    <a:gd name="connsiteY48" fmla="*/ 97112 h 305867"/>
                    <a:gd name="connsiteX49" fmla="*/ 203254 w 301792"/>
                    <a:gd name="connsiteY49" fmla="*/ 99199 h 305867"/>
                    <a:gd name="connsiteX50" fmla="*/ 206343 w 301792"/>
                    <a:gd name="connsiteY50" fmla="*/ 103119 h 305867"/>
                    <a:gd name="connsiteX51" fmla="*/ 210793 w 301792"/>
                    <a:gd name="connsiteY51" fmla="*/ 110568 h 305867"/>
                    <a:gd name="connsiteX52" fmla="*/ 215006 w 301792"/>
                    <a:gd name="connsiteY52" fmla="*/ 115588 h 305867"/>
                    <a:gd name="connsiteX53" fmla="*/ 218046 w 301792"/>
                    <a:gd name="connsiteY53" fmla="*/ 118008 h 305867"/>
                    <a:gd name="connsiteX54" fmla="*/ 219342 w 301792"/>
                    <a:gd name="connsiteY54" fmla="*/ 120437 h 305867"/>
                    <a:gd name="connsiteX55" fmla="*/ 219643 w 301792"/>
                    <a:gd name="connsiteY55" fmla="*/ 126688 h 305867"/>
                    <a:gd name="connsiteX56" fmla="*/ 219415 w 301792"/>
                    <a:gd name="connsiteY56" fmla="*/ 129670 h 305867"/>
                    <a:gd name="connsiteX57" fmla="*/ 222080 w 301792"/>
                    <a:gd name="connsiteY57" fmla="*/ 135277 h 305867"/>
                    <a:gd name="connsiteX58" fmla="*/ 223066 w 301792"/>
                    <a:gd name="connsiteY58" fmla="*/ 138122 h 305867"/>
                    <a:gd name="connsiteX59" fmla="*/ 225658 w 301792"/>
                    <a:gd name="connsiteY59" fmla="*/ 140428 h 305867"/>
                    <a:gd name="connsiteX60" fmla="*/ 226840 w 301792"/>
                    <a:gd name="connsiteY60" fmla="*/ 143077 h 305867"/>
                    <a:gd name="connsiteX61" fmla="*/ 227923 w 301792"/>
                    <a:gd name="connsiteY61" fmla="*/ 147363 h 305867"/>
                    <a:gd name="connsiteX62" fmla="*/ 229561 w 301792"/>
                    <a:gd name="connsiteY62" fmla="*/ 160036 h 305867"/>
                    <a:gd name="connsiteX63" fmla="*/ 231803 w 301792"/>
                    <a:gd name="connsiteY63" fmla="*/ 163141 h 305867"/>
                    <a:gd name="connsiteX64" fmla="*/ 238746 w 301792"/>
                    <a:gd name="connsiteY64" fmla="*/ 179759 h 305867"/>
                    <a:gd name="connsiteX65" fmla="*/ 244598 w 301792"/>
                    <a:gd name="connsiteY65" fmla="*/ 190264 h 305867"/>
                    <a:gd name="connsiteX66" fmla="*/ 247434 w 301792"/>
                    <a:gd name="connsiteY66" fmla="*/ 198087 h 305867"/>
                    <a:gd name="connsiteX67" fmla="*/ 251737 w 301792"/>
                    <a:gd name="connsiteY67" fmla="*/ 207606 h 305867"/>
                    <a:gd name="connsiteX68" fmla="*/ 260188 w 301792"/>
                    <a:gd name="connsiteY68" fmla="*/ 228470 h 305867"/>
                    <a:gd name="connsiteX69" fmla="*/ 265225 w 301792"/>
                    <a:gd name="connsiteY69" fmla="*/ 234900 h 305867"/>
                    <a:gd name="connsiteX70" fmla="*/ 267230 w 301792"/>
                    <a:gd name="connsiteY70" fmla="*/ 238502 h 305867"/>
                    <a:gd name="connsiteX71" fmla="*/ 270881 w 301792"/>
                    <a:gd name="connsiteY71" fmla="*/ 241289 h 305867"/>
                    <a:gd name="connsiteX72" fmla="*/ 274817 w 301792"/>
                    <a:gd name="connsiteY72" fmla="*/ 245291 h 305867"/>
                    <a:gd name="connsiteX73" fmla="*/ 271060 w 301792"/>
                    <a:gd name="connsiteY73" fmla="*/ 244900 h 305867"/>
                    <a:gd name="connsiteX74" fmla="*/ 270107 w 301792"/>
                    <a:gd name="connsiteY74" fmla="*/ 245144 h 305867"/>
                    <a:gd name="connsiteX75" fmla="*/ 268794 w 301792"/>
                    <a:gd name="connsiteY75" fmla="*/ 245829 h 305867"/>
                    <a:gd name="connsiteX76" fmla="*/ 268159 w 301792"/>
                    <a:gd name="connsiteY76" fmla="*/ 248265 h 305867"/>
                    <a:gd name="connsiteX77" fmla="*/ 267890 w 301792"/>
                    <a:gd name="connsiteY77" fmla="*/ 250254 h 305867"/>
                    <a:gd name="connsiteX78" fmla="*/ 268346 w 301792"/>
                    <a:gd name="connsiteY78" fmla="*/ 260775 h 305867"/>
                    <a:gd name="connsiteX79" fmla="*/ 269381 w 301792"/>
                    <a:gd name="connsiteY79" fmla="*/ 266130 h 305867"/>
                    <a:gd name="connsiteX80" fmla="*/ 272682 w 301792"/>
                    <a:gd name="connsiteY80" fmla="*/ 276260 h 305867"/>
                    <a:gd name="connsiteX81" fmla="*/ 275159 w 301792"/>
                    <a:gd name="connsiteY81" fmla="*/ 279299 h 305867"/>
                    <a:gd name="connsiteX82" fmla="*/ 276366 w 301792"/>
                    <a:gd name="connsiteY82" fmla="*/ 281264 h 305867"/>
                    <a:gd name="connsiteX83" fmla="*/ 278036 w 301792"/>
                    <a:gd name="connsiteY83" fmla="*/ 282698 h 305867"/>
                    <a:gd name="connsiteX84" fmla="*/ 285876 w 301792"/>
                    <a:gd name="connsiteY84" fmla="*/ 286153 h 305867"/>
                    <a:gd name="connsiteX85" fmla="*/ 290465 w 301792"/>
                    <a:gd name="connsiteY85" fmla="*/ 293456 h 305867"/>
                    <a:gd name="connsiteX86" fmla="*/ 300758 w 301792"/>
                    <a:gd name="connsiteY86" fmla="*/ 302673 h 305867"/>
                    <a:gd name="connsiteX87" fmla="*/ 301776 w 301792"/>
                    <a:gd name="connsiteY87" fmla="*/ 305224 h 305867"/>
                    <a:gd name="connsiteX88" fmla="*/ 301793 w 301792"/>
                    <a:gd name="connsiteY88" fmla="*/ 305811 h 305867"/>
                    <a:gd name="connsiteX89" fmla="*/ 293659 w 301792"/>
                    <a:gd name="connsiteY89" fmla="*/ 305811 h 305867"/>
                    <a:gd name="connsiteX90" fmla="*/ 285526 w 301792"/>
                    <a:gd name="connsiteY90" fmla="*/ 305811 h 305867"/>
                    <a:gd name="connsiteX91" fmla="*/ 277376 w 301792"/>
                    <a:gd name="connsiteY91" fmla="*/ 305811 h 305867"/>
                    <a:gd name="connsiteX92" fmla="*/ 269243 w 301792"/>
                    <a:gd name="connsiteY92" fmla="*/ 305819 h 305867"/>
                    <a:gd name="connsiteX93" fmla="*/ 261109 w 301792"/>
                    <a:gd name="connsiteY93" fmla="*/ 305819 h 305867"/>
                    <a:gd name="connsiteX94" fmla="*/ 252968 w 301792"/>
                    <a:gd name="connsiteY94" fmla="*/ 305819 h 305867"/>
                    <a:gd name="connsiteX95" fmla="*/ 244826 w 301792"/>
                    <a:gd name="connsiteY95" fmla="*/ 305819 h 305867"/>
                    <a:gd name="connsiteX96" fmla="*/ 236684 w 301792"/>
                    <a:gd name="connsiteY96" fmla="*/ 305819 h 305867"/>
                    <a:gd name="connsiteX97" fmla="*/ 228559 w 301792"/>
                    <a:gd name="connsiteY97" fmla="*/ 305819 h 305867"/>
                    <a:gd name="connsiteX98" fmla="*/ 220418 w 301792"/>
                    <a:gd name="connsiteY98" fmla="*/ 305827 h 305867"/>
                    <a:gd name="connsiteX99" fmla="*/ 212276 w 301792"/>
                    <a:gd name="connsiteY99" fmla="*/ 305827 h 305867"/>
                    <a:gd name="connsiteX100" fmla="*/ 204134 w 301792"/>
                    <a:gd name="connsiteY100" fmla="*/ 305827 h 305867"/>
                    <a:gd name="connsiteX101" fmla="*/ 196009 w 301792"/>
                    <a:gd name="connsiteY101" fmla="*/ 305835 h 305867"/>
                    <a:gd name="connsiteX102" fmla="*/ 187868 w 301792"/>
                    <a:gd name="connsiteY102" fmla="*/ 305835 h 305867"/>
                    <a:gd name="connsiteX103" fmla="*/ 179726 w 301792"/>
                    <a:gd name="connsiteY103" fmla="*/ 305835 h 305867"/>
                    <a:gd name="connsiteX104" fmla="*/ 171585 w 301792"/>
                    <a:gd name="connsiteY104" fmla="*/ 305835 h 305867"/>
                    <a:gd name="connsiteX105" fmla="*/ 166947 w 301792"/>
                    <a:gd name="connsiteY105" fmla="*/ 305835 h 305867"/>
                    <a:gd name="connsiteX106" fmla="*/ 167730 w 301792"/>
                    <a:gd name="connsiteY106" fmla="*/ 303072 h 305867"/>
                    <a:gd name="connsiteX107" fmla="*/ 168227 w 301792"/>
                    <a:gd name="connsiteY107" fmla="*/ 301116 h 305867"/>
                    <a:gd name="connsiteX108" fmla="*/ 167697 w 301792"/>
                    <a:gd name="connsiteY108" fmla="*/ 299755 h 305867"/>
                    <a:gd name="connsiteX109" fmla="*/ 166092 w 301792"/>
                    <a:gd name="connsiteY109" fmla="*/ 299421 h 305867"/>
                    <a:gd name="connsiteX110" fmla="*/ 165064 w 301792"/>
                    <a:gd name="connsiteY110" fmla="*/ 299845 h 305867"/>
                    <a:gd name="connsiteX111" fmla="*/ 162628 w 301792"/>
                    <a:gd name="connsiteY111" fmla="*/ 305640 h 305867"/>
                    <a:gd name="connsiteX112" fmla="*/ 161357 w 301792"/>
                    <a:gd name="connsiteY112" fmla="*/ 305868 h 305867"/>
                    <a:gd name="connsiteX113" fmla="*/ 158472 w 301792"/>
                    <a:gd name="connsiteY113" fmla="*/ 305868 h 305867"/>
                    <a:gd name="connsiteX114" fmla="*/ 148993 w 301792"/>
                    <a:gd name="connsiteY114" fmla="*/ 305868 h 305867"/>
                    <a:gd name="connsiteX115" fmla="*/ 139523 w 301792"/>
                    <a:gd name="connsiteY115" fmla="*/ 305868 h 305867"/>
                    <a:gd name="connsiteX116" fmla="*/ 130045 w 301792"/>
                    <a:gd name="connsiteY116" fmla="*/ 305859 h 305867"/>
                    <a:gd name="connsiteX117" fmla="*/ 120567 w 301792"/>
                    <a:gd name="connsiteY117" fmla="*/ 305859 h 305867"/>
                    <a:gd name="connsiteX118" fmla="*/ 111097 w 301792"/>
                    <a:gd name="connsiteY118" fmla="*/ 305851 h 305867"/>
                    <a:gd name="connsiteX119" fmla="*/ 101619 w 301792"/>
                    <a:gd name="connsiteY119" fmla="*/ 305851 h 305867"/>
                    <a:gd name="connsiteX120" fmla="*/ 92149 w 301792"/>
                    <a:gd name="connsiteY120" fmla="*/ 305851 h 305867"/>
                    <a:gd name="connsiteX121" fmla="*/ 82671 w 301792"/>
                    <a:gd name="connsiteY121" fmla="*/ 305851 h 305867"/>
                    <a:gd name="connsiteX122" fmla="*/ 73201 w 301792"/>
                    <a:gd name="connsiteY122" fmla="*/ 305851 h 305867"/>
                    <a:gd name="connsiteX123" fmla="*/ 63715 w 301792"/>
                    <a:gd name="connsiteY123" fmla="*/ 305843 h 305867"/>
                    <a:gd name="connsiteX124" fmla="*/ 54253 w 301792"/>
                    <a:gd name="connsiteY124" fmla="*/ 305843 h 305867"/>
                    <a:gd name="connsiteX125" fmla="*/ 44766 w 301792"/>
                    <a:gd name="connsiteY125" fmla="*/ 305843 h 305867"/>
                    <a:gd name="connsiteX126" fmla="*/ 35288 w 301792"/>
                    <a:gd name="connsiteY126" fmla="*/ 305843 h 305867"/>
                    <a:gd name="connsiteX127" fmla="*/ 25818 w 301792"/>
                    <a:gd name="connsiteY127" fmla="*/ 305843 h 305867"/>
                    <a:gd name="connsiteX128" fmla="*/ 16340 w 301792"/>
                    <a:gd name="connsiteY128" fmla="*/ 305835 h 305867"/>
                    <a:gd name="connsiteX129" fmla="*/ 6862 w 301792"/>
                    <a:gd name="connsiteY129" fmla="*/ 305835 h 305867"/>
                    <a:gd name="connsiteX130" fmla="*/ 6862 w 301792"/>
                    <a:gd name="connsiteY130" fmla="*/ 298859 h 305867"/>
                    <a:gd name="connsiteX131" fmla="*/ 6862 w 301792"/>
                    <a:gd name="connsiteY131" fmla="*/ 291874 h 305867"/>
                    <a:gd name="connsiteX132" fmla="*/ 6862 w 301792"/>
                    <a:gd name="connsiteY132" fmla="*/ 284882 h 305867"/>
                    <a:gd name="connsiteX133" fmla="*/ 6862 w 301792"/>
                    <a:gd name="connsiteY133" fmla="*/ 277882 h 305867"/>
                    <a:gd name="connsiteX134" fmla="*/ 6862 w 301792"/>
                    <a:gd name="connsiteY134" fmla="*/ 270881 h 305867"/>
                    <a:gd name="connsiteX135" fmla="*/ 6862 w 301792"/>
                    <a:gd name="connsiteY135" fmla="*/ 263880 h 305867"/>
                    <a:gd name="connsiteX136" fmla="*/ 6862 w 301792"/>
                    <a:gd name="connsiteY136" fmla="*/ 256863 h 305867"/>
                    <a:gd name="connsiteX137" fmla="*/ 6862 w 301792"/>
                    <a:gd name="connsiteY137" fmla="*/ 249846 h 305867"/>
                    <a:gd name="connsiteX138" fmla="*/ 6862 w 301792"/>
                    <a:gd name="connsiteY138" fmla="*/ 242821 h 305867"/>
                    <a:gd name="connsiteX139" fmla="*/ 6862 w 301792"/>
                    <a:gd name="connsiteY139" fmla="*/ 235788 h 305867"/>
                    <a:gd name="connsiteX140" fmla="*/ 6862 w 301792"/>
                    <a:gd name="connsiteY140" fmla="*/ 228755 h 305867"/>
                    <a:gd name="connsiteX141" fmla="*/ 6862 w 301792"/>
                    <a:gd name="connsiteY141" fmla="*/ 221714 h 305867"/>
                    <a:gd name="connsiteX142" fmla="*/ 6862 w 301792"/>
                    <a:gd name="connsiteY142" fmla="*/ 214664 h 305867"/>
                    <a:gd name="connsiteX143" fmla="*/ 6862 w 301792"/>
                    <a:gd name="connsiteY143" fmla="*/ 207606 h 305867"/>
                    <a:gd name="connsiteX144" fmla="*/ 6862 w 301792"/>
                    <a:gd name="connsiteY144" fmla="*/ 200549 h 305867"/>
                    <a:gd name="connsiteX145" fmla="*/ 6862 w 301792"/>
                    <a:gd name="connsiteY145" fmla="*/ 193483 h 305867"/>
                    <a:gd name="connsiteX146" fmla="*/ 6862 w 301792"/>
                    <a:gd name="connsiteY146" fmla="*/ 186409 h 305867"/>
                    <a:gd name="connsiteX147" fmla="*/ 6862 w 301792"/>
                    <a:gd name="connsiteY147" fmla="*/ 179327 h 305867"/>
                    <a:gd name="connsiteX148" fmla="*/ 6862 w 301792"/>
                    <a:gd name="connsiteY148" fmla="*/ 172245 h 305867"/>
                    <a:gd name="connsiteX149" fmla="*/ 6862 w 301792"/>
                    <a:gd name="connsiteY149" fmla="*/ 165146 h 305867"/>
                    <a:gd name="connsiteX150" fmla="*/ 6862 w 301792"/>
                    <a:gd name="connsiteY150" fmla="*/ 158048 h 305867"/>
                    <a:gd name="connsiteX151" fmla="*/ 6862 w 301792"/>
                    <a:gd name="connsiteY151" fmla="*/ 150949 h 305867"/>
                    <a:gd name="connsiteX152" fmla="*/ 6862 w 301792"/>
                    <a:gd name="connsiteY152" fmla="*/ 143835 h 305867"/>
                    <a:gd name="connsiteX153" fmla="*/ 6862 w 301792"/>
                    <a:gd name="connsiteY153" fmla="*/ 136712 h 305867"/>
                    <a:gd name="connsiteX154" fmla="*/ 6862 w 301792"/>
                    <a:gd name="connsiteY154" fmla="*/ 129589 h 305867"/>
                    <a:gd name="connsiteX155" fmla="*/ 6862 w 301792"/>
                    <a:gd name="connsiteY155" fmla="*/ 122458 h 305867"/>
                    <a:gd name="connsiteX156" fmla="*/ 6862 w 301792"/>
                    <a:gd name="connsiteY156" fmla="*/ 115319 h 305867"/>
                    <a:gd name="connsiteX157" fmla="*/ 6862 w 301792"/>
                    <a:gd name="connsiteY157" fmla="*/ 108171 h 305867"/>
                    <a:gd name="connsiteX158" fmla="*/ 6862 w 301792"/>
                    <a:gd name="connsiteY158" fmla="*/ 101016 h 305867"/>
                    <a:gd name="connsiteX159" fmla="*/ 6862 w 301792"/>
                    <a:gd name="connsiteY159" fmla="*/ 93860 h 305867"/>
                    <a:gd name="connsiteX160" fmla="*/ 6862 w 301792"/>
                    <a:gd name="connsiteY160" fmla="*/ 86689 h 305867"/>
                    <a:gd name="connsiteX161" fmla="*/ 6862 w 301792"/>
                    <a:gd name="connsiteY161" fmla="*/ 79517 h 305867"/>
                    <a:gd name="connsiteX162" fmla="*/ 6650 w 301792"/>
                    <a:gd name="connsiteY162" fmla="*/ 78172 h 305867"/>
                    <a:gd name="connsiteX163" fmla="*/ 5281 w 301792"/>
                    <a:gd name="connsiteY163" fmla="*/ 73291 h 305867"/>
                    <a:gd name="connsiteX164" fmla="*/ 4034 w 301792"/>
                    <a:gd name="connsiteY164" fmla="*/ 67089 h 305867"/>
                    <a:gd name="connsiteX165" fmla="*/ 2673 w 301792"/>
                    <a:gd name="connsiteY165" fmla="*/ 59452 h 305867"/>
                    <a:gd name="connsiteX166" fmla="*/ 2494 w 301792"/>
                    <a:gd name="connsiteY166" fmla="*/ 56967 h 305867"/>
                    <a:gd name="connsiteX167" fmla="*/ 203 w 301792"/>
                    <a:gd name="connsiteY167" fmla="*/ 49094 h 305867"/>
                    <a:gd name="connsiteX168" fmla="*/ 0 w 301792"/>
                    <a:gd name="connsiteY168" fmla="*/ 46853 h 305867"/>
                    <a:gd name="connsiteX169" fmla="*/ 571 w 301792"/>
                    <a:gd name="connsiteY169" fmla="*/ 45272 h 305867"/>
                    <a:gd name="connsiteX170" fmla="*/ 4319 w 301792"/>
                    <a:gd name="connsiteY170" fmla="*/ 38622 h 305867"/>
                    <a:gd name="connsiteX171" fmla="*/ 5444 w 301792"/>
                    <a:gd name="connsiteY171" fmla="*/ 35386 h 305867"/>
                    <a:gd name="connsiteX172" fmla="*/ 6406 w 301792"/>
                    <a:gd name="connsiteY172" fmla="*/ 31507 h 305867"/>
                    <a:gd name="connsiteX173" fmla="*/ 6715 w 301792"/>
                    <a:gd name="connsiteY173" fmla="*/ 28345 h 305867"/>
                    <a:gd name="connsiteX174" fmla="*/ 5607 w 301792"/>
                    <a:gd name="connsiteY174" fmla="*/ 23520 h 305867"/>
                    <a:gd name="connsiteX175" fmla="*/ 4319 w 301792"/>
                    <a:gd name="connsiteY175" fmla="*/ 19176 h 305867"/>
                    <a:gd name="connsiteX176" fmla="*/ 3879 w 301792"/>
                    <a:gd name="connsiteY176" fmla="*/ 14718 h 305867"/>
                    <a:gd name="connsiteX177" fmla="*/ 3700 w 301792"/>
                    <a:gd name="connsiteY177" fmla="*/ 10342 h 305867"/>
                    <a:gd name="connsiteX178" fmla="*/ 5623 w 301792"/>
                    <a:gd name="connsiteY178" fmla="*/ 7351 h 305867"/>
                    <a:gd name="connsiteX179" fmla="*/ 7913 w 301792"/>
                    <a:gd name="connsiteY179" fmla="*/ 4556 h 305867"/>
                    <a:gd name="connsiteX180" fmla="*/ 8777 w 301792"/>
                    <a:gd name="connsiteY180" fmla="*/ 2836 h 305867"/>
                    <a:gd name="connsiteX181" fmla="*/ 10138 w 301792"/>
                    <a:gd name="connsiteY181" fmla="*/ 905 h 305867"/>
                    <a:gd name="connsiteX182" fmla="*/ 11100 w 301792"/>
                    <a:gd name="connsiteY182" fmla="*/ 0 h 305867"/>
                    <a:gd name="connsiteX183" fmla="*/ 12950 w 301792"/>
                    <a:gd name="connsiteY183" fmla="*/ 3920 h 305867"/>
                    <a:gd name="connsiteX184" fmla="*/ 16837 w 301792"/>
                    <a:gd name="connsiteY184" fmla="*/ 4597 h 305867"/>
                    <a:gd name="connsiteX185" fmla="*/ 29510 w 301792"/>
                    <a:gd name="connsiteY185" fmla="*/ 1100 h 305867"/>
                    <a:gd name="connsiteX186" fmla="*/ 43503 w 301792"/>
                    <a:gd name="connsiteY186" fmla="*/ 4613 h 305867"/>
                    <a:gd name="connsiteX187" fmla="*/ 51229 w 301792"/>
                    <a:gd name="connsiteY187" fmla="*/ 5966 h 305867"/>
                    <a:gd name="connsiteX188" fmla="*/ 63120 w 301792"/>
                    <a:gd name="connsiteY188" fmla="*/ 8948 h 305867"/>
                    <a:gd name="connsiteX189" fmla="*/ 70349 w 301792"/>
                    <a:gd name="connsiteY189" fmla="*/ 14287 h 305867"/>
                    <a:gd name="connsiteX190" fmla="*/ 72337 w 301792"/>
                    <a:gd name="connsiteY190" fmla="*/ 14963 h 305867"/>
                    <a:gd name="connsiteX191" fmla="*/ 77545 w 301792"/>
                    <a:gd name="connsiteY191" fmla="*/ 14857 h 305867"/>
                    <a:gd name="connsiteX192" fmla="*/ 80960 w 301792"/>
                    <a:gd name="connsiteY192" fmla="*/ 18003 h 305867"/>
                    <a:gd name="connsiteX193" fmla="*/ 94529 w 301792"/>
                    <a:gd name="connsiteY193" fmla="*/ 19519 h 305867"/>
                    <a:gd name="connsiteX194" fmla="*/ 101774 w 301792"/>
                    <a:gd name="connsiteY194" fmla="*/ 22999 h 305867"/>
                    <a:gd name="connsiteX195" fmla="*/ 105889 w 301792"/>
                    <a:gd name="connsiteY195" fmla="*/ 25761 h 305867"/>
                    <a:gd name="connsiteX196" fmla="*/ 108351 w 301792"/>
                    <a:gd name="connsiteY196" fmla="*/ 26617 h 305867"/>
                    <a:gd name="connsiteX197" fmla="*/ 110527 w 301792"/>
                    <a:gd name="connsiteY197" fmla="*/ 26478 h 305867"/>
                    <a:gd name="connsiteX198" fmla="*/ 113477 w 301792"/>
                    <a:gd name="connsiteY198" fmla="*/ 25435 h 305867"/>
                    <a:gd name="connsiteX199" fmla="*/ 117193 w 301792"/>
                    <a:gd name="connsiteY199" fmla="*/ 23488 h 305867"/>
                    <a:gd name="connsiteX200" fmla="*/ 121244 w 301792"/>
                    <a:gd name="connsiteY200" fmla="*/ 20774 h 305867"/>
                    <a:gd name="connsiteX201" fmla="*/ 129630 w 301792"/>
                    <a:gd name="connsiteY201" fmla="*/ 13814 h 305867"/>
                    <a:gd name="connsiteX202" fmla="*/ 132596 w 301792"/>
                    <a:gd name="connsiteY202" fmla="*/ 12583 h 305867"/>
                    <a:gd name="connsiteX203" fmla="*/ 134528 w 301792"/>
                    <a:gd name="connsiteY203" fmla="*/ 12893 h 305867"/>
                    <a:gd name="connsiteX204" fmla="*/ 136883 w 301792"/>
                    <a:gd name="connsiteY204" fmla="*/ 12811 h 305867"/>
                    <a:gd name="connsiteX205" fmla="*/ 137877 w 301792"/>
                    <a:gd name="connsiteY205" fmla="*/ 10929 h 305867"/>
                    <a:gd name="connsiteX206" fmla="*/ 139116 w 301792"/>
                    <a:gd name="connsiteY206" fmla="*/ 9625 h 305867"/>
                    <a:gd name="connsiteX207" fmla="*/ 139890 w 301792"/>
                    <a:gd name="connsiteY207" fmla="*/ 8150 h 305867"/>
                    <a:gd name="connsiteX208" fmla="*/ 141170 w 301792"/>
                    <a:gd name="connsiteY208" fmla="*/ 6381 h 305867"/>
                    <a:gd name="connsiteX209" fmla="*/ 145538 w 301792"/>
                    <a:gd name="connsiteY209" fmla="*/ 5884 h 305867"/>
                    <a:gd name="connsiteX210" fmla="*/ 154274 w 301792"/>
                    <a:gd name="connsiteY210" fmla="*/ 2844 h 305867"/>
                    <a:gd name="connsiteX211" fmla="*/ 153296 w 301792"/>
                    <a:gd name="connsiteY211" fmla="*/ 4287 h 305867"/>
                    <a:gd name="connsiteX212" fmla="*/ 145334 w 301792"/>
                    <a:gd name="connsiteY212" fmla="*/ 7685 h 305867"/>
                    <a:gd name="connsiteX213" fmla="*/ 148741 w 301792"/>
                    <a:gd name="connsiteY213" fmla="*/ 8109 h 305867"/>
                    <a:gd name="connsiteX214" fmla="*/ 152237 w 301792"/>
                    <a:gd name="connsiteY214" fmla="*/ 6952 h 305867"/>
                    <a:gd name="connsiteX215" fmla="*/ 156214 w 301792"/>
                    <a:gd name="connsiteY215" fmla="*/ 6210 h 305867"/>
                    <a:gd name="connsiteX216" fmla="*/ 156931 w 301792"/>
                    <a:gd name="connsiteY216" fmla="*/ 4760 h 305867"/>
                    <a:gd name="connsiteX217" fmla="*/ 157469 w 301792"/>
                    <a:gd name="connsiteY217" fmla="*/ 2046 h 305867"/>
                    <a:gd name="connsiteX218" fmla="*/ 158227 w 301792"/>
                    <a:gd name="connsiteY218" fmla="*/ 1663 h 305867"/>
                    <a:gd name="connsiteX219" fmla="*/ 160974 w 301792"/>
                    <a:gd name="connsiteY219" fmla="*/ 2176 h 305867"/>
                    <a:gd name="connsiteX220" fmla="*/ 169180 w 301792"/>
                    <a:gd name="connsiteY220" fmla="*/ 6357 h 305867"/>
                    <a:gd name="connsiteX221" fmla="*/ 171210 w 301792"/>
                    <a:gd name="connsiteY221" fmla="*/ 6438 h 305867"/>
                    <a:gd name="connsiteX222" fmla="*/ 176988 w 301792"/>
                    <a:gd name="connsiteY222" fmla="*/ 4156 h 305867"/>
                    <a:gd name="connsiteX223" fmla="*/ 178218 w 301792"/>
                    <a:gd name="connsiteY223" fmla="*/ 3667 h 305867"/>
                    <a:gd name="connsiteX224" fmla="*/ 180085 w 301792"/>
                    <a:gd name="connsiteY224" fmla="*/ 4939 h 305867"/>
                    <a:gd name="connsiteX225" fmla="*/ 184347 w 301792"/>
                    <a:gd name="connsiteY225" fmla="*/ 10138 h 305867"/>
                    <a:gd name="connsiteX226" fmla="*/ 182856 w 301792"/>
                    <a:gd name="connsiteY226" fmla="*/ 10032 h 305867"/>
                    <a:gd name="connsiteX227" fmla="*/ 178300 w 301792"/>
                    <a:gd name="connsiteY227" fmla="*/ 5574 h 305867"/>
                    <a:gd name="connsiteX228" fmla="*/ 177892 w 301792"/>
                    <a:gd name="connsiteY228" fmla="*/ 7791 h 305867"/>
                    <a:gd name="connsiteX229" fmla="*/ 175301 w 301792"/>
                    <a:gd name="connsiteY229" fmla="*/ 11711 h 305867"/>
                    <a:gd name="connsiteX230" fmla="*/ 178552 w 301792"/>
                    <a:gd name="connsiteY230" fmla="*/ 13398 h 305867"/>
                    <a:gd name="connsiteX231" fmla="*/ 181185 w 301792"/>
                    <a:gd name="connsiteY231" fmla="*/ 14034 h 305867"/>
                    <a:gd name="connsiteX232" fmla="*/ 182611 w 301792"/>
                    <a:gd name="connsiteY232" fmla="*/ 16218 h 305867"/>
                    <a:gd name="connsiteX233" fmla="*/ 183491 w 301792"/>
                    <a:gd name="connsiteY233" fmla="*/ 18150 h 305867"/>
                    <a:gd name="connsiteX234" fmla="*/ 186091 w 301792"/>
                    <a:gd name="connsiteY234" fmla="*/ 17310 h 305867"/>
                    <a:gd name="connsiteX235" fmla="*/ 187957 w 301792"/>
                    <a:gd name="connsiteY235" fmla="*/ 14670 h 305867"/>
                    <a:gd name="connsiteX236" fmla="*/ 186996 w 301792"/>
                    <a:gd name="connsiteY236" fmla="*/ 13194 h 305867"/>
                    <a:gd name="connsiteX237" fmla="*/ 186336 w 301792"/>
                    <a:gd name="connsiteY237" fmla="*/ 11670 h 305867"/>
                    <a:gd name="connsiteX238" fmla="*/ 187191 w 301792"/>
                    <a:gd name="connsiteY238" fmla="*/ 11638 h 305867"/>
                    <a:gd name="connsiteX239" fmla="*/ 188992 w 301792"/>
                    <a:gd name="connsiteY239" fmla="*/ 12885 h 305867"/>
                    <a:gd name="connsiteX240" fmla="*/ 194183 w 301792"/>
                    <a:gd name="connsiteY240" fmla="*/ 17897 h 305867"/>
                    <a:gd name="connsiteX241" fmla="*/ 195936 w 301792"/>
                    <a:gd name="connsiteY241" fmla="*/ 18932 h 305867"/>
                    <a:gd name="connsiteX242" fmla="*/ 197949 w 301792"/>
                    <a:gd name="connsiteY242" fmla="*/ 18761 h 305867"/>
                    <a:gd name="connsiteX243" fmla="*/ 202170 w 301792"/>
                    <a:gd name="connsiteY243" fmla="*/ 17351 h 305867"/>
                    <a:gd name="connsiteX244" fmla="*/ 203336 w 301792"/>
                    <a:gd name="connsiteY244" fmla="*/ 17571 h 305867"/>
                    <a:gd name="connsiteX245" fmla="*/ 208992 w 301792"/>
                    <a:gd name="connsiteY245" fmla="*/ 15721 h 305867"/>
                    <a:gd name="connsiteX246" fmla="*/ 209660 w 301792"/>
                    <a:gd name="connsiteY246" fmla="*/ 17074 h 305867"/>
                    <a:gd name="connsiteX247" fmla="*/ 210589 w 301792"/>
                    <a:gd name="connsiteY247" fmla="*/ 18418 h 305867"/>
                    <a:gd name="connsiteX248" fmla="*/ 215153 w 301792"/>
                    <a:gd name="connsiteY248" fmla="*/ 16919 h 305867"/>
                    <a:gd name="connsiteX249" fmla="*/ 222309 w 301792"/>
                    <a:gd name="connsiteY249" fmla="*/ 16935 h 305867"/>
                    <a:gd name="connsiteX250" fmla="*/ 228152 w 301792"/>
                    <a:gd name="connsiteY250" fmla="*/ 15313 h 305867"/>
                    <a:gd name="connsiteX251" fmla="*/ 234948 w 301792"/>
                    <a:gd name="connsiteY251" fmla="*/ 11345 h 305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301792" h="305867">
                      <a:moveTo>
                        <a:pt x="235495" y="10741"/>
                      </a:moveTo>
                      <a:lnTo>
                        <a:pt x="235853" y="11719"/>
                      </a:lnTo>
                      <a:lnTo>
                        <a:pt x="236660" y="14425"/>
                      </a:lnTo>
                      <a:lnTo>
                        <a:pt x="238722" y="21312"/>
                      </a:lnTo>
                      <a:lnTo>
                        <a:pt x="240515" y="26699"/>
                      </a:lnTo>
                      <a:lnTo>
                        <a:pt x="242732" y="34156"/>
                      </a:lnTo>
                      <a:lnTo>
                        <a:pt x="243425" y="37008"/>
                      </a:lnTo>
                      <a:lnTo>
                        <a:pt x="243718" y="38980"/>
                      </a:lnTo>
                      <a:lnTo>
                        <a:pt x="246912" y="47163"/>
                      </a:lnTo>
                      <a:lnTo>
                        <a:pt x="248803" y="53886"/>
                      </a:lnTo>
                      <a:lnTo>
                        <a:pt x="250205" y="59338"/>
                      </a:lnTo>
                      <a:lnTo>
                        <a:pt x="252153" y="67284"/>
                      </a:lnTo>
                      <a:lnTo>
                        <a:pt x="253008" y="70063"/>
                      </a:lnTo>
                      <a:lnTo>
                        <a:pt x="251615" y="71506"/>
                      </a:lnTo>
                      <a:lnTo>
                        <a:pt x="248844" y="76681"/>
                      </a:lnTo>
                      <a:lnTo>
                        <a:pt x="245886" y="93054"/>
                      </a:lnTo>
                      <a:lnTo>
                        <a:pt x="241648" y="105824"/>
                      </a:lnTo>
                      <a:lnTo>
                        <a:pt x="241167" y="113811"/>
                      </a:lnTo>
                      <a:lnTo>
                        <a:pt x="240482" y="116688"/>
                      </a:lnTo>
                      <a:lnTo>
                        <a:pt x="238477" y="120730"/>
                      </a:lnTo>
                      <a:lnTo>
                        <a:pt x="236024" y="124691"/>
                      </a:lnTo>
                      <a:lnTo>
                        <a:pt x="231697" y="122637"/>
                      </a:lnTo>
                      <a:lnTo>
                        <a:pt x="224631" y="115677"/>
                      </a:lnTo>
                      <a:lnTo>
                        <a:pt x="220507" y="109068"/>
                      </a:lnTo>
                      <a:lnTo>
                        <a:pt x="216090" y="104789"/>
                      </a:lnTo>
                      <a:lnTo>
                        <a:pt x="211917" y="99117"/>
                      </a:lnTo>
                      <a:lnTo>
                        <a:pt x="210785" y="95042"/>
                      </a:lnTo>
                      <a:lnTo>
                        <a:pt x="210834" y="92418"/>
                      </a:lnTo>
                      <a:lnTo>
                        <a:pt x="209008" y="86020"/>
                      </a:lnTo>
                      <a:lnTo>
                        <a:pt x="207655" y="82989"/>
                      </a:lnTo>
                      <a:lnTo>
                        <a:pt x="202570" y="76176"/>
                      </a:lnTo>
                      <a:lnTo>
                        <a:pt x="201111" y="72541"/>
                      </a:lnTo>
                      <a:lnTo>
                        <a:pt x="199986" y="70935"/>
                      </a:lnTo>
                      <a:lnTo>
                        <a:pt x="198870" y="68637"/>
                      </a:lnTo>
                      <a:lnTo>
                        <a:pt x="197020" y="59778"/>
                      </a:lnTo>
                      <a:lnTo>
                        <a:pt x="195007" y="54147"/>
                      </a:lnTo>
                      <a:lnTo>
                        <a:pt x="192701" y="55704"/>
                      </a:lnTo>
                      <a:lnTo>
                        <a:pt x="193116" y="58075"/>
                      </a:lnTo>
                      <a:lnTo>
                        <a:pt x="191111" y="61351"/>
                      </a:lnTo>
                      <a:lnTo>
                        <a:pt x="189889" y="65149"/>
                      </a:lnTo>
                      <a:lnTo>
                        <a:pt x="190826" y="68254"/>
                      </a:lnTo>
                      <a:lnTo>
                        <a:pt x="194982" y="72973"/>
                      </a:lnTo>
                      <a:lnTo>
                        <a:pt x="195830" y="75035"/>
                      </a:lnTo>
                      <a:lnTo>
                        <a:pt x="196800" y="79501"/>
                      </a:lnTo>
                      <a:lnTo>
                        <a:pt x="196645" y="85572"/>
                      </a:lnTo>
                      <a:lnTo>
                        <a:pt x="197313" y="87634"/>
                      </a:lnTo>
                      <a:lnTo>
                        <a:pt x="200434" y="92141"/>
                      </a:lnTo>
                      <a:lnTo>
                        <a:pt x="201551" y="94814"/>
                      </a:lnTo>
                      <a:lnTo>
                        <a:pt x="202219" y="97112"/>
                      </a:lnTo>
                      <a:lnTo>
                        <a:pt x="203254" y="99199"/>
                      </a:lnTo>
                      <a:lnTo>
                        <a:pt x="206343" y="103119"/>
                      </a:lnTo>
                      <a:lnTo>
                        <a:pt x="210793" y="110568"/>
                      </a:lnTo>
                      <a:lnTo>
                        <a:pt x="215006" y="115588"/>
                      </a:lnTo>
                      <a:lnTo>
                        <a:pt x="218046" y="118008"/>
                      </a:lnTo>
                      <a:lnTo>
                        <a:pt x="219342" y="120437"/>
                      </a:lnTo>
                      <a:lnTo>
                        <a:pt x="219643" y="126688"/>
                      </a:lnTo>
                      <a:lnTo>
                        <a:pt x="219415" y="129670"/>
                      </a:lnTo>
                      <a:lnTo>
                        <a:pt x="222080" y="135277"/>
                      </a:lnTo>
                      <a:lnTo>
                        <a:pt x="223066" y="138122"/>
                      </a:lnTo>
                      <a:lnTo>
                        <a:pt x="225658" y="140428"/>
                      </a:lnTo>
                      <a:lnTo>
                        <a:pt x="226840" y="143077"/>
                      </a:lnTo>
                      <a:lnTo>
                        <a:pt x="227923" y="147363"/>
                      </a:lnTo>
                      <a:lnTo>
                        <a:pt x="229561" y="160036"/>
                      </a:lnTo>
                      <a:lnTo>
                        <a:pt x="231803" y="163141"/>
                      </a:lnTo>
                      <a:lnTo>
                        <a:pt x="238746" y="179759"/>
                      </a:lnTo>
                      <a:lnTo>
                        <a:pt x="244598" y="190264"/>
                      </a:lnTo>
                      <a:lnTo>
                        <a:pt x="247434" y="198087"/>
                      </a:lnTo>
                      <a:lnTo>
                        <a:pt x="251737" y="207606"/>
                      </a:lnTo>
                      <a:lnTo>
                        <a:pt x="260188" y="228470"/>
                      </a:lnTo>
                      <a:lnTo>
                        <a:pt x="265225" y="234900"/>
                      </a:lnTo>
                      <a:lnTo>
                        <a:pt x="267230" y="238502"/>
                      </a:lnTo>
                      <a:lnTo>
                        <a:pt x="270881" y="241289"/>
                      </a:lnTo>
                      <a:lnTo>
                        <a:pt x="274817" y="245291"/>
                      </a:lnTo>
                      <a:lnTo>
                        <a:pt x="271060" y="244900"/>
                      </a:lnTo>
                      <a:lnTo>
                        <a:pt x="270107" y="245144"/>
                      </a:lnTo>
                      <a:lnTo>
                        <a:pt x="268794" y="245829"/>
                      </a:lnTo>
                      <a:lnTo>
                        <a:pt x="268159" y="248265"/>
                      </a:lnTo>
                      <a:lnTo>
                        <a:pt x="267890" y="250254"/>
                      </a:lnTo>
                      <a:lnTo>
                        <a:pt x="268346" y="260775"/>
                      </a:lnTo>
                      <a:lnTo>
                        <a:pt x="269381" y="266130"/>
                      </a:lnTo>
                      <a:lnTo>
                        <a:pt x="272682" y="276260"/>
                      </a:lnTo>
                      <a:lnTo>
                        <a:pt x="275159" y="279299"/>
                      </a:lnTo>
                      <a:lnTo>
                        <a:pt x="276366" y="281264"/>
                      </a:lnTo>
                      <a:lnTo>
                        <a:pt x="278036" y="282698"/>
                      </a:lnTo>
                      <a:lnTo>
                        <a:pt x="285876" y="286153"/>
                      </a:lnTo>
                      <a:lnTo>
                        <a:pt x="290465" y="293456"/>
                      </a:lnTo>
                      <a:lnTo>
                        <a:pt x="300758" y="302673"/>
                      </a:lnTo>
                      <a:lnTo>
                        <a:pt x="301776" y="305224"/>
                      </a:lnTo>
                      <a:lnTo>
                        <a:pt x="301793" y="305811"/>
                      </a:lnTo>
                      <a:lnTo>
                        <a:pt x="293659" y="305811"/>
                      </a:lnTo>
                      <a:lnTo>
                        <a:pt x="285526" y="305811"/>
                      </a:lnTo>
                      <a:lnTo>
                        <a:pt x="277376" y="305811"/>
                      </a:lnTo>
                      <a:lnTo>
                        <a:pt x="269243" y="305819"/>
                      </a:lnTo>
                      <a:lnTo>
                        <a:pt x="261109" y="305819"/>
                      </a:lnTo>
                      <a:lnTo>
                        <a:pt x="252968" y="305819"/>
                      </a:lnTo>
                      <a:lnTo>
                        <a:pt x="244826" y="305819"/>
                      </a:lnTo>
                      <a:lnTo>
                        <a:pt x="236684" y="305819"/>
                      </a:lnTo>
                      <a:lnTo>
                        <a:pt x="228559" y="305819"/>
                      </a:lnTo>
                      <a:lnTo>
                        <a:pt x="220418" y="305827"/>
                      </a:lnTo>
                      <a:lnTo>
                        <a:pt x="212276" y="305827"/>
                      </a:lnTo>
                      <a:lnTo>
                        <a:pt x="204134" y="305827"/>
                      </a:lnTo>
                      <a:lnTo>
                        <a:pt x="196009" y="305835"/>
                      </a:lnTo>
                      <a:lnTo>
                        <a:pt x="187868" y="305835"/>
                      </a:lnTo>
                      <a:lnTo>
                        <a:pt x="179726" y="305835"/>
                      </a:lnTo>
                      <a:lnTo>
                        <a:pt x="171585" y="305835"/>
                      </a:lnTo>
                      <a:lnTo>
                        <a:pt x="166947" y="305835"/>
                      </a:lnTo>
                      <a:lnTo>
                        <a:pt x="167730" y="303072"/>
                      </a:lnTo>
                      <a:lnTo>
                        <a:pt x="168227" y="301116"/>
                      </a:lnTo>
                      <a:lnTo>
                        <a:pt x="167697" y="299755"/>
                      </a:lnTo>
                      <a:lnTo>
                        <a:pt x="166092" y="299421"/>
                      </a:lnTo>
                      <a:lnTo>
                        <a:pt x="165064" y="299845"/>
                      </a:lnTo>
                      <a:lnTo>
                        <a:pt x="162628" y="305640"/>
                      </a:lnTo>
                      <a:lnTo>
                        <a:pt x="161357" y="305868"/>
                      </a:lnTo>
                      <a:lnTo>
                        <a:pt x="158472" y="305868"/>
                      </a:lnTo>
                      <a:lnTo>
                        <a:pt x="148993" y="305868"/>
                      </a:lnTo>
                      <a:lnTo>
                        <a:pt x="139523" y="305868"/>
                      </a:lnTo>
                      <a:lnTo>
                        <a:pt x="130045" y="305859"/>
                      </a:lnTo>
                      <a:lnTo>
                        <a:pt x="120567" y="305859"/>
                      </a:lnTo>
                      <a:lnTo>
                        <a:pt x="111097" y="305851"/>
                      </a:lnTo>
                      <a:lnTo>
                        <a:pt x="101619" y="305851"/>
                      </a:lnTo>
                      <a:lnTo>
                        <a:pt x="92149" y="305851"/>
                      </a:lnTo>
                      <a:lnTo>
                        <a:pt x="82671" y="305851"/>
                      </a:lnTo>
                      <a:lnTo>
                        <a:pt x="73201" y="305851"/>
                      </a:lnTo>
                      <a:lnTo>
                        <a:pt x="63715" y="305843"/>
                      </a:lnTo>
                      <a:lnTo>
                        <a:pt x="54253" y="305843"/>
                      </a:lnTo>
                      <a:lnTo>
                        <a:pt x="44766" y="305843"/>
                      </a:lnTo>
                      <a:lnTo>
                        <a:pt x="35288" y="305843"/>
                      </a:lnTo>
                      <a:lnTo>
                        <a:pt x="25818" y="305843"/>
                      </a:lnTo>
                      <a:lnTo>
                        <a:pt x="16340" y="305835"/>
                      </a:lnTo>
                      <a:lnTo>
                        <a:pt x="6862" y="305835"/>
                      </a:lnTo>
                      <a:lnTo>
                        <a:pt x="6862" y="298859"/>
                      </a:lnTo>
                      <a:lnTo>
                        <a:pt x="6862" y="291874"/>
                      </a:lnTo>
                      <a:lnTo>
                        <a:pt x="6862" y="284882"/>
                      </a:lnTo>
                      <a:lnTo>
                        <a:pt x="6862" y="277882"/>
                      </a:lnTo>
                      <a:lnTo>
                        <a:pt x="6862" y="270881"/>
                      </a:lnTo>
                      <a:lnTo>
                        <a:pt x="6862" y="263880"/>
                      </a:lnTo>
                      <a:lnTo>
                        <a:pt x="6862" y="256863"/>
                      </a:lnTo>
                      <a:lnTo>
                        <a:pt x="6862" y="249846"/>
                      </a:lnTo>
                      <a:lnTo>
                        <a:pt x="6862" y="242821"/>
                      </a:lnTo>
                      <a:lnTo>
                        <a:pt x="6862" y="235788"/>
                      </a:lnTo>
                      <a:lnTo>
                        <a:pt x="6862" y="228755"/>
                      </a:lnTo>
                      <a:lnTo>
                        <a:pt x="6862" y="221714"/>
                      </a:lnTo>
                      <a:lnTo>
                        <a:pt x="6862" y="214664"/>
                      </a:lnTo>
                      <a:lnTo>
                        <a:pt x="6862" y="207606"/>
                      </a:lnTo>
                      <a:lnTo>
                        <a:pt x="6862" y="200549"/>
                      </a:lnTo>
                      <a:lnTo>
                        <a:pt x="6862" y="193483"/>
                      </a:lnTo>
                      <a:lnTo>
                        <a:pt x="6862" y="186409"/>
                      </a:lnTo>
                      <a:lnTo>
                        <a:pt x="6862" y="179327"/>
                      </a:lnTo>
                      <a:lnTo>
                        <a:pt x="6862" y="172245"/>
                      </a:lnTo>
                      <a:lnTo>
                        <a:pt x="6862" y="165146"/>
                      </a:lnTo>
                      <a:lnTo>
                        <a:pt x="6862" y="158048"/>
                      </a:lnTo>
                      <a:lnTo>
                        <a:pt x="6862" y="150949"/>
                      </a:lnTo>
                      <a:lnTo>
                        <a:pt x="6862" y="143835"/>
                      </a:lnTo>
                      <a:lnTo>
                        <a:pt x="6862" y="136712"/>
                      </a:lnTo>
                      <a:lnTo>
                        <a:pt x="6862" y="129589"/>
                      </a:lnTo>
                      <a:lnTo>
                        <a:pt x="6862" y="122458"/>
                      </a:lnTo>
                      <a:lnTo>
                        <a:pt x="6862" y="115319"/>
                      </a:lnTo>
                      <a:lnTo>
                        <a:pt x="6862" y="108171"/>
                      </a:lnTo>
                      <a:lnTo>
                        <a:pt x="6862" y="101016"/>
                      </a:lnTo>
                      <a:lnTo>
                        <a:pt x="6862" y="93860"/>
                      </a:lnTo>
                      <a:lnTo>
                        <a:pt x="6862" y="86689"/>
                      </a:lnTo>
                      <a:lnTo>
                        <a:pt x="6862" y="79517"/>
                      </a:lnTo>
                      <a:lnTo>
                        <a:pt x="6650" y="78172"/>
                      </a:lnTo>
                      <a:lnTo>
                        <a:pt x="5281" y="73291"/>
                      </a:lnTo>
                      <a:lnTo>
                        <a:pt x="4034" y="67089"/>
                      </a:lnTo>
                      <a:lnTo>
                        <a:pt x="2673" y="59452"/>
                      </a:lnTo>
                      <a:lnTo>
                        <a:pt x="2494" y="56967"/>
                      </a:lnTo>
                      <a:lnTo>
                        <a:pt x="203" y="49094"/>
                      </a:lnTo>
                      <a:lnTo>
                        <a:pt x="0" y="46853"/>
                      </a:lnTo>
                      <a:lnTo>
                        <a:pt x="571" y="45272"/>
                      </a:lnTo>
                      <a:lnTo>
                        <a:pt x="4319" y="38622"/>
                      </a:lnTo>
                      <a:lnTo>
                        <a:pt x="5444" y="35386"/>
                      </a:lnTo>
                      <a:lnTo>
                        <a:pt x="6406" y="31507"/>
                      </a:lnTo>
                      <a:lnTo>
                        <a:pt x="6715" y="28345"/>
                      </a:lnTo>
                      <a:lnTo>
                        <a:pt x="5607" y="23520"/>
                      </a:lnTo>
                      <a:lnTo>
                        <a:pt x="4319" y="19176"/>
                      </a:lnTo>
                      <a:lnTo>
                        <a:pt x="3879" y="14718"/>
                      </a:lnTo>
                      <a:lnTo>
                        <a:pt x="3700" y="10342"/>
                      </a:lnTo>
                      <a:lnTo>
                        <a:pt x="5623" y="7351"/>
                      </a:lnTo>
                      <a:lnTo>
                        <a:pt x="7913" y="4556"/>
                      </a:lnTo>
                      <a:lnTo>
                        <a:pt x="8777" y="2836"/>
                      </a:lnTo>
                      <a:lnTo>
                        <a:pt x="10138" y="905"/>
                      </a:lnTo>
                      <a:lnTo>
                        <a:pt x="11100" y="0"/>
                      </a:lnTo>
                      <a:lnTo>
                        <a:pt x="12950" y="3920"/>
                      </a:lnTo>
                      <a:lnTo>
                        <a:pt x="16837" y="4597"/>
                      </a:lnTo>
                      <a:lnTo>
                        <a:pt x="29510" y="1100"/>
                      </a:lnTo>
                      <a:lnTo>
                        <a:pt x="43503" y="4613"/>
                      </a:lnTo>
                      <a:lnTo>
                        <a:pt x="51229" y="5966"/>
                      </a:lnTo>
                      <a:lnTo>
                        <a:pt x="63120" y="8948"/>
                      </a:lnTo>
                      <a:lnTo>
                        <a:pt x="70349" y="14287"/>
                      </a:lnTo>
                      <a:lnTo>
                        <a:pt x="72337" y="14963"/>
                      </a:lnTo>
                      <a:lnTo>
                        <a:pt x="77545" y="14857"/>
                      </a:lnTo>
                      <a:lnTo>
                        <a:pt x="80960" y="18003"/>
                      </a:lnTo>
                      <a:lnTo>
                        <a:pt x="94529" y="19519"/>
                      </a:lnTo>
                      <a:lnTo>
                        <a:pt x="101774" y="22999"/>
                      </a:lnTo>
                      <a:lnTo>
                        <a:pt x="105889" y="25761"/>
                      </a:lnTo>
                      <a:lnTo>
                        <a:pt x="108351" y="26617"/>
                      </a:lnTo>
                      <a:lnTo>
                        <a:pt x="110527" y="26478"/>
                      </a:lnTo>
                      <a:lnTo>
                        <a:pt x="113477" y="25435"/>
                      </a:lnTo>
                      <a:lnTo>
                        <a:pt x="117193" y="23488"/>
                      </a:lnTo>
                      <a:lnTo>
                        <a:pt x="121244" y="20774"/>
                      </a:lnTo>
                      <a:lnTo>
                        <a:pt x="129630" y="13814"/>
                      </a:lnTo>
                      <a:lnTo>
                        <a:pt x="132596" y="12583"/>
                      </a:lnTo>
                      <a:lnTo>
                        <a:pt x="134528" y="12893"/>
                      </a:lnTo>
                      <a:lnTo>
                        <a:pt x="136883" y="12811"/>
                      </a:lnTo>
                      <a:lnTo>
                        <a:pt x="137877" y="10929"/>
                      </a:lnTo>
                      <a:lnTo>
                        <a:pt x="139116" y="9625"/>
                      </a:lnTo>
                      <a:lnTo>
                        <a:pt x="139890" y="8150"/>
                      </a:lnTo>
                      <a:lnTo>
                        <a:pt x="141170" y="6381"/>
                      </a:lnTo>
                      <a:lnTo>
                        <a:pt x="145538" y="5884"/>
                      </a:lnTo>
                      <a:lnTo>
                        <a:pt x="154274" y="2844"/>
                      </a:lnTo>
                      <a:lnTo>
                        <a:pt x="153296" y="4287"/>
                      </a:lnTo>
                      <a:lnTo>
                        <a:pt x="145334" y="7685"/>
                      </a:lnTo>
                      <a:lnTo>
                        <a:pt x="148741" y="8109"/>
                      </a:lnTo>
                      <a:lnTo>
                        <a:pt x="152237" y="6952"/>
                      </a:lnTo>
                      <a:lnTo>
                        <a:pt x="156214" y="6210"/>
                      </a:lnTo>
                      <a:lnTo>
                        <a:pt x="156931" y="4760"/>
                      </a:lnTo>
                      <a:lnTo>
                        <a:pt x="157469" y="2046"/>
                      </a:lnTo>
                      <a:lnTo>
                        <a:pt x="158227" y="1663"/>
                      </a:lnTo>
                      <a:lnTo>
                        <a:pt x="160974" y="2176"/>
                      </a:lnTo>
                      <a:lnTo>
                        <a:pt x="169180" y="6357"/>
                      </a:lnTo>
                      <a:lnTo>
                        <a:pt x="171210" y="6438"/>
                      </a:lnTo>
                      <a:lnTo>
                        <a:pt x="176988" y="4156"/>
                      </a:lnTo>
                      <a:lnTo>
                        <a:pt x="178218" y="3667"/>
                      </a:lnTo>
                      <a:lnTo>
                        <a:pt x="180085" y="4939"/>
                      </a:lnTo>
                      <a:lnTo>
                        <a:pt x="184347" y="10138"/>
                      </a:lnTo>
                      <a:lnTo>
                        <a:pt x="182856" y="10032"/>
                      </a:lnTo>
                      <a:lnTo>
                        <a:pt x="178300" y="5574"/>
                      </a:lnTo>
                      <a:lnTo>
                        <a:pt x="177892" y="7791"/>
                      </a:lnTo>
                      <a:lnTo>
                        <a:pt x="175301" y="11711"/>
                      </a:lnTo>
                      <a:lnTo>
                        <a:pt x="178552" y="13398"/>
                      </a:lnTo>
                      <a:lnTo>
                        <a:pt x="181185" y="14034"/>
                      </a:lnTo>
                      <a:lnTo>
                        <a:pt x="182611" y="16218"/>
                      </a:lnTo>
                      <a:lnTo>
                        <a:pt x="183491" y="18150"/>
                      </a:lnTo>
                      <a:lnTo>
                        <a:pt x="186091" y="17310"/>
                      </a:lnTo>
                      <a:lnTo>
                        <a:pt x="187957" y="14670"/>
                      </a:lnTo>
                      <a:lnTo>
                        <a:pt x="186996" y="13194"/>
                      </a:lnTo>
                      <a:lnTo>
                        <a:pt x="186336" y="11670"/>
                      </a:lnTo>
                      <a:lnTo>
                        <a:pt x="187191" y="11638"/>
                      </a:lnTo>
                      <a:lnTo>
                        <a:pt x="188992" y="12885"/>
                      </a:lnTo>
                      <a:lnTo>
                        <a:pt x="194183" y="17897"/>
                      </a:lnTo>
                      <a:lnTo>
                        <a:pt x="195936" y="18932"/>
                      </a:lnTo>
                      <a:lnTo>
                        <a:pt x="197949" y="18761"/>
                      </a:lnTo>
                      <a:lnTo>
                        <a:pt x="202170" y="17351"/>
                      </a:lnTo>
                      <a:lnTo>
                        <a:pt x="203336" y="17571"/>
                      </a:lnTo>
                      <a:lnTo>
                        <a:pt x="208992" y="15721"/>
                      </a:lnTo>
                      <a:lnTo>
                        <a:pt x="209660" y="17074"/>
                      </a:lnTo>
                      <a:lnTo>
                        <a:pt x="210589" y="18418"/>
                      </a:lnTo>
                      <a:lnTo>
                        <a:pt x="215153" y="16919"/>
                      </a:lnTo>
                      <a:lnTo>
                        <a:pt x="222309" y="16935"/>
                      </a:lnTo>
                      <a:lnTo>
                        <a:pt x="228152" y="15313"/>
                      </a:lnTo>
                      <a:lnTo>
                        <a:pt x="234948" y="11345"/>
                      </a:lnTo>
                      <a:close/>
                    </a:path>
                  </a:pathLst>
                </a:custGeom>
                <a:solidFill>
                  <a:srgbClr val="D6D6D2"/>
                </a:solidFill>
                <a:ln w="6112" cap="rnd">
                  <a:solidFill>
                    <a:srgbClr val="FFFFFF"/>
                  </a:solidFill>
                  <a:prstDash val="solid"/>
                  <a:round/>
                </a:ln>
              </p:spPr>
              <p:txBody>
                <a:bodyPr rtlCol="0" anchor="ctr"/>
                <a:lstStyle/>
                <a:p>
                  <a:endParaRPr lang="en-US"/>
                </a:p>
              </p:txBody>
            </p:sp>
            <p:sp>
              <p:nvSpPr>
                <p:cNvPr id="744" name="Freeform: Shape 743">
                  <a:extLst>
                    <a:ext uri="{FF2B5EF4-FFF2-40B4-BE49-F238E27FC236}">
                      <a16:creationId xmlns:a16="http://schemas.microsoft.com/office/drawing/2014/main" id="{99847839-6082-4B9C-A3A9-D30614D86E8D}"/>
                    </a:ext>
                  </a:extLst>
                </p:cNvPr>
                <p:cNvSpPr/>
                <p:nvPr/>
              </p:nvSpPr>
              <p:spPr>
                <a:xfrm>
                  <a:off x="3671804" y="4480871"/>
                  <a:ext cx="405465" cy="193107"/>
                </a:xfrm>
                <a:custGeom>
                  <a:avLst/>
                  <a:gdLst>
                    <a:gd name="connsiteX0" fmla="*/ 8068 w 405465"/>
                    <a:gd name="connsiteY0" fmla="*/ 42884 h 193107"/>
                    <a:gd name="connsiteX1" fmla="*/ 9600 w 405465"/>
                    <a:gd name="connsiteY1" fmla="*/ 44815 h 193107"/>
                    <a:gd name="connsiteX2" fmla="*/ 10440 w 405465"/>
                    <a:gd name="connsiteY2" fmla="*/ 50316 h 193107"/>
                    <a:gd name="connsiteX3" fmla="*/ 15419 w 405465"/>
                    <a:gd name="connsiteY3" fmla="*/ 56119 h 193107"/>
                    <a:gd name="connsiteX4" fmla="*/ 16039 w 405465"/>
                    <a:gd name="connsiteY4" fmla="*/ 59363 h 193107"/>
                    <a:gd name="connsiteX5" fmla="*/ 15599 w 405465"/>
                    <a:gd name="connsiteY5" fmla="*/ 60862 h 193107"/>
                    <a:gd name="connsiteX6" fmla="*/ 15835 w 405465"/>
                    <a:gd name="connsiteY6" fmla="*/ 61457 h 193107"/>
                    <a:gd name="connsiteX7" fmla="*/ 18223 w 405465"/>
                    <a:gd name="connsiteY7" fmla="*/ 63739 h 193107"/>
                    <a:gd name="connsiteX8" fmla="*/ 19779 w 405465"/>
                    <a:gd name="connsiteY8" fmla="*/ 66151 h 193107"/>
                    <a:gd name="connsiteX9" fmla="*/ 17155 w 405465"/>
                    <a:gd name="connsiteY9" fmla="*/ 71791 h 193107"/>
                    <a:gd name="connsiteX10" fmla="*/ 11565 w 405465"/>
                    <a:gd name="connsiteY10" fmla="*/ 74163 h 193107"/>
                    <a:gd name="connsiteX11" fmla="*/ 5599 w 405465"/>
                    <a:gd name="connsiteY11" fmla="*/ 74073 h 193107"/>
                    <a:gd name="connsiteX12" fmla="*/ 4417 w 405465"/>
                    <a:gd name="connsiteY12" fmla="*/ 73470 h 193107"/>
                    <a:gd name="connsiteX13" fmla="*/ 2820 w 405465"/>
                    <a:gd name="connsiteY13" fmla="*/ 71318 h 193107"/>
                    <a:gd name="connsiteX14" fmla="*/ 2526 w 405465"/>
                    <a:gd name="connsiteY14" fmla="*/ 69403 h 193107"/>
                    <a:gd name="connsiteX15" fmla="*/ 3447 w 405465"/>
                    <a:gd name="connsiteY15" fmla="*/ 67553 h 193107"/>
                    <a:gd name="connsiteX16" fmla="*/ 6528 w 405465"/>
                    <a:gd name="connsiteY16" fmla="*/ 64766 h 193107"/>
                    <a:gd name="connsiteX17" fmla="*/ 11230 w 405465"/>
                    <a:gd name="connsiteY17" fmla="*/ 62272 h 193107"/>
                    <a:gd name="connsiteX18" fmla="*/ 11817 w 405465"/>
                    <a:gd name="connsiteY18" fmla="*/ 60357 h 193107"/>
                    <a:gd name="connsiteX19" fmla="*/ 9926 w 405465"/>
                    <a:gd name="connsiteY19" fmla="*/ 58507 h 193107"/>
                    <a:gd name="connsiteX20" fmla="*/ 8623 w 405465"/>
                    <a:gd name="connsiteY20" fmla="*/ 54815 h 193107"/>
                    <a:gd name="connsiteX21" fmla="*/ 5656 w 405465"/>
                    <a:gd name="connsiteY21" fmla="*/ 52223 h 193107"/>
                    <a:gd name="connsiteX22" fmla="*/ 4173 w 405465"/>
                    <a:gd name="connsiteY22" fmla="*/ 44326 h 193107"/>
                    <a:gd name="connsiteX23" fmla="*/ 3186 w 405465"/>
                    <a:gd name="connsiteY23" fmla="*/ 43935 h 193107"/>
                    <a:gd name="connsiteX24" fmla="*/ 1165 w 405465"/>
                    <a:gd name="connsiteY24" fmla="*/ 45027 h 193107"/>
                    <a:gd name="connsiteX25" fmla="*/ 171 w 405465"/>
                    <a:gd name="connsiteY25" fmla="*/ 44065 h 193107"/>
                    <a:gd name="connsiteX26" fmla="*/ 0 w 405465"/>
                    <a:gd name="connsiteY26" fmla="*/ 43560 h 193107"/>
                    <a:gd name="connsiteX27" fmla="*/ 2176 w 405465"/>
                    <a:gd name="connsiteY27" fmla="*/ 41751 h 193107"/>
                    <a:gd name="connsiteX28" fmla="*/ 2624 w 405465"/>
                    <a:gd name="connsiteY28" fmla="*/ 40463 h 193107"/>
                    <a:gd name="connsiteX29" fmla="*/ 5843 w 405465"/>
                    <a:gd name="connsiteY29" fmla="*/ 39844 h 193107"/>
                    <a:gd name="connsiteX30" fmla="*/ 7221 w 405465"/>
                    <a:gd name="connsiteY30" fmla="*/ 40871 h 193107"/>
                    <a:gd name="connsiteX31" fmla="*/ 8068 w 405465"/>
                    <a:gd name="connsiteY31" fmla="*/ 42884 h 193107"/>
                    <a:gd name="connsiteX32" fmla="*/ 329510 w 405465"/>
                    <a:gd name="connsiteY32" fmla="*/ 12306 h 193107"/>
                    <a:gd name="connsiteX33" fmla="*/ 332762 w 405465"/>
                    <a:gd name="connsiteY33" fmla="*/ 14629 h 193107"/>
                    <a:gd name="connsiteX34" fmla="*/ 336331 w 405465"/>
                    <a:gd name="connsiteY34" fmla="*/ 16715 h 193107"/>
                    <a:gd name="connsiteX35" fmla="*/ 341474 w 405465"/>
                    <a:gd name="connsiteY35" fmla="*/ 18915 h 193107"/>
                    <a:gd name="connsiteX36" fmla="*/ 344620 w 405465"/>
                    <a:gd name="connsiteY36" fmla="*/ 18549 h 193107"/>
                    <a:gd name="connsiteX37" fmla="*/ 345353 w 405465"/>
                    <a:gd name="connsiteY37" fmla="*/ 20211 h 193107"/>
                    <a:gd name="connsiteX38" fmla="*/ 345964 w 405465"/>
                    <a:gd name="connsiteY38" fmla="*/ 21963 h 193107"/>
                    <a:gd name="connsiteX39" fmla="*/ 347138 w 405465"/>
                    <a:gd name="connsiteY39" fmla="*/ 22982 h 193107"/>
                    <a:gd name="connsiteX40" fmla="*/ 349004 w 405465"/>
                    <a:gd name="connsiteY40" fmla="*/ 23854 h 193107"/>
                    <a:gd name="connsiteX41" fmla="*/ 350112 w 405465"/>
                    <a:gd name="connsiteY41" fmla="*/ 24131 h 193107"/>
                    <a:gd name="connsiteX42" fmla="*/ 350455 w 405465"/>
                    <a:gd name="connsiteY42" fmla="*/ 24563 h 193107"/>
                    <a:gd name="connsiteX43" fmla="*/ 351571 w 405465"/>
                    <a:gd name="connsiteY43" fmla="*/ 30904 h 193107"/>
                    <a:gd name="connsiteX44" fmla="*/ 352231 w 405465"/>
                    <a:gd name="connsiteY44" fmla="*/ 31833 h 193107"/>
                    <a:gd name="connsiteX45" fmla="*/ 354799 w 405465"/>
                    <a:gd name="connsiteY45" fmla="*/ 32835 h 193107"/>
                    <a:gd name="connsiteX46" fmla="*/ 357953 w 405465"/>
                    <a:gd name="connsiteY46" fmla="*/ 33210 h 193107"/>
                    <a:gd name="connsiteX47" fmla="*/ 359224 w 405465"/>
                    <a:gd name="connsiteY47" fmla="*/ 32990 h 193107"/>
                    <a:gd name="connsiteX48" fmla="*/ 361995 w 405465"/>
                    <a:gd name="connsiteY48" fmla="*/ 34750 h 193107"/>
                    <a:gd name="connsiteX49" fmla="*/ 364032 w 405465"/>
                    <a:gd name="connsiteY49" fmla="*/ 35582 h 193107"/>
                    <a:gd name="connsiteX50" fmla="*/ 366282 w 405465"/>
                    <a:gd name="connsiteY50" fmla="*/ 36201 h 193107"/>
                    <a:gd name="connsiteX51" fmla="*/ 367814 w 405465"/>
                    <a:gd name="connsiteY51" fmla="*/ 36380 h 193107"/>
                    <a:gd name="connsiteX52" fmla="*/ 368515 w 405465"/>
                    <a:gd name="connsiteY52" fmla="*/ 36103 h 193107"/>
                    <a:gd name="connsiteX53" fmla="*/ 368775 w 405465"/>
                    <a:gd name="connsiteY53" fmla="*/ 35468 h 193107"/>
                    <a:gd name="connsiteX54" fmla="*/ 370022 w 405465"/>
                    <a:gd name="connsiteY54" fmla="*/ 35582 h 193107"/>
                    <a:gd name="connsiteX55" fmla="*/ 371889 w 405465"/>
                    <a:gd name="connsiteY55" fmla="*/ 36397 h 193107"/>
                    <a:gd name="connsiteX56" fmla="*/ 374578 w 405465"/>
                    <a:gd name="connsiteY56" fmla="*/ 36568 h 193107"/>
                    <a:gd name="connsiteX57" fmla="*/ 376249 w 405465"/>
                    <a:gd name="connsiteY57" fmla="*/ 35794 h 193107"/>
                    <a:gd name="connsiteX58" fmla="*/ 376485 w 405465"/>
                    <a:gd name="connsiteY58" fmla="*/ 34522 h 193107"/>
                    <a:gd name="connsiteX59" fmla="*/ 376599 w 405465"/>
                    <a:gd name="connsiteY59" fmla="*/ 32273 h 193107"/>
                    <a:gd name="connsiteX60" fmla="*/ 377227 w 405465"/>
                    <a:gd name="connsiteY60" fmla="*/ 31490 h 193107"/>
                    <a:gd name="connsiteX61" fmla="*/ 379134 w 405465"/>
                    <a:gd name="connsiteY61" fmla="*/ 30186 h 193107"/>
                    <a:gd name="connsiteX62" fmla="*/ 380136 w 405465"/>
                    <a:gd name="connsiteY62" fmla="*/ 30464 h 193107"/>
                    <a:gd name="connsiteX63" fmla="*/ 385164 w 405465"/>
                    <a:gd name="connsiteY63" fmla="*/ 33275 h 193107"/>
                    <a:gd name="connsiteX64" fmla="*/ 386200 w 405465"/>
                    <a:gd name="connsiteY64" fmla="*/ 34245 h 193107"/>
                    <a:gd name="connsiteX65" fmla="*/ 387471 w 405465"/>
                    <a:gd name="connsiteY65" fmla="*/ 36201 h 193107"/>
                    <a:gd name="connsiteX66" fmla="*/ 389826 w 405465"/>
                    <a:gd name="connsiteY66" fmla="*/ 39094 h 193107"/>
                    <a:gd name="connsiteX67" fmla="*/ 392385 w 405465"/>
                    <a:gd name="connsiteY67" fmla="*/ 40944 h 193107"/>
                    <a:gd name="connsiteX68" fmla="*/ 396338 w 405465"/>
                    <a:gd name="connsiteY68" fmla="*/ 41735 h 193107"/>
                    <a:gd name="connsiteX69" fmla="*/ 400144 w 405465"/>
                    <a:gd name="connsiteY69" fmla="*/ 44775 h 193107"/>
                    <a:gd name="connsiteX70" fmla="*/ 404593 w 405465"/>
                    <a:gd name="connsiteY70" fmla="*/ 46812 h 193107"/>
                    <a:gd name="connsiteX71" fmla="*/ 403200 w 405465"/>
                    <a:gd name="connsiteY71" fmla="*/ 47880 h 193107"/>
                    <a:gd name="connsiteX72" fmla="*/ 401766 w 405465"/>
                    <a:gd name="connsiteY72" fmla="*/ 47986 h 193107"/>
                    <a:gd name="connsiteX73" fmla="*/ 399842 w 405465"/>
                    <a:gd name="connsiteY73" fmla="*/ 48320 h 193107"/>
                    <a:gd name="connsiteX74" fmla="*/ 397169 w 405465"/>
                    <a:gd name="connsiteY74" fmla="*/ 47293 h 193107"/>
                    <a:gd name="connsiteX75" fmla="*/ 396118 w 405465"/>
                    <a:gd name="connsiteY75" fmla="*/ 47293 h 193107"/>
                    <a:gd name="connsiteX76" fmla="*/ 395979 w 405465"/>
                    <a:gd name="connsiteY76" fmla="*/ 48336 h 193107"/>
                    <a:gd name="connsiteX77" fmla="*/ 397748 w 405465"/>
                    <a:gd name="connsiteY77" fmla="*/ 49607 h 193107"/>
                    <a:gd name="connsiteX78" fmla="*/ 399475 w 405465"/>
                    <a:gd name="connsiteY78" fmla="*/ 51050 h 193107"/>
                    <a:gd name="connsiteX79" fmla="*/ 400095 w 405465"/>
                    <a:gd name="connsiteY79" fmla="*/ 53250 h 193107"/>
                    <a:gd name="connsiteX80" fmla="*/ 401122 w 405465"/>
                    <a:gd name="connsiteY80" fmla="*/ 55858 h 193107"/>
                    <a:gd name="connsiteX81" fmla="*/ 403591 w 405465"/>
                    <a:gd name="connsiteY81" fmla="*/ 58768 h 193107"/>
                    <a:gd name="connsiteX82" fmla="*/ 405123 w 405465"/>
                    <a:gd name="connsiteY82" fmla="*/ 60251 h 193107"/>
                    <a:gd name="connsiteX83" fmla="*/ 405221 w 405465"/>
                    <a:gd name="connsiteY83" fmla="*/ 61286 h 193107"/>
                    <a:gd name="connsiteX84" fmla="*/ 404740 w 405465"/>
                    <a:gd name="connsiteY84" fmla="*/ 63185 h 193107"/>
                    <a:gd name="connsiteX85" fmla="*/ 404618 w 405465"/>
                    <a:gd name="connsiteY85" fmla="*/ 64782 h 193107"/>
                    <a:gd name="connsiteX86" fmla="*/ 405466 w 405465"/>
                    <a:gd name="connsiteY86" fmla="*/ 72109 h 193107"/>
                    <a:gd name="connsiteX87" fmla="*/ 404903 w 405465"/>
                    <a:gd name="connsiteY87" fmla="*/ 72549 h 193107"/>
                    <a:gd name="connsiteX88" fmla="*/ 403991 w 405465"/>
                    <a:gd name="connsiteY88" fmla="*/ 72598 h 193107"/>
                    <a:gd name="connsiteX89" fmla="*/ 403021 w 405465"/>
                    <a:gd name="connsiteY89" fmla="*/ 72549 h 193107"/>
                    <a:gd name="connsiteX90" fmla="*/ 402222 w 405465"/>
                    <a:gd name="connsiteY90" fmla="*/ 71758 h 193107"/>
                    <a:gd name="connsiteX91" fmla="*/ 401537 w 405465"/>
                    <a:gd name="connsiteY91" fmla="*/ 71278 h 193107"/>
                    <a:gd name="connsiteX92" fmla="*/ 401228 w 405465"/>
                    <a:gd name="connsiteY92" fmla="*/ 72410 h 193107"/>
                    <a:gd name="connsiteX93" fmla="*/ 400519 w 405465"/>
                    <a:gd name="connsiteY93" fmla="*/ 75678 h 193107"/>
                    <a:gd name="connsiteX94" fmla="*/ 398913 w 405465"/>
                    <a:gd name="connsiteY94" fmla="*/ 83005 h 193107"/>
                    <a:gd name="connsiteX95" fmla="*/ 397511 w 405465"/>
                    <a:gd name="connsiteY95" fmla="*/ 89443 h 193107"/>
                    <a:gd name="connsiteX96" fmla="*/ 395751 w 405465"/>
                    <a:gd name="connsiteY96" fmla="*/ 91725 h 193107"/>
                    <a:gd name="connsiteX97" fmla="*/ 393200 w 405465"/>
                    <a:gd name="connsiteY97" fmla="*/ 95344 h 193107"/>
                    <a:gd name="connsiteX98" fmla="*/ 389704 w 405465"/>
                    <a:gd name="connsiteY98" fmla="*/ 100274 h 193107"/>
                    <a:gd name="connsiteX99" fmla="*/ 384635 w 405465"/>
                    <a:gd name="connsiteY99" fmla="*/ 107462 h 193107"/>
                    <a:gd name="connsiteX100" fmla="*/ 380886 w 405465"/>
                    <a:gd name="connsiteY100" fmla="*/ 110779 h 193107"/>
                    <a:gd name="connsiteX101" fmla="*/ 377927 w 405465"/>
                    <a:gd name="connsiteY101" fmla="*/ 113387 h 193107"/>
                    <a:gd name="connsiteX102" fmla="*/ 374472 w 405465"/>
                    <a:gd name="connsiteY102" fmla="*/ 116411 h 193107"/>
                    <a:gd name="connsiteX103" fmla="*/ 370014 w 405465"/>
                    <a:gd name="connsiteY103" fmla="*/ 120322 h 193107"/>
                    <a:gd name="connsiteX104" fmla="*/ 365010 w 405465"/>
                    <a:gd name="connsiteY104" fmla="*/ 122515 h 193107"/>
                    <a:gd name="connsiteX105" fmla="*/ 358050 w 405465"/>
                    <a:gd name="connsiteY105" fmla="*/ 125571 h 193107"/>
                    <a:gd name="connsiteX106" fmla="*/ 353120 w 405465"/>
                    <a:gd name="connsiteY106" fmla="*/ 127723 h 193107"/>
                    <a:gd name="connsiteX107" fmla="*/ 349485 w 405465"/>
                    <a:gd name="connsiteY107" fmla="*/ 129238 h 193107"/>
                    <a:gd name="connsiteX108" fmla="*/ 345712 w 405465"/>
                    <a:gd name="connsiteY108" fmla="*/ 130803 h 193107"/>
                    <a:gd name="connsiteX109" fmla="*/ 340708 w 405465"/>
                    <a:gd name="connsiteY109" fmla="*/ 132873 h 193107"/>
                    <a:gd name="connsiteX110" fmla="*/ 338784 w 405465"/>
                    <a:gd name="connsiteY110" fmla="*/ 134829 h 193107"/>
                    <a:gd name="connsiteX111" fmla="*/ 335565 w 405465"/>
                    <a:gd name="connsiteY111" fmla="*/ 139621 h 193107"/>
                    <a:gd name="connsiteX112" fmla="*/ 334066 w 405465"/>
                    <a:gd name="connsiteY112" fmla="*/ 141927 h 193107"/>
                    <a:gd name="connsiteX113" fmla="*/ 332705 w 405465"/>
                    <a:gd name="connsiteY113" fmla="*/ 143916 h 193107"/>
                    <a:gd name="connsiteX114" fmla="*/ 332419 w 405465"/>
                    <a:gd name="connsiteY114" fmla="*/ 144829 h 193107"/>
                    <a:gd name="connsiteX115" fmla="*/ 332599 w 405465"/>
                    <a:gd name="connsiteY115" fmla="*/ 145391 h 193107"/>
                    <a:gd name="connsiteX116" fmla="*/ 333259 w 405465"/>
                    <a:gd name="connsiteY116" fmla="*/ 146361 h 193107"/>
                    <a:gd name="connsiteX117" fmla="*/ 333324 w 405465"/>
                    <a:gd name="connsiteY117" fmla="*/ 147355 h 193107"/>
                    <a:gd name="connsiteX118" fmla="*/ 332419 w 405465"/>
                    <a:gd name="connsiteY118" fmla="*/ 147975 h 193107"/>
                    <a:gd name="connsiteX119" fmla="*/ 331637 w 405465"/>
                    <a:gd name="connsiteY119" fmla="*/ 148073 h 193107"/>
                    <a:gd name="connsiteX120" fmla="*/ 331287 w 405465"/>
                    <a:gd name="connsiteY120" fmla="*/ 147567 h 193107"/>
                    <a:gd name="connsiteX121" fmla="*/ 331026 w 405465"/>
                    <a:gd name="connsiteY121" fmla="*/ 146475 h 193107"/>
                    <a:gd name="connsiteX122" fmla="*/ 330195 w 405465"/>
                    <a:gd name="connsiteY122" fmla="*/ 145359 h 193107"/>
                    <a:gd name="connsiteX123" fmla="*/ 329233 w 405465"/>
                    <a:gd name="connsiteY123" fmla="*/ 145049 h 193107"/>
                    <a:gd name="connsiteX124" fmla="*/ 328687 w 405465"/>
                    <a:gd name="connsiteY124" fmla="*/ 145318 h 193107"/>
                    <a:gd name="connsiteX125" fmla="*/ 328638 w 405465"/>
                    <a:gd name="connsiteY125" fmla="*/ 146328 h 193107"/>
                    <a:gd name="connsiteX126" fmla="*/ 327375 w 405465"/>
                    <a:gd name="connsiteY126" fmla="*/ 151235 h 193107"/>
                    <a:gd name="connsiteX127" fmla="*/ 327326 w 405465"/>
                    <a:gd name="connsiteY127" fmla="*/ 153614 h 193107"/>
                    <a:gd name="connsiteX128" fmla="*/ 326796 w 405465"/>
                    <a:gd name="connsiteY128" fmla="*/ 154560 h 193107"/>
                    <a:gd name="connsiteX129" fmla="*/ 326837 w 405465"/>
                    <a:gd name="connsiteY129" fmla="*/ 156687 h 193107"/>
                    <a:gd name="connsiteX130" fmla="*/ 325566 w 405465"/>
                    <a:gd name="connsiteY130" fmla="*/ 158675 h 193107"/>
                    <a:gd name="connsiteX131" fmla="*/ 325011 w 405465"/>
                    <a:gd name="connsiteY131" fmla="*/ 160444 h 193107"/>
                    <a:gd name="connsiteX132" fmla="*/ 324628 w 405465"/>
                    <a:gd name="connsiteY132" fmla="*/ 161951 h 193107"/>
                    <a:gd name="connsiteX133" fmla="*/ 323601 w 405465"/>
                    <a:gd name="connsiteY133" fmla="*/ 162995 h 193107"/>
                    <a:gd name="connsiteX134" fmla="*/ 323243 w 405465"/>
                    <a:gd name="connsiteY134" fmla="*/ 164624 h 193107"/>
                    <a:gd name="connsiteX135" fmla="*/ 322289 w 405465"/>
                    <a:gd name="connsiteY135" fmla="*/ 168104 h 193107"/>
                    <a:gd name="connsiteX136" fmla="*/ 321181 w 405465"/>
                    <a:gd name="connsiteY136" fmla="*/ 170818 h 193107"/>
                    <a:gd name="connsiteX137" fmla="*/ 320407 w 405465"/>
                    <a:gd name="connsiteY137" fmla="*/ 173157 h 193107"/>
                    <a:gd name="connsiteX138" fmla="*/ 320268 w 405465"/>
                    <a:gd name="connsiteY138" fmla="*/ 174885 h 193107"/>
                    <a:gd name="connsiteX139" fmla="*/ 320855 w 405465"/>
                    <a:gd name="connsiteY139" fmla="*/ 176124 h 193107"/>
                    <a:gd name="connsiteX140" fmla="*/ 321059 w 405465"/>
                    <a:gd name="connsiteY140" fmla="*/ 177110 h 193107"/>
                    <a:gd name="connsiteX141" fmla="*/ 320521 w 405465"/>
                    <a:gd name="connsiteY141" fmla="*/ 178911 h 193107"/>
                    <a:gd name="connsiteX142" fmla="*/ 320236 w 405465"/>
                    <a:gd name="connsiteY142" fmla="*/ 180248 h 193107"/>
                    <a:gd name="connsiteX143" fmla="*/ 318818 w 405465"/>
                    <a:gd name="connsiteY143" fmla="*/ 181144 h 193107"/>
                    <a:gd name="connsiteX144" fmla="*/ 315884 w 405465"/>
                    <a:gd name="connsiteY144" fmla="*/ 183312 h 193107"/>
                    <a:gd name="connsiteX145" fmla="*/ 314743 w 405465"/>
                    <a:gd name="connsiteY145" fmla="*/ 184803 h 193107"/>
                    <a:gd name="connsiteX146" fmla="*/ 314294 w 405465"/>
                    <a:gd name="connsiteY146" fmla="*/ 186498 h 193107"/>
                    <a:gd name="connsiteX147" fmla="*/ 314580 w 405465"/>
                    <a:gd name="connsiteY147" fmla="*/ 187941 h 193107"/>
                    <a:gd name="connsiteX148" fmla="*/ 314457 w 405465"/>
                    <a:gd name="connsiteY148" fmla="*/ 189123 h 193107"/>
                    <a:gd name="connsiteX149" fmla="*/ 313064 w 405465"/>
                    <a:gd name="connsiteY149" fmla="*/ 189579 h 193107"/>
                    <a:gd name="connsiteX150" fmla="*/ 312575 w 405465"/>
                    <a:gd name="connsiteY150" fmla="*/ 190622 h 193107"/>
                    <a:gd name="connsiteX151" fmla="*/ 311630 w 405465"/>
                    <a:gd name="connsiteY151" fmla="*/ 192456 h 193107"/>
                    <a:gd name="connsiteX152" fmla="*/ 310570 w 405465"/>
                    <a:gd name="connsiteY152" fmla="*/ 193108 h 193107"/>
                    <a:gd name="connsiteX153" fmla="*/ 307832 w 405465"/>
                    <a:gd name="connsiteY153" fmla="*/ 192130 h 193107"/>
                    <a:gd name="connsiteX154" fmla="*/ 305810 w 405465"/>
                    <a:gd name="connsiteY154" fmla="*/ 192114 h 193107"/>
                    <a:gd name="connsiteX155" fmla="*/ 304246 w 405465"/>
                    <a:gd name="connsiteY155" fmla="*/ 191225 h 193107"/>
                    <a:gd name="connsiteX156" fmla="*/ 302551 w 405465"/>
                    <a:gd name="connsiteY156" fmla="*/ 188585 h 193107"/>
                    <a:gd name="connsiteX157" fmla="*/ 301157 w 405465"/>
                    <a:gd name="connsiteY157" fmla="*/ 186376 h 193107"/>
                    <a:gd name="connsiteX158" fmla="*/ 300016 w 405465"/>
                    <a:gd name="connsiteY158" fmla="*/ 183508 h 193107"/>
                    <a:gd name="connsiteX159" fmla="*/ 299658 w 405465"/>
                    <a:gd name="connsiteY159" fmla="*/ 179563 h 193107"/>
                    <a:gd name="connsiteX160" fmla="*/ 298134 w 405465"/>
                    <a:gd name="connsiteY160" fmla="*/ 178414 h 193107"/>
                    <a:gd name="connsiteX161" fmla="*/ 296626 w 405465"/>
                    <a:gd name="connsiteY161" fmla="*/ 177045 h 193107"/>
                    <a:gd name="connsiteX162" fmla="*/ 294825 w 405465"/>
                    <a:gd name="connsiteY162" fmla="*/ 177420 h 193107"/>
                    <a:gd name="connsiteX163" fmla="*/ 292681 w 405465"/>
                    <a:gd name="connsiteY163" fmla="*/ 177680 h 193107"/>
                    <a:gd name="connsiteX164" fmla="*/ 291500 w 405465"/>
                    <a:gd name="connsiteY164" fmla="*/ 176776 h 193107"/>
                    <a:gd name="connsiteX165" fmla="*/ 288582 w 405465"/>
                    <a:gd name="connsiteY165" fmla="*/ 175113 h 193107"/>
                    <a:gd name="connsiteX166" fmla="*/ 286080 w 405465"/>
                    <a:gd name="connsiteY166" fmla="*/ 173231 h 193107"/>
                    <a:gd name="connsiteX167" fmla="*/ 284198 w 405465"/>
                    <a:gd name="connsiteY167" fmla="*/ 172285 h 193107"/>
                    <a:gd name="connsiteX168" fmla="*/ 282755 w 405465"/>
                    <a:gd name="connsiteY168" fmla="*/ 172733 h 193107"/>
                    <a:gd name="connsiteX169" fmla="*/ 281899 w 405465"/>
                    <a:gd name="connsiteY169" fmla="*/ 173874 h 193107"/>
                    <a:gd name="connsiteX170" fmla="*/ 280383 w 405465"/>
                    <a:gd name="connsiteY170" fmla="*/ 175912 h 193107"/>
                    <a:gd name="connsiteX171" fmla="*/ 278150 w 405465"/>
                    <a:gd name="connsiteY171" fmla="*/ 177322 h 193107"/>
                    <a:gd name="connsiteX172" fmla="*/ 277140 w 405465"/>
                    <a:gd name="connsiteY172" fmla="*/ 177248 h 193107"/>
                    <a:gd name="connsiteX173" fmla="*/ 275795 w 405465"/>
                    <a:gd name="connsiteY173" fmla="*/ 176303 h 193107"/>
                    <a:gd name="connsiteX174" fmla="*/ 275551 w 405465"/>
                    <a:gd name="connsiteY174" fmla="*/ 175211 h 193107"/>
                    <a:gd name="connsiteX175" fmla="*/ 276659 w 405465"/>
                    <a:gd name="connsiteY175" fmla="*/ 173483 h 193107"/>
                    <a:gd name="connsiteX176" fmla="*/ 278908 w 405465"/>
                    <a:gd name="connsiteY176" fmla="*/ 169669 h 193107"/>
                    <a:gd name="connsiteX177" fmla="*/ 276406 w 405465"/>
                    <a:gd name="connsiteY177" fmla="*/ 169555 h 193107"/>
                    <a:gd name="connsiteX178" fmla="*/ 275551 w 405465"/>
                    <a:gd name="connsiteY178" fmla="*/ 168365 h 193107"/>
                    <a:gd name="connsiteX179" fmla="*/ 275420 w 405465"/>
                    <a:gd name="connsiteY179" fmla="*/ 166972 h 193107"/>
                    <a:gd name="connsiteX180" fmla="*/ 275013 w 405465"/>
                    <a:gd name="connsiteY180" fmla="*/ 165488 h 193107"/>
                    <a:gd name="connsiteX181" fmla="*/ 275510 w 405465"/>
                    <a:gd name="connsiteY181" fmla="*/ 163696 h 193107"/>
                    <a:gd name="connsiteX182" fmla="*/ 276822 w 405465"/>
                    <a:gd name="connsiteY182" fmla="*/ 162758 h 193107"/>
                    <a:gd name="connsiteX183" fmla="*/ 278794 w 405465"/>
                    <a:gd name="connsiteY183" fmla="*/ 163508 h 193107"/>
                    <a:gd name="connsiteX184" fmla="*/ 280147 w 405465"/>
                    <a:gd name="connsiteY184" fmla="*/ 163557 h 193107"/>
                    <a:gd name="connsiteX185" fmla="*/ 281044 w 405465"/>
                    <a:gd name="connsiteY185" fmla="*/ 161870 h 193107"/>
                    <a:gd name="connsiteX186" fmla="*/ 281948 w 405465"/>
                    <a:gd name="connsiteY186" fmla="*/ 161128 h 193107"/>
                    <a:gd name="connsiteX187" fmla="*/ 282853 w 405465"/>
                    <a:gd name="connsiteY187" fmla="*/ 160590 h 193107"/>
                    <a:gd name="connsiteX188" fmla="*/ 283220 w 405465"/>
                    <a:gd name="connsiteY188" fmla="*/ 159743 h 193107"/>
                    <a:gd name="connsiteX189" fmla="*/ 282266 w 405465"/>
                    <a:gd name="connsiteY189" fmla="*/ 157037 h 193107"/>
                    <a:gd name="connsiteX190" fmla="*/ 281989 w 405465"/>
                    <a:gd name="connsiteY190" fmla="*/ 155570 h 193107"/>
                    <a:gd name="connsiteX191" fmla="*/ 282274 w 405465"/>
                    <a:gd name="connsiteY191" fmla="*/ 154723 h 193107"/>
                    <a:gd name="connsiteX192" fmla="*/ 282234 w 405465"/>
                    <a:gd name="connsiteY192" fmla="*/ 153052 h 193107"/>
                    <a:gd name="connsiteX193" fmla="*/ 282193 w 405465"/>
                    <a:gd name="connsiteY193" fmla="*/ 151805 h 193107"/>
                    <a:gd name="connsiteX194" fmla="*/ 281622 w 405465"/>
                    <a:gd name="connsiteY194" fmla="*/ 150713 h 193107"/>
                    <a:gd name="connsiteX195" fmla="*/ 281581 w 405465"/>
                    <a:gd name="connsiteY195" fmla="*/ 149083 h 193107"/>
                    <a:gd name="connsiteX196" fmla="*/ 281084 w 405465"/>
                    <a:gd name="connsiteY196" fmla="*/ 148186 h 193107"/>
                    <a:gd name="connsiteX197" fmla="*/ 280921 w 405465"/>
                    <a:gd name="connsiteY197" fmla="*/ 147249 h 193107"/>
                    <a:gd name="connsiteX198" fmla="*/ 280881 w 405465"/>
                    <a:gd name="connsiteY198" fmla="*/ 146165 h 193107"/>
                    <a:gd name="connsiteX199" fmla="*/ 280261 w 405465"/>
                    <a:gd name="connsiteY199" fmla="*/ 145619 h 193107"/>
                    <a:gd name="connsiteX200" fmla="*/ 279609 w 405465"/>
                    <a:gd name="connsiteY200" fmla="*/ 145073 h 193107"/>
                    <a:gd name="connsiteX201" fmla="*/ 280147 w 405465"/>
                    <a:gd name="connsiteY201" fmla="*/ 144666 h 193107"/>
                    <a:gd name="connsiteX202" fmla="*/ 283700 w 405465"/>
                    <a:gd name="connsiteY202" fmla="*/ 143158 h 193107"/>
                    <a:gd name="connsiteX203" fmla="*/ 285175 w 405465"/>
                    <a:gd name="connsiteY203" fmla="*/ 141642 h 193107"/>
                    <a:gd name="connsiteX204" fmla="*/ 287001 w 405465"/>
                    <a:gd name="connsiteY204" fmla="*/ 140265 h 193107"/>
                    <a:gd name="connsiteX205" fmla="*/ 288574 w 405465"/>
                    <a:gd name="connsiteY205" fmla="*/ 138162 h 193107"/>
                    <a:gd name="connsiteX206" fmla="*/ 289601 w 405465"/>
                    <a:gd name="connsiteY206" fmla="*/ 136125 h 193107"/>
                    <a:gd name="connsiteX207" fmla="*/ 292054 w 405465"/>
                    <a:gd name="connsiteY207" fmla="*/ 126753 h 193107"/>
                    <a:gd name="connsiteX208" fmla="*/ 294352 w 405465"/>
                    <a:gd name="connsiteY208" fmla="*/ 120828 h 193107"/>
                    <a:gd name="connsiteX209" fmla="*/ 293969 w 405465"/>
                    <a:gd name="connsiteY209" fmla="*/ 117984 h 193107"/>
                    <a:gd name="connsiteX210" fmla="*/ 292062 w 405465"/>
                    <a:gd name="connsiteY210" fmla="*/ 114153 h 193107"/>
                    <a:gd name="connsiteX211" fmla="*/ 291630 w 405465"/>
                    <a:gd name="connsiteY211" fmla="*/ 108505 h 193107"/>
                    <a:gd name="connsiteX212" fmla="*/ 291801 w 405465"/>
                    <a:gd name="connsiteY212" fmla="*/ 106786 h 193107"/>
                    <a:gd name="connsiteX213" fmla="*/ 291565 w 405465"/>
                    <a:gd name="connsiteY213" fmla="*/ 105498 h 193107"/>
                    <a:gd name="connsiteX214" fmla="*/ 290293 w 405465"/>
                    <a:gd name="connsiteY214" fmla="*/ 107829 h 193107"/>
                    <a:gd name="connsiteX215" fmla="*/ 290620 w 405465"/>
                    <a:gd name="connsiteY215" fmla="*/ 116158 h 193107"/>
                    <a:gd name="connsiteX216" fmla="*/ 289495 w 405465"/>
                    <a:gd name="connsiteY216" fmla="*/ 119899 h 193107"/>
                    <a:gd name="connsiteX217" fmla="*/ 287922 w 405465"/>
                    <a:gd name="connsiteY217" fmla="*/ 120803 h 193107"/>
                    <a:gd name="connsiteX218" fmla="*/ 286903 w 405465"/>
                    <a:gd name="connsiteY218" fmla="*/ 120143 h 193107"/>
                    <a:gd name="connsiteX219" fmla="*/ 287490 w 405465"/>
                    <a:gd name="connsiteY219" fmla="*/ 114064 h 193107"/>
                    <a:gd name="connsiteX220" fmla="*/ 286341 w 405465"/>
                    <a:gd name="connsiteY220" fmla="*/ 115172 h 193107"/>
                    <a:gd name="connsiteX221" fmla="*/ 284499 w 405465"/>
                    <a:gd name="connsiteY221" fmla="*/ 119296 h 193107"/>
                    <a:gd name="connsiteX222" fmla="*/ 281484 w 405465"/>
                    <a:gd name="connsiteY222" fmla="*/ 122368 h 193107"/>
                    <a:gd name="connsiteX223" fmla="*/ 281321 w 405465"/>
                    <a:gd name="connsiteY223" fmla="*/ 123379 h 193107"/>
                    <a:gd name="connsiteX224" fmla="*/ 280587 w 405465"/>
                    <a:gd name="connsiteY224" fmla="*/ 124634 h 193107"/>
                    <a:gd name="connsiteX225" fmla="*/ 278256 w 405465"/>
                    <a:gd name="connsiteY225" fmla="*/ 123468 h 193107"/>
                    <a:gd name="connsiteX226" fmla="*/ 276488 w 405465"/>
                    <a:gd name="connsiteY226" fmla="*/ 122213 h 193107"/>
                    <a:gd name="connsiteX227" fmla="*/ 270661 w 405465"/>
                    <a:gd name="connsiteY227" fmla="*/ 115359 h 193107"/>
                    <a:gd name="connsiteX228" fmla="*/ 266839 w 405465"/>
                    <a:gd name="connsiteY228" fmla="*/ 113917 h 193107"/>
                    <a:gd name="connsiteX229" fmla="*/ 264524 w 405465"/>
                    <a:gd name="connsiteY229" fmla="*/ 111521 h 193107"/>
                    <a:gd name="connsiteX230" fmla="*/ 264035 w 405465"/>
                    <a:gd name="connsiteY230" fmla="*/ 110519 h 193107"/>
                    <a:gd name="connsiteX231" fmla="*/ 263766 w 405465"/>
                    <a:gd name="connsiteY231" fmla="*/ 109133 h 193107"/>
                    <a:gd name="connsiteX232" fmla="*/ 266121 w 405465"/>
                    <a:gd name="connsiteY232" fmla="*/ 107690 h 193107"/>
                    <a:gd name="connsiteX233" fmla="*/ 268534 w 405465"/>
                    <a:gd name="connsiteY233" fmla="*/ 105759 h 193107"/>
                    <a:gd name="connsiteX234" fmla="*/ 268778 w 405465"/>
                    <a:gd name="connsiteY234" fmla="*/ 101513 h 193107"/>
                    <a:gd name="connsiteX235" fmla="*/ 268713 w 405465"/>
                    <a:gd name="connsiteY235" fmla="*/ 98180 h 193107"/>
                    <a:gd name="connsiteX236" fmla="*/ 266928 w 405465"/>
                    <a:gd name="connsiteY236" fmla="*/ 92467 h 193107"/>
                    <a:gd name="connsiteX237" fmla="*/ 267768 w 405465"/>
                    <a:gd name="connsiteY237" fmla="*/ 85010 h 193107"/>
                    <a:gd name="connsiteX238" fmla="*/ 267303 w 405465"/>
                    <a:gd name="connsiteY238" fmla="*/ 82092 h 193107"/>
                    <a:gd name="connsiteX239" fmla="*/ 265266 w 405465"/>
                    <a:gd name="connsiteY239" fmla="*/ 75898 h 193107"/>
                    <a:gd name="connsiteX240" fmla="*/ 266773 w 405465"/>
                    <a:gd name="connsiteY240" fmla="*/ 72769 h 193107"/>
                    <a:gd name="connsiteX241" fmla="*/ 272177 w 405465"/>
                    <a:gd name="connsiteY241" fmla="*/ 70503 h 193107"/>
                    <a:gd name="connsiteX242" fmla="*/ 273904 w 405465"/>
                    <a:gd name="connsiteY242" fmla="*/ 68971 h 193107"/>
                    <a:gd name="connsiteX243" fmla="*/ 275119 w 405465"/>
                    <a:gd name="connsiteY243" fmla="*/ 64057 h 193107"/>
                    <a:gd name="connsiteX244" fmla="*/ 276349 w 405465"/>
                    <a:gd name="connsiteY244" fmla="*/ 61107 h 193107"/>
                    <a:gd name="connsiteX245" fmla="*/ 278754 w 405465"/>
                    <a:gd name="connsiteY245" fmla="*/ 62296 h 193107"/>
                    <a:gd name="connsiteX246" fmla="*/ 280636 w 405465"/>
                    <a:gd name="connsiteY246" fmla="*/ 62158 h 193107"/>
                    <a:gd name="connsiteX247" fmla="*/ 278093 w 405465"/>
                    <a:gd name="connsiteY247" fmla="*/ 61058 h 193107"/>
                    <a:gd name="connsiteX248" fmla="*/ 276015 w 405465"/>
                    <a:gd name="connsiteY248" fmla="*/ 56633 h 193107"/>
                    <a:gd name="connsiteX249" fmla="*/ 275673 w 405465"/>
                    <a:gd name="connsiteY249" fmla="*/ 54611 h 193107"/>
                    <a:gd name="connsiteX250" fmla="*/ 279658 w 405465"/>
                    <a:gd name="connsiteY250" fmla="*/ 48540 h 193107"/>
                    <a:gd name="connsiteX251" fmla="*/ 281752 w 405465"/>
                    <a:gd name="connsiteY251" fmla="*/ 46967 h 193107"/>
                    <a:gd name="connsiteX252" fmla="*/ 284320 w 405465"/>
                    <a:gd name="connsiteY252" fmla="*/ 43756 h 193107"/>
                    <a:gd name="connsiteX253" fmla="*/ 286488 w 405465"/>
                    <a:gd name="connsiteY253" fmla="*/ 38923 h 193107"/>
                    <a:gd name="connsiteX254" fmla="*/ 287009 w 405465"/>
                    <a:gd name="connsiteY254" fmla="*/ 31295 h 193107"/>
                    <a:gd name="connsiteX255" fmla="*/ 286113 w 405465"/>
                    <a:gd name="connsiteY255" fmla="*/ 25843 h 193107"/>
                    <a:gd name="connsiteX256" fmla="*/ 285436 w 405465"/>
                    <a:gd name="connsiteY256" fmla="*/ 20081 h 193107"/>
                    <a:gd name="connsiteX257" fmla="*/ 286740 w 405465"/>
                    <a:gd name="connsiteY257" fmla="*/ 18590 h 193107"/>
                    <a:gd name="connsiteX258" fmla="*/ 290025 w 405465"/>
                    <a:gd name="connsiteY258" fmla="*/ 17823 h 193107"/>
                    <a:gd name="connsiteX259" fmla="*/ 292698 w 405465"/>
                    <a:gd name="connsiteY259" fmla="*/ 15965 h 193107"/>
                    <a:gd name="connsiteX260" fmla="*/ 294050 w 405465"/>
                    <a:gd name="connsiteY260" fmla="*/ 14246 h 193107"/>
                    <a:gd name="connsiteX261" fmla="*/ 297229 w 405465"/>
                    <a:gd name="connsiteY261" fmla="*/ 14498 h 193107"/>
                    <a:gd name="connsiteX262" fmla="*/ 300896 w 405465"/>
                    <a:gd name="connsiteY262" fmla="*/ 11842 h 193107"/>
                    <a:gd name="connsiteX263" fmla="*/ 306756 w 405465"/>
                    <a:gd name="connsiteY263" fmla="*/ 10505 h 193107"/>
                    <a:gd name="connsiteX264" fmla="*/ 314930 w 405465"/>
                    <a:gd name="connsiteY264" fmla="*/ 7457 h 193107"/>
                    <a:gd name="connsiteX265" fmla="*/ 316731 w 405465"/>
                    <a:gd name="connsiteY265" fmla="*/ 4776 h 193107"/>
                    <a:gd name="connsiteX266" fmla="*/ 315916 w 405465"/>
                    <a:gd name="connsiteY266" fmla="*/ 0 h 193107"/>
                    <a:gd name="connsiteX267" fmla="*/ 316682 w 405465"/>
                    <a:gd name="connsiteY267" fmla="*/ 619 h 193107"/>
                    <a:gd name="connsiteX268" fmla="*/ 318956 w 405465"/>
                    <a:gd name="connsiteY268" fmla="*/ 2893 h 193107"/>
                    <a:gd name="connsiteX269" fmla="*/ 320333 w 405465"/>
                    <a:gd name="connsiteY269" fmla="*/ 5151 h 193107"/>
                    <a:gd name="connsiteX270" fmla="*/ 322656 w 405465"/>
                    <a:gd name="connsiteY270" fmla="*/ 6552 h 193107"/>
                    <a:gd name="connsiteX271" fmla="*/ 324547 w 405465"/>
                    <a:gd name="connsiteY271" fmla="*/ 7685 h 193107"/>
                    <a:gd name="connsiteX272" fmla="*/ 329510 w 405465"/>
                    <a:gd name="connsiteY272" fmla="*/ 12306 h 193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405465" h="193107">
                      <a:moveTo>
                        <a:pt x="8068" y="42884"/>
                      </a:moveTo>
                      <a:lnTo>
                        <a:pt x="9600" y="44815"/>
                      </a:lnTo>
                      <a:lnTo>
                        <a:pt x="10440" y="50316"/>
                      </a:lnTo>
                      <a:lnTo>
                        <a:pt x="15419" y="56119"/>
                      </a:lnTo>
                      <a:lnTo>
                        <a:pt x="16039" y="59363"/>
                      </a:lnTo>
                      <a:lnTo>
                        <a:pt x="15599" y="60862"/>
                      </a:lnTo>
                      <a:lnTo>
                        <a:pt x="15835" y="61457"/>
                      </a:lnTo>
                      <a:lnTo>
                        <a:pt x="18223" y="63739"/>
                      </a:lnTo>
                      <a:lnTo>
                        <a:pt x="19779" y="66151"/>
                      </a:lnTo>
                      <a:lnTo>
                        <a:pt x="17155" y="71791"/>
                      </a:lnTo>
                      <a:lnTo>
                        <a:pt x="11565" y="74163"/>
                      </a:lnTo>
                      <a:lnTo>
                        <a:pt x="5599" y="74073"/>
                      </a:lnTo>
                      <a:lnTo>
                        <a:pt x="4417" y="73470"/>
                      </a:lnTo>
                      <a:lnTo>
                        <a:pt x="2820" y="71318"/>
                      </a:lnTo>
                      <a:lnTo>
                        <a:pt x="2526" y="69403"/>
                      </a:lnTo>
                      <a:lnTo>
                        <a:pt x="3447" y="67553"/>
                      </a:lnTo>
                      <a:lnTo>
                        <a:pt x="6528" y="64766"/>
                      </a:lnTo>
                      <a:lnTo>
                        <a:pt x="11230" y="62272"/>
                      </a:lnTo>
                      <a:lnTo>
                        <a:pt x="11817" y="60357"/>
                      </a:lnTo>
                      <a:lnTo>
                        <a:pt x="9926" y="58507"/>
                      </a:lnTo>
                      <a:lnTo>
                        <a:pt x="8623" y="54815"/>
                      </a:lnTo>
                      <a:lnTo>
                        <a:pt x="5656" y="52223"/>
                      </a:lnTo>
                      <a:lnTo>
                        <a:pt x="4173" y="44326"/>
                      </a:lnTo>
                      <a:lnTo>
                        <a:pt x="3186" y="43935"/>
                      </a:lnTo>
                      <a:lnTo>
                        <a:pt x="1165" y="45027"/>
                      </a:lnTo>
                      <a:lnTo>
                        <a:pt x="171" y="44065"/>
                      </a:lnTo>
                      <a:lnTo>
                        <a:pt x="0" y="43560"/>
                      </a:lnTo>
                      <a:lnTo>
                        <a:pt x="2176" y="41751"/>
                      </a:lnTo>
                      <a:lnTo>
                        <a:pt x="2624" y="40463"/>
                      </a:lnTo>
                      <a:lnTo>
                        <a:pt x="5843" y="39844"/>
                      </a:lnTo>
                      <a:lnTo>
                        <a:pt x="7221" y="40871"/>
                      </a:lnTo>
                      <a:lnTo>
                        <a:pt x="8068" y="42884"/>
                      </a:lnTo>
                      <a:close/>
                      <a:moveTo>
                        <a:pt x="329510" y="12306"/>
                      </a:moveTo>
                      <a:lnTo>
                        <a:pt x="332762" y="14629"/>
                      </a:lnTo>
                      <a:lnTo>
                        <a:pt x="336331" y="16715"/>
                      </a:lnTo>
                      <a:lnTo>
                        <a:pt x="341474" y="18915"/>
                      </a:lnTo>
                      <a:lnTo>
                        <a:pt x="344620" y="18549"/>
                      </a:lnTo>
                      <a:lnTo>
                        <a:pt x="345353" y="20211"/>
                      </a:lnTo>
                      <a:lnTo>
                        <a:pt x="345964" y="21963"/>
                      </a:lnTo>
                      <a:lnTo>
                        <a:pt x="347138" y="22982"/>
                      </a:lnTo>
                      <a:lnTo>
                        <a:pt x="349004" y="23854"/>
                      </a:lnTo>
                      <a:lnTo>
                        <a:pt x="350112" y="24131"/>
                      </a:lnTo>
                      <a:lnTo>
                        <a:pt x="350455" y="24563"/>
                      </a:lnTo>
                      <a:lnTo>
                        <a:pt x="351571" y="30904"/>
                      </a:lnTo>
                      <a:lnTo>
                        <a:pt x="352231" y="31833"/>
                      </a:lnTo>
                      <a:lnTo>
                        <a:pt x="354799" y="32835"/>
                      </a:lnTo>
                      <a:lnTo>
                        <a:pt x="357953" y="33210"/>
                      </a:lnTo>
                      <a:lnTo>
                        <a:pt x="359224" y="32990"/>
                      </a:lnTo>
                      <a:lnTo>
                        <a:pt x="361995" y="34750"/>
                      </a:lnTo>
                      <a:lnTo>
                        <a:pt x="364032" y="35582"/>
                      </a:lnTo>
                      <a:lnTo>
                        <a:pt x="366282" y="36201"/>
                      </a:lnTo>
                      <a:lnTo>
                        <a:pt x="367814" y="36380"/>
                      </a:lnTo>
                      <a:lnTo>
                        <a:pt x="368515" y="36103"/>
                      </a:lnTo>
                      <a:lnTo>
                        <a:pt x="368775" y="35468"/>
                      </a:lnTo>
                      <a:lnTo>
                        <a:pt x="370022" y="35582"/>
                      </a:lnTo>
                      <a:lnTo>
                        <a:pt x="371889" y="36397"/>
                      </a:lnTo>
                      <a:lnTo>
                        <a:pt x="374578" y="36568"/>
                      </a:lnTo>
                      <a:lnTo>
                        <a:pt x="376249" y="35794"/>
                      </a:lnTo>
                      <a:lnTo>
                        <a:pt x="376485" y="34522"/>
                      </a:lnTo>
                      <a:lnTo>
                        <a:pt x="376599" y="32273"/>
                      </a:lnTo>
                      <a:lnTo>
                        <a:pt x="377227" y="31490"/>
                      </a:lnTo>
                      <a:lnTo>
                        <a:pt x="379134" y="30186"/>
                      </a:lnTo>
                      <a:lnTo>
                        <a:pt x="380136" y="30464"/>
                      </a:lnTo>
                      <a:lnTo>
                        <a:pt x="385164" y="33275"/>
                      </a:lnTo>
                      <a:lnTo>
                        <a:pt x="386200" y="34245"/>
                      </a:lnTo>
                      <a:lnTo>
                        <a:pt x="387471" y="36201"/>
                      </a:lnTo>
                      <a:lnTo>
                        <a:pt x="389826" y="39094"/>
                      </a:lnTo>
                      <a:lnTo>
                        <a:pt x="392385" y="40944"/>
                      </a:lnTo>
                      <a:lnTo>
                        <a:pt x="396338" y="41735"/>
                      </a:lnTo>
                      <a:lnTo>
                        <a:pt x="400144" y="44775"/>
                      </a:lnTo>
                      <a:lnTo>
                        <a:pt x="404593" y="46812"/>
                      </a:lnTo>
                      <a:lnTo>
                        <a:pt x="403200" y="47880"/>
                      </a:lnTo>
                      <a:lnTo>
                        <a:pt x="401766" y="47986"/>
                      </a:lnTo>
                      <a:lnTo>
                        <a:pt x="399842" y="48320"/>
                      </a:lnTo>
                      <a:lnTo>
                        <a:pt x="397169" y="47293"/>
                      </a:lnTo>
                      <a:lnTo>
                        <a:pt x="396118" y="47293"/>
                      </a:lnTo>
                      <a:lnTo>
                        <a:pt x="395979" y="48336"/>
                      </a:lnTo>
                      <a:lnTo>
                        <a:pt x="397748" y="49607"/>
                      </a:lnTo>
                      <a:lnTo>
                        <a:pt x="399475" y="51050"/>
                      </a:lnTo>
                      <a:lnTo>
                        <a:pt x="400095" y="53250"/>
                      </a:lnTo>
                      <a:lnTo>
                        <a:pt x="401122" y="55858"/>
                      </a:lnTo>
                      <a:lnTo>
                        <a:pt x="403591" y="58768"/>
                      </a:lnTo>
                      <a:lnTo>
                        <a:pt x="405123" y="60251"/>
                      </a:lnTo>
                      <a:lnTo>
                        <a:pt x="405221" y="61286"/>
                      </a:lnTo>
                      <a:lnTo>
                        <a:pt x="404740" y="63185"/>
                      </a:lnTo>
                      <a:lnTo>
                        <a:pt x="404618" y="64782"/>
                      </a:lnTo>
                      <a:lnTo>
                        <a:pt x="405466" y="72109"/>
                      </a:lnTo>
                      <a:lnTo>
                        <a:pt x="404903" y="72549"/>
                      </a:lnTo>
                      <a:lnTo>
                        <a:pt x="403991" y="72598"/>
                      </a:lnTo>
                      <a:lnTo>
                        <a:pt x="403021" y="72549"/>
                      </a:lnTo>
                      <a:lnTo>
                        <a:pt x="402222" y="71758"/>
                      </a:lnTo>
                      <a:lnTo>
                        <a:pt x="401537" y="71278"/>
                      </a:lnTo>
                      <a:lnTo>
                        <a:pt x="401228" y="72410"/>
                      </a:lnTo>
                      <a:lnTo>
                        <a:pt x="400519" y="75678"/>
                      </a:lnTo>
                      <a:lnTo>
                        <a:pt x="398913" y="83005"/>
                      </a:lnTo>
                      <a:lnTo>
                        <a:pt x="397511" y="89443"/>
                      </a:lnTo>
                      <a:lnTo>
                        <a:pt x="395751" y="91725"/>
                      </a:lnTo>
                      <a:lnTo>
                        <a:pt x="393200" y="95344"/>
                      </a:lnTo>
                      <a:lnTo>
                        <a:pt x="389704" y="100274"/>
                      </a:lnTo>
                      <a:lnTo>
                        <a:pt x="384635" y="107462"/>
                      </a:lnTo>
                      <a:lnTo>
                        <a:pt x="380886" y="110779"/>
                      </a:lnTo>
                      <a:lnTo>
                        <a:pt x="377927" y="113387"/>
                      </a:lnTo>
                      <a:lnTo>
                        <a:pt x="374472" y="116411"/>
                      </a:lnTo>
                      <a:lnTo>
                        <a:pt x="370014" y="120322"/>
                      </a:lnTo>
                      <a:lnTo>
                        <a:pt x="365010" y="122515"/>
                      </a:lnTo>
                      <a:lnTo>
                        <a:pt x="358050" y="125571"/>
                      </a:lnTo>
                      <a:lnTo>
                        <a:pt x="353120" y="127723"/>
                      </a:lnTo>
                      <a:lnTo>
                        <a:pt x="349485" y="129238"/>
                      </a:lnTo>
                      <a:lnTo>
                        <a:pt x="345712" y="130803"/>
                      </a:lnTo>
                      <a:lnTo>
                        <a:pt x="340708" y="132873"/>
                      </a:lnTo>
                      <a:lnTo>
                        <a:pt x="338784" y="134829"/>
                      </a:lnTo>
                      <a:lnTo>
                        <a:pt x="335565" y="139621"/>
                      </a:lnTo>
                      <a:lnTo>
                        <a:pt x="334066" y="141927"/>
                      </a:lnTo>
                      <a:lnTo>
                        <a:pt x="332705" y="143916"/>
                      </a:lnTo>
                      <a:lnTo>
                        <a:pt x="332419" y="144829"/>
                      </a:lnTo>
                      <a:lnTo>
                        <a:pt x="332599" y="145391"/>
                      </a:lnTo>
                      <a:lnTo>
                        <a:pt x="333259" y="146361"/>
                      </a:lnTo>
                      <a:lnTo>
                        <a:pt x="333324" y="147355"/>
                      </a:lnTo>
                      <a:lnTo>
                        <a:pt x="332419" y="147975"/>
                      </a:lnTo>
                      <a:lnTo>
                        <a:pt x="331637" y="148073"/>
                      </a:lnTo>
                      <a:lnTo>
                        <a:pt x="331287" y="147567"/>
                      </a:lnTo>
                      <a:lnTo>
                        <a:pt x="331026" y="146475"/>
                      </a:lnTo>
                      <a:lnTo>
                        <a:pt x="330195" y="145359"/>
                      </a:lnTo>
                      <a:lnTo>
                        <a:pt x="329233" y="145049"/>
                      </a:lnTo>
                      <a:lnTo>
                        <a:pt x="328687" y="145318"/>
                      </a:lnTo>
                      <a:lnTo>
                        <a:pt x="328638" y="146328"/>
                      </a:lnTo>
                      <a:lnTo>
                        <a:pt x="327375" y="151235"/>
                      </a:lnTo>
                      <a:lnTo>
                        <a:pt x="327326" y="153614"/>
                      </a:lnTo>
                      <a:lnTo>
                        <a:pt x="326796" y="154560"/>
                      </a:lnTo>
                      <a:lnTo>
                        <a:pt x="326837" y="156687"/>
                      </a:lnTo>
                      <a:lnTo>
                        <a:pt x="325566" y="158675"/>
                      </a:lnTo>
                      <a:lnTo>
                        <a:pt x="325011" y="160444"/>
                      </a:lnTo>
                      <a:lnTo>
                        <a:pt x="324628" y="161951"/>
                      </a:lnTo>
                      <a:lnTo>
                        <a:pt x="323601" y="162995"/>
                      </a:lnTo>
                      <a:lnTo>
                        <a:pt x="323243" y="164624"/>
                      </a:lnTo>
                      <a:lnTo>
                        <a:pt x="322289" y="168104"/>
                      </a:lnTo>
                      <a:lnTo>
                        <a:pt x="321181" y="170818"/>
                      </a:lnTo>
                      <a:lnTo>
                        <a:pt x="320407" y="173157"/>
                      </a:lnTo>
                      <a:lnTo>
                        <a:pt x="320268" y="174885"/>
                      </a:lnTo>
                      <a:lnTo>
                        <a:pt x="320855" y="176124"/>
                      </a:lnTo>
                      <a:lnTo>
                        <a:pt x="321059" y="177110"/>
                      </a:lnTo>
                      <a:lnTo>
                        <a:pt x="320521" y="178911"/>
                      </a:lnTo>
                      <a:lnTo>
                        <a:pt x="320236" y="180248"/>
                      </a:lnTo>
                      <a:lnTo>
                        <a:pt x="318818" y="181144"/>
                      </a:lnTo>
                      <a:lnTo>
                        <a:pt x="315884" y="183312"/>
                      </a:lnTo>
                      <a:lnTo>
                        <a:pt x="314743" y="184803"/>
                      </a:lnTo>
                      <a:lnTo>
                        <a:pt x="314294" y="186498"/>
                      </a:lnTo>
                      <a:lnTo>
                        <a:pt x="314580" y="187941"/>
                      </a:lnTo>
                      <a:lnTo>
                        <a:pt x="314457" y="189123"/>
                      </a:lnTo>
                      <a:lnTo>
                        <a:pt x="313064" y="189579"/>
                      </a:lnTo>
                      <a:lnTo>
                        <a:pt x="312575" y="190622"/>
                      </a:lnTo>
                      <a:lnTo>
                        <a:pt x="311630" y="192456"/>
                      </a:lnTo>
                      <a:lnTo>
                        <a:pt x="310570" y="193108"/>
                      </a:lnTo>
                      <a:lnTo>
                        <a:pt x="307832" y="192130"/>
                      </a:lnTo>
                      <a:lnTo>
                        <a:pt x="305810" y="192114"/>
                      </a:lnTo>
                      <a:lnTo>
                        <a:pt x="304246" y="191225"/>
                      </a:lnTo>
                      <a:lnTo>
                        <a:pt x="302551" y="188585"/>
                      </a:lnTo>
                      <a:lnTo>
                        <a:pt x="301157" y="186376"/>
                      </a:lnTo>
                      <a:lnTo>
                        <a:pt x="300016" y="183508"/>
                      </a:lnTo>
                      <a:lnTo>
                        <a:pt x="299658" y="179563"/>
                      </a:lnTo>
                      <a:lnTo>
                        <a:pt x="298134" y="178414"/>
                      </a:lnTo>
                      <a:lnTo>
                        <a:pt x="296626" y="177045"/>
                      </a:lnTo>
                      <a:lnTo>
                        <a:pt x="294825" y="177420"/>
                      </a:lnTo>
                      <a:lnTo>
                        <a:pt x="292681" y="177680"/>
                      </a:lnTo>
                      <a:lnTo>
                        <a:pt x="291500" y="176776"/>
                      </a:lnTo>
                      <a:lnTo>
                        <a:pt x="288582" y="175113"/>
                      </a:lnTo>
                      <a:lnTo>
                        <a:pt x="286080" y="173231"/>
                      </a:lnTo>
                      <a:lnTo>
                        <a:pt x="284198" y="172285"/>
                      </a:lnTo>
                      <a:lnTo>
                        <a:pt x="282755" y="172733"/>
                      </a:lnTo>
                      <a:lnTo>
                        <a:pt x="281899" y="173874"/>
                      </a:lnTo>
                      <a:lnTo>
                        <a:pt x="280383" y="175912"/>
                      </a:lnTo>
                      <a:lnTo>
                        <a:pt x="278150" y="177322"/>
                      </a:lnTo>
                      <a:lnTo>
                        <a:pt x="277140" y="177248"/>
                      </a:lnTo>
                      <a:lnTo>
                        <a:pt x="275795" y="176303"/>
                      </a:lnTo>
                      <a:lnTo>
                        <a:pt x="275551" y="175211"/>
                      </a:lnTo>
                      <a:lnTo>
                        <a:pt x="276659" y="173483"/>
                      </a:lnTo>
                      <a:lnTo>
                        <a:pt x="278908" y="169669"/>
                      </a:lnTo>
                      <a:lnTo>
                        <a:pt x="276406" y="169555"/>
                      </a:lnTo>
                      <a:lnTo>
                        <a:pt x="275551" y="168365"/>
                      </a:lnTo>
                      <a:lnTo>
                        <a:pt x="275420" y="166972"/>
                      </a:lnTo>
                      <a:lnTo>
                        <a:pt x="275013" y="165488"/>
                      </a:lnTo>
                      <a:lnTo>
                        <a:pt x="275510" y="163696"/>
                      </a:lnTo>
                      <a:lnTo>
                        <a:pt x="276822" y="162758"/>
                      </a:lnTo>
                      <a:lnTo>
                        <a:pt x="278794" y="163508"/>
                      </a:lnTo>
                      <a:lnTo>
                        <a:pt x="280147" y="163557"/>
                      </a:lnTo>
                      <a:lnTo>
                        <a:pt x="281044" y="161870"/>
                      </a:lnTo>
                      <a:lnTo>
                        <a:pt x="281948" y="161128"/>
                      </a:lnTo>
                      <a:lnTo>
                        <a:pt x="282853" y="160590"/>
                      </a:lnTo>
                      <a:lnTo>
                        <a:pt x="283220" y="159743"/>
                      </a:lnTo>
                      <a:lnTo>
                        <a:pt x="282266" y="157037"/>
                      </a:lnTo>
                      <a:lnTo>
                        <a:pt x="281989" y="155570"/>
                      </a:lnTo>
                      <a:lnTo>
                        <a:pt x="282274" y="154723"/>
                      </a:lnTo>
                      <a:lnTo>
                        <a:pt x="282234" y="153052"/>
                      </a:lnTo>
                      <a:lnTo>
                        <a:pt x="282193" y="151805"/>
                      </a:lnTo>
                      <a:lnTo>
                        <a:pt x="281622" y="150713"/>
                      </a:lnTo>
                      <a:lnTo>
                        <a:pt x="281581" y="149083"/>
                      </a:lnTo>
                      <a:lnTo>
                        <a:pt x="281084" y="148186"/>
                      </a:lnTo>
                      <a:lnTo>
                        <a:pt x="280921" y="147249"/>
                      </a:lnTo>
                      <a:lnTo>
                        <a:pt x="280881" y="146165"/>
                      </a:lnTo>
                      <a:lnTo>
                        <a:pt x="280261" y="145619"/>
                      </a:lnTo>
                      <a:lnTo>
                        <a:pt x="279609" y="145073"/>
                      </a:lnTo>
                      <a:lnTo>
                        <a:pt x="280147" y="144666"/>
                      </a:lnTo>
                      <a:lnTo>
                        <a:pt x="283700" y="143158"/>
                      </a:lnTo>
                      <a:lnTo>
                        <a:pt x="285175" y="141642"/>
                      </a:lnTo>
                      <a:lnTo>
                        <a:pt x="287001" y="140265"/>
                      </a:lnTo>
                      <a:lnTo>
                        <a:pt x="288574" y="138162"/>
                      </a:lnTo>
                      <a:lnTo>
                        <a:pt x="289601" y="136125"/>
                      </a:lnTo>
                      <a:lnTo>
                        <a:pt x="292054" y="126753"/>
                      </a:lnTo>
                      <a:lnTo>
                        <a:pt x="294352" y="120828"/>
                      </a:lnTo>
                      <a:lnTo>
                        <a:pt x="293969" y="117984"/>
                      </a:lnTo>
                      <a:lnTo>
                        <a:pt x="292062" y="114153"/>
                      </a:lnTo>
                      <a:lnTo>
                        <a:pt x="291630" y="108505"/>
                      </a:lnTo>
                      <a:lnTo>
                        <a:pt x="291801" y="106786"/>
                      </a:lnTo>
                      <a:lnTo>
                        <a:pt x="291565" y="105498"/>
                      </a:lnTo>
                      <a:lnTo>
                        <a:pt x="290293" y="107829"/>
                      </a:lnTo>
                      <a:lnTo>
                        <a:pt x="290620" y="116158"/>
                      </a:lnTo>
                      <a:lnTo>
                        <a:pt x="289495" y="119899"/>
                      </a:lnTo>
                      <a:lnTo>
                        <a:pt x="287922" y="120803"/>
                      </a:lnTo>
                      <a:lnTo>
                        <a:pt x="286903" y="120143"/>
                      </a:lnTo>
                      <a:lnTo>
                        <a:pt x="287490" y="114064"/>
                      </a:lnTo>
                      <a:lnTo>
                        <a:pt x="286341" y="115172"/>
                      </a:lnTo>
                      <a:lnTo>
                        <a:pt x="284499" y="119296"/>
                      </a:lnTo>
                      <a:lnTo>
                        <a:pt x="281484" y="122368"/>
                      </a:lnTo>
                      <a:lnTo>
                        <a:pt x="281321" y="123379"/>
                      </a:lnTo>
                      <a:lnTo>
                        <a:pt x="280587" y="124634"/>
                      </a:lnTo>
                      <a:lnTo>
                        <a:pt x="278256" y="123468"/>
                      </a:lnTo>
                      <a:lnTo>
                        <a:pt x="276488" y="122213"/>
                      </a:lnTo>
                      <a:lnTo>
                        <a:pt x="270661" y="115359"/>
                      </a:lnTo>
                      <a:lnTo>
                        <a:pt x="266839" y="113917"/>
                      </a:lnTo>
                      <a:lnTo>
                        <a:pt x="264524" y="111521"/>
                      </a:lnTo>
                      <a:lnTo>
                        <a:pt x="264035" y="110519"/>
                      </a:lnTo>
                      <a:lnTo>
                        <a:pt x="263766" y="109133"/>
                      </a:lnTo>
                      <a:lnTo>
                        <a:pt x="266121" y="107690"/>
                      </a:lnTo>
                      <a:lnTo>
                        <a:pt x="268534" y="105759"/>
                      </a:lnTo>
                      <a:lnTo>
                        <a:pt x="268778" y="101513"/>
                      </a:lnTo>
                      <a:lnTo>
                        <a:pt x="268713" y="98180"/>
                      </a:lnTo>
                      <a:lnTo>
                        <a:pt x="266928" y="92467"/>
                      </a:lnTo>
                      <a:lnTo>
                        <a:pt x="267768" y="85010"/>
                      </a:lnTo>
                      <a:lnTo>
                        <a:pt x="267303" y="82092"/>
                      </a:lnTo>
                      <a:lnTo>
                        <a:pt x="265266" y="75898"/>
                      </a:lnTo>
                      <a:lnTo>
                        <a:pt x="266773" y="72769"/>
                      </a:lnTo>
                      <a:lnTo>
                        <a:pt x="272177" y="70503"/>
                      </a:lnTo>
                      <a:lnTo>
                        <a:pt x="273904" y="68971"/>
                      </a:lnTo>
                      <a:lnTo>
                        <a:pt x="275119" y="64057"/>
                      </a:lnTo>
                      <a:lnTo>
                        <a:pt x="276349" y="61107"/>
                      </a:lnTo>
                      <a:lnTo>
                        <a:pt x="278754" y="62296"/>
                      </a:lnTo>
                      <a:lnTo>
                        <a:pt x="280636" y="62158"/>
                      </a:lnTo>
                      <a:lnTo>
                        <a:pt x="278093" y="61058"/>
                      </a:lnTo>
                      <a:lnTo>
                        <a:pt x="276015" y="56633"/>
                      </a:lnTo>
                      <a:lnTo>
                        <a:pt x="275673" y="54611"/>
                      </a:lnTo>
                      <a:lnTo>
                        <a:pt x="279658" y="48540"/>
                      </a:lnTo>
                      <a:lnTo>
                        <a:pt x="281752" y="46967"/>
                      </a:lnTo>
                      <a:lnTo>
                        <a:pt x="284320" y="43756"/>
                      </a:lnTo>
                      <a:lnTo>
                        <a:pt x="286488" y="38923"/>
                      </a:lnTo>
                      <a:lnTo>
                        <a:pt x="287009" y="31295"/>
                      </a:lnTo>
                      <a:lnTo>
                        <a:pt x="286113" y="25843"/>
                      </a:lnTo>
                      <a:lnTo>
                        <a:pt x="285436" y="20081"/>
                      </a:lnTo>
                      <a:lnTo>
                        <a:pt x="286740" y="18590"/>
                      </a:lnTo>
                      <a:lnTo>
                        <a:pt x="290025" y="17823"/>
                      </a:lnTo>
                      <a:lnTo>
                        <a:pt x="292698" y="15965"/>
                      </a:lnTo>
                      <a:lnTo>
                        <a:pt x="294050" y="14246"/>
                      </a:lnTo>
                      <a:lnTo>
                        <a:pt x="297229" y="14498"/>
                      </a:lnTo>
                      <a:lnTo>
                        <a:pt x="300896" y="11842"/>
                      </a:lnTo>
                      <a:lnTo>
                        <a:pt x="306756" y="10505"/>
                      </a:lnTo>
                      <a:lnTo>
                        <a:pt x="314930" y="7457"/>
                      </a:lnTo>
                      <a:lnTo>
                        <a:pt x="316731" y="4776"/>
                      </a:lnTo>
                      <a:lnTo>
                        <a:pt x="315916" y="0"/>
                      </a:lnTo>
                      <a:lnTo>
                        <a:pt x="316682" y="619"/>
                      </a:lnTo>
                      <a:lnTo>
                        <a:pt x="318956" y="2893"/>
                      </a:lnTo>
                      <a:lnTo>
                        <a:pt x="320333" y="5151"/>
                      </a:lnTo>
                      <a:lnTo>
                        <a:pt x="322656" y="6552"/>
                      </a:lnTo>
                      <a:lnTo>
                        <a:pt x="324547" y="7685"/>
                      </a:lnTo>
                      <a:lnTo>
                        <a:pt x="329510" y="12306"/>
                      </a:lnTo>
                      <a:close/>
                    </a:path>
                  </a:pathLst>
                </a:custGeom>
                <a:solidFill>
                  <a:srgbClr val="D6D6D2"/>
                </a:solidFill>
                <a:ln w="6112" cap="rnd">
                  <a:solidFill>
                    <a:srgbClr val="FFFFFF"/>
                  </a:solidFill>
                  <a:prstDash val="solid"/>
                  <a:round/>
                </a:ln>
              </p:spPr>
              <p:txBody>
                <a:bodyPr rtlCol="0" anchor="ctr"/>
                <a:lstStyle/>
                <a:p>
                  <a:endParaRPr lang="en-US"/>
                </a:p>
              </p:txBody>
            </p:sp>
            <p:sp>
              <p:nvSpPr>
                <p:cNvPr id="745" name="Freeform: Shape 744">
                  <a:extLst>
                    <a:ext uri="{FF2B5EF4-FFF2-40B4-BE49-F238E27FC236}">
                      <a16:creationId xmlns:a16="http://schemas.microsoft.com/office/drawing/2014/main" id="{EC8A30B7-E5D0-4D3B-B590-20F2B33B268F}"/>
                    </a:ext>
                  </a:extLst>
                </p:cNvPr>
                <p:cNvSpPr/>
                <p:nvPr/>
              </p:nvSpPr>
              <p:spPr>
                <a:xfrm>
                  <a:off x="5728259" y="3373518"/>
                  <a:ext cx="512210" cy="577286"/>
                </a:xfrm>
                <a:custGeom>
                  <a:avLst/>
                  <a:gdLst>
                    <a:gd name="connsiteX0" fmla="*/ 428081 w 512210"/>
                    <a:gd name="connsiteY0" fmla="*/ 5167 h 577286"/>
                    <a:gd name="connsiteX1" fmla="*/ 428619 w 512210"/>
                    <a:gd name="connsiteY1" fmla="*/ 6935 h 577286"/>
                    <a:gd name="connsiteX2" fmla="*/ 428700 w 512210"/>
                    <a:gd name="connsiteY2" fmla="*/ 8598 h 577286"/>
                    <a:gd name="connsiteX3" fmla="*/ 426353 w 512210"/>
                    <a:gd name="connsiteY3" fmla="*/ 10138 h 577286"/>
                    <a:gd name="connsiteX4" fmla="*/ 424813 w 512210"/>
                    <a:gd name="connsiteY4" fmla="*/ 11027 h 577286"/>
                    <a:gd name="connsiteX5" fmla="*/ 422946 w 512210"/>
                    <a:gd name="connsiteY5" fmla="*/ 15289 h 577286"/>
                    <a:gd name="connsiteX6" fmla="*/ 419516 w 512210"/>
                    <a:gd name="connsiteY6" fmla="*/ 18190 h 577286"/>
                    <a:gd name="connsiteX7" fmla="*/ 418929 w 512210"/>
                    <a:gd name="connsiteY7" fmla="*/ 19062 h 577286"/>
                    <a:gd name="connsiteX8" fmla="*/ 418961 w 512210"/>
                    <a:gd name="connsiteY8" fmla="*/ 19853 h 577286"/>
                    <a:gd name="connsiteX9" fmla="*/ 421292 w 512210"/>
                    <a:gd name="connsiteY9" fmla="*/ 21165 h 577286"/>
                    <a:gd name="connsiteX10" fmla="*/ 422074 w 512210"/>
                    <a:gd name="connsiteY10" fmla="*/ 22404 h 577286"/>
                    <a:gd name="connsiteX11" fmla="*/ 422441 w 512210"/>
                    <a:gd name="connsiteY11" fmla="*/ 24074 h 577286"/>
                    <a:gd name="connsiteX12" fmla="*/ 421398 w 512210"/>
                    <a:gd name="connsiteY12" fmla="*/ 30015 h 577286"/>
                    <a:gd name="connsiteX13" fmla="*/ 420746 w 512210"/>
                    <a:gd name="connsiteY13" fmla="*/ 34579 h 577286"/>
                    <a:gd name="connsiteX14" fmla="*/ 419882 w 512210"/>
                    <a:gd name="connsiteY14" fmla="*/ 40545 h 577286"/>
                    <a:gd name="connsiteX15" fmla="*/ 419923 w 512210"/>
                    <a:gd name="connsiteY15" fmla="*/ 42819 h 577286"/>
                    <a:gd name="connsiteX16" fmla="*/ 420803 w 512210"/>
                    <a:gd name="connsiteY16" fmla="*/ 45557 h 577286"/>
                    <a:gd name="connsiteX17" fmla="*/ 421675 w 512210"/>
                    <a:gd name="connsiteY17" fmla="*/ 47676 h 577286"/>
                    <a:gd name="connsiteX18" fmla="*/ 421944 w 512210"/>
                    <a:gd name="connsiteY18" fmla="*/ 50080 h 577286"/>
                    <a:gd name="connsiteX19" fmla="*/ 421634 w 512210"/>
                    <a:gd name="connsiteY19" fmla="*/ 55989 h 577286"/>
                    <a:gd name="connsiteX20" fmla="*/ 422710 w 512210"/>
                    <a:gd name="connsiteY20" fmla="*/ 59403 h 577286"/>
                    <a:gd name="connsiteX21" fmla="*/ 423566 w 512210"/>
                    <a:gd name="connsiteY21" fmla="*/ 62557 h 577286"/>
                    <a:gd name="connsiteX22" fmla="*/ 421537 w 512210"/>
                    <a:gd name="connsiteY22" fmla="*/ 66486 h 577286"/>
                    <a:gd name="connsiteX23" fmla="*/ 420648 w 512210"/>
                    <a:gd name="connsiteY23" fmla="*/ 69949 h 577286"/>
                    <a:gd name="connsiteX24" fmla="*/ 420102 w 512210"/>
                    <a:gd name="connsiteY24" fmla="*/ 74896 h 577286"/>
                    <a:gd name="connsiteX25" fmla="*/ 419882 w 512210"/>
                    <a:gd name="connsiteY25" fmla="*/ 78017 h 577286"/>
                    <a:gd name="connsiteX26" fmla="*/ 418570 w 512210"/>
                    <a:gd name="connsiteY26" fmla="*/ 80902 h 577286"/>
                    <a:gd name="connsiteX27" fmla="*/ 416843 w 512210"/>
                    <a:gd name="connsiteY27" fmla="*/ 83608 h 577286"/>
                    <a:gd name="connsiteX28" fmla="*/ 414919 w 512210"/>
                    <a:gd name="connsiteY28" fmla="*/ 85295 h 577286"/>
                    <a:gd name="connsiteX29" fmla="*/ 412531 w 512210"/>
                    <a:gd name="connsiteY29" fmla="*/ 86738 h 577286"/>
                    <a:gd name="connsiteX30" fmla="*/ 409777 w 512210"/>
                    <a:gd name="connsiteY30" fmla="*/ 88653 h 577286"/>
                    <a:gd name="connsiteX31" fmla="*/ 407552 w 512210"/>
                    <a:gd name="connsiteY31" fmla="*/ 93763 h 577286"/>
                    <a:gd name="connsiteX32" fmla="*/ 402735 w 512210"/>
                    <a:gd name="connsiteY32" fmla="*/ 98000 h 577286"/>
                    <a:gd name="connsiteX33" fmla="*/ 401733 w 512210"/>
                    <a:gd name="connsiteY33" fmla="*/ 99459 h 577286"/>
                    <a:gd name="connsiteX34" fmla="*/ 401268 w 512210"/>
                    <a:gd name="connsiteY34" fmla="*/ 102866 h 577286"/>
                    <a:gd name="connsiteX35" fmla="*/ 401399 w 512210"/>
                    <a:gd name="connsiteY35" fmla="*/ 107576 h 577286"/>
                    <a:gd name="connsiteX36" fmla="*/ 402238 w 512210"/>
                    <a:gd name="connsiteY36" fmla="*/ 111325 h 577286"/>
                    <a:gd name="connsiteX37" fmla="*/ 404561 w 512210"/>
                    <a:gd name="connsiteY37" fmla="*/ 116859 h 577286"/>
                    <a:gd name="connsiteX38" fmla="*/ 406574 w 512210"/>
                    <a:gd name="connsiteY38" fmla="*/ 122939 h 577286"/>
                    <a:gd name="connsiteX39" fmla="*/ 407128 w 512210"/>
                    <a:gd name="connsiteY39" fmla="*/ 126003 h 577286"/>
                    <a:gd name="connsiteX40" fmla="*/ 407902 w 512210"/>
                    <a:gd name="connsiteY40" fmla="*/ 127152 h 577286"/>
                    <a:gd name="connsiteX41" fmla="*/ 410746 w 512210"/>
                    <a:gd name="connsiteY41" fmla="*/ 129141 h 577286"/>
                    <a:gd name="connsiteX42" fmla="*/ 415669 w 512210"/>
                    <a:gd name="connsiteY42" fmla="*/ 131846 h 577286"/>
                    <a:gd name="connsiteX43" fmla="*/ 416574 w 512210"/>
                    <a:gd name="connsiteY43" fmla="*/ 132947 h 577286"/>
                    <a:gd name="connsiteX44" fmla="*/ 419018 w 512210"/>
                    <a:gd name="connsiteY44" fmla="*/ 137136 h 577286"/>
                    <a:gd name="connsiteX45" fmla="*/ 421333 w 512210"/>
                    <a:gd name="connsiteY45" fmla="*/ 144633 h 577286"/>
                    <a:gd name="connsiteX46" fmla="*/ 422067 w 512210"/>
                    <a:gd name="connsiteY46" fmla="*/ 149597 h 577286"/>
                    <a:gd name="connsiteX47" fmla="*/ 426565 w 512210"/>
                    <a:gd name="connsiteY47" fmla="*/ 153541 h 577286"/>
                    <a:gd name="connsiteX48" fmla="*/ 430730 w 512210"/>
                    <a:gd name="connsiteY48" fmla="*/ 157168 h 577286"/>
                    <a:gd name="connsiteX49" fmla="*/ 434723 w 512210"/>
                    <a:gd name="connsiteY49" fmla="*/ 160354 h 577286"/>
                    <a:gd name="connsiteX50" fmla="*/ 439067 w 512210"/>
                    <a:gd name="connsiteY50" fmla="*/ 163810 h 577286"/>
                    <a:gd name="connsiteX51" fmla="*/ 439686 w 512210"/>
                    <a:gd name="connsiteY51" fmla="*/ 164885 h 577286"/>
                    <a:gd name="connsiteX52" fmla="*/ 441129 w 512210"/>
                    <a:gd name="connsiteY52" fmla="*/ 172220 h 577286"/>
                    <a:gd name="connsiteX53" fmla="*/ 442571 w 512210"/>
                    <a:gd name="connsiteY53" fmla="*/ 179490 h 577286"/>
                    <a:gd name="connsiteX54" fmla="*/ 444152 w 512210"/>
                    <a:gd name="connsiteY54" fmla="*/ 187501 h 577286"/>
                    <a:gd name="connsiteX55" fmla="*/ 445733 w 512210"/>
                    <a:gd name="connsiteY55" fmla="*/ 195512 h 577286"/>
                    <a:gd name="connsiteX56" fmla="*/ 447600 w 512210"/>
                    <a:gd name="connsiteY56" fmla="*/ 204941 h 577286"/>
                    <a:gd name="connsiteX57" fmla="*/ 448659 w 512210"/>
                    <a:gd name="connsiteY57" fmla="*/ 210288 h 577286"/>
                    <a:gd name="connsiteX58" fmla="*/ 449946 w 512210"/>
                    <a:gd name="connsiteY58" fmla="*/ 216767 h 577286"/>
                    <a:gd name="connsiteX59" fmla="*/ 451454 w 512210"/>
                    <a:gd name="connsiteY59" fmla="*/ 224354 h 577286"/>
                    <a:gd name="connsiteX60" fmla="*/ 449034 w 512210"/>
                    <a:gd name="connsiteY60" fmla="*/ 225960 h 577286"/>
                    <a:gd name="connsiteX61" fmla="*/ 446287 w 512210"/>
                    <a:gd name="connsiteY61" fmla="*/ 228021 h 577286"/>
                    <a:gd name="connsiteX62" fmla="*/ 448284 w 512210"/>
                    <a:gd name="connsiteY62" fmla="*/ 231925 h 577286"/>
                    <a:gd name="connsiteX63" fmla="*/ 452131 w 512210"/>
                    <a:gd name="connsiteY63" fmla="*/ 238266 h 577286"/>
                    <a:gd name="connsiteX64" fmla="*/ 454470 w 512210"/>
                    <a:gd name="connsiteY64" fmla="*/ 243376 h 577286"/>
                    <a:gd name="connsiteX65" fmla="*/ 455268 w 512210"/>
                    <a:gd name="connsiteY65" fmla="*/ 245592 h 577286"/>
                    <a:gd name="connsiteX66" fmla="*/ 457094 w 512210"/>
                    <a:gd name="connsiteY66" fmla="*/ 251933 h 577286"/>
                    <a:gd name="connsiteX67" fmla="*/ 458569 w 512210"/>
                    <a:gd name="connsiteY67" fmla="*/ 258086 h 577286"/>
                    <a:gd name="connsiteX68" fmla="*/ 458944 w 512210"/>
                    <a:gd name="connsiteY68" fmla="*/ 260058 h 577286"/>
                    <a:gd name="connsiteX69" fmla="*/ 459490 w 512210"/>
                    <a:gd name="connsiteY69" fmla="*/ 264785 h 577286"/>
                    <a:gd name="connsiteX70" fmla="*/ 458822 w 512210"/>
                    <a:gd name="connsiteY70" fmla="*/ 277767 h 577286"/>
                    <a:gd name="connsiteX71" fmla="*/ 459881 w 512210"/>
                    <a:gd name="connsiteY71" fmla="*/ 294222 h 577286"/>
                    <a:gd name="connsiteX72" fmla="*/ 461299 w 512210"/>
                    <a:gd name="connsiteY72" fmla="*/ 302412 h 577286"/>
                    <a:gd name="connsiteX73" fmla="*/ 459066 w 512210"/>
                    <a:gd name="connsiteY73" fmla="*/ 309804 h 577286"/>
                    <a:gd name="connsiteX74" fmla="*/ 457143 w 512210"/>
                    <a:gd name="connsiteY74" fmla="*/ 316853 h 577286"/>
                    <a:gd name="connsiteX75" fmla="*/ 457249 w 512210"/>
                    <a:gd name="connsiteY75" fmla="*/ 320390 h 577286"/>
                    <a:gd name="connsiteX76" fmla="*/ 458308 w 512210"/>
                    <a:gd name="connsiteY76" fmla="*/ 325916 h 577286"/>
                    <a:gd name="connsiteX77" fmla="*/ 459352 w 512210"/>
                    <a:gd name="connsiteY77" fmla="*/ 329999 h 577286"/>
                    <a:gd name="connsiteX78" fmla="*/ 460778 w 512210"/>
                    <a:gd name="connsiteY78" fmla="*/ 332151 h 577286"/>
                    <a:gd name="connsiteX79" fmla="*/ 460501 w 512210"/>
                    <a:gd name="connsiteY79" fmla="*/ 339013 h 577286"/>
                    <a:gd name="connsiteX80" fmla="*/ 459914 w 512210"/>
                    <a:gd name="connsiteY80" fmla="*/ 341506 h 577286"/>
                    <a:gd name="connsiteX81" fmla="*/ 455578 w 512210"/>
                    <a:gd name="connsiteY81" fmla="*/ 345100 h 577286"/>
                    <a:gd name="connsiteX82" fmla="*/ 450778 w 512210"/>
                    <a:gd name="connsiteY82" fmla="*/ 348401 h 577286"/>
                    <a:gd name="connsiteX83" fmla="*/ 449450 w 512210"/>
                    <a:gd name="connsiteY83" fmla="*/ 351188 h 577286"/>
                    <a:gd name="connsiteX84" fmla="*/ 449066 w 512210"/>
                    <a:gd name="connsiteY84" fmla="*/ 354293 h 577286"/>
                    <a:gd name="connsiteX85" fmla="*/ 449710 w 512210"/>
                    <a:gd name="connsiteY85" fmla="*/ 356820 h 577286"/>
                    <a:gd name="connsiteX86" fmla="*/ 453011 w 512210"/>
                    <a:gd name="connsiteY86" fmla="*/ 362394 h 577286"/>
                    <a:gd name="connsiteX87" fmla="*/ 457958 w 512210"/>
                    <a:gd name="connsiteY87" fmla="*/ 370772 h 577286"/>
                    <a:gd name="connsiteX88" fmla="*/ 463410 w 512210"/>
                    <a:gd name="connsiteY88" fmla="*/ 379965 h 577286"/>
                    <a:gd name="connsiteX89" fmla="*/ 463866 w 512210"/>
                    <a:gd name="connsiteY89" fmla="*/ 382280 h 577286"/>
                    <a:gd name="connsiteX90" fmla="*/ 464087 w 512210"/>
                    <a:gd name="connsiteY90" fmla="*/ 388799 h 577286"/>
                    <a:gd name="connsiteX91" fmla="*/ 466360 w 512210"/>
                    <a:gd name="connsiteY91" fmla="*/ 396990 h 577286"/>
                    <a:gd name="connsiteX92" fmla="*/ 468813 w 512210"/>
                    <a:gd name="connsiteY92" fmla="*/ 400568 h 577286"/>
                    <a:gd name="connsiteX93" fmla="*/ 469734 w 512210"/>
                    <a:gd name="connsiteY93" fmla="*/ 403241 h 577286"/>
                    <a:gd name="connsiteX94" fmla="*/ 471478 w 512210"/>
                    <a:gd name="connsiteY94" fmla="*/ 405148 h 577286"/>
                    <a:gd name="connsiteX95" fmla="*/ 473206 w 512210"/>
                    <a:gd name="connsiteY95" fmla="*/ 406541 h 577286"/>
                    <a:gd name="connsiteX96" fmla="*/ 474282 w 512210"/>
                    <a:gd name="connsiteY96" fmla="*/ 406712 h 577286"/>
                    <a:gd name="connsiteX97" fmla="*/ 480410 w 512210"/>
                    <a:gd name="connsiteY97" fmla="*/ 404487 h 577286"/>
                    <a:gd name="connsiteX98" fmla="*/ 490875 w 512210"/>
                    <a:gd name="connsiteY98" fmla="*/ 408163 h 577286"/>
                    <a:gd name="connsiteX99" fmla="*/ 500793 w 512210"/>
                    <a:gd name="connsiteY99" fmla="*/ 411912 h 577286"/>
                    <a:gd name="connsiteX100" fmla="*/ 501510 w 512210"/>
                    <a:gd name="connsiteY100" fmla="*/ 412654 h 577286"/>
                    <a:gd name="connsiteX101" fmla="*/ 503678 w 512210"/>
                    <a:gd name="connsiteY101" fmla="*/ 417380 h 577286"/>
                    <a:gd name="connsiteX102" fmla="*/ 507215 w 512210"/>
                    <a:gd name="connsiteY102" fmla="*/ 425114 h 577286"/>
                    <a:gd name="connsiteX103" fmla="*/ 509855 w 512210"/>
                    <a:gd name="connsiteY103" fmla="*/ 431300 h 577286"/>
                    <a:gd name="connsiteX104" fmla="*/ 512211 w 512210"/>
                    <a:gd name="connsiteY104" fmla="*/ 436826 h 577286"/>
                    <a:gd name="connsiteX105" fmla="*/ 499350 w 512210"/>
                    <a:gd name="connsiteY105" fmla="*/ 446361 h 577286"/>
                    <a:gd name="connsiteX106" fmla="*/ 486514 w 512210"/>
                    <a:gd name="connsiteY106" fmla="*/ 455888 h 577286"/>
                    <a:gd name="connsiteX107" fmla="*/ 473670 w 512210"/>
                    <a:gd name="connsiteY107" fmla="*/ 465391 h 577286"/>
                    <a:gd name="connsiteX108" fmla="*/ 460819 w 512210"/>
                    <a:gd name="connsiteY108" fmla="*/ 474893 h 577286"/>
                    <a:gd name="connsiteX109" fmla="*/ 447991 w 512210"/>
                    <a:gd name="connsiteY109" fmla="*/ 484379 h 577286"/>
                    <a:gd name="connsiteX110" fmla="*/ 435147 w 512210"/>
                    <a:gd name="connsiteY110" fmla="*/ 493866 h 577286"/>
                    <a:gd name="connsiteX111" fmla="*/ 422286 w 512210"/>
                    <a:gd name="connsiteY111" fmla="*/ 503336 h 577286"/>
                    <a:gd name="connsiteX112" fmla="*/ 409459 w 512210"/>
                    <a:gd name="connsiteY112" fmla="*/ 512789 h 577286"/>
                    <a:gd name="connsiteX113" fmla="*/ 400934 w 512210"/>
                    <a:gd name="connsiteY113" fmla="*/ 519065 h 577286"/>
                    <a:gd name="connsiteX114" fmla="*/ 395515 w 512210"/>
                    <a:gd name="connsiteY114" fmla="*/ 524590 h 577286"/>
                    <a:gd name="connsiteX115" fmla="*/ 388717 w 512210"/>
                    <a:gd name="connsiteY115" fmla="*/ 531517 h 577286"/>
                    <a:gd name="connsiteX116" fmla="*/ 382304 w 512210"/>
                    <a:gd name="connsiteY116" fmla="*/ 538388 h 577286"/>
                    <a:gd name="connsiteX117" fmla="*/ 377259 w 512210"/>
                    <a:gd name="connsiteY117" fmla="*/ 543799 h 577286"/>
                    <a:gd name="connsiteX118" fmla="*/ 370715 w 512210"/>
                    <a:gd name="connsiteY118" fmla="*/ 550800 h 577286"/>
                    <a:gd name="connsiteX119" fmla="*/ 367422 w 512210"/>
                    <a:gd name="connsiteY119" fmla="*/ 554320 h 577286"/>
                    <a:gd name="connsiteX120" fmla="*/ 360128 w 512210"/>
                    <a:gd name="connsiteY120" fmla="*/ 562111 h 577286"/>
                    <a:gd name="connsiteX121" fmla="*/ 357944 w 512210"/>
                    <a:gd name="connsiteY121" fmla="*/ 563497 h 577286"/>
                    <a:gd name="connsiteX122" fmla="*/ 348279 w 512210"/>
                    <a:gd name="connsiteY122" fmla="*/ 565803 h 577286"/>
                    <a:gd name="connsiteX123" fmla="*/ 339412 w 512210"/>
                    <a:gd name="connsiteY123" fmla="*/ 567906 h 577286"/>
                    <a:gd name="connsiteX124" fmla="*/ 331230 w 512210"/>
                    <a:gd name="connsiteY124" fmla="*/ 569862 h 577286"/>
                    <a:gd name="connsiteX125" fmla="*/ 325639 w 512210"/>
                    <a:gd name="connsiteY125" fmla="*/ 571190 h 577286"/>
                    <a:gd name="connsiteX126" fmla="*/ 320219 w 512210"/>
                    <a:gd name="connsiteY126" fmla="*/ 572478 h 577286"/>
                    <a:gd name="connsiteX127" fmla="*/ 312347 w 512210"/>
                    <a:gd name="connsiteY127" fmla="*/ 574295 h 577286"/>
                    <a:gd name="connsiteX128" fmla="*/ 306731 w 512210"/>
                    <a:gd name="connsiteY128" fmla="*/ 575591 h 577286"/>
                    <a:gd name="connsiteX129" fmla="*/ 300668 w 512210"/>
                    <a:gd name="connsiteY129" fmla="*/ 576993 h 577286"/>
                    <a:gd name="connsiteX130" fmla="*/ 299715 w 512210"/>
                    <a:gd name="connsiteY130" fmla="*/ 577229 h 577286"/>
                    <a:gd name="connsiteX131" fmla="*/ 298622 w 512210"/>
                    <a:gd name="connsiteY131" fmla="*/ 577286 h 577286"/>
                    <a:gd name="connsiteX132" fmla="*/ 297800 w 512210"/>
                    <a:gd name="connsiteY132" fmla="*/ 577229 h 577286"/>
                    <a:gd name="connsiteX133" fmla="*/ 296120 w 512210"/>
                    <a:gd name="connsiteY133" fmla="*/ 576463 h 577286"/>
                    <a:gd name="connsiteX134" fmla="*/ 294099 w 512210"/>
                    <a:gd name="connsiteY134" fmla="*/ 574630 h 577286"/>
                    <a:gd name="connsiteX135" fmla="*/ 292746 w 512210"/>
                    <a:gd name="connsiteY135" fmla="*/ 573700 h 577286"/>
                    <a:gd name="connsiteX136" fmla="*/ 292412 w 512210"/>
                    <a:gd name="connsiteY136" fmla="*/ 572250 h 577286"/>
                    <a:gd name="connsiteX137" fmla="*/ 293203 w 512210"/>
                    <a:gd name="connsiteY137" fmla="*/ 570343 h 577286"/>
                    <a:gd name="connsiteX138" fmla="*/ 294173 w 512210"/>
                    <a:gd name="connsiteY138" fmla="*/ 568623 h 577286"/>
                    <a:gd name="connsiteX139" fmla="*/ 294556 w 512210"/>
                    <a:gd name="connsiteY139" fmla="*/ 567262 h 577286"/>
                    <a:gd name="connsiteX140" fmla="*/ 295232 w 512210"/>
                    <a:gd name="connsiteY140" fmla="*/ 566235 h 577286"/>
                    <a:gd name="connsiteX141" fmla="*/ 296079 w 512210"/>
                    <a:gd name="connsiteY141" fmla="*/ 565396 h 577286"/>
                    <a:gd name="connsiteX142" fmla="*/ 296120 w 512210"/>
                    <a:gd name="connsiteY142" fmla="*/ 564222 h 577286"/>
                    <a:gd name="connsiteX143" fmla="*/ 295403 w 512210"/>
                    <a:gd name="connsiteY143" fmla="*/ 562291 h 577286"/>
                    <a:gd name="connsiteX144" fmla="*/ 294784 w 512210"/>
                    <a:gd name="connsiteY144" fmla="*/ 559609 h 577286"/>
                    <a:gd name="connsiteX145" fmla="*/ 294800 w 512210"/>
                    <a:gd name="connsiteY145" fmla="*/ 554744 h 577286"/>
                    <a:gd name="connsiteX146" fmla="*/ 294824 w 512210"/>
                    <a:gd name="connsiteY146" fmla="*/ 553131 h 577286"/>
                    <a:gd name="connsiteX147" fmla="*/ 294833 w 512210"/>
                    <a:gd name="connsiteY147" fmla="*/ 552544 h 577286"/>
                    <a:gd name="connsiteX148" fmla="*/ 293007 w 512210"/>
                    <a:gd name="connsiteY148" fmla="*/ 550677 h 577286"/>
                    <a:gd name="connsiteX149" fmla="*/ 289593 w 512210"/>
                    <a:gd name="connsiteY149" fmla="*/ 548624 h 577286"/>
                    <a:gd name="connsiteX150" fmla="*/ 286447 w 512210"/>
                    <a:gd name="connsiteY150" fmla="*/ 547409 h 577286"/>
                    <a:gd name="connsiteX151" fmla="*/ 285020 w 512210"/>
                    <a:gd name="connsiteY151" fmla="*/ 546994 h 577286"/>
                    <a:gd name="connsiteX152" fmla="*/ 281540 w 512210"/>
                    <a:gd name="connsiteY152" fmla="*/ 546268 h 577286"/>
                    <a:gd name="connsiteX153" fmla="*/ 276732 w 512210"/>
                    <a:gd name="connsiteY153" fmla="*/ 544973 h 577286"/>
                    <a:gd name="connsiteX154" fmla="*/ 275053 w 512210"/>
                    <a:gd name="connsiteY154" fmla="*/ 544076 h 577286"/>
                    <a:gd name="connsiteX155" fmla="*/ 271940 w 512210"/>
                    <a:gd name="connsiteY155" fmla="*/ 539561 h 577286"/>
                    <a:gd name="connsiteX156" fmla="*/ 270424 w 512210"/>
                    <a:gd name="connsiteY156" fmla="*/ 538396 h 577286"/>
                    <a:gd name="connsiteX157" fmla="*/ 263212 w 512210"/>
                    <a:gd name="connsiteY157" fmla="*/ 537630 h 577286"/>
                    <a:gd name="connsiteX158" fmla="*/ 260824 w 512210"/>
                    <a:gd name="connsiteY158" fmla="*/ 536888 h 577286"/>
                    <a:gd name="connsiteX159" fmla="*/ 258852 w 512210"/>
                    <a:gd name="connsiteY159" fmla="*/ 535804 h 577286"/>
                    <a:gd name="connsiteX160" fmla="*/ 257181 w 512210"/>
                    <a:gd name="connsiteY160" fmla="*/ 534362 h 577286"/>
                    <a:gd name="connsiteX161" fmla="*/ 256228 w 512210"/>
                    <a:gd name="connsiteY161" fmla="*/ 531876 h 577286"/>
                    <a:gd name="connsiteX162" fmla="*/ 255942 w 512210"/>
                    <a:gd name="connsiteY162" fmla="*/ 529847 h 577286"/>
                    <a:gd name="connsiteX163" fmla="*/ 255315 w 512210"/>
                    <a:gd name="connsiteY163" fmla="*/ 528885 h 577286"/>
                    <a:gd name="connsiteX164" fmla="*/ 247361 w 512210"/>
                    <a:gd name="connsiteY164" fmla="*/ 524003 h 577286"/>
                    <a:gd name="connsiteX165" fmla="*/ 245348 w 512210"/>
                    <a:gd name="connsiteY165" fmla="*/ 522341 h 577286"/>
                    <a:gd name="connsiteX166" fmla="*/ 244288 w 512210"/>
                    <a:gd name="connsiteY166" fmla="*/ 520784 h 577286"/>
                    <a:gd name="connsiteX167" fmla="*/ 244247 w 512210"/>
                    <a:gd name="connsiteY167" fmla="*/ 518494 h 577286"/>
                    <a:gd name="connsiteX168" fmla="*/ 244459 w 512210"/>
                    <a:gd name="connsiteY168" fmla="*/ 515691 h 577286"/>
                    <a:gd name="connsiteX169" fmla="*/ 244125 w 512210"/>
                    <a:gd name="connsiteY169" fmla="*/ 513197 h 577286"/>
                    <a:gd name="connsiteX170" fmla="*/ 243783 w 512210"/>
                    <a:gd name="connsiteY170" fmla="*/ 511966 h 577286"/>
                    <a:gd name="connsiteX171" fmla="*/ 240164 w 512210"/>
                    <a:gd name="connsiteY171" fmla="*/ 509008 h 577286"/>
                    <a:gd name="connsiteX172" fmla="*/ 232039 w 512210"/>
                    <a:gd name="connsiteY172" fmla="*/ 502366 h 577286"/>
                    <a:gd name="connsiteX173" fmla="*/ 223922 w 512210"/>
                    <a:gd name="connsiteY173" fmla="*/ 495732 h 577286"/>
                    <a:gd name="connsiteX174" fmla="*/ 215788 w 512210"/>
                    <a:gd name="connsiteY174" fmla="*/ 489082 h 577286"/>
                    <a:gd name="connsiteX175" fmla="*/ 207663 w 512210"/>
                    <a:gd name="connsiteY175" fmla="*/ 482431 h 577286"/>
                    <a:gd name="connsiteX176" fmla="*/ 199546 w 512210"/>
                    <a:gd name="connsiteY176" fmla="*/ 475773 h 577286"/>
                    <a:gd name="connsiteX177" fmla="*/ 191421 w 512210"/>
                    <a:gd name="connsiteY177" fmla="*/ 469115 h 577286"/>
                    <a:gd name="connsiteX178" fmla="*/ 183304 w 512210"/>
                    <a:gd name="connsiteY178" fmla="*/ 462440 h 577286"/>
                    <a:gd name="connsiteX179" fmla="*/ 175178 w 512210"/>
                    <a:gd name="connsiteY179" fmla="*/ 455774 h 577286"/>
                    <a:gd name="connsiteX180" fmla="*/ 167053 w 512210"/>
                    <a:gd name="connsiteY180" fmla="*/ 449099 h 577286"/>
                    <a:gd name="connsiteX181" fmla="*/ 158936 w 512210"/>
                    <a:gd name="connsiteY181" fmla="*/ 442424 h 577286"/>
                    <a:gd name="connsiteX182" fmla="*/ 150811 w 512210"/>
                    <a:gd name="connsiteY182" fmla="*/ 435734 h 577286"/>
                    <a:gd name="connsiteX183" fmla="*/ 142693 w 512210"/>
                    <a:gd name="connsiteY183" fmla="*/ 429043 h 577286"/>
                    <a:gd name="connsiteX184" fmla="*/ 134568 w 512210"/>
                    <a:gd name="connsiteY184" fmla="*/ 422335 h 577286"/>
                    <a:gd name="connsiteX185" fmla="*/ 126443 w 512210"/>
                    <a:gd name="connsiteY185" fmla="*/ 415645 h 577286"/>
                    <a:gd name="connsiteX186" fmla="*/ 118326 w 512210"/>
                    <a:gd name="connsiteY186" fmla="*/ 408929 h 577286"/>
                    <a:gd name="connsiteX187" fmla="*/ 110200 w 512210"/>
                    <a:gd name="connsiteY187" fmla="*/ 402222 h 577286"/>
                    <a:gd name="connsiteX188" fmla="*/ 103339 w 512210"/>
                    <a:gd name="connsiteY188" fmla="*/ 396542 h 577286"/>
                    <a:gd name="connsiteX189" fmla="*/ 95759 w 512210"/>
                    <a:gd name="connsiteY189" fmla="*/ 390543 h 577286"/>
                    <a:gd name="connsiteX190" fmla="*/ 90128 w 512210"/>
                    <a:gd name="connsiteY190" fmla="*/ 386151 h 577286"/>
                    <a:gd name="connsiteX191" fmla="*/ 84537 w 512210"/>
                    <a:gd name="connsiteY191" fmla="*/ 381774 h 577286"/>
                    <a:gd name="connsiteX192" fmla="*/ 78539 w 512210"/>
                    <a:gd name="connsiteY192" fmla="*/ 377080 h 577286"/>
                    <a:gd name="connsiteX193" fmla="*/ 74627 w 512210"/>
                    <a:gd name="connsiteY193" fmla="*/ 374170 h 577286"/>
                    <a:gd name="connsiteX194" fmla="*/ 69965 w 512210"/>
                    <a:gd name="connsiteY194" fmla="*/ 370690 h 577286"/>
                    <a:gd name="connsiteX195" fmla="*/ 65304 w 512210"/>
                    <a:gd name="connsiteY195" fmla="*/ 367203 h 577286"/>
                    <a:gd name="connsiteX196" fmla="*/ 60634 w 512210"/>
                    <a:gd name="connsiteY196" fmla="*/ 363723 h 577286"/>
                    <a:gd name="connsiteX197" fmla="*/ 55972 w 512210"/>
                    <a:gd name="connsiteY197" fmla="*/ 360234 h 577286"/>
                    <a:gd name="connsiteX198" fmla="*/ 51310 w 512210"/>
                    <a:gd name="connsiteY198" fmla="*/ 356738 h 577286"/>
                    <a:gd name="connsiteX199" fmla="*/ 46641 w 512210"/>
                    <a:gd name="connsiteY199" fmla="*/ 353250 h 577286"/>
                    <a:gd name="connsiteX200" fmla="*/ 41979 w 512210"/>
                    <a:gd name="connsiteY200" fmla="*/ 349770 h 577286"/>
                    <a:gd name="connsiteX201" fmla="*/ 37317 w 512210"/>
                    <a:gd name="connsiteY201" fmla="*/ 346274 h 577286"/>
                    <a:gd name="connsiteX202" fmla="*/ 32656 w 512210"/>
                    <a:gd name="connsiteY202" fmla="*/ 342778 h 577286"/>
                    <a:gd name="connsiteX203" fmla="*/ 27986 w 512210"/>
                    <a:gd name="connsiteY203" fmla="*/ 339282 h 577286"/>
                    <a:gd name="connsiteX204" fmla="*/ 23325 w 512210"/>
                    <a:gd name="connsiteY204" fmla="*/ 335785 h 577286"/>
                    <a:gd name="connsiteX205" fmla="*/ 18663 w 512210"/>
                    <a:gd name="connsiteY205" fmla="*/ 332289 h 577286"/>
                    <a:gd name="connsiteX206" fmla="*/ 13993 w 512210"/>
                    <a:gd name="connsiteY206" fmla="*/ 328785 h 577286"/>
                    <a:gd name="connsiteX207" fmla="*/ 9331 w 512210"/>
                    <a:gd name="connsiteY207" fmla="*/ 325288 h 577286"/>
                    <a:gd name="connsiteX208" fmla="*/ 4670 w 512210"/>
                    <a:gd name="connsiteY208" fmla="*/ 321776 h 577286"/>
                    <a:gd name="connsiteX209" fmla="*/ 0 w 512210"/>
                    <a:gd name="connsiteY209" fmla="*/ 318280 h 577286"/>
                    <a:gd name="connsiteX210" fmla="*/ 0 w 512210"/>
                    <a:gd name="connsiteY210" fmla="*/ 311792 h 577286"/>
                    <a:gd name="connsiteX211" fmla="*/ 0 w 512210"/>
                    <a:gd name="connsiteY211" fmla="*/ 306520 h 577286"/>
                    <a:gd name="connsiteX212" fmla="*/ 0 w 512210"/>
                    <a:gd name="connsiteY212" fmla="*/ 298769 h 577286"/>
                    <a:gd name="connsiteX213" fmla="*/ 0 w 512210"/>
                    <a:gd name="connsiteY213" fmla="*/ 292046 h 577286"/>
                    <a:gd name="connsiteX214" fmla="*/ 0 w 512210"/>
                    <a:gd name="connsiteY214" fmla="*/ 285298 h 577286"/>
                    <a:gd name="connsiteX215" fmla="*/ 0 w 512210"/>
                    <a:gd name="connsiteY215" fmla="*/ 280669 h 577286"/>
                    <a:gd name="connsiteX216" fmla="*/ 0 w 512210"/>
                    <a:gd name="connsiteY216" fmla="*/ 275836 h 577286"/>
                    <a:gd name="connsiteX217" fmla="*/ 130 w 512210"/>
                    <a:gd name="connsiteY217" fmla="*/ 273644 h 577286"/>
                    <a:gd name="connsiteX218" fmla="*/ 586 w 512210"/>
                    <a:gd name="connsiteY218" fmla="*/ 272715 h 577286"/>
                    <a:gd name="connsiteX219" fmla="*/ 3105 w 512210"/>
                    <a:gd name="connsiteY219" fmla="*/ 271142 h 577286"/>
                    <a:gd name="connsiteX220" fmla="*/ 7049 w 512210"/>
                    <a:gd name="connsiteY220" fmla="*/ 267556 h 577286"/>
                    <a:gd name="connsiteX221" fmla="*/ 8508 w 512210"/>
                    <a:gd name="connsiteY221" fmla="*/ 265958 h 577286"/>
                    <a:gd name="connsiteX222" fmla="*/ 10375 w 512210"/>
                    <a:gd name="connsiteY222" fmla="*/ 264353 h 577286"/>
                    <a:gd name="connsiteX223" fmla="*/ 16976 w 512210"/>
                    <a:gd name="connsiteY223" fmla="*/ 259504 h 577286"/>
                    <a:gd name="connsiteX224" fmla="*/ 18345 w 512210"/>
                    <a:gd name="connsiteY224" fmla="*/ 258143 h 577286"/>
                    <a:gd name="connsiteX225" fmla="*/ 24767 w 512210"/>
                    <a:gd name="connsiteY225" fmla="*/ 252560 h 577286"/>
                    <a:gd name="connsiteX226" fmla="*/ 26266 w 512210"/>
                    <a:gd name="connsiteY226" fmla="*/ 251737 h 577286"/>
                    <a:gd name="connsiteX227" fmla="*/ 29705 w 512210"/>
                    <a:gd name="connsiteY227" fmla="*/ 251191 h 577286"/>
                    <a:gd name="connsiteX228" fmla="*/ 31148 w 512210"/>
                    <a:gd name="connsiteY228" fmla="*/ 250148 h 577286"/>
                    <a:gd name="connsiteX229" fmla="*/ 33079 w 512210"/>
                    <a:gd name="connsiteY229" fmla="*/ 247915 h 577286"/>
                    <a:gd name="connsiteX230" fmla="*/ 35932 w 512210"/>
                    <a:gd name="connsiteY230" fmla="*/ 245340 h 577286"/>
                    <a:gd name="connsiteX231" fmla="*/ 37782 w 512210"/>
                    <a:gd name="connsiteY231" fmla="*/ 244142 h 577286"/>
                    <a:gd name="connsiteX232" fmla="*/ 38222 w 512210"/>
                    <a:gd name="connsiteY232" fmla="*/ 243913 h 577286"/>
                    <a:gd name="connsiteX233" fmla="*/ 39396 w 512210"/>
                    <a:gd name="connsiteY233" fmla="*/ 243734 h 577286"/>
                    <a:gd name="connsiteX234" fmla="*/ 45337 w 512210"/>
                    <a:gd name="connsiteY234" fmla="*/ 244492 h 577286"/>
                    <a:gd name="connsiteX235" fmla="*/ 47830 w 512210"/>
                    <a:gd name="connsiteY235" fmla="*/ 245063 h 577286"/>
                    <a:gd name="connsiteX236" fmla="*/ 50797 w 512210"/>
                    <a:gd name="connsiteY236" fmla="*/ 245543 h 577286"/>
                    <a:gd name="connsiteX237" fmla="*/ 51734 w 512210"/>
                    <a:gd name="connsiteY237" fmla="*/ 245217 h 577286"/>
                    <a:gd name="connsiteX238" fmla="*/ 52525 w 512210"/>
                    <a:gd name="connsiteY238" fmla="*/ 244419 h 577286"/>
                    <a:gd name="connsiteX239" fmla="*/ 53641 w 512210"/>
                    <a:gd name="connsiteY239" fmla="*/ 242626 h 577286"/>
                    <a:gd name="connsiteX240" fmla="*/ 53894 w 512210"/>
                    <a:gd name="connsiteY240" fmla="*/ 240507 h 577286"/>
                    <a:gd name="connsiteX241" fmla="*/ 53968 w 512210"/>
                    <a:gd name="connsiteY241" fmla="*/ 238649 h 577286"/>
                    <a:gd name="connsiteX242" fmla="*/ 54139 w 512210"/>
                    <a:gd name="connsiteY242" fmla="*/ 237834 h 577286"/>
                    <a:gd name="connsiteX243" fmla="*/ 54652 w 512210"/>
                    <a:gd name="connsiteY243" fmla="*/ 237475 h 577286"/>
                    <a:gd name="connsiteX244" fmla="*/ 55956 w 512210"/>
                    <a:gd name="connsiteY244" fmla="*/ 237614 h 577286"/>
                    <a:gd name="connsiteX245" fmla="*/ 57692 w 512210"/>
                    <a:gd name="connsiteY245" fmla="*/ 237866 h 577286"/>
                    <a:gd name="connsiteX246" fmla="*/ 61229 w 512210"/>
                    <a:gd name="connsiteY246" fmla="*/ 237793 h 577286"/>
                    <a:gd name="connsiteX247" fmla="*/ 62427 w 512210"/>
                    <a:gd name="connsiteY247" fmla="*/ 237524 h 577286"/>
                    <a:gd name="connsiteX248" fmla="*/ 66453 w 512210"/>
                    <a:gd name="connsiteY248" fmla="*/ 237133 h 577286"/>
                    <a:gd name="connsiteX249" fmla="*/ 72141 w 512210"/>
                    <a:gd name="connsiteY249" fmla="*/ 235918 h 577286"/>
                    <a:gd name="connsiteX250" fmla="*/ 76640 w 512210"/>
                    <a:gd name="connsiteY250" fmla="*/ 234354 h 577286"/>
                    <a:gd name="connsiteX251" fmla="*/ 80226 w 512210"/>
                    <a:gd name="connsiteY251" fmla="*/ 233099 h 577286"/>
                    <a:gd name="connsiteX252" fmla="*/ 84072 w 512210"/>
                    <a:gd name="connsiteY252" fmla="*/ 229831 h 577286"/>
                    <a:gd name="connsiteX253" fmla="*/ 86892 w 512210"/>
                    <a:gd name="connsiteY253" fmla="*/ 226383 h 577286"/>
                    <a:gd name="connsiteX254" fmla="*/ 89818 w 512210"/>
                    <a:gd name="connsiteY254" fmla="*/ 221233 h 577286"/>
                    <a:gd name="connsiteX255" fmla="*/ 92149 w 512210"/>
                    <a:gd name="connsiteY255" fmla="*/ 216767 h 577286"/>
                    <a:gd name="connsiteX256" fmla="*/ 96851 w 512210"/>
                    <a:gd name="connsiteY256" fmla="*/ 213971 h 577286"/>
                    <a:gd name="connsiteX257" fmla="*/ 100788 w 512210"/>
                    <a:gd name="connsiteY257" fmla="*/ 212284 h 577286"/>
                    <a:gd name="connsiteX258" fmla="*/ 103037 w 512210"/>
                    <a:gd name="connsiteY258" fmla="*/ 211616 h 577286"/>
                    <a:gd name="connsiteX259" fmla="*/ 108147 w 512210"/>
                    <a:gd name="connsiteY259" fmla="*/ 209252 h 577286"/>
                    <a:gd name="connsiteX260" fmla="*/ 112466 w 512210"/>
                    <a:gd name="connsiteY260" fmla="*/ 205691 h 577286"/>
                    <a:gd name="connsiteX261" fmla="*/ 116525 w 512210"/>
                    <a:gd name="connsiteY261" fmla="*/ 202342 h 577286"/>
                    <a:gd name="connsiteX262" fmla="*/ 119630 w 512210"/>
                    <a:gd name="connsiteY262" fmla="*/ 201893 h 577286"/>
                    <a:gd name="connsiteX263" fmla="*/ 123550 w 512210"/>
                    <a:gd name="connsiteY263" fmla="*/ 201347 h 577286"/>
                    <a:gd name="connsiteX264" fmla="*/ 124430 w 512210"/>
                    <a:gd name="connsiteY264" fmla="*/ 200712 h 577286"/>
                    <a:gd name="connsiteX265" fmla="*/ 125416 w 512210"/>
                    <a:gd name="connsiteY265" fmla="*/ 199530 h 577286"/>
                    <a:gd name="connsiteX266" fmla="*/ 125473 w 512210"/>
                    <a:gd name="connsiteY266" fmla="*/ 197436 h 577286"/>
                    <a:gd name="connsiteX267" fmla="*/ 124283 w 512210"/>
                    <a:gd name="connsiteY267" fmla="*/ 195968 h 577286"/>
                    <a:gd name="connsiteX268" fmla="*/ 122857 w 512210"/>
                    <a:gd name="connsiteY268" fmla="*/ 195186 h 577286"/>
                    <a:gd name="connsiteX269" fmla="*/ 121839 w 512210"/>
                    <a:gd name="connsiteY269" fmla="*/ 194330 h 577286"/>
                    <a:gd name="connsiteX270" fmla="*/ 120828 w 512210"/>
                    <a:gd name="connsiteY270" fmla="*/ 194184 h 577286"/>
                    <a:gd name="connsiteX271" fmla="*/ 120298 w 512210"/>
                    <a:gd name="connsiteY271" fmla="*/ 193173 h 577286"/>
                    <a:gd name="connsiteX272" fmla="*/ 120592 w 512210"/>
                    <a:gd name="connsiteY272" fmla="*/ 191315 h 577286"/>
                    <a:gd name="connsiteX273" fmla="*/ 120746 w 512210"/>
                    <a:gd name="connsiteY273" fmla="*/ 189587 h 577286"/>
                    <a:gd name="connsiteX274" fmla="*/ 121390 w 512210"/>
                    <a:gd name="connsiteY274" fmla="*/ 187876 h 577286"/>
                    <a:gd name="connsiteX275" fmla="*/ 121211 w 512210"/>
                    <a:gd name="connsiteY275" fmla="*/ 185447 h 577286"/>
                    <a:gd name="connsiteX276" fmla="*/ 120200 w 512210"/>
                    <a:gd name="connsiteY276" fmla="*/ 183010 h 577286"/>
                    <a:gd name="connsiteX277" fmla="*/ 119891 w 512210"/>
                    <a:gd name="connsiteY277" fmla="*/ 181266 h 577286"/>
                    <a:gd name="connsiteX278" fmla="*/ 119964 w 512210"/>
                    <a:gd name="connsiteY278" fmla="*/ 179539 h 577286"/>
                    <a:gd name="connsiteX279" fmla="*/ 120461 w 512210"/>
                    <a:gd name="connsiteY279" fmla="*/ 178178 h 577286"/>
                    <a:gd name="connsiteX280" fmla="*/ 121912 w 512210"/>
                    <a:gd name="connsiteY280" fmla="*/ 177289 h 577286"/>
                    <a:gd name="connsiteX281" fmla="*/ 123599 w 512210"/>
                    <a:gd name="connsiteY281" fmla="*/ 176939 h 577286"/>
                    <a:gd name="connsiteX282" fmla="*/ 125970 w 512210"/>
                    <a:gd name="connsiteY282" fmla="*/ 177371 h 577286"/>
                    <a:gd name="connsiteX283" fmla="*/ 130054 w 512210"/>
                    <a:gd name="connsiteY283" fmla="*/ 176800 h 577286"/>
                    <a:gd name="connsiteX284" fmla="*/ 140534 w 512210"/>
                    <a:gd name="connsiteY284" fmla="*/ 172603 h 577286"/>
                    <a:gd name="connsiteX285" fmla="*/ 141251 w 512210"/>
                    <a:gd name="connsiteY285" fmla="*/ 171307 h 577286"/>
                    <a:gd name="connsiteX286" fmla="*/ 141927 w 512210"/>
                    <a:gd name="connsiteY286" fmla="*/ 168398 h 577286"/>
                    <a:gd name="connsiteX287" fmla="*/ 142677 w 512210"/>
                    <a:gd name="connsiteY287" fmla="*/ 165855 h 577286"/>
                    <a:gd name="connsiteX288" fmla="*/ 143761 w 512210"/>
                    <a:gd name="connsiteY288" fmla="*/ 165008 h 577286"/>
                    <a:gd name="connsiteX289" fmla="*/ 144348 w 512210"/>
                    <a:gd name="connsiteY289" fmla="*/ 164812 h 577286"/>
                    <a:gd name="connsiteX290" fmla="*/ 147844 w 512210"/>
                    <a:gd name="connsiteY290" fmla="*/ 164127 h 577286"/>
                    <a:gd name="connsiteX291" fmla="*/ 152791 w 512210"/>
                    <a:gd name="connsiteY291" fmla="*/ 163158 h 577286"/>
                    <a:gd name="connsiteX292" fmla="*/ 154641 w 512210"/>
                    <a:gd name="connsiteY292" fmla="*/ 163019 h 577286"/>
                    <a:gd name="connsiteX293" fmla="*/ 160036 w 512210"/>
                    <a:gd name="connsiteY293" fmla="*/ 163296 h 577286"/>
                    <a:gd name="connsiteX294" fmla="*/ 163964 w 512210"/>
                    <a:gd name="connsiteY294" fmla="*/ 163508 h 577286"/>
                    <a:gd name="connsiteX295" fmla="*/ 170305 w 512210"/>
                    <a:gd name="connsiteY295" fmla="*/ 163834 h 577286"/>
                    <a:gd name="connsiteX296" fmla="*/ 174812 w 512210"/>
                    <a:gd name="connsiteY296" fmla="*/ 164005 h 577286"/>
                    <a:gd name="connsiteX297" fmla="*/ 178740 w 512210"/>
                    <a:gd name="connsiteY297" fmla="*/ 164160 h 577286"/>
                    <a:gd name="connsiteX298" fmla="*/ 183736 w 512210"/>
                    <a:gd name="connsiteY298" fmla="*/ 164348 h 577286"/>
                    <a:gd name="connsiteX299" fmla="*/ 184958 w 512210"/>
                    <a:gd name="connsiteY299" fmla="*/ 163753 h 577286"/>
                    <a:gd name="connsiteX300" fmla="*/ 184958 w 512210"/>
                    <a:gd name="connsiteY300" fmla="*/ 161903 h 577286"/>
                    <a:gd name="connsiteX301" fmla="*/ 184061 w 512210"/>
                    <a:gd name="connsiteY301" fmla="*/ 158447 h 577286"/>
                    <a:gd name="connsiteX302" fmla="*/ 184608 w 512210"/>
                    <a:gd name="connsiteY302" fmla="*/ 156279 h 577286"/>
                    <a:gd name="connsiteX303" fmla="*/ 186539 w 512210"/>
                    <a:gd name="connsiteY303" fmla="*/ 154283 h 577286"/>
                    <a:gd name="connsiteX304" fmla="*/ 188943 w 512210"/>
                    <a:gd name="connsiteY304" fmla="*/ 152041 h 577286"/>
                    <a:gd name="connsiteX305" fmla="*/ 187818 w 512210"/>
                    <a:gd name="connsiteY305" fmla="*/ 149319 h 577286"/>
                    <a:gd name="connsiteX306" fmla="*/ 185895 w 512210"/>
                    <a:gd name="connsiteY306" fmla="*/ 147486 h 577286"/>
                    <a:gd name="connsiteX307" fmla="*/ 183214 w 512210"/>
                    <a:gd name="connsiteY307" fmla="*/ 145302 h 577286"/>
                    <a:gd name="connsiteX308" fmla="*/ 181828 w 512210"/>
                    <a:gd name="connsiteY308" fmla="*/ 144405 h 577286"/>
                    <a:gd name="connsiteX309" fmla="*/ 179408 w 512210"/>
                    <a:gd name="connsiteY309" fmla="*/ 141756 h 577286"/>
                    <a:gd name="connsiteX310" fmla="*/ 177917 w 512210"/>
                    <a:gd name="connsiteY310" fmla="*/ 138741 h 577286"/>
                    <a:gd name="connsiteX311" fmla="*/ 176906 w 512210"/>
                    <a:gd name="connsiteY311" fmla="*/ 132352 h 577286"/>
                    <a:gd name="connsiteX312" fmla="*/ 175064 w 512210"/>
                    <a:gd name="connsiteY312" fmla="*/ 128774 h 577286"/>
                    <a:gd name="connsiteX313" fmla="*/ 173720 w 512210"/>
                    <a:gd name="connsiteY313" fmla="*/ 124365 h 577286"/>
                    <a:gd name="connsiteX314" fmla="*/ 174909 w 512210"/>
                    <a:gd name="connsiteY314" fmla="*/ 116264 h 577286"/>
                    <a:gd name="connsiteX315" fmla="*/ 173133 w 512210"/>
                    <a:gd name="connsiteY315" fmla="*/ 111366 h 577286"/>
                    <a:gd name="connsiteX316" fmla="*/ 172856 w 512210"/>
                    <a:gd name="connsiteY316" fmla="*/ 109239 h 577286"/>
                    <a:gd name="connsiteX317" fmla="*/ 172840 w 512210"/>
                    <a:gd name="connsiteY317" fmla="*/ 106737 h 577286"/>
                    <a:gd name="connsiteX318" fmla="*/ 173385 w 512210"/>
                    <a:gd name="connsiteY318" fmla="*/ 102418 h 577286"/>
                    <a:gd name="connsiteX319" fmla="*/ 173035 w 512210"/>
                    <a:gd name="connsiteY319" fmla="*/ 96330 h 577286"/>
                    <a:gd name="connsiteX320" fmla="*/ 170932 w 512210"/>
                    <a:gd name="connsiteY320" fmla="*/ 90046 h 577286"/>
                    <a:gd name="connsiteX321" fmla="*/ 171918 w 512210"/>
                    <a:gd name="connsiteY321" fmla="*/ 87895 h 577286"/>
                    <a:gd name="connsiteX322" fmla="*/ 172383 w 512210"/>
                    <a:gd name="connsiteY322" fmla="*/ 86795 h 577286"/>
                    <a:gd name="connsiteX323" fmla="*/ 172228 w 512210"/>
                    <a:gd name="connsiteY323" fmla="*/ 85833 h 577286"/>
                    <a:gd name="connsiteX324" fmla="*/ 170313 w 512210"/>
                    <a:gd name="connsiteY324" fmla="*/ 83836 h 577286"/>
                    <a:gd name="connsiteX325" fmla="*/ 169498 w 512210"/>
                    <a:gd name="connsiteY325" fmla="*/ 82190 h 577286"/>
                    <a:gd name="connsiteX326" fmla="*/ 169922 w 512210"/>
                    <a:gd name="connsiteY326" fmla="*/ 80633 h 577286"/>
                    <a:gd name="connsiteX327" fmla="*/ 170916 w 512210"/>
                    <a:gd name="connsiteY327" fmla="*/ 78376 h 577286"/>
                    <a:gd name="connsiteX328" fmla="*/ 170835 w 512210"/>
                    <a:gd name="connsiteY328" fmla="*/ 77439 h 577286"/>
                    <a:gd name="connsiteX329" fmla="*/ 167730 w 512210"/>
                    <a:gd name="connsiteY329" fmla="*/ 74684 h 577286"/>
                    <a:gd name="connsiteX330" fmla="*/ 162489 w 512210"/>
                    <a:gd name="connsiteY330" fmla="*/ 70234 h 577286"/>
                    <a:gd name="connsiteX331" fmla="*/ 161030 w 512210"/>
                    <a:gd name="connsiteY331" fmla="*/ 68295 h 577286"/>
                    <a:gd name="connsiteX332" fmla="*/ 160322 w 512210"/>
                    <a:gd name="connsiteY332" fmla="*/ 65842 h 577286"/>
                    <a:gd name="connsiteX333" fmla="*/ 165326 w 512210"/>
                    <a:gd name="connsiteY333" fmla="*/ 66469 h 577286"/>
                    <a:gd name="connsiteX334" fmla="*/ 167917 w 512210"/>
                    <a:gd name="connsiteY334" fmla="*/ 66168 h 577286"/>
                    <a:gd name="connsiteX335" fmla="*/ 173858 w 512210"/>
                    <a:gd name="connsiteY335" fmla="*/ 63234 h 577286"/>
                    <a:gd name="connsiteX336" fmla="*/ 178569 w 512210"/>
                    <a:gd name="connsiteY336" fmla="*/ 59289 h 577286"/>
                    <a:gd name="connsiteX337" fmla="*/ 182236 w 512210"/>
                    <a:gd name="connsiteY337" fmla="*/ 57276 h 577286"/>
                    <a:gd name="connsiteX338" fmla="*/ 185472 w 512210"/>
                    <a:gd name="connsiteY338" fmla="*/ 52932 h 577286"/>
                    <a:gd name="connsiteX339" fmla="*/ 188389 w 512210"/>
                    <a:gd name="connsiteY339" fmla="*/ 50194 h 577286"/>
                    <a:gd name="connsiteX340" fmla="*/ 192611 w 512210"/>
                    <a:gd name="connsiteY340" fmla="*/ 47236 h 577286"/>
                    <a:gd name="connsiteX341" fmla="*/ 204803 w 512210"/>
                    <a:gd name="connsiteY341" fmla="*/ 40846 h 577286"/>
                    <a:gd name="connsiteX342" fmla="*/ 206669 w 512210"/>
                    <a:gd name="connsiteY342" fmla="*/ 40789 h 577286"/>
                    <a:gd name="connsiteX343" fmla="*/ 210687 w 512210"/>
                    <a:gd name="connsiteY343" fmla="*/ 42248 h 577286"/>
                    <a:gd name="connsiteX344" fmla="*/ 214175 w 512210"/>
                    <a:gd name="connsiteY344" fmla="*/ 41800 h 577286"/>
                    <a:gd name="connsiteX345" fmla="*/ 216554 w 512210"/>
                    <a:gd name="connsiteY345" fmla="*/ 39559 h 577286"/>
                    <a:gd name="connsiteX346" fmla="*/ 219130 w 512210"/>
                    <a:gd name="connsiteY346" fmla="*/ 34180 h 577286"/>
                    <a:gd name="connsiteX347" fmla="*/ 223115 w 512210"/>
                    <a:gd name="connsiteY347" fmla="*/ 30887 h 577286"/>
                    <a:gd name="connsiteX348" fmla="*/ 228143 w 512210"/>
                    <a:gd name="connsiteY348" fmla="*/ 27587 h 577286"/>
                    <a:gd name="connsiteX349" fmla="*/ 234989 w 512210"/>
                    <a:gd name="connsiteY349" fmla="*/ 24449 h 577286"/>
                    <a:gd name="connsiteX350" fmla="*/ 239480 w 512210"/>
                    <a:gd name="connsiteY350" fmla="*/ 21556 h 577286"/>
                    <a:gd name="connsiteX351" fmla="*/ 246554 w 512210"/>
                    <a:gd name="connsiteY351" fmla="*/ 19046 h 577286"/>
                    <a:gd name="connsiteX352" fmla="*/ 264337 w 512210"/>
                    <a:gd name="connsiteY352" fmla="*/ 17449 h 577286"/>
                    <a:gd name="connsiteX353" fmla="*/ 273481 w 512210"/>
                    <a:gd name="connsiteY353" fmla="*/ 16030 h 577286"/>
                    <a:gd name="connsiteX354" fmla="*/ 279682 w 512210"/>
                    <a:gd name="connsiteY354" fmla="*/ 16348 h 577286"/>
                    <a:gd name="connsiteX355" fmla="*/ 285974 w 512210"/>
                    <a:gd name="connsiteY355" fmla="*/ 11760 h 577286"/>
                    <a:gd name="connsiteX356" fmla="*/ 289112 w 512210"/>
                    <a:gd name="connsiteY356" fmla="*/ 10244 h 577286"/>
                    <a:gd name="connsiteX357" fmla="*/ 302681 w 512210"/>
                    <a:gd name="connsiteY357" fmla="*/ 9886 h 577286"/>
                    <a:gd name="connsiteX358" fmla="*/ 309103 w 512210"/>
                    <a:gd name="connsiteY358" fmla="*/ 6528 h 577286"/>
                    <a:gd name="connsiteX359" fmla="*/ 333381 w 512210"/>
                    <a:gd name="connsiteY359" fmla="*/ 6528 h 577286"/>
                    <a:gd name="connsiteX360" fmla="*/ 336348 w 512210"/>
                    <a:gd name="connsiteY360" fmla="*/ 7653 h 577286"/>
                    <a:gd name="connsiteX361" fmla="*/ 339265 w 512210"/>
                    <a:gd name="connsiteY361" fmla="*/ 9454 h 577286"/>
                    <a:gd name="connsiteX362" fmla="*/ 344228 w 512210"/>
                    <a:gd name="connsiteY362" fmla="*/ 13822 h 577286"/>
                    <a:gd name="connsiteX363" fmla="*/ 346714 w 512210"/>
                    <a:gd name="connsiteY363" fmla="*/ 14767 h 577286"/>
                    <a:gd name="connsiteX364" fmla="*/ 349909 w 512210"/>
                    <a:gd name="connsiteY364" fmla="*/ 13863 h 577286"/>
                    <a:gd name="connsiteX365" fmla="*/ 357374 w 512210"/>
                    <a:gd name="connsiteY365" fmla="*/ 9739 h 577286"/>
                    <a:gd name="connsiteX366" fmla="*/ 365792 w 512210"/>
                    <a:gd name="connsiteY366" fmla="*/ 7587 h 577286"/>
                    <a:gd name="connsiteX367" fmla="*/ 370356 w 512210"/>
                    <a:gd name="connsiteY367" fmla="*/ 5126 h 577286"/>
                    <a:gd name="connsiteX368" fmla="*/ 372312 w 512210"/>
                    <a:gd name="connsiteY368" fmla="*/ 1540 h 577286"/>
                    <a:gd name="connsiteX369" fmla="*/ 376257 w 512210"/>
                    <a:gd name="connsiteY369" fmla="*/ 212 h 577286"/>
                    <a:gd name="connsiteX370" fmla="*/ 378457 w 512210"/>
                    <a:gd name="connsiteY370" fmla="*/ 2966 h 577286"/>
                    <a:gd name="connsiteX371" fmla="*/ 387194 w 512210"/>
                    <a:gd name="connsiteY371" fmla="*/ 5754 h 577286"/>
                    <a:gd name="connsiteX372" fmla="*/ 392540 w 512210"/>
                    <a:gd name="connsiteY372" fmla="*/ 4955 h 577286"/>
                    <a:gd name="connsiteX373" fmla="*/ 394903 w 512210"/>
                    <a:gd name="connsiteY373" fmla="*/ 4124 h 577286"/>
                    <a:gd name="connsiteX374" fmla="*/ 394056 w 512210"/>
                    <a:gd name="connsiteY374" fmla="*/ 0 h 577286"/>
                    <a:gd name="connsiteX375" fmla="*/ 399711 w 512210"/>
                    <a:gd name="connsiteY375" fmla="*/ 1100 h 577286"/>
                    <a:gd name="connsiteX376" fmla="*/ 404063 w 512210"/>
                    <a:gd name="connsiteY376" fmla="*/ 3081 h 577286"/>
                    <a:gd name="connsiteX377" fmla="*/ 408628 w 512210"/>
                    <a:gd name="connsiteY377" fmla="*/ 7058 h 577286"/>
                    <a:gd name="connsiteX378" fmla="*/ 411569 w 512210"/>
                    <a:gd name="connsiteY378" fmla="*/ 7848 h 577286"/>
                    <a:gd name="connsiteX379" fmla="*/ 416949 w 512210"/>
                    <a:gd name="connsiteY379" fmla="*/ 6055 h 577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Lst>
                  <a:rect l="l" t="t" r="r" b="b"/>
                  <a:pathLst>
                    <a:path w="512210" h="577286">
                      <a:moveTo>
                        <a:pt x="428081" y="5167"/>
                      </a:moveTo>
                      <a:lnTo>
                        <a:pt x="428619" y="6935"/>
                      </a:lnTo>
                      <a:lnTo>
                        <a:pt x="428700" y="8598"/>
                      </a:lnTo>
                      <a:lnTo>
                        <a:pt x="426353" y="10138"/>
                      </a:lnTo>
                      <a:lnTo>
                        <a:pt x="424813" y="11027"/>
                      </a:lnTo>
                      <a:lnTo>
                        <a:pt x="422946" y="15289"/>
                      </a:lnTo>
                      <a:lnTo>
                        <a:pt x="419516" y="18190"/>
                      </a:lnTo>
                      <a:lnTo>
                        <a:pt x="418929" y="19062"/>
                      </a:lnTo>
                      <a:lnTo>
                        <a:pt x="418961" y="19853"/>
                      </a:lnTo>
                      <a:lnTo>
                        <a:pt x="421292" y="21165"/>
                      </a:lnTo>
                      <a:lnTo>
                        <a:pt x="422074" y="22404"/>
                      </a:lnTo>
                      <a:lnTo>
                        <a:pt x="422441" y="24074"/>
                      </a:lnTo>
                      <a:lnTo>
                        <a:pt x="421398" y="30015"/>
                      </a:lnTo>
                      <a:lnTo>
                        <a:pt x="420746" y="34579"/>
                      </a:lnTo>
                      <a:lnTo>
                        <a:pt x="419882" y="40545"/>
                      </a:lnTo>
                      <a:lnTo>
                        <a:pt x="419923" y="42819"/>
                      </a:lnTo>
                      <a:lnTo>
                        <a:pt x="420803" y="45557"/>
                      </a:lnTo>
                      <a:lnTo>
                        <a:pt x="421675" y="47676"/>
                      </a:lnTo>
                      <a:lnTo>
                        <a:pt x="421944" y="50080"/>
                      </a:lnTo>
                      <a:lnTo>
                        <a:pt x="421634" y="55989"/>
                      </a:lnTo>
                      <a:lnTo>
                        <a:pt x="422710" y="59403"/>
                      </a:lnTo>
                      <a:lnTo>
                        <a:pt x="423566" y="62557"/>
                      </a:lnTo>
                      <a:lnTo>
                        <a:pt x="421537" y="66486"/>
                      </a:lnTo>
                      <a:lnTo>
                        <a:pt x="420648" y="69949"/>
                      </a:lnTo>
                      <a:lnTo>
                        <a:pt x="420102" y="74896"/>
                      </a:lnTo>
                      <a:lnTo>
                        <a:pt x="419882" y="78017"/>
                      </a:lnTo>
                      <a:lnTo>
                        <a:pt x="418570" y="80902"/>
                      </a:lnTo>
                      <a:lnTo>
                        <a:pt x="416843" y="83608"/>
                      </a:lnTo>
                      <a:lnTo>
                        <a:pt x="414919" y="85295"/>
                      </a:lnTo>
                      <a:lnTo>
                        <a:pt x="412531" y="86738"/>
                      </a:lnTo>
                      <a:lnTo>
                        <a:pt x="409777" y="88653"/>
                      </a:lnTo>
                      <a:lnTo>
                        <a:pt x="407552" y="93763"/>
                      </a:lnTo>
                      <a:lnTo>
                        <a:pt x="402735" y="98000"/>
                      </a:lnTo>
                      <a:lnTo>
                        <a:pt x="401733" y="99459"/>
                      </a:lnTo>
                      <a:lnTo>
                        <a:pt x="401268" y="102866"/>
                      </a:lnTo>
                      <a:lnTo>
                        <a:pt x="401399" y="107576"/>
                      </a:lnTo>
                      <a:lnTo>
                        <a:pt x="402238" y="111325"/>
                      </a:lnTo>
                      <a:lnTo>
                        <a:pt x="404561" y="116859"/>
                      </a:lnTo>
                      <a:lnTo>
                        <a:pt x="406574" y="122939"/>
                      </a:lnTo>
                      <a:lnTo>
                        <a:pt x="407128" y="126003"/>
                      </a:lnTo>
                      <a:lnTo>
                        <a:pt x="407902" y="127152"/>
                      </a:lnTo>
                      <a:lnTo>
                        <a:pt x="410746" y="129141"/>
                      </a:lnTo>
                      <a:lnTo>
                        <a:pt x="415669" y="131846"/>
                      </a:lnTo>
                      <a:lnTo>
                        <a:pt x="416574" y="132947"/>
                      </a:lnTo>
                      <a:lnTo>
                        <a:pt x="419018" y="137136"/>
                      </a:lnTo>
                      <a:lnTo>
                        <a:pt x="421333" y="144633"/>
                      </a:lnTo>
                      <a:lnTo>
                        <a:pt x="422067" y="149597"/>
                      </a:lnTo>
                      <a:lnTo>
                        <a:pt x="426565" y="153541"/>
                      </a:lnTo>
                      <a:lnTo>
                        <a:pt x="430730" y="157168"/>
                      </a:lnTo>
                      <a:lnTo>
                        <a:pt x="434723" y="160354"/>
                      </a:lnTo>
                      <a:lnTo>
                        <a:pt x="439067" y="163810"/>
                      </a:lnTo>
                      <a:lnTo>
                        <a:pt x="439686" y="164885"/>
                      </a:lnTo>
                      <a:lnTo>
                        <a:pt x="441129" y="172220"/>
                      </a:lnTo>
                      <a:lnTo>
                        <a:pt x="442571" y="179490"/>
                      </a:lnTo>
                      <a:lnTo>
                        <a:pt x="444152" y="187501"/>
                      </a:lnTo>
                      <a:lnTo>
                        <a:pt x="445733" y="195512"/>
                      </a:lnTo>
                      <a:lnTo>
                        <a:pt x="447600" y="204941"/>
                      </a:lnTo>
                      <a:lnTo>
                        <a:pt x="448659" y="210288"/>
                      </a:lnTo>
                      <a:lnTo>
                        <a:pt x="449946" y="216767"/>
                      </a:lnTo>
                      <a:lnTo>
                        <a:pt x="451454" y="224354"/>
                      </a:lnTo>
                      <a:lnTo>
                        <a:pt x="449034" y="225960"/>
                      </a:lnTo>
                      <a:lnTo>
                        <a:pt x="446287" y="228021"/>
                      </a:lnTo>
                      <a:lnTo>
                        <a:pt x="448284" y="231925"/>
                      </a:lnTo>
                      <a:lnTo>
                        <a:pt x="452131" y="238266"/>
                      </a:lnTo>
                      <a:lnTo>
                        <a:pt x="454470" y="243376"/>
                      </a:lnTo>
                      <a:lnTo>
                        <a:pt x="455268" y="245592"/>
                      </a:lnTo>
                      <a:lnTo>
                        <a:pt x="457094" y="251933"/>
                      </a:lnTo>
                      <a:lnTo>
                        <a:pt x="458569" y="258086"/>
                      </a:lnTo>
                      <a:lnTo>
                        <a:pt x="458944" y="260058"/>
                      </a:lnTo>
                      <a:lnTo>
                        <a:pt x="459490" y="264785"/>
                      </a:lnTo>
                      <a:lnTo>
                        <a:pt x="458822" y="277767"/>
                      </a:lnTo>
                      <a:lnTo>
                        <a:pt x="459881" y="294222"/>
                      </a:lnTo>
                      <a:lnTo>
                        <a:pt x="461299" y="302412"/>
                      </a:lnTo>
                      <a:lnTo>
                        <a:pt x="459066" y="309804"/>
                      </a:lnTo>
                      <a:lnTo>
                        <a:pt x="457143" y="316853"/>
                      </a:lnTo>
                      <a:lnTo>
                        <a:pt x="457249" y="320390"/>
                      </a:lnTo>
                      <a:lnTo>
                        <a:pt x="458308" y="325916"/>
                      </a:lnTo>
                      <a:lnTo>
                        <a:pt x="459352" y="329999"/>
                      </a:lnTo>
                      <a:lnTo>
                        <a:pt x="460778" y="332151"/>
                      </a:lnTo>
                      <a:lnTo>
                        <a:pt x="460501" y="339013"/>
                      </a:lnTo>
                      <a:lnTo>
                        <a:pt x="459914" y="341506"/>
                      </a:lnTo>
                      <a:lnTo>
                        <a:pt x="455578" y="345100"/>
                      </a:lnTo>
                      <a:lnTo>
                        <a:pt x="450778" y="348401"/>
                      </a:lnTo>
                      <a:lnTo>
                        <a:pt x="449450" y="351188"/>
                      </a:lnTo>
                      <a:lnTo>
                        <a:pt x="449066" y="354293"/>
                      </a:lnTo>
                      <a:lnTo>
                        <a:pt x="449710" y="356820"/>
                      </a:lnTo>
                      <a:lnTo>
                        <a:pt x="453011" y="362394"/>
                      </a:lnTo>
                      <a:lnTo>
                        <a:pt x="457958" y="370772"/>
                      </a:lnTo>
                      <a:lnTo>
                        <a:pt x="463410" y="379965"/>
                      </a:lnTo>
                      <a:lnTo>
                        <a:pt x="463866" y="382280"/>
                      </a:lnTo>
                      <a:lnTo>
                        <a:pt x="464087" y="388799"/>
                      </a:lnTo>
                      <a:lnTo>
                        <a:pt x="466360" y="396990"/>
                      </a:lnTo>
                      <a:lnTo>
                        <a:pt x="468813" y="400568"/>
                      </a:lnTo>
                      <a:lnTo>
                        <a:pt x="469734" y="403241"/>
                      </a:lnTo>
                      <a:lnTo>
                        <a:pt x="471478" y="405148"/>
                      </a:lnTo>
                      <a:lnTo>
                        <a:pt x="473206" y="406541"/>
                      </a:lnTo>
                      <a:lnTo>
                        <a:pt x="474282" y="406712"/>
                      </a:lnTo>
                      <a:lnTo>
                        <a:pt x="480410" y="404487"/>
                      </a:lnTo>
                      <a:lnTo>
                        <a:pt x="490875" y="408163"/>
                      </a:lnTo>
                      <a:lnTo>
                        <a:pt x="500793" y="411912"/>
                      </a:lnTo>
                      <a:lnTo>
                        <a:pt x="501510" y="412654"/>
                      </a:lnTo>
                      <a:lnTo>
                        <a:pt x="503678" y="417380"/>
                      </a:lnTo>
                      <a:lnTo>
                        <a:pt x="507215" y="425114"/>
                      </a:lnTo>
                      <a:lnTo>
                        <a:pt x="509855" y="431300"/>
                      </a:lnTo>
                      <a:lnTo>
                        <a:pt x="512211" y="436826"/>
                      </a:lnTo>
                      <a:lnTo>
                        <a:pt x="499350" y="446361"/>
                      </a:lnTo>
                      <a:lnTo>
                        <a:pt x="486514" y="455888"/>
                      </a:lnTo>
                      <a:lnTo>
                        <a:pt x="473670" y="465391"/>
                      </a:lnTo>
                      <a:lnTo>
                        <a:pt x="460819" y="474893"/>
                      </a:lnTo>
                      <a:lnTo>
                        <a:pt x="447991" y="484379"/>
                      </a:lnTo>
                      <a:lnTo>
                        <a:pt x="435147" y="493866"/>
                      </a:lnTo>
                      <a:lnTo>
                        <a:pt x="422286" y="503336"/>
                      </a:lnTo>
                      <a:lnTo>
                        <a:pt x="409459" y="512789"/>
                      </a:lnTo>
                      <a:lnTo>
                        <a:pt x="400934" y="519065"/>
                      </a:lnTo>
                      <a:lnTo>
                        <a:pt x="395515" y="524590"/>
                      </a:lnTo>
                      <a:lnTo>
                        <a:pt x="388717" y="531517"/>
                      </a:lnTo>
                      <a:lnTo>
                        <a:pt x="382304" y="538388"/>
                      </a:lnTo>
                      <a:lnTo>
                        <a:pt x="377259" y="543799"/>
                      </a:lnTo>
                      <a:lnTo>
                        <a:pt x="370715" y="550800"/>
                      </a:lnTo>
                      <a:lnTo>
                        <a:pt x="367422" y="554320"/>
                      </a:lnTo>
                      <a:lnTo>
                        <a:pt x="360128" y="562111"/>
                      </a:lnTo>
                      <a:lnTo>
                        <a:pt x="357944" y="563497"/>
                      </a:lnTo>
                      <a:lnTo>
                        <a:pt x="348279" y="565803"/>
                      </a:lnTo>
                      <a:lnTo>
                        <a:pt x="339412" y="567906"/>
                      </a:lnTo>
                      <a:lnTo>
                        <a:pt x="331230" y="569862"/>
                      </a:lnTo>
                      <a:lnTo>
                        <a:pt x="325639" y="571190"/>
                      </a:lnTo>
                      <a:lnTo>
                        <a:pt x="320219" y="572478"/>
                      </a:lnTo>
                      <a:lnTo>
                        <a:pt x="312347" y="574295"/>
                      </a:lnTo>
                      <a:lnTo>
                        <a:pt x="306731" y="575591"/>
                      </a:lnTo>
                      <a:lnTo>
                        <a:pt x="300668" y="576993"/>
                      </a:lnTo>
                      <a:lnTo>
                        <a:pt x="299715" y="577229"/>
                      </a:lnTo>
                      <a:lnTo>
                        <a:pt x="298622" y="577286"/>
                      </a:lnTo>
                      <a:lnTo>
                        <a:pt x="297800" y="577229"/>
                      </a:lnTo>
                      <a:lnTo>
                        <a:pt x="296120" y="576463"/>
                      </a:lnTo>
                      <a:lnTo>
                        <a:pt x="294099" y="574630"/>
                      </a:lnTo>
                      <a:lnTo>
                        <a:pt x="292746" y="573700"/>
                      </a:lnTo>
                      <a:lnTo>
                        <a:pt x="292412" y="572250"/>
                      </a:lnTo>
                      <a:lnTo>
                        <a:pt x="293203" y="570343"/>
                      </a:lnTo>
                      <a:lnTo>
                        <a:pt x="294173" y="568623"/>
                      </a:lnTo>
                      <a:lnTo>
                        <a:pt x="294556" y="567262"/>
                      </a:lnTo>
                      <a:lnTo>
                        <a:pt x="295232" y="566235"/>
                      </a:lnTo>
                      <a:lnTo>
                        <a:pt x="296079" y="565396"/>
                      </a:lnTo>
                      <a:lnTo>
                        <a:pt x="296120" y="564222"/>
                      </a:lnTo>
                      <a:lnTo>
                        <a:pt x="295403" y="562291"/>
                      </a:lnTo>
                      <a:lnTo>
                        <a:pt x="294784" y="559609"/>
                      </a:lnTo>
                      <a:lnTo>
                        <a:pt x="294800" y="554744"/>
                      </a:lnTo>
                      <a:lnTo>
                        <a:pt x="294824" y="553131"/>
                      </a:lnTo>
                      <a:lnTo>
                        <a:pt x="294833" y="552544"/>
                      </a:lnTo>
                      <a:lnTo>
                        <a:pt x="293007" y="550677"/>
                      </a:lnTo>
                      <a:lnTo>
                        <a:pt x="289593" y="548624"/>
                      </a:lnTo>
                      <a:lnTo>
                        <a:pt x="286447" y="547409"/>
                      </a:lnTo>
                      <a:lnTo>
                        <a:pt x="285020" y="546994"/>
                      </a:lnTo>
                      <a:lnTo>
                        <a:pt x="281540" y="546268"/>
                      </a:lnTo>
                      <a:lnTo>
                        <a:pt x="276732" y="544973"/>
                      </a:lnTo>
                      <a:lnTo>
                        <a:pt x="275053" y="544076"/>
                      </a:lnTo>
                      <a:lnTo>
                        <a:pt x="271940" y="539561"/>
                      </a:lnTo>
                      <a:lnTo>
                        <a:pt x="270424" y="538396"/>
                      </a:lnTo>
                      <a:lnTo>
                        <a:pt x="263212" y="537630"/>
                      </a:lnTo>
                      <a:lnTo>
                        <a:pt x="260824" y="536888"/>
                      </a:lnTo>
                      <a:lnTo>
                        <a:pt x="258852" y="535804"/>
                      </a:lnTo>
                      <a:lnTo>
                        <a:pt x="257181" y="534362"/>
                      </a:lnTo>
                      <a:lnTo>
                        <a:pt x="256228" y="531876"/>
                      </a:lnTo>
                      <a:lnTo>
                        <a:pt x="255942" y="529847"/>
                      </a:lnTo>
                      <a:lnTo>
                        <a:pt x="255315" y="528885"/>
                      </a:lnTo>
                      <a:lnTo>
                        <a:pt x="247361" y="524003"/>
                      </a:lnTo>
                      <a:lnTo>
                        <a:pt x="245348" y="522341"/>
                      </a:lnTo>
                      <a:lnTo>
                        <a:pt x="244288" y="520784"/>
                      </a:lnTo>
                      <a:lnTo>
                        <a:pt x="244247" y="518494"/>
                      </a:lnTo>
                      <a:lnTo>
                        <a:pt x="244459" y="515691"/>
                      </a:lnTo>
                      <a:lnTo>
                        <a:pt x="244125" y="513197"/>
                      </a:lnTo>
                      <a:lnTo>
                        <a:pt x="243783" y="511966"/>
                      </a:lnTo>
                      <a:lnTo>
                        <a:pt x="240164" y="509008"/>
                      </a:lnTo>
                      <a:lnTo>
                        <a:pt x="232039" y="502366"/>
                      </a:lnTo>
                      <a:lnTo>
                        <a:pt x="223922" y="495732"/>
                      </a:lnTo>
                      <a:lnTo>
                        <a:pt x="215788" y="489082"/>
                      </a:lnTo>
                      <a:lnTo>
                        <a:pt x="207663" y="482431"/>
                      </a:lnTo>
                      <a:lnTo>
                        <a:pt x="199546" y="475773"/>
                      </a:lnTo>
                      <a:lnTo>
                        <a:pt x="191421" y="469115"/>
                      </a:lnTo>
                      <a:lnTo>
                        <a:pt x="183304" y="462440"/>
                      </a:lnTo>
                      <a:lnTo>
                        <a:pt x="175178" y="455774"/>
                      </a:lnTo>
                      <a:lnTo>
                        <a:pt x="167053" y="449099"/>
                      </a:lnTo>
                      <a:lnTo>
                        <a:pt x="158936" y="442424"/>
                      </a:lnTo>
                      <a:lnTo>
                        <a:pt x="150811" y="435734"/>
                      </a:lnTo>
                      <a:lnTo>
                        <a:pt x="142693" y="429043"/>
                      </a:lnTo>
                      <a:lnTo>
                        <a:pt x="134568" y="422335"/>
                      </a:lnTo>
                      <a:lnTo>
                        <a:pt x="126443" y="415645"/>
                      </a:lnTo>
                      <a:lnTo>
                        <a:pt x="118326" y="408929"/>
                      </a:lnTo>
                      <a:lnTo>
                        <a:pt x="110200" y="402222"/>
                      </a:lnTo>
                      <a:lnTo>
                        <a:pt x="103339" y="396542"/>
                      </a:lnTo>
                      <a:lnTo>
                        <a:pt x="95759" y="390543"/>
                      </a:lnTo>
                      <a:lnTo>
                        <a:pt x="90128" y="386151"/>
                      </a:lnTo>
                      <a:lnTo>
                        <a:pt x="84537" y="381774"/>
                      </a:lnTo>
                      <a:lnTo>
                        <a:pt x="78539" y="377080"/>
                      </a:lnTo>
                      <a:lnTo>
                        <a:pt x="74627" y="374170"/>
                      </a:lnTo>
                      <a:lnTo>
                        <a:pt x="69965" y="370690"/>
                      </a:lnTo>
                      <a:lnTo>
                        <a:pt x="65304" y="367203"/>
                      </a:lnTo>
                      <a:lnTo>
                        <a:pt x="60634" y="363723"/>
                      </a:lnTo>
                      <a:lnTo>
                        <a:pt x="55972" y="360234"/>
                      </a:lnTo>
                      <a:lnTo>
                        <a:pt x="51310" y="356738"/>
                      </a:lnTo>
                      <a:lnTo>
                        <a:pt x="46641" y="353250"/>
                      </a:lnTo>
                      <a:lnTo>
                        <a:pt x="41979" y="349770"/>
                      </a:lnTo>
                      <a:lnTo>
                        <a:pt x="37317" y="346274"/>
                      </a:lnTo>
                      <a:lnTo>
                        <a:pt x="32656" y="342778"/>
                      </a:lnTo>
                      <a:lnTo>
                        <a:pt x="27986" y="339282"/>
                      </a:lnTo>
                      <a:lnTo>
                        <a:pt x="23325" y="335785"/>
                      </a:lnTo>
                      <a:lnTo>
                        <a:pt x="18663" y="332289"/>
                      </a:lnTo>
                      <a:lnTo>
                        <a:pt x="13993" y="328785"/>
                      </a:lnTo>
                      <a:lnTo>
                        <a:pt x="9331" y="325288"/>
                      </a:lnTo>
                      <a:lnTo>
                        <a:pt x="4670" y="321776"/>
                      </a:lnTo>
                      <a:lnTo>
                        <a:pt x="0" y="318280"/>
                      </a:lnTo>
                      <a:lnTo>
                        <a:pt x="0" y="311792"/>
                      </a:lnTo>
                      <a:lnTo>
                        <a:pt x="0" y="306520"/>
                      </a:lnTo>
                      <a:lnTo>
                        <a:pt x="0" y="298769"/>
                      </a:lnTo>
                      <a:lnTo>
                        <a:pt x="0" y="292046"/>
                      </a:lnTo>
                      <a:lnTo>
                        <a:pt x="0" y="285298"/>
                      </a:lnTo>
                      <a:lnTo>
                        <a:pt x="0" y="280669"/>
                      </a:lnTo>
                      <a:lnTo>
                        <a:pt x="0" y="275836"/>
                      </a:lnTo>
                      <a:lnTo>
                        <a:pt x="130" y="273644"/>
                      </a:lnTo>
                      <a:lnTo>
                        <a:pt x="586" y="272715"/>
                      </a:lnTo>
                      <a:lnTo>
                        <a:pt x="3105" y="271142"/>
                      </a:lnTo>
                      <a:lnTo>
                        <a:pt x="7049" y="267556"/>
                      </a:lnTo>
                      <a:lnTo>
                        <a:pt x="8508" y="265958"/>
                      </a:lnTo>
                      <a:lnTo>
                        <a:pt x="10375" y="264353"/>
                      </a:lnTo>
                      <a:lnTo>
                        <a:pt x="16976" y="259504"/>
                      </a:lnTo>
                      <a:lnTo>
                        <a:pt x="18345" y="258143"/>
                      </a:lnTo>
                      <a:lnTo>
                        <a:pt x="24767" y="252560"/>
                      </a:lnTo>
                      <a:lnTo>
                        <a:pt x="26266" y="251737"/>
                      </a:lnTo>
                      <a:lnTo>
                        <a:pt x="29705" y="251191"/>
                      </a:lnTo>
                      <a:lnTo>
                        <a:pt x="31148" y="250148"/>
                      </a:lnTo>
                      <a:lnTo>
                        <a:pt x="33079" y="247915"/>
                      </a:lnTo>
                      <a:lnTo>
                        <a:pt x="35932" y="245340"/>
                      </a:lnTo>
                      <a:lnTo>
                        <a:pt x="37782" y="244142"/>
                      </a:lnTo>
                      <a:lnTo>
                        <a:pt x="38222" y="243913"/>
                      </a:lnTo>
                      <a:lnTo>
                        <a:pt x="39396" y="243734"/>
                      </a:lnTo>
                      <a:lnTo>
                        <a:pt x="45337" y="244492"/>
                      </a:lnTo>
                      <a:lnTo>
                        <a:pt x="47830" y="245063"/>
                      </a:lnTo>
                      <a:lnTo>
                        <a:pt x="50797" y="245543"/>
                      </a:lnTo>
                      <a:lnTo>
                        <a:pt x="51734" y="245217"/>
                      </a:lnTo>
                      <a:lnTo>
                        <a:pt x="52525" y="244419"/>
                      </a:lnTo>
                      <a:lnTo>
                        <a:pt x="53641" y="242626"/>
                      </a:lnTo>
                      <a:lnTo>
                        <a:pt x="53894" y="240507"/>
                      </a:lnTo>
                      <a:lnTo>
                        <a:pt x="53968" y="238649"/>
                      </a:lnTo>
                      <a:lnTo>
                        <a:pt x="54139" y="237834"/>
                      </a:lnTo>
                      <a:lnTo>
                        <a:pt x="54652" y="237475"/>
                      </a:lnTo>
                      <a:lnTo>
                        <a:pt x="55956" y="237614"/>
                      </a:lnTo>
                      <a:lnTo>
                        <a:pt x="57692" y="237866"/>
                      </a:lnTo>
                      <a:lnTo>
                        <a:pt x="61229" y="237793"/>
                      </a:lnTo>
                      <a:lnTo>
                        <a:pt x="62427" y="237524"/>
                      </a:lnTo>
                      <a:lnTo>
                        <a:pt x="66453" y="237133"/>
                      </a:lnTo>
                      <a:lnTo>
                        <a:pt x="72141" y="235918"/>
                      </a:lnTo>
                      <a:lnTo>
                        <a:pt x="76640" y="234354"/>
                      </a:lnTo>
                      <a:lnTo>
                        <a:pt x="80226" y="233099"/>
                      </a:lnTo>
                      <a:lnTo>
                        <a:pt x="84072" y="229831"/>
                      </a:lnTo>
                      <a:lnTo>
                        <a:pt x="86892" y="226383"/>
                      </a:lnTo>
                      <a:lnTo>
                        <a:pt x="89818" y="221233"/>
                      </a:lnTo>
                      <a:lnTo>
                        <a:pt x="92149" y="216767"/>
                      </a:lnTo>
                      <a:lnTo>
                        <a:pt x="96851" y="213971"/>
                      </a:lnTo>
                      <a:lnTo>
                        <a:pt x="100788" y="212284"/>
                      </a:lnTo>
                      <a:lnTo>
                        <a:pt x="103037" y="211616"/>
                      </a:lnTo>
                      <a:lnTo>
                        <a:pt x="108147" y="209252"/>
                      </a:lnTo>
                      <a:lnTo>
                        <a:pt x="112466" y="205691"/>
                      </a:lnTo>
                      <a:lnTo>
                        <a:pt x="116525" y="202342"/>
                      </a:lnTo>
                      <a:lnTo>
                        <a:pt x="119630" y="201893"/>
                      </a:lnTo>
                      <a:lnTo>
                        <a:pt x="123550" y="201347"/>
                      </a:lnTo>
                      <a:lnTo>
                        <a:pt x="124430" y="200712"/>
                      </a:lnTo>
                      <a:lnTo>
                        <a:pt x="125416" y="199530"/>
                      </a:lnTo>
                      <a:lnTo>
                        <a:pt x="125473" y="197436"/>
                      </a:lnTo>
                      <a:lnTo>
                        <a:pt x="124283" y="195968"/>
                      </a:lnTo>
                      <a:lnTo>
                        <a:pt x="122857" y="195186"/>
                      </a:lnTo>
                      <a:lnTo>
                        <a:pt x="121839" y="194330"/>
                      </a:lnTo>
                      <a:lnTo>
                        <a:pt x="120828" y="194184"/>
                      </a:lnTo>
                      <a:lnTo>
                        <a:pt x="120298" y="193173"/>
                      </a:lnTo>
                      <a:lnTo>
                        <a:pt x="120592" y="191315"/>
                      </a:lnTo>
                      <a:lnTo>
                        <a:pt x="120746" y="189587"/>
                      </a:lnTo>
                      <a:lnTo>
                        <a:pt x="121390" y="187876"/>
                      </a:lnTo>
                      <a:lnTo>
                        <a:pt x="121211" y="185447"/>
                      </a:lnTo>
                      <a:lnTo>
                        <a:pt x="120200" y="183010"/>
                      </a:lnTo>
                      <a:lnTo>
                        <a:pt x="119891" y="181266"/>
                      </a:lnTo>
                      <a:lnTo>
                        <a:pt x="119964" y="179539"/>
                      </a:lnTo>
                      <a:lnTo>
                        <a:pt x="120461" y="178178"/>
                      </a:lnTo>
                      <a:lnTo>
                        <a:pt x="121912" y="177289"/>
                      </a:lnTo>
                      <a:lnTo>
                        <a:pt x="123599" y="176939"/>
                      </a:lnTo>
                      <a:lnTo>
                        <a:pt x="125970" y="177371"/>
                      </a:lnTo>
                      <a:lnTo>
                        <a:pt x="130054" y="176800"/>
                      </a:lnTo>
                      <a:lnTo>
                        <a:pt x="140534" y="172603"/>
                      </a:lnTo>
                      <a:lnTo>
                        <a:pt x="141251" y="171307"/>
                      </a:lnTo>
                      <a:lnTo>
                        <a:pt x="141927" y="168398"/>
                      </a:lnTo>
                      <a:lnTo>
                        <a:pt x="142677" y="165855"/>
                      </a:lnTo>
                      <a:lnTo>
                        <a:pt x="143761" y="165008"/>
                      </a:lnTo>
                      <a:lnTo>
                        <a:pt x="144348" y="164812"/>
                      </a:lnTo>
                      <a:lnTo>
                        <a:pt x="147844" y="164127"/>
                      </a:lnTo>
                      <a:lnTo>
                        <a:pt x="152791" y="163158"/>
                      </a:lnTo>
                      <a:lnTo>
                        <a:pt x="154641" y="163019"/>
                      </a:lnTo>
                      <a:lnTo>
                        <a:pt x="160036" y="163296"/>
                      </a:lnTo>
                      <a:lnTo>
                        <a:pt x="163964" y="163508"/>
                      </a:lnTo>
                      <a:lnTo>
                        <a:pt x="170305" y="163834"/>
                      </a:lnTo>
                      <a:lnTo>
                        <a:pt x="174812" y="164005"/>
                      </a:lnTo>
                      <a:lnTo>
                        <a:pt x="178740" y="164160"/>
                      </a:lnTo>
                      <a:lnTo>
                        <a:pt x="183736" y="164348"/>
                      </a:lnTo>
                      <a:lnTo>
                        <a:pt x="184958" y="163753"/>
                      </a:lnTo>
                      <a:lnTo>
                        <a:pt x="184958" y="161903"/>
                      </a:lnTo>
                      <a:lnTo>
                        <a:pt x="184061" y="158447"/>
                      </a:lnTo>
                      <a:lnTo>
                        <a:pt x="184608" y="156279"/>
                      </a:lnTo>
                      <a:lnTo>
                        <a:pt x="186539" y="154283"/>
                      </a:lnTo>
                      <a:lnTo>
                        <a:pt x="188943" y="152041"/>
                      </a:lnTo>
                      <a:lnTo>
                        <a:pt x="187818" y="149319"/>
                      </a:lnTo>
                      <a:lnTo>
                        <a:pt x="185895" y="147486"/>
                      </a:lnTo>
                      <a:lnTo>
                        <a:pt x="183214" y="145302"/>
                      </a:lnTo>
                      <a:lnTo>
                        <a:pt x="181828" y="144405"/>
                      </a:lnTo>
                      <a:lnTo>
                        <a:pt x="179408" y="141756"/>
                      </a:lnTo>
                      <a:lnTo>
                        <a:pt x="177917" y="138741"/>
                      </a:lnTo>
                      <a:lnTo>
                        <a:pt x="176906" y="132352"/>
                      </a:lnTo>
                      <a:lnTo>
                        <a:pt x="175064" y="128774"/>
                      </a:lnTo>
                      <a:lnTo>
                        <a:pt x="173720" y="124365"/>
                      </a:lnTo>
                      <a:lnTo>
                        <a:pt x="174909" y="116264"/>
                      </a:lnTo>
                      <a:lnTo>
                        <a:pt x="173133" y="111366"/>
                      </a:lnTo>
                      <a:lnTo>
                        <a:pt x="172856" y="109239"/>
                      </a:lnTo>
                      <a:lnTo>
                        <a:pt x="172840" y="106737"/>
                      </a:lnTo>
                      <a:lnTo>
                        <a:pt x="173385" y="102418"/>
                      </a:lnTo>
                      <a:lnTo>
                        <a:pt x="173035" y="96330"/>
                      </a:lnTo>
                      <a:lnTo>
                        <a:pt x="170932" y="90046"/>
                      </a:lnTo>
                      <a:lnTo>
                        <a:pt x="171918" y="87895"/>
                      </a:lnTo>
                      <a:lnTo>
                        <a:pt x="172383" y="86795"/>
                      </a:lnTo>
                      <a:lnTo>
                        <a:pt x="172228" y="85833"/>
                      </a:lnTo>
                      <a:lnTo>
                        <a:pt x="170313" y="83836"/>
                      </a:lnTo>
                      <a:lnTo>
                        <a:pt x="169498" y="82190"/>
                      </a:lnTo>
                      <a:lnTo>
                        <a:pt x="169922" y="80633"/>
                      </a:lnTo>
                      <a:lnTo>
                        <a:pt x="170916" y="78376"/>
                      </a:lnTo>
                      <a:lnTo>
                        <a:pt x="170835" y="77439"/>
                      </a:lnTo>
                      <a:lnTo>
                        <a:pt x="167730" y="74684"/>
                      </a:lnTo>
                      <a:lnTo>
                        <a:pt x="162489" y="70234"/>
                      </a:lnTo>
                      <a:lnTo>
                        <a:pt x="161030" y="68295"/>
                      </a:lnTo>
                      <a:lnTo>
                        <a:pt x="160322" y="65842"/>
                      </a:lnTo>
                      <a:lnTo>
                        <a:pt x="165326" y="66469"/>
                      </a:lnTo>
                      <a:lnTo>
                        <a:pt x="167917" y="66168"/>
                      </a:lnTo>
                      <a:lnTo>
                        <a:pt x="173858" y="63234"/>
                      </a:lnTo>
                      <a:lnTo>
                        <a:pt x="178569" y="59289"/>
                      </a:lnTo>
                      <a:lnTo>
                        <a:pt x="182236" y="57276"/>
                      </a:lnTo>
                      <a:lnTo>
                        <a:pt x="185472" y="52932"/>
                      </a:lnTo>
                      <a:lnTo>
                        <a:pt x="188389" y="50194"/>
                      </a:lnTo>
                      <a:lnTo>
                        <a:pt x="192611" y="47236"/>
                      </a:lnTo>
                      <a:lnTo>
                        <a:pt x="204803" y="40846"/>
                      </a:lnTo>
                      <a:lnTo>
                        <a:pt x="206669" y="40789"/>
                      </a:lnTo>
                      <a:lnTo>
                        <a:pt x="210687" y="42248"/>
                      </a:lnTo>
                      <a:lnTo>
                        <a:pt x="214175" y="41800"/>
                      </a:lnTo>
                      <a:lnTo>
                        <a:pt x="216554" y="39559"/>
                      </a:lnTo>
                      <a:lnTo>
                        <a:pt x="219130" y="34180"/>
                      </a:lnTo>
                      <a:lnTo>
                        <a:pt x="223115" y="30887"/>
                      </a:lnTo>
                      <a:lnTo>
                        <a:pt x="228143" y="27587"/>
                      </a:lnTo>
                      <a:lnTo>
                        <a:pt x="234989" y="24449"/>
                      </a:lnTo>
                      <a:lnTo>
                        <a:pt x="239480" y="21556"/>
                      </a:lnTo>
                      <a:lnTo>
                        <a:pt x="246554" y="19046"/>
                      </a:lnTo>
                      <a:lnTo>
                        <a:pt x="264337" y="17449"/>
                      </a:lnTo>
                      <a:lnTo>
                        <a:pt x="273481" y="16030"/>
                      </a:lnTo>
                      <a:lnTo>
                        <a:pt x="279682" y="16348"/>
                      </a:lnTo>
                      <a:lnTo>
                        <a:pt x="285974" y="11760"/>
                      </a:lnTo>
                      <a:lnTo>
                        <a:pt x="289112" y="10244"/>
                      </a:lnTo>
                      <a:lnTo>
                        <a:pt x="302681" y="9886"/>
                      </a:lnTo>
                      <a:lnTo>
                        <a:pt x="309103" y="6528"/>
                      </a:lnTo>
                      <a:lnTo>
                        <a:pt x="333381" y="6528"/>
                      </a:lnTo>
                      <a:lnTo>
                        <a:pt x="336348" y="7653"/>
                      </a:lnTo>
                      <a:lnTo>
                        <a:pt x="339265" y="9454"/>
                      </a:lnTo>
                      <a:lnTo>
                        <a:pt x="344228" y="13822"/>
                      </a:lnTo>
                      <a:lnTo>
                        <a:pt x="346714" y="14767"/>
                      </a:lnTo>
                      <a:lnTo>
                        <a:pt x="349909" y="13863"/>
                      </a:lnTo>
                      <a:lnTo>
                        <a:pt x="357374" y="9739"/>
                      </a:lnTo>
                      <a:lnTo>
                        <a:pt x="365792" y="7587"/>
                      </a:lnTo>
                      <a:lnTo>
                        <a:pt x="370356" y="5126"/>
                      </a:lnTo>
                      <a:lnTo>
                        <a:pt x="372312" y="1540"/>
                      </a:lnTo>
                      <a:lnTo>
                        <a:pt x="376257" y="212"/>
                      </a:lnTo>
                      <a:lnTo>
                        <a:pt x="378457" y="2966"/>
                      </a:lnTo>
                      <a:lnTo>
                        <a:pt x="387194" y="5754"/>
                      </a:lnTo>
                      <a:lnTo>
                        <a:pt x="392540" y="4955"/>
                      </a:lnTo>
                      <a:lnTo>
                        <a:pt x="394903" y="4124"/>
                      </a:lnTo>
                      <a:lnTo>
                        <a:pt x="394056" y="0"/>
                      </a:lnTo>
                      <a:lnTo>
                        <a:pt x="399711" y="1100"/>
                      </a:lnTo>
                      <a:lnTo>
                        <a:pt x="404063" y="3081"/>
                      </a:lnTo>
                      <a:lnTo>
                        <a:pt x="408628" y="7058"/>
                      </a:lnTo>
                      <a:lnTo>
                        <a:pt x="411569" y="7848"/>
                      </a:lnTo>
                      <a:lnTo>
                        <a:pt x="416949" y="6055"/>
                      </a:lnTo>
                      <a:close/>
                    </a:path>
                  </a:pathLst>
                </a:custGeom>
                <a:solidFill>
                  <a:srgbClr val="D6D6D2"/>
                </a:solidFill>
                <a:ln w="6112" cap="rnd">
                  <a:solidFill>
                    <a:srgbClr val="FFFFFF"/>
                  </a:solidFill>
                  <a:prstDash val="solid"/>
                  <a:round/>
                </a:ln>
              </p:spPr>
              <p:txBody>
                <a:bodyPr rtlCol="0" anchor="ctr"/>
                <a:lstStyle/>
                <a:p>
                  <a:endParaRPr lang="en-US"/>
                </a:p>
              </p:txBody>
            </p:sp>
            <p:sp>
              <p:nvSpPr>
                <p:cNvPr id="746" name="Freeform: Shape 745">
                  <a:extLst>
                    <a:ext uri="{FF2B5EF4-FFF2-40B4-BE49-F238E27FC236}">
                      <a16:creationId xmlns:a16="http://schemas.microsoft.com/office/drawing/2014/main" id="{7F7928B6-0BE4-4C4E-8578-3239FEFDF02F}"/>
                    </a:ext>
                  </a:extLst>
                </p:cNvPr>
                <p:cNvSpPr/>
                <p:nvPr/>
              </p:nvSpPr>
              <p:spPr>
                <a:xfrm>
                  <a:off x="4157863" y="3922223"/>
                  <a:ext cx="90796" cy="70079"/>
                </a:xfrm>
                <a:custGeom>
                  <a:avLst/>
                  <a:gdLst>
                    <a:gd name="connsiteX0" fmla="*/ 5746 w 90796"/>
                    <a:gd name="connsiteY0" fmla="*/ 57700 h 70079"/>
                    <a:gd name="connsiteX1" fmla="*/ 5860 w 90796"/>
                    <a:gd name="connsiteY1" fmla="*/ 52639 h 70079"/>
                    <a:gd name="connsiteX2" fmla="*/ 6520 w 90796"/>
                    <a:gd name="connsiteY2" fmla="*/ 50594 h 70079"/>
                    <a:gd name="connsiteX3" fmla="*/ 5909 w 90796"/>
                    <a:gd name="connsiteY3" fmla="*/ 48426 h 70079"/>
                    <a:gd name="connsiteX4" fmla="*/ 3162 w 90796"/>
                    <a:gd name="connsiteY4" fmla="*/ 46128 h 70079"/>
                    <a:gd name="connsiteX5" fmla="*/ 1483 w 90796"/>
                    <a:gd name="connsiteY5" fmla="*/ 43161 h 70079"/>
                    <a:gd name="connsiteX6" fmla="*/ 0 w 90796"/>
                    <a:gd name="connsiteY6" fmla="*/ 40537 h 70079"/>
                    <a:gd name="connsiteX7" fmla="*/ 334 w 90796"/>
                    <a:gd name="connsiteY7" fmla="*/ 40154 h 70079"/>
                    <a:gd name="connsiteX8" fmla="*/ 3309 w 90796"/>
                    <a:gd name="connsiteY8" fmla="*/ 40040 h 70079"/>
                    <a:gd name="connsiteX9" fmla="*/ 4368 w 90796"/>
                    <a:gd name="connsiteY9" fmla="*/ 39070 h 70079"/>
                    <a:gd name="connsiteX10" fmla="*/ 6373 w 90796"/>
                    <a:gd name="connsiteY10" fmla="*/ 36389 h 70079"/>
                    <a:gd name="connsiteX11" fmla="*/ 6781 w 90796"/>
                    <a:gd name="connsiteY11" fmla="*/ 34229 h 70079"/>
                    <a:gd name="connsiteX12" fmla="*/ 6609 w 90796"/>
                    <a:gd name="connsiteY12" fmla="*/ 32591 h 70079"/>
                    <a:gd name="connsiteX13" fmla="*/ 5298 w 90796"/>
                    <a:gd name="connsiteY13" fmla="*/ 30627 h 70079"/>
                    <a:gd name="connsiteX14" fmla="*/ 4792 w 90796"/>
                    <a:gd name="connsiteY14" fmla="*/ 28573 h 70079"/>
                    <a:gd name="connsiteX15" fmla="*/ 6398 w 90796"/>
                    <a:gd name="connsiteY15" fmla="*/ 26764 h 70079"/>
                    <a:gd name="connsiteX16" fmla="*/ 8517 w 90796"/>
                    <a:gd name="connsiteY16" fmla="*/ 24148 h 70079"/>
                    <a:gd name="connsiteX17" fmla="*/ 8802 w 90796"/>
                    <a:gd name="connsiteY17" fmla="*/ 23137 h 70079"/>
                    <a:gd name="connsiteX18" fmla="*/ 8753 w 90796"/>
                    <a:gd name="connsiteY18" fmla="*/ 22135 h 70079"/>
                    <a:gd name="connsiteX19" fmla="*/ 6292 w 90796"/>
                    <a:gd name="connsiteY19" fmla="*/ 19372 h 70079"/>
                    <a:gd name="connsiteX20" fmla="*/ 6129 w 90796"/>
                    <a:gd name="connsiteY20" fmla="*/ 18174 h 70079"/>
                    <a:gd name="connsiteX21" fmla="*/ 7278 w 90796"/>
                    <a:gd name="connsiteY21" fmla="*/ 15175 h 70079"/>
                    <a:gd name="connsiteX22" fmla="*/ 7156 w 90796"/>
                    <a:gd name="connsiteY22" fmla="*/ 13186 h 70079"/>
                    <a:gd name="connsiteX23" fmla="*/ 6023 w 90796"/>
                    <a:gd name="connsiteY23" fmla="*/ 6968 h 70079"/>
                    <a:gd name="connsiteX24" fmla="*/ 5477 w 90796"/>
                    <a:gd name="connsiteY24" fmla="*/ 6039 h 70079"/>
                    <a:gd name="connsiteX25" fmla="*/ 6577 w 90796"/>
                    <a:gd name="connsiteY25" fmla="*/ 5526 h 70079"/>
                    <a:gd name="connsiteX26" fmla="*/ 7294 w 90796"/>
                    <a:gd name="connsiteY26" fmla="*/ 3667 h 70079"/>
                    <a:gd name="connsiteX27" fmla="*/ 8256 w 90796"/>
                    <a:gd name="connsiteY27" fmla="*/ 2021 h 70079"/>
                    <a:gd name="connsiteX28" fmla="*/ 9527 w 90796"/>
                    <a:gd name="connsiteY28" fmla="*/ 1133 h 70079"/>
                    <a:gd name="connsiteX29" fmla="*/ 10970 w 90796"/>
                    <a:gd name="connsiteY29" fmla="*/ 578 h 70079"/>
                    <a:gd name="connsiteX30" fmla="*/ 13846 w 90796"/>
                    <a:gd name="connsiteY30" fmla="*/ 619 h 70079"/>
                    <a:gd name="connsiteX31" fmla="*/ 17832 w 90796"/>
                    <a:gd name="connsiteY31" fmla="*/ 2054 h 70079"/>
                    <a:gd name="connsiteX32" fmla="*/ 18948 w 90796"/>
                    <a:gd name="connsiteY32" fmla="*/ 2029 h 70079"/>
                    <a:gd name="connsiteX33" fmla="*/ 22770 w 90796"/>
                    <a:gd name="connsiteY33" fmla="*/ 725 h 70079"/>
                    <a:gd name="connsiteX34" fmla="*/ 25949 w 90796"/>
                    <a:gd name="connsiteY34" fmla="*/ 0 h 70079"/>
                    <a:gd name="connsiteX35" fmla="*/ 28932 w 90796"/>
                    <a:gd name="connsiteY35" fmla="*/ 823 h 70079"/>
                    <a:gd name="connsiteX36" fmla="*/ 30130 w 90796"/>
                    <a:gd name="connsiteY36" fmla="*/ 1948 h 70079"/>
                    <a:gd name="connsiteX37" fmla="*/ 32599 w 90796"/>
                    <a:gd name="connsiteY37" fmla="*/ 3724 h 70079"/>
                    <a:gd name="connsiteX38" fmla="*/ 33830 w 90796"/>
                    <a:gd name="connsiteY38" fmla="*/ 4270 h 70079"/>
                    <a:gd name="connsiteX39" fmla="*/ 37717 w 90796"/>
                    <a:gd name="connsiteY39" fmla="*/ 4230 h 70079"/>
                    <a:gd name="connsiteX40" fmla="*/ 38785 w 90796"/>
                    <a:gd name="connsiteY40" fmla="*/ 4401 h 70079"/>
                    <a:gd name="connsiteX41" fmla="*/ 42053 w 90796"/>
                    <a:gd name="connsiteY41" fmla="*/ 7343 h 70079"/>
                    <a:gd name="connsiteX42" fmla="*/ 44799 w 90796"/>
                    <a:gd name="connsiteY42" fmla="*/ 8508 h 70079"/>
                    <a:gd name="connsiteX43" fmla="*/ 46397 w 90796"/>
                    <a:gd name="connsiteY43" fmla="*/ 8574 h 70079"/>
                    <a:gd name="connsiteX44" fmla="*/ 49265 w 90796"/>
                    <a:gd name="connsiteY44" fmla="*/ 7432 h 70079"/>
                    <a:gd name="connsiteX45" fmla="*/ 50675 w 90796"/>
                    <a:gd name="connsiteY45" fmla="*/ 7465 h 70079"/>
                    <a:gd name="connsiteX46" fmla="*/ 52305 w 90796"/>
                    <a:gd name="connsiteY46" fmla="*/ 10000 h 70079"/>
                    <a:gd name="connsiteX47" fmla="*/ 52631 w 90796"/>
                    <a:gd name="connsiteY47" fmla="*/ 13594 h 70079"/>
                    <a:gd name="connsiteX48" fmla="*/ 53992 w 90796"/>
                    <a:gd name="connsiteY48" fmla="*/ 16862 h 70079"/>
                    <a:gd name="connsiteX49" fmla="*/ 56070 w 90796"/>
                    <a:gd name="connsiteY49" fmla="*/ 18956 h 70079"/>
                    <a:gd name="connsiteX50" fmla="*/ 66355 w 90796"/>
                    <a:gd name="connsiteY50" fmla="*/ 18076 h 70079"/>
                    <a:gd name="connsiteX51" fmla="*/ 68637 w 90796"/>
                    <a:gd name="connsiteY51" fmla="*/ 19804 h 70079"/>
                    <a:gd name="connsiteX52" fmla="*/ 67855 w 90796"/>
                    <a:gd name="connsiteY52" fmla="*/ 21214 h 70079"/>
                    <a:gd name="connsiteX53" fmla="*/ 66404 w 90796"/>
                    <a:gd name="connsiteY53" fmla="*/ 21980 h 70079"/>
                    <a:gd name="connsiteX54" fmla="*/ 61514 w 90796"/>
                    <a:gd name="connsiteY54" fmla="*/ 21646 h 70079"/>
                    <a:gd name="connsiteX55" fmla="*/ 59379 w 90796"/>
                    <a:gd name="connsiteY55" fmla="*/ 21809 h 70079"/>
                    <a:gd name="connsiteX56" fmla="*/ 58955 w 90796"/>
                    <a:gd name="connsiteY56" fmla="*/ 23227 h 70079"/>
                    <a:gd name="connsiteX57" fmla="*/ 58947 w 90796"/>
                    <a:gd name="connsiteY57" fmla="*/ 24547 h 70079"/>
                    <a:gd name="connsiteX58" fmla="*/ 61808 w 90796"/>
                    <a:gd name="connsiteY58" fmla="*/ 24857 h 70079"/>
                    <a:gd name="connsiteX59" fmla="*/ 64603 w 90796"/>
                    <a:gd name="connsiteY59" fmla="*/ 25517 h 70079"/>
                    <a:gd name="connsiteX60" fmla="*/ 67455 w 90796"/>
                    <a:gd name="connsiteY60" fmla="*/ 26568 h 70079"/>
                    <a:gd name="connsiteX61" fmla="*/ 70365 w 90796"/>
                    <a:gd name="connsiteY61" fmla="*/ 27293 h 70079"/>
                    <a:gd name="connsiteX62" fmla="*/ 73633 w 90796"/>
                    <a:gd name="connsiteY62" fmla="*/ 27766 h 70079"/>
                    <a:gd name="connsiteX63" fmla="*/ 76860 w 90796"/>
                    <a:gd name="connsiteY63" fmla="*/ 28524 h 70079"/>
                    <a:gd name="connsiteX64" fmla="*/ 82231 w 90796"/>
                    <a:gd name="connsiteY64" fmla="*/ 31099 h 70079"/>
                    <a:gd name="connsiteX65" fmla="*/ 88164 w 90796"/>
                    <a:gd name="connsiteY65" fmla="*/ 36959 h 70079"/>
                    <a:gd name="connsiteX66" fmla="*/ 89753 w 90796"/>
                    <a:gd name="connsiteY66" fmla="*/ 38279 h 70079"/>
                    <a:gd name="connsiteX67" fmla="*/ 90796 w 90796"/>
                    <a:gd name="connsiteY67" fmla="*/ 40121 h 70079"/>
                    <a:gd name="connsiteX68" fmla="*/ 90299 w 90796"/>
                    <a:gd name="connsiteY68" fmla="*/ 42378 h 70079"/>
                    <a:gd name="connsiteX69" fmla="*/ 88180 w 90796"/>
                    <a:gd name="connsiteY69" fmla="*/ 46079 h 70079"/>
                    <a:gd name="connsiteX70" fmla="*/ 86982 w 90796"/>
                    <a:gd name="connsiteY70" fmla="*/ 47268 h 70079"/>
                    <a:gd name="connsiteX71" fmla="*/ 85230 w 90796"/>
                    <a:gd name="connsiteY71" fmla="*/ 47994 h 70079"/>
                    <a:gd name="connsiteX72" fmla="*/ 84032 w 90796"/>
                    <a:gd name="connsiteY72" fmla="*/ 49502 h 70079"/>
                    <a:gd name="connsiteX73" fmla="*/ 82875 w 90796"/>
                    <a:gd name="connsiteY73" fmla="*/ 52085 h 70079"/>
                    <a:gd name="connsiteX74" fmla="*/ 82166 w 90796"/>
                    <a:gd name="connsiteY74" fmla="*/ 52305 h 70079"/>
                    <a:gd name="connsiteX75" fmla="*/ 81334 w 90796"/>
                    <a:gd name="connsiteY75" fmla="*/ 52199 h 70079"/>
                    <a:gd name="connsiteX76" fmla="*/ 79900 w 90796"/>
                    <a:gd name="connsiteY76" fmla="*/ 50732 h 70079"/>
                    <a:gd name="connsiteX77" fmla="*/ 78881 w 90796"/>
                    <a:gd name="connsiteY77" fmla="*/ 48483 h 70079"/>
                    <a:gd name="connsiteX78" fmla="*/ 76021 w 90796"/>
                    <a:gd name="connsiteY78" fmla="*/ 46372 h 70079"/>
                    <a:gd name="connsiteX79" fmla="*/ 72614 w 90796"/>
                    <a:gd name="connsiteY79" fmla="*/ 46641 h 70079"/>
                    <a:gd name="connsiteX80" fmla="*/ 67602 w 90796"/>
                    <a:gd name="connsiteY80" fmla="*/ 45394 h 70079"/>
                    <a:gd name="connsiteX81" fmla="*/ 64562 w 90796"/>
                    <a:gd name="connsiteY81" fmla="*/ 46005 h 70079"/>
                    <a:gd name="connsiteX82" fmla="*/ 61522 w 90796"/>
                    <a:gd name="connsiteY82" fmla="*/ 46136 h 70079"/>
                    <a:gd name="connsiteX83" fmla="*/ 58417 w 90796"/>
                    <a:gd name="connsiteY83" fmla="*/ 45508 h 70079"/>
                    <a:gd name="connsiteX84" fmla="*/ 55296 w 90796"/>
                    <a:gd name="connsiteY84" fmla="*/ 45280 h 70079"/>
                    <a:gd name="connsiteX85" fmla="*/ 52175 w 90796"/>
                    <a:gd name="connsiteY85" fmla="*/ 46079 h 70079"/>
                    <a:gd name="connsiteX86" fmla="*/ 49159 w 90796"/>
                    <a:gd name="connsiteY86" fmla="*/ 47432 h 70079"/>
                    <a:gd name="connsiteX87" fmla="*/ 48043 w 90796"/>
                    <a:gd name="connsiteY87" fmla="*/ 48287 h 70079"/>
                    <a:gd name="connsiteX88" fmla="*/ 46095 w 90796"/>
                    <a:gd name="connsiteY88" fmla="*/ 50390 h 70079"/>
                    <a:gd name="connsiteX89" fmla="*/ 45068 w 90796"/>
                    <a:gd name="connsiteY89" fmla="*/ 51172 h 70079"/>
                    <a:gd name="connsiteX90" fmla="*/ 37709 w 90796"/>
                    <a:gd name="connsiteY90" fmla="*/ 52232 h 70079"/>
                    <a:gd name="connsiteX91" fmla="*/ 35582 w 90796"/>
                    <a:gd name="connsiteY91" fmla="*/ 50691 h 70079"/>
                    <a:gd name="connsiteX92" fmla="*/ 33626 w 90796"/>
                    <a:gd name="connsiteY92" fmla="*/ 48581 h 70079"/>
                    <a:gd name="connsiteX93" fmla="*/ 30782 w 90796"/>
                    <a:gd name="connsiteY93" fmla="*/ 48295 h 70079"/>
                    <a:gd name="connsiteX94" fmla="*/ 26682 w 90796"/>
                    <a:gd name="connsiteY94" fmla="*/ 49925 h 70079"/>
                    <a:gd name="connsiteX95" fmla="*/ 24115 w 90796"/>
                    <a:gd name="connsiteY95" fmla="*/ 50520 h 70079"/>
                    <a:gd name="connsiteX96" fmla="*/ 23072 w 90796"/>
                    <a:gd name="connsiteY96" fmla="*/ 51213 h 70079"/>
                    <a:gd name="connsiteX97" fmla="*/ 22762 w 90796"/>
                    <a:gd name="connsiteY97" fmla="*/ 52011 h 70079"/>
                    <a:gd name="connsiteX98" fmla="*/ 22762 w 90796"/>
                    <a:gd name="connsiteY98" fmla="*/ 54962 h 70079"/>
                    <a:gd name="connsiteX99" fmla="*/ 22175 w 90796"/>
                    <a:gd name="connsiteY99" fmla="*/ 56755 h 70079"/>
                    <a:gd name="connsiteX100" fmla="*/ 18182 w 90796"/>
                    <a:gd name="connsiteY100" fmla="*/ 63519 h 70079"/>
                    <a:gd name="connsiteX101" fmla="*/ 15916 w 90796"/>
                    <a:gd name="connsiteY101" fmla="*/ 68287 h 70079"/>
                    <a:gd name="connsiteX102" fmla="*/ 14995 w 90796"/>
                    <a:gd name="connsiteY102" fmla="*/ 69753 h 70079"/>
                    <a:gd name="connsiteX103" fmla="*/ 13920 w 90796"/>
                    <a:gd name="connsiteY103" fmla="*/ 70080 h 70079"/>
                    <a:gd name="connsiteX104" fmla="*/ 11948 w 90796"/>
                    <a:gd name="connsiteY104" fmla="*/ 67341 h 70079"/>
                    <a:gd name="connsiteX105" fmla="*/ 10693 w 90796"/>
                    <a:gd name="connsiteY105" fmla="*/ 66347 h 70079"/>
                    <a:gd name="connsiteX106" fmla="*/ 9136 w 90796"/>
                    <a:gd name="connsiteY106" fmla="*/ 65850 h 70079"/>
                    <a:gd name="connsiteX107" fmla="*/ 8484 w 90796"/>
                    <a:gd name="connsiteY107" fmla="*/ 64391 h 70079"/>
                    <a:gd name="connsiteX108" fmla="*/ 8508 w 90796"/>
                    <a:gd name="connsiteY108" fmla="*/ 62313 h 70079"/>
                    <a:gd name="connsiteX109" fmla="*/ 8093 w 90796"/>
                    <a:gd name="connsiteY109" fmla="*/ 60316 h 70079"/>
                    <a:gd name="connsiteX110" fmla="*/ 7131 w 90796"/>
                    <a:gd name="connsiteY110" fmla="*/ 58735 h 7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90796" h="70079">
                      <a:moveTo>
                        <a:pt x="5746" y="57700"/>
                      </a:moveTo>
                      <a:lnTo>
                        <a:pt x="5860" y="52639"/>
                      </a:lnTo>
                      <a:lnTo>
                        <a:pt x="6520" y="50594"/>
                      </a:lnTo>
                      <a:lnTo>
                        <a:pt x="5909" y="48426"/>
                      </a:lnTo>
                      <a:lnTo>
                        <a:pt x="3162" y="46128"/>
                      </a:lnTo>
                      <a:lnTo>
                        <a:pt x="1483" y="43161"/>
                      </a:lnTo>
                      <a:lnTo>
                        <a:pt x="0" y="40537"/>
                      </a:lnTo>
                      <a:lnTo>
                        <a:pt x="334" y="40154"/>
                      </a:lnTo>
                      <a:lnTo>
                        <a:pt x="3309" y="40040"/>
                      </a:lnTo>
                      <a:lnTo>
                        <a:pt x="4368" y="39070"/>
                      </a:lnTo>
                      <a:lnTo>
                        <a:pt x="6373" y="36389"/>
                      </a:lnTo>
                      <a:lnTo>
                        <a:pt x="6781" y="34229"/>
                      </a:lnTo>
                      <a:lnTo>
                        <a:pt x="6609" y="32591"/>
                      </a:lnTo>
                      <a:lnTo>
                        <a:pt x="5298" y="30627"/>
                      </a:lnTo>
                      <a:lnTo>
                        <a:pt x="4792" y="28573"/>
                      </a:lnTo>
                      <a:lnTo>
                        <a:pt x="6398" y="26764"/>
                      </a:lnTo>
                      <a:lnTo>
                        <a:pt x="8517" y="24148"/>
                      </a:lnTo>
                      <a:lnTo>
                        <a:pt x="8802" y="23137"/>
                      </a:lnTo>
                      <a:lnTo>
                        <a:pt x="8753" y="22135"/>
                      </a:lnTo>
                      <a:lnTo>
                        <a:pt x="6292" y="19372"/>
                      </a:lnTo>
                      <a:lnTo>
                        <a:pt x="6129" y="18174"/>
                      </a:lnTo>
                      <a:lnTo>
                        <a:pt x="7278" y="15175"/>
                      </a:lnTo>
                      <a:lnTo>
                        <a:pt x="7156" y="13186"/>
                      </a:lnTo>
                      <a:lnTo>
                        <a:pt x="6023" y="6968"/>
                      </a:lnTo>
                      <a:lnTo>
                        <a:pt x="5477" y="6039"/>
                      </a:lnTo>
                      <a:lnTo>
                        <a:pt x="6577" y="5526"/>
                      </a:lnTo>
                      <a:lnTo>
                        <a:pt x="7294" y="3667"/>
                      </a:lnTo>
                      <a:lnTo>
                        <a:pt x="8256" y="2021"/>
                      </a:lnTo>
                      <a:lnTo>
                        <a:pt x="9527" y="1133"/>
                      </a:lnTo>
                      <a:lnTo>
                        <a:pt x="10970" y="578"/>
                      </a:lnTo>
                      <a:lnTo>
                        <a:pt x="13846" y="619"/>
                      </a:lnTo>
                      <a:lnTo>
                        <a:pt x="17832" y="2054"/>
                      </a:lnTo>
                      <a:lnTo>
                        <a:pt x="18948" y="2029"/>
                      </a:lnTo>
                      <a:lnTo>
                        <a:pt x="22770" y="725"/>
                      </a:lnTo>
                      <a:lnTo>
                        <a:pt x="25949" y="0"/>
                      </a:lnTo>
                      <a:lnTo>
                        <a:pt x="28932" y="823"/>
                      </a:lnTo>
                      <a:lnTo>
                        <a:pt x="30130" y="1948"/>
                      </a:lnTo>
                      <a:lnTo>
                        <a:pt x="32599" y="3724"/>
                      </a:lnTo>
                      <a:lnTo>
                        <a:pt x="33830" y="4270"/>
                      </a:lnTo>
                      <a:lnTo>
                        <a:pt x="37717" y="4230"/>
                      </a:lnTo>
                      <a:lnTo>
                        <a:pt x="38785" y="4401"/>
                      </a:lnTo>
                      <a:lnTo>
                        <a:pt x="42053" y="7343"/>
                      </a:lnTo>
                      <a:lnTo>
                        <a:pt x="44799" y="8508"/>
                      </a:lnTo>
                      <a:lnTo>
                        <a:pt x="46397" y="8574"/>
                      </a:lnTo>
                      <a:lnTo>
                        <a:pt x="49265" y="7432"/>
                      </a:lnTo>
                      <a:lnTo>
                        <a:pt x="50675" y="7465"/>
                      </a:lnTo>
                      <a:lnTo>
                        <a:pt x="52305" y="10000"/>
                      </a:lnTo>
                      <a:lnTo>
                        <a:pt x="52631" y="13594"/>
                      </a:lnTo>
                      <a:lnTo>
                        <a:pt x="53992" y="16862"/>
                      </a:lnTo>
                      <a:lnTo>
                        <a:pt x="56070" y="18956"/>
                      </a:lnTo>
                      <a:lnTo>
                        <a:pt x="66355" y="18076"/>
                      </a:lnTo>
                      <a:lnTo>
                        <a:pt x="68637" y="19804"/>
                      </a:lnTo>
                      <a:lnTo>
                        <a:pt x="67855" y="21214"/>
                      </a:lnTo>
                      <a:lnTo>
                        <a:pt x="66404" y="21980"/>
                      </a:lnTo>
                      <a:lnTo>
                        <a:pt x="61514" y="21646"/>
                      </a:lnTo>
                      <a:lnTo>
                        <a:pt x="59379" y="21809"/>
                      </a:lnTo>
                      <a:lnTo>
                        <a:pt x="58955" y="23227"/>
                      </a:lnTo>
                      <a:lnTo>
                        <a:pt x="58947" y="24547"/>
                      </a:lnTo>
                      <a:lnTo>
                        <a:pt x="61808" y="24857"/>
                      </a:lnTo>
                      <a:lnTo>
                        <a:pt x="64603" y="25517"/>
                      </a:lnTo>
                      <a:lnTo>
                        <a:pt x="67455" y="26568"/>
                      </a:lnTo>
                      <a:lnTo>
                        <a:pt x="70365" y="27293"/>
                      </a:lnTo>
                      <a:lnTo>
                        <a:pt x="73633" y="27766"/>
                      </a:lnTo>
                      <a:lnTo>
                        <a:pt x="76860" y="28524"/>
                      </a:lnTo>
                      <a:lnTo>
                        <a:pt x="82231" y="31099"/>
                      </a:lnTo>
                      <a:lnTo>
                        <a:pt x="88164" y="36959"/>
                      </a:lnTo>
                      <a:lnTo>
                        <a:pt x="89753" y="38279"/>
                      </a:lnTo>
                      <a:lnTo>
                        <a:pt x="90796" y="40121"/>
                      </a:lnTo>
                      <a:lnTo>
                        <a:pt x="90299" y="42378"/>
                      </a:lnTo>
                      <a:lnTo>
                        <a:pt x="88180" y="46079"/>
                      </a:lnTo>
                      <a:lnTo>
                        <a:pt x="86982" y="47268"/>
                      </a:lnTo>
                      <a:lnTo>
                        <a:pt x="85230" y="47994"/>
                      </a:lnTo>
                      <a:lnTo>
                        <a:pt x="84032" y="49502"/>
                      </a:lnTo>
                      <a:lnTo>
                        <a:pt x="82875" y="52085"/>
                      </a:lnTo>
                      <a:lnTo>
                        <a:pt x="82166" y="52305"/>
                      </a:lnTo>
                      <a:lnTo>
                        <a:pt x="81334" y="52199"/>
                      </a:lnTo>
                      <a:lnTo>
                        <a:pt x="79900" y="50732"/>
                      </a:lnTo>
                      <a:lnTo>
                        <a:pt x="78881" y="48483"/>
                      </a:lnTo>
                      <a:lnTo>
                        <a:pt x="76021" y="46372"/>
                      </a:lnTo>
                      <a:lnTo>
                        <a:pt x="72614" y="46641"/>
                      </a:lnTo>
                      <a:lnTo>
                        <a:pt x="67602" y="45394"/>
                      </a:lnTo>
                      <a:lnTo>
                        <a:pt x="64562" y="46005"/>
                      </a:lnTo>
                      <a:lnTo>
                        <a:pt x="61522" y="46136"/>
                      </a:lnTo>
                      <a:lnTo>
                        <a:pt x="58417" y="45508"/>
                      </a:lnTo>
                      <a:lnTo>
                        <a:pt x="55296" y="45280"/>
                      </a:lnTo>
                      <a:lnTo>
                        <a:pt x="52175" y="46079"/>
                      </a:lnTo>
                      <a:lnTo>
                        <a:pt x="49159" y="47432"/>
                      </a:lnTo>
                      <a:lnTo>
                        <a:pt x="48043" y="48287"/>
                      </a:lnTo>
                      <a:lnTo>
                        <a:pt x="46095" y="50390"/>
                      </a:lnTo>
                      <a:lnTo>
                        <a:pt x="45068" y="51172"/>
                      </a:lnTo>
                      <a:lnTo>
                        <a:pt x="37709" y="52232"/>
                      </a:lnTo>
                      <a:lnTo>
                        <a:pt x="35582" y="50691"/>
                      </a:lnTo>
                      <a:lnTo>
                        <a:pt x="33626" y="48581"/>
                      </a:lnTo>
                      <a:lnTo>
                        <a:pt x="30782" y="48295"/>
                      </a:lnTo>
                      <a:lnTo>
                        <a:pt x="26682" y="49925"/>
                      </a:lnTo>
                      <a:lnTo>
                        <a:pt x="24115" y="50520"/>
                      </a:lnTo>
                      <a:lnTo>
                        <a:pt x="23072" y="51213"/>
                      </a:lnTo>
                      <a:lnTo>
                        <a:pt x="22762" y="52011"/>
                      </a:lnTo>
                      <a:lnTo>
                        <a:pt x="22762" y="54962"/>
                      </a:lnTo>
                      <a:lnTo>
                        <a:pt x="22175" y="56755"/>
                      </a:lnTo>
                      <a:lnTo>
                        <a:pt x="18182" y="63519"/>
                      </a:lnTo>
                      <a:lnTo>
                        <a:pt x="15916" y="68287"/>
                      </a:lnTo>
                      <a:lnTo>
                        <a:pt x="14995" y="69753"/>
                      </a:lnTo>
                      <a:lnTo>
                        <a:pt x="13920" y="70080"/>
                      </a:lnTo>
                      <a:lnTo>
                        <a:pt x="11948" y="67341"/>
                      </a:lnTo>
                      <a:lnTo>
                        <a:pt x="10693" y="66347"/>
                      </a:lnTo>
                      <a:lnTo>
                        <a:pt x="9136" y="65850"/>
                      </a:lnTo>
                      <a:lnTo>
                        <a:pt x="8484" y="64391"/>
                      </a:lnTo>
                      <a:lnTo>
                        <a:pt x="8508" y="62313"/>
                      </a:lnTo>
                      <a:lnTo>
                        <a:pt x="8093" y="60316"/>
                      </a:lnTo>
                      <a:lnTo>
                        <a:pt x="7131" y="58735"/>
                      </a:lnTo>
                      <a:close/>
                    </a:path>
                  </a:pathLst>
                </a:custGeom>
                <a:solidFill>
                  <a:srgbClr val="D6D6D2"/>
                </a:solidFill>
                <a:ln w="8150" cap="flat">
                  <a:noFill/>
                  <a:prstDash val="solid"/>
                  <a:miter/>
                </a:ln>
              </p:spPr>
              <p:txBody>
                <a:bodyPr rtlCol="0" anchor="ctr"/>
                <a:lstStyle/>
                <a:p>
                  <a:endParaRPr lang="en-US"/>
                </a:p>
              </p:txBody>
            </p:sp>
            <p:sp>
              <p:nvSpPr>
                <p:cNvPr id="747" name="Freeform: Shape 746">
                  <a:extLst>
                    <a:ext uri="{FF2B5EF4-FFF2-40B4-BE49-F238E27FC236}">
                      <a16:creationId xmlns:a16="http://schemas.microsoft.com/office/drawing/2014/main" id="{CB382E77-1453-4268-9796-BAE4E2EA531E}"/>
                    </a:ext>
                  </a:extLst>
                </p:cNvPr>
                <p:cNvSpPr/>
                <p:nvPr/>
              </p:nvSpPr>
              <p:spPr>
                <a:xfrm>
                  <a:off x="6145069" y="2633082"/>
                  <a:ext cx="111259" cy="119581"/>
                </a:xfrm>
                <a:custGeom>
                  <a:avLst/>
                  <a:gdLst>
                    <a:gd name="connsiteX0" fmla="*/ 80356 w 111259"/>
                    <a:gd name="connsiteY0" fmla="*/ 109606 h 119581"/>
                    <a:gd name="connsiteX1" fmla="*/ 84741 w 111259"/>
                    <a:gd name="connsiteY1" fmla="*/ 111969 h 119581"/>
                    <a:gd name="connsiteX2" fmla="*/ 87708 w 111259"/>
                    <a:gd name="connsiteY2" fmla="*/ 111831 h 119581"/>
                    <a:gd name="connsiteX3" fmla="*/ 89721 w 111259"/>
                    <a:gd name="connsiteY3" fmla="*/ 112809 h 119581"/>
                    <a:gd name="connsiteX4" fmla="*/ 90210 w 111259"/>
                    <a:gd name="connsiteY4" fmla="*/ 114316 h 119581"/>
                    <a:gd name="connsiteX5" fmla="*/ 90381 w 111259"/>
                    <a:gd name="connsiteY5" fmla="*/ 117674 h 119581"/>
                    <a:gd name="connsiteX6" fmla="*/ 88262 w 111259"/>
                    <a:gd name="connsiteY6" fmla="*/ 118644 h 119581"/>
                    <a:gd name="connsiteX7" fmla="*/ 85923 w 111259"/>
                    <a:gd name="connsiteY7" fmla="*/ 118310 h 119581"/>
                    <a:gd name="connsiteX8" fmla="*/ 82728 w 111259"/>
                    <a:gd name="connsiteY8" fmla="*/ 119581 h 119581"/>
                    <a:gd name="connsiteX9" fmla="*/ 72272 w 111259"/>
                    <a:gd name="connsiteY9" fmla="*/ 114113 h 119581"/>
                    <a:gd name="connsiteX10" fmla="*/ 72427 w 111259"/>
                    <a:gd name="connsiteY10" fmla="*/ 109541 h 119581"/>
                    <a:gd name="connsiteX11" fmla="*/ 72851 w 111259"/>
                    <a:gd name="connsiteY11" fmla="*/ 107748 h 119581"/>
                    <a:gd name="connsiteX12" fmla="*/ 77805 w 111259"/>
                    <a:gd name="connsiteY12" fmla="*/ 107324 h 119581"/>
                    <a:gd name="connsiteX13" fmla="*/ 80356 w 111259"/>
                    <a:gd name="connsiteY13" fmla="*/ 109606 h 119581"/>
                    <a:gd name="connsiteX14" fmla="*/ 62582 w 111259"/>
                    <a:gd name="connsiteY14" fmla="*/ 82214 h 119581"/>
                    <a:gd name="connsiteX15" fmla="*/ 63617 w 111259"/>
                    <a:gd name="connsiteY15" fmla="*/ 84211 h 119581"/>
                    <a:gd name="connsiteX16" fmla="*/ 64880 w 111259"/>
                    <a:gd name="connsiteY16" fmla="*/ 88465 h 119581"/>
                    <a:gd name="connsiteX17" fmla="*/ 66901 w 111259"/>
                    <a:gd name="connsiteY17" fmla="*/ 93217 h 119581"/>
                    <a:gd name="connsiteX18" fmla="*/ 66053 w 111259"/>
                    <a:gd name="connsiteY18" fmla="*/ 95205 h 119581"/>
                    <a:gd name="connsiteX19" fmla="*/ 66624 w 111259"/>
                    <a:gd name="connsiteY19" fmla="*/ 97748 h 119581"/>
                    <a:gd name="connsiteX20" fmla="*/ 66053 w 111259"/>
                    <a:gd name="connsiteY20" fmla="*/ 100405 h 119581"/>
                    <a:gd name="connsiteX21" fmla="*/ 62052 w 111259"/>
                    <a:gd name="connsiteY21" fmla="*/ 103485 h 119581"/>
                    <a:gd name="connsiteX22" fmla="*/ 57554 w 111259"/>
                    <a:gd name="connsiteY22" fmla="*/ 103632 h 119581"/>
                    <a:gd name="connsiteX23" fmla="*/ 52892 w 111259"/>
                    <a:gd name="connsiteY23" fmla="*/ 102141 h 119581"/>
                    <a:gd name="connsiteX24" fmla="*/ 46299 w 111259"/>
                    <a:gd name="connsiteY24" fmla="*/ 99272 h 119581"/>
                    <a:gd name="connsiteX25" fmla="*/ 45769 w 111259"/>
                    <a:gd name="connsiteY25" fmla="*/ 97658 h 119581"/>
                    <a:gd name="connsiteX26" fmla="*/ 44840 w 111259"/>
                    <a:gd name="connsiteY26" fmla="*/ 96762 h 119581"/>
                    <a:gd name="connsiteX27" fmla="*/ 43088 w 111259"/>
                    <a:gd name="connsiteY27" fmla="*/ 91872 h 119581"/>
                    <a:gd name="connsiteX28" fmla="*/ 43128 w 111259"/>
                    <a:gd name="connsiteY28" fmla="*/ 85825 h 119581"/>
                    <a:gd name="connsiteX29" fmla="*/ 46437 w 111259"/>
                    <a:gd name="connsiteY29" fmla="*/ 85067 h 119581"/>
                    <a:gd name="connsiteX30" fmla="*/ 53682 w 111259"/>
                    <a:gd name="connsiteY30" fmla="*/ 82182 h 119581"/>
                    <a:gd name="connsiteX31" fmla="*/ 55353 w 111259"/>
                    <a:gd name="connsiteY31" fmla="*/ 82630 h 119581"/>
                    <a:gd name="connsiteX32" fmla="*/ 57097 w 111259"/>
                    <a:gd name="connsiteY32" fmla="*/ 84113 h 119581"/>
                    <a:gd name="connsiteX33" fmla="*/ 59102 w 111259"/>
                    <a:gd name="connsiteY33" fmla="*/ 84195 h 119581"/>
                    <a:gd name="connsiteX34" fmla="*/ 62019 w 111259"/>
                    <a:gd name="connsiteY34" fmla="*/ 82109 h 119581"/>
                    <a:gd name="connsiteX35" fmla="*/ 62582 w 111259"/>
                    <a:gd name="connsiteY35" fmla="*/ 82214 h 119581"/>
                    <a:gd name="connsiteX36" fmla="*/ 110298 w 111259"/>
                    <a:gd name="connsiteY36" fmla="*/ 75499 h 119581"/>
                    <a:gd name="connsiteX37" fmla="*/ 110364 w 111259"/>
                    <a:gd name="connsiteY37" fmla="*/ 79338 h 119581"/>
                    <a:gd name="connsiteX38" fmla="*/ 109720 w 111259"/>
                    <a:gd name="connsiteY38" fmla="*/ 80454 h 119581"/>
                    <a:gd name="connsiteX39" fmla="*/ 108774 w 111259"/>
                    <a:gd name="connsiteY39" fmla="*/ 81188 h 119581"/>
                    <a:gd name="connsiteX40" fmla="*/ 106297 w 111259"/>
                    <a:gd name="connsiteY40" fmla="*/ 81962 h 119581"/>
                    <a:gd name="connsiteX41" fmla="*/ 104145 w 111259"/>
                    <a:gd name="connsiteY41" fmla="*/ 83046 h 119581"/>
                    <a:gd name="connsiteX42" fmla="*/ 102230 w 111259"/>
                    <a:gd name="connsiteY42" fmla="*/ 84953 h 119581"/>
                    <a:gd name="connsiteX43" fmla="*/ 101529 w 111259"/>
                    <a:gd name="connsiteY43" fmla="*/ 87683 h 119581"/>
                    <a:gd name="connsiteX44" fmla="*/ 103029 w 111259"/>
                    <a:gd name="connsiteY44" fmla="*/ 89680 h 119581"/>
                    <a:gd name="connsiteX45" fmla="*/ 105743 w 111259"/>
                    <a:gd name="connsiteY45" fmla="*/ 90780 h 119581"/>
                    <a:gd name="connsiteX46" fmla="*/ 106443 w 111259"/>
                    <a:gd name="connsiteY46" fmla="*/ 94578 h 119581"/>
                    <a:gd name="connsiteX47" fmla="*/ 104195 w 111259"/>
                    <a:gd name="connsiteY47" fmla="*/ 96444 h 119581"/>
                    <a:gd name="connsiteX48" fmla="*/ 98432 w 111259"/>
                    <a:gd name="connsiteY48" fmla="*/ 98310 h 119581"/>
                    <a:gd name="connsiteX49" fmla="*/ 97830 w 111259"/>
                    <a:gd name="connsiteY49" fmla="*/ 102817 h 119581"/>
                    <a:gd name="connsiteX50" fmla="*/ 98009 w 111259"/>
                    <a:gd name="connsiteY50" fmla="*/ 106362 h 119581"/>
                    <a:gd name="connsiteX51" fmla="*/ 97895 w 111259"/>
                    <a:gd name="connsiteY51" fmla="*/ 108938 h 119581"/>
                    <a:gd name="connsiteX52" fmla="*/ 97438 w 111259"/>
                    <a:gd name="connsiteY52" fmla="*/ 112499 h 119581"/>
                    <a:gd name="connsiteX53" fmla="*/ 92777 w 111259"/>
                    <a:gd name="connsiteY53" fmla="*/ 114121 h 119581"/>
                    <a:gd name="connsiteX54" fmla="*/ 89769 w 111259"/>
                    <a:gd name="connsiteY54" fmla="*/ 108693 h 119581"/>
                    <a:gd name="connsiteX55" fmla="*/ 89745 w 111259"/>
                    <a:gd name="connsiteY55" fmla="*/ 106517 h 119581"/>
                    <a:gd name="connsiteX56" fmla="*/ 88848 w 111259"/>
                    <a:gd name="connsiteY56" fmla="*/ 103982 h 119581"/>
                    <a:gd name="connsiteX57" fmla="*/ 88677 w 111259"/>
                    <a:gd name="connsiteY57" fmla="*/ 101823 h 119581"/>
                    <a:gd name="connsiteX58" fmla="*/ 87602 w 111259"/>
                    <a:gd name="connsiteY58" fmla="*/ 98351 h 119581"/>
                    <a:gd name="connsiteX59" fmla="*/ 83185 w 111259"/>
                    <a:gd name="connsiteY59" fmla="*/ 97414 h 119581"/>
                    <a:gd name="connsiteX60" fmla="*/ 81481 w 111259"/>
                    <a:gd name="connsiteY60" fmla="*/ 97292 h 119581"/>
                    <a:gd name="connsiteX61" fmla="*/ 79085 w 111259"/>
                    <a:gd name="connsiteY61" fmla="*/ 97935 h 119581"/>
                    <a:gd name="connsiteX62" fmla="*/ 78490 w 111259"/>
                    <a:gd name="connsiteY62" fmla="*/ 97691 h 119581"/>
                    <a:gd name="connsiteX63" fmla="*/ 75621 w 111259"/>
                    <a:gd name="connsiteY63" fmla="*/ 92948 h 119581"/>
                    <a:gd name="connsiteX64" fmla="*/ 76094 w 111259"/>
                    <a:gd name="connsiteY64" fmla="*/ 87716 h 119581"/>
                    <a:gd name="connsiteX65" fmla="*/ 74562 w 111259"/>
                    <a:gd name="connsiteY65" fmla="*/ 85075 h 119581"/>
                    <a:gd name="connsiteX66" fmla="*/ 74358 w 111259"/>
                    <a:gd name="connsiteY66" fmla="*/ 83877 h 119581"/>
                    <a:gd name="connsiteX67" fmla="*/ 74399 w 111259"/>
                    <a:gd name="connsiteY67" fmla="*/ 82549 h 119581"/>
                    <a:gd name="connsiteX68" fmla="*/ 73128 w 111259"/>
                    <a:gd name="connsiteY68" fmla="*/ 81457 h 119581"/>
                    <a:gd name="connsiteX69" fmla="*/ 71604 w 111259"/>
                    <a:gd name="connsiteY69" fmla="*/ 80878 h 119581"/>
                    <a:gd name="connsiteX70" fmla="*/ 70862 w 111259"/>
                    <a:gd name="connsiteY70" fmla="*/ 77928 h 119581"/>
                    <a:gd name="connsiteX71" fmla="*/ 72614 w 111259"/>
                    <a:gd name="connsiteY71" fmla="*/ 77219 h 119581"/>
                    <a:gd name="connsiteX72" fmla="*/ 76958 w 111259"/>
                    <a:gd name="connsiteY72" fmla="*/ 77561 h 119581"/>
                    <a:gd name="connsiteX73" fmla="*/ 78213 w 111259"/>
                    <a:gd name="connsiteY73" fmla="*/ 77357 h 119581"/>
                    <a:gd name="connsiteX74" fmla="*/ 79378 w 111259"/>
                    <a:gd name="connsiteY74" fmla="*/ 76746 h 119581"/>
                    <a:gd name="connsiteX75" fmla="*/ 82891 w 111259"/>
                    <a:gd name="connsiteY75" fmla="*/ 71889 h 119581"/>
                    <a:gd name="connsiteX76" fmla="*/ 82785 w 111259"/>
                    <a:gd name="connsiteY76" fmla="*/ 70813 h 119581"/>
                    <a:gd name="connsiteX77" fmla="*/ 83160 w 111259"/>
                    <a:gd name="connsiteY77" fmla="*/ 69428 h 119581"/>
                    <a:gd name="connsiteX78" fmla="*/ 86966 w 111259"/>
                    <a:gd name="connsiteY78" fmla="*/ 68914 h 119581"/>
                    <a:gd name="connsiteX79" fmla="*/ 88653 w 111259"/>
                    <a:gd name="connsiteY79" fmla="*/ 70789 h 119581"/>
                    <a:gd name="connsiteX80" fmla="*/ 88303 w 111259"/>
                    <a:gd name="connsiteY80" fmla="*/ 73796 h 119581"/>
                    <a:gd name="connsiteX81" fmla="*/ 88522 w 111259"/>
                    <a:gd name="connsiteY81" fmla="*/ 77651 h 119581"/>
                    <a:gd name="connsiteX82" fmla="*/ 90813 w 111259"/>
                    <a:gd name="connsiteY82" fmla="*/ 78694 h 119581"/>
                    <a:gd name="connsiteX83" fmla="*/ 91709 w 111259"/>
                    <a:gd name="connsiteY83" fmla="*/ 78849 h 119581"/>
                    <a:gd name="connsiteX84" fmla="*/ 92671 w 111259"/>
                    <a:gd name="connsiteY84" fmla="*/ 76004 h 119581"/>
                    <a:gd name="connsiteX85" fmla="*/ 93339 w 111259"/>
                    <a:gd name="connsiteY85" fmla="*/ 74619 h 119581"/>
                    <a:gd name="connsiteX86" fmla="*/ 94244 w 111259"/>
                    <a:gd name="connsiteY86" fmla="*/ 73845 h 119581"/>
                    <a:gd name="connsiteX87" fmla="*/ 94562 w 111259"/>
                    <a:gd name="connsiteY87" fmla="*/ 71245 h 119581"/>
                    <a:gd name="connsiteX88" fmla="*/ 94015 w 111259"/>
                    <a:gd name="connsiteY88" fmla="*/ 69656 h 119581"/>
                    <a:gd name="connsiteX89" fmla="*/ 92866 w 111259"/>
                    <a:gd name="connsiteY89" fmla="*/ 68474 h 119581"/>
                    <a:gd name="connsiteX90" fmla="*/ 97161 w 111259"/>
                    <a:gd name="connsiteY90" fmla="*/ 65247 h 119581"/>
                    <a:gd name="connsiteX91" fmla="*/ 101611 w 111259"/>
                    <a:gd name="connsiteY91" fmla="*/ 62688 h 119581"/>
                    <a:gd name="connsiteX92" fmla="*/ 104195 w 111259"/>
                    <a:gd name="connsiteY92" fmla="*/ 62557 h 119581"/>
                    <a:gd name="connsiteX93" fmla="*/ 106794 w 111259"/>
                    <a:gd name="connsiteY93" fmla="*/ 63185 h 119581"/>
                    <a:gd name="connsiteX94" fmla="*/ 109215 w 111259"/>
                    <a:gd name="connsiteY94" fmla="*/ 64049 h 119581"/>
                    <a:gd name="connsiteX95" fmla="*/ 110527 w 111259"/>
                    <a:gd name="connsiteY95" fmla="*/ 64790 h 119581"/>
                    <a:gd name="connsiteX96" fmla="*/ 111260 w 111259"/>
                    <a:gd name="connsiteY96" fmla="*/ 65980 h 119581"/>
                    <a:gd name="connsiteX97" fmla="*/ 109638 w 111259"/>
                    <a:gd name="connsiteY97" fmla="*/ 68825 h 119581"/>
                    <a:gd name="connsiteX98" fmla="*/ 109190 w 111259"/>
                    <a:gd name="connsiteY98" fmla="*/ 70381 h 119581"/>
                    <a:gd name="connsiteX99" fmla="*/ 110298 w 111259"/>
                    <a:gd name="connsiteY99" fmla="*/ 75499 h 119581"/>
                    <a:gd name="connsiteX100" fmla="*/ 57415 w 111259"/>
                    <a:gd name="connsiteY100" fmla="*/ 21988 h 119581"/>
                    <a:gd name="connsiteX101" fmla="*/ 54978 w 111259"/>
                    <a:gd name="connsiteY101" fmla="*/ 27848 h 119581"/>
                    <a:gd name="connsiteX102" fmla="*/ 53919 w 111259"/>
                    <a:gd name="connsiteY102" fmla="*/ 28703 h 119581"/>
                    <a:gd name="connsiteX103" fmla="*/ 53707 w 111259"/>
                    <a:gd name="connsiteY103" fmla="*/ 35525 h 119581"/>
                    <a:gd name="connsiteX104" fmla="*/ 53935 w 111259"/>
                    <a:gd name="connsiteY104" fmla="*/ 37155 h 119581"/>
                    <a:gd name="connsiteX105" fmla="*/ 53585 w 111259"/>
                    <a:gd name="connsiteY105" fmla="*/ 43357 h 119581"/>
                    <a:gd name="connsiteX106" fmla="*/ 56095 w 111259"/>
                    <a:gd name="connsiteY106" fmla="*/ 45891 h 119581"/>
                    <a:gd name="connsiteX107" fmla="*/ 58735 w 111259"/>
                    <a:gd name="connsiteY107" fmla="*/ 47220 h 119581"/>
                    <a:gd name="connsiteX108" fmla="*/ 67561 w 111259"/>
                    <a:gd name="connsiteY108" fmla="*/ 47171 h 119581"/>
                    <a:gd name="connsiteX109" fmla="*/ 68466 w 111259"/>
                    <a:gd name="connsiteY109" fmla="*/ 48287 h 119581"/>
                    <a:gd name="connsiteX110" fmla="*/ 69550 w 111259"/>
                    <a:gd name="connsiteY110" fmla="*/ 50202 h 119581"/>
                    <a:gd name="connsiteX111" fmla="*/ 68759 w 111259"/>
                    <a:gd name="connsiteY111" fmla="*/ 53446 h 119581"/>
                    <a:gd name="connsiteX112" fmla="*/ 67814 w 111259"/>
                    <a:gd name="connsiteY112" fmla="*/ 55891 h 119581"/>
                    <a:gd name="connsiteX113" fmla="*/ 65263 w 111259"/>
                    <a:gd name="connsiteY113" fmla="*/ 57953 h 119581"/>
                    <a:gd name="connsiteX114" fmla="*/ 61995 w 111259"/>
                    <a:gd name="connsiteY114" fmla="*/ 59485 h 119581"/>
                    <a:gd name="connsiteX115" fmla="*/ 59950 w 111259"/>
                    <a:gd name="connsiteY115" fmla="*/ 59558 h 119581"/>
                    <a:gd name="connsiteX116" fmla="*/ 57178 w 111259"/>
                    <a:gd name="connsiteY116" fmla="*/ 56641 h 119581"/>
                    <a:gd name="connsiteX117" fmla="*/ 55858 w 111259"/>
                    <a:gd name="connsiteY117" fmla="*/ 57586 h 119581"/>
                    <a:gd name="connsiteX118" fmla="*/ 54489 w 111259"/>
                    <a:gd name="connsiteY118" fmla="*/ 59077 h 119581"/>
                    <a:gd name="connsiteX119" fmla="*/ 52207 w 111259"/>
                    <a:gd name="connsiteY119" fmla="*/ 67056 h 119581"/>
                    <a:gd name="connsiteX120" fmla="*/ 51123 w 111259"/>
                    <a:gd name="connsiteY120" fmla="*/ 72435 h 119581"/>
                    <a:gd name="connsiteX121" fmla="*/ 50545 w 111259"/>
                    <a:gd name="connsiteY121" fmla="*/ 72867 h 119581"/>
                    <a:gd name="connsiteX122" fmla="*/ 49257 w 111259"/>
                    <a:gd name="connsiteY122" fmla="*/ 72076 h 119581"/>
                    <a:gd name="connsiteX123" fmla="*/ 47016 w 111259"/>
                    <a:gd name="connsiteY123" fmla="*/ 72019 h 119581"/>
                    <a:gd name="connsiteX124" fmla="*/ 44196 w 111259"/>
                    <a:gd name="connsiteY124" fmla="*/ 73291 h 119581"/>
                    <a:gd name="connsiteX125" fmla="*/ 45647 w 111259"/>
                    <a:gd name="connsiteY125" fmla="*/ 74431 h 119581"/>
                    <a:gd name="connsiteX126" fmla="*/ 47179 w 111259"/>
                    <a:gd name="connsiteY126" fmla="*/ 76404 h 119581"/>
                    <a:gd name="connsiteX127" fmla="*/ 46567 w 111259"/>
                    <a:gd name="connsiteY127" fmla="*/ 77398 h 119581"/>
                    <a:gd name="connsiteX128" fmla="*/ 44090 w 111259"/>
                    <a:gd name="connsiteY128" fmla="*/ 78466 h 119581"/>
                    <a:gd name="connsiteX129" fmla="*/ 41881 w 111259"/>
                    <a:gd name="connsiteY129" fmla="*/ 80633 h 119581"/>
                    <a:gd name="connsiteX130" fmla="*/ 40977 w 111259"/>
                    <a:gd name="connsiteY130" fmla="*/ 82272 h 119581"/>
                    <a:gd name="connsiteX131" fmla="*/ 38198 w 111259"/>
                    <a:gd name="connsiteY131" fmla="*/ 84211 h 119581"/>
                    <a:gd name="connsiteX132" fmla="*/ 36445 w 111259"/>
                    <a:gd name="connsiteY132" fmla="*/ 86672 h 119581"/>
                    <a:gd name="connsiteX133" fmla="*/ 37302 w 111259"/>
                    <a:gd name="connsiteY133" fmla="*/ 89720 h 119581"/>
                    <a:gd name="connsiteX134" fmla="*/ 37668 w 111259"/>
                    <a:gd name="connsiteY134" fmla="*/ 92385 h 119581"/>
                    <a:gd name="connsiteX135" fmla="*/ 38434 w 111259"/>
                    <a:gd name="connsiteY135" fmla="*/ 95327 h 119581"/>
                    <a:gd name="connsiteX136" fmla="*/ 37741 w 111259"/>
                    <a:gd name="connsiteY136" fmla="*/ 97683 h 119581"/>
                    <a:gd name="connsiteX137" fmla="*/ 34302 w 111259"/>
                    <a:gd name="connsiteY137" fmla="*/ 101049 h 119581"/>
                    <a:gd name="connsiteX138" fmla="*/ 33047 w 111259"/>
                    <a:gd name="connsiteY138" fmla="*/ 103974 h 119581"/>
                    <a:gd name="connsiteX139" fmla="*/ 35981 w 111259"/>
                    <a:gd name="connsiteY139" fmla="*/ 103942 h 119581"/>
                    <a:gd name="connsiteX140" fmla="*/ 37798 w 111259"/>
                    <a:gd name="connsiteY140" fmla="*/ 104618 h 119581"/>
                    <a:gd name="connsiteX141" fmla="*/ 38858 w 111259"/>
                    <a:gd name="connsiteY141" fmla="*/ 105474 h 119581"/>
                    <a:gd name="connsiteX142" fmla="*/ 39950 w 111259"/>
                    <a:gd name="connsiteY142" fmla="*/ 106696 h 119581"/>
                    <a:gd name="connsiteX143" fmla="*/ 39290 w 111259"/>
                    <a:gd name="connsiteY143" fmla="*/ 108204 h 119581"/>
                    <a:gd name="connsiteX144" fmla="*/ 40137 w 111259"/>
                    <a:gd name="connsiteY144" fmla="*/ 112108 h 119581"/>
                    <a:gd name="connsiteX145" fmla="*/ 39763 w 111259"/>
                    <a:gd name="connsiteY145" fmla="*/ 112108 h 119581"/>
                    <a:gd name="connsiteX146" fmla="*/ 38198 w 111259"/>
                    <a:gd name="connsiteY146" fmla="*/ 111774 h 119581"/>
                    <a:gd name="connsiteX147" fmla="*/ 37057 w 111259"/>
                    <a:gd name="connsiteY147" fmla="*/ 110967 h 119581"/>
                    <a:gd name="connsiteX148" fmla="*/ 34164 w 111259"/>
                    <a:gd name="connsiteY148" fmla="*/ 111537 h 119581"/>
                    <a:gd name="connsiteX149" fmla="*/ 30268 w 111259"/>
                    <a:gd name="connsiteY149" fmla="*/ 112841 h 119581"/>
                    <a:gd name="connsiteX150" fmla="*/ 28100 w 111259"/>
                    <a:gd name="connsiteY150" fmla="*/ 112776 h 119581"/>
                    <a:gd name="connsiteX151" fmla="*/ 26389 w 111259"/>
                    <a:gd name="connsiteY151" fmla="*/ 111382 h 119581"/>
                    <a:gd name="connsiteX152" fmla="*/ 19372 w 111259"/>
                    <a:gd name="connsiteY152" fmla="*/ 109394 h 119581"/>
                    <a:gd name="connsiteX153" fmla="*/ 18239 w 111259"/>
                    <a:gd name="connsiteY153" fmla="*/ 109231 h 119581"/>
                    <a:gd name="connsiteX154" fmla="*/ 13618 w 111259"/>
                    <a:gd name="connsiteY154" fmla="*/ 109149 h 119581"/>
                    <a:gd name="connsiteX155" fmla="*/ 13602 w 111259"/>
                    <a:gd name="connsiteY155" fmla="*/ 109149 h 119581"/>
                    <a:gd name="connsiteX156" fmla="*/ 13382 w 111259"/>
                    <a:gd name="connsiteY156" fmla="*/ 106012 h 119581"/>
                    <a:gd name="connsiteX157" fmla="*/ 12820 w 111259"/>
                    <a:gd name="connsiteY157" fmla="*/ 103746 h 119581"/>
                    <a:gd name="connsiteX158" fmla="*/ 11206 w 111259"/>
                    <a:gd name="connsiteY158" fmla="*/ 100356 h 119581"/>
                    <a:gd name="connsiteX159" fmla="*/ 13602 w 111259"/>
                    <a:gd name="connsiteY159" fmla="*/ 99549 h 119581"/>
                    <a:gd name="connsiteX160" fmla="*/ 13129 w 111259"/>
                    <a:gd name="connsiteY160" fmla="*/ 92948 h 119581"/>
                    <a:gd name="connsiteX161" fmla="*/ 12265 w 111259"/>
                    <a:gd name="connsiteY161" fmla="*/ 89525 h 119581"/>
                    <a:gd name="connsiteX162" fmla="*/ 5558 w 111259"/>
                    <a:gd name="connsiteY162" fmla="*/ 86004 h 119581"/>
                    <a:gd name="connsiteX163" fmla="*/ 277 w 111259"/>
                    <a:gd name="connsiteY163" fmla="*/ 82589 h 119581"/>
                    <a:gd name="connsiteX164" fmla="*/ 1483 w 111259"/>
                    <a:gd name="connsiteY164" fmla="*/ 71041 h 119581"/>
                    <a:gd name="connsiteX165" fmla="*/ 2005 w 111259"/>
                    <a:gd name="connsiteY165" fmla="*/ 67920 h 119581"/>
                    <a:gd name="connsiteX166" fmla="*/ 0 w 111259"/>
                    <a:gd name="connsiteY166" fmla="*/ 61865 h 119581"/>
                    <a:gd name="connsiteX167" fmla="*/ 204 w 111259"/>
                    <a:gd name="connsiteY167" fmla="*/ 54888 h 119581"/>
                    <a:gd name="connsiteX168" fmla="*/ 1052 w 111259"/>
                    <a:gd name="connsiteY168" fmla="*/ 43870 h 119581"/>
                    <a:gd name="connsiteX169" fmla="*/ 2730 w 111259"/>
                    <a:gd name="connsiteY169" fmla="*/ 43438 h 119581"/>
                    <a:gd name="connsiteX170" fmla="*/ 3961 w 111259"/>
                    <a:gd name="connsiteY170" fmla="*/ 43487 h 119581"/>
                    <a:gd name="connsiteX171" fmla="*/ 8712 w 111259"/>
                    <a:gd name="connsiteY171" fmla="*/ 45467 h 119581"/>
                    <a:gd name="connsiteX172" fmla="*/ 10693 w 111259"/>
                    <a:gd name="connsiteY172" fmla="*/ 45663 h 119581"/>
                    <a:gd name="connsiteX173" fmla="*/ 12053 w 111259"/>
                    <a:gd name="connsiteY173" fmla="*/ 47432 h 119581"/>
                    <a:gd name="connsiteX174" fmla="*/ 13634 w 111259"/>
                    <a:gd name="connsiteY174" fmla="*/ 48165 h 119581"/>
                    <a:gd name="connsiteX175" fmla="*/ 14792 w 111259"/>
                    <a:gd name="connsiteY175" fmla="*/ 46282 h 119581"/>
                    <a:gd name="connsiteX176" fmla="*/ 15240 w 111259"/>
                    <a:gd name="connsiteY176" fmla="*/ 43071 h 119581"/>
                    <a:gd name="connsiteX177" fmla="*/ 19005 w 111259"/>
                    <a:gd name="connsiteY177" fmla="*/ 38915 h 119581"/>
                    <a:gd name="connsiteX178" fmla="*/ 21638 w 111259"/>
                    <a:gd name="connsiteY178" fmla="*/ 37375 h 119581"/>
                    <a:gd name="connsiteX179" fmla="*/ 23455 w 111259"/>
                    <a:gd name="connsiteY179" fmla="*/ 36641 h 119581"/>
                    <a:gd name="connsiteX180" fmla="*/ 25264 w 111259"/>
                    <a:gd name="connsiteY180" fmla="*/ 38320 h 119581"/>
                    <a:gd name="connsiteX181" fmla="*/ 26658 w 111259"/>
                    <a:gd name="connsiteY181" fmla="*/ 40203 h 119581"/>
                    <a:gd name="connsiteX182" fmla="*/ 26984 w 111259"/>
                    <a:gd name="connsiteY182" fmla="*/ 36079 h 119581"/>
                    <a:gd name="connsiteX183" fmla="*/ 28108 w 111259"/>
                    <a:gd name="connsiteY183" fmla="*/ 28198 h 119581"/>
                    <a:gd name="connsiteX184" fmla="*/ 24531 w 111259"/>
                    <a:gd name="connsiteY184" fmla="*/ 26968 h 119581"/>
                    <a:gd name="connsiteX185" fmla="*/ 21621 w 111259"/>
                    <a:gd name="connsiteY185" fmla="*/ 28035 h 119581"/>
                    <a:gd name="connsiteX186" fmla="*/ 18720 w 111259"/>
                    <a:gd name="connsiteY186" fmla="*/ 33023 h 119581"/>
                    <a:gd name="connsiteX187" fmla="*/ 16145 w 111259"/>
                    <a:gd name="connsiteY187" fmla="*/ 39298 h 119581"/>
                    <a:gd name="connsiteX188" fmla="*/ 11955 w 111259"/>
                    <a:gd name="connsiteY188" fmla="*/ 39877 h 119581"/>
                    <a:gd name="connsiteX189" fmla="*/ 8614 w 111259"/>
                    <a:gd name="connsiteY189" fmla="*/ 41645 h 119581"/>
                    <a:gd name="connsiteX190" fmla="*/ 5607 w 111259"/>
                    <a:gd name="connsiteY190" fmla="*/ 39803 h 119581"/>
                    <a:gd name="connsiteX191" fmla="*/ 3651 w 111259"/>
                    <a:gd name="connsiteY191" fmla="*/ 38181 h 119581"/>
                    <a:gd name="connsiteX192" fmla="*/ 3610 w 111259"/>
                    <a:gd name="connsiteY192" fmla="*/ 35810 h 119581"/>
                    <a:gd name="connsiteX193" fmla="*/ 4050 w 111259"/>
                    <a:gd name="connsiteY193" fmla="*/ 34376 h 119581"/>
                    <a:gd name="connsiteX194" fmla="*/ 7612 w 111259"/>
                    <a:gd name="connsiteY194" fmla="*/ 29266 h 119581"/>
                    <a:gd name="connsiteX195" fmla="*/ 12347 w 111259"/>
                    <a:gd name="connsiteY195" fmla="*/ 24343 h 119581"/>
                    <a:gd name="connsiteX196" fmla="*/ 17139 w 111259"/>
                    <a:gd name="connsiteY196" fmla="*/ 24392 h 119581"/>
                    <a:gd name="connsiteX197" fmla="*/ 20627 w 111259"/>
                    <a:gd name="connsiteY197" fmla="*/ 22819 h 119581"/>
                    <a:gd name="connsiteX198" fmla="*/ 22722 w 111259"/>
                    <a:gd name="connsiteY198" fmla="*/ 22632 h 119581"/>
                    <a:gd name="connsiteX199" fmla="*/ 29233 w 111259"/>
                    <a:gd name="connsiteY199" fmla="*/ 22974 h 119581"/>
                    <a:gd name="connsiteX200" fmla="*/ 32567 w 111259"/>
                    <a:gd name="connsiteY200" fmla="*/ 21898 h 119581"/>
                    <a:gd name="connsiteX201" fmla="*/ 35566 w 111259"/>
                    <a:gd name="connsiteY201" fmla="*/ 19641 h 119581"/>
                    <a:gd name="connsiteX202" fmla="*/ 42028 w 111259"/>
                    <a:gd name="connsiteY202" fmla="*/ 10073 h 119581"/>
                    <a:gd name="connsiteX203" fmla="*/ 45679 w 111259"/>
                    <a:gd name="connsiteY203" fmla="*/ 6080 h 119581"/>
                    <a:gd name="connsiteX204" fmla="*/ 53038 w 111259"/>
                    <a:gd name="connsiteY204" fmla="*/ 4670 h 119581"/>
                    <a:gd name="connsiteX205" fmla="*/ 59844 w 111259"/>
                    <a:gd name="connsiteY205" fmla="*/ 57 h 119581"/>
                    <a:gd name="connsiteX206" fmla="*/ 61734 w 111259"/>
                    <a:gd name="connsiteY206" fmla="*/ 0 h 119581"/>
                    <a:gd name="connsiteX207" fmla="*/ 58539 w 111259"/>
                    <a:gd name="connsiteY207" fmla="*/ 3439 h 119581"/>
                    <a:gd name="connsiteX208" fmla="*/ 58035 w 111259"/>
                    <a:gd name="connsiteY208" fmla="*/ 4776 h 119581"/>
                    <a:gd name="connsiteX209" fmla="*/ 57635 w 111259"/>
                    <a:gd name="connsiteY209" fmla="*/ 6813 h 119581"/>
                    <a:gd name="connsiteX210" fmla="*/ 59933 w 111259"/>
                    <a:gd name="connsiteY210" fmla="*/ 11238 h 119581"/>
                    <a:gd name="connsiteX211" fmla="*/ 59444 w 111259"/>
                    <a:gd name="connsiteY211" fmla="*/ 13936 h 119581"/>
                    <a:gd name="connsiteX212" fmla="*/ 59607 w 111259"/>
                    <a:gd name="connsiteY212" fmla="*/ 19225 h 119581"/>
                    <a:gd name="connsiteX213" fmla="*/ 57415 w 111259"/>
                    <a:gd name="connsiteY213" fmla="*/ 21988 h 119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Lst>
                  <a:rect l="l" t="t" r="r" b="b"/>
                  <a:pathLst>
                    <a:path w="111259" h="119581">
                      <a:moveTo>
                        <a:pt x="80356" y="109606"/>
                      </a:moveTo>
                      <a:lnTo>
                        <a:pt x="84741" y="111969"/>
                      </a:lnTo>
                      <a:lnTo>
                        <a:pt x="87708" y="111831"/>
                      </a:lnTo>
                      <a:lnTo>
                        <a:pt x="89721" y="112809"/>
                      </a:lnTo>
                      <a:lnTo>
                        <a:pt x="90210" y="114316"/>
                      </a:lnTo>
                      <a:lnTo>
                        <a:pt x="90381" y="117674"/>
                      </a:lnTo>
                      <a:lnTo>
                        <a:pt x="88262" y="118644"/>
                      </a:lnTo>
                      <a:lnTo>
                        <a:pt x="85923" y="118310"/>
                      </a:lnTo>
                      <a:lnTo>
                        <a:pt x="82728" y="119581"/>
                      </a:lnTo>
                      <a:lnTo>
                        <a:pt x="72272" y="114113"/>
                      </a:lnTo>
                      <a:lnTo>
                        <a:pt x="72427" y="109541"/>
                      </a:lnTo>
                      <a:lnTo>
                        <a:pt x="72851" y="107748"/>
                      </a:lnTo>
                      <a:lnTo>
                        <a:pt x="77805" y="107324"/>
                      </a:lnTo>
                      <a:lnTo>
                        <a:pt x="80356" y="109606"/>
                      </a:lnTo>
                      <a:close/>
                      <a:moveTo>
                        <a:pt x="62582" y="82214"/>
                      </a:moveTo>
                      <a:lnTo>
                        <a:pt x="63617" y="84211"/>
                      </a:lnTo>
                      <a:lnTo>
                        <a:pt x="64880" y="88465"/>
                      </a:lnTo>
                      <a:lnTo>
                        <a:pt x="66901" y="93217"/>
                      </a:lnTo>
                      <a:lnTo>
                        <a:pt x="66053" y="95205"/>
                      </a:lnTo>
                      <a:lnTo>
                        <a:pt x="66624" y="97748"/>
                      </a:lnTo>
                      <a:lnTo>
                        <a:pt x="66053" y="100405"/>
                      </a:lnTo>
                      <a:lnTo>
                        <a:pt x="62052" y="103485"/>
                      </a:lnTo>
                      <a:lnTo>
                        <a:pt x="57554" y="103632"/>
                      </a:lnTo>
                      <a:lnTo>
                        <a:pt x="52892" y="102141"/>
                      </a:lnTo>
                      <a:lnTo>
                        <a:pt x="46299" y="99272"/>
                      </a:lnTo>
                      <a:lnTo>
                        <a:pt x="45769" y="97658"/>
                      </a:lnTo>
                      <a:lnTo>
                        <a:pt x="44840" y="96762"/>
                      </a:lnTo>
                      <a:lnTo>
                        <a:pt x="43088" y="91872"/>
                      </a:lnTo>
                      <a:lnTo>
                        <a:pt x="43128" y="85825"/>
                      </a:lnTo>
                      <a:lnTo>
                        <a:pt x="46437" y="85067"/>
                      </a:lnTo>
                      <a:lnTo>
                        <a:pt x="53682" y="82182"/>
                      </a:lnTo>
                      <a:lnTo>
                        <a:pt x="55353" y="82630"/>
                      </a:lnTo>
                      <a:lnTo>
                        <a:pt x="57097" y="84113"/>
                      </a:lnTo>
                      <a:lnTo>
                        <a:pt x="59102" y="84195"/>
                      </a:lnTo>
                      <a:lnTo>
                        <a:pt x="62019" y="82109"/>
                      </a:lnTo>
                      <a:lnTo>
                        <a:pt x="62582" y="82214"/>
                      </a:lnTo>
                      <a:close/>
                      <a:moveTo>
                        <a:pt x="110298" y="75499"/>
                      </a:moveTo>
                      <a:lnTo>
                        <a:pt x="110364" y="79338"/>
                      </a:lnTo>
                      <a:lnTo>
                        <a:pt x="109720" y="80454"/>
                      </a:lnTo>
                      <a:lnTo>
                        <a:pt x="108774" y="81188"/>
                      </a:lnTo>
                      <a:lnTo>
                        <a:pt x="106297" y="81962"/>
                      </a:lnTo>
                      <a:lnTo>
                        <a:pt x="104145" y="83046"/>
                      </a:lnTo>
                      <a:lnTo>
                        <a:pt x="102230" y="84953"/>
                      </a:lnTo>
                      <a:lnTo>
                        <a:pt x="101529" y="87683"/>
                      </a:lnTo>
                      <a:lnTo>
                        <a:pt x="103029" y="89680"/>
                      </a:lnTo>
                      <a:lnTo>
                        <a:pt x="105743" y="90780"/>
                      </a:lnTo>
                      <a:lnTo>
                        <a:pt x="106443" y="94578"/>
                      </a:lnTo>
                      <a:lnTo>
                        <a:pt x="104195" y="96444"/>
                      </a:lnTo>
                      <a:lnTo>
                        <a:pt x="98432" y="98310"/>
                      </a:lnTo>
                      <a:lnTo>
                        <a:pt x="97830" y="102817"/>
                      </a:lnTo>
                      <a:lnTo>
                        <a:pt x="98009" y="106362"/>
                      </a:lnTo>
                      <a:lnTo>
                        <a:pt x="97895" y="108938"/>
                      </a:lnTo>
                      <a:lnTo>
                        <a:pt x="97438" y="112499"/>
                      </a:lnTo>
                      <a:lnTo>
                        <a:pt x="92777" y="114121"/>
                      </a:lnTo>
                      <a:lnTo>
                        <a:pt x="89769" y="108693"/>
                      </a:lnTo>
                      <a:lnTo>
                        <a:pt x="89745" y="106517"/>
                      </a:lnTo>
                      <a:lnTo>
                        <a:pt x="88848" y="103982"/>
                      </a:lnTo>
                      <a:lnTo>
                        <a:pt x="88677" y="101823"/>
                      </a:lnTo>
                      <a:lnTo>
                        <a:pt x="87602" y="98351"/>
                      </a:lnTo>
                      <a:lnTo>
                        <a:pt x="83185" y="97414"/>
                      </a:lnTo>
                      <a:lnTo>
                        <a:pt x="81481" y="97292"/>
                      </a:lnTo>
                      <a:lnTo>
                        <a:pt x="79085" y="97935"/>
                      </a:lnTo>
                      <a:lnTo>
                        <a:pt x="78490" y="97691"/>
                      </a:lnTo>
                      <a:lnTo>
                        <a:pt x="75621" y="92948"/>
                      </a:lnTo>
                      <a:lnTo>
                        <a:pt x="76094" y="87716"/>
                      </a:lnTo>
                      <a:lnTo>
                        <a:pt x="74562" y="85075"/>
                      </a:lnTo>
                      <a:lnTo>
                        <a:pt x="74358" y="83877"/>
                      </a:lnTo>
                      <a:lnTo>
                        <a:pt x="74399" y="82549"/>
                      </a:lnTo>
                      <a:lnTo>
                        <a:pt x="73128" y="81457"/>
                      </a:lnTo>
                      <a:lnTo>
                        <a:pt x="71604" y="80878"/>
                      </a:lnTo>
                      <a:lnTo>
                        <a:pt x="70862" y="77928"/>
                      </a:lnTo>
                      <a:lnTo>
                        <a:pt x="72614" y="77219"/>
                      </a:lnTo>
                      <a:lnTo>
                        <a:pt x="76958" y="77561"/>
                      </a:lnTo>
                      <a:lnTo>
                        <a:pt x="78213" y="77357"/>
                      </a:lnTo>
                      <a:lnTo>
                        <a:pt x="79378" y="76746"/>
                      </a:lnTo>
                      <a:lnTo>
                        <a:pt x="82891" y="71889"/>
                      </a:lnTo>
                      <a:lnTo>
                        <a:pt x="82785" y="70813"/>
                      </a:lnTo>
                      <a:lnTo>
                        <a:pt x="83160" y="69428"/>
                      </a:lnTo>
                      <a:lnTo>
                        <a:pt x="86966" y="68914"/>
                      </a:lnTo>
                      <a:lnTo>
                        <a:pt x="88653" y="70789"/>
                      </a:lnTo>
                      <a:lnTo>
                        <a:pt x="88303" y="73796"/>
                      </a:lnTo>
                      <a:lnTo>
                        <a:pt x="88522" y="77651"/>
                      </a:lnTo>
                      <a:lnTo>
                        <a:pt x="90813" y="78694"/>
                      </a:lnTo>
                      <a:lnTo>
                        <a:pt x="91709" y="78849"/>
                      </a:lnTo>
                      <a:lnTo>
                        <a:pt x="92671" y="76004"/>
                      </a:lnTo>
                      <a:lnTo>
                        <a:pt x="93339" y="74619"/>
                      </a:lnTo>
                      <a:lnTo>
                        <a:pt x="94244" y="73845"/>
                      </a:lnTo>
                      <a:lnTo>
                        <a:pt x="94562" y="71245"/>
                      </a:lnTo>
                      <a:lnTo>
                        <a:pt x="94015" y="69656"/>
                      </a:lnTo>
                      <a:lnTo>
                        <a:pt x="92866" y="68474"/>
                      </a:lnTo>
                      <a:lnTo>
                        <a:pt x="97161" y="65247"/>
                      </a:lnTo>
                      <a:lnTo>
                        <a:pt x="101611" y="62688"/>
                      </a:lnTo>
                      <a:lnTo>
                        <a:pt x="104195" y="62557"/>
                      </a:lnTo>
                      <a:lnTo>
                        <a:pt x="106794" y="63185"/>
                      </a:lnTo>
                      <a:lnTo>
                        <a:pt x="109215" y="64049"/>
                      </a:lnTo>
                      <a:lnTo>
                        <a:pt x="110527" y="64790"/>
                      </a:lnTo>
                      <a:lnTo>
                        <a:pt x="111260" y="65980"/>
                      </a:lnTo>
                      <a:lnTo>
                        <a:pt x="109638" y="68825"/>
                      </a:lnTo>
                      <a:lnTo>
                        <a:pt x="109190" y="70381"/>
                      </a:lnTo>
                      <a:lnTo>
                        <a:pt x="110298" y="75499"/>
                      </a:lnTo>
                      <a:close/>
                      <a:moveTo>
                        <a:pt x="57415" y="21988"/>
                      </a:moveTo>
                      <a:lnTo>
                        <a:pt x="54978" y="27848"/>
                      </a:lnTo>
                      <a:lnTo>
                        <a:pt x="53919" y="28703"/>
                      </a:lnTo>
                      <a:lnTo>
                        <a:pt x="53707" y="35525"/>
                      </a:lnTo>
                      <a:lnTo>
                        <a:pt x="53935" y="37155"/>
                      </a:lnTo>
                      <a:lnTo>
                        <a:pt x="53585" y="43357"/>
                      </a:lnTo>
                      <a:lnTo>
                        <a:pt x="56095" y="45891"/>
                      </a:lnTo>
                      <a:lnTo>
                        <a:pt x="58735" y="47220"/>
                      </a:lnTo>
                      <a:lnTo>
                        <a:pt x="67561" y="47171"/>
                      </a:lnTo>
                      <a:lnTo>
                        <a:pt x="68466" y="48287"/>
                      </a:lnTo>
                      <a:lnTo>
                        <a:pt x="69550" y="50202"/>
                      </a:lnTo>
                      <a:lnTo>
                        <a:pt x="68759" y="53446"/>
                      </a:lnTo>
                      <a:lnTo>
                        <a:pt x="67814" y="55891"/>
                      </a:lnTo>
                      <a:lnTo>
                        <a:pt x="65263" y="57953"/>
                      </a:lnTo>
                      <a:lnTo>
                        <a:pt x="61995" y="59485"/>
                      </a:lnTo>
                      <a:lnTo>
                        <a:pt x="59950" y="59558"/>
                      </a:lnTo>
                      <a:lnTo>
                        <a:pt x="57178" y="56641"/>
                      </a:lnTo>
                      <a:lnTo>
                        <a:pt x="55858" y="57586"/>
                      </a:lnTo>
                      <a:lnTo>
                        <a:pt x="54489" y="59077"/>
                      </a:lnTo>
                      <a:lnTo>
                        <a:pt x="52207" y="67056"/>
                      </a:lnTo>
                      <a:lnTo>
                        <a:pt x="51123" y="72435"/>
                      </a:lnTo>
                      <a:lnTo>
                        <a:pt x="50545" y="72867"/>
                      </a:lnTo>
                      <a:lnTo>
                        <a:pt x="49257" y="72076"/>
                      </a:lnTo>
                      <a:lnTo>
                        <a:pt x="47016" y="72019"/>
                      </a:lnTo>
                      <a:lnTo>
                        <a:pt x="44196" y="73291"/>
                      </a:lnTo>
                      <a:lnTo>
                        <a:pt x="45647" y="74431"/>
                      </a:lnTo>
                      <a:lnTo>
                        <a:pt x="47179" y="76404"/>
                      </a:lnTo>
                      <a:lnTo>
                        <a:pt x="46567" y="77398"/>
                      </a:lnTo>
                      <a:lnTo>
                        <a:pt x="44090" y="78466"/>
                      </a:lnTo>
                      <a:lnTo>
                        <a:pt x="41881" y="80633"/>
                      </a:lnTo>
                      <a:lnTo>
                        <a:pt x="40977" y="82272"/>
                      </a:lnTo>
                      <a:lnTo>
                        <a:pt x="38198" y="84211"/>
                      </a:lnTo>
                      <a:lnTo>
                        <a:pt x="36445" y="86672"/>
                      </a:lnTo>
                      <a:lnTo>
                        <a:pt x="37302" y="89720"/>
                      </a:lnTo>
                      <a:lnTo>
                        <a:pt x="37668" y="92385"/>
                      </a:lnTo>
                      <a:lnTo>
                        <a:pt x="38434" y="95327"/>
                      </a:lnTo>
                      <a:lnTo>
                        <a:pt x="37741" y="97683"/>
                      </a:lnTo>
                      <a:lnTo>
                        <a:pt x="34302" y="101049"/>
                      </a:lnTo>
                      <a:lnTo>
                        <a:pt x="33047" y="103974"/>
                      </a:lnTo>
                      <a:lnTo>
                        <a:pt x="35981" y="103942"/>
                      </a:lnTo>
                      <a:lnTo>
                        <a:pt x="37798" y="104618"/>
                      </a:lnTo>
                      <a:lnTo>
                        <a:pt x="38858" y="105474"/>
                      </a:lnTo>
                      <a:lnTo>
                        <a:pt x="39950" y="106696"/>
                      </a:lnTo>
                      <a:lnTo>
                        <a:pt x="39290" y="108204"/>
                      </a:lnTo>
                      <a:lnTo>
                        <a:pt x="40137" y="112108"/>
                      </a:lnTo>
                      <a:lnTo>
                        <a:pt x="39763" y="112108"/>
                      </a:lnTo>
                      <a:lnTo>
                        <a:pt x="38198" y="111774"/>
                      </a:lnTo>
                      <a:lnTo>
                        <a:pt x="37057" y="110967"/>
                      </a:lnTo>
                      <a:lnTo>
                        <a:pt x="34164" y="111537"/>
                      </a:lnTo>
                      <a:lnTo>
                        <a:pt x="30268" y="112841"/>
                      </a:lnTo>
                      <a:lnTo>
                        <a:pt x="28100" y="112776"/>
                      </a:lnTo>
                      <a:lnTo>
                        <a:pt x="26389" y="111382"/>
                      </a:lnTo>
                      <a:lnTo>
                        <a:pt x="19372" y="109394"/>
                      </a:lnTo>
                      <a:lnTo>
                        <a:pt x="18239" y="109231"/>
                      </a:lnTo>
                      <a:lnTo>
                        <a:pt x="13618" y="109149"/>
                      </a:lnTo>
                      <a:lnTo>
                        <a:pt x="13602" y="109149"/>
                      </a:lnTo>
                      <a:lnTo>
                        <a:pt x="13382" y="106012"/>
                      </a:lnTo>
                      <a:lnTo>
                        <a:pt x="12820" y="103746"/>
                      </a:lnTo>
                      <a:lnTo>
                        <a:pt x="11206" y="100356"/>
                      </a:lnTo>
                      <a:lnTo>
                        <a:pt x="13602" y="99549"/>
                      </a:lnTo>
                      <a:lnTo>
                        <a:pt x="13129" y="92948"/>
                      </a:lnTo>
                      <a:lnTo>
                        <a:pt x="12265" y="89525"/>
                      </a:lnTo>
                      <a:lnTo>
                        <a:pt x="5558" y="86004"/>
                      </a:lnTo>
                      <a:lnTo>
                        <a:pt x="277" y="82589"/>
                      </a:lnTo>
                      <a:lnTo>
                        <a:pt x="1483" y="71041"/>
                      </a:lnTo>
                      <a:lnTo>
                        <a:pt x="2005" y="67920"/>
                      </a:lnTo>
                      <a:lnTo>
                        <a:pt x="0" y="61865"/>
                      </a:lnTo>
                      <a:lnTo>
                        <a:pt x="204" y="54888"/>
                      </a:lnTo>
                      <a:lnTo>
                        <a:pt x="1052" y="43870"/>
                      </a:lnTo>
                      <a:lnTo>
                        <a:pt x="2730" y="43438"/>
                      </a:lnTo>
                      <a:lnTo>
                        <a:pt x="3961" y="43487"/>
                      </a:lnTo>
                      <a:lnTo>
                        <a:pt x="8712" y="45467"/>
                      </a:lnTo>
                      <a:lnTo>
                        <a:pt x="10693" y="45663"/>
                      </a:lnTo>
                      <a:lnTo>
                        <a:pt x="12053" y="47432"/>
                      </a:lnTo>
                      <a:lnTo>
                        <a:pt x="13634" y="48165"/>
                      </a:lnTo>
                      <a:lnTo>
                        <a:pt x="14792" y="46282"/>
                      </a:lnTo>
                      <a:lnTo>
                        <a:pt x="15240" y="43071"/>
                      </a:lnTo>
                      <a:lnTo>
                        <a:pt x="19005" y="38915"/>
                      </a:lnTo>
                      <a:lnTo>
                        <a:pt x="21638" y="37375"/>
                      </a:lnTo>
                      <a:lnTo>
                        <a:pt x="23455" y="36641"/>
                      </a:lnTo>
                      <a:lnTo>
                        <a:pt x="25264" y="38320"/>
                      </a:lnTo>
                      <a:lnTo>
                        <a:pt x="26658" y="40203"/>
                      </a:lnTo>
                      <a:lnTo>
                        <a:pt x="26984" y="36079"/>
                      </a:lnTo>
                      <a:lnTo>
                        <a:pt x="28108" y="28198"/>
                      </a:lnTo>
                      <a:lnTo>
                        <a:pt x="24531" y="26968"/>
                      </a:lnTo>
                      <a:lnTo>
                        <a:pt x="21621" y="28035"/>
                      </a:lnTo>
                      <a:lnTo>
                        <a:pt x="18720" y="33023"/>
                      </a:lnTo>
                      <a:lnTo>
                        <a:pt x="16145" y="39298"/>
                      </a:lnTo>
                      <a:lnTo>
                        <a:pt x="11955" y="39877"/>
                      </a:lnTo>
                      <a:lnTo>
                        <a:pt x="8614" y="41645"/>
                      </a:lnTo>
                      <a:lnTo>
                        <a:pt x="5607" y="39803"/>
                      </a:lnTo>
                      <a:lnTo>
                        <a:pt x="3651" y="38181"/>
                      </a:lnTo>
                      <a:lnTo>
                        <a:pt x="3610" y="35810"/>
                      </a:lnTo>
                      <a:lnTo>
                        <a:pt x="4050" y="34376"/>
                      </a:lnTo>
                      <a:lnTo>
                        <a:pt x="7612" y="29266"/>
                      </a:lnTo>
                      <a:lnTo>
                        <a:pt x="12347" y="24343"/>
                      </a:lnTo>
                      <a:lnTo>
                        <a:pt x="17139" y="24392"/>
                      </a:lnTo>
                      <a:lnTo>
                        <a:pt x="20627" y="22819"/>
                      </a:lnTo>
                      <a:lnTo>
                        <a:pt x="22722" y="22632"/>
                      </a:lnTo>
                      <a:lnTo>
                        <a:pt x="29233" y="22974"/>
                      </a:lnTo>
                      <a:lnTo>
                        <a:pt x="32567" y="21898"/>
                      </a:lnTo>
                      <a:lnTo>
                        <a:pt x="35566" y="19641"/>
                      </a:lnTo>
                      <a:lnTo>
                        <a:pt x="42028" y="10073"/>
                      </a:lnTo>
                      <a:lnTo>
                        <a:pt x="45679" y="6080"/>
                      </a:lnTo>
                      <a:lnTo>
                        <a:pt x="53038" y="4670"/>
                      </a:lnTo>
                      <a:lnTo>
                        <a:pt x="59844" y="57"/>
                      </a:lnTo>
                      <a:lnTo>
                        <a:pt x="61734" y="0"/>
                      </a:lnTo>
                      <a:lnTo>
                        <a:pt x="58539" y="3439"/>
                      </a:lnTo>
                      <a:lnTo>
                        <a:pt x="58035" y="4776"/>
                      </a:lnTo>
                      <a:lnTo>
                        <a:pt x="57635" y="6813"/>
                      </a:lnTo>
                      <a:lnTo>
                        <a:pt x="59933" y="11238"/>
                      </a:lnTo>
                      <a:lnTo>
                        <a:pt x="59444" y="13936"/>
                      </a:lnTo>
                      <a:lnTo>
                        <a:pt x="59607" y="19225"/>
                      </a:lnTo>
                      <a:lnTo>
                        <a:pt x="57415" y="21988"/>
                      </a:lnTo>
                      <a:close/>
                    </a:path>
                  </a:pathLst>
                </a:custGeom>
                <a:solidFill>
                  <a:srgbClr val="D6D6D2"/>
                </a:solidFill>
                <a:ln w="8150" cap="flat">
                  <a:noFill/>
                  <a:prstDash val="solid"/>
                  <a:miter/>
                </a:ln>
              </p:spPr>
              <p:txBody>
                <a:bodyPr rtlCol="0" anchor="ctr"/>
                <a:lstStyle/>
                <a:p>
                  <a:endParaRPr lang="en-US"/>
                </a:p>
              </p:txBody>
            </p:sp>
            <p:sp>
              <p:nvSpPr>
                <p:cNvPr id="748" name="Freeform: Shape 747">
                  <a:extLst>
                    <a:ext uri="{FF2B5EF4-FFF2-40B4-BE49-F238E27FC236}">
                      <a16:creationId xmlns:a16="http://schemas.microsoft.com/office/drawing/2014/main" id="{6FA70C1D-EC04-46CB-9FA9-4FBAE415A586}"/>
                    </a:ext>
                  </a:extLst>
                </p:cNvPr>
                <p:cNvSpPr/>
                <p:nvPr/>
              </p:nvSpPr>
              <p:spPr>
                <a:xfrm>
                  <a:off x="6979487" y="4142453"/>
                  <a:ext cx="40797" cy="53486"/>
                </a:xfrm>
                <a:custGeom>
                  <a:avLst/>
                  <a:gdLst>
                    <a:gd name="connsiteX0" fmla="*/ 36747 w 40797"/>
                    <a:gd name="connsiteY0" fmla="*/ 36600 h 53486"/>
                    <a:gd name="connsiteX1" fmla="*/ 34596 w 40797"/>
                    <a:gd name="connsiteY1" fmla="*/ 40659 h 53486"/>
                    <a:gd name="connsiteX2" fmla="*/ 31833 w 40797"/>
                    <a:gd name="connsiteY2" fmla="*/ 45834 h 53486"/>
                    <a:gd name="connsiteX3" fmla="*/ 28720 w 40797"/>
                    <a:gd name="connsiteY3" fmla="*/ 51726 h 53486"/>
                    <a:gd name="connsiteX4" fmla="*/ 26764 w 40797"/>
                    <a:gd name="connsiteY4" fmla="*/ 51767 h 53486"/>
                    <a:gd name="connsiteX5" fmla="*/ 25256 w 40797"/>
                    <a:gd name="connsiteY5" fmla="*/ 51425 h 53486"/>
                    <a:gd name="connsiteX6" fmla="*/ 24221 w 40797"/>
                    <a:gd name="connsiteY6" fmla="*/ 50422 h 53486"/>
                    <a:gd name="connsiteX7" fmla="*/ 22070 w 40797"/>
                    <a:gd name="connsiteY7" fmla="*/ 49338 h 53486"/>
                    <a:gd name="connsiteX8" fmla="*/ 19666 w 40797"/>
                    <a:gd name="connsiteY8" fmla="*/ 49265 h 53486"/>
                    <a:gd name="connsiteX9" fmla="*/ 17367 w 40797"/>
                    <a:gd name="connsiteY9" fmla="*/ 50284 h 53486"/>
                    <a:gd name="connsiteX10" fmla="*/ 13480 w 40797"/>
                    <a:gd name="connsiteY10" fmla="*/ 51547 h 53486"/>
                    <a:gd name="connsiteX11" fmla="*/ 9959 w 40797"/>
                    <a:gd name="connsiteY11" fmla="*/ 51955 h 53486"/>
                    <a:gd name="connsiteX12" fmla="*/ 7131 w 40797"/>
                    <a:gd name="connsiteY12" fmla="*/ 52663 h 53486"/>
                    <a:gd name="connsiteX13" fmla="*/ 4784 w 40797"/>
                    <a:gd name="connsiteY13" fmla="*/ 53487 h 53486"/>
                    <a:gd name="connsiteX14" fmla="*/ 2665 w 40797"/>
                    <a:gd name="connsiteY14" fmla="*/ 53038 h 53486"/>
                    <a:gd name="connsiteX15" fmla="*/ 831 w 40797"/>
                    <a:gd name="connsiteY15" fmla="*/ 52297 h 53486"/>
                    <a:gd name="connsiteX16" fmla="*/ 424 w 40797"/>
                    <a:gd name="connsiteY16" fmla="*/ 46030 h 53486"/>
                    <a:gd name="connsiteX17" fmla="*/ 0 w 40797"/>
                    <a:gd name="connsiteY17" fmla="*/ 39225 h 53486"/>
                    <a:gd name="connsiteX18" fmla="*/ 49 w 40797"/>
                    <a:gd name="connsiteY18" fmla="*/ 33895 h 53486"/>
                    <a:gd name="connsiteX19" fmla="*/ 693 w 40797"/>
                    <a:gd name="connsiteY19" fmla="*/ 30969 h 53486"/>
                    <a:gd name="connsiteX20" fmla="*/ 1263 w 40797"/>
                    <a:gd name="connsiteY20" fmla="*/ 29820 h 53486"/>
                    <a:gd name="connsiteX21" fmla="*/ 4588 w 40797"/>
                    <a:gd name="connsiteY21" fmla="*/ 25761 h 53486"/>
                    <a:gd name="connsiteX22" fmla="*/ 5729 w 40797"/>
                    <a:gd name="connsiteY22" fmla="*/ 24115 h 53486"/>
                    <a:gd name="connsiteX23" fmla="*/ 9527 w 40797"/>
                    <a:gd name="connsiteY23" fmla="*/ 17400 h 53486"/>
                    <a:gd name="connsiteX24" fmla="*/ 12795 w 40797"/>
                    <a:gd name="connsiteY24" fmla="*/ 11646 h 53486"/>
                    <a:gd name="connsiteX25" fmla="*/ 15224 w 40797"/>
                    <a:gd name="connsiteY25" fmla="*/ 7335 h 53486"/>
                    <a:gd name="connsiteX26" fmla="*/ 15966 w 40797"/>
                    <a:gd name="connsiteY26" fmla="*/ 6495 h 53486"/>
                    <a:gd name="connsiteX27" fmla="*/ 16992 w 40797"/>
                    <a:gd name="connsiteY27" fmla="*/ 5680 h 53486"/>
                    <a:gd name="connsiteX28" fmla="*/ 17726 w 40797"/>
                    <a:gd name="connsiteY28" fmla="*/ 5908 h 53486"/>
                    <a:gd name="connsiteX29" fmla="*/ 22461 w 40797"/>
                    <a:gd name="connsiteY29" fmla="*/ 10057 h 53486"/>
                    <a:gd name="connsiteX30" fmla="*/ 23292 w 40797"/>
                    <a:gd name="connsiteY30" fmla="*/ 9951 h 53486"/>
                    <a:gd name="connsiteX31" fmla="*/ 24873 w 40797"/>
                    <a:gd name="connsiteY31" fmla="*/ 8663 h 53486"/>
                    <a:gd name="connsiteX32" fmla="*/ 26316 w 40797"/>
                    <a:gd name="connsiteY32" fmla="*/ 4221 h 53486"/>
                    <a:gd name="connsiteX33" fmla="*/ 27318 w 40797"/>
                    <a:gd name="connsiteY33" fmla="*/ 2600 h 53486"/>
                    <a:gd name="connsiteX34" fmla="*/ 27750 w 40797"/>
                    <a:gd name="connsiteY34" fmla="*/ 2649 h 53486"/>
                    <a:gd name="connsiteX35" fmla="*/ 30782 w 40797"/>
                    <a:gd name="connsiteY35" fmla="*/ 1402 h 53486"/>
                    <a:gd name="connsiteX36" fmla="*/ 33528 w 40797"/>
                    <a:gd name="connsiteY36" fmla="*/ 0 h 53486"/>
                    <a:gd name="connsiteX37" fmla="*/ 33879 w 40797"/>
                    <a:gd name="connsiteY37" fmla="*/ 1459 h 53486"/>
                    <a:gd name="connsiteX38" fmla="*/ 38043 w 40797"/>
                    <a:gd name="connsiteY38" fmla="*/ 7416 h 53486"/>
                    <a:gd name="connsiteX39" fmla="*/ 39412 w 40797"/>
                    <a:gd name="connsiteY39" fmla="*/ 10350 h 53486"/>
                    <a:gd name="connsiteX40" fmla="*/ 40798 w 40797"/>
                    <a:gd name="connsiteY40" fmla="*/ 15721 h 53486"/>
                    <a:gd name="connsiteX41" fmla="*/ 40072 w 40797"/>
                    <a:gd name="connsiteY41" fmla="*/ 18695 h 53486"/>
                    <a:gd name="connsiteX42" fmla="*/ 38988 w 40797"/>
                    <a:gd name="connsiteY42" fmla="*/ 20643 h 53486"/>
                    <a:gd name="connsiteX43" fmla="*/ 37383 w 40797"/>
                    <a:gd name="connsiteY43" fmla="*/ 22387 h 53486"/>
                    <a:gd name="connsiteX44" fmla="*/ 31825 w 40797"/>
                    <a:gd name="connsiteY44" fmla="*/ 26633 h 53486"/>
                    <a:gd name="connsiteX45" fmla="*/ 25664 w 40797"/>
                    <a:gd name="connsiteY45" fmla="*/ 29355 h 53486"/>
                    <a:gd name="connsiteX46" fmla="*/ 21711 w 40797"/>
                    <a:gd name="connsiteY46" fmla="*/ 34775 h 53486"/>
                    <a:gd name="connsiteX47" fmla="*/ 18777 w 40797"/>
                    <a:gd name="connsiteY47" fmla="*/ 34408 h 53486"/>
                    <a:gd name="connsiteX48" fmla="*/ 19234 w 40797"/>
                    <a:gd name="connsiteY48" fmla="*/ 36454 h 53486"/>
                    <a:gd name="connsiteX49" fmla="*/ 20318 w 40797"/>
                    <a:gd name="connsiteY49" fmla="*/ 36690 h 53486"/>
                    <a:gd name="connsiteX50" fmla="*/ 22029 w 40797"/>
                    <a:gd name="connsiteY50" fmla="*/ 36299 h 53486"/>
                    <a:gd name="connsiteX51" fmla="*/ 25419 w 40797"/>
                    <a:gd name="connsiteY51" fmla="*/ 34726 h 53486"/>
                    <a:gd name="connsiteX52" fmla="*/ 28435 w 40797"/>
                    <a:gd name="connsiteY52" fmla="*/ 33968 h 53486"/>
                    <a:gd name="connsiteX53" fmla="*/ 31695 w 40797"/>
                    <a:gd name="connsiteY53" fmla="*/ 33919 h 53486"/>
                    <a:gd name="connsiteX54" fmla="*/ 34645 w 40797"/>
                    <a:gd name="connsiteY54" fmla="*/ 34596 h 53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0797" h="53486">
                      <a:moveTo>
                        <a:pt x="36747" y="36600"/>
                      </a:moveTo>
                      <a:lnTo>
                        <a:pt x="34596" y="40659"/>
                      </a:lnTo>
                      <a:lnTo>
                        <a:pt x="31833" y="45834"/>
                      </a:lnTo>
                      <a:lnTo>
                        <a:pt x="28720" y="51726"/>
                      </a:lnTo>
                      <a:lnTo>
                        <a:pt x="26764" y="51767"/>
                      </a:lnTo>
                      <a:lnTo>
                        <a:pt x="25256" y="51425"/>
                      </a:lnTo>
                      <a:lnTo>
                        <a:pt x="24221" y="50422"/>
                      </a:lnTo>
                      <a:lnTo>
                        <a:pt x="22070" y="49338"/>
                      </a:lnTo>
                      <a:lnTo>
                        <a:pt x="19666" y="49265"/>
                      </a:lnTo>
                      <a:lnTo>
                        <a:pt x="17367" y="50284"/>
                      </a:lnTo>
                      <a:lnTo>
                        <a:pt x="13480" y="51547"/>
                      </a:lnTo>
                      <a:lnTo>
                        <a:pt x="9959" y="51955"/>
                      </a:lnTo>
                      <a:lnTo>
                        <a:pt x="7131" y="52663"/>
                      </a:lnTo>
                      <a:lnTo>
                        <a:pt x="4784" y="53487"/>
                      </a:lnTo>
                      <a:lnTo>
                        <a:pt x="2665" y="53038"/>
                      </a:lnTo>
                      <a:lnTo>
                        <a:pt x="831" y="52297"/>
                      </a:lnTo>
                      <a:lnTo>
                        <a:pt x="424" y="46030"/>
                      </a:lnTo>
                      <a:lnTo>
                        <a:pt x="0" y="39225"/>
                      </a:lnTo>
                      <a:lnTo>
                        <a:pt x="49" y="33895"/>
                      </a:lnTo>
                      <a:lnTo>
                        <a:pt x="693" y="30969"/>
                      </a:lnTo>
                      <a:lnTo>
                        <a:pt x="1263" y="29820"/>
                      </a:lnTo>
                      <a:lnTo>
                        <a:pt x="4588" y="25761"/>
                      </a:lnTo>
                      <a:lnTo>
                        <a:pt x="5729" y="24115"/>
                      </a:lnTo>
                      <a:lnTo>
                        <a:pt x="9527" y="17400"/>
                      </a:lnTo>
                      <a:lnTo>
                        <a:pt x="12795" y="11646"/>
                      </a:lnTo>
                      <a:lnTo>
                        <a:pt x="15224" y="7335"/>
                      </a:lnTo>
                      <a:lnTo>
                        <a:pt x="15966" y="6495"/>
                      </a:lnTo>
                      <a:lnTo>
                        <a:pt x="16992" y="5680"/>
                      </a:lnTo>
                      <a:lnTo>
                        <a:pt x="17726" y="5908"/>
                      </a:lnTo>
                      <a:lnTo>
                        <a:pt x="22461" y="10057"/>
                      </a:lnTo>
                      <a:lnTo>
                        <a:pt x="23292" y="9951"/>
                      </a:lnTo>
                      <a:lnTo>
                        <a:pt x="24873" y="8663"/>
                      </a:lnTo>
                      <a:lnTo>
                        <a:pt x="26316" y="4221"/>
                      </a:lnTo>
                      <a:lnTo>
                        <a:pt x="27318" y="2600"/>
                      </a:lnTo>
                      <a:lnTo>
                        <a:pt x="27750" y="2649"/>
                      </a:lnTo>
                      <a:lnTo>
                        <a:pt x="30782" y="1402"/>
                      </a:lnTo>
                      <a:lnTo>
                        <a:pt x="33528" y="0"/>
                      </a:lnTo>
                      <a:lnTo>
                        <a:pt x="33879" y="1459"/>
                      </a:lnTo>
                      <a:lnTo>
                        <a:pt x="38043" y="7416"/>
                      </a:lnTo>
                      <a:lnTo>
                        <a:pt x="39412" y="10350"/>
                      </a:lnTo>
                      <a:lnTo>
                        <a:pt x="40798" y="15721"/>
                      </a:lnTo>
                      <a:lnTo>
                        <a:pt x="40072" y="18695"/>
                      </a:lnTo>
                      <a:lnTo>
                        <a:pt x="38988" y="20643"/>
                      </a:lnTo>
                      <a:lnTo>
                        <a:pt x="37383" y="22387"/>
                      </a:lnTo>
                      <a:lnTo>
                        <a:pt x="31825" y="26633"/>
                      </a:lnTo>
                      <a:lnTo>
                        <a:pt x="25664" y="29355"/>
                      </a:lnTo>
                      <a:lnTo>
                        <a:pt x="21711" y="34775"/>
                      </a:lnTo>
                      <a:lnTo>
                        <a:pt x="18777" y="34408"/>
                      </a:lnTo>
                      <a:lnTo>
                        <a:pt x="19234" y="36454"/>
                      </a:lnTo>
                      <a:lnTo>
                        <a:pt x="20318" y="36690"/>
                      </a:lnTo>
                      <a:lnTo>
                        <a:pt x="22029" y="36299"/>
                      </a:lnTo>
                      <a:lnTo>
                        <a:pt x="25419" y="34726"/>
                      </a:lnTo>
                      <a:lnTo>
                        <a:pt x="28435" y="33968"/>
                      </a:lnTo>
                      <a:lnTo>
                        <a:pt x="31695" y="33919"/>
                      </a:lnTo>
                      <a:lnTo>
                        <a:pt x="34645" y="34596"/>
                      </a:lnTo>
                      <a:close/>
                    </a:path>
                  </a:pathLst>
                </a:custGeom>
                <a:solidFill>
                  <a:srgbClr val="D6D6D2"/>
                </a:solidFill>
                <a:ln w="6112" cap="rnd">
                  <a:solidFill>
                    <a:srgbClr val="FFFFFF"/>
                  </a:solidFill>
                  <a:prstDash val="solid"/>
                  <a:round/>
                </a:ln>
              </p:spPr>
              <p:txBody>
                <a:bodyPr rtlCol="0" anchor="ctr"/>
                <a:lstStyle/>
                <a:p>
                  <a:endParaRPr lang="en-US"/>
                </a:p>
              </p:txBody>
            </p:sp>
            <p:sp>
              <p:nvSpPr>
                <p:cNvPr id="749" name="Freeform: Shape 748">
                  <a:extLst>
                    <a:ext uri="{FF2B5EF4-FFF2-40B4-BE49-F238E27FC236}">
                      <a16:creationId xmlns:a16="http://schemas.microsoft.com/office/drawing/2014/main" id="{04E79C4C-9CC5-41E1-B951-FA47E6F86818}"/>
                    </a:ext>
                  </a:extLst>
                </p:cNvPr>
                <p:cNvSpPr/>
                <p:nvPr/>
              </p:nvSpPr>
              <p:spPr>
                <a:xfrm>
                  <a:off x="6088917" y="2742256"/>
                  <a:ext cx="227165" cy="280603"/>
                </a:xfrm>
                <a:custGeom>
                  <a:avLst/>
                  <a:gdLst>
                    <a:gd name="connsiteX0" fmla="*/ 194722 w 227165"/>
                    <a:gd name="connsiteY0" fmla="*/ 19731 h 280603"/>
                    <a:gd name="connsiteX1" fmla="*/ 195349 w 227165"/>
                    <a:gd name="connsiteY1" fmla="*/ 22281 h 280603"/>
                    <a:gd name="connsiteX2" fmla="*/ 194681 w 227165"/>
                    <a:gd name="connsiteY2" fmla="*/ 23569 h 280603"/>
                    <a:gd name="connsiteX3" fmla="*/ 191894 w 227165"/>
                    <a:gd name="connsiteY3" fmla="*/ 21418 h 280603"/>
                    <a:gd name="connsiteX4" fmla="*/ 189090 w 227165"/>
                    <a:gd name="connsiteY4" fmla="*/ 21442 h 280603"/>
                    <a:gd name="connsiteX5" fmla="*/ 187419 w 227165"/>
                    <a:gd name="connsiteY5" fmla="*/ 24759 h 280603"/>
                    <a:gd name="connsiteX6" fmla="*/ 186172 w 227165"/>
                    <a:gd name="connsiteY6" fmla="*/ 24906 h 280603"/>
                    <a:gd name="connsiteX7" fmla="*/ 181845 w 227165"/>
                    <a:gd name="connsiteY7" fmla="*/ 21890 h 280603"/>
                    <a:gd name="connsiteX8" fmla="*/ 181160 w 227165"/>
                    <a:gd name="connsiteY8" fmla="*/ 20415 h 280603"/>
                    <a:gd name="connsiteX9" fmla="*/ 181006 w 227165"/>
                    <a:gd name="connsiteY9" fmla="*/ 19193 h 280603"/>
                    <a:gd name="connsiteX10" fmla="*/ 181633 w 227165"/>
                    <a:gd name="connsiteY10" fmla="*/ 14947 h 280603"/>
                    <a:gd name="connsiteX11" fmla="*/ 181511 w 227165"/>
                    <a:gd name="connsiteY11" fmla="*/ 13602 h 280603"/>
                    <a:gd name="connsiteX12" fmla="*/ 182872 w 227165"/>
                    <a:gd name="connsiteY12" fmla="*/ 12143 h 280603"/>
                    <a:gd name="connsiteX13" fmla="*/ 183084 w 227165"/>
                    <a:gd name="connsiteY13" fmla="*/ 10032 h 280603"/>
                    <a:gd name="connsiteX14" fmla="*/ 185480 w 227165"/>
                    <a:gd name="connsiteY14" fmla="*/ 7808 h 280603"/>
                    <a:gd name="connsiteX15" fmla="*/ 187607 w 227165"/>
                    <a:gd name="connsiteY15" fmla="*/ 7726 h 280603"/>
                    <a:gd name="connsiteX16" fmla="*/ 188291 w 227165"/>
                    <a:gd name="connsiteY16" fmla="*/ 9617 h 280603"/>
                    <a:gd name="connsiteX17" fmla="*/ 189310 w 227165"/>
                    <a:gd name="connsiteY17" fmla="*/ 10913 h 280603"/>
                    <a:gd name="connsiteX18" fmla="*/ 192905 w 227165"/>
                    <a:gd name="connsiteY18" fmla="*/ 12371 h 280603"/>
                    <a:gd name="connsiteX19" fmla="*/ 193434 w 227165"/>
                    <a:gd name="connsiteY19" fmla="*/ 13040 h 280603"/>
                    <a:gd name="connsiteX20" fmla="*/ 193752 w 227165"/>
                    <a:gd name="connsiteY20" fmla="*/ 13952 h 280603"/>
                    <a:gd name="connsiteX21" fmla="*/ 192081 w 227165"/>
                    <a:gd name="connsiteY21" fmla="*/ 15745 h 280603"/>
                    <a:gd name="connsiteX22" fmla="*/ 191527 w 227165"/>
                    <a:gd name="connsiteY22" fmla="*/ 16666 h 280603"/>
                    <a:gd name="connsiteX23" fmla="*/ 192057 w 227165"/>
                    <a:gd name="connsiteY23" fmla="*/ 18133 h 280603"/>
                    <a:gd name="connsiteX24" fmla="*/ 194722 w 227165"/>
                    <a:gd name="connsiteY24" fmla="*/ 19731 h 280603"/>
                    <a:gd name="connsiteX25" fmla="*/ 84252 w 227165"/>
                    <a:gd name="connsiteY25" fmla="*/ 3610 h 280603"/>
                    <a:gd name="connsiteX26" fmla="*/ 86420 w 227165"/>
                    <a:gd name="connsiteY26" fmla="*/ 3676 h 280603"/>
                    <a:gd name="connsiteX27" fmla="*/ 90316 w 227165"/>
                    <a:gd name="connsiteY27" fmla="*/ 2372 h 280603"/>
                    <a:gd name="connsiteX28" fmla="*/ 93209 w 227165"/>
                    <a:gd name="connsiteY28" fmla="*/ 1801 h 280603"/>
                    <a:gd name="connsiteX29" fmla="*/ 94350 w 227165"/>
                    <a:gd name="connsiteY29" fmla="*/ 2608 h 280603"/>
                    <a:gd name="connsiteX30" fmla="*/ 95915 w 227165"/>
                    <a:gd name="connsiteY30" fmla="*/ 2942 h 280603"/>
                    <a:gd name="connsiteX31" fmla="*/ 96289 w 227165"/>
                    <a:gd name="connsiteY31" fmla="*/ 2942 h 280603"/>
                    <a:gd name="connsiteX32" fmla="*/ 96444 w 227165"/>
                    <a:gd name="connsiteY32" fmla="*/ 3643 h 280603"/>
                    <a:gd name="connsiteX33" fmla="*/ 100071 w 227165"/>
                    <a:gd name="connsiteY33" fmla="*/ 4653 h 280603"/>
                    <a:gd name="connsiteX34" fmla="*/ 101603 w 227165"/>
                    <a:gd name="connsiteY34" fmla="*/ 6267 h 280603"/>
                    <a:gd name="connsiteX35" fmla="*/ 103298 w 227165"/>
                    <a:gd name="connsiteY35" fmla="*/ 8704 h 280603"/>
                    <a:gd name="connsiteX36" fmla="*/ 103461 w 227165"/>
                    <a:gd name="connsiteY36" fmla="*/ 12225 h 280603"/>
                    <a:gd name="connsiteX37" fmla="*/ 101293 w 227165"/>
                    <a:gd name="connsiteY37" fmla="*/ 14751 h 280603"/>
                    <a:gd name="connsiteX38" fmla="*/ 99484 w 227165"/>
                    <a:gd name="connsiteY38" fmla="*/ 16340 h 280603"/>
                    <a:gd name="connsiteX39" fmla="*/ 106305 w 227165"/>
                    <a:gd name="connsiteY39" fmla="*/ 15737 h 280603"/>
                    <a:gd name="connsiteX40" fmla="*/ 106974 w 227165"/>
                    <a:gd name="connsiteY40" fmla="*/ 17188 h 280603"/>
                    <a:gd name="connsiteX41" fmla="*/ 108008 w 227165"/>
                    <a:gd name="connsiteY41" fmla="*/ 18744 h 280603"/>
                    <a:gd name="connsiteX42" fmla="*/ 111684 w 227165"/>
                    <a:gd name="connsiteY42" fmla="*/ 17628 h 280603"/>
                    <a:gd name="connsiteX43" fmla="*/ 120885 w 227165"/>
                    <a:gd name="connsiteY43" fmla="*/ 22249 h 280603"/>
                    <a:gd name="connsiteX44" fmla="*/ 126451 w 227165"/>
                    <a:gd name="connsiteY44" fmla="*/ 20000 h 280603"/>
                    <a:gd name="connsiteX45" fmla="*/ 127886 w 227165"/>
                    <a:gd name="connsiteY45" fmla="*/ 19869 h 280603"/>
                    <a:gd name="connsiteX46" fmla="*/ 129141 w 227165"/>
                    <a:gd name="connsiteY46" fmla="*/ 23602 h 280603"/>
                    <a:gd name="connsiteX47" fmla="*/ 127763 w 227165"/>
                    <a:gd name="connsiteY47" fmla="*/ 27351 h 280603"/>
                    <a:gd name="connsiteX48" fmla="*/ 122849 w 227165"/>
                    <a:gd name="connsiteY48" fmla="*/ 31352 h 280603"/>
                    <a:gd name="connsiteX49" fmla="*/ 123941 w 227165"/>
                    <a:gd name="connsiteY49" fmla="*/ 33813 h 280603"/>
                    <a:gd name="connsiteX50" fmla="*/ 125498 w 227165"/>
                    <a:gd name="connsiteY50" fmla="*/ 34359 h 280603"/>
                    <a:gd name="connsiteX51" fmla="*/ 130127 w 227165"/>
                    <a:gd name="connsiteY51" fmla="*/ 33846 h 280603"/>
                    <a:gd name="connsiteX52" fmla="*/ 137445 w 227165"/>
                    <a:gd name="connsiteY52" fmla="*/ 36274 h 280603"/>
                    <a:gd name="connsiteX53" fmla="*/ 138978 w 227165"/>
                    <a:gd name="connsiteY53" fmla="*/ 35517 h 280603"/>
                    <a:gd name="connsiteX54" fmla="*/ 144919 w 227165"/>
                    <a:gd name="connsiteY54" fmla="*/ 29910 h 280603"/>
                    <a:gd name="connsiteX55" fmla="*/ 147282 w 227165"/>
                    <a:gd name="connsiteY55" fmla="*/ 28703 h 280603"/>
                    <a:gd name="connsiteX56" fmla="*/ 155098 w 227165"/>
                    <a:gd name="connsiteY56" fmla="*/ 27848 h 280603"/>
                    <a:gd name="connsiteX57" fmla="*/ 156516 w 227165"/>
                    <a:gd name="connsiteY57" fmla="*/ 25664 h 280603"/>
                    <a:gd name="connsiteX58" fmla="*/ 159694 w 227165"/>
                    <a:gd name="connsiteY58" fmla="*/ 23479 h 280603"/>
                    <a:gd name="connsiteX59" fmla="*/ 161732 w 227165"/>
                    <a:gd name="connsiteY59" fmla="*/ 21092 h 280603"/>
                    <a:gd name="connsiteX60" fmla="*/ 166613 w 227165"/>
                    <a:gd name="connsiteY60" fmla="*/ 16536 h 280603"/>
                    <a:gd name="connsiteX61" fmla="*/ 171666 w 227165"/>
                    <a:gd name="connsiteY61" fmla="*/ 17359 h 280603"/>
                    <a:gd name="connsiteX62" fmla="*/ 174608 w 227165"/>
                    <a:gd name="connsiteY62" fmla="*/ 18223 h 280603"/>
                    <a:gd name="connsiteX63" fmla="*/ 177844 w 227165"/>
                    <a:gd name="connsiteY63" fmla="*/ 18671 h 280603"/>
                    <a:gd name="connsiteX64" fmla="*/ 180794 w 227165"/>
                    <a:gd name="connsiteY64" fmla="*/ 23528 h 280603"/>
                    <a:gd name="connsiteX65" fmla="*/ 188251 w 227165"/>
                    <a:gd name="connsiteY65" fmla="*/ 28891 h 280603"/>
                    <a:gd name="connsiteX66" fmla="*/ 195097 w 227165"/>
                    <a:gd name="connsiteY66" fmla="*/ 28418 h 280603"/>
                    <a:gd name="connsiteX67" fmla="*/ 197534 w 227165"/>
                    <a:gd name="connsiteY67" fmla="*/ 33487 h 280603"/>
                    <a:gd name="connsiteX68" fmla="*/ 198609 w 227165"/>
                    <a:gd name="connsiteY68" fmla="*/ 39738 h 280603"/>
                    <a:gd name="connsiteX69" fmla="*/ 200712 w 227165"/>
                    <a:gd name="connsiteY69" fmla="*/ 41694 h 280603"/>
                    <a:gd name="connsiteX70" fmla="*/ 202570 w 227165"/>
                    <a:gd name="connsiteY70" fmla="*/ 42974 h 280603"/>
                    <a:gd name="connsiteX71" fmla="*/ 208152 w 227165"/>
                    <a:gd name="connsiteY71" fmla="*/ 44310 h 280603"/>
                    <a:gd name="connsiteX72" fmla="*/ 208372 w 227165"/>
                    <a:gd name="connsiteY72" fmla="*/ 44392 h 280603"/>
                    <a:gd name="connsiteX73" fmla="*/ 208543 w 227165"/>
                    <a:gd name="connsiteY73" fmla="*/ 45239 h 280603"/>
                    <a:gd name="connsiteX74" fmla="*/ 208886 w 227165"/>
                    <a:gd name="connsiteY74" fmla="*/ 48344 h 280603"/>
                    <a:gd name="connsiteX75" fmla="*/ 209359 w 227165"/>
                    <a:gd name="connsiteY75" fmla="*/ 50911 h 280603"/>
                    <a:gd name="connsiteX76" fmla="*/ 212235 w 227165"/>
                    <a:gd name="connsiteY76" fmla="*/ 61139 h 280603"/>
                    <a:gd name="connsiteX77" fmla="*/ 212179 w 227165"/>
                    <a:gd name="connsiteY77" fmla="*/ 63650 h 280603"/>
                    <a:gd name="connsiteX78" fmla="*/ 212138 w 227165"/>
                    <a:gd name="connsiteY78" fmla="*/ 64318 h 280603"/>
                    <a:gd name="connsiteX79" fmla="*/ 211095 w 227165"/>
                    <a:gd name="connsiteY79" fmla="*/ 67814 h 280603"/>
                    <a:gd name="connsiteX80" fmla="*/ 209228 w 227165"/>
                    <a:gd name="connsiteY80" fmla="*/ 70756 h 280603"/>
                    <a:gd name="connsiteX81" fmla="*/ 206751 w 227165"/>
                    <a:gd name="connsiteY81" fmla="*/ 72419 h 280603"/>
                    <a:gd name="connsiteX82" fmla="*/ 205398 w 227165"/>
                    <a:gd name="connsiteY82" fmla="*/ 74269 h 280603"/>
                    <a:gd name="connsiteX83" fmla="*/ 205145 w 227165"/>
                    <a:gd name="connsiteY83" fmla="*/ 76306 h 280603"/>
                    <a:gd name="connsiteX84" fmla="*/ 208242 w 227165"/>
                    <a:gd name="connsiteY84" fmla="*/ 79884 h 280603"/>
                    <a:gd name="connsiteX85" fmla="*/ 214705 w 227165"/>
                    <a:gd name="connsiteY85" fmla="*/ 84985 h 280603"/>
                    <a:gd name="connsiteX86" fmla="*/ 217321 w 227165"/>
                    <a:gd name="connsiteY86" fmla="*/ 89346 h 280603"/>
                    <a:gd name="connsiteX87" fmla="*/ 216082 w 227165"/>
                    <a:gd name="connsiteY87" fmla="*/ 92980 h 280603"/>
                    <a:gd name="connsiteX88" fmla="*/ 215707 w 227165"/>
                    <a:gd name="connsiteY88" fmla="*/ 95629 h 280603"/>
                    <a:gd name="connsiteX89" fmla="*/ 216196 w 227165"/>
                    <a:gd name="connsiteY89" fmla="*/ 97324 h 280603"/>
                    <a:gd name="connsiteX90" fmla="*/ 217223 w 227165"/>
                    <a:gd name="connsiteY90" fmla="*/ 98685 h 280603"/>
                    <a:gd name="connsiteX91" fmla="*/ 218821 w 227165"/>
                    <a:gd name="connsiteY91" fmla="*/ 99712 h 280603"/>
                    <a:gd name="connsiteX92" fmla="*/ 219448 w 227165"/>
                    <a:gd name="connsiteY92" fmla="*/ 101285 h 280603"/>
                    <a:gd name="connsiteX93" fmla="*/ 219122 w 227165"/>
                    <a:gd name="connsiteY93" fmla="*/ 103420 h 280603"/>
                    <a:gd name="connsiteX94" fmla="*/ 219432 w 227165"/>
                    <a:gd name="connsiteY94" fmla="*/ 104903 h 280603"/>
                    <a:gd name="connsiteX95" fmla="*/ 220622 w 227165"/>
                    <a:gd name="connsiteY95" fmla="*/ 105947 h 280603"/>
                    <a:gd name="connsiteX96" fmla="*/ 220516 w 227165"/>
                    <a:gd name="connsiteY96" fmla="*/ 106354 h 280603"/>
                    <a:gd name="connsiteX97" fmla="*/ 219937 w 227165"/>
                    <a:gd name="connsiteY97" fmla="*/ 107837 h 280603"/>
                    <a:gd name="connsiteX98" fmla="*/ 219138 w 227165"/>
                    <a:gd name="connsiteY98" fmla="*/ 110535 h 280603"/>
                    <a:gd name="connsiteX99" fmla="*/ 218690 w 227165"/>
                    <a:gd name="connsiteY99" fmla="*/ 112507 h 280603"/>
                    <a:gd name="connsiteX100" fmla="*/ 216873 w 227165"/>
                    <a:gd name="connsiteY100" fmla="*/ 115188 h 280603"/>
                    <a:gd name="connsiteX101" fmla="*/ 217419 w 227165"/>
                    <a:gd name="connsiteY101" fmla="*/ 117470 h 280603"/>
                    <a:gd name="connsiteX102" fmla="*/ 218853 w 227165"/>
                    <a:gd name="connsiteY102" fmla="*/ 120152 h 280603"/>
                    <a:gd name="connsiteX103" fmla="*/ 219929 w 227165"/>
                    <a:gd name="connsiteY103" fmla="*/ 121504 h 280603"/>
                    <a:gd name="connsiteX104" fmla="*/ 220271 w 227165"/>
                    <a:gd name="connsiteY104" fmla="*/ 122784 h 280603"/>
                    <a:gd name="connsiteX105" fmla="*/ 219578 w 227165"/>
                    <a:gd name="connsiteY105" fmla="*/ 125824 h 280603"/>
                    <a:gd name="connsiteX106" fmla="*/ 219929 w 227165"/>
                    <a:gd name="connsiteY106" fmla="*/ 126606 h 280603"/>
                    <a:gd name="connsiteX107" fmla="*/ 224428 w 227165"/>
                    <a:gd name="connsiteY107" fmla="*/ 128839 h 280603"/>
                    <a:gd name="connsiteX108" fmla="*/ 225161 w 227165"/>
                    <a:gd name="connsiteY108" fmla="*/ 129866 h 280603"/>
                    <a:gd name="connsiteX109" fmla="*/ 225593 w 227165"/>
                    <a:gd name="connsiteY109" fmla="*/ 132009 h 280603"/>
                    <a:gd name="connsiteX110" fmla="*/ 227166 w 227165"/>
                    <a:gd name="connsiteY110" fmla="*/ 136590 h 280603"/>
                    <a:gd name="connsiteX111" fmla="*/ 225862 w 227165"/>
                    <a:gd name="connsiteY111" fmla="*/ 142392 h 280603"/>
                    <a:gd name="connsiteX112" fmla="*/ 224705 w 227165"/>
                    <a:gd name="connsiteY112" fmla="*/ 145571 h 280603"/>
                    <a:gd name="connsiteX113" fmla="*/ 222154 w 227165"/>
                    <a:gd name="connsiteY113" fmla="*/ 150607 h 280603"/>
                    <a:gd name="connsiteX114" fmla="*/ 222024 w 227165"/>
                    <a:gd name="connsiteY114" fmla="*/ 151072 h 280603"/>
                    <a:gd name="connsiteX115" fmla="*/ 221730 w 227165"/>
                    <a:gd name="connsiteY115" fmla="*/ 151683 h 280603"/>
                    <a:gd name="connsiteX116" fmla="*/ 220964 w 227165"/>
                    <a:gd name="connsiteY116" fmla="*/ 152563 h 280603"/>
                    <a:gd name="connsiteX117" fmla="*/ 219888 w 227165"/>
                    <a:gd name="connsiteY117" fmla="*/ 152702 h 280603"/>
                    <a:gd name="connsiteX118" fmla="*/ 218274 w 227165"/>
                    <a:gd name="connsiteY118" fmla="*/ 152041 h 280603"/>
                    <a:gd name="connsiteX119" fmla="*/ 217174 w 227165"/>
                    <a:gd name="connsiteY119" fmla="*/ 151202 h 280603"/>
                    <a:gd name="connsiteX120" fmla="*/ 217410 w 227165"/>
                    <a:gd name="connsiteY120" fmla="*/ 149026 h 280603"/>
                    <a:gd name="connsiteX121" fmla="*/ 216718 w 227165"/>
                    <a:gd name="connsiteY121" fmla="*/ 148888 h 280603"/>
                    <a:gd name="connsiteX122" fmla="*/ 215830 w 227165"/>
                    <a:gd name="connsiteY122" fmla="*/ 147551 h 280603"/>
                    <a:gd name="connsiteX123" fmla="*/ 215479 w 227165"/>
                    <a:gd name="connsiteY123" fmla="*/ 146117 h 280603"/>
                    <a:gd name="connsiteX124" fmla="*/ 214534 w 227165"/>
                    <a:gd name="connsiteY124" fmla="*/ 145530 h 280603"/>
                    <a:gd name="connsiteX125" fmla="*/ 211062 w 227165"/>
                    <a:gd name="connsiteY125" fmla="*/ 144927 h 280603"/>
                    <a:gd name="connsiteX126" fmla="*/ 209880 w 227165"/>
                    <a:gd name="connsiteY126" fmla="*/ 144503 h 280603"/>
                    <a:gd name="connsiteX127" fmla="*/ 208967 w 227165"/>
                    <a:gd name="connsiteY127" fmla="*/ 144804 h 280603"/>
                    <a:gd name="connsiteX128" fmla="*/ 208291 w 227165"/>
                    <a:gd name="connsiteY128" fmla="*/ 145823 h 280603"/>
                    <a:gd name="connsiteX129" fmla="*/ 208731 w 227165"/>
                    <a:gd name="connsiteY129" fmla="*/ 146736 h 280603"/>
                    <a:gd name="connsiteX130" fmla="*/ 209375 w 227165"/>
                    <a:gd name="connsiteY130" fmla="*/ 147632 h 280603"/>
                    <a:gd name="connsiteX131" fmla="*/ 211298 w 227165"/>
                    <a:gd name="connsiteY131" fmla="*/ 149042 h 280603"/>
                    <a:gd name="connsiteX132" fmla="*/ 211103 w 227165"/>
                    <a:gd name="connsiteY132" fmla="*/ 149605 h 280603"/>
                    <a:gd name="connsiteX133" fmla="*/ 206963 w 227165"/>
                    <a:gd name="connsiteY133" fmla="*/ 150982 h 280603"/>
                    <a:gd name="connsiteX134" fmla="*/ 204338 w 227165"/>
                    <a:gd name="connsiteY134" fmla="*/ 152392 h 280603"/>
                    <a:gd name="connsiteX135" fmla="*/ 201910 w 227165"/>
                    <a:gd name="connsiteY135" fmla="*/ 153191 h 280603"/>
                    <a:gd name="connsiteX136" fmla="*/ 199432 w 227165"/>
                    <a:gd name="connsiteY136" fmla="*/ 154649 h 280603"/>
                    <a:gd name="connsiteX137" fmla="*/ 194543 w 227165"/>
                    <a:gd name="connsiteY137" fmla="*/ 156296 h 280603"/>
                    <a:gd name="connsiteX138" fmla="*/ 190957 w 227165"/>
                    <a:gd name="connsiteY138" fmla="*/ 156736 h 280603"/>
                    <a:gd name="connsiteX139" fmla="*/ 190199 w 227165"/>
                    <a:gd name="connsiteY139" fmla="*/ 157168 h 280603"/>
                    <a:gd name="connsiteX140" fmla="*/ 188870 w 227165"/>
                    <a:gd name="connsiteY140" fmla="*/ 159955 h 280603"/>
                    <a:gd name="connsiteX141" fmla="*/ 187966 w 227165"/>
                    <a:gd name="connsiteY141" fmla="*/ 160534 h 280603"/>
                    <a:gd name="connsiteX142" fmla="*/ 187102 w 227165"/>
                    <a:gd name="connsiteY142" fmla="*/ 160232 h 280603"/>
                    <a:gd name="connsiteX143" fmla="*/ 186442 w 227165"/>
                    <a:gd name="connsiteY143" fmla="*/ 159776 h 280603"/>
                    <a:gd name="connsiteX144" fmla="*/ 185610 w 227165"/>
                    <a:gd name="connsiteY144" fmla="*/ 160159 h 280603"/>
                    <a:gd name="connsiteX145" fmla="*/ 184746 w 227165"/>
                    <a:gd name="connsiteY145" fmla="*/ 161079 h 280603"/>
                    <a:gd name="connsiteX146" fmla="*/ 183834 w 227165"/>
                    <a:gd name="connsiteY146" fmla="*/ 161438 h 280603"/>
                    <a:gd name="connsiteX147" fmla="*/ 183043 w 227165"/>
                    <a:gd name="connsiteY147" fmla="*/ 161430 h 280603"/>
                    <a:gd name="connsiteX148" fmla="*/ 181649 w 227165"/>
                    <a:gd name="connsiteY148" fmla="*/ 163859 h 280603"/>
                    <a:gd name="connsiteX149" fmla="*/ 177559 w 227165"/>
                    <a:gd name="connsiteY149" fmla="*/ 164592 h 280603"/>
                    <a:gd name="connsiteX150" fmla="*/ 177069 w 227165"/>
                    <a:gd name="connsiteY150" fmla="*/ 165847 h 280603"/>
                    <a:gd name="connsiteX151" fmla="*/ 176328 w 227165"/>
                    <a:gd name="connsiteY151" fmla="*/ 167306 h 280603"/>
                    <a:gd name="connsiteX152" fmla="*/ 175717 w 227165"/>
                    <a:gd name="connsiteY152" fmla="*/ 167665 h 280603"/>
                    <a:gd name="connsiteX153" fmla="*/ 173883 w 227165"/>
                    <a:gd name="connsiteY153" fmla="*/ 167086 h 280603"/>
                    <a:gd name="connsiteX154" fmla="*/ 171332 w 227165"/>
                    <a:gd name="connsiteY154" fmla="*/ 166768 h 280603"/>
                    <a:gd name="connsiteX155" fmla="*/ 169865 w 227165"/>
                    <a:gd name="connsiteY155" fmla="*/ 167567 h 280603"/>
                    <a:gd name="connsiteX156" fmla="*/ 168105 w 227165"/>
                    <a:gd name="connsiteY156" fmla="*/ 168007 h 280603"/>
                    <a:gd name="connsiteX157" fmla="*/ 165953 w 227165"/>
                    <a:gd name="connsiteY157" fmla="*/ 168137 h 280603"/>
                    <a:gd name="connsiteX158" fmla="*/ 163565 w 227165"/>
                    <a:gd name="connsiteY158" fmla="*/ 169735 h 280603"/>
                    <a:gd name="connsiteX159" fmla="*/ 161226 w 227165"/>
                    <a:gd name="connsiteY159" fmla="*/ 172530 h 280603"/>
                    <a:gd name="connsiteX160" fmla="*/ 159923 w 227165"/>
                    <a:gd name="connsiteY160" fmla="*/ 174999 h 280603"/>
                    <a:gd name="connsiteX161" fmla="*/ 159222 w 227165"/>
                    <a:gd name="connsiteY161" fmla="*/ 175879 h 280603"/>
                    <a:gd name="connsiteX162" fmla="*/ 158064 w 227165"/>
                    <a:gd name="connsiteY162" fmla="*/ 173565 h 280603"/>
                    <a:gd name="connsiteX163" fmla="*/ 156679 w 227165"/>
                    <a:gd name="connsiteY163" fmla="*/ 171976 h 280603"/>
                    <a:gd name="connsiteX164" fmla="*/ 155685 w 227165"/>
                    <a:gd name="connsiteY164" fmla="*/ 171153 h 280603"/>
                    <a:gd name="connsiteX165" fmla="*/ 154804 w 227165"/>
                    <a:gd name="connsiteY165" fmla="*/ 171153 h 280603"/>
                    <a:gd name="connsiteX166" fmla="*/ 154568 w 227165"/>
                    <a:gd name="connsiteY166" fmla="*/ 171487 h 280603"/>
                    <a:gd name="connsiteX167" fmla="*/ 154568 w 227165"/>
                    <a:gd name="connsiteY167" fmla="*/ 172701 h 280603"/>
                    <a:gd name="connsiteX168" fmla="*/ 155513 w 227165"/>
                    <a:gd name="connsiteY168" fmla="*/ 174714 h 280603"/>
                    <a:gd name="connsiteX169" fmla="*/ 156687 w 227165"/>
                    <a:gd name="connsiteY169" fmla="*/ 176083 h 280603"/>
                    <a:gd name="connsiteX170" fmla="*/ 156866 w 227165"/>
                    <a:gd name="connsiteY170" fmla="*/ 177094 h 280603"/>
                    <a:gd name="connsiteX171" fmla="*/ 157494 w 227165"/>
                    <a:gd name="connsiteY171" fmla="*/ 178944 h 280603"/>
                    <a:gd name="connsiteX172" fmla="*/ 159197 w 227165"/>
                    <a:gd name="connsiteY172" fmla="*/ 180957 h 280603"/>
                    <a:gd name="connsiteX173" fmla="*/ 161862 w 227165"/>
                    <a:gd name="connsiteY173" fmla="*/ 182554 h 280603"/>
                    <a:gd name="connsiteX174" fmla="*/ 163688 w 227165"/>
                    <a:gd name="connsiteY174" fmla="*/ 184127 h 280603"/>
                    <a:gd name="connsiteX175" fmla="*/ 165041 w 227165"/>
                    <a:gd name="connsiteY175" fmla="*/ 186303 h 280603"/>
                    <a:gd name="connsiteX176" fmla="*/ 165049 w 227165"/>
                    <a:gd name="connsiteY176" fmla="*/ 186971 h 280603"/>
                    <a:gd name="connsiteX177" fmla="*/ 164682 w 227165"/>
                    <a:gd name="connsiteY177" fmla="*/ 187860 h 280603"/>
                    <a:gd name="connsiteX178" fmla="*/ 164046 w 227165"/>
                    <a:gd name="connsiteY178" fmla="*/ 188691 h 280603"/>
                    <a:gd name="connsiteX179" fmla="*/ 163508 w 227165"/>
                    <a:gd name="connsiteY179" fmla="*/ 189783 h 280603"/>
                    <a:gd name="connsiteX180" fmla="*/ 162025 w 227165"/>
                    <a:gd name="connsiteY180" fmla="*/ 191983 h 280603"/>
                    <a:gd name="connsiteX181" fmla="*/ 162473 w 227165"/>
                    <a:gd name="connsiteY181" fmla="*/ 192945 h 280603"/>
                    <a:gd name="connsiteX182" fmla="*/ 163671 w 227165"/>
                    <a:gd name="connsiteY182" fmla="*/ 194159 h 280603"/>
                    <a:gd name="connsiteX183" fmla="*/ 164755 w 227165"/>
                    <a:gd name="connsiteY183" fmla="*/ 195626 h 280603"/>
                    <a:gd name="connsiteX184" fmla="*/ 166116 w 227165"/>
                    <a:gd name="connsiteY184" fmla="*/ 197973 h 280603"/>
                    <a:gd name="connsiteX185" fmla="*/ 168015 w 227165"/>
                    <a:gd name="connsiteY185" fmla="*/ 202097 h 280603"/>
                    <a:gd name="connsiteX186" fmla="*/ 169237 w 227165"/>
                    <a:gd name="connsiteY186" fmla="*/ 203792 h 280603"/>
                    <a:gd name="connsiteX187" fmla="*/ 170884 w 227165"/>
                    <a:gd name="connsiteY187" fmla="*/ 205544 h 280603"/>
                    <a:gd name="connsiteX188" fmla="*/ 172505 w 227165"/>
                    <a:gd name="connsiteY188" fmla="*/ 206881 h 280603"/>
                    <a:gd name="connsiteX189" fmla="*/ 175057 w 227165"/>
                    <a:gd name="connsiteY189" fmla="*/ 206840 h 280603"/>
                    <a:gd name="connsiteX190" fmla="*/ 177721 w 227165"/>
                    <a:gd name="connsiteY190" fmla="*/ 209391 h 280603"/>
                    <a:gd name="connsiteX191" fmla="*/ 180615 w 227165"/>
                    <a:gd name="connsiteY191" fmla="*/ 213075 h 280603"/>
                    <a:gd name="connsiteX192" fmla="*/ 182783 w 227165"/>
                    <a:gd name="connsiteY192" fmla="*/ 214762 h 280603"/>
                    <a:gd name="connsiteX193" fmla="*/ 184298 w 227165"/>
                    <a:gd name="connsiteY193" fmla="*/ 215275 h 280603"/>
                    <a:gd name="connsiteX194" fmla="*/ 185537 w 227165"/>
                    <a:gd name="connsiteY194" fmla="*/ 216604 h 280603"/>
                    <a:gd name="connsiteX195" fmla="*/ 186645 w 227165"/>
                    <a:gd name="connsiteY195" fmla="*/ 218503 h 280603"/>
                    <a:gd name="connsiteX196" fmla="*/ 187085 w 227165"/>
                    <a:gd name="connsiteY196" fmla="*/ 219603 h 280603"/>
                    <a:gd name="connsiteX197" fmla="*/ 188063 w 227165"/>
                    <a:gd name="connsiteY197" fmla="*/ 220401 h 280603"/>
                    <a:gd name="connsiteX198" fmla="*/ 190720 w 227165"/>
                    <a:gd name="connsiteY198" fmla="*/ 220247 h 280603"/>
                    <a:gd name="connsiteX199" fmla="*/ 194119 w 227165"/>
                    <a:gd name="connsiteY199" fmla="*/ 223254 h 280603"/>
                    <a:gd name="connsiteX200" fmla="*/ 196229 w 227165"/>
                    <a:gd name="connsiteY200" fmla="*/ 225446 h 280603"/>
                    <a:gd name="connsiteX201" fmla="*/ 197346 w 227165"/>
                    <a:gd name="connsiteY201" fmla="*/ 227206 h 280603"/>
                    <a:gd name="connsiteX202" fmla="*/ 197045 w 227165"/>
                    <a:gd name="connsiteY202" fmla="*/ 227907 h 280603"/>
                    <a:gd name="connsiteX203" fmla="*/ 196914 w 227165"/>
                    <a:gd name="connsiteY203" fmla="*/ 230108 h 280603"/>
                    <a:gd name="connsiteX204" fmla="*/ 196955 w 227165"/>
                    <a:gd name="connsiteY204" fmla="*/ 232447 h 280603"/>
                    <a:gd name="connsiteX205" fmla="*/ 196612 w 227165"/>
                    <a:gd name="connsiteY205" fmla="*/ 233677 h 280603"/>
                    <a:gd name="connsiteX206" fmla="*/ 195080 w 227165"/>
                    <a:gd name="connsiteY206" fmla="*/ 235299 h 280603"/>
                    <a:gd name="connsiteX207" fmla="*/ 194298 w 227165"/>
                    <a:gd name="connsiteY207" fmla="*/ 235650 h 280603"/>
                    <a:gd name="connsiteX208" fmla="*/ 193874 w 227165"/>
                    <a:gd name="connsiteY208" fmla="*/ 235992 h 280603"/>
                    <a:gd name="connsiteX209" fmla="*/ 189196 w 227165"/>
                    <a:gd name="connsiteY209" fmla="*/ 233881 h 280603"/>
                    <a:gd name="connsiteX210" fmla="*/ 188830 w 227165"/>
                    <a:gd name="connsiteY210" fmla="*/ 234240 h 280603"/>
                    <a:gd name="connsiteX211" fmla="*/ 188536 w 227165"/>
                    <a:gd name="connsiteY211" fmla="*/ 234509 h 280603"/>
                    <a:gd name="connsiteX212" fmla="*/ 187281 w 227165"/>
                    <a:gd name="connsiteY212" fmla="*/ 240645 h 280603"/>
                    <a:gd name="connsiteX213" fmla="*/ 186425 w 227165"/>
                    <a:gd name="connsiteY213" fmla="*/ 241819 h 280603"/>
                    <a:gd name="connsiteX214" fmla="*/ 185138 w 227165"/>
                    <a:gd name="connsiteY214" fmla="*/ 242903 h 280603"/>
                    <a:gd name="connsiteX215" fmla="*/ 182473 w 227165"/>
                    <a:gd name="connsiteY215" fmla="*/ 243962 h 280603"/>
                    <a:gd name="connsiteX216" fmla="*/ 180615 w 227165"/>
                    <a:gd name="connsiteY216" fmla="*/ 244402 h 280603"/>
                    <a:gd name="connsiteX217" fmla="*/ 179172 w 227165"/>
                    <a:gd name="connsiteY217" fmla="*/ 244924 h 280603"/>
                    <a:gd name="connsiteX218" fmla="*/ 174592 w 227165"/>
                    <a:gd name="connsiteY218" fmla="*/ 247491 h 280603"/>
                    <a:gd name="connsiteX219" fmla="*/ 172530 w 227165"/>
                    <a:gd name="connsiteY219" fmla="*/ 249023 h 280603"/>
                    <a:gd name="connsiteX220" fmla="*/ 171194 w 227165"/>
                    <a:gd name="connsiteY220" fmla="*/ 250963 h 280603"/>
                    <a:gd name="connsiteX221" fmla="*/ 171194 w 227165"/>
                    <a:gd name="connsiteY221" fmla="*/ 252071 h 280603"/>
                    <a:gd name="connsiteX222" fmla="*/ 173402 w 227165"/>
                    <a:gd name="connsiteY222" fmla="*/ 255347 h 280603"/>
                    <a:gd name="connsiteX223" fmla="*/ 175977 w 227165"/>
                    <a:gd name="connsiteY223" fmla="*/ 258721 h 280603"/>
                    <a:gd name="connsiteX224" fmla="*/ 175994 w 227165"/>
                    <a:gd name="connsiteY224" fmla="*/ 261688 h 280603"/>
                    <a:gd name="connsiteX225" fmla="*/ 174853 w 227165"/>
                    <a:gd name="connsiteY225" fmla="*/ 263905 h 280603"/>
                    <a:gd name="connsiteX226" fmla="*/ 174592 w 227165"/>
                    <a:gd name="connsiteY226" fmla="*/ 264760 h 280603"/>
                    <a:gd name="connsiteX227" fmla="*/ 175350 w 227165"/>
                    <a:gd name="connsiteY227" fmla="*/ 265086 h 280603"/>
                    <a:gd name="connsiteX228" fmla="*/ 176768 w 227165"/>
                    <a:gd name="connsiteY228" fmla="*/ 265209 h 280603"/>
                    <a:gd name="connsiteX229" fmla="*/ 177966 w 227165"/>
                    <a:gd name="connsiteY229" fmla="*/ 265592 h 280603"/>
                    <a:gd name="connsiteX230" fmla="*/ 178471 w 227165"/>
                    <a:gd name="connsiteY230" fmla="*/ 267156 h 280603"/>
                    <a:gd name="connsiteX231" fmla="*/ 178316 w 227165"/>
                    <a:gd name="connsiteY231" fmla="*/ 269870 h 280603"/>
                    <a:gd name="connsiteX232" fmla="*/ 177909 w 227165"/>
                    <a:gd name="connsiteY232" fmla="*/ 272413 h 280603"/>
                    <a:gd name="connsiteX233" fmla="*/ 177485 w 227165"/>
                    <a:gd name="connsiteY233" fmla="*/ 273481 h 280603"/>
                    <a:gd name="connsiteX234" fmla="*/ 176328 w 227165"/>
                    <a:gd name="connsiteY234" fmla="*/ 273570 h 280603"/>
                    <a:gd name="connsiteX235" fmla="*/ 174119 w 227165"/>
                    <a:gd name="connsiteY235" fmla="*/ 272470 h 280603"/>
                    <a:gd name="connsiteX236" fmla="*/ 172383 w 227165"/>
                    <a:gd name="connsiteY236" fmla="*/ 271199 h 280603"/>
                    <a:gd name="connsiteX237" fmla="*/ 171723 w 227165"/>
                    <a:gd name="connsiteY237" fmla="*/ 270408 h 280603"/>
                    <a:gd name="connsiteX238" fmla="*/ 171691 w 227165"/>
                    <a:gd name="connsiteY238" fmla="*/ 269463 h 280603"/>
                    <a:gd name="connsiteX239" fmla="*/ 172057 w 227165"/>
                    <a:gd name="connsiteY239" fmla="*/ 268876 h 280603"/>
                    <a:gd name="connsiteX240" fmla="*/ 171446 w 227165"/>
                    <a:gd name="connsiteY240" fmla="*/ 267719 h 280603"/>
                    <a:gd name="connsiteX241" fmla="*/ 169319 w 227165"/>
                    <a:gd name="connsiteY241" fmla="*/ 266643 h 280603"/>
                    <a:gd name="connsiteX242" fmla="*/ 167062 w 227165"/>
                    <a:gd name="connsiteY242" fmla="*/ 267116 h 280603"/>
                    <a:gd name="connsiteX243" fmla="*/ 165383 w 227165"/>
                    <a:gd name="connsiteY243" fmla="*/ 267833 h 280603"/>
                    <a:gd name="connsiteX244" fmla="*/ 164290 w 227165"/>
                    <a:gd name="connsiteY244" fmla="*/ 267792 h 280603"/>
                    <a:gd name="connsiteX245" fmla="*/ 163109 w 227165"/>
                    <a:gd name="connsiteY245" fmla="*/ 266765 h 280603"/>
                    <a:gd name="connsiteX246" fmla="*/ 161316 w 227165"/>
                    <a:gd name="connsiteY246" fmla="*/ 265975 h 280603"/>
                    <a:gd name="connsiteX247" fmla="*/ 158969 w 227165"/>
                    <a:gd name="connsiteY247" fmla="*/ 265453 h 280603"/>
                    <a:gd name="connsiteX248" fmla="*/ 157494 w 227165"/>
                    <a:gd name="connsiteY248" fmla="*/ 264899 h 280603"/>
                    <a:gd name="connsiteX249" fmla="*/ 157184 w 227165"/>
                    <a:gd name="connsiteY249" fmla="*/ 265233 h 280603"/>
                    <a:gd name="connsiteX250" fmla="*/ 157355 w 227165"/>
                    <a:gd name="connsiteY250" fmla="*/ 267458 h 280603"/>
                    <a:gd name="connsiteX251" fmla="*/ 156907 w 227165"/>
                    <a:gd name="connsiteY251" fmla="*/ 268428 h 280603"/>
                    <a:gd name="connsiteX252" fmla="*/ 145269 w 227165"/>
                    <a:gd name="connsiteY252" fmla="*/ 269715 h 280603"/>
                    <a:gd name="connsiteX253" fmla="*/ 141732 w 227165"/>
                    <a:gd name="connsiteY253" fmla="*/ 270922 h 280603"/>
                    <a:gd name="connsiteX254" fmla="*/ 139149 w 227165"/>
                    <a:gd name="connsiteY254" fmla="*/ 272486 h 280603"/>
                    <a:gd name="connsiteX255" fmla="*/ 137250 w 227165"/>
                    <a:gd name="connsiteY255" fmla="*/ 273163 h 280603"/>
                    <a:gd name="connsiteX256" fmla="*/ 136777 w 227165"/>
                    <a:gd name="connsiteY256" fmla="*/ 274124 h 280603"/>
                    <a:gd name="connsiteX257" fmla="*/ 134886 w 227165"/>
                    <a:gd name="connsiteY257" fmla="*/ 275388 h 280603"/>
                    <a:gd name="connsiteX258" fmla="*/ 132751 w 227165"/>
                    <a:gd name="connsiteY258" fmla="*/ 275787 h 280603"/>
                    <a:gd name="connsiteX259" fmla="*/ 132238 w 227165"/>
                    <a:gd name="connsiteY259" fmla="*/ 275380 h 280603"/>
                    <a:gd name="connsiteX260" fmla="*/ 130877 w 227165"/>
                    <a:gd name="connsiteY260" fmla="*/ 275966 h 280603"/>
                    <a:gd name="connsiteX261" fmla="*/ 128546 w 227165"/>
                    <a:gd name="connsiteY261" fmla="*/ 276520 h 280603"/>
                    <a:gd name="connsiteX262" fmla="*/ 127030 w 227165"/>
                    <a:gd name="connsiteY262" fmla="*/ 276349 h 280603"/>
                    <a:gd name="connsiteX263" fmla="*/ 126313 w 227165"/>
                    <a:gd name="connsiteY263" fmla="*/ 275331 h 280603"/>
                    <a:gd name="connsiteX264" fmla="*/ 124870 w 227165"/>
                    <a:gd name="connsiteY264" fmla="*/ 273766 h 280603"/>
                    <a:gd name="connsiteX265" fmla="*/ 124292 w 227165"/>
                    <a:gd name="connsiteY265" fmla="*/ 272682 h 280603"/>
                    <a:gd name="connsiteX266" fmla="*/ 124349 w 227165"/>
                    <a:gd name="connsiteY266" fmla="*/ 271989 h 280603"/>
                    <a:gd name="connsiteX267" fmla="*/ 121097 w 227165"/>
                    <a:gd name="connsiteY267" fmla="*/ 271851 h 280603"/>
                    <a:gd name="connsiteX268" fmla="*/ 119035 w 227165"/>
                    <a:gd name="connsiteY268" fmla="*/ 271028 h 280603"/>
                    <a:gd name="connsiteX269" fmla="*/ 114675 w 227165"/>
                    <a:gd name="connsiteY269" fmla="*/ 271215 h 280603"/>
                    <a:gd name="connsiteX270" fmla="*/ 113599 w 227165"/>
                    <a:gd name="connsiteY270" fmla="*/ 270865 h 280603"/>
                    <a:gd name="connsiteX271" fmla="*/ 113371 w 227165"/>
                    <a:gd name="connsiteY271" fmla="*/ 271240 h 280603"/>
                    <a:gd name="connsiteX272" fmla="*/ 112719 w 227165"/>
                    <a:gd name="connsiteY272" fmla="*/ 275681 h 280603"/>
                    <a:gd name="connsiteX273" fmla="*/ 111855 w 227165"/>
                    <a:gd name="connsiteY273" fmla="*/ 277490 h 280603"/>
                    <a:gd name="connsiteX274" fmla="*/ 110470 w 227165"/>
                    <a:gd name="connsiteY274" fmla="*/ 279373 h 280603"/>
                    <a:gd name="connsiteX275" fmla="*/ 108677 w 227165"/>
                    <a:gd name="connsiteY275" fmla="*/ 280416 h 280603"/>
                    <a:gd name="connsiteX276" fmla="*/ 107242 w 227165"/>
                    <a:gd name="connsiteY276" fmla="*/ 280603 h 280603"/>
                    <a:gd name="connsiteX277" fmla="*/ 107316 w 227165"/>
                    <a:gd name="connsiteY277" fmla="*/ 279234 h 280603"/>
                    <a:gd name="connsiteX278" fmla="*/ 107675 w 227165"/>
                    <a:gd name="connsiteY278" fmla="*/ 277580 h 280603"/>
                    <a:gd name="connsiteX279" fmla="*/ 106647 w 227165"/>
                    <a:gd name="connsiteY279" fmla="*/ 277197 h 280603"/>
                    <a:gd name="connsiteX280" fmla="*/ 105099 w 227165"/>
                    <a:gd name="connsiteY280" fmla="*/ 277009 h 280603"/>
                    <a:gd name="connsiteX281" fmla="*/ 104357 w 227165"/>
                    <a:gd name="connsiteY281" fmla="*/ 276520 h 280603"/>
                    <a:gd name="connsiteX282" fmla="*/ 104553 w 227165"/>
                    <a:gd name="connsiteY282" fmla="*/ 275265 h 280603"/>
                    <a:gd name="connsiteX283" fmla="*/ 104186 w 227165"/>
                    <a:gd name="connsiteY283" fmla="*/ 274532 h 280603"/>
                    <a:gd name="connsiteX284" fmla="*/ 103550 w 227165"/>
                    <a:gd name="connsiteY284" fmla="*/ 273652 h 280603"/>
                    <a:gd name="connsiteX285" fmla="*/ 102002 w 227165"/>
                    <a:gd name="connsiteY285" fmla="*/ 272519 h 280603"/>
                    <a:gd name="connsiteX286" fmla="*/ 98718 w 227165"/>
                    <a:gd name="connsiteY286" fmla="*/ 270840 h 280603"/>
                    <a:gd name="connsiteX287" fmla="*/ 96477 w 227165"/>
                    <a:gd name="connsiteY287" fmla="*/ 270009 h 280603"/>
                    <a:gd name="connsiteX288" fmla="*/ 95637 w 227165"/>
                    <a:gd name="connsiteY288" fmla="*/ 270897 h 280603"/>
                    <a:gd name="connsiteX289" fmla="*/ 94048 w 227165"/>
                    <a:gd name="connsiteY289" fmla="*/ 271785 h 280603"/>
                    <a:gd name="connsiteX290" fmla="*/ 91522 w 227165"/>
                    <a:gd name="connsiteY290" fmla="*/ 271492 h 280603"/>
                    <a:gd name="connsiteX291" fmla="*/ 90902 w 227165"/>
                    <a:gd name="connsiteY291" fmla="*/ 271842 h 280603"/>
                    <a:gd name="connsiteX292" fmla="*/ 86591 w 227165"/>
                    <a:gd name="connsiteY292" fmla="*/ 269178 h 280603"/>
                    <a:gd name="connsiteX293" fmla="*/ 82443 w 227165"/>
                    <a:gd name="connsiteY293" fmla="*/ 266610 h 280603"/>
                    <a:gd name="connsiteX294" fmla="*/ 81074 w 227165"/>
                    <a:gd name="connsiteY294" fmla="*/ 266610 h 280603"/>
                    <a:gd name="connsiteX295" fmla="*/ 74961 w 227165"/>
                    <a:gd name="connsiteY295" fmla="*/ 267124 h 280603"/>
                    <a:gd name="connsiteX296" fmla="*/ 74790 w 227165"/>
                    <a:gd name="connsiteY296" fmla="*/ 266896 h 280603"/>
                    <a:gd name="connsiteX297" fmla="*/ 73715 w 227165"/>
                    <a:gd name="connsiteY297" fmla="*/ 265429 h 280603"/>
                    <a:gd name="connsiteX298" fmla="*/ 72786 w 227165"/>
                    <a:gd name="connsiteY298" fmla="*/ 264964 h 280603"/>
                    <a:gd name="connsiteX299" fmla="*/ 72215 w 227165"/>
                    <a:gd name="connsiteY299" fmla="*/ 265200 h 280603"/>
                    <a:gd name="connsiteX300" fmla="*/ 71832 w 227165"/>
                    <a:gd name="connsiteY300" fmla="*/ 265624 h 280603"/>
                    <a:gd name="connsiteX301" fmla="*/ 71172 w 227165"/>
                    <a:gd name="connsiteY301" fmla="*/ 265559 h 280603"/>
                    <a:gd name="connsiteX302" fmla="*/ 68434 w 227165"/>
                    <a:gd name="connsiteY302" fmla="*/ 263188 h 280603"/>
                    <a:gd name="connsiteX303" fmla="*/ 67317 w 227165"/>
                    <a:gd name="connsiteY303" fmla="*/ 262845 h 280603"/>
                    <a:gd name="connsiteX304" fmla="*/ 65760 w 227165"/>
                    <a:gd name="connsiteY304" fmla="*/ 263163 h 280603"/>
                    <a:gd name="connsiteX305" fmla="*/ 63918 w 227165"/>
                    <a:gd name="connsiteY305" fmla="*/ 264443 h 280603"/>
                    <a:gd name="connsiteX306" fmla="*/ 63112 w 227165"/>
                    <a:gd name="connsiteY306" fmla="*/ 265999 h 280603"/>
                    <a:gd name="connsiteX307" fmla="*/ 63356 w 227165"/>
                    <a:gd name="connsiteY307" fmla="*/ 266896 h 280603"/>
                    <a:gd name="connsiteX308" fmla="*/ 64309 w 227165"/>
                    <a:gd name="connsiteY308" fmla="*/ 267287 h 280603"/>
                    <a:gd name="connsiteX309" fmla="*/ 66804 w 227165"/>
                    <a:gd name="connsiteY309" fmla="*/ 267026 h 280603"/>
                    <a:gd name="connsiteX310" fmla="*/ 67170 w 227165"/>
                    <a:gd name="connsiteY310" fmla="*/ 267279 h 280603"/>
                    <a:gd name="connsiteX311" fmla="*/ 67260 w 227165"/>
                    <a:gd name="connsiteY311" fmla="*/ 267784 h 280603"/>
                    <a:gd name="connsiteX312" fmla="*/ 66983 w 227165"/>
                    <a:gd name="connsiteY312" fmla="*/ 268273 h 280603"/>
                    <a:gd name="connsiteX313" fmla="*/ 64962 w 227165"/>
                    <a:gd name="connsiteY313" fmla="*/ 268680 h 280603"/>
                    <a:gd name="connsiteX314" fmla="*/ 64375 w 227165"/>
                    <a:gd name="connsiteY314" fmla="*/ 269267 h 280603"/>
                    <a:gd name="connsiteX315" fmla="*/ 63780 w 227165"/>
                    <a:gd name="connsiteY315" fmla="*/ 269414 h 280603"/>
                    <a:gd name="connsiteX316" fmla="*/ 63397 w 227165"/>
                    <a:gd name="connsiteY316" fmla="*/ 269504 h 280603"/>
                    <a:gd name="connsiteX317" fmla="*/ 61245 w 227165"/>
                    <a:gd name="connsiteY317" fmla="*/ 268884 h 280603"/>
                    <a:gd name="connsiteX318" fmla="*/ 58018 w 227165"/>
                    <a:gd name="connsiteY318" fmla="*/ 268884 h 280603"/>
                    <a:gd name="connsiteX319" fmla="*/ 55434 w 227165"/>
                    <a:gd name="connsiteY319" fmla="*/ 269984 h 280603"/>
                    <a:gd name="connsiteX320" fmla="*/ 51303 w 227165"/>
                    <a:gd name="connsiteY320" fmla="*/ 270424 h 280603"/>
                    <a:gd name="connsiteX321" fmla="*/ 45622 w 227165"/>
                    <a:gd name="connsiteY321" fmla="*/ 270204 h 280603"/>
                    <a:gd name="connsiteX322" fmla="*/ 43577 w 227165"/>
                    <a:gd name="connsiteY322" fmla="*/ 269389 h 280603"/>
                    <a:gd name="connsiteX323" fmla="*/ 42338 w 227165"/>
                    <a:gd name="connsiteY323" fmla="*/ 268892 h 280603"/>
                    <a:gd name="connsiteX324" fmla="*/ 41442 w 227165"/>
                    <a:gd name="connsiteY324" fmla="*/ 266488 h 280603"/>
                    <a:gd name="connsiteX325" fmla="*/ 41670 w 227165"/>
                    <a:gd name="connsiteY325" fmla="*/ 262919 h 280603"/>
                    <a:gd name="connsiteX326" fmla="*/ 43031 w 227165"/>
                    <a:gd name="connsiteY326" fmla="*/ 258192 h 280603"/>
                    <a:gd name="connsiteX327" fmla="*/ 43397 w 227165"/>
                    <a:gd name="connsiteY327" fmla="*/ 254712 h 280603"/>
                    <a:gd name="connsiteX328" fmla="*/ 42803 w 227165"/>
                    <a:gd name="connsiteY328" fmla="*/ 252495 h 280603"/>
                    <a:gd name="connsiteX329" fmla="*/ 43609 w 227165"/>
                    <a:gd name="connsiteY329" fmla="*/ 249170 h 280603"/>
                    <a:gd name="connsiteX330" fmla="*/ 45818 w 227165"/>
                    <a:gd name="connsiteY330" fmla="*/ 244753 h 280603"/>
                    <a:gd name="connsiteX331" fmla="*/ 47293 w 227165"/>
                    <a:gd name="connsiteY331" fmla="*/ 240075 h 280603"/>
                    <a:gd name="connsiteX332" fmla="*/ 48026 w 227165"/>
                    <a:gd name="connsiteY332" fmla="*/ 235152 h 280603"/>
                    <a:gd name="connsiteX333" fmla="*/ 49102 w 227165"/>
                    <a:gd name="connsiteY333" fmla="*/ 231933 h 280603"/>
                    <a:gd name="connsiteX334" fmla="*/ 51205 w 227165"/>
                    <a:gd name="connsiteY334" fmla="*/ 229676 h 280603"/>
                    <a:gd name="connsiteX335" fmla="*/ 56193 w 227165"/>
                    <a:gd name="connsiteY335" fmla="*/ 223376 h 280603"/>
                    <a:gd name="connsiteX336" fmla="*/ 56608 w 227165"/>
                    <a:gd name="connsiteY336" fmla="*/ 222895 h 280603"/>
                    <a:gd name="connsiteX337" fmla="*/ 56462 w 227165"/>
                    <a:gd name="connsiteY337" fmla="*/ 219749 h 280603"/>
                    <a:gd name="connsiteX338" fmla="*/ 55125 w 227165"/>
                    <a:gd name="connsiteY338" fmla="*/ 219301 h 280603"/>
                    <a:gd name="connsiteX339" fmla="*/ 53153 w 227165"/>
                    <a:gd name="connsiteY339" fmla="*/ 218397 h 280603"/>
                    <a:gd name="connsiteX340" fmla="*/ 48149 w 227165"/>
                    <a:gd name="connsiteY340" fmla="*/ 217272 h 280603"/>
                    <a:gd name="connsiteX341" fmla="*/ 43479 w 227165"/>
                    <a:gd name="connsiteY341" fmla="*/ 216555 h 280603"/>
                    <a:gd name="connsiteX342" fmla="*/ 41360 w 227165"/>
                    <a:gd name="connsiteY342" fmla="*/ 215666 h 280603"/>
                    <a:gd name="connsiteX343" fmla="*/ 39494 w 227165"/>
                    <a:gd name="connsiteY343" fmla="*/ 213287 h 280603"/>
                    <a:gd name="connsiteX344" fmla="*/ 38345 w 227165"/>
                    <a:gd name="connsiteY344" fmla="*/ 213254 h 280603"/>
                    <a:gd name="connsiteX345" fmla="*/ 36095 w 227165"/>
                    <a:gd name="connsiteY345" fmla="*/ 214110 h 280603"/>
                    <a:gd name="connsiteX346" fmla="*/ 33284 w 227165"/>
                    <a:gd name="connsiteY346" fmla="*/ 214680 h 280603"/>
                    <a:gd name="connsiteX347" fmla="*/ 31230 w 227165"/>
                    <a:gd name="connsiteY347" fmla="*/ 214175 h 280603"/>
                    <a:gd name="connsiteX348" fmla="*/ 29951 w 227165"/>
                    <a:gd name="connsiteY348" fmla="*/ 214273 h 280603"/>
                    <a:gd name="connsiteX349" fmla="*/ 29233 w 227165"/>
                    <a:gd name="connsiteY349" fmla="*/ 214713 h 280603"/>
                    <a:gd name="connsiteX350" fmla="*/ 28866 w 227165"/>
                    <a:gd name="connsiteY350" fmla="*/ 214322 h 280603"/>
                    <a:gd name="connsiteX351" fmla="*/ 28361 w 227165"/>
                    <a:gd name="connsiteY351" fmla="*/ 212276 h 280603"/>
                    <a:gd name="connsiteX352" fmla="*/ 27293 w 227165"/>
                    <a:gd name="connsiteY352" fmla="*/ 211746 h 280603"/>
                    <a:gd name="connsiteX353" fmla="*/ 25631 w 227165"/>
                    <a:gd name="connsiteY353" fmla="*/ 211282 h 280603"/>
                    <a:gd name="connsiteX354" fmla="*/ 24588 w 227165"/>
                    <a:gd name="connsiteY354" fmla="*/ 211477 h 280603"/>
                    <a:gd name="connsiteX355" fmla="*/ 23871 w 227165"/>
                    <a:gd name="connsiteY355" fmla="*/ 212496 h 280603"/>
                    <a:gd name="connsiteX356" fmla="*/ 22770 w 227165"/>
                    <a:gd name="connsiteY356" fmla="*/ 213205 h 280603"/>
                    <a:gd name="connsiteX357" fmla="*/ 21760 w 227165"/>
                    <a:gd name="connsiteY357" fmla="*/ 212985 h 280603"/>
                    <a:gd name="connsiteX358" fmla="*/ 18590 w 227165"/>
                    <a:gd name="connsiteY358" fmla="*/ 208266 h 280603"/>
                    <a:gd name="connsiteX359" fmla="*/ 17758 w 227165"/>
                    <a:gd name="connsiteY359" fmla="*/ 207223 h 280603"/>
                    <a:gd name="connsiteX360" fmla="*/ 17563 w 227165"/>
                    <a:gd name="connsiteY360" fmla="*/ 206262 h 280603"/>
                    <a:gd name="connsiteX361" fmla="*/ 16764 w 227165"/>
                    <a:gd name="connsiteY361" fmla="*/ 204501 h 280603"/>
                    <a:gd name="connsiteX362" fmla="*/ 14881 w 227165"/>
                    <a:gd name="connsiteY362" fmla="*/ 202749 h 280603"/>
                    <a:gd name="connsiteX363" fmla="*/ 12999 w 227165"/>
                    <a:gd name="connsiteY363" fmla="*/ 202195 h 280603"/>
                    <a:gd name="connsiteX364" fmla="*/ 12062 w 227165"/>
                    <a:gd name="connsiteY364" fmla="*/ 202390 h 280603"/>
                    <a:gd name="connsiteX365" fmla="*/ 12168 w 227165"/>
                    <a:gd name="connsiteY365" fmla="*/ 200214 h 280603"/>
                    <a:gd name="connsiteX366" fmla="*/ 12910 w 227165"/>
                    <a:gd name="connsiteY366" fmla="*/ 197061 h 280603"/>
                    <a:gd name="connsiteX367" fmla="*/ 13618 w 227165"/>
                    <a:gd name="connsiteY367" fmla="*/ 195414 h 280603"/>
                    <a:gd name="connsiteX368" fmla="*/ 14556 w 227165"/>
                    <a:gd name="connsiteY368" fmla="*/ 194062 h 280603"/>
                    <a:gd name="connsiteX369" fmla="*/ 15550 w 227165"/>
                    <a:gd name="connsiteY369" fmla="*/ 193132 h 280603"/>
                    <a:gd name="connsiteX370" fmla="*/ 15770 w 227165"/>
                    <a:gd name="connsiteY370" fmla="*/ 191437 h 280603"/>
                    <a:gd name="connsiteX371" fmla="*/ 15607 w 227165"/>
                    <a:gd name="connsiteY371" fmla="*/ 189832 h 280603"/>
                    <a:gd name="connsiteX372" fmla="*/ 14450 w 227165"/>
                    <a:gd name="connsiteY372" fmla="*/ 189587 h 280603"/>
                    <a:gd name="connsiteX373" fmla="*/ 11581 w 227165"/>
                    <a:gd name="connsiteY373" fmla="*/ 188365 h 280603"/>
                    <a:gd name="connsiteX374" fmla="*/ 9878 w 227165"/>
                    <a:gd name="connsiteY374" fmla="*/ 187126 h 280603"/>
                    <a:gd name="connsiteX375" fmla="*/ 8614 w 227165"/>
                    <a:gd name="connsiteY375" fmla="*/ 185561 h 280603"/>
                    <a:gd name="connsiteX376" fmla="*/ 6960 w 227165"/>
                    <a:gd name="connsiteY376" fmla="*/ 183410 h 280603"/>
                    <a:gd name="connsiteX377" fmla="*/ 6251 w 227165"/>
                    <a:gd name="connsiteY377" fmla="*/ 181209 h 280603"/>
                    <a:gd name="connsiteX378" fmla="*/ 6210 w 227165"/>
                    <a:gd name="connsiteY378" fmla="*/ 179025 h 280603"/>
                    <a:gd name="connsiteX379" fmla="*/ 6414 w 227165"/>
                    <a:gd name="connsiteY379" fmla="*/ 178047 h 280603"/>
                    <a:gd name="connsiteX380" fmla="*/ 6528 w 227165"/>
                    <a:gd name="connsiteY380" fmla="*/ 177379 h 280603"/>
                    <a:gd name="connsiteX381" fmla="*/ 7865 w 227165"/>
                    <a:gd name="connsiteY381" fmla="*/ 173972 h 280603"/>
                    <a:gd name="connsiteX382" fmla="*/ 12567 w 227165"/>
                    <a:gd name="connsiteY382" fmla="*/ 170916 h 280603"/>
                    <a:gd name="connsiteX383" fmla="*/ 12053 w 227165"/>
                    <a:gd name="connsiteY383" fmla="*/ 167844 h 280603"/>
                    <a:gd name="connsiteX384" fmla="*/ 11980 w 227165"/>
                    <a:gd name="connsiteY384" fmla="*/ 165961 h 280603"/>
                    <a:gd name="connsiteX385" fmla="*/ 10839 w 227165"/>
                    <a:gd name="connsiteY385" fmla="*/ 164731 h 280603"/>
                    <a:gd name="connsiteX386" fmla="*/ 8566 w 227165"/>
                    <a:gd name="connsiteY386" fmla="*/ 164225 h 280603"/>
                    <a:gd name="connsiteX387" fmla="*/ 7971 w 227165"/>
                    <a:gd name="connsiteY387" fmla="*/ 163378 h 280603"/>
                    <a:gd name="connsiteX388" fmla="*/ 7710 w 227165"/>
                    <a:gd name="connsiteY388" fmla="*/ 162538 h 280603"/>
                    <a:gd name="connsiteX389" fmla="*/ 9380 w 227165"/>
                    <a:gd name="connsiteY389" fmla="*/ 160664 h 280603"/>
                    <a:gd name="connsiteX390" fmla="*/ 7359 w 227165"/>
                    <a:gd name="connsiteY390" fmla="*/ 159172 h 280603"/>
                    <a:gd name="connsiteX391" fmla="*/ 6504 w 227165"/>
                    <a:gd name="connsiteY391" fmla="*/ 157632 h 280603"/>
                    <a:gd name="connsiteX392" fmla="*/ 3684 w 227165"/>
                    <a:gd name="connsiteY392" fmla="*/ 155693 h 280603"/>
                    <a:gd name="connsiteX393" fmla="*/ 3382 w 227165"/>
                    <a:gd name="connsiteY393" fmla="*/ 155016 h 280603"/>
                    <a:gd name="connsiteX394" fmla="*/ 4735 w 227165"/>
                    <a:gd name="connsiteY394" fmla="*/ 149352 h 280603"/>
                    <a:gd name="connsiteX395" fmla="*/ 3708 w 227165"/>
                    <a:gd name="connsiteY395" fmla="*/ 147698 h 280603"/>
                    <a:gd name="connsiteX396" fmla="*/ 2420 w 227165"/>
                    <a:gd name="connsiteY396" fmla="*/ 146850 h 280603"/>
                    <a:gd name="connsiteX397" fmla="*/ 921 w 227165"/>
                    <a:gd name="connsiteY397" fmla="*/ 146434 h 280603"/>
                    <a:gd name="connsiteX398" fmla="*/ 245 w 227165"/>
                    <a:gd name="connsiteY398" fmla="*/ 145644 h 280603"/>
                    <a:gd name="connsiteX399" fmla="*/ 0 w 227165"/>
                    <a:gd name="connsiteY399" fmla="*/ 144739 h 280603"/>
                    <a:gd name="connsiteX400" fmla="*/ 269 w 227165"/>
                    <a:gd name="connsiteY400" fmla="*/ 144185 h 280603"/>
                    <a:gd name="connsiteX401" fmla="*/ 2037 w 227165"/>
                    <a:gd name="connsiteY401" fmla="*/ 144356 h 280603"/>
                    <a:gd name="connsiteX402" fmla="*/ 2559 w 227165"/>
                    <a:gd name="connsiteY402" fmla="*/ 143769 h 280603"/>
                    <a:gd name="connsiteX403" fmla="*/ 6756 w 227165"/>
                    <a:gd name="connsiteY403" fmla="*/ 140436 h 280603"/>
                    <a:gd name="connsiteX404" fmla="*/ 6928 w 227165"/>
                    <a:gd name="connsiteY404" fmla="*/ 139792 h 280603"/>
                    <a:gd name="connsiteX405" fmla="*/ 6357 w 227165"/>
                    <a:gd name="connsiteY405" fmla="*/ 139426 h 280603"/>
                    <a:gd name="connsiteX406" fmla="*/ 5583 w 227165"/>
                    <a:gd name="connsiteY406" fmla="*/ 139230 h 280603"/>
                    <a:gd name="connsiteX407" fmla="*/ 5396 w 227165"/>
                    <a:gd name="connsiteY407" fmla="*/ 138537 h 280603"/>
                    <a:gd name="connsiteX408" fmla="*/ 5428 w 227165"/>
                    <a:gd name="connsiteY408" fmla="*/ 137608 h 280603"/>
                    <a:gd name="connsiteX409" fmla="*/ 7661 w 227165"/>
                    <a:gd name="connsiteY409" fmla="*/ 132784 h 280603"/>
                    <a:gd name="connsiteX410" fmla="*/ 8329 w 227165"/>
                    <a:gd name="connsiteY410" fmla="*/ 130730 h 280603"/>
                    <a:gd name="connsiteX411" fmla="*/ 8476 w 227165"/>
                    <a:gd name="connsiteY411" fmla="*/ 129279 h 280603"/>
                    <a:gd name="connsiteX412" fmla="*/ 8337 w 227165"/>
                    <a:gd name="connsiteY412" fmla="*/ 127845 h 280603"/>
                    <a:gd name="connsiteX413" fmla="*/ 7049 w 227165"/>
                    <a:gd name="connsiteY413" fmla="*/ 125587 h 280603"/>
                    <a:gd name="connsiteX414" fmla="*/ 5803 w 227165"/>
                    <a:gd name="connsiteY414" fmla="*/ 123786 h 280603"/>
                    <a:gd name="connsiteX415" fmla="*/ 5754 w 227165"/>
                    <a:gd name="connsiteY415" fmla="*/ 122352 h 280603"/>
                    <a:gd name="connsiteX416" fmla="*/ 4849 w 227165"/>
                    <a:gd name="connsiteY416" fmla="*/ 121594 h 280603"/>
                    <a:gd name="connsiteX417" fmla="*/ 2266 w 227165"/>
                    <a:gd name="connsiteY417" fmla="*/ 117747 h 280603"/>
                    <a:gd name="connsiteX418" fmla="*/ 2274 w 227165"/>
                    <a:gd name="connsiteY418" fmla="*/ 116248 h 280603"/>
                    <a:gd name="connsiteX419" fmla="*/ 3741 w 227165"/>
                    <a:gd name="connsiteY419" fmla="*/ 115099 h 280603"/>
                    <a:gd name="connsiteX420" fmla="*/ 5779 w 227165"/>
                    <a:gd name="connsiteY420" fmla="*/ 114357 h 280603"/>
                    <a:gd name="connsiteX421" fmla="*/ 6463 w 227165"/>
                    <a:gd name="connsiteY421" fmla="*/ 113746 h 280603"/>
                    <a:gd name="connsiteX422" fmla="*/ 7677 w 227165"/>
                    <a:gd name="connsiteY422" fmla="*/ 113363 h 280603"/>
                    <a:gd name="connsiteX423" fmla="*/ 10912 w 227165"/>
                    <a:gd name="connsiteY423" fmla="*/ 114471 h 280603"/>
                    <a:gd name="connsiteX424" fmla="*/ 12363 w 227165"/>
                    <a:gd name="connsiteY424" fmla="*/ 115433 h 280603"/>
                    <a:gd name="connsiteX425" fmla="*/ 12779 w 227165"/>
                    <a:gd name="connsiteY425" fmla="*/ 115237 h 280603"/>
                    <a:gd name="connsiteX426" fmla="*/ 14091 w 227165"/>
                    <a:gd name="connsiteY426" fmla="*/ 114194 h 280603"/>
                    <a:gd name="connsiteX427" fmla="*/ 16381 w 227165"/>
                    <a:gd name="connsiteY427" fmla="*/ 114357 h 280603"/>
                    <a:gd name="connsiteX428" fmla="*/ 21939 w 227165"/>
                    <a:gd name="connsiteY428" fmla="*/ 112254 h 280603"/>
                    <a:gd name="connsiteX429" fmla="*/ 22770 w 227165"/>
                    <a:gd name="connsiteY429" fmla="*/ 111236 h 280603"/>
                    <a:gd name="connsiteX430" fmla="*/ 23406 w 227165"/>
                    <a:gd name="connsiteY430" fmla="*/ 110160 h 280603"/>
                    <a:gd name="connsiteX431" fmla="*/ 23455 w 227165"/>
                    <a:gd name="connsiteY431" fmla="*/ 109687 h 280603"/>
                    <a:gd name="connsiteX432" fmla="*/ 21296 w 227165"/>
                    <a:gd name="connsiteY432" fmla="*/ 107609 h 280603"/>
                    <a:gd name="connsiteX433" fmla="*/ 21230 w 227165"/>
                    <a:gd name="connsiteY433" fmla="*/ 106843 h 280603"/>
                    <a:gd name="connsiteX434" fmla="*/ 21515 w 227165"/>
                    <a:gd name="connsiteY434" fmla="*/ 105987 h 280603"/>
                    <a:gd name="connsiteX435" fmla="*/ 22118 w 227165"/>
                    <a:gd name="connsiteY435" fmla="*/ 105303 h 280603"/>
                    <a:gd name="connsiteX436" fmla="*/ 23382 w 227165"/>
                    <a:gd name="connsiteY436" fmla="*/ 104830 h 280603"/>
                    <a:gd name="connsiteX437" fmla="*/ 24735 w 227165"/>
                    <a:gd name="connsiteY437" fmla="*/ 103917 h 280603"/>
                    <a:gd name="connsiteX438" fmla="*/ 27766 w 227165"/>
                    <a:gd name="connsiteY438" fmla="*/ 101334 h 280603"/>
                    <a:gd name="connsiteX439" fmla="*/ 28818 w 227165"/>
                    <a:gd name="connsiteY439" fmla="*/ 99084 h 280603"/>
                    <a:gd name="connsiteX440" fmla="*/ 29135 w 227165"/>
                    <a:gd name="connsiteY440" fmla="*/ 96656 h 280603"/>
                    <a:gd name="connsiteX441" fmla="*/ 29201 w 227165"/>
                    <a:gd name="connsiteY441" fmla="*/ 94847 h 280603"/>
                    <a:gd name="connsiteX442" fmla="*/ 28369 w 227165"/>
                    <a:gd name="connsiteY442" fmla="*/ 93404 h 280603"/>
                    <a:gd name="connsiteX443" fmla="*/ 27530 w 227165"/>
                    <a:gd name="connsiteY443" fmla="*/ 92475 h 280603"/>
                    <a:gd name="connsiteX444" fmla="*/ 26381 w 227165"/>
                    <a:gd name="connsiteY444" fmla="*/ 92614 h 280603"/>
                    <a:gd name="connsiteX445" fmla="*/ 24164 w 227165"/>
                    <a:gd name="connsiteY445" fmla="*/ 92540 h 280603"/>
                    <a:gd name="connsiteX446" fmla="*/ 22086 w 227165"/>
                    <a:gd name="connsiteY446" fmla="*/ 91733 h 280603"/>
                    <a:gd name="connsiteX447" fmla="*/ 20953 w 227165"/>
                    <a:gd name="connsiteY447" fmla="*/ 90421 h 280603"/>
                    <a:gd name="connsiteX448" fmla="*/ 20676 w 227165"/>
                    <a:gd name="connsiteY448" fmla="*/ 89264 h 280603"/>
                    <a:gd name="connsiteX449" fmla="*/ 21181 w 227165"/>
                    <a:gd name="connsiteY449" fmla="*/ 88539 h 280603"/>
                    <a:gd name="connsiteX450" fmla="*/ 21344 w 227165"/>
                    <a:gd name="connsiteY450" fmla="*/ 87659 h 280603"/>
                    <a:gd name="connsiteX451" fmla="*/ 21010 w 227165"/>
                    <a:gd name="connsiteY451" fmla="*/ 86762 h 280603"/>
                    <a:gd name="connsiteX452" fmla="*/ 21149 w 227165"/>
                    <a:gd name="connsiteY452" fmla="*/ 86012 h 280603"/>
                    <a:gd name="connsiteX453" fmla="*/ 22078 w 227165"/>
                    <a:gd name="connsiteY453" fmla="*/ 85409 h 280603"/>
                    <a:gd name="connsiteX454" fmla="*/ 28654 w 227165"/>
                    <a:gd name="connsiteY454" fmla="*/ 85426 h 280603"/>
                    <a:gd name="connsiteX455" fmla="*/ 29152 w 227165"/>
                    <a:gd name="connsiteY455" fmla="*/ 84757 h 280603"/>
                    <a:gd name="connsiteX456" fmla="*/ 29592 w 227165"/>
                    <a:gd name="connsiteY456" fmla="*/ 81277 h 280603"/>
                    <a:gd name="connsiteX457" fmla="*/ 31230 w 227165"/>
                    <a:gd name="connsiteY457" fmla="*/ 75972 h 280603"/>
                    <a:gd name="connsiteX458" fmla="*/ 32779 w 227165"/>
                    <a:gd name="connsiteY458" fmla="*/ 73013 h 280603"/>
                    <a:gd name="connsiteX459" fmla="*/ 33031 w 227165"/>
                    <a:gd name="connsiteY459" fmla="*/ 71775 h 280603"/>
                    <a:gd name="connsiteX460" fmla="*/ 33007 w 227165"/>
                    <a:gd name="connsiteY460" fmla="*/ 64750 h 280603"/>
                    <a:gd name="connsiteX461" fmla="*/ 33210 w 227165"/>
                    <a:gd name="connsiteY461" fmla="*/ 61188 h 280603"/>
                    <a:gd name="connsiteX462" fmla="*/ 32086 w 227165"/>
                    <a:gd name="connsiteY462" fmla="*/ 59509 h 280603"/>
                    <a:gd name="connsiteX463" fmla="*/ 29641 w 227165"/>
                    <a:gd name="connsiteY463" fmla="*/ 57684 h 280603"/>
                    <a:gd name="connsiteX464" fmla="*/ 30146 w 227165"/>
                    <a:gd name="connsiteY464" fmla="*/ 53862 h 280603"/>
                    <a:gd name="connsiteX465" fmla="*/ 30969 w 227165"/>
                    <a:gd name="connsiteY465" fmla="*/ 50879 h 280603"/>
                    <a:gd name="connsiteX466" fmla="*/ 33439 w 227165"/>
                    <a:gd name="connsiteY466" fmla="*/ 47220 h 280603"/>
                    <a:gd name="connsiteX467" fmla="*/ 35394 w 227165"/>
                    <a:gd name="connsiteY467" fmla="*/ 46209 h 280603"/>
                    <a:gd name="connsiteX468" fmla="*/ 43919 w 227165"/>
                    <a:gd name="connsiteY468" fmla="*/ 45606 h 280603"/>
                    <a:gd name="connsiteX469" fmla="*/ 53340 w 227165"/>
                    <a:gd name="connsiteY469" fmla="*/ 45850 h 280603"/>
                    <a:gd name="connsiteX470" fmla="*/ 57260 w 227165"/>
                    <a:gd name="connsiteY470" fmla="*/ 51392 h 280603"/>
                    <a:gd name="connsiteX471" fmla="*/ 55802 w 227165"/>
                    <a:gd name="connsiteY471" fmla="*/ 54237 h 280603"/>
                    <a:gd name="connsiteX472" fmla="*/ 58091 w 227165"/>
                    <a:gd name="connsiteY472" fmla="*/ 55565 h 280603"/>
                    <a:gd name="connsiteX473" fmla="*/ 59192 w 227165"/>
                    <a:gd name="connsiteY473" fmla="*/ 55076 h 280603"/>
                    <a:gd name="connsiteX474" fmla="*/ 60039 w 227165"/>
                    <a:gd name="connsiteY474" fmla="*/ 52607 h 280603"/>
                    <a:gd name="connsiteX475" fmla="*/ 60585 w 227165"/>
                    <a:gd name="connsiteY475" fmla="*/ 49860 h 280603"/>
                    <a:gd name="connsiteX476" fmla="*/ 61392 w 227165"/>
                    <a:gd name="connsiteY476" fmla="*/ 49029 h 280603"/>
                    <a:gd name="connsiteX477" fmla="*/ 64309 w 227165"/>
                    <a:gd name="connsiteY477" fmla="*/ 51074 h 280603"/>
                    <a:gd name="connsiteX478" fmla="*/ 65337 w 227165"/>
                    <a:gd name="connsiteY478" fmla="*/ 52468 h 280603"/>
                    <a:gd name="connsiteX479" fmla="*/ 65394 w 227165"/>
                    <a:gd name="connsiteY479" fmla="*/ 56983 h 280603"/>
                    <a:gd name="connsiteX480" fmla="*/ 66469 w 227165"/>
                    <a:gd name="connsiteY480" fmla="*/ 50879 h 280603"/>
                    <a:gd name="connsiteX481" fmla="*/ 65662 w 227165"/>
                    <a:gd name="connsiteY481" fmla="*/ 46600 h 280603"/>
                    <a:gd name="connsiteX482" fmla="*/ 66209 w 227165"/>
                    <a:gd name="connsiteY482" fmla="*/ 42452 h 280603"/>
                    <a:gd name="connsiteX483" fmla="*/ 67382 w 227165"/>
                    <a:gd name="connsiteY483" fmla="*/ 40292 h 280603"/>
                    <a:gd name="connsiteX484" fmla="*/ 68466 w 227165"/>
                    <a:gd name="connsiteY484" fmla="*/ 38915 h 280603"/>
                    <a:gd name="connsiteX485" fmla="*/ 75385 w 227165"/>
                    <a:gd name="connsiteY485" fmla="*/ 40398 h 280603"/>
                    <a:gd name="connsiteX486" fmla="*/ 83021 w 227165"/>
                    <a:gd name="connsiteY486" fmla="*/ 39632 h 280603"/>
                    <a:gd name="connsiteX487" fmla="*/ 85906 w 227165"/>
                    <a:gd name="connsiteY487" fmla="*/ 41238 h 280603"/>
                    <a:gd name="connsiteX488" fmla="*/ 92451 w 227165"/>
                    <a:gd name="connsiteY488" fmla="*/ 49241 h 280603"/>
                    <a:gd name="connsiteX489" fmla="*/ 94627 w 227165"/>
                    <a:gd name="connsiteY489" fmla="*/ 50553 h 280603"/>
                    <a:gd name="connsiteX490" fmla="*/ 97373 w 227165"/>
                    <a:gd name="connsiteY490" fmla="*/ 50960 h 280603"/>
                    <a:gd name="connsiteX491" fmla="*/ 93584 w 227165"/>
                    <a:gd name="connsiteY491" fmla="*/ 49257 h 280603"/>
                    <a:gd name="connsiteX492" fmla="*/ 85662 w 227165"/>
                    <a:gd name="connsiteY492" fmla="*/ 39510 h 280603"/>
                    <a:gd name="connsiteX493" fmla="*/ 83298 w 227165"/>
                    <a:gd name="connsiteY493" fmla="*/ 38304 h 280603"/>
                    <a:gd name="connsiteX494" fmla="*/ 79656 w 227165"/>
                    <a:gd name="connsiteY494" fmla="*/ 37937 h 280603"/>
                    <a:gd name="connsiteX495" fmla="*/ 77390 w 227165"/>
                    <a:gd name="connsiteY495" fmla="*/ 36984 h 280603"/>
                    <a:gd name="connsiteX496" fmla="*/ 75956 w 227165"/>
                    <a:gd name="connsiteY496" fmla="*/ 35508 h 280603"/>
                    <a:gd name="connsiteX497" fmla="*/ 75532 w 227165"/>
                    <a:gd name="connsiteY497" fmla="*/ 34188 h 280603"/>
                    <a:gd name="connsiteX498" fmla="*/ 75621 w 227165"/>
                    <a:gd name="connsiteY498" fmla="*/ 24351 h 280603"/>
                    <a:gd name="connsiteX499" fmla="*/ 74252 w 227165"/>
                    <a:gd name="connsiteY499" fmla="*/ 22885 h 280603"/>
                    <a:gd name="connsiteX500" fmla="*/ 72484 w 227165"/>
                    <a:gd name="connsiteY500" fmla="*/ 22379 h 280603"/>
                    <a:gd name="connsiteX501" fmla="*/ 71384 w 227165"/>
                    <a:gd name="connsiteY501" fmla="*/ 23056 h 280603"/>
                    <a:gd name="connsiteX502" fmla="*/ 69118 w 227165"/>
                    <a:gd name="connsiteY502" fmla="*/ 23064 h 280603"/>
                    <a:gd name="connsiteX503" fmla="*/ 68645 w 227165"/>
                    <a:gd name="connsiteY503" fmla="*/ 20839 h 280603"/>
                    <a:gd name="connsiteX504" fmla="*/ 69191 w 227165"/>
                    <a:gd name="connsiteY504" fmla="*/ 19185 h 280603"/>
                    <a:gd name="connsiteX505" fmla="*/ 73731 w 227165"/>
                    <a:gd name="connsiteY505" fmla="*/ 18052 h 280603"/>
                    <a:gd name="connsiteX506" fmla="*/ 76730 w 227165"/>
                    <a:gd name="connsiteY506" fmla="*/ 16536 h 280603"/>
                    <a:gd name="connsiteX507" fmla="*/ 76868 w 227165"/>
                    <a:gd name="connsiteY507" fmla="*/ 13855 h 280603"/>
                    <a:gd name="connsiteX508" fmla="*/ 74986 w 227165"/>
                    <a:gd name="connsiteY508" fmla="*/ 11752 h 280603"/>
                    <a:gd name="connsiteX509" fmla="*/ 72712 w 227165"/>
                    <a:gd name="connsiteY509" fmla="*/ 7881 h 280603"/>
                    <a:gd name="connsiteX510" fmla="*/ 70055 w 227165"/>
                    <a:gd name="connsiteY510" fmla="*/ 4246 h 280603"/>
                    <a:gd name="connsiteX511" fmla="*/ 69754 w 227165"/>
                    <a:gd name="connsiteY511" fmla="*/ 0 h 280603"/>
                    <a:gd name="connsiteX512" fmla="*/ 69770 w 227165"/>
                    <a:gd name="connsiteY512" fmla="*/ 0 h 280603"/>
                    <a:gd name="connsiteX513" fmla="*/ 74391 w 227165"/>
                    <a:gd name="connsiteY513" fmla="*/ 82 h 280603"/>
                    <a:gd name="connsiteX514" fmla="*/ 75524 w 227165"/>
                    <a:gd name="connsiteY514" fmla="*/ 245 h 280603"/>
                    <a:gd name="connsiteX515" fmla="*/ 82540 w 227165"/>
                    <a:gd name="connsiteY515" fmla="*/ 2233 h 280603"/>
                    <a:gd name="connsiteX516" fmla="*/ 84252 w 227165"/>
                    <a:gd name="connsiteY516" fmla="*/ 3610 h 28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Lst>
                  <a:rect l="l" t="t" r="r" b="b"/>
                  <a:pathLst>
                    <a:path w="227165" h="280603">
                      <a:moveTo>
                        <a:pt x="194722" y="19731"/>
                      </a:moveTo>
                      <a:lnTo>
                        <a:pt x="195349" y="22281"/>
                      </a:lnTo>
                      <a:lnTo>
                        <a:pt x="194681" y="23569"/>
                      </a:lnTo>
                      <a:lnTo>
                        <a:pt x="191894" y="21418"/>
                      </a:lnTo>
                      <a:lnTo>
                        <a:pt x="189090" y="21442"/>
                      </a:lnTo>
                      <a:lnTo>
                        <a:pt x="187419" y="24759"/>
                      </a:lnTo>
                      <a:lnTo>
                        <a:pt x="186172" y="24906"/>
                      </a:lnTo>
                      <a:lnTo>
                        <a:pt x="181845" y="21890"/>
                      </a:lnTo>
                      <a:lnTo>
                        <a:pt x="181160" y="20415"/>
                      </a:lnTo>
                      <a:lnTo>
                        <a:pt x="181006" y="19193"/>
                      </a:lnTo>
                      <a:lnTo>
                        <a:pt x="181633" y="14947"/>
                      </a:lnTo>
                      <a:lnTo>
                        <a:pt x="181511" y="13602"/>
                      </a:lnTo>
                      <a:lnTo>
                        <a:pt x="182872" y="12143"/>
                      </a:lnTo>
                      <a:lnTo>
                        <a:pt x="183084" y="10032"/>
                      </a:lnTo>
                      <a:lnTo>
                        <a:pt x="185480" y="7808"/>
                      </a:lnTo>
                      <a:lnTo>
                        <a:pt x="187607" y="7726"/>
                      </a:lnTo>
                      <a:lnTo>
                        <a:pt x="188291" y="9617"/>
                      </a:lnTo>
                      <a:lnTo>
                        <a:pt x="189310" y="10913"/>
                      </a:lnTo>
                      <a:lnTo>
                        <a:pt x="192905" y="12371"/>
                      </a:lnTo>
                      <a:lnTo>
                        <a:pt x="193434" y="13040"/>
                      </a:lnTo>
                      <a:lnTo>
                        <a:pt x="193752" y="13952"/>
                      </a:lnTo>
                      <a:lnTo>
                        <a:pt x="192081" y="15745"/>
                      </a:lnTo>
                      <a:lnTo>
                        <a:pt x="191527" y="16666"/>
                      </a:lnTo>
                      <a:lnTo>
                        <a:pt x="192057" y="18133"/>
                      </a:lnTo>
                      <a:lnTo>
                        <a:pt x="194722" y="19731"/>
                      </a:lnTo>
                      <a:close/>
                      <a:moveTo>
                        <a:pt x="84252" y="3610"/>
                      </a:moveTo>
                      <a:lnTo>
                        <a:pt x="86420" y="3676"/>
                      </a:lnTo>
                      <a:lnTo>
                        <a:pt x="90316" y="2372"/>
                      </a:lnTo>
                      <a:lnTo>
                        <a:pt x="93209" y="1801"/>
                      </a:lnTo>
                      <a:lnTo>
                        <a:pt x="94350" y="2608"/>
                      </a:lnTo>
                      <a:lnTo>
                        <a:pt x="95915" y="2942"/>
                      </a:lnTo>
                      <a:lnTo>
                        <a:pt x="96289" y="2942"/>
                      </a:lnTo>
                      <a:lnTo>
                        <a:pt x="96444" y="3643"/>
                      </a:lnTo>
                      <a:lnTo>
                        <a:pt x="100071" y="4653"/>
                      </a:lnTo>
                      <a:lnTo>
                        <a:pt x="101603" y="6267"/>
                      </a:lnTo>
                      <a:lnTo>
                        <a:pt x="103298" y="8704"/>
                      </a:lnTo>
                      <a:lnTo>
                        <a:pt x="103461" y="12225"/>
                      </a:lnTo>
                      <a:lnTo>
                        <a:pt x="101293" y="14751"/>
                      </a:lnTo>
                      <a:lnTo>
                        <a:pt x="99484" y="16340"/>
                      </a:lnTo>
                      <a:lnTo>
                        <a:pt x="106305" y="15737"/>
                      </a:lnTo>
                      <a:lnTo>
                        <a:pt x="106974" y="17188"/>
                      </a:lnTo>
                      <a:lnTo>
                        <a:pt x="108008" y="18744"/>
                      </a:lnTo>
                      <a:lnTo>
                        <a:pt x="111684" y="17628"/>
                      </a:lnTo>
                      <a:lnTo>
                        <a:pt x="120885" y="22249"/>
                      </a:lnTo>
                      <a:lnTo>
                        <a:pt x="126451" y="20000"/>
                      </a:lnTo>
                      <a:lnTo>
                        <a:pt x="127886" y="19869"/>
                      </a:lnTo>
                      <a:lnTo>
                        <a:pt x="129141" y="23602"/>
                      </a:lnTo>
                      <a:lnTo>
                        <a:pt x="127763" y="27351"/>
                      </a:lnTo>
                      <a:lnTo>
                        <a:pt x="122849" y="31352"/>
                      </a:lnTo>
                      <a:lnTo>
                        <a:pt x="123941" y="33813"/>
                      </a:lnTo>
                      <a:lnTo>
                        <a:pt x="125498" y="34359"/>
                      </a:lnTo>
                      <a:lnTo>
                        <a:pt x="130127" y="33846"/>
                      </a:lnTo>
                      <a:lnTo>
                        <a:pt x="137445" y="36274"/>
                      </a:lnTo>
                      <a:lnTo>
                        <a:pt x="138978" y="35517"/>
                      </a:lnTo>
                      <a:lnTo>
                        <a:pt x="144919" y="29910"/>
                      </a:lnTo>
                      <a:lnTo>
                        <a:pt x="147282" y="28703"/>
                      </a:lnTo>
                      <a:lnTo>
                        <a:pt x="155098" y="27848"/>
                      </a:lnTo>
                      <a:lnTo>
                        <a:pt x="156516" y="25664"/>
                      </a:lnTo>
                      <a:lnTo>
                        <a:pt x="159694" y="23479"/>
                      </a:lnTo>
                      <a:lnTo>
                        <a:pt x="161732" y="21092"/>
                      </a:lnTo>
                      <a:lnTo>
                        <a:pt x="166613" y="16536"/>
                      </a:lnTo>
                      <a:lnTo>
                        <a:pt x="171666" y="17359"/>
                      </a:lnTo>
                      <a:lnTo>
                        <a:pt x="174608" y="18223"/>
                      </a:lnTo>
                      <a:lnTo>
                        <a:pt x="177844" y="18671"/>
                      </a:lnTo>
                      <a:lnTo>
                        <a:pt x="180794" y="23528"/>
                      </a:lnTo>
                      <a:lnTo>
                        <a:pt x="188251" y="28891"/>
                      </a:lnTo>
                      <a:lnTo>
                        <a:pt x="195097" y="28418"/>
                      </a:lnTo>
                      <a:lnTo>
                        <a:pt x="197534" y="33487"/>
                      </a:lnTo>
                      <a:lnTo>
                        <a:pt x="198609" y="39738"/>
                      </a:lnTo>
                      <a:lnTo>
                        <a:pt x="200712" y="41694"/>
                      </a:lnTo>
                      <a:lnTo>
                        <a:pt x="202570" y="42974"/>
                      </a:lnTo>
                      <a:lnTo>
                        <a:pt x="208152" y="44310"/>
                      </a:lnTo>
                      <a:lnTo>
                        <a:pt x="208372" y="44392"/>
                      </a:lnTo>
                      <a:lnTo>
                        <a:pt x="208543" y="45239"/>
                      </a:lnTo>
                      <a:lnTo>
                        <a:pt x="208886" y="48344"/>
                      </a:lnTo>
                      <a:lnTo>
                        <a:pt x="209359" y="50911"/>
                      </a:lnTo>
                      <a:lnTo>
                        <a:pt x="212235" y="61139"/>
                      </a:lnTo>
                      <a:lnTo>
                        <a:pt x="212179" y="63650"/>
                      </a:lnTo>
                      <a:lnTo>
                        <a:pt x="212138" y="64318"/>
                      </a:lnTo>
                      <a:lnTo>
                        <a:pt x="211095" y="67814"/>
                      </a:lnTo>
                      <a:lnTo>
                        <a:pt x="209228" y="70756"/>
                      </a:lnTo>
                      <a:lnTo>
                        <a:pt x="206751" y="72419"/>
                      </a:lnTo>
                      <a:lnTo>
                        <a:pt x="205398" y="74269"/>
                      </a:lnTo>
                      <a:lnTo>
                        <a:pt x="205145" y="76306"/>
                      </a:lnTo>
                      <a:lnTo>
                        <a:pt x="208242" y="79884"/>
                      </a:lnTo>
                      <a:lnTo>
                        <a:pt x="214705" y="84985"/>
                      </a:lnTo>
                      <a:lnTo>
                        <a:pt x="217321" y="89346"/>
                      </a:lnTo>
                      <a:lnTo>
                        <a:pt x="216082" y="92980"/>
                      </a:lnTo>
                      <a:lnTo>
                        <a:pt x="215707" y="95629"/>
                      </a:lnTo>
                      <a:lnTo>
                        <a:pt x="216196" y="97324"/>
                      </a:lnTo>
                      <a:lnTo>
                        <a:pt x="217223" y="98685"/>
                      </a:lnTo>
                      <a:lnTo>
                        <a:pt x="218821" y="99712"/>
                      </a:lnTo>
                      <a:lnTo>
                        <a:pt x="219448" y="101285"/>
                      </a:lnTo>
                      <a:lnTo>
                        <a:pt x="219122" y="103420"/>
                      </a:lnTo>
                      <a:lnTo>
                        <a:pt x="219432" y="104903"/>
                      </a:lnTo>
                      <a:lnTo>
                        <a:pt x="220622" y="105947"/>
                      </a:lnTo>
                      <a:lnTo>
                        <a:pt x="220516" y="106354"/>
                      </a:lnTo>
                      <a:lnTo>
                        <a:pt x="219937" y="107837"/>
                      </a:lnTo>
                      <a:lnTo>
                        <a:pt x="219138" y="110535"/>
                      </a:lnTo>
                      <a:lnTo>
                        <a:pt x="218690" y="112507"/>
                      </a:lnTo>
                      <a:lnTo>
                        <a:pt x="216873" y="115188"/>
                      </a:lnTo>
                      <a:lnTo>
                        <a:pt x="217419" y="117470"/>
                      </a:lnTo>
                      <a:lnTo>
                        <a:pt x="218853" y="120152"/>
                      </a:lnTo>
                      <a:lnTo>
                        <a:pt x="219929" y="121504"/>
                      </a:lnTo>
                      <a:lnTo>
                        <a:pt x="220271" y="122784"/>
                      </a:lnTo>
                      <a:lnTo>
                        <a:pt x="219578" y="125824"/>
                      </a:lnTo>
                      <a:lnTo>
                        <a:pt x="219929" y="126606"/>
                      </a:lnTo>
                      <a:lnTo>
                        <a:pt x="224428" y="128839"/>
                      </a:lnTo>
                      <a:lnTo>
                        <a:pt x="225161" y="129866"/>
                      </a:lnTo>
                      <a:lnTo>
                        <a:pt x="225593" y="132009"/>
                      </a:lnTo>
                      <a:lnTo>
                        <a:pt x="227166" y="136590"/>
                      </a:lnTo>
                      <a:lnTo>
                        <a:pt x="225862" y="142392"/>
                      </a:lnTo>
                      <a:lnTo>
                        <a:pt x="224705" y="145571"/>
                      </a:lnTo>
                      <a:lnTo>
                        <a:pt x="222154" y="150607"/>
                      </a:lnTo>
                      <a:lnTo>
                        <a:pt x="222024" y="151072"/>
                      </a:lnTo>
                      <a:lnTo>
                        <a:pt x="221730" y="151683"/>
                      </a:lnTo>
                      <a:lnTo>
                        <a:pt x="220964" y="152563"/>
                      </a:lnTo>
                      <a:lnTo>
                        <a:pt x="219888" y="152702"/>
                      </a:lnTo>
                      <a:lnTo>
                        <a:pt x="218274" y="152041"/>
                      </a:lnTo>
                      <a:lnTo>
                        <a:pt x="217174" y="151202"/>
                      </a:lnTo>
                      <a:lnTo>
                        <a:pt x="217410" y="149026"/>
                      </a:lnTo>
                      <a:lnTo>
                        <a:pt x="216718" y="148888"/>
                      </a:lnTo>
                      <a:lnTo>
                        <a:pt x="215830" y="147551"/>
                      </a:lnTo>
                      <a:lnTo>
                        <a:pt x="215479" y="146117"/>
                      </a:lnTo>
                      <a:lnTo>
                        <a:pt x="214534" y="145530"/>
                      </a:lnTo>
                      <a:lnTo>
                        <a:pt x="211062" y="144927"/>
                      </a:lnTo>
                      <a:lnTo>
                        <a:pt x="209880" y="144503"/>
                      </a:lnTo>
                      <a:lnTo>
                        <a:pt x="208967" y="144804"/>
                      </a:lnTo>
                      <a:lnTo>
                        <a:pt x="208291" y="145823"/>
                      </a:lnTo>
                      <a:lnTo>
                        <a:pt x="208731" y="146736"/>
                      </a:lnTo>
                      <a:lnTo>
                        <a:pt x="209375" y="147632"/>
                      </a:lnTo>
                      <a:lnTo>
                        <a:pt x="211298" y="149042"/>
                      </a:lnTo>
                      <a:lnTo>
                        <a:pt x="211103" y="149605"/>
                      </a:lnTo>
                      <a:lnTo>
                        <a:pt x="206963" y="150982"/>
                      </a:lnTo>
                      <a:lnTo>
                        <a:pt x="204338" y="152392"/>
                      </a:lnTo>
                      <a:lnTo>
                        <a:pt x="201910" y="153191"/>
                      </a:lnTo>
                      <a:lnTo>
                        <a:pt x="199432" y="154649"/>
                      </a:lnTo>
                      <a:lnTo>
                        <a:pt x="194543" y="156296"/>
                      </a:lnTo>
                      <a:lnTo>
                        <a:pt x="190957" y="156736"/>
                      </a:lnTo>
                      <a:lnTo>
                        <a:pt x="190199" y="157168"/>
                      </a:lnTo>
                      <a:lnTo>
                        <a:pt x="188870" y="159955"/>
                      </a:lnTo>
                      <a:lnTo>
                        <a:pt x="187966" y="160534"/>
                      </a:lnTo>
                      <a:lnTo>
                        <a:pt x="187102" y="160232"/>
                      </a:lnTo>
                      <a:lnTo>
                        <a:pt x="186442" y="159776"/>
                      </a:lnTo>
                      <a:lnTo>
                        <a:pt x="185610" y="160159"/>
                      </a:lnTo>
                      <a:lnTo>
                        <a:pt x="184746" y="161079"/>
                      </a:lnTo>
                      <a:lnTo>
                        <a:pt x="183834" y="161438"/>
                      </a:lnTo>
                      <a:lnTo>
                        <a:pt x="183043" y="161430"/>
                      </a:lnTo>
                      <a:lnTo>
                        <a:pt x="181649" y="163859"/>
                      </a:lnTo>
                      <a:lnTo>
                        <a:pt x="177559" y="164592"/>
                      </a:lnTo>
                      <a:lnTo>
                        <a:pt x="177069" y="165847"/>
                      </a:lnTo>
                      <a:lnTo>
                        <a:pt x="176328" y="167306"/>
                      </a:lnTo>
                      <a:lnTo>
                        <a:pt x="175717" y="167665"/>
                      </a:lnTo>
                      <a:lnTo>
                        <a:pt x="173883" y="167086"/>
                      </a:lnTo>
                      <a:lnTo>
                        <a:pt x="171332" y="166768"/>
                      </a:lnTo>
                      <a:lnTo>
                        <a:pt x="169865" y="167567"/>
                      </a:lnTo>
                      <a:lnTo>
                        <a:pt x="168105" y="168007"/>
                      </a:lnTo>
                      <a:lnTo>
                        <a:pt x="165953" y="168137"/>
                      </a:lnTo>
                      <a:lnTo>
                        <a:pt x="163565" y="169735"/>
                      </a:lnTo>
                      <a:lnTo>
                        <a:pt x="161226" y="172530"/>
                      </a:lnTo>
                      <a:lnTo>
                        <a:pt x="159923" y="174999"/>
                      </a:lnTo>
                      <a:lnTo>
                        <a:pt x="159222" y="175879"/>
                      </a:lnTo>
                      <a:lnTo>
                        <a:pt x="158064" y="173565"/>
                      </a:lnTo>
                      <a:lnTo>
                        <a:pt x="156679" y="171976"/>
                      </a:lnTo>
                      <a:lnTo>
                        <a:pt x="155685" y="171153"/>
                      </a:lnTo>
                      <a:lnTo>
                        <a:pt x="154804" y="171153"/>
                      </a:lnTo>
                      <a:lnTo>
                        <a:pt x="154568" y="171487"/>
                      </a:lnTo>
                      <a:lnTo>
                        <a:pt x="154568" y="172701"/>
                      </a:lnTo>
                      <a:lnTo>
                        <a:pt x="155513" y="174714"/>
                      </a:lnTo>
                      <a:lnTo>
                        <a:pt x="156687" y="176083"/>
                      </a:lnTo>
                      <a:lnTo>
                        <a:pt x="156866" y="177094"/>
                      </a:lnTo>
                      <a:lnTo>
                        <a:pt x="157494" y="178944"/>
                      </a:lnTo>
                      <a:lnTo>
                        <a:pt x="159197" y="180957"/>
                      </a:lnTo>
                      <a:lnTo>
                        <a:pt x="161862" y="182554"/>
                      </a:lnTo>
                      <a:lnTo>
                        <a:pt x="163688" y="184127"/>
                      </a:lnTo>
                      <a:lnTo>
                        <a:pt x="165041" y="186303"/>
                      </a:lnTo>
                      <a:lnTo>
                        <a:pt x="165049" y="186971"/>
                      </a:lnTo>
                      <a:lnTo>
                        <a:pt x="164682" y="187860"/>
                      </a:lnTo>
                      <a:lnTo>
                        <a:pt x="164046" y="188691"/>
                      </a:lnTo>
                      <a:lnTo>
                        <a:pt x="163508" y="189783"/>
                      </a:lnTo>
                      <a:lnTo>
                        <a:pt x="162025" y="191983"/>
                      </a:lnTo>
                      <a:lnTo>
                        <a:pt x="162473" y="192945"/>
                      </a:lnTo>
                      <a:lnTo>
                        <a:pt x="163671" y="194159"/>
                      </a:lnTo>
                      <a:lnTo>
                        <a:pt x="164755" y="195626"/>
                      </a:lnTo>
                      <a:lnTo>
                        <a:pt x="166116" y="197973"/>
                      </a:lnTo>
                      <a:lnTo>
                        <a:pt x="168015" y="202097"/>
                      </a:lnTo>
                      <a:lnTo>
                        <a:pt x="169237" y="203792"/>
                      </a:lnTo>
                      <a:lnTo>
                        <a:pt x="170884" y="205544"/>
                      </a:lnTo>
                      <a:lnTo>
                        <a:pt x="172505" y="206881"/>
                      </a:lnTo>
                      <a:lnTo>
                        <a:pt x="175057" y="206840"/>
                      </a:lnTo>
                      <a:lnTo>
                        <a:pt x="177721" y="209391"/>
                      </a:lnTo>
                      <a:lnTo>
                        <a:pt x="180615" y="213075"/>
                      </a:lnTo>
                      <a:lnTo>
                        <a:pt x="182783" y="214762"/>
                      </a:lnTo>
                      <a:lnTo>
                        <a:pt x="184298" y="215275"/>
                      </a:lnTo>
                      <a:lnTo>
                        <a:pt x="185537" y="216604"/>
                      </a:lnTo>
                      <a:lnTo>
                        <a:pt x="186645" y="218503"/>
                      </a:lnTo>
                      <a:lnTo>
                        <a:pt x="187085" y="219603"/>
                      </a:lnTo>
                      <a:lnTo>
                        <a:pt x="188063" y="220401"/>
                      </a:lnTo>
                      <a:lnTo>
                        <a:pt x="190720" y="220247"/>
                      </a:lnTo>
                      <a:lnTo>
                        <a:pt x="194119" y="223254"/>
                      </a:lnTo>
                      <a:lnTo>
                        <a:pt x="196229" y="225446"/>
                      </a:lnTo>
                      <a:lnTo>
                        <a:pt x="197346" y="227206"/>
                      </a:lnTo>
                      <a:lnTo>
                        <a:pt x="197045" y="227907"/>
                      </a:lnTo>
                      <a:lnTo>
                        <a:pt x="196914" y="230108"/>
                      </a:lnTo>
                      <a:lnTo>
                        <a:pt x="196955" y="232447"/>
                      </a:lnTo>
                      <a:lnTo>
                        <a:pt x="196612" y="233677"/>
                      </a:lnTo>
                      <a:lnTo>
                        <a:pt x="195080" y="235299"/>
                      </a:lnTo>
                      <a:lnTo>
                        <a:pt x="194298" y="235650"/>
                      </a:lnTo>
                      <a:lnTo>
                        <a:pt x="193874" y="235992"/>
                      </a:lnTo>
                      <a:lnTo>
                        <a:pt x="189196" y="233881"/>
                      </a:lnTo>
                      <a:lnTo>
                        <a:pt x="188830" y="234240"/>
                      </a:lnTo>
                      <a:lnTo>
                        <a:pt x="188536" y="234509"/>
                      </a:lnTo>
                      <a:lnTo>
                        <a:pt x="187281" y="240645"/>
                      </a:lnTo>
                      <a:lnTo>
                        <a:pt x="186425" y="241819"/>
                      </a:lnTo>
                      <a:lnTo>
                        <a:pt x="185138" y="242903"/>
                      </a:lnTo>
                      <a:lnTo>
                        <a:pt x="182473" y="243962"/>
                      </a:lnTo>
                      <a:lnTo>
                        <a:pt x="180615" y="244402"/>
                      </a:lnTo>
                      <a:lnTo>
                        <a:pt x="179172" y="244924"/>
                      </a:lnTo>
                      <a:lnTo>
                        <a:pt x="174592" y="247491"/>
                      </a:lnTo>
                      <a:lnTo>
                        <a:pt x="172530" y="249023"/>
                      </a:lnTo>
                      <a:lnTo>
                        <a:pt x="171194" y="250963"/>
                      </a:lnTo>
                      <a:lnTo>
                        <a:pt x="171194" y="252071"/>
                      </a:lnTo>
                      <a:lnTo>
                        <a:pt x="173402" y="255347"/>
                      </a:lnTo>
                      <a:lnTo>
                        <a:pt x="175977" y="258721"/>
                      </a:lnTo>
                      <a:lnTo>
                        <a:pt x="175994" y="261688"/>
                      </a:lnTo>
                      <a:lnTo>
                        <a:pt x="174853" y="263905"/>
                      </a:lnTo>
                      <a:lnTo>
                        <a:pt x="174592" y="264760"/>
                      </a:lnTo>
                      <a:lnTo>
                        <a:pt x="175350" y="265086"/>
                      </a:lnTo>
                      <a:lnTo>
                        <a:pt x="176768" y="265209"/>
                      </a:lnTo>
                      <a:lnTo>
                        <a:pt x="177966" y="265592"/>
                      </a:lnTo>
                      <a:lnTo>
                        <a:pt x="178471" y="267156"/>
                      </a:lnTo>
                      <a:lnTo>
                        <a:pt x="178316" y="269870"/>
                      </a:lnTo>
                      <a:lnTo>
                        <a:pt x="177909" y="272413"/>
                      </a:lnTo>
                      <a:lnTo>
                        <a:pt x="177485" y="273481"/>
                      </a:lnTo>
                      <a:lnTo>
                        <a:pt x="176328" y="273570"/>
                      </a:lnTo>
                      <a:lnTo>
                        <a:pt x="174119" y="272470"/>
                      </a:lnTo>
                      <a:lnTo>
                        <a:pt x="172383" y="271199"/>
                      </a:lnTo>
                      <a:lnTo>
                        <a:pt x="171723" y="270408"/>
                      </a:lnTo>
                      <a:lnTo>
                        <a:pt x="171691" y="269463"/>
                      </a:lnTo>
                      <a:lnTo>
                        <a:pt x="172057" y="268876"/>
                      </a:lnTo>
                      <a:lnTo>
                        <a:pt x="171446" y="267719"/>
                      </a:lnTo>
                      <a:lnTo>
                        <a:pt x="169319" y="266643"/>
                      </a:lnTo>
                      <a:lnTo>
                        <a:pt x="167062" y="267116"/>
                      </a:lnTo>
                      <a:lnTo>
                        <a:pt x="165383" y="267833"/>
                      </a:lnTo>
                      <a:lnTo>
                        <a:pt x="164290" y="267792"/>
                      </a:lnTo>
                      <a:lnTo>
                        <a:pt x="163109" y="266765"/>
                      </a:lnTo>
                      <a:lnTo>
                        <a:pt x="161316" y="265975"/>
                      </a:lnTo>
                      <a:lnTo>
                        <a:pt x="158969" y="265453"/>
                      </a:lnTo>
                      <a:lnTo>
                        <a:pt x="157494" y="264899"/>
                      </a:lnTo>
                      <a:lnTo>
                        <a:pt x="157184" y="265233"/>
                      </a:lnTo>
                      <a:lnTo>
                        <a:pt x="157355" y="267458"/>
                      </a:lnTo>
                      <a:lnTo>
                        <a:pt x="156907" y="268428"/>
                      </a:lnTo>
                      <a:lnTo>
                        <a:pt x="145269" y="269715"/>
                      </a:lnTo>
                      <a:lnTo>
                        <a:pt x="141732" y="270922"/>
                      </a:lnTo>
                      <a:lnTo>
                        <a:pt x="139149" y="272486"/>
                      </a:lnTo>
                      <a:lnTo>
                        <a:pt x="137250" y="273163"/>
                      </a:lnTo>
                      <a:lnTo>
                        <a:pt x="136777" y="274124"/>
                      </a:lnTo>
                      <a:lnTo>
                        <a:pt x="134886" y="275388"/>
                      </a:lnTo>
                      <a:lnTo>
                        <a:pt x="132751" y="275787"/>
                      </a:lnTo>
                      <a:lnTo>
                        <a:pt x="132238" y="275380"/>
                      </a:lnTo>
                      <a:lnTo>
                        <a:pt x="130877" y="275966"/>
                      </a:lnTo>
                      <a:lnTo>
                        <a:pt x="128546" y="276520"/>
                      </a:lnTo>
                      <a:lnTo>
                        <a:pt x="127030" y="276349"/>
                      </a:lnTo>
                      <a:lnTo>
                        <a:pt x="126313" y="275331"/>
                      </a:lnTo>
                      <a:lnTo>
                        <a:pt x="124870" y="273766"/>
                      </a:lnTo>
                      <a:lnTo>
                        <a:pt x="124292" y="272682"/>
                      </a:lnTo>
                      <a:lnTo>
                        <a:pt x="124349" y="271989"/>
                      </a:lnTo>
                      <a:lnTo>
                        <a:pt x="121097" y="271851"/>
                      </a:lnTo>
                      <a:lnTo>
                        <a:pt x="119035" y="271028"/>
                      </a:lnTo>
                      <a:lnTo>
                        <a:pt x="114675" y="271215"/>
                      </a:lnTo>
                      <a:lnTo>
                        <a:pt x="113599" y="270865"/>
                      </a:lnTo>
                      <a:lnTo>
                        <a:pt x="113371" y="271240"/>
                      </a:lnTo>
                      <a:lnTo>
                        <a:pt x="112719" y="275681"/>
                      </a:lnTo>
                      <a:lnTo>
                        <a:pt x="111855" y="277490"/>
                      </a:lnTo>
                      <a:lnTo>
                        <a:pt x="110470" y="279373"/>
                      </a:lnTo>
                      <a:lnTo>
                        <a:pt x="108677" y="280416"/>
                      </a:lnTo>
                      <a:lnTo>
                        <a:pt x="107242" y="280603"/>
                      </a:lnTo>
                      <a:lnTo>
                        <a:pt x="107316" y="279234"/>
                      </a:lnTo>
                      <a:lnTo>
                        <a:pt x="107675" y="277580"/>
                      </a:lnTo>
                      <a:lnTo>
                        <a:pt x="106647" y="277197"/>
                      </a:lnTo>
                      <a:lnTo>
                        <a:pt x="105099" y="277009"/>
                      </a:lnTo>
                      <a:lnTo>
                        <a:pt x="104357" y="276520"/>
                      </a:lnTo>
                      <a:lnTo>
                        <a:pt x="104553" y="275265"/>
                      </a:lnTo>
                      <a:lnTo>
                        <a:pt x="104186" y="274532"/>
                      </a:lnTo>
                      <a:lnTo>
                        <a:pt x="103550" y="273652"/>
                      </a:lnTo>
                      <a:lnTo>
                        <a:pt x="102002" y="272519"/>
                      </a:lnTo>
                      <a:lnTo>
                        <a:pt x="98718" y="270840"/>
                      </a:lnTo>
                      <a:lnTo>
                        <a:pt x="96477" y="270009"/>
                      </a:lnTo>
                      <a:lnTo>
                        <a:pt x="95637" y="270897"/>
                      </a:lnTo>
                      <a:lnTo>
                        <a:pt x="94048" y="271785"/>
                      </a:lnTo>
                      <a:lnTo>
                        <a:pt x="91522" y="271492"/>
                      </a:lnTo>
                      <a:lnTo>
                        <a:pt x="90902" y="271842"/>
                      </a:lnTo>
                      <a:lnTo>
                        <a:pt x="86591" y="269178"/>
                      </a:lnTo>
                      <a:lnTo>
                        <a:pt x="82443" y="266610"/>
                      </a:lnTo>
                      <a:lnTo>
                        <a:pt x="81074" y="266610"/>
                      </a:lnTo>
                      <a:lnTo>
                        <a:pt x="74961" y="267124"/>
                      </a:lnTo>
                      <a:lnTo>
                        <a:pt x="74790" y="266896"/>
                      </a:lnTo>
                      <a:lnTo>
                        <a:pt x="73715" y="265429"/>
                      </a:lnTo>
                      <a:lnTo>
                        <a:pt x="72786" y="264964"/>
                      </a:lnTo>
                      <a:lnTo>
                        <a:pt x="72215" y="265200"/>
                      </a:lnTo>
                      <a:lnTo>
                        <a:pt x="71832" y="265624"/>
                      </a:lnTo>
                      <a:lnTo>
                        <a:pt x="71172" y="265559"/>
                      </a:lnTo>
                      <a:lnTo>
                        <a:pt x="68434" y="263188"/>
                      </a:lnTo>
                      <a:lnTo>
                        <a:pt x="67317" y="262845"/>
                      </a:lnTo>
                      <a:lnTo>
                        <a:pt x="65760" y="263163"/>
                      </a:lnTo>
                      <a:lnTo>
                        <a:pt x="63918" y="264443"/>
                      </a:lnTo>
                      <a:lnTo>
                        <a:pt x="63112" y="265999"/>
                      </a:lnTo>
                      <a:lnTo>
                        <a:pt x="63356" y="266896"/>
                      </a:lnTo>
                      <a:lnTo>
                        <a:pt x="64309" y="267287"/>
                      </a:lnTo>
                      <a:lnTo>
                        <a:pt x="66804" y="267026"/>
                      </a:lnTo>
                      <a:lnTo>
                        <a:pt x="67170" y="267279"/>
                      </a:lnTo>
                      <a:lnTo>
                        <a:pt x="67260" y="267784"/>
                      </a:lnTo>
                      <a:lnTo>
                        <a:pt x="66983" y="268273"/>
                      </a:lnTo>
                      <a:lnTo>
                        <a:pt x="64962" y="268680"/>
                      </a:lnTo>
                      <a:lnTo>
                        <a:pt x="64375" y="269267"/>
                      </a:lnTo>
                      <a:lnTo>
                        <a:pt x="63780" y="269414"/>
                      </a:lnTo>
                      <a:lnTo>
                        <a:pt x="63397" y="269504"/>
                      </a:lnTo>
                      <a:lnTo>
                        <a:pt x="61245" y="268884"/>
                      </a:lnTo>
                      <a:lnTo>
                        <a:pt x="58018" y="268884"/>
                      </a:lnTo>
                      <a:lnTo>
                        <a:pt x="55434" y="269984"/>
                      </a:lnTo>
                      <a:lnTo>
                        <a:pt x="51303" y="270424"/>
                      </a:lnTo>
                      <a:lnTo>
                        <a:pt x="45622" y="270204"/>
                      </a:lnTo>
                      <a:lnTo>
                        <a:pt x="43577" y="269389"/>
                      </a:lnTo>
                      <a:lnTo>
                        <a:pt x="42338" y="268892"/>
                      </a:lnTo>
                      <a:lnTo>
                        <a:pt x="41442" y="266488"/>
                      </a:lnTo>
                      <a:lnTo>
                        <a:pt x="41670" y="262919"/>
                      </a:lnTo>
                      <a:lnTo>
                        <a:pt x="43031" y="258192"/>
                      </a:lnTo>
                      <a:lnTo>
                        <a:pt x="43397" y="254712"/>
                      </a:lnTo>
                      <a:lnTo>
                        <a:pt x="42803" y="252495"/>
                      </a:lnTo>
                      <a:lnTo>
                        <a:pt x="43609" y="249170"/>
                      </a:lnTo>
                      <a:lnTo>
                        <a:pt x="45818" y="244753"/>
                      </a:lnTo>
                      <a:lnTo>
                        <a:pt x="47293" y="240075"/>
                      </a:lnTo>
                      <a:lnTo>
                        <a:pt x="48026" y="235152"/>
                      </a:lnTo>
                      <a:lnTo>
                        <a:pt x="49102" y="231933"/>
                      </a:lnTo>
                      <a:lnTo>
                        <a:pt x="51205" y="229676"/>
                      </a:lnTo>
                      <a:lnTo>
                        <a:pt x="56193" y="223376"/>
                      </a:lnTo>
                      <a:lnTo>
                        <a:pt x="56608" y="222895"/>
                      </a:lnTo>
                      <a:lnTo>
                        <a:pt x="56462" y="219749"/>
                      </a:lnTo>
                      <a:lnTo>
                        <a:pt x="55125" y="219301"/>
                      </a:lnTo>
                      <a:lnTo>
                        <a:pt x="53153" y="218397"/>
                      </a:lnTo>
                      <a:lnTo>
                        <a:pt x="48149" y="217272"/>
                      </a:lnTo>
                      <a:lnTo>
                        <a:pt x="43479" y="216555"/>
                      </a:lnTo>
                      <a:lnTo>
                        <a:pt x="41360" y="215666"/>
                      </a:lnTo>
                      <a:lnTo>
                        <a:pt x="39494" y="213287"/>
                      </a:lnTo>
                      <a:lnTo>
                        <a:pt x="38345" y="213254"/>
                      </a:lnTo>
                      <a:lnTo>
                        <a:pt x="36095" y="214110"/>
                      </a:lnTo>
                      <a:lnTo>
                        <a:pt x="33284" y="214680"/>
                      </a:lnTo>
                      <a:lnTo>
                        <a:pt x="31230" y="214175"/>
                      </a:lnTo>
                      <a:lnTo>
                        <a:pt x="29951" y="214273"/>
                      </a:lnTo>
                      <a:lnTo>
                        <a:pt x="29233" y="214713"/>
                      </a:lnTo>
                      <a:lnTo>
                        <a:pt x="28866" y="214322"/>
                      </a:lnTo>
                      <a:lnTo>
                        <a:pt x="28361" y="212276"/>
                      </a:lnTo>
                      <a:lnTo>
                        <a:pt x="27293" y="211746"/>
                      </a:lnTo>
                      <a:lnTo>
                        <a:pt x="25631" y="211282"/>
                      </a:lnTo>
                      <a:lnTo>
                        <a:pt x="24588" y="211477"/>
                      </a:lnTo>
                      <a:lnTo>
                        <a:pt x="23871" y="212496"/>
                      </a:lnTo>
                      <a:lnTo>
                        <a:pt x="22770" y="213205"/>
                      </a:lnTo>
                      <a:lnTo>
                        <a:pt x="21760" y="212985"/>
                      </a:lnTo>
                      <a:lnTo>
                        <a:pt x="18590" y="208266"/>
                      </a:lnTo>
                      <a:lnTo>
                        <a:pt x="17758" y="207223"/>
                      </a:lnTo>
                      <a:lnTo>
                        <a:pt x="17563" y="206262"/>
                      </a:lnTo>
                      <a:lnTo>
                        <a:pt x="16764" y="204501"/>
                      </a:lnTo>
                      <a:lnTo>
                        <a:pt x="14881" y="202749"/>
                      </a:lnTo>
                      <a:lnTo>
                        <a:pt x="12999" y="202195"/>
                      </a:lnTo>
                      <a:lnTo>
                        <a:pt x="12062" y="202390"/>
                      </a:lnTo>
                      <a:lnTo>
                        <a:pt x="12168" y="200214"/>
                      </a:lnTo>
                      <a:lnTo>
                        <a:pt x="12910" y="197061"/>
                      </a:lnTo>
                      <a:lnTo>
                        <a:pt x="13618" y="195414"/>
                      </a:lnTo>
                      <a:lnTo>
                        <a:pt x="14556" y="194062"/>
                      </a:lnTo>
                      <a:lnTo>
                        <a:pt x="15550" y="193132"/>
                      </a:lnTo>
                      <a:lnTo>
                        <a:pt x="15770" y="191437"/>
                      </a:lnTo>
                      <a:lnTo>
                        <a:pt x="15607" y="189832"/>
                      </a:lnTo>
                      <a:lnTo>
                        <a:pt x="14450" y="189587"/>
                      </a:lnTo>
                      <a:lnTo>
                        <a:pt x="11581" y="188365"/>
                      </a:lnTo>
                      <a:lnTo>
                        <a:pt x="9878" y="187126"/>
                      </a:lnTo>
                      <a:lnTo>
                        <a:pt x="8614" y="185561"/>
                      </a:lnTo>
                      <a:lnTo>
                        <a:pt x="6960" y="183410"/>
                      </a:lnTo>
                      <a:lnTo>
                        <a:pt x="6251" y="181209"/>
                      </a:lnTo>
                      <a:lnTo>
                        <a:pt x="6210" y="179025"/>
                      </a:lnTo>
                      <a:lnTo>
                        <a:pt x="6414" y="178047"/>
                      </a:lnTo>
                      <a:lnTo>
                        <a:pt x="6528" y="177379"/>
                      </a:lnTo>
                      <a:lnTo>
                        <a:pt x="7865" y="173972"/>
                      </a:lnTo>
                      <a:lnTo>
                        <a:pt x="12567" y="170916"/>
                      </a:lnTo>
                      <a:lnTo>
                        <a:pt x="12053" y="167844"/>
                      </a:lnTo>
                      <a:lnTo>
                        <a:pt x="11980" y="165961"/>
                      </a:lnTo>
                      <a:lnTo>
                        <a:pt x="10839" y="164731"/>
                      </a:lnTo>
                      <a:lnTo>
                        <a:pt x="8566" y="164225"/>
                      </a:lnTo>
                      <a:lnTo>
                        <a:pt x="7971" y="163378"/>
                      </a:lnTo>
                      <a:lnTo>
                        <a:pt x="7710" y="162538"/>
                      </a:lnTo>
                      <a:lnTo>
                        <a:pt x="9380" y="160664"/>
                      </a:lnTo>
                      <a:lnTo>
                        <a:pt x="7359" y="159172"/>
                      </a:lnTo>
                      <a:lnTo>
                        <a:pt x="6504" y="157632"/>
                      </a:lnTo>
                      <a:lnTo>
                        <a:pt x="3684" y="155693"/>
                      </a:lnTo>
                      <a:lnTo>
                        <a:pt x="3382" y="155016"/>
                      </a:lnTo>
                      <a:lnTo>
                        <a:pt x="4735" y="149352"/>
                      </a:lnTo>
                      <a:lnTo>
                        <a:pt x="3708" y="147698"/>
                      </a:lnTo>
                      <a:lnTo>
                        <a:pt x="2420" y="146850"/>
                      </a:lnTo>
                      <a:lnTo>
                        <a:pt x="921" y="146434"/>
                      </a:lnTo>
                      <a:lnTo>
                        <a:pt x="245" y="145644"/>
                      </a:lnTo>
                      <a:lnTo>
                        <a:pt x="0" y="144739"/>
                      </a:lnTo>
                      <a:lnTo>
                        <a:pt x="269" y="144185"/>
                      </a:lnTo>
                      <a:lnTo>
                        <a:pt x="2037" y="144356"/>
                      </a:lnTo>
                      <a:lnTo>
                        <a:pt x="2559" y="143769"/>
                      </a:lnTo>
                      <a:lnTo>
                        <a:pt x="6756" y="140436"/>
                      </a:lnTo>
                      <a:lnTo>
                        <a:pt x="6928" y="139792"/>
                      </a:lnTo>
                      <a:lnTo>
                        <a:pt x="6357" y="139426"/>
                      </a:lnTo>
                      <a:lnTo>
                        <a:pt x="5583" y="139230"/>
                      </a:lnTo>
                      <a:lnTo>
                        <a:pt x="5396" y="138537"/>
                      </a:lnTo>
                      <a:lnTo>
                        <a:pt x="5428" y="137608"/>
                      </a:lnTo>
                      <a:lnTo>
                        <a:pt x="7661" y="132784"/>
                      </a:lnTo>
                      <a:lnTo>
                        <a:pt x="8329" y="130730"/>
                      </a:lnTo>
                      <a:lnTo>
                        <a:pt x="8476" y="129279"/>
                      </a:lnTo>
                      <a:lnTo>
                        <a:pt x="8337" y="127845"/>
                      </a:lnTo>
                      <a:lnTo>
                        <a:pt x="7049" y="125587"/>
                      </a:lnTo>
                      <a:lnTo>
                        <a:pt x="5803" y="123786"/>
                      </a:lnTo>
                      <a:lnTo>
                        <a:pt x="5754" y="122352"/>
                      </a:lnTo>
                      <a:lnTo>
                        <a:pt x="4849" y="121594"/>
                      </a:lnTo>
                      <a:lnTo>
                        <a:pt x="2266" y="117747"/>
                      </a:lnTo>
                      <a:lnTo>
                        <a:pt x="2274" y="116248"/>
                      </a:lnTo>
                      <a:lnTo>
                        <a:pt x="3741" y="115099"/>
                      </a:lnTo>
                      <a:lnTo>
                        <a:pt x="5779" y="114357"/>
                      </a:lnTo>
                      <a:lnTo>
                        <a:pt x="6463" y="113746"/>
                      </a:lnTo>
                      <a:lnTo>
                        <a:pt x="7677" y="113363"/>
                      </a:lnTo>
                      <a:lnTo>
                        <a:pt x="10912" y="114471"/>
                      </a:lnTo>
                      <a:lnTo>
                        <a:pt x="12363" y="115433"/>
                      </a:lnTo>
                      <a:lnTo>
                        <a:pt x="12779" y="115237"/>
                      </a:lnTo>
                      <a:lnTo>
                        <a:pt x="14091" y="114194"/>
                      </a:lnTo>
                      <a:lnTo>
                        <a:pt x="16381" y="114357"/>
                      </a:lnTo>
                      <a:lnTo>
                        <a:pt x="21939" y="112254"/>
                      </a:lnTo>
                      <a:lnTo>
                        <a:pt x="22770" y="111236"/>
                      </a:lnTo>
                      <a:lnTo>
                        <a:pt x="23406" y="110160"/>
                      </a:lnTo>
                      <a:lnTo>
                        <a:pt x="23455" y="109687"/>
                      </a:lnTo>
                      <a:lnTo>
                        <a:pt x="21296" y="107609"/>
                      </a:lnTo>
                      <a:lnTo>
                        <a:pt x="21230" y="106843"/>
                      </a:lnTo>
                      <a:lnTo>
                        <a:pt x="21515" y="105987"/>
                      </a:lnTo>
                      <a:lnTo>
                        <a:pt x="22118" y="105303"/>
                      </a:lnTo>
                      <a:lnTo>
                        <a:pt x="23382" y="104830"/>
                      </a:lnTo>
                      <a:lnTo>
                        <a:pt x="24735" y="103917"/>
                      </a:lnTo>
                      <a:lnTo>
                        <a:pt x="27766" y="101334"/>
                      </a:lnTo>
                      <a:lnTo>
                        <a:pt x="28818" y="99084"/>
                      </a:lnTo>
                      <a:lnTo>
                        <a:pt x="29135" y="96656"/>
                      </a:lnTo>
                      <a:lnTo>
                        <a:pt x="29201" y="94847"/>
                      </a:lnTo>
                      <a:lnTo>
                        <a:pt x="28369" y="93404"/>
                      </a:lnTo>
                      <a:lnTo>
                        <a:pt x="27530" y="92475"/>
                      </a:lnTo>
                      <a:lnTo>
                        <a:pt x="26381" y="92614"/>
                      </a:lnTo>
                      <a:lnTo>
                        <a:pt x="24164" y="92540"/>
                      </a:lnTo>
                      <a:lnTo>
                        <a:pt x="22086" y="91733"/>
                      </a:lnTo>
                      <a:lnTo>
                        <a:pt x="20953" y="90421"/>
                      </a:lnTo>
                      <a:lnTo>
                        <a:pt x="20676" y="89264"/>
                      </a:lnTo>
                      <a:lnTo>
                        <a:pt x="21181" y="88539"/>
                      </a:lnTo>
                      <a:lnTo>
                        <a:pt x="21344" y="87659"/>
                      </a:lnTo>
                      <a:lnTo>
                        <a:pt x="21010" y="86762"/>
                      </a:lnTo>
                      <a:lnTo>
                        <a:pt x="21149" y="86012"/>
                      </a:lnTo>
                      <a:lnTo>
                        <a:pt x="22078" y="85409"/>
                      </a:lnTo>
                      <a:lnTo>
                        <a:pt x="28654" y="85426"/>
                      </a:lnTo>
                      <a:lnTo>
                        <a:pt x="29152" y="84757"/>
                      </a:lnTo>
                      <a:lnTo>
                        <a:pt x="29592" y="81277"/>
                      </a:lnTo>
                      <a:lnTo>
                        <a:pt x="31230" y="75972"/>
                      </a:lnTo>
                      <a:lnTo>
                        <a:pt x="32779" y="73013"/>
                      </a:lnTo>
                      <a:lnTo>
                        <a:pt x="33031" y="71775"/>
                      </a:lnTo>
                      <a:lnTo>
                        <a:pt x="33007" y="64750"/>
                      </a:lnTo>
                      <a:lnTo>
                        <a:pt x="33210" y="61188"/>
                      </a:lnTo>
                      <a:lnTo>
                        <a:pt x="32086" y="59509"/>
                      </a:lnTo>
                      <a:lnTo>
                        <a:pt x="29641" y="57684"/>
                      </a:lnTo>
                      <a:lnTo>
                        <a:pt x="30146" y="53862"/>
                      </a:lnTo>
                      <a:lnTo>
                        <a:pt x="30969" y="50879"/>
                      </a:lnTo>
                      <a:lnTo>
                        <a:pt x="33439" y="47220"/>
                      </a:lnTo>
                      <a:lnTo>
                        <a:pt x="35394" y="46209"/>
                      </a:lnTo>
                      <a:lnTo>
                        <a:pt x="43919" y="45606"/>
                      </a:lnTo>
                      <a:lnTo>
                        <a:pt x="53340" y="45850"/>
                      </a:lnTo>
                      <a:lnTo>
                        <a:pt x="57260" y="51392"/>
                      </a:lnTo>
                      <a:lnTo>
                        <a:pt x="55802" y="54237"/>
                      </a:lnTo>
                      <a:lnTo>
                        <a:pt x="58091" y="55565"/>
                      </a:lnTo>
                      <a:lnTo>
                        <a:pt x="59192" y="55076"/>
                      </a:lnTo>
                      <a:lnTo>
                        <a:pt x="60039" y="52607"/>
                      </a:lnTo>
                      <a:lnTo>
                        <a:pt x="60585" y="49860"/>
                      </a:lnTo>
                      <a:lnTo>
                        <a:pt x="61392" y="49029"/>
                      </a:lnTo>
                      <a:lnTo>
                        <a:pt x="64309" y="51074"/>
                      </a:lnTo>
                      <a:lnTo>
                        <a:pt x="65337" y="52468"/>
                      </a:lnTo>
                      <a:lnTo>
                        <a:pt x="65394" y="56983"/>
                      </a:lnTo>
                      <a:lnTo>
                        <a:pt x="66469" y="50879"/>
                      </a:lnTo>
                      <a:lnTo>
                        <a:pt x="65662" y="46600"/>
                      </a:lnTo>
                      <a:lnTo>
                        <a:pt x="66209" y="42452"/>
                      </a:lnTo>
                      <a:lnTo>
                        <a:pt x="67382" y="40292"/>
                      </a:lnTo>
                      <a:lnTo>
                        <a:pt x="68466" y="38915"/>
                      </a:lnTo>
                      <a:lnTo>
                        <a:pt x="75385" y="40398"/>
                      </a:lnTo>
                      <a:lnTo>
                        <a:pt x="83021" y="39632"/>
                      </a:lnTo>
                      <a:lnTo>
                        <a:pt x="85906" y="41238"/>
                      </a:lnTo>
                      <a:lnTo>
                        <a:pt x="92451" y="49241"/>
                      </a:lnTo>
                      <a:lnTo>
                        <a:pt x="94627" y="50553"/>
                      </a:lnTo>
                      <a:lnTo>
                        <a:pt x="97373" y="50960"/>
                      </a:lnTo>
                      <a:lnTo>
                        <a:pt x="93584" y="49257"/>
                      </a:lnTo>
                      <a:lnTo>
                        <a:pt x="85662" y="39510"/>
                      </a:lnTo>
                      <a:lnTo>
                        <a:pt x="83298" y="38304"/>
                      </a:lnTo>
                      <a:lnTo>
                        <a:pt x="79656" y="37937"/>
                      </a:lnTo>
                      <a:lnTo>
                        <a:pt x="77390" y="36984"/>
                      </a:lnTo>
                      <a:lnTo>
                        <a:pt x="75956" y="35508"/>
                      </a:lnTo>
                      <a:lnTo>
                        <a:pt x="75532" y="34188"/>
                      </a:lnTo>
                      <a:lnTo>
                        <a:pt x="75621" y="24351"/>
                      </a:lnTo>
                      <a:lnTo>
                        <a:pt x="74252" y="22885"/>
                      </a:lnTo>
                      <a:lnTo>
                        <a:pt x="72484" y="22379"/>
                      </a:lnTo>
                      <a:lnTo>
                        <a:pt x="71384" y="23056"/>
                      </a:lnTo>
                      <a:lnTo>
                        <a:pt x="69118" y="23064"/>
                      </a:lnTo>
                      <a:lnTo>
                        <a:pt x="68645" y="20839"/>
                      </a:lnTo>
                      <a:lnTo>
                        <a:pt x="69191" y="19185"/>
                      </a:lnTo>
                      <a:lnTo>
                        <a:pt x="73731" y="18052"/>
                      </a:lnTo>
                      <a:lnTo>
                        <a:pt x="76730" y="16536"/>
                      </a:lnTo>
                      <a:lnTo>
                        <a:pt x="76868" y="13855"/>
                      </a:lnTo>
                      <a:lnTo>
                        <a:pt x="74986" y="11752"/>
                      </a:lnTo>
                      <a:lnTo>
                        <a:pt x="72712" y="7881"/>
                      </a:lnTo>
                      <a:lnTo>
                        <a:pt x="70055" y="4246"/>
                      </a:lnTo>
                      <a:lnTo>
                        <a:pt x="69754" y="0"/>
                      </a:lnTo>
                      <a:lnTo>
                        <a:pt x="69770" y="0"/>
                      </a:lnTo>
                      <a:lnTo>
                        <a:pt x="74391" y="82"/>
                      </a:lnTo>
                      <a:lnTo>
                        <a:pt x="75524" y="245"/>
                      </a:lnTo>
                      <a:lnTo>
                        <a:pt x="82540" y="2233"/>
                      </a:lnTo>
                      <a:lnTo>
                        <a:pt x="84252" y="3610"/>
                      </a:lnTo>
                      <a:close/>
                    </a:path>
                  </a:pathLst>
                </a:custGeom>
                <a:solidFill>
                  <a:srgbClr val="D6D6D2"/>
                </a:solidFill>
                <a:ln w="6112" cap="rnd">
                  <a:solidFill>
                    <a:srgbClr val="FFFFFF"/>
                  </a:solidFill>
                  <a:prstDash val="solid"/>
                  <a:round/>
                </a:ln>
              </p:spPr>
              <p:txBody>
                <a:bodyPr rtlCol="0" anchor="ctr"/>
                <a:lstStyle/>
                <a:p>
                  <a:endParaRPr lang="en-US"/>
                </a:p>
              </p:txBody>
            </p:sp>
            <p:sp>
              <p:nvSpPr>
                <p:cNvPr id="750" name="Freeform: Shape 749">
                  <a:extLst>
                    <a:ext uri="{FF2B5EF4-FFF2-40B4-BE49-F238E27FC236}">
                      <a16:creationId xmlns:a16="http://schemas.microsoft.com/office/drawing/2014/main" id="{4A4B4EE2-0A01-4C44-B2A4-535F5E5EC45C}"/>
                    </a:ext>
                  </a:extLst>
                </p:cNvPr>
                <p:cNvSpPr/>
                <p:nvPr/>
              </p:nvSpPr>
              <p:spPr>
                <a:xfrm>
                  <a:off x="6243485" y="2886726"/>
                  <a:ext cx="167224" cy="89589"/>
                </a:xfrm>
                <a:custGeom>
                  <a:avLst/>
                  <a:gdLst>
                    <a:gd name="connsiteX0" fmla="*/ 67447 w 167224"/>
                    <a:gd name="connsiteY0" fmla="*/ 6569 h 89589"/>
                    <a:gd name="connsiteX1" fmla="*/ 69599 w 167224"/>
                    <a:gd name="connsiteY1" fmla="*/ 6487 h 89589"/>
                    <a:gd name="connsiteX2" fmla="*/ 71742 w 167224"/>
                    <a:gd name="connsiteY2" fmla="*/ 5550 h 89589"/>
                    <a:gd name="connsiteX3" fmla="*/ 71929 w 167224"/>
                    <a:gd name="connsiteY3" fmla="*/ 4067 h 89589"/>
                    <a:gd name="connsiteX4" fmla="*/ 71783 w 167224"/>
                    <a:gd name="connsiteY4" fmla="*/ 1271 h 89589"/>
                    <a:gd name="connsiteX5" fmla="*/ 72027 w 167224"/>
                    <a:gd name="connsiteY5" fmla="*/ 864 h 89589"/>
                    <a:gd name="connsiteX6" fmla="*/ 75303 w 167224"/>
                    <a:gd name="connsiteY6" fmla="*/ 1654 h 89589"/>
                    <a:gd name="connsiteX7" fmla="*/ 78588 w 167224"/>
                    <a:gd name="connsiteY7" fmla="*/ 2918 h 89589"/>
                    <a:gd name="connsiteX8" fmla="*/ 79045 w 167224"/>
                    <a:gd name="connsiteY8" fmla="*/ 5688 h 89589"/>
                    <a:gd name="connsiteX9" fmla="*/ 79924 w 167224"/>
                    <a:gd name="connsiteY9" fmla="*/ 7058 h 89589"/>
                    <a:gd name="connsiteX10" fmla="*/ 80968 w 167224"/>
                    <a:gd name="connsiteY10" fmla="*/ 8305 h 89589"/>
                    <a:gd name="connsiteX11" fmla="*/ 81970 w 167224"/>
                    <a:gd name="connsiteY11" fmla="*/ 8867 h 89589"/>
                    <a:gd name="connsiteX12" fmla="*/ 83674 w 167224"/>
                    <a:gd name="connsiteY12" fmla="*/ 8965 h 89589"/>
                    <a:gd name="connsiteX13" fmla="*/ 88148 w 167224"/>
                    <a:gd name="connsiteY13" fmla="*/ 10611 h 89589"/>
                    <a:gd name="connsiteX14" fmla="*/ 90291 w 167224"/>
                    <a:gd name="connsiteY14" fmla="*/ 10945 h 89589"/>
                    <a:gd name="connsiteX15" fmla="*/ 92491 w 167224"/>
                    <a:gd name="connsiteY15" fmla="*/ 12086 h 89589"/>
                    <a:gd name="connsiteX16" fmla="*/ 94350 w 167224"/>
                    <a:gd name="connsiteY16" fmla="*/ 13252 h 89589"/>
                    <a:gd name="connsiteX17" fmla="*/ 95711 w 167224"/>
                    <a:gd name="connsiteY17" fmla="*/ 13496 h 89589"/>
                    <a:gd name="connsiteX18" fmla="*/ 96330 w 167224"/>
                    <a:gd name="connsiteY18" fmla="*/ 14767 h 89589"/>
                    <a:gd name="connsiteX19" fmla="*/ 97161 w 167224"/>
                    <a:gd name="connsiteY19" fmla="*/ 15647 h 89589"/>
                    <a:gd name="connsiteX20" fmla="*/ 98620 w 167224"/>
                    <a:gd name="connsiteY20" fmla="*/ 14971 h 89589"/>
                    <a:gd name="connsiteX21" fmla="*/ 103983 w 167224"/>
                    <a:gd name="connsiteY21" fmla="*/ 14026 h 89589"/>
                    <a:gd name="connsiteX22" fmla="*/ 105914 w 167224"/>
                    <a:gd name="connsiteY22" fmla="*/ 15289 h 89589"/>
                    <a:gd name="connsiteX23" fmla="*/ 107210 w 167224"/>
                    <a:gd name="connsiteY23" fmla="*/ 16609 h 89589"/>
                    <a:gd name="connsiteX24" fmla="*/ 107389 w 167224"/>
                    <a:gd name="connsiteY24" fmla="*/ 17033 h 89589"/>
                    <a:gd name="connsiteX25" fmla="*/ 106705 w 167224"/>
                    <a:gd name="connsiteY25" fmla="*/ 18207 h 89589"/>
                    <a:gd name="connsiteX26" fmla="*/ 106379 w 167224"/>
                    <a:gd name="connsiteY26" fmla="*/ 19103 h 89589"/>
                    <a:gd name="connsiteX27" fmla="*/ 105816 w 167224"/>
                    <a:gd name="connsiteY27" fmla="*/ 19714 h 89589"/>
                    <a:gd name="connsiteX28" fmla="*/ 103991 w 167224"/>
                    <a:gd name="connsiteY28" fmla="*/ 20350 h 89589"/>
                    <a:gd name="connsiteX29" fmla="*/ 102948 w 167224"/>
                    <a:gd name="connsiteY29" fmla="*/ 21385 h 89589"/>
                    <a:gd name="connsiteX30" fmla="*/ 102198 w 167224"/>
                    <a:gd name="connsiteY30" fmla="*/ 22518 h 89589"/>
                    <a:gd name="connsiteX31" fmla="*/ 102695 w 167224"/>
                    <a:gd name="connsiteY31" fmla="*/ 23602 h 89589"/>
                    <a:gd name="connsiteX32" fmla="*/ 104203 w 167224"/>
                    <a:gd name="connsiteY32" fmla="*/ 24417 h 89589"/>
                    <a:gd name="connsiteX33" fmla="*/ 105270 w 167224"/>
                    <a:gd name="connsiteY33" fmla="*/ 24596 h 89589"/>
                    <a:gd name="connsiteX34" fmla="*/ 105669 w 167224"/>
                    <a:gd name="connsiteY34" fmla="*/ 25386 h 89589"/>
                    <a:gd name="connsiteX35" fmla="*/ 109068 w 167224"/>
                    <a:gd name="connsiteY35" fmla="*/ 28923 h 89589"/>
                    <a:gd name="connsiteX36" fmla="*/ 111774 w 167224"/>
                    <a:gd name="connsiteY36" fmla="*/ 33544 h 89589"/>
                    <a:gd name="connsiteX37" fmla="*/ 112825 w 167224"/>
                    <a:gd name="connsiteY37" fmla="*/ 34270 h 89589"/>
                    <a:gd name="connsiteX38" fmla="*/ 113819 w 167224"/>
                    <a:gd name="connsiteY38" fmla="*/ 34433 h 89589"/>
                    <a:gd name="connsiteX39" fmla="*/ 114960 w 167224"/>
                    <a:gd name="connsiteY39" fmla="*/ 33756 h 89589"/>
                    <a:gd name="connsiteX40" fmla="*/ 116289 w 167224"/>
                    <a:gd name="connsiteY40" fmla="*/ 32257 h 89589"/>
                    <a:gd name="connsiteX41" fmla="*/ 117870 w 167224"/>
                    <a:gd name="connsiteY41" fmla="*/ 31173 h 89589"/>
                    <a:gd name="connsiteX42" fmla="*/ 119198 w 167224"/>
                    <a:gd name="connsiteY42" fmla="*/ 30619 h 89589"/>
                    <a:gd name="connsiteX43" fmla="*/ 121529 w 167224"/>
                    <a:gd name="connsiteY43" fmla="*/ 29347 h 89589"/>
                    <a:gd name="connsiteX44" fmla="*/ 121619 w 167224"/>
                    <a:gd name="connsiteY44" fmla="*/ 28508 h 89589"/>
                    <a:gd name="connsiteX45" fmla="*/ 119663 w 167224"/>
                    <a:gd name="connsiteY45" fmla="*/ 25386 h 89589"/>
                    <a:gd name="connsiteX46" fmla="*/ 118546 w 167224"/>
                    <a:gd name="connsiteY46" fmla="*/ 22852 h 89589"/>
                    <a:gd name="connsiteX47" fmla="*/ 118807 w 167224"/>
                    <a:gd name="connsiteY47" fmla="*/ 22395 h 89589"/>
                    <a:gd name="connsiteX48" fmla="*/ 121309 w 167224"/>
                    <a:gd name="connsiteY48" fmla="*/ 22795 h 89589"/>
                    <a:gd name="connsiteX49" fmla="*/ 125555 w 167224"/>
                    <a:gd name="connsiteY49" fmla="*/ 24180 h 89589"/>
                    <a:gd name="connsiteX50" fmla="*/ 132083 w 167224"/>
                    <a:gd name="connsiteY50" fmla="*/ 28695 h 89589"/>
                    <a:gd name="connsiteX51" fmla="*/ 133256 w 167224"/>
                    <a:gd name="connsiteY51" fmla="*/ 28695 h 89589"/>
                    <a:gd name="connsiteX52" fmla="*/ 135547 w 167224"/>
                    <a:gd name="connsiteY52" fmla="*/ 28353 h 89589"/>
                    <a:gd name="connsiteX53" fmla="*/ 138024 w 167224"/>
                    <a:gd name="connsiteY53" fmla="*/ 27620 h 89589"/>
                    <a:gd name="connsiteX54" fmla="*/ 139206 w 167224"/>
                    <a:gd name="connsiteY54" fmla="*/ 26780 h 89589"/>
                    <a:gd name="connsiteX55" fmla="*/ 139646 w 167224"/>
                    <a:gd name="connsiteY55" fmla="*/ 27090 h 89589"/>
                    <a:gd name="connsiteX56" fmla="*/ 140029 w 167224"/>
                    <a:gd name="connsiteY56" fmla="*/ 29567 h 89589"/>
                    <a:gd name="connsiteX57" fmla="*/ 139377 w 167224"/>
                    <a:gd name="connsiteY57" fmla="*/ 30928 h 89589"/>
                    <a:gd name="connsiteX58" fmla="*/ 136402 w 167224"/>
                    <a:gd name="connsiteY58" fmla="*/ 32240 h 89589"/>
                    <a:gd name="connsiteX59" fmla="*/ 136573 w 167224"/>
                    <a:gd name="connsiteY59" fmla="*/ 32900 h 89589"/>
                    <a:gd name="connsiteX60" fmla="*/ 137331 w 167224"/>
                    <a:gd name="connsiteY60" fmla="*/ 33740 h 89589"/>
                    <a:gd name="connsiteX61" fmla="*/ 138676 w 167224"/>
                    <a:gd name="connsiteY61" fmla="*/ 34319 h 89589"/>
                    <a:gd name="connsiteX62" fmla="*/ 140298 w 167224"/>
                    <a:gd name="connsiteY62" fmla="*/ 35924 h 89589"/>
                    <a:gd name="connsiteX63" fmla="*/ 141414 w 167224"/>
                    <a:gd name="connsiteY63" fmla="*/ 37750 h 89589"/>
                    <a:gd name="connsiteX64" fmla="*/ 142400 w 167224"/>
                    <a:gd name="connsiteY64" fmla="*/ 38605 h 89589"/>
                    <a:gd name="connsiteX65" fmla="*/ 143476 w 167224"/>
                    <a:gd name="connsiteY65" fmla="*/ 38996 h 89589"/>
                    <a:gd name="connsiteX66" fmla="*/ 146182 w 167224"/>
                    <a:gd name="connsiteY66" fmla="*/ 38027 h 89589"/>
                    <a:gd name="connsiteX67" fmla="*/ 146948 w 167224"/>
                    <a:gd name="connsiteY67" fmla="*/ 37261 h 89589"/>
                    <a:gd name="connsiteX68" fmla="*/ 147290 w 167224"/>
                    <a:gd name="connsiteY68" fmla="*/ 36706 h 89589"/>
                    <a:gd name="connsiteX69" fmla="*/ 147812 w 167224"/>
                    <a:gd name="connsiteY69" fmla="*/ 36829 h 89589"/>
                    <a:gd name="connsiteX70" fmla="*/ 148765 w 167224"/>
                    <a:gd name="connsiteY70" fmla="*/ 37725 h 89589"/>
                    <a:gd name="connsiteX71" fmla="*/ 149043 w 167224"/>
                    <a:gd name="connsiteY71" fmla="*/ 38255 h 89589"/>
                    <a:gd name="connsiteX72" fmla="*/ 151675 w 167224"/>
                    <a:gd name="connsiteY72" fmla="*/ 39274 h 89589"/>
                    <a:gd name="connsiteX73" fmla="*/ 153191 w 167224"/>
                    <a:gd name="connsiteY73" fmla="*/ 40537 h 89589"/>
                    <a:gd name="connsiteX74" fmla="*/ 154153 w 167224"/>
                    <a:gd name="connsiteY74" fmla="*/ 41124 h 89589"/>
                    <a:gd name="connsiteX75" fmla="*/ 155228 w 167224"/>
                    <a:gd name="connsiteY75" fmla="*/ 40545 h 89589"/>
                    <a:gd name="connsiteX76" fmla="*/ 159384 w 167224"/>
                    <a:gd name="connsiteY76" fmla="*/ 41547 h 89589"/>
                    <a:gd name="connsiteX77" fmla="*/ 160533 w 167224"/>
                    <a:gd name="connsiteY77" fmla="*/ 42387 h 89589"/>
                    <a:gd name="connsiteX78" fmla="*/ 160901 w 167224"/>
                    <a:gd name="connsiteY78" fmla="*/ 43780 h 89589"/>
                    <a:gd name="connsiteX79" fmla="*/ 160697 w 167224"/>
                    <a:gd name="connsiteY79" fmla="*/ 44628 h 89589"/>
                    <a:gd name="connsiteX80" fmla="*/ 161340 w 167224"/>
                    <a:gd name="connsiteY80" fmla="*/ 46804 h 89589"/>
                    <a:gd name="connsiteX81" fmla="*/ 166597 w 167224"/>
                    <a:gd name="connsiteY81" fmla="*/ 52044 h 89589"/>
                    <a:gd name="connsiteX82" fmla="*/ 167151 w 167224"/>
                    <a:gd name="connsiteY82" fmla="*/ 54717 h 89589"/>
                    <a:gd name="connsiteX83" fmla="*/ 167225 w 167224"/>
                    <a:gd name="connsiteY83" fmla="*/ 55785 h 89589"/>
                    <a:gd name="connsiteX84" fmla="*/ 166605 w 167224"/>
                    <a:gd name="connsiteY84" fmla="*/ 55842 h 89589"/>
                    <a:gd name="connsiteX85" fmla="*/ 165179 w 167224"/>
                    <a:gd name="connsiteY85" fmla="*/ 56396 h 89589"/>
                    <a:gd name="connsiteX86" fmla="*/ 163362 w 167224"/>
                    <a:gd name="connsiteY86" fmla="*/ 56600 h 89589"/>
                    <a:gd name="connsiteX87" fmla="*/ 161373 w 167224"/>
                    <a:gd name="connsiteY87" fmla="*/ 56486 h 89589"/>
                    <a:gd name="connsiteX88" fmla="*/ 159849 w 167224"/>
                    <a:gd name="connsiteY88" fmla="*/ 57464 h 89589"/>
                    <a:gd name="connsiteX89" fmla="*/ 158390 w 167224"/>
                    <a:gd name="connsiteY89" fmla="*/ 59037 h 89589"/>
                    <a:gd name="connsiteX90" fmla="*/ 156899 w 167224"/>
                    <a:gd name="connsiteY90" fmla="*/ 60137 h 89589"/>
                    <a:gd name="connsiteX91" fmla="*/ 156092 w 167224"/>
                    <a:gd name="connsiteY91" fmla="*/ 61115 h 89589"/>
                    <a:gd name="connsiteX92" fmla="*/ 155627 w 167224"/>
                    <a:gd name="connsiteY92" fmla="*/ 62117 h 89589"/>
                    <a:gd name="connsiteX93" fmla="*/ 150575 w 167224"/>
                    <a:gd name="connsiteY93" fmla="*/ 64970 h 89589"/>
                    <a:gd name="connsiteX94" fmla="*/ 149866 w 167224"/>
                    <a:gd name="connsiteY94" fmla="*/ 66168 h 89589"/>
                    <a:gd name="connsiteX95" fmla="*/ 149312 w 167224"/>
                    <a:gd name="connsiteY95" fmla="*/ 67790 h 89589"/>
                    <a:gd name="connsiteX96" fmla="*/ 149075 w 167224"/>
                    <a:gd name="connsiteY96" fmla="*/ 69974 h 89589"/>
                    <a:gd name="connsiteX97" fmla="*/ 148716 w 167224"/>
                    <a:gd name="connsiteY97" fmla="*/ 71938 h 89589"/>
                    <a:gd name="connsiteX98" fmla="*/ 147844 w 167224"/>
                    <a:gd name="connsiteY98" fmla="*/ 72965 h 89589"/>
                    <a:gd name="connsiteX99" fmla="*/ 145114 w 167224"/>
                    <a:gd name="connsiteY99" fmla="*/ 73861 h 89589"/>
                    <a:gd name="connsiteX100" fmla="*/ 144429 w 167224"/>
                    <a:gd name="connsiteY100" fmla="*/ 74334 h 89589"/>
                    <a:gd name="connsiteX101" fmla="*/ 143925 w 167224"/>
                    <a:gd name="connsiteY101" fmla="*/ 75336 h 89589"/>
                    <a:gd name="connsiteX102" fmla="*/ 142384 w 167224"/>
                    <a:gd name="connsiteY102" fmla="*/ 76868 h 89589"/>
                    <a:gd name="connsiteX103" fmla="*/ 140599 w 167224"/>
                    <a:gd name="connsiteY103" fmla="*/ 78335 h 89589"/>
                    <a:gd name="connsiteX104" fmla="*/ 137290 w 167224"/>
                    <a:gd name="connsiteY104" fmla="*/ 80014 h 89589"/>
                    <a:gd name="connsiteX105" fmla="*/ 133753 w 167224"/>
                    <a:gd name="connsiteY105" fmla="*/ 80519 h 89589"/>
                    <a:gd name="connsiteX106" fmla="*/ 129141 w 167224"/>
                    <a:gd name="connsiteY106" fmla="*/ 79973 h 89589"/>
                    <a:gd name="connsiteX107" fmla="*/ 126451 w 167224"/>
                    <a:gd name="connsiteY107" fmla="*/ 79313 h 89589"/>
                    <a:gd name="connsiteX108" fmla="*/ 125155 w 167224"/>
                    <a:gd name="connsiteY108" fmla="*/ 80039 h 89589"/>
                    <a:gd name="connsiteX109" fmla="*/ 123346 w 167224"/>
                    <a:gd name="connsiteY109" fmla="*/ 82214 h 89589"/>
                    <a:gd name="connsiteX110" fmla="*/ 121415 w 167224"/>
                    <a:gd name="connsiteY110" fmla="*/ 85963 h 89589"/>
                    <a:gd name="connsiteX111" fmla="*/ 120616 w 167224"/>
                    <a:gd name="connsiteY111" fmla="*/ 88775 h 89589"/>
                    <a:gd name="connsiteX112" fmla="*/ 120005 w 167224"/>
                    <a:gd name="connsiteY112" fmla="*/ 87976 h 89589"/>
                    <a:gd name="connsiteX113" fmla="*/ 118896 w 167224"/>
                    <a:gd name="connsiteY113" fmla="*/ 84994 h 89589"/>
                    <a:gd name="connsiteX114" fmla="*/ 117641 w 167224"/>
                    <a:gd name="connsiteY114" fmla="*/ 84611 h 89589"/>
                    <a:gd name="connsiteX115" fmla="*/ 115938 w 167224"/>
                    <a:gd name="connsiteY115" fmla="*/ 84333 h 89589"/>
                    <a:gd name="connsiteX116" fmla="*/ 114659 w 167224"/>
                    <a:gd name="connsiteY116" fmla="*/ 83893 h 89589"/>
                    <a:gd name="connsiteX117" fmla="*/ 111888 w 167224"/>
                    <a:gd name="connsiteY117" fmla="*/ 82166 h 89589"/>
                    <a:gd name="connsiteX118" fmla="*/ 110462 w 167224"/>
                    <a:gd name="connsiteY118" fmla="*/ 81652 h 89589"/>
                    <a:gd name="connsiteX119" fmla="*/ 108832 w 167224"/>
                    <a:gd name="connsiteY119" fmla="*/ 81514 h 89589"/>
                    <a:gd name="connsiteX120" fmla="*/ 107275 w 167224"/>
                    <a:gd name="connsiteY120" fmla="*/ 82532 h 89589"/>
                    <a:gd name="connsiteX121" fmla="*/ 106085 w 167224"/>
                    <a:gd name="connsiteY121" fmla="*/ 83722 h 89589"/>
                    <a:gd name="connsiteX122" fmla="*/ 102418 w 167224"/>
                    <a:gd name="connsiteY122" fmla="*/ 83706 h 89589"/>
                    <a:gd name="connsiteX123" fmla="*/ 98392 w 167224"/>
                    <a:gd name="connsiteY123" fmla="*/ 83152 h 89589"/>
                    <a:gd name="connsiteX124" fmla="*/ 92638 w 167224"/>
                    <a:gd name="connsiteY124" fmla="*/ 79199 h 89589"/>
                    <a:gd name="connsiteX125" fmla="*/ 91147 w 167224"/>
                    <a:gd name="connsiteY125" fmla="*/ 79158 h 89589"/>
                    <a:gd name="connsiteX126" fmla="*/ 89565 w 167224"/>
                    <a:gd name="connsiteY126" fmla="*/ 79338 h 89589"/>
                    <a:gd name="connsiteX127" fmla="*/ 87048 w 167224"/>
                    <a:gd name="connsiteY127" fmla="*/ 78392 h 89589"/>
                    <a:gd name="connsiteX128" fmla="*/ 82174 w 167224"/>
                    <a:gd name="connsiteY128" fmla="*/ 75833 h 89589"/>
                    <a:gd name="connsiteX129" fmla="*/ 79884 w 167224"/>
                    <a:gd name="connsiteY129" fmla="*/ 75230 h 89589"/>
                    <a:gd name="connsiteX130" fmla="*/ 78450 w 167224"/>
                    <a:gd name="connsiteY130" fmla="*/ 75597 h 89589"/>
                    <a:gd name="connsiteX131" fmla="*/ 77129 w 167224"/>
                    <a:gd name="connsiteY131" fmla="*/ 76167 h 89589"/>
                    <a:gd name="connsiteX132" fmla="*/ 76192 w 167224"/>
                    <a:gd name="connsiteY132" fmla="*/ 76233 h 89589"/>
                    <a:gd name="connsiteX133" fmla="*/ 75646 w 167224"/>
                    <a:gd name="connsiteY133" fmla="*/ 75401 h 89589"/>
                    <a:gd name="connsiteX134" fmla="*/ 73837 w 167224"/>
                    <a:gd name="connsiteY134" fmla="*/ 74366 h 89589"/>
                    <a:gd name="connsiteX135" fmla="*/ 72019 w 167224"/>
                    <a:gd name="connsiteY135" fmla="*/ 74252 h 89589"/>
                    <a:gd name="connsiteX136" fmla="*/ 71490 w 167224"/>
                    <a:gd name="connsiteY136" fmla="*/ 74872 h 89589"/>
                    <a:gd name="connsiteX137" fmla="*/ 70878 w 167224"/>
                    <a:gd name="connsiteY137" fmla="*/ 80519 h 89589"/>
                    <a:gd name="connsiteX138" fmla="*/ 70259 w 167224"/>
                    <a:gd name="connsiteY138" fmla="*/ 82549 h 89589"/>
                    <a:gd name="connsiteX139" fmla="*/ 67757 w 167224"/>
                    <a:gd name="connsiteY139" fmla="*/ 82451 h 89589"/>
                    <a:gd name="connsiteX140" fmla="*/ 66869 w 167224"/>
                    <a:gd name="connsiteY140" fmla="*/ 83421 h 89589"/>
                    <a:gd name="connsiteX141" fmla="*/ 64913 w 167224"/>
                    <a:gd name="connsiteY141" fmla="*/ 86143 h 89589"/>
                    <a:gd name="connsiteX142" fmla="*/ 64521 w 167224"/>
                    <a:gd name="connsiteY142" fmla="*/ 88759 h 89589"/>
                    <a:gd name="connsiteX143" fmla="*/ 61123 w 167224"/>
                    <a:gd name="connsiteY143" fmla="*/ 88253 h 89589"/>
                    <a:gd name="connsiteX144" fmla="*/ 59493 w 167224"/>
                    <a:gd name="connsiteY144" fmla="*/ 87813 h 89589"/>
                    <a:gd name="connsiteX145" fmla="*/ 58067 w 167224"/>
                    <a:gd name="connsiteY145" fmla="*/ 88147 h 89589"/>
                    <a:gd name="connsiteX146" fmla="*/ 56494 w 167224"/>
                    <a:gd name="connsiteY146" fmla="*/ 89590 h 89589"/>
                    <a:gd name="connsiteX147" fmla="*/ 52077 w 167224"/>
                    <a:gd name="connsiteY147" fmla="*/ 89509 h 89589"/>
                    <a:gd name="connsiteX148" fmla="*/ 48589 w 167224"/>
                    <a:gd name="connsiteY148" fmla="*/ 88645 h 89589"/>
                    <a:gd name="connsiteX149" fmla="*/ 47097 w 167224"/>
                    <a:gd name="connsiteY149" fmla="*/ 85393 h 89589"/>
                    <a:gd name="connsiteX150" fmla="*/ 45500 w 167224"/>
                    <a:gd name="connsiteY150" fmla="*/ 84122 h 89589"/>
                    <a:gd name="connsiteX151" fmla="*/ 43487 w 167224"/>
                    <a:gd name="connsiteY151" fmla="*/ 82964 h 89589"/>
                    <a:gd name="connsiteX152" fmla="*/ 42786 w 167224"/>
                    <a:gd name="connsiteY152" fmla="*/ 82712 h 89589"/>
                    <a:gd name="connsiteX153" fmla="*/ 41670 w 167224"/>
                    <a:gd name="connsiteY153" fmla="*/ 80943 h 89589"/>
                    <a:gd name="connsiteX154" fmla="*/ 39559 w 167224"/>
                    <a:gd name="connsiteY154" fmla="*/ 78751 h 89589"/>
                    <a:gd name="connsiteX155" fmla="*/ 36160 w 167224"/>
                    <a:gd name="connsiteY155" fmla="*/ 75752 h 89589"/>
                    <a:gd name="connsiteX156" fmla="*/ 33504 w 167224"/>
                    <a:gd name="connsiteY156" fmla="*/ 75898 h 89589"/>
                    <a:gd name="connsiteX157" fmla="*/ 32526 w 167224"/>
                    <a:gd name="connsiteY157" fmla="*/ 75100 h 89589"/>
                    <a:gd name="connsiteX158" fmla="*/ 32086 w 167224"/>
                    <a:gd name="connsiteY158" fmla="*/ 74000 h 89589"/>
                    <a:gd name="connsiteX159" fmla="*/ 30977 w 167224"/>
                    <a:gd name="connsiteY159" fmla="*/ 72093 h 89589"/>
                    <a:gd name="connsiteX160" fmla="*/ 29738 w 167224"/>
                    <a:gd name="connsiteY160" fmla="*/ 70764 h 89589"/>
                    <a:gd name="connsiteX161" fmla="*/ 28231 w 167224"/>
                    <a:gd name="connsiteY161" fmla="*/ 70251 h 89589"/>
                    <a:gd name="connsiteX162" fmla="*/ 26063 w 167224"/>
                    <a:gd name="connsiteY162" fmla="*/ 68564 h 89589"/>
                    <a:gd name="connsiteX163" fmla="*/ 23162 w 167224"/>
                    <a:gd name="connsiteY163" fmla="*/ 64880 h 89589"/>
                    <a:gd name="connsiteX164" fmla="*/ 20497 w 167224"/>
                    <a:gd name="connsiteY164" fmla="*/ 62329 h 89589"/>
                    <a:gd name="connsiteX165" fmla="*/ 17946 w 167224"/>
                    <a:gd name="connsiteY165" fmla="*/ 62370 h 89589"/>
                    <a:gd name="connsiteX166" fmla="*/ 16324 w 167224"/>
                    <a:gd name="connsiteY166" fmla="*/ 61033 h 89589"/>
                    <a:gd name="connsiteX167" fmla="*/ 14669 w 167224"/>
                    <a:gd name="connsiteY167" fmla="*/ 59281 h 89589"/>
                    <a:gd name="connsiteX168" fmla="*/ 13447 w 167224"/>
                    <a:gd name="connsiteY168" fmla="*/ 57586 h 89589"/>
                    <a:gd name="connsiteX169" fmla="*/ 11548 w 167224"/>
                    <a:gd name="connsiteY169" fmla="*/ 53454 h 89589"/>
                    <a:gd name="connsiteX170" fmla="*/ 10187 w 167224"/>
                    <a:gd name="connsiteY170" fmla="*/ 51107 h 89589"/>
                    <a:gd name="connsiteX171" fmla="*/ 9103 w 167224"/>
                    <a:gd name="connsiteY171" fmla="*/ 49648 h 89589"/>
                    <a:gd name="connsiteX172" fmla="*/ 7897 w 167224"/>
                    <a:gd name="connsiteY172" fmla="*/ 48434 h 89589"/>
                    <a:gd name="connsiteX173" fmla="*/ 7457 w 167224"/>
                    <a:gd name="connsiteY173" fmla="*/ 47464 h 89589"/>
                    <a:gd name="connsiteX174" fmla="*/ 8932 w 167224"/>
                    <a:gd name="connsiteY174" fmla="*/ 45264 h 89589"/>
                    <a:gd name="connsiteX175" fmla="*/ 9478 w 167224"/>
                    <a:gd name="connsiteY175" fmla="*/ 44180 h 89589"/>
                    <a:gd name="connsiteX176" fmla="*/ 10114 w 167224"/>
                    <a:gd name="connsiteY176" fmla="*/ 43348 h 89589"/>
                    <a:gd name="connsiteX177" fmla="*/ 10481 w 167224"/>
                    <a:gd name="connsiteY177" fmla="*/ 42452 h 89589"/>
                    <a:gd name="connsiteX178" fmla="*/ 10473 w 167224"/>
                    <a:gd name="connsiteY178" fmla="*/ 41784 h 89589"/>
                    <a:gd name="connsiteX179" fmla="*/ 9120 w 167224"/>
                    <a:gd name="connsiteY179" fmla="*/ 39616 h 89589"/>
                    <a:gd name="connsiteX180" fmla="*/ 7294 w 167224"/>
                    <a:gd name="connsiteY180" fmla="*/ 38043 h 89589"/>
                    <a:gd name="connsiteX181" fmla="*/ 4629 w 167224"/>
                    <a:gd name="connsiteY181" fmla="*/ 36446 h 89589"/>
                    <a:gd name="connsiteX182" fmla="*/ 2926 w 167224"/>
                    <a:gd name="connsiteY182" fmla="*/ 34433 h 89589"/>
                    <a:gd name="connsiteX183" fmla="*/ 2299 w 167224"/>
                    <a:gd name="connsiteY183" fmla="*/ 32591 h 89589"/>
                    <a:gd name="connsiteX184" fmla="*/ 2111 w 167224"/>
                    <a:gd name="connsiteY184" fmla="*/ 31580 h 89589"/>
                    <a:gd name="connsiteX185" fmla="*/ 946 w 167224"/>
                    <a:gd name="connsiteY185" fmla="*/ 30203 h 89589"/>
                    <a:gd name="connsiteX186" fmla="*/ 0 w 167224"/>
                    <a:gd name="connsiteY186" fmla="*/ 28190 h 89589"/>
                    <a:gd name="connsiteX187" fmla="*/ 0 w 167224"/>
                    <a:gd name="connsiteY187" fmla="*/ 26976 h 89589"/>
                    <a:gd name="connsiteX188" fmla="*/ 236 w 167224"/>
                    <a:gd name="connsiteY188" fmla="*/ 26641 h 89589"/>
                    <a:gd name="connsiteX189" fmla="*/ 1117 w 167224"/>
                    <a:gd name="connsiteY189" fmla="*/ 26641 h 89589"/>
                    <a:gd name="connsiteX190" fmla="*/ 2111 w 167224"/>
                    <a:gd name="connsiteY190" fmla="*/ 27465 h 89589"/>
                    <a:gd name="connsiteX191" fmla="*/ 3496 w 167224"/>
                    <a:gd name="connsiteY191" fmla="*/ 29062 h 89589"/>
                    <a:gd name="connsiteX192" fmla="*/ 4654 w 167224"/>
                    <a:gd name="connsiteY192" fmla="*/ 31368 h 89589"/>
                    <a:gd name="connsiteX193" fmla="*/ 5355 w 167224"/>
                    <a:gd name="connsiteY193" fmla="*/ 30488 h 89589"/>
                    <a:gd name="connsiteX194" fmla="*/ 6658 w 167224"/>
                    <a:gd name="connsiteY194" fmla="*/ 28019 h 89589"/>
                    <a:gd name="connsiteX195" fmla="*/ 8997 w 167224"/>
                    <a:gd name="connsiteY195" fmla="*/ 25223 h 89589"/>
                    <a:gd name="connsiteX196" fmla="*/ 11385 w 167224"/>
                    <a:gd name="connsiteY196" fmla="*/ 23626 h 89589"/>
                    <a:gd name="connsiteX197" fmla="*/ 13537 w 167224"/>
                    <a:gd name="connsiteY197" fmla="*/ 23496 h 89589"/>
                    <a:gd name="connsiteX198" fmla="*/ 15297 w 167224"/>
                    <a:gd name="connsiteY198" fmla="*/ 23056 h 89589"/>
                    <a:gd name="connsiteX199" fmla="*/ 16756 w 167224"/>
                    <a:gd name="connsiteY199" fmla="*/ 22257 h 89589"/>
                    <a:gd name="connsiteX200" fmla="*/ 19315 w 167224"/>
                    <a:gd name="connsiteY200" fmla="*/ 22575 h 89589"/>
                    <a:gd name="connsiteX201" fmla="*/ 21140 w 167224"/>
                    <a:gd name="connsiteY201" fmla="*/ 23153 h 89589"/>
                    <a:gd name="connsiteX202" fmla="*/ 21760 w 167224"/>
                    <a:gd name="connsiteY202" fmla="*/ 22795 h 89589"/>
                    <a:gd name="connsiteX203" fmla="*/ 22493 w 167224"/>
                    <a:gd name="connsiteY203" fmla="*/ 21336 h 89589"/>
                    <a:gd name="connsiteX204" fmla="*/ 22982 w 167224"/>
                    <a:gd name="connsiteY204" fmla="*/ 20081 h 89589"/>
                    <a:gd name="connsiteX205" fmla="*/ 27074 w 167224"/>
                    <a:gd name="connsiteY205" fmla="*/ 19348 h 89589"/>
                    <a:gd name="connsiteX206" fmla="*/ 28467 w 167224"/>
                    <a:gd name="connsiteY206" fmla="*/ 16919 h 89589"/>
                    <a:gd name="connsiteX207" fmla="*/ 29258 w 167224"/>
                    <a:gd name="connsiteY207" fmla="*/ 16927 h 89589"/>
                    <a:gd name="connsiteX208" fmla="*/ 30171 w 167224"/>
                    <a:gd name="connsiteY208" fmla="*/ 16568 h 89589"/>
                    <a:gd name="connsiteX209" fmla="*/ 31035 w 167224"/>
                    <a:gd name="connsiteY209" fmla="*/ 15647 h 89589"/>
                    <a:gd name="connsiteX210" fmla="*/ 31866 w 167224"/>
                    <a:gd name="connsiteY210" fmla="*/ 15264 h 89589"/>
                    <a:gd name="connsiteX211" fmla="*/ 32526 w 167224"/>
                    <a:gd name="connsiteY211" fmla="*/ 15721 h 89589"/>
                    <a:gd name="connsiteX212" fmla="*/ 33389 w 167224"/>
                    <a:gd name="connsiteY212" fmla="*/ 16030 h 89589"/>
                    <a:gd name="connsiteX213" fmla="*/ 34303 w 167224"/>
                    <a:gd name="connsiteY213" fmla="*/ 15452 h 89589"/>
                    <a:gd name="connsiteX214" fmla="*/ 35631 w 167224"/>
                    <a:gd name="connsiteY214" fmla="*/ 12665 h 89589"/>
                    <a:gd name="connsiteX215" fmla="*/ 36389 w 167224"/>
                    <a:gd name="connsiteY215" fmla="*/ 12233 h 89589"/>
                    <a:gd name="connsiteX216" fmla="*/ 39975 w 167224"/>
                    <a:gd name="connsiteY216" fmla="*/ 11801 h 89589"/>
                    <a:gd name="connsiteX217" fmla="*/ 44864 w 167224"/>
                    <a:gd name="connsiteY217" fmla="*/ 10155 h 89589"/>
                    <a:gd name="connsiteX218" fmla="*/ 47334 w 167224"/>
                    <a:gd name="connsiteY218" fmla="*/ 8696 h 89589"/>
                    <a:gd name="connsiteX219" fmla="*/ 49762 w 167224"/>
                    <a:gd name="connsiteY219" fmla="*/ 7897 h 89589"/>
                    <a:gd name="connsiteX220" fmla="*/ 52387 w 167224"/>
                    <a:gd name="connsiteY220" fmla="*/ 6487 h 89589"/>
                    <a:gd name="connsiteX221" fmla="*/ 56527 w 167224"/>
                    <a:gd name="connsiteY221" fmla="*/ 5110 h 89589"/>
                    <a:gd name="connsiteX222" fmla="*/ 56730 w 167224"/>
                    <a:gd name="connsiteY222" fmla="*/ 4548 h 89589"/>
                    <a:gd name="connsiteX223" fmla="*/ 54799 w 167224"/>
                    <a:gd name="connsiteY223" fmla="*/ 3138 h 89589"/>
                    <a:gd name="connsiteX224" fmla="*/ 54155 w 167224"/>
                    <a:gd name="connsiteY224" fmla="*/ 2241 h 89589"/>
                    <a:gd name="connsiteX225" fmla="*/ 53715 w 167224"/>
                    <a:gd name="connsiteY225" fmla="*/ 1320 h 89589"/>
                    <a:gd name="connsiteX226" fmla="*/ 54391 w 167224"/>
                    <a:gd name="connsiteY226" fmla="*/ 302 h 89589"/>
                    <a:gd name="connsiteX227" fmla="*/ 55312 w 167224"/>
                    <a:gd name="connsiteY227" fmla="*/ 0 h 89589"/>
                    <a:gd name="connsiteX228" fmla="*/ 56486 w 167224"/>
                    <a:gd name="connsiteY228" fmla="*/ 424 h 89589"/>
                    <a:gd name="connsiteX229" fmla="*/ 59958 w 167224"/>
                    <a:gd name="connsiteY229" fmla="*/ 1027 h 89589"/>
                    <a:gd name="connsiteX230" fmla="*/ 60903 w 167224"/>
                    <a:gd name="connsiteY230" fmla="*/ 1614 h 89589"/>
                    <a:gd name="connsiteX231" fmla="*/ 61253 w 167224"/>
                    <a:gd name="connsiteY231" fmla="*/ 3048 h 89589"/>
                    <a:gd name="connsiteX232" fmla="*/ 62150 w 167224"/>
                    <a:gd name="connsiteY232" fmla="*/ 4385 h 89589"/>
                    <a:gd name="connsiteX233" fmla="*/ 62843 w 167224"/>
                    <a:gd name="connsiteY233" fmla="*/ 4523 h 89589"/>
                    <a:gd name="connsiteX234" fmla="*/ 62598 w 167224"/>
                    <a:gd name="connsiteY234" fmla="*/ 6699 h 89589"/>
                    <a:gd name="connsiteX235" fmla="*/ 63699 w 167224"/>
                    <a:gd name="connsiteY235" fmla="*/ 7539 h 89589"/>
                    <a:gd name="connsiteX236" fmla="*/ 65312 w 167224"/>
                    <a:gd name="connsiteY236" fmla="*/ 8199 h 89589"/>
                    <a:gd name="connsiteX237" fmla="*/ 66388 w 167224"/>
                    <a:gd name="connsiteY237" fmla="*/ 8060 h 89589"/>
                    <a:gd name="connsiteX238" fmla="*/ 67154 w 167224"/>
                    <a:gd name="connsiteY238" fmla="*/ 7180 h 89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Lst>
                  <a:rect l="l" t="t" r="r" b="b"/>
                  <a:pathLst>
                    <a:path w="167224" h="89589">
                      <a:moveTo>
                        <a:pt x="67447" y="6569"/>
                      </a:moveTo>
                      <a:lnTo>
                        <a:pt x="69599" y="6487"/>
                      </a:lnTo>
                      <a:lnTo>
                        <a:pt x="71742" y="5550"/>
                      </a:lnTo>
                      <a:lnTo>
                        <a:pt x="71929" y="4067"/>
                      </a:lnTo>
                      <a:lnTo>
                        <a:pt x="71783" y="1271"/>
                      </a:lnTo>
                      <a:lnTo>
                        <a:pt x="72027" y="864"/>
                      </a:lnTo>
                      <a:lnTo>
                        <a:pt x="75303" y="1654"/>
                      </a:lnTo>
                      <a:lnTo>
                        <a:pt x="78588" y="2918"/>
                      </a:lnTo>
                      <a:lnTo>
                        <a:pt x="79045" y="5688"/>
                      </a:lnTo>
                      <a:lnTo>
                        <a:pt x="79924" y="7058"/>
                      </a:lnTo>
                      <a:lnTo>
                        <a:pt x="80968" y="8305"/>
                      </a:lnTo>
                      <a:lnTo>
                        <a:pt x="81970" y="8867"/>
                      </a:lnTo>
                      <a:lnTo>
                        <a:pt x="83674" y="8965"/>
                      </a:lnTo>
                      <a:lnTo>
                        <a:pt x="88148" y="10611"/>
                      </a:lnTo>
                      <a:lnTo>
                        <a:pt x="90291" y="10945"/>
                      </a:lnTo>
                      <a:lnTo>
                        <a:pt x="92491" y="12086"/>
                      </a:lnTo>
                      <a:lnTo>
                        <a:pt x="94350" y="13252"/>
                      </a:lnTo>
                      <a:lnTo>
                        <a:pt x="95711" y="13496"/>
                      </a:lnTo>
                      <a:lnTo>
                        <a:pt x="96330" y="14767"/>
                      </a:lnTo>
                      <a:lnTo>
                        <a:pt x="97161" y="15647"/>
                      </a:lnTo>
                      <a:lnTo>
                        <a:pt x="98620" y="14971"/>
                      </a:lnTo>
                      <a:lnTo>
                        <a:pt x="103983" y="14026"/>
                      </a:lnTo>
                      <a:lnTo>
                        <a:pt x="105914" y="15289"/>
                      </a:lnTo>
                      <a:lnTo>
                        <a:pt x="107210" y="16609"/>
                      </a:lnTo>
                      <a:lnTo>
                        <a:pt x="107389" y="17033"/>
                      </a:lnTo>
                      <a:lnTo>
                        <a:pt x="106705" y="18207"/>
                      </a:lnTo>
                      <a:lnTo>
                        <a:pt x="106379" y="19103"/>
                      </a:lnTo>
                      <a:lnTo>
                        <a:pt x="105816" y="19714"/>
                      </a:lnTo>
                      <a:lnTo>
                        <a:pt x="103991" y="20350"/>
                      </a:lnTo>
                      <a:lnTo>
                        <a:pt x="102948" y="21385"/>
                      </a:lnTo>
                      <a:lnTo>
                        <a:pt x="102198" y="22518"/>
                      </a:lnTo>
                      <a:lnTo>
                        <a:pt x="102695" y="23602"/>
                      </a:lnTo>
                      <a:lnTo>
                        <a:pt x="104203" y="24417"/>
                      </a:lnTo>
                      <a:lnTo>
                        <a:pt x="105270" y="24596"/>
                      </a:lnTo>
                      <a:lnTo>
                        <a:pt x="105669" y="25386"/>
                      </a:lnTo>
                      <a:lnTo>
                        <a:pt x="109068" y="28923"/>
                      </a:lnTo>
                      <a:lnTo>
                        <a:pt x="111774" y="33544"/>
                      </a:lnTo>
                      <a:lnTo>
                        <a:pt x="112825" y="34270"/>
                      </a:lnTo>
                      <a:lnTo>
                        <a:pt x="113819" y="34433"/>
                      </a:lnTo>
                      <a:lnTo>
                        <a:pt x="114960" y="33756"/>
                      </a:lnTo>
                      <a:lnTo>
                        <a:pt x="116289" y="32257"/>
                      </a:lnTo>
                      <a:lnTo>
                        <a:pt x="117870" y="31173"/>
                      </a:lnTo>
                      <a:lnTo>
                        <a:pt x="119198" y="30619"/>
                      </a:lnTo>
                      <a:lnTo>
                        <a:pt x="121529" y="29347"/>
                      </a:lnTo>
                      <a:lnTo>
                        <a:pt x="121619" y="28508"/>
                      </a:lnTo>
                      <a:lnTo>
                        <a:pt x="119663" y="25386"/>
                      </a:lnTo>
                      <a:lnTo>
                        <a:pt x="118546" y="22852"/>
                      </a:lnTo>
                      <a:lnTo>
                        <a:pt x="118807" y="22395"/>
                      </a:lnTo>
                      <a:lnTo>
                        <a:pt x="121309" y="22795"/>
                      </a:lnTo>
                      <a:lnTo>
                        <a:pt x="125555" y="24180"/>
                      </a:lnTo>
                      <a:lnTo>
                        <a:pt x="132083" y="28695"/>
                      </a:lnTo>
                      <a:lnTo>
                        <a:pt x="133256" y="28695"/>
                      </a:lnTo>
                      <a:lnTo>
                        <a:pt x="135547" y="28353"/>
                      </a:lnTo>
                      <a:lnTo>
                        <a:pt x="138024" y="27620"/>
                      </a:lnTo>
                      <a:lnTo>
                        <a:pt x="139206" y="26780"/>
                      </a:lnTo>
                      <a:lnTo>
                        <a:pt x="139646" y="27090"/>
                      </a:lnTo>
                      <a:lnTo>
                        <a:pt x="140029" y="29567"/>
                      </a:lnTo>
                      <a:lnTo>
                        <a:pt x="139377" y="30928"/>
                      </a:lnTo>
                      <a:lnTo>
                        <a:pt x="136402" y="32240"/>
                      </a:lnTo>
                      <a:lnTo>
                        <a:pt x="136573" y="32900"/>
                      </a:lnTo>
                      <a:lnTo>
                        <a:pt x="137331" y="33740"/>
                      </a:lnTo>
                      <a:lnTo>
                        <a:pt x="138676" y="34319"/>
                      </a:lnTo>
                      <a:lnTo>
                        <a:pt x="140298" y="35924"/>
                      </a:lnTo>
                      <a:lnTo>
                        <a:pt x="141414" y="37750"/>
                      </a:lnTo>
                      <a:lnTo>
                        <a:pt x="142400" y="38605"/>
                      </a:lnTo>
                      <a:lnTo>
                        <a:pt x="143476" y="38996"/>
                      </a:lnTo>
                      <a:lnTo>
                        <a:pt x="146182" y="38027"/>
                      </a:lnTo>
                      <a:lnTo>
                        <a:pt x="146948" y="37261"/>
                      </a:lnTo>
                      <a:lnTo>
                        <a:pt x="147290" y="36706"/>
                      </a:lnTo>
                      <a:lnTo>
                        <a:pt x="147812" y="36829"/>
                      </a:lnTo>
                      <a:lnTo>
                        <a:pt x="148765" y="37725"/>
                      </a:lnTo>
                      <a:lnTo>
                        <a:pt x="149043" y="38255"/>
                      </a:lnTo>
                      <a:lnTo>
                        <a:pt x="151675" y="39274"/>
                      </a:lnTo>
                      <a:lnTo>
                        <a:pt x="153191" y="40537"/>
                      </a:lnTo>
                      <a:lnTo>
                        <a:pt x="154153" y="41124"/>
                      </a:lnTo>
                      <a:lnTo>
                        <a:pt x="155228" y="40545"/>
                      </a:lnTo>
                      <a:lnTo>
                        <a:pt x="159384" y="41547"/>
                      </a:lnTo>
                      <a:lnTo>
                        <a:pt x="160533" y="42387"/>
                      </a:lnTo>
                      <a:lnTo>
                        <a:pt x="160901" y="43780"/>
                      </a:lnTo>
                      <a:lnTo>
                        <a:pt x="160697" y="44628"/>
                      </a:lnTo>
                      <a:lnTo>
                        <a:pt x="161340" y="46804"/>
                      </a:lnTo>
                      <a:lnTo>
                        <a:pt x="166597" y="52044"/>
                      </a:lnTo>
                      <a:lnTo>
                        <a:pt x="167151" y="54717"/>
                      </a:lnTo>
                      <a:lnTo>
                        <a:pt x="167225" y="55785"/>
                      </a:lnTo>
                      <a:lnTo>
                        <a:pt x="166605" y="55842"/>
                      </a:lnTo>
                      <a:lnTo>
                        <a:pt x="165179" y="56396"/>
                      </a:lnTo>
                      <a:lnTo>
                        <a:pt x="163362" y="56600"/>
                      </a:lnTo>
                      <a:lnTo>
                        <a:pt x="161373" y="56486"/>
                      </a:lnTo>
                      <a:lnTo>
                        <a:pt x="159849" y="57464"/>
                      </a:lnTo>
                      <a:lnTo>
                        <a:pt x="158390" y="59037"/>
                      </a:lnTo>
                      <a:lnTo>
                        <a:pt x="156899" y="60137"/>
                      </a:lnTo>
                      <a:lnTo>
                        <a:pt x="156092" y="61115"/>
                      </a:lnTo>
                      <a:lnTo>
                        <a:pt x="155627" y="62117"/>
                      </a:lnTo>
                      <a:lnTo>
                        <a:pt x="150575" y="64970"/>
                      </a:lnTo>
                      <a:lnTo>
                        <a:pt x="149866" y="66168"/>
                      </a:lnTo>
                      <a:lnTo>
                        <a:pt x="149312" y="67790"/>
                      </a:lnTo>
                      <a:lnTo>
                        <a:pt x="149075" y="69974"/>
                      </a:lnTo>
                      <a:lnTo>
                        <a:pt x="148716" y="71938"/>
                      </a:lnTo>
                      <a:lnTo>
                        <a:pt x="147844" y="72965"/>
                      </a:lnTo>
                      <a:lnTo>
                        <a:pt x="145114" y="73861"/>
                      </a:lnTo>
                      <a:lnTo>
                        <a:pt x="144429" y="74334"/>
                      </a:lnTo>
                      <a:lnTo>
                        <a:pt x="143925" y="75336"/>
                      </a:lnTo>
                      <a:lnTo>
                        <a:pt x="142384" y="76868"/>
                      </a:lnTo>
                      <a:lnTo>
                        <a:pt x="140599" y="78335"/>
                      </a:lnTo>
                      <a:lnTo>
                        <a:pt x="137290" y="80014"/>
                      </a:lnTo>
                      <a:lnTo>
                        <a:pt x="133753" y="80519"/>
                      </a:lnTo>
                      <a:lnTo>
                        <a:pt x="129141" y="79973"/>
                      </a:lnTo>
                      <a:lnTo>
                        <a:pt x="126451" y="79313"/>
                      </a:lnTo>
                      <a:lnTo>
                        <a:pt x="125155" y="80039"/>
                      </a:lnTo>
                      <a:lnTo>
                        <a:pt x="123346" y="82214"/>
                      </a:lnTo>
                      <a:lnTo>
                        <a:pt x="121415" y="85963"/>
                      </a:lnTo>
                      <a:lnTo>
                        <a:pt x="120616" y="88775"/>
                      </a:lnTo>
                      <a:lnTo>
                        <a:pt x="120005" y="87976"/>
                      </a:lnTo>
                      <a:lnTo>
                        <a:pt x="118896" y="84994"/>
                      </a:lnTo>
                      <a:lnTo>
                        <a:pt x="117641" y="84611"/>
                      </a:lnTo>
                      <a:lnTo>
                        <a:pt x="115938" y="84333"/>
                      </a:lnTo>
                      <a:lnTo>
                        <a:pt x="114659" y="83893"/>
                      </a:lnTo>
                      <a:lnTo>
                        <a:pt x="111888" y="82166"/>
                      </a:lnTo>
                      <a:lnTo>
                        <a:pt x="110462" y="81652"/>
                      </a:lnTo>
                      <a:lnTo>
                        <a:pt x="108832" y="81514"/>
                      </a:lnTo>
                      <a:lnTo>
                        <a:pt x="107275" y="82532"/>
                      </a:lnTo>
                      <a:lnTo>
                        <a:pt x="106085" y="83722"/>
                      </a:lnTo>
                      <a:lnTo>
                        <a:pt x="102418" y="83706"/>
                      </a:lnTo>
                      <a:lnTo>
                        <a:pt x="98392" y="83152"/>
                      </a:lnTo>
                      <a:lnTo>
                        <a:pt x="92638" y="79199"/>
                      </a:lnTo>
                      <a:lnTo>
                        <a:pt x="91147" y="79158"/>
                      </a:lnTo>
                      <a:lnTo>
                        <a:pt x="89565" y="79338"/>
                      </a:lnTo>
                      <a:lnTo>
                        <a:pt x="87048" y="78392"/>
                      </a:lnTo>
                      <a:lnTo>
                        <a:pt x="82174" y="75833"/>
                      </a:lnTo>
                      <a:lnTo>
                        <a:pt x="79884" y="75230"/>
                      </a:lnTo>
                      <a:lnTo>
                        <a:pt x="78450" y="75597"/>
                      </a:lnTo>
                      <a:lnTo>
                        <a:pt x="77129" y="76167"/>
                      </a:lnTo>
                      <a:lnTo>
                        <a:pt x="76192" y="76233"/>
                      </a:lnTo>
                      <a:lnTo>
                        <a:pt x="75646" y="75401"/>
                      </a:lnTo>
                      <a:lnTo>
                        <a:pt x="73837" y="74366"/>
                      </a:lnTo>
                      <a:lnTo>
                        <a:pt x="72019" y="74252"/>
                      </a:lnTo>
                      <a:lnTo>
                        <a:pt x="71490" y="74872"/>
                      </a:lnTo>
                      <a:lnTo>
                        <a:pt x="70878" y="80519"/>
                      </a:lnTo>
                      <a:lnTo>
                        <a:pt x="70259" y="82549"/>
                      </a:lnTo>
                      <a:lnTo>
                        <a:pt x="67757" y="82451"/>
                      </a:lnTo>
                      <a:lnTo>
                        <a:pt x="66869" y="83421"/>
                      </a:lnTo>
                      <a:lnTo>
                        <a:pt x="64913" y="86143"/>
                      </a:lnTo>
                      <a:lnTo>
                        <a:pt x="64521" y="88759"/>
                      </a:lnTo>
                      <a:lnTo>
                        <a:pt x="61123" y="88253"/>
                      </a:lnTo>
                      <a:lnTo>
                        <a:pt x="59493" y="87813"/>
                      </a:lnTo>
                      <a:lnTo>
                        <a:pt x="58067" y="88147"/>
                      </a:lnTo>
                      <a:lnTo>
                        <a:pt x="56494" y="89590"/>
                      </a:lnTo>
                      <a:lnTo>
                        <a:pt x="52077" y="89509"/>
                      </a:lnTo>
                      <a:lnTo>
                        <a:pt x="48589" y="88645"/>
                      </a:lnTo>
                      <a:lnTo>
                        <a:pt x="47097" y="85393"/>
                      </a:lnTo>
                      <a:lnTo>
                        <a:pt x="45500" y="84122"/>
                      </a:lnTo>
                      <a:lnTo>
                        <a:pt x="43487" y="82964"/>
                      </a:lnTo>
                      <a:lnTo>
                        <a:pt x="42786" y="82712"/>
                      </a:lnTo>
                      <a:lnTo>
                        <a:pt x="41670" y="80943"/>
                      </a:lnTo>
                      <a:lnTo>
                        <a:pt x="39559" y="78751"/>
                      </a:lnTo>
                      <a:lnTo>
                        <a:pt x="36160" y="75752"/>
                      </a:lnTo>
                      <a:lnTo>
                        <a:pt x="33504" y="75898"/>
                      </a:lnTo>
                      <a:lnTo>
                        <a:pt x="32526" y="75100"/>
                      </a:lnTo>
                      <a:lnTo>
                        <a:pt x="32086" y="74000"/>
                      </a:lnTo>
                      <a:lnTo>
                        <a:pt x="30977" y="72093"/>
                      </a:lnTo>
                      <a:lnTo>
                        <a:pt x="29738" y="70764"/>
                      </a:lnTo>
                      <a:lnTo>
                        <a:pt x="28231" y="70251"/>
                      </a:lnTo>
                      <a:lnTo>
                        <a:pt x="26063" y="68564"/>
                      </a:lnTo>
                      <a:lnTo>
                        <a:pt x="23162" y="64880"/>
                      </a:lnTo>
                      <a:lnTo>
                        <a:pt x="20497" y="62329"/>
                      </a:lnTo>
                      <a:lnTo>
                        <a:pt x="17946" y="62370"/>
                      </a:lnTo>
                      <a:lnTo>
                        <a:pt x="16324" y="61033"/>
                      </a:lnTo>
                      <a:lnTo>
                        <a:pt x="14669" y="59281"/>
                      </a:lnTo>
                      <a:lnTo>
                        <a:pt x="13447" y="57586"/>
                      </a:lnTo>
                      <a:lnTo>
                        <a:pt x="11548" y="53454"/>
                      </a:lnTo>
                      <a:lnTo>
                        <a:pt x="10187" y="51107"/>
                      </a:lnTo>
                      <a:lnTo>
                        <a:pt x="9103" y="49648"/>
                      </a:lnTo>
                      <a:lnTo>
                        <a:pt x="7897" y="48434"/>
                      </a:lnTo>
                      <a:lnTo>
                        <a:pt x="7457" y="47464"/>
                      </a:lnTo>
                      <a:lnTo>
                        <a:pt x="8932" y="45264"/>
                      </a:lnTo>
                      <a:lnTo>
                        <a:pt x="9478" y="44180"/>
                      </a:lnTo>
                      <a:lnTo>
                        <a:pt x="10114" y="43348"/>
                      </a:lnTo>
                      <a:lnTo>
                        <a:pt x="10481" y="42452"/>
                      </a:lnTo>
                      <a:lnTo>
                        <a:pt x="10473" y="41784"/>
                      </a:lnTo>
                      <a:lnTo>
                        <a:pt x="9120" y="39616"/>
                      </a:lnTo>
                      <a:lnTo>
                        <a:pt x="7294" y="38043"/>
                      </a:lnTo>
                      <a:lnTo>
                        <a:pt x="4629" y="36446"/>
                      </a:lnTo>
                      <a:lnTo>
                        <a:pt x="2926" y="34433"/>
                      </a:lnTo>
                      <a:lnTo>
                        <a:pt x="2299" y="32591"/>
                      </a:lnTo>
                      <a:lnTo>
                        <a:pt x="2111" y="31580"/>
                      </a:lnTo>
                      <a:lnTo>
                        <a:pt x="946" y="30203"/>
                      </a:lnTo>
                      <a:lnTo>
                        <a:pt x="0" y="28190"/>
                      </a:lnTo>
                      <a:lnTo>
                        <a:pt x="0" y="26976"/>
                      </a:lnTo>
                      <a:lnTo>
                        <a:pt x="236" y="26641"/>
                      </a:lnTo>
                      <a:lnTo>
                        <a:pt x="1117" y="26641"/>
                      </a:lnTo>
                      <a:lnTo>
                        <a:pt x="2111" y="27465"/>
                      </a:lnTo>
                      <a:lnTo>
                        <a:pt x="3496" y="29062"/>
                      </a:lnTo>
                      <a:lnTo>
                        <a:pt x="4654" y="31368"/>
                      </a:lnTo>
                      <a:lnTo>
                        <a:pt x="5355" y="30488"/>
                      </a:lnTo>
                      <a:lnTo>
                        <a:pt x="6658" y="28019"/>
                      </a:lnTo>
                      <a:lnTo>
                        <a:pt x="8997" y="25223"/>
                      </a:lnTo>
                      <a:lnTo>
                        <a:pt x="11385" y="23626"/>
                      </a:lnTo>
                      <a:lnTo>
                        <a:pt x="13537" y="23496"/>
                      </a:lnTo>
                      <a:lnTo>
                        <a:pt x="15297" y="23056"/>
                      </a:lnTo>
                      <a:lnTo>
                        <a:pt x="16756" y="22257"/>
                      </a:lnTo>
                      <a:lnTo>
                        <a:pt x="19315" y="22575"/>
                      </a:lnTo>
                      <a:lnTo>
                        <a:pt x="21140" y="23153"/>
                      </a:lnTo>
                      <a:lnTo>
                        <a:pt x="21760" y="22795"/>
                      </a:lnTo>
                      <a:lnTo>
                        <a:pt x="22493" y="21336"/>
                      </a:lnTo>
                      <a:lnTo>
                        <a:pt x="22982" y="20081"/>
                      </a:lnTo>
                      <a:lnTo>
                        <a:pt x="27074" y="19348"/>
                      </a:lnTo>
                      <a:lnTo>
                        <a:pt x="28467" y="16919"/>
                      </a:lnTo>
                      <a:lnTo>
                        <a:pt x="29258" y="16927"/>
                      </a:lnTo>
                      <a:lnTo>
                        <a:pt x="30171" y="16568"/>
                      </a:lnTo>
                      <a:lnTo>
                        <a:pt x="31035" y="15647"/>
                      </a:lnTo>
                      <a:lnTo>
                        <a:pt x="31866" y="15264"/>
                      </a:lnTo>
                      <a:lnTo>
                        <a:pt x="32526" y="15721"/>
                      </a:lnTo>
                      <a:lnTo>
                        <a:pt x="33389" y="16030"/>
                      </a:lnTo>
                      <a:lnTo>
                        <a:pt x="34303" y="15452"/>
                      </a:lnTo>
                      <a:lnTo>
                        <a:pt x="35631" y="12665"/>
                      </a:lnTo>
                      <a:lnTo>
                        <a:pt x="36389" y="12233"/>
                      </a:lnTo>
                      <a:lnTo>
                        <a:pt x="39975" y="11801"/>
                      </a:lnTo>
                      <a:lnTo>
                        <a:pt x="44864" y="10155"/>
                      </a:lnTo>
                      <a:lnTo>
                        <a:pt x="47334" y="8696"/>
                      </a:lnTo>
                      <a:lnTo>
                        <a:pt x="49762" y="7897"/>
                      </a:lnTo>
                      <a:lnTo>
                        <a:pt x="52387" y="6487"/>
                      </a:lnTo>
                      <a:lnTo>
                        <a:pt x="56527" y="5110"/>
                      </a:lnTo>
                      <a:lnTo>
                        <a:pt x="56730" y="4548"/>
                      </a:lnTo>
                      <a:lnTo>
                        <a:pt x="54799" y="3138"/>
                      </a:lnTo>
                      <a:lnTo>
                        <a:pt x="54155" y="2241"/>
                      </a:lnTo>
                      <a:lnTo>
                        <a:pt x="53715" y="1320"/>
                      </a:lnTo>
                      <a:lnTo>
                        <a:pt x="54391" y="302"/>
                      </a:lnTo>
                      <a:lnTo>
                        <a:pt x="55312" y="0"/>
                      </a:lnTo>
                      <a:lnTo>
                        <a:pt x="56486" y="424"/>
                      </a:lnTo>
                      <a:lnTo>
                        <a:pt x="59958" y="1027"/>
                      </a:lnTo>
                      <a:lnTo>
                        <a:pt x="60903" y="1614"/>
                      </a:lnTo>
                      <a:lnTo>
                        <a:pt x="61253" y="3048"/>
                      </a:lnTo>
                      <a:lnTo>
                        <a:pt x="62150" y="4385"/>
                      </a:lnTo>
                      <a:lnTo>
                        <a:pt x="62843" y="4523"/>
                      </a:lnTo>
                      <a:lnTo>
                        <a:pt x="62598" y="6699"/>
                      </a:lnTo>
                      <a:lnTo>
                        <a:pt x="63699" y="7539"/>
                      </a:lnTo>
                      <a:lnTo>
                        <a:pt x="65312" y="8199"/>
                      </a:lnTo>
                      <a:lnTo>
                        <a:pt x="66388" y="8060"/>
                      </a:lnTo>
                      <a:lnTo>
                        <a:pt x="67154" y="7180"/>
                      </a:lnTo>
                      <a:close/>
                    </a:path>
                  </a:pathLst>
                </a:custGeom>
                <a:solidFill>
                  <a:srgbClr val="D6D6D2"/>
                </a:solidFill>
                <a:ln w="6112" cap="rnd">
                  <a:solidFill>
                    <a:srgbClr val="FFFFFF"/>
                  </a:solidFill>
                  <a:prstDash val="solid"/>
                  <a:round/>
                </a:ln>
              </p:spPr>
              <p:txBody>
                <a:bodyPr rtlCol="0" anchor="ctr"/>
                <a:lstStyle/>
                <a:p>
                  <a:endParaRPr lang="en-US"/>
                </a:p>
              </p:txBody>
            </p:sp>
            <p:sp>
              <p:nvSpPr>
                <p:cNvPr id="751" name="Freeform: Shape 750">
                  <a:extLst>
                    <a:ext uri="{FF2B5EF4-FFF2-40B4-BE49-F238E27FC236}">
                      <a16:creationId xmlns:a16="http://schemas.microsoft.com/office/drawing/2014/main" id="{061375D5-1C44-481C-A2C8-5D86FD38025D}"/>
                    </a:ext>
                  </a:extLst>
                </p:cNvPr>
                <p:cNvSpPr/>
                <p:nvPr/>
              </p:nvSpPr>
              <p:spPr>
                <a:xfrm>
                  <a:off x="6744759" y="3436776"/>
                  <a:ext cx="43397" cy="20170"/>
                </a:xfrm>
                <a:custGeom>
                  <a:avLst/>
                  <a:gdLst>
                    <a:gd name="connsiteX0" fmla="*/ 10220 w 43397"/>
                    <a:gd name="connsiteY0" fmla="*/ 383 h 20170"/>
                    <a:gd name="connsiteX1" fmla="*/ 10399 w 43397"/>
                    <a:gd name="connsiteY1" fmla="*/ 1231 h 20170"/>
                    <a:gd name="connsiteX2" fmla="*/ 11988 w 43397"/>
                    <a:gd name="connsiteY2" fmla="*/ 2200 h 20170"/>
                    <a:gd name="connsiteX3" fmla="*/ 14107 w 43397"/>
                    <a:gd name="connsiteY3" fmla="*/ 3064 h 20170"/>
                    <a:gd name="connsiteX4" fmla="*/ 15346 w 43397"/>
                    <a:gd name="connsiteY4" fmla="*/ 3121 h 20170"/>
                    <a:gd name="connsiteX5" fmla="*/ 16992 w 43397"/>
                    <a:gd name="connsiteY5" fmla="*/ 2176 h 20170"/>
                    <a:gd name="connsiteX6" fmla="*/ 19274 w 43397"/>
                    <a:gd name="connsiteY6" fmla="*/ 1198 h 20170"/>
                    <a:gd name="connsiteX7" fmla="*/ 22078 w 43397"/>
                    <a:gd name="connsiteY7" fmla="*/ 318 h 20170"/>
                    <a:gd name="connsiteX8" fmla="*/ 23504 w 43397"/>
                    <a:gd name="connsiteY8" fmla="*/ 840 h 20170"/>
                    <a:gd name="connsiteX9" fmla="*/ 25427 w 43397"/>
                    <a:gd name="connsiteY9" fmla="*/ 962 h 20170"/>
                    <a:gd name="connsiteX10" fmla="*/ 26862 w 43397"/>
                    <a:gd name="connsiteY10" fmla="*/ 660 h 20170"/>
                    <a:gd name="connsiteX11" fmla="*/ 27864 w 43397"/>
                    <a:gd name="connsiteY11" fmla="*/ 1377 h 20170"/>
                    <a:gd name="connsiteX12" fmla="*/ 28654 w 43397"/>
                    <a:gd name="connsiteY12" fmla="*/ 2681 h 20170"/>
                    <a:gd name="connsiteX13" fmla="*/ 28858 w 43397"/>
                    <a:gd name="connsiteY13" fmla="*/ 5852 h 20170"/>
                    <a:gd name="connsiteX14" fmla="*/ 29144 w 43397"/>
                    <a:gd name="connsiteY14" fmla="*/ 6006 h 20170"/>
                    <a:gd name="connsiteX15" fmla="*/ 30382 w 43397"/>
                    <a:gd name="connsiteY15" fmla="*/ 4735 h 20170"/>
                    <a:gd name="connsiteX16" fmla="*/ 32583 w 43397"/>
                    <a:gd name="connsiteY16" fmla="*/ 5265 h 20170"/>
                    <a:gd name="connsiteX17" fmla="*/ 34099 w 43397"/>
                    <a:gd name="connsiteY17" fmla="*/ 5420 h 20170"/>
                    <a:gd name="connsiteX18" fmla="*/ 35346 w 43397"/>
                    <a:gd name="connsiteY18" fmla="*/ 4792 h 20170"/>
                    <a:gd name="connsiteX19" fmla="*/ 36112 w 43397"/>
                    <a:gd name="connsiteY19" fmla="*/ 4702 h 20170"/>
                    <a:gd name="connsiteX20" fmla="*/ 37000 w 43397"/>
                    <a:gd name="connsiteY20" fmla="*/ 4425 h 20170"/>
                    <a:gd name="connsiteX21" fmla="*/ 37994 w 43397"/>
                    <a:gd name="connsiteY21" fmla="*/ 3806 h 20170"/>
                    <a:gd name="connsiteX22" fmla="*/ 38834 w 43397"/>
                    <a:gd name="connsiteY22" fmla="*/ 2934 h 20170"/>
                    <a:gd name="connsiteX23" fmla="*/ 39746 w 43397"/>
                    <a:gd name="connsiteY23" fmla="*/ 3203 h 20170"/>
                    <a:gd name="connsiteX24" fmla="*/ 41303 w 43397"/>
                    <a:gd name="connsiteY24" fmla="*/ 4140 h 20170"/>
                    <a:gd name="connsiteX25" fmla="*/ 42265 w 43397"/>
                    <a:gd name="connsiteY25" fmla="*/ 3871 h 20170"/>
                    <a:gd name="connsiteX26" fmla="*/ 42737 w 43397"/>
                    <a:gd name="connsiteY26" fmla="*/ 4515 h 20170"/>
                    <a:gd name="connsiteX27" fmla="*/ 43397 w 43397"/>
                    <a:gd name="connsiteY27" fmla="*/ 6398 h 20170"/>
                    <a:gd name="connsiteX28" fmla="*/ 40578 w 43397"/>
                    <a:gd name="connsiteY28" fmla="*/ 6952 h 20170"/>
                    <a:gd name="connsiteX29" fmla="*/ 37742 w 43397"/>
                    <a:gd name="connsiteY29" fmla="*/ 7139 h 20170"/>
                    <a:gd name="connsiteX30" fmla="*/ 36169 w 43397"/>
                    <a:gd name="connsiteY30" fmla="*/ 6895 h 20170"/>
                    <a:gd name="connsiteX31" fmla="*/ 34686 w 43397"/>
                    <a:gd name="connsiteY31" fmla="*/ 7001 h 20170"/>
                    <a:gd name="connsiteX32" fmla="*/ 30105 w 43397"/>
                    <a:gd name="connsiteY32" fmla="*/ 12380 h 20170"/>
                    <a:gd name="connsiteX33" fmla="*/ 27628 w 43397"/>
                    <a:gd name="connsiteY33" fmla="*/ 14213 h 20170"/>
                    <a:gd name="connsiteX34" fmla="*/ 24702 w 43397"/>
                    <a:gd name="connsiteY34" fmla="*/ 15297 h 20170"/>
                    <a:gd name="connsiteX35" fmla="*/ 21711 w 43397"/>
                    <a:gd name="connsiteY35" fmla="*/ 15941 h 20170"/>
                    <a:gd name="connsiteX36" fmla="*/ 20212 w 43397"/>
                    <a:gd name="connsiteY36" fmla="*/ 16022 h 20170"/>
                    <a:gd name="connsiteX37" fmla="*/ 18891 w 43397"/>
                    <a:gd name="connsiteY37" fmla="*/ 16707 h 20170"/>
                    <a:gd name="connsiteX38" fmla="*/ 17970 w 43397"/>
                    <a:gd name="connsiteY38" fmla="*/ 17962 h 20170"/>
                    <a:gd name="connsiteX39" fmla="*/ 17946 w 43397"/>
                    <a:gd name="connsiteY39" fmla="*/ 19160 h 20170"/>
                    <a:gd name="connsiteX40" fmla="*/ 17546 w 43397"/>
                    <a:gd name="connsiteY40" fmla="*/ 20171 h 20170"/>
                    <a:gd name="connsiteX41" fmla="*/ 15901 w 43397"/>
                    <a:gd name="connsiteY41" fmla="*/ 19959 h 20170"/>
                    <a:gd name="connsiteX42" fmla="*/ 15224 w 43397"/>
                    <a:gd name="connsiteY42" fmla="*/ 17995 h 20170"/>
                    <a:gd name="connsiteX43" fmla="*/ 14050 w 43397"/>
                    <a:gd name="connsiteY43" fmla="*/ 17163 h 20170"/>
                    <a:gd name="connsiteX44" fmla="*/ 11149 w 43397"/>
                    <a:gd name="connsiteY44" fmla="*/ 17595 h 20170"/>
                    <a:gd name="connsiteX45" fmla="*/ 9731 w 43397"/>
                    <a:gd name="connsiteY45" fmla="*/ 17546 h 20170"/>
                    <a:gd name="connsiteX46" fmla="*/ 5086 w 43397"/>
                    <a:gd name="connsiteY46" fmla="*/ 15680 h 20170"/>
                    <a:gd name="connsiteX47" fmla="*/ 3684 w 43397"/>
                    <a:gd name="connsiteY47" fmla="*/ 14922 h 20170"/>
                    <a:gd name="connsiteX48" fmla="*/ 2803 w 43397"/>
                    <a:gd name="connsiteY48" fmla="*/ 13317 h 20170"/>
                    <a:gd name="connsiteX49" fmla="*/ 408 w 43397"/>
                    <a:gd name="connsiteY49" fmla="*/ 7555 h 20170"/>
                    <a:gd name="connsiteX50" fmla="*/ 0 w 43397"/>
                    <a:gd name="connsiteY50" fmla="*/ 3284 h 20170"/>
                    <a:gd name="connsiteX51" fmla="*/ 2241 w 43397"/>
                    <a:gd name="connsiteY51" fmla="*/ 4376 h 20170"/>
                    <a:gd name="connsiteX52" fmla="*/ 4328 w 43397"/>
                    <a:gd name="connsiteY52" fmla="*/ 3048 h 20170"/>
                    <a:gd name="connsiteX53" fmla="*/ 6333 w 43397"/>
                    <a:gd name="connsiteY53" fmla="*/ 880 h 20170"/>
                    <a:gd name="connsiteX54" fmla="*/ 8729 w 43397"/>
                    <a:gd name="connsiteY54" fmla="*/ 0 h 20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3397" h="20170">
                      <a:moveTo>
                        <a:pt x="10220" y="383"/>
                      </a:moveTo>
                      <a:lnTo>
                        <a:pt x="10399" y="1231"/>
                      </a:lnTo>
                      <a:lnTo>
                        <a:pt x="11988" y="2200"/>
                      </a:lnTo>
                      <a:lnTo>
                        <a:pt x="14107" y="3064"/>
                      </a:lnTo>
                      <a:lnTo>
                        <a:pt x="15346" y="3121"/>
                      </a:lnTo>
                      <a:lnTo>
                        <a:pt x="16992" y="2176"/>
                      </a:lnTo>
                      <a:lnTo>
                        <a:pt x="19274" y="1198"/>
                      </a:lnTo>
                      <a:lnTo>
                        <a:pt x="22078" y="318"/>
                      </a:lnTo>
                      <a:lnTo>
                        <a:pt x="23504" y="840"/>
                      </a:lnTo>
                      <a:lnTo>
                        <a:pt x="25427" y="962"/>
                      </a:lnTo>
                      <a:lnTo>
                        <a:pt x="26862" y="660"/>
                      </a:lnTo>
                      <a:lnTo>
                        <a:pt x="27864" y="1377"/>
                      </a:lnTo>
                      <a:lnTo>
                        <a:pt x="28654" y="2681"/>
                      </a:lnTo>
                      <a:lnTo>
                        <a:pt x="28858" y="5852"/>
                      </a:lnTo>
                      <a:lnTo>
                        <a:pt x="29144" y="6006"/>
                      </a:lnTo>
                      <a:lnTo>
                        <a:pt x="30382" y="4735"/>
                      </a:lnTo>
                      <a:lnTo>
                        <a:pt x="32583" y="5265"/>
                      </a:lnTo>
                      <a:lnTo>
                        <a:pt x="34099" y="5420"/>
                      </a:lnTo>
                      <a:lnTo>
                        <a:pt x="35346" y="4792"/>
                      </a:lnTo>
                      <a:lnTo>
                        <a:pt x="36112" y="4702"/>
                      </a:lnTo>
                      <a:lnTo>
                        <a:pt x="37000" y="4425"/>
                      </a:lnTo>
                      <a:lnTo>
                        <a:pt x="37994" y="3806"/>
                      </a:lnTo>
                      <a:lnTo>
                        <a:pt x="38834" y="2934"/>
                      </a:lnTo>
                      <a:lnTo>
                        <a:pt x="39746" y="3203"/>
                      </a:lnTo>
                      <a:lnTo>
                        <a:pt x="41303" y="4140"/>
                      </a:lnTo>
                      <a:lnTo>
                        <a:pt x="42265" y="3871"/>
                      </a:lnTo>
                      <a:lnTo>
                        <a:pt x="42737" y="4515"/>
                      </a:lnTo>
                      <a:lnTo>
                        <a:pt x="43397" y="6398"/>
                      </a:lnTo>
                      <a:lnTo>
                        <a:pt x="40578" y="6952"/>
                      </a:lnTo>
                      <a:lnTo>
                        <a:pt x="37742" y="7139"/>
                      </a:lnTo>
                      <a:lnTo>
                        <a:pt x="36169" y="6895"/>
                      </a:lnTo>
                      <a:lnTo>
                        <a:pt x="34686" y="7001"/>
                      </a:lnTo>
                      <a:lnTo>
                        <a:pt x="30105" y="12380"/>
                      </a:lnTo>
                      <a:lnTo>
                        <a:pt x="27628" y="14213"/>
                      </a:lnTo>
                      <a:lnTo>
                        <a:pt x="24702" y="15297"/>
                      </a:lnTo>
                      <a:lnTo>
                        <a:pt x="21711" y="15941"/>
                      </a:lnTo>
                      <a:lnTo>
                        <a:pt x="20212" y="16022"/>
                      </a:lnTo>
                      <a:lnTo>
                        <a:pt x="18891" y="16707"/>
                      </a:lnTo>
                      <a:lnTo>
                        <a:pt x="17970" y="17962"/>
                      </a:lnTo>
                      <a:lnTo>
                        <a:pt x="17946" y="19160"/>
                      </a:lnTo>
                      <a:lnTo>
                        <a:pt x="17546" y="20171"/>
                      </a:lnTo>
                      <a:lnTo>
                        <a:pt x="15901" y="19959"/>
                      </a:lnTo>
                      <a:lnTo>
                        <a:pt x="15224" y="17995"/>
                      </a:lnTo>
                      <a:lnTo>
                        <a:pt x="14050" y="17163"/>
                      </a:lnTo>
                      <a:lnTo>
                        <a:pt x="11149" y="17595"/>
                      </a:lnTo>
                      <a:lnTo>
                        <a:pt x="9731" y="17546"/>
                      </a:lnTo>
                      <a:lnTo>
                        <a:pt x="5086" y="15680"/>
                      </a:lnTo>
                      <a:lnTo>
                        <a:pt x="3684" y="14922"/>
                      </a:lnTo>
                      <a:lnTo>
                        <a:pt x="2803" y="13317"/>
                      </a:lnTo>
                      <a:lnTo>
                        <a:pt x="408" y="7555"/>
                      </a:lnTo>
                      <a:lnTo>
                        <a:pt x="0" y="3284"/>
                      </a:lnTo>
                      <a:lnTo>
                        <a:pt x="2241" y="4376"/>
                      </a:lnTo>
                      <a:lnTo>
                        <a:pt x="4328" y="3048"/>
                      </a:lnTo>
                      <a:lnTo>
                        <a:pt x="6333" y="880"/>
                      </a:lnTo>
                      <a:lnTo>
                        <a:pt x="8729" y="0"/>
                      </a:lnTo>
                      <a:close/>
                    </a:path>
                  </a:pathLst>
                </a:custGeom>
                <a:solidFill>
                  <a:srgbClr val="D6D6D2"/>
                </a:solidFill>
                <a:ln w="8150" cap="flat">
                  <a:noFill/>
                  <a:prstDash val="solid"/>
                  <a:miter/>
                </a:ln>
              </p:spPr>
              <p:txBody>
                <a:bodyPr rtlCol="0" anchor="ctr"/>
                <a:lstStyle/>
                <a:p>
                  <a:endParaRPr lang="en-US"/>
                </a:p>
              </p:txBody>
            </p:sp>
            <p:sp>
              <p:nvSpPr>
                <p:cNvPr id="752" name="Freeform: Shape 751">
                  <a:extLst>
                    <a:ext uri="{FF2B5EF4-FFF2-40B4-BE49-F238E27FC236}">
                      <a16:creationId xmlns:a16="http://schemas.microsoft.com/office/drawing/2014/main" id="{7DD63A80-6851-4FF7-A41B-AB4B696D8D75}"/>
                    </a:ext>
                  </a:extLst>
                </p:cNvPr>
                <p:cNvSpPr/>
                <p:nvPr/>
              </p:nvSpPr>
              <p:spPr>
                <a:xfrm>
                  <a:off x="6754979" y="3420958"/>
                  <a:ext cx="45719" cy="21824"/>
                </a:xfrm>
                <a:custGeom>
                  <a:avLst/>
                  <a:gdLst>
                    <a:gd name="connsiteX0" fmla="*/ 32045 w 45719"/>
                    <a:gd name="connsiteY0" fmla="*/ 19690 h 21824"/>
                    <a:gd name="connsiteX1" fmla="*/ 31083 w 45719"/>
                    <a:gd name="connsiteY1" fmla="*/ 19959 h 21824"/>
                    <a:gd name="connsiteX2" fmla="*/ 29526 w 45719"/>
                    <a:gd name="connsiteY2" fmla="*/ 19021 h 21824"/>
                    <a:gd name="connsiteX3" fmla="*/ 28614 w 45719"/>
                    <a:gd name="connsiteY3" fmla="*/ 18752 h 21824"/>
                    <a:gd name="connsiteX4" fmla="*/ 27774 w 45719"/>
                    <a:gd name="connsiteY4" fmla="*/ 19625 h 21824"/>
                    <a:gd name="connsiteX5" fmla="*/ 26780 w 45719"/>
                    <a:gd name="connsiteY5" fmla="*/ 20244 h 21824"/>
                    <a:gd name="connsiteX6" fmla="*/ 25892 w 45719"/>
                    <a:gd name="connsiteY6" fmla="*/ 20521 h 21824"/>
                    <a:gd name="connsiteX7" fmla="*/ 25126 w 45719"/>
                    <a:gd name="connsiteY7" fmla="*/ 20611 h 21824"/>
                    <a:gd name="connsiteX8" fmla="*/ 23879 w 45719"/>
                    <a:gd name="connsiteY8" fmla="*/ 21238 h 21824"/>
                    <a:gd name="connsiteX9" fmla="*/ 22363 w 45719"/>
                    <a:gd name="connsiteY9" fmla="*/ 21083 h 21824"/>
                    <a:gd name="connsiteX10" fmla="*/ 20162 w 45719"/>
                    <a:gd name="connsiteY10" fmla="*/ 20554 h 21824"/>
                    <a:gd name="connsiteX11" fmla="*/ 18924 w 45719"/>
                    <a:gd name="connsiteY11" fmla="*/ 21825 h 21824"/>
                    <a:gd name="connsiteX12" fmla="*/ 18638 w 45719"/>
                    <a:gd name="connsiteY12" fmla="*/ 21670 h 21824"/>
                    <a:gd name="connsiteX13" fmla="*/ 18434 w 45719"/>
                    <a:gd name="connsiteY13" fmla="*/ 18500 h 21824"/>
                    <a:gd name="connsiteX14" fmla="*/ 17644 w 45719"/>
                    <a:gd name="connsiteY14" fmla="*/ 17196 h 21824"/>
                    <a:gd name="connsiteX15" fmla="*/ 16642 w 45719"/>
                    <a:gd name="connsiteY15" fmla="*/ 16479 h 21824"/>
                    <a:gd name="connsiteX16" fmla="*/ 15207 w 45719"/>
                    <a:gd name="connsiteY16" fmla="*/ 16780 h 21824"/>
                    <a:gd name="connsiteX17" fmla="*/ 13284 w 45719"/>
                    <a:gd name="connsiteY17" fmla="*/ 16658 h 21824"/>
                    <a:gd name="connsiteX18" fmla="*/ 11858 w 45719"/>
                    <a:gd name="connsiteY18" fmla="*/ 16136 h 21824"/>
                    <a:gd name="connsiteX19" fmla="*/ 9054 w 45719"/>
                    <a:gd name="connsiteY19" fmla="*/ 17017 h 21824"/>
                    <a:gd name="connsiteX20" fmla="*/ 6772 w 45719"/>
                    <a:gd name="connsiteY20" fmla="*/ 17995 h 21824"/>
                    <a:gd name="connsiteX21" fmla="*/ 5126 w 45719"/>
                    <a:gd name="connsiteY21" fmla="*/ 18940 h 21824"/>
                    <a:gd name="connsiteX22" fmla="*/ 3887 w 45719"/>
                    <a:gd name="connsiteY22" fmla="*/ 18883 h 21824"/>
                    <a:gd name="connsiteX23" fmla="*/ 1768 w 45719"/>
                    <a:gd name="connsiteY23" fmla="*/ 18019 h 21824"/>
                    <a:gd name="connsiteX24" fmla="*/ 179 w 45719"/>
                    <a:gd name="connsiteY24" fmla="*/ 17049 h 21824"/>
                    <a:gd name="connsiteX25" fmla="*/ 0 w 45719"/>
                    <a:gd name="connsiteY25" fmla="*/ 16202 h 21824"/>
                    <a:gd name="connsiteX26" fmla="*/ 1483 w 45719"/>
                    <a:gd name="connsiteY26" fmla="*/ 16577 h 21824"/>
                    <a:gd name="connsiteX27" fmla="*/ 4140 w 45719"/>
                    <a:gd name="connsiteY27" fmla="*/ 15884 h 21824"/>
                    <a:gd name="connsiteX28" fmla="*/ 5297 w 45719"/>
                    <a:gd name="connsiteY28" fmla="*/ 12673 h 21824"/>
                    <a:gd name="connsiteX29" fmla="*/ 5672 w 45719"/>
                    <a:gd name="connsiteY29" fmla="*/ 8973 h 21824"/>
                    <a:gd name="connsiteX30" fmla="*/ 10179 w 45719"/>
                    <a:gd name="connsiteY30" fmla="*/ 10032 h 21824"/>
                    <a:gd name="connsiteX31" fmla="*/ 14759 w 45719"/>
                    <a:gd name="connsiteY31" fmla="*/ 10586 h 21824"/>
                    <a:gd name="connsiteX32" fmla="*/ 18508 w 45719"/>
                    <a:gd name="connsiteY32" fmla="*/ 10774 h 21824"/>
                    <a:gd name="connsiteX33" fmla="*/ 22191 w 45719"/>
                    <a:gd name="connsiteY33" fmla="*/ 10171 h 21824"/>
                    <a:gd name="connsiteX34" fmla="*/ 33503 w 45719"/>
                    <a:gd name="connsiteY34" fmla="*/ 6210 h 21824"/>
                    <a:gd name="connsiteX35" fmla="*/ 36706 w 45719"/>
                    <a:gd name="connsiteY35" fmla="*/ 3847 h 21824"/>
                    <a:gd name="connsiteX36" fmla="*/ 38678 w 45719"/>
                    <a:gd name="connsiteY36" fmla="*/ 3048 h 21824"/>
                    <a:gd name="connsiteX37" fmla="*/ 42118 w 45719"/>
                    <a:gd name="connsiteY37" fmla="*/ 1084 h 21824"/>
                    <a:gd name="connsiteX38" fmla="*/ 45720 w 45719"/>
                    <a:gd name="connsiteY38" fmla="*/ 0 h 21824"/>
                    <a:gd name="connsiteX39" fmla="*/ 43422 w 45719"/>
                    <a:gd name="connsiteY39" fmla="*/ 2266 h 21824"/>
                    <a:gd name="connsiteX40" fmla="*/ 30488 w 45719"/>
                    <a:gd name="connsiteY40" fmla="*/ 12216 h 21824"/>
                    <a:gd name="connsiteX41" fmla="*/ 29640 w 45719"/>
                    <a:gd name="connsiteY41" fmla="*/ 15167 h 21824"/>
                    <a:gd name="connsiteX42" fmla="*/ 30219 w 45719"/>
                    <a:gd name="connsiteY42" fmla="*/ 17212 h 21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719" h="21824">
                      <a:moveTo>
                        <a:pt x="32045" y="19690"/>
                      </a:moveTo>
                      <a:lnTo>
                        <a:pt x="31083" y="19959"/>
                      </a:lnTo>
                      <a:lnTo>
                        <a:pt x="29526" y="19021"/>
                      </a:lnTo>
                      <a:lnTo>
                        <a:pt x="28614" y="18752"/>
                      </a:lnTo>
                      <a:lnTo>
                        <a:pt x="27774" y="19625"/>
                      </a:lnTo>
                      <a:lnTo>
                        <a:pt x="26780" y="20244"/>
                      </a:lnTo>
                      <a:lnTo>
                        <a:pt x="25892" y="20521"/>
                      </a:lnTo>
                      <a:lnTo>
                        <a:pt x="25126" y="20611"/>
                      </a:lnTo>
                      <a:lnTo>
                        <a:pt x="23879" y="21238"/>
                      </a:lnTo>
                      <a:lnTo>
                        <a:pt x="22363" y="21083"/>
                      </a:lnTo>
                      <a:lnTo>
                        <a:pt x="20162" y="20554"/>
                      </a:lnTo>
                      <a:lnTo>
                        <a:pt x="18924" y="21825"/>
                      </a:lnTo>
                      <a:lnTo>
                        <a:pt x="18638" y="21670"/>
                      </a:lnTo>
                      <a:lnTo>
                        <a:pt x="18434" y="18500"/>
                      </a:lnTo>
                      <a:lnTo>
                        <a:pt x="17644" y="17196"/>
                      </a:lnTo>
                      <a:lnTo>
                        <a:pt x="16642" y="16479"/>
                      </a:lnTo>
                      <a:lnTo>
                        <a:pt x="15207" y="16780"/>
                      </a:lnTo>
                      <a:lnTo>
                        <a:pt x="13284" y="16658"/>
                      </a:lnTo>
                      <a:lnTo>
                        <a:pt x="11858" y="16136"/>
                      </a:lnTo>
                      <a:lnTo>
                        <a:pt x="9054" y="17017"/>
                      </a:lnTo>
                      <a:lnTo>
                        <a:pt x="6772" y="17995"/>
                      </a:lnTo>
                      <a:lnTo>
                        <a:pt x="5126" y="18940"/>
                      </a:lnTo>
                      <a:lnTo>
                        <a:pt x="3887" y="18883"/>
                      </a:lnTo>
                      <a:lnTo>
                        <a:pt x="1768" y="18019"/>
                      </a:lnTo>
                      <a:lnTo>
                        <a:pt x="179" y="17049"/>
                      </a:lnTo>
                      <a:lnTo>
                        <a:pt x="0" y="16202"/>
                      </a:lnTo>
                      <a:lnTo>
                        <a:pt x="1483" y="16577"/>
                      </a:lnTo>
                      <a:lnTo>
                        <a:pt x="4140" y="15884"/>
                      </a:lnTo>
                      <a:lnTo>
                        <a:pt x="5297" y="12673"/>
                      </a:lnTo>
                      <a:lnTo>
                        <a:pt x="5672" y="8973"/>
                      </a:lnTo>
                      <a:lnTo>
                        <a:pt x="10179" y="10032"/>
                      </a:lnTo>
                      <a:lnTo>
                        <a:pt x="14759" y="10586"/>
                      </a:lnTo>
                      <a:lnTo>
                        <a:pt x="18508" y="10774"/>
                      </a:lnTo>
                      <a:lnTo>
                        <a:pt x="22191" y="10171"/>
                      </a:lnTo>
                      <a:lnTo>
                        <a:pt x="33503" y="6210"/>
                      </a:lnTo>
                      <a:lnTo>
                        <a:pt x="36706" y="3847"/>
                      </a:lnTo>
                      <a:lnTo>
                        <a:pt x="38678" y="3048"/>
                      </a:lnTo>
                      <a:lnTo>
                        <a:pt x="42118" y="1084"/>
                      </a:lnTo>
                      <a:lnTo>
                        <a:pt x="45720" y="0"/>
                      </a:lnTo>
                      <a:lnTo>
                        <a:pt x="43422" y="2266"/>
                      </a:lnTo>
                      <a:lnTo>
                        <a:pt x="30488" y="12216"/>
                      </a:lnTo>
                      <a:lnTo>
                        <a:pt x="29640" y="15167"/>
                      </a:lnTo>
                      <a:lnTo>
                        <a:pt x="30219" y="17212"/>
                      </a:lnTo>
                      <a:close/>
                    </a:path>
                  </a:pathLst>
                </a:custGeom>
                <a:solidFill>
                  <a:srgbClr val="D6D6D2"/>
                </a:solidFill>
                <a:ln w="8150" cap="flat">
                  <a:noFill/>
                  <a:prstDash val="solid"/>
                  <a:miter/>
                </a:ln>
              </p:spPr>
              <p:txBody>
                <a:bodyPr rtlCol="0" anchor="ctr"/>
                <a:lstStyle/>
                <a:p>
                  <a:endParaRPr lang="en-US"/>
                </a:p>
              </p:txBody>
            </p:sp>
            <p:sp>
              <p:nvSpPr>
                <p:cNvPr id="753" name="Freeform: Shape 752">
                  <a:extLst>
                    <a:ext uri="{FF2B5EF4-FFF2-40B4-BE49-F238E27FC236}">
                      <a16:creationId xmlns:a16="http://schemas.microsoft.com/office/drawing/2014/main" id="{66F2034C-98CA-45EE-9C3C-35A473B4DA79}"/>
                    </a:ext>
                  </a:extLst>
                </p:cNvPr>
                <p:cNvSpPr/>
                <p:nvPr/>
              </p:nvSpPr>
              <p:spPr>
                <a:xfrm>
                  <a:off x="3838230" y="3820555"/>
                  <a:ext cx="266626" cy="103420"/>
                </a:xfrm>
                <a:custGeom>
                  <a:avLst/>
                  <a:gdLst>
                    <a:gd name="connsiteX0" fmla="*/ 57684 w 266626"/>
                    <a:gd name="connsiteY0" fmla="*/ 50373 h 103420"/>
                    <a:gd name="connsiteX1" fmla="*/ 55378 w 266626"/>
                    <a:gd name="connsiteY1" fmla="*/ 52020 h 103420"/>
                    <a:gd name="connsiteX2" fmla="*/ 50455 w 266626"/>
                    <a:gd name="connsiteY2" fmla="*/ 54334 h 103420"/>
                    <a:gd name="connsiteX3" fmla="*/ 47815 w 266626"/>
                    <a:gd name="connsiteY3" fmla="*/ 54416 h 103420"/>
                    <a:gd name="connsiteX4" fmla="*/ 45141 w 266626"/>
                    <a:gd name="connsiteY4" fmla="*/ 53544 h 103420"/>
                    <a:gd name="connsiteX5" fmla="*/ 43300 w 266626"/>
                    <a:gd name="connsiteY5" fmla="*/ 51604 h 103420"/>
                    <a:gd name="connsiteX6" fmla="*/ 42248 w 266626"/>
                    <a:gd name="connsiteY6" fmla="*/ 49697 h 103420"/>
                    <a:gd name="connsiteX7" fmla="*/ 42338 w 266626"/>
                    <a:gd name="connsiteY7" fmla="*/ 48776 h 103420"/>
                    <a:gd name="connsiteX8" fmla="*/ 44017 w 266626"/>
                    <a:gd name="connsiteY8" fmla="*/ 50308 h 103420"/>
                    <a:gd name="connsiteX9" fmla="*/ 45451 w 266626"/>
                    <a:gd name="connsiteY9" fmla="*/ 51058 h 103420"/>
                    <a:gd name="connsiteX10" fmla="*/ 46641 w 266626"/>
                    <a:gd name="connsiteY10" fmla="*/ 50553 h 103420"/>
                    <a:gd name="connsiteX11" fmla="*/ 47472 w 266626"/>
                    <a:gd name="connsiteY11" fmla="*/ 49722 h 103420"/>
                    <a:gd name="connsiteX12" fmla="*/ 44775 w 266626"/>
                    <a:gd name="connsiteY12" fmla="*/ 43544 h 103420"/>
                    <a:gd name="connsiteX13" fmla="*/ 44897 w 266626"/>
                    <a:gd name="connsiteY13" fmla="*/ 42240 h 103420"/>
                    <a:gd name="connsiteX14" fmla="*/ 47040 w 266626"/>
                    <a:gd name="connsiteY14" fmla="*/ 38842 h 103420"/>
                    <a:gd name="connsiteX15" fmla="*/ 52884 w 266626"/>
                    <a:gd name="connsiteY15" fmla="*/ 39868 h 103420"/>
                    <a:gd name="connsiteX16" fmla="*/ 53902 w 266626"/>
                    <a:gd name="connsiteY16" fmla="*/ 40463 h 103420"/>
                    <a:gd name="connsiteX17" fmla="*/ 54709 w 266626"/>
                    <a:gd name="connsiteY17" fmla="*/ 42615 h 103420"/>
                    <a:gd name="connsiteX18" fmla="*/ 56013 w 266626"/>
                    <a:gd name="connsiteY18" fmla="*/ 44302 h 103420"/>
                    <a:gd name="connsiteX19" fmla="*/ 57545 w 266626"/>
                    <a:gd name="connsiteY19" fmla="*/ 48809 h 103420"/>
                    <a:gd name="connsiteX20" fmla="*/ 57684 w 266626"/>
                    <a:gd name="connsiteY20" fmla="*/ 50373 h 103420"/>
                    <a:gd name="connsiteX21" fmla="*/ 75646 w 266626"/>
                    <a:gd name="connsiteY21" fmla="*/ 872 h 103420"/>
                    <a:gd name="connsiteX22" fmla="*/ 82141 w 266626"/>
                    <a:gd name="connsiteY22" fmla="*/ 2323 h 103420"/>
                    <a:gd name="connsiteX23" fmla="*/ 87398 w 266626"/>
                    <a:gd name="connsiteY23" fmla="*/ 1907 h 103420"/>
                    <a:gd name="connsiteX24" fmla="*/ 89908 w 266626"/>
                    <a:gd name="connsiteY24" fmla="*/ 1060 h 103420"/>
                    <a:gd name="connsiteX25" fmla="*/ 89680 w 266626"/>
                    <a:gd name="connsiteY25" fmla="*/ 1940 h 103420"/>
                    <a:gd name="connsiteX26" fmla="*/ 91986 w 266626"/>
                    <a:gd name="connsiteY26" fmla="*/ 4099 h 103420"/>
                    <a:gd name="connsiteX27" fmla="*/ 92834 w 266626"/>
                    <a:gd name="connsiteY27" fmla="*/ 4246 h 103420"/>
                    <a:gd name="connsiteX28" fmla="*/ 96232 w 266626"/>
                    <a:gd name="connsiteY28" fmla="*/ 3154 h 103420"/>
                    <a:gd name="connsiteX29" fmla="*/ 105099 w 266626"/>
                    <a:gd name="connsiteY29" fmla="*/ 2747 h 103420"/>
                    <a:gd name="connsiteX30" fmla="*/ 106012 w 266626"/>
                    <a:gd name="connsiteY30" fmla="*/ 3350 h 103420"/>
                    <a:gd name="connsiteX31" fmla="*/ 107568 w 266626"/>
                    <a:gd name="connsiteY31" fmla="*/ 5444 h 103420"/>
                    <a:gd name="connsiteX32" fmla="*/ 109834 w 266626"/>
                    <a:gd name="connsiteY32" fmla="*/ 6740 h 103420"/>
                    <a:gd name="connsiteX33" fmla="*/ 112173 w 266626"/>
                    <a:gd name="connsiteY33" fmla="*/ 7726 h 103420"/>
                    <a:gd name="connsiteX34" fmla="*/ 114626 w 266626"/>
                    <a:gd name="connsiteY34" fmla="*/ 7987 h 103420"/>
                    <a:gd name="connsiteX35" fmla="*/ 117071 w 266626"/>
                    <a:gd name="connsiteY35" fmla="*/ 7538 h 103420"/>
                    <a:gd name="connsiteX36" fmla="*/ 119369 w 266626"/>
                    <a:gd name="connsiteY36" fmla="*/ 7750 h 103420"/>
                    <a:gd name="connsiteX37" fmla="*/ 122230 w 266626"/>
                    <a:gd name="connsiteY37" fmla="*/ 9788 h 103420"/>
                    <a:gd name="connsiteX38" fmla="*/ 123126 w 266626"/>
                    <a:gd name="connsiteY38" fmla="*/ 10032 h 103420"/>
                    <a:gd name="connsiteX39" fmla="*/ 125685 w 266626"/>
                    <a:gd name="connsiteY39" fmla="*/ 9478 h 103420"/>
                    <a:gd name="connsiteX40" fmla="*/ 124927 w 266626"/>
                    <a:gd name="connsiteY40" fmla="*/ 11344 h 103420"/>
                    <a:gd name="connsiteX41" fmla="*/ 129247 w 266626"/>
                    <a:gd name="connsiteY41" fmla="*/ 13969 h 103420"/>
                    <a:gd name="connsiteX42" fmla="*/ 132409 w 266626"/>
                    <a:gd name="connsiteY42" fmla="*/ 19111 h 103420"/>
                    <a:gd name="connsiteX43" fmla="*/ 134707 w 266626"/>
                    <a:gd name="connsiteY43" fmla="*/ 21222 h 103420"/>
                    <a:gd name="connsiteX44" fmla="*/ 137144 w 266626"/>
                    <a:gd name="connsiteY44" fmla="*/ 23121 h 103420"/>
                    <a:gd name="connsiteX45" fmla="*/ 139189 w 266626"/>
                    <a:gd name="connsiteY45" fmla="*/ 24400 h 103420"/>
                    <a:gd name="connsiteX46" fmla="*/ 141488 w 266626"/>
                    <a:gd name="connsiteY46" fmla="*/ 25020 h 103420"/>
                    <a:gd name="connsiteX47" fmla="*/ 148456 w 266626"/>
                    <a:gd name="connsiteY47" fmla="*/ 24767 h 103420"/>
                    <a:gd name="connsiteX48" fmla="*/ 150110 w 266626"/>
                    <a:gd name="connsiteY48" fmla="*/ 24922 h 103420"/>
                    <a:gd name="connsiteX49" fmla="*/ 151585 w 266626"/>
                    <a:gd name="connsiteY49" fmla="*/ 25663 h 103420"/>
                    <a:gd name="connsiteX50" fmla="*/ 152995 w 266626"/>
                    <a:gd name="connsiteY50" fmla="*/ 25949 h 103420"/>
                    <a:gd name="connsiteX51" fmla="*/ 153810 w 266626"/>
                    <a:gd name="connsiteY51" fmla="*/ 25680 h 103420"/>
                    <a:gd name="connsiteX52" fmla="*/ 167281 w 266626"/>
                    <a:gd name="connsiteY52" fmla="*/ 33683 h 103420"/>
                    <a:gd name="connsiteX53" fmla="*/ 171560 w 266626"/>
                    <a:gd name="connsiteY53" fmla="*/ 37953 h 103420"/>
                    <a:gd name="connsiteX54" fmla="*/ 174184 w 266626"/>
                    <a:gd name="connsiteY54" fmla="*/ 40170 h 103420"/>
                    <a:gd name="connsiteX55" fmla="*/ 179840 w 266626"/>
                    <a:gd name="connsiteY55" fmla="*/ 43373 h 103420"/>
                    <a:gd name="connsiteX56" fmla="*/ 182114 w 266626"/>
                    <a:gd name="connsiteY56" fmla="*/ 44082 h 103420"/>
                    <a:gd name="connsiteX57" fmla="*/ 183304 w 266626"/>
                    <a:gd name="connsiteY57" fmla="*/ 43658 h 103420"/>
                    <a:gd name="connsiteX58" fmla="*/ 183068 w 266626"/>
                    <a:gd name="connsiteY58" fmla="*/ 42957 h 103420"/>
                    <a:gd name="connsiteX59" fmla="*/ 181413 w 266626"/>
                    <a:gd name="connsiteY59" fmla="*/ 41181 h 103420"/>
                    <a:gd name="connsiteX60" fmla="*/ 181169 w 266626"/>
                    <a:gd name="connsiteY60" fmla="*/ 40529 h 103420"/>
                    <a:gd name="connsiteX61" fmla="*/ 183296 w 266626"/>
                    <a:gd name="connsiteY61" fmla="*/ 41075 h 103420"/>
                    <a:gd name="connsiteX62" fmla="*/ 187142 w 266626"/>
                    <a:gd name="connsiteY62" fmla="*/ 44685 h 103420"/>
                    <a:gd name="connsiteX63" fmla="*/ 188202 w 266626"/>
                    <a:gd name="connsiteY63" fmla="*/ 46022 h 103420"/>
                    <a:gd name="connsiteX64" fmla="*/ 190125 w 266626"/>
                    <a:gd name="connsiteY64" fmla="*/ 47252 h 103420"/>
                    <a:gd name="connsiteX65" fmla="*/ 192048 w 266626"/>
                    <a:gd name="connsiteY65" fmla="*/ 48141 h 103420"/>
                    <a:gd name="connsiteX66" fmla="*/ 191128 w 266626"/>
                    <a:gd name="connsiteY66" fmla="*/ 49567 h 103420"/>
                    <a:gd name="connsiteX67" fmla="*/ 189563 w 266626"/>
                    <a:gd name="connsiteY67" fmla="*/ 49689 h 103420"/>
                    <a:gd name="connsiteX68" fmla="*/ 186548 w 266626"/>
                    <a:gd name="connsiteY68" fmla="*/ 49102 h 103420"/>
                    <a:gd name="connsiteX69" fmla="*/ 188944 w 266626"/>
                    <a:gd name="connsiteY69" fmla="*/ 51417 h 103420"/>
                    <a:gd name="connsiteX70" fmla="*/ 189359 w 266626"/>
                    <a:gd name="connsiteY70" fmla="*/ 53104 h 103420"/>
                    <a:gd name="connsiteX71" fmla="*/ 190476 w 266626"/>
                    <a:gd name="connsiteY71" fmla="*/ 53250 h 103420"/>
                    <a:gd name="connsiteX72" fmla="*/ 192138 w 266626"/>
                    <a:gd name="connsiteY72" fmla="*/ 51392 h 103420"/>
                    <a:gd name="connsiteX73" fmla="*/ 193190 w 266626"/>
                    <a:gd name="connsiteY73" fmla="*/ 49836 h 103420"/>
                    <a:gd name="connsiteX74" fmla="*/ 197419 w 266626"/>
                    <a:gd name="connsiteY74" fmla="*/ 53862 h 103420"/>
                    <a:gd name="connsiteX75" fmla="*/ 199693 w 266626"/>
                    <a:gd name="connsiteY75" fmla="*/ 55712 h 103420"/>
                    <a:gd name="connsiteX76" fmla="*/ 199106 w 266626"/>
                    <a:gd name="connsiteY76" fmla="*/ 56787 h 103420"/>
                    <a:gd name="connsiteX77" fmla="*/ 198919 w 266626"/>
                    <a:gd name="connsiteY77" fmla="*/ 57847 h 103420"/>
                    <a:gd name="connsiteX78" fmla="*/ 201461 w 266626"/>
                    <a:gd name="connsiteY78" fmla="*/ 56853 h 103420"/>
                    <a:gd name="connsiteX79" fmla="*/ 202431 w 266626"/>
                    <a:gd name="connsiteY79" fmla="*/ 56967 h 103420"/>
                    <a:gd name="connsiteX80" fmla="*/ 203360 w 266626"/>
                    <a:gd name="connsiteY80" fmla="*/ 57537 h 103420"/>
                    <a:gd name="connsiteX81" fmla="*/ 204379 w 266626"/>
                    <a:gd name="connsiteY81" fmla="*/ 59273 h 103420"/>
                    <a:gd name="connsiteX82" fmla="*/ 206751 w 266626"/>
                    <a:gd name="connsiteY82" fmla="*/ 59656 h 103420"/>
                    <a:gd name="connsiteX83" fmla="*/ 209147 w 266626"/>
                    <a:gd name="connsiteY83" fmla="*/ 59607 h 103420"/>
                    <a:gd name="connsiteX84" fmla="*/ 214004 w 266626"/>
                    <a:gd name="connsiteY84" fmla="*/ 61041 h 103420"/>
                    <a:gd name="connsiteX85" fmla="*/ 218608 w 266626"/>
                    <a:gd name="connsiteY85" fmla="*/ 63951 h 103420"/>
                    <a:gd name="connsiteX86" fmla="*/ 222936 w 266626"/>
                    <a:gd name="connsiteY86" fmla="*/ 64546 h 103420"/>
                    <a:gd name="connsiteX87" fmla="*/ 227304 w 266626"/>
                    <a:gd name="connsiteY87" fmla="*/ 64644 h 103420"/>
                    <a:gd name="connsiteX88" fmla="*/ 229513 w 266626"/>
                    <a:gd name="connsiteY88" fmla="*/ 66176 h 103420"/>
                    <a:gd name="connsiteX89" fmla="*/ 230458 w 266626"/>
                    <a:gd name="connsiteY89" fmla="*/ 68238 h 103420"/>
                    <a:gd name="connsiteX90" fmla="*/ 229399 w 266626"/>
                    <a:gd name="connsiteY90" fmla="*/ 69697 h 103420"/>
                    <a:gd name="connsiteX91" fmla="*/ 228787 w 266626"/>
                    <a:gd name="connsiteY91" fmla="*/ 71229 h 103420"/>
                    <a:gd name="connsiteX92" fmla="*/ 230417 w 266626"/>
                    <a:gd name="connsiteY92" fmla="*/ 73095 h 103420"/>
                    <a:gd name="connsiteX93" fmla="*/ 226864 w 266626"/>
                    <a:gd name="connsiteY93" fmla="*/ 73886 h 103420"/>
                    <a:gd name="connsiteX94" fmla="*/ 226367 w 266626"/>
                    <a:gd name="connsiteY94" fmla="*/ 75010 h 103420"/>
                    <a:gd name="connsiteX95" fmla="*/ 226546 w 266626"/>
                    <a:gd name="connsiteY95" fmla="*/ 76233 h 103420"/>
                    <a:gd name="connsiteX96" fmla="*/ 227255 w 266626"/>
                    <a:gd name="connsiteY96" fmla="*/ 76901 h 103420"/>
                    <a:gd name="connsiteX97" fmla="*/ 229285 w 266626"/>
                    <a:gd name="connsiteY97" fmla="*/ 76314 h 103420"/>
                    <a:gd name="connsiteX98" fmla="*/ 232210 w 266626"/>
                    <a:gd name="connsiteY98" fmla="*/ 76836 h 103420"/>
                    <a:gd name="connsiteX99" fmla="*/ 236839 w 266626"/>
                    <a:gd name="connsiteY99" fmla="*/ 77300 h 103420"/>
                    <a:gd name="connsiteX100" fmla="*/ 239928 w 266626"/>
                    <a:gd name="connsiteY100" fmla="*/ 76917 h 103420"/>
                    <a:gd name="connsiteX101" fmla="*/ 246212 w 266626"/>
                    <a:gd name="connsiteY101" fmla="*/ 78197 h 103420"/>
                    <a:gd name="connsiteX102" fmla="*/ 248127 w 266626"/>
                    <a:gd name="connsiteY102" fmla="*/ 78873 h 103420"/>
                    <a:gd name="connsiteX103" fmla="*/ 251860 w 266626"/>
                    <a:gd name="connsiteY103" fmla="*/ 81269 h 103420"/>
                    <a:gd name="connsiteX104" fmla="*/ 253587 w 266626"/>
                    <a:gd name="connsiteY104" fmla="*/ 82850 h 103420"/>
                    <a:gd name="connsiteX105" fmla="*/ 257295 w 266626"/>
                    <a:gd name="connsiteY105" fmla="*/ 87104 h 103420"/>
                    <a:gd name="connsiteX106" fmla="*/ 260490 w 266626"/>
                    <a:gd name="connsiteY106" fmla="*/ 88775 h 103420"/>
                    <a:gd name="connsiteX107" fmla="*/ 263253 w 266626"/>
                    <a:gd name="connsiteY107" fmla="*/ 89182 h 103420"/>
                    <a:gd name="connsiteX108" fmla="*/ 264214 w 266626"/>
                    <a:gd name="connsiteY108" fmla="*/ 88905 h 103420"/>
                    <a:gd name="connsiteX109" fmla="*/ 265095 w 266626"/>
                    <a:gd name="connsiteY109" fmla="*/ 89370 h 103420"/>
                    <a:gd name="connsiteX110" fmla="*/ 265869 w 266626"/>
                    <a:gd name="connsiteY110" fmla="*/ 89965 h 103420"/>
                    <a:gd name="connsiteX111" fmla="*/ 266627 w 266626"/>
                    <a:gd name="connsiteY111" fmla="*/ 91823 h 103420"/>
                    <a:gd name="connsiteX112" fmla="*/ 266211 w 266626"/>
                    <a:gd name="connsiteY112" fmla="*/ 93779 h 103420"/>
                    <a:gd name="connsiteX113" fmla="*/ 264630 w 266626"/>
                    <a:gd name="connsiteY113" fmla="*/ 95368 h 103420"/>
                    <a:gd name="connsiteX114" fmla="*/ 263758 w 266626"/>
                    <a:gd name="connsiteY114" fmla="*/ 96525 h 103420"/>
                    <a:gd name="connsiteX115" fmla="*/ 259805 w 266626"/>
                    <a:gd name="connsiteY115" fmla="*/ 96664 h 103420"/>
                    <a:gd name="connsiteX116" fmla="*/ 254288 w 266626"/>
                    <a:gd name="connsiteY116" fmla="*/ 97194 h 103420"/>
                    <a:gd name="connsiteX117" fmla="*/ 248942 w 266626"/>
                    <a:gd name="connsiteY117" fmla="*/ 98921 h 103420"/>
                    <a:gd name="connsiteX118" fmla="*/ 246334 w 266626"/>
                    <a:gd name="connsiteY118" fmla="*/ 100282 h 103420"/>
                    <a:gd name="connsiteX119" fmla="*/ 245144 w 266626"/>
                    <a:gd name="connsiteY119" fmla="*/ 101195 h 103420"/>
                    <a:gd name="connsiteX120" fmla="*/ 242341 w 266626"/>
                    <a:gd name="connsiteY120" fmla="*/ 102035 h 103420"/>
                    <a:gd name="connsiteX121" fmla="*/ 242153 w 266626"/>
                    <a:gd name="connsiteY121" fmla="*/ 101309 h 103420"/>
                    <a:gd name="connsiteX122" fmla="*/ 242202 w 266626"/>
                    <a:gd name="connsiteY122" fmla="*/ 100405 h 103420"/>
                    <a:gd name="connsiteX123" fmla="*/ 241468 w 266626"/>
                    <a:gd name="connsiteY123" fmla="*/ 98726 h 103420"/>
                    <a:gd name="connsiteX124" fmla="*/ 240825 w 266626"/>
                    <a:gd name="connsiteY124" fmla="*/ 100234 h 103420"/>
                    <a:gd name="connsiteX125" fmla="*/ 239781 w 266626"/>
                    <a:gd name="connsiteY125" fmla="*/ 101334 h 103420"/>
                    <a:gd name="connsiteX126" fmla="*/ 238013 w 266626"/>
                    <a:gd name="connsiteY126" fmla="*/ 102279 h 103420"/>
                    <a:gd name="connsiteX127" fmla="*/ 231534 w 266626"/>
                    <a:gd name="connsiteY127" fmla="*/ 102336 h 103420"/>
                    <a:gd name="connsiteX128" fmla="*/ 228926 w 266626"/>
                    <a:gd name="connsiteY128" fmla="*/ 101065 h 103420"/>
                    <a:gd name="connsiteX129" fmla="*/ 226253 w 266626"/>
                    <a:gd name="connsiteY129" fmla="*/ 100193 h 103420"/>
                    <a:gd name="connsiteX130" fmla="*/ 216498 w 266626"/>
                    <a:gd name="connsiteY130" fmla="*/ 99288 h 103420"/>
                    <a:gd name="connsiteX131" fmla="*/ 214151 w 266626"/>
                    <a:gd name="connsiteY131" fmla="*/ 99362 h 103420"/>
                    <a:gd name="connsiteX132" fmla="*/ 207631 w 266626"/>
                    <a:gd name="connsiteY132" fmla="*/ 100307 h 103420"/>
                    <a:gd name="connsiteX133" fmla="*/ 201078 w 266626"/>
                    <a:gd name="connsiteY133" fmla="*/ 100812 h 103420"/>
                    <a:gd name="connsiteX134" fmla="*/ 198340 w 266626"/>
                    <a:gd name="connsiteY134" fmla="*/ 101391 h 103420"/>
                    <a:gd name="connsiteX135" fmla="*/ 195634 w 266626"/>
                    <a:gd name="connsiteY135" fmla="*/ 102271 h 103420"/>
                    <a:gd name="connsiteX136" fmla="*/ 190361 w 266626"/>
                    <a:gd name="connsiteY136" fmla="*/ 102239 h 103420"/>
                    <a:gd name="connsiteX137" fmla="*/ 184127 w 266626"/>
                    <a:gd name="connsiteY137" fmla="*/ 103241 h 103420"/>
                    <a:gd name="connsiteX138" fmla="*/ 177884 w 266626"/>
                    <a:gd name="connsiteY138" fmla="*/ 103420 h 103420"/>
                    <a:gd name="connsiteX139" fmla="*/ 181886 w 266626"/>
                    <a:gd name="connsiteY139" fmla="*/ 96428 h 103420"/>
                    <a:gd name="connsiteX140" fmla="*/ 190329 w 266626"/>
                    <a:gd name="connsiteY140" fmla="*/ 89680 h 103420"/>
                    <a:gd name="connsiteX141" fmla="*/ 191918 w 266626"/>
                    <a:gd name="connsiteY141" fmla="*/ 88237 h 103420"/>
                    <a:gd name="connsiteX142" fmla="*/ 193051 w 266626"/>
                    <a:gd name="connsiteY142" fmla="*/ 86371 h 103420"/>
                    <a:gd name="connsiteX143" fmla="*/ 193320 w 266626"/>
                    <a:gd name="connsiteY143" fmla="*/ 84969 h 103420"/>
                    <a:gd name="connsiteX144" fmla="*/ 192953 w 266626"/>
                    <a:gd name="connsiteY144" fmla="*/ 83779 h 103420"/>
                    <a:gd name="connsiteX145" fmla="*/ 190940 w 266626"/>
                    <a:gd name="connsiteY145" fmla="*/ 81668 h 103420"/>
                    <a:gd name="connsiteX146" fmla="*/ 190533 w 266626"/>
                    <a:gd name="connsiteY146" fmla="*/ 80096 h 103420"/>
                    <a:gd name="connsiteX147" fmla="*/ 189930 w 266626"/>
                    <a:gd name="connsiteY147" fmla="*/ 79077 h 103420"/>
                    <a:gd name="connsiteX148" fmla="*/ 187004 w 266626"/>
                    <a:gd name="connsiteY148" fmla="*/ 78188 h 103420"/>
                    <a:gd name="connsiteX149" fmla="*/ 184037 w 266626"/>
                    <a:gd name="connsiteY149" fmla="*/ 77667 h 103420"/>
                    <a:gd name="connsiteX150" fmla="*/ 180924 w 266626"/>
                    <a:gd name="connsiteY150" fmla="*/ 77651 h 103420"/>
                    <a:gd name="connsiteX151" fmla="*/ 174372 w 266626"/>
                    <a:gd name="connsiteY151" fmla="*/ 76925 h 103420"/>
                    <a:gd name="connsiteX152" fmla="*/ 170884 w 266626"/>
                    <a:gd name="connsiteY152" fmla="*/ 76868 h 103420"/>
                    <a:gd name="connsiteX153" fmla="*/ 167934 w 266626"/>
                    <a:gd name="connsiteY153" fmla="*/ 75434 h 103420"/>
                    <a:gd name="connsiteX154" fmla="*/ 163035 w 266626"/>
                    <a:gd name="connsiteY154" fmla="*/ 70308 h 103420"/>
                    <a:gd name="connsiteX155" fmla="*/ 160745 w 266626"/>
                    <a:gd name="connsiteY155" fmla="*/ 68873 h 103420"/>
                    <a:gd name="connsiteX156" fmla="*/ 159564 w 266626"/>
                    <a:gd name="connsiteY156" fmla="*/ 67724 h 103420"/>
                    <a:gd name="connsiteX157" fmla="*/ 158643 w 266626"/>
                    <a:gd name="connsiteY157" fmla="*/ 66404 h 103420"/>
                    <a:gd name="connsiteX158" fmla="*/ 157485 w 266626"/>
                    <a:gd name="connsiteY158" fmla="*/ 58865 h 103420"/>
                    <a:gd name="connsiteX159" fmla="*/ 156516 w 266626"/>
                    <a:gd name="connsiteY159" fmla="*/ 55239 h 103420"/>
                    <a:gd name="connsiteX160" fmla="*/ 155024 w 266626"/>
                    <a:gd name="connsiteY160" fmla="*/ 52085 h 103420"/>
                    <a:gd name="connsiteX161" fmla="*/ 152767 w 266626"/>
                    <a:gd name="connsiteY161" fmla="*/ 49689 h 103420"/>
                    <a:gd name="connsiteX162" fmla="*/ 150403 w 266626"/>
                    <a:gd name="connsiteY162" fmla="*/ 48874 h 103420"/>
                    <a:gd name="connsiteX163" fmla="*/ 141316 w 266626"/>
                    <a:gd name="connsiteY163" fmla="*/ 50920 h 103420"/>
                    <a:gd name="connsiteX164" fmla="*/ 139206 w 266626"/>
                    <a:gd name="connsiteY164" fmla="*/ 50618 h 103420"/>
                    <a:gd name="connsiteX165" fmla="*/ 137144 w 266626"/>
                    <a:gd name="connsiteY165" fmla="*/ 49925 h 103420"/>
                    <a:gd name="connsiteX166" fmla="*/ 123436 w 266626"/>
                    <a:gd name="connsiteY166" fmla="*/ 45044 h 103420"/>
                    <a:gd name="connsiteX167" fmla="*/ 117780 w 266626"/>
                    <a:gd name="connsiteY167" fmla="*/ 42346 h 103420"/>
                    <a:gd name="connsiteX168" fmla="*/ 115474 w 266626"/>
                    <a:gd name="connsiteY168" fmla="*/ 41018 h 103420"/>
                    <a:gd name="connsiteX169" fmla="*/ 113510 w 266626"/>
                    <a:gd name="connsiteY169" fmla="*/ 39119 h 103420"/>
                    <a:gd name="connsiteX170" fmla="*/ 111472 w 266626"/>
                    <a:gd name="connsiteY170" fmla="*/ 35997 h 103420"/>
                    <a:gd name="connsiteX171" fmla="*/ 109174 w 266626"/>
                    <a:gd name="connsiteY171" fmla="*/ 33210 h 103420"/>
                    <a:gd name="connsiteX172" fmla="*/ 109190 w 266626"/>
                    <a:gd name="connsiteY172" fmla="*/ 34335 h 103420"/>
                    <a:gd name="connsiteX173" fmla="*/ 108840 w 266626"/>
                    <a:gd name="connsiteY173" fmla="*/ 35068 h 103420"/>
                    <a:gd name="connsiteX174" fmla="*/ 97357 w 266626"/>
                    <a:gd name="connsiteY174" fmla="*/ 35402 h 103420"/>
                    <a:gd name="connsiteX175" fmla="*/ 95531 w 266626"/>
                    <a:gd name="connsiteY175" fmla="*/ 34759 h 103420"/>
                    <a:gd name="connsiteX176" fmla="*/ 94349 w 266626"/>
                    <a:gd name="connsiteY176" fmla="*/ 34001 h 103420"/>
                    <a:gd name="connsiteX177" fmla="*/ 93518 w 266626"/>
                    <a:gd name="connsiteY177" fmla="*/ 32876 h 103420"/>
                    <a:gd name="connsiteX178" fmla="*/ 92899 w 266626"/>
                    <a:gd name="connsiteY178" fmla="*/ 30610 h 103420"/>
                    <a:gd name="connsiteX179" fmla="*/ 91815 w 266626"/>
                    <a:gd name="connsiteY179" fmla="*/ 28712 h 103420"/>
                    <a:gd name="connsiteX180" fmla="*/ 91465 w 266626"/>
                    <a:gd name="connsiteY180" fmla="*/ 30741 h 103420"/>
                    <a:gd name="connsiteX181" fmla="*/ 90894 w 266626"/>
                    <a:gd name="connsiteY181" fmla="*/ 32607 h 103420"/>
                    <a:gd name="connsiteX182" fmla="*/ 89362 w 266626"/>
                    <a:gd name="connsiteY182" fmla="*/ 33650 h 103420"/>
                    <a:gd name="connsiteX183" fmla="*/ 87602 w 266626"/>
                    <a:gd name="connsiteY183" fmla="*/ 33821 h 103420"/>
                    <a:gd name="connsiteX184" fmla="*/ 85474 w 266626"/>
                    <a:gd name="connsiteY184" fmla="*/ 31344 h 103420"/>
                    <a:gd name="connsiteX185" fmla="*/ 76176 w 266626"/>
                    <a:gd name="connsiteY185" fmla="*/ 30830 h 103420"/>
                    <a:gd name="connsiteX186" fmla="*/ 75344 w 266626"/>
                    <a:gd name="connsiteY186" fmla="*/ 30415 h 103420"/>
                    <a:gd name="connsiteX187" fmla="*/ 72288 w 266626"/>
                    <a:gd name="connsiteY187" fmla="*/ 28011 h 103420"/>
                    <a:gd name="connsiteX188" fmla="*/ 69680 w 266626"/>
                    <a:gd name="connsiteY188" fmla="*/ 25003 h 103420"/>
                    <a:gd name="connsiteX189" fmla="*/ 72280 w 266626"/>
                    <a:gd name="connsiteY189" fmla="*/ 23944 h 103420"/>
                    <a:gd name="connsiteX190" fmla="*/ 77634 w 266626"/>
                    <a:gd name="connsiteY190" fmla="*/ 22550 h 103420"/>
                    <a:gd name="connsiteX191" fmla="*/ 78792 w 266626"/>
                    <a:gd name="connsiteY191" fmla="*/ 21621 h 103420"/>
                    <a:gd name="connsiteX192" fmla="*/ 79468 w 266626"/>
                    <a:gd name="connsiteY192" fmla="*/ 20431 h 103420"/>
                    <a:gd name="connsiteX193" fmla="*/ 78987 w 266626"/>
                    <a:gd name="connsiteY193" fmla="*/ 18655 h 103420"/>
                    <a:gd name="connsiteX194" fmla="*/ 77920 w 266626"/>
                    <a:gd name="connsiteY194" fmla="*/ 17375 h 103420"/>
                    <a:gd name="connsiteX195" fmla="*/ 76820 w 266626"/>
                    <a:gd name="connsiteY195" fmla="*/ 16626 h 103420"/>
                    <a:gd name="connsiteX196" fmla="*/ 75613 w 266626"/>
                    <a:gd name="connsiteY196" fmla="*/ 16137 h 103420"/>
                    <a:gd name="connsiteX197" fmla="*/ 74008 w 266626"/>
                    <a:gd name="connsiteY197" fmla="*/ 15933 h 103420"/>
                    <a:gd name="connsiteX198" fmla="*/ 53299 w 266626"/>
                    <a:gd name="connsiteY198" fmla="*/ 15615 h 103420"/>
                    <a:gd name="connsiteX199" fmla="*/ 52109 w 266626"/>
                    <a:gd name="connsiteY199" fmla="*/ 16585 h 103420"/>
                    <a:gd name="connsiteX200" fmla="*/ 50243 w 266626"/>
                    <a:gd name="connsiteY200" fmla="*/ 18549 h 103420"/>
                    <a:gd name="connsiteX201" fmla="*/ 46576 w 266626"/>
                    <a:gd name="connsiteY201" fmla="*/ 21075 h 103420"/>
                    <a:gd name="connsiteX202" fmla="*/ 44147 w 266626"/>
                    <a:gd name="connsiteY202" fmla="*/ 23691 h 103420"/>
                    <a:gd name="connsiteX203" fmla="*/ 43242 w 266626"/>
                    <a:gd name="connsiteY203" fmla="*/ 25044 h 103420"/>
                    <a:gd name="connsiteX204" fmla="*/ 42110 w 266626"/>
                    <a:gd name="connsiteY204" fmla="*/ 26014 h 103420"/>
                    <a:gd name="connsiteX205" fmla="*/ 39559 w 266626"/>
                    <a:gd name="connsiteY205" fmla="*/ 27636 h 103420"/>
                    <a:gd name="connsiteX206" fmla="*/ 37391 w 266626"/>
                    <a:gd name="connsiteY206" fmla="*/ 30129 h 103420"/>
                    <a:gd name="connsiteX207" fmla="*/ 34759 w 266626"/>
                    <a:gd name="connsiteY207" fmla="*/ 31246 h 103420"/>
                    <a:gd name="connsiteX208" fmla="*/ 33316 w 266626"/>
                    <a:gd name="connsiteY208" fmla="*/ 30570 h 103420"/>
                    <a:gd name="connsiteX209" fmla="*/ 31890 w 266626"/>
                    <a:gd name="connsiteY209" fmla="*/ 30578 h 103420"/>
                    <a:gd name="connsiteX210" fmla="*/ 30863 w 266626"/>
                    <a:gd name="connsiteY210" fmla="*/ 31189 h 103420"/>
                    <a:gd name="connsiteX211" fmla="*/ 29787 w 266626"/>
                    <a:gd name="connsiteY211" fmla="*/ 31474 h 103420"/>
                    <a:gd name="connsiteX212" fmla="*/ 24474 w 266626"/>
                    <a:gd name="connsiteY212" fmla="*/ 31784 h 103420"/>
                    <a:gd name="connsiteX213" fmla="*/ 23675 w 266626"/>
                    <a:gd name="connsiteY213" fmla="*/ 32411 h 103420"/>
                    <a:gd name="connsiteX214" fmla="*/ 22917 w 266626"/>
                    <a:gd name="connsiteY214" fmla="*/ 34204 h 103420"/>
                    <a:gd name="connsiteX215" fmla="*/ 22053 w 266626"/>
                    <a:gd name="connsiteY215" fmla="*/ 37684 h 103420"/>
                    <a:gd name="connsiteX216" fmla="*/ 21238 w 266626"/>
                    <a:gd name="connsiteY216" fmla="*/ 38834 h 103420"/>
                    <a:gd name="connsiteX217" fmla="*/ 18573 w 266626"/>
                    <a:gd name="connsiteY217" fmla="*/ 39274 h 103420"/>
                    <a:gd name="connsiteX218" fmla="*/ 16039 w 266626"/>
                    <a:gd name="connsiteY218" fmla="*/ 40227 h 103420"/>
                    <a:gd name="connsiteX219" fmla="*/ 10872 w 266626"/>
                    <a:gd name="connsiteY219" fmla="*/ 43544 h 103420"/>
                    <a:gd name="connsiteX220" fmla="*/ 9535 w 266626"/>
                    <a:gd name="connsiteY220" fmla="*/ 44025 h 103420"/>
                    <a:gd name="connsiteX221" fmla="*/ 9829 w 266626"/>
                    <a:gd name="connsiteY221" fmla="*/ 41596 h 103420"/>
                    <a:gd name="connsiteX222" fmla="*/ 9568 w 266626"/>
                    <a:gd name="connsiteY222" fmla="*/ 39241 h 103420"/>
                    <a:gd name="connsiteX223" fmla="*/ 8117 w 266626"/>
                    <a:gd name="connsiteY223" fmla="*/ 39151 h 103420"/>
                    <a:gd name="connsiteX224" fmla="*/ 6455 w 266626"/>
                    <a:gd name="connsiteY224" fmla="*/ 39542 h 103420"/>
                    <a:gd name="connsiteX225" fmla="*/ 5069 w 266626"/>
                    <a:gd name="connsiteY225" fmla="*/ 40203 h 103420"/>
                    <a:gd name="connsiteX226" fmla="*/ 2510 w 266626"/>
                    <a:gd name="connsiteY226" fmla="*/ 41963 h 103420"/>
                    <a:gd name="connsiteX227" fmla="*/ 1214 w 266626"/>
                    <a:gd name="connsiteY227" fmla="*/ 42411 h 103420"/>
                    <a:gd name="connsiteX228" fmla="*/ 0 w 266626"/>
                    <a:gd name="connsiteY228" fmla="*/ 41506 h 103420"/>
                    <a:gd name="connsiteX229" fmla="*/ 253 w 266626"/>
                    <a:gd name="connsiteY229" fmla="*/ 40349 h 103420"/>
                    <a:gd name="connsiteX230" fmla="*/ 8794 w 266626"/>
                    <a:gd name="connsiteY230" fmla="*/ 36095 h 103420"/>
                    <a:gd name="connsiteX231" fmla="*/ 9755 w 266626"/>
                    <a:gd name="connsiteY231" fmla="*/ 35769 h 103420"/>
                    <a:gd name="connsiteX232" fmla="*/ 11279 w 266626"/>
                    <a:gd name="connsiteY232" fmla="*/ 36087 h 103420"/>
                    <a:gd name="connsiteX233" fmla="*/ 12763 w 266626"/>
                    <a:gd name="connsiteY233" fmla="*/ 35949 h 103420"/>
                    <a:gd name="connsiteX234" fmla="*/ 13928 w 266626"/>
                    <a:gd name="connsiteY234" fmla="*/ 34751 h 103420"/>
                    <a:gd name="connsiteX235" fmla="*/ 12518 w 266626"/>
                    <a:gd name="connsiteY235" fmla="*/ 29119 h 103420"/>
                    <a:gd name="connsiteX236" fmla="*/ 13056 w 266626"/>
                    <a:gd name="connsiteY236" fmla="*/ 25280 h 103420"/>
                    <a:gd name="connsiteX237" fmla="*/ 15036 w 266626"/>
                    <a:gd name="connsiteY237" fmla="*/ 22314 h 103420"/>
                    <a:gd name="connsiteX238" fmla="*/ 18997 w 266626"/>
                    <a:gd name="connsiteY238" fmla="*/ 17815 h 103420"/>
                    <a:gd name="connsiteX239" fmla="*/ 20904 w 266626"/>
                    <a:gd name="connsiteY239" fmla="*/ 16340 h 103420"/>
                    <a:gd name="connsiteX240" fmla="*/ 40431 w 266626"/>
                    <a:gd name="connsiteY240" fmla="*/ 6943 h 103420"/>
                    <a:gd name="connsiteX241" fmla="*/ 42428 w 266626"/>
                    <a:gd name="connsiteY241" fmla="*/ 6463 h 103420"/>
                    <a:gd name="connsiteX242" fmla="*/ 55117 w 266626"/>
                    <a:gd name="connsiteY242" fmla="*/ 4580 h 103420"/>
                    <a:gd name="connsiteX243" fmla="*/ 57040 w 266626"/>
                    <a:gd name="connsiteY243" fmla="*/ 3920 h 103420"/>
                    <a:gd name="connsiteX244" fmla="*/ 62932 w 266626"/>
                    <a:gd name="connsiteY244" fmla="*/ 1133 h 103420"/>
                    <a:gd name="connsiteX245" fmla="*/ 69110 w 266626"/>
                    <a:gd name="connsiteY245" fmla="*/ 0 h 103420"/>
                    <a:gd name="connsiteX246" fmla="*/ 75646 w 266626"/>
                    <a:gd name="connsiteY246" fmla="*/ 872 h 10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Lst>
                  <a:rect l="l" t="t" r="r" b="b"/>
                  <a:pathLst>
                    <a:path w="266626" h="103420">
                      <a:moveTo>
                        <a:pt x="57684" y="50373"/>
                      </a:moveTo>
                      <a:lnTo>
                        <a:pt x="55378" y="52020"/>
                      </a:lnTo>
                      <a:lnTo>
                        <a:pt x="50455" y="54334"/>
                      </a:lnTo>
                      <a:lnTo>
                        <a:pt x="47815" y="54416"/>
                      </a:lnTo>
                      <a:lnTo>
                        <a:pt x="45141" y="53544"/>
                      </a:lnTo>
                      <a:lnTo>
                        <a:pt x="43300" y="51604"/>
                      </a:lnTo>
                      <a:lnTo>
                        <a:pt x="42248" y="49697"/>
                      </a:lnTo>
                      <a:lnTo>
                        <a:pt x="42338" y="48776"/>
                      </a:lnTo>
                      <a:lnTo>
                        <a:pt x="44017" y="50308"/>
                      </a:lnTo>
                      <a:lnTo>
                        <a:pt x="45451" y="51058"/>
                      </a:lnTo>
                      <a:lnTo>
                        <a:pt x="46641" y="50553"/>
                      </a:lnTo>
                      <a:lnTo>
                        <a:pt x="47472" y="49722"/>
                      </a:lnTo>
                      <a:lnTo>
                        <a:pt x="44775" y="43544"/>
                      </a:lnTo>
                      <a:lnTo>
                        <a:pt x="44897" y="42240"/>
                      </a:lnTo>
                      <a:lnTo>
                        <a:pt x="47040" y="38842"/>
                      </a:lnTo>
                      <a:lnTo>
                        <a:pt x="52884" y="39868"/>
                      </a:lnTo>
                      <a:lnTo>
                        <a:pt x="53902" y="40463"/>
                      </a:lnTo>
                      <a:lnTo>
                        <a:pt x="54709" y="42615"/>
                      </a:lnTo>
                      <a:lnTo>
                        <a:pt x="56013" y="44302"/>
                      </a:lnTo>
                      <a:lnTo>
                        <a:pt x="57545" y="48809"/>
                      </a:lnTo>
                      <a:lnTo>
                        <a:pt x="57684" y="50373"/>
                      </a:lnTo>
                      <a:close/>
                      <a:moveTo>
                        <a:pt x="75646" y="872"/>
                      </a:moveTo>
                      <a:lnTo>
                        <a:pt x="82141" y="2323"/>
                      </a:lnTo>
                      <a:lnTo>
                        <a:pt x="87398" y="1907"/>
                      </a:lnTo>
                      <a:lnTo>
                        <a:pt x="89908" y="1060"/>
                      </a:lnTo>
                      <a:lnTo>
                        <a:pt x="89680" y="1940"/>
                      </a:lnTo>
                      <a:lnTo>
                        <a:pt x="91986" y="4099"/>
                      </a:lnTo>
                      <a:lnTo>
                        <a:pt x="92834" y="4246"/>
                      </a:lnTo>
                      <a:lnTo>
                        <a:pt x="96232" y="3154"/>
                      </a:lnTo>
                      <a:lnTo>
                        <a:pt x="105099" y="2747"/>
                      </a:lnTo>
                      <a:lnTo>
                        <a:pt x="106012" y="3350"/>
                      </a:lnTo>
                      <a:lnTo>
                        <a:pt x="107568" y="5444"/>
                      </a:lnTo>
                      <a:lnTo>
                        <a:pt x="109834" y="6740"/>
                      </a:lnTo>
                      <a:lnTo>
                        <a:pt x="112173" y="7726"/>
                      </a:lnTo>
                      <a:lnTo>
                        <a:pt x="114626" y="7987"/>
                      </a:lnTo>
                      <a:lnTo>
                        <a:pt x="117071" y="7538"/>
                      </a:lnTo>
                      <a:lnTo>
                        <a:pt x="119369" y="7750"/>
                      </a:lnTo>
                      <a:lnTo>
                        <a:pt x="122230" y="9788"/>
                      </a:lnTo>
                      <a:lnTo>
                        <a:pt x="123126" y="10032"/>
                      </a:lnTo>
                      <a:lnTo>
                        <a:pt x="125685" y="9478"/>
                      </a:lnTo>
                      <a:lnTo>
                        <a:pt x="124927" y="11344"/>
                      </a:lnTo>
                      <a:lnTo>
                        <a:pt x="129247" y="13969"/>
                      </a:lnTo>
                      <a:lnTo>
                        <a:pt x="132409" y="19111"/>
                      </a:lnTo>
                      <a:lnTo>
                        <a:pt x="134707" y="21222"/>
                      </a:lnTo>
                      <a:lnTo>
                        <a:pt x="137144" y="23121"/>
                      </a:lnTo>
                      <a:lnTo>
                        <a:pt x="139189" y="24400"/>
                      </a:lnTo>
                      <a:lnTo>
                        <a:pt x="141488" y="25020"/>
                      </a:lnTo>
                      <a:lnTo>
                        <a:pt x="148456" y="24767"/>
                      </a:lnTo>
                      <a:lnTo>
                        <a:pt x="150110" y="24922"/>
                      </a:lnTo>
                      <a:lnTo>
                        <a:pt x="151585" y="25663"/>
                      </a:lnTo>
                      <a:lnTo>
                        <a:pt x="152995" y="25949"/>
                      </a:lnTo>
                      <a:lnTo>
                        <a:pt x="153810" y="25680"/>
                      </a:lnTo>
                      <a:lnTo>
                        <a:pt x="167281" y="33683"/>
                      </a:lnTo>
                      <a:lnTo>
                        <a:pt x="171560" y="37953"/>
                      </a:lnTo>
                      <a:lnTo>
                        <a:pt x="174184" y="40170"/>
                      </a:lnTo>
                      <a:lnTo>
                        <a:pt x="179840" y="43373"/>
                      </a:lnTo>
                      <a:lnTo>
                        <a:pt x="182114" y="44082"/>
                      </a:lnTo>
                      <a:lnTo>
                        <a:pt x="183304" y="43658"/>
                      </a:lnTo>
                      <a:lnTo>
                        <a:pt x="183068" y="42957"/>
                      </a:lnTo>
                      <a:lnTo>
                        <a:pt x="181413" y="41181"/>
                      </a:lnTo>
                      <a:lnTo>
                        <a:pt x="181169" y="40529"/>
                      </a:lnTo>
                      <a:lnTo>
                        <a:pt x="183296" y="41075"/>
                      </a:lnTo>
                      <a:lnTo>
                        <a:pt x="187142" y="44685"/>
                      </a:lnTo>
                      <a:lnTo>
                        <a:pt x="188202" y="46022"/>
                      </a:lnTo>
                      <a:lnTo>
                        <a:pt x="190125" y="47252"/>
                      </a:lnTo>
                      <a:lnTo>
                        <a:pt x="192048" y="48141"/>
                      </a:lnTo>
                      <a:lnTo>
                        <a:pt x="191128" y="49567"/>
                      </a:lnTo>
                      <a:lnTo>
                        <a:pt x="189563" y="49689"/>
                      </a:lnTo>
                      <a:lnTo>
                        <a:pt x="186548" y="49102"/>
                      </a:lnTo>
                      <a:lnTo>
                        <a:pt x="188944" y="51417"/>
                      </a:lnTo>
                      <a:lnTo>
                        <a:pt x="189359" y="53104"/>
                      </a:lnTo>
                      <a:lnTo>
                        <a:pt x="190476" y="53250"/>
                      </a:lnTo>
                      <a:lnTo>
                        <a:pt x="192138" y="51392"/>
                      </a:lnTo>
                      <a:lnTo>
                        <a:pt x="193190" y="49836"/>
                      </a:lnTo>
                      <a:lnTo>
                        <a:pt x="197419" y="53862"/>
                      </a:lnTo>
                      <a:lnTo>
                        <a:pt x="199693" y="55712"/>
                      </a:lnTo>
                      <a:lnTo>
                        <a:pt x="199106" y="56787"/>
                      </a:lnTo>
                      <a:lnTo>
                        <a:pt x="198919" y="57847"/>
                      </a:lnTo>
                      <a:lnTo>
                        <a:pt x="201461" y="56853"/>
                      </a:lnTo>
                      <a:lnTo>
                        <a:pt x="202431" y="56967"/>
                      </a:lnTo>
                      <a:lnTo>
                        <a:pt x="203360" y="57537"/>
                      </a:lnTo>
                      <a:lnTo>
                        <a:pt x="204379" y="59273"/>
                      </a:lnTo>
                      <a:lnTo>
                        <a:pt x="206751" y="59656"/>
                      </a:lnTo>
                      <a:lnTo>
                        <a:pt x="209147" y="59607"/>
                      </a:lnTo>
                      <a:lnTo>
                        <a:pt x="214004" y="61041"/>
                      </a:lnTo>
                      <a:lnTo>
                        <a:pt x="218608" y="63951"/>
                      </a:lnTo>
                      <a:lnTo>
                        <a:pt x="222936" y="64546"/>
                      </a:lnTo>
                      <a:lnTo>
                        <a:pt x="227304" y="64644"/>
                      </a:lnTo>
                      <a:lnTo>
                        <a:pt x="229513" y="66176"/>
                      </a:lnTo>
                      <a:lnTo>
                        <a:pt x="230458" y="68238"/>
                      </a:lnTo>
                      <a:lnTo>
                        <a:pt x="229399" y="69697"/>
                      </a:lnTo>
                      <a:lnTo>
                        <a:pt x="228787" y="71229"/>
                      </a:lnTo>
                      <a:lnTo>
                        <a:pt x="230417" y="73095"/>
                      </a:lnTo>
                      <a:lnTo>
                        <a:pt x="226864" y="73886"/>
                      </a:lnTo>
                      <a:lnTo>
                        <a:pt x="226367" y="75010"/>
                      </a:lnTo>
                      <a:lnTo>
                        <a:pt x="226546" y="76233"/>
                      </a:lnTo>
                      <a:lnTo>
                        <a:pt x="227255" y="76901"/>
                      </a:lnTo>
                      <a:lnTo>
                        <a:pt x="229285" y="76314"/>
                      </a:lnTo>
                      <a:lnTo>
                        <a:pt x="232210" y="76836"/>
                      </a:lnTo>
                      <a:lnTo>
                        <a:pt x="236839" y="77300"/>
                      </a:lnTo>
                      <a:lnTo>
                        <a:pt x="239928" y="76917"/>
                      </a:lnTo>
                      <a:lnTo>
                        <a:pt x="246212" y="78197"/>
                      </a:lnTo>
                      <a:lnTo>
                        <a:pt x="248127" y="78873"/>
                      </a:lnTo>
                      <a:lnTo>
                        <a:pt x="251860" y="81269"/>
                      </a:lnTo>
                      <a:lnTo>
                        <a:pt x="253587" y="82850"/>
                      </a:lnTo>
                      <a:lnTo>
                        <a:pt x="257295" y="87104"/>
                      </a:lnTo>
                      <a:lnTo>
                        <a:pt x="260490" y="88775"/>
                      </a:lnTo>
                      <a:lnTo>
                        <a:pt x="263253" y="89182"/>
                      </a:lnTo>
                      <a:lnTo>
                        <a:pt x="264214" y="88905"/>
                      </a:lnTo>
                      <a:lnTo>
                        <a:pt x="265095" y="89370"/>
                      </a:lnTo>
                      <a:lnTo>
                        <a:pt x="265869" y="89965"/>
                      </a:lnTo>
                      <a:lnTo>
                        <a:pt x="266627" y="91823"/>
                      </a:lnTo>
                      <a:lnTo>
                        <a:pt x="266211" y="93779"/>
                      </a:lnTo>
                      <a:lnTo>
                        <a:pt x="264630" y="95368"/>
                      </a:lnTo>
                      <a:lnTo>
                        <a:pt x="263758" y="96525"/>
                      </a:lnTo>
                      <a:lnTo>
                        <a:pt x="259805" y="96664"/>
                      </a:lnTo>
                      <a:lnTo>
                        <a:pt x="254288" y="97194"/>
                      </a:lnTo>
                      <a:lnTo>
                        <a:pt x="248942" y="98921"/>
                      </a:lnTo>
                      <a:lnTo>
                        <a:pt x="246334" y="100282"/>
                      </a:lnTo>
                      <a:lnTo>
                        <a:pt x="245144" y="101195"/>
                      </a:lnTo>
                      <a:lnTo>
                        <a:pt x="242341" y="102035"/>
                      </a:lnTo>
                      <a:lnTo>
                        <a:pt x="242153" y="101309"/>
                      </a:lnTo>
                      <a:lnTo>
                        <a:pt x="242202" y="100405"/>
                      </a:lnTo>
                      <a:lnTo>
                        <a:pt x="241468" y="98726"/>
                      </a:lnTo>
                      <a:lnTo>
                        <a:pt x="240825" y="100234"/>
                      </a:lnTo>
                      <a:lnTo>
                        <a:pt x="239781" y="101334"/>
                      </a:lnTo>
                      <a:lnTo>
                        <a:pt x="238013" y="102279"/>
                      </a:lnTo>
                      <a:lnTo>
                        <a:pt x="231534" y="102336"/>
                      </a:lnTo>
                      <a:lnTo>
                        <a:pt x="228926" y="101065"/>
                      </a:lnTo>
                      <a:lnTo>
                        <a:pt x="226253" y="100193"/>
                      </a:lnTo>
                      <a:lnTo>
                        <a:pt x="216498" y="99288"/>
                      </a:lnTo>
                      <a:lnTo>
                        <a:pt x="214151" y="99362"/>
                      </a:lnTo>
                      <a:lnTo>
                        <a:pt x="207631" y="100307"/>
                      </a:lnTo>
                      <a:lnTo>
                        <a:pt x="201078" y="100812"/>
                      </a:lnTo>
                      <a:lnTo>
                        <a:pt x="198340" y="101391"/>
                      </a:lnTo>
                      <a:lnTo>
                        <a:pt x="195634" y="102271"/>
                      </a:lnTo>
                      <a:lnTo>
                        <a:pt x="190361" y="102239"/>
                      </a:lnTo>
                      <a:lnTo>
                        <a:pt x="184127" y="103241"/>
                      </a:lnTo>
                      <a:lnTo>
                        <a:pt x="177884" y="103420"/>
                      </a:lnTo>
                      <a:lnTo>
                        <a:pt x="181886" y="96428"/>
                      </a:lnTo>
                      <a:lnTo>
                        <a:pt x="190329" y="89680"/>
                      </a:lnTo>
                      <a:lnTo>
                        <a:pt x="191918" y="88237"/>
                      </a:lnTo>
                      <a:lnTo>
                        <a:pt x="193051" y="86371"/>
                      </a:lnTo>
                      <a:lnTo>
                        <a:pt x="193320" y="84969"/>
                      </a:lnTo>
                      <a:lnTo>
                        <a:pt x="192953" y="83779"/>
                      </a:lnTo>
                      <a:lnTo>
                        <a:pt x="190940" y="81668"/>
                      </a:lnTo>
                      <a:lnTo>
                        <a:pt x="190533" y="80096"/>
                      </a:lnTo>
                      <a:lnTo>
                        <a:pt x="189930" y="79077"/>
                      </a:lnTo>
                      <a:lnTo>
                        <a:pt x="187004" y="78188"/>
                      </a:lnTo>
                      <a:lnTo>
                        <a:pt x="184037" y="77667"/>
                      </a:lnTo>
                      <a:lnTo>
                        <a:pt x="180924" y="77651"/>
                      </a:lnTo>
                      <a:lnTo>
                        <a:pt x="174372" y="76925"/>
                      </a:lnTo>
                      <a:lnTo>
                        <a:pt x="170884" y="76868"/>
                      </a:lnTo>
                      <a:lnTo>
                        <a:pt x="167934" y="75434"/>
                      </a:lnTo>
                      <a:lnTo>
                        <a:pt x="163035" y="70308"/>
                      </a:lnTo>
                      <a:lnTo>
                        <a:pt x="160745" y="68873"/>
                      </a:lnTo>
                      <a:lnTo>
                        <a:pt x="159564" y="67724"/>
                      </a:lnTo>
                      <a:lnTo>
                        <a:pt x="158643" y="66404"/>
                      </a:lnTo>
                      <a:lnTo>
                        <a:pt x="157485" y="58865"/>
                      </a:lnTo>
                      <a:lnTo>
                        <a:pt x="156516" y="55239"/>
                      </a:lnTo>
                      <a:lnTo>
                        <a:pt x="155024" y="52085"/>
                      </a:lnTo>
                      <a:lnTo>
                        <a:pt x="152767" y="49689"/>
                      </a:lnTo>
                      <a:lnTo>
                        <a:pt x="150403" y="48874"/>
                      </a:lnTo>
                      <a:lnTo>
                        <a:pt x="141316" y="50920"/>
                      </a:lnTo>
                      <a:lnTo>
                        <a:pt x="139206" y="50618"/>
                      </a:lnTo>
                      <a:lnTo>
                        <a:pt x="137144" y="49925"/>
                      </a:lnTo>
                      <a:lnTo>
                        <a:pt x="123436" y="45044"/>
                      </a:lnTo>
                      <a:lnTo>
                        <a:pt x="117780" y="42346"/>
                      </a:lnTo>
                      <a:lnTo>
                        <a:pt x="115474" y="41018"/>
                      </a:lnTo>
                      <a:lnTo>
                        <a:pt x="113510" y="39119"/>
                      </a:lnTo>
                      <a:lnTo>
                        <a:pt x="111472" y="35997"/>
                      </a:lnTo>
                      <a:lnTo>
                        <a:pt x="109174" y="33210"/>
                      </a:lnTo>
                      <a:lnTo>
                        <a:pt x="109190" y="34335"/>
                      </a:lnTo>
                      <a:lnTo>
                        <a:pt x="108840" y="35068"/>
                      </a:lnTo>
                      <a:lnTo>
                        <a:pt x="97357" y="35402"/>
                      </a:lnTo>
                      <a:lnTo>
                        <a:pt x="95531" y="34759"/>
                      </a:lnTo>
                      <a:lnTo>
                        <a:pt x="94349" y="34001"/>
                      </a:lnTo>
                      <a:lnTo>
                        <a:pt x="93518" y="32876"/>
                      </a:lnTo>
                      <a:lnTo>
                        <a:pt x="92899" y="30610"/>
                      </a:lnTo>
                      <a:lnTo>
                        <a:pt x="91815" y="28712"/>
                      </a:lnTo>
                      <a:lnTo>
                        <a:pt x="91465" y="30741"/>
                      </a:lnTo>
                      <a:lnTo>
                        <a:pt x="90894" y="32607"/>
                      </a:lnTo>
                      <a:lnTo>
                        <a:pt x="89362" y="33650"/>
                      </a:lnTo>
                      <a:lnTo>
                        <a:pt x="87602" y="33821"/>
                      </a:lnTo>
                      <a:lnTo>
                        <a:pt x="85474" y="31344"/>
                      </a:lnTo>
                      <a:lnTo>
                        <a:pt x="76176" y="30830"/>
                      </a:lnTo>
                      <a:lnTo>
                        <a:pt x="75344" y="30415"/>
                      </a:lnTo>
                      <a:lnTo>
                        <a:pt x="72288" y="28011"/>
                      </a:lnTo>
                      <a:lnTo>
                        <a:pt x="69680" y="25003"/>
                      </a:lnTo>
                      <a:lnTo>
                        <a:pt x="72280" y="23944"/>
                      </a:lnTo>
                      <a:lnTo>
                        <a:pt x="77634" y="22550"/>
                      </a:lnTo>
                      <a:lnTo>
                        <a:pt x="78792" y="21621"/>
                      </a:lnTo>
                      <a:lnTo>
                        <a:pt x="79468" y="20431"/>
                      </a:lnTo>
                      <a:lnTo>
                        <a:pt x="78987" y="18655"/>
                      </a:lnTo>
                      <a:lnTo>
                        <a:pt x="77920" y="17375"/>
                      </a:lnTo>
                      <a:lnTo>
                        <a:pt x="76820" y="16626"/>
                      </a:lnTo>
                      <a:lnTo>
                        <a:pt x="75613" y="16137"/>
                      </a:lnTo>
                      <a:lnTo>
                        <a:pt x="74008" y="15933"/>
                      </a:lnTo>
                      <a:lnTo>
                        <a:pt x="53299" y="15615"/>
                      </a:lnTo>
                      <a:lnTo>
                        <a:pt x="52109" y="16585"/>
                      </a:lnTo>
                      <a:lnTo>
                        <a:pt x="50243" y="18549"/>
                      </a:lnTo>
                      <a:lnTo>
                        <a:pt x="46576" y="21075"/>
                      </a:lnTo>
                      <a:lnTo>
                        <a:pt x="44147" y="23691"/>
                      </a:lnTo>
                      <a:lnTo>
                        <a:pt x="43242" y="25044"/>
                      </a:lnTo>
                      <a:lnTo>
                        <a:pt x="42110" y="26014"/>
                      </a:lnTo>
                      <a:lnTo>
                        <a:pt x="39559" y="27636"/>
                      </a:lnTo>
                      <a:lnTo>
                        <a:pt x="37391" y="30129"/>
                      </a:lnTo>
                      <a:lnTo>
                        <a:pt x="34759" y="31246"/>
                      </a:lnTo>
                      <a:lnTo>
                        <a:pt x="33316" y="30570"/>
                      </a:lnTo>
                      <a:lnTo>
                        <a:pt x="31890" y="30578"/>
                      </a:lnTo>
                      <a:lnTo>
                        <a:pt x="30863" y="31189"/>
                      </a:lnTo>
                      <a:lnTo>
                        <a:pt x="29787" y="31474"/>
                      </a:lnTo>
                      <a:lnTo>
                        <a:pt x="24474" y="31784"/>
                      </a:lnTo>
                      <a:lnTo>
                        <a:pt x="23675" y="32411"/>
                      </a:lnTo>
                      <a:lnTo>
                        <a:pt x="22917" y="34204"/>
                      </a:lnTo>
                      <a:lnTo>
                        <a:pt x="22053" y="37684"/>
                      </a:lnTo>
                      <a:lnTo>
                        <a:pt x="21238" y="38834"/>
                      </a:lnTo>
                      <a:lnTo>
                        <a:pt x="18573" y="39274"/>
                      </a:lnTo>
                      <a:lnTo>
                        <a:pt x="16039" y="40227"/>
                      </a:lnTo>
                      <a:lnTo>
                        <a:pt x="10872" y="43544"/>
                      </a:lnTo>
                      <a:lnTo>
                        <a:pt x="9535" y="44025"/>
                      </a:lnTo>
                      <a:lnTo>
                        <a:pt x="9829" y="41596"/>
                      </a:lnTo>
                      <a:lnTo>
                        <a:pt x="9568" y="39241"/>
                      </a:lnTo>
                      <a:lnTo>
                        <a:pt x="8117" y="39151"/>
                      </a:lnTo>
                      <a:lnTo>
                        <a:pt x="6455" y="39542"/>
                      </a:lnTo>
                      <a:lnTo>
                        <a:pt x="5069" y="40203"/>
                      </a:lnTo>
                      <a:lnTo>
                        <a:pt x="2510" y="41963"/>
                      </a:lnTo>
                      <a:lnTo>
                        <a:pt x="1214" y="42411"/>
                      </a:lnTo>
                      <a:lnTo>
                        <a:pt x="0" y="41506"/>
                      </a:lnTo>
                      <a:lnTo>
                        <a:pt x="253" y="40349"/>
                      </a:lnTo>
                      <a:lnTo>
                        <a:pt x="8794" y="36095"/>
                      </a:lnTo>
                      <a:lnTo>
                        <a:pt x="9755" y="35769"/>
                      </a:lnTo>
                      <a:lnTo>
                        <a:pt x="11279" y="36087"/>
                      </a:lnTo>
                      <a:lnTo>
                        <a:pt x="12763" y="35949"/>
                      </a:lnTo>
                      <a:lnTo>
                        <a:pt x="13928" y="34751"/>
                      </a:lnTo>
                      <a:lnTo>
                        <a:pt x="12518" y="29119"/>
                      </a:lnTo>
                      <a:lnTo>
                        <a:pt x="13056" y="25280"/>
                      </a:lnTo>
                      <a:lnTo>
                        <a:pt x="15036" y="22314"/>
                      </a:lnTo>
                      <a:lnTo>
                        <a:pt x="18997" y="17815"/>
                      </a:lnTo>
                      <a:lnTo>
                        <a:pt x="20904" y="16340"/>
                      </a:lnTo>
                      <a:lnTo>
                        <a:pt x="40431" y="6943"/>
                      </a:lnTo>
                      <a:lnTo>
                        <a:pt x="42428" y="6463"/>
                      </a:lnTo>
                      <a:lnTo>
                        <a:pt x="55117" y="4580"/>
                      </a:lnTo>
                      <a:lnTo>
                        <a:pt x="57040" y="3920"/>
                      </a:lnTo>
                      <a:lnTo>
                        <a:pt x="62932" y="1133"/>
                      </a:lnTo>
                      <a:lnTo>
                        <a:pt x="69110" y="0"/>
                      </a:lnTo>
                      <a:lnTo>
                        <a:pt x="75646" y="872"/>
                      </a:lnTo>
                      <a:close/>
                    </a:path>
                  </a:pathLst>
                </a:custGeom>
                <a:solidFill>
                  <a:srgbClr val="D6D6D2"/>
                </a:solidFill>
                <a:ln w="8150" cap="flat">
                  <a:noFill/>
                  <a:prstDash val="solid"/>
                  <a:miter/>
                </a:ln>
              </p:spPr>
              <p:txBody>
                <a:bodyPr rtlCol="0" anchor="ctr"/>
                <a:lstStyle/>
                <a:p>
                  <a:endParaRPr lang="en-US"/>
                </a:p>
              </p:txBody>
            </p:sp>
            <p:sp>
              <p:nvSpPr>
                <p:cNvPr id="754" name="Freeform: Shape 753">
                  <a:extLst>
                    <a:ext uri="{FF2B5EF4-FFF2-40B4-BE49-F238E27FC236}">
                      <a16:creationId xmlns:a16="http://schemas.microsoft.com/office/drawing/2014/main" id="{75BACCD1-B8F3-4880-9972-1AB3936B88E5}"/>
                    </a:ext>
                  </a:extLst>
                </p:cNvPr>
                <p:cNvSpPr/>
                <p:nvPr/>
              </p:nvSpPr>
              <p:spPr>
                <a:xfrm>
                  <a:off x="3812917" y="4188434"/>
                  <a:ext cx="82948" cy="94039"/>
                </a:xfrm>
                <a:custGeom>
                  <a:avLst/>
                  <a:gdLst>
                    <a:gd name="connsiteX0" fmla="*/ 56201 w 82948"/>
                    <a:gd name="connsiteY0" fmla="*/ 8223 h 94039"/>
                    <a:gd name="connsiteX1" fmla="*/ 56812 w 82948"/>
                    <a:gd name="connsiteY1" fmla="*/ 9429 h 94039"/>
                    <a:gd name="connsiteX2" fmla="*/ 57537 w 82948"/>
                    <a:gd name="connsiteY2" fmla="*/ 11320 h 94039"/>
                    <a:gd name="connsiteX3" fmla="*/ 57855 w 82948"/>
                    <a:gd name="connsiteY3" fmla="*/ 13740 h 94039"/>
                    <a:gd name="connsiteX4" fmla="*/ 61009 w 82948"/>
                    <a:gd name="connsiteY4" fmla="*/ 21857 h 94039"/>
                    <a:gd name="connsiteX5" fmla="*/ 63519 w 82948"/>
                    <a:gd name="connsiteY5" fmla="*/ 26397 h 94039"/>
                    <a:gd name="connsiteX6" fmla="*/ 69036 w 82948"/>
                    <a:gd name="connsiteY6" fmla="*/ 34661 h 94039"/>
                    <a:gd name="connsiteX7" fmla="*/ 71416 w 82948"/>
                    <a:gd name="connsiteY7" fmla="*/ 36177 h 94039"/>
                    <a:gd name="connsiteX8" fmla="*/ 75442 w 82948"/>
                    <a:gd name="connsiteY8" fmla="*/ 42827 h 94039"/>
                    <a:gd name="connsiteX9" fmla="*/ 76828 w 82948"/>
                    <a:gd name="connsiteY9" fmla="*/ 43927 h 94039"/>
                    <a:gd name="connsiteX10" fmla="*/ 77618 w 82948"/>
                    <a:gd name="connsiteY10" fmla="*/ 45883 h 94039"/>
                    <a:gd name="connsiteX11" fmla="*/ 81799 w 82948"/>
                    <a:gd name="connsiteY11" fmla="*/ 47505 h 94039"/>
                    <a:gd name="connsiteX12" fmla="*/ 82948 w 82948"/>
                    <a:gd name="connsiteY12" fmla="*/ 48686 h 94039"/>
                    <a:gd name="connsiteX13" fmla="*/ 82810 w 82948"/>
                    <a:gd name="connsiteY13" fmla="*/ 49241 h 94039"/>
                    <a:gd name="connsiteX14" fmla="*/ 82378 w 82948"/>
                    <a:gd name="connsiteY14" fmla="*/ 49819 h 94039"/>
                    <a:gd name="connsiteX15" fmla="*/ 81766 w 82948"/>
                    <a:gd name="connsiteY15" fmla="*/ 50414 h 94039"/>
                    <a:gd name="connsiteX16" fmla="*/ 80959 w 82948"/>
                    <a:gd name="connsiteY16" fmla="*/ 50813 h 94039"/>
                    <a:gd name="connsiteX17" fmla="*/ 78987 w 82948"/>
                    <a:gd name="connsiteY17" fmla="*/ 49607 h 94039"/>
                    <a:gd name="connsiteX18" fmla="*/ 77056 w 82948"/>
                    <a:gd name="connsiteY18" fmla="*/ 48222 h 94039"/>
                    <a:gd name="connsiteX19" fmla="*/ 75996 w 82948"/>
                    <a:gd name="connsiteY19" fmla="*/ 48858 h 94039"/>
                    <a:gd name="connsiteX20" fmla="*/ 75597 w 82948"/>
                    <a:gd name="connsiteY20" fmla="*/ 50651 h 94039"/>
                    <a:gd name="connsiteX21" fmla="*/ 74880 w 82948"/>
                    <a:gd name="connsiteY21" fmla="*/ 51571 h 94039"/>
                    <a:gd name="connsiteX22" fmla="*/ 73983 w 82948"/>
                    <a:gd name="connsiteY22" fmla="*/ 51922 h 94039"/>
                    <a:gd name="connsiteX23" fmla="*/ 73625 w 82948"/>
                    <a:gd name="connsiteY23" fmla="*/ 52533 h 94039"/>
                    <a:gd name="connsiteX24" fmla="*/ 73543 w 82948"/>
                    <a:gd name="connsiteY24" fmla="*/ 58564 h 94039"/>
                    <a:gd name="connsiteX25" fmla="*/ 73608 w 82948"/>
                    <a:gd name="connsiteY25" fmla="*/ 64252 h 94039"/>
                    <a:gd name="connsiteX26" fmla="*/ 75067 w 82948"/>
                    <a:gd name="connsiteY26" fmla="*/ 64383 h 94039"/>
                    <a:gd name="connsiteX27" fmla="*/ 77504 w 82948"/>
                    <a:gd name="connsiteY27" fmla="*/ 66355 h 94039"/>
                    <a:gd name="connsiteX28" fmla="*/ 78547 w 82948"/>
                    <a:gd name="connsiteY28" fmla="*/ 67520 h 94039"/>
                    <a:gd name="connsiteX29" fmla="*/ 78873 w 82948"/>
                    <a:gd name="connsiteY29" fmla="*/ 68588 h 94039"/>
                    <a:gd name="connsiteX30" fmla="*/ 78580 w 82948"/>
                    <a:gd name="connsiteY30" fmla="*/ 69118 h 94039"/>
                    <a:gd name="connsiteX31" fmla="*/ 76787 w 82948"/>
                    <a:gd name="connsiteY31" fmla="*/ 70357 h 94039"/>
                    <a:gd name="connsiteX32" fmla="*/ 75051 w 82948"/>
                    <a:gd name="connsiteY32" fmla="*/ 71929 h 94039"/>
                    <a:gd name="connsiteX33" fmla="*/ 74179 w 82948"/>
                    <a:gd name="connsiteY33" fmla="*/ 73885 h 94039"/>
                    <a:gd name="connsiteX34" fmla="*/ 75703 w 82948"/>
                    <a:gd name="connsiteY34" fmla="*/ 77047 h 94039"/>
                    <a:gd name="connsiteX35" fmla="*/ 76029 w 82948"/>
                    <a:gd name="connsiteY35" fmla="*/ 79191 h 94039"/>
                    <a:gd name="connsiteX36" fmla="*/ 75972 w 82948"/>
                    <a:gd name="connsiteY36" fmla="*/ 81440 h 94039"/>
                    <a:gd name="connsiteX37" fmla="*/ 75556 w 82948"/>
                    <a:gd name="connsiteY37" fmla="*/ 82516 h 94039"/>
                    <a:gd name="connsiteX38" fmla="*/ 72182 w 82948"/>
                    <a:gd name="connsiteY38" fmla="*/ 85099 h 94039"/>
                    <a:gd name="connsiteX39" fmla="*/ 71449 w 82948"/>
                    <a:gd name="connsiteY39" fmla="*/ 86004 h 94039"/>
                    <a:gd name="connsiteX40" fmla="*/ 71546 w 82948"/>
                    <a:gd name="connsiteY40" fmla="*/ 86664 h 94039"/>
                    <a:gd name="connsiteX41" fmla="*/ 73397 w 82948"/>
                    <a:gd name="connsiteY41" fmla="*/ 88441 h 94039"/>
                    <a:gd name="connsiteX42" fmla="*/ 74285 w 82948"/>
                    <a:gd name="connsiteY42" fmla="*/ 90160 h 94039"/>
                    <a:gd name="connsiteX43" fmla="*/ 75018 w 82948"/>
                    <a:gd name="connsiteY43" fmla="*/ 92239 h 94039"/>
                    <a:gd name="connsiteX44" fmla="*/ 75116 w 82948"/>
                    <a:gd name="connsiteY44" fmla="*/ 94040 h 94039"/>
                    <a:gd name="connsiteX45" fmla="*/ 73429 w 82948"/>
                    <a:gd name="connsiteY45" fmla="*/ 90698 h 94039"/>
                    <a:gd name="connsiteX46" fmla="*/ 71098 w 82948"/>
                    <a:gd name="connsiteY46" fmla="*/ 87512 h 94039"/>
                    <a:gd name="connsiteX47" fmla="*/ 69069 w 82948"/>
                    <a:gd name="connsiteY47" fmla="*/ 85540 h 94039"/>
                    <a:gd name="connsiteX48" fmla="*/ 68914 w 82948"/>
                    <a:gd name="connsiteY48" fmla="*/ 80951 h 94039"/>
                    <a:gd name="connsiteX49" fmla="*/ 68099 w 82948"/>
                    <a:gd name="connsiteY49" fmla="*/ 78466 h 94039"/>
                    <a:gd name="connsiteX50" fmla="*/ 65035 w 82948"/>
                    <a:gd name="connsiteY50" fmla="*/ 76175 h 94039"/>
                    <a:gd name="connsiteX51" fmla="*/ 62419 w 82948"/>
                    <a:gd name="connsiteY51" fmla="*/ 74570 h 94039"/>
                    <a:gd name="connsiteX52" fmla="*/ 60479 w 82948"/>
                    <a:gd name="connsiteY52" fmla="*/ 74888 h 94039"/>
                    <a:gd name="connsiteX53" fmla="*/ 61661 w 82948"/>
                    <a:gd name="connsiteY53" fmla="*/ 77536 h 94039"/>
                    <a:gd name="connsiteX54" fmla="*/ 64741 w 82948"/>
                    <a:gd name="connsiteY54" fmla="*/ 80919 h 94039"/>
                    <a:gd name="connsiteX55" fmla="*/ 64945 w 82948"/>
                    <a:gd name="connsiteY55" fmla="*/ 82214 h 94039"/>
                    <a:gd name="connsiteX56" fmla="*/ 64888 w 82948"/>
                    <a:gd name="connsiteY56" fmla="*/ 83950 h 94039"/>
                    <a:gd name="connsiteX57" fmla="*/ 62777 w 82948"/>
                    <a:gd name="connsiteY57" fmla="*/ 83681 h 94039"/>
                    <a:gd name="connsiteX58" fmla="*/ 60911 w 82948"/>
                    <a:gd name="connsiteY58" fmla="*/ 82972 h 94039"/>
                    <a:gd name="connsiteX59" fmla="*/ 58637 w 82948"/>
                    <a:gd name="connsiteY59" fmla="*/ 82752 h 94039"/>
                    <a:gd name="connsiteX60" fmla="*/ 57130 w 82948"/>
                    <a:gd name="connsiteY60" fmla="*/ 81717 h 94039"/>
                    <a:gd name="connsiteX61" fmla="*/ 53919 w 82948"/>
                    <a:gd name="connsiteY61" fmla="*/ 77675 h 94039"/>
                    <a:gd name="connsiteX62" fmla="*/ 56192 w 82948"/>
                    <a:gd name="connsiteY62" fmla="*/ 74228 h 94039"/>
                    <a:gd name="connsiteX63" fmla="*/ 56901 w 82948"/>
                    <a:gd name="connsiteY63" fmla="*/ 71970 h 94039"/>
                    <a:gd name="connsiteX64" fmla="*/ 56844 w 82948"/>
                    <a:gd name="connsiteY64" fmla="*/ 67276 h 94039"/>
                    <a:gd name="connsiteX65" fmla="*/ 56323 w 82948"/>
                    <a:gd name="connsiteY65" fmla="*/ 65002 h 94039"/>
                    <a:gd name="connsiteX66" fmla="*/ 53845 w 82948"/>
                    <a:gd name="connsiteY66" fmla="*/ 61530 h 94039"/>
                    <a:gd name="connsiteX67" fmla="*/ 49909 w 82948"/>
                    <a:gd name="connsiteY67" fmla="*/ 57733 h 94039"/>
                    <a:gd name="connsiteX68" fmla="*/ 44400 w 82948"/>
                    <a:gd name="connsiteY68" fmla="*/ 54636 h 94039"/>
                    <a:gd name="connsiteX69" fmla="*/ 41800 w 82948"/>
                    <a:gd name="connsiteY69" fmla="*/ 52126 h 94039"/>
                    <a:gd name="connsiteX70" fmla="*/ 35345 w 82948"/>
                    <a:gd name="connsiteY70" fmla="*/ 50210 h 94039"/>
                    <a:gd name="connsiteX71" fmla="*/ 32900 w 82948"/>
                    <a:gd name="connsiteY71" fmla="*/ 48931 h 94039"/>
                    <a:gd name="connsiteX72" fmla="*/ 30977 w 82948"/>
                    <a:gd name="connsiteY72" fmla="*/ 46576 h 94039"/>
                    <a:gd name="connsiteX73" fmla="*/ 30700 w 82948"/>
                    <a:gd name="connsiteY73" fmla="*/ 44880 h 94039"/>
                    <a:gd name="connsiteX74" fmla="*/ 31377 w 82948"/>
                    <a:gd name="connsiteY74" fmla="*/ 42273 h 94039"/>
                    <a:gd name="connsiteX75" fmla="*/ 29592 w 82948"/>
                    <a:gd name="connsiteY75" fmla="*/ 38948 h 94039"/>
                    <a:gd name="connsiteX76" fmla="*/ 21898 w 82948"/>
                    <a:gd name="connsiteY76" fmla="*/ 32428 h 94039"/>
                    <a:gd name="connsiteX77" fmla="*/ 17603 w 82948"/>
                    <a:gd name="connsiteY77" fmla="*/ 30024 h 94039"/>
                    <a:gd name="connsiteX78" fmla="*/ 16674 w 82948"/>
                    <a:gd name="connsiteY78" fmla="*/ 28614 h 94039"/>
                    <a:gd name="connsiteX79" fmla="*/ 15990 w 82948"/>
                    <a:gd name="connsiteY79" fmla="*/ 28174 h 94039"/>
                    <a:gd name="connsiteX80" fmla="*/ 16658 w 82948"/>
                    <a:gd name="connsiteY80" fmla="*/ 32680 h 94039"/>
                    <a:gd name="connsiteX81" fmla="*/ 18532 w 82948"/>
                    <a:gd name="connsiteY81" fmla="*/ 35386 h 94039"/>
                    <a:gd name="connsiteX82" fmla="*/ 23439 w 82948"/>
                    <a:gd name="connsiteY82" fmla="*/ 37921 h 94039"/>
                    <a:gd name="connsiteX83" fmla="*/ 24791 w 82948"/>
                    <a:gd name="connsiteY83" fmla="*/ 39396 h 94039"/>
                    <a:gd name="connsiteX84" fmla="*/ 25338 w 82948"/>
                    <a:gd name="connsiteY84" fmla="*/ 41319 h 94039"/>
                    <a:gd name="connsiteX85" fmla="*/ 22493 w 82948"/>
                    <a:gd name="connsiteY85" fmla="*/ 44986 h 94039"/>
                    <a:gd name="connsiteX86" fmla="*/ 21043 w 82948"/>
                    <a:gd name="connsiteY86" fmla="*/ 45924 h 94039"/>
                    <a:gd name="connsiteX87" fmla="*/ 20611 w 82948"/>
                    <a:gd name="connsiteY87" fmla="*/ 47920 h 94039"/>
                    <a:gd name="connsiteX88" fmla="*/ 19673 w 82948"/>
                    <a:gd name="connsiteY88" fmla="*/ 48532 h 94039"/>
                    <a:gd name="connsiteX89" fmla="*/ 18704 w 82948"/>
                    <a:gd name="connsiteY89" fmla="*/ 47374 h 94039"/>
                    <a:gd name="connsiteX90" fmla="*/ 14718 w 82948"/>
                    <a:gd name="connsiteY90" fmla="*/ 41612 h 94039"/>
                    <a:gd name="connsiteX91" fmla="*/ 7017 w 82948"/>
                    <a:gd name="connsiteY91" fmla="*/ 38858 h 94039"/>
                    <a:gd name="connsiteX92" fmla="*/ 5632 w 82948"/>
                    <a:gd name="connsiteY92" fmla="*/ 37163 h 94039"/>
                    <a:gd name="connsiteX93" fmla="*/ 2763 w 82948"/>
                    <a:gd name="connsiteY93" fmla="*/ 31906 h 94039"/>
                    <a:gd name="connsiteX94" fmla="*/ 1451 w 82948"/>
                    <a:gd name="connsiteY94" fmla="*/ 27106 h 94039"/>
                    <a:gd name="connsiteX95" fmla="*/ 1915 w 82948"/>
                    <a:gd name="connsiteY95" fmla="*/ 23903 h 94039"/>
                    <a:gd name="connsiteX96" fmla="*/ 5077 w 82948"/>
                    <a:gd name="connsiteY96" fmla="*/ 18915 h 94039"/>
                    <a:gd name="connsiteX97" fmla="*/ 6072 w 82948"/>
                    <a:gd name="connsiteY97" fmla="*/ 16739 h 94039"/>
                    <a:gd name="connsiteX98" fmla="*/ 5868 w 82948"/>
                    <a:gd name="connsiteY98" fmla="*/ 15403 h 94039"/>
                    <a:gd name="connsiteX99" fmla="*/ 5974 w 82948"/>
                    <a:gd name="connsiteY99" fmla="*/ 13431 h 94039"/>
                    <a:gd name="connsiteX100" fmla="*/ 4792 w 82948"/>
                    <a:gd name="connsiteY100" fmla="*/ 12053 h 94039"/>
                    <a:gd name="connsiteX101" fmla="*/ 1858 w 82948"/>
                    <a:gd name="connsiteY101" fmla="*/ 10260 h 94039"/>
                    <a:gd name="connsiteX102" fmla="*/ 0 w 82948"/>
                    <a:gd name="connsiteY102" fmla="*/ 8818 h 94039"/>
                    <a:gd name="connsiteX103" fmla="*/ 513 w 82948"/>
                    <a:gd name="connsiteY103" fmla="*/ 8101 h 94039"/>
                    <a:gd name="connsiteX104" fmla="*/ 3863 w 82948"/>
                    <a:gd name="connsiteY104" fmla="*/ 6169 h 94039"/>
                    <a:gd name="connsiteX105" fmla="*/ 4075 w 82948"/>
                    <a:gd name="connsiteY105" fmla="*/ 4425 h 94039"/>
                    <a:gd name="connsiteX106" fmla="*/ 4058 w 82948"/>
                    <a:gd name="connsiteY106" fmla="*/ 3847 h 94039"/>
                    <a:gd name="connsiteX107" fmla="*/ 4605 w 82948"/>
                    <a:gd name="connsiteY107" fmla="*/ 3724 h 94039"/>
                    <a:gd name="connsiteX108" fmla="*/ 5085 w 82948"/>
                    <a:gd name="connsiteY108" fmla="*/ 3260 h 94039"/>
                    <a:gd name="connsiteX109" fmla="*/ 5395 w 82948"/>
                    <a:gd name="connsiteY109" fmla="*/ 2779 h 94039"/>
                    <a:gd name="connsiteX110" fmla="*/ 6308 w 82948"/>
                    <a:gd name="connsiteY110" fmla="*/ 1100 h 94039"/>
                    <a:gd name="connsiteX111" fmla="*/ 7107 w 82948"/>
                    <a:gd name="connsiteY111" fmla="*/ 146 h 94039"/>
                    <a:gd name="connsiteX112" fmla="*/ 8036 w 82948"/>
                    <a:gd name="connsiteY112" fmla="*/ 0 h 94039"/>
                    <a:gd name="connsiteX113" fmla="*/ 9152 w 82948"/>
                    <a:gd name="connsiteY113" fmla="*/ 693 h 94039"/>
                    <a:gd name="connsiteX114" fmla="*/ 13382 w 82948"/>
                    <a:gd name="connsiteY114" fmla="*/ 2510 h 94039"/>
                    <a:gd name="connsiteX115" fmla="*/ 18076 w 82948"/>
                    <a:gd name="connsiteY115" fmla="*/ 4523 h 94039"/>
                    <a:gd name="connsiteX116" fmla="*/ 24767 w 82948"/>
                    <a:gd name="connsiteY116" fmla="*/ 7375 h 94039"/>
                    <a:gd name="connsiteX117" fmla="*/ 27546 w 82948"/>
                    <a:gd name="connsiteY117" fmla="*/ 5550 h 94039"/>
                    <a:gd name="connsiteX118" fmla="*/ 29934 w 82948"/>
                    <a:gd name="connsiteY118" fmla="*/ 4148 h 94039"/>
                    <a:gd name="connsiteX119" fmla="*/ 31588 w 82948"/>
                    <a:gd name="connsiteY119" fmla="*/ 4352 h 94039"/>
                    <a:gd name="connsiteX120" fmla="*/ 35190 w 82948"/>
                    <a:gd name="connsiteY120" fmla="*/ 5974 h 94039"/>
                    <a:gd name="connsiteX121" fmla="*/ 37350 w 82948"/>
                    <a:gd name="connsiteY121" fmla="*/ 6495 h 94039"/>
                    <a:gd name="connsiteX122" fmla="*/ 38679 w 82948"/>
                    <a:gd name="connsiteY122" fmla="*/ 6332 h 94039"/>
                    <a:gd name="connsiteX123" fmla="*/ 40985 w 82948"/>
                    <a:gd name="connsiteY123" fmla="*/ 8720 h 94039"/>
                    <a:gd name="connsiteX124" fmla="*/ 42240 w 82948"/>
                    <a:gd name="connsiteY124" fmla="*/ 10521 h 94039"/>
                    <a:gd name="connsiteX125" fmla="*/ 42444 w 82948"/>
                    <a:gd name="connsiteY125" fmla="*/ 11719 h 94039"/>
                    <a:gd name="connsiteX126" fmla="*/ 43145 w 82948"/>
                    <a:gd name="connsiteY126" fmla="*/ 12355 h 94039"/>
                    <a:gd name="connsiteX127" fmla="*/ 44938 w 82948"/>
                    <a:gd name="connsiteY127" fmla="*/ 12502 h 94039"/>
                    <a:gd name="connsiteX128" fmla="*/ 49322 w 82948"/>
                    <a:gd name="connsiteY128" fmla="*/ 13716 h 94039"/>
                    <a:gd name="connsiteX129" fmla="*/ 52004 w 82948"/>
                    <a:gd name="connsiteY129" fmla="*/ 13480 h 94039"/>
                    <a:gd name="connsiteX130" fmla="*/ 54448 w 82948"/>
                    <a:gd name="connsiteY130" fmla="*/ 12192 h 94039"/>
                    <a:gd name="connsiteX131" fmla="*/ 55777 w 82948"/>
                    <a:gd name="connsiteY131" fmla="*/ 10652 h 94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82948" h="94039">
                      <a:moveTo>
                        <a:pt x="56201" y="8223"/>
                      </a:moveTo>
                      <a:lnTo>
                        <a:pt x="56812" y="9429"/>
                      </a:lnTo>
                      <a:lnTo>
                        <a:pt x="57537" y="11320"/>
                      </a:lnTo>
                      <a:lnTo>
                        <a:pt x="57855" y="13740"/>
                      </a:lnTo>
                      <a:lnTo>
                        <a:pt x="61009" y="21857"/>
                      </a:lnTo>
                      <a:lnTo>
                        <a:pt x="63519" y="26397"/>
                      </a:lnTo>
                      <a:lnTo>
                        <a:pt x="69036" y="34661"/>
                      </a:lnTo>
                      <a:lnTo>
                        <a:pt x="71416" y="36177"/>
                      </a:lnTo>
                      <a:lnTo>
                        <a:pt x="75442" y="42827"/>
                      </a:lnTo>
                      <a:lnTo>
                        <a:pt x="76828" y="43927"/>
                      </a:lnTo>
                      <a:lnTo>
                        <a:pt x="77618" y="45883"/>
                      </a:lnTo>
                      <a:lnTo>
                        <a:pt x="81799" y="47505"/>
                      </a:lnTo>
                      <a:lnTo>
                        <a:pt x="82948" y="48686"/>
                      </a:lnTo>
                      <a:lnTo>
                        <a:pt x="82810" y="49241"/>
                      </a:lnTo>
                      <a:lnTo>
                        <a:pt x="82378" y="49819"/>
                      </a:lnTo>
                      <a:lnTo>
                        <a:pt x="81766" y="50414"/>
                      </a:lnTo>
                      <a:lnTo>
                        <a:pt x="80959" y="50813"/>
                      </a:lnTo>
                      <a:lnTo>
                        <a:pt x="78987" y="49607"/>
                      </a:lnTo>
                      <a:lnTo>
                        <a:pt x="77056" y="48222"/>
                      </a:lnTo>
                      <a:lnTo>
                        <a:pt x="75996" y="48858"/>
                      </a:lnTo>
                      <a:lnTo>
                        <a:pt x="75597" y="50651"/>
                      </a:lnTo>
                      <a:lnTo>
                        <a:pt x="74880" y="51571"/>
                      </a:lnTo>
                      <a:lnTo>
                        <a:pt x="73983" y="51922"/>
                      </a:lnTo>
                      <a:lnTo>
                        <a:pt x="73625" y="52533"/>
                      </a:lnTo>
                      <a:lnTo>
                        <a:pt x="73543" y="58564"/>
                      </a:lnTo>
                      <a:lnTo>
                        <a:pt x="73608" y="64252"/>
                      </a:lnTo>
                      <a:lnTo>
                        <a:pt x="75067" y="64383"/>
                      </a:lnTo>
                      <a:lnTo>
                        <a:pt x="77504" y="66355"/>
                      </a:lnTo>
                      <a:lnTo>
                        <a:pt x="78547" y="67520"/>
                      </a:lnTo>
                      <a:lnTo>
                        <a:pt x="78873" y="68588"/>
                      </a:lnTo>
                      <a:lnTo>
                        <a:pt x="78580" y="69118"/>
                      </a:lnTo>
                      <a:lnTo>
                        <a:pt x="76787" y="70357"/>
                      </a:lnTo>
                      <a:lnTo>
                        <a:pt x="75051" y="71929"/>
                      </a:lnTo>
                      <a:lnTo>
                        <a:pt x="74179" y="73885"/>
                      </a:lnTo>
                      <a:lnTo>
                        <a:pt x="75703" y="77047"/>
                      </a:lnTo>
                      <a:lnTo>
                        <a:pt x="76029" y="79191"/>
                      </a:lnTo>
                      <a:lnTo>
                        <a:pt x="75972" y="81440"/>
                      </a:lnTo>
                      <a:lnTo>
                        <a:pt x="75556" y="82516"/>
                      </a:lnTo>
                      <a:lnTo>
                        <a:pt x="72182" y="85099"/>
                      </a:lnTo>
                      <a:lnTo>
                        <a:pt x="71449" y="86004"/>
                      </a:lnTo>
                      <a:lnTo>
                        <a:pt x="71546" y="86664"/>
                      </a:lnTo>
                      <a:lnTo>
                        <a:pt x="73397" y="88441"/>
                      </a:lnTo>
                      <a:lnTo>
                        <a:pt x="74285" y="90160"/>
                      </a:lnTo>
                      <a:lnTo>
                        <a:pt x="75018" y="92239"/>
                      </a:lnTo>
                      <a:lnTo>
                        <a:pt x="75116" y="94040"/>
                      </a:lnTo>
                      <a:lnTo>
                        <a:pt x="73429" y="90698"/>
                      </a:lnTo>
                      <a:lnTo>
                        <a:pt x="71098" y="87512"/>
                      </a:lnTo>
                      <a:lnTo>
                        <a:pt x="69069" y="85540"/>
                      </a:lnTo>
                      <a:lnTo>
                        <a:pt x="68914" y="80951"/>
                      </a:lnTo>
                      <a:lnTo>
                        <a:pt x="68099" y="78466"/>
                      </a:lnTo>
                      <a:lnTo>
                        <a:pt x="65035" y="76175"/>
                      </a:lnTo>
                      <a:lnTo>
                        <a:pt x="62419" y="74570"/>
                      </a:lnTo>
                      <a:lnTo>
                        <a:pt x="60479" y="74888"/>
                      </a:lnTo>
                      <a:lnTo>
                        <a:pt x="61661" y="77536"/>
                      </a:lnTo>
                      <a:lnTo>
                        <a:pt x="64741" y="80919"/>
                      </a:lnTo>
                      <a:lnTo>
                        <a:pt x="64945" y="82214"/>
                      </a:lnTo>
                      <a:lnTo>
                        <a:pt x="64888" y="83950"/>
                      </a:lnTo>
                      <a:lnTo>
                        <a:pt x="62777" y="83681"/>
                      </a:lnTo>
                      <a:lnTo>
                        <a:pt x="60911" y="82972"/>
                      </a:lnTo>
                      <a:lnTo>
                        <a:pt x="58637" y="82752"/>
                      </a:lnTo>
                      <a:lnTo>
                        <a:pt x="57130" y="81717"/>
                      </a:lnTo>
                      <a:lnTo>
                        <a:pt x="53919" y="77675"/>
                      </a:lnTo>
                      <a:lnTo>
                        <a:pt x="56192" y="74228"/>
                      </a:lnTo>
                      <a:lnTo>
                        <a:pt x="56901" y="71970"/>
                      </a:lnTo>
                      <a:lnTo>
                        <a:pt x="56844" y="67276"/>
                      </a:lnTo>
                      <a:lnTo>
                        <a:pt x="56323" y="65002"/>
                      </a:lnTo>
                      <a:lnTo>
                        <a:pt x="53845" y="61530"/>
                      </a:lnTo>
                      <a:lnTo>
                        <a:pt x="49909" y="57733"/>
                      </a:lnTo>
                      <a:lnTo>
                        <a:pt x="44400" y="54636"/>
                      </a:lnTo>
                      <a:lnTo>
                        <a:pt x="41800" y="52126"/>
                      </a:lnTo>
                      <a:lnTo>
                        <a:pt x="35345" y="50210"/>
                      </a:lnTo>
                      <a:lnTo>
                        <a:pt x="32900" y="48931"/>
                      </a:lnTo>
                      <a:lnTo>
                        <a:pt x="30977" y="46576"/>
                      </a:lnTo>
                      <a:lnTo>
                        <a:pt x="30700" y="44880"/>
                      </a:lnTo>
                      <a:lnTo>
                        <a:pt x="31377" y="42273"/>
                      </a:lnTo>
                      <a:lnTo>
                        <a:pt x="29592" y="38948"/>
                      </a:lnTo>
                      <a:lnTo>
                        <a:pt x="21898" y="32428"/>
                      </a:lnTo>
                      <a:lnTo>
                        <a:pt x="17603" y="30024"/>
                      </a:lnTo>
                      <a:lnTo>
                        <a:pt x="16674" y="28614"/>
                      </a:lnTo>
                      <a:lnTo>
                        <a:pt x="15990" y="28174"/>
                      </a:lnTo>
                      <a:lnTo>
                        <a:pt x="16658" y="32680"/>
                      </a:lnTo>
                      <a:lnTo>
                        <a:pt x="18532" y="35386"/>
                      </a:lnTo>
                      <a:lnTo>
                        <a:pt x="23439" y="37921"/>
                      </a:lnTo>
                      <a:lnTo>
                        <a:pt x="24791" y="39396"/>
                      </a:lnTo>
                      <a:lnTo>
                        <a:pt x="25338" y="41319"/>
                      </a:lnTo>
                      <a:lnTo>
                        <a:pt x="22493" y="44986"/>
                      </a:lnTo>
                      <a:lnTo>
                        <a:pt x="21043" y="45924"/>
                      </a:lnTo>
                      <a:lnTo>
                        <a:pt x="20611" y="47920"/>
                      </a:lnTo>
                      <a:lnTo>
                        <a:pt x="19673" y="48532"/>
                      </a:lnTo>
                      <a:lnTo>
                        <a:pt x="18704" y="47374"/>
                      </a:lnTo>
                      <a:lnTo>
                        <a:pt x="14718" y="41612"/>
                      </a:lnTo>
                      <a:lnTo>
                        <a:pt x="7017" y="38858"/>
                      </a:lnTo>
                      <a:lnTo>
                        <a:pt x="5632" y="37163"/>
                      </a:lnTo>
                      <a:lnTo>
                        <a:pt x="2763" y="31906"/>
                      </a:lnTo>
                      <a:lnTo>
                        <a:pt x="1451" y="27106"/>
                      </a:lnTo>
                      <a:lnTo>
                        <a:pt x="1915" y="23903"/>
                      </a:lnTo>
                      <a:lnTo>
                        <a:pt x="5077" y="18915"/>
                      </a:lnTo>
                      <a:lnTo>
                        <a:pt x="6072" y="16739"/>
                      </a:lnTo>
                      <a:lnTo>
                        <a:pt x="5868" y="15403"/>
                      </a:lnTo>
                      <a:lnTo>
                        <a:pt x="5974" y="13431"/>
                      </a:lnTo>
                      <a:lnTo>
                        <a:pt x="4792" y="12053"/>
                      </a:lnTo>
                      <a:lnTo>
                        <a:pt x="1858" y="10260"/>
                      </a:lnTo>
                      <a:lnTo>
                        <a:pt x="0" y="8818"/>
                      </a:lnTo>
                      <a:lnTo>
                        <a:pt x="513" y="8101"/>
                      </a:lnTo>
                      <a:lnTo>
                        <a:pt x="3863" y="6169"/>
                      </a:lnTo>
                      <a:lnTo>
                        <a:pt x="4075" y="4425"/>
                      </a:lnTo>
                      <a:lnTo>
                        <a:pt x="4058" y="3847"/>
                      </a:lnTo>
                      <a:lnTo>
                        <a:pt x="4605" y="3724"/>
                      </a:lnTo>
                      <a:lnTo>
                        <a:pt x="5085" y="3260"/>
                      </a:lnTo>
                      <a:lnTo>
                        <a:pt x="5395" y="2779"/>
                      </a:lnTo>
                      <a:lnTo>
                        <a:pt x="6308" y="1100"/>
                      </a:lnTo>
                      <a:lnTo>
                        <a:pt x="7107" y="146"/>
                      </a:lnTo>
                      <a:lnTo>
                        <a:pt x="8036" y="0"/>
                      </a:lnTo>
                      <a:lnTo>
                        <a:pt x="9152" y="693"/>
                      </a:lnTo>
                      <a:lnTo>
                        <a:pt x="13382" y="2510"/>
                      </a:lnTo>
                      <a:lnTo>
                        <a:pt x="18076" y="4523"/>
                      </a:lnTo>
                      <a:lnTo>
                        <a:pt x="24767" y="7375"/>
                      </a:lnTo>
                      <a:lnTo>
                        <a:pt x="27546" y="5550"/>
                      </a:lnTo>
                      <a:lnTo>
                        <a:pt x="29934" y="4148"/>
                      </a:lnTo>
                      <a:lnTo>
                        <a:pt x="31588" y="4352"/>
                      </a:lnTo>
                      <a:lnTo>
                        <a:pt x="35190" y="5974"/>
                      </a:lnTo>
                      <a:lnTo>
                        <a:pt x="37350" y="6495"/>
                      </a:lnTo>
                      <a:lnTo>
                        <a:pt x="38679" y="6332"/>
                      </a:lnTo>
                      <a:lnTo>
                        <a:pt x="40985" y="8720"/>
                      </a:lnTo>
                      <a:lnTo>
                        <a:pt x="42240" y="10521"/>
                      </a:lnTo>
                      <a:lnTo>
                        <a:pt x="42444" y="11719"/>
                      </a:lnTo>
                      <a:lnTo>
                        <a:pt x="43145" y="12355"/>
                      </a:lnTo>
                      <a:lnTo>
                        <a:pt x="44938" y="12502"/>
                      </a:lnTo>
                      <a:lnTo>
                        <a:pt x="49322" y="13716"/>
                      </a:lnTo>
                      <a:lnTo>
                        <a:pt x="52004" y="13480"/>
                      </a:lnTo>
                      <a:lnTo>
                        <a:pt x="54448" y="12192"/>
                      </a:lnTo>
                      <a:lnTo>
                        <a:pt x="55777" y="10652"/>
                      </a:lnTo>
                      <a:close/>
                    </a:path>
                  </a:pathLst>
                </a:custGeom>
                <a:solidFill>
                  <a:srgbClr val="D6D6D2"/>
                </a:solidFill>
                <a:ln w="6112" cap="rnd">
                  <a:solidFill>
                    <a:srgbClr val="FFFFFF"/>
                  </a:solidFill>
                  <a:prstDash val="solid"/>
                  <a:round/>
                </a:ln>
              </p:spPr>
              <p:txBody>
                <a:bodyPr rtlCol="0" anchor="ctr"/>
                <a:lstStyle/>
                <a:p>
                  <a:endParaRPr lang="en-US"/>
                </a:p>
              </p:txBody>
            </p:sp>
            <p:sp>
              <p:nvSpPr>
                <p:cNvPr id="755" name="Freeform: Shape 754">
                  <a:extLst>
                    <a:ext uri="{FF2B5EF4-FFF2-40B4-BE49-F238E27FC236}">
                      <a16:creationId xmlns:a16="http://schemas.microsoft.com/office/drawing/2014/main" id="{58B496E5-6AAA-4679-B8AB-603FE5970E30}"/>
                    </a:ext>
                  </a:extLst>
                </p:cNvPr>
                <p:cNvSpPr/>
                <p:nvPr/>
              </p:nvSpPr>
              <p:spPr>
                <a:xfrm>
                  <a:off x="3983670" y="4150790"/>
                  <a:ext cx="301263" cy="500548"/>
                </a:xfrm>
                <a:custGeom>
                  <a:avLst/>
                  <a:gdLst>
                    <a:gd name="connsiteX0" fmla="*/ 192497 w 301263"/>
                    <a:gd name="connsiteY0" fmla="*/ 2975 h 500548"/>
                    <a:gd name="connsiteX1" fmla="*/ 195162 w 301263"/>
                    <a:gd name="connsiteY1" fmla="*/ 8158 h 500548"/>
                    <a:gd name="connsiteX2" fmla="*/ 195602 w 301263"/>
                    <a:gd name="connsiteY2" fmla="*/ 11727 h 500548"/>
                    <a:gd name="connsiteX3" fmla="*/ 191959 w 301263"/>
                    <a:gd name="connsiteY3" fmla="*/ 15607 h 500548"/>
                    <a:gd name="connsiteX4" fmla="*/ 191079 w 301263"/>
                    <a:gd name="connsiteY4" fmla="*/ 17310 h 500548"/>
                    <a:gd name="connsiteX5" fmla="*/ 190190 w 301263"/>
                    <a:gd name="connsiteY5" fmla="*/ 17677 h 500548"/>
                    <a:gd name="connsiteX6" fmla="*/ 189082 w 301263"/>
                    <a:gd name="connsiteY6" fmla="*/ 18475 h 500548"/>
                    <a:gd name="connsiteX7" fmla="*/ 185708 w 301263"/>
                    <a:gd name="connsiteY7" fmla="*/ 19975 h 500548"/>
                    <a:gd name="connsiteX8" fmla="*/ 181160 w 301263"/>
                    <a:gd name="connsiteY8" fmla="*/ 21401 h 500548"/>
                    <a:gd name="connsiteX9" fmla="*/ 175244 w 301263"/>
                    <a:gd name="connsiteY9" fmla="*/ 23227 h 500548"/>
                    <a:gd name="connsiteX10" fmla="*/ 173899 w 301263"/>
                    <a:gd name="connsiteY10" fmla="*/ 25183 h 500548"/>
                    <a:gd name="connsiteX11" fmla="*/ 168039 w 301263"/>
                    <a:gd name="connsiteY11" fmla="*/ 37440 h 500548"/>
                    <a:gd name="connsiteX12" fmla="*/ 163133 w 301263"/>
                    <a:gd name="connsiteY12" fmla="*/ 39917 h 500548"/>
                    <a:gd name="connsiteX13" fmla="*/ 161348 w 301263"/>
                    <a:gd name="connsiteY13" fmla="*/ 41751 h 500548"/>
                    <a:gd name="connsiteX14" fmla="*/ 160004 w 301263"/>
                    <a:gd name="connsiteY14" fmla="*/ 44066 h 500548"/>
                    <a:gd name="connsiteX15" fmla="*/ 157078 w 301263"/>
                    <a:gd name="connsiteY15" fmla="*/ 48336 h 500548"/>
                    <a:gd name="connsiteX16" fmla="*/ 155864 w 301263"/>
                    <a:gd name="connsiteY16" fmla="*/ 51621 h 500548"/>
                    <a:gd name="connsiteX17" fmla="*/ 152636 w 301263"/>
                    <a:gd name="connsiteY17" fmla="*/ 58743 h 500548"/>
                    <a:gd name="connsiteX18" fmla="*/ 150876 w 301263"/>
                    <a:gd name="connsiteY18" fmla="*/ 67667 h 500548"/>
                    <a:gd name="connsiteX19" fmla="*/ 150208 w 301263"/>
                    <a:gd name="connsiteY19" fmla="*/ 72671 h 500548"/>
                    <a:gd name="connsiteX20" fmla="*/ 149230 w 301263"/>
                    <a:gd name="connsiteY20" fmla="*/ 79933 h 500548"/>
                    <a:gd name="connsiteX21" fmla="*/ 147804 w 301263"/>
                    <a:gd name="connsiteY21" fmla="*/ 83576 h 500548"/>
                    <a:gd name="connsiteX22" fmla="*/ 145888 w 301263"/>
                    <a:gd name="connsiteY22" fmla="*/ 86999 h 500548"/>
                    <a:gd name="connsiteX23" fmla="*/ 143835 w 301263"/>
                    <a:gd name="connsiteY23" fmla="*/ 90348 h 500548"/>
                    <a:gd name="connsiteX24" fmla="*/ 142058 w 301263"/>
                    <a:gd name="connsiteY24" fmla="*/ 94007 h 500548"/>
                    <a:gd name="connsiteX25" fmla="*/ 140550 w 301263"/>
                    <a:gd name="connsiteY25" fmla="*/ 96876 h 500548"/>
                    <a:gd name="connsiteX26" fmla="*/ 140306 w 301263"/>
                    <a:gd name="connsiteY26" fmla="*/ 97862 h 500548"/>
                    <a:gd name="connsiteX27" fmla="*/ 141031 w 301263"/>
                    <a:gd name="connsiteY27" fmla="*/ 98661 h 500548"/>
                    <a:gd name="connsiteX28" fmla="*/ 144593 w 301263"/>
                    <a:gd name="connsiteY28" fmla="*/ 97862 h 500548"/>
                    <a:gd name="connsiteX29" fmla="*/ 145986 w 301263"/>
                    <a:gd name="connsiteY29" fmla="*/ 96998 h 500548"/>
                    <a:gd name="connsiteX30" fmla="*/ 147934 w 301263"/>
                    <a:gd name="connsiteY30" fmla="*/ 95898 h 500548"/>
                    <a:gd name="connsiteX31" fmla="*/ 149148 w 301263"/>
                    <a:gd name="connsiteY31" fmla="*/ 96485 h 500548"/>
                    <a:gd name="connsiteX32" fmla="*/ 150363 w 301263"/>
                    <a:gd name="connsiteY32" fmla="*/ 99647 h 500548"/>
                    <a:gd name="connsiteX33" fmla="*/ 151748 w 301263"/>
                    <a:gd name="connsiteY33" fmla="*/ 100038 h 500548"/>
                    <a:gd name="connsiteX34" fmla="*/ 153044 w 301263"/>
                    <a:gd name="connsiteY34" fmla="*/ 99647 h 500548"/>
                    <a:gd name="connsiteX35" fmla="*/ 154421 w 301263"/>
                    <a:gd name="connsiteY35" fmla="*/ 100437 h 500548"/>
                    <a:gd name="connsiteX36" fmla="*/ 156181 w 301263"/>
                    <a:gd name="connsiteY36" fmla="*/ 108294 h 500548"/>
                    <a:gd name="connsiteX37" fmla="*/ 157673 w 301263"/>
                    <a:gd name="connsiteY37" fmla="*/ 114944 h 500548"/>
                    <a:gd name="connsiteX38" fmla="*/ 161137 w 301263"/>
                    <a:gd name="connsiteY38" fmla="*/ 119084 h 500548"/>
                    <a:gd name="connsiteX39" fmla="*/ 163842 w 301263"/>
                    <a:gd name="connsiteY39" fmla="*/ 122328 h 500548"/>
                    <a:gd name="connsiteX40" fmla="*/ 164494 w 301263"/>
                    <a:gd name="connsiteY40" fmla="*/ 125180 h 500548"/>
                    <a:gd name="connsiteX41" fmla="*/ 165146 w 301263"/>
                    <a:gd name="connsiteY41" fmla="*/ 129230 h 500548"/>
                    <a:gd name="connsiteX42" fmla="*/ 165309 w 301263"/>
                    <a:gd name="connsiteY42" fmla="*/ 131194 h 500548"/>
                    <a:gd name="connsiteX43" fmla="*/ 164462 w 301263"/>
                    <a:gd name="connsiteY43" fmla="*/ 132392 h 500548"/>
                    <a:gd name="connsiteX44" fmla="*/ 163109 w 301263"/>
                    <a:gd name="connsiteY44" fmla="*/ 134846 h 500548"/>
                    <a:gd name="connsiteX45" fmla="*/ 162775 w 301263"/>
                    <a:gd name="connsiteY45" fmla="*/ 139548 h 500548"/>
                    <a:gd name="connsiteX46" fmla="*/ 162538 w 301263"/>
                    <a:gd name="connsiteY46" fmla="*/ 141104 h 500548"/>
                    <a:gd name="connsiteX47" fmla="*/ 162286 w 301263"/>
                    <a:gd name="connsiteY47" fmla="*/ 145456 h 500548"/>
                    <a:gd name="connsiteX48" fmla="*/ 162457 w 301263"/>
                    <a:gd name="connsiteY48" fmla="*/ 148129 h 500548"/>
                    <a:gd name="connsiteX49" fmla="*/ 163174 w 301263"/>
                    <a:gd name="connsiteY49" fmla="*/ 150216 h 500548"/>
                    <a:gd name="connsiteX50" fmla="*/ 164372 w 301263"/>
                    <a:gd name="connsiteY50" fmla="*/ 151414 h 500548"/>
                    <a:gd name="connsiteX51" fmla="*/ 166809 w 301263"/>
                    <a:gd name="connsiteY51" fmla="*/ 152025 h 500548"/>
                    <a:gd name="connsiteX52" fmla="*/ 169009 w 301263"/>
                    <a:gd name="connsiteY52" fmla="*/ 152759 h 500548"/>
                    <a:gd name="connsiteX53" fmla="*/ 170272 w 301263"/>
                    <a:gd name="connsiteY53" fmla="*/ 156385 h 500548"/>
                    <a:gd name="connsiteX54" fmla="*/ 172074 w 301263"/>
                    <a:gd name="connsiteY54" fmla="*/ 160974 h 500548"/>
                    <a:gd name="connsiteX55" fmla="*/ 173997 w 301263"/>
                    <a:gd name="connsiteY55" fmla="*/ 162905 h 500548"/>
                    <a:gd name="connsiteX56" fmla="*/ 176825 w 301263"/>
                    <a:gd name="connsiteY56" fmla="*/ 164177 h 500548"/>
                    <a:gd name="connsiteX57" fmla="*/ 178846 w 301263"/>
                    <a:gd name="connsiteY57" fmla="*/ 163712 h 500548"/>
                    <a:gd name="connsiteX58" fmla="*/ 183573 w 301263"/>
                    <a:gd name="connsiteY58" fmla="*/ 162897 h 500548"/>
                    <a:gd name="connsiteX59" fmla="*/ 187640 w 301263"/>
                    <a:gd name="connsiteY59" fmla="*/ 163092 h 500548"/>
                    <a:gd name="connsiteX60" fmla="*/ 193573 w 301263"/>
                    <a:gd name="connsiteY60" fmla="*/ 164331 h 500548"/>
                    <a:gd name="connsiteX61" fmla="*/ 195781 w 301263"/>
                    <a:gd name="connsiteY61" fmla="*/ 164282 h 500548"/>
                    <a:gd name="connsiteX62" fmla="*/ 198642 w 301263"/>
                    <a:gd name="connsiteY62" fmla="*/ 164046 h 500548"/>
                    <a:gd name="connsiteX63" fmla="*/ 203670 w 301263"/>
                    <a:gd name="connsiteY63" fmla="*/ 161544 h 500548"/>
                    <a:gd name="connsiteX64" fmla="*/ 205495 w 301263"/>
                    <a:gd name="connsiteY64" fmla="*/ 161177 h 500548"/>
                    <a:gd name="connsiteX65" fmla="*/ 207533 w 301263"/>
                    <a:gd name="connsiteY65" fmla="*/ 161389 h 500548"/>
                    <a:gd name="connsiteX66" fmla="*/ 210500 w 301263"/>
                    <a:gd name="connsiteY66" fmla="*/ 162661 h 500548"/>
                    <a:gd name="connsiteX67" fmla="*/ 212113 w 301263"/>
                    <a:gd name="connsiteY67" fmla="*/ 163663 h 500548"/>
                    <a:gd name="connsiteX68" fmla="*/ 214175 w 301263"/>
                    <a:gd name="connsiteY68" fmla="*/ 164698 h 500548"/>
                    <a:gd name="connsiteX69" fmla="*/ 217182 w 301263"/>
                    <a:gd name="connsiteY69" fmla="*/ 165440 h 500548"/>
                    <a:gd name="connsiteX70" fmla="*/ 219122 w 301263"/>
                    <a:gd name="connsiteY70" fmla="*/ 165317 h 500548"/>
                    <a:gd name="connsiteX71" fmla="*/ 220581 w 301263"/>
                    <a:gd name="connsiteY71" fmla="*/ 165268 h 500548"/>
                    <a:gd name="connsiteX72" fmla="*/ 221428 w 301263"/>
                    <a:gd name="connsiteY72" fmla="*/ 165741 h 500548"/>
                    <a:gd name="connsiteX73" fmla="*/ 226163 w 301263"/>
                    <a:gd name="connsiteY73" fmla="*/ 172880 h 500548"/>
                    <a:gd name="connsiteX74" fmla="*/ 230254 w 301263"/>
                    <a:gd name="connsiteY74" fmla="*/ 179058 h 500548"/>
                    <a:gd name="connsiteX75" fmla="*/ 233832 w 301263"/>
                    <a:gd name="connsiteY75" fmla="*/ 184257 h 500548"/>
                    <a:gd name="connsiteX76" fmla="*/ 237687 w 301263"/>
                    <a:gd name="connsiteY76" fmla="*/ 189864 h 500548"/>
                    <a:gd name="connsiteX77" fmla="*/ 237988 w 301263"/>
                    <a:gd name="connsiteY77" fmla="*/ 190190 h 500548"/>
                    <a:gd name="connsiteX78" fmla="*/ 239724 w 301263"/>
                    <a:gd name="connsiteY78" fmla="*/ 189473 h 500548"/>
                    <a:gd name="connsiteX79" fmla="*/ 240874 w 301263"/>
                    <a:gd name="connsiteY79" fmla="*/ 189783 h 500548"/>
                    <a:gd name="connsiteX80" fmla="*/ 241933 w 301263"/>
                    <a:gd name="connsiteY80" fmla="*/ 190924 h 500548"/>
                    <a:gd name="connsiteX81" fmla="*/ 243759 w 301263"/>
                    <a:gd name="connsiteY81" fmla="*/ 190459 h 500548"/>
                    <a:gd name="connsiteX82" fmla="*/ 246358 w 301263"/>
                    <a:gd name="connsiteY82" fmla="*/ 188389 h 500548"/>
                    <a:gd name="connsiteX83" fmla="*/ 250148 w 301263"/>
                    <a:gd name="connsiteY83" fmla="*/ 187974 h 500548"/>
                    <a:gd name="connsiteX84" fmla="*/ 255127 w 301263"/>
                    <a:gd name="connsiteY84" fmla="*/ 189212 h 500548"/>
                    <a:gd name="connsiteX85" fmla="*/ 261688 w 301263"/>
                    <a:gd name="connsiteY85" fmla="*/ 189221 h 500548"/>
                    <a:gd name="connsiteX86" fmla="*/ 269838 w 301263"/>
                    <a:gd name="connsiteY86" fmla="*/ 187998 h 500548"/>
                    <a:gd name="connsiteX87" fmla="*/ 274907 w 301263"/>
                    <a:gd name="connsiteY87" fmla="*/ 186661 h 500548"/>
                    <a:gd name="connsiteX88" fmla="*/ 276879 w 301263"/>
                    <a:gd name="connsiteY88" fmla="*/ 185219 h 500548"/>
                    <a:gd name="connsiteX89" fmla="*/ 280155 w 301263"/>
                    <a:gd name="connsiteY89" fmla="*/ 185366 h 500548"/>
                    <a:gd name="connsiteX90" fmla="*/ 284100 w 301263"/>
                    <a:gd name="connsiteY90" fmla="*/ 186661 h 500548"/>
                    <a:gd name="connsiteX91" fmla="*/ 286235 w 301263"/>
                    <a:gd name="connsiteY91" fmla="*/ 188512 h 500548"/>
                    <a:gd name="connsiteX92" fmla="*/ 286496 w 301263"/>
                    <a:gd name="connsiteY92" fmla="*/ 190337 h 500548"/>
                    <a:gd name="connsiteX93" fmla="*/ 287295 w 301263"/>
                    <a:gd name="connsiteY93" fmla="*/ 193165 h 500548"/>
                    <a:gd name="connsiteX94" fmla="*/ 286439 w 301263"/>
                    <a:gd name="connsiteY94" fmla="*/ 196034 h 500548"/>
                    <a:gd name="connsiteX95" fmla="*/ 283921 w 301263"/>
                    <a:gd name="connsiteY95" fmla="*/ 198935 h 500548"/>
                    <a:gd name="connsiteX96" fmla="*/ 282527 w 301263"/>
                    <a:gd name="connsiteY96" fmla="*/ 202651 h 500548"/>
                    <a:gd name="connsiteX97" fmla="*/ 282258 w 301263"/>
                    <a:gd name="connsiteY97" fmla="*/ 207175 h 500548"/>
                    <a:gd name="connsiteX98" fmla="*/ 280962 w 301263"/>
                    <a:gd name="connsiteY98" fmla="*/ 210516 h 500548"/>
                    <a:gd name="connsiteX99" fmla="*/ 278631 w 301263"/>
                    <a:gd name="connsiteY99" fmla="*/ 212675 h 500548"/>
                    <a:gd name="connsiteX100" fmla="*/ 277727 w 301263"/>
                    <a:gd name="connsiteY100" fmla="*/ 215829 h 500548"/>
                    <a:gd name="connsiteX101" fmla="*/ 278240 w 301263"/>
                    <a:gd name="connsiteY101" fmla="*/ 219969 h 500548"/>
                    <a:gd name="connsiteX102" fmla="*/ 277988 w 301263"/>
                    <a:gd name="connsiteY102" fmla="*/ 226025 h 500548"/>
                    <a:gd name="connsiteX103" fmla="*/ 276969 w 301263"/>
                    <a:gd name="connsiteY103" fmla="*/ 233987 h 500548"/>
                    <a:gd name="connsiteX104" fmla="*/ 276969 w 301263"/>
                    <a:gd name="connsiteY104" fmla="*/ 238738 h 500548"/>
                    <a:gd name="connsiteX105" fmla="*/ 277988 w 301263"/>
                    <a:gd name="connsiteY105" fmla="*/ 240287 h 500548"/>
                    <a:gd name="connsiteX106" fmla="*/ 278452 w 301263"/>
                    <a:gd name="connsiteY106" fmla="*/ 242520 h 500548"/>
                    <a:gd name="connsiteX107" fmla="*/ 278371 w 301263"/>
                    <a:gd name="connsiteY107" fmla="*/ 245421 h 500548"/>
                    <a:gd name="connsiteX108" fmla="*/ 278754 w 301263"/>
                    <a:gd name="connsiteY108" fmla="*/ 247980 h 500548"/>
                    <a:gd name="connsiteX109" fmla="*/ 280017 w 301263"/>
                    <a:gd name="connsiteY109" fmla="*/ 251330 h 500548"/>
                    <a:gd name="connsiteX110" fmla="*/ 281769 w 301263"/>
                    <a:gd name="connsiteY110" fmla="*/ 257988 h 500548"/>
                    <a:gd name="connsiteX111" fmla="*/ 283236 w 301263"/>
                    <a:gd name="connsiteY111" fmla="*/ 260849 h 500548"/>
                    <a:gd name="connsiteX112" fmla="*/ 284507 w 301263"/>
                    <a:gd name="connsiteY112" fmla="*/ 261892 h 500548"/>
                    <a:gd name="connsiteX113" fmla="*/ 285811 w 301263"/>
                    <a:gd name="connsiteY113" fmla="*/ 263171 h 500548"/>
                    <a:gd name="connsiteX114" fmla="*/ 289552 w 301263"/>
                    <a:gd name="connsiteY114" fmla="*/ 269984 h 500548"/>
                    <a:gd name="connsiteX115" fmla="*/ 290457 w 301263"/>
                    <a:gd name="connsiteY115" fmla="*/ 271427 h 500548"/>
                    <a:gd name="connsiteX116" fmla="*/ 290179 w 301263"/>
                    <a:gd name="connsiteY116" fmla="*/ 272674 h 500548"/>
                    <a:gd name="connsiteX117" fmla="*/ 289837 w 301263"/>
                    <a:gd name="connsiteY117" fmla="*/ 273611 h 500548"/>
                    <a:gd name="connsiteX118" fmla="*/ 289405 w 301263"/>
                    <a:gd name="connsiteY118" fmla="*/ 274214 h 500548"/>
                    <a:gd name="connsiteX119" fmla="*/ 285404 w 301263"/>
                    <a:gd name="connsiteY119" fmla="*/ 278273 h 500548"/>
                    <a:gd name="connsiteX120" fmla="*/ 277474 w 301263"/>
                    <a:gd name="connsiteY120" fmla="*/ 287099 h 500548"/>
                    <a:gd name="connsiteX121" fmla="*/ 276814 w 301263"/>
                    <a:gd name="connsiteY121" fmla="*/ 288215 h 500548"/>
                    <a:gd name="connsiteX122" fmla="*/ 276863 w 301263"/>
                    <a:gd name="connsiteY122" fmla="*/ 290065 h 500548"/>
                    <a:gd name="connsiteX123" fmla="*/ 279169 w 301263"/>
                    <a:gd name="connsiteY123" fmla="*/ 288876 h 500548"/>
                    <a:gd name="connsiteX124" fmla="*/ 281630 w 301263"/>
                    <a:gd name="connsiteY124" fmla="*/ 289870 h 500548"/>
                    <a:gd name="connsiteX125" fmla="*/ 282828 w 301263"/>
                    <a:gd name="connsiteY125" fmla="*/ 290065 h 500548"/>
                    <a:gd name="connsiteX126" fmla="*/ 283374 w 301263"/>
                    <a:gd name="connsiteY126" fmla="*/ 290791 h 500548"/>
                    <a:gd name="connsiteX127" fmla="*/ 284083 w 301263"/>
                    <a:gd name="connsiteY127" fmla="*/ 293170 h 500548"/>
                    <a:gd name="connsiteX128" fmla="*/ 284907 w 301263"/>
                    <a:gd name="connsiteY128" fmla="*/ 293561 h 500548"/>
                    <a:gd name="connsiteX129" fmla="*/ 286113 w 301263"/>
                    <a:gd name="connsiteY129" fmla="*/ 294548 h 500548"/>
                    <a:gd name="connsiteX130" fmla="*/ 288460 w 301263"/>
                    <a:gd name="connsiteY130" fmla="*/ 297058 h 500548"/>
                    <a:gd name="connsiteX131" fmla="*/ 290432 w 301263"/>
                    <a:gd name="connsiteY131" fmla="*/ 299706 h 500548"/>
                    <a:gd name="connsiteX132" fmla="*/ 291915 w 301263"/>
                    <a:gd name="connsiteY132" fmla="*/ 300970 h 500548"/>
                    <a:gd name="connsiteX133" fmla="*/ 292950 w 301263"/>
                    <a:gd name="connsiteY133" fmla="*/ 302151 h 500548"/>
                    <a:gd name="connsiteX134" fmla="*/ 293284 w 301263"/>
                    <a:gd name="connsiteY134" fmla="*/ 303863 h 500548"/>
                    <a:gd name="connsiteX135" fmla="*/ 292844 w 301263"/>
                    <a:gd name="connsiteY135" fmla="*/ 305574 h 500548"/>
                    <a:gd name="connsiteX136" fmla="*/ 294075 w 301263"/>
                    <a:gd name="connsiteY136" fmla="*/ 309560 h 500548"/>
                    <a:gd name="connsiteX137" fmla="*/ 294922 w 301263"/>
                    <a:gd name="connsiteY137" fmla="*/ 310798 h 500548"/>
                    <a:gd name="connsiteX138" fmla="*/ 295363 w 301263"/>
                    <a:gd name="connsiteY138" fmla="*/ 312314 h 500548"/>
                    <a:gd name="connsiteX139" fmla="*/ 294922 w 301263"/>
                    <a:gd name="connsiteY139" fmla="*/ 313830 h 500548"/>
                    <a:gd name="connsiteX140" fmla="*/ 295966 w 301263"/>
                    <a:gd name="connsiteY140" fmla="*/ 315615 h 500548"/>
                    <a:gd name="connsiteX141" fmla="*/ 297099 w 301263"/>
                    <a:gd name="connsiteY141" fmla="*/ 319119 h 500548"/>
                    <a:gd name="connsiteX142" fmla="*/ 298476 w 301263"/>
                    <a:gd name="connsiteY142" fmla="*/ 323406 h 500548"/>
                    <a:gd name="connsiteX143" fmla="*/ 298647 w 301263"/>
                    <a:gd name="connsiteY143" fmla="*/ 325786 h 500548"/>
                    <a:gd name="connsiteX144" fmla="*/ 299217 w 301263"/>
                    <a:gd name="connsiteY144" fmla="*/ 326886 h 500548"/>
                    <a:gd name="connsiteX145" fmla="*/ 299894 w 301263"/>
                    <a:gd name="connsiteY145" fmla="*/ 330064 h 500548"/>
                    <a:gd name="connsiteX146" fmla="*/ 301051 w 301263"/>
                    <a:gd name="connsiteY146" fmla="*/ 333055 h 500548"/>
                    <a:gd name="connsiteX147" fmla="*/ 300782 w 301263"/>
                    <a:gd name="connsiteY147" fmla="*/ 335101 h 500548"/>
                    <a:gd name="connsiteX148" fmla="*/ 301263 w 301263"/>
                    <a:gd name="connsiteY148" fmla="*/ 337106 h 500548"/>
                    <a:gd name="connsiteX149" fmla="*/ 296569 w 301263"/>
                    <a:gd name="connsiteY149" fmla="*/ 338442 h 500548"/>
                    <a:gd name="connsiteX150" fmla="*/ 296145 w 301263"/>
                    <a:gd name="connsiteY150" fmla="*/ 338238 h 500548"/>
                    <a:gd name="connsiteX151" fmla="*/ 295868 w 301263"/>
                    <a:gd name="connsiteY151" fmla="*/ 337505 h 500548"/>
                    <a:gd name="connsiteX152" fmla="*/ 295998 w 301263"/>
                    <a:gd name="connsiteY152" fmla="*/ 331800 h 500548"/>
                    <a:gd name="connsiteX153" fmla="*/ 295958 w 301263"/>
                    <a:gd name="connsiteY153" fmla="*/ 325362 h 500548"/>
                    <a:gd name="connsiteX154" fmla="*/ 295232 w 301263"/>
                    <a:gd name="connsiteY154" fmla="*/ 322721 h 500548"/>
                    <a:gd name="connsiteX155" fmla="*/ 293081 w 301263"/>
                    <a:gd name="connsiteY155" fmla="*/ 318492 h 500548"/>
                    <a:gd name="connsiteX156" fmla="*/ 290236 w 301263"/>
                    <a:gd name="connsiteY156" fmla="*/ 312885 h 500548"/>
                    <a:gd name="connsiteX157" fmla="*/ 289454 w 301263"/>
                    <a:gd name="connsiteY157" fmla="*/ 311271 h 500548"/>
                    <a:gd name="connsiteX158" fmla="*/ 288256 w 301263"/>
                    <a:gd name="connsiteY158" fmla="*/ 310350 h 500548"/>
                    <a:gd name="connsiteX159" fmla="*/ 286838 w 301263"/>
                    <a:gd name="connsiteY159" fmla="*/ 310220 h 500548"/>
                    <a:gd name="connsiteX160" fmla="*/ 285795 w 301263"/>
                    <a:gd name="connsiteY160" fmla="*/ 310611 h 500548"/>
                    <a:gd name="connsiteX161" fmla="*/ 284401 w 301263"/>
                    <a:gd name="connsiteY161" fmla="*/ 311654 h 500548"/>
                    <a:gd name="connsiteX162" fmla="*/ 283081 w 301263"/>
                    <a:gd name="connsiteY162" fmla="*/ 312787 h 500548"/>
                    <a:gd name="connsiteX163" fmla="*/ 280538 w 301263"/>
                    <a:gd name="connsiteY163" fmla="*/ 316169 h 500548"/>
                    <a:gd name="connsiteX164" fmla="*/ 277979 w 301263"/>
                    <a:gd name="connsiteY164" fmla="*/ 320121 h 500548"/>
                    <a:gd name="connsiteX165" fmla="*/ 276480 w 301263"/>
                    <a:gd name="connsiteY165" fmla="*/ 321002 h 500548"/>
                    <a:gd name="connsiteX166" fmla="*/ 274972 w 301263"/>
                    <a:gd name="connsiteY166" fmla="*/ 321360 h 500548"/>
                    <a:gd name="connsiteX167" fmla="*/ 273644 w 301263"/>
                    <a:gd name="connsiteY167" fmla="*/ 321238 h 500548"/>
                    <a:gd name="connsiteX168" fmla="*/ 272576 w 301263"/>
                    <a:gd name="connsiteY168" fmla="*/ 320179 h 500548"/>
                    <a:gd name="connsiteX169" fmla="*/ 271484 w 301263"/>
                    <a:gd name="connsiteY169" fmla="*/ 318027 h 500548"/>
                    <a:gd name="connsiteX170" fmla="*/ 270164 w 301263"/>
                    <a:gd name="connsiteY170" fmla="*/ 315158 h 500548"/>
                    <a:gd name="connsiteX171" fmla="*/ 268591 w 301263"/>
                    <a:gd name="connsiteY171" fmla="*/ 314221 h 500548"/>
                    <a:gd name="connsiteX172" fmla="*/ 267979 w 301263"/>
                    <a:gd name="connsiteY172" fmla="*/ 315101 h 500548"/>
                    <a:gd name="connsiteX173" fmla="*/ 267458 w 301263"/>
                    <a:gd name="connsiteY173" fmla="*/ 316788 h 500548"/>
                    <a:gd name="connsiteX174" fmla="*/ 267050 w 301263"/>
                    <a:gd name="connsiteY174" fmla="*/ 318459 h 500548"/>
                    <a:gd name="connsiteX175" fmla="*/ 268110 w 301263"/>
                    <a:gd name="connsiteY175" fmla="*/ 320578 h 500548"/>
                    <a:gd name="connsiteX176" fmla="*/ 269015 w 301263"/>
                    <a:gd name="connsiteY176" fmla="*/ 322224 h 500548"/>
                    <a:gd name="connsiteX177" fmla="*/ 267458 w 301263"/>
                    <a:gd name="connsiteY177" fmla="*/ 322167 h 500548"/>
                    <a:gd name="connsiteX178" fmla="*/ 262397 w 301263"/>
                    <a:gd name="connsiteY178" fmla="*/ 322167 h 500548"/>
                    <a:gd name="connsiteX179" fmla="*/ 256570 w 301263"/>
                    <a:gd name="connsiteY179" fmla="*/ 322167 h 500548"/>
                    <a:gd name="connsiteX180" fmla="*/ 250751 w 301263"/>
                    <a:gd name="connsiteY180" fmla="*/ 322167 h 500548"/>
                    <a:gd name="connsiteX181" fmla="*/ 245511 w 301263"/>
                    <a:gd name="connsiteY181" fmla="*/ 322167 h 500548"/>
                    <a:gd name="connsiteX182" fmla="*/ 240670 w 301263"/>
                    <a:gd name="connsiteY182" fmla="*/ 322167 h 500548"/>
                    <a:gd name="connsiteX183" fmla="*/ 238812 w 301263"/>
                    <a:gd name="connsiteY183" fmla="*/ 322037 h 500548"/>
                    <a:gd name="connsiteX184" fmla="*/ 236937 w 301263"/>
                    <a:gd name="connsiteY184" fmla="*/ 321067 h 500548"/>
                    <a:gd name="connsiteX185" fmla="*/ 235128 w 301263"/>
                    <a:gd name="connsiteY185" fmla="*/ 320610 h 500548"/>
                    <a:gd name="connsiteX186" fmla="*/ 234183 w 301263"/>
                    <a:gd name="connsiteY186" fmla="*/ 320684 h 500548"/>
                    <a:gd name="connsiteX187" fmla="*/ 232479 w 301263"/>
                    <a:gd name="connsiteY187" fmla="*/ 321621 h 500548"/>
                    <a:gd name="connsiteX188" fmla="*/ 230254 w 301263"/>
                    <a:gd name="connsiteY188" fmla="*/ 321760 h 500548"/>
                    <a:gd name="connsiteX189" fmla="*/ 228763 w 301263"/>
                    <a:gd name="connsiteY189" fmla="*/ 322648 h 500548"/>
                    <a:gd name="connsiteX190" fmla="*/ 227557 w 301263"/>
                    <a:gd name="connsiteY190" fmla="*/ 322542 h 500548"/>
                    <a:gd name="connsiteX191" fmla="*/ 227532 w 301263"/>
                    <a:gd name="connsiteY191" fmla="*/ 327473 h 500548"/>
                    <a:gd name="connsiteX192" fmla="*/ 227500 w 301263"/>
                    <a:gd name="connsiteY192" fmla="*/ 334514 h 500548"/>
                    <a:gd name="connsiteX193" fmla="*/ 227467 w 301263"/>
                    <a:gd name="connsiteY193" fmla="*/ 341979 h 500548"/>
                    <a:gd name="connsiteX194" fmla="*/ 228804 w 301263"/>
                    <a:gd name="connsiteY194" fmla="*/ 341409 h 500548"/>
                    <a:gd name="connsiteX195" fmla="*/ 229969 w 301263"/>
                    <a:gd name="connsiteY195" fmla="*/ 341466 h 500548"/>
                    <a:gd name="connsiteX196" fmla="*/ 230817 w 301263"/>
                    <a:gd name="connsiteY196" fmla="*/ 341987 h 500548"/>
                    <a:gd name="connsiteX197" fmla="*/ 233197 w 301263"/>
                    <a:gd name="connsiteY197" fmla="*/ 341564 h 500548"/>
                    <a:gd name="connsiteX198" fmla="*/ 234517 w 301263"/>
                    <a:gd name="connsiteY198" fmla="*/ 341792 h 500548"/>
                    <a:gd name="connsiteX199" fmla="*/ 235772 w 301263"/>
                    <a:gd name="connsiteY199" fmla="*/ 341979 h 500548"/>
                    <a:gd name="connsiteX200" fmla="*/ 236937 w 301263"/>
                    <a:gd name="connsiteY200" fmla="*/ 342003 h 500548"/>
                    <a:gd name="connsiteX201" fmla="*/ 237646 w 301263"/>
                    <a:gd name="connsiteY201" fmla="*/ 342590 h 500548"/>
                    <a:gd name="connsiteX202" fmla="*/ 238608 w 301263"/>
                    <a:gd name="connsiteY202" fmla="*/ 342484 h 500548"/>
                    <a:gd name="connsiteX203" fmla="*/ 239635 w 301263"/>
                    <a:gd name="connsiteY203" fmla="*/ 341832 h 500548"/>
                    <a:gd name="connsiteX204" fmla="*/ 240865 w 301263"/>
                    <a:gd name="connsiteY204" fmla="*/ 342240 h 500548"/>
                    <a:gd name="connsiteX205" fmla="*/ 242177 w 301263"/>
                    <a:gd name="connsiteY205" fmla="*/ 343291 h 500548"/>
                    <a:gd name="connsiteX206" fmla="*/ 243025 w 301263"/>
                    <a:gd name="connsiteY206" fmla="*/ 344848 h 500548"/>
                    <a:gd name="connsiteX207" fmla="*/ 243783 w 301263"/>
                    <a:gd name="connsiteY207" fmla="*/ 346796 h 500548"/>
                    <a:gd name="connsiteX208" fmla="*/ 244541 w 301263"/>
                    <a:gd name="connsiteY208" fmla="*/ 347823 h 500548"/>
                    <a:gd name="connsiteX209" fmla="*/ 244500 w 301263"/>
                    <a:gd name="connsiteY209" fmla="*/ 349681 h 500548"/>
                    <a:gd name="connsiteX210" fmla="*/ 244476 w 301263"/>
                    <a:gd name="connsiteY210" fmla="*/ 351131 h 500548"/>
                    <a:gd name="connsiteX211" fmla="*/ 244207 w 301263"/>
                    <a:gd name="connsiteY211" fmla="*/ 352346 h 500548"/>
                    <a:gd name="connsiteX212" fmla="*/ 244549 w 301263"/>
                    <a:gd name="connsiteY212" fmla="*/ 353128 h 500548"/>
                    <a:gd name="connsiteX213" fmla="*/ 244793 w 301263"/>
                    <a:gd name="connsiteY213" fmla="*/ 353959 h 500548"/>
                    <a:gd name="connsiteX214" fmla="*/ 244720 w 301263"/>
                    <a:gd name="connsiteY214" fmla="*/ 354448 h 500548"/>
                    <a:gd name="connsiteX215" fmla="*/ 244272 w 301263"/>
                    <a:gd name="connsiteY215" fmla="*/ 354660 h 500548"/>
                    <a:gd name="connsiteX216" fmla="*/ 243310 w 301263"/>
                    <a:gd name="connsiteY216" fmla="*/ 354831 h 500548"/>
                    <a:gd name="connsiteX217" fmla="*/ 242283 w 301263"/>
                    <a:gd name="connsiteY217" fmla="*/ 354962 h 500548"/>
                    <a:gd name="connsiteX218" fmla="*/ 241574 w 301263"/>
                    <a:gd name="connsiteY218" fmla="*/ 354905 h 500548"/>
                    <a:gd name="connsiteX219" fmla="*/ 241012 w 301263"/>
                    <a:gd name="connsiteY219" fmla="*/ 354147 h 500548"/>
                    <a:gd name="connsiteX220" fmla="*/ 240482 w 301263"/>
                    <a:gd name="connsiteY220" fmla="*/ 354065 h 500548"/>
                    <a:gd name="connsiteX221" fmla="*/ 239700 w 301263"/>
                    <a:gd name="connsiteY221" fmla="*/ 354179 h 500548"/>
                    <a:gd name="connsiteX222" fmla="*/ 238869 w 301263"/>
                    <a:gd name="connsiteY222" fmla="*/ 353723 h 500548"/>
                    <a:gd name="connsiteX223" fmla="*/ 238160 w 301263"/>
                    <a:gd name="connsiteY223" fmla="*/ 352786 h 500548"/>
                    <a:gd name="connsiteX224" fmla="*/ 236888 w 301263"/>
                    <a:gd name="connsiteY224" fmla="*/ 351832 h 500548"/>
                    <a:gd name="connsiteX225" fmla="*/ 235527 w 301263"/>
                    <a:gd name="connsiteY225" fmla="*/ 352240 h 500548"/>
                    <a:gd name="connsiteX226" fmla="*/ 234590 w 301263"/>
                    <a:gd name="connsiteY226" fmla="*/ 352720 h 500548"/>
                    <a:gd name="connsiteX227" fmla="*/ 233628 w 301263"/>
                    <a:gd name="connsiteY227" fmla="*/ 353307 h 500548"/>
                    <a:gd name="connsiteX228" fmla="*/ 232756 w 301263"/>
                    <a:gd name="connsiteY228" fmla="*/ 353935 h 500548"/>
                    <a:gd name="connsiteX229" fmla="*/ 231884 w 301263"/>
                    <a:gd name="connsiteY229" fmla="*/ 353772 h 500548"/>
                    <a:gd name="connsiteX230" fmla="*/ 230768 w 301263"/>
                    <a:gd name="connsiteY230" fmla="*/ 354228 h 500548"/>
                    <a:gd name="connsiteX231" fmla="*/ 229831 w 301263"/>
                    <a:gd name="connsiteY231" fmla="*/ 354929 h 500548"/>
                    <a:gd name="connsiteX232" fmla="*/ 228576 w 301263"/>
                    <a:gd name="connsiteY232" fmla="*/ 355491 h 500548"/>
                    <a:gd name="connsiteX233" fmla="*/ 227215 w 301263"/>
                    <a:gd name="connsiteY233" fmla="*/ 355760 h 500548"/>
                    <a:gd name="connsiteX234" fmla="*/ 225650 w 301263"/>
                    <a:gd name="connsiteY234" fmla="*/ 356037 h 500548"/>
                    <a:gd name="connsiteX235" fmla="*/ 224150 w 301263"/>
                    <a:gd name="connsiteY235" fmla="*/ 356143 h 500548"/>
                    <a:gd name="connsiteX236" fmla="*/ 222455 w 301263"/>
                    <a:gd name="connsiteY236" fmla="*/ 356364 h 500548"/>
                    <a:gd name="connsiteX237" fmla="*/ 222357 w 301263"/>
                    <a:gd name="connsiteY237" fmla="*/ 360292 h 500548"/>
                    <a:gd name="connsiteX238" fmla="*/ 222162 w 301263"/>
                    <a:gd name="connsiteY238" fmla="*/ 368018 h 500548"/>
                    <a:gd name="connsiteX239" fmla="*/ 222031 w 301263"/>
                    <a:gd name="connsiteY239" fmla="*/ 373127 h 500548"/>
                    <a:gd name="connsiteX240" fmla="*/ 222039 w 301263"/>
                    <a:gd name="connsiteY240" fmla="*/ 377846 h 500548"/>
                    <a:gd name="connsiteX241" fmla="*/ 222700 w 301263"/>
                    <a:gd name="connsiteY241" fmla="*/ 379557 h 500548"/>
                    <a:gd name="connsiteX242" fmla="*/ 225707 w 301263"/>
                    <a:gd name="connsiteY242" fmla="*/ 383192 h 500548"/>
                    <a:gd name="connsiteX243" fmla="*/ 228062 w 301263"/>
                    <a:gd name="connsiteY243" fmla="*/ 385099 h 500548"/>
                    <a:gd name="connsiteX244" fmla="*/ 230059 w 301263"/>
                    <a:gd name="connsiteY244" fmla="*/ 387243 h 500548"/>
                    <a:gd name="connsiteX245" fmla="*/ 232047 w 301263"/>
                    <a:gd name="connsiteY245" fmla="*/ 388123 h 500548"/>
                    <a:gd name="connsiteX246" fmla="*/ 232879 w 301263"/>
                    <a:gd name="connsiteY246" fmla="*/ 388938 h 500548"/>
                    <a:gd name="connsiteX247" fmla="*/ 233425 w 301263"/>
                    <a:gd name="connsiteY247" fmla="*/ 390258 h 500548"/>
                    <a:gd name="connsiteX248" fmla="*/ 233702 w 301263"/>
                    <a:gd name="connsiteY248" fmla="*/ 391635 h 500548"/>
                    <a:gd name="connsiteX249" fmla="*/ 233922 w 301263"/>
                    <a:gd name="connsiteY249" fmla="*/ 392825 h 500548"/>
                    <a:gd name="connsiteX250" fmla="*/ 233702 w 301263"/>
                    <a:gd name="connsiteY250" fmla="*/ 394072 h 500548"/>
                    <a:gd name="connsiteX251" fmla="*/ 233213 w 301263"/>
                    <a:gd name="connsiteY251" fmla="*/ 395262 h 500548"/>
                    <a:gd name="connsiteX252" fmla="*/ 233425 w 301263"/>
                    <a:gd name="connsiteY252" fmla="*/ 396509 h 500548"/>
                    <a:gd name="connsiteX253" fmla="*/ 234134 w 301263"/>
                    <a:gd name="connsiteY253" fmla="*/ 397503 h 500548"/>
                    <a:gd name="connsiteX254" fmla="*/ 234354 w 301263"/>
                    <a:gd name="connsiteY254" fmla="*/ 398750 h 500548"/>
                    <a:gd name="connsiteX255" fmla="*/ 234843 w 301263"/>
                    <a:gd name="connsiteY255" fmla="*/ 399940 h 500548"/>
                    <a:gd name="connsiteX256" fmla="*/ 235120 w 301263"/>
                    <a:gd name="connsiteY256" fmla="*/ 401138 h 500548"/>
                    <a:gd name="connsiteX257" fmla="*/ 235715 w 301263"/>
                    <a:gd name="connsiteY257" fmla="*/ 401986 h 500548"/>
                    <a:gd name="connsiteX258" fmla="*/ 236481 w 301263"/>
                    <a:gd name="connsiteY258" fmla="*/ 402589 h 500548"/>
                    <a:gd name="connsiteX259" fmla="*/ 237467 w 301263"/>
                    <a:gd name="connsiteY259" fmla="*/ 403567 h 500548"/>
                    <a:gd name="connsiteX260" fmla="*/ 237581 w 301263"/>
                    <a:gd name="connsiteY260" fmla="*/ 404504 h 500548"/>
                    <a:gd name="connsiteX261" fmla="*/ 237467 w 301263"/>
                    <a:gd name="connsiteY261" fmla="*/ 405547 h 500548"/>
                    <a:gd name="connsiteX262" fmla="*/ 237459 w 301263"/>
                    <a:gd name="connsiteY262" fmla="*/ 406354 h 500548"/>
                    <a:gd name="connsiteX263" fmla="*/ 238396 w 301263"/>
                    <a:gd name="connsiteY263" fmla="*/ 408171 h 500548"/>
                    <a:gd name="connsiteX264" fmla="*/ 238673 w 301263"/>
                    <a:gd name="connsiteY264" fmla="*/ 409443 h 500548"/>
                    <a:gd name="connsiteX265" fmla="*/ 238241 w 301263"/>
                    <a:gd name="connsiteY265" fmla="*/ 410967 h 500548"/>
                    <a:gd name="connsiteX266" fmla="*/ 237817 w 301263"/>
                    <a:gd name="connsiteY266" fmla="*/ 416239 h 500548"/>
                    <a:gd name="connsiteX267" fmla="*/ 236733 w 301263"/>
                    <a:gd name="connsiteY267" fmla="*/ 422238 h 500548"/>
                    <a:gd name="connsiteX268" fmla="*/ 236049 w 301263"/>
                    <a:gd name="connsiteY268" fmla="*/ 426818 h 500548"/>
                    <a:gd name="connsiteX269" fmla="*/ 234916 w 301263"/>
                    <a:gd name="connsiteY269" fmla="*/ 434283 h 500548"/>
                    <a:gd name="connsiteX270" fmla="*/ 233604 w 301263"/>
                    <a:gd name="connsiteY270" fmla="*/ 442971 h 500548"/>
                    <a:gd name="connsiteX271" fmla="*/ 232007 w 301263"/>
                    <a:gd name="connsiteY271" fmla="*/ 453557 h 500548"/>
                    <a:gd name="connsiteX272" fmla="*/ 230434 w 301263"/>
                    <a:gd name="connsiteY272" fmla="*/ 464013 h 500548"/>
                    <a:gd name="connsiteX273" fmla="*/ 228902 w 301263"/>
                    <a:gd name="connsiteY273" fmla="*/ 474127 h 500548"/>
                    <a:gd name="connsiteX274" fmla="*/ 227524 w 301263"/>
                    <a:gd name="connsiteY274" fmla="*/ 483279 h 500548"/>
                    <a:gd name="connsiteX275" fmla="*/ 226000 w 301263"/>
                    <a:gd name="connsiteY275" fmla="*/ 493368 h 500548"/>
                    <a:gd name="connsiteX276" fmla="*/ 225079 w 301263"/>
                    <a:gd name="connsiteY276" fmla="*/ 499489 h 500548"/>
                    <a:gd name="connsiteX277" fmla="*/ 224639 w 301263"/>
                    <a:gd name="connsiteY277" fmla="*/ 500548 h 500548"/>
                    <a:gd name="connsiteX278" fmla="*/ 223368 w 301263"/>
                    <a:gd name="connsiteY278" fmla="*/ 498332 h 500548"/>
                    <a:gd name="connsiteX279" fmla="*/ 221445 w 301263"/>
                    <a:gd name="connsiteY279" fmla="*/ 496237 h 500548"/>
                    <a:gd name="connsiteX280" fmla="*/ 219643 w 301263"/>
                    <a:gd name="connsiteY280" fmla="*/ 494974 h 500548"/>
                    <a:gd name="connsiteX281" fmla="*/ 218877 w 301263"/>
                    <a:gd name="connsiteY281" fmla="*/ 493336 h 500548"/>
                    <a:gd name="connsiteX282" fmla="*/ 217842 w 301263"/>
                    <a:gd name="connsiteY282" fmla="*/ 489962 h 500548"/>
                    <a:gd name="connsiteX283" fmla="*/ 216400 w 301263"/>
                    <a:gd name="connsiteY283" fmla="*/ 488797 h 500548"/>
                    <a:gd name="connsiteX284" fmla="*/ 215381 w 301263"/>
                    <a:gd name="connsiteY284" fmla="*/ 487916 h 500548"/>
                    <a:gd name="connsiteX285" fmla="*/ 214395 w 301263"/>
                    <a:gd name="connsiteY285" fmla="*/ 488047 h 500548"/>
                    <a:gd name="connsiteX286" fmla="*/ 213352 w 301263"/>
                    <a:gd name="connsiteY286" fmla="*/ 488976 h 500548"/>
                    <a:gd name="connsiteX287" fmla="*/ 211746 w 301263"/>
                    <a:gd name="connsiteY287" fmla="*/ 489563 h 500548"/>
                    <a:gd name="connsiteX288" fmla="*/ 210662 w 301263"/>
                    <a:gd name="connsiteY288" fmla="*/ 489465 h 500548"/>
                    <a:gd name="connsiteX289" fmla="*/ 206278 w 301263"/>
                    <a:gd name="connsiteY289" fmla="*/ 487150 h 500548"/>
                    <a:gd name="connsiteX290" fmla="*/ 205569 w 301263"/>
                    <a:gd name="connsiteY290" fmla="*/ 486922 h 500548"/>
                    <a:gd name="connsiteX291" fmla="*/ 208381 w 301263"/>
                    <a:gd name="connsiteY291" fmla="*/ 481633 h 500548"/>
                    <a:gd name="connsiteX292" fmla="*/ 213409 w 301263"/>
                    <a:gd name="connsiteY292" fmla="*/ 472155 h 500548"/>
                    <a:gd name="connsiteX293" fmla="*/ 216612 w 301263"/>
                    <a:gd name="connsiteY293" fmla="*/ 466140 h 500548"/>
                    <a:gd name="connsiteX294" fmla="*/ 220157 w 301263"/>
                    <a:gd name="connsiteY294" fmla="*/ 459449 h 500548"/>
                    <a:gd name="connsiteX295" fmla="*/ 221974 w 301263"/>
                    <a:gd name="connsiteY295" fmla="*/ 456035 h 500548"/>
                    <a:gd name="connsiteX296" fmla="*/ 222203 w 301263"/>
                    <a:gd name="connsiteY296" fmla="*/ 455456 h 500548"/>
                    <a:gd name="connsiteX297" fmla="*/ 222194 w 301263"/>
                    <a:gd name="connsiteY297" fmla="*/ 454592 h 500548"/>
                    <a:gd name="connsiteX298" fmla="*/ 221428 w 301263"/>
                    <a:gd name="connsiteY298" fmla="*/ 453288 h 500548"/>
                    <a:gd name="connsiteX299" fmla="*/ 219725 w 301263"/>
                    <a:gd name="connsiteY299" fmla="*/ 452742 h 500548"/>
                    <a:gd name="connsiteX300" fmla="*/ 217745 w 301263"/>
                    <a:gd name="connsiteY300" fmla="*/ 451748 h 500548"/>
                    <a:gd name="connsiteX301" fmla="*/ 216498 w 301263"/>
                    <a:gd name="connsiteY301" fmla="*/ 450134 h 500548"/>
                    <a:gd name="connsiteX302" fmla="*/ 214778 w 301263"/>
                    <a:gd name="connsiteY302" fmla="*/ 449425 h 500548"/>
                    <a:gd name="connsiteX303" fmla="*/ 213433 w 301263"/>
                    <a:gd name="connsiteY303" fmla="*/ 448276 h 500548"/>
                    <a:gd name="connsiteX304" fmla="*/ 210988 w 301263"/>
                    <a:gd name="connsiteY304" fmla="*/ 447143 h 500548"/>
                    <a:gd name="connsiteX305" fmla="*/ 209513 w 301263"/>
                    <a:gd name="connsiteY305" fmla="*/ 446100 h 500548"/>
                    <a:gd name="connsiteX306" fmla="*/ 207729 w 301263"/>
                    <a:gd name="connsiteY306" fmla="*/ 445725 h 500548"/>
                    <a:gd name="connsiteX307" fmla="*/ 206311 w 301263"/>
                    <a:gd name="connsiteY307" fmla="*/ 443826 h 500548"/>
                    <a:gd name="connsiteX308" fmla="*/ 201119 w 301263"/>
                    <a:gd name="connsiteY308" fmla="*/ 440118 h 500548"/>
                    <a:gd name="connsiteX309" fmla="*/ 199774 w 301263"/>
                    <a:gd name="connsiteY309" fmla="*/ 439768 h 500548"/>
                    <a:gd name="connsiteX310" fmla="*/ 198324 w 301263"/>
                    <a:gd name="connsiteY310" fmla="*/ 440330 h 500548"/>
                    <a:gd name="connsiteX311" fmla="*/ 196189 w 301263"/>
                    <a:gd name="connsiteY311" fmla="*/ 440925 h 500548"/>
                    <a:gd name="connsiteX312" fmla="*/ 194127 w 301263"/>
                    <a:gd name="connsiteY312" fmla="*/ 442946 h 500548"/>
                    <a:gd name="connsiteX313" fmla="*/ 191560 w 301263"/>
                    <a:gd name="connsiteY313" fmla="*/ 443598 h 500548"/>
                    <a:gd name="connsiteX314" fmla="*/ 189163 w 301263"/>
                    <a:gd name="connsiteY314" fmla="*/ 443582 h 500548"/>
                    <a:gd name="connsiteX315" fmla="*/ 187908 w 301263"/>
                    <a:gd name="connsiteY315" fmla="*/ 442367 h 500548"/>
                    <a:gd name="connsiteX316" fmla="*/ 186702 w 301263"/>
                    <a:gd name="connsiteY316" fmla="*/ 441927 h 500548"/>
                    <a:gd name="connsiteX317" fmla="*/ 185129 w 301263"/>
                    <a:gd name="connsiteY317" fmla="*/ 440281 h 500548"/>
                    <a:gd name="connsiteX318" fmla="*/ 182358 w 301263"/>
                    <a:gd name="connsiteY318" fmla="*/ 439026 h 500548"/>
                    <a:gd name="connsiteX319" fmla="*/ 180345 w 301263"/>
                    <a:gd name="connsiteY319" fmla="*/ 438154 h 500548"/>
                    <a:gd name="connsiteX320" fmla="*/ 179099 w 301263"/>
                    <a:gd name="connsiteY320" fmla="*/ 438553 h 500548"/>
                    <a:gd name="connsiteX321" fmla="*/ 177501 w 301263"/>
                    <a:gd name="connsiteY321" fmla="*/ 440403 h 500548"/>
                    <a:gd name="connsiteX322" fmla="*/ 175888 w 301263"/>
                    <a:gd name="connsiteY322" fmla="*/ 442229 h 500548"/>
                    <a:gd name="connsiteX323" fmla="*/ 174600 w 301263"/>
                    <a:gd name="connsiteY323" fmla="*/ 443370 h 500548"/>
                    <a:gd name="connsiteX324" fmla="*/ 172880 w 301263"/>
                    <a:gd name="connsiteY324" fmla="*/ 443313 h 500548"/>
                    <a:gd name="connsiteX325" fmla="*/ 170818 w 301263"/>
                    <a:gd name="connsiteY325" fmla="*/ 444984 h 500548"/>
                    <a:gd name="connsiteX326" fmla="*/ 168797 w 301263"/>
                    <a:gd name="connsiteY326" fmla="*/ 445570 h 500548"/>
                    <a:gd name="connsiteX327" fmla="*/ 166760 w 301263"/>
                    <a:gd name="connsiteY327" fmla="*/ 445839 h 500548"/>
                    <a:gd name="connsiteX328" fmla="*/ 164405 w 301263"/>
                    <a:gd name="connsiteY328" fmla="*/ 446434 h 500548"/>
                    <a:gd name="connsiteX329" fmla="*/ 161797 w 301263"/>
                    <a:gd name="connsiteY329" fmla="*/ 445415 h 500548"/>
                    <a:gd name="connsiteX330" fmla="*/ 159661 w 301263"/>
                    <a:gd name="connsiteY330" fmla="*/ 444519 h 500548"/>
                    <a:gd name="connsiteX331" fmla="*/ 158708 w 301263"/>
                    <a:gd name="connsiteY331" fmla="*/ 444112 h 500548"/>
                    <a:gd name="connsiteX332" fmla="*/ 157844 w 301263"/>
                    <a:gd name="connsiteY332" fmla="*/ 444397 h 500548"/>
                    <a:gd name="connsiteX333" fmla="*/ 156508 w 301263"/>
                    <a:gd name="connsiteY333" fmla="*/ 445318 h 500548"/>
                    <a:gd name="connsiteX334" fmla="*/ 154103 w 301263"/>
                    <a:gd name="connsiteY334" fmla="*/ 445725 h 500548"/>
                    <a:gd name="connsiteX335" fmla="*/ 152221 w 301263"/>
                    <a:gd name="connsiteY335" fmla="*/ 445823 h 500548"/>
                    <a:gd name="connsiteX336" fmla="*/ 150884 w 301263"/>
                    <a:gd name="connsiteY336" fmla="*/ 445383 h 500548"/>
                    <a:gd name="connsiteX337" fmla="*/ 149678 w 301263"/>
                    <a:gd name="connsiteY337" fmla="*/ 443753 h 500548"/>
                    <a:gd name="connsiteX338" fmla="*/ 147730 w 301263"/>
                    <a:gd name="connsiteY338" fmla="*/ 442922 h 500548"/>
                    <a:gd name="connsiteX339" fmla="*/ 145595 w 301263"/>
                    <a:gd name="connsiteY339" fmla="*/ 441911 h 500548"/>
                    <a:gd name="connsiteX340" fmla="*/ 145139 w 301263"/>
                    <a:gd name="connsiteY340" fmla="*/ 439817 h 500548"/>
                    <a:gd name="connsiteX341" fmla="*/ 145448 w 301263"/>
                    <a:gd name="connsiteY341" fmla="*/ 438252 h 500548"/>
                    <a:gd name="connsiteX342" fmla="*/ 146288 w 301263"/>
                    <a:gd name="connsiteY342" fmla="*/ 436011 h 500548"/>
                    <a:gd name="connsiteX343" fmla="*/ 145823 w 301263"/>
                    <a:gd name="connsiteY343" fmla="*/ 433688 h 500548"/>
                    <a:gd name="connsiteX344" fmla="*/ 144927 w 301263"/>
                    <a:gd name="connsiteY344" fmla="*/ 430004 h 500548"/>
                    <a:gd name="connsiteX345" fmla="*/ 144544 w 301263"/>
                    <a:gd name="connsiteY345" fmla="*/ 428497 h 500548"/>
                    <a:gd name="connsiteX346" fmla="*/ 143875 w 301263"/>
                    <a:gd name="connsiteY346" fmla="*/ 427225 h 500548"/>
                    <a:gd name="connsiteX347" fmla="*/ 142816 w 301263"/>
                    <a:gd name="connsiteY347" fmla="*/ 426753 h 500548"/>
                    <a:gd name="connsiteX348" fmla="*/ 140754 w 301263"/>
                    <a:gd name="connsiteY348" fmla="*/ 427111 h 500548"/>
                    <a:gd name="connsiteX349" fmla="*/ 138505 w 301263"/>
                    <a:gd name="connsiteY349" fmla="*/ 425718 h 500548"/>
                    <a:gd name="connsiteX350" fmla="*/ 137119 w 301263"/>
                    <a:gd name="connsiteY350" fmla="*/ 424389 h 500548"/>
                    <a:gd name="connsiteX351" fmla="*/ 136410 w 301263"/>
                    <a:gd name="connsiteY351" fmla="*/ 422767 h 500548"/>
                    <a:gd name="connsiteX352" fmla="*/ 137176 w 301263"/>
                    <a:gd name="connsiteY352" fmla="*/ 419711 h 500548"/>
                    <a:gd name="connsiteX353" fmla="*/ 136500 w 301263"/>
                    <a:gd name="connsiteY353" fmla="*/ 417111 h 500548"/>
                    <a:gd name="connsiteX354" fmla="*/ 135155 w 301263"/>
                    <a:gd name="connsiteY354" fmla="*/ 415653 h 500548"/>
                    <a:gd name="connsiteX355" fmla="*/ 134291 w 301263"/>
                    <a:gd name="connsiteY355" fmla="*/ 413110 h 500548"/>
                    <a:gd name="connsiteX356" fmla="*/ 132955 w 301263"/>
                    <a:gd name="connsiteY356" fmla="*/ 411089 h 500548"/>
                    <a:gd name="connsiteX357" fmla="*/ 131178 w 301263"/>
                    <a:gd name="connsiteY357" fmla="*/ 410054 h 500548"/>
                    <a:gd name="connsiteX358" fmla="*/ 129410 w 301263"/>
                    <a:gd name="connsiteY358" fmla="*/ 410176 h 500548"/>
                    <a:gd name="connsiteX359" fmla="*/ 128024 w 301263"/>
                    <a:gd name="connsiteY359" fmla="*/ 409532 h 500548"/>
                    <a:gd name="connsiteX360" fmla="*/ 126443 w 301263"/>
                    <a:gd name="connsiteY360" fmla="*/ 407389 h 500548"/>
                    <a:gd name="connsiteX361" fmla="*/ 124960 w 301263"/>
                    <a:gd name="connsiteY361" fmla="*/ 406590 h 500548"/>
                    <a:gd name="connsiteX362" fmla="*/ 123281 w 301263"/>
                    <a:gd name="connsiteY362" fmla="*/ 404504 h 500548"/>
                    <a:gd name="connsiteX363" fmla="*/ 120152 w 301263"/>
                    <a:gd name="connsiteY363" fmla="*/ 403575 h 500548"/>
                    <a:gd name="connsiteX364" fmla="*/ 118522 w 301263"/>
                    <a:gd name="connsiteY364" fmla="*/ 402752 h 500548"/>
                    <a:gd name="connsiteX365" fmla="*/ 117593 w 301263"/>
                    <a:gd name="connsiteY365" fmla="*/ 401480 h 500548"/>
                    <a:gd name="connsiteX366" fmla="*/ 116346 w 301263"/>
                    <a:gd name="connsiteY366" fmla="*/ 399174 h 500548"/>
                    <a:gd name="connsiteX367" fmla="*/ 116484 w 301263"/>
                    <a:gd name="connsiteY367" fmla="*/ 397911 h 500548"/>
                    <a:gd name="connsiteX368" fmla="*/ 115873 w 301263"/>
                    <a:gd name="connsiteY368" fmla="*/ 396656 h 500548"/>
                    <a:gd name="connsiteX369" fmla="*/ 115335 w 301263"/>
                    <a:gd name="connsiteY369" fmla="*/ 394414 h 500548"/>
                    <a:gd name="connsiteX370" fmla="*/ 114267 w 301263"/>
                    <a:gd name="connsiteY370" fmla="*/ 391098 h 500548"/>
                    <a:gd name="connsiteX371" fmla="*/ 113094 w 301263"/>
                    <a:gd name="connsiteY371" fmla="*/ 389215 h 500548"/>
                    <a:gd name="connsiteX372" fmla="*/ 111888 w 301263"/>
                    <a:gd name="connsiteY372" fmla="*/ 387789 h 500548"/>
                    <a:gd name="connsiteX373" fmla="*/ 110869 w 301263"/>
                    <a:gd name="connsiteY373" fmla="*/ 386583 h 500548"/>
                    <a:gd name="connsiteX374" fmla="*/ 109345 w 301263"/>
                    <a:gd name="connsiteY374" fmla="*/ 384798 h 500548"/>
                    <a:gd name="connsiteX375" fmla="*/ 107479 w 301263"/>
                    <a:gd name="connsiteY375" fmla="*/ 383755 h 500548"/>
                    <a:gd name="connsiteX376" fmla="*/ 105898 w 301263"/>
                    <a:gd name="connsiteY376" fmla="*/ 382654 h 500548"/>
                    <a:gd name="connsiteX377" fmla="*/ 105270 w 301263"/>
                    <a:gd name="connsiteY377" fmla="*/ 381033 h 500548"/>
                    <a:gd name="connsiteX378" fmla="*/ 104740 w 301263"/>
                    <a:gd name="connsiteY378" fmla="*/ 379704 h 500548"/>
                    <a:gd name="connsiteX379" fmla="*/ 103852 w 301263"/>
                    <a:gd name="connsiteY379" fmla="*/ 379794 h 500548"/>
                    <a:gd name="connsiteX380" fmla="*/ 102581 w 301263"/>
                    <a:gd name="connsiteY380" fmla="*/ 379680 h 500548"/>
                    <a:gd name="connsiteX381" fmla="*/ 101179 w 301263"/>
                    <a:gd name="connsiteY381" fmla="*/ 379346 h 500548"/>
                    <a:gd name="connsiteX382" fmla="*/ 99696 w 301263"/>
                    <a:gd name="connsiteY382" fmla="*/ 378376 h 500548"/>
                    <a:gd name="connsiteX383" fmla="*/ 98465 w 301263"/>
                    <a:gd name="connsiteY383" fmla="*/ 377202 h 500548"/>
                    <a:gd name="connsiteX384" fmla="*/ 96387 w 301263"/>
                    <a:gd name="connsiteY384" fmla="*/ 375222 h 500548"/>
                    <a:gd name="connsiteX385" fmla="*/ 95254 w 301263"/>
                    <a:gd name="connsiteY385" fmla="*/ 374961 h 500548"/>
                    <a:gd name="connsiteX386" fmla="*/ 94252 w 301263"/>
                    <a:gd name="connsiteY386" fmla="*/ 374961 h 500548"/>
                    <a:gd name="connsiteX387" fmla="*/ 92768 w 301263"/>
                    <a:gd name="connsiteY387" fmla="*/ 376901 h 500548"/>
                    <a:gd name="connsiteX388" fmla="*/ 88319 w 301263"/>
                    <a:gd name="connsiteY388" fmla="*/ 374863 h 500548"/>
                    <a:gd name="connsiteX389" fmla="*/ 84513 w 301263"/>
                    <a:gd name="connsiteY389" fmla="*/ 371823 h 500548"/>
                    <a:gd name="connsiteX390" fmla="*/ 80560 w 301263"/>
                    <a:gd name="connsiteY390" fmla="*/ 371033 h 500548"/>
                    <a:gd name="connsiteX391" fmla="*/ 78001 w 301263"/>
                    <a:gd name="connsiteY391" fmla="*/ 369183 h 500548"/>
                    <a:gd name="connsiteX392" fmla="*/ 75646 w 301263"/>
                    <a:gd name="connsiteY392" fmla="*/ 366290 h 500548"/>
                    <a:gd name="connsiteX393" fmla="*/ 74375 w 301263"/>
                    <a:gd name="connsiteY393" fmla="*/ 364334 h 500548"/>
                    <a:gd name="connsiteX394" fmla="*/ 73339 w 301263"/>
                    <a:gd name="connsiteY394" fmla="*/ 363364 h 500548"/>
                    <a:gd name="connsiteX395" fmla="*/ 68311 w 301263"/>
                    <a:gd name="connsiteY395" fmla="*/ 360552 h 500548"/>
                    <a:gd name="connsiteX396" fmla="*/ 67309 w 301263"/>
                    <a:gd name="connsiteY396" fmla="*/ 360275 h 500548"/>
                    <a:gd name="connsiteX397" fmla="*/ 65402 w 301263"/>
                    <a:gd name="connsiteY397" fmla="*/ 361579 h 500548"/>
                    <a:gd name="connsiteX398" fmla="*/ 64774 w 301263"/>
                    <a:gd name="connsiteY398" fmla="*/ 362362 h 500548"/>
                    <a:gd name="connsiteX399" fmla="*/ 64660 w 301263"/>
                    <a:gd name="connsiteY399" fmla="*/ 364611 h 500548"/>
                    <a:gd name="connsiteX400" fmla="*/ 64424 w 301263"/>
                    <a:gd name="connsiteY400" fmla="*/ 365882 h 500548"/>
                    <a:gd name="connsiteX401" fmla="*/ 62753 w 301263"/>
                    <a:gd name="connsiteY401" fmla="*/ 366657 h 500548"/>
                    <a:gd name="connsiteX402" fmla="*/ 60063 w 301263"/>
                    <a:gd name="connsiteY402" fmla="*/ 366485 h 500548"/>
                    <a:gd name="connsiteX403" fmla="*/ 58197 w 301263"/>
                    <a:gd name="connsiteY403" fmla="*/ 365670 h 500548"/>
                    <a:gd name="connsiteX404" fmla="*/ 56950 w 301263"/>
                    <a:gd name="connsiteY404" fmla="*/ 365556 h 500548"/>
                    <a:gd name="connsiteX405" fmla="*/ 56689 w 301263"/>
                    <a:gd name="connsiteY405" fmla="*/ 366192 h 500548"/>
                    <a:gd name="connsiteX406" fmla="*/ 55989 w 301263"/>
                    <a:gd name="connsiteY406" fmla="*/ 366469 h 500548"/>
                    <a:gd name="connsiteX407" fmla="*/ 54457 w 301263"/>
                    <a:gd name="connsiteY407" fmla="*/ 366290 h 500548"/>
                    <a:gd name="connsiteX408" fmla="*/ 52207 w 301263"/>
                    <a:gd name="connsiteY408" fmla="*/ 365670 h 500548"/>
                    <a:gd name="connsiteX409" fmla="*/ 50170 w 301263"/>
                    <a:gd name="connsiteY409" fmla="*/ 364839 h 500548"/>
                    <a:gd name="connsiteX410" fmla="*/ 47399 w 301263"/>
                    <a:gd name="connsiteY410" fmla="*/ 363079 h 500548"/>
                    <a:gd name="connsiteX411" fmla="*/ 46128 w 301263"/>
                    <a:gd name="connsiteY411" fmla="*/ 363299 h 500548"/>
                    <a:gd name="connsiteX412" fmla="*/ 42974 w 301263"/>
                    <a:gd name="connsiteY412" fmla="*/ 362924 h 500548"/>
                    <a:gd name="connsiteX413" fmla="*/ 40406 w 301263"/>
                    <a:gd name="connsiteY413" fmla="*/ 361921 h 500548"/>
                    <a:gd name="connsiteX414" fmla="*/ 39746 w 301263"/>
                    <a:gd name="connsiteY414" fmla="*/ 360993 h 500548"/>
                    <a:gd name="connsiteX415" fmla="*/ 38630 w 301263"/>
                    <a:gd name="connsiteY415" fmla="*/ 354652 h 500548"/>
                    <a:gd name="connsiteX416" fmla="*/ 38287 w 301263"/>
                    <a:gd name="connsiteY416" fmla="*/ 354220 h 500548"/>
                    <a:gd name="connsiteX417" fmla="*/ 37179 w 301263"/>
                    <a:gd name="connsiteY417" fmla="*/ 353943 h 500548"/>
                    <a:gd name="connsiteX418" fmla="*/ 35313 w 301263"/>
                    <a:gd name="connsiteY418" fmla="*/ 353071 h 500548"/>
                    <a:gd name="connsiteX419" fmla="*/ 34139 w 301263"/>
                    <a:gd name="connsiteY419" fmla="*/ 352052 h 500548"/>
                    <a:gd name="connsiteX420" fmla="*/ 33528 w 301263"/>
                    <a:gd name="connsiteY420" fmla="*/ 350300 h 500548"/>
                    <a:gd name="connsiteX421" fmla="*/ 32795 w 301263"/>
                    <a:gd name="connsiteY421" fmla="*/ 348637 h 500548"/>
                    <a:gd name="connsiteX422" fmla="*/ 29649 w 301263"/>
                    <a:gd name="connsiteY422" fmla="*/ 349004 h 500548"/>
                    <a:gd name="connsiteX423" fmla="*/ 24506 w 301263"/>
                    <a:gd name="connsiteY423" fmla="*/ 346804 h 500548"/>
                    <a:gd name="connsiteX424" fmla="*/ 20937 w 301263"/>
                    <a:gd name="connsiteY424" fmla="*/ 344717 h 500548"/>
                    <a:gd name="connsiteX425" fmla="*/ 17685 w 301263"/>
                    <a:gd name="connsiteY425" fmla="*/ 342395 h 500548"/>
                    <a:gd name="connsiteX426" fmla="*/ 12738 w 301263"/>
                    <a:gd name="connsiteY426" fmla="*/ 337823 h 500548"/>
                    <a:gd name="connsiteX427" fmla="*/ 10847 w 301263"/>
                    <a:gd name="connsiteY427" fmla="*/ 336690 h 500548"/>
                    <a:gd name="connsiteX428" fmla="*/ 8525 w 301263"/>
                    <a:gd name="connsiteY428" fmla="*/ 335288 h 500548"/>
                    <a:gd name="connsiteX429" fmla="*/ 7147 w 301263"/>
                    <a:gd name="connsiteY429" fmla="*/ 333031 h 500548"/>
                    <a:gd name="connsiteX430" fmla="*/ 4873 w 301263"/>
                    <a:gd name="connsiteY430" fmla="*/ 330757 h 500548"/>
                    <a:gd name="connsiteX431" fmla="*/ 4107 w 301263"/>
                    <a:gd name="connsiteY431" fmla="*/ 330138 h 500548"/>
                    <a:gd name="connsiteX432" fmla="*/ 3398 w 301263"/>
                    <a:gd name="connsiteY432" fmla="*/ 328084 h 500548"/>
                    <a:gd name="connsiteX433" fmla="*/ 0 w 301263"/>
                    <a:gd name="connsiteY433" fmla="*/ 325101 h 500548"/>
                    <a:gd name="connsiteX434" fmla="*/ 1679 w 301263"/>
                    <a:gd name="connsiteY434" fmla="*/ 321254 h 500548"/>
                    <a:gd name="connsiteX435" fmla="*/ 5762 w 301263"/>
                    <a:gd name="connsiteY435" fmla="*/ 318361 h 500548"/>
                    <a:gd name="connsiteX436" fmla="*/ 11116 w 301263"/>
                    <a:gd name="connsiteY436" fmla="*/ 320602 h 500548"/>
                    <a:gd name="connsiteX437" fmla="*/ 11776 w 301263"/>
                    <a:gd name="connsiteY437" fmla="*/ 316120 h 500548"/>
                    <a:gd name="connsiteX438" fmla="*/ 9845 w 301263"/>
                    <a:gd name="connsiteY438" fmla="*/ 312143 h 500548"/>
                    <a:gd name="connsiteX439" fmla="*/ 10130 w 301263"/>
                    <a:gd name="connsiteY439" fmla="*/ 304637 h 500548"/>
                    <a:gd name="connsiteX440" fmla="*/ 10758 w 301263"/>
                    <a:gd name="connsiteY440" fmla="*/ 303146 h 500548"/>
                    <a:gd name="connsiteX441" fmla="*/ 12168 w 301263"/>
                    <a:gd name="connsiteY441" fmla="*/ 301141 h 500548"/>
                    <a:gd name="connsiteX442" fmla="*/ 14009 w 301263"/>
                    <a:gd name="connsiteY442" fmla="*/ 299747 h 500548"/>
                    <a:gd name="connsiteX443" fmla="*/ 15093 w 301263"/>
                    <a:gd name="connsiteY443" fmla="*/ 299348 h 500548"/>
                    <a:gd name="connsiteX444" fmla="*/ 16935 w 301263"/>
                    <a:gd name="connsiteY444" fmla="*/ 300032 h 500548"/>
                    <a:gd name="connsiteX445" fmla="*/ 18092 w 301263"/>
                    <a:gd name="connsiteY445" fmla="*/ 298533 h 500548"/>
                    <a:gd name="connsiteX446" fmla="*/ 22461 w 301263"/>
                    <a:gd name="connsiteY446" fmla="*/ 299209 h 500548"/>
                    <a:gd name="connsiteX447" fmla="*/ 23789 w 301263"/>
                    <a:gd name="connsiteY447" fmla="*/ 298582 h 500548"/>
                    <a:gd name="connsiteX448" fmla="*/ 24694 w 301263"/>
                    <a:gd name="connsiteY448" fmla="*/ 297563 h 500548"/>
                    <a:gd name="connsiteX449" fmla="*/ 25761 w 301263"/>
                    <a:gd name="connsiteY449" fmla="*/ 296781 h 500548"/>
                    <a:gd name="connsiteX450" fmla="*/ 27122 w 301263"/>
                    <a:gd name="connsiteY450" fmla="*/ 294980 h 500548"/>
                    <a:gd name="connsiteX451" fmla="*/ 27905 w 301263"/>
                    <a:gd name="connsiteY451" fmla="*/ 292893 h 500548"/>
                    <a:gd name="connsiteX452" fmla="*/ 28557 w 301263"/>
                    <a:gd name="connsiteY452" fmla="*/ 292078 h 500548"/>
                    <a:gd name="connsiteX453" fmla="*/ 30073 w 301263"/>
                    <a:gd name="connsiteY453" fmla="*/ 292372 h 500548"/>
                    <a:gd name="connsiteX454" fmla="*/ 30211 w 301263"/>
                    <a:gd name="connsiteY454" fmla="*/ 291467 h 500548"/>
                    <a:gd name="connsiteX455" fmla="*/ 30985 w 301263"/>
                    <a:gd name="connsiteY455" fmla="*/ 290236 h 500548"/>
                    <a:gd name="connsiteX456" fmla="*/ 33634 w 301263"/>
                    <a:gd name="connsiteY456" fmla="*/ 287498 h 500548"/>
                    <a:gd name="connsiteX457" fmla="*/ 33609 w 301263"/>
                    <a:gd name="connsiteY457" fmla="*/ 286284 h 500548"/>
                    <a:gd name="connsiteX458" fmla="*/ 32868 w 301263"/>
                    <a:gd name="connsiteY458" fmla="*/ 283643 h 500548"/>
                    <a:gd name="connsiteX459" fmla="*/ 33047 w 301263"/>
                    <a:gd name="connsiteY459" fmla="*/ 282673 h 500548"/>
                    <a:gd name="connsiteX460" fmla="*/ 34579 w 301263"/>
                    <a:gd name="connsiteY460" fmla="*/ 282331 h 500548"/>
                    <a:gd name="connsiteX461" fmla="*/ 36389 w 301263"/>
                    <a:gd name="connsiteY461" fmla="*/ 281590 h 500548"/>
                    <a:gd name="connsiteX462" fmla="*/ 37350 w 301263"/>
                    <a:gd name="connsiteY462" fmla="*/ 279063 h 500548"/>
                    <a:gd name="connsiteX463" fmla="*/ 38540 w 301263"/>
                    <a:gd name="connsiteY463" fmla="*/ 276855 h 500548"/>
                    <a:gd name="connsiteX464" fmla="*/ 39901 w 301263"/>
                    <a:gd name="connsiteY464" fmla="*/ 273619 h 500548"/>
                    <a:gd name="connsiteX465" fmla="*/ 41409 w 301263"/>
                    <a:gd name="connsiteY465" fmla="*/ 273415 h 500548"/>
                    <a:gd name="connsiteX466" fmla="*/ 42208 w 301263"/>
                    <a:gd name="connsiteY466" fmla="*/ 269634 h 500548"/>
                    <a:gd name="connsiteX467" fmla="*/ 44237 w 301263"/>
                    <a:gd name="connsiteY467" fmla="*/ 266325 h 500548"/>
                    <a:gd name="connsiteX468" fmla="*/ 48352 w 301263"/>
                    <a:gd name="connsiteY468" fmla="*/ 256488 h 500548"/>
                    <a:gd name="connsiteX469" fmla="*/ 47114 w 301263"/>
                    <a:gd name="connsiteY469" fmla="*/ 256708 h 500548"/>
                    <a:gd name="connsiteX470" fmla="*/ 46128 w 301263"/>
                    <a:gd name="connsiteY470" fmla="*/ 258029 h 500548"/>
                    <a:gd name="connsiteX471" fmla="*/ 45003 w 301263"/>
                    <a:gd name="connsiteY471" fmla="*/ 257874 h 500548"/>
                    <a:gd name="connsiteX472" fmla="*/ 43723 w 301263"/>
                    <a:gd name="connsiteY472" fmla="*/ 257100 h 500548"/>
                    <a:gd name="connsiteX473" fmla="*/ 44106 w 301263"/>
                    <a:gd name="connsiteY473" fmla="*/ 252674 h 500548"/>
                    <a:gd name="connsiteX474" fmla="*/ 43373 w 301263"/>
                    <a:gd name="connsiteY474" fmla="*/ 252153 h 500548"/>
                    <a:gd name="connsiteX475" fmla="*/ 41384 w 301263"/>
                    <a:gd name="connsiteY475" fmla="*/ 255559 h 500548"/>
                    <a:gd name="connsiteX476" fmla="*/ 39673 w 301263"/>
                    <a:gd name="connsiteY476" fmla="*/ 252096 h 500548"/>
                    <a:gd name="connsiteX477" fmla="*/ 39518 w 301263"/>
                    <a:gd name="connsiteY477" fmla="*/ 249985 h 500548"/>
                    <a:gd name="connsiteX478" fmla="*/ 40235 w 301263"/>
                    <a:gd name="connsiteY478" fmla="*/ 247890 h 500548"/>
                    <a:gd name="connsiteX479" fmla="*/ 40137 w 301263"/>
                    <a:gd name="connsiteY479" fmla="*/ 246481 h 500548"/>
                    <a:gd name="connsiteX480" fmla="*/ 37358 w 301263"/>
                    <a:gd name="connsiteY480" fmla="*/ 247532 h 500548"/>
                    <a:gd name="connsiteX481" fmla="*/ 37489 w 301263"/>
                    <a:gd name="connsiteY481" fmla="*/ 246228 h 500548"/>
                    <a:gd name="connsiteX482" fmla="*/ 39217 w 301263"/>
                    <a:gd name="connsiteY482" fmla="*/ 244875 h 500548"/>
                    <a:gd name="connsiteX483" fmla="*/ 39999 w 301263"/>
                    <a:gd name="connsiteY483" fmla="*/ 243481 h 500548"/>
                    <a:gd name="connsiteX484" fmla="*/ 41507 w 301263"/>
                    <a:gd name="connsiteY484" fmla="*/ 241957 h 500548"/>
                    <a:gd name="connsiteX485" fmla="*/ 42134 w 301263"/>
                    <a:gd name="connsiteY485" fmla="*/ 239659 h 500548"/>
                    <a:gd name="connsiteX486" fmla="*/ 42493 w 301263"/>
                    <a:gd name="connsiteY486" fmla="*/ 236098 h 500548"/>
                    <a:gd name="connsiteX487" fmla="*/ 43169 w 301263"/>
                    <a:gd name="connsiteY487" fmla="*/ 232259 h 500548"/>
                    <a:gd name="connsiteX488" fmla="*/ 42664 w 301263"/>
                    <a:gd name="connsiteY488" fmla="*/ 230377 h 500548"/>
                    <a:gd name="connsiteX489" fmla="*/ 41849 w 301263"/>
                    <a:gd name="connsiteY489" fmla="*/ 228763 h 500548"/>
                    <a:gd name="connsiteX490" fmla="*/ 41172 w 301263"/>
                    <a:gd name="connsiteY490" fmla="*/ 221624 h 500548"/>
                    <a:gd name="connsiteX491" fmla="*/ 41360 w 301263"/>
                    <a:gd name="connsiteY491" fmla="*/ 217468 h 500548"/>
                    <a:gd name="connsiteX492" fmla="*/ 41010 w 301263"/>
                    <a:gd name="connsiteY492" fmla="*/ 214208 h 500548"/>
                    <a:gd name="connsiteX493" fmla="*/ 40309 w 301263"/>
                    <a:gd name="connsiteY493" fmla="*/ 211445 h 500548"/>
                    <a:gd name="connsiteX494" fmla="*/ 37008 w 301263"/>
                    <a:gd name="connsiteY494" fmla="*/ 207818 h 500548"/>
                    <a:gd name="connsiteX495" fmla="*/ 42224 w 301263"/>
                    <a:gd name="connsiteY495" fmla="*/ 203662 h 500548"/>
                    <a:gd name="connsiteX496" fmla="*/ 44090 w 301263"/>
                    <a:gd name="connsiteY496" fmla="*/ 200516 h 500548"/>
                    <a:gd name="connsiteX497" fmla="*/ 41718 w 301263"/>
                    <a:gd name="connsiteY497" fmla="*/ 194062 h 500548"/>
                    <a:gd name="connsiteX498" fmla="*/ 38622 w 301263"/>
                    <a:gd name="connsiteY498" fmla="*/ 188618 h 500548"/>
                    <a:gd name="connsiteX499" fmla="*/ 38532 w 301263"/>
                    <a:gd name="connsiteY499" fmla="*/ 185349 h 500548"/>
                    <a:gd name="connsiteX500" fmla="*/ 39355 w 301263"/>
                    <a:gd name="connsiteY500" fmla="*/ 185765 h 500548"/>
                    <a:gd name="connsiteX501" fmla="*/ 40390 w 301263"/>
                    <a:gd name="connsiteY501" fmla="*/ 185667 h 500548"/>
                    <a:gd name="connsiteX502" fmla="*/ 41335 w 301263"/>
                    <a:gd name="connsiteY502" fmla="*/ 178773 h 500548"/>
                    <a:gd name="connsiteX503" fmla="*/ 41116 w 301263"/>
                    <a:gd name="connsiteY503" fmla="*/ 176637 h 500548"/>
                    <a:gd name="connsiteX504" fmla="*/ 39380 w 301263"/>
                    <a:gd name="connsiteY504" fmla="*/ 173190 h 500548"/>
                    <a:gd name="connsiteX505" fmla="*/ 37220 w 301263"/>
                    <a:gd name="connsiteY505" fmla="*/ 173108 h 500548"/>
                    <a:gd name="connsiteX506" fmla="*/ 35329 w 301263"/>
                    <a:gd name="connsiteY506" fmla="*/ 168781 h 500548"/>
                    <a:gd name="connsiteX507" fmla="*/ 34245 w 301263"/>
                    <a:gd name="connsiteY507" fmla="*/ 167803 h 500548"/>
                    <a:gd name="connsiteX508" fmla="*/ 33381 w 301263"/>
                    <a:gd name="connsiteY508" fmla="*/ 165081 h 500548"/>
                    <a:gd name="connsiteX509" fmla="*/ 30333 w 301263"/>
                    <a:gd name="connsiteY509" fmla="*/ 159767 h 500548"/>
                    <a:gd name="connsiteX510" fmla="*/ 27921 w 301263"/>
                    <a:gd name="connsiteY510" fmla="*/ 157005 h 500548"/>
                    <a:gd name="connsiteX511" fmla="*/ 29730 w 301263"/>
                    <a:gd name="connsiteY511" fmla="*/ 150583 h 500548"/>
                    <a:gd name="connsiteX512" fmla="*/ 31303 w 301263"/>
                    <a:gd name="connsiteY512" fmla="*/ 149360 h 500548"/>
                    <a:gd name="connsiteX513" fmla="*/ 31816 w 301263"/>
                    <a:gd name="connsiteY513" fmla="*/ 147763 h 500548"/>
                    <a:gd name="connsiteX514" fmla="*/ 31205 w 301263"/>
                    <a:gd name="connsiteY514" fmla="*/ 143818 h 500548"/>
                    <a:gd name="connsiteX515" fmla="*/ 31377 w 301263"/>
                    <a:gd name="connsiteY515" fmla="*/ 142897 h 500548"/>
                    <a:gd name="connsiteX516" fmla="*/ 31743 w 301263"/>
                    <a:gd name="connsiteY516" fmla="*/ 142506 h 500548"/>
                    <a:gd name="connsiteX517" fmla="*/ 32110 w 301263"/>
                    <a:gd name="connsiteY517" fmla="*/ 142531 h 500548"/>
                    <a:gd name="connsiteX518" fmla="*/ 32746 w 301263"/>
                    <a:gd name="connsiteY518" fmla="*/ 143126 h 500548"/>
                    <a:gd name="connsiteX519" fmla="*/ 33927 w 301263"/>
                    <a:gd name="connsiteY519" fmla="*/ 144829 h 500548"/>
                    <a:gd name="connsiteX520" fmla="*/ 34922 w 301263"/>
                    <a:gd name="connsiteY520" fmla="*/ 146931 h 500548"/>
                    <a:gd name="connsiteX521" fmla="*/ 35720 w 301263"/>
                    <a:gd name="connsiteY521" fmla="*/ 147584 h 500548"/>
                    <a:gd name="connsiteX522" fmla="*/ 36910 w 301263"/>
                    <a:gd name="connsiteY522" fmla="*/ 146883 h 500548"/>
                    <a:gd name="connsiteX523" fmla="*/ 41564 w 301263"/>
                    <a:gd name="connsiteY523" fmla="*/ 142685 h 500548"/>
                    <a:gd name="connsiteX524" fmla="*/ 41262 w 301263"/>
                    <a:gd name="connsiteY524" fmla="*/ 141381 h 500548"/>
                    <a:gd name="connsiteX525" fmla="*/ 41686 w 301263"/>
                    <a:gd name="connsiteY525" fmla="*/ 138757 h 500548"/>
                    <a:gd name="connsiteX526" fmla="*/ 43242 w 301263"/>
                    <a:gd name="connsiteY526" fmla="*/ 136598 h 500548"/>
                    <a:gd name="connsiteX527" fmla="*/ 44905 w 301263"/>
                    <a:gd name="connsiteY527" fmla="*/ 135864 h 500548"/>
                    <a:gd name="connsiteX528" fmla="*/ 45402 w 301263"/>
                    <a:gd name="connsiteY528" fmla="*/ 134666 h 500548"/>
                    <a:gd name="connsiteX529" fmla="*/ 44995 w 301263"/>
                    <a:gd name="connsiteY529" fmla="*/ 132816 h 500548"/>
                    <a:gd name="connsiteX530" fmla="*/ 43251 w 301263"/>
                    <a:gd name="connsiteY530" fmla="*/ 128212 h 500548"/>
                    <a:gd name="connsiteX531" fmla="*/ 41686 w 301263"/>
                    <a:gd name="connsiteY531" fmla="*/ 125734 h 500548"/>
                    <a:gd name="connsiteX532" fmla="*/ 40684 w 301263"/>
                    <a:gd name="connsiteY532" fmla="*/ 123265 h 500548"/>
                    <a:gd name="connsiteX533" fmla="*/ 40154 w 301263"/>
                    <a:gd name="connsiteY533" fmla="*/ 120991 h 500548"/>
                    <a:gd name="connsiteX534" fmla="*/ 38385 w 301263"/>
                    <a:gd name="connsiteY534" fmla="*/ 118848 h 500548"/>
                    <a:gd name="connsiteX535" fmla="*/ 39135 w 301263"/>
                    <a:gd name="connsiteY535" fmla="*/ 116818 h 500548"/>
                    <a:gd name="connsiteX536" fmla="*/ 40504 w 301263"/>
                    <a:gd name="connsiteY536" fmla="*/ 114447 h 500548"/>
                    <a:gd name="connsiteX537" fmla="*/ 40969 w 301263"/>
                    <a:gd name="connsiteY537" fmla="*/ 114039 h 500548"/>
                    <a:gd name="connsiteX538" fmla="*/ 41718 w 301263"/>
                    <a:gd name="connsiteY538" fmla="*/ 114691 h 500548"/>
                    <a:gd name="connsiteX539" fmla="*/ 43764 w 301263"/>
                    <a:gd name="connsiteY539" fmla="*/ 118986 h 500548"/>
                    <a:gd name="connsiteX540" fmla="*/ 47024 w 301263"/>
                    <a:gd name="connsiteY540" fmla="*/ 121790 h 500548"/>
                    <a:gd name="connsiteX541" fmla="*/ 50439 w 301263"/>
                    <a:gd name="connsiteY541" fmla="*/ 126313 h 500548"/>
                    <a:gd name="connsiteX542" fmla="*/ 51840 w 301263"/>
                    <a:gd name="connsiteY542" fmla="*/ 129426 h 500548"/>
                    <a:gd name="connsiteX543" fmla="*/ 52949 w 301263"/>
                    <a:gd name="connsiteY543" fmla="*/ 129988 h 500548"/>
                    <a:gd name="connsiteX544" fmla="*/ 53919 w 301263"/>
                    <a:gd name="connsiteY544" fmla="*/ 131113 h 500548"/>
                    <a:gd name="connsiteX545" fmla="*/ 53495 w 301263"/>
                    <a:gd name="connsiteY545" fmla="*/ 131952 h 500548"/>
                    <a:gd name="connsiteX546" fmla="*/ 52427 w 301263"/>
                    <a:gd name="connsiteY546" fmla="*/ 132833 h 500548"/>
                    <a:gd name="connsiteX547" fmla="*/ 52117 w 301263"/>
                    <a:gd name="connsiteY547" fmla="*/ 134642 h 500548"/>
                    <a:gd name="connsiteX548" fmla="*/ 52810 w 301263"/>
                    <a:gd name="connsiteY548" fmla="*/ 135660 h 500548"/>
                    <a:gd name="connsiteX549" fmla="*/ 53544 w 301263"/>
                    <a:gd name="connsiteY549" fmla="*/ 136313 h 500548"/>
                    <a:gd name="connsiteX550" fmla="*/ 55532 w 301263"/>
                    <a:gd name="connsiteY550" fmla="*/ 135897 h 500548"/>
                    <a:gd name="connsiteX551" fmla="*/ 56633 w 301263"/>
                    <a:gd name="connsiteY551" fmla="*/ 133778 h 500548"/>
                    <a:gd name="connsiteX552" fmla="*/ 55899 w 301263"/>
                    <a:gd name="connsiteY552" fmla="*/ 124504 h 500548"/>
                    <a:gd name="connsiteX553" fmla="*/ 54742 w 301263"/>
                    <a:gd name="connsiteY553" fmla="*/ 119866 h 500548"/>
                    <a:gd name="connsiteX554" fmla="*/ 53413 w 301263"/>
                    <a:gd name="connsiteY554" fmla="*/ 118416 h 500548"/>
                    <a:gd name="connsiteX555" fmla="*/ 52215 w 301263"/>
                    <a:gd name="connsiteY555" fmla="*/ 116582 h 500548"/>
                    <a:gd name="connsiteX556" fmla="*/ 53022 w 301263"/>
                    <a:gd name="connsiteY556" fmla="*/ 115197 h 500548"/>
                    <a:gd name="connsiteX557" fmla="*/ 55149 w 301263"/>
                    <a:gd name="connsiteY557" fmla="*/ 114569 h 500548"/>
                    <a:gd name="connsiteX558" fmla="*/ 57953 w 301263"/>
                    <a:gd name="connsiteY558" fmla="*/ 112939 h 500548"/>
                    <a:gd name="connsiteX559" fmla="*/ 68181 w 301263"/>
                    <a:gd name="connsiteY559" fmla="*/ 104072 h 500548"/>
                    <a:gd name="connsiteX560" fmla="*/ 71685 w 301263"/>
                    <a:gd name="connsiteY560" fmla="*/ 95743 h 500548"/>
                    <a:gd name="connsiteX561" fmla="*/ 74375 w 301263"/>
                    <a:gd name="connsiteY561" fmla="*/ 92720 h 500548"/>
                    <a:gd name="connsiteX562" fmla="*/ 77406 w 301263"/>
                    <a:gd name="connsiteY562" fmla="*/ 90756 h 500548"/>
                    <a:gd name="connsiteX563" fmla="*/ 81114 w 301263"/>
                    <a:gd name="connsiteY563" fmla="*/ 91220 h 500548"/>
                    <a:gd name="connsiteX564" fmla="*/ 83999 w 301263"/>
                    <a:gd name="connsiteY564" fmla="*/ 90169 h 500548"/>
                    <a:gd name="connsiteX565" fmla="*/ 84880 w 301263"/>
                    <a:gd name="connsiteY565" fmla="*/ 87512 h 500548"/>
                    <a:gd name="connsiteX566" fmla="*/ 84097 w 301263"/>
                    <a:gd name="connsiteY566" fmla="*/ 83910 h 500548"/>
                    <a:gd name="connsiteX567" fmla="*/ 82989 w 301263"/>
                    <a:gd name="connsiteY567" fmla="*/ 81734 h 500548"/>
                    <a:gd name="connsiteX568" fmla="*/ 84048 w 301263"/>
                    <a:gd name="connsiteY568" fmla="*/ 78588 h 500548"/>
                    <a:gd name="connsiteX569" fmla="*/ 85157 w 301263"/>
                    <a:gd name="connsiteY569" fmla="*/ 73804 h 500548"/>
                    <a:gd name="connsiteX570" fmla="*/ 85075 w 301263"/>
                    <a:gd name="connsiteY570" fmla="*/ 69794 h 500548"/>
                    <a:gd name="connsiteX571" fmla="*/ 86493 w 301263"/>
                    <a:gd name="connsiteY571" fmla="*/ 67398 h 500548"/>
                    <a:gd name="connsiteX572" fmla="*/ 86004 w 301263"/>
                    <a:gd name="connsiteY572" fmla="*/ 66453 h 500548"/>
                    <a:gd name="connsiteX573" fmla="*/ 83926 w 301263"/>
                    <a:gd name="connsiteY573" fmla="*/ 68393 h 500548"/>
                    <a:gd name="connsiteX574" fmla="*/ 82288 w 301263"/>
                    <a:gd name="connsiteY574" fmla="*/ 69265 h 500548"/>
                    <a:gd name="connsiteX575" fmla="*/ 83217 w 301263"/>
                    <a:gd name="connsiteY575" fmla="*/ 67667 h 500548"/>
                    <a:gd name="connsiteX576" fmla="*/ 86118 w 301263"/>
                    <a:gd name="connsiteY576" fmla="*/ 63707 h 500548"/>
                    <a:gd name="connsiteX577" fmla="*/ 87634 w 301263"/>
                    <a:gd name="connsiteY577" fmla="*/ 57668 h 500548"/>
                    <a:gd name="connsiteX578" fmla="*/ 88791 w 301263"/>
                    <a:gd name="connsiteY578" fmla="*/ 55149 h 500548"/>
                    <a:gd name="connsiteX579" fmla="*/ 92891 w 301263"/>
                    <a:gd name="connsiteY579" fmla="*/ 51637 h 500548"/>
                    <a:gd name="connsiteX580" fmla="*/ 93706 w 301263"/>
                    <a:gd name="connsiteY580" fmla="*/ 49941 h 500548"/>
                    <a:gd name="connsiteX581" fmla="*/ 96794 w 301263"/>
                    <a:gd name="connsiteY581" fmla="*/ 47309 h 500548"/>
                    <a:gd name="connsiteX582" fmla="*/ 101790 w 301263"/>
                    <a:gd name="connsiteY582" fmla="*/ 41653 h 500548"/>
                    <a:gd name="connsiteX583" fmla="*/ 103697 w 301263"/>
                    <a:gd name="connsiteY583" fmla="*/ 40080 h 500548"/>
                    <a:gd name="connsiteX584" fmla="*/ 113379 w 301263"/>
                    <a:gd name="connsiteY584" fmla="*/ 43723 h 500548"/>
                    <a:gd name="connsiteX585" fmla="*/ 116452 w 301263"/>
                    <a:gd name="connsiteY585" fmla="*/ 43495 h 500548"/>
                    <a:gd name="connsiteX586" fmla="*/ 115906 w 301263"/>
                    <a:gd name="connsiteY586" fmla="*/ 44163 h 500548"/>
                    <a:gd name="connsiteX587" fmla="*/ 114487 w 301263"/>
                    <a:gd name="connsiteY587" fmla="*/ 44384 h 500548"/>
                    <a:gd name="connsiteX588" fmla="*/ 112442 w 301263"/>
                    <a:gd name="connsiteY588" fmla="*/ 45370 h 500548"/>
                    <a:gd name="connsiteX589" fmla="*/ 111847 w 301263"/>
                    <a:gd name="connsiteY589" fmla="*/ 47546 h 500548"/>
                    <a:gd name="connsiteX590" fmla="*/ 113232 w 301263"/>
                    <a:gd name="connsiteY590" fmla="*/ 49819 h 500548"/>
                    <a:gd name="connsiteX591" fmla="*/ 114708 w 301263"/>
                    <a:gd name="connsiteY591" fmla="*/ 50488 h 500548"/>
                    <a:gd name="connsiteX592" fmla="*/ 115963 w 301263"/>
                    <a:gd name="connsiteY592" fmla="*/ 49021 h 500548"/>
                    <a:gd name="connsiteX593" fmla="*/ 117209 w 301263"/>
                    <a:gd name="connsiteY593" fmla="*/ 44832 h 500548"/>
                    <a:gd name="connsiteX594" fmla="*/ 119214 w 301263"/>
                    <a:gd name="connsiteY594" fmla="*/ 40211 h 500548"/>
                    <a:gd name="connsiteX595" fmla="*/ 119679 w 301263"/>
                    <a:gd name="connsiteY595" fmla="*/ 35362 h 500548"/>
                    <a:gd name="connsiteX596" fmla="*/ 121097 w 301263"/>
                    <a:gd name="connsiteY596" fmla="*/ 33699 h 500548"/>
                    <a:gd name="connsiteX597" fmla="*/ 123175 w 301263"/>
                    <a:gd name="connsiteY597" fmla="*/ 33096 h 500548"/>
                    <a:gd name="connsiteX598" fmla="*/ 126891 w 301263"/>
                    <a:gd name="connsiteY598" fmla="*/ 34050 h 500548"/>
                    <a:gd name="connsiteX599" fmla="*/ 129719 w 301263"/>
                    <a:gd name="connsiteY599" fmla="*/ 35060 h 500548"/>
                    <a:gd name="connsiteX600" fmla="*/ 132661 w 301263"/>
                    <a:gd name="connsiteY600" fmla="*/ 35190 h 500548"/>
                    <a:gd name="connsiteX601" fmla="*/ 141683 w 301263"/>
                    <a:gd name="connsiteY601" fmla="*/ 34457 h 500548"/>
                    <a:gd name="connsiteX602" fmla="*/ 156353 w 301263"/>
                    <a:gd name="connsiteY602" fmla="*/ 21866 h 500548"/>
                    <a:gd name="connsiteX603" fmla="*/ 163166 w 301263"/>
                    <a:gd name="connsiteY603" fmla="*/ 19152 h 500548"/>
                    <a:gd name="connsiteX604" fmla="*/ 167428 w 301263"/>
                    <a:gd name="connsiteY604" fmla="*/ 16511 h 500548"/>
                    <a:gd name="connsiteX605" fmla="*/ 170150 w 301263"/>
                    <a:gd name="connsiteY605" fmla="*/ 11336 h 500548"/>
                    <a:gd name="connsiteX606" fmla="*/ 170884 w 301263"/>
                    <a:gd name="connsiteY606" fmla="*/ 7449 h 500548"/>
                    <a:gd name="connsiteX607" fmla="*/ 172880 w 301263"/>
                    <a:gd name="connsiteY607" fmla="*/ 5933 h 500548"/>
                    <a:gd name="connsiteX608" fmla="*/ 174991 w 301263"/>
                    <a:gd name="connsiteY608" fmla="*/ 5933 h 500548"/>
                    <a:gd name="connsiteX609" fmla="*/ 175953 w 301263"/>
                    <a:gd name="connsiteY609" fmla="*/ 4988 h 500548"/>
                    <a:gd name="connsiteX610" fmla="*/ 176254 w 301263"/>
                    <a:gd name="connsiteY610" fmla="*/ 3790 h 500548"/>
                    <a:gd name="connsiteX611" fmla="*/ 181332 w 301263"/>
                    <a:gd name="connsiteY611" fmla="*/ 432 h 500548"/>
                    <a:gd name="connsiteX612" fmla="*/ 184233 w 301263"/>
                    <a:gd name="connsiteY612" fmla="*/ 0 h 500548"/>
                    <a:gd name="connsiteX613" fmla="*/ 186792 w 301263"/>
                    <a:gd name="connsiteY613" fmla="*/ 65 h 500548"/>
                    <a:gd name="connsiteX614" fmla="*/ 192497 w 301263"/>
                    <a:gd name="connsiteY614" fmla="*/ 2975 h 50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Lst>
                  <a:rect l="l" t="t" r="r" b="b"/>
                  <a:pathLst>
                    <a:path w="301263" h="500548">
                      <a:moveTo>
                        <a:pt x="192497" y="2975"/>
                      </a:moveTo>
                      <a:lnTo>
                        <a:pt x="195162" y="8158"/>
                      </a:lnTo>
                      <a:lnTo>
                        <a:pt x="195602" y="11727"/>
                      </a:lnTo>
                      <a:lnTo>
                        <a:pt x="191959" y="15607"/>
                      </a:lnTo>
                      <a:lnTo>
                        <a:pt x="191079" y="17310"/>
                      </a:lnTo>
                      <a:lnTo>
                        <a:pt x="190190" y="17677"/>
                      </a:lnTo>
                      <a:lnTo>
                        <a:pt x="189082" y="18475"/>
                      </a:lnTo>
                      <a:lnTo>
                        <a:pt x="185708" y="19975"/>
                      </a:lnTo>
                      <a:lnTo>
                        <a:pt x="181160" y="21401"/>
                      </a:lnTo>
                      <a:lnTo>
                        <a:pt x="175244" y="23227"/>
                      </a:lnTo>
                      <a:lnTo>
                        <a:pt x="173899" y="25183"/>
                      </a:lnTo>
                      <a:lnTo>
                        <a:pt x="168039" y="37440"/>
                      </a:lnTo>
                      <a:lnTo>
                        <a:pt x="163133" y="39917"/>
                      </a:lnTo>
                      <a:lnTo>
                        <a:pt x="161348" y="41751"/>
                      </a:lnTo>
                      <a:lnTo>
                        <a:pt x="160004" y="44066"/>
                      </a:lnTo>
                      <a:lnTo>
                        <a:pt x="157078" y="48336"/>
                      </a:lnTo>
                      <a:lnTo>
                        <a:pt x="155864" y="51621"/>
                      </a:lnTo>
                      <a:lnTo>
                        <a:pt x="152636" y="58743"/>
                      </a:lnTo>
                      <a:lnTo>
                        <a:pt x="150876" y="67667"/>
                      </a:lnTo>
                      <a:lnTo>
                        <a:pt x="150208" y="72671"/>
                      </a:lnTo>
                      <a:lnTo>
                        <a:pt x="149230" y="79933"/>
                      </a:lnTo>
                      <a:lnTo>
                        <a:pt x="147804" y="83576"/>
                      </a:lnTo>
                      <a:lnTo>
                        <a:pt x="145888" y="86999"/>
                      </a:lnTo>
                      <a:lnTo>
                        <a:pt x="143835" y="90348"/>
                      </a:lnTo>
                      <a:lnTo>
                        <a:pt x="142058" y="94007"/>
                      </a:lnTo>
                      <a:lnTo>
                        <a:pt x="140550" y="96876"/>
                      </a:lnTo>
                      <a:lnTo>
                        <a:pt x="140306" y="97862"/>
                      </a:lnTo>
                      <a:lnTo>
                        <a:pt x="141031" y="98661"/>
                      </a:lnTo>
                      <a:lnTo>
                        <a:pt x="144593" y="97862"/>
                      </a:lnTo>
                      <a:lnTo>
                        <a:pt x="145986" y="96998"/>
                      </a:lnTo>
                      <a:lnTo>
                        <a:pt x="147934" y="95898"/>
                      </a:lnTo>
                      <a:lnTo>
                        <a:pt x="149148" y="96485"/>
                      </a:lnTo>
                      <a:lnTo>
                        <a:pt x="150363" y="99647"/>
                      </a:lnTo>
                      <a:lnTo>
                        <a:pt x="151748" y="100038"/>
                      </a:lnTo>
                      <a:lnTo>
                        <a:pt x="153044" y="99647"/>
                      </a:lnTo>
                      <a:lnTo>
                        <a:pt x="154421" y="100437"/>
                      </a:lnTo>
                      <a:lnTo>
                        <a:pt x="156181" y="108294"/>
                      </a:lnTo>
                      <a:lnTo>
                        <a:pt x="157673" y="114944"/>
                      </a:lnTo>
                      <a:lnTo>
                        <a:pt x="161137" y="119084"/>
                      </a:lnTo>
                      <a:lnTo>
                        <a:pt x="163842" y="122328"/>
                      </a:lnTo>
                      <a:lnTo>
                        <a:pt x="164494" y="125180"/>
                      </a:lnTo>
                      <a:lnTo>
                        <a:pt x="165146" y="129230"/>
                      </a:lnTo>
                      <a:lnTo>
                        <a:pt x="165309" y="131194"/>
                      </a:lnTo>
                      <a:lnTo>
                        <a:pt x="164462" y="132392"/>
                      </a:lnTo>
                      <a:lnTo>
                        <a:pt x="163109" y="134846"/>
                      </a:lnTo>
                      <a:lnTo>
                        <a:pt x="162775" y="139548"/>
                      </a:lnTo>
                      <a:lnTo>
                        <a:pt x="162538" y="141104"/>
                      </a:lnTo>
                      <a:lnTo>
                        <a:pt x="162286" y="145456"/>
                      </a:lnTo>
                      <a:lnTo>
                        <a:pt x="162457" y="148129"/>
                      </a:lnTo>
                      <a:lnTo>
                        <a:pt x="163174" y="150216"/>
                      </a:lnTo>
                      <a:lnTo>
                        <a:pt x="164372" y="151414"/>
                      </a:lnTo>
                      <a:lnTo>
                        <a:pt x="166809" y="152025"/>
                      </a:lnTo>
                      <a:lnTo>
                        <a:pt x="169009" y="152759"/>
                      </a:lnTo>
                      <a:lnTo>
                        <a:pt x="170272" y="156385"/>
                      </a:lnTo>
                      <a:lnTo>
                        <a:pt x="172074" y="160974"/>
                      </a:lnTo>
                      <a:lnTo>
                        <a:pt x="173997" y="162905"/>
                      </a:lnTo>
                      <a:lnTo>
                        <a:pt x="176825" y="164177"/>
                      </a:lnTo>
                      <a:lnTo>
                        <a:pt x="178846" y="163712"/>
                      </a:lnTo>
                      <a:lnTo>
                        <a:pt x="183573" y="162897"/>
                      </a:lnTo>
                      <a:lnTo>
                        <a:pt x="187640" y="163092"/>
                      </a:lnTo>
                      <a:lnTo>
                        <a:pt x="193573" y="164331"/>
                      </a:lnTo>
                      <a:lnTo>
                        <a:pt x="195781" y="164282"/>
                      </a:lnTo>
                      <a:lnTo>
                        <a:pt x="198642" y="164046"/>
                      </a:lnTo>
                      <a:lnTo>
                        <a:pt x="203670" y="161544"/>
                      </a:lnTo>
                      <a:lnTo>
                        <a:pt x="205495" y="161177"/>
                      </a:lnTo>
                      <a:lnTo>
                        <a:pt x="207533" y="161389"/>
                      </a:lnTo>
                      <a:lnTo>
                        <a:pt x="210500" y="162661"/>
                      </a:lnTo>
                      <a:lnTo>
                        <a:pt x="212113" y="163663"/>
                      </a:lnTo>
                      <a:lnTo>
                        <a:pt x="214175" y="164698"/>
                      </a:lnTo>
                      <a:lnTo>
                        <a:pt x="217182" y="165440"/>
                      </a:lnTo>
                      <a:lnTo>
                        <a:pt x="219122" y="165317"/>
                      </a:lnTo>
                      <a:lnTo>
                        <a:pt x="220581" y="165268"/>
                      </a:lnTo>
                      <a:lnTo>
                        <a:pt x="221428" y="165741"/>
                      </a:lnTo>
                      <a:lnTo>
                        <a:pt x="226163" y="172880"/>
                      </a:lnTo>
                      <a:lnTo>
                        <a:pt x="230254" y="179058"/>
                      </a:lnTo>
                      <a:lnTo>
                        <a:pt x="233832" y="184257"/>
                      </a:lnTo>
                      <a:lnTo>
                        <a:pt x="237687" y="189864"/>
                      </a:lnTo>
                      <a:lnTo>
                        <a:pt x="237988" y="190190"/>
                      </a:lnTo>
                      <a:lnTo>
                        <a:pt x="239724" y="189473"/>
                      </a:lnTo>
                      <a:lnTo>
                        <a:pt x="240874" y="189783"/>
                      </a:lnTo>
                      <a:lnTo>
                        <a:pt x="241933" y="190924"/>
                      </a:lnTo>
                      <a:lnTo>
                        <a:pt x="243759" y="190459"/>
                      </a:lnTo>
                      <a:lnTo>
                        <a:pt x="246358" y="188389"/>
                      </a:lnTo>
                      <a:lnTo>
                        <a:pt x="250148" y="187974"/>
                      </a:lnTo>
                      <a:lnTo>
                        <a:pt x="255127" y="189212"/>
                      </a:lnTo>
                      <a:lnTo>
                        <a:pt x="261688" y="189221"/>
                      </a:lnTo>
                      <a:lnTo>
                        <a:pt x="269838" y="187998"/>
                      </a:lnTo>
                      <a:lnTo>
                        <a:pt x="274907" y="186661"/>
                      </a:lnTo>
                      <a:lnTo>
                        <a:pt x="276879" y="185219"/>
                      </a:lnTo>
                      <a:lnTo>
                        <a:pt x="280155" y="185366"/>
                      </a:lnTo>
                      <a:lnTo>
                        <a:pt x="284100" y="186661"/>
                      </a:lnTo>
                      <a:lnTo>
                        <a:pt x="286235" y="188512"/>
                      </a:lnTo>
                      <a:lnTo>
                        <a:pt x="286496" y="190337"/>
                      </a:lnTo>
                      <a:lnTo>
                        <a:pt x="287295" y="193165"/>
                      </a:lnTo>
                      <a:lnTo>
                        <a:pt x="286439" y="196034"/>
                      </a:lnTo>
                      <a:lnTo>
                        <a:pt x="283921" y="198935"/>
                      </a:lnTo>
                      <a:lnTo>
                        <a:pt x="282527" y="202651"/>
                      </a:lnTo>
                      <a:lnTo>
                        <a:pt x="282258" y="207175"/>
                      </a:lnTo>
                      <a:lnTo>
                        <a:pt x="280962" y="210516"/>
                      </a:lnTo>
                      <a:lnTo>
                        <a:pt x="278631" y="212675"/>
                      </a:lnTo>
                      <a:lnTo>
                        <a:pt x="277727" y="215829"/>
                      </a:lnTo>
                      <a:lnTo>
                        <a:pt x="278240" y="219969"/>
                      </a:lnTo>
                      <a:lnTo>
                        <a:pt x="277988" y="226025"/>
                      </a:lnTo>
                      <a:lnTo>
                        <a:pt x="276969" y="233987"/>
                      </a:lnTo>
                      <a:lnTo>
                        <a:pt x="276969" y="238738"/>
                      </a:lnTo>
                      <a:lnTo>
                        <a:pt x="277988" y="240287"/>
                      </a:lnTo>
                      <a:lnTo>
                        <a:pt x="278452" y="242520"/>
                      </a:lnTo>
                      <a:lnTo>
                        <a:pt x="278371" y="245421"/>
                      </a:lnTo>
                      <a:lnTo>
                        <a:pt x="278754" y="247980"/>
                      </a:lnTo>
                      <a:lnTo>
                        <a:pt x="280017" y="251330"/>
                      </a:lnTo>
                      <a:lnTo>
                        <a:pt x="281769" y="257988"/>
                      </a:lnTo>
                      <a:lnTo>
                        <a:pt x="283236" y="260849"/>
                      </a:lnTo>
                      <a:lnTo>
                        <a:pt x="284507" y="261892"/>
                      </a:lnTo>
                      <a:lnTo>
                        <a:pt x="285811" y="263171"/>
                      </a:lnTo>
                      <a:lnTo>
                        <a:pt x="289552" y="269984"/>
                      </a:lnTo>
                      <a:lnTo>
                        <a:pt x="290457" y="271427"/>
                      </a:lnTo>
                      <a:lnTo>
                        <a:pt x="290179" y="272674"/>
                      </a:lnTo>
                      <a:lnTo>
                        <a:pt x="289837" y="273611"/>
                      </a:lnTo>
                      <a:lnTo>
                        <a:pt x="289405" y="274214"/>
                      </a:lnTo>
                      <a:lnTo>
                        <a:pt x="285404" y="278273"/>
                      </a:lnTo>
                      <a:lnTo>
                        <a:pt x="277474" y="287099"/>
                      </a:lnTo>
                      <a:lnTo>
                        <a:pt x="276814" y="288215"/>
                      </a:lnTo>
                      <a:lnTo>
                        <a:pt x="276863" y="290065"/>
                      </a:lnTo>
                      <a:lnTo>
                        <a:pt x="279169" y="288876"/>
                      </a:lnTo>
                      <a:lnTo>
                        <a:pt x="281630" y="289870"/>
                      </a:lnTo>
                      <a:lnTo>
                        <a:pt x="282828" y="290065"/>
                      </a:lnTo>
                      <a:lnTo>
                        <a:pt x="283374" y="290791"/>
                      </a:lnTo>
                      <a:lnTo>
                        <a:pt x="284083" y="293170"/>
                      </a:lnTo>
                      <a:lnTo>
                        <a:pt x="284907" y="293561"/>
                      </a:lnTo>
                      <a:lnTo>
                        <a:pt x="286113" y="294548"/>
                      </a:lnTo>
                      <a:lnTo>
                        <a:pt x="288460" y="297058"/>
                      </a:lnTo>
                      <a:lnTo>
                        <a:pt x="290432" y="299706"/>
                      </a:lnTo>
                      <a:lnTo>
                        <a:pt x="291915" y="300970"/>
                      </a:lnTo>
                      <a:lnTo>
                        <a:pt x="292950" y="302151"/>
                      </a:lnTo>
                      <a:lnTo>
                        <a:pt x="293284" y="303863"/>
                      </a:lnTo>
                      <a:lnTo>
                        <a:pt x="292844" y="305574"/>
                      </a:lnTo>
                      <a:lnTo>
                        <a:pt x="294075" y="309560"/>
                      </a:lnTo>
                      <a:lnTo>
                        <a:pt x="294922" y="310798"/>
                      </a:lnTo>
                      <a:lnTo>
                        <a:pt x="295363" y="312314"/>
                      </a:lnTo>
                      <a:lnTo>
                        <a:pt x="294922" y="313830"/>
                      </a:lnTo>
                      <a:lnTo>
                        <a:pt x="295966" y="315615"/>
                      </a:lnTo>
                      <a:lnTo>
                        <a:pt x="297099" y="319119"/>
                      </a:lnTo>
                      <a:lnTo>
                        <a:pt x="298476" y="323406"/>
                      </a:lnTo>
                      <a:lnTo>
                        <a:pt x="298647" y="325786"/>
                      </a:lnTo>
                      <a:lnTo>
                        <a:pt x="299217" y="326886"/>
                      </a:lnTo>
                      <a:lnTo>
                        <a:pt x="299894" y="330064"/>
                      </a:lnTo>
                      <a:lnTo>
                        <a:pt x="301051" y="333055"/>
                      </a:lnTo>
                      <a:lnTo>
                        <a:pt x="300782" y="335101"/>
                      </a:lnTo>
                      <a:lnTo>
                        <a:pt x="301263" y="337106"/>
                      </a:lnTo>
                      <a:lnTo>
                        <a:pt x="296569" y="338442"/>
                      </a:lnTo>
                      <a:lnTo>
                        <a:pt x="296145" y="338238"/>
                      </a:lnTo>
                      <a:lnTo>
                        <a:pt x="295868" y="337505"/>
                      </a:lnTo>
                      <a:lnTo>
                        <a:pt x="295998" y="331800"/>
                      </a:lnTo>
                      <a:lnTo>
                        <a:pt x="295958" y="325362"/>
                      </a:lnTo>
                      <a:lnTo>
                        <a:pt x="295232" y="322721"/>
                      </a:lnTo>
                      <a:lnTo>
                        <a:pt x="293081" y="318492"/>
                      </a:lnTo>
                      <a:lnTo>
                        <a:pt x="290236" y="312885"/>
                      </a:lnTo>
                      <a:lnTo>
                        <a:pt x="289454" y="311271"/>
                      </a:lnTo>
                      <a:lnTo>
                        <a:pt x="288256" y="310350"/>
                      </a:lnTo>
                      <a:lnTo>
                        <a:pt x="286838" y="310220"/>
                      </a:lnTo>
                      <a:lnTo>
                        <a:pt x="285795" y="310611"/>
                      </a:lnTo>
                      <a:lnTo>
                        <a:pt x="284401" y="311654"/>
                      </a:lnTo>
                      <a:lnTo>
                        <a:pt x="283081" y="312787"/>
                      </a:lnTo>
                      <a:lnTo>
                        <a:pt x="280538" y="316169"/>
                      </a:lnTo>
                      <a:lnTo>
                        <a:pt x="277979" y="320121"/>
                      </a:lnTo>
                      <a:lnTo>
                        <a:pt x="276480" y="321002"/>
                      </a:lnTo>
                      <a:lnTo>
                        <a:pt x="274972" y="321360"/>
                      </a:lnTo>
                      <a:lnTo>
                        <a:pt x="273644" y="321238"/>
                      </a:lnTo>
                      <a:lnTo>
                        <a:pt x="272576" y="320179"/>
                      </a:lnTo>
                      <a:lnTo>
                        <a:pt x="271484" y="318027"/>
                      </a:lnTo>
                      <a:lnTo>
                        <a:pt x="270164" y="315158"/>
                      </a:lnTo>
                      <a:lnTo>
                        <a:pt x="268591" y="314221"/>
                      </a:lnTo>
                      <a:lnTo>
                        <a:pt x="267979" y="315101"/>
                      </a:lnTo>
                      <a:lnTo>
                        <a:pt x="267458" y="316788"/>
                      </a:lnTo>
                      <a:lnTo>
                        <a:pt x="267050" y="318459"/>
                      </a:lnTo>
                      <a:lnTo>
                        <a:pt x="268110" y="320578"/>
                      </a:lnTo>
                      <a:lnTo>
                        <a:pt x="269015" y="322224"/>
                      </a:lnTo>
                      <a:lnTo>
                        <a:pt x="267458" y="322167"/>
                      </a:lnTo>
                      <a:lnTo>
                        <a:pt x="262397" y="322167"/>
                      </a:lnTo>
                      <a:lnTo>
                        <a:pt x="256570" y="322167"/>
                      </a:lnTo>
                      <a:lnTo>
                        <a:pt x="250751" y="322167"/>
                      </a:lnTo>
                      <a:lnTo>
                        <a:pt x="245511" y="322167"/>
                      </a:lnTo>
                      <a:lnTo>
                        <a:pt x="240670" y="322167"/>
                      </a:lnTo>
                      <a:lnTo>
                        <a:pt x="238812" y="322037"/>
                      </a:lnTo>
                      <a:lnTo>
                        <a:pt x="236937" y="321067"/>
                      </a:lnTo>
                      <a:lnTo>
                        <a:pt x="235128" y="320610"/>
                      </a:lnTo>
                      <a:lnTo>
                        <a:pt x="234183" y="320684"/>
                      </a:lnTo>
                      <a:lnTo>
                        <a:pt x="232479" y="321621"/>
                      </a:lnTo>
                      <a:lnTo>
                        <a:pt x="230254" y="321760"/>
                      </a:lnTo>
                      <a:lnTo>
                        <a:pt x="228763" y="322648"/>
                      </a:lnTo>
                      <a:lnTo>
                        <a:pt x="227557" y="322542"/>
                      </a:lnTo>
                      <a:lnTo>
                        <a:pt x="227532" y="327473"/>
                      </a:lnTo>
                      <a:lnTo>
                        <a:pt x="227500" y="334514"/>
                      </a:lnTo>
                      <a:lnTo>
                        <a:pt x="227467" y="341979"/>
                      </a:lnTo>
                      <a:lnTo>
                        <a:pt x="228804" y="341409"/>
                      </a:lnTo>
                      <a:lnTo>
                        <a:pt x="229969" y="341466"/>
                      </a:lnTo>
                      <a:lnTo>
                        <a:pt x="230817" y="341987"/>
                      </a:lnTo>
                      <a:lnTo>
                        <a:pt x="233197" y="341564"/>
                      </a:lnTo>
                      <a:lnTo>
                        <a:pt x="234517" y="341792"/>
                      </a:lnTo>
                      <a:lnTo>
                        <a:pt x="235772" y="341979"/>
                      </a:lnTo>
                      <a:lnTo>
                        <a:pt x="236937" y="342003"/>
                      </a:lnTo>
                      <a:lnTo>
                        <a:pt x="237646" y="342590"/>
                      </a:lnTo>
                      <a:lnTo>
                        <a:pt x="238608" y="342484"/>
                      </a:lnTo>
                      <a:lnTo>
                        <a:pt x="239635" y="341832"/>
                      </a:lnTo>
                      <a:lnTo>
                        <a:pt x="240865" y="342240"/>
                      </a:lnTo>
                      <a:lnTo>
                        <a:pt x="242177" y="343291"/>
                      </a:lnTo>
                      <a:lnTo>
                        <a:pt x="243025" y="344848"/>
                      </a:lnTo>
                      <a:lnTo>
                        <a:pt x="243783" y="346796"/>
                      </a:lnTo>
                      <a:lnTo>
                        <a:pt x="244541" y="347823"/>
                      </a:lnTo>
                      <a:lnTo>
                        <a:pt x="244500" y="349681"/>
                      </a:lnTo>
                      <a:lnTo>
                        <a:pt x="244476" y="351131"/>
                      </a:lnTo>
                      <a:lnTo>
                        <a:pt x="244207" y="352346"/>
                      </a:lnTo>
                      <a:lnTo>
                        <a:pt x="244549" y="353128"/>
                      </a:lnTo>
                      <a:lnTo>
                        <a:pt x="244793" y="353959"/>
                      </a:lnTo>
                      <a:lnTo>
                        <a:pt x="244720" y="354448"/>
                      </a:lnTo>
                      <a:lnTo>
                        <a:pt x="244272" y="354660"/>
                      </a:lnTo>
                      <a:lnTo>
                        <a:pt x="243310" y="354831"/>
                      </a:lnTo>
                      <a:lnTo>
                        <a:pt x="242283" y="354962"/>
                      </a:lnTo>
                      <a:lnTo>
                        <a:pt x="241574" y="354905"/>
                      </a:lnTo>
                      <a:lnTo>
                        <a:pt x="241012" y="354147"/>
                      </a:lnTo>
                      <a:lnTo>
                        <a:pt x="240482" y="354065"/>
                      </a:lnTo>
                      <a:lnTo>
                        <a:pt x="239700" y="354179"/>
                      </a:lnTo>
                      <a:lnTo>
                        <a:pt x="238869" y="353723"/>
                      </a:lnTo>
                      <a:lnTo>
                        <a:pt x="238160" y="352786"/>
                      </a:lnTo>
                      <a:lnTo>
                        <a:pt x="236888" y="351832"/>
                      </a:lnTo>
                      <a:lnTo>
                        <a:pt x="235527" y="352240"/>
                      </a:lnTo>
                      <a:lnTo>
                        <a:pt x="234590" y="352720"/>
                      </a:lnTo>
                      <a:lnTo>
                        <a:pt x="233628" y="353307"/>
                      </a:lnTo>
                      <a:lnTo>
                        <a:pt x="232756" y="353935"/>
                      </a:lnTo>
                      <a:lnTo>
                        <a:pt x="231884" y="353772"/>
                      </a:lnTo>
                      <a:lnTo>
                        <a:pt x="230768" y="354228"/>
                      </a:lnTo>
                      <a:lnTo>
                        <a:pt x="229831" y="354929"/>
                      </a:lnTo>
                      <a:lnTo>
                        <a:pt x="228576" y="355491"/>
                      </a:lnTo>
                      <a:lnTo>
                        <a:pt x="227215" y="355760"/>
                      </a:lnTo>
                      <a:lnTo>
                        <a:pt x="225650" y="356037"/>
                      </a:lnTo>
                      <a:lnTo>
                        <a:pt x="224150" y="356143"/>
                      </a:lnTo>
                      <a:lnTo>
                        <a:pt x="222455" y="356364"/>
                      </a:lnTo>
                      <a:lnTo>
                        <a:pt x="222357" y="360292"/>
                      </a:lnTo>
                      <a:lnTo>
                        <a:pt x="222162" y="368018"/>
                      </a:lnTo>
                      <a:lnTo>
                        <a:pt x="222031" y="373127"/>
                      </a:lnTo>
                      <a:lnTo>
                        <a:pt x="222039" y="377846"/>
                      </a:lnTo>
                      <a:lnTo>
                        <a:pt x="222700" y="379557"/>
                      </a:lnTo>
                      <a:lnTo>
                        <a:pt x="225707" y="383192"/>
                      </a:lnTo>
                      <a:lnTo>
                        <a:pt x="228062" y="385099"/>
                      </a:lnTo>
                      <a:lnTo>
                        <a:pt x="230059" y="387243"/>
                      </a:lnTo>
                      <a:lnTo>
                        <a:pt x="232047" y="388123"/>
                      </a:lnTo>
                      <a:lnTo>
                        <a:pt x="232879" y="388938"/>
                      </a:lnTo>
                      <a:lnTo>
                        <a:pt x="233425" y="390258"/>
                      </a:lnTo>
                      <a:lnTo>
                        <a:pt x="233702" y="391635"/>
                      </a:lnTo>
                      <a:lnTo>
                        <a:pt x="233922" y="392825"/>
                      </a:lnTo>
                      <a:lnTo>
                        <a:pt x="233702" y="394072"/>
                      </a:lnTo>
                      <a:lnTo>
                        <a:pt x="233213" y="395262"/>
                      </a:lnTo>
                      <a:lnTo>
                        <a:pt x="233425" y="396509"/>
                      </a:lnTo>
                      <a:lnTo>
                        <a:pt x="234134" y="397503"/>
                      </a:lnTo>
                      <a:lnTo>
                        <a:pt x="234354" y="398750"/>
                      </a:lnTo>
                      <a:lnTo>
                        <a:pt x="234843" y="399940"/>
                      </a:lnTo>
                      <a:lnTo>
                        <a:pt x="235120" y="401138"/>
                      </a:lnTo>
                      <a:lnTo>
                        <a:pt x="235715" y="401986"/>
                      </a:lnTo>
                      <a:lnTo>
                        <a:pt x="236481" y="402589"/>
                      </a:lnTo>
                      <a:lnTo>
                        <a:pt x="237467" y="403567"/>
                      </a:lnTo>
                      <a:lnTo>
                        <a:pt x="237581" y="404504"/>
                      </a:lnTo>
                      <a:lnTo>
                        <a:pt x="237467" y="405547"/>
                      </a:lnTo>
                      <a:lnTo>
                        <a:pt x="237459" y="406354"/>
                      </a:lnTo>
                      <a:lnTo>
                        <a:pt x="238396" y="408171"/>
                      </a:lnTo>
                      <a:lnTo>
                        <a:pt x="238673" y="409443"/>
                      </a:lnTo>
                      <a:lnTo>
                        <a:pt x="238241" y="410967"/>
                      </a:lnTo>
                      <a:lnTo>
                        <a:pt x="237817" y="416239"/>
                      </a:lnTo>
                      <a:lnTo>
                        <a:pt x="236733" y="422238"/>
                      </a:lnTo>
                      <a:lnTo>
                        <a:pt x="236049" y="426818"/>
                      </a:lnTo>
                      <a:lnTo>
                        <a:pt x="234916" y="434283"/>
                      </a:lnTo>
                      <a:lnTo>
                        <a:pt x="233604" y="442971"/>
                      </a:lnTo>
                      <a:lnTo>
                        <a:pt x="232007" y="453557"/>
                      </a:lnTo>
                      <a:lnTo>
                        <a:pt x="230434" y="464013"/>
                      </a:lnTo>
                      <a:lnTo>
                        <a:pt x="228902" y="474127"/>
                      </a:lnTo>
                      <a:lnTo>
                        <a:pt x="227524" y="483279"/>
                      </a:lnTo>
                      <a:lnTo>
                        <a:pt x="226000" y="493368"/>
                      </a:lnTo>
                      <a:lnTo>
                        <a:pt x="225079" y="499489"/>
                      </a:lnTo>
                      <a:lnTo>
                        <a:pt x="224639" y="500548"/>
                      </a:lnTo>
                      <a:lnTo>
                        <a:pt x="223368" y="498332"/>
                      </a:lnTo>
                      <a:lnTo>
                        <a:pt x="221445" y="496237"/>
                      </a:lnTo>
                      <a:lnTo>
                        <a:pt x="219643" y="494974"/>
                      </a:lnTo>
                      <a:lnTo>
                        <a:pt x="218877" y="493336"/>
                      </a:lnTo>
                      <a:lnTo>
                        <a:pt x="217842" y="489962"/>
                      </a:lnTo>
                      <a:lnTo>
                        <a:pt x="216400" y="488797"/>
                      </a:lnTo>
                      <a:lnTo>
                        <a:pt x="215381" y="487916"/>
                      </a:lnTo>
                      <a:lnTo>
                        <a:pt x="214395" y="488047"/>
                      </a:lnTo>
                      <a:lnTo>
                        <a:pt x="213352" y="488976"/>
                      </a:lnTo>
                      <a:lnTo>
                        <a:pt x="211746" y="489563"/>
                      </a:lnTo>
                      <a:lnTo>
                        <a:pt x="210662" y="489465"/>
                      </a:lnTo>
                      <a:lnTo>
                        <a:pt x="206278" y="487150"/>
                      </a:lnTo>
                      <a:lnTo>
                        <a:pt x="205569" y="486922"/>
                      </a:lnTo>
                      <a:lnTo>
                        <a:pt x="208381" y="481633"/>
                      </a:lnTo>
                      <a:lnTo>
                        <a:pt x="213409" y="472155"/>
                      </a:lnTo>
                      <a:lnTo>
                        <a:pt x="216612" y="466140"/>
                      </a:lnTo>
                      <a:lnTo>
                        <a:pt x="220157" y="459449"/>
                      </a:lnTo>
                      <a:lnTo>
                        <a:pt x="221974" y="456035"/>
                      </a:lnTo>
                      <a:lnTo>
                        <a:pt x="222203" y="455456"/>
                      </a:lnTo>
                      <a:lnTo>
                        <a:pt x="222194" y="454592"/>
                      </a:lnTo>
                      <a:lnTo>
                        <a:pt x="221428" y="453288"/>
                      </a:lnTo>
                      <a:lnTo>
                        <a:pt x="219725" y="452742"/>
                      </a:lnTo>
                      <a:lnTo>
                        <a:pt x="217745" y="451748"/>
                      </a:lnTo>
                      <a:lnTo>
                        <a:pt x="216498" y="450134"/>
                      </a:lnTo>
                      <a:lnTo>
                        <a:pt x="214778" y="449425"/>
                      </a:lnTo>
                      <a:lnTo>
                        <a:pt x="213433" y="448276"/>
                      </a:lnTo>
                      <a:lnTo>
                        <a:pt x="210988" y="447143"/>
                      </a:lnTo>
                      <a:lnTo>
                        <a:pt x="209513" y="446100"/>
                      </a:lnTo>
                      <a:lnTo>
                        <a:pt x="207729" y="445725"/>
                      </a:lnTo>
                      <a:lnTo>
                        <a:pt x="206311" y="443826"/>
                      </a:lnTo>
                      <a:lnTo>
                        <a:pt x="201119" y="440118"/>
                      </a:lnTo>
                      <a:lnTo>
                        <a:pt x="199774" y="439768"/>
                      </a:lnTo>
                      <a:lnTo>
                        <a:pt x="198324" y="440330"/>
                      </a:lnTo>
                      <a:lnTo>
                        <a:pt x="196189" y="440925"/>
                      </a:lnTo>
                      <a:lnTo>
                        <a:pt x="194127" y="442946"/>
                      </a:lnTo>
                      <a:lnTo>
                        <a:pt x="191560" y="443598"/>
                      </a:lnTo>
                      <a:lnTo>
                        <a:pt x="189163" y="443582"/>
                      </a:lnTo>
                      <a:lnTo>
                        <a:pt x="187908" y="442367"/>
                      </a:lnTo>
                      <a:lnTo>
                        <a:pt x="186702" y="441927"/>
                      </a:lnTo>
                      <a:lnTo>
                        <a:pt x="185129" y="440281"/>
                      </a:lnTo>
                      <a:lnTo>
                        <a:pt x="182358" y="439026"/>
                      </a:lnTo>
                      <a:lnTo>
                        <a:pt x="180345" y="438154"/>
                      </a:lnTo>
                      <a:lnTo>
                        <a:pt x="179099" y="438553"/>
                      </a:lnTo>
                      <a:lnTo>
                        <a:pt x="177501" y="440403"/>
                      </a:lnTo>
                      <a:lnTo>
                        <a:pt x="175888" y="442229"/>
                      </a:lnTo>
                      <a:lnTo>
                        <a:pt x="174600" y="443370"/>
                      </a:lnTo>
                      <a:lnTo>
                        <a:pt x="172880" y="443313"/>
                      </a:lnTo>
                      <a:lnTo>
                        <a:pt x="170818" y="444984"/>
                      </a:lnTo>
                      <a:lnTo>
                        <a:pt x="168797" y="445570"/>
                      </a:lnTo>
                      <a:lnTo>
                        <a:pt x="166760" y="445839"/>
                      </a:lnTo>
                      <a:lnTo>
                        <a:pt x="164405" y="446434"/>
                      </a:lnTo>
                      <a:lnTo>
                        <a:pt x="161797" y="445415"/>
                      </a:lnTo>
                      <a:lnTo>
                        <a:pt x="159661" y="444519"/>
                      </a:lnTo>
                      <a:lnTo>
                        <a:pt x="158708" y="444112"/>
                      </a:lnTo>
                      <a:lnTo>
                        <a:pt x="157844" y="444397"/>
                      </a:lnTo>
                      <a:lnTo>
                        <a:pt x="156508" y="445318"/>
                      </a:lnTo>
                      <a:lnTo>
                        <a:pt x="154103" y="445725"/>
                      </a:lnTo>
                      <a:lnTo>
                        <a:pt x="152221" y="445823"/>
                      </a:lnTo>
                      <a:lnTo>
                        <a:pt x="150884" y="445383"/>
                      </a:lnTo>
                      <a:lnTo>
                        <a:pt x="149678" y="443753"/>
                      </a:lnTo>
                      <a:lnTo>
                        <a:pt x="147730" y="442922"/>
                      </a:lnTo>
                      <a:lnTo>
                        <a:pt x="145595" y="441911"/>
                      </a:lnTo>
                      <a:lnTo>
                        <a:pt x="145139" y="439817"/>
                      </a:lnTo>
                      <a:lnTo>
                        <a:pt x="145448" y="438252"/>
                      </a:lnTo>
                      <a:lnTo>
                        <a:pt x="146288" y="436011"/>
                      </a:lnTo>
                      <a:lnTo>
                        <a:pt x="145823" y="433688"/>
                      </a:lnTo>
                      <a:lnTo>
                        <a:pt x="144927" y="430004"/>
                      </a:lnTo>
                      <a:lnTo>
                        <a:pt x="144544" y="428497"/>
                      </a:lnTo>
                      <a:lnTo>
                        <a:pt x="143875" y="427225"/>
                      </a:lnTo>
                      <a:lnTo>
                        <a:pt x="142816" y="426753"/>
                      </a:lnTo>
                      <a:lnTo>
                        <a:pt x="140754" y="427111"/>
                      </a:lnTo>
                      <a:lnTo>
                        <a:pt x="138505" y="425718"/>
                      </a:lnTo>
                      <a:lnTo>
                        <a:pt x="137119" y="424389"/>
                      </a:lnTo>
                      <a:lnTo>
                        <a:pt x="136410" y="422767"/>
                      </a:lnTo>
                      <a:lnTo>
                        <a:pt x="137176" y="419711"/>
                      </a:lnTo>
                      <a:lnTo>
                        <a:pt x="136500" y="417111"/>
                      </a:lnTo>
                      <a:lnTo>
                        <a:pt x="135155" y="415653"/>
                      </a:lnTo>
                      <a:lnTo>
                        <a:pt x="134291" y="413110"/>
                      </a:lnTo>
                      <a:lnTo>
                        <a:pt x="132955" y="411089"/>
                      </a:lnTo>
                      <a:lnTo>
                        <a:pt x="131178" y="410054"/>
                      </a:lnTo>
                      <a:lnTo>
                        <a:pt x="129410" y="410176"/>
                      </a:lnTo>
                      <a:lnTo>
                        <a:pt x="128024" y="409532"/>
                      </a:lnTo>
                      <a:lnTo>
                        <a:pt x="126443" y="407389"/>
                      </a:lnTo>
                      <a:lnTo>
                        <a:pt x="124960" y="406590"/>
                      </a:lnTo>
                      <a:lnTo>
                        <a:pt x="123281" y="404504"/>
                      </a:lnTo>
                      <a:lnTo>
                        <a:pt x="120152" y="403575"/>
                      </a:lnTo>
                      <a:lnTo>
                        <a:pt x="118522" y="402752"/>
                      </a:lnTo>
                      <a:lnTo>
                        <a:pt x="117593" y="401480"/>
                      </a:lnTo>
                      <a:lnTo>
                        <a:pt x="116346" y="399174"/>
                      </a:lnTo>
                      <a:lnTo>
                        <a:pt x="116484" y="397911"/>
                      </a:lnTo>
                      <a:lnTo>
                        <a:pt x="115873" y="396656"/>
                      </a:lnTo>
                      <a:lnTo>
                        <a:pt x="115335" y="394414"/>
                      </a:lnTo>
                      <a:lnTo>
                        <a:pt x="114267" y="391098"/>
                      </a:lnTo>
                      <a:lnTo>
                        <a:pt x="113094" y="389215"/>
                      </a:lnTo>
                      <a:lnTo>
                        <a:pt x="111888" y="387789"/>
                      </a:lnTo>
                      <a:lnTo>
                        <a:pt x="110869" y="386583"/>
                      </a:lnTo>
                      <a:lnTo>
                        <a:pt x="109345" y="384798"/>
                      </a:lnTo>
                      <a:lnTo>
                        <a:pt x="107479" y="383755"/>
                      </a:lnTo>
                      <a:lnTo>
                        <a:pt x="105898" y="382654"/>
                      </a:lnTo>
                      <a:lnTo>
                        <a:pt x="105270" y="381033"/>
                      </a:lnTo>
                      <a:lnTo>
                        <a:pt x="104740" y="379704"/>
                      </a:lnTo>
                      <a:lnTo>
                        <a:pt x="103852" y="379794"/>
                      </a:lnTo>
                      <a:lnTo>
                        <a:pt x="102581" y="379680"/>
                      </a:lnTo>
                      <a:lnTo>
                        <a:pt x="101179" y="379346"/>
                      </a:lnTo>
                      <a:lnTo>
                        <a:pt x="99696" y="378376"/>
                      </a:lnTo>
                      <a:lnTo>
                        <a:pt x="98465" y="377202"/>
                      </a:lnTo>
                      <a:lnTo>
                        <a:pt x="96387" y="375222"/>
                      </a:lnTo>
                      <a:lnTo>
                        <a:pt x="95254" y="374961"/>
                      </a:lnTo>
                      <a:lnTo>
                        <a:pt x="94252" y="374961"/>
                      </a:lnTo>
                      <a:lnTo>
                        <a:pt x="92768" y="376901"/>
                      </a:lnTo>
                      <a:lnTo>
                        <a:pt x="88319" y="374863"/>
                      </a:lnTo>
                      <a:lnTo>
                        <a:pt x="84513" y="371823"/>
                      </a:lnTo>
                      <a:lnTo>
                        <a:pt x="80560" y="371033"/>
                      </a:lnTo>
                      <a:lnTo>
                        <a:pt x="78001" y="369183"/>
                      </a:lnTo>
                      <a:lnTo>
                        <a:pt x="75646" y="366290"/>
                      </a:lnTo>
                      <a:lnTo>
                        <a:pt x="74375" y="364334"/>
                      </a:lnTo>
                      <a:lnTo>
                        <a:pt x="73339" y="363364"/>
                      </a:lnTo>
                      <a:lnTo>
                        <a:pt x="68311" y="360552"/>
                      </a:lnTo>
                      <a:lnTo>
                        <a:pt x="67309" y="360275"/>
                      </a:lnTo>
                      <a:lnTo>
                        <a:pt x="65402" y="361579"/>
                      </a:lnTo>
                      <a:lnTo>
                        <a:pt x="64774" y="362362"/>
                      </a:lnTo>
                      <a:lnTo>
                        <a:pt x="64660" y="364611"/>
                      </a:lnTo>
                      <a:lnTo>
                        <a:pt x="64424" y="365882"/>
                      </a:lnTo>
                      <a:lnTo>
                        <a:pt x="62753" y="366657"/>
                      </a:lnTo>
                      <a:lnTo>
                        <a:pt x="60063" y="366485"/>
                      </a:lnTo>
                      <a:lnTo>
                        <a:pt x="58197" y="365670"/>
                      </a:lnTo>
                      <a:lnTo>
                        <a:pt x="56950" y="365556"/>
                      </a:lnTo>
                      <a:lnTo>
                        <a:pt x="56689" y="366192"/>
                      </a:lnTo>
                      <a:lnTo>
                        <a:pt x="55989" y="366469"/>
                      </a:lnTo>
                      <a:lnTo>
                        <a:pt x="54457" y="366290"/>
                      </a:lnTo>
                      <a:lnTo>
                        <a:pt x="52207" y="365670"/>
                      </a:lnTo>
                      <a:lnTo>
                        <a:pt x="50170" y="364839"/>
                      </a:lnTo>
                      <a:lnTo>
                        <a:pt x="47399" y="363079"/>
                      </a:lnTo>
                      <a:lnTo>
                        <a:pt x="46128" y="363299"/>
                      </a:lnTo>
                      <a:lnTo>
                        <a:pt x="42974" y="362924"/>
                      </a:lnTo>
                      <a:lnTo>
                        <a:pt x="40406" y="361921"/>
                      </a:lnTo>
                      <a:lnTo>
                        <a:pt x="39746" y="360993"/>
                      </a:lnTo>
                      <a:lnTo>
                        <a:pt x="38630" y="354652"/>
                      </a:lnTo>
                      <a:lnTo>
                        <a:pt x="38287" y="354220"/>
                      </a:lnTo>
                      <a:lnTo>
                        <a:pt x="37179" y="353943"/>
                      </a:lnTo>
                      <a:lnTo>
                        <a:pt x="35313" y="353071"/>
                      </a:lnTo>
                      <a:lnTo>
                        <a:pt x="34139" y="352052"/>
                      </a:lnTo>
                      <a:lnTo>
                        <a:pt x="33528" y="350300"/>
                      </a:lnTo>
                      <a:lnTo>
                        <a:pt x="32795" y="348637"/>
                      </a:lnTo>
                      <a:lnTo>
                        <a:pt x="29649" y="349004"/>
                      </a:lnTo>
                      <a:lnTo>
                        <a:pt x="24506" y="346804"/>
                      </a:lnTo>
                      <a:lnTo>
                        <a:pt x="20937" y="344717"/>
                      </a:lnTo>
                      <a:lnTo>
                        <a:pt x="17685" y="342395"/>
                      </a:lnTo>
                      <a:lnTo>
                        <a:pt x="12738" y="337823"/>
                      </a:lnTo>
                      <a:lnTo>
                        <a:pt x="10847" y="336690"/>
                      </a:lnTo>
                      <a:lnTo>
                        <a:pt x="8525" y="335288"/>
                      </a:lnTo>
                      <a:lnTo>
                        <a:pt x="7147" y="333031"/>
                      </a:lnTo>
                      <a:lnTo>
                        <a:pt x="4873" y="330757"/>
                      </a:lnTo>
                      <a:lnTo>
                        <a:pt x="4107" y="330138"/>
                      </a:lnTo>
                      <a:lnTo>
                        <a:pt x="3398" y="328084"/>
                      </a:lnTo>
                      <a:lnTo>
                        <a:pt x="0" y="325101"/>
                      </a:lnTo>
                      <a:lnTo>
                        <a:pt x="1679" y="321254"/>
                      </a:lnTo>
                      <a:lnTo>
                        <a:pt x="5762" y="318361"/>
                      </a:lnTo>
                      <a:lnTo>
                        <a:pt x="11116" y="320602"/>
                      </a:lnTo>
                      <a:lnTo>
                        <a:pt x="11776" y="316120"/>
                      </a:lnTo>
                      <a:lnTo>
                        <a:pt x="9845" y="312143"/>
                      </a:lnTo>
                      <a:lnTo>
                        <a:pt x="10130" y="304637"/>
                      </a:lnTo>
                      <a:lnTo>
                        <a:pt x="10758" y="303146"/>
                      </a:lnTo>
                      <a:lnTo>
                        <a:pt x="12168" y="301141"/>
                      </a:lnTo>
                      <a:lnTo>
                        <a:pt x="14009" y="299747"/>
                      </a:lnTo>
                      <a:lnTo>
                        <a:pt x="15093" y="299348"/>
                      </a:lnTo>
                      <a:lnTo>
                        <a:pt x="16935" y="300032"/>
                      </a:lnTo>
                      <a:lnTo>
                        <a:pt x="18092" y="298533"/>
                      </a:lnTo>
                      <a:lnTo>
                        <a:pt x="22461" y="299209"/>
                      </a:lnTo>
                      <a:lnTo>
                        <a:pt x="23789" y="298582"/>
                      </a:lnTo>
                      <a:lnTo>
                        <a:pt x="24694" y="297563"/>
                      </a:lnTo>
                      <a:lnTo>
                        <a:pt x="25761" y="296781"/>
                      </a:lnTo>
                      <a:lnTo>
                        <a:pt x="27122" y="294980"/>
                      </a:lnTo>
                      <a:lnTo>
                        <a:pt x="27905" y="292893"/>
                      </a:lnTo>
                      <a:lnTo>
                        <a:pt x="28557" y="292078"/>
                      </a:lnTo>
                      <a:lnTo>
                        <a:pt x="30073" y="292372"/>
                      </a:lnTo>
                      <a:lnTo>
                        <a:pt x="30211" y="291467"/>
                      </a:lnTo>
                      <a:lnTo>
                        <a:pt x="30985" y="290236"/>
                      </a:lnTo>
                      <a:lnTo>
                        <a:pt x="33634" y="287498"/>
                      </a:lnTo>
                      <a:lnTo>
                        <a:pt x="33609" y="286284"/>
                      </a:lnTo>
                      <a:lnTo>
                        <a:pt x="32868" y="283643"/>
                      </a:lnTo>
                      <a:lnTo>
                        <a:pt x="33047" y="282673"/>
                      </a:lnTo>
                      <a:lnTo>
                        <a:pt x="34579" y="282331"/>
                      </a:lnTo>
                      <a:lnTo>
                        <a:pt x="36389" y="281590"/>
                      </a:lnTo>
                      <a:lnTo>
                        <a:pt x="37350" y="279063"/>
                      </a:lnTo>
                      <a:lnTo>
                        <a:pt x="38540" y="276855"/>
                      </a:lnTo>
                      <a:lnTo>
                        <a:pt x="39901" y="273619"/>
                      </a:lnTo>
                      <a:lnTo>
                        <a:pt x="41409" y="273415"/>
                      </a:lnTo>
                      <a:lnTo>
                        <a:pt x="42208" y="269634"/>
                      </a:lnTo>
                      <a:lnTo>
                        <a:pt x="44237" y="266325"/>
                      </a:lnTo>
                      <a:lnTo>
                        <a:pt x="48352" y="256488"/>
                      </a:lnTo>
                      <a:lnTo>
                        <a:pt x="47114" y="256708"/>
                      </a:lnTo>
                      <a:lnTo>
                        <a:pt x="46128" y="258029"/>
                      </a:lnTo>
                      <a:lnTo>
                        <a:pt x="45003" y="257874"/>
                      </a:lnTo>
                      <a:lnTo>
                        <a:pt x="43723" y="257100"/>
                      </a:lnTo>
                      <a:lnTo>
                        <a:pt x="44106" y="252674"/>
                      </a:lnTo>
                      <a:lnTo>
                        <a:pt x="43373" y="252153"/>
                      </a:lnTo>
                      <a:lnTo>
                        <a:pt x="41384" y="255559"/>
                      </a:lnTo>
                      <a:lnTo>
                        <a:pt x="39673" y="252096"/>
                      </a:lnTo>
                      <a:lnTo>
                        <a:pt x="39518" y="249985"/>
                      </a:lnTo>
                      <a:lnTo>
                        <a:pt x="40235" y="247890"/>
                      </a:lnTo>
                      <a:lnTo>
                        <a:pt x="40137" y="246481"/>
                      </a:lnTo>
                      <a:lnTo>
                        <a:pt x="37358" y="247532"/>
                      </a:lnTo>
                      <a:lnTo>
                        <a:pt x="37489" y="246228"/>
                      </a:lnTo>
                      <a:lnTo>
                        <a:pt x="39217" y="244875"/>
                      </a:lnTo>
                      <a:lnTo>
                        <a:pt x="39999" y="243481"/>
                      </a:lnTo>
                      <a:lnTo>
                        <a:pt x="41507" y="241957"/>
                      </a:lnTo>
                      <a:lnTo>
                        <a:pt x="42134" y="239659"/>
                      </a:lnTo>
                      <a:lnTo>
                        <a:pt x="42493" y="236098"/>
                      </a:lnTo>
                      <a:lnTo>
                        <a:pt x="43169" y="232259"/>
                      </a:lnTo>
                      <a:lnTo>
                        <a:pt x="42664" y="230377"/>
                      </a:lnTo>
                      <a:lnTo>
                        <a:pt x="41849" y="228763"/>
                      </a:lnTo>
                      <a:lnTo>
                        <a:pt x="41172" y="221624"/>
                      </a:lnTo>
                      <a:lnTo>
                        <a:pt x="41360" y="217468"/>
                      </a:lnTo>
                      <a:lnTo>
                        <a:pt x="41010" y="214208"/>
                      </a:lnTo>
                      <a:lnTo>
                        <a:pt x="40309" y="211445"/>
                      </a:lnTo>
                      <a:lnTo>
                        <a:pt x="37008" y="207818"/>
                      </a:lnTo>
                      <a:lnTo>
                        <a:pt x="42224" y="203662"/>
                      </a:lnTo>
                      <a:lnTo>
                        <a:pt x="44090" y="200516"/>
                      </a:lnTo>
                      <a:lnTo>
                        <a:pt x="41718" y="194062"/>
                      </a:lnTo>
                      <a:lnTo>
                        <a:pt x="38622" y="188618"/>
                      </a:lnTo>
                      <a:lnTo>
                        <a:pt x="38532" y="185349"/>
                      </a:lnTo>
                      <a:lnTo>
                        <a:pt x="39355" y="185765"/>
                      </a:lnTo>
                      <a:lnTo>
                        <a:pt x="40390" y="185667"/>
                      </a:lnTo>
                      <a:lnTo>
                        <a:pt x="41335" y="178773"/>
                      </a:lnTo>
                      <a:lnTo>
                        <a:pt x="41116" y="176637"/>
                      </a:lnTo>
                      <a:lnTo>
                        <a:pt x="39380" y="173190"/>
                      </a:lnTo>
                      <a:lnTo>
                        <a:pt x="37220" y="173108"/>
                      </a:lnTo>
                      <a:lnTo>
                        <a:pt x="35329" y="168781"/>
                      </a:lnTo>
                      <a:lnTo>
                        <a:pt x="34245" y="167803"/>
                      </a:lnTo>
                      <a:lnTo>
                        <a:pt x="33381" y="165081"/>
                      </a:lnTo>
                      <a:lnTo>
                        <a:pt x="30333" y="159767"/>
                      </a:lnTo>
                      <a:lnTo>
                        <a:pt x="27921" y="157005"/>
                      </a:lnTo>
                      <a:lnTo>
                        <a:pt x="29730" y="150583"/>
                      </a:lnTo>
                      <a:lnTo>
                        <a:pt x="31303" y="149360"/>
                      </a:lnTo>
                      <a:lnTo>
                        <a:pt x="31816" y="147763"/>
                      </a:lnTo>
                      <a:lnTo>
                        <a:pt x="31205" y="143818"/>
                      </a:lnTo>
                      <a:lnTo>
                        <a:pt x="31377" y="142897"/>
                      </a:lnTo>
                      <a:lnTo>
                        <a:pt x="31743" y="142506"/>
                      </a:lnTo>
                      <a:lnTo>
                        <a:pt x="32110" y="142531"/>
                      </a:lnTo>
                      <a:lnTo>
                        <a:pt x="32746" y="143126"/>
                      </a:lnTo>
                      <a:lnTo>
                        <a:pt x="33927" y="144829"/>
                      </a:lnTo>
                      <a:lnTo>
                        <a:pt x="34922" y="146931"/>
                      </a:lnTo>
                      <a:lnTo>
                        <a:pt x="35720" y="147584"/>
                      </a:lnTo>
                      <a:lnTo>
                        <a:pt x="36910" y="146883"/>
                      </a:lnTo>
                      <a:lnTo>
                        <a:pt x="41564" y="142685"/>
                      </a:lnTo>
                      <a:lnTo>
                        <a:pt x="41262" y="141381"/>
                      </a:lnTo>
                      <a:lnTo>
                        <a:pt x="41686" y="138757"/>
                      </a:lnTo>
                      <a:lnTo>
                        <a:pt x="43242" y="136598"/>
                      </a:lnTo>
                      <a:lnTo>
                        <a:pt x="44905" y="135864"/>
                      </a:lnTo>
                      <a:lnTo>
                        <a:pt x="45402" y="134666"/>
                      </a:lnTo>
                      <a:lnTo>
                        <a:pt x="44995" y="132816"/>
                      </a:lnTo>
                      <a:lnTo>
                        <a:pt x="43251" y="128212"/>
                      </a:lnTo>
                      <a:lnTo>
                        <a:pt x="41686" y="125734"/>
                      </a:lnTo>
                      <a:lnTo>
                        <a:pt x="40684" y="123265"/>
                      </a:lnTo>
                      <a:lnTo>
                        <a:pt x="40154" y="120991"/>
                      </a:lnTo>
                      <a:lnTo>
                        <a:pt x="38385" y="118848"/>
                      </a:lnTo>
                      <a:lnTo>
                        <a:pt x="39135" y="116818"/>
                      </a:lnTo>
                      <a:lnTo>
                        <a:pt x="40504" y="114447"/>
                      </a:lnTo>
                      <a:lnTo>
                        <a:pt x="40969" y="114039"/>
                      </a:lnTo>
                      <a:lnTo>
                        <a:pt x="41718" y="114691"/>
                      </a:lnTo>
                      <a:lnTo>
                        <a:pt x="43764" y="118986"/>
                      </a:lnTo>
                      <a:lnTo>
                        <a:pt x="47024" y="121790"/>
                      </a:lnTo>
                      <a:lnTo>
                        <a:pt x="50439" y="126313"/>
                      </a:lnTo>
                      <a:lnTo>
                        <a:pt x="51840" y="129426"/>
                      </a:lnTo>
                      <a:lnTo>
                        <a:pt x="52949" y="129988"/>
                      </a:lnTo>
                      <a:lnTo>
                        <a:pt x="53919" y="131113"/>
                      </a:lnTo>
                      <a:lnTo>
                        <a:pt x="53495" y="131952"/>
                      </a:lnTo>
                      <a:lnTo>
                        <a:pt x="52427" y="132833"/>
                      </a:lnTo>
                      <a:lnTo>
                        <a:pt x="52117" y="134642"/>
                      </a:lnTo>
                      <a:lnTo>
                        <a:pt x="52810" y="135660"/>
                      </a:lnTo>
                      <a:lnTo>
                        <a:pt x="53544" y="136313"/>
                      </a:lnTo>
                      <a:lnTo>
                        <a:pt x="55532" y="135897"/>
                      </a:lnTo>
                      <a:lnTo>
                        <a:pt x="56633" y="133778"/>
                      </a:lnTo>
                      <a:lnTo>
                        <a:pt x="55899" y="124504"/>
                      </a:lnTo>
                      <a:lnTo>
                        <a:pt x="54742" y="119866"/>
                      </a:lnTo>
                      <a:lnTo>
                        <a:pt x="53413" y="118416"/>
                      </a:lnTo>
                      <a:lnTo>
                        <a:pt x="52215" y="116582"/>
                      </a:lnTo>
                      <a:lnTo>
                        <a:pt x="53022" y="115197"/>
                      </a:lnTo>
                      <a:lnTo>
                        <a:pt x="55149" y="114569"/>
                      </a:lnTo>
                      <a:lnTo>
                        <a:pt x="57953" y="112939"/>
                      </a:lnTo>
                      <a:lnTo>
                        <a:pt x="68181" y="104072"/>
                      </a:lnTo>
                      <a:lnTo>
                        <a:pt x="71685" y="95743"/>
                      </a:lnTo>
                      <a:lnTo>
                        <a:pt x="74375" y="92720"/>
                      </a:lnTo>
                      <a:lnTo>
                        <a:pt x="77406" y="90756"/>
                      </a:lnTo>
                      <a:lnTo>
                        <a:pt x="81114" y="91220"/>
                      </a:lnTo>
                      <a:lnTo>
                        <a:pt x="83999" y="90169"/>
                      </a:lnTo>
                      <a:lnTo>
                        <a:pt x="84880" y="87512"/>
                      </a:lnTo>
                      <a:lnTo>
                        <a:pt x="84097" y="83910"/>
                      </a:lnTo>
                      <a:lnTo>
                        <a:pt x="82989" y="81734"/>
                      </a:lnTo>
                      <a:lnTo>
                        <a:pt x="84048" y="78588"/>
                      </a:lnTo>
                      <a:lnTo>
                        <a:pt x="85157" y="73804"/>
                      </a:lnTo>
                      <a:lnTo>
                        <a:pt x="85075" y="69794"/>
                      </a:lnTo>
                      <a:lnTo>
                        <a:pt x="86493" y="67398"/>
                      </a:lnTo>
                      <a:lnTo>
                        <a:pt x="86004" y="66453"/>
                      </a:lnTo>
                      <a:lnTo>
                        <a:pt x="83926" y="68393"/>
                      </a:lnTo>
                      <a:lnTo>
                        <a:pt x="82288" y="69265"/>
                      </a:lnTo>
                      <a:lnTo>
                        <a:pt x="83217" y="67667"/>
                      </a:lnTo>
                      <a:lnTo>
                        <a:pt x="86118" y="63707"/>
                      </a:lnTo>
                      <a:lnTo>
                        <a:pt x="87634" y="57668"/>
                      </a:lnTo>
                      <a:lnTo>
                        <a:pt x="88791" y="55149"/>
                      </a:lnTo>
                      <a:lnTo>
                        <a:pt x="92891" y="51637"/>
                      </a:lnTo>
                      <a:lnTo>
                        <a:pt x="93706" y="49941"/>
                      </a:lnTo>
                      <a:lnTo>
                        <a:pt x="96794" y="47309"/>
                      </a:lnTo>
                      <a:lnTo>
                        <a:pt x="101790" y="41653"/>
                      </a:lnTo>
                      <a:lnTo>
                        <a:pt x="103697" y="40080"/>
                      </a:lnTo>
                      <a:lnTo>
                        <a:pt x="113379" y="43723"/>
                      </a:lnTo>
                      <a:lnTo>
                        <a:pt x="116452" y="43495"/>
                      </a:lnTo>
                      <a:lnTo>
                        <a:pt x="115906" y="44163"/>
                      </a:lnTo>
                      <a:lnTo>
                        <a:pt x="114487" y="44384"/>
                      </a:lnTo>
                      <a:lnTo>
                        <a:pt x="112442" y="45370"/>
                      </a:lnTo>
                      <a:lnTo>
                        <a:pt x="111847" y="47546"/>
                      </a:lnTo>
                      <a:lnTo>
                        <a:pt x="113232" y="49819"/>
                      </a:lnTo>
                      <a:lnTo>
                        <a:pt x="114708" y="50488"/>
                      </a:lnTo>
                      <a:lnTo>
                        <a:pt x="115963" y="49021"/>
                      </a:lnTo>
                      <a:lnTo>
                        <a:pt x="117209" y="44832"/>
                      </a:lnTo>
                      <a:lnTo>
                        <a:pt x="119214" y="40211"/>
                      </a:lnTo>
                      <a:lnTo>
                        <a:pt x="119679" y="35362"/>
                      </a:lnTo>
                      <a:lnTo>
                        <a:pt x="121097" y="33699"/>
                      </a:lnTo>
                      <a:lnTo>
                        <a:pt x="123175" y="33096"/>
                      </a:lnTo>
                      <a:lnTo>
                        <a:pt x="126891" y="34050"/>
                      </a:lnTo>
                      <a:lnTo>
                        <a:pt x="129719" y="35060"/>
                      </a:lnTo>
                      <a:lnTo>
                        <a:pt x="132661" y="35190"/>
                      </a:lnTo>
                      <a:lnTo>
                        <a:pt x="141683" y="34457"/>
                      </a:lnTo>
                      <a:lnTo>
                        <a:pt x="156353" y="21866"/>
                      </a:lnTo>
                      <a:lnTo>
                        <a:pt x="163166" y="19152"/>
                      </a:lnTo>
                      <a:lnTo>
                        <a:pt x="167428" y="16511"/>
                      </a:lnTo>
                      <a:lnTo>
                        <a:pt x="170150" y="11336"/>
                      </a:lnTo>
                      <a:lnTo>
                        <a:pt x="170884" y="7449"/>
                      </a:lnTo>
                      <a:lnTo>
                        <a:pt x="172880" y="5933"/>
                      </a:lnTo>
                      <a:lnTo>
                        <a:pt x="174991" y="5933"/>
                      </a:lnTo>
                      <a:lnTo>
                        <a:pt x="175953" y="4988"/>
                      </a:lnTo>
                      <a:lnTo>
                        <a:pt x="176254" y="3790"/>
                      </a:lnTo>
                      <a:lnTo>
                        <a:pt x="181332" y="432"/>
                      </a:lnTo>
                      <a:lnTo>
                        <a:pt x="184233" y="0"/>
                      </a:lnTo>
                      <a:lnTo>
                        <a:pt x="186792" y="65"/>
                      </a:lnTo>
                      <a:lnTo>
                        <a:pt x="192497" y="2975"/>
                      </a:lnTo>
                      <a:close/>
                    </a:path>
                  </a:pathLst>
                </a:custGeom>
                <a:solidFill>
                  <a:srgbClr val="D6D6D2"/>
                </a:solidFill>
                <a:ln w="6112" cap="rnd">
                  <a:solidFill>
                    <a:srgbClr val="FFFFFF"/>
                  </a:solidFill>
                  <a:prstDash val="solid"/>
                  <a:round/>
                </a:ln>
              </p:spPr>
              <p:txBody>
                <a:bodyPr rtlCol="0" anchor="ctr"/>
                <a:lstStyle/>
                <a:p>
                  <a:endParaRPr lang="en-US"/>
                </a:p>
              </p:txBody>
            </p:sp>
            <p:sp>
              <p:nvSpPr>
                <p:cNvPr id="756" name="Freeform: Shape 755">
                  <a:extLst>
                    <a:ext uri="{FF2B5EF4-FFF2-40B4-BE49-F238E27FC236}">
                      <a16:creationId xmlns:a16="http://schemas.microsoft.com/office/drawing/2014/main" id="{B6212E2F-B543-4235-A8D8-96FBEACBAB5A}"/>
                    </a:ext>
                  </a:extLst>
                </p:cNvPr>
                <p:cNvSpPr/>
                <p:nvPr/>
              </p:nvSpPr>
              <p:spPr>
                <a:xfrm>
                  <a:off x="6219688" y="4414068"/>
                  <a:ext cx="185813" cy="260359"/>
                </a:xfrm>
                <a:custGeom>
                  <a:avLst/>
                  <a:gdLst>
                    <a:gd name="connsiteX0" fmla="*/ 185512 w 185813"/>
                    <a:gd name="connsiteY0" fmla="*/ 6267 h 260359"/>
                    <a:gd name="connsiteX1" fmla="*/ 185814 w 185813"/>
                    <a:gd name="connsiteY1" fmla="*/ 11483 h 260359"/>
                    <a:gd name="connsiteX2" fmla="*/ 183947 w 185813"/>
                    <a:gd name="connsiteY2" fmla="*/ 17986 h 260359"/>
                    <a:gd name="connsiteX3" fmla="*/ 182554 w 185813"/>
                    <a:gd name="connsiteY3" fmla="*/ 22860 h 260359"/>
                    <a:gd name="connsiteX4" fmla="*/ 178903 w 185813"/>
                    <a:gd name="connsiteY4" fmla="*/ 30920 h 260359"/>
                    <a:gd name="connsiteX5" fmla="*/ 175635 w 185813"/>
                    <a:gd name="connsiteY5" fmla="*/ 38125 h 260359"/>
                    <a:gd name="connsiteX6" fmla="*/ 172171 w 185813"/>
                    <a:gd name="connsiteY6" fmla="*/ 50154 h 260359"/>
                    <a:gd name="connsiteX7" fmla="*/ 172187 w 185813"/>
                    <a:gd name="connsiteY7" fmla="*/ 58955 h 260359"/>
                    <a:gd name="connsiteX8" fmla="*/ 171812 w 185813"/>
                    <a:gd name="connsiteY8" fmla="*/ 64481 h 260359"/>
                    <a:gd name="connsiteX9" fmla="*/ 170672 w 185813"/>
                    <a:gd name="connsiteY9" fmla="*/ 67863 h 260359"/>
                    <a:gd name="connsiteX10" fmla="*/ 167966 w 185813"/>
                    <a:gd name="connsiteY10" fmla="*/ 76958 h 260359"/>
                    <a:gd name="connsiteX11" fmla="*/ 167542 w 185813"/>
                    <a:gd name="connsiteY11" fmla="*/ 84782 h 260359"/>
                    <a:gd name="connsiteX12" fmla="*/ 168528 w 185813"/>
                    <a:gd name="connsiteY12" fmla="*/ 94350 h 260359"/>
                    <a:gd name="connsiteX13" fmla="*/ 167599 w 185813"/>
                    <a:gd name="connsiteY13" fmla="*/ 103428 h 260359"/>
                    <a:gd name="connsiteX14" fmla="*/ 164755 w 185813"/>
                    <a:gd name="connsiteY14" fmla="*/ 112010 h 260359"/>
                    <a:gd name="connsiteX15" fmla="*/ 163532 w 185813"/>
                    <a:gd name="connsiteY15" fmla="*/ 118742 h 260359"/>
                    <a:gd name="connsiteX16" fmla="*/ 164258 w 185813"/>
                    <a:gd name="connsiteY16" fmla="*/ 126867 h 260359"/>
                    <a:gd name="connsiteX17" fmla="*/ 159034 w 185813"/>
                    <a:gd name="connsiteY17" fmla="*/ 133639 h 260359"/>
                    <a:gd name="connsiteX18" fmla="*/ 152498 w 185813"/>
                    <a:gd name="connsiteY18" fmla="*/ 140363 h 260359"/>
                    <a:gd name="connsiteX19" fmla="*/ 148252 w 185813"/>
                    <a:gd name="connsiteY19" fmla="*/ 142311 h 260359"/>
                    <a:gd name="connsiteX20" fmla="*/ 144951 w 185813"/>
                    <a:gd name="connsiteY20" fmla="*/ 144568 h 260359"/>
                    <a:gd name="connsiteX21" fmla="*/ 142596 w 185813"/>
                    <a:gd name="connsiteY21" fmla="*/ 147144 h 260359"/>
                    <a:gd name="connsiteX22" fmla="*/ 141838 w 185813"/>
                    <a:gd name="connsiteY22" fmla="*/ 148529 h 260359"/>
                    <a:gd name="connsiteX23" fmla="*/ 140126 w 185813"/>
                    <a:gd name="connsiteY23" fmla="*/ 151642 h 260359"/>
                    <a:gd name="connsiteX24" fmla="*/ 136223 w 185813"/>
                    <a:gd name="connsiteY24" fmla="*/ 161300 h 260359"/>
                    <a:gd name="connsiteX25" fmla="*/ 134194 w 185813"/>
                    <a:gd name="connsiteY25" fmla="*/ 165537 h 260359"/>
                    <a:gd name="connsiteX26" fmla="*/ 131528 w 185813"/>
                    <a:gd name="connsiteY26" fmla="*/ 169148 h 260359"/>
                    <a:gd name="connsiteX27" fmla="*/ 127568 w 185813"/>
                    <a:gd name="connsiteY27" fmla="*/ 173565 h 260359"/>
                    <a:gd name="connsiteX28" fmla="*/ 126117 w 185813"/>
                    <a:gd name="connsiteY28" fmla="*/ 175643 h 260359"/>
                    <a:gd name="connsiteX29" fmla="*/ 125530 w 185813"/>
                    <a:gd name="connsiteY29" fmla="*/ 178675 h 260359"/>
                    <a:gd name="connsiteX30" fmla="*/ 125783 w 185813"/>
                    <a:gd name="connsiteY30" fmla="*/ 184241 h 260359"/>
                    <a:gd name="connsiteX31" fmla="*/ 126166 w 185813"/>
                    <a:gd name="connsiteY31" fmla="*/ 201176 h 260359"/>
                    <a:gd name="connsiteX32" fmla="*/ 125506 w 185813"/>
                    <a:gd name="connsiteY32" fmla="*/ 206099 h 260359"/>
                    <a:gd name="connsiteX33" fmla="*/ 124414 w 185813"/>
                    <a:gd name="connsiteY33" fmla="*/ 214183 h 260359"/>
                    <a:gd name="connsiteX34" fmla="*/ 120526 w 185813"/>
                    <a:gd name="connsiteY34" fmla="*/ 223229 h 260359"/>
                    <a:gd name="connsiteX35" fmla="*/ 117609 w 185813"/>
                    <a:gd name="connsiteY35" fmla="*/ 228266 h 260359"/>
                    <a:gd name="connsiteX36" fmla="*/ 114699 w 185813"/>
                    <a:gd name="connsiteY36" fmla="*/ 229806 h 260359"/>
                    <a:gd name="connsiteX37" fmla="*/ 110861 w 185813"/>
                    <a:gd name="connsiteY37" fmla="*/ 231176 h 260359"/>
                    <a:gd name="connsiteX38" fmla="*/ 109019 w 185813"/>
                    <a:gd name="connsiteY38" fmla="*/ 232879 h 260359"/>
                    <a:gd name="connsiteX39" fmla="*/ 107902 w 185813"/>
                    <a:gd name="connsiteY39" fmla="*/ 235381 h 260359"/>
                    <a:gd name="connsiteX40" fmla="*/ 105767 w 185813"/>
                    <a:gd name="connsiteY40" fmla="*/ 237589 h 260359"/>
                    <a:gd name="connsiteX41" fmla="*/ 102605 w 185813"/>
                    <a:gd name="connsiteY41" fmla="*/ 239464 h 260359"/>
                    <a:gd name="connsiteX42" fmla="*/ 98604 w 185813"/>
                    <a:gd name="connsiteY42" fmla="*/ 244068 h 260359"/>
                    <a:gd name="connsiteX43" fmla="*/ 93804 w 185813"/>
                    <a:gd name="connsiteY43" fmla="*/ 251395 h 260359"/>
                    <a:gd name="connsiteX44" fmla="*/ 90495 w 185813"/>
                    <a:gd name="connsiteY44" fmla="*/ 255600 h 260359"/>
                    <a:gd name="connsiteX45" fmla="*/ 88734 w 185813"/>
                    <a:gd name="connsiteY45" fmla="*/ 256684 h 260359"/>
                    <a:gd name="connsiteX46" fmla="*/ 86901 w 185813"/>
                    <a:gd name="connsiteY46" fmla="*/ 256766 h 260359"/>
                    <a:gd name="connsiteX47" fmla="*/ 84994 w 185813"/>
                    <a:gd name="connsiteY47" fmla="*/ 255902 h 260359"/>
                    <a:gd name="connsiteX48" fmla="*/ 83429 w 185813"/>
                    <a:gd name="connsiteY48" fmla="*/ 255771 h 260359"/>
                    <a:gd name="connsiteX49" fmla="*/ 82622 w 185813"/>
                    <a:gd name="connsiteY49" fmla="*/ 256171 h 260359"/>
                    <a:gd name="connsiteX50" fmla="*/ 82117 w 185813"/>
                    <a:gd name="connsiteY50" fmla="*/ 255853 h 260359"/>
                    <a:gd name="connsiteX51" fmla="*/ 81359 w 185813"/>
                    <a:gd name="connsiteY51" fmla="*/ 255160 h 260359"/>
                    <a:gd name="connsiteX52" fmla="*/ 81391 w 185813"/>
                    <a:gd name="connsiteY52" fmla="*/ 253473 h 260359"/>
                    <a:gd name="connsiteX53" fmla="*/ 81163 w 185813"/>
                    <a:gd name="connsiteY53" fmla="*/ 250678 h 260359"/>
                    <a:gd name="connsiteX54" fmla="*/ 80234 w 185813"/>
                    <a:gd name="connsiteY54" fmla="*/ 247793 h 260359"/>
                    <a:gd name="connsiteX55" fmla="*/ 81334 w 185813"/>
                    <a:gd name="connsiteY55" fmla="*/ 245478 h 260359"/>
                    <a:gd name="connsiteX56" fmla="*/ 82329 w 185813"/>
                    <a:gd name="connsiteY56" fmla="*/ 243718 h 260359"/>
                    <a:gd name="connsiteX57" fmla="*/ 82149 w 185813"/>
                    <a:gd name="connsiteY57" fmla="*/ 242805 h 260359"/>
                    <a:gd name="connsiteX58" fmla="*/ 81163 w 185813"/>
                    <a:gd name="connsiteY58" fmla="*/ 241322 h 260359"/>
                    <a:gd name="connsiteX59" fmla="*/ 80055 w 185813"/>
                    <a:gd name="connsiteY59" fmla="*/ 239219 h 260359"/>
                    <a:gd name="connsiteX60" fmla="*/ 79012 w 185813"/>
                    <a:gd name="connsiteY60" fmla="*/ 239358 h 260359"/>
                    <a:gd name="connsiteX61" fmla="*/ 76811 w 185813"/>
                    <a:gd name="connsiteY61" fmla="*/ 240979 h 260359"/>
                    <a:gd name="connsiteX62" fmla="*/ 74489 w 185813"/>
                    <a:gd name="connsiteY62" fmla="*/ 242226 h 260359"/>
                    <a:gd name="connsiteX63" fmla="*/ 72345 w 185813"/>
                    <a:gd name="connsiteY63" fmla="*/ 242764 h 260359"/>
                    <a:gd name="connsiteX64" fmla="*/ 70642 w 185813"/>
                    <a:gd name="connsiteY64" fmla="*/ 244076 h 260359"/>
                    <a:gd name="connsiteX65" fmla="*/ 69704 w 185813"/>
                    <a:gd name="connsiteY65" fmla="*/ 244769 h 260359"/>
                    <a:gd name="connsiteX66" fmla="*/ 68262 w 185813"/>
                    <a:gd name="connsiteY66" fmla="*/ 244769 h 260359"/>
                    <a:gd name="connsiteX67" fmla="*/ 67439 w 185813"/>
                    <a:gd name="connsiteY67" fmla="*/ 244003 h 260359"/>
                    <a:gd name="connsiteX68" fmla="*/ 65662 w 185813"/>
                    <a:gd name="connsiteY68" fmla="*/ 243245 h 260359"/>
                    <a:gd name="connsiteX69" fmla="*/ 64701 w 185813"/>
                    <a:gd name="connsiteY69" fmla="*/ 243498 h 260359"/>
                    <a:gd name="connsiteX70" fmla="*/ 64155 w 185813"/>
                    <a:gd name="connsiteY70" fmla="*/ 243864 h 260359"/>
                    <a:gd name="connsiteX71" fmla="*/ 63926 w 185813"/>
                    <a:gd name="connsiteY71" fmla="*/ 246521 h 260359"/>
                    <a:gd name="connsiteX72" fmla="*/ 63715 w 185813"/>
                    <a:gd name="connsiteY72" fmla="*/ 248787 h 260359"/>
                    <a:gd name="connsiteX73" fmla="*/ 63372 w 185813"/>
                    <a:gd name="connsiteY73" fmla="*/ 250890 h 260359"/>
                    <a:gd name="connsiteX74" fmla="*/ 62729 w 185813"/>
                    <a:gd name="connsiteY74" fmla="*/ 251867 h 260359"/>
                    <a:gd name="connsiteX75" fmla="*/ 60047 w 185813"/>
                    <a:gd name="connsiteY75" fmla="*/ 252927 h 260359"/>
                    <a:gd name="connsiteX76" fmla="*/ 58238 w 185813"/>
                    <a:gd name="connsiteY76" fmla="*/ 254369 h 260359"/>
                    <a:gd name="connsiteX77" fmla="*/ 56665 w 185813"/>
                    <a:gd name="connsiteY77" fmla="*/ 255347 h 260359"/>
                    <a:gd name="connsiteX78" fmla="*/ 55687 w 185813"/>
                    <a:gd name="connsiteY78" fmla="*/ 255111 h 260359"/>
                    <a:gd name="connsiteX79" fmla="*/ 53739 w 185813"/>
                    <a:gd name="connsiteY79" fmla="*/ 253188 h 260359"/>
                    <a:gd name="connsiteX80" fmla="*/ 51816 w 185813"/>
                    <a:gd name="connsiteY80" fmla="*/ 251403 h 260359"/>
                    <a:gd name="connsiteX81" fmla="*/ 50740 w 185813"/>
                    <a:gd name="connsiteY81" fmla="*/ 249903 h 260359"/>
                    <a:gd name="connsiteX82" fmla="*/ 50153 w 185813"/>
                    <a:gd name="connsiteY82" fmla="*/ 248836 h 260359"/>
                    <a:gd name="connsiteX83" fmla="*/ 49754 w 185813"/>
                    <a:gd name="connsiteY83" fmla="*/ 248363 h 260359"/>
                    <a:gd name="connsiteX84" fmla="*/ 48540 w 185813"/>
                    <a:gd name="connsiteY84" fmla="*/ 248282 h 260359"/>
                    <a:gd name="connsiteX85" fmla="*/ 48173 w 185813"/>
                    <a:gd name="connsiteY85" fmla="*/ 249276 h 260359"/>
                    <a:gd name="connsiteX86" fmla="*/ 47570 w 185813"/>
                    <a:gd name="connsiteY86" fmla="*/ 248811 h 260359"/>
                    <a:gd name="connsiteX87" fmla="*/ 45655 w 185813"/>
                    <a:gd name="connsiteY87" fmla="*/ 246790 h 260359"/>
                    <a:gd name="connsiteX88" fmla="*/ 43430 w 185813"/>
                    <a:gd name="connsiteY88" fmla="*/ 243587 h 260359"/>
                    <a:gd name="connsiteX89" fmla="*/ 42607 w 185813"/>
                    <a:gd name="connsiteY89" fmla="*/ 243098 h 260359"/>
                    <a:gd name="connsiteX90" fmla="*/ 41368 w 185813"/>
                    <a:gd name="connsiteY90" fmla="*/ 243147 h 260359"/>
                    <a:gd name="connsiteX91" fmla="*/ 39412 w 185813"/>
                    <a:gd name="connsiteY91" fmla="*/ 244321 h 260359"/>
                    <a:gd name="connsiteX92" fmla="*/ 37481 w 185813"/>
                    <a:gd name="connsiteY92" fmla="*/ 246163 h 260359"/>
                    <a:gd name="connsiteX93" fmla="*/ 34017 w 185813"/>
                    <a:gd name="connsiteY93" fmla="*/ 247858 h 260359"/>
                    <a:gd name="connsiteX94" fmla="*/ 31099 w 185813"/>
                    <a:gd name="connsiteY94" fmla="*/ 248811 h 260359"/>
                    <a:gd name="connsiteX95" fmla="*/ 30855 w 185813"/>
                    <a:gd name="connsiteY95" fmla="*/ 249952 h 260359"/>
                    <a:gd name="connsiteX96" fmla="*/ 30171 w 185813"/>
                    <a:gd name="connsiteY96" fmla="*/ 251949 h 260359"/>
                    <a:gd name="connsiteX97" fmla="*/ 29209 w 185813"/>
                    <a:gd name="connsiteY97" fmla="*/ 253196 h 260359"/>
                    <a:gd name="connsiteX98" fmla="*/ 26625 w 185813"/>
                    <a:gd name="connsiteY98" fmla="*/ 253587 h 260359"/>
                    <a:gd name="connsiteX99" fmla="*/ 25721 w 185813"/>
                    <a:gd name="connsiteY99" fmla="*/ 255356 h 260359"/>
                    <a:gd name="connsiteX100" fmla="*/ 23496 w 185813"/>
                    <a:gd name="connsiteY100" fmla="*/ 258787 h 260359"/>
                    <a:gd name="connsiteX101" fmla="*/ 22021 w 185813"/>
                    <a:gd name="connsiteY101" fmla="*/ 260360 h 260359"/>
                    <a:gd name="connsiteX102" fmla="*/ 21637 w 185813"/>
                    <a:gd name="connsiteY102" fmla="*/ 259683 h 260359"/>
                    <a:gd name="connsiteX103" fmla="*/ 20749 w 185813"/>
                    <a:gd name="connsiteY103" fmla="*/ 258860 h 260359"/>
                    <a:gd name="connsiteX104" fmla="*/ 18924 w 185813"/>
                    <a:gd name="connsiteY104" fmla="*/ 256203 h 260359"/>
                    <a:gd name="connsiteX105" fmla="*/ 17123 w 185813"/>
                    <a:gd name="connsiteY105" fmla="*/ 252894 h 260359"/>
                    <a:gd name="connsiteX106" fmla="*/ 16642 w 185813"/>
                    <a:gd name="connsiteY106" fmla="*/ 251379 h 260359"/>
                    <a:gd name="connsiteX107" fmla="*/ 16136 w 185813"/>
                    <a:gd name="connsiteY107" fmla="*/ 250523 h 260359"/>
                    <a:gd name="connsiteX108" fmla="*/ 16047 w 185813"/>
                    <a:gd name="connsiteY108" fmla="*/ 247190 h 260359"/>
                    <a:gd name="connsiteX109" fmla="*/ 13333 w 185813"/>
                    <a:gd name="connsiteY109" fmla="*/ 243253 h 260359"/>
                    <a:gd name="connsiteX110" fmla="*/ 6536 w 185813"/>
                    <a:gd name="connsiteY110" fmla="*/ 236253 h 260359"/>
                    <a:gd name="connsiteX111" fmla="*/ 5802 w 185813"/>
                    <a:gd name="connsiteY111" fmla="*/ 234158 h 260359"/>
                    <a:gd name="connsiteX112" fmla="*/ 0 w 185813"/>
                    <a:gd name="connsiteY112" fmla="*/ 227728 h 260359"/>
                    <a:gd name="connsiteX113" fmla="*/ 1475 w 185813"/>
                    <a:gd name="connsiteY113" fmla="*/ 223107 h 260359"/>
                    <a:gd name="connsiteX114" fmla="*/ 2584 w 185813"/>
                    <a:gd name="connsiteY114" fmla="*/ 220972 h 260359"/>
                    <a:gd name="connsiteX115" fmla="*/ 3920 w 185813"/>
                    <a:gd name="connsiteY115" fmla="*/ 219480 h 260359"/>
                    <a:gd name="connsiteX116" fmla="*/ 9266 w 185813"/>
                    <a:gd name="connsiteY116" fmla="*/ 215870 h 260359"/>
                    <a:gd name="connsiteX117" fmla="*/ 10073 w 185813"/>
                    <a:gd name="connsiteY117" fmla="*/ 215993 h 260359"/>
                    <a:gd name="connsiteX118" fmla="*/ 13773 w 185813"/>
                    <a:gd name="connsiteY118" fmla="*/ 220711 h 260359"/>
                    <a:gd name="connsiteX119" fmla="*/ 14955 w 185813"/>
                    <a:gd name="connsiteY119" fmla="*/ 221078 h 260359"/>
                    <a:gd name="connsiteX120" fmla="*/ 16275 w 185813"/>
                    <a:gd name="connsiteY120" fmla="*/ 220956 h 260359"/>
                    <a:gd name="connsiteX121" fmla="*/ 17824 w 185813"/>
                    <a:gd name="connsiteY121" fmla="*/ 221143 h 260359"/>
                    <a:gd name="connsiteX122" fmla="*/ 18590 w 185813"/>
                    <a:gd name="connsiteY122" fmla="*/ 220222 h 260359"/>
                    <a:gd name="connsiteX123" fmla="*/ 18712 w 185813"/>
                    <a:gd name="connsiteY123" fmla="*/ 219008 h 260359"/>
                    <a:gd name="connsiteX124" fmla="*/ 17587 w 185813"/>
                    <a:gd name="connsiteY124" fmla="*/ 217655 h 260359"/>
                    <a:gd name="connsiteX125" fmla="*/ 17424 w 185813"/>
                    <a:gd name="connsiteY125" fmla="*/ 216204 h 260359"/>
                    <a:gd name="connsiteX126" fmla="*/ 18215 w 185813"/>
                    <a:gd name="connsiteY126" fmla="*/ 214607 h 260359"/>
                    <a:gd name="connsiteX127" fmla="*/ 18663 w 185813"/>
                    <a:gd name="connsiteY127" fmla="*/ 212863 h 260359"/>
                    <a:gd name="connsiteX128" fmla="*/ 19804 w 185813"/>
                    <a:gd name="connsiteY128" fmla="*/ 210793 h 260359"/>
                    <a:gd name="connsiteX129" fmla="*/ 19943 w 185813"/>
                    <a:gd name="connsiteY129" fmla="*/ 209823 h 260359"/>
                    <a:gd name="connsiteX130" fmla="*/ 18728 w 185813"/>
                    <a:gd name="connsiteY130" fmla="*/ 208772 h 260359"/>
                    <a:gd name="connsiteX131" fmla="*/ 16218 w 185813"/>
                    <a:gd name="connsiteY131" fmla="*/ 207142 h 260359"/>
                    <a:gd name="connsiteX132" fmla="*/ 14506 w 185813"/>
                    <a:gd name="connsiteY132" fmla="*/ 205577 h 260359"/>
                    <a:gd name="connsiteX133" fmla="*/ 13846 w 185813"/>
                    <a:gd name="connsiteY133" fmla="*/ 204069 h 260359"/>
                    <a:gd name="connsiteX134" fmla="*/ 14335 w 185813"/>
                    <a:gd name="connsiteY134" fmla="*/ 202162 h 260359"/>
                    <a:gd name="connsiteX135" fmla="*/ 15705 w 185813"/>
                    <a:gd name="connsiteY135" fmla="*/ 200606 h 260359"/>
                    <a:gd name="connsiteX136" fmla="*/ 15623 w 185813"/>
                    <a:gd name="connsiteY136" fmla="*/ 199766 h 260359"/>
                    <a:gd name="connsiteX137" fmla="*/ 14409 w 185813"/>
                    <a:gd name="connsiteY137" fmla="*/ 198373 h 260359"/>
                    <a:gd name="connsiteX138" fmla="*/ 13520 w 185813"/>
                    <a:gd name="connsiteY138" fmla="*/ 196881 h 260359"/>
                    <a:gd name="connsiteX139" fmla="*/ 12616 w 185813"/>
                    <a:gd name="connsiteY139" fmla="*/ 195936 h 260359"/>
                    <a:gd name="connsiteX140" fmla="*/ 10106 w 185813"/>
                    <a:gd name="connsiteY140" fmla="*/ 195382 h 260359"/>
                    <a:gd name="connsiteX141" fmla="*/ 10587 w 185813"/>
                    <a:gd name="connsiteY141" fmla="*/ 193369 h 260359"/>
                    <a:gd name="connsiteX142" fmla="*/ 11516 w 185813"/>
                    <a:gd name="connsiteY142" fmla="*/ 190427 h 260359"/>
                    <a:gd name="connsiteX143" fmla="*/ 11728 w 185813"/>
                    <a:gd name="connsiteY143" fmla="*/ 188153 h 260359"/>
                    <a:gd name="connsiteX144" fmla="*/ 11035 w 185813"/>
                    <a:gd name="connsiteY144" fmla="*/ 182220 h 260359"/>
                    <a:gd name="connsiteX145" fmla="*/ 11092 w 185813"/>
                    <a:gd name="connsiteY145" fmla="*/ 181136 h 260359"/>
                    <a:gd name="connsiteX146" fmla="*/ 11784 w 185813"/>
                    <a:gd name="connsiteY146" fmla="*/ 180582 h 260359"/>
                    <a:gd name="connsiteX147" fmla="*/ 13284 w 185813"/>
                    <a:gd name="connsiteY147" fmla="*/ 181242 h 260359"/>
                    <a:gd name="connsiteX148" fmla="*/ 14792 w 185813"/>
                    <a:gd name="connsiteY148" fmla="*/ 182147 h 260359"/>
                    <a:gd name="connsiteX149" fmla="*/ 18899 w 185813"/>
                    <a:gd name="connsiteY149" fmla="*/ 180851 h 260359"/>
                    <a:gd name="connsiteX150" fmla="*/ 20334 w 185813"/>
                    <a:gd name="connsiteY150" fmla="*/ 180639 h 260359"/>
                    <a:gd name="connsiteX151" fmla="*/ 21515 w 185813"/>
                    <a:gd name="connsiteY151" fmla="*/ 181788 h 260359"/>
                    <a:gd name="connsiteX152" fmla="*/ 23170 w 185813"/>
                    <a:gd name="connsiteY152" fmla="*/ 182676 h 260359"/>
                    <a:gd name="connsiteX153" fmla="*/ 32640 w 185813"/>
                    <a:gd name="connsiteY153" fmla="*/ 180207 h 260359"/>
                    <a:gd name="connsiteX154" fmla="*/ 32827 w 185813"/>
                    <a:gd name="connsiteY154" fmla="*/ 177673 h 260359"/>
                    <a:gd name="connsiteX155" fmla="*/ 33365 w 185813"/>
                    <a:gd name="connsiteY155" fmla="*/ 175391 h 260359"/>
                    <a:gd name="connsiteX156" fmla="*/ 33430 w 185813"/>
                    <a:gd name="connsiteY156" fmla="*/ 173679 h 260359"/>
                    <a:gd name="connsiteX157" fmla="*/ 33031 w 185813"/>
                    <a:gd name="connsiteY157" fmla="*/ 172571 h 260359"/>
                    <a:gd name="connsiteX158" fmla="*/ 32575 w 185813"/>
                    <a:gd name="connsiteY158" fmla="*/ 171748 h 260359"/>
                    <a:gd name="connsiteX159" fmla="*/ 32297 w 185813"/>
                    <a:gd name="connsiteY159" fmla="*/ 170028 h 260359"/>
                    <a:gd name="connsiteX160" fmla="*/ 32289 w 185813"/>
                    <a:gd name="connsiteY160" fmla="*/ 168186 h 260359"/>
                    <a:gd name="connsiteX161" fmla="*/ 33194 w 185813"/>
                    <a:gd name="connsiteY161" fmla="*/ 167330 h 260359"/>
                    <a:gd name="connsiteX162" fmla="*/ 36209 w 185813"/>
                    <a:gd name="connsiteY162" fmla="*/ 165130 h 260359"/>
                    <a:gd name="connsiteX163" fmla="*/ 37155 w 185813"/>
                    <a:gd name="connsiteY163" fmla="*/ 165220 h 260359"/>
                    <a:gd name="connsiteX164" fmla="*/ 39273 w 185813"/>
                    <a:gd name="connsiteY164" fmla="*/ 166401 h 260359"/>
                    <a:gd name="connsiteX165" fmla="*/ 41254 w 185813"/>
                    <a:gd name="connsiteY165" fmla="*/ 168276 h 260359"/>
                    <a:gd name="connsiteX166" fmla="*/ 43006 w 185813"/>
                    <a:gd name="connsiteY166" fmla="*/ 172220 h 260359"/>
                    <a:gd name="connsiteX167" fmla="*/ 44229 w 185813"/>
                    <a:gd name="connsiteY167" fmla="*/ 175603 h 260359"/>
                    <a:gd name="connsiteX168" fmla="*/ 46177 w 185813"/>
                    <a:gd name="connsiteY168" fmla="*/ 179702 h 260359"/>
                    <a:gd name="connsiteX169" fmla="*/ 50308 w 185813"/>
                    <a:gd name="connsiteY169" fmla="*/ 181372 h 260359"/>
                    <a:gd name="connsiteX170" fmla="*/ 55231 w 185813"/>
                    <a:gd name="connsiteY170" fmla="*/ 182448 h 260359"/>
                    <a:gd name="connsiteX171" fmla="*/ 57896 w 185813"/>
                    <a:gd name="connsiteY171" fmla="*/ 182163 h 260359"/>
                    <a:gd name="connsiteX172" fmla="*/ 61710 w 185813"/>
                    <a:gd name="connsiteY172" fmla="*/ 178659 h 260359"/>
                    <a:gd name="connsiteX173" fmla="*/ 63869 w 185813"/>
                    <a:gd name="connsiteY173" fmla="*/ 175937 h 260359"/>
                    <a:gd name="connsiteX174" fmla="*/ 64579 w 185813"/>
                    <a:gd name="connsiteY174" fmla="*/ 174470 h 260359"/>
                    <a:gd name="connsiteX175" fmla="*/ 65826 w 185813"/>
                    <a:gd name="connsiteY175" fmla="*/ 175219 h 260359"/>
                    <a:gd name="connsiteX176" fmla="*/ 67252 w 185813"/>
                    <a:gd name="connsiteY176" fmla="*/ 178822 h 260359"/>
                    <a:gd name="connsiteX177" fmla="*/ 68156 w 185813"/>
                    <a:gd name="connsiteY177" fmla="*/ 180215 h 260359"/>
                    <a:gd name="connsiteX178" fmla="*/ 68384 w 185813"/>
                    <a:gd name="connsiteY178" fmla="*/ 181543 h 260359"/>
                    <a:gd name="connsiteX179" fmla="*/ 67749 w 185813"/>
                    <a:gd name="connsiteY179" fmla="*/ 183198 h 260359"/>
                    <a:gd name="connsiteX180" fmla="*/ 68368 w 185813"/>
                    <a:gd name="connsiteY180" fmla="*/ 184266 h 260359"/>
                    <a:gd name="connsiteX181" fmla="*/ 71025 w 185813"/>
                    <a:gd name="connsiteY181" fmla="*/ 185015 h 260359"/>
                    <a:gd name="connsiteX182" fmla="*/ 73348 w 185813"/>
                    <a:gd name="connsiteY182" fmla="*/ 184306 h 260359"/>
                    <a:gd name="connsiteX183" fmla="*/ 74391 w 185813"/>
                    <a:gd name="connsiteY183" fmla="*/ 182839 h 260359"/>
                    <a:gd name="connsiteX184" fmla="*/ 76135 w 185813"/>
                    <a:gd name="connsiteY184" fmla="*/ 180932 h 260359"/>
                    <a:gd name="connsiteX185" fmla="*/ 76151 w 185813"/>
                    <a:gd name="connsiteY185" fmla="*/ 179319 h 260359"/>
                    <a:gd name="connsiteX186" fmla="*/ 75206 w 185813"/>
                    <a:gd name="connsiteY186" fmla="*/ 178275 h 260359"/>
                    <a:gd name="connsiteX187" fmla="*/ 75206 w 185813"/>
                    <a:gd name="connsiteY187" fmla="*/ 176841 h 260359"/>
                    <a:gd name="connsiteX188" fmla="*/ 76184 w 185813"/>
                    <a:gd name="connsiteY188" fmla="*/ 175700 h 260359"/>
                    <a:gd name="connsiteX189" fmla="*/ 77121 w 185813"/>
                    <a:gd name="connsiteY189" fmla="*/ 172612 h 260359"/>
                    <a:gd name="connsiteX190" fmla="*/ 77415 w 185813"/>
                    <a:gd name="connsiteY190" fmla="*/ 170370 h 260359"/>
                    <a:gd name="connsiteX191" fmla="*/ 78327 w 185813"/>
                    <a:gd name="connsiteY191" fmla="*/ 168928 h 260359"/>
                    <a:gd name="connsiteX192" fmla="*/ 80063 w 185813"/>
                    <a:gd name="connsiteY192" fmla="*/ 167934 h 260359"/>
                    <a:gd name="connsiteX193" fmla="*/ 80691 w 185813"/>
                    <a:gd name="connsiteY193" fmla="*/ 167037 h 260359"/>
                    <a:gd name="connsiteX194" fmla="*/ 81668 w 185813"/>
                    <a:gd name="connsiteY194" fmla="*/ 161674 h 260359"/>
                    <a:gd name="connsiteX195" fmla="*/ 81163 w 185813"/>
                    <a:gd name="connsiteY195" fmla="*/ 159743 h 260359"/>
                    <a:gd name="connsiteX196" fmla="*/ 81163 w 185813"/>
                    <a:gd name="connsiteY196" fmla="*/ 158146 h 260359"/>
                    <a:gd name="connsiteX197" fmla="*/ 82263 w 185813"/>
                    <a:gd name="connsiteY197" fmla="*/ 156100 h 260359"/>
                    <a:gd name="connsiteX198" fmla="*/ 82475 w 185813"/>
                    <a:gd name="connsiteY198" fmla="*/ 152742 h 260359"/>
                    <a:gd name="connsiteX199" fmla="*/ 82003 w 185813"/>
                    <a:gd name="connsiteY199" fmla="*/ 147258 h 260359"/>
                    <a:gd name="connsiteX200" fmla="*/ 81685 w 185813"/>
                    <a:gd name="connsiteY200" fmla="*/ 143484 h 260359"/>
                    <a:gd name="connsiteX201" fmla="*/ 81351 w 185813"/>
                    <a:gd name="connsiteY201" fmla="*/ 139540 h 260359"/>
                    <a:gd name="connsiteX202" fmla="*/ 82206 w 185813"/>
                    <a:gd name="connsiteY202" fmla="*/ 134348 h 260359"/>
                    <a:gd name="connsiteX203" fmla="*/ 83095 w 185813"/>
                    <a:gd name="connsiteY203" fmla="*/ 128953 h 260359"/>
                    <a:gd name="connsiteX204" fmla="*/ 82940 w 185813"/>
                    <a:gd name="connsiteY204" fmla="*/ 127617 h 260359"/>
                    <a:gd name="connsiteX205" fmla="*/ 81709 w 185813"/>
                    <a:gd name="connsiteY205" fmla="*/ 125954 h 260359"/>
                    <a:gd name="connsiteX206" fmla="*/ 80202 w 185813"/>
                    <a:gd name="connsiteY206" fmla="*/ 124471 h 260359"/>
                    <a:gd name="connsiteX207" fmla="*/ 76306 w 185813"/>
                    <a:gd name="connsiteY207" fmla="*/ 123240 h 260359"/>
                    <a:gd name="connsiteX208" fmla="*/ 74855 w 185813"/>
                    <a:gd name="connsiteY208" fmla="*/ 121268 h 260359"/>
                    <a:gd name="connsiteX209" fmla="*/ 73723 w 185813"/>
                    <a:gd name="connsiteY209" fmla="*/ 119190 h 260359"/>
                    <a:gd name="connsiteX210" fmla="*/ 72891 w 185813"/>
                    <a:gd name="connsiteY210" fmla="*/ 118522 h 260359"/>
                    <a:gd name="connsiteX211" fmla="*/ 68645 w 185813"/>
                    <a:gd name="connsiteY211" fmla="*/ 117699 h 260359"/>
                    <a:gd name="connsiteX212" fmla="*/ 67700 w 185813"/>
                    <a:gd name="connsiteY212" fmla="*/ 116517 h 260359"/>
                    <a:gd name="connsiteX213" fmla="*/ 68083 w 185813"/>
                    <a:gd name="connsiteY213" fmla="*/ 113159 h 260359"/>
                    <a:gd name="connsiteX214" fmla="*/ 68458 w 185813"/>
                    <a:gd name="connsiteY214" fmla="*/ 108180 h 260359"/>
                    <a:gd name="connsiteX215" fmla="*/ 68319 w 185813"/>
                    <a:gd name="connsiteY215" fmla="*/ 104724 h 260359"/>
                    <a:gd name="connsiteX216" fmla="*/ 69069 w 185813"/>
                    <a:gd name="connsiteY216" fmla="*/ 101929 h 260359"/>
                    <a:gd name="connsiteX217" fmla="*/ 69925 w 185813"/>
                    <a:gd name="connsiteY217" fmla="*/ 99842 h 260359"/>
                    <a:gd name="connsiteX218" fmla="*/ 71799 w 185813"/>
                    <a:gd name="connsiteY218" fmla="*/ 97626 h 260359"/>
                    <a:gd name="connsiteX219" fmla="*/ 72793 w 185813"/>
                    <a:gd name="connsiteY219" fmla="*/ 95018 h 260359"/>
                    <a:gd name="connsiteX220" fmla="*/ 73348 w 185813"/>
                    <a:gd name="connsiteY220" fmla="*/ 94374 h 260359"/>
                    <a:gd name="connsiteX221" fmla="*/ 76893 w 185813"/>
                    <a:gd name="connsiteY221" fmla="*/ 93934 h 260359"/>
                    <a:gd name="connsiteX222" fmla="*/ 78188 w 185813"/>
                    <a:gd name="connsiteY222" fmla="*/ 92850 h 260359"/>
                    <a:gd name="connsiteX223" fmla="*/ 79207 w 185813"/>
                    <a:gd name="connsiteY223" fmla="*/ 91742 h 260359"/>
                    <a:gd name="connsiteX224" fmla="*/ 79639 w 185813"/>
                    <a:gd name="connsiteY224" fmla="*/ 90267 h 260359"/>
                    <a:gd name="connsiteX225" fmla="*/ 80862 w 185813"/>
                    <a:gd name="connsiteY225" fmla="*/ 87814 h 260359"/>
                    <a:gd name="connsiteX226" fmla="*/ 81946 w 185813"/>
                    <a:gd name="connsiteY226" fmla="*/ 86143 h 260359"/>
                    <a:gd name="connsiteX227" fmla="*/ 82068 w 185813"/>
                    <a:gd name="connsiteY227" fmla="*/ 85018 h 260359"/>
                    <a:gd name="connsiteX228" fmla="*/ 81832 w 185813"/>
                    <a:gd name="connsiteY228" fmla="*/ 83453 h 260359"/>
                    <a:gd name="connsiteX229" fmla="*/ 80756 w 185813"/>
                    <a:gd name="connsiteY229" fmla="*/ 80365 h 260359"/>
                    <a:gd name="connsiteX230" fmla="*/ 79476 w 185813"/>
                    <a:gd name="connsiteY230" fmla="*/ 77789 h 260359"/>
                    <a:gd name="connsiteX231" fmla="*/ 78685 w 185813"/>
                    <a:gd name="connsiteY231" fmla="*/ 76877 h 260359"/>
                    <a:gd name="connsiteX232" fmla="*/ 77121 w 185813"/>
                    <a:gd name="connsiteY232" fmla="*/ 70838 h 260359"/>
                    <a:gd name="connsiteX233" fmla="*/ 75662 w 185813"/>
                    <a:gd name="connsiteY233" fmla="*/ 69411 h 260359"/>
                    <a:gd name="connsiteX234" fmla="*/ 72810 w 185813"/>
                    <a:gd name="connsiteY234" fmla="*/ 68645 h 260359"/>
                    <a:gd name="connsiteX235" fmla="*/ 67480 w 185813"/>
                    <a:gd name="connsiteY235" fmla="*/ 67961 h 260359"/>
                    <a:gd name="connsiteX236" fmla="*/ 64261 w 185813"/>
                    <a:gd name="connsiteY236" fmla="*/ 69053 h 260359"/>
                    <a:gd name="connsiteX237" fmla="*/ 59355 w 185813"/>
                    <a:gd name="connsiteY237" fmla="*/ 71074 h 260359"/>
                    <a:gd name="connsiteX238" fmla="*/ 55606 w 185813"/>
                    <a:gd name="connsiteY238" fmla="*/ 72476 h 260359"/>
                    <a:gd name="connsiteX239" fmla="*/ 53177 w 185813"/>
                    <a:gd name="connsiteY239" fmla="*/ 73282 h 260359"/>
                    <a:gd name="connsiteX240" fmla="*/ 51726 w 185813"/>
                    <a:gd name="connsiteY240" fmla="*/ 73054 h 260359"/>
                    <a:gd name="connsiteX241" fmla="*/ 51074 w 185813"/>
                    <a:gd name="connsiteY241" fmla="*/ 72133 h 260359"/>
                    <a:gd name="connsiteX242" fmla="*/ 52036 w 185813"/>
                    <a:gd name="connsiteY242" fmla="*/ 71351 h 260359"/>
                    <a:gd name="connsiteX243" fmla="*/ 52509 w 185813"/>
                    <a:gd name="connsiteY243" fmla="*/ 69517 h 260359"/>
                    <a:gd name="connsiteX244" fmla="*/ 51897 w 185813"/>
                    <a:gd name="connsiteY244" fmla="*/ 66877 h 260359"/>
                    <a:gd name="connsiteX245" fmla="*/ 50952 w 185813"/>
                    <a:gd name="connsiteY245" fmla="*/ 64481 h 260359"/>
                    <a:gd name="connsiteX246" fmla="*/ 50406 w 185813"/>
                    <a:gd name="connsiteY246" fmla="*/ 61090 h 260359"/>
                    <a:gd name="connsiteX247" fmla="*/ 50651 w 185813"/>
                    <a:gd name="connsiteY247" fmla="*/ 56885 h 260359"/>
                    <a:gd name="connsiteX248" fmla="*/ 51564 w 185813"/>
                    <a:gd name="connsiteY248" fmla="*/ 52941 h 260359"/>
                    <a:gd name="connsiteX249" fmla="*/ 53535 w 185813"/>
                    <a:gd name="connsiteY249" fmla="*/ 47807 h 260359"/>
                    <a:gd name="connsiteX250" fmla="*/ 53650 w 185813"/>
                    <a:gd name="connsiteY250" fmla="*/ 45712 h 260359"/>
                    <a:gd name="connsiteX251" fmla="*/ 59599 w 185813"/>
                    <a:gd name="connsiteY251" fmla="*/ 45777 h 260359"/>
                    <a:gd name="connsiteX252" fmla="*/ 65540 w 185813"/>
                    <a:gd name="connsiteY252" fmla="*/ 45834 h 260359"/>
                    <a:gd name="connsiteX253" fmla="*/ 72027 w 185813"/>
                    <a:gd name="connsiteY253" fmla="*/ 45793 h 260359"/>
                    <a:gd name="connsiteX254" fmla="*/ 78294 w 185813"/>
                    <a:gd name="connsiteY254" fmla="*/ 45745 h 260359"/>
                    <a:gd name="connsiteX255" fmla="*/ 83184 w 185813"/>
                    <a:gd name="connsiteY255" fmla="*/ 45916 h 260359"/>
                    <a:gd name="connsiteX256" fmla="*/ 85531 w 185813"/>
                    <a:gd name="connsiteY256" fmla="*/ 44587 h 260359"/>
                    <a:gd name="connsiteX257" fmla="*/ 87773 w 185813"/>
                    <a:gd name="connsiteY257" fmla="*/ 46600 h 260359"/>
                    <a:gd name="connsiteX258" fmla="*/ 88865 w 185813"/>
                    <a:gd name="connsiteY258" fmla="*/ 47040 h 260359"/>
                    <a:gd name="connsiteX259" fmla="*/ 89240 w 185813"/>
                    <a:gd name="connsiteY259" fmla="*/ 46886 h 260359"/>
                    <a:gd name="connsiteX260" fmla="*/ 90087 w 185813"/>
                    <a:gd name="connsiteY260" fmla="*/ 48303 h 260359"/>
                    <a:gd name="connsiteX261" fmla="*/ 92874 w 185813"/>
                    <a:gd name="connsiteY261" fmla="*/ 48141 h 260359"/>
                    <a:gd name="connsiteX262" fmla="*/ 93315 w 185813"/>
                    <a:gd name="connsiteY262" fmla="*/ 48475 h 260359"/>
                    <a:gd name="connsiteX263" fmla="*/ 93551 w 185813"/>
                    <a:gd name="connsiteY263" fmla="*/ 50186 h 260359"/>
                    <a:gd name="connsiteX264" fmla="*/ 96142 w 185813"/>
                    <a:gd name="connsiteY264" fmla="*/ 50145 h 260359"/>
                    <a:gd name="connsiteX265" fmla="*/ 97414 w 185813"/>
                    <a:gd name="connsiteY265" fmla="*/ 50528 h 260359"/>
                    <a:gd name="connsiteX266" fmla="*/ 98449 w 185813"/>
                    <a:gd name="connsiteY266" fmla="*/ 50479 h 260359"/>
                    <a:gd name="connsiteX267" fmla="*/ 99940 w 185813"/>
                    <a:gd name="connsiteY267" fmla="*/ 49485 h 260359"/>
                    <a:gd name="connsiteX268" fmla="*/ 101016 w 185813"/>
                    <a:gd name="connsiteY268" fmla="*/ 49819 h 260359"/>
                    <a:gd name="connsiteX269" fmla="*/ 102972 w 185813"/>
                    <a:gd name="connsiteY269" fmla="*/ 51099 h 260359"/>
                    <a:gd name="connsiteX270" fmla="*/ 104374 w 185813"/>
                    <a:gd name="connsiteY270" fmla="*/ 52207 h 260359"/>
                    <a:gd name="connsiteX271" fmla="*/ 106330 w 185813"/>
                    <a:gd name="connsiteY271" fmla="*/ 51849 h 260359"/>
                    <a:gd name="connsiteX272" fmla="*/ 110869 w 185813"/>
                    <a:gd name="connsiteY272" fmla="*/ 52036 h 260359"/>
                    <a:gd name="connsiteX273" fmla="*/ 114373 w 185813"/>
                    <a:gd name="connsiteY273" fmla="*/ 53096 h 260359"/>
                    <a:gd name="connsiteX274" fmla="*/ 117853 w 185813"/>
                    <a:gd name="connsiteY274" fmla="*/ 56046 h 260359"/>
                    <a:gd name="connsiteX275" fmla="*/ 120168 w 185813"/>
                    <a:gd name="connsiteY275" fmla="*/ 57741 h 260359"/>
                    <a:gd name="connsiteX276" fmla="*/ 122254 w 185813"/>
                    <a:gd name="connsiteY276" fmla="*/ 60251 h 260359"/>
                    <a:gd name="connsiteX277" fmla="*/ 123012 w 185813"/>
                    <a:gd name="connsiteY277" fmla="*/ 59795 h 260359"/>
                    <a:gd name="connsiteX278" fmla="*/ 123737 w 185813"/>
                    <a:gd name="connsiteY278" fmla="*/ 59110 h 260359"/>
                    <a:gd name="connsiteX279" fmla="*/ 124145 w 185813"/>
                    <a:gd name="connsiteY279" fmla="*/ 58808 h 260359"/>
                    <a:gd name="connsiteX280" fmla="*/ 124120 w 185813"/>
                    <a:gd name="connsiteY280" fmla="*/ 56665 h 260359"/>
                    <a:gd name="connsiteX281" fmla="*/ 122963 w 185813"/>
                    <a:gd name="connsiteY281" fmla="*/ 52998 h 260359"/>
                    <a:gd name="connsiteX282" fmla="*/ 122499 w 185813"/>
                    <a:gd name="connsiteY282" fmla="*/ 49901 h 260359"/>
                    <a:gd name="connsiteX283" fmla="*/ 122768 w 185813"/>
                    <a:gd name="connsiteY283" fmla="*/ 47350 h 260359"/>
                    <a:gd name="connsiteX284" fmla="*/ 123648 w 185813"/>
                    <a:gd name="connsiteY284" fmla="*/ 45524 h 260359"/>
                    <a:gd name="connsiteX285" fmla="*/ 125147 w 185813"/>
                    <a:gd name="connsiteY285" fmla="*/ 44424 h 260359"/>
                    <a:gd name="connsiteX286" fmla="*/ 125310 w 185813"/>
                    <a:gd name="connsiteY286" fmla="*/ 42688 h 260359"/>
                    <a:gd name="connsiteX287" fmla="*/ 125327 w 185813"/>
                    <a:gd name="connsiteY287" fmla="*/ 42460 h 260359"/>
                    <a:gd name="connsiteX288" fmla="*/ 127030 w 185813"/>
                    <a:gd name="connsiteY288" fmla="*/ 38369 h 260359"/>
                    <a:gd name="connsiteX289" fmla="*/ 128708 w 185813"/>
                    <a:gd name="connsiteY289" fmla="*/ 34294 h 260359"/>
                    <a:gd name="connsiteX290" fmla="*/ 130730 w 185813"/>
                    <a:gd name="connsiteY290" fmla="*/ 29551 h 260359"/>
                    <a:gd name="connsiteX291" fmla="*/ 132400 w 185813"/>
                    <a:gd name="connsiteY291" fmla="*/ 25639 h 260359"/>
                    <a:gd name="connsiteX292" fmla="*/ 132180 w 185813"/>
                    <a:gd name="connsiteY292" fmla="*/ 23700 h 260359"/>
                    <a:gd name="connsiteX293" fmla="*/ 132344 w 185813"/>
                    <a:gd name="connsiteY293" fmla="*/ 20798 h 260359"/>
                    <a:gd name="connsiteX294" fmla="*/ 132686 w 185813"/>
                    <a:gd name="connsiteY294" fmla="*/ 17571 h 260359"/>
                    <a:gd name="connsiteX295" fmla="*/ 132596 w 185813"/>
                    <a:gd name="connsiteY295" fmla="*/ 15648 h 260359"/>
                    <a:gd name="connsiteX296" fmla="*/ 133085 w 185813"/>
                    <a:gd name="connsiteY296" fmla="*/ 14344 h 260359"/>
                    <a:gd name="connsiteX297" fmla="*/ 134242 w 185813"/>
                    <a:gd name="connsiteY297" fmla="*/ 9527 h 260359"/>
                    <a:gd name="connsiteX298" fmla="*/ 134919 w 185813"/>
                    <a:gd name="connsiteY298" fmla="*/ 6724 h 260359"/>
                    <a:gd name="connsiteX299" fmla="*/ 135921 w 185813"/>
                    <a:gd name="connsiteY299" fmla="*/ 5452 h 260359"/>
                    <a:gd name="connsiteX300" fmla="*/ 137478 w 185813"/>
                    <a:gd name="connsiteY300" fmla="*/ 4556 h 260359"/>
                    <a:gd name="connsiteX301" fmla="*/ 139735 w 185813"/>
                    <a:gd name="connsiteY301" fmla="*/ 4531 h 260359"/>
                    <a:gd name="connsiteX302" fmla="*/ 145644 w 185813"/>
                    <a:gd name="connsiteY302" fmla="*/ 3912 h 260359"/>
                    <a:gd name="connsiteX303" fmla="*/ 151153 w 185813"/>
                    <a:gd name="connsiteY303" fmla="*/ 2673 h 260359"/>
                    <a:gd name="connsiteX304" fmla="*/ 152979 w 185813"/>
                    <a:gd name="connsiteY304" fmla="*/ 2103 h 260359"/>
                    <a:gd name="connsiteX305" fmla="*/ 156434 w 185813"/>
                    <a:gd name="connsiteY305" fmla="*/ 82 h 260359"/>
                    <a:gd name="connsiteX306" fmla="*/ 157771 w 185813"/>
                    <a:gd name="connsiteY306" fmla="*/ 0 h 260359"/>
                    <a:gd name="connsiteX307" fmla="*/ 158920 w 185813"/>
                    <a:gd name="connsiteY307" fmla="*/ 774 h 260359"/>
                    <a:gd name="connsiteX308" fmla="*/ 165586 w 185813"/>
                    <a:gd name="connsiteY308" fmla="*/ 3097 h 260359"/>
                    <a:gd name="connsiteX309" fmla="*/ 167420 w 185813"/>
                    <a:gd name="connsiteY309" fmla="*/ 4002 h 260359"/>
                    <a:gd name="connsiteX310" fmla="*/ 168080 w 185813"/>
                    <a:gd name="connsiteY310" fmla="*/ 3871 h 260359"/>
                    <a:gd name="connsiteX311" fmla="*/ 169099 w 185813"/>
                    <a:gd name="connsiteY311" fmla="*/ 4059 h 260359"/>
                    <a:gd name="connsiteX312" fmla="*/ 170647 w 185813"/>
                    <a:gd name="connsiteY312" fmla="*/ 4091 h 260359"/>
                    <a:gd name="connsiteX313" fmla="*/ 172171 w 185813"/>
                    <a:gd name="connsiteY313" fmla="*/ 3814 h 260359"/>
                    <a:gd name="connsiteX314" fmla="*/ 173141 w 185813"/>
                    <a:gd name="connsiteY314" fmla="*/ 4083 h 260359"/>
                    <a:gd name="connsiteX315" fmla="*/ 174372 w 185813"/>
                    <a:gd name="connsiteY315" fmla="*/ 5623 h 260359"/>
                    <a:gd name="connsiteX316" fmla="*/ 175195 w 185813"/>
                    <a:gd name="connsiteY316" fmla="*/ 5452 h 260359"/>
                    <a:gd name="connsiteX317" fmla="*/ 176262 w 185813"/>
                    <a:gd name="connsiteY317" fmla="*/ 4336 h 260359"/>
                    <a:gd name="connsiteX318" fmla="*/ 178275 w 185813"/>
                    <a:gd name="connsiteY318" fmla="*/ 3203 h 260359"/>
                    <a:gd name="connsiteX319" fmla="*/ 182146 w 185813"/>
                    <a:gd name="connsiteY319" fmla="*/ 1931 h 260359"/>
                    <a:gd name="connsiteX320" fmla="*/ 182774 w 185813"/>
                    <a:gd name="connsiteY320" fmla="*/ 2494 h 260359"/>
                    <a:gd name="connsiteX321" fmla="*/ 184119 w 185813"/>
                    <a:gd name="connsiteY321" fmla="*/ 5305 h 26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Lst>
                  <a:rect l="l" t="t" r="r" b="b"/>
                  <a:pathLst>
                    <a:path w="185813" h="260359">
                      <a:moveTo>
                        <a:pt x="185512" y="6267"/>
                      </a:moveTo>
                      <a:lnTo>
                        <a:pt x="185814" y="11483"/>
                      </a:lnTo>
                      <a:lnTo>
                        <a:pt x="183947" y="17986"/>
                      </a:lnTo>
                      <a:lnTo>
                        <a:pt x="182554" y="22860"/>
                      </a:lnTo>
                      <a:lnTo>
                        <a:pt x="178903" y="30920"/>
                      </a:lnTo>
                      <a:lnTo>
                        <a:pt x="175635" y="38125"/>
                      </a:lnTo>
                      <a:lnTo>
                        <a:pt x="172171" y="50154"/>
                      </a:lnTo>
                      <a:lnTo>
                        <a:pt x="172187" y="58955"/>
                      </a:lnTo>
                      <a:lnTo>
                        <a:pt x="171812" y="64481"/>
                      </a:lnTo>
                      <a:lnTo>
                        <a:pt x="170672" y="67863"/>
                      </a:lnTo>
                      <a:lnTo>
                        <a:pt x="167966" y="76958"/>
                      </a:lnTo>
                      <a:lnTo>
                        <a:pt x="167542" y="84782"/>
                      </a:lnTo>
                      <a:lnTo>
                        <a:pt x="168528" y="94350"/>
                      </a:lnTo>
                      <a:lnTo>
                        <a:pt x="167599" y="103428"/>
                      </a:lnTo>
                      <a:lnTo>
                        <a:pt x="164755" y="112010"/>
                      </a:lnTo>
                      <a:lnTo>
                        <a:pt x="163532" y="118742"/>
                      </a:lnTo>
                      <a:lnTo>
                        <a:pt x="164258" y="126867"/>
                      </a:lnTo>
                      <a:lnTo>
                        <a:pt x="159034" y="133639"/>
                      </a:lnTo>
                      <a:lnTo>
                        <a:pt x="152498" y="140363"/>
                      </a:lnTo>
                      <a:lnTo>
                        <a:pt x="148252" y="142311"/>
                      </a:lnTo>
                      <a:lnTo>
                        <a:pt x="144951" y="144568"/>
                      </a:lnTo>
                      <a:lnTo>
                        <a:pt x="142596" y="147144"/>
                      </a:lnTo>
                      <a:lnTo>
                        <a:pt x="141838" y="148529"/>
                      </a:lnTo>
                      <a:lnTo>
                        <a:pt x="140126" y="151642"/>
                      </a:lnTo>
                      <a:lnTo>
                        <a:pt x="136223" y="161300"/>
                      </a:lnTo>
                      <a:lnTo>
                        <a:pt x="134194" y="165537"/>
                      </a:lnTo>
                      <a:lnTo>
                        <a:pt x="131528" y="169148"/>
                      </a:lnTo>
                      <a:lnTo>
                        <a:pt x="127568" y="173565"/>
                      </a:lnTo>
                      <a:lnTo>
                        <a:pt x="126117" y="175643"/>
                      </a:lnTo>
                      <a:lnTo>
                        <a:pt x="125530" y="178675"/>
                      </a:lnTo>
                      <a:lnTo>
                        <a:pt x="125783" y="184241"/>
                      </a:lnTo>
                      <a:lnTo>
                        <a:pt x="126166" y="201176"/>
                      </a:lnTo>
                      <a:lnTo>
                        <a:pt x="125506" y="206099"/>
                      </a:lnTo>
                      <a:lnTo>
                        <a:pt x="124414" y="214183"/>
                      </a:lnTo>
                      <a:lnTo>
                        <a:pt x="120526" y="223229"/>
                      </a:lnTo>
                      <a:lnTo>
                        <a:pt x="117609" y="228266"/>
                      </a:lnTo>
                      <a:lnTo>
                        <a:pt x="114699" y="229806"/>
                      </a:lnTo>
                      <a:lnTo>
                        <a:pt x="110861" y="231176"/>
                      </a:lnTo>
                      <a:lnTo>
                        <a:pt x="109019" y="232879"/>
                      </a:lnTo>
                      <a:lnTo>
                        <a:pt x="107902" y="235381"/>
                      </a:lnTo>
                      <a:lnTo>
                        <a:pt x="105767" y="237589"/>
                      </a:lnTo>
                      <a:lnTo>
                        <a:pt x="102605" y="239464"/>
                      </a:lnTo>
                      <a:lnTo>
                        <a:pt x="98604" y="244068"/>
                      </a:lnTo>
                      <a:lnTo>
                        <a:pt x="93804" y="251395"/>
                      </a:lnTo>
                      <a:lnTo>
                        <a:pt x="90495" y="255600"/>
                      </a:lnTo>
                      <a:lnTo>
                        <a:pt x="88734" y="256684"/>
                      </a:lnTo>
                      <a:lnTo>
                        <a:pt x="86901" y="256766"/>
                      </a:lnTo>
                      <a:lnTo>
                        <a:pt x="84994" y="255902"/>
                      </a:lnTo>
                      <a:lnTo>
                        <a:pt x="83429" y="255771"/>
                      </a:lnTo>
                      <a:lnTo>
                        <a:pt x="82622" y="256171"/>
                      </a:lnTo>
                      <a:lnTo>
                        <a:pt x="82117" y="255853"/>
                      </a:lnTo>
                      <a:lnTo>
                        <a:pt x="81359" y="255160"/>
                      </a:lnTo>
                      <a:lnTo>
                        <a:pt x="81391" y="253473"/>
                      </a:lnTo>
                      <a:lnTo>
                        <a:pt x="81163" y="250678"/>
                      </a:lnTo>
                      <a:lnTo>
                        <a:pt x="80234" y="247793"/>
                      </a:lnTo>
                      <a:lnTo>
                        <a:pt x="81334" y="245478"/>
                      </a:lnTo>
                      <a:lnTo>
                        <a:pt x="82329" y="243718"/>
                      </a:lnTo>
                      <a:lnTo>
                        <a:pt x="82149" y="242805"/>
                      </a:lnTo>
                      <a:lnTo>
                        <a:pt x="81163" y="241322"/>
                      </a:lnTo>
                      <a:lnTo>
                        <a:pt x="80055" y="239219"/>
                      </a:lnTo>
                      <a:lnTo>
                        <a:pt x="79012" y="239358"/>
                      </a:lnTo>
                      <a:lnTo>
                        <a:pt x="76811" y="240979"/>
                      </a:lnTo>
                      <a:lnTo>
                        <a:pt x="74489" y="242226"/>
                      </a:lnTo>
                      <a:lnTo>
                        <a:pt x="72345" y="242764"/>
                      </a:lnTo>
                      <a:lnTo>
                        <a:pt x="70642" y="244076"/>
                      </a:lnTo>
                      <a:lnTo>
                        <a:pt x="69704" y="244769"/>
                      </a:lnTo>
                      <a:lnTo>
                        <a:pt x="68262" y="244769"/>
                      </a:lnTo>
                      <a:lnTo>
                        <a:pt x="67439" y="244003"/>
                      </a:lnTo>
                      <a:lnTo>
                        <a:pt x="65662" y="243245"/>
                      </a:lnTo>
                      <a:lnTo>
                        <a:pt x="64701" y="243498"/>
                      </a:lnTo>
                      <a:lnTo>
                        <a:pt x="64155" y="243864"/>
                      </a:lnTo>
                      <a:lnTo>
                        <a:pt x="63926" y="246521"/>
                      </a:lnTo>
                      <a:lnTo>
                        <a:pt x="63715" y="248787"/>
                      </a:lnTo>
                      <a:lnTo>
                        <a:pt x="63372" y="250890"/>
                      </a:lnTo>
                      <a:lnTo>
                        <a:pt x="62729" y="251867"/>
                      </a:lnTo>
                      <a:lnTo>
                        <a:pt x="60047" y="252927"/>
                      </a:lnTo>
                      <a:lnTo>
                        <a:pt x="58238" y="254369"/>
                      </a:lnTo>
                      <a:lnTo>
                        <a:pt x="56665" y="255347"/>
                      </a:lnTo>
                      <a:lnTo>
                        <a:pt x="55687" y="255111"/>
                      </a:lnTo>
                      <a:lnTo>
                        <a:pt x="53739" y="253188"/>
                      </a:lnTo>
                      <a:lnTo>
                        <a:pt x="51816" y="251403"/>
                      </a:lnTo>
                      <a:lnTo>
                        <a:pt x="50740" y="249903"/>
                      </a:lnTo>
                      <a:lnTo>
                        <a:pt x="50153" y="248836"/>
                      </a:lnTo>
                      <a:lnTo>
                        <a:pt x="49754" y="248363"/>
                      </a:lnTo>
                      <a:lnTo>
                        <a:pt x="48540" y="248282"/>
                      </a:lnTo>
                      <a:lnTo>
                        <a:pt x="48173" y="249276"/>
                      </a:lnTo>
                      <a:lnTo>
                        <a:pt x="47570" y="248811"/>
                      </a:lnTo>
                      <a:lnTo>
                        <a:pt x="45655" y="246790"/>
                      </a:lnTo>
                      <a:lnTo>
                        <a:pt x="43430" y="243587"/>
                      </a:lnTo>
                      <a:lnTo>
                        <a:pt x="42607" y="243098"/>
                      </a:lnTo>
                      <a:lnTo>
                        <a:pt x="41368" y="243147"/>
                      </a:lnTo>
                      <a:lnTo>
                        <a:pt x="39412" y="244321"/>
                      </a:lnTo>
                      <a:lnTo>
                        <a:pt x="37481" y="246163"/>
                      </a:lnTo>
                      <a:lnTo>
                        <a:pt x="34017" y="247858"/>
                      </a:lnTo>
                      <a:lnTo>
                        <a:pt x="31099" y="248811"/>
                      </a:lnTo>
                      <a:lnTo>
                        <a:pt x="30855" y="249952"/>
                      </a:lnTo>
                      <a:lnTo>
                        <a:pt x="30171" y="251949"/>
                      </a:lnTo>
                      <a:lnTo>
                        <a:pt x="29209" y="253196"/>
                      </a:lnTo>
                      <a:lnTo>
                        <a:pt x="26625" y="253587"/>
                      </a:lnTo>
                      <a:lnTo>
                        <a:pt x="25721" y="255356"/>
                      </a:lnTo>
                      <a:lnTo>
                        <a:pt x="23496" y="258787"/>
                      </a:lnTo>
                      <a:lnTo>
                        <a:pt x="22021" y="260360"/>
                      </a:lnTo>
                      <a:lnTo>
                        <a:pt x="21637" y="259683"/>
                      </a:lnTo>
                      <a:lnTo>
                        <a:pt x="20749" y="258860"/>
                      </a:lnTo>
                      <a:lnTo>
                        <a:pt x="18924" y="256203"/>
                      </a:lnTo>
                      <a:lnTo>
                        <a:pt x="17123" y="252894"/>
                      </a:lnTo>
                      <a:lnTo>
                        <a:pt x="16642" y="251379"/>
                      </a:lnTo>
                      <a:lnTo>
                        <a:pt x="16136" y="250523"/>
                      </a:lnTo>
                      <a:lnTo>
                        <a:pt x="16047" y="247190"/>
                      </a:lnTo>
                      <a:lnTo>
                        <a:pt x="13333" y="243253"/>
                      </a:lnTo>
                      <a:lnTo>
                        <a:pt x="6536" y="236253"/>
                      </a:lnTo>
                      <a:lnTo>
                        <a:pt x="5802" y="234158"/>
                      </a:lnTo>
                      <a:lnTo>
                        <a:pt x="0" y="227728"/>
                      </a:lnTo>
                      <a:lnTo>
                        <a:pt x="1475" y="223107"/>
                      </a:lnTo>
                      <a:lnTo>
                        <a:pt x="2584" y="220972"/>
                      </a:lnTo>
                      <a:lnTo>
                        <a:pt x="3920" y="219480"/>
                      </a:lnTo>
                      <a:lnTo>
                        <a:pt x="9266" y="215870"/>
                      </a:lnTo>
                      <a:lnTo>
                        <a:pt x="10073" y="215993"/>
                      </a:lnTo>
                      <a:lnTo>
                        <a:pt x="13773" y="220711"/>
                      </a:lnTo>
                      <a:lnTo>
                        <a:pt x="14955" y="221078"/>
                      </a:lnTo>
                      <a:lnTo>
                        <a:pt x="16275" y="220956"/>
                      </a:lnTo>
                      <a:lnTo>
                        <a:pt x="17824" y="221143"/>
                      </a:lnTo>
                      <a:lnTo>
                        <a:pt x="18590" y="220222"/>
                      </a:lnTo>
                      <a:lnTo>
                        <a:pt x="18712" y="219008"/>
                      </a:lnTo>
                      <a:lnTo>
                        <a:pt x="17587" y="217655"/>
                      </a:lnTo>
                      <a:lnTo>
                        <a:pt x="17424" y="216204"/>
                      </a:lnTo>
                      <a:lnTo>
                        <a:pt x="18215" y="214607"/>
                      </a:lnTo>
                      <a:lnTo>
                        <a:pt x="18663" y="212863"/>
                      </a:lnTo>
                      <a:lnTo>
                        <a:pt x="19804" y="210793"/>
                      </a:lnTo>
                      <a:lnTo>
                        <a:pt x="19943" y="209823"/>
                      </a:lnTo>
                      <a:lnTo>
                        <a:pt x="18728" y="208772"/>
                      </a:lnTo>
                      <a:lnTo>
                        <a:pt x="16218" y="207142"/>
                      </a:lnTo>
                      <a:lnTo>
                        <a:pt x="14506" y="205577"/>
                      </a:lnTo>
                      <a:lnTo>
                        <a:pt x="13846" y="204069"/>
                      </a:lnTo>
                      <a:lnTo>
                        <a:pt x="14335" y="202162"/>
                      </a:lnTo>
                      <a:lnTo>
                        <a:pt x="15705" y="200606"/>
                      </a:lnTo>
                      <a:lnTo>
                        <a:pt x="15623" y="199766"/>
                      </a:lnTo>
                      <a:lnTo>
                        <a:pt x="14409" y="198373"/>
                      </a:lnTo>
                      <a:lnTo>
                        <a:pt x="13520" y="196881"/>
                      </a:lnTo>
                      <a:lnTo>
                        <a:pt x="12616" y="195936"/>
                      </a:lnTo>
                      <a:lnTo>
                        <a:pt x="10106" y="195382"/>
                      </a:lnTo>
                      <a:lnTo>
                        <a:pt x="10587" y="193369"/>
                      </a:lnTo>
                      <a:lnTo>
                        <a:pt x="11516" y="190427"/>
                      </a:lnTo>
                      <a:lnTo>
                        <a:pt x="11728" y="188153"/>
                      </a:lnTo>
                      <a:lnTo>
                        <a:pt x="11035" y="182220"/>
                      </a:lnTo>
                      <a:lnTo>
                        <a:pt x="11092" y="181136"/>
                      </a:lnTo>
                      <a:lnTo>
                        <a:pt x="11784" y="180582"/>
                      </a:lnTo>
                      <a:lnTo>
                        <a:pt x="13284" y="181242"/>
                      </a:lnTo>
                      <a:lnTo>
                        <a:pt x="14792" y="182147"/>
                      </a:lnTo>
                      <a:lnTo>
                        <a:pt x="18899" y="180851"/>
                      </a:lnTo>
                      <a:lnTo>
                        <a:pt x="20334" y="180639"/>
                      </a:lnTo>
                      <a:lnTo>
                        <a:pt x="21515" y="181788"/>
                      </a:lnTo>
                      <a:lnTo>
                        <a:pt x="23170" y="182676"/>
                      </a:lnTo>
                      <a:lnTo>
                        <a:pt x="32640" y="180207"/>
                      </a:lnTo>
                      <a:lnTo>
                        <a:pt x="32827" y="177673"/>
                      </a:lnTo>
                      <a:lnTo>
                        <a:pt x="33365" y="175391"/>
                      </a:lnTo>
                      <a:lnTo>
                        <a:pt x="33430" y="173679"/>
                      </a:lnTo>
                      <a:lnTo>
                        <a:pt x="33031" y="172571"/>
                      </a:lnTo>
                      <a:lnTo>
                        <a:pt x="32575" y="171748"/>
                      </a:lnTo>
                      <a:lnTo>
                        <a:pt x="32297" y="170028"/>
                      </a:lnTo>
                      <a:lnTo>
                        <a:pt x="32289" y="168186"/>
                      </a:lnTo>
                      <a:lnTo>
                        <a:pt x="33194" y="167330"/>
                      </a:lnTo>
                      <a:lnTo>
                        <a:pt x="36209" y="165130"/>
                      </a:lnTo>
                      <a:lnTo>
                        <a:pt x="37155" y="165220"/>
                      </a:lnTo>
                      <a:lnTo>
                        <a:pt x="39273" y="166401"/>
                      </a:lnTo>
                      <a:lnTo>
                        <a:pt x="41254" y="168276"/>
                      </a:lnTo>
                      <a:lnTo>
                        <a:pt x="43006" y="172220"/>
                      </a:lnTo>
                      <a:lnTo>
                        <a:pt x="44229" y="175603"/>
                      </a:lnTo>
                      <a:lnTo>
                        <a:pt x="46177" y="179702"/>
                      </a:lnTo>
                      <a:lnTo>
                        <a:pt x="50308" y="181372"/>
                      </a:lnTo>
                      <a:lnTo>
                        <a:pt x="55231" y="182448"/>
                      </a:lnTo>
                      <a:lnTo>
                        <a:pt x="57896" y="182163"/>
                      </a:lnTo>
                      <a:lnTo>
                        <a:pt x="61710" y="178659"/>
                      </a:lnTo>
                      <a:lnTo>
                        <a:pt x="63869" y="175937"/>
                      </a:lnTo>
                      <a:lnTo>
                        <a:pt x="64579" y="174470"/>
                      </a:lnTo>
                      <a:lnTo>
                        <a:pt x="65826" y="175219"/>
                      </a:lnTo>
                      <a:lnTo>
                        <a:pt x="67252" y="178822"/>
                      </a:lnTo>
                      <a:lnTo>
                        <a:pt x="68156" y="180215"/>
                      </a:lnTo>
                      <a:lnTo>
                        <a:pt x="68384" y="181543"/>
                      </a:lnTo>
                      <a:lnTo>
                        <a:pt x="67749" y="183198"/>
                      </a:lnTo>
                      <a:lnTo>
                        <a:pt x="68368" y="184266"/>
                      </a:lnTo>
                      <a:lnTo>
                        <a:pt x="71025" y="185015"/>
                      </a:lnTo>
                      <a:lnTo>
                        <a:pt x="73348" y="184306"/>
                      </a:lnTo>
                      <a:lnTo>
                        <a:pt x="74391" y="182839"/>
                      </a:lnTo>
                      <a:lnTo>
                        <a:pt x="76135" y="180932"/>
                      </a:lnTo>
                      <a:lnTo>
                        <a:pt x="76151" y="179319"/>
                      </a:lnTo>
                      <a:lnTo>
                        <a:pt x="75206" y="178275"/>
                      </a:lnTo>
                      <a:lnTo>
                        <a:pt x="75206" y="176841"/>
                      </a:lnTo>
                      <a:lnTo>
                        <a:pt x="76184" y="175700"/>
                      </a:lnTo>
                      <a:lnTo>
                        <a:pt x="77121" y="172612"/>
                      </a:lnTo>
                      <a:lnTo>
                        <a:pt x="77415" y="170370"/>
                      </a:lnTo>
                      <a:lnTo>
                        <a:pt x="78327" y="168928"/>
                      </a:lnTo>
                      <a:lnTo>
                        <a:pt x="80063" y="167934"/>
                      </a:lnTo>
                      <a:lnTo>
                        <a:pt x="80691" y="167037"/>
                      </a:lnTo>
                      <a:lnTo>
                        <a:pt x="81668" y="161674"/>
                      </a:lnTo>
                      <a:lnTo>
                        <a:pt x="81163" y="159743"/>
                      </a:lnTo>
                      <a:lnTo>
                        <a:pt x="81163" y="158146"/>
                      </a:lnTo>
                      <a:lnTo>
                        <a:pt x="82263" y="156100"/>
                      </a:lnTo>
                      <a:lnTo>
                        <a:pt x="82475" y="152742"/>
                      </a:lnTo>
                      <a:lnTo>
                        <a:pt x="82003" y="147258"/>
                      </a:lnTo>
                      <a:lnTo>
                        <a:pt x="81685" y="143484"/>
                      </a:lnTo>
                      <a:lnTo>
                        <a:pt x="81351" y="139540"/>
                      </a:lnTo>
                      <a:lnTo>
                        <a:pt x="82206" y="134348"/>
                      </a:lnTo>
                      <a:lnTo>
                        <a:pt x="83095" y="128953"/>
                      </a:lnTo>
                      <a:lnTo>
                        <a:pt x="82940" y="127617"/>
                      </a:lnTo>
                      <a:lnTo>
                        <a:pt x="81709" y="125954"/>
                      </a:lnTo>
                      <a:lnTo>
                        <a:pt x="80202" y="124471"/>
                      </a:lnTo>
                      <a:lnTo>
                        <a:pt x="76306" y="123240"/>
                      </a:lnTo>
                      <a:lnTo>
                        <a:pt x="74855" y="121268"/>
                      </a:lnTo>
                      <a:lnTo>
                        <a:pt x="73723" y="119190"/>
                      </a:lnTo>
                      <a:lnTo>
                        <a:pt x="72891" y="118522"/>
                      </a:lnTo>
                      <a:lnTo>
                        <a:pt x="68645" y="117699"/>
                      </a:lnTo>
                      <a:lnTo>
                        <a:pt x="67700" y="116517"/>
                      </a:lnTo>
                      <a:lnTo>
                        <a:pt x="68083" y="113159"/>
                      </a:lnTo>
                      <a:lnTo>
                        <a:pt x="68458" y="108180"/>
                      </a:lnTo>
                      <a:lnTo>
                        <a:pt x="68319" y="104724"/>
                      </a:lnTo>
                      <a:lnTo>
                        <a:pt x="69069" y="101929"/>
                      </a:lnTo>
                      <a:lnTo>
                        <a:pt x="69925" y="99842"/>
                      </a:lnTo>
                      <a:lnTo>
                        <a:pt x="71799" y="97626"/>
                      </a:lnTo>
                      <a:lnTo>
                        <a:pt x="72793" y="95018"/>
                      </a:lnTo>
                      <a:lnTo>
                        <a:pt x="73348" y="94374"/>
                      </a:lnTo>
                      <a:lnTo>
                        <a:pt x="76893" y="93934"/>
                      </a:lnTo>
                      <a:lnTo>
                        <a:pt x="78188" y="92850"/>
                      </a:lnTo>
                      <a:lnTo>
                        <a:pt x="79207" y="91742"/>
                      </a:lnTo>
                      <a:lnTo>
                        <a:pt x="79639" y="90267"/>
                      </a:lnTo>
                      <a:lnTo>
                        <a:pt x="80862" y="87814"/>
                      </a:lnTo>
                      <a:lnTo>
                        <a:pt x="81946" y="86143"/>
                      </a:lnTo>
                      <a:lnTo>
                        <a:pt x="82068" y="85018"/>
                      </a:lnTo>
                      <a:lnTo>
                        <a:pt x="81832" y="83453"/>
                      </a:lnTo>
                      <a:lnTo>
                        <a:pt x="80756" y="80365"/>
                      </a:lnTo>
                      <a:lnTo>
                        <a:pt x="79476" y="77789"/>
                      </a:lnTo>
                      <a:lnTo>
                        <a:pt x="78685" y="76877"/>
                      </a:lnTo>
                      <a:lnTo>
                        <a:pt x="77121" y="70838"/>
                      </a:lnTo>
                      <a:lnTo>
                        <a:pt x="75662" y="69411"/>
                      </a:lnTo>
                      <a:lnTo>
                        <a:pt x="72810" y="68645"/>
                      </a:lnTo>
                      <a:lnTo>
                        <a:pt x="67480" y="67961"/>
                      </a:lnTo>
                      <a:lnTo>
                        <a:pt x="64261" y="69053"/>
                      </a:lnTo>
                      <a:lnTo>
                        <a:pt x="59355" y="71074"/>
                      </a:lnTo>
                      <a:lnTo>
                        <a:pt x="55606" y="72476"/>
                      </a:lnTo>
                      <a:lnTo>
                        <a:pt x="53177" y="73282"/>
                      </a:lnTo>
                      <a:lnTo>
                        <a:pt x="51726" y="73054"/>
                      </a:lnTo>
                      <a:lnTo>
                        <a:pt x="51074" y="72133"/>
                      </a:lnTo>
                      <a:lnTo>
                        <a:pt x="52036" y="71351"/>
                      </a:lnTo>
                      <a:lnTo>
                        <a:pt x="52509" y="69517"/>
                      </a:lnTo>
                      <a:lnTo>
                        <a:pt x="51897" y="66877"/>
                      </a:lnTo>
                      <a:lnTo>
                        <a:pt x="50952" y="64481"/>
                      </a:lnTo>
                      <a:lnTo>
                        <a:pt x="50406" y="61090"/>
                      </a:lnTo>
                      <a:lnTo>
                        <a:pt x="50651" y="56885"/>
                      </a:lnTo>
                      <a:lnTo>
                        <a:pt x="51564" y="52941"/>
                      </a:lnTo>
                      <a:lnTo>
                        <a:pt x="53535" y="47807"/>
                      </a:lnTo>
                      <a:lnTo>
                        <a:pt x="53650" y="45712"/>
                      </a:lnTo>
                      <a:lnTo>
                        <a:pt x="59599" y="45777"/>
                      </a:lnTo>
                      <a:lnTo>
                        <a:pt x="65540" y="45834"/>
                      </a:lnTo>
                      <a:lnTo>
                        <a:pt x="72027" y="45793"/>
                      </a:lnTo>
                      <a:lnTo>
                        <a:pt x="78294" y="45745"/>
                      </a:lnTo>
                      <a:lnTo>
                        <a:pt x="83184" y="45916"/>
                      </a:lnTo>
                      <a:lnTo>
                        <a:pt x="85531" y="44587"/>
                      </a:lnTo>
                      <a:lnTo>
                        <a:pt x="87773" y="46600"/>
                      </a:lnTo>
                      <a:lnTo>
                        <a:pt x="88865" y="47040"/>
                      </a:lnTo>
                      <a:lnTo>
                        <a:pt x="89240" y="46886"/>
                      </a:lnTo>
                      <a:lnTo>
                        <a:pt x="90087" y="48303"/>
                      </a:lnTo>
                      <a:lnTo>
                        <a:pt x="92874" y="48141"/>
                      </a:lnTo>
                      <a:lnTo>
                        <a:pt x="93315" y="48475"/>
                      </a:lnTo>
                      <a:lnTo>
                        <a:pt x="93551" y="50186"/>
                      </a:lnTo>
                      <a:lnTo>
                        <a:pt x="96142" y="50145"/>
                      </a:lnTo>
                      <a:lnTo>
                        <a:pt x="97414" y="50528"/>
                      </a:lnTo>
                      <a:lnTo>
                        <a:pt x="98449" y="50479"/>
                      </a:lnTo>
                      <a:lnTo>
                        <a:pt x="99940" y="49485"/>
                      </a:lnTo>
                      <a:lnTo>
                        <a:pt x="101016" y="49819"/>
                      </a:lnTo>
                      <a:lnTo>
                        <a:pt x="102972" y="51099"/>
                      </a:lnTo>
                      <a:lnTo>
                        <a:pt x="104374" y="52207"/>
                      </a:lnTo>
                      <a:lnTo>
                        <a:pt x="106330" y="51849"/>
                      </a:lnTo>
                      <a:lnTo>
                        <a:pt x="110869" y="52036"/>
                      </a:lnTo>
                      <a:lnTo>
                        <a:pt x="114373" y="53096"/>
                      </a:lnTo>
                      <a:lnTo>
                        <a:pt x="117853" y="56046"/>
                      </a:lnTo>
                      <a:lnTo>
                        <a:pt x="120168" y="57741"/>
                      </a:lnTo>
                      <a:lnTo>
                        <a:pt x="122254" y="60251"/>
                      </a:lnTo>
                      <a:lnTo>
                        <a:pt x="123012" y="59795"/>
                      </a:lnTo>
                      <a:lnTo>
                        <a:pt x="123737" y="59110"/>
                      </a:lnTo>
                      <a:lnTo>
                        <a:pt x="124145" y="58808"/>
                      </a:lnTo>
                      <a:lnTo>
                        <a:pt x="124120" y="56665"/>
                      </a:lnTo>
                      <a:lnTo>
                        <a:pt x="122963" y="52998"/>
                      </a:lnTo>
                      <a:lnTo>
                        <a:pt x="122499" y="49901"/>
                      </a:lnTo>
                      <a:lnTo>
                        <a:pt x="122768" y="47350"/>
                      </a:lnTo>
                      <a:lnTo>
                        <a:pt x="123648" y="45524"/>
                      </a:lnTo>
                      <a:lnTo>
                        <a:pt x="125147" y="44424"/>
                      </a:lnTo>
                      <a:lnTo>
                        <a:pt x="125310" y="42688"/>
                      </a:lnTo>
                      <a:lnTo>
                        <a:pt x="125327" y="42460"/>
                      </a:lnTo>
                      <a:lnTo>
                        <a:pt x="127030" y="38369"/>
                      </a:lnTo>
                      <a:lnTo>
                        <a:pt x="128708" y="34294"/>
                      </a:lnTo>
                      <a:lnTo>
                        <a:pt x="130730" y="29551"/>
                      </a:lnTo>
                      <a:lnTo>
                        <a:pt x="132400" y="25639"/>
                      </a:lnTo>
                      <a:lnTo>
                        <a:pt x="132180" y="23700"/>
                      </a:lnTo>
                      <a:lnTo>
                        <a:pt x="132344" y="20798"/>
                      </a:lnTo>
                      <a:lnTo>
                        <a:pt x="132686" y="17571"/>
                      </a:lnTo>
                      <a:lnTo>
                        <a:pt x="132596" y="15648"/>
                      </a:lnTo>
                      <a:lnTo>
                        <a:pt x="133085" y="14344"/>
                      </a:lnTo>
                      <a:lnTo>
                        <a:pt x="134242" y="9527"/>
                      </a:lnTo>
                      <a:lnTo>
                        <a:pt x="134919" y="6724"/>
                      </a:lnTo>
                      <a:lnTo>
                        <a:pt x="135921" y="5452"/>
                      </a:lnTo>
                      <a:lnTo>
                        <a:pt x="137478" y="4556"/>
                      </a:lnTo>
                      <a:lnTo>
                        <a:pt x="139735" y="4531"/>
                      </a:lnTo>
                      <a:lnTo>
                        <a:pt x="145644" y="3912"/>
                      </a:lnTo>
                      <a:lnTo>
                        <a:pt x="151153" y="2673"/>
                      </a:lnTo>
                      <a:lnTo>
                        <a:pt x="152979" y="2103"/>
                      </a:lnTo>
                      <a:lnTo>
                        <a:pt x="156434" y="82"/>
                      </a:lnTo>
                      <a:lnTo>
                        <a:pt x="157771" y="0"/>
                      </a:lnTo>
                      <a:lnTo>
                        <a:pt x="158920" y="774"/>
                      </a:lnTo>
                      <a:lnTo>
                        <a:pt x="165586" y="3097"/>
                      </a:lnTo>
                      <a:lnTo>
                        <a:pt x="167420" y="4002"/>
                      </a:lnTo>
                      <a:lnTo>
                        <a:pt x="168080" y="3871"/>
                      </a:lnTo>
                      <a:lnTo>
                        <a:pt x="169099" y="4059"/>
                      </a:lnTo>
                      <a:lnTo>
                        <a:pt x="170647" y="4091"/>
                      </a:lnTo>
                      <a:lnTo>
                        <a:pt x="172171" y="3814"/>
                      </a:lnTo>
                      <a:lnTo>
                        <a:pt x="173141" y="4083"/>
                      </a:lnTo>
                      <a:lnTo>
                        <a:pt x="174372" y="5623"/>
                      </a:lnTo>
                      <a:lnTo>
                        <a:pt x="175195" y="5452"/>
                      </a:lnTo>
                      <a:lnTo>
                        <a:pt x="176262" y="4336"/>
                      </a:lnTo>
                      <a:lnTo>
                        <a:pt x="178275" y="3203"/>
                      </a:lnTo>
                      <a:lnTo>
                        <a:pt x="182146" y="1931"/>
                      </a:lnTo>
                      <a:lnTo>
                        <a:pt x="182774" y="2494"/>
                      </a:lnTo>
                      <a:lnTo>
                        <a:pt x="184119" y="5305"/>
                      </a:lnTo>
                      <a:close/>
                    </a:path>
                  </a:pathLst>
                </a:custGeom>
                <a:solidFill>
                  <a:srgbClr val="D6D6D2"/>
                </a:solidFill>
                <a:ln w="6112" cap="rnd">
                  <a:solidFill>
                    <a:srgbClr val="FFFFFF"/>
                  </a:solidFill>
                  <a:prstDash val="solid"/>
                  <a:round/>
                </a:ln>
              </p:spPr>
              <p:txBody>
                <a:bodyPr rtlCol="0" anchor="ctr"/>
                <a:lstStyle/>
                <a:p>
                  <a:endParaRPr lang="en-US"/>
                </a:p>
              </p:txBody>
            </p:sp>
            <p:sp>
              <p:nvSpPr>
                <p:cNvPr id="757" name="Freeform: Shape 756">
                  <a:extLst>
                    <a:ext uri="{FF2B5EF4-FFF2-40B4-BE49-F238E27FC236}">
                      <a16:creationId xmlns:a16="http://schemas.microsoft.com/office/drawing/2014/main" id="{C28091F0-2E83-4CFD-AC65-D65FAB97E748}"/>
                    </a:ext>
                  </a:extLst>
                </p:cNvPr>
                <p:cNvSpPr/>
                <p:nvPr/>
              </p:nvSpPr>
              <p:spPr>
                <a:xfrm>
                  <a:off x="6246558" y="4365348"/>
                  <a:ext cx="472733" cy="563806"/>
                </a:xfrm>
                <a:custGeom>
                  <a:avLst/>
                  <a:gdLst>
                    <a:gd name="connsiteX0" fmla="*/ 376738 w 472733"/>
                    <a:gd name="connsiteY0" fmla="*/ 6088 h 563806"/>
                    <a:gd name="connsiteX1" fmla="*/ 377634 w 472733"/>
                    <a:gd name="connsiteY1" fmla="*/ 8191 h 563806"/>
                    <a:gd name="connsiteX2" fmla="*/ 378922 w 472733"/>
                    <a:gd name="connsiteY2" fmla="*/ 10334 h 563806"/>
                    <a:gd name="connsiteX3" fmla="*/ 383209 w 472733"/>
                    <a:gd name="connsiteY3" fmla="*/ 13985 h 563806"/>
                    <a:gd name="connsiteX4" fmla="*/ 384570 w 472733"/>
                    <a:gd name="connsiteY4" fmla="*/ 16014 h 563806"/>
                    <a:gd name="connsiteX5" fmla="*/ 385613 w 472733"/>
                    <a:gd name="connsiteY5" fmla="*/ 18272 h 563806"/>
                    <a:gd name="connsiteX6" fmla="*/ 386281 w 472733"/>
                    <a:gd name="connsiteY6" fmla="*/ 20016 h 563806"/>
                    <a:gd name="connsiteX7" fmla="*/ 387609 w 472733"/>
                    <a:gd name="connsiteY7" fmla="*/ 21426 h 563806"/>
                    <a:gd name="connsiteX8" fmla="*/ 389468 w 472733"/>
                    <a:gd name="connsiteY8" fmla="*/ 22322 h 563806"/>
                    <a:gd name="connsiteX9" fmla="*/ 391057 w 472733"/>
                    <a:gd name="connsiteY9" fmla="*/ 23398 h 563806"/>
                    <a:gd name="connsiteX10" fmla="*/ 392027 w 472733"/>
                    <a:gd name="connsiteY10" fmla="*/ 24979 h 563806"/>
                    <a:gd name="connsiteX11" fmla="*/ 393485 w 472733"/>
                    <a:gd name="connsiteY11" fmla="*/ 26617 h 563806"/>
                    <a:gd name="connsiteX12" fmla="*/ 396297 w 472733"/>
                    <a:gd name="connsiteY12" fmla="*/ 28850 h 563806"/>
                    <a:gd name="connsiteX13" fmla="*/ 397675 w 472733"/>
                    <a:gd name="connsiteY13" fmla="*/ 28907 h 563806"/>
                    <a:gd name="connsiteX14" fmla="*/ 399255 w 472733"/>
                    <a:gd name="connsiteY14" fmla="*/ 29217 h 563806"/>
                    <a:gd name="connsiteX15" fmla="*/ 400649 w 472733"/>
                    <a:gd name="connsiteY15" fmla="*/ 29795 h 563806"/>
                    <a:gd name="connsiteX16" fmla="*/ 402140 w 472733"/>
                    <a:gd name="connsiteY16" fmla="*/ 29633 h 563806"/>
                    <a:gd name="connsiteX17" fmla="*/ 404553 w 472733"/>
                    <a:gd name="connsiteY17" fmla="*/ 28166 h 563806"/>
                    <a:gd name="connsiteX18" fmla="*/ 407397 w 472733"/>
                    <a:gd name="connsiteY18" fmla="*/ 25729 h 563806"/>
                    <a:gd name="connsiteX19" fmla="*/ 409565 w 472733"/>
                    <a:gd name="connsiteY19" fmla="*/ 24213 h 563806"/>
                    <a:gd name="connsiteX20" fmla="*/ 414830 w 472733"/>
                    <a:gd name="connsiteY20" fmla="*/ 24751 h 563806"/>
                    <a:gd name="connsiteX21" fmla="*/ 417763 w 472733"/>
                    <a:gd name="connsiteY21" fmla="*/ 25981 h 563806"/>
                    <a:gd name="connsiteX22" fmla="*/ 420094 w 472733"/>
                    <a:gd name="connsiteY22" fmla="*/ 27709 h 563806"/>
                    <a:gd name="connsiteX23" fmla="*/ 421920 w 472733"/>
                    <a:gd name="connsiteY23" fmla="*/ 27603 h 563806"/>
                    <a:gd name="connsiteX24" fmla="*/ 425881 w 472733"/>
                    <a:gd name="connsiteY24" fmla="*/ 24408 h 563806"/>
                    <a:gd name="connsiteX25" fmla="*/ 427983 w 472733"/>
                    <a:gd name="connsiteY25" fmla="*/ 21010 h 563806"/>
                    <a:gd name="connsiteX26" fmla="*/ 430029 w 472733"/>
                    <a:gd name="connsiteY26" fmla="*/ 20277 h 563806"/>
                    <a:gd name="connsiteX27" fmla="*/ 433126 w 472733"/>
                    <a:gd name="connsiteY27" fmla="*/ 21760 h 563806"/>
                    <a:gd name="connsiteX28" fmla="*/ 435685 w 472733"/>
                    <a:gd name="connsiteY28" fmla="*/ 24930 h 563806"/>
                    <a:gd name="connsiteX29" fmla="*/ 437918 w 472733"/>
                    <a:gd name="connsiteY29" fmla="*/ 29543 h 563806"/>
                    <a:gd name="connsiteX30" fmla="*/ 439499 w 472733"/>
                    <a:gd name="connsiteY30" fmla="*/ 31303 h 563806"/>
                    <a:gd name="connsiteX31" fmla="*/ 441667 w 472733"/>
                    <a:gd name="connsiteY31" fmla="*/ 34025 h 563806"/>
                    <a:gd name="connsiteX32" fmla="*/ 445978 w 472733"/>
                    <a:gd name="connsiteY32" fmla="*/ 39893 h 563806"/>
                    <a:gd name="connsiteX33" fmla="*/ 451569 w 472733"/>
                    <a:gd name="connsiteY33" fmla="*/ 42827 h 563806"/>
                    <a:gd name="connsiteX34" fmla="*/ 453745 w 472733"/>
                    <a:gd name="connsiteY34" fmla="*/ 44278 h 563806"/>
                    <a:gd name="connsiteX35" fmla="*/ 454454 w 472733"/>
                    <a:gd name="connsiteY35" fmla="*/ 45728 h 563806"/>
                    <a:gd name="connsiteX36" fmla="*/ 454869 w 472733"/>
                    <a:gd name="connsiteY36" fmla="*/ 47660 h 563806"/>
                    <a:gd name="connsiteX37" fmla="*/ 455008 w 472733"/>
                    <a:gd name="connsiteY37" fmla="*/ 49754 h 563806"/>
                    <a:gd name="connsiteX38" fmla="*/ 455692 w 472733"/>
                    <a:gd name="connsiteY38" fmla="*/ 50618 h 563806"/>
                    <a:gd name="connsiteX39" fmla="*/ 457200 w 472733"/>
                    <a:gd name="connsiteY39" fmla="*/ 50317 h 563806"/>
                    <a:gd name="connsiteX40" fmla="*/ 458496 w 472733"/>
                    <a:gd name="connsiteY40" fmla="*/ 50023 h 563806"/>
                    <a:gd name="connsiteX41" fmla="*/ 459922 w 472733"/>
                    <a:gd name="connsiteY41" fmla="*/ 50618 h 563806"/>
                    <a:gd name="connsiteX42" fmla="*/ 460900 w 472733"/>
                    <a:gd name="connsiteY42" fmla="*/ 52142 h 563806"/>
                    <a:gd name="connsiteX43" fmla="*/ 461406 w 472733"/>
                    <a:gd name="connsiteY43" fmla="*/ 53332 h 563806"/>
                    <a:gd name="connsiteX44" fmla="*/ 461943 w 472733"/>
                    <a:gd name="connsiteY44" fmla="*/ 54619 h 563806"/>
                    <a:gd name="connsiteX45" fmla="*/ 463345 w 472733"/>
                    <a:gd name="connsiteY45" fmla="*/ 55418 h 563806"/>
                    <a:gd name="connsiteX46" fmla="*/ 463622 w 472733"/>
                    <a:gd name="connsiteY46" fmla="*/ 57065 h 563806"/>
                    <a:gd name="connsiteX47" fmla="*/ 462652 w 472733"/>
                    <a:gd name="connsiteY47" fmla="*/ 59069 h 563806"/>
                    <a:gd name="connsiteX48" fmla="*/ 461674 w 472733"/>
                    <a:gd name="connsiteY48" fmla="*/ 60846 h 563806"/>
                    <a:gd name="connsiteX49" fmla="*/ 460468 w 472733"/>
                    <a:gd name="connsiteY49" fmla="*/ 64424 h 563806"/>
                    <a:gd name="connsiteX50" fmla="*/ 459832 w 472733"/>
                    <a:gd name="connsiteY50" fmla="*/ 68067 h 563806"/>
                    <a:gd name="connsiteX51" fmla="*/ 460647 w 472733"/>
                    <a:gd name="connsiteY51" fmla="*/ 69273 h 563806"/>
                    <a:gd name="connsiteX52" fmla="*/ 461519 w 472733"/>
                    <a:gd name="connsiteY52" fmla="*/ 70291 h 563806"/>
                    <a:gd name="connsiteX53" fmla="*/ 461968 w 472733"/>
                    <a:gd name="connsiteY53" fmla="*/ 71302 h 563806"/>
                    <a:gd name="connsiteX54" fmla="*/ 462237 w 472733"/>
                    <a:gd name="connsiteY54" fmla="*/ 72500 h 563806"/>
                    <a:gd name="connsiteX55" fmla="*/ 462139 w 472733"/>
                    <a:gd name="connsiteY55" fmla="*/ 73902 h 563806"/>
                    <a:gd name="connsiteX56" fmla="*/ 460224 w 472733"/>
                    <a:gd name="connsiteY56" fmla="*/ 78963 h 563806"/>
                    <a:gd name="connsiteX57" fmla="*/ 459237 w 472733"/>
                    <a:gd name="connsiteY57" fmla="*/ 83388 h 563806"/>
                    <a:gd name="connsiteX58" fmla="*/ 459205 w 472733"/>
                    <a:gd name="connsiteY58" fmla="*/ 85629 h 563806"/>
                    <a:gd name="connsiteX59" fmla="*/ 461731 w 472733"/>
                    <a:gd name="connsiteY59" fmla="*/ 87276 h 563806"/>
                    <a:gd name="connsiteX60" fmla="*/ 464991 w 472733"/>
                    <a:gd name="connsiteY60" fmla="*/ 87194 h 563806"/>
                    <a:gd name="connsiteX61" fmla="*/ 466026 w 472733"/>
                    <a:gd name="connsiteY61" fmla="*/ 88205 h 563806"/>
                    <a:gd name="connsiteX62" fmla="*/ 467069 w 472733"/>
                    <a:gd name="connsiteY62" fmla="*/ 89818 h 563806"/>
                    <a:gd name="connsiteX63" fmla="*/ 467974 w 472733"/>
                    <a:gd name="connsiteY63" fmla="*/ 90641 h 563806"/>
                    <a:gd name="connsiteX64" fmla="*/ 469359 w 472733"/>
                    <a:gd name="connsiteY64" fmla="*/ 90625 h 563806"/>
                    <a:gd name="connsiteX65" fmla="*/ 470321 w 472733"/>
                    <a:gd name="connsiteY65" fmla="*/ 91179 h 563806"/>
                    <a:gd name="connsiteX66" fmla="*/ 470688 w 472733"/>
                    <a:gd name="connsiteY66" fmla="*/ 92320 h 563806"/>
                    <a:gd name="connsiteX67" fmla="*/ 471805 w 472733"/>
                    <a:gd name="connsiteY67" fmla="*/ 93543 h 563806"/>
                    <a:gd name="connsiteX68" fmla="*/ 472733 w 472733"/>
                    <a:gd name="connsiteY68" fmla="*/ 94887 h 563806"/>
                    <a:gd name="connsiteX69" fmla="*/ 472294 w 472733"/>
                    <a:gd name="connsiteY69" fmla="*/ 96623 h 563806"/>
                    <a:gd name="connsiteX70" fmla="*/ 472204 w 472733"/>
                    <a:gd name="connsiteY70" fmla="*/ 97935 h 563806"/>
                    <a:gd name="connsiteX71" fmla="*/ 469881 w 472733"/>
                    <a:gd name="connsiteY71" fmla="*/ 101603 h 563806"/>
                    <a:gd name="connsiteX72" fmla="*/ 464518 w 472733"/>
                    <a:gd name="connsiteY72" fmla="*/ 108766 h 563806"/>
                    <a:gd name="connsiteX73" fmla="*/ 453011 w 472733"/>
                    <a:gd name="connsiteY73" fmla="*/ 122050 h 563806"/>
                    <a:gd name="connsiteX74" fmla="*/ 453003 w 472733"/>
                    <a:gd name="connsiteY74" fmla="*/ 122059 h 563806"/>
                    <a:gd name="connsiteX75" fmla="*/ 449099 w 472733"/>
                    <a:gd name="connsiteY75" fmla="*/ 123664 h 563806"/>
                    <a:gd name="connsiteX76" fmla="*/ 447094 w 472733"/>
                    <a:gd name="connsiteY76" fmla="*/ 126134 h 563806"/>
                    <a:gd name="connsiteX77" fmla="*/ 445676 w 472733"/>
                    <a:gd name="connsiteY77" fmla="*/ 130013 h 563806"/>
                    <a:gd name="connsiteX78" fmla="*/ 442311 w 472733"/>
                    <a:gd name="connsiteY78" fmla="*/ 133297 h 563806"/>
                    <a:gd name="connsiteX79" fmla="*/ 439727 w 472733"/>
                    <a:gd name="connsiteY79" fmla="*/ 134626 h 563806"/>
                    <a:gd name="connsiteX80" fmla="*/ 439450 w 472733"/>
                    <a:gd name="connsiteY80" fmla="*/ 135416 h 563806"/>
                    <a:gd name="connsiteX81" fmla="*/ 439246 w 472733"/>
                    <a:gd name="connsiteY81" fmla="*/ 138977 h 563806"/>
                    <a:gd name="connsiteX82" fmla="*/ 439507 w 472733"/>
                    <a:gd name="connsiteY82" fmla="*/ 144210 h 563806"/>
                    <a:gd name="connsiteX83" fmla="*/ 438301 w 472733"/>
                    <a:gd name="connsiteY83" fmla="*/ 146614 h 563806"/>
                    <a:gd name="connsiteX84" fmla="*/ 436540 w 472733"/>
                    <a:gd name="connsiteY84" fmla="*/ 151259 h 563806"/>
                    <a:gd name="connsiteX85" fmla="*/ 435636 w 472733"/>
                    <a:gd name="connsiteY85" fmla="*/ 154177 h 563806"/>
                    <a:gd name="connsiteX86" fmla="*/ 434935 w 472733"/>
                    <a:gd name="connsiteY86" fmla="*/ 154747 h 563806"/>
                    <a:gd name="connsiteX87" fmla="*/ 434136 w 472733"/>
                    <a:gd name="connsiteY87" fmla="*/ 156206 h 563806"/>
                    <a:gd name="connsiteX88" fmla="*/ 433647 w 472733"/>
                    <a:gd name="connsiteY88" fmla="*/ 160957 h 563806"/>
                    <a:gd name="connsiteX89" fmla="*/ 433313 w 472733"/>
                    <a:gd name="connsiteY89" fmla="*/ 162555 h 563806"/>
                    <a:gd name="connsiteX90" fmla="*/ 432034 w 472733"/>
                    <a:gd name="connsiteY90" fmla="*/ 172375 h 563806"/>
                    <a:gd name="connsiteX91" fmla="*/ 432400 w 472733"/>
                    <a:gd name="connsiteY91" fmla="*/ 175187 h 563806"/>
                    <a:gd name="connsiteX92" fmla="*/ 431423 w 472733"/>
                    <a:gd name="connsiteY92" fmla="*/ 179848 h 563806"/>
                    <a:gd name="connsiteX93" fmla="*/ 431374 w 472733"/>
                    <a:gd name="connsiteY93" fmla="*/ 182595 h 563806"/>
                    <a:gd name="connsiteX94" fmla="*/ 430966 w 472733"/>
                    <a:gd name="connsiteY94" fmla="*/ 185716 h 563806"/>
                    <a:gd name="connsiteX95" fmla="*/ 430273 w 472733"/>
                    <a:gd name="connsiteY95" fmla="*/ 188422 h 563806"/>
                    <a:gd name="connsiteX96" fmla="*/ 430322 w 472733"/>
                    <a:gd name="connsiteY96" fmla="*/ 192725 h 563806"/>
                    <a:gd name="connsiteX97" fmla="*/ 430713 w 472733"/>
                    <a:gd name="connsiteY97" fmla="*/ 199791 h 563806"/>
                    <a:gd name="connsiteX98" fmla="*/ 430648 w 472733"/>
                    <a:gd name="connsiteY98" fmla="*/ 200712 h 563806"/>
                    <a:gd name="connsiteX99" fmla="*/ 429679 w 472733"/>
                    <a:gd name="connsiteY99" fmla="*/ 201364 h 563806"/>
                    <a:gd name="connsiteX100" fmla="*/ 427934 w 472733"/>
                    <a:gd name="connsiteY100" fmla="*/ 203116 h 563806"/>
                    <a:gd name="connsiteX101" fmla="*/ 426305 w 472733"/>
                    <a:gd name="connsiteY101" fmla="*/ 204281 h 563806"/>
                    <a:gd name="connsiteX102" fmla="*/ 425065 w 472733"/>
                    <a:gd name="connsiteY102" fmla="*/ 204591 h 563806"/>
                    <a:gd name="connsiteX103" fmla="*/ 422987 w 472733"/>
                    <a:gd name="connsiteY103" fmla="*/ 207704 h 563806"/>
                    <a:gd name="connsiteX104" fmla="*/ 421211 w 472733"/>
                    <a:gd name="connsiteY104" fmla="*/ 210662 h 563806"/>
                    <a:gd name="connsiteX105" fmla="*/ 419890 w 472733"/>
                    <a:gd name="connsiteY105" fmla="*/ 213523 h 563806"/>
                    <a:gd name="connsiteX106" fmla="*/ 419548 w 472733"/>
                    <a:gd name="connsiteY106" fmla="*/ 214851 h 563806"/>
                    <a:gd name="connsiteX107" fmla="*/ 419817 w 472733"/>
                    <a:gd name="connsiteY107" fmla="*/ 218568 h 563806"/>
                    <a:gd name="connsiteX108" fmla="*/ 420013 w 472733"/>
                    <a:gd name="connsiteY108" fmla="*/ 222993 h 563806"/>
                    <a:gd name="connsiteX109" fmla="*/ 419597 w 472733"/>
                    <a:gd name="connsiteY109" fmla="*/ 224892 h 563806"/>
                    <a:gd name="connsiteX110" fmla="*/ 418970 w 472733"/>
                    <a:gd name="connsiteY110" fmla="*/ 226017 h 563806"/>
                    <a:gd name="connsiteX111" fmla="*/ 416077 w 472733"/>
                    <a:gd name="connsiteY111" fmla="*/ 228404 h 563806"/>
                    <a:gd name="connsiteX112" fmla="*/ 414169 w 472733"/>
                    <a:gd name="connsiteY112" fmla="*/ 230132 h 563806"/>
                    <a:gd name="connsiteX113" fmla="*/ 413273 w 472733"/>
                    <a:gd name="connsiteY113" fmla="*/ 231029 h 563806"/>
                    <a:gd name="connsiteX114" fmla="*/ 412809 w 472733"/>
                    <a:gd name="connsiteY114" fmla="*/ 232414 h 563806"/>
                    <a:gd name="connsiteX115" fmla="*/ 413640 w 472733"/>
                    <a:gd name="connsiteY115" fmla="*/ 235674 h 563806"/>
                    <a:gd name="connsiteX116" fmla="*/ 413705 w 472733"/>
                    <a:gd name="connsiteY116" fmla="*/ 238062 h 563806"/>
                    <a:gd name="connsiteX117" fmla="*/ 414398 w 472733"/>
                    <a:gd name="connsiteY117" fmla="*/ 239472 h 563806"/>
                    <a:gd name="connsiteX118" fmla="*/ 416696 w 472733"/>
                    <a:gd name="connsiteY118" fmla="*/ 240613 h 563806"/>
                    <a:gd name="connsiteX119" fmla="*/ 416688 w 472733"/>
                    <a:gd name="connsiteY119" fmla="*/ 241754 h 563806"/>
                    <a:gd name="connsiteX120" fmla="*/ 416745 w 472733"/>
                    <a:gd name="connsiteY120" fmla="*/ 242984 h 563806"/>
                    <a:gd name="connsiteX121" fmla="*/ 417943 w 472733"/>
                    <a:gd name="connsiteY121" fmla="*/ 244533 h 563806"/>
                    <a:gd name="connsiteX122" fmla="*/ 420135 w 472733"/>
                    <a:gd name="connsiteY122" fmla="*/ 247654 h 563806"/>
                    <a:gd name="connsiteX123" fmla="*/ 421903 w 472733"/>
                    <a:gd name="connsiteY123" fmla="*/ 250604 h 563806"/>
                    <a:gd name="connsiteX124" fmla="*/ 421944 w 472733"/>
                    <a:gd name="connsiteY124" fmla="*/ 253147 h 563806"/>
                    <a:gd name="connsiteX125" fmla="*/ 421602 w 472733"/>
                    <a:gd name="connsiteY125" fmla="*/ 257426 h 563806"/>
                    <a:gd name="connsiteX126" fmla="*/ 421545 w 472733"/>
                    <a:gd name="connsiteY126" fmla="*/ 259879 h 563806"/>
                    <a:gd name="connsiteX127" fmla="*/ 421724 w 472733"/>
                    <a:gd name="connsiteY127" fmla="*/ 263253 h 563806"/>
                    <a:gd name="connsiteX128" fmla="*/ 421724 w 472733"/>
                    <a:gd name="connsiteY128" fmla="*/ 269520 h 563806"/>
                    <a:gd name="connsiteX129" fmla="*/ 421594 w 472733"/>
                    <a:gd name="connsiteY129" fmla="*/ 273978 h 563806"/>
                    <a:gd name="connsiteX130" fmla="*/ 421871 w 472733"/>
                    <a:gd name="connsiteY130" fmla="*/ 276284 h 563806"/>
                    <a:gd name="connsiteX131" fmla="*/ 424552 w 472733"/>
                    <a:gd name="connsiteY131" fmla="*/ 281818 h 563806"/>
                    <a:gd name="connsiteX132" fmla="*/ 425742 w 472733"/>
                    <a:gd name="connsiteY132" fmla="*/ 287946 h 563806"/>
                    <a:gd name="connsiteX133" fmla="*/ 426337 w 472733"/>
                    <a:gd name="connsiteY133" fmla="*/ 292429 h 563806"/>
                    <a:gd name="connsiteX134" fmla="*/ 426370 w 472733"/>
                    <a:gd name="connsiteY134" fmla="*/ 293855 h 563806"/>
                    <a:gd name="connsiteX135" fmla="*/ 425457 w 472733"/>
                    <a:gd name="connsiteY135" fmla="*/ 299005 h 563806"/>
                    <a:gd name="connsiteX136" fmla="*/ 424414 w 472733"/>
                    <a:gd name="connsiteY136" fmla="*/ 304018 h 563806"/>
                    <a:gd name="connsiteX137" fmla="*/ 424357 w 472733"/>
                    <a:gd name="connsiteY137" fmla="*/ 305908 h 563806"/>
                    <a:gd name="connsiteX138" fmla="*/ 424846 w 472733"/>
                    <a:gd name="connsiteY138" fmla="*/ 308443 h 563806"/>
                    <a:gd name="connsiteX139" fmla="*/ 426753 w 472733"/>
                    <a:gd name="connsiteY139" fmla="*/ 314229 h 563806"/>
                    <a:gd name="connsiteX140" fmla="*/ 428154 w 472733"/>
                    <a:gd name="connsiteY140" fmla="*/ 318443 h 563806"/>
                    <a:gd name="connsiteX141" fmla="*/ 428831 w 472733"/>
                    <a:gd name="connsiteY141" fmla="*/ 320985 h 563806"/>
                    <a:gd name="connsiteX142" fmla="*/ 429792 w 472733"/>
                    <a:gd name="connsiteY142" fmla="*/ 323936 h 563806"/>
                    <a:gd name="connsiteX143" fmla="*/ 431072 w 472733"/>
                    <a:gd name="connsiteY143" fmla="*/ 328475 h 563806"/>
                    <a:gd name="connsiteX144" fmla="*/ 431390 w 472733"/>
                    <a:gd name="connsiteY144" fmla="*/ 330626 h 563806"/>
                    <a:gd name="connsiteX145" fmla="*/ 431129 w 472733"/>
                    <a:gd name="connsiteY145" fmla="*/ 332232 h 563806"/>
                    <a:gd name="connsiteX146" fmla="*/ 428521 w 472733"/>
                    <a:gd name="connsiteY146" fmla="*/ 337921 h 563806"/>
                    <a:gd name="connsiteX147" fmla="*/ 428244 w 472733"/>
                    <a:gd name="connsiteY147" fmla="*/ 339705 h 563806"/>
                    <a:gd name="connsiteX148" fmla="*/ 428896 w 472733"/>
                    <a:gd name="connsiteY148" fmla="*/ 344122 h 563806"/>
                    <a:gd name="connsiteX149" fmla="*/ 429752 w 472733"/>
                    <a:gd name="connsiteY149" fmla="*/ 348377 h 563806"/>
                    <a:gd name="connsiteX150" fmla="*/ 430982 w 472733"/>
                    <a:gd name="connsiteY150" fmla="*/ 350797 h 563806"/>
                    <a:gd name="connsiteX151" fmla="*/ 433940 w 472733"/>
                    <a:gd name="connsiteY151" fmla="*/ 357480 h 563806"/>
                    <a:gd name="connsiteX152" fmla="*/ 436133 w 472733"/>
                    <a:gd name="connsiteY152" fmla="*/ 359738 h 563806"/>
                    <a:gd name="connsiteX153" fmla="*/ 440192 w 472733"/>
                    <a:gd name="connsiteY153" fmla="*/ 363079 h 563806"/>
                    <a:gd name="connsiteX154" fmla="*/ 443777 w 472733"/>
                    <a:gd name="connsiteY154" fmla="*/ 366445 h 563806"/>
                    <a:gd name="connsiteX155" fmla="*/ 445155 w 472733"/>
                    <a:gd name="connsiteY155" fmla="*/ 368189 h 563806"/>
                    <a:gd name="connsiteX156" fmla="*/ 446410 w 472733"/>
                    <a:gd name="connsiteY156" fmla="*/ 370120 h 563806"/>
                    <a:gd name="connsiteX157" fmla="*/ 448912 w 472733"/>
                    <a:gd name="connsiteY157" fmla="*/ 375108 h 563806"/>
                    <a:gd name="connsiteX158" fmla="*/ 450427 w 472733"/>
                    <a:gd name="connsiteY158" fmla="*/ 379166 h 563806"/>
                    <a:gd name="connsiteX159" fmla="*/ 451226 w 472733"/>
                    <a:gd name="connsiteY159" fmla="*/ 382834 h 563806"/>
                    <a:gd name="connsiteX160" fmla="*/ 453190 w 472733"/>
                    <a:gd name="connsiteY160" fmla="*/ 387854 h 563806"/>
                    <a:gd name="connsiteX161" fmla="*/ 455008 w 472733"/>
                    <a:gd name="connsiteY161" fmla="*/ 392499 h 563806"/>
                    <a:gd name="connsiteX162" fmla="*/ 457355 w 472733"/>
                    <a:gd name="connsiteY162" fmla="*/ 398172 h 563806"/>
                    <a:gd name="connsiteX163" fmla="*/ 459017 w 472733"/>
                    <a:gd name="connsiteY163" fmla="*/ 402198 h 563806"/>
                    <a:gd name="connsiteX164" fmla="*/ 459775 w 472733"/>
                    <a:gd name="connsiteY164" fmla="*/ 404887 h 563806"/>
                    <a:gd name="connsiteX165" fmla="*/ 455472 w 472733"/>
                    <a:gd name="connsiteY165" fmla="*/ 405677 h 563806"/>
                    <a:gd name="connsiteX166" fmla="*/ 449262 w 472733"/>
                    <a:gd name="connsiteY166" fmla="*/ 406827 h 563806"/>
                    <a:gd name="connsiteX167" fmla="*/ 442416 w 472733"/>
                    <a:gd name="connsiteY167" fmla="*/ 408098 h 563806"/>
                    <a:gd name="connsiteX168" fmla="*/ 435343 w 472733"/>
                    <a:gd name="connsiteY168" fmla="*/ 409402 h 563806"/>
                    <a:gd name="connsiteX169" fmla="*/ 428334 w 472733"/>
                    <a:gd name="connsiteY169" fmla="*/ 410698 h 563806"/>
                    <a:gd name="connsiteX170" fmla="*/ 421691 w 472733"/>
                    <a:gd name="connsiteY170" fmla="*/ 411928 h 563806"/>
                    <a:gd name="connsiteX171" fmla="*/ 415653 w 472733"/>
                    <a:gd name="connsiteY171" fmla="*/ 413053 h 563806"/>
                    <a:gd name="connsiteX172" fmla="*/ 413819 w 472733"/>
                    <a:gd name="connsiteY172" fmla="*/ 413672 h 563806"/>
                    <a:gd name="connsiteX173" fmla="*/ 414707 w 472733"/>
                    <a:gd name="connsiteY173" fmla="*/ 416826 h 563806"/>
                    <a:gd name="connsiteX174" fmla="*/ 414300 w 472733"/>
                    <a:gd name="connsiteY174" fmla="*/ 420151 h 563806"/>
                    <a:gd name="connsiteX175" fmla="*/ 413102 w 472733"/>
                    <a:gd name="connsiteY175" fmla="*/ 422710 h 563806"/>
                    <a:gd name="connsiteX176" fmla="*/ 411219 w 472733"/>
                    <a:gd name="connsiteY176" fmla="*/ 425881 h 563806"/>
                    <a:gd name="connsiteX177" fmla="*/ 410355 w 472733"/>
                    <a:gd name="connsiteY177" fmla="*/ 427127 h 563806"/>
                    <a:gd name="connsiteX178" fmla="*/ 408432 w 472733"/>
                    <a:gd name="connsiteY178" fmla="*/ 429605 h 563806"/>
                    <a:gd name="connsiteX179" fmla="*/ 406835 w 472733"/>
                    <a:gd name="connsiteY179" fmla="*/ 431341 h 563806"/>
                    <a:gd name="connsiteX180" fmla="*/ 403551 w 472733"/>
                    <a:gd name="connsiteY180" fmla="*/ 434267 h 563806"/>
                    <a:gd name="connsiteX181" fmla="*/ 401472 w 472733"/>
                    <a:gd name="connsiteY181" fmla="*/ 435929 h 563806"/>
                    <a:gd name="connsiteX182" fmla="*/ 401456 w 472733"/>
                    <a:gd name="connsiteY182" fmla="*/ 437445 h 563806"/>
                    <a:gd name="connsiteX183" fmla="*/ 404936 w 472733"/>
                    <a:gd name="connsiteY183" fmla="*/ 444535 h 563806"/>
                    <a:gd name="connsiteX184" fmla="*/ 406517 w 472733"/>
                    <a:gd name="connsiteY184" fmla="*/ 449621 h 563806"/>
                    <a:gd name="connsiteX185" fmla="*/ 407169 w 472733"/>
                    <a:gd name="connsiteY185" fmla="*/ 454217 h 563806"/>
                    <a:gd name="connsiteX186" fmla="*/ 407136 w 472733"/>
                    <a:gd name="connsiteY186" fmla="*/ 456858 h 563806"/>
                    <a:gd name="connsiteX187" fmla="*/ 407006 w 472733"/>
                    <a:gd name="connsiteY187" fmla="*/ 462294 h 563806"/>
                    <a:gd name="connsiteX188" fmla="*/ 406843 w 472733"/>
                    <a:gd name="connsiteY188" fmla="*/ 468740 h 563806"/>
                    <a:gd name="connsiteX189" fmla="*/ 406598 w 472733"/>
                    <a:gd name="connsiteY189" fmla="*/ 471307 h 563806"/>
                    <a:gd name="connsiteX190" fmla="*/ 407535 w 472733"/>
                    <a:gd name="connsiteY190" fmla="*/ 475912 h 563806"/>
                    <a:gd name="connsiteX191" fmla="*/ 407381 w 472733"/>
                    <a:gd name="connsiteY191" fmla="*/ 479514 h 563806"/>
                    <a:gd name="connsiteX192" fmla="*/ 405042 w 472733"/>
                    <a:gd name="connsiteY192" fmla="*/ 483532 h 563806"/>
                    <a:gd name="connsiteX193" fmla="*/ 404390 w 472733"/>
                    <a:gd name="connsiteY193" fmla="*/ 487484 h 563806"/>
                    <a:gd name="connsiteX194" fmla="*/ 403200 w 472733"/>
                    <a:gd name="connsiteY194" fmla="*/ 492814 h 563806"/>
                    <a:gd name="connsiteX195" fmla="*/ 401562 w 472733"/>
                    <a:gd name="connsiteY195" fmla="*/ 500206 h 563806"/>
                    <a:gd name="connsiteX196" fmla="*/ 400396 w 472733"/>
                    <a:gd name="connsiteY196" fmla="*/ 504094 h 563806"/>
                    <a:gd name="connsiteX197" fmla="*/ 401049 w 472733"/>
                    <a:gd name="connsiteY197" fmla="*/ 506636 h 563806"/>
                    <a:gd name="connsiteX198" fmla="*/ 401627 w 472733"/>
                    <a:gd name="connsiteY198" fmla="*/ 508340 h 563806"/>
                    <a:gd name="connsiteX199" fmla="*/ 402238 w 472733"/>
                    <a:gd name="connsiteY199" fmla="*/ 510614 h 563806"/>
                    <a:gd name="connsiteX200" fmla="*/ 403501 w 472733"/>
                    <a:gd name="connsiteY200" fmla="*/ 514061 h 563806"/>
                    <a:gd name="connsiteX201" fmla="*/ 404968 w 472733"/>
                    <a:gd name="connsiteY201" fmla="*/ 516090 h 563806"/>
                    <a:gd name="connsiteX202" fmla="*/ 405783 w 472733"/>
                    <a:gd name="connsiteY202" fmla="*/ 516962 h 563806"/>
                    <a:gd name="connsiteX203" fmla="*/ 410616 w 472733"/>
                    <a:gd name="connsiteY203" fmla="*/ 521298 h 563806"/>
                    <a:gd name="connsiteX204" fmla="*/ 412621 w 472733"/>
                    <a:gd name="connsiteY204" fmla="*/ 523392 h 563806"/>
                    <a:gd name="connsiteX205" fmla="*/ 415677 w 472733"/>
                    <a:gd name="connsiteY205" fmla="*/ 527549 h 563806"/>
                    <a:gd name="connsiteX206" fmla="*/ 417934 w 472733"/>
                    <a:gd name="connsiteY206" fmla="*/ 530303 h 563806"/>
                    <a:gd name="connsiteX207" fmla="*/ 421089 w 472733"/>
                    <a:gd name="connsiteY207" fmla="*/ 530947 h 563806"/>
                    <a:gd name="connsiteX208" fmla="*/ 424862 w 472733"/>
                    <a:gd name="connsiteY208" fmla="*/ 531998 h 563806"/>
                    <a:gd name="connsiteX209" fmla="*/ 426940 w 472733"/>
                    <a:gd name="connsiteY209" fmla="*/ 532797 h 563806"/>
                    <a:gd name="connsiteX210" fmla="*/ 428374 w 472733"/>
                    <a:gd name="connsiteY210" fmla="*/ 532414 h 563806"/>
                    <a:gd name="connsiteX211" fmla="*/ 428863 w 472733"/>
                    <a:gd name="connsiteY211" fmla="*/ 531436 h 563806"/>
                    <a:gd name="connsiteX212" fmla="*/ 428790 w 472733"/>
                    <a:gd name="connsiteY212" fmla="*/ 529366 h 563806"/>
                    <a:gd name="connsiteX213" fmla="*/ 428537 w 472733"/>
                    <a:gd name="connsiteY213" fmla="*/ 527826 h 563806"/>
                    <a:gd name="connsiteX214" fmla="*/ 428937 w 472733"/>
                    <a:gd name="connsiteY214" fmla="*/ 526652 h 563806"/>
                    <a:gd name="connsiteX215" fmla="*/ 430224 w 472733"/>
                    <a:gd name="connsiteY215" fmla="*/ 525870 h 563806"/>
                    <a:gd name="connsiteX216" fmla="*/ 433501 w 472733"/>
                    <a:gd name="connsiteY216" fmla="*/ 525748 h 563806"/>
                    <a:gd name="connsiteX217" fmla="*/ 434935 w 472733"/>
                    <a:gd name="connsiteY217" fmla="*/ 524704 h 563806"/>
                    <a:gd name="connsiteX218" fmla="*/ 436051 w 472733"/>
                    <a:gd name="connsiteY218" fmla="*/ 524444 h 563806"/>
                    <a:gd name="connsiteX219" fmla="*/ 436059 w 472733"/>
                    <a:gd name="connsiteY219" fmla="*/ 529007 h 563806"/>
                    <a:gd name="connsiteX220" fmla="*/ 436059 w 472733"/>
                    <a:gd name="connsiteY220" fmla="*/ 533392 h 563806"/>
                    <a:gd name="connsiteX221" fmla="*/ 436068 w 472733"/>
                    <a:gd name="connsiteY221" fmla="*/ 538697 h 563806"/>
                    <a:gd name="connsiteX222" fmla="*/ 436068 w 472733"/>
                    <a:gd name="connsiteY222" fmla="*/ 544793 h 563806"/>
                    <a:gd name="connsiteX223" fmla="*/ 436076 w 472733"/>
                    <a:gd name="connsiteY223" fmla="*/ 549806 h 563806"/>
                    <a:gd name="connsiteX224" fmla="*/ 436084 w 472733"/>
                    <a:gd name="connsiteY224" fmla="*/ 555119 h 563806"/>
                    <a:gd name="connsiteX225" fmla="*/ 436092 w 472733"/>
                    <a:gd name="connsiteY225" fmla="*/ 561256 h 563806"/>
                    <a:gd name="connsiteX226" fmla="*/ 436059 w 472733"/>
                    <a:gd name="connsiteY226" fmla="*/ 561957 h 563806"/>
                    <a:gd name="connsiteX227" fmla="*/ 435570 w 472733"/>
                    <a:gd name="connsiteY227" fmla="*/ 563326 h 563806"/>
                    <a:gd name="connsiteX228" fmla="*/ 434267 w 472733"/>
                    <a:gd name="connsiteY228" fmla="*/ 563807 h 563806"/>
                    <a:gd name="connsiteX229" fmla="*/ 432506 w 472733"/>
                    <a:gd name="connsiteY229" fmla="*/ 562609 h 563806"/>
                    <a:gd name="connsiteX230" fmla="*/ 432392 w 472733"/>
                    <a:gd name="connsiteY230" fmla="*/ 561362 h 563806"/>
                    <a:gd name="connsiteX231" fmla="*/ 431969 w 472733"/>
                    <a:gd name="connsiteY231" fmla="*/ 559088 h 563806"/>
                    <a:gd name="connsiteX232" fmla="*/ 431145 w 472733"/>
                    <a:gd name="connsiteY232" fmla="*/ 557955 h 563806"/>
                    <a:gd name="connsiteX233" fmla="*/ 430077 w 472733"/>
                    <a:gd name="connsiteY233" fmla="*/ 557588 h 563806"/>
                    <a:gd name="connsiteX234" fmla="*/ 428277 w 472733"/>
                    <a:gd name="connsiteY234" fmla="*/ 558167 h 563806"/>
                    <a:gd name="connsiteX235" fmla="*/ 425807 w 472733"/>
                    <a:gd name="connsiteY235" fmla="*/ 559830 h 563806"/>
                    <a:gd name="connsiteX236" fmla="*/ 422629 w 472733"/>
                    <a:gd name="connsiteY236" fmla="*/ 561297 h 563806"/>
                    <a:gd name="connsiteX237" fmla="*/ 421341 w 472733"/>
                    <a:gd name="connsiteY237" fmla="*/ 562128 h 563806"/>
                    <a:gd name="connsiteX238" fmla="*/ 419108 w 472733"/>
                    <a:gd name="connsiteY238" fmla="*/ 562030 h 563806"/>
                    <a:gd name="connsiteX239" fmla="*/ 416696 w 472733"/>
                    <a:gd name="connsiteY239" fmla="*/ 561231 h 563806"/>
                    <a:gd name="connsiteX240" fmla="*/ 414911 w 472733"/>
                    <a:gd name="connsiteY240" fmla="*/ 559357 h 563806"/>
                    <a:gd name="connsiteX241" fmla="*/ 414389 w 472733"/>
                    <a:gd name="connsiteY241" fmla="*/ 556545 h 563806"/>
                    <a:gd name="connsiteX242" fmla="*/ 412833 w 472733"/>
                    <a:gd name="connsiteY242" fmla="*/ 553652 h 563806"/>
                    <a:gd name="connsiteX243" fmla="*/ 410706 w 472733"/>
                    <a:gd name="connsiteY243" fmla="*/ 549496 h 563806"/>
                    <a:gd name="connsiteX244" fmla="*/ 409638 w 472733"/>
                    <a:gd name="connsiteY244" fmla="*/ 547776 h 563806"/>
                    <a:gd name="connsiteX245" fmla="*/ 408220 w 472733"/>
                    <a:gd name="connsiteY245" fmla="*/ 545828 h 563806"/>
                    <a:gd name="connsiteX246" fmla="*/ 406802 w 472733"/>
                    <a:gd name="connsiteY246" fmla="*/ 545625 h 563806"/>
                    <a:gd name="connsiteX247" fmla="*/ 405197 w 472733"/>
                    <a:gd name="connsiteY247" fmla="*/ 545079 h 563806"/>
                    <a:gd name="connsiteX248" fmla="*/ 404219 w 472733"/>
                    <a:gd name="connsiteY248" fmla="*/ 542226 h 563806"/>
                    <a:gd name="connsiteX249" fmla="*/ 403298 w 472733"/>
                    <a:gd name="connsiteY249" fmla="*/ 538616 h 563806"/>
                    <a:gd name="connsiteX250" fmla="*/ 402735 w 472733"/>
                    <a:gd name="connsiteY250" fmla="*/ 537230 h 563806"/>
                    <a:gd name="connsiteX251" fmla="*/ 401765 w 472733"/>
                    <a:gd name="connsiteY251" fmla="*/ 535429 h 563806"/>
                    <a:gd name="connsiteX252" fmla="*/ 400404 w 472733"/>
                    <a:gd name="connsiteY252" fmla="*/ 534337 h 563806"/>
                    <a:gd name="connsiteX253" fmla="*/ 397422 w 472733"/>
                    <a:gd name="connsiteY253" fmla="*/ 532903 h 563806"/>
                    <a:gd name="connsiteX254" fmla="*/ 393241 w 472733"/>
                    <a:gd name="connsiteY254" fmla="*/ 530890 h 563806"/>
                    <a:gd name="connsiteX255" fmla="*/ 388001 w 472733"/>
                    <a:gd name="connsiteY255" fmla="*/ 528372 h 563806"/>
                    <a:gd name="connsiteX256" fmla="*/ 385507 w 472733"/>
                    <a:gd name="connsiteY256" fmla="*/ 528233 h 563806"/>
                    <a:gd name="connsiteX257" fmla="*/ 382720 w 472733"/>
                    <a:gd name="connsiteY257" fmla="*/ 527826 h 563806"/>
                    <a:gd name="connsiteX258" fmla="*/ 380967 w 472733"/>
                    <a:gd name="connsiteY258" fmla="*/ 526611 h 563806"/>
                    <a:gd name="connsiteX259" fmla="*/ 379965 w 472733"/>
                    <a:gd name="connsiteY259" fmla="*/ 525658 h 563806"/>
                    <a:gd name="connsiteX260" fmla="*/ 378808 w 472733"/>
                    <a:gd name="connsiteY260" fmla="*/ 522153 h 563806"/>
                    <a:gd name="connsiteX261" fmla="*/ 377251 w 472733"/>
                    <a:gd name="connsiteY261" fmla="*/ 518062 h 563806"/>
                    <a:gd name="connsiteX262" fmla="*/ 372630 w 472733"/>
                    <a:gd name="connsiteY262" fmla="*/ 513197 h 563806"/>
                    <a:gd name="connsiteX263" fmla="*/ 371603 w 472733"/>
                    <a:gd name="connsiteY263" fmla="*/ 507794 h 563806"/>
                    <a:gd name="connsiteX264" fmla="*/ 370674 w 472733"/>
                    <a:gd name="connsiteY264" fmla="*/ 507011 h 563806"/>
                    <a:gd name="connsiteX265" fmla="*/ 369101 w 472733"/>
                    <a:gd name="connsiteY265" fmla="*/ 507451 h 563806"/>
                    <a:gd name="connsiteX266" fmla="*/ 367879 w 472733"/>
                    <a:gd name="connsiteY266" fmla="*/ 508120 h 563806"/>
                    <a:gd name="connsiteX267" fmla="*/ 367398 w 472733"/>
                    <a:gd name="connsiteY267" fmla="*/ 509570 h 563806"/>
                    <a:gd name="connsiteX268" fmla="*/ 366159 w 472733"/>
                    <a:gd name="connsiteY268" fmla="*/ 514436 h 563806"/>
                    <a:gd name="connsiteX269" fmla="*/ 365483 w 472733"/>
                    <a:gd name="connsiteY269" fmla="*/ 516677 h 563806"/>
                    <a:gd name="connsiteX270" fmla="*/ 365026 w 472733"/>
                    <a:gd name="connsiteY270" fmla="*/ 517304 h 563806"/>
                    <a:gd name="connsiteX271" fmla="*/ 364024 w 472733"/>
                    <a:gd name="connsiteY271" fmla="*/ 518030 h 563806"/>
                    <a:gd name="connsiteX272" fmla="*/ 362370 w 472733"/>
                    <a:gd name="connsiteY272" fmla="*/ 518690 h 563806"/>
                    <a:gd name="connsiteX273" fmla="*/ 360023 w 472733"/>
                    <a:gd name="connsiteY273" fmla="*/ 519008 h 563806"/>
                    <a:gd name="connsiteX274" fmla="*/ 356722 w 472733"/>
                    <a:gd name="connsiteY274" fmla="*/ 518894 h 563806"/>
                    <a:gd name="connsiteX275" fmla="*/ 352582 w 472733"/>
                    <a:gd name="connsiteY275" fmla="*/ 518160 h 563806"/>
                    <a:gd name="connsiteX276" fmla="*/ 350357 w 472733"/>
                    <a:gd name="connsiteY276" fmla="*/ 517614 h 563806"/>
                    <a:gd name="connsiteX277" fmla="*/ 344326 w 472733"/>
                    <a:gd name="connsiteY277" fmla="*/ 516807 h 563806"/>
                    <a:gd name="connsiteX278" fmla="*/ 342574 w 472733"/>
                    <a:gd name="connsiteY278" fmla="*/ 516416 h 563806"/>
                    <a:gd name="connsiteX279" fmla="*/ 340105 w 472733"/>
                    <a:gd name="connsiteY279" fmla="*/ 515365 h 563806"/>
                    <a:gd name="connsiteX280" fmla="*/ 338328 w 472733"/>
                    <a:gd name="connsiteY280" fmla="*/ 514297 h 563806"/>
                    <a:gd name="connsiteX281" fmla="*/ 332477 w 472733"/>
                    <a:gd name="connsiteY281" fmla="*/ 511999 h 563806"/>
                    <a:gd name="connsiteX282" fmla="*/ 329819 w 472733"/>
                    <a:gd name="connsiteY282" fmla="*/ 512276 h 563806"/>
                    <a:gd name="connsiteX283" fmla="*/ 328532 w 472733"/>
                    <a:gd name="connsiteY283" fmla="*/ 510654 h 563806"/>
                    <a:gd name="connsiteX284" fmla="*/ 327383 w 472733"/>
                    <a:gd name="connsiteY284" fmla="*/ 509864 h 563806"/>
                    <a:gd name="connsiteX285" fmla="*/ 325794 w 472733"/>
                    <a:gd name="connsiteY285" fmla="*/ 508340 h 563806"/>
                    <a:gd name="connsiteX286" fmla="*/ 325085 w 472733"/>
                    <a:gd name="connsiteY286" fmla="*/ 506237 h 563806"/>
                    <a:gd name="connsiteX287" fmla="*/ 324139 w 472733"/>
                    <a:gd name="connsiteY287" fmla="*/ 501746 h 563806"/>
                    <a:gd name="connsiteX288" fmla="*/ 324359 w 472733"/>
                    <a:gd name="connsiteY288" fmla="*/ 499342 h 563806"/>
                    <a:gd name="connsiteX289" fmla="*/ 325044 w 472733"/>
                    <a:gd name="connsiteY289" fmla="*/ 496653 h 563806"/>
                    <a:gd name="connsiteX290" fmla="*/ 324294 w 472733"/>
                    <a:gd name="connsiteY290" fmla="*/ 495911 h 563806"/>
                    <a:gd name="connsiteX291" fmla="*/ 323227 w 472733"/>
                    <a:gd name="connsiteY291" fmla="*/ 495911 h 563806"/>
                    <a:gd name="connsiteX292" fmla="*/ 321711 w 472733"/>
                    <a:gd name="connsiteY292" fmla="*/ 496840 h 563806"/>
                    <a:gd name="connsiteX293" fmla="*/ 319013 w 472733"/>
                    <a:gd name="connsiteY293" fmla="*/ 497362 h 563806"/>
                    <a:gd name="connsiteX294" fmla="*/ 314075 w 472733"/>
                    <a:gd name="connsiteY294" fmla="*/ 498544 h 563806"/>
                    <a:gd name="connsiteX295" fmla="*/ 312330 w 472733"/>
                    <a:gd name="connsiteY295" fmla="*/ 499212 h 563806"/>
                    <a:gd name="connsiteX296" fmla="*/ 310391 w 472733"/>
                    <a:gd name="connsiteY296" fmla="*/ 499709 h 563806"/>
                    <a:gd name="connsiteX297" fmla="*/ 308907 w 472733"/>
                    <a:gd name="connsiteY297" fmla="*/ 500165 h 563806"/>
                    <a:gd name="connsiteX298" fmla="*/ 305183 w 472733"/>
                    <a:gd name="connsiteY298" fmla="*/ 502749 h 563806"/>
                    <a:gd name="connsiteX299" fmla="*/ 303895 w 472733"/>
                    <a:gd name="connsiteY299" fmla="*/ 503034 h 563806"/>
                    <a:gd name="connsiteX300" fmla="*/ 301695 w 472733"/>
                    <a:gd name="connsiteY300" fmla="*/ 502105 h 563806"/>
                    <a:gd name="connsiteX301" fmla="*/ 300635 w 472733"/>
                    <a:gd name="connsiteY301" fmla="*/ 500720 h 563806"/>
                    <a:gd name="connsiteX302" fmla="*/ 301695 w 472733"/>
                    <a:gd name="connsiteY302" fmla="*/ 499155 h 563806"/>
                    <a:gd name="connsiteX303" fmla="*/ 302159 w 472733"/>
                    <a:gd name="connsiteY303" fmla="*/ 497215 h 563806"/>
                    <a:gd name="connsiteX304" fmla="*/ 301393 w 472733"/>
                    <a:gd name="connsiteY304" fmla="*/ 493426 h 563806"/>
                    <a:gd name="connsiteX305" fmla="*/ 300252 w 472733"/>
                    <a:gd name="connsiteY305" fmla="*/ 491665 h 563806"/>
                    <a:gd name="connsiteX306" fmla="*/ 296968 w 472733"/>
                    <a:gd name="connsiteY306" fmla="*/ 490410 h 563806"/>
                    <a:gd name="connsiteX307" fmla="*/ 295721 w 472733"/>
                    <a:gd name="connsiteY307" fmla="*/ 490288 h 563806"/>
                    <a:gd name="connsiteX308" fmla="*/ 295175 w 472733"/>
                    <a:gd name="connsiteY308" fmla="*/ 488161 h 563806"/>
                    <a:gd name="connsiteX309" fmla="*/ 294262 w 472733"/>
                    <a:gd name="connsiteY309" fmla="*/ 486213 h 563806"/>
                    <a:gd name="connsiteX310" fmla="*/ 292396 w 472733"/>
                    <a:gd name="connsiteY310" fmla="*/ 485846 h 563806"/>
                    <a:gd name="connsiteX311" fmla="*/ 291492 w 472733"/>
                    <a:gd name="connsiteY311" fmla="*/ 485626 h 563806"/>
                    <a:gd name="connsiteX312" fmla="*/ 290563 w 472733"/>
                    <a:gd name="connsiteY312" fmla="*/ 486213 h 563806"/>
                    <a:gd name="connsiteX313" fmla="*/ 290024 w 472733"/>
                    <a:gd name="connsiteY313" fmla="*/ 487786 h 563806"/>
                    <a:gd name="connsiteX314" fmla="*/ 289878 w 472733"/>
                    <a:gd name="connsiteY314" fmla="*/ 489000 h 563806"/>
                    <a:gd name="connsiteX315" fmla="*/ 288207 w 472733"/>
                    <a:gd name="connsiteY315" fmla="*/ 489905 h 563806"/>
                    <a:gd name="connsiteX316" fmla="*/ 284800 w 472733"/>
                    <a:gd name="connsiteY316" fmla="*/ 489726 h 563806"/>
                    <a:gd name="connsiteX317" fmla="*/ 281411 w 472733"/>
                    <a:gd name="connsiteY317" fmla="*/ 488845 h 563806"/>
                    <a:gd name="connsiteX318" fmla="*/ 279039 w 472733"/>
                    <a:gd name="connsiteY318" fmla="*/ 488577 h 563806"/>
                    <a:gd name="connsiteX319" fmla="*/ 277450 w 472733"/>
                    <a:gd name="connsiteY319" fmla="*/ 488780 h 563806"/>
                    <a:gd name="connsiteX320" fmla="*/ 271410 w 472733"/>
                    <a:gd name="connsiteY320" fmla="*/ 491771 h 563806"/>
                    <a:gd name="connsiteX321" fmla="*/ 269414 w 472733"/>
                    <a:gd name="connsiteY321" fmla="*/ 492162 h 563806"/>
                    <a:gd name="connsiteX322" fmla="*/ 262927 w 472733"/>
                    <a:gd name="connsiteY322" fmla="*/ 491918 h 563806"/>
                    <a:gd name="connsiteX323" fmla="*/ 259251 w 472733"/>
                    <a:gd name="connsiteY323" fmla="*/ 491307 h 563806"/>
                    <a:gd name="connsiteX324" fmla="*/ 256635 w 472733"/>
                    <a:gd name="connsiteY324" fmla="*/ 491176 h 563806"/>
                    <a:gd name="connsiteX325" fmla="*/ 254777 w 472733"/>
                    <a:gd name="connsiteY325" fmla="*/ 492122 h 563806"/>
                    <a:gd name="connsiteX326" fmla="*/ 252463 w 472733"/>
                    <a:gd name="connsiteY326" fmla="*/ 494314 h 563806"/>
                    <a:gd name="connsiteX327" fmla="*/ 250539 w 472733"/>
                    <a:gd name="connsiteY327" fmla="*/ 495496 h 563806"/>
                    <a:gd name="connsiteX328" fmla="*/ 249626 w 472733"/>
                    <a:gd name="connsiteY328" fmla="*/ 495365 h 563806"/>
                    <a:gd name="connsiteX329" fmla="*/ 249089 w 472733"/>
                    <a:gd name="connsiteY329" fmla="*/ 494444 h 563806"/>
                    <a:gd name="connsiteX330" fmla="*/ 248322 w 472733"/>
                    <a:gd name="connsiteY330" fmla="*/ 493189 h 563806"/>
                    <a:gd name="connsiteX331" fmla="*/ 248094 w 472733"/>
                    <a:gd name="connsiteY331" fmla="*/ 489881 h 563806"/>
                    <a:gd name="connsiteX332" fmla="*/ 247132 w 472733"/>
                    <a:gd name="connsiteY332" fmla="*/ 486246 h 563806"/>
                    <a:gd name="connsiteX333" fmla="*/ 247776 w 472733"/>
                    <a:gd name="connsiteY333" fmla="*/ 484355 h 563806"/>
                    <a:gd name="connsiteX334" fmla="*/ 249675 w 472733"/>
                    <a:gd name="connsiteY334" fmla="*/ 482978 h 563806"/>
                    <a:gd name="connsiteX335" fmla="*/ 250335 w 472733"/>
                    <a:gd name="connsiteY335" fmla="*/ 480174 h 563806"/>
                    <a:gd name="connsiteX336" fmla="*/ 249749 w 472733"/>
                    <a:gd name="connsiteY336" fmla="*/ 475945 h 563806"/>
                    <a:gd name="connsiteX337" fmla="*/ 249708 w 472733"/>
                    <a:gd name="connsiteY337" fmla="*/ 472986 h 563806"/>
                    <a:gd name="connsiteX338" fmla="*/ 250221 w 472733"/>
                    <a:gd name="connsiteY338" fmla="*/ 471283 h 563806"/>
                    <a:gd name="connsiteX339" fmla="*/ 249537 w 472733"/>
                    <a:gd name="connsiteY339" fmla="*/ 467118 h 563806"/>
                    <a:gd name="connsiteX340" fmla="*/ 247621 w 472733"/>
                    <a:gd name="connsiteY340" fmla="*/ 460533 h 563806"/>
                    <a:gd name="connsiteX341" fmla="*/ 244932 w 472733"/>
                    <a:gd name="connsiteY341" fmla="*/ 455163 h 563806"/>
                    <a:gd name="connsiteX342" fmla="*/ 241452 w 472733"/>
                    <a:gd name="connsiteY342" fmla="*/ 451031 h 563806"/>
                    <a:gd name="connsiteX343" fmla="*/ 239162 w 472733"/>
                    <a:gd name="connsiteY343" fmla="*/ 447062 h 563806"/>
                    <a:gd name="connsiteX344" fmla="*/ 238086 w 472733"/>
                    <a:gd name="connsiteY344" fmla="*/ 443280 h 563806"/>
                    <a:gd name="connsiteX345" fmla="*/ 238494 w 472733"/>
                    <a:gd name="connsiteY345" fmla="*/ 434242 h 563806"/>
                    <a:gd name="connsiteX346" fmla="*/ 239545 w 472733"/>
                    <a:gd name="connsiteY346" fmla="*/ 426256 h 563806"/>
                    <a:gd name="connsiteX347" fmla="*/ 240376 w 472733"/>
                    <a:gd name="connsiteY347" fmla="*/ 419915 h 563806"/>
                    <a:gd name="connsiteX348" fmla="*/ 240140 w 472733"/>
                    <a:gd name="connsiteY348" fmla="*/ 409320 h 563806"/>
                    <a:gd name="connsiteX349" fmla="*/ 237785 w 472733"/>
                    <a:gd name="connsiteY349" fmla="*/ 402426 h 563806"/>
                    <a:gd name="connsiteX350" fmla="*/ 237263 w 472733"/>
                    <a:gd name="connsiteY350" fmla="*/ 395018 h 563806"/>
                    <a:gd name="connsiteX351" fmla="*/ 238592 w 472733"/>
                    <a:gd name="connsiteY351" fmla="*/ 387071 h 563806"/>
                    <a:gd name="connsiteX352" fmla="*/ 238787 w 472733"/>
                    <a:gd name="connsiteY352" fmla="*/ 381644 h 563806"/>
                    <a:gd name="connsiteX353" fmla="*/ 237907 w 472733"/>
                    <a:gd name="connsiteY353" fmla="*/ 378865 h 563806"/>
                    <a:gd name="connsiteX354" fmla="*/ 237304 w 472733"/>
                    <a:gd name="connsiteY354" fmla="*/ 378441 h 563806"/>
                    <a:gd name="connsiteX355" fmla="*/ 236546 w 472733"/>
                    <a:gd name="connsiteY355" fmla="*/ 378172 h 563806"/>
                    <a:gd name="connsiteX356" fmla="*/ 230589 w 472733"/>
                    <a:gd name="connsiteY356" fmla="*/ 377903 h 563806"/>
                    <a:gd name="connsiteX357" fmla="*/ 222643 w 472733"/>
                    <a:gd name="connsiteY357" fmla="*/ 377545 h 563806"/>
                    <a:gd name="connsiteX358" fmla="*/ 215707 w 472733"/>
                    <a:gd name="connsiteY358" fmla="*/ 377447 h 563806"/>
                    <a:gd name="connsiteX359" fmla="*/ 208201 w 472733"/>
                    <a:gd name="connsiteY359" fmla="*/ 377341 h 563806"/>
                    <a:gd name="connsiteX360" fmla="*/ 206963 w 472733"/>
                    <a:gd name="connsiteY360" fmla="*/ 376347 h 563806"/>
                    <a:gd name="connsiteX361" fmla="*/ 206409 w 472733"/>
                    <a:gd name="connsiteY361" fmla="*/ 374480 h 563806"/>
                    <a:gd name="connsiteX362" fmla="*/ 206441 w 472733"/>
                    <a:gd name="connsiteY362" fmla="*/ 372647 h 563806"/>
                    <a:gd name="connsiteX363" fmla="*/ 207965 w 472733"/>
                    <a:gd name="connsiteY363" fmla="*/ 367048 h 563806"/>
                    <a:gd name="connsiteX364" fmla="*/ 207753 w 472733"/>
                    <a:gd name="connsiteY364" fmla="*/ 366575 h 563806"/>
                    <a:gd name="connsiteX365" fmla="*/ 205088 w 472733"/>
                    <a:gd name="connsiteY365" fmla="*/ 366461 h 563806"/>
                    <a:gd name="connsiteX366" fmla="*/ 197827 w 472733"/>
                    <a:gd name="connsiteY366" fmla="*/ 367365 h 563806"/>
                    <a:gd name="connsiteX367" fmla="*/ 193051 w 472733"/>
                    <a:gd name="connsiteY367" fmla="*/ 368270 h 563806"/>
                    <a:gd name="connsiteX368" fmla="*/ 190019 w 472733"/>
                    <a:gd name="connsiteY368" fmla="*/ 368572 h 563806"/>
                    <a:gd name="connsiteX369" fmla="*/ 184689 w 472733"/>
                    <a:gd name="connsiteY369" fmla="*/ 370104 h 563806"/>
                    <a:gd name="connsiteX370" fmla="*/ 181397 w 472733"/>
                    <a:gd name="connsiteY370" fmla="*/ 373331 h 563806"/>
                    <a:gd name="connsiteX371" fmla="*/ 180313 w 472733"/>
                    <a:gd name="connsiteY371" fmla="*/ 377398 h 563806"/>
                    <a:gd name="connsiteX372" fmla="*/ 180402 w 472733"/>
                    <a:gd name="connsiteY372" fmla="*/ 380739 h 563806"/>
                    <a:gd name="connsiteX373" fmla="*/ 180215 w 472733"/>
                    <a:gd name="connsiteY373" fmla="*/ 383176 h 563806"/>
                    <a:gd name="connsiteX374" fmla="*/ 178707 w 472733"/>
                    <a:gd name="connsiteY374" fmla="*/ 385743 h 563806"/>
                    <a:gd name="connsiteX375" fmla="*/ 177534 w 472733"/>
                    <a:gd name="connsiteY375" fmla="*/ 388677 h 563806"/>
                    <a:gd name="connsiteX376" fmla="*/ 177485 w 472733"/>
                    <a:gd name="connsiteY376" fmla="*/ 390234 h 563806"/>
                    <a:gd name="connsiteX377" fmla="*/ 176768 w 472733"/>
                    <a:gd name="connsiteY377" fmla="*/ 398058 h 563806"/>
                    <a:gd name="connsiteX378" fmla="*/ 171862 w 472733"/>
                    <a:gd name="connsiteY378" fmla="*/ 399101 h 563806"/>
                    <a:gd name="connsiteX379" fmla="*/ 166939 w 472733"/>
                    <a:gd name="connsiteY379" fmla="*/ 399101 h 563806"/>
                    <a:gd name="connsiteX380" fmla="*/ 165790 w 472733"/>
                    <a:gd name="connsiteY380" fmla="*/ 399011 h 563806"/>
                    <a:gd name="connsiteX381" fmla="*/ 159719 w 472733"/>
                    <a:gd name="connsiteY381" fmla="*/ 397128 h 563806"/>
                    <a:gd name="connsiteX382" fmla="*/ 157469 w 472733"/>
                    <a:gd name="connsiteY382" fmla="*/ 397128 h 563806"/>
                    <a:gd name="connsiteX383" fmla="*/ 155529 w 472733"/>
                    <a:gd name="connsiteY383" fmla="*/ 398114 h 563806"/>
                    <a:gd name="connsiteX384" fmla="*/ 151822 w 472733"/>
                    <a:gd name="connsiteY384" fmla="*/ 399076 h 563806"/>
                    <a:gd name="connsiteX385" fmla="*/ 148260 w 472733"/>
                    <a:gd name="connsiteY385" fmla="*/ 399777 h 563806"/>
                    <a:gd name="connsiteX386" fmla="*/ 144682 w 472733"/>
                    <a:gd name="connsiteY386" fmla="*/ 402092 h 563806"/>
                    <a:gd name="connsiteX387" fmla="*/ 143729 w 472733"/>
                    <a:gd name="connsiteY387" fmla="*/ 402287 h 563806"/>
                    <a:gd name="connsiteX388" fmla="*/ 141357 w 472733"/>
                    <a:gd name="connsiteY388" fmla="*/ 401097 h 563806"/>
                    <a:gd name="connsiteX389" fmla="*/ 138024 w 472733"/>
                    <a:gd name="connsiteY389" fmla="*/ 401203 h 563806"/>
                    <a:gd name="connsiteX390" fmla="*/ 134658 w 472733"/>
                    <a:gd name="connsiteY390" fmla="*/ 401790 h 563806"/>
                    <a:gd name="connsiteX391" fmla="*/ 133085 w 472733"/>
                    <a:gd name="connsiteY391" fmla="*/ 402035 h 563806"/>
                    <a:gd name="connsiteX392" fmla="*/ 132009 w 472733"/>
                    <a:gd name="connsiteY392" fmla="*/ 401342 h 563806"/>
                    <a:gd name="connsiteX393" fmla="*/ 128904 w 472733"/>
                    <a:gd name="connsiteY393" fmla="*/ 395499 h 563806"/>
                    <a:gd name="connsiteX394" fmla="*/ 124789 w 472733"/>
                    <a:gd name="connsiteY394" fmla="*/ 387732 h 563806"/>
                    <a:gd name="connsiteX395" fmla="*/ 122556 w 472733"/>
                    <a:gd name="connsiteY395" fmla="*/ 382858 h 563806"/>
                    <a:gd name="connsiteX396" fmla="*/ 121724 w 472733"/>
                    <a:gd name="connsiteY396" fmla="*/ 381587 h 563806"/>
                    <a:gd name="connsiteX397" fmla="*/ 120282 w 472733"/>
                    <a:gd name="connsiteY397" fmla="*/ 379900 h 563806"/>
                    <a:gd name="connsiteX398" fmla="*/ 118326 w 472733"/>
                    <a:gd name="connsiteY398" fmla="*/ 376721 h 563806"/>
                    <a:gd name="connsiteX399" fmla="*/ 117527 w 472733"/>
                    <a:gd name="connsiteY399" fmla="*/ 373698 h 563806"/>
                    <a:gd name="connsiteX400" fmla="*/ 117861 w 472733"/>
                    <a:gd name="connsiteY400" fmla="*/ 370854 h 563806"/>
                    <a:gd name="connsiteX401" fmla="*/ 116712 w 472733"/>
                    <a:gd name="connsiteY401" fmla="*/ 367007 h 563806"/>
                    <a:gd name="connsiteX402" fmla="*/ 114072 w 472733"/>
                    <a:gd name="connsiteY402" fmla="*/ 362158 h 563806"/>
                    <a:gd name="connsiteX403" fmla="*/ 112336 w 472733"/>
                    <a:gd name="connsiteY403" fmla="*/ 357521 h 563806"/>
                    <a:gd name="connsiteX404" fmla="*/ 111505 w 472733"/>
                    <a:gd name="connsiteY404" fmla="*/ 353120 h 563806"/>
                    <a:gd name="connsiteX405" fmla="*/ 111293 w 472733"/>
                    <a:gd name="connsiteY405" fmla="*/ 349346 h 563806"/>
                    <a:gd name="connsiteX406" fmla="*/ 111709 w 472733"/>
                    <a:gd name="connsiteY406" fmla="*/ 346201 h 563806"/>
                    <a:gd name="connsiteX407" fmla="*/ 111203 w 472733"/>
                    <a:gd name="connsiteY407" fmla="*/ 343886 h 563806"/>
                    <a:gd name="connsiteX408" fmla="*/ 109761 w 472733"/>
                    <a:gd name="connsiteY408" fmla="*/ 342395 h 563806"/>
                    <a:gd name="connsiteX409" fmla="*/ 108995 w 472733"/>
                    <a:gd name="connsiteY409" fmla="*/ 340504 h 563806"/>
                    <a:gd name="connsiteX410" fmla="*/ 108416 w 472733"/>
                    <a:gd name="connsiteY410" fmla="*/ 339705 h 563806"/>
                    <a:gd name="connsiteX411" fmla="*/ 107226 w 472733"/>
                    <a:gd name="connsiteY411" fmla="*/ 337937 h 563806"/>
                    <a:gd name="connsiteX412" fmla="*/ 104610 w 472733"/>
                    <a:gd name="connsiteY412" fmla="*/ 335973 h 563806"/>
                    <a:gd name="connsiteX413" fmla="*/ 101725 w 472733"/>
                    <a:gd name="connsiteY413" fmla="*/ 334921 h 563806"/>
                    <a:gd name="connsiteX414" fmla="*/ 95401 w 472733"/>
                    <a:gd name="connsiteY414" fmla="*/ 334897 h 563806"/>
                    <a:gd name="connsiteX415" fmla="*/ 87137 w 472733"/>
                    <a:gd name="connsiteY415" fmla="*/ 334865 h 563806"/>
                    <a:gd name="connsiteX416" fmla="*/ 79647 w 472733"/>
                    <a:gd name="connsiteY416" fmla="*/ 335011 h 563806"/>
                    <a:gd name="connsiteX417" fmla="*/ 71318 w 472733"/>
                    <a:gd name="connsiteY417" fmla="*/ 335190 h 563806"/>
                    <a:gd name="connsiteX418" fmla="*/ 62883 w 472733"/>
                    <a:gd name="connsiteY418" fmla="*/ 335345 h 563806"/>
                    <a:gd name="connsiteX419" fmla="*/ 60618 w 472733"/>
                    <a:gd name="connsiteY419" fmla="*/ 335622 h 563806"/>
                    <a:gd name="connsiteX420" fmla="*/ 54196 w 472733"/>
                    <a:gd name="connsiteY420" fmla="*/ 335728 h 563806"/>
                    <a:gd name="connsiteX421" fmla="*/ 49037 w 472733"/>
                    <a:gd name="connsiteY421" fmla="*/ 335231 h 563806"/>
                    <a:gd name="connsiteX422" fmla="*/ 47130 w 472733"/>
                    <a:gd name="connsiteY422" fmla="*/ 334905 h 563806"/>
                    <a:gd name="connsiteX423" fmla="*/ 43772 w 472733"/>
                    <a:gd name="connsiteY423" fmla="*/ 334661 h 563806"/>
                    <a:gd name="connsiteX424" fmla="*/ 38467 w 472733"/>
                    <a:gd name="connsiteY424" fmla="*/ 334604 h 563806"/>
                    <a:gd name="connsiteX425" fmla="*/ 35598 w 472733"/>
                    <a:gd name="connsiteY425" fmla="*/ 334799 h 563806"/>
                    <a:gd name="connsiteX426" fmla="*/ 28712 w 472733"/>
                    <a:gd name="connsiteY426" fmla="*/ 334816 h 563806"/>
                    <a:gd name="connsiteX427" fmla="*/ 28092 w 472733"/>
                    <a:gd name="connsiteY427" fmla="*/ 334856 h 563806"/>
                    <a:gd name="connsiteX428" fmla="*/ 27000 w 472733"/>
                    <a:gd name="connsiteY428" fmla="*/ 335402 h 563806"/>
                    <a:gd name="connsiteX429" fmla="*/ 24074 w 472733"/>
                    <a:gd name="connsiteY429" fmla="*/ 334636 h 563806"/>
                    <a:gd name="connsiteX430" fmla="*/ 21198 w 472733"/>
                    <a:gd name="connsiteY430" fmla="*/ 334897 h 563806"/>
                    <a:gd name="connsiteX431" fmla="*/ 19575 w 472733"/>
                    <a:gd name="connsiteY431" fmla="*/ 334033 h 563806"/>
                    <a:gd name="connsiteX432" fmla="*/ 16047 w 472733"/>
                    <a:gd name="connsiteY432" fmla="*/ 334579 h 563806"/>
                    <a:gd name="connsiteX433" fmla="*/ 14327 w 472733"/>
                    <a:gd name="connsiteY433" fmla="*/ 335288 h 563806"/>
                    <a:gd name="connsiteX434" fmla="*/ 11589 w 472733"/>
                    <a:gd name="connsiteY434" fmla="*/ 337774 h 563806"/>
                    <a:gd name="connsiteX435" fmla="*/ 7465 w 472733"/>
                    <a:gd name="connsiteY435" fmla="*/ 339078 h 563806"/>
                    <a:gd name="connsiteX436" fmla="*/ 5933 w 472733"/>
                    <a:gd name="connsiteY436" fmla="*/ 338972 h 563806"/>
                    <a:gd name="connsiteX437" fmla="*/ 4906 w 472733"/>
                    <a:gd name="connsiteY437" fmla="*/ 338548 h 563806"/>
                    <a:gd name="connsiteX438" fmla="*/ 2510 w 472733"/>
                    <a:gd name="connsiteY438" fmla="*/ 335810 h 563806"/>
                    <a:gd name="connsiteX439" fmla="*/ 669 w 472733"/>
                    <a:gd name="connsiteY439" fmla="*/ 333161 h 563806"/>
                    <a:gd name="connsiteX440" fmla="*/ 0 w 472733"/>
                    <a:gd name="connsiteY440" fmla="*/ 331719 h 563806"/>
                    <a:gd name="connsiteX441" fmla="*/ 1027 w 472733"/>
                    <a:gd name="connsiteY441" fmla="*/ 331352 h 563806"/>
                    <a:gd name="connsiteX442" fmla="*/ 4270 w 472733"/>
                    <a:gd name="connsiteY442" fmla="*/ 330781 h 563806"/>
                    <a:gd name="connsiteX443" fmla="*/ 6724 w 472733"/>
                    <a:gd name="connsiteY443" fmla="*/ 330521 h 563806"/>
                    <a:gd name="connsiteX444" fmla="*/ 7180 w 472733"/>
                    <a:gd name="connsiteY444" fmla="*/ 329820 h 563806"/>
                    <a:gd name="connsiteX445" fmla="*/ 7571 w 472733"/>
                    <a:gd name="connsiteY445" fmla="*/ 321686 h 563806"/>
                    <a:gd name="connsiteX446" fmla="*/ 7644 w 472733"/>
                    <a:gd name="connsiteY446" fmla="*/ 313414 h 563806"/>
                    <a:gd name="connsiteX447" fmla="*/ 6789 w 472733"/>
                    <a:gd name="connsiteY447" fmla="*/ 312322 h 563806"/>
                    <a:gd name="connsiteX448" fmla="*/ 5941 w 472733"/>
                    <a:gd name="connsiteY448" fmla="*/ 311662 h 563806"/>
                    <a:gd name="connsiteX449" fmla="*/ 5900 w 472733"/>
                    <a:gd name="connsiteY449" fmla="*/ 311092 h 563806"/>
                    <a:gd name="connsiteX450" fmla="*/ 7172 w 472733"/>
                    <a:gd name="connsiteY450" fmla="*/ 310057 h 563806"/>
                    <a:gd name="connsiteX451" fmla="*/ 8924 w 472733"/>
                    <a:gd name="connsiteY451" fmla="*/ 308842 h 563806"/>
                    <a:gd name="connsiteX452" fmla="*/ 9486 w 472733"/>
                    <a:gd name="connsiteY452" fmla="*/ 308296 h 563806"/>
                    <a:gd name="connsiteX453" fmla="*/ 11442 w 472733"/>
                    <a:gd name="connsiteY453" fmla="*/ 306096 h 563806"/>
                    <a:gd name="connsiteX454" fmla="*/ 15273 w 472733"/>
                    <a:gd name="connsiteY454" fmla="*/ 301043 h 563806"/>
                    <a:gd name="connsiteX455" fmla="*/ 18207 w 472733"/>
                    <a:gd name="connsiteY455" fmla="*/ 299813 h 563806"/>
                    <a:gd name="connsiteX456" fmla="*/ 20920 w 472733"/>
                    <a:gd name="connsiteY456" fmla="*/ 298484 h 563806"/>
                    <a:gd name="connsiteX457" fmla="*/ 21304 w 472733"/>
                    <a:gd name="connsiteY457" fmla="*/ 297995 h 563806"/>
                    <a:gd name="connsiteX458" fmla="*/ 21670 w 472733"/>
                    <a:gd name="connsiteY458" fmla="*/ 297001 h 563806"/>
                    <a:gd name="connsiteX459" fmla="*/ 22884 w 472733"/>
                    <a:gd name="connsiteY459" fmla="*/ 297082 h 563806"/>
                    <a:gd name="connsiteX460" fmla="*/ 23284 w 472733"/>
                    <a:gd name="connsiteY460" fmla="*/ 297555 h 563806"/>
                    <a:gd name="connsiteX461" fmla="*/ 23871 w 472733"/>
                    <a:gd name="connsiteY461" fmla="*/ 298622 h 563806"/>
                    <a:gd name="connsiteX462" fmla="*/ 24946 w 472733"/>
                    <a:gd name="connsiteY462" fmla="*/ 300122 h 563806"/>
                    <a:gd name="connsiteX463" fmla="*/ 26870 w 472733"/>
                    <a:gd name="connsiteY463" fmla="*/ 301907 h 563806"/>
                    <a:gd name="connsiteX464" fmla="*/ 28818 w 472733"/>
                    <a:gd name="connsiteY464" fmla="*/ 303830 h 563806"/>
                    <a:gd name="connsiteX465" fmla="*/ 29795 w 472733"/>
                    <a:gd name="connsiteY465" fmla="*/ 304066 h 563806"/>
                    <a:gd name="connsiteX466" fmla="*/ 31368 w 472733"/>
                    <a:gd name="connsiteY466" fmla="*/ 303089 h 563806"/>
                    <a:gd name="connsiteX467" fmla="*/ 33177 w 472733"/>
                    <a:gd name="connsiteY467" fmla="*/ 301646 h 563806"/>
                    <a:gd name="connsiteX468" fmla="*/ 35859 w 472733"/>
                    <a:gd name="connsiteY468" fmla="*/ 300587 h 563806"/>
                    <a:gd name="connsiteX469" fmla="*/ 36503 w 472733"/>
                    <a:gd name="connsiteY469" fmla="*/ 299609 h 563806"/>
                    <a:gd name="connsiteX470" fmla="*/ 36845 w 472733"/>
                    <a:gd name="connsiteY470" fmla="*/ 297506 h 563806"/>
                    <a:gd name="connsiteX471" fmla="*/ 37057 w 472733"/>
                    <a:gd name="connsiteY471" fmla="*/ 295241 h 563806"/>
                    <a:gd name="connsiteX472" fmla="*/ 37285 w 472733"/>
                    <a:gd name="connsiteY472" fmla="*/ 292584 h 563806"/>
                    <a:gd name="connsiteX473" fmla="*/ 37831 w 472733"/>
                    <a:gd name="connsiteY473" fmla="*/ 292217 h 563806"/>
                    <a:gd name="connsiteX474" fmla="*/ 38793 w 472733"/>
                    <a:gd name="connsiteY474" fmla="*/ 291964 h 563806"/>
                    <a:gd name="connsiteX475" fmla="*/ 40570 w 472733"/>
                    <a:gd name="connsiteY475" fmla="*/ 292722 h 563806"/>
                    <a:gd name="connsiteX476" fmla="*/ 41392 w 472733"/>
                    <a:gd name="connsiteY476" fmla="*/ 293488 h 563806"/>
                    <a:gd name="connsiteX477" fmla="*/ 42835 w 472733"/>
                    <a:gd name="connsiteY477" fmla="*/ 293488 h 563806"/>
                    <a:gd name="connsiteX478" fmla="*/ 43772 w 472733"/>
                    <a:gd name="connsiteY478" fmla="*/ 292795 h 563806"/>
                    <a:gd name="connsiteX479" fmla="*/ 45476 w 472733"/>
                    <a:gd name="connsiteY479" fmla="*/ 291484 h 563806"/>
                    <a:gd name="connsiteX480" fmla="*/ 47619 w 472733"/>
                    <a:gd name="connsiteY480" fmla="*/ 290946 h 563806"/>
                    <a:gd name="connsiteX481" fmla="*/ 49941 w 472733"/>
                    <a:gd name="connsiteY481" fmla="*/ 289699 h 563806"/>
                    <a:gd name="connsiteX482" fmla="*/ 52142 w 472733"/>
                    <a:gd name="connsiteY482" fmla="*/ 288077 h 563806"/>
                    <a:gd name="connsiteX483" fmla="*/ 53185 w 472733"/>
                    <a:gd name="connsiteY483" fmla="*/ 287938 h 563806"/>
                    <a:gd name="connsiteX484" fmla="*/ 54293 w 472733"/>
                    <a:gd name="connsiteY484" fmla="*/ 290041 h 563806"/>
                    <a:gd name="connsiteX485" fmla="*/ 55280 w 472733"/>
                    <a:gd name="connsiteY485" fmla="*/ 291524 h 563806"/>
                    <a:gd name="connsiteX486" fmla="*/ 55459 w 472733"/>
                    <a:gd name="connsiteY486" fmla="*/ 292437 h 563806"/>
                    <a:gd name="connsiteX487" fmla="*/ 54465 w 472733"/>
                    <a:gd name="connsiteY487" fmla="*/ 294197 h 563806"/>
                    <a:gd name="connsiteX488" fmla="*/ 53364 w 472733"/>
                    <a:gd name="connsiteY488" fmla="*/ 296512 h 563806"/>
                    <a:gd name="connsiteX489" fmla="*/ 54293 w 472733"/>
                    <a:gd name="connsiteY489" fmla="*/ 299397 h 563806"/>
                    <a:gd name="connsiteX490" fmla="*/ 54522 w 472733"/>
                    <a:gd name="connsiteY490" fmla="*/ 302192 h 563806"/>
                    <a:gd name="connsiteX491" fmla="*/ 54489 w 472733"/>
                    <a:gd name="connsiteY491" fmla="*/ 303879 h 563806"/>
                    <a:gd name="connsiteX492" fmla="*/ 55247 w 472733"/>
                    <a:gd name="connsiteY492" fmla="*/ 304572 h 563806"/>
                    <a:gd name="connsiteX493" fmla="*/ 55752 w 472733"/>
                    <a:gd name="connsiteY493" fmla="*/ 304890 h 563806"/>
                    <a:gd name="connsiteX494" fmla="*/ 56559 w 472733"/>
                    <a:gd name="connsiteY494" fmla="*/ 304490 h 563806"/>
                    <a:gd name="connsiteX495" fmla="*/ 58124 w 472733"/>
                    <a:gd name="connsiteY495" fmla="*/ 304621 h 563806"/>
                    <a:gd name="connsiteX496" fmla="*/ 60031 w 472733"/>
                    <a:gd name="connsiteY496" fmla="*/ 305485 h 563806"/>
                    <a:gd name="connsiteX497" fmla="*/ 61865 w 472733"/>
                    <a:gd name="connsiteY497" fmla="*/ 305403 h 563806"/>
                    <a:gd name="connsiteX498" fmla="*/ 63625 w 472733"/>
                    <a:gd name="connsiteY498" fmla="*/ 304319 h 563806"/>
                    <a:gd name="connsiteX499" fmla="*/ 66934 w 472733"/>
                    <a:gd name="connsiteY499" fmla="*/ 300114 h 563806"/>
                    <a:gd name="connsiteX500" fmla="*/ 71734 w 472733"/>
                    <a:gd name="connsiteY500" fmla="*/ 292787 h 563806"/>
                    <a:gd name="connsiteX501" fmla="*/ 75736 w 472733"/>
                    <a:gd name="connsiteY501" fmla="*/ 288183 h 563806"/>
                    <a:gd name="connsiteX502" fmla="*/ 78898 w 472733"/>
                    <a:gd name="connsiteY502" fmla="*/ 286308 h 563806"/>
                    <a:gd name="connsiteX503" fmla="*/ 81033 w 472733"/>
                    <a:gd name="connsiteY503" fmla="*/ 284100 h 563806"/>
                    <a:gd name="connsiteX504" fmla="*/ 82149 w 472733"/>
                    <a:gd name="connsiteY504" fmla="*/ 281598 h 563806"/>
                    <a:gd name="connsiteX505" fmla="*/ 83991 w 472733"/>
                    <a:gd name="connsiteY505" fmla="*/ 279895 h 563806"/>
                    <a:gd name="connsiteX506" fmla="*/ 87829 w 472733"/>
                    <a:gd name="connsiteY506" fmla="*/ 278525 h 563806"/>
                    <a:gd name="connsiteX507" fmla="*/ 90739 w 472733"/>
                    <a:gd name="connsiteY507" fmla="*/ 276985 h 563806"/>
                    <a:gd name="connsiteX508" fmla="*/ 93657 w 472733"/>
                    <a:gd name="connsiteY508" fmla="*/ 271949 h 563806"/>
                    <a:gd name="connsiteX509" fmla="*/ 97544 w 472733"/>
                    <a:gd name="connsiteY509" fmla="*/ 262902 h 563806"/>
                    <a:gd name="connsiteX510" fmla="*/ 98636 w 472733"/>
                    <a:gd name="connsiteY510" fmla="*/ 254818 h 563806"/>
                    <a:gd name="connsiteX511" fmla="*/ 99297 w 472733"/>
                    <a:gd name="connsiteY511" fmla="*/ 249895 h 563806"/>
                    <a:gd name="connsiteX512" fmla="*/ 98914 w 472733"/>
                    <a:gd name="connsiteY512" fmla="*/ 232960 h 563806"/>
                    <a:gd name="connsiteX513" fmla="*/ 98661 w 472733"/>
                    <a:gd name="connsiteY513" fmla="*/ 227394 h 563806"/>
                    <a:gd name="connsiteX514" fmla="*/ 99247 w 472733"/>
                    <a:gd name="connsiteY514" fmla="*/ 224362 h 563806"/>
                    <a:gd name="connsiteX515" fmla="*/ 100698 w 472733"/>
                    <a:gd name="connsiteY515" fmla="*/ 222284 h 563806"/>
                    <a:gd name="connsiteX516" fmla="*/ 104659 w 472733"/>
                    <a:gd name="connsiteY516" fmla="*/ 217867 h 563806"/>
                    <a:gd name="connsiteX517" fmla="*/ 107324 w 472733"/>
                    <a:gd name="connsiteY517" fmla="*/ 214257 h 563806"/>
                    <a:gd name="connsiteX518" fmla="*/ 109353 w 472733"/>
                    <a:gd name="connsiteY518" fmla="*/ 210019 h 563806"/>
                    <a:gd name="connsiteX519" fmla="*/ 113257 w 472733"/>
                    <a:gd name="connsiteY519" fmla="*/ 200361 h 563806"/>
                    <a:gd name="connsiteX520" fmla="*/ 114968 w 472733"/>
                    <a:gd name="connsiteY520" fmla="*/ 197248 h 563806"/>
                    <a:gd name="connsiteX521" fmla="*/ 115726 w 472733"/>
                    <a:gd name="connsiteY521" fmla="*/ 195863 h 563806"/>
                    <a:gd name="connsiteX522" fmla="*/ 118082 w 472733"/>
                    <a:gd name="connsiteY522" fmla="*/ 193287 h 563806"/>
                    <a:gd name="connsiteX523" fmla="*/ 121382 w 472733"/>
                    <a:gd name="connsiteY523" fmla="*/ 191030 h 563806"/>
                    <a:gd name="connsiteX524" fmla="*/ 125628 w 472733"/>
                    <a:gd name="connsiteY524" fmla="*/ 189082 h 563806"/>
                    <a:gd name="connsiteX525" fmla="*/ 132164 w 472733"/>
                    <a:gd name="connsiteY525" fmla="*/ 182358 h 563806"/>
                    <a:gd name="connsiteX526" fmla="*/ 137388 w 472733"/>
                    <a:gd name="connsiteY526" fmla="*/ 175586 h 563806"/>
                    <a:gd name="connsiteX527" fmla="*/ 136663 w 472733"/>
                    <a:gd name="connsiteY527" fmla="*/ 167461 h 563806"/>
                    <a:gd name="connsiteX528" fmla="*/ 137885 w 472733"/>
                    <a:gd name="connsiteY528" fmla="*/ 160729 h 563806"/>
                    <a:gd name="connsiteX529" fmla="*/ 140730 w 472733"/>
                    <a:gd name="connsiteY529" fmla="*/ 152147 h 563806"/>
                    <a:gd name="connsiteX530" fmla="*/ 141659 w 472733"/>
                    <a:gd name="connsiteY530" fmla="*/ 143069 h 563806"/>
                    <a:gd name="connsiteX531" fmla="*/ 140672 w 472733"/>
                    <a:gd name="connsiteY531" fmla="*/ 133501 h 563806"/>
                    <a:gd name="connsiteX532" fmla="*/ 141096 w 472733"/>
                    <a:gd name="connsiteY532" fmla="*/ 125677 h 563806"/>
                    <a:gd name="connsiteX533" fmla="*/ 143802 w 472733"/>
                    <a:gd name="connsiteY533" fmla="*/ 116582 h 563806"/>
                    <a:gd name="connsiteX534" fmla="*/ 144943 w 472733"/>
                    <a:gd name="connsiteY534" fmla="*/ 113200 h 563806"/>
                    <a:gd name="connsiteX535" fmla="*/ 145318 w 472733"/>
                    <a:gd name="connsiteY535" fmla="*/ 107674 h 563806"/>
                    <a:gd name="connsiteX536" fmla="*/ 145301 w 472733"/>
                    <a:gd name="connsiteY536" fmla="*/ 98873 h 563806"/>
                    <a:gd name="connsiteX537" fmla="*/ 148765 w 472733"/>
                    <a:gd name="connsiteY537" fmla="*/ 86844 h 563806"/>
                    <a:gd name="connsiteX538" fmla="*/ 152034 w 472733"/>
                    <a:gd name="connsiteY538" fmla="*/ 79639 h 563806"/>
                    <a:gd name="connsiteX539" fmla="*/ 155685 w 472733"/>
                    <a:gd name="connsiteY539" fmla="*/ 71579 h 563806"/>
                    <a:gd name="connsiteX540" fmla="*/ 157078 w 472733"/>
                    <a:gd name="connsiteY540" fmla="*/ 66706 h 563806"/>
                    <a:gd name="connsiteX541" fmla="*/ 158944 w 472733"/>
                    <a:gd name="connsiteY541" fmla="*/ 60202 h 563806"/>
                    <a:gd name="connsiteX542" fmla="*/ 158643 w 472733"/>
                    <a:gd name="connsiteY542" fmla="*/ 54986 h 563806"/>
                    <a:gd name="connsiteX543" fmla="*/ 158301 w 472733"/>
                    <a:gd name="connsiteY543" fmla="*/ 48980 h 563806"/>
                    <a:gd name="connsiteX544" fmla="*/ 159230 w 472733"/>
                    <a:gd name="connsiteY544" fmla="*/ 40716 h 563806"/>
                    <a:gd name="connsiteX545" fmla="*/ 158895 w 472733"/>
                    <a:gd name="connsiteY545" fmla="*/ 35859 h 563806"/>
                    <a:gd name="connsiteX546" fmla="*/ 157591 w 472733"/>
                    <a:gd name="connsiteY546" fmla="*/ 31629 h 563806"/>
                    <a:gd name="connsiteX547" fmla="*/ 158260 w 472733"/>
                    <a:gd name="connsiteY547" fmla="*/ 28972 h 563806"/>
                    <a:gd name="connsiteX548" fmla="*/ 160868 w 472733"/>
                    <a:gd name="connsiteY548" fmla="*/ 27880 h 563806"/>
                    <a:gd name="connsiteX549" fmla="*/ 164136 w 472733"/>
                    <a:gd name="connsiteY549" fmla="*/ 23659 h 563806"/>
                    <a:gd name="connsiteX550" fmla="*/ 170012 w 472733"/>
                    <a:gd name="connsiteY550" fmla="*/ 12624 h 563806"/>
                    <a:gd name="connsiteX551" fmla="*/ 176336 w 472733"/>
                    <a:gd name="connsiteY551" fmla="*/ 7245 h 563806"/>
                    <a:gd name="connsiteX552" fmla="*/ 180737 w 472733"/>
                    <a:gd name="connsiteY552" fmla="*/ 5542 h 563806"/>
                    <a:gd name="connsiteX553" fmla="*/ 185325 w 472733"/>
                    <a:gd name="connsiteY553" fmla="*/ 5729 h 563806"/>
                    <a:gd name="connsiteX554" fmla="*/ 188316 w 472733"/>
                    <a:gd name="connsiteY554" fmla="*/ 6691 h 563806"/>
                    <a:gd name="connsiteX555" fmla="*/ 189710 w 472733"/>
                    <a:gd name="connsiteY555" fmla="*/ 8427 h 563806"/>
                    <a:gd name="connsiteX556" fmla="*/ 193181 w 472733"/>
                    <a:gd name="connsiteY556" fmla="*/ 11027 h 563806"/>
                    <a:gd name="connsiteX557" fmla="*/ 198723 w 472733"/>
                    <a:gd name="connsiteY557" fmla="*/ 14482 h 563806"/>
                    <a:gd name="connsiteX558" fmla="*/ 202879 w 472733"/>
                    <a:gd name="connsiteY558" fmla="*/ 18777 h 563806"/>
                    <a:gd name="connsiteX559" fmla="*/ 205178 w 472733"/>
                    <a:gd name="connsiteY559" fmla="*/ 23121 h 563806"/>
                    <a:gd name="connsiteX560" fmla="*/ 206954 w 472733"/>
                    <a:gd name="connsiteY560" fmla="*/ 25476 h 563806"/>
                    <a:gd name="connsiteX561" fmla="*/ 209179 w 472733"/>
                    <a:gd name="connsiteY561" fmla="*/ 26283 h 563806"/>
                    <a:gd name="connsiteX562" fmla="*/ 212781 w 472733"/>
                    <a:gd name="connsiteY562" fmla="*/ 25941 h 563806"/>
                    <a:gd name="connsiteX563" fmla="*/ 216823 w 472733"/>
                    <a:gd name="connsiteY563" fmla="*/ 26968 h 563806"/>
                    <a:gd name="connsiteX564" fmla="*/ 221037 w 472733"/>
                    <a:gd name="connsiteY564" fmla="*/ 29388 h 563806"/>
                    <a:gd name="connsiteX565" fmla="*/ 223621 w 472733"/>
                    <a:gd name="connsiteY565" fmla="*/ 30293 h 563806"/>
                    <a:gd name="connsiteX566" fmla="*/ 224574 w 472733"/>
                    <a:gd name="connsiteY566" fmla="*/ 29665 h 563806"/>
                    <a:gd name="connsiteX567" fmla="*/ 226603 w 472733"/>
                    <a:gd name="connsiteY567" fmla="*/ 30016 h 563806"/>
                    <a:gd name="connsiteX568" fmla="*/ 231257 w 472733"/>
                    <a:gd name="connsiteY568" fmla="*/ 32012 h 563806"/>
                    <a:gd name="connsiteX569" fmla="*/ 234957 w 472733"/>
                    <a:gd name="connsiteY569" fmla="*/ 30912 h 563806"/>
                    <a:gd name="connsiteX570" fmla="*/ 240450 w 472733"/>
                    <a:gd name="connsiteY570" fmla="*/ 31735 h 563806"/>
                    <a:gd name="connsiteX571" fmla="*/ 253196 w 472733"/>
                    <a:gd name="connsiteY571" fmla="*/ 35305 h 563806"/>
                    <a:gd name="connsiteX572" fmla="*/ 253872 w 472733"/>
                    <a:gd name="connsiteY572" fmla="*/ 34702 h 563806"/>
                    <a:gd name="connsiteX573" fmla="*/ 254174 w 472733"/>
                    <a:gd name="connsiteY573" fmla="*/ 34563 h 563806"/>
                    <a:gd name="connsiteX574" fmla="*/ 255266 w 472733"/>
                    <a:gd name="connsiteY574" fmla="*/ 33129 h 563806"/>
                    <a:gd name="connsiteX575" fmla="*/ 258029 w 472733"/>
                    <a:gd name="connsiteY575" fmla="*/ 25989 h 563806"/>
                    <a:gd name="connsiteX576" fmla="*/ 260376 w 472733"/>
                    <a:gd name="connsiteY576" fmla="*/ 21613 h 563806"/>
                    <a:gd name="connsiteX577" fmla="*/ 261476 w 472733"/>
                    <a:gd name="connsiteY577" fmla="*/ 19959 h 563806"/>
                    <a:gd name="connsiteX578" fmla="*/ 264165 w 472733"/>
                    <a:gd name="connsiteY578" fmla="*/ 17644 h 563806"/>
                    <a:gd name="connsiteX579" fmla="*/ 267344 w 472733"/>
                    <a:gd name="connsiteY579" fmla="*/ 17049 h 563806"/>
                    <a:gd name="connsiteX580" fmla="*/ 270400 w 472733"/>
                    <a:gd name="connsiteY580" fmla="*/ 17253 h 563806"/>
                    <a:gd name="connsiteX581" fmla="*/ 272951 w 472733"/>
                    <a:gd name="connsiteY581" fmla="*/ 18272 h 563806"/>
                    <a:gd name="connsiteX582" fmla="*/ 275282 w 472733"/>
                    <a:gd name="connsiteY582" fmla="*/ 19454 h 563806"/>
                    <a:gd name="connsiteX583" fmla="*/ 277873 w 472733"/>
                    <a:gd name="connsiteY583" fmla="*/ 19470 h 563806"/>
                    <a:gd name="connsiteX584" fmla="*/ 280514 w 472733"/>
                    <a:gd name="connsiteY584" fmla="*/ 18329 h 563806"/>
                    <a:gd name="connsiteX585" fmla="*/ 284442 w 472733"/>
                    <a:gd name="connsiteY585" fmla="*/ 16243 h 563806"/>
                    <a:gd name="connsiteX586" fmla="*/ 288566 w 472733"/>
                    <a:gd name="connsiteY586" fmla="*/ 14873 h 563806"/>
                    <a:gd name="connsiteX587" fmla="*/ 292119 w 472733"/>
                    <a:gd name="connsiteY587" fmla="*/ 13382 h 563806"/>
                    <a:gd name="connsiteX588" fmla="*/ 297971 w 472733"/>
                    <a:gd name="connsiteY588" fmla="*/ 10749 h 563806"/>
                    <a:gd name="connsiteX589" fmla="*/ 300252 w 472733"/>
                    <a:gd name="connsiteY589" fmla="*/ 9544 h 563806"/>
                    <a:gd name="connsiteX590" fmla="*/ 303178 w 472733"/>
                    <a:gd name="connsiteY590" fmla="*/ 9071 h 563806"/>
                    <a:gd name="connsiteX591" fmla="*/ 311311 w 472733"/>
                    <a:gd name="connsiteY591" fmla="*/ 11467 h 563806"/>
                    <a:gd name="connsiteX592" fmla="*/ 316593 w 472733"/>
                    <a:gd name="connsiteY592" fmla="*/ 9878 h 563806"/>
                    <a:gd name="connsiteX593" fmla="*/ 318736 w 472733"/>
                    <a:gd name="connsiteY593" fmla="*/ 10342 h 563806"/>
                    <a:gd name="connsiteX594" fmla="*/ 323316 w 472733"/>
                    <a:gd name="connsiteY594" fmla="*/ 8631 h 563806"/>
                    <a:gd name="connsiteX595" fmla="*/ 324156 w 472733"/>
                    <a:gd name="connsiteY595" fmla="*/ 7481 h 563806"/>
                    <a:gd name="connsiteX596" fmla="*/ 327049 w 472733"/>
                    <a:gd name="connsiteY596" fmla="*/ 1687 h 563806"/>
                    <a:gd name="connsiteX597" fmla="*/ 330146 w 472733"/>
                    <a:gd name="connsiteY597" fmla="*/ 0 h 563806"/>
                    <a:gd name="connsiteX598" fmla="*/ 334840 w 472733"/>
                    <a:gd name="connsiteY598" fmla="*/ 856 h 563806"/>
                    <a:gd name="connsiteX599" fmla="*/ 337464 w 472733"/>
                    <a:gd name="connsiteY599" fmla="*/ 1752 h 563806"/>
                    <a:gd name="connsiteX600" fmla="*/ 346233 w 472733"/>
                    <a:gd name="connsiteY600" fmla="*/ 4230 h 563806"/>
                    <a:gd name="connsiteX601" fmla="*/ 357618 w 472733"/>
                    <a:gd name="connsiteY601" fmla="*/ 6805 h 563806"/>
                    <a:gd name="connsiteX602" fmla="*/ 360968 w 472733"/>
                    <a:gd name="connsiteY602" fmla="*/ 7204 h 563806"/>
                    <a:gd name="connsiteX603" fmla="*/ 362329 w 472733"/>
                    <a:gd name="connsiteY603" fmla="*/ 7490 h 563806"/>
                    <a:gd name="connsiteX604" fmla="*/ 363511 w 472733"/>
                    <a:gd name="connsiteY604" fmla="*/ 7098 h 563806"/>
                    <a:gd name="connsiteX605" fmla="*/ 367243 w 472733"/>
                    <a:gd name="connsiteY605" fmla="*/ 3839 h 563806"/>
                    <a:gd name="connsiteX606" fmla="*/ 368515 w 472733"/>
                    <a:gd name="connsiteY606" fmla="*/ 3366 h 563806"/>
                    <a:gd name="connsiteX607" fmla="*/ 369582 w 472733"/>
                    <a:gd name="connsiteY607" fmla="*/ 3431 h 563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Lst>
                  <a:rect l="l" t="t" r="r" b="b"/>
                  <a:pathLst>
                    <a:path w="472733" h="563806">
                      <a:moveTo>
                        <a:pt x="376738" y="6088"/>
                      </a:moveTo>
                      <a:lnTo>
                        <a:pt x="377634" y="8191"/>
                      </a:lnTo>
                      <a:lnTo>
                        <a:pt x="378922" y="10334"/>
                      </a:lnTo>
                      <a:lnTo>
                        <a:pt x="383209" y="13985"/>
                      </a:lnTo>
                      <a:lnTo>
                        <a:pt x="384570" y="16014"/>
                      </a:lnTo>
                      <a:lnTo>
                        <a:pt x="385613" y="18272"/>
                      </a:lnTo>
                      <a:lnTo>
                        <a:pt x="386281" y="20016"/>
                      </a:lnTo>
                      <a:lnTo>
                        <a:pt x="387609" y="21426"/>
                      </a:lnTo>
                      <a:lnTo>
                        <a:pt x="389468" y="22322"/>
                      </a:lnTo>
                      <a:lnTo>
                        <a:pt x="391057" y="23398"/>
                      </a:lnTo>
                      <a:lnTo>
                        <a:pt x="392027" y="24979"/>
                      </a:lnTo>
                      <a:lnTo>
                        <a:pt x="393485" y="26617"/>
                      </a:lnTo>
                      <a:lnTo>
                        <a:pt x="396297" y="28850"/>
                      </a:lnTo>
                      <a:lnTo>
                        <a:pt x="397675" y="28907"/>
                      </a:lnTo>
                      <a:lnTo>
                        <a:pt x="399255" y="29217"/>
                      </a:lnTo>
                      <a:lnTo>
                        <a:pt x="400649" y="29795"/>
                      </a:lnTo>
                      <a:lnTo>
                        <a:pt x="402140" y="29633"/>
                      </a:lnTo>
                      <a:lnTo>
                        <a:pt x="404553" y="28166"/>
                      </a:lnTo>
                      <a:lnTo>
                        <a:pt x="407397" y="25729"/>
                      </a:lnTo>
                      <a:lnTo>
                        <a:pt x="409565" y="24213"/>
                      </a:lnTo>
                      <a:lnTo>
                        <a:pt x="414830" y="24751"/>
                      </a:lnTo>
                      <a:lnTo>
                        <a:pt x="417763" y="25981"/>
                      </a:lnTo>
                      <a:lnTo>
                        <a:pt x="420094" y="27709"/>
                      </a:lnTo>
                      <a:lnTo>
                        <a:pt x="421920" y="27603"/>
                      </a:lnTo>
                      <a:lnTo>
                        <a:pt x="425881" y="24408"/>
                      </a:lnTo>
                      <a:lnTo>
                        <a:pt x="427983" y="21010"/>
                      </a:lnTo>
                      <a:lnTo>
                        <a:pt x="430029" y="20277"/>
                      </a:lnTo>
                      <a:lnTo>
                        <a:pt x="433126" y="21760"/>
                      </a:lnTo>
                      <a:lnTo>
                        <a:pt x="435685" y="24930"/>
                      </a:lnTo>
                      <a:lnTo>
                        <a:pt x="437918" y="29543"/>
                      </a:lnTo>
                      <a:lnTo>
                        <a:pt x="439499" y="31303"/>
                      </a:lnTo>
                      <a:lnTo>
                        <a:pt x="441667" y="34025"/>
                      </a:lnTo>
                      <a:lnTo>
                        <a:pt x="445978" y="39893"/>
                      </a:lnTo>
                      <a:lnTo>
                        <a:pt x="451569" y="42827"/>
                      </a:lnTo>
                      <a:lnTo>
                        <a:pt x="453745" y="44278"/>
                      </a:lnTo>
                      <a:lnTo>
                        <a:pt x="454454" y="45728"/>
                      </a:lnTo>
                      <a:lnTo>
                        <a:pt x="454869" y="47660"/>
                      </a:lnTo>
                      <a:lnTo>
                        <a:pt x="455008" y="49754"/>
                      </a:lnTo>
                      <a:lnTo>
                        <a:pt x="455692" y="50618"/>
                      </a:lnTo>
                      <a:lnTo>
                        <a:pt x="457200" y="50317"/>
                      </a:lnTo>
                      <a:lnTo>
                        <a:pt x="458496" y="50023"/>
                      </a:lnTo>
                      <a:lnTo>
                        <a:pt x="459922" y="50618"/>
                      </a:lnTo>
                      <a:lnTo>
                        <a:pt x="460900" y="52142"/>
                      </a:lnTo>
                      <a:lnTo>
                        <a:pt x="461406" y="53332"/>
                      </a:lnTo>
                      <a:lnTo>
                        <a:pt x="461943" y="54619"/>
                      </a:lnTo>
                      <a:lnTo>
                        <a:pt x="463345" y="55418"/>
                      </a:lnTo>
                      <a:lnTo>
                        <a:pt x="463622" y="57065"/>
                      </a:lnTo>
                      <a:lnTo>
                        <a:pt x="462652" y="59069"/>
                      </a:lnTo>
                      <a:lnTo>
                        <a:pt x="461674" y="60846"/>
                      </a:lnTo>
                      <a:lnTo>
                        <a:pt x="460468" y="64424"/>
                      </a:lnTo>
                      <a:lnTo>
                        <a:pt x="459832" y="68067"/>
                      </a:lnTo>
                      <a:lnTo>
                        <a:pt x="460647" y="69273"/>
                      </a:lnTo>
                      <a:lnTo>
                        <a:pt x="461519" y="70291"/>
                      </a:lnTo>
                      <a:lnTo>
                        <a:pt x="461968" y="71302"/>
                      </a:lnTo>
                      <a:lnTo>
                        <a:pt x="462237" y="72500"/>
                      </a:lnTo>
                      <a:lnTo>
                        <a:pt x="462139" y="73902"/>
                      </a:lnTo>
                      <a:lnTo>
                        <a:pt x="460224" y="78963"/>
                      </a:lnTo>
                      <a:lnTo>
                        <a:pt x="459237" y="83388"/>
                      </a:lnTo>
                      <a:lnTo>
                        <a:pt x="459205" y="85629"/>
                      </a:lnTo>
                      <a:lnTo>
                        <a:pt x="461731" y="87276"/>
                      </a:lnTo>
                      <a:lnTo>
                        <a:pt x="464991" y="87194"/>
                      </a:lnTo>
                      <a:lnTo>
                        <a:pt x="466026" y="88205"/>
                      </a:lnTo>
                      <a:lnTo>
                        <a:pt x="467069" y="89818"/>
                      </a:lnTo>
                      <a:lnTo>
                        <a:pt x="467974" y="90641"/>
                      </a:lnTo>
                      <a:lnTo>
                        <a:pt x="469359" y="90625"/>
                      </a:lnTo>
                      <a:lnTo>
                        <a:pt x="470321" y="91179"/>
                      </a:lnTo>
                      <a:lnTo>
                        <a:pt x="470688" y="92320"/>
                      </a:lnTo>
                      <a:lnTo>
                        <a:pt x="471805" y="93543"/>
                      </a:lnTo>
                      <a:lnTo>
                        <a:pt x="472733" y="94887"/>
                      </a:lnTo>
                      <a:lnTo>
                        <a:pt x="472294" y="96623"/>
                      </a:lnTo>
                      <a:lnTo>
                        <a:pt x="472204" y="97935"/>
                      </a:lnTo>
                      <a:lnTo>
                        <a:pt x="469881" y="101603"/>
                      </a:lnTo>
                      <a:lnTo>
                        <a:pt x="464518" y="108766"/>
                      </a:lnTo>
                      <a:lnTo>
                        <a:pt x="453011" y="122050"/>
                      </a:lnTo>
                      <a:lnTo>
                        <a:pt x="453003" y="122059"/>
                      </a:lnTo>
                      <a:lnTo>
                        <a:pt x="449099" y="123664"/>
                      </a:lnTo>
                      <a:lnTo>
                        <a:pt x="447094" y="126134"/>
                      </a:lnTo>
                      <a:lnTo>
                        <a:pt x="445676" y="130013"/>
                      </a:lnTo>
                      <a:lnTo>
                        <a:pt x="442311" y="133297"/>
                      </a:lnTo>
                      <a:lnTo>
                        <a:pt x="439727" y="134626"/>
                      </a:lnTo>
                      <a:lnTo>
                        <a:pt x="439450" y="135416"/>
                      </a:lnTo>
                      <a:lnTo>
                        <a:pt x="439246" y="138977"/>
                      </a:lnTo>
                      <a:lnTo>
                        <a:pt x="439507" y="144210"/>
                      </a:lnTo>
                      <a:lnTo>
                        <a:pt x="438301" y="146614"/>
                      </a:lnTo>
                      <a:lnTo>
                        <a:pt x="436540" y="151259"/>
                      </a:lnTo>
                      <a:lnTo>
                        <a:pt x="435636" y="154177"/>
                      </a:lnTo>
                      <a:lnTo>
                        <a:pt x="434935" y="154747"/>
                      </a:lnTo>
                      <a:lnTo>
                        <a:pt x="434136" y="156206"/>
                      </a:lnTo>
                      <a:lnTo>
                        <a:pt x="433647" y="160957"/>
                      </a:lnTo>
                      <a:lnTo>
                        <a:pt x="433313" y="162555"/>
                      </a:lnTo>
                      <a:lnTo>
                        <a:pt x="432034" y="172375"/>
                      </a:lnTo>
                      <a:lnTo>
                        <a:pt x="432400" y="175187"/>
                      </a:lnTo>
                      <a:lnTo>
                        <a:pt x="431423" y="179848"/>
                      </a:lnTo>
                      <a:lnTo>
                        <a:pt x="431374" y="182595"/>
                      </a:lnTo>
                      <a:lnTo>
                        <a:pt x="430966" y="185716"/>
                      </a:lnTo>
                      <a:lnTo>
                        <a:pt x="430273" y="188422"/>
                      </a:lnTo>
                      <a:lnTo>
                        <a:pt x="430322" y="192725"/>
                      </a:lnTo>
                      <a:lnTo>
                        <a:pt x="430713" y="199791"/>
                      </a:lnTo>
                      <a:lnTo>
                        <a:pt x="430648" y="200712"/>
                      </a:lnTo>
                      <a:lnTo>
                        <a:pt x="429679" y="201364"/>
                      </a:lnTo>
                      <a:lnTo>
                        <a:pt x="427934" y="203116"/>
                      </a:lnTo>
                      <a:lnTo>
                        <a:pt x="426305" y="204281"/>
                      </a:lnTo>
                      <a:lnTo>
                        <a:pt x="425065" y="204591"/>
                      </a:lnTo>
                      <a:lnTo>
                        <a:pt x="422987" y="207704"/>
                      </a:lnTo>
                      <a:lnTo>
                        <a:pt x="421211" y="210662"/>
                      </a:lnTo>
                      <a:lnTo>
                        <a:pt x="419890" y="213523"/>
                      </a:lnTo>
                      <a:lnTo>
                        <a:pt x="419548" y="214851"/>
                      </a:lnTo>
                      <a:lnTo>
                        <a:pt x="419817" y="218568"/>
                      </a:lnTo>
                      <a:lnTo>
                        <a:pt x="420013" y="222993"/>
                      </a:lnTo>
                      <a:lnTo>
                        <a:pt x="419597" y="224892"/>
                      </a:lnTo>
                      <a:lnTo>
                        <a:pt x="418970" y="226017"/>
                      </a:lnTo>
                      <a:lnTo>
                        <a:pt x="416077" y="228404"/>
                      </a:lnTo>
                      <a:lnTo>
                        <a:pt x="414169" y="230132"/>
                      </a:lnTo>
                      <a:lnTo>
                        <a:pt x="413273" y="231029"/>
                      </a:lnTo>
                      <a:lnTo>
                        <a:pt x="412809" y="232414"/>
                      </a:lnTo>
                      <a:lnTo>
                        <a:pt x="413640" y="235674"/>
                      </a:lnTo>
                      <a:lnTo>
                        <a:pt x="413705" y="238062"/>
                      </a:lnTo>
                      <a:lnTo>
                        <a:pt x="414398" y="239472"/>
                      </a:lnTo>
                      <a:lnTo>
                        <a:pt x="416696" y="240613"/>
                      </a:lnTo>
                      <a:lnTo>
                        <a:pt x="416688" y="241754"/>
                      </a:lnTo>
                      <a:lnTo>
                        <a:pt x="416745" y="242984"/>
                      </a:lnTo>
                      <a:lnTo>
                        <a:pt x="417943" y="244533"/>
                      </a:lnTo>
                      <a:lnTo>
                        <a:pt x="420135" y="247654"/>
                      </a:lnTo>
                      <a:lnTo>
                        <a:pt x="421903" y="250604"/>
                      </a:lnTo>
                      <a:lnTo>
                        <a:pt x="421944" y="253147"/>
                      </a:lnTo>
                      <a:lnTo>
                        <a:pt x="421602" y="257426"/>
                      </a:lnTo>
                      <a:lnTo>
                        <a:pt x="421545" y="259879"/>
                      </a:lnTo>
                      <a:lnTo>
                        <a:pt x="421724" y="263253"/>
                      </a:lnTo>
                      <a:lnTo>
                        <a:pt x="421724" y="269520"/>
                      </a:lnTo>
                      <a:lnTo>
                        <a:pt x="421594" y="273978"/>
                      </a:lnTo>
                      <a:lnTo>
                        <a:pt x="421871" y="276284"/>
                      </a:lnTo>
                      <a:lnTo>
                        <a:pt x="424552" y="281818"/>
                      </a:lnTo>
                      <a:lnTo>
                        <a:pt x="425742" y="287946"/>
                      </a:lnTo>
                      <a:lnTo>
                        <a:pt x="426337" y="292429"/>
                      </a:lnTo>
                      <a:lnTo>
                        <a:pt x="426370" y="293855"/>
                      </a:lnTo>
                      <a:lnTo>
                        <a:pt x="425457" y="299005"/>
                      </a:lnTo>
                      <a:lnTo>
                        <a:pt x="424414" y="304018"/>
                      </a:lnTo>
                      <a:lnTo>
                        <a:pt x="424357" y="305908"/>
                      </a:lnTo>
                      <a:lnTo>
                        <a:pt x="424846" y="308443"/>
                      </a:lnTo>
                      <a:lnTo>
                        <a:pt x="426753" y="314229"/>
                      </a:lnTo>
                      <a:lnTo>
                        <a:pt x="428154" y="318443"/>
                      </a:lnTo>
                      <a:lnTo>
                        <a:pt x="428831" y="320985"/>
                      </a:lnTo>
                      <a:lnTo>
                        <a:pt x="429792" y="323936"/>
                      </a:lnTo>
                      <a:lnTo>
                        <a:pt x="431072" y="328475"/>
                      </a:lnTo>
                      <a:lnTo>
                        <a:pt x="431390" y="330626"/>
                      </a:lnTo>
                      <a:lnTo>
                        <a:pt x="431129" y="332232"/>
                      </a:lnTo>
                      <a:lnTo>
                        <a:pt x="428521" y="337921"/>
                      </a:lnTo>
                      <a:lnTo>
                        <a:pt x="428244" y="339705"/>
                      </a:lnTo>
                      <a:lnTo>
                        <a:pt x="428896" y="344122"/>
                      </a:lnTo>
                      <a:lnTo>
                        <a:pt x="429752" y="348377"/>
                      </a:lnTo>
                      <a:lnTo>
                        <a:pt x="430982" y="350797"/>
                      </a:lnTo>
                      <a:lnTo>
                        <a:pt x="433940" y="357480"/>
                      </a:lnTo>
                      <a:lnTo>
                        <a:pt x="436133" y="359738"/>
                      </a:lnTo>
                      <a:lnTo>
                        <a:pt x="440192" y="363079"/>
                      </a:lnTo>
                      <a:lnTo>
                        <a:pt x="443777" y="366445"/>
                      </a:lnTo>
                      <a:lnTo>
                        <a:pt x="445155" y="368189"/>
                      </a:lnTo>
                      <a:lnTo>
                        <a:pt x="446410" y="370120"/>
                      </a:lnTo>
                      <a:lnTo>
                        <a:pt x="448912" y="375108"/>
                      </a:lnTo>
                      <a:lnTo>
                        <a:pt x="450427" y="379166"/>
                      </a:lnTo>
                      <a:lnTo>
                        <a:pt x="451226" y="382834"/>
                      </a:lnTo>
                      <a:lnTo>
                        <a:pt x="453190" y="387854"/>
                      </a:lnTo>
                      <a:lnTo>
                        <a:pt x="455008" y="392499"/>
                      </a:lnTo>
                      <a:lnTo>
                        <a:pt x="457355" y="398172"/>
                      </a:lnTo>
                      <a:lnTo>
                        <a:pt x="459017" y="402198"/>
                      </a:lnTo>
                      <a:lnTo>
                        <a:pt x="459775" y="404887"/>
                      </a:lnTo>
                      <a:lnTo>
                        <a:pt x="455472" y="405677"/>
                      </a:lnTo>
                      <a:lnTo>
                        <a:pt x="449262" y="406827"/>
                      </a:lnTo>
                      <a:lnTo>
                        <a:pt x="442416" y="408098"/>
                      </a:lnTo>
                      <a:lnTo>
                        <a:pt x="435343" y="409402"/>
                      </a:lnTo>
                      <a:lnTo>
                        <a:pt x="428334" y="410698"/>
                      </a:lnTo>
                      <a:lnTo>
                        <a:pt x="421691" y="411928"/>
                      </a:lnTo>
                      <a:lnTo>
                        <a:pt x="415653" y="413053"/>
                      </a:lnTo>
                      <a:lnTo>
                        <a:pt x="413819" y="413672"/>
                      </a:lnTo>
                      <a:lnTo>
                        <a:pt x="414707" y="416826"/>
                      </a:lnTo>
                      <a:lnTo>
                        <a:pt x="414300" y="420151"/>
                      </a:lnTo>
                      <a:lnTo>
                        <a:pt x="413102" y="422710"/>
                      </a:lnTo>
                      <a:lnTo>
                        <a:pt x="411219" y="425881"/>
                      </a:lnTo>
                      <a:lnTo>
                        <a:pt x="410355" y="427127"/>
                      </a:lnTo>
                      <a:lnTo>
                        <a:pt x="408432" y="429605"/>
                      </a:lnTo>
                      <a:lnTo>
                        <a:pt x="406835" y="431341"/>
                      </a:lnTo>
                      <a:lnTo>
                        <a:pt x="403551" y="434267"/>
                      </a:lnTo>
                      <a:lnTo>
                        <a:pt x="401472" y="435929"/>
                      </a:lnTo>
                      <a:lnTo>
                        <a:pt x="401456" y="437445"/>
                      </a:lnTo>
                      <a:lnTo>
                        <a:pt x="404936" y="444535"/>
                      </a:lnTo>
                      <a:lnTo>
                        <a:pt x="406517" y="449621"/>
                      </a:lnTo>
                      <a:lnTo>
                        <a:pt x="407169" y="454217"/>
                      </a:lnTo>
                      <a:lnTo>
                        <a:pt x="407136" y="456858"/>
                      </a:lnTo>
                      <a:lnTo>
                        <a:pt x="407006" y="462294"/>
                      </a:lnTo>
                      <a:lnTo>
                        <a:pt x="406843" y="468740"/>
                      </a:lnTo>
                      <a:lnTo>
                        <a:pt x="406598" y="471307"/>
                      </a:lnTo>
                      <a:lnTo>
                        <a:pt x="407535" y="475912"/>
                      </a:lnTo>
                      <a:lnTo>
                        <a:pt x="407381" y="479514"/>
                      </a:lnTo>
                      <a:lnTo>
                        <a:pt x="405042" y="483532"/>
                      </a:lnTo>
                      <a:lnTo>
                        <a:pt x="404390" y="487484"/>
                      </a:lnTo>
                      <a:lnTo>
                        <a:pt x="403200" y="492814"/>
                      </a:lnTo>
                      <a:lnTo>
                        <a:pt x="401562" y="500206"/>
                      </a:lnTo>
                      <a:lnTo>
                        <a:pt x="400396" y="504094"/>
                      </a:lnTo>
                      <a:lnTo>
                        <a:pt x="401049" y="506636"/>
                      </a:lnTo>
                      <a:lnTo>
                        <a:pt x="401627" y="508340"/>
                      </a:lnTo>
                      <a:lnTo>
                        <a:pt x="402238" y="510614"/>
                      </a:lnTo>
                      <a:lnTo>
                        <a:pt x="403501" y="514061"/>
                      </a:lnTo>
                      <a:lnTo>
                        <a:pt x="404968" y="516090"/>
                      </a:lnTo>
                      <a:lnTo>
                        <a:pt x="405783" y="516962"/>
                      </a:lnTo>
                      <a:lnTo>
                        <a:pt x="410616" y="521298"/>
                      </a:lnTo>
                      <a:lnTo>
                        <a:pt x="412621" y="523392"/>
                      </a:lnTo>
                      <a:lnTo>
                        <a:pt x="415677" y="527549"/>
                      </a:lnTo>
                      <a:lnTo>
                        <a:pt x="417934" y="530303"/>
                      </a:lnTo>
                      <a:lnTo>
                        <a:pt x="421089" y="530947"/>
                      </a:lnTo>
                      <a:lnTo>
                        <a:pt x="424862" y="531998"/>
                      </a:lnTo>
                      <a:lnTo>
                        <a:pt x="426940" y="532797"/>
                      </a:lnTo>
                      <a:lnTo>
                        <a:pt x="428374" y="532414"/>
                      </a:lnTo>
                      <a:lnTo>
                        <a:pt x="428863" y="531436"/>
                      </a:lnTo>
                      <a:lnTo>
                        <a:pt x="428790" y="529366"/>
                      </a:lnTo>
                      <a:lnTo>
                        <a:pt x="428537" y="527826"/>
                      </a:lnTo>
                      <a:lnTo>
                        <a:pt x="428937" y="526652"/>
                      </a:lnTo>
                      <a:lnTo>
                        <a:pt x="430224" y="525870"/>
                      </a:lnTo>
                      <a:lnTo>
                        <a:pt x="433501" y="525748"/>
                      </a:lnTo>
                      <a:lnTo>
                        <a:pt x="434935" y="524704"/>
                      </a:lnTo>
                      <a:lnTo>
                        <a:pt x="436051" y="524444"/>
                      </a:lnTo>
                      <a:lnTo>
                        <a:pt x="436059" y="529007"/>
                      </a:lnTo>
                      <a:lnTo>
                        <a:pt x="436059" y="533392"/>
                      </a:lnTo>
                      <a:lnTo>
                        <a:pt x="436068" y="538697"/>
                      </a:lnTo>
                      <a:lnTo>
                        <a:pt x="436068" y="544793"/>
                      </a:lnTo>
                      <a:lnTo>
                        <a:pt x="436076" y="549806"/>
                      </a:lnTo>
                      <a:lnTo>
                        <a:pt x="436084" y="555119"/>
                      </a:lnTo>
                      <a:lnTo>
                        <a:pt x="436092" y="561256"/>
                      </a:lnTo>
                      <a:lnTo>
                        <a:pt x="436059" y="561957"/>
                      </a:lnTo>
                      <a:lnTo>
                        <a:pt x="435570" y="563326"/>
                      </a:lnTo>
                      <a:lnTo>
                        <a:pt x="434267" y="563807"/>
                      </a:lnTo>
                      <a:lnTo>
                        <a:pt x="432506" y="562609"/>
                      </a:lnTo>
                      <a:lnTo>
                        <a:pt x="432392" y="561362"/>
                      </a:lnTo>
                      <a:lnTo>
                        <a:pt x="431969" y="559088"/>
                      </a:lnTo>
                      <a:lnTo>
                        <a:pt x="431145" y="557955"/>
                      </a:lnTo>
                      <a:lnTo>
                        <a:pt x="430077" y="557588"/>
                      </a:lnTo>
                      <a:lnTo>
                        <a:pt x="428277" y="558167"/>
                      </a:lnTo>
                      <a:lnTo>
                        <a:pt x="425807" y="559830"/>
                      </a:lnTo>
                      <a:lnTo>
                        <a:pt x="422629" y="561297"/>
                      </a:lnTo>
                      <a:lnTo>
                        <a:pt x="421341" y="562128"/>
                      </a:lnTo>
                      <a:lnTo>
                        <a:pt x="419108" y="562030"/>
                      </a:lnTo>
                      <a:lnTo>
                        <a:pt x="416696" y="561231"/>
                      </a:lnTo>
                      <a:lnTo>
                        <a:pt x="414911" y="559357"/>
                      </a:lnTo>
                      <a:lnTo>
                        <a:pt x="414389" y="556545"/>
                      </a:lnTo>
                      <a:lnTo>
                        <a:pt x="412833" y="553652"/>
                      </a:lnTo>
                      <a:lnTo>
                        <a:pt x="410706" y="549496"/>
                      </a:lnTo>
                      <a:lnTo>
                        <a:pt x="409638" y="547776"/>
                      </a:lnTo>
                      <a:lnTo>
                        <a:pt x="408220" y="545828"/>
                      </a:lnTo>
                      <a:lnTo>
                        <a:pt x="406802" y="545625"/>
                      </a:lnTo>
                      <a:lnTo>
                        <a:pt x="405197" y="545079"/>
                      </a:lnTo>
                      <a:lnTo>
                        <a:pt x="404219" y="542226"/>
                      </a:lnTo>
                      <a:lnTo>
                        <a:pt x="403298" y="538616"/>
                      </a:lnTo>
                      <a:lnTo>
                        <a:pt x="402735" y="537230"/>
                      </a:lnTo>
                      <a:lnTo>
                        <a:pt x="401765" y="535429"/>
                      </a:lnTo>
                      <a:lnTo>
                        <a:pt x="400404" y="534337"/>
                      </a:lnTo>
                      <a:lnTo>
                        <a:pt x="397422" y="532903"/>
                      </a:lnTo>
                      <a:lnTo>
                        <a:pt x="393241" y="530890"/>
                      </a:lnTo>
                      <a:lnTo>
                        <a:pt x="388001" y="528372"/>
                      </a:lnTo>
                      <a:lnTo>
                        <a:pt x="385507" y="528233"/>
                      </a:lnTo>
                      <a:lnTo>
                        <a:pt x="382720" y="527826"/>
                      </a:lnTo>
                      <a:lnTo>
                        <a:pt x="380967" y="526611"/>
                      </a:lnTo>
                      <a:lnTo>
                        <a:pt x="379965" y="525658"/>
                      </a:lnTo>
                      <a:lnTo>
                        <a:pt x="378808" y="522153"/>
                      </a:lnTo>
                      <a:lnTo>
                        <a:pt x="377251" y="518062"/>
                      </a:lnTo>
                      <a:lnTo>
                        <a:pt x="372630" y="513197"/>
                      </a:lnTo>
                      <a:lnTo>
                        <a:pt x="371603" y="507794"/>
                      </a:lnTo>
                      <a:lnTo>
                        <a:pt x="370674" y="507011"/>
                      </a:lnTo>
                      <a:lnTo>
                        <a:pt x="369101" y="507451"/>
                      </a:lnTo>
                      <a:lnTo>
                        <a:pt x="367879" y="508120"/>
                      </a:lnTo>
                      <a:lnTo>
                        <a:pt x="367398" y="509570"/>
                      </a:lnTo>
                      <a:lnTo>
                        <a:pt x="366159" y="514436"/>
                      </a:lnTo>
                      <a:lnTo>
                        <a:pt x="365483" y="516677"/>
                      </a:lnTo>
                      <a:lnTo>
                        <a:pt x="365026" y="517304"/>
                      </a:lnTo>
                      <a:lnTo>
                        <a:pt x="364024" y="518030"/>
                      </a:lnTo>
                      <a:lnTo>
                        <a:pt x="362370" y="518690"/>
                      </a:lnTo>
                      <a:lnTo>
                        <a:pt x="360023" y="519008"/>
                      </a:lnTo>
                      <a:lnTo>
                        <a:pt x="356722" y="518894"/>
                      </a:lnTo>
                      <a:lnTo>
                        <a:pt x="352582" y="518160"/>
                      </a:lnTo>
                      <a:lnTo>
                        <a:pt x="350357" y="517614"/>
                      </a:lnTo>
                      <a:lnTo>
                        <a:pt x="344326" y="516807"/>
                      </a:lnTo>
                      <a:lnTo>
                        <a:pt x="342574" y="516416"/>
                      </a:lnTo>
                      <a:lnTo>
                        <a:pt x="340105" y="515365"/>
                      </a:lnTo>
                      <a:lnTo>
                        <a:pt x="338328" y="514297"/>
                      </a:lnTo>
                      <a:lnTo>
                        <a:pt x="332477" y="511999"/>
                      </a:lnTo>
                      <a:lnTo>
                        <a:pt x="329819" y="512276"/>
                      </a:lnTo>
                      <a:lnTo>
                        <a:pt x="328532" y="510654"/>
                      </a:lnTo>
                      <a:lnTo>
                        <a:pt x="327383" y="509864"/>
                      </a:lnTo>
                      <a:lnTo>
                        <a:pt x="325794" y="508340"/>
                      </a:lnTo>
                      <a:lnTo>
                        <a:pt x="325085" y="506237"/>
                      </a:lnTo>
                      <a:lnTo>
                        <a:pt x="324139" y="501746"/>
                      </a:lnTo>
                      <a:lnTo>
                        <a:pt x="324359" y="499342"/>
                      </a:lnTo>
                      <a:lnTo>
                        <a:pt x="325044" y="496653"/>
                      </a:lnTo>
                      <a:lnTo>
                        <a:pt x="324294" y="495911"/>
                      </a:lnTo>
                      <a:lnTo>
                        <a:pt x="323227" y="495911"/>
                      </a:lnTo>
                      <a:lnTo>
                        <a:pt x="321711" y="496840"/>
                      </a:lnTo>
                      <a:lnTo>
                        <a:pt x="319013" y="497362"/>
                      </a:lnTo>
                      <a:lnTo>
                        <a:pt x="314075" y="498544"/>
                      </a:lnTo>
                      <a:lnTo>
                        <a:pt x="312330" y="499212"/>
                      </a:lnTo>
                      <a:lnTo>
                        <a:pt x="310391" y="499709"/>
                      </a:lnTo>
                      <a:lnTo>
                        <a:pt x="308907" y="500165"/>
                      </a:lnTo>
                      <a:lnTo>
                        <a:pt x="305183" y="502749"/>
                      </a:lnTo>
                      <a:lnTo>
                        <a:pt x="303895" y="503034"/>
                      </a:lnTo>
                      <a:lnTo>
                        <a:pt x="301695" y="502105"/>
                      </a:lnTo>
                      <a:lnTo>
                        <a:pt x="300635" y="500720"/>
                      </a:lnTo>
                      <a:lnTo>
                        <a:pt x="301695" y="499155"/>
                      </a:lnTo>
                      <a:lnTo>
                        <a:pt x="302159" y="497215"/>
                      </a:lnTo>
                      <a:lnTo>
                        <a:pt x="301393" y="493426"/>
                      </a:lnTo>
                      <a:lnTo>
                        <a:pt x="300252" y="491665"/>
                      </a:lnTo>
                      <a:lnTo>
                        <a:pt x="296968" y="490410"/>
                      </a:lnTo>
                      <a:lnTo>
                        <a:pt x="295721" y="490288"/>
                      </a:lnTo>
                      <a:lnTo>
                        <a:pt x="295175" y="488161"/>
                      </a:lnTo>
                      <a:lnTo>
                        <a:pt x="294262" y="486213"/>
                      </a:lnTo>
                      <a:lnTo>
                        <a:pt x="292396" y="485846"/>
                      </a:lnTo>
                      <a:lnTo>
                        <a:pt x="291492" y="485626"/>
                      </a:lnTo>
                      <a:lnTo>
                        <a:pt x="290563" y="486213"/>
                      </a:lnTo>
                      <a:lnTo>
                        <a:pt x="290024" y="487786"/>
                      </a:lnTo>
                      <a:lnTo>
                        <a:pt x="289878" y="489000"/>
                      </a:lnTo>
                      <a:lnTo>
                        <a:pt x="288207" y="489905"/>
                      </a:lnTo>
                      <a:lnTo>
                        <a:pt x="284800" y="489726"/>
                      </a:lnTo>
                      <a:lnTo>
                        <a:pt x="281411" y="488845"/>
                      </a:lnTo>
                      <a:lnTo>
                        <a:pt x="279039" y="488577"/>
                      </a:lnTo>
                      <a:lnTo>
                        <a:pt x="277450" y="488780"/>
                      </a:lnTo>
                      <a:lnTo>
                        <a:pt x="271410" y="491771"/>
                      </a:lnTo>
                      <a:lnTo>
                        <a:pt x="269414" y="492162"/>
                      </a:lnTo>
                      <a:lnTo>
                        <a:pt x="262927" y="491918"/>
                      </a:lnTo>
                      <a:lnTo>
                        <a:pt x="259251" y="491307"/>
                      </a:lnTo>
                      <a:lnTo>
                        <a:pt x="256635" y="491176"/>
                      </a:lnTo>
                      <a:lnTo>
                        <a:pt x="254777" y="492122"/>
                      </a:lnTo>
                      <a:lnTo>
                        <a:pt x="252463" y="494314"/>
                      </a:lnTo>
                      <a:lnTo>
                        <a:pt x="250539" y="495496"/>
                      </a:lnTo>
                      <a:lnTo>
                        <a:pt x="249626" y="495365"/>
                      </a:lnTo>
                      <a:lnTo>
                        <a:pt x="249089" y="494444"/>
                      </a:lnTo>
                      <a:lnTo>
                        <a:pt x="248322" y="493189"/>
                      </a:lnTo>
                      <a:lnTo>
                        <a:pt x="248094" y="489881"/>
                      </a:lnTo>
                      <a:lnTo>
                        <a:pt x="247132" y="486246"/>
                      </a:lnTo>
                      <a:lnTo>
                        <a:pt x="247776" y="484355"/>
                      </a:lnTo>
                      <a:lnTo>
                        <a:pt x="249675" y="482978"/>
                      </a:lnTo>
                      <a:lnTo>
                        <a:pt x="250335" y="480174"/>
                      </a:lnTo>
                      <a:lnTo>
                        <a:pt x="249749" y="475945"/>
                      </a:lnTo>
                      <a:lnTo>
                        <a:pt x="249708" y="472986"/>
                      </a:lnTo>
                      <a:lnTo>
                        <a:pt x="250221" y="471283"/>
                      </a:lnTo>
                      <a:lnTo>
                        <a:pt x="249537" y="467118"/>
                      </a:lnTo>
                      <a:lnTo>
                        <a:pt x="247621" y="460533"/>
                      </a:lnTo>
                      <a:lnTo>
                        <a:pt x="244932" y="455163"/>
                      </a:lnTo>
                      <a:lnTo>
                        <a:pt x="241452" y="451031"/>
                      </a:lnTo>
                      <a:lnTo>
                        <a:pt x="239162" y="447062"/>
                      </a:lnTo>
                      <a:lnTo>
                        <a:pt x="238086" y="443280"/>
                      </a:lnTo>
                      <a:lnTo>
                        <a:pt x="238494" y="434242"/>
                      </a:lnTo>
                      <a:lnTo>
                        <a:pt x="239545" y="426256"/>
                      </a:lnTo>
                      <a:lnTo>
                        <a:pt x="240376" y="419915"/>
                      </a:lnTo>
                      <a:lnTo>
                        <a:pt x="240140" y="409320"/>
                      </a:lnTo>
                      <a:lnTo>
                        <a:pt x="237785" y="402426"/>
                      </a:lnTo>
                      <a:lnTo>
                        <a:pt x="237263" y="395018"/>
                      </a:lnTo>
                      <a:lnTo>
                        <a:pt x="238592" y="387071"/>
                      </a:lnTo>
                      <a:lnTo>
                        <a:pt x="238787" y="381644"/>
                      </a:lnTo>
                      <a:lnTo>
                        <a:pt x="237907" y="378865"/>
                      </a:lnTo>
                      <a:lnTo>
                        <a:pt x="237304" y="378441"/>
                      </a:lnTo>
                      <a:lnTo>
                        <a:pt x="236546" y="378172"/>
                      </a:lnTo>
                      <a:lnTo>
                        <a:pt x="230589" y="377903"/>
                      </a:lnTo>
                      <a:lnTo>
                        <a:pt x="222643" y="377545"/>
                      </a:lnTo>
                      <a:lnTo>
                        <a:pt x="215707" y="377447"/>
                      </a:lnTo>
                      <a:lnTo>
                        <a:pt x="208201" y="377341"/>
                      </a:lnTo>
                      <a:lnTo>
                        <a:pt x="206963" y="376347"/>
                      </a:lnTo>
                      <a:lnTo>
                        <a:pt x="206409" y="374480"/>
                      </a:lnTo>
                      <a:lnTo>
                        <a:pt x="206441" y="372647"/>
                      </a:lnTo>
                      <a:lnTo>
                        <a:pt x="207965" y="367048"/>
                      </a:lnTo>
                      <a:lnTo>
                        <a:pt x="207753" y="366575"/>
                      </a:lnTo>
                      <a:lnTo>
                        <a:pt x="205088" y="366461"/>
                      </a:lnTo>
                      <a:lnTo>
                        <a:pt x="197827" y="367365"/>
                      </a:lnTo>
                      <a:lnTo>
                        <a:pt x="193051" y="368270"/>
                      </a:lnTo>
                      <a:lnTo>
                        <a:pt x="190019" y="368572"/>
                      </a:lnTo>
                      <a:lnTo>
                        <a:pt x="184689" y="370104"/>
                      </a:lnTo>
                      <a:lnTo>
                        <a:pt x="181397" y="373331"/>
                      </a:lnTo>
                      <a:lnTo>
                        <a:pt x="180313" y="377398"/>
                      </a:lnTo>
                      <a:lnTo>
                        <a:pt x="180402" y="380739"/>
                      </a:lnTo>
                      <a:lnTo>
                        <a:pt x="180215" y="383176"/>
                      </a:lnTo>
                      <a:lnTo>
                        <a:pt x="178707" y="385743"/>
                      </a:lnTo>
                      <a:lnTo>
                        <a:pt x="177534" y="388677"/>
                      </a:lnTo>
                      <a:lnTo>
                        <a:pt x="177485" y="390234"/>
                      </a:lnTo>
                      <a:lnTo>
                        <a:pt x="176768" y="398058"/>
                      </a:lnTo>
                      <a:lnTo>
                        <a:pt x="171862" y="399101"/>
                      </a:lnTo>
                      <a:lnTo>
                        <a:pt x="166939" y="399101"/>
                      </a:lnTo>
                      <a:lnTo>
                        <a:pt x="165790" y="399011"/>
                      </a:lnTo>
                      <a:lnTo>
                        <a:pt x="159719" y="397128"/>
                      </a:lnTo>
                      <a:lnTo>
                        <a:pt x="157469" y="397128"/>
                      </a:lnTo>
                      <a:lnTo>
                        <a:pt x="155529" y="398114"/>
                      </a:lnTo>
                      <a:lnTo>
                        <a:pt x="151822" y="399076"/>
                      </a:lnTo>
                      <a:lnTo>
                        <a:pt x="148260" y="399777"/>
                      </a:lnTo>
                      <a:lnTo>
                        <a:pt x="144682" y="402092"/>
                      </a:lnTo>
                      <a:lnTo>
                        <a:pt x="143729" y="402287"/>
                      </a:lnTo>
                      <a:lnTo>
                        <a:pt x="141357" y="401097"/>
                      </a:lnTo>
                      <a:lnTo>
                        <a:pt x="138024" y="401203"/>
                      </a:lnTo>
                      <a:lnTo>
                        <a:pt x="134658" y="401790"/>
                      </a:lnTo>
                      <a:lnTo>
                        <a:pt x="133085" y="402035"/>
                      </a:lnTo>
                      <a:lnTo>
                        <a:pt x="132009" y="401342"/>
                      </a:lnTo>
                      <a:lnTo>
                        <a:pt x="128904" y="395499"/>
                      </a:lnTo>
                      <a:lnTo>
                        <a:pt x="124789" y="387732"/>
                      </a:lnTo>
                      <a:lnTo>
                        <a:pt x="122556" y="382858"/>
                      </a:lnTo>
                      <a:lnTo>
                        <a:pt x="121724" y="381587"/>
                      </a:lnTo>
                      <a:lnTo>
                        <a:pt x="120282" y="379900"/>
                      </a:lnTo>
                      <a:lnTo>
                        <a:pt x="118326" y="376721"/>
                      </a:lnTo>
                      <a:lnTo>
                        <a:pt x="117527" y="373698"/>
                      </a:lnTo>
                      <a:lnTo>
                        <a:pt x="117861" y="370854"/>
                      </a:lnTo>
                      <a:lnTo>
                        <a:pt x="116712" y="367007"/>
                      </a:lnTo>
                      <a:lnTo>
                        <a:pt x="114072" y="362158"/>
                      </a:lnTo>
                      <a:lnTo>
                        <a:pt x="112336" y="357521"/>
                      </a:lnTo>
                      <a:lnTo>
                        <a:pt x="111505" y="353120"/>
                      </a:lnTo>
                      <a:lnTo>
                        <a:pt x="111293" y="349346"/>
                      </a:lnTo>
                      <a:lnTo>
                        <a:pt x="111709" y="346201"/>
                      </a:lnTo>
                      <a:lnTo>
                        <a:pt x="111203" y="343886"/>
                      </a:lnTo>
                      <a:lnTo>
                        <a:pt x="109761" y="342395"/>
                      </a:lnTo>
                      <a:lnTo>
                        <a:pt x="108995" y="340504"/>
                      </a:lnTo>
                      <a:lnTo>
                        <a:pt x="108416" y="339705"/>
                      </a:lnTo>
                      <a:lnTo>
                        <a:pt x="107226" y="337937"/>
                      </a:lnTo>
                      <a:lnTo>
                        <a:pt x="104610" y="335973"/>
                      </a:lnTo>
                      <a:lnTo>
                        <a:pt x="101725" y="334921"/>
                      </a:lnTo>
                      <a:lnTo>
                        <a:pt x="95401" y="334897"/>
                      </a:lnTo>
                      <a:lnTo>
                        <a:pt x="87137" y="334865"/>
                      </a:lnTo>
                      <a:lnTo>
                        <a:pt x="79647" y="335011"/>
                      </a:lnTo>
                      <a:lnTo>
                        <a:pt x="71318" y="335190"/>
                      </a:lnTo>
                      <a:lnTo>
                        <a:pt x="62883" y="335345"/>
                      </a:lnTo>
                      <a:lnTo>
                        <a:pt x="60618" y="335622"/>
                      </a:lnTo>
                      <a:lnTo>
                        <a:pt x="54196" y="335728"/>
                      </a:lnTo>
                      <a:lnTo>
                        <a:pt x="49037" y="335231"/>
                      </a:lnTo>
                      <a:lnTo>
                        <a:pt x="47130" y="334905"/>
                      </a:lnTo>
                      <a:lnTo>
                        <a:pt x="43772" y="334661"/>
                      </a:lnTo>
                      <a:lnTo>
                        <a:pt x="38467" y="334604"/>
                      </a:lnTo>
                      <a:lnTo>
                        <a:pt x="35598" y="334799"/>
                      </a:lnTo>
                      <a:lnTo>
                        <a:pt x="28712" y="334816"/>
                      </a:lnTo>
                      <a:lnTo>
                        <a:pt x="28092" y="334856"/>
                      </a:lnTo>
                      <a:lnTo>
                        <a:pt x="27000" y="335402"/>
                      </a:lnTo>
                      <a:lnTo>
                        <a:pt x="24074" y="334636"/>
                      </a:lnTo>
                      <a:lnTo>
                        <a:pt x="21198" y="334897"/>
                      </a:lnTo>
                      <a:lnTo>
                        <a:pt x="19575" y="334033"/>
                      </a:lnTo>
                      <a:lnTo>
                        <a:pt x="16047" y="334579"/>
                      </a:lnTo>
                      <a:lnTo>
                        <a:pt x="14327" y="335288"/>
                      </a:lnTo>
                      <a:lnTo>
                        <a:pt x="11589" y="337774"/>
                      </a:lnTo>
                      <a:lnTo>
                        <a:pt x="7465" y="339078"/>
                      </a:lnTo>
                      <a:lnTo>
                        <a:pt x="5933" y="338972"/>
                      </a:lnTo>
                      <a:lnTo>
                        <a:pt x="4906" y="338548"/>
                      </a:lnTo>
                      <a:lnTo>
                        <a:pt x="2510" y="335810"/>
                      </a:lnTo>
                      <a:lnTo>
                        <a:pt x="669" y="333161"/>
                      </a:lnTo>
                      <a:lnTo>
                        <a:pt x="0" y="331719"/>
                      </a:lnTo>
                      <a:lnTo>
                        <a:pt x="1027" y="331352"/>
                      </a:lnTo>
                      <a:lnTo>
                        <a:pt x="4270" y="330781"/>
                      </a:lnTo>
                      <a:lnTo>
                        <a:pt x="6724" y="330521"/>
                      </a:lnTo>
                      <a:lnTo>
                        <a:pt x="7180" y="329820"/>
                      </a:lnTo>
                      <a:lnTo>
                        <a:pt x="7571" y="321686"/>
                      </a:lnTo>
                      <a:lnTo>
                        <a:pt x="7644" y="313414"/>
                      </a:lnTo>
                      <a:lnTo>
                        <a:pt x="6789" y="312322"/>
                      </a:lnTo>
                      <a:lnTo>
                        <a:pt x="5941" y="311662"/>
                      </a:lnTo>
                      <a:lnTo>
                        <a:pt x="5900" y="311092"/>
                      </a:lnTo>
                      <a:lnTo>
                        <a:pt x="7172" y="310057"/>
                      </a:lnTo>
                      <a:lnTo>
                        <a:pt x="8924" y="308842"/>
                      </a:lnTo>
                      <a:lnTo>
                        <a:pt x="9486" y="308296"/>
                      </a:lnTo>
                      <a:lnTo>
                        <a:pt x="11442" y="306096"/>
                      </a:lnTo>
                      <a:lnTo>
                        <a:pt x="15273" y="301043"/>
                      </a:lnTo>
                      <a:lnTo>
                        <a:pt x="18207" y="299813"/>
                      </a:lnTo>
                      <a:lnTo>
                        <a:pt x="20920" y="298484"/>
                      </a:lnTo>
                      <a:lnTo>
                        <a:pt x="21304" y="297995"/>
                      </a:lnTo>
                      <a:lnTo>
                        <a:pt x="21670" y="297001"/>
                      </a:lnTo>
                      <a:lnTo>
                        <a:pt x="22884" y="297082"/>
                      </a:lnTo>
                      <a:lnTo>
                        <a:pt x="23284" y="297555"/>
                      </a:lnTo>
                      <a:lnTo>
                        <a:pt x="23871" y="298622"/>
                      </a:lnTo>
                      <a:lnTo>
                        <a:pt x="24946" y="300122"/>
                      </a:lnTo>
                      <a:lnTo>
                        <a:pt x="26870" y="301907"/>
                      </a:lnTo>
                      <a:lnTo>
                        <a:pt x="28818" y="303830"/>
                      </a:lnTo>
                      <a:lnTo>
                        <a:pt x="29795" y="304066"/>
                      </a:lnTo>
                      <a:lnTo>
                        <a:pt x="31368" y="303089"/>
                      </a:lnTo>
                      <a:lnTo>
                        <a:pt x="33177" y="301646"/>
                      </a:lnTo>
                      <a:lnTo>
                        <a:pt x="35859" y="300587"/>
                      </a:lnTo>
                      <a:lnTo>
                        <a:pt x="36503" y="299609"/>
                      </a:lnTo>
                      <a:lnTo>
                        <a:pt x="36845" y="297506"/>
                      </a:lnTo>
                      <a:lnTo>
                        <a:pt x="37057" y="295241"/>
                      </a:lnTo>
                      <a:lnTo>
                        <a:pt x="37285" y="292584"/>
                      </a:lnTo>
                      <a:lnTo>
                        <a:pt x="37831" y="292217"/>
                      </a:lnTo>
                      <a:lnTo>
                        <a:pt x="38793" y="291964"/>
                      </a:lnTo>
                      <a:lnTo>
                        <a:pt x="40570" y="292722"/>
                      </a:lnTo>
                      <a:lnTo>
                        <a:pt x="41392" y="293488"/>
                      </a:lnTo>
                      <a:lnTo>
                        <a:pt x="42835" y="293488"/>
                      </a:lnTo>
                      <a:lnTo>
                        <a:pt x="43772" y="292795"/>
                      </a:lnTo>
                      <a:lnTo>
                        <a:pt x="45476" y="291484"/>
                      </a:lnTo>
                      <a:lnTo>
                        <a:pt x="47619" y="290946"/>
                      </a:lnTo>
                      <a:lnTo>
                        <a:pt x="49941" y="289699"/>
                      </a:lnTo>
                      <a:lnTo>
                        <a:pt x="52142" y="288077"/>
                      </a:lnTo>
                      <a:lnTo>
                        <a:pt x="53185" y="287938"/>
                      </a:lnTo>
                      <a:lnTo>
                        <a:pt x="54293" y="290041"/>
                      </a:lnTo>
                      <a:lnTo>
                        <a:pt x="55280" y="291524"/>
                      </a:lnTo>
                      <a:lnTo>
                        <a:pt x="55459" y="292437"/>
                      </a:lnTo>
                      <a:lnTo>
                        <a:pt x="54465" y="294197"/>
                      </a:lnTo>
                      <a:lnTo>
                        <a:pt x="53364" y="296512"/>
                      </a:lnTo>
                      <a:lnTo>
                        <a:pt x="54293" y="299397"/>
                      </a:lnTo>
                      <a:lnTo>
                        <a:pt x="54522" y="302192"/>
                      </a:lnTo>
                      <a:lnTo>
                        <a:pt x="54489" y="303879"/>
                      </a:lnTo>
                      <a:lnTo>
                        <a:pt x="55247" y="304572"/>
                      </a:lnTo>
                      <a:lnTo>
                        <a:pt x="55752" y="304890"/>
                      </a:lnTo>
                      <a:lnTo>
                        <a:pt x="56559" y="304490"/>
                      </a:lnTo>
                      <a:lnTo>
                        <a:pt x="58124" y="304621"/>
                      </a:lnTo>
                      <a:lnTo>
                        <a:pt x="60031" y="305485"/>
                      </a:lnTo>
                      <a:lnTo>
                        <a:pt x="61865" y="305403"/>
                      </a:lnTo>
                      <a:lnTo>
                        <a:pt x="63625" y="304319"/>
                      </a:lnTo>
                      <a:lnTo>
                        <a:pt x="66934" y="300114"/>
                      </a:lnTo>
                      <a:lnTo>
                        <a:pt x="71734" y="292787"/>
                      </a:lnTo>
                      <a:lnTo>
                        <a:pt x="75736" y="288183"/>
                      </a:lnTo>
                      <a:lnTo>
                        <a:pt x="78898" y="286308"/>
                      </a:lnTo>
                      <a:lnTo>
                        <a:pt x="81033" y="284100"/>
                      </a:lnTo>
                      <a:lnTo>
                        <a:pt x="82149" y="281598"/>
                      </a:lnTo>
                      <a:lnTo>
                        <a:pt x="83991" y="279895"/>
                      </a:lnTo>
                      <a:lnTo>
                        <a:pt x="87829" y="278525"/>
                      </a:lnTo>
                      <a:lnTo>
                        <a:pt x="90739" y="276985"/>
                      </a:lnTo>
                      <a:lnTo>
                        <a:pt x="93657" y="271949"/>
                      </a:lnTo>
                      <a:lnTo>
                        <a:pt x="97544" y="262902"/>
                      </a:lnTo>
                      <a:lnTo>
                        <a:pt x="98636" y="254818"/>
                      </a:lnTo>
                      <a:lnTo>
                        <a:pt x="99297" y="249895"/>
                      </a:lnTo>
                      <a:lnTo>
                        <a:pt x="98914" y="232960"/>
                      </a:lnTo>
                      <a:lnTo>
                        <a:pt x="98661" y="227394"/>
                      </a:lnTo>
                      <a:lnTo>
                        <a:pt x="99247" y="224362"/>
                      </a:lnTo>
                      <a:lnTo>
                        <a:pt x="100698" y="222284"/>
                      </a:lnTo>
                      <a:lnTo>
                        <a:pt x="104659" y="217867"/>
                      </a:lnTo>
                      <a:lnTo>
                        <a:pt x="107324" y="214257"/>
                      </a:lnTo>
                      <a:lnTo>
                        <a:pt x="109353" y="210019"/>
                      </a:lnTo>
                      <a:lnTo>
                        <a:pt x="113257" y="200361"/>
                      </a:lnTo>
                      <a:lnTo>
                        <a:pt x="114968" y="197248"/>
                      </a:lnTo>
                      <a:lnTo>
                        <a:pt x="115726" y="195863"/>
                      </a:lnTo>
                      <a:lnTo>
                        <a:pt x="118082" y="193287"/>
                      </a:lnTo>
                      <a:lnTo>
                        <a:pt x="121382" y="191030"/>
                      </a:lnTo>
                      <a:lnTo>
                        <a:pt x="125628" y="189082"/>
                      </a:lnTo>
                      <a:lnTo>
                        <a:pt x="132164" y="182358"/>
                      </a:lnTo>
                      <a:lnTo>
                        <a:pt x="137388" y="175586"/>
                      </a:lnTo>
                      <a:lnTo>
                        <a:pt x="136663" y="167461"/>
                      </a:lnTo>
                      <a:lnTo>
                        <a:pt x="137885" y="160729"/>
                      </a:lnTo>
                      <a:lnTo>
                        <a:pt x="140730" y="152147"/>
                      </a:lnTo>
                      <a:lnTo>
                        <a:pt x="141659" y="143069"/>
                      </a:lnTo>
                      <a:lnTo>
                        <a:pt x="140672" y="133501"/>
                      </a:lnTo>
                      <a:lnTo>
                        <a:pt x="141096" y="125677"/>
                      </a:lnTo>
                      <a:lnTo>
                        <a:pt x="143802" y="116582"/>
                      </a:lnTo>
                      <a:lnTo>
                        <a:pt x="144943" y="113200"/>
                      </a:lnTo>
                      <a:lnTo>
                        <a:pt x="145318" y="107674"/>
                      </a:lnTo>
                      <a:lnTo>
                        <a:pt x="145301" y="98873"/>
                      </a:lnTo>
                      <a:lnTo>
                        <a:pt x="148765" y="86844"/>
                      </a:lnTo>
                      <a:lnTo>
                        <a:pt x="152034" y="79639"/>
                      </a:lnTo>
                      <a:lnTo>
                        <a:pt x="155685" y="71579"/>
                      </a:lnTo>
                      <a:lnTo>
                        <a:pt x="157078" y="66706"/>
                      </a:lnTo>
                      <a:lnTo>
                        <a:pt x="158944" y="60202"/>
                      </a:lnTo>
                      <a:lnTo>
                        <a:pt x="158643" y="54986"/>
                      </a:lnTo>
                      <a:lnTo>
                        <a:pt x="158301" y="48980"/>
                      </a:lnTo>
                      <a:lnTo>
                        <a:pt x="159230" y="40716"/>
                      </a:lnTo>
                      <a:lnTo>
                        <a:pt x="158895" y="35859"/>
                      </a:lnTo>
                      <a:lnTo>
                        <a:pt x="157591" y="31629"/>
                      </a:lnTo>
                      <a:lnTo>
                        <a:pt x="158260" y="28972"/>
                      </a:lnTo>
                      <a:lnTo>
                        <a:pt x="160868" y="27880"/>
                      </a:lnTo>
                      <a:lnTo>
                        <a:pt x="164136" y="23659"/>
                      </a:lnTo>
                      <a:lnTo>
                        <a:pt x="170012" y="12624"/>
                      </a:lnTo>
                      <a:lnTo>
                        <a:pt x="176336" y="7245"/>
                      </a:lnTo>
                      <a:lnTo>
                        <a:pt x="180737" y="5542"/>
                      </a:lnTo>
                      <a:lnTo>
                        <a:pt x="185325" y="5729"/>
                      </a:lnTo>
                      <a:lnTo>
                        <a:pt x="188316" y="6691"/>
                      </a:lnTo>
                      <a:lnTo>
                        <a:pt x="189710" y="8427"/>
                      </a:lnTo>
                      <a:lnTo>
                        <a:pt x="193181" y="11027"/>
                      </a:lnTo>
                      <a:lnTo>
                        <a:pt x="198723" y="14482"/>
                      </a:lnTo>
                      <a:lnTo>
                        <a:pt x="202879" y="18777"/>
                      </a:lnTo>
                      <a:lnTo>
                        <a:pt x="205178" y="23121"/>
                      </a:lnTo>
                      <a:lnTo>
                        <a:pt x="206954" y="25476"/>
                      </a:lnTo>
                      <a:lnTo>
                        <a:pt x="209179" y="26283"/>
                      </a:lnTo>
                      <a:lnTo>
                        <a:pt x="212781" y="25941"/>
                      </a:lnTo>
                      <a:lnTo>
                        <a:pt x="216823" y="26968"/>
                      </a:lnTo>
                      <a:lnTo>
                        <a:pt x="221037" y="29388"/>
                      </a:lnTo>
                      <a:lnTo>
                        <a:pt x="223621" y="30293"/>
                      </a:lnTo>
                      <a:lnTo>
                        <a:pt x="224574" y="29665"/>
                      </a:lnTo>
                      <a:lnTo>
                        <a:pt x="226603" y="30016"/>
                      </a:lnTo>
                      <a:lnTo>
                        <a:pt x="231257" y="32012"/>
                      </a:lnTo>
                      <a:lnTo>
                        <a:pt x="234957" y="30912"/>
                      </a:lnTo>
                      <a:lnTo>
                        <a:pt x="240450" y="31735"/>
                      </a:lnTo>
                      <a:lnTo>
                        <a:pt x="253196" y="35305"/>
                      </a:lnTo>
                      <a:lnTo>
                        <a:pt x="253872" y="34702"/>
                      </a:lnTo>
                      <a:lnTo>
                        <a:pt x="254174" y="34563"/>
                      </a:lnTo>
                      <a:lnTo>
                        <a:pt x="255266" y="33129"/>
                      </a:lnTo>
                      <a:lnTo>
                        <a:pt x="258029" y="25989"/>
                      </a:lnTo>
                      <a:lnTo>
                        <a:pt x="260376" y="21613"/>
                      </a:lnTo>
                      <a:lnTo>
                        <a:pt x="261476" y="19959"/>
                      </a:lnTo>
                      <a:lnTo>
                        <a:pt x="264165" y="17644"/>
                      </a:lnTo>
                      <a:lnTo>
                        <a:pt x="267344" y="17049"/>
                      </a:lnTo>
                      <a:lnTo>
                        <a:pt x="270400" y="17253"/>
                      </a:lnTo>
                      <a:lnTo>
                        <a:pt x="272951" y="18272"/>
                      </a:lnTo>
                      <a:lnTo>
                        <a:pt x="275282" y="19454"/>
                      </a:lnTo>
                      <a:lnTo>
                        <a:pt x="277873" y="19470"/>
                      </a:lnTo>
                      <a:lnTo>
                        <a:pt x="280514" y="18329"/>
                      </a:lnTo>
                      <a:lnTo>
                        <a:pt x="284442" y="16243"/>
                      </a:lnTo>
                      <a:lnTo>
                        <a:pt x="288566" y="14873"/>
                      </a:lnTo>
                      <a:lnTo>
                        <a:pt x="292119" y="13382"/>
                      </a:lnTo>
                      <a:lnTo>
                        <a:pt x="297971" y="10749"/>
                      </a:lnTo>
                      <a:lnTo>
                        <a:pt x="300252" y="9544"/>
                      </a:lnTo>
                      <a:lnTo>
                        <a:pt x="303178" y="9071"/>
                      </a:lnTo>
                      <a:lnTo>
                        <a:pt x="311311" y="11467"/>
                      </a:lnTo>
                      <a:lnTo>
                        <a:pt x="316593" y="9878"/>
                      </a:lnTo>
                      <a:lnTo>
                        <a:pt x="318736" y="10342"/>
                      </a:lnTo>
                      <a:lnTo>
                        <a:pt x="323316" y="8631"/>
                      </a:lnTo>
                      <a:lnTo>
                        <a:pt x="324156" y="7481"/>
                      </a:lnTo>
                      <a:lnTo>
                        <a:pt x="327049" y="1687"/>
                      </a:lnTo>
                      <a:lnTo>
                        <a:pt x="330146" y="0"/>
                      </a:lnTo>
                      <a:lnTo>
                        <a:pt x="334840" y="856"/>
                      </a:lnTo>
                      <a:lnTo>
                        <a:pt x="337464" y="1752"/>
                      </a:lnTo>
                      <a:lnTo>
                        <a:pt x="346233" y="4230"/>
                      </a:lnTo>
                      <a:lnTo>
                        <a:pt x="357618" y="6805"/>
                      </a:lnTo>
                      <a:lnTo>
                        <a:pt x="360968" y="7204"/>
                      </a:lnTo>
                      <a:lnTo>
                        <a:pt x="362329" y="7490"/>
                      </a:lnTo>
                      <a:lnTo>
                        <a:pt x="363511" y="7098"/>
                      </a:lnTo>
                      <a:lnTo>
                        <a:pt x="367243" y="3839"/>
                      </a:lnTo>
                      <a:lnTo>
                        <a:pt x="368515" y="3366"/>
                      </a:lnTo>
                      <a:lnTo>
                        <a:pt x="369582" y="3431"/>
                      </a:lnTo>
                      <a:close/>
                    </a:path>
                  </a:pathLst>
                </a:custGeom>
                <a:solidFill>
                  <a:srgbClr val="D6D6D2"/>
                </a:solidFill>
                <a:ln w="6112" cap="rnd">
                  <a:solidFill>
                    <a:srgbClr val="FFFFFF"/>
                  </a:solidFill>
                  <a:prstDash val="solid"/>
                  <a:round/>
                </a:ln>
              </p:spPr>
              <p:txBody>
                <a:bodyPr rtlCol="0" anchor="ctr"/>
                <a:lstStyle/>
                <a:p>
                  <a:endParaRPr lang="en-US"/>
                </a:p>
              </p:txBody>
            </p:sp>
            <p:sp>
              <p:nvSpPr>
                <p:cNvPr id="758" name="Freeform: Shape 757">
                  <a:extLst>
                    <a:ext uri="{FF2B5EF4-FFF2-40B4-BE49-F238E27FC236}">
                      <a16:creationId xmlns:a16="http://schemas.microsoft.com/office/drawing/2014/main" id="{6EEFD9AF-7DD0-45D1-98F4-3665D753B1C0}"/>
                    </a:ext>
                  </a:extLst>
                </p:cNvPr>
                <p:cNvSpPr/>
                <p:nvPr/>
              </p:nvSpPr>
              <p:spPr>
                <a:xfrm>
                  <a:off x="6155256" y="4131239"/>
                  <a:ext cx="189758" cy="343079"/>
                </a:xfrm>
                <a:custGeom>
                  <a:avLst/>
                  <a:gdLst>
                    <a:gd name="connsiteX0" fmla="*/ 172318 w 189758"/>
                    <a:gd name="connsiteY0" fmla="*/ 167689 h 343079"/>
                    <a:gd name="connsiteX1" fmla="*/ 169800 w 189758"/>
                    <a:gd name="connsiteY1" fmla="*/ 172660 h 343079"/>
                    <a:gd name="connsiteX2" fmla="*/ 166507 w 189758"/>
                    <a:gd name="connsiteY2" fmla="*/ 175505 h 343079"/>
                    <a:gd name="connsiteX3" fmla="*/ 165529 w 189758"/>
                    <a:gd name="connsiteY3" fmla="*/ 177232 h 343079"/>
                    <a:gd name="connsiteX4" fmla="*/ 165024 w 189758"/>
                    <a:gd name="connsiteY4" fmla="*/ 179384 h 343079"/>
                    <a:gd name="connsiteX5" fmla="*/ 164307 w 189758"/>
                    <a:gd name="connsiteY5" fmla="*/ 181519 h 343079"/>
                    <a:gd name="connsiteX6" fmla="*/ 162546 w 189758"/>
                    <a:gd name="connsiteY6" fmla="*/ 186140 h 343079"/>
                    <a:gd name="connsiteX7" fmla="*/ 161275 w 189758"/>
                    <a:gd name="connsiteY7" fmla="*/ 189913 h 343079"/>
                    <a:gd name="connsiteX8" fmla="*/ 159971 w 189758"/>
                    <a:gd name="connsiteY8" fmla="*/ 191087 h 343079"/>
                    <a:gd name="connsiteX9" fmla="*/ 156988 w 189758"/>
                    <a:gd name="connsiteY9" fmla="*/ 196775 h 343079"/>
                    <a:gd name="connsiteX10" fmla="*/ 154959 w 189758"/>
                    <a:gd name="connsiteY10" fmla="*/ 202488 h 343079"/>
                    <a:gd name="connsiteX11" fmla="*/ 154551 w 189758"/>
                    <a:gd name="connsiteY11" fmla="*/ 203971 h 343079"/>
                    <a:gd name="connsiteX12" fmla="*/ 153940 w 189758"/>
                    <a:gd name="connsiteY12" fmla="*/ 205063 h 343079"/>
                    <a:gd name="connsiteX13" fmla="*/ 152954 w 189758"/>
                    <a:gd name="connsiteY13" fmla="*/ 205952 h 343079"/>
                    <a:gd name="connsiteX14" fmla="*/ 149474 w 189758"/>
                    <a:gd name="connsiteY14" fmla="*/ 207728 h 343079"/>
                    <a:gd name="connsiteX15" fmla="*/ 148301 w 189758"/>
                    <a:gd name="connsiteY15" fmla="*/ 208609 h 343079"/>
                    <a:gd name="connsiteX16" fmla="*/ 147388 w 189758"/>
                    <a:gd name="connsiteY16" fmla="*/ 209660 h 343079"/>
                    <a:gd name="connsiteX17" fmla="*/ 146540 w 189758"/>
                    <a:gd name="connsiteY17" fmla="*/ 210858 h 343079"/>
                    <a:gd name="connsiteX18" fmla="*/ 146304 w 189758"/>
                    <a:gd name="connsiteY18" fmla="*/ 212309 h 343079"/>
                    <a:gd name="connsiteX19" fmla="*/ 147103 w 189758"/>
                    <a:gd name="connsiteY19" fmla="*/ 214346 h 343079"/>
                    <a:gd name="connsiteX20" fmla="*/ 148073 w 189758"/>
                    <a:gd name="connsiteY20" fmla="*/ 215960 h 343079"/>
                    <a:gd name="connsiteX21" fmla="*/ 149058 w 189758"/>
                    <a:gd name="connsiteY21" fmla="*/ 216057 h 343079"/>
                    <a:gd name="connsiteX22" fmla="*/ 149922 w 189758"/>
                    <a:gd name="connsiteY22" fmla="*/ 215984 h 343079"/>
                    <a:gd name="connsiteX23" fmla="*/ 150452 w 189758"/>
                    <a:gd name="connsiteY23" fmla="*/ 216946 h 343079"/>
                    <a:gd name="connsiteX24" fmla="*/ 150900 w 189758"/>
                    <a:gd name="connsiteY24" fmla="*/ 217516 h 343079"/>
                    <a:gd name="connsiteX25" fmla="*/ 150900 w 189758"/>
                    <a:gd name="connsiteY25" fmla="*/ 228608 h 343079"/>
                    <a:gd name="connsiteX26" fmla="*/ 150077 w 189758"/>
                    <a:gd name="connsiteY26" fmla="*/ 230287 h 343079"/>
                    <a:gd name="connsiteX27" fmla="*/ 150094 w 189758"/>
                    <a:gd name="connsiteY27" fmla="*/ 231029 h 343079"/>
                    <a:gd name="connsiteX28" fmla="*/ 149703 w 189758"/>
                    <a:gd name="connsiteY28" fmla="*/ 232944 h 343079"/>
                    <a:gd name="connsiteX29" fmla="*/ 149564 w 189758"/>
                    <a:gd name="connsiteY29" fmla="*/ 235079 h 343079"/>
                    <a:gd name="connsiteX30" fmla="*/ 149825 w 189758"/>
                    <a:gd name="connsiteY30" fmla="*/ 235927 h 343079"/>
                    <a:gd name="connsiteX31" fmla="*/ 150534 w 189758"/>
                    <a:gd name="connsiteY31" fmla="*/ 236611 h 343079"/>
                    <a:gd name="connsiteX32" fmla="*/ 151487 w 189758"/>
                    <a:gd name="connsiteY32" fmla="*/ 238103 h 343079"/>
                    <a:gd name="connsiteX33" fmla="*/ 152025 w 189758"/>
                    <a:gd name="connsiteY33" fmla="*/ 241509 h 343079"/>
                    <a:gd name="connsiteX34" fmla="*/ 153183 w 189758"/>
                    <a:gd name="connsiteY34" fmla="*/ 253505 h 343079"/>
                    <a:gd name="connsiteX35" fmla="*/ 153745 w 189758"/>
                    <a:gd name="connsiteY35" fmla="*/ 255396 h 343079"/>
                    <a:gd name="connsiteX36" fmla="*/ 154707 w 189758"/>
                    <a:gd name="connsiteY36" fmla="*/ 256725 h 343079"/>
                    <a:gd name="connsiteX37" fmla="*/ 157771 w 189758"/>
                    <a:gd name="connsiteY37" fmla="*/ 259308 h 343079"/>
                    <a:gd name="connsiteX38" fmla="*/ 160965 w 189758"/>
                    <a:gd name="connsiteY38" fmla="*/ 262715 h 343079"/>
                    <a:gd name="connsiteX39" fmla="*/ 161976 w 189758"/>
                    <a:gd name="connsiteY39" fmla="*/ 264915 h 343079"/>
                    <a:gd name="connsiteX40" fmla="*/ 162579 w 189758"/>
                    <a:gd name="connsiteY40" fmla="*/ 268542 h 343079"/>
                    <a:gd name="connsiteX41" fmla="*/ 163801 w 189758"/>
                    <a:gd name="connsiteY41" fmla="*/ 271386 h 343079"/>
                    <a:gd name="connsiteX42" fmla="*/ 163777 w 189758"/>
                    <a:gd name="connsiteY42" fmla="*/ 272356 h 343079"/>
                    <a:gd name="connsiteX43" fmla="*/ 163272 w 189758"/>
                    <a:gd name="connsiteY43" fmla="*/ 272723 h 343079"/>
                    <a:gd name="connsiteX44" fmla="*/ 162082 w 189758"/>
                    <a:gd name="connsiteY44" fmla="*/ 272772 h 343079"/>
                    <a:gd name="connsiteX45" fmla="*/ 161275 w 189758"/>
                    <a:gd name="connsiteY45" fmla="*/ 272967 h 343079"/>
                    <a:gd name="connsiteX46" fmla="*/ 161952 w 189758"/>
                    <a:gd name="connsiteY46" fmla="*/ 275045 h 343079"/>
                    <a:gd name="connsiteX47" fmla="*/ 163606 w 189758"/>
                    <a:gd name="connsiteY47" fmla="*/ 278647 h 343079"/>
                    <a:gd name="connsiteX48" fmla="*/ 166361 w 189758"/>
                    <a:gd name="connsiteY48" fmla="*/ 282388 h 343079"/>
                    <a:gd name="connsiteX49" fmla="*/ 169343 w 189758"/>
                    <a:gd name="connsiteY49" fmla="*/ 286430 h 343079"/>
                    <a:gd name="connsiteX50" fmla="*/ 171780 w 189758"/>
                    <a:gd name="connsiteY50" fmla="*/ 289739 h 343079"/>
                    <a:gd name="connsiteX51" fmla="*/ 174820 w 189758"/>
                    <a:gd name="connsiteY51" fmla="*/ 293553 h 343079"/>
                    <a:gd name="connsiteX52" fmla="*/ 177192 w 189758"/>
                    <a:gd name="connsiteY52" fmla="*/ 296544 h 343079"/>
                    <a:gd name="connsiteX53" fmla="*/ 179628 w 189758"/>
                    <a:gd name="connsiteY53" fmla="*/ 299617 h 343079"/>
                    <a:gd name="connsiteX54" fmla="*/ 181478 w 189758"/>
                    <a:gd name="connsiteY54" fmla="*/ 300342 h 343079"/>
                    <a:gd name="connsiteX55" fmla="*/ 182847 w 189758"/>
                    <a:gd name="connsiteY55" fmla="*/ 300554 h 343079"/>
                    <a:gd name="connsiteX56" fmla="*/ 183443 w 189758"/>
                    <a:gd name="connsiteY56" fmla="*/ 301157 h 343079"/>
                    <a:gd name="connsiteX57" fmla="*/ 184168 w 189758"/>
                    <a:gd name="connsiteY57" fmla="*/ 302567 h 343079"/>
                    <a:gd name="connsiteX58" fmla="*/ 185414 w 189758"/>
                    <a:gd name="connsiteY58" fmla="*/ 304123 h 343079"/>
                    <a:gd name="connsiteX59" fmla="*/ 186784 w 189758"/>
                    <a:gd name="connsiteY59" fmla="*/ 306169 h 343079"/>
                    <a:gd name="connsiteX60" fmla="*/ 187256 w 189758"/>
                    <a:gd name="connsiteY60" fmla="*/ 308247 h 343079"/>
                    <a:gd name="connsiteX61" fmla="*/ 186678 w 189758"/>
                    <a:gd name="connsiteY61" fmla="*/ 310228 h 343079"/>
                    <a:gd name="connsiteX62" fmla="*/ 187248 w 189758"/>
                    <a:gd name="connsiteY62" fmla="*/ 313064 h 343079"/>
                    <a:gd name="connsiteX63" fmla="*/ 187273 w 189758"/>
                    <a:gd name="connsiteY63" fmla="*/ 313308 h 343079"/>
                    <a:gd name="connsiteX64" fmla="*/ 187737 w 189758"/>
                    <a:gd name="connsiteY64" fmla="*/ 314433 h 343079"/>
                    <a:gd name="connsiteX65" fmla="*/ 187583 w 189758"/>
                    <a:gd name="connsiteY65" fmla="*/ 315427 h 343079"/>
                    <a:gd name="connsiteX66" fmla="*/ 187860 w 189758"/>
                    <a:gd name="connsiteY66" fmla="*/ 319201 h 343079"/>
                    <a:gd name="connsiteX67" fmla="*/ 188576 w 189758"/>
                    <a:gd name="connsiteY67" fmla="*/ 322485 h 343079"/>
                    <a:gd name="connsiteX68" fmla="*/ 189758 w 189758"/>
                    <a:gd name="connsiteY68" fmla="*/ 325288 h 343079"/>
                    <a:gd name="connsiteX69" fmla="*/ 189742 w 189758"/>
                    <a:gd name="connsiteY69" fmla="*/ 325516 h 343079"/>
                    <a:gd name="connsiteX70" fmla="*/ 189579 w 189758"/>
                    <a:gd name="connsiteY70" fmla="*/ 327252 h 343079"/>
                    <a:gd name="connsiteX71" fmla="*/ 188080 w 189758"/>
                    <a:gd name="connsiteY71" fmla="*/ 328353 h 343079"/>
                    <a:gd name="connsiteX72" fmla="*/ 187200 w 189758"/>
                    <a:gd name="connsiteY72" fmla="*/ 330178 h 343079"/>
                    <a:gd name="connsiteX73" fmla="*/ 186931 w 189758"/>
                    <a:gd name="connsiteY73" fmla="*/ 332729 h 343079"/>
                    <a:gd name="connsiteX74" fmla="*/ 187395 w 189758"/>
                    <a:gd name="connsiteY74" fmla="*/ 335826 h 343079"/>
                    <a:gd name="connsiteX75" fmla="*/ 188552 w 189758"/>
                    <a:gd name="connsiteY75" fmla="*/ 339493 h 343079"/>
                    <a:gd name="connsiteX76" fmla="*/ 188576 w 189758"/>
                    <a:gd name="connsiteY76" fmla="*/ 341637 h 343079"/>
                    <a:gd name="connsiteX77" fmla="*/ 188169 w 189758"/>
                    <a:gd name="connsiteY77" fmla="*/ 341938 h 343079"/>
                    <a:gd name="connsiteX78" fmla="*/ 187444 w 189758"/>
                    <a:gd name="connsiteY78" fmla="*/ 342623 h 343079"/>
                    <a:gd name="connsiteX79" fmla="*/ 186686 w 189758"/>
                    <a:gd name="connsiteY79" fmla="*/ 343079 h 343079"/>
                    <a:gd name="connsiteX80" fmla="*/ 184600 w 189758"/>
                    <a:gd name="connsiteY80" fmla="*/ 340569 h 343079"/>
                    <a:gd name="connsiteX81" fmla="*/ 182285 w 189758"/>
                    <a:gd name="connsiteY81" fmla="*/ 338874 h 343079"/>
                    <a:gd name="connsiteX82" fmla="*/ 178805 w 189758"/>
                    <a:gd name="connsiteY82" fmla="*/ 335924 h 343079"/>
                    <a:gd name="connsiteX83" fmla="*/ 175301 w 189758"/>
                    <a:gd name="connsiteY83" fmla="*/ 334864 h 343079"/>
                    <a:gd name="connsiteX84" fmla="*/ 170761 w 189758"/>
                    <a:gd name="connsiteY84" fmla="*/ 334677 h 343079"/>
                    <a:gd name="connsiteX85" fmla="*/ 168806 w 189758"/>
                    <a:gd name="connsiteY85" fmla="*/ 335035 h 343079"/>
                    <a:gd name="connsiteX86" fmla="*/ 167404 w 189758"/>
                    <a:gd name="connsiteY86" fmla="*/ 333927 h 343079"/>
                    <a:gd name="connsiteX87" fmla="*/ 165448 w 189758"/>
                    <a:gd name="connsiteY87" fmla="*/ 332648 h 343079"/>
                    <a:gd name="connsiteX88" fmla="*/ 164372 w 189758"/>
                    <a:gd name="connsiteY88" fmla="*/ 332313 h 343079"/>
                    <a:gd name="connsiteX89" fmla="*/ 162881 w 189758"/>
                    <a:gd name="connsiteY89" fmla="*/ 333308 h 343079"/>
                    <a:gd name="connsiteX90" fmla="*/ 161846 w 189758"/>
                    <a:gd name="connsiteY90" fmla="*/ 333357 h 343079"/>
                    <a:gd name="connsiteX91" fmla="*/ 160574 w 189758"/>
                    <a:gd name="connsiteY91" fmla="*/ 332974 h 343079"/>
                    <a:gd name="connsiteX92" fmla="*/ 157983 w 189758"/>
                    <a:gd name="connsiteY92" fmla="*/ 333014 h 343079"/>
                    <a:gd name="connsiteX93" fmla="*/ 157746 w 189758"/>
                    <a:gd name="connsiteY93" fmla="*/ 331303 h 343079"/>
                    <a:gd name="connsiteX94" fmla="*/ 157306 w 189758"/>
                    <a:gd name="connsiteY94" fmla="*/ 330969 h 343079"/>
                    <a:gd name="connsiteX95" fmla="*/ 154519 w 189758"/>
                    <a:gd name="connsiteY95" fmla="*/ 331132 h 343079"/>
                    <a:gd name="connsiteX96" fmla="*/ 153672 w 189758"/>
                    <a:gd name="connsiteY96" fmla="*/ 329714 h 343079"/>
                    <a:gd name="connsiteX97" fmla="*/ 153296 w 189758"/>
                    <a:gd name="connsiteY97" fmla="*/ 329868 h 343079"/>
                    <a:gd name="connsiteX98" fmla="*/ 152205 w 189758"/>
                    <a:gd name="connsiteY98" fmla="*/ 329428 h 343079"/>
                    <a:gd name="connsiteX99" fmla="*/ 149963 w 189758"/>
                    <a:gd name="connsiteY99" fmla="*/ 327415 h 343079"/>
                    <a:gd name="connsiteX100" fmla="*/ 147616 w 189758"/>
                    <a:gd name="connsiteY100" fmla="*/ 328744 h 343079"/>
                    <a:gd name="connsiteX101" fmla="*/ 142726 w 189758"/>
                    <a:gd name="connsiteY101" fmla="*/ 328573 h 343079"/>
                    <a:gd name="connsiteX102" fmla="*/ 136459 w 189758"/>
                    <a:gd name="connsiteY102" fmla="*/ 328622 h 343079"/>
                    <a:gd name="connsiteX103" fmla="*/ 129972 w 189758"/>
                    <a:gd name="connsiteY103" fmla="*/ 328662 h 343079"/>
                    <a:gd name="connsiteX104" fmla="*/ 124031 w 189758"/>
                    <a:gd name="connsiteY104" fmla="*/ 328605 h 343079"/>
                    <a:gd name="connsiteX105" fmla="*/ 118082 w 189758"/>
                    <a:gd name="connsiteY105" fmla="*/ 328540 h 343079"/>
                    <a:gd name="connsiteX106" fmla="*/ 117495 w 189758"/>
                    <a:gd name="connsiteY106" fmla="*/ 326666 h 343079"/>
                    <a:gd name="connsiteX107" fmla="*/ 116264 w 189758"/>
                    <a:gd name="connsiteY107" fmla="*/ 325696 h 343079"/>
                    <a:gd name="connsiteX108" fmla="*/ 114048 w 189758"/>
                    <a:gd name="connsiteY108" fmla="*/ 325606 h 343079"/>
                    <a:gd name="connsiteX109" fmla="*/ 107519 w 189758"/>
                    <a:gd name="connsiteY109" fmla="*/ 325989 h 343079"/>
                    <a:gd name="connsiteX110" fmla="*/ 102515 w 189758"/>
                    <a:gd name="connsiteY110" fmla="*/ 325688 h 343079"/>
                    <a:gd name="connsiteX111" fmla="*/ 100918 w 189758"/>
                    <a:gd name="connsiteY111" fmla="*/ 325443 h 343079"/>
                    <a:gd name="connsiteX112" fmla="*/ 99141 w 189758"/>
                    <a:gd name="connsiteY112" fmla="*/ 324954 h 343079"/>
                    <a:gd name="connsiteX113" fmla="*/ 94969 w 189758"/>
                    <a:gd name="connsiteY113" fmla="*/ 324514 h 343079"/>
                    <a:gd name="connsiteX114" fmla="*/ 89802 w 189758"/>
                    <a:gd name="connsiteY114" fmla="*/ 324865 h 343079"/>
                    <a:gd name="connsiteX115" fmla="*/ 88628 w 189758"/>
                    <a:gd name="connsiteY115" fmla="*/ 324767 h 343079"/>
                    <a:gd name="connsiteX116" fmla="*/ 84505 w 189758"/>
                    <a:gd name="connsiteY116" fmla="*/ 324840 h 343079"/>
                    <a:gd name="connsiteX117" fmla="*/ 75059 w 189758"/>
                    <a:gd name="connsiteY117" fmla="*/ 324335 h 343079"/>
                    <a:gd name="connsiteX118" fmla="*/ 69835 w 189758"/>
                    <a:gd name="connsiteY118" fmla="*/ 324400 h 343079"/>
                    <a:gd name="connsiteX119" fmla="*/ 69966 w 189758"/>
                    <a:gd name="connsiteY119" fmla="*/ 325549 h 343079"/>
                    <a:gd name="connsiteX120" fmla="*/ 69623 w 189758"/>
                    <a:gd name="connsiteY120" fmla="*/ 326372 h 343079"/>
                    <a:gd name="connsiteX121" fmla="*/ 69338 w 189758"/>
                    <a:gd name="connsiteY121" fmla="*/ 328361 h 343079"/>
                    <a:gd name="connsiteX122" fmla="*/ 63584 w 189758"/>
                    <a:gd name="connsiteY122" fmla="*/ 328361 h 343079"/>
                    <a:gd name="connsiteX123" fmla="*/ 56013 w 189758"/>
                    <a:gd name="connsiteY123" fmla="*/ 328361 h 343079"/>
                    <a:gd name="connsiteX124" fmla="*/ 48858 w 189758"/>
                    <a:gd name="connsiteY124" fmla="*/ 328361 h 343079"/>
                    <a:gd name="connsiteX125" fmla="*/ 44017 w 189758"/>
                    <a:gd name="connsiteY125" fmla="*/ 328353 h 343079"/>
                    <a:gd name="connsiteX126" fmla="*/ 35908 w 189758"/>
                    <a:gd name="connsiteY126" fmla="*/ 328353 h 343079"/>
                    <a:gd name="connsiteX127" fmla="*/ 33169 w 189758"/>
                    <a:gd name="connsiteY127" fmla="*/ 326992 h 343079"/>
                    <a:gd name="connsiteX128" fmla="*/ 32346 w 189758"/>
                    <a:gd name="connsiteY128" fmla="*/ 326120 h 343079"/>
                    <a:gd name="connsiteX129" fmla="*/ 32192 w 189758"/>
                    <a:gd name="connsiteY129" fmla="*/ 325125 h 343079"/>
                    <a:gd name="connsiteX130" fmla="*/ 32094 w 189758"/>
                    <a:gd name="connsiteY130" fmla="*/ 324457 h 343079"/>
                    <a:gd name="connsiteX131" fmla="*/ 31458 w 189758"/>
                    <a:gd name="connsiteY131" fmla="*/ 324253 h 343079"/>
                    <a:gd name="connsiteX132" fmla="*/ 31971 w 189758"/>
                    <a:gd name="connsiteY132" fmla="*/ 317228 h 343079"/>
                    <a:gd name="connsiteX133" fmla="*/ 33121 w 189758"/>
                    <a:gd name="connsiteY133" fmla="*/ 311369 h 343079"/>
                    <a:gd name="connsiteX134" fmla="*/ 33560 w 189758"/>
                    <a:gd name="connsiteY134" fmla="*/ 305925 h 343079"/>
                    <a:gd name="connsiteX135" fmla="*/ 35109 w 189758"/>
                    <a:gd name="connsiteY135" fmla="*/ 301059 h 343079"/>
                    <a:gd name="connsiteX136" fmla="*/ 34286 w 189758"/>
                    <a:gd name="connsiteY136" fmla="*/ 296243 h 343079"/>
                    <a:gd name="connsiteX137" fmla="*/ 33324 w 189758"/>
                    <a:gd name="connsiteY137" fmla="*/ 294148 h 343079"/>
                    <a:gd name="connsiteX138" fmla="*/ 28263 w 189758"/>
                    <a:gd name="connsiteY138" fmla="*/ 287319 h 343079"/>
                    <a:gd name="connsiteX139" fmla="*/ 30586 w 189758"/>
                    <a:gd name="connsiteY139" fmla="*/ 284735 h 343079"/>
                    <a:gd name="connsiteX140" fmla="*/ 27522 w 189758"/>
                    <a:gd name="connsiteY140" fmla="*/ 285094 h 343079"/>
                    <a:gd name="connsiteX141" fmla="*/ 26862 w 189758"/>
                    <a:gd name="connsiteY141" fmla="*/ 282559 h 343079"/>
                    <a:gd name="connsiteX142" fmla="*/ 25386 w 189758"/>
                    <a:gd name="connsiteY142" fmla="*/ 279511 h 343079"/>
                    <a:gd name="connsiteX143" fmla="*/ 26299 w 189758"/>
                    <a:gd name="connsiteY143" fmla="*/ 279022 h 343079"/>
                    <a:gd name="connsiteX144" fmla="*/ 27171 w 189758"/>
                    <a:gd name="connsiteY144" fmla="*/ 277360 h 343079"/>
                    <a:gd name="connsiteX145" fmla="*/ 29942 w 189758"/>
                    <a:gd name="connsiteY145" fmla="*/ 277873 h 343079"/>
                    <a:gd name="connsiteX146" fmla="*/ 29853 w 189758"/>
                    <a:gd name="connsiteY146" fmla="*/ 277050 h 343079"/>
                    <a:gd name="connsiteX147" fmla="*/ 27473 w 189758"/>
                    <a:gd name="connsiteY147" fmla="*/ 274499 h 343079"/>
                    <a:gd name="connsiteX148" fmla="*/ 27693 w 189758"/>
                    <a:gd name="connsiteY148" fmla="*/ 273212 h 343079"/>
                    <a:gd name="connsiteX149" fmla="*/ 28671 w 189758"/>
                    <a:gd name="connsiteY149" fmla="*/ 271769 h 343079"/>
                    <a:gd name="connsiteX150" fmla="*/ 28198 w 189758"/>
                    <a:gd name="connsiteY150" fmla="*/ 271166 h 343079"/>
                    <a:gd name="connsiteX151" fmla="*/ 26487 w 189758"/>
                    <a:gd name="connsiteY151" fmla="*/ 272657 h 343079"/>
                    <a:gd name="connsiteX152" fmla="*/ 25248 w 189758"/>
                    <a:gd name="connsiteY152" fmla="*/ 272608 h 343079"/>
                    <a:gd name="connsiteX153" fmla="*/ 24286 w 189758"/>
                    <a:gd name="connsiteY153" fmla="*/ 271639 h 343079"/>
                    <a:gd name="connsiteX154" fmla="*/ 23585 w 189758"/>
                    <a:gd name="connsiteY154" fmla="*/ 271476 h 343079"/>
                    <a:gd name="connsiteX155" fmla="*/ 24017 w 189758"/>
                    <a:gd name="connsiteY155" fmla="*/ 273440 h 343079"/>
                    <a:gd name="connsiteX156" fmla="*/ 23055 w 189758"/>
                    <a:gd name="connsiteY156" fmla="*/ 275184 h 343079"/>
                    <a:gd name="connsiteX157" fmla="*/ 22135 w 189758"/>
                    <a:gd name="connsiteY157" fmla="*/ 275787 h 343079"/>
                    <a:gd name="connsiteX158" fmla="*/ 20578 w 189758"/>
                    <a:gd name="connsiteY158" fmla="*/ 275681 h 343079"/>
                    <a:gd name="connsiteX159" fmla="*/ 19315 w 189758"/>
                    <a:gd name="connsiteY159" fmla="*/ 275241 h 343079"/>
                    <a:gd name="connsiteX160" fmla="*/ 18973 w 189758"/>
                    <a:gd name="connsiteY160" fmla="*/ 274271 h 343079"/>
                    <a:gd name="connsiteX161" fmla="*/ 17766 w 189758"/>
                    <a:gd name="connsiteY161" fmla="*/ 273521 h 343079"/>
                    <a:gd name="connsiteX162" fmla="*/ 14425 w 189758"/>
                    <a:gd name="connsiteY162" fmla="*/ 272234 h 343079"/>
                    <a:gd name="connsiteX163" fmla="*/ 11597 w 189758"/>
                    <a:gd name="connsiteY163" fmla="*/ 270718 h 343079"/>
                    <a:gd name="connsiteX164" fmla="*/ 11027 w 189758"/>
                    <a:gd name="connsiteY164" fmla="*/ 266553 h 343079"/>
                    <a:gd name="connsiteX165" fmla="*/ 9910 w 189758"/>
                    <a:gd name="connsiteY165" fmla="*/ 264760 h 343079"/>
                    <a:gd name="connsiteX166" fmla="*/ 9454 w 189758"/>
                    <a:gd name="connsiteY166" fmla="*/ 262731 h 343079"/>
                    <a:gd name="connsiteX167" fmla="*/ 9176 w 189758"/>
                    <a:gd name="connsiteY167" fmla="*/ 260408 h 343079"/>
                    <a:gd name="connsiteX168" fmla="*/ 9559 w 189758"/>
                    <a:gd name="connsiteY168" fmla="*/ 256855 h 343079"/>
                    <a:gd name="connsiteX169" fmla="*/ 8851 w 189758"/>
                    <a:gd name="connsiteY169" fmla="*/ 256293 h 343079"/>
                    <a:gd name="connsiteX170" fmla="*/ 8036 w 189758"/>
                    <a:gd name="connsiteY170" fmla="*/ 256097 h 343079"/>
                    <a:gd name="connsiteX171" fmla="*/ 6805 w 189758"/>
                    <a:gd name="connsiteY171" fmla="*/ 256268 h 343079"/>
                    <a:gd name="connsiteX172" fmla="*/ 5688 w 189758"/>
                    <a:gd name="connsiteY172" fmla="*/ 256064 h 343079"/>
                    <a:gd name="connsiteX173" fmla="*/ 4352 w 189758"/>
                    <a:gd name="connsiteY173" fmla="*/ 254100 h 343079"/>
                    <a:gd name="connsiteX174" fmla="*/ 3170 w 189758"/>
                    <a:gd name="connsiteY174" fmla="*/ 253343 h 343079"/>
                    <a:gd name="connsiteX175" fmla="*/ 3896 w 189758"/>
                    <a:gd name="connsiteY175" fmla="*/ 256969 h 343079"/>
                    <a:gd name="connsiteX176" fmla="*/ 3064 w 189758"/>
                    <a:gd name="connsiteY176" fmla="*/ 257980 h 343079"/>
                    <a:gd name="connsiteX177" fmla="*/ 1035 w 189758"/>
                    <a:gd name="connsiteY177" fmla="*/ 257678 h 343079"/>
                    <a:gd name="connsiteX178" fmla="*/ 171 w 189758"/>
                    <a:gd name="connsiteY178" fmla="*/ 256317 h 343079"/>
                    <a:gd name="connsiteX179" fmla="*/ 0 w 189758"/>
                    <a:gd name="connsiteY179" fmla="*/ 255298 h 343079"/>
                    <a:gd name="connsiteX180" fmla="*/ 946 w 189758"/>
                    <a:gd name="connsiteY180" fmla="*/ 250906 h 343079"/>
                    <a:gd name="connsiteX181" fmla="*/ 578 w 189758"/>
                    <a:gd name="connsiteY181" fmla="*/ 250816 h 343079"/>
                    <a:gd name="connsiteX182" fmla="*/ 1304 w 189758"/>
                    <a:gd name="connsiteY182" fmla="*/ 248485 h 343079"/>
                    <a:gd name="connsiteX183" fmla="*/ 2690 w 189758"/>
                    <a:gd name="connsiteY183" fmla="*/ 245665 h 343079"/>
                    <a:gd name="connsiteX184" fmla="*/ 4539 w 189758"/>
                    <a:gd name="connsiteY184" fmla="*/ 242072 h 343079"/>
                    <a:gd name="connsiteX185" fmla="*/ 6658 w 189758"/>
                    <a:gd name="connsiteY185" fmla="*/ 237556 h 343079"/>
                    <a:gd name="connsiteX186" fmla="*/ 8101 w 189758"/>
                    <a:gd name="connsiteY186" fmla="*/ 229562 h 343079"/>
                    <a:gd name="connsiteX187" fmla="*/ 9087 w 189758"/>
                    <a:gd name="connsiteY187" fmla="*/ 224582 h 343079"/>
                    <a:gd name="connsiteX188" fmla="*/ 9975 w 189758"/>
                    <a:gd name="connsiteY188" fmla="*/ 220035 h 343079"/>
                    <a:gd name="connsiteX189" fmla="*/ 11524 w 189758"/>
                    <a:gd name="connsiteY189" fmla="*/ 215935 h 343079"/>
                    <a:gd name="connsiteX190" fmla="*/ 13089 w 189758"/>
                    <a:gd name="connsiteY190" fmla="*/ 213189 h 343079"/>
                    <a:gd name="connsiteX191" fmla="*/ 17514 w 189758"/>
                    <a:gd name="connsiteY191" fmla="*/ 207875 h 343079"/>
                    <a:gd name="connsiteX192" fmla="*/ 20855 w 189758"/>
                    <a:gd name="connsiteY192" fmla="*/ 203865 h 343079"/>
                    <a:gd name="connsiteX193" fmla="*/ 22559 w 189758"/>
                    <a:gd name="connsiteY193" fmla="*/ 202252 h 343079"/>
                    <a:gd name="connsiteX194" fmla="*/ 23756 w 189758"/>
                    <a:gd name="connsiteY194" fmla="*/ 200899 h 343079"/>
                    <a:gd name="connsiteX195" fmla="*/ 25835 w 189758"/>
                    <a:gd name="connsiteY195" fmla="*/ 199342 h 343079"/>
                    <a:gd name="connsiteX196" fmla="*/ 27962 w 189758"/>
                    <a:gd name="connsiteY196" fmla="*/ 197492 h 343079"/>
                    <a:gd name="connsiteX197" fmla="*/ 29584 w 189758"/>
                    <a:gd name="connsiteY197" fmla="*/ 193939 h 343079"/>
                    <a:gd name="connsiteX198" fmla="*/ 30937 w 189758"/>
                    <a:gd name="connsiteY198" fmla="*/ 190639 h 343079"/>
                    <a:gd name="connsiteX199" fmla="*/ 31947 w 189758"/>
                    <a:gd name="connsiteY199" fmla="*/ 189921 h 343079"/>
                    <a:gd name="connsiteX200" fmla="*/ 33275 w 189758"/>
                    <a:gd name="connsiteY200" fmla="*/ 189343 h 343079"/>
                    <a:gd name="connsiteX201" fmla="*/ 37358 w 189758"/>
                    <a:gd name="connsiteY201" fmla="*/ 185789 h 343079"/>
                    <a:gd name="connsiteX202" fmla="*/ 39958 w 189758"/>
                    <a:gd name="connsiteY202" fmla="*/ 183540 h 343079"/>
                    <a:gd name="connsiteX203" fmla="*/ 40561 w 189758"/>
                    <a:gd name="connsiteY203" fmla="*/ 184657 h 343079"/>
                    <a:gd name="connsiteX204" fmla="*/ 41001 w 189758"/>
                    <a:gd name="connsiteY204" fmla="*/ 186050 h 343079"/>
                    <a:gd name="connsiteX205" fmla="*/ 41490 w 189758"/>
                    <a:gd name="connsiteY205" fmla="*/ 186694 h 343079"/>
                    <a:gd name="connsiteX206" fmla="*/ 43667 w 189758"/>
                    <a:gd name="connsiteY206" fmla="*/ 187134 h 343079"/>
                    <a:gd name="connsiteX207" fmla="*/ 46641 w 189758"/>
                    <a:gd name="connsiteY207" fmla="*/ 187110 h 343079"/>
                    <a:gd name="connsiteX208" fmla="*/ 48352 w 189758"/>
                    <a:gd name="connsiteY208" fmla="*/ 186702 h 343079"/>
                    <a:gd name="connsiteX209" fmla="*/ 49265 w 189758"/>
                    <a:gd name="connsiteY209" fmla="*/ 185521 h 343079"/>
                    <a:gd name="connsiteX210" fmla="*/ 50194 w 189758"/>
                    <a:gd name="connsiteY210" fmla="*/ 182301 h 343079"/>
                    <a:gd name="connsiteX211" fmla="*/ 50732 w 189758"/>
                    <a:gd name="connsiteY211" fmla="*/ 181698 h 343079"/>
                    <a:gd name="connsiteX212" fmla="*/ 51433 w 189758"/>
                    <a:gd name="connsiteY212" fmla="*/ 181535 h 343079"/>
                    <a:gd name="connsiteX213" fmla="*/ 54685 w 189758"/>
                    <a:gd name="connsiteY213" fmla="*/ 183785 h 343079"/>
                    <a:gd name="connsiteX214" fmla="*/ 57390 w 189758"/>
                    <a:gd name="connsiteY214" fmla="*/ 186987 h 343079"/>
                    <a:gd name="connsiteX215" fmla="*/ 60072 w 189758"/>
                    <a:gd name="connsiteY215" fmla="*/ 190141 h 343079"/>
                    <a:gd name="connsiteX216" fmla="*/ 61416 w 189758"/>
                    <a:gd name="connsiteY216" fmla="*/ 191266 h 343079"/>
                    <a:gd name="connsiteX217" fmla="*/ 62011 w 189758"/>
                    <a:gd name="connsiteY217" fmla="*/ 192505 h 343079"/>
                    <a:gd name="connsiteX218" fmla="*/ 63168 w 189758"/>
                    <a:gd name="connsiteY218" fmla="*/ 198283 h 343079"/>
                    <a:gd name="connsiteX219" fmla="*/ 63837 w 189758"/>
                    <a:gd name="connsiteY219" fmla="*/ 199717 h 343079"/>
                    <a:gd name="connsiteX220" fmla="*/ 65002 w 189758"/>
                    <a:gd name="connsiteY220" fmla="*/ 200312 h 343079"/>
                    <a:gd name="connsiteX221" fmla="*/ 67081 w 189758"/>
                    <a:gd name="connsiteY221" fmla="*/ 199937 h 343079"/>
                    <a:gd name="connsiteX222" fmla="*/ 69256 w 189758"/>
                    <a:gd name="connsiteY222" fmla="*/ 198910 h 343079"/>
                    <a:gd name="connsiteX223" fmla="*/ 71163 w 189758"/>
                    <a:gd name="connsiteY223" fmla="*/ 197435 h 343079"/>
                    <a:gd name="connsiteX224" fmla="*/ 73038 w 189758"/>
                    <a:gd name="connsiteY224" fmla="*/ 195528 h 343079"/>
                    <a:gd name="connsiteX225" fmla="*/ 74318 w 189758"/>
                    <a:gd name="connsiteY225" fmla="*/ 193792 h 343079"/>
                    <a:gd name="connsiteX226" fmla="*/ 74880 w 189758"/>
                    <a:gd name="connsiteY226" fmla="*/ 192529 h 343079"/>
                    <a:gd name="connsiteX227" fmla="*/ 75157 w 189758"/>
                    <a:gd name="connsiteY227" fmla="*/ 187794 h 343079"/>
                    <a:gd name="connsiteX228" fmla="*/ 75589 w 189758"/>
                    <a:gd name="connsiteY228" fmla="*/ 186767 h 343079"/>
                    <a:gd name="connsiteX229" fmla="*/ 77504 w 189758"/>
                    <a:gd name="connsiteY229" fmla="*/ 184885 h 343079"/>
                    <a:gd name="connsiteX230" fmla="*/ 80723 w 189758"/>
                    <a:gd name="connsiteY230" fmla="*/ 181739 h 343079"/>
                    <a:gd name="connsiteX231" fmla="*/ 82565 w 189758"/>
                    <a:gd name="connsiteY231" fmla="*/ 179930 h 343079"/>
                    <a:gd name="connsiteX232" fmla="*/ 82402 w 189758"/>
                    <a:gd name="connsiteY232" fmla="*/ 179278 h 343079"/>
                    <a:gd name="connsiteX233" fmla="*/ 81245 w 189758"/>
                    <a:gd name="connsiteY233" fmla="*/ 177363 h 343079"/>
                    <a:gd name="connsiteX234" fmla="*/ 80226 w 189758"/>
                    <a:gd name="connsiteY234" fmla="*/ 175244 h 343079"/>
                    <a:gd name="connsiteX235" fmla="*/ 81261 w 189758"/>
                    <a:gd name="connsiteY235" fmla="*/ 173059 h 343079"/>
                    <a:gd name="connsiteX236" fmla="*/ 82337 w 189758"/>
                    <a:gd name="connsiteY236" fmla="*/ 171389 h 343079"/>
                    <a:gd name="connsiteX237" fmla="*/ 86387 w 189758"/>
                    <a:gd name="connsiteY237" fmla="*/ 165700 h 343079"/>
                    <a:gd name="connsiteX238" fmla="*/ 86403 w 189758"/>
                    <a:gd name="connsiteY238" fmla="*/ 163826 h 343079"/>
                    <a:gd name="connsiteX239" fmla="*/ 86624 w 189758"/>
                    <a:gd name="connsiteY239" fmla="*/ 161552 h 343079"/>
                    <a:gd name="connsiteX240" fmla="*/ 89867 w 189758"/>
                    <a:gd name="connsiteY240" fmla="*/ 155098 h 343079"/>
                    <a:gd name="connsiteX241" fmla="*/ 91725 w 189758"/>
                    <a:gd name="connsiteY241" fmla="*/ 146516 h 343079"/>
                    <a:gd name="connsiteX242" fmla="*/ 91790 w 189758"/>
                    <a:gd name="connsiteY242" fmla="*/ 144870 h 343079"/>
                    <a:gd name="connsiteX243" fmla="*/ 93722 w 189758"/>
                    <a:gd name="connsiteY243" fmla="*/ 140730 h 343079"/>
                    <a:gd name="connsiteX244" fmla="*/ 96004 w 189758"/>
                    <a:gd name="connsiteY244" fmla="*/ 135432 h 343079"/>
                    <a:gd name="connsiteX245" fmla="*/ 100454 w 189758"/>
                    <a:gd name="connsiteY245" fmla="*/ 134577 h 343079"/>
                    <a:gd name="connsiteX246" fmla="*/ 102157 w 189758"/>
                    <a:gd name="connsiteY246" fmla="*/ 133264 h 343079"/>
                    <a:gd name="connsiteX247" fmla="*/ 104137 w 189758"/>
                    <a:gd name="connsiteY247" fmla="*/ 130917 h 343079"/>
                    <a:gd name="connsiteX248" fmla="*/ 105392 w 189758"/>
                    <a:gd name="connsiteY248" fmla="*/ 128741 h 343079"/>
                    <a:gd name="connsiteX249" fmla="*/ 106004 w 189758"/>
                    <a:gd name="connsiteY249" fmla="*/ 126671 h 343079"/>
                    <a:gd name="connsiteX250" fmla="*/ 106443 w 189758"/>
                    <a:gd name="connsiteY250" fmla="*/ 122670 h 343079"/>
                    <a:gd name="connsiteX251" fmla="*/ 107226 w 189758"/>
                    <a:gd name="connsiteY251" fmla="*/ 118114 h 343079"/>
                    <a:gd name="connsiteX252" fmla="*/ 107715 w 189758"/>
                    <a:gd name="connsiteY252" fmla="*/ 114112 h 343079"/>
                    <a:gd name="connsiteX253" fmla="*/ 109051 w 189758"/>
                    <a:gd name="connsiteY253" fmla="*/ 110413 h 343079"/>
                    <a:gd name="connsiteX254" fmla="*/ 111285 w 189758"/>
                    <a:gd name="connsiteY254" fmla="*/ 108538 h 343079"/>
                    <a:gd name="connsiteX255" fmla="*/ 115148 w 189758"/>
                    <a:gd name="connsiteY255" fmla="*/ 106998 h 343079"/>
                    <a:gd name="connsiteX256" fmla="*/ 115734 w 189758"/>
                    <a:gd name="connsiteY256" fmla="*/ 106272 h 343079"/>
                    <a:gd name="connsiteX257" fmla="*/ 116297 w 189758"/>
                    <a:gd name="connsiteY257" fmla="*/ 103819 h 343079"/>
                    <a:gd name="connsiteX258" fmla="*/ 116729 w 189758"/>
                    <a:gd name="connsiteY258" fmla="*/ 98726 h 343079"/>
                    <a:gd name="connsiteX259" fmla="*/ 116843 w 189758"/>
                    <a:gd name="connsiteY259" fmla="*/ 95645 h 343079"/>
                    <a:gd name="connsiteX260" fmla="*/ 116998 w 189758"/>
                    <a:gd name="connsiteY260" fmla="*/ 94317 h 343079"/>
                    <a:gd name="connsiteX261" fmla="*/ 117495 w 189758"/>
                    <a:gd name="connsiteY261" fmla="*/ 92019 h 343079"/>
                    <a:gd name="connsiteX262" fmla="*/ 121089 w 189758"/>
                    <a:gd name="connsiteY262" fmla="*/ 87935 h 343079"/>
                    <a:gd name="connsiteX263" fmla="*/ 122670 w 189758"/>
                    <a:gd name="connsiteY263" fmla="*/ 81546 h 343079"/>
                    <a:gd name="connsiteX264" fmla="*/ 124079 w 189758"/>
                    <a:gd name="connsiteY264" fmla="*/ 74847 h 343079"/>
                    <a:gd name="connsiteX265" fmla="*/ 128163 w 189758"/>
                    <a:gd name="connsiteY265" fmla="*/ 66754 h 343079"/>
                    <a:gd name="connsiteX266" fmla="*/ 132930 w 189758"/>
                    <a:gd name="connsiteY266" fmla="*/ 58686 h 343079"/>
                    <a:gd name="connsiteX267" fmla="*/ 135147 w 189758"/>
                    <a:gd name="connsiteY267" fmla="*/ 56518 h 343079"/>
                    <a:gd name="connsiteX268" fmla="*/ 137005 w 189758"/>
                    <a:gd name="connsiteY268" fmla="*/ 55516 h 343079"/>
                    <a:gd name="connsiteX269" fmla="*/ 139157 w 189758"/>
                    <a:gd name="connsiteY269" fmla="*/ 55410 h 343079"/>
                    <a:gd name="connsiteX270" fmla="*/ 140624 w 189758"/>
                    <a:gd name="connsiteY270" fmla="*/ 54815 h 343079"/>
                    <a:gd name="connsiteX271" fmla="*/ 145750 w 189758"/>
                    <a:gd name="connsiteY271" fmla="*/ 50797 h 343079"/>
                    <a:gd name="connsiteX272" fmla="*/ 147901 w 189758"/>
                    <a:gd name="connsiteY272" fmla="*/ 49436 h 343079"/>
                    <a:gd name="connsiteX273" fmla="*/ 149491 w 189758"/>
                    <a:gd name="connsiteY273" fmla="*/ 48034 h 343079"/>
                    <a:gd name="connsiteX274" fmla="*/ 149882 w 189758"/>
                    <a:gd name="connsiteY274" fmla="*/ 46820 h 343079"/>
                    <a:gd name="connsiteX275" fmla="*/ 150037 w 189758"/>
                    <a:gd name="connsiteY275" fmla="*/ 45052 h 343079"/>
                    <a:gd name="connsiteX276" fmla="*/ 149547 w 189758"/>
                    <a:gd name="connsiteY276" fmla="*/ 40887 h 343079"/>
                    <a:gd name="connsiteX277" fmla="*/ 150420 w 189758"/>
                    <a:gd name="connsiteY277" fmla="*/ 37823 h 343079"/>
                    <a:gd name="connsiteX278" fmla="*/ 150933 w 189758"/>
                    <a:gd name="connsiteY278" fmla="*/ 33080 h 343079"/>
                    <a:gd name="connsiteX279" fmla="*/ 151161 w 189758"/>
                    <a:gd name="connsiteY279" fmla="*/ 29388 h 343079"/>
                    <a:gd name="connsiteX280" fmla="*/ 150982 w 189758"/>
                    <a:gd name="connsiteY280" fmla="*/ 28108 h 343079"/>
                    <a:gd name="connsiteX281" fmla="*/ 150167 w 189758"/>
                    <a:gd name="connsiteY281" fmla="*/ 26340 h 343079"/>
                    <a:gd name="connsiteX282" fmla="*/ 150012 w 189758"/>
                    <a:gd name="connsiteY282" fmla="*/ 25949 h 343079"/>
                    <a:gd name="connsiteX283" fmla="*/ 148480 w 189758"/>
                    <a:gd name="connsiteY283" fmla="*/ 23650 h 343079"/>
                    <a:gd name="connsiteX284" fmla="*/ 145913 w 189758"/>
                    <a:gd name="connsiteY284" fmla="*/ 22257 h 343079"/>
                    <a:gd name="connsiteX285" fmla="*/ 142368 w 189758"/>
                    <a:gd name="connsiteY285" fmla="*/ 21882 h 343079"/>
                    <a:gd name="connsiteX286" fmla="*/ 140501 w 189758"/>
                    <a:gd name="connsiteY286" fmla="*/ 21051 h 343079"/>
                    <a:gd name="connsiteX287" fmla="*/ 140192 w 189758"/>
                    <a:gd name="connsiteY287" fmla="*/ 19136 h 343079"/>
                    <a:gd name="connsiteX288" fmla="*/ 140004 w 189758"/>
                    <a:gd name="connsiteY288" fmla="*/ 18019 h 343079"/>
                    <a:gd name="connsiteX289" fmla="*/ 139825 w 189758"/>
                    <a:gd name="connsiteY289" fmla="*/ 16805 h 343079"/>
                    <a:gd name="connsiteX290" fmla="*/ 139572 w 189758"/>
                    <a:gd name="connsiteY290" fmla="*/ 14123 h 343079"/>
                    <a:gd name="connsiteX291" fmla="*/ 137185 w 189758"/>
                    <a:gd name="connsiteY291" fmla="*/ 0 h 343079"/>
                    <a:gd name="connsiteX292" fmla="*/ 141675 w 189758"/>
                    <a:gd name="connsiteY292" fmla="*/ 33 h 343079"/>
                    <a:gd name="connsiteX293" fmla="*/ 147054 w 189758"/>
                    <a:gd name="connsiteY293" fmla="*/ 1720 h 343079"/>
                    <a:gd name="connsiteX294" fmla="*/ 148398 w 189758"/>
                    <a:gd name="connsiteY294" fmla="*/ 2991 h 343079"/>
                    <a:gd name="connsiteX295" fmla="*/ 149116 w 189758"/>
                    <a:gd name="connsiteY295" fmla="*/ 7824 h 343079"/>
                    <a:gd name="connsiteX296" fmla="*/ 151056 w 189758"/>
                    <a:gd name="connsiteY296" fmla="*/ 10570 h 343079"/>
                    <a:gd name="connsiteX297" fmla="*/ 154486 w 189758"/>
                    <a:gd name="connsiteY297" fmla="*/ 12820 h 343079"/>
                    <a:gd name="connsiteX298" fmla="*/ 156613 w 189758"/>
                    <a:gd name="connsiteY298" fmla="*/ 17473 h 343079"/>
                    <a:gd name="connsiteX299" fmla="*/ 157445 w 189758"/>
                    <a:gd name="connsiteY299" fmla="*/ 24523 h 343079"/>
                    <a:gd name="connsiteX300" fmla="*/ 159336 w 189758"/>
                    <a:gd name="connsiteY300" fmla="*/ 28728 h 343079"/>
                    <a:gd name="connsiteX301" fmla="*/ 159759 w 189758"/>
                    <a:gd name="connsiteY301" fmla="*/ 29404 h 343079"/>
                    <a:gd name="connsiteX302" fmla="*/ 161894 w 189758"/>
                    <a:gd name="connsiteY302" fmla="*/ 35484 h 343079"/>
                    <a:gd name="connsiteX303" fmla="*/ 162424 w 189758"/>
                    <a:gd name="connsiteY303" fmla="*/ 37350 h 343079"/>
                    <a:gd name="connsiteX304" fmla="*/ 162587 w 189758"/>
                    <a:gd name="connsiteY304" fmla="*/ 41018 h 343079"/>
                    <a:gd name="connsiteX305" fmla="*/ 162335 w 189758"/>
                    <a:gd name="connsiteY305" fmla="*/ 43495 h 343079"/>
                    <a:gd name="connsiteX306" fmla="*/ 163435 w 189758"/>
                    <a:gd name="connsiteY306" fmla="*/ 46559 h 343079"/>
                    <a:gd name="connsiteX307" fmla="*/ 161788 w 189758"/>
                    <a:gd name="connsiteY307" fmla="*/ 51783 h 343079"/>
                    <a:gd name="connsiteX308" fmla="*/ 161291 w 189758"/>
                    <a:gd name="connsiteY308" fmla="*/ 54986 h 343079"/>
                    <a:gd name="connsiteX309" fmla="*/ 161145 w 189758"/>
                    <a:gd name="connsiteY309" fmla="*/ 59485 h 343079"/>
                    <a:gd name="connsiteX310" fmla="*/ 162106 w 189758"/>
                    <a:gd name="connsiteY310" fmla="*/ 67415 h 343079"/>
                    <a:gd name="connsiteX311" fmla="*/ 163679 w 189758"/>
                    <a:gd name="connsiteY311" fmla="*/ 73543 h 343079"/>
                    <a:gd name="connsiteX312" fmla="*/ 165391 w 189758"/>
                    <a:gd name="connsiteY312" fmla="*/ 78490 h 343079"/>
                    <a:gd name="connsiteX313" fmla="*/ 167249 w 189758"/>
                    <a:gd name="connsiteY313" fmla="*/ 82329 h 343079"/>
                    <a:gd name="connsiteX314" fmla="*/ 170330 w 189758"/>
                    <a:gd name="connsiteY314" fmla="*/ 86566 h 343079"/>
                    <a:gd name="connsiteX315" fmla="*/ 173598 w 189758"/>
                    <a:gd name="connsiteY315" fmla="*/ 90437 h 343079"/>
                    <a:gd name="connsiteX316" fmla="*/ 176645 w 189758"/>
                    <a:gd name="connsiteY316" fmla="*/ 92874 h 343079"/>
                    <a:gd name="connsiteX317" fmla="*/ 173834 w 189758"/>
                    <a:gd name="connsiteY317" fmla="*/ 94317 h 343079"/>
                    <a:gd name="connsiteX318" fmla="*/ 168349 w 189758"/>
                    <a:gd name="connsiteY318" fmla="*/ 94488 h 343079"/>
                    <a:gd name="connsiteX319" fmla="*/ 165195 w 189758"/>
                    <a:gd name="connsiteY319" fmla="*/ 93665 h 343079"/>
                    <a:gd name="connsiteX320" fmla="*/ 163696 w 189758"/>
                    <a:gd name="connsiteY320" fmla="*/ 93632 h 343079"/>
                    <a:gd name="connsiteX321" fmla="*/ 162180 w 189758"/>
                    <a:gd name="connsiteY321" fmla="*/ 94138 h 343079"/>
                    <a:gd name="connsiteX322" fmla="*/ 156336 w 189758"/>
                    <a:gd name="connsiteY322" fmla="*/ 94871 h 343079"/>
                    <a:gd name="connsiteX323" fmla="*/ 150428 w 189758"/>
                    <a:gd name="connsiteY323" fmla="*/ 94529 h 343079"/>
                    <a:gd name="connsiteX324" fmla="*/ 144959 w 189758"/>
                    <a:gd name="connsiteY324" fmla="*/ 93559 h 343079"/>
                    <a:gd name="connsiteX325" fmla="*/ 141634 w 189758"/>
                    <a:gd name="connsiteY325" fmla="*/ 93722 h 343079"/>
                    <a:gd name="connsiteX326" fmla="*/ 139075 w 189758"/>
                    <a:gd name="connsiteY326" fmla="*/ 96069 h 343079"/>
                    <a:gd name="connsiteX327" fmla="*/ 136989 w 189758"/>
                    <a:gd name="connsiteY327" fmla="*/ 99614 h 343079"/>
                    <a:gd name="connsiteX328" fmla="*/ 135041 w 189758"/>
                    <a:gd name="connsiteY328" fmla="*/ 102418 h 343079"/>
                    <a:gd name="connsiteX329" fmla="*/ 135726 w 189758"/>
                    <a:gd name="connsiteY329" fmla="*/ 105515 h 343079"/>
                    <a:gd name="connsiteX330" fmla="*/ 137192 w 189758"/>
                    <a:gd name="connsiteY330" fmla="*/ 107234 h 343079"/>
                    <a:gd name="connsiteX331" fmla="*/ 140012 w 189758"/>
                    <a:gd name="connsiteY331" fmla="*/ 111008 h 343079"/>
                    <a:gd name="connsiteX332" fmla="*/ 142555 w 189758"/>
                    <a:gd name="connsiteY332" fmla="*/ 114675 h 343079"/>
                    <a:gd name="connsiteX333" fmla="*/ 143843 w 189758"/>
                    <a:gd name="connsiteY333" fmla="*/ 117128 h 343079"/>
                    <a:gd name="connsiteX334" fmla="*/ 148904 w 189758"/>
                    <a:gd name="connsiteY334" fmla="*/ 122499 h 343079"/>
                    <a:gd name="connsiteX335" fmla="*/ 153785 w 189758"/>
                    <a:gd name="connsiteY335" fmla="*/ 127307 h 343079"/>
                    <a:gd name="connsiteX336" fmla="*/ 154731 w 189758"/>
                    <a:gd name="connsiteY336" fmla="*/ 128106 h 343079"/>
                    <a:gd name="connsiteX337" fmla="*/ 156100 w 189758"/>
                    <a:gd name="connsiteY337" fmla="*/ 128969 h 343079"/>
                    <a:gd name="connsiteX338" fmla="*/ 156956 w 189758"/>
                    <a:gd name="connsiteY338" fmla="*/ 129320 h 343079"/>
                    <a:gd name="connsiteX339" fmla="*/ 159613 w 189758"/>
                    <a:gd name="connsiteY339" fmla="*/ 132075 h 343079"/>
                    <a:gd name="connsiteX340" fmla="*/ 163288 w 189758"/>
                    <a:gd name="connsiteY340" fmla="*/ 136589 h 343079"/>
                    <a:gd name="connsiteX341" fmla="*/ 166670 w 189758"/>
                    <a:gd name="connsiteY341" fmla="*/ 143663 h 343079"/>
                    <a:gd name="connsiteX342" fmla="*/ 169066 w 189758"/>
                    <a:gd name="connsiteY342" fmla="*/ 150843 h 343079"/>
                    <a:gd name="connsiteX343" fmla="*/ 171397 w 189758"/>
                    <a:gd name="connsiteY343" fmla="*/ 157819 h 343079"/>
                    <a:gd name="connsiteX344" fmla="*/ 172424 w 189758"/>
                    <a:gd name="connsiteY344" fmla="*/ 158993 h 343079"/>
                    <a:gd name="connsiteX345" fmla="*/ 174037 w 189758"/>
                    <a:gd name="connsiteY345" fmla="*/ 159743 h 343079"/>
                    <a:gd name="connsiteX346" fmla="*/ 174233 w 189758"/>
                    <a:gd name="connsiteY346" fmla="*/ 161242 h 343079"/>
                    <a:gd name="connsiteX347" fmla="*/ 174111 w 189758"/>
                    <a:gd name="connsiteY347" fmla="*/ 163459 h 343079"/>
                    <a:gd name="connsiteX348" fmla="*/ 173614 w 189758"/>
                    <a:gd name="connsiteY348" fmla="*/ 165260 h 34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Lst>
                  <a:rect l="l" t="t" r="r" b="b"/>
                  <a:pathLst>
                    <a:path w="189758" h="343079">
                      <a:moveTo>
                        <a:pt x="172318" y="167689"/>
                      </a:moveTo>
                      <a:lnTo>
                        <a:pt x="169800" y="172660"/>
                      </a:lnTo>
                      <a:lnTo>
                        <a:pt x="166507" y="175505"/>
                      </a:lnTo>
                      <a:lnTo>
                        <a:pt x="165529" y="177232"/>
                      </a:lnTo>
                      <a:lnTo>
                        <a:pt x="165024" y="179384"/>
                      </a:lnTo>
                      <a:lnTo>
                        <a:pt x="164307" y="181519"/>
                      </a:lnTo>
                      <a:lnTo>
                        <a:pt x="162546" y="186140"/>
                      </a:lnTo>
                      <a:lnTo>
                        <a:pt x="161275" y="189913"/>
                      </a:lnTo>
                      <a:lnTo>
                        <a:pt x="159971" y="191087"/>
                      </a:lnTo>
                      <a:lnTo>
                        <a:pt x="156988" y="196775"/>
                      </a:lnTo>
                      <a:lnTo>
                        <a:pt x="154959" y="202488"/>
                      </a:lnTo>
                      <a:lnTo>
                        <a:pt x="154551" y="203971"/>
                      </a:lnTo>
                      <a:lnTo>
                        <a:pt x="153940" y="205063"/>
                      </a:lnTo>
                      <a:lnTo>
                        <a:pt x="152954" y="205952"/>
                      </a:lnTo>
                      <a:lnTo>
                        <a:pt x="149474" y="207728"/>
                      </a:lnTo>
                      <a:lnTo>
                        <a:pt x="148301" y="208609"/>
                      </a:lnTo>
                      <a:lnTo>
                        <a:pt x="147388" y="209660"/>
                      </a:lnTo>
                      <a:lnTo>
                        <a:pt x="146540" y="210858"/>
                      </a:lnTo>
                      <a:lnTo>
                        <a:pt x="146304" y="212309"/>
                      </a:lnTo>
                      <a:lnTo>
                        <a:pt x="147103" y="214346"/>
                      </a:lnTo>
                      <a:lnTo>
                        <a:pt x="148073" y="215960"/>
                      </a:lnTo>
                      <a:lnTo>
                        <a:pt x="149058" y="216057"/>
                      </a:lnTo>
                      <a:lnTo>
                        <a:pt x="149922" y="215984"/>
                      </a:lnTo>
                      <a:lnTo>
                        <a:pt x="150452" y="216946"/>
                      </a:lnTo>
                      <a:lnTo>
                        <a:pt x="150900" y="217516"/>
                      </a:lnTo>
                      <a:lnTo>
                        <a:pt x="150900" y="228608"/>
                      </a:lnTo>
                      <a:lnTo>
                        <a:pt x="150077" y="230287"/>
                      </a:lnTo>
                      <a:lnTo>
                        <a:pt x="150094" y="231029"/>
                      </a:lnTo>
                      <a:lnTo>
                        <a:pt x="149703" y="232944"/>
                      </a:lnTo>
                      <a:lnTo>
                        <a:pt x="149564" y="235079"/>
                      </a:lnTo>
                      <a:lnTo>
                        <a:pt x="149825" y="235927"/>
                      </a:lnTo>
                      <a:lnTo>
                        <a:pt x="150534" y="236611"/>
                      </a:lnTo>
                      <a:lnTo>
                        <a:pt x="151487" y="238103"/>
                      </a:lnTo>
                      <a:lnTo>
                        <a:pt x="152025" y="241509"/>
                      </a:lnTo>
                      <a:lnTo>
                        <a:pt x="153183" y="253505"/>
                      </a:lnTo>
                      <a:lnTo>
                        <a:pt x="153745" y="255396"/>
                      </a:lnTo>
                      <a:lnTo>
                        <a:pt x="154707" y="256725"/>
                      </a:lnTo>
                      <a:lnTo>
                        <a:pt x="157771" y="259308"/>
                      </a:lnTo>
                      <a:lnTo>
                        <a:pt x="160965" y="262715"/>
                      </a:lnTo>
                      <a:lnTo>
                        <a:pt x="161976" y="264915"/>
                      </a:lnTo>
                      <a:lnTo>
                        <a:pt x="162579" y="268542"/>
                      </a:lnTo>
                      <a:lnTo>
                        <a:pt x="163801" y="271386"/>
                      </a:lnTo>
                      <a:lnTo>
                        <a:pt x="163777" y="272356"/>
                      </a:lnTo>
                      <a:lnTo>
                        <a:pt x="163272" y="272723"/>
                      </a:lnTo>
                      <a:lnTo>
                        <a:pt x="162082" y="272772"/>
                      </a:lnTo>
                      <a:lnTo>
                        <a:pt x="161275" y="272967"/>
                      </a:lnTo>
                      <a:lnTo>
                        <a:pt x="161952" y="275045"/>
                      </a:lnTo>
                      <a:lnTo>
                        <a:pt x="163606" y="278647"/>
                      </a:lnTo>
                      <a:lnTo>
                        <a:pt x="166361" y="282388"/>
                      </a:lnTo>
                      <a:lnTo>
                        <a:pt x="169343" y="286430"/>
                      </a:lnTo>
                      <a:lnTo>
                        <a:pt x="171780" y="289739"/>
                      </a:lnTo>
                      <a:lnTo>
                        <a:pt x="174820" y="293553"/>
                      </a:lnTo>
                      <a:lnTo>
                        <a:pt x="177192" y="296544"/>
                      </a:lnTo>
                      <a:lnTo>
                        <a:pt x="179628" y="299617"/>
                      </a:lnTo>
                      <a:lnTo>
                        <a:pt x="181478" y="300342"/>
                      </a:lnTo>
                      <a:lnTo>
                        <a:pt x="182847" y="300554"/>
                      </a:lnTo>
                      <a:lnTo>
                        <a:pt x="183443" y="301157"/>
                      </a:lnTo>
                      <a:lnTo>
                        <a:pt x="184168" y="302567"/>
                      </a:lnTo>
                      <a:lnTo>
                        <a:pt x="185414" y="304123"/>
                      </a:lnTo>
                      <a:lnTo>
                        <a:pt x="186784" y="306169"/>
                      </a:lnTo>
                      <a:lnTo>
                        <a:pt x="187256" y="308247"/>
                      </a:lnTo>
                      <a:lnTo>
                        <a:pt x="186678" y="310228"/>
                      </a:lnTo>
                      <a:lnTo>
                        <a:pt x="187248" y="313064"/>
                      </a:lnTo>
                      <a:lnTo>
                        <a:pt x="187273" y="313308"/>
                      </a:lnTo>
                      <a:lnTo>
                        <a:pt x="187737" y="314433"/>
                      </a:lnTo>
                      <a:lnTo>
                        <a:pt x="187583" y="315427"/>
                      </a:lnTo>
                      <a:lnTo>
                        <a:pt x="187860" y="319201"/>
                      </a:lnTo>
                      <a:lnTo>
                        <a:pt x="188576" y="322485"/>
                      </a:lnTo>
                      <a:lnTo>
                        <a:pt x="189758" y="325288"/>
                      </a:lnTo>
                      <a:lnTo>
                        <a:pt x="189742" y="325516"/>
                      </a:lnTo>
                      <a:lnTo>
                        <a:pt x="189579" y="327252"/>
                      </a:lnTo>
                      <a:lnTo>
                        <a:pt x="188080" y="328353"/>
                      </a:lnTo>
                      <a:lnTo>
                        <a:pt x="187200" y="330178"/>
                      </a:lnTo>
                      <a:lnTo>
                        <a:pt x="186931" y="332729"/>
                      </a:lnTo>
                      <a:lnTo>
                        <a:pt x="187395" y="335826"/>
                      </a:lnTo>
                      <a:lnTo>
                        <a:pt x="188552" y="339493"/>
                      </a:lnTo>
                      <a:lnTo>
                        <a:pt x="188576" y="341637"/>
                      </a:lnTo>
                      <a:lnTo>
                        <a:pt x="188169" y="341938"/>
                      </a:lnTo>
                      <a:lnTo>
                        <a:pt x="187444" y="342623"/>
                      </a:lnTo>
                      <a:lnTo>
                        <a:pt x="186686" y="343079"/>
                      </a:lnTo>
                      <a:lnTo>
                        <a:pt x="184600" y="340569"/>
                      </a:lnTo>
                      <a:lnTo>
                        <a:pt x="182285" y="338874"/>
                      </a:lnTo>
                      <a:lnTo>
                        <a:pt x="178805" y="335924"/>
                      </a:lnTo>
                      <a:lnTo>
                        <a:pt x="175301" y="334864"/>
                      </a:lnTo>
                      <a:lnTo>
                        <a:pt x="170761" y="334677"/>
                      </a:lnTo>
                      <a:lnTo>
                        <a:pt x="168806" y="335035"/>
                      </a:lnTo>
                      <a:lnTo>
                        <a:pt x="167404" y="333927"/>
                      </a:lnTo>
                      <a:lnTo>
                        <a:pt x="165448" y="332648"/>
                      </a:lnTo>
                      <a:lnTo>
                        <a:pt x="164372" y="332313"/>
                      </a:lnTo>
                      <a:lnTo>
                        <a:pt x="162881" y="333308"/>
                      </a:lnTo>
                      <a:lnTo>
                        <a:pt x="161846" y="333357"/>
                      </a:lnTo>
                      <a:lnTo>
                        <a:pt x="160574" y="332974"/>
                      </a:lnTo>
                      <a:lnTo>
                        <a:pt x="157983" y="333014"/>
                      </a:lnTo>
                      <a:lnTo>
                        <a:pt x="157746" y="331303"/>
                      </a:lnTo>
                      <a:lnTo>
                        <a:pt x="157306" y="330969"/>
                      </a:lnTo>
                      <a:lnTo>
                        <a:pt x="154519" y="331132"/>
                      </a:lnTo>
                      <a:lnTo>
                        <a:pt x="153672" y="329714"/>
                      </a:lnTo>
                      <a:lnTo>
                        <a:pt x="153296" y="329868"/>
                      </a:lnTo>
                      <a:lnTo>
                        <a:pt x="152205" y="329428"/>
                      </a:lnTo>
                      <a:lnTo>
                        <a:pt x="149963" y="327415"/>
                      </a:lnTo>
                      <a:lnTo>
                        <a:pt x="147616" y="328744"/>
                      </a:lnTo>
                      <a:lnTo>
                        <a:pt x="142726" y="328573"/>
                      </a:lnTo>
                      <a:lnTo>
                        <a:pt x="136459" y="328622"/>
                      </a:lnTo>
                      <a:lnTo>
                        <a:pt x="129972" y="328662"/>
                      </a:lnTo>
                      <a:lnTo>
                        <a:pt x="124031" y="328605"/>
                      </a:lnTo>
                      <a:lnTo>
                        <a:pt x="118082" y="328540"/>
                      </a:lnTo>
                      <a:lnTo>
                        <a:pt x="117495" y="326666"/>
                      </a:lnTo>
                      <a:lnTo>
                        <a:pt x="116264" y="325696"/>
                      </a:lnTo>
                      <a:lnTo>
                        <a:pt x="114048" y="325606"/>
                      </a:lnTo>
                      <a:lnTo>
                        <a:pt x="107519" y="325989"/>
                      </a:lnTo>
                      <a:lnTo>
                        <a:pt x="102515" y="325688"/>
                      </a:lnTo>
                      <a:lnTo>
                        <a:pt x="100918" y="325443"/>
                      </a:lnTo>
                      <a:lnTo>
                        <a:pt x="99141" y="324954"/>
                      </a:lnTo>
                      <a:lnTo>
                        <a:pt x="94969" y="324514"/>
                      </a:lnTo>
                      <a:lnTo>
                        <a:pt x="89802" y="324865"/>
                      </a:lnTo>
                      <a:lnTo>
                        <a:pt x="88628" y="324767"/>
                      </a:lnTo>
                      <a:lnTo>
                        <a:pt x="84505" y="324840"/>
                      </a:lnTo>
                      <a:lnTo>
                        <a:pt x="75059" y="324335"/>
                      </a:lnTo>
                      <a:lnTo>
                        <a:pt x="69835" y="324400"/>
                      </a:lnTo>
                      <a:lnTo>
                        <a:pt x="69966" y="325549"/>
                      </a:lnTo>
                      <a:lnTo>
                        <a:pt x="69623" y="326372"/>
                      </a:lnTo>
                      <a:lnTo>
                        <a:pt x="69338" y="328361"/>
                      </a:lnTo>
                      <a:lnTo>
                        <a:pt x="63584" y="328361"/>
                      </a:lnTo>
                      <a:lnTo>
                        <a:pt x="56013" y="328361"/>
                      </a:lnTo>
                      <a:lnTo>
                        <a:pt x="48858" y="328361"/>
                      </a:lnTo>
                      <a:lnTo>
                        <a:pt x="44017" y="328353"/>
                      </a:lnTo>
                      <a:lnTo>
                        <a:pt x="35908" y="328353"/>
                      </a:lnTo>
                      <a:lnTo>
                        <a:pt x="33169" y="326992"/>
                      </a:lnTo>
                      <a:lnTo>
                        <a:pt x="32346" y="326120"/>
                      </a:lnTo>
                      <a:lnTo>
                        <a:pt x="32192" y="325125"/>
                      </a:lnTo>
                      <a:lnTo>
                        <a:pt x="32094" y="324457"/>
                      </a:lnTo>
                      <a:lnTo>
                        <a:pt x="31458" y="324253"/>
                      </a:lnTo>
                      <a:lnTo>
                        <a:pt x="31971" y="317228"/>
                      </a:lnTo>
                      <a:lnTo>
                        <a:pt x="33121" y="311369"/>
                      </a:lnTo>
                      <a:lnTo>
                        <a:pt x="33560" y="305925"/>
                      </a:lnTo>
                      <a:lnTo>
                        <a:pt x="35109" y="301059"/>
                      </a:lnTo>
                      <a:lnTo>
                        <a:pt x="34286" y="296243"/>
                      </a:lnTo>
                      <a:lnTo>
                        <a:pt x="33324" y="294148"/>
                      </a:lnTo>
                      <a:lnTo>
                        <a:pt x="28263" y="287319"/>
                      </a:lnTo>
                      <a:lnTo>
                        <a:pt x="30586" y="284735"/>
                      </a:lnTo>
                      <a:lnTo>
                        <a:pt x="27522" y="285094"/>
                      </a:lnTo>
                      <a:lnTo>
                        <a:pt x="26862" y="282559"/>
                      </a:lnTo>
                      <a:lnTo>
                        <a:pt x="25386" y="279511"/>
                      </a:lnTo>
                      <a:lnTo>
                        <a:pt x="26299" y="279022"/>
                      </a:lnTo>
                      <a:lnTo>
                        <a:pt x="27171" y="277360"/>
                      </a:lnTo>
                      <a:lnTo>
                        <a:pt x="29942" y="277873"/>
                      </a:lnTo>
                      <a:lnTo>
                        <a:pt x="29853" y="277050"/>
                      </a:lnTo>
                      <a:lnTo>
                        <a:pt x="27473" y="274499"/>
                      </a:lnTo>
                      <a:lnTo>
                        <a:pt x="27693" y="273212"/>
                      </a:lnTo>
                      <a:lnTo>
                        <a:pt x="28671" y="271769"/>
                      </a:lnTo>
                      <a:lnTo>
                        <a:pt x="28198" y="271166"/>
                      </a:lnTo>
                      <a:lnTo>
                        <a:pt x="26487" y="272657"/>
                      </a:lnTo>
                      <a:lnTo>
                        <a:pt x="25248" y="272608"/>
                      </a:lnTo>
                      <a:lnTo>
                        <a:pt x="24286" y="271639"/>
                      </a:lnTo>
                      <a:lnTo>
                        <a:pt x="23585" y="271476"/>
                      </a:lnTo>
                      <a:lnTo>
                        <a:pt x="24017" y="273440"/>
                      </a:lnTo>
                      <a:lnTo>
                        <a:pt x="23055" y="275184"/>
                      </a:lnTo>
                      <a:lnTo>
                        <a:pt x="22135" y="275787"/>
                      </a:lnTo>
                      <a:lnTo>
                        <a:pt x="20578" y="275681"/>
                      </a:lnTo>
                      <a:lnTo>
                        <a:pt x="19315" y="275241"/>
                      </a:lnTo>
                      <a:lnTo>
                        <a:pt x="18973" y="274271"/>
                      </a:lnTo>
                      <a:lnTo>
                        <a:pt x="17766" y="273521"/>
                      </a:lnTo>
                      <a:lnTo>
                        <a:pt x="14425" y="272234"/>
                      </a:lnTo>
                      <a:lnTo>
                        <a:pt x="11597" y="270718"/>
                      </a:lnTo>
                      <a:lnTo>
                        <a:pt x="11027" y="266553"/>
                      </a:lnTo>
                      <a:lnTo>
                        <a:pt x="9910" y="264760"/>
                      </a:lnTo>
                      <a:lnTo>
                        <a:pt x="9454" y="262731"/>
                      </a:lnTo>
                      <a:lnTo>
                        <a:pt x="9176" y="260408"/>
                      </a:lnTo>
                      <a:lnTo>
                        <a:pt x="9559" y="256855"/>
                      </a:lnTo>
                      <a:lnTo>
                        <a:pt x="8851" y="256293"/>
                      </a:lnTo>
                      <a:lnTo>
                        <a:pt x="8036" y="256097"/>
                      </a:lnTo>
                      <a:lnTo>
                        <a:pt x="6805" y="256268"/>
                      </a:lnTo>
                      <a:lnTo>
                        <a:pt x="5688" y="256064"/>
                      </a:lnTo>
                      <a:lnTo>
                        <a:pt x="4352" y="254100"/>
                      </a:lnTo>
                      <a:lnTo>
                        <a:pt x="3170" y="253343"/>
                      </a:lnTo>
                      <a:lnTo>
                        <a:pt x="3896" y="256969"/>
                      </a:lnTo>
                      <a:lnTo>
                        <a:pt x="3064" y="257980"/>
                      </a:lnTo>
                      <a:lnTo>
                        <a:pt x="1035" y="257678"/>
                      </a:lnTo>
                      <a:lnTo>
                        <a:pt x="171" y="256317"/>
                      </a:lnTo>
                      <a:lnTo>
                        <a:pt x="0" y="255298"/>
                      </a:lnTo>
                      <a:lnTo>
                        <a:pt x="946" y="250906"/>
                      </a:lnTo>
                      <a:lnTo>
                        <a:pt x="578" y="250816"/>
                      </a:lnTo>
                      <a:lnTo>
                        <a:pt x="1304" y="248485"/>
                      </a:lnTo>
                      <a:lnTo>
                        <a:pt x="2690" y="245665"/>
                      </a:lnTo>
                      <a:lnTo>
                        <a:pt x="4539" y="242072"/>
                      </a:lnTo>
                      <a:lnTo>
                        <a:pt x="6658" y="237556"/>
                      </a:lnTo>
                      <a:lnTo>
                        <a:pt x="8101" y="229562"/>
                      </a:lnTo>
                      <a:lnTo>
                        <a:pt x="9087" y="224582"/>
                      </a:lnTo>
                      <a:lnTo>
                        <a:pt x="9975" y="220035"/>
                      </a:lnTo>
                      <a:lnTo>
                        <a:pt x="11524" y="215935"/>
                      </a:lnTo>
                      <a:lnTo>
                        <a:pt x="13089" y="213189"/>
                      </a:lnTo>
                      <a:lnTo>
                        <a:pt x="17514" y="207875"/>
                      </a:lnTo>
                      <a:lnTo>
                        <a:pt x="20855" y="203865"/>
                      </a:lnTo>
                      <a:lnTo>
                        <a:pt x="22559" y="202252"/>
                      </a:lnTo>
                      <a:lnTo>
                        <a:pt x="23756" y="200899"/>
                      </a:lnTo>
                      <a:lnTo>
                        <a:pt x="25835" y="199342"/>
                      </a:lnTo>
                      <a:lnTo>
                        <a:pt x="27962" y="197492"/>
                      </a:lnTo>
                      <a:lnTo>
                        <a:pt x="29584" y="193939"/>
                      </a:lnTo>
                      <a:lnTo>
                        <a:pt x="30937" y="190639"/>
                      </a:lnTo>
                      <a:lnTo>
                        <a:pt x="31947" y="189921"/>
                      </a:lnTo>
                      <a:lnTo>
                        <a:pt x="33275" y="189343"/>
                      </a:lnTo>
                      <a:lnTo>
                        <a:pt x="37358" y="185789"/>
                      </a:lnTo>
                      <a:lnTo>
                        <a:pt x="39958" y="183540"/>
                      </a:lnTo>
                      <a:lnTo>
                        <a:pt x="40561" y="184657"/>
                      </a:lnTo>
                      <a:lnTo>
                        <a:pt x="41001" y="186050"/>
                      </a:lnTo>
                      <a:lnTo>
                        <a:pt x="41490" y="186694"/>
                      </a:lnTo>
                      <a:lnTo>
                        <a:pt x="43667" y="187134"/>
                      </a:lnTo>
                      <a:lnTo>
                        <a:pt x="46641" y="187110"/>
                      </a:lnTo>
                      <a:lnTo>
                        <a:pt x="48352" y="186702"/>
                      </a:lnTo>
                      <a:lnTo>
                        <a:pt x="49265" y="185521"/>
                      </a:lnTo>
                      <a:lnTo>
                        <a:pt x="50194" y="182301"/>
                      </a:lnTo>
                      <a:lnTo>
                        <a:pt x="50732" y="181698"/>
                      </a:lnTo>
                      <a:lnTo>
                        <a:pt x="51433" y="181535"/>
                      </a:lnTo>
                      <a:lnTo>
                        <a:pt x="54685" y="183785"/>
                      </a:lnTo>
                      <a:lnTo>
                        <a:pt x="57390" y="186987"/>
                      </a:lnTo>
                      <a:lnTo>
                        <a:pt x="60072" y="190141"/>
                      </a:lnTo>
                      <a:lnTo>
                        <a:pt x="61416" y="191266"/>
                      </a:lnTo>
                      <a:lnTo>
                        <a:pt x="62011" y="192505"/>
                      </a:lnTo>
                      <a:lnTo>
                        <a:pt x="63168" y="198283"/>
                      </a:lnTo>
                      <a:lnTo>
                        <a:pt x="63837" y="199717"/>
                      </a:lnTo>
                      <a:lnTo>
                        <a:pt x="65002" y="200312"/>
                      </a:lnTo>
                      <a:lnTo>
                        <a:pt x="67081" y="199937"/>
                      </a:lnTo>
                      <a:lnTo>
                        <a:pt x="69256" y="198910"/>
                      </a:lnTo>
                      <a:lnTo>
                        <a:pt x="71163" y="197435"/>
                      </a:lnTo>
                      <a:lnTo>
                        <a:pt x="73038" y="195528"/>
                      </a:lnTo>
                      <a:lnTo>
                        <a:pt x="74318" y="193792"/>
                      </a:lnTo>
                      <a:lnTo>
                        <a:pt x="74880" y="192529"/>
                      </a:lnTo>
                      <a:lnTo>
                        <a:pt x="75157" y="187794"/>
                      </a:lnTo>
                      <a:lnTo>
                        <a:pt x="75589" y="186767"/>
                      </a:lnTo>
                      <a:lnTo>
                        <a:pt x="77504" y="184885"/>
                      </a:lnTo>
                      <a:lnTo>
                        <a:pt x="80723" y="181739"/>
                      </a:lnTo>
                      <a:lnTo>
                        <a:pt x="82565" y="179930"/>
                      </a:lnTo>
                      <a:lnTo>
                        <a:pt x="82402" y="179278"/>
                      </a:lnTo>
                      <a:lnTo>
                        <a:pt x="81245" y="177363"/>
                      </a:lnTo>
                      <a:lnTo>
                        <a:pt x="80226" y="175244"/>
                      </a:lnTo>
                      <a:lnTo>
                        <a:pt x="81261" y="173059"/>
                      </a:lnTo>
                      <a:lnTo>
                        <a:pt x="82337" y="171389"/>
                      </a:lnTo>
                      <a:lnTo>
                        <a:pt x="86387" y="165700"/>
                      </a:lnTo>
                      <a:lnTo>
                        <a:pt x="86403" y="163826"/>
                      </a:lnTo>
                      <a:lnTo>
                        <a:pt x="86624" y="161552"/>
                      </a:lnTo>
                      <a:lnTo>
                        <a:pt x="89867" y="155098"/>
                      </a:lnTo>
                      <a:lnTo>
                        <a:pt x="91725" y="146516"/>
                      </a:lnTo>
                      <a:lnTo>
                        <a:pt x="91790" y="144870"/>
                      </a:lnTo>
                      <a:lnTo>
                        <a:pt x="93722" y="140730"/>
                      </a:lnTo>
                      <a:lnTo>
                        <a:pt x="96004" y="135432"/>
                      </a:lnTo>
                      <a:lnTo>
                        <a:pt x="100454" y="134577"/>
                      </a:lnTo>
                      <a:lnTo>
                        <a:pt x="102157" y="133264"/>
                      </a:lnTo>
                      <a:lnTo>
                        <a:pt x="104137" y="130917"/>
                      </a:lnTo>
                      <a:lnTo>
                        <a:pt x="105392" y="128741"/>
                      </a:lnTo>
                      <a:lnTo>
                        <a:pt x="106004" y="126671"/>
                      </a:lnTo>
                      <a:lnTo>
                        <a:pt x="106443" y="122670"/>
                      </a:lnTo>
                      <a:lnTo>
                        <a:pt x="107226" y="118114"/>
                      </a:lnTo>
                      <a:lnTo>
                        <a:pt x="107715" y="114112"/>
                      </a:lnTo>
                      <a:lnTo>
                        <a:pt x="109051" y="110413"/>
                      </a:lnTo>
                      <a:lnTo>
                        <a:pt x="111285" y="108538"/>
                      </a:lnTo>
                      <a:lnTo>
                        <a:pt x="115148" y="106998"/>
                      </a:lnTo>
                      <a:lnTo>
                        <a:pt x="115734" y="106272"/>
                      </a:lnTo>
                      <a:lnTo>
                        <a:pt x="116297" y="103819"/>
                      </a:lnTo>
                      <a:lnTo>
                        <a:pt x="116729" y="98726"/>
                      </a:lnTo>
                      <a:lnTo>
                        <a:pt x="116843" y="95645"/>
                      </a:lnTo>
                      <a:lnTo>
                        <a:pt x="116998" y="94317"/>
                      </a:lnTo>
                      <a:lnTo>
                        <a:pt x="117495" y="92019"/>
                      </a:lnTo>
                      <a:lnTo>
                        <a:pt x="121089" y="87935"/>
                      </a:lnTo>
                      <a:lnTo>
                        <a:pt x="122670" y="81546"/>
                      </a:lnTo>
                      <a:lnTo>
                        <a:pt x="124079" y="74847"/>
                      </a:lnTo>
                      <a:lnTo>
                        <a:pt x="128163" y="66754"/>
                      </a:lnTo>
                      <a:lnTo>
                        <a:pt x="132930" y="58686"/>
                      </a:lnTo>
                      <a:lnTo>
                        <a:pt x="135147" y="56518"/>
                      </a:lnTo>
                      <a:lnTo>
                        <a:pt x="137005" y="55516"/>
                      </a:lnTo>
                      <a:lnTo>
                        <a:pt x="139157" y="55410"/>
                      </a:lnTo>
                      <a:lnTo>
                        <a:pt x="140624" y="54815"/>
                      </a:lnTo>
                      <a:lnTo>
                        <a:pt x="145750" y="50797"/>
                      </a:lnTo>
                      <a:lnTo>
                        <a:pt x="147901" y="49436"/>
                      </a:lnTo>
                      <a:lnTo>
                        <a:pt x="149491" y="48034"/>
                      </a:lnTo>
                      <a:lnTo>
                        <a:pt x="149882" y="46820"/>
                      </a:lnTo>
                      <a:lnTo>
                        <a:pt x="150037" y="45052"/>
                      </a:lnTo>
                      <a:lnTo>
                        <a:pt x="149547" y="40887"/>
                      </a:lnTo>
                      <a:lnTo>
                        <a:pt x="150420" y="37823"/>
                      </a:lnTo>
                      <a:lnTo>
                        <a:pt x="150933" y="33080"/>
                      </a:lnTo>
                      <a:lnTo>
                        <a:pt x="151161" y="29388"/>
                      </a:lnTo>
                      <a:lnTo>
                        <a:pt x="150982" y="28108"/>
                      </a:lnTo>
                      <a:lnTo>
                        <a:pt x="150167" y="26340"/>
                      </a:lnTo>
                      <a:lnTo>
                        <a:pt x="150012" y="25949"/>
                      </a:lnTo>
                      <a:lnTo>
                        <a:pt x="148480" y="23650"/>
                      </a:lnTo>
                      <a:lnTo>
                        <a:pt x="145913" y="22257"/>
                      </a:lnTo>
                      <a:lnTo>
                        <a:pt x="142368" y="21882"/>
                      </a:lnTo>
                      <a:lnTo>
                        <a:pt x="140501" y="21051"/>
                      </a:lnTo>
                      <a:lnTo>
                        <a:pt x="140192" y="19136"/>
                      </a:lnTo>
                      <a:lnTo>
                        <a:pt x="140004" y="18019"/>
                      </a:lnTo>
                      <a:lnTo>
                        <a:pt x="139825" y="16805"/>
                      </a:lnTo>
                      <a:lnTo>
                        <a:pt x="139572" y="14123"/>
                      </a:lnTo>
                      <a:lnTo>
                        <a:pt x="137185" y="0"/>
                      </a:lnTo>
                      <a:lnTo>
                        <a:pt x="141675" y="33"/>
                      </a:lnTo>
                      <a:lnTo>
                        <a:pt x="147054" y="1720"/>
                      </a:lnTo>
                      <a:lnTo>
                        <a:pt x="148398" y="2991"/>
                      </a:lnTo>
                      <a:lnTo>
                        <a:pt x="149116" y="7824"/>
                      </a:lnTo>
                      <a:lnTo>
                        <a:pt x="151056" y="10570"/>
                      </a:lnTo>
                      <a:lnTo>
                        <a:pt x="154486" y="12820"/>
                      </a:lnTo>
                      <a:lnTo>
                        <a:pt x="156613" y="17473"/>
                      </a:lnTo>
                      <a:lnTo>
                        <a:pt x="157445" y="24523"/>
                      </a:lnTo>
                      <a:lnTo>
                        <a:pt x="159336" y="28728"/>
                      </a:lnTo>
                      <a:lnTo>
                        <a:pt x="159759" y="29404"/>
                      </a:lnTo>
                      <a:lnTo>
                        <a:pt x="161894" y="35484"/>
                      </a:lnTo>
                      <a:lnTo>
                        <a:pt x="162424" y="37350"/>
                      </a:lnTo>
                      <a:lnTo>
                        <a:pt x="162587" y="41018"/>
                      </a:lnTo>
                      <a:lnTo>
                        <a:pt x="162335" y="43495"/>
                      </a:lnTo>
                      <a:lnTo>
                        <a:pt x="163435" y="46559"/>
                      </a:lnTo>
                      <a:lnTo>
                        <a:pt x="161788" y="51783"/>
                      </a:lnTo>
                      <a:lnTo>
                        <a:pt x="161291" y="54986"/>
                      </a:lnTo>
                      <a:lnTo>
                        <a:pt x="161145" y="59485"/>
                      </a:lnTo>
                      <a:lnTo>
                        <a:pt x="162106" y="67415"/>
                      </a:lnTo>
                      <a:lnTo>
                        <a:pt x="163679" y="73543"/>
                      </a:lnTo>
                      <a:lnTo>
                        <a:pt x="165391" y="78490"/>
                      </a:lnTo>
                      <a:lnTo>
                        <a:pt x="167249" y="82329"/>
                      </a:lnTo>
                      <a:lnTo>
                        <a:pt x="170330" y="86566"/>
                      </a:lnTo>
                      <a:lnTo>
                        <a:pt x="173598" y="90437"/>
                      </a:lnTo>
                      <a:lnTo>
                        <a:pt x="176645" y="92874"/>
                      </a:lnTo>
                      <a:lnTo>
                        <a:pt x="173834" y="94317"/>
                      </a:lnTo>
                      <a:lnTo>
                        <a:pt x="168349" y="94488"/>
                      </a:lnTo>
                      <a:lnTo>
                        <a:pt x="165195" y="93665"/>
                      </a:lnTo>
                      <a:lnTo>
                        <a:pt x="163696" y="93632"/>
                      </a:lnTo>
                      <a:lnTo>
                        <a:pt x="162180" y="94138"/>
                      </a:lnTo>
                      <a:lnTo>
                        <a:pt x="156336" y="94871"/>
                      </a:lnTo>
                      <a:lnTo>
                        <a:pt x="150428" y="94529"/>
                      </a:lnTo>
                      <a:lnTo>
                        <a:pt x="144959" y="93559"/>
                      </a:lnTo>
                      <a:lnTo>
                        <a:pt x="141634" y="93722"/>
                      </a:lnTo>
                      <a:lnTo>
                        <a:pt x="139075" y="96069"/>
                      </a:lnTo>
                      <a:lnTo>
                        <a:pt x="136989" y="99614"/>
                      </a:lnTo>
                      <a:lnTo>
                        <a:pt x="135041" y="102418"/>
                      </a:lnTo>
                      <a:lnTo>
                        <a:pt x="135726" y="105515"/>
                      </a:lnTo>
                      <a:lnTo>
                        <a:pt x="137192" y="107234"/>
                      </a:lnTo>
                      <a:lnTo>
                        <a:pt x="140012" y="111008"/>
                      </a:lnTo>
                      <a:lnTo>
                        <a:pt x="142555" y="114675"/>
                      </a:lnTo>
                      <a:lnTo>
                        <a:pt x="143843" y="117128"/>
                      </a:lnTo>
                      <a:lnTo>
                        <a:pt x="148904" y="122499"/>
                      </a:lnTo>
                      <a:lnTo>
                        <a:pt x="153785" y="127307"/>
                      </a:lnTo>
                      <a:lnTo>
                        <a:pt x="154731" y="128106"/>
                      </a:lnTo>
                      <a:lnTo>
                        <a:pt x="156100" y="128969"/>
                      </a:lnTo>
                      <a:lnTo>
                        <a:pt x="156956" y="129320"/>
                      </a:lnTo>
                      <a:lnTo>
                        <a:pt x="159613" y="132075"/>
                      </a:lnTo>
                      <a:lnTo>
                        <a:pt x="163288" y="136589"/>
                      </a:lnTo>
                      <a:lnTo>
                        <a:pt x="166670" y="143663"/>
                      </a:lnTo>
                      <a:lnTo>
                        <a:pt x="169066" y="150843"/>
                      </a:lnTo>
                      <a:lnTo>
                        <a:pt x="171397" y="157819"/>
                      </a:lnTo>
                      <a:lnTo>
                        <a:pt x="172424" y="158993"/>
                      </a:lnTo>
                      <a:lnTo>
                        <a:pt x="174037" y="159743"/>
                      </a:lnTo>
                      <a:lnTo>
                        <a:pt x="174233" y="161242"/>
                      </a:lnTo>
                      <a:lnTo>
                        <a:pt x="174111" y="163459"/>
                      </a:lnTo>
                      <a:lnTo>
                        <a:pt x="173614" y="165260"/>
                      </a:lnTo>
                      <a:close/>
                    </a:path>
                  </a:pathLst>
                </a:custGeom>
                <a:solidFill>
                  <a:srgbClr val="D6D6D2"/>
                </a:solidFill>
                <a:ln w="6112" cap="rnd">
                  <a:solidFill>
                    <a:srgbClr val="FFFFFF"/>
                  </a:solidFill>
                  <a:prstDash val="solid"/>
                  <a:round/>
                </a:ln>
              </p:spPr>
              <p:txBody>
                <a:bodyPr rtlCol="0" anchor="ctr"/>
                <a:lstStyle/>
                <a:p>
                  <a:endParaRPr lang="en-US"/>
                </a:p>
              </p:txBody>
            </p:sp>
            <p:sp>
              <p:nvSpPr>
                <p:cNvPr id="759" name="Freeform: Shape 758">
                  <a:extLst>
                    <a:ext uri="{FF2B5EF4-FFF2-40B4-BE49-F238E27FC236}">
                      <a16:creationId xmlns:a16="http://schemas.microsoft.com/office/drawing/2014/main" id="{3846C027-9704-46CF-BC32-F2C9DE1681E4}"/>
                    </a:ext>
                  </a:extLst>
                </p:cNvPr>
                <p:cNvSpPr/>
                <p:nvPr/>
              </p:nvSpPr>
              <p:spPr>
                <a:xfrm>
                  <a:off x="5730297" y="4202501"/>
                  <a:ext cx="151193" cy="191665"/>
                </a:xfrm>
                <a:custGeom>
                  <a:avLst/>
                  <a:gdLst>
                    <a:gd name="connsiteX0" fmla="*/ 58800 w 151193"/>
                    <a:gd name="connsiteY0" fmla="*/ 3822 h 191665"/>
                    <a:gd name="connsiteX1" fmla="*/ 58572 w 151193"/>
                    <a:gd name="connsiteY1" fmla="*/ 5012 h 191665"/>
                    <a:gd name="connsiteX2" fmla="*/ 59118 w 151193"/>
                    <a:gd name="connsiteY2" fmla="*/ 7481 h 191665"/>
                    <a:gd name="connsiteX3" fmla="*/ 59794 w 151193"/>
                    <a:gd name="connsiteY3" fmla="*/ 9780 h 191665"/>
                    <a:gd name="connsiteX4" fmla="*/ 59746 w 151193"/>
                    <a:gd name="connsiteY4" fmla="*/ 10709 h 191665"/>
                    <a:gd name="connsiteX5" fmla="*/ 59192 w 151193"/>
                    <a:gd name="connsiteY5" fmla="*/ 12127 h 191665"/>
                    <a:gd name="connsiteX6" fmla="*/ 58539 w 151193"/>
                    <a:gd name="connsiteY6" fmla="*/ 13431 h 191665"/>
                    <a:gd name="connsiteX7" fmla="*/ 58613 w 151193"/>
                    <a:gd name="connsiteY7" fmla="*/ 13961 h 191665"/>
                    <a:gd name="connsiteX8" fmla="*/ 59640 w 151193"/>
                    <a:gd name="connsiteY8" fmla="*/ 14849 h 191665"/>
                    <a:gd name="connsiteX9" fmla="*/ 61620 w 151193"/>
                    <a:gd name="connsiteY9" fmla="*/ 15762 h 191665"/>
                    <a:gd name="connsiteX10" fmla="*/ 63666 w 151193"/>
                    <a:gd name="connsiteY10" fmla="*/ 15973 h 191665"/>
                    <a:gd name="connsiteX11" fmla="*/ 64806 w 151193"/>
                    <a:gd name="connsiteY11" fmla="*/ 14637 h 191665"/>
                    <a:gd name="connsiteX12" fmla="*/ 65996 w 151193"/>
                    <a:gd name="connsiteY12" fmla="*/ 13553 h 191665"/>
                    <a:gd name="connsiteX13" fmla="*/ 66819 w 151193"/>
                    <a:gd name="connsiteY13" fmla="*/ 12583 h 191665"/>
                    <a:gd name="connsiteX14" fmla="*/ 67105 w 151193"/>
                    <a:gd name="connsiteY14" fmla="*/ 11149 h 191665"/>
                    <a:gd name="connsiteX15" fmla="*/ 68409 w 151193"/>
                    <a:gd name="connsiteY15" fmla="*/ 10098 h 191665"/>
                    <a:gd name="connsiteX16" fmla="*/ 72117 w 151193"/>
                    <a:gd name="connsiteY16" fmla="*/ 8777 h 191665"/>
                    <a:gd name="connsiteX17" fmla="*/ 75532 w 151193"/>
                    <a:gd name="connsiteY17" fmla="*/ 8582 h 191665"/>
                    <a:gd name="connsiteX18" fmla="*/ 76355 w 151193"/>
                    <a:gd name="connsiteY18" fmla="*/ 8997 h 191665"/>
                    <a:gd name="connsiteX19" fmla="*/ 77895 w 151193"/>
                    <a:gd name="connsiteY19" fmla="*/ 11002 h 191665"/>
                    <a:gd name="connsiteX20" fmla="*/ 79851 w 151193"/>
                    <a:gd name="connsiteY20" fmla="*/ 12388 h 191665"/>
                    <a:gd name="connsiteX21" fmla="*/ 82825 w 151193"/>
                    <a:gd name="connsiteY21" fmla="*/ 12216 h 191665"/>
                    <a:gd name="connsiteX22" fmla="*/ 84985 w 151193"/>
                    <a:gd name="connsiteY22" fmla="*/ 13031 h 191665"/>
                    <a:gd name="connsiteX23" fmla="*/ 86852 w 151193"/>
                    <a:gd name="connsiteY23" fmla="*/ 14580 h 191665"/>
                    <a:gd name="connsiteX24" fmla="*/ 88107 w 151193"/>
                    <a:gd name="connsiteY24" fmla="*/ 17995 h 191665"/>
                    <a:gd name="connsiteX25" fmla="*/ 89476 w 151193"/>
                    <a:gd name="connsiteY25" fmla="*/ 20464 h 191665"/>
                    <a:gd name="connsiteX26" fmla="*/ 90071 w 151193"/>
                    <a:gd name="connsiteY26" fmla="*/ 23977 h 191665"/>
                    <a:gd name="connsiteX27" fmla="*/ 92230 w 151193"/>
                    <a:gd name="connsiteY27" fmla="*/ 25818 h 191665"/>
                    <a:gd name="connsiteX28" fmla="*/ 93925 w 151193"/>
                    <a:gd name="connsiteY28" fmla="*/ 26658 h 191665"/>
                    <a:gd name="connsiteX29" fmla="*/ 96224 w 151193"/>
                    <a:gd name="connsiteY29" fmla="*/ 29209 h 191665"/>
                    <a:gd name="connsiteX30" fmla="*/ 98604 w 151193"/>
                    <a:gd name="connsiteY30" fmla="*/ 30513 h 191665"/>
                    <a:gd name="connsiteX31" fmla="*/ 101073 w 151193"/>
                    <a:gd name="connsiteY31" fmla="*/ 30211 h 191665"/>
                    <a:gd name="connsiteX32" fmla="*/ 102222 w 151193"/>
                    <a:gd name="connsiteY32" fmla="*/ 31548 h 191665"/>
                    <a:gd name="connsiteX33" fmla="*/ 104056 w 151193"/>
                    <a:gd name="connsiteY33" fmla="*/ 32493 h 191665"/>
                    <a:gd name="connsiteX34" fmla="*/ 105889 w 151193"/>
                    <a:gd name="connsiteY34" fmla="*/ 32558 h 191665"/>
                    <a:gd name="connsiteX35" fmla="*/ 107503 w 151193"/>
                    <a:gd name="connsiteY35" fmla="*/ 29616 h 191665"/>
                    <a:gd name="connsiteX36" fmla="*/ 109638 w 151193"/>
                    <a:gd name="connsiteY36" fmla="*/ 28451 h 191665"/>
                    <a:gd name="connsiteX37" fmla="*/ 115041 w 151193"/>
                    <a:gd name="connsiteY37" fmla="*/ 26104 h 191665"/>
                    <a:gd name="connsiteX38" fmla="*/ 117169 w 151193"/>
                    <a:gd name="connsiteY38" fmla="*/ 25036 h 191665"/>
                    <a:gd name="connsiteX39" fmla="*/ 119328 w 151193"/>
                    <a:gd name="connsiteY39" fmla="*/ 24360 h 191665"/>
                    <a:gd name="connsiteX40" fmla="*/ 124520 w 151193"/>
                    <a:gd name="connsiteY40" fmla="*/ 24148 h 191665"/>
                    <a:gd name="connsiteX41" fmla="*/ 129353 w 151193"/>
                    <a:gd name="connsiteY41" fmla="*/ 24873 h 191665"/>
                    <a:gd name="connsiteX42" fmla="*/ 131749 w 151193"/>
                    <a:gd name="connsiteY42" fmla="*/ 25411 h 191665"/>
                    <a:gd name="connsiteX43" fmla="*/ 133395 w 151193"/>
                    <a:gd name="connsiteY43" fmla="*/ 25012 h 191665"/>
                    <a:gd name="connsiteX44" fmla="*/ 134951 w 151193"/>
                    <a:gd name="connsiteY44" fmla="*/ 26413 h 191665"/>
                    <a:gd name="connsiteX45" fmla="*/ 136557 w 151193"/>
                    <a:gd name="connsiteY45" fmla="*/ 29331 h 191665"/>
                    <a:gd name="connsiteX46" fmla="*/ 137877 w 151193"/>
                    <a:gd name="connsiteY46" fmla="*/ 30276 h 191665"/>
                    <a:gd name="connsiteX47" fmla="*/ 139230 w 151193"/>
                    <a:gd name="connsiteY47" fmla="*/ 31287 h 191665"/>
                    <a:gd name="connsiteX48" fmla="*/ 140224 w 151193"/>
                    <a:gd name="connsiteY48" fmla="*/ 33601 h 191665"/>
                    <a:gd name="connsiteX49" fmla="*/ 141398 w 151193"/>
                    <a:gd name="connsiteY49" fmla="*/ 35900 h 191665"/>
                    <a:gd name="connsiteX50" fmla="*/ 142033 w 151193"/>
                    <a:gd name="connsiteY50" fmla="*/ 36918 h 191665"/>
                    <a:gd name="connsiteX51" fmla="*/ 143484 w 151193"/>
                    <a:gd name="connsiteY51" fmla="*/ 39176 h 191665"/>
                    <a:gd name="connsiteX52" fmla="*/ 144723 w 151193"/>
                    <a:gd name="connsiteY52" fmla="*/ 39208 h 191665"/>
                    <a:gd name="connsiteX53" fmla="*/ 145954 w 151193"/>
                    <a:gd name="connsiteY53" fmla="*/ 38230 h 191665"/>
                    <a:gd name="connsiteX54" fmla="*/ 146475 w 151193"/>
                    <a:gd name="connsiteY54" fmla="*/ 37497 h 191665"/>
                    <a:gd name="connsiteX55" fmla="*/ 146720 w 151193"/>
                    <a:gd name="connsiteY55" fmla="*/ 38996 h 191665"/>
                    <a:gd name="connsiteX56" fmla="*/ 146231 w 151193"/>
                    <a:gd name="connsiteY56" fmla="*/ 41417 h 191665"/>
                    <a:gd name="connsiteX57" fmla="*/ 146328 w 151193"/>
                    <a:gd name="connsiteY57" fmla="*/ 42916 h 191665"/>
                    <a:gd name="connsiteX58" fmla="*/ 147013 w 151193"/>
                    <a:gd name="connsiteY58" fmla="*/ 43495 h 191665"/>
                    <a:gd name="connsiteX59" fmla="*/ 146638 w 151193"/>
                    <a:gd name="connsiteY59" fmla="*/ 45427 h 191665"/>
                    <a:gd name="connsiteX60" fmla="*/ 145220 w 151193"/>
                    <a:gd name="connsiteY60" fmla="*/ 48703 h 191665"/>
                    <a:gd name="connsiteX61" fmla="*/ 145220 w 151193"/>
                    <a:gd name="connsiteY61" fmla="*/ 50651 h 191665"/>
                    <a:gd name="connsiteX62" fmla="*/ 146630 w 151193"/>
                    <a:gd name="connsiteY62" fmla="*/ 51254 h 191665"/>
                    <a:gd name="connsiteX63" fmla="*/ 147640 w 151193"/>
                    <a:gd name="connsiteY63" fmla="*/ 53315 h 191665"/>
                    <a:gd name="connsiteX64" fmla="*/ 148244 w 151193"/>
                    <a:gd name="connsiteY64" fmla="*/ 56836 h 191665"/>
                    <a:gd name="connsiteX65" fmla="*/ 148855 w 151193"/>
                    <a:gd name="connsiteY65" fmla="*/ 58018 h 191665"/>
                    <a:gd name="connsiteX66" fmla="*/ 148912 w 151193"/>
                    <a:gd name="connsiteY66" fmla="*/ 58743 h 191665"/>
                    <a:gd name="connsiteX67" fmla="*/ 149930 w 151193"/>
                    <a:gd name="connsiteY67" fmla="*/ 67268 h 191665"/>
                    <a:gd name="connsiteX68" fmla="*/ 151194 w 151193"/>
                    <a:gd name="connsiteY68" fmla="*/ 75825 h 191665"/>
                    <a:gd name="connsiteX69" fmla="*/ 150387 w 151193"/>
                    <a:gd name="connsiteY69" fmla="*/ 76933 h 191665"/>
                    <a:gd name="connsiteX70" fmla="*/ 149287 w 151193"/>
                    <a:gd name="connsiteY70" fmla="*/ 77268 h 191665"/>
                    <a:gd name="connsiteX71" fmla="*/ 148569 w 151193"/>
                    <a:gd name="connsiteY71" fmla="*/ 77667 h 191665"/>
                    <a:gd name="connsiteX72" fmla="*/ 148374 w 151193"/>
                    <a:gd name="connsiteY72" fmla="*/ 78466 h 191665"/>
                    <a:gd name="connsiteX73" fmla="*/ 148847 w 151193"/>
                    <a:gd name="connsiteY73" fmla="*/ 79631 h 191665"/>
                    <a:gd name="connsiteX74" fmla="*/ 148537 w 151193"/>
                    <a:gd name="connsiteY74" fmla="*/ 80707 h 191665"/>
                    <a:gd name="connsiteX75" fmla="*/ 147160 w 151193"/>
                    <a:gd name="connsiteY75" fmla="*/ 81440 h 191665"/>
                    <a:gd name="connsiteX76" fmla="*/ 144160 w 151193"/>
                    <a:gd name="connsiteY76" fmla="*/ 84154 h 191665"/>
                    <a:gd name="connsiteX77" fmla="*/ 143957 w 151193"/>
                    <a:gd name="connsiteY77" fmla="*/ 85230 h 191665"/>
                    <a:gd name="connsiteX78" fmla="*/ 143166 w 151193"/>
                    <a:gd name="connsiteY78" fmla="*/ 87544 h 191665"/>
                    <a:gd name="connsiteX79" fmla="*/ 142498 w 151193"/>
                    <a:gd name="connsiteY79" fmla="*/ 88963 h 191665"/>
                    <a:gd name="connsiteX80" fmla="*/ 141520 w 151193"/>
                    <a:gd name="connsiteY80" fmla="*/ 91579 h 191665"/>
                    <a:gd name="connsiteX81" fmla="*/ 139964 w 151193"/>
                    <a:gd name="connsiteY81" fmla="*/ 98506 h 191665"/>
                    <a:gd name="connsiteX82" fmla="*/ 139393 w 151193"/>
                    <a:gd name="connsiteY82" fmla="*/ 104243 h 191665"/>
                    <a:gd name="connsiteX83" fmla="*/ 139303 w 151193"/>
                    <a:gd name="connsiteY83" fmla="*/ 106012 h 191665"/>
                    <a:gd name="connsiteX84" fmla="*/ 138700 w 151193"/>
                    <a:gd name="connsiteY84" fmla="*/ 107251 h 191665"/>
                    <a:gd name="connsiteX85" fmla="*/ 138016 w 151193"/>
                    <a:gd name="connsiteY85" fmla="*/ 109035 h 191665"/>
                    <a:gd name="connsiteX86" fmla="*/ 134764 w 151193"/>
                    <a:gd name="connsiteY86" fmla="*/ 113950 h 191665"/>
                    <a:gd name="connsiteX87" fmla="*/ 133101 w 151193"/>
                    <a:gd name="connsiteY87" fmla="*/ 117967 h 191665"/>
                    <a:gd name="connsiteX88" fmla="*/ 133322 w 151193"/>
                    <a:gd name="connsiteY88" fmla="*/ 119720 h 191665"/>
                    <a:gd name="connsiteX89" fmla="*/ 133395 w 151193"/>
                    <a:gd name="connsiteY89" fmla="*/ 121472 h 191665"/>
                    <a:gd name="connsiteX90" fmla="*/ 132906 w 151193"/>
                    <a:gd name="connsiteY90" fmla="*/ 122735 h 191665"/>
                    <a:gd name="connsiteX91" fmla="*/ 132995 w 151193"/>
                    <a:gd name="connsiteY91" fmla="*/ 126133 h 191665"/>
                    <a:gd name="connsiteX92" fmla="*/ 133395 w 151193"/>
                    <a:gd name="connsiteY92" fmla="*/ 128970 h 191665"/>
                    <a:gd name="connsiteX93" fmla="*/ 133973 w 151193"/>
                    <a:gd name="connsiteY93" fmla="*/ 131757 h 191665"/>
                    <a:gd name="connsiteX94" fmla="*/ 136328 w 151193"/>
                    <a:gd name="connsiteY94" fmla="*/ 139638 h 191665"/>
                    <a:gd name="connsiteX95" fmla="*/ 137559 w 151193"/>
                    <a:gd name="connsiteY95" fmla="*/ 144421 h 191665"/>
                    <a:gd name="connsiteX96" fmla="*/ 138325 w 151193"/>
                    <a:gd name="connsiteY96" fmla="*/ 148284 h 191665"/>
                    <a:gd name="connsiteX97" fmla="*/ 138994 w 151193"/>
                    <a:gd name="connsiteY97" fmla="*/ 150876 h 191665"/>
                    <a:gd name="connsiteX98" fmla="*/ 139621 w 151193"/>
                    <a:gd name="connsiteY98" fmla="*/ 151927 h 191665"/>
                    <a:gd name="connsiteX99" fmla="*/ 139890 w 151193"/>
                    <a:gd name="connsiteY99" fmla="*/ 152930 h 191665"/>
                    <a:gd name="connsiteX100" fmla="*/ 143386 w 151193"/>
                    <a:gd name="connsiteY100" fmla="*/ 153647 h 191665"/>
                    <a:gd name="connsiteX101" fmla="*/ 144071 w 151193"/>
                    <a:gd name="connsiteY101" fmla="*/ 154217 h 191665"/>
                    <a:gd name="connsiteX102" fmla="*/ 145032 w 151193"/>
                    <a:gd name="connsiteY102" fmla="*/ 159246 h 191665"/>
                    <a:gd name="connsiteX103" fmla="*/ 144861 w 151193"/>
                    <a:gd name="connsiteY103" fmla="*/ 161511 h 191665"/>
                    <a:gd name="connsiteX104" fmla="*/ 144185 w 151193"/>
                    <a:gd name="connsiteY104" fmla="*/ 162367 h 191665"/>
                    <a:gd name="connsiteX105" fmla="*/ 144201 w 151193"/>
                    <a:gd name="connsiteY105" fmla="*/ 164290 h 191665"/>
                    <a:gd name="connsiteX106" fmla="*/ 144038 w 151193"/>
                    <a:gd name="connsiteY106" fmla="*/ 166670 h 191665"/>
                    <a:gd name="connsiteX107" fmla="*/ 143533 w 151193"/>
                    <a:gd name="connsiteY107" fmla="*/ 167624 h 191665"/>
                    <a:gd name="connsiteX108" fmla="*/ 141577 w 151193"/>
                    <a:gd name="connsiteY108" fmla="*/ 167738 h 191665"/>
                    <a:gd name="connsiteX109" fmla="*/ 140249 w 151193"/>
                    <a:gd name="connsiteY109" fmla="*/ 168642 h 191665"/>
                    <a:gd name="connsiteX110" fmla="*/ 138488 w 151193"/>
                    <a:gd name="connsiteY110" fmla="*/ 168292 h 191665"/>
                    <a:gd name="connsiteX111" fmla="*/ 138317 w 151193"/>
                    <a:gd name="connsiteY111" fmla="*/ 167697 h 191665"/>
                    <a:gd name="connsiteX112" fmla="*/ 137380 w 151193"/>
                    <a:gd name="connsiteY112" fmla="*/ 167485 h 191665"/>
                    <a:gd name="connsiteX113" fmla="*/ 134780 w 151193"/>
                    <a:gd name="connsiteY113" fmla="*/ 166124 h 191665"/>
                    <a:gd name="connsiteX114" fmla="*/ 135212 w 151193"/>
                    <a:gd name="connsiteY114" fmla="*/ 161764 h 191665"/>
                    <a:gd name="connsiteX115" fmla="*/ 134014 w 151193"/>
                    <a:gd name="connsiteY115" fmla="*/ 161577 h 191665"/>
                    <a:gd name="connsiteX116" fmla="*/ 133077 w 151193"/>
                    <a:gd name="connsiteY116" fmla="*/ 162155 h 191665"/>
                    <a:gd name="connsiteX117" fmla="*/ 131227 w 151193"/>
                    <a:gd name="connsiteY117" fmla="*/ 167396 h 191665"/>
                    <a:gd name="connsiteX118" fmla="*/ 130355 w 151193"/>
                    <a:gd name="connsiteY118" fmla="*/ 168300 h 191665"/>
                    <a:gd name="connsiteX119" fmla="*/ 117381 w 151193"/>
                    <a:gd name="connsiteY119" fmla="*/ 165603 h 191665"/>
                    <a:gd name="connsiteX120" fmla="*/ 114561 w 151193"/>
                    <a:gd name="connsiteY120" fmla="*/ 163418 h 191665"/>
                    <a:gd name="connsiteX121" fmla="*/ 111187 w 151193"/>
                    <a:gd name="connsiteY121" fmla="*/ 162921 h 191665"/>
                    <a:gd name="connsiteX122" fmla="*/ 105302 w 151193"/>
                    <a:gd name="connsiteY122" fmla="*/ 163174 h 191665"/>
                    <a:gd name="connsiteX123" fmla="*/ 100454 w 151193"/>
                    <a:gd name="connsiteY123" fmla="*/ 163818 h 191665"/>
                    <a:gd name="connsiteX124" fmla="*/ 99068 w 151193"/>
                    <a:gd name="connsiteY124" fmla="*/ 165146 h 191665"/>
                    <a:gd name="connsiteX125" fmla="*/ 111309 w 151193"/>
                    <a:gd name="connsiteY125" fmla="*/ 164372 h 191665"/>
                    <a:gd name="connsiteX126" fmla="*/ 112629 w 151193"/>
                    <a:gd name="connsiteY126" fmla="*/ 164519 h 191665"/>
                    <a:gd name="connsiteX127" fmla="*/ 113249 w 151193"/>
                    <a:gd name="connsiteY127" fmla="*/ 165317 h 191665"/>
                    <a:gd name="connsiteX128" fmla="*/ 97764 w 151193"/>
                    <a:gd name="connsiteY128" fmla="*/ 167037 h 191665"/>
                    <a:gd name="connsiteX129" fmla="*/ 91856 w 151193"/>
                    <a:gd name="connsiteY129" fmla="*/ 168064 h 191665"/>
                    <a:gd name="connsiteX130" fmla="*/ 90112 w 151193"/>
                    <a:gd name="connsiteY130" fmla="*/ 167779 h 191665"/>
                    <a:gd name="connsiteX131" fmla="*/ 88791 w 151193"/>
                    <a:gd name="connsiteY131" fmla="*/ 166100 h 191665"/>
                    <a:gd name="connsiteX132" fmla="*/ 82369 w 151193"/>
                    <a:gd name="connsiteY132" fmla="*/ 165904 h 191665"/>
                    <a:gd name="connsiteX133" fmla="*/ 81049 w 151193"/>
                    <a:gd name="connsiteY133" fmla="*/ 166450 h 191665"/>
                    <a:gd name="connsiteX134" fmla="*/ 80258 w 151193"/>
                    <a:gd name="connsiteY134" fmla="*/ 167689 h 191665"/>
                    <a:gd name="connsiteX135" fmla="*/ 82785 w 151193"/>
                    <a:gd name="connsiteY135" fmla="*/ 167420 h 191665"/>
                    <a:gd name="connsiteX136" fmla="*/ 86770 w 151193"/>
                    <a:gd name="connsiteY136" fmla="*/ 167355 h 191665"/>
                    <a:gd name="connsiteX137" fmla="*/ 87838 w 151193"/>
                    <a:gd name="connsiteY137" fmla="*/ 168300 h 191665"/>
                    <a:gd name="connsiteX138" fmla="*/ 75369 w 151193"/>
                    <a:gd name="connsiteY138" fmla="*/ 169531 h 191665"/>
                    <a:gd name="connsiteX139" fmla="*/ 66714 w 151193"/>
                    <a:gd name="connsiteY139" fmla="*/ 171886 h 191665"/>
                    <a:gd name="connsiteX140" fmla="*/ 63046 w 151193"/>
                    <a:gd name="connsiteY140" fmla="*/ 173630 h 191665"/>
                    <a:gd name="connsiteX141" fmla="*/ 50977 w 151193"/>
                    <a:gd name="connsiteY141" fmla="*/ 179359 h 191665"/>
                    <a:gd name="connsiteX142" fmla="*/ 43617 w 151193"/>
                    <a:gd name="connsiteY142" fmla="*/ 182065 h 191665"/>
                    <a:gd name="connsiteX143" fmla="*/ 41686 w 151193"/>
                    <a:gd name="connsiteY143" fmla="*/ 183059 h 191665"/>
                    <a:gd name="connsiteX144" fmla="*/ 38336 w 151193"/>
                    <a:gd name="connsiteY144" fmla="*/ 185863 h 191665"/>
                    <a:gd name="connsiteX145" fmla="*/ 34033 w 151193"/>
                    <a:gd name="connsiteY145" fmla="*/ 187631 h 191665"/>
                    <a:gd name="connsiteX146" fmla="*/ 29209 w 151193"/>
                    <a:gd name="connsiteY146" fmla="*/ 190924 h 191665"/>
                    <a:gd name="connsiteX147" fmla="*/ 26258 w 151193"/>
                    <a:gd name="connsiteY147" fmla="*/ 191665 h 191665"/>
                    <a:gd name="connsiteX148" fmla="*/ 25598 w 151193"/>
                    <a:gd name="connsiteY148" fmla="*/ 190606 h 191665"/>
                    <a:gd name="connsiteX149" fmla="*/ 25525 w 151193"/>
                    <a:gd name="connsiteY149" fmla="*/ 185032 h 191665"/>
                    <a:gd name="connsiteX150" fmla="*/ 25117 w 151193"/>
                    <a:gd name="connsiteY150" fmla="*/ 177558 h 191665"/>
                    <a:gd name="connsiteX151" fmla="*/ 25272 w 151193"/>
                    <a:gd name="connsiteY151" fmla="*/ 174706 h 191665"/>
                    <a:gd name="connsiteX152" fmla="*/ 25663 w 151193"/>
                    <a:gd name="connsiteY152" fmla="*/ 172008 h 191665"/>
                    <a:gd name="connsiteX153" fmla="*/ 25671 w 151193"/>
                    <a:gd name="connsiteY153" fmla="*/ 169783 h 191665"/>
                    <a:gd name="connsiteX154" fmla="*/ 27138 w 151193"/>
                    <a:gd name="connsiteY154" fmla="*/ 168952 h 191665"/>
                    <a:gd name="connsiteX155" fmla="*/ 27530 w 151193"/>
                    <a:gd name="connsiteY155" fmla="*/ 168015 h 191665"/>
                    <a:gd name="connsiteX156" fmla="*/ 27750 w 151193"/>
                    <a:gd name="connsiteY156" fmla="*/ 165114 h 191665"/>
                    <a:gd name="connsiteX157" fmla="*/ 29119 w 151193"/>
                    <a:gd name="connsiteY157" fmla="*/ 162473 h 191665"/>
                    <a:gd name="connsiteX158" fmla="*/ 29143 w 151193"/>
                    <a:gd name="connsiteY158" fmla="*/ 157877 h 191665"/>
                    <a:gd name="connsiteX159" fmla="*/ 29551 w 151193"/>
                    <a:gd name="connsiteY159" fmla="*/ 156915 h 191665"/>
                    <a:gd name="connsiteX160" fmla="*/ 29861 w 151193"/>
                    <a:gd name="connsiteY160" fmla="*/ 155693 h 191665"/>
                    <a:gd name="connsiteX161" fmla="*/ 29274 w 151193"/>
                    <a:gd name="connsiteY161" fmla="*/ 152669 h 191665"/>
                    <a:gd name="connsiteX162" fmla="*/ 28516 w 151193"/>
                    <a:gd name="connsiteY162" fmla="*/ 146964 h 191665"/>
                    <a:gd name="connsiteX163" fmla="*/ 28141 w 151193"/>
                    <a:gd name="connsiteY163" fmla="*/ 146597 h 191665"/>
                    <a:gd name="connsiteX164" fmla="*/ 27807 w 151193"/>
                    <a:gd name="connsiteY164" fmla="*/ 146842 h 191665"/>
                    <a:gd name="connsiteX165" fmla="*/ 27032 w 151193"/>
                    <a:gd name="connsiteY165" fmla="*/ 146948 h 191665"/>
                    <a:gd name="connsiteX166" fmla="*/ 23993 w 151193"/>
                    <a:gd name="connsiteY166" fmla="*/ 144976 h 191665"/>
                    <a:gd name="connsiteX167" fmla="*/ 21654 w 151193"/>
                    <a:gd name="connsiteY167" fmla="*/ 144633 h 191665"/>
                    <a:gd name="connsiteX168" fmla="*/ 20016 w 151193"/>
                    <a:gd name="connsiteY168" fmla="*/ 142955 h 191665"/>
                    <a:gd name="connsiteX169" fmla="*/ 19910 w 151193"/>
                    <a:gd name="connsiteY169" fmla="*/ 141039 h 191665"/>
                    <a:gd name="connsiteX170" fmla="*/ 19103 w 151193"/>
                    <a:gd name="connsiteY170" fmla="*/ 139906 h 191665"/>
                    <a:gd name="connsiteX171" fmla="*/ 18557 w 151193"/>
                    <a:gd name="connsiteY171" fmla="*/ 137698 h 191665"/>
                    <a:gd name="connsiteX172" fmla="*/ 17734 w 151193"/>
                    <a:gd name="connsiteY172" fmla="*/ 135155 h 191665"/>
                    <a:gd name="connsiteX173" fmla="*/ 15427 w 151193"/>
                    <a:gd name="connsiteY173" fmla="*/ 133615 h 191665"/>
                    <a:gd name="connsiteX174" fmla="*/ 13260 w 151193"/>
                    <a:gd name="connsiteY174" fmla="*/ 133248 h 191665"/>
                    <a:gd name="connsiteX175" fmla="*/ 11727 w 151193"/>
                    <a:gd name="connsiteY175" fmla="*/ 133582 h 191665"/>
                    <a:gd name="connsiteX176" fmla="*/ 9918 w 151193"/>
                    <a:gd name="connsiteY176" fmla="*/ 133476 h 191665"/>
                    <a:gd name="connsiteX177" fmla="*/ 7848 w 151193"/>
                    <a:gd name="connsiteY177" fmla="*/ 132629 h 191665"/>
                    <a:gd name="connsiteX178" fmla="*/ 6422 w 151193"/>
                    <a:gd name="connsiteY178" fmla="*/ 131659 h 191665"/>
                    <a:gd name="connsiteX179" fmla="*/ 5069 w 151193"/>
                    <a:gd name="connsiteY179" fmla="*/ 129801 h 191665"/>
                    <a:gd name="connsiteX180" fmla="*/ 3814 w 151193"/>
                    <a:gd name="connsiteY180" fmla="*/ 128317 h 191665"/>
                    <a:gd name="connsiteX181" fmla="*/ 2803 w 151193"/>
                    <a:gd name="connsiteY181" fmla="*/ 128497 h 191665"/>
                    <a:gd name="connsiteX182" fmla="*/ 1589 w 151193"/>
                    <a:gd name="connsiteY182" fmla="*/ 128146 h 191665"/>
                    <a:gd name="connsiteX183" fmla="*/ 391 w 151193"/>
                    <a:gd name="connsiteY183" fmla="*/ 127470 h 191665"/>
                    <a:gd name="connsiteX184" fmla="*/ 0 w 151193"/>
                    <a:gd name="connsiteY184" fmla="*/ 126948 h 191665"/>
                    <a:gd name="connsiteX185" fmla="*/ 5020 w 151193"/>
                    <a:gd name="connsiteY185" fmla="*/ 121024 h 191665"/>
                    <a:gd name="connsiteX186" fmla="*/ 6724 w 151193"/>
                    <a:gd name="connsiteY186" fmla="*/ 118130 h 191665"/>
                    <a:gd name="connsiteX187" fmla="*/ 6903 w 151193"/>
                    <a:gd name="connsiteY187" fmla="*/ 116362 h 191665"/>
                    <a:gd name="connsiteX188" fmla="*/ 6919 w 151193"/>
                    <a:gd name="connsiteY188" fmla="*/ 114569 h 191665"/>
                    <a:gd name="connsiteX189" fmla="*/ 7465 w 151193"/>
                    <a:gd name="connsiteY189" fmla="*/ 112744 h 191665"/>
                    <a:gd name="connsiteX190" fmla="*/ 7604 w 151193"/>
                    <a:gd name="connsiteY190" fmla="*/ 109948 h 191665"/>
                    <a:gd name="connsiteX191" fmla="*/ 4824 w 151193"/>
                    <a:gd name="connsiteY191" fmla="*/ 99793 h 191665"/>
                    <a:gd name="connsiteX192" fmla="*/ 4124 w 151193"/>
                    <a:gd name="connsiteY192" fmla="*/ 96648 h 191665"/>
                    <a:gd name="connsiteX193" fmla="*/ 3374 w 151193"/>
                    <a:gd name="connsiteY193" fmla="*/ 95727 h 191665"/>
                    <a:gd name="connsiteX194" fmla="*/ 2893 w 151193"/>
                    <a:gd name="connsiteY194" fmla="*/ 95385 h 191665"/>
                    <a:gd name="connsiteX195" fmla="*/ 4287 w 151193"/>
                    <a:gd name="connsiteY195" fmla="*/ 94072 h 191665"/>
                    <a:gd name="connsiteX196" fmla="*/ 6235 w 151193"/>
                    <a:gd name="connsiteY196" fmla="*/ 94415 h 191665"/>
                    <a:gd name="connsiteX197" fmla="*/ 9209 w 151193"/>
                    <a:gd name="connsiteY197" fmla="*/ 95433 h 191665"/>
                    <a:gd name="connsiteX198" fmla="*/ 9853 w 151193"/>
                    <a:gd name="connsiteY198" fmla="*/ 94423 h 191665"/>
                    <a:gd name="connsiteX199" fmla="*/ 12094 w 151193"/>
                    <a:gd name="connsiteY199" fmla="*/ 89297 h 191665"/>
                    <a:gd name="connsiteX200" fmla="*/ 12037 w 151193"/>
                    <a:gd name="connsiteY200" fmla="*/ 87398 h 191665"/>
                    <a:gd name="connsiteX201" fmla="*/ 11809 w 151193"/>
                    <a:gd name="connsiteY201" fmla="*/ 86086 h 191665"/>
                    <a:gd name="connsiteX202" fmla="*/ 13129 w 151193"/>
                    <a:gd name="connsiteY202" fmla="*/ 82573 h 191665"/>
                    <a:gd name="connsiteX203" fmla="*/ 14172 w 151193"/>
                    <a:gd name="connsiteY203" fmla="*/ 81204 h 191665"/>
                    <a:gd name="connsiteX204" fmla="*/ 14710 w 151193"/>
                    <a:gd name="connsiteY204" fmla="*/ 79737 h 191665"/>
                    <a:gd name="connsiteX205" fmla="*/ 14539 w 151193"/>
                    <a:gd name="connsiteY205" fmla="*/ 77732 h 191665"/>
                    <a:gd name="connsiteX206" fmla="*/ 13757 w 151193"/>
                    <a:gd name="connsiteY206" fmla="*/ 76990 h 191665"/>
                    <a:gd name="connsiteX207" fmla="*/ 12714 w 151193"/>
                    <a:gd name="connsiteY207" fmla="*/ 77129 h 191665"/>
                    <a:gd name="connsiteX208" fmla="*/ 11474 w 151193"/>
                    <a:gd name="connsiteY208" fmla="*/ 76632 h 191665"/>
                    <a:gd name="connsiteX209" fmla="*/ 9576 w 151193"/>
                    <a:gd name="connsiteY209" fmla="*/ 75483 h 191665"/>
                    <a:gd name="connsiteX210" fmla="*/ 8614 w 151193"/>
                    <a:gd name="connsiteY210" fmla="*/ 74456 h 191665"/>
                    <a:gd name="connsiteX211" fmla="*/ 8907 w 151193"/>
                    <a:gd name="connsiteY211" fmla="*/ 69819 h 191665"/>
                    <a:gd name="connsiteX212" fmla="*/ 9087 w 151193"/>
                    <a:gd name="connsiteY212" fmla="*/ 68384 h 191665"/>
                    <a:gd name="connsiteX213" fmla="*/ 9755 w 151193"/>
                    <a:gd name="connsiteY213" fmla="*/ 67553 h 191665"/>
                    <a:gd name="connsiteX214" fmla="*/ 10798 w 151193"/>
                    <a:gd name="connsiteY214" fmla="*/ 67333 h 191665"/>
                    <a:gd name="connsiteX215" fmla="*/ 13740 w 151193"/>
                    <a:gd name="connsiteY215" fmla="*/ 67187 h 191665"/>
                    <a:gd name="connsiteX216" fmla="*/ 16120 w 151193"/>
                    <a:gd name="connsiteY216" fmla="*/ 67716 h 191665"/>
                    <a:gd name="connsiteX217" fmla="*/ 18215 w 151193"/>
                    <a:gd name="connsiteY217" fmla="*/ 68026 h 191665"/>
                    <a:gd name="connsiteX218" fmla="*/ 19331 w 151193"/>
                    <a:gd name="connsiteY218" fmla="*/ 68026 h 191665"/>
                    <a:gd name="connsiteX219" fmla="*/ 20236 w 151193"/>
                    <a:gd name="connsiteY219" fmla="*/ 69403 h 191665"/>
                    <a:gd name="connsiteX220" fmla="*/ 21434 w 151193"/>
                    <a:gd name="connsiteY220" fmla="*/ 70805 h 191665"/>
                    <a:gd name="connsiteX221" fmla="*/ 22493 w 151193"/>
                    <a:gd name="connsiteY221" fmla="*/ 70797 h 191665"/>
                    <a:gd name="connsiteX222" fmla="*/ 22860 w 151193"/>
                    <a:gd name="connsiteY222" fmla="*/ 69753 h 191665"/>
                    <a:gd name="connsiteX223" fmla="*/ 22615 w 151193"/>
                    <a:gd name="connsiteY223" fmla="*/ 65173 h 191665"/>
                    <a:gd name="connsiteX224" fmla="*/ 21906 w 151193"/>
                    <a:gd name="connsiteY224" fmla="*/ 62745 h 191665"/>
                    <a:gd name="connsiteX225" fmla="*/ 20309 w 151193"/>
                    <a:gd name="connsiteY225" fmla="*/ 60406 h 191665"/>
                    <a:gd name="connsiteX226" fmla="*/ 16169 w 151193"/>
                    <a:gd name="connsiteY226" fmla="*/ 58409 h 191665"/>
                    <a:gd name="connsiteX227" fmla="*/ 16071 w 151193"/>
                    <a:gd name="connsiteY227" fmla="*/ 55622 h 191665"/>
                    <a:gd name="connsiteX228" fmla="*/ 16487 w 151193"/>
                    <a:gd name="connsiteY228" fmla="*/ 52598 h 191665"/>
                    <a:gd name="connsiteX229" fmla="*/ 17375 w 151193"/>
                    <a:gd name="connsiteY229" fmla="*/ 51466 h 191665"/>
                    <a:gd name="connsiteX230" fmla="*/ 20456 w 151193"/>
                    <a:gd name="connsiteY230" fmla="*/ 49551 h 191665"/>
                    <a:gd name="connsiteX231" fmla="*/ 19918 w 151193"/>
                    <a:gd name="connsiteY231" fmla="*/ 48524 h 191665"/>
                    <a:gd name="connsiteX232" fmla="*/ 18932 w 151193"/>
                    <a:gd name="connsiteY232" fmla="*/ 47423 h 191665"/>
                    <a:gd name="connsiteX233" fmla="*/ 16984 w 151193"/>
                    <a:gd name="connsiteY233" fmla="*/ 46307 h 191665"/>
                    <a:gd name="connsiteX234" fmla="*/ 17432 w 151193"/>
                    <a:gd name="connsiteY234" fmla="*/ 42688 h 191665"/>
                    <a:gd name="connsiteX235" fmla="*/ 17530 w 151193"/>
                    <a:gd name="connsiteY235" fmla="*/ 39461 h 191665"/>
                    <a:gd name="connsiteX236" fmla="*/ 15884 w 151193"/>
                    <a:gd name="connsiteY236" fmla="*/ 39820 h 191665"/>
                    <a:gd name="connsiteX237" fmla="*/ 14188 w 151193"/>
                    <a:gd name="connsiteY237" fmla="*/ 40007 h 191665"/>
                    <a:gd name="connsiteX238" fmla="*/ 12754 w 151193"/>
                    <a:gd name="connsiteY238" fmla="*/ 39005 h 191665"/>
                    <a:gd name="connsiteX239" fmla="*/ 11556 w 151193"/>
                    <a:gd name="connsiteY239" fmla="*/ 37049 h 191665"/>
                    <a:gd name="connsiteX240" fmla="*/ 11328 w 151193"/>
                    <a:gd name="connsiteY240" fmla="*/ 31645 h 191665"/>
                    <a:gd name="connsiteX241" fmla="*/ 11336 w 151193"/>
                    <a:gd name="connsiteY241" fmla="*/ 25403 h 191665"/>
                    <a:gd name="connsiteX242" fmla="*/ 11108 w 151193"/>
                    <a:gd name="connsiteY242" fmla="*/ 22648 h 191665"/>
                    <a:gd name="connsiteX243" fmla="*/ 11565 w 151193"/>
                    <a:gd name="connsiteY243" fmla="*/ 21173 h 191665"/>
                    <a:gd name="connsiteX244" fmla="*/ 13023 w 151193"/>
                    <a:gd name="connsiteY244" fmla="*/ 19812 h 191665"/>
                    <a:gd name="connsiteX245" fmla="*/ 14612 w 151193"/>
                    <a:gd name="connsiteY245" fmla="*/ 18060 h 191665"/>
                    <a:gd name="connsiteX246" fmla="*/ 15183 w 151193"/>
                    <a:gd name="connsiteY246" fmla="*/ 16943 h 191665"/>
                    <a:gd name="connsiteX247" fmla="*/ 15924 w 151193"/>
                    <a:gd name="connsiteY247" fmla="*/ 16911 h 191665"/>
                    <a:gd name="connsiteX248" fmla="*/ 17824 w 151193"/>
                    <a:gd name="connsiteY248" fmla="*/ 16234 h 191665"/>
                    <a:gd name="connsiteX249" fmla="*/ 19559 w 151193"/>
                    <a:gd name="connsiteY249" fmla="*/ 14702 h 191665"/>
                    <a:gd name="connsiteX250" fmla="*/ 21173 w 151193"/>
                    <a:gd name="connsiteY250" fmla="*/ 11508 h 191665"/>
                    <a:gd name="connsiteX251" fmla="*/ 23357 w 151193"/>
                    <a:gd name="connsiteY251" fmla="*/ 8940 h 191665"/>
                    <a:gd name="connsiteX252" fmla="*/ 25810 w 151193"/>
                    <a:gd name="connsiteY252" fmla="*/ 9120 h 191665"/>
                    <a:gd name="connsiteX253" fmla="*/ 26535 w 151193"/>
                    <a:gd name="connsiteY253" fmla="*/ 8655 h 191665"/>
                    <a:gd name="connsiteX254" fmla="*/ 27399 w 151193"/>
                    <a:gd name="connsiteY254" fmla="*/ 8565 h 191665"/>
                    <a:gd name="connsiteX255" fmla="*/ 28426 w 151193"/>
                    <a:gd name="connsiteY255" fmla="*/ 10252 h 191665"/>
                    <a:gd name="connsiteX256" fmla="*/ 29461 w 151193"/>
                    <a:gd name="connsiteY256" fmla="*/ 11540 h 191665"/>
                    <a:gd name="connsiteX257" fmla="*/ 30194 w 151193"/>
                    <a:gd name="connsiteY257" fmla="*/ 11573 h 191665"/>
                    <a:gd name="connsiteX258" fmla="*/ 30733 w 151193"/>
                    <a:gd name="connsiteY258" fmla="*/ 14009 h 191665"/>
                    <a:gd name="connsiteX259" fmla="*/ 35223 w 151193"/>
                    <a:gd name="connsiteY259" fmla="*/ 15028 h 191665"/>
                    <a:gd name="connsiteX260" fmla="*/ 37146 w 151193"/>
                    <a:gd name="connsiteY260" fmla="*/ 15705 h 191665"/>
                    <a:gd name="connsiteX261" fmla="*/ 38752 w 151193"/>
                    <a:gd name="connsiteY261" fmla="*/ 17481 h 191665"/>
                    <a:gd name="connsiteX262" fmla="*/ 39314 w 151193"/>
                    <a:gd name="connsiteY262" fmla="*/ 17530 h 191665"/>
                    <a:gd name="connsiteX263" fmla="*/ 39999 w 151193"/>
                    <a:gd name="connsiteY263" fmla="*/ 17155 h 191665"/>
                    <a:gd name="connsiteX264" fmla="*/ 40528 w 151193"/>
                    <a:gd name="connsiteY264" fmla="*/ 16536 h 191665"/>
                    <a:gd name="connsiteX265" fmla="*/ 40634 w 151193"/>
                    <a:gd name="connsiteY265" fmla="*/ 15859 h 191665"/>
                    <a:gd name="connsiteX266" fmla="*/ 39942 w 151193"/>
                    <a:gd name="connsiteY266" fmla="*/ 14254 h 191665"/>
                    <a:gd name="connsiteX267" fmla="*/ 40243 w 151193"/>
                    <a:gd name="connsiteY267" fmla="*/ 12811 h 191665"/>
                    <a:gd name="connsiteX268" fmla="*/ 40969 w 151193"/>
                    <a:gd name="connsiteY268" fmla="*/ 11524 h 191665"/>
                    <a:gd name="connsiteX269" fmla="*/ 42126 w 151193"/>
                    <a:gd name="connsiteY269" fmla="*/ 11434 h 191665"/>
                    <a:gd name="connsiteX270" fmla="*/ 43870 w 151193"/>
                    <a:gd name="connsiteY270" fmla="*/ 11076 h 191665"/>
                    <a:gd name="connsiteX271" fmla="*/ 45867 w 151193"/>
                    <a:gd name="connsiteY271" fmla="*/ 11076 h 191665"/>
                    <a:gd name="connsiteX272" fmla="*/ 47358 w 151193"/>
                    <a:gd name="connsiteY272" fmla="*/ 11312 h 191665"/>
                    <a:gd name="connsiteX273" fmla="*/ 47945 w 151193"/>
                    <a:gd name="connsiteY273" fmla="*/ 10024 h 191665"/>
                    <a:gd name="connsiteX274" fmla="*/ 47382 w 151193"/>
                    <a:gd name="connsiteY274" fmla="*/ 6406 h 191665"/>
                    <a:gd name="connsiteX275" fmla="*/ 47529 w 151193"/>
                    <a:gd name="connsiteY275" fmla="*/ 4409 h 191665"/>
                    <a:gd name="connsiteX276" fmla="*/ 47774 w 151193"/>
                    <a:gd name="connsiteY276" fmla="*/ 2722 h 191665"/>
                    <a:gd name="connsiteX277" fmla="*/ 48328 w 151193"/>
                    <a:gd name="connsiteY277" fmla="*/ 2046 h 191665"/>
                    <a:gd name="connsiteX278" fmla="*/ 50544 w 151193"/>
                    <a:gd name="connsiteY278" fmla="*/ 4148 h 191665"/>
                    <a:gd name="connsiteX279" fmla="*/ 52574 w 151193"/>
                    <a:gd name="connsiteY279" fmla="*/ 4914 h 191665"/>
                    <a:gd name="connsiteX280" fmla="*/ 54033 w 151193"/>
                    <a:gd name="connsiteY280" fmla="*/ 4979 h 191665"/>
                    <a:gd name="connsiteX281" fmla="*/ 54440 w 151193"/>
                    <a:gd name="connsiteY281" fmla="*/ 4580 h 191665"/>
                    <a:gd name="connsiteX282" fmla="*/ 53812 w 151193"/>
                    <a:gd name="connsiteY282" fmla="*/ 2274 h 191665"/>
                    <a:gd name="connsiteX283" fmla="*/ 53984 w 151193"/>
                    <a:gd name="connsiteY283" fmla="*/ 1581 h 191665"/>
                    <a:gd name="connsiteX284" fmla="*/ 54522 w 151193"/>
                    <a:gd name="connsiteY284" fmla="*/ 1174 h 191665"/>
                    <a:gd name="connsiteX285" fmla="*/ 55475 w 151193"/>
                    <a:gd name="connsiteY285" fmla="*/ 945 h 191665"/>
                    <a:gd name="connsiteX286" fmla="*/ 58067 w 151193"/>
                    <a:gd name="connsiteY286" fmla="*/ 0 h 191665"/>
                    <a:gd name="connsiteX287" fmla="*/ 58335 w 151193"/>
                    <a:gd name="connsiteY287" fmla="*/ 188 h 191665"/>
                    <a:gd name="connsiteX288" fmla="*/ 58800 w 151193"/>
                    <a:gd name="connsiteY288" fmla="*/ 3822 h 191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Lst>
                  <a:rect l="l" t="t" r="r" b="b"/>
                  <a:pathLst>
                    <a:path w="151193" h="191665">
                      <a:moveTo>
                        <a:pt x="58800" y="3822"/>
                      </a:moveTo>
                      <a:lnTo>
                        <a:pt x="58572" y="5012"/>
                      </a:lnTo>
                      <a:lnTo>
                        <a:pt x="59118" y="7481"/>
                      </a:lnTo>
                      <a:lnTo>
                        <a:pt x="59794" y="9780"/>
                      </a:lnTo>
                      <a:lnTo>
                        <a:pt x="59746" y="10709"/>
                      </a:lnTo>
                      <a:lnTo>
                        <a:pt x="59192" y="12127"/>
                      </a:lnTo>
                      <a:lnTo>
                        <a:pt x="58539" y="13431"/>
                      </a:lnTo>
                      <a:lnTo>
                        <a:pt x="58613" y="13961"/>
                      </a:lnTo>
                      <a:lnTo>
                        <a:pt x="59640" y="14849"/>
                      </a:lnTo>
                      <a:lnTo>
                        <a:pt x="61620" y="15762"/>
                      </a:lnTo>
                      <a:lnTo>
                        <a:pt x="63666" y="15973"/>
                      </a:lnTo>
                      <a:lnTo>
                        <a:pt x="64806" y="14637"/>
                      </a:lnTo>
                      <a:lnTo>
                        <a:pt x="65996" y="13553"/>
                      </a:lnTo>
                      <a:lnTo>
                        <a:pt x="66819" y="12583"/>
                      </a:lnTo>
                      <a:lnTo>
                        <a:pt x="67105" y="11149"/>
                      </a:lnTo>
                      <a:lnTo>
                        <a:pt x="68409" y="10098"/>
                      </a:lnTo>
                      <a:lnTo>
                        <a:pt x="72117" y="8777"/>
                      </a:lnTo>
                      <a:lnTo>
                        <a:pt x="75532" y="8582"/>
                      </a:lnTo>
                      <a:lnTo>
                        <a:pt x="76355" y="8997"/>
                      </a:lnTo>
                      <a:lnTo>
                        <a:pt x="77895" y="11002"/>
                      </a:lnTo>
                      <a:lnTo>
                        <a:pt x="79851" y="12388"/>
                      </a:lnTo>
                      <a:lnTo>
                        <a:pt x="82825" y="12216"/>
                      </a:lnTo>
                      <a:lnTo>
                        <a:pt x="84985" y="13031"/>
                      </a:lnTo>
                      <a:lnTo>
                        <a:pt x="86852" y="14580"/>
                      </a:lnTo>
                      <a:lnTo>
                        <a:pt x="88107" y="17995"/>
                      </a:lnTo>
                      <a:lnTo>
                        <a:pt x="89476" y="20464"/>
                      </a:lnTo>
                      <a:lnTo>
                        <a:pt x="90071" y="23977"/>
                      </a:lnTo>
                      <a:lnTo>
                        <a:pt x="92230" y="25818"/>
                      </a:lnTo>
                      <a:lnTo>
                        <a:pt x="93925" y="26658"/>
                      </a:lnTo>
                      <a:lnTo>
                        <a:pt x="96224" y="29209"/>
                      </a:lnTo>
                      <a:lnTo>
                        <a:pt x="98604" y="30513"/>
                      </a:lnTo>
                      <a:lnTo>
                        <a:pt x="101073" y="30211"/>
                      </a:lnTo>
                      <a:lnTo>
                        <a:pt x="102222" y="31548"/>
                      </a:lnTo>
                      <a:lnTo>
                        <a:pt x="104056" y="32493"/>
                      </a:lnTo>
                      <a:lnTo>
                        <a:pt x="105889" y="32558"/>
                      </a:lnTo>
                      <a:lnTo>
                        <a:pt x="107503" y="29616"/>
                      </a:lnTo>
                      <a:lnTo>
                        <a:pt x="109638" y="28451"/>
                      </a:lnTo>
                      <a:lnTo>
                        <a:pt x="115041" y="26104"/>
                      </a:lnTo>
                      <a:lnTo>
                        <a:pt x="117169" y="25036"/>
                      </a:lnTo>
                      <a:lnTo>
                        <a:pt x="119328" y="24360"/>
                      </a:lnTo>
                      <a:lnTo>
                        <a:pt x="124520" y="24148"/>
                      </a:lnTo>
                      <a:lnTo>
                        <a:pt x="129353" y="24873"/>
                      </a:lnTo>
                      <a:lnTo>
                        <a:pt x="131749" y="25411"/>
                      </a:lnTo>
                      <a:lnTo>
                        <a:pt x="133395" y="25012"/>
                      </a:lnTo>
                      <a:lnTo>
                        <a:pt x="134951" y="26413"/>
                      </a:lnTo>
                      <a:lnTo>
                        <a:pt x="136557" y="29331"/>
                      </a:lnTo>
                      <a:lnTo>
                        <a:pt x="137877" y="30276"/>
                      </a:lnTo>
                      <a:lnTo>
                        <a:pt x="139230" y="31287"/>
                      </a:lnTo>
                      <a:lnTo>
                        <a:pt x="140224" y="33601"/>
                      </a:lnTo>
                      <a:lnTo>
                        <a:pt x="141398" y="35900"/>
                      </a:lnTo>
                      <a:lnTo>
                        <a:pt x="142033" y="36918"/>
                      </a:lnTo>
                      <a:lnTo>
                        <a:pt x="143484" y="39176"/>
                      </a:lnTo>
                      <a:lnTo>
                        <a:pt x="144723" y="39208"/>
                      </a:lnTo>
                      <a:lnTo>
                        <a:pt x="145954" y="38230"/>
                      </a:lnTo>
                      <a:lnTo>
                        <a:pt x="146475" y="37497"/>
                      </a:lnTo>
                      <a:lnTo>
                        <a:pt x="146720" y="38996"/>
                      </a:lnTo>
                      <a:lnTo>
                        <a:pt x="146231" y="41417"/>
                      </a:lnTo>
                      <a:lnTo>
                        <a:pt x="146328" y="42916"/>
                      </a:lnTo>
                      <a:lnTo>
                        <a:pt x="147013" y="43495"/>
                      </a:lnTo>
                      <a:lnTo>
                        <a:pt x="146638" y="45427"/>
                      </a:lnTo>
                      <a:lnTo>
                        <a:pt x="145220" y="48703"/>
                      </a:lnTo>
                      <a:lnTo>
                        <a:pt x="145220" y="50651"/>
                      </a:lnTo>
                      <a:lnTo>
                        <a:pt x="146630" y="51254"/>
                      </a:lnTo>
                      <a:lnTo>
                        <a:pt x="147640" y="53315"/>
                      </a:lnTo>
                      <a:lnTo>
                        <a:pt x="148244" y="56836"/>
                      </a:lnTo>
                      <a:lnTo>
                        <a:pt x="148855" y="58018"/>
                      </a:lnTo>
                      <a:lnTo>
                        <a:pt x="148912" y="58743"/>
                      </a:lnTo>
                      <a:lnTo>
                        <a:pt x="149930" y="67268"/>
                      </a:lnTo>
                      <a:lnTo>
                        <a:pt x="151194" y="75825"/>
                      </a:lnTo>
                      <a:lnTo>
                        <a:pt x="150387" y="76933"/>
                      </a:lnTo>
                      <a:lnTo>
                        <a:pt x="149287" y="77268"/>
                      </a:lnTo>
                      <a:lnTo>
                        <a:pt x="148569" y="77667"/>
                      </a:lnTo>
                      <a:lnTo>
                        <a:pt x="148374" y="78466"/>
                      </a:lnTo>
                      <a:lnTo>
                        <a:pt x="148847" y="79631"/>
                      </a:lnTo>
                      <a:lnTo>
                        <a:pt x="148537" y="80707"/>
                      </a:lnTo>
                      <a:lnTo>
                        <a:pt x="147160" y="81440"/>
                      </a:lnTo>
                      <a:lnTo>
                        <a:pt x="144160" y="84154"/>
                      </a:lnTo>
                      <a:lnTo>
                        <a:pt x="143957" y="85230"/>
                      </a:lnTo>
                      <a:lnTo>
                        <a:pt x="143166" y="87544"/>
                      </a:lnTo>
                      <a:lnTo>
                        <a:pt x="142498" y="88963"/>
                      </a:lnTo>
                      <a:lnTo>
                        <a:pt x="141520" y="91579"/>
                      </a:lnTo>
                      <a:lnTo>
                        <a:pt x="139964" y="98506"/>
                      </a:lnTo>
                      <a:lnTo>
                        <a:pt x="139393" y="104243"/>
                      </a:lnTo>
                      <a:lnTo>
                        <a:pt x="139303" y="106012"/>
                      </a:lnTo>
                      <a:lnTo>
                        <a:pt x="138700" y="107251"/>
                      </a:lnTo>
                      <a:lnTo>
                        <a:pt x="138016" y="109035"/>
                      </a:lnTo>
                      <a:lnTo>
                        <a:pt x="134764" y="113950"/>
                      </a:lnTo>
                      <a:lnTo>
                        <a:pt x="133101" y="117967"/>
                      </a:lnTo>
                      <a:lnTo>
                        <a:pt x="133322" y="119720"/>
                      </a:lnTo>
                      <a:lnTo>
                        <a:pt x="133395" y="121472"/>
                      </a:lnTo>
                      <a:lnTo>
                        <a:pt x="132906" y="122735"/>
                      </a:lnTo>
                      <a:lnTo>
                        <a:pt x="132995" y="126133"/>
                      </a:lnTo>
                      <a:lnTo>
                        <a:pt x="133395" y="128970"/>
                      </a:lnTo>
                      <a:lnTo>
                        <a:pt x="133973" y="131757"/>
                      </a:lnTo>
                      <a:lnTo>
                        <a:pt x="136328" y="139638"/>
                      </a:lnTo>
                      <a:lnTo>
                        <a:pt x="137559" y="144421"/>
                      </a:lnTo>
                      <a:lnTo>
                        <a:pt x="138325" y="148284"/>
                      </a:lnTo>
                      <a:lnTo>
                        <a:pt x="138994" y="150876"/>
                      </a:lnTo>
                      <a:lnTo>
                        <a:pt x="139621" y="151927"/>
                      </a:lnTo>
                      <a:lnTo>
                        <a:pt x="139890" y="152930"/>
                      </a:lnTo>
                      <a:lnTo>
                        <a:pt x="143386" y="153647"/>
                      </a:lnTo>
                      <a:lnTo>
                        <a:pt x="144071" y="154217"/>
                      </a:lnTo>
                      <a:lnTo>
                        <a:pt x="145032" y="159246"/>
                      </a:lnTo>
                      <a:lnTo>
                        <a:pt x="144861" y="161511"/>
                      </a:lnTo>
                      <a:lnTo>
                        <a:pt x="144185" y="162367"/>
                      </a:lnTo>
                      <a:lnTo>
                        <a:pt x="144201" y="164290"/>
                      </a:lnTo>
                      <a:lnTo>
                        <a:pt x="144038" y="166670"/>
                      </a:lnTo>
                      <a:lnTo>
                        <a:pt x="143533" y="167624"/>
                      </a:lnTo>
                      <a:lnTo>
                        <a:pt x="141577" y="167738"/>
                      </a:lnTo>
                      <a:lnTo>
                        <a:pt x="140249" y="168642"/>
                      </a:lnTo>
                      <a:lnTo>
                        <a:pt x="138488" y="168292"/>
                      </a:lnTo>
                      <a:lnTo>
                        <a:pt x="138317" y="167697"/>
                      </a:lnTo>
                      <a:lnTo>
                        <a:pt x="137380" y="167485"/>
                      </a:lnTo>
                      <a:lnTo>
                        <a:pt x="134780" y="166124"/>
                      </a:lnTo>
                      <a:lnTo>
                        <a:pt x="135212" y="161764"/>
                      </a:lnTo>
                      <a:lnTo>
                        <a:pt x="134014" y="161577"/>
                      </a:lnTo>
                      <a:lnTo>
                        <a:pt x="133077" y="162155"/>
                      </a:lnTo>
                      <a:lnTo>
                        <a:pt x="131227" y="167396"/>
                      </a:lnTo>
                      <a:lnTo>
                        <a:pt x="130355" y="168300"/>
                      </a:lnTo>
                      <a:lnTo>
                        <a:pt x="117381" y="165603"/>
                      </a:lnTo>
                      <a:lnTo>
                        <a:pt x="114561" y="163418"/>
                      </a:lnTo>
                      <a:lnTo>
                        <a:pt x="111187" y="162921"/>
                      </a:lnTo>
                      <a:lnTo>
                        <a:pt x="105302" y="163174"/>
                      </a:lnTo>
                      <a:lnTo>
                        <a:pt x="100454" y="163818"/>
                      </a:lnTo>
                      <a:lnTo>
                        <a:pt x="99068" y="165146"/>
                      </a:lnTo>
                      <a:lnTo>
                        <a:pt x="111309" y="164372"/>
                      </a:lnTo>
                      <a:lnTo>
                        <a:pt x="112629" y="164519"/>
                      </a:lnTo>
                      <a:lnTo>
                        <a:pt x="113249" y="165317"/>
                      </a:lnTo>
                      <a:lnTo>
                        <a:pt x="97764" y="167037"/>
                      </a:lnTo>
                      <a:lnTo>
                        <a:pt x="91856" y="168064"/>
                      </a:lnTo>
                      <a:lnTo>
                        <a:pt x="90112" y="167779"/>
                      </a:lnTo>
                      <a:lnTo>
                        <a:pt x="88791" y="166100"/>
                      </a:lnTo>
                      <a:lnTo>
                        <a:pt x="82369" y="165904"/>
                      </a:lnTo>
                      <a:lnTo>
                        <a:pt x="81049" y="166450"/>
                      </a:lnTo>
                      <a:lnTo>
                        <a:pt x="80258" y="167689"/>
                      </a:lnTo>
                      <a:lnTo>
                        <a:pt x="82785" y="167420"/>
                      </a:lnTo>
                      <a:lnTo>
                        <a:pt x="86770" y="167355"/>
                      </a:lnTo>
                      <a:lnTo>
                        <a:pt x="87838" y="168300"/>
                      </a:lnTo>
                      <a:lnTo>
                        <a:pt x="75369" y="169531"/>
                      </a:lnTo>
                      <a:lnTo>
                        <a:pt x="66714" y="171886"/>
                      </a:lnTo>
                      <a:lnTo>
                        <a:pt x="63046" y="173630"/>
                      </a:lnTo>
                      <a:lnTo>
                        <a:pt x="50977" y="179359"/>
                      </a:lnTo>
                      <a:lnTo>
                        <a:pt x="43617" y="182065"/>
                      </a:lnTo>
                      <a:lnTo>
                        <a:pt x="41686" y="183059"/>
                      </a:lnTo>
                      <a:lnTo>
                        <a:pt x="38336" y="185863"/>
                      </a:lnTo>
                      <a:lnTo>
                        <a:pt x="34033" y="187631"/>
                      </a:lnTo>
                      <a:lnTo>
                        <a:pt x="29209" y="190924"/>
                      </a:lnTo>
                      <a:lnTo>
                        <a:pt x="26258" y="191665"/>
                      </a:lnTo>
                      <a:lnTo>
                        <a:pt x="25598" y="190606"/>
                      </a:lnTo>
                      <a:lnTo>
                        <a:pt x="25525" y="185032"/>
                      </a:lnTo>
                      <a:lnTo>
                        <a:pt x="25117" y="177558"/>
                      </a:lnTo>
                      <a:lnTo>
                        <a:pt x="25272" y="174706"/>
                      </a:lnTo>
                      <a:lnTo>
                        <a:pt x="25663" y="172008"/>
                      </a:lnTo>
                      <a:lnTo>
                        <a:pt x="25671" y="169783"/>
                      </a:lnTo>
                      <a:lnTo>
                        <a:pt x="27138" y="168952"/>
                      </a:lnTo>
                      <a:lnTo>
                        <a:pt x="27530" y="168015"/>
                      </a:lnTo>
                      <a:lnTo>
                        <a:pt x="27750" y="165114"/>
                      </a:lnTo>
                      <a:lnTo>
                        <a:pt x="29119" y="162473"/>
                      </a:lnTo>
                      <a:lnTo>
                        <a:pt x="29143" y="157877"/>
                      </a:lnTo>
                      <a:lnTo>
                        <a:pt x="29551" y="156915"/>
                      </a:lnTo>
                      <a:lnTo>
                        <a:pt x="29861" y="155693"/>
                      </a:lnTo>
                      <a:lnTo>
                        <a:pt x="29274" y="152669"/>
                      </a:lnTo>
                      <a:lnTo>
                        <a:pt x="28516" y="146964"/>
                      </a:lnTo>
                      <a:lnTo>
                        <a:pt x="28141" y="146597"/>
                      </a:lnTo>
                      <a:lnTo>
                        <a:pt x="27807" y="146842"/>
                      </a:lnTo>
                      <a:lnTo>
                        <a:pt x="27032" y="146948"/>
                      </a:lnTo>
                      <a:lnTo>
                        <a:pt x="23993" y="144976"/>
                      </a:lnTo>
                      <a:lnTo>
                        <a:pt x="21654" y="144633"/>
                      </a:lnTo>
                      <a:lnTo>
                        <a:pt x="20016" y="142955"/>
                      </a:lnTo>
                      <a:lnTo>
                        <a:pt x="19910" y="141039"/>
                      </a:lnTo>
                      <a:lnTo>
                        <a:pt x="19103" y="139906"/>
                      </a:lnTo>
                      <a:lnTo>
                        <a:pt x="18557" y="137698"/>
                      </a:lnTo>
                      <a:lnTo>
                        <a:pt x="17734" y="135155"/>
                      </a:lnTo>
                      <a:lnTo>
                        <a:pt x="15427" y="133615"/>
                      </a:lnTo>
                      <a:lnTo>
                        <a:pt x="13260" y="133248"/>
                      </a:lnTo>
                      <a:lnTo>
                        <a:pt x="11727" y="133582"/>
                      </a:lnTo>
                      <a:lnTo>
                        <a:pt x="9918" y="133476"/>
                      </a:lnTo>
                      <a:lnTo>
                        <a:pt x="7848" y="132629"/>
                      </a:lnTo>
                      <a:lnTo>
                        <a:pt x="6422" y="131659"/>
                      </a:lnTo>
                      <a:lnTo>
                        <a:pt x="5069" y="129801"/>
                      </a:lnTo>
                      <a:lnTo>
                        <a:pt x="3814" y="128317"/>
                      </a:lnTo>
                      <a:lnTo>
                        <a:pt x="2803" y="128497"/>
                      </a:lnTo>
                      <a:lnTo>
                        <a:pt x="1589" y="128146"/>
                      </a:lnTo>
                      <a:lnTo>
                        <a:pt x="391" y="127470"/>
                      </a:lnTo>
                      <a:lnTo>
                        <a:pt x="0" y="126948"/>
                      </a:lnTo>
                      <a:lnTo>
                        <a:pt x="5020" y="121024"/>
                      </a:lnTo>
                      <a:lnTo>
                        <a:pt x="6724" y="118130"/>
                      </a:lnTo>
                      <a:lnTo>
                        <a:pt x="6903" y="116362"/>
                      </a:lnTo>
                      <a:lnTo>
                        <a:pt x="6919" y="114569"/>
                      </a:lnTo>
                      <a:lnTo>
                        <a:pt x="7465" y="112744"/>
                      </a:lnTo>
                      <a:lnTo>
                        <a:pt x="7604" y="109948"/>
                      </a:lnTo>
                      <a:lnTo>
                        <a:pt x="4824" y="99793"/>
                      </a:lnTo>
                      <a:lnTo>
                        <a:pt x="4124" y="96648"/>
                      </a:lnTo>
                      <a:lnTo>
                        <a:pt x="3374" y="95727"/>
                      </a:lnTo>
                      <a:lnTo>
                        <a:pt x="2893" y="95385"/>
                      </a:lnTo>
                      <a:lnTo>
                        <a:pt x="4287" y="94072"/>
                      </a:lnTo>
                      <a:lnTo>
                        <a:pt x="6235" y="94415"/>
                      </a:lnTo>
                      <a:lnTo>
                        <a:pt x="9209" y="95433"/>
                      </a:lnTo>
                      <a:lnTo>
                        <a:pt x="9853" y="94423"/>
                      </a:lnTo>
                      <a:lnTo>
                        <a:pt x="12094" y="89297"/>
                      </a:lnTo>
                      <a:lnTo>
                        <a:pt x="12037" y="87398"/>
                      </a:lnTo>
                      <a:lnTo>
                        <a:pt x="11809" y="86086"/>
                      </a:lnTo>
                      <a:lnTo>
                        <a:pt x="13129" y="82573"/>
                      </a:lnTo>
                      <a:lnTo>
                        <a:pt x="14172" y="81204"/>
                      </a:lnTo>
                      <a:lnTo>
                        <a:pt x="14710" y="79737"/>
                      </a:lnTo>
                      <a:lnTo>
                        <a:pt x="14539" y="77732"/>
                      </a:lnTo>
                      <a:lnTo>
                        <a:pt x="13757" y="76990"/>
                      </a:lnTo>
                      <a:lnTo>
                        <a:pt x="12714" y="77129"/>
                      </a:lnTo>
                      <a:lnTo>
                        <a:pt x="11474" y="76632"/>
                      </a:lnTo>
                      <a:lnTo>
                        <a:pt x="9576" y="75483"/>
                      </a:lnTo>
                      <a:lnTo>
                        <a:pt x="8614" y="74456"/>
                      </a:lnTo>
                      <a:lnTo>
                        <a:pt x="8907" y="69819"/>
                      </a:lnTo>
                      <a:lnTo>
                        <a:pt x="9087" y="68384"/>
                      </a:lnTo>
                      <a:lnTo>
                        <a:pt x="9755" y="67553"/>
                      </a:lnTo>
                      <a:lnTo>
                        <a:pt x="10798" y="67333"/>
                      </a:lnTo>
                      <a:lnTo>
                        <a:pt x="13740" y="67187"/>
                      </a:lnTo>
                      <a:lnTo>
                        <a:pt x="16120" y="67716"/>
                      </a:lnTo>
                      <a:lnTo>
                        <a:pt x="18215" y="68026"/>
                      </a:lnTo>
                      <a:lnTo>
                        <a:pt x="19331" y="68026"/>
                      </a:lnTo>
                      <a:lnTo>
                        <a:pt x="20236" y="69403"/>
                      </a:lnTo>
                      <a:lnTo>
                        <a:pt x="21434" y="70805"/>
                      </a:lnTo>
                      <a:lnTo>
                        <a:pt x="22493" y="70797"/>
                      </a:lnTo>
                      <a:lnTo>
                        <a:pt x="22860" y="69753"/>
                      </a:lnTo>
                      <a:lnTo>
                        <a:pt x="22615" y="65173"/>
                      </a:lnTo>
                      <a:lnTo>
                        <a:pt x="21906" y="62745"/>
                      </a:lnTo>
                      <a:lnTo>
                        <a:pt x="20309" y="60406"/>
                      </a:lnTo>
                      <a:lnTo>
                        <a:pt x="16169" y="58409"/>
                      </a:lnTo>
                      <a:lnTo>
                        <a:pt x="16071" y="55622"/>
                      </a:lnTo>
                      <a:lnTo>
                        <a:pt x="16487" y="52598"/>
                      </a:lnTo>
                      <a:lnTo>
                        <a:pt x="17375" y="51466"/>
                      </a:lnTo>
                      <a:lnTo>
                        <a:pt x="20456" y="49551"/>
                      </a:lnTo>
                      <a:lnTo>
                        <a:pt x="19918" y="48524"/>
                      </a:lnTo>
                      <a:lnTo>
                        <a:pt x="18932" y="47423"/>
                      </a:lnTo>
                      <a:lnTo>
                        <a:pt x="16984" y="46307"/>
                      </a:lnTo>
                      <a:lnTo>
                        <a:pt x="17432" y="42688"/>
                      </a:lnTo>
                      <a:lnTo>
                        <a:pt x="17530" y="39461"/>
                      </a:lnTo>
                      <a:lnTo>
                        <a:pt x="15884" y="39820"/>
                      </a:lnTo>
                      <a:lnTo>
                        <a:pt x="14188" y="40007"/>
                      </a:lnTo>
                      <a:lnTo>
                        <a:pt x="12754" y="39005"/>
                      </a:lnTo>
                      <a:lnTo>
                        <a:pt x="11556" y="37049"/>
                      </a:lnTo>
                      <a:lnTo>
                        <a:pt x="11328" y="31645"/>
                      </a:lnTo>
                      <a:lnTo>
                        <a:pt x="11336" y="25403"/>
                      </a:lnTo>
                      <a:lnTo>
                        <a:pt x="11108" y="22648"/>
                      </a:lnTo>
                      <a:lnTo>
                        <a:pt x="11565" y="21173"/>
                      </a:lnTo>
                      <a:lnTo>
                        <a:pt x="13023" y="19812"/>
                      </a:lnTo>
                      <a:lnTo>
                        <a:pt x="14612" y="18060"/>
                      </a:lnTo>
                      <a:lnTo>
                        <a:pt x="15183" y="16943"/>
                      </a:lnTo>
                      <a:lnTo>
                        <a:pt x="15924" y="16911"/>
                      </a:lnTo>
                      <a:lnTo>
                        <a:pt x="17824" y="16234"/>
                      </a:lnTo>
                      <a:lnTo>
                        <a:pt x="19559" y="14702"/>
                      </a:lnTo>
                      <a:lnTo>
                        <a:pt x="21173" y="11508"/>
                      </a:lnTo>
                      <a:lnTo>
                        <a:pt x="23357" y="8940"/>
                      </a:lnTo>
                      <a:lnTo>
                        <a:pt x="25810" y="9120"/>
                      </a:lnTo>
                      <a:lnTo>
                        <a:pt x="26535" y="8655"/>
                      </a:lnTo>
                      <a:lnTo>
                        <a:pt x="27399" y="8565"/>
                      </a:lnTo>
                      <a:lnTo>
                        <a:pt x="28426" y="10252"/>
                      </a:lnTo>
                      <a:lnTo>
                        <a:pt x="29461" y="11540"/>
                      </a:lnTo>
                      <a:lnTo>
                        <a:pt x="30194" y="11573"/>
                      </a:lnTo>
                      <a:lnTo>
                        <a:pt x="30733" y="14009"/>
                      </a:lnTo>
                      <a:lnTo>
                        <a:pt x="35223" y="15028"/>
                      </a:lnTo>
                      <a:lnTo>
                        <a:pt x="37146" y="15705"/>
                      </a:lnTo>
                      <a:lnTo>
                        <a:pt x="38752" y="17481"/>
                      </a:lnTo>
                      <a:lnTo>
                        <a:pt x="39314" y="17530"/>
                      </a:lnTo>
                      <a:lnTo>
                        <a:pt x="39999" y="17155"/>
                      </a:lnTo>
                      <a:lnTo>
                        <a:pt x="40528" y="16536"/>
                      </a:lnTo>
                      <a:lnTo>
                        <a:pt x="40634" y="15859"/>
                      </a:lnTo>
                      <a:lnTo>
                        <a:pt x="39942" y="14254"/>
                      </a:lnTo>
                      <a:lnTo>
                        <a:pt x="40243" y="12811"/>
                      </a:lnTo>
                      <a:lnTo>
                        <a:pt x="40969" y="11524"/>
                      </a:lnTo>
                      <a:lnTo>
                        <a:pt x="42126" y="11434"/>
                      </a:lnTo>
                      <a:lnTo>
                        <a:pt x="43870" y="11076"/>
                      </a:lnTo>
                      <a:lnTo>
                        <a:pt x="45867" y="11076"/>
                      </a:lnTo>
                      <a:lnTo>
                        <a:pt x="47358" y="11312"/>
                      </a:lnTo>
                      <a:lnTo>
                        <a:pt x="47945" y="10024"/>
                      </a:lnTo>
                      <a:lnTo>
                        <a:pt x="47382" y="6406"/>
                      </a:lnTo>
                      <a:lnTo>
                        <a:pt x="47529" y="4409"/>
                      </a:lnTo>
                      <a:lnTo>
                        <a:pt x="47774" y="2722"/>
                      </a:lnTo>
                      <a:lnTo>
                        <a:pt x="48328" y="2046"/>
                      </a:lnTo>
                      <a:lnTo>
                        <a:pt x="50544" y="4148"/>
                      </a:lnTo>
                      <a:lnTo>
                        <a:pt x="52574" y="4914"/>
                      </a:lnTo>
                      <a:lnTo>
                        <a:pt x="54033" y="4979"/>
                      </a:lnTo>
                      <a:lnTo>
                        <a:pt x="54440" y="4580"/>
                      </a:lnTo>
                      <a:lnTo>
                        <a:pt x="53812" y="2274"/>
                      </a:lnTo>
                      <a:lnTo>
                        <a:pt x="53984" y="1581"/>
                      </a:lnTo>
                      <a:lnTo>
                        <a:pt x="54522" y="1174"/>
                      </a:lnTo>
                      <a:lnTo>
                        <a:pt x="55475" y="945"/>
                      </a:lnTo>
                      <a:lnTo>
                        <a:pt x="58067" y="0"/>
                      </a:lnTo>
                      <a:lnTo>
                        <a:pt x="58335" y="188"/>
                      </a:lnTo>
                      <a:lnTo>
                        <a:pt x="58800" y="3822"/>
                      </a:lnTo>
                      <a:close/>
                    </a:path>
                  </a:pathLst>
                </a:custGeom>
                <a:solidFill>
                  <a:srgbClr val="D6D6D2"/>
                </a:solidFill>
                <a:ln w="6112" cap="rnd">
                  <a:solidFill>
                    <a:srgbClr val="FFFFFF"/>
                  </a:solidFill>
                  <a:prstDash val="solid"/>
                  <a:round/>
                </a:ln>
              </p:spPr>
              <p:txBody>
                <a:bodyPr rtlCol="0" anchor="ctr"/>
                <a:lstStyle/>
                <a:p>
                  <a:endParaRPr lang="en-US"/>
                </a:p>
              </p:txBody>
            </p:sp>
            <p:sp>
              <p:nvSpPr>
                <p:cNvPr id="760" name="Freeform: Shape 759">
                  <a:extLst>
                    <a:ext uri="{FF2B5EF4-FFF2-40B4-BE49-F238E27FC236}">
                      <a16:creationId xmlns:a16="http://schemas.microsoft.com/office/drawing/2014/main" id="{EBC7D064-64F0-4F0E-94BC-2158BC2006BB}"/>
                    </a:ext>
                  </a:extLst>
                </p:cNvPr>
                <p:cNvSpPr/>
                <p:nvPr/>
              </p:nvSpPr>
              <p:spPr>
                <a:xfrm>
                  <a:off x="8638032" y="3915320"/>
                  <a:ext cx="58987" cy="59101"/>
                </a:xfrm>
                <a:custGeom>
                  <a:avLst/>
                  <a:gdLst>
                    <a:gd name="connsiteX0" fmla="*/ 55883 w 58987"/>
                    <a:gd name="connsiteY0" fmla="*/ 4499 h 59101"/>
                    <a:gd name="connsiteX1" fmla="*/ 57121 w 58987"/>
                    <a:gd name="connsiteY1" fmla="*/ 5860 h 59101"/>
                    <a:gd name="connsiteX2" fmla="*/ 57912 w 58987"/>
                    <a:gd name="connsiteY2" fmla="*/ 7848 h 59101"/>
                    <a:gd name="connsiteX3" fmla="*/ 58588 w 58987"/>
                    <a:gd name="connsiteY3" fmla="*/ 11508 h 59101"/>
                    <a:gd name="connsiteX4" fmla="*/ 58988 w 58987"/>
                    <a:gd name="connsiteY4" fmla="*/ 14882 h 59101"/>
                    <a:gd name="connsiteX5" fmla="*/ 56486 w 58987"/>
                    <a:gd name="connsiteY5" fmla="*/ 17017 h 59101"/>
                    <a:gd name="connsiteX6" fmla="*/ 54236 w 58987"/>
                    <a:gd name="connsiteY6" fmla="*/ 17889 h 59101"/>
                    <a:gd name="connsiteX7" fmla="*/ 49754 w 58987"/>
                    <a:gd name="connsiteY7" fmla="*/ 26104 h 59101"/>
                    <a:gd name="connsiteX8" fmla="*/ 48800 w 58987"/>
                    <a:gd name="connsiteY8" fmla="*/ 28703 h 59101"/>
                    <a:gd name="connsiteX9" fmla="*/ 48042 w 58987"/>
                    <a:gd name="connsiteY9" fmla="*/ 29779 h 59101"/>
                    <a:gd name="connsiteX10" fmla="*/ 47790 w 58987"/>
                    <a:gd name="connsiteY10" fmla="*/ 30912 h 59101"/>
                    <a:gd name="connsiteX11" fmla="*/ 47880 w 58987"/>
                    <a:gd name="connsiteY11" fmla="*/ 32037 h 59101"/>
                    <a:gd name="connsiteX12" fmla="*/ 46722 w 58987"/>
                    <a:gd name="connsiteY12" fmla="*/ 35989 h 59101"/>
                    <a:gd name="connsiteX13" fmla="*/ 45687 w 58987"/>
                    <a:gd name="connsiteY13" fmla="*/ 40838 h 59101"/>
                    <a:gd name="connsiteX14" fmla="*/ 45035 w 58987"/>
                    <a:gd name="connsiteY14" fmla="*/ 42827 h 59101"/>
                    <a:gd name="connsiteX15" fmla="*/ 43756 w 58987"/>
                    <a:gd name="connsiteY15" fmla="*/ 44351 h 59101"/>
                    <a:gd name="connsiteX16" fmla="*/ 42126 w 58987"/>
                    <a:gd name="connsiteY16" fmla="*/ 45117 h 59101"/>
                    <a:gd name="connsiteX17" fmla="*/ 41058 w 58987"/>
                    <a:gd name="connsiteY17" fmla="*/ 45231 h 59101"/>
                    <a:gd name="connsiteX18" fmla="*/ 40089 w 58987"/>
                    <a:gd name="connsiteY18" fmla="*/ 45655 h 59101"/>
                    <a:gd name="connsiteX19" fmla="*/ 37717 w 58987"/>
                    <a:gd name="connsiteY19" fmla="*/ 48303 h 59101"/>
                    <a:gd name="connsiteX20" fmla="*/ 35052 w 58987"/>
                    <a:gd name="connsiteY20" fmla="*/ 50292 h 59101"/>
                    <a:gd name="connsiteX21" fmla="*/ 35492 w 58987"/>
                    <a:gd name="connsiteY21" fmla="*/ 51197 h 59101"/>
                    <a:gd name="connsiteX22" fmla="*/ 35516 w 58987"/>
                    <a:gd name="connsiteY22" fmla="*/ 52060 h 59101"/>
                    <a:gd name="connsiteX23" fmla="*/ 34351 w 58987"/>
                    <a:gd name="connsiteY23" fmla="*/ 53030 h 59101"/>
                    <a:gd name="connsiteX24" fmla="*/ 33047 w 58987"/>
                    <a:gd name="connsiteY24" fmla="*/ 52843 h 59101"/>
                    <a:gd name="connsiteX25" fmla="*/ 29274 w 58987"/>
                    <a:gd name="connsiteY25" fmla="*/ 53625 h 59101"/>
                    <a:gd name="connsiteX26" fmla="*/ 27888 w 58987"/>
                    <a:gd name="connsiteY26" fmla="*/ 55117 h 59101"/>
                    <a:gd name="connsiteX27" fmla="*/ 26470 w 58987"/>
                    <a:gd name="connsiteY27" fmla="*/ 57847 h 59101"/>
                    <a:gd name="connsiteX28" fmla="*/ 25948 w 58987"/>
                    <a:gd name="connsiteY28" fmla="*/ 58214 h 59101"/>
                    <a:gd name="connsiteX29" fmla="*/ 23658 w 58987"/>
                    <a:gd name="connsiteY29" fmla="*/ 58857 h 59101"/>
                    <a:gd name="connsiteX30" fmla="*/ 21914 w 58987"/>
                    <a:gd name="connsiteY30" fmla="*/ 59102 h 59101"/>
                    <a:gd name="connsiteX31" fmla="*/ 18964 w 58987"/>
                    <a:gd name="connsiteY31" fmla="*/ 57179 h 59101"/>
                    <a:gd name="connsiteX32" fmla="*/ 17497 w 58987"/>
                    <a:gd name="connsiteY32" fmla="*/ 56608 h 59101"/>
                    <a:gd name="connsiteX33" fmla="*/ 13586 w 58987"/>
                    <a:gd name="connsiteY33" fmla="*/ 55818 h 59101"/>
                    <a:gd name="connsiteX34" fmla="*/ 9788 w 58987"/>
                    <a:gd name="connsiteY34" fmla="*/ 54514 h 59101"/>
                    <a:gd name="connsiteX35" fmla="*/ 7115 w 58987"/>
                    <a:gd name="connsiteY35" fmla="*/ 53030 h 59101"/>
                    <a:gd name="connsiteX36" fmla="*/ 1638 w 58987"/>
                    <a:gd name="connsiteY36" fmla="*/ 49371 h 59101"/>
                    <a:gd name="connsiteX37" fmla="*/ 1010 w 58987"/>
                    <a:gd name="connsiteY37" fmla="*/ 42754 h 59101"/>
                    <a:gd name="connsiteX38" fmla="*/ 65 w 58987"/>
                    <a:gd name="connsiteY38" fmla="*/ 39184 h 59101"/>
                    <a:gd name="connsiteX39" fmla="*/ 0 w 58987"/>
                    <a:gd name="connsiteY39" fmla="*/ 37913 h 59101"/>
                    <a:gd name="connsiteX40" fmla="*/ 367 w 58987"/>
                    <a:gd name="connsiteY40" fmla="*/ 26910 h 59101"/>
                    <a:gd name="connsiteX41" fmla="*/ 750 w 58987"/>
                    <a:gd name="connsiteY41" fmla="*/ 25704 h 59101"/>
                    <a:gd name="connsiteX42" fmla="*/ 1450 w 58987"/>
                    <a:gd name="connsiteY42" fmla="*/ 24661 h 59101"/>
                    <a:gd name="connsiteX43" fmla="*/ 3863 w 58987"/>
                    <a:gd name="connsiteY43" fmla="*/ 22192 h 59101"/>
                    <a:gd name="connsiteX44" fmla="*/ 6626 w 58987"/>
                    <a:gd name="connsiteY44" fmla="*/ 20252 h 59101"/>
                    <a:gd name="connsiteX45" fmla="*/ 10603 w 58987"/>
                    <a:gd name="connsiteY45" fmla="*/ 16169 h 59101"/>
                    <a:gd name="connsiteX46" fmla="*/ 13488 w 58987"/>
                    <a:gd name="connsiteY46" fmla="*/ 14303 h 59101"/>
                    <a:gd name="connsiteX47" fmla="*/ 15908 w 58987"/>
                    <a:gd name="connsiteY47" fmla="*/ 11622 h 59101"/>
                    <a:gd name="connsiteX48" fmla="*/ 14482 w 58987"/>
                    <a:gd name="connsiteY48" fmla="*/ 11728 h 59101"/>
                    <a:gd name="connsiteX49" fmla="*/ 13439 w 58987"/>
                    <a:gd name="connsiteY49" fmla="*/ 11393 h 59101"/>
                    <a:gd name="connsiteX50" fmla="*/ 14465 w 58987"/>
                    <a:gd name="connsiteY50" fmla="*/ 9095 h 59101"/>
                    <a:gd name="connsiteX51" fmla="*/ 15574 w 58987"/>
                    <a:gd name="connsiteY51" fmla="*/ 7873 h 59101"/>
                    <a:gd name="connsiteX52" fmla="*/ 16854 w 58987"/>
                    <a:gd name="connsiteY52" fmla="*/ 7196 h 59101"/>
                    <a:gd name="connsiteX53" fmla="*/ 19412 w 58987"/>
                    <a:gd name="connsiteY53" fmla="*/ 7685 h 59101"/>
                    <a:gd name="connsiteX54" fmla="*/ 21784 w 58987"/>
                    <a:gd name="connsiteY54" fmla="*/ 7204 h 59101"/>
                    <a:gd name="connsiteX55" fmla="*/ 23536 w 58987"/>
                    <a:gd name="connsiteY55" fmla="*/ 5167 h 59101"/>
                    <a:gd name="connsiteX56" fmla="*/ 25199 w 58987"/>
                    <a:gd name="connsiteY56" fmla="*/ 4727 h 59101"/>
                    <a:gd name="connsiteX57" fmla="*/ 31515 w 58987"/>
                    <a:gd name="connsiteY57" fmla="*/ 5403 h 59101"/>
                    <a:gd name="connsiteX58" fmla="*/ 35899 w 58987"/>
                    <a:gd name="connsiteY58" fmla="*/ 4466 h 59101"/>
                    <a:gd name="connsiteX59" fmla="*/ 38100 w 58987"/>
                    <a:gd name="connsiteY59" fmla="*/ 2592 h 59101"/>
                    <a:gd name="connsiteX60" fmla="*/ 39143 w 58987"/>
                    <a:gd name="connsiteY60" fmla="*/ 2518 h 59101"/>
                    <a:gd name="connsiteX61" fmla="*/ 42370 w 58987"/>
                    <a:gd name="connsiteY61" fmla="*/ 3056 h 59101"/>
                    <a:gd name="connsiteX62" fmla="*/ 43584 w 58987"/>
                    <a:gd name="connsiteY62" fmla="*/ 5004 h 59101"/>
                    <a:gd name="connsiteX63" fmla="*/ 43471 w 58987"/>
                    <a:gd name="connsiteY63" fmla="*/ 3692 h 59101"/>
                    <a:gd name="connsiteX64" fmla="*/ 43617 w 58987"/>
                    <a:gd name="connsiteY64" fmla="*/ 2420 h 59101"/>
                    <a:gd name="connsiteX65" fmla="*/ 44204 w 58987"/>
                    <a:gd name="connsiteY65" fmla="*/ 2559 h 59101"/>
                    <a:gd name="connsiteX66" fmla="*/ 48434 w 58987"/>
                    <a:gd name="connsiteY66" fmla="*/ 4980 h 59101"/>
                    <a:gd name="connsiteX67" fmla="*/ 48442 w 58987"/>
                    <a:gd name="connsiteY67" fmla="*/ 2013 h 59101"/>
                    <a:gd name="connsiteX68" fmla="*/ 48694 w 58987"/>
                    <a:gd name="connsiteY68" fmla="*/ 1239 h 59101"/>
                    <a:gd name="connsiteX69" fmla="*/ 50007 w 58987"/>
                    <a:gd name="connsiteY69" fmla="*/ 0 h 59101"/>
                    <a:gd name="connsiteX70" fmla="*/ 50675 w 58987"/>
                    <a:gd name="connsiteY70" fmla="*/ 16 h 59101"/>
                    <a:gd name="connsiteX71" fmla="*/ 52313 w 58987"/>
                    <a:gd name="connsiteY71" fmla="*/ 2412 h 59101"/>
                    <a:gd name="connsiteX72" fmla="*/ 53910 w 58987"/>
                    <a:gd name="connsiteY72" fmla="*/ 3798 h 59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58987" h="59101">
                      <a:moveTo>
                        <a:pt x="55883" y="4499"/>
                      </a:moveTo>
                      <a:lnTo>
                        <a:pt x="57121" y="5860"/>
                      </a:lnTo>
                      <a:lnTo>
                        <a:pt x="57912" y="7848"/>
                      </a:lnTo>
                      <a:lnTo>
                        <a:pt x="58588" y="11508"/>
                      </a:lnTo>
                      <a:lnTo>
                        <a:pt x="58988" y="14882"/>
                      </a:lnTo>
                      <a:lnTo>
                        <a:pt x="56486" y="17017"/>
                      </a:lnTo>
                      <a:lnTo>
                        <a:pt x="54236" y="17889"/>
                      </a:lnTo>
                      <a:lnTo>
                        <a:pt x="49754" y="26104"/>
                      </a:lnTo>
                      <a:lnTo>
                        <a:pt x="48800" y="28703"/>
                      </a:lnTo>
                      <a:lnTo>
                        <a:pt x="48042" y="29779"/>
                      </a:lnTo>
                      <a:lnTo>
                        <a:pt x="47790" y="30912"/>
                      </a:lnTo>
                      <a:lnTo>
                        <a:pt x="47880" y="32037"/>
                      </a:lnTo>
                      <a:lnTo>
                        <a:pt x="46722" y="35989"/>
                      </a:lnTo>
                      <a:lnTo>
                        <a:pt x="45687" y="40838"/>
                      </a:lnTo>
                      <a:lnTo>
                        <a:pt x="45035" y="42827"/>
                      </a:lnTo>
                      <a:lnTo>
                        <a:pt x="43756" y="44351"/>
                      </a:lnTo>
                      <a:lnTo>
                        <a:pt x="42126" y="45117"/>
                      </a:lnTo>
                      <a:lnTo>
                        <a:pt x="41058" y="45231"/>
                      </a:lnTo>
                      <a:lnTo>
                        <a:pt x="40089" y="45655"/>
                      </a:lnTo>
                      <a:lnTo>
                        <a:pt x="37717" y="48303"/>
                      </a:lnTo>
                      <a:lnTo>
                        <a:pt x="35052" y="50292"/>
                      </a:lnTo>
                      <a:lnTo>
                        <a:pt x="35492" y="51197"/>
                      </a:lnTo>
                      <a:lnTo>
                        <a:pt x="35516" y="52060"/>
                      </a:lnTo>
                      <a:lnTo>
                        <a:pt x="34351" y="53030"/>
                      </a:lnTo>
                      <a:lnTo>
                        <a:pt x="33047" y="52843"/>
                      </a:lnTo>
                      <a:lnTo>
                        <a:pt x="29274" y="53625"/>
                      </a:lnTo>
                      <a:lnTo>
                        <a:pt x="27888" y="55117"/>
                      </a:lnTo>
                      <a:lnTo>
                        <a:pt x="26470" y="57847"/>
                      </a:lnTo>
                      <a:lnTo>
                        <a:pt x="25948" y="58214"/>
                      </a:lnTo>
                      <a:lnTo>
                        <a:pt x="23658" y="58857"/>
                      </a:lnTo>
                      <a:lnTo>
                        <a:pt x="21914" y="59102"/>
                      </a:lnTo>
                      <a:lnTo>
                        <a:pt x="18964" y="57179"/>
                      </a:lnTo>
                      <a:lnTo>
                        <a:pt x="17497" y="56608"/>
                      </a:lnTo>
                      <a:lnTo>
                        <a:pt x="13586" y="55818"/>
                      </a:lnTo>
                      <a:lnTo>
                        <a:pt x="9788" y="54514"/>
                      </a:lnTo>
                      <a:lnTo>
                        <a:pt x="7115" y="53030"/>
                      </a:lnTo>
                      <a:lnTo>
                        <a:pt x="1638" y="49371"/>
                      </a:lnTo>
                      <a:lnTo>
                        <a:pt x="1010" y="42754"/>
                      </a:lnTo>
                      <a:lnTo>
                        <a:pt x="65" y="39184"/>
                      </a:lnTo>
                      <a:lnTo>
                        <a:pt x="0" y="37913"/>
                      </a:lnTo>
                      <a:lnTo>
                        <a:pt x="367" y="26910"/>
                      </a:lnTo>
                      <a:lnTo>
                        <a:pt x="750" y="25704"/>
                      </a:lnTo>
                      <a:lnTo>
                        <a:pt x="1450" y="24661"/>
                      </a:lnTo>
                      <a:lnTo>
                        <a:pt x="3863" y="22192"/>
                      </a:lnTo>
                      <a:lnTo>
                        <a:pt x="6626" y="20252"/>
                      </a:lnTo>
                      <a:lnTo>
                        <a:pt x="10603" y="16169"/>
                      </a:lnTo>
                      <a:lnTo>
                        <a:pt x="13488" y="14303"/>
                      </a:lnTo>
                      <a:lnTo>
                        <a:pt x="15908" y="11622"/>
                      </a:lnTo>
                      <a:lnTo>
                        <a:pt x="14482" y="11728"/>
                      </a:lnTo>
                      <a:lnTo>
                        <a:pt x="13439" y="11393"/>
                      </a:lnTo>
                      <a:lnTo>
                        <a:pt x="14465" y="9095"/>
                      </a:lnTo>
                      <a:lnTo>
                        <a:pt x="15574" y="7873"/>
                      </a:lnTo>
                      <a:lnTo>
                        <a:pt x="16854" y="7196"/>
                      </a:lnTo>
                      <a:lnTo>
                        <a:pt x="19412" y="7685"/>
                      </a:lnTo>
                      <a:lnTo>
                        <a:pt x="21784" y="7204"/>
                      </a:lnTo>
                      <a:lnTo>
                        <a:pt x="23536" y="5167"/>
                      </a:lnTo>
                      <a:lnTo>
                        <a:pt x="25199" y="4727"/>
                      </a:lnTo>
                      <a:lnTo>
                        <a:pt x="31515" y="5403"/>
                      </a:lnTo>
                      <a:lnTo>
                        <a:pt x="35899" y="4466"/>
                      </a:lnTo>
                      <a:lnTo>
                        <a:pt x="38100" y="2592"/>
                      </a:lnTo>
                      <a:lnTo>
                        <a:pt x="39143" y="2518"/>
                      </a:lnTo>
                      <a:lnTo>
                        <a:pt x="42370" y="3056"/>
                      </a:lnTo>
                      <a:lnTo>
                        <a:pt x="43584" y="5004"/>
                      </a:lnTo>
                      <a:lnTo>
                        <a:pt x="43471" y="3692"/>
                      </a:lnTo>
                      <a:lnTo>
                        <a:pt x="43617" y="2420"/>
                      </a:lnTo>
                      <a:lnTo>
                        <a:pt x="44204" y="2559"/>
                      </a:lnTo>
                      <a:lnTo>
                        <a:pt x="48434" y="4980"/>
                      </a:lnTo>
                      <a:lnTo>
                        <a:pt x="48442" y="2013"/>
                      </a:lnTo>
                      <a:lnTo>
                        <a:pt x="48694" y="1239"/>
                      </a:lnTo>
                      <a:lnTo>
                        <a:pt x="50007" y="0"/>
                      </a:lnTo>
                      <a:lnTo>
                        <a:pt x="50675" y="16"/>
                      </a:lnTo>
                      <a:lnTo>
                        <a:pt x="52313" y="2412"/>
                      </a:lnTo>
                      <a:lnTo>
                        <a:pt x="53910" y="3798"/>
                      </a:lnTo>
                      <a:close/>
                    </a:path>
                  </a:pathLst>
                </a:custGeom>
                <a:solidFill>
                  <a:srgbClr val="D6D6D2"/>
                </a:solidFill>
                <a:ln w="8150" cap="flat">
                  <a:noFill/>
                  <a:prstDash val="solid"/>
                  <a:miter/>
                </a:ln>
              </p:spPr>
              <p:txBody>
                <a:bodyPr rtlCol="0" anchor="ctr"/>
                <a:lstStyle/>
                <a:p>
                  <a:endParaRPr lang="en-US"/>
                </a:p>
              </p:txBody>
            </p:sp>
            <p:sp>
              <p:nvSpPr>
                <p:cNvPr id="761" name="Freeform: Shape 760">
                  <a:extLst>
                    <a:ext uri="{FF2B5EF4-FFF2-40B4-BE49-F238E27FC236}">
                      <a16:creationId xmlns:a16="http://schemas.microsoft.com/office/drawing/2014/main" id="{24D4E709-5519-4A06-9753-C2766504AEED}"/>
                    </a:ext>
                  </a:extLst>
                </p:cNvPr>
                <p:cNvSpPr/>
                <p:nvPr/>
              </p:nvSpPr>
              <p:spPr>
                <a:xfrm>
                  <a:off x="7769254" y="2793167"/>
                  <a:ext cx="1516542" cy="1118257"/>
                </a:xfrm>
                <a:custGeom>
                  <a:avLst/>
                  <a:gdLst>
                    <a:gd name="connsiteX0" fmla="*/ 1237195 w 1516542"/>
                    <a:gd name="connsiteY0" fmla="*/ 986 h 1118257"/>
                    <a:gd name="connsiteX1" fmla="*/ 1238319 w 1516542"/>
                    <a:gd name="connsiteY1" fmla="*/ 1100 h 1118257"/>
                    <a:gd name="connsiteX2" fmla="*/ 1238938 w 1516542"/>
                    <a:gd name="connsiteY2" fmla="*/ 1092 h 1118257"/>
                    <a:gd name="connsiteX3" fmla="*/ 1240120 w 1516542"/>
                    <a:gd name="connsiteY3" fmla="*/ 350 h 1118257"/>
                    <a:gd name="connsiteX4" fmla="*/ 1243429 w 1516542"/>
                    <a:gd name="connsiteY4" fmla="*/ 1679 h 1118257"/>
                    <a:gd name="connsiteX5" fmla="*/ 1249721 w 1516542"/>
                    <a:gd name="connsiteY5" fmla="*/ 5631 h 1118257"/>
                    <a:gd name="connsiteX6" fmla="*/ 1253689 w 1516542"/>
                    <a:gd name="connsiteY6" fmla="*/ 7400 h 1118257"/>
                    <a:gd name="connsiteX7" fmla="*/ 1255311 w 1516542"/>
                    <a:gd name="connsiteY7" fmla="*/ 6968 h 1118257"/>
                    <a:gd name="connsiteX8" fmla="*/ 1257080 w 1516542"/>
                    <a:gd name="connsiteY8" fmla="*/ 8068 h 1118257"/>
                    <a:gd name="connsiteX9" fmla="*/ 1259019 w 1516542"/>
                    <a:gd name="connsiteY9" fmla="*/ 10684 h 1118257"/>
                    <a:gd name="connsiteX10" fmla="*/ 1261407 w 1516542"/>
                    <a:gd name="connsiteY10" fmla="*/ 12233 h 1118257"/>
                    <a:gd name="connsiteX11" fmla="*/ 1265719 w 1516542"/>
                    <a:gd name="connsiteY11" fmla="*/ 12942 h 1118257"/>
                    <a:gd name="connsiteX12" fmla="*/ 1269997 w 1516542"/>
                    <a:gd name="connsiteY12" fmla="*/ 15819 h 1118257"/>
                    <a:gd name="connsiteX13" fmla="*/ 1271733 w 1516542"/>
                    <a:gd name="connsiteY13" fmla="*/ 15973 h 1118257"/>
                    <a:gd name="connsiteX14" fmla="*/ 1272344 w 1516542"/>
                    <a:gd name="connsiteY14" fmla="*/ 14360 h 1118257"/>
                    <a:gd name="connsiteX15" fmla="*/ 1273941 w 1516542"/>
                    <a:gd name="connsiteY15" fmla="*/ 13447 h 1118257"/>
                    <a:gd name="connsiteX16" fmla="*/ 1276517 w 1516542"/>
                    <a:gd name="connsiteY16" fmla="*/ 13203 h 1118257"/>
                    <a:gd name="connsiteX17" fmla="*/ 1280250 w 1516542"/>
                    <a:gd name="connsiteY17" fmla="*/ 14621 h 1118257"/>
                    <a:gd name="connsiteX18" fmla="*/ 1285139 w 1516542"/>
                    <a:gd name="connsiteY18" fmla="*/ 17693 h 1118257"/>
                    <a:gd name="connsiteX19" fmla="*/ 1288203 w 1516542"/>
                    <a:gd name="connsiteY19" fmla="*/ 19046 h 1118257"/>
                    <a:gd name="connsiteX20" fmla="*/ 1289443 w 1516542"/>
                    <a:gd name="connsiteY20" fmla="*/ 18679 h 1118257"/>
                    <a:gd name="connsiteX21" fmla="*/ 1290754 w 1516542"/>
                    <a:gd name="connsiteY21" fmla="*/ 19241 h 1118257"/>
                    <a:gd name="connsiteX22" fmla="*/ 1291814 w 1516542"/>
                    <a:gd name="connsiteY22" fmla="*/ 20684 h 1118257"/>
                    <a:gd name="connsiteX23" fmla="*/ 1291904 w 1516542"/>
                    <a:gd name="connsiteY23" fmla="*/ 22461 h 1118257"/>
                    <a:gd name="connsiteX24" fmla="*/ 1291545 w 1516542"/>
                    <a:gd name="connsiteY24" fmla="*/ 23414 h 1118257"/>
                    <a:gd name="connsiteX25" fmla="*/ 1292719 w 1516542"/>
                    <a:gd name="connsiteY25" fmla="*/ 24906 h 1118257"/>
                    <a:gd name="connsiteX26" fmla="*/ 1294080 w 1516542"/>
                    <a:gd name="connsiteY26" fmla="*/ 24906 h 1118257"/>
                    <a:gd name="connsiteX27" fmla="*/ 1296280 w 1516542"/>
                    <a:gd name="connsiteY27" fmla="*/ 25623 h 1118257"/>
                    <a:gd name="connsiteX28" fmla="*/ 1298008 w 1516542"/>
                    <a:gd name="connsiteY28" fmla="*/ 28271 h 1118257"/>
                    <a:gd name="connsiteX29" fmla="*/ 1299565 w 1516542"/>
                    <a:gd name="connsiteY29" fmla="*/ 29494 h 1118257"/>
                    <a:gd name="connsiteX30" fmla="*/ 1300656 w 1516542"/>
                    <a:gd name="connsiteY30" fmla="*/ 30553 h 1118257"/>
                    <a:gd name="connsiteX31" fmla="*/ 1300852 w 1516542"/>
                    <a:gd name="connsiteY31" fmla="*/ 31433 h 1118257"/>
                    <a:gd name="connsiteX32" fmla="*/ 1300950 w 1516542"/>
                    <a:gd name="connsiteY32" fmla="*/ 32322 h 1118257"/>
                    <a:gd name="connsiteX33" fmla="*/ 1300624 w 1516542"/>
                    <a:gd name="connsiteY33" fmla="*/ 33015 h 1118257"/>
                    <a:gd name="connsiteX34" fmla="*/ 1300037 w 1516542"/>
                    <a:gd name="connsiteY34" fmla="*/ 34155 h 1118257"/>
                    <a:gd name="connsiteX35" fmla="*/ 1299866 w 1516542"/>
                    <a:gd name="connsiteY35" fmla="*/ 35370 h 1118257"/>
                    <a:gd name="connsiteX36" fmla="*/ 1300591 w 1516542"/>
                    <a:gd name="connsiteY36" fmla="*/ 36747 h 1118257"/>
                    <a:gd name="connsiteX37" fmla="*/ 1303337 w 1516542"/>
                    <a:gd name="connsiteY37" fmla="*/ 37741 h 1118257"/>
                    <a:gd name="connsiteX38" fmla="*/ 1304283 w 1516542"/>
                    <a:gd name="connsiteY38" fmla="*/ 38768 h 1118257"/>
                    <a:gd name="connsiteX39" fmla="*/ 1304495 w 1516542"/>
                    <a:gd name="connsiteY39" fmla="*/ 40080 h 1118257"/>
                    <a:gd name="connsiteX40" fmla="*/ 1305351 w 1516542"/>
                    <a:gd name="connsiteY40" fmla="*/ 41531 h 1118257"/>
                    <a:gd name="connsiteX41" fmla="*/ 1307217 w 1516542"/>
                    <a:gd name="connsiteY41" fmla="*/ 43210 h 1118257"/>
                    <a:gd name="connsiteX42" fmla="*/ 1307942 w 1516542"/>
                    <a:gd name="connsiteY42" fmla="*/ 44612 h 1118257"/>
                    <a:gd name="connsiteX43" fmla="*/ 1307502 w 1516542"/>
                    <a:gd name="connsiteY43" fmla="*/ 45736 h 1118257"/>
                    <a:gd name="connsiteX44" fmla="*/ 1308040 w 1516542"/>
                    <a:gd name="connsiteY44" fmla="*/ 46673 h 1118257"/>
                    <a:gd name="connsiteX45" fmla="*/ 1308977 w 1516542"/>
                    <a:gd name="connsiteY45" fmla="*/ 47415 h 1118257"/>
                    <a:gd name="connsiteX46" fmla="*/ 1309165 w 1516542"/>
                    <a:gd name="connsiteY46" fmla="*/ 50088 h 1118257"/>
                    <a:gd name="connsiteX47" fmla="*/ 1309254 w 1516542"/>
                    <a:gd name="connsiteY47" fmla="*/ 51628 h 1118257"/>
                    <a:gd name="connsiteX48" fmla="*/ 1310762 w 1516542"/>
                    <a:gd name="connsiteY48" fmla="*/ 53356 h 1118257"/>
                    <a:gd name="connsiteX49" fmla="*/ 1311072 w 1516542"/>
                    <a:gd name="connsiteY49" fmla="*/ 56885 h 1118257"/>
                    <a:gd name="connsiteX50" fmla="*/ 1312123 w 1516542"/>
                    <a:gd name="connsiteY50" fmla="*/ 60797 h 1118257"/>
                    <a:gd name="connsiteX51" fmla="*/ 1315668 w 1516542"/>
                    <a:gd name="connsiteY51" fmla="*/ 66143 h 1118257"/>
                    <a:gd name="connsiteX52" fmla="*/ 1316842 w 1516542"/>
                    <a:gd name="connsiteY52" fmla="*/ 69036 h 1118257"/>
                    <a:gd name="connsiteX53" fmla="*/ 1316532 w 1516542"/>
                    <a:gd name="connsiteY53" fmla="*/ 72475 h 1118257"/>
                    <a:gd name="connsiteX54" fmla="*/ 1317054 w 1516542"/>
                    <a:gd name="connsiteY54" fmla="*/ 74089 h 1118257"/>
                    <a:gd name="connsiteX55" fmla="*/ 1318667 w 1516542"/>
                    <a:gd name="connsiteY55" fmla="*/ 74872 h 1118257"/>
                    <a:gd name="connsiteX56" fmla="*/ 1319434 w 1516542"/>
                    <a:gd name="connsiteY56" fmla="*/ 76330 h 1118257"/>
                    <a:gd name="connsiteX57" fmla="*/ 1319344 w 1516542"/>
                    <a:gd name="connsiteY57" fmla="*/ 78457 h 1118257"/>
                    <a:gd name="connsiteX58" fmla="*/ 1319971 w 1516542"/>
                    <a:gd name="connsiteY58" fmla="*/ 79770 h 1118257"/>
                    <a:gd name="connsiteX59" fmla="*/ 1320485 w 1516542"/>
                    <a:gd name="connsiteY59" fmla="*/ 81179 h 1118257"/>
                    <a:gd name="connsiteX60" fmla="*/ 1320134 w 1516542"/>
                    <a:gd name="connsiteY60" fmla="*/ 83364 h 1118257"/>
                    <a:gd name="connsiteX61" fmla="*/ 1320648 w 1516542"/>
                    <a:gd name="connsiteY61" fmla="*/ 85336 h 1118257"/>
                    <a:gd name="connsiteX62" fmla="*/ 1321479 w 1516542"/>
                    <a:gd name="connsiteY62" fmla="*/ 86485 h 1118257"/>
                    <a:gd name="connsiteX63" fmla="*/ 1322066 w 1516542"/>
                    <a:gd name="connsiteY63" fmla="*/ 88612 h 1118257"/>
                    <a:gd name="connsiteX64" fmla="*/ 1322400 w 1516542"/>
                    <a:gd name="connsiteY64" fmla="*/ 91269 h 1118257"/>
                    <a:gd name="connsiteX65" fmla="*/ 1324771 w 1516542"/>
                    <a:gd name="connsiteY65" fmla="*/ 95474 h 1118257"/>
                    <a:gd name="connsiteX66" fmla="*/ 1329180 w 1516542"/>
                    <a:gd name="connsiteY66" fmla="*/ 101211 h 1118257"/>
                    <a:gd name="connsiteX67" fmla="*/ 1331870 w 1516542"/>
                    <a:gd name="connsiteY67" fmla="*/ 105678 h 1118257"/>
                    <a:gd name="connsiteX68" fmla="*/ 1332864 w 1516542"/>
                    <a:gd name="connsiteY68" fmla="*/ 108848 h 1118257"/>
                    <a:gd name="connsiteX69" fmla="*/ 1332872 w 1516542"/>
                    <a:gd name="connsiteY69" fmla="*/ 111456 h 1118257"/>
                    <a:gd name="connsiteX70" fmla="*/ 1331902 w 1516542"/>
                    <a:gd name="connsiteY70" fmla="*/ 113501 h 1118257"/>
                    <a:gd name="connsiteX71" fmla="*/ 1331846 w 1516542"/>
                    <a:gd name="connsiteY71" fmla="*/ 114985 h 1118257"/>
                    <a:gd name="connsiteX72" fmla="*/ 1332709 w 1516542"/>
                    <a:gd name="connsiteY72" fmla="*/ 115922 h 1118257"/>
                    <a:gd name="connsiteX73" fmla="*/ 1332970 w 1516542"/>
                    <a:gd name="connsiteY73" fmla="*/ 117185 h 1118257"/>
                    <a:gd name="connsiteX74" fmla="*/ 1332628 w 1516542"/>
                    <a:gd name="connsiteY74" fmla="*/ 118774 h 1118257"/>
                    <a:gd name="connsiteX75" fmla="*/ 1334070 w 1516542"/>
                    <a:gd name="connsiteY75" fmla="*/ 120657 h 1118257"/>
                    <a:gd name="connsiteX76" fmla="*/ 1338903 w 1516542"/>
                    <a:gd name="connsiteY76" fmla="*/ 123925 h 1118257"/>
                    <a:gd name="connsiteX77" fmla="*/ 1336964 w 1516542"/>
                    <a:gd name="connsiteY77" fmla="*/ 128937 h 1118257"/>
                    <a:gd name="connsiteX78" fmla="*/ 1336466 w 1516542"/>
                    <a:gd name="connsiteY78" fmla="*/ 132458 h 1118257"/>
                    <a:gd name="connsiteX79" fmla="*/ 1336727 w 1516542"/>
                    <a:gd name="connsiteY79" fmla="*/ 136158 h 1118257"/>
                    <a:gd name="connsiteX80" fmla="*/ 1337925 w 1516542"/>
                    <a:gd name="connsiteY80" fmla="*/ 138765 h 1118257"/>
                    <a:gd name="connsiteX81" fmla="*/ 1340052 w 1516542"/>
                    <a:gd name="connsiteY81" fmla="*/ 140281 h 1118257"/>
                    <a:gd name="connsiteX82" fmla="*/ 1341381 w 1516542"/>
                    <a:gd name="connsiteY82" fmla="*/ 141862 h 1118257"/>
                    <a:gd name="connsiteX83" fmla="*/ 1341902 w 1516542"/>
                    <a:gd name="connsiteY83" fmla="*/ 143509 h 1118257"/>
                    <a:gd name="connsiteX84" fmla="*/ 1344453 w 1516542"/>
                    <a:gd name="connsiteY84" fmla="*/ 145302 h 1118257"/>
                    <a:gd name="connsiteX85" fmla="*/ 1349058 w 1516542"/>
                    <a:gd name="connsiteY85" fmla="*/ 147241 h 1118257"/>
                    <a:gd name="connsiteX86" fmla="*/ 1354942 w 1516542"/>
                    <a:gd name="connsiteY86" fmla="*/ 147583 h 1118257"/>
                    <a:gd name="connsiteX87" fmla="*/ 1362122 w 1516542"/>
                    <a:gd name="connsiteY87" fmla="*/ 146312 h 1118257"/>
                    <a:gd name="connsiteX88" fmla="*/ 1366531 w 1516542"/>
                    <a:gd name="connsiteY88" fmla="*/ 146100 h 1118257"/>
                    <a:gd name="connsiteX89" fmla="*/ 1368136 w 1516542"/>
                    <a:gd name="connsiteY89" fmla="*/ 146948 h 1118257"/>
                    <a:gd name="connsiteX90" fmla="*/ 1368682 w 1516542"/>
                    <a:gd name="connsiteY90" fmla="*/ 148219 h 1118257"/>
                    <a:gd name="connsiteX91" fmla="*/ 1368169 w 1516542"/>
                    <a:gd name="connsiteY91" fmla="*/ 149931 h 1118257"/>
                    <a:gd name="connsiteX92" fmla="*/ 1369383 w 1516542"/>
                    <a:gd name="connsiteY92" fmla="*/ 151055 h 1118257"/>
                    <a:gd name="connsiteX93" fmla="*/ 1372333 w 1516542"/>
                    <a:gd name="connsiteY93" fmla="*/ 151585 h 1118257"/>
                    <a:gd name="connsiteX94" fmla="*/ 1374371 w 1516542"/>
                    <a:gd name="connsiteY94" fmla="*/ 152669 h 1118257"/>
                    <a:gd name="connsiteX95" fmla="*/ 1375487 w 1516542"/>
                    <a:gd name="connsiteY95" fmla="*/ 154283 h 1118257"/>
                    <a:gd name="connsiteX96" fmla="*/ 1376848 w 1516542"/>
                    <a:gd name="connsiteY96" fmla="*/ 154739 h 1118257"/>
                    <a:gd name="connsiteX97" fmla="*/ 1378462 w 1516542"/>
                    <a:gd name="connsiteY97" fmla="*/ 154038 h 1118257"/>
                    <a:gd name="connsiteX98" fmla="*/ 1380027 w 1516542"/>
                    <a:gd name="connsiteY98" fmla="*/ 154144 h 1118257"/>
                    <a:gd name="connsiteX99" fmla="*/ 1381559 w 1516542"/>
                    <a:gd name="connsiteY99" fmla="*/ 155041 h 1118257"/>
                    <a:gd name="connsiteX100" fmla="*/ 1382553 w 1516542"/>
                    <a:gd name="connsiteY100" fmla="*/ 154731 h 1118257"/>
                    <a:gd name="connsiteX101" fmla="*/ 1383409 w 1516542"/>
                    <a:gd name="connsiteY101" fmla="*/ 153745 h 1118257"/>
                    <a:gd name="connsiteX102" fmla="*/ 1384794 w 1516542"/>
                    <a:gd name="connsiteY102" fmla="*/ 153745 h 1118257"/>
                    <a:gd name="connsiteX103" fmla="*/ 1386221 w 1516542"/>
                    <a:gd name="connsiteY103" fmla="*/ 153769 h 1118257"/>
                    <a:gd name="connsiteX104" fmla="*/ 1387109 w 1516542"/>
                    <a:gd name="connsiteY104" fmla="*/ 156141 h 1118257"/>
                    <a:gd name="connsiteX105" fmla="*/ 1388535 w 1516542"/>
                    <a:gd name="connsiteY105" fmla="*/ 157477 h 1118257"/>
                    <a:gd name="connsiteX106" fmla="*/ 1390523 w 1516542"/>
                    <a:gd name="connsiteY106" fmla="*/ 157771 h 1118257"/>
                    <a:gd name="connsiteX107" fmla="*/ 1393523 w 1516542"/>
                    <a:gd name="connsiteY107" fmla="*/ 160656 h 1118257"/>
                    <a:gd name="connsiteX108" fmla="*/ 1399594 w 1516542"/>
                    <a:gd name="connsiteY108" fmla="*/ 168854 h 1118257"/>
                    <a:gd name="connsiteX109" fmla="*/ 1403530 w 1516542"/>
                    <a:gd name="connsiteY109" fmla="*/ 171772 h 1118257"/>
                    <a:gd name="connsiteX110" fmla="*/ 1407483 w 1516542"/>
                    <a:gd name="connsiteY110" fmla="*/ 172677 h 1118257"/>
                    <a:gd name="connsiteX111" fmla="*/ 1412381 w 1516542"/>
                    <a:gd name="connsiteY111" fmla="*/ 172872 h 1118257"/>
                    <a:gd name="connsiteX112" fmla="*/ 1413979 w 1516542"/>
                    <a:gd name="connsiteY112" fmla="*/ 176042 h 1118257"/>
                    <a:gd name="connsiteX113" fmla="*/ 1412699 w 1516542"/>
                    <a:gd name="connsiteY113" fmla="*/ 179400 h 1118257"/>
                    <a:gd name="connsiteX114" fmla="*/ 1412365 w 1516542"/>
                    <a:gd name="connsiteY114" fmla="*/ 182204 h 1118257"/>
                    <a:gd name="connsiteX115" fmla="*/ 1413490 w 1516542"/>
                    <a:gd name="connsiteY115" fmla="*/ 183206 h 1118257"/>
                    <a:gd name="connsiteX116" fmla="*/ 1415013 w 1516542"/>
                    <a:gd name="connsiteY116" fmla="*/ 186498 h 1118257"/>
                    <a:gd name="connsiteX117" fmla="*/ 1417190 w 1516542"/>
                    <a:gd name="connsiteY117" fmla="*/ 188405 h 1118257"/>
                    <a:gd name="connsiteX118" fmla="*/ 1417605 w 1516542"/>
                    <a:gd name="connsiteY118" fmla="*/ 189913 h 1118257"/>
                    <a:gd name="connsiteX119" fmla="*/ 1418624 w 1516542"/>
                    <a:gd name="connsiteY119" fmla="*/ 191600 h 1118257"/>
                    <a:gd name="connsiteX120" fmla="*/ 1418192 w 1516542"/>
                    <a:gd name="connsiteY120" fmla="*/ 194721 h 1118257"/>
                    <a:gd name="connsiteX121" fmla="*/ 1416334 w 1516542"/>
                    <a:gd name="connsiteY121" fmla="*/ 199285 h 1118257"/>
                    <a:gd name="connsiteX122" fmla="*/ 1416831 w 1516542"/>
                    <a:gd name="connsiteY122" fmla="*/ 203173 h 1118257"/>
                    <a:gd name="connsiteX123" fmla="*/ 1419724 w 1516542"/>
                    <a:gd name="connsiteY123" fmla="*/ 206392 h 1118257"/>
                    <a:gd name="connsiteX124" fmla="*/ 1421378 w 1516542"/>
                    <a:gd name="connsiteY124" fmla="*/ 209497 h 1118257"/>
                    <a:gd name="connsiteX125" fmla="*/ 1421802 w 1516542"/>
                    <a:gd name="connsiteY125" fmla="*/ 212472 h 1118257"/>
                    <a:gd name="connsiteX126" fmla="*/ 1422519 w 1516542"/>
                    <a:gd name="connsiteY126" fmla="*/ 214281 h 1118257"/>
                    <a:gd name="connsiteX127" fmla="*/ 1423538 w 1516542"/>
                    <a:gd name="connsiteY127" fmla="*/ 214925 h 1118257"/>
                    <a:gd name="connsiteX128" fmla="*/ 1426496 w 1516542"/>
                    <a:gd name="connsiteY128" fmla="*/ 214705 h 1118257"/>
                    <a:gd name="connsiteX129" fmla="*/ 1431394 w 1516542"/>
                    <a:gd name="connsiteY129" fmla="*/ 213621 h 1118257"/>
                    <a:gd name="connsiteX130" fmla="*/ 1434997 w 1516542"/>
                    <a:gd name="connsiteY130" fmla="*/ 213808 h 1118257"/>
                    <a:gd name="connsiteX131" fmla="*/ 1437278 w 1516542"/>
                    <a:gd name="connsiteY131" fmla="*/ 215251 h 1118257"/>
                    <a:gd name="connsiteX132" fmla="*/ 1442942 w 1516542"/>
                    <a:gd name="connsiteY132" fmla="*/ 215316 h 1118257"/>
                    <a:gd name="connsiteX133" fmla="*/ 1451997 w 1516542"/>
                    <a:gd name="connsiteY133" fmla="*/ 213971 h 1118257"/>
                    <a:gd name="connsiteX134" fmla="*/ 1457702 w 1516542"/>
                    <a:gd name="connsiteY134" fmla="*/ 213564 h 1118257"/>
                    <a:gd name="connsiteX135" fmla="*/ 1460090 w 1516542"/>
                    <a:gd name="connsiteY135" fmla="*/ 214085 h 1118257"/>
                    <a:gd name="connsiteX136" fmla="*/ 1462209 w 1516542"/>
                    <a:gd name="connsiteY136" fmla="*/ 212162 h 1118257"/>
                    <a:gd name="connsiteX137" fmla="*/ 1464067 w 1516542"/>
                    <a:gd name="connsiteY137" fmla="*/ 207810 h 1118257"/>
                    <a:gd name="connsiteX138" fmla="*/ 1465811 w 1516542"/>
                    <a:gd name="connsiteY138" fmla="*/ 205756 h 1118257"/>
                    <a:gd name="connsiteX139" fmla="*/ 1467441 w 1516542"/>
                    <a:gd name="connsiteY139" fmla="*/ 206017 h 1118257"/>
                    <a:gd name="connsiteX140" fmla="*/ 1470024 w 1516542"/>
                    <a:gd name="connsiteY140" fmla="*/ 204623 h 1118257"/>
                    <a:gd name="connsiteX141" fmla="*/ 1473569 w 1516542"/>
                    <a:gd name="connsiteY141" fmla="*/ 201559 h 1118257"/>
                    <a:gd name="connsiteX142" fmla="*/ 1476650 w 1516542"/>
                    <a:gd name="connsiteY142" fmla="*/ 200076 h 1118257"/>
                    <a:gd name="connsiteX143" fmla="*/ 1480545 w 1516542"/>
                    <a:gd name="connsiteY143" fmla="*/ 200223 h 1118257"/>
                    <a:gd name="connsiteX144" fmla="*/ 1484685 w 1516542"/>
                    <a:gd name="connsiteY144" fmla="*/ 200386 h 1118257"/>
                    <a:gd name="connsiteX145" fmla="*/ 1487301 w 1516542"/>
                    <a:gd name="connsiteY145" fmla="*/ 199090 h 1118257"/>
                    <a:gd name="connsiteX146" fmla="*/ 1489738 w 1516542"/>
                    <a:gd name="connsiteY146" fmla="*/ 196408 h 1118257"/>
                    <a:gd name="connsiteX147" fmla="*/ 1493968 w 1516542"/>
                    <a:gd name="connsiteY147" fmla="*/ 194029 h 1118257"/>
                    <a:gd name="connsiteX148" fmla="*/ 1502982 w 1516542"/>
                    <a:gd name="connsiteY148" fmla="*/ 190932 h 1118257"/>
                    <a:gd name="connsiteX149" fmla="*/ 1505158 w 1516542"/>
                    <a:gd name="connsiteY149" fmla="*/ 190451 h 1118257"/>
                    <a:gd name="connsiteX150" fmla="*/ 1506184 w 1516542"/>
                    <a:gd name="connsiteY150" fmla="*/ 190614 h 1118257"/>
                    <a:gd name="connsiteX151" fmla="*/ 1509192 w 1516542"/>
                    <a:gd name="connsiteY151" fmla="*/ 191103 h 1118257"/>
                    <a:gd name="connsiteX152" fmla="*/ 1511857 w 1516542"/>
                    <a:gd name="connsiteY152" fmla="*/ 192309 h 1118257"/>
                    <a:gd name="connsiteX153" fmla="*/ 1514383 w 1516542"/>
                    <a:gd name="connsiteY153" fmla="*/ 194746 h 1118257"/>
                    <a:gd name="connsiteX154" fmla="*/ 1514766 w 1516542"/>
                    <a:gd name="connsiteY154" fmla="*/ 196311 h 1118257"/>
                    <a:gd name="connsiteX155" fmla="*/ 1514481 w 1516542"/>
                    <a:gd name="connsiteY155" fmla="*/ 198364 h 1118257"/>
                    <a:gd name="connsiteX156" fmla="*/ 1513927 w 1516542"/>
                    <a:gd name="connsiteY156" fmla="*/ 199554 h 1118257"/>
                    <a:gd name="connsiteX157" fmla="*/ 1512900 w 1516542"/>
                    <a:gd name="connsiteY157" fmla="*/ 200891 h 1118257"/>
                    <a:gd name="connsiteX158" fmla="*/ 1511914 w 1516542"/>
                    <a:gd name="connsiteY158" fmla="*/ 203059 h 1118257"/>
                    <a:gd name="connsiteX159" fmla="*/ 1512541 w 1516542"/>
                    <a:gd name="connsiteY159" fmla="*/ 204754 h 1118257"/>
                    <a:gd name="connsiteX160" fmla="*/ 1514008 w 1516542"/>
                    <a:gd name="connsiteY160" fmla="*/ 208372 h 1118257"/>
                    <a:gd name="connsiteX161" fmla="*/ 1515206 w 1516542"/>
                    <a:gd name="connsiteY161" fmla="*/ 210988 h 1118257"/>
                    <a:gd name="connsiteX162" fmla="*/ 1516543 w 1516542"/>
                    <a:gd name="connsiteY162" fmla="*/ 214069 h 1118257"/>
                    <a:gd name="connsiteX163" fmla="*/ 1515931 w 1516542"/>
                    <a:gd name="connsiteY163" fmla="*/ 215169 h 1118257"/>
                    <a:gd name="connsiteX164" fmla="*/ 1515141 w 1516542"/>
                    <a:gd name="connsiteY164" fmla="*/ 217304 h 1118257"/>
                    <a:gd name="connsiteX165" fmla="*/ 1512663 w 1516542"/>
                    <a:gd name="connsiteY165" fmla="*/ 220915 h 1118257"/>
                    <a:gd name="connsiteX166" fmla="*/ 1511319 w 1516542"/>
                    <a:gd name="connsiteY166" fmla="*/ 222300 h 1118257"/>
                    <a:gd name="connsiteX167" fmla="*/ 1509868 w 1516542"/>
                    <a:gd name="connsiteY167" fmla="*/ 223645 h 1118257"/>
                    <a:gd name="connsiteX168" fmla="*/ 1507366 w 1516542"/>
                    <a:gd name="connsiteY168" fmla="*/ 223971 h 1118257"/>
                    <a:gd name="connsiteX169" fmla="*/ 1506307 w 1516542"/>
                    <a:gd name="connsiteY169" fmla="*/ 224281 h 1118257"/>
                    <a:gd name="connsiteX170" fmla="*/ 1505093 w 1516542"/>
                    <a:gd name="connsiteY170" fmla="*/ 224859 h 1118257"/>
                    <a:gd name="connsiteX171" fmla="*/ 1504327 w 1516542"/>
                    <a:gd name="connsiteY171" fmla="*/ 226131 h 1118257"/>
                    <a:gd name="connsiteX172" fmla="*/ 1503471 w 1516542"/>
                    <a:gd name="connsiteY172" fmla="*/ 227035 h 1118257"/>
                    <a:gd name="connsiteX173" fmla="*/ 1502036 w 1516542"/>
                    <a:gd name="connsiteY173" fmla="*/ 228828 h 1118257"/>
                    <a:gd name="connsiteX174" fmla="*/ 1501914 w 1516542"/>
                    <a:gd name="connsiteY174" fmla="*/ 230377 h 1118257"/>
                    <a:gd name="connsiteX175" fmla="*/ 1502574 w 1516542"/>
                    <a:gd name="connsiteY175" fmla="*/ 232683 h 1118257"/>
                    <a:gd name="connsiteX176" fmla="*/ 1502900 w 1516542"/>
                    <a:gd name="connsiteY176" fmla="*/ 235038 h 1118257"/>
                    <a:gd name="connsiteX177" fmla="*/ 1501270 w 1516542"/>
                    <a:gd name="connsiteY177" fmla="*/ 237141 h 1118257"/>
                    <a:gd name="connsiteX178" fmla="*/ 1500015 w 1516542"/>
                    <a:gd name="connsiteY178" fmla="*/ 240376 h 1118257"/>
                    <a:gd name="connsiteX179" fmla="*/ 1499648 w 1516542"/>
                    <a:gd name="connsiteY179" fmla="*/ 241354 h 1118257"/>
                    <a:gd name="connsiteX180" fmla="*/ 1499021 w 1516542"/>
                    <a:gd name="connsiteY180" fmla="*/ 243799 h 1118257"/>
                    <a:gd name="connsiteX181" fmla="*/ 1498842 w 1516542"/>
                    <a:gd name="connsiteY181" fmla="*/ 244647 h 1118257"/>
                    <a:gd name="connsiteX182" fmla="*/ 1498442 w 1516542"/>
                    <a:gd name="connsiteY182" fmla="*/ 249806 h 1118257"/>
                    <a:gd name="connsiteX183" fmla="*/ 1496821 w 1516542"/>
                    <a:gd name="connsiteY183" fmla="*/ 253310 h 1118257"/>
                    <a:gd name="connsiteX184" fmla="*/ 1494571 w 1516542"/>
                    <a:gd name="connsiteY184" fmla="*/ 257401 h 1118257"/>
                    <a:gd name="connsiteX185" fmla="*/ 1495068 w 1516542"/>
                    <a:gd name="connsiteY185" fmla="*/ 259830 h 1118257"/>
                    <a:gd name="connsiteX186" fmla="*/ 1495468 w 1516542"/>
                    <a:gd name="connsiteY186" fmla="*/ 262079 h 1118257"/>
                    <a:gd name="connsiteX187" fmla="*/ 1494905 w 1516542"/>
                    <a:gd name="connsiteY187" fmla="*/ 263179 h 1118257"/>
                    <a:gd name="connsiteX188" fmla="*/ 1494775 w 1516542"/>
                    <a:gd name="connsiteY188" fmla="*/ 264141 h 1118257"/>
                    <a:gd name="connsiteX189" fmla="*/ 1494432 w 1516542"/>
                    <a:gd name="connsiteY189" fmla="*/ 266301 h 1118257"/>
                    <a:gd name="connsiteX190" fmla="*/ 1493740 w 1516542"/>
                    <a:gd name="connsiteY190" fmla="*/ 267140 h 1118257"/>
                    <a:gd name="connsiteX191" fmla="*/ 1491686 w 1516542"/>
                    <a:gd name="connsiteY191" fmla="*/ 268493 h 1118257"/>
                    <a:gd name="connsiteX192" fmla="*/ 1490448 w 1516542"/>
                    <a:gd name="connsiteY192" fmla="*/ 270123 h 1118257"/>
                    <a:gd name="connsiteX193" fmla="*/ 1490708 w 1516542"/>
                    <a:gd name="connsiteY193" fmla="*/ 272609 h 1118257"/>
                    <a:gd name="connsiteX194" fmla="*/ 1490080 w 1516542"/>
                    <a:gd name="connsiteY194" fmla="*/ 274752 h 1118257"/>
                    <a:gd name="connsiteX195" fmla="*/ 1489135 w 1516542"/>
                    <a:gd name="connsiteY195" fmla="*/ 276651 h 1118257"/>
                    <a:gd name="connsiteX196" fmla="*/ 1488157 w 1516542"/>
                    <a:gd name="connsiteY196" fmla="*/ 277881 h 1118257"/>
                    <a:gd name="connsiteX197" fmla="*/ 1486747 w 1516542"/>
                    <a:gd name="connsiteY197" fmla="*/ 278680 h 1118257"/>
                    <a:gd name="connsiteX198" fmla="*/ 1485802 w 1516542"/>
                    <a:gd name="connsiteY198" fmla="*/ 279348 h 1118257"/>
                    <a:gd name="connsiteX199" fmla="*/ 1485093 w 1516542"/>
                    <a:gd name="connsiteY199" fmla="*/ 281761 h 1118257"/>
                    <a:gd name="connsiteX200" fmla="*/ 1484873 w 1516542"/>
                    <a:gd name="connsiteY200" fmla="*/ 283627 h 1118257"/>
                    <a:gd name="connsiteX201" fmla="*/ 1484213 w 1516542"/>
                    <a:gd name="connsiteY201" fmla="*/ 285477 h 1118257"/>
                    <a:gd name="connsiteX202" fmla="*/ 1484628 w 1516542"/>
                    <a:gd name="connsiteY202" fmla="*/ 287376 h 1118257"/>
                    <a:gd name="connsiteX203" fmla="*/ 1483903 w 1516542"/>
                    <a:gd name="connsiteY203" fmla="*/ 289014 h 1118257"/>
                    <a:gd name="connsiteX204" fmla="*/ 1481882 w 1516542"/>
                    <a:gd name="connsiteY204" fmla="*/ 290155 h 1118257"/>
                    <a:gd name="connsiteX205" fmla="*/ 1480757 w 1516542"/>
                    <a:gd name="connsiteY205" fmla="*/ 290831 h 1118257"/>
                    <a:gd name="connsiteX206" fmla="*/ 1479698 w 1516542"/>
                    <a:gd name="connsiteY206" fmla="*/ 291108 h 1118257"/>
                    <a:gd name="connsiteX207" fmla="*/ 1477693 w 1516542"/>
                    <a:gd name="connsiteY207" fmla="*/ 292885 h 1118257"/>
                    <a:gd name="connsiteX208" fmla="*/ 1475884 w 1516542"/>
                    <a:gd name="connsiteY208" fmla="*/ 298989 h 1118257"/>
                    <a:gd name="connsiteX209" fmla="*/ 1475476 w 1516542"/>
                    <a:gd name="connsiteY209" fmla="*/ 302534 h 1118257"/>
                    <a:gd name="connsiteX210" fmla="*/ 1475892 w 1516542"/>
                    <a:gd name="connsiteY210" fmla="*/ 305688 h 1118257"/>
                    <a:gd name="connsiteX211" fmla="*/ 1473366 w 1516542"/>
                    <a:gd name="connsiteY211" fmla="*/ 307660 h 1118257"/>
                    <a:gd name="connsiteX212" fmla="*/ 1471483 w 1516542"/>
                    <a:gd name="connsiteY212" fmla="*/ 309217 h 1118257"/>
                    <a:gd name="connsiteX213" fmla="*/ 1470317 w 1516542"/>
                    <a:gd name="connsiteY213" fmla="*/ 308655 h 1118257"/>
                    <a:gd name="connsiteX214" fmla="*/ 1469079 w 1516542"/>
                    <a:gd name="connsiteY214" fmla="*/ 308125 h 1118257"/>
                    <a:gd name="connsiteX215" fmla="*/ 1466210 w 1516542"/>
                    <a:gd name="connsiteY215" fmla="*/ 307449 h 1118257"/>
                    <a:gd name="connsiteX216" fmla="*/ 1464792 w 1516542"/>
                    <a:gd name="connsiteY216" fmla="*/ 306984 h 1118257"/>
                    <a:gd name="connsiteX217" fmla="*/ 1461883 w 1516542"/>
                    <a:gd name="connsiteY217" fmla="*/ 305965 h 1118257"/>
                    <a:gd name="connsiteX218" fmla="*/ 1457278 w 1516542"/>
                    <a:gd name="connsiteY218" fmla="*/ 304661 h 1118257"/>
                    <a:gd name="connsiteX219" fmla="*/ 1452763 w 1516542"/>
                    <a:gd name="connsiteY219" fmla="*/ 303137 h 1118257"/>
                    <a:gd name="connsiteX220" fmla="*/ 1449952 w 1516542"/>
                    <a:gd name="connsiteY220" fmla="*/ 302339 h 1118257"/>
                    <a:gd name="connsiteX221" fmla="*/ 1447718 w 1516542"/>
                    <a:gd name="connsiteY221" fmla="*/ 301711 h 1118257"/>
                    <a:gd name="connsiteX222" fmla="*/ 1446023 w 1516542"/>
                    <a:gd name="connsiteY222" fmla="*/ 300660 h 1118257"/>
                    <a:gd name="connsiteX223" fmla="*/ 1444605 w 1516542"/>
                    <a:gd name="connsiteY223" fmla="*/ 298794 h 1118257"/>
                    <a:gd name="connsiteX224" fmla="*/ 1443179 w 1516542"/>
                    <a:gd name="connsiteY224" fmla="*/ 299552 h 1118257"/>
                    <a:gd name="connsiteX225" fmla="*/ 1441867 w 1516542"/>
                    <a:gd name="connsiteY225" fmla="*/ 301752 h 1118257"/>
                    <a:gd name="connsiteX226" fmla="*/ 1439691 w 1516542"/>
                    <a:gd name="connsiteY226" fmla="*/ 303064 h 1118257"/>
                    <a:gd name="connsiteX227" fmla="*/ 1438696 w 1516542"/>
                    <a:gd name="connsiteY227" fmla="*/ 305476 h 1118257"/>
                    <a:gd name="connsiteX228" fmla="*/ 1437824 w 1516542"/>
                    <a:gd name="connsiteY228" fmla="*/ 307343 h 1118257"/>
                    <a:gd name="connsiteX229" fmla="*/ 1435559 w 1516542"/>
                    <a:gd name="connsiteY229" fmla="*/ 309812 h 1118257"/>
                    <a:gd name="connsiteX230" fmla="*/ 1434556 w 1516542"/>
                    <a:gd name="connsiteY230" fmla="*/ 310831 h 1118257"/>
                    <a:gd name="connsiteX231" fmla="*/ 1430123 w 1516542"/>
                    <a:gd name="connsiteY231" fmla="*/ 312510 h 1118257"/>
                    <a:gd name="connsiteX232" fmla="*/ 1429121 w 1516542"/>
                    <a:gd name="connsiteY232" fmla="*/ 313072 h 1118257"/>
                    <a:gd name="connsiteX233" fmla="*/ 1425510 w 1516542"/>
                    <a:gd name="connsiteY233" fmla="*/ 313422 h 1118257"/>
                    <a:gd name="connsiteX234" fmla="*/ 1424288 w 1516542"/>
                    <a:gd name="connsiteY234" fmla="*/ 314164 h 1118257"/>
                    <a:gd name="connsiteX235" fmla="*/ 1423016 w 1516542"/>
                    <a:gd name="connsiteY235" fmla="*/ 315729 h 1118257"/>
                    <a:gd name="connsiteX236" fmla="*/ 1422674 w 1516542"/>
                    <a:gd name="connsiteY236" fmla="*/ 317285 h 1118257"/>
                    <a:gd name="connsiteX237" fmla="*/ 1423562 w 1516542"/>
                    <a:gd name="connsiteY237" fmla="*/ 318923 h 1118257"/>
                    <a:gd name="connsiteX238" fmla="*/ 1424973 w 1516542"/>
                    <a:gd name="connsiteY238" fmla="*/ 322191 h 1118257"/>
                    <a:gd name="connsiteX239" fmla="*/ 1425624 w 1516542"/>
                    <a:gd name="connsiteY239" fmla="*/ 324433 h 1118257"/>
                    <a:gd name="connsiteX240" fmla="*/ 1426586 w 1516542"/>
                    <a:gd name="connsiteY240" fmla="*/ 328858 h 1118257"/>
                    <a:gd name="connsiteX241" fmla="*/ 1429805 w 1516542"/>
                    <a:gd name="connsiteY241" fmla="*/ 342729 h 1118257"/>
                    <a:gd name="connsiteX242" fmla="*/ 1428754 w 1516542"/>
                    <a:gd name="connsiteY242" fmla="*/ 345117 h 1118257"/>
                    <a:gd name="connsiteX243" fmla="*/ 1427792 w 1516542"/>
                    <a:gd name="connsiteY243" fmla="*/ 355491 h 1118257"/>
                    <a:gd name="connsiteX244" fmla="*/ 1428020 w 1516542"/>
                    <a:gd name="connsiteY244" fmla="*/ 357358 h 1118257"/>
                    <a:gd name="connsiteX245" fmla="*/ 1427931 w 1516542"/>
                    <a:gd name="connsiteY245" fmla="*/ 360275 h 1118257"/>
                    <a:gd name="connsiteX246" fmla="*/ 1427996 w 1516542"/>
                    <a:gd name="connsiteY246" fmla="*/ 362419 h 1118257"/>
                    <a:gd name="connsiteX247" fmla="*/ 1428656 w 1516542"/>
                    <a:gd name="connsiteY247" fmla="*/ 362932 h 1118257"/>
                    <a:gd name="connsiteX248" fmla="*/ 1429528 w 1516542"/>
                    <a:gd name="connsiteY248" fmla="*/ 363682 h 1118257"/>
                    <a:gd name="connsiteX249" fmla="*/ 1429960 w 1516542"/>
                    <a:gd name="connsiteY249" fmla="*/ 364929 h 1118257"/>
                    <a:gd name="connsiteX250" fmla="*/ 1429862 w 1516542"/>
                    <a:gd name="connsiteY250" fmla="*/ 366836 h 1118257"/>
                    <a:gd name="connsiteX251" fmla="*/ 1429406 w 1516542"/>
                    <a:gd name="connsiteY251" fmla="*/ 368237 h 1118257"/>
                    <a:gd name="connsiteX252" fmla="*/ 1428730 w 1516542"/>
                    <a:gd name="connsiteY252" fmla="*/ 371008 h 1118257"/>
                    <a:gd name="connsiteX253" fmla="*/ 1427825 w 1516542"/>
                    <a:gd name="connsiteY253" fmla="*/ 375002 h 1118257"/>
                    <a:gd name="connsiteX254" fmla="*/ 1426839 w 1516542"/>
                    <a:gd name="connsiteY254" fmla="*/ 376550 h 1118257"/>
                    <a:gd name="connsiteX255" fmla="*/ 1426178 w 1516542"/>
                    <a:gd name="connsiteY255" fmla="*/ 377765 h 1118257"/>
                    <a:gd name="connsiteX256" fmla="*/ 1425600 w 1516542"/>
                    <a:gd name="connsiteY256" fmla="*/ 378604 h 1118257"/>
                    <a:gd name="connsiteX257" fmla="*/ 1425543 w 1516542"/>
                    <a:gd name="connsiteY257" fmla="*/ 381440 h 1118257"/>
                    <a:gd name="connsiteX258" fmla="*/ 1425176 w 1516542"/>
                    <a:gd name="connsiteY258" fmla="*/ 383306 h 1118257"/>
                    <a:gd name="connsiteX259" fmla="*/ 1423611 w 1516542"/>
                    <a:gd name="connsiteY259" fmla="*/ 383966 h 1118257"/>
                    <a:gd name="connsiteX260" fmla="*/ 1422063 w 1516542"/>
                    <a:gd name="connsiteY260" fmla="*/ 385050 h 1118257"/>
                    <a:gd name="connsiteX261" fmla="*/ 1420205 w 1516542"/>
                    <a:gd name="connsiteY261" fmla="*/ 384651 h 1118257"/>
                    <a:gd name="connsiteX262" fmla="*/ 1418599 w 1516542"/>
                    <a:gd name="connsiteY262" fmla="*/ 384871 h 1118257"/>
                    <a:gd name="connsiteX263" fmla="*/ 1416586 w 1516542"/>
                    <a:gd name="connsiteY263" fmla="*/ 385605 h 1118257"/>
                    <a:gd name="connsiteX264" fmla="*/ 1412984 w 1516542"/>
                    <a:gd name="connsiteY264" fmla="*/ 386444 h 1118257"/>
                    <a:gd name="connsiteX265" fmla="*/ 1410898 w 1516542"/>
                    <a:gd name="connsiteY265" fmla="*/ 387560 h 1118257"/>
                    <a:gd name="connsiteX266" fmla="*/ 1409895 w 1516542"/>
                    <a:gd name="connsiteY266" fmla="*/ 388375 h 1118257"/>
                    <a:gd name="connsiteX267" fmla="*/ 1409211 w 1516542"/>
                    <a:gd name="connsiteY267" fmla="*/ 389362 h 1118257"/>
                    <a:gd name="connsiteX268" fmla="*/ 1409081 w 1516542"/>
                    <a:gd name="connsiteY268" fmla="*/ 390291 h 1118257"/>
                    <a:gd name="connsiteX269" fmla="*/ 1409553 w 1516542"/>
                    <a:gd name="connsiteY269" fmla="*/ 390788 h 1118257"/>
                    <a:gd name="connsiteX270" fmla="*/ 1411583 w 1516542"/>
                    <a:gd name="connsiteY270" fmla="*/ 391179 h 1118257"/>
                    <a:gd name="connsiteX271" fmla="*/ 1412968 w 1516542"/>
                    <a:gd name="connsiteY271" fmla="*/ 392939 h 1118257"/>
                    <a:gd name="connsiteX272" fmla="*/ 1413163 w 1516542"/>
                    <a:gd name="connsiteY272" fmla="*/ 394863 h 1118257"/>
                    <a:gd name="connsiteX273" fmla="*/ 1411737 w 1516542"/>
                    <a:gd name="connsiteY273" fmla="*/ 395971 h 1118257"/>
                    <a:gd name="connsiteX274" fmla="*/ 1411028 w 1516542"/>
                    <a:gd name="connsiteY274" fmla="*/ 394757 h 1118257"/>
                    <a:gd name="connsiteX275" fmla="*/ 1409839 w 1516542"/>
                    <a:gd name="connsiteY275" fmla="*/ 394366 h 1118257"/>
                    <a:gd name="connsiteX276" fmla="*/ 1407605 w 1516542"/>
                    <a:gd name="connsiteY276" fmla="*/ 392679 h 1118257"/>
                    <a:gd name="connsiteX277" fmla="*/ 1406000 w 1516542"/>
                    <a:gd name="connsiteY277" fmla="*/ 390812 h 1118257"/>
                    <a:gd name="connsiteX278" fmla="*/ 1404794 w 1516542"/>
                    <a:gd name="connsiteY278" fmla="*/ 388734 h 1118257"/>
                    <a:gd name="connsiteX279" fmla="*/ 1404835 w 1516542"/>
                    <a:gd name="connsiteY279" fmla="*/ 384325 h 1118257"/>
                    <a:gd name="connsiteX280" fmla="*/ 1404623 w 1516542"/>
                    <a:gd name="connsiteY280" fmla="*/ 383665 h 1118257"/>
                    <a:gd name="connsiteX281" fmla="*/ 1402422 w 1516542"/>
                    <a:gd name="connsiteY281" fmla="*/ 382760 h 1118257"/>
                    <a:gd name="connsiteX282" fmla="*/ 1401762 w 1516542"/>
                    <a:gd name="connsiteY282" fmla="*/ 381448 h 1118257"/>
                    <a:gd name="connsiteX283" fmla="*/ 1400727 w 1516542"/>
                    <a:gd name="connsiteY283" fmla="*/ 380821 h 1118257"/>
                    <a:gd name="connsiteX284" fmla="*/ 1399228 w 1516542"/>
                    <a:gd name="connsiteY284" fmla="*/ 381220 h 1118257"/>
                    <a:gd name="connsiteX285" fmla="*/ 1398095 w 1516542"/>
                    <a:gd name="connsiteY285" fmla="*/ 380796 h 1118257"/>
                    <a:gd name="connsiteX286" fmla="*/ 1397206 w 1516542"/>
                    <a:gd name="connsiteY286" fmla="*/ 380079 h 1118257"/>
                    <a:gd name="connsiteX287" fmla="*/ 1396147 w 1516542"/>
                    <a:gd name="connsiteY287" fmla="*/ 379989 h 1118257"/>
                    <a:gd name="connsiteX288" fmla="*/ 1395226 w 1516542"/>
                    <a:gd name="connsiteY288" fmla="*/ 381130 h 1118257"/>
                    <a:gd name="connsiteX289" fmla="*/ 1394737 w 1516542"/>
                    <a:gd name="connsiteY289" fmla="*/ 383583 h 1118257"/>
                    <a:gd name="connsiteX290" fmla="*/ 1393196 w 1516542"/>
                    <a:gd name="connsiteY290" fmla="*/ 387650 h 1118257"/>
                    <a:gd name="connsiteX291" fmla="*/ 1393050 w 1516542"/>
                    <a:gd name="connsiteY291" fmla="*/ 390103 h 1118257"/>
                    <a:gd name="connsiteX292" fmla="*/ 1392374 w 1516542"/>
                    <a:gd name="connsiteY292" fmla="*/ 393608 h 1118257"/>
                    <a:gd name="connsiteX293" fmla="*/ 1391713 w 1516542"/>
                    <a:gd name="connsiteY293" fmla="*/ 398049 h 1118257"/>
                    <a:gd name="connsiteX294" fmla="*/ 1391184 w 1516542"/>
                    <a:gd name="connsiteY294" fmla="*/ 398978 h 1118257"/>
                    <a:gd name="connsiteX295" fmla="*/ 1389439 w 1516542"/>
                    <a:gd name="connsiteY295" fmla="*/ 399109 h 1118257"/>
                    <a:gd name="connsiteX296" fmla="*/ 1388845 w 1516542"/>
                    <a:gd name="connsiteY296" fmla="*/ 399402 h 1118257"/>
                    <a:gd name="connsiteX297" fmla="*/ 1387940 w 1516542"/>
                    <a:gd name="connsiteY297" fmla="*/ 400910 h 1118257"/>
                    <a:gd name="connsiteX298" fmla="*/ 1386856 w 1516542"/>
                    <a:gd name="connsiteY298" fmla="*/ 401154 h 1118257"/>
                    <a:gd name="connsiteX299" fmla="*/ 1385894 w 1516542"/>
                    <a:gd name="connsiteY299" fmla="*/ 400282 h 1118257"/>
                    <a:gd name="connsiteX300" fmla="*/ 1384379 w 1516542"/>
                    <a:gd name="connsiteY300" fmla="*/ 399402 h 1118257"/>
                    <a:gd name="connsiteX301" fmla="*/ 1382936 w 1516542"/>
                    <a:gd name="connsiteY301" fmla="*/ 399280 h 1118257"/>
                    <a:gd name="connsiteX302" fmla="*/ 1381640 w 1516542"/>
                    <a:gd name="connsiteY302" fmla="*/ 400168 h 1118257"/>
                    <a:gd name="connsiteX303" fmla="*/ 1380133 w 1516542"/>
                    <a:gd name="connsiteY303" fmla="*/ 402091 h 1118257"/>
                    <a:gd name="connsiteX304" fmla="*/ 1379277 w 1516542"/>
                    <a:gd name="connsiteY304" fmla="*/ 403640 h 1118257"/>
                    <a:gd name="connsiteX305" fmla="*/ 1378967 w 1516542"/>
                    <a:gd name="connsiteY305" fmla="*/ 405091 h 1118257"/>
                    <a:gd name="connsiteX306" fmla="*/ 1378715 w 1516542"/>
                    <a:gd name="connsiteY306" fmla="*/ 406883 h 1118257"/>
                    <a:gd name="connsiteX307" fmla="*/ 1377183 w 1516542"/>
                    <a:gd name="connsiteY307" fmla="*/ 408603 h 1118257"/>
                    <a:gd name="connsiteX308" fmla="*/ 1375789 w 1516542"/>
                    <a:gd name="connsiteY308" fmla="*/ 409500 h 1118257"/>
                    <a:gd name="connsiteX309" fmla="*/ 1372887 w 1516542"/>
                    <a:gd name="connsiteY309" fmla="*/ 412026 h 1118257"/>
                    <a:gd name="connsiteX310" fmla="*/ 1371967 w 1516542"/>
                    <a:gd name="connsiteY310" fmla="*/ 413077 h 1118257"/>
                    <a:gd name="connsiteX311" fmla="*/ 1369888 w 1516542"/>
                    <a:gd name="connsiteY311" fmla="*/ 413094 h 1118257"/>
                    <a:gd name="connsiteX312" fmla="*/ 1367639 w 1516542"/>
                    <a:gd name="connsiteY312" fmla="*/ 412996 h 1118257"/>
                    <a:gd name="connsiteX313" fmla="*/ 1364616 w 1516542"/>
                    <a:gd name="connsiteY313" fmla="*/ 413680 h 1118257"/>
                    <a:gd name="connsiteX314" fmla="*/ 1359660 w 1516542"/>
                    <a:gd name="connsiteY314" fmla="*/ 414023 h 1118257"/>
                    <a:gd name="connsiteX315" fmla="*/ 1356702 w 1516542"/>
                    <a:gd name="connsiteY315" fmla="*/ 413509 h 1118257"/>
                    <a:gd name="connsiteX316" fmla="*/ 1353035 w 1516542"/>
                    <a:gd name="connsiteY316" fmla="*/ 413998 h 1118257"/>
                    <a:gd name="connsiteX317" fmla="*/ 1350183 w 1516542"/>
                    <a:gd name="connsiteY317" fmla="*/ 414821 h 1118257"/>
                    <a:gd name="connsiteX318" fmla="*/ 1349783 w 1516542"/>
                    <a:gd name="connsiteY318" fmla="*/ 416052 h 1118257"/>
                    <a:gd name="connsiteX319" fmla="*/ 1349881 w 1516542"/>
                    <a:gd name="connsiteY319" fmla="*/ 417877 h 1118257"/>
                    <a:gd name="connsiteX320" fmla="*/ 1350460 w 1516542"/>
                    <a:gd name="connsiteY320" fmla="*/ 419076 h 1118257"/>
                    <a:gd name="connsiteX321" fmla="*/ 1351152 w 1516542"/>
                    <a:gd name="connsiteY321" fmla="*/ 419866 h 1118257"/>
                    <a:gd name="connsiteX322" fmla="*/ 1352334 w 1516542"/>
                    <a:gd name="connsiteY322" fmla="*/ 422319 h 1118257"/>
                    <a:gd name="connsiteX323" fmla="*/ 1353565 w 1516542"/>
                    <a:gd name="connsiteY323" fmla="*/ 424683 h 1118257"/>
                    <a:gd name="connsiteX324" fmla="*/ 1355463 w 1516542"/>
                    <a:gd name="connsiteY324" fmla="*/ 426223 h 1118257"/>
                    <a:gd name="connsiteX325" fmla="*/ 1356238 w 1516542"/>
                    <a:gd name="connsiteY325" fmla="*/ 427861 h 1118257"/>
                    <a:gd name="connsiteX326" fmla="*/ 1356278 w 1516542"/>
                    <a:gd name="connsiteY326" fmla="*/ 429385 h 1118257"/>
                    <a:gd name="connsiteX327" fmla="*/ 1355390 w 1516542"/>
                    <a:gd name="connsiteY327" fmla="*/ 431316 h 1118257"/>
                    <a:gd name="connsiteX328" fmla="*/ 1354029 w 1516542"/>
                    <a:gd name="connsiteY328" fmla="*/ 433835 h 1118257"/>
                    <a:gd name="connsiteX329" fmla="*/ 1352774 w 1516542"/>
                    <a:gd name="connsiteY329" fmla="*/ 435383 h 1118257"/>
                    <a:gd name="connsiteX330" fmla="*/ 1351829 w 1516542"/>
                    <a:gd name="connsiteY330" fmla="*/ 435334 h 1118257"/>
                    <a:gd name="connsiteX331" fmla="*/ 1350370 w 1516542"/>
                    <a:gd name="connsiteY331" fmla="*/ 434430 h 1118257"/>
                    <a:gd name="connsiteX332" fmla="*/ 1349392 w 1516542"/>
                    <a:gd name="connsiteY332" fmla="*/ 433297 h 1118257"/>
                    <a:gd name="connsiteX333" fmla="*/ 1347053 w 1516542"/>
                    <a:gd name="connsiteY333" fmla="*/ 432873 h 1118257"/>
                    <a:gd name="connsiteX334" fmla="*/ 1341316 w 1516542"/>
                    <a:gd name="connsiteY334" fmla="*/ 433590 h 1118257"/>
                    <a:gd name="connsiteX335" fmla="*/ 1338455 w 1516542"/>
                    <a:gd name="connsiteY335" fmla="*/ 433085 h 1118257"/>
                    <a:gd name="connsiteX336" fmla="*/ 1337086 w 1516542"/>
                    <a:gd name="connsiteY336" fmla="*/ 432164 h 1118257"/>
                    <a:gd name="connsiteX337" fmla="*/ 1334681 w 1516542"/>
                    <a:gd name="connsiteY337" fmla="*/ 432091 h 1118257"/>
                    <a:gd name="connsiteX338" fmla="*/ 1330990 w 1516542"/>
                    <a:gd name="connsiteY338" fmla="*/ 430860 h 1118257"/>
                    <a:gd name="connsiteX339" fmla="*/ 1328716 w 1516542"/>
                    <a:gd name="connsiteY339" fmla="*/ 430469 h 1118257"/>
                    <a:gd name="connsiteX340" fmla="*/ 1327656 w 1516542"/>
                    <a:gd name="connsiteY340" fmla="*/ 429670 h 1118257"/>
                    <a:gd name="connsiteX341" fmla="*/ 1327444 w 1516542"/>
                    <a:gd name="connsiteY341" fmla="*/ 427861 h 1118257"/>
                    <a:gd name="connsiteX342" fmla="*/ 1326369 w 1516542"/>
                    <a:gd name="connsiteY342" fmla="*/ 426614 h 1118257"/>
                    <a:gd name="connsiteX343" fmla="*/ 1325782 w 1516542"/>
                    <a:gd name="connsiteY343" fmla="*/ 425114 h 1118257"/>
                    <a:gd name="connsiteX344" fmla="*/ 1324429 w 1516542"/>
                    <a:gd name="connsiteY344" fmla="*/ 423248 h 1118257"/>
                    <a:gd name="connsiteX345" fmla="*/ 1323142 w 1516542"/>
                    <a:gd name="connsiteY345" fmla="*/ 422311 h 1118257"/>
                    <a:gd name="connsiteX346" fmla="*/ 1321870 w 1516542"/>
                    <a:gd name="connsiteY346" fmla="*/ 421903 h 1118257"/>
                    <a:gd name="connsiteX347" fmla="*/ 1320477 w 1516542"/>
                    <a:gd name="connsiteY347" fmla="*/ 423036 h 1118257"/>
                    <a:gd name="connsiteX348" fmla="*/ 1318993 w 1516542"/>
                    <a:gd name="connsiteY348" fmla="*/ 424063 h 1118257"/>
                    <a:gd name="connsiteX349" fmla="*/ 1317885 w 1516542"/>
                    <a:gd name="connsiteY349" fmla="*/ 423835 h 1118257"/>
                    <a:gd name="connsiteX350" fmla="*/ 1317363 w 1516542"/>
                    <a:gd name="connsiteY350" fmla="*/ 424120 h 1118257"/>
                    <a:gd name="connsiteX351" fmla="*/ 1316744 w 1516542"/>
                    <a:gd name="connsiteY351" fmla="*/ 424968 h 1118257"/>
                    <a:gd name="connsiteX352" fmla="*/ 1314381 w 1516542"/>
                    <a:gd name="connsiteY352" fmla="*/ 426712 h 1118257"/>
                    <a:gd name="connsiteX353" fmla="*/ 1313794 w 1516542"/>
                    <a:gd name="connsiteY353" fmla="*/ 428301 h 1118257"/>
                    <a:gd name="connsiteX354" fmla="*/ 1312857 w 1516542"/>
                    <a:gd name="connsiteY354" fmla="*/ 431691 h 1118257"/>
                    <a:gd name="connsiteX355" fmla="*/ 1312197 w 1516542"/>
                    <a:gd name="connsiteY355" fmla="*/ 435171 h 1118257"/>
                    <a:gd name="connsiteX356" fmla="*/ 1311634 w 1516542"/>
                    <a:gd name="connsiteY356" fmla="*/ 436402 h 1118257"/>
                    <a:gd name="connsiteX357" fmla="*/ 1310664 w 1516542"/>
                    <a:gd name="connsiteY357" fmla="*/ 436606 h 1118257"/>
                    <a:gd name="connsiteX358" fmla="*/ 1309678 w 1516542"/>
                    <a:gd name="connsiteY358" fmla="*/ 437657 h 1118257"/>
                    <a:gd name="connsiteX359" fmla="*/ 1307616 w 1516542"/>
                    <a:gd name="connsiteY359" fmla="*/ 440925 h 1118257"/>
                    <a:gd name="connsiteX360" fmla="*/ 1305750 w 1516542"/>
                    <a:gd name="connsiteY360" fmla="*/ 443924 h 1118257"/>
                    <a:gd name="connsiteX361" fmla="*/ 1303052 w 1516542"/>
                    <a:gd name="connsiteY361" fmla="*/ 445961 h 1118257"/>
                    <a:gd name="connsiteX362" fmla="*/ 1301773 w 1516542"/>
                    <a:gd name="connsiteY362" fmla="*/ 447820 h 1118257"/>
                    <a:gd name="connsiteX363" fmla="*/ 1301121 w 1516542"/>
                    <a:gd name="connsiteY363" fmla="*/ 449515 h 1118257"/>
                    <a:gd name="connsiteX364" fmla="*/ 1299190 w 1516542"/>
                    <a:gd name="connsiteY364" fmla="*/ 451886 h 1118257"/>
                    <a:gd name="connsiteX365" fmla="*/ 1296353 w 1516542"/>
                    <a:gd name="connsiteY365" fmla="*/ 452310 h 1118257"/>
                    <a:gd name="connsiteX366" fmla="*/ 1294104 w 1516542"/>
                    <a:gd name="connsiteY366" fmla="*/ 453003 h 1118257"/>
                    <a:gd name="connsiteX367" fmla="*/ 1292727 w 1516542"/>
                    <a:gd name="connsiteY367" fmla="*/ 453182 h 1118257"/>
                    <a:gd name="connsiteX368" fmla="*/ 1291724 w 1516542"/>
                    <a:gd name="connsiteY368" fmla="*/ 454127 h 1118257"/>
                    <a:gd name="connsiteX369" fmla="*/ 1291007 w 1516542"/>
                    <a:gd name="connsiteY369" fmla="*/ 455586 h 1118257"/>
                    <a:gd name="connsiteX370" fmla="*/ 1290657 w 1516542"/>
                    <a:gd name="connsiteY370" fmla="*/ 456165 h 1118257"/>
                    <a:gd name="connsiteX371" fmla="*/ 1289385 w 1516542"/>
                    <a:gd name="connsiteY371" fmla="*/ 456165 h 1118257"/>
                    <a:gd name="connsiteX372" fmla="*/ 1288114 w 1516542"/>
                    <a:gd name="connsiteY372" fmla="*/ 457404 h 1118257"/>
                    <a:gd name="connsiteX373" fmla="*/ 1285001 w 1516542"/>
                    <a:gd name="connsiteY373" fmla="*/ 460215 h 1118257"/>
                    <a:gd name="connsiteX374" fmla="*/ 1282466 w 1516542"/>
                    <a:gd name="connsiteY374" fmla="*/ 460745 h 1118257"/>
                    <a:gd name="connsiteX375" fmla="*/ 1279263 w 1516542"/>
                    <a:gd name="connsiteY375" fmla="*/ 462628 h 1118257"/>
                    <a:gd name="connsiteX376" fmla="*/ 1276460 w 1516542"/>
                    <a:gd name="connsiteY376" fmla="*/ 464046 h 1118257"/>
                    <a:gd name="connsiteX377" fmla="*/ 1275302 w 1516542"/>
                    <a:gd name="connsiteY377" fmla="*/ 464853 h 1118257"/>
                    <a:gd name="connsiteX378" fmla="*/ 1274993 w 1516542"/>
                    <a:gd name="connsiteY378" fmla="*/ 465741 h 1118257"/>
                    <a:gd name="connsiteX379" fmla="*/ 1274586 w 1516542"/>
                    <a:gd name="connsiteY379" fmla="*/ 466866 h 1118257"/>
                    <a:gd name="connsiteX380" fmla="*/ 1273225 w 1516542"/>
                    <a:gd name="connsiteY380" fmla="*/ 467094 h 1118257"/>
                    <a:gd name="connsiteX381" fmla="*/ 1271912 w 1516542"/>
                    <a:gd name="connsiteY381" fmla="*/ 467029 h 1118257"/>
                    <a:gd name="connsiteX382" fmla="*/ 1268995 w 1516542"/>
                    <a:gd name="connsiteY382" fmla="*/ 469612 h 1118257"/>
                    <a:gd name="connsiteX383" fmla="*/ 1267528 w 1516542"/>
                    <a:gd name="connsiteY383" fmla="*/ 471812 h 1118257"/>
                    <a:gd name="connsiteX384" fmla="*/ 1261790 w 1516542"/>
                    <a:gd name="connsiteY384" fmla="*/ 476482 h 1118257"/>
                    <a:gd name="connsiteX385" fmla="*/ 1259452 w 1516542"/>
                    <a:gd name="connsiteY385" fmla="*/ 479106 h 1118257"/>
                    <a:gd name="connsiteX386" fmla="*/ 1258840 w 1516542"/>
                    <a:gd name="connsiteY386" fmla="*/ 482505 h 1118257"/>
                    <a:gd name="connsiteX387" fmla="*/ 1258539 w 1516542"/>
                    <a:gd name="connsiteY387" fmla="*/ 482252 h 1118257"/>
                    <a:gd name="connsiteX388" fmla="*/ 1256493 w 1516542"/>
                    <a:gd name="connsiteY388" fmla="*/ 485211 h 1118257"/>
                    <a:gd name="connsiteX389" fmla="*/ 1252475 w 1516542"/>
                    <a:gd name="connsiteY389" fmla="*/ 488030 h 1118257"/>
                    <a:gd name="connsiteX390" fmla="*/ 1243910 w 1516542"/>
                    <a:gd name="connsiteY390" fmla="*/ 488658 h 1118257"/>
                    <a:gd name="connsiteX391" fmla="*/ 1241196 w 1516542"/>
                    <a:gd name="connsiteY391" fmla="*/ 486653 h 1118257"/>
                    <a:gd name="connsiteX392" fmla="*/ 1240210 w 1516542"/>
                    <a:gd name="connsiteY392" fmla="*/ 488039 h 1118257"/>
                    <a:gd name="connsiteX393" fmla="*/ 1239452 w 1516542"/>
                    <a:gd name="connsiteY393" fmla="*/ 489888 h 1118257"/>
                    <a:gd name="connsiteX394" fmla="*/ 1237211 w 1516542"/>
                    <a:gd name="connsiteY394" fmla="*/ 490508 h 1118257"/>
                    <a:gd name="connsiteX395" fmla="*/ 1233690 w 1516542"/>
                    <a:gd name="connsiteY395" fmla="*/ 490671 h 1118257"/>
                    <a:gd name="connsiteX396" fmla="*/ 1231726 w 1516542"/>
                    <a:gd name="connsiteY396" fmla="*/ 491893 h 1118257"/>
                    <a:gd name="connsiteX397" fmla="*/ 1230666 w 1516542"/>
                    <a:gd name="connsiteY397" fmla="*/ 493254 h 1118257"/>
                    <a:gd name="connsiteX398" fmla="*/ 1225850 w 1516542"/>
                    <a:gd name="connsiteY398" fmla="*/ 493695 h 1118257"/>
                    <a:gd name="connsiteX399" fmla="*/ 1224090 w 1516542"/>
                    <a:gd name="connsiteY399" fmla="*/ 495512 h 1118257"/>
                    <a:gd name="connsiteX400" fmla="*/ 1221091 w 1516542"/>
                    <a:gd name="connsiteY400" fmla="*/ 496164 h 1118257"/>
                    <a:gd name="connsiteX401" fmla="*/ 1208556 w 1516542"/>
                    <a:gd name="connsiteY401" fmla="*/ 504094 h 1118257"/>
                    <a:gd name="connsiteX402" fmla="*/ 1205826 w 1516542"/>
                    <a:gd name="connsiteY402" fmla="*/ 507427 h 1118257"/>
                    <a:gd name="connsiteX403" fmla="*/ 1203251 w 1516542"/>
                    <a:gd name="connsiteY403" fmla="*/ 511322 h 1118257"/>
                    <a:gd name="connsiteX404" fmla="*/ 1201425 w 1516542"/>
                    <a:gd name="connsiteY404" fmla="*/ 513278 h 1118257"/>
                    <a:gd name="connsiteX405" fmla="*/ 1199811 w 1516542"/>
                    <a:gd name="connsiteY405" fmla="*/ 514647 h 1118257"/>
                    <a:gd name="connsiteX406" fmla="*/ 1198337 w 1516542"/>
                    <a:gd name="connsiteY406" fmla="*/ 515210 h 1118257"/>
                    <a:gd name="connsiteX407" fmla="*/ 1196886 w 1516542"/>
                    <a:gd name="connsiteY407" fmla="*/ 516563 h 1118257"/>
                    <a:gd name="connsiteX408" fmla="*/ 1195419 w 1516542"/>
                    <a:gd name="connsiteY408" fmla="*/ 516734 h 1118257"/>
                    <a:gd name="connsiteX409" fmla="*/ 1193919 w 1516542"/>
                    <a:gd name="connsiteY409" fmla="*/ 516114 h 1118257"/>
                    <a:gd name="connsiteX410" fmla="*/ 1192249 w 1516542"/>
                    <a:gd name="connsiteY410" fmla="*/ 516326 h 1118257"/>
                    <a:gd name="connsiteX411" fmla="*/ 1191148 w 1516542"/>
                    <a:gd name="connsiteY411" fmla="*/ 517964 h 1118257"/>
                    <a:gd name="connsiteX412" fmla="*/ 1192078 w 1516542"/>
                    <a:gd name="connsiteY412" fmla="*/ 520083 h 1118257"/>
                    <a:gd name="connsiteX413" fmla="*/ 1191572 w 1516542"/>
                    <a:gd name="connsiteY413" fmla="*/ 520988 h 1118257"/>
                    <a:gd name="connsiteX414" fmla="*/ 1188272 w 1516542"/>
                    <a:gd name="connsiteY414" fmla="*/ 522145 h 1118257"/>
                    <a:gd name="connsiteX415" fmla="*/ 1183390 w 1516542"/>
                    <a:gd name="connsiteY415" fmla="*/ 522903 h 1118257"/>
                    <a:gd name="connsiteX416" fmla="*/ 1181320 w 1516542"/>
                    <a:gd name="connsiteY416" fmla="*/ 524289 h 1118257"/>
                    <a:gd name="connsiteX417" fmla="*/ 1180595 w 1516542"/>
                    <a:gd name="connsiteY417" fmla="*/ 525071 h 1118257"/>
                    <a:gd name="connsiteX418" fmla="*/ 1179511 w 1516542"/>
                    <a:gd name="connsiteY418" fmla="*/ 525478 h 1118257"/>
                    <a:gd name="connsiteX419" fmla="*/ 1178468 w 1516542"/>
                    <a:gd name="connsiteY419" fmla="*/ 522724 h 1118257"/>
                    <a:gd name="connsiteX420" fmla="*/ 1178093 w 1516542"/>
                    <a:gd name="connsiteY420" fmla="*/ 519113 h 1118257"/>
                    <a:gd name="connsiteX421" fmla="*/ 1180114 w 1516542"/>
                    <a:gd name="connsiteY421" fmla="*/ 518241 h 1118257"/>
                    <a:gd name="connsiteX422" fmla="*/ 1181988 w 1516542"/>
                    <a:gd name="connsiteY422" fmla="*/ 517777 h 1118257"/>
                    <a:gd name="connsiteX423" fmla="*/ 1192306 w 1516542"/>
                    <a:gd name="connsiteY423" fmla="*/ 512781 h 1118257"/>
                    <a:gd name="connsiteX424" fmla="*/ 1191010 w 1516542"/>
                    <a:gd name="connsiteY424" fmla="*/ 509024 h 1118257"/>
                    <a:gd name="connsiteX425" fmla="*/ 1191923 w 1516542"/>
                    <a:gd name="connsiteY425" fmla="*/ 507386 h 1118257"/>
                    <a:gd name="connsiteX426" fmla="*/ 1194245 w 1516542"/>
                    <a:gd name="connsiteY426" fmla="*/ 504721 h 1118257"/>
                    <a:gd name="connsiteX427" fmla="*/ 1195745 w 1516542"/>
                    <a:gd name="connsiteY427" fmla="*/ 503401 h 1118257"/>
                    <a:gd name="connsiteX428" fmla="*/ 1194930 w 1516542"/>
                    <a:gd name="connsiteY428" fmla="*/ 502920 h 1118257"/>
                    <a:gd name="connsiteX429" fmla="*/ 1188157 w 1516542"/>
                    <a:gd name="connsiteY429" fmla="*/ 503800 h 1118257"/>
                    <a:gd name="connsiteX430" fmla="*/ 1184270 w 1516542"/>
                    <a:gd name="connsiteY430" fmla="*/ 503727 h 1118257"/>
                    <a:gd name="connsiteX431" fmla="*/ 1182281 w 1516542"/>
                    <a:gd name="connsiteY431" fmla="*/ 503466 h 1118257"/>
                    <a:gd name="connsiteX432" fmla="*/ 1182876 w 1516542"/>
                    <a:gd name="connsiteY432" fmla="*/ 501184 h 1118257"/>
                    <a:gd name="connsiteX433" fmla="*/ 1182550 w 1516542"/>
                    <a:gd name="connsiteY433" fmla="*/ 498918 h 1118257"/>
                    <a:gd name="connsiteX434" fmla="*/ 1182078 w 1516542"/>
                    <a:gd name="connsiteY434" fmla="*/ 498063 h 1118257"/>
                    <a:gd name="connsiteX435" fmla="*/ 1185525 w 1516542"/>
                    <a:gd name="connsiteY435" fmla="*/ 495471 h 1118257"/>
                    <a:gd name="connsiteX436" fmla="*/ 1187106 w 1516542"/>
                    <a:gd name="connsiteY436" fmla="*/ 494835 h 1118257"/>
                    <a:gd name="connsiteX437" fmla="*/ 1188280 w 1516542"/>
                    <a:gd name="connsiteY437" fmla="*/ 494868 h 1118257"/>
                    <a:gd name="connsiteX438" fmla="*/ 1188198 w 1516542"/>
                    <a:gd name="connsiteY438" fmla="*/ 493311 h 1118257"/>
                    <a:gd name="connsiteX439" fmla="*/ 1187204 w 1516542"/>
                    <a:gd name="connsiteY439" fmla="*/ 490948 h 1118257"/>
                    <a:gd name="connsiteX440" fmla="*/ 1188272 w 1516542"/>
                    <a:gd name="connsiteY440" fmla="*/ 487900 h 1118257"/>
                    <a:gd name="connsiteX441" fmla="*/ 1195313 w 1516542"/>
                    <a:gd name="connsiteY441" fmla="*/ 484322 h 1118257"/>
                    <a:gd name="connsiteX442" fmla="*/ 1197000 w 1516542"/>
                    <a:gd name="connsiteY442" fmla="*/ 481070 h 1118257"/>
                    <a:gd name="connsiteX443" fmla="*/ 1199828 w 1516542"/>
                    <a:gd name="connsiteY443" fmla="*/ 478039 h 1118257"/>
                    <a:gd name="connsiteX444" fmla="*/ 1204987 w 1516542"/>
                    <a:gd name="connsiteY444" fmla="*/ 470484 h 1118257"/>
                    <a:gd name="connsiteX445" fmla="*/ 1205296 w 1516542"/>
                    <a:gd name="connsiteY445" fmla="*/ 469205 h 1118257"/>
                    <a:gd name="connsiteX446" fmla="*/ 1206804 w 1516542"/>
                    <a:gd name="connsiteY446" fmla="*/ 465659 h 1118257"/>
                    <a:gd name="connsiteX447" fmla="*/ 1207073 w 1516542"/>
                    <a:gd name="connsiteY447" fmla="*/ 464241 h 1118257"/>
                    <a:gd name="connsiteX448" fmla="*/ 1204685 w 1516542"/>
                    <a:gd name="connsiteY448" fmla="*/ 462171 h 1118257"/>
                    <a:gd name="connsiteX449" fmla="*/ 1203732 w 1516542"/>
                    <a:gd name="connsiteY449" fmla="*/ 459262 h 1118257"/>
                    <a:gd name="connsiteX450" fmla="*/ 1196739 w 1516542"/>
                    <a:gd name="connsiteY450" fmla="*/ 454013 h 1118257"/>
                    <a:gd name="connsiteX451" fmla="*/ 1196152 w 1516542"/>
                    <a:gd name="connsiteY451" fmla="*/ 449507 h 1118257"/>
                    <a:gd name="connsiteX452" fmla="*/ 1195509 w 1516542"/>
                    <a:gd name="connsiteY452" fmla="*/ 449702 h 1118257"/>
                    <a:gd name="connsiteX453" fmla="*/ 1194433 w 1516542"/>
                    <a:gd name="connsiteY453" fmla="*/ 452864 h 1118257"/>
                    <a:gd name="connsiteX454" fmla="*/ 1193536 w 1516542"/>
                    <a:gd name="connsiteY454" fmla="*/ 453875 h 1118257"/>
                    <a:gd name="connsiteX455" fmla="*/ 1190301 w 1516542"/>
                    <a:gd name="connsiteY455" fmla="*/ 453965 h 1118257"/>
                    <a:gd name="connsiteX456" fmla="*/ 1188769 w 1516542"/>
                    <a:gd name="connsiteY456" fmla="*/ 452775 h 1118257"/>
                    <a:gd name="connsiteX457" fmla="*/ 1179780 w 1516542"/>
                    <a:gd name="connsiteY457" fmla="*/ 452000 h 1118257"/>
                    <a:gd name="connsiteX458" fmla="*/ 1177579 w 1516542"/>
                    <a:gd name="connsiteY458" fmla="*/ 454030 h 1118257"/>
                    <a:gd name="connsiteX459" fmla="*/ 1175525 w 1516542"/>
                    <a:gd name="connsiteY459" fmla="*/ 457184 h 1118257"/>
                    <a:gd name="connsiteX460" fmla="*/ 1173521 w 1516542"/>
                    <a:gd name="connsiteY460" fmla="*/ 459433 h 1118257"/>
                    <a:gd name="connsiteX461" fmla="*/ 1171508 w 1516542"/>
                    <a:gd name="connsiteY461" fmla="*/ 460582 h 1118257"/>
                    <a:gd name="connsiteX462" fmla="*/ 1169764 w 1516542"/>
                    <a:gd name="connsiteY462" fmla="*/ 462636 h 1118257"/>
                    <a:gd name="connsiteX463" fmla="*/ 1162527 w 1516542"/>
                    <a:gd name="connsiteY463" fmla="*/ 474812 h 1118257"/>
                    <a:gd name="connsiteX464" fmla="*/ 1159796 w 1516542"/>
                    <a:gd name="connsiteY464" fmla="*/ 475732 h 1118257"/>
                    <a:gd name="connsiteX465" fmla="*/ 1146936 w 1516542"/>
                    <a:gd name="connsiteY465" fmla="*/ 483067 h 1118257"/>
                    <a:gd name="connsiteX466" fmla="*/ 1140506 w 1516542"/>
                    <a:gd name="connsiteY466" fmla="*/ 485944 h 1118257"/>
                    <a:gd name="connsiteX467" fmla="*/ 1135543 w 1516542"/>
                    <a:gd name="connsiteY467" fmla="*/ 491029 h 1118257"/>
                    <a:gd name="connsiteX468" fmla="*/ 1133840 w 1516542"/>
                    <a:gd name="connsiteY468" fmla="*/ 494102 h 1118257"/>
                    <a:gd name="connsiteX469" fmla="*/ 1132324 w 1516542"/>
                    <a:gd name="connsiteY469" fmla="*/ 497508 h 1118257"/>
                    <a:gd name="connsiteX470" fmla="*/ 1131411 w 1516542"/>
                    <a:gd name="connsiteY470" fmla="*/ 502675 h 1118257"/>
                    <a:gd name="connsiteX471" fmla="*/ 1126839 w 1516542"/>
                    <a:gd name="connsiteY471" fmla="*/ 508943 h 1118257"/>
                    <a:gd name="connsiteX472" fmla="*/ 1125274 w 1516542"/>
                    <a:gd name="connsiteY472" fmla="*/ 510287 h 1118257"/>
                    <a:gd name="connsiteX473" fmla="*/ 1123669 w 1516542"/>
                    <a:gd name="connsiteY473" fmla="*/ 510825 h 1118257"/>
                    <a:gd name="connsiteX474" fmla="*/ 1121542 w 1516542"/>
                    <a:gd name="connsiteY474" fmla="*/ 510646 h 1118257"/>
                    <a:gd name="connsiteX475" fmla="*/ 1119700 w 1516542"/>
                    <a:gd name="connsiteY475" fmla="*/ 511029 h 1118257"/>
                    <a:gd name="connsiteX476" fmla="*/ 1116570 w 1516542"/>
                    <a:gd name="connsiteY476" fmla="*/ 510475 h 1118257"/>
                    <a:gd name="connsiteX477" fmla="*/ 1112748 w 1516542"/>
                    <a:gd name="connsiteY477" fmla="*/ 512471 h 1118257"/>
                    <a:gd name="connsiteX478" fmla="*/ 1108420 w 1516542"/>
                    <a:gd name="connsiteY478" fmla="*/ 514183 h 1118257"/>
                    <a:gd name="connsiteX479" fmla="*/ 1104713 w 1516542"/>
                    <a:gd name="connsiteY479" fmla="*/ 509864 h 1118257"/>
                    <a:gd name="connsiteX480" fmla="*/ 1102055 w 1516542"/>
                    <a:gd name="connsiteY480" fmla="*/ 508796 h 1118257"/>
                    <a:gd name="connsiteX481" fmla="*/ 1097712 w 1516542"/>
                    <a:gd name="connsiteY481" fmla="*/ 509994 h 1118257"/>
                    <a:gd name="connsiteX482" fmla="*/ 1095699 w 1516542"/>
                    <a:gd name="connsiteY482" fmla="*/ 511909 h 1118257"/>
                    <a:gd name="connsiteX483" fmla="*/ 1091534 w 1516542"/>
                    <a:gd name="connsiteY483" fmla="*/ 521395 h 1118257"/>
                    <a:gd name="connsiteX484" fmla="*/ 1089978 w 1516542"/>
                    <a:gd name="connsiteY484" fmla="*/ 526831 h 1118257"/>
                    <a:gd name="connsiteX485" fmla="*/ 1090076 w 1516542"/>
                    <a:gd name="connsiteY485" fmla="*/ 529056 h 1118257"/>
                    <a:gd name="connsiteX486" fmla="*/ 1092512 w 1516542"/>
                    <a:gd name="connsiteY486" fmla="*/ 535804 h 1118257"/>
                    <a:gd name="connsiteX487" fmla="*/ 1095251 w 1516542"/>
                    <a:gd name="connsiteY487" fmla="*/ 539586 h 1118257"/>
                    <a:gd name="connsiteX488" fmla="*/ 1101412 w 1516542"/>
                    <a:gd name="connsiteY488" fmla="*/ 543889 h 1118257"/>
                    <a:gd name="connsiteX489" fmla="*/ 1114508 w 1516542"/>
                    <a:gd name="connsiteY489" fmla="*/ 546855 h 1118257"/>
                    <a:gd name="connsiteX490" fmla="*/ 1117581 w 1516542"/>
                    <a:gd name="connsiteY490" fmla="*/ 545796 h 1118257"/>
                    <a:gd name="connsiteX491" fmla="*/ 1120890 w 1516542"/>
                    <a:gd name="connsiteY491" fmla="*/ 545788 h 1118257"/>
                    <a:gd name="connsiteX492" fmla="*/ 1124361 w 1516542"/>
                    <a:gd name="connsiteY492" fmla="*/ 548599 h 1118257"/>
                    <a:gd name="connsiteX493" fmla="*/ 1126529 w 1516542"/>
                    <a:gd name="connsiteY493" fmla="*/ 553245 h 1118257"/>
                    <a:gd name="connsiteX494" fmla="*/ 1126725 w 1516542"/>
                    <a:gd name="connsiteY494" fmla="*/ 556423 h 1118257"/>
                    <a:gd name="connsiteX495" fmla="*/ 1126798 w 1516542"/>
                    <a:gd name="connsiteY495" fmla="*/ 557507 h 1118257"/>
                    <a:gd name="connsiteX496" fmla="*/ 1127581 w 1516542"/>
                    <a:gd name="connsiteY496" fmla="*/ 558444 h 1118257"/>
                    <a:gd name="connsiteX497" fmla="*/ 1128053 w 1516542"/>
                    <a:gd name="connsiteY497" fmla="*/ 560050 h 1118257"/>
                    <a:gd name="connsiteX498" fmla="*/ 1126684 w 1516542"/>
                    <a:gd name="connsiteY498" fmla="*/ 561370 h 1118257"/>
                    <a:gd name="connsiteX499" fmla="*/ 1125617 w 1516542"/>
                    <a:gd name="connsiteY499" fmla="*/ 562030 h 1118257"/>
                    <a:gd name="connsiteX500" fmla="*/ 1124728 w 1516542"/>
                    <a:gd name="connsiteY500" fmla="*/ 566952 h 1118257"/>
                    <a:gd name="connsiteX501" fmla="*/ 1124663 w 1516542"/>
                    <a:gd name="connsiteY501" fmla="*/ 572388 h 1118257"/>
                    <a:gd name="connsiteX502" fmla="*/ 1125796 w 1516542"/>
                    <a:gd name="connsiteY502" fmla="*/ 574189 h 1118257"/>
                    <a:gd name="connsiteX503" fmla="*/ 1128616 w 1516542"/>
                    <a:gd name="connsiteY503" fmla="*/ 576724 h 1118257"/>
                    <a:gd name="connsiteX504" fmla="*/ 1132976 w 1516542"/>
                    <a:gd name="connsiteY504" fmla="*/ 578818 h 1118257"/>
                    <a:gd name="connsiteX505" fmla="*/ 1137002 w 1516542"/>
                    <a:gd name="connsiteY505" fmla="*/ 579267 h 1118257"/>
                    <a:gd name="connsiteX506" fmla="*/ 1144703 w 1516542"/>
                    <a:gd name="connsiteY506" fmla="*/ 578256 h 1118257"/>
                    <a:gd name="connsiteX507" fmla="*/ 1147857 w 1516542"/>
                    <a:gd name="connsiteY507" fmla="*/ 574980 h 1118257"/>
                    <a:gd name="connsiteX508" fmla="*/ 1147670 w 1516542"/>
                    <a:gd name="connsiteY508" fmla="*/ 573562 h 1118257"/>
                    <a:gd name="connsiteX509" fmla="*/ 1147743 w 1516542"/>
                    <a:gd name="connsiteY509" fmla="*/ 571736 h 1118257"/>
                    <a:gd name="connsiteX510" fmla="*/ 1154524 w 1516542"/>
                    <a:gd name="connsiteY510" fmla="*/ 566912 h 1118257"/>
                    <a:gd name="connsiteX511" fmla="*/ 1158370 w 1516542"/>
                    <a:gd name="connsiteY511" fmla="*/ 562649 h 1118257"/>
                    <a:gd name="connsiteX512" fmla="*/ 1157775 w 1516542"/>
                    <a:gd name="connsiteY512" fmla="*/ 561525 h 1118257"/>
                    <a:gd name="connsiteX513" fmla="*/ 1157025 w 1516542"/>
                    <a:gd name="connsiteY513" fmla="*/ 560775 h 1118257"/>
                    <a:gd name="connsiteX514" fmla="*/ 1157702 w 1516542"/>
                    <a:gd name="connsiteY514" fmla="*/ 560335 h 1118257"/>
                    <a:gd name="connsiteX515" fmla="*/ 1159829 w 1516542"/>
                    <a:gd name="connsiteY515" fmla="*/ 560041 h 1118257"/>
                    <a:gd name="connsiteX516" fmla="*/ 1169250 w 1516542"/>
                    <a:gd name="connsiteY516" fmla="*/ 555592 h 1118257"/>
                    <a:gd name="connsiteX517" fmla="*/ 1176666 w 1516542"/>
                    <a:gd name="connsiteY517" fmla="*/ 559227 h 1118257"/>
                    <a:gd name="connsiteX518" fmla="*/ 1180896 w 1516542"/>
                    <a:gd name="connsiteY518" fmla="*/ 563407 h 1118257"/>
                    <a:gd name="connsiteX519" fmla="*/ 1185077 w 1516542"/>
                    <a:gd name="connsiteY519" fmla="*/ 564116 h 1118257"/>
                    <a:gd name="connsiteX520" fmla="*/ 1187978 w 1516542"/>
                    <a:gd name="connsiteY520" fmla="*/ 566252 h 1118257"/>
                    <a:gd name="connsiteX521" fmla="*/ 1191328 w 1516542"/>
                    <a:gd name="connsiteY521" fmla="*/ 568077 h 1118257"/>
                    <a:gd name="connsiteX522" fmla="*/ 1195696 w 1516542"/>
                    <a:gd name="connsiteY522" fmla="*/ 568199 h 1118257"/>
                    <a:gd name="connsiteX523" fmla="*/ 1199372 w 1516542"/>
                    <a:gd name="connsiteY523" fmla="*/ 568582 h 1118257"/>
                    <a:gd name="connsiteX524" fmla="*/ 1200504 w 1516542"/>
                    <a:gd name="connsiteY524" fmla="*/ 566895 h 1118257"/>
                    <a:gd name="connsiteX525" fmla="*/ 1201662 w 1516542"/>
                    <a:gd name="connsiteY525" fmla="*/ 565787 h 1118257"/>
                    <a:gd name="connsiteX526" fmla="*/ 1202974 w 1516542"/>
                    <a:gd name="connsiteY526" fmla="*/ 566007 h 1118257"/>
                    <a:gd name="connsiteX527" fmla="*/ 1204449 w 1516542"/>
                    <a:gd name="connsiteY527" fmla="*/ 568207 h 1118257"/>
                    <a:gd name="connsiteX528" fmla="*/ 1208630 w 1516542"/>
                    <a:gd name="connsiteY528" fmla="*/ 569919 h 1118257"/>
                    <a:gd name="connsiteX529" fmla="*/ 1212485 w 1516542"/>
                    <a:gd name="connsiteY529" fmla="*/ 569821 h 1118257"/>
                    <a:gd name="connsiteX530" fmla="*/ 1215198 w 1516542"/>
                    <a:gd name="connsiteY530" fmla="*/ 569210 h 1118257"/>
                    <a:gd name="connsiteX531" fmla="*/ 1216787 w 1516542"/>
                    <a:gd name="connsiteY531" fmla="*/ 570000 h 1118257"/>
                    <a:gd name="connsiteX532" fmla="*/ 1214473 w 1516542"/>
                    <a:gd name="connsiteY532" fmla="*/ 572828 h 1118257"/>
                    <a:gd name="connsiteX533" fmla="*/ 1214815 w 1516542"/>
                    <a:gd name="connsiteY533" fmla="*/ 577384 h 1118257"/>
                    <a:gd name="connsiteX534" fmla="*/ 1213039 w 1516542"/>
                    <a:gd name="connsiteY534" fmla="*/ 578835 h 1118257"/>
                    <a:gd name="connsiteX535" fmla="*/ 1211327 w 1516542"/>
                    <a:gd name="connsiteY535" fmla="*/ 581149 h 1118257"/>
                    <a:gd name="connsiteX536" fmla="*/ 1212338 w 1516542"/>
                    <a:gd name="connsiteY536" fmla="*/ 582681 h 1118257"/>
                    <a:gd name="connsiteX537" fmla="*/ 1213242 w 1516542"/>
                    <a:gd name="connsiteY537" fmla="*/ 583333 h 1118257"/>
                    <a:gd name="connsiteX538" fmla="*/ 1213136 w 1516542"/>
                    <a:gd name="connsiteY538" fmla="*/ 585183 h 1118257"/>
                    <a:gd name="connsiteX539" fmla="*/ 1211588 w 1516542"/>
                    <a:gd name="connsiteY539" fmla="*/ 586251 h 1118257"/>
                    <a:gd name="connsiteX540" fmla="*/ 1208703 w 1516542"/>
                    <a:gd name="connsiteY540" fmla="*/ 589006 h 1118257"/>
                    <a:gd name="connsiteX541" fmla="*/ 1207057 w 1516542"/>
                    <a:gd name="connsiteY541" fmla="*/ 588948 h 1118257"/>
                    <a:gd name="connsiteX542" fmla="*/ 1206266 w 1516542"/>
                    <a:gd name="connsiteY542" fmla="*/ 588411 h 1118257"/>
                    <a:gd name="connsiteX543" fmla="*/ 1205696 w 1516542"/>
                    <a:gd name="connsiteY543" fmla="*/ 587433 h 1118257"/>
                    <a:gd name="connsiteX544" fmla="*/ 1205296 w 1516542"/>
                    <a:gd name="connsiteY544" fmla="*/ 585843 h 1118257"/>
                    <a:gd name="connsiteX545" fmla="*/ 1204278 w 1516542"/>
                    <a:gd name="connsiteY545" fmla="*/ 584792 h 1118257"/>
                    <a:gd name="connsiteX546" fmla="*/ 1201482 w 1516542"/>
                    <a:gd name="connsiteY546" fmla="*/ 584393 h 1118257"/>
                    <a:gd name="connsiteX547" fmla="*/ 1198589 w 1516542"/>
                    <a:gd name="connsiteY547" fmla="*/ 584776 h 1118257"/>
                    <a:gd name="connsiteX548" fmla="*/ 1192061 w 1516542"/>
                    <a:gd name="connsiteY548" fmla="*/ 588867 h 1118257"/>
                    <a:gd name="connsiteX549" fmla="*/ 1185696 w 1516542"/>
                    <a:gd name="connsiteY549" fmla="*/ 592127 h 1118257"/>
                    <a:gd name="connsiteX550" fmla="*/ 1179022 w 1516542"/>
                    <a:gd name="connsiteY550" fmla="*/ 594710 h 1118257"/>
                    <a:gd name="connsiteX551" fmla="*/ 1176780 w 1516542"/>
                    <a:gd name="connsiteY551" fmla="*/ 596348 h 1118257"/>
                    <a:gd name="connsiteX552" fmla="*/ 1175208 w 1516542"/>
                    <a:gd name="connsiteY552" fmla="*/ 596789 h 1118257"/>
                    <a:gd name="connsiteX553" fmla="*/ 1172437 w 1516542"/>
                    <a:gd name="connsiteY553" fmla="*/ 595550 h 1118257"/>
                    <a:gd name="connsiteX554" fmla="*/ 1170750 w 1516542"/>
                    <a:gd name="connsiteY554" fmla="*/ 595631 h 1118257"/>
                    <a:gd name="connsiteX555" fmla="*/ 1170407 w 1516542"/>
                    <a:gd name="connsiteY555" fmla="*/ 596479 h 1118257"/>
                    <a:gd name="connsiteX556" fmla="*/ 1172534 w 1516542"/>
                    <a:gd name="connsiteY556" fmla="*/ 598753 h 1118257"/>
                    <a:gd name="connsiteX557" fmla="*/ 1173089 w 1516542"/>
                    <a:gd name="connsiteY557" fmla="*/ 600529 h 1118257"/>
                    <a:gd name="connsiteX558" fmla="*/ 1172869 w 1516542"/>
                    <a:gd name="connsiteY558" fmla="*/ 601898 h 1118257"/>
                    <a:gd name="connsiteX559" fmla="*/ 1171654 w 1516542"/>
                    <a:gd name="connsiteY559" fmla="*/ 602493 h 1118257"/>
                    <a:gd name="connsiteX560" fmla="*/ 1169894 w 1516542"/>
                    <a:gd name="connsiteY560" fmla="*/ 601491 h 1118257"/>
                    <a:gd name="connsiteX561" fmla="*/ 1168288 w 1516542"/>
                    <a:gd name="connsiteY561" fmla="*/ 602917 h 1118257"/>
                    <a:gd name="connsiteX562" fmla="*/ 1167563 w 1516542"/>
                    <a:gd name="connsiteY562" fmla="*/ 605330 h 1118257"/>
                    <a:gd name="connsiteX563" fmla="*/ 1167539 w 1516542"/>
                    <a:gd name="connsiteY563" fmla="*/ 611042 h 1118257"/>
                    <a:gd name="connsiteX564" fmla="*/ 1166463 w 1516542"/>
                    <a:gd name="connsiteY564" fmla="*/ 612314 h 1118257"/>
                    <a:gd name="connsiteX565" fmla="*/ 1163521 w 1516542"/>
                    <a:gd name="connsiteY565" fmla="*/ 613015 h 1118257"/>
                    <a:gd name="connsiteX566" fmla="*/ 1160391 w 1516542"/>
                    <a:gd name="connsiteY566" fmla="*/ 614832 h 1118257"/>
                    <a:gd name="connsiteX567" fmla="*/ 1159283 w 1516542"/>
                    <a:gd name="connsiteY567" fmla="*/ 613993 h 1118257"/>
                    <a:gd name="connsiteX568" fmla="*/ 1158843 w 1516542"/>
                    <a:gd name="connsiteY568" fmla="*/ 612966 h 1118257"/>
                    <a:gd name="connsiteX569" fmla="*/ 1159169 w 1516542"/>
                    <a:gd name="connsiteY569" fmla="*/ 610342 h 1118257"/>
                    <a:gd name="connsiteX570" fmla="*/ 1158778 w 1516542"/>
                    <a:gd name="connsiteY570" fmla="*/ 609062 h 1118257"/>
                    <a:gd name="connsiteX571" fmla="*/ 1157343 w 1516542"/>
                    <a:gd name="connsiteY571" fmla="*/ 609119 h 1118257"/>
                    <a:gd name="connsiteX572" fmla="*/ 1155200 w 1516542"/>
                    <a:gd name="connsiteY572" fmla="*/ 609918 h 1118257"/>
                    <a:gd name="connsiteX573" fmla="*/ 1153537 w 1516542"/>
                    <a:gd name="connsiteY573" fmla="*/ 611646 h 1118257"/>
                    <a:gd name="connsiteX574" fmla="*/ 1152983 w 1516542"/>
                    <a:gd name="connsiteY574" fmla="*/ 612681 h 1118257"/>
                    <a:gd name="connsiteX575" fmla="*/ 1155151 w 1516542"/>
                    <a:gd name="connsiteY575" fmla="*/ 616038 h 1118257"/>
                    <a:gd name="connsiteX576" fmla="*/ 1157213 w 1516542"/>
                    <a:gd name="connsiteY576" fmla="*/ 616381 h 1118257"/>
                    <a:gd name="connsiteX577" fmla="*/ 1157710 w 1516542"/>
                    <a:gd name="connsiteY577" fmla="*/ 617130 h 1118257"/>
                    <a:gd name="connsiteX578" fmla="*/ 1156072 w 1516542"/>
                    <a:gd name="connsiteY578" fmla="*/ 618768 h 1118257"/>
                    <a:gd name="connsiteX579" fmla="*/ 1152005 w 1516542"/>
                    <a:gd name="connsiteY579" fmla="*/ 621213 h 1118257"/>
                    <a:gd name="connsiteX580" fmla="*/ 1151329 w 1516542"/>
                    <a:gd name="connsiteY580" fmla="*/ 623259 h 1118257"/>
                    <a:gd name="connsiteX581" fmla="*/ 1150115 w 1516542"/>
                    <a:gd name="connsiteY581" fmla="*/ 625215 h 1118257"/>
                    <a:gd name="connsiteX582" fmla="*/ 1148452 w 1516542"/>
                    <a:gd name="connsiteY582" fmla="*/ 626763 h 1118257"/>
                    <a:gd name="connsiteX583" fmla="*/ 1147327 w 1516542"/>
                    <a:gd name="connsiteY583" fmla="*/ 628393 h 1118257"/>
                    <a:gd name="connsiteX584" fmla="*/ 1145950 w 1516542"/>
                    <a:gd name="connsiteY584" fmla="*/ 629257 h 1118257"/>
                    <a:gd name="connsiteX585" fmla="*/ 1143692 w 1516542"/>
                    <a:gd name="connsiteY585" fmla="*/ 630211 h 1118257"/>
                    <a:gd name="connsiteX586" fmla="*/ 1140946 w 1516542"/>
                    <a:gd name="connsiteY586" fmla="*/ 634139 h 1118257"/>
                    <a:gd name="connsiteX587" fmla="*/ 1138900 w 1516542"/>
                    <a:gd name="connsiteY587" fmla="*/ 637814 h 1118257"/>
                    <a:gd name="connsiteX588" fmla="*/ 1136505 w 1516542"/>
                    <a:gd name="connsiteY588" fmla="*/ 639697 h 1118257"/>
                    <a:gd name="connsiteX589" fmla="*/ 1134589 w 1516542"/>
                    <a:gd name="connsiteY589" fmla="*/ 645874 h 1118257"/>
                    <a:gd name="connsiteX590" fmla="*/ 1131199 w 1516542"/>
                    <a:gd name="connsiteY590" fmla="*/ 649232 h 1118257"/>
                    <a:gd name="connsiteX591" fmla="*/ 1129944 w 1516542"/>
                    <a:gd name="connsiteY591" fmla="*/ 654595 h 1118257"/>
                    <a:gd name="connsiteX592" fmla="*/ 1130824 w 1516542"/>
                    <a:gd name="connsiteY592" fmla="*/ 657895 h 1118257"/>
                    <a:gd name="connsiteX593" fmla="*/ 1134557 w 1516542"/>
                    <a:gd name="connsiteY593" fmla="*/ 657863 h 1118257"/>
                    <a:gd name="connsiteX594" fmla="*/ 1136431 w 1516542"/>
                    <a:gd name="connsiteY594" fmla="*/ 659028 h 1118257"/>
                    <a:gd name="connsiteX595" fmla="*/ 1140302 w 1516542"/>
                    <a:gd name="connsiteY595" fmla="*/ 663364 h 1118257"/>
                    <a:gd name="connsiteX596" fmla="*/ 1144940 w 1516542"/>
                    <a:gd name="connsiteY596" fmla="*/ 666184 h 1118257"/>
                    <a:gd name="connsiteX597" fmla="*/ 1149740 w 1516542"/>
                    <a:gd name="connsiteY597" fmla="*/ 667773 h 1118257"/>
                    <a:gd name="connsiteX598" fmla="*/ 1155640 w 1516542"/>
                    <a:gd name="connsiteY598" fmla="*/ 671774 h 1118257"/>
                    <a:gd name="connsiteX599" fmla="*/ 1157262 w 1516542"/>
                    <a:gd name="connsiteY599" fmla="*/ 673469 h 1118257"/>
                    <a:gd name="connsiteX600" fmla="*/ 1158647 w 1516542"/>
                    <a:gd name="connsiteY600" fmla="*/ 676917 h 1118257"/>
                    <a:gd name="connsiteX601" fmla="*/ 1161198 w 1516542"/>
                    <a:gd name="connsiteY601" fmla="*/ 686819 h 1118257"/>
                    <a:gd name="connsiteX602" fmla="*/ 1163040 w 1516542"/>
                    <a:gd name="connsiteY602" fmla="*/ 691725 h 1118257"/>
                    <a:gd name="connsiteX603" fmla="*/ 1163162 w 1516542"/>
                    <a:gd name="connsiteY603" fmla="*/ 694284 h 1118257"/>
                    <a:gd name="connsiteX604" fmla="*/ 1165917 w 1516542"/>
                    <a:gd name="connsiteY604" fmla="*/ 699109 h 1118257"/>
                    <a:gd name="connsiteX605" fmla="*/ 1168859 w 1516542"/>
                    <a:gd name="connsiteY605" fmla="*/ 707389 h 1118257"/>
                    <a:gd name="connsiteX606" fmla="*/ 1172241 w 1516542"/>
                    <a:gd name="connsiteY606" fmla="*/ 714560 h 1118257"/>
                    <a:gd name="connsiteX607" fmla="*/ 1172893 w 1516542"/>
                    <a:gd name="connsiteY607" fmla="*/ 720200 h 1118257"/>
                    <a:gd name="connsiteX608" fmla="*/ 1171809 w 1516542"/>
                    <a:gd name="connsiteY608" fmla="*/ 722775 h 1118257"/>
                    <a:gd name="connsiteX609" fmla="*/ 1171809 w 1516542"/>
                    <a:gd name="connsiteY609" fmla="*/ 726117 h 1118257"/>
                    <a:gd name="connsiteX610" fmla="*/ 1175208 w 1516542"/>
                    <a:gd name="connsiteY610" fmla="*/ 729181 h 1118257"/>
                    <a:gd name="connsiteX611" fmla="*/ 1182722 w 1516542"/>
                    <a:gd name="connsiteY611" fmla="*/ 732742 h 1118257"/>
                    <a:gd name="connsiteX612" fmla="*/ 1183928 w 1516542"/>
                    <a:gd name="connsiteY612" fmla="*/ 733794 h 1118257"/>
                    <a:gd name="connsiteX613" fmla="*/ 1185403 w 1516542"/>
                    <a:gd name="connsiteY613" fmla="*/ 735521 h 1118257"/>
                    <a:gd name="connsiteX614" fmla="*/ 1185468 w 1516542"/>
                    <a:gd name="connsiteY614" fmla="*/ 740892 h 1118257"/>
                    <a:gd name="connsiteX615" fmla="*/ 1186634 w 1516542"/>
                    <a:gd name="connsiteY615" fmla="*/ 742612 h 1118257"/>
                    <a:gd name="connsiteX616" fmla="*/ 1187620 w 1516542"/>
                    <a:gd name="connsiteY616" fmla="*/ 743663 h 1118257"/>
                    <a:gd name="connsiteX617" fmla="*/ 1192176 w 1516542"/>
                    <a:gd name="connsiteY617" fmla="*/ 745929 h 1118257"/>
                    <a:gd name="connsiteX618" fmla="*/ 1194074 w 1516542"/>
                    <a:gd name="connsiteY618" fmla="*/ 747819 h 1118257"/>
                    <a:gd name="connsiteX619" fmla="*/ 1196087 w 1516542"/>
                    <a:gd name="connsiteY619" fmla="*/ 750835 h 1118257"/>
                    <a:gd name="connsiteX620" fmla="*/ 1196690 w 1516542"/>
                    <a:gd name="connsiteY620" fmla="*/ 753524 h 1118257"/>
                    <a:gd name="connsiteX621" fmla="*/ 1196935 w 1516542"/>
                    <a:gd name="connsiteY621" fmla="*/ 757175 h 1118257"/>
                    <a:gd name="connsiteX622" fmla="*/ 1194384 w 1516542"/>
                    <a:gd name="connsiteY622" fmla="*/ 757314 h 1118257"/>
                    <a:gd name="connsiteX623" fmla="*/ 1192338 w 1516542"/>
                    <a:gd name="connsiteY623" fmla="*/ 756898 h 1118257"/>
                    <a:gd name="connsiteX624" fmla="*/ 1184173 w 1516542"/>
                    <a:gd name="connsiteY624" fmla="*/ 752155 h 1118257"/>
                    <a:gd name="connsiteX625" fmla="*/ 1182045 w 1516542"/>
                    <a:gd name="connsiteY625" fmla="*/ 752033 h 1118257"/>
                    <a:gd name="connsiteX626" fmla="*/ 1179054 w 1516542"/>
                    <a:gd name="connsiteY626" fmla="*/ 752693 h 1118257"/>
                    <a:gd name="connsiteX627" fmla="*/ 1174800 w 1516542"/>
                    <a:gd name="connsiteY627" fmla="*/ 751813 h 1118257"/>
                    <a:gd name="connsiteX628" fmla="*/ 1170285 w 1516542"/>
                    <a:gd name="connsiteY628" fmla="*/ 746556 h 1118257"/>
                    <a:gd name="connsiteX629" fmla="*/ 1167033 w 1516542"/>
                    <a:gd name="connsiteY629" fmla="*/ 744951 h 1118257"/>
                    <a:gd name="connsiteX630" fmla="*/ 1163546 w 1516542"/>
                    <a:gd name="connsiteY630" fmla="*/ 744152 h 1118257"/>
                    <a:gd name="connsiteX631" fmla="*/ 1155208 w 1516542"/>
                    <a:gd name="connsiteY631" fmla="*/ 748683 h 1118257"/>
                    <a:gd name="connsiteX632" fmla="*/ 1153089 w 1516542"/>
                    <a:gd name="connsiteY632" fmla="*/ 748357 h 1118257"/>
                    <a:gd name="connsiteX633" fmla="*/ 1152478 w 1516542"/>
                    <a:gd name="connsiteY633" fmla="*/ 748871 h 1118257"/>
                    <a:gd name="connsiteX634" fmla="*/ 1151541 w 1516542"/>
                    <a:gd name="connsiteY634" fmla="*/ 749645 h 1118257"/>
                    <a:gd name="connsiteX635" fmla="*/ 1155404 w 1516542"/>
                    <a:gd name="connsiteY635" fmla="*/ 750615 h 1118257"/>
                    <a:gd name="connsiteX636" fmla="*/ 1159267 w 1516542"/>
                    <a:gd name="connsiteY636" fmla="*/ 749140 h 1118257"/>
                    <a:gd name="connsiteX637" fmla="*/ 1162983 w 1516542"/>
                    <a:gd name="connsiteY637" fmla="*/ 746939 h 1118257"/>
                    <a:gd name="connsiteX638" fmla="*/ 1168403 w 1516542"/>
                    <a:gd name="connsiteY638" fmla="*/ 748113 h 1118257"/>
                    <a:gd name="connsiteX639" fmla="*/ 1169299 w 1516542"/>
                    <a:gd name="connsiteY639" fmla="*/ 750085 h 1118257"/>
                    <a:gd name="connsiteX640" fmla="*/ 1170179 w 1516542"/>
                    <a:gd name="connsiteY640" fmla="*/ 753418 h 1118257"/>
                    <a:gd name="connsiteX641" fmla="*/ 1173895 w 1516542"/>
                    <a:gd name="connsiteY641" fmla="*/ 755676 h 1118257"/>
                    <a:gd name="connsiteX642" fmla="*/ 1176830 w 1516542"/>
                    <a:gd name="connsiteY642" fmla="*/ 756670 h 1118257"/>
                    <a:gd name="connsiteX643" fmla="*/ 1180521 w 1516542"/>
                    <a:gd name="connsiteY643" fmla="*/ 759620 h 1118257"/>
                    <a:gd name="connsiteX644" fmla="*/ 1184148 w 1516542"/>
                    <a:gd name="connsiteY644" fmla="*/ 764233 h 1118257"/>
                    <a:gd name="connsiteX645" fmla="*/ 1191833 w 1516542"/>
                    <a:gd name="connsiteY645" fmla="*/ 769587 h 1118257"/>
                    <a:gd name="connsiteX646" fmla="*/ 1194946 w 1516542"/>
                    <a:gd name="connsiteY646" fmla="*/ 774648 h 1118257"/>
                    <a:gd name="connsiteX647" fmla="*/ 1196144 w 1516542"/>
                    <a:gd name="connsiteY647" fmla="*/ 777916 h 1118257"/>
                    <a:gd name="connsiteX648" fmla="*/ 1197220 w 1516542"/>
                    <a:gd name="connsiteY648" fmla="*/ 782586 h 1118257"/>
                    <a:gd name="connsiteX649" fmla="*/ 1194539 w 1516542"/>
                    <a:gd name="connsiteY649" fmla="*/ 784077 h 1118257"/>
                    <a:gd name="connsiteX650" fmla="*/ 1192200 w 1516542"/>
                    <a:gd name="connsiteY650" fmla="*/ 784298 h 1118257"/>
                    <a:gd name="connsiteX651" fmla="*/ 1188532 w 1516542"/>
                    <a:gd name="connsiteY651" fmla="*/ 785031 h 1118257"/>
                    <a:gd name="connsiteX652" fmla="*/ 1185835 w 1516542"/>
                    <a:gd name="connsiteY652" fmla="*/ 786677 h 1118257"/>
                    <a:gd name="connsiteX653" fmla="*/ 1183137 w 1516542"/>
                    <a:gd name="connsiteY653" fmla="*/ 789579 h 1118257"/>
                    <a:gd name="connsiteX654" fmla="*/ 1175387 w 1516542"/>
                    <a:gd name="connsiteY654" fmla="*/ 794134 h 1118257"/>
                    <a:gd name="connsiteX655" fmla="*/ 1173912 w 1516542"/>
                    <a:gd name="connsiteY655" fmla="*/ 796979 h 1118257"/>
                    <a:gd name="connsiteX656" fmla="*/ 1172893 w 1516542"/>
                    <a:gd name="connsiteY656" fmla="*/ 799456 h 1118257"/>
                    <a:gd name="connsiteX657" fmla="*/ 1171019 w 1516542"/>
                    <a:gd name="connsiteY657" fmla="*/ 800679 h 1118257"/>
                    <a:gd name="connsiteX658" fmla="*/ 1166275 w 1516542"/>
                    <a:gd name="connsiteY658" fmla="*/ 799513 h 1118257"/>
                    <a:gd name="connsiteX659" fmla="*/ 1161801 w 1516542"/>
                    <a:gd name="connsiteY659" fmla="*/ 799611 h 1118257"/>
                    <a:gd name="connsiteX660" fmla="*/ 1156732 w 1516542"/>
                    <a:gd name="connsiteY660" fmla="*/ 802961 h 1118257"/>
                    <a:gd name="connsiteX661" fmla="*/ 1155477 w 1516542"/>
                    <a:gd name="connsiteY661" fmla="*/ 804321 h 1118257"/>
                    <a:gd name="connsiteX662" fmla="*/ 1156309 w 1516542"/>
                    <a:gd name="connsiteY662" fmla="*/ 804053 h 1118257"/>
                    <a:gd name="connsiteX663" fmla="*/ 1157115 w 1516542"/>
                    <a:gd name="connsiteY663" fmla="*/ 803621 h 1118257"/>
                    <a:gd name="connsiteX664" fmla="*/ 1159389 w 1516542"/>
                    <a:gd name="connsiteY664" fmla="*/ 804126 h 1118257"/>
                    <a:gd name="connsiteX665" fmla="*/ 1162910 w 1516542"/>
                    <a:gd name="connsiteY665" fmla="*/ 802333 h 1118257"/>
                    <a:gd name="connsiteX666" fmla="*/ 1166357 w 1516542"/>
                    <a:gd name="connsiteY666" fmla="*/ 807793 h 1118257"/>
                    <a:gd name="connsiteX667" fmla="*/ 1173081 w 1516542"/>
                    <a:gd name="connsiteY667" fmla="*/ 806913 h 1118257"/>
                    <a:gd name="connsiteX668" fmla="*/ 1179397 w 1516542"/>
                    <a:gd name="connsiteY668" fmla="*/ 802374 h 1118257"/>
                    <a:gd name="connsiteX669" fmla="*/ 1181842 w 1516542"/>
                    <a:gd name="connsiteY669" fmla="*/ 802300 h 1118257"/>
                    <a:gd name="connsiteX670" fmla="*/ 1183895 w 1516542"/>
                    <a:gd name="connsiteY670" fmla="*/ 803001 h 1118257"/>
                    <a:gd name="connsiteX671" fmla="*/ 1186177 w 1516542"/>
                    <a:gd name="connsiteY671" fmla="*/ 804786 h 1118257"/>
                    <a:gd name="connsiteX672" fmla="*/ 1192257 w 1516542"/>
                    <a:gd name="connsiteY672" fmla="*/ 812740 h 1118257"/>
                    <a:gd name="connsiteX673" fmla="*/ 1195598 w 1516542"/>
                    <a:gd name="connsiteY673" fmla="*/ 813604 h 1118257"/>
                    <a:gd name="connsiteX674" fmla="*/ 1198866 w 1516542"/>
                    <a:gd name="connsiteY674" fmla="*/ 815462 h 1118257"/>
                    <a:gd name="connsiteX675" fmla="*/ 1200692 w 1516542"/>
                    <a:gd name="connsiteY675" fmla="*/ 815674 h 1118257"/>
                    <a:gd name="connsiteX676" fmla="*/ 1202313 w 1516542"/>
                    <a:gd name="connsiteY676" fmla="*/ 816228 h 1118257"/>
                    <a:gd name="connsiteX677" fmla="*/ 1197913 w 1516542"/>
                    <a:gd name="connsiteY677" fmla="*/ 819138 h 1118257"/>
                    <a:gd name="connsiteX678" fmla="*/ 1192232 w 1516542"/>
                    <a:gd name="connsiteY678" fmla="*/ 825413 h 1118257"/>
                    <a:gd name="connsiteX679" fmla="*/ 1189698 w 1516542"/>
                    <a:gd name="connsiteY679" fmla="*/ 826904 h 1118257"/>
                    <a:gd name="connsiteX680" fmla="*/ 1188003 w 1516542"/>
                    <a:gd name="connsiteY680" fmla="*/ 828583 h 1118257"/>
                    <a:gd name="connsiteX681" fmla="*/ 1192566 w 1516542"/>
                    <a:gd name="connsiteY681" fmla="*/ 827744 h 1118257"/>
                    <a:gd name="connsiteX682" fmla="*/ 1195835 w 1516542"/>
                    <a:gd name="connsiteY682" fmla="*/ 824745 h 1118257"/>
                    <a:gd name="connsiteX683" fmla="*/ 1197473 w 1516542"/>
                    <a:gd name="connsiteY683" fmla="*/ 824003 h 1118257"/>
                    <a:gd name="connsiteX684" fmla="*/ 1198793 w 1516542"/>
                    <a:gd name="connsiteY684" fmla="*/ 824704 h 1118257"/>
                    <a:gd name="connsiteX685" fmla="*/ 1199469 w 1516542"/>
                    <a:gd name="connsiteY685" fmla="*/ 828396 h 1118257"/>
                    <a:gd name="connsiteX686" fmla="*/ 1198206 w 1516542"/>
                    <a:gd name="connsiteY686" fmla="*/ 839765 h 1118257"/>
                    <a:gd name="connsiteX687" fmla="*/ 1196625 w 1516542"/>
                    <a:gd name="connsiteY687" fmla="*/ 839960 h 1118257"/>
                    <a:gd name="connsiteX688" fmla="*/ 1195052 w 1516542"/>
                    <a:gd name="connsiteY688" fmla="*/ 836872 h 1118257"/>
                    <a:gd name="connsiteX689" fmla="*/ 1193243 w 1516542"/>
                    <a:gd name="connsiteY689" fmla="*/ 835886 h 1118257"/>
                    <a:gd name="connsiteX690" fmla="*/ 1191719 w 1516542"/>
                    <a:gd name="connsiteY690" fmla="*/ 836537 h 1118257"/>
                    <a:gd name="connsiteX691" fmla="*/ 1188687 w 1516542"/>
                    <a:gd name="connsiteY691" fmla="*/ 836513 h 1118257"/>
                    <a:gd name="connsiteX692" fmla="*/ 1187530 w 1516542"/>
                    <a:gd name="connsiteY692" fmla="*/ 837907 h 1118257"/>
                    <a:gd name="connsiteX693" fmla="*/ 1186552 w 1516542"/>
                    <a:gd name="connsiteY693" fmla="*/ 839887 h 1118257"/>
                    <a:gd name="connsiteX694" fmla="*/ 1188369 w 1516542"/>
                    <a:gd name="connsiteY694" fmla="*/ 840294 h 1118257"/>
                    <a:gd name="connsiteX695" fmla="*/ 1191939 w 1516542"/>
                    <a:gd name="connsiteY695" fmla="*/ 843742 h 1118257"/>
                    <a:gd name="connsiteX696" fmla="*/ 1192306 w 1516542"/>
                    <a:gd name="connsiteY696" fmla="*/ 845584 h 1118257"/>
                    <a:gd name="connsiteX697" fmla="*/ 1191352 w 1516542"/>
                    <a:gd name="connsiteY697" fmla="*/ 846774 h 1118257"/>
                    <a:gd name="connsiteX698" fmla="*/ 1188834 w 1516542"/>
                    <a:gd name="connsiteY698" fmla="*/ 846260 h 1118257"/>
                    <a:gd name="connsiteX699" fmla="*/ 1191882 w 1516542"/>
                    <a:gd name="connsiteY699" fmla="*/ 848827 h 1118257"/>
                    <a:gd name="connsiteX700" fmla="*/ 1191083 w 1516542"/>
                    <a:gd name="connsiteY700" fmla="*/ 851492 h 1118257"/>
                    <a:gd name="connsiteX701" fmla="*/ 1190097 w 1516542"/>
                    <a:gd name="connsiteY701" fmla="*/ 852552 h 1118257"/>
                    <a:gd name="connsiteX702" fmla="*/ 1188321 w 1516542"/>
                    <a:gd name="connsiteY702" fmla="*/ 853220 h 1118257"/>
                    <a:gd name="connsiteX703" fmla="*/ 1187237 w 1516542"/>
                    <a:gd name="connsiteY703" fmla="*/ 855526 h 1118257"/>
                    <a:gd name="connsiteX704" fmla="*/ 1188793 w 1516542"/>
                    <a:gd name="connsiteY704" fmla="*/ 859365 h 1118257"/>
                    <a:gd name="connsiteX705" fmla="*/ 1190382 w 1516542"/>
                    <a:gd name="connsiteY705" fmla="*/ 864287 h 1118257"/>
                    <a:gd name="connsiteX706" fmla="*/ 1190578 w 1516542"/>
                    <a:gd name="connsiteY706" fmla="*/ 866659 h 1118257"/>
                    <a:gd name="connsiteX707" fmla="*/ 1188101 w 1516542"/>
                    <a:gd name="connsiteY707" fmla="*/ 865632 h 1118257"/>
                    <a:gd name="connsiteX708" fmla="*/ 1184246 w 1516542"/>
                    <a:gd name="connsiteY708" fmla="*/ 868639 h 1118257"/>
                    <a:gd name="connsiteX709" fmla="*/ 1182200 w 1516542"/>
                    <a:gd name="connsiteY709" fmla="*/ 868892 h 1118257"/>
                    <a:gd name="connsiteX710" fmla="*/ 1180831 w 1516542"/>
                    <a:gd name="connsiteY710" fmla="*/ 864931 h 1118257"/>
                    <a:gd name="connsiteX711" fmla="*/ 1179054 w 1516542"/>
                    <a:gd name="connsiteY711" fmla="*/ 865550 h 1118257"/>
                    <a:gd name="connsiteX712" fmla="*/ 1177889 w 1516542"/>
                    <a:gd name="connsiteY712" fmla="*/ 866708 h 1118257"/>
                    <a:gd name="connsiteX713" fmla="*/ 1176324 w 1516542"/>
                    <a:gd name="connsiteY713" fmla="*/ 870946 h 1118257"/>
                    <a:gd name="connsiteX714" fmla="*/ 1174417 w 1516542"/>
                    <a:gd name="connsiteY714" fmla="*/ 874776 h 1118257"/>
                    <a:gd name="connsiteX715" fmla="*/ 1172779 w 1516542"/>
                    <a:gd name="connsiteY715" fmla="*/ 875827 h 1118257"/>
                    <a:gd name="connsiteX716" fmla="*/ 1170815 w 1516542"/>
                    <a:gd name="connsiteY716" fmla="*/ 875526 h 1118257"/>
                    <a:gd name="connsiteX717" fmla="*/ 1169193 w 1516542"/>
                    <a:gd name="connsiteY717" fmla="*/ 875640 h 1118257"/>
                    <a:gd name="connsiteX718" fmla="*/ 1169584 w 1516542"/>
                    <a:gd name="connsiteY718" fmla="*/ 876667 h 1118257"/>
                    <a:gd name="connsiteX719" fmla="*/ 1171304 w 1516542"/>
                    <a:gd name="connsiteY719" fmla="*/ 877930 h 1118257"/>
                    <a:gd name="connsiteX720" fmla="*/ 1171304 w 1516542"/>
                    <a:gd name="connsiteY720" fmla="*/ 879405 h 1118257"/>
                    <a:gd name="connsiteX721" fmla="*/ 1167636 w 1516542"/>
                    <a:gd name="connsiteY721" fmla="*/ 884067 h 1118257"/>
                    <a:gd name="connsiteX722" fmla="*/ 1167050 w 1516542"/>
                    <a:gd name="connsiteY722" fmla="*/ 885868 h 1118257"/>
                    <a:gd name="connsiteX723" fmla="*/ 1167123 w 1516542"/>
                    <a:gd name="connsiteY723" fmla="*/ 887408 h 1118257"/>
                    <a:gd name="connsiteX724" fmla="*/ 1165216 w 1516542"/>
                    <a:gd name="connsiteY724" fmla="*/ 889274 h 1118257"/>
                    <a:gd name="connsiteX725" fmla="*/ 1166259 w 1516542"/>
                    <a:gd name="connsiteY725" fmla="*/ 892404 h 1118257"/>
                    <a:gd name="connsiteX726" fmla="*/ 1165713 w 1516542"/>
                    <a:gd name="connsiteY726" fmla="*/ 894612 h 1118257"/>
                    <a:gd name="connsiteX727" fmla="*/ 1164042 w 1516542"/>
                    <a:gd name="connsiteY727" fmla="*/ 897595 h 1118257"/>
                    <a:gd name="connsiteX728" fmla="*/ 1162274 w 1516542"/>
                    <a:gd name="connsiteY728" fmla="*/ 899567 h 1118257"/>
                    <a:gd name="connsiteX729" fmla="*/ 1160179 w 1516542"/>
                    <a:gd name="connsiteY729" fmla="*/ 902762 h 1118257"/>
                    <a:gd name="connsiteX730" fmla="*/ 1157564 w 1516542"/>
                    <a:gd name="connsiteY730" fmla="*/ 904604 h 1118257"/>
                    <a:gd name="connsiteX731" fmla="*/ 1154084 w 1516542"/>
                    <a:gd name="connsiteY731" fmla="*/ 911295 h 1118257"/>
                    <a:gd name="connsiteX732" fmla="*/ 1153065 w 1516542"/>
                    <a:gd name="connsiteY732" fmla="*/ 914628 h 1118257"/>
                    <a:gd name="connsiteX733" fmla="*/ 1152804 w 1516542"/>
                    <a:gd name="connsiteY733" fmla="*/ 918075 h 1118257"/>
                    <a:gd name="connsiteX734" fmla="*/ 1151720 w 1516542"/>
                    <a:gd name="connsiteY734" fmla="*/ 919274 h 1118257"/>
                    <a:gd name="connsiteX735" fmla="*/ 1149846 w 1516542"/>
                    <a:gd name="connsiteY735" fmla="*/ 920773 h 1118257"/>
                    <a:gd name="connsiteX736" fmla="*/ 1147735 w 1516542"/>
                    <a:gd name="connsiteY736" fmla="*/ 920007 h 1118257"/>
                    <a:gd name="connsiteX737" fmla="*/ 1147661 w 1516542"/>
                    <a:gd name="connsiteY737" fmla="*/ 917717 h 1118257"/>
                    <a:gd name="connsiteX738" fmla="*/ 1146732 w 1516542"/>
                    <a:gd name="connsiteY738" fmla="*/ 917513 h 1118257"/>
                    <a:gd name="connsiteX739" fmla="*/ 1146219 w 1516542"/>
                    <a:gd name="connsiteY739" fmla="*/ 916014 h 1118257"/>
                    <a:gd name="connsiteX740" fmla="*/ 1146064 w 1516542"/>
                    <a:gd name="connsiteY740" fmla="*/ 914090 h 1118257"/>
                    <a:gd name="connsiteX741" fmla="*/ 1146284 w 1516542"/>
                    <a:gd name="connsiteY741" fmla="*/ 912550 h 1118257"/>
                    <a:gd name="connsiteX742" fmla="*/ 1145404 w 1516542"/>
                    <a:gd name="connsiteY742" fmla="*/ 913023 h 1118257"/>
                    <a:gd name="connsiteX743" fmla="*/ 1144858 w 1516542"/>
                    <a:gd name="connsiteY743" fmla="*/ 914816 h 1118257"/>
                    <a:gd name="connsiteX744" fmla="*/ 1143464 w 1516542"/>
                    <a:gd name="connsiteY744" fmla="*/ 916274 h 1118257"/>
                    <a:gd name="connsiteX745" fmla="*/ 1142006 w 1516542"/>
                    <a:gd name="connsiteY745" fmla="*/ 915679 h 1118257"/>
                    <a:gd name="connsiteX746" fmla="*/ 1140433 w 1516542"/>
                    <a:gd name="connsiteY746" fmla="*/ 914490 h 1118257"/>
                    <a:gd name="connsiteX747" fmla="*/ 1140482 w 1516542"/>
                    <a:gd name="connsiteY747" fmla="*/ 916217 h 1118257"/>
                    <a:gd name="connsiteX748" fmla="*/ 1141313 w 1516542"/>
                    <a:gd name="connsiteY748" fmla="*/ 917945 h 1118257"/>
                    <a:gd name="connsiteX749" fmla="*/ 1141663 w 1516542"/>
                    <a:gd name="connsiteY749" fmla="*/ 919665 h 1118257"/>
                    <a:gd name="connsiteX750" fmla="*/ 1143848 w 1516542"/>
                    <a:gd name="connsiteY750" fmla="*/ 920040 h 1118257"/>
                    <a:gd name="connsiteX751" fmla="*/ 1145306 w 1516542"/>
                    <a:gd name="connsiteY751" fmla="*/ 922036 h 1118257"/>
                    <a:gd name="connsiteX752" fmla="*/ 1146455 w 1516542"/>
                    <a:gd name="connsiteY752" fmla="*/ 925076 h 1118257"/>
                    <a:gd name="connsiteX753" fmla="*/ 1146692 w 1516542"/>
                    <a:gd name="connsiteY753" fmla="*/ 926217 h 1118257"/>
                    <a:gd name="connsiteX754" fmla="*/ 1147580 w 1516542"/>
                    <a:gd name="connsiteY754" fmla="*/ 927578 h 1118257"/>
                    <a:gd name="connsiteX755" fmla="*/ 1147702 w 1516542"/>
                    <a:gd name="connsiteY755" fmla="*/ 928735 h 1118257"/>
                    <a:gd name="connsiteX756" fmla="*/ 1145624 w 1516542"/>
                    <a:gd name="connsiteY756" fmla="*/ 929811 h 1118257"/>
                    <a:gd name="connsiteX757" fmla="*/ 1143024 w 1516542"/>
                    <a:gd name="connsiteY757" fmla="*/ 931824 h 1118257"/>
                    <a:gd name="connsiteX758" fmla="*/ 1139911 w 1516542"/>
                    <a:gd name="connsiteY758" fmla="*/ 935263 h 1118257"/>
                    <a:gd name="connsiteX759" fmla="*/ 1137336 w 1516542"/>
                    <a:gd name="connsiteY759" fmla="*/ 937561 h 1118257"/>
                    <a:gd name="connsiteX760" fmla="*/ 1135013 w 1516542"/>
                    <a:gd name="connsiteY760" fmla="*/ 937578 h 1118257"/>
                    <a:gd name="connsiteX761" fmla="*/ 1133611 w 1516542"/>
                    <a:gd name="connsiteY761" fmla="*/ 937317 h 1118257"/>
                    <a:gd name="connsiteX762" fmla="*/ 1131598 w 1516542"/>
                    <a:gd name="connsiteY762" fmla="*/ 935989 h 1118257"/>
                    <a:gd name="connsiteX763" fmla="*/ 1129300 w 1516542"/>
                    <a:gd name="connsiteY763" fmla="*/ 935442 h 1118257"/>
                    <a:gd name="connsiteX764" fmla="*/ 1132389 w 1516542"/>
                    <a:gd name="connsiteY764" fmla="*/ 940072 h 1118257"/>
                    <a:gd name="connsiteX765" fmla="*/ 1134084 w 1516542"/>
                    <a:gd name="connsiteY765" fmla="*/ 940903 h 1118257"/>
                    <a:gd name="connsiteX766" fmla="*/ 1136203 w 1516542"/>
                    <a:gd name="connsiteY766" fmla="*/ 940724 h 1118257"/>
                    <a:gd name="connsiteX767" fmla="*/ 1138265 w 1516542"/>
                    <a:gd name="connsiteY767" fmla="*/ 938996 h 1118257"/>
                    <a:gd name="connsiteX768" fmla="*/ 1141190 w 1516542"/>
                    <a:gd name="connsiteY768" fmla="*/ 939175 h 1118257"/>
                    <a:gd name="connsiteX769" fmla="*/ 1141924 w 1516542"/>
                    <a:gd name="connsiteY769" fmla="*/ 941848 h 1118257"/>
                    <a:gd name="connsiteX770" fmla="*/ 1141142 w 1516542"/>
                    <a:gd name="connsiteY770" fmla="*/ 944864 h 1118257"/>
                    <a:gd name="connsiteX771" fmla="*/ 1139561 w 1516542"/>
                    <a:gd name="connsiteY771" fmla="*/ 948784 h 1118257"/>
                    <a:gd name="connsiteX772" fmla="*/ 1139227 w 1516542"/>
                    <a:gd name="connsiteY772" fmla="*/ 952166 h 1118257"/>
                    <a:gd name="connsiteX773" fmla="*/ 1141199 w 1516542"/>
                    <a:gd name="connsiteY773" fmla="*/ 957007 h 1118257"/>
                    <a:gd name="connsiteX774" fmla="*/ 1141288 w 1516542"/>
                    <a:gd name="connsiteY774" fmla="*/ 958457 h 1118257"/>
                    <a:gd name="connsiteX775" fmla="*/ 1140547 w 1516542"/>
                    <a:gd name="connsiteY775" fmla="*/ 959191 h 1118257"/>
                    <a:gd name="connsiteX776" fmla="*/ 1138224 w 1516542"/>
                    <a:gd name="connsiteY776" fmla="*/ 957911 h 1118257"/>
                    <a:gd name="connsiteX777" fmla="*/ 1136301 w 1516542"/>
                    <a:gd name="connsiteY777" fmla="*/ 956306 h 1118257"/>
                    <a:gd name="connsiteX778" fmla="*/ 1134361 w 1516542"/>
                    <a:gd name="connsiteY778" fmla="*/ 956722 h 1118257"/>
                    <a:gd name="connsiteX779" fmla="*/ 1132373 w 1516542"/>
                    <a:gd name="connsiteY779" fmla="*/ 956037 h 1118257"/>
                    <a:gd name="connsiteX780" fmla="*/ 1130319 w 1516542"/>
                    <a:gd name="connsiteY780" fmla="*/ 956616 h 1118257"/>
                    <a:gd name="connsiteX781" fmla="*/ 1129463 w 1516542"/>
                    <a:gd name="connsiteY781" fmla="*/ 957732 h 1118257"/>
                    <a:gd name="connsiteX782" fmla="*/ 1130050 w 1516542"/>
                    <a:gd name="connsiteY782" fmla="*/ 959574 h 1118257"/>
                    <a:gd name="connsiteX783" fmla="*/ 1131875 w 1516542"/>
                    <a:gd name="connsiteY783" fmla="*/ 961106 h 1118257"/>
                    <a:gd name="connsiteX784" fmla="*/ 1132919 w 1516542"/>
                    <a:gd name="connsiteY784" fmla="*/ 963461 h 1118257"/>
                    <a:gd name="connsiteX785" fmla="*/ 1131688 w 1516542"/>
                    <a:gd name="connsiteY785" fmla="*/ 964284 h 1118257"/>
                    <a:gd name="connsiteX786" fmla="*/ 1126456 w 1516542"/>
                    <a:gd name="connsiteY786" fmla="*/ 963730 h 1118257"/>
                    <a:gd name="connsiteX787" fmla="*/ 1125282 w 1516542"/>
                    <a:gd name="connsiteY787" fmla="*/ 964178 h 1118257"/>
                    <a:gd name="connsiteX788" fmla="*/ 1123718 w 1516542"/>
                    <a:gd name="connsiteY788" fmla="*/ 966770 h 1118257"/>
                    <a:gd name="connsiteX789" fmla="*/ 1124744 w 1516542"/>
                    <a:gd name="connsiteY789" fmla="*/ 970601 h 1118257"/>
                    <a:gd name="connsiteX790" fmla="*/ 1123595 w 1516542"/>
                    <a:gd name="connsiteY790" fmla="*/ 972988 h 1118257"/>
                    <a:gd name="connsiteX791" fmla="*/ 1121436 w 1516542"/>
                    <a:gd name="connsiteY791" fmla="*/ 973543 h 1118257"/>
                    <a:gd name="connsiteX792" fmla="*/ 1118591 w 1516542"/>
                    <a:gd name="connsiteY792" fmla="*/ 975474 h 1118257"/>
                    <a:gd name="connsiteX793" fmla="*/ 1116839 w 1516542"/>
                    <a:gd name="connsiteY793" fmla="*/ 975914 h 1118257"/>
                    <a:gd name="connsiteX794" fmla="*/ 1116912 w 1516542"/>
                    <a:gd name="connsiteY794" fmla="*/ 976745 h 1118257"/>
                    <a:gd name="connsiteX795" fmla="*/ 1118200 w 1516542"/>
                    <a:gd name="connsiteY795" fmla="*/ 977593 h 1118257"/>
                    <a:gd name="connsiteX796" fmla="*/ 1118877 w 1516542"/>
                    <a:gd name="connsiteY796" fmla="*/ 978726 h 1118257"/>
                    <a:gd name="connsiteX797" fmla="*/ 1117328 w 1516542"/>
                    <a:gd name="connsiteY797" fmla="*/ 982638 h 1118257"/>
                    <a:gd name="connsiteX798" fmla="*/ 1114940 w 1516542"/>
                    <a:gd name="connsiteY798" fmla="*/ 983925 h 1118257"/>
                    <a:gd name="connsiteX799" fmla="*/ 1111257 w 1516542"/>
                    <a:gd name="connsiteY799" fmla="*/ 983290 h 1118257"/>
                    <a:gd name="connsiteX800" fmla="*/ 1108372 w 1516542"/>
                    <a:gd name="connsiteY800" fmla="*/ 984162 h 1118257"/>
                    <a:gd name="connsiteX801" fmla="*/ 1105870 w 1516542"/>
                    <a:gd name="connsiteY801" fmla="*/ 982499 h 1118257"/>
                    <a:gd name="connsiteX802" fmla="*/ 1103205 w 1516542"/>
                    <a:gd name="connsiteY802" fmla="*/ 982467 h 1118257"/>
                    <a:gd name="connsiteX803" fmla="*/ 1101379 w 1516542"/>
                    <a:gd name="connsiteY803" fmla="*/ 984561 h 1118257"/>
                    <a:gd name="connsiteX804" fmla="*/ 1101192 w 1516542"/>
                    <a:gd name="connsiteY804" fmla="*/ 987014 h 1118257"/>
                    <a:gd name="connsiteX805" fmla="*/ 1099439 w 1516542"/>
                    <a:gd name="connsiteY805" fmla="*/ 987250 h 1118257"/>
                    <a:gd name="connsiteX806" fmla="*/ 1098486 w 1516542"/>
                    <a:gd name="connsiteY806" fmla="*/ 987079 h 1118257"/>
                    <a:gd name="connsiteX807" fmla="*/ 1097141 w 1516542"/>
                    <a:gd name="connsiteY807" fmla="*/ 987250 h 1118257"/>
                    <a:gd name="connsiteX808" fmla="*/ 1097280 w 1516542"/>
                    <a:gd name="connsiteY808" fmla="*/ 988571 h 1118257"/>
                    <a:gd name="connsiteX809" fmla="*/ 1098038 w 1516542"/>
                    <a:gd name="connsiteY809" fmla="*/ 989712 h 1118257"/>
                    <a:gd name="connsiteX810" fmla="*/ 1101640 w 1516542"/>
                    <a:gd name="connsiteY810" fmla="*/ 990225 h 1118257"/>
                    <a:gd name="connsiteX811" fmla="*/ 1102292 w 1516542"/>
                    <a:gd name="connsiteY811" fmla="*/ 991863 h 1118257"/>
                    <a:gd name="connsiteX812" fmla="*/ 1102438 w 1516542"/>
                    <a:gd name="connsiteY812" fmla="*/ 994398 h 1118257"/>
                    <a:gd name="connsiteX813" fmla="*/ 1098657 w 1516542"/>
                    <a:gd name="connsiteY813" fmla="*/ 998774 h 1118257"/>
                    <a:gd name="connsiteX814" fmla="*/ 1097060 w 1516542"/>
                    <a:gd name="connsiteY814" fmla="*/ 1001724 h 1118257"/>
                    <a:gd name="connsiteX815" fmla="*/ 1094639 w 1516542"/>
                    <a:gd name="connsiteY815" fmla="*/ 1001643 h 1118257"/>
                    <a:gd name="connsiteX816" fmla="*/ 1092806 w 1516542"/>
                    <a:gd name="connsiteY816" fmla="*/ 1004006 h 1118257"/>
                    <a:gd name="connsiteX817" fmla="*/ 1091820 w 1516542"/>
                    <a:gd name="connsiteY817" fmla="*/ 1007217 h 1118257"/>
                    <a:gd name="connsiteX818" fmla="*/ 1090605 w 1516542"/>
                    <a:gd name="connsiteY818" fmla="*/ 1006581 h 1118257"/>
                    <a:gd name="connsiteX819" fmla="*/ 1087802 w 1516542"/>
                    <a:gd name="connsiteY819" fmla="*/ 1007095 h 1118257"/>
                    <a:gd name="connsiteX820" fmla="*/ 1086979 w 1516542"/>
                    <a:gd name="connsiteY820" fmla="*/ 1008627 h 1118257"/>
                    <a:gd name="connsiteX821" fmla="*/ 1087639 w 1516542"/>
                    <a:gd name="connsiteY821" fmla="*/ 1009263 h 1118257"/>
                    <a:gd name="connsiteX822" fmla="*/ 1087704 w 1516542"/>
                    <a:gd name="connsiteY822" fmla="*/ 1010355 h 1118257"/>
                    <a:gd name="connsiteX823" fmla="*/ 1086579 w 1516542"/>
                    <a:gd name="connsiteY823" fmla="*/ 1013957 h 1118257"/>
                    <a:gd name="connsiteX824" fmla="*/ 1085357 w 1516542"/>
                    <a:gd name="connsiteY824" fmla="*/ 1014968 h 1118257"/>
                    <a:gd name="connsiteX825" fmla="*/ 1084843 w 1516542"/>
                    <a:gd name="connsiteY825" fmla="*/ 1013501 h 1118257"/>
                    <a:gd name="connsiteX826" fmla="*/ 1084444 w 1516542"/>
                    <a:gd name="connsiteY826" fmla="*/ 1011211 h 1118257"/>
                    <a:gd name="connsiteX827" fmla="*/ 1083450 w 1516542"/>
                    <a:gd name="connsiteY827" fmla="*/ 1011039 h 1118257"/>
                    <a:gd name="connsiteX828" fmla="*/ 1081820 w 1516542"/>
                    <a:gd name="connsiteY828" fmla="*/ 1013142 h 1118257"/>
                    <a:gd name="connsiteX829" fmla="*/ 1079913 w 1516542"/>
                    <a:gd name="connsiteY829" fmla="*/ 1014650 h 1118257"/>
                    <a:gd name="connsiteX830" fmla="*/ 1078291 w 1516542"/>
                    <a:gd name="connsiteY830" fmla="*/ 1015277 h 1118257"/>
                    <a:gd name="connsiteX831" fmla="*/ 1077061 w 1516542"/>
                    <a:gd name="connsiteY831" fmla="*/ 1013884 h 1118257"/>
                    <a:gd name="connsiteX832" fmla="*/ 1074020 w 1516542"/>
                    <a:gd name="connsiteY832" fmla="*/ 1013158 h 1118257"/>
                    <a:gd name="connsiteX833" fmla="*/ 1072790 w 1516542"/>
                    <a:gd name="connsiteY833" fmla="*/ 1019205 h 1118257"/>
                    <a:gd name="connsiteX834" fmla="*/ 1070280 w 1516542"/>
                    <a:gd name="connsiteY834" fmla="*/ 1021406 h 1118257"/>
                    <a:gd name="connsiteX835" fmla="*/ 1069098 w 1516542"/>
                    <a:gd name="connsiteY835" fmla="*/ 1022091 h 1118257"/>
                    <a:gd name="connsiteX836" fmla="*/ 1067044 w 1516542"/>
                    <a:gd name="connsiteY836" fmla="*/ 1022302 h 1118257"/>
                    <a:gd name="connsiteX837" fmla="*/ 1068365 w 1516542"/>
                    <a:gd name="connsiteY837" fmla="*/ 1023125 h 1118257"/>
                    <a:gd name="connsiteX838" fmla="*/ 1068772 w 1516542"/>
                    <a:gd name="connsiteY838" fmla="*/ 1024682 h 1118257"/>
                    <a:gd name="connsiteX839" fmla="*/ 1068030 w 1516542"/>
                    <a:gd name="connsiteY839" fmla="*/ 1026222 h 1118257"/>
                    <a:gd name="connsiteX840" fmla="*/ 1065985 w 1516542"/>
                    <a:gd name="connsiteY840" fmla="*/ 1026532 h 1118257"/>
                    <a:gd name="connsiteX841" fmla="*/ 1064787 w 1516542"/>
                    <a:gd name="connsiteY841" fmla="*/ 1027738 h 1118257"/>
                    <a:gd name="connsiteX842" fmla="*/ 1064331 w 1516542"/>
                    <a:gd name="connsiteY842" fmla="*/ 1033134 h 1118257"/>
                    <a:gd name="connsiteX843" fmla="*/ 1063108 w 1516542"/>
                    <a:gd name="connsiteY843" fmla="*/ 1035024 h 1118257"/>
                    <a:gd name="connsiteX844" fmla="*/ 1060011 w 1516542"/>
                    <a:gd name="connsiteY844" fmla="*/ 1035179 h 1118257"/>
                    <a:gd name="connsiteX845" fmla="*/ 1057689 w 1516542"/>
                    <a:gd name="connsiteY845" fmla="*/ 1033924 h 1118257"/>
                    <a:gd name="connsiteX846" fmla="*/ 1056947 w 1516542"/>
                    <a:gd name="connsiteY846" fmla="*/ 1034910 h 1118257"/>
                    <a:gd name="connsiteX847" fmla="*/ 1056555 w 1516542"/>
                    <a:gd name="connsiteY847" fmla="*/ 1035880 h 1118257"/>
                    <a:gd name="connsiteX848" fmla="*/ 1055341 w 1516542"/>
                    <a:gd name="connsiteY848" fmla="*/ 1036850 h 1118257"/>
                    <a:gd name="connsiteX849" fmla="*/ 1052994 w 1516542"/>
                    <a:gd name="connsiteY849" fmla="*/ 1037110 h 1118257"/>
                    <a:gd name="connsiteX850" fmla="*/ 1047770 w 1516542"/>
                    <a:gd name="connsiteY850" fmla="*/ 1039531 h 1118257"/>
                    <a:gd name="connsiteX851" fmla="*/ 1045382 w 1516542"/>
                    <a:gd name="connsiteY851" fmla="*/ 1038830 h 1118257"/>
                    <a:gd name="connsiteX852" fmla="*/ 1042514 w 1516542"/>
                    <a:gd name="connsiteY852" fmla="*/ 1037909 h 1118257"/>
                    <a:gd name="connsiteX853" fmla="*/ 1040549 w 1516542"/>
                    <a:gd name="connsiteY853" fmla="*/ 1038806 h 1118257"/>
                    <a:gd name="connsiteX854" fmla="*/ 1039898 w 1516542"/>
                    <a:gd name="connsiteY854" fmla="*/ 1040664 h 1118257"/>
                    <a:gd name="connsiteX855" fmla="*/ 1039001 w 1516542"/>
                    <a:gd name="connsiteY855" fmla="*/ 1042098 h 1118257"/>
                    <a:gd name="connsiteX856" fmla="*/ 1036124 w 1516542"/>
                    <a:gd name="connsiteY856" fmla="*/ 1042098 h 1118257"/>
                    <a:gd name="connsiteX857" fmla="*/ 1033826 w 1516542"/>
                    <a:gd name="connsiteY857" fmla="*/ 1040330 h 1118257"/>
                    <a:gd name="connsiteX858" fmla="*/ 1031495 w 1516542"/>
                    <a:gd name="connsiteY858" fmla="*/ 1039034 h 1118257"/>
                    <a:gd name="connsiteX859" fmla="*/ 1028895 w 1516542"/>
                    <a:gd name="connsiteY859" fmla="*/ 1040142 h 1118257"/>
                    <a:gd name="connsiteX860" fmla="*/ 1026932 w 1516542"/>
                    <a:gd name="connsiteY860" fmla="*/ 1042408 h 1118257"/>
                    <a:gd name="connsiteX861" fmla="*/ 1024519 w 1516542"/>
                    <a:gd name="connsiteY861" fmla="*/ 1043166 h 1118257"/>
                    <a:gd name="connsiteX862" fmla="*/ 1024062 w 1516542"/>
                    <a:gd name="connsiteY862" fmla="*/ 1044576 h 1118257"/>
                    <a:gd name="connsiteX863" fmla="*/ 1023011 w 1516542"/>
                    <a:gd name="connsiteY863" fmla="*/ 1045285 h 1118257"/>
                    <a:gd name="connsiteX864" fmla="*/ 1020444 w 1516542"/>
                    <a:gd name="connsiteY864" fmla="*/ 1044983 h 1118257"/>
                    <a:gd name="connsiteX865" fmla="*/ 1019466 w 1516542"/>
                    <a:gd name="connsiteY865" fmla="*/ 1041487 h 1118257"/>
                    <a:gd name="connsiteX866" fmla="*/ 1017999 w 1516542"/>
                    <a:gd name="connsiteY866" fmla="*/ 1040965 h 1118257"/>
                    <a:gd name="connsiteX867" fmla="*/ 1016532 w 1516542"/>
                    <a:gd name="connsiteY867" fmla="*/ 1042742 h 1118257"/>
                    <a:gd name="connsiteX868" fmla="*/ 1016019 w 1516542"/>
                    <a:gd name="connsiteY868" fmla="*/ 1044119 h 1118257"/>
                    <a:gd name="connsiteX869" fmla="*/ 1015334 w 1516542"/>
                    <a:gd name="connsiteY869" fmla="*/ 1045162 h 1118257"/>
                    <a:gd name="connsiteX870" fmla="*/ 1015587 w 1516542"/>
                    <a:gd name="connsiteY870" fmla="*/ 1048015 h 1118257"/>
                    <a:gd name="connsiteX871" fmla="*/ 1014136 w 1516542"/>
                    <a:gd name="connsiteY871" fmla="*/ 1048072 h 1118257"/>
                    <a:gd name="connsiteX872" fmla="*/ 1012254 w 1516542"/>
                    <a:gd name="connsiteY872" fmla="*/ 1046328 h 1118257"/>
                    <a:gd name="connsiteX873" fmla="*/ 1010281 w 1516542"/>
                    <a:gd name="connsiteY873" fmla="*/ 1046010 h 1118257"/>
                    <a:gd name="connsiteX874" fmla="*/ 1008431 w 1516542"/>
                    <a:gd name="connsiteY874" fmla="*/ 1047640 h 1118257"/>
                    <a:gd name="connsiteX875" fmla="*/ 1007502 w 1516542"/>
                    <a:gd name="connsiteY875" fmla="*/ 1047241 h 1118257"/>
                    <a:gd name="connsiteX876" fmla="*/ 1006500 w 1516542"/>
                    <a:gd name="connsiteY876" fmla="*/ 1046890 h 1118257"/>
                    <a:gd name="connsiteX877" fmla="*/ 1004878 w 1516542"/>
                    <a:gd name="connsiteY877" fmla="*/ 1046890 h 1118257"/>
                    <a:gd name="connsiteX878" fmla="*/ 1004259 w 1516542"/>
                    <a:gd name="connsiteY878" fmla="*/ 1047322 h 1118257"/>
                    <a:gd name="connsiteX879" fmla="*/ 1003077 w 1516542"/>
                    <a:gd name="connsiteY879" fmla="*/ 1047575 h 1118257"/>
                    <a:gd name="connsiteX880" fmla="*/ 1002286 w 1516542"/>
                    <a:gd name="connsiteY880" fmla="*/ 1048463 h 1118257"/>
                    <a:gd name="connsiteX881" fmla="*/ 1002213 w 1516542"/>
                    <a:gd name="connsiteY881" fmla="*/ 1048545 h 1118257"/>
                    <a:gd name="connsiteX882" fmla="*/ 1000119 w 1516542"/>
                    <a:gd name="connsiteY882" fmla="*/ 1047950 h 1118257"/>
                    <a:gd name="connsiteX883" fmla="*/ 997576 w 1516542"/>
                    <a:gd name="connsiteY883" fmla="*/ 1045578 h 1118257"/>
                    <a:gd name="connsiteX884" fmla="*/ 995750 w 1516542"/>
                    <a:gd name="connsiteY884" fmla="*/ 1041642 h 1118257"/>
                    <a:gd name="connsiteX885" fmla="*/ 993436 w 1516542"/>
                    <a:gd name="connsiteY885" fmla="*/ 1039523 h 1118257"/>
                    <a:gd name="connsiteX886" fmla="*/ 992401 w 1516542"/>
                    <a:gd name="connsiteY886" fmla="*/ 1037657 h 1118257"/>
                    <a:gd name="connsiteX887" fmla="*/ 991993 w 1516542"/>
                    <a:gd name="connsiteY887" fmla="*/ 1034307 h 1118257"/>
                    <a:gd name="connsiteX888" fmla="*/ 991569 w 1516542"/>
                    <a:gd name="connsiteY888" fmla="*/ 1032718 h 1118257"/>
                    <a:gd name="connsiteX889" fmla="*/ 991716 w 1516542"/>
                    <a:gd name="connsiteY889" fmla="*/ 1030949 h 1118257"/>
                    <a:gd name="connsiteX890" fmla="*/ 992425 w 1516542"/>
                    <a:gd name="connsiteY890" fmla="*/ 1029360 h 1118257"/>
                    <a:gd name="connsiteX891" fmla="*/ 989915 w 1516542"/>
                    <a:gd name="connsiteY891" fmla="*/ 1030150 h 1118257"/>
                    <a:gd name="connsiteX892" fmla="*/ 988081 w 1516542"/>
                    <a:gd name="connsiteY892" fmla="*/ 1031626 h 1118257"/>
                    <a:gd name="connsiteX893" fmla="*/ 988448 w 1516542"/>
                    <a:gd name="connsiteY893" fmla="*/ 1033468 h 1118257"/>
                    <a:gd name="connsiteX894" fmla="*/ 987992 w 1516542"/>
                    <a:gd name="connsiteY894" fmla="*/ 1035195 h 1118257"/>
                    <a:gd name="connsiteX895" fmla="*/ 985237 w 1516542"/>
                    <a:gd name="connsiteY895" fmla="*/ 1036084 h 1118257"/>
                    <a:gd name="connsiteX896" fmla="*/ 985408 w 1516542"/>
                    <a:gd name="connsiteY896" fmla="*/ 1036809 h 1118257"/>
                    <a:gd name="connsiteX897" fmla="*/ 985588 w 1516542"/>
                    <a:gd name="connsiteY897" fmla="*/ 1037559 h 1118257"/>
                    <a:gd name="connsiteX898" fmla="*/ 987747 w 1516542"/>
                    <a:gd name="connsiteY898" fmla="*/ 1039906 h 1118257"/>
                    <a:gd name="connsiteX899" fmla="*/ 988179 w 1516542"/>
                    <a:gd name="connsiteY899" fmla="*/ 1041878 h 1118257"/>
                    <a:gd name="connsiteX900" fmla="*/ 989051 w 1516542"/>
                    <a:gd name="connsiteY900" fmla="*/ 1042921 h 1118257"/>
                    <a:gd name="connsiteX901" fmla="*/ 990747 w 1516542"/>
                    <a:gd name="connsiteY901" fmla="*/ 1045986 h 1118257"/>
                    <a:gd name="connsiteX902" fmla="*/ 990706 w 1516542"/>
                    <a:gd name="connsiteY902" fmla="*/ 1051902 h 1118257"/>
                    <a:gd name="connsiteX903" fmla="*/ 991635 w 1516542"/>
                    <a:gd name="connsiteY903" fmla="*/ 1053573 h 1118257"/>
                    <a:gd name="connsiteX904" fmla="*/ 991325 w 1516542"/>
                    <a:gd name="connsiteY904" fmla="*/ 1055227 h 1118257"/>
                    <a:gd name="connsiteX905" fmla="*/ 990649 w 1516542"/>
                    <a:gd name="connsiteY905" fmla="*/ 1057460 h 1118257"/>
                    <a:gd name="connsiteX906" fmla="*/ 990591 w 1516542"/>
                    <a:gd name="connsiteY906" fmla="*/ 1057501 h 1118257"/>
                    <a:gd name="connsiteX907" fmla="*/ 990103 w 1516542"/>
                    <a:gd name="connsiteY907" fmla="*/ 1056816 h 1118257"/>
                    <a:gd name="connsiteX908" fmla="*/ 989288 w 1516542"/>
                    <a:gd name="connsiteY908" fmla="*/ 1056955 h 1118257"/>
                    <a:gd name="connsiteX909" fmla="*/ 988962 w 1516542"/>
                    <a:gd name="connsiteY909" fmla="*/ 1057705 h 1118257"/>
                    <a:gd name="connsiteX910" fmla="*/ 988905 w 1516542"/>
                    <a:gd name="connsiteY910" fmla="*/ 1058381 h 1118257"/>
                    <a:gd name="connsiteX911" fmla="*/ 988782 w 1516542"/>
                    <a:gd name="connsiteY911" fmla="*/ 1058422 h 1118257"/>
                    <a:gd name="connsiteX912" fmla="*/ 987348 w 1516542"/>
                    <a:gd name="connsiteY912" fmla="*/ 1058919 h 1118257"/>
                    <a:gd name="connsiteX913" fmla="*/ 986142 w 1516542"/>
                    <a:gd name="connsiteY913" fmla="*/ 1059343 h 1118257"/>
                    <a:gd name="connsiteX914" fmla="*/ 985164 w 1516542"/>
                    <a:gd name="connsiteY914" fmla="*/ 1059946 h 1118257"/>
                    <a:gd name="connsiteX915" fmla="*/ 983640 w 1516542"/>
                    <a:gd name="connsiteY915" fmla="*/ 1061706 h 1118257"/>
                    <a:gd name="connsiteX916" fmla="*/ 980722 w 1516542"/>
                    <a:gd name="connsiteY916" fmla="*/ 1062130 h 1118257"/>
                    <a:gd name="connsiteX917" fmla="*/ 979231 w 1516542"/>
                    <a:gd name="connsiteY917" fmla="*/ 1057998 h 1118257"/>
                    <a:gd name="connsiteX918" fmla="*/ 977242 w 1516542"/>
                    <a:gd name="connsiteY918" fmla="*/ 1060753 h 1118257"/>
                    <a:gd name="connsiteX919" fmla="*/ 976623 w 1516542"/>
                    <a:gd name="connsiteY919" fmla="*/ 1066384 h 1118257"/>
                    <a:gd name="connsiteX920" fmla="*/ 975890 w 1516542"/>
                    <a:gd name="connsiteY920" fmla="*/ 1067346 h 1118257"/>
                    <a:gd name="connsiteX921" fmla="*/ 974643 w 1516542"/>
                    <a:gd name="connsiteY921" fmla="*/ 1068145 h 1118257"/>
                    <a:gd name="connsiteX922" fmla="*/ 972287 w 1516542"/>
                    <a:gd name="connsiteY922" fmla="*/ 1066189 h 1118257"/>
                    <a:gd name="connsiteX923" fmla="*/ 970217 w 1516542"/>
                    <a:gd name="connsiteY923" fmla="*/ 1067501 h 1118257"/>
                    <a:gd name="connsiteX924" fmla="*/ 968620 w 1516542"/>
                    <a:gd name="connsiteY924" fmla="*/ 1068829 h 1118257"/>
                    <a:gd name="connsiteX925" fmla="*/ 967952 w 1516542"/>
                    <a:gd name="connsiteY925" fmla="*/ 1070060 h 1118257"/>
                    <a:gd name="connsiteX926" fmla="*/ 966770 w 1516542"/>
                    <a:gd name="connsiteY926" fmla="*/ 1071396 h 1118257"/>
                    <a:gd name="connsiteX927" fmla="*/ 964504 w 1516542"/>
                    <a:gd name="connsiteY927" fmla="*/ 1070101 h 1118257"/>
                    <a:gd name="connsiteX928" fmla="*/ 962679 w 1516542"/>
                    <a:gd name="connsiteY928" fmla="*/ 1068177 h 1118257"/>
                    <a:gd name="connsiteX929" fmla="*/ 963127 w 1516542"/>
                    <a:gd name="connsiteY929" fmla="*/ 1066718 h 1118257"/>
                    <a:gd name="connsiteX930" fmla="*/ 962874 w 1516542"/>
                    <a:gd name="connsiteY930" fmla="*/ 1065765 h 1118257"/>
                    <a:gd name="connsiteX931" fmla="*/ 962043 w 1516542"/>
                    <a:gd name="connsiteY931" fmla="*/ 1065048 h 1118257"/>
                    <a:gd name="connsiteX932" fmla="*/ 961147 w 1516542"/>
                    <a:gd name="connsiteY932" fmla="*/ 1065154 h 1118257"/>
                    <a:gd name="connsiteX933" fmla="*/ 961587 w 1516542"/>
                    <a:gd name="connsiteY933" fmla="*/ 1067028 h 1118257"/>
                    <a:gd name="connsiteX934" fmla="*/ 961896 w 1516542"/>
                    <a:gd name="connsiteY934" fmla="*/ 1070639 h 1118257"/>
                    <a:gd name="connsiteX935" fmla="*/ 961065 w 1516542"/>
                    <a:gd name="connsiteY935" fmla="*/ 1071690 h 1118257"/>
                    <a:gd name="connsiteX936" fmla="*/ 959794 w 1516542"/>
                    <a:gd name="connsiteY936" fmla="*/ 1072488 h 1118257"/>
                    <a:gd name="connsiteX937" fmla="*/ 957023 w 1516542"/>
                    <a:gd name="connsiteY937" fmla="*/ 1071820 h 1118257"/>
                    <a:gd name="connsiteX938" fmla="*/ 955140 w 1516542"/>
                    <a:gd name="connsiteY938" fmla="*/ 1070475 h 1118257"/>
                    <a:gd name="connsiteX939" fmla="*/ 952850 w 1516542"/>
                    <a:gd name="connsiteY939" fmla="*/ 1069343 h 1118257"/>
                    <a:gd name="connsiteX940" fmla="*/ 950837 w 1516542"/>
                    <a:gd name="connsiteY940" fmla="*/ 1069131 h 1118257"/>
                    <a:gd name="connsiteX941" fmla="*/ 950413 w 1516542"/>
                    <a:gd name="connsiteY941" fmla="*/ 1071421 h 1118257"/>
                    <a:gd name="connsiteX942" fmla="*/ 949093 w 1516542"/>
                    <a:gd name="connsiteY942" fmla="*/ 1073254 h 1118257"/>
                    <a:gd name="connsiteX943" fmla="*/ 947879 w 1516542"/>
                    <a:gd name="connsiteY943" fmla="*/ 1073483 h 1118257"/>
                    <a:gd name="connsiteX944" fmla="*/ 946665 w 1516542"/>
                    <a:gd name="connsiteY944" fmla="*/ 1073181 h 1118257"/>
                    <a:gd name="connsiteX945" fmla="*/ 945083 w 1516542"/>
                    <a:gd name="connsiteY945" fmla="*/ 1075170 h 1118257"/>
                    <a:gd name="connsiteX946" fmla="*/ 944334 w 1516542"/>
                    <a:gd name="connsiteY946" fmla="*/ 1076620 h 1118257"/>
                    <a:gd name="connsiteX947" fmla="*/ 942370 w 1516542"/>
                    <a:gd name="connsiteY947" fmla="*/ 1078153 h 1118257"/>
                    <a:gd name="connsiteX948" fmla="*/ 937162 w 1516542"/>
                    <a:gd name="connsiteY948" fmla="*/ 1078902 h 1118257"/>
                    <a:gd name="connsiteX949" fmla="*/ 935345 w 1516542"/>
                    <a:gd name="connsiteY949" fmla="*/ 1080418 h 1118257"/>
                    <a:gd name="connsiteX950" fmla="*/ 932900 w 1516542"/>
                    <a:gd name="connsiteY950" fmla="*/ 1080174 h 1118257"/>
                    <a:gd name="connsiteX951" fmla="*/ 931001 w 1516542"/>
                    <a:gd name="connsiteY951" fmla="*/ 1080540 h 1118257"/>
                    <a:gd name="connsiteX952" fmla="*/ 929925 w 1516542"/>
                    <a:gd name="connsiteY952" fmla="*/ 1080459 h 1118257"/>
                    <a:gd name="connsiteX953" fmla="*/ 928947 w 1516542"/>
                    <a:gd name="connsiteY953" fmla="*/ 1079644 h 1118257"/>
                    <a:gd name="connsiteX954" fmla="*/ 927847 w 1516542"/>
                    <a:gd name="connsiteY954" fmla="*/ 1079619 h 1118257"/>
                    <a:gd name="connsiteX955" fmla="*/ 927342 w 1516542"/>
                    <a:gd name="connsiteY955" fmla="*/ 1082146 h 1118257"/>
                    <a:gd name="connsiteX956" fmla="*/ 924400 w 1516542"/>
                    <a:gd name="connsiteY956" fmla="*/ 1083214 h 1118257"/>
                    <a:gd name="connsiteX957" fmla="*/ 921751 w 1516542"/>
                    <a:gd name="connsiteY957" fmla="*/ 1083507 h 1118257"/>
                    <a:gd name="connsiteX958" fmla="*/ 918801 w 1516542"/>
                    <a:gd name="connsiteY958" fmla="*/ 1086832 h 1118257"/>
                    <a:gd name="connsiteX959" fmla="*/ 916690 w 1516542"/>
                    <a:gd name="connsiteY959" fmla="*/ 1088853 h 1118257"/>
                    <a:gd name="connsiteX960" fmla="*/ 915133 w 1516542"/>
                    <a:gd name="connsiteY960" fmla="*/ 1089057 h 1118257"/>
                    <a:gd name="connsiteX961" fmla="*/ 913984 w 1516542"/>
                    <a:gd name="connsiteY961" fmla="*/ 1088340 h 1118257"/>
                    <a:gd name="connsiteX962" fmla="*/ 913414 w 1516542"/>
                    <a:gd name="connsiteY962" fmla="*/ 1085357 h 1118257"/>
                    <a:gd name="connsiteX963" fmla="*/ 912810 w 1516542"/>
                    <a:gd name="connsiteY963" fmla="*/ 1085007 h 1118257"/>
                    <a:gd name="connsiteX964" fmla="*/ 912477 w 1516542"/>
                    <a:gd name="connsiteY964" fmla="*/ 1087810 h 1118257"/>
                    <a:gd name="connsiteX965" fmla="*/ 911922 w 1516542"/>
                    <a:gd name="connsiteY965" fmla="*/ 1090141 h 1118257"/>
                    <a:gd name="connsiteX966" fmla="*/ 910839 w 1516542"/>
                    <a:gd name="connsiteY966" fmla="*/ 1091412 h 1118257"/>
                    <a:gd name="connsiteX967" fmla="*/ 907424 w 1516542"/>
                    <a:gd name="connsiteY967" fmla="*/ 1094322 h 1118257"/>
                    <a:gd name="connsiteX968" fmla="*/ 906446 w 1516542"/>
                    <a:gd name="connsiteY968" fmla="*/ 1097199 h 1118257"/>
                    <a:gd name="connsiteX969" fmla="*/ 907098 w 1516542"/>
                    <a:gd name="connsiteY969" fmla="*/ 1099863 h 1118257"/>
                    <a:gd name="connsiteX970" fmla="*/ 911694 w 1516542"/>
                    <a:gd name="connsiteY970" fmla="*/ 1100515 h 1118257"/>
                    <a:gd name="connsiteX971" fmla="*/ 912265 w 1516542"/>
                    <a:gd name="connsiteY971" fmla="*/ 1101966 h 1118257"/>
                    <a:gd name="connsiteX972" fmla="*/ 911808 w 1516542"/>
                    <a:gd name="connsiteY972" fmla="*/ 1103156 h 1118257"/>
                    <a:gd name="connsiteX973" fmla="*/ 910716 w 1516542"/>
                    <a:gd name="connsiteY973" fmla="*/ 1104158 h 1118257"/>
                    <a:gd name="connsiteX974" fmla="*/ 910390 w 1516542"/>
                    <a:gd name="connsiteY974" fmla="*/ 1105641 h 1118257"/>
                    <a:gd name="connsiteX975" fmla="*/ 915312 w 1516542"/>
                    <a:gd name="connsiteY975" fmla="*/ 1110393 h 1118257"/>
                    <a:gd name="connsiteX976" fmla="*/ 915459 w 1516542"/>
                    <a:gd name="connsiteY976" fmla="*/ 1112194 h 1118257"/>
                    <a:gd name="connsiteX977" fmla="*/ 914710 w 1516542"/>
                    <a:gd name="connsiteY977" fmla="*/ 1113213 h 1118257"/>
                    <a:gd name="connsiteX978" fmla="*/ 913772 w 1516542"/>
                    <a:gd name="connsiteY978" fmla="*/ 1115421 h 1118257"/>
                    <a:gd name="connsiteX979" fmla="*/ 911172 w 1516542"/>
                    <a:gd name="connsiteY979" fmla="*/ 1117296 h 1118257"/>
                    <a:gd name="connsiteX980" fmla="*/ 905671 w 1516542"/>
                    <a:gd name="connsiteY980" fmla="*/ 1118257 h 1118257"/>
                    <a:gd name="connsiteX981" fmla="*/ 901100 w 1516542"/>
                    <a:gd name="connsiteY981" fmla="*/ 1117288 h 1118257"/>
                    <a:gd name="connsiteX982" fmla="*/ 899706 w 1516542"/>
                    <a:gd name="connsiteY982" fmla="*/ 1115152 h 1118257"/>
                    <a:gd name="connsiteX983" fmla="*/ 899795 w 1516542"/>
                    <a:gd name="connsiteY983" fmla="*/ 1113637 h 1118257"/>
                    <a:gd name="connsiteX984" fmla="*/ 900920 w 1516542"/>
                    <a:gd name="connsiteY984" fmla="*/ 1114085 h 1118257"/>
                    <a:gd name="connsiteX985" fmla="*/ 902224 w 1516542"/>
                    <a:gd name="connsiteY985" fmla="*/ 1113938 h 1118257"/>
                    <a:gd name="connsiteX986" fmla="*/ 901841 w 1516542"/>
                    <a:gd name="connsiteY986" fmla="*/ 1112553 h 1118257"/>
                    <a:gd name="connsiteX987" fmla="*/ 901295 w 1516542"/>
                    <a:gd name="connsiteY987" fmla="*/ 1111746 h 1118257"/>
                    <a:gd name="connsiteX988" fmla="*/ 899176 w 1516542"/>
                    <a:gd name="connsiteY988" fmla="*/ 1110515 h 1118257"/>
                    <a:gd name="connsiteX989" fmla="*/ 897473 w 1516542"/>
                    <a:gd name="connsiteY989" fmla="*/ 1107190 h 1118257"/>
                    <a:gd name="connsiteX990" fmla="*/ 897799 w 1516542"/>
                    <a:gd name="connsiteY990" fmla="*/ 1104411 h 1118257"/>
                    <a:gd name="connsiteX991" fmla="*/ 896854 w 1516542"/>
                    <a:gd name="connsiteY991" fmla="*/ 1102267 h 1118257"/>
                    <a:gd name="connsiteX992" fmla="*/ 895835 w 1516542"/>
                    <a:gd name="connsiteY992" fmla="*/ 1100483 h 1118257"/>
                    <a:gd name="connsiteX993" fmla="*/ 894800 w 1516542"/>
                    <a:gd name="connsiteY993" fmla="*/ 1099399 h 1118257"/>
                    <a:gd name="connsiteX994" fmla="*/ 894254 w 1516542"/>
                    <a:gd name="connsiteY994" fmla="*/ 1098054 h 1118257"/>
                    <a:gd name="connsiteX995" fmla="*/ 895297 w 1516542"/>
                    <a:gd name="connsiteY995" fmla="*/ 1093857 h 1118257"/>
                    <a:gd name="connsiteX996" fmla="*/ 894726 w 1516542"/>
                    <a:gd name="connsiteY996" fmla="*/ 1091404 h 1118257"/>
                    <a:gd name="connsiteX997" fmla="*/ 896674 w 1516542"/>
                    <a:gd name="connsiteY997" fmla="*/ 1088413 h 1118257"/>
                    <a:gd name="connsiteX998" fmla="*/ 897155 w 1516542"/>
                    <a:gd name="connsiteY998" fmla="*/ 1085031 h 1118257"/>
                    <a:gd name="connsiteX999" fmla="*/ 900676 w 1516542"/>
                    <a:gd name="connsiteY999" fmla="*/ 1083825 h 1118257"/>
                    <a:gd name="connsiteX1000" fmla="*/ 900904 w 1516542"/>
                    <a:gd name="connsiteY1000" fmla="*/ 1080589 h 1118257"/>
                    <a:gd name="connsiteX1001" fmla="*/ 898394 w 1516542"/>
                    <a:gd name="connsiteY1001" fmla="*/ 1080491 h 1118257"/>
                    <a:gd name="connsiteX1002" fmla="*/ 896658 w 1516542"/>
                    <a:gd name="connsiteY1002" fmla="*/ 1078128 h 1118257"/>
                    <a:gd name="connsiteX1003" fmla="*/ 896250 w 1516542"/>
                    <a:gd name="connsiteY1003" fmla="*/ 1079122 h 1118257"/>
                    <a:gd name="connsiteX1004" fmla="*/ 894857 w 1516542"/>
                    <a:gd name="connsiteY1004" fmla="*/ 1079220 h 1118257"/>
                    <a:gd name="connsiteX1005" fmla="*/ 892567 w 1516542"/>
                    <a:gd name="connsiteY1005" fmla="*/ 1074648 h 1118257"/>
                    <a:gd name="connsiteX1006" fmla="*/ 891874 w 1516542"/>
                    <a:gd name="connsiteY1006" fmla="*/ 1074069 h 1118257"/>
                    <a:gd name="connsiteX1007" fmla="*/ 890757 w 1516542"/>
                    <a:gd name="connsiteY1007" fmla="*/ 1073988 h 1118257"/>
                    <a:gd name="connsiteX1008" fmla="*/ 891320 w 1516542"/>
                    <a:gd name="connsiteY1008" fmla="*/ 1078804 h 1118257"/>
                    <a:gd name="connsiteX1009" fmla="*/ 888622 w 1516542"/>
                    <a:gd name="connsiteY1009" fmla="*/ 1080622 h 1118257"/>
                    <a:gd name="connsiteX1010" fmla="*/ 886422 w 1516542"/>
                    <a:gd name="connsiteY1010" fmla="*/ 1081412 h 1118257"/>
                    <a:gd name="connsiteX1011" fmla="*/ 883284 w 1516542"/>
                    <a:gd name="connsiteY1011" fmla="*/ 1081747 h 1118257"/>
                    <a:gd name="connsiteX1012" fmla="*/ 881508 w 1516542"/>
                    <a:gd name="connsiteY1012" fmla="*/ 1082301 h 1118257"/>
                    <a:gd name="connsiteX1013" fmla="*/ 879837 w 1516542"/>
                    <a:gd name="connsiteY1013" fmla="*/ 1081836 h 1118257"/>
                    <a:gd name="connsiteX1014" fmla="*/ 880252 w 1516542"/>
                    <a:gd name="connsiteY1014" fmla="*/ 1080378 h 1118257"/>
                    <a:gd name="connsiteX1015" fmla="*/ 881133 w 1516542"/>
                    <a:gd name="connsiteY1015" fmla="*/ 1078633 h 1118257"/>
                    <a:gd name="connsiteX1016" fmla="*/ 880342 w 1516542"/>
                    <a:gd name="connsiteY1016" fmla="*/ 1077183 h 1118257"/>
                    <a:gd name="connsiteX1017" fmla="*/ 878573 w 1516542"/>
                    <a:gd name="connsiteY1017" fmla="*/ 1076066 h 1118257"/>
                    <a:gd name="connsiteX1018" fmla="*/ 875876 w 1516542"/>
                    <a:gd name="connsiteY1018" fmla="*/ 1076131 h 1118257"/>
                    <a:gd name="connsiteX1019" fmla="*/ 874018 w 1516542"/>
                    <a:gd name="connsiteY1019" fmla="*/ 1075814 h 1118257"/>
                    <a:gd name="connsiteX1020" fmla="*/ 872160 w 1516542"/>
                    <a:gd name="connsiteY1020" fmla="*/ 1075936 h 1118257"/>
                    <a:gd name="connsiteX1021" fmla="*/ 871467 w 1516542"/>
                    <a:gd name="connsiteY1021" fmla="*/ 1075292 h 1118257"/>
                    <a:gd name="connsiteX1022" fmla="*/ 869747 w 1516542"/>
                    <a:gd name="connsiteY1022" fmla="*/ 1073018 h 1118257"/>
                    <a:gd name="connsiteX1023" fmla="*/ 868289 w 1516542"/>
                    <a:gd name="connsiteY1023" fmla="*/ 1071592 h 1118257"/>
                    <a:gd name="connsiteX1024" fmla="*/ 867629 w 1516542"/>
                    <a:gd name="connsiteY1024" fmla="*/ 1070182 h 1118257"/>
                    <a:gd name="connsiteX1025" fmla="*/ 868289 w 1516542"/>
                    <a:gd name="connsiteY1025" fmla="*/ 1068536 h 1118257"/>
                    <a:gd name="connsiteX1026" fmla="*/ 867743 w 1516542"/>
                    <a:gd name="connsiteY1026" fmla="*/ 1067542 h 1118257"/>
                    <a:gd name="connsiteX1027" fmla="*/ 864923 w 1516542"/>
                    <a:gd name="connsiteY1027" fmla="*/ 1067427 h 1118257"/>
                    <a:gd name="connsiteX1028" fmla="*/ 864947 w 1516542"/>
                    <a:gd name="connsiteY1028" fmla="*/ 1069783 h 1118257"/>
                    <a:gd name="connsiteX1029" fmla="*/ 865233 w 1516542"/>
                    <a:gd name="connsiteY1029" fmla="*/ 1072562 h 1118257"/>
                    <a:gd name="connsiteX1030" fmla="*/ 866055 w 1516542"/>
                    <a:gd name="connsiteY1030" fmla="*/ 1074673 h 1118257"/>
                    <a:gd name="connsiteX1031" fmla="*/ 865477 w 1516542"/>
                    <a:gd name="connsiteY1031" fmla="*/ 1075846 h 1118257"/>
                    <a:gd name="connsiteX1032" fmla="*/ 864043 w 1516542"/>
                    <a:gd name="connsiteY1032" fmla="*/ 1076661 h 1118257"/>
                    <a:gd name="connsiteX1033" fmla="*/ 862510 w 1516542"/>
                    <a:gd name="connsiteY1033" fmla="*/ 1074428 h 1118257"/>
                    <a:gd name="connsiteX1034" fmla="*/ 861809 w 1516542"/>
                    <a:gd name="connsiteY1034" fmla="*/ 1073874 h 1118257"/>
                    <a:gd name="connsiteX1035" fmla="*/ 861084 w 1516542"/>
                    <a:gd name="connsiteY1035" fmla="*/ 1073988 h 1118257"/>
                    <a:gd name="connsiteX1036" fmla="*/ 860506 w 1516542"/>
                    <a:gd name="connsiteY1036" fmla="*/ 1076205 h 1118257"/>
                    <a:gd name="connsiteX1037" fmla="*/ 859128 w 1516542"/>
                    <a:gd name="connsiteY1037" fmla="*/ 1078177 h 1118257"/>
                    <a:gd name="connsiteX1038" fmla="*/ 856635 w 1516542"/>
                    <a:gd name="connsiteY1038" fmla="*/ 1077965 h 1118257"/>
                    <a:gd name="connsiteX1039" fmla="*/ 854695 w 1516542"/>
                    <a:gd name="connsiteY1039" fmla="*/ 1079179 h 1118257"/>
                    <a:gd name="connsiteX1040" fmla="*/ 852339 w 1516542"/>
                    <a:gd name="connsiteY1040" fmla="*/ 1079742 h 1118257"/>
                    <a:gd name="connsiteX1041" fmla="*/ 850742 w 1516542"/>
                    <a:gd name="connsiteY1041" fmla="*/ 1078112 h 1118257"/>
                    <a:gd name="connsiteX1042" fmla="*/ 848110 w 1516542"/>
                    <a:gd name="connsiteY1042" fmla="*/ 1075488 h 1118257"/>
                    <a:gd name="connsiteX1043" fmla="*/ 847050 w 1516542"/>
                    <a:gd name="connsiteY1043" fmla="*/ 1075178 h 1118257"/>
                    <a:gd name="connsiteX1044" fmla="*/ 844117 w 1516542"/>
                    <a:gd name="connsiteY1044" fmla="*/ 1076457 h 1118257"/>
                    <a:gd name="connsiteX1045" fmla="*/ 839911 w 1516542"/>
                    <a:gd name="connsiteY1045" fmla="*/ 1076930 h 1118257"/>
                    <a:gd name="connsiteX1046" fmla="*/ 838974 w 1516542"/>
                    <a:gd name="connsiteY1046" fmla="*/ 1075569 h 1118257"/>
                    <a:gd name="connsiteX1047" fmla="*/ 836928 w 1516542"/>
                    <a:gd name="connsiteY1047" fmla="*/ 1076604 h 1118257"/>
                    <a:gd name="connsiteX1048" fmla="*/ 834965 w 1516542"/>
                    <a:gd name="connsiteY1048" fmla="*/ 1073450 h 1118257"/>
                    <a:gd name="connsiteX1049" fmla="*/ 832642 w 1516542"/>
                    <a:gd name="connsiteY1049" fmla="*/ 1073254 h 1118257"/>
                    <a:gd name="connsiteX1050" fmla="*/ 829740 w 1516542"/>
                    <a:gd name="connsiteY1050" fmla="*/ 1070850 h 1118257"/>
                    <a:gd name="connsiteX1051" fmla="*/ 828714 w 1516542"/>
                    <a:gd name="connsiteY1051" fmla="*/ 1069595 h 1118257"/>
                    <a:gd name="connsiteX1052" fmla="*/ 828379 w 1516542"/>
                    <a:gd name="connsiteY1052" fmla="*/ 1067778 h 1118257"/>
                    <a:gd name="connsiteX1053" fmla="*/ 827499 w 1516542"/>
                    <a:gd name="connsiteY1053" fmla="*/ 1066833 h 1118257"/>
                    <a:gd name="connsiteX1054" fmla="*/ 826366 w 1516542"/>
                    <a:gd name="connsiteY1054" fmla="*/ 1066947 h 1118257"/>
                    <a:gd name="connsiteX1055" fmla="*/ 825103 w 1516542"/>
                    <a:gd name="connsiteY1055" fmla="*/ 1065977 h 1118257"/>
                    <a:gd name="connsiteX1056" fmla="*/ 823107 w 1516542"/>
                    <a:gd name="connsiteY1056" fmla="*/ 1065023 h 1118257"/>
                    <a:gd name="connsiteX1057" fmla="*/ 821509 w 1516542"/>
                    <a:gd name="connsiteY1057" fmla="*/ 1064461 h 1118257"/>
                    <a:gd name="connsiteX1058" fmla="*/ 820718 w 1516542"/>
                    <a:gd name="connsiteY1058" fmla="*/ 1064893 h 1118257"/>
                    <a:gd name="connsiteX1059" fmla="*/ 819871 w 1516542"/>
                    <a:gd name="connsiteY1059" fmla="*/ 1065121 h 1118257"/>
                    <a:gd name="connsiteX1060" fmla="*/ 819724 w 1516542"/>
                    <a:gd name="connsiteY1060" fmla="*/ 1063899 h 1118257"/>
                    <a:gd name="connsiteX1061" fmla="*/ 819790 w 1516542"/>
                    <a:gd name="connsiteY1061" fmla="*/ 1060231 h 1118257"/>
                    <a:gd name="connsiteX1062" fmla="*/ 819643 w 1516542"/>
                    <a:gd name="connsiteY1062" fmla="*/ 1056955 h 1118257"/>
                    <a:gd name="connsiteX1063" fmla="*/ 819194 w 1516542"/>
                    <a:gd name="connsiteY1063" fmla="*/ 1055488 h 1118257"/>
                    <a:gd name="connsiteX1064" fmla="*/ 818127 w 1516542"/>
                    <a:gd name="connsiteY1064" fmla="*/ 1054372 h 1118257"/>
                    <a:gd name="connsiteX1065" fmla="*/ 817149 w 1516542"/>
                    <a:gd name="connsiteY1065" fmla="*/ 1053842 h 1118257"/>
                    <a:gd name="connsiteX1066" fmla="*/ 816709 w 1516542"/>
                    <a:gd name="connsiteY1066" fmla="*/ 1052171 h 1118257"/>
                    <a:gd name="connsiteX1067" fmla="*/ 817059 w 1516542"/>
                    <a:gd name="connsiteY1067" fmla="*/ 1048871 h 1118257"/>
                    <a:gd name="connsiteX1068" fmla="*/ 817858 w 1516542"/>
                    <a:gd name="connsiteY1068" fmla="*/ 1046646 h 1118257"/>
                    <a:gd name="connsiteX1069" fmla="*/ 819121 w 1516542"/>
                    <a:gd name="connsiteY1069" fmla="*/ 1046238 h 1118257"/>
                    <a:gd name="connsiteX1070" fmla="*/ 820809 w 1516542"/>
                    <a:gd name="connsiteY1070" fmla="*/ 1044624 h 1118257"/>
                    <a:gd name="connsiteX1071" fmla="*/ 821681 w 1516542"/>
                    <a:gd name="connsiteY1071" fmla="*/ 1042351 h 1118257"/>
                    <a:gd name="connsiteX1072" fmla="*/ 822772 w 1516542"/>
                    <a:gd name="connsiteY1072" fmla="*/ 1040232 h 1118257"/>
                    <a:gd name="connsiteX1073" fmla="*/ 818893 w 1516542"/>
                    <a:gd name="connsiteY1073" fmla="*/ 1037265 h 1118257"/>
                    <a:gd name="connsiteX1074" fmla="*/ 816848 w 1516542"/>
                    <a:gd name="connsiteY1074" fmla="*/ 1036198 h 1118257"/>
                    <a:gd name="connsiteX1075" fmla="*/ 814598 w 1516542"/>
                    <a:gd name="connsiteY1075" fmla="*/ 1036646 h 1118257"/>
                    <a:gd name="connsiteX1076" fmla="*/ 811803 w 1516542"/>
                    <a:gd name="connsiteY1076" fmla="*/ 1037599 h 1118257"/>
                    <a:gd name="connsiteX1077" fmla="*/ 810336 w 1516542"/>
                    <a:gd name="connsiteY1077" fmla="*/ 1037787 h 1118257"/>
                    <a:gd name="connsiteX1078" fmla="*/ 809603 w 1516542"/>
                    <a:gd name="connsiteY1078" fmla="*/ 1037412 h 1118257"/>
                    <a:gd name="connsiteX1079" fmla="*/ 807973 w 1516542"/>
                    <a:gd name="connsiteY1079" fmla="*/ 1034739 h 1118257"/>
                    <a:gd name="connsiteX1080" fmla="*/ 807092 w 1516542"/>
                    <a:gd name="connsiteY1080" fmla="*/ 1034274 h 1118257"/>
                    <a:gd name="connsiteX1081" fmla="*/ 805112 w 1516542"/>
                    <a:gd name="connsiteY1081" fmla="*/ 1034103 h 1118257"/>
                    <a:gd name="connsiteX1082" fmla="*/ 803433 w 1516542"/>
                    <a:gd name="connsiteY1082" fmla="*/ 1034128 h 1118257"/>
                    <a:gd name="connsiteX1083" fmla="*/ 802480 w 1516542"/>
                    <a:gd name="connsiteY1083" fmla="*/ 1035285 h 1118257"/>
                    <a:gd name="connsiteX1084" fmla="*/ 801004 w 1516542"/>
                    <a:gd name="connsiteY1084" fmla="*/ 1035684 h 1118257"/>
                    <a:gd name="connsiteX1085" fmla="*/ 799521 w 1516542"/>
                    <a:gd name="connsiteY1085" fmla="*/ 1035749 h 1118257"/>
                    <a:gd name="connsiteX1086" fmla="*/ 798013 w 1516542"/>
                    <a:gd name="connsiteY1086" fmla="*/ 1034299 h 1118257"/>
                    <a:gd name="connsiteX1087" fmla="*/ 795756 w 1516542"/>
                    <a:gd name="connsiteY1087" fmla="*/ 1032408 h 1118257"/>
                    <a:gd name="connsiteX1088" fmla="*/ 792203 w 1516542"/>
                    <a:gd name="connsiteY1088" fmla="*/ 1031071 h 1118257"/>
                    <a:gd name="connsiteX1089" fmla="*/ 791779 w 1516542"/>
                    <a:gd name="connsiteY1089" fmla="*/ 1029539 h 1118257"/>
                    <a:gd name="connsiteX1090" fmla="*/ 790874 w 1516542"/>
                    <a:gd name="connsiteY1090" fmla="*/ 1027706 h 1118257"/>
                    <a:gd name="connsiteX1091" fmla="*/ 789530 w 1516542"/>
                    <a:gd name="connsiteY1091" fmla="*/ 1026002 h 1118257"/>
                    <a:gd name="connsiteX1092" fmla="*/ 787305 w 1516542"/>
                    <a:gd name="connsiteY1092" fmla="*/ 1023745 h 1118257"/>
                    <a:gd name="connsiteX1093" fmla="*/ 785438 w 1516542"/>
                    <a:gd name="connsiteY1093" fmla="*/ 1022571 h 1118257"/>
                    <a:gd name="connsiteX1094" fmla="*/ 784534 w 1516542"/>
                    <a:gd name="connsiteY1094" fmla="*/ 1023297 h 1118257"/>
                    <a:gd name="connsiteX1095" fmla="*/ 783303 w 1516542"/>
                    <a:gd name="connsiteY1095" fmla="*/ 1024576 h 1118257"/>
                    <a:gd name="connsiteX1096" fmla="*/ 778511 w 1516542"/>
                    <a:gd name="connsiteY1096" fmla="*/ 1027282 h 1118257"/>
                    <a:gd name="connsiteX1097" fmla="*/ 776384 w 1516542"/>
                    <a:gd name="connsiteY1097" fmla="*/ 1028333 h 1118257"/>
                    <a:gd name="connsiteX1098" fmla="*/ 775259 w 1516542"/>
                    <a:gd name="connsiteY1098" fmla="*/ 1029091 h 1118257"/>
                    <a:gd name="connsiteX1099" fmla="*/ 774306 w 1516542"/>
                    <a:gd name="connsiteY1099" fmla="*/ 1030216 h 1118257"/>
                    <a:gd name="connsiteX1100" fmla="*/ 774013 w 1516542"/>
                    <a:gd name="connsiteY1100" fmla="*/ 1033003 h 1118257"/>
                    <a:gd name="connsiteX1101" fmla="*/ 773540 w 1516542"/>
                    <a:gd name="connsiteY1101" fmla="*/ 1036108 h 1118257"/>
                    <a:gd name="connsiteX1102" fmla="*/ 772171 w 1516542"/>
                    <a:gd name="connsiteY1102" fmla="*/ 1037689 h 1118257"/>
                    <a:gd name="connsiteX1103" fmla="*/ 770851 w 1516542"/>
                    <a:gd name="connsiteY1103" fmla="*/ 1038879 h 1118257"/>
                    <a:gd name="connsiteX1104" fmla="*/ 769473 w 1516542"/>
                    <a:gd name="connsiteY1104" fmla="*/ 1039009 h 1118257"/>
                    <a:gd name="connsiteX1105" fmla="*/ 768128 w 1516542"/>
                    <a:gd name="connsiteY1105" fmla="*/ 1038952 h 1118257"/>
                    <a:gd name="connsiteX1106" fmla="*/ 766882 w 1516542"/>
                    <a:gd name="connsiteY1106" fmla="*/ 1039450 h 1118257"/>
                    <a:gd name="connsiteX1107" fmla="*/ 763027 w 1516542"/>
                    <a:gd name="connsiteY1107" fmla="*/ 1042571 h 1118257"/>
                    <a:gd name="connsiteX1108" fmla="*/ 761209 w 1516542"/>
                    <a:gd name="connsiteY1108" fmla="*/ 1042318 h 1118257"/>
                    <a:gd name="connsiteX1109" fmla="*/ 759718 w 1516542"/>
                    <a:gd name="connsiteY1109" fmla="*/ 1040550 h 1118257"/>
                    <a:gd name="connsiteX1110" fmla="*/ 759082 w 1516542"/>
                    <a:gd name="connsiteY1110" fmla="*/ 1039286 h 1118257"/>
                    <a:gd name="connsiteX1111" fmla="*/ 757355 w 1516542"/>
                    <a:gd name="connsiteY1111" fmla="*/ 1039563 h 1118257"/>
                    <a:gd name="connsiteX1112" fmla="*/ 755146 w 1516542"/>
                    <a:gd name="connsiteY1112" fmla="*/ 1041055 h 1118257"/>
                    <a:gd name="connsiteX1113" fmla="*/ 754127 w 1516542"/>
                    <a:gd name="connsiteY1113" fmla="*/ 1043744 h 1118257"/>
                    <a:gd name="connsiteX1114" fmla="*/ 753581 w 1516542"/>
                    <a:gd name="connsiteY1114" fmla="*/ 1046230 h 1118257"/>
                    <a:gd name="connsiteX1115" fmla="*/ 753100 w 1516542"/>
                    <a:gd name="connsiteY1115" fmla="*/ 1047338 h 1118257"/>
                    <a:gd name="connsiteX1116" fmla="*/ 752359 w 1516542"/>
                    <a:gd name="connsiteY1116" fmla="*/ 1047673 h 1118257"/>
                    <a:gd name="connsiteX1117" fmla="*/ 751707 w 1516542"/>
                    <a:gd name="connsiteY1117" fmla="*/ 1047721 h 1118257"/>
                    <a:gd name="connsiteX1118" fmla="*/ 744812 w 1516542"/>
                    <a:gd name="connsiteY1118" fmla="*/ 1040509 h 1118257"/>
                    <a:gd name="connsiteX1119" fmla="*/ 744388 w 1516542"/>
                    <a:gd name="connsiteY1119" fmla="*/ 1040134 h 1118257"/>
                    <a:gd name="connsiteX1120" fmla="*/ 743166 w 1516542"/>
                    <a:gd name="connsiteY1120" fmla="*/ 1041617 h 1118257"/>
                    <a:gd name="connsiteX1121" fmla="*/ 742041 w 1516542"/>
                    <a:gd name="connsiteY1121" fmla="*/ 1045448 h 1118257"/>
                    <a:gd name="connsiteX1122" fmla="*/ 741243 w 1516542"/>
                    <a:gd name="connsiteY1122" fmla="*/ 1046173 h 1118257"/>
                    <a:gd name="connsiteX1123" fmla="*/ 740688 w 1516542"/>
                    <a:gd name="connsiteY1123" fmla="*/ 1045880 h 1118257"/>
                    <a:gd name="connsiteX1124" fmla="*/ 737844 w 1516542"/>
                    <a:gd name="connsiteY1124" fmla="*/ 1040990 h 1118257"/>
                    <a:gd name="connsiteX1125" fmla="*/ 737111 w 1516542"/>
                    <a:gd name="connsiteY1125" fmla="*/ 1040517 h 1118257"/>
                    <a:gd name="connsiteX1126" fmla="*/ 736458 w 1516542"/>
                    <a:gd name="connsiteY1126" fmla="*/ 1040680 h 1118257"/>
                    <a:gd name="connsiteX1127" fmla="*/ 735611 w 1516542"/>
                    <a:gd name="connsiteY1127" fmla="*/ 1042269 h 1118257"/>
                    <a:gd name="connsiteX1128" fmla="*/ 733802 w 1516542"/>
                    <a:gd name="connsiteY1128" fmla="*/ 1044608 h 1118257"/>
                    <a:gd name="connsiteX1129" fmla="*/ 732424 w 1516542"/>
                    <a:gd name="connsiteY1129" fmla="*/ 1046026 h 1118257"/>
                    <a:gd name="connsiteX1130" fmla="*/ 732392 w 1516542"/>
                    <a:gd name="connsiteY1130" fmla="*/ 1047599 h 1118257"/>
                    <a:gd name="connsiteX1131" fmla="*/ 730884 w 1516542"/>
                    <a:gd name="connsiteY1131" fmla="*/ 1049001 h 1118257"/>
                    <a:gd name="connsiteX1132" fmla="*/ 729148 w 1516542"/>
                    <a:gd name="connsiteY1132" fmla="*/ 1050378 h 1118257"/>
                    <a:gd name="connsiteX1133" fmla="*/ 728553 w 1516542"/>
                    <a:gd name="connsiteY1133" fmla="*/ 1050525 h 1118257"/>
                    <a:gd name="connsiteX1134" fmla="*/ 727396 w 1516542"/>
                    <a:gd name="connsiteY1134" fmla="*/ 1049971 h 1118257"/>
                    <a:gd name="connsiteX1135" fmla="*/ 725888 w 1516542"/>
                    <a:gd name="connsiteY1135" fmla="*/ 1048129 h 1118257"/>
                    <a:gd name="connsiteX1136" fmla="*/ 724796 w 1516542"/>
                    <a:gd name="connsiteY1136" fmla="*/ 1046198 h 1118257"/>
                    <a:gd name="connsiteX1137" fmla="*/ 722091 w 1516542"/>
                    <a:gd name="connsiteY1137" fmla="*/ 1044299 h 1118257"/>
                    <a:gd name="connsiteX1138" fmla="*/ 719051 w 1516542"/>
                    <a:gd name="connsiteY1138" fmla="*/ 1042677 h 1118257"/>
                    <a:gd name="connsiteX1139" fmla="*/ 717038 w 1516542"/>
                    <a:gd name="connsiteY1139" fmla="*/ 1041414 h 1118257"/>
                    <a:gd name="connsiteX1140" fmla="*/ 715881 w 1516542"/>
                    <a:gd name="connsiteY1140" fmla="*/ 1041096 h 1118257"/>
                    <a:gd name="connsiteX1141" fmla="*/ 714813 w 1516542"/>
                    <a:gd name="connsiteY1141" fmla="*/ 1041666 h 1118257"/>
                    <a:gd name="connsiteX1142" fmla="*/ 714283 w 1516542"/>
                    <a:gd name="connsiteY1142" fmla="*/ 1042440 h 1118257"/>
                    <a:gd name="connsiteX1143" fmla="*/ 713525 w 1516542"/>
                    <a:gd name="connsiteY1143" fmla="*/ 1044356 h 1118257"/>
                    <a:gd name="connsiteX1144" fmla="*/ 711708 w 1516542"/>
                    <a:gd name="connsiteY1144" fmla="*/ 1047485 h 1118257"/>
                    <a:gd name="connsiteX1145" fmla="*/ 710078 w 1516542"/>
                    <a:gd name="connsiteY1145" fmla="*/ 1049979 h 1118257"/>
                    <a:gd name="connsiteX1146" fmla="*/ 708570 w 1516542"/>
                    <a:gd name="connsiteY1146" fmla="*/ 1051576 h 1118257"/>
                    <a:gd name="connsiteX1147" fmla="*/ 707364 w 1516542"/>
                    <a:gd name="connsiteY1147" fmla="*/ 1052676 h 1118257"/>
                    <a:gd name="connsiteX1148" fmla="*/ 706476 w 1516542"/>
                    <a:gd name="connsiteY1148" fmla="*/ 1051650 h 1118257"/>
                    <a:gd name="connsiteX1149" fmla="*/ 704813 w 1516542"/>
                    <a:gd name="connsiteY1149" fmla="*/ 1050810 h 1118257"/>
                    <a:gd name="connsiteX1150" fmla="*/ 702857 w 1516542"/>
                    <a:gd name="connsiteY1150" fmla="*/ 1050802 h 1118257"/>
                    <a:gd name="connsiteX1151" fmla="*/ 700274 w 1516542"/>
                    <a:gd name="connsiteY1151" fmla="*/ 1052391 h 1118257"/>
                    <a:gd name="connsiteX1152" fmla="*/ 698253 w 1516542"/>
                    <a:gd name="connsiteY1152" fmla="*/ 1049213 h 1118257"/>
                    <a:gd name="connsiteX1153" fmla="*/ 697731 w 1516542"/>
                    <a:gd name="connsiteY1153" fmla="*/ 1049066 h 1118257"/>
                    <a:gd name="connsiteX1154" fmla="*/ 696948 w 1516542"/>
                    <a:gd name="connsiteY1154" fmla="*/ 1049335 h 1118257"/>
                    <a:gd name="connsiteX1155" fmla="*/ 696061 w 1516542"/>
                    <a:gd name="connsiteY1155" fmla="*/ 1050085 h 1118257"/>
                    <a:gd name="connsiteX1156" fmla="*/ 695433 w 1516542"/>
                    <a:gd name="connsiteY1156" fmla="*/ 1051861 h 1118257"/>
                    <a:gd name="connsiteX1157" fmla="*/ 694781 w 1516542"/>
                    <a:gd name="connsiteY1157" fmla="*/ 1054290 h 1118257"/>
                    <a:gd name="connsiteX1158" fmla="*/ 693485 w 1516542"/>
                    <a:gd name="connsiteY1158" fmla="*/ 1055871 h 1118257"/>
                    <a:gd name="connsiteX1159" fmla="*/ 692409 w 1516542"/>
                    <a:gd name="connsiteY1159" fmla="*/ 1056580 h 1118257"/>
                    <a:gd name="connsiteX1160" fmla="*/ 692727 w 1516542"/>
                    <a:gd name="connsiteY1160" fmla="*/ 1057941 h 1118257"/>
                    <a:gd name="connsiteX1161" fmla="*/ 693338 w 1516542"/>
                    <a:gd name="connsiteY1161" fmla="*/ 1059416 h 1118257"/>
                    <a:gd name="connsiteX1162" fmla="*/ 693297 w 1516542"/>
                    <a:gd name="connsiteY1162" fmla="*/ 1060704 h 1118257"/>
                    <a:gd name="connsiteX1163" fmla="*/ 693681 w 1516542"/>
                    <a:gd name="connsiteY1163" fmla="*/ 1062749 h 1118257"/>
                    <a:gd name="connsiteX1164" fmla="*/ 694357 w 1516542"/>
                    <a:gd name="connsiteY1164" fmla="*/ 1064787 h 1118257"/>
                    <a:gd name="connsiteX1165" fmla="*/ 696761 w 1516542"/>
                    <a:gd name="connsiteY1165" fmla="*/ 1068112 h 1118257"/>
                    <a:gd name="connsiteX1166" fmla="*/ 697666 w 1516542"/>
                    <a:gd name="connsiteY1166" fmla="*/ 1069856 h 1118257"/>
                    <a:gd name="connsiteX1167" fmla="*/ 697853 w 1516542"/>
                    <a:gd name="connsiteY1167" fmla="*/ 1071364 h 1118257"/>
                    <a:gd name="connsiteX1168" fmla="*/ 697935 w 1516542"/>
                    <a:gd name="connsiteY1168" fmla="*/ 1076702 h 1118257"/>
                    <a:gd name="connsiteX1169" fmla="*/ 697845 w 1516542"/>
                    <a:gd name="connsiteY1169" fmla="*/ 1078935 h 1118257"/>
                    <a:gd name="connsiteX1170" fmla="*/ 697372 w 1516542"/>
                    <a:gd name="connsiteY1170" fmla="*/ 1083246 h 1118257"/>
                    <a:gd name="connsiteX1171" fmla="*/ 697332 w 1516542"/>
                    <a:gd name="connsiteY1171" fmla="*/ 1085724 h 1118257"/>
                    <a:gd name="connsiteX1172" fmla="*/ 698326 w 1516542"/>
                    <a:gd name="connsiteY1172" fmla="*/ 1086840 h 1118257"/>
                    <a:gd name="connsiteX1173" fmla="*/ 699296 w 1516542"/>
                    <a:gd name="connsiteY1173" fmla="*/ 1088169 h 1118257"/>
                    <a:gd name="connsiteX1174" fmla="*/ 699255 w 1516542"/>
                    <a:gd name="connsiteY1174" fmla="*/ 1088894 h 1118257"/>
                    <a:gd name="connsiteX1175" fmla="*/ 698831 w 1516542"/>
                    <a:gd name="connsiteY1175" fmla="*/ 1089163 h 1118257"/>
                    <a:gd name="connsiteX1176" fmla="*/ 697470 w 1516542"/>
                    <a:gd name="connsiteY1176" fmla="*/ 1090638 h 1118257"/>
                    <a:gd name="connsiteX1177" fmla="*/ 696883 w 1516542"/>
                    <a:gd name="connsiteY1177" fmla="*/ 1090834 h 1118257"/>
                    <a:gd name="connsiteX1178" fmla="*/ 695979 w 1516542"/>
                    <a:gd name="connsiteY1178" fmla="*/ 1090230 h 1118257"/>
                    <a:gd name="connsiteX1179" fmla="*/ 694821 w 1516542"/>
                    <a:gd name="connsiteY1179" fmla="*/ 1089774 h 1118257"/>
                    <a:gd name="connsiteX1180" fmla="*/ 693884 w 1516542"/>
                    <a:gd name="connsiteY1180" fmla="*/ 1089179 h 1118257"/>
                    <a:gd name="connsiteX1181" fmla="*/ 692849 w 1516542"/>
                    <a:gd name="connsiteY1181" fmla="*/ 1088226 h 1118257"/>
                    <a:gd name="connsiteX1182" fmla="*/ 690404 w 1516542"/>
                    <a:gd name="connsiteY1182" fmla="*/ 1088332 h 1118257"/>
                    <a:gd name="connsiteX1183" fmla="*/ 686387 w 1516542"/>
                    <a:gd name="connsiteY1183" fmla="*/ 1089782 h 1118257"/>
                    <a:gd name="connsiteX1184" fmla="*/ 685547 w 1516542"/>
                    <a:gd name="connsiteY1184" fmla="*/ 1089375 h 1118257"/>
                    <a:gd name="connsiteX1185" fmla="*/ 684969 w 1516542"/>
                    <a:gd name="connsiteY1185" fmla="*/ 1088552 h 1118257"/>
                    <a:gd name="connsiteX1186" fmla="*/ 684659 w 1516542"/>
                    <a:gd name="connsiteY1186" fmla="*/ 1086865 h 1118257"/>
                    <a:gd name="connsiteX1187" fmla="*/ 684863 w 1516542"/>
                    <a:gd name="connsiteY1187" fmla="*/ 1084868 h 1118257"/>
                    <a:gd name="connsiteX1188" fmla="*/ 684504 w 1516542"/>
                    <a:gd name="connsiteY1188" fmla="*/ 1083605 h 1118257"/>
                    <a:gd name="connsiteX1189" fmla="*/ 683754 w 1516542"/>
                    <a:gd name="connsiteY1189" fmla="*/ 1082855 h 1118257"/>
                    <a:gd name="connsiteX1190" fmla="*/ 684276 w 1516542"/>
                    <a:gd name="connsiteY1190" fmla="*/ 1079302 h 1118257"/>
                    <a:gd name="connsiteX1191" fmla="*/ 682850 w 1516542"/>
                    <a:gd name="connsiteY1191" fmla="*/ 1077892 h 1118257"/>
                    <a:gd name="connsiteX1192" fmla="*/ 683053 w 1516542"/>
                    <a:gd name="connsiteY1192" fmla="*/ 1077460 h 1118257"/>
                    <a:gd name="connsiteX1193" fmla="*/ 682572 w 1516542"/>
                    <a:gd name="connsiteY1193" fmla="*/ 1073621 h 1118257"/>
                    <a:gd name="connsiteX1194" fmla="*/ 682646 w 1516542"/>
                    <a:gd name="connsiteY1194" fmla="*/ 1072676 h 1118257"/>
                    <a:gd name="connsiteX1195" fmla="*/ 682393 w 1516542"/>
                    <a:gd name="connsiteY1195" fmla="*/ 1072350 h 1118257"/>
                    <a:gd name="connsiteX1196" fmla="*/ 681383 w 1516542"/>
                    <a:gd name="connsiteY1196" fmla="*/ 1072048 h 1118257"/>
                    <a:gd name="connsiteX1197" fmla="*/ 679883 w 1516542"/>
                    <a:gd name="connsiteY1197" fmla="*/ 1072652 h 1118257"/>
                    <a:gd name="connsiteX1198" fmla="*/ 675319 w 1516542"/>
                    <a:gd name="connsiteY1198" fmla="*/ 1075170 h 1118257"/>
                    <a:gd name="connsiteX1199" fmla="*/ 671391 w 1516542"/>
                    <a:gd name="connsiteY1199" fmla="*/ 1079831 h 1118257"/>
                    <a:gd name="connsiteX1200" fmla="*/ 669598 w 1516542"/>
                    <a:gd name="connsiteY1200" fmla="*/ 1080866 h 1118257"/>
                    <a:gd name="connsiteX1201" fmla="*/ 667781 w 1516542"/>
                    <a:gd name="connsiteY1201" fmla="*/ 1081290 h 1118257"/>
                    <a:gd name="connsiteX1202" fmla="*/ 665662 w 1516542"/>
                    <a:gd name="connsiteY1202" fmla="*/ 1080483 h 1118257"/>
                    <a:gd name="connsiteX1203" fmla="*/ 663298 w 1516542"/>
                    <a:gd name="connsiteY1203" fmla="*/ 1079954 h 1118257"/>
                    <a:gd name="connsiteX1204" fmla="*/ 659924 w 1516542"/>
                    <a:gd name="connsiteY1204" fmla="*/ 1081135 h 1118257"/>
                    <a:gd name="connsiteX1205" fmla="*/ 658262 w 1516542"/>
                    <a:gd name="connsiteY1205" fmla="*/ 1080597 h 1118257"/>
                    <a:gd name="connsiteX1206" fmla="*/ 657496 w 1516542"/>
                    <a:gd name="connsiteY1206" fmla="*/ 1079636 h 1118257"/>
                    <a:gd name="connsiteX1207" fmla="*/ 656811 w 1516542"/>
                    <a:gd name="connsiteY1207" fmla="*/ 1078193 h 1118257"/>
                    <a:gd name="connsiteX1208" fmla="*/ 657235 w 1516542"/>
                    <a:gd name="connsiteY1208" fmla="*/ 1076360 h 1118257"/>
                    <a:gd name="connsiteX1209" fmla="*/ 656974 w 1516542"/>
                    <a:gd name="connsiteY1209" fmla="*/ 1075007 h 1118257"/>
                    <a:gd name="connsiteX1210" fmla="*/ 655621 w 1516542"/>
                    <a:gd name="connsiteY1210" fmla="*/ 1074314 h 1118257"/>
                    <a:gd name="connsiteX1211" fmla="*/ 654056 w 1516542"/>
                    <a:gd name="connsiteY1211" fmla="*/ 1073735 h 1118257"/>
                    <a:gd name="connsiteX1212" fmla="*/ 653128 w 1516542"/>
                    <a:gd name="connsiteY1212" fmla="*/ 1071959 h 1118257"/>
                    <a:gd name="connsiteX1213" fmla="*/ 652761 w 1516542"/>
                    <a:gd name="connsiteY1213" fmla="*/ 1070027 h 1118257"/>
                    <a:gd name="connsiteX1214" fmla="*/ 653119 w 1516542"/>
                    <a:gd name="connsiteY1214" fmla="*/ 1067525 h 1118257"/>
                    <a:gd name="connsiteX1215" fmla="*/ 653307 w 1516542"/>
                    <a:gd name="connsiteY1215" fmla="*/ 1064828 h 1118257"/>
                    <a:gd name="connsiteX1216" fmla="*/ 652565 w 1516542"/>
                    <a:gd name="connsiteY1216" fmla="*/ 1063589 h 1118257"/>
                    <a:gd name="connsiteX1217" fmla="*/ 650267 w 1516542"/>
                    <a:gd name="connsiteY1217" fmla="*/ 1062929 h 1118257"/>
                    <a:gd name="connsiteX1218" fmla="*/ 644497 w 1516542"/>
                    <a:gd name="connsiteY1218" fmla="*/ 1061698 h 1118257"/>
                    <a:gd name="connsiteX1219" fmla="*/ 639436 w 1516542"/>
                    <a:gd name="connsiteY1219" fmla="*/ 1061022 h 1118257"/>
                    <a:gd name="connsiteX1220" fmla="*/ 637317 w 1516542"/>
                    <a:gd name="connsiteY1220" fmla="*/ 1061340 h 1118257"/>
                    <a:gd name="connsiteX1221" fmla="*/ 635581 w 1516542"/>
                    <a:gd name="connsiteY1221" fmla="*/ 1061046 h 1118257"/>
                    <a:gd name="connsiteX1222" fmla="*/ 634587 w 1516542"/>
                    <a:gd name="connsiteY1222" fmla="*/ 1060557 h 1118257"/>
                    <a:gd name="connsiteX1223" fmla="*/ 634098 w 1516542"/>
                    <a:gd name="connsiteY1223" fmla="*/ 1059701 h 1118257"/>
                    <a:gd name="connsiteX1224" fmla="*/ 634074 w 1516542"/>
                    <a:gd name="connsiteY1224" fmla="*/ 1058487 h 1118257"/>
                    <a:gd name="connsiteX1225" fmla="*/ 634905 w 1516542"/>
                    <a:gd name="connsiteY1225" fmla="*/ 1055676 h 1118257"/>
                    <a:gd name="connsiteX1226" fmla="*/ 635825 w 1516542"/>
                    <a:gd name="connsiteY1226" fmla="*/ 1052946 h 1118257"/>
                    <a:gd name="connsiteX1227" fmla="*/ 638173 w 1516542"/>
                    <a:gd name="connsiteY1227" fmla="*/ 1048976 h 1118257"/>
                    <a:gd name="connsiteX1228" fmla="*/ 638312 w 1516542"/>
                    <a:gd name="connsiteY1228" fmla="*/ 1046222 h 1118257"/>
                    <a:gd name="connsiteX1229" fmla="*/ 638189 w 1516542"/>
                    <a:gd name="connsiteY1229" fmla="*/ 1043043 h 1118257"/>
                    <a:gd name="connsiteX1230" fmla="*/ 639363 w 1516542"/>
                    <a:gd name="connsiteY1230" fmla="*/ 1038797 h 1118257"/>
                    <a:gd name="connsiteX1231" fmla="*/ 641376 w 1516542"/>
                    <a:gd name="connsiteY1231" fmla="*/ 1035611 h 1118257"/>
                    <a:gd name="connsiteX1232" fmla="*/ 642370 w 1516542"/>
                    <a:gd name="connsiteY1232" fmla="*/ 1034617 h 1118257"/>
                    <a:gd name="connsiteX1233" fmla="*/ 642125 w 1516542"/>
                    <a:gd name="connsiteY1233" fmla="*/ 1033199 h 1118257"/>
                    <a:gd name="connsiteX1234" fmla="*/ 641318 w 1516542"/>
                    <a:gd name="connsiteY1234" fmla="*/ 1031895 h 1118257"/>
                    <a:gd name="connsiteX1235" fmla="*/ 640169 w 1516542"/>
                    <a:gd name="connsiteY1235" fmla="*/ 1031186 h 1118257"/>
                    <a:gd name="connsiteX1236" fmla="*/ 638254 w 1516542"/>
                    <a:gd name="connsiteY1236" fmla="*/ 1030346 h 1118257"/>
                    <a:gd name="connsiteX1237" fmla="*/ 635263 w 1516542"/>
                    <a:gd name="connsiteY1237" fmla="*/ 1030118 h 1118257"/>
                    <a:gd name="connsiteX1238" fmla="*/ 631164 w 1516542"/>
                    <a:gd name="connsiteY1238" fmla="*/ 1029270 h 1118257"/>
                    <a:gd name="connsiteX1239" fmla="*/ 626421 w 1516542"/>
                    <a:gd name="connsiteY1239" fmla="*/ 1027372 h 1118257"/>
                    <a:gd name="connsiteX1240" fmla="*/ 626967 w 1516542"/>
                    <a:gd name="connsiteY1240" fmla="*/ 1023753 h 1118257"/>
                    <a:gd name="connsiteX1241" fmla="*/ 626885 w 1516542"/>
                    <a:gd name="connsiteY1241" fmla="*/ 1021471 h 1118257"/>
                    <a:gd name="connsiteX1242" fmla="*/ 626307 w 1516542"/>
                    <a:gd name="connsiteY1242" fmla="*/ 1019613 h 1118257"/>
                    <a:gd name="connsiteX1243" fmla="*/ 625329 w 1516542"/>
                    <a:gd name="connsiteY1243" fmla="*/ 1018285 h 1118257"/>
                    <a:gd name="connsiteX1244" fmla="*/ 624791 w 1516542"/>
                    <a:gd name="connsiteY1244" fmla="*/ 1017103 h 1118257"/>
                    <a:gd name="connsiteX1245" fmla="*/ 625638 w 1516542"/>
                    <a:gd name="connsiteY1245" fmla="*/ 1013851 h 1118257"/>
                    <a:gd name="connsiteX1246" fmla="*/ 624530 w 1516542"/>
                    <a:gd name="connsiteY1246" fmla="*/ 1010306 h 1118257"/>
                    <a:gd name="connsiteX1247" fmla="*/ 623226 w 1516542"/>
                    <a:gd name="connsiteY1247" fmla="*/ 1008896 h 1118257"/>
                    <a:gd name="connsiteX1248" fmla="*/ 621881 w 1516542"/>
                    <a:gd name="connsiteY1248" fmla="*/ 1007054 h 1118257"/>
                    <a:gd name="connsiteX1249" fmla="*/ 621775 w 1516542"/>
                    <a:gd name="connsiteY1249" fmla="*/ 1005074 h 1118257"/>
                    <a:gd name="connsiteX1250" fmla="*/ 622395 w 1516542"/>
                    <a:gd name="connsiteY1250" fmla="*/ 1003232 h 1118257"/>
                    <a:gd name="connsiteX1251" fmla="*/ 625679 w 1516542"/>
                    <a:gd name="connsiteY1251" fmla="*/ 999279 h 1118257"/>
                    <a:gd name="connsiteX1252" fmla="*/ 625712 w 1516542"/>
                    <a:gd name="connsiteY1252" fmla="*/ 998318 h 1118257"/>
                    <a:gd name="connsiteX1253" fmla="*/ 624889 w 1516542"/>
                    <a:gd name="connsiteY1253" fmla="*/ 998391 h 1118257"/>
                    <a:gd name="connsiteX1254" fmla="*/ 623959 w 1516542"/>
                    <a:gd name="connsiteY1254" fmla="*/ 998473 h 1118257"/>
                    <a:gd name="connsiteX1255" fmla="*/ 619469 w 1516542"/>
                    <a:gd name="connsiteY1255" fmla="*/ 999923 h 1118257"/>
                    <a:gd name="connsiteX1256" fmla="*/ 618988 w 1516542"/>
                    <a:gd name="connsiteY1256" fmla="*/ 999019 h 1118257"/>
                    <a:gd name="connsiteX1257" fmla="*/ 617375 w 1516542"/>
                    <a:gd name="connsiteY1257" fmla="*/ 998489 h 1118257"/>
                    <a:gd name="connsiteX1258" fmla="*/ 614099 w 1516542"/>
                    <a:gd name="connsiteY1258" fmla="*/ 998383 h 1118257"/>
                    <a:gd name="connsiteX1259" fmla="*/ 610260 w 1516542"/>
                    <a:gd name="connsiteY1259" fmla="*/ 998644 h 1118257"/>
                    <a:gd name="connsiteX1260" fmla="*/ 605419 w 1516542"/>
                    <a:gd name="connsiteY1260" fmla="*/ 1000062 h 1118257"/>
                    <a:gd name="connsiteX1261" fmla="*/ 600978 w 1516542"/>
                    <a:gd name="connsiteY1261" fmla="*/ 1002531 h 1118257"/>
                    <a:gd name="connsiteX1262" fmla="*/ 598940 w 1516542"/>
                    <a:gd name="connsiteY1262" fmla="*/ 1004234 h 1118257"/>
                    <a:gd name="connsiteX1263" fmla="*/ 597212 w 1516542"/>
                    <a:gd name="connsiteY1263" fmla="*/ 1005294 h 1118257"/>
                    <a:gd name="connsiteX1264" fmla="*/ 595810 w 1516542"/>
                    <a:gd name="connsiteY1264" fmla="*/ 1005636 h 1118257"/>
                    <a:gd name="connsiteX1265" fmla="*/ 594205 w 1516542"/>
                    <a:gd name="connsiteY1265" fmla="*/ 1004887 h 1118257"/>
                    <a:gd name="connsiteX1266" fmla="*/ 594286 w 1516542"/>
                    <a:gd name="connsiteY1266" fmla="*/ 1002466 h 1118257"/>
                    <a:gd name="connsiteX1267" fmla="*/ 597318 w 1516542"/>
                    <a:gd name="connsiteY1267" fmla="*/ 998016 h 1118257"/>
                    <a:gd name="connsiteX1268" fmla="*/ 597758 w 1516542"/>
                    <a:gd name="connsiteY1268" fmla="*/ 994944 h 1118257"/>
                    <a:gd name="connsiteX1269" fmla="*/ 596829 w 1516542"/>
                    <a:gd name="connsiteY1269" fmla="*/ 992319 h 1118257"/>
                    <a:gd name="connsiteX1270" fmla="*/ 596723 w 1516542"/>
                    <a:gd name="connsiteY1270" fmla="*/ 990209 h 1118257"/>
                    <a:gd name="connsiteX1271" fmla="*/ 595664 w 1516542"/>
                    <a:gd name="connsiteY1271" fmla="*/ 988864 h 1118257"/>
                    <a:gd name="connsiteX1272" fmla="*/ 594172 w 1516542"/>
                    <a:gd name="connsiteY1272" fmla="*/ 988204 h 1118257"/>
                    <a:gd name="connsiteX1273" fmla="*/ 593382 w 1516542"/>
                    <a:gd name="connsiteY1273" fmla="*/ 986713 h 1118257"/>
                    <a:gd name="connsiteX1274" fmla="*/ 593325 w 1516542"/>
                    <a:gd name="connsiteY1274" fmla="*/ 982328 h 1118257"/>
                    <a:gd name="connsiteX1275" fmla="*/ 594661 w 1516542"/>
                    <a:gd name="connsiteY1275" fmla="*/ 977829 h 1118257"/>
                    <a:gd name="connsiteX1276" fmla="*/ 596829 w 1516542"/>
                    <a:gd name="connsiteY1276" fmla="*/ 976403 h 1118257"/>
                    <a:gd name="connsiteX1277" fmla="*/ 598149 w 1516542"/>
                    <a:gd name="connsiteY1277" fmla="*/ 975719 h 1118257"/>
                    <a:gd name="connsiteX1278" fmla="*/ 598500 w 1516542"/>
                    <a:gd name="connsiteY1278" fmla="*/ 974838 h 1118257"/>
                    <a:gd name="connsiteX1279" fmla="*/ 597824 w 1516542"/>
                    <a:gd name="connsiteY1279" fmla="*/ 971684 h 1118257"/>
                    <a:gd name="connsiteX1280" fmla="*/ 597929 w 1516542"/>
                    <a:gd name="connsiteY1280" fmla="*/ 969680 h 1118257"/>
                    <a:gd name="connsiteX1281" fmla="*/ 599225 w 1516542"/>
                    <a:gd name="connsiteY1281" fmla="*/ 965792 h 1118257"/>
                    <a:gd name="connsiteX1282" fmla="*/ 600521 w 1516542"/>
                    <a:gd name="connsiteY1282" fmla="*/ 962842 h 1118257"/>
                    <a:gd name="connsiteX1283" fmla="*/ 602966 w 1516542"/>
                    <a:gd name="connsiteY1283" fmla="*/ 963331 h 1118257"/>
                    <a:gd name="connsiteX1284" fmla="*/ 604058 w 1516542"/>
                    <a:gd name="connsiteY1284" fmla="*/ 962606 h 1118257"/>
                    <a:gd name="connsiteX1285" fmla="*/ 605264 w 1516542"/>
                    <a:gd name="connsiteY1285" fmla="*/ 961562 h 1118257"/>
                    <a:gd name="connsiteX1286" fmla="*/ 606593 w 1516542"/>
                    <a:gd name="connsiteY1286" fmla="*/ 959786 h 1118257"/>
                    <a:gd name="connsiteX1287" fmla="*/ 607465 w 1516542"/>
                    <a:gd name="connsiteY1287" fmla="*/ 957691 h 1118257"/>
                    <a:gd name="connsiteX1288" fmla="*/ 608532 w 1516542"/>
                    <a:gd name="connsiteY1288" fmla="*/ 952801 h 1118257"/>
                    <a:gd name="connsiteX1289" fmla="*/ 609274 w 1516542"/>
                    <a:gd name="connsiteY1289" fmla="*/ 952060 h 1118257"/>
                    <a:gd name="connsiteX1290" fmla="*/ 612346 w 1516542"/>
                    <a:gd name="connsiteY1290" fmla="*/ 952867 h 1118257"/>
                    <a:gd name="connsiteX1291" fmla="*/ 613267 w 1516542"/>
                    <a:gd name="connsiteY1291" fmla="*/ 952304 h 1118257"/>
                    <a:gd name="connsiteX1292" fmla="*/ 614954 w 1516542"/>
                    <a:gd name="connsiteY1292" fmla="*/ 949436 h 1118257"/>
                    <a:gd name="connsiteX1293" fmla="*/ 616551 w 1516542"/>
                    <a:gd name="connsiteY1293" fmla="*/ 945939 h 1118257"/>
                    <a:gd name="connsiteX1294" fmla="*/ 618850 w 1516542"/>
                    <a:gd name="connsiteY1294" fmla="*/ 944856 h 1118257"/>
                    <a:gd name="connsiteX1295" fmla="*/ 620512 w 1516542"/>
                    <a:gd name="connsiteY1295" fmla="*/ 944750 h 1118257"/>
                    <a:gd name="connsiteX1296" fmla="*/ 621278 w 1516542"/>
                    <a:gd name="connsiteY1296" fmla="*/ 943584 h 1118257"/>
                    <a:gd name="connsiteX1297" fmla="*/ 621238 w 1516542"/>
                    <a:gd name="connsiteY1297" fmla="*/ 941873 h 1118257"/>
                    <a:gd name="connsiteX1298" fmla="*/ 619657 w 1516542"/>
                    <a:gd name="connsiteY1298" fmla="*/ 939167 h 1118257"/>
                    <a:gd name="connsiteX1299" fmla="*/ 618988 w 1516542"/>
                    <a:gd name="connsiteY1299" fmla="*/ 936999 h 1118257"/>
                    <a:gd name="connsiteX1300" fmla="*/ 619184 w 1516542"/>
                    <a:gd name="connsiteY1300" fmla="*/ 935687 h 1118257"/>
                    <a:gd name="connsiteX1301" fmla="*/ 621442 w 1516542"/>
                    <a:gd name="connsiteY1301" fmla="*/ 934880 h 1118257"/>
                    <a:gd name="connsiteX1302" fmla="*/ 622004 w 1516542"/>
                    <a:gd name="connsiteY1302" fmla="*/ 933307 h 1118257"/>
                    <a:gd name="connsiteX1303" fmla="*/ 621669 w 1516542"/>
                    <a:gd name="connsiteY1303" fmla="*/ 929860 h 1118257"/>
                    <a:gd name="connsiteX1304" fmla="*/ 622591 w 1516542"/>
                    <a:gd name="connsiteY1304" fmla="*/ 925728 h 1118257"/>
                    <a:gd name="connsiteX1305" fmla="*/ 623153 w 1516542"/>
                    <a:gd name="connsiteY1305" fmla="*/ 920863 h 1118257"/>
                    <a:gd name="connsiteX1306" fmla="*/ 623332 w 1516542"/>
                    <a:gd name="connsiteY1306" fmla="*/ 917236 h 1118257"/>
                    <a:gd name="connsiteX1307" fmla="*/ 623316 w 1516542"/>
                    <a:gd name="connsiteY1307" fmla="*/ 914465 h 1118257"/>
                    <a:gd name="connsiteX1308" fmla="*/ 623096 w 1516542"/>
                    <a:gd name="connsiteY1308" fmla="*/ 911564 h 1118257"/>
                    <a:gd name="connsiteX1309" fmla="*/ 622762 w 1516542"/>
                    <a:gd name="connsiteY1309" fmla="*/ 906258 h 1118257"/>
                    <a:gd name="connsiteX1310" fmla="*/ 621735 w 1516542"/>
                    <a:gd name="connsiteY1310" fmla="*/ 901646 h 1118257"/>
                    <a:gd name="connsiteX1311" fmla="*/ 621922 w 1516542"/>
                    <a:gd name="connsiteY1311" fmla="*/ 899918 h 1118257"/>
                    <a:gd name="connsiteX1312" fmla="*/ 621775 w 1516542"/>
                    <a:gd name="connsiteY1312" fmla="*/ 894311 h 1118257"/>
                    <a:gd name="connsiteX1313" fmla="*/ 621148 w 1516542"/>
                    <a:gd name="connsiteY1313" fmla="*/ 889535 h 1118257"/>
                    <a:gd name="connsiteX1314" fmla="*/ 619869 w 1516542"/>
                    <a:gd name="connsiteY1314" fmla="*/ 888704 h 1118257"/>
                    <a:gd name="connsiteX1315" fmla="*/ 617513 w 1516542"/>
                    <a:gd name="connsiteY1315" fmla="*/ 887147 h 1118257"/>
                    <a:gd name="connsiteX1316" fmla="*/ 616218 w 1516542"/>
                    <a:gd name="connsiteY1316" fmla="*/ 886846 h 1118257"/>
                    <a:gd name="connsiteX1317" fmla="*/ 615134 w 1516542"/>
                    <a:gd name="connsiteY1317" fmla="*/ 887408 h 1118257"/>
                    <a:gd name="connsiteX1318" fmla="*/ 614726 w 1516542"/>
                    <a:gd name="connsiteY1318" fmla="*/ 889071 h 1118257"/>
                    <a:gd name="connsiteX1319" fmla="*/ 613691 w 1516542"/>
                    <a:gd name="connsiteY1319" fmla="*/ 890627 h 1118257"/>
                    <a:gd name="connsiteX1320" fmla="*/ 612411 w 1516542"/>
                    <a:gd name="connsiteY1320" fmla="*/ 890244 h 1118257"/>
                    <a:gd name="connsiteX1321" fmla="*/ 611800 w 1516542"/>
                    <a:gd name="connsiteY1321" fmla="*/ 888696 h 1118257"/>
                    <a:gd name="connsiteX1322" fmla="*/ 610969 w 1516542"/>
                    <a:gd name="connsiteY1322" fmla="*/ 886650 h 1118257"/>
                    <a:gd name="connsiteX1323" fmla="*/ 608231 w 1516542"/>
                    <a:gd name="connsiteY1323" fmla="*/ 876985 h 1118257"/>
                    <a:gd name="connsiteX1324" fmla="*/ 607929 w 1516542"/>
                    <a:gd name="connsiteY1324" fmla="*/ 874197 h 1118257"/>
                    <a:gd name="connsiteX1325" fmla="*/ 607457 w 1516542"/>
                    <a:gd name="connsiteY1325" fmla="*/ 871426 h 1118257"/>
                    <a:gd name="connsiteX1326" fmla="*/ 606519 w 1516542"/>
                    <a:gd name="connsiteY1326" fmla="*/ 870041 h 1118257"/>
                    <a:gd name="connsiteX1327" fmla="*/ 605541 w 1516542"/>
                    <a:gd name="connsiteY1327" fmla="*/ 869226 h 1118257"/>
                    <a:gd name="connsiteX1328" fmla="*/ 603365 w 1516542"/>
                    <a:gd name="connsiteY1328" fmla="*/ 865966 h 1118257"/>
                    <a:gd name="connsiteX1329" fmla="*/ 602208 w 1516542"/>
                    <a:gd name="connsiteY1329" fmla="*/ 864605 h 1118257"/>
                    <a:gd name="connsiteX1330" fmla="*/ 601654 w 1516542"/>
                    <a:gd name="connsiteY1330" fmla="*/ 864385 h 1118257"/>
                    <a:gd name="connsiteX1331" fmla="*/ 600439 w 1516542"/>
                    <a:gd name="connsiteY1331" fmla="*/ 864613 h 1118257"/>
                    <a:gd name="connsiteX1332" fmla="*/ 599274 w 1516542"/>
                    <a:gd name="connsiteY1332" fmla="*/ 864621 h 1118257"/>
                    <a:gd name="connsiteX1333" fmla="*/ 598305 w 1516542"/>
                    <a:gd name="connsiteY1333" fmla="*/ 862991 h 1118257"/>
                    <a:gd name="connsiteX1334" fmla="*/ 597424 w 1516542"/>
                    <a:gd name="connsiteY1334" fmla="*/ 861011 h 1118257"/>
                    <a:gd name="connsiteX1335" fmla="*/ 596544 w 1516542"/>
                    <a:gd name="connsiteY1335" fmla="*/ 860033 h 1118257"/>
                    <a:gd name="connsiteX1336" fmla="*/ 595061 w 1516542"/>
                    <a:gd name="connsiteY1336" fmla="*/ 859495 h 1118257"/>
                    <a:gd name="connsiteX1337" fmla="*/ 593545 w 1516542"/>
                    <a:gd name="connsiteY1337" fmla="*/ 859707 h 1118257"/>
                    <a:gd name="connsiteX1338" fmla="*/ 592648 w 1516542"/>
                    <a:gd name="connsiteY1338" fmla="*/ 861427 h 1118257"/>
                    <a:gd name="connsiteX1339" fmla="*/ 592045 w 1516542"/>
                    <a:gd name="connsiteY1339" fmla="*/ 862405 h 1118257"/>
                    <a:gd name="connsiteX1340" fmla="*/ 590896 w 1516542"/>
                    <a:gd name="connsiteY1340" fmla="*/ 864687 h 1118257"/>
                    <a:gd name="connsiteX1341" fmla="*/ 589038 w 1516542"/>
                    <a:gd name="connsiteY1341" fmla="*/ 867857 h 1118257"/>
                    <a:gd name="connsiteX1342" fmla="*/ 588190 w 1516542"/>
                    <a:gd name="connsiteY1342" fmla="*/ 869022 h 1118257"/>
                    <a:gd name="connsiteX1343" fmla="*/ 587376 w 1516542"/>
                    <a:gd name="connsiteY1343" fmla="*/ 868411 h 1118257"/>
                    <a:gd name="connsiteX1344" fmla="*/ 583798 w 1516542"/>
                    <a:gd name="connsiteY1344" fmla="*/ 865127 h 1118257"/>
                    <a:gd name="connsiteX1345" fmla="*/ 582062 w 1516542"/>
                    <a:gd name="connsiteY1345" fmla="*/ 864206 h 1118257"/>
                    <a:gd name="connsiteX1346" fmla="*/ 579715 w 1516542"/>
                    <a:gd name="connsiteY1346" fmla="*/ 865208 h 1118257"/>
                    <a:gd name="connsiteX1347" fmla="*/ 576047 w 1516542"/>
                    <a:gd name="connsiteY1347" fmla="*/ 864418 h 1118257"/>
                    <a:gd name="connsiteX1348" fmla="*/ 574637 w 1516542"/>
                    <a:gd name="connsiteY1348" fmla="*/ 864271 h 1118257"/>
                    <a:gd name="connsiteX1349" fmla="*/ 571581 w 1516542"/>
                    <a:gd name="connsiteY1349" fmla="*/ 861638 h 1118257"/>
                    <a:gd name="connsiteX1350" fmla="*/ 570343 w 1516542"/>
                    <a:gd name="connsiteY1350" fmla="*/ 861313 h 1118257"/>
                    <a:gd name="connsiteX1351" fmla="*/ 565999 w 1516542"/>
                    <a:gd name="connsiteY1351" fmla="*/ 863032 h 1118257"/>
                    <a:gd name="connsiteX1352" fmla="*/ 565037 w 1516542"/>
                    <a:gd name="connsiteY1352" fmla="*/ 864246 h 1118257"/>
                    <a:gd name="connsiteX1353" fmla="*/ 564475 w 1516542"/>
                    <a:gd name="connsiteY1353" fmla="*/ 864271 h 1118257"/>
                    <a:gd name="connsiteX1354" fmla="*/ 563325 w 1516542"/>
                    <a:gd name="connsiteY1354" fmla="*/ 863652 h 1118257"/>
                    <a:gd name="connsiteX1355" fmla="*/ 562364 w 1516542"/>
                    <a:gd name="connsiteY1355" fmla="*/ 862829 h 1118257"/>
                    <a:gd name="connsiteX1356" fmla="*/ 562315 w 1516542"/>
                    <a:gd name="connsiteY1356" fmla="*/ 862323 h 1118257"/>
                    <a:gd name="connsiteX1357" fmla="*/ 563481 w 1516542"/>
                    <a:gd name="connsiteY1357" fmla="*/ 861036 h 1118257"/>
                    <a:gd name="connsiteX1358" fmla="*/ 563578 w 1516542"/>
                    <a:gd name="connsiteY1358" fmla="*/ 860131 h 1118257"/>
                    <a:gd name="connsiteX1359" fmla="*/ 563513 w 1516542"/>
                    <a:gd name="connsiteY1359" fmla="*/ 859226 h 1118257"/>
                    <a:gd name="connsiteX1360" fmla="*/ 565200 w 1516542"/>
                    <a:gd name="connsiteY1360" fmla="*/ 856643 h 1118257"/>
                    <a:gd name="connsiteX1361" fmla="*/ 569788 w 1516542"/>
                    <a:gd name="connsiteY1361" fmla="*/ 851623 h 1118257"/>
                    <a:gd name="connsiteX1362" fmla="*/ 569039 w 1516542"/>
                    <a:gd name="connsiteY1362" fmla="*/ 849528 h 1118257"/>
                    <a:gd name="connsiteX1363" fmla="*/ 567229 w 1516542"/>
                    <a:gd name="connsiteY1363" fmla="*/ 845380 h 1118257"/>
                    <a:gd name="connsiteX1364" fmla="*/ 566976 w 1516542"/>
                    <a:gd name="connsiteY1364" fmla="*/ 843367 h 1118257"/>
                    <a:gd name="connsiteX1365" fmla="*/ 566195 w 1516542"/>
                    <a:gd name="connsiteY1365" fmla="*/ 842470 h 1118257"/>
                    <a:gd name="connsiteX1366" fmla="*/ 564002 w 1516542"/>
                    <a:gd name="connsiteY1366" fmla="*/ 843204 h 1118257"/>
                    <a:gd name="connsiteX1367" fmla="*/ 559414 w 1516542"/>
                    <a:gd name="connsiteY1367" fmla="*/ 846969 h 1118257"/>
                    <a:gd name="connsiteX1368" fmla="*/ 558794 w 1516542"/>
                    <a:gd name="connsiteY1368" fmla="*/ 846553 h 1118257"/>
                    <a:gd name="connsiteX1369" fmla="*/ 558908 w 1516542"/>
                    <a:gd name="connsiteY1369" fmla="*/ 845249 h 1118257"/>
                    <a:gd name="connsiteX1370" fmla="*/ 558428 w 1516542"/>
                    <a:gd name="connsiteY1370" fmla="*/ 841460 h 1118257"/>
                    <a:gd name="connsiteX1371" fmla="*/ 559878 w 1516542"/>
                    <a:gd name="connsiteY1371" fmla="*/ 840319 h 1118257"/>
                    <a:gd name="connsiteX1372" fmla="*/ 562103 w 1516542"/>
                    <a:gd name="connsiteY1372" fmla="*/ 838933 h 1118257"/>
                    <a:gd name="connsiteX1373" fmla="*/ 563823 w 1516542"/>
                    <a:gd name="connsiteY1373" fmla="*/ 837377 h 1118257"/>
                    <a:gd name="connsiteX1374" fmla="*/ 564222 w 1516542"/>
                    <a:gd name="connsiteY1374" fmla="*/ 836122 h 1118257"/>
                    <a:gd name="connsiteX1375" fmla="*/ 563758 w 1516542"/>
                    <a:gd name="connsiteY1375" fmla="*/ 835739 h 1118257"/>
                    <a:gd name="connsiteX1376" fmla="*/ 561223 w 1516542"/>
                    <a:gd name="connsiteY1376" fmla="*/ 836228 h 1118257"/>
                    <a:gd name="connsiteX1377" fmla="*/ 560221 w 1516542"/>
                    <a:gd name="connsiteY1377" fmla="*/ 835372 h 1118257"/>
                    <a:gd name="connsiteX1378" fmla="*/ 558583 w 1516542"/>
                    <a:gd name="connsiteY1378" fmla="*/ 831892 h 1118257"/>
                    <a:gd name="connsiteX1379" fmla="*/ 557368 w 1516542"/>
                    <a:gd name="connsiteY1379" fmla="*/ 830523 h 1118257"/>
                    <a:gd name="connsiteX1380" fmla="*/ 556268 w 1516542"/>
                    <a:gd name="connsiteY1380" fmla="*/ 829781 h 1118257"/>
                    <a:gd name="connsiteX1381" fmla="*/ 552543 w 1516542"/>
                    <a:gd name="connsiteY1381" fmla="*/ 831582 h 1118257"/>
                    <a:gd name="connsiteX1382" fmla="*/ 548208 w 1516542"/>
                    <a:gd name="connsiteY1382" fmla="*/ 834060 h 1118257"/>
                    <a:gd name="connsiteX1383" fmla="*/ 543383 w 1516542"/>
                    <a:gd name="connsiteY1383" fmla="*/ 837483 h 1118257"/>
                    <a:gd name="connsiteX1384" fmla="*/ 543408 w 1516542"/>
                    <a:gd name="connsiteY1384" fmla="*/ 839251 h 1118257"/>
                    <a:gd name="connsiteX1385" fmla="*/ 542837 w 1516542"/>
                    <a:gd name="connsiteY1385" fmla="*/ 839708 h 1118257"/>
                    <a:gd name="connsiteX1386" fmla="*/ 541916 w 1516542"/>
                    <a:gd name="connsiteY1386" fmla="*/ 840816 h 1118257"/>
                    <a:gd name="connsiteX1387" fmla="*/ 541012 w 1516542"/>
                    <a:gd name="connsiteY1387" fmla="*/ 842348 h 1118257"/>
                    <a:gd name="connsiteX1388" fmla="*/ 540246 w 1516542"/>
                    <a:gd name="connsiteY1388" fmla="*/ 842894 h 1118257"/>
                    <a:gd name="connsiteX1389" fmla="*/ 539341 w 1516542"/>
                    <a:gd name="connsiteY1389" fmla="*/ 842935 h 1118257"/>
                    <a:gd name="connsiteX1390" fmla="*/ 537515 w 1516542"/>
                    <a:gd name="connsiteY1390" fmla="*/ 842495 h 1118257"/>
                    <a:gd name="connsiteX1391" fmla="*/ 534182 w 1516542"/>
                    <a:gd name="connsiteY1391" fmla="*/ 840759 h 1118257"/>
                    <a:gd name="connsiteX1392" fmla="*/ 530564 w 1516542"/>
                    <a:gd name="connsiteY1392" fmla="*/ 839316 h 1118257"/>
                    <a:gd name="connsiteX1393" fmla="*/ 529773 w 1516542"/>
                    <a:gd name="connsiteY1393" fmla="*/ 839479 h 1118257"/>
                    <a:gd name="connsiteX1394" fmla="*/ 524875 w 1516542"/>
                    <a:gd name="connsiteY1394" fmla="*/ 838461 h 1118257"/>
                    <a:gd name="connsiteX1395" fmla="*/ 524712 w 1516542"/>
                    <a:gd name="connsiteY1395" fmla="*/ 837654 h 1118257"/>
                    <a:gd name="connsiteX1396" fmla="*/ 523971 w 1516542"/>
                    <a:gd name="connsiteY1396" fmla="*/ 836040 h 1118257"/>
                    <a:gd name="connsiteX1397" fmla="*/ 522585 w 1516542"/>
                    <a:gd name="connsiteY1397" fmla="*/ 834589 h 1118257"/>
                    <a:gd name="connsiteX1398" fmla="*/ 521240 w 1516542"/>
                    <a:gd name="connsiteY1398" fmla="*/ 834093 h 1118257"/>
                    <a:gd name="connsiteX1399" fmla="*/ 517402 w 1516542"/>
                    <a:gd name="connsiteY1399" fmla="*/ 837173 h 1118257"/>
                    <a:gd name="connsiteX1400" fmla="*/ 513066 w 1516542"/>
                    <a:gd name="connsiteY1400" fmla="*/ 839463 h 1118257"/>
                    <a:gd name="connsiteX1401" fmla="*/ 510589 w 1516542"/>
                    <a:gd name="connsiteY1401" fmla="*/ 842169 h 1118257"/>
                    <a:gd name="connsiteX1402" fmla="*/ 508559 w 1516542"/>
                    <a:gd name="connsiteY1402" fmla="*/ 844850 h 1118257"/>
                    <a:gd name="connsiteX1403" fmla="*/ 506229 w 1516542"/>
                    <a:gd name="connsiteY1403" fmla="*/ 845372 h 1118257"/>
                    <a:gd name="connsiteX1404" fmla="*/ 506115 w 1516542"/>
                    <a:gd name="connsiteY1404" fmla="*/ 847034 h 1118257"/>
                    <a:gd name="connsiteX1405" fmla="*/ 505128 w 1516542"/>
                    <a:gd name="connsiteY1405" fmla="*/ 848526 h 1118257"/>
                    <a:gd name="connsiteX1406" fmla="*/ 503368 w 1516542"/>
                    <a:gd name="connsiteY1406" fmla="*/ 850367 h 1118257"/>
                    <a:gd name="connsiteX1407" fmla="*/ 499847 w 1516542"/>
                    <a:gd name="connsiteY1407" fmla="*/ 852715 h 1118257"/>
                    <a:gd name="connsiteX1408" fmla="*/ 497467 w 1516542"/>
                    <a:gd name="connsiteY1408" fmla="*/ 853970 h 1118257"/>
                    <a:gd name="connsiteX1409" fmla="*/ 489929 w 1516542"/>
                    <a:gd name="connsiteY1409" fmla="*/ 855127 h 1118257"/>
                    <a:gd name="connsiteX1410" fmla="*/ 487232 w 1516542"/>
                    <a:gd name="connsiteY1410" fmla="*/ 855909 h 1118257"/>
                    <a:gd name="connsiteX1411" fmla="*/ 486107 w 1516542"/>
                    <a:gd name="connsiteY1411" fmla="*/ 857140 h 1118257"/>
                    <a:gd name="connsiteX1412" fmla="*/ 484893 w 1516542"/>
                    <a:gd name="connsiteY1412" fmla="*/ 860269 h 1118257"/>
                    <a:gd name="connsiteX1413" fmla="*/ 483939 w 1516542"/>
                    <a:gd name="connsiteY1413" fmla="*/ 863154 h 1118257"/>
                    <a:gd name="connsiteX1414" fmla="*/ 481853 w 1516542"/>
                    <a:gd name="connsiteY1414" fmla="*/ 865526 h 1118257"/>
                    <a:gd name="connsiteX1415" fmla="*/ 478055 w 1516542"/>
                    <a:gd name="connsiteY1415" fmla="*/ 868696 h 1118257"/>
                    <a:gd name="connsiteX1416" fmla="*/ 473589 w 1516542"/>
                    <a:gd name="connsiteY1416" fmla="*/ 871271 h 1118257"/>
                    <a:gd name="connsiteX1417" fmla="*/ 472358 w 1516542"/>
                    <a:gd name="connsiteY1417" fmla="*/ 872983 h 1118257"/>
                    <a:gd name="connsiteX1418" fmla="*/ 472138 w 1516542"/>
                    <a:gd name="connsiteY1418" fmla="*/ 873994 h 1118257"/>
                    <a:gd name="connsiteX1419" fmla="*/ 472685 w 1516542"/>
                    <a:gd name="connsiteY1419" fmla="*/ 874368 h 1118257"/>
                    <a:gd name="connsiteX1420" fmla="*/ 473230 w 1516542"/>
                    <a:gd name="connsiteY1420" fmla="*/ 875134 h 1118257"/>
                    <a:gd name="connsiteX1421" fmla="*/ 473239 w 1516542"/>
                    <a:gd name="connsiteY1421" fmla="*/ 876308 h 1118257"/>
                    <a:gd name="connsiteX1422" fmla="*/ 472668 w 1516542"/>
                    <a:gd name="connsiteY1422" fmla="*/ 877580 h 1118257"/>
                    <a:gd name="connsiteX1423" fmla="*/ 469742 w 1516542"/>
                    <a:gd name="connsiteY1423" fmla="*/ 879796 h 1118257"/>
                    <a:gd name="connsiteX1424" fmla="*/ 468104 w 1516542"/>
                    <a:gd name="connsiteY1424" fmla="*/ 880848 h 1118257"/>
                    <a:gd name="connsiteX1425" fmla="*/ 466474 w 1516542"/>
                    <a:gd name="connsiteY1425" fmla="*/ 881532 h 1118257"/>
                    <a:gd name="connsiteX1426" fmla="*/ 464641 w 1516542"/>
                    <a:gd name="connsiteY1426" fmla="*/ 881646 h 1118257"/>
                    <a:gd name="connsiteX1427" fmla="*/ 462880 w 1516542"/>
                    <a:gd name="connsiteY1427" fmla="*/ 881353 h 1118257"/>
                    <a:gd name="connsiteX1428" fmla="*/ 462399 w 1516542"/>
                    <a:gd name="connsiteY1428" fmla="*/ 880994 h 1118257"/>
                    <a:gd name="connsiteX1429" fmla="*/ 461698 w 1516542"/>
                    <a:gd name="connsiteY1429" fmla="*/ 881459 h 1118257"/>
                    <a:gd name="connsiteX1430" fmla="*/ 460101 w 1516542"/>
                    <a:gd name="connsiteY1430" fmla="*/ 881923 h 1118257"/>
                    <a:gd name="connsiteX1431" fmla="*/ 458691 w 1516542"/>
                    <a:gd name="connsiteY1431" fmla="*/ 882070 h 1118257"/>
                    <a:gd name="connsiteX1432" fmla="*/ 455635 w 1516542"/>
                    <a:gd name="connsiteY1432" fmla="*/ 884523 h 1118257"/>
                    <a:gd name="connsiteX1433" fmla="*/ 453940 w 1516542"/>
                    <a:gd name="connsiteY1433" fmla="*/ 884539 h 1118257"/>
                    <a:gd name="connsiteX1434" fmla="*/ 451837 w 1516542"/>
                    <a:gd name="connsiteY1434" fmla="*/ 884010 h 1118257"/>
                    <a:gd name="connsiteX1435" fmla="*/ 449050 w 1516542"/>
                    <a:gd name="connsiteY1435" fmla="*/ 883594 h 1118257"/>
                    <a:gd name="connsiteX1436" fmla="*/ 447053 w 1516542"/>
                    <a:gd name="connsiteY1436" fmla="*/ 883578 h 1118257"/>
                    <a:gd name="connsiteX1437" fmla="*/ 446996 w 1516542"/>
                    <a:gd name="connsiteY1437" fmla="*/ 882290 h 1118257"/>
                    <a:gd name="connsiteX1438" fmla="*/ 447298 w 1516542"/>
                    <a:gd name="connsiteY1438" fmla="*/ 878394 h 1118257"/>
                    <a:gd name="connsiteX1439" fmla="*/ 446393 w 1516542"/>
                    <a:gd name="connsiteY1439" fmla="*/ 877490 h 1118257"/>
                    <a:gd name="connsiteX1440" fmla="*/ 443614 w 1516542"/>
                    <a:gd name="connsiteY1440" fmla="*/ 876536 h 1118257"/>
                    <a:gd name="connsiteX1441" fmla="*/ 440493 w 1516542"/>
                    <a:gd name="connsiteY1441" fmla="*/ 875265 h 1118257"/>
                    <a:gd name="connsiteX1442" fmla="*/ 438993 w 1516542"/>
                    <a:gd name="connsiteY1442" fmla="*/ 873912 h 1118257"/>
                    <a:gd name="connsiteX1443" fmla="*/ 438154 w 1516542"/>
                    <a:gd name="connsiteY1443" fmla="*/ 873464 h 1118257"/>
                    <a:gd name="connsiteX1444" fmla="*/ 436989 w 1516542"/>
                    <a:gd name="connsiteY1444" fmla="*/ 873684 h 1118257"/>
                    <a:gd name="connsiteX1445" fmla="*/ 435098 w 1516542"/>
                    <a:gd name="connsiteY1445" fmla="*/ 875102 h 1118257"/>
                    <a:gd name="connsiteX1446" fmla="*/ 433305 w 1516542"/>
                    <a:gd name="connsiteY1446" fmla="*/ 876765 h 1118257"/>
                    <a:gd name="connsiteX1447" fmla="*/ 431895 w 1516542"/>
                    <a:gd name="connsiteY1447" fmla="*/ 876903 h 1118257"/>
                    <a:gd name="connsiteX1448" fmla="*/ 430453 w 1516542"/>
                    <a:gd name="connsiteY1448" fmla="*/ 876121 h 1118257"/>
                    <a:gd name="connsiteX1449" fmla="*/ 429067 w 1516542"/>
                    <a:gd name="connsiteY1449" fmla="*/ 875110 h 1118257"/>
                    <a:gd name="connsiteX1450" fmla="*/ 424332 w 1516542"/>
                    <a:gd name="connsiteY1450" fmla="*/ 873668 h 1118257"/>
                    <a:gd name="connsiteX1451" fmla="*/ 422205 w 1516542"/>
                    <a:gd name="connsiteY1451" fmla="*/ 873456 h 1118257"/>
                    <a:gd name="connsiteX1452" fmla="*/ 418423 w 1516542"/>
                    <a:gd name="connsiteY1452" fmla="*/ 873700 h 1118257"/>
                    <a:gd name="connsiteX1453" fmla="*/ 415319 w 1516542"/>
                    <a:gd name="connsiteY1453" fmla="*/ 873399 h 1118257"/>
                    <a:gd name="connsiteX1454" fmla="*/ 414845 w 1516542"/>
                    <a:gd name="connsiteY1454" fmla="*/ 872958 h 1118257"/>
                    <a:gd name="connsiteX1455" fmla="*/ 414862 w 1516542"/>
                    <a:gd name="connsiteY1455" fmla="*/ 872160 h 1118257"/>
                    <a:gd name="connsiteX1456" fmla="*/ 415302 w 1516542"/>
                    <a:gd name="connsiteY1456" fmla="*/ 870603 h 1118257"/>
                    <a:gd name="connsiteX1457" fmla="*/ 415587 w 1516542"/>
                    <a:gd name="connsiteY1457" fmla="*/ 869063 h 1118257"/>
                    <a:gd name="connsiteX1458" fmla="*/ 415221 w 1516542"/>
                    <a:gd name="connsiteY1458" fmla="*/ 868191 h 1118257"/>
                    <a:gd name="connsiteX1459" fmla="*/ 412058 w 1516542"/>
                    <a:gd name="connsiteY1459" fmla="*/ 867115 h 1118257"/>
                    <a:gd name="connsiteX1460" fmla="*/ 409165 w 1516542"/>
                    <a:gd name="connsiteY1460" fmla="*/ 866341 h 1118257"/>
                    <a:gd name="connsiteX1461" fmla="*/ 406117 w 1516542"/>
                    <a:gd name="connsiteY1461" fmla="*/ 866048 h 1118257"/>
                    <a:gd name="connsiteX1462" fmla="*/ 404039 w 1516542"/>
                    <a:gd name="connsiteY1462" fmla="*/ 866594 h 1118257"/>
                    <a:gd name="connsiteX1463" fmla="*/ 402042 w 1516542"/>
                    <a:gd name="connsiteY1463" fmla="*/ 867792 h 1118257"/>
                    <a:gd name="connsiteX1464" fmla="*/ 400380 w 1516542"/>
                    <a:gd name="connsiteY1464" fmla="*/ 869960 h 1118257"/>
                    <a:gd name="connsiteX1465" fmla="*/ 397968 w 1516542"/>
                    <a:gd name="connsiteY1465" fmla="*/ 870921 h 1118257"/>
                    <a:gd name="connsiteX1466" fmla="*/ 395091 w 1516542"/>
                    <a:gd name="connsiteY1466" fmla="*/ 872535 h 1118257"/>
                    <a:gd name="connsiteX1467" fmla="*/ 393697 w 1516542"/>
                    <a:gd name="connsiteY1467" fmla="*/ 874042 h 1118257"/>
                    <a:gd name="connsiteX1468" fmla="*/ 391595 w 1516542"/>
                    <a:gd name="connsiteY1468" fmla="*/ 877286 h 1118257"/>
                    <a:gd name="connsiteX1469" fmla="*/ 388530 w 1516542"/>
                    <a:gd name="connsiteY1469" fmla="*/ 881255 h 1118257"/>
                    <a:gd name="connsiteX1470" fmla="*/ 385751 w 1516542"/>
                    <a:gd name="connsiteY1470" fmla="*/ 885134 h 1118257"/>
                    <a:gd name="connsiteX1471" fmla="*/ 384317 w 1516542"/>
                    <a:gd name="connsiteY1471" fmla="*/ 888899 h 1118257"/>
                    <a:gd name="connsiteX1472" fmla="*/ 382402 w 1516542"/>
                    <a:gd name="connsiteY1472" fmla="*/ 891271 h 1118257"/>
                    <a:gd name="connsiteX1473" fmla="*/ 380478 w 1516542"/>
                    <a:gd name="connsiteY1473" fmla="*/ 892982 h 1118257"/>
                    <a:gd name="connsiteX1474" fmla="*/ 379084 w 1516542"/>
                    <a:gd name="connsiteY1474" fmla="*/ 897669 h 1118257"/>
                    <a:gd name="connsiteX1475" fmla="*/ 377618 w 1516542"/>
                    <a:gd name="connsiteY1475" fmla="*/ 896185 h 1118257"/>
                    <a:gd name="connsiteX1476" fmla="*/ 375939 w 1516542"/>
                    <a:gd name="connsiteY1476" fmla="*/ 894058 h 1118257"/>
                    <a:gd name="connsiteX1477" fmla="*/ 375556 w 1516542"/>
                    <a:gd name="connsiteY1477" fmla="*/ 891132 h 1118257"/>
                    <a:gd name="connsiteX1478" fmla="*/ 377569 w 1516542"/>
                    <a:gd name="connsiteY1478" fmla="*/ 883341 h 1118257"/>
                    <a:gd name="connsiteX1479" fmla="*/ 378033 w 1516542"/>
                    <a:gd name="connsiteY1479" fmla="*/ 880130 h 1118257"/>
                    <a:gd name="connsiteX1480" fmla="*/ 377528 w 1516542"/>
                    <a:gd name="connsiteY1480" fmla="*/ 878900 h 1118257"/>
                    <a:gd name="connsiteX1481" fmla="*/ 376909 w 1516542"/>
                    <a:gd name="connsiteY1481" fmla="*/ 875738 h 1118257"/>
                    <a:gd name="connsiteX1482" fmla="*/ 375735 w 1516542"/>
                    <a:gd name="connsiteY1482" fmla="*/ 874694 h 1118257"/>
                    <a:gd name="connsiteX1483" fmla="*/ 372377 w 1516542"/>
                    <a:gd name="connsiteY1483" fmla="*/ 873032 h 1118257"/>
                    <a:gd name="connsiteX1484" fmla="*/ 371302 w 1516542"/>
                    <a:gd name="connsiteY1484" fmla="*/ 872983 h 1118257"/>
                    <a:gd name="connsiteX1485" fmla="*/ 370161 w 1516542"/>
                    <a:gd name="connsiteY1485" fmla="*/ 874124 h 1118257"/>
                    <a:gd name="connsiteX1486" fmla="*/ 369036 w 1516542"/>
                    <a:gd name="connsiteY1486" fmla="*/ 874849 h 1118257"/>
                    <a:gd name="connsiteX1487" fmla="*/ 367536 w 1516542"/>
                    <a:gd name="connsiteY1487" fmla="*/ 875583 h 1118257"/>
                    <a:gd name="connsiteX1488" fmla="*/ 363796 w 1516542"/>
                    <a:gd name="connsiteY1488" fmla="*/ 876944 h 1118257"/>
                    <a:gd name="connsiteX1489" fmla="*/ 360479 w 1516542"/>
                    <a:gd name="connsiteY1489" fmla="*/ 877580 h 1118257"/>
                    <a:gd name="connsiteX1490" fmla="*/ 359680 w 1516542"/>
                    <a:gd name="connsiteY1490" fmla="*/ 878085 h 1118257"/>
                    <a:gd name="connsiteX1491" fmla="*/ 359427 w 1516542"/>
                    <a:gd name="connsiteY1491" fmla="*/ 878989 h 1118257"/>
                    <a:gd name="connsiteX1492" fmla="*/ 359697 w 1516542"/>
                    <a:gd name="connsiteY1492" fmla="*/ 880065 h 1118257"/>
                    <a:gd name="connsiteX1493" fmla="*/ 357561 w 1516542"/>
                    <a:gd name="connsiteY1493" fmla="*/ 879658 h 1118257"/>
                    <a:gd name="connsiteX1494" fmla="*/ 355320 w 1516542"/>
                    <a:gd name="connsiteY1494" fmla="*/ 879421 h 1118257"/>
                    <a:gd name="connsiteX1495" fmla="*/ 353519 w 1516542"/>
                    <a:gd name="connsiteY1495" fmla="*/ 879576 h 1118257"/>
                    <a:gd name="connsiteX1496" fmla="*/ 349102 w 1516542"/>
                    <a:gd name="connsiteY1496" fmla="*/ 881630 h 1118257"/>
                    <a:gd name="connsiteX1497" fmla="*/ 347619 w 1516542"/>
                    <a:gd name="connsiteY1497" fmla="*/ 881826 h 1118257"/>
                    <a:gd name="connsiteX1498" fmla="*/ 345948 w 1516542"/>
                    <a:gd name="connsiteY1498" fmla="*/ 881614 h 1118257"/>
                    <a:gd name="connsiteX1499" fmla="*/ 343674 w 1516542"/>
                    <a:gd name="connsiteY1499" fmla="*/ 881556 h 1118257"/>
                    <a:gd name="connsiteX1500" fmla="*/ 339379 w 1516542"/>
                    <a:gd name="connsiteY1500" fmla="*/ 881614 h 1118257"/>
                    <a:gd name="connsiteX1501" fmla="*/ 335688 w 1516542"/>
                    <a:gd name="connsiteY1501" fmla="*/ 881092 h 1118257"/>
                    <a:gd name="connsiteX1502" fmla="*/ 332672 w 1516542"/>
                    <a:gd name="connsiteY1502" fmla="*/ 878223 h 1118257"/>
                    <a:gd name="connsiteX1503" fmla="*/ 330528 w 1516542"/>
                    <a:gd name="connsiteY1503" fmla="*/ 876960 h 1118257"/>
                    <a:gd name="connsiteX1504" fmla="*/ 328263 w 1516542"/>
                    <a:gd name="connsiteY1504" fmla="*/ 875982 h 1118257"/>
                    <a:gd name="connsiteX1505" fmla="*/ 325973 w 1516542"/>
                    <a:gd name="connsiteY1505" fmla="*/ 875249 h 1118257"/>
                    <a:gd name="connsiteX1506" fmla="*/ 325223 w 1516542"/>
                    <a:gd name="connsiteY1506" fmla="*/ 873700 h 1118257"/>
                    <a:gd name="connsiteX1507" fmla="*/ 324498 w 1516542"/>
                    <a:gd name="connsiteY1507" fmla="*/ 872934 h 1118257"/>
                    <a:gd name="connsiteX1508" fmla="*/ 322607 w 1516542"/>
                    <a:gd name="connsiteY1508" fmla="*/ 872673 h 1118257"/>
                    <a:gd name="connsiteX1509" fmla="*/ 321124 w 1516542"/>
                    <a:gd name="connsiteY1509" fmla="*/ 873244 h 1118257"/>
                    <a:gd name="connsiteX1510" fmla="*/ 320186 w 1516542"/>
                    <a:gd name="connsiteY1510" fmla="*/ 877115 h 1118257"/>
                    <a:gd name="connsiteX1511" fmla="*/ 319396 w 1516542"/>
                    <a:gd name="connsiteY1511" fmla="*/ 877873 h 1118257"/>
                    <a:gd name="connsiteX1512" fmla="*/ 317505 w 1516542"/>
                    <a:gd name="connsiteY1512" fmla="*/ 878223 h 1118257"/>
                    <a:gd name="connsiteX1513" fmla="*/ 315517 w 1516542"/>
                    <a:gd name="connsiteY1513" fmla="*/ 877237 h 1118257"/>
                    <a:gd name="connsiteX1514" fmla="*/ 312770 w 1516542"/>
                    <a:gd name="connsiteY1514" fmla="*/ 875249 h 1118257"/>
                    <a:gd name="connsiteX1515" fmla="*/ 311694 w 1516542"/>
                    <a:gd name="connsiteY1515" fmla="*/ 873040 h 1118257"/>
                    <a:gd name="connsiteX1516" fmla="*/ 310765 w 1516542"/>
                    <a:gd name="connsiteY1516" fmla="*/ 872315 h 1118257"/>
                    <a:gd name="connsiteX1517" fmla="*/ 309323 w 1516542"/>
                    <a:gd name="connsiteY1517" fmla="*/ 873293 h 1118257"/>
                    <a:gd name="connsiteX1518" fmla="*/ 309250 w 1516542"/>
                    <a:gd name="connsiteY1518" fmla="*/ 876121 h 1118257"/>
                    <a:gd name="connsiteX1519" fmla="*/ 308956 w 1516542"/>
                    <a:gd name="connsiteY1519" fmla="*/ 878028 h 1118257"/>
                    <a:gd name="connsiteX1520" fmla="*/ 307237 w 1516542"/>
                    <a:gd name="connsiteY1520" fmla="*/ 878802 h 1118257"/>
                    <a:gd name="connsiteX1521" fmla="*/ 306234 w 1516542"/>
                    <a:gd name="connsiteY1521" fmla="*/ 878231 h 1118257"/>
                    <a:gd name="connsiteX1522" fmla="*/ 305427 w 1516542"/>
                    <a:gd name="connsiteY1522" fmla="*/ 876284 h 1118257"/>
                    <a:gd name="connsiteX1523" fmla="*/ 303406 w 1516542"/>
                    <a:gd name="connsiteY1523" fmla="*/ 871647 h 1118257"/>
                    <a:gd name="connsiteX1524" fmla="*/ 301409 w 1516542"/>
                    <a:gd name="connsiteY1524" fmla="*/ 868933 h 1118257"/>
                    <a:gd name="connsiteX1525" fmla="*/ 299388 w 1516542"/>
                    <a:gd name="connsiteY1525" fmla="*/ 867123 h 1118257"/>
                    <a:gd name="connsiteX1526" fmla="*/ 292746 w 1516542"/>
                    <a:gd name="connsiteY1526" fmla="*/ 867172 h 1118257"/>
                    <a:gd name="connsiteX1527" fmla="*/ 287824 w 1516542"/>
                    <a:gd name="connsiteY1527" fmla="*/ 866643 h 1118257"/>
                    <a:gd name="connsiteX1528" fmla="*/ 285607 w 1516542"/>
                    <a:gd name="connsiteY1528" fmla="*/ 865901 h 1118257"/>
                    <a:gd name="connsiteX1529" fmla="*/ 284768 w 1516542"/>
                    <a:gd name="connsiteY1529" fmla="*/ 864108 h 1118257"/>
                    <a:gd name="connsiteX1530" fmla="*/ 285583 w 1516542"/>
                    <a:gd name="connsiteY1530" fmla="*/ 860538 h 1118257"/>
                    <a:gd name="connsiteX1531" fmla="*/ 286536 w 1516542"/>
                    <a:gd name="connsiteY1531" fmla="*/ 857743 h 1118257"/>
                    <a:gd name="connsiteX1532" fmla="*/ 286520 w 1516542"/>
                    <a:gd name="connsiteY1532" fmla="*/ 857099 h 1118257"/>
                    <a:gd name="connsiteX1533" fmla="*/ 285697 w 1516542"/>
                    <a:gd name="connsiteY1533" fmla="*/ 856765 h 1118257"/>
                    <a:gd name="connsiteX1534" fmla="*/ 284279 w 1516542"/>
                    <a:gd name="connsiteY1534" fmla="*/ 856537 h 1118257"/>
                    <a:gd name="connsiteX1535" fmla="*/ 278973 w 1516542"/>
                    <a:gd name="connsiteY1535" fmla="*/ 858330 h 1118257"/>
                    <a:gd name="connsiteX1536" fmla="*/ 277523 w 1516542"/>
                    <a:gd name="connsiteY1536" fmla="*/ 858118 h 1118257"/>
                    <a:gd name="connsiteX1537" fmla="*/ 276602 w 1516542"/>
                    <a:gd name="connsiteY1537" fmla="*/ 857507 h 1118257"/>
                    <a:gd name="connsiteX1538" fmla="*/ 275477 w 1516542"/>
                    <a:gd name="connsiteY1538" fmla="*/ 856993 h 1118257"/>
                    <a:gd name="connsiteX1539" fmla="*/ 274548 w 1516542"/>
                    <a:gd name="connsiteY1539" fmla="*/ 856162 h 1118257"/>
                    <a:gd name="connsiteX1540" fmla="*/ 273896 w 1516542"/>
                    <a:gd name="connsiteY1540" fmla="*/ 854948 h 1118257"/>
                    <a:gd name="connsiteX1541" fmla="*/ 269299 w 1516542"/>
                    <a:gd name="connsiteY1541" fmla="*/ 851965 h 1118257"/>
                    <a:gd name="connsiteX1542" fmla="*/ 267947 w 1516542"/>
                    <a:gd name="connsiteY1542" fmla="*/ 850343 h 1118257"/>
                    <a:gd name="connsiteX1543" fmla="*/ 265510 w 1516542"/>
                    <a:gd name="connsiteY1543" fmla="*/ 848297 h 1118257"/>
                    <a:gd name="connsiteX1544" fmla="*/ 263440 w 1516542"/>
                    <a:gd name="connsiteY1544" fmla="*/ 846904 h 1118257"/>
                    <a:gd name="connsiteX1545" fmla="*/ 262128 w 1516542"/>
                    <a:gd name="connsiteY1545" fmla="*/ 842927 h 1118257"/>
                    <a:gd name="connsiteX1546" fmla="*/ 260938 w 1516542"/>
                    <a:gd name="connsiteY1546" fmla="*/ 839088 h 1118257"/>
                    <a:gd name="connsiteX1547" fmla="*/ 260286 w 1516542"/>
                    <a:gd name="connsiteY1547" fmla="*/ 837051 h 1118257"/>
                    <a:gd name="connsiteX1548" fmla="*/ 258314 w 1516542"/>
                    <a:gd name="connsiteY1548" fmla="*/ 835967 h 1118257"/>
                    <a:gd name="connsiteX1549" fmla="*/ 256178 w 1516542"/>
                    <a:gd name="connsiteY1549" fmla="*/ 835152 h 1118257"/>
                    <a:gd name="connsiteX1550" fmla="*/ 252568 w 1516542"/>
                    <a:gd name="connsiteY1550" fmla="*/ 836814 h 1118257"/>
                    <a:gd name="connsiteX1551" fmla="*/ 249601 w 1516542"/>
                    <a:gd name="connsiteY1551" fmla="*/ 838094 h 1118257"/>
                    <a:gd name="connsiteX1552" fmla="*/ 247434 w 1516542"/>
                    <a:gd name="connsiteY1552" fmla="*/ 838216 h 1118257"/>
                    <a:gd name="connsiteX1553" fmla="*/ 244288 w 1516542"/>
                    <a:gd name="connsiteY1553" fmla="*/ 834288 h 1118257"/>
                    <a:gd name="connsiteX1554" fmla="*/ 241770 w 1516542"/>
                    <a:gd name="connsiteY1554" fmla="*/ 830042 h 1118257"/>
                    <a:gd name="connsiteX1555" fmla="*/ 238795 w 1516542"/>
                    <a:gd name="connsiteY1555" fmla="*/ 826342 h 1118257"/>
                    <a:gd name="connsiteX1556" fmla="*/ 236823 w 1516542"/>
                    <a:gd name="connsiteY1556" fmla="*/ 824492 h 1118257"/>
                    <a:gd name="connsiteX1557" fmla="*/ 233310 w 1516542"/>
                    <a:gd name="connsiteY1557" fmla="*/ 824313 h 1118257"/>
                    <a:gd name="connsiteX1558" fmla="*/ 229350 w 1516542"/>
                    <a:gd name="connsiteY1558" fmla="*/ 822218 h 1118257"/>
                    <a:gd name="connsiteX1559" fmla="*/ 224060 w 1516542"/>
                    <a:gd name="connsiteY1559" fmla="*/ 817483 h 1118257"/>
                    <a:gd name="connsiteX1560" fmla="*/ 220230 w 1516542"/>
                    <a:gd name="connsiteY1560" fmla="*/ 813946 h 1118257"/>
                    <a:gd name="connsiteX1561" fmla="*/ 213629 w 1516542"/>
                    <a:gd name="connsiteY1561" fmla="*/ 810018 h 1118257"/>
                    <a:gd name="connsiteX1562" fmla="*/ 212105 w 1516542"/>
                    <a:gd name="connsiteY1562" fmla="*/ 808372 h 1118257"/>
                    <a:gd name="connsiteX1563" fmla="*/ 211526 w 1516542"/>
                    <a:gd name="connsiteY1563" fmla="*/ 806962 h 1118257"/>
                    <a:gd name="connsiteX1564" fmla="*/ 210613 w 1516542"/>
                    <a:gd name="connsiteY1564" fmla="*/ 804199 h 1118257"/>
                    <a:gd name="connsiteX1565" fmla="*/ 209236 w 1516542"/>
                    <a:gd name="connsiteY1565" fmla="*/ 801575 h 1118257"/>
                    <a:gd name="connsiteX1566" fmla="*/ 204566 w 1516542"/>
                    <a:gd name="connsiteY1566" fmla="*/ 800426 h 1118257"/>
                    <a:gd name="connsiteX1567" fmla="*/ 199285 w 1516542"/>
                    <a:gd name="connsiteY1567" fmla="*/ 799619 h 1118257"/>
                    <a:gd name="connsiteX1568" fmla="*/ 193702 w 1516542"/>
                    <a:gd name="connsiteY1568" fmla="*/ 801225 h 1118257"/>
                    <a:gd name="connsiteX1569" fmla="*/ 189693 w 1516542"/>
                    <a:gd name="connsiteY1569" fmla="*/ 809081 h 1118257"/>
                    <a:gd name="connsiteX1570" fmla="*/ 187753 w 1516542"/>
                    <a:gd name="connsiteY1570" fmla="*/ 810784 h 1118257"/>
                    <a:gd name="connsiteX1571" fmla="*/ 186082 w 1516542"/>
                    <a:gd name="connsiteY1571" fmla="*/ 810890 h 1118257"/>
                    <a:gd name="connsiteX1572" fmla="*/ 184738 w 1516542"/>
                    <a:gd name="connsiteY1572" fmla="*/ 808885 h 1118257"/>
                    <a:gd name="connsiteX1573" fmla="*/ 183613 w 1516542"/>
                    <a:gd name="connsiteY1573" fmla="*/ 806791 h 1118257"/>
                    <a:gd name="connsiteX1574" fmla="*/ 183002 w 1516542"/>
                    <a:gd name="connsiteY1574" fmla="*/ 804460 h 1118257"/>
                    <a:gd name="connsiteX1575" fmla="*/ 180223 w 1516542"/>
                    <a:gd name="connsiteY1575" fmla="*/ 802740 h 1118257"/>
                    <a:gd name="connsiteX1576" fmla="*/ 177077 w 1516542"/>
                    <a:gd name="connsiteY1576" fmla="*/ 800491 h 1118257"/>
                    <a:gd name="connsiteX1577" fmla="*/ 175480 w 1516542"/>
                    <a:gd name="connsiteY1577" fmla="*/ 798747 h 1118257"/>
                    <a:gd name="connsiteX1578" fmla="*/ 173662 w 1516542"/>
                    <a:gd name="connsiteY1578" fmla="*/ 797647 h 1118257"/>
                    <a:gd name="connsiteX1579" fmla="*/ 171976 w 1516542"/>
                    <a:gd name="connsiteY1579" fmla="*/ 797174 h 1118257"/>
                    <a:gd name="connsiteX1580" fmla="*/ 168715 w 1516542"/>
                    <a:gd name="connsiteY1580" fmla="*/ 795707 h 1118257"/>
                    <a:gd name="connsiteX1581" fmla="*/ 165024 w 1516542"/>
                    <a:gd name="connsiteY1581" fmla="*/ 794028 h 1118257"/>
                    <a:gd name="connsiteX1582" fmla="*/ 163304 w 1516542"/>
                    <a:gd name="connsiteY1582" fmla="*/ 793800 h 1118257"/>
                    <a:gd name="connsiteX1583" fmla="*/ 163174 w 1516542"/>
                    <a:gd name="connsiteY1583" fmla="*/ 792618 h 1118257"/>
                    <a:gd name="connsiteX1584" fmla="*/ 163696 w 1516542"/>
                    <a:gd name="connsiteY1584" fmla="*/ 790092 h 1118257"/>
                    <a:gd name="connsiteX1585" fmla="*/ 163378 w 1516542"/>
                    <a:gd name="connsiteY1585" fmla="*/ 787663 h 1118257"/>
                    <a:gd name="connsiteX1586" fmla="*/ 162261 w 1516542"/>
                    <a:gd name="connsiteY1586" fmla="*/ 786677 h 1118257"/>
                    <a:gd name="connsiteX1587" fmla="*/ 160582 w 1516542"/>
                    <a:gd name="connsiteY1587" fmla="*/ 786930 h 1118257"/>
                    <a:gd name="connsiteX1588" fmla="*/ 156686 w 1516542"/>
                    <a:gd name="connsiteY1588" fmla="*/ 783491 h 1118257"/>
                    <a:gd name="connsiteX1589" fmla="*/ 156491 w 1516542"/>
                    <a:gd name="connsiteY1589" fmla="*/ 783311 h 1118257"/>
                    <a:gd name="connsiteX1590" fmla="*/ 155383 w 1516542"/>
                    <a:gd name="connsiteY1590" fmla="*/ 782334 h 1118257"/>
                    <a:gd name="connsiteX1591" fmla="*/ 153468 w 1516542"/>
                    <a:gd name="connsiteY1591" fmla="*/ 780932 h 1118257"/>
                    <a:gd name="connsiteX1592" fmla="*/ 150224 w 1516542"/>
                    <a:gd name="connsiteY1592" fmla="*/ 781021 h 1118257"/>
                    <a:gd name="connsiteX1593" fmla="*/ 147771 w 1516542"/>
                    <a:gd name="connsiteY1593" fmla="*/ 781551 h 1118257"/>
                    <a:gd name="connsiteX1594" fmla="*/ 145994 w 1516542"/>
                    <a:gd name="connsiteY1594" fmla="*/ 780109 h 1118257"/>
                    <a:gd name="connsiteX1595" fmla="*/ 143386 w 1516542"/>
                    <a:gd name="connsiteY1595" fmla="*/ 777835 h 1118257"/>
                    <a:gd name="connsiteX1596" fmla="*/ 142922 w 1516542"/>
                    <a:gd name="connsiteY1596" fmla="*/ 777322 h 1118257"/>
                    <a:gd name="connsiteX1597" fmla="*/ 142156 w 1516542"/>
                    <a:gd name="connsiteY1597" fmla="*/ 776498 h 1118257"/>
                    <a:gd name="connsiteX1598" fmla="*/ 139523 w 1516542"/>
                    <a:gd name="connsiteY1598" fmla="*/ 772114 h 1118257"/>
                    <a:gd name="connsiteX1599" fmla="*/ 136418 w 1516542"/>
                    <a:gd name="connsiteY1599" fmla="*/ 766906 h 1118257"/>
                    <a:gd name="connsiteX1600" fmla="*/ 134829 w 1516542"/>
                    <a:gd name="connsiteY1600" fmla="*/ 766148 h 1118257"/>
                    <a:gd name="connsiteX1601" fmla="*/ 134030 w 1516542"/>
                    <a:gd name="connsiteY1601" fmla="*/ 766539 h 1118257"/>
                    <a:gd name="connsiteX1602" fmla="*/ 133101 w 1516542"/>
                    <a:gd name="connsiteY1602" fmla="*/ 769302 h 1118257"/>
                    <a:gd name="connsiteX1603" fmla="*/ 132417 w 1516542"/>
                    <a:gd name="connsiteY1603" fmla="*/ 769025 h 1118257"/>
                    <a:gd name="connsiteX1604" fmla="*/ 131259 w 1516542"/>
                    <a:gd name="connsiteY1604" fmla="*/ 769212 h 1118257"/>
                    <a:gd name="connsiteX1605" fmla="*/ 129898 w 1516542"/>
                    <a:gd name="connsiteY1605" fmla="*/ 770174 h 1118257"/>
                    <a:gd name="connsiteX1606" fmla="*/ 128586 w 1516542"/>
                    <a:gd name="connsiteY1606" fmla="*/ 770427 h 1118257"/>
                    <a:gd name="connsiteX1607" fmla="*/ 127747 w 1516542"/>
                    <a:gd name="connsiteY1607" fmla="*/ 770150 h 1118257"/>
                    <a:gd name="connsiteX1608" fmla="*/ 127388 w 1516542"/>
                    <a:gd name="connsiteY1608" fmla="*/ 769449 h 1118257"/>
                    <a:gd name="connsiteX1609" fmla="*/ 127771 w 1516542"/>
                    <a:gd name="connsiteY1609" fmla="*/ 765814 h 1118257"/>
                    <a:gd name="connsiteX1610" fmla="*/ 126981 w 1516542"/>
                    <a:gd name="connsiteY1610" fmla="*/ 764673 h 1118257"/>
                    <a:gd name="connsiteX1611" fmla="*/ 127673 w 1516542"/>
                    <a:gd name="connsiteY1611" fmla="*/ 762139 h 1118257"/>
                    <a:gd name="connsiteX1612" fmla="*/ 128863 w 1516542"/>
                    <a:gd name="connsiteY1612" fmla="*/ 759946 h 1118257"/>
                    <a:gd name="connsiteX1613" fmla="*/ 127657 w 1516542"/>
                    <a:gd name="connsiteY1613" fmla="*/ 758324 h 1118257"/>
                    <a:gd name="connsiteX1614" fmla="*/ 126150 w 1516542"/>
                    <a:gd name="connsiteY1614" fmla="*/ 755985 h 1118257"/>
                    <a:gd name="connsiteX1615" fmla="*/ 125987 w 1516542"/>
                    <a:gd name="connsiteY1615" fmla="*/ 753883 h 1118257"/>
                    <a:gd name="connsiteX1616" fmla="*/ 126801 w 1516542"/>
                    <a:gd name="connsiteY1616" fmla="*/ 751226 h 1118257"/>
                    <a:gd name="connsiteX1617" fmla="*/ 127184 w 1516542"/>
                    <a:gd name="connsiteY1617" fmla="*/ 748944 h 1118257"/>
                    <a:gd name="connsiteX1618" fmla="*/ 126948 w 1516542"/>
                    <a:gd name="connsiteY1618" fmla="*/ 748113 h 1118257"/>
                    <a:gd name="connsiteX1619" fmla="*/ 125758 w 1516542"/>
                    <a:gd name="connsiteY1619" fmla="*/ 746841 h 1118257"/>
                    <a:gd name="connsiteX1620" fmla="*/ 121243 w 1516542"/>
                    <a:gd name="connsiteY1620" fmla="*/ 740591 h 1118257"/>
                    <a:gd name="connsiteX1621" fmla="*/ 121007 w 1516542"/>
                    <a:gd name="connsiteY1621" fmla="*/ 739922 h 1118257"/>
                    <a:gd name="connsiteX1622" fmla="*/ 120241 w 1516542"/>
                    <a:gd name="connsiteY1622" fmla="*/ 737844 h 1118257"/>
                    <a:gd name="connsiteX1623" fmla="*/ 119899 w 1516542"/>
                    <a:gd name="connsiteY1623" fmla="*/ 734698 h 1118257"/>
                    <a:gd name="connsiteX1624" fmla="*/ 119304 w 1516542"/>
                    <a:gd name="connsiteY1624" fmla="*/ 732449 h 1118257"/>
                    <a:gd name="connsiteX1625" fmla="*/ 118619 w 1516542"/>
                    <a:gd name="connsiteY1625" fmla="*/ 730713 h 1118257"/>
                    <a:gd name="connsiteX1626" fmla="*/ 118668 w 1516542"/>
                    <a:gd name="connsiteY1626" fmla="*/ 729906 h 1118257"/>
                    <a:gd name="connsiteX1627" fmla="*/ 119181 w 1516542"/>
                    <a:gd name="connsiteY1627" fmla="*/ 729491 h 1118257"/>
                    <a:gd name="connsiteX1628" fmla="*/ 122009 w 1516542"/>
                    <a:gd name="connsiteY1628" fmla="*/ 729067 h 1118257"/>
                    <a:gd name="connsiteX1629" fmla="*/ 124609 w 1516542"/>
                    <a:gd name="connsiteY1629" fmla="*/ 728798 h 1118257"/>
                    <a:gd name="connsiteX1630" fmla="*/ 126329 w 1516542"/>
                    <a:gd name="connsiteY1630" fmla="*/ 728211 h 1118257"/>
                    <a:gd name="connsiteX1631" fmla="*/ 127225 w 1516542"/>
                    <a:gd name="connsiteY1631" fmla="*/ 729466 h 1118257"/>
                    <a:gd name="connsiteX1632" fmla="*/ 127641 w 1516542"/>
                    <a:gd name="connsiteY1632" fmla="*/ 731390 h 1118257"/>
                    <a:gd name="connsiteX1633" fmla="*/ 128081 w 1516542"/>
                    <a:gd name="connsiteY1633" fmla="*/ 732400 h 1118257"/>
                    <a:gd name="connsiteX1634" fmla="*/ 129727 w 1516542"/>
                    <a:gd name="connsiteY1634" fmla="*/ 734226 h 1118257"/>
                    <a:gd name="connsiteX1635" fmla="*/ 131740 w 1516542"/>
                    <a:gd name="connsiteY1635" fmla="*/ 735970 h 1118257"/>
                    <a:gd name="connsiteX1636" fmla="*/ 133696 w 1516542"/>
                    <a:gd name="connsiteY1636" fmla="*/ 735742 h 1118257"/>
                    <a:gd name="connsiteX1637" fmla="*/ 135424 w 1516542"/>
                    <a:gd name="connsiteY1637" fmla="*/ 734992 h 1118257"/>
                    <a:gd name="connsiteX1638" fmla="*/ 136915 w 1516542"/>
                    <a:gd name="connsiteY1638" fmla="*/ 732147 h 1118257"/>
                    <a:gd name="connsiteX1639" fmla="*/ 137966 w 1516542"/>
                    <a:gd name="connsiteY1639" fmla="*/ 731447 h 1118257"/>
                    <a:gd name="connsiteX1640" fmla="*/ 139197 w 1516542"/>
                    <a:gd name="connsiteY1640" fmla="*/ 731324 h 1118257"/>
                    <a:gd name="connsiteX1641" fmla="*/ 139189 w 1516542"/>
                    <a:gd name="connsiteY1641" fmla="*/ 731112 h 1118257"/>
                    <a:gd name="connsiteX1642" fmla="*/ 139124 w 1516542"/>
                    <a:gd name="connsiteY1642" fmla="*/ 729287 h 1118257"/>
                    <a:gd name="connsiteX1643" fmla="*/ 139556 w 1516542"/>
                    <a:gd name="connsiteY1643" fmla="*/ 724756 h 1118257"/>
                    <a:gd name="connsiteX1644" fmla="*/ 139409 w 1516542"/>
                    <a:gd name="connsiteY1644" fmla="*/ 722955 h 1118257"/>
                    <a:gd name="connsiteX1645" fmla="*/ 138855 w 1516542"/>
                    <a:gd name="connsiteY1645" fmla="*/ 721316 h 1118257"/>
                    <a:gd name="connsiteX1646" fmla="*/ 138944 w 1516542"/>
                    <a:gd name="connsiteY1646" fmla="*/ 719499 h 1118257"/>
                    <a:gd name="connsiteX1647" fmla="*/ 138773 w 1516542"/>
                    <a:gd name="connsiteY1647" fmla="*/ 716859 h 1118257"/>
                    <a:gd name="connsiteX1648" fmla="*/ 137364 w 1516542"/>
                    <a:gd name="connsiteY1648" fmla="*/ 715057 h 1118257"/>
                    <a:gd name="connsiteX1649" fmla="*/ 136451 w 1516542"/>
                    <a:gd name="connsiteY1649" fmla="*/ 714357 h 1118257"/>
                    <a:gd name="connsiteX1650" fmla="*/ 136296 w 1516542"/>
                    <a:gd name="connsiteY1650" fmla="*/ 713387 h 1118257"/>
                    <a:gd name="connsiteX1651" fmla="*/ 136777 w 1516542"/>
                    <a:gd name="connsiteY1651" fmla="*/ 711578 h 1118257"/>
                    <a:gd name="connsiteX1652" fmla="*/ 137111 w 1516542"/>
                    <a:gd name="connsiteY1652" fmla="*/ 709499 h 1118257"/>
                    <a:gd name="connsiteX1653" fmla="*/ 136622 w 1516542"/>
                    <a:gd name="connsiteY1653" fmla="*/ 707967 h 1118257"/>
                    <a:gd name="connsiteX1654" fmla="*/ 136540 w 1516542"/>
                    <a:gd name="connsiteY1654" fmla="*/ 707731 h 1118257"/>
                    <a:gd name="connsiteX1655" fmla="*/ 135408 w 1516542"/>
                    <a:gd name="connsiteY1655" fmla="*/ 706940 h 1118257"/>
                    <a:gd name="connsiteX1656" fmla="*/ 134071 w 1516542"/>
                    <a:gd name="connsiteY1656" fmla="*/ 705604 h 1118257"/>
                    <a:gd name="connsiteX1657" fmla="*/ 132473 w 1516542"/>
                    <a:gd name="connsiteY1657" fmla="*/ 703803 h 1118257"/>
                    <a:gd name="connsiteX1658" fmla="*/ 131692 w 1516542"/>
                    <a:gd name="connsiteY1658" fmla="*/ 702491 h 1118257"/>
                    <a:gd name="connsiteX1659" fmla="*/ 130404 w 1516542"/>
                    <a:gd name="connsiteY1659" fmla="*/ 701048 h 1118257"/>
                    <a:gd name="connsiteX1660" fmla="*/ 128839 w 1516542"/>
                    <a:gd name="connsiteY1660" fmla="*/ 698807 h 1118257"/>
                    <a:gd name="connsiteX1661" fmla="*/ 128545 w 1516542"/>
                    <a:gd name="connsiteY1661" fmla="*/ 693884 h 1118257"/>
                    <a:gd name="connsiteX1662" fmla="*/ 128391 w 1516542"/>
                    <a:gd name="connsiteY1662" fmla="*/ 688709 h 1118257"/>
                    <a:gd name="connsiteX1663" fmla="*/ 127844 w 1516542"/>
                    <a:gd name="connsiteY1663" fmla="*/ 686126 h 1118257"/>
                    <a:gd name="connsiteX1664" fmla="*/ 126981 w 1516542"/>
                    <a:gd name="connsiteY1664" fmla="*/ 682010 h 1118257"/>
                    <a:gd name="connsiteX1665" fmla="*/ 127103 w 1516542"/>
                    <a:gd name="connsiteY1665" fmla="*/ 680633 h 1118257"/>
                    <a:gd name="connsiteX1666" fmla="*/ 127633 w 1516542"/>
                    <a:gd name="connsiteY1666" fmla="*/ 679574 h 1118257"/>
                    <a:gd name="connsiteX1667" fmla="*/ 132058 w 1516542"/>
                    <a:gd name="connsiteY1667" fmla="*/ 676257 h 1118257"/>
                    <a:gd name="connsiteX1668" fmla="*/ 133028 w 1516542"/>
                    <a:gd name="connsiteY1668" fmla="*/ 674977 h 1118257"/>
                    <a:gd name="connsiteX1669" fmla="*/ 133175 w 1516542"/>
                    <a:gd name="connsiteY1669" fmla="*/ 673991 h 1118257"/>
                    <a:gd name="connsiteX1670" fmla="*/ 133012 w 1516542"/>
                    <a:gd name="connsiteY1670" fmla="*/ 672532 h 1118257"/>
                    <a:gd name="connsiteX1671" fmla="*/ 132172 w 1516542"/>
                    <a:gd name="connsiteY1671" fmla="*/ 670918 h 1118257"/>
                    <a:gd name="connsiteX1672" fmla="*/ 130396 w 1516542"/>
                    <a:gd name="connsiteY1672" fmla="*/ 669655 h 1118257"/>
                    <a:gd name="connsiteX1673" fmla="*/ 127877 w 1516542"/>
                    <a:gd name="connsiteY1673" fmla="*/ 667602 h 1118257"/>
                    <a:gd name="connsiteX1674" fmla="*/ 125595 w 1516542"/>
                    <a:gd name="connsiteY1674" fmla="*/ 665466 h 1118257"/>
                    <a:gd name="connsiteX1675" fmla="*/ 121741 w 1516542"/>
                    <a:gd name="connsiteY1675" fmla="*/ 664154 h 1118257"/>
                    <a:gd name="connsiteX1676" fmla="*/ 117062 w 1516542"/>
                    <a:gd name="connsiteY1676" fmla="*/ 662565 h 1118257"/>
                    <a:gd name="connsiteX1677" fmla="*/ 115946 w 1516542"/>
                    <a:gd name="connsiteY1677" fmla="*/ 661009 h 1118257"/>
                    <a:gd name="connsiteX1678" fmla="*/ 114797 w 1516542"/>
                    <a:gd name="connsiteY1678" fmla="*/ 657194 h 1118257"/>
                    <a:gd name="connsiteX1679" fmla="*/ 112890 w 1516542"/>
                    <a:gd name="connsiteY1679" fmla="*/ 651384 h 1118257"/>
                    <a:gd name="connsiteX1680" fmla="*/ 110828 w 1516542"/>
                    <a:gd name="connsiteY1680" fmla="*/ 645174 h 1118257"/>
                    <a:gd name="connsiteX1681" fmla="*/ 109263 w 1516542"/>
                    <a:gd name="connsiteY1681" fmla="*/ 641359 h 1118257"/>
                    <a:gd name="connsiteX1682" fmla="*/ 109174 w 1516542"/>
                    <a:gd name="connsiteY1682" fmla="*/ 639518 h 1118257"/>
                    <a:gd name="connsiteX1683" fmla="*/ 110127 w 1516542"/>
                    <a:gd name="connsiteY1683" fmla="*/ 634815 h 1118257"/>
                    <a:gd name="connsiteX1684" fmla="*/ 110005 w 1516542"/>
                    <a:gd name="connsiteY1684" fmla="*/ 633805 h 1118257"/>
                    <a:gd name="connsiteX1685" fmla="*/ 109182 w 1516542"/>
                    <a:gd name="connsiteY1685" fmla="*/ 633462 h 1118257"/>
                    <a:gd name="connsiteX1686" fmla="*/ 107609 w 1516542"/>
                    <a:gd name="connsiteY1686" fmla="*/ 634082 h 1118257"/>
                    <a:gd name="connsiteX1687" fmla="*/ 106345 w 1516542"/>
                    <a:gd name="connsiteY1687" fmla="*/ 634823 h 1118257"/>
                    <a:gd name="connsiteX1688" fmla="*/ 105262 w 1516542"/>
                    <a:gd name="connsiteY1688" fmla="*/ 634432 h 1118257"/>
                    <a:gd name="connsiteX1689" fmla="*/ 104259 w 1516542"/>
                    <a:gd name="connsiteY1689" fmla="*/ 633650 h 1118257"/>
                    <a:gd name="connsiteX1690" fmla="*/ 104047 w 1516542"/>
                    <a:gd name="connsiteY1690" fmla="*/ 633381 h 1118257"/>
                    <a:gd name="connsiteX1691" fmla="*/ 103974 w 1516542"/>
                    <a:gd name="connsiteY1691" fmla="*/ 633283 h 1118257"/>
                    <a:gd name="connsiteX1692" fmla="*/ 102108 w 1516542"/>
                    <a:gd name="connsiteY1692" fmla="*/ 633788 h 1118257"/>
                    <a:gd name="connsiteX1693" fmla="*/ 98351 w 1516542"/>
                    <a:gd name="connsiteY1693" fmla="*/ 634082 h 1118257"/>
                    <a:gd name="connsiteX1694" fmla="*/ 97055 w 1516542"/>
                    <a:gd name="connsiteY1694" fmla="*/ 634025 h 1118257"/>
                    <a:gd name="connsiteX1695" fmla="*/ 95230 w 1516542"/>
                    <a:gd name="connsiteY1695" fmla="*/ 633943 h 1118257"/>
                    <a:gd name="connsiteX1696" fmla="*/ 91464 w 1516542"/>
                    <a:gd name="connsiteY1696" fmla="*/ 632876 h 1118257"/>
                    <a:gd name="connsiteX1697" fmla="*/ 86379 w 1516542"/>
                    <a:gd name="connsiteY1697" fmla="*/ 631425 h 1118257"/>
                    <a:gd name="connsiteX1698" fmla="*/ 81147 w 1516542"/>
                    <a:gd name="connsiteY1698" fmla="*/ 629404 h 1118257"/>
                    <a:gd name="connsiteX1699" fmla="*/ 78376 w 1516542"/>
                    <a:gd name="connsiteY1699" fmla="*/ 627798 h 1118257"/>
                    <a:gd name="connsiteX1700" fmla="*/ 77398 w 1516542"/>
                    <a:gd name="connsiteY1700" fmla="*/ 627244 h 1118257"/>
                    <a:gd name="connsiteX1701" fmla="*/ 75018 w 1516542"/>
                    <a:gd name="connsiteY1701" fmla="*/ 625565 h 1118257"/>
                    <a:gd name="connsiteX1702" fmla="*/ 73323 w 1516542"/>
                    <a:gd name="connsiteY1702" fmla="*/ 624123 h 1118257"/>
                    <a:gd name="connsiteX1703" fmla="*/ 73021 w 1516542"/>
                    <a:gd name="connsiteY1703" fmla="*/ 620350 h 1118257"/>
                    <a:gd name="connsiteX1704" fmla="*/ 71799 w 1516542"/>
                    <a:gd name="connsiteY1704" fmla="*/ 620643 h 1118257"/>
                    <a:gd name="connsiteX1705" fmla="*/ 68922 w 1516542"/>
                    <a:gd name="connsiteY1705" fmla="*/ 622004 h 1118257"/>
                    <a:gd name="connsiteX1706" fmla="*/ 65589 w 1516542"/>
                    <a:gd name="connsiteY1706" fmla="*/ 622876 h 1118257"/>
                    <a:gd name="connsiteX1707" fmla="*/ 63755 w 1516542"/>
                    <a:gd name="connsiteY1707" fmla="*/ 622884 h 1118257"/>
                    <a:gd name="connsiteX1708" fmla="*/ 63022 w 1516542"/>
                    <a:gd name="connsiteY1708" fmla="*/ 622273 h 1118257"/>
                    <a:gd name="connsiteX1709" fmla="*/ 61905 w 1516542"/>
                    <a:gd name="connsiteY1709" fmla="*/ 618296 h 1118257"/>
                    <a:gd name="connsiteX1710" fmla="*/ 61107 w 1516542"/>
                    <a:gd name="connsiteY1710" fmla="*/ 617179 h 1118257"/>
                    <a:gd name="connsiteX1711" fmla="*/ 59607 w 1516542"/>
                    <a:gd name="connsiteY1711" fmla="*/ 616739 h 1118257"/>
                    <a:gd name="connsiteX1712" fmla="*/ 57985 w 1516542"/>
                    <a:gd name="connsiteY1712" fmla="*/ 616038 h 1118257"/>
                    <a:gd name="connsiteX1713" fmla="*/ 57170 w 1516542"/>
                    <a:gd name="connsiteY1713" fmla="*/ 614995 h 1118257"/>
                    <a:gd name="connsiteX1714" fmla="*/ 56991 w 1516542"/>
                    <a:gd name="connsiteY1714" fmla="*/ 613691 h 1118257"/>
                    <a:gd name="connsiteX1715" fmla="*/ 57716 w 1516542"/>
                    <a:gd name="connsiteY1715" fmla="*/ 612183 h 1118257"/>
                    <a:gd name="connsiteX1716" fmla="*/ 58572 w 1516542"/>
                    <a:gd name="connsiteY1716" fmla="*/ 611018 h 1118257"/>
                    <a:gd name="connsiteX1717" fmla="*/ 58718 w 1516542"/>
                    <a:gd name="connsiteY1717" fmla="*/ 603944 h 1118257"/>
                    <a:gd name="connsiteX1718" fmla="*/ 58156 w 1516542"/>
                    <a:gd name="connsiteY1718" fmla="*/ 601434 h 1118257"/>
                    <a:gd name="connsiteX1719" fmla="*/ 57692 w 1516542"/>
                    <a:gd name="connsiteY1719" fmla="*/ 599323 h 1118257"/>
                    <a:gd name="connsiteX1720" fmla="*/ 56494 w 1516542"/>
                    <a:gd name="connsiteY1720" fmla="*/ 596699 h 1118257"/>
                    <a:gd name="connsiteX1721" fmla="*/ 55385 w 1516542"/>
                    <a:gd name="connsiteY1721" fmla="*/ 595077 h 1118257"/>
                    <a:gd name="connsiteX1722" fmla="*/ 53699 w 1516542"/>
                    <a:gd name="connsiteY1722" fmla="*/ 593569 h 1118257"/>
                    <a:gd name="connsiteX1723" fmla="*/ 51098 w 1516542"/>
                    <a:gd name="connsiteY1723" fmla="*/ 591997 h 1118257"/>
                    <a:gd name="connsiteX1724" fmla="*/ 48784 w 1516542"/>
                    <a:gd name="connsiteY1724" fmla="*/ 591434 h 1118257"/>
                    <a:gd name="connsiteX1725" fmla="*/ 45964 w 1516542"/>
                    <a:gd name="connsiteY1725" fmla="*/ 592567 h 1118257"/>
                    <a:gd name="connsiteX1726" fmla="*/ 45068 w 1516542"/>
                    <a:gd name="connsiteY1726" fmla="*/ 592135 h 1118257"/>
                    <a:gd name="connsiteX1727" fmla="*/ 43894 w 1516542"/>
                    <a:gd name="connsiteY1727" fmla="*/ 587294 h 1118257"/>
                    <a:gd name="connsiteX1728" fmla="*/ 43144 w 1516542"/>
                    <a:gd name="connsiteY1728" fmla="*/ 586300 h 1118257"/>
                    <a:gd name="connsiteX1729" fmla="*/ 38149 w 1516542"/>
                    <a:gd name="connsiteY1729" fmla="*/ 584319 h 1118257"/>
                    <a:gd name="connsiteX1730" fmla="*/ 35883 w 1516542"/>
                    <a:gd name="connsiteY1730" fmla="*/ 583847 h 1118257"/>
                    <a:gd name="connsiteX1731" fmla="*/ 33283 w 1516542"/>
                    <a:gd name="connsiteY1731" fmla="*/ 584474 h 1118257"/>
                    <a:gd name="connsiteX1732" fmla="*/ 31800 w 1516542"/>
                    <a:gd name="connsiteY1732" fmla="*/ 585004 h 1118257"/>
                    <a:gd name="connsiteX1733" fmla="*/ 30610 w 1516542"/>
                    <a:gd name="connsiteY1733" fmla="*/ 584116 h 1118257"/>
                    <a:gd name="connsiteX1734" fmla="*/ 28744 w 1516542"/>
                    <a:gd name="connsiteY1734" fmla="*/ 582991 h 1118257"/>
                    <a:gd name="connsiteX1735" fmla="*/ 26902 w 1516542"/>
                    <a:gd name="connsiteY1735" fmla="*/ 582233 h 1118257"/>
                    <a:gd name="connsiteX1736" fmla="*/ 24645 w 1516542"/>
                    <a:gd name="connsiteY1736" fmla="*/ 582201 h 1118257"/>
                    <a:gd name="connsiteX1737" fmla="*/ 23161 w 1516542"/>
                    <a:gd name="connsiteY1737" fmla="*/ 582681 h 1118257"/>
                    <a:gd name="connsiteX1738" fmla="*/ 22803 w 1516542"/>
                    <a:gd name="connsiteY1738" fmla="*/ 582404 h 1118257"/>
                    <a:gd name="connsiteX1739" fmla="*/ 22085 w 1516542"/>
                    <a:gd name="connsiteY1739" fmla="*/ 581516 h 1118257"/>
                    <a:gd name="connsiteX1740" fmla="*/ 19062 w 1516542"/>
                    <a:gd name="connsiteY1740" fmla="*/ 578843 h 1118257"/>
                    <a:gd name="connsiteX1741" fmla="*/ 18981 w 1516542"/>
                    <a:gd name="connsiteY1741" fmla="*/ 578175 h 1118257"/>
                    <a:gd name="connsiteX1742" fmla="*/ 23610 w 1516542"/>
                    <a:gd name="connsiteY1742" fmla="*/ 575542 h 1118257"/>
                    <a:gd name="connsiteX1743" fmla="*/ 26331 w 1516542"/>
                    <a:gd name="connsiteY1743" fmla="*/ 574532 h 1118257"/>
                    <a:gd name="connsiteX1744" fmla="*/ 27774 w 1516542"/>
                    <a:gd name="connsiteY1744" fmla="*/ 573741 h 1118257"/>
                    <a:gd name="connsiteX1745" fmla="*/ 28075 w 1516542"/>
                    <a:gd name="connsiteY1745" fmla="*/ 573904 h 1118257"/>
                    <a:gd name="connsiteX1746" fmla="*/ 28785 w 1516542"/>
                    <a:gd name="connsiteY1746" fmla="*/ 575118 h 1118257"/>
                    <a:gd name="connsiteX1747" fmla="*/ 30577 w 1516542"/>
                    <a:gd name="connsiteY1747" fmla="*/ 575925 h 1118257"/>
                    <a:gd name="connsiteX1748" fmla="*/ 31849 w 1516542"/>
                    <a:gd name="connsiteY1748" fmla="*/ 575705 h 1118257"/>
                    <a:gd name="connsiteX1749" fmla="*/ 32517 w 1516542"/>
                    <a:gd name="connsiteY1749" fmla="*/ 575094 h 1118257"/>
                    <a:gd name="connsiteX1750" fmla="*/ 34750 w 1516542"/>
                    <a:gd name="connsiteY1750" fmla="*/ 573635 h 1118257"/>
                    <a:gd name="connsiteX1751" fmla="*/ 36503 w 1516542"/>
                    <a:gd name="connsiteY1751" fmla="*/ 571956 h 1118257"/>
                    <a:gd name="connsiteX1752" fmla="*/ 37497 w 1516542"/>
                    <a:gd name="connsiteY1752" fmla="*/ 570571 h 1118257"/>
                    <a:gd name="connsiteX1753" fmla="*/ 36959 w 1516542"/>
                    <a:gd name="connsiteY1753" fmla="*/ 568379 h 1118257"/>
                    <a:gd name="connsiteX1754" fmla="*/ 34213 w 1516542"/>
                    <a:gd name="connsiteY1754" fmla="*/ 565738 h 1118257"/>
                    <a:gd name="connsiteX1755" fmla="*/ 32452 w 1516542"/>
                    <a:gd name="connsiteY1755" fmla="*/ 564320 h 1118257"/>
                    <a:gd name="connsiteX1756" fmla="*/ 31922 w 1516542"/>
                    <a:gd name="connsiteY1756" fmla="*/ 563367 h 1118257"/>
                    <a:gd name="connsiteX1757" fmla="*/ 32371 w 1516542"/>
                    <a:gd name="connsiteY1757" fmla="*/ 560498 h 1118257"/>
                    <a:gd name="connsiteX1758" fmla="*/ 33014 w 1516542"/>
                    <a:gd name="connsiteY1758" fmla="*/ 557645 h 1118257"/>
                    <a:gd name="connsiteX1759" fmla="*/ 32590 w 1516542"/>
                    <a:gd name="connsiteY1759" fmla="*/ 556553 h 1118257"/>
                    <a:gd name="connsiteX1760" fmla="*/ 32069 w 1516542"/>
                    <a:gd name="connsiteY1760" fmla="*/ 555632 h 1118257"/>
                    <a:gd name="connsiteX1761" fmla="*/ 31832 w 1516542"/>
                    <a:gd name="connsiteY1761" fmla="*/ 552519 h 1118257"/>
                    <a:gd name="connsiteX1762" fmla="*/ 30635 w 1516542"/>
                    <a:gd name="connsiteY1762" fmla="*/ 548754 h 1118257"/>
                    <a:gd name="connsiteX1763" fmla="*/ 29322 w 1516542"/>
                    <a:gd name="connsiteY1763" fmla="*/ 546562 h 1118257"/>
                    <a:gd name="connsiteX1764" fmla="*/ 28964 w 1516542"/>
                    <a:gd name="connsiteY1764" fmla="*/ 543603 h 1118257"/>
                    <a:gd name="connsiteX1765" fmla="*/ 28891 w 1516542"/>
                    <a:gd name="connsiteY1765" fmla="*/ 540824 h 1118257"/>
                    <a:gd name="connsiteX1766" fmla="*/ 30480 w 1516542"/>
                    <a:gd name="connsiteY1766" fmla="*/ 536481 h 1118257"/>
                    <a:gd name="connsiteX1767" fmla="*/ 29893 w 1516542"/>
                    <a:gd name="connsiteY1767" fmla="*/ 534590 h 1118257"/>
                    <a:gd name="connsiteX1768" fmla="*/ 28214 w 1516542"/>
                    <a:gd name="connsiteY1768" fmla="*/ 532927 h 1118257"/>
                    <a:gd name="connsiteX1769" fmla="*/ 22493 w 1516542"/>
                    <a:gd name="connsiteY1769" fmla="*/ 529904 h 1118257"/>
                    <a:gd name="connsiteX1770" fmla="*/ 16625 w 1516542"/>
                    <a:gd name="connsiteY1770" fmla="*/ 527891 h 1118257"/>
                    <a:gd name="connsiteX1771" fmla="*/ 14384 w 1516542"/>
                    <a:gd name="connsiteY1771" fmla="*/ 527964 h 1118257"/>
                    <a:gd name="connsiteX1772" fmla="*/ 12999 w 1516542"/>
                    <a:gd name="connsiteY1772" fmla="*/ 527850 h 1118257"/>
                    <a:gd name="connsiteX1773" fmla="*/ 11369 w 1516542"/>
                    <a:gd name="connsiteY1773" fmla="*/ 529618 h 1118257"/>
                    <a:gd name="connsiteX1774" fmla="*/ 10374 w 1516542"/>
                    <a:gd name="connsiteY1774" fmla="*/ 531917 h 1118257"/>
                    <a:gd name="connsiteX1775" fmla="*/ 8997 w 1516542"/>
                    <a:gd name="connsiteY1775" fmla="*/ 532137 h 1118257"/>
                    <a:gd name="connsiteX1776" fmla="*/ 6487 w 1516542"/>
                    <a:gd name="connsiteY1776" fmla="*/ 531151 h 1118257"/>
                    <a:gd name="connsiteX1777" fmla="*/ 4817 w 1516542"/>
                    <a:gd name="connsiteY1777" fmla="*/ 529667 h 1118257"/>
                    <a:gd name="connsiteX1778" fmla="*/ 3651 w 1516542"/>
                    <a:gd name="connsiteY1778" fmla="*/ 526579 h 1118257"/>
                    <a:gd name="connsiteX1779" fmla="*/ 2713 w 1516542"/>
                    <a:gd name="connsiteY1779" fmla="*/ 522593 h 1118257"/>
                    <a:gd name="connsiteX1780" fmla="*/ 2209 w 1516542"/>
                    <a:gd name="connsiteY1780" fmla="*/ 521346 h 1118257"/>
                    <a:gd name="connsiteX1781" fmla="*/ 2469 w 1516542"/>
                    <a:gd name="connsiteY1781" fmla="*/ 520279 h 1118257"/>
                    <a:gd name="connsiteX1782" fmla="*/ 3048 w 1516542"/>
                    <a:gd name="connsiteY1782" fmla="*/ 519309 h 1118257"/>
                    <a:gd name="connsiteX1783" fmla="*/ 4645 w 1516542"/>
                    <a:gd name="connsiteY1783" fmla="*/ 518421 h 1118257"/>
                    <a:gd name="connsiteX1784" fmla="*/ 4914 w 1516542"/>
                    <a:gd name="connsiteY1784" fmla="*/ 517492 h 1118257"/>
                    <a:gd name="connsiteX1785" fmla="*/ 4670 w 1516542"/>
                    <a:gd name="connsiteY1785" fmla="*/ 516367 h 1118257"/>
                    <a:gd name="connsiteX1786" fmla="*/ 3382 w 1516542"/>
                    <a:gd name="connsiteY1786" fmla="*/ 514941 h 1118257"/>
                    <a:gd name="connsiteX1787" fmla="*/ 2062 w 1516542"/>
                    <a:gd name="connsiteY1787" fmla="*/ 512920 h 1118257"/>
                    <a:gd name="connsiteX1788" fmla="*/ 0 w 1516542"/>
                    <a:gd name="connsiteY1788" fmla="*/ 508714 h 1118257"/>
                    <a:gd name="connsiteX1789" fmla="*/ 391 w 1516542"/>
                    <a:gd name="connsiteY1789" fmla="*/ 506400 h 1118257"/>
                    <a:gd name="connsiteX1790" fmla="*/ 725 w 1516542"/>
                    <a:gd name="connsiteY1790" fmla="*/ 503058 h 1118257"/>
                    <a:gd name="connsiteX1791" fmla="*/ 611 w 1516542"/>
                    <a:gd name="connsiteY1791" fmla="*/ 501298 h 1118257"/>
                    <a:gd name="connsiteX1792" fmla="*/ 2689 w 1516542"/>
                    <a:gd name="connsiteY1792" fmla="*/ 500842 h 1118257"/>
                    <a:gd name="connsiteX1793" fmla="*/ 5354 w 1516542"/>
                    <a:gd name="connsiteY1793" fmla="*/ 499945 h 1118257"/>
                    <a:gd name="connsiteX1794" fmla="*/ 6585 w 1516542"/>
                    <a:gd name="connsiteY1794" fmla="*/ 498446 h 1118257"/>
                    <a:gd name="connsiteX1795" fmla="*/ 7449 w 1516542"/>
                    <a:gd name="connsiteY1795" fmla="*/ 496914 h 1118257"/>
                    <a:gd name="connsiteX1796" fmla="*/ 7620 w 1516542"/>
                    <a:gd name="connsiteY1796" fmla="*/ 495968 h 1118257"/>
                    <a:gd name="connsiteX1797" fmla="*/ 6821 w 1516542"/>
                    <a:gd name="connsiteY1797" fmla="*/ 492317 h 1118257"/>
                    <a:gd name="connsiteX1798" fmla="*/ 5770 w 1516542"/>
                    <a:gd name="connsiteY1798" fmla="*/ 490679 h 1118257"/>
                    <a:gd name="connsiteX1799" fmla="*/ 5656 w 1516542"/>
                    <a:gd name="connsiteY1799" fmla="*/ 489416 h 1118257"/>
                    <a:gd name="connsiteX1800" fmla="*/ 6177 w 1516542"/>
                    <a:gd name="connsiteY1800" fmla="*/ 488454 h 1118257"/>
                    <a:gd name="connsiteX1801" fmla="*/ 6878 w 1516542"/>
                    <a:gd name="connsiteY1801" fmla="*/ 486783 h 1118257"/>
                    <a:gd name="connsiteX1802" fmla="*/ 8223 w 1516542"/>
                    <a:gd name="connsiteY1802" fmla="*/ 483361 h 1118257"/>
                    <a:gd name="connsiteX1803" fmla="*/ 9527 w 1516542"/>
                    <a:gd name="connsiteY1803" fmla="*/ 481185 h 1118257"/>
                    <a:gd name="connsiteX1804" fmla="*/ 10252 w 1516542"/>
                    <a:gd name="connsiteY1804" fmla="*/ 480630 h 1118257"/>
                    <a:gd name="connsiteX1805" fmla="*/ 11858 w 1516542"/>
                    <a:gd name="connsiteY1805" fmla="*/ 480117 h 1118257"/>
                    <a:gd name="connsiteX1806" fmla="*/ 15761 w 1516542"/>
                    <a:gd name="connsiteY1806" fmla="*/ 479522 h 1118257"/>
                    <a:gd name="connsiteX1807" fmla="*/ 19958 w 1516542"/>
                    <a:gd name="connsiteY1807" fmla="*/ 477990 h 1118257"/>
                    <a:gd name="connsiteX1808" fmla="*/ 24954 w 1516542"/>
                    <a:gd name="connsiteY1808" fmla="*/ 473410 h 1118257"/>
                    <a:gd name="connsiteX1809" fmla="*/ 26608 w 1516542"/>
                    <a:gd name="connsiteY1809" fmla="*/ 472106 h 1118257"/>
                    <a:gd name="connsiteX1810" fmla="*/ 28785 w 1516542"/>
                    <a:gd name="connsiteY1810" fmla="*/ 471446 h 1118257"/>
                    <a:gd name="connsiteX1811" fmla="*/ 30333 w 1516542"/>
                    <a:gd name="connsiteY1811" fmla="*/ 471495 h 1118257"/>
                    <a:gd name="connsiteX1812" fmla="*/ 30618 w 1516542"/>
                    <a:gd name="connsiteY1812" fmla="*/ 470932 h 1118257"/>
                    <a:gd name="connsiteX1813" fmla="*/ 29616 w 1516542"/>
                    <a:gd name="connsiteY1813" fmla="*/ 468096 h 1118257"/>
                    <a:gd name="connsiteX1814" fmla="*/ 29869 w 1516542"/>
                    <a:gd name="connsiteY1814" fmla="*/ 467061 h 1118257"/>
                    <a:gd name="connsiteX1815" fmla="*/ 30456 w 1516542"/>
                    <a:gd name="connsiteY1815" fmla="*/ 466254 h 1118257"/>
                    <a:gd name="connsiteX1816" fmla="*/ 31213 w 1516542"/>
                    <a:gd name="connsiteY1816" fmla="*/ 465879 h 1118257"/>
                    <a:gd name="connsiteX1817" fmla="*/ 34652 w 1516542"/>
                    <a:gd name="connsiteY1817" fmla="*/ 467379 h 1118257"/>
                    <a:gd name="connsiteX1818" fmla="*/ 37310 w 1516542"/>
                    <a:gd name="connsiteY1818" fmla="*/ 467224 h 1118257"/>
                    <a:gd name="connsiteX1819" fmla="*/ 40528 w 1516542"/>
                    <a:gd name="connsiteY1819" fmla="*/ 466336 h 1118257"/>
                    <a:gd name="connsiteX1820" fmla="*/ 47472 w 1516542"/>
                    <a:gd name="connsiteY1820" fmla="*/ 461324 h 1118257"/>
                    <a:gd name="connsiteX1821" fmla="*/ 48319 w 1516542"/>
                    <a:gd name="connsiteY1821" fmla="*/ 461405 h 1118257"/>
                    <a:gd name="connsiteX1822" fmla="*/ 49020 w 1516542"/>
                    <a:gd name="connsiteY1822" fmla="*/ 462082 h 1118257"/>
                    <a:gd name="connsiteX1823" fmla="*/ 49860 w 1516542"/>
                    <a:gd name="connsiteY1823" fmla="*/ 465097 h 1118257"/>
                    <a:gd name="connsiteX1824" fmla="*/ 50813 w 1516542"/>
                    <a:gd name="connsiteY1824" fmla="*/ 471470 h 1118257"/>
                    <a:gd name="connsiteX1825" fmla="*/ 51335 w 1516542"/>
                    <a:gd name="connsiteY1825" fmla="*/ 472261 h 1118257"/>
                    <a:gd name="connsiteX1826" fmla="*/ 56176 w 1516542"/>
                    <a:gd name="connsiteY1826" fmla="*/ 472358 h 1118257"/>
                    <a:gd name="connsiteX1827" fmla="*/ 59452 w 1516542"/>
                    <a:gd name="connsiteY1827" fmla="*/ 470036 h 1118257"/>
                    <a:gd name="connsiteX1828" fmla="*/ 60886 w 1516542"/>
                    <a:gd name="connsiteY1828" fmla="*/ 469490 h 1118257"/>
                    <a:gd name="connsiteX1829" fmla="*/ 63234 w 1516542"/>
                    <a:gd name="connsiteY1829" fmla="*/ 469865 h 1118257"/>
                    <a:gd name="connsiteX1830" fmla="*/ 64464 w 1516542"/>
                    <a:gd name="connsiteY1830" fmla="*/ 468781 h 1118257"/>
                    <a:gd name="connsiteX1831" fmla="*/ 65752 w 1516542"/>
                    <a:gd name="connsiteY1831" fmla="*/ 468023 h 1118257"/>
                    <a:gd name="connsiteX1832" fmla="*/ 67243 w 1516542"/>
                    <a:gd name="connsiteY1832" fmla="*/ 470688 h 1118257"/>
                    <a:gd name="connsiteX1833" fmla="*/ 69183 w 1516542"/>
                    <a:gd name="connsiteY1833" fmla="*/ 469408 h 1118257"/>
                    <a:gd name="connsiteX1834" fmla="*/ 71261 w 1516542"/>
                    <a:gd name="connsiteY1834" fmla="*/ 467379 h 1118257"/>
                    <a:gd name="connsiteX1835" fmla="*/ 72272 w 1516542"/>
                    <a:gd name="connsiteY1835" fmla="*/ 465284 h 1118257"/>
                    <a:gd name="connsiteX1836" fmla="*/ 73681 w 1516542"/>
                    <a:gd name="connsiteY1836" fmla="*/ 463019 h 1118257"/>
                    <a:gd name="connsiteX1837" fmla="*/ 74774 w 1516542"/>
                    <a:gd name="connsiteY1837" fmla="*/ 460142 h 1118257"/>
                    <a:gd name="connsiteX1838" fmla="*/ 75214 w 1516542"/>
                    <a:gd name="connsiteY1838" fmla="*/ 457420 h 1118257"/>
                    <a:gd name="connsiteX1839" fmla="*/ 75743 w 1516542"/>
                    <a:gd name="connsiteY1839" fmla="*/ 456141 h 1118257"/>
                    <a:gd name="connsiteX1840" fmla="*/ 76917 w 1516542"/>
                    <a:gd name="connsiteY1840" fmla="*/ 454828 h 1118257"/>
                    <a:gd name="connsiteX1841" fmla="*/ 79786 w 1516542"/>
                    <a:gd name="connsiteY1841" fmla="*/ 449229 h 1118257"/>
                    <a:gd name="connsiteX1842" fmla="*/ 81855 w 1516542"/>
                    <a:gd name="connsiteY1842" fmla="*/ 447803 h 1118257"/>
                    <a:gd name="connsiteX1843" fmla="*/ 83820 w 1516542"/>
                    <a:gd name="connsiteY1843" fmla="*/ 447298 h 1118257"/>
                    <a:gd name="connsiteX1844" fmla="*/ 88661 w 1516542"/>
                    <a:gd name="connsiteY1844" fmla="*/ 448268 h 1118257"/>
                    <a:gd name="connsiteX1845" fmla="*/ 91187 w 1516542"/>
                    <a:gd name="connsiteY1845" fmla="*/ 448137 h 1118257"/>
                    <a:gd name="connsiteX1846" fmla="*/ 98579 w 1516542"/>
                    <a:gd name="connsiteY1846" fmla="*/ 448871 h 1118257"/>
                    <a:gd name="connsiteX1847" fmla="*/ 101994 w 1516542"/>
                    <a:gd name="connsiteY1847" fmla="*/ 447803 h 1118257"/>
                    <a:gd name="connsiteX1848" fmla="*/ 104373 w 1516542"/>
                    <a:gd name="connsiteY1848" fmla="*/ 446736 h 1118257"/>
                    <a:gd name="connsiteX1849" fmla="*/ 107870 w 1516542"/>
                    <a:gd name="connsiteY1849" fmla="*/ 446899 h 1118257"/>
                    <a:gd name="connsiteX1850" fmla="*/ 112018 w 1516542"/>
                    <a:gd name="connsiteY1850" fmla="*/ 446051 h 1118257"/>
                    <a:gd name="connsiteX1851" fmla="*/ 117543 w 1516542"/>
                    <a:gd name="connsiteY1851" fmla="*/ 439018 h 1118257"/>
                    <a:gd name="connsiteX1852" fmla="*/ 117601 w 1516542"/>
                    <a:gd name="connsiteY1852" fmla="*/ 437518 h 1118257"/>
                    <a:gd name="connsiteX1853" fmla="*/ 117934 w 1516542"/>
                    <a:gd name="connsiteY1853" fmla="*/ 435937 h 1118257"/>
                    <a:gd name="connsiteX1854" fmla="*/ 119931 w 1516542"/>
                    <a:gd name="connsiteY1854" fmla="*/ 434364 h 1118257"/>
                    <a:gd name="connsiteX1855" fmla="*/ 122425 w 1516542"/>
                    <a:gd name="connsiteY1855" fmla="*/ 432922 h 1118257"/>
                    <a:gd name="connsiteX1856" fmla="*/ 127355 w 1516542"/>
                    <a:gd name="connsiteY1856" fmla="*/ 429483 h 1118257"/>
                    <a:gd name="connsiteX1857" fmla="*/ 137437 w 1516542"/>
                    <a:gd name="connsiteY1857" fmla="*/ 424031 h 1118257"/>
                    <a:gd name="connsiteX1858" fmla="*/ 141031 w 1516542"/>
                    <a:gd name="connsiteY1858" fmla="*/ 421846 h 1118257"/>
                    <a:gd name="connsiteX1859" fmla="*/ 142547 w 1516542"/>
                    <a:gd name="connsiteY1859" fmla="*/ 421903 h 1118257"/>
                    <a:gd name="connsiteX1860" fmla="*/ 146255 w 1516542"/>
                    <a:gd name="connsiteY1860" fmla="*/ 420534 h 1118257"/>
                    <a:gd name="connsiteX1861" fmla="*/ 152758 w 1516542"/>
                    <a:gd name="connsiteY1861" fmla="*/ 417869 h 1118257"/>
                    <a:gd name="connsiteX1862" fmla="*/ 154592 w 1516542"/>
                    <a:gd name="connsiteY1862" fmla="*/ 414536 h 1118257"/>
                    <a:gd name="connsiteX1863" fmla="*/ 156312 w 1516542"/>
                    <a:gd name="connsiteY1863" fmla="*/ 413876 h 1118257"/>
                    <a:gd name="connsiteX1864" fmla="*/ 163923 w 1516542"/>
                    <a:gd name="connsiteY1864" fmla="*/ 413273 h 1118257"/>
                    <a:gd name="connsiteX1865" fmla="*/ 164388 w 1516542"/>
                    <a:gd name="connsiteY1865" fmla="*/ 412898 h 1118257"/>
                    <a:gd name="connsiteX1866" fmla="*/ 164665 w 1516542"/>
                    <a:gd name="connsiteY1866" fmla="*/ 412336 h 1118257"/>
                    <a:gd name="connsiteX1867" fmla="*/ 164241 w 1516542"/>
                    <a:gd name="connsiteY1867" fmla="*/ 409932 h 1118257"/>
                    <a:gd name="connsiteX1868" fmla="*/ 163744 w 1516542"/>
                    <a:gd name="connsiteY1868" fmla="*/ 407861 h 1118257"/>
                    <a:gd name="connsiteX1869" fmla="*/ 164339 w 1516542"/>
                    <a:gd name="connsiteY1869" fmla="*/ 407250 h 1118257"/>
                    <a:gd name="connsiteX1870" fmla="*/ 164991 w 1516542"/>
                    <a:gd name="connsiteY1870" fmla="*/ 406297 h 1118257"/>
                    <a:gd name="connsiteX1871" fmla="*/ 164885 w 1516542"/>
                    <a:gd name="connsiteY1871" fmla="*/ 404968 h 1118257"/>
                    <a:gd name="connsiteX1872" fmla="*/ 163663 w 1516542"/>
                    <a:gd name="connsiteY1872" fmla="*/ 400657 h 1118257"/>
                    <a:gd name="connsiteX1873" fmla="*/ 163003 w 1516542"/>
                    <a:gd name="connsiteY1873" fmla="*/ 396558 h 1118257"/>
                    <a:gd name="connsiteX1874" fmla="*/ 162579 w 1516542"/>
                    <a:gd name="connsiteY1874" fmla="*/ 392866 h 1118257"/>
                    <a:gd name="connsiteX1875" fmla="*/ 162644 w 1516542"/>
                    <a:gd name="connsiteY1875" fmla="*/ 391481 h 1118257"/>
                    <a:gd name="connsiteX1876" fmla="*/ 163573 w 1516542"/>
                    <a:gd name="connsiteY1876" fmla="*/ 389101 h 1118257"/>
                    <a:gd name="connsiteX1877" fmla="*/ 164763 w 1516542"/>
                    <a:gd name="connsiteY1877" fmla="*/ 386933 h 1118257"/>
                    <a:gd name="connsiteX1878" fmla="*/ 169074 w 1516542"/>
                    <a:gd name="connsiteY1878" fmla="*/ 384912 h 1118257"/>
                    <a:gd name="connsiteX1879" fmla="*/ 171918 w 1516542"/>
                    <a:gd name="connsiteY1879" fmla="*/ 384301 h 1118257"/>
                    <a:gd name="connsiteX1880" fmla="*/ 172041 w 1516542"/>
                    <a:gd name="connsiteY1880" fmla="*/ 382972 h 1118257"/>
                    <a:gd name="connsiteX1881" fmla="*/ 169734 w 1516542"/>
                    <a:gd name="connsiteY1881" fmla="*/ 382149 h 1118257"/>
                    <a:gd name="connsiteX1882" fmla="*/ 168063 w 1516542"/>
                    <a:gd name="connsiteY1882" fmla="*/ 380837 h 1118257"/>
                    <a:gd name="connsiteX1883" fmla="*/ 167762 w 1516542"/>
                    <a:gd name="connsiteY1883" fmla="*/ 380079 h 1118257"/>
                    <a:gd name="connsiteX1884" fmla="*/ 167844 w 1516542"/>
                    <a:gd name="connsiteY1884" fmla="*/ 379223 h 1118257"/>
                    <a:gd name="connsiteX1885" fmla="*/ 168227 w 1516542"/>
                    <a:gd name="connsiteY1885" fmla="*/ 378433 h 1118257"/>
                    <a:gd name="connsiteX1886" fmla="*/ 171128 w 1516542"/>
                    <a:gd name="connsiteY1886" fmla="*/ 376958 h 1118257"/>
                    <a:gd name="connsiteX1887" fmla="*/ 173850 w 1516542"/>
                    <a:gd name="connsiteY1887" fmla="*/ 375491 h 1118257"/>
                    <a:gd name="connsiteX1888" fmla="*/ 177183 w 1516542"/>
                    <a:gd name="connsiteY1888" fmla="*/ 376379 h 1118257"/>
                    <a:gd name="connsiteX1889" fmla="*/ 177843 w 1516542"/>
                    <a:gd name="connsiteY1889" fmla="*/ 375809 h 1118257"/>
                    <a:gd name="connsiteX1890" fmla="*/ 178039 w 1516542"/>
                    <a:gd name="connsiteY1890" fmla="*/ 374333 h 1118257"/>
                    <a:gd name="connsiteX1891" fmla="*/ 177330 w 1516542"/>
                    <a:gd name="connsiteY1891" fmla="*/ 372858 h 1118257"/>
                    <a:gd name="connsiteX1892" fmla="*/ 176653 w 1516542"/>
                    <a:gd name="connsiteY1892" fmla="*/ 370430 h 1118257"/>
                    <a:gd name="connsiteX1893" fmla="*/ 175121 w 1516542"/>
                    <a:gd name="connsiteY1893" fmla="*/ 369191 h 1118257"/>
                    <a:gd name="connsiteX1894" fmla="*/ 175056 w 1516542"/>
                    <a:gd name="connsiteY1894" fmla="*/ 367708 h 1118257"/>
                    <a:gd name="connsiteX1895" fmla="*/ 176010 w 1516542"/>
                    <a:gd name="connsiteY1895" fmla="*/ 365141 h 1118257"/>
                    <a:gd name="connsiteX1896" fmla="*/ 174697 w 1516542"/>
                    <a:gd name="connsiteY1896" fmla="*/ 360381 h 1118257"/>
                    <a:gd name="connsiteX1897" fmla="*/ 173279 w 1516542"/>
                    <a:gd name="connsiteY1897" fmla="*/ 356176 h 1118257"/>
                    <a:gd name="connsiteX1898" fmla="*/ 170851 w 1516542"/>
                    <a:gd name="connsiteY1898" fmla="*/ 348980 h 1118257"/>
                    <a:gd name="connsiteX1899" fmla="*/ 169262 w 1516542"/>
                    <a:gd name="connsiteY1899" fmla="*/ 346901 h 1118257"/>
                    <a:gd name="connsiteX1900" fmla="*/ 168381 w 1516542"/>
                    <a:gd name="connsiteY1900" fmla="*/ 343576 h 1118257"/>
                    <a:gd name="connsiteX1901" fmla="*/ 167371 w 1516542"/>
                    <a:gd name="connsiteY1901" fmla="*/ 341832 h 1118257"/>
                    <a:gd name="connsiteX1902" fmla="*/ 167460 w 1516542"/>
                    <a:gd name="connsiteY1902" fmla="*/ 339249 h 1118257"/>
                    <a:gd name="connsiteX1903" fmla="*/ 167615 w 1516542"/>
                    <a:gd name="connsiteY1903" fmla="*/ 337440 h 1118257"/>
                    <a:gd name="connsiteX1904" fmla="*/ 167371 w 1516542"/>
                    <a:gd name="connsiteY1904" fmla="*/ 333837 h 1118257"/>
                    <a:gd name="connsiteX1905" fmla="*/ 166898 w 1516542"/>
                    <a:gd name="connsiteY1905" fmla="*/ 329934 h 1118257"/>
                    <a:gd name="connsiteX1906" fmla="*/ 167371 w 1516542"/>
                    <a:gd name="connsiteY1906" fmla="*/ 325965 h 1118257"/>
                    <a:gd name="connsiteX1907" fmla="*/ 168251 w 1516542"/>
                    <a:gd name="connsiteY1907" fmla="*/ 323349 h 1118257"/>
                    <a:gd name="connsiteX1908" fmla="*/ 168023 w 1516542"/>
                    <a:gd name="connsiteY1908" fmla="*/ 322346 h 1118257"/>
                    <a:gd name="connsiteX1909" fmla="*/ 168487 w 1516542"/>
                    <a:gd name="connsiteY1909" fmla="*/ 321588 h 1118257"/>
                    <a:gd name="connsiteX1910" fmla="*/ 169857 w 1516542"/>
                    <a:gd name="connsiteY1910" fmla="*/ 321336 h 1118257"/>
                    <a:gd name="connsiteX1911" fmla="*/ 170500 w 1516542"/>
                    <a:gd name="connsiteY1911" fmla="*/ 320268 h 1118257"/>
                    <a:gd name="connsiteX1912" fmla="*/ 169857 w 1516542"/>
                    <a:gd name="connsiteY1912" fmla="*/ 319168 h 1118257"/>
                    <a:gd name="connsiteX1913" fmla="*/ 167509 w 1516542"/>
                    <a:gd name="connsiteY1913" fmla="*/ 318320 h 1118257"/>
                    <a:gd name="connsiteX1914" fmla="*/ 164885 w 1516542"/>
                    <a:gd name="connsiteY1914" fmla="*/ 317000 h 1118257"/>
                    <a:gd name="connsiteX1915" fmla="*/ 161731 w 1516542"/>
                    <a:gd name="connsiteY1915" fmla="*/ 317147 h 1118257"/>
                    <a:gd name="connsiteX1916" fmla="*/ 158488 w 1516542"/>
                    <a:gd name="connsiteY1916" fmla="*/ 317375 h 1118257"/>
                    <a:gd name="connsiteX1917" fmla="*/ 156874 w 1516542"/>
                    <a:gd name="connsiteY1917" fmla="*/ 316397 h 1118257"/>
                    <a:gd name="connsiteX1918" fmla="*/ 155464 w 1516542"/>
                    <a:gd name="connsiteY1918" fmla="*/ 315150 h 1118257"/>
                    <a:gd name="connsiteX1919" fmla="*/ 155383 w 1516542"/>
                    <a:gd name="connsiteY1919" fmla="*/ 314351 h 1118257"/>
                    <a:gd name="connsiteX1920" fmla="*/ 157322 w 1516542"/>
                    <a:gd name="connsiteY1920" fmla="*/ 312233 h 1118257"/>
                    <a:gd name="connsiteX1921" fmla="*/ 160020 w 1516542"/>
                    <a:gd name="connsiteY1921" fmla="*/ 310048 h 1118257"/>
                    <a:gd name="connsiteX1922" fmla="*/ 164217 w 1516542"/>
                    <a:gd name="connsiteY1922" fmla="*/ 309087 h 1118257"/>
                    <a:gd name="connsiteX1923" fmla="*/ 168854 w 1516542"/>
                    <a:gd name="connsiteY1923" fmla="*/ 307636 h 1118257"/>
                    <a:gd name="connsiteX1924" fmla="*/ 171185 w 1516542"/>
                    <a:gd name="connsiteY1924" fmla="*/ 306585 h 1118257"/>
                    <a:gd name="connsiteX1925" fmla="*/ 174306 w 1516542"/>
                    <a:gd name="connsiteY1925" fmla="*/ 305835 h 1118257"/>
                    <a:gd name="connsiteX1926" fmla="*/ 177908 w 1516542"/>
                    <a:gd name="connsiteY1926" fmla="*/ 305517 h 1118257"/>
                    <a:gd name="connsiteX1927" fmla="*/ 179718 w 1516542"/>
                    <a:gd name="connsiteY1927" fmla="*/ 305729 h 1118257"/>
                    <a:gd name="connsiteX1928" fmla="*/ 184371 w 1516542"/>
                    <a:gd name="connsiteY1928" fmla="*/ 304335 h 1118257"/>
                    <a:gd name="connsiteX1929" fmla="*/ 191665 w 1516542"/>
                    <a:gd name="connsiteY1929" fmla="*/ 301630 h 1118257"/>
                    <a:gd name="connsiteX1930" fmla="*/ 198299 w 1516542"/>
                    <a:gd name="connsiteY1930" fmla="*/ 299364 h 1118257"/>
                    <a:gd name="connsiteX1931" fmla="*/ 200524 w 1516542"/>
                    <a:gd name="connsiteY1931" fmla="*/ 298003 h 1118257"/>
                    <a:gd name="connsiteX1932" fmla="*/ 202178 w 1516542"/>
                    <a:gd name="connsiteY1932" fmla="*/ 299364 h 1118257"/>
                    <a:gd name="connsiteX1933" fmla="*/ 202937 w 1516542"/>
                    <a:gd name="connsiteY1933" fmla="*/ 302331 h 1118257"/>
                    <a:gd name="connsiteX1934" fmla="*/ 204876 w 1516542"/>
                    <a:gd name="connsiteY1934" fmla="*/ 303879 h 1118257"/>
                    <a:gd name="connsiteX1935" fmla="*/ 206791 w 1516542"/>
                    <a:gd name="connsiteY1935" fmla="*/ 304629 h 1118257"/>
                    <a:gd name="connsiteX1936" fmla="*/ 207899 w 1516542"/>
                    <a:gd name="connsiteY1936" fmla="*/ 304588 h 1118257"/>
                    <a:gd name="connsiteX1937" fmla="*/ 211208 w 1516542"/>
                    <a:gd name="connsiteY1937" fmla="*/ 303431 h 1118257"/>
                    <a:gd name="connsiteX1938" fmla="*/ 214778 w 1516542"/>
                    <a:gd name="connsiteY1938" fmla="*/ 302583 h 1118257"/>
                    <a:gd name="connsiteX1939" fmla="*/ 216180 w 1516542"/>
                    <a:gd name="connsiteY1939" fmla="*/ 303048 h 1118257"/>
                    <a:gd name="connsiteX1940" fmla="*/ 217997 w 1516542"/>
                    <a:gd name="connsiteY1940" fmla="*/ 304572 h 1118257"/>
                    <a:gd name="connsiteX1941" fmla="*/ 220026 w 1516542"/>
                    <a:gd name="connsiteY1941" fmla="*/ 305933 h 1118257"/>
                    <a:gd name="connsiteX1942" fmla="*/ 221094 w 1516542"/>
                    <a:gd name="connsiteY1942" fmla="*/ 305876 h 1118257"/>
                    <a:gd name="connsiteX1943" fmla="*/ 222031 w 1516542"/>
                    <a:gd name="connsiteY1943" fmla="*/ 304816 h 1118257"/>
                    <a:gd name="connsiteX1944" fmla="*/ 222960 w 1516542"/>
                    <a:gd name="connsiteY1944" fmla="*/ 302689 h 1118257"/>
                    <a:gd name="connsiteX1945" fmla="*/ 223563 w 1516542"/>
                    <a:gd name="connsiteY1945" fmla="*/ 299975 h 1118257"/>
                    <a:gd name="connsiteX1946" fmla="*/ 223685 w 1516542"/>
                    <a:gd name="connsiteY1946" fmla="*/ 297123 h 1118257"/>
                    <a:gd name="connsiteX1947" fmla="*/ 223327 w 1516542"/>
                    <a:gd name="connsiteY1947" fmla="*/ 295371 h 1118257"/>
                    <a:gd name="connsiteX1948" fmla="*/ 222610 w 1516542"/>
                    <a:gd name="connsiteY1948" fmla="*/ 294719 h 1118257"/>
                    <a:gd name="connsiteX1949" fmla="*/ 219358 w 1516542"/>
                    <a:gd name="connsiteY1949" fmla="*/ 293684 h 1118257"/>
                    <a:gd name="connsiteX1950" fmla="*/ 216269 w 1516542"/>
                    <a:gd name="connsiteY1950" fmla="*/ 292005 h 1118257"/>
                    <a:gd name="connsiteX1951" fmla="*/ 215903 w 1516542"/>
                    <a:gd name="connsiteY1951" fmla="*/ 290448 h 1118257"/>
                    <a:gd name="connsiteX1952" fmla="*/ 215976 w 1516542"/>
                    <a:gd name="connsiteY1952" fmla="*/ 289364 h 1118257"/>
                    <a:gd name="connsiteX1953" fmla="*/ 216799 w 1516542"/>
                    <a:gd name="connsiteY1953" fmla="*/ 286659 h 1118257"/>
                    <a:gd name="connsiteX1954" fmla="*/ 218820 w 1516542"/>
                    <a:gd name="connsiteY1954" fmla="*/ 281704 h 1118257"/>
                    <a:gd name="connsiteX1955" fmla="*/ 220850 w 1516542"/>
                    <a:gd name="connsiteY1955" fmla="*/ 274866 h 1118257"/>
                    <a:gd name="connsiteX1956" fmla="*/ 221933 w 1516542"/>
                    <a:gd name="connsiteY1956" fmla="*/ 269455 h 1118257"/>
                    <a:gd name="connsiteX1957" fmla="*/ 225332 w 1516542"/>
                    <a:gd name="connsiteY1957" fmla="*/ 261386 h 1118257"/>
                    <a:gd name="connsiteX1958" fmla="*/ 228005 w 1516542"/>
                    <a:gd name="connsiteY1958" fmla="*/ 252951 h 1118257"/>
                    <a:gd name="connsiteX1959" fmla="*/ 232341 w 1516542"/>
                    <a:gd name="connsiteY1959" fmla="*/ 240808 h 1118257"/>
                    <a:gd name="connsiteX1960" fmla="*/ 233066 w 1516542"/>
                    <a:gd name="connsiteY1960" fmla="*/ 238404 h 1118257"/>
                    <a:gd name="connsiteX1961" fmla="*/ 233465 w 1516542"/>
                    <a:gd name="connsiteY1961" fmla="*/ 234566 h 1118257"/>
                    <a:gd name="connsiteX1962" fmla="*/ 233701 w 1516542"/>
                    <a:gd name="connsiteY1962" fmla="*/ 232976 h 1118257"/>
                    <a:gd name="connsiteX1963" fmla="*/ 235201 w 1516542"/>
                    <a:gd name="connsiteY1963" fmla="*/ 232137 h 1118257"/>
                    <a:gd name="connsiteX1964" fmla="*/ 237752 w 1516542"/>
                    <a:gd name="connsiteY1964" fmla="*/ 232960 h 1118257"/>
                    <a:gd name="connsiteX1965" fmla="*/ 243962 w 1516542"/>
                    <a:gd name="connsiteY1965" fmla="*/ 235739 h 1118257"/>
                    <a:gd name="connsiteX1966" fmla="*/ 248689 w 1516542"/>
                    <a:gd name="connsiteY1966" fmla="*/ 238062 h 1118257"/>
                    <a:gd name="connsiteX1967" fmla="*/ 250669 w 1516542"/>
                    <a:gd name="connsiteY1967" fmla="*/ 238852 h 1118257"/>
                    <a:gd name="connsiteX1968" fmla="*/ 253611 w 1516542"/>
                    <a:gd name="connsiteY1968" fmla="*/ 239675 h 1118257"/>
                    <a:gd name="connsiteX1969" fmla="*/ 258167 w 1516542"/>
                    <a:gd name="connsiteY1969" fmla="*/ 240653 h 1118257"/>
                    <a:gd name="connsiteX1970" fmla="*/ 260791 w 1516542"/>
                    <a:gd name="connsiteY1970" fmla="*/ 240368 h 1118257"/>
                    <a:gd name="connsiteX1971" fmla="*/ 263106 w 1516542"/>
                    <a:gd name="connsiteY1971" fmla="*/ 239790 h 1118257"/>
                    <a:gd name="connsiteX1972" fmla="*/ 266170 w 1516542"/>
                    <a:gd name="connsiteY1972" fmla="*/ 239741 h 1118257"/>
                    <a:gd name="connsiteX1973" fmla="*/ 270970 w 1516542"/>
                    <a:gd name="connsiteY1973" fmla="*/ 240466 h 1118257"/>
                    <a:gd name="connsiteX1974" fmla="*/ 272453 w 1516542"/>
                    <a:gd name="connsiteY1974" fmla="*/ 240490 h 1118257"/>
                    <a:gd name="connsiteX1975" fmla="*/ 274303 w 1516542"/>
                    <a:gd name="connsiteY1975" fmla="*/ 240588 h 1118257"/>
                    <a:gd name="connsiteX1976" fmla="*/ 275616 w 1516542"/>
                    <a:gd name="connsiteY1976" fmla="*/ 241762 h 1118257"/>
                    <a:gd name="connsiteX1977" fmla="*/ 276268 w 1516542"/>
                    <a:gd name="connsiteY1977" fmla="*/ 244427 h 1118257"/>
                    <a:gd name="connsiteX1978" fmla="*/ 277262 w 1516542"/>
                    <a:gd name="connsiteY1978" fmla="*/ 245617 h 1118257"/>
                    <a:gd name="connsiteX1979" fmla="*/ 279055 w 1516542"/>
                    <a:gd name="connsiteY1979" fmla="*/ 245185 h 1118257"/>
                    <a:gd name="connsiteX1980" fmla="*/ 282869 w 1516542"/>
                    <a:gd name="connsiteY1980" fmla="*/ 242829 h 1118257"/>
                    <a:gd name="connsiteX1981" fmla="*/ 285297 w 1516542"/>
                    <a:gd name="connsiteY1981" fmla="*/ 240979 h 1118257"/>
                    <a:gd name="connsiteX1982" fmla="*/ 288354 w 1516542"/>
                    <a:gd name="connsiteY1982" fmla="*/ 238306 h 1118257"/>
                    <a:gd name="connsiteX1983" fmla="*/ 291385 w 1516542"/>
                    <a:gd name="connsiteY1983" fmla="*/ 237940 h 1118257"/>
                    <a:gd name="connsiteX1984" fmla="*/ 294588 w 1516542"/>
                    <a:gd name="connsiteY1984" fmla="*/ 237336 h 1118257"/>
                    <a:gd name="connsiteX1985" fmla="*/ 295705 w 1516542"/>
                    <a:gd name="connsiteY1985" fmla="*/ 236016 h 1118257"/>
                    <a:gd name="connsiteX1986" fmla="*/ 296878 w 1516542"/>
                    <a:gd name="connsiteY1986" fmla="*/ 232887 h 1118257"/>
                    <a:gd name="connsiteX1987" fmla="*/ 298851 w 1516542"/>
                    <a:gd name="connsiteY1987" fmla="*/ 230523 h 1118257"/>
                    <a:gd name="connsiteX1988" fmla="*/ 299176 w 1516542"/>
                    <a:gd name="connsiteY1988" fmla="*/ 227541 h 1118257"/>
                    <a:gd name="connsiteX1989" fmla="*/ 298484 w 1516542"/>
                    <a:gd name="connsiteY1989" fmla="*/ 225430 h 1118257"/>
                    <a:gd name="connsiteX1990" fmla="*/ 297115 w 1516542"/>
                    <a:gd name="connsiteY1990" fmla="*/ 221999 h 1118257"/>
                    <a:gd name="connsiteX1991" fmla="*/ 297163 w 1516542"/>
                    <a:gd name="connsiteY1991" fmla="*/ 219676 h 1118257"/>
                    <a:gd name="connsiteX1992" fmla="*/ 296495 w 1516542"/>
                    <a:gd name="connsiteY1992" fmla="*/ 212953 h 1118257"/>
                    <a:gd name="connsiteX1993" fmla="*/ 295615 w 1516542"/>
                    <a:gd name="connsiteY1993" fmla="*/ 206897 h 1118257"/>
                    <a:gd name="connsiteX1994" fmla="*/ 296520 w 1516542"/>
                    <a:gd name="connsiteY1994" fmla="*/ 201999 h 1118257"/>
                    <a:gd name="connsiteX1995" fmla="*/ 298109 w 1516542"/>
                    <a:gd name="connsiteY1995" fmla="*/ 196539 h 1118257"/>
                    <a:gd name="connsiteX1996" fmla="*/ 298728 w 1516542"/>
                    <a:gd name="connsiteY1996" fmla="*/ 194868 h 1118257"/>
                    <a:gd name="connsiteX1997" fmla="*/ 299731 w 1516542"/>
                    <a:gd name="connsiteY1997" fmla="*/ 192668 h 1118257"/>
                    <a:gd name="connsiteX1998" fmla="*/ 301165 w 1516542"/>
                    <a:gd name="connsiteY1998" fmla="*/ 190027 h 1118257"/>
                    <a:gd name="connsiteX1999" fmla="*/ 303154 w 1516542"/>
                    <a:gd name="connsiteY1999" fmla="*/ 189204 h 1118257"/>
                    <a:gd name="connsiteX2000" fmla="*/ 308761 w 1516542"/>
                    <a:gd name="connsiteY2000" fmla="*/ 188634 h 1118257"/>
                    <a:gd name="connsiteX2001" fmla="*/ 313960 w 1516542"/>
                    <a:gd name="connsiteY2001" fmla="*/ 187534 h 1118257"/>
                    <a:gd name="connsiteX2002" fmla="*/ 316609 w 1516542"/>
                    <a:gd name="connsiteY2002" fmla="*/ 186393 h 1118257"/>
                    <a:gd name="connsiteX2003" fmla="*/ 319355 w 1516542"/>
                    <a:gd name="connsiteY2003" fmla="*/ 185700 h 1118257"/>
                    <a:gd name="connsiteX2004" fmla="*/ 321002 w 1516542"/>
                    <a:gd name="connsiteY2004" fmla="*/ 184860 h 1118257"/>
                    <a:gd name="connsiteX2005" fmla="*/ 323830 w 1516542"/>
                    <a:gd name="connsiteY2005" fmla="*/ 181005 h 1118257"/>
                    <a:gd name="connsiteX2006" fmla="*/ 325174 w 1516542"/>
                    <a:gd name="connsiteY2006" fmla="*/ 178781 h 1118257"/>
                    <a:gd name="connsiteX2007" fmla="*/ 326160 w 1516542"/>
                    <a:gd name="connsiteY2007" fmla="*/ 172888 h 1118257"/>
                    <a:gd name="connsiteX2008" fmla="*/ 325443 w 1516542"/>
                    <a:gd name="connsiteY2008" fmla="*/ 170044 h 1118257"/>
                    <a:gd name="connsiteX2009" fmla="*/ 326046 w 1516542"/>
                    <a:gd name="connsiteY2009" fmla="*/ 167534 h 1118257"/>
                    <a:gd name="connsiteX2010" fmla="*/ 327415 w 1516542"/>
                    <a:gd name="connsiteY2010" fmla="*/ 166051 h 1118257"/>
                    <a:gd name="connsiteX2011" fmla="*/ 329338 w 1516542"/>
                    <a:gd name="connsiteY2011" fmla="*/ 164576 h 1118257"/>
                    <a:gd name="connsiteX2012" fmla="*/ 330634 w 1516542"/>
                    <a:gd name="connsiteY2012" fmla="*/ 164323 h 1118257"/>
                    <a:gd name="connsiteX2013" fmla="*/ 333373 w 1516542"/>
                    <a:gd name="connsiteY2013" fmla="*/ 163883 h 1118257"/>
                    <a:gd name="connsiteX2014" fmla="*/ 337871 w 1516542"/>
                    <a:gd name="connsiteY2014" fmla="*/ 164021 h 1118257"/>
                    <a:gd name="connsiteX2015" fmla="*/ 340178 w 1516542"/>
                    <a:gd name="connsiteY2015" fmla="*/ 164747 h 1118257"/>
                    <a:gd name="connsiteX2016" fmla="*/ 342517 w 1516542"/>
                    <a:gd name="connsiteY2016" fmla="*/ 165081 h 1118257"/>
                    <a:gd name="connsiteX2017" fmla="*/ 343983 w 1516542"/>
                    <a:gd name="connsiteY2017" fmla="*/ 164543 h 1118257"/>
                    <a:gd name="connsiteX2018" fmla="*/ 344970 w 1516542"/>
                    <a:gd name="connsiteY2018" fmla="*/ 163418 h 1118257"/>
                    <a:gd name="connsiteX2019" fmla="*/ 346478 w 1516542"/>
                    <a:gd name="connsiteY2019" fmla="*/ 163068 h 1118257"/>
                    <a:gd name="connsiteX2020" fmla="*/ 348743 w 1516542"/>
                    <a:gd name="connsiteY2020" fmla="*/ 162530 h 1118257"/>
                    <a:gd name="connsiteX2021" fmla="*/ 351090 w 1516542"/>
                    <a:gd name="connsiteY2021" fmla="*/ 161854 h 1118257"/>
                    <a:gd name="connsiteX2022" fmla="*/ 352370 w 1516542"/>
                    <a:gd name="connsiteY2022" fmla="*/ 161976 h 1118257"/>
                    <a:gd name="connsiteX2023" fmla="*/ 352639 w 1516542"/>
                    <a:gd name="connsiteY2023" fmla="*/ 163647 h 1118257"/>
                    <a:gd name="connsiteX2024" fmla="*/ 352427 w 1516542"/>
                    <a:gd name="connsiteY2024" fmla="*/ 164951 h 1118257"/>
                    <a:gd name="connsiteX2025" fmla="*/ 352875 w 1516542"/>
                    <a:gd name="connsiteY2025" fmla="*/ 166703 h 1118257"/>
                    <a:gd name="connsiteX2026" fmla="*/ 353804 w 1516542"/>
                    <a:gd name="connsiteY2026" fmla="*/ 167844 h 1118257"/>
                    <a:gd name="connsiteX2027" fmla="*/ 353495 w 1516542"/>
                    <a:gd name="connsiteY2027" fmla="*/ 169099 h 1118257"/>
                    <a:gd name="connsiteX2028" fmla="*/ 352182 w 1516542"/>
                    <a:gd name="connsiteY2028" fmla="*/ 169816 h 1118257"/>
                    <a:gd name="connsiteX2029" fmla="*/ 350887 w 1516542"/>
                    <a:gd name="connsiteY2029" fmla="*/ 170794 h 1118257"/>
                    <a:gd name="connsiteX2030" fmla="*/ 350601 w 1516542"/>
                    <a:gd name="connsiteY2030" fmla="*/ 172122 h 1118257"/>
                    <a:gd name="connsiteX2031" fmla="*/ 352248 w 1516542"/>
                    <a:gd name="connsiteY2031" fmla="*/ 173785 h 1118257"/>
                    <a:gd name="connsiteX2032" fmla="*/ 352802 w 1516542"/>
                    <a:gd name="connsiteY2032" fmla="*/ 175374 h 1118257"/>
                    <a:gd name="connsiteX2033" fmla="*/ 355540 w 1516542"/>
                    <a:gd name="connsiteY2033" fmla="*/ 176336 h 1118257"/>
                    <a:gd name="connsiteX2034" fmla="*/ 357667 w 1516542"/>
                    <a:gd name="connsiteY2034" fmla="*/ 177403 h 1118257"/>
                    <a:gd name="connsiteX2035" fmla="*/ 358457 w 1516542"/>
                    <a:gd name="connsiteY2035" fmla="*/ 178430 h 1118257"/>
                    <a:gd name="connsiteX2036" fmla="*/ 358230 w 1516542"/>
                    <a:gd name="connsiteY2036" fmla="*/ 179587 h 1118257"/>
                    <a:gd name="connsiteX2037" fmla="*/ 357235 w 1516542"/>
                    <a:gd name="connsiteY2037" fmla="*/ 180834 h 1118257"/>
                    <a:gd name="connsiteX2038" fmla="*/ 356282 w 1516542"/>
                    <a:gd name="connsiteY2038" fmla="*/ 182171 h 1118257"/>
                    <a:gd name="connsiteX2039" fmla="*/ 356168 w 1516542"/>
                    <a:gd name="connsiteY2039" fmla="*/ 182978 h 1118257"/>
                    <a:gd name="connsiteX2040" fmla="*/ 356469 w 1516542"/>
                    <a:gd name="connsiteY2040" fmla="*/ 183907 h 1118257"/>
                    <a:gd name="connsiteX2041" fmla="*/ 358531 w 1516542"/>
                    <a:gd name="connsiteY2041" fmla="*/ 184526 h 1118257"/>
                    <a:gd name="connsiteX2042" fmla="*/ 360894 w 1516542"/>
                    <a:gd name="connsiteY2042" fmla="*/ 185561 h 1118257"/>
                    <a:gd name="connsiteX2043" fmla="*/ 364668 w 1516542"/>
                    <a:gd name="connsiteY2043" fmla="*/ 186898 h 1118257"/>
                    <a:gd name="connsiteX2044" fmla="*/ 367243 w 1516542"/>
                    <a:gd name="connsiteY2044" fmla="*/ 189375 h 1118257"/>
                    <a:gd name="connsiteX2045" fmla="*/ 369794 w 1516542"/>
                    <a:gd name="connsiteY2045" fmla="*/ 190052 h 1118257"/>
                    <a:gd name="connsiteX2046" fmla="*/ 371033 w 1516542"/>
                    <a:gd name="connsiteY2046" fmla="*/ 192464 h 1118257"/>
                    <a:gd name="connsiteX2047" fmla="*/ 371261 w 1516542"/>
                    <a:gd name="connsiteY2047" fmla="*/ 195960 h 1118257"/>
                    <a:gd name="connsiteX2048" fmla="*/ 373885 w 1516542"/>
                    <a:gd name="connsiteY2048" fmla="*/ 197745 h 1118257"/>
                    <a:gd name="connsiteX2049" fmla="*/ 377764 w 1516542"/>
                    <a:gd name="connsiteY2049" fmla="*/ 200214 h 1118257"/>
                    <a:gd name="connsiteX2050" fmla="*/ 379729 w 1516542"/>
                    <a:gd name="connsiteY2050" fmla="*/ 200671 h 1118257"/>
                    <a:gd name="connsiteX2051" fmla="*/ 381049 w 1516542"/>
                    <a:gd name="connsiteY2051" fmla="*/ 202073 h 1118257"/>
                    <a:gd name="connsiteX2052" fmla="*/ 382956 w 1516542"/>
                    <a:gd name="connsiteY2052" fmla="*/ 203776 h 1118257"/>
                    <a:gd name="connsiteX2053" fmla="*/ 384643 w 1516542"/>
                    <a:gd name="connsiteY2053" fmla="*/ 204306 h 1118257"/>
                    <a:gd name="connsiteX2054" fmla="*/ 386648 w 1516542"/>
                    <a:gd name="connsiteY2054" fmla="*/ 204550 h 1118257"/>
                    <a:gd name="connsiteX2055" fmla="*/ 389957 w 1516542"/>
                    <a:gd name="connsiteY2055" fmla="*/ 202977 h 1118257"/>
                    <a:gd name="connsiteX2056" fmla="*/ 393656 w 1516542"/>
                    <a:gd name="connsiteY2056" fmla="*/ 202822 h 1118257"/>
                    <a:gd name="connsiteX2057" fmla="*/ 395694 w 1516542"/>
                    <a:gd name="connsiteY2057" fmla="*/ 203719 h 1118257"/>
                    <a:gd name="connsiteX2058" fmla="*/ 397609 w 1516542"/>
                    <a:gd name="connsiteY2058" fmla="*/ 207125 h 1118257"/>
                    <a:gd name="connsiteX2059" fmla="*/ 398970 w 1516542"/>
                    <a:gd name="connsiteY2059" fmla="*/ 208201 h 1118257"/>
                    <a:gd name="connsiteX2060" fmla="*/ 399769 w 1516542"/>
                    <a:gd name="connsiteY2060" fmla="*/ 209155 h 1118257"/>
                    <a:gd name="connsiteX2061" fmla="*/ 401064 w 1516542"/>
                    <a:gd name="connsiteY2061" fmla="*/ 210068 h 1118257"/>
                    <a:gd name="connsiteX2062" fmla="*/ 402385 w 1516542"/>
                    <a:gd name="connsiteY2062" fmla="*/ 210206 h 1118257"/>
                    <a:gd name="connsiteX2063" fmla="*/ 404365 w 1516542"/>
                    <a:gd name="connsiteY2063" fmla="*/ 209440 h 1118257"/>
                    <a:gd name="connsiteX2064" fmla="*/ 405547 w 1516542"/>
                    <a:gd name="connsiteY2064" fmla="*/ 207940 h 1118257"/>
                    <a:gd name="connsiteX2065" fmla="*/ 407266 w 1516542"/>
                    <a:gd name="connsiteY2065" fmla="*/ 208258 h 1118257"/>
                    <a:gd name="connsiteX2066" fmla="*/ 407910 w 1516542"/>
                    <a:gd name="connsiteY2066" fmla="*/ 209228 h 1118257"/>
                    <a:gd name="connsiteX2067" fmla="*/ 408228 w 1516542"/>
                    <a:gd name="connsiteY2067" fmla="*/ 210907 h 1118257"/>
                    <a:gd name="connsiteX2068" fmla="*/ 409141 w 1516542"/>
                    <a:gd name="connsiteY2068" fmla="*/ 212993 h 1118257"/>
                    <a:gd name="connsiteX2069" fmla="*/ 411309 w 1516542"/>
                    <a:gd name="connsiteY2069" fmla="*/ 214542 h 1118257"/>
                    <a:gd name="connsiteX2070" fmla="*/ 414349 w 1516542"/>
                    <a:gd name="connsiteY2070" fmla="*/ 215463 h 1118257"/>
                    <a:gd name="connsiteX2071" fmla="*/ 414780 w 1516542"/>
                    <a:gd name="connsiteY2071" fmla="*/ 216220 h 1118257"/>
                    <a:gd name="connsiteX2072" fmla="*/ 415196 w 1516542"/>
                    <a:gd name="connsiteY2072" fmla="*/ 218299 h 1118257"/>
                    <a:gd name="connsiteX2073" fmla="*/ 416019 w 1516542"/>
                    <a:gd name="connsiteY2073" fmla="*/ 219749 h 1118257"/>
                    <a:gd name="connsiteX2074" fmla="*/ 417119 w 1516542"/>
                    <a:gd name="connsiteY2074" fmla="*/ 221624 h 1118257"/>
                    <a:gd name="connsiteX2075" fmla="*/ 418171 w 1516542"/>
                    <a:gd name="connsiteY2075" fmla="*/ 225055 h 1118257"/>
                    <a:gd name="connsiteX2076" fmla="*/ 418399 w 1516542"/>
                    <a:gd name="connsiteY2076" fmla="*/ 227883 h 1118257"/>
                    <a:gd name="connsiteX2077" fmla="*/ 418896 w 1516542"/>
                    <a:gd name="connsiteY2077" fmla="*/ 229439 h 1118257"/>
                    <a:gd name="connsiteX2078" fmla="*/ 420290 w 1516542"/>
                    <a:gd name="connsiteY2078" fmla="*/ 231974 h 1118257"/>
                    <a:gd name="connsiteX2079" fmla="*/ 422531 w 1516542"/>
                    <a:gd name="connsiteY2079" fmla="*/ 236024 h 1118257"/>
                    <a:gd name="connsiteX2080" fmla="*/ 424332 w 1516542"/>
                    <a:gd name="connsiteY2080" fmla="*/ 239464 h 1118257"/>
                    <a:gd name="connsiteX2081" fmla="*/ 426394 w 1516542"/>
                    <a:gd name="connsiteY2081" fmla="*/ 240132 h 1118257"/>
                    <a:gd name="connsiteX2082" fmla="*/ 428162 w 1516542"/>
                    <a:gd name="connsiteY2082" fmla="*/ 241216 h 1118257"/>
                    <a:gd name="connsiteX2083" fmla="*/ 429165 w 1516542"/>
                    <a:gd name="connsiteY2083" fmla="*/ 243750 h 1118257"/>
                    <a:gd name="connsiteX2084" fmla="*/ 431031 w 1516542"/>
                    <a:gd name="connsiteY2084" fmla="*/ 248526 h 1118257"/>
                    <a:gd name="connsiteX2085" fmla="*/ 431332 w 1516542"/>
                    <a:gd name="connsiteY2085" fmla="*/ 251647 h 1118257"/>
                    <a:gd name="connsiteX2086" fmla="*/ 431487 w 1516542"/>
                    <a:gd name="connsiteY2086" fmla="*/ 253970 h 1118257"/>
                    <a:gd name="connsiteX2087" fmla="*/ 432099 w 1516542"/>
                    <a:gd name="connsiteY2087" fmla="*/ 255030 h 1118257"/>
                    <a:gd name="connsiteX2088" fmla="*/ 432221 w 1516542"/>
                    <a:gd name="connsiteY2088" fmla="*/ 256342 h 1118257"/>
                    <a:gd name="connsiteX2089" fmla="*/ 430664 w 1516542"/>
                    <a:gd name="connsiteY2089" fmla="*/ 261337 h 1118257"/>
                    <a:gd name="connsiteX2090" fmla="*/ 429344 w 1516542"/>
                    <a:gd name="connsiteY2090" fmla="*/ 263603 h 1118257"/>
                    <a:gd name="connsiteX2091" fmla="*/ 429189 w 1516542"/>
                    <a:gd name="connsiteY2091" fmla="*/ 265494 h 1118257"/>
                    <a:gd name="connsiteX2092" fmla="*/ 430077 w 1516542"/>
                    <a:gd name="connsiteY2092" fmla="*/ 268803 h 1118257"/>
                    <a:gd name="connsiteX2093" fmla="*/ 431300 w 1516542"/>
                    <a:gd name="connsiteY2093" fmla="*/ 271353 h 1118257"/>
                    <a:gd name="connsiteX2094" fmla="*/ 431430 w 1516542"/>
                    <a:gd name="connsiteY2094" fmla="*/ 273798 h 1118257"/>
                    <a:gd name="connsiteX2095" fmla="*/ 430379 w 1516542"/>
                    <a:gd name="connsiteY2095" fmla="*/ 275600 h 1118257"/>
                    <a:gd name="connsiteX2096" fmla="*/ 428578 w 1516542"/>
                    <a:gd name="connsiteY2096" fmla="*/ 277841 h 1118257"/>
                    <a:gd name="connsiteX2097" fmla="*/ 427722 w 1516542"/>
                    <a:gd name="connsiteY2097" fmla="*/ 279112 h 1118257"/>
                    <a:gd name="connsiteX2098" fmla="*/ 426320 w 1516542"/>
                    <a:gd name="connsiteY2098" fmla="*/ 280245 h 1118257"/>
                    <a:gd name="connsiteX2099" fmla="*/ 424185 w 1516542"/>
                    <a:gd name="connsiteY2099" fmla="*/ 284572 h 1118257"/>
                    <a:gd name="connsiteX2100" fmla="*/ 423216 w 1516542"/>
                    <a:gd name="connsiteY2100" fmla="*/ 289356 h 1118257"/>
                    <a:gd name="connsiteX2101" fmla="*/ 422995 w 1516542"/>
                    <a:gd name="connsiteY2101" fmla="*/ 291809 h 1118257"/>
                    <a:gd name="connsiteX2102" fmla="*/ 423794 w 1516542"/>
                    <a:gd name="connsiteY2102" fmla="*/ 293594 h 1118257"/>
                    <a:gd name="connsiteX2103" fmla="*/ 425171 w 1516542"/>
                    <a:gd name="connsiteY2103" fmla="*/ 295550 h 1118257"/>
                    <a:gd name="connsiteX2104" fmla="*/ 425506 w 1516542"/>
                    <a:gd name="connsiteY2104" fmla="*/ 297253 h 1118257"/>
                    <a:gd name="connsiteX2105" fmla="*/ 427739 w 1516542"/>
                    <a:gd name="connsiteY2105" fmla="*/ 301043 h 1118257"/>
                    <a:gd name="connsiteX2106" fmla="*/ 428341 w 1516542"/>
                    <a:gd name="connsiteY2106" fmla="*/ 303390 h 1118257"/>
                    <a:gd name="connsiteX2107" fmla="*/ 429246 w 1516542"/>
                    <a:gd name="connsiteY2107" fmla="*/ 303463 h 1118257"/>
                    <a:gd name="connsiteX2108" fmla="*/ 430224 w 1516542"/>
                    <a:gd name="connsiteY2108" fmla="*/ 302689 h 1118257"/>
                    <a:gd name="connsiteX2109" fmla="*/ 432620 w 1516542"/>
                    <a:gd name="connsiteY2109" fmla="*/ 302640 h 1118257"/>
                    <a:gd name="connsiteX2110" fmla="*/ 434804 w 1516542"/>
                    <a:gd name="connsiteY2110" fmla="*/ 303463 h 1118257"/>
                    <a:gd name="connsiteX2111" fmla="*/ 436883 w 1516542"/>
                    <a:gd name="connsiteY2111" fmla="*/ 305199 h 1118257"/>
                    <a:gd name="connsiteX2112" fmla="*/ 439116 w 1516542"/>
                    <a:gd name="connsiteY2112" fmla="*/ 306120 h 1118257"/>
                    <a:gd name="connsiteX2113" fmla="*/ 442318 w 1516542"/>
                    <a:gd name="connsiteY2113" fmla="*/ 305884 h 1118257"/>
                    <a:gd name="connsiteX2114" fmla="*/ 444030 w 1516542"/>
                    <a:gd name="connsiteY2114" fmla="*/ 306829 h 1118257"/>
                    <a:gd name="connsiteX2115" fmla="*/ 445880 w 1516542"/>
                    <a:gd name="connsiteY2115" fmla="*/ 307587 h 1118257"/>
                    <a:gd name="connsiteX2116" fmla="*/ 449686 w 1516542"/>
                    <a:gd name="connsiteY2116" fmla="*/ 307856 h 1118257"/>
                    <a:gd name="connsiteX2117" fmla="*/ 452530 w 1516542"/>
                    <a:gd name="connsiteY2117" fmla="*/ 307832 h 1118257"/>
                    <a:gd name="connsiteX2118" fmla="*/ 456931 w 1516542"/>
                    <a:gd name="connsiteY2118" fmla="*/ 307872 h 1118257"/>
                    <a:gd name="connsiteX2119" fmla="*/ 460460 w 1516542"/>
                    <a:gd name="connsiteY2119" fmla="*/ 309038 h 1118257"/>
                    <a:gd name="connsiteX2120" fmla="*/ 466694 w 1516542"/>
                    <a:gd name="connsiteY2120" fmla="*/ 309959 h 1118257"/>
                    <a:gd name="connsiteX2121" fmla="*/ 470541 w 1516542"/>
                    <a:gd name="connsiteY2121" fmla="*/ 309885 h 1118257"/>
                    <a:gd name="connsiteX2122" fmla="*/ 475732 w 1516542"/>
                    <a:gd name="connsiteY2122" fmla="*/ 309022 h 1118257"/>
                    <a:gd name="connsiteX2123" fmla="*/ 478903 w 1516542"/>
                    <a:gd name="connsiteY2123" fmla="*/ 309568 h 1118257"/>
                    <a:gd name="connsiteX2124" fmla="*/ 488283 w 1516542"/>
                    <a:gd name="connsiteY2124" fmla="*/ 310855 h 1118257"/>
                    <a:gd name="connsiteX2125" fmla="*/ 493792 w 1516542"/>
                    <a:gd name="connsiteY2125" fmla="*/ 312216 h 1118257"/>
                    <a:gd name="connsiteX2126" fmla="*/ 497264 w 1516542"/>
                    <a:gd name="connsiteY2126" fmla="*/ 313740 h 1118257"/>
                    <a:gd name="connsiteX2127" fmla="*/ 499725 w 1516542"/>
                    <a:gd name="connsiteY2127" fmla="*/ 316161 h 1118257"/>
                    <a:gd name="connsiteX2128" fmla="*/ 502520 w 1516542"/>
                    <a:gd name="connsiteY2128" fmla="*/ 319934 h 1118257"/>
                    <a:gd name="connsiteX2129" fmla="*/ 504745 w 1516542"/>
                    <a:gd name="connsiteY2129" fmla="*/ 321662 h 1118257"/>
                    <a:gd name="connsiteX2130" fmla="*/ 510727 w 1516542"/>
                    <a:gd name="connsiteY2130" fmla="*/ 322697 h 1118257"/>
                    <a:gd name="connsiteX2131" fmla="*/ 514835 w 1516542"/>
                    <a:gd name="connsiteY2131" fmla="*/ 327098 h 1118257"/>
                    <a:gd name="connsiteX2132" fmla="*/ 518054 w 1516542"/>
                    <a:gd name="connsiteY2132" fmla="*/ 328736 h 1118257"/>
                    <a:gd name="connsiteX2133" fmla="*/ 523449 w 1516542"/>
                    <a:gd name="connsiteY2133" fmla="*/ 332990 h 1118257"/>
                    <a:gd name="connsiteX2134" fmla="*/ 527263 w 1516542"/>
                    <a:gd name="connsiteY2134" fmla="*/ 334644 h 1118257"/>
                    <a:gd name="connsiteX2135" fmla="*/ 531827 w 1516542"/>
                    <a:gd name="connsiteY2135" fmla="*/ 336176 h 1118257"/>
                    <a:gd name="connsiteX2136" fmla="*/ 539276 w 1516542"/>
                    <a:gd name="connsiteY2136" fmla="*/ 335524 h 1118257"/>
                    <a:gd name="connsiteX2137" fmla="*/ 539683 w 1516542"/>
                    <a:gd name="connsiteY2137" fmla="*/ 336103 h 1118257"/>
                    <a:gd name="connsiteX2138" fmla="*/ 539121 w 1516542"/>
                    <a:gd name="connsiteY2138" fmla="*/ 338410 h 1118257"/>
                    <a:gd name="connsiteX2139" fmla="*/ 538664 w 1516542"/>
                    <a:gd name="connsiteY2139" fmla="*/ 341572 h 1118257"/>
                    <a:gd name="connsiteX2140" fmla="*/ 538664 w 1516542"/>
                    <a:gd name="connsiteY2140" fmla="*/ 343854 h 1118257"/>
                    <a:gd name="connsiteX2141" fmla="*/ 539431 w 1516542"/>
                    <a:gd name="connsiteY2141" fmla="*/ 345019 h 1118257"/>
                    <a:gd name="connsiteX2142" fmla="*/ 542283 w 1516542"/>
                    <a:gd name="connsiteY2142" fmla="*/ 345703 h 1118257"/>
                    <a:gd name="connsiteX2143" fmla="*/ 543620 w 1516542"/>
                    <a:gd name="connsiteY2143" fmla="*/ 346828 h 1118257"/>
                    <a:gd name="connsiteX2144" fmla="*/ 544663 w 1516542"/>
                    <a:gd name="connsiteY2144" fmla="*/ 348971 h 1118257"/>
                    <a:gd name="connsiteX2145" fmla="*/ 545258 w 1516542"/>
                    <a:gd name="connsiteY2145" fmla="*/ 350316 h 1118257"/>
                    <a:gd name="connsiteX2146" fmla="*/ 547637 w 1516542"/>
                    <a:gd name="connsiteY2146" fmla="*/ 356901 h 1118257"/>
                    <a:gd name="connsiteX2147" fmla="*/ 551476 w 1516542"/>
                    <a:gd name="connsiteY2147" fmla="*/ 366640 h 1118257"/>
                    <a:gd name="connsiteX2148" fmla="*/ 551900 w 1516542"/>
                    <a:gd name="connsiteY2148" fmla="*/ 370373 h 1118257"/>
                    <a:gd name="connsiteX2149" fmla="*/ 553212 w 1516542"/>
                    <a:gd name="connsiteY2149" fmla="*/ 372777 h 1118257"/>
                    <a:gd name="connsiteX2150" fmla="*/ 557384 w 1516542"/>
                    <a:gd name="connsiteY2150" fmla="*/ 376599 h 1118257"/>
                    <a:gd name="connsiteX2151" fmla="*/ 559577 w 1516542"/>
                    <a:gd name="connsiteY2151" fmla="*/ 379419 h 1118257"/>
                    <a:gd name="connsiteX2152" fmla="*/ 562812 w 1516542"/>
                    <a:gd name="connsiteY2152" fmla="*/ 382394 h 1118257"/>
                    <a:gd name="connsiteX2153" fmla="*/ 563888 w 1516542"/>
                    <a:gd name="connsiteY2153" fmla="*/ 385140 h 1118257"/>
                    <a:gd name="connsiteX2154" fmla="*/ 564132 w 1516542"/>
                    <a:gd name="connsiteY2154" fmla="*/ 388677 h 1118257"/>
                    <a:gd name="connsiteX2155" fmla="*/ 564948 w 1516542"/>
                    <a:gd name="connsiteY2155" fmla="*/ 389590 h 1118257"/>
                    <a:gd name="connsiteX2156" fmla="*/ 570905 w 1516542"/>
                    <a:gd name="connsiteY2156" fmla="*/ 388775 h 1118257"/>
                    <a:gd name="connsiteX2157" fmla="*/ 576047 w 1516542"/>
                    <a:gd name="connsiteY2157" fmla="*/ 388212 h 1118257"/>
                    <a:gd name="connsiteX2158" fmla="*/ 585305 w 1516542"/>
                    <a:gd name="connsiteY2158" fmla="*/ 387194 h 1118257"/>
                    <a:gd name="connsiteX2159" fmla="*/ 598019 w 1516542"/>
                    <a:gd name="connsiteY2159" fmla="*/ 389036 h 1118257"/>
                    <a:gd name="connsiteX2160" fmla="*/ 611156 w 1516542"/>
                    <a:gd name="connsiteY2160" fmla="*/ 390820 h 1118257"/>
                    <a:gd name="connsiteX2161" fmla="*/ 622762 w 1516542"/>
                    <a:gd name="connsiteY2161" fmla="*/ 392401 h 1118257"/>
                    <a:gd name="connsiteX2162" fmla="*/ 628483 w 1516542"/>
                    <a:gd name="connsiteY2162" fmla="*/ 393184 h 1118257"/>
                    <a:gd name="connsiteX2163" fmla="*/ 641408 w 1516542"/>
                    <a:gd name="connsiteY2163" fmla="*/ 394838 h 1118257"/>
                    <a:gd name="connsiteX2164" fmla="*/ 648580 w 1516542"/>
                    <a:gd name="connsiteY2164" fmla="*/ 392727 h 1118257"/>
                    <a:gd name="connsiteX2165" fmla="*/ 654203 w 1516542"/>
                    <a:gd name="connsiteY2165" fmla="*/ 391073 h 1118257"/>
                    <a:gd name="connsiteX2166" fmla="*/ 656738 w 1516542"/>
                    <a:gd name="connsiteY2166" fmla="*/ 391301 h 1118257"/>
                    <a:gd name="connsiteX2167" fmla="*/ 667479 w 1516542"/>
                    <a:gd name="connsiteY2167" fmla="*/ 393159 h 1118257"/>
                    <a:gd name="connsiteX2168" fmla="*/ 673763 w 1516542"/>
                    <a:gd name="connsiteY2168" fmla="*/ 394162 h 1118257"/>
                    <a:gd name="connsiteX2169" fmla="*/ 681693 w 1516542"/>
                    <a:gd name="connsiteY2169" fmla="*/ 395417 h 1118257"/>
                    <a:gd name="connsiteX2170" fmla="*/ 687185 w 1516542"/>
                    <a:gd name="connsiteY2170" fmla="*/ 395881 h 1118257"/>
                    <a:gd name="connsiteX2171" fmla="*/ 691692 w 1516542"/>
                    <a:gd name="connsiteY2171" fmla="*/ 395857 h 1118257"/>
                    <a:gd name="connsiteX2172" fmla="*/ 693770 w 1516542"/>
                    <a:gd name="connsiteY2172" fmla="*/ 396378 h 1118257"/>
                    <a:gd name="connsiteX2173" fmla="*/ 695775 w 1516542"/>
                    <a:gd name="connsiteY2173" fmla="*/ 397185 h 1118257"/>
                    <a:gd name="connsiteX2174" fmla="*/ 697112 w 1516542"/>
                    <a:gd name="connsiteY2174" fmla="*/ 398367 h 1118257"/>
                    <a:gd name="connsiteX2175" fmla="*/ 701227 w 1516542"/>
                    <a:gd name="connsiteY2175" fmla="*/ 404341 h 1118257"/>
                    <a:gd name="connsiteX2176" fmla="*/ 703542 w 1516542"/>
                    <a:gd name="connsiteY2176" fmla="*/ 406973 h 1118257"/>
                    <a:gd name="connsiteX2177" fmla="*/ 708089 w 1516542"/>
                    <a:gd name="connsiteY2177" fmla="*/ 408954 h 1118257"/>
                    <a:gd name="connsiteX2178" fmla="*/ 718472 w 1516542"/>
                    <a:gd name="connsiteY2178" fmla="*/ 411235 h 1118257"/>
                    <a:gd name="connsiteX2179" fmla="*/ 724217 w 1516542"/>
                    <a:gd name="connsiteY2179" fmla="*/ 412605 h 1118257"/>
                    <a:gd name="connsiteX2180" fmla="*/ 730819 w 1516542"/>
                    <a:gd name="connsiteY2180" fmla="*/ 414194 h 1118257"/>
                    <a:gd name="connsiteX2181" fmla="*/ 735155 w 1516542"/>
                    <a:gd name="connsiteY2181" fmla="*/ 416573 h 1118257"/>
                    <a:gd name="connsiteX2182" fmla="*/ 740167 w 1516542"/>
                    <a:gd name="connsiteY2182" fmla="*/ 419344 h 1118257"/>
                    <a:gd name="connsiteX2183" fmla="*/ 746646 w 1516542"/>
                    <a:gd name="connsiteY2183" fmla="*/ 422930 h 1118257"/>
                    <a:gd name="connsiteX2184" fmla="*/ 753744 w 1516542"/>
                    <a:gd name="connsiteY2184" fmla="*/ 421366 h 1118257"/>
                    <a:gd name="connsiteX2185" fmla="*/ 761380 w 1516542"/>
                    <a:gd name="connsiteY2185" fmla="*/ 419679 h 1118257"/>
                    <a:gd name="connsiteX2186" fmla="*/ 766172 w 1516542"/>
                    <a:gd name="connsiteY2186" fmla="*/ 418619 h 1118257"/>
                    <a:gd name="connsiteX2187" fmla="*/ 766172 w 1516542"/>
                    <a:gd name="connsiteY2187" fmla="*/ 426101 h 1118257"/>
                    <a:gd name="connsiteX2188" fmla="*/ 773002 w 1516542"/>
                    <a:gd name="connsiteY2188" fmla="*/ 426704 h 1118257"/>
                    <a:gd name="connsiteX2189" fmla="*/ 775153 w 1516542"/>
                    <a:gd name="connsiteY2189" fmla="*/ 426614 h 1118257"/>
                    <a:gd name="connsiteX2190" fmla="*/ 778161 w 1516542"/>
                    <a:gd name="connsiteY2190" fmla="*/ 428268 h 1118257"/>
                    <a:gd name="connsiteX2191" fmla="*/ 779864 w 1516542"/>
                    <a:gd name="connsiteY2191" fmla="*/ 427568 h 1118257"/>
                    <a:gd name="connsiteX2192" fmla="*/ 781478 w 1516542"/>
                    <a:gd name="connsiteY2192" fmla="*/ 425946 h 1118257"/>
                    <a:gd name="connsiteX2193" fmla="*/ 783499 w 1516542"/>
                    <a:gd name="connsiteY2193" fmla="*/ 423379 h 1118257"/>
                    <a:gd name="connsiteX2194" fmla="*/ 786416 w 1516542"/>
                    <a:gd name="connsiteY2194" fmla="*/ 422254 h 1118257"/>
                    <a:gd name="connsiteX2195" fmla="*/ 791437 w 1516542"/>
                    <a:gd name="connsiteY2195" fmla="*/ 419385 h 1118257"/>
                    <a:gd name="connsiteX2196" fmla="*/ 792659 w 1516542"/>
                    <a:gd name="connsiteY2196" fmla="*/ 418684 h 1118257"/>
                    <a:gd name="connsiteX2197" fmla="*/ 800124 w 1516542"/>
                    <a:gd name="connsiteY2197" fmla="*/ 414601 h 1118257"/>
                    <a:gd name="connsiteX2198" fmla="*/ 811281 w 1516542"/>
                    <a:gd name="connsiteY2198" fmla="*/ 409565 h 1118257"/>
                    <a:gd name="connsiteX2199" fmla="*/ 816285 w 1516542"/>
                    <a:gd name="connsiteY2199" fmla="*/ 407120 h 1118257"/>
                    <a:gd name="connsiteX2200" fmla="*/ 817777 w 1516542"/>
                    <a:gd name="connsiteY2200" fmla="*/ 406574 h 1118257"/>
                    <a:gd name="connsiteX2201" fmla="*/ 820613 w 1516542"/>
                    <a:gd name="connsiteY2201" fmla="*/ 405327 h 1118257"/>
                    <a:gd name="connsiteX2202" fmla="*/ 822512 w 1516542"/>
                    <a:gd name="connsiteY2202" fmla="*/ 404463 h 1118257"/>
                    <a:gd name="connsiteX2203" fmla="*/ 825886 w 1516542"/>
                    <a:gd name="connsiteY2203" fmla="*/ 403770 h 1118257"/>
                    <a:gd name="connsiteX2204" fmla="*/ 830474 w 1516542"/>
                    <a:gd name="connsiteY2204" fmla="*/ 403338 h 1118257"/>
                    <a:gd name="connsiteX2205" fmla="*/ 835469 w 1516542"/>
                    <a:gd name="connsiteY2205" fmla="*/ 402385 h 1118257"/>
                    <a:gd name="connsiteX2206" fmla="*/ 846790 w 1516542"/>
                    <a:gd name="connsiteY2206" fmla="*/ 400600 h 1118257"/>
                    <a:gd name="connsiteX2207" fmla="*/ 848208 w 1516542"/>
                    <a:gd name="connsiteY2207" fmla="*/ 400437 h 1118257"/>
                    <a:gd name="connsiteX2208" fmla="*/ 854564 w 1516542"/>
                    <a:gd name="connsiteY2208" fmla="*/ 399695 h 1118257"/>
                    <a:gd name="connsiteX2209" fmla="*/ 857270 w 1516542"/>
                    <a:gd name="connsiteY2209" fmla="*/ 399003 h 1118257"/>
                    <a:gd name="connsiteX2210" fmla="*/ 861312 w 1516542"/>
                    <a:gd name="connsiteY2210" fmla="*/ 399369 h 1118257"/>
                    <a:gd name="connsiteX2211" fmla="*/ 866577 w 1516542"/>
                    <a:gd name="connsiteY2211" fmla="*/ 399622 h 1118257"/>
                    <a:gd name="connsiteX2212" fmla="*/ 870065 w 1516542"/>
                    <a:gd name="connsiteY2212" fmla="*/ 400079 h 1118257"/>
                    <a:gd name="connsiteX2213" fmla="*/ 874719 w 1516542"/>
                    <a:gd name="connsiteY2213" fmla="*/ 399720 h 1118257"/>
                    <a:gd name="connsiteX2214" fmla="*/ 881092 w 1516542"/>
                    <a:gd name="connsiteY2214" fmla="*/ 399239 h 1118257"/>
                    <a:gd name="connsiteX2215" fmla="*/ 886251 w 1516542"/>
                    <a:gd name="connsiteY2215" fmla="*/ 399312 h 1118257"/>
                    <a:gd name="connsiteX2216" fmla="*/ 888810 w 1516542"/>
                    <a:gd name="connsiteY2216" fmla="*/ 398709 h 1118257"/>
                    <a:gd name="connsiteX2217" fmla="*/ 892591 w 1516542"/>
                    <a:gd name="connsiteY2217" fmla="*/ 396827 h 1118257"/>
                    <a:gd name="connsiteX2218" fmla="*/ 895134 w 1516542"/>
                    <a:gd name="connsiteY2218" fmla="*/ 395335 h 1118257"/>
                    <a:gd name="connsiteX2219" fmla="*/ 899127 w 1516542"/>
                    <a:gd name="connsiteY2219" fmla="*/ 393518 h 1118257"/>
                    <a:gd name="connsiteX2220" fmla="*/ 904066 w 1516542"/>
                    <a:gd name="connsiteY2220" fmla="*/ 391644 h 1118257"/>
                    <a:gd name="connsiteX2221" fmla="*/ 907505 w 1516542"/>
                    <a:gd name="connsiteY2221" fmla="*/ 389948 h 1118257"/>
                    <a:gd name="connsiteX2222" fmla="*/ 909787 w 1516542"/>
                    <a:gd name="connsiteY2222" fmla="*/ 388816 h 1118257"/>
                    <a:gd name="connsiteX2223" fmla="*/ 912558 w 1516542"/>
                    <a:gd name="connsiteY2223" fmla="*/ 387748 h 1118257"/>
                    <a:gd name="connsiteX2224" fmla="*/ 913275 w 1516542"/>
                    <a:gd name="connsiteY2224" fmla="*/ 386363 h 1118257"/>
                    <a:gd name="connsiteX2225" fmla="*/ 914082 w 1516542"/>
                    <a:gd name="connsiteY2225" fmla="*/ 385311 h 1118257"/>
                    <a:gd name="connsiteX2226" fmla="*/ 915549 w 1516542"/>
                    <a:gd name="connsiteY2226" fmla="*/ 383551 h 1118257"/>
                    <a:gd name="connsiteX2227" fmla="*/ 918189 w 1516542"/>
                    <a:gd name="connsiteY2227" fmla="*/ 380250 h 1118257"/>
                    <a:gd name="connsiteX2228" fmla="*/ 920203 w 1516542"/>
                    <a:gd name="connsiteY2228" fmla="*/ 377365 h 1118257"/>
                    <a:gd name="connsiteX2229" fmla="*/ 921197 w 1516542"/>
                    <a:gd name="connsiteY2229" fmla="*/ 376094 h 1118257"/>
                    <a:gd name="connsiteX2230" fmla="*/ 923454 w 1516542"/>
                    <a:gd name="connsiteY2230" fmla="*/ 373209 h 1118257"/>
                    <a:gd name="connsiteX2231" fmla="*/ 925280 w 1516542"/>
                    <a:gd name="connsiteY2231" fmla="*/ 371033 h 1118257"/>
                    <a:gd name="connsiteX2232" fmla="*/ 927611 w 1516542"/>
                    <a:gd name="connsiteY2232" fmla="*/ 368099 h 1118257"/>
                    <a:gd name="connsiteX2233" fmla="*/ 929574 w 1516542"/>
                    <a:gd name="connsiteY2233" fmla="*/ 367154 h 1118257"/>
                    <a:gd name="connsiteX2234" fmla="*/ 932061 w 1516542"/>
                    <a:gd name="connsiteY2234" fmla="*/ 366355 h 1118257"/>
                    <a:gd name="connsiteX2235" fmla="*/ 938605 w 1516542"/>
                    <a:gd name="connsiteY2235" fmla="*/ 363470 h 1118257"/>
                    <a:gd name="connsiteX2236" fmla="*/ 939917 w 1516542"/>
                    <a:gd name="connsiteY2236" fmla="*/ 362850 h 1118257"/>
                    <a:gd name="connsiteX2237" fmla="*/ 941001 w 1516542"/>
                    <a:gd name="connsiteY2237" fmla="*/ 362736 h 1118257"/>
                    <a:gd name="connsiteX2238" fmla="*/ 943315 w 1516542"/>
                    <a:gd name="connsiteY2238" fmla="*/ 360406 h 1118257"/>
                    <a:gd name="connsiteX2239" fmla="*/ 945279 w 1516542"/>
                    <a:gd name="connsiteY2239" fmla="*/ 358401 h 1118257"/>
                    <a:gd name="connsiteX2240" fmla="*/ 946550 w 1516542"/>
                    <a:gd name="connsiteY2240" fmla="*/ 356893 h 1118257"/>
                    <a:gd name="connsiteX2241" fmla="*/ 949207 w 1516542"/>
                    <a:gd name="connsiteY2241" fmla="*/ 356347 h 1118257"/>
                    <a:gd name="connsiteX2242" fmla="*/ 950569 w 1516542"/>
                    <a:gd name="connsiteY2242" fmla="*/ 355263 h 1118257"/>
                    <a:gd name="connsiteX2243" fmla="*/ 950805 w 1516542"/>
                    <a:gd name="connsiteY2243" fmla="*/ 353837 h 1118257"/>
                    <a:gd name="connsiteX2244" fmla="*/ 950528 w 1516542"/>
                    <a:gd name="connsiteY2244" fmla="*/ 351661 h 1118257"/>
                    <a:gd name="connsiteX2245" fmla="*/ 949256 w 1516542"/>
                    <a:gd name="connsiteY2245" fmla="*/ 349436 h 1118257"/>
                    <a:gd name="connsiteX2246" fmla="*/ 948180 w 1516542"/>
                    <a:gd name="connsiteY2246" fmla="*/ 347488 h 1118257"/>
                    <a:gd name="connsiteX2247" fmla="*/ 944383 w 1516542"/>
                    <a:gd name="connsiteY2247" fmla="*/ 343788 h 1118257"/>
                    <a:gd name="connsiteX2248" fmla="*/ 942370 w 1516542"/>
                    <a:gd name="connsiteY2248" fmla="*/ 341490 h 1118257"/>
                    <a:gd name="connsiteX2249" fmla="*/ 940316 w 1516542"/>
                    <a:gd name="connsiteY2249" fmla="*/ 338532 h 1118257"/>
                    <a:gd name="connsiteX2250" fmla="*/ 939485 w 1516542"/>
                    <a:gd name="connsiteY2250" fmla="*/ 335753 h 1118257"/>
                    <a:gd name="connsiteX2251" fmla="*/ 938083 w 1516542"/>
                    <a:gd name="connsiteY2251" fmla="*/ 333984 h 1118257"/>
                    <a:gd name="connsiteX2252" fmla="*/ 937398 w 1516542"/>
                    <a:gd name="connsiteY2252" fmla="*/ 332411 h 1118257"/>
                    <a:gd name="connsiteX2253" fmla="*/ 937618 w 1516542"/>
                    <a:gd name="connsiteY2253" fmla="*/ 330602 h 1118257"/>
                    <a:gd name="connsiteX2254" fmla="*/ 939566 w 1516542"/>
                    <a:gd name="connsiteY2254" fmla="*/ 327375 h 1118257"/>
                    <a:gd name="connsiteX2255" fmla="*/ 940202 w 1516542"/>
                    <a:gd name="connsiteY2255" fmla="*/ 325337 h 1118257"/>
                    <a:gd name="connsiteX2256" fmla="*/ 941001 w 1516542"/>
                    <a:gd name="connsiteY2256" fmla="*/ 321727 h 1118257"/>
                    <a:gd name="connsiteX2257" fmla="*/ 942843 w 1516542"/>
                    <a:gd name="connsiteY2257" fmla="*/ 316332 h 1118257"/>
                    <a:gd name="connsiteX2258" fmla="*/ 944334 w 1516542"/>
                    <a:gd name="connsiteY2258" fmla="*/ 313805 h 1118257"/>
                    <a:gd name="connsiteX2259" fmla="*/ 946045 w 1516542"/>
                    <a:gd name="connsiteY2259" fmla="*/ 311336 h 1118257"/>
                    <a:gd name="connsiteX2260" fmla="*/ 949696 w 1516542"/>
                    <a:gd name="connsiteY2260" fmla="*/ 308019 h 1118257"/>
                    <a:gd name="connsiteX2261" fmla="*/ 953046 w 1516542"/>
                    <a:gd name="connsiteY2261" fmla="*/ 307408 h 1118257"/>
                    <a:gd name="connsiteX2262" fmla="*/ 955026 w 1516542"/>
                    <a:gd name="connsiteY2262" fmla="*/ 308068 h 1118257"/>
                    <a:gd name="connsiteX2263" fmla="*/ 959468 w 1516542"/>
                    <a:gd name="connsiteY2263" fmla="*/ 308060 h 1118257"/>
                    <a:gd name="connsiteX2264" fmla="*/ 962426 w 1516542"/>
                    <a:gd name="connsiteY2264" fmla="*/ 308231 h 1118257"/>
                    <a:gd name="connsiteX2265" fmla="*/ 964610 w 1516542"/>
                    <a:gd name="connsiteY2265" fmla="*/ 309885 h 1118257"/>
                    <a:gd name="connsiteX2266" fmla="*/ 967031 w 1516542"/>
                    <a:gd name="connsiteY2266" fmla="*/ 313162 h 1118257"/>
                    <a:gd name="connsiteX2267" fmla="*/ 969761 w 1516542"/>
                    <a:gd name="connsiteY2267" fmla="*/ 314360 h 1118257"/>
                    <a:gd name="connsiteX2268" fmla="*/ 978253 w 1516542"/>
                    <a:gd name="connsiteY2268" fmla="*/ 316919 h 1118257"/>
                    <a:gd name="connsiteX2269" fmla="*/ 981896 w 1516542"/>
                    <a:gd name="connsiteY2269" fmla="*/ 317465 h 1118257"/>
                    <a:gd name="connsiteX2270" fmla="*/ 984496 w 1516542"/>
                    <a:gd name="connsiteY2270" fmla="*/ 317571 h 1118257"/>
                    <a:gd name="connsiteX2271" fmla="*/ 988334 w 1516542"/>
                    <a:gd name="connsiteY2271" fmla="*/ 318426 h 1118257"/>
                    <a:gd name="connsiteX2272" fmla="*/ 989630 w 1516542"/>
                    <a:gd name="connsiteY2272" fmla="*/ 318598 h 1118257"/>
                    <a:gd name="connsiteX2273" fmla="*/ 991586 w 1516542"/>
                    <a:gd name="connsiteY2273" fmla="*/ 319184 h 1118257"/>
                    <a:gd name="connsiteX2274" fmla="*/ 993224 w 1516542"/>
                    <a:gd name="connsiteY2274" fmla="*/ 318565 h 1118257"/>
                    <a:gd name="connsiteX2275" fmla="*/ 995685 w 1516542"/>
                    <a:gd name="connsiteY2275" fmla="*/ 316373 h 1118257"/>
                    <a:gd name="connsiteX2276" fmla="*/ 998782 w 1516542"/>
                    <a:gd name="connsiteY2276" fmla="*/ 313911 h 1118257"/>
                    <a:gd name="connsiteX2277" fmla="*/ 1000111 w 1516542"/>
                    <a:gd name="connsiteY2277" fmla="*/ 313349 h 1118257"/>
                    <a:gd name="connsiteX2278" fmla="*/ 1002580 w 1516542"/>
                    <a:gd name="connsiteY2278" fmla="*/ 312281 h 1118257"/>
                    <a:gd name="connsiteX2279" fmla="*/ 1003827 w 1516542"/>
                    <a:gd name="connsiteY2279" fmla="*/ 311287 h 1118257"/>
                    <a:gd name="connsiteX2280" fmla="*/ 1005987 w 1516542"/>
                    <a:gd name="connsiteY2280" fmla="*/ 308524 h 1118257"/>
                    <a:gd name="connsiteX2281" fmla="*/ 1008814 w 1516542"/>
                    <a:gd name="connsiteY2281" fmla="*/ 306381 h 1118257"/>
                    <a:gd name="connsiteX2282" fmla="*/ 1012229 w 1516542"/>
                    <a:gd name="connsiteY2282" fmla="*/ 303162 h 1118257"/>
                    <a:gd name="connsiteX2283" fmla="*/ 1013924 w 1516542"/>
                    <a:gd name="connsiteY2283" fmla="*/ 300733 h 1118257"/>
                    <a:gd name="connsiteX2284" fmla="*/ 1014291 w 1516542"/>
                    <a:gd name="connsiteY2284" fmla="*/ 299160 h 1118257"/>
                    <a:gd name="connsiteX2285" fmla="*/ 1014658 w 1516542"/>
                    <a:gd name="connsiteY2285" fmla="*/ 297465 h 1118257"/>
                    <a:gd name="connsiteX2286" fmla="*/ 1015726 w 1516542"/>
                    <a:gd name="connsiteY2286" fmla="*/ 296569 h 1118257"/>
                    <a:gd name="connsiteX2287" fmla="*/ 1017812 w 1516542"/>
                    <a:gd name="connsiteY2287" fmla="*/ 295746 h 1118257"/>
                    <a:gd name="connsiteX2288" fmla="*/ 1020151 w 1516542"/>
                    <a:gd name="connsiteY2288" fmla="*/ 295526 h 1118257"/>
                    <a:gd name="connsiteX2289" fmla="*/ 1024633 w 1516542"/>
                    <a:gd name="connsiteY2289" fmla="*/ 296984 h 1118257"/>
                    <a:gd name="connsiteX2290" fmla="*/ 1030672 w 1516542"/>
                    <a:gd name="connsiteY2290" fmla="*/ 296561 h 1118257"/>
                    <a:gd name="connsiteX2291" fmla="*/ 1032025 w 1516542"/>
                    <a:gd name="connsiteY2291" fmla="*/ 296357 h 1118257"/>
                    <a:gd name="connsiteX2292" fmla="*/ 1037534 w 1516542"/>
                    <a:gd name="connsiteY2292" fmla="*/ 295517 h 1118257"/>
                    <a:gd name="connsiteX2293" fmla="*/ 1040020 w 1516542"/>
                    <a:gd name="connsiteY2293" fmla="*/ 294833 h 1118257"/>
                    <a:gd name="connsiteX2294" fmla="*/ 1043524 w 1516542"/>
                    <a:gd name="connsiteY2294" fmla="*/ 294173 h 1118257"/>
                    <a:gd name="connsiteX2295" fmla="*/ 1046214 w 1516542"/>
                    <a:gd name="connsiteY2295" fmla="*/ 291475 h 1118257"/>
                    <a:gd name="connsiteX2296" fmla="*/ 1049808 w 1516542"/>
                    <a:gd name="connsiteY2296" fmla="*/ 288256 h 1118257"/>
                    <a:gd name="connsiteX2297" fmla="*/ 1052424 w 1516542"/>
                    <a:gd name="connsiteY2297" fmla="*/ 286463 h 1118257"/>
                    <a:gd name="connsiteX2298" fmla="*/ 1054160 w 1516542"/>
                    <a:gd name="connsiteY2298" fmla="*/ 286121 h 1118257"/>
                    <a:gd name="connsiteX2299" fmla="*/ 1056336 w 1516542"/>
                    <a:gd name="connsiteY2299" fmla="*/ 284271 h 1118257"/>
                    <a:gd name="connsiteX2300" fmla="*/ 1057411 w 1516542"/>
                    <a:gd name="connsiteY2300" fmla="*/ 282274 h 1118257"/>
                    <a:gd name="connsiteX2301" fmla="*/ 1057118 w 1516542"/>
                    <a:gd name="connsiteY2301" fmla="*/ 280514 h 1118257"/>
                    <a:gd name="connsiteX2302" fmla="*/ 1056719 w 1516542"/>
                    <a:gd name="connsiteY2302" fmla="*/ 279063 h 1118257"/>
                    <a:gd name="connsiteX2303" fmla="*/ 1057998 w 1516542"/>
                    <a:gd name="connsiteY2303" fmla="*/ 276374 h 1118257"/>
                    <a:gd name="connsiteX2304" fmla="*/ 1060304 w 1516542"/>
                    <a:gd name="connsiteY2304" fmla="*/ 271655 h 1118257"/>
                    <a:gd name="connsiteX2305" fmla="*/ 1062472 w 1516542"/>
                    <a:gd name="connsiteY2305" fmla="*/ 269455 h 1118257"/>
                    <a:gd name="connsiteX2306" fmla="*/ 1064249 w 1516542"/>
                    <a:gd name="connsiteY2306" fmla="*/ 267678 h 1118257"/>
                    <a:gd name="connsiteX2307" fmla="*/ 1065398 w 1516542"/>
                    <a:gd name="connsiteY2307" fmla="*/ 264817 h 1118257"/>
                    <a:gd name="connsiteX2308" fmla="*/ 1066800 w 1516542"/>
                    <a:gd name="connsiteY2308" fmla="*/ 263986 h 1118257"/>
                    <a:gd name="connsiteX2309" fmla="*/ 1068528 w 1516542"/>
                    <a:gd name="connsiteY2309" fmla="*/ 263676 h 1118257"/>
                    <a:gd name="connsiteX2310" fmla="*/ 1070956 w 1516542"/>
                    <a:gd name="connsiteY2310" fmla="*/ 261737 h 1118257"/>
                    <a:gd name="connsiteX2311" fmla="*/ 1072741 w 1516542"/>
                    <a:gd name="connsiteY2311" fmla="*/ 261337 h 1118257"/>
                    <a:gd name="connsiteX2312" fmla="*/ 1075716 w 1516542"/>
                    <a:gd name="connsiteY2312" fmla="*/ 262267 h 1118257"/>
                    <a:gd name="connsiteX2313" fmla="*/ 1080108 w 1516542"/>
                    <a:gd name="connsiteY2313" fmla="*/ 262503 h 1118257"/>
                    <a:gd name="connsiteX2314" fmla="*/ 1082912 w 1516542"/>
                    <a:gd name="connsiteY2314" fmla="*/ 262609 h 1118257"/>
                    <a:gd name="connsiteX2315" fmla="*/ 1084517 w 1516542"/>
                    <a:gd name="connsiteY2315" fmla="*/ 262258 h 1118257"/>
                    <a:gd name="connsiteX2316" fmla="*/ 1085088 w 1516542"/>
                    <a:gd name="connsiteY2316" fmla="*/ 261223 h 1118257"/>
                    <a:gd name="connsiteX2317" fmla="*/ 1085079 w 1516542"/>
                    <a:gd name="connsiteY2317" fmla="*/ 259610 h 1118257"/>
                    <a:gd name="connsiteX2318" fmla="*/ 1085960 w 1516542"/>
                    <a:gd name="connsiteY2318" fmla="*/ 256040 h 1118257"/>
                    <a:gd name="connsiteX2319" fmla="*/ 1086294 w 1516542"/>
                    <a:gd name="connsiteY2319" fmla="*/ 254850 h 1118257"/>
                    <a:gd name="connsiteX2320" fmla="*/ 1087109 w 1516542"/>
                    <a:gd name="connsiteY2320" fmla="*/ 254304 h 1118257"/>
                    <a:gd name="connsiteX2321" fmla="*/ 1089806 w 1516542"/>
                    <a:gd name="connsiteY2321" fmla="*/ 254239 h 1118257"/>
                    <a:gd name="connsiteX2322" fmla="*/ 1091632 w 1516542"/>
                    <a:gd name="connsiteY2322" fmla="*/ 255519 h 1118257"/>
                    <a:gd name="connsiteX2323" fmla="*/ 1092879 w 1516542"/>
                    <a:gd name="connsiteY2323" fmla="*/ 256586 h 1118257"/>
                    <a:gd name="connsiteX2324" fmla="*/ 1094623 w 1516542"/>
                    <a:gd name="connsiteY2324" fmla="*/ 256725 h 1118257"/>
                    <a:gd name="connsiteX2325" fmla="*/ 1096424 w 1516542"/>
                    <a:gd name="connsiteY2325" fmla="*/ 256032 h 1118257"/>
                    <a:gd name="connsiteX2326" fmla="*/ 1098820 w 1516542"/>
                    <a:gd name="connsiteY2326" fmla="*/ 253131 h 1118257"/>
                    <a:gd name="connsiteX2327" fmla="*/ 1102813 w 1516542"/>
                    <a:gd name="connsiteY2327" fmla="*/ 251460 h 1118257"/>
                    <a:gd name="connsiteX2328" fmla="*/ 1104932 w 1516542"/>
                    <a:gd name="connsiteY2328" fmla="*/ 251036 h 1118257"/>
                    <a:gd name="connsiteX2329" fmla="*/ 1108697 w 1516542"/>
                    <a:gd name="connsiteY2329" fmla="*/ 249667 h 1118257"/>
                    <a:gd name="connsiteX2330" fmla="*/ 1111069 w 1516542"/>
                    <a:gd name="connsiteY2330" fmla="*/ 250156 h 1118257"/>
                    <a:gd name="connsiteX2331" fmla="*/ 1115438 w 1516542"/>
                    <a:gd name="connsiteY2331" fmla="*/ 250555 h 1118257"/>
                    <a:gd name="connsiteX2332" fmla="*/ 1117133 w 1516542"/>
                    <a:gd name="connsiteY2332" fmla="*/ 250213 h 1118257"/>
                    <a:gd name="connsiteX2333" fmla="*/ 1118975 w 1516542"/>
                    <a:gd name="connsiteY2333" fmla="*/ 250555 h 1118257"/>
                    <a:gd name="connsiteX2334" fmla="*/ 1120637 w 1516542"/>
                    <a:gd name="connsiteY2334" fmla="*/ 248591 h 1118257"/>
                    <a:gd name="connsiteX2335" fmla="*/ 1121974 w 1516542"/>
                    <a:gd name="connsiteY2335" fmla="*/ 248127 h 1118257"/>
                    <a:gd name="connsiteX2336" fmla="*/ 1124777 w 1516542"/>
                    <a:gd name="connsiteY2336" fmla="*/ 249031 h 1118257"/>
                    <a:gd name="connsiteX2337" fmla="*/ 1126554 w 1516542"/>
                    <a:gd name="connsiteY2337" fmla="*/ 250547 h 1118257"/>
                    <a:gd name="connsiteX2338" fmla="*/ 1129871 w 1516542"/>
                    <a:gd name="connsiteY2338" fmla="*/ 252446 h 1118257"/>
                    <a:gd name="connsiteX2339" fmla="*/ 1134076 w 1516542"/>
                    <a:gd name="connsiteY2339" fmla="*/ 253334 h 1118257"/>
                    <a:gd name="connsiteX2340" fmla="*/ 1137597 w 1516542"/>
                    <a:gd name="connsiteY2340" fmla="*/ 252870 h 1118257"/>
                    <a:gd name="connsiteX2341" fmla="*/ 1141231 w 1516542"/>
                    <a:gd name="connsiteY2341" fmla="*/ 253685 h 1118257"/>
                    <a:gd name="connsiteX2342" fmla="*/ 1143367 w 1516542"/>
                    <a:gd name="connsiteY2342" fmla="*/ 253603 h 1118257"/>
                    <a:gd name="connsiteX2343" fmla="*/ 1144377 w 1516542"/>
                    <a:gd name="connsiteY2343" fmla="*/ 252854 h 1118257"/>
                    <a:gd name="connsiteX2344" fmla="*/ 1147352 w 1516542"/>
                    <a:gd name="connsiteY2344" fmla="*/ 251256 h 1118257"/>
                    <a:gd name="connsiteX2345" fmla="*/ 1148069 w 1516542"/>
                    <a:gd name="connsiteY2345" fmla="*/ 249097 h 1118257"/>
                    <a:gd name="connsiteX2346" fmla="*/ 1147767 w 1516542"/>
                    <a:gd name="connsiteY2346" fmla="*/ 247018 h 1118257"/>
                    <a:gd name="connsiteX2347" fmla="*/ 1148110 w 1516542"/>
                    <a:gd name="connsiteY2347" fmla="*/ 244663 h 1118257"/>
                    <a:gd name="connsiteX2348" fmla="*/ 1147246 w 1516542"/>
                    <a:gd name="connsiteY2348" fmla="*/ 242927 h 1118257"/>
                    <a:gd name="connsiteX2349" fmla="*/ 1145404 w 1516542"/>
                    <a:gd name="connsiteY2349" fmla="*/ 240352 h 1118257"/>
                    <a:gd name="connsiteX2350" fmla="*/ 1144687 w 1516542"/>
                    <a:gd name="connsiteY2350" fmla="*/ 238640 h 1118257"/>
                    <a:gd name="connsiteX2351" fmla="*/ 1144630 w 1516542"/>
                    <a:gd name="connsiteY2351" fmla="*/ 236391 h 1118257"/>
                    <a:gd name="connsiteX2352" fmla="*/ 1143481 w 1516542"/>
                    <a:gd name="connsiteY2352" fmla="*/ 234256 h 1118257"/>
                    <a:gd name="connsiteX2353" fmla="*/ 1140734 w 1516542"/>
                    <a:gd name="connsiteY2353" fmla="*/ 231681 h 1118257"/>
                    <a:gd name="connsiteX2354" fmla="*/ 1138909 w 1516542"/>
                    <a:gd name="connsiteY2354" fmla="*/ 230491 h 1118257"/>
                    <a:gd name="connsiteX2355" fmla="*/ 1135184 w 1516542"/>
                    <a:gd name="connsiteY2355" fmla="*/ 226025 h 1118257"/>
                    <a:gd name="connsiteX2356" fmla="*/ 1133929 w 1516542"/>
                    <a:gd name="connsiteY2356" fmla="*/ 224982 h 1118257"/>
                    <a:gd name="connsiteX2357" fmla="*/ 1133497 w 1516542"/>
                    <a:gd name="connsiteY2357" fmla="*/ 224248 h 1118257"/>
                    <a:gd name="connsiteX2358" fmla="*/ 1133057 w 1516542"/>
                    <a:gd name="connsiteY2358" fmla="*/ 222748 h 1118257"/>
                    <a:gd name="connsiteX2359" fmla="*/ 1131680 w 1516542"/>
                    <a:gd name="connsiteY2359" fmla="*/ 222031 h 1118257"/>
                    <a:gd name="connsiteX2360" fmla="*/ 1129879 w 1516542"/>
                    <a:gd name="connsiteY2360" fmla="*/ 220866 h 1118257"/>
                    <a:gd name="connsiteX2361" fmla="*/ 1128893 w 1516542"/>
                    <a:gd name="connsiteY2361" fmla="*/ 219676 h 1118257"/>
                    <a:gd name="connsiteX2362" fmla="*/ 1128257 w 1516542"/>
                    <a:gd name="connsiteY2362" fmla="*/ 217614 h 1118257"/>
                    <a:gd name="connsiteX2363" fmla="*/ 1127882 w 1516542"/>
                    <a:gd name="connsiteY2363" fmla="*/ 216253 h 1118257"/>
                    <a:gd name="connsiteX2364" fmla="*/ 1126277 w 1516542"/>
                    <a:gd name="connsiteY2364" fmla="*/ 215137 h 1118257"/>
                    <a:gd name="connsiteX2365" fmla="*/ 1124679 w 1516542"/>
                    <a:gd name="connsiteY2365" fmla="*/ 214509 h 1118257"/>
                    <a:gd name="connsiteX2366" fmla="*/ 1122870 w 1516542"/>
                    <a:gd name="connsiteY2366" fmla="*/ 213719 h 1118257"/>
                    <a:gd name="connsiteX2367" fmla="*/ 1119887 w 1516542"/>
                    <a:gd name="connsiteY2367" fmla="*/ 212553 h 1118257"/>
                    <a:gd name="connsiteX2368" fmla="*/ 1118176 w 1516542"/>
                    <a:gd name="connsiteY2368" fmla="*/ 210239 h 1118257"/>
                    <a:gd name="connsiteX2369" fmla="*/ 1115128 w 1516542"/>
                    <a:gd name="connsiteY2369" fmla="*/ 205903 h 1118257"/>
                    <a:gd name="connsiteX2370" fmla="*/ 1113408 w 1516542"/>
                    <a:gd name="connsiteY2370" fmla="*/ 204444 h 1118257"/>
                    <a:gd name="connsiteX2371" fmla="*/ 1106986 w 1516542"/>
                    <a:gd name="connsiteY2371" fmla="*/ 203890 h 1118257"/>
                    <a:gd name="connsiteX2372" fmla="*/ 1104688 w 1516542"/>
                    <a:gd name="connsiteY2372" fmla="*/ 202831 h 1118257"/>
                    <a:gd name="connsiteX2373" fmla="*/ 1102080 w 1516542"/>
                    <a:gd name="connsiteY2373" fmla="*/ 203181 h 1118257"/>
                    <a:gd name="connsiteX2374" fmla="*/ 1100523 w 1516542"/>
                    <a:gd name="connsiteY2374" fmla="*/ 203882 h 1118257"/>
                    <a:gd name="connsiteX2375" fmla="*/ 1097093 w 1516542"/>
                    <a:gd name="connsiteY2375" fmla="*/ 203866 h 1118257"/>
                    <a:gd name="connsiteX2376" fmla="*/ 1095299 w 1516542"/>
                    <a:gd name="connsiteY2376" fmla="*/ 204306 h 1118257"/>
                    <a:gd name="connsiteX2377" fmla="*/ 1093026 w 1516542"/>
                    <a:gd name="connsiteY2377" fmla="*/ 207158 h 1118257"/>
                    <a:gd name="connsiteX2378" fmla="*/ 1090010 w 1516542"/>
                    <a:gd name="connsiteY2378" fmla="*/ 210874 h 1118257"/>
                    <a:gd name="connsiteX2379" fmla="*/ 1087533 w 1516542"/>
                    <a:gd name="connsiteY2379" fmla="*/ 213140 h 1118257"/>
                    <a:gd name="connsiteX2380" fmla="*/ 1085764 w 1516542"/>
                    <a:gd name="connsiteY2380" fmla="*/ 215487 h 1118257"/>
                    <a:gd name="connsiteX2381" fmla="*/ 1084933 w 1516542"/>
                    <a:gd name="connsiteY2381" fmla="*/ 216326 h 1118257"/>
                    <a:gd name="connsiteX2382" fmla="*/ 1083328 w 1516542"/>
                    <a:gd name="connsiteY2382" fmla="*/ 215821 h 1118257"/>
                    <a:gd name="connsiteX2383" fmla="*/ 1081127 w 1516542"/>
                    <a:gd name="connsiteY2383" fmla="*/ 213173 h 1118257"/>
                    <a:gd name="connsiteX2384" fmla="*/ 1077965 w 1516542"/>
                    <a:gd name="connsiteY2384" fmla="*/ 210801 h 1118257"/>
                    <a:gd name="connsiteX2385" fmla="*/ 1075039 w 1516542"/>
                    <a:gd name="connsiteY2385" fmla="*/ 209725 h 1118257"/>
                    <a:gd name="connsiteX2386" fmla="*/ 1073784 w 1516542"/>
                    <a:gd name="connsiteY2386" fmla="*/ 209130 h 1118257"/>
                    <a:gd name="connsiteX2387" fmla="*/ 1070304 w 1516542"/>
                    <a:gd name="connsiteY2387" fmla="*/ 208535 h 1118257"/>
                    <a:gd name="connsiteX2388" fmla="*/ 1067599 w 1516542"/>
                    <a:gd name="connsiteY2388" fmla="*/ 208731 h 1118257"/>
                    <a:gd name="connsiteX2389" fmla="*/ 1064176 w 1516542"/>
                    <a:gd name="connsiteY2389" fmla="*/ 209619 h 1118257"/>
                    <a:gd name="connsiteX2390" fmla="*/ 1060810 w 1516542"/>
                    <a:gd name="connsiteY2390" fmla="*/ 209456 h 1118257"/>
                    <a:gd name="connsiteX2391" fmla="*/ 1059302 w 1516542"/>
                    <a:gd name="connsiteY2391" fmla="*/ 208894 h 1118257"/>
                    <a:gd name="connsiteX2392" fmla="*/ 1057167 w 1516542"/>
                    <a:gd name="connsiteY2392" fmla="*/ 208951 h 1118257"/>
                    <a:gd name="connsiteX2393" fmla="*/ 1053296 w 1516542"/>
                    <a:gd name="connsiteY2393" fmla="*/ 211412 h 1118257"/>
                    <a:gd name="connsiteX2394" fmla="*/ 1051291 w 1516542"/>
                    <a:gd name="connsiteY2394" fmla="*/ 214208 h 1118257"/>
                    <a:gd name="connsiteX2395" fmla="*/ 1048919 w 1516542"/>
                    <a:gd name="connsiteY2395" fmla="*/ 215088 h 1118257"/>
                    <a:gd name="connsiteX2396" fmla="*/ 1046768 w 1516542"/>
                    <a:gd name="connsiteY2396" fmla="*/ 213246 h 1118257"/>
                    <a:gd name="connsiteX2397" fmla="*/ 1044290 w 1516542"/>
                    <a:gd name="connsiteY2397" fmla="*/ 211078 h 1118257"/>
                    <a:gd name="connsiteX2398" fmla="*/ 1041919 w 1516542"/>
                    <a:gd name="connsiteY2398" fmla="*/ 208348 h 1118257"/>
                    <a:gd name="connsiteX2399" fmla="*/ 1040460 w 1516542"/>
                    <a:gd name="connsiteY2399" fmla="*/ 205838 h 1118257"/>
                    <a:gd name="connsiteX2400" fmla="*/ 1039653 w 1516542"/>
                    <a:gd name="connsiteY2400" fmla="*/ 199171 h 1118257"/>
                    <a:gd name="connsiteX2401" fmla="*/ 1042489 w 1516542"/>
                    <a:gd name="connsiteY2401" fmla="*/ 197183 h 1118257"/>
                    <a:gd name="connsiteX2402" fmla="*/ 1046116 w 1516542"/>
                    <a:gd name="connsiteY2402" fmla="*/ 194958 h 1118257"/>
                    <a:gd name="connsiteX2403" fmla="*/ 1046393 w 1516542"/>
                    <a:gd name="connsiteY2403" fmla="*/ 191421 h 1118257"/>
                    <a:gd name="connsiteX2404" fmla="*/ 1046262 w 1516542"/>
                    <a:gd name="connsiteY2404" fmla="*/ 187485 h 1118257"/>
                    <a:gd name="connsiteX2405" fmla="*/ 1046988 w 1516542"/>
                    <a:gd name="connsiteY2405" fmla="*/ 183116 h 1118257"/>
                    <a:gd name="connsiteX2406" fmla="*/ 1050297 w 1516542"/>
                    <a:gd name="connsiteY2406" fmla="*/ 179066 h 1118257"/>
                    <a:gd name="connsiteX2407" fmla="*/ 1052065 w 1516542"/>
                    <a:gd name="connsiteY2407" fmla="*/ 175716 h 1118257"/>
                    <a:gd name="connsiteX2408" fmla="*/ 1052293 w 1516542"/>
                    <a:gd name="connsiteY2408" fmla="*/ 173630 h 1118257"/>
                    <a:gd name="connsiteX2409" fmla="*/ 1053874 w 1516542"/>
                    <a:gd name="connsiteY2409" fmla="*/ 170166 h 1118257"/>
                    <a:gd name="connsiteX2410" fmla="*/ 1055398 w 1516542"/>
                    <a:gd name="connsiteY2410" fmla="*/ 166491 h 1118257"/>
                    <a:gd name="connsiteX2411" fmla="*/ 1057468 w 1516542"/>
                    <a:gd name="connsiteY2411" fmla="*/ 161691 h 1118257"/>
                    <a:gd name="connsiteX2412" fmla="*/ 1061413 w 1516542"/>
                    <a:gd name="connsiteY2412" fmla="*/ 153142 h 1118257"/>
                    <a:gd name="connsiteX2413" fmla="*/ 1066058 w 1516542"/>
                    <a:gd name="connsiteY2413" fmla="*/ 143020 h 1118257"/>
                    <a:gd name="connsiteX2414" fmla="*/ 1068381 w 1516542"/>
                    <a:gd name="connsiteY2414" fmla="*/ 137967 h 1118257"/>
                    <a:gd name="connsiteX2415" fmla="*/ 1073491 w 1516542"/>
                    <a:gd name="connsiteY2415" fmla="*/ 141096 h 1118257"/>
                    <a:gd name="connsiteX2416" fmla="*/ 1076775 w 1516542"/>
                    <a:gd name="connsiteY2416" fmla="*/ 142726 h 1118257"/>
                    <a:gd name="connsiteX2417" fmla="*/ 1082333 w 1516542"/>
                    <a:gd name="connsiteY2417" fmla="*/ 145204 h 1118257"/>
                    <a:gd name="connsiteX2418" fmla="*/ 1088070 w 1516542"/>
                    <a:gd name="connsiteY2418" fmla="*/ 145766 h 1118257"/>
                    <a:gd name="connsiteX2419" fmla="*/ 1093555 w 1516542"/>
                    <a:gd name="connsiteY2419" fmla="*/ 148431 h 1118257"/>
                    <a:gd name="connsiteX2420" fmla="*/ 1096400 w 1516542"/>
                    <a:gd name="connsiteY2420" fmla="*/ 149246 h 1118257"/>
                    <a:gd name="connsiteX2421" fmla="*/ 1097899 w 1516542"/>
                    <a:gd name="connsiteY2421" fmla="*/ 149254 h 1118257"/>
                    <a:gd name="connsiteX2422" fmla="*/ 1105666 w 1516542"/>
                    <a:gd name="connsiteY2422" fmla="*/ 142734 h 1118257"/>
                    <a:gd name="connsiteX2423" fmla="*/ 1112235 w 1516542"/>
                    <a:gd name="connsiteY2423" fmla="*/ 137217 h 1118257"/>
                    <a:gd name="connsiteX2424" fmla="*/ 1119797 w 1516542"/>
                    <a:gd name="connsiteY2424" fmla="*/ 132898 h 1118257"/>
                    <a:gd name="connsiteX2425" fmla="*/ 1125331 w 1516542"/>
                    <a:gd name="connsiteY2425" fmla="*/ 132319 h 1118257"/>
                    <a:gd name="connsiteX2426" fmla="*/ 1129496 w 1516542"/>
                    <a:gd name="connsiteY2426" fmla="*/ 131064 h 1118257"/>
                    <a:gd name="connsiteX2427" fmla="*/ 1132291 w 1516542"/>
                    <a:gd name="connsiteY2427" fmla="*/ 129133 h 1118257"/>
                    <a:gd name="connsiteX2428" fmla="*/ 1133929 w 1516542"/>
                    <a:gd name="connsiteY2428" fmla="*/ 125905 h 1118257"/>
                    <a:gd name="connsiteX2429" fmla="*/ 1134434 w 1516542"/>
                    <a:gd name="connsiteY2429" fmla="*/ 121366 h 1118257"/>
                    <a:gd name="connsiteX2430" fmla="*/ 1133326 w 1516542"/>
                    <a:gd name="connsiteY2430" fmla="*/ 118628 h 1118257"/>
                    <a:gd name="connsiteX2431" fmla="*/ 1130604 w 1516542"/>
                    <a:gd name="connsiteY2431" fmla="*/ 117682 h 1118257"/>
                    <a:gd name="connsiteX2432" fmla="*/ 1129903 w 1516542"/>
                    <a:gd name="connsiteY2432" fmla="*/ 116729 h 1118257"/>
                    <a:gd name="connsiteX2433" fmla="*/ 1131224 w 1516542"/>
                    <a:gd name="connsiteY2433" fmla="*/ 115759 h 1118257"/>
                    <a:gd name="connsiteX2434" fmla="*/ 1132193 w 1516542"/>
                    <a:gd name="connsiteY2434" fmla="*/ 113860 h 1118257"/>
                    <a:gd name="connsiteX2435" fmla="*/ 1132804 w 1516542"/>
                    <a:gd name="connsiteY2435" fmla="*/ 111056 h 1118257"/>
                    <a:gd name="connsiteX2436" fmla="*/ 1134369 w 1516542"/>
                    <a:gd name="connsiteY2436" fmla="*/ 108383 h 1118257"/>
                    <a:gd name="connsiteX2437" fmla="*/ 1136896 w 1516542"/>
                    <a:gd name="connsiteY2437" fmla="*/ 105857 h 1118257"/>
                    <a:gd name="connsiteX2438" fmla="*/ 1138289 w 1516542"/>
                    <a:gd name="connsiteY2438" fmla="*/ 103061 h 1118257"/>
                    <a:gd name="connsiteX2439" fmla="*/ 1138558 w 1516542"/>
                    <a:gd name="connsiteY2439" fmla="*/ 99981 h 1118257"/>
                    <a:gd name="connsiteX2440" fmla="*/ 1140066 w 1516542"/>
                    <a:gd name="connsiteY2440" fmla="*/ 96908 h 1118257"/>
                    <a:gd name="connsiteX2441" fmla="*/ 1142837 w 1516542"/>
                    <a:gd name="connsiteY2441" fmla="*/ 93836 h 1118257"/>
                    <a:gd name="connsiteX2442" fmla="*/ 1144345 w 1516542"/>
                    <a:gd name="connsiteY2442" fmla="*/ 90992 h 1118257"/>
                    <a:gd name="connsiteX2443" fmla="*/ 1144614 w 1516542"/>
                    <a:gd name="connsiteY2443" fmla="*/ 88351 h 1118257"/>
                    <a:gd name="connsiteX2444" fmla="*/ 1146015 w 1516542"/>
                    <a:gd name="connsiteY2444" fmla="*/ 85124 h 1118257"/>
                    <a:gd name="connsiteX2445" fmla="*/ 1149829 w 1516542"/>
                    <a:gd name="connsiteY2445" fmla="*/ 79411 h 1118257"/>
                    <a:gd name="connsiteX2446" fmla="*/ 1152307 w 1516542"/>
                    <a:gd name="connsiteY2446" fmla="*/ 72818 h 1118257"/>
                    <a:gd name="connsiteX2447" fmla="*/ 1156520 w 1516542"/>
                    <a:gd name="connsiteY2447" fmla="*/ 68295 h 1118257"/>
                    <a:gd name="connsiteX2448" fmla="*/ 1163301 w 1516542"/>
                    <a:gd name="connsiteY2448" fmla="*/ 63658 h 1118257"/>
                    <a:gd name="connsiteX2449" fmla="*/ 1167555 w 1516542"/>
                    <a:gd name="connsiteY2449" fmla="*/ 59045 h 1118257"/>
                    <a:gd name="connsiteX2450" fmla="*/ 1169250 w 1516542"/>
                    <a:gd name="connsiteY2450" fmla="*/ 54465 h 1118257"/>
                    <a:gd name="connsiteX2451" fmla="*/ 1169112 w 1516542"/>
                    <a:gd name="connsiteY2451" fmla="*/ 50422 h 1118257"/>
                    <a:gd name="connsiteX2452" fmla="*/ 1167139 w 1516542"/>
                    <a:gd name="connsiteY2452" fmla="*/ 46918 h 1118257"/>
                    <a:gd name="connsiteX2453" fmla="*/ 1166781 w 1516542"/>
                    <a:gd name="connsiteY2453" fmla="*/ 43348 h 1118257"/>
                    <a:gd name="connsiteX2454" fmla="*/ 1167987 w 1516542"/>
                    <a:gd name="connsiteY2454" fmla="*/ 39714 h 1118257"/>
                    <a:gd name="connsiteX2455" fmla="*/ 1166920 w 1516542"/>
                    <a:gd name="connsiteY2455" fmla="*/ 36992 h 1118257"/>
                    <a:gd name="connsiteX2456" fmla="*/ 1163570 w 1516542"/>
                    <a:gd name="connsiteY2456" fmla="*/ 35190 h 1118257"/>
                    <a:gd name="connsiteX2457" fmla="*/ 1159577 w 1516542"/>
                    <a:gd name="connsiteY2457" fmla="*/ 34742 h 1118257"/>
                    <a:gd name="connsiteX2458" fmla="*/ 1154931 w 1516542"/>
                    <a:gd name="connsiteY2458" fmla="*/ 35663 h 1118257"/>
                    <a:gd name="connsiteX2459" fmla="*/ 1152323 w 1516542"/>
                    <a:gd name="connsiteY2459" fmla="*/ 34522 h 1118257"/>
                    <a:gd name="connsiteX2460" fmla="*/ 1151745 w 1516542"/>
                    <a:gd name="connsiteY2460" fmla="*/ 31344 h 1118257"/>
                    <a:gd name="connsiteX2461" fmla="*/ 1152991 w 1516542"/>
                    <a:gd name="connsiteY2461" fmla="*/ 28777 h 1118257"/>
                    <a:gd name="connsiteX2462" fmla="*/ 1156056 w 1516542"/>
                    <a:gd name="connsiteY2462" fmla="*/ 26813 h 1118257"/>
                    <a:gd name="connsiteX2463" fmla="*/ 1161092 w 1516542"/>
                    <a:gd name="connsiteY2463" fmla="*/ 22012 h 1118257"/>
                    <a:gd name="connsiteX2464" fmla="*/ 1168109 w 1516542"/>
                    <a:gd name="connsiteY2464" fmla="*/ 14401 h 1118257"/>
                    <a:gd name="connsiteX2465" fmla="*/ 1175085 w 1516542"/>
                    <a:gd name="connsiteY2465" fmla="*/ 10171 h 1118257"/>
                    <a:gd name="connsiteX2466" fmla="*/ 1185501 w 1516542"/>
                    <a:gd name="connsiteY2466" fmla="*/ 8957 h 1118257"/>
                    <a:gd name="connsiteX2467" fmla="*/ 1193911 w 1516542"/>
                    <a:gd name="connsiteY2467" fmla="*/ 6463 h 1118257"/>
                    <a:gd name="connsiteX2468" fmla="*/ 1202452 w 1516542"/>
                    <a:gd name="connsiteY2468" fmla="*/ 3912 h 1118257"/>
                    <a:gd name="connsiteX2469" fmla="*/ 1208630 w 1516542"/>
                    <a:gd name="connsiteY2469" fmla="*/ 2657 h 1118257"/>
                    <a:gd name="connsiteX2470" fmla="*/ 1209681 w 1516542"/>
                    <a:gd name="connsiteY2470" fmla="*/ 3496 h 1118257"/>
                    <a:gd name="connsiteX2471" fmla="*/ 1213047 w 1516542"/>
                    <a:gd name="connsiteY2471" fmla="*/ 3708 h 1118257"/>
                    <a:gd name="connsiteX2472" fmla="*/ 1218711 w 1516542"/>
                    <a:gd name="connsiteY2472" fmla="*/ 3276 h 1118257"/>
                    <a:gd name="connsiteX2473" fmla="*/ 1224008 w 1516542"/>
                    <a:gd name="connsiteY2473" fmla="*/ 2176 h 1118257"/>
                    <a:gd name="connsiteX2474" fmla="*/ 1228874 w 1516542"/>
                    <a:gd name="connsiteY2474" fmla="*/ 424 h 1118257"/>
                    <a:gd name="connsiteX2475" fmla="*/ 1232728 w 1516542"/>
                    <a:gd name="connsiteY2475" fmla="*/ 0 h 1118257"/>
                    <a:gd name="connsiteX2476" fmla="*/ 1235572 w 1516542"/>
                    <a:gd name="connsiteY2476" fmla="*/ 945 h 1118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Lst>
                  <a:rect l="l" t="t" r="r" b="b"/>
                  <a:pathLst>
                    <a:path w="1516542" h="1118257">
                      <a:moveTo>
                        <a:pt x="1237195" y="986"/>
                      </a:moveTo>
                      <a:lnTo>
                        <a:pt x="1238319" y="1100"/>
                      </a:lnTo>
                      <a:lnTo>
                        <a:pt x="1238938" y="1092"/>
                      </a:lnTo>
                      <a:lnTo>
                        <a:pt x="1240120" y="350"/>
                      </a:lnTo>
                      <a:lnTo>
                        <a:pt x="1243429" y="1679"/>
                      </a:lnTo>
                      <a:lnTo>
                        <a:pt x="1249721" y="5631"/>
                      </a:lnTo>
                      <a:lnTo>
                        <a:pt x="1253689" y="7400"/>
                      </a:lnTo>
                      <a:lnTo>
                        <a:pt x="1255311" y="6968"/>
                      </a:lnTo>
                      <a:lnTo>
                        <a:pt x="1257080" y="8068"/>
                      </a:lnTo>
                      <a:lnTo>
                        <a:pt x="1259019" y="10684"/>
                      </a:lnTo>
                      <a:lnTo>
                        <a:pt x="1261407" y="12233"/>
                      </a:lnTo>
                      <a:lnTo>
                        <a:pt x="1265719" y="12942"/>
                      </a:lnTo>
                      <a:lnTo>
                        <a:pt x="1269997" y="15819"/>
                      </a:lnTo>
                      <a:lnTo>
                        <a:pt x="1271733" y="15973"/>
                      </a:lnTo>
                      <a:lnTo>
                        <a:pt x="1272344" y="14360"/>
                      </a:lnTo>
                      <a:lnTo>
                        <a:pt x="1273941" y="13447"/>
                      </a:lnTo>
                      <a:lnTo>
                        <a:pt x="1276517" y="13203"/>
                      </a:lnTo>
                      <a:lnTo>
                        <a:pt x="1280250" y="14621"/>
                      </a:lnTo>
                      <a:lnTo>
                        <a:pt x="1285139" y="17693"/>
                      </a:lnTo>
                      <a:lnTo>
                        <a:pt x="1288203" y="19046"/>
                      </a:lnTo>
                      <a:lnTo>
                        <a:pt x="1289443" y="18679"/>
                      </a:lnTo>
                      <a:lnTo>
                        <a:pt x="1290754" y="19241"/>
                      </a:lnTo>
                      <a:lnTo>
                        <a:pt x="1291814" y="20684"/>
                      </a:lnTo>
                      <a:lnTo>
                        <a:pt x="1291904" y="22461"/>
                      </a:lnTo>
                      <a:lnTo>
                        <a:pt x="1291545" y="23414"/>
                      </a:lnTo>
                      <a:lnTo>
                        <a:pt x="1292719" y="24906"/>
                      </a:lnTo>
                      <a:lnTo>
                        <a:pt x="1294080" y="24906"/>
                      </a:lnTo>
                      <a:lnTo>
                        <a:pt x="1296280" y="25623"/>
                      </a:lnTo>
                      <a:lnTo>
                        <a:pt x="1298008" y="28271"/>
                      </a:lnTo>
                      <a:lnTo>
                        <a:pt x="1299565" y="29494"/>
                      </a:lnTo>
                      <a:lnTo>
                        <a:pt x="1300656" y="30553"/>
                      </a:lnTo>
                      <a:lnTo>
                        <a:pt x="1300852" y="31433"/>
                      </a:lnTo>
                      <a:lnTo>
                        <a:pt x="1300950" y="32322"/>
                      </a:lnTo>
                      <a:lnTo>
                        <a:pt x="1300624" y="33015"/>
                      </a:lnTo>
                      <a:lnTo>
                        <a:pt x="1300037" y="34155"/>
                      </a:lnTo>
                      <a:lnTo>
                        <a:pt x="1299866" y="35370"/>
                      </a:lnTo>
                      <a:lnTo>
                        <a:pt x="1300591" y="36747"/>
                      </a:lnTo>
                      <a:lnTo>
                        <a:pt x="1303337" y="37741"/>
                      </a:lnTo>
                      <a:lnTo>
                        <a:pt x="1304283" y="38768"/>
                      </a:lnTo>
                      <a:lnTo>
                        <a:pt x="1304495" y="40080"/>
                      </a:lnTo>
                      <a:lnTo>
                        <a:pt x="1305351" y="41531"/>
                      </a:lnTo>
                      <a:lnTo>
                        <a:pt x="1307217" y="43210"/>
                      </a:lnTo>
                      <a:lnTo>
                        <a:pt x="1307942" y="44612"/>
                      </a:lnTo>
                      <a:lnTo>
                        <a:pt x="1307502" y="45736"/>
                      </a:lnTo>
                      <a:lnTo>
                        <a:pt x="1308040" y="46673"/>
                      </a:lnTo>
                      <a:lnTo>
                        <a:pt x="1308977" y="47415"/>
                      </a:lnTo>
                      <a:lnTo>
                        <a:pt x="1309165" y="50088"/>
                      </a:lnTo>
                      <a:lnTo>
                        <a:pt x="1309254" y="51628"/>
                      </a:lnTo>
                      <a:lnTo>
                        <a:pt x="1310762" y="53356"/>
                      </a:lnTo>
                      <a:lnTo>
                        <a:pt x="1311072" y="56885"/>
                      </a:lnTo>
                      <a:lnTo>
                        <a:pt x="1312123" y="60797"/>
                      </a:lnTo>
                      <a:lnTo>
                        <a:pt x="1315668" y="66143"/>
                      </a:lnTo>
                      <a:lnTo>
                        <a:pt x="1316842" y="69036"/>
                      </a:lnTo>
                      <a:lnTo>
                        <a:pt x="1316532" y="72475"/>
                      </a:lnTo>
                      <a:lnTo>
                        <a:pt x="1317054" y="74089"/>
                      </a:lnTo>
                      <a:lnTo>
                        <a:pt x="1318667" y="74872"/>
                      </a:lnTo>
                      <a:lnTo>
                        <a:pt x="1319434" y="76330"/>
                      </a:lnTo>
                      <a:lnTo>
                        <a:pt x="1319344" y="78457"/>
                      </a:lnTo>
                      <a:lnTo>
                        <a:pt x="1319971" y="79770"/>
                      </a:lnTo>
                      <a:lnTo>
                        <a:pt x="1320485" y="81179"/>
                      </a:lnTo>
                      <a:lnTo>
                        <a:pt x="1320134" y="83364"/>
                      </a:lnTo>
                      <a:lnTo>
                        <a:pt x="1320648" y="85336"/>
                      </a:lnTo>
                      <a:lnTo>
                        <a:pt x="1321479" y="86485"/>
                      </a:lnTo>
                      <a:lnTo>
                        <a:pt x="1322066" y="88612"/>
                      </a:lnTo>
                      <a:lnTo>
                        <a:pt x="1322400" y="91269"/>
                      </a:lnTo>
                      <a:lnTo>
                        <a:pt x="1324771" y="95474"/>
                      </a:lnTo>
                      <a:lnTo>
                        <a:pt x="1329180" y="101211"/>
                      </a:lnTo>
                      <a:lnTo>
                        <a:pt x="1331870" y="105678"/>
                      </a:lnTo>
                      <a:lnTo>
                        <a:pt x="1332864" y="108848"/>
                      </a:lnTo>
                      <a:lnTo>
                        <a:pt x="1332872" y="111456"/>
                      </a:lnTo>
                      <a:lnTo>
                        <a:pt x="1331902" y="113501"/>
                      </a:lnTo>
                      <a:lnTo>
                        <a:pt x="1331846" y="114985"/>
                      </a:lnTo>
                      <a:lnTo>
                        <a:pt x="1332709" y="115922"/>
                      </a:lnTo>
                      <a:lnTo>
                        <a:pt x="1332970" y="117185"/>
                      </a:lnTo>
                      <a:lnTo>
                        <a:pt x="1332628" y="118774"/>
                      </a:lnTo>
                      <a:lnTo>
                        <a:pt x="1334070" y="120657"/>
                      </a:lnTo>
                      <a:lnTo>
                        <a:pt x="1338903" y="123925"/>
                      </a:lnTo>
                      <a:lnTo>
                        <a:pt x="1336964" y="128937"/>
                      </a:lnTo>
                      <a:lnTo>
                        <a:pt x="1336466" y="132458"/>
                      </a:lnTo>
                      <a:lnTo>
                        <a:pt x="1336727" y="136158"/>
                      </a:lnTo>
                      <a:lnTo>
                        <a:pt x="1337925" y="138765"/>
                      </a:lnTo>
                      <a:lnTo>
                        <a:pt x="1340052" y="140281"/>
                      </a:lnTo>
                      <a:lnTo>
                        <a:pt x="1341381" y="141862"/>
                      </a:lnTo>
                      <a:lnTo>
                        <a:pt x="1341902" y="143509"/>
                      </a:lnTo>
                      <a:lnTo>
                        <a:pt x="1344453" y="145302"/>
                      </a:lnTo>
                      <a:lnTo>
                        <a:pt x="1349058" y="147241"/>
                      </a:lnTo>
                      <a:lnTo>
                        <a:pt x="1354942" y="147583"/>
                      </a:lnTo>
                      <a:lnTo>
                        <a:pt x="1362122" y="146312"/>
                      </a:lnTo>
                      <a:lnTo>
                        <a:pt x="1366531" y="146100"/>
                      </a:lnTo>
                      <a:lnTo>
                        <a:pt x="1368136" y="146948"/>
                      </a:lnTo>
                      <a:lnTo>
                        <a:pt x="1368682" y="148219"/>
                      </a:lnTo>
                      <a:lnTo>
                        <a:pt x="1368169" y="149931"/>
                      </a:lnTo>
                      <a:lnTo>
                        <a:pt x="1369383" y="151055"/>
                      </a:lnTo>
                      <a:lnTo>
                        <a:pt x="1372333" y="151585"/>
                      </a:lnTo>
                      <a:lnTo>
                        <a:pt x="1374371" y="152669"/>
                      </a:lnTo>
                      <a:lnTo>
                        <a:pt x="1375487" y="154283"/>
                      </a:lnTo>
                      <a:lnTo>
                        <a:pt x="1376848" y="154739"/>
                      </a:lnTo>
                      <a:lnTo>
                        <a:pt x="1378462" y="154038"/>
                      </a:lnTo>
                      <a:lnTo>
                        <a:pt x="1380027" y="154144"/>
                      </a:lnTo>
                      <a:lnTo>
                        <a:pt x="1381559" y="155041"/>
                      </a:lnTo>
                      <a:lnTo>
                        <a:pt x="1382553" y="154731"/>
                      </a:lnTo>
                      <a:lnTo>
                        <a:pt x="1383409" y="153745"/>
                      </a:lnTo>
                      <a:lnTo>
                        <a:pt x="1384794" y="153745"/>
                      </a:lnTo>
                      <a:lnTo>
                        <a:pt x="1386221" y="153769"/>
                      </a:lnTo>
                      <a:lnTo>
                        <a:pt x="1387109" y="156141"/>
                      </a:lnTo>
                      <a:lnTo>
                        <a:pt x="1388535" y="157477"/>
                      </a:lnTo>
                      <a:lnTo>
                        <a:pt x="1390523" y="157771"/>
                      </a:lnTo>
                      <a:lnTo>
                        <a:pt x="1393523" y="160656"/>
                      </a:lnTo>
                      <a:lnTo>
                        <a:pt x="1399594" y="168854"/>
                      </a:lnTo>
                      <a:lnTo>
                        <a:pt x="1403530" y="171772"/>
                      </a:lnTo>
                      <a:lnTo>
                        <a:pt x="1407483" y="172677"/>
                      </a:lnTo>
                      <a:lnTo>
                        <a:pt x="1412381" y="172872"/>
                      </a:lnTo>
                      <a:lnTo>
                        <a:pt x="1413979" y="176042"/>
                      </a:lnTo>
                      <a:lnTo>
                        <a:pt x="1412699" y="179400"/>
                      </a:lnTo>
                      <a:lnTo>
                        <a:pt x="1412365" y="182204"/>
                      </a:lnTo>
                      <a:lnTo>
                        <a:pt x="1413490" y="183206"/>
                      </a:lnTo>
                      <a:lnTo>
                        <a:pt x="1415013" y="186498"/>
                      </a:lnTo>
                      <a:lnTo>
                        <a:pt x="1417190" y="188405"/>
                      </a:lnTo>
                      <a:lnTo>
                        <a:pt x="1417605" y="189913"/>
                      </a:lnTo>
                      <a:lnTo>
                        <a:pt x="1418624" y="191600"/>
                      </a:lnTo>
                      <a:lnTo>
                        <a:pt x="1418192" y="194721"/>
                      </a:lnTo>
                      <a:lnTo>
                        <a:pt x="1416334" y="199285"/>
                      </a:lnTo>
                      <a:lnTo>
                        <a:pt x="1416831" y="203173"/>
                      </a:lnTo>
                      <a:lnTo>
                        <a:pt x="1419724" y="206392"/>
                      </a:lnTo>
                      <a:lnTo>
                        <a:pt x="1421378" y="209497"/>
                      </a:lnTo>
                      <a:lnTo>
                        <a:pt x="1421802" y="212472"/>
                      </a:lnTo>
                      <a:lnTo>
                        <a:pt x="1422519" y="214281"/>
                      </a:lnTo>
                      <a:lnTo>
                        <a:pt x="1423538" y="214925"/>
                      </a:lnTo>
                      <a:lnTo>
                        <a:pt x="1426496" y="214705"/>
                      </a:lnTo>
                      <a:lnTo>
                        <a:pt x="1431394" y="213621"/>
                      </a:lnTo>
                      <a:lnTo>
                        <a:pt x="1434997" y="213808"/>
                      </a:lnTo>
                      <a:lnTo>
                        <a:pt x="1437278" y="215251"/>
                      </a:lnTo>
                      <a:lnTo>
                        <a:pt x="1442942" y="215316"/>
                      </a:lnTo>
                      <a:lnTo>
                        <a:pt x="1451997" y="213971"/>
                      </a:lnTo>
                      <a:lnTo>
                        <a:pt x="1457702" y="213564"/>
                      </a:lnTo>
                      <a:lnTo>
                        <a:pt x="1460090" y="214085"/>
                      </a:lnTo>
                      <a:lnTo>
                        <a:pt x="1462209" y="212162"/>
                      </a:lnTo>
                      <a:lnTo>
                        <a:pt x="1464067" y="207810"/>
                      </a:lnTo>
                      <a:lnTo>
                        <a:pt x="1465811" y="205756"/>
                      </a:lnTo>
                      <a:lnTo>
                        <a:pt x="1467441" y="206017"/>
                      </a:lnTo>
                      <a:lnTo>
                        <a:pt x="1470024" y="204623"/>
                      </a:lnTo>
                      <a:lnTo>
                        <a:pt x="1473569" y="201559"/>
                      </a:lnTo>
                      <a:lnTo>
                        <a:pt x="1476650" y="200076"/>
                      </a:lnTo>
                      <a:lnTo>
                        <a:pt x="1480545" y="200223"/>
                      </a:lnTo>
                      <a:lnTo>
                        <a:pt x="1484685" y="200386"/>
                      </a:lnTo>
                      <a:lnTo>
                        <a:pt x="1487301" y="199090"/>
                      </a:lnTo>
                      <a:lnTo>
                        <a:pt x="1489738" y="196408"/>
                      </a:lnTo>
                      <a:lnTo>
                        <a:pt x="1493968" y="194029"/>
                      </a:lnTo>
                      <a:lnTo>
                        <a:pt x="1502982" y="190932"/>
                      </a:lnTo>
                      <a:lnTo>
                        <a:pt x="1505158" y="190451"/>
                      </a:lnTo>
                      <a:lnTo>
                        <a:pt x="1506184" y="190614"/>
                      </a:lnTo>
                      <a:lnTo>
                        <a:pt x="1509192" y="191103"/>
                      </a:lnTo>
                      <a:lnTo>
                        <a:pt x="1511857" y="192309"/>
                      </a:lnTo>
                      <a:lnTo>
                        <a:pt x="1514383" y="194746"/>
                      </a:lnTo>
                      <a:lnTo>
                        <a:pt x="1514766" y="196311"/>
                      </a:lnTo>
                      <a:lnTo>
                        <a:pt x="1514481" y="198364"/>
                      </a:lnTo>
                      <a:lnTo>
                        <a:pt x="1513927" y="199554"/>
                      </a:lnTo>
                      <a:lnTo>
                        <a:pt x="1512900" y="200891"/>
                      </a:lnTo>
                      <a:lnTo>
                        <a:pt x="1511914" y="203059"/>
                      </a:lnTo>
                      <a:lnTo>
                        <a:pt x="1512541" y="204754"/>
                      </a:lnTo>
                      <a:lnTo>
                        <a:pt x="1514008" y="208372"/>
                      </a:lnTo>
                      <a:lnTo>
                        <a:pt x="1515206" y="210988"/>
                      </a:lnTo>
                      <a:lnTo>
                        <a:pt x="1516543" y="214069"/>
                      </a:lnTo>
                      <a:lnTo>
                        <a:pt x="1515931" y="215169"/>
                      </a:lnTo>
                      <a:lnTo>
                        <a:pt x="1515141" y="217304"/>
                      </a:lnTo>
                      <a:lnTo>
                        <a:pt x="1512663" y="220915"/>
                      </a:lnTo>
                      <a:lnTo>
                        <a:pt x="1511319" y="222300"/>
                      </a:lnTo>
                      <a:lnTo>
                        <a:pt x="1509868" y="223645"/>
                      </a:lnTo>
                      <a:lnTo>
                        <a:pt x="1507366" y="223971"/>
                      </a:lnTo>
                      <a:lnTo>
                        <a:pt x="1506307" y="224281"/>
                      </a:lnTo>
                      <a:lnTo>
                        <a:pt x="1505093" y="224859"/>
                      </a:lnTo>
                      <a:lnTo>
                        <a:pt x="1504327" y="226131"/>
                      </a:lnTo>
                      <a:lnTo>
                        <a:pt x="1503471" y="227035"/>
                      </a:lnTo>
                      <a:lnTo>
                        <a:pt x="1502036" y="228828"/>
                      </a:lnTo>
                      <a:lnTo>
                        <a:pt x="1501914" y="230377"/>
                      </a:lnTo>
                      <a:lnTo>
                        <a:pt x="1502574" y="232683"/>
                      </a:lnTo>
                      <a:lnTo>
                        <a:pt x="1502900" y="235038"/>
                      </a:lnTo>
                      <a:lnTo>
                        <a:pt x="1501270" y="237141"/>
                      </a:lnTo>
                      <a:lnTo>
                        <a:pt x="1500015" y="240376"/>
                      </a:lnTo>
                      <a:lnTo>
                        <a:pt x="1499648" y="241354"/>
                      </a:lnTo>
                      <a:lnTo>
                        <a:pt x="1499021" y="243799"/>
                      </a:lnTo>
                      <a:lnTo>
                        <a:pt x="1498842" y="244647"/>
                      </a:lnTo>
                      <a:lnTo>
                        <a:pt x="1498442" y="249806"/>
                      </a:lnTo>
                      <a:lnTo>
                        <a:pt x="1496821" y="253310"/>
                      </a:lnTo>
                      <a:lnTo>
                        <a:pt x="1494571" y="257401"/>
                      </a:lnTo>
                      <a:lnTo>
                        <a:pt x="1495068" y="259830"/>
                      </a:lnTo>
                      <a:lnTo>
                        <a:pt x="1495468" y="262079"/>
                      </a:lnTo>
                      <a:lnTo>
                        <a:pt x="1494905" y="263179"/>
                      </a:lnTo>
                      <a:lnTo>
                        <a:pt x="1494775" y="264141"/>
                      </a:lnTo>
                      <a:lnTo>
                        <a:pt x="1494432" y="266301"/>
                      </a:lnTo>
                      <a:lnTo>
                        <a:pt x="1493740" y="267140"/>
                      </a:lnTo>
                      <a:lnTo>
                        <a:pt x="1491686" y="268493"/>
                      </a:lnTo>
                      <a:lnTo>
                        <a:pt x="1490448" y="270123"/>
                      </a:lnTo>
                      <a:lnTo>
                        <a:pt x="1490708" y="272609"/>
                      </a:lnTo>
                      <a:lnTo>
                        <a:pt x="1490080" y="274752"/>
                      </a:lnTo>
                      <a:lnTo>
                        <a:pt x="1489135" y="276651"/>
                      </a:lnTo>
                      <a:lnTo>
                        <a:pt x="1488157" y="277881"/>
                      </a:lnTo>
                      <a:lnTo>
                        <a:pt x="1486747" y="278680"/>
                      </a:lnTo>
                      <a:lnTo>
                        <a:pt x="1485802" y="279348"/>
                      </a:lnTo>
                      <a:lnTo>
                        <a:pt x="1485093" y="281761"/>
                      </a:lnTo>
                      <a:lnTo>
                        <a:pt x="1484873" y="283627"/>
                      </a:lnTo>
                      <a:lnTo>
                        <a:pt x="1484213" y="285477"/>
                      </a:lnTo>
                      <a:lnTo>
                        <a:pt x="1484628" y="287376"/>
                      </a:lnTo>
                      <a:lnTo>
                        <a:pt x="1483903" y="289014"/>
                      </a:lnTo>
                      <a:lnTo>
                        <a:pt x="1481882" y="290155"/>
                      </a:lnTo>
                      <a:lnTo>
                        <a:pt x="1480757" y="290831"/>
                      </a:lnTo>
                      <a:lnTo>
                        <a:pt x="1479698" y="291108"/>
                      </a:lnTo>
                      <a:lnTo>
                        <a:pt x="1477693" y="292885"/>
                      </a:lnTo>
                      <a:lnTo>
                        <a:pt x="1475884" y="298989"/>
                      </a:lnTo>
                      <a:lnTo>
                        <a:pt x="1475476" y="302534"/>
                      </a:lnTo>
                      <a:lnTo>
                        <a:pt x="1475892" y="305688"/>
                      </a:lnTo>
                      <a:lnTo>
                        <a:pt x="1473366" y="307660"/>
                      </a:lnTo>
                      <a:lnTo>
                        <a:pt x="1471483" y="309217"/>
                      </a:lnTo>
                      <a:lnTo>
                        <a:pt x="1470317" y="308655"/>
                      </a:lnTo>
                      <a:lnTo>
                        <a:pt x="1469079" y="308125"/>
                      </a:lnTo>
                      <a:lnTo>
                        <a:pt x="1466210" y="307449"/>
                      </a:lnTo>
                      <a:lnTo>
                        <a:pt x="1464792" y="306984"/>
                      </a:lnTo>
                      <a:lnTo>
                        <a:pt x="1461883" y="305965"/>
                      </a:lnTo>
                      <a:lnTo>
                        <a:pt x="1457278" y="304661"/>
                      </a:lnTo>
                      <a:lnTo>
                        <a:pt x="1452763" y="303137"/>
                      </a:lnTo>
                      <a:lnTo>
                        <a:pt x="1449952" y="302339"/>
                      </a:lnTo>
                      <a:lnTo>
                        <a:pt x="1447718" y="301711"/>
                      </a:lnTo>
                      <a:lnTo>
                        <a:pt x="1446023" y="300660"/>
                      </a:lnTo>
                      <a:lnTo>
                        <a:pt x="1444605" y="298794"/>
                      </a:lnTo>
                      <a:lnTo>
                        <a:pt x="1443179" y="299552"/>
                      </a:lnTo>
                      <a:lnTo>
                        <a:pt x="1441867" y="301752"/>
                      </a:lnTo>
                      <a:lnTo>
                        <a:pt x="1439691" y="303064"/>
                      </a:lnTo>
                      <a:lnTo>
                        <a:pt x="1438696" y="305476"/>
                      </a:lnTo>
                      <a:lnTo>
                        <a:pt x="1437824" y="307343"/>
                      </a:lnTo>
                      <a:lnTo>
                        <a:pt x="1435559" y="309812"/>
                      </a:lnTo>
                      <a:lnTo>
                        <a:pt x="1434556" y="310831"/>
                      </a:lnTo>
                      <a:lnTo>
                        <a:pt x="1430123" y="312510"/>
                      </a:lnTo>
                      <a:lnTo>
                        <a:pt x="1429121" y="313072"/>
                      </a:lnTo>
                      <a:lnTo>
                        <a:pt x="1425510" y="313422"/>
                      </a:lnTo>
                      <a:lnTo>
                        <a:pt x="1424288" y="314164"/>
                      </a:lnTo>
                      <a:lnTo>
                        <a:pt x="1423016" y="315729"/>
                      </a:lnTo>
                      <a:lnTo>
                        <a:pt x="1422674" y="317285"/>
                      </a:lnTo>
                      <a:lnTo>
                        <a:pt x="1423562" y="318923"/>
                      </a:lnTo>
                      <a:lnTo>
                        <a:pt x="1424973" y="322191"/>
                      </a:lnTo>
                      <a:lnTo>
                        <a:pt x="1425624" y="324433"/>
                      </a:lnTo>
                      <a:lnTo>
                        <a:pt x="1426586" y="328858"/>
                      </a:lnTo>
                      <a:lnTo>
                        <a:pt x="1429805" y="342729"/>
                      </a:lnTo>
                      <a:lnTo>
                        <a:pt x="1428754" y="345117"/>
                      </a:lnTo>
                      <a:lnTo>
                        <a:pt x="1427792" y="355491"/>
                      </a:lnTo>
                      <a:lnTo>
                        <a:pt x="1428020" y="357358"/>
                      </a:lnTo>
                      <a:lnTo>
                        <a:pt x="1427931" y="360275"/>
                      </a:lnTo>
                      <a:lnTo>
                        <a:pt x="1427996" y="362419"/>
                      </a:lnTo>
                      <a:lnTo>
                        <a:pt x="1428656" y="362932"/>
                      </a:lnTo>
                      <a:lnTo>
                        <a:pt x="1429528" y="363682"/>
                      </a:lnTo>
                      <a:lnTo>
                        <a:pt x="1429960" y="364929"/>
                      </a:lnTo>
                      <a:lnTo>
                        <a:pt x="1429862" y="366836"/>
                      </a:lnTo>
                      <a:lnTo>
                        <a:pt x="1429406" y="368237"/>
                      </a:lnTo>
                      <a:lnTo>
                        <a:pt x="1428730" y="371008"/>
                      </a:lnTo>
                      <a:lnTo>
                        <a:pt x="1427825" y="375002"/>
                      </a:lnTo>
                      <a:lnTo>
                        <a:pt x="1426839" y="376550"/>
                      </a:lnTo>
                      <a:lnTo>
                        <a:pt x="1426178" y="377765"/>
                      </a:lnTo>
                      <a:lnTo>
                        <a:pt x="1425600" y="378604"/>
                      </a:lnTo>
                      <a:lnTo>
                        <a:pt x="1425543" y="381440"/>
                      </a:lnTo>
                      <a:lnTo>
                        <a:pt x="1425176" y="383306"/>
                      </a:lnTo>
                      <a:lnTo>
                        <a:pt x="1423611" y="383966"/>
                      </a:lnTo>
                      <a:lnTo>
                        <a:pt x="1422063" y="385050"/>
                      </a:lnTo>
                      <a:lnTo>
                        <a:pt x="1420205" y="384651"/>
                      </a:lnTo>
                      <a:lnTo>
                        <a:pt x="1418599" y="384871"/>
                      </a:lnTo>
                      <a:lnTo>
                        <a:pt x="1416586" y="385605"/>
                      </a:lnTo>
                      <a:lnTo>
                        <a:pt x="1412984" y="386444"/>
                      </a:lnTo>
                      <a:lnTo>
                        <a:pt x="1410898" y="387560"/>
                      </a:lnTo>
                      <a:lnTo>
                        <a:pt x="1409895" y="388375"/>
                      </a:lnTo>
                      <a:lnTo>
                        <a:pt x="1409211" y="389362"/>
                      </a:lnTo>
                      <a:lnTo>
                        <a:pt x="1409081" y="390291"/>
                      </a:lnTo>
                      <a:lnTo>
                        <a:pt x="1409553" y="390788"/>
                      </a:lnTo>
                      <a:lnTo>
                        <a:pt x="1411583" y="391179"/>
                      </a:lnTo>
                      <a:lnTo>
                        <a:pt x="1412968" y="392939"/>
                      </a:lnTo>
                      <a:lnTo>
                        <a:pt x="1413163" y="394863"/>
                      </a:lnTo>
                      <a:lnTo>
                        <a:pt x="1411737" y="395971"/>
                      </a:lnTo>
                      <a:lnTo>
                        <a:pt x="1411028" y="394757"/>
                      </a:lnTo>
                      <a:lnTo>
                        <a:pt x="1409839" y="394366"/>
                      </a:lnTo>
                      <a:lnTo>
                        <a:pt x="1407605" y="392679"/>
                      </a:lnTo>
                      <a:lnTo>
                        <a:pt x="1406000" y="390812"/>
                      </a:lnTo>
                      <a:lnTo>
                        <a:pt x="1404794" y="388734"/>
                      </a:lnTo>
                      <a:lnTo>
                        <a:pt x="1404835" y="384325"/>
                      </a:lnTo>
                      <a:lnTo>
                        <a:pt x="1404623" y="383665"/>
                      </a:lnTo>
                      <a:lnTo>
                        <a:pt x="1402422" y="382760"/>
                      </a:lnTo>
                      <a:lnTo>
                        <a:pt x="1401762" y="381448"/>
                      </a:lnTo>
                      <a:lnTo>
                        <a:pt x="1400727" y="380821"/>
                      </a:lnTo>
                      <a:lnTo>
                        <a:pt x="1399228" y="381220"/>
                      </a:lnTo>
                      <a:lnTo>
                        <a:pt x="1398095" y="380796"/>
                      </a:lnTo>
                      <a:lnTo>
                        <a:pt x="1397206" y="380079"/>
                      </a:lnTo>
                      <a:lnTo>
                        <a:pt x="1396147" y="379989"/>
                      </a:lnTo>
                      <a:lnTo>
                        <a:pt x="1395226" y="381130"/>
                      </a:lnTo>
                      <a:lnTo>
                        <a:pt x="1394737" y="383583"/>
                      </a:lnTo>
                      <a:lnTo>
                        <a:pt x="1393196" y="387650"/>
                      </a:lnTo>
                      <a:lnTo>
                        <a:pt x="1393050" y="390103"/>
                      </a:lnTo>
                      <a:lnTo>
                        <a:pt x="1392374" y="393608"/>
                      </a:lnTo>
                      <a:lnTo>
                        <a:pt x="1391713" y="398049"/>
                      </a:lnTo>
                      <a:lnTo>
                        <a:pt x="1391184" y="398978"/>
                      </a:lnTo>
                      <a:lnTo>
                        <a:pt x="1389439" y="399109"/>
                      </a:lnTo>
                      <a:lnTo>
                        <a:pt x="1388845" y="399402"/>
                      </a:lnTo>
                      <a:lnTo>
                        <a:pt x="1387940" y="400910"/>
                      </a:lnTo>
                      <a:lnTo>
                        <a:pt x="1386856" y="401154"/>
                      </a:lnTo>
                      <a:lnTo>
                        <a:pt x="1385894" y="400282"/>
                      </a:lnTo>
                      <a:lnTo>
                        <a:pt x="1384379" y="399402"/>
                      </a:lnTo>
                      <a:lnTo>
                        <a:pt x="1382936" y="399280"/>
                      </a:lnTo>
                      <a:lnTo>
                        <a:pt x="1381640" y="400168"/>
                      </a:lnTo>
                      <a:lnTo>
                        <a:pt x="1380133" y="402091"/>
                      </a:lnTo>
                      <a:lnTo>
                        <a:pt x="1379277" y="403640"/>
                      </a:lnTo>
                      <a:lnTo>
                        <a:pt x="1378967" y="405091"/>
                      </a:lnTo>
                      <a:lnTo>
                        <a:pt x="1378715" y="406883"/>
                      </a:lnTo>
                      <a:lnTo>
                        <a:pt x="1377183" y="408603"/>
                      </a:lnTo>
                      <a:lnTo>
                        <a:pt x="1375789" y="409500"/>
                      </a:lnTo>
                      <a:lnTo>
                        <a:pt x="1372887" y="412026"/>
                      </a:lnTo>
                      <a:lnTo>
                        <a:pt x="1371967" y="413077"/>
                      </a:lnTo>
                      <a:lnTo>
                        <a:pt x="1369888" y="413094"/>
                      </a:lnTo>
                      <a:lnTo>
                        <a:pt x="1367639" y="412996"/>
                      </a:lnTo>
                      <a:lnTo>
                        <a:pt x="1364616" y="413680"/>
                      </a:lnTo>
                      <a:lnTo>
                        <a:pt x="1359660" y="414023"/>
                      </a:lnTo>
                      <a:lnTo>
                        <a:pt x="1356702" y="413509"/>
                      </a:lnTo>
                      <a:lnTo>
                        <a:pt x="1353035" y="413998"/>
                      </a:lnTo>
                      <a:lnTo>
                        <a:pt x="1350183" y="414821"/>
                      </a:lnTo>
                      <a:lnTo>
                        <a:pt x="1349783" y="416052"/>
                      </a:lnTo>
                      <a:lnTo>
                        <a:pt x="1349881" y="417877"/>
                      </a:lnTo>
                      <a:lnTo>
                        <a:pt x="1350460" y="419076"/>
                      </a:lnTo>
                      <a:lnTo>
                        <a:pt x="1351152" y="419866"/>
                      </a:lnTo>
                      <a:lnTo>
                        <a:pt x="1352334" y="422319"/>
                      </a:lnTo>
                      <a:lnTo>
                        <a:pt x="1353565" y="424683"/>
                      </a:lnTo>
                      <a:lnTo>
                        <a:pt x="1355463" y="426223"/>
                      </a:lnTo>
                      <a:lnTo>
                        <a:pt x="1356238" y="427861"/>
                      </a:lnTo>
                      <a:lnTo>
                        <a:pt x="1356278" y="429385"/>
                      </a:lnTo>
                      <a:lnTo>
                        <a:pt x="1355390" y="431316"/>
                      </a:lnTo>
                      <a:lnTo>
                        <a:pt x="1354029" y="433835"/>
                      </a:lnTo>
                      <a:lnTo>
                        <a:pt x="1352774" y="435383"/>
                      </a:lnTo>
                      <a:lnTo>
                        <a:pt x="1351829" y="435334"/>
                      </a:lnTo>
                      <a:lnTo>
                        <a:pt x="1350370" y="434430"/>
                      </a:lnTo>
                      <a:lnTo>
                        <a:pt x="1349392" y="433297"/>
                      </a:lnTo>
                      <a:lnTo>
                        <a:pt x="1347053" y="432873"/>
                      </a:lnTo>
                      <a:lnTo>
                        <a:pt x="1341316" y="433590"/>
                      </a:lnTo>
                      <a:lnTo>
                        <a:pt x="1338455" y="433085"/>
                      </a:lnTo>
                      <a:lnTo>
                        <a:pt x="1337086" y="432164"/>
                      </a:lnTo>
                      <a:lnTo>
                        <a:pt x="1334681" y="432091"/>
                      </a:lnTo>
                      <a:lnTo>
                        <a:pt x="1330990" y="430860"/>
                      </a:lnTo>
                      <a:lnTo>
                        <a:pt x="1328716" y="430469"/>
                      </a:lnTo>
                      <a:lnTo>
                        <a:pt x="1327656" y="429670"/>
                      </a:lnTo>
                      <a:lnTo>
                        <a:pt x="1327444" y="427861"/>
                      </a:lnTo>
                      <a:lnTo>
                        <a:pt x="1326369" y="426614"/>
                      </a:lnTo>
                      <a:lnTo>
                        <a:pt x="1325782" y="425114"/>
                      </a:lnTo>
                      <a:lnTo>
                        <a:pt x="1324429" y="423248"/>
                      </a:lnTo>
                      <a:lnTo>
                        <a:pt x="1323142" y="422311"/>
                      </a:lnTo>
                      <a:lnTo>
                        <a:pt x="1321870" y="421903"/>
                      </a:lnTo>
                      <a:lnTo>
                        <a:pt x="1320477" y="423036"/>
                      </a:lnTo>
                      <a:lnTo>
                        <a:pt x="1318993" y="424063"/>
                      </a:lnTo>
                      <a:lnTo>
                        <a:pt x="1317885" y="423835"/>
                      </a:lnTo>
                      <a:lnTo>
                        <a:pt x="1317363" y="424120"/>
                      </a:lnTo>
                      <a:lnTo>
                        <a:pt x="1316744" y="424968"/>
                      </a:lnTo>
                      <a:lnTo>
                        <a:pt x="1314381" y="426712"/>
                      </a:lnTo>
                      <a:lnTo>
                        <a:pt x="1313794" y="428301"/>
                      </a:lnTo>
                      <a:lnTo>
                        <a:pt x="1312857" y="431691"/>
                      </a:lnTo>
                      <a:lnTo>
                        <a:pt x="1312197" y="435171"/>
                      </a:lnTo>
                      <a:lnTo>
                        <a:pt x="1311634" y="436402"/>
                      </a:lnTo>
                      <a:lnTo>
                        <a:pt x="1310664" y="436606"/>
                      </a:lnTo>
                      <a:lnTo>
                        <a:pt x="1309678" y="437657"/>
                      </a:lnTo>
                      <a:lnTo>
                        <a:pt x="1307616" y="440925"/>
                      </a:lnTo>
                      <a:lnTo>
                        <a:pt x="1305750" y="443924"/>
                      </a:lnTo>
                      <a:lnTo>
                        <a:pt x="1303052" y="445961"/>
                      </a:lnTo>
                      <a:lnTo>
                        <a:pt x="1301773" y="447820"/>
                      </a:lnTo>
                      <a:lnTo>
                        <a:pt x="1301121" y="449515"/>
                      </a:lnTo>
                      <a:lnTo>
                        <a:pt x="1299190" y="451886"/>
                      </a:lnTo>
                      <a:lnTo>
                        <a:pt x="1296353" y="452310"/>
                      </a:lnTo>
                      <a:lnTo>
                        <a:pt x="1294104" y="453003"/>
                      </a:lnTo>
                      <a:lnTo>
                        <a:pt x="1292727" y="453182"/>
                      </a:lnTo>
                      <a:lnTo>
                        <a:pt x="1291724" y="454127"/>
                      </a:lnTo>
                      <a:lnTo>
                        <a:pt x="1291007" y="455586"/>
                      </a:lnTo>
                      <a:lnTo>
                        <a:pt x="1290657" y="456165"/>
                      </a:lnTo>
                      <a:lnTo>
                        <a:pt x="1289385" y="456165"/>
                      </a:lnTo>
                      <a:lnTo>
                        <a:pt x="1288114" y="457404"/>
                      </a:lnTo>
                      <a:lnTo>
                        <a:pt x="1285001" y="460215"/>
                      </a:lnTo>
                      <a:lnTo>
                        <a:pt x="1282466" y="460745"/>
                      </a:lnTo>
                      <a:lnTo>
                        <a:pt x="1279263" y="462628"/>
                      </a:lnTo>
                      <a:lnTo>
                        <a:pt x="1276460" y="464046"/>
                      </a:lnTo>
                      <a:lnTo>
                        <a:pt x="1275302" y="464853"/>
                      </a:lnTo>
                      <a:lnTo>
                        <a:pt x="1274993" y="465741"/>
                      </a:lnTo>
                      <a:lnTo>
                        <a:pt x="1274586" y="466866"/>
                      </a:lnTo>
                      <a:lnTo>
                        <a:pt x="1273225" y="467094"/>
                      </a:lnTo>
                      <a:lnTo>
                        <a:pt x="1271912" y="467029"/>
                      </a:lnTo>
                      <a:lnTo>
                        <a:pt x="1268995" y="469612"/>
                      </a:lnTo>
                      <a:lnTo>
                        <a:pt x="1267528" y="471812"/>
                      </a:lnTo>
                      <a:lnTo>
                        <a:pt x="1261790" y="476482"/>
                      </a:lnTo>
                      <a:lnTo>
                        <a:pt x="1259452" y="479106"/>
                      </a:lnTo>
                      <a:lnTo>
                        <a:pt x="1258840" y="482505"/>
                      </a:lnTo>
                      <a:lnTo>
                        <a:pt x="1258539" y="482252"/>
                      </a:lnTo>
                      <a:lnTo>
                        <a:pt x="1256493" y="485211"/>
                      </a:lnTo>
                      <a:lnTo>
                        <a:pt x="1252475" y="488030"/>
                      </a:lnTo>
                      <a:lnTo>
                        <a:pt x="1243910" y="488658"/>
                      </a:lnTo>
                      <a:lnTo>
                        <a:pt x="1241196" y="486653"/>
                      </a:lnTo>
                      <a:lnTo>
                        <a:pt x="1240210" y="488039"/>
                      </a:lnTo>
                      <a:lnTo>
                        <a:pt x="1239452" y="489888"/>
                      </a:lnTo>
                      <a:lnTo>
                        <a:pt x="1237211" y="490508"/>
                      </a:lnTo>
                      <a:lnTo>
                        <a:pt x="1233690" y="490671"/>
                      </a:lnTo>
                      <a:lnTo>
                        <a:pt x="1231726" y="491893"/>
                      </a:lnTo>
                      <a:lnTo>
                        <a:pt x="1230666" y="493254"/>
                      </a:lnTo>
                      <a:lnTo>
                        <a:pt x="1225850" y="493695"/>
                      </a:lnTo>
                      <a:lnTo>
                        <a:pt x="1224090" y="495512"/>
                      </a:lnTo>
                      <a:lnTo>
                        <a:pt x="1221091" y="496164"/>
                      </a:lnTo>
                      <a:lnTo>
                        <a:pt x="1208556" y="504094"/>
                      </a:lnTo>
                      <a:lnTo>
                        <a:pt x="1205826" y="507427"/>
                      </a:lnTo>
                      <a:lnTo>
                        <a:pt x="1203251" y="511322"/>
                      </a:lnTo>
                      <a:lnTo>
                        <a:pt x="1201425" y="513278"/>
                      </a:lnTo>
                      <a:lnTo>
                        <a:pt x="1199811" y="514647"/>
                      </a:lnTo>
                      <a:lnTo>
                        <a:pt x="1198337" y="515210"/>
                      </a:lnTo>
                      <a:lnTo>
                        <a:pt x="1196886" y="516563"/>
                      </a:lnTo>
                      <a:lnTo>
                        <a:pt x="1195419" y="516734"/>
                      </a:lnTo>
                      <a:lnTo>
                        <a:pt x="1193919" y="516114"/>
                      </a:lnTo>
                      <a:lnTo>
                        <a:pt x="1192249" y="516326"/>
                      </a:lnTo>
                      <a:lnTo>
                        <a:pt x="1191148" y="517964"/>
                      </a:lnTo>
                      <a:lnTo>
                        <a:pt x="1192078" y="520083"/>
                      </a:lnTo>
                      <a:lnTo>
                        <a:pt x="1191572" y="520988"/>
                      </a:lnTo>
                      <a:lnTo>
                        <a:pt x="1188272" y="522145"/>
                      </a:lnTo>
                      <a:lnTo>
                        <a:pt x="1183390" y="522903"/>
                      </a:lnTo>
                      <a:lnTo>
                        <a:pt x="1181320" y="524289"/>
                      </a:lnTo>
                      <a:lnTo>
                        <a:pt x="1180595" y="525071"/>
                      </a:lnTo>
                      <a:lnTo>
                        <a:pt x="1179511" y="525478"/>
                      </a:lnTo>
                      <a:lnTo>
                        <a:pt x="1178468" y="522724"/>
                      </a:lnTo>
                      <a:lnTo>
                        <a:pt x="1178093" y="519113"/>
                      </a:lnTo>
                      <a:lnTo>
                        <a:pt x="1180114" y="518241"/>
                      </a:lnTo>
                      <a:lnTo>
                        <a:pt x="1181988" y="517777"/>
                      </a:lnTo>
                      <a:lnTo>
                        <a:pt x="1192306" y="512781"/>
                      </a:lnTo>
                      <a:lnTo>
                        <a:pt x="1191010" y="509024"/>
                      </a:lnTo>
                      <a:lnTo>
                        <a:pt x="1191923" y="507386"/>
                      </a:lnTo>
                      <a:lnTo>
                        <a:pt x="1194245" y="504721"/>
                      </a:lnTo>
                      <a:lnTo>
                        <a:pt x="1195745" y="503401"/>
                      </a:lnTo>
                      <a:lnTo>
                        <a:pt x="1194930" y="502920"/>
                      </a:lnTo>
                      <a:lnTo>
                        <a:pt x="1188157" y="503800"/>
                      </a:lnTo>
                      <a:lnTo>
                        <a:pt x="1184270" y="503727"/>
                      </a:lnTo>
                      <a:lnTo>
                        <a:pt x="1182281" y="503466"/>
                      </a:lnTo>
                      <a:lnTo>
                        <a:pt x="1182876" y="501184"/>
                      </a:lnTo>
                      <a:lnTo>
                        <a:pt x="1182550" y="498918"/>
                      </a:lnTo>
                      <a:lnTo>
                        <a:pt x="1182078" y="498063"/>
                      </a:lnTo>
                      <a:lnTo>
                        <a:pt x="1185525" y="495471"/>
                      </a:lnTo>
                      <a:lnTo>
                        <a:pt x="1187106" y="494835"/>
                      </a:lnTo>
                      <a:lnTo>
                        <a:pt x="1188280" y="494868"/>
                      </a:lnTo>
                      <a:lnTo>
                        <a:pt x="1188198" y="493311"/>
                      </a:lnTo>
                      <a:lnTo>
                        <a:pt x="1187204" y="490948"/>
                      </a:lnTo>
                      <a:lnTo>
                        <a:pt x="1188272" y="487900"/>
                      </a:lnTo>
                      <a:lnTo>
                        <a:pt x="1195313" y="484322"/>
                      </a:lnTo>
                      <a:lnTo>
                        <a:pt x="1197000" y="481070"/>
                      </a:lnTo>
                      <a:lnTo>
                        <a:pt x="1199828" y="478039"/>
                      </a:lnTo>
                      <a:lnTo>
                        <a:pt x="1204987" y="470484"/>
                      </a:lnTo>
                      <a:lnTo>
                        <a:pt x="1205296" y="469205"/>
                      </a:lnTo>
                      <a:lnTo>
                        <a:pt x="1206804" y="465659"/>
                      </a:lnTo>
                      <a:lnTo>
                        <a:pt x="1207073" y="464241"/>
                      </a:lnTo>
                      <a:lnTo>
                        <a:pt x="1204685" y="462171"/>
                      </a:lnTo>
                      <a:lnTo>
                        <a:pt x="1203732" y="459262"/>
                      </a:lnTo>
                      <a:lnTo>
                        <a:pt x="1196739" y="454013"/>
                      </a:lnTo>
                      <a:lnTo>
                        <a:pt x="1196152" y="449507"/>
                      </a:lnTo>
                      <a:lnTo>
                        <a:pt x="1195509" y="449702"/>
                      </a:lnTo>
                      <a:lnTo>
                        <a:pt x="1194433" y="452864"/>
                      </a:lnTo>
                      <a:lnTo>
                        <a:pt x="1193536" y="453875"/>
                      </a:lnTo>
                      <a:lnTo>
                        <a:pt x="1190301" y="453965"/>
                      </a:lnTo>
                      <a:lnTo>
                        <a:pt x="1188769" y="452775"/>
                      </a:lnTo>
                      <a:lnTo>
                        <a:pt x="1179780" y="452000"/>
                      </a:lnTo>
                      <a:lnTo>
                        <a:pt x="1177579" y="454030"/>
                      </a:lnTo>
                      <a:lnTo>
                        <a:pt x="1175525" y="457184"/>
                      </a:lnTo>
                      <a:lnTo>
                        <a:pt x="1173521" y="459433"/>
                      </a:lnTo>
                      <a:lnTo>
                        <a:pt x="1171508" y="460582"/>
                      </a:lnTo>
                      <a:lnTo>
                        <a:pt x="1169764" y="462636"/>
                      </a:lnTo>
                      <a:lnTo>
                        <a:pt x="1162527" y="474812"/>
                      </a:lnTo>
                      <a:lnTo>
                        <a:pt x="1159796" y="475732"/>
                      </a:lnTo>
                      <a:lnTo>
                        <a:pt x="1146936" y="483067"/>
                      </a:lnTo>
                      <a:lnTo>
                        <a:pt x="1140506" y="485944"/>
                      </a:lnTo>
                      <a:lnTo>
                        <a:pt x="1135543" y="491029"/>
                      </a:lnTo>
                      <a:lnTo>
                        <a:pt x="1133840" y="494102"/>
                      </a:lnTo>
                      <a:lnTo>
                        <a:pt x="1132324" y="497508"/>
                      </a:lnTo>
                      <a:lnTo>
                        <a:pt x="1131411" y="502675"/>
                      </a:lnTo>
                      <a:lnTo>
                        <a:pt x="1126839" y="508943"/>
                      </a:lnTo>
                      <a:lnTo>
                        <a:pt x="1125274" y="510287"/>
                      </a:lnTo>
                      <a:lnTo>
                        <a:pt x="1123669" y="510825"/>
                      </a:lnTo>
                      <a:lnTo>
                        <a:pt x="1121542" y="510646"/>
                      </a:lnTo>
                      <a:lnTo>
                        <a:pt x="1119700" y="511029"/>
                      </a:lnTo>
                      <a:lnTo>
                        <a:pt x="1116570" y="510475"/>
                      </a:lnTo>
                      <a:lnTo>
                        <a:pt x="1112748" y="512471"/>
                      </a:lnTo>
                      <a:lnTo>
                        <a:pt x="1108420" y="514183"/>
                      </a:lnTo>
                      <a:lnTo>
                        <a:pt x="1104713" y="509864"/>
                      </a:lnTo>
                      <a:lnTo>
                        <a:pt x="1102055" y="508796"/>
                      </a:lnTo>
                      <a:lnTo>
                        <a:pt x="1097712" y="509994"/>
                      </a:lnTo>
                      <a:lnTo>
                        <a:pt x="1095699" y="511909"/>
                      </a:lnTo>
                      <a:lnTo>
                        <a:pt x="1091534" y="521395"/>
                      </a:lnTo>
                      <a:lnTo>
                        <a:pt x="1089978" y="526831"/>
                      </a:lnTo>
                      <a:lnTo>
                        <a:pt x="1090076" y="529056"/>
                      </a:lnTo>
                      <a:lnTo>
                        <a:pt x="1092512" y="535804"/>
                      </a:lnTo>
                      <a:lnTo>
                        <a:pt x="1095251" y="539586"/>
                      </a:lnTo>
                      <a:lnTo>
                        <a:pt x="1101412" y="543889"/>
                      </a:lnTo>
                      <a:lnTo>
                        <a:pt x="1114508" y="546855"/>
                      </a:lnTo>
                      <a:lnTo>
                        <a:pt x="1117581" y="545796"/>
                      </a:lnTo>
                      <a:lnTo>
                        <a:pt x="1120890" y="545788"/>
                      </a:lnTo>
                      <a:lnTo>
                        <a:pt x="1124361" y="548599"/>
                      </a:lnTo>
                      <a:lnTo>
                        <a:pt x="1126529" y="553245"/>
                      </a:lnTo>
                      <a:lnTo>
                        <a:pt x="1126725" y="556423"/>
                      </a:lnTo>
                      <a:lnTo>
                        <a:pt x="1126798" y="557507"/>
                      </a:lnTo>
                      <a:lnTo>
                        <a:pt x="1127581" y="558444"/>
                      </a:lnTo>
                      <a:lnTo>
                        <a:pt x="1128053" y="560050"/>
                      </a:lnTo>
                      <a:lnTo>
                        <a:pt x="1126684" y="561370"/>
                      </a:lnTo>
                      <a:lnTo>
                        <a:pt x="1125617" y="562030"/>
                      </a:lnTo>
                      <a:lnTo>
                        <a:pt x="1124728" y="566952"/>
                      </a:lnTo>
                      <a:lnTo>
                        <a:pt x="1124663" y="572388"/>
                      </a:lnTo>
                      <a:lnTo>
                        <a:pt x="1125796" y="574189"/>
                      </a:lnTo>
                      <a:lnTo>
                        <a:pt x="1128616" y="576724"/>
                      </a:lnTo>
                      <a:lnTo>
                        <a:pt x="1132976" y="578818"/>
                      </a:lnTo>
                      <a:lnTo>
                        <a:pt x="1137002" y="579267"/>
                      </a:lnTo>
                      <a:lnTo>
                        <a:pt x="1144703" y="578256"/>
                      </a:lnTo>
                      <a:lnTo>
                        <a:pt x="1147857" y="574980"/>
                      </a:lnTo>
                      <a:lnTo>
                        <a:pt x="1147670" y="573562"/>
                      </a:lnTo>
                      <a:lnTo>
                        <a:pt x="1147743" y="571736"/>
                      </a:lnTo>
                      <a:lnTo>
                        <a:pt x="1154524" y="566912"/>
                      </a:lnTo>
                      <a:lnTo>
                        <a:pt x="1158370" y="562649"/>
                      </a:lnTo>
                      <a:lnTo>
                        <a:pt x="1157775" y="561525"/>
                      </a:lnTo>
                      <a:lnTo>
                        <a:pt x="1157025" y="560775"/>
                      </a:lnTo>
                      <a:lnTo>
                        <a:pt x="1157702" y="560335"/>
                      </a:lnTo>
                      <a:lnTo>
                        <a:pt x="1159829" y="560041"/>
                      </a:lnTo>
                      <a:lnTo>
                        <a:pt x="1169250" y="555592"/>
                      </a:lnTo>
                      <a:lnTo>
                        <a:pt x="1176666" y="559227"/>
                      </a:lnTo>
                      <a:lnTo>
                        <a:pt x="1180896" y="563407"/>
                      </a:lnTo>
                      <a:lnTo>
                        <a:pt x="1185077" y="564116"/>
                      </a:lnTo>
                      <a:lnTo>
                        <a:pt x="1187978" y="566252"/>
                      </a:lnTo>
                      <a:lnTo>
                        <a:pt x="1191328" y="568077"/>
                      </a:lnTo>
                      <a:lnTo>
                        <a:pt x="1195696" y="568199"/>
                      </a:lnTo>
                      <a:lnTo>
                        <a:pt x="1199372" y="568582"/>
                      </a:lnTo>
                      <a:lnTo>
                        <a:pt x="1200504" y="566895"/>
                      </a:lnTo>
                      <a:lnTo>
                        <a:pt x="1201662" y="565787"/>
                      </a:lnTo>
                      <a:lnTo>
                        <a:pt x="1202974" y="566007"/>
                      </a:lnTo>
                      <a:lnTo>
                        <a:pt x="1204449" y="568207"/>
                      </a:lnTo>
                      <a:lnTo>
                        <a:pt x="1208630" y="569919"/>
                      </a:lnTo>
                      <a:lnTo>
                        <a:pt x="1212485" y="569821"/>
                      </a:lnTo>
                      <a:lnTo>
                        <a:pt x="1215198" y="569210"/>
                      </a:lnTo>
                      <a:lnTo>
                        <a:pt x="1216787" y="570000"/>
                      </a:lnTo>
                      <a:lnTo>
                        <a:pt x="1214473" y="572828"/>
                      </a:lnTo>
                      <a:lnTo>
                        <a:pt x="1214815" y="577384"/>
                      </a:lnTo>
                      <a:lnTo>
                        <a:pt x="1213039" y="578835"/>
                      </a:lnTo>
                      <a:lnTo>
                        <a:pt x="1211327" y="581149"/>
                      </a:lnTo>
                      <a:lnTo>
                        <a:pt x="1212338" y="582681"/>
                      </a:lnTo>
                      <a:lnTo>
                        <a:pt x="1213242" y="583333"/>
                      </a:lnTo>
                      <a:lnTo>
                        <a:pt x="1213136" y="585183"/>
                      </a:lnTo>
                      <a:lnTo>
                        <a:pt x="1211588" y="586251"/>
                      </a:lnTo>
                      <a:lnTo>
                        <a:pt x="1208703" y="589006"/>
                      </a:lnTo>
                      <a:lnTo>
                        <a:pt x="1207057" y="588948"/>
                      </a:lnTo>
                      <a:lnTo>
                        <a:pt x="1206266" y="588411"/>
                      </a:lnTo>
                      <a:lnTo>
                        <a:pt x="1205696" y="587433"/>
                      </a:lnTo>
                      <a:lnTo>
                        <a:pt x="1205296" y="585843"/>
                      </a:lnTo>
                      <a:lnTo>
                        <a:pt x="1204278" y="584792"/>
                      </a:lnTo>
                      <a:lnTo>
                        <a:pt x="1201482" y="584393"/>
                      </a:lnTo>
                      <a:lnTo>
                        <a:pt x="1198589" y="584776"/>
                      </a:lnTo>
                      <a:lnTo>
                        <a:pt x="1192061" y="588867"/>
                      </a:lnTo>
                      <a:lnTo>
                        <a:pt x="1185696" y="592127"/>
                      </a:lnTo>
                      <a:lnTo>
                        <a:pt x="1179022" y="594710"/>
                      </a:lnTo>
                      <a:lnTo>
                        <a:pt x="1176780" y="596348"/>
                      </a:lnTo>
                      <a:lnTo>
                        <a:pt x="1175208" y="596789"/>
                      </a:lnTo>
                      <a:lnTo>
                        <a:pt x="1172437" y="595550"/>
                      </a:lnTo>
                      <a:lnTo>
                        <a:pt x="1170750" y="595631"/>
                      </a:lnTo>
                      <a:lnTo>
                        <a:pt x="1170407" y="596479"/>
                      </a:lnTo>
                      <a:lnTo>
                        <a:pt x="1172534" y="598753"/>
                      </a:lnTo>
                      <a:lnTo>
                        <a:pt x="1173089" y="600529"/>
                      </a:lnTo>
                      <a:lnTo>
                        <a:pt x="1172869" y="601898"/>
                      </a:lnTo>
                      <a:lnTo>
                        <a:pt x="1171654" y="602493"/>
                      </a:lnTo>
                      <a:lnTo>
                        <a:pt x="1169894" y="601491"/>
                      </a:lnTo>
                      <a:lnTo>
                        <a:pt x="1168288" y="602917"/>
                      </a:lnTo>
                      <a:lnTo>
                        <a:pt x="1167563" y="605330"/>
                      </a:lnTo>
                      <a:lnTo>
                        <a:pt x="1167539" y="611042"/>
                      </a:lnTo>
                      <a:lnTo>
                        <a:pt x="1166463" y="612314"/>
                      </a:lnTo>
                      <a:lnTo>
                        <a:pt x="1163521" y="613015"/>
                      </a:lnTo>
                      <a:lnTo>
                        <a:pt x="1160391" y="614832"/>
                      </a:lnTo>
                      <a:lnTo>
                        <a:pt x="1159283" y="613993"/>
                      </a:lnTo>
                      <a:lnTo>
                        <a:pt x="1158843" y="612966"/>
                      </a:lnTo>
                      <a:lnTo>
                        <a:pt x="1159169" y="610342"/>
                      </a:lnTo>
                      <a:lnTo>
                        <a:pt x="1158778" y="609062"/>
                      </a:lnTo>
                      <a:lnTo>
                        <a:pt x="1157343" y="609119"/>
                      </a:lnTo>
                      <a:lnTo>
                        <a:pt x="1155200" y="609918"/>
                      </a:lnTo>
                      <a:lnTo>
                        <a:pt x="1153537" y="611646"/>
                      </a:lnTo>
                      <a:lnTo>
                        <a:pt x="1152983" y="612681"/>
                      </a:lnTo>
                      <a:lnTo>
                        <a:pt x="1155151" y="616038"/>
                      </a:lnTo>
                      <a:lnTo>
                        <a:pt x="1157213" y="616381"/>
                      </a:lnTo>
                      <a:lnTo>
                        <a:pt x="1157710" y="617130"/>
                      </a:lnTo>
                      <a:lnTo>
                        <a:pt x="1156072" y="618768"/>
                      </a:lnTo>
                      <a:lnTo>
                        <a:pt x="1152005" y="621213"/>
                      </a:lnTo>
                      <a:lnTo>
                        <a:pt x="1151329" y="623259"/>
                      </a:lnTo>
                      <a:lnTo>
                        <a:pt x="1150115" y="625215"/>
                      </a:lnTo>
                      <a:lnTo>
                        <a:pt x="1148452" y="626763"/>
                      </a:lnTo>
                      <a:lnTo>
                        <a:pt x="1147327" y="628393"/>
                      </a:lnTo>
                      <a:lnTo>
                        <a:pt x="1145950" y="629257"/>
                      </a:lnTo>
                      <a:lnTo>
                        <a:pt x="1143692" y="630211"/>
                      </a:lnTo>
                      <a:lnTo>
                        <a:pt x="1140946" y="634139"/>
                      </a:lnTo>
                      <a:lnTo>
                        <a:pt x="1138900" y="637814"/>
                      </a:lnTo>
                      <a:lnTo>
                        <a:pt x="1136505" y="639697"/>
                      </a:lnTo>
                      <a:lnTo>
                        <a:pt x="1134589" y="645874"/>
                      </a:lnTo>
                      <a:lnTo>
                        <a:pt x="1131199" y="649232"/>
                      </a:lnTo>
                      <a:lnTo>
                        <a:pt x="1129944" y="654595"/>
                      </a:lnTo>
                      <a:lnTo>
                        <a:pt x="1130824" y="657895"/>
                      </a:lnTo>
                      <a:lnTo>
                        <a:pt x="1134557" y="657863"/>
                      </a:lnTo>
                      <a:lnTo>
                        <a:pt x="1136431" y="659028"/>
                      </a:lnTo>
                      <a:lnTo>
                        <a:pt x="1140302" y="663364"/>
                      </a:lnTo>
                      <a:lnTo>
                        <a:pt x="1144940" y="666184"/>
                      </a:lnTo>
                      <a:lnTo>
                        <a:pt x="1149740" y="667773"/>
                      </a:lnTo>
                      <a:lnTo>
                        <a:pt x="1155640" y="671774"/>
                      </a:lnTo>
                      <a:lnTo>
                        <a:pt x="1157262" y="673469"/>
                      </a:lnTo>
                      <a:lnTo>
                        <a:pt x="1158647" y="676917"/>
                      </a:lnTo>
                      <a:lnTo>
                        <a:pt x="1161198" y="686819"/>
                      </a:lnTo>
                      <a:lnTo>
                        <a:pt x="1163040" y="691725"/>
                      </a:lnTo>
                      <a:lnTo>
                        <a:pt x="1163162" y="694284"/>
                      </a:lnTo>
                      <a:lnTo>
                        <a:pt x="1165917" y="699109"/>
                      </a:lnTo>
                      <a:lnTo>
                        <a:pt x="1168859" y="707389"/>
                      </a:lnTo>
                      <a:lnTo>
                        <a:pt x="1172241" y="714560"/>
                      </a:lnTo>
                      <a:lnTo>
                        <a:pt x="1172893" y="720200"/>
                      </a:lnTo>
                      <a:lnTo>
                        <a:pt x="1171809" y="722775"/>
                      </a:lnTo>
                      <a:lnTo>
                        <a:pt x="1171809" y="726117"/>
                      </a:lnTo>
                      <a:lnTo>
                        <a:pt x="1175208" y="729181"/>
                      </a:lnTo>
                      <a:lnTo>
                        <a:pt x="1182722" y="732742"/>
                      </a:lnTo>
                      <a:lnTo>
                        <a:pt x="1183928" y="733794"/>
                      </a:lnTo>
                      <a:lnTo>
                        <a:pt x="1185403" y="735521"/>
                      </a:lnTo>
                      <a:lnTo>
                        <a:pt x="1185468" y="740892"/>
                      </a:lnTo>
                      <a:lnTo>
                        <a:pt x="1186634" y="742612"/>
                      </a:lnTo>
                      <a:lnTo>
                        <a:pt x="1187620" y="743663"/>
                      </a:lnTo>
                      <a:lnTo>
                        <a:pt x="1192176" y="745929"/>
                      </a:lnTo>
                      <a:lnTo>
                        <a:pt x="1194074" y="747819"/>
                      </a:lnTo>
                      <a:lnTo>
                        <a:pt x="1196087" y="750835"/>
                      </a:lnTo>
                      <a:lnTo>
                        <a:pt x="1196690" y="753524"/>
                      </a:lnTo>
                      <a:lnTo>
                        <a:pt x="1196935" y="757175"/>
                      </a:lnTo>
                      <a:lnTo>
                        <a:pt x="1194384" y="757314"/>
                      </a:lnTo>
                      <a:lnTo>
                        <a:pt x="1192338" y="756898"/>
                      </a:lnTo>
                      <a:lnTo>
                        <a:pt x="1184173" y="752155"/>
                      </a:lnTo>
                      <a:lnTo>
                        <a:pt x="1182045" y="752033"/>
                      </a:lnTo>
                      <a:lnTo>
                        <a:pt x="1179054" y="752693"/>
                      </a:lnTo>
                      <a:lnTo>
                        <a:pt x="1174800" y="751813"/>
                      </a:lnTo>
                      <a:lnTo>
                        <a:pt x="1170285" y="746556"/>
                      </a:lnTo>
                      <a:lnTo>
                        <a:pt x="1167033" y="744951"/>
                      </a:lnTo>
                      <a:lnTo>
                        <a:pt x="1163546" y="744152"/>
                      </a:lnTo>
                      <a:lnTo>
                        <a:pt x="1155208" y="748683"/>
                      </a:lnTo>
                      <a:lnTo>
                        <a:pt x="1153089" y="748357"/>
                      </a:lnTo>
                      <a:lnTo>
                        <a:pt x="1152478" y="748871"/>
                      </a:lnTo>
                      <a:lnTo>
                        <a:pt x="1151541" y="749645"/>
                      </a:lnTo>
                      <a:lnTo>
                        <a:pt x="1155404" y="750615"/>
                      </a:lnTo>
                      <a:lnTo>
                        <a:pt x="1159267" y="749140"/>
                      </a:lnTo>
                      <a:lnTo>
                        <a:pt x="1162983" y="746939"/>
                      </a:lnTo>
                      <a:lnTo>
                        <a:pt x="1168403" y="748113"/>
                      </a:lnTo>
                      <a:lnTo>
                        <a:pt x="1169299" y="750085"/>
                      </a:lnTo>
                      <a:lnTo>
                        <a:pt x="1170179" y="753418"/>
                      </a:lnTo>
                      <a:lnTo>
                        <a:pt x="1173895" y="755676"/>
                      </a:lnTo>
                      <a:lnTo>
                        <a:pt x="1176830" y="756670"/>
                      </a:lnTo>
                      <a:lnTo>
                        <a:pt x="1180521" y="759620"/>
                      </a:lnTo>
                      <a:lnTo>
                        <a:pt x="1184148" y="764233"/>
                      </a:lnTo>
                      <a:lnTo>
                        <a:pt x="1191833" y="769587"/>
                      </a:lnTo>
                      <a:lnTo>
                        <a:pt x="1194946" y="774648"/>
                      </a:lnTo>
                      <a:lnTo>
                        <a:pt x="1196144" y="777916"/>
                      </a:lnTo>
                      <a:lnTo>
                        <a:pt x="1197220" y="782586"/>
                      </a:lnTo>
                      <a:lnTo>
                        <a:pt x="1194539" y="784077"/>
                      </a:lnTo>
                      <a:lnTo>
                        <a:pt x="1192200" y="784298"/>
                      </a:lnTo>
                      <a:lnTo>
                        <a:pt x="1188532" y="785031"/>
                      </a:lnTo>
                      <a:lnTo>
                        <a:pt x="1185835" y="786677"/>
                      </a:lnTo>
                      <a:lnTo>
                        <a:pt x="1183137" y="789579"/>
                      </a:lnTo>
                      <a:lnTo>
                        <a:pt x="1175387" y="794134"/>
                      </a:lnTo>
                      <a:lnTo>
                        <a:pt x="1173912" y="796979"/>
                      </a:lnTo>
                      <a:lnTo>
                        <a:pt x="1172893" y="799456"/>
                      </a:lnTo>
                      <a:lnTo>
                        <a:pt x="1171019" y="800679"/>
                      </a:lnTo>
                      <a:lnTo>
                        <a:pt x="1166275" y="799513"/>
                      </a:lnTo>
                      <a:lnTo>
                        <a:pt x="1161801" y="799611"/>
                      </a:lnTo>
                      <a:lnTo>
                        <a:pt x="1156732" y="802961"/>
                      </a:lnTo>
                      <a:lnTo>
                        <a:pt x="1155477" y="804321"/>
                      </a:lnTo>
                      <a:lnTo>
                        <a:pt x="1156309" y="804053"/>
                      </a:lnTo>
                      <a:lnTo>
                        <a:pt x="1157115" y="803621"/>
                      </a:lnTo>
                      <a:lnTo>
                        <a:pt x="1159389" y="804126"/>
                      </a:lnTo>
                      <a:lnTo>
                        <a:pt x="1162910" y="802333"/>
                      </a:lnTo>
                      <a:lnTo>
                        <a:pt x="1166357" y="807793"/>
                      </a:lnTo>
                      <a:lnTo>
                        <a:pt x="1173081" y="806913"/>
                      </a:lnTo>
                      <a:lnTo>
                        <a:pt x="1179397" y="802374"/>
                      </a:lnTo>
                      <a:lnTo>
                        <a:pt x="1181842" y="802300"/>
                      </a:lnTo>
                      <a:lnTo>
                        <a:pt x="1183895" y="803001"/>
                      </a:lnTo>
                      <a:lnTo>
                        <a:pt x="1186177" y="804786"/>
                      </a:lnTo>
                      <a:lnTo>
                        <a:pt x="1192257" y="812740"/>
                      </a:lnTo>
                      <a:lnTo>
                        <a:pt x="1195598" y="813604"/>
                      </a:lnTo>
                      <a:lnTo>
                        <a:pt x="1198866" y="815462"/>
                      </a:lnTo>
                      <a:lnTo>
                        <a:pt x="1200692" y="815674"/>
                      </a:lnTo>
                      <a:lnTo>
                        <a:pt x="1202313" y="816228"/>
                      </a:lnTo>
                      <a:lnTo>
                        <a:pt x="1197913" y="819138"/>
                      </a:lnTo>
                      <a:lnTo>
                        <a:pt x="1192232" y="825413"/>
                      </a:lnTo>
                      <a:lnTo>
                        <a:pt x="1189698" y="826904"/>
                      </a:lnTo>
                      <a:lnTo>
                        <a:pt x="1188003" y="828583"/>
                      </a:lnTo>
                      <a:lnTo>
                        <a:pt x="1192566" y="827744"/>
                      </a:lnTo>
                      <a:lnTo>
                        <a:pt x="1195835" y="824745"/>
                      </a:lnTo>
                      <a:lnTo>
                        <a:pt x="1197473" y="824003"/>
                      </a:lnTo>
                      <a:lnTo>
                        <a:pt x="1198793" y="824704"/>
                      </a:lnTo>
                      <a:lnTo>
                        <a:pt x="1199469" y="828396"/>
                      </a:lnTo>
                      <a:lnTo>
                        <a:pt x="1198206" y="839765"/>
                      </a:lnTo>
                      <a:lnTo>
                        <a:pt x="1196625" y="839960"/>
                      </a:lnTo>
                      <a:lnTo>
                        <a:pt x="1195052" y="836872"/>
                      </a:lnTo>
                      <a:lnTo>
                        <a:pt x="1193243" y="835886"/>
                      </a:lnTo>
                      <a:lnTo>
                        <a:pt x="1191719" y="836537"/>
                      </a:lnTo>
                      <a:lnTo>
                        <a:pt x="1188687" y="836513"/>
                      </a:lnTo>
                      <a:lnTo>
                        <a:pt x="1187530" y="837907"/>
                      </a:lnTo>
                      <a:lnTo>
                        <a:pt x="1186552" y="839887"/>
                      </a:lnTo>
                      <a:lnTo>
                        <a:pt x="1188369" y="840294"/>
                      </a:lnTo>
                      <a:lnTo>
                        <a:pt x="1191939" y="843742"/>
                      </a:lnTo>
                      <a:lnTo>
                        <a:pt x="1192306" y="845584"/>
                      </a:lnTo>
                      <a:lnTo>
                        <a:pt x="1191352" y="846774"/>
                      </a:lnTo>
                      <a:lnTo>
                        <a:pt x="1188834" y="846260"/>
                      </a:lnTo>
                      <a:lnTo>
                        <a:pt x="1191882" y="848827"/>
                      </a:lnTo>
                      <a:lnTo>
                        <a:pt x="1191083" y="851492"/>
                      </a:lnTo>
                      <a:lnTo>
                        <a:pt x="1190097" y="852552"/>
                      </a:lnTo>
                      <a:lnTo>
                        <a:pt x="1188321" y="853220"/>
                      </a:lnTo>
                      <a:lnTo>
                        <a:pt x="1187237" y="855526"/>
                      </a:lnTo>
                      <a:lnTo>
                        <a:pt x="1188793" y="859365"/>
                      </a:lnTo>
                      <a:lnTo>
                        <a:pt x="1190382" y="864287"/>
                      </a:lnTo>
                      <a:lnTo>
                        <a:pt x="1190578" y="866659"/>
                      </a:lnTo>
                      <a:lnTo>
                        <a:pt x="1188101" y="865632"/>
                      </a:lnTo>
                      <a:lnTo>
                        <a:pt x="1184246" y="868639"/>
                      </a:lnTo>
                      <a:lnTo>
                        <a:pt x="1182200" y="868892"/>
                      </a:lnTo>
                      <a:lnTo>
                        <a:pt x="1180831" y="864931"/>
                      </a:lnTo>
                      <a:lnTo>
                        <a:pt x="1179054" y="865550"/>
                      </a:lnTo>
                      <a:lnTo>
                        <a:pt x="1177889" y="866708"/>
                      </a:lnTo>
                      <a:lnTo>
                        <a:pt x="1176324" y="870946"/>
                      </a:lnTo>
                      <a:lnTo>
                        <a:pt x="1174417" y="874776"/>
                      </a:lnTo>
                      <a:lnTo>
                        <a:pt x="1172779" y="875827"/>
                      </a:lnTo>
                      <a:lnTo>
                        <a:pt x="1170815" y="875526"/>
                      </a:lnTo>
                      <a:lnTo>
                        <a:pt x="1169193" y="875640"/>
                      </a:lnTo>
                      <a:lnTo>
                        <a:pt x="1169584" y="876667"/>
                      </a:lnTo>
                      <a:lnTo>
                        <a:pt x="1171304" y="877930"/>
                      </a:lnTo>
                      <a:lnTo>
                        <a:pt x="1171304" y="879405"/>
                      </a:lnTo>
                      <a:lnTo>
                        <a:pt x="1167636" y="884067"/>
                      </a:lnTo>
                      <a:lnTo>
                        <a:pt x="1167050" y="885868"/>
                      </a:lnTo>
                      <a:lnTo>
                        <a:pt x="1167123" y="887408"/>
                      </a:lnTo>
                      <a:lnTo>
                        <a:pt x="1165216" y="889274"/>
                      </a:lnTo>
                      <a:lnTo>
                        <a:pt x="1166259" y="892404"/>
                      </a:lnTo>
                      <a:lnTo>
                        <a:pt x="1165713" y="894612"/>
                      </a:lnTo>
                      <a:lnTo>
                        <a:pt x="1164042" y="897595"/>
                      </a:lnTo>
                      <a:lnTo>
                        <a:pt x="1162274" y="899567"/>
                      </a:lnTo>
                      <a:lnTo>
                        <a:pt x="1160179" y="902762"/>
                      </a:lnTo>
                      <a:lnTo>
                        <a:pt x="1157564" y="904604"/>
                      </a:lnTo>
                      <a:lnTo>
                        <a:pt x="1154084" y="911295"/>
                      </a:lnTo>
                      <a:lnTo>
                        <a:pt x="1153065" y="914628"/>
                      </a:lnTo>
                      <a:lnTo>
                        <a:pt x="1152804" y="918075"/>
                      </a:lnTo>
                      <a:lnTo>
                        <a:pt x="1151720" y="919274"/>
                      </a:lnTo>
                      <a:lnTo>
                        <a:pt x="1149846" y="920773"/>
                      </a:lnTo>
                      <a:lnTo>
                        <a:pt x="1147735" y="920007"/>
                      </a:lnTo>
                      <a:lnTo>
                        <a:pt x="1147661" y="917717"/>
                      </a:lnTo>
                      <a:lnTo>
                        <a:pt x="1146732" y="917513"/>
                      </a:lnTo>
                      <a:lnTo>
                        <a:pt x="1146219" y="916014"/>
                      </a:lnTo>
                      <a:lnTo>
                        <a:pt x="1146064" y="914090"/>
                      </a:lnTo>
                      <a:lnTo>
                        <a:pt x="1146284" y="912550"/>
                      </a:lnTo>
                      <a:lnTo>
                        <a:pt x="1145404" y="913023"/>
                      </a:lnTo>
                      <a:lnTo>
                        <a:pt x="1144858" y="914816"/>
                      </a:lnTo>
                      <a:lnTo>
                        <a:pt x="1143464" y="916274"/>
                      </a:lnTo>
                      <a:lnTo>
                        <a:pt x="1142006" y="915679"/>
                      </a:lnTo>
                      <a:lnTo>
                        <a:pt x="1140433" y="914490"/>
                      </a:lnTo>
                      <a:lnTo>
                        <a:pt x="1140482" y="916217"/>
                      </a:lnTo>
                      <a:lnTo>
                        <a:pt x="1141313" y="917945"/>
                      </a:lnTo>
                      <a:lnTo>
                        <a:pt x="1141663" y="919665"/>
                      </a:lnTo>
                      <a:lnTo>
                        <a:pt x="1143848" y="920040"/>
                      </a:lnTo>
                      <a:lnTo>
                        <a:pt x="1145306" y="922036"/>
                      </a:lnTo>
                      <a:lnTo>
                        <a:pt x="1146455" y="925076"/>
                      </a:lnTo>
                      <a:lnTo>
                        <a:pt x="1146692" y="926217"/>
                      </a:lnTo>
                      <a:lnTo>
                        <a:pt x="1147580" y="927578"/>
                      </a:lnTo>
                      <a:lnTo>
                        <a:pt x="1147702" y="928735"/>
                      </a:lnTo>
                      <a:lnTo>
                        <a:pt x="1145624" y="929811"/>
                      </a:lnTo>
                      <a:lnTo>
                        <a:pt x="1143024" y="931824"/>
                      </a:lnTo>
                      <a:lnTo>
                        <a:pt x="1139911" y="935263"/>
                      </a:lnTo>
                      <a:lnTo>
                        <a:pt x="1137336" y="937561"/>
                      </a:lnTo>
                      <a:lnTo>
                        <a:pt x="1135013" y="937578"/>
                      </a:lnTo>
                      <a:lnTo>
                        <a:pt x="1133611" y="937317"/>
                      </a:lnTo>
                      <a:lnTo>
                        <a:pt x="1131598" y="935989"/>
                      </a:lnTo>
                      <a:lnTo>
                        <a:pt x="1129300" y="935442"/>
                      </a:lnTo>
                      <a:lnTo>
                        <a:pt x="1132389" y="940072"/>
                      </a:lnTo>
                      <a:lnTo>
                        <a:pt x="1134084" y="940903"/>
                      </a:lnTo>
                      <a:lnTo>
                        <a:pt x="1136203" y="940724"/>
                      </a:lnTo>
                      <a:lnTo>
                        <a:pt x="1138265" y="938996"/>
                      </a:lnTo>
                      <a:lnTo>
                        <a:pt x="1141190" y="939175"/>
                      </a:lnTo>
                      <a:lnTo>
                        <a:pt x="1141924" y="941848"/>
                      </a:lnTo>
                      <a:lnTo>
                        <a:pt x="1141142" y="944864"/>
                      </a:lnTo>
                      <a:lnTo>
                        <a:pt x="1139561" y="948784"/>
                      </a:lnTo>
                      <a:lnTo>
                        <a:pt x="1139227" y="952166"/>
                      </a:lnTo>
                      <a:lnTo>
                        <a:pt x="1141199" y="957007"/>
                      </a:lnTo>
                      <a:lnTo>
                        <a:pt x="1141288" y="958457"/>
                      </a:lnTo>
                      <a:lnTo>
                        <a:pt x="1140547" y="959191"/>
                      </a:lnTo>
                      <a:lnTo>
                        <a:pt x="1138224" y="957911"/>
                      </a:lnTo>
                      <a:lnTo>
                        <a:pt x="1136301" y="956306"/>
                      </a:lnTo>
                      <a:lnTo>
                        <a:pt x="1134361" y="956722"/>
                      </a:lnTo>
                      <a:lnTo>
                        <a:pt x="1132373" y="956037"/>
                      </a:lnTo>
                      <a:lnTo>
                        <a:pt x="1130319" y="956616"/>
                      </a:lnTo>
                      <a:lnTo>
                        <a:pt x="1129463" y="957732"/>
                      </a:lnTo>
                      <a:lnTo>
                        <a:pt x="1130050" y="959574"/>
                      </a:lnTo>
                      <a:lnTo>
                        <a:pt x="1131875" y="961106"/>
                      </a:lnTo>
                      <a:lnTo>
                        <a:pt x="1132919" y="963461"/>
                      </a:lnTo>
                      <a:lnTo>
                        <a:pt x="1131688" y="964284"/>
                      </a:lnTo>
                      <a:lnTo>
                        <a:pt x="1126456" y="963730"/>
                      </a:lnTo>
                      <a:lnTo>
                        <a:pt x="1125282" y="964178"/>
                      </a:lnTo>
                      <a:lnTo>
                        <a:pt x="1123718" y="966770"/>
                      </a:lnTo>
                      <a:lnTo>
                        <a:pt x="1124744" y="970601"/>
                      </a:lnTo>
                      <a:lnTo>
                        <a:pt x="1123595" y="972988"/>
                      </a:lnTo>
                      <a:lnTo>
                        <a:pt x="1121436" y="973543"/>
                      </a:lnTo>
                      <a:lnTo>
                        <a:pt x="1118591" y="975474"/>
                      </a:lnTo>
                      <a:lnTo>
                        <a:pt x="1116839" y="975914"/>
                      </a:lnTo>
                      <a:lnTo>
                        <a:pt x="1116912" y="976745"/>
                      </a:lnTo>
                      <a:lnTo>
                        <a:pt x="1118200" y="977593"/>
                      </a:lnTo>
                      <a:lnTo>
                        <a:pt x="1118877" y="978726"/>
                      </a:lnTo>
                      <a:lnTo>
                        <a:pt x="1117328" y="982638"/>
                      </a:lnTo>
                      <a:lnTo>
                        <a:pt x="1114940" y="983925"/>
                      </a:lnTo>
                      <a:lnTo>
                        <a:pt x="1111257" y="983290"/>
                      </a:lnTo>
                      <a:lnTo>
                        <a:pt x="1108372" y="984162"/>
                      </a:lnTo>
                      <a:lnTo>
                        <a:pt x="1105870" y="982499"/>
                      </a:lnTo>
                      <a:lnTo>
                        <a:pt x="1103205" y="982467"/>
                      </a:lnTo>
                      <a:lnTo>
                        <a:pt x="1101379" y="984561"/>
                      </a:lnTo>
                      <a:lnTo>
                        <a:pt x="1101192" y="987014"/>
                      </a:lnTo>
                      <a:lnTo>
                        <a:pt x="1099439" y="987250"/>
                      </a:lnTo>
                      <a:lnTo>
                        <a:pt x="1098486" y="987079"/>
                      </a:lnTo>
                      <a:lnTo>
                        <a:pt x="1097141" y="987250"/>
                      </a:lnTo>
                      <a:lnTo>
                        <a:pt x="1097280" y="988571"/>
                      </a:lnTo>
                      <a:lnTo>
                        <a:pt x="1098038" y="989712"/>
                      </a:lnTo>
                      <a:lnTo>
                        <a:pt x="1101640" y="990225"/>
                      </a:lnTo>
                      <a:lnTo>
                        <a:pt x="1102292" y="991863"/>
                      </a:lnTo>
                      <a:lnTo>
                        <a:pt x="1102438" y="994398"/>
                      </a:lnTo>
                      <a:lnTo>
                        <a:pt x="1098657" y="998774"/>
                      </a:lnTo>
                      <a:lnTo>
                        <a:pt x="1097060" y="1001724"/>
                      </a:lnTo>
                      <a:lnTo>
                        <a:pt x="1094639" y="1001643"/>
                      </a:lnTo>
                      <a:lnTo>
                        <a:pt x="1092806" y="1004006"/>
                      </a:lnTo>
                      <a:lnTo>
                        <a:pt x="1091820" y="1007217"/>
                      </a:lnTo>
                      <a:lnTo>
                        <a:pt x="1090605" y="1006581"/>
                      </a:lnTo>
                      <a:lnTo>
                        <a:pt x="1087802" y="1007095"/>
                      </a:lnTo>
                      <a:lnTo>
                        <a:pt x="1086979" y="1008627"/>
                      </a:lnTo>
                      <a:lnTo>
                        <a:pt x="1087639" y="1009263"/>
                      </a:lnTo>
                      <a:lnTo>
                        <a:pt x="1087704" y="1010355"/>
                      </a:lnTo>
                      <a:lnTo>
                        <a:pt x="1086579" y="1013957"/>
                      </a:lnTo>
                      <a:lnTo>
                        <a:pt x="1085357" y="1014968"/>
                      </a:lnTo>
                      <a:lnTo>
                        <a:pt x="1084843" y="1013501"/>
                      </a:lnTo>
                      <a:lnTo>
                        <a:pt x="1084444" y="1011211"/>
                      </a:lnTo>
                      <a:lnTo>
                        <a:pt x="1083450" y="1011039"/>
                      </a:lnTo>
                      <a:lnTo>
                        <a:pt x="1081820" y="1013142"/>
                      </a:lnTo>
                      <a:lnTo>
                        <a:pt x="1079913" y="1014650"/>
                      </a:lnTo>
                      <a:lnTo>
                        <a:pt x="1078291" y="1015277"/>
                      </a:lnTo>
                      <a:lnTo>
                        <a:pt x="1077061" y="1013884"/>
                      </a:lnTo>
                      <a:lnTo>
                        <a:pt x="1074020" y="1013158"/>
                      </a:lnTo>
                      <a:lnTo>
                        <a:pt x="1072790" y="1019205"/>
                      </a:lnTo>
                      <a:lnTo>
                        <a:pt x="1070280" y="1021406"/>
                      </a:lnTo>
                      <a:lnTo>
                        <a:pt x="1069098" y="1022091"/>
                      </a:lnTo>
                      <a:lnTo>
                        <a:pt x="1067044" y="1022302"/>
                      </a:lnTo>
                      <a:lnTo>
                        <a:pt x="1068365" y="1023125"/>
                      </a:lnTo>
                      <a:lnTo>
                        <a:pt x="1068772" y="1024682"/>
                      </a:lnTo>
                      <a:lnTo>
                        <a:pt x="1068030" y="1026222"/>
                      </a:lnTo>
                      <a:lnTo>
                        <a:pt x="1065985" y="1026532"/>
                      </a:lnTo>
                      <a:lnTo>
                        <a:pt x="1064787" y="1027738"/>
                      </a:lnTo>
                      <a:lnTo>
                        <a:pt x="1064331" y="1033134"/>
                      </a:lnTo>
                      <a:lnTo>
                        <a:pt x="1063108" y="1035024"/>
                      </a:lnTo>
                      <a:lnTo>
                        <a:pt x="1060011" y="1035179"/>
                      </a:lnTo>
                      <a:lnTo>
                        <a:pt x="1057689" y="1033924"/>
                      </a:lnTo>
                      <a:lnTo>
                        <a:pt x="1056947" y="1034910"/>
                      </a:lnTo>
                      <a:lnTo>
                        <a:pt x="1056555" y="1035880"/>
                      </a:lnTo>
                      <a:lnTo>
                        <a:pt x="1055341" y="1036850"/>
                      </a:lnTo>
                      <a:lnTo>
                        <a:pt x="1052994" y="1037110"/>
                      </a:lnTo>
                      <a:lnTo>
                        <a:pt x="1047770" y="1039531"/>
                      </a:lnTo>
                      <a:lnTo>
                        <a:pt x="1045382" y="1038830"/>
                      </a:lnTo>
                      <a:lnTo>
                        <a:pt x="1042514" y="1037909"/>
                      </a:lnTo>
                      <a:lnTo>
                        <a:pt x="1040549" y="1038806"/>
                      </a:lnTo>
                      <a:lnTo>
                        <a:pt x="1039898" y="1040664"/>
                      </a:lnTo>
                      <a:lnTo>
                        <a:pt x="1039001" y="1042098"/>
                      </a:lnTo>
                      <a:lnTo>
                        <a:pt x="1036124" y="1042098"/>
                      </a:lnTo>
                      <a:lnTo>
                        <a:pt x="1033826" y="1040330"/>
                      </a:lnTo>
                      <a:lnTo>
                        <a:pt x="1031495" y="1039034"/>
                      </a:lnTo>
                      <a:lnTo>
                        <a:pt x="1028895" y="1040142"/>
                      </a:lnTo>
                      <a:lnTo>
                        <a:pt x="1026932" y="1042408"/>
                      </a:lnTo>
                      <a:lnTo>
                        <a:pt x="1024519" y="1043166"/>
                      </a:lnTo>
                      <a:lnTo>
                        <a:pt x="1024062" y="1044576"/>
                      </a:lnTo>
                      <a:lnTo>
                        <a:pt x="1023011" y="1045285"/>
                      </a:lnTo>
                      <a:lnTo>
                        <a:pt x="1020444" y="1044983"/>
                      </a:lnTo>
                      <a:lnTo>
                        <a:pt x="1019466" y="1041487"/>
                      </a:lnTo>
                      <a:lnTo>
                        <a:pt x="1017999" y="1040965"/>
                      </a:lnTo>
                      <a:lnTo>
                        <a:pt x="1016532" y="1042742"/>
                      </a:lnTo>
                      <a:lnTo>
                        <a:pt x="1016019" y="1044119"/>
                      </a:lnTo>
                      <a:lnTo>
                        <a:pt x="1015334" y="1045162"/>
                      </a:lnTo>
                      <a:lnTo>
                        <a:pt x="1015587" y="1048015"/>
                      </a:lnTo>
                      <a:lnTo>
                        <a:pt x="1014136" y="1048072"/>
                      </a:lnTo>
                      <a:lnTo>
                        <a:pt x="1012254" y="1046328"/>
                      </a:lnTo>
                      <a:lnTo>
                        <a:pt x="1010281" y="1046010"/>
                      </a:lnTo>
                      <a:lnTo>
                        <a:pt x="1008431" y="1047640"/>
                      </a:lnTo>
                      <a:lnTo>
                        <a:pt x="1007502" y="1047241"/>
                      </a:lnTo>
                      <a:lnTo>
                        <a:pt x="1006500" y="1046890"/>
                      </a:lnTo>
                      <a:lnTo>
                        <a:pt x="1004878" y="1046890"/>
                      </a:lnTo>
                      <a:lnTo>
                        <a:pt x="1004259" y="1047322"/>
                      </a:lnTo>
                      <a:lnTo>
                        <a:pt x="1003077" y="1047575"/>
                      </a:lnTo>
                      <a:lnTo>
                        <a:pt x="1002286" y="1048463"/>
                      </a:lnTo>
                      <a:lnTo>
                        <a:pt x="1002213" y="1048545"/>
                      </a:lnTo>
                      <a:lnTo>
                        <a:pt x="1000119" y="1047950"/>
                      </a:lnTo>
                      <a:lnTo>
                        <a:pt x="997576" y="1045578"/>
                      </a:lnTo>
                      <a:lnTo>
                        <a:pt x="995750" y="1041642"/>
                      </a:lnTo>
                      <a:lnTo>
                        <a:pt x="993436" y="1039523"/>
                      </a:lnTo>
                      <a:lnTo>
                        <a:pt x="992401" y="1037657"/>
                      </a:lnTo>
                      <a:lnTo>
                        <a:pt x="991993" y="1034307"/>
                      </a:lnTo>
                      <a:lnTo>
                        <a:pt x="991569" y="1032718"/>
                      </a:lnTo>
                      <a:lnTo>
                        <a:pt x="991716" y="1030949"/>
                      </a:lnTo>
                      <a:lnTo>
                        <a:pt x="992425" y="1029360"/>
                      </a:lnTo>
                      <a:lnTo>
                        <a:pt x="989915" y="1030150"/>
                      </a:lnTo>
                      <a:lnTo>
                        <a:pt x="988081" y="1031626"/>
                      </a:lnTo>
                      <a:lnTo>
                        <a:pt x="988448" y="1033468"/>
                      </a:lnTo>
                      <a:lnTo>
                        <a:pt x="987992" y="1035195"/>
                      </a:lnTo>
                      <a:lnTo>
                        <a:pt x="985237" y="1036084"/>
                      </a:lnTo>
                      <a:lnTo>
                        <a:pt x="985408" y="1036809"/>
                      </a:lnTo>
                      <a:lnTo>
                        <a:pt x="985588" y="1037559"/>
                      </a:lnTo>
                      <a:lnTo>
                        <a:pt x="987747" y="1039906"/>
                      </a:lnTo>
                      <a:lnTo>
                        <a:pt x="988179" y="1041878"/>
                      </a:lnTo>
                      <a:lnTo>
                        <a:pt x="989051" y="1042921"/>
                      </a:lnTo>
                      <a:lnTo>
                        <a:pt x="990747" y="1045986"/>
                      </a:lnTo>
                      <a:lnTo>
                        <a:pt x="990706" y="1051902"/>
                      </a:lnTo>
                      <a:lnTo>
                        <a:pt x="991635" y="1053573"/>
                      </a:lnTo>
                      <a:lnTo>
                        <a:pt x="991325" y="1055227"/>
                      </a:lnTo>
                      <a:lnTo>
                        <a:pt x="990649" y="1057460"/>
                      </a:lnTo>
                      <a:lnTo>
                        <a:pt x="990591" y="1057501"/>
                      </a:lnTo>
                      <a:lnTo>
                        <a:pt x="990103" y="1056816"/>
                      </a:lnTo>
                      <a:lnTo>
                        <a:pt x="989288" y="1056955"/>
                      </a:lnTo>
                      <a:lnTo>
                        <a:pt x="988962" y="1057705"/>
                      </a:lnTo>
                      <a:lnTo>
                        <a:pt x="988905" y="1058381"/>
                      </a:lnTo>
                      <a:lnTo>
                        <a:pt x="988782" y="1058422"/>
                      </a:lnTo>
                      <a:lnTo>
                        <a:pt x="987348" y="1058919"/>
                      </a:lnTo>
                      <a:lnTo>
                        <a:pt x="986142" y="1059343"/>
                      </a:lnTo>
                      <a:lnTo>
                        <a:pt x="985164" y="1059946"/>
                      </a:lnTo>
                      <a:lnTo>
                        <a:pt x="983640" y="1061706"/>
                      </a:lnTo>
                      <a:lnTo>
                        <a:pt x="980722" y="1062130"/>
                      </a:lnTo>
                      <a:lnTo>
                        <a:pt x="979231" y="1057998"/>
                      </a:lnTo>
                      <a:lnTo>
                        <a:pt x="977242" y="1060753"/>
                      </a:lnTo>
                      <a:lnTo>
                        <a:pt x="976623" y="1066384"/>
                      </a:lnTo>
                      <a:lnTo>
                        <a:pt x="975890" y="1067346"/>
                      </a:lnTo>
                      <a:lnTo>
                        <a:pt x="974643" y="1068145"/>
                      </a:lnTo>
                      <a:lnTo>
                        <a:pt x="972287" y="1066189"/>
                      </a:lnTo>
                      <a:lnTo>
                        <a:pt x="970217" y="1067501"/>
                      </a:lnTo>
                      <a:lnTo>
                        <a:pt x="968620" y="1068829"/>
                      </a:lnTo>
                      <a:lnTo>
                        <a:pt x="967952" y="1070060"/>
                      </a:lnTo>
                      <a:lnTo>
                        <a:pt x="966770" y="1071396"/>
                      </a:lnTo>
                      <a:lnTo>
                        <a:pt x="964504" y="1070101"/>
                      </a:lnTo>
                      <a:lnTo>
                        <a:pt x="962679" y="1068177"/>
                      </a:lnTo>
                      <a:lnTo>
                        <a:pt x="963127" y="1066718"/>
                      </a:lnTo>
                      <a:lnTo>
                        <a:pt x="962874" y="1065765"/>
                      </a:lnTo>
                      <a:lnTo>
                        <a:pt x="962043" y="1065048"/>
                      </a:lnTo>
                      <a:lnTo>
                        <a:pt x="961147" y="1065154"/>
                      </a:lnTo>
                      <a:lnTo>
                        <a:pt x="961587" y="1067028"/>
                      </a:lnTo>
                      <a:lnTo>
                        <a:pt x="961896" y="1070639"/>
                      </a:lnTo>
                      <a:lnTo>
                        <a:pt x="961065" y="1071690"/>
                      </a:lnTo>
                      <a:lnTo>
                        <a:pt x="959794" y="1072488"/>
                      </a:lnTo>
                      <a:lnTo>
                        <a:pt x="957023" y="1071820"/>
                      </a:lnTo>
                      <a:lnTo>
                        <a:pt x="955140" y="1070475"/>
                      </a:lnTo>
                      <a:lnTo>
                        <a:pt x="952850" y="1069343"/>
                      </a:lnTo>
                      <a:lnTo>
                        <a:pt x="950837" y="1069131"/>
                      </a:lnTo>
                      <a:lnTo>
                        <a:pt x="950413" y="1071421"/>
                      </a:lnTo>
                      <a:lnTo>
                        <a:pt x="949093" y="1073254"/>
                      </a:lnTo>
                      <a:lnTo>
                        <a:pt x="947879" y="1073483"/>
                      </a:lnTo>
                      <a:lnTo>
                        <a:pt x="946665" y="1073181"/>
                      </a:lnTo>
                      <a:lnTo>
                        <a:pt x="945083" y="1075170"/>
                      </a:lnTo>
                      <a:lnTo>
                        <a:pt x="944334" y="1076620"/>
                      </a:lnTo>
                      <a:lnTo>
                        <a:pt x="942370" y="1078153"/>
                      </a:lnTo>
                      <a:lnTo>
                        <a:pt x="937162" y="1078902"/>
                      </a:lnTo>
                      <a:lnTo>
                        <a:pt x="935345" y="1080418"/>
                      </a:lnTo>
                      <a:lnTo>
                        <a:pt x="932900" y="1080174"/>
                      </a:lnTo>
                      <a:lnTo>
                        <a:pt x="931001" y="1080540"/>
                      </a:lnTo>
                      <a:lnTo>
                        <a:pt x="929925" y="1080459"/>
                      </a:lnTo>
                      <a:lnTo>
                        <a:pt x="928947" y="1079644"/>
                      </a:lnTo>
                      <a:lnTo>
                        <a:pt x="927847" y="1079619"/>
                      </a:lnTo>
                      <a:lnTo>
                        <a:pt x="927342" y="1082146"/>
                      </a:lnTo>
                      <a:lnTo>
                        <a:pt x="924400" y="1083214"/>
                      </a:lnTo>
                      <a:lnTo>
                        <a:pt x="921751" y="1083507"/>
                      </a:lnTo>
                      <a:lnTo>
                        <a:pt x="918801" y="1086832"/>
                      </a:lnTo>
                      <a:lnTo>
                        <a:pt x="916690" y="1088853"/>
                      </a:lnTo>
                      <a:lnTo>
                        <a:pt x="915133" y="1089057"/>
                      </a:lnTo>
                      <a:lnTo>
                        <a:pt x="913984" y="1088340"/>
                      </a:lnTo>
                      <a:lnTo>
                        <a:pt x="913414" y="1085357"/>
                      </a:lnTo>
                      <a:lnTo>
                        <a:pt x="912810" y="1085007"/>
                      </a:lnTo>
                      <a:lnTo>
                        <a:pt x="912477" y="1087810"/>
                      </a:lnTo>
                      <a:lnTo>
                        <a:pt x="911922" y="1090141"/>
                      </a:lnTo>
                      <a:lnTo>
                        <a:pt x="910839" y="1091412"/>
                      </a:lnTo>
                      <a:lnTo>
                        <a:pt x="907424" y="1094322"/>
                      </a:lnTo>
                      <a:lnTo>
                        <a:pt x="906446" y="1097199"/>
                      </a:lnTo>
                      <a:lnTo>
                        <a:pt x="907098" y="1099863"/>
                      </a:lnTo>
                      <a:lnTo>
                        <a:pt x="911694" y="1100515"/>
                      </a:lnTo>
                      <a:lnTo>
                        <a:pt x="912265" y="1101966"/>
                      </a:lnTo>
                      <a:lnTo>
                        <a:pt x="911808" y="1103156"/>
                      </a:lnTo>
                      <a:lnTo>
                        <a:pt x="910716" y="1104158"/>
                      </a:lnTo>
                      <a:lnTo>
                        <a:pt x="910390" y="1105641"/>
                      </a:lnTo>
                      <a:lnTo>
                        <a:pt x="915312" y="1110393"/>
                      </a:lnTo>
                      <a:lnTo>
                        <a:pt x="915459" y="1112194"/>
                      </a:lnTo>
                      <a:lnTo>
                        <a:pt x="914710" y="1113213"/>
                      </a:lnTo>
                      <a:lnTo>
                        <a:pt x="913772" y="1115421"/>
                      </a:lnTo>
                      <a:lnTo>
                        <a:pt x="911172" y="1117296"/>
                      </a:lnTo>
                      <a:lnTo>
                        <a:pt x="905671" y="1118257"/>
                      </a:lnTo>
                      <a:lnTo>
                        <a:pt x="901100" y="1117288"/>
                      </a:lnTo>
                      <a:lnTo>
                        <a:pt x="899706" y="1115152"/>
                      </a:lnTo>
                      <a:lnTo>
                        <a:pt x="899795" y="1113637"/>
                      </a:lnTo>
                      <a:lnTo>
                        <a:pt x="900920" y="1114085"/>
                      </a:lnTo>
                      <a:lnTo>
                        <a:pt x="902224" y="1113938"/>
                      </a:lnTo>
                      <a:lnTo>
                        <a:pt x="901841" y="1112553"/>
                      </a:lnTo>
                      <a:lnTo>
                        <a:pt x="901295" y="1111746"/>
                      </a:lnTo>
                      <a:lnTo>
                        <a:pt x="899176" y="1110515"/>
                      </a:lnTo>
                      <a:lnTo>
                        <a:pt x="897473" y="1107190"/>
                      </a:lnTo>
                      <a:lnTo>
                        <a:pt x="897799" y="1104411"/>
                      </a:lnTo>
                      <a:lnTo>
                        <a:pt x="896854" y="1102267"/>
                      </a:lnTo>
                      <a:lnTo>
                        <a:pt x="895835" y="1100483"/>
                      </a:lnTo>
                      <a:lnTo>
                        <a:pt x="894800" y="1099399"/>
                      </a:lnTo>
                      <a:lnTo>
                        <a:pt x="894254" y="1098054"/>
                      </a:lnTo>
                      <a:lnTo>
                        <a:pt x="895297" y="1093857"/>
                      </a:lnTo>
                      <a:lnTo>
                        <a:pt x="894726" y="1091404"/>
                      </a:lnTo>
                      <a:lnTo>
                        <a:pt x="896674" y="1088413"/>
                      </a:lnTo>
                      <a:lnTo>
                        <a:pt x="897155" y="1085031"/>
                      </a:lnTo>
                      <a:lnTo>
                        <a:pt x="900676" y="1083825"/>
                      </a:lnTo>
                      <a:lnTo>
                        <a:pt x="900904" y="1080589"/>
                      </a:lnTo>
                      <a:lnTo>
                        <a:pt x="898394" y="1080491"/>
                      </a:lnTo>
                      <a:lnTo>
                        <a:pt x="896658" y="1078128"/>
                      </a:lnTo>
                      <a:lnTo>
                        <a:pt x="896250" y="1079122"/>
                      </a:lnTo>
                      <a:lnTo>
                        <a:pt x="894857" y="1079220"/>
                      </a:lnTo>
                      <a:lnTo>
                        <a:pt x="892567" y="1074648"/>
                      </a:lnTo>
                      <a:lnTo>
                        <a:pt x="891874" y="1074069"/>
                      </a:lnTo>
                      <a:lnTo>
                        <a:pt x="890757" y="1073988"/>
                      </a:lnTo>
                      <a:lnTo>
                        <a:pt x="891320" y="1078804"/>
                      </a:lnTo>
                      <a:lnTo>
                        <a:pt x="888622" y="1080622"/>
                      </a:lnTo>
                      <a:lnTo>
                        <a:pt x="886422" y="1081412"/>
                      </a:lnTo>
                      <a:lnTo>
                        <a:pt x="883284" y="1081747"/>
                      </a:lnTo>
                      <a:lnTo>
                        <a:pt x="881508" y="1082301"/>
                      </a:lnTo>
                      <a:lnTo>
                        <a:pt x="879837" y="1081836"/>
                      </a:lnTo>
                      <a:lnTo>
                        <a:pt x="880252" y="1080378"/>
                      </a:lnTo>
                      <a:lnTo>
                        <a:pt x="881133" y="1078633"/>
                      </a:lnTo>
                      <a:lnTo>
                        <a:pt x="880342" y="1077183"/>
                      </a:lnTo>
                      <a:lnTo>
                        <a:pt x="878573" y="1076066"/>
                      </a:lnTo>
                      <a:lnTo>
                        <a:pt x="875876" y="1076131"/>
                      </a:lnTo>
                      <a:lnTo>
                        <a:pt x="874018" y="1075814"/>
                      </a:lnTo>
                      <a:lnTo>
                        <a:pt x="872160" y="1075936"/>
                      </a:lnTo>
                      <a:lnTo>
                        <a:pt x="871467" y="1075292"/>
                      </a:lnTo>
                      <a:lnTo>
                        <a:pt x="869747" y="1073018"/>
                      </a:lnTo>
                      <a:lnTo>
                        <a:pt x="868289" y="1071592"/>
                      </a:lnTo>
                      <a:lnTo>
                        <a:pt x="867629" y="1070182"/>
                      </a:lnTo>
                      <a:lnTo>
                        <a:pt x="868289" y="1068536"/>
                      </a:lnTo>
                      <a:lnTo>
                        <a:pt x="867743" y="1067542"/>
                      </a:lnTo>
                      <a:lnTo>
                        <a:pt x="864923" y="1067427"/>
                      </a:lnTo>
                      <a:lnTo>
                        <a:pt x="864947" y="1069783"/>
                      </a:lnTo>
                      <a:lnTo>
                        <a:pt x="865233" y="1072562"/>
                      </a:lnTo>
                      <a:lnTo>
                        <a:pt x="866055" y="1074673"/>
                      </a:lnTo>
                      <a:lnTo>
                        <a:pt x="865477" y="1075846"/>
                      </a:lnTo>
                      <a:lnTo>
                        <a:pt x="864043" y="1076661"/>
                      </a:lnTo>
                      <a:lnTo>
                        <a:pt x="862510" y="1074428"/>
                      </a:lnTo>
                      <a:lnTo>
                        <a:pt x="861809" y="1073874"/>
                      </a:lnTo>
                      <a:lnTo>
                        <a:pt x="861084" y="1073988"/>
                      </a:lnTo>
                      <a:lnTo>
                        <a:pt x="860506" y="1076205"/>
                      </a:lnTo>
                      <a:lnTo>
                        <a:pt x="859128" y="1078177"/>
                      </a:lnTo>
                      <a:lnTo>
                        <a:pt x="856635" y="1077965"/>
                      </a:lnTo>
                      <a:lnTo>
                        <a:pt x="854695" y="1079179"/>
                      </a:lnTo>
                      <a:lnTo>
                        <a:pt x="852339" y="1079742"/>
                      </a:lnTo>
                      <a:lnTo>
                        <a:pt x="850742" y="1078112"/>
                      </a:lnTo>
                      <a:lnTo>
                        <a:pt x="848110" y="1075488"/>
                      </a:lnTo>
                      <a:lnTo>
                        <a:pt x="847050" y="1075178"/>
                      </a:lnTo>
                      <a:lnTo>
                        <a:pt x="844117" y="1076457"/>
                      </a:lnTo>
                      <a:lnTo>
                        <a:pt x="839911" y="1076930"/>
                      </a:lnTo>
                      <a:lnTo>
                        <a:pt x="838974" y="1075569"/>
                      </a:lnTo>
                      <a:lnTo>
                        <a:pt x="836928" y="1076604"/>
                      </a:lnTo>
                      <a:lnTo>
                        <a:pt x="834965" y="1073450"/>
                      </a:lnTo>
                      <a:lnTo>
                        <a:pt x="832642" y="1073254"/>
                      </a:lnTo>
                      <a:lnTo>
                        <a:pt x="829740" y="1070850"/>
                      </a:lnTo>
                      <a:lnTo>
                        <a:pt x="828714" y="1069595"/>
                      </a:lnTo>
                      <a:lnTo>
                        <a:pt x="828379" y="1067778"/>
                      </a:lnTo>
                      <a:lnTo>
                        <a:pt x="827499" y="1066833"/>
                      </a:lnTo>
                      <a:lnTo>
                        <a:pt x="826366" y="1066947"/>
                      </a:lnTo>
                      <a:lnTo>
                        <a:pt x="825103" y="1065977"/>
                      </a:lnTo>
                      <a:lnTo>
                        <a:pt x="823107" y="1065023"/>
                      </a:lnTo>
                      <a:lnTo>
                        <a:pt x="821509" y="1064461"/>
                      </a:lnTo>
                      <a:lnTo>
                        <a:pt x="820718" y="1064893"/>
                      </a:lnTo>
                      <a:lnTo>
                        <a:pt x="819871" y="1065121"/>
                      </a:lnTo>
                      <a:lnTo>
                        <a:pt x="819724" y="1063899"/>
                      </a:lnTo>
                      <a:lnTo>
                        <a:pt x="819790" y="1060231"/>
                      </a:lnTo>
                      <a:lnTo>
                        <a:pt x="819643" y="1056955"/>
                      </a:lnTo>
                      <a:lnTo>
                        <a:pt x="819194" y="1055488"/>
                      </a:lnTo>
                      <a:lnTo>
                        <a:pt x="818127" y="1054372"/>
                      </a:lnTo>
                      <a:lnTo>
                        <a:pt x="817149" y="1053842"/>
                      </a:lnTo>
                      <a:lnTo>
                        <a:pt x="816709" y="1052171"/>
                      </a:lnTo>
                      <a:lnTo>
                        <a:pt x="817059" y="1048871"/>
                      </a:lnTo>
                      <a:lnTo>
                        <a:pt x="817858" y="1046646"/>
                      </a:lnTo>
                      <a:lnTo>
                        <a:pt x="819121" y="1046238"/>
                      </a:lnTo>
                      <a:lnTo>
                        <a:pt x="820809" y="1044624"/>
                      </a:lnTo>
                      <a:lnTo>
                        <a:pt x="821681" y="1042351"/>
                      </a:lnTo>
                      <a:lnTo>
                        <a:pt x="822772" y="1040232"/>
                      </a:lnTo>
                      <a:lnTo>
                        <a:pt x="818893" y="1037265"/>
                      </a:lnTo>
                      <a:lnTo>
                        <a:pt x="816848" y="1036198"/>
                      </a:lnTo>
                      <a:lnTo>
                        <a:pt x="814598" y="1036646"/>
                      </a:lnTo>
                      <a:lnTo>
                        <a:pt x="811803" y="1037599"/>
                      </a:lnTo>
                      <a:lnTo>
                        <a:pt x="810336" y="1037787"/>
                      </a:lnTo>
                      <a:lnTo>
                        <a:pt x="809603" y="1037412"/>
                      </a:lnTo>
                      <a:lnTo>
                        <a:pt x="807973" y="1034739"/>
                      </a:lnTo>
                      <a:lnTo>
                        <a:pt x="807092" y="1034274"/>
                      </a:lnTo>
                      <a:lnTo>
                        <a:pt x="805112" y="1034103"/>
                      </a:lnTo>
                      <a:lnTo>
                        <a:pt x="803433" y="1034128"/>
                      </a:lnTo>
                      <a:lnTo>
                        <a:pt x="802480" y="1035285"/>
                      </a:lnTo>
                      <a:lnTo>
                        <a:pt x="801004" y="1035684"/>
                      </a:lnTo>
                      <a:lnTo>
                        <a:pt x="799521" y="1035749"/>
                      </a:lnTo>
                      <a:lnTo>
                        <a:pt x="798013" y="1034299"/>
                      </a:lnTo>
                      <a:lnTo>
                        <a:pt x="795756" y="1032408"/>
                      </a:lnTo>
                      <a:lnTo>
                        <a:pt x="792203" y="1031071"/>
                      </a:lnTo>
                      <a:lnTo>
                        <a:pt x="791779" y="1029539"/>
                      </a:lnTo>
                      <a:lnTo>
                        <a:pt x="790874" y="1027706"/>
                      </a:lnTo>
                      <a:lnTo>
                        <a:pt x="789530" y="1026002"/>
                      </a:lnTo>
                      <a:lnTo>
                        <a:pt x="787305" y="1023745"/>
                      </a:lnTo>
                      <a:lnTo>
                        <a:pt x="785438" y="1022571"/>
                      </a:lnTo>
                      <a:lnTo>
                        <a:pt x="784534" y="1023297"/>
                      </a:lnTo>
                      <a:lnTo>
                        <a:pt x="783303" y="1024576"/>
                      </a:lnTo>
                      <a:lnTo>
                        <a:pt x="778511" y="1027282"/>
                      </a:lnTo>
                      <a:lnTo>
                        <a:pt x="776384" y="1028333"/>
                      </a:lnTo>
                      <a:lnTo>
                        <a:pt x="775259" y="1029091"/>
                      </a:lnTo>
                      <a:lnTo>
                        <a:pt x="774306" y="1030216"/>
                      </a:lnTo>
                      <a:lnTo>
                        <a:pt x="774013" y="1033003"/>
                      </a:lnTo>
                      <a:lnTo>
                        <a:pt x="773540" y="1036108"/>
                      </a:lnTo>
                      <a:lnTo>
                        <a:pt x="772171" y="1037689"/>
                      </a:lnTo>
                      <a:lnTo>
                        <a:pt x="770851" y="1038879"/>
                      </a:lnTo>
                      <a:lnTo>
                        <a:pt x="769473" y="1039009"/>
                      </a:lnTo>
                      <a:lnTo>
                        <a:pt x="768128" y="1038952"/>
                      </a:lnTo>
                      <a:lnTo>
                        <a:pt x="766882" y="1039450"/>
                      </a:lnTo>
                      <a:lnTo>
                        <a:pt x="763027" y="1042571"/>
                      </a:lnTo>
                      <a:lnTo>
                        <a:pt x="761209" y="1042318"/>
                      </a:lnTo>
                      <a:lnTo>
                        <a:pt x="759718" y="1040550"/>
                      </a:lnTo>
                      <a:lnTo>
                        <a:pt x="759082" y="1039286"/>
                      </a:lnTo>
                      <a:lnTo>
                        <a:pt x="757355" y="1039563"/>
                      </a:lnTo>
                      <a:lnTo>
                        <a:pt x="755146" y="1041055"/>
                      </a:lnTo>
                      <a:lnTo>
                        <a:pt x="754127" y="1043744"/>
                      </a:lnTo>
                      <a:lnTo>
                        <a:pt x="753581" y="1046230"/>
                      </a:lnTo>
                      <a:lnTo>
                        <a:pt x="753100" y="1047338"/>
                      </a:lnTo>
                      <a:lnTo>
                        <a:pt x="752359" y="1047673"/>
                      </a:lnTo>
                      <a:lnTo>
                        <a:pt x="751707" y="1047721"/>
                      </a:lnTo>
                      <a:lnTo>
                        <a:pt x="744812" y="1040509"/>
                      </a:lnTo>
                      <a:lnTo>
                        <a:pt x="744388" y="1040134"/>
                      </a:lnTo>
                      <a:lnTo>
                        <a:pt x="743166" y="1041617"/>
                      </a:lnTo>
                      <a:lnTo>
                        <a:pt x="742041" y="1045448"/>
                      </a:lnTo>
                      <a:lnTo>
                        <a:pt x="741243" y="1046173"/>
                      </a:lnTo>
                      <a:lnTo>
                        <a:pt x="740688" y="1045880"/>
                      </a:lnTo>
                      <a:lnTo>
                        <a:pt x="737844" y="1040990"/>
                      </a:lnTo>
                      <a:lnTo>
                        <a:pt x="737111" y="1040517"/>
                      </a:lnTo>
                      <a:lnTo>
                        <a:pt x="736458" y="1040680"/>
                      </a:lnTo>
                      <a:lnTo>
                        <a:pt x="735611" y="1042269"/>
                      </a:lnTo>
                      <a:lnTo>
                        <a:pt x="733802" y="1044608"/>
                      </a:lnTo>
                      <a:lnTo>
                        <a:pt x="732424" y="1046026"/>
                      </a:lnTo>
                      <a:lnTo>
                        <a:pt x="732392" y="1047599"/>
                      </a:lnTo>
                      <a:lnTo>
                        <a:pt x="730884" y="1049001"/>
                      </a:lnTo>
                      <a:lnTo>
                        <a:pt x="729148" y="1050378"/>
                      </a:lnTo>
                      <a:lnTo>
                        <a:pt x="728553" y="1050525"/>
                      </a:lnTo>
                      <a:lnTo>
                        <a:pt x="727396" y="1049971"/>
                      </a:lnTo>
                      <a:lnTo>
                        <a:pt x="725888" y="1048129"/>
                      </a:lnTo>
                      <a:lnTo>
                        <a:pt x="724796" y="1046198"/>
                      </a:lnTo>
                      <a:lnTo>
                        <a:pt x="722091" y="1044299"/>
                      </a:lnTo>
                      <a:lnTo>
                        <a:pt x="719051" y="1042677"/>
                      </a:lnTo>
                      <a:lnTo>
                        <a:pt x="717038" y="1041414"/>
                      </a:lnTo>
                      <a:lnTo>
                        <a:pt x="715881" y="1041096"/>
                      </a:lnTo>
                      <a:lnTo>
                        <a:pt x="714813" y="1041666"/>
                      </a:lnTo>
                      <a:lnTo>
                        <a:pt x="714283" y="1042440"/>
                      </a:lnTo>
                      <a:lnTo>
                        <a:pt x="713525" y="1044356"/>
                      </a:lnTo>
                      <a:lnTo>
                        <a:pt x="711708" y="1047485"/>
                      </a:lnTo>
                      <a:lnTo>
                        <a:pt x="710078" y="1049979"/>
                      </a:lnTo>
                      <a:lnTo>
                        <a:pt x="708570" y="1051576"/>
                      </a:lnTo>
                      <a:lnTo>
                        <a:pt x="707364" y="1052676"/>
                      </a:lnTo>
                      <a:lnTo>
                        <a:pt x="706476" y="1051650"/>
                      </a:lnTo>
                      <a:lnTo>
                        <a:pt x="704813" y="1050810"/>
                      </a:lnTo>
                      <a:lnTo>
                        <a:pt x="702857" y="1050802"/>
                      </a:lnTo>
                      <a:lnTo>
                        <a:pt x="700274" y="1052391"/>
                      </a:lnTo>
                      <a:lnTo>
                        <a:pt x="698253" y="1049213"/>
                      </a:lnTo>
                      <a:lnTo>
                        <a:pt x="697731" y="1049066"/>
                      </a:lnTo>
                      <a:lnTo>
                        <a:pt x="696948" y="1049335"/>
                      </a:lnTo>
                      <a:lnTo>
                        <a:pt x="696061" y="1050085"/>
                      </a:lnTo>
                      <a:lnTo>
                        <a:pt x="695433" y="1051861"/>
                      </a:lnTo>
                      <a:lnTo>
                        <a:pt x="694781" y="1054290"/>
                      </a:lnTo>
                      <a:lnTo>
                        <a:pt x="693485" y="1055871"/>
                      </a:lnTo>
                      <a:lnTo>
                        <a:pt x="692409" y="1056580"/>
                      </a:lnTo>
                      <a:lnTo>
                        <a:pt x="692727" y="1057941"/>
                      </a:lnTo>
                      <a:lnTo>
                        <a:pt x="693338" y="1059416"/>
                      </a:lnTo>
                      <a:lnTo>
                        <a:pt x="693297" y="1060704"/>
                      </a:lnTo>
                      <a:lnTo>
                        <a:pt x="693681" y="1062749"/>
                      </a:lnTo>
                      <a:lnTo>
                        <a:pt x="694357" y="1064787"/>
                      </a:lnTo>
                      <a:lnTo>
                        <a:pt x="696761" y="1068112"/>
                      </a:lnTo>
                      <a:lnTo>
                        <a:pt x="697666" y="1069856"/>
                      </a:lnTo>
                      <a:lnTo>
                        <a:pt x="697853" y="1071364"/>
                      </a:lnTo>
                      <a:lnTo>
                        <a:pt x="697935" y="1076702"/>
                      </a:lnTo>
                      <a:lnTo>
                        <a:pt x="697845" y="1078935"/>
                      </a:lnTo>
                      <a:lnTo>
                        <a:pt x="697372" y="1083246"/>
                      </a:lnTo>
                      <a:lnTo>
                        <a:pt x="697332" y="1085724"/>
                      </a:lnTo>
                      <a:lnTo>
                        <a:pt x="698326" y="1086840"/>
                      </a:lnTo>
                      <a:lnTo>
                        <a:pt x="699296" y="1088169"/>
                      </a:lnTo>
                      <a:lnTo>
                        <a:pt x="699255" y="1088894"/>
                      </a:lnTo>
                      <a:lnTo>
                        <a:pt x="698831" y="1089163"/>
                      </a:lnTo>
                      <a:lnTo>
                        <a:pt x="697470" y="1090638"/>
                      </a:lnTo>
                      <a:lnTo>
                        <a:pt x="696883" y="1090834"/>
                      </a:lnTo>
                      <a:lnTo>
                        <a:pt x="695979" y="1090230"/>
                      </a:lnTo>
                      <a:lnTo>
                        <a:pt x="694821" y="1089774"/>
                      </a:lnTo>
                      <a:lnTo>
                        <a:pt x="693884" y="1089179"/>
                      </a:lnTo>
                      <a:lnTo>
                        <a:pt x="692849" y="1088226"/>
                      </a:lnTo>
                      <a:lnTo>
                        <a:pt x="690404" y="1088332"/>
                      </a:lnTo>
                      <a:lnTo>
                        <a:pt x="686387" y="1089782"/>
                      </a:lnTo>
                      <a:lnTo>
                        <a:pt x="685547" y="1089375"/>
                      </a:lnTo>
                      <a:lnTo>
                        <a:pt x="684969" y="1088552"/>
                      </a:lnTo>
                      <a:lnTo>
                        <a:pt x="684659" y="1086865"/>
                      </a:lnTo>
                      <a:lnTo>
                        <a:pt x="684863" y="1084868"/>
                      </a:lnTo>
                      <a:lnTo>
                        <a:pt x="684504" y="1083605"/>
                      </a:lnTo>
                      <a:lnTo>
                        <a:pt x="683754" y="1082855"/>
                      </a:lnTo>
                      <a:lnTo>
                        <a:pt x="684276" y="1079302"/>
                      </a:lnTo>
                      <a:lnTo>
                        <a:pt x="682850" y="1077892"/>
                      </a:lnTo>
                      <a:lnTo>
                        <a:pt x="683053" y="1077460"/>
                      </a:lnTo>
                      <a:lnTo>
                        <a:pt x="682572" y="1073621"/>
                      </a:lnTo>
                      <a:lnTo>
                        <a:pt x="682646" y="1072676"/>
                      </a:lnTo>
                      <a:lnTo>
                        <a:pt x="682393" y="1072350"/>
                      </a:lnTo>
                      <a:lnTo>
                        <a:pt x="681383" y="1072048"/>
                      </a:lnTo>
                      <a:lnTo>
                        <a:pt x="679883" y="1072652"/>
                      </a:lnTo>
                      <a:lnTo>
                        <a:pt x="675319" y="1075170"/>
                      </a:lnTo>
                      <a:lnTo>
                        <a:pt x="671391" y="1079831"/>
                      </a:lnTo>
                      <a:lnTo>
                        <a:pt x="669598" y="1080866"/>
                      </a:lnTo>
                      <a:lnTo>
                        <a:pt x="667781" y="1081290"/>
                      </a:lnTo>
                      <a:lnTo>
                        <a:pt x="665662" y="1080483"/>
                      </a:lnTo>
                      <a:lnTo>
                        <a:pt x="663298" y="1079954"/>
                      </a:lnTo>
                      <a:lnTo>
                        <a:pt x="659924" y="1081135"/>
                      </a:lnTo>
                      <a:lnTo>
                        <a:pt x="658262" y="1080597"/>
                      </a:lnTo>
                      <a:lnTo>
                        <a:pt x="657496" y="1079636"/>
                      </a:lnTo>
                      <a:lnTo>
                        <a:pt x="656811" y="1078193"/>
                      </a:lnTo>
                      <a:lnTo>
                        <a:pt x="657235" y="1076360"/>
                      </a:lnTo>
                      <a:lnTo>
                        <a:pt x="656974" y="1075007"/>
                      </a:lnTo>
                      <a:lnTo>
                        <a:pt x="655621" y="1074314"/>
                      </a:lnTo>
                      <a:lnTo>
                        <a:pt x="654056" y="1073735"/>
                      </a:lnTo>
                      <a:lnTo>
                        <a:pt x="653128" y="1071959"/>
                      </a:lnTo>
                      <a:lnTo>
                        <a:pt x="652761" y="1070027"/>
                      </a:lnTo>
                      <a:lnTo>
                        <a:pt x="653119" y="1067525"/>
                      </a:lnTo>
                      <a:lnTo>
                        <a:pt x="653307" y="1064828"/>
                      </a:lnTo>
                      <a:lnTo>
                        <a:pt x="652565" y="1063589"/>
                      </a:lnTo>
                      <a:lnTo>
                        <a:pt x="650267" y="1062929"/>
                      </a:lnTo>
                      <a:lnTo>
                        <a:pt x="644497" y="1061698"/>
                      </a:lnTo>
                      <a:lnTo>
                        <a:pt x="639436" y="1061022"/>
                      </a:lnTo>
                      <a:lnTo>
                        <a:pt x="637317" y="1061340"/>
                      </a:lnTo>
                      <a:lnTo>
                        <a:pt x="635581" y="1061046"/>
                      </a:lnTo>
                      <a:lnTo>
                        <a:pt x="634587" y="1060557"/>
                      </a:lnTo>
                      <a:lnTo>
                        <a:pt x="634098" y="1059701"/>
                      </a:lnTo>
                      <a:lnTo>
                        <a:pt x="634074" y="1058487"/>
                      </a:lnTo>
                      <a:lnTo>
                        <a:pt x="634905" y="1055676"/>
                      </a:lnTo>
                      <a:lnTo>
                        <a:pt x="635825" y="1052946"/>
                      </a:lnTo>
                      <a:lnTo>
                        <a:pt x="638173" y="1048976"/>
                      </a:lnTo>
                      <a:lnTo>
                        <a:pt x="638312" y="1046222"/>
                      </a:lnTo>
                      <a:lnTo>
                        <a:pt x="638189" y="1043043"/>
                      </a:lnTo>
                      <a:lnTo>
                        <a:pt x="639363" y="1038797"/>
                      </a:lnTo>
                      <a:lnTo>
                        <a:pt x="641376" y="1035611"/>
                      </a:lnTo>
                      <a:lnTo>
                        <a:pt x="642370" y="1034617"/>
                      </a:lnTo>
                      <a:lnTo>
                        <a:pt x="642125" y="1033199"/>
                      </a:lnTo>
                      <a:lnTo>
                        <a:pt x="641318" y="1031895"/>
                      </a:lnTo>
                      <a:lnTo>
                        <a:pt x="640169" y="1031186"/>
                      </a:lnTo>
                      <a:lnTo>
                        <a:pt x="638254" y="1030346"/>
                      </a:lnTo>
                      <a:lnTo>
                        <a:pt x="635263" y="1030118"/>
                      </a:lnTo>
                      <a:lnTo>
                        <a:pt x="631164" y="1029270"/>
                      </a:lnTo>
                      <a:lnTo>
                        <a:pt x="626421" y="1027372"/>
                      </a:lnTo>
                      <a:lnTo>
                        <a:pt x="626967" y="1023753"/>
                      </a:lnTo>
                      <a:lnTo>
                        <a:pt x="626885" y="1021471"/>
                      </a:lnTo>
                      <a:lnTo>
                        <a:pt x="626307" y="1019613"/>
                      </a:lnTo>
                      <a:lnTo>
                        <a:pt x="625329" y="1018285"/>
                      </a:lnTo>
                      <a:lnTo>
                        <a:pt x="624791" y="1017103"/>
                      </a:lnTo>
                      <a:lnTo>
                        <a:pt x="625638" y="1013851"/>
                      </a:lnTo>
                      <a:lnTo>
                        <a:pt x="624530" y="1010306"/>
                      </a:lnTo>
                      <a:lnTo>
                        <a:pt x="623226" y="1008896"/>
                      </a:lnTo>
                      <a:lnTo>
                        <a:pt x="621881" y="1007054"/>
                      </a:lnTo>
                      <a:lnTo>
                        <a:pt x="621775" y="1005074"/>
                      </a:lnTo>
                      <a:lnTo>
                        <a:pt x="622395" y="1003232"/>
                      </a:lnTo>
                      <a:lnTo>
                        <a:pt x="625679" y="999279"/>
                      </a:lnTo>
                      <a:lnTo>
                        <a:pt x="625712" y="998318"/>
                      </a:lnTo>
                      <a:lnTo>
                        <a:pt x="624889" y="998391"/>
                      </a:lnTo>
                      <a:lnTo>
                        <a:pt x="623959" y="998473"/>
                      </a:lnTo>
                      <a:lnTo>
                        <a:pt x="619469" y="999923"/>
                      </a:lnTo>
                      <a:lnTo>
                        <a:pt x="618988" y="999019"/>
                      </a:lnTo>
                      <a:lnTo>
                        <a:pt x="617375" y="998489"/>
                      </a:lnTo>
                      <a:lnTo>
                        <a:pt x="614099" y="998383"/>
                      </a:lnTo>
                      <a:lnTo>
                        <a:pt x="610260" y="998644"/>
                      </a:lnTo>
                      <a:lnTo>
                        <a:pt x="605419" y="1000062"/>
                      </a:lnTo>
                      <a:lnTo>
                        <a:pt x="600978" y="1002531"/>
                      </a:lnTo>
                      <a:lnTo>
                        <a:pt x="598940" y="1004234"/>
                      </a:lnTo>
                      <a:lnTo>
                        <a:pt x="597212" y="1005294"/>
                      </a:lnTo>
                      <a:lnTo>
                        <a:pt x="595810" y="1005636"/>
                      </a:lnTo>
                      <a:lnTo>
                        <a:pt x="594205" y="1004887"/>
                      </a:lnTo>
                      <a:lnTo>
                        <a:pt x="594286" y="1002466"/>
                      </a:lnTo>
                      <a:lnTo>
                        <a:pt x="597318" y="998016"/>
                      </a:lnTo>
                      <a:lnTo>
                        <a:pt x="597758" y="994944"/>
                      </a:lnTo>
                      <a:lnTo>
                        <a:pt x="596829" y="992319"/>
                      </a:lnTo>
                      <a:lnTo>
                        <a:pt x="596723" y="990209"/>
                      </a:lnTo>
                      <a:lnTo>
                        <a:pt x="595664" y="988864"/>
                      </a:lnTo>
                      <a:lnTo>
                        <a:pt x="594172" y="988204"/>
                      </a:lnTo>
                      <a:lnTo>
                        <a:pt x="593382" y="986713"/>
                      </a:lnTo>
                      <a:lnTo>
                        <a:pt x="593325" y="982328"/>
                      </a:lnTo>
                      <a:lnTo>
                        <a:pt x="594661" y="977829"/>
                      </a:lnTo>
                      <a:lnTo>
                        <a:pt x="596829" y="976403"/>
                      </a:lnTo>
                      <a:lnTo>
                        <a:pt x="598149" y="975719"/>
                      </a:lnTo>
                      <a:lnTo>
                        <a:pt x="598500" y="974838"/>
                      </a:lnTo>
                      <a:lnTo>
                        <a:pt x="597824" y="971684"/>
                      </a:lnTo>
                      <a:lnTo>
                        <a:pt x="597929" y="969680"/>
                      </a:lnTo>
                      <a:lnTo>
                        <a:pt x="599225" y="965792"/>
                      </a:lnTo>
                      <a:lnTo>
                        <a:pt x="600521" y="962842"/>
                      </a:lnTo>
                      <a:lnTo>
                        <a:pt x="602966" y="963331"/>
                      </a:lnTo>
                      <a:lnTo>
                        <a:pt x="604058" y="962606"/>
                      </a:lnTo>
                      <a:lnTo>
                        <a:pt x="605264" y="961562"/>
                      </a:lnTo>
                      <a:lnTo>
                        <a:pt x="606593" y="959786"/>
                      </a:lnTo>
                      <a:lnTo>
                        <a:pt x="607465" y="957691"/>
                      </a:lnTo>
                      <a:lnTo>
                        <a:pt x="608532" y="952801"/>
                      </a:lnTo>
                      <a:lnTo>
                        <a:pt x="609274" y="952060"/>
                      </a:lnTo>
                      <a:lnTo>
                        <a:pt x="612346" y="952867"/>
                      </a:lnTo>
                      <a:lnTo>
                        <a:pt x="613267" y="952304"/>
                      </a:lnTo>
                      <a:lnTo>
                        <a:pt x="614954" y="949436"/>
                      </a:lnTo>
                      <a:lnTo>
                        <a:pt x="616551" y="945939"/>
                      </a:lnTo>
                      <a:lnTo>
                        <a:pt x="618850" y="944856"/>
                      </a:lnTo>
                      <a:lnTo>
                        <a:pt x="620512" y="944750"/>
                      </a:lnTo>
                      <a:lnTo>
                        <a:pt x="621278" y="943584"/>
                      </a:lnTo>
                      <a:lnTo>
                        <a:pt x="621238" y="941873"/>
                      </a:lnTo>
                      <a:lnTo>
                        <a:pt x="619657" y="939167"/>
                      </a:lnTo>
                      <a:lnTo>
                        <a:pt x="618988" y="936999"/>
                      </a:lnTo>
                      <a:lnTo>
                        <a:pt x="619184" y="935687"/>
                      </a:lnTo>
                      <a:lnTo>
                        <a:pt x="621442" y="934880"/>
                      </a:lnTo>
                      <a:lnTo>
                        <a:pt x="622004" y="933307"/>
                      </a:lnTo>
                      <a:lnTo>
                        <a:pt x="621669" y="929860"/>
                      </a:lnTo>
                      <a:lnTo>
                        <a:pt x="622591" y="925728"/>
                      </a:lnTo>
                      <a:lnTo>
                        <a:pt x="623153" y="920863"/>
                      </a:lnTo>
                      <a:lnTo>
                        <a:pt x="623332" y="917236"/>
                      </a:lnTo>
                      <a:lnTo>
                        <a:pt x="623316" y="914465"/>
                      </a:lnTo>
                      <a:lnTo>
                        <a:pt x="623096" y="911564"/>
                      </a:lnTo>
                      <a:lnTo>
                        <a:pt x="622762" y="906258"/>
                      </a:lnTo>
                      <a:lnTo>
                        <a:pt x="621735" y="901646"/>
                      </a:lnTo>
                      <a:lnTo>
                        <a:pt x="621922" y="899918"/>
                      </a:lnTo>
                      <a:lnTo>
                        <a:pt x="621775" y="894311"/>
                      </a:lnTo>
                      <a:lnTo>
                        <a:pt x="621148" y="889535"/>
                      </a:lnTo>
                      <a:lnTo>
                        <a:pt x="619869" y="888704"/>
                      </a:lnTo>
                      <a:lnTo>
                        <a:pt x="617513" y="887147"/>
                      </a:lnTo>
                      <a:lnTo>
                        <a:pt x="616218" y="886846"/>
                      </a:lnTo>
                      <a:lnTo>
                        <a:pt x="615134" y="887408"/>
                      </a:lnTo>
                      <a:lnTo>
                        <a:pt x="614726" y="889071"/>
                      </a:lnTo>
                      <a:lnTo>
                        <a:pt x="613691" y="890627"/>
                      </a:lnTo>
                      <a:lnTo>
                        <a:pt x="612411" y="890244"/>
                      </a:lnTo>
                      <a:lnTo>
                        <a:pt x="611800" y="888696"/>
                      </a:lnTo>
                      <a:lnTo>
                        <a:pt x="610969" y="886650"/>
                      </a:lnTo>
                      <a:lnTo>
                        <a:pt x="608231" y="876985"/>
                      </a:lnTo>
                      <a:lnTo>
                        <a:pt x="607929" y="874197"/>
                      </a:lnTo>
                      <a:lnTo>
                        <a:pt x="607457" y="871426"/>
                      </a:lnTo>
                      <a:lnTo>
                        <a:pt x="606519" y="870041"/>
                      </a:lnTo>
                      <a:lnTo>
                        <a:pt x="605541" y="869226"/>
                      </a:lnTo>
                      <a:lnTo>
                        <a:pt x="603365" y="865966"/>
                      </a:lnTo>
                      <a:lnTo>
                        <a:pt x="602208" y="864605"/>
                      </a:lnTo>
                      <a:lnTo>
                        <a:pt x="601654" y="864385"/>
                      </a:lnTo>
                      <a:lnTo>
                        <a:pt x="600439" y="864613"/>
                      </a:lnTo>
                      <a:lnTo>
                        <a:pt x="599274" y="864621"/>
                      </a:lnTo>
                      <a:lnTo>
                        <a:pt x="598305" y="862991"/>
                      </a:lnTo>
                      <a:lnTo>
                        <a:pt x="597424" y="861011"/>
                      </a:lnTo>
                      <a:lnTo>
                        <a:pt x="596544" y="860033"/>
                      </a:lnTo>
                      <a:lnTo>
                        <a:pt x="595061" y="859495"/>
                      </a:lnTo>
                      <a:lnTo>
                        <a:pt x="593545" y="859707"/>
                      </a:lnTo>
                      <a:lnTo>
                        <a:pt x="592648" y="861427"/>
                      </a:lnTo>
                      <a:lnTo>
                        <a:pt x="592045" y="862405"/>
                      </a:lnTo>
                      <a:lnTo>
                        <a:pt x="590896" y="864687"/>
                      </a:lnTo>
                      <a:lnTo>
                        <a:pt x="589038" y="867857"/>
                      </a:lnTo>
                      <a:lnTo>
                        <a:pt x="588190" y="869022"/>
                      </a:lnTo>
                      <a:lnTo>
                        <a:pt x="587376" y="868411"/>
                      </a:lnTo>
                      <a:lnTo>
                        <a:pt x="583798" y="865127"/>
                      </a:lnTo>
                      <a:lnTo>
                        <a:pt x="582062" y="864206"/>
                      </a:lnTo>
                      <a:lnTo>
                        <a:pt x="579715" y="865208"/>
                      </a:lnTo>
                      <a:lnTo>
                        <a:pt x="576047" y="864418"/>
                      </a:lnTo>
                      <a:lnTo>
                        <a:pt x="574637" y="864271"/>
                      </a:lnTo>
                      <a:lnTo>
                        <a:pt x="571581" y="861638"/>
                      </a:lnTo>
                      <a:lnTo>
                        <a:pt x="570343" y="861313"/>
                      </a:lnTo>
                      <a:lnTo>
                        <a:pt x="565999" y="863032"/>
                      </a:lnTo>
                      <a:lnTo>
                        <a:pt x="565037" y="864246"/>
                      </a:lnTo>
                      <a:lnTo>
                        <a:pt x="564475" y="864271"/>
                      </a:lnTo>
                      <a:lnTo>
                        <a:pt x="563325" y="863652"/>
                      </a:lnTo>
                      <a:lnTo>
                        <a:pt x="562364" y="862829"/>
                      </a:lnTo>
                      <a:lnTo>
                        <a:pt x="562315" y="862323"/>
                      </a:lnTo>
                      <a:lnTo>
                        <a:pt x="563481" y="861036"/>
                      </a:lnTo>
                      <a:lnTo>
                        <a:pt x="563578" y="860131"/>
                      </a:lnTo>
                      <a:lnTo>
                        <a:pt x="563513" y="859226"/>
                      </a:lnTo>
                      <a:lnTo>
                        <a:pt x="565200" y="856643"/>
                      </a:lnTo>
                      <a:lnTo>
                        <a:pt x="569788" y="851623"/>
                      </a:lnTo>
                      <a:lnTo>
                        <a:pt x="569039" y="849528"/>
                      </a:lnTo>
                      <a:lnTo>
                        <a:pt x="567229" y="845380"/>
                      </a:lnTo>
                      <a:lnTo>
                        <a:pt x="566976" y="843367"/>
                      </a:lnTo>
                      <a:lnTo>
                        <a:pt x="566195" y="842470"/>
                      </a:lnTo>
                      <a:lnTo>
                        <a:pt x="564002" y="843204"/>
                      </a:lnTo>
                      <a:lnTo>
                        <a:pt x="559414" y="846969"/>
                      </a:lnTo>
                      <a:lnTo>
                        <a:pt x="558794" y="846553"/>
                      </a:lnTo>
                      <a:lnTo>
                        <a:pt x="558908" y="845249"/>
                      </a:lnTo>
                      <a:lnTo>
                        <a:pt x="558428" y="841460"/>
                      </a:lnTo>
                      <a:lnTo>
                        <a:pt x="559878" y="840319"/>
                      </a:lnTo>
                      <a:lnTo>
                        <a:pt x="562103" y="838933"/>
                      </a:lnTo>
                      <a:lnTo>
                        <a:pt x="563823" y="837377"/>
                      </a:lnTo>
                      <a:lnTo>
                        <a:pt x="564222" y="836122"/>
                      </a:lnTo>
                      <a:lnTo>
                        <a:pt x="563758" y="835739"/>
                      </a:lnTo>
                      <a:lnTo>
                        <a:pt x="561223" y="836228"/>
                      </a:lnTo>
                      <a:lnTo>
                        <a:pt x="560221" y="835372"/>
                      </a:lnTo>
                      <a:lnTo>
                        <a:pt x="558583" y="831892"/>
                      </a:lnTo>
                      <a:lnTo>
                        <a:pt x="557368" y="830523"/>
                      </a:lnTo>
                      <a:lnTo>
                        <a:pt x="556268" y="829781"/>
                      </a:lnTo>
                      <a:lnTo>
                        <a:pt x="552543" y="831582"/>
                      </a:lnTo>
                      <a:lnTo>
                        <a:pt x="548208" y="834060"/>
                      </a:lnTo>
                      <a:lnTo>
                        <a:pt x="543383" y="837483"/>
                      </a:lnTo>
                      <a:lnTo>
                        <a:pt x="543408" y="839251"/>
                      </a:lnTo>
                      <a:lnTo>
                        <a:pt x="542837" y="839708"/>
                      </a:lnTo>
                      <a:lnTo>
                        <a:pt x="541916" y="840816"/>
                      </a:lnTo>
                      <a:lnTo>
                        <a:pt x="541012" y="842348"/>
                      </a:lnTo>
                      <a:lnTo>
                        <a:pt x="540246" y="842894"/>
                      </a:lnTo>
                      <a:lnTo>
                        <a:pt x="539341" y="842935"/>
                      </a:lnTo>
                      <a:lnTo>
                        <a:pt x="537515" y="842495"/>
                      </a:lnTo>
                      <a:lnTo>
                        <a:pt x="534182" y="840759"/>
                      </a:lnTo>
                      <a:lnTo>
                        <a:pt x="530564" y="839316"/>
                      </a:lnTo>
                      <a:lnTo>
                        <a:pt x="529773" y="839479"/>
                      </a:lnTo>
                      <a:lnTo>
                        <a:pt x="524875" y="838461"/>
                      </a:lnTo>
                      <a:lnTo>
                        <a:pt x="524712" y="837654"/>
                      </a:lnTo>
                      <a:lnTo>
                        <a:pt x="523971" y="836040"/>
                      </a:lnTo>
                      <a:lnTo>
                        <a:pt x="522585" y="834589"/>
                      </a:lnTo>
                      <a:lnTo>
                        <a:pt x="521240" y="834093"/>
                      </a:lnTo>
                      <a:lnTo>
                        <a:pt x="517402" y="837173"/>
                      </a:lnTo>
                      <a:lnTo>
                        <a:pt x="513066" y="839463"/>
                      </a:lnTo>
                      <a:lnTo>
                        <a:pt x="510589" y="842169"/>
                      </a:lnTo>
                      <a:lnTo>
                        <a:pt x="508559" y="844850"/>
                      </a:lnTo>
                      <a:lnTo>
                        <a:pt x="506229" y="845372"/>
                      </a:lnTo>
                      <a:lnTo>
                        <a:pt x="506115" y="847034"/>
                      </a:lnTo>
                      <a:lnTo>
                        <a:pt x="505128" y="848526"/>
                      </a:lnTo>
                      <a:lnTo>
                        <a:pt x="503368" y="850367"/>
                      </a:lnTo>
                      <a:lnTo>
                        <a:pt x="499847" y="852715"/>
                      </a:lnTo>
                      <a:lnTo>
                        <a:pt x="497467" y="853970"/>
                      </a:lnTo>
                      <a:lnTo>
                        <a:pt x="489929" y="855127"/>
                      </a:lnTo>
                      <a:lnTo>
                        <a:pt x="487232" y="855909"/>
                      </a:lnTo>
                      <a:lnTo>
                        <a:pt x="486107" y="857140"/>
                      </a:lnTo>
                      <a:lnTo>
                        <a:pt x="484893" y="860269"/>
                      </a:lnTo>
                      <a:lnTo>
                        <a:pt x="483939" y="863154"/>
                      </a:lnTo>
                      <a:lnTo>
                        <a:pt x="481853" y="865526"/>
                      </a:lnTo>
                      <a:lnTo>
                        <a:pt x="478055" y="868696"/>
                      </a:lnTo>
                      <a:lnTo>
                        <a:pt x="473589" y="871271"/>
                      </a:lnTo>
                      <a:lnTo>
                        <a:pt x="472358" y="872983"/>
                      </a:lnTo>
                      <a:lnTo>
                        <a:pt x="472138" y="873994"/>
                      </a:lnTo>
                      <a:lnTo>
                        <a:pt x="472685" y="874368"/>
                      </a:lnTo>
                      <a:lnTo>
                        <a:pt x="473230" y="875134"/>
                      </a:lnTo>
                      <a:lnTo>
                        <a:pt x="473239" y="876308"/>
                      </a:lnTo>
                      <a:lnTo>
                        <a:pt x="472668" y="877580"/>
                      </a:lnTo>
                      <a:lnTo>
                        <a:pt x="469742" y="879796"/>
                      </a:lnTo>
                      <a:lnTo>
                        <a:pt x="468104" y="880848"/>
                      </a:lnTo>
                      <a:lnTo>
                        <a:pt x="466474" y="881532"/>
                      </a:lnTo>
                      <a:lnTo>
                        <a:pt x="464641" y="881646"/>
                      </a:lnTo>
                      <a:lnTo>
                        <a:pt x="462880" y="881353"/>
                      </a:lnTo>
                      <a:lnTo>
                        <a:pt x="462399" y="880994"/>
                      </a:lnTo>
                      <a:lnTo>
                        <a:pt x="461698" y="881459"/>
                      </a:lnTo>
                      <a:lnTo>
                        <a:pt x="460101" y="881923"/>
                      </a:lnTo>
                      <a:lnTo>
                        <a:pt x="458691" y="882070"/>
                      </a:lnTo>
                      <a:lnTo>
                        <a:pt x="455635" y="884523"/>
                      </a:lnTo>
                      <a:lnTo>
                        <a:pt x="453940" y="884539"/>
                      </a:lnTo>
                      <a:lnTo>
                        <a:pt x="451837" y="884010"/>
                      </a:lnTo>
                      <a:lnTo>
                        <a:pt x="449050" y="883594"/>
                      </a:lnTo>
                      <a:lnTo>
                        <a:pt x="447053" y="883578"/>
                      </a:lnTo>
                      <a:lnTo>
                        <a:pt x="446996" y="882290"/>
                      </a:lnTo>
                      <a:lnTo>
                        <a:pt x="447298" y="878394"/>
                      </a:lnTo>
                      <a:lnTo>
                        <a:pt x="446393" y="877490"/>
                      </a:lnTo>
                      <a:lnTo>
                        <a:pt x="443614" y="876536"/>
                      </a:lnTo>
                      <a:lnTo>
                        <a:pt x="440493" y="875265"/>
                      </a:lnTo>
                      <a:lnTo>
                        <a:pt x="438993" y="873912"/>
                      </a:lnTo>
                      <a:lnTo>
                        <a:pt x="438154" y="873464"/>
                      </a:lnTo>
                      <a:lnTo>
                        <a:pt x="436989" y="873684"/>
                      </a:lnTo>
                      <a:lnTo>
                        <a:pt x="435098" y="875102"/>
                      </a:lnTo>
                      <a:lnTo>
                        <a:pt x="433305" y="876765"/>
                      </a:lnTo>
                      <a:lnTo>
                        <a:pt x="431895" y="876903"/>
                      </a:lnTo>
                      <a:lnTo>
                        <a:pt x="430453" y="876121"/>
                      </a:lnTo>
                      <a:lnTo>
                        <a:pt x="429067" y="875110"/>
                      </a:lnTo>
                      <a:lnTo>
                        <a:pt x="424332" y="873668"/>
                      </a:lnTo>
                      <a:lnTo>
                        <a:pt x="422205" y="873456"/>
                      </a:lnTo>
                      <a:lnTo>
                        <a:pt x="418423" y="873700"/>
                      </a:lnTo>
                      <a:lnTo>
                        <a:pt x="415319" y="873399"/>
                      </a:lnTo>
                      <a:lnTo>
                        <a:pt x="414845" y="872958"/>
                      </a:lnTo>
                      <a:lnTo>
                        <a:pt x="414862" y="872160"/>
                      </a:lnTo>
                      <a:lnTo>
                        <a:pt x="415302" y="870603"/>
                      </a:lnTo>
                      <a:lnTo>
                        <a:pt x="415587" y="869063"/>
                      </a:lnTo>
                      <a:lnTo>
                        <a:pt x="415221" y="868191"/>
                      </a:lnTo>
                      <a:lnTo>
                        <a:pt x="412058" y="867115"/>
                      </a:lnTo>
                      <a:lnTo>
                        <a:pt x="409165" y="866341"/>
                      </a:lnTo>
                      <a:lnTo>
                        <a:pt x="406117" y="866048"/>
                      </a:lnTo>
                      <a:lnTo>
                        <a:pt x="404039" y="866594"/>
                      </a:lnTo>
                      <a:lnTo>
                        <a:pt x="402042" y="867792"/>
                      </a:lnTo>
                      <a:lnTo>
                        <a:pt x="400380" y="869960"/>
                      </a:lnTo>
                      <a:lnTo>
                        <a:pt x="397968" y="870921"/>
                      </a:lnTo>
                      <a:lnTo>
                        <a:pt x="395091" y="872535"/>
                      </a:lnTo>
                      <a:lnTo>
                        <a:pt x="393697" y="874042"/>
                      </a:lnTo>
                      <a:lnTo>
                        <a:pt x="391595" y="877286"/>
                      </a:lnTo>
                      <a:lnTo>
                        <a:pt x="388530" y="881255"/>
                      </a:lnTo>
                      <a:lnTo>
                        <a:pt x="385751" y="885134"/>
                      </a:lnTo>
                      <a:lnTo>
                        <a:pt x="384317" y="888899"/>
                      </a:lnTo>
                      <a:lnTo>
                        <a:pt x="382402" y="891271"/>
                      </a:lnTo>
                      <a:lnTo>
                        <a:pt x="380478" y="892982"/>
                      </a:lnTo>
                      <a:lnTo>
                        <a:pt x="379084" y="897669"/>
                      </a:lnTo>
                      <a:lnTo>
                        <a:pt x="377618" y="896185"/>
                      </a:lnTo>
                      <a:lnTo>
                        <a:pt x="375939" y="894058"/>
                      </a:lnTo>
                      <a:lnTo>
                        <a:pt x="375556" y="891132"/>
                      </a:lnTo>
                      <a:lnTo>
                        <a:pt x="377569" y="883341"/>
                      </a:lnTo>
                      <a:lnTo>
                        <a:pt x="378033" y="880130"/>
                      </a:lnTo>
                      <a:lnTo>
                        <a:pt x="377528" y="878900"/>
                      </a:lnTo>
                      <a:lnTo>
                        <a:pt x="376909" y="875738"/>
                      </a:lnTo>
                      <a:lnTo>
                        <a:pt x="375735" y="874694"/>
                      </a:lnTo>
                      <a:lnTo>
                        <a:pt x="372377" y="873032"/>
                      </a:lnTo>
                      <a:lnTo>
                        <a:pt x="371302" y="872983"/>
                      </a:lnTo>
                      <a:lnTo>
                        <a:pt x="370161" y="874124"/>
                      </a:lnTo>
                      <a:lnTo>
                        <a:pt x="369036" y="874849"/>
                      </a:lnTo>
                      <a:lnTo>
                        <a:pt x="367536" y="875583"/>
                      </a:lnTo>
                      <a:lnTo>
                        <a:pt x="363796" y="876944"/>
                      </a:lnTo>
                      <a:lnTo>
                        <a:pt x="360479" y="877580"/>
                      </a:lnTo>
                      <a:lnTo>
                        <a:pt x="359680" y="878085"/>
                      </a:lnTo>
                      <a:lnTo>
                        <a:pt x="359427" y="878989"/>
                      </a:lnTo>
                      <a:lnTo>
                        <a:pt x="359697" y="880065"/>
                      </a:lnTo>
                      <a:lnTo>
                        <a:pt x="357561" y="879658"/>
                      </a:lnTo>
                      <a:lnTo>
                        <a:pt x="355320" y="879421"/>
                      </a:lnTo>
                      <a:lnTo>
                        <a:pt x="353519" y="879576"/>
                      </a:lnTo>
                      <a:lnTo>
                        <a:pt x="349102" y="881630"/>
                      </a:lnTo>
                      <a:lnTo>
                        <a:pt x="347619" y="881826"/>
                      </a:lnTo>
                      <a:lnTo>
                        <a:pt x="345948" y="881614"/>
                      </a:lnTo>
                      <a:lnTo>
                        <a:pt x="343674" y="881556"/>
                      </a:lnTo>
                      <a:lnTo>
                        <a:pt x="339379" y="881614"/>
                      </a:lnTo>
                      <a:lnTo>
                        <a:pt x="335688" y="881092"/>
                      </a:lnTo>
                      <a:lnTo>
                        <a:pt x="332672" y="878223"/>
                      </a:lnTo>
                      <a:lnTo>
                        <a:pt x="330528" y="876960"/>
                      </a:lnTo>
                      <a:lnTo>
                        <a:pt x="328263" y="875982"/>
                      </a:lnTo>
                      <a:lnTo>
                        <a:pt x="325973" y="875249"/>
                      </a:lnTo>
                      <a:lnTo>
                        <a:pt x="325223" y="873700"/>
                      </a:lnTo>
                      <a:lnTo>
                        <a:pt x="324498" y="872934"/>
                      </a:lnTo>
                      <a:lnTo>
                        <a:pt x="322607" y="872673"/>
                      </a:lnTo>
                      <a:lnTo>
                        <a:pt x="321124" y="873244"/>
                      </a:lnTo>
                      <a:lnTo>
                        <a:pt x="320186" y="877115"/>
                      </a:lnTo>
                      <a:lnTo>
                        <a:pt x="319396" y="877873"/>
                      </a:lnTo>
                      <a:lnTo>
                        <a:pt x="317505" y="878223"/>
                      </a:lnTo>
                      <a:lnTo>
                        <a:pt x="315517" y="877237"/>
                      </a:lnTo>
                      <a:lnTo>
                        <a:pt x="312770" y="875249"/>
                      </a:lnTo>
                      <a:lnTo>
                        <a:pt x="311694" y="873040"/>
                      </a:lnTo>
                      <a:lnTo>
                        <a:pt x="310765" y="872315"/>
                      </a:lnTo>
                      <a:lnTo>
                        <a:pt x="309323" y="873293"/>
                      </a:lnTo>
                      <a:lnTo>
                        <a:pt x="309250" y="876121"/>
                      </a:lnTo>
                      <a:lnTo>
                        <a:pt x="308956" y="878028"/>
                      </a:lnTo>
                      <a:lnTo>
                        <a:pt x="307237" y="878802"/>
                      </a:lnTo>
                      <a:lnTo>
                        <a:pt x="306234" y="878231"/>
                      </a:lnTo>
                      <a:lnTo>
                        <a:pt x="305427" y="876284"/>
                      </a:lnTo>
                      <a:lnTo>
                        <a:pt x="303406" y="871647"/>
                      </a:lnTo>
                      <a:lnTo>
                        <a:pt x="301409" y="868933"/>
                      </a:lnTo>
                      <a:lnTo>
                        <a:pt x="299388" y="867123"/>
                      </a:lnTo>
                      <a:lnTo>
                        <a:pt x="292746" y="867172"/>
                      </a:lnTo>
                      <a:lnTo>
                        <a:pt x="287824" y="866643"/>
                      </a:lnTo>
                      <a:lnTo>
                        <a:pt x="285607" y="865901"/>
                      </a:lnTo>
                      <a:lnTo>
                        <a:pt x="284768" y="864108"/>
                      </a:lnTo>
                      <a:lnTo>
                        <a:pt x="285583" y="860538"/>
                      </a:lnTo>
                      <a:lnTo>
                        <a:pt x="286536" y="857743"/>
                      </a:lnTo>
                      <a:lnTo>
                        <a:pt x="286520" y="857099"/>
                      </a:lnTo>
                      <a:lnTo>
                        <a:pt x="285697" y="856765"/>
                      </a:lnTo>
                      <a:lnTo>
                        <a:pt x="284279" y="856537"/>
                      </a:lnTo>
                      <a:lnTo>
                        <a:pt x="278973" y="858330"/>
                      </a:lnTo>
                      <a:lnTo>
                        <a:pt x="277523" y="858118"/>
                      </a:lnTo>
                      <a:lnTo>
                        <a:pt x="276602" y="857507"/>
                      </a:lnTo>
                      <a:lnTo>
                        <a:pt x="275477" y="856993"/>
                      </a:lnTo>
                      <a:lnTo>
                        <a:pt x="274548" y="856162"/>
                      </a:lnTo>
                      <a:lnTo>
                        <a:pt x="273896" y="854948"/>
                      </a:lnTo>
                      <a:lnTo>
                        <a:pt x="269299" y="851965"/>
                      </a:lnTo>
                      <a:lnTo>
                        <a:pt x="267947" y="850343"/>
                      </a:lnTo>
                      <a:lnTo>
                        <a:pt x="265510" y="848297"/>
                      </a:lnTo>
                      <a:lnTo>
                        <a:pt x="263440" y="846904"/>
                      </a:lnTo>
                      <a:lnTo>
                        <a:pt x="262128" y="842927"/>
                      </a:lnTo>
                      <a:lnTo>
                        <a:pt x="260938" y="839088"/>
                      </a:lnTo>
                      <a:lnTo>
                        <a:pt x="260286" y="837051"/>
                      </a:lnTo>
                      <a:lnTo>
                        <a:pt x="258314" y="835967"/>
                      </a:lnTo>
                      <a:lnTo>
                        <a:pt x="256178" y="835152"/>
                      </a:lnTo>
                      <a:lnTo>
                        <a:pt x="252568" y="836814"/>
                      </a:lnTo>
                      <a:lnTo>
                        <a:pt x="249601" y="838094"/>
                      </a:lnTo>
                      <a:lnTo>
                        <a:pt x="247434" y="838216"/>
                      </a:lnTo>
                      <a:lnTo>
                        <a:pt x="244288" y="834288"/>
                      </a:lnTo>
                      <a:lnTo>
                        <a:pt x="241770" y="830042"/>
                      </a:lnTo>
                      <a:lnTo>
                        <a:pt x="238795" y="826342"/>
                      </a:lnTo>
                      <a:lnTo>
                        <a:pt x="236823" y="824492"/>
                      </a:lnTo>
                      <a:lnTo>
                        <a:pt x="233310" y="824313"/>
                      </a:lnTo>
                      <a:lnTo>
                        <a:pt x="229350" y="822218"/>
                      </a:lnTo>
                      <a:lnTo>
                        <a:pt x="224060" y="817483"/>
                      </a:lnTo>
                      <a:lnTo>
                        <a:pt x="220230" y="813946"/>
                      </a:lnTo>
                      <a:lnTo>
                        <a:pt x="213629" y="810018"/>
                      </a:lnTo>
                      <a:lnTo>
                        <a:pt x="212105" y="808372"/>
                      </a:lnTo>
                      <a:lnTo>
                        <a:pt x="211526" y="806962"/>
                      </a:lnTo>
                      <a:lnTo>
                        <a:pt x="210613" y="804199"/>
                      </a:lnTo>
                      <a:lnTo>
                        <a:pt x="209236" y="801575"/>
                      </a:lnTo>
                      <a:lnTo>
                        <a:pt x="204566" y="800426"/>
                      </a:lnTo>
                      <a:lnTo>
                        <a:pt x="199285" y="799619"/>
                      </a:lnTo>
                      <a:lnTo>
                        <a:pt x="193702" y="801225"/>
                      </a:lnTo>
                      <a:lnTo>
                        <a:pt x="189693" y="809081"/>
                      </a:lnTo>
                      <a:lnTo>
                        <a:pt x="187753" y="810784"/>
                      </a:lnTo>
                      <a:lnTo>
                        <a:pt x="186082" y="810890"/>
                      </a:lnTo>
                      <a:lnTo>
                        <a:pt x="184738" y="808885"/>
                      </a:lnTo>
                      <a:lnTo>
                        <a:pt x="183613" y="806791"/>
                      </a:lnTo>
                      <a:lnTo>
                        <a:pt x="183002" y="804460"/>
                      </a:lnTo>
                      <a:lnTo>
                        <a:pt x="180223" y="802740"/>
                      </a:lnTo>
                      <a:lnTo>
                        <a:pt x="177077" y="800491"/>
                      </a:lnTo>
                      <a:lnTo>
                        <a:pt x="175480" y="798747"/>
                      </a:lnTo>
                      <a:lnTo>
                        <a:pt x="173662" y="797647"/>
                      </a:lnTo>
                      <a:lnTo>
                        <a:pt x="171976" y="797174"/>
                      </a:lnTo>
                      <a:lnTo>
                        <a:pt x="168715" y="795707"/>
                      </a:lnTo>
                      <a:lnTo>
                        <a:pt x="165024" y="794028"/>
                      </a:lnTo>
                      <a:lnTo>
                        <a:pt x="163304" y="793800"/>
                      </a:lnTo>
                      <a:lnTo>
                        <a:pt x="163174" y="792618"/>
                      </a:lnTo>
                      <a:lnTo>
                        <a:pt x="163696" y="790092"/>
                      </a:lnTo>
                      <a:lnTo>
                        <a:pt x="163378" y="787663"/>
                      </a:lnTo>
                      <a:lnTo>
                        <a:pt x="162261" y="786677"/>
                      </a:lnTo>
                      <a:lnTo>
                        <a:pt x="160582" y="786930"/>
                      </a:lnTo>
                      <a:lnTo>
                        <a:pt x="156686" y="783491"/>
                      </a:lnTo>
                      <a:lnTo>
                        <a:pt x="156491" y="783311"/>
                      </a:lnTo>
                      <a:lnTo>
                        <a:pt x="155383" y="782334"/>
                      </a:lnTo>
                      <a:lnTo>
                        <a:pt x="153468" y="780932"/>
                      </a:lnTo>
                      <a:lnTo>
                        <a:pt x="150224" y="781021"/>
                      </a:lnTo>
                      <a:lnTo>
                        <a:pt x="147771" y="781551"/>
                      </a:lnTo>
                      <a:lnTo>
                        <a:pt x="145994" y="780109"/>
                      </a:lnTo>
                      <a:lnTo>
                        <a:pt x="143386" y="777835"/>
                      </a:lnTo>
                      <a:lnTo>
                        <a:pt x="142922" y="777322"/>
                      </a:lnTo>
                      <a:lnTo>
                        <a:pt x="142156" y="776498"/>
                      </a:lnTo>
                      <a:lnTo>
                        <a:pt x="139523" y="772114"/>
                      </a:lnTo>
                      <a:lnTo>
                        <a:pt x="136418" y="766906"/>
                      </a:lnTo>
                      <a:lnTo>
                        <a:pt x="134829" y="766148"/>
                      </a:lnTo>
                      <a:lnTo>
                        <a:pt x="134030" y="766539"/>
                      </a:lnTo>
                      <a:lnTo>
                        <a:pt x="133101" y="769302"/>
                      </a:lnTo>
                      <a:lnTo>
                        <a:pt x="132417" y="769025"/>
                      </a:lnTo>
                      <a:lnTo>
                        <a:pt x="131259" y="769212"/>
                      </a:lnTo>
                      <a:lnTo>
                        <a:pt x="129898" y="770174"/>
                      </a:lnTo>
                      <a:lnTo>
                        <a:pt x="128586" y="770427"/>
                      </a:lnTo>
                      <a:lnTo>
                        <a:pt x="127747" y="770150"/>
                      </a:lnTo>
                      <a:lnTo>
                        <a:pt x="127388" y="769449"/>
                      </a:lnTo>
                      <a:lnTo>
                        <a:pt x="127771" y="765814"/>
                      </a:lnTo>
                      <a:lnTo>
                        <a:pt x="126981" y="764673"/>
                      </a:lnTo>
                      <a:lnTo>
                        <a:pt x="127673" y="762139"/>
                      </a:lnTo>
                      <a:lnTo>
                        <a:pt x="128863" y="759946"/>
                      </a:lnTo>
                      <a:lnTo>
                        <a:pt x="127657" y="758324"/>
                      </a:lnTo>
                      <a:lnTo>
                        <a:pt x="126150" y="755985"/>
                      </a:lnTo>
                      <a:lnTo>
                        <a:pt x="125987" y="753883"/>
                      </a:lnTo>
                      <a:lnTo>
                        <a:pt x="126801" y="751226"/>
                      </a:lnTo>
                      <a:lnTo>
                        <a:pt x="127184" y="748944"/>
                      </a:lnTo>
                      <a:lnTo>
                        <a:pt x="126948" y="748113"/>
                      </a:lnTo>
                      <a:lnTo>
                        <a:pt x="125758" y="746841"/>
                      </a:lnTo>
                      <a:lnTo>
                        <a:pt x="121243" y="740591"/>
                      </a:lnTo>
                      <a:lnTo>
                        <a:pt x="121007" y="739922"/>
                      </a:lnTo>
                      <a:lnTo>
                        <a:pt x="120241" y="737844"/>
                      </a:lnTo>
                      <a:lnTo>
                        <a:pt x="119899" y="734698"/>
                      </a:lnTo>
                      <a:lnTo>
                        <a:pt x="119304" y="732449"/>
                      </a:lnTo>
                      <a:lnTo>
                        <a:pt x="118619" y="730713"/>
                      </a:lnTo>
                      <a:lnTo>
                        <a:pt x="118668" y="729906"/>
                      </a:lnTo>
                      <a:lnTo>
                        <a:pt x="119181" y="729491"/>
                      </a:lnTo>
                      <a:lnTo>
                        <a:pt x="122009" y="729067"/>
                      </a:lnTo>
                      <a:lnTo>
                        <a:pt x="124609" y="728798"/>
                      </a:lnTo>
                      <a:lnTo>
                        <a:pt x="126329" y="728211"/>
                      </a:lnTo>
                      <a:lnTo>
                        <a:pt x="127225" y="729466"/>
                      </a:lnTo>
                      <a:lnTo>
                        <a:pt x="127641" y="731390"/>
                      </a:lnTo>
                      <a:lnTo>
                        <a:pt x="128081" y="732400"/>
                      </a:lnTo>
                      <a:lnTo>
                        <a:pt x="129727" y="734226"/>
                      </a:lnTo>
                      <a:lnTo>
                        <a:pt x="131740" y="735970"/>
                      </a:lnTo>
                      <a:lnTo>
                        <a:pt x="133696" y="735742"/>
                      </a:lnTo>
                      <a:lnTo>
                        <a:pt x="135424" y="734992"/>
                      </a:lnTo>
                      <a:lnTo>
                        <a:pt x="136915" y="732147"/>
                      </a:lnTo>
                      <a:lnTo>
                        <a:pt x="137966" y="731447"/>
                      </a:lnTo>
                      <a:lnTo>
                        <a:pt x="139197" y="731324"/>
                      </a:lnTo>
                      <a:lnTo>
                        <a:pt x="139189" y="731112"/>
                      </a:lnTo>
                      <a:lnTo>
                        <a:pt x="139124" y="729287"/>
                      </a:lnTo>
                      <a:lnTo>
                        <a:pt x="139556" y="724756"/>
                      </a:lnTo>
                      <a:lnTo>
                        <a:pt x="139409" y="722955"/>
                      </a:lnTo>
                      <a:lnTo>
                        <a:pt x="138855" y="721316"/>
                      </a:lnTo>
                      <a:lnTo>
                        <a:pt x="138944" y="719499"/>
                      </a:lnTo>
                      <a:lnTo>
                        <a:pt x="138773" y="716859"/>
                      </a:lnTo>
                      <a:lnTo>
                        <a:pt x="137364" y="715057"/>
                      </a:lnTo>
                      <a:lnTo>
                        <a:pt x="136451" y="714357"/>
                      </a:lnTo>
                      <a:lnTo>
                        <a:pt x="136296" y="713387"/>
                      </a:lnTo>
                      <a:lnTo>
                        <a:pt x="136777" y="711578"/>
                      </a:lnTo>
                      <a:lnTo>
                        <a:pt x="137111" y="709499"/>
                      </a:lnTo>
                      <a:lnTo>
                        <a:pt x="136622" y="707967"/>
                      </a:lnTo>
                      <a:lnTo>
                        <a:pt x="136540" y="707731"/>
                      </a:lnTo>
                      <a:lnTo>
                        <a:pt x="135408" y="706940"/>
                      </a:lnTo>
                      <a:lnTo>
                        <a:pt x="134071" y="705604"/>
                      </a:lnTo>
                      <a:lnTo>
                        <a:pt x="132473" y="703803"/>
                      </a:lnTo>
                      <a:lnTo>
                        <a:pt x="131692" y="702491"/>
                      </a:lnTo>
                      <a:lnTo>
                        <a:pt x="130404" y="701048"/>
                      </a:lnTo>
                      <a:lnTo>
                        <a:pt x="128839" y="698807"/>
                      </a:lnTo>
                      <a:lnTo>
                        <a:pt x="128545" y="693884"/>
                      </a:lnTo>
                      <a:lnTo>
                        <a:pt x="128391" y="688709"/>
                      </a:lnTo>
                      <a:lnTo>
                        <a:pt x="127844" y="686126"/>
                      </a:lnTo>
                      <a:lnTo>
                        <a:pt x="126981" y="682010"/>
                      </a:lnTo>
                      <a:lnTo>
                        <a:pt x="127103" y="680633"/>
                      </a:lnTo>
                      <a:lnTo>
                        <a:pt x="127633" y="679574"/>
                      </a:lnTo>
                      <a:lnTo>
                        <a:pt x="132058" y="676257"/>
                      </a:lnTo>
                      <a:lnTo>
                        <a:pt x="133028" y="674977"/>
                      </a:lnTo>
                      <a:lnTo>
                        <a:pt x="133175" y="673991"/>
                      </a:lnTo>
                      <a:lnTo>
                        <a:pt x="133012" y="672532"/>
                      </a:lnTo>
                      <a:lnTo>
                        <a:pt x="132172" y="670918"/>
                      </a:lnTo>
                      <a:lnTo>
                        <a:pt x="130396" y="669655"/>
                      </a:lnTo>
                      <a:lnTo>
                        <a:pt x="127877" y="667602"/>
                      </a:lnTo>
                      <a:lnTo>
                        <a:pt x="125595" y="665466"/>
                      </a:lnTo>
                      <a:lnTo>
                        <a:pt x="121741" y="664154"/>
                      </a:lnTo>
                      <a:lnTo>
                        <a:pt x="117062" y="662565"/>
                      </a:lnTo>
                      <a:lnTo>
                        <a:pt x="115946" y="661009"/>
                      </a:lnTo>
                      <a:lnTo>
                        <a:pt x="114797" y="657194"/>
                      </a:lnTo>
                      <a:lnTo>
                        <a:pt x="112890" y="651384"/>
                      </a:lnTo>
                      <a:lnTo>
                        <a:pt x="110828" y="645174"/>
                      </a:lnTo>
                      <a:lnTo>
                        <a:pt x="109263" y="641359"/>
                      </a:lnTo>
                      <a:lnTo>
                        <a:pt x="109174" y="639518"/>
                      </a:lnTo>
                      <a:lnTo>
                        <a:pt x="110127" y="634815"/>
                      </a:lnTo>
                      <a:lnTo>
                        <a:pt x="110005" y="633805"/>
                      </a:lnTo>
                      <a:lnTo>
                        <a:pt x="109182" y="633462"/>
                      </a:lnTo>
                      <a:lnTo>
                        <a:pt x="107609" y="634082"/>
                      </a:lnTo>
                      <a:lnTo>
                        <a:pt x="106345" y="634823"/>
                      </a:lnTo>
                      <a:lnTo>
                        <a:pt x="105262" y="634432"/>
                      </a:lnTo>
                      <a:lnTo>
                        <a:pt x="104259" y="633650"/>
                      </a:lnTo>
                      <a:lnTo>
                        <a:pt x="104047" y="633381"/>
                      </a:lnTo>
                      <a:lnTo>
                        <a:pt x="103974" y="633283"/>
                      </a:lnTo>
                      <a:lnTo>
                        <a:pt x="102108" y="633788"/>
                      </a:lnTo>
                      <a:lnTo>
                        <a:pt x="98351" y="634082"/>
                      </a:lnTo>
                      <a:lnTo>
                        <a:pt x="97055" y="634025"/>
                      </a:lnTo>
                      <a:lnTo>
                        <a:pt x="95230" y="633943"/>
                      </a:lnTo>
                      <a:lnTo>
                        <a:pt x="91464" y="632876"/>
                      </a:lnTo>
                      <a:lnTo>
                        <a:pt x="86379" y="631425"/>
                      </a:lnTo>
                      <a:lnTo>
                        <a:pt x="81147" y="629404"/>
                      </a:lnTo>
                      <a:lnTo>
                        <a:pt x="78376" y="627798"/>
                      </a:lnTo>
                      <a:lnTo>
                        <a:pt x="77398" y="627244"/>
                      </a:lnTo>
                      <a:lnTo>
                        <a:pt x="75018" y="625565"/>
                      </a:lnTo>
                      <a:lnTo>
                        <a:pt x="73323" y="624123"/>
                      </a:lnTo>
                      <a:lnTo>
                        <a:pt x="73021" y="620350"/>
                      </a:lnTo>
                      <a:lnTo>
                        <a:pt x="71799" y="620643"/>
                      </a:lnTo>
                      <a:lnTo>
                        <a:pt x="68922" y="622004"/>
                      </a:lnTo>
                      <a:lnTo>
                        <a:pt x="65589" y="622876"/>
                      </a:lnTo>
                      <a:lnTo>
                        <a:pt x="63755" y="622884"/>
                      </a:lnTo>
                      <a:lnTo>
                        <a:pt x="63022" y="622273"/>
                      </a:lnTo>
                      <a:lnTo>
                        <a:pt x="61905" y="618296"/>
                      </a:lnTo>
                      <a:lnTo>
                        <a:pt x="61107" y="617179"/>
                      </a:lnTo>
                      <a:lnTo>
                        <a:pt x="59607" y="616739"/>
                      </a:lnTo>
                      <a:lnTo>
                        <a:pt x="57985" y="616038"/>
                      </a:lnTo>
                      <a:lnTo>
                        <a:pt x="57170" y="614995"/>
                      </a:lnTo>
                      <a:lnTo>
                        <a:pt x="56991" y="613691"/>
                      </a:lnTo>
                      <a:lnTo>
                        <a:pt x="57716" y="612183"/>
                      </a:lnTo>
                      <a:lnTo>
                        <a:pt x="58572" y="611018"/>
                      </a:lnTo>
                      <a:lnTo>
                        <a:pt x="58718" y="603944"/>
                      </a:lnTo>
                      <a:lnTo>
                        <a:pt x="58156" y="601434"/>
                      </a:lnTo>
                      <a:lnTo>
                        <a:pt x="57692" y="599323"/>
                      </a:lnTo>
                      <a:lnTo>
                        <a:pt x="56494" y="596699"/>
                      </a:lnTo>
                      <a:lnTo>
                        <a:pt x="55385" y="595077"/>
                      </a:lnTo>
                      <a:lnTo>
                        <a:pt x="53699" y="593569"/>
                      </a:lnTo>
                      <a:lnTo>
                        <a:pt x="51098" y="591997"/>
                      </a:lnTo>
                      <a:lnTo>
                        <a:pt x="48784" y="591434"/>
                      </a:lnTo>
                      <a:lnTo>
                        <a:pt x="45964" y="592567"/>
                      </a:lnTo>
                      <a:lnTo>
                        <a:pt x="45068" y="592135"/>
                      </a:lnTo>
                      <a:lnTo>
                        <a:pt x="43894" y="587294"/>
                      </a:lnTo>
                      <a:lnTo>
                        <a:pt x="43144" y="586300"/>
                      </a:lnTo>
                      <a:lnTo>
                        <a:pt x="38149" y="584319"/>
                      </a:lnTo>
                      <a:lnTo>
                        <a:pt x="35883" y="583847"/>
                      </a:lnTo>
                      <a:lnTo>
                        <a:pt x="33283" y="584474"/>
                      </a:lnTo>
                      <a:lnTo>
                        <a:pt x="31800" y="585004"/>
                      </a:lnTo>
                      <a:lnTo>
                        <a:pt x="30610" y="584116"/>
                      </a:lnTo>
                      <a:lnTo>
                        <a:pt x="28744" y="582991"/>
                      </a:lnTo>
                      <a:lnTo>
                        <a:pt x="26902" y="582233"/>
                      </a:lnTo>
                      <a:lnTo>
                        <a:pt x="24645" y="582201"/>
                      </a:lnTo>
                      <a:lnTo>
                        <a:pt x="23161" y="582681"/>
                      </a:lnTo>
                      <a:lnTo>
                        <a:pt x="22803" y="582404"/>
                      </a:lnTo>
                      <a:lnTo>
                        <a:pt x="22085" y="581516"/>
                      </a:lnTo>
                      <a:lnTo>
                        <a:pt x="19062" y="578843"/>
                      </a:lnTo>
                      <a:lnTo>
                        <a:pt x="18981" y="578175"/>
                      </a:lnTo>
                      <a:lnTo>
                        <a:pt x="23610" y="575542"/>
                      </a:lnTo>
                      <a:lnTo>
                        <a:pt x="26331" y="574532"/>
                      </a:lnTo>
                      <a:lnTo>
                        <a:pt x="27774" y="573741"/>
                      </a:lnTo>
                      <a:lnTo>
                        <a:pt x="28075" y="573904"/>
                      </a:lnTo>
                      <a:lnTo>
                        <a:pt x="28785" y="575118"/>
                      </a:lnTo>
                      <a:lnTo>
                        <a:pt x="30577" y="575925"/>
                      </a:lnTo>
                      <a:lnTo>
                        <a:pt x="31849" y="575705"/>
                      </a:lnTo>
                      <a:lnTo>
                        <a:pt x="32517" y="575094"/>
                      </a:lnTo>
                      <a:lnTo>
                        <a:pt x="34750" y="573635"/>
                      </a:lnTo>
                      <a:lnTo>
                        <a:pt x="36503" y="571956"/>
                      </a:lnTo>
                      <a:lnTo>
                        <a:pt x="37497" y="570571"/>
                      </a:lnTo>
                      <a:lnTo>
                        <a:pt x="36959" y="568379"/>
                      </a:lnTo>
                      <a:lnTo>
                        <a:pt x="34213" y="565738"/>
                      </a:lnTo>
                      <a:lnTo>
                        <a:pt x="32452" y="564320"/>
                      </a:lnTo>
                      <a:lnTo>
                        <a:pt x="31922" y="563367"/>
                      </a:lnTo>
                      <a:lnTo>
                        <a:pt x="32371" y="560498"/>
                      </a:lnTo>
                      <a:lnTo>
                        <a:pt x="33014" y="557645"/>
                      </a:lnTo>
                      <a:lnTo>
                        <a:pt x="32590" y="556553"/>
                      </a:lnTo>
                      <a:lnTo>
                        <a:pt x="32069" y="555632"/>
                      </a:lnTo>
                      <a:lnTo>
                        <a:pt x="31832" y="552519"/>
                      </a:lnTo>
                      <a:lnTo>
                        <a:pt x="30635" y="548754"/>
                      </a:lnTo>
                      <a:lnTo>
                        <a:pt x="29322" y="546562"/>
                      </a:lnTo>
                      <a:lnTo>
                        <a:pt x="28964" y="543603"/>
                      </a:lnTo>
                      <a:lnTo>
                        <a:pt x="28891" y="540824"/>
                      </a:lnTo>
                      <a:lnTo>
                        <a:pt x="30480" y="536481"/>
                      </a:lnTo>
                      <a:lnTo>
                        <a:pt x="29893" y="534590"/>
                      </a:lnTo>
                      <a:lnTo>
                        <a:pt x="28214" y="532927"/>
                      </a:lnTo>
                      <a:lnTo>
                        <a:pt x="22493" y="529904"/>
                      </a:lnTo>
                      <a:lnTo>
                        <a:pt x="16625" y="527891"/>
                      </a:lnTo>
                      <a:lnTo>
                        <a:pt x="14384" y="527964"/>
                      </a:lnTo>
                      <a:lnTo>
                        <a:pt x="12999" y="527850"/>
                      </a:lnTo>
                      <a:lnTo>
                        <a:pt x="11369" y="529618"/>
                      </a:lnTo>
                      <a:lnTo>
                        <a:pt x="10374" y="531917"/>
                      </a:lnTo>
                      <a:lnTo>
                        <a:pt x="8997" y="532137"/>
                      </a:lnTo>
                      <a:lnTo>
                        <a:pt x="6487" y="531151"/>
                      </a:lnTo>
                      <a:lnTo>
                        <a:pt x="4817" y="529667"/>
                      </a:lnTo>
                      <a:lnTo>
                        <a:pt x="3651" y="526579"/>
                      </a:lnTo>
                      <a:lnTo>
                        <a:pt x="2713" y="522593"/>
                      </a:lnTo>
                      <a:lnTo>
                        <a:pt x="2209" y="521346"/>
                      </a:lnTo>
                      <a:lnTo>
                        <a:pt x="2469" y="520279"/>
                      </a:lnTo>
                      <a:lnTo>
                        <a:pt x="3048" y="519309"/>
                      </a:lnTo>
                      <a:lnTo>
                        <a:pt x="4645" y="518421"/>
                      </a:lnTo>
                      <a:lnTo>
                        <a:pt x="4914" y="517492"/>
                      </a:lnTo>
                      <a:lnTo>
                        <a:pt x="4670" y="516367"/>
                      </a:lnTo>
                      <a:lnTo>
                        <a:pt x="3382" y="514941"/>
                      </a:lnTo>
                      <a:lnTo>
                        <a:pt x="2062" y="512920"/>
                      </a:lnTo>
                      <a:lnTo>
                        <a:pt x="0" y="508714"/>
                      </a:lnTo>
                      <a:lnTo>
                        <a:pt x="391" y="506400"/>
                      </a:lnTo>
                      <a:lnTo>
                        <a:pt x="725" y="503058"/>
                      </a:lnTo>
                      <a:lnTo>
                        <a:pt x="611" y="501298"/>
                      </a:lnTo>
                      <a:lnTo>
                        <a:pt x="2689" y="500842"/>
                      </a:lnTo>
                      <a:lnTo>
                        <a:pt x="5354" y="499945"/>
                      </a:lnTo>
                      <a:lnTo>
                        <a:pt x="6585" y="498446"/>
                      </a:lnTo>
                      <a:lnTo>
                        <a:pt x="7449" y="496914"/>
                      </a:lnTo>
                      <a:lnTo>
                        <a:pt x="7620" y="495968"/>
                      </a:lnTo>
                      <a:lnTo>
                        <a:pt x="6821" y="492317"/>
                      </a:lnTo>
                      <a:lnTo>
                        <a:pt x="5770" y="490679"/>
                      </a:lnTo>
                      <a:lnTo>
                        <a:pt x="5656" y="489416"/>
                      </a:lnTo>
                      <a:lnTo>
                        <a:pt x="6177" y="488454"/>
                      </a:lnTo>
                      <a:lnTo>
                        <a:pt x="6878" y="486783"/>
                      </a:lnTo>
                      <a:lnTo>
                        <a:pt x="8223" y="483361"/>
                      </a:lnTo>
                      <a:lnTo>
                        <a:pt x="9527" y="481185"/>
                      </a:lnTo>
                      <a:lnTo>
                        <a:pt x="10252" y="480630"/>
                      </a:lnTo>
                      <a:lnTo>
                        <a:pt x="11858" y="480117"/>
                      </a:lnTo>
                      <a:lnTo>
                        <a:pt x="15761" y="479522"/>
                      </a:lnTo>
                      <a:lnTo>
                        <a:pt x="19958" y="477990"/>
                      </a:lnTo>
                      <a:lnTo>
                        <a:pt x="24954" y="473410"/>
                      </a:lnTo>
                      <a:lnTo>
                        <a:pt x="26608" y="472106"/>
                      </a:lnTo>
                      <a:lnTo>
                        <a:pt x="28785" y="471446"/>
                      </a:lnTo>
                      <a:lnTo>
                        <a:pt x="30333" y="471495"/>
                      </a:lnTo>
                      <a:lnTo>
                        <a:pt x="30618" y="470932"/>
                      </a:lnTo>
                      <a:lnTo>
                        <a:pt x="29616" y="468096"/>
                      </a:lnTo>
                      <a:lnTo>
                        <a:pt x="29869" y="467061"/>
                      </a:lnTo>
                      <a:lnTo>
                        <a:pt x="30456" y="466254"/>
                      </a:lnTo>
                      <a:lnTo>
                        <a:pt x="31213" y="465879"/>
                      </a:lnTo>
                      <a:lnTo>
                        <a:pt x="34652" y="467379"/>
                      </a:lnTo>
                      <a:lnTo>
                        <a:pt x="37310" y="467224"/>
                      </a:lnTo>
                      <a:lnTo>
                        <a:pt x="40528" y="466336"/>
                      </a:lnTo>
                      <a:lnTo>
                        <a:pt x="47472" y="461324"/>
                      </a:lnTo>
                      <a:lnTo>
                        <a:pt x="48319" y="461405"/>
                      </a:lnTo>
                      <a:lnTo>
                        <a:pt x="49020" y="462082"/>
                      </a:lnTo>
                      <a:lnTo>
                        <a:pt x="49860" y="465097"/>
                      </a:lnTo>
                      <a:lnTo>
                        <a:pt x="50813" y="471470"/>
                      </a:lnTo>
                      <a:lnTo>
                        <a:pt x="51335" y="472261"/>
                      </a:lnTo>
                      <a:lnTo>
                        <a:pt x="56176" y="472358"/>
                      </a:lnTo>
                      <a:lnTo>
                        <a:pt x="59452" y="470036"/>
                      </a:lnTo>
                      <a:lnTo>
                        <a:pt x="60886" y="469490"/>
                      </a:lnTo>
                      <a:lnTo>
                        <a:pt x="63234" y="469865"/>
                      </a:lnTo>
                      <a:lnTo>
                        <a:pt x="64464" y="468781"/>
                      </a:lnTo>
                      <a:lnTo>
                        <a:pt x="65752" y="468023"/>
                      </a:lnTo>
                      <a:lnTo>
                        <a:pt x="67243" y="470688"/>
                      </a:lnTo>
                      <a:lnTo>
                        <a:pt x="69183" y="469408"/>
                      </a:lnTo>
                      <a:lnTo>
                        <a:pt x="71261" y="467379"/>
                      </a:lnTo>
                      <a:lnTo>
                        <a:pt x="72272" y="465284"/>
                      </a:lnTo>
                      <a:lnTo>
                        <a:pt x="73681" y="463019"/>
                      </a:lnTo>
                      <a:lnTo>
                        <a:pt x="74774" y="460142"/>
                      </a:lnTo>
                      <a:lnTo>
                        <a:pt x="75214" y="457420"/>
                      </a:lnTo>
                      <a:lnTo>
                        <a:pt x="75743" y="456141"/>
                      </a:lnTo>
                      <a:lnTo>
                        <a:pt x="76917" y="454828"/>
                      </a:lnTo>
                      <a:lnTo>
                        <a:pt x="79786" y="449229"/>
                      </a:lnTo>
                      <a:lnTo>
                        <a:pt x="81855" y="447803"/>
                      </a:lnTo>
                      <a:lnTo>
                        <a:pt x="83820" y="447298"/>
                      </a:lnTo>
                      <a:lnTo>
                        <a:pt x="88661" y="448268"/>
                      </a:lnTo>
                      <a:lnTo>
                        <a:pt x="91187" y="448137"/>
                      </a:lnTo>
                      <a:lnTo>
                        <a:pt x="98579" y="448871"/>
                      </a:lnTo>
                      <a:lnTo>
                        <a:pt x="101994" y="447803"/>
                      </a:lnTo>
                      <a:lnTo>
                        <a:pt x="104373" y="446736"/>
                      </a:lnTo>
                      <a:lnTo>
                        <a:pt x="107870" y="446899"/>
                      </a:lnTo>
                      <a:lnTo>
                        <a:pt x="112018" y="446051"/>
                      </a:lnTo>
                      <a:lnTo>
                        <a:pt x="117543" y="439018"/>
                      </a:lnTo>
                      <a:lnTo>
                        <a:pt x="117601" y="437518"/>
                      </a:lnTo>
                      <a:lnTo>
                        <a:pt x="117934" y="435937"/>
                      </a:lnTo>
                      <a:lnTo>
                        <a:pt x="119931" y="434364"/>
                      </a:lnTo>
                      <a:lnTo>
                        <a:pt x="122425" y="432922"/>
                      </a:lnTo>
                      <a:lnTo>
                        <a:pt x="127355" y="429483"/>
                      </a:lnTo>
                      <a:lnTo>
                        <a:pt x="137437" y="424031"/>
                      </a:lnTo>
                      <a:lnTo>
                        <a:pt x="141031" y="421846"/>
                      </a:lnTo>
                      <a:lnTo>
                        <a:pt x="142547" y="421903"/>
                      </a:lnTo>
                      <a:lnTo>
                        <a:pt x="146255" y="420534"/>
                      </a:lnTo>
                      <a:lnTo>
                        <a:pt x="152758" y="417869"/>
                      </a:lnTo>
                      <a:lnTo>
                        <a:pt x="154592" y="414536"/>
                      </a:lnTo>
                      <a:lnTo>
                        <a:pt x="156312" y="413876"/>
                      </a:lnTo>
                      <a:lnTo>
                        <a:pt x="163923" y="413273"/>
                      </a:lnTo>
                      <a:lnTo>
                        <a:pt x="164388" y="412898"/>
                      </a:lnTo>
                      <a:lnTo>
                        <a:pt x="164665" y="412336"/>
                      </a:lnTo>
                      <a:lnTo>
                        <a:pt x="164241" y="409932"/>
                      </a:lnTo>
                      <a:lnTo>
                        <a:pt x="163744" y="407861"/>
                      </a:lnTo>
                      <a:lnTo>
                        <a:pt x="164339" y="407250"/>
                      </a:lnTo>
                      <a:lnTo>
                        <a:pt x="164991" y="406297"/>
                      </a:lnTo>
                      <a:lnTo>
                        <a:pt x="164885" y="404968"/>
                      </a:lnTo>
                      <a:lnTo>
                        <a:pt x="163663" y="400657"/>
                      </a:lnTo>
                      <a:lnTo>
                        <a:pt x="163003" y="396558"/>
                      </a:lnTo>
                      <a:lnTo>
                        <a:pt x="162579" y="392866"/>
                      </a:lnTo>
                      <a:lnTo>
                        <a:pt x="162644" y="391481"/>
                      </a:lnTo>
                      <a:lnTo>
                        <a:pt x="163573" y="389101"/>
                      </a:lnTo>
                      <a:lnTo>
                        <a:pt x="164763" y="386933"/>
                      </a:lnTo>
                      <a:lnTo>
                        <a:pt x="169074" y="384912"/>
                      </a:lnTo>
                      <a:lnTo>
                        <a:pt x="171918" y="384301"/>
                      </a:lnTo>
                      <a:lnTo>
                        <a:pt x="172041" y="382972"/>
                      </a:lnTo>
                      <a:lnTo>
                        <a:pt x="169734" y="382149"/>
                      </a:lnTo>
                      <a:lnTo>
                        <a:pt x="168063" y="380837"/>
                      </a:lnTo>
                      <a:lnTo>
                        <a:pt x="167762" y="380079"/>
                      </a:lnTo>
                      <a:lnTo>
                        <a:pt x="167844" y="379223"/>
                      </a:lnTo>
                      <a:lnTo>
                        <a:pt x="168227" y="378433"/>
                      </a:lnTo>
                      <a:lnTo>
                        <a:pt x="171128" y="376958"/>
                      </a:lnTo>
                      <a:lnTo>
                        <a:pt x="173850" y="375491"/>
                      </a:lnTo>
                      <a:lnTo>
                        <a:pt x="177183" y="376379"/>
                      </a:lnTo>
                      <a:lnTo>
                        <a:pt x="177843" y="375809"/>
                      </a:lnTo>
                      <a:lnTo>
                        <a:pt x="178039" y="374333"/>
                      </a:lnTo>
                      <a:lnTo>
                        <a:pt x="177330" y="372858"/>
                      </a:lnTo>
                      <a:lnTo>
                        <a:pt x="176653" y="370430"/>
                      </a:lnTo>
                      <a:lnTo>
                        <a:pt x="175121" y="369191"/>
                      </a:lnTo>
                      <a:lnTo>
                        <a:pt x="175056" y="367708"/>
                      </a:lnTo>
                      <a:lnTo>
                        <a:pt x="176010" y="365141"/>
                      </a:lnTo>
                      <a:lnTo>
                        <a:pt x="174697" y="360381"/>
                      </a:lnTo>
                      <a:lnTo>
                        <a:pt x="173279" y="356176"/>
                      </a:lnTo>
                      <a:lnTo>
                        <a:pt x="170851" y="348980"/>
                      </a:lnTo>
                      <a:lnTo>
                        <a:pt x="169262" y="346901"/>
                      </a:lnTo>
                      <a:lnTo>
                        <a:pt x="168381" y="343576"/>
                      </a:lnTo>
                      <a:lnTo>
                        <a:pt x="167371" y="341832"/>
                      </a:lnTo>
                      <a:lnTo>
                        <a:pt x="167460" y="339249"/>
                      </a:lnTo>
                      <a:lnTo>
                        <a:pt x="167615" y="337440"/>
                      </a:lnTo>
                      <a:lnTo>
                        <a:pt x="167371" y="333837"/>
                      </a:lnTo>
                      <a:lnTo>
                        <a:pt x="166898" y="329934"/>
                      </a:lnTo>
                      <a:lnTo>
                        <a:pt x="167371" y="325965"/>
                      </a:lnTo>
                      <a:lnTo>
                        <a:pt x="168251" y="323349"/>
                      </a:lnTo>
                      <a:lnTo>
                        <a:pt x="168023" y="322346"/>
                      </a:lnTo>
                      <a:lnTo>
                        <a:pt x="168487" y="321588"/>
                      </a:lnTo>
                      <a:lnTo>
                        <a:pt x="169857" y="321336"/>
                      </a:lnTo>
                      <a:lnTo>
                        <a:pt x="170500" y="320268"/>
                      </a:lnTo>
                      <a:lnTo>
                        <a:pt x="169857" y="319168"/>
                      </a:lnTo>
                      <a:lnTo>
                        <a:pt x="167509" y="318320"/>
                      </a:lnTo>
                      <a:lnTo>
                        <a:pt x="164885" y="317000"/>
                      </a:lnTo>
                      <a:lnTo>
                        <a:pt x="161731" y="317147"/>
                      </a:lnTo>
                      <a:lnTo>
                        <a:pt x="158488" y="317375"/>
                      </a:lnTo>
                      <a:lnTo>
                        <a:pt x="156874" y="316397"/>
                      </a:lnTo>
                      <a:lnTo>
                        <a:pt x="155464" y="315150"/>
                      </a:lnTo>
                      <a:lnTo>
                        <a:pt x="155383" y="314351"/>
                      </a:lnTo>
                      <a:lnTo>
                        <a:pt x="157322" y="312233"/>
                      </a:lnTo>
                      <a:lnTo>
                        <a:pt x="160020" y="310048"/>
                      </a:lnTo>
                      <a:lnTo>
                        <a:pt x="164217" y="309087"/>
                      </a:lnTo>
                      <a:lnTo>
                        <a:pt x="168854" y="307636"/>
                      </a:lnTo>
                      <a:lnTo>
                        <a:pt x="171185" y="306585"/>
                      </a:lnTo>
                      <a:lnTo>
                        <a:pt x="174306" y="305835"/>
                      </a:lnTo>
                      <a:lnTo>
                        <a:pt x="177908" y="305517"/>
                      </a:lnTo>
                      <a:lnTo>
                        <a:pt x="179718" y="305729"/>
                      </a:lnTo>
                      <a:lnTo>
                        <a:pt x="184371" y="304335"/>
                      </a:lnTo>
                      <a:lnTo>
                        <a:pt x="191665" y="301630"/>
                      </a:lnTo>
                      <a:lnTo>
                        <a:pt x="198299" y="299364"/>
                      </a:lnTo>
                      <a:lnTo>
                        <a:pt x="200524" y="298003"/>
                      </a:lnTo>
                      <a:lnTo>
                        <a:pt x="202178" y="299364"/>
                      </a:lnTo>
                      <a:lnTo>
                        <a:pt x="202937" y="302331"/>
                      </a:lnTo>
                      <a:lnTo>
                        <a:pt x="204876" y="303879"/>
                      </a:lnTo>
                      <a:lnTo>
                        <a:pt x="206791" y="304629"/>
                      </a:lnTo>
                      <a:lnTo>
                        <a:pt x="207899" y="304588"/>
                      </a:lnTo>
                      <a:lnTo>
                        <a:pt x="211208" y="303431"/>
                      </a:lnTo>
                      <a:lnTo>
                        <a:pt x="214778" y="302583"/>
                      </a:lnTo>
                      <a:lnTo>
                        <a:pt x="216180" y="303048"/>
                      </a:lnTo>
                      <a:lnTo>
                        <a:pt x="217997" y="304572"/>
                      </a:lnTo>
                      <a:lnTo>
                        <a:pt x="220026" y="305933"/>
                      </a:lnTo>
                      <a:lnTo>
                        <a:pt x="221094" y="305876"/>
                      </a:lnTo>
                      <a:lnTo>
                        <a:pt x="222031" y="304816"/>
                      </a:lnTo>
                      <a:lnTo>
                        <a:pt x="222960" y="302689"/>
                      </a:lnTo>
                      <a:lnTo>
                        <a:pt x="223563" y="299975"/>
                      </a:lnTo>
                      <a:lnTo>
                        <a:pt x="223685" y="297123"/>
                      </a:lnTo>
                      <a:lnTo>
                        <a:pt x="223327" y="295371"/>
                      </a:lnTo>
                      <a:lnTo>
                        <a:pt x="222610" y="294719"/>
                      </a:lnTo>
                      <a:lnTo>
                        <a:pt x="219358" y="293684"/>
                      </a:lnTo>
                      <a:lnTo>
                        <a:pt x="216269" y="292005"/>
                      </a:lnTo>
                      <a:lnTo>
                        <a:pt x="215903" y="290448"/>
                      </a:lnTo>
                      <a:lnTo>
                        <a:pt x="215976" y="289364"/>
                      </a:lnTo>
                      <a:lnTo>
                        <a:pt x="216799" y="286659"/>
                      </a:lnTo>
                      <a:lnTo>
                        <a:pt x="218820" y="281704"/>
                      </a:lnTo>
                      <a:lnTo>
                        <a:pt x="220850" y="274866"/>
                      </a:lnTo>
                      <a:lnTo>
                        <a:pt x="221933" y="269455"/>
                      </a:lnTo>
                      <a:lnTo>
                        <a:pt x="225332" y="261386"/>
                      </a:lnTo>
                      <a:lnTo>
                        <a:pt x="228005" y="252951"/>
                      </a:lnTo>
                      <a:lnTo>
                        <a:pt x="232341" y="240808"/>
                      </a:lnTo>
                      <a:lnTo>
                        <a:pt x="233066" y="238404"/>
                      </a:lnTo>
                      <a:lnTo>
                        <a:pt x="233465" y="234566"/>
                      </a:lnTo>
                      <a:lnTo>
                        <a:pt x="233701" y="232976"/>
                      </a:lnTo>
                      <a:lnTo>
                        <a:pt x="235201" y="232137"/>
                      </a:lnTo>
                      <a:lnTo>
                        <a:pt x="237752" y="232960"/>
                      </a:lnTo>
                      <a:lnTo>
                        <a:pt x="243962" y="235739"/>
                      </a:lnTo>
                      <a:lnTo>
                        <a:pt x="248689" y="238062"/>
                      </a:lnTo>
                      <a:lnTo>
                        <a:pt x="250669" y="238852"/>
                      </a:lnTo>
                      <a:lnTo>
                        <a:pt x="253611" y="239675"/>
                      </a:lnTo>
                      <a:lnTo>
                        <a:pt x="258167" y="240653"/>
                      </a:lnTo>
                      <a:lnTo>
                        <a:pt x="260791" y="240368"/>
                      </a:lnTo>
                      <a:lnTo>
                        <a:pt x="263106" y="239790"/>
                      </a:lnTo>
                      <a:lnTo>
                        <a:pt x="266170" y="239741"/>
                      </a:lnTo>
                      <a:lnTo>
                        <a:pt x="270970" y="240466"/>
                      </a:lnTo>
                      <a:lnTo>
                        <a:pt x="272453" y="240490"/>
                      </a:lnTo>
                      <a:lnTo>
                        <a:pt x="274303" y="240588"/>
                      </a:lnTo>
                      <a:lnTo>
                        <a:pt x="275616" y="241762"/>
                      </a:lnTo>
                      <a:lnTo>
                        <a:pt x="276268" y="244427"/>
                      </a:lnTo>
                      <a:lnTo>
                        <a:pt x="277262" y="245617"/>
                      </a:lnTo>
                      <a:lnTo>
                        <a:pt x="279055" y="245185"/>
                      </a:lnTo>
                      <a:lnTo>
                        <a:pt x="282869" y="242829"/>
                      </a:lnTo>
                      <a:lnTo>
                        <a:pt x="285297" y="240979"/>
                      </a:lnTo>
                      <a:lnTo>
                        <a:pt x="288354" y="238306"/>
                      </a:lnTo>
                      <a:lnTo>
                        <a:pt x="291385" y="237940"/>
                      </a:lnTo>
                      <a:lnTo>
                        <a:pt x="294588" y="237336"/>
                      </a:lnTo>
                      <a:lnTo>
                        <a:pt x="295705" y="236016"/>
                      </a:lnTo>
                      <a:lnTo>
                        <a:pt x="296878" y="232887"/>
                      </a:lnTo>
                      <a:lnTo>
                        <a:pt x="298851" y="230523"/>
                      </a:lnTo>
                      <a:lnTo>
                        <a:pt x="299176" y="227541"/>
                      </a:lnTo>
                      <a:lnTo>
                        <a:pt x="298484" y="225430"/>
                      </a:lnTo>
                      <a:lnTo>
                        <a:pt x="297115" y="221999"/>
                      </a:lnTo>
                      <a:lnTo>
                        <a:pt x="297163" y="219676"/>
                      </a:lnTo>
                      <a:lnTo>
                        <a:pt x="296495" y="212953"/>
                      </a:lnTo>
                      <a:lnTo>
                        <a:pt x="295615" y="206897"/>
                      </a:lnTo>
                      <a:lnTo>
                        <a:pt x="296520" y="201999"/>
                      </a:lnTo>
                      <a:lnTo>
                        <a:pt x="298109" y="196539"/>
                      </a:lnTo>
                      <a:lnTo>
                        <a:pt x="298728" y="194868"/>
                      </a:lnTo>
                      <a:lnTo>
                        <a:pt x="299731" y="192668"/>
                      </a:lnTo>
                      <a:lnTo>
                        <a:pt x="301165" y="190027"/>
                      </a:lnTo>
                      <a:lnTo>
                        <a:pt x="303154" y="189204"/>
                      </a:lnTo>
                      <a:lnTo>
                        <a:pt x="308761" y="188634"/>
                      </a:lnTo>
                      <a:lnTo>
                        <a:pt x="313960" y="187534"/>
                      </a:lnTo>
                      <a:lnTo>
                        <a:pt x="316609" y="186393"/>
                      </a:lnTo>
                      <a:lnTo>
                        <a:pt x="319355" y="185700"/>
                      </a:lnTo>
                      <a:lnTo>
                        <a:pt x="321002" y="184860"/>
                      </a:lnTo>
                      <a:lnTo>
                        <a:pt x="323830" y="181005"/>
                      </a:lnTo>
                      <a:lnTo>
                        <a:pt x="325174" y="178781"/>
                      </a:lnTo>
                      <a:lnTo>
                        <a:pt x="326160" y="172888"/>
                      </a:lnTo>
                      <a:lnTo>
                        <a:pt x="325443" y="170044"/>
                      </a:lnTo>
                      <a:lnTo>
                        <a:pt x="326046" y="167534"/>
                      </a:lnTo>
                      <a:lnTo>
                        <a:pt x="327415" y="166051"/>
                      </a:lnTo>
                      <a:lnTo>
                        <a:pt x="329338" y="164576"/>
                      </a:lnTo>
                      <a:lnTo>
                        <a:pt x="330634" y="164323"/>
                      </a:lnTo>
                      <a:lnTo>
                        <a:pt x="333373" y="163883"/>
                      </a:lnTo>
                      <a:lnTo>
                        <a:pt x="337871" y="164021"/>
                      </a:lnTo>
                      <a:lnTo>
                        <a:pt x="340178" y="164747"/>
                      </a:lnTo>
                      <a:lnTo>
                        <a:pt x="342517" y="165081"/>
                      </a:lnTo>
                      <a:lnTo>
                        <a:pt x="343983" y="164543"/>
                      </a:lnTo>
                      <a:lnTo>
                        <a:pt x="344970" y="163418"/>
                      </a:lnTo>
                      <a:lnTo>
                        <a:pt x="346478" y="163068"/>
                      </a:lnTo>
                      <a:lnTo>
                        <a:pt x="348743" y="162530"/>
                      </a:lnTo>
                      <a:lnTo>
                        <a:pt x="351090" y="161854"/>
                      </a:lnTo>
                      <a:lnTo>
                        <a:pt x="352370" y="161976"/>
                      </a:lnTo>
                      <a:lnTo>
                        <a:pt x="352639" y="163647"/>
                      </a:lnTo>
                      <a:lnTo>
                        <a:pt x="352427" y="164951"/>
                      </a:lnTo>
                      <a:lnTo>
                        <a:pt x="352875" y="166703"/>
                      </a:lnTo>
                      <a:lnTo>
                        <a:pt x="353804" y="167844"/>
                      </a:lnTo>
                      <a:lnTo>
                        <a:pt x="353495" y="169099"/>
                      </a:lnTo>
                      <a:lnTo>
                        <a:pt x="352182" y="169816"/>
                      </a:lnTo>
                      <a:lnTo>
                        <a:pt x="350887" y="170794"/>
                      </a:lnTo>
                      <a:lnTo>
                        <a:pt x="350601" y="172122"/>
                      </a:lnTo>
                      <a:lnTo>
                        <a:pt x="352248" y="173785"/>
                      </a:lnTo>
                      <a:lnTo>
                        <a:pt x="352802" y="175374"/>
                      </a:lnTo>
                      <a:lnTo>
                        <a:pt x="355540" y="176336"/>
                      </a:lnTo>
                      <a:lnTo>
                        <a:pt x="357667" y="177403"/>
                      </a:lnTo>
                      <a:lnTo>
                        <a:pt x="358457" y="178430"/>
                      </a:lnTo>
                      <a:lnTo>
                        <a:pt x="358230" y="179587"/>
                      </a:lnTo>
                      <a:lnTo>
                        <a:pt x="357235" y="180834"/>
                      </a:lnTo>
                      <a:lnTo>
                        <a:pt x="356282" y="182171"/>
                      </a:lnTo>
                      <a:lnTo>
                        <a:pt x="356168" y="182978"/>
                      </a:lnTo>
                      <a:lnTo>
                        <a:pt x="356469" y="183907"/>
                      </a:lnTo>
                      <a:lnTo>
                        <a:pt x="358531" y="184526"/>
                      </a:lnTo>
                      <a:lnTo>
                        <a:pt x="360894" y="185561"/>
                      </a:lnTo>
                      <a:lnTo>
                        <a:pt x="364668" y="186898"/>
                      </a:lnTo>
                      <a:lnTo>
                        <a:pt x="367243" y="189375"/>
                      </a:lnTo>
                      <a:lnTo>
                        <a:pt x="369794" y="190052"/>
                      </a:lnTo>
                      <a:lnTo>
                        <a:pt x="371033" y="192464"/>
                      </a:lnTo>
                      <a:lnTo>
                        <a:pt x="371261" y="195960"/>
                      </a:lnTo>
                      <a:lnTo>
                        <a:pt x="373885" y="197745"/>
                      </a:lnTo>
                      <a:lnTo>
                        <a:pt x="377764" y="200214"/>
                      </a:lnTo>
                      <a:lnTo>
                        <a:pt x="379729" y="200671"/>
                      </a:lnTo>
                      <a:lnTo>
                        <a:pt x="381049" y="202073"/>
                      </a:lnTo>
                      <a:lnTo>
                        <a:pt x="382956" y="203776"/>
                      </a:lnTo>
                      <a:lnTo>
                        <a:pt x="384643" y="204306"/>
                      </a:lnTo>
                      <a:lnTo>
                        <a:pt x="386648" y="204550"/>
                      </a:lnTo>
                      <a:lnTo>
                        <a:pt x="389957" y="202977"/>
                      </a:lnTo>
                      <a:lnTo>
                        <a:pt x="393656" y="202822"/>
                      </a:lnTo>
                      <a:lnTo>
                        <a:pt x="395694" y="203719"/>
                      </a:lnTo>
                      <a:lnTo>
                        <a:pt x="397609" y="207125"/>
                      </a:lnTo>
                      <a:lnTo>
                        <a:pt x="398970" y="208201"/>
                      </a:lnTo>
                      <a:lnTo>
                        <a:pt x="399769" y="209155"/>
                      </a:lnTo>
                      <a:lnTo>
                        <a:pt x="401064" y="210068"/>
                      </a:lnTo>
                      <a:lnTo>
                        <a:pt x="402385" y="210206"/>
                      </a:lnTo>
                      <a:lnTo>
                        <a:pt x="404365" y="209440"/>
                      </a:lnTo>
                      <a:lnTo>
                        <a:pt x="405547" y="207940"/>
                      </a:lnTo>
                      <a:lnTo>
                        <a:pt x="407266" y="208258"/>
                      </a:lnTo>
                      <a:lnTo>
                        <a:pt x="407910" y="209228"/>
                      </a:lnTo>
                      <a:lnTo>
                        <a:pt x="408228" y="210907"/>
                      </a:lnTo>
                      <a:lnTo>
                        <a:pt x="409141" y="212993"/>
                      </a:lnTo>
                      <a:lnTo>
                        <a:pt x="411309" y="214542"/>
                      </a:lnTo>
                      <a:lnTo>
                        <a:pt x="414349" y="215463"/>
                      </a:lnTo>
                      <a:lnTo>
                        <a:pt x="414780" y="216220"/>
                      </a:lnTo>
                      <a:lnTo>
                        <a:pt x="415196" y="218299"/>
                      </a:lnTo>
                      <a:lnTo>
                        <a:pt x="416019" y="219749"/>
                      </a:lnTo>
                      <a:lnTo>
                        <a:pt x="417119" y="221624"/>
                      </a:lnTo>
                      <a:lnTo>
                        <a:pt x="418171" y="225055"/>
                      </a:lnTo>
                      <a:lnTo>
                        <a:pt x="418399" y="227883"/>
                      </a:lnTo>
                      <a:lnTo>
                        <a:pt x="418896" y="229439"/>
                      </a:lnTo>
                      <a:lnTo>
                        <a:pt x="420290" y="231974"/>
                      </a:lnTo>
                      <a:lnTo>
                        <a:pt x="422531" y="236024"/>
                      </a:lnTo>
                      <a:lnTo>
                        <a:pt x="424332" y="239464"/>
                      </a:lnTo>
                      <a:lnTo>
                        <a:pt x="426394" y="240132"/>
                      </a:lnTo>
                      <a:lnTo>
                        <a:pt x="428162" y="241216"/>
                      </a:lnTo>
                      <a:lnTo>
                        <a:pt x="429165" y="243750"/>
                      </a:lnTo>
                      <a:lnTo>
                        <a:pt x="431031" y="248526"/>
                      </a:lnTo>
                      <a:lnTo>
                        <a:pt x="431332" y="251647"/>
                      </a:lnTo>
                      <a:lnTo>
                        <a:pt x="431487" y="253970"/>
                      </a:lnTo>
                      <a:lnTo>
                        <a:pt x="432099" y="255030"/>
                      </a:lnTo>
                      <a:lnTo>
                        <a:pt x="432221" y="256342"/>
                      </a:lnTo>
                      <a:lnTo>
                        <a:pt x="430664" y="261337"/>
                      </a:lnTo>
                      <a:lnTo>
                        <a:pt x="429344" y="263603"/>
                      </a:lnTo>
                      <a:lnTo>
                        <a:pt x="429189" y="265494"/>
                      </a:lnTo>
                      <a:lnTo>
                        <a:pt x="430077" y="268803"/>
                      </a:lnTo>
                      <a:lnTo>
                        <a:pt x="431300" y="271353"/>
                      </a:lnTo>
                      <a:lnTo>
                        <a:pt x="431430" y="273798"/>
                      </a:lnTo>
                      <a:lnTo>
                        <a:pt x="430379" y="275600"/>
                      </a:lnTo>
                      <a:lnTo>
                        <a:pt x="428578" y="277841"/>
                      </a:lnTo>
                      <a:lnTo>
                        <a:pt x="427722" y="279112"/>
                      </a:lnTo>
                      <a:lnTo>
                        <a:pt x="426320" y="280245"/>
                      </a:lnTo>
                      <a:lnTo>
                        <a:pt x="424185" y="284572"/>
                      </a:lnTo>
                      <a:lnTo>
                        <a:pt x="423216" y="289356"/>
                      </a:lnTo>
                      <a:lnTo>
                        <a:pt x="422995" y="291809"/>
                      </a:lnTo>
                      <a:lnTo>
                        <a:pt x="423794" y="293594"/>
                      </a:lnTo>
                      <a:lnTo>
                        <a:pt x="425171" y="295550"/>
                      </a:lnTo>
                      <a:lnTo>
                        <a:pt x="425506" y="297253"/>
                      </a:lnTo>
                      <a:lnTo>
                        <a:pt x="427739" y="301043"/>
                      </a:lnTo>
                      <a:lnTo>
                        <a:pt x="428341" y="303390"/>
                      </a:lnTo>
                      <a:lnTo>
                        <a:pt x="429246" y="303463"/>
                      </a:lnTo>
                      <a:lnTo>
                        <a:pt x="430224" y="302689"/>
                      </a:lnTo>
                      <a:lnTo>
                        <a:pt x="432620" y="302640"/>
                      </a:lnTo>
                      <a:lnTo>
                        <a:pt x="434804" y="303463"/>
                      </a:lnTo>
                      <a:lnTo>
                        <a:pt x="436883" y="305199"/>
                      </a:lnTo>
                      <a:lnTo>
                        <a:pt x="439116" y="306120"/>
                      </a:lnTo>
                      <a:lnTo>
                        <a:pt x="442318" y="305884"/>
                      </a:lnTo>
                      <a:lnTo>
                        <a:pt x="444030" y="306829"/>
                      </a:lnTo>
                      <a:lnTo>
                        <a:pt x="445880" y="307587"/>
                      </a:lnTo>
                      <a:lnTo>
                        <a:pt x="449686" y="307856"/>
                      </a:lnTo>
                      <a:lnTo>
                        <a:pt x="452530" y="307832"/>
                      </a:lnTo>
                      <a:lnTo>
                        <a:pt x="456931" y="307872"/>
                      </a:lnTo>
                      <a:lnTo>
                        <a:pt x="460460" y="309038"/>
                      </a:lnTo>
                      <a:lnTo>
                        <a:pt x="466694" y="309959"/>
                      </a:lnTo>
                      <a:lnTo>
                        <a:pt x="470541" y="309885"/>
                      </a:lnTo>
                      <a:lnTo>
                        <a:pt x="475732" y="309022"/>
                      </a:lnTo>
                      <a:lnTo>
                        <a:pt x="478903" y="309568"/>
                      </a:lnTo>
                      <a:lnTo>
                        <a:pt x="488283" y="310855"/>
                      </a:lnTo>
                      <a:lnTo>
                        <a:pt x="493792" y="312216"/>
                      </a:lnTo>
                      <a:lnTo>
                        <a:pt x="497264" y="313740"/>
                      </a:lnTo>
                      <a:lnTo>
                        <a:pt x="499725" y="316161"/>
                      </a:lnTo>
                      <a:lnTo>
                        <a:pt x="502520" y="319934"/>
                      </a:lnTo>
                      <a:lnTo>
                        <a:pt x="504745" y="321662"/>
                      </a:lnTo>
                      <a:lnTo>
                        <a:pt x="510727" y="322697"/>
                      </a:lnTo>
                      <a:lnTo>
                        <a:pt x="514835" y="327098"/>
                      </a:lnTo>
                      <a:lnTo>
                        <a:pt x="518054" y="328736"/>
                      </a:lnTo>
                      <a:lnTo>
                        <a:pt x="523449" y="332990"/>
                      </a:lnTo>
                      <a:lnTo>
                        <a:pt x="527263" y="334644"/>
                      </a:lnTo>
                      <a:lnTo>
                        <a:pt x="531827" y="336176"/>
                      </a:lnTo>
                      <a:lnTo>
                        <a:pt x="539276" y="335524"/>
                      </a:lnTo>
                      <a:lnTo>
                        <a:pt x="539683" y="336103"/>
                      </a:lnTo>
                      <a:lnTo>
                        <a:pt x="539121" y="338410"/>
                      </a:lnTo>
                      <a:lnTo>
                        <a:pt x="538664" y="341572"/>
                      </a:lnTo>
                      <a:lnTo>
                        <a:pt x="538664" y="343854"/>
                      </a:lnTo>
                      <a:lnTo>
                        <a:pt x="539431" y="345019"/>
                      </a:lnTo>
                      <a:lnTo>
                        <a:pt x="542283" y="345703"/>
                      </a:lnTo>
                      <a:lnTo>
                        <a:pt x="543620" y="346828"/>
                      </a:lnTo>
                      <a:lnTo>
                        <a:pt x="544663" y="348971"/>
                      </a:lnTo>
                      <a:lnTo>
                        <a:pt x="545258" y="350316"/>
                      </a:lnTo>
                      <a:lnTo>
                        <a:pt x="547637" y="356901"/>
                      </a:lnTo>
                      <a:lnTo>
                        <a:pt x="551476" y="366640"/>
                      </a:lnTo>
                      <a:lnTo>
                        <a:pt x="551900" y="370373"/>
                      </a:lnTo>
                      <a:lnTo>
                        <a:pt x="553212" y="372777"/>
                      </a:lnTo>
                      <a:lnTo>
                        <a:pt x="557384" y="376599"/>
                      </a:lnTo>
                      <a:lnTo>
                        <a:pt x="559577" y="379419"/>
                      </a:lnTo>
                      <a:lnTo>
                        <a:pt x="562812" y="382394"/>
                      </a:lnTo>
                      <a:lnTo>
                        <a:pt x="563888" y="385140"/>
                      </a:lnTo>
                      <a:lnTo>
                        <a:pt x="564132" y="388677"/>
                      </a:lnTo>
                      <a:lnTo>
                        <a:pt x="564948" y="389590"/>
                      </a:lnTo>
                      <a:lnTo>
                        <a:pt x="570905" y="388775"/>
                      </a:lnTo>
                      <a:lnTo>
                        <a:pt x="576047" y="388212"/>
                      </a:lnTo>
                      <a:lnTo>
                        <a:pt x="585305" y="387194"/>
                      </a:lnTo>
                      <a:lnTo>
                        <a:pt x="598019" y="389036"/>
                      </a:lnTo>
                      <a:lnTo>
                        <a:pt x="611156" y="390820"/>
                      </a:lnTo>
                      <a:lnTo>
                        <a:pt x="622762" y="392401"/>
                      </a:lnTo>
                      <a:lnTo>
                        <a:pt x="628483" y="393184"/>
                      </a:lnTo>
                      <a:lnTo>
                        <a:pt x="641408" y="394838"/>
                      </a:lnTo>
                      <a:lnTo>
                        <a:pt x="648580" y="392727"/>
                      </a:lnTo>
                      <a:lnTo>
                        <a:pt x="654203" y="391073"/>
                      </a:lnTo>
                      <a:lnTo>
                        <a:pt x="656738" y="391301"/>
                      </a:lnTo>
                      <a:lnTo>
                        <a:pt x="667479" y="393159"/>
                      </a:lnTo>
                      <a:lnTo>
                        <a:pt x="673763" y="394162"/>
                      </a:lnTo>
                      <a:lnTo>
                        <a:pt x="681693" y="395417"/>
                      </a:lnTo>
                      <a:lnTo>
                        <a:pt x="687185" y="395881"/>
                      </a:lnTo>
                      <a:lnTo>
                        <a:pt x="691692" y="395857"/>
                      </a:lnTo>
                      <a:lnTo>
                        <a:pt x="693770" y="396378"/>
                      </a:lnTo>
                      <a:lnTo>
                        <a:pt x="695775" y="397185"/>
                      </a:lnTo>
                      <a:lnTo>
                        <a:pt x="697112" y="398367"/>
                      </a:lnTo>
                      <a:lnTo>
                        <a:pt x="701227" y="404341"/>
                      </a:lnTo>
                      <a:lnTo>
                        <a:pt x="703542" y="406973"/>
                      </a:lnTo>
                      <a:lnTo>
                        <a:pt x="708089" y="408954"/>
                      </a:lnTo>
                      <a:lnTo>
                        <a:pt x="718472" y="411235"/>
                      </a:lnTo>
                      <a:lnTo>
                        <a:pt x="724217" y="412605"/>
                      </a:lnTo>
                      <a:lnTo>
                        <a:pt x="730819" y="414194"/>
                      </a:lnTo>
                      <a:lnTo>
                        <a:pt x="735155" y="416573"/>
                      </a:lnTo>
                      <a:lnTo>
                        <a:pt x="740167" y="419344"/>
                      </a:lnTo>
                      <a:lnTo>
                        <a:pt x="746646" y="422930"/>
                      </a:lnTo>
                      <a:lnTo>
                        <a:pt x="753744" y="421366"/>
                      </a:lnTo>
                      <a:lnTo>
                        <a:pt x="761380" y="419679"/>
                      </a:lnTo>
                      <a:lnTo>
                        <a:pt x="766172" y="418619"/>
                      </a:lnTo>
                      <a:lnTo>
                        <a:pt x="766172" y="426101"/>
                      </a:lnTo>
                      <a:lnTo>
                        <a:pt x="773002" y="426704"/>
                      </a:lnTo>
                      <a:lnTo>
                        <a:pt x="775153" y="426614"/>
                      </a:lnTo>
                      <a:lnTo>
                        <a:pt x="778161" y="428268"/>
                      </a:lnTo>
                      <a:lnTo>
                        <a:pt x="779864" y="427568"/>
                      </a:lnTo>
                      <a:lnTo>
                        <a:pt x="781478" y="425946"/>
                      </a:lnTo>
                      <a:lnTo>
                        <a:pt x="783499" y="423379"/>
                      </a:lnTo>
                      <a:lnTo>
                        <a:pt x="786416" y="422254"/>
                      </a:lnTo>
                      <a:lnTo>
                        <a:pt x="791437" y="419385"/>
                      </a:lnTo>
                      <a:lnTo>
                        <a:pt x="792659" y="418684"/>
                      </a:lnTo>
                      <a:lnTo>
                        <a:pt x="800124" y="414601"/>
                      </a:lnTo>
                      <a:lnTo>
                        <a:pt x="811281" y="409565"/>
                      </a:lnTo>
                      <a:lnTo>
                        <a:pt x="816285" y="407120"/>
                      </a:lnTo>
                      <a:lnTo>
                        <a:pt x="817777" y="406574"/>
                      </a:lnTo>
                      <a:lnTo>
                        <a:pt x="820613" y="405327"/>
                      </a:lnTo>
                      <a:lnTo>
                        <a:pt x="822512" y="404463"/>
                      </a:lnTo>
                      <a:lnTo>
                        <a:pt x="825886" y="403770"/>
                      </a:lnTo>
                      <a:lnTo>
                        <a:pt x="830474" y="403338"/>
                      </a:lnTo>
                      <a:lnTo>
                        <a:pt x="835469" y="402385"/>
                      </a:lnTo>
                      <a:lnTo>
                        <a:pt x="846790" y="400600"/>
                      </a:lnTo>
                      <a:lnTo>
                        <a:pt x="848208" y="400437"/>
                      </a:lnTo>
                      <a:lnTo>
                        <a:pt x="854564" y="399695"/>
                      </a:lnTo>
                      <a:lnTo>
                        <a:pt x="857270" y="399003"/>
                      </a:lnTo>
                      <a:lnTo>
                        <a:pt x="861312" y="399369"/>
                      </a:lnTo>
                      <a:lnTo>
                        <a:pt x="866577" y="399622"/>
                      </a:lnTo>
                      <a:lnTo>
                        <a:pt x="870065" y="400079"/>
                      </a:lnTo>
                      <a:lnTo>
                        <a:pt x="874719" y="399720"/>
                      </a:lnTo>
                      <a:lnTo>
                        <a:pt x="881092" y="399239"/>
                      </a:lnTo>
                      <a:lnTo>
                        <a:pt x="886251" y="399312"/>
                      </a:lnTo>
                      <a:lnTo>
                        <a:pt x="888810" y="398709"/>
                      </a:lnTo>
                      <a:lnTo>
                        <a:pt x="892591" y="396827"/>
                      </a:lnTo>
                      <a:lnTo>
                        <a:pt x="895134" y="395335"/>
                      </a:lnTo>
                      <a:lnTo>
                        <a:pt x="899127" y="393518"/>
                      </a:lnTo>
                      <a:lnTo>
                        <a:pt x="904066" y="391644"/>
                      </a:lnTo>
                      <a:lnTo>
                        <a:pt x="907505" y="389948"/>
                      </a:lnTo>
                      <a:lnTo>
                        <a:pt x="909787" y="388816"/>
                      </a:lnTo>
                      <a:lnTo>
                        <a:pt x="912558" y="387748"/>
                      </a:lnTo>
                      <a:lnTo>
                        <a:pt x="913275" y="386363"/>
                      </a:lnTo>
                      <a:lnTo>
                        <a:pt x="914082" y="385311"/>
                      </a:lnTo>
                      <a:lnTo>
                        <a:pt x="915549" y="383551"/>
                      </a:lnTo>
                      <a:lnTo>
                        <a:pt x="918189" y="380250"/>
                      </a:lnTo>
                      <a:lnTo>
                        <a:pt x="920203" y="377365"/>
                      </a:lnTo>
                      <a:lnTo>
                        <a:pt x="921197" y="376094"/>
                      </a:lnTo>
                      <a:lnTo>
                        <a:pt x="923454" y="373209"/>
                      </a:lnTo>
                      <a:lnTo>
                        <a:pt x="925280" y="371033"/>
                      </a:lnTo>
                      <a:lnTo>
                        <a:pt x="927611" y="368099"/>
                      </a:lnTo>
                      <a:lnTo>
                        <a:pt x="929574" y="367154"/>
                      </a:lnTo>
                      <a:lnTo>
                        <a:pt x="932061" y="366355"/>
                      </a:lnTo>
                      <a:lnTo>
                        <a:pt x="938605" y="363470"/>
                      </a:lnTo>
                      <a:lnTo>
                        <a:pt x="939917" y="362850"/>
                      </a:lnTo>
                      <a:lnTo>
                        <a:pt x="941001" y="362736"/>
                      </a:lnTo>
                      <a:lnTo>
                        <a:pt x="943315" y="360406"/>
                      </a:lnTo>
                      <a:lnTo>
                        <a:pt x="945279" y="358401"/>
                      </a:lnTo>
                      <a:lnTo>
                        <a:pt x="946550" y="356893"/>
                      </a:lnTo>
                      <a:lnTo>
                        <a:pt x="949207" y="356347"/>
                      </a:lnTo>
                      <a:lnTo>
                        <a:pt x="950569" y="355263"/>
                      </a:lnTo>
                      <a:lnTo>
                        <a:pt x="950805" y="353837"/>
                      </a:lnTo>
                      <a:lnTo>
                        <a:pt x="950528" y="351661"/>
                      </a:lnTo>
                      <a:lnTo>
                        <a:pt x="949256" y="349436"/>
                      </a:lnTo>
                      <a:lnTo>
                        <a:pt x="948180" y="347488"/>
                      </a:lnTo>
                      <a:lnTo>
                        <a:pt x="944383" y="343788"/>
                      </a:lnTo>
                      <a:lnTo>
                        <a:pt x="942370" y="341490"/>
                      </a:lnTo>
                      <a:lnTo>
                        <a:pt x="940316" y="338532"/>
                      </a:lnTo>
                      <a:lnTo>
                        <a:pt x="939485" y="335753"/>
                      </a:lnTo>
                      <a:lnTo>
                        <a:pt x="938083" y="333984"/>
                      </a:lnTo>
                      <a:lnTo>
                        <a:pt x="937398" y="332411"/>
                      </a:lnTo>
                      <a:lnTo>
                        <a:pt x="937618" y="330602"/>
                      </a:lnTo>
                      <a:lnTo>
                        <a:pt x="939566" y="327375"/>
                      </a:lnTo>
                      <a:lnTo>
                        <a:pt x="940202" y="325337"/>
                      </a:lnTo>
                      <a:lnTo>
                        <a:pt x="941001" y="321727"/>
                      </a:lnTo>
                      <a:lnTo>
                        <a:pt x="942843" y="316332"/>
                      </a:lnTo>
                      <a:lnTo>
                        <a:pt x="944334" y="313805"/>
                      </a:lnTo>
                      <a:lnTo>
                        <a:pt x="946045" y="311336"/>
                      </a:lnTo>
                      <a:lnTo>
                        <a:pt x="949696" y="308019"/>
                      </a:lnTo>
                      <a:lnTo>
                        <a:pt x="953046" y="307408"/>
                      </a:lnTo>
                      <a:lnTo>
                        <a:pt x="955026" y="308068"/>
                      </a:lnTo>
                      <a:lnTo>
                        <a:pt x="959468" y="308060"/>
                      </a:lnTo>
                      <a:lnTo>
                        <a:pt x="962426" y="308231"/>
                      </a:lnTo>
                      <a:lnTo>
                        <a:pt x="964610" y="309885"/>
                      </a:lnTo>
                      <a:lnTo>
                        <a:pt x="967031" y="313162"/>
                      </a:lnTo>
                      <a:lnTo>
                        <a:pt x="969761" y="314360"/>
                      </a:lnTo>
                      <a:lnTo>
                        <a:pt x="978253" y="316919"/>
                      </a:lnTo>
                      <a:lnTo>
                        <a:pt x="981896" y="317465"/>
                      </a:lnTo>
                      <a:lnTo>
                        <a:pt x="984496" y="317571"/>
                      </a:lnTo>
                      <a:lnTo>
                        <a:pt x="988334" y="318426"/>
                      </a:lnTo>
                      <a:lnTo>
                        <a:pt x="989630" y="318598"/>
                      </a:lnTo>
                      <a:lnTo>
                        <a:pt x="991586" y="319184"/>
                      </a:lnTo>
                      <a:lnTo>
                        <a:pt x="993224" y="318565"/>
                      </a:lnTo>
                      <a:lnTo>
                        <a:pt x="995685" y="316373"/>
                      </a:lnTo>
                      <a:lnTo>
                        <a:pt x="998782" y="313911"/>
                      </a:lnTo>
                      <a:lnTo>
                        <a:pt x="1000111" y="313349"/>
                      </a:lnTo>
                      <a:lnTo>
                        <a:pt x="1002580" y="312281"/>
                      </a:lnTo>
                      <a:lnTo>
                        <a:pt x="1003827" y="311287"/>
                      </a:lnTo>
                      <a:lnTo>
                        <a:pt x="1005987" y="308524"/>
                      </a:lnTo>
                      <a:lnTo>
                        <a:pt x="1008814" y="306381"/>
                      </a:lnTo>
                      <a:lnTo>
                        <a:pt x="1012229" y="303162"/>
                      </a:lnTo>
                      <a:lnTo>
                        <a:pt x="1013924" y="300733"/>
                      </a:lnTo>
                      <a:lnTo>
                        <a:pt x="1014291" y="299160"/>
                      </a:lnTo>
                      <a:lnTo>
                        <a:pt x="1014658" y="297465"/>
                      </a:lnTo>
                      <a:lnTo>
                        <a:pt x="1015726" y="296569"/>
                      </a:lnTo>
                      <a:lnTo>
                        <a:pt x="1017812" y="295746"/>
                      </a:lnTo>
                      <a:lnTo>
                        <a:pt x="1020151" y="295526"/>
                      </a:lnTo>
                      <a:lnTo>
                        <a:pt x="1024633" y="296984"/>
                      </a:lnTo>
                      <a:lnTo>
                        <a:pt x="1030672" y="296561"/>
                      </a:lnTo>
                      <a:lnTo>
                        <a:pt x="1032025" y="296357"/>
                      </a:lnTo>
                      <a:lnTo>
                        <a:pt x="1037534" y="295517"/>
                      </a:lnTo>
                      <a:lnTo>
                        <a:pt x="1040020" y="294833"/>
                      </a:lnTo>
                      <a:lnTo>
                        <a:pt x="1043524" y="294173"/>
                      </a:lnTo>
                      <a:lnTo>
                        <a:pt x="1046214" y="291475"/>
                      </a:lnTo>
                      <a:lnTo>
                        <a:pt x="1049808" y="288256"/>
                      </a:lnTo>
                      <a:lnTo>
                        <a:pt x="1052424" y="286463"/>
                      </a:lnTo>
                      <a:lnTo>
                        <a:pt x="1054160" y="286121"/>
                      </a:lnTo>
                      <a:lnTo>
                        <a:pt x="1056336" y="284271"/>
                      </a:lnTo>
                      <a:lnTo>
                        <a:pt x="1057411" y="282274"/>
                      </a:lnTo>
                      <a:lnTo>
                        <a:pt x="1057118" y="280514"/>
                      </a:lnTo>
                      <a:lnTo>
                        <a:pt x="1056719" y="279063"/>
                      </a:lnTo>
                      <a:lnTo>
                        <a:pt x="1057998" y="276374"/>
                      </a:lnTo>
                      <a:lnTo>
                        <a:pt x="1060304" y="271655"/>
                      </a:lnTo>
                      <a:lnTo>
                        <a:pt x="1062472" y="269455"/>
                      </a:lnTo>
                      <a:lnTo>
                        <a:pt x="1064249" y="267678"/>
                      </a:lnTo>
                      <a:lnTo>
                        <a:pt x="1065398" y="264817"/>
                      </a:lnTo>
                      <a:lnTo>
                        <a:pt x="1066800" y="263986"/>
                      </a:lnTo>
                      <a:lnTo>
                        <a:pt x="1068528" y="263676"/>
                      </a:lnTo>
                      <a:lnTo>
                        <a:pt x="1070956" y="261737"/>
                      </a:lnTo>
                      <a:lnTo>
                        <a:pt x="1072741" y="261337"/>
                      </a:lnTo>
                      <a:lnTo>
                        <a:pt x="1075716" y="262267"/>
                      </a:lnTo>
                      <a:lnTo>
                        <a:pt x="1080108" y="262503"/>
                      </a:lnTo>
                      <a:lnTo>
                        <a:pt x="1082912" y="262609"/>
                      </a:lnTo>
                      <a:lnTo>
                        <a:pt x="1084517" y="262258"/>
                      </a:lnTo>
                      <a:lnTo>
                        <a:pt x="1085088" y="261223"/>
                      </a:lnTo>
                      <a:lnTo>
                        <a:pt x="1085079" y="259610"/>
                      </a:lnTo>
                      <a:lnTo>
                        <a:pt x="1085960" y="256040"/>
                      </a:lnTo>
                      <a:lnTo>
                        <a:pt x="1086294" y="254850"/>
                      </a:lnTo>
                      <a:lnTo>
                        <a:pt x="1087109" y="254304"/>
                      </a:lnTo>
                      <a:lnTo>
                        <a:pt x="1089806" y="254239"/>
                      </a:lnTo>
                      <a:lnTo>
                        <a:pt x="1091632" y="255519"/>
                      </a:lnTo>
                      <a:lnTo>
                        <a:pt x="1092879" y="256586"/>
                      </a:lnTo>
                      <a:lnTo>
                        <a:pt x="1094623" y="256725"/>
                      </a:lnTo>
                      <a:lnTo>
                        <a:pt x="1096424" y="256032"/>
                      </a:lnTo>
                      <a:lnTo>
                        <a:pt x="1098820" y="253131"/>
                      </a:lnTo>
                      <a:lnTo>
                        <a:pt x="1102813" y="251460"/>
                      </a:lnTo>
                      <a:lnTo>
                        <a:pt x="1104932" y="251036"/>
                      </a:lnTo>
                      <a:lnTo>
                        <a:pt x="1108697" y="249667"/>
                      </a:lnTo>
                      <a:lnTo>
                        <a:pt x="1111069" y="250156"/>
                      </a:lnTo>
                      <a:lnTo>
                        <a:pt x="1115438" y="250555"/>
                      </a:lnTo>
                      <a:lnTo>
                        <a:pt x="1117133" y="250213"/>
                      </a:lnTo>
                      <a:lnTo>
                        <a:pt x="1118975" y="250555"/>
                      </a:lnTo>
                      <a:lnTo>
                        <a:pt x="1120637" y="248591"/>
                      </a:lnTo>
                      <a:lnTo>
                        <a:pt x="1121974" y="248127"/>
                      </a:lnTo>
                      <a:lnTo>
                        <a:pt x="1124777" y="249031"/>
                      </a:lnTo>
                      <a:lnTo>
                        <a:pt x="1126554" y="250547"/>
                      </a:lnTo>
                      <a:lnTo>
                        <a:pt x="1129871" y="252446"/>
                      </a:lnTo>
                      <a:lnTo>
                        <a:pt x="1134076" y="253334"/>
                      </a:lnTo>
                      <a:lnTo>
                        <a:pt x="1137597" y="252870"/>
                      </a:lnTo>
                      <a:lnTo>
                        <a:pt x="1141231" y="253685"/>
                      </a:lnTo>
                      <a:lnTo>
                        <a:pt x="1143367" y="253603"/>
                      </a:lnTo>
                      <a:lnTo>
                        <a:pt x="1144377" y="252854"/>
                      </a:lnTo>
                      <a:lnTo>
                        <a:pt x="1147352" y="251256"/>
                      </a:lnTo>
                      <a:lnTo>
                        <a:pt x="1148069" y="249097"/>
                      </a:lnTo>
                      <a:lnTo>
                        <a:pt x="1147767" y="247018"/>
                      </a:lnTo>
                      <a:lnTo>
                        <a:pt x="1148110" y="244663"/>
                      </a:lnTo>
                      <a:lnTo>
                        <a:pt x="1147246" y="242927"/>
                      </a:lnTo>
                      <a:lnTo>
                        <a:pt x="1145404" y="240352"/>
                      </a:lnTo>
                      <a:lnTo>
                        <a:pt x="1144687" y="238640"/>
                      </a:lnTo>
                      <a:lnTo>
                        <a:pt x="1144630" y="236391"/>
                      </a:lnTo>
                      <a:lnTo>
                        <a:pt x="1143481" y="234256"/>
                      </a:lnTo>
                      <a:lnTo>
                        <a:pt x="1140734" y="231681"/>
                      </a:lnTo>
                      <a:lnTo>
                        <a:pt x="1138909" y="230491"/>
                      </a:lnTo>
                      <a:lnTo>
                        <a:pt x="1135184" y="226025"/>
                      </a:lnTo>
                      <a:lnTo>
                        <a:pt x="1133929" y="224982"/>
                      </a:lnTo>
                      <a:lnTo>
                        <a:pt x="1133497" y="224248"/>
                      </a:lnTo>
                      <a:lnTo>
                        <a:pt x="1133057" y="222748"/>
                      </a:lnTo>
                      <a:lnTo>
                        <a:pt x="1131680" y="222031"/>
                      </a:lnTo>
                      <a:lnTo>
                        <a:pt x="1129879" y="220866"/>
                      </a:lnTo>
                      <a:lnTo>
                        <a:pt x="1128893" y="219676"/>
                      </a:lnTo>
                      <a:lnTo>
                        <a:pt x="1128257" y="217614"/>
                      </a:lnTo>
                      <a:lnTo>
                        <a:pt x="1127882" y="216253"/>
                      </a:lnTo>
                      <a:lnTo>
                        <a:pt x="1126277" y="215137"/>
                      </a:lnTo>
                      <a:lnTo>
                        <a:pt x="1124679" y="214509"/>
                      </a:lnTo>
                      <a:lnTo>
                        <a:pt x="1122870" y="213719"/>
                      </a:lnTo>
                      <a:lnTo>
                        <a:pt x="1119887" y="212553"/>
                      </a:lnTo>
                      <a:lnTo>
                        <a:pt x="1118176" y="210239"/>
                      </a:lnTo>
                      <a:lnTo>
                        <a:pt x="1115128" y="205903"/>
                      </a:lnTo>
                      <a:lnTo>
                        <a:pt x="1113408" y="204444"/>
                      </a:lnTo>
                      <a:lnTo>
                        <a:pt x="1106986" y="203890"/>
                      </a:lnTo>
                      <a:lnTo>
                        <a:pt x="1104688" y="202831"/>
                      </a:lnTo>
                      <a:lnTo>
                        <a:pt x="1102080" y="203181"/>
                      </a:lnTo>
                      <a:lnTo>
                        <a:pt x="1100523" y="203882"/>
                      </a:lnTo>
                      <a:lnTo>
                        <a:pt x="1097093" y="203866"/>
                      </a:lnTo>
                      <a:lnTo>
                        <a:pt x="1095299" y="204306"/>
                      </a:lnTo>
                      <a:lnTo>
                        <a:pt x="1093026" y="207158"/>
                      </a:lnTo>
                      <a:lnTo>
                        <a:pt x="1090010" y="210874"/>
                      </a:lnTo>
                      <a:lnTo>
                        <a:pt x="1087533" y="213140"/>
                      </a:lnTo>
                      <a:lnTo>
                        <a:pt x="1085764" y="215487"/>
                      </a:lnTo>
                      <a:lnTo>
                        <a:pt x="1084933" y="216326"/>
                      </a:lnTo>
                      <a:lnTo>
                        <a:pt x="1083328" y="215821"/>
                      </a:lnTo>
                      <a:lnTo>
                        <a:pt x="1081127" y="213173"/>
                      </a:lnTo>
                      <a:lnTo>
                        <a:pt x="1077965" y="210801"/>
                      </a:lnTo>
                      <a:lnTo>
                        <a:pt x="1075039" y="209725"/>
                      </a:lnTo>
                      <a:lnTo>
                        <a:pt x="1073784" y="209130"/>
                      </a:lnTo>
                      <a:lnTo>
                        <a:pt x="1070304" y="208535"/>
                      </a:lnTo>
                      <a:lnTo>
                        <a:pt x="1067599" y="208731"/>
                      </a:lnTo>
                      <a:lnTo>
                        <a:pt x="1064176" y="209619"/>
                      </a:lnTo>
                      <a:lnTo>
                        <a:pt x="1060810" y="209456"/>
                      </a:lnTo>
                      <a:lnTo>
                        <a:pt x="1059302" y="208894"/>
                      </a:lnTo>
                      <a:lnTo>
                        <a:pt x="1057167" y="208951"/>
                      </a:lnTo>
                      <a:lnTo>
                        <a:pt x="1053296" y="211412"/>
                      </a:lnTo>
                      <a:lnTo>
                        <a:pt x="1051291" y="214208"/>
                      </a:lnTo>
                      <a:lnTo>
                        <a:pt x="1048919" y="215088"/>
                      </a:lnTo>
                      <a:lnTo>
                        <a:pt x="1046768" y="213246"/>
                      </a:lnTo>
                      <a:lnTo>
                        <a:pt x="1044290" y="211078"/>
                      </a:lnTo>
                      <a:lnTo>
                        <a:pt x="1041919" y="208348"/>
                      </a:lnTo>
                      <a:lnTo>
                        <a:pt x="1040460" y="205838"/>
                      </a:lnTo>
                      <a:lnTo>
                        <a:pt x="1039653" y="199171"/>
                      </a:lnTo>
                      <a:lnTo>
                        <a:pt x="1042489" y="197183"/>
                      </a:lnTo>
                      <a:lnTo>
                        <a:pt x="1046116" y="194958"/>
                      </a:lnTo>
                      <a:lnTo>
                        <a:pt x="1046393" y="191421"/>
                      </a:lnTo>
                      <a:lnTo>
                        <a:pt x="1046262" y="187485"/>
                      </a:lnTo>
                      <a:lnTo>
                        <a:pt x="1046988" y="183116"/>
                      </a:lnTo>
                      <a:lnTo>
                        <a:pt x="1050297" y="179066"/>
                      </a:lnTo>
                      <a:lnTo>
                        <a:pt x="1052065" y="175716"/>
                      </a:lnTo>
                      <a:lnTo>
                        <a:pt x="1052293" y="173630"/>
                      </a:lnTo>
                      <a:lnTo>
                        <a:pt x="1053874" y="170166"/>
                      </a:lnTo>
                      <a:lnTo>
                        <a:pt x="1055398" y="166491"/>
                      </a:lnTo>
                      <a:lnTo>
                        <a:pt x="1057468" y="161691"/>
                      </a:lnTo>
                      <a:lnTo>
                        <a:pt x="1061413" y="153142"/>
                      </a:lnTo>
                      <a:lnTo>
                        <a:pt x="1066058" y="143020"/>
                      </a:lnTo>
                      <a:lnTo>
                        <a:pt x="1068381" y="137967"/>
                      </a:lnTo>
                      <a:lnTo>
                        <a:pt x="1073491" y="141096"/>
                      </a:lnTo>
                      <a:lnTo>
                        <a:pt x="1076775" y="142726"/>
                      </a:lnTo>
                      <a:lnTo>
                        <a:pt x="1082333" y="145204"/>
                      </a:lnTo>
                      <a:lnTo>
                        <a:pt x="1088070" y="145766"/>
                      </a:lnTo>
                      <a:lnTo>
                        <a:pt x="1093555" y="148431"/>
                      </a:lnTo>
                      <a:lnTo>
                        <a:pt x="1096400" y="149246"/>
                      </a:lnTo>
                      <a:lnTo>
                        <a:pt x="1097899" y="149254"/>
                      </a:lnTo>
                      <a:lnTo>
                        <a:pt x="1105666" y="142734"/>
                      </a:lnTo>
                      <a:lnTo>
                        <a:pt x="1112235" y="137217"/>
                      </a:lnTo>
                      <a:lnTo>
                        <a:pt x="1119797" y="132898"/>
                      </a:lnTo>
                      <a:lnTo>
                        <a:pt x="1125331" y="132319"/>
                      </a:lnTo>
                      <a:lnTo>
                        <a:pt x="1129496" y="131064"/>
                      </a:lnTo>
                      <a:lnTo>
                        <a:pt x="1132291" y="129133"/>
                      </a:lnTo>
                      <a:lnTo>
                        <a:pt x="1133929" y="125905"/>
                      </a:lnTo>
                      <a:lnTo>
                        <a:pt x="1134434" y="121366"/>
                      </a:lnTo>
                      <a:lnTo>
                        <a:pt x="1133326" y="118628"/>
                      </a:lnTo>
                      <a:lnTo>
                        <a:pt x="1130604" y="117682"/>
                      </a:lnTo>
                      <a:lnTo>
                        <a:pt x="1129903" y="116729"/>
                      </a:lnTo>
                      <a:lnTo>
                        <a:pt x="1131224" y="115759"/>
                      </a:lnTo>
                      <a:lnTo>
                        <a:pt x="1132193" y="113860"/>
                      </a:lnTo>
                      <a:lnTo>
                        <a:pt x="1132804" y="111056"/>
                      </a:lnTo>
                      <a:lnTo>
                        <a:pt x="1134369" y="108383"/>
                      </a:lnTo>
                      <a:lnTo>
                        <a:pt x="1136896" y="105857"/>
                      </a:lnTo>
                      <a:lnTo>
                        <a:pt x="1138289" y="103061"/>
                      </a:lnTo>
                      <a:lnTo>
                        <a:pt x="1138558" y="99981"/>
                      </a:lnTo>
                      <a:lnTo>
                        <a:pt x="1140066" y="96908"/>
                      </a:lnTo>
                      <a:lnTo>
                        <a:pt x="1142837" y="93836"/>
                      </a:lnTo>
                      <a:lnTo>
                        <a:pt x="1144345" y="90992"/>
                      </a:lnTo>
                      <a:lnTo>
                        <a:pt x="1144614" y="88351"/>
                      </a:lnTo>
                      <a:lnTo>
                        <a:pt x="1146015" y="85124"/>
                      </a:lnTo>
                      <a:lnTo>
                        <a:pt x="1149829" y="79411"/>
                      </a:lnTo>
                      <a:lnTo>
                        <a:pt x="1152307" y="72818"/>
                      </a:lnTo>
                      <a:lnTo>
                        <a:pt x="1156520" y="68295"/>
                      </a:lnTo>
                      <a:lnTo>
                        <a:pt x="1163301" y="63658"/>
                      </a:lnTo>
                      <a:lnTo>
                        <a:pt x="1167555" y="59045"/>
                      </a:lnTo>
                      <a:lnTo>
                        <a:pt x="1169250" y="54465"/>
                      </a:lnTo>
                      <a:lnTo>
                        <a:pt x="1169112" y="50422"/>
                      </a:lnTo>
                      <a:lnTo>
                        <a:pt x="1167139" y="46918"/>
                      </a:lnTo>
                      <a:lnTo>
                        <a:pt x="1166781" y="43348"/>
                      </a:lnTo>
                      <a:lnTo>
                        <a:pt x="1167987" y="39714"/>
                      </a:lnTo>
                      <a:lnTo>
                        <a:pt x="1166920" y="36992"/>
                      </a:lnTo>
                      <a:lnTo>
                        <a:pt x="1163570" y="35190"/>
                      </a:lnTo>
                      <a:lnTo>
                        <a:pt x="1159577" y="34742"/>
                      </a:lnTo>
                      <a:lnTo>
                        <a:pt x="1154931" y="35663"/>
                      </a:lnTo>
                      <a:lnTo>
                        <a:pt x="1152323" y="34522"/>
                      </a:lnTo>
                      <a:lnTo>
                        <a:pt x="1151745" y="31344"/>
                      </a:lnTo>
                      <a:lnTo>
                        <a:pt x="1152991" y="28777"/>
                      </a:lnTo>
                      <a:lnTo>
                        <a:pt x="1156056" y="26813"/>
                      </a:lnTo>
                      <a:lnTo>
                        <a:pt x="1161092" y="22012"/>
                      </a:lnTo>
                      <a:lnTo>
                        <a:pt x="1168109" y="14401"/>
                      </a:lnTo>
                      <a:lnTo>
                        <a:pt x="1175085" y="10171"/>
                      </a:lnTo>
                      <a:lnTo>
                        <a:pt x="1185501" y="8957"/>
                      </a:lnTo>
                      <a:lnTo>
                        <a:pt x="1193911" y="6463"/>
                      </a:lnTo>
                      <a:lnTo>
                        <a:pt x="1202452" y="3912"/>
                      </a:lnTo>
                      <a:lnTo>
                        <a:pt x="1208630" y="2657"/>
                      </a:lnTo>
                      <a:lnTo>
                        <a:pt x="1209681" y="3496"/>
                      </a:lnTo>
                      <a:lnTo>
                        <a:pt x="1213047" y="3708"/>
                      </a:lnTo>
                      <a:lnTo>
                        <a:pt x="1218711" y="3276"/>
                      </a:lnTo>
                      <a:lnTo>
                        <a:pt x="1224008" y="2176"/>
                      </a:lnTo>
                      <a:lnTo>
                        <a:pt x="1228874" y="424"/>
                      </a:lnTo>
                      <a:lnTo>
                        <a:pt x="1232728" y="0"/>
                      </a:lnTo>
                      <a:lnTo>
                        <a:pt x="1235572" y="945"/>
                      </a:lnTo>
                      <a:close/>
                    </a:path>
                  </a:pathLst>
                </a:custGeom>
                <a:solidFill>
                  <a:srgbClr val="D6D6D2"/>
                </a:solidFill>
                <a:ln w="6112" cap="rnd">
                  <a:solidFill>
                    <a:srgbClr val="FFFFFF"/>
                  </a:solidFill>
                  <a:prstDash val="solid"/>
                  <a:round/>
                </a:ln>
              </p:spPr>
              <p:txBody>
                <a:bodyPr rtlCol="0" anchor="ctr"/>
                <a:lstStyle/>
                <a:p>
                  <a:endParaRPr lang="en-US"/>
                </a:p>
              </p:txBody>
            </p:sp>
            <p:sp>
              <p:nvSpPr>
                <p:cNvPr id="762" name="Freeform: Shape 761">
                  <a:extLst>
                    <a:ext uri="{FF2B5EF4-FFF2-40B4-BE49-F238E27FC236}">
                      <a16:creationId xmlns:a16="http://schemas.microsoft.com/office/drawing/2014/main" id="{9919FF7C-649E-493B-9033-85FE01531291}"/>
                    </a:ext>
                  </a:extLst>
                </p:cNvPr>
                <p:cNvSpPr/>
                <p:nvPr/>
              </p:nvSpPr>
              <p:spPr>
                <a:xfrm>
                  <a:off x="4065868" y="5052689"/>
                  <a:ext cx="215788" cy="1282588"/>
                </a:xfrm>
                <a:custGeom>
                  <a:avLst/>
                  <a:gdLst>
                    <a:gd name="connsiteX0" fmla="*/ 214028 w 215788"/>
                    <a:gd name="connsiteY0" fmla="*/ 1263616 h 1282588"/>
                    <a:gd name="connsiteX1" fmla="*/ 213295 w 215788"/>
                    <a:gd name="connsiteY1" fmla="*/ 1265075 h 1282588"/>
                    <a:gd name="connsiteX2" fmla="*/ 211730 w 215788"/>
                    <a:gd name="connsiteY2" fmla="*/ 1266998 h 1282588"/>
                    <a:gd name="connsiteX3" fmla="*/ 209628 w 215788"/>
                    <a:gd name="connsiteY3" fmla="*/ 1268498 h 1282588"/>
                    <a:gd name="connsiteX4" fmla="*/ 207590 w 215788"/>
                    <a:gd name="connsiteY4" fmla="*/ 1268913 h 1282588"/>
                    <a:gd name="connsiteX5" fmla="*/ 206107 w 215788"/>
                    <a:gd name="connsiteY5" fmla="*/ 1268131 h 1282588"/>
                    <a:gd name="connsiteX6" fmla="*/ 205365 w 215788"/>
                    <a:gd name="connsiteY6" fmla="*/ 1266762 h 1282588"/>
                    <a:gd name="connsiteX7" fmla="*/ 205023 w 215788"/>
                    <a:gd name="connsiteY7" fmla="*/ 1265425 h 1282588"/>
                    <a:gd name="connsiteX8" fmla="*/ 204518 w 215788"/>
                    <a:gd name="connsiteY8" fmla="*/ 1264675 h 1282588"/>
                    <a:gd name="connsiteX9" fmla="*/ 203743 w 215788"/>
                    <a:gd name="connsiteY9" fmla="*/ 1264504 h 1282588"/>
                    <a:gd name="connsiteX10" fmla="*/ 202733 w 215788"/>
                    <a:gd name="connsiteY10" fmla="*/ 1264553 h 1282588"/>
                    <a:gd name="connsiteX11" fmla="*/ 201494 w 215788"/>
                    <a:gd name="connsiteY11" fmla="*/ 1265066 h 1282588"/>
                    <a:gd name="connsiteX12" fmla="*/ 198862 w 215788"/>
                    <a:gd name="connsiteY12" fmla="*/ 1267006 h 1282588"/>
                    <a:gd name="connsiteX13" fmla="*/ 197737 w 215788"/>
                    <a:gd name="connsiteY13" fmla="*/ 1267520 h 1282588"/>
                    <a:gd name="connsiteX14" fmla="*/ 196971 w 215788"/>
                    <a:gd name="connsiteY14" fmla="*/ 1267634 h 1282588"/>
                    <a:gd name="connsiteX15" fmla="*/ 189473 w 215788"/>
                    <a:gd name="connsiteY15" fmla="*/ 1266167 h 1282588"/>
                    <a:gd name="connsiteX16" fmla="*/ 188740 w 215788"/>
                    <a:gd name="connsiteY16" fmla="*/ 1265621 h 1282588"/>
                    <a:gd name="connsiteX17" fmla="*/ 187859 w 215788"/>
                    <a:gd name="connsiteY17" fmla="*/ 1264317 h 1282588"/>
                    <a:gd name="connsiteX18" fmla="*/ 186890 w 215788"/>
                    <a:gd name="connsiteY18" fmla="*/ 1260454 h 1282588"/>
                    <a:gd name="connsiteX19" fmla="*/ 183736 w 215788"/>
                    <a:gd name="connsiteY19" fmla="*/ 1257007 h 1282588"/>
                    <a:gd name="connsiteX20" fmla="*/ 188560 w 215788"/>
                    <a:gd name="connsiteY20" fmla="*/ 1255059 h 1282588"/>
                    <a:gd name="connsiteX21" fmla="*/ 194339 w 215788"/>
                    <a:gd name="connsiteY21" fmla="*/ 1255067 h 1282588"/>
                    <a:gd name="connsiteX22" fmla="*/ 205487 w 215788"/>
                    <a:gd name="connsiteY22" fmla="*/ 1256566 h 1282588"/>
                    <a:gd name="connsiteX23" fmla="*/ 209929 w 215788"/>
                    <a:gd name="connsiteY23" fmla="*/ 1256909 h 1282588"/>
                    <a:gd name="connsiteX24" fmla="*/ 213352 w 215788"/>
                    <a:gd name="connsiteY24" fmla="*/ 1260160 h 1282588"/>
                    <a:gd name="connsiteX25" fmla="*/ 213890 w 215788"/>
                    <a:gd name="connsiteY25" fmla="*/ 1262125 h 1282588"/>
                    <a:gd name="connsiteX26" fmla="*/ 214028 w 215788"/>
                    <a:gd name="connsiteY26" fmla="*/ 1263616 h 1282588"/>
                    <a:gd name="connsiteX27" fmla="*/ 148969 w 215788"/>
                    <a:gd name="connsiteY27" fmla="*/ 1254667 h 1282588"/>
                    <a:gd name="connsiteX28" fmla="*/ 168871 w 215788"/>
                    <a:gd name="connsiteY28" fmla="*/ 1258424 h 1282588"/>
                    <a:gd name="connsiteX29" fmla="*/ 174999 w 215788"/>
                    <a:gd name="connsiteY29" fmla="*/ 1256159 h 1282588"/>
                    <a:gd name="connsiteX30" fmla="*/ 179848 w 215788"/>
                    <a:gd name="connsiteY30" fmla="*/ 1256224 h 1282588"/>
                    <a:gd name="connsiteX31" fmla="*/ 181291 w 215788"/>
                    <a:gd name="connsiteY31" fmla="*/ 1259354 h 1282588"/>
                    <a:gd name="connsiteX32" fmla="*/ 176368 w 215788"/>
                    <a:gd name="connsiteY32" fmla="*/ 1262638 h 1282588"/>
                    <a:gd name="connsiteX33" fmla="*/ 176002 w 215788"/>
                    <a:gd name="connsiteY33" fmla="*/ 1263673 h 1282588"/>
                    <a:gd name="connsiteX34" fmla="*/ 176686 w 215788"/>
                    <a:gd name="connsiteY34" fmla="*/ 1264521 h 1282588"/>
                    <a:gd name="connsiteX35" fmla="*/ 181739 w 215788"/>
                    <a:gd name="connsiteY35" fmla="*/ 1265050 h 1282588"/>
                    <a:gd name="connsiteX36" fmla="*/ 183027 w 215788"/>
                    <a:gd name="connsiteY36" fmla="*/ 1266118 h 1282588"/>
                    <a:gd name="connsiteX37" fmla="*/ 184200 w 215788"/>
                    <a:gd name="connsiteY37" fmla="*/ 1267479 h 1282588"/>
                    <a:gd name="connsiteX38" fmla="*/ 183198 w 215788"/>
                    <a:gd name="connsiteY38" fmla="*/ 1269500 h 1282588"/>
                    <a:gd name="connsiteX39" fmla="*/ 183108 w 215788"/>
                    <a:gd name="connsiteY39" fmla="*/ 1270437 h 1282588"/>
                    <a:gd name="connsiteX40" fmla="*/ 183630 w 215788"/>
                    <a:gd name="connsiteY40" fmla="*/ 1271350 h 1282588"/>
                    <a:gd name="connsiteX41" fmla="*/ 187419 w 215788"/>
                    <a:gd name="connsiteY41" fmla="*/ 1274406 h 1282588"/>
                    <a:gd name="connsiteX42" fmla="*/ 188976 w 215788"/>
                    <a:gd name="connsiteY42" fmla="*/ 1275987 h 1282588"/>
                    <a:gd name="connsiteX43" fmla="*/ 189758 w 215788"/>
                    <a:gd name="connsiteY43" fmla="*/ 1277503 h 1282588"/>
                    <a:gd name="connsiteX44" fmla="*/ 190076 w 215788"/>
                    <a:gd name="connsiteY44" fmla="*/ 1280176 h 1282588"/>
                    <a:gd name="connsiteX45" fmla="*/ 190003 w 215788"/>
                    <a:gd name="connsiteY45" fmla="*/ 1282303 h 1282588"/>
                    <a:gd name="connsiteX46" fmla="*/ 189155 w 215788"/>
                    <a:gd name="connsiteY46" fmla="*/ 1282589 h 1282588"/>
                    <a:gd name="connsiteX47" fmla="*/ 187305 w 215788"/>
                    <a:gd name="connsiteY47" fmla="*/ 1281945 h 1282588"/>
                    <a:gd name="connsiteX48" fmla="*/ 185504 w 215788"/>
                    <a:gd name="connsiteY48" fmla="*/ 1280706 h 1282588"/>
                    <a:gd name="connsiteX49" fmla="*/ 183923 w 215788"/>
                    <a:gd name="connsiteY49" fmla="*/ 1277650 h 1282588"/>
                    <a:gd name="connsiteX50" fmla="*/ 182815 w 215788"/>
                    <a:gd name="connsiteY50" fmla="*/ 1277038 h 1282588"/>
                    <a:gd name="connsiteX51" fmla="*/ 179620 w 215788"/>
                    <a:gd name="connsiteY51" fmla="*/ 1276411 h 1282588"/>
                    <a:gd name="connsiteX52" fmla="*/ 176458 w 215788"/>
                    <a:gd name="connsiteY52" fmla="*/ 1274920 h 1282588"/>
                    <a:gd name="connsiteX53" fmla="*/ 173997 w 215788"/>
                    <a:gd name="connsiteY53" fmla="*/ 1275001 h 1282588"/>
                    <a:gd name="connsiteX54" fmla="*/ 171723 w 215788"/>
                    <a:gd name="connsiteY54" fmla="*/ 1274374 h 1282588"/>
                    <a:gd name="connsiteX55" fmla="*/ 169686 w 215788"/>
                    <a:gd name="connsiteY55" fmla="*/ 1274920 h 1282588"/>
                    <a:gd name="connsiteX56" fmla="*/ 168960 w 215788"/>
                    <a:gd name="connsiteY56" fmla="*/ 1273917 h 1282588"/>
                    <a:gd name="connsiteX57" fmla="*/ 168088 w 215788"/>
                    <a:gd name="connsiteY57" fmla="*/ 1271888 h 1282588"/>
                    <a:gd name="connsiteX58" fmla="*/ 168072 w 215788"/>
                    <a:gd name="connsiteY58" fmla="*/ 1270992 h 1282588"/>
                    <a:gd name="connsiteX59" fmla="*/ 169140 w 215788"/>
                    <a:gd name="connsiteY59" fmla="*/ 1267789 h 1282588"/>
                    <a:gd name="connsiteX60" fmla="*/ 169123 w 215788"/>
                    <a:gd name="connsiteY60" fmla="*/ 1266941 h 1282588"/>
                    <a:gd name="connsiteX61" fmla="*/ 168561 w 215788"/>
                    <a:gd name="connsiteY61" fmla="*/ 1266843 h 1282588"/>
                    <a:gd name="connsiteX62" fmla="*/ 166189 w 215788"/>
                    <a:gd name="connsiteY62" fmla="*/ 1267495 h 1282588"/>
                    <a:gd name="connsiteX63" fmla="*/ 165228 w 215788"/>
                    <a:gd name="connsiteY63" fmla="*/ 1267063 h 1282588"/>
                    <a:gd name="connsiteX64" fmla="*/ 162652 w 215788"/>
                    <a:gd name="connsiteY64" fmla="*/ 1264749 h 1282588"/>
                    <a:gd name="connsiteX65" fmla="*/ 161617 w 215788"/>
                    <a:gd name="connsiteY65" fmla="*/ 1264309 h 1282588"/>
                    <a:gd name="connsiteX66" fmla="*/ 159026 w 215788"/>
                    <a:gd name="connsiteY66" fmla="*/ 1264073 h 1282588"/>
                    <a:gd name="connsiteX67" fmla="*/ 157559 w 215788"/>
                    <a:gd name="connsiteY67" fmla="*/ 1268196 h 1282588"/>
                    <a:gd name="connsiteX68" fmla="*/ 157485 w 215788"/>
                    <a:gd name="connsiteY68" fmla="*/ 1269206 h 1282588"/>
                    <a:gd name="connsiteX69" fmla="*/ 158977 w 215788"/>
                    <a:gd name="connsiteY69" fmla="*/ 1271839 h 1282588"/>
                    <a:gd name="connsiteX70" fmla="*/ 161911 w 215788"/>
                    <a:gd name="connsiteY70" fmla="*/ 1275857 h 1282588"/>
                    <a:gd name="connsiteX71" fmla="*/ 160419 w 215788"/>
                    <a:gd name="connsiteY71" fmla="*/ 1275930 h 1282588"/>
                    <a:gd name="connsiteX72" fmla="*/ 156173 w 215788"/>
                    <a:gd name="connsiteY72" fmla="*/ 1274699 h 1282588"/>
                    <a:gd name="connsiteX73" fmla="*/ 155081 w 215788"/>
                    <a:gd name="connsiteY73" fmla="*/ 1273925 h 1282588"/>
                    <a:gd name="connsiteX74" fmla="*/ 153769 w 215788"/>
                    <a:gd name="connsiteY74" fmla="*/ 1271896 h 1282588"/>
                    <a:gd name="connsiteX75" fmla="*/ 151243 w 215788"/>
                    <a:gd name="connsiteY75" fmla="*/ 1270715 h 1282588"/>
                    <a:gd name="connsiteX76" fmla="*/ 150363 w 215788"/>
                    <a:gd name="connsiteY76" fmla="*/ 1269981 h 1282588"/>
                    <a:gd name="connsiteX77" fmla="*/ 150110 w 215788"/>
                    <a:gd name="connsiteY77" fmla="*/ 1269133 h 1282588"/>
                    <a:gd name="connsiteX78" fmla="*/ 150086 w 215788"/>
                    <a:gd name="connsiteY78" fmla="*/ 1266477 h 1282588"/>
                    <a:gd name="connsiteX79" fmla="*/ 149531 w 215788"/>
                    <a:gd name="connsiteY79" fmla="*/ 1266094 h 1282588"/>
                    <a:gd name="connsiteX80" fmla="*/ 145954 w 215788"/>
                    <a:gd name="connsiteY80" fmla="*/ 1266762 h 1282588"/>
                    <a:gd name="connsiteX81" fmla="*/ 145220 w 215788"/>
                    <a:gd name="connsiteY81" fmla="*/ 1266134 h 1282588"/>
                    <a:gd name="connsiteX82" fmla="*/ 144919 w 215788"/>
                    <a:gd name="connsiteY82" fmla="*/ 1265010 h 1282588"/>
                    <a:gd name="connsiteX83" fmla="*/ 144405 w 215788"/>
                    <a:gd name="connsiteY83" fmla="*/ 1264390 h 1282588"/>
                    <a:gd name="connsiteX84" fmla="*/ 142099 w 215788"/>
                    <a:gd name="connsiteY84" fmla="*/ 1263372 h 1282588"/>
                    <a:gd name="connsiteX85" fmla="*/ 141895 w 215788"/>
                    <a:gd name="connsiteY85" fmla="*/ 1262744 h 1282588"/>
                    <a:gd name="connsiteX86" fmla="*/ 142922 w 215788"/>
                    <a:gd name="connsiteY86" fmla="*/ 1261986 h 1282588"/>
                    <a:gd name="connsiteX87" fmla="*/ 143566 w 215788"/>
                    <a:gd name="connsiteY87" fmla="*/ 1260087 h 1282588"/>
                    <a:gd name="connsiteX88" fmla="*/ 144462 w 215788"/>
                    <a:gd name="connsiteY88" fmla="*/ 1253266 h 1282588"/>
                    <a:gd name="connsiteX89" fmla="*/ 148969 w 215788"/>
                    <a:gd name="connsiteY89" fmla="*/ 1254667 h 1282588"/>
                    <a:gd name="connsiteX90" fmla="*/ 117006 w 215788"/>
                    <a:gd name="connsiteY90" fmla="*/ 1252736 h 1282588"/>
                    <a:gd name="connsiteX91" fmla="*/ 118163 w 215788"/>
                    <a:gd name="connsiteY91" fmla="*/ 1255140 h 1282588"/>
                    <a:gd name="connsiteX92" fmla="*/ 118587 w 215788"/>
                    <a:gd name="connsiteY92" fmla="*/ 1255580 h 1282588"/>
                    <a:gd name="connsiteX93" fmla="*/ 121643 w 215788"/>
                    <a:gd name="connsiteY93" fmla="*/ 1256526 h 1282588"/>
                    <a:gd name="connsiteX94" fmla="*/ 123020 w 215788"/>
                    <a:gd name="connsiteY94" fmla="*/ 1255963 h 1282588"/>
                    <a:gd name="connsiteX95" fmla="*/ 126345 w 215788"/>
                    <a:gd name="connsiteY95" fmla="*/ 1255694 h 1282588"/>
                    <a:gd name="connsiteX96" fmla="*/ 128342 w 215788"/>
                    <a:gd name="connsiteY96" fmla="*/ 1254773 h 1282588"/>
                    <a:gd name="connsiteX97" fmla="*/ 131252 w 215788"/>
                    <a:gd name="connsiteY97" fmla="*/ 1254293 h 1282588"/>
                    <a:gd name="connsiteX98" fmla="*/ 134577 w 215788"/>
                    <a:gd name="connsiteY98" fmla="*/ 1260266 h 1282588"/>
                    <a:gd name="connsiteX99" fmla="*/ 134218 w 215788"/>
                    <a:gd name="connsiteY99" fmla="*/ 1262092 h 1282588"/>
                    <a:gd name="connsiteX100" fmla="*/ 131577 w 215788"/>
                    <a:gd name="connsiteY100" fmla="*/ 1264056 h 1282588"/>
                    <a:gd name="connsiteX101" fmla="*/ 129809 w 215788"/>
                    <a:gd name="connsiteY101" fmla="*/ 1264496 h 1282588"/>
                    <a:gd name="connsiteX102" fmla="*/ 128130 w 215788"/>
                    <a:gd name="connsiteY102" fmla="*/ 1263901 h 1282588"/>
                    <a:gd name="connsiteX103" fmla="*/ 128244 w 215788"/>
                    <a:gd name="connsiteY103" fmla="*/ 1262899 h 1282588"/>
                    <a:gd name="connsiteX104" fmla="*/ 127934 w 215788"/>
                    <a:gd name="connsiteY104" fmla="*/ 1262035 h 1282588"/>
                    <a:gd name="connsiteX105" fmla="*/ 126785 w 215788"/>
                    <a:gd name="connsiteY105" fmla="*/ 1260894 h 1282588"/>
                    <a:gd name="connsiteX106" fmla="*/ 125710 w 215788"/>
                    <a:gd name="connsiteY106" fmla="*/ 1260992 h 1282588"/>
                    <a:gd name="connsiteX107" fmla="*/ 123974 w 215788"/>
                    <a:gd name="connsiteY107" fmla="*/ 1261839 h 1282588"/>
                    <a:gd name="connsiteX108" fmla="*/ 123143 w 215788"/>
                    <a:gd name="connsiteY108" fmla="*/ 1261733 h 1282588"/>
                    <a:gd name="connsiteX109" fmla="*/ 121374 w 215788"/>
                    <a:gd name="connsiteY109" fmla="*/ 1260796 h 1282588"/>
                    <a:gd name="connsiteX110" fmla="*/ 118293 w 215788"/>
                    <a:gd name="connsiteY110" fmla="*/ 1260120 h 1282588"/>
                    <a:gd name="connsiteX111" fmla="*/ 117682 w 215788"/>
                    <a:gd name="connsiteY111" fmla="*/ 1259264 h 1282588"/>
                    <a:gd name="connsiteX112" fmla="*/ 117617 w 215788"/>
                    <a:gd name="connsiteY112" fmla="*/ 1258025 h 1282588"/>
                    <a:gd name="connsiteX113" fmla="*/ 117038 w 215788"/>
                    <a:gd name="connsiteY113" fmla="*/ 1257406 h 1282588"/>
                    <a:gd name="connsiteX114" fmla="*/ 113819 w 215788"/>
                    <a:gd name="connsiteY114" fmla="*/ 1255409 h 1282588"/>
                    <a:gd name="connsiteX115" fmla="*/ 111765 w 215788"/>
                    <a:gd name="connsiteY115" fmla="*/ 1253698 h 1282588"/>
                    <a:gd name="connsiteX116" fmla="*/ 110021 w 215788"/>
                    <a:gd name="connsiteY116" fmla="*/ 1253477 h 1282588"/>
                    <a:gd name="connsiteX117" fmla="*/ 109386 w 215788"/>
                    <a:gd name="connsiteY117" fmla="*/ 1253673 h 1282588"/>
                    <a:gd name="connsiteX118" fmla="*/ 108742 w 215788"/>
                    <a:gd name="connsiteY118" fmla="*/ 1254496 h 1282588"/>
                    <a:gd name="connsiteX119" fmla="*/ 107177 w 215788"/>
                    <a:gd name="connsiteY119" fmla="*/ 1255279 h 1282588"/>
                    <a:gd name="connsiteX120" fmla="*/ 106729 w 215788"/>
                    <a:gd name="connsiteY120" fmla="*/ 1255132 h 1282588"/>
                    <a:gd name="connsiteX121" fmla="*/ 106224 w 215788"/>
                    <a:gd name="connsiteY121" fmla="*/ 1254496 h 1282588"/>
                    <a:gd name="connsiteX122" fmla="*/ 105971 w 215788"/>
                    <a:gd name="connsiteY122" fmla="*/ 1253568 h 1282588"/>
                    <a:gd name="connsiteX123" fmla="*/ 106631 w 215788"/>
                    <a:gd name="connsiteY123" fmla="*/ 1251668 h 1282588"/>
                    <a:gd name="connsiteX124" fmla="*/ 107528 w 215788"/>
                    <a:gd name="connsiteY124" fmla="*/ 1251497 h 1282588"/>
                    <a:gd name="connsiteX125" fmla="*/ 111920 w 215788"/>
                    <a:gd name="connsiteY125" fmla="*/ 1251864 h 1282588"/>
                    <a:gd name="connsiteX126" fmla="*/ 114610 w 215788"/>
                    <a:gd name="connsiteY126" fmla="*/ 1252744 h 1282588"/>
                    <a:gd name="connsiteX127" fmla="*/ 117006 w 215788"/>
                    <a:gd name="connsiteY127" fmla="*/ 1252736 h 1282588"/>
                    <a:gd name="connsiteX128" fmla="*/ 107120 w 215788"/>
                    <a:gd name="connsiteY128" fmla="*/ 1221107 h 1282588"/>
                    <a:gd name="connsiteX129" fmla="*/ 112621 w 215788"/>
                    <a:gd name="connsiteY129" fmla="*/ 1224122 h 1282588"/>
                    <a:gd name="connsiteX130" fmla="*/ 116256 w 215788"/>
                    <a:gd name="connsiteY130" fmla="*/ 1224098 h 1282588"/>
                    <a:gd name="connsiteX131" fmla="*/ 116240 w 215788"/>
                    <a:gd name="connsiteY131" fmla="*/ 1225964 h 1282588"/>
                    <a:gd name="connsiteX132" fmla="*/ 116688 w 215788"/>
                    <a:gd name="connsiteY132" fmla="*/ 1229191 h 1282588"/>
                    <a:gd name="connsiteX133" fmla="*/ 116118 w 215788"/>
                    <a:gd name="connsiteY133" fmla="*/ 1230487 h 1282588"/>
                    <a:gd name="connsiteX134" fmla="*/ 114756 w 215788"/>
                    <a:gd name="connsiteY134" fmla="*/ 1231807 h 1282588"/>
                    <a:gd name="connsiteX135" fmla="*/ 113909 w 215788"/>
                    <a:gd name="connsiteY135" fmla="*/ 1233707 h 1282588"/>
                    <a:gd name="connsiteX136" fmla="*/ 113265 w 215788"/>
                    <a:gd name="connsiteY136" fmla="*/ 1234000 h 1282588"/>
                    <a:gd name="connsiteX137" fmla="*/ 109264 w 215788"/>
                    <a:gd name="connsiteY137" fmla="*/ 1231710 h 1282588"/>
                    <a:gd name="connsiteX138" fmla="*/ 105083 w 215788"/>
                    <a:gd name="connsiteY138" fmla="*/ 1228589 h 1282588"/>
                    <a:gd name="connsiteX139" fmla="*/ 102980 w 215788"/>
                    <a:gd name="connsiteY139" fmla="*/ 1229134 h 1282588"/>
                    <a:gd name="connsiteX140" fmla="*/ 100193 w 215788"/>
                    <a:gd name="connsiteY140" fmla="*/ 1228368 h 1282588"/>
                    <a:gd name="connsiteX141" fmla="*/ 97944 w 215788"/>
                    <a:gd name="connsiteY141" fmla="*/ 1228539 h 1282588"/>
                    <a:gd name="connsiteX142" fmla="*/ 96550 w 215788"/>
                    <a:gd name="connsiteY142" fmla="*/ 1230300 h 1282588"/>
                    <a:gd name="connsiteX143" fmla="*/ 93298 w 215788"/>
                    <a:gd name="connsiteY143" fmla="*/ 1231221 h 1282588"/>
                    <a:gd name="connsiteX144" fmla="*/ 92711 w 215788"/>
                    <a:gd name="connsiteY144" fmla="*/ 1227667 h 1282588"/>
                    <a:gd name="connsiteX145" fmla="*/ 89761 w 215788"/>
                    <a:gd name="connsiteY145" fmla="*/ 1224334 h 1282588"/>
                    <a:gd name="connsiteX146" fmla="*/ 86811 w 215788"/>
                    <a:gd name="connsiteY146" fmla="*/ 1221653 h 1282588"/>
                    <a:gd name="connsiteX147" fmla="*/ 88408 w 215788"/>
                    <a:gd name="connsiteY147" fmla="*/ 1217554 h 1282588"/>
                    <a:gd name="connsiteX148" fmla="*/ 90315 w 215788"/>
                    <a:gd name="connsiteY148" fmla="*/ 1216885 h 1282588"/>
                    <a:gd name="connsiteX149" fmla="*/ 92117 w 215788"/>
                    <a:gd name="connsiteY149" fmla="*/ 1215516 h 1282588"/>
                    <a:gd name="connsiteX150" fmla="*/ 99345 w 215788"/>
                    <a:gd name="connsiteY150" fmla="*/ 1216967 h 1282588"/>
                    <a:gd name="connsiteX151" fmla="*/ 103086 w 215788"/>
                    <a:gd name="connsiteY151" fmla="*/ 1218197 h 1282588"/>
                    <a:gd name="connsiteX152" fmla="*/ 107120 w 215788"/>
                    <a:gd name="connsiteY152" fmla="*/ 1221107 h 1282588"/>
                    <a:gd name="connsiteX153" fmla="*/ 69102 w 215788"/>
                    <a:gd name="connsiteY153" fmla="*/ 1200374 h 1282588"/>
                    <a:gd name="connsiteX154" fmla="*/ 69770 w 215788"/>
                    <a:gd name="connsiteY154" fmla="*/ 1203414 h 1282588"/>
                    <a:gd name="connsiteX155" fmla="*/ 70120 w 215788"/>
                    <a:gd name="connsiteY155" fmla="*/ 1204001 h 1282588"/>
                    <a:gd name="connsiteX156" fmla="*/ 71929 w 215788"/>
                    <a:gd name="connsiteY156" fmla="*/ 1203504 h 1282588"/>
                    <a:gd name="connsiteX157" fmla="*/ 75002 w 215788"/>
                    <a:gd name="connsiteY157" fmla="*/ 1203227 h 1282588"/>
                    <a:gd name="connsiteX158" fmla="*/ 80047 w 215788"/>
                    <a:gd name="connsiteY158" fmla="*/ 1204367 h 1282588"/>
                    <a:gd name="connsiteX159" fmla="*/ 80617 w 215788"/>
                    <a:gd name="connsiteY159" fmla="*/ 1204767 h 1282588"/>
                    <a:gd name="connsiteX160" fmla="*/ 82752 w 215788"/>
                    <a:gd name="connsiteY160" fmla="*/ 1208100 h 1282588"/>
                    <a:gd name="connsiteX161" fmla="*/ 84399 w 215788"/>
                    <a:gd name="connsiteY161" fmla="*/ 1209518 h 1282588"/>
                    <a:gd name="connsiteX162" fmla="*/ 86909 w 215788"/>
                    <a:gd name="connsiteY162" fmla="*/ 1212623 h 1282588"/>
                    <a:gd name="connsiteX163" fmla="*/ 84407 w 215788"/>
                    <a:gd name="connsiteY163" fmla="*/ 1214677 h 1282588"/>
                    <a:gd name="connsiteX164" fmla="*/ 82924 w 215788"/>
                    <a:gd name="connsiteY164" fmla="*/ 1217635 h 1282588"/>
                    <a:gd name="connsiteX165" fmla="*/ 82842 w 215788"/>
                    <a:gd name="connsiteY165" fmla="*/ 1219151 h 1282588"/>
                    <a:gd name="connsiteX166" fmla="*/ 81864 w 215788"/>
                    <a:gd name="connsiteY166" fmla="*/ 1220015 h 1282588"/>
                    <a:gd name="connsiteX167" fmla="*/ 80332 w 215788"/>
                    <a:gd name="connsiteY167" fmla="*/ 1220911 h 1282588"/>
                    <a:gd name="connsiteX168" fmla="*/ 78042 w 215788"/>
                    <a:gd name="connsiteY168" fmla="*/ 1222655 h 1282588"/>
                    <a:gd name="connsiteX169" fmla="*/ 75222 w 215788"/>
                    <a:gd name="connsiteY169" fmla="*/ 1222843 h 1282588"/>
                    <a:gd name="connsiteX170" fmla="*/ 72443 w 215788"/>
                    <a:gd name="connsiteY170" fmla="*/ 1223748 h 1282588"/>
                    <a:gd name="connsiteX171" fmla="*/ 71163 w 215788"/>
                    <a:gd name="connsiteY171" fmla="*/ 1224595 h 1282588"/>
                    <a:gd name="connsiteX172" fmla="*/ 70406 w 215788"/>
                    <a:gd name="connsiteY172" fmla="*/ 1224636 h 1282588"/>
                    <a:gd name="connsiteX173" fmla="*/ 69509 w 215788"/>
                    <a:gd name="connsiteY173" fmla="*/ 1224187 h 1282588"/>
                    <a:gd name="connsiteX174" fmla="*/ 68539 w 215788"/>
                    <a:gd name="connsiteY174" fmla="*/ 1223340 h 1282588"/>
                    <a:gd name="connsiteX175" fmla="*/ 68230 w 215788"/>
                    <a:gd name="connsiteY175" fmla="*/ 1222354 h 1282588"/>
                    <a:gd name="connsiteX176" fmla="*/ 70137 w 215788"/>
                    <a:gd name="connsiteY176" fmla="*/ 1221441 h 1282588"/>
                    <a:gd name="connsiteX177" fmla="*/ 72622 w 215788"/>
                    <a:gd name="connsiteY177" fmla="*/ 1218165 h 1282588"/>
                    <a:gd name="connsiteX178" fmla="*/ 73071 w 215788"/>
                    <a:gd name="connsiteY178" fmla="*/ 1214783 h 1282588"/>
                    <a:gd name="connsiteX179" fmla="*/ 70389 w 215788"/>
                    <a:gd name="connsiteY179" fmla="*/ 1214171 h 1282588"/>
                    <a:gd name="connsiteX180" fmla="*/ 68792 w 215788"/>
                    <a:gd name="connsiteY180" fmla="*/ 1214644 h 1282588"/>
                    <a:gd name="connsiteX181" fmla="*/ 67602 w 215788"/>
                    <a:gd name="connsiteY181" fmla="*/ 1214628 h 1282588"/>
                    <a:gd name="connsiteX182" fmla="*/ 66233 w 215788"/>
                    <a:gd name="connsiteY182" fmla="*/ 1213576 h 1282588"/>
                    <a:gd name="connsiteX183" fmla="*/ 65402 w 215788"/>
                    <a:gd name="connsiteY183" fmla="*/ 1215166 h 1282588"/>
                    <a:gd name="connsiteX184" fmla="*/ 65092 w 215788"/>
                    <a:gd name="connsiteY184" fmla="*/ 1216706 h 1282588"/>
                    <a:gd name="connsiteX185" fmla="*/ 65459 w 215788"/>
                    <a:gd name="connsiteY185" fmla="*/ 1219045 h 1282588"/>
                    <a:gd name="connsiteX186" fmla="*/ 65214 w 215788"/>
                    <a:gd name="connsiteY186" fmla="*/ 1219803 h 1282588"/>
                    <a:gd name="connsiteX187" fmla="*/ 64244 w 215788"/>
                    <a:gd name="connsiteY187" fmla="*/ 1220227 h 1282588"/>
                    <a:gd name="connsiteX188" fmla="*/ 61995 w 215788"/>
                    <a:gd name="connsiteY188" fmla="*/ 1219339 h 1282588"/>
                    <a:gd name="connsiteX189" fmla="*/ 59656 w 215788"/>
                    <a:gd name="connsiteY189" fmla="*/ 1217766 h 1282588"/>
                    <a:gd name="connsiteX190" fmla="*/ 59469 w 215788"/>
                    <a:gd name="connsiteY190" fmla="*/ 1216853 h 1282588"/>
                    <a:gd name="connsiteX191" fmla="*/ 59950 w 215788"/>
                    <a:gd name="connsiteY191" fmla="*/ 1213691 h 1282588"/>
                    <a:gd name="connsiteX192" fmla="*/ 59901 w 215788"/>
                    <a:gd name="connsiteY192" fmla="*/ 1212052 h 1282588"/>
                    <a:gd name="connsiteX193" fmla="*/ 59420 w 215788"/>
                    <a:gd name="connsiteY193" fmla="*/ 1209681 h 1282588"/>
                    <a:gd name="connsiteX194" fmla="*/ 59159 w 215788"/>
                    <a:gd name="connsiteY194" fmla="*/ 1209445 h 1282588"/>
                    <a:gd name="connsiteX195" fmla="*/ 58279 w 215788"/>
                    <a:gd name="connsiteY195" fmla="*/ 1209494 h 1282588"/>
                    <a:gd name="connsiteX196" fmla="*/ 55532 w 215788"/>
                    <a:gd name="connsiteY196" fmla="*/ 1209950 h 1282588"/>
                    <a:gd name="connsiteX197" fmla="*/ 52786 w 215788"/>
                    <a:gd name="connsiteY197" fmla="*/ 1206918 h 1282588"/>
                    <a:gd name="connsiteX198" fmla="*/ 51303 w 215788"/>
                    <a:gd name="connsiteY198" fmla="*/ 1203724 h 1282588"/>
                    <a:gd name="connsiteX199" fmla="*/ 46242 w 215788"/>
                    <a:gd name="connsiteY199" fmla="*/ 1202794 h 1282588"/>
                    <a:gd name="connsiteX200" fmla="*/ 50178 w 215788"/>
                    <a:gd name="connsiteY200" fmla="*/ 1198320 h 1282588"/>
                    <a:gd name="connsiteX201" fmla="*/ 56119 w 215788"/>
                    <a:gd name="connsiteY201" fmla="*/ 1197701 h 1282588"/>
                    <a:gd name="connsiteX202" fmla="*/ 58140 w 215788"/>
                    <a:gd name="connsiteY202" fmla="*/ 1199950 h 1282588"/>
                    <a:gd name="connsiteX203" fmla="*/ 64750 w 215788"/>
                    <a:gd name="connsiteY203" fmla="*/ 1201515 h 1282588"/>
                    <a:gd name="connsiteX204" fmla="*/ 64350 w 215788"/>
                    <a:gd name="connsiteY204" fmla="*/ 1199119 h 1282588"/>
                    <a:gd name="connsiteX205" fmla="*/ 64464 w 215788"/>
                    <a:gd name="connsiteY205" fmla="*/ 1198263 h 1282588"/>
                    <a:gd name="connsiteX206" fmla="*/ 65369 w 215788"/>
                    <a:gd name="connsiteY206" fmla="*/ 1197195 h 1282588"/>
                    <a:gd name="connsiteX207" fmla="*/ 65874 w 215788"/>
                    <a:gd name="connsiteY207" fmla="*/ 1197114 h 1282588"/>
                    <a:gd name="connsiteX208" fmla="*/ 66665 w 215788"/>
                    <a:gd name="connsiteY208" fmla="*/ 1197864 h 1282588"/>
                    <a:gd name="connsiteX209" fmla="*/ 67936 w 215788"/>
                    <a:gd name="connsiteY209" fmla="*/ 1198182 h 1282588"/>
                    <a:gd name="connsiteX210" fmla="*/ 68523 w 215788"/>
                    <a:gd name="connsiteY210" fmla="*/ 1198915 h 1282588"/>
                    <a:gd name="connsiteX211" fmla="*/ 69102 w 215788"/>
                    <a:gd name="connsiteY211" fmla="*/ 1200374 h 1282588"/>
                    <a:gd name="connsiteX212" fmla="*/ 32827 w 215788"/>
                    <a:gd name="connsiteY212" fmla="*/ 1179421 h 1282588"/>
                    <a:gd name="connsiteX213" fmla="*/ 33235 w 215788"/>
                    <a:gd name="connsiteY213" fmla="*/ 1179763 h 1282588"/>
                    <a:gd name="connsiteX214" fmla="*/ 34213 w 215788"/>
                    <a:gd name="connsiteY214" fmla="*/ 1179674 h 1282588"/>
                    <a:gd name="connsiteX215" fmla="*/ 35590 w 215788"/>
                    <a:gd name="connsiteY215" fmla="*/ 1180277 h 1282588"/>
                    <a:gd name="connsiteX216" fmla="*/ 40757 w 215788"/>
                    <a:gd name="connsiteY216" fmla="*/ 1181018 h 1282588"/>
                    <a:gd name="connsiteX217" fmla="*/ 45386 w 215788"/>
                    <a:gd name="connsiteY217" fmla="*/ 1182779 h 1282588"/>
                    <a:gd name="connsiteX218" fmla="*/ 47806 w 215788"/>
                    <a:gd name="connsiteY218" fmla="*/ 1184409 h 1282588"/>
                    <a:gd name="connsiteX219" fmla="*/ 50977 w 215788"/>
                    <a:gd name="connsiteY219" fmla="*/ 1184931 h 1282588"/>
                    <a:gd name="connsiteX220" fmla="*/ 53576 w 215788"/>
                    <a:gd name="connsiteY220" fmla="*/ 1187017 h 1282588"/>
                    <a:gd name="connsiteX221" fmla="*/ 54685 w 215788"/>
                    <a:gd name="connsiteY221" fmla="*/ 1187546 h 1282588"/>
                    <a:gd name="connsiteX222" fmla="*/ 56029 w 215788"/>
                    <a:gd name="connsiteY222" fmla="*/ 1187718 h 1282588"/>
                    <a:gd name="connsiteX223" fmla="*/ 59501 w 215788"/>
                    <a:gd name="connsiteY223" fmla="*/ 1191581 h 1282588"/>
                    <a:gd name="connsiteX224" fmla="*/ 59697 w 215788"/>
                    <a:gd name="connsiteY224" fmla="*/ 1192037 h 1282588"/>
                    <a:gd name="connsiteX225" fmla="*/ 63641 w 215788"/>
                    <a:gd name="connsiteY225" fmla="*/ 1195085 h 1282588"/>
                    <a:gd name="connsiteX226" fmla="*/ 63845 w 215788"/>
                    <a:gd name="connsiteY226" fmla="*/ 1195582 h 1282588"/>
                    <a:gd name="connsiteX227" fmla="*/ 61604 w 215788"/>
                    <a:gd name="connsiteY227" fmla="*/ 1195745 h 1282588"/>
                    <a:gd name="connsiteX228" fmla="*/ 57048 w 215788"/>
                    <a:gd name="connsiteY228" fmla="*/ 1194327 h 1282588"/>
                    <a:gd name="connsiteX229" fmla="*/ 54774 w 215788"/>
                    <a:gd name="connsiteY229" fmla="*/ 1194245 h 1282588"/>
                    <a:gd name="connsiteX230" fmla="*/ 53136 w 215788"/>
                    <a:gd name="connsiteY230" fmla="*/ 1193805 h 1282588"/>
                    <a:gd name="connsiteX231" fmla="*/ 52745 w 215788"/>
                    <a:gd name="connsiteY231" fmla="*/ 1193561 h 1282588"/>
                    <a:gd name="connsiteX232" fmla="*/ 52419 w 215788"/>
                    <a:gd name="connsiteY232" fmla="*/ 1191792 h 1282588"/>
                    <a:gd name="connsiteX233" fmla="*/ 51898 w 215788"/>
                    <a:gd name="connsiteY233" fmla="*/ 1190912 h 1282588"/>
                    <a:gd name="connsiteX234" fmla="*/ 47521 w 215788"/>
                    <a:gd name="connsiteY234" fmla="*/ 1186846 h 1282588"/>
                    <a:gd name="connsiteX235" fmla="*/ 45704 w 215788"/>
                    <a:gd name="connsiteY235" fmla="*/ 1185949 h 1282588"/>
                    <a:gd name="connsiteX236" fmla="*/ 42550 w 215788"/>
                    <a:gd name="connsiteY236" fmla="*/ 1185167 h 1282588"/>
                    <a:gd name="connsiteX237" fmla="*/ 38964 w 215788"/>
                    <a:gd name="connsiteY237" fmla="*/ 1185712 h 1282588"/>
                    <a:gd name="connsiteX238" fmla="*/ 36535 w 215788"/>
                    <a:gd name="connsiteY238" fmla="*/ 1185191 h 1282588"/>
                    <a:gd name="connsiteX239" fmla="*/ 35696 w 215788"/>
                    <a:gd name="connsiteY239" fmla="*/ 1185370 h 1282588"/>
                    <a:gd name="connsiteX240" fmla="*/ 32126 w 215788"/>
                    <a:gd name="connsiteY240" fmla="*/ 1182143 h 1282588"/>
                    <a:gd name="connsiteX241" fmla="*/ 28557 w 215788"/>
                    <a:gd name="connsiteY241" fmla="*/ 1179413 h 1282588"/>
                    <a:gd name="connsiteX242" fmla="*/ 27025 w 215788"/>
                    <a:gd name="connsiteY242" fmla="*/ 1176161 h 1282588"/>
                    <a:gd name="connsiteX243" fmla="*/ 24759 w 215788"/>
                    <a:gd name="connsiteY243" fmla="*/ 1173667 h 1282588"/>
                    <a:gd name="connsiteX244" fmla="*/ 24751 w 215788"/>
                    <a:gd name="connsiteY244" fmla="*/ 1172942 h 1282588"/>
                    <a:gd name="connsiteX245" fmla="*/ 25794 w 215788"/>
                    <a:gd name="connsiteY245" fmla="*/ 1172396 h 1282588"/>
                    <a:gd name="connsiteX246" fmla="*/ 28239 w 215788"/>
                    <a:gd name="connsiteY246" fmla="*/ 1173798 h 1282588"/>
                    <a:gd name="connsiteX247" fmla="*/ 30643 w 215788"/>
                    <a:gd name="connsiteY247" fmla="*/ 1176194 h 1282588"/>
                    <a:gd name="connsiteX248" fmla="*/ 31939 w 215788"/>
                    <a:gd name="connsiteY248" fmla="*/ 1177107 h 1282588"/>
                    <a:gd name="connsiteX249" fmla="*/ 32827 w 215788"/>
                    <a:gd name="connsiteY249" fmla="*/ 1179421 h 1282588"/>
                    <a:gd name="connsiteX250" fmla="*/ 162261 w 215788"/>
                    <a:gd name="connsiteY250" fmla="*/ 1169918 h 1282588"/>
                    <a:gd name="connsiteX251" fmla="*/ 164421 w 215788"/>
                    <a:gd name="connsiteY251" fmla="*/ 1170171 h 1282588"/>
                    <a:gd name="connsiteX252" fmla="*/ 171617 w 215788"/>
                    <a:gd name="connsiteY252" fmla="*/ 1166544 h 1282588"/>
                    <a:gd name="connsiteX253" fmla="*/ 172424 w 215788"/>
                    <a:gd name="connsiteY253" fmla="*/ 1166732 h 1282588"/>
                    <a:gd name="connsiteX254" fmla="*/ 174861 w 215788"/>
                    <a:gd name="connsiteY254" fmla="*/ 1168574 h 1282588"/>
                    <a:gd name="connsiteX255" fmla="*/ 175586 w 215788"/>
                    <a:gd name="connsiteY255" fmla="*/ 1169364 h 1282588"/>
                    <a:gd name="connsiteX256" fmla="*/ 175537 w 215788"/>
                    <a:gd name="connsiteY256" fmla="*/ 1180448 h 1282588"/>
                    <a:gd name="connsiteX257" fmla="*/ 175496 w 215788"/>
                    <a:gd name="connsiteY257" fmla="*/ 1191385 h 1282588"/>
                    <a:gd name="connsiteX258" fmla="*/ 175456 w 215788"/>
                    <a:gd name="connsiteY258" fmla="*/ 1201645 h 1282588"/>
                    <a:gd name="connsiteX259" fmla="*/ 175415 w 215788"/>
                    <a:gd name="connsiteY259" fmla="*/ 1211922 h 1282588"/>
                    <a:gd name="connsiteX260" fmla="*/ 175382 w 215788"/>
                    <a:gd name="connsiteY260" fmla="*/ 1221873 h 1282588"/>
                    <a:gd name="connsiteX261" fmla="*/ 175342 w 215788"/>
                    <a:gd name="connsiteY261" fmla="*/ 1232109 h 1282588"/>
                    <a:gd name="connsiteX262" fmla="*/ 175154 w 215788"/>
                    <a:gd name="connsiteY262" fmla="*/ 1243625 h 1282588"/>
                    <a:gd name="connsiteX263" fmla="*/ 175007 w 215788"/>
                    <a:gd name="connsiteY263" fmla="*/ 1252206 h 1282588"/>
                    <a:gd name="connsiteX264" fmla="*/ 171275 w 215788"/>
                    <a:gd name="connsiteY264" fmla="*/ 1252206 h 1282588"/>
                    <a:gd name="connsiteX265" fmla="*/ 170297 w 215788"/>
                    <a:gd name="connsiteY265" fmla="*/ 1253070 h 1282588"/>
                    <a:gd name="connsiteX266" fmla="*/ 164388 w 215788"/>
                    <a:gd name="connsiteY266" fmla="*/ 1254325 h 1282588"/>
                    <a:gd name="connsiteX267" fmla="*/ 154348 w 215788"/>
                    <a:gd name="connsiteY267" fmla="*/ 1252402 h 1282588"/>
                    <a:gd name="connsiteX268" fmla="*/ 151838 w 215788"/>
                    <a:gd name="connsiteY268" fmla="*/ 1250650 h 1282588"/>
                    <a:gd name="connsiteX269" fmla="*/ 148472 w 215788"/>
                    <a:gd name="connsiteY269" fmla="*/ 1246820 h 1282588"/>
                    <a:gd name="connsiteX270" fmla="*/ 147266 w 215788"/>
                    <a:gd name="connsiteY270" fmla="*/ 1247854 h 1282588"/>
                    <a:gd name="connsiteX271" fmla="*/ 144104 w 215788"/>
                    <a:gd name="connsiteY271" fmla="*/ 1249460 h 1282588"/>
                    <a:gd name="connsiteX272" fmla="*/ 140852 w 215788"/>
                    <a:gd name="connsiteY272" fmla="*/ 1250739 h 1282588"/>
                    <a:gd name="connsiteX273" fmla="*/ 138179 w 215788"/>
                    <a:gd name="connsiteY273" fmla="*/ 1250886 h 1282588"/>
                    <a:gd name="connsiteX274" fmla="*/ 135709 w 215788"/>
                    <a:gd name="connsiteY274" fmla="*/ 1249313 h 1282588"/>
                    <a:gd name="connsiteX275" fmla="*/ 135180 w 215788"/>
                    <a:gd name="connsiteY275" fmla="*/ 1248498 h 1282588"/>
                    <a:gd name="connsiteX276" fmla="*/ 134617 w 215788"/>
                    <a:gd name="connsiteY276" fmla="*/ 1248327 h 1282588"/>
                    <a:gd name="connsiteX277" fmla="*/ 129279 w 215788"/>
                    <a:gd name="connsiteY277" fmla="*/ 1250527 h 1282588"/>
                    <a:gd name="connsiteX278" fmla="*/ 123379 w 215788"/>
                    <a:gd name="connsiteY278" fmla="*/ 1248278 h 1282588"/>
                    <a:gd name="connsiteX279" fmla="*/ 118677 w 215788"/>
                    <a:gd name="connsiteY279" fmla="*/ 1246909 h 1282588"/>
                    <a:gd name="connsiteX280" fmla="*/ 111122 w 215788"/>
                    <a:gd name="connsiteY280" fmla="*/ 1246151 h 1282588"/>
                    <a:gd name="connsiteX281" fmla="*/ 105873 w 215788"/>
                    <a:gd name="connsiteY281" fmla="*/ 1243307 h 1282588"/>
                    <a:gd name="connsiteX282" fmla="*/ 96183 w 215788"/>
                    <a:gd name="connsiteY282" fmla="*/ 1243567 h 1282588"/>
                    <a:gd name="connsiteX283" fmla="*/ 94447 w 215788"/>
                    <a:gd name="connsiteY283" fmla="*/ 1242630 h 1282588"/>
                    <a:gd name="connsiteX284" fmla="*/ 93804 w 215788"/>
                    <a:gd name="connsiteY284" fmla="*/ 1239876 h 1282588"/>
                    <a:gd name="connsiteX285" fmla="*/ 94317 w 215788"/>
                    <a:gd name="connsiteY285" fmla="*/ 1238580 h 1282588"/>
                    <a:gd name="connsiteX286" fmla="*/ 96387 w 215788"/>
                    <a:gd name="connsiteY286" fmla="*/ 1237806 h 1282588"/>
                    <a:gd name="connsiteX287" fmla="*/ 96966 w 215788"/>
                    <a:gd name="connsiteY287" fmla="*/ 1236274 h 1282588"/>
                    <a:gd name="connsiteX288" fmla="*/ 99052 w 215788"/>
                    <a:gd name="connsiteY288" fmla="*/ 1236640 h 1282588"/>
                    <a:gd name="connsiteX289" fmla="*/ 101766 w 215788"/>
                    <a:gd name="connsiteY289" fmla="*/ 1238670 h 1282588"/>
                    <a:gd name="connsiteX290" fmla="*/ 102597 w 215788"/>
                    <a:gd name="connsiteY290" fmla="*/ 1238596 h 1282588"/>
                    <a:gd name="connsiteX291" fmla="*/ 104390 w 215788"/>
                    <a:gd name="connsiteY291" fmla="*/ 1236689 h 1282588"/>
                    <a:gd name="connsiteX292" fmla="*/ 107039 w 215788"/>
                    <a:gd name="connsiteY292" fmla="*/ 1235002 h 1282588"/>
                    <a:gd name="connsiteX293" fmla="*/ 107984 w 215788"/>
                    <a:gd name="connsiteY293" fmla="*/ 1234823 h 1282588"/>
                    <a:gd name="connsiteX294" fmla="*/ 112857 w 215788"/>
                    <a:gd name="connsiteY294" fmla="*/ 1236917 h 1282588"/>
                    <a:gd name="connsiteX295" fmla="*/ 114814 w 215788"/>
                    <a:gd name="connsiteY295" fmla="*/ 1236673 h 1282588"/>
                    <a:gd name="connsiteX296" fmla="*/ 117633 w 215788"/>
                    <a:gd name="connsiteY296" fmla="*/ 1235744 h 1282588"/>
                    <a:gd name="connsiteX297" fmla="*/ 118139 w 215788"/>
                    <a:gd name="connsiteY297" fmla="*/ 1234929 h 1282588"/>
                    <a:gd name="connsiteX298" fmla="*/ 118587 w 215788"/>
                    <a:gd name="connsiteY298" fmla="*/ 1233478 h 1282588"/>
                    <a:gd name="connsiteX299" fmla="*/ 119328 w 215788"/>
                    <a:gd name="connsiteY299" fmla="*/ 1232639 h 1282588"/>
                    <a:gd name="connsiteX300" fmla="*/ 121830 w 215788"/>
                    <a:gd name="connsiteY300" fmla="*/ 1232231 h 1282588"/>
                    <a:gd name="connsiteX301" fmla="*/ 124267 w 215788"/>
                    <a:gd name="connsiteY301" fmla="*/ 1233054 h 1282588"/>
                    <a:gd name="connsiteX302" fmla="*/ 124552 w 215788"/>
                    <a:gd name="connsiteY302" fmla="*/ 1235548 h 1282588"/>
                    <a:gd name="connsiteX303" fmla="*/ 124210 w 215788"/>
                    <a:gd name="connsiteY303" fmla="*/ 1238238 h 1282588"/>
                    <a:gd name="connsiteX304" fmla="*/ 127389 w 215788"/>
                    <a:gd name="connsiteY304" fmla="*/ 1238955 h 1282588"/>
                    <a:gd name="connsiteX305" fmla="*/ 131235 w 215788"/>
                    <a:gd name="connsiteY305" fmla="*/ 1238865 h 1282588"/>
                    <a:gd name="connsiteX306" fmla="*/ 133884 w 215788"/>
                    <a:gd name="connsiteY306" fmla="*/ 1239860 h 1282588"/>
                    <a:gd name="connsiteX307" fmla="*/ 134218 w 215788"/>
                    <a:gd name="connsiteY307" fmla="*/ 1238238 h 1282588"/>
                    <a:gd name="connsiteX308" fmla="*/ 129980 w 215788"/>
                    <a:gd name="connsiteY308" fmla="*/ 1233992 h 1282588"/>
                    <a:gd name="connsiteX309" fmla="*/ 128204 w 215788"/>
                    <a:gd name="connsiteY309" fmla="*/ 1231351 h 1282588"/>
                    <a:gd name="connsiteX310" fmla="*/ 125824 w 215788"/>
                    <a:gd name="connsiteY310" fmla="*/ 1229803 h 1282588"/>
                    <a:gd name="connsiteX311" fmla="*/ 122751 w 215788"/>
                    <a:gd name="connsiteY311" fmla="*/ 1229012 h 1282588"/>
                    <a:gd name="connsiteX312" fmla="*/ 120192 w 215788"/>
                    <a:gd name="connsiteY312" fmla="*/ 1224057 h 1282588"/>
                    <a:gd name="connsiteX313" fmla="*/ 120355 w 215788"/>
                    <a:gd name="connsiteY313" fmla="*/ 1219738 h 1282588"/>
                    <a:gd name="connsiteX314" fmla="*/ 120078 w 215788"/>
                    <a:gd name="connsiteY314" fmla="*/ 1215532 h 1282588"/>
                    <a:gd name="connsiteX315" fmla="*/ 125612 w 215788"/>
                    <a:gd name="connsiteY315" fmla="*/ 1213218 h 1282588"/>
                    <a:gd name="connsiteX316" fmla="*/ 124341 w 215788"/>
                    <a:gd name="connsiteY316" fmla="*/ 1209632 h 1282588"/>
                    <a:gd name="connsiteX317" fmla="*/ 126247 w 215788"/>
                    <a:gd name="connsiteY317" fmla="*/ 1206918 h 1282588"/>
                    <a:gd name="connsiteX318" fmla="*/ 128423 w 215788"/>
                    <a:gd name="connsiteY318" fmla="*/ 1205875 h 1282588"/>
                    <a:gd name="connsiteX319" fmla="*/ 130608 w 215788"/>
                    <a:gd name="connsiteY319" fmla="*/ 1215883 h 1282588"/>
                    <a:gd name="connsiteX320" fmla="*/ 132180 w 215788"/>
                    <a:gd name="connsiteY320" fmla="*/ 1219395 h 1282588"/>
                    <a:gd name="connsiteX321" fmla="*/ 130176 w 215788"/>
                    <a:gd name="connsiteY321" fmla="*/ 1220113 h 1282588"/>
                    <a:gd name="connsiteX322" fmla="*/ 125979 w 215788"/>
                    <a:gd name="connsiteY322" fmla="*/ 1220113 h 1282588"/>
                    <a:gd name="connsiteX323" fmla="*/ 128326 w 215788"/>
                    <a:gd name="connsiteY323" fmla="*/ 1225043 h 1282588"/>
                    <a:gd name="connsiteX324" fmla="*/ 132180 w 215788"/>
                    <a:gd name="connsiteY324" fmla="*/ 1226714 h 1282588"/>
                    <a:gd name="connsiteX325" fmla="*/ 135498 w 215788"/>
                    <a:gd name="connsiteY325" fmla="*/ 1230381 h 1282588"/>
                    <a:gd name="connsiteX326" fmla="*/ 135571 w 215788"/>
                    <a:gd name="connsiteY326" fmla="*/ 1233022 h 1282588"/>
                    <a:gd name="connsiteX327" fmla="*/ 137413 w 215788"/>
                    <a:gd name="connsiteY327" fmla="*/ 1234212 h 1282588"/>
                    <a:gd name="connsiteX328" fmla="*/ 141846 w 215788"/>
                    <a:gd name="connsiteY328" fmla="*/ 1234301 h 1282588"/>
                    <a:gd name="connsiteX329" fmla="*/ 144902 w 215788"/>
                    <a:gd name="connsiteY329" fmla="*/ 1233772 h 1282588"/>
                    <a:gd name="connsiteX330" fmla="*/ 146337 w 215788"/>
                    <a:gd name="connsiteY330" fmla="*/ 1232019 h 1282588"/>
                    <a:gd name="connsiteX331" fmla="*/ 148007 w 215788"/>
                    <a:gd name="connsiteY331" fmla="*/ 1231449 h 1282588"/>
                    <a:gd name="connsiteX332" fmla="*/ 150990 w 215788"/>
                    <a:gd name="connsiteY332" fmla="*/ 1233649 h 1282588"/>
                    <a:gd name="connsiteX333" fmla="*/ 156010 w 215788"/>
                    <a:gd name="connsiteY333" fmla="*/ 1235287 h 1282588"/>
                    <a:gd name="connsiteX334" fmla="*/ 157363 w 215788"/>
                    <a:gd name="connsiteY334" fmla="*/ 1236445 h 1282588"/>
                    <a:gd name="connsiteX335" fmla="*/ 158349 w 215788"/>
                    <a:gd name="connsiteY335" fmla="*/ 1238360 h 1282588"/>
                    <a:gd name="connsiteX336" fmla="*/ 158415 w 215788"/>
                    <a:gd name="connsiteY336" fmla="*/ 1240414 h 1282588"/>
                    <a:gd name="connsiteX337" fmla="*/ 158675 w 215788"/>
                    <a:gd name="connsiteY337" fmla="*/ 1241514 h 1282588"/>
                    <a:gd name="connsiteX338" fmla="*/ 160134 w 215788"/>
                    <a:gd name="connsiteY338" fmla="*/ 1240984 h 1282588"/>
                    <a:gd name="connsiteX339" fmla="*/ 162220 w 215788"/>
                    <a:gd name="connsiteY339" fmla="*/ 1238164 h 1282588"/>
                    <a:gd name="connsiteX340" fmla="*/ 163239 w 215788"/>
                    <a:gd name="connsiteY340" fmla="*/ 1237194 h 1282588"/>
                    <a:gd name="connsiteX341" fmla="*/ 164494 w 215788"/>
                    <a:gd name="connsiteY341" fmla="*/ 1236722 h 1282588"/>
                    <a:gd name="connsiteX342" fmla="*/ 165285 w 215788"/>
                    <a:gd name="connsiteY342" fmla="*/ 1236103 h 1282588"/>
                    <a:gd name="connsiteX343" fmla="*/ 165309 w 215788"/>
                    <a:gd name="connsiteY343" fmla="*/ 1235263 h 1282588"/>
                    <a:gd name="connsiteX344" fmla="*/ 161552 w 215788"/>
                    <a:gd name="connsiteY344" fmla="*/ 1233291 h 1282588"/>
                    <a:gd name="connsiteX345" fmla="*/ 141895 w 215788"/>
                    <a:gd name="connsiteY345" fmla="*/ 1224016 h 1282588"/>
                    <a:gd name="connsiteX346" fmla="*/ 139475 w 215788"/>
                    <a:gd name="connsiteY346" fmla="*/ 1220324 h 1282588"/>
                    <a:gd name="connsiteX347" fmla="*/ 137853 w 215788"/>
                    <a:gd name="connsiteY347" fmla="*/ 1215687 h 1282588"/>
                    <a:gd name="connsiteX348" fmla="*/ 137910 w 215788"/>
                    <a:gd name="connsiteY348" fmla="*/ 1210903 h 1282588"/>
                    <a:gd name="connsiteX349" fmla="*/ 139344 w 215788"/>
                    <a:gd name="connsiteY349" fmla="*/ 1209420 h 1282588"/>
                    <a:gd name="connsiteX350" fmla="*/ 142849 w 215788"/>
                    <a:gd name="connsiteY350" fmla="*/ 1207529 h 1282588"/>
                    <a:gd name="connsiteX351" fmla="*/ 149303 w 215788"/>
                    <a:gd name="connsiteY351" fmla="*/ 1204881 h 1282588"/>
                    <a:gd name="connsiteX352" fmla="*/ 156736 w 215788"/>
                    <a:gd name="connsiteY352" fmla="*/ 1201075 h 1282588"/>
                    <a:gd name="connsiteX353" fmla="*/ 157665 w 215788"/>
                    <a:gd name="connsiteY353" fmla="*/ 1200342 h 1282588"/>
                    <a:gd name="connsiteX354" fmla="*/ 157575 w 215788"/>
                    <a:gd name="connsiteY354" fmla="*/ 1197953 h 1282588"/>
                    <a:gd name="connsiteX355" fmla="*/ 156646 w 215788"/>
                    <a:gd name="connsiteY355" fmla="*/ 1196340 h 1282588"/>
                    <a:gd name="connsiteX356" fmla="*/ 153688 w 215788"/>
                    <a:gd name="connsiteY356" fmla="*/ 1195158 h 1282588"/>
                    <a:gd name="connsiteX357" fmla="*/ 150607 w 215788"/>
                    <a:gd name="connsiteY357" fmla="*/ 1194873 h 1282588"/>
                    <a:gd name="connsiteX358" fmla="*/ 147665 w 215788"/>
                    <a:gd name="connsiteY358" fmla="*/ 1194979 h 1282588"/>
                    <a:gd name="connsiteX359" fmla="*/ 144731 w 215788"/>
                    <a:gd name="connsiteY359" fmla="*/ 1195484 h 1282588"/>
                    <a:gd name="connsiteX360" fmla="*/ 139369 w 215788"/>
                    <a:gd name="connsiteY360" fmla="*/ 1198027 h 1282588"/>
                    <a:gd name="connsiteX361" fmla="*/ 136329 w 215788"/>
                    <a:gd name="connsiteY361" fmla="*/ 1197864 h 1282588"/>
                    <a:gd name="connsiteX362" fmla="*/ 133444 w 215788"/>
                    <a:gd name="connsiteY362" fmla="*/ 1196503 h 1282588"/>
                    <a:gd name="connsiteX363" fmla="*/ 131300 w 215788"/>
                    <a:gd name="connsiteY363" fmla="*/ 1193781 h 1282588"/>
                    <a:gd name="connsiteX364" fmla="*/ 130200 w 215788"/>
                    <a:gd name="connsiteY364" fmla="*/ 1190081 h 1282588"/>
                    <a:gd name="connsiteX365" fmla="*/ 130200 w 215788"/>
                    <a:gd name="connsiteY365" fmla="*/ 1187726 h 1282588"/>
                    <a:gd name="connsiteX366" fmla="*/ 130616 w 215788"/>
                    <a:gd name="connsiteY366" fmla="*/ 1185558 h 1282588"/>
                    <a:gd name="connsiteX367" fmla="*/ 131920 w 215788"/>
                    <a:gd name="connsiteY367" fmla="*/ 1183349 h 1282588"/>
                    <a:gd name="connsiteX368" fmla="*/ 133672 w 215788"/>
                    <a:gd name="connsiteY368" fmla="*/ 1182396 h 1282588"/>
                    <a:gd name="connsiteX369" fmla="*/ 135245 w 215788"/>
                    <a:gd name="connsiteY369" fmla="*/ 1182518 h 1282588"/>
                    <a:gd name="connsiteX370" fmla="*/ 136728 w 215788"/>
                    <a:gd name="connsiteY370" fmla="*/ 1182005 h 1282588"/>
                    <a:gd name="connsiteX371" fmla="*/ 137617 w 215788"/>
                    <a:gd name="connsiteY371" fmla="*/ 1181255 h 1282588"/>
                    <a:gd name="connsiteX372" fmla="*/ 138366 w 215788"/>
                    <a:gd name="connsiteY372" fmla="*/ 1180236 h 1282588"/>
                    <a:gd name="connsiteX373" fmla="*/ 138138 w 215788"/>
                    <a:gd name="connsiteY373" fmla="*/ 1179364 h 1282588"/>
                    <a:gd name="connsiteX374" fmla="*/ 137559 w 215788"/>
                    <a:gd name="connsiteY374" fmla="*/ 1178598 h 1282588"/>
                    <a:gd name="connsiteX375" fmla="*/ 135171 w 215788"/>
                    <a:gd name="connsiteY375" fmla="*/ 1177041 h 1282588"/>
                    <a:gd name="connsiteX376" fmla="*/ 134226 w 215788"/>
                    <a:gd name="connsiteY376" fmla="*/ 1175534 h 1282588"/>
                    <a:gd name="connsiteX377" fmla="*/ 132173 w 215788"/>
                    <a:gd name="connsiteY377" fmla="*/ 1173105 h 1282588"/>
                    <a:gd name="connsiteX378" fmla="*/ 133289 w 215788"/>
                    <a:gd name="connsiteY378" fmla="*/ 1172437 h 1282588"/>
                    <a:gd name="connsiteX379" fmla="*/ 136883 w 215788"/>
                    <a:gd name="connsiteY379" fmla="*/ 1172062 h 1282588"/>
                    <a:gd name="connsiteX380" fmla="*/ 139409 w 215788"/>
                    <a:gd name="connsiteY380" fmla="*/ 1173733 h 1282588"/>
                    <a:gd name="connsiteX381" fmla="*/ 141757 w 215788"/>
                    <a:gd name="connsiteY381" fmla="*/ 1175696 h 1282588"/>
                    <a:gd name="connsiteX382" fmla="*/ 143191 w 215788"/>
                    <a:gd name="connsiteY382" fmla="*/ 1175688 h 1282588"/>
                    <a:gd name="connsiteX383" fmla="*/ 144495 w 215788"/>
                    <a:gd name="connsiteY383" fmla="*/ 1174865 h 1282588"/>
                    <a:gd name="connsiteX384" fmla="*/ 147461 w 215788"/>
                    <a:gd name="connsiteY384" fmla="*/ 1172339 h 1282588"/>
                    <a:gd name="connsiteX385" fmla="*/ 149955 w 215788"/>
                    <a:gd name="connsiteY385" fmla="*/ 1169160 h 1282588"/>
                    <a:gd name="connsiteX386" fmla="*/ 152213 w 215788"/>
                    <a:gd name="connsiteY386" fmla="*/ 1165550 h 1282588"/>
                    <a:gd name="connsiteX387" fmla="*/ 154038 w 215788"/>
                    <a:gd name="connsiteY387" fmla="*/ 1163391 h 1282588"/>
                    <a:gd name="connsiteX388" fmla="*/ 156132 w 215788"/>
                    <a:gd name="connsiteY388" fmla="*/ 1163195 h 1282588"/>
                    <a:gd name="connsiteX389" fmla="*/ 162261 w 215788"/>
                    <a:gd name="connsiteY389" fmla="*/ 1169918 h 1282588"/>
                    <a:gd name="connsiteX390" fmla="*/ 21980 w 215788"/>
                    <a:gd name="connsiteY390" fmla="*/ 1131427 h 1282588"/>
                    <a:gd name="connsiteX391" fmla="*/ 23039 w 215788"/>
                    <a:gd name="connsiteY391" fmla="*/ 1138624 h 1282588"/>
                    <a:gd name="connsiteX392" fmla="*/ 23797 w 215788"/>
                    <a:gd name="connsiteY392" fmla="*/ 1139618 h 1282588"/>
                    <a:gd name="connsiteX393" fmla="*/ 26340 w 215788"/>
                    <a:gd name="connsiteY393" fmla="*/ 1140147 h 1282588"/>
                    <a:gd name="connsiteX394" fmla="*/ 29078 w 215788"/>
                    <a:gd name="connsiteY394" fmla="*/ 1143815 h 1282588"/>
                    <a:gd name="connsiteX395" fmla="*/ 29209 w 215788"/>
                    <a:gd name="connsiteY395" fmla="*/ 1144793 h 1282588"/>
                    <a:gd name="connsiteX396" fmla="*/ 25884 w 215788"/>
                    <a:gd name="connsiteY396" fmla="*/ 1151044 h 1282588"/>
                    <a:gd name="connsiteX397" fmla="*/ 25183 w 215788"/>
                    <a:gd name="connsiteY397" fmla="*/ 1155469 h 1282588"/>
                    <a:gd name="connsiteX398" fmla="*/ 21279 w 215788"/>
                    <a:gd name="connsiteY398" fmla="*/ 1155143 h 1282588"/>
                    <a:gd name="connsiteX399" fmla="*/ 19649 w 215788"/>
                    <a:gd name="connsiteY399" fmla="*/ 1150758 h 1282588"/>
                    <a:gd name="connsiteX400" fmla="*/ 17180 w 215788"/>
                    <a:gd name="connsiteY400" fmla="*/ 1146512 h 1282588"/>
                    <a:gd name="connsiteX401" fmla="*/ 16348 w 215788"/>
                    <a:gd name="connsiteY401" fmla="*/ 1141541 h 1282588"/>
                    <a:gd name="connsiteX402" fmla="*/ 14987 w 215788"/>
                    <a:gd name="connsiteY402" fmla="*/ 1137287 h 1282588"/>
                    <a:gd name="connsiteX403" fmla="*/ 17400 w 215788"/>
                    <a:gd name="connsiteY403" fmla="*/ 1134875 h 1282588"/>
                    <a:gd name="connsiteX404" fmla="*/ 19706 w 215788"/>
                    <a:gd name="connsiteY404" fmla="*/ 1135412 h 1282588"/>
                    <a:gd name="connsiteX405" fmla="*/ 19845 w 215788"/>
                    <a:gd name="connsiteY405" fmla="*/ 1132161 h 1282588"/>
                    <a:gd name="connsiteX406" fmla="*/ 21980 w 215788"/>
                    <a:gd name="connsiteY406" fmla="*/ 1131427 h 1282588"/>
                    <a:gd name="connsiteX407" fmla="*/ 30586 w 215788"/>
                    <a:gd name="connsiteY407" fmla="*/ 1040647 h 1282588"/>
                    <a:gd name="connsiteX408" fmla="*/ 30814 w 215788"/>
                    <a:gd name="connsiteY408" fmla="*/ 1045953 h 1282588"/>
                    <a:gd name="connsiteX409" fmla="*/ 30399 w 215788"/>
                    <a:gd name="connsiteY409" fmla="*/ 1051299 h 1282588"/>
                    <a:gd name="connsiteX410" fmla="*/ 29445 w 215788"/>
                    <a:gd name="connsiteY410" fmla="*/ 1057876 h 1282588"/>
                    <a:gd name="connsiteX411" fmla="*/ 29608 w 215788"/>
                    <a:gd name="connsiteY411" fmla="*/ 1059205 h 1282588"/>
                    <a:gd name="connsiteX412" fmla="*/ 30724 w 215788"/>
                    <a:gd name="connsiteY412" fmla="*/ 1059538 h 1282588"/>
                    <a:gd name="connsiteX413" fmla="*/ 31026 w 215788"/>
                    <a:gd name="connsiteY413" fmla="*/ 1060354 h 1282588"/>
                    <a:gd name="connsiteX414" fmla="*/ 30700 w 215788"/>
                    <a:gd name="connsiteY414" fmla="*/ 1063825 h 1282588"/>
                    <a:gd name="connsiteX415" fmla="*/ 30097 w 215788"/>
                    <a:gd name="connsiteY415" fmla="*/ 1066474 h 1282588"/>
                    <a:gd name="connsiteX416" fmla="*/ 28940 w 215788"/>
                    <a:gd name="connsiteY416" fmla="*/ 1068658 h 1282588"/>
                    <a:gd name="connsiteX417" fmla="*/ 28263 w 215788"/>
                    <a:gd name="connsiteY417" fmla="*/ 1071258 h 1282588"/>
                    <a:gd name="connsiteX418" fmla="*/ 27652 w 215788"/>
                    <a:gd name="connsiteY418" fmla="*/ 1071845 h 1282588"/>
                    <a:gd name="connsiteX419" fmla="*/ 24955 w 215788"/>
                    <a:gd name="connsiteY419" fmla="*/ 1072309 h 1282588"/>
                    <a:gd name="connsiteX420" fmla="*/ 23471 w 215788"/>
                    <a:gd name="connsiteY420" fmla="*/ 1072016 h 1282588"/>
                    <a:gd name="connsiteX421" fmla="*/ 22290 w 215788"/>
                    <a:gd name="connsiteY421" fmla="*/ 1069041 h 1282588"/>
                    <a:gd name="connsiteX422" fmla="*/ 21947 w 215788"/>
                    <a:gd name="connsiteY422" fmla="*/ 1067208 h 1282588"/>
                    <a:gd name="connsiteX423" fmla="*/ 22012 w 215788"/>
                    <a:gd name="connsiteY423" fmla="*/ 1064828 h 1282588"/>
                    <a:gd name="connsiteX424" fmla="*/ 20562 w 215788"/>
                    <a:gd name="connsiteY424" fmla="*/ 1061609 h 1282588"/>
                    <a:gd name="connsiteX425" fmla="*/ 20513 w 215788"/>
                    <a:gd name="connsiteY425" fmla="*/ 1060402 h 1282588"/>
                    <a:gd name="connsiteX426" fmla="*/ 21083 w 215788"/>
                    <a:gd name="connsiteY426" fmla="*/ 1058283 h 1282588"/>
                    <a:gd name="connsiteX427" fmla="*/ 22265 w 215788"/>
                    <a:gd name="connsiteY427" fmla="*/ 1057232 h 1282588"/>
                    <a:gd name="connsiteX428" fmla="*/ 22436 w 215788"/>
                    <a:gd name="connsiteY428" fmla="*/ 1053997 h 1282588"/>
                    <a:gd name="connsiteX429" fmla="*/ 23031 w 215788"/>
                    <a:gd name="connsiteY429" fmla="*/ 1053027 h 1282588"/>
                    <a:gd name="connsiteX430" fmla="*/ 24368 w 215788"/>
                    <a:gd name="connsiteY430" fmla="*/ 1051691 h 1282588"/>
                    <a:gd name="connsiteX431" fmla="*/ 24572 w 215788"/>
                    <a:gd name="connsiteY431" fmla="*/ 1051136 h 1282588"/>
                    <a:gd name="connsiteX432" fmla="*/ 24441 w 215788"/>
                    <a:gd name="connsiteY432" fmla="*/ 1050647 h 1282588"/>
                    <a:gd name="connsiteX433" fmla="*/ 23944 w 215788"/>
                    <a:gd name="connsiteY433" fmla="*/ 1050598 h 1282588"/>
                    <a:gd name="connsiteX434" fmla="*/ 18581 w 215788"/>
                    <a:gd name="connsiteY434" fmla="*/ 1054616 h 1282588"/>
                    <a:gd name="connsiteX435" fmla="*/ 18060 w 215788"/>
                    <a:gd name="connsiteY435" fmla="*/ 1055741 h 1282588"/>
                    <a:gd name="connsiteX436" fmla="*/ 17832 w 215788"/>
                    <a:gd name="connsiteY436" fmla="*/ 1057257 h 1282588"/>
                    <a:gd name="connsiteX437" fmla="*/ 17758 w 215788"/>
                    <a:gd name="connsiteY437" fmla="*/ 1062570 h 1282588"/>
                    <a:gd name="connsiteX438" fmla="*/ 16813 w 215788"/>
                    <a:gd name="connsiteY438" fmla="*/ 1065643 h 1282588"/>
                    <a:gd name="connsiteX439" fmla="*/ 15957 w 215788"/>
                    <a:gd name="connsiteY439" fmla="*/ 1066221 h 1282588"/>
                    <a:gd name="connsiteX440" fmla="*/ 13455 w 215788"/>
                    <a:gd name="connsiteY440" fmla="*/ 1066360 h 1282588"/>
                    <a:gd name="connsiteX441" fmla="*/ 10155 w 215788"/>
                    <a:gd name="connsiteY441" fmla="*/ 1066050 h 1282588"/>
                    <a:gd name="connsiteX442" fmla="*/ 6414 w 215788"/>
                    <a:gd name="connsiteY442" fmla="*/ 1063239 h 1282588"/>
                    <a:gd name="connsiteX443" fmla="*/ 3969 w 215788"/>
                    <a:gd name="connsiteY443" fmla="*/ 1064005 h 1282588"/>
                    <a:gd name="connsiteX444" fmla="*/ 3464 w 215788"/>
                    <a:gd name="connsiteY444" fmla="*/ 1060573 h 1282588"/>
                    <a:gd name="connsiteX445" fmla="*/ 4686 w 215788"/>
                    <a:gd name="connsiteY445" fmla="*/ 1057835 h 1282588"/>
                    <a:gd name="connsiteX446" fmla="*/ 9242 w 215788"/>
                    <a:gd name="connsiteY446" fmla="*/ 1058071 h 1282588"/>
                    <a:gd name="connsiteX447" fmla="*/ 10016 w 215788"/>
                    <a:gd name="connsiteY447" fmla="*/ 1053190 h 1282588"/>
                    <a:gd name="connsiteX448" fmla="*/ 8574 w 215788"/>
                    <a:gd name="connsiteY448" fmla="*/ 1052049 h 1282588"/>
                    <a:gd name="connsiteX449" fmla="*/ 6968 w 215788"/>
                    <a:gd name="connsiteY449" fmla="*/ 1050076 h 1282588"/>
                    <a:gd name="connsiteX450" fmla="*/ 6006 w 215788"/>
                    <a:gd name="connsiteY450" fmla="*/ 1048284 h 1282588"/>
                    <a:gd name="connsiteX451" fmla="*/ 6854 w 215788"/>
                    <a:gd name="connsiteY451" fmla="*/ 1046947 h 1282588"/>
                    <a:gd name="connsiteX452" fmla="*/ 9495 w 215788"/>
                    <a:gd name="connsiteY452" fmla="*/ 1045024 h 1282588"/>
                    <a:gd name="connsiteX453" fmla="*/ 10904 w 215788"/>
                    <a:gd name="connsiteY453" fmla="*/ 1044812 h 1282588"/>
                    <a:gd name="connsiteX454" fmla="*/ 12216 w 215788"/>
                    <a:gd name="connsiteY454" fmla="*/ 1045896 h 1282588"/>
                    <a:gd name="connsiteX455" fmla="*/ 15460 w 215788"/>
                    <a:gd name="connsiteY455" fmla="*/ 1045081 h 1282588"/>
                    <a:gd name="connsiteX456" fmla="*/ 15273 w 215788"/>
                    <a:gd name="connsiteY456" fmla="*/ 1042000 h 1282588"/>
                    <a:gd name="connsiteX457" fmla="*/ 12388 w 215788"/>
                    <a:gd name="connsiteY457" fmla="*/ 1040656 h 1282588"/>
                    <a:gd name="connsiteX458" fmla="*/ 13031 w 215788"/>
                    <a:gd name="connsiteY458" fmla="*/ 1038325 h 1282588"/>
                    <a:gd name="connsiteX459" fmla="*/ 16674 w 215788"/>
                    <a:gd name="connsiteY459" fmla="*/ 1036108 h 1282588"/>
                    <a:gd name="connsiteX460" fmla="*/ 18858 w 215788"/>
                    <a:gd name="connsiteY460" fmla="*/ 1033858 h 1282588"/>
                    <a:gd name="connsiteX461" fmla="*/ 18956 w 215788"/>
                    <a:gd name="connsiteY461" fmla="*/ 1031316 h 1282588"/>
                    <a:gd name="connsiteX462" fmla="*/ 18076 w 215788"/>
                    <a:gd name="connsiteY462" fmla="*/ 1028765 h 1282588"/>
                    <a:gd name="connsiteX463" fmla="*/ 18353 w 215788"/>
                    <a:gd name="connsiteY463" fmla="*/ 1027779 h 1282588"/>
                    <a:gd name="connsiteX464" fmla="*/ 20171 w 215788"/>
                    <a:gd name="connsiteY464" fmla="*/ 1025668 h 1282588"/>
                    <a:gd name="connsiteX465" fmla="*/ 22713 w 215788"/>
                    <a:gd name="connsiteY465" fmla="*/ 1024658 h 1282588"/>
                    <a:gd name="connsiteX466" fmla="*/ 23879 w 215788"/>
                    <a:gd name="connsiteY466" fmla="*/ 1024796 h 1282588"/>
                    <a:gd name="connsiteX467" fmla="*/ 26242 w 215788"/>
                    <a:gd name="connsiteY467" fmla="*/ 1026288 h 1282588"/>
                    <a:gd name="connsiteX468" fmla="*/ 28345 w 215788"/>
                    <a:gd name="connsiteY468" fmla="*/ 1026459 h 1282588"/>
                    <a:gd name="connsiteX469" fmla="*/ 28850 w 215788"/>
                    <a:gd name="connsiteY469" fmla="*/ 1026899 h 1282588"/>
                    <a:gd name="connsiteX470" fmla="*/ 29225 w 215788"/>
                    <a:gd name="connsiteY470" fmla="*/ 1028545 h 1282588"/>
                    <a:gd name="connsiteX471" fmla="*/ 30586 w 215788"/>
                    <a:gd name="connsiteY471" fmla="*/ 1040647 h 1282588"/>
                    <a:gd name="connsiteX472" fmla="*/ 4931 w 215788"/>
                    <a:gd name="connsiteY472" fmla="*/ 1026760 h 1282588"/>
                    <a:gd name="connsiteX473" fmla="*/ 2143 w 215788"/>
                    <a:gd name="connsiteY473" fmla="*/ 1026801 h 1282588"/>
                    <a:gd name="connsiteX474" fmla="*/ 1443 w 215788"/>
                    <a:gd name="connsiteY474" fmla="*/ 1020371 h 1282588"/>
                    <a:gd name="connsiteX475" fmla="*/ 4735 w 215788"/>
                    <a:gd name="connsiteY475" fmla="*/ 1011097 h 1282588"/>
                    <a:gd name="connsiteX476" fmla="*/ 4963 w 215788"/>
                    <a:gd name="connsiteY476" fmla="*/ 1007559 h 1282588"/>
                    <a:gd name="connsiteX477" fmla="*/ 3863 w 215788"/>
                    <a:gd name="connsiteY477" fmla="*/ 1004911 h 1282588"/>
                    <a:gd name="connsiteX478" fmla="*/ 3415 w 215788"/>
                    <a:gd name="connsiteY478" fmla="*/ 1002711 h 1282588"/>
                    <a:gd name="connsiteX479" fmla="*/ 3675 w 215788"/>
                    <a:gd name="connsiteY479" fmla="*/ 1001830 h 1282588"/>
                    <a:gd name="connsiteX480" fmla="*/ 7881 w 215788"/>
                    <a:gd name="connsiteY480" fmla="*/ 999988 h 1282588"/>
                    <a:gd name="connsiteX481" fmla="*/ 9193 w 215788"/>
                    <a:gd name="connsiteY481" fmla="*/ 1001928 h 1282588"/>
                    <a:gd name="connsiteX482" fmla="*/ 10749 w 215788"/>
                    <a:gd name="connsiteY482" fmla="*/ 1007119 h 1282588"/>
                    <a:gd name="connsiteX483" fmla="*/ 13724 w 215788"/>
                    <a:gd name="connsiteY483" fmla="*/ 1014552 h 1282588"/>
                    <a:gd name="connsiteX484" fmla="*/ 13651 w 215788"/>
                    <a:gd name="connsiteY484" fmla="*/ 1021667 h 1282588"/>
                    <a:gd name="connsiteX485" fmla="*/ 11997 w 215788"/>
                    <a:gd name="connsiteY485" fmla="*/ 1023419 h 1282588"/>
                    <a:gd name="connsiteX486" fmla="*/ 6813 w 215788"/>
                    <a:gd name="connsiteY486" fmla="*/ 1025228 h 1282588"/>
                    <a:gd name="connsiteX487" fmla="*/ 4931 w 215788"/>
                    <a:gd name="connsiteY487" fmla="*/ 1026760 h 1282588"/>
                    <a:gd name="connsiteX488" fmla="*/ 28320 w 215788"/>
                    <a:gd name="connsiteY488" fmla="*/ 1020574 h 1282588"/>
                    <a:gd name="connsiteX489" fmla="*/ 27848 w 215788"/>
                    <a:gd name="connsiteY489" fmla="*/ 1021422 h 1282588"/>
                    <a:gd name="connsiteX490" fmla="*/ 24791 w 215788"/>
                    <a:gd name="connsiteY490" fmla="*/ 1020909 h 1282588"/>
                    <a:gd name="connsiteX491" fmla="*/ 19494 w 215788"/>
                    <a:gd name="connsiteY491" fmla="*/ 1021813 h 1282588"/>
                    <a:gd name="connsiteX492" fmla="*/ 17269 w 215788"/>
                    <a:gd name="connsiteY492" fmla="*/ 1018545 h 1282588"/>
                    <a:gd name="connsiteX493" fmla="*/ 16291 w 215788"/>
                    <a:gd name="connsiteY493" fmla="*/ 1013354 h 1282588"/>
                    <a:gd name="connsiteX494" fmla="*/ 15623 w 215788"/>
                    <a:gd name="connsiteY494" fmla="*/ 1012278 h 1282588"/>
                    <a:gd name="connsiteX495" fmla="*/ 14311 w 215788"/>
                    <a:gd name="connsiteY495" fmla="*/ 1009320 h 1282588"/>
                    <a:gd name="connsiteX496" fmla="*/ 13651 w 215788"/>
                    <a:gd name="connsiteY496" fmla="*/ 1007380 h 1282588"/>
                    <a:gd name="connsiteX497" fmla="*/ 12298 w 215788"/>
                    <a:gd name="connsiteY497" fmla="*/ 1004381 h 1282588"/>
                    <a:gd name="connsiteX498" fmla="*/ 11776 w 215788"/>
                    <a:gd name="connsiteY498" fmla="*/ 1001211 h 1282588"/>
                    <a:gd name="connsiteX499" fmla="*/ 11442 w 215788"/>
                    <a:gd name="connsiteY499" fmla="*/ 1000257 h 1282588"/>
                    <a:gd name="connsiteX500" fmla="*/ 12657 w 215788"/>
                    <a:gd name="connsiteY500" fmla="*/ 998383 h 1282588"/>
                    <a:gd name="connsiteX501" fmla="*/ 18190 w 215788"/>
                    <a:gd name="connsiteY501" fmla="*/ 996525 h 1282588"/>
                    <a:gd name="connsiteX502" fmla="*/ 20162 w 215788"/>
                    <a:gd name="connsiteY502" fmla="*/ 993542 h 1282588"/>
                    <a:gd name="connsiteX503" fmla="*/ 21858 w 215788"/>
                    <a:gd name="connsiteY503" fmla="*/ 993933 h 1282588"/>
                    <a:gd name="connsiteX504" fmla="*/ 21393 w 215788"/>
                    <a:gd name="connsiteY504" fmla="*/ 1000037 h 1282588"/>
                    <a:gd name="connsiteX505" fmla="*/ 22412 w 215788"/>
                    <a:gd name="connsiteY505" fmla="*/ 1002107 h 1282588"/>
                    <a:gd name="connsiteX506" fmla="*/ 24295 w 215788"/>
                    <a:gd name="connsiteY506" fmla="*/ 1003811 h 1282588"/>
                    <a:gd name="connsiteX507" fmla="*/ 24637 w 215788"/>
                    <a:gd name="connsiteY507" fmla="*/ 1004520 h 1282588"/>
                    <a:gd name="connsiteX508" fmla="*/ 24955 w 215788"/>
                    <a:gd name="connsiteY508" fmla="*/ 1006679 h 1282588"/>
                    <a:gd name="connsiteX509" fmla="*/ 25900 w 215788"/>
                    <a:gd name="connsiteY509" fmla="*/ 1010053 h 1282588"/>
                    <a:gd name="connsiteX510" fmla="*/ 27122 w 215788"/>
                    <a:gd name="connsiteY510" fmla="*/ 1011618 h 1282588"/>
                    <a:gd name="connsiteX511" fmla="*/ 27432 w 215788"/>
                    <a:gd name="connsiteY511" fmla="*/ 1012604 h 1282588"/>
                    <a:gd name="connsiteX512" fmla="*/ 27489 w 215788"/>
                    <a:gd name="connsiteY512" fmla="*/ 1013419 h 1282588"/>
                    <a:gd name="connsiteX513" fmla="*/ 27041 w 215788"/>
                    <a:gd name="connsiteY513" fmla="*/ 1014577 h 1282588"/>
                    <a:gd name="connsiteX514" fmla="*/ 28320 w 215788"/>
                    <a:gd name="connsiteY514" fmla="*/ 1020574 h 1282588"/>
                    <a:gd name="connsiteX515" fmla="*/ 67537 w 215788"/>
                    <a:gd name="connsiteY515" fmla="*/ 885167 h 1282588"/>
                    <a:gd name="connsiteX516" fmla="*/ 61531 w 215788"/>
                    <a:gd name="connsiteY516" fmla="*/ 887970 h 1282588"/>
                    <a:gd name="connsiteX517" fmla="*/ 58515 w 215788"/>
                    <a:gd name="connsiteY517" fmla="*/ 887033 h 1282588"/>
                    <a:gd name="connsiteX518" fmla="*/ 57350 w 215788"/>
                    <a:gd name="connsiteY518" fmla="*/ 884971 h 1282588"/>
                    <a:gd name="connsiteX519" fmla="*/ 56779 w 215788"/>
                    <a:gd name="connsiteY519" fmla="*/ 883235 h 1282588"/>
                    <a:gd name="connsiteX520" fmla="*/ 56160 w 215788"/>
                    <a:gd name="connsiteY520" fmla="*/ 880309 h 1282588"/>
                    <a:gd name="connsiteX521" fmla="*/ 57187 w 215788"/>
                    <a:gd name="connsiteY521" fmla="*/ 878745 h 1282588"/>
                    <a:gd name="connsiteX522" fmla="*/ 59387 w 215788"/>
                    <a:gd name="connsiteY522" fmla="*/ 876479 h 1282588"/>
                    <a:gd name="connsiteX523" fmla="*/ 60202 w 215788"/>
                    <a:gd name="connsiteY523" fmla="*/ 875020 h 1282588"/>
                    <a:gd name="connsiteX524" fmla="*/ 60601 w 215788"/>
                    <a:gd name="connsiteY524" fmla="*/ 873301 h 1282588"/>
                    <a:gd name="connsiteX525" fmla="*/ 60463 w 215788"/>
                    <a:gd name="connsiteY525" fmla="*/ 871687 h 1282588"/>
                    <a:gd name="connsiteX526" fmla="*/ 60748 w 215788"/>
                    <a:gd name="connsiteY526" fmla="*/ 870155 h 1282588"/>
                    <a:gd name="connsiteX527" fmla="*/ 62052 w 215788"/>
                    <a:gd name="connsiteY527" fmla="*/ 869617 h 1282588"/>
                    <a:gd name="connsiteX528" fmla="*/ 66494 w 215788"/>
                    <a:gd name="connsiteY528" fmla="*/ 871328 h 1282588"/>
                    <a:gd name="connsiteX529" fmla="*/ 71106 w 215788"/>
                    <a:gd name="connsiteY529" fmla="*/ 873904 h 1282588"/>
                    <a:gd name="connsiteX530" fmla="*/ 72744 w 215788"/>
                    <a:gd name="connsiteY530" fmla="*/ 875680 h 1282588"/>
                    <a:gd name="connsiteX531" fmla="*/ 73054 w 215788"/>
                    <a:gd name="connsiteY531" fmla="*/ 877099 h 1282588"/>
                    <a:gd name="connsiteX532" fmla="*/ 71041 w 215788"/>
                    <a:gd name="connsiteY532" fmla="*/ 880228 h 1282588"/>
                    <a:gd name="connsiteX533" fmla="*/ 69753 w 215788"/>
                    <a:gd name="connsiteY533" fmla="*/ 882795 h 1282588"/>
                    <a:gd name="connsiteX534" fmla="*/ 67537 w 215788"/>
                    <a:gd name="connsiteY534" fmla="*/ 885167 h 1282588"/>
                    <a:gd name="connsiteX535" fmla="*/ 48956 w 215788"/>
                    <a:gd name="connsiteY535" fmla="*/ 871687 h 1282588"/>
                    <a:gd name="connsiteX536" fmla="*/ 47733 w 215788"/>
                    <a:gd name="connsiteY536" fmla="*/ 873203 h 1282588"/>
                    <a:gd name="connsiteX537" fmla="*/ 45810 w 215788"/>
                    <a:gd name="connsiteY537" fmla="*/ 873455 h 1282588"/>
                    <a:gd name="connsiteX538" fmla="*/ 42803 w 215788"/>
                    <a:gd name="connsiteY538" fmla="*/ 875191 h 1282588"/>
                    <a:gd name="connsiteX539" fmla="*/ 42485 w 215788"/>
                    <a:gd name="connsiteY539" fmla="*/ 876699 h 1282588"/>
                    <a:gd name="connsiteX540" fmla="*/ 42338 w 215788"/>
                    <a:gd name="connsiteY540" fmla="*/ 878565 h 1282588"/>
                    <a:gd name="connsiteX541" fmla="*/ 44408 w 215788"/>
                    <a:gd name="connsiteY541" fmla="*/ 880790 h 1282588"/>
                    <a:gd name="connsiteX542" fmla="*/ 45427 w 215788"/>
                    <a:gd name="connsiteY542" fmla="*/ 883382 h 1282588"/>
                    <a:gd name="connsiteX543" fmla="*/ 46649 w 215788"/>
                    <a:gd name="connsiteY543" fmla="*/ 887278 h 1282588"/>
                    <a:gd name="connsiteX544" fmla="*/ 47537 w 215788"/>
                    <a:gd name="connsiteY544" fmla="*/ 890985 h 1282588"/>
                    <a:gd name="connsiteX545" fmla="*/ 47456 w 215788"/>
                    <a:gd name="connsiteY545" fmla="*/ 892143 h 1282588"/>
                    <a:gd name="connsiteX546" fmla="*/ 47676 w 215788"/>
                    <a:gd name="connsiteY546" fmla="*/ 894067 h 1282588"/>
                    <a:gd name="connsiteX547" fmla="*/ 49151 w 215788"/>
                    <a:gd name="connsiteY547" fmla="*/ 897065 h 1282588"/>
                    <a:gd name="connsiteX548" fmla="*/ 49290 w 215788"/>
                    <a:gd name="connsiteY548" fmla="*/ 898418 h 1282588"/>
                    <a:gd name="connsiteX549" fmla="*/ 49127 w 215788"/>
                    <a:gd name="connsiteY549" fmla="*/ 899763 h 1282588"/>
                    <a:gd name="connsiteX550" fmla="*/ 48532 w 215788"/>
                    <a:gd name="connsiteY550" fmla="*/ 902257 h 1282588"/>
                    <a:gd name="connsiteX551" fmla="*/ 48059 w 215788"/>
                    <a:gd name="connsiteY551" fmla="*/ 902599 h 1282588"/>
                    <a:gd name="connsiteX552" fmla="*/ 46592 w 215788"/>
                    <a:gd name="connsiteY552" fmla="*/ 902836 h 1282588"/>
                    <a:gd name="connsiteX553" fmla="*/ 46478 w 215788"/>
                    <a:gd name="connsiteY553" fmla="*/ 904360 h 1282588"/>
                    <a:gd name="connsiteX554" fmla="*/ 46119 w 215788"/>
                    <a:gd name="connsiteY554" fmla="*/ 904857 h 1282588"/>
                    <a:gd name="connsiteX555" fmla="*/ 41971 w 215788"/>
                    <a:gd name="connsiteY555" fmla="*/ 905011 h 1282588"/>
                    <a:gd name="connsiteX556" fmla="*/ 39926 w 215788"/>
                    <a:gd name="connsiteY556" fmla="*/ 904327 h 1282588"/>
                    <a:gd name="connsiteX557" fmla="*/ 40170 w 215788"/>
                    <a:gd name="connsiteY557" fmla="*/ 899755 h 1282588"/>
                    <a:gd name="connsiteX558" fmla="*/ 37546 w 215788"/>
                    <a:gd name="connsiteY558" fmla="*/ 897970 h 1282588"/>
                    <a:gd name="connsiteX559" fmla="*/ 35737 w 215788"/>
                    <a:gd name="connsiteY559" fmla="*/ 894963 h 1282588"/>
                    <a:gd name="connsiteX560" fmla="*/ 33699 w 215788"/>
                    <a:gd name="connsiteY560" fmla="*/ 889763 h 1282588"/>
                    <a:gd name="connsiteX561" fmla="*/ 31996 w 215788"/>
                    <a:gd name="connsiteY561" fmla="*/ 888174 h 1282588"/>
                    <a:gd name="connsiteX562" fmla="*/ 30007 w 215788"/>
                    <a:gd name="connsiteY562" fmla="*/ 884058 h 1282588"/>
                    <a:gd name="connsiteX563" fmla="*/ 27065 w 215788"/>
                    <a:gd name="connsiteY563" fmla="*/ 880554 h 1282588"/>
                    <a:gd name="connsiteX564" fmla="*/ 30464 w 215788"/>
                    <a:gd name="connsiteY564" fmla="*/ 878346 h 1282588"/>
                    <a:gd name="connsiteX565" fmla="*/ 29942 w 215788"/>
                    <a:gd name="connsiteY565" fmla="*/ 874458 h 1282588"/>
                    <a:gd name="connsiteX566" fmla="*/ 31931 w 215788"/>
                    <a:gd name="connsiteY566" fmla="*/ 873138 h 1282588"/>
                    <a:gd name="connsiteX567" fmla="*/ 34922 w 215788"/>
                    <a:gd name="connsiteY567" fmla="*/ 871744 h 1282588"/>
                    <a:gd name="connsiteX568" fmla="*/ 37122 w 215788"/>
                    <a:gd name="connsiteY568" fmla="*/ 872836 h 1282588"/>
                    <a:gd name="connsiteX569" fmla="*/ 39102 w 215788"/>
                    <a:gd name="connsiteY569" fmla="*/ 872445 h 1282588"/>
                    <a:gd name="connsiteX570" fmla="*/ 39983 w 215788"/>
                    <a:gd name="connsiteY570" fmla="*/ 871532 h 1282588"/>
                    <a:gd name="connsiteX571" fmla="*/ 39714 w 215788"/>
                    <a:gd name="connsiteY571" fmla="*/ 867563 h 1282588"/>
                    <a:gd name="connsiteX572" fmla="*/ 40341 w 215788"/>
                    <a:gd name="connsiteY572" fmla="*/ 864434 h 1282588"/>
                    <a:gd name="connsiteX573" fmla="*/ 42525 w 215788"/>
                    <a:gd name="connsiteY573" fmla="*/ 862836 h 1282588"/>
                    <a:gd name="connsiteX574" fmla="*/ 44873 w 215788"/>
                    <a:gd name="connsiteY574" fmla="*/ 862657 h 1282588"/>
                    <a:gd name="connsiteX575" fmla="*/ 45761 w 215788"/>
                    <a:gd name="connsiteY575" fmla="*/ 864418 h 1282588"/>
                    <a:gd name="connsiteX576" fmla="*/ 46918 w 215788"/>
                    <a:gd name="connsiteY576" fmla="*/ 866137 h 1282588"/>
                    <a:gd name="connsiteX577" fmla="*/ 49754 w 215788"/>
                    <a:gd name="connsiteY577" fmla="*/ 867506 h 1282588"/>
                    <a:gd name="connsiteX578" fmla="*/ 49746 w 215788"/>
                    <a:gd name="connsiteY578" fmla="*/ 869267 h 1282588"/>
                    <a:gd name="connsiteX579" fmla="*/ 48956 w 215788"/>
                    <a:gd name="connsiteY579" fmla="*/ 871687 h 1282588"/>
                    <a:gd name="connsiteX580" fmla="*/ 48018 w 215788"/>
                    <a:gd name="connsiteY580" fmla="*/ 835201 h 1282588"/>
                    <a:gd name="connsiteX581" fmla="*/ 46152 w 215788"/>
                    <a:gd name="connsiteY581" fmla="*/ 835918 h 1282588"/>
                    <a:gd name="connsiteX582" fmla="*/ 44416 w 215788"/>
                    <a:gd name="connsiteY582" fmla="*/ 836097 h 1282588"/>
                    <a:gd name="connsiteX583" fmla="*/ 42648 w 215788"/>
                    <a:gd name="connsiteY583" fmla="*/ 835567 h 1282588"/>
                    <a:gd name="connsiteX584" fmla="*/ 39559 w 215788"/>
                    <a:gd name="connsiteY584" fmla="*/ 835617 h 1282588"/>
                    <a:gd name="connsiteX585" fmla="*/ 36478 w 215788"/>
                    <a:gd name="connsiteY585" fmla="*/ 834264 h 1282588"/>
                    <a:gd name="connsiteX586" fmla="*/ 33593 w 215788"/>
                    <a:gd name="connsiteY586" fmla="*/ 832349 h 1282588"/>
                    <a:gd name="connsiteX587" fmla="*/ 32786 w 215788"/>
                    <a:gd name="connsiteY587" fmla="*/ 831240 h 1282588"/>
                    <a:gd name="connsiteX588" fmla="*/ 33137 w 215788"/>
                    <a:gd name="connsiteY588" fmla="*/ 829659 h 1282588"/>
                    <a:gd name="connsiteX589" fmla="*/ 35215 w 215788"/>
                    <a:gd name="connsiteY589" fmla="*/ 825984 h 1282588"/>
                    <a:gd name="connsiteX590" fmla="*/ 37195 w 215788"/>
                    <a:gd name="connsiteY590" fmla="*/ 819032 h 1282588"/>
                    <a:gd name="connsiteX591" fmla="*/ 38516 w 215788"/>
                    <a:gd name="connsiteY591" fmla="*/ 809081 h 1282588"/>
                    <a:gd name="connsiteX592" fmla="*/ 37464 w 215788"/>
                    <a:gd name="connsiteY592" fmla="*/ 805316 h 1282588"/>
                    <a:gd name="connsiteX593" fmla="*/ 37595 w 215788"/>
                    <a:gd name="connsiteY593" fmla="*/ 803767 h 1282588"/>
                    <a:gd name="connsiteX594" fmla="*/ 38084 w 215788"/>
                    <a:gd name="connsiteY594" fmla="*/ 801893 h 1282588"/>
                    <a:gd name="connsiteX595" fmla="*/ 38320 w 215788"/>
                    <a:gd name="connsiteY595" fmla="*/ 799962 h 1282588"/>
                    <a:gd name="connsiteX596" fmla="*/ 38165 w 215788"/>
                    <a:gd name="connsiteY596" fmla="*/ 798022 h 1282588"/>
                    <a:gd name="connsiteX597" fmla="*/ 38418 w 215788"/>
                    <a:gd name="connsiteY597" fmla="*/ 796204 h 1282588"/>
                    <a:gd name="connsiteX598" fmla="*/ 40602 w 215788"/>
                    <a:gd name="connsiteY598" fmla="*/ 792407 h 1282588"/>
                    <a:gd name="connsiteX599" fmla="*/ 40920 w 215788"/>
                    <a:gd name="connsiteY599" fmla="*/ 790695 h 1282588"/>
                    <a:gd name="connsiteX600" fmla="*/ 40985 w 215788"/>
                    <a:gd name="connsiteY600" fmla="*/ 788845 h 1282588"/>
                    <a:gd name="connsiteX601" fmla="*/ 41930 w 215788"/>
                    <a:gd name="connsiteY601" fmla="*/ 785015 h 1282588"/>
                    <a:gd name="connsiteX602" fmla="*/ 41637 w 215788"/>
                    <a:gd name="connsiteY602" fmla="*/ 783752 h 1282588"/>
                    <a:gd name="connsiteX603" fmla="*/ 40830 w 215788"/>
                    <a:gd name="connsiteY603" fmla="*/ 782668 h 1282588"/>
                    <a:gd name="connsiteX604" fmla="*/ 41482 w 215788"/>
                    <a:gd name="connsiteY604" fmla="*/ 781739 h 1282588"/>
                    <a:gd name="connsiteX605" fmla="*/ 49070 w 215788"/>
                    <a:gd name="connsiteY605" fmla="*/ 784550 h 1282588"/>
                    <a:gd name="connsiteX606" fmla="*/ 54106 w 215788"/>
                    <a:gd name="connsiteY606" fmla="*/ 785202 h 1282588"/>
                    <a:gd name="connsiteX607" fmla="*/ 54375 w 215788"/>
                    <a:gd name="connsiteY607" fmla="*/ 788104 h 1282588"/>
                    <a:gd name="connsiteX608" fmla="*/ 55353 w 215788"/>
                    <a:gd name="connsiteY608" fmla="*/ 790377 h 1282588"/>
                    <a:gd name="connsiteX609" fmla="*/ 55932 w 215788"/>
                    <a:gd name="connsiteY609" fmla="*/ 794460 h 1282588"/>
                    <a:gd name="connsiteX610" fmla="*/ 56714 w 215788"/>
                    <a:gd name="connsiteY610" fmla="*/ 795381 h 1282588"/>
                    <a:gd name="connsiteX611" fmla="*/ 56306 w 215788"/>
                    <a:gd name="connsiteY611" fmla="*/ 798307 h 1282588"/>
                    <a:gd name="connsiteX612" fmla="*/ 53984 w 215788"/>
                    <a:gd name="connsiteY612" fmla="*/ 799570 h 1282588"/>
                    <a:gd name="connsiteX613" fmla="*/ 54188 w 215788"/>
                    <a:gd name="connsiteY613" fmla="*/ 802260 h 1282588"/>
                    <a:gd name="connsiteX614" fmla="*/ 55524 w 215788"/>
                    <a:gd name="connsiteY614" fmla="*/ 804786 h 1282588"/>
                    <a:gd name="connsiteX615" fmla="*/ 53576 w 215788"/>
                    <a:gd name="connsiteY615" fmla="*/ 805699 h 1282588"/>
                    <a:gd name="connsiteX616" fmla="*/ 51474 w 215788"/>
                    <a:gd name="connsiteY616" fmla="*/ 806237 h 1282588"/>
                    <a:gd name="connsiteX617" fmla="*/ 50985 w 215788"/>
                    <a:gd name="connsiteY617" fmla="*/ 806937 h 1282588"/>
                    <a:gd name="connsiteX618" fmla="*/ 49461 w 215788"/>
                    <a:gd name="connsiteY618" fmla="*/ 807492 h 1282588"/>
                    <a:gd name="connsiteX619" fmla="*/ 47611 w 215788"/>
                    <a:gd name="connsiteY619" fmla="*/ 808902 h 1282588"/>
                    <a:gd name="connsiteX620" fmla="*/ 48165 w 215788"/>
                    <a:gd name="connsiteY620" fmla="*/ 810140 h 1282588"/>
                    <a:gd name="connsiteX621" fmla="*/ 50496 w 215788"/>
                    <a:gd name="connsiteY621" fmla="*/ 813001 h 1282588"/>
                    <a:gd name="connsiteX622" fmla="*/ 53096 w 215788"/>
                    <a:gd name="connsiteY622" fmla="*/ 814965 h 1282588"/>
                    <a:gd name="connsiteX623" fmla="*/ 54530 w 215788"/>
                    <a:gd name="connsiteY623" fmla="*/ 817931 h 1282588"/>
                    <a:gd name="connsiteX624" fmla="*/ 56372 w 215788"/>
                    <a:gd name="connsiteY624" fmla="*/ 821012 h 1282588"/>
                    <a:gd name="connsiteX625" fmla="*/ 55475 w 215788"/>
                    <a:gd name="connsiteY625" fmla="*/ 822976 h 1282588"/>
                    <a:gd name="connsiteX626" fmla="*/ 53788 w 215788"/>
                    <a:gd name="connsiteY626" fmla="*/ 825755 h 1282588"/>
                    <a:gd name="connsiteX627" fmla="*/ 51083 w 215788"/>
                    <a:gd name="connsiteY627" fmla="*/ 827613 h 1282588"/>
                    <a:gd name="connsiteX628" fmla="*/ 48597 w 215788"/>
                    <a:gd name="connsiteY628" fmla="*/ 828713 h 1282588"/>
                    <a:gd name="connsiteX629" fmla="*/ 48898 w 215788"/>
                    <a:gd name="connsiteY629" fmla="*/ 833294 h 1282588"/>
                    <a:gd name="connsiteX630" fmla="*/ 48018 w 215788"/>
                    <a:gd name="connsiteY630" fmla="*/ 835201 h 1282588"/>
                    <a:gd name="connsiteX631" fmla="*/ 198470 w 215788"/>
                    <a:gd name="connsiteY631" fmla="*/ 166352 h 1282588"/>
                    <a:gd name="connsiteX632" fmla="*/ 201633 w 215788"/>
                    <a:gd name="connsiteY632" fmla="*/ 166442 h 1282588"/>
                    <a:gd name="connsiteX633" fmla="*/ 207028 w 215788"/>
                    <a:gd name="connsiteY633" fmla="*/ 165293 h 1282588"/>
                    <a:gd name="connsiteX634" fmla="*/ 211176 w 215788"/>
                    <a:gd name="connsiteY634" fmla="*/ 164250 h 1282588"/>
                    <a:gd name="connsiteX635" fmla="*/ 215789 w 215788"/>
                    <a:gd name="connsiteY635" fmla="*/ 169857 h 1282588"/>
                    <a:gd name="connsiteX636" fmla="*/ 213784 w 215788"/>
                    <a:gd name="connsiteY636" fmla="*/ 177452 h 1282588"/>
                    <a:gd name="connsiteX637" fmla="*/ 210573 w 215788"/>
                    <a:gd name="connsiteY637" fmla="*/ 189595 h 1282588"/>
                    <a:gd name="connsiteX638" fmla="*/ 208087 w 215788"/>
                    <a:gd name="connsiteY638" fmla="*/ 198992 h 1282588"/>
                    <a:gd name="connsiteX639" fmla="*/ 207680 w 215788"/>
                    <a:gd name="connsiteY639" fmla="*/ 200247 h 1282588"/>
                    <a:gd name="connsiteX640" fmla="*/ 207174 w 215788"/>
                    <a:gd name="connsiteY640" fmla="*/ 202097 h 1282588"/>
                    <a:gd name="connsiteX641" fmla="*/ 201820 w 215788"/>
                    <a:gd name="connsiteY641" fmla="*/ 204754 h 1282588"/>
                    <a:gd name="connsiteX642" fmla="*/ 194021 w 215788"/>
                    <a:gd name="connsiteY642" fmla="*/ 208658 h 1282588"/>
                    <a:gd name="connsiteX643" fmla="*/ 190027 w 215788"/>
                    <a:gd name="connsiteY643" fmla="*/ 210695 h 1282588"/>
                    <a:gd name="connsiteX644" fmla="*/ 184991 w 215788"/>
                    <a:gd name="connsiteY644" fmla="*/ 213311 h 1282588"/>
                    <a:gd name="connsiteX645" fmla="*/ 183768 w 215788"/>
                    <a:gd name="connsiteY645" fmla="*/ 215463 h 1282588"/>
                    <a:gd name="connsiteX646" fmla="*/ 182318 w 215788"/>
                    <a:gd name="connsiteY646" fmla="*/ 216620 h 1282588"/>
                    <a:gd name="connsiteX647" fmla="*/ 180720 w 215788"/>
                    <a:gd name="connsiteY647" fmla="*/ 218127 h 1282588"/>
                    <a:gd name="connsiteX648" fmla="*/ 180109 w 215788"/>
                    <a:gd name="connsiteY648" fmla="*/ 219741 h 1282588"/>
                    <a:gd name="connsiteX649" fmla="*/ 178618 w 215788"/>
                    <a:gd name="connsiteY649" fmla="*/ 220768 h 1282588"/>
                    <a:gd name="connsiteX650" fmla="*/ 177257 w 215788"/>
                    <a:gd name="connsiteY650" fmla="*/ 224460 h 1282588"/>
                    <a:gd name="connsiteX651" fmla="*/ 177257 w 215788"/>
                    <a:gd name="connsiteY651" fmla="*/ 227312 h 1282588"/>
                    <a:gd name="connsiteX652" fmla="*/ 178121 w 215788"/>
                    <a:gd name="connsiteY652" fmla="*/ 229227 h 1282588"/>
                    <a:gd name="connsiteX653" fmla="*/ 179628 w 215788"/>
                    <a:gd name="connsiteY653" fmla="*/ 230059 h 1282588"/>
                    <a:gd name="connsiteX654" fmla="*/ 180101 w 215788"/>
                    <a:gd name="connsiteY654" fmla="*/ 232357 h 1282588"/>
                    <a:gd name="connsiteX655" fmla="*/ 180574 w 215788"/>
                    <a:gd name="connsiteY655" fmla="*/ 233995 h 1282588"/>
                    <a:gd name="connsiteX656" fmla="*/ 181658 w 215788"/>
                    <a:gd name="connsiteY656" fmla="*/ 235283 h 1282588"/>
                    <a:gd name="connsiteX657" fmla="*/ 181381 w 215788"/>
                    <a:gd name="connsiteY657" fmla="*/ 236318 h 1282588"/>
                    <a:gd name="connsiteX658" fmla="*/ 180500 w 215788"/>
                    <a:gd name="connsiteY658" fmla="*/ 237084 h 1282588"/>
                    <a:gd name="connsiteX659" fmla="*/ 178879 w 215788"/>
                    <a:gd name="connsiteY659" fmla="*/ 237524 h 1282588"/>
                    <a:gd name="connsiteX660" fmla="*/ 177770 w 215788"/>
                    <a:gd name="connsiteY660" fmla="*/ 239838 h 1282588"/>
                    <a:gd name="connsiteX661" fmla="*/ 176499 w 215788"/>
                    <a:gd name="connsiteY661" fmla="*/ 245608 h 1282588"/>
                    <a:gd name="connsiteX662" fmla="*/ 176303 w 215788"/>
                    <a:gd name="connsiteY662" fmla="*/ 247670 h 1282588"/>
                    <a:gd name="connsiteX663" fmla="*/ 177746 w 215788"/>
                    <a:gd name="connsiteY663" fmla="*/ 252894 h 1282588"/>
                    <a:gd name="connsiteX664" fmla="*/ 178520 w 215788"/>
                    <a:gd name="connsiteY664" fmla="*/ 255714 h 1282588"/>
                    <a:gd name="connsiteX665" fmla="*/ 180606 w 215788"/>
                    <a:gd name="connsiteY665" fmla="*/ 265942 h 1282588"/>
                    <a:gd name="connsiteX666" fmla="*/ 180916 w 215788"/>
                    <a:gd name="connsiteY666" fmla="*/ 268729 h 1282588"/>
                    <a:gd name="connsiteX667" fmla="*/ 178055 w 215788"/>
                    <a:gd name="connsiteY667" fmla="*/ 272625 h 1282588"/>
                    <a:gd name="connsiteX668" fmla="*/ 176906 w 215788"/>
                    <a:gd name="connsiteY668" fmla="*/ 274988 h 1282588"/>
                    <a:gd name="connsiteX669" fmla="*/ 176499 w 215788"/>
                    <a:gd name="connsiteY669" fmla="*/ 277083 h 1282588"/>
                    <a:gd name="connsiteX670" fmla="*/ 176515 w 215788"/>
                    <a:gd name="connsiteY670" fmla="*/ 278729 h 1282588"/>
                    <a:gd name="connsiteX671" fmla="*/ 176776 w 215788"/>
                    <a:gd name="connsiteY671" fmla="*/ 280253 h 1282588"/>
                    <a:gd name="connsiteX672" fmla="*/ 179156 w 215788"/>
                    <a:gd name="connsiteY672" fmla="*/ 285053 h 1282588"/>
                    <a:gd name="connsiteX673" fmla="*/ 181926 w 215788"/>
                    <a:gd name="connsiteY673" fmla="*/ 289356 h 1282588"/>
                    <a:gd name="connsiteX674" fmla="*/ 183279 w 215788"/>
                    <a:gd name="connsiteY674" fmla="*/ 291597 h 1282588"/>
                    <a:gd name="connsiteX675" fmla="*/ 183279 w 215788"/>
                    <a:gd name="connsiteY675" fmla="*/ 294637 h 1282588"/>
                    <a:gd name="connsiteX676" fmla="*/ 182603 w 215788"/>
                    <a:gd name="connsiteY676" fmla="*/ 296365 h 1282588"/>
                    <a:gd name="connsiteX677" fmla="*/ 181128 w 215788"/>
                    <a:gd name="connsiteY677" fmla="*/ 297001 h 1282588"/>
                    <a:gd name="connsiteX678" fmla="*/ 177852 w 215788"/>
                    <a:gd name="connsiteY678" fmla="*/ 298182 h 1282588"/>
                    <a:gd name="connsiteX679" fmla="*/ 176491 w 215788"/>
                    <a:gd name="connsiteY679" fmla="*/ 299910 h 1282588"/>
                    <a:gd name="connsiteX680" fmla="*/ 174999 w 215788"/>
                    <a:gd name="connsiteY680" fmla="*/ 300179 h 1282588"/>
                    <a:gd name="connsiteX681" fmla="*/ 173581 w 215788"/>
                    <a:gd name="connsiteY681" fmla="*/ 298794 h 1282588"/>
                    <a:gd name="connsiteX682" fmla="*/ 172090 w 215788"/>
                    <a:gd name="connsiteY682" fmla="*/ 299136 h 1282588"/>
                    <a:gd name="connsiteX683" fmla="*/ 170191 w 215788"/>
                    <a:gd name="connsiteY683" fmla="*/ 300350 h 1282588"/>
                    <a:gd name="connsiteX684" fmla="*/ 169474 w 215788"/>
                    <a:gd name="connsiteY684" fmla="*/ 303292 h 1282588"/>
                    <a:gd name="connsiteX685" fmla="*/ 167819 w 215788"/>
                    <a:gd name="connsiteY685" fmla="*/ 308312 h 1282588"/>
                    <a:gd name="connsiteX686" fmla="*/ 166393 w 215788"/>
                    <a:gd name="connsiteY686" fmla="*/ 309706 h 1282588"/>
                    <a:gd name="connsiteX687" fmla="*/ 165334 w 215788"/>
                    <a:gd name="connsiteY687" fmla="*/ 313545 h 1282588"/>
                    <a:gd name="connsiteX688" fmla="*/ 163443 w 215788"/>
                    <a:gd name="connsiteY688" fmla="*/ 319062 h 1282588"/>
                    <a:gd name="connsiteX689" fmla="*/ 162530 w 215788"/>
                    <a:gd name="connsiteY689" fmla="*/ 322379 h 1282588"/>
                    <a:gd name="connsiteX690" fmla="*/ 162058 w 215788"/>
                    <a:gd name="connsiteY690" fmla="*/ 324824 h 1282588"/>
                    <a:gd name="connsiteX691" fmla="*/ 160150 w 215788"/>
                    <a:gd name="connsiteY691" fmla="*/ 326364 h 1282588"/>
                    <a:gd name="connsiteX692" fmla="*/ 157934 w 215788"/>
                    <a:gd name="connsiteY692" fmla="*/ 329461 h 1282588"/>
                    <a:gd name="connsiteX693" fmla="*/ 156222 w 215788"/>
                    <a:gd name="connsiteY693" fmla="*/ 332468 h 1282588"/>
                    <a:gd name="connsiteX694" fmla="*/ 155546 w 215788"/>
                    <a:gd name="connsiteY694" fmla="*/ 333332 h 1282588"/>
                    <a:gd name="connsiteX695" fmla="*/ 154258 w 215788"/>
                    <a:gd name="connsiteY695" fmla="*/ 333593 h 1282588"/>
                    <a:gd name="connsiteX696" fmla="*/ 153313 w 215788"/>
                    <a:gd name="connsiteY696" fmla="*/ 336299 h 1282588"/>
                    <a:gd name="connsiteX697" fmla="*/ 150094 w 215788"/>
                    <a:gd name="connsiteY697" fmla="*/ 340373 h 1282588"/>
                    <a:gd name="connsiteX698" fmla="*/ 149328 w 215788"/>
                    <a:gd name="connsiteY698" fmla="*/ 345100 h 1282588"/>
                    <a:gd name="connsiteX699" fmla="*/ 148154 w 215788"/>
                    <a:gd name="connsiteY699" fmla="*/ 347610 h 1282588"/>
                    <a:gd name="connsiteX700" fmla="*/ 147950 w 215788"/>
                    <a:gd name="connsiteY700" fmla="*/ 352174 h 1282588"/>
                    <a:gd name="connsiteX701" fmla="*/ 146174 w 215788"/>
                    <a:gd name="connsiteY701" fmla="*/ 360528 h 1282588"/>
                    <a:gd name="connsiteX702" fmla="*/ 145848 w 215788"/>
                    <a:gd name="connsiteY702" fmla="*/ 362378 h 1282588"/>
                    <a:gd name="connsiteX703" fmla="*/ 144055 w 215788"/>
                    <a:gd name="connsiteY703" fmla="*/ 363837 h 1282588"/>
                    <a:gd name="connsiteX704" fmla="*/ 141683 w 215788"/>
                    <a:gd name="connsiteY704" fmla="*/ 367072 h 1282588"/>
                    <a:gd name="connsiteX705" fmla="*/ 140917 w 215788"/>
                    <a:gd name="connsiteY705" fmla="*/ 369435 h 1282588"/>
                    <a:gd name="connsiteX706" fmla="*/ 142009 w 215788"/>
                    <a:gd name="connsiteY706" fmla="*/ 376517 h 1282588"/>
                    <a:gd name="connsiteX707" fmla="*/ 143370 w 215788"/>
                    <a:gd name="connsiteY707" fmla="*/ 383681 h 1282588"/>
                    <a:gd name="connsiteX708" fmla="*/ 143460 w 215788"/>
                    <a:gd name="connsiteY708" fmla="*/ 387047 h 1282588"/>
                    <a:gd name="connsiteX709" fmla="*/ 142930 w 215788"/>
                    <a:gd name="connsiteY709" fmla="*/ 391619 h 1282588"/>
                    <a:gd name="connsiteX710" fmla="*/ 142572 w 215788"/>
                    <a:gd name="connsiteY710" fmla="*/ 393599 h 1282588"/>
                    <a:gd name="connsiteX711" fmla="*/ 143476 w 215788"/>
                    <a:gd name="connsiteY711" fmla="*/ 394431 h 1282588"/>
                    <a:gd name="connsiteX712" fmla="*/ 144967 w 215788"/>
                    <a:gd name="connsiteY712" fmla="*/ 394952 h 1282588"/>
                    <a:gd name="connsiteX713" fmla="*/ 145440 w 215788"/>
                    <a:gd name="connsiteY713" fmla="*/ 396712 h 1282588"/>
                    <a:gd name="connsiteX714" fmla="*/ 144356 w 215788"/>
                    <a:gd name="connsiteY714" fmla="*/ 397943 h 1282588"/>
                    <a:gd name="connsiteX715" fmla="*/ 143884 w 215788"/>
                    <a:gd name="connsiteY715" fmla="*/ 400135 h 1282588"/>
                    <a:gd name="connsiteX716" fmla="*/ 142661 w 215788"/>
                    <a:gd name="connsiteY716" fmla="*/ 402597 h 1282588"/>
                    <a:gd name="connsiteX717" fmla="*/ 139051 w 215788"/>
                    <a:gd name="connsiteY717" fmla="*/ 403566 h 1282588"/>
                    <a:gd name="connsiteX718" fmla="*/ 137779 w 215788"/>
                    <a:gd name="connsiteY718" fmla="*/ 402686 h 1282588"/>
                    <a:gd name="connsiteX719" fmla="*/ 137372 w 215788"/>
                    <a:gd name="connsiteY719" fmla="*/ 403477 h 1282588"/>
                    <a:gd name="connsiteX720" fmla="*/ 137576 w 215788"/>
                    <a:gd name="connsiteY720" fmla="*/ 405245 h 1282588"/>
                    <a:gd name="connsiteX721" fmla="*/ 136769 w 215788"/>
                    <a:gd name="connsiteY721" fmla="*/ 407323 h 1282588"/>
                    <a:gd name="connsiteX722" fmla="*/ 134903 w 215788"/>
                    <a:gd name="connsiteY722" fmla="*/ 412873 h 1282588"/>
                    <a:gd name="connsiteX723" fmla="*/ 133672 w 215788"/>
                    <a:gd name="connsiteY723" fmla="*/ 417918 h 1282588"/>
                    <a:gd name="connsiteX724" fmla="*/ 132955 w 215788"/>
                    <a:gd name="connsiteY724" fmla="*/ 420127 h 1282588"/>
                    <a:gd name="connsiteX725" fmla="*/ 133248 w 215788"/>
                    <a:gd name="connsiteY725" fmla="*/ 421977 h 1282588"/>
                    <a:gd name="connsiteX726" fmla="*/ 133860 w 215788"/>
                    <a:gd name="connsiteY726" fmla="*/ 423036 h 1282588"/>
                    <a:gd name="connsiteX727" fmla="*/ 133925 w 215788"/>
                    <a:gd name="connsiteY727" fmla="*/ 424014 h 1282588"/>
                    <a:gd name="connsiteX728" fmla="*/ 132898 w 215788"/>
                    <a:gd name="connsiteY728" fmla="*/ 425229 h 1282588"/>
                    <a:gd name="connsiteX729" fmla="*/ 131961 w 215788"/>
                    <a:gd name="connsiteY729" fmla="*/ 427176 h 1282588"/>
                    <a:gd name="connsiteX730" fmla="*/ 130942 w 215788"/>
                    <a:gd name="connsiteY730" fmla="*/ 427437 h 1282588"/>
                    <a:gd name="connsiteX731" fmla="*/ 129858 w 215788"/>
                    <a:gd name="connsiteY731" fmla="*/ 426916 h 1282588"/>
                    <a:gd name="connsiteX732" fmla="*/ 128701 w 215788"/>
                    <a:gd name="connsiteY732" fmla="*/ 428065 h 1282588"/>
                    <a:gd name="connsiteX733" fmla="*/ 128472 w 215788"/>
                    <a:gd name="connsiteY733" fmla="*/ 430461 h 1282588"/>
                    <a:gd name="connsiteX734" fmla="*/ 127837 w 215788"/>
                    <a:gd name="connsiteY734" fmla="*/ 433517 h 1282588"/>
                    <a:gd name="connsiteX735" fmla="*/ 127535 w 215788"/>
                    <a:gd name="connsiteY735" fmla="*/ 437086 h 1282588"/>
                    <a:gd name="connsiteX736" fmla="*/ 127071 w 215788"/>
                    <a:gd name="connsiteY736" fmla="*/ 441658 h 1282588"/>
                    <a:gd name="connsiteX737" fmla="*/ 128546 w 215788"/>
                    <a:gd name="connsiteY737" fmla="*/ 444788 h 1282588"/>
                    <a:gd name="connsiteX738" fmla="*/ 130420 w 215788"/>
                    <a:gd name="connsiteY738" fmla="*/ 450468 h 1282588"/>
                    <a:gd name="connsiteX739" fmla="*/ 131814 w 215788"/>
                    <a:gd name="connsiteY739" fmla="*/ 451829 h 1282588"/>
                    <a:gd name="connsiteX740" fmla="*/ 133370 w 215788"/>
                    <a:gd name="connsiteY740" fmla="*/ 451748 h 1282588"/>
                    <a:gd name="connsiteX741" fmla="*/ 134593 w 215788"/>
                    <a:gd name="connsiteY741" fmla="*/ 452897 h 1282588"/>
                    <a:gd name="connsiteX742" fmla="*/ 135269 w 215788"/>
                    <a:gd name="connsiteY742" fmla="*/ 454233 h 1282588"/>
                    <a:gd name="connsiteX743" fmla="*/ 134365 w 215788"/>
                    <a:gd name="connsiteY743" fmla="*/ 456605 h 1282588"/>
                    <a:gd name="connsiteX744" fmla="*/ 132759 w 215788"/>
                    <a:gd name="connsiteY744" fmla="*/ 456972 h 1282588"/>
                    <a:gd name="connsiteX745" fmla="*/ 132556 w 215788"/>
                    <a:gd name="connsiteY745" fmla="*/ 458300 h 1282588"/>
                    <a:gd name="connsiteX746" fmla="*/ 133036 w 215788"/>
                    <a:gd name="connsiteY746" fmla="*/ 461315 h 1282588"/>
                    <a:gd name="connsiteX747" fmla="*/ 133648 w 215788"/>
                    <a:gd name="connsiteY747" fmla="*/ 464241 h 1282588"/>
                    <a:gd name="connsiteX748" fmla="*/ 135188 w 215788"/>
                    <a:gd name="connsiteY748" fmla="*/ 465651 h 1282588"/>
                    <a:gd name="connsiteX749" fmla="*/ 135881 w 215788"/>
                    <a:gd name="connsiteY749" fmla="*/ 469563 h 1282588"/>
                    <a:gd name="connsiteX750" fmla="*/ 137372 w 215788"/>
                    <a:gd name="connsiteY750" fmla="*/ 470892 h 1282588"/>
                    <a:gd name="connsiteX751" fmla="*/ 137193 w 215788"/>
                    <a:gd name="connsiteY751" fmla="*/ 475904 h 1282588"/>
                    <a:gd name="connsiteX752" fmla="*/ 138700 w 215788"/>
                    <a:gd name="connsiteY752" fmla="*/ 481804 h 1282588"/>
                    <a:gd name="connsiteX753" fmla="*/ 140289 w 215788"/>
                    <a:gd name="connsiteY753" fmla="*/ 483507 h 1282588"/>
                    <a:gd name="connsiteX754" fmla="*/ 141039 w 215788"/>
                    <a:gd name="connsiteY754" fmla="*/ 484314 h 1282588"/>
                    <a:gd name="connsiteX755" fmla="*/ 140534 w 215788"/>
                    <a:gd name="connsiteY755" fmla="*/ 486898 h 1282588"/>
                    <a:gd name="connsiteX756" fmla="*/ 139271 w 215788"/>
                    <a:gd name="connsiteY756" fmla="*/ 488943 h 1282588"/>
                    <a:gd name="connsiteX757" fmla="*/ 139002 w 215788"/>
                    <a:gd name="connsiteY757" fmla="*/ 492244 h 1282588"/>
                    <a:gd name="connsiteX758" fmla="*/ 139475 w 215788"/>
                    <a:gd name="connsiteY758" fmla="*/ 494648 h 1282588"/>
                    <a:gd name="connsiteX759" fmla="*/ 141088 w 215788"/>
                    <a:gd name="connsiteY759" fmla="*/ 496922 h 1282588"/>
                    <a:gd name="connsiteX760" fmla="*/ 142343 w 215788"/>
                    <a:gd name="connsiteY760" fmla="*/ 497174 h 1282588"/>
                    <a:gd name="connsiteX761" fmla="*/ 144153 w 215788"/>
                    <a:gd name="connsiteY761" fmla="*/ 496245 h 1282588"/>
                    <a:gd name="connsiteX762" fmla="*/ 146051 w 215788"/>
                    <a:gd name="connsiteY762" fmla="*/ 497321 h 1282588"/>
                    <a:gd name="connsiteX763" fmla="*/ 146329 w 215788"/>
                    <a:gd name="connsiteY763" fmla="*/ 499277 h 1282588"/>
                    <a:gd name="connsiteX764" fmla="*/ 146597 w 215788"/>
                    <a:gd name="connsiteY764" fmla="*/ 501062 h 1282588"/>
                    <a:gd name="connsiteX765" fmla="*/ 145579 w 215788"/>
                    <a:gd name="connsiteY765" fmla="*/ 503393 h 1282588"/>
                    <a:gd name="connsiteX766" fmla="*/ 144495 w 215788"/>
                    <a:gd name="connsiteY766" fmla="*/ 507671 h 1282588"/>
                    <a:gd name="connsiteX767" fmla="*/ 144201 w 215788"/>
                    <a:gd name="connsiteY767" fmla="*/ 511925 h 1282588"/>
                    <a:gd name="connsiteX768" fmla="*/ 144519 w 215788"/>
                    <a:gd name="connsiteY768" fmla="*/ 518413 h 1282588"/>
                    <a:gd name="connsiteX769" fmla="*/ 145016 w 215788"/>
                    <a:gd name="connsiteY769" fmla="*/ 523457 h 1282588"/>
                    <a:gd name="connsiteX770" fmla="*/ 145122 w 215788"/>
                    <a:gd name="connsiteY770" fmla="*/ 526619 h 1282588"/>
                    <a:gd name="connsiteX771" fmla="*/ 145244 w 215788"/>
                    <a:gd name="connsiteY771" fmla="*/ 528070 h 1282588"/>
                    <a:gd name="connsiteX772" fmla="*/ 144568 w 215788"/>
                    <a:gd name="connsiteY772" fmla="*/ 529048 h 1282588"/>
                    <a:gd name="connsiteX773" fmla="*/ 142922 w 215788"/>
                    <a:gd name="connsiteY773" fmla="*/ 529561 h 1282588"/>
                    <a:gd name="connsiteX774" fmla="*/ 141520 w 215788"/>
                    <a:gd name="connsiteY774" fmla="*/ 529765 h 1282588"/>
                    <a:gd name="connsiteX775" fmla="*/ 140298 w 215788"/>
                    <a:gd name="connsiteY775" fmla="*/ 530564 h 1282588"/>
                    <a:gd name="connsiteX776" fmla="*/ 140029 w 215788"/>
                    <a:gd name="connsiteY776" fmla="*/ 532186 h 1282588"/>
                    <a:gd name="connsiteX777" fmla="*/ 139075 w 215788"/>
                    <a:gd name="connsiteY777" fmla="*/ 534867 h 1282588"/>
                    <a:gd name="connsiteX778" fmla="*/ 138089 w 215788"/>
                    <a:gd name="connsiteY778" fmla="*/ 536872 h 1282588"/>
                    <a:gd name="connsiteX779" fmla="*/ 136369 w 215788"/>
                    <a:gd name="connsiteY779" fmla="*/ 539773 h 1282588"/>
                    <a:gd name="connsiteX780" fmla="*/ 135277 w 215788"/>
                    <a:gd name="connsiteY780" fmla="*/ 542772 h 1282588"/>
                    <a:gd name="connsiteX781" fmla="*/ 134405 w 215788"/>
                    <a:gd name="connsiteY781" fmla="*/ 544744 h 1282588"/>
                    <a:gd name="connsiteX782" fmla="*/ 134487 w 215788"/>
                    <a:gd name="connsiteY782" fmla="*/ 546113 h 1282588"/>
                    <a:gd name="connsiteX783" fmla="*/ 133860 w 215788"/>
                    <a:gd name="connsiteY783" fmla="*/ 548754 h 1282588"/>
                    <a:gd name="connsiteX784" fmla="*/ 133216 w 215788"/>
                    <a:gd name="connsiteY784" fmla="*/ 550955 h 1282588"/>
                    <a:gd name="connsiteX785" fmla="*/ 131846 w 215788"/>
                    <a:gd name="connsiteY785" fmla="*/ 558371 h 1282588"/>
                    <a:gd name="connsiteX786" fmla="*/ 130029 w 215788"/>
                    <a:gd name="connsiteY786" fmla="*/ 559911 h 1282588"/>
                    <a:gd name="connsiteX787" fmla="*/ 128578 w 215788"/>
                    <a:gd name="connsiteY787" fmla="*/ 560669 h 1282588"/>
                    <a:gd name="connsiteX788" fmla="*/ 127829 w 215788"/>
                    <a:gd name="connsiteY788" fmla="*/ 561663 h 1282588"/>
                    <a:gd name="connsiteX789" fmla="*/ 128391 w 215788"/>
                    <a:gd name="connsiteY789" fmla="*/ 563668 h 1282588"/>
                    <a:gd name="connsiteX790" fmla="*/ 129931 w 215788"/>
                    <a:gd name="connsiteY790" fmla="*/ 564271 h 1282588"/>
                    <a:gd name="connsiteX791" fmla="*/ 130469 w 215788"/>
                    <a:gd name="connsiteY791" fmla="*/ 565893 h 1282588"/>
                    <a:gd name="connsiteX792" fmla="*/ 130265 w 215788"/>
                    <a:gd name="connsiteY792" fmla="*/ 568427 h 1282588"/>
                    <a:gd name="connsiteX793" fmla="*/ 131284 w 215788"/>
                    <a:gd name="connsiteY793" fmla="*/ 570767 h 1282588"/>
                    <a:gd name="connsiteX794" fmla="*/ 131186 w 215788"/>
                    <a:gd name="connsiteY794" fmla="*/ 573619 h 1282588"/>
                    <a:gd name="connsiteX795" fmla="*/ 132173 w 215788"/>
                    <a:gd name="connsiteY795" fmla="*/ 578989 h 1282588"/>
                    <a:gd name="connsiteX796" fmla="*/ 131292 w 215788"/>
                    <a:gd name="connsiteY796" fmla="*/ 582518 h 1282588"/>
                    <a:gd name="connsiteX797" fmla="*/ 131594 w 215788"/>
                    <a:gd name="connsiteY797" fmla="*/ 585566 h 1282588"/>
                    <a:gd name="connsiteX798" fmla="*/ 131569 w 215788"/>
                    <a:gd name="connsiteY798" fmla="*/ 588574 h 1282588"/>
                    <a:gd name="connsiteX799" fmla="*/ 130282 w 215788"/>
                    <a:gd name="connsiteY799" fmla="*/ 590929 h 1282588"/>
                    <a:gd name="connsiteX800" fmla="*/ 127633 w 215788"/>
                    <a:gd name="connsiteY800" fmla="*/ 591393 h 1282588"/>
                    <a:gd name="connsiteX801" fmla="*/ 126182 w 215788"/>
                    <a:gd name="connsiteY801" fmla="*/ 593561 h 1282588"/>
                    <a:gd name="connsiteX802" fmla="*/ 123697 w 215788"/>
                    <a:gd name="connsiteY802" fmla="*/ 595933 h 1282588"/>
                    <a:gd name="connsiteX803" fmla="*/ 123428 w 215788"/>
                    <a:gd name="connsiteY803" fmla="*/ 597823 h 1282588"/>
                    <a:gd name="connsiteX804" fmla="*/ 123020 w 215788"/>
                    <a:gd name="connsiteY804" fmla="*/ 599559 h 1282588"/>
                    <a:gd name="connsiteX805" fmla="*/ 122002 w 215788"/>
                    <a:gd name="connsiteY805" fmla="*/ 600179 h 1282588"/>
                    <a:gd name="connsiteX806" fmla="*/ 120445 w 215788"/>
                    <a:gd name="connsiteY806" fmla="*/ 600179 h 1282588"/>
                    <a:gd name="connsiteX807" fmla="*/ 119157 w 215788"/>
                    <a:gd name="connsiteY807" fmla="*/ 600448 h 1282588"/>
                    <a:gd name="connsiteX808" fmla="*/ 117348 w 215788"/>
                    <a:gd name="connsiteY808" fmla="*/ 602681 h 1282588"/>
                    <a:gd name="connsiteX809" fmla="*/ 115425 w 215788"/>
                    <a:gd name="connsiteY809" fmla="*/ 603887 h 1282588"/>
                    <a:gd name="connsiteX810" fmla="*/ 114985 w 215788"/>
                    <a:gd name="connsiteY810" fmla="*/ 605696 h 1282588"/>
                    <a:gd name="connsiteX811" fmla="*/ 115156 w 215788"/>
                    <a:gd name="connsiteY811" fmla="*/ 607888 h 1282588"/>
                    <a:gd name="connsiteX812" fmla="*/ 114137 w 215788"/>
                    <a:gd name="connsiteY812" fmla="*/ 609258 h 1282588"/>
                    <a:gd name="connsiteX813" fmla="*/ 112841 w 215788"/>
                    <a:gd name="connsiteY813" fmla="*/ 611800 h 1282588"/>
                    <a:gd name="connsiteX814" fmla="*/ 112026 w 215788"/>
                    <a:gd name="connsiteY814" fmla="*/ 614522 h 1282588"/>
                    <a:gd name="connsiteX815" fmla="*/ 112841 w 215788"/>
                    <a:gd name="connsiteY815" fmla="*/ 617065 h 1282588"/>
                    <a:gd name="connsiteX816" fmla="*/ 113730 w 215788"/>
                    <a:gd name="connsiteY816" fmla="*/ 621621 h 1282588"/>
                    <a:gd name="connsiteX817" fmla="*/ 113868 w 215788"/>
                    <a:gd name="connsiteY817" fmla="*/ 623528 h 1282588"/>
                    <a:gd name="connsiteX818" fmla="*/ 112751 w 215788"/>
                    <a:gd name="connsiteY818" fmla="*/ 627301 h 1282588"/>
                    <a:gd name="connsiteX819" fmla="*/ 111839 w 215788"/>
                    <a:gd name="connsiteY819" fmla="*/ 629730 h 1282588"/>
                    <a:gd name="connsiteX820" fmla="*/ 112719 w 215788"/>
                    <a:gd name="connsiteY820" fmla="*/ 632835 h 1282588"/>
                    <a:gd name="connsiteX821" fmla="*/ 113469 w 215788"/>
                    <a:gd name="connsiteY821" fmla="*/ 634562 h 1282588"/>
                    <a:gd name="connsiteX822" fmla="*/ 112768 w 215788"/>
                    <a:gd name="connsiteY822" fmla="*/ 638377 h 1282588"/>
                    <a:gd name="connsiteX823" fmla="*/ 112173 w 215788"/>
                    <a:gd name="connsiteY823" fmla="*/ 640781 h 1282588"/>
                    <a:gd name="connsiteX824" fmla="*/ 112654 w 215788"/>
                    <a:gd name="connsiteY824" fmla="*/ 645165 h 1282588"/>
                    <a:gd name="connsiteX825" fmla="*/ 114422 w 215788"/>
                    <a:gd name="connsiteY825" fmla="*/ 650104 h 1282588"/>
                    <a:gd name="connsiteX826" fmla="*/ 116109 w 215788"/>
                    <a:gd name="connsiteY826" fmla="*/ 654505 h 1282588"/>
                    <a:gd name="connsiteX827" fmla="*/ 116362 w 215788"/>
                    <a:gd name="connsiteY827" fmla="*/ 659615 h 1282588"/>
                    <a:gd name="connsiteX828" fmla="*/ 116794 w 215788"/>
                    <a:gd name="connsiteY828" fmla="*/ 663665 h 1282588"/>
                    <a:gd name="connsiteX829" fmla="*/ 117601 w 215788"/>
                    <a:gd name="connsiteY829" fmla="*/ 668066 h 1282588"/>
                    <a:gd name="connsiteX830" fmla="*/ 119296 w 215788"/>
                    <a:gd name="connsiteY830" fmla="*/ 669810 h 1282588"/>
                    <a:gd name="connsiteX831" fmla="*/ 120583 w 215788"/>
                    <a:gd name="connsiteY831" fmla="*/ 671277 h 1282588"/>
                    <a:gd name="connsiteX832" fmla="*/ 120306 w 215788"/>
                    <a:gd name="connsiteY832" fmla="*/ 673404 h 1282588"/>
                    <a:gd name="connsiteX833" fmla="*/ 119361 w 215788"/>
                    <a:gd name="connsiteY833" fmla="*/ 675963 h 1282588"/>
                    <a:gd name="connsiteX834" fmla="*/ 118000 w 215788"/>
                    <a:gd name="connsiteY834" fmla="*/ 677895 h 1282588"/>
                    <a:gd name="connsiteX835" fmla="*/ 114642 w 215788"/>
                    <a:gd name="connsiteY835" fmla="*/ 678538 h 1282588"/>
                    <a:gd name="connsiteX836" fmla="*/ 111912 w 215788"/>
                    <a:gd name="connsiteY836" fmla="*/ 680282 h 1282588"/>
                    <a:gd name="connsiteX837" fmla="*/ 109712 w 215788"/>
                    <a:gd name="connsiteY837" fmla="*/ 681497 h 1282588"/>
                    <a:gd name="connsiteX838" fmla="*/ 108041 w 215788"/>
                    <a:gd name="connsiteY838" fmla="*/ 682955 h 1282588"/>
                    <a:gd name="connsiteX839" fmla="*/ 106843 w 215788"/>
                    <a:gd name="connsiteY839" fmla="*/ 684504 h 1282588"/>
                    <a:gd name="connsiteX840" fmla="*/ 106248 w 215788"/>
                    <a:gd name="connsiteY840" fmla="*/ 686223 h 1282588"/>
                    <a:gd name="connsiteX841" fmla="*/ 106647 w 215788"/>
                    <a:gd name="connsiteY841" fmla="*/ 693640 h 1282588"/>
                    <a:gd name="connsiteX842" fmla="*/ 106379 w 215788"/>
                    <a:gd name="connsiteY842" fmla="*/ 696386 h 1282588"/>
                    <a:gd name="connsiteX843" fmla="*/ 105254 w 215788"/>
                    <a:gd name="connsiteY843" fmla="*/ 700282 h 1282588"/>
                    <a:gd name="connsiteX844" fmla="*/ 104203 w 215788"/>
                    <a:gd name="connsiteY844" fmla="*/ 703411 h 1282588"/>
                    <a:gd name="connsiteX845" fmla="*/ 103754 w 215788"/>
                    <a:gd name="connsiteY845" fmla="*/ 704357 h 1282588"/>
                    <a:gd name="connsiteX846" fmla="*/ 103616 w 215788"/>
                    <a:gd name="connsiteY846" fmla="*/ 705750 h 1282588"/>
                    <a:gd name="connsiteX847" fmla="*/ 103412 w 215788"/>
                    <a:gd name="connsiteY847" fmla="*/ 707038 h 1282588"/>
                    <a:gd name="connsiteX848" fmla="*/ 102230 w 215788"/>
                    <a:gd name="connsiteY848" fmla="*/ 707332 h 1282588"/>
                    <a:gd name="connsiteX849" fmla="*/ 100559 w 215788"/>
                    <a:gd name="connsiteY849" fmla="*/ 706753 h 1282588"/>
                    <a:gd name="connsiteX850" fmla="*/ 99606 w 215788"/>
                    <a:gd name="connsiteY850" fmla="*/ 707128 h 1282588"/>
                    <a:gd name="connsiteX851" fmla="*/ 98930 w 215788"/>
                    <a:gd name="connsiteY851" fmla="*/ 708146 h 1282588"/>
                    <a:gd name="connsiteX852" fmla="*/ 99508 w 215788"/>
                    <a:gd name="connsiteY852" fmla="*/ 710583 h 1282588"/>
                    <a:gd name="connsiteX853" fmla="*/ 100119 w 215788"/>
                    <a:gd name="connsiteY853" fmla="*/ 714853 h 1282588"/>
                    <a:gd name="connsiteX854" fmla="*/ 100967 w 215788"/>
                    <a:gd name="connsiteY854" fmla="*/ 716671 h 1282588"/>
                    <a:gd name="connsiteX855" fmla="*/ 100739 w 215788"/>
                    <a:gd name="connsiteY855" fmla="*/ 718114 h 1282588"/>
                    <a:gd name="connsiteX856" fmla="*/ 100421 w 215788"/>
                    <a:gd name="connsiteY856" fmla="*/ 721211 h 1282588"/>
                    <a:gd name="connsiteX857" fmla="*/ 99321 w 215788"/>
                    <a:gd name="connsiteY857" fmla="*/ 723721 h 1282588"/>
                    <a:gd name="connsiteX858" fmla="*/ 97846 w 215788"/>
                    <a:gd name="connsiteY858" fmla="*/ 723713 h 1282588"/>
                    <a:gd name="connsiteX859" fmla="*/ 96892 w 215788"/>
                    <a:gd name="connsiteY859" fmla="*/ 724748 h 1282588"/>
                    <a:gd name="connsiteX860" fmla="*/ 96485 w 215788"/>
                    <a:gd name="connsiteY860" fmla="*/ 726508 h 1282588"/>
                    <a:gd name="connsiteX861" fmla="*/ 96925 w 215788"/>
                    <a:gd name="connsiteY861" fmla="*/ 728798 h 1282588"/>
                    <a:gd name="connsiteX862" fmla="*/ 98856 w 215788"/>
                    <a:gd name="connsiteY862" fmla="*/ 730680 h 1282588"/>
                    <a:gd name="connsiteX863" fmla="*/ 99533 w 215788"/>
                    <a:gd name="connsiteY863" fmla="*/ 731879 h 1282588"/>
                    <a:gd name="connsiteX864" fmla="*/ 99199 w 215788"/>
                    <a:gd name="connsiteY864" fmla="*/ 733452 h 1282588"/>
                    <a:gd name="connsiteX865" fmla="*/ 97707 w 215788"/>
                    <a:gd name="connsiteY865" fmla="*/ 734103 h 1282588"/>
                    <a:gd name="connsiteX866" fmla="*/ 96827 w 215788"/>
                    <a:gd name="connsiteY866" fmla="*/ 735415 h 1282588"/>
                    <a:gd name="connsiteX867" fmla="*/ 95979 w 215788"/>
                    <a:gd name="connsiteY867" fmla="*/ 738300 h 1282588"/>
                    <a:gd name="connsiteX868" fmla="*/ 94855 w 215788"/>
                    <a:gd name="connsiteY868" fmla="*/ 741568 h 1282588"/>
                    <a:gd name="connsiteX869" fmla="*/ 93657 w 215788"/>
                    <a:gd name="connsiteY869" fmla="*/ 743997 h 1282588"/>
                    <a:gd name="connsiteX870" fmla="*/ 93428 w 215788"/>
                    <a:gd name="connsiteY870" fmla="*/ 747314 h 1282588"/>
                    <a:gd name="connsiteX871" fmla="*/ 95124 w 215788"/>
                    <a:gd name="connsiteY871" fmla="*/ 750859 h 1282588"/>
                    <a:gd name="connsiteX872" fmla="*/ 94936 w 215788"/>
                    <a:gd name="connsiteY872" fmla="*/ 754331 h 1282588"/>
                    <a:gd name="connsiteX873" fmla="*/ 94814 w 215788"/>
                    <a:gd name="connsiteY873" fmla="*/ 764494 h 1282588"/>
                    <a:gd name="connsiteX874" fmla="*/ 94643 w 215788"/>
                    <a:gd name="connsiteY874" fmla="*/ 767958 h 1282588"/>
                    <a:gd name="connsiteX875" fmla="*/ 95164 w 215788"/>
                    <a:gd name="connsiteY875" fmla="*/ 773670 h 1282588"/>
                    <a:gd name="connsiteX876" fmla="*/ 94513 w 215788"/>
                    <a:gd name="connsiteY876" fmla="*/ 775243 h 1282588"/>
                    <a:gd name="connsiteX877" fmla="*/ 94170 w 215788"/>
                    <a:gd name="connsiteY877" fmla="*/ 776751 h 1282588"/>
                    <a:gd name="connsiteX878" fmla="*/ 95825 w 215788"/>
                    <a:gd name="connsiteY878" fmla="*/ 780915 h 1282588"/>
                    <a:gd name="connsiteX879" fmla="*/ 97675 w 215788"/>
                    <a:gd name="connsiteY879" fmla="*/ 787663 h 1282588"/>
                    <a:gd name="connsiteX880" fmla="*/ 98172 w 215788"/>
                    <a:gd name="connsiteY880" fmla="*/ 790361 h 1282588"/>
                    <a:gd name="connsiteX881" fmla="*/ 97903 w 215788"/>
                    <a:gd name="connsiteY881" fmla="*/ 792227 h 1282588"/>
                    <a:gd name="connsiteX882" fmla="*/ 95425 w 215788"/>
                    <a:gd name="connsiteY882" fmla="*/ 793816 h 1282588"/>
                    <a:gd name="connsiteX883" fmla="*/ 93355 w 215788"/>
                    <a:gd name="connsiteY883" fmla="*/ 794484 h 1282588"/>
                    <a:gd name="connsiteX884" fmla="*/ 92133 w 215788"/>
                    <a:gd name="connsiteY884" fmla="*/ 793352 h 1282588"/>
                    <a:gd name="connsiteX885" fmla="*/ 91318 w 215788"/>
                    <a:gd name="connsiteY885" fmla="*/ 793816 h 1282588"/>
                    <a:gd name="connsiteX886" fmla="*/ 90364 w 215788"/>
                    <a:gd name="connsiteY886" fmla="*/ 795805 h 1282588"/>
                    <a:gd name="connsiteX887" fmla="*/ 89280 w 215788"/>
                    <a:gd name="connsiteY887" fmla="*/ 797394 h 1282588"/>
                    <a:gd name="connsiteX888" fmla="*/ 88873 w 215788"/>
                    <a:gd name="connsiteY888" fmla="*/ 799000 h 1282588"/>
                    <a:gd name="connsiteX889" fmla="*/ 90022 w 215788"/>
                    <a:gd name="connsiteY889" fmla="*/ 801070 h 1282588"/>
                    <a:gd name="connsiteX890" fmla="*/ 90633 w 215788"/>
                    <a:gd name="connsiteY890" fmla="*/ 805014 h 1282588"/>
                    <a:gd name="connsiteX891" fmla="*/ 89346 w 215788"/>
                    <a:gd name="connsiteY891" fmla="*/ 806709 h 1282588"/>
                    <a:gd name="connsiteX892" fmla="*/ 88392 w 215788"/>
                    <a:gd name="connsiteY892" fmla="*/ 808592 h 1282588"/>
                    <a:gd name="connsiteX893" fmla="*/ 88734 w 215788"/>
                    <a:gd name="connsiteY893" fmla="*/ 811045 h 1282588"/>
                    <a:gd name="connsiteX894" fmla="*/ 89142 w 215788"/>
                    <a:gd name="connsiteY894" fmla="*/ 815479 h 1282588"/>
                    <a:gd name="connsiteX895" fmla="*/ 88327 w 215788"/>
                    <a:gd name="connsiteY895" fmla="*/ 822854 h 1282588"/>
                    <a:gd name="connsiteX896" fmla="*/ 89419 w 215788"/>
                    <a:gd name="connsiteY896" fmla="*/ 825462 h 1282588"/>
                    <a:gd name="connsiteX897" fmla="*/ 90609 w 215788"/>
                    <a:gd name="connsiteY897" fmla="*/ 826717 h 1282588"/>
                    <a:gd name="connsiteX898" fmla="*/ 94480 w 215788"/>
                    <a:gd name="connsiteY898" fmla="*/ 828217 h 1282588"/>
                    <a:gd name="connsiteX899" fmla="*/ 97381 w 215788"/>
                    <a:gd name="connsiteY899" fmla="*/ 828966 h 1282588"/>
                    <a:gd name="connsiteX900" fmla="*/ 98147 w 215788"/>
                    <a:gd name="connsiteY900" fmla="*/ 831403 h 1282588"/>
                    <a:gd name="connsiteX901" fmla="*/ 97821 w 215788"/>
                    <a:gd name="connsiteY901" fmla="*/ 833400 h 1282588"/>
                    <a:gd name="connsiteX902" fmla="*/ 96419 w 215788"/>
                    <a:gd name="connsiteY902" fmla="*/ 834370 h 1282588"/>
                    <a:gd name="connsiteX903" fmla="*/ 94317 w 215788"/>
                    <a:gd name="connsiteY903" fmla="*/ 835225 h 1282588"/>
                    <a:gd name="connsiteX904" fmla="*/ 94317 w 215788"/>
                    <a:gd name="connsiteY904" fmla="*/ 838452 h 1282588"/>
                    <a:gd name="connsiteX905" fmla="*/ 96118 w 215788"/>
                    <a:gd name="connsiteY905" fmla="*/ 841460 h 1282588"/>
                    <a:gd name="connsiteX906" fmla="*/ 98147 w 215788"/>
                    <a:gd name="connsiteY906" fmla="*/ 843652 h 1282588"/>
                    <a:gd name="connsiteX907" fmla="*/ 98587 w 215788"/>
                    <a:gd name="connsiteY907" fmla="*/ 845616 h 1282588"/>
                    <a:gd name="connsiteX908" fmla="*/ 98473 w 215788"/>
                    <a:gd name="connsiteY908" fmla="*/ 847637 h 1282588"/>
                    <a:gd name="connsiteX909" fmla="*/ 97055 w 215788"/>
                    <a:gd name="connsiteY909" fmla="*/ 849316 h 1282588"/>
                    <a:gd name="connsiteX910" fmla="*/ 99003 w 215788"/>
                    <a:gd name="connsiteY910" fmla="*/ 852975 h 1282588"/>
                    <a:gd name="connsiteX911" fmla="*/ 99891 w 215788"/>
                    <a:gd name="connsiteY911" fmla="*/ 855445 h 1282588"/>
                    <a:gd name="connsiteX912" fmla="*/ 98995 w 215788"/>
                    <a:gd name="connsiteY912" fmla="*/ 857360 h 1282588"/>
                    <a:gd name="connsiteX913" fmla="*/ 97732 w 215788"/>
                    <a:gd name="connsiteY913" fmla="*/ 860221 h 1282588"/>
                    <a:gd name="connsiteX914" fmla="*/ 96607 w 215788"/>
                    <a:gd name="connsiteY914" fmla="*/ 861598 h 1282588"/>
                    <a:gd name="connsiteX915" fmla="*/ 96615 w 215788"/>
                    <a:gd name="connsiteY915" fmla="*/ 863154 h 1282588"/>
                    <a:gd name="connsiteX916" fmla="*/ 96151 w 215788"/>
                    <a:gd name="connsiteY916" fmla="*/ 866316 h 1282588"/>
                    <a:gd name="connsiteX917" fmla="*/ 96045 w 215788"/>
                    <a:gd name="connsiteY917" fmla="*/ 869413 h 1282588"/>
                    <a:gd name="connsiteX918" fmla="*/ 96419 w 215788"/>
                    <a:gd name="connsiteY918" fmla="*/ 871272 h 1282588"/>
                    <a:gd name="connsiteX919" fmla="*/ 108677 w 215788"/>
                    <a:gd name="connsiteY919" fmla="*/ 872730 h 1282588"/>
                    <a:gd name="connsiteX920" fmla="*/ 111480 w 215788"/>
                    <a:gd name="connsiteY920" fmla="*/ 873293 h 1282588"/>
                    <a:gd name="connsiteX921" fmla="*/ 113012 w 215788"/>
                    <a:gd name="connsiteY921" fmla="*/ 875151 h 1282588"/>
                    <a:gd name="connsiteX922" fmla="*/ 112792 w 215788"/>
                    <a:gd name="connsiteY922" fmla="*/ 877457 h 1282588"/>
                    <a:gd name="connsiteX923" fmla="*/ 111260 w 215788"/>
                    <a:gd name="connsiteY923" fmla="*/ 879926 h 1282588"/>
                    <a:gd name="connsiteX924" fmla="*/ 110274 w 215788"/>
                    <a:gd name="connsiteY924" fmla="*/ 884555 h 1282588"/>
                    <a:gd name="connsiteX925" fmla="*/ 107870 w 215788"/>
                    <a:gd name="connsiteY925" fmla="*/ 885330 h 1282588"/>
                    <a:gd name="connsiteX926" fmla="*/ 105458 w 215788"/>
                    <a:gd name="connsiteY926" fmla="*/ 884091 h 1282588"/>
                    <a:gd name="connsiteX927" fmla="*/ 102850 w 215788"/>
                    <a:gd name="connsiteY927" fmla="*/ 884523 h 1282588"/>
                    <a:gd name="connsiteX928" fmla="*/ 100584 w 215788"/>
                    <a:gd name="connsiteY928" fmla="*/ 884816 h 1282588"/>
                    <a:gd name="connsiteX929" fmla="*/ 97332 w 215788"/>
                    <a:gd name="connsiteY929" fmla="*/ 884955 h 1282588"/>
                    <a:gd name="connsiteX930" fmla="*/ 93013 w 215788"/>
                    <a:gd name="connsiteY930" fmla="*/ 885558 h 1282588"/>
                    <a:gd name="connsiteX931" fmla="*/ 90364 w 215788"/>
                    <a:gd name="connsiteY931" fmla="*/ 884865 h 1282588"/>
                    <a:gd name="connsiteX932" fmla="*/ 90144 w 215788"/>
                    <a:gd name="connsiteY932" fmla="*/ 886568 h 1282588"/>
                    <a:gd name="connsiteX933" fmla="*/ 90910 w 215788"/>
                    <a:gd name="connsiteY933" fmla="*/ 889494 h 1282588"/>
                    <a:gd name="connsiteX934" fmla="*/ 96599 w 215788"/>
                    <a:gd name="connsiteY934" fmla="*/ 890423 h 1282588"/>
                    <a:gd name="connsiteX935" fmla="*/ 101953 w 215788"/>
                    <a:gd name="connsiteY935" fmla="*/ 892127 h 1282588"/>
                    <a:gd name="connsiteX936" fmla="*/ 103567 w 215788"/>
                    <a:gd name="connsiteY936" fmla="*/ 895240 h 1282588"/>
                    <a:gd name="connsiteX937" fmla="*/ 105743 w 215788"/>
                    <a:gd name="connsiteY937" fmla="*/ 898769 h 1282588"/>
                    <a:gd name="connsiteX938" fmla="*/ 107968 w 215788"/>
                    <a:gd name="connsiteY938" fmla="*/ 900961 h 1282588"/>
                    <a:gd name="connsiteX939" fmla="*/ 108074 w 215788"/>
                    <a:gd name="connsiteY939" fmla="*/ 904522 h 1282588"/>
                    <a:gd name="connsiteX940" fmla="*/ 104577 w 215788"/>
                    <a:gd name="connsiteY940" fmla="*/ 908247 h 1282588"/>
                    <a:gd name="connsiteX941" fmla="*/ 104137 w 215788"/>
                    <a:gd name="connsiteY941" fmla="*/ 910887 h 1282588"/>
                    <a:gd name="connsiteX942" fmla="*/ 99541 w 215788"/>
                    <a:gd name="connsiteY942" fmla="*/ 911653 h 1282588"/>
                    <a:gd name="connsiteX943" fmla="*/ 98229 w 215788"/>
                    <a:gd name="connsiteY943" fmla="*/ 913210 h 1282588"/>
                    <a:gd name="connsiteX944" fmla="*/ 97569 w 215788"/>
                    <a:gd name="connsiteY944" fmla="*/ 918344 h 1282588"/>
                    <a:gd name="connsiteX945" fmla="*/ 98115 w 215788"/>
                    <a:gd name="connsiteY945" fmla="*/ 922387 h 1282588"/>
                    <a:gd name="connsiteX946" fmla="*/ 99867 w 215788"/>
                    <a:gd name="connsiteY946" fmla="*/ 923788 h 1282588"/>
                    <a:gd name="connsiteX947" fmla="*/ 101073 w 215788"/>
                    <a:gd name="connsiteY947" fmla="*/ 926437 h 1282588"/>
                    <a:gd name="connsiteX948" fmla="*/ 99761 w 215788"/>
                    <a:gd name="connsiteY948" fmla="*/ 929550 h 1282588"/>
                    <a:gd name="connsiteX949" fmla="*/ 96664 w 215788"/>
                    <a:gd name="connsiteY949" fmla="*/ 931710 h 1282588"/>
                    <a:gd name="connsiteX950" fmla="*/ 95018 w 215788"/>
                    <a:gd name="connsiteY950" fmla="*/ 933747 h 1282588"/>
                    <a:gd name="connsiteX951" fmla="*/ 96053 w 215788"/>
                    <a:gd name="connsiteY951" fmla="*/ 935385 h 1282588"/>
                    <a:gd name="connsiteX952" fmla="*/ 97455 w 215788"/>
                    <a:gd name="connsiteY952" fmla="*/ 937969 h 1282588"/>
                    <a:gd name="connsiteX953" fmla="*/ 97838 w 215788"/>
                    <a:gd name="connsiteY953" fmla="*/ 939387 h 1282588"/>
                    <a:gd name="connsiteX954" fmla="*/ 98604 w 215788"/>
                    <a:gd name="connsiteY954" fmla="*/ 943217 h 1282588"/>
                    <a:gd name="connsiteX955" fmla="*/ 99492 w 215788"/>
                    <a:gd name="connsiteY955" fmla="*/ 948555 h 1282588"/>
                    <a:gd name="connsiteX956" fmla="*/ 99378 w 215788"/>
                    <a:gd name="connsiteY956" fmla="*/ 951147 h 1282588"/>
                    <a:gd name="connsiteX957" fmla="*/ 98555 w 215788"/>
                    <a:gd name="connsiteY957" fmla="*/ 953070 h 1282588"/>
                    <a:gd name="connsiteX958" fmla="*/ 95491 w 215788"/>
                    <a:gd name="connsiteY958" fmla="*/ 956118 h 1282588"/>
                    <a:gd name="connsiteX959" fmla="*/ 93412 w 215788"/>
                    <a:gd name="connsiteY959" fmla="*/ 957528 h 1282588"/>
                    <a:gd name="connsiteX960" fmla="*/ 93005 w 215788"/>
                    <a:gd name="connsiteY960" fmla="*/ 961277 h 1282588"/>
                    <a:gd name="connsiteX961" fmla="*/ 92850 w 215788"/>
                    <a:gd name="connsiteY961" fmla="*/ 964105 h 1282588"/>
                    <a:gd name="connsiteX962" fmla="*/ 93070 w 215788"/>
                    <a:gd name="connsiteY962" fmla="*/ 966648 h 1282588"/>
                    <a:gd name="connsiteX963" fmla="*/ 94407 w 215788"/>
                    <a:gd name="connsiteY963" fmla="*/ 968669 h 1282588"/>
                    <a:gd name="connsiteX964" fmla="*/ 94292 w 215788"/>
                    <a:gd name="connsiteY964" fmla="*/ 970714 h 1282588"/>
                    <a:gd name="connsiteX965" fmla="*/ 92467 w 215788"/>
                    <a:gd name="connsiteY965" fmla="*/ 971155 h 1282588"/>
                    <a:gd name="connsiteX966" fmla="*/ 90902 w 215788"/>
                    <a:gd name="connsiteY966" fmla="*/ 972141 h 1282588"/>
                    <a:gd name="connsiteX967" fmla="*/ 89370 w 215788"/>
                    <a:gd name="connsiteY967" fmla="*/ 975751 h 1282588"/>
                    <a:gd name="connsiteX968" fmla="*/ 84920 w 215788"/>
                    <a:gd name="connsiteY968" fmla="*/ 979443 h 1282588"/>
                    <a:gd name="connsiteX969" fmla="*/ 83355 w 215788"/>
                    <a:gd name="connsiteY969" fmla="*/ 981106 h 1282588"/>
                    <a:gd name="connsiteX970" fmla="*/ 83470 w 215788"/>
                    <a:gd name="connsiteY970" fmla="*/ 983933 h 1282588"/>
                    <a:gd name="connsiteX971" fmla="*/ 81709 w 215788"/>
                    <a:gd name="connsiteY971" fmla="*/ 987992 h 1282588"/>
                    <a:gd name="connsiteX972" fmla="*/ 80226 w 215788"/>
                    <a:gd name="connsiteY972" fmla="*/ 991537 h 1282588"/>
                    <a:gd name="connsiteX973" fmla="*/ 79093 w 215788"/>
                    <a:gd name="connsiteY973" fmla="*/ 994829 h 1282588"/>
                    <a:gd name="connsiteX974" fmla="*/ 79313 w 215788"/>
                    <a:gd name="connsiteY974" fmla="*/ 998309 h 1282588"/>
                    <a:gd name="connsiteX975" fmla="*/ 81823 w 215788"/>
                    <a:gd name="connsiteY975" fmla="*/ 999841 h 1282588"/>
                    <a:gd name="connsiteX976" fmla="*/ 83804 w 215788"/>
                    <a:gd name="connsiteY976" fmla="*/ 1003215 h 1282588"/>
                    <a:gd name="connsiteX977" fmla="*/ 84676 w 215788"/>
                    <a:gd name="connsiteY977" fmla="*/ 1007486 h 1282588"/>
                    <a:gd name="connsiteX978" fmla="*/ 83144 w 215788"/>
                    <a:gd name="connsiteY978" fmla="*/ 1012409 h 1282588"/>
                    <a:gd name="connsiteX979" fmla="*/ 79590 w 215788"/>
                    <a:gd name="connsiteY979" fmla="*/ 1014267 h 1282588"/>
                    <a:gd name="connsiteX980" fmla="*/ 77480 w 215788"/>
                    <a:gd name="connsiteY980" fmla="*/ 1016353 h 1282588"/>
                    <a:gd name="connsiteX981" fmla="*/ 76852 w 215788"/>
                    <a:gd name="connsiteY981" fmla="*/ 1017934 h 1282588"/>
                    <a:gd name="connsiteX982" fmla="*/ 77406 w 215788"/>
                    <a:gd name="connsiteY982" fmla="*/ 1023093 h 1282588"/>
                    <a:gd name="connsiteX983" fmla="*/ 77260 w 215788"/>
                    <a:gd name="connsiteY983" fmla="*/ 1025513 h 1282588"/>
                    <a:gd name="connsiteX984" fmla="*/ 76705 w 215788"/>
                    <a:gd name="connsiteY984" fmla="*/ 1027795 h 1282588"/>
                    <a:gd name="connsiteX985" fmla="*/ 75793 w 215788"/>
                    <a:gd name="connsiteY985" fmla="*/ 1029556 h 1282588"/>
                    <a:gd name="connsiteX986" fmla="*/ 73877 w 215788"/>
                    <a:gd name="connsiteY986" fmla="*/ 1031528 h 1282588"/>
                    <a:gd name="connsiteX987" fmla="*/ 70479 w 215788"/>
                    <a:gd name="connsiteY987" fmla="*/ 1033256 h 1282588"/>
                    <a:gd name="connsiteX988" fmla="*/ 67594 w 215788"/>
                    <a:gd name="connsiteY988" fmla="*/ 1034445 h 1282588"/>
                    <a:gd name="connsiteX989" fmla="*/ 66306 w 215788"/>
                    <a:gd name="connsiteY989" fmla="*/ 1035806 h 1282588"/>
                    <a:gd name="connsiteX990" fmla="*/ 64798 w 215788"/>
                    <a:gd name="connsiteY990" fmla="*/ 1038789 h 1282588"/>
                    <a:gd name="connsiteX991" fmla="*/ 63446 w 215788"/>
                    <a:gd name="connsiteY991" fmla="*/ 1042090 h 1282588"/>
                    <a:gd name="connsiteX992" fmla="*/ 63788 w 215788"/>
                    <a:gd name="connsiteY992" fmla="*/ 1046173 h 1282588"/>
                    <a:gd name="connsiteX993" fmla="*/ 55695 w 215788"/>
                    <a:gd name="connsiteY993" fmla="*/ 1046654 h 1282588"/>
                    <a:gd name="connsiteX994" fmla="*/ 55149 w 215788"/>
                    <a:gd name="connsiteY994" fmla="*/ 1049685 h 1282588"/>
                    <a:gd name="connsiteX995" fmla="*/ 53405 w 215788"/>
                    <a:gd name="connsiteY995" fmla="*/ 1052089 h 1282588"/>
                    <a:gd name="connsiteX996" fmla="*/ 52851 w 215788"/>
                    <a:gd name="connsiteY996" fmla="*/ 1056417 h 1282588"/>
                    <a:gd name="connsiteX997" fmla="*/ 54636 w 215788"/>
                    <a:gd name="connsiteY997" fmla="*/ 1060598 h 1282588"/>
                    <a:gd name="connsiteX998" fmla="*/ 55475 w 215788"/>
                    <a:gd name="connsiteY998" fmla="*/ 1064111 h 1282588"/>
                    <a:gd name="connsiteX999" fmla="*/ 54033 w 215788"/>
                    <a:gd name="connsiteY999" fmla="*/ 1068357 h 1282588"/>
                    <a:gd name="connsiteX1000" fmla="*/ 54554 w 215788"/>
                    <a:gd name="connsiteY1000" fmla="*/ 1072692 h 1282588"/>
                    <a:gd name="connsiteX1001" fmla="*/ 54717 w 215788"/>
                    <a:gd name="connsiteY1001" fmla="*/ 1076172 h 1282588"/>
                    <a:gd name="connsiteX1002" fmla="*/ 57562 w 215788"/>
                    <a:gd name="connsiteY1002" fmla="*/ 1080035 h 1282588"/>
                    <a:gd name="connsiteX1003" fmla="*/ 59420 w 215788"/>
                    <a:gd name="connsiteY1003" fmla="*/ 1084811 h 1282588"/>
                    <a:gd name="connsiteX1004" fmla="*/ 60349 w 215788"/>
                    <a:gd name="connsiteY1004" fmla="*/ 1088853 h 1282588"/>
                    <a:gd name="connsiteX1005" fmla="*/ 60911 w 215788"/>
                    <a:gd name="connsiteY1005" fmla="*/ 1092007 h 1282588"/>
                    <a:gd name="connsiteX1006" fmla="*/ 61653 w 215788"/>
                    <a:gd name="connsiteY1006" fmla="*/ 1093914 h 1282588"/>
                    <a:gd name="connsiteX1007" fmla="*/ 62818 w 215788"/>
                    <a:gd name="connsiteY1007" fmla="*/ 1096082 h 1282588"/>
                    <a:gd name="connsiteX1008" fmla="*/ 63348 w 215788"/>
                    <a:gd name="connsiteY1008" fmla="*/ 1098592 h 1282588"/>
                    <a:gd name="connsiteX1009" fmla="*/ 65100 w 215788"/>
                    <a:gd name="connsiteY1009" fmla="*/ 1099407 h 1282588"/>
                    <a:gd name="connsiteX1010" fmla="*/ 68246 w 215788"/>
                    <a:gd name="connsiteY1010" fmla="*/ 1097068 h 1282588"/>
                    <a:gd name="connsiteX1011" fmla="*/ 70463 w 215788"/>
                    <a:gd name="connsiteY1011" fmla="*/ 1095479 h 1282588"/>
                    <a:gd name="connsiteX1012" fmla="*/ 72011 w 215788"/>
                    <a:gd name="connsiteY1012" fmla="*/ 1094916 h 1282588"/>
                    <a:gd name="connsiteX1013" fmla="*/ 76559 w 215788"/>
                    <a:gd name="connsiteY1013" fmla="*/ 1095283 h 1282588"/>
                    <a:gd name="connsiteX1014" fmla="*/ 79297 w 215788"/>
                    <a:gd name="connsiteY1014" fmla="*/ 1093808 h 1282588"/>
                    <a:gd name="connsiteX1015" fmla="*/ 80528 w 215788"/>
                    <a:gd name="connsiteY1015" fmla="*/ 1093963 h 1282588"/>
                    <a:gd name="connsiteX1016" fmla="*/ 82206 w 215788"/>
                    <a:gd name="connsiteY1016" fmla="*/ 1094802 h 1282588"/>
                    <a:gd name="connsiteX1017" fmla="*/ 83510 w 215788"/>
                    <a:gd name="connsiteY1017" fmla="*/ 1096538 h 1282588"/>
                    <a:gd name="connsiteX1018" fmla="*/ 84497 w 215788"/>
                    <a:gd name="connsiteY1018" fmla="*/ 1100491 h 1282588"/>
                    <a:gd name="connsiteX1019" fmla="*/ 85091 w 215788"/>
                    <a:gd name="connsiteY1019" fmla="*/ 1104924 h 1282588"/>
                    <a:gd name="connsiteX1020" fmla="*/ 84325 w 215788"/>
                    <a:gd name="connsiteY1020" fmla="*/ 1109447 h 1282588"/>
                    <a:gd name="connsiteX1021" fmla="*/ 83038 w 215788"/>
                    <a:gd name="connsiteY1021" fmla="*/ 1110425 h 1282588"/>
                    <a:gd name="connsiteX1022" fmla="*/ 82598 w 215788"/>
                    <a:gd name="connsiteY1022" fmla="*/ 1111721 h 1282588"/>
                    <a:gd name="connsiteX1023" fmla="*/ 83038 w 215788"/>
                    <a:gd name="connsiteY1023" fmla="*/ 1114484 h 1282588"/>
                    <a:gd name="connsiteX1024" fmla="*/ 84464 w 215788"/>
                    <a:gd name="connsiteY1024" fmla="*/ 1116424 h 1282588"/>
                    <a:gd name="connsiteX1025" fmla="*/ 84423 w 215788"/>
                    <a:gd name="connsiteY1025" fmla="*/ 1119219 h 1282588"/>
                    <a:gd name="connsiteX1026" fmla="*/ 82858 w 215788"/>
                    <a:gd name="connsiteY1026" fmla="*/ 1125535 h 1282588"/>
                    <a:gd name="connsiteX1027" fmla="*/ 81840 w 215788"/>
                    <a:gd name="connsiteY1027" fmla="*/ 1128135 h 1282588"/>
                    <a:gd name="connsiteX1028" fmla="*/ 83657 w 215788"/>
                    <a:gd name="connsiteY1028" fmla="*/ 1131060 h 1282588"/>
                    <a:gd name="connsiteX1029" fmla="*/ 85279 w 215788"/>
                    <a:gd name="connsiteY1029" fmla="*/ 1133685 h 1282588"/>
                    <a:gd name="connsiteX1030" fmla="*/ 88555 w 215788"/>
                    <a:gd name="connsiteY1030" fmla="*/ 1135633 h 1282588"/>
                    <a:gd name="connsiteX1031" fmla="*/ 91252 w 215788"/>
                    <a:gd name="connsiteY1031" fmla="*/ 1138395 h 1282588"/>
                    <a:gd name="connsiteX1032" fmla="*/ 93111 w 215788"/>
                    <a:gd name="connsiteY1032" fmla="*/ 1140677 h 1282588"/>
                    <a:gd name="connsiteX1033" fmla="*/ 92671 w 215788"/>
                    <a:gd name="connsiteY1033" fmla="*/ 1143774 h 1282588"/>
                    <a:gd name="connsiteX1034" fmla="*/ 93966 w 215788"/>
                    <a:gd name="connsiteY1034" fmla="*/ 1144720 h 1282588"/>
                    <a:gd name="connsiteX1035" fmla="*/ 98978 w 215788"/>
                    <a:gd name="connsiteY1035" fmla="*/ 1144785 h 1282588"/>
                    <a:gd name="connsiteX1036" fmla="*/ 106468 w 215788"/>
                    <a:gd name="connsiteY1036" fmla="*/ 1144883 h 1282588"/>
                    <a:gd name="connsiteX1037" fmla="*/ 118163 w 215788"/>
                    <a:gd name="connsiteY1037" fmla="*/ 1145045 h 1282588"/>
                    <a:gd name="connsiteX1038" fmla="*/ 129581 w 215788"/>
                    <a:gd name="connsiteY1038" fmla="*/ 1145201 h 1282588"/>
                    <a:gd name="connsiteX1039" fmla="*/ 142539 w 215788"/>
                    <a:gd name="connsiteY1039" fmla="*/ 1145412 h 1282588"/>
                    <a:gd name="connsiteX1040" fmla="*/ 148676 w 215788"/>
                    <a:gd name="connsiteY1040" fmla="*/ 1147914 h 1282588"/>
                    <a:gd name="connsiteX1041" fmla="*/ 154242 w 215788"/>
                    <a:gd name="connsiteY1041" fmla="*/ 1150163 h 1282588"/>
                    <a:gd name="connsiteX1042" fmla="*/ 161234 w 215788"/>
                    <a:gd name="connsiteY1042" fmla="*/ 1150163 h 1282588"/>
                    <a:gd name="connsiteX1043" fmla="*/ 168227 w 215788"/>
                    <a:gd name="connsiteY1043" fmla="*/ 1152845 h 1282588"/>
                    <a:gd name="connsiteX1044" fmla="*/ 173418 w 215788"/>
                    <a:gd name="connsiteY1044" fmla="*/ 1154597 h 1282588"/>
                    <a:gd name="connsiteX1045" fmla="*/ 176531 w 215788"/>
                    <a:gd name="connsiteY1045" fmla="*/ 1155257 h 1282588"/>
                    <a:gd name="connsiteX1046" fmla="*/ 179718 w 215788"/>
                    <a:gd name="connsiteY1046" fmla="*/ 1155893 h 1282588"/>
                    <a:gd name="connsiteX1047" fmla="*/ 180158 w 215788"/>
                    <a:gd name="connsiteY1047" fmla="*/ 1158354 h 1282588"/>
                    <a:gd name="connsiteX1048" fmla="*/ 166173 w 215788"/>
                    <a:gd name="connsiteY1048" fmla="*/ 1154858 h 1282588"/>
                    <a:gd name="connsiteX1049" fmla="*/ 163035 w 215788"/>
                    <a:gd name="connsiteY1049" fmla="*/ 1152959 h 1282588"/>
                    <a:gd name="connsiteX1050" fmla="*/ 160379 w 215788"/>
                    <a:gd name="connsiteY1050" fmla="*/ 1152747 h 1282588"/>
                    <a:gd name="connsiteX1051" fmla="*/ 155277 w 215788"/>
                    <a:gd name="connsiteY1051" fmla="*/ 1155119 h 1282588"/>
                    <a:gd name="connsiteX1052" fmla="*/ 152457 w 215788"/>
                    <a:gd name="connsiteY1052" fmla="*/ 1160774 h 1282588"/>
                    <a:gd name="connsiteX1053" fmla="*/ 150974 w 215788"/>
                    <a:gd name="connsiteY1053" fmla="*/ 1162372 h 1282588"/>
                    <a:gd name="connsiteX1054" fmla="*/ 147429 w 215788"/>
                    <a:gd name="connsiteY1054" fmla="*/ 1163896 h 1282588"/>
                    <a:gd name="connsiteX1055" fmla="*/ 143859 w 215788"/>
                    <a:gd name="connsiteY1055" fmla="*/ 1164198 h 1282588"/>
                    <a:gd name="connsiteX1056" fmla="*/ 131855 w 215788"/>
                    <a:gd name="connsiteY1056" fmla="*/ 1169674 h 1282588"/>
                    <a:gd name="connsiteX1057" fmla="*/ 127592 w 215788"/>
                    <a:gd name="connsiteY1057" fmla="*/ 1170155 h 1282588"/>
                    <a:gd name="connsiteX1058" fmla="*/ 124691 w 215788"/>
                    <a:gd name="connsiteY1058" fmla="*/ 1171614 h 1282588"/>
                    <a:gd name="connsiteX1059" fmla="*/ 121839 w 215788"/>
                    <a:gd name="connsiteY1059" fmla="*/ 1173708 h 1282588"/>
                    <a:gd name="connsiteX1060" fmla="*/ 120747 w 215788"/>
                    <a:gd name="connsiteY1060" fmla="*/ 1178223 h 1282588"/>
                    <a:gd name="connsiteX1061" fmla="*/ 121186 w 215788"/>
                    <a:gd name="connsiteY1061" fmla="*/ 1180978 h 1282588"/>
                    <a:gd name="connsiteX1062" fmla="*/ 117943 w 215788"/>
                    <a:gd name="connsiteY1062" fmla="*/ 1190839 h 1282588"/>
                    <a:gd name="connsiteX1063" fmla="*/ 117144 w 215788"/>
                    <a:gd name="connsiteY1063" fmla="*/ 1196332 h 1282588"/>
                    <a:gd name="connsiteX1064" fmla="*/ 117120 w 215788"/>
                    <a:gd name="connsiteY1064" fmla="*/ 1199143 h 1282588"/>
                    <a:gd name="connsiteX1065" fmla="*/ 118049 w 215788"/>
                    <a:gd name="connsiteY1065" fmla="*/ 1203731 h 1282588"/>
                    <a:gd name="connsiteX1066" fmla="*/ 116859 w 215788"/>
                    <a:gd name="connsiteY1066" fmla="*/ 1211588 h 1282588"/>
                    <a:gd name="connsiteX1067" fmla="*/ 114699 w 215788"/>
                    <a:gd name="connsiteY1067" fmla="*/ 1213291 h 1282588"/>
                    <a:gd name="connsiteX1068" fmla="*/ 109370 w 215788"/>
                    <a:gd name="connsiteY1068" fmla="*/ 1215500 h 1282588"/>
                    <a:gd name="connsiteX1069" fmla="*/ 105743 w 215788"/>
                    <a:gd name="connsiteY1069" fmla="*/ 1213903 h 1282588"/>
                    <a:gd name="connsiteX1070" fmla="*/ 99549 w 215788"/>
                    <a:gd name="connsiteY1070" fmla="*/ 1212476 h 1282588"/>
                    <a:gd name="connsiteX1071" fmla="*/ 95132 w 215788"/>
                    <a:gd name="connsiteY1071" fmla="*/ 1209453 h 1282588"/>
                    <a:gd name="connsiteX1072" fmla="*/ 89452 w 215788"/>
                    <a:gd name="connsiteY1072" fmla="*/ 1207309 h 1282588"/>
                    <a:gd name="connsiteX1073" fmla="*/ 87626 w 215788"/>
                    <a:gd name="connsiteY1073" fmla="*/ 1206054 h 1282588"/>
                    <a:gd name="connsiteX1074" fmla="*/ 82606 w 215788"/>
                    <a:gd name="connsiteY1074" fmla="*/ 1199991 h 1282588"/>
                    <a:gd name="connsiteX1075" fmla="*/ 82076 w 215788"/>
                    <a:gd name="connsiteY1075" fmla="*/ 1198002 h 1282588"/>
                    <a:gd name="connsiteX1076" fmla="*/ 81709 w 215788"/>
                    <a:gd name="connsiteY1076" fmla="*/ 1195460 h 1282588"/>
                    <a:gd name="connsiteX1077" fmla="*/ 84358 w 215788"/>
                    <a:gd name="connsiteY1077" fmla="*/ 1191850 h 1282588"/>
                    <a:gd name="connsiteX1078" fmla="*/ 85784 w 215788"/>
                    <a:gd name="connsiteY1078" fmla="*/ 1191581 h 1282588"/>
                    <a:gd name="connsiteX1079" fmla="*/ 89941 w 215788"/>
                    <a:gd name="connsiteY1079" fmla="*/ 1191694 h 1282588"/>
                    <a:gd name="connsiteX1080" fmla="*/ 93396 w 215788"/>
                    <a:gd name="connsiteY1080" fmla="*/ 1191116 h 1282588"/>
                    <a:gd name="connsiteX1081" fmla="*/ 95605 w 215788"/>
                    <a:gd name="connsiteY1081" fmla="*/ 1193047 h 1282588"/>
                    <a:gd name="connsiteX1082" fmla="*/ 96216 w 215788"/>
                    <a:gd name="connsiteY1082" fmla="*/ 1197277 h 1282588"/>
                    <a:gd name="connsiteX1083" fmla="*/ 95246 w 215788"/>
                    <a:gd name="connsiteY1083" fmla="*/ 1199526 h 1282588"/>
                    <a:gd name="connsiteX1084" fmla="*/ 94366 w 215788"/>
                    <a:gd name="connsiteY1084" fmla="*/ 1200920 h 1282588"/>
                    <a:gd name="connsiteX1085" fmla="*/ 94643 w 215788"/>
                    <a:gd name="connsiteY1085" fmla="*/ 1201971 h 1282588"/>
                    <a:gd name="connsiteX1086" fmla="*/ 97129 w 215788"/>
                    <a:gd name="connsiteY1086" fmla="*/ 1200513 h 1282588"/>
                    <a:gd name="connsiteX1087" fmla="*/ 98392 w 215788"/>
                    <a:gd name="connsiteY1087" fmla="*/ 1191051 h 1282588"/>
                    <a:gd name="connsiteX1088" fmla="*/ 106835 w 215788"/>
                    <a:gd name="connsiteY1088" fmla="*/ 1186365 h 1282588"/>
                    <a:gd name="connsiteX1089" fmla="*/ 109598 w 215788"/>
                    <a:gd name="connsiteY1089" fmla="*/ 1183610 h 1282588"/>
                    <a:gd name="connsiteX1090" fmla="*/ 112295 w 215788"/>
                    <a:gd name="connsiteY1090" fmla="*/ 1179388 h 1282588"/>
                    <a:gd name="connsiteX1091" fmla="*/ 112711 w 215788"/>
                    <a:gd name="connsiteY1091" fmla="*/ 1178174 h 1282588"/>
                    <a:gd name="connsiteX1092" fmla="*/ 112923 w 215788"/>
                    <a:gd name="connsiteY1092" fmla="*/ 1176593 h 1282588"/>
                    <a:gd name="connsiteX1093" fmla="*/ 111130 w 215788"/>
                    <a:gd name="connsiteY1093" fmla="*/ 1175289 h 1282588"/>
                    <a:gd name="connsiteX1094" fmla="*/ 107145 w 215788"/>
                    <a:gd name="connsiteY1094" fmla="*/ 1173553 h 1282588"/>
                    <a:gd name="connsiteX1095" fmla="*/ 94488 w 215788"/>
                    <a:gd name="connsiteY1095" fmla="*/ 1182420 h 1282588"/>
                    <a:gd name="connsiteX1096" fmla="*/ 88751 w 215788"/>
                    <a:gd name="connsiteY1096" fmla="*/ 1184767 h 1282588"/>
                    <a:gd name="connsiteX1097" fmla="*/ 85059 w 215788"/>
                    <a:gd name="connsiteY1097" fmla="*/ 1187310 h 1282588"/>
                    <a:gd name="connsiteX1098" fmla="*/ 80585 w 215788"/>
                    <a:gd name="connsiteY1098" fmla="*/ 1191882 h 1282588"/>
                    <a:gd name="connsiteX1099" fmla="*/ 79737 w 215788"/>
                    <a:gd name="connsiteY1099" fmla="*/ 1193251 h 1282588"/>
                    <a:gd name="connsiteX1100" fmla="*/ 78792 w 215788"/>
                    <a:gd name="connsiteY1100" fmla="*/ 1196291 h 1282588"/>
                    <a:gd name="connsiteX1101" fmla="*/ 78335 w 215788"/>
                    <a:gd name="connsiteY1101" fmla="*/ 1199616 h 1282588"/>
                    <a:gd name="connsiteX1102" fmla="*/ 73926 w 215788"/>
                    <a:gd name="connsiteY1102" fmla="*/ 1198092 h 1282588"/>
                    <a:gd name="connsiteX1103" fmla="*/ 67187 w 215788"/>
                    <a:gd name="connsiteY1103" fmla="*/ 1193243 h 1282588"/>
                    <a:gd name="connsiteX1104" fmla="*/ 65834 w 215788"/>
                    <a:gd name="connsiteY1104" fmla="*/ 1191466 h 1282588"/>
                    <a:gd name="connsiteX1105" fmla="*/ 67187 w 215788"/>
                    <a:gd name="connsiteY1105" fmla="*/ 1188980 h 1282588"/>
                    <a:gd name="connsiteX1106" fmla="*/ 69240 w 215788"/>
                    <a:gd name="connsiteY1106" fmla="*/ 1186911 h 1282588"/>
                    <a:gd name="connsiteX1107" fmla="*/ 69379 w 215788"/>
                    <a:gd name="connsiteY1107" fmla="*/ 1179983 h 1282588"/>
                    <a:gd name="connsiteX1108" fmla="*/ 69892 w 215788"/>
                    <a:gd name="connsiteY1108" fmla="*/ 1177555 h 1282588"/>
                    <a:gd name="connsiteX1109" fmla="*/ 71310 w 215788"/>
                    <a:gd name="connsiteY1109" fmla="*/ 1175607 h 1282588"/>
                    <a:gd name="connsiteX1110" fmla="*/ 73894 w 215788"/>
                    <a:gd name="connsiteY1110" fmla="*/ 1173463 h 1282588"/>
                    <a:gd name="connsiteX1111" fmla="*/ 75173 w 215788"/>
                    <a:gd name="connsiteY1111" fmla="*/ 1172967 h 1282588"/>
                    <a:gd name="connsiteX1112" fmla="*/ 76265 w 215788"/>
                    <a:gd name="connsiteY1112" fmla="*/ 1173896 h 1282588"/>
                    <a:gd name="connsiteX1113" fmla="*/ 76404 w 215788"/>
                    <a:gd name="connsiteY1113" fmla="*/ 1175525 h 1282588"/>
                    <a:gd name="connsiteX1114" fmla="*/ 80699 w 215788"/>
                    <a:gd name="connsiteY1114" fmla="*/ 1175411 h 1282588"/>
                    <a:gd name="connsiteX1115" fmla="*/ 89028 w 215788"/>
                    <a:gd name="connsiteY1115" fmla="*/ 1169266 h 1282588"/>
                    <a:gd name="connsiteX1116" fmla="*/ 92459 w 215788"/>
                    <a:gd name="connsiteY1116" fmla="*/ 1169120 h 1282588"/>
                    <a:gd name="connsiteX1117" fmla="*/ 96982 w 215788"/>
                    <a:gd name="connsiteY1117" fmla="*/ 1170489 h 1282588"/>
                    <a:gd name="connsiteX1118" fmla="*/ 102084 w 215788"/>
                    <a:gd name="connsiteY1118" fmla="*/ 1169666 h 1282588"/>
                    <a:gd name="connsiteX1119" fmla="*/ 103005 w 215788"/>
                    <a:gd name="connsiteY1119" fmla="*/ 1169046 h 1282588"/>
                    <a:gd name="connsiteX1120" fmla="*/ 104064 w 215788"/>
                    <a:gd name="connsiteY1120" fmla="*/ 1167604 h 1282588"/>
                    <a:gd name="connsiteX1121" fmla="*/ 100258 w 215788"/>
                    <a:gd name="connsiteY1121" fmla="*/ 1165917 h 1282588"/>
                    <a:gd name="connsiteX1122" fmla="*/ 96615 w 215788"/>
                    <a:gd name="connsiteY1122" fmla="*/ 1165061 h 1282588"/>
                    <a:gd name="connsiteX1123" fmla="*/ 86346 w 215788"/>
                    <a:gd name="connsiteY1123" fmla="*/ 1164466 h 1282588"/>
                    <a:gd name="connsiteX1124" fmla="*/ 84121 w 215788"/>
                    <a:gd name="connsiteY1124" fmla="*/ 1165126 h 1282588"/>
                    <a:gd name="connsiteX1125" fmla="*/ 81090 w 215788"/>
                    <a:gd name="connsiteY1125" fmla="*/ 1168378 h 1282588"/>
                    <a:gd name="connsiteX1126" fmla="*/ 80079 w 215788"/>
                    <a:gd name="connsiteY1126" fmla="*/ 1167547 h 1282588"/>
                    <a:gd name="connsiteX1127" fmla="*/ 79427 w 215788"/>
                    <a:gd name="connsiteY1127" fmla="*/ 1165917 h 1282588"/>
                    <a:gd name="connsiteX1128" fmla="*/ 75947 w 215788"/>
                    <a:gd name="connsiteY1128" fmla="*/ 1164752 h 1282588"/>
                    <a:gd name="connsiteX1129" fmla="*/ 74277 w 215788"/>
                    <a:gd name="connsiteY1129" fmla="*/ 1164996 h 1282588"/>
                    <a:gd name="connsiteX1130" fmla="*/ 72679 w 215788"/>
                    <a:gd name="connsiteY1130" fmla="*/ 1166553 h 1282588"/>
                    <a:gd name="connsiteX1131" fmla="*/ 72940 w 215788"/>
                    <a:gd name="connsiteY1131" fmla="*/ 1168981 h 1282588"/>
                    <a:gd name="connsiteX1132" fmla="*/ 72052 w 215788"/>
                    <a:gd name="connsiteY1132" fmla="*/ 1171589 h 1282588"/>
                    <a:gd name="connsiteX1133" fmla="*/ 68833 w 215788"/>
                    <a:gd name="connsiteY1133" fmla="*/ 1174164 h 1282588"/>
                    <a:gd name="connsiteX1134" fmla="*/ 66632 w 215788"/>
                    <a:gd name="connsiteY1134" fmla="*/ 1178272 h 1282588"/>
                    <a:gd name="connsiteX1135" fmla="*/ 66738 w 215788"/>
                    <a:gd name="connsiteY1135" fmla="*/ 1181475 h 1282588"/>
                    <a:gd name="connsiteX1136" fmla="*/ 66567 w 215788"/>
                    <a:gd name="connsiteY1136" fmla="*/ 1183145 h 1282588"/>
                    <a:gd name="connsiteX1137" fmla="*/ 65760 w 215788"/>
                    <a:gd name="connsiteY1137" fmla="*/ 1184034 h 1282588"/>
                    <a:gd name="connsiteX1138" fmla="*/ 64098 w 215788"/>
                    <a:gd name="connsiteY1138" fmla="*/ 1185085 h 1282588"/>
                    <a:gd name="connsiteX1139" fmla="*/ 58743 w 215788"/>
                    <a:gd name="connsiteY1139" fmla="*/ 1184360 h 1282588"/>
                    <a:gd name="connsiteX1140" fmla="*/ 55728 w 215788"/>
                    <a:gd name="connsiteY1140" fmla="*/ 1181010 h 1282588"/>
                    <a:gd name="connsiteX1141" fmla="*/ 54546 w 215788"/>
                    <a:gd name="connsiteY1141" fmla="*/ 1178720 h 1282588"/>
                    <a:gd name="connsiteX1142" fmla="*/ 51132 w 215788"/>
                    <a:gd name="connsiteY1142" fmla="*/ 1176226 h 1282588"/>
                    <a:gd name="connsiteX1143" fmla="*/ 58556 w 215788"/>
                    <a:gd name="connsiteY1143" fmla="*/ 1173138 h 1282588"/>
                    <a:gd name="connsiteX1144" fmla="*/ 61164 w 215788"/>
                    <a:gd name="connsiteY1144" fmla="*/ 1171385 h 1282588"/>
                    <a:gd name="connsiteX1145" fmla="*/ 63543 w 215788"/>
                    <a:gd name="connsiteY1145" fmla="*/ 1167466 h 1282588"/>
                    <a:gd name="connsiteX1146" fmla="*/ 65320 w 215788"/>
                    <a:gd name="connsiteY1146" fmla="*/ 1164972 h 1282588"/>
                    <a:gd name="connsiteX1147" fmla="*/ 64065 w 215788"/>
                    <a:gd name="connsiteY1147" fmla="*/ 1163211 h 1282588"/>
                    <a:gd name="connsiteX1148" fmla="*/ 62582 w 215788"/>
                    <a:gd name="connsiteY1148" fmla="*/ 1163211 h 1282588"/>
                    <a:gd name="connsiteX1149" fmla="*/ 62720 w 215788"/>
                    <a:gd name="connsiteY1149" fmla="*/ 1165998 h 1282588"/>
                    <a:gd name="connsiteX1150" fmla="*/ 61082 w 215788"/>
                    <a:gd name="connsiteY1150" fmla="*/ 1168288 h 1282588"/>
                    <a:gd name="connsiteX1151" fmla="*/ 57667 w 215788"/>
                    <a:gd name="connsiteY1151" fmla="*/ 1167204 h 1282588"/>
                    <a:gd name="connsiteX1152" fmla="*/ 52615 w 215788"/>
                    <a:gd name="connsiteY1152" fmla="*/ 1170578 h 1282588"/>
                    <a:gd name="connsiteX1153" fmla="*/ 49518 w 215788"/>
                    <a:gd name="connsiteY1153" fmla="*/ 1169674 h 1282588"/>
                    <a:gd name="connsiteX1154" fmla="*/ 44465 w 215788"/>
                    <a:gd name="connsiteY1154" fmla="*/ 1170676 h 1282588"/>
                    <a:gd name="connsiteX1155" fmla="*/ 41987 w 215788"/>
                    <a:gd name="connsiteY1155" fmla="*/ 1168843 h 1282588"/>
                    <a:gd name="connsiteX1156" fmla="*/ 41458 w 215788"/>
                    <a:gd name="connsiteY1156" fmla="*/ 1166536 h 1282588"/>
                    <a:gd name="connsiteX1157" fmla="*/ 42346 w 215788"/>
                    <a:gd name="connsiteY1157" fmla="*/ 1164140 h 1282588"/>
                    <a:gd name="connsiteX1158" fmla="*/ 41417 w 215788"/>
                    <a:gd name="connsiteY1158" fmla="*/ 1160058 h 1282588"/>
                    <a:gd name="connsiteX1159" fmla="*/ 40023 w 215788"/>
                    <a:gd name="connsiteY1159" fmla="*/ 1159055 h 1282588"/>
                    <a:gd name="connsiteX1160" fmla="*/ 38605 w 215788"/>
                    <a:gd name="connsiteY1160" fmla="*/ 1159291 h 1282588"/>
                    <a:gd name="connsiteX1161" fmla="*/ 37961 w 215788"/>
                    <a:gd name="connsiteY1161" fmla="*/ 1156871 h 1282588"/>
                    <a:gd name="connsiteX1162" fmla="*/ 36429 w 215788"/>
                    <a:gd name="connsiteY1162" fmla="*/ 1152600 h 1282588"/>
                    <a:gd name="connsiteX1163" fmla="*/ 35753 w 215788"/>
                    <a:gd name="connsiteY1163" fmla="*/ 1151443 h 1282588"/>
                    <a:gd name="connsiteX1164" fmla="*/ 35019 w 215788"/>
                    <a:gd name="connsiteY1164" fmla="*/ 1149462 h 1282588"/>
                    <a:gd name="connsiteX1165" fmla="*/ 35777 w 215788"/>
                    <a:gd name="connsiteY1165" fmla="*/ 1148973 h 1282588"/>
                    <a:gd name="connsiteX1166" fmla="*/ 37513 w 215788"/>
                    <a:gd name="connsiteY1166" fmla="*/ 1149536 h 1282588"/>
                    <a:gd name="connsiteX1167" fmla="*/ 39037 w 215788"/>
                    <a:gd name="connsiteY1167" fmla="*/ 1150815 h 1282588"/>
                    <a:gd name="connsiteX1168" fmla="*/ 41352 w 215788"/>
                    <a:gd name="connsiteY1168" fmla="*/ 1150987 h 1282588"/>
                    <a:gd name="connsiteX1169" fmla="*/ 46454 w 215788"/>
                    <a:gd name="connsiteY1169" fmla="*/ 1153766 h 1282588"/>
                    <a:gd name="connsiteX1170" fmla="*/ 48572 w 215788"/>
                    <a:gd name="connsiteY1170" fmla="*/ 1153098 h 1282588"/>
                    <a:gd name="connsiteX1171" fmla="*/ 49722 w 215788"/>
                    <a:gd name="connsiteY1171" fmla="*/ 1152462 h 1282588"/>
                    <a:gd name="connsiteX1172" fmla="*/ 50153 w 215788"/>
                    <a:gd name="connsiteY1172" fmla="*/ 1150163 h 1282588"/>
                    <a:gd name="connsiteX1173" fmla="*/ 50178 w 215788"/>
                    <a:gd name="connsiteY1173" fmla="*/ 1147971 h 1282588"/>
                    <a:gd name="connsiteX1174" fmla="*/ 51050 w 215788"/>
                    <a:gd name="connsiteY1174" fmla="*/ 1147971 h 1282588"/>
                    <a:gd name="connsiteX1175" fmla="*/ 53943 w 215788"/>
                    <a:gd name="connsiteY1175" fmla="*/ 1150775 h 1282588"/>
                    <a:gd name="connsiteX1176" fmla="*/ 55785 w 215788"/>
                    <a:gd name="connsiteY1176" fmla="*/ 1150506 h 1282588"/>
                    <a:gd name="connsiteX1177" fmla="*/ 59037 w 215788"/>
                    <a:gd name="connsiteY1177" fmla="*/ 1151247 h 1282588"/>
                    <a:gd name="connsiteX1178" fmla="*/ 60683 w 215788"/>
                    <a:gd name="connsiteY1178" fmla="*/ 1150938 h 1282588"/>
                    <a:gd name="connsiteX1179" fmla="*/ 63739 w 215788"/>
                    <a:gd name="connsiteY1179" fmla="*/ 1149903 h 1282588"/>
                    <a:gd name="connsiteX1180" fmla="*/ 68539 w 215788"/>
                    <a:gd name="connsiteY1180" fmla="*/ 1146830 h 1282588"/>
                    <a:gd name="connsiteX1181" fmla="*/ 71033 w 215788"/>
                    <a:gd name="connsiteY1181" fmla="*/ 1143644 h 1282588"/>
                    <a:gd name="connsiteX1182" fmla="*/ 72231 w 215788"/>
                    <a:gd name="connsiteY1182" fmla="*/ 1143220 h 1282588"/>
                    <a:gd name="connsiteX1183" fmla="*/ 73706 w 215788"/>
                    <a:gd name="connsiteY1183" fmla="*/ 1143627 h 1282588"/>
                    <a:gd name="connsiteX1184" fmla="*/ 74701 w 215788"/>
                    <a:gd name="connsiteY1184" fmla="*/ 1144532 h 1282588"/>
                    <a:gd name="connsiteX1185" fmla="*/ 74709 w 215788"/>
                    <a:gd name="connsiteY1185" fmla="*/ 1146749 h 1282588"/>
                    <a:gd name="connsiteX1186" fmla="*/ 75833 w 215788"/>
                    <a:gd name="connsiteY1186" fmla="*/ 1148794 h 1282588"/>
                    <a:gd name="connsiteX1187" fmla="*/ 77366 w 215788"/>
                    <a:gd name="connsiteY1187" fmla="*/ 1150457 h 1282588"/>
                    <a:gd name="connsiteX1188" fmla="*/ 77789 w 215788"/>
                    <a:gd name="connsiteY1188" fmla="*/ 1152494 h 1282588"/>
                    <a:gd name="connsiteX1189" fmla="*/ 77471 w 215788"/>
                    <a:gd name="connsiteY1189" fmla="*/ 1154524 h 1282588"/>
                    <a:gd name="connsiteX1190" fmla="*/ 74741 w 215788"/>
                    <a:gd name="connsiteY1190" fmla="*/ 1157344 h 1282588"/>
                    <a:gd name="connsiteX1191" fmla="*/ 74236 w 215788"/>
                    <a:gd name="connsiteY1191" fmla="*/ 1158322 h 1282588"/>
                    <a:gd name="connsiteX1192" fmla="*/ 75149 w 215788"/>
                    <a:gd name="connsiteY1192" fmla="*/ 1159365 h 1282588"/>
                    <a:gd name="connsiteX1193" fmla="*/ 76282 w 215788"/>
                    <a:gd name="connsiteY1193" fmla="*/ 1158876 h 1282588"/>
                    <a:gd name="connsiteX1194" fmla="*/ 77838 w 215788"/>
                    <a:gd name="connsiteY1194" fmla="*/ 1157465 h 1282588"/>
                    <a:gd name="connsiteX1195" fmla="*/ 78726 w 215788"/>
                    <a:gd name="connsiteY1195" fmla="*/ 1155567 h 1282588"/>
                    <a:gd name="connsiteX1196" fmla="*/ 78963 w 215788"/>
                    <a:gd name="connsiteY1196" fmla="*/ 1154564 h 1282588"/>
                    <a:gd name="connsiteX1197" fmla="*/ 79060 w 215788"/>
                    <a:gd name="connsiteY1197" fmla="*/ 1153138 h 1282588"/>
                    <a:gd name="connsiteX1198" fmla="*/ 78947 w 215788"/>
                    <a:gd name="connsiteY1198" fmla="*/ 1151402 h 1282588"/>
                    <a:gd name="connsiteX1199" fmla="*/ 76730 w 215788"/>
                    <a:gd name="connsiteY1199" fmla="*/ 1146456 h 1282588"/>
                    <a:gd name="connsiteX1200" fmla="*/ 76453 w 215788"/>
                    <a:gd name="connsiteY1200" fmla="*/ 1145339 h 1282588"/>
                    <a:gd name="connsiteX1201" fmla="*/ 76453 w 215788"/>
                    <a:gd name="connsiteY1201" fmla="*/ 1143106 h 1282588"/>
                    <a:gd name="connsiteX1202" fmla="*/ 78971 w 215788"/>
                    <a:gd name="connsiteY1202" fmla="*/ 1141044 h 1282588"/>
                    <a:gd name="connsiteX1203" fmla="*/ 79688 w 215788"/>
                    <a:gd name="connsiteY1203" fmla="*/ 1139446 h 1282588"/>
                    <a:gd name="connsiteX1204" fmla="*/ 79794 w 215788"/>
                    <a:gd name="connsiteY1204" fmla="*/ 1136334 h 1282588"/>
                    <a:gd name="connsiteX1205" fmla="*/ 78482 w 215788"/>
                    <a:gd name="connsiteY1205" fmla="*/ 1134207 h 1282588"/>
                    <a:gd name="connsiteX1206" fmla="*/ 73062 w 215788"/>
                    <a:gd name="connsiteY1206" fmla="*/ 1129292 h 1282588"/>
                    <a:gd name="connsiteX1207" fmla="*/ 63992 w 215788"/>
                    <a:gd name="connsiteY1207" fmla="*/ 1124370 h 1282588"/>
                    <a:gd name="connsiteX1208" fmla="*/ 62949 w 215788"/>
                    <a:gd name="connsiteY1208" fmla="*/ 1124875 h 1282588"/>
                    <a:gd name="connsiteX1209" fmla="*/ 62248 w 215788"/>
                    <a:gd name="connsiteY1209" fmla="*/ 1125771 h 1282588"/>
                    <a:gd name="connsiteX1210" fmla="*/ 63087 w 215788"/>
                    <a:gd name="connsiteY1210" fmla="*/ 1126407 h 1282588"/>
                    <a:gd name="connsiteX1211" fmla="*/ 64285 w 215788"/>
                    <a:gd name="connsiteY1211" fmla="*/ 1126741 h 1282588"/>
                    <a:gd name="connsiteX1212" fmla="*/ 72361 w 215788"/>
                    <a:gd name="connsiteY1212" fmla="*/ 1130800 h 1282588"/>
                    <a:gd name="connsiteX1213" fmla="*/ 74472 w 215788"/>
                    <a:gd name="connsiteY1213" fmla="*/ 1133147 h 1282588"/>
                    <a:gd name="connsiteX1214" fmla="*/ 75850 w 215788"/>
                    <a:gd name="connsiteY1214" fmla="*/ 1133783 h 1282588"/>
                    <a:gd name="connsiteX1215" fmla="*/ 77471 w 215788"/>
                    <a:gd name="connsiteY1215" fmla="*/ 1135339 h 1282588"/>
                    <a:gd name="connsiteX1216" fmla="*/ 77056 w 215788"/>
                    <a:gd name="connsiteY1216" fmla="*/ 1137621 h 1282588"/>
                    <a:gd name="connsiteX1217" fmla="*/ 68914 w 215788"/>
                    <a:gd name="connsiteY1217" fmla="*/ 1139870 h 1282588"/>
                    <a:gd name="connsiteX1218" fmla="*/ 62460 w 215788"/>
                    <a:gd name="connsiteY1218" fmla="*/ 1144711 h 1282588"/>
                    <a:gd name="connsiteX1219" fmla="*/ 57635 w 215788"/>
                    <a:gd name="connsiteY1219" fmla="*/ 1147645 h 1282588"/>
                    <a:gd name="connsiteX1220" fmla="*/ 54285 w 215788"/>
                    <a:gd name="connsiteY1220" fmla="*/ 1146577 h 1282588"/>
                    <a:gd name="connsiteX1221" fmla="*/ 52696 w 215788"/>
                    <a:gd name="connsiteY1221" fmla="*/ 1143578 h 1282588"/>
                    <a:gd name="connsiteX1222" fmla="*/ 51009 w 215788"/>
                    <a:gd name="connsiteY1222" fmla="*/ 1139723 h 1282588"/>
                    <a:gd name="connsiteX1223" fmla="*/ 48475 w 215788"/>
                    <a:gd name="connsiteY1223" fmla="*/ 1137483 h 1282588"/>
                    <a:gd name="connsiteX1224" fmla="*/ 47040 w 215788"/>
                    <a:gd name="connsiteY1224" fmla="*/ 1137694 h 1282588"/>
                    <a:gd name="connsiteX1225" fmla="*/ 45867 w 215788"/>
                    <a:gd name="connsiteY1225" fmla="*/ 1137279 h 1282588"/>
                    <a:gd name="connsiteX1226" fmla="*/ 44954 w 215788"/>
                    <a:gd name="connsiteY1226" fmla="*/ 1136081 h 1282588"/>
                    <a:gd name="connsiteX1227" fmla="*/ 42990 w 215788"/>
                    <a:gd name="connsiteY1227" fmla="*/ 1137067 h 1282588"/>
                    <a:gd name="connsiteX1228" fmla="*/ 38703 w 215788"/>
                    <a:gd name="connsiteY1228" fmla="*/ 1134402 h 1282588"/>
                    <a:gd name="connsiteX1229" fmla="*/ 37456 w 215788"/>
                    <a:gd name="connsiteY1229" fmla="*/ 1133237 h 1282588"/>
                    <a:gd name="connsiteX1230" fmla="*/ 40610 w 215788"/>
                    <a:gd name="connsiteY1230" fmla="*/ 1129463 h 1282588"/>
                    <a:gd name="connsiteX1231" fmla="*/ 44074 w 215788"/>
                    <a:gd name="connsiteY1231" fmla="*/ 1130914 h 1282588"/>
                    <a:gd name="connsiteX1232" fmla="*/ 44921 w 215788"/>
                    <a:gd name="connsiteY1232" fmla="*/ 1120352 h 1282588"/>
                    <a:gd name="connsiteX1233" fmla="*/ 43846 w 215788"/>
                    <a:gd name="connsiteY1233" fmla="*/ 1117947 h 1282588"/>
                    <a:gd name="connsiteX1234" fmla="*/ 39339 w 215788"/>
                    <a:gd name="connsiteY1234" fmla="*/ 1115340 h 1282588"/>
                    <a:gd name="connsiteX1235" fmla="*/ 37122 w 215788"/>
                    <a:gd name="connsiteY1235" fmla="*/ 1115682 h 1282588"/>
                    <a:gd name="connsiteX1236" fmla="*/ 34098 w 215788"/>
                    <a:gd name="connsiteY1236" fmla="*/ 1115324 h 1282588"/>
                    <a:gd name="connsiteX1237" fmla="*/ 32061 w 215788"/>
                    <a:gd name="connsiteY1237" fmla="*/ 1114125 h 1282588"/>
                    <a:gd name="connsiteX1238" fmla="*/ 29739 w 215788"/>
                    <a:gd name="connsiteY1238" fmla="*/ 1113653 h 1282588"/>
                    <a:gd name="connsiteX1239" fmla="*/ 27774 w 215788"/>
                    <a:gd name="connsiteY1239" fmla="*/ 1112952 h 1282588"/>
                    <a:gd name="connsiteX1240" fmla="*/ 25215 w 215788"/>
                    <a:gd name="connsiteY1240" fmla="*/ 1111330 h 1282588"/>
                    <a:gd name="connsiteX1241" fmla="*/ 22126 w 215788"/>
                    <a:gd name="connsiteY1241" fmla="*/ 1110466 h 1282588"/>
                    <a:gd name="connsiteX1242" fmla="*/ 17946 w 215788"/>
                    <a:gd name="connsiteY1242" fmla="*/ 1103791 h 1282588"/>
                    <a:gd name="connsiteX1243" fmla="*/ 16153 w 215788"/>
                    <a:gd name="connsiteY1243" fmla="*/ 1100279 h 1282588"/>
                    <a:gd name="connsiteX1244" fmla="*/ 15175 w 215788"/>
                    <a:gd name="connsiteY1244" fmla="*/ 1096457 h 1282588"/>
                    <a:gd name="connsiteX1245" fmla="*/ 21572 w 215788"/>
                    <a:gd name="connsiteY1245" fmla="*/ 1096359 h 1282588"/>
                    <a:gd name="connsiteX1246" fmla="*/ 25313 w 215788"/>
                    <a:gd name="connsiteY1246" fmla="*/ 1095748 h 1282588"/>
                    <a:gd name="connsiteX1247" fmla="*/ 26226 w 215788"/>
                    <a:gd name="connsiteY1247" fmla="*/ 1094150 h 1282588"/>
                    <a:gd name="connsiteX1248" fmla="*/ 24906 w 215788"/>
                    <a:gd name="connsiteY1248" fmla="*/ 1091119 h 1282588"/>
                    <a:gd name="connsiteX1249" fmla="*/ 23072 w 215788"/>
                    <a:gd name="connsiteY1249" fmla="*/ 1088722 h 1282588"/>
                    <a:gd name="connsiteX1250" fmla="*/ 24417 w 215788"/>
                    <a:gd name="connsiteY1250" fmla="*/ 1086482 h 1282588"/>
                    <a:gd name="connsiteX1251" fmla="*/ 26332 w 215788"/>
                    <a:gd name="connsiteY1251" fmla="*/ 1084738 h 1282588"/>
                    <a:gd name="connsiteX1252" fmla="*/ 28320 w 215788"/>
                    <a:gd name="connsiteY1252" fmla="*/ 1085504 h 1282588"/>
                    <a:gd name="connsiteX1253" fmla="*/ 33243 w 215788"/>
                    <a:gd name="connsiteY1253" fmla="*/ 1089375 h 1282588"/>
                    <a:gd name="connsiteX1254" fmla="*/ 34090 w 215788"/>
                    <a:gd name="connsiteY1254" fmla="*/ 1092007 h 1282588"/>
                    <a:gd name="connsiteX1255" fmla="*/ 37595 w 215788"/>
                    <a:gd name="connsiteY1255" fmla="*/ 1100010 h 1282588"/>
                    <a:gd name="connsiteX1256" fmla="*/ 38442 w 215788"/>
                    <a:gd name="connsiteY1256" fmla="*/ 1100727 h 1282588"/>
                    <a:gd name="connsiteX1257" fmla="*/ 38858 w 215788"/>
                    <a:gd name="connsiteY1257" fmla="*/ 1101461 h 1282588"/>
                    <a:gd name="connsiteX1258" fmla="*/ 46103 w 215788"/>
                    <a:gd name="connsiteY1258" fmla="*/ 1105960 h 1282588"/>
                    <a:gd name="connsiteX1259" fmla="*/ 47114 w 215788"/>
                    <a:gd name="connsiteY1259" fmla="*/ 1105894 h 1282588"/>
                    <a:gd name="connsiteX1260" fmla="*/ 46665 w 215788"/>
                    <a:gd name="connsiteY1260" fmla="*/ 1102129 h 1282588"/>
                    <a:gd name="connsiteX1261" fmla="*/ 48752 w 215788"/>
                    <a:gd name="connsiteY1261" fmla="*/ 1097035 h 1282588"/>
                    <a:gd name="connsiteX1262" fmla="*/ 50773 w 215788"/>
                    <a:gd name="connsiteY1262" fmla="*/ 1095340 h 1282588"/>
                    <a:gd name="connsiteX1263" fmla="*/ 51792 w 215788"/>
                    <a:gd name="connsiteY1263" fmla="*/ 1095365 h 1282588"/>
                    <a:gd name="connsiteX1264" fmla="*/ 51889 w 215788"/>
                    <a:gd name="connsiteY1264" fmla="*/ 1094509 h 1282588"/>
                    <a:gd name="connsiteX1265" fmla="*/ 49925 w 215788"/>
                    <a:gd name="connsiteY1265" fmla="*/ 1092382 h 1282588"/>
                    <a:gd name="connsiteX1266" fmla="*/ 50887 w 215788"/>
                    <a:gd name="connsiteY1266" fmla="*/ 1089554 h 1282588"/>
                    <a:gd name="connsiteX1267" fmla="*/ 50251 w 215788"/>
                    <a:gd name="connsiteY1267" fmla="*/ 1089464 h 1282588"/>
                    <a:gd name="connsiteX1268" fmla="*/ 48507 w 215788"/>
                    <a:gd name="connsiteY1268" fmla="*/ 1091282 h 1282588"/>
                    <a:gd name="connsiteX1269" fmla="*/ 45003 w 215788"/>
                    <a:gd name="connsiteY1269" fmla="*/ 1100190 h 1282588"/>
                    <a:gd name="connsiteX1270" fmla="*/ 42859 w 215788"/>
                    <a:gd name="connsiteY1270" fmla="*/ 1101811 h 1282588"/>
                    <a:gd name="connsiteX1271" fmla="*/ 39909 w 215788"/>
                    <a:gd name="connsiteY1271" fmla="*/ 1097785 h 1282588"/>
                    <a:gd name="connsiteX1272" fmla="*/ 38239 w 215788"/>
                    <a:gd name="connsiteY1272" fmla="*/ 1094876 h 1282588"/>
                    <a:gd name="connsiteX1273" fmla="*/ 37415 w 215788"/>
                    <a:gd name="connsiteY1273" fmla="*/ 1093849 h 1282588"/>
                    <a:gd name="connsiteX1274" fmla="*/ 37709 w 215788"/>
                    <a:gd name="connsiteY1274" fmla="*/ 1089285 h 1282588"/>
                    <a:gd name="connsiteX1275" fmla="*/ 43536 w 215788"/>
                    <a:gd name="connsiteY1275" fmla="*/ 1090206 h 1282588"/>
                    <a:gd name="connsiteX1276" fmla="*/ 41539 w 215788"/>
                    <a:gd name="connsiteY1276" fmla="*/ 1088707 h 1282588"/>
                    <a:gd name="connsiteX1277" fmla="*/ 34734 w 215788"/>
                    <a:gd name="connsiteY1277" fmla="*/ 1086082 h 1282588"/>
                    <a:gd name="connsiteX1278" fmla="*/ 33039 w 215788"/>
                    <a:gd name="connsiteY1278" fmla="*/ 1084811 h 1282588"/>
                    <a:gd name="connsiteX1279" fmla="*/ 31776 w 215788"/>
                    <a:gd name="connsiteY1279" fmla="*/ 1084330 h 1282588"/>
                    <a:gd name="connsiteX1280" fmla="*/ 29510 w 215788"/>
                    <a:gd name="connsiteY1280" fmla="*/ 1081241 h 1282588"/>
                    <a:gd name="connsiteX1281" fmla="*/ 26699 w 215788"/>
                    <a:gd name="connsiteY1281" fmla="*/ 1078641 h 1282588"/>
                    <a:gd name="connsiteX1282" fmla="*/ 31548 w 215788"/>
                    <a:gd name="connsiteY1282" fmla="*/ 1073931 h 1282588"/>
                    <a:gd name="connsiteX1283" fmla="*/ 34033 w 215788"/>
                    <a:gd name="connsiteY1283" fmla="*/ 1070630 h 1282588"/>
                    <a:gd name="connsiteX1284" fmla="*/ 41833 w 215788"/>
                    <a:gd name="connsiteY1284" fmla="*/ 1072399 h 1282588"/>
                    <a:gd name="connsiteX1285" fmla="*/ 43348 w 215788"/>
                    <a:gd name="connsiteY1285" fmla="*/ 1071372 h 1282588"/>
                    <a:gd name="connsiteX1286" fmla="*/ 42036 w 215788"/>
                    <a:gd name="connsiteY1286" fmla="*/ 1068959 h 1282588"/>
                    <a:gd name="connsiteX1287" fmla="*/ 40504 w 215788"/>
                    <a:gd name="connsiteY1287" fmla="*/ 1069693 h 1282588"/>
                    <a:gd name="connsiteX1288" fmla="*/ 38076 w 215788"/>
                    <a:gd name="connsiteY1288" fmla="*/ 1068177 h 1282588"/>
                    <a:gd name="connsiteX1289" fmla="*/ 34294 w 215788"/>
                    <a:gd name="connsiteY1289" fmla="*/ 1063670 h 1282588"/>
                    <a:gd name="connsiteX1290" fmla="*/ 34424 w 215788"/>
                    <a:gd name="connsiteY1290" fmla="*/ 1061372 h 1282588"/>
                    <a:gd name="connsiteX1291" fmla="*/ 35117 w 215788"/>
                    <a:gd name="connsiteY1291" fmla="*/ 1057159 h 1282588"/>
                    <a:gd name="connsiteX1292" fmla="*/ 36617 w 215788"/>
                    <a:gd name="connsiteY1292" fmla="*/ 1056262 h 1282588"/>
                    <a:gd name="connsiteX1293" fmla="*/ 39803 w 215788"/>
                    <a:gd name="connsiteY1293" fmla="*/ 1055390 h 1282588"/>
                    <a:gd name="connsiteX1294" fmla="*/ 43438 w 215788"/>
                    <a:gd name="connsiteY1294" fmla="*/ 1056751 h 1282588"/>
                    <a:gd name="connsiteX1295" fmla="*/ 45027 w 215788"/>
                    <a:gd name="connsiteY1295" fmla="*/ 1057876 h 1282588"/>
                    <a:gd name="connsiteX1296" fmla="*/ 46388 w 215788"/>
                    <a:gd name="connsiteY1296" fmla="*/ 1057346 h 1282588"/>
                    <a:gd name="connsiteX1297" fmla="*/ 45003 w 215788"/>
                    <a:gd name="connsiteY1297" fmla="*/ 1054241 h 1282588"/>
                    <a:gd name="connsiteX1298" fmla="*/ 42631 w 215788"/>
                    <a:gd name="connsiteY1298" fmla="*/ 1053051 h 1282588"/>
                    <a:gd name="connsiteX1299" fmla="*/ 39991 w 215788"/>
                    <a:gd name="connsiteY1299" fmla="*/ 1050827 h 1282588"/>
                    <a:gd name="connsiteX1300" fmla="*/ 40260 w 215788"/>
                    <a:gd name="connsiteY1300" fmla="*/ 1048365 h 1282588"/>
                    <a:gd name="connsiteX1301" fmla="*/ 41107 w 215788"/>
                    <a:gd name="connsiteY1301" fmla="*/ 1046328 h 1282588"/>
                    <a:gd name="connsiteX1302" fmla="*/ 41751 w 215788"/>
                    <a:gd name="connsiteY1302" fmla="*/ 1044103 h 1282588"/>
                    <a:gd name="connsiteX1303" fmla="*/ 42191 w 215788"/>
                    <a:gd name="connsiteY1303" fmla="*/ 1040974 h 1282588"/>
                    <a:gd name="connsiteX1304" fmla="*/ 41947 w 215788"/>
                    <a:gd name="connsiteY1304" fmla="*/ 1038545 h 1282588"/>
                    <a:gd name="connsiteX1305" fmla="*/ 42705 w 215788"/>
                    <a:gd name="connsiteY1305" fmla="*/ 1037428 h 1282588"/>
                    <a:gd name="connsiteX1306" fmla="*/ 43870 w 215788"/>
                    <a:gd name="connsiteY1306" fmla="*/ 1036931 h 1282588"/>
                    <a:gd name="connsiteX1307" fmla="*/ 43943 w 215788"/>
                    <a:gd name="connsiteY1307" fmla="*/ 1036018 h 1282588"/>
                    <a:gd name="connsiteX1308" fmla="*/ 41645 w 215788"/>
                    <a:gd name="connsiteY1308" fmla="*/ 1036198 h 1282588"/>
                    <a:gd name="connsiteX1309" fmla="*/ 40806 w 215788"/>
                    <a:gd name="connsiteY1309" fmla="*/ 1039278 h 1282588"/>
                    <a:gd name="connsiteX1310" fmla="*/ 40496 w 215788"/>
                    <a:gd name="connsiteY1310" fmla="*/ 1042073 h 1282588"/>
                    <a:gd name="connsiteX1311" fmla="*/ 38858 w 215788"/>
                    <a:gd name="connsiteY1311" fmla="*/ 1044315 h 1282588"/>
                    <a:gd name="connsiteX1312" fmla="*/ 38165 w 215788"/>
                    <a:gd name="connsiteY1312" fmla="*/ 1046858 h 1282588"/>
                    <a:gd name="connsiteX1313" fmla="*/ 37750 w 215788"/>
                    <a:gd name="connsiteY1313" fmla="*/ 1049905 h 1282588"/>
                    <a:gd name="connsiteX1314" fmla="*/ 36837 w 215788"/>
                    <a:gd name="connsiteY1314" fmla="*/ 1053394 h 1282588"/>
                    <a:gd name="connsiteX1315" fmla="*/ 34848 w 215788"/>
                    <a:gd name="connsiteY1315" fmla="*/ 1052065 h 1282588"/>
                    <a:gd name="connsiteX1316" fmla="*/ 33683 w 215788"/>
                    <a:gd name="connsiteY1316" fmla="*/ 1050696 h 1282588"/>
                    <a:gd name="connsiteX1317" fmla="*/ 33235 w 215788"/>
                    <a:gd name="connsiteY1317" fmla="*/ 1049775 h 1282588"/>
                    <a:gd name="connsiteX1318" fmla="*/ 33447 w 215788"/>
                    <a:gd name="connsiteY1318" fmla="*/ 1047990 h 1282588"/>
                    <a:gd name="connsiteX1319" fmla="*/ 32909 w 215788"/>
                    <a:gd name="connsiteY1319" fmla="*/ 1036988 h 1282588"/>
                    <a:gd name="connsiteX1320" fmla="*/ 32860 w 215788"/>
                    <a:gd name="connsiteY1320" fmla="*/ 1027811 h 1282588"/>
                    <a:gd name="connsiteX1321" fmla="*/ 33879 w 215788"/>
                    <a:gd name="connsiteY1321" fmla="*/ 1020664 h 1282588"/>
                    <a:gd name="connsiteX1322" fmla="*/ 36690 w 215788"/>
                    <a:gd name="connsiteY1322" fmla="*/ 1017828 h 1282588"/>
                    <a:gd name="connsiteX1323" fmla="*/ 37961 w 215788"/>
                    <a:gd name="connsiteY1323" fmla="*/ 1017005 h 1282588"/>
                    <a:gd name="connsiteX1324" fmla="*/ 39127 w 215788"/>
                    <a:gd name="connsiteY1324" fmla="*/ 1017364 h 1282588"/>
                    <a:gd name="connsiteX1325" fmla="*/ 40920 w 215788"/>
                    <a:gd name="connsiteY1325" fmla="*/ 1017339 h 1282588"/>
                    <a:gd name="connsiteX1326" fmla="*/ 42110 w 215788"/>
                    <a:gd name="connsiteY1326" fmla="*/ 1016312 h 1282588"/>
                    <a:gd name="connsiteX1327" fmla="*/ 38084 w 215788"/>
                    <a:gd name="connsiteY1327" fmla="*/ 1014601 h 1282588"/>
                    <a:gd name="connsiteX1328" fmla="*/ 35639 w 215788"/>
                    <a:gd name="connsiteY1328" fmla="*/ 1015579 h 1282588"/>
                    <a:gd name="connsiteX1329" fmla="*/ 33830 w 215788"/>
                    <a:gd name="connsiteY1329" fmla="*/ 1016932 h 1282588"/>
                    <a:gd name="connsiteX1330" fmla="*/ 30570 w 215788"/>
                    <a:gd name="connsiteY1330" fmla="*/ 1015913 h 1282588"/>
                    <a:gd name="connsiteX1331" fmla="*/ 29942 w 215788"/>
                    <a:gd name="connsiteY1331" fmla="*/ 1012262 h 1282588"/>
                    <a:gd name="connsiteX1332" fmla="*/ 28011 w 215788"/>
                    <a:gd name="connsiteY1332" fmla="*/ 1009083 h 1282588"/>
                    <a:gd name="connsiteX1333" fmla="*/ 27676 w 215788"/>
                    <a:gd name="connsiteY1333" fmla="*/ 1005049 h 1282588"/>
                    <a:gd name="connsiteX1334" fmla="*/ 27831 w 215788"/>
                    <a:gd name="connsiteY1334" fmla="*/ 999198 h 1282588"/>
                    <a:gd name="connsiteX1335" fmla="*/ 32395 w 215788"/>
                    <a:gd name="connsiteY1335" fmla="*/ 999703 h 1282588"/>
                    <a:gd name="connsiteX1336" fmla="*/ 36120 w 215788"/>
                    <a:gd name="connsiteY1336" fmla="*/ 1000852 h 1282588"/>
                    <a:gd name="connsiteX1337" fmla="*/ 45965 w 215788"/>
                    <a:gd name="connsiteY1337" fmla="*/ 1000755 h 1282588"/>
                    <a:gd name="connsiteX1338" fmla="*/ 54041 w 215788"/>
                    <a:gd name="connsiteY1338" fmla="*/ 1006362 h 1282588"/>
                    <a:gd name="connsiteX1339" fmla="*/ 57602 w 215788"/>
                    <a:gd name="connsiteY1339" fmla="*/ 1005604 h 1282588"/>
                    <a:gd name="connsiteX1340" fmla="*/ 57439 w 215788"/>
                    <a:gd name="connsiteY1340" fmla="*/ 1004471 h 1282588"/>
                    <a:gd name="connsiteX1341" fmla="*/ 54717 w 215788"/>
                    <a:gd name="connsiteY1341" fmla="*/ 1003061 h 1282588"/>
                    <a:gd name="connsiteX1342" fmla="*/ 53014 w 215788"/>
                    <a:gd name="connsiteY1342" fmla="*/ 999915 h 1282588"/>
                    <a:gd name="connsiteX1343" fmla="*/ 52012 w 215788"/>
                    <a:gd name="connsiteY1343" fmla="*/ 999019 h 1282588"/>
                    <a:gd name="connsiteX1344" fmla="*/ 51539 w 215788"/>
                    <a:gd name="connsiteY1344" fmla="*/ 997136 h 1282588"/>
                    <a:gd name="connsiteX1345" fmla="*/ 51384 w 215788"/>
                    <a:gd name="connsiteY1345" fmla="*/ 994935 h 1282588"/>
                    <a:gd name="connsiteX1346" fmla="*/ 49379 w 215788"/>
                    <a:gd name="connsiteY1346" fmla="*/ 986892 h 1282588"/>
                    <a:gd name="connsiteX1347" fmla="*/ 48581 w 215788"/>
                    <a:gd name="connsiteY1347" fmla="*/ 987096 h 1282588"/>
                    <a:gd name="connsiteX1348" fmla="*/ 47806 w 215788"/>
                    <a:gd name="connsiteY1348" fmla="*/ 989850 h 1282588"/>
                    <a:gd name="connsiteX1349" fmla="*/ 46136 w 215788"/>
                    <a:gd name="connsiteY1349" fmla="*/ 994455 h 1282588"/>
                    <a:gd name="connsiteX1350" fmla="*/ 43805 w 215788"/>
                    <a:gd name="connsiteY1350" fmla="*/ 996696 h 1282588"/>
                    <a:gd name="connsiteX1351" fmla="*/ 40235 w 215788"/>
                    <a:gd name="connsiteY1351" fmla="*/ 997601 h 1282588"/>
                    <a:gd name="connsiteX1352" fmla="*/ 36706 w 215788"/>
                    <a:gd name="connsiteY1352" fmla="*/ 998106 h 1282588"/>
                    <a:gd name="connsiteX1353" fmla="*/ 33642 w 215788"/>
                    <a:gd name="connsiteY1353" fmla="*/ 997225 h 1282588"/>
                    <a:gd name="connsiteX1354" fmla="*/ 32933 w 215788"/>
                    <a:gd name="connsiteY1354" fmla="*/ 995327 h 1282588"/>
                    <a:gd name="connsiteX1355" fmla="*/ 33007 w 215788"/>
                    <a:gd name="connsiteY1355" fmla="*/ 993118 h 1282588"/>
                    <a:gd name="connsiteX1356" fmla="*/ 31678 w 215788"/>
                    <a:gd name="connsiteY1356" fmla="*/ 992034 h 1282588"/>
                    <a:gd name="connsiteX1357" fmla="*/ 28214 w 215788"/>
                    <a:gd name="connsiteY1357" fmla="*/ 991081 h 1282588"/>
                    <a:gd name="connsiteX1358" fmla="*/ 27236 w 215788"/>
                    <a:gd name="connsiteY1358" fmla="*/ 990543 h 1282588"/>
                    <a:gd name="connsiteX1359" fmla="*/ 26087 w 215788"/>
                    <a:gd name="connsiteY1359" fmla="*/ 988554 h 1282588"/>
                    <a:gd name="connsiteX1360" fmla="*/ 27742 w 215788"/>
                    <a:gd name="connsiteY1360" fmla="*/ 985547 h 1282588"/>
                    <a:gd name="connsiteX1361" fmla="*/ 29095 w 215788"/>
                    <a:gd name="connsiteY1361" fmla="*/ 983746 h 1282588"/>
                    <a:gd name="connsiteX1362" fmla="*/ 30757 w 215788"/>
                    <a:gd name="connsiteY1362" fmla="*/ 984097 h 1282588"/>
                    <a:gd name="connsiteX1363" fmla="*/ 32330 w 215788"/>
                    <a:gd name="connsiteY1363" fmla="*/ 984911 h 1282588"/>
                    <a:gd name="connsiteX1364" fmla="*/ 34343 w 215788"/>
                    <a:gd name="connsiteY1364" fmla="*/ 987291 h 1282588"/>
                    <a:gd name="connsiteX1365" fmla="*/ 36315 w 215788"/>
                    <a:gd name="connsiteY1365" fmla="*/ 987739 h 1282588"/>
                    <a:gd name="connsiteX1366" fmla="*/ 38573 w 215788"/>
                    <a:gd name="connsiteY1366" fmla="*/ 985857 h 1282588"/>
                    <a:gd name="connsiteX1367" fmla="*/ 39021 w 215788"/>
                    <a:gd name="connsiteY1367" fmla="*/ 984586 h 1282588"/>
                    <a:gd name="connsiteX1368" fmla="*/ 37611 w 215788"/>
                    <a:gd name="connsiteY1368" fmla="*/ 983779 h 1282588"/>
                    <a:gd name="connsiteX1369" fmla="*/ 36323 w 215788"/>
                    <a:gd name="connsiteY1369" fmla="*/ 983461 h 1282588"/>
                    <a:gd name="connsiteX1370" fmla="*/ 34319 w 215788"/>
                    <a:gd name="connsiteY1370" fmla="*/ 982450 h 1282588"/>
                    <a:gd name="connsiteX1371" fmla="*/ 30374 w 215788"/>
                    <a:gd name="connsiteY1371" fmla="*/ 978840 h 1282588"/>
                    <a:gd name="connsiteX1372" fmla="*/ 32346 w 215788"/>
                    <a:gd name="connsiteY1372" fmla="*/ 975172 h 1282588"/>
                    <a:gd name="connsiteX1373" fmla="*/ 37000 w 215788"/>
                    <a:gd name="connsiteY1373" fmla="*/ 970967 h 1282588"/>
                    <a:gd name="connsiteX1374" fmla="*/ 38426 w 215788"/>
                    <a:gd name="connsiteY1374" fmla="*/ 970006 h 1282588"/>
                    <a:gd name="connsiteX1375" fmla="*/ 37195 w 215788"/>
                    <a:gd name="connsiteY1375" fmla="*/ 966452 h 1282588"/>
                    <a:gd name="connsiteX1376" fmla="*/ 38589 w 215788"/>
                    <a:gd name="connsiteY1376" fmla="*/ 962589 h 1282588"/>
                    <a:gd name="connsiteX1377" fmla="*/ 37163 w 215788"/>
                    <a:gd name="connsiteY1377" fmla="*/ 959386 h 1282588"/>
                    <a:gd name="connsiteX1378" fmla="*/ 34579 w 215788"/>
                    <a:gd name="connsiteY1378" fmla="*/ 955956 h 1282588"/>
                    <a:gd name="connsiteX1379" fmla="*/ 31091 w 215788"/>
                    <a:gd name="connsiteY1379" fmla="*/ 955181 h 1282588"/>
                    <a:gd name="connsiteX1380" fmla="*/ 30350 w 215788"/>
                    <a:gd name="connsiteY1380" fmla="*/ 956192 h 1282588"/>
                    <a:gd name="connsiteX1381" fmla="*/ 30227 w 215788"/>
                    <a:gd name="connsiteY1381" fmla="*/ 957601 h 1282588"/>
                    <a:gd name="connsiteX1382" fmla="*/ 30782 w 215788"/>
                    <a:gd name="connsiteY1382" fmla="*/ 958661 h 1282588"/>
                    <a:gd name="connsiteX1383" fmla="*/ 30456 w 215788"/>
                    <a:gd name="connsiteY1383" fmla="*/ 959427 h 1282588"/>
                    <a:gd name="connsiteX1384" fmla="*/ 29657 w 215788"/>
                    <a:gd name="connsiteY1384" fmla="*/ 959403 h 1282588"/>
                    <a:gd name="connsiteX1385" fmla="*/ 25232 w 215788"/>
                    <a:gd name="connsiteY1385" fmla="*/ 958653 h 1282588"/>
                    <a:gd name="connsiteX1386" fmla="*/ 22257 w 215788"/>
                    <a:gd name="connsiteY1386" fmla="*/ 956371 h 1282588"/>
                    <a:gd name="connsiteX1387" fmla="*/ 17408 w 215788"/>
                    <a:gd name="connsiteY1387" fmla="*/ 954277 h 1282588"/>
                    <a:gd name="connsiteX1388" fmla="*/ 16780 w 215788"/>
                    <a:gd name="connsiteY1388" fmla="*/ 952647 h 1282588"/>
                    <a:gd name="connsiteX1389" fmla="*/ 16259 w 215788"/>
                    <a:gd name="connsiteY1389" fmla="*/ 950275 h 1282588"/>
                    <a:gd name="connsiteX1390" fmla="*/ 17954 w 215788"/>
                    <a:gd name="connsiteY1390" fmla="*/ 946151 h 1282588"/>
                    <a:gd name="connsiteX1391" fmla="*/ 17098 w 215788"/>
                    <a:gd name="connsiteY1391" fmla="*/ 946094 h 1282588"/>
                    <a:gd name="connsiteX1392" fmla="*/ 13952 w 215788"/>
                    <a:gd name="connsiteY1392" fmla="*/ 949273 h 1282588"/>
                    <a:gd name="connsiteX1393" fmla="*/ 9193 w 215788"/>
                    <a:gd name="connsiteY1393" fmla="*/ 950935 h 1282588"/>
                    <a:gd name="connsiteX1394" fmla="*/ 5697 w 215788"/>
                    <a:gd name="connsiteY1394" fmla="*/ 951489 h 1282588"/>
                    <a:gd name="connsiteX1395" fmla="*/ 4165 w 215788"/>
                    <a:gd name="connsiteY1395" fmla="*/ 952769 h 1282588"/>
                    <a:gd name="connsiteX1396" fmla="*/ 3545 w 215788"/>
                    <a:gd name="connsiteY1396" fmla="*/ 953837 h 1282588"/>
                    <a:gd name="connsiteX1397" fmla="*/ 4483 w 215788"/>
                    <a:gd name="connsiteY1397" fmla="*/ 954464 h 1282588"/>
                    <a:gd name="connsiteX1398" fmla="*/ 6504 w 215788"/>
                    <a:gd name="connsiteY1398" fmla="*/ 954627 h 1282588"/>
                    <a:gd name="connsiteX1399" fmla="*/ 7979 w 215788"/>
                    <a:gd name="connsiteY1399" fmla="*/ 958604 h 1282588"/>
                    <a:gd name="connsiteX1400" fmla="*/ 7612 w 215788"/>
                    <a:gd name="connsiteY1400" fmla="*/ 960128 h 1282588"/>
                    <a:gd name="connsiteX1401" fmla="*/ 6887 w 215788"/>
                    <a:gd name="connsiteY1401" fmla="*/ 961171 h 1282588"/>
                    <a:gd name="connsiteX1402" fmla="*/ 5249 w 215788"/>
                    <a:gd name="connsiteY1402" fmla="*/ 961367 h 1282588"/>
                    <a:gd name="connsiteX1403" fmla="*/ 1809 w 215788"/>
                    <a:gd name="connsiteY1403" fmla="*/ 958604 h 1282588"/>
                    <a:gd name="connsiteX1404" fmla="*/ 0 w 215788"/>
                    <a:gd name="connsiteY1404" fmla="*/ 955475 h 1282588"/>
                    <a:gd name="connsiteX1405" fmla="*/ 33 w 215788"/>
                    <a:gd name="connsiteY1405" fmla="*/ 953005 h 1282588"/>
                    <a:gd name="connsiteX1406" fmla="*/ 1263 w 215788"/>
                    <a:gd name="connsiteY1406" fmla="*/ 949631 h 1282588"/>
                    <a:gd name="connsiteX1407" fmla="*/ 6715 w 215788"/>
                    <a:gd name="connsiteY1407" fmla="*/ 945108 h 1282588"/>
                    <a:gd name="connsiteX1408" fmla="*/ 8223 w 215788"/>
                    <a:gd name="connsiteY1408" fmla="*/ 943209 h 1282588"/>
                    <a:gd name="connsiteX1409" fmla="*/ 11418 w 215788"/>
                    <a:gd name="connsiteY1409" fmla="*/ 941090 h 1282588"/>
                    <a:gd name="connsiteX1410" fmla="*/ 15688 w 215788"/>
                    <a:gd name="connsiteY1410" fmla="*/ 936306 h 1282588"/>
                    <a:gd name="connsiteX1411" fmla="*/ 19421 w 215788"/>
                    <a:gd name="connsiteY1411" fmla="*/ 933666 h 1282588"/>
                    <a:gd name="connsiteX1412" fmla="*/ 17603 w 215788"/>
                    <a:gd name="connsiteY1412" fmla="*/ 931466 h 1282588"/>
                    <a:gd name="connsiteX1413" fmla="*/ 15696 w 215788"/>
                    <a:gd name="connsiteY1413" fmla="*/ 928181 h 1282588"/>
                    <a:gd name="connsiteX1414" fmla="*/ 15884 w 215788"/>
                    <a:gd name="connsiteY1414" fmla="*/ 923601 h 1282588"/>
                    <a:gd name="connsiteX1415" fmla="*/ 23414 w 215788"/>
                    <a:gd name="connsiteY1415" fmla="*/ 921792 h 1282588"/>
                    <a:gd name="connsiteX1416" fmla="*/ 26707 w 215788"/>
                    <a:gd name="connsiteY1416" fmla="*/ 922533 h 1282588"/>
                    <a:gd name="connsiteX1417" fmla="*/ 30863 w 215788"/>
                    <a:gd name="connsiteY1417" fmla="*/ 922403 h 1282588"/>
                    <a:gd name="connsiteX1418" fmla="*/ 33194 w 215788"/>
                    <a:gd name="connsiteY1418" fmla="*/ 921286 h 1282588"/>
                    <a:gd name="connsiteX1419" fmla="*/ 34881 w 215788"/>
                    <a:gd name="connsiteY1419" fmla="*/ 921066 h 1282588"/>
                    <a:gd name="connsiteX1420" fmla="*/ 38434 w 215788"/>
                    <a:gd name="connsiteY1420" fmla="*/ 919803 h 1282588"/>
                    <a:gd name="connsiteX1421" fmla="*/ 39966 w 215788"/>
                    <a:gd name="connsiteY1421" fmla="*/ 918018 h 1282588"/>
                    <a:gd name="connsiteX1422" fmla="*/ 40325 w 215788"/>
                    <a:gd name="connsiteY1422" fmla="*/ 916665 h 1282588"/>
                    <a:gd name="connsiteX1423" fmla="*/ 40309 w 215788"/>
                    <a:gd name="connsiteY1423" fmla="*/ 915475 h 1282588"/>
                    <a:gd name="connsiteX1424" fmla="*/ 39893 w 215788"/>
                    <a:gd name="connsiteY1424" fmla="*/ 914025 h 1282588"/>
                    <a:gd name="connsiteX1425" fmla="*/ 39306 w 215788"/>
                    <a:gd name="connsiteY1425" fmla="*/ 910244 h 1282588"/>
                    <a:gd name="connsiteX1426" fmla="*/ 39901 w 215788"/>
                    <a:gd name="connsiteY1426" fmla="*/ 908989 h 1282588"/>
                    <a:gd name="connsiteX1427" fmla="*/ 41425 w 215788"/>
                    <a:gd name="connsiteY1427" fmla="*/ 907489 h 1282588"/>
                    <a:gd name="connsiteX1428" fmla="*/ 43422 w 215788"/>
                    <a:gd name="connsiteY1428" fmla="*/ 907016 h 1282588"/>
                    <a:gd name="connsiteX1429" fmla="*/ 44335 w 215788"/>
                    <a:gd name="connsiteY1429" fmla="*/ 907138 h 1282588"/>
                    <a:gd name="connsiteX1430" fmla="*/ 46698 w 215788"/>
                    <a:gd name="connsiteY1430" fmla="*/ 908508 h 1282588"/>
                    <a:gd name="connsiteX1431" fmla="*/ 46225 w 215788"/>
                    <a:gd name="connsiteY1431" fmla="*/ 910472 h 1282588"/>
                    <a:gd name="connsiteX1432" fmla="*/ 45280 w 215788"/>
                    <a:gd name="connsiteY1432" fmla="*/ 912819 h 1282588"/>
                    <a:gd name="connsiteX1433" fmla="*/ 43340 w 215788"/>
                    <a:gd name="connsiteY1433" fmla="*/ 922199 h 1282588"/>
                    <a:gd name="connsiteX1434" fmla="*/ 42371 w 215788"/>
                    <a:gd name="connsiteY1434" fmla="*/ 924310 h 1282588"/>
                    <a:gd name="connsiteX1435" fmla="*/ 40838 w 215788"/>
                    <a:gd name="connsiteY1435" fmla="*/ 926152 h 1282588"/>
                    <a:gd name="connsiteX1436" fmla="*/ 41857 w 215788"/>
                    <a:gd name="connsiteY1436" fmla="*/ 929990 h 1282588"/>
                    <a:gd name="connsiteX1437" fmla="*/ 40333 w 215788"/>
                    <a:gd name="connsiteY1437" fmla="*/ 932672 h 1282588"/>
                    <a:gd name="connsiteX1438" fmla="*/ 33503 w 215788"/>
                    <a:gd name="connsiteY1438" fmla="*/ 935548 h 1282588"/>
                    <a:gd name="connsiteX1439" fmla="*/ 32607 w 215788"/>
                    <a:gd name="connsiteY1439" fmla="*/ 935712 h 1282588"/>
                    <a:gd name="connsiteX1440" fmla="*/ 33113 w 215788"/>
                    <a:gd name="connsiteY1440" fmla="*/ 936738 h 1282588"/>
                    <a:gd name="connsiteX1441" fmla="*/ 37065 w 215788"/>
                    <a:gd name="connsiteY1441" fmla="*/ 936494 h 1282588"/>
                    <a:gd name="connsiteX1442" fmla="*/ 40129 w 215788"/>
                    <a:gd name="connsiteY1442" fmla="*/ 935899 h 1282588"/>
                    <a:gd name="connsiteX1443" fmla="*/ 43161 w 215788"/>
                    <a:gd name="connsiteY1443" fmla="*/ 933487 h 1282588"/>
                    <a:gd name="connsiteX1444" fmla="*/ 44107 w 215788"/>
                    <a:gd name="connsiteY1444" fmla="*/ 929795 h 1282588"/>
                    <a:gd name="connsiteX1445" fmla="*/ 45361 w 215788"/>
                    <a:gd name="connsiteY1445" fmla="*/ 922623 h 1282588"/>
                    <a:gd name="connsiteX1446" fmla="*/ 47008 w 215788"/>
                    <a:gd name="connsiteY1446" fmla="*/ 921604 h 1282588"/>
                    <a:gd name="connsiteX1447" fmla="*/ 48923 w 215788"/>
                    <a:gd name="connsiteY1447" fmla="*/ 921376 h 1282588"/>
                    <a:gd name="connsiteX1448" fmla="*/ 49925 w 215788"/>
                    <a:gd name="connsiteY1448" fmla="*/ 923071 h 1282588"/>
                    <a:gd name="connsiteX1449" fmla="*/ 49599 w 215788"/>
                    <a:gd name="connsiteY1449" fmla="*/ 926861 h 1282588"/>
                    <a:gd name="connsiteX1450" fmla="*/ 49591 w 215788"/>
                    <a:gd name="connsiteY1450" fmla="*/ 930512 h 1282588"/>
                    <a:gd name="connsiteX1451" fmla="*/ 47048 w 215788"/>
                    <a:gd name="connsiteY1451" fmla="*/ 941384 h 1282588"/>
                    <a:gd name="connsiteX1452" fmla="*/ 43960 w 215788"/>
                    <a:gd name="connsiteY1452" fmla="*/ 945752 h 1282588"/>
                    <a:gd name="connsiteX1453" fmla="*/ 43617 w 215788"/>
                    <a:gd name="connsiteY1453" fmla="*/ 946909 h 1282588"/>
                    <a:gd name="connsiteX1454" fmla="*/ 43740 w 215788"/>
                    <a:gd name="connsiteY1454" fmla="*/ 948270 h 1282588"/>
                    <a:gd name="connsiteX1455" fmla="*/ 46184 w 215788"/>
                    <a:gd name="connsiteY1455" fmla="*/ 948074 h 1282588"/>
                    <a:gd name="connsiteX1456" fmla="*/ 48043 w 215788"/>
                    <a:gd name="connsiteY1456" fmla="*/ 945728 h 1282588"/>
                    <a:gd name="connsiteX1457" fmla="*/ 49387 w 215788"/>
                    <a:gd name="connsiteY1457" fmla="*/ 942737 h 1282588"/>
                    <a:gd name="connsiteX1458" fmla="*/ 50732 w 215788"/>
                    <a:gd name="connsiteY1458" fmla="*/ 938564 h 1282588"/>
                    <a:gd name="connsiteX1459" fmla="*/ 50577 w 215788"/>
                    <a:gd name="connsiteY1459" fmla="*/ 935540 h 1282588"/>
                    <a:gd name="connsiteX1460" fmla="*/ 50985 w 215788"/>
                    <a:gd name="connsiteY1460" fmla="*/ 933666 h 1282588"/>
                    <a:gd name="connsiteX1461" fmla="*/ 51531 w 215788"/>
                    <a:gd name="connsiteY1461" fmla="*/ 927570 h 1282588"/>
                    <a:gd name="connsiteX1462" fmla="*/ 52468 w 215788"/>
                    <a:gd name="connsiteY1462" fmla="*/ 924481 h 1282588"/>
                    <a:gd name="connsiteX1463" fmla="*/ 52411 w 215788"/>
                    <a:gd name="connsiteY1463" fmla="*/ 920154 h 1282588"/>
                    <a:gd name="connsiteX1464" fmla="*/ 50732 w 215788"/>
                    <a:gd name="connsiteY1464" fmla="*/ 918548 h 1282588"/>
                    <a:gd name="connsiteX1465" fmla="*/ 48385 w 215788"/>
                    <a:gd name="connsiteY1465" fmla="*/ 917562 h 1282588"/>
                    <a:gd name="connsiteX1466" fmla="*/ 47790 w 215788"/>
                    <a:gd name="connsiteY1466" fmla="*/ 914921 h 1282588"/>
                    <a:gd name="connsiteX1467" fmla="*/ 49029 w 215788"/>
                    <a:gd name="connsiteY1467" fmla="*/ 909697 h 1282588"/>
                    <a:gd name="connsiteX1468" fmla="*/ 53511 w 215788"/>
                    <a:gd name="connsiteY1468" fmla="*/ 909844 h 1282588"/>
                    <a:gd name="connsiteX1469" fmla="*/ 57757 w 215788"/>
                    <a:gd name="connsiteY1469" fmla="*/ 906283 h 1282588"/>
                    <a:gd name="connsiteX1470" fmla="*/ 60544 w 215788"/>
                    <a:gd name="connsiteY1470" fmla="*/ 905003 h 1282588"/>
                    <a:gd name="connsiteX1471" fmla="*/ 62126 w 215788"/>
                    <a:gd name="connsiteY1471" fmla="*/ 905264 h 1282588"/>
                    <a:gd name="connsiteX1472" fmla="*/ 67683 w 215788"/>
                    <a:gd name="connsiteY1472" fmla="*/ 908695 h 1282588"/>
                    <a:gd name="connsiteX1473" fmla="*/ 68784 w 215788"/>
                    <a:gd name="connsiteY1473" fmla="*/ 908736 h 1282588"/>
                    <a:gd name="connsiteX1474" fmla="*/ 68613 w 215788"/>
                    <a:gd name="connsiteY1474" fmla="*/ 907497 h 1282588"/>
                    <a:gd name="connsiteX1475" fmla="*/ 67749 w 215788"/>
                    <a:gd name="connsiteY1475" fmla="*/ 906633 h 1282588"/>
                    <a:gd name="connsiteX1476" fmla="*/ 65557 w 215788"/>
                    <a:gd name="connsiteY1476" fmla="*/ 905476 h 1282588"/>
                    <a:gd name="connsiteX1477" fmla="*/ 61522 w 215788"/>
                    <a:gd name="connsiteY1477" fmla="*/ 901808 h 1282588"/>
                    <a:gd name="connsiteX1478" fmla="*/ 56103 w 215788"/>
                    <a:gd name="connsiteY1478" fmla="*/ 901213 h 1282588"/>
                    <a:gd name="connsiteX1479" fmla="*/ 57097 w 215788"/>
                    <a:gd name="connsiteY1479" fmla="*/ 896446 h 1282588"/>
                    <a:gd name="connsiteX1480" fmla="*/ 58148 w 215788"/>
                    <a:gd name="connsiteY1480" fmla="*/ 892086 h 1282588"/>
                    <a:gd name="connsiteX1481" fmla="*/ 60773 w 215788"/>
                    <a:gd name="connsiteY1481" fmla="*/ 891491 h 1282588"/>
                    <a:gd name="connsiteX1482" fmla="*/ 65190 w 215788"/>
                    <a:gd name="connsiteY1482" fmla="*/ 890057 h 1282588"/>
                    <a:gd name="connsiteX1483" fmla="*/ 73608 w 215788"/>
                    <a:gd name="connsiteY1483" fmla="*/ 883529 h 1282588"/>
                    <a:gd name="connsiteX1484" fmla="*/ 75067 w 215788"/>
                    <a:gd name="connsiteY1484" fmla="*/ 878623 h 1282588"/>
                    <a:gd name="connsiteX1485" fmla="*/ 75467 w 215788"/>
                    <a:gd name="connsiteY1485" fmla="*/ 873113 h 1282588"/>
                    <a:gd name="connsiteX1486" fmla="*/ 71408 w 215788"/>
                    <a:gd name="connsiteY1486" fmla="*/ 871679 h 1282588"/>
                    <a:gd name="connsiteX1487" fmla="*/ 67105 w 215788"/>
                    <a:gd name="connsiteY1487" fmla="*/ 868093 h 1282588"/>
                    <a:gd name="connsiteX1488" fmla="*/ 63633 w 215788"/>
                    <a:gd name="connsiteY1488" fmla="*/ 866170 h 1282588"/>
                    <a:gd name="connsiteX1489" fmla="*/ 60561 w 215788"/>
                    <a:gd name="connsiteY1489" fmla="*/ 863766 h 1282588"/>
                    <a:gd name="connsiteX1490" fmla="*/ 61164 w 215788"/>
                    <a:gd name="connsiteY1490" fmla="*/ 860196 h 1282588"/>
                    <a:gd name="connsiteX1491" fmla="*/ 61563 w 215788"/>
                    <a:gd name="connsiteY1491" fmla="*/ 854345 h 1282588"/>
                    <a:gd name="connsiteX1492" fmla="*/ 65426 w 215788"/>
                    <a:gd name="connsiteY1492" fmla="*/ 853098 h 1282588"/>
                    <a:gd name="connsiteX1493" fmla="*/ 67211 w 215788"/>
                    <a:gd name="connsiteY1493" fmla="*/ 845095 h 1282588"/>
                    <a:gd name="connsiteX1494" fmla="*/ 64627 w 215788"/>
                    <a:gd name="connsiteY1494" fmla="*/ 838958 h 1282588"/>
                    <a:gd name="connsiteX1495" fmla="*/ 65247 w 215788"/>
                    <a:gd name="connsiteY1495" fmla="*/ 834402 h 1282588"/>
                    <a:gd name="connsiteX1496" fmla="*/ 68621 w 215788"/>
                    <a:gd name="connsiteY1496" fmla="*/ 830515 h 1282588"/>
                    <a:gd name="connsiteX1497" fmla="*/ 69232 w 215788"/>
                    <a:gd name="connsiteY1497" fmla="*/ 827825 h 1282588"/>
                    <a:gd name="connsiteX1498" fmla="*/ 70161 w 215788"/>
                    <a:gd name="connsiteY1498" fmla="*/ 824867 h 1282588"/>
                    <a:gd name="connsiteX1499" fmla="*/ 73136 w 215788"/>
                    <a:gd name="connsiteY1499" fmla="*/ 824557 h 1282588"/>
                    <a:gd name="connsiteX1500" fmla="*/ 73201 w 215788"/>
                    <a:gd name="connsiteY1500" fmla="*/ 822952 h 1282588"/>
                    <a:gd name="connsiteX1501" fmla="*/ 72940 w 215788"/>
                    <a:gd name="connsiteY1501" fmla="*/ 820026 h 1282588"/>
                    <a:gd name="connsiteX1502" fmla="*/ 70984 w 215788"/>
                    <a:gd name="connsiteY1502" fmla="*/ 816570 h 1282588"/>
                    <a:gd name="connsiteX1503" fmla="*/ 70911 w 215788"/>
                    <a:gd name="connsiteY1503" fmla="*/ 811762 h 1282588"/>
                    <a:gd name="connsiteX1504" fmla="*/ 72753 w 215788"/>
                    <a:gd name="connsiteY1504" fmla="*/ 806123 h 1282588"/>
                    <a:gd name="connsiteX1505" fmla="*/ 75703 w 215788"/>
                    <a:gd name="connsiteY1505" fmla="*/ 806506 h 1282588"/>
                    <a:gd name="connsiteX1506" fmla="*/ 76273 w 215788"/>
                    <a:gd name="connsiteY1506" fmla="*/ 806277 h 1282588"/>
                    <a:gd name="connsiteX1507" fmla="*/ 74179 w 215788"/>
                    <a:gd name="connsiteY1507" fmla="*/ 802846 h 1282588"/>
                    <a:gd name="connsiteX1508" fmla="*/ 72476 w 215788"/>
                    <a:gd name="connsiteY1508" fmla="*/ 799098 h 1282588"/>
                    <a:gd name="connsiteX1509" fmla="*/ 72769 w 215788"/>
                    <a:gd name="connsiteY1509" fmla="*/ 797598 h 1282588"/>
                    <a:gd name="connsiteX1510" fmla="*/ 74407 w 215788"/>
                    <a:gd name="connsiteY1510" fmla="*/ 796318 h 1282588"/>
                    <a:gd name="connsiteX1511" fmla="*/ 76298 w 215788"/>
                    <a:gd name="connsiteY1511" fmla="*/ 795609 h 1282588"/>
                    <a:gd name="connsiteX1512" fmla="*/ 78343 w 215788"/>
                    <a:gd name="connsiteY1512" fmla="*/ 797525 h 1282588"/>
                    <a:gd name="connsiteX1513" fmla="*/ 81277 w 215788"/>
                    <a:gd name="connsiteY1513" fmla="*/ 803669 h 1282588"/>
                    <a:gd name="connsiteX1514" fmla="*/ 81726 w 215788"/>
                    <a:gd name="connsiteY1514" fmla="*/ 802089 h 1282588"/>
                    <a:gd name="connsiteX1515" fmla="*/ 80536 w 215788"/>
                    <a:gd name="connsiteY1515" fmla="*/ 795837 h 1282588"/>
                    <a:gd name="connsiteX1516" fmla="*/ 79558 w 215788"/>
                    <a:gd name="connsiteY1516" fmla="*/ 788079 h 1282588"/>
                    <a:gd name="connsiteX1517" fmla="*/ 76469 w 215788"/>
                    <a:gd name="connsiteY1517" fmla="*/ 789089 h 1282588"/>
                    <a:gd name="connsiteX1518" fmla="*/ 73641 w 215788"/>
                    <a:gd name="connsiteY1518" fmla="*/ 788552 h 1282588"/>
                    <a:gd name="connsiteX1519" fmla="*/ 72573 w 215788"/>
                    <a:gd name="connsiteY1519" fmla="*/ 787353 h 1282588"/>
                    <a:gd name="connsiteX1520" fmla="*/ 71514 w 215788"/>
                    <a:gd name="connsiteY1520" fmla="*/ 785602 h 1282588"/>
                    <a:gd name="connsiteX1521" fmla="*/ 72516 w 215788"/>
                    <a:gd name="connsiteY1521" fmla="*/ 783475 h 1282588"/>
                    <a:gd name="connsiteX1522" fmla="*/ 73511 w 215788"/>
                    <a:gd name="connsiteY1522" fmla="*/ 781893 h 1282588"/>
                    <a:gd name="connsiteX1523" fmla="*/ 75589 w 215788"/>
                    <a:gd name="connsiteY1523" fmla="*/ 779905 h 1282588"/>
                    <a:gd name="connsiteX1524" fmla="*/ 79908 w 215788"/>
                    <a:gd name="connsiteY1524" fmla="*/ 779204 h 1282588"/>
                    <a:gd name="connsiteX1525" fmla="*/ 83021 w 215788"/>
                    <a:gd name="connsiteY1525" fmla="*/ 776702 h 1282588"/>
                    <a:gd name="connsiteX1526" fmla="*/ 84065 w 215788"/>
                    <a:gd name="connsiteY1526" fmla="*/ 771559 h 1282588"/>
                    <a:gd name="connsiteX1527" fmla="*/ 83038 w 215788"/>
                    <a:gd name="connsiteY1527" fmla="*/ 772065 h 1282588"/>
                    <a:gd name="connsiteX1528" fmla="*/ 81343 w 215788"/>
                    <a:gd name="connsiteY1528" fmla="*/ 776588 h 1282588"/>
                    <a:gd name="connsiteX1529" fmla="*/ 78498 w 215788"/>
                    <a:gd name="connsiteY1529" fmla="*/ 778120 h 1282588"/>
                    <a:gd name="connsiteX1530" fmla="*/ 77048 w 215788"/>
                    <a:gd name="connsiteY1530" fmla="*/ 777900 h 1282588"/>
                    <a:gd name="connsiteX1531" fmla="*/ 75336 w 215788"/>
                    <a:gd name="connsiteY1531" fmla="*/ 777052 h 1282588"/>
                    <a:gd name="connsiteX1532" fmla="*/ 71978 w 215788"/>
                    <a:gd name="connsiteY1532" fmla="*/ 773124 h 1282588"/>
                    <a:gd name="connsiteX1533" fmla="*/ 70120 w 215788"/>
                    <a:gd name="connsiteY1533" fmla="*/ 772212 h 1282588"/>
                    <a:gd name="connsiteX1534" fmla="*/ 68311 w 215788"/>
                    <a:gd name="connsiteY1534" fmla="*/ 772106 h 1282588"/>
                    <a:gd name="connsiteX1535" fmla="*/ 66771 w 215788"/>
                    <a:gd name="connsiteY1535" fmla="*/ 773100 h 1282588"/>
                    <a:gd name="connsiteX1536" fmla="*/ 62826 w 215788"/>
                    <a:gd name="connsiteY1536" fmla="*/ 780060 h 1282588"/>
                    <a:gd name="connsiteX1537" fmla="*/ 61147 w 215788"/>
                    <a:gd name="connsiteY1537" fmla="*/ 781225 h 1282588"/>
                    <a:gd name="connsiteX1538" fmla="*/ 54212 w 215788"/>
                    <a:gd name="connsiteY1538" fmla="*/ 781787 h 1282588"/>
                    <a:gd name="connsiteX1539" fmla="*/ 51669 w 215788"/>
                    <a:gd name="connsiteY1539" fmla="*/ 780981 h 1282588"/>
                    <a:gd name="connsiteX1540" fmla="*/ 48915 w 215788"/>
                    <a:gd name="connsiteY1540" fmla="*/ 779913 h 1282588"/>
                    <a:gd name="connsiteX1541" fmla="*/ 49249 w 215788"/>
                    <a:gd name="connsiteY1541" fmla="*/ 778185 h 1282588"/>
                    <a:gd name="connsiteX1542" fmla="*/ 50088 w 215788"/>
                    <a:gd name="connsiteY1542" fmla="*/ 776359 h 1282588"/>
                    <a:gd name="connsiteX1543" fmla="*/ 51645 w 215788"/>
                    <a:gd name="connsiteY1543" fmla="*/ 775439 h 1282588"/>
                    <a:gd name="connsiteX1544" fmla="*/ 51669 w 215788"/>
                    <a:gd name="connsiteY1544" fmla="*/ 774388 h 1282588"/>
                    <a:gd name="connsiteX1545" fmla="*/ 49518 w 215788"/>
                    <a:gd name="connsiteY1545" fmla="*/ 774119 h 1282588"/>
                    <a:gd name="connsiteX1546" fmla="*/ 47032 w 215788"/>
                    <a:gd name="connsiteY1546" fmla="*/ 772195 h 1282588"/>
                    <a:gd name="connsiteX1547" fmla="*/ 45932 w 215788"/>
                    <a:gd name="connsiteY1547" fmla="*/ 769775 h 1282588"/>
                    <a:gd name="connsiteX1548" fmla="*/ 45410 w 215788"/>
                    <a:gd name="connsiteY1548" fmla="*/ 765423 h 1282588"/>
                    <a:gd name="connsiteX1549" fmla="*/ 43186 w 215788"/>
                    <a:gd name="connsiteY1549" fmla="*/ 758544 h 1282588"/>
                    <a:gd name="connsiteX1550" fmla="*/ 42745 w 215788"/>
                    <a:gd name="connsiteY1550" fmla="*/ 753638 h 1282588"/>
                    <a:gd name="connsiteX1551" fmla="*/ 44318 w 215788"/>
                    <a:gd name="connsiteY1551" fmla="*/ 750118 h 1282588"/>
                    <a:gd name="connsiteX1552" fmla="*/ 47700 w 215788"/>
                    <a:gd name="connsiteY1552" fmla="*/ 736393 h 1282588"/>
                    <a:gd name="connsiteX1553" fmla="*/ 48727 w 215788"/>
                    <a:gd name="connsiteY1553" fmla="*/ 729417 h 1282588"/>
                    <a:gd name="connsiteX1554" fmla="*/ 50536 w 215788"/>
                    <a:gd name="connsiteY1554" fmla="*/ 723297 h 1282588"/>
                    <a:gd name="connsiteX1555" fmla="*/ 50496 w 215788"/>
                    <a:gd name="connsiteY1555" fmla="*/ 719246 h 1282588"/>
                    <a:gd name="connsiteX1556" fmla="*/ 55182 w 215788"/>
                    <a:gd name="connsiteY1556" fmla="*/ 715554 h 1282588"/>
                    <a:gd name="connsiteX1557" fmla="*/ 56959 w 215788"/>
                    <a:gd name="connsiteY1557" fmla="*/ 713354 h 1282588"/>
                    <a:gd name="connsiteX1558" fmla="*/ 60944 w 215788"/>
                    <a:gd name="connsiteY1558" fmla="*/ 700950 h 1282588"/>
                    <a:gd name="connsiteX1559" fmla="*/ 61522 w 215788"/>
                    <a:gd name="connsiteY1559" fmla="*/ 694259 h 1282588"/>
                    <a:gd name="connsiteX1560" fmla="*/ 55223 w 215788"/>
                    <a:gd name="connsiteY1560" fmla="*/ 674048 h 1282588"/>
                    <a:gd name="connsiteX1561" fmla="*/ 54245 w 215788"/>
                    <a:gd name="connsiteY1561" fmla="*/ 670193 h 1282588"/>
                    <a:gd name="connsiteX1562" fmla="*/ 53935 w 215788"/>
                    <a:gd name="connsiteY1562" fmla="*/ 665401 h 1282588"/>
                    <a:gd name="connsiteX1563" fmla="*/ 55443 w 215788"/>
                    <a:gd name="connsiteY1563" fmla="*/ 657463 h 1282588"/>
                    <a:gd name="connsiteX1564" fmla="*/ 55614 w 215788"/>
                    <a:gd name="connsiteY1564" fmla="*/ 654456 h 1282588"/>
                    <a:gd name="connsiteX1565" fmla="*/ 54326 w 215788"/>
                    <a:gd name="connsiteY1565" fmla="*/ 650120 h 1282588"/>
                    <a:gd name="connsiteX1566" fmla="*/ 50732 w 215788"/>
                    <a:gd name="connsiteY1566" fmla="*/ 643014 h 1282588"/>
                    <a:gd name="connsiteX1567" fmla="*/ 50659 w 215788"/>
                    <a:gd name="connsiteY1567" fmla="*/ 639412 h 1282588"/>
                    <a:gd name="connsiteX1568" fmla="*/ 52175 w 215788"/>
                    <a:gd name="connsiteY1568" fmla="*/ 635696 h 1282588"/>
                    <a:gd name="connsiteX1569" fmla="*/ 50716 w 215788"/>
                    <a:gd name="connsiteY1569" fmla="*/ 631091 h 1282588"/>
                    <a:gd name="connsiteX1570" fmla="*/ 51425 w 215788"/>
                    <a:gd name="connsiteY1570" fmla="*/ 628238 h 1282588"/>
                    <a:gd name="connsiteX1571" fmla="*/ 52223 w 215788"/>
                    <a:gd name="connsiteY1571" fmla="*/ 626005 h 1282588"/>
                    <a:gd name="connsiteX1572" fmla="*/ 57855 w 215788"/>
                    <a:gd name="connsiteY1572" fmla="*/ 627195 h 1282588"/>
                    <a:gd name="connsiteX1573" fmla="*/ 60422 w 215788"/>
                    <a:gd name="connsiteY1573" fmla="*/ 626633 h 1282588"/>
                    <a:gd name="connsiteX1574" fmla="*/ 61783 w 215788"/>
                    <a:gd name="connsiteY1574" fmla="*/ 625288 h 1282588"/>
                    <a:gd name="connsiteX1575" fmla="*/ 62851 w 215788"/>
                    <a:gd name="connsiteY1575" fmla="*/ 621499 h 1282588"/>
                    <a:gd name="connsiteX1576" fmla="*/ 63389 w 215788"/>
                    <a:gd name="connsiteY1576" fmla="*/ 615606 h 1282588"/>
                    <a:gd name="connsiteX1577" fmla="*/ 63723 w 215788"/>
                    <a:gd name="connsiteY1577" fmla="*/ 613063 h 1282588"/>
                    <a:gd name="connsiteX1578" fmla="*/ 64212 w 215788"/>
                    <a:gd name="connsiteY1578" fmla="*/ 609356 h 1282588"/>
                    <a:gd name="connsiteX1579" fmla="*/ 66975 w 215788"/>
                    <a:gd name="connsiteY1579" fmla="*/ 607864 h 1282588"/>
                    <a:gd name="connsiteX1580" fmla="*/ 67936 w 215788"/>
                    <a:gd name="connsiteY1580" fmla="*/ 604360 h 1282588"/>
                    <a:gd name="connsiteX1581" fmla="*/ 70251 w 215788"/>
                    <a:gd name="connsiteY1581" fmla="*/ 599462 h 1282588"/>
                    <a:gd name="connsiteX1582" fmla="*/ 72631 w 215788"/>
                    <a:gd name="connsiteY1582" fmla="*/ 585811 h 1282588"/>
                    <a:gd name="connsiteX1583" fmla="*/ 74986 w 215788"/>
                    <a:gd name="connsiteY1583" fmla="*/ 582453 h 1282588"/>
                    <a:gd name="connsiteX1584" fmla="*/ 77366 w 215788"/>
                    <a:gd name="connsiteY1584" fmla="*/ 578566 h 1282588"/>
                    <a:gd name="connsiteX1585" fmla="*/ 76461 w 215788"/>
                    <a:gd name="connsiteY1585" fmla="*/ 572820 h 1282588"/>
                    <a:gd name="connsiteX1586" fmla="*/ 77993 w 215788"/>
                    <a:gd name="connsiteY1586" fmla="*/ 570171 h 1282588"/>
                    <a:gd name="connsiteX1587" fmla="*/ 79403 w 215788"/>
                    <a:gd name="connsiteY1587" fmla="*/ 568248 h 1282588"/>
                    <a:gd name="connsiteX1588" fmla="*/ 80650 w 215788"/>
                    <a:gd name="connsiteY1588" fmla="*/ 564744 h 1282588"/>
                    <a:gd name="connsiteX1589" fmla="*/ 82337 w 215788"/>
                    <a:gd name="connsiteY1589" fmla="*/ 561443 h 1282588"/>
                    <a:gd name="connsiteX1590" fmla="*/ 86387 w 215788"/>
                    <a:gd name="connsiteY1590" fmla="*/ 556684 h 1282588"/>
                    <a:gd name="connsiteX1591" fmla="*/ 87406 w 215788"/>
                    <a:gd name="connsiteY1591" fmla="*/ 550897 h 1282588"/>
                    <a:gd name="connsiteX1592" fmla="*/ 90544 w 215788"/>
                    <a:gd name="connsiteY1592" fmla="*/ 540881 h 1282588"/>
                    <a:gd name="connsiteX1593" fmla="*/ 91171 w 215788"/>
                    <a:gd name="connsiteY1593" fmla="*/ 534468 h 1282588"/>
                    <a:gd name="connsiteX1594" fmla="*/ 92141 w 215788"/>
                    <a:gd name="connsiteY1594" fmla="*/ 530140 h 1282588"/>
                    <a:gd name="connsiteX1595" fmla="*/ 91864 w 215788"/>
                    <a:gd name="connsiteY1595" fmla="*/ 526106 h 1282588"/>
                    <a:gd name="connsiteX1596" fmla="*/ 93746 w 215788"/>
                    <a:gd name="connsiteY1596" fmla="*/ 521200 h 1282588"/>
                    <a:gd name="connsiteX1597" fmla="*/ 95556 w 215788"/>
                    <a:gd name="connsiteY1597" fmla="*/ 517068 h 1282588"/>
                    <a:gd name="connsiteX1598" fmla="*/ 96126 w 215788"/>
                    <a:gd name="connsiteY1598" fmla="*/ 514778 h 1282588"/>
                    <a:gd name="connsiteX1599" fmla="*/ 100258 w 215788"/>
                    <a:gd name="connsiteY1599" fmla="*/ 509334 h 1282588"/>
                    <a:gd name="connsiteX1600" fmla="*/ 100951 w 215788"/>
                    <a:gd name="connsiteY1600" fmla="*/ 504966 h 1282588"/>
                    <a:gd name="connsiteX1601" fmla="*/ 99476 w 215788"/>
                    <a:gd name="connsiteY1601" fmla="*/ 502023 h 1282588"/>
                    <a:gd name="connsiteX1602" fmla="*/ 99451 w 215788"/>
                    <a:gd name="connsiteY1602" fmla="*/ 497459 h 1282588"/>
                    <a:gd name="connsiteX1603" fmla="*/ 98294 w 215788"/>
                    <a:gd name="connsiteY1603" fmla="*/ 491135 h 1282588"/>
                    <a:gd name="connsiteX1604" fmla="*/ 100959 w 215788"/>
                    <a:gd name="connsiteY1604" fmla="*/ 488772 h 1282588"/>
                    <a:gd name="connsiteX1605" fmla="*/ 102035 w 215788"/>
                    <a:gd name="connsiteY1605" fmla="*/ 487044 h 1282588"/>
                    <a:gd name="connsiteX1606" fmla="*/ 105507 w 215788"/>
                    <a:gd name="connsiteY1606" fmla="*/ 476963 h 1282588"/>
                    <a:gd name="connsiteX1607" fmla="*/ 105278 w 215788"/>
                    <a:gd name="connsiteY1607" fmla="*/ 473018 h 1282588"/>
                    <a:gd name="connsiteX1608" fmla="*/ 106273 w 215788"/>
                    <a:gd name="connsiteY1608" fmla="*/ 468104 h 1282588"/>
                    <a:gd name="connsiteX1609" fmla="*/ 103999 w 215788"/>
                    <a:gd name="connsiteY1609" fmla="*/ 462293 h 1282588"/>
                    <a:gd name="connsiteX1610" fmla="*/ 103681 w 215788"/>
                    <a:gd name="connsiteY1610" fmla="*/ 449262 h 1282588"/>
                    <a:gd name="connsiteX1611" fmla="*/ 102410 w 215788"/>
                    <a:gd name="connsiteY1611" fmla="*/ 439254 h 1282588"/>
                    <a:gd name="connsiteX1612" fmla="*/ 100307 w 215788"/>
                    <a:gd name="connsiteY1612" fmla="*/ 428700 h 1282588"/>
                    <a:gd name="connsiteX1613" fmla="*/ 100511 w 215788"/>
                    <a:gd name="connsiteY1613" fmla="*/ 422792 h 1282588"/>
                    <a:gd name="connsiteX1614" fmla="*/ 99223 w 215788"/>
                    <a:gd name="connsiteY1614" fmla="*/ 415473 h 1282588"/>
                    <a:gd name="connsiteX1615" fmla="*/ 99142 w 215788"/>
                    <a:gd name="connsiteY1615" fmla="*/ 411244 h 1282588"/>
                    <a:gd name="connsiteX1616" fmla="*/ 100119 w 215788"/>
                    <a:gd name="connsiteY1616" fmla="*/ 401668 h 1282588"/>
                    <a:gd name="connsiteX1617" fmla="*/ 106802 w 215788"/>
                    <a:gd name="connsiteY1617" fmla="*/ 395653 h 1282588"/>
                    <a:gd name="connsiteX1618" fmla="*/ 108098 w 215788"/>
                    <a:gd name="connsiteY1618" fmla="*/ 388913 h 1282588"/>
                    <a:gd name="connsiteX1619" fmla="*/ 108905 w 215788"/>
                    <a:gd name="connsiteY1619" fmla="*/ 379835 h 1282588"/>
                    <a:gd name="connsiteX1620" fmla="*/ 108628 w 215788"/>
                    <a:gd name="connsiteY1620" fmla="*/ 373217 h 1282588"/>
                    <a:gd name="connsiteX1621" fmla="*/ 107968 w 215788"/>
                    <a:gd name="connsiteY1621" fmla="*/ 370258 h 1282588"/>
                    <a:gd name="connsiteX1622" fmla="*/ 104683 w 215788"/>
                    <a:gd name="connsiteY1622" fmla="*/ 365385 h 1282588"/>
                    <a:gd name="connsiteX1623" fmla="*/ 103852 w 215788"/>
                    <a:gd name="connsiteY1623" fmla="*/ 356705 h 1282588"/>
                    <a:gd name="connsiteX1624" fmla="*/ 104488 w 215788"/>
                    <a:gd name="connsiteY1624" fmla="*/ 354432 h 1282588"/>
                    <a:gd name="connsiteX1625" fmla="*/ 107202 w 215788"/>
                    <a:gd name="connsiteY1625" fmla="*/ 351987 h 1282588"/>
                    <a:gd name="connsiteX1626" fmla="*/ 109117 w 215788"/>
                    <a:gd name="connsiteY1626" fmla="*/ 348597 h 1282588"/>
                    <a:gd name="connsiteX1627" fmla="*/ 110111 w 215788"/>
                    <a:gd name="connsiteY1627" fmla="*/ 343332 h 1282588"/>
                    <a:gd name="connsiteX1628" fmla="*/ 112100 w 215788"/>
                    <a:gd name="connsiteY1628" fmla="*/ 339200 h 1282588"/>
                    <a:gd name="connsiteX1629" fmla="*/ 112890 w 215788"/>
                    <a:gd name="connsiteY1629" fmla="*/ 329208 h 1282588"/>
                    <a:gd name="connsiteX1630" fmla="*/ 114577 w 215788"/>
                    <a:gd name="connsiteY1630" fmla="*/ 321279 h 1282588"/>
                    <a:gd name="connsiteX1631" fmla="*/ 115425 w 215788"/>
                    <a:gd name="connsiteY1631" fmla="*/ 318500 h 1282588"/>
                    <a:gd name="connsiteX1632" fmla="*/ 118073 w 215788"/>
                    <a:gd name="connsiteY1632" fmla="*/ 315020 h 1282588"/>
                    <a:gd name="connsiteX1633" fmla="*/ 118571 w 215788"/>
                    <a:gd name="connsiteY1633" fmla="*/ 314099 h 1282588"/>
                    <a:gd name="connsiteX1634" fmla="*/ 118978 w 215788"/>
                    <a:gd name="connsiteY1634" fmla="*/ 311450 h 1282588"/>
                    <a:gd name="connsiteX1635" fmla="*/ 118856 w 215788"/>
                    <a:gd name="connsiteY1635" fmla="*/ 305191 h 1282588"/>
                    <a:gd name="connsiteX1636" fmla="*/ 119263 w 215788"/>
                    <a:gd name="connsiteY1636" fmla="*/ 301377 h 1282588"/>
                    <a:gd name="connsiteX1637" fmla="*/ 121374 w 215788"/>
                    <a:gd name="connsiteY1637" fmla="*/ 293863 h 1282588"/>
                    <a:gd name="connsiteX1638" fmla="*/ 121610 w 215788"/>
                    <a:gd name="connsiteY1638" fmla="*/ 290391 h 1282588"/>
                    <a:gd name="connsiteX1639" fmla="*/ 123957 w 215788"/>
                    <a:gd name="connsiteY1639" fmla="*/ 282673 h 1282588"/>
                    <a:gd name="connsiteX1640" fmla="*/ 124487 w 215788"/>
                    <a:gd name="connsiteY1640" fmla="*/ 277148 h 1282588"/>
                    <a:gd name="connsiteX1641" fmla="*/ 125490 w 215788"/>
                    <a:gd name="connsiteY1641" fmla="*/ 274230 h 1282588"/>
                    <a:gd name="connsiteX1642" fmla="*/ 125098 w 215788"/>
                    <a:gd name="connsiteY1642" fmla="*/ 270946 h 1282588"/>
                    <a:gd name="connsiteX1643" fmla="*/ 125759 w 215788"/>
                    <a:gd name="connsiteY1643" fmla="*/ 263611 h 1282588"/>
                    <a:gd name="connsiteX1644" fmla="*/ 124169 w 215788"/>
                    <a:gd name="connsiteY1644" fmla="*/ 259455 h 1282588"/>
                    <a:gd name="connsiteX1645" fmla="*/ 123827 w 215788"/>
                    <a:gd name="connsiteY1645" fmla="*/ 257034 h 1282588"/>
                    <a:gd name="connsiteX1646" fmla="*/ 125824 w 215788"/>
                    <a:gd name="connsiteY1646" fmla="*/ 249520 h 1282588"/>
                    <a:gd name="connsiteX1647" fmla="*/ 127185 w 215788"/>
                    <a:gd name="connsiteY1647" fmla="*/ 247687 h 1282588"/>
                    <a:gd name="connsiteX1648" fmla="*/ 129385 w 215788"/>
                    <a:gd name="connsiteY1648" fmla="*/ 244190 h 1282588"/>
                    <a:gd name="connsiteX1649" fmla="*/ 130314 w 215788"/>
                    <a:gd name="connsiteY1649" fmla="*/ 240270 h 1282588"/>
                    <a:gd name="connsiteX1650" fmla="*/ 130486 w 215788"/>
                    <a:gd name="connsiteY1650" fmla="*/ 237785 h 1282588"/>
                    <a:gd name="connsiteX1651" fmla="*/ 127674 w 215788"/>
                    <a:gd name="connsiteY1651" fmla="*/ 225405 h 1282588"/>
                    <a:gd name="connsiteX1652" fmla="*/ 127291 w 215788"/>
                    <a:gd name="connsiteY1652" fmla="*/ 221184 h 1282588"/>
                    <a:gd name="connsiteX1653" fmla="*/ 127975 w 215788"/>
                    <a:gd name="connsiteY1653" fmla="*/ 211388 h 1282588"/>
                    <a:gd name="connsiteX1654" fmla="*/ 128945 w 215788"/>
                    <a:gd name="connsiteY1654" fmla="*/ 205063 h 1282588"/>
                    <a:gd name="connsiteX1655" fmla="*/ 128627 w 215788"/>
                    <a:gd name="connsiteY1655" fmla="*/ 200027 h 1282588"/>
                    <a:gd name="connsiteX1656" fmla="*/ 128945 w 215788"/>
                    <a:gd name="connsiteY1656" fmla="*/ 197427 h 1282588"/>
                    <a:gd name="connsiteX1657" fmla="*/ 129434 w 215788"/>
                    <a:gd name="connsiteY1657" fmla="*/ 194192 h 1282588"/>
                    <a:gd name="connsiteX1658" fmla="*/ 131366 w 215788"/>
                    <a:gd name="connsiteY1658" fmla="*/ 190247 h 1282588"/>
                    <a:gd name="connsiteX1659" fmla="*/ 131806 w 215788"/>
                    <a:gd name="connsiteY1659" fmla="*/ 187444 h 1282588"/>
                    <a:gd name="connsiteX1660" fmla="*/ 131129 w 215788"/>
                    <a:gd name="connsiteY1660" fmla="*/ 186270 h 1282588"/>
                    <a:gd name="connsiteX1661" fmla="*/ 128847 w 215788"/>
                    <a:gd name="connsiteY1661" fmla="*/ 184836 h 1282588"/>
                    <a:gd name="connsiteX1662" fmla="*/ 126957 w 215788"/>
                    <a:gd name="connsiteY1662" fmla="*/ 181266 h 1282588"/>
                    <a:gd name="connsiteX1663" fmla="*/ 126834 w 215788"/>
                    <a:gd name="connsiteY1663" fmla="*/ 177737 h 1282588"/>
                    <a:gd name="connsiteX1664" fmla="*/ 127437 w 215788"/>
                    <a:gd name="connsiteY1664" fmla="*/ 175178 h 1282588"/>
                    <a:gd name="connsiteX1665" fmla="*/ 127576 w 215788"/>
                    <a:gd name="connsiteY1665" fmla="*/ 171560 h 1282588"/>
                    <a:gd name="connsiteX1666" fmla="*/ 130388 w 215788"/>
                    <a:gd name="connsiteY1666" fmla="*/ 170851 h 1282588"/>
                    <a:gd name="connsiteX1667" fmla="*/ 131895 w 215788"/>
                    <a:gd name="connsiteY1667" fmla="*/ 168838 h 1282588"/>
                    <a:gd name="connsiteX1668" fmla="*/ 133322 w 215788"/>
                    <a:gd name="connsiteY1668" fmla="*/ 165065 h 1282588"/>
                    <a:gd name="connsiteX1669" fmla="*/ 135115 w 215788"/>
                    <a:gd name="connsiteY1669" fmla="*/ 155953 h 1282588"/>
                    <a:gd name="connsiteX1670" fmla="*/ 135881 w 215788"/>
                    <a:gd name="connsiteY1670" fmla="*/ 144666 h 1282588"/>
                    <a:gd name="connsiteX1671" fmla="*/ 136948 w 215788"/>
                    <a:gd name="connsiteY1671" fmla="*/ 137869 h 1282588"/>
                    <a:gd name="connsiteX1672" fmla="*/ 137698 w 215788"/>
                    <a:gd name="connsiteY1672" fmla="*/ 134511 h 1282588"/>
                    <a:gd name="connsiteX1673" fmla="*/ 138334 w 215788"/>
                    <a:gd name="connsiteY1673" fmla="*/ 127502 h 1282588"/>
                    <a:gd name="connsiteX1674" fmla="*/ 139377 w 215788"/>
                    <a:gd name="connsiteY1674" fmla="*/ 122922 h 1282588"/>
                    <a:gd name="connsiteX1675" fmla="*/ 139564 w 215788"/>
                    <a:gd name="connsiteY1675" fmla="*/ 118684 h 1282588"/>
                    <a:gd name="connsiteX1676" fmla="*/ 139352 w 215788"/>
                    <a:gd name="connsiteY1676" fmla="*/ 115473 h 1282588"/>
                    <a:gd name="connsiteX1677" fmla="*/ 136655 w 215788"/>
                    <a:gd name="connsiteY1677" fmla="*/ 99125 h 1282588"/>
                    <a:gd name="connsiteX1678" fmla="*/ 136736 w 215788"/>
                    <a:gd name="connsiteY1678" fmla="*/ 93127 h 1282588"/>
                    <a:gd name="connsiteX1679" fmla="*/ 137885 w 215788"/>
                    <a:gd name="connsiteY1679" fmla="*/ 83804 h 1282588"/>
                    <a:gd name="connsiteX1680" fmla="*/ 137869 w 215788"/>
                    <a:gd name="connsiteY1680" fmla="*/ 70699 h 1282588"/>
                    <a:gd name="connsiteX1681" fmla="*/ 137641 w 215788"/>
                    <a:gd name="connsiteY1681" fmla="*/ 67634 h 1282588"/>
                    <a:gd name="connsiteX1682" fmla="*/ 136622 w 215788"/>
                    <a:gd name="connsiteY1682" fmla="*/ 64774 h 1282588"/>
                    <a:gd name="connsiteX1683" fmla="*/ 136321 w 215788"/>
                    <a:gd name="connsiteY1683" fmla="*/ 60879 h 1282588"/>
                    <a:gd name="connsiteX1684" fmla="*/ 134699 w 215788"/>
                    <a:gd name="connsiteY1684" fmla="*/ 54122 h 1282588"/>
                    <a:gd name="connsiteX1685" fmla="*/ 133232 w 215788"/>
                    <a:gd name="connsiteY1685" fmla="*/ 40578 h 1282588"/>
                    <a:gd name="connsiteX1686" fmla="*/ 133207 w 215788"/>
                    <a:gd name="connsiteY1686" fmla="*/ 33430 h 1282588"/>
                    <a:gd name="connsiteX1687" fmla="*/ 132572 w 215788"/>
                    <a:gd name="connsiteY1687" fmla="*/ 27367 h 1282588"/>
                    <a:gd name="connsiteX1688" fmla="*/ 131170 w 215788"/>
                    <a:gd name="connsiteY1688" fmla="*/ 25769 h 1282588"/>
                    <a:gd name="connsiteX1689" fmla="*/ 132180 w 215788"/>
                    <a:gd name="connsiteY1689" fmla="*/ 25395 h 1282588"/>
                    <a:gd name="connsiteX1690" fmla="*/ 134544 w 215788"/>
                    <a:gd name="connsiteY1690" fmla="*/ 25142 h 1282588"/>
                    <a:gd name="connsiteX1691" fmla="*/ 136989 w 215788"/>
                    <a:gd name="connsiteY1691" fmla="*/ 25142 h 1282588"/>
                    <a:gd name="connsiteX1692" fmla="*/ 140078 w 215788"/>
                    <a:gd name="connsiteY1692" fmla="*/ 23862 h 1282588"/>
                    <a:gd name="connsiteX1693" fmla="*/ 143370 w 215788"/>
                    <a:gd name="connsiteY1693" fmla="*/ 21491 h 1282588"/>
                    <a:gd name="connsiteX1694" fmla="*/ 145522 w 215788"/>
                    <a:gd name="connsiteY1694" fmla="*/ 18027 h 1282588"/>
                    <a:gd name="connsiteX1695" fmla="*/ 146443 w 215788"/>
                    <a:gd name="connsiteY1695" fmla="*/ 14857 h 1282588"/>
                    <a:gd name="connsiteX1696" fmla="*/ 146443 w 215788"/>
                    <a:gd name="connsiteY1696" fmla="*/ 12086 h 1282588"/>
                    <a:gd name="connsiteX1697" fmla="*/ 145473 w 215788"/>
                    <a:gd name="connsiteY1697" fmla="*/ 8557 h 1282588"/>
                    <a:gd name="connsiteX1698" fmla="*/ 145212 w 215788"/>
                    <a:gd name="connsiteY1698" fmla="*/ 6063 h 1282588"/>
                    <a:gd name="connsiteX1699" fmla="*/ 146353 w 215788"/>
                    <a:gd name="connsiteY1699" fmla="*/ 4873 h 1282588"/>
                    <a:gd name="connsiteX1700" fmla="*/ 149368 w 215788"/>
                    <a:gd name="connsiteY1700" fmla="*/ 4401 h 1282588"/>
                    <a:gd name="connsiteX1701" fmla="*/ 151813 w 215788"/>
                    <a:gd name="connsiteY1701" fmla="*/ 2054 h 1282588"/>
                    <a:gd name="connsiteX1702" fmla="*/ 153679 w 215788"/>
                    <a:gd name="connsiteY1702" fmla="*/ 0 h 1282588"/>
                    <a:gd name="connsiteX1703" fmla="*/ 154079 w 215788"/>
                    <a:gd name="connsiteY1703" fmla="*/ 3480 h 1282588"/>
                    <a:gd name="connsiteX1704" fmla="*/ 157477 w 215788"/>
                    <a:gd name="connsiteY1704" fmla="*/ 8133 h 1282588"/>
                    <a:gd name="connsiteX1705" fmla="*/ 158586 w 215788"/>
                    <a:gd name="connsiteY1705" fmla="*/ 13398 h 1282588"/>
                    <a:gd name="connsiteX1706" fmla="*/ 159352 w 215788"/>
                    <a:gd name="connsiteY1706" fmla="*/ 14075 h 1282588"/>
                    <a:gd name="connsiteX1707" fmla="*/ 164030 w 215788"/>
                    <a:gd name="connsiteY1707" fmla="*/ 16691 h 1282588"/>
                    <a:gd name="connsiteX1708" fmla="*/ 164111 w 215788"/>
                    <a:gd name="connsiteY1708" fmla="*/ 17318 h 1282588"/>
                    <a:gd name="connsiteX1709" fmla="*/ 163427 w 215788"/>
                    <a:gd name="connsiteY1709" fmla="*/ 18296 h 1282588"/>
                    <a:gd name="connsiteX1710" fmla="*/ 162750 w 215788"/>
                    <a:gd name="connsiteY1710" fmla="*/ 19568 h 1282588"/>
                    <a:gd name="connsiteX1711" fmla="*/ 163223 w 215788"/>
                    <a:gd name="connsiteY1711" fmla="*/ 21360 h 1282588"/>
                    <a:gd name="connsiteX1712" fmla="*/ 164071 w 215788"/>
                    <a:gd name="connsiteY1712" fmla="*/ 23822 h 1282588"/>
                    <a:gd name="connsiteX1713" fmla="*/ 164348 w 215788"/>
                    <a:gd name="connsiteY1713" fmla="*/ 26087 h 1282588"/>
                    <a:gd name="connsiteX1714" fmla="*/ 164861 w 215788"/>
                    <a:gd name="connsiteY1714" fmla="*/ 28434 h 1282588"/>
                    <a:gd name="connsiteX1715" fmla="*/ 165374 w 215788"/>
                    <a:gd name="connsiteY1715" fmla="*/ 32037 h 1282588"/>
                    <a:gd name="connsiteX1716" fmla="*/ 165692 w 215788"/>
                    <a:gd name="connsiteY1716" fmla="*/ 35296 h 1282588"/>
                    <a:gd name="connsiteX1717" fmla="*/ 166882 w 215788"/>
                    <a:gd name="connsiteY1717" fmla="*/ 40121 h 1282588"/>
                    <a:gd name="connsiteX1718" fmla="*/ 167127 w 215788"/>
                    <a:gd name="connsiteY1718" fmla="*/ 43096 h 1282588"/>
                    <a:gd name="connsiteX1719" fmla="*/ 167151 w 215788"/>
                    <a:gd name="connsiteY1719" fmla="*/ 44889 h 1282588"/>
                    <a:gd name="connsiteX1720" fmla="*/ 168072 w 215788"/>
                    <a:gd name="connsiteY1720" fmla="*/ 46649 h 1282588"/>
                    <a:gd name="connsiteX1721" fmla="*/ 169881 w 215788"/>
                    <a:gd name="connsiteY1721" fmla="*/ 48743 h 1282588"/>
                    <a:gd name="connsiteX1722" fmla="*/ 172334 w 215788"/>
                    <a:gd name="connsiteY1722" fmla="*/ 50862 h 1282588"/>
                    <a:gd name="connsiteX1723" fmla="*/ 174282 w 215788"/>
                    <a:gd name="connsiteY1723" fmla="*/ 53340 h 1282588"/>
                    <a:gd name="connsiteX1724" fmla="*/ 175773 w 215788"/>
                    <a:gd name="connsiteY1724" fmla="*/ 55011 h 1282588"/>
                    <a:gd name="connsiteX1725" fmla="*/ 177575 w 215788"/>
                    <a:gd name="connsiteY1725" fmla="*/ 56372 h 1282588"/>
                    <a:gd name="connsiteX1726" fmla="*/ 178960 w 215788"/>
                    <a:gd name="connsiteY1726" fmla="*/ 57643 h 1282588"/>
                    <a:gd name="connsiteX1727" fmla="*/ 179506 w 215788"/>
                    <a:gd name="connsiteY1727" fmla="*/ 58499 h 1282588"/>
                    <a:gd name="connsiteX1728" fmla="*/ 179685 w 215788"/>
                    <a:gd name="connsiteY1728" fmla="*/ 59208 h 1282588"/>
                    <a:gd name="connsiteX1729" fmla="*/ 179090 w 215788"/>
                    <a:gd name="connsiteY1729" fmla="*/ 59868 h 1282588"/>
                    <a:gd name="connsiteX1730" fmla="*/ 176898 w 215788"/>
                    <a:gd name="connsiteY1730" fmla="*/ 63128 h 1282588"/>
                    <a:gd name="connsiteX1731" fmla="*/ 173850 w 215788"/>
                    <a:gd name="connsiteY1731" fmla="*/ 68091 h 1282588"/>
                    <a:gd name="connsiteX1732" fmla="*/ 173899 w 215788"/>
                    <a:gd name="connsiteY1732" fmla="*/ 68686 h 1282588"/>
                    <a:gd name="connsiteX1733" fmla="*/ 176825 w 215788"/>
                    <a:gd name="connsiteY1733" fmla="*/ 72256 h 1282588"/>
                    <a:gd name="connsiteX1734" fmla="*/ 177289 w 215788"/>
                    <a:gd name="connsiteY1734" fmla="*/ 73673 h 1282588"/>
                    <a:gd name="connsiteX1735" fmla="*/ 177257 w 215788"/>
                    <a:gd name="connsiteY1735" fmla="*/ 75670 h 1282588"/>
                    <a:gd name="connsiteX1736" fmla="*/ 176279 w 215788"/>
                    <a:gd name="connsiteY1736" fmla="*/ 78066 h 1282588"/>
                    <a:gd name="connsiteX1737" fmla="*/ 173125 w 215788"/>
                    <a:gd name="connsiteY1737" fmla="*/ 78840 h 1282588"/>
                    <a:gd name="connsiteX1738" fmla="*/ 172416 w 215788"/>
                    <a:gd name="connsiteY1738" fmla="*/ 79492 h 1282588"/>
                    <a:gd name="connsiteX1739" fmla="*/ 172334 w 215788"/>
                    <a:gd name="connsiteY1739" fmla="*/ 80250 h 1282588"/>
                    <a:gd name="connsiteX1740" fmla="*/ 173060 w 215788"/>
                    <a:gd name="connsiteY1740" fmla="*/ 81277 h 1282588"/>
                    <a:gd name="connsiteX1741" fmla="*/ 172946 w 215788"/>
                    <a:gd name="connsiteY1741" fmla="*/ 83641 h 1282588"/>
                    <a:gd name="connsiteX1742" fmla="*/ 174086 w 215788"/>
                    <a:gd name="connsiteY1742" fmla="*/ 86265 h 1282588"/>
                    <a:gd name="connsiteX1743" fmla="*/ 173500 w 215788"/>
                    <a:gd name="connsiteY1743" fmla="*/ 87153 h 1282588"/>
                    <a:gd name="connsiteX1744" fmla="*/ 172334 w 215788"/>
                    <a:gd name="connsiteY1744" fmla="*/ 88351 h 1282588"/>
                    <a:gd name="connsiteX1745" fmla="*/ 172302 w 215788"/>
                    <a:gd name="connsiteY1745" fmla="*/ 89541 h 1282588"/>
                    <a:gd name="connsiteX1746" fmla="*/ 172685 w 215788"/>
                    <a:gd name="connsiteY1746" fmla="*/ 90853 h 1282588"/>
                    <a:gd name="connsiteX1747" fmla="*/ 173907 w 215788"/>
                    <a:gd name="connsiteY1747" fmla="*/ 91921 h 1282588"/>
                    <a:gd name="connsiteX1748" fmla="*/ 178773 w 215788"/>
                    <a:gd name="connsiteY1748" fmla="*/ 95596 h 1282588"/>
                    <a:gd name="connsiteX1749" fmla="*/ 179156 w 215788"/>
                    <a:gd name="connsiteY1749" fmla="*/ 96102 h 1282588"/>
                    <a:gd name="connsiteX1750" fmla="*/ 179082 w 215788"/>
                    <a:gd name="connsiteY1750" fmla="*/ 96476 h 1282588"/>
                    <a:gd name="connsiteX1751" fmla="*/ 177208 w 215788"/>
                    <a:gd name="connsiteY1751" fmla="*/ 98946 h 1282588"/>
                    <a:gd name="connsiteX1752" fmla="*/ 177012 w 215788"/>
                    <a:gd name="connsiteY1752" fmla="*/ 100454 h 1282588"/>
                    <a:gd name="connsiteX1753" fmla="*/ 177069 w 215788"/>
                    <a:gd name="connsiteY1753" fmla="*/ 102956 h 1282588"/>
                    <a:gd name="connsiteX1754" fmla="*/ 177330 w 215788"/>
                    <a:gd name="connsiteY1754" fmla="*/ 104577 h 1282588"/>
                    <a:gd name="connsiteX1755" fmla="*/ 177933 w 215788"/>
                    <a:gd name="connsiteY1755" fmla="*/ 105237 h 1282588"/>
                    <a:gd name="connsiteX1756" fmla="*/ 180378 w 215788"/>
                    <a:gd name="connsiteY1756" fmla="*/ 106003 h 1282588"/>
                    <a:gd name="connsiteX1757" fmla="*/ 183393 w 215788"/>
                    <a:gd name="connsiteY1757" fmla="*/ 111619 h 1282588"/>
                    <a:gd name="connsiteX1758" fmla="*/ 186295 w 215788"/>
                    <a:gd name="connsiteY1758" fmla="*/ 116900 h 1282588"/>
                    <a:gd name="connsiteX1759" fmla="*/ 186254 w 215788"/>
                    <a:gd name="connsiteY1759" fmla="*/ 121464 h 1282588"/>
                    <a:gd name="connsiteX1760" fmla="*/ 186555 w 215788"/>
                    <a:gd name="connsiteY1760" fmla="*/ 126777 h 1282588"/>
                    <a:gd name="connsiteX1761" fmla="*/ 188397 w 215788"/>
                    <a:gd name="connsiteY1761" fmla="*/ 130958 h 1282588"/>
                    <a:gd name="connsiteX1762" fmla="*/ 188658 w 215788"/>
                    <a:gd name="connsiteY1762" fmla="*/ 134291 h 1282588"/>
                    <a:gd name="connsiteX1763" fmla="*/ 189286 w 215788"/>
                    <a:gd name="connsiteY1763" fmla="*/ 138089 h 1282588"/>
                    <a:gd name="connsiteX1764" fmla="*/ 191478 w 215788"/>
                    <a:gd name="connsiteY1764" fmla="*/ 140387 h 1282588"/>
                    <a:gd name="connsiteX1765" fmla="*/ 192334 w 215788"/>
                    <a:gd name="connsiteY1765" fmla="*/ 144959 h 1282588"/>
                    <a:gd name="connsiteX1766" fmla="*/ 192554 w 215788"/>
                    <a:gd name="connsiteY1766" fmla="*/ 147396 h 1282588"/>
                    <a:gd name="connsiteX1767" fmla="*/ 192415 w 215788"/>
                    <a:gd name="connsiteY1767" fmla="*/ 148993 h 1282588"/>
                    <a:gd name="connsiteX1768" fmla="*/ 194110 w 215788"/>
                    <a:gd name="connsiteY1768" fmla="*/ 153957 h 1282588"/>
                    <a:gd name="connsiteX1769" fmla="*/ 194314 w 215788"/>
                    <a:gd name="connsiteY1769" fmla="*/ 158227 h 1282588"/>
                    <a:gd name="connsiteX1770" fmla="*/ 193907 w 215788"/>
                    <a:gd name="connsiteY1770" fmla="*/ 161299 h 1282588"/>
                    <a:gd name="connsiteX1771" fmla="*/ 193923 w 215788"/>
                    <a:gd name="connsiteY1771" fmla="*/ 163011 h 1282588"/>
                    <a:gd name="connsiteX1772" fmla="*/ 194167 w 215788"/>
                    <a:gd name="connsiteY1772" fmla="*/ 164217 h 1282588"/>
                    <a:gd name="connsiteX1773" fmla="*/ 195626 w 215788"/>
                    <a:gd name="connsiteY1773" fmla="*/ 165301 h 1282588"/>
                    <a:gd name="connsiteX1774" fmla="*/ 196278 w 215788"/>
                    <a:gd name="connsiteY1774" fmla="*/ 165977 h 1282588"/>
                    <a:gd name="connsiteX1775" fmla="*/ 198470 w 215788"/>
                    <a:gd name="connsiteY1775" fmla="*/ 166352 h 128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Lst>
                  <a:rect l="l" t="t" r="r" b="b"/>
                  <a:pathLst>
                    <a:path w="215788" h="1282588">
                      <a:moveTo>
                        <a:pt x="214028" y="1263616"/>
                      </a:moveTo>
                      <a:lnTo>
                        <a:pt x="213295" y="1265075"/>
                      </a:lnTo>
                      <a:lnTo>
                        <a:pt x="211730" y="1266998"/>
                      </a:lnTo>
                      <a:lnTo>
                        <a:pt x="209628" y="1268498"/>
                      </a:lnTo>
                      <a:lnTo>
                        <a:pt x="207590" y="1268913"/>
                      </a:lnTo>
                      <a:lnTo>
                        <a:pt x="206107" y="1268131"/>
                      </a:lnTo>
                      <a:lnTo>
                        <a:pt x="205365" y="1266762"/>
                      </a:lnTo>
                      <a:lnTo>
                        <a:pt x="205023" y="1265425"/>
                      </a:lnTo>
                      <a:lnTo>
                        <a:pt x="204518" y="1264675"/>
                      </a:lnTo>
                      <a:lnTo>
                        <a:pt x="203743" y="1264504"/>
                      </a:lnTo>
                      <a:lnTo>
                        <a:pt x="202733" y="1264553"/>
                      </a:lnTo>
                      <a:lnTo>
                        <a:pt x="201494" y="1265066"/>
                      </a:lnTo>
                      <a:lnTo>
                        <a:pt x="198862" y="1267006"/>
                      </a:lnTo>
                      <a:lnTo>
                        <a:pt x="197737" y="1267520"/>
                      </a:lnTo>
                      <a:lnTo>
                        <a:pt x="196971" y="1267634"/>
                      </a:lnTo>
                      <a:lnTo>
                        <a:pt x="189473" y="1266167"/>
                      </a:lnTo>
                      <a:lnTo>
                        <a:pt x="188740" y="1265621"/>
                      </a:lnTo>
                      <a:lnTo>
                        <a:pt x="187859" y="1264317"/>
                      </a:lnTo>
                      <a:lnTo>
                        <a:pt x="186890" y="1260454"/>
                      </a:lnTo>
                      <a:lnTo>
                        <a:pt x="183736" y="1257007"/>
                      </a:lnTo>
                      <a:lnTo>
                        <a:pt x="188560" y="1255059"/>
                      </a:lnTo>
                      <a:lnTo>
                        <a:pt x="194339" y="1255067"/>
                      </a:lnTo>
                      <a:lnTo>
                        <a:pt x="205487" y="1256566"/>
                      </a:lnTo>
                      <a:lnTo>
                        <a:pt x="209929" y="1256909"/>
                      </a:lnTo>
                      <a:lnTo>
                        <a:pt x="213352" y="1260160"/>
                      </a:lnTo>
                      <a:lnTo>
                        <a:pt x="213890" y="1262125"/>
                      </a:lnTo>
                      <a:lnTo>
                        <a:pt x="214028" y="1263616"/>
                      </a:lnTo>
                      <a:close/>
                      <a:moveTo>
                        <a:pt x="148969" y="1254667"/>
                      </a:moveTo>
                      <a:lnTo>
                        <a:pt x="168871" y="1258424"/>
                      </a:lnTo>
                      <a:lnTo>
                        <a:pt x="174999" y="1256159"/>
                      </a:lnTo>
                      <a:lnTo>
                        <a:pt x="179848" y="1256224"/>
                      </a:lnTo>
                      <a:lnTo>
                        <a:pt x="181291" y="1259354"/>
                      </a:lnTo>
                      <a:lnTo>
                        <a:pt x="176368" y="1262638"/>
                      </a:lnTo>
                      <a:lnTo>
                        <a:pt x="176002" y="1263673"/>
                      </a:lnTo>
                      <a:lnTo>
                        <a:pt x="176686" y="1264521"/>
                      </a:lnTo>
                      <a:lnTo>
                        <a:pt x="181739" y="1265050"/>
                      </a:lnTo>
                      <a:lnTo>
                        <a:pt x="183027" y="1266118"/>
                      </a:lnTo>
                      <a:lnTo>
                        <a:pt x="184200" y="1267479"/>
                      </a:lnTo>
                      <a:lnTo>
                        <a:pt x="183198" y="1269500"/>
                      </a:lnTo>
                      <a:lnTo>
                        <a:pt x="183108" y="1270437"/>
                      </a:lnTo>
                      <a:lnTo>
                        <a:pt x="183630" y="1271350"/>
                      </a:lnTo>
                      <a:lnTo>
                        <a:pt x="187419" y="1274406"/>
                      </a:lnTo>
                      <a:lnTo>
                        <a:pt x="188976" y="1275987"/>
                      </a:lnTo>
                      <a:lnTo>
                        <a:pt x="189758" y="1277503"/>
                      </a:lnTo>
                      <a:lnTo>
                        <a:pt x="190076" y="1280176"/>
                      </a:lnTo>
                      <a:lnTo>
                        <a:pt x="190003" y="1282303"/>
                      </a:lnTo>
                      <a:lnTo>
                        <a:pt x="189155" y="1282589"/>
                      </a:lnTo>
                      <a:lnTo>
                        <a:pt x="187305" y="1281945"/>
                      </a:lnTo>
                      <a:lnTo>
                        <a:pt x="185504" y="1280706"/>
                      </a:lnTo>
                      <a:lnTo>
                        <a:pt x="183923" y="1277650"/>
                      </a:lnTo>
                      <a:lnTo>
                        <a:pt x="182815" y="1277038"/>
                      </a:lnTo>
                      <a:lnTo>
                        <a:pt x="179620" y="1276411"/>
                      </a:lnTo>
                      <a:lnTo>
                        <a:pt x="176458" y="1274920"/>
                      </a:lnTo>
                      <a:lnTo>
                        <a:pt x="173997" y="1275001"/>
                      </a:lnTo>
                      <a:lnTo>
                        <a:pt x="171723" y="1274374"/>
                      </a:lnTo>
                      <a:lnTo>
                        <a:pt x="169686" y="1274920"/>
                      </a:lnTo>
                      <a:lnTo>
                        <a:pt x="168960" y="1273917"/>
                      </a:lnTo>
                      <a:lnTo>
                        <a:pt x="168088" y="1271888"/>
                      </a:lnTo>
                      <a:lnTo>
                        <a:pt x="168072" y="1270992"/>
                      </a:lnTo>
                      <a:lnTo>
                        <a:pt x="169140" y="1267789"/>
                      </a:lnTo>
                      <a:lnTo>
                        <a:pt x="169123" y="1266941"/>
                      </a:lnTo>
                      <a:lnTo>
                        <a:pt x="168561" y="1266843"/>
                      </a:lnTo>
                      <a:lnTo>
                        <a:pt x="166189" y="1267495"/>
                      </a:lnTo>
                      <a:lnTo>
                        <a:pt x="165228" y="1267063"/>
                      </a:lnTo>
                      <a:lnTo>
                        <a:pt x="162652" y="1264749"/>
                      </a:lnTo>
                      <a:lnTo>
                        <a:pt x="161617" y="1264309"/>
                      </a:lnTo>
                      <a:lnTo>
                        <a:pt x="159026" y="1264073"/>
                      </a:lnTo>
                      <a:lnTo>
                        <a:pt x="157559" y="1268196"/>
                      </a:lnTo>
                      <a:lnTo>
                        <a:pt x="157485" y="1269206"/>
                      </a:lnTo>
                      <a:lnTo>
                        <a:pt x="158977" y="1271839"/>
                      </a:lnTo>
                      <a:lnTo>
                        <a:pt x="161911" y="1275857"/>
                      </a:lnTo>
                      <a:lnTo>
                        <a:pt x="160419" y="1275930"/>
                      </a:lnTo>
                      <a:lnTo>
                        <a:pt x="156173" y="1274699"/>
                      </a:lnTo>
                      <a:lnTo>
                        <a:pt x="155081" y="1273925"/>
                      </a:lnTo>
                      <a:lnTo>
                        <a:pt x="153769" y="1271896"/>
                      </a:lnTo>
                      <a:lnTo>
                        <a:pt x="151243" y="1270715"/>
                      </a:lnTo>
                      <a:lnTo>
                        <a:pt x="150363" y="1269981"/>
                      </a:lnTo>
                      <a:lnTo>
                        <a:pt x="150110" y="1269133"/>
                      </a:lnTo>
                      <a:lnTo>
                        <a:pt x="150086" y="1266477"/>
                      </a:lnTo>
                      <a:lnTo>
                        <a:pt x="149531" y="1266094"/>
                      </a:lnTo>
                      <a:lnTo>
                        <a:pt x="145954" y="1266762"/>
                      </a:lnTo>
                      <a:lnTo>
                        <a:pt x="145220" y="1266134"/>
                      </a:lnTo>
                      <a:lnTo>
                        <a:pt x="144919" y="1265010"/>
                      </a:lnTo>
                      <a:lnTo>
                        <a:pt x="144405" y="1264390"/>
                      </a:lnTo>
                      <a:lnTo>
                        <a:pt x="142099" y="1263372"/>
                      </a:lnTo>
                      <a:lnTo>
                        <a:pt x="141895" y="1262744"/>
                      </a:lnTo>
                      <a:lnTo>
                        <a:pt x="142922" y="1261986"/>
                      </a:lnTo>
                      <a:lnTo>
                        <a:pt x="143566" y="1260087"/>
                      </a:lnTo>
                      <a:lnTo>
                        <a:pt x="144462" y="1253266"/>
                      </a:lnTo>
                      <a:lnTo>
                        <a:pt x="148969" y="1254667"/>
                      </a:lnTo>
                      <a:close/>
                      <a:moveTo>
                        <a:pt x="117006" y="1252736"/>
                      </a:moveTo>
                      <a:lnTo>
                        <a:pt x="118163" y="1255140"/>
                      </a:lnTo>
                      <a:lnTo>
                        <a:pt x="118587" y="1255580"/>
                      </a:lnTo>
                      <a:lnTo>
                        <a:pt x="121643" y="1256526"/>
                      </a:lnTo>
                      <a:lnTo>
                        <a:pt x="123020" y="1255963"/>
                      </a:lnTo>
                      <a:lnTo>
                        <a:pt x="126345" y="1255694"/>
                      </a:lnTo>
                      <a:lnTo>
                        <a:pt x="128342" y="1254773"/>
                      </a:lnTo>
                      <a:lnTo>
                        <a:pt x="131252" y="1254293"/>
                      </a:lnTo>
                      <a:lnTo>
                        <a:pt x="134577" y="1260266"/>
                      </a:lnTo>
                      <a:lnTo>
                        <a:pt x="134218" y="1262092"/>
                      </a:lnTo>
                      <a:lnTo>
                        <a:pt x="131577" y="1264056"/>
                      </a:lnTo>
                      <a:lnTo>
                        <a:pt x="129809" y="1264496"/>
                      </a:lnTo>
                      <a:lnTo>
                        <a:pt x="128130" y="1263901"/>
                      </a:lnTo>
                      <a:lnTo>
                        <a:pt x="128244" y="1262899"/>
                      </a:lnTo>
                      <a:lnTo>
                        <a:pt x="127934" y="1262035"/>
                      </a:lnTo>
                      <a:lnTo>
                        <a:pt x="126785" y="1260894"/>
                      </a:lnTo>
                      <a:lnTo>
                        <a:pt x="125710" y="1260992"/>
                      </a:lnTo>
                      <a:lnTo>
                        <a:pt x="123974" y="1261839"/>
                      </a:lnTo>
                      <a:lnTo>
                        <a:pt x="123143" y="1261733"/>
                      </a:lnTo>
                      <a:lnTo>
                        <a:pt x="121374" y="1260796"/>
                      </a:lnTo>
                      <a:lnTo>
                        <a:pt x="118293" y="1260120"/>
                      </a:lnTo>
                      <a:lnTo>
                        <a:pt x="117682" y="1259264"/>
                      </a:lnTo>
                      <a:lnTo>
                        <a:pt x="117617" y="1258025"/>
                      </a:lnTo>
                      <a:lnTo>
                        <a:pt x="117038" y="1257406"/>
                      </a:lnTo>
                      <a:lnTo>
                        <a:pt x="113819" y="1255409"/>
                      </a:lnTo>
                      <a:lnTo>
                        <a:pt x="111765" y="1253698"/>
                      </a:lnTo>
                      <a:lnTo>
                        <a:pt x="110021" y="1253477"/>
                      </a:lnTo>
                      <a:lnTo>
                        <a:pt x="109386" y="1253673"/>
                      </a:lnTo>
                      <a:lnTo>
                        <a:pt x="108742" y="1254496"/>
                      </a:lnTo>
                      <a:lnTo>
                        <a:pt x="107177" y="1255279"/>
                      </a:lnTo>
                      <a:lnTo>
                        <a:pt x="106729" y="1255132"/>
                      </a:lnTo>
                      <a:lnTo>
                        <a:pt x="106224" y="1254496"/>
                      </a:lnTo>
                      <a:lnTo>
                        <a:pt x="105971" y="1253568"/>
                      </a:lnTo>
                      <a:lnTo>
                        <a:pt x="106631" y="1251668"/>
                      </a:lnTo>
                      <a:lnTo>
                        <a:pt x="107528" y="1251497"/>
                      </a:lnTo>
                      <a:lnTo>
                        <a:pt x="111920" y="1251864"/>
                      </a:lnTo>
                      <a:lnTo>
                        <a:pt x="114610" y="1252744"/>
                      </a:lnTo>
                      <a:lnTo>
                        <a:pt x="117006" y="1252736"/>
                      </a:lnTo>
                      <a:close/>
                      <a:moveTo>
                        <a:pt x="107120" y="1221107"/>
                      </a:moveTo>
                      <a:lnTo>
                        <a:pt x="112621" y="1224122"/>
                      </a:lnTo>
                      <a:lnTo>
                        <a:pt x="116256" y="1224098"/>
                      </a:lnTo>
                      <a:lnTo>
                        <a:pt x="116240" y="1225964"/>
                      </a:lnTo>
                      <a:lnTo>
                        <a:pt x="116688" y="1229191"/>
                      </a:lnTo>
                      <a:lnTo>
                        <a:pt x="116118" y="1230487"/>
                      </a:lnTo>
                      <a:lnTo>
                        <a:pt x="114756" y="1231807"/>
                      </a:lnTo>
                      <a:lnTo>
                        <a:pt x="113909" y="1233707"/>
                      </a:lnTo>
                      <a:lnTo>
                        <a:pt x="113265" y="1234000"/>
                      </a:lnTo>
                      <a:lnTo>
                        <a:pt x="109264" y="1231710"/>
                      </a:lnTo>
                      <a:lnTo>
                        <a:pt x="105083" y="1228589"/>
                      </a:lnTo>
                      <a:lnTo>
                        <a:pt x="102980" y="1229134"/>
                      </a:lnTo>
                      <a:lnTo>
                        <a:pt x="100193" y="1228368"/>
                      </a:lnTo>
                      <a:lnTo>
                        <a:pt x="97944" y="1228539"/>
                      </a:lnTo>
                      <a:lnTo>
                        <a:pt x="96550" y="1230300"/>
                      </a:lnTo>
                      <a:lnTo>
                        <a:pt x="93298" y="1231221"/>
                      </a:lnTo>
                      <a:lnTo>
                        <a:pt x="92711" y="1227667"/>
                      </a:lnTo>
                      <a:lnTo>
                        <a:pt x="89761" y="1224334"/>
                      </a:lnTo>
                      <a:lnTo>
                        <a:pt x="86811" y="1221653"/>
                      </a:lnTo>
                      <a:lnTo>
                        <a:pt x="88408" y="1217554"/>
                      </a:lnTo>
                      <a:lnTo>
                        <a:pt x="90315" y="1216885"/>
                      </a:lnTo>
                      <a:lnTo>
                        <a:pt x="92117" y="1215516"/>
                      </a:lnTo>
                      <a:lnTo>
                        <a:pt x="99345" y="1216967"/>
                      </a:lnTo>
                      <a:lnTo>
                        <a:pt x="103086" y="1218197"/>
                      </a:lnTo>
                      <a:lnTo>
                        <a:pt x="107120" y="1221107"/>
                      </a:lnTo>
                      <a:close/>
                      <a:moveTo>
                        <a:pt x="69102" y="1200374"/>
                      </a:moveTo>
                      <a:lnTo>
                        <a:pt x="69770" y="1203414"/>
                      </a:lnTo>
                      <a:lnTo>
                        <a:pt x="70120" y="1204001"/>
                      </a:lnTo>
                      <a:lnTo>
                        <a:pt x="71929" y="1203504"/>
                      </a:lnTo>
                      <a:lnTo>
                        <a:pt x="75002" y="1203227"/>
                      </a:lnTo>
                      <a:lnTo>
                        <a:pt x="80047" y="1204367"/>
                      </a:lnTo>
                      <a:lnTo>
                        <a:pt x="80617" y="1204767"/>
                      </a:lnTo>
                      <a:lnTo>
                        <a:pt x="82752" y="1208100"/>
                      </a:lnTo>
                      <a:lnTo>
                        <a:pt x="84399" y="1209518"/>
                      </a:lnTo>
                      <a:lnTo>
                        <a:pt x="86909" y="1212623"/>
                      </a:lnTo>
                      <a:lnTo>
                        <a:pt x="84407" y="1214677"/>
                      </a:lnTo>
                      <a:lnTo>
                        <a:pt x="82924" y="1217635"/>
                      </a:lnTo>
                      <a:lnTo>
                        <a:pt x="82842" y="1219151"/>
                      </a:lnTo>
                      <a:lnTo>
                        <a:pt x="81864" y="1220015"/>
                      </a:lnTo>
                      <a:lnTo>
                        <a:pt x="80332" y="1220911"/>
                      </a:lnTo>
                      <a:lnTo>
                        <a:pt x="78042" y="1222655"/>
                      </a:lnTo>
                      <a:lnTo>
                        <a:pt x="75222" y="1222843"/>
                      </a:lnTo>
                      <a:lnTo>
                        <a:pt x="72443" y="1223748"/>
                      </a:lnTo>
                      <a:lnTo>
                        <a:pt x="71163" y="1224595"/>
                      </a:lnTo>
                      <a:lnTo>
                        <a:pt x="70406" y="1224636"/>
                      </a:lnTo>
                      <a:lnTo>
                        <a:pt x="69509" y="1224187"/>
                      </a:lnTo>
                      <a:lnTo>
                        <a:pt x="68539" y="1223340"/>
                      </a:lnTo>
                      <a:lnTo>
                        <a:pt x="68230" y="1222354"/>
                      </a:lnTo>
                      <a:lnTo>
                        <a:pt x="70137" y="1221441"/>
                      </a:lnTo>
                      <a:lnTo>
                        <a:pt x="72622" y="1218165"/>
                      </a:lnTo>
                      <a:lnTo>
                        <a:pt x="73071" y="1214783"/>
                      </a:lnTo>
                      <a:lnTo>
                        <a:pt x="70389" y="1214171"/>
                      </a:lnTo>
                      <a:lnTo>
                        <a:pt x="68792" y="1214644"/>
                      </a:lnTo>
                      <a:lnTo>
                        <a:pt x="67602" y="1214628"/>
                      </a:lnTo>
                      <a:lnTo>
                        <a:pt x="66233" y="1213576"/>
                      </a:lnTo>
                      <a:lnTo>
                        <a:pt x="65402" y="1215166"/>
                      </a:lnTo>
                      <a:lnTo>
                        <a:pt x="65092" y="1216706"/>
                      </a:lnTo>
                      <a:lnTo>
                        <a:pt x="65459" y="1219045"/>
                      </a:lnTo>
                      <a:lnTo>
                        <a:pt x="65214" y="1219803"/>
                      </a:lnTo>
                      <a:lnTo>
                        <a:pt x="64244" y="1220227"/>
                      </a:lnTo>
                      <a:lnTo>
                        <a:pt x="61995" y="1219339"/>
                      </a:lnTo>
                      <a:lnTo>
                        <a:pt x="59656" y="1217766"/>
                      </a:lnTo>
                      <a:lnTo>
                        <a:pt x="59469" y="1216853"/>
                      </a:lnTo>
                      <a:lnTo>
                        <a:pt x="59950" y="1213691"/>
                      </a:lnTo>
                      <a:lnTo>
                        <a:pt x="59901" y="1212052"/>
                      </a:lnTo>
                      <a:lnTo>
                        <a:pt x="59420" y="1209681"/>
                      </a:lnTo>
                      <a:lnTo>
                        <a:pt x="59159" y="1209445"/>
                      </a:lnTo>
                      <a:lnTo>
                        <a:pt x="58279" y="1209494"/>
                      </a:lnTo>
                      <a:lnTo>
                        <a:pt x="55532" y="1209950"/>
                      </a:lnTo>
                      <a:lnTo>
                        <a:pt x="52786" y="1206918"/>
                      </a:lnTo>
                      <a:lnTo>
                        <a:pt x="51303" y="1203724"/>
                      </a:lnTo>
                      <a:lnTo>
                        <a:pt x="46242" y="1202794"/>
                      </a:lnTo>
                      <a:lnTo>
                        <a:pt x="50178" y="1198320"/>
                      </a:lnTo>
                      <a:lnTo>
                        <a:pt x="56119" y="1197701"/>
                      </a:lnTo>
                      <a:lnTo>
                        <a:pt x="58140" y="1199950"/>
                      </a:lnTo>
                      <a:lnTo>
                        <a:pt x="64750" y="1201515"/>
                      </a:lnTo>
                      <a:lnTo>
                        <a:pt x="64350" y="1199119"/>
                      </a:lnTo>
                      <a:lnTo>
                        <a:pt x="64464" y="1198263"/>
                      </a:lnTo>
                      <a:lnTo>
                        <a:pt x="65369" y="1197195"/>
                      </a:lnTo>
                      <a:lnTo>
                        <a:pt x="65874" y="1197114"/>
                      </a:lnTo>
                      <a:lnTo>
                        <a:pt x="66665" y="1197864"/>
                      </a:lnTo>
                      <a:lnTo>
                        <a:pt x="67936" y="1198182"/>
                      </a:lnTo>
                      <a:lnTo>
                        <a:pt x="68523" y="1198915"/>
                      </a:lnTo>
                      <a:lnTo>
                        <a:pt x="69102" y="1200374"/>
                      </a:lnTo>
                      <a:close/>
                      <a:moveTo>
                        <a:pt x="32827" y="1179421"/>
                      </a:moveTo>
                      <a:lnTo>
                        <a:pt x="33235" y="1179763"/>
                      </a:lnTo>
                      <a:lnTo>
                        <a:pt x="34213" y="1179674"/>
                      </a:lnTo>
                      <a:lnTo>
                        <a:pt x="35590" y="1180277"/>
                      </a:lnTo>
                      <a:lnTo>
                        <a:pt x="40757" y="1181018"/>
                      </a:lnTo>
                      <a:lnTo>
                        <a:pt x="45386" y="1182779"/>
                      </a:lnTo>
                      <a:lnTo>
                        <a:pt x="47806" y="1184409"/>
                      </a:lnTo>
                      <a:lnTo>
                        <a:pt x="50977" y="1184931"/>
                      </a:lnTo>
                      <a:lnTo>
                        <a:pt x="53576" y="1187017"/>
                      </a:lnTo>
                      <a:lnTo>
                        <a:pt x="54685" y="1187546"/>
                      </a:lnTo>
                      <a:lnTo>
                        <a:pt x="56029" y="1187718"/>
                      </a:lnTo>
                      <a:lnTo>
                        <a:pt x="59501" y="1191581"/>
                      </a:lnTo>
                      <a:lnTo>
                        <a:pt x="59697" y="1192037"/>
                      </a:lnTo>
                      <a:lnTo>
                        <a:pt x="63641" y="1195085"/>
                      </a:lnTo>
                      <a:lnTo>
                        <a:pt x="63845" y="1195582"/>
                      </a:lnTo>
                      <a:lnTo>
                        <a:pt x="61604" y="1195745"/>
                      </a:lnTo>
                      <a:lnTo>
                        <a:pt x="57048" y="1194327"/>
                      </a:lnTo>
                      <a:lnTo>
                        <a:pt x="54774" y="1194245"/>
                      </a:lnTo>
                      <a:lnTo>
                        <a:pt x="53136" y="1193805"/>
                      </a:lnTo>
                      <a:lnTo>
                        <a:pt x="52745" y="1193561"/>
                      </a:lnTo>
                      <a:lnTo>
                        <a:pt x="52419" y="1191792"/>
                      </a:lnTo>
                      <a:lnTo>
                        <a:pt x="51898" y="1190912"/>
                      </a:lnTo>
                      <a:lnTo>
                        <a:pt x="47521" y="1186846"/>
                      </a:lnTo>
                      <a:lnTo>
                        <a:pt x="45704" y="1185949"/>
                      </a:lnTo>
                      <a:lnTo>
                        <a:pt x="42550" y="1185167"/>
                      </a:lnTo>
                      <a:lnTo>
                        <a:pt x="38964" y="1185712"/>
                      </a:lnTo>
                      <a:lnTo>
                        <a:pt x="36535" y="1185191"/>
                      </a:lnTo>
                      <a:lnTo>
                        <a:pt x="35696" y="1185370"/>
                      </a:lnTo>
                      <a:lnTo>
                        <a:pt x="32126" y="1182143"/>
                      </a:lnTo>
                      <a:lnTo>
                        <a:pt x="28557" y="1179413"/>
                      </a:lnTo>
                      <a:lnTo>
                        <a:pt x="27025" y="1176161"/>
                      </a:lnTo>
                      <a:lnTo>
                        <a:pt x="24759" y="1173667"/>
                      </a:lnTo>
                      <a:lnTo>
                        <a:pt x="24751" y="1172942"/>
                      </a:lnTo>
                      <a:lnTo>
                        <a:pt x="25794" y="1172396"/>
                      </a:lnTo>
                      <a:lnTo>
                        <a:pt x="28239" y="1173798"/>
                      </a:lnTo>
                      <a:lnTo>
                        <a:pt x="30643" y="1176194"/>
                      </a:lnTo>
                      <a:lnTo>
                        <a:pt x="31939" y="1177107"/>
                      </a:lnTo>
                      <a:lnTo>
                        <a:pt x="32827" y="1179421"/>
                      </a:lnTo>
                      <a:close/>
                      <a:moveTo>
                        <a:pt x="162261" y="1169918"/>
                      </a:moveTo>
                      <a:lnTo>
                        <a:pt x="164421" y="1170171"/>
                      </a:lnTo>
                      <a:lnTo>
                        <a:pt x="171617" y="1166544"/>
                      </a:lnTo>
                      <a:lnTo>
                        <a:pt x="172424" y="1166732"/>
                      </a:lnTo>
                      <a:lnTo>
                        <a:pt x="174861" y="1168574"/>
                      </a:lnTo>
                      <a:lnTo>
                        <a:pt x="175586" y="1169364"/>
                      </a:lnTo>
                      <a:lnTo>
                        <a:pt x="175537" y="1180448"/>
                      </a:lnTo>
                      <a:lnTo>
                        <a:pt x="175496" y="1191385"/>
                      </a:lnTo>
                      <a:lnTo>
                        <a:pt x="175456" y="1201645"/>
                      </a:lnTo>
                      <a:lnTo>
                        <a:pt x="175415" y="1211922"/>
                      </a:lnTo>
                      <a:lnTo>
                        <a:pt x="175382" y="1221873"/>
                      </a:lnTo>
                      <a:lnTo>
                        <a:pt x="175342" y="1232109"/>
                      </a:lnTo>
                      <a:lnTo>
                        <a:pt x="175154" y="1243625"/>
                      </a:lnTo>
                      <a:lnTo>
                        <a:pt x="175007" y="1252206"/>
                      </a:lnTo>
                      <a:lnTo>
                        <a:pt x="171275" y="1252206"/>
                      </a:lnTo>
                      <a:lnTo>
                        <a:pt x="170297" y="1253070"/>
                      </a:lnTo>
                      <a:lnTo>
                        <a:pt x="164388" y="1254325"/>
                      </a:lnTo>
                      <a:lnTo>
                        <a:pt x="154348" y="1252402"/>
                      </a:lnTo>
                      <a:lnTo>
                        <a:pt x="151838" y="1250650"/>
                      </a:lnTo>
                      <a:lnTo>
                        <a:pt x="148472" y="1246820"/>
                      </a:lnTo>
                      <a:lnTo>
                        <a:pt x="147266" y="1247854"/>
                      </a:lnTo>
                      <a:lnTo>
                        <a:pt x="144104" y="1249460"/>
                      </a:lnTo>
                      <a:lnTo>
                        <a:pt x="140852" y="1250739"/>
                      </a:lnTo>
                      <a:lnTo>
                        <a:pt x="138179" y="1250886"/>
                      </a:lnTo>
                      <a:lnTo>
                        <a:pt x="135709" y="1249313"/>
                      </a:lnTo>
                      <a:lnTo>
                        <a:pt x="135180" y="1248498"/>
                      </a:lnTo>
                      <a:lnTo>
                        <a:pt x="134617" y="1248327"/>
                      </a:lnTo>
                      <a:lnTo>
                        <a:pt x="129279" y="1250527"/>
                      </a:lnTo>
                      <a:lnTo>
                        <a:pt x="123379" y="1248278"/>
                      </a:lnTo>
                      <a:lnTo>
                        <a:pt x="118677" y="1246909"/>
                      </a:lnTo>
                      <a:lnTo>
                        <a:pt x="111122" y="1246151"/>
                      </a:lnTo>
                      <a:lnTo>
                        <a:pt x="105873" y="1243307"/>
                      </a:lnTo>
                      <a:lnTo>
                        <a:pt x="96183" y="1243567"/>
                      </a:lnTo>
                      <a:lnTo>
                        <a:pt x="94447" y="1242630"/>
                      </a:lnTo>
                      <a:lnTo>
                        <a:pt x="93804" y="1239876"/>
                      </a:lnTo>
                      <a:lnTo>
                        <a:pt x="94317" y="1238580"/>
                      </a:lnTo>
                      <a:lnTo>
                        <a:pt x="96387" y="1237806"/>
                      </a:lnTo>
                      <a:lnTo>
                        <a:pt x="96966" y="1236274"/>
                      </a:lnTo>
                      <a:lnTo>
                        <a:pt x="99052" y="1236640"/>
                      </a:lnTo>
                      <a:lnTo>
                        <a:pt x="101766" y="1238670"/>
                      </a:lnTo>
                      <a:lnTo>
                        <a:pt x="102597" y="1238596"/>
                      </a:lnTo>
                      <a:lnTo>
                        <a:pt x="104390" y="1236689"/>
                      </a:lnTo>
                      <a:lnTo>
                        <a:pt x="107039" y="1235002"/>
                      </a:lnTo>
                      <a:lnTo>
                        <a:pt x="107984" y="1234823"/>
                      </a:lnTo>
                      <a:lnTo>
                        <a:pt x="112857" y="1236917"/>
                      </a:lnTo>
                      <a:lnTo>
                        <a:pt x="114814" y="1236673"/>
                      </a:lnTo>
                      <a:lnTo>
                        <a:pt x="117633" y="1235744"/>
                      </a:lnTo>
                      <a:lnTo>
                        <a:pt x="118139" y="1234929"/>
                      </a:lnTo>
                      <a:lnTo>
                        <a:pt x="118587" y="1233478"/>
                      </a:lnTo>
                      <a:lnTo>
                        <a:pt x="119328" y="1232639"/>
                      </a:lnTo>
                      <a:lnTo>
                        <a:pt x="121830" y="1232231"/>
                      </a:lnTo>
                      <a:lnTo>
                        <a:pt x="124267" y="1233054"/>
                      </a:lnTo>
                      <a:lnTo>
                        <a:pt x="124552" y="1235548"/>
                      </a:lnTo>
                      <a:lnTo>
                        <a:pt x="124210" y="1238238"/>
                      </a:lnTo>
                      <a:lnTo>
                        <a:pt x="127389" y="1238955"/>
                      </a:lnTo>
                      <a:lnTo>
                        <a:pt x="131235" y="1238865"/>
                      </a:lnTo>
                      <a:lnTo>
                        <a:pt x="133884" y="1239860"/>
                      </a:lnTo>
                      <a:lnTo>
                        <a:pt x="134218" y="1238238"/>
                      </a:lnTo>
                      <a:lnTo>
                        <a:pt x="129980" y="1233992"/>
                      </a:lnTo>
                      <a:lnTo>
                        <a:pt x="128204" y="1231351"/>
                      </a:lnTo>
                      <a:lnTo>
                        <a:pt x="125824" y="1229803"/>
                      </a:lnTo>
                      <a:lnTo>
                        <a:pt x="122751" y="1229012"/>
                      </a:lnTo>
                      <a:lnTo>
                        <a:pt x="120192" y="1224057"/>
                      </a:lnTo>
                      <a:lnTo>
                        <a:pt x="120355" y="1219738"/>
                      </a:lnTo>
                      <a:lnTo>
                        <a:pt x="120078" y="1215532"/>
                      </a:lnTo>
                      <a:lnTo>
                        <a:pt x="125612" y="1213218"/>
                      </a:lnTo>
                      <a:lnTo>
                        <a:pt x="124341" y="1209632"/>
                      </a:lnTo>
                      <a:lnTo>
                        <a:pt x="126247" y="1206918"/>
                      </a:lnTo>
                      <a:lnTo>
                        <a:pt x="128423" y="1205875"/>
                      </a:lnTo>
                      <a:lnTo>
                        <a:pt x="130608" y="1215883"/>
                      </a:lnTo>
                      <a:lnTo>
                        <a:pt x="132180" y="1219395"/>
                      </a:lnTo>
                      <a:lnTo>
                        <a:pt x="130176" y="1220113"/>
                      </a:lnTo>
                      <a:lnTo>
                        <a:pt x="125979" y="1220113"/>
                      </a:lnTo>
                      <a:lnTo>
                        <a:pt x="128326" y="1225043"/>
                      </a:lnTo>
                      <a:lnTo>
                        <a:pt x="132180" y="1226714"/>
                      </a:lnTo>
                      <a:lnTo>
                        <a:pt x="135498" y="1230381"/>
                      </a:lnTo>
                      <a:lnTo>
                        <a:pt x="135571" y="1233022"/>
                      </a:lnTo>
                      <a:lnTo>
                        <a:pt x="137413" y="1234212"/>
                      </a:lnTo>
                      <a:lnTo>
                        <a:pt x="141846" y="1234301"/>
                      </a:lnTo>
                      <a:lnTo>
                        <a:pt x="144902" y="1233772"/>
                      </a:lnTo>
                      <a:lnTo>
                        <a:pt x="146337" y="1232019"/>
                      </a:lnTo>
                      <a:lnTo>
                        <a:pt x="148007" y="1231449"/>
                      </a:lnTo>
                      <a:lnTo>
                        <a:pt x="150990" y="1233649"/>
                      </a:lnTo>
                      <a:lnTo>
                        <a:pt x="156010" y="1235287"/>
                      </a:lnTo>
                      <a:lnTo>
                        <a:pt x="157363" y="1236445"/>
                      </a:lnTo>
                      <a:lnTo>
                        <a:pt x="158349" y="1238360"/>
                      </a:lnTo>
                      <a:lnTo>
                        <a:pt x="158415" y="1240414"/>
                      </a:lnTo>
                      <a:lnTo>
                        <a:pt x="158675" y="1241514"/>
                      </a:lnTo>
                      <a:lnTo>
                        <a:pt x="160134" y="1240984"/>
                      </a:lnTo>
                      <a:lnTo>
                        <a:pt x="162220" y="1238164"/>
                      </a:lnTo>
                      <a:lnTo>
                        <a:pt x="163239" y="1237194"/>
                      </a:lnTo>
                      <a:lnTo>
                        <a:pt x="164494" y="1236722"/>
                      </a:lnTo>
                      <a:lnTo>
                        <a:pt x="165285" y="1236103"/>
                      </a:lnTo>
                      <a:lnTo>
                        <a:pt x="165309" y="1235263"/>
                      </a:lnTo>
                      <a:lnTo>
                        <a:pt x="161552" y="1233291"/>
                      </a:lnTo>
                      <a:lnTo>
                        <a:pt x="141895" y="1224016"/>
                      </a:lnTo>
                      <a:lnTo>
                        <a:pt x="139475" y="1220324"/>
                      </a:lnTo>
                      <a:lnTo>
                        <a:pt x="137853" y="1215687"/>
                      </a:lnTo>
                      <a:lnTo>
                        <a:pt x="137910" y="1210903"/>
                      </a:lnTo>
                      <a:lnTo>
                        <a:pt x="139344" y="1209420"/>
                      </a:lnTo>
                      <a:lnTo>
                        <a:pt x="142849" y="1207529"/>
                      </a:lnTo>
                      <a:lnTo>
                        <a:pt x="149303" y="1204881"/>
                      </a:lnTo>
                      <a:lnTo>
                        <a:pt x="156736" y="1201075"/>
                      </a:lnTo>
                      <a:lnTo>
                        <a:pt x="157665" y="1200342"/>
                      </a:lnTo>
                      <a:lnTo>
                        <a:pt x="157575" y="1197953"/>
                      </a:lnTo>
                      <a:lnTo>
                        <a:pt x="156646" y="1196340"/>
                      </a:lnTo>
                      <a:lnTo>
                        <a:pt x="153688" y="1195158"/>
                      </a:lnTo>
                      <a:lnTo>
                        <a:pt x="150607" y="1194873"/>
                      </a:lnTo>
                      <a:lnTo>
                        <a:pt x="147665" y="1194979"/>
                      </a:lnTo>
                      <a:lnTo>
                        <a:pt x="144731" y="1195484"/>
                      </a:lnTo>
                      <a:lnTo>
                        <a:pt x="139369" y="1198027"/>
                      </a:lnTo>
                      <a:lnTo>
                        <a:pt x="136329" y="1197864"/>
                      </a:lnTo>
                      <a:lnTo>
                        <a:pt x="133444" y="1196503"/>
                      </a:lnTo>
                      <a:lnTo>
                        <a:pt x="131300" y="1193781"/>
                      </a:lnTo>
                      <a:lnTo>
                        <a:pt x="130200" y="1190081"/>
                      </a:lnTo>
                      <a:lnTo>
                        <a:pt x="130200" y="1187726"/>
                      </a:lnTo>
                      <a:lnTo>
                        <a:pt x="130616" y="1185558"/>
                      </a:lnTo>
                      <a:lnTo>
                        <a:pt x="131920" y="1183349"/>
                      </a:lnTo>
                      <a:lnTo>
                        <a:pt x="133672" y="1182396"/>
                      </a:lnTo>
                      <a:lnTo>
                        <a:pt x="135245" y="1182518"/>
                      </a:lnTo>
                      <a:lnTo>
                        <a:pt x="136728" y="1182005"/>
                      </a:lnTo>
                      <a:lnTo>
                        <a:pt x="137617" y="1181255"/>
                      </a:lnTo>
                      <a:lnTo>
                        <a:pt x="138366" y="1180236"/>
                      </a:lnTo>
                      <a:lnTo>
                        <a:pt x="138138" y="1179364"/>
                      </a:lnTo>
                      <a:lnTo>
                        <a:pt x="137559" y="1178598"/>
                      </a:lnTo>
                      <a:lnTo>
                        <a:pt x="135171" y="1177041"/>
                      </a:lnTo>
                      <a:lnTo>
                        <a:pt x="134226" y="1175534"/>
                      </a:lnTo>
                      <a:lnTo>
                        <a:pt x="132173" y="1173105"/>
                      </a:lnTo>
                      <a:lnTo>
                        <a:pt x="133289" y="1172437"/>
                      </a:lnTo>
                      <a:lnTo>
                        <a:pt x="136883" y="1172062"/>
                      </a:lnTo>
                      <a:lnTo>
                        <a:pt x="139409" y="1173733"/>
                      </a:lnTo>
                      <a:lnTo>
                        <a:pt x="141757" y="1175696"/>
                      </a:lnTo>
                      <a:lnTo>
                        <a:pt x="143191" y="1175688"/>
                      </a:lnTo>
                      <a:lnTo>
                        <a:pt x="144495" y="1174865"/>
                      </a:lnTo>
                      <a:lnTo>
                        <a:pt x="147461" y="1172339"/>
                      </a:lnTo>
                      <a:lnTo>
                        <a:pt x="149955" y="1169160"/>
                      </a:lnTo>
                      <a:lnTo>
                        <a:pt x="152213" y="1165550"/>
                      </a:lnTo>
                      <a:lnTo>
                        <a:pt x="154038" y="1163391"/>
                      </a:lnTo>
                      <a:lnTo>
                        <a:pt x="156132" y="1163195"/>
                      </a:lnTo>
                      <a:lnTo>
                        <a:pt x="162261" y="1169918"/>
                      </a:lnTo>
                      <a:close/>
                      <a:moveTo>
                        <a:pt x="21980" y="1131427"/>
                      </a:moveTo>
                      <a:lnTo>
                        <a:pt x="23039" y="1138624"/>
                      </a:lnTo>
                      <a:lnTo>
                        <a:pt x="23797" y="1139618"/>
                      </a:lnTo>
                      <a:lnTo>
                        <a:pt x="26340" y="1140147"/>
                      </a:lnTo>
                      <a:lnTo>
                        <a:pt x="29078" y="1143815"/>
                      </a:lnTo>
                      <a:lnTo>
                        <a:pt x="29209" y="1144793"/>
                      </a:lnTo>
                      <a:lnTo>
                        <a:pt x="25884" y="1151044"/>
                      </a:lnTo>
                      <a:lnTo>
                        <a:pt x="25183" y="1155469"/>
                      </a:lnTo>
                      <a:lnTo>
                        <a:pt x="21279" y="1155143"/>
                      </a:lnTo>
                      <a:lnTo>
                        <a:pt x="19649" y="1150758"/>
                      </a:lnTo>
                      <a:lnTo>
                        <a:pt x="17180" y="1146512"/>
                      </a:lnTo>
                      <a:lnTo>
                        <a:pt x="16348" y="1141541"/>
                      </a:lnTo>
                      <a:lnTo>
                        <a:pt x="14987" y="1137287"/>
                      </a:lnTo>
                      <a:lnTo>
                        <a:pt x="17400" y="1134875"/>
                      </a:lnTo>
                      <a:lnTo>
                        <a:pt x="19706" y="1135412"/>
                      </a:lnTo>
                      <a:lnTo>
                        <a:pt x="19845" y="1132161"/>
                      </a:lnTo>
                      <a:lnTo>
                        <a:pt x="21980" y="1131427"/>
                      </a:lnTo>
                      <a:close/>
                      <a:moveTo>
                        <a:pt x="30586" y="1040647"/>
                      </a:moveTo>
                      <a:lnTo>
                        <a:pt x="30814" y="1045953"/>
                      </a:lnTo>
                      <a:lnTo>
                        <a:pt x="30399" y="1051299"/>
                      </a:lnTo>
                      <a:lnTo>
                        <a:pt x="29445" y="1057876"/>
                      </a:lnTo>
                      <a:lnTo>
                        <a:pt x="29608" y="1059205"/>
                      </a:lnTo>
                      <a:lnTo>
                        <a:pt x="30724" y="1059538"/>
                      </a:lnTo>
                      <a:lnTo>
                        <a:pt x="31026" y="1060354"/>
                      </a:lnTo>
                      <a:lnTo>
                        <a:pt x="30700" y="1063825"/>
                      </a:lnTo>
                      <a:lnTo>
                        <a:pt x="30097" y="1066474"/>
                      </a:lnTo>
                      <a:lnTo>
                        <a:pt x="28940" y="1068658"/>
                      </a:lnTo>
                      <a:lnTo>
                        <a:pt x="28263" y="1071258"/>
                      </a:lnTo>
                      <a:lnTo>
                        <a:pt x="27652" y="1071845"/>
                      </a:lnTo>
                      <a:lnTo>
                        <a:pt x="24955" y="1072309"/>
                      </a:lnTo>
                      <a:lnTo>
                        <a:pt x="23471" y="1072016"/>
                      </a:lnTo>
                      <a:lnTo>
                        <a:pt x="22290" y="1069041"/>
                      </a:lnTo>
                      <a:lnTo>
                        <a:pt x="21947" y="1067208"/>
                      </a:lnTo>
                      <a:lnTo>
                        <a:pt x="22012" y="1064828"/>
                      </a:lnTo>
                      <a:lnTo>
                        <a:pt x="20562" y="1061609"/>
                      </a:lnTo>
                      <a:lnTo>
                        <a:pt x="20513" y="1060402"/>
                      </a:lnTo>
                      <a:lnTo>
                        <a:pt x="21083" y="1058283"/>
                      </a:lnTo>
                      <a:lnTo>
                        <a:pt x="22265" y="1057232"/>
                      </a:lnTo>
                      <a:lnTo>
                        <a:pt x="22436" y="1053997"/>
                      </a:lnTo>
                      <a:lnTo>
                        <a:pt x="23031" y="1053027"/>
                      </a:lnTo>
                      <a:lnTo>
                        <a:pt x="24368" y="1051691"/>
                      </a:lnTo>
                      <a:lnTo>
                        <a:pt x="24572" y="1051136"/>
                      </a:lnTo>
                      <a:lnTo>
                        <a:pt x="24441" y="1050647"/>
                      </a:lnTo>
                      <a:lnTo>
                        <a:pt x="23944" y="1050598"/>
                      </a:lnTo>
                      <a:lnTo>
                        <a:pt x="18581" y="1054616"/>
                      </a:lnTo>
                      <a:lnTo>
                        <a:pt x="18060" y="1055741"/>
                      </a:lnTo>
                      <a:lnTo>
                        <a:pt x="17832" y="1057257"/>
                      </a:lnTo>
                      <a:lnTo>
                        <a:pt x="17758" y="1062570"/>
                      </a:lnTo>
                      <a:lnTo>
                        <a:pt x="16813" y="1065643"/>
                      </a:lnTo>
                      <a:lnTo>
                        <a:pt x="15957" y="1066221"/>
                      </a:lnTo>
                      <a:lnTo>
                        <a:pt x="13455" y="1066360"/>
                      </a:lnTo>
                      <a:lnTo>
                        <a:pt x="10155" y="1066050"/>
                      </a:lnTo>
                      <a:lnTo>
                        <a:pt x="6414" y="1063239"/>
                      </a:lnTo>
                      <a:lnTo>
                        <a:pt x="3969" y="1064005"/>
                      </a:lnTo>
                      <a:lnTo>
                        <a:pt x="3464" y="1060573"/>
                      </a:lnTo>
                      <a:lnTo>
                        <a:pt x="4686" y="1057835"/>
                      </a:lnTo>
                      <a:lnTo>
                        <a:pt x="9242" y="1058071"/>
                      </a:lnTo>
                      <a:lnTo>
                        <a:pt x="10016" y="1053190"/>
                      </a:lnTo>
                      <a:lnTo>
                        <a:pt x="8574" y="1052049"/>
                      </a:lnTo>
                      <a:lnTo>
                        <a:pt x="6968" y="1050076"/>
                      </a:lnTo>
                      <a:lnTo>
                        <a:pt x="6006" y="1048284"/>
                      </a:lnTo>
                      <a:lnTo>
                        <a:pt x="6854" y="1046947"/>
                      </a:lnTo>
                      <a:lnTo>
                        <a:pt x="9495" y="1045024"/>
                      </a:lnTo>
                      <a:lnTo>
                        <a:pt x="10904" y="1044812"/>
                      </a:lnTo>
                      <a:lnTo>
                        <a:pt x="12216" y="1045896"/>
                      </a:lnTo>
                      <a:lnTo>
                        <a:pt x="15460" y="1045081"/>
                      </a:lnTo>
                      <a:lnTo>
                        <a:pt x="15273" y="1042000"/>
                      </a:lnTo>
                      <a:lnTo>
                        <a:pt x="12388" y="1040656"/>
                      </a:lnTo>
                      <a:lnTo>
                        <a:pt x="13031" y="1038325"/>
                      </a:lnTo>
                      <a:lnTo>
                        <a:pt x="16674" y="1036108"/>
                      </a:lnTo>
                      <a:lnTo>
                        <a:pt x="18858" y="1033858"/>
                      </a:lnTo>
                      <a:lnTo>
                        <a:pt x="18956" y="1031316"/>
                      </a:lnTo>
                      <a:lnTo>
                        <a:pt x="18076" y="1028765"/>
                      </a:lnTo>
                      <a:lnTo>
                        <a:pt x="18353" y="1027779"/>
                      </a:lnTo>
                      <a:lnTo>
                        <a:pt x="20171" y="1025668"/>
                      </a:lnTo>
                      <a:lnTo>
                        <a:pt x="22713" y="1024658"/>
                      </a:lnTo>
                      <a:lnTo>
                        <a:pt x="23879" y="1024796"/>
                      </a:lnTo>
                      <a:lnTo>
                        <a:pt x="26242" y="1026288"/>
                      </a:lnTo>
                      <a:lnTo>
                        <a:pt x="28345" y="1026459"/>
                      </a:lnTo>
                      <a:lnTo>
                        <a:pt x="28850" y="1026899"/>
                      </a:lnTo>
                      <a:lnTo>
                        <a:pt x="29225" y="1028545"/>
                      </a:lnTo>
                      <a:lnTo>
                        <a:pt x="30586" y="1040647"/>
                      </a:lnTo>
                      <a:close/>
                      <a:moveTo>
                        <a:pt x="4931" y="1026760"/>
                      </a:moveTo>
                      <a:lnTo>
                        <a:pt x="2143" y="1026801"/>
                      </a:lnTo>
                      <a:lnTo>
                        <a:pt x="1443" y="1020371"/>
                      </a:lnTo>
                      <a:lnTo>
                        <a:pt x="4735" y="1011097"/>
                      </a:lnTo>
                      <a:lnTo>
                        <a:pt x="4963" y="1007559"/>
                      </a:lnTo>
                      <a:lnTo>
                        <a:pt x="3863" y="1004911"/>
                      </a:lnTo>
                      <a:lnTo>
                        <a:pt x="3415" y="1002711"/>
                      </a:lnTo>
                      <a:lnTo>
                        <a:pt x="3675" y="1001830"/>
                      </a:lnTo>
                      <a:lnTo>
                        <a:pt x="7881" y="999988"/>
                      </a:lnTo>
                      <a:lnTo>
                        <a:pt x="9193" y="1001928"/>
                      </a:lnTo>
                      <a:lnTo>
                        <a:pt x="10749" y="1007119"/>
                      </a:lnTo>
                      <a:lnTo>
                        <a:pt x="13724" y="1014552"/>
                      </a:lnTo>
                      <a:lnTo>
                        <a:pt x="13651" y="1021667"/>
                      </a:lnTo>
                      <a:lnTo>
                        <a:pt x="11997" y="1023419"/>
                      </a:lnTo>
                      <a:lnTo>
                        <a:pt x="6813" y="1025228"/>
                      </a:lnTo>
                      <a:lnTo>
                        <a:pt x="4931" y="1026760"/>
                      </a:lnTo>
                      <a:close/>
                      <a:moveTo>
                        <a:pt x="28320" y="1020574"/>
                      </a:moveTo>
                      <a:lnTo>
                        <a:pt x="27848" y="1021422"/>
                      </a:lnTo>
                      <a:lnTo>
                        <a:pt x="24791" y="1020909"/>
                      </a:lnTo>
                      <a:lnTo>
                        <a:pt x="19494" y="1021813"/>
                      </a:lnTo>
                      <a:lnTo>
                        <a:pt x="17269" y="1018545"/>
                      </a:lnTo>
                      <a:lnTo>
                        <a:pt x="16291" y="1013354"/>
                      </a:lnTo>
                      <a:lnTo>
                        <a:pt x="15623" y="1012278"/>
                      </a:lnTo>
                      <a:lnTo>
                        <a:pt x="14311" y="1009320"/>
                      </a:lnTo>
                      <a:lnTo>
                        <a:pt x="13651" y="1007380"/>
                      </a:lnTo>
                      <a:lnTo>
                        <a:pt x="12298" y="1004381"/>
                      </a:lnTo>
                      <a:lnTo>
                        <a:pt x="11776" y="1001211"/>
                      </a:lnTo>
                      <a:lnTo>
                        <a:pt x="11442" y="1000257"/>
                      </a:lnTo>
                      <a:lnTo>
                        <a:pt x="12657" y="998383"/>
                      </a:lnTo>
                      <a:lnTo>
                        <a:pt x="18190" y="996525"/>
                      </a:lnTo>
                      <a:lnTo>
                        <a:pt x="20162" y="993542"/>
                      </a:lnTo>
                      <a:lnTo>
                        <a:pt x="21858" y="993933"/>
                      </a:lnTo>
                      <a:lnTo>
                        <a:pt x="21393" y="1000037"/>
                      </a:lnTo>
                      <a:lnTo>
                        <a:pt x="22412" y="1002107"/>
                      </a:lnTo>
                      <a:lnTo>
                        <a:pt x="24295" y="1003811"/>
                      </a:lnTo>
                      <a:lnTo>
                        <a:pt x="24637" y="1004520"/>
                      </a:lnTo>
                      <a:lnTo>
                        <a:pt x="24955" y="1006679"/>
                      </a:lnTo>
                      <a:lnTo>
                        <a:pt x="25900" y="1010053"/>
                      </a:lnTo>
                      <a:lnTo>
                        <a:pt x="27122" y="1011618"/>
                      </a:lnTo>
                      <a:lnTo>
                        <a:pt x="27432" y="1012604"/>
                      </a:lnTo>
                      <a:lnTo>
                        <a:pt x="27489" y="1013419"/>
                      </a:lnTo>
                      <a:lnTo>
                        <a:pt x="27041" y="1014577"/>
                      </a:lnTo>
                      <a:lnTo>
                        <a:pt x="28320" y="1020574"/>
                      </a:lnTo>
                      <a:close/>
                      <a:moveTo>
                        <a:pt x="67537" y="885167"/>
                      </a:moveTo>
                      <a:lnTo>
                        <a:pt x="61531" y="887970"/>
                      </a:lnTo>
                      <a:lnTo>
                        <a:pt x="58515" y="887033"/>
                      </a:lnTo>
                      <a:lnTo>
                        <a:pt x="57350" y="884971"/>
                      </a:lnTo>
                      <a:lnTo>
                        <a:pt x="56779" y="883235"/>
                      </a:lnTo>
                      <a:lnTo>
                        <a:pt x="56160" y="880309"/>
                      </a:lnTo>
                      <a:lnTo>
                        <a:pt x="57187" y="878745"/>
                      </a:lnTo>
                      <a:lnTo>
                        <a:pt x="59387" y="876479"/>
                      </a:lnTo>
                      <a:lnTo>
                        <a:pt x="60202" y="875020"/>
                      </a:lnTo>
                      <a:lnTo>
                        <a:pt x="60601" y="873301"/>
                      </a:lnTo>
                      <a:lnTo>
                        <a:pt x="60463" y="871687"/>
                      </a:lnTo>
                      <a:lnTo>
                        <a:pt x="60748" y="870155"/>
                      </a:lnTo>
                      <a:lnTo>
                        <a:pt x="62052" y="869617"/>
                      </a:lnTo>
                      <a:lnTo>
                        <a:pt x="66494" y="871328"/>
                      </a:lnTo>
                      <a:lnTo>
                        <a:pt x="71106" y="873904"/>
                      </a:lnTo>
                      <a:lnTo>
                        <a:pt x="72744" y="875680"/>
                      </a:lnTo>
                      <a:lnTo>
                        <a:pt x="73054" y="877099"/>
                      </a:lnTo>
                      <a:lnTo>
                        <a:pt x="71041" y="880228"/>
                      </a:lnTo>
                      <a:lnTo>
                        <a:pt x="69753" y="882795"/>
                      </a:lnTo>
                      <a:lnTo>
                        <a:pt x="67537" y="885167"/>
                      </a:lnTo>
                      <a:close/>
                      <a:moveTo>
                        <a:pt x="48956" y="871687"/>
                      </a:moveTo>
                      <a:lnTo>
                        <a:pt x="47733" y="873203"/>
                      </a:lnTo>
                      <a:lnTo>
                        <a:pt x="45810" y="873455"/>
                      </a:lnTo>
                      <a:lnTo>
                        <a:pt x="42803" y="875191"/>
                      </a:lnTo>
                      <a:lnTo>
                        <a:pt x="42485" y="876699"/>
                      </a:lnTo>
                      <a:lnTo>
                        <a:pt x="42338" y="878565"/>
                      </a:lnTo>
                      <a:lnTo>
                        <a:pt x="44408" y="880790"/>
                      </a:lnTo>
                      <a:lnTo>
                        <a:pt x="45427" y="883382"/>
                      </a:lnTo>
                      <a:lnTo>
                        <a:pt x="46649" y="887278"/>
                      </a:lnTo>
                      <a:lnTo>
                        <a:pt x="47537" y="890985"/>
                      </a:lnTo>
                      <a:lnTo>
                        <a:pt x="47456" y="892143"/>
                      </a:lnTo>
                      <a:lnTo>
                        <a:pt x="47676" y="894067"/>
                      </a:lnTo>
                      <a:lnTo>
                        <a:pt x="49151" y="897065"/>
                      </a:lnTo>
                      <a:lnTo>
                        <a:pt x="49290" y="898418"/>
                      </a:lnTo>
                      <a:lnTo>
                        <a:pt x="49127" y="899763"/>
                      </a:lnTo>
                      <a:lnTo>
                        <a:pt x="48532" y="902257"/>
                      </a:lnTo>
                      <a:lnTo>
                        <a:pt x="48059" y="902599"/>
                      </a:lnTo>
                      <a:lnTo>
                        <a:pt x="46592" y="902836"/>
                      </a:lnTo>
                      <a:lnTo>
                        <a:pt x="46478" y="904360"/>
                      </a:lnTo>
                      <a:lnTo>
                        <a:pt x="46119" y="904857"/>
                      </a:lnTo>
                      <a:lnTo>
                        <a:pt x="41971" y="905011"/>
                      </a:lnTo>
                      <a:lnTo>
                        <a:pt x="39926" y="904327"/>
                      </a:lnTo>
                      <a:lnTo>
                        <a:pt x="40170" y="899755"/>
                      </a:lnTo>
                      <a:lnTo>
                        <a:pt x="37546" y="897970"/>
                      </a:lnTo>
                      <a:lnTo>
                        <a:pt x="35737" y="894963"/>
                      </a:lnTo>
                      <a:lnTo>
                        <a:pt x="33699" y="889763"/>
                      </a:lnTo>
                      <a:lnTo>
                        <a:pt x="31996" y="888174"/>
                      </a:lnTo>
                      <a:lnTo>
                        <a:pt x="30007" y="884058"/>
                      </a:lnTo>
                      <a:lnTo>
                        <a:pt x="27065" y="880554"/>
                      </a:lnTo>
                      <a:lnTo>
                        <a:pt x="30464" y="878346"/>
                      </a:lnTo>
                      <a:lnTo>
                        <a:pt x="29942" y="874458"/>
                      </a:lnTo>
                      <a:lnTo>
                        <a:pt x="31931" y="873138"/>
                      </a:lnTo>
                      <a:lnTo>
                        <a:pt x="34922" y="871744"/>
                      </a:lnTo>
                      <a:lnTo>
                        <a:pt x="37122" y="872836"/>
                      </a:lnTo>
                      <a:lnTo>
                        <a:pt x="39102" y="872445"/>
                      </a:lnTo>
                      <a:lnTo>
                        <a:pt x="39983" y="871532"/>
                      </a:lnTo>
                      <a:lnTo>
                        <a:pt x="39714" y="867563"/>
                      </a:lnTo>
                      <a:lnTo>
                        <a:pt x="40341" y="864434"/>
                      </a:lnTo>
                      <a:lnTo>
                        <a:pt x="42525" y="862836"/>
                      </a:lnTo>
                      <a:lnTo>
                        <a:pt x="44873" y="862657"/>
                      </a:lnTo>
                      <a:lnTo>
                        <a:pt x="45761" y="864418"/>
                      </a:lnTo>
                      <a:lnTo>
                        <a:pt x="46918" y="866137"/>
                      </a:lnTo>
                      <a:lnTo>
                        <a:pt x="49754" y="867506"/>
                      </a:lnTo>
                      <a:lnTo>
                        <a:pt x="49746" y="869267"/>
                      </a:lnTo>
                      <a:lnTo>
                        <a:pt x="48956" y="871687"/>
                      </a:lnTo>
                      <a:close/>
                      <a:moveTo>
                        <a:pt x="48018" y="835201"/>
                      </a:moveTo>
                      <a:lnTo>
                        <a:pt x="46152" y="835918"/>
                      </a:lnTo>
                      <a:lnTo>
                        <a:pt x="44416" y="836097"/>
                      </a:lnTo>
                      <a:lnTo>
                        <a:pt x="42648" y="835567"/>
                      </a:lnTo>
                      <a:lnTo>
                        <a:pt x="39559" y="835617"/>
                      </a:lnTo>
                      <a:lnTo>
                        <a:pt x="36478" y="834264"/>
                      </a:lnTo>
                      <a:lnTo>
                        <a:pt x="33593" y="832349"/>
                      </a:lnTo>
                      <a:lnTo>
                        <a:pt x="32786" y="831240"/>
                      </a:lnTo>
                      <a:lnTo>
                        <a:pt x="33137" y="829659"/>
                      </a:lnTo>
                      <a:lnTo>
                        <a:pt x="35215" y="825984"/>
                      </a:lnTo>
                      <a:lnTo>
                        <a:pt x="37195" y="819032"/>
                      </a:lnTo>
                      <a:lnTo>
                        <a:pt x="38516" y="809081"/>
                      </a:lnTo>
                      <a:lnTo>
                        <a:pt x="37464" y="805316"/>
                      </a:lnTo>
                      <a:lnTo>
                        <a:pt x="37595" y="803767"/>
                      </a:lnTo>
                      <a:lnTo>
                        <a:pt x="38084" y="801893"/>
                      </a:lnTo>
                      <a:lnTo>
                        <a:pt x="38320" y="799962"/>
                      </a:lnTo>
                      <a:lnTo>
                        <a:pt x="38165" y="798022"/>
                      </a:lnTo>
                      <a:lnTo>
                        <a:pt x="38418" y="796204"/>
                      </a:lnTo>
                      <a:lnTo>
                        <a:pt x="40602" y="792407"/>
                      </a:lnTo>
                      <a:lnTo>
                        <a:pt x="40920" y="790695"/>
                      </a:lnTo>
                      <a:lnTo>
                        <a:pt x="40985" y="788845"/>
                      </a:lnTo>
                      <a:lnTo>
                        <a:pt x="41930" y="785015"/>
                      </a:lnTo>
                      <a:lnTo>
                        <a:pt x="41637" y="783752"/>
                      </a:lnTo>
                      <a:lnTo>
                        <a:pt x="40830" y="782668"/>
                      </a:lnTo>
                      <a:lnTo>
                        <a:pt x="41482" y="781739"/>
                      </a:lnTo>
                      <a:lnTo>
                        <a:pt x="49070" y="784550"/>
                      </a:lnTo>
                      <a:lnTo>
                        <a:pt x="54106" y="785202"/>
                      </a:lnTo>
                      <a:lnTo>
                        <a:pt x="54375" y="788104"/>
                      </a:lnTo>
                      <a:lnTo>
                        <a:pt x="55353" y="790377"/>
                      </a:lnTo>
                      <a:lnTo>
                        <a:pt x="55932" y="794460"/>
                      </a:lnTo>
                      <a:lnTo>
                        <a:pt x="56714" y="795381"/>
                      </a:lnTo>
                      <a:lnTo>
                        <a:pt x="56306" y="798307"/>
                      </a:lnTo>
                      <a:lnTo>
                        <a:pt x="53984" y="799570"/>
                      </a:lnTo>
                      <a:lnTo>
                        <a:pt x="54188" y="802260"/>
                      </a:lnTo>
                      <a:lnTo>
                        <a:pt x="55524" y="804786"/>
                      </a:lnTo>
                      <a:lnTo>
                        <a:pt x="53576" y="805699"/>
                      </a:lnTo>
                      <a:lnTo>
                        <a:pt x="51474" y="806237"/>
                      </a:lnTo>
                      <a:lnTo>
                        <a:pt x="50985" y="806937"/>
                      </a:lnTo>
                      <a:lnTo>
                        <a:pt x="49461" y="807492"/>
                      </a:lnTo>
                      <a:lnTo>
                        <a:pt x="47611" y="808902"/>
                      </a:lnTo>
                      <a:lnTo>
                        <a:pt x="48165" y="810140"/>
                      </a:lnTo>
                      <a:lnTo>
                        <a:pt x="50496" y="813001"/>
                      </a:lnTo>
                      <a:lnTo>
                        <a:pt x="53096" y="814965"/>
                      </a:lnTo>
                      <a:lnTo>
                        <a:pt x="54530" y="817931"/>
                      </a:lnTo>
                      <a:lnTo>
                        <a:pt x="56372" y="821012"/>
                      </a:lnTo>
                      <a:lnTo>
                        <a:pt x="55475" y="822976"/>
                      </a:lnTo>
                      <a:lnTo>
                        <a:pt x="53788" y="825755"/>
                      </a:lnTo>
                      <a:lnTo>
                        <a:pt x="51083" y="827613"/>
                      </a:lnTo>
                      <a:lnTo>
                        <a:pt x="48597" y="828713"/>
                      </a:lnTo>
                      <a:lnTo>
                        <a:pt x="48898" y="833294"/>
                      </a:lnTo>
                      <a:lnTo>
                        <a:pt x="48018" y="835201"/>
                      </a:lnTo>
                      <a:close/>
                      <a:moveTo>
                        <a:pt x="198470" y="166352"/>
                      </a:moveTo>
                      <a:lnTo>
                        <a:pt x="201633" y="166442"/>
                      </a:lnTo>
                      <a:lnTo>
                        <a:pt x="207028" y="165293"/>
                      </a:lnTo>
                      <a:lnTo>
                        <a:pt x="211176" y="164250"/>
                      </a:lnTo>
                      <a:lnTo>
                        <a:pt x="215789" y="169857"/>
                      </a:lnTo>
                      <a:lnTo>
                        <a:pt x="213784" y="177452"/>
                      </a:lnTo>
                      <a:lnTo>
                        <a:pt x="210573" y="189595"/>
                      </a:lnTo>
                      <a:lnTo>
                        <a:pt x="208087" y="198992"/>
                      </a:lnTo>
                      <a:lnTo>
                        <a:pt x="207680" y="200247"/>
                      </a:lnTo>
                      <a:lnTo>
                        <a:pt x="207174" y="202097"/>
                      </a:lnTo>
                      <a:lnTo>
                        <a:pt x="201820" y="204754"/>
                      </a:lnTo>
                      <a:lnTo>
                        <a:pt x="194021" y="208658"/>
                      </a:lnTo>
                      <a:lnTo>
                        <a:pt x="190027" y="210695"/>
                      </a:lnTo>
                      <a:lnTo>
                        <a:pt x="184991" y="213311"/>
                      </a:lnTo>
                      <a:lnTo>
                        <a:pt x="183768" y="215463"/>
                      </a:lnTo>
                      <a:lnTo>
                        <a:pt x="182318" y="216620"/>
                      </a:lnTo>
                      <a:lnTo>
                        <a:pt x="180720" y="218127"/>
                      </a:lnTo>
                      <a:lnTo>
                        <a:pt x="180109" y="219741"/>
                      </a:lnTo>
                      <a:lnTo>
                        <a:pt x="178618" y="220768"/>
                      </a:lnTo>
                      <a:lnTo>
                        <a:pt x="177257" y="224460"/>
                      </a:lnTo>
                      <a:lnTo>
                        <a:pt x="177257" y="227312"/>
                      </a:lnTo>
                      <a:lnTo>
                        <a:pt x="178121" y="229227"/>
                      </a:lnTo>
                      <a:lnTo>
                        <a:pt x="179628" y="230059"/>
                      </a:lnTo>
                      <a:lnTo>
                        <a:pt x="180101" y="232357"/>
                      </a:lnTo>
                      <a:lnTo>
                        <a:pt x="180574" y="233995"/>
                      </a:lnTo>
                      <a:lnTo>
                        <a:pt x="181658" y="235283"/>
                      </a:lnTo>
                      <a:lnTo>
                        <a:pt x="181381" y="236318"/>
                      </a:lnTo>
                      <a:lnTo>
                        <a:pt x="180500" y="237084"/>
                      </a:lnTo>
                      <a:lnTo>
                        <a:pt x="178879" y="237524"/>
                      </a:lnTo>
                      <a:lnTo>
                        <a:pt x="177770" y="239838"/>
                      </a:lnTo>
                      <a:lnTo>
                        <a:pt x="176499" y="245608"/>
                      </a:lnTo>
                      <a:lnTo>
                        <a:pt x="176303" y="247670"/>
                      </a:lnTo>
                      <a:lnTo>
                        <a:pt x="177746" y="252894"/>
                      </a:lnTo>
                      <a:lnTo>
                        <a:pt x="178520" y="255714"/>
                      </a:lnTo>
                      <a:lnTo>
                        <a:pt x="180606" y="265942"/>
                      </a:lnTo>
                      <a:lnTo>
                        <a:pt x="180916" y="268729"/>
                      </a:lnTo>
                      <a:lnTo>
                        <a:pt x="178055" y="272625"/>
                      </a:lnTo>
                      <a:lnTo>
                        <a:pt x="176906" y="274988"/>
                      </a:lnTo>
                      <a:lnTo>
                        <a:pt x="176499" y="277083"/>
                      </a:lnTo>
                      <a:lnTo>
                        <a:pt x="176515" y="278729"/>
                      </a:lnTo>
                      <a:lnTo>
                        <a:pt x="176776" y="280253"/>
                      </a:lnTo>
                      <a:lnTo>
                        <a:pt x="179156" y="285053"/>
                      </a:lnTo>
                      <a:lnTo>
                        <a:pt x="181926" y="289356"/>
                      </a:lnTo>
                      <a:lnTo>
                        <a:pt x="183279" y="291597"/>
                      </a:lnTo>
                      <a:lnTo>
                        <a:pt x="183279" y="294637"/>
                      </a:lnTo>
                      <a:lnTo>
                        <a:pt x="182603" y="296365"/>
                      </a:lnTo>
                      <a:lnTo>
                        <a:pt x="181128" y="297001"/>
                      </a:lnTo>
                      <a:lnTo>
                        <a:pt x="177852" y="298182"/>
                      </a:lnTo>
                      <a:lnTo>
                        <a:pt x="176491" y="299910"/>
                      </a:lnTo>
                      <a:lnTo>
                        <a:pt x="174999" y="300179"/>
                      </a:lnTo>
                      <a:lnTo>
                        <a:pt x="173581" y="298794"/>
                      </a:lnTo>
                      <a:lnTo>
                        <a:pt x="172090" y="299136"/>
                      </a:lnTo>
                      <a:lnTo>
                        <a:pt x="170191" y="300350"/>
                      </a:lnTo>
                      <a:lnTo>
                        <a:pt x="169474" y="303292"/>
                      </a:lnTo>
                      <a:lnTo>
                        <a:pt x="167819" y="308312"/>
                      </a:lnTo>
                      <a:lnTo>
                        <a:pt x="166393" y="309706"/>
                      </a:lnTo>
                      <a:lnTo>
                        <a:pt x="165334" y="313545"/>
                      </a:lnTo>
                      <a:lnTo>
                        <a:pt x="163443" y="319062"/>
                      </a:lnTo>
                      <a:lnTo>
                        <a:pt x="162530" y="322379"/>
                      </a:lnTo>
                      <a:lnTo>
                        <a:pt x="162058" y="324824"/>
                      </a:lnTo>
                      <a:lnTo>
                        <a:pt x="160150" y="326364"/>
                      </a:lnTo>
                      <a:lnTo>
                        <a:pt x="157934" y="329461"/>
                      </a:lnTo>
                      <a:lnTo>
                        <a:pt x="156222" y="332468"/>
                      </a:lnTo>
                      <a:lnTo>
                        <a:pt x="155546" y="333332"/>
                      </a:lnTo>
                      <a:lnTo>
                        <a:pt x="154258" y="333593"/>
                      </a:lnTo>
                      <a:lnTo>
                        <a:pt x="153313" y="336299"/>
                      </a:lnTo>
                      <a:lnTo>
                        <a:pt x="150094" y="340373"/>
                      </a:lnTo>
                      <a:lnTo>
                        <a:pt x="149328" y="345100"/>
                      </a:lnTo>
                      <a:lnTo>
                        <a:pt x="148154" y="347610"/>
                      </a:lnTo>
                      <a:lnTo>
                        <a:pt x="147950" y="352174"/>
                      </a:lnTo>
                      <a:lnTo>
                        <a:pt x="146174" y="360528"/>
                      </a:lnTo>
                      <a:lnTo>
                        <a:pt x="145848" y="362378"/>
                      </a:lnTo>
                      <a:lnTo>
                        <a:pt x="144055" y="363837"/>
                      </a:lnTo>
                      <a:lnTo>
                        <a:pt x="141683" y="367072"/>
                      </a:lnTo>
                      <a:lnTo>
                        <a:pt x="140917" y="369435"/>
                      </a:lnTo>
                      <a:lnTo>
                        <a:pt x="142009" y="376517"/>
                      </a:lnTo>
                      <a:lnTo>
                        <a:pt x="143370" y="383681"/>
                      </a:lnTo>
                      <a:lnTo>
                        <a:pt x="143460" y="387047"/>
                      </a:lnTo>
                      <a:lnTo>
                        <a:pt x="142930" y="391619"/>
                      </a:lnTo>
                      <a:lnTo>
                        <a:pt x="142572" y="393599"/>
                      </a:lnTo>
                      <a:lnTo>
                        <a:pt x="143476" y="394431"/>
                      </a:lnTo>
                      <a:lnTo>
                        <a:pt x="144967" y="394952"/>
                      </a:lnTo>
                      <a:lnTo>
                        <a:pt x="145440" y="396712"/>
                      </a:lnTo>
                      <a:lnTo>
                        <a:pt x="144356" y="397943"/>
                      </a:lnTo>
                      <a:lnTo>
                        <a:pt x="143884" y="400135"/>
                      </a:lnTo>
                      <a:lnTo>
                        <a:pt x="142661" y="402597"/>
                      </a:lnTo>
                      <a:lnTo>
                        <a:pt x="139051" y="403566"/>
                      </a:lnTo>
                      <a:lnTo>
                        <a:pt x="137779" y="402686"/>
                      </a:lnTo>
                      <a:lnTo>
                        <a:pt x="137372" y="403477"/>
                      </a:lnTo>
                      <a:lnTo>
                        <a:pt x="137576" y="405245"/>
                      </a:lnTo>
                      <a:lnTo>
                        <a:pt x="136769" y="407323"/>
                      </a:lnTo>
                      <a:lnTo>
                        <a:pt x="134903" y="412873"/>
                      </a:lnTo>
                      <a:lnTo>
                        <a:pt x="133672" y="417918"/>
                      </a:lnTo>
                      <a:lnTo>
                        <a:pt x="132955" y="420127"/>
                      </a:lnTo>
                      <a:lnTo>
                        <a:pt x="133248" y="421977"/>
                      </a:lnTo>
                      <a:lnTo>
                        <a:pt x="133860" y="423036"/>
                      </a:lnTo>
                      <a:lnTo>
                        <a:pt x="133925" y="424014"/>
                      </a:lnTo>
                      <a:lnTo>
                        <a:pt x="132898" y="425229"/>
                      </a:lnTo>
                      <a:lnTo>
                        <a:pt x="131961" y="427176"/>
                      </a:lnTo>
                      <a:lnTo>
                        <a:pt x="130942" y="427437"/>
                      </a:lnTo>
                      <a:lnTo>
                        <a:pt x="129858" y="426916"/>
                      </a:lnTo>
                      <a:lnTo>
                        <a:pt x="128701" y="428065"/>
                      </a:lnTo>
                      <a:lnTo>
                        <a:pt x="128472" y="430461"/>
                      </a:lnTo>
                      <a:lnTo>
                        <a:pt x="127837" y="433517"/>
                      </a:lnTo>
                      <a:lnTo>
                        <a:pt x="127535" y="437086"/>
                      </a:lnTo>
                      <a:lnTo>
                        <a:pt x="127071" y="441658"/>
                      </a:lnTo>
                      <a:lnTo>
                        <a:pt x="128546" y="444788"/>
                      </a:lnTo>
                      <a:lnTo>
                        <a:pt x="130420" y="450468"/>
                      </a:lnTo>
                      <a:lnTo>
                        <a:pt x="131814" y="451829"/>
                      </a:lnTo>
                      <a:lnTo>
                        <a:pt x="133370" y="451748"/>
                      </a:lnTo>
                      <a:lnTo>
                        <a:pt x="134593" y="452897"/>
                      </a:lnTo>
                      <a:lnTo>
                        <a:pt x="135269" y="454233"/>
                      </a:lnTo>
                      <a:lnTo>
                        <a:pt x="134365" y="456605"/>
                      </a:lnTo>
                      <a:lnTo>
                        <a:pt x="132759" y="456972"/>
                      </a:lnTo>
                      <a:lnTo>
                        <a:pt x="132556" y="458300"/>
                      </a:lnTo>
                      <a:lnTo>
                        <a:pt x="133036" y="461315"/>
                      </a:lnTo>
                      <a:lnTo>
                        <a:pt x="133648" y="464241"/>
                      </a:lnTo>
                      <a:lnTo>
                        <a:pt x="135188" y="465651"/>
                      </a:lnTo>
                      <a:lnTo>
                        <a:pt x="135881" y="469563"/>
                      </a:lnTo>
                      <a:lnTo>
                        <a:pt x="137372" y="470892"/>
                      </a:lnTo>
                      <a:lnTo>
                        <a:pt x="137193" y="475904"/>
                      </a:lnTo>
                      <a:lnTo>
                        <a:pt x="138700" y="481804"/>
                      </a:lnTo>
                      <a:lnTo>
                        <a:pt x="140289" y="483507"/>
                      </a:lnTo>
                      <a:lnTo>
                        <a:pt x="141039" y="484314"/>
                      </a:lnTo>
                      <a:lnTo>
                        <a:pt x="140534" y="486898"/>
                      </a:lnTo>
                      <a:lnTo>
                        <a:pt x="139271" y="488943"/>
                      </a:lnTo>
                      <a:lnTo>
                        <a:pt x="139002" y="492244"/>
                      </a:lnTo>
                      <a:lnTo>
                        <a:pt x="139475" y="494648"/>
                      </a:lnTo>
                      <a:lnTo>
                        <a:pt x="141088" y="496922"/>
                      </a:lnTo>
                      <a:lnTo>
                        <a:pt x="142343" y="497174"/>
                      </a:lnTo>
                      <a:lnTo>
                        <a:pt x="144153" y="496245"/>
                      </a:lnTo>
                      <a:lnTo>
                        <a:pt x="146051" y="497321"/>
                      </a:lnTo>
                      <a:lnTo>
                        <a:pt x="146329" y="499277"/>
                      </a:lnTo>
                      <a:lnTo>
                        <a:pt x="146597" y="501062"/>
                      </a:lnTo>
                      <a:lnTo>
                        <a:pt x="145579" y="503393"/>
                      </a:lnTo>
                      <a:lnTo>
                        <a:pt x="144495" y="507671"/>
                      </a:lnTo>
                      <a:lnTo>
                        <a:pt x="144201" y="511925"/>
                      </a:lnTo>
                      <a:lnTo>
                        <a:pt x="144519" y="518413"/>
                      </a:lnTo>
                      <a:lnTo>
                        <a:pt x="145016" y="523457"/>
                      </a:lnTo>
                      <a:lnTo>
                        <a:pt x="145122" y="526619"/>
                      </a:lnTo>
                      <a:lnTo>
                        <a:pt x="145244" y="528070"/>
                      </a:lnTo>
                      <a:lnTo>
                        <a:pt x="144568" y="529048"/>
                      </a:lnTo>
                      <a:lnTo>
                        <a:pt x="142922" y="529561"/>
                      </a:lnTo>
                      <a:lnTo>
                        <a:pt x="141520" y="529765"/>
                      </a:lnTo>
                      <a:lnTo>
                        <a:pt x="140298" y="530564"/>
                      </a:lnTo>
                      <a:lnTo>
                        <a:pt x="140029" y="532186"/>
                      </a:lnTo>
                      <a:lnTo>
                        <a:pt x="139075" y="534867"/>
                      </a:lnTo>
                      <a:lnTo>
                        <a:pt x="138089" y="536872"/>
                      </a:lnTo>
                      <a:lnTo>
                        <a:pt x="136369" y="539773"/>
                      </a:lnTo>
                      <a:lnTo>
                        <a:pt x="135277" y="542772"/>
                      </a:lnTo>
                      <a:lnTo>
                        <a:pt x="134405" y="544744"/>
                      </a:lnTo>
                      <a:lnTo>
                        <a:pt x="134487" y="546113"/>
                      </a:lnTo>
                      <a:lnTo>
                        <a:pt x="133860" y="548754"/>
                      </a:lnTo>
                      <a:lnTo>
                        <a:pt x="133216" y="550955"/>
                      </a:lnTo>
                      <a:lnTo>
                        <a:pt x="131846" y="558371"/>
                      </a:lnTo>
                      <a:lnTo>
                        <a:pt x="130029" y="559911"/>
                      </a:lnTo>
                      <a:lnTo>
                        <a:pt x="128578" y="560669"/>
                      </a:lnTo>
                      <a:lnTo>
                        <a:pt x="127829" y="561663"/>
                      </a:lnTo>
                      <a:lnTo>
                        <a:pt x="128391" y="563668"/>
                      </a:lnTo>
                      <a:lnTo>
                        <a:pt x="129931" y="564271"/>
                      </a:lnTo>
                      <a:lnTo>
                        <a:pt x="130469" y="565893"/>
                      </a:lnTo>
                      <a:lnTo>
                        <a:pt x="130265" y="568427"/>
                      </a:lnTo>
                      <a:lnTo>
                        <a:pt x="131284" y="570767"/>
                      </a:lnTo>
                      <a:lnTo>
                        <a:pt x="131186" y="573619"/>
                      </a:lnTo>
                      <a:lnTo>
                        <a:pt x="132173" y="578989"/>
                      </a:lnTo>
                      <a:lnTo>
                        <a:pt x="131292" y="582518"/>
                      </a:lnTo>
                      <a:lnTo>
                        <a:pt x="131594" y="585566"/>
                      </a:lnTo>
                      <a:lnTo>
                        <a:pt x="131569" y="588574"/>
                      </a:lnTo>
                      <a:lnTo>
                        <a:pt x="130282" y="590929"/>
                      </a:lnTo>
                      <a:lnTo>
                        <a:pt x="127633" y="591393"/>
                      </a:lnTo>
                      <a:lnTo>
                        <a:pt x="126182" y="593561"/>
                      </a:lnTo>
                      <a:lnTo>
                        <a:pt x="123697" y="595933"/>
                      </a:lnTo>
                      <a:lnTo>
                        <a:pt x="123428" y="597823"/>
                      </a:lnTo>
                      <a:lnTo>
                        <a:pt x="123020" y="599559"/>
                      </a:lnTo>
                      <a:lnTo>
                        <a:pt x="122002" y="600179"/>
                      </a:lnTo>
                      <a:lnTo>
                        <a:pt x="120445" y="600179"/>
                      </a:lnTo>
                      <a:lnTo>
                        <a:pt x="119157" y="600448"/>
                      </a:lnTo>
                      <a:lnTo>
                        <a:pt x="117348" y="602681"/>
                      </a:lnTo>
                      <a:lnTo>
                        <a:pt x="115425" y="603887"/>
                      </a:lnTo>
                      <a:lnTo>
                        <a:pt x="114985" y="605696"/>
                      </a:lnTo>
                      <a:lnTo>
                        <a:pt x="115156" y="607888"/>
                      </a:lnTo>
                      <a:lnTo>
                        <a:pt x="114137" y="609258"/>
                      </a:lnTo>
                      <a:lnTo>
                        <a:pt x="112841" y="611800"/>
                      </a:lnTo>
                      <a:lnTo>
                        <a:pt x="112026" y="614522"/>
                      </a:lnTo>
                      <a:lnTo>
                        <a:pt x="112841" y="617065"/>
                      </a:lnTo>
                      <a:lnTo>
                        <a:pt x="113730" y="621621"/>
                      </a:lnTo>
                      <a:lnTo>
                        <a:pt x="113868" y="623528"/>
                      </a:lnTo>
                      <a:lnTo>
                        <a:pt x="112751" y="627301"/>
                      </a:lnTo>
                      <a:lnTo>
                        <a:pt x="111839" y="629730"/>
                      </a:lnTo>
                      <a:lnTo>
                        <a:pt x="112719" y="632835"/>
                      </a:lnTo>
                      <a:lnTo>
                        <a:pt x="113469" y="634562"/>
                      </a:lnTo>
                      <a:lnTo>
                        <a:pt x="112768" y="638377"/>
                      </a:lnTo>
                      <a:lnTo>
                        <a:pt x="112173" y="640781"/>
                      </a:lnTo>
                      <a:lnTo>
                        <a:pt x="112654" y="645165"/>
                      </a:lnTo>
                      <a:lnTo>
                        <a:pt x="114422" y="650104"/>
                      </a:lnTo>
                      <a:lnTo>
                        <a:pt x="116109" y="654505"/>
                      </a:lnTo>
                      <a:lnTo>
                        <a:pt x="116362" y="659615"/>
                      </a:lnTo>
                      <a:lnTo>
                        <a:pt x="116794" y="663665"/>
                      </a:lnTo>
                      <a:lnTo>
                        <a:pt x="117601" y="668066"/>
                      </a:lnTo>
                      <a:lnTo>
                        <a:pt x="119296" y="669810"/>
                      </a:lnTo>
                      <a:lnTo>
                        <a:pt x="120583" y="671277"/>
                      </a:lnTo>
                      <a:lnTo>
                        <a:pt x="120306" y="673404"/>
                      </a:lnTo>
                      <a:lnTo>
                        <a:pt x="119361" y="675963"/>
                      </a:lnTo>
                      <a:lnTo>
                        <a:pt x="118000" y="677895"/>
                      </a:lnTo>
                      <a:lnTo>
                        <a:pt x="114642" y="678538"/>
                      </a:lnTo>
                      <a:lnTo>
                        <a:pt x="111912" y="680282"/>
                      </a:lnTo>
                      <a:lnTo>
                        <a:pt x="109712" y="681497"/>
                      </a:lnTo>
                      <a:lnTo>
                        <a:pt x="108041" y="682955"/>
                      </a:lnTo>
                      <a:lnTo>
                        <a:pt x="106843" y="684504"/>
                      </a:lnTo>
                      <a:lnTo>
                        <a:pt x="106248" y="686223"/>
                      </a:lnTo>
                      <a:lnTo>
                        <a:pt x="106647" y="693640"/>
                      </a:lnTo>
                      <a:lnTo>
                        <a:pt x="106379" y="696386"/>
                      </a:lnTo>
                      <a:lnTo>
                        <a:pt x="105254" y="700282"/>
                      </a:lnTo>
                      <a:lnTo>
                        <a:pt x="104203" y="703411"/>
                      </a:lnTo>
                      <a:lnTo>
                        <a:pt x="103754" y="704357"/>
                      </a:lnTo>
                      <a:lnTo>
                        <a:pt x="103616" y="705750"/>
                      </a:lnTo>
                      <a:lnTo>
                        <a:pt x="103412" y="707038"/>
                      </a:lnTo>
                      <a:lnTo>
                        <a:pt x="102230" y="707332"/>
                      </a:lnTo>
                      <a:lnTo>
                        <a:pt x="100559" y="706753"/>
                      </a:lnTo>
                      <a:lnTo>
                        <a:pt x="99606" y="707128"/>
                      </a:lnTo>
                      <a:lnTo>
                        <a:pt x="98930" y="708146"/>
                      </a:lnTo>
                      <a:lnTo>
                        <a:pt x="99508" y="710583"/>
                      </a:lnTo>
                      <a:lnTo>
                        <a:pt x="100119" y="714853"/>
                      </a:lnTo>
                      <a:lnTo>
                        <a:pt x="100967" y="716671"/>
                      </a:lnTo>
                      <a:lnTo>
                        <a:pt x="100739" y="718114"/>
                      </a:lnTo>
                      <a:lnTo>
                        <a:pt x="100421" y="721211"/>
                      </a:lnTo>
                      <a:lnTo>
                        <a:pt x="99321" y="723721"/>
                      </a:lnTo>
                      <a:lnTo>
                        <a:pt x="97846" y="723713"/>
                      </a:lnTo>
                      <a:lnTo>
                        <a:pt x="96892" y="724748"/>
                      </a:lnTo>
                      <a:lnTo>
                        <a:pt x="96485" y="726508"/>
                      </a:lnTo>
                      <a:lnTo>
                        <a:pt x="96925" y="728798"/>
                      </a:lnTo>
                      <a:lnTo>
                        <a:pt x="98856" y="730680"/>
                      </a:lnTo>
                      <a:lnTo>
                        <a:pt x="99533" y="731879"/>
                      </a:lnTo>
                      <a:lnTo>
                        <a:pt x="99199" y="733452"/>
                      </a:lnTo>
                      <a:lnTo>
                        <a:pt x="97707" y="734103"/>
                      </a:lnTo>
                      <a:lnTo>
                        <a:pt x="96827" y="735415"/>
                      </a:lnTo>
                      <a:lnTo>
                        <a:pt x="95979" y="738300"/>
                      </a:lnTo>
                      <a:lnTo>
                        <a:pt x="94855" y="741568"/>
                      </a:lnTo>
                      <a:lnTo>
                        <a:pt x="93657" y="743997"/>
                      </a:lnTo>
                      <a:lnTo>
                        <a:pt x="93428" y="747314"/>
                      </a:lnTo>
                      <a:lnTo>
                        <a:pt x="95124" y="750859"/>
                      </a:lnTo>
                      <a:lnTo>
                        <a:pt x="94936" y="754331"/>
                      </a:lnTo>
                      <a:lnTo>
                        <a:pt x="94814" y="764494"/>
                      </a:lnTo>
                      <a:lnTo>
                        <a:pt x="94643" y="767958"/>
                      </a:lnTo>
                      <a:lnTo>
                        <a:pt x="95164" y="773670"/>
                      </a:lnTo>
                      <a:lnTo>
                        <a:pt x="94513" y="775243"/>
                      </a:lnTo>
                      <a:lnTo>
                        <a:pt x="94170" y="776751"/>
                      </a:lnTo>
                      <a:lnTo>
                        <a:pt x="95825" y="780915"/>
                      </a:lnTo>
                      <a:lnTo>
                        <a:pt x="97675" y="787663"/>
                      </a:lnTo>
                      <a:lnTo>
                        <a:pt x="98172" y="790361"/>
                      </a:lnTo>
                      <a:lnTo>
                        <a:pt x="97903" y="792227"/>
                      </a:lnTo>
                      <a:lnTo>
                        <a:pt x="95425" y="793816"/>
                      </a:lnTo>
                      <a:lnTo>
                        <a:pt x="93355" y="794484"/>
                      </a:lnTo>
                      <a:lnTo>
                        <a:pt x="92133" y="793352"/>
                      </a:lnTo>
                      <a:lnTo>
                        <a:pt x="91318" y="793816"/>
                      </a:lnTo>
                      <a:lnTo>
                        <a:pt x="90364" y="795805"/>
                      </a:lnTo>
                      <a:lnTo>
                        <a:pt x="89280" y="797394"/>
                      </a:lnTo>
                      <a:lnTo>
                        <a:pt x="88873" y="799000"/>
                      </a:lnTo>
                      <a:lnTo>
                        <a:pt x="90022" y="801070"/>
                      </a:lnTo>
                      <a:lnTo>
                        <a:pt x="90633" y="805014"/>
                      </a:lnTo>
                      <a:lnTo>
                        <a:pt x="89346" y="806709"/>
                      </a:lnTo>
                      <a:lnTo>
                        <a:pt x="88392" y="808592"/>
                      </a:lnTo>
                      <a:lnTo>
                        <a:pt x="88734" y="811045"/>
                      </a:lnTo>
                      <a:lnTo>
                        <a:pt x="89142" y="815479"/>
                      </a:lnTo>
                      <a:lnTo>
                        <a:pt x="88327" y="822854"/>
                      </a:lnTo>
                      <a:lnTo>
                        <a:pt x="89419" y="825462"/>
                      </a:lnTo>
                      <a:lnTo>
                        <a:pt x="90609" y="826717"/>
                      </a:lnTo>
                      <a:lnTo>
                        <a:pt x="94480" y="828217"/>
                      </a:lnTo>
                      <a:lnTo>
                        <a:pt x="97381" y="828966"/>
                      </a:lnTo>
                      <a:lnTo>
                        <a:pt x="98147" y="831403"/>
                      </a:lnTo>
                      <a:lnTo>
                        <a:pt x="97821" y="833400"/>
                      </a:lnTo>
                      <a:lnTo>
                        <a:pt x="96419" y="834370"/>
                      </a:lnTo>
                      <a:lnTo>
                        <a:pt x="94317" y="835225"/>
                      </a:lnTo>
                      <a:lnTo>
                        <a:pt x="94317" y="838452"/>
                      </a:lnTo>
                      <a:lnTo>
                        <a:pt x="96118" y="841460"/>
                      </a:lnTo>
                      <a:lnTo>
                        <a:pt x="98147" y="843652"/>
                      </a:lnTo>
                      <a:lnTo>
                        <a:pt x="98587" y="845616"/>
                      </a:lnTo>
                      <a:lnTo>
                        <a:pt x="98473" y="847637"/>
                      </a:lnTo>
                      <a:lnTo>
                        <a:pt x="97055" y="849316"/>
                      </a:lnTo>
                      <a:lnTo>
                        <a:pt x="99003" y="852975"/>
                      </a:lnTo>
                      <a:lnTo>
                        <a:pt x="99891" y="855445"/>
                      </a:lnTo>
                      <a:lnTo>
                        <a:pt x="98995" y="857360"/>
                      </a:lnTo>
                      <a:lnTo>
                        <a:pt x="97732" y="860221"/>
                      </a:lnTo>
                      <a:lnTo>
                        <a:pt x="96607" y="861598"/>
                      </a:lnTo>
                      <a:lnTo>
                        <a:pt x="96615" y="863154"/>
                      </a:lnTo>
                      <a:lnTo>
                        <a:pt x="96151" y="866316"/>
                      </a:lnTo>
                      <a:lnTo>
                        <a:pt x="96045" y="869413"/>
                      </a:lnTo>
                      <a:lnTo>
                        <a:pt x="96419" y="871272"/>
                      </a:lnTo>
                      <a:lnTo>
                        <a:pt x="108677" y="872730"/>
                      </a:lnTo>
                      <a:lnTo>
                        <a:pt x="111480" y="873293"/>
                      </a:lnTo>
                      <a:lnTo>
                        <a:pt x="113012" y="875151"/>
                      </a:lnTo>
                      <a:lnTo>
                        <a:pt x="112792" y="877457"/>
                      </a:lnTo>
                      <a:lnTo>
                        <a:pt x="111260" y="879926"/>
                      </a:lnTo>
                      <a:lnTo>
                        <a:pt x="110274" y="884555"/>
                      </a:lnTo>
                      <a:lnTo>
                        <a:pt x="107870" y="885330"/>
                      </a:lnTo>
                      <a:lnTo>
                        <a:pt x="105458" y="884091"/>
                      </a:lnTo>
                      <a:lnTo>
                        <a:pt x="102850" y="884523"/>
                      </a:lnTo>
                      <a:lnTo>
                        <a:pt x="100584" y="884816"/>
                      </a:lnTo>
                      <a:lnTo>
                        <a:pt x="97332" y="884955"/>
                      </a:lnTo>
                      <a:lnTo>
                        <a:pt x="93013" y="885558"/>
                      </a:lnTo>
                      <a:lnTo>
                        <a:pt x="90364" y="884865"/>
                      </a:lnTo>
                      <a:lnTo>
                        <a:pt x="90144" y="886568"/>
                      </a:lnTo>
                      <a:lnTo>
                        <a:pt x="90910" y="889494"/>
                      </a:lnTo>
                      <a:lnTo>
                        <a:pt x="96599" y="890423"/>
                      </a:lnTo>
                      <a:lnTo>
                        <a:pt x="101953" y="892127"/>
                      </a:lnTo>
                      <a:lnTo>
                        <a:pt x="103567" y="895240"/>
                      </a:lnTo>
                      <a:lnTo>
                        <a:pt x="105743" y="898769"/>
                      </a:lnTo>
                      <a:lnTo>
                        <a:pt x="107968" y="900961"/>
                      </a:lnTo>
                      <a:lnTo>
                        <a:pt x="108074" y="904522"/>
                      </a:lnTo>
                      <a:lnTo>
                        <a:pt x="104577" y="908247"/>
                      </a:lnTo>
                      <a:lnTo>
                        <a:pt x="104137" y="910887"/>
                      </a:lnTo>
                      <a:lnTo>
                        <a:pt x="99541" y="911653"/>
                      </a:lnTo>
                      <a:lnTo>
                        <a:pt x="98229" y="913210"/>
                      </a:lnTo>
                      <a:lnTo>
                        <a:pt x="97569" y="918344"/>
                      </a:lnTo>
                      <a:lnTo>
                        <a:pt x="98115" y="922387"/>
                      </a:lnTo>
                      <a:lnTo>
                        <a:pt x="99867" y="923788"/>
                      </a:lnTo>
                      <a:lnTo>
                        <a:pt x="101073" y="926437"/>
                      </a:lnTo>
                      <a:lnTo>
                        <a:pt x="99761" y="929550"/>
                      </a:lnTo>
                      <a:lnTo>
                        <a:pt x="96664" y="931710"/>
                      </a:lnTo>
                      <a:lnTo>
                        <a:pt x="95018" y="933747"/>
                      </a:lnTo>
                      <a:lnTo>
                        <a:pt x="96053" y="935385"/>
                      </a:lnTo>
                      <a:lnTo>
                        <a:pt x="97455" y="937969"/>
                      </a:lnTo>
                      <a:lnTo>
                        <a:pt x="97838" y="939387"/>
                      </a:lnTo>
                      <a:lnTo>
                        <a:pt x="98604" y="943217"/>
                      </a:lnTo>
                      <a:lnTo>
                        <a:pt x="99492" y="948555"/>
                      </a:lnTo>
                      <a:lnTo>
                        <a:pt x="99378" y="951147"/>
                      </a:lnTo>
                      <a:lnTo>
                        <a:pt x="98555" y="953070"/>
                      </a:lnTo>
                      <a:lnTo>
                        <a:pt x="95491" y="956118"/>
                      </a:lnTo>
                      <a:lnTo>
                        <a:pt x="93412" y="957528"/>
                      </a:lnTo>
                      <a:lnTo>
                        <a:pt x="93005" y="961277"/>
                      </a:lnTo>
                      <a:lnTo>
                        <a:pt x="92850" y="964105"/>
                      </a:lnTo>
                      <a:lnTo>
                        <a:pt x="93070" y="966648"/>
                      </a:lnTo>
                      <a:lnTo>
                        <a:pt x="94407" y="968669"/>
                      </a:lnTo>
                      <a:lnTo>
                        <a:pt x="94292" y="970714"/>
                      </a:lnTo>
                      <a:lnTo>
                        <a:pt x="92467" y="971155"/>
                      </a:lnTo>
                      <a:lnTo>
                        <a:pt x="90902" y="972141"/>
                      </a:lnTo>
                      <a:lnTo>
                        <a:pt x="89370" y="975751"/>
                      </a:lnTo>
                      <a:lnTo>
                        <a:pt x="84920" y="979443"/>
                      </a:lnTo>
                      <a:lnTo>
                        <a:pt x="83355" y="981106"/>
                      </a:lnTo>
                      <a:lnTo>
                        <a:pt x="83470" y="983933"/>
                      </a:lnTo>
                      <a:lnTo>
                        <a:pt x="81709" y="987992"/>
                      </a:lnTo>
                      <a:lnTo>
                        <a:pt x="80226" y="991537"/>
                      </a:lnTo>
                      <a:lnTo>
                        <a:pt x="79093" y="994829"/>
                      </a:lnTo>
                      <a:lnTo>
                        <a:pt x="79313" y="998309"/>
                      </a:lnTo>
                      <a:lnTo>
                        <a:pt x="81823" y="999841"/>
                      </a:lnTo>
                      <a:lnTo>
                        <a:pt x="83804" y="1003215"/>
                      </a:lnTo>
                      <a:lnTo>
                        <a:pt x="84676" y="1007486"/>
                      </a:lnTo>
                      <a:lnTo>
                        <a:pt x="83144" y="1012409"/>
                      </a:lnTo>
                      <a:lnTo>
                        <a:pt x="79590" y="1014267"/>
                      </a:lnTo>
                      <a:lnTo>
                        <a:pt x="77480" y="1016353"/>
                      </a:lnTo>
                      <a:lnTo>
                        <a:pt x="76852" y="1017934"/>
                      </a:lnTo>
                      <a:lnTo>
                        <a:pt x="77406" y="1023093"/>
                      </a:lnTo>
                      <a:lnTo>
                        <a:pt x="77260" y="1025513"/>
                      </a:lnTo>
                      <a:lnTo>
                        <a:pt x="76705" y="1027795"/>
                      </a:lnTo>
                      <a:lnTo>
                        <a:pt x="75793" y="1029556"/>
                      </a:lnTo>
                      <a:lnTo>
                        <a:pt x="73877" y="1031528"/>
                      </a:lnTo>
                      <a:lnTo>
                        <a:pt x="70479" y="1033256"/>
                      </a:lnTo>
                      <a:lnTo>
                        <a:pt x="67594" y="1034445"/>
                      </a:lnTo>
                      <a:lnTo>
                        <a:pt x="66306" y="1035806"/>
                      </a:lnTo>
                      <a:lnTo>
                        <a:pt x="64798" y="1038789"/>
                      </a:lnTo>
                      <a:lnTo>
                        <a:pt x="63446" y="1042090"/>
                      </a:lnTo>
                      <a:lnTo>
                        <a:pt x="63788" y="1046173"/>
                      </a:lnTo>
                      <a:lnTo>
                        <a:pt x="55695" y="1046654"/>
                      </a:lnTo>
                      <a:lnTo>
                        <a:pt x="55149" y="1049685"/>
                      </a:lnTo>
                      <a:lnTo>
                        <a:pt x="53405" y="1052089"/>
                      </a:lnTo>
                      <a:lnTo>
                        <a:pt x="52851" y="1056417"/>
                      </a:lnTo>
                      <a:lnTo>
                        <a:pt x="54636" y="1060598"/>
                      </a:lnTo>
                      <a:lnTo>
                        <a:pt x="55475" y="1064111"/>
                      </a:lnTo>
                      <a:lnTo>
                        <a:pt x="54033" y="1068357"/>
                      </a:lnTo>
                      <a:lnTo>
                        <a:pt x="54554" y="1072692"/>
                      </a:lnTo>
                      <a:lnTo>
                        <a:pt x="54717" y="1076172"/>
                      </a:lnTo>
                      <a:lnTo>
                        <a:pt x="57562" y="1080035"/>
                      </a:lnTo>
                      <a:lnTo>
                        <a:pt x="59420" y="1084811"/>
                      </a:lnTo>
                      <a:lnTo>
                        <a:pt x="60349" y="1088853"/>
                      </a:lnTo>
                      <a:lnTo>
                        <a:pt x="60911" y="1092007"/>
                      </a:lnTo>
                      <a:lnTo>
                        <a:pt x="61653" y="1093914"/>
                      </a:lnTo>
                      <a:lnTo>
                        <a:pt x="62818" y="1096082"/>
                      </a:lnTo>
                      <a:lnTo>
                        <a:pt x="63348" y="1098592"/>
                      </a:lnTo>
                      <a:lnTo>
                        <a:pt x="65100" y="1099407"/>
                      </a:lnTo>
                      <a:lnTo>
                        <a:pt x="68246" y="1097068"/>
                      </a:lnTo>
                      <a:lnTo>
                        <a:pt x="70463" y="1095479"/>
                      </a:lnTo>
                      <a:lnTo>
                        <a:pt x="72011" y="1094916"/>
                      </a:lnTo>
                      <a:lnTo>
                        <a:pt x="76559" y="1095283"/>
                      </a:lnTo>
                      <a:lnTo>
                        <a:pt x="79297" y="1093808"/>
                      </a:lnTo>
                      <a:lnTo>
                        <a:pt x="80528" y="1093963"/>
                      </a:lnTo>
                      <a:lnTo>
                        <a:pt x="82206" y="1094802"/>
                      </a:lnTo>
                      <a:lnTo>
                        <a:pt x="83510" y="1096538"/>
                      </a:lnTo>
                      <a:lnTo>
                        <a:pt x="84497" y="1100491"/>
                      </a:lnTo>
                      <a:lnTo>
                        <a:pt x="85091" y="1104924"/>
                      </a:lnTo>
                      <a:lnTo>
                        <a:pt x="84325" y="1109447"/>
                      </a:lnTo>
                      <a:lnTo>
                        <a:pt x="83038" y="1110425"/>
                      </a:lnTo>
                      <a:lnTo>
                        <a:pt x="82598" y="1111721"/>
                      </a:lnTo>
                      <a:lnTo>
                        <a:pt x="83038" y="1114484"/>
                      </a:lnTo>
                      <a:lnTo>
                        <a:pt x="84464" y="1116424"/>
                      </a:lnTo>
                      <a:lnTo>
                        <a:pt x="84423" y="1119219"/>
                      </a:lnTo>
                      <a:lnTo>
                        <a:pt x="82858" y="1125535"/>
                      </a:lnTo>
                      <a:lnTo>
                        <a:pt x="81840" y="1128135"/>
                      </a:lnTo>
                      <a:lnTo>
                        <a:pt x="83657" y="1131060"/>
                      </a:lnTo>
                      <a:lnTo>
                        <a:pt x="85279" y="1133685"/>
                      </a:lnTo>
                      <a:lnTo>
                        <a:pt x="88555" y="1135633"/>
                      </a:lnTo>
                      <a:lnTo>
                        <a:pt x="91252" y="1138395"/>
                      </a:lnTo>
                      <a:lnTo>
                        <a:pt x="93111" y="1140677"/>
                      </a:lnTo>
                      <a:lnTo>
                        <a:pt x="92671" y="1143774"/>
                      </a:lnTo>
                      <a:lnTo>
                        <a:pt x="93966" y="1144720"/>
                      </a:lnTo>
                      <a:lnTo>
                        <a:pt x="98978" y="1144785"/>
                      </a:lnTo>
                      <a:lnTo>
                        <a:pt x="106468" y="1144883"/>
                      </a:lnTo>
                      <a:lnTo>
                        <a:pt x="118163" y="1145045"/>
                      </a:lnTo>
                      <a:lnTo>
                        <a:pt x="129581" y="1145201"/>
                      </a:lnTo>
                      <a:lnTo>
                        <a:pt x="142539" y="1145412"/>
                      </a:lnTo>
                      <a:lnTo>
                        <a:pt x="148676" y="1147914"/>
                      </a:lnTo>
                      <a:lnTo>
                        <a:pt x="154242" y="1150163"/>
                      </a:lnTo>
                      <a:lnTo>
                        <a:pt x="161234" y="1150163"/>
                      </a:lnTo>
                      <a:lnTo>
                        <a:pt x="168227" y="1152845"/>
                      </a:lnTo>
                      <a:lnTo>
                        <a:pt x="173418" y="1154597"/>
                      </a:lnTo>
                      <a:lnTo>
                        <a:pt x="176531" y="1155257"/>
                      </a:lnTo>
                      <a:lnTo>
                        <a:pt x="179718" y="1155893"/>
                      </a:lnTo>
                      <a:lnTo>
                        <a:pt x="180158" y="1158354"/>
                      </a:lnTo>
                      <a:lnTo>
                        <a:pt x="166173" y="1154858"/>
                      </a:lnTo>
                      <a:lnTo>
                        <a:pt x="163035" y="1152959"/>
                      </a:lnTo>
                      <a:lnTo>
                        <a:pt x="160379" y="1152747"/>
                      </a:lnTo>
                      <a:lnTo>
                        <a:pt x="155277" y="1155119"/>
                      </a:lnTo>
                      <a:lnTo>
                        <a:pt x="152457" y="1160774"/>
                      </a:lnTo>
                      <a:lnTo>
                        <a:pt x="150974" y="1162372"/>
                      </a:lnTo>
                      <a:lnTo>
                        <a:pt x="147429" y="1163896"/>
                      </a:lnTo>
                      <a:lnTo>
                        <a:pt x="143859" y="1164198"/>
                      </a:lnTo>
                      <a:lnTo>
                        <a:pt x="131855" y="1169674"/>
                      </a:lnTo>
                      <a:lnTo>
                        <a:pt x="127592" y="1170155"/>
                      </a:lnTo>
                      <a:lnTo>
                        <a:pt x="124691" y="1171614"/>
                      </a:lnTo>
                      <a:lnTo>
                        <a:pt x="121839" y="1173708"/>
                      </a:lnTo>
                      <a:lnTo>
                        <a:pt x="120747" y="1178223"/>
                      </a:lnTo>
                      <a:lnTo>
                        <a:pt x="121186" y="1180978"/>
                      </a:lnTo>
                      <a:lnTo>
                        <a:pt x="117943" y="1190839"/>
                      </a:lnTo>
                      <a:lnTo>
                        <a:pt x="117144" y="1196332"/>
                      </a:lnTo>
                      <a:lnTo>
                        <a:pt x="117120" y="1199143"/>
                      </a:lnTo>
                      <a:lnTo>
                        <a:pt x="118049" y="1203731"/>
                      </a:lnTo>
                      <a:lnTo>
                        <a:pt x="116859" y="1211588"/>
                      </a:lnTo>
                      <a:lnTo>
                        <a:pt x="114699" y="1213291"/>
                      </a:lnTo>
                      <a:lnTo>
                        <a:pt x="109370" y="1215500"/>
                      </a:lnTo>
                      <a:lnTo>
                        <a:pt x="105743" y="1213903"/>
                      </a:lnTo>
                      <a:lnTo>
                        <a:pt x="99549" y="1212476"/>
                      </a:lnTo>
                      <a:lnTo>
                        <a:pt x="95132" y="1209453"/>
                      </a:lnTo>
                      <a:lnTo>
                        <a:pt x="89452" y="1207309"/>
                      </a:lnTo>
                      <a:lnTo>
                        <a:pt x="87626" y="1206054"/>
                      </a:lnTo>
                      <a:lnTo>
                        <a:pt x="82606" y="1199991"/>
                      </a:lnTo>
                      <a:lnTo>
                        <a:pt x="82076" y="1198002"/>
                      </a:lnTo>
                      <a:lnTo>
                        <a:pt x="81709" y="1195460"/>
                      </a:lnTo>
                      <a:lnTo>
                        <a:pt x="84358" y="1191850"/>
                      </a:lnTo>
                      <a:lnTo>
                        <a:pt x="85784" y="1191581"/>
                      </a:lnTo>
                      <a:lnTo>
                        <a:pt x="89941" y="1191694"/>
                      </a:lnTo>
                      <a:lnTo>
                        <a:pt x="93396" y="1191116"/>
                      </a:lnTo>
                      <a:lnTo>
                        <a:pt x="95605" y="1193047"/>
                      </a:lnTo>
                      <a:lnTo>
                        <a:pt x="96216" y="1197277"/>
                      </a:lnTo>
                      <a:lnTo>
                        <a:pt x="95246" y="1199526"/>
                      </a:lnTo>
                      <a:lnTo>
                        <a:pt x="94366" y="1200920"/>
                      </a:lnTo>
                      <a:lnTo>
                        <a:pt x="94643" y="1201971"/>
                      </a:lnTo>
                      <a:lnTo>
                        <a:pt x="97129" y="1200513"/>
                      </a:lnTo>
                      <a:lnTo>
                        <a:pt x="98392" y="1191051"/>
                      </a:lnTo>
                      <a:lnTo>
                        <a:pt x="106835" y="1186365"/>
                      </a:lnTo>
                      <a:lnTo>
                        <a:pt x="109598" y="1183610"/>
                      </a:lnTo>
                      <a:lnTo>
                        <a:pt x="112295" y="1179388"/>
                      </a:lnTo>
                      <a:lnTo>
                        <a:pt x="112711" y="1178174"/>
                      </a:lnTo>
                      <a:lnTo>
                        <a:pt x="112923" y="1176593"/>
                      </a:lnTo>
                      <a:lnTo>
                        <a:pt x="111130" y="1175289"/>
                      </a:lnTo>
                      <a:lnTo>
                        <a:pt x="107145" y="1173553"/>
                      </a:lnTo>
                      <a:lnTo>
                        <a:pt x="94488" y="1182420"/>
                      </a:lnTo>
                      <a:lnTo>
                        <a:pt x="88751" y="1184767"/>
                      </a:lnTo>
                      <a:lnTo>
                        <a:pt x="85059" y="1187310"/>
                      </a:lnTo>
                      <a:lnTo>
                        <a:pt x="80585" y="1191882"/>
                      </a:lnTo>
                      <a:lnTo>
                        <a:pt x="79737" y="1193251"/>
                      </a:lnTo>
                      <a:lnTo>
                        <a:pt x="78792" y="1196291"/>
                      </a:lnTo>
                      <a:lnTo>
                        <a:pt x="78335" y="1199616"/>
                      </a:lnTo>
                      <a:lnTo>
                        <a:pt x="73926" y="1198092"/>
                      </a:lnTo>
                      <a:lnTo>
                        <a:pt x="67187" y="1193243"/>
                      </a:lnTo>
                      <a:lnTo>
                        <a:pt x="65834" y="1191466"/>
                      </a:lnTo>
                      <a:lnTo>
                        <a:pt x="67187" y="1188980"/>
                      </a:lnTo>
                      <a:lnTo>
                        <a:pt x="69240" y="1186911"/>
                      </a:lnTo>
                      <a:lnTo>
                        <a:pt x="69379" y="1179983"/>
                      </a:lnTo>
                      <a:lnTo>
                        <a:pt x="69892" y="1177555"/>
                      </a:lnTo>
                      <a:lnTo>
                        <a:pt x="71310" y="1175607"/>
                      </a:lnTo>
                      <a:lnTo>
                        <a:pt x="73894" y="1173463"/>
                      </a:lnTo>
                      <a:lnTo>
                        <a:pt x="75173" y="1172967"/>
                      </a:lnTo>
                      <a:lnTo>
                        <a:pt x="76265" y="1173896"/>
                      </a:lnTo>
                      <a:lnTo>
                        <a:pt x="76404" y="1175525"/>
                      </a:lnTo>
                      <a:lnTo>
                        <a:pt x="80699" y="1175411"/>
                      </a:lnTo>
                      <a:lnTo>
                        <a:pt x="89028" y="1169266"/>
                      </a:lnTo>
                      <a:lnTo>
                        <a:pt x="92459" y="1169120"/>
                      </a:lnTo>
                      <a:lnTo>
                        <a:pt x="96982" y="1170489"/>
                      </a:lnTo>
                      <a:lnTo>
                        <a:pt x="102084" y="1169666"/>
                      </a:lnTo>
                      <a:lnTo>
                        <a:pt x="103005" y="1169046"/>
                      </a:lnTo>
                      <a:lnTo>
                        <a:pt x="104064" y="1167604"/>
                      </a:lnTo>
                      <a:lnTo>
                        <a:pt x="100258" y="1165917"/>
                      </a:lnTo>
                      <a:lnTo>
                        <a:pt x="96615" y="1165061"/>
                      </a:lnTo>
                      <a:lnTo>
                        <a:pt x="86346" y="1164466"/>
                      </a:lnTo>
                      <a:lnTo>
                        <a:pt x="84121" y="1165126"/>
                      </a:lnTo>
                      <a:lnTo>
                        <a:pt x="81090" y="1168378"/>
                      </a:lnTo>
                      <a:lnTo>
                        <a:pt x="80079" y="1167547"/>
                      </a:lnTo>
                      <a:lnTo>
                        <a:pt x="79427" y="1165917"/>
                      </a:lnTo>
                      <a:lnTo>
                        <a:pt x="75947" y="1164752"/>
                      </a:lnTo>
                      <a:lnTo>
                        <a:pt x="74277" y="1164996"/>
                      </a:lnTo>
                      <a:lnTo>
                        <a:pt x="72679" y="1166553"/>
                      </a:lnTo>
                      <a:lnTo>
                        <a:pt x="72940" y="1168981"/>
                      </a:lnTo>
                      <a:lnTo>
                        <a:pt x="72052" y="1171589"/>
                      </a:lnTo>
                      <a:lnTo>
                        <a:pt x="68833" y="1174164"/>
                      </a:lnTo>
                      <a:lnTo>
                        <a:pt x="66632" y="1178272"/>
                      </a:lnTo>
                      <a:lnTo>
                        <a:pt x="66738" y="1181475"/>
                      </a:lnTo>
                      <a:lnTo>
                        <a:pt x="66567" y="1183145"/>
                      </a:lnTo>
                      <a:lnTo>
                        <a:pt x="65760" y="1184034"/>
                      </a:lnTo>
                      <a:lnTo>
                        <a:pt x="64098" y="1185085"/>
                      </a:lnTo>
                      <a:lnTo>
                        <a:pt x="58743" y="1184360"/>
                      </a:lnTo>
                      <a:lnTo>
                        <a:pt x="55728" y="1181010"/>
                      </a:lnTo>
                      <a:lnTo>
                        <a:pt x="54546" y="1178720"/>
                      </a:lnTo>
                      <a:lnTo>
                        <a:pt x="51132" y="1176226"/>
                      </a:lnTo>
                      <a:lnTo>
                        <a:pt x="58556" y="1173138"/>
                      </a:lnTo>
                      <a:lnTo>
                        <a:pt x="61164" y="1171385"/>
                      </a:lnTo>
                      <a:lnTo>
                        <a:pt x="63543" y="1167466"/>
                      </a:lnTo>
                      <a:lnTo>
                        <a:pt x="65320" y="1164972"/>
                      </a:lnTo>
                      <a:lnTo>
                        <a:pt x="64065" y="1163211"/>
                      </a:lnTo>
                      <a:lnTo>
                        <a:pt x="62582" y="1163211"/>
                      </a:lnTo>
                      <a:lnTo>
                        <a:pt x="62720" y="1165998"/>
                      </a:lnTo>
                      <a:lnTo>
                        <a:pt x="61082" y="1168288"/>
                      </a:lnTo>
                      <a:lnTo>
                        <a:pt x="57667" y="1167204"/>
                      </a:lnTo>
                      <a:lnTo>
                        <a:pt x="52615" y="1170578"/>
                      </a:lnTo>
                      <a:lnTo>
                        <a:pt x="49518" y="1169674"/>
                      </a:lnTo>
                      <a:lnTo>
                        <a:pt x="44465" y="1170676"/>
                      </a:lnTo>
                      <a:lnTo>
                        <a:pt x="41987" y="1168843"/>
                      </a:lnTo>
                      <a:lnTo>
                        <a:pt x="41458" y="1166536"/>
                      </a:lnTo>
                      <a:lnTo>
                        <a:pt x="42346" y="1164140"/>
                      </a:lnTo>
                      <a:lnTo>
                        <a:pt x="41417" y="1160058"/>
                      </a:lnTo>
                      <a:lnTo>
                        <a:pt x="40023" y="1159055"/>
                      </a:lnTo>
                      <a:lnTo>
                        <a:pt x="38605" y="1159291"/>
                      </a:lnTo>
                      <a:lnTo>
                        <a:pt x="37961" y="1156871"/>
                      </a:lnTo>
                      <a:lnTo>
                        <a:pt x="36429" y="1152600"/>
                      </a:lnTo>
                      <a:lnTo>
                        <a:pt x="35753" y="1151443"/>
                      </a:lnTo>
                      <a:lnTo>
                        <a:pt x="35019" y="1149462"/>
                      </a:lnTo>
                      <a:lnTo>
                        <a:pt x="35777" y="1148973"/>
                      </a:lnTo>
                      <a:lnTo>
                        <a:pt x="37513" y="1149536"/>
                      </a:lnTo>
                      <a:lnTo>
                        <a:pt x="39037" y="1150815"/>
                      </a:lnTo>
                      <a:lnTo>
                        <a:pt x="41352" y="1150987"/>
                      </a:lnTo>
                      <a:lnTo>
                        <a:pt x="46454" y="1153766"/>
                      </a:lnTo>
                      <a:lnTo>
                        <a:pt x="48572" y="1153098"/>
                      </a:lnTo>
                      <a:lnTo>
                        <a:pt x="49722" y="1152462"/>
                      </a:lnTo>
                      <a:lnTo>
                        <a:pt x="50153" y="1150163"/>
                      </a:lnTo>
                      <a:lnTo>
                        <a:pt x="50178" y="1147971"/>
                      </a:lnTo>
                      <a:lnTo>
                        <a:pt x="51050" y="1147971"/>
                      </a:lnTo>
                      <a:lnTo>
                        <a:pt x="53943" y="1150775"/>
                      </a:lnTo>
                      <a:lnTo>
                        <a:pt x="55785" y="1150506"/>
                      </a:lnTo>
                      <a:lnTo>
                        <a:pt x="59037" y="1151247"/>
                      </a:lnTo>
                      <a:lnTo>
                        <a:pt x="60683" y="1150938"/>
                      </a:lnTo>
                      <a:lnTo>
                        <a:pt x="63739" y="1149903"/>
                      </a:lnTo>
                      <a:lnTo>
                        <a:pt x="68539" y="1146830"/>
                      </a:lnTo>
                      <a:lnTo>
                        <a:pt x="71033" y="1143644"/>
                      </a:lnTo>
                      <a:lnTo>
                        <a:pt x="72231" y="1143220"/>
                      </a:lnTo>
                      <a:lnTo>
                        <a:pt x="73706" y="1143627"/>
                      </a:lnTo>
                      <a:lnTo>
                        <a:pt x="74701" y="1144532"/>
                      </a:lnTo>
                      <a:lnTo>
                        <a:pt x="74709" y="1146749"/>
                      </a:lnTo>
                      <a:lnTo>
                        <a:pt x="75833" y="1148794"/>
                      </a:lnTo>
                      <a:lnTo>
                        <a:pt x="77366" y="1150457"/>
                      </a:lnTo>
                      <a:lnTo>
                        <a:pt x="77789" y="1152494"/>
                      </a:lnTo>
                      <a:lnTo>
                        <a:pt x="77471" y="1154524"/>
                      </a:lnTo>
                      <a:lnTo>
                        <a:pt x="74741" y="1157344"/>
                      </a:lnTo>
                      <a:lnTo>
                        <a:pt x="74236" y="1158322"/>
                      </a:lnTo>
                      <a:lnTo>
                        <a:pt x="75149" y="1159365"/>
                      </a:lnTo>
                      <a:lnTo>
                        <a:pt x="76282" y="1158876"/>
                      </a:lnTo>
                      <a:lnTo>
                        <a:pt x="77838" y="1157465"/>
                      </a:lnTo>
                      <a:lnTo>
                        <a:pt x="78726" y="1155567"/>
                      </a:lnTo>
                      <a:lnTo>
                        <a:pt x="78963" y="1154564"/>
                      </a:lnTo>
                      <a:lnTo>
                        <a:pt x="79060" y="1153138"/>
                      </a:lnTo>
                      <a:lnTo>
                        <a:pt x="78947" y="1151402"/>
                      </a:lnTo>
                      <a:lnTo>
                        <a:pt x="76730" y="1146456"/>
                      </a:lnTo>
                      <a:lnTo>
                        <a:pt x="76453" y="1145339"/>
                      </a:lnTo>
                      <a:lnTo>
                        <a:pt x="76453" y="1143106"/>
                      </a:lnTo>
                      <a:lnTo>
                        <a:pt x="78971" y="1141044"/>
                      </a:lnTo>
                      <a:lnTo>
                        <a:pt x="79688" y="1139446"/>
                      </a:lnTo>
                      <a:lnTo>
                        <a:pt x="79794" y="1136334"/>
                      </a:lnTo>
                      <a:lnTo>
                        <a:pt x="78482" y="1134207"/>
                      </a:lnTo>
                      <a:lnTo>
                        <a:pt x="73062" y="1129292"/>
                      </a:lnTo>
                      <a:lnTo>
                        <a:pt x="63992" y="1124370"/>
                      </a:lnTo>
                      <a:lnTo>
                        <a:pt x="62949" y="1124875"/>
                      </a:lnTo>
                      <a:lnTo>
                        <a:pt x="62248" y="1125771"/>
                      </a:lnTo>
                      <a:lnTo>
                        <a:pt x="63087" y="1126407"/>
                      </a:lnTo>
                      <a:lnTo>
                        <a:pt x="64285" y="1126741"/>
                      </a:lnTo>
                      <a:lnTo>
                        <a:pt x="72361" y="1130800"/>
                      </a:lnTo>
                      <a:lnTo>
                        <a:pt x="74472" y="1133147"/>
                      </a:lnTo>
                      <a:lnTo>
                        <a:pt x="75850" y="1133783"/>
                      </a:lnTo>
                      <a:lnTo>
                        <a:pt x="77471" y="1135339"/>
                      </a:lnTo>
                      <a:lnTo>
                        <a:pt x="77056" y="1137621"/>
                      </a:lnTo>
                      <a:lnTo>
                        <a:pt x="68914" y="1139870"/>
                      </a:lnTo>
                      <a:lnTo>
                        <a:pt x="62460" y="1144711"/>
                      </a:lnTo>
                      <a:lnTo>
                        <a:pt x="57635" y="1147645"/>
                      </a:lnTo>
                      <a:lnTo>
                        <a:pt x="54285" y="1146577"/>
                      </a:lnTo>
                      <a:lnTo>
                        <a:pt x="52696" y="1143578"/>
                      </a:lnTo>
                      <a:lnTo>
                        <a:pt x="51009" y="1139723"/>
                      </a:lnTo>
                      <a:lnTo>
                        <a:pt x="48475" y="1137483"/>
                      </a:lnTo>
                      <a:lnTo>
                        <a:pt x="47040" y="1137694"/>
                      </a:lnTo>
                      <a:lnTo>
                        <a:pt x="45867" y="1137279"/>
                      </a:lnTo>
                      <a:lnTo>
                        <a:pt x="44954" y="1136081"/>
                      </a:lnTo>
                      <a:lnTo>
                        <a:pt x="42990" y="1137067"/>
                      </a:lnTo>
                      <a:lnTo>
                        <a:pt x="38703" y="1134402"/>
                      </a:lnTo>
                      <a:lnTo>
                        <a:pt x="37456" y="1133237"/>
                      </a:lnTo>
                      <a:lnTo>
                        <a:pt x="40610" y="1129463"/>
                      </a:lnTo>
                      <a:lnTo>
                        <a:pt x="44074" y="1130914"/>
                      </a:lnTo>
                      <a:lnTo>
                        <a:pt x="44921" y="1120352"/>
                      </a:lnTo>
                      <a:lnTo>
                        <a:pt x="43846" y="1117947"/>
                      </a:lnTo>
                      <a:lnTo>
                        <a:pt x="39339" y="1115340"/>
                      </a:lnTo>
                      <a:lnTo>
                        <a:pt x="37122" y="1115682"/>
                      </a:lnTo>
                      <a:lnTo>
                        <a:pt x="34098" y="1115324"/>
                      </a:lnTo>
                      <a:lnTo>
                        <a:pt x="32061" y="1114125"/>
                      </a:lnTo>
                      <a:lnTo>
                        <a:pt x="29739" y="1113653"/>
                      </a:lnTo>
                      <a:lnTo>
                        <a:pt x="27774" y="1112952"/>
                      </a:lnTo>
                      <a:lnTo>
                        <a:pt x="25215" y="1111330"/>
                      </a:lnTo>
                      <a:lnTo>
                        <a:pt x="22126" y="1110466"/>
                      </a:lnTo>
                      <a:lnTo>
                        <a:pt x="17946" y="1103791"/>
                      </a:lnTo>
                      <a:lnTo>
                        <a:pt x="16153" y="1100279"/>
                      </a:lnTo>
                      <a:lnTo>
                        <a:pt x="15175" y="1096457"/>
                      </a:lnTo>
                      <a:lnTo>
                        <a:pt x="21572" y="1096359"/>
                      </a:lnTo>
                      <a:lnTo>
                        <a:pt x="25313" y="1095748"/>
                      </a:lnTo>
                      <a:lnTo>
                        <a:pt x="26226" y="1094150"/>
                      </a:lnTo>
                      <a:lnTo>
                        <a:pt x="24906" y="1091119"/>
                      </a:lnTo>
                      <a:lnTo>
                        <a:pt x="23072" y="1088722"/>
                      </a:lnTo>
                      <a:lnTo>
                        <a:pt x="24417" y="1086482"/>
                      </a:lnTo>
                      <a:lnTo>
                        <a:pt x="26332" y="1084738"/>
                      </a:lnTo>
                      <a:lnTo>
                        <a:pt x="28320" y="1085504"/>
                      </a:lnTo>
                      <a:lnTo>
                        <a:pt x="33243" y="1089375"/>
                      </a:lnTo>
                      <a:lnTo>
                        <a:pt x="34090" y="1092007"/>
                      </a:lnTo>
                      <a:lnTo>
                        <a:pt x="37595" y="1100010"/>
                      </a:lnTo>
                      <a:lnTo>
                        <a:pt x="38442" y="1100727"/>
                      </a:lnTo>
                      <a:lnTo>
                        <a:pt x="38858" y="1101461"/>
                      </a:lnTo>
                      <a:lnTo>
                        <a:pt x="46103" y="1105960"/>
                      </a:lnTo>
                      <a:lnTo>
                        <a:pt x="47114" y="1105894"/>
                      </a:lnTo>
                      <a:lnTo>
                        <a:pt x="46665" y="1102129"/>
                      </a:lnTo>
                      <a:lnTo>
                        <a:pt x="48752" y="1097035"/>
                      </a:lnTo>
                      <a:lnTo>
                        <a:pt x="50773" y="1095340"/>
                      </a:lnTo>
                      <a:lnTo>
                        <a:pt x="51792" y="1095365"/>
                      </a:lnTo>
                      <a:lnTo>
                        <a:pt x="51889" y="1094509"/>
                      </a:lnTo>
                      <a:lnTo>
                        <a:pt x="49925" y="1092382"/>
                      </a:lnTo>
                      <a:lnTo>
                        <a:pt x="50887" y="1089554"/>
                      </a:lnTo>
                      <a:lnTo>
                        <a:pt x="50251" y="1089464"/>
                      </a:lnTo>
                      <a:lnTo>
                        <a:pt x="48507" y="1091282"/>
                      </a:lnTo>
                      <a:lnTo>
                        <a:pt x="45003" y="1100190"/>
                      </a:lnTo>
                      <a:lnTo>
                        <a:pt x="42859" y="1101811"/>
                      </a:lnTo>
                      <a:lnTo>
                        <a:pt x="39909" y="1097785"/>
                      </a:lnTo>
                      <a:lnTo>
                        <a:pt x="38239" y="1094876"/>
                      </a:lnTo>
                      <a:lnTo>
                        <a:pt x="37415" y="1093849"/>
                      </a:lnTo>
                      <a:lnTo>
                        <a:pt x="37709" y="1089285"/>
                      </a:lnTo>
                      <a:lnTo>
                        <a:pt x="43536" y="1090206"/>
                      </a:lnTo>
                      <a:lnTo>
                        <a:pt x="41539" y="1088707"/>
                      </a:lnTo>
                      <a:lnTo>
                        <a:pt x="34734" y="1086082"/>
                      </a:lnTo>
                      <a:lnTo>
                        <a:pt x="33039" y="1084811"/>
                      </a:lnTo>
                      <a:lnTo>
                        <a:pt x="31776" y="1084330"/>
                      </a:lnTo>
                      <a:lnTo>
                        <a:pt x="29510" y="1081241"/>
                      </a:lnTo>
                      <a:lnTo>
                        <a:pt x="26699" y="1078641"/>
                      </a:lnTo>
                      <a:lnTo>
                        <a:pt x="31548" y="1073931"/>
                      </a:lnTo>
                      <a:lnTo>
                        <a:pt x="34033" y="1070630"/>
                      </a:lnTo>
                      <a:lnTo>
                        <a:pt x="41833" y="1072399"/>
                      </a:lnTo>
                      <a:lnTo>
                        <a:pt x="43348" y="1071372"/>
                      </a:lnTo>
                      <a:lnTo>
                        <a:pt x="42036" y="1068959"/>
                      </a:lnTo>
                      <a:lnTo>
                        <a:pt x="40504" y="1069693"/>
                      </a:lnTo>
                      <a:lnTo>
                        <a:pt x="38076" y="1068177"/>
                      </a:lnTo>
                      <a:lnTo>
                        <a:pt x="34294" y="1063670"/>
                      </a:lnTo>
                      <a:lnTo>
                        <a:pt x="34424" y="1061372"/>
                      </a:lnTo>
                      <a:lnTo>
                        <a:pt x="35117" y="1057159"/>
                      </a:lnTo>
                      <a:lnTo>
                        <a:pt x="36617" y="1056262"/>
                      </a:lnTo>
                      <a:lnTo>
                        <a:pt x="39803" y="1055390"/>
                      </a:lnTo>
                      <a:lnTo>
                        <a:pt x="43438" y="1056751"/>
                      </a:lnTo>
                      <a:lnTo>
                        <a:pt x="45027" y="1057876"/>
                      </a:lnTo>
                      <a:lnTo>
                        <a:pt x="46388" y="1057346"/>
                      </a:lnTo>
                      <a:lnTo>
                        <a:pt x="45003" y="1054241"/>
                      </a:lnTo>
                      <a:lnTo>
                        <a:pt x="42631" y="1053051"/>
                      </a:lnTo>
                      <a:lnTo>
                        <a:pt x="39991" y="1050827"/>
                      </a:lnTo>
                      <a:lnTo>
                        <a:pt x="40260" y="1048365"/>
                      </a:lnTo>
                      <a:lnTo>
                        <a:pt x="41107" y="1046328"/>
                      </a:lnTo>
                      <a:lnTo>
                        <a:pt x="41751" y="1044103"/>
                      </a:lnTo>
                      <a:lnTo>
                        <a:pt x="42191" y="1040974"/>
                      </a:lnTo>
                      <a:lnTo>
                        <a:pt x="41947" y="1038545"/>
                      </a:lnTo>
                      <a:lnTo>
                        <a:pt x="42705" y="1037428"/>
                      </a:lnTo>
                      <a:lnTo>
                        <a:pt x="43870" y="1036931"/>
                      </a:lnTo>
                      <a:lnTo>
                        <a:pt x="43943" y="1036018"/>
                      </a:lnTo>
                      <a:lnTo>
                        <a:pt x="41645" y="1036198"/>
                      </a:lnTo>
                      <a:lnTo>
                        <a:pt x="40806" y="1039278"/>
                      </a:lnTo>
                      <a:lnTo>
                        <a:pt x="40496" y="1042073"/>
                      </a:lnTo>
                      <a:lnTo>
                        <a:pt x="38858" y="1044315"/>
                      </a:lnTo>
                      <a:lnTo>
                        <a:pt x="38165" y="1046858"/>
                      </a:lnTo>
                      <a:lnTo>
                        <a:pt x="37750" y="1049905"/>
                      </a:lnTo>
                      <a:lnTo>
                        <a:pt x="36837" y="1053394"/>
                      </a:lnTo>
                      <a:lnTo>
                        <a:pt x="34848" y="1052065"/>
                      </a:lnTo>
                      <a:lnTo>
                        <a:pt x="33683" y="1050696"/>
                      </a:lnTo>
                      <a:lnTo>
                        <a:pt x="33235" y="1049775"/>
                      </a:lnTo>
                      <a:lnTo>
                        <a:pt x="33447" y="1047990"/>
                      </a:lnTo>
                      <a:lnTo>
                        <a:pt x="32909" y="1036988"/>
                      </a:lnTo>
                      <a:lnTo>
                        <a:pt x="32860" y="1027811"/>
                      </a:lnTo>
                      <a:lnTo>
                        <a:pt x="33879" y="1020664"/>
                      </a:lnTo>
                      <a:lnTo>
                        <a:pt x="36690" y="1017828"/>
                      </a:lnTo>
                      <a:lnTo>
                        <a:pt x="37961" y="1017005"/>
                      </a:lnTo>
                      <a:lnTo>
                        <a:pt x="39127" y="1017364"/>
                      </a:lnTo>
                      <a:lnTo>
                        <a:pt x="40920" y="1017339"/>
                      </a:lnTo>
                      <a:lnTo>
                        <a:pt x="42110" y="1016312"/>
                      </a:lnTo>
                      <a:lnTo>
                        <a:pt x="38084" y="1014601"/>
                      </a:lnTo>
                      <a:lnTo>
                        <a:pt x="35639" y="1015579"/>
                      </a:lnTo>
                      <a:lnTo>
                        <a:pt x="33830" y="1016932"/>
                      </a:lnTo>
                      <a:lnTo>
                        <a:pt x="30570" y="1015913"/>
                      </a:lnTo>
                      <a:lnTo>
                        <a:pt x="29942" y="1012262"/>
                      </a:lnTo>
                      <a:lnTo>
                        <a:pt x="28011" y="1009083"/>
                      </a:lnTo>
                      <a:lnTo>
                        <a:pt x="27676" y="1005049"/>
                      </a:lnTo>
                      <a:lnTo>
                        <a:pt x="27831" y="999198"/>
                      </a:lnTo>
                      <a:lnTo>
                        <a:pt x="32395" y="999703"/>
                      </a:lnTo>
                      <a:lnTo>
                        <a:pt x="36120" y="1000852"/>
                      </a:lnTo>
                      <a:lnTo>
                        <a:pt x="45965" y="1000755"/>
                      </a:lnTo>
                      <a:lnTo>
                        <a:pt x="54041" y="1006362"/>
                      </a:lnTo>
                      <a:lnTo>
                        <a:pt x="57602" y="1005604"/>
                      </a:lnTo>
                      <a:lnTo>
                        <a:pt x="57439" y="1004471"/>
                      </a:lnTo>
                      <a:lnTo>
                        <a:pt x="54717" y="1003061"/>
                      </a:lnTo>
                      <a:lnTo>
                        <a:pt x="53014" y="999915"/>
                      </a:lnTo>
                      <a:lnTo>
                        <a:pt x="52012" y="999019"/>
                      </a:lnTo>
                      <a:lnTo>
                        <a:pt x="51539" y="997136"/>
                      </a:lnTo>
                      <a:lnTo>
                        <a:pt x="51384" y="994935"/>
                      </a:lnTo>
                      <a:lnTo>
                        <a:pt x="49379" y="986892"/>
                      </a:lnTo>
                      <a:lnTo>
                        <a:pt x="48581" y="987096"/>
                      </a:lnTo>
                      <a:lnTo>
                        <a:pt x="47806" y="989850"/>
                      </a:lnTo>
                      <a:lnTo>
                        <a:pt x="46136" y="994455"/>
                      </a:lnTo>
                      <a:lnTo>
                        <a:pt x="43805" y="996696"/>
                      </a:lnTo>
                      <a:lnTo>
                        <a:pt x="40235" y="997601"/>
                      </a:lnTo>
                      <a:lnTo>
                        <a:pt x="36706" y="998106"/>
                      </a:lnTo>
                      <a:lnTo>
                        <a:pt x="33642" y="997225"/>
                      </a:lnTo>
                      <a:lnTo>
                        <a:pt x="32933" y="995327"/>
                      </a:lnTo>
                      <a:lnTo>
                        <a:pt x="33007" y="993118"/>
                      </a:lnTo>
                      <a:lnTo>
                        <a:pt x="31678" y="992034"/>
                      </a:lnTo>
                      <a:lnTo>
                        <a:pt x="28214" y="991081"/>
                      </a:lnTo>
                      <a:lnTo>
                        <a:pt x="27236" y="990543"/>
                      </a:lnTo>
                      <a:lnTo>
                        <a:pt x="26087" y="988554"/>
                      </a:lnTo>
                      <a:lnTo>
                        <a:pt x="27742" y="985547"/>
                      </a:lnTo>
                      <a:lnTo>
                        <a:pt x="29095" y="983746"/>
                      </a:lnTo>
                      <a:lnTo>
                        <a:pt x="30757" y="984097"/>
                      </a:lnTo>
                      <a:lnTo>
                        <a:pt x="32330" y="984911"/>
                      </a:lnTo>
                      <a:lnTo>
                        <a:pt x="34343" y="987291"/>
                      </a:lnTo>
                      <a:lnTo>
                        <a:pt x="36315" y="987739"/>
                      </a:lnTo>
                      <a:lnTo>
                        <a:pt x="38573" y="985857"/>
                      </a:lnTo>
                      <a:lnTo>
                        <a:pt x="39021" y="984586"/>
                      </a:lnTo>
                      <a:lnTo>
                        <a:pt x="37611" y="983779"/>
                      </a:lnTo>
                      <a:lnTo>
                        <a:pt x="36323" y="983461"/>
                      </a:lnTo>
                      <a:lnTo>
                        <a:pt x="34319" y="982450"/>
                      </a:lnTo>
                      <a:lnTo>
                        <a:pt x="30374" y="978840"/>
                      </a:lnTo>
                      <a:lnTo>
                        <a:pt x="32346" y="975172"/>
                      </a:lnTo>
                      <a:lnTo>
                        <a:pt x="37000" y="970967"/>
                      </a:lnTo>
                      <a:lnTo>
                        <a:pt x="38426" y="970006"/>
                      </a:lnTo>
                      <a:lnTo>
                        <a:pt x="37195" y="966452"/>
                      </a:lnTo>
                      <a:lnTo>
                        <a:pt x="38589" y="962589"/>
                      </a:lnTo>
                      <a:lnTo>
                        <a:pt x="37163" y="959386"/>
                      </a:lnTo>
                      <a:lnTo>
                        <a:pt x="34579" y="955956"/>
                      </a:lnTo>
                      <a:lnTo>
                        <a:pt x="31091" y="955181"/>
                      </a:lnTo>
                      <a:lnTo>
                        <a:pt x="30350" y="956192"/>
                      </a:lnTo>
                      <a:lnTo>
                        <a:pt x="30227" y="957601"/>
                      </a:lnTo>
                      <a:lnTo>
                        <a:pt x="30782" y="958661"/>
                      </a:lnTo>
                      <a:lnTo>
                        <a:pt x="30456" y="959427"/>
                      </a:lnTo>
                      <a:lnTo>
                        <a:pt x="29657" y="959403"/>
                      </a:lnTo>
                      <a:lnTo>
                        <a:pt x="25232" y="958653"/>
                      </a:lnTo>
                      <a:lnTo>
                        <a:pt x="22257" y="956371"/>
                      </a:lnTo>
                      <a:lnTo>
                        <a:pt x="17408" y="954277"/>
                      </a:lnTo>
                      <a:lnTo>
                        <a:pt x="16780" y="952647"/>
                      </a:lnTo>
                      <a:lnTo>
                        <a:pt x="16259" y="950275"/>
                      </a:lnTo>
                      <a:lnTo>
                        <a:pt x="17954" y="946151"/>
                      </a:lnTo>
                      <a:lnTo>
                        <a:pt x="17098" y="946094"/>
                      </a:lnTo>
                      <a:lnTo>
                        <a:pt x="13952" y="949273"/>
                      </a:lnTo>
                      <a:lnTo>
                        <a:pt x="9193" y="950935"/>
                      </a:lnTo>
                      <a:lnTo>
                        <a:pt x="5697" y="951489"/>
                      </a:lnTo>
                      <a:lnTo>
                        <a:pt x="4165" y="952769"/>
                      </a:lnTo>
                      <a:lnTo>
                        <a:pt x="3545" y="953837"/>
                      </a:lnTo>
                      <a:lnTo>
                        <a:pt x="4483" y="954464"/>
                      </a:lnTo>
                      <a:lnTo>
                        <a:pt x="6504" y="954627"/>
                      </a:lnTo>
                      <a:lnTo>
                        <a:pt x="7979" y="958604"/>
                      </a:lnTo>
                      <a:lnTo>
                        <a:pt x="7612" y="960128"/>
                      </a:lnTo>
                      <a:lnTo>
                        <a:pt x="6887" y="961171"/>
                      </a:lnTo>
                      <a:lnTo>
                        <a:pt x="5249" y="961367"/>
                      </a:lnTo>
                      <a:lnTo>
                        <a:pt x="1809" y="958604"/>
                      </a:lnTo>
                      <a:lnTo>
                        <a:pt x="0" y="955475"/>
                      </a:lnTo>
                      <a:lnTo>
                        <a:pt x="33" y="953005"/>
                      </a:lnTo>
                      <a:lnTo>
                        <a:pt x="1263" y="949631"/>
                      </a:lnTo>
                      <a:lnTo>
                        <a:pt x="6715" y="945108"/>
                      </a:lnTo>
                      <a:lnTo>
                        <a:pt x="8223" y="943209"/>
                      </a:lnTo>
                      <a:lnTo>
                        <a:pt x="11418" y="941090"/>
                      </a:lnTo>
                      <a:lnTo>
                        <a:pt x="15688" y="936306"/>
                      </a:lnTo>
                      <a:lnTo>
                        <a:pt x="19421" y="933666"/>
                      </a:lnTo>
                      <a:lnTo>
                        <a:pt x="17603" y="931466"/>
                      </a:lnTo>
                      <a:lnTo>
                        <a:pt x="15696" y="928181"/>
                      </a:lnTo>
                      <a:lnTo>
                        <a:pt x="15884" y="923601"/>
                      </a:lnTo>
                      <a:lnTo>
                        <a:pt x="23414" y="921792"/>
                      </a:lnTo>
                      <a:lnTo>
                        <a:pt x="26707" y="922533"/>
                      </a:lnTo>
                      <a:lnTo>
                        <a:pt x="30863" y="922403"/>
                      </a:lnTo>
                      <a:lnTo>
                        <a:pt x="33194" y="921286"/>
                      </a:lnTo>
                      <a:lnTo>
                        <a:pt x="34881" y="921066"/>
                      </a:lnTo>
                      <a:lnTo>
                        <a:pt x="38434" y="919803"/>
                      </a:lnTo>
                      <a:lnTo>
                        <a:pt x="39966" y="918018"/>
                      </a:lnTo>
                      <a:lnTo>
                        <a:pt x="40325" y="916665"/>
                      </a:lnTo>
                      <a:lnTo>
                        <a:pt x="40309" y="915475"/>
                      </a:lnTo>
                      <a:lnTo>
                        <a:pt x="39893" y="914025"/>
                      </a:lnTo>
                      <a:lnTo>
                        <a:pt x="39306" y="910244"/>
                      </a:lnTo>
                      <a:lnTo>
                        <a:pt x="39901" y="908989"/>
                      </a:lnTo>
                      <a:lnTo>
                        <a:pt x="41425" y="907489"/>
                      </a:lnTo>
                      <a:lnTo>
                        <a:pt x="43422" y="907016"/>
                      </a:lnTo>
                      <a:lnTo>
                        <a:pt x="44335" y="907138"/>
                      </a:lnTo>
                      <a:lnTo>
                        <a:pt x="46698" y="908508"/>
                      </a:lnTo>
                      <a:lnTo>
                        <a:pt x="46225" y="910472"/>
                      </a:lnTo>
                      <a:lnTo>
                        <a:pt x="45280" y="912819"/>
                      </a:lnTo>
                      <a:lnTo>
                        <a:pt x="43340" y="922199"/>
                      </a:lnTo>
                      <a:lnTo>
                        <a:pt x="42371" y="924310"/>
                      </a:lnTo>
                      <a:lnTo>
                        <a:pt x="40838" y="926152"/>
                      </a:lnTo>
                      <a:lnTo>
                        <a:pt x="41857" y="929990"/>
                      </a:lnTo>
                      <a:lnTo>
                        <a:pt x="40333" y="932672"/>
                      </a:lnTo>
                      <a:lnTo>
                        <a:pt x="33503" y="935548"/>
                      </a:lnTo>
                      <a:lnTo>
                        <a:pt x="32607" y="935712"/>
                      </a:lnTo>
                      <a:lnTo>
                        <a:pt x="33113" y="936738"/>
                      </a:lnTo>
                      <a:lnTo>
                        <a:pt x="37065" y="936494"/>
                      </a:lnTo>
                      <a:lnTo>
                        <a:pt x="40129" y="935899"/>
                      </a:lnTo>
                      <a:lnTo>
                        <a:pt x="43161" y="933487"/>
                      </a:lnTo>
                      <a:lnTo>
                        <a:pt x="44107" y="929795"/>
                      </a:lnTo>
                      <a:lnTo>
                        <a:pt x="45361" y="922623"/>
                      </a:lnTo>
                      <a:lnTo>
                        <a:pt x="47008" y="921604"/>
                      </a:lnTo>
                      <a:lnTo>
                        <a:pt x="48923" y="921376"/>
                      </a:lnTo>
                      <a:lnTo>
                        <a:pt x="49925" y="923071"/>
                      </a:lnTo>
                      <a:lnTo>
                        <a:pt x="49599" y="926861"/>
                      </a:lnTo>
                      <a:lnTo>
                        <a:pt x="49591" y="930512"/>
                      </a:lnTo>
                      <a:lnTo>
                        <a:pt x="47048" y="941384"/>
                      </a:lnTo>
                      <a:lnTo>
                        <a:pt x="43960" y="945752"/>
                      </a:lnTo>
                      <a:lnTo>
                        <a:pt x="43617" y="946909"/>
                      </a:lnTo>
                      <a:lnTo>
                        <a:pt x="43740" y="948270"/>
                      </a:lnTo>
                      <a:lnTo>
                        <a:pt x="46184" y="948074"/>
                      </a:lnTo>
                      <a:lnTo>
                        <a:pt x="48043" y="945728"/>
                      </a:lnTo>
                      <a:lnTo>
                        <a:pt x="49387" y="942737"/>
                      </a:lnTo>
                      <a:lnTo>
                        <a:pt x="50732" y="938564"/>
                      </a:lnTo>
                      <a:lnTo>
                        <a:pt x="50577" y="935540"/>
                      </a:lnTo>
                      <a:lnTo>
                        <a:pt x="50985" y="933666"/>
                      </a:lnTo>
                      <a:lnTo>
                        <a:pt x="51531" y="927570"/>
                      </a:lnTo>
                      <a:lnTo>
                        <a:pt x="52468" y="924481"/>
                      </a:lnTo>
                      <a:lnTo>
                        <a:pt x="52411" y="920154"/>
                      </a:lnTo>
                      <a:lnTo>
                        <a:pt x="50732" y="918548"/>
                      </a:lnTo>
                      <a:lnTo>
                        <a:pt x="48385" y="917562"/>
                      </a:lnTo>
                      <a:lnTo>
                        <a:pt x="47790" y="914921"/>
                      </a:lnTo>
                      <a:lnTo>
                        <a:pt x="49029" y="909697"/>
                      </a:lnTo>
                      <a:lnTo>
                        <a:pt x="53511" y="909844"/>
                      </a:lnTo>
                      <a:lnTo>
                        <a:pt x="57757" y="906283"/>
                      </a:lnTo>
                      <a:lnTo>
                        <a:pt x="60544" y="905003"/>
                      </a:lnTo>
                      <a:lnTo>
                        <a:pt x="62126" y="905264"/>
                      </a:lnTo>
                      <a:lnTo>
                        <a:pt x="67683" y="908695"/>
                      </a:lnTo>
                      <a:lnTo>
                        <a:pt x="68784" y="908736"/>
                      </a:lnTo>
                      <a:lnTo>
                        <a:pt x="68613" y="907497"/>
                      </a:lnTo>
                      <a:lnTo>
                        <a:pt x="67749" y="906633"/>
                      </a:lnTo>
                      <a:lnTo>
                        <a:pt x="65557" y="905476"/>
                      </a:lnTo>
                      <a:lnTo>
                        <a:pt x="61522" y="901808"/>
                      </a:lnTo>
                      <a:lnTo>
                        <a:pt x="56103" y="901213"/>
                      </a:lnTo>
                      <a:lnTo>
                        <a:pt x="57097" y="896446"/>
                      </a:lnTo>
                      <a:lnTo>
                        <a:pt x="58148" y="892086"/>
                      </a:lnTo>
                      <a:lnTo>
                        <a:pt x="60773" y="891491"/>
                      </a:lnTo>
                      <a:lnTo>
                        <a:pt x="65190" y="890057"/>
                      </a:lnTo>
                      <a:lnTo>
                        <a:pt x="73608" y="883529"/>
                      </a:lnTo>
                      <a:lnTo>
                        <a:pt x="75067" y="878623"/>
                      </a:lnTo>
                      <a:lnTo>
                        <a:pt x="75467" y="873113"/>
                      </a:lnTo>
                      <a:lnTo>
                        <a:pt x="71408" y="871679"/>
                      </a:lnTo>
                      <a:lnTo>
                        <a:pt x="67105" y="868093"/>
                      </a:lnTo>
                      <a:lnTo>
                        <a:pt x="63633" y="866170"/>
                      </a:lnTo>
                      <a:lnTo>
                        <a:pt x="60561" y="863766"/>
                      </a:lnTo>
                      <a:lnTo>
                        <a:pt x="61164" y="860196"/>
                      </a:lnTo>
                      <a:lnTo>
                        <a:pt x="61563" y="854345"/>
                      </a:lnTo>
                      <a:lnTo>
                        <a:pt x="65426" y="853098"/>
                      </a:lnTo>
                      <a:lnTo>
                        <a:pt x="67211" y="845095"/>
                      </a:lnTo>
                      <a:lnTo>
                        <a:pt x="64627" y="838958"/>
                      </a:lnTo>
                      <a:lnTo>
                        <a:pt x="65247" y="834402"/>
                      </a:lnTo>
                      <a:lnTo>
                        <a:pt x="68621" y="830515"/>
                      </a:lnTo>
                      <a:lnTo>
                        <a:pt x="69232" y="827825"/>
                      </a:lnTo>
                      <a:lnTo>
                        <a:pt x="70161" y="824867"/>
                      </a:lnTo>
                      <a:lnTo>
                        <a:pt x="73136" y="824557"/>
                      </a:lnTo>
                      <a:lnTo>
                        <a:pt x="73201" y="822952"/>
                      </a:lnTo>
                      <a:lnTo>
                        <a:pt x="72940" y="820026"/>
                      </a:lnTo>
                      <a:lnTo>
                        <a:pt x="70984" y="816570"/>
                      </a:lnTo>
                      <a:lnTo>
                        <a:pt x="70911" y="811762"/>
                      </a:lnTo>
                      <a:lnTo>
                        <a:pt x="72753" y="806123"/>
                      </a:lnTo>
                      <a:lnTo>
                        <a:pt x="75703" y="806506"/>
                      </a:lnTo>
                      <a:lnTo>
                        <a:pt x="76273" y="806277"/>
                      </a:lnTo>
                      <a:lnTo>
                        <a:pt x="74179" y="802846"/>
                      </a:lnTo>
                      <a:lnTo>
                        <a:pt x="72476" y="799098"/>
                      </a:lnTo>
                      <a:lnTo>
                        <a:pt x="72769" y="797598"/>
                      </a:lnTo>
                      <a:lnTo>
                        <a:pt x="74407" y="796318"/>
                      </a:lnTo>
                      <a:lnTo>
                        <a:pt x="76298" y="795609"/>
                      </a:lnTo>
                      <a:lnTo>
                        <a:pt x="78343" y="797525"/>
                      </a:lnTo>
                      <a:lnTo>
                        <a:pt x="81277" y="803669"/>
                      </a:lnTo>
                      <a:lnTo>
                        <a:pt x="81726" y="802089"/>
                      </a:lnTo>
                      <a:lnTo>
                        <a:pt x="80536" y="795837"/>
                      </a:lnTo>
                      <a:lnTo>
                        <a:pt x="79558" y="788079"/>
                      </a:lnTo>
                      <a:lnTo>
                        <a:pt x="76469" y="789089"/>
                      </a:lnTo>
                      <a:lnTo>
                        <a:pt x="73641" y="788552"/>
                      </a:lnTo>
                      <a:lnTo>
                        <a:pt x="72573" y="787353"/>
                      </a:lnTo>
                      <a:lnTo>
                        <a:pt x="71514" y="785602"/>
                      </a:lnTo>
                      <a:lnTo>
                        <a:pt x="72516" y="783475"/>
                      </a:lnTo>
                      <a:lnTo>
                        <a:pt x="73511" y="781893"/>
                      </a:lnTo>
                      <a:lnTo>
                        <a:pt x="75589" y="779905"/>
                      </a:lnTo>
                      <a:lnTo>
                        <a:pt x="79908" y="779204"/>
                      </a:lnTo>
                      <a:lnTo>
                        <a:pt x="83021" y="776702"/>
                      </a:lnTo>
                      <a:lnTo>
                        <a:pt x="84065" y="771559"/>
                      </a:lnTo>
                      <a:lnTo>
                        <a:pt x="83038" y="772065"/>
                      </a:lnTo>
                      <a:lnTo>
                        <a:pt x="81343" y="776588"/>
                      </a:lnTo>
                      <a:lnTo>
                        <a:pt x="78498" y="778120"/>
                      </a:lnTo>
                      <a:lnTo>
                        <a:pt x="77048" y="777900"/>
                      </a:lnTo>
                      <a:lnTo>
                        <a:pt x="75336" y="777052"/>
                      </a:lnTo>
                      <a:lnTo>
                        <a:pt x="71978" y="773124"/>
                      </a:lnTo>
                      <a:lnTo>
                        <a:pt x="70120" y="772212"/>
                      </a:lnTo>
                      <a:lnTo>
                        <a:pt x="68311" y="772106"/>
                      </a:lnTo>
                      <a:lnTo>
                        <a:pt x="66771" y="773100"/>
                      </a:lnTo>
                      <a:lnTo>
                        <a:pt x="62826" y="780060"/>
                      </a:lnTo>
                      <a:lnTo>
                        <a:pt x="61147" y="781225"/>
                      </a:lnTo>
                      <a:lnTo>
                        <a:pt x="54212" y="781787"/>
                      </a:lnTo>
                      <a:lnTo>
                        <a:pt x="51669" y="780981"/>
                      </a:lnTo>
                      <a:lnTo>
                        <a:pt x="48915" y="779913"/>
                      </a:lnTo>
                      <a:lnTo>
                        <a:pt x="49249" y="778185"/>
                      </a:lnTo>
                      <a:lnTo>
                        <a:pt x="50088" y="776359"/>
                      </a:lnTo>
                      <a:lnTo>
                        <a:pt x="51645" y="775439"/>
                      </a:lnTo>
                      <a:lnTo>
                        <a:pt x="51669" y="774388"/>
                      </a:lnTo>
                      <a:lnTo>
                        <a:pt x="49518" y="774119"/>
                      </a:lnTo>
                      <a:lnTo>
                        <a:pt x="47032" y="772195"/>
                      </a:lnTo>
                      <a:lnTo>
                        <a:pt x="45932" y="769775"/>
                      </a:lnTo>
                      <a:lnTo>
                        <a:pt x="45410" y="765423"/>
                      </a:lnTo>
                      <a:lnTo>
                        <a:pt x="43186" y="758544"/>
                      </a:lnTo>
                      <a:lnTo>
                        <a:pt x="42745" y="753638"/>
                      </a:lnTo>
                      <a:lnTo>
                        <a:pt x="44318" y="750118"/>
                      </a:lnTo>
                      <a:lnTo>
                        <a:pt x="47700" y="736393"/>
                      </a:lnTo>
                      <a:lnTo>
                        <a:pt x="48727" y="729417"/>
                      </a:lnTo>
                      <a:lnTo>
                        <a:pt x="50536" y="723297"/>
                      </a:lnTo>
                      <a:lnTo>
                        <a:pt x="50496" y="719246"/>
                      </a:lnTo>
                      <a:lnTo>
                        <a:pt x="55182" y="715554"/>
                      </a:lnTo>
                      <a:lnTo>
                        <a:pt x="56959" y="713354"/>
                      </a:lnTo>
                      <a:lnTo>
                        <a:pt x="60944" y="700950"/>
                      </a:lnTo>
                      <a:lnTo>
                        <a:pt x="61522" y="694259"/>
                      </a:lnTo>
                      <a:lnTo>
                        <a:pt x="55223" y="674048"/>
                      </a:lnTo>
                      <a:lnTo>
                        <a:pt x="54245" y="670193"/>
                      </a:lnTo>
                      <a:lnTo>
                        <a:pt x="53935" y="665401"/>
                      </a:lnTo>
                      <a:lnTo>
                        <a:pt x="55443" y="657463"/>
                      </a:lnTo>
                      <a:lnTo>
                        <a:pt x="55614" y="654456"/>
                      </a:lnTo>
                      <a:lnTo>
                        <a:pt x="54326" y="650120"/>
                      </a:lnTo>
                      <a:lnTo>
                        <a:pt x="50732" y="643014"/>
                      </a:lnTo>
                      <a:lnTo>
                        <a:pt x="50659" y="639412"/>
                      </a:lnTo>
                      <a:lnTo>
                        <a:pt x="52175" y="635696"/>
                      </a:lnTo>
                      <a:lnTo>
                        <a:pt x="50716" y="631091"/>
                      </a:lnTo>
                      <a:lnTo>
                        <a:pt x="51425" y="628238"/>
                      </a:lnTo>
                      <a:lnTo>
                        <a:pt x="52223" y="626005"/>
                      </a:lnTo>
                      <a:lnTo>
                        <a:pt x="57855" y="627195"/>
                      </a:lnTo>
                      <a:lnTo>
                        <a:pt x="60422" y="626633"/>
                      </a:lnTo>
                      <a:lnTo>
                        <a:pt x="61783" y="625288"/>
                      </a:lnTo>
                      <a:lnTo>
                        <a:pt x="62851" y="621499"/>
                      </a:lnTo>
                      <a:lnTo>
                        <a:pt x="63389" y="615606"/>
                      </a:lnTo>
                      <a:lnTo>
                        <a:pt x="63723" y="613063"/>
                      </a:lnTo>
                      <a:lnTo>
                        <a:pt x="64212" y="609356"/>
                      </a:lnTo>
                      <a:lnTo>
                        <a:pt x="66975" y="607864"/>
                      </a:lnTo>
                      <a:lnTo>
                        <a:pt x="67936" y="604360"/>
                      </a:lnTo>
                      <a:lnTo>
                        <a:pt x="70251" y="599462"/>
                      </a:lnTo>
                      <a:lnTo>
                        <a:pt x="72631" y="585811"/>
                      </a:lnTo>
                      <a:lnTo>
                        <a:pt x="74986" y="582453"/>
                      </a:lnTo>
                      <a:lnTo>
                        <a:pt x="77366" y="578566"/>
                      </a:lnTo>
                      <a:lnTo>
                        <a:pt x="76461" y="572820"/>
                      </a:lnTo>
                      <a:lnTo>
                        <a:pt x="77993" y="570171"/>
                      </a:lnTo>
                      <a:lnTo>
                        <a:pt x="79403" y="568248"/>
                      </a:lnTo>
                      <a:lnTo>
                        <a:pt x="80650" y="564744"/>
                      </a:lnTo>
                      <a:lnTo>
                        <a:pt x="82337" y="561443"/>
                      </a:lnTo>
                      <a:lnTo>
                        <a:pt x="86387" y="556684"/>
                      </a:lnTo>
                      <a:lnTo>
                        <a:pt x="87406" y="550897"/>
                      </a:lnTo>
                      <a:lnTo>
                        <a:pt x="90544" y="540881"/>
                      </a:lnTo>
                      <a:lnTo>
                        <a:pt x="91171" y="534468"/>
                      </a:lnTo>
                      <a:lnTo>
                        <a:pt x="92141" y="530140"/>
                      </a:lnTo>
                      <a:lnTo>
                        <a:pt x="91864" y="526106"/>
                      </a:lnTo>
                      <a:lnTo>
                        <a:pt x="93746" y="521200"/>
                      </a:lnTo>
                      <a:lnTo>
                        <a:pt x="95556" y="517068"/>
                      </a:lnTo>
                      <a:lnTo>
                        <a:pt x="96126" y="514778"/>
                      </a:lnTo>
                      <a:lnTo>
                        <a:pt x="100258" y="509334"/>
                      </a:lnTo>
                      <a:lnTo>
                        <a:pt x="100951" y="504966"/>
                      </a:lnTo>
                      <a:lnTo>
                        <a:pt x="99476" y="502023"/>
                      </a:lnTo>
                      <a:lnTo>
                        <a:pt x="99451" y="497459"/>
                      </a:lnTo>
                      <a:lnTo>
                        <a:pt x="98294" y="491135"/>
                      </a:lnTo>
                      <a:lnTo>
                        <a:pt x="100959" y="488772"/>
                      </a:lnTo>
                      <a:lnTo>
                        <a:pt x="102035" y="487044"/>
                      </a:lnTo>
                      <a:lnTo>
                        <a:pt x="105507" y="476963"/>
                      </a:lnTo>
                      <a:lnTo>
                        <a:pt x="105278" y="473018"/>
                      </a:lnTo>
                      <a:lnTo>
                        <a:pt x="106273" y="468104"/>
                      </a:lnTo>
                      <a:lnTo>
                        <a:pt x="103999" y="462293"/>
                      </a:lnTo>
                      <a:lnTo>
                        <a:pt x="103681" y="449262"/>
                      </a:lnTo>
                      <a:lnTo>
                        <a:pt x="102410" y="439254"/>
                      </a:lnTo>
                      <a:lnTo>
                        <a:pt x="100307" y="428700"/>
                      </a:lnTo>
                      <a:lnTo>
                        <a:pt x="100511" y="422792"/>
                      </a:lnTo>
                      <a:lnTo>
                        <a:pt x="99223" y="415473"/>
                      </a:lnTo>
                      <a:lnTo>
                        <a:pt x="99142" y="411244"/>
                      </a:lnTo>
                      <a:lnTo>
                        <a:pt x="100119" y="401668"/>
                      </a:lnTo>
                      <a:lnTo>
                        <a:pt x="106802" y="395653"/>
                      </a:lnTo>
                      <a:lnTo>
                        <a:pt x="108098" y="388913"/>
                      </a:lnTo>
                      <a:lnTo>
                        <a:pt x="108905" y="379835"/>
                      </a:lnTo>
                      <a:lnTo>
                        <a:pt x="108628" y="373217"/>
                      </a:lnTo>
                      <a:lnTo>
                        <a:pt x="107968" y="370258"/>
                      </a:lnTo>
                      <a:lnTo>
                        <a:pt x="104683" y="365385"/>
                      </a:lnTo>
                      <a:lnTo>
                        <a:pt x="103852" y="356705"/>
                      </a:lnTo>
                      <a:lnTo>
                        <a:pt x="104488" y="354432"/>
                      </a:lnTo>
                      <a:lnTo>
                        <a:pt x="107202" y="351987"/>
                      </a:lnTo>
                      <a:lnTo>
                        <a:pt x="109117" y="348597"/>
                      </a:lnTo>
                      <a:lnTo>
                        <a:pt x="110111" y="343332"/>
                      </a:lnTo>
                      <a:lnTo>
                        <a:pt x="112100" y="339200"/>
                      </a:lnTo>
                      <a:lnTo>
                        <a:pt x="112890" y="329208"/>
                      </a:lnTo>
                      <a:lnTo>
                        <a:pt x="114577" y="321279"/>
                      </a:lnTo>
                      <a:lnTo>
                        <a:pt x="115425" y="318500"/>
                      </a:lnTo>
                      <a:lnTo>
                        <a:pt x="118073" y="315020"/>
                      </a:lnTo>
                      <a:lnTo>
                        <a:pt x="118571" y="314099"/>
                      </a:lnTo>
                      <a:lnTo>
                        <a:pt x="118978" y="311450"/>
                      </a:lnTo>
                      <a:lnTo>
                        <a:pt x="118856" y="305191"/>
                      </a:lnTo>
                      <a:lnTo>
                        <a:pt x="119263" y="301377"/>
                      </a:lnTo>
                      <a:lnTo>
                        <a:pt x="121374" y="293863"/>
                      </a:lnTo>
                      <a:lnTo>
                        <a:pt x="121610" y="290391"/>
                      </a:lnTo>
                      <a:lnTo>
                        <a:pt x="123957" y="282673"/>
                      </a:lnTo>
                      <a:lnTo>
                        <a:pt x="124487" y="277148"/>
                      </a:lnTo>
                      <a:lnTo>
                        <a:pt x="125490" y="274230"/>
                      </a:lnTo>
                      <a:lnTo>
                        <a:pt x="125098" y="270946"/>
                      </a:lnTo>
                      <a:lnTo>
                        <a:pt x="125759" y="263611"/>
                      </a:lnTo>
                      <a:lnTo>
                        <a:pt x="124169" y="259455"/>
                      </a:lnTo>
                      <a:lnTo>
                        <a:pt x="123827" y="257034"/>
                      </a:lnTo>
                      <a:lnTo>
                        <a:pt x="125824" y="249520"/>
                      </a:lnTo>
                      <a:lnTo>
                        <a:pt x="127185" y="247687"/>
                      </a:lnTo>
                      <a:lnTo>
                        <a:pt x="129385" y="244190"/>
                      </a:lnTo>
                      <a:lnTo>
                        <a:pt x="130314" y="240270"/>
                      </a:lnTo>
                      <a:lnTo>
                        <a:pt x="130486" y="237785"/>
                      </a:lnTo>
                      <a:lnTo>
                        <a:pt x="127674" y="225405"/>
                      </a:lnTo>
                      <a:lnTo>
                        <a:pt x="127291" y="221184"/>
                      </a:lnTo>
                      <a:lnTo>
                        <a:pt x="127975" y="211388"/>
                      </a:lnTo>
                      <a:lnTo>
                        <a:pt x="128945" y="205063"/>
                      </a:lnTo>
                      <a:lnTo>
                        <a:pt x="128627" y="200027"/>
                      </a:lnTo>
                      <a:lnTo>
                        <a:pt x="128945" y="197427"/>
                      </a:lnTo>
                      <a:lnTo>
                        <a:pt x="129434" y="194192"/>
                      </a:lnTo>
                      <a:lnTo>
                        <a:pt x="131366" y="190247"/>
                      </a:lnTo>
                      <a:lnTo>
                        <a:pt x="131806" y="187444"/>
                      </a:lnTo>
                      <a:lnTo>
                        <a:pt x="131129" y="186270"/>
                      </a:lnTo>
                      <a:lnTo>
                        <a:pt x="128847" y="184836"/>
                      </a:lnTo>
                      <a:lnTo>
                        <a:pt x="126957" y="181266"/>
                      </a:lnTo>
                      <a:lnTo>
                        <a:pt x="126834" y="177737"/>
                      </a:lnTo>
                      <a:lnTo>
                        <a:pt x="127437" y="175178"/>
                      </a:lnTo>
                      <a:lnTo>
                        <a:pt x="127576" y="171560"/>
                      </a:lnTo>
                      <a:lnTo>
                        <a:pt x="130388" y="170851"/>
                      </a:lnTo>
                      <a:lnTo>
                        <a:pt x="131895" y="168838"/>
                      </a:lnTo>
                      <a:lnTo>
                        <a:pt x="133322" y="165065"/>
                      </a:lnTo>
                      <a:lnTo>
                        <a:pt x="135115" y="155953"/>
                      </a:lnTo>
                      <a:lnTo>
                        <a:pt x="135881" y="144666"/>
                      </a:lnTo>
                      <a:lnTo>
                        <a:pt x="136948" y="137869"/>
                      </a:lnTo>
                      <a:lnTo>
                        <a:pt x="137698" y="134511"/>
                      </a:lnTo>
                      <a:lnTo>
                        <a:pt x="138334" y="127502"/>
                      </a:lnTo>
                      <a:lnTo>
                        <a:pt x="139377" y="122922"/>
                      </a:lnTo>
                      <a:lnTo>
                        <a:pt x="139564" y="118684"/>
                      </a:lnTo>
                      <a:lnTo>
                        <a:pt x="139352" y="115473"/>
                      </a:lnTo>
                      <a:lnTo>
                        <a:pt x="136655" y="99125"/>
                      </a:lnTo>
                      <a:lnTo>
                        <a:pt x="136736" y="93127"/>
                      </a:lnTo>
                      <a:lnTo>
                        <a:pt x="137885" y="83804"/>
                      </a:lnTo>
                      <a:lnTo>
                        <a:pt x="137869" y="70699"/>
                      </a:lnTo>
                      <a:lnTo>
                        <a:pt x="137641" y="67634"/>
                      </a:lnTo>
                      <a:lnTo>
                        <a:pt x="136622" y="64774"/>
                      </a:lnTo>
                      <a:lnTo>
                        <a:pt x="136321" y="60879"/>
                      </a:lnTo>
                      <a:lnTo>
                        <a:pt x="134699" y="54122"/>
                      </a:lnTo>
                      <a:lnTo>
                        <a:pt x="133232" y="40578"/>
                      </a:lnTo>
                      <a:lnTo>
                        <a:pt x="133207" y="33430"/>
                      </a:lnTo>
                      <a:lnTo>
                        <a:pt x="132572" y="27367"/>
                      </a:lnTo>
                      <a:lnTo>
                        <a:pt x="131170" y="25769"/>
                      </a:lnTo>
                      <a:lnTo>
                        <a:pt x="132180" y="25395"/>
                      </a:lnTo>
                      <a:lnTo>
                        <a:pt x="134544" y="25142"/>
                      </a:lnTo>
                      <a:lnTo>
                        <a:pt x="136989" y="25142"/>
                      </a:lnTo>
                      <a:lnTo>
                        <a:pt x="140078" y="23862"/>
                      </a:lnTo>
                      <a:lnTo>
                        <a:pt x="143370" y="21491"/>
                      </a:lnTo>
                      <a:lnTo>
                        <a:pt x="145522" y="18027"/>
                      </a:lnTo>
                      <a:lnTo>
                        <a:pt x="146443" y="14857"/>
                      </a:lnTo>
                      <a:lnTo>
                        <a:pt x="146443" y="12086"/>
                      </a:lnTo>
                      <a:lnTo>
                        <a:pt x="145473" y="8557"/>
                      </a:lnTo>
                      <a:lnTo>
                        <a:pt x="145212" y="6063"/>
                      </a:lnTo>
                      <a:lnTo>
                        <a:pt x="146353" y="4873"/>
                      </a:lnTo>
                      <a:lnTo>
                        <a:pt x="149368" y="4401"/>
                      </a:lnTo>
                      <a:lnTo>
                        <a:pt x="151813" y="2054"/>
                      </a:lnTo>
                      <a:lnTo>
                        <a:pt x="153679" y="0"/>
                      </a:lnTo>
                      <a:lnTo>
                        <a:pt x="154079" y="3480"/>
                      </a:lnTo>
                      <a:lnTo>
                        <a:pt x="157477" y="8133"/>
                      </a:lnTo>
                      <a:lnTo>
                        <a:pt x="158586" y="13398"/>
                      </a:lnTo>
                      <a:lnTo>
                        <a:pt x="159352" y="14075"/>
                      </a:lnTo>
                      <a:lnTo>
                        <a:pt x="164030" y="16691"/>
                      </a:lnTo>
                      <a:lnTo>
                        <a:pt x="164111" y="17318"/>
                      </a:lnTo>
                      <a:lnTo>
                        <a:pt x="163427" y="18296"/>
                      </a:lnTo>
                      <a:lnTo>
                        <a:pt x="162750" y="19568"/>
                      </a:lnTo>
                      <a:lnTo>
                        <a:pt x="163223" y="21360"/>
                      </a:lnTo>
                      <a:lnTo>
                        <a:pt x="164071" y="23822"/>
                      </a:lnTo>
                      <a:lnTo>
                        <a:pt x="164348" y="26087"/>
                      </a:lnTo>
                      <a:lnTo>
                        <a:pt x="164861" y="28434"/>
                      </a:lnTo>
                      <a:lnTo>
                        <a:pt x="165374" y="32037"/>
                      </a:lnTo>
                      <a:lnTo>
                        <a:pt x="165692" y="35296"/>
                      </a:lnTo>
                      <a:lnTo>
                        <a:pt x="166882" y="40121"/>
                      </a:lnTo>
                      <a:lnTo>
                        <a:pt x="167127" y="43096"/>
                      </a:lnTo>
                      <a:lnTo>
                        <a:pt x="167151" y="44889"/>
                      </a:lnTo>
                      <a:lnTo>
                        <a:pt x="168072" y="46649"/>
                      </a:lnTo>
                      <a:lnTo>
                        <a:pt x="169881" y="48743"/>
                      </a:lnTo>
                      <a:lnTo>
                        <a:pt x="172334" y="50862"/>
                      </a:lnTo>
                      <a:lnTo>
                        <a:pt x="174282" y="53340"/>
                      </a:lnTo>
                      <a:lnTo>
                        <a:pt x="175773" y="55011"/>
                      </a:lnTo>
                      <a:lnTo>
                        <a:pt x="177575" y="56372"/>
                      </a:lnTo>
                      <a:lnTo>
                        <a:pt x="178960" y="57643"/>
                      </a:lnTo>
                      <a:lnTo>
                        <a:pt x="179506" y="58499"/>
                      </a:lnTo>
                      <a:lnTo>
                        <a:pt x="179685" y="59208"/>
                      </a:lnTo>
                      <a:lnTo>
                        <a:pt x="179090" y="59868"/>
                      </a:lnTo>
                      <a:lnTo>
                        <a:pt x="176898" y="63128"/>
                      </a:lnTo>
                      <a:lnTo>
                        <a:pt x="173850" y="68091"/>
                      </a:lnTo>
                      <a:lnTo>
                        <a:pt x="173899" y="68686"/>
                      </a:lnTo>
                      <a:lnTo>
                        <a:pt x="176825" y="72256"/>
                      </a:lnTo>
                      <a:lnTo>
                        <a:pt x="177289" y="73673"/>
                      </a:lnTo>
                      <a:lnTo>
                        <a:pt x="177257" y="75670"/>
                      </a:lnTo>
                      <a:lnTo>
                        <a:pt x="176279" y="78066"/>
                      </a:lnTo>
                      <a:lnTo>
                        <a:pt x="173125" y="78840"/>
                      </a:lnTo>
                      <a:lnTo>
                        <a:pt x="172416" y="79492"/>
                      </a:lnTo>
                      <a:lnTo>
                        <a:pt x="172334" y="80250"/>
                      </a:lnTo>
                      <a:lnTo>
                        <a:pt x="173060" y="81277"/>
                      </a:lnTo>
                      <a:lnTo>
                        <a:pt x="172946" y="83641"/>
                      </a:lnTo>
                      <a:lnTo>
                        <a:pt x="174086" y="86265"/>
                      </a:lnTo>
                      <a:lnTo>
                        <a:pt x="173500" y="87153"/>
                      </a:lnTo>
                      <a:lnTo>
                        <a:pt x="172334" y="88351"/>
                      </a:lnTo>
                      <a:lnTo>
                        <a:pt x="172302" y="89541"/>
                      </a:lnTo>
                      <a:lnTo>
                        <a:pt x="172685" y="90853"/>
                      </a:lnTo>
                      <a:lnTo>
                        <a:pt x="173907" y="91921"/>
                      </a:lnTo>
                      <a:lnTo>
                        <a:pt x="178773" y="95596"/>
                      </a:lnTo>
                      <a:lnTo>
                        <a:pt x="179156" y="96102"/>
                      </a:lnTo>
                      <a:lnTo>
                        <a:pt x="179082" y="96476"/>
                      </a:lnTo>
                      <a:lnTo>
                        <a:pt x="177208" y="98946"/>
                      </a:lnTo>
                      <a:lnTo>
                        <a:pt x="177012" y="100454"/>
                      </a:lnTo>
                      <a:lnTo>
                        <a:pt x="177069" y="102956"/>
                      </a:lnTo>
                      <a:lnTo>
                        <a:pt x="177330" y="104577"/>
                      </a:lnTo>
                      <a:lnTo>
                        <a:pt x="177933" y="105237"/>
                      </a:lnTo>
                      <a:lnTo>
                        <a:pt x="180378" y="106003"/>
                      </a:lnTo>
                      <a:lnTo>
                        <a:pt x="183393" y="111619"/>
                      </a:lnTo>
                      <a:lnTo>
                        <a:pt x="186295" y="116900"/>
                      </a:lnTo>
                      <a:lnTo>
                        <a:pt x="186254" y="121464"/>
                      </a:lnTo>
                      <a:lnTo>
                        <a:pt x="186555" y="126777"/>
                      </a:lnTo>
                      <a:lnTo>
                        <a:pt x="188397" y="130958"/>
                      </a:lnTo>
                      <a:lnTo>
                        <a:pt x="188658" y="134291"/>
                      </a:lnTo>
                      <a:lnTo>
                        <a:pt x="189286" y="138089"/>
                      </a:lnTo>
                      <a:lnTo>
                        <a:pt x="191478" y="140387"/>
                      </a:lnTo>
                      <a:lnTo>
                        <a:pt x="192334" y="144959"/>
                      </a:lnTo>
                      <a:lnTo>
                        <a:pt x="192554" y="147396"/>
                      </a:lnTo>
                      <a:lnTo>
                        <a:pt x="192415" y="148993"/>
                      </a:lnTo>
                      <a:lnTo>
                        <a:pt x="194110" y="153957"/>
                      </a:lnTo>
                      <a:lnTo>
                        <a:pt x="194314" y="158227"/>
                      </a:lnTo>
                      <a:lnTo>
                        <a:pt x="193907" y="161299"/>
                      </a:lnTo>
                      <a:lnTo>
                        <a:pt x="193923" y="163011"/>
                      </a:lnTo>
                      <a:lnTo>
                        <a:pt x="194167" y="164217"/>
                      </a:lnTo>
                      <a:lnTo>
                        <a:pt x="195626" y="165301"/>
                      </a:lnTo>
                      <a:lnTo>
                        <a:pt x="196278" y="165977"/>
                      </a:lnTo>
                      <a:lnTo>
                        <a:pt x="198470" y="166352"/>
                      </a:lnTo>
                      <a:close/>
                    </a:path>
                  </a:pathLst>
                </a:custGeom>
                <a:solidFill>
                  <a:srgbClr val="D6D6D2"/>
                </a:solidFill>
                <a:ln w="6112" cap="rnd">
                  <a:solidFill>
                    <a:srgbClr val="FFFFFF"/>
                  </a:solidFill>
                  <a:prstDash val="solid"/>
                  <a:round/>
                </a:ln>
              </p:spPr>
              <p:txBody>
                <a:bodyPr rtlCol="0" anchor="ctr"/>
                <a:lstStyle/>
                <a:p>
                  <a:endParaRPr lang="en-US"/>
                </a:p>
              </p:txBody>
            </p:sp>
            <p:sp>
              <p:nvSpPr>
                <p:cNvPr id="763" name="Freeform: Shape 762">
                  <a:extLst>
                    <a:ext uri="{FF2B5EF4-FFF2-40B4-BE49-F238E27FC236}">
                      <a16:creationId xmlns:a16="http://schemas.microsoft.com/office/drawing/2014/main" id="{12405F7D-F3AD-4834-9F1B-A5452A1C23A4}"/>
                    </a:ext>
                  </a:extLst>
                </p:cNvPr>
                <p:cNvSpPr/>
                <p:nvPr/>
              </p:nvSpPr>
              <p:spPr>
                <a:xfrm>
                  <a:off x="6091705" y="3005069"/>
                  <a:ext cx="111219" cy="69166"/>
                </a:xfrm>
                <a:custGeom>
                  <a:avLst/>
                  <a:gdLst>
                    <a:gd name="connsiteX0" fmla="*/ 88139 w 111219"/>
                    <a:gd name="connsiteY0" fmla="*/ 8997 h 69166"/>
                    <a:gd name="connsiteX1" fmla="*/ 88897 w 111219"/>
                    <a:gd name="connsiteY1" fmla="*/ 9470 h 69166"/>
                    <a:gd name="connsiteX2" fmla="*/ 90674 w 111219"/>
                    <a:gd name="connsiteY2" fmla="*/ 11043 h 69166"/>
                    <a:gd name="connsiteX3" fmla="*/ 90250 w 111219"/>
                    <a:gd name="connsiteY3" fmla="*/ 13732 h 69166"/>
                    <a:gd name="connsiteX4" fmla="*/ 88229 w 111219"/>
                    <a:gd name="connsiteY4" fmla="*/ 18052 h 69166"/>
                    <a:gd name="connsiteX5" fmla="*/ 87153 w 111219"/>
                    <a:gd name="connsiteY5" fmla="*/ 21548 h 69166"/>
                    <a:gd name="connsiteX6" fmla="*/ 87039 w 111219"/>
                    <a:gd name="connsiteY6" fmla="*/ 24221 h 69166"/>
                    <a:gd name="connsiteX7" fmla="*/ 87243 w 111219"/>
                    <a:gd name="connsiteY7" fmla="*/ 25484 h 69166"/>
                    <a:gd name="connsiteX8" fmla="*/ 87601 w 111219"/>
                    <a:gd name="connsiteY8" fmla="*/ 25468 h 69166"/>
                    <a:gd name="connsiteX9" fmla="*/ 89541 w 111219"/>
                    <a:gd name="connsiteY9" fmla="*/ 25655 h 69166"/>
                    <a:gd name="connsiteX10" fmla="*/ 90527 w 111219"/>
                    <a:gd name="connsiteY10" fmla="*/ 25655 h 69166"/>
                    <a:gd name="connsiteX11" fmla="*/ 93624 w 111219"/>
                    <a:gd name="connsiteY11" fmla="*/ 26381 h 69166"/>
                    <a:gd name="connsiteX12" fmla="*/ 96110 w 111219"/>
                    <a:gd name="connsiteY12" fmla="*/ 27432 h 69166"/>
                    <a:gd name="connsiteX13" fmla="*/ 96591 w 111219"/>
                    <a:gd name="connsiteY13" fmla="*/ 28557 h 69166"/>
                    <a:gd name="connsiteX14" fmla="*/ 96916 w 111219"/>
                    <a:gd name="connsiteY14" fmla="*/ 29918 h 69166"/>
                    <a:gd name="connsiteX15" fmla="*/ 99875 w 111219"/>
                    <a:gd name="connsiteY15" fmla="*/ 31784 h 69166"/>
                    <a:gd name="connsiteX16" fmla="*/ 103265 w 111219"/>
                    <a:gd name="connsiteY16" fmla="*/ 32990 h 69166"/>
                    <a:gd name="connsiteX17" fmla="*/ 104406 w 111219"/>
                    <a:gd name="connsiteY17" fmla="*/ 32599 h 69166"/>
                    <a:gd name="connsiteX18" fmla="*/ 108611 w 111219"/>
                    <a:gd name="connsiteY18" fmla="*/ 28247 h 69166"/>
                    <a:gd name="connsiteX19" fmla="*/ 110241 w 111219"/>
                    <a:gd name="connsiteY19" fmla="*/ 28964 h 69166"/>
                    <a:gd name="connsiteX20" fmla="*/ 111219 w 111219"/>
                    <a:gd name="connsiteY20" fmla="*/ 31287 h 69166"/>
                    <a:gd name="connsiteX21" fmla="*/ 111178 w 111219"/>
                    <a:gd name="connsiteY21" fmla="*/ 32509 h 69166"/>
                    <a:gd name="connsiteX22" fmla="*/ 110021 w 111219"/>
                    <a:gd name="connsiteY22" fmla="*/ 37130 h 69166"/>
                    <a:gd name="connsiteX23" fmla="*/ 109817 w 111219"/>
                    <a:gd name="connsiteY23" fmla="*/ 39608 h 69166"/>
                    <a:gd name="connsiteX24" fmla="*/ 110812 w 111219"/>
                    <a:gd name="connsiteY24" fmla="*/ 41254 h 69166"/>
                    <a:gd name="connsiteX25" fmla="*/ 110918 w 111219"/>
                    <a:gd name="connsiteY25" fmla="*/ 42525 h 69166"/>
                    <a:gd name="connsiteX26" fmla="*/ 110632 w 111219"/>
                    <a:gd name="connsiteY26" fmla="*/ 43691 h 69166"/>
                    <a:gd name="connsiteX27" fmla="*/ 108953 w 111219"/>
                    <a:gd name="connsiteY27" fmla="*/ 43797 h 69166"/>
                    <a:gd name="connsiteX28" fmla="*/ 106696 w 111219"/>
                    <a:gd name="connsiteY28" fmla="*/ 43161 h 69166"/>
                    <a:gd name="connsiteX29" fmla="*/ 104797 w 111219"/>
                    <a:gd name="connsiteY29" fmla="*/ 41181 h 69166"/>
                    <a:gd name="connsiteX30" fmla="*/ 103355 w 111219"/>
                    <a:gd name="connsiteY30" fmla="*/ 41409 h 69166"/>
                    <a:gd name="connsiteX31" fmla="*/ 102108 w 111219"/>
                    <a:gd name="connsiteY31" fmla="*/ 41922 h 69166"/>
                    <a:gd name="connsiteX32" fmla="*/ 101472 w 111219"/>
                    <a:gd name="connsiteY32" fmla="*/ 43805 h 69166"/>
                    <a:gd name="connsiteX33" fmla="*/ 100902 w 111219"/>
                    <a:gd name="connsiteY33" fmla="*/ 46062 h 69166"/>
                    <a:gd name="connsiteX34" fmla="*/ 101081 w 111219"/>
                    <a:gd name="connsiteY34" fmla="*/ 47309 h 69166"/>
                    <a:gd name="connsiteX35" fmla="*/ 101978 w 111219"/>
                    <a:gd name="connsiteY35" fmla="*/ 48279 h 69166"/>
                    <a:gd name="connsiteX36" fmla="*/ 102662 w 111219"/>
                    <a:gd name="connsiteY36" fmla="*/ 50333 h 69166"/>
                    <a:gd name="connsiteX37" fmla="*/ 103167 w 111219"/>
                    <a:gd name="connsiteY37" fmla="*/ 52981 h 69166"/>
                    <a:gd name="connsiteX38" fmla="*/ 103550 w 111219"/>
                    <a:gd name="connsiteY38" fmla="*/ 54204 h 69166"/>
                    <a:gd name="connsiteX39" fmla="*/ 103127 w 111219"/>
                    <a:gd name="connsiteY39" fmla="*/ 54742 h 69166"/>
                    <a:gd name="connsiteX40" fmla="*/ 101945 w 111219"/>
                    <a:gd name="connsiteY40" fmla="*/ 55100 h 69166"/>
                    <a:gd name="connsiteX41" fmla="*/ 100959 w 111219"/>
                    <a:gd name="connsiteY41" fmla="*/ 54750 h 69166"/>
                    <a:gd name="connsiteX42" fmla="*/ 99247 w 111219"/>
                    <a:gd name="connsiteY42" fmla="*/ 51572 h 69166"/>
                    <a:gd name="connsiteX43" fmla="*/ 98440 w 111219"/>
                    <a:gd name="connsiteY43" fmla="*/ 50365 h 69166"/>
                    <a:gd name="connsiteX44" fmla="*/ 97087 w 111219"/>
                    <a:gd name="connsiteY44" fmla="*/ 50154 h 69166"/>
                    <a:gd name="connsiteX45" fmla="*/ 94691 w 111219"/>
                    <a:gd name="connsiteY45" fmla="*/ 50928 h 69166"/>
                    <a:gd name="connsiteX46" fmla="*/ 91008 w 111219"/>
                    <a:gd name="connsiteY46" fmla="*/ 52704 h 69166"/>
                    <a:gd name="connsiteX47" fmla="*/ 89516 w 111219"/>
                    <a:gd name="connsiteY47" fmla="*/ 52696 h 69166"/>
                    <a:gd name="connsiteX48" fmla="*/ 88253 w 111219"/>
                    <a:gd name="connsiteY48" fmla="*/ 52338 h 69166"/>
                    <a:gd name="connsiteX49" fmla="*/ 87080 w 111219"/>
                    <a:gd name="connsiteY49" fmla="*/ 50830 h 69166"/>
                    <a:gd name="connsiteX50" fmla="*/ 86069 w 111219"/>
                    <a:gd name="connsiteY50" fmla="*/ 47920 h 69166"/>
                    <a:gd name="connsiteX51" fmla="*/ 85751 w 111219"/>
                    <a:gd name="connsiteY51" fmla="*/ 46095 h 69166"/>
                    <a:gd name="connsiteX52" fmla="*/ 85050 w 111219"/>
                    <a:gd name="connsiteY52" fmla="*/ 46152 h 69166"/>
                    <a:gd name="connsiteX53" fmla="*/ 82687 w 111219"/>
                    <a:gd name="connsiteY53" fmla="*/ 45622 h 69166"/>
                    <a:gd name="connsiteX54" fmla="*/ 81595 w 111219"/>
                    <a:gd name="connsiteY54" fmla="*/ 46348 h 69166"/>
                    <a:gd name="connsiteX55" fmla="*/ 81587 w 111219"/>
                    <a:gd name="connsiteY55" fmla="*/ 49322 h 69166"/>
                    <a:gd name="connsiteX56" fmla="*/ 81375 w 111219"/>
                    <a:gd name="connsiteY56" fmla="*/ 53022 h 69166"/>
                    <a:gd name="connsiteX57" fmla="*/ 80185 w 111219"/>
                    <a:gd name="connsiteY57" fmla="*/ 55418 h 69166"/>
                    <a:gd name="connsiteX58" fmla="*/ 76901 w 111219"/>
                    <a:gd name="connsiteY58" fmla="*/ 59550 h 69166"/>
                    <a:gd name="connsiteX59" fmla="*/ 75694 w 111219"/>
                    <a:gd name="connsiteY59" fmla="*/ 61351 h 69166"/>
                    <a:gd name="connsiteX60" fmla="*/ 75214 w 111219"/>
                    <a:gd name="connsiteY60" fmla="*/ 62639 h 69166"/>
                    <a:gd name="connsiteX61" fmla="*/ 75116 w 111219"/>
                    <a:gd name="connsiteY61" fmla="*/ 63755 h 69166"/>
                    <a:gd name="connsiteX62" fmla="*/ 75621 w 111219"/>
                    <a:gd name="connsiteY62" fmla="*/ 65703 h 69166"/>
                    <a:gd name="connsiteX63" fmla="*/ 76306 w 111219"/>
                    <a:gd name="connsiteY63" fmla="*/ 67553 h 69166"/>
                    <a:gd name="connsiteX64" fmla="*/ 75735 w 111219"/>
                    <a:gd name="connsiteY64" fmla="*/ 68621 h 69166"/>
                    <a:gd name="connsiteX65" fmla="*/ 73999 w 111219"/>
                    <a:gd name="connsiteY65" fmla="*/ 69167 h 69166"/>
                    <a:gd name="connsiteX66" fmla="*/ 72769 w 111219"/>
                    <a:gd name="connsiteY66" fmla="*/ 68042 h 69166"/>
                    <a:gd name="connsiteX67" fmla="*/ 72296 w 111219"/>
                    <a:gd name="connsiteY67" fmla="*/ 66037 h 69166"/>
                    <a:gd name="connsiteX68" fmla="*/ 69647 w 111219"/>
                    <a:gd name="connsiteY68" fmla="*/ 63299 h 69166"/>
                    <a:gd name="connsiteX69" fmla="*/ 70854 w 111219"/>
                    <a:gd name="connsiteY69" fmla="*/ 61009 h 69166"/>
                    <a:gd name="connsiteX70" fmla="*/ 70650 w 111219"/>
                    <a:gd name="connsiteY70" fmla="*/ 60438 h 69166"/>
                    <a:gd name="connsiteX71" fmla="*/ 66265 w 111219"/>
                    <a:gd name="connsiteY71" fmla="*/ 59249 h 69166"/>
                    <a:gd name="connsiteX72" fmla="*/ 64366 w 111219"/>
                    <a:gd name="connsiteY72" fmla="*/ 57513 h 69166"/>
                    <a:gd name="connsiteX73" fmla="*/ 61718 w 111219"/>
                    <a:gd name="connsiteY73" fmla="*/ 54473 h 69166"/>
                    <a:gd name="connsiteX74" fmla="*/ 61213 w 111219"/>
                    <a:gd name="connsiteY74" fmla="*/ 53161 h 69166"/>
                    <a:gd name="connsiteX75" fmla="*/ 61326 w 111219"/>
                    <a:gd name="connsiteY75" fmla="*/ 48915 h 69166"/>
                    <a:gd name="connsiteX76" fmla="*/ 61172 w 111219"/>
                    <a:gd name="connsiteY76" fmla="*/ 47888 h 69166"/>
                    <a:gd name="connsiteX77" fmla="*/ 60821 w 111219"/>
                    <a:gd name="connsiteY77" fmla="*/ 47383 h 69166"/>
                    <a:gd name="connsiteX78" fmla="*/ 59534 w 111219"/>
                    <a:gd name="connsiteY78" fmla="*/ 47407 h 69166"/>
                    <a:gd name="connsiteX79" fmla="*/ 57757 w 111219"/>
                    <a:gd name="connsiteY79" fmla="*/ 48890 h 69166"/>
                    <a:gd name="connsiteX80" fmla="*/ 56086 w 111219"/>
                    <a:gd name="connsiteY80" fmla="*/ 51091 h 69166"/>
                    <a:gd name="connsiteX81" fmla="*/ 52712 w 111219"/>
                    <a:gd name="connsiteY81" fmla="*/ 53576 h 69166"/>
                    <a:gd name="connsiteX82" fmla="*/ 52362 w 111219"/>
                    <a:gd name="connsiteY82" fmla="*/ 54114 h 69166"/>
                    <a:gd name="connsiteX83" fmla="*/ 53503 w 111219"/>
                    <a:gd name="connsiteY83" fmla="*/ 56535 h 69166"/>
                    <a:gd name="connsiteX84" fmla="*/ 53446 w 111219"/>
                    <a:gd name="connsiteY84" fmla="*/ 57480 h 69166"/>
                    <a:gd name="connsiteX85" fmla="*/ 50691 w 111219"/>
                    <a:gd name="connsiteY85" fmla="*/ 61335 h 69166"/>
                    <a:gd name="connsiteX86" fmla="*/ 50178 w 111219"/>
                    <a:gd name="connsiteY86" fmla="*/ 62606 h 69166"/>
                    <a:gd name="connsiteX87" fmla="*/ 46681 w 111219"/>
                    <a:gd name="connsiteY87" fmla="*/ 65019 h 69166"/>
                    <a:gd name="connsiteX88" fmla="*/ 45076 w 111219"/>
                    <a:gd name="connsiteY88" fmla="*/ 65931 h 69166"/>
                    <a:gd name="connsiteX89" fmla="*/ 40243 w 111219"/>
                    <a:gd name="connsiteY89" fmla="*/ 64147 h 69166"/>
                    <a:gd name="connsiteX90" fmla="*/ 38898 w 111219"/>
                    <a:gd name="connsiteY90" fmla="*/ 63935 h 69166"/>
                    <a:gd name="connsiteX91" fmla="*/ 36739 w 111219"/>
                    <a:gd name="connsiteY91" fmla="*/ 65125 h 69166"/>
                    <a:gd name="connsiteX92" fmla="*/ 33666 w 111219"/>
                    <a:gd name="connsiteY92" fmla="*/ 66266 h 69166"/>
                    <a:gd name="connsiteX93" fmla="*/ 28736 w 111219"/>
                    <a:gd name="connsiteY93" fmla="*/ 67390 h 69166"/>
                    <a:gd name="connsiteX94" fmla="*/ 26918 w 111219"/>
                    <a:gd name="connsiteY94" fmla="*/ 66567 h 69166"/>
                    <a:gd name="connsiteX95" fmla="*/ 26054 w 111219"/>
                    <a:gd name="connsiteY95" fmla="*/ 65793 h 69166"/>
                    <a:gd name="connsiteX96" fmla="*/ 25631 w 111219"/>
                    <a:gd name="connsiteY96" fmla="*/ 64619 h 69166"/>
                    <a:gd name="connsiteX97" fmla="*/ 24392 w 111219"/>
                    <a:gd name="connsiteY97" fmla="*/ 62566 h 69166"/>
                    <a:gd name="connsiteX98" fmla="*/ 22990 w 111219"/>
                    <a:gd name="connsiteY98" fmla="*/ 61343 h 69166"/>
                    <a:gd name="connsiteX99" fmla="*/ 22020 w 111219"/>
                    <a:gd name="connsiteY99" fmla="*/ 60007 h 69166"/>
                    <a:gd name="connsiteX100" fmla="*/ 20733 w 111219"/>
                    <a:gd name="connsiteY100" fmla="*/ 58548 h 69166"/>
                    <a:gd name="connsiteX101" fmla="*/ 19885 w 111219"/>
                    <a:gd name="connsiteY101" fmla="*/ 57333 h 69166"/>
                    <a:gd name="connsiteX102" fmla="*/ 20994 w 111219"/>
                    <a:gd name="connsiteY102" fmla="*/ 53430 h 69166"/>
                    <a:gd name="connsiteX103" fmla="*/ 20187 w 111219"/>
                    <a:gd name="connsiteY103" fmla="*/ 52060 h 69166"/>
                    <a:gd name="connsiteX104" fmla="*/ 19763 w 111219"/>
                    <a:gd name="connsiteY104" fmla="*/ 50105 h 69166"/>
                    <a:gd name="connsiteX105" fmla="*/ 19983 w 111219"/>
                    <a:gd name="connsiteY105" fmla="*/ 48784 h 69166"/>
                    <a:gd name="connsiteX106" fmla="*/ 19543 w 111219"/>
                    <a:gd name="connsiteY106" fmla="*/ 48458 h 69166"/>
                    <a:gd name="connsiteX107" fmla="*/ 15077 w 111219"/>
                    <a:gd name="connsiteY107" fmla="*/ 47692 h 69166"/>
                    <a:gd name="connsiteX108" fmla="*/ 11369 w 111219"/>
                    <a:gd name="connsiteY108" fmla="*/ 47929 h 69166"/>
                    <a:gd name="connsiteX109" fmla="*/ 8720 w 111219"/>
                    <a:gd name="connsiteY109" fmla="*/ 49233 h 69166"/>
                    <a:gd name="connsiteX110" fmla="*/ 6552 w 111219"/>
                    <a:gd name="connsiteY110" fmla="*/ 51400 h 69166"/>
                    <a:gd name="connsiteX111" fmla="*/ 6299 w 111219"/>
                    <a:gd name="connsiteY111" fmla="*/ 51873 h 69166"/>
                    <a:gd name="connsiteX112" fmla="*/ 6438 w 111219"/>
                    <a:gd name="connsiteY112" fmla="*/ 52256 h 69166"/>
                    <a:gd name="connsiteX113" fmla="*/ 7514 w 111219"/>
                    <a:gd name="connsiteY113" fmla="*/ 54245 h 69166"/>
                    <a:gd name="connsiteX114" fmla="*/ 5688 w 111219"/>
                    <a:gd name="connsiteY114" fmla="*/ 56331 h 69166"/>
                    <a:gd name="connsiteX115" fmla="*/ 2885 w 111219"/>
                    <a:gd name="connsiteY115" fmla="*/ 57969 h 69166"/>
                    <a:gd name="connsiteX116" fmla="*/ 913 w 111219"/>
                    <a:gd name="connsiteY116" fmla="*/ 58140 h 69166"/>
                    <a:gd name="connsiteX117" fmla="*/ 41 w 111219"/>
                    <a:gd name="connsiteY117" fmla="*/ 57814 h 69166"/>
                    <a:gd name="connsiteX118" fmla="*/ 0 w 111219"/>
                    <a:gd name="connsiteY118" fmla="*/ 55573 h 69166"/>
                    <a:gd name="connsiteX119" fmla="*/ 1630 w 111219"/>
                    <a:gd name="connsiteY119" fmla="*/ 54750 h 69166"/>
                    <a:gd name="connsiteX120" fmla="*/ 3113 w 111219"/>
                    <a:gd name="connsiteY120" fmla="*/ 53283 h 69166"/>
                    <a:gd name="connsiteX121" fmla="*/ 3610 w 111219"/>
                    <a:gd name="connsiteY121" fmla="*/ 51221 h 69166"/>
                    <a:gd name="connsiteX122" fmla="*/ 3789 w 111219"/>
                    <a:gd name="connsiteY122" fmla="*/ 49770 h 69166"/>
                    <a:gd name="connsiteX123" fmla="*/ 2233 w 111219"/>
                    <a:gd name="connsiteY123" fmla="*/ 48010 h 69166"/>
                    <a:gd name="connsiteX124" fmla="*/ 2428 w 111219"/>
                    <a:gd name="connsiteY124" fmla="*/ 46934 h 69166"/>
                    <a:gd name="connsiteX125" fmla="*/ 3398 w 111219"/>
                    <a:gd name="connsiteY125" fmla="*/ 44897 h 69166"/>
                    <a:gd name="connsiteX126" fmla="*/ 3953 w 111219"/>
                    <a:gd name="connsiteY126" fmla="*/ 43096 h 69166"/>
                    <a:gd name="connsiteX127" fmla="*/ 4726 w 111219"/>
                    <a:gd name="connsiteY127" fmla="*/ 41531 h 69166"/>
                    <a:gd name="connsiteX128" fmla="*/ 7815 w 111219"/>
                    <a:gd name="connsiteY128" fmla="*/ 38972 h 69166"/>
                    <a:gd name="connsiteX129" fmla="*/ 10912 w 111219"/>
                    <a:gd name="connsiteY129" fmla="*/ 36397 h 69166"/>
                    <a:gd name="connsiteX130" fmla="*/ 11369 w 111219"/>
                    <a:gd name="connsiteY130" fmla="*/ 33667 h 69166"/>
                    <a:gd name="connsiteX131" fmla="*/ 11613 w 111219"/>
                    <a:gd name="connsiteY131" fmla="*/ 30333 h 69166"/>
                    <a:gd name="connsiteX132" fmla="*/ 12045 w 111219"/>
                    <a:gd name="connsiteY132" fmla="*/ 29535 h 69166"/>
                    <a:gd name="connsiteX133" fmla="*/ 16242 w 111219"/>
                    <a:gd name="connsiteY133" fmla="*/ 27554 h 69166"/>
                    <a:gd name="connsiteX134" fmla="*/ 17285 w 111219"/>
                    <a:gd name="connsiteY134" fmla="*/ 26756 h 69166"/>
                    <a:gd name="connsiteX135" fmla="*/ 17799 w 111219"/>
                    <a:gd name="connsiteY135" fmla="*/ 25631 h 69166"/>
                    <a:gd name="connsiteX136" fmla="*/ 21091 w 111219"/>
                    <a:gd name="connsiteY136" fmla="*/ 21882 h 69166"/>
                    <a:gd name="connsiteX137" fmla="*/ 24359 w 111219"/>
                    <a:gd name="connsiteY137" fmla="*/ 18174 h 69166"/>
                    <a:gd name="connsiteX138" fmla="*/ 25003 w 111219"/>
                    <a:gd name="connsiteY138" fmla="*/ 16935 h 69166"/>
                    <a:gd name="connsiteX139" fmla="*/ 25557 w 111219"/>
                    <a:gd name="connsiteY139" fmla="*/ 16202 h 69166"/>
                    <a:gd name="connsiteX140" fmla="*/ 25557 w 111219"/>
                    <a:gd name="connsiteY140" fmla="*/ 15599 h 69166"/>
                    <a:gd name="connsiteX141" fmla="*/ 25150 w 111219"/>
                    <a:gd name="connsiteY141" fmla="*/ 15134 h 69166"/>
                    <a:gd name="connsiteX142" fmla="*/ 23585 w 111219"/>
                    <a:gd name="connsiteY142" fmla="*/ 14824 h 69166"/>
                    <a:gd name="connsiteX143" fmla="*/ 23072 w 111219"/>
                    <a:gd name="connsiteY143" fmla="*/ 13651 h 69166"/>
                    <a:gd name="connsiteX144" fmla="*/ 24759 w 111219"/>
                    <a:gd name="connsiteY144" fmla="*/ 11540 h 69166"/>
                    <a:gd name="connsiteX145" fmla="*/ 26878 w 111219"/>
                    <a:gd name="connsiteY145" fmla="*/ 10244 h 69166"/>
                    <a:gd name="connsiteX146" fmla="*/ 28915 w 111219"/>
                    <a:gd name="connsiteY146" fmla="*/ 10236 h 69166"/>
                    <a:gd name="connsiteX147" fmla="*/ 29730 w 111219"/>
                    <a:gd name="connsiteY147" fmla="*/ 10823 h 69166"/>
                    <a:gd name="connsiteX148" fmla="*/ 29690 w 111219"/>
                    <a:gd name="connsiteY148" fmla="*/ 11516 h 69166"/>
                    <a:gd name="connsiteX149" fmla="*/ 30577 w 111219"/>
                    <a:gd name="connsiteY149" fmla="*/ 12265 h 69166"/>
                    <a:gd name="connsiteX150" fmla="*/ 32134 w 111219"/>
                    <a:gd name="connsiteY150" fmla="*/ 12518 h 69166"/>
                    <a:gd name="connsiteX151" fmla="*/ 34049 w 111219"/>
                    <a:gd name="connsiteY151" fmla="*/ 12257 h 69166"/>
                    <a:gd name="connsiteX152" fmla="*/ 35964 w 111219"/>
                    <a:gd name="connsiteY152" fmla="*/ 11467 h 69166"/>
                    <a:gd name="connsiteX153" fmla="*/ 37130 w 111219"/>
                    <a:gd name="connsiteY153" fmla="*/ 9592 h 69166"/>
                    <a:gd name="connsiteX154" fmla="*/ 37806 w 111219"/>
                    <a:gd name="connsiteY154" fmla="*/ 8174 h 69166"/>
                    <a:gd name="connsiteX155" fmla="*/ 40805 w 111219"/>
                    <a:gd name="connsiteY155" fmla="*/ 6552 h 69166"/>
                    <a:gd name="connsiteX156" fmla="*/ 42851 w 111219"/>
                    <a:gd name="connsiteY156" fmla="*/ 7367 h 69166"/>
                    <a:gd name="connsiteX157" fmla="*/ 48540 w 111219"/>
                    <a:gd name="connsiteY157" fmla="*/ 7587 h 69166"/>
                    <a:gd name="connsiteX158" fmla="*/ 52671 w 111219"/>
                    <a:gd name="connsiteY158" fmla="*/ 7147 h 69166"/>
                    <a:gd name="connsiteX159" fmla="*/ 55255 w 111219"/>
                    <a:gd name="connsiteY159" fmla="*/ 6047 h 69166"/>
                    <a:gd name="connsiteX160" fmla="*/ 58474 w 111219"/>
                    <a:gd name="connsiteY160" fmla="*/ 6047 h 69166"/>
                    <a:gd name="connsiteX161" fmla="*/ 60626 w 111219"/>
                    <a:gd name="connsiteY161" fmla="*/ 6667 h 69166"/>
                    <a:gd name="connsiteX162" fmla="*/ 61009 w 111219"/>
                    <a:gd name="connsiteY162" fmla="*/ 6569 h 69166"/>
                    <a:gd name="connsiteX163" fmla="*/ 61604 w 111219"/>
                    <a:gd name="connsiteY163" fmla="*/ 6422 h 69166"/>
                    <a:gd name="connsiteX164" fmla="*/ 62190 w 111219"/>
                    <a:gd name="connsiteY164" fmla="*/ 5843 h 69166"/>
                    <a:gd name="connsiteX165" fmla="*/ 64220 w 111219"/>
                    <a:gd name="connsiteY165" fmla="*/ 5428 h 69166"/>
                    <a:gd name="connsiteX166" fmla="*/ 64497 w 111219"/>
                    <a:gd name="connsiteY166" fmla="*/ 4939 h 69166"/>
                    <a:gd name="connsiteX167" fmla="*/ 64407 w 111219"/>
                    <a:gd name="connsiteY167" fmla="*/ 4434 h 69166"/>
                    <a:gd name="connsiteX168" fmla="*/ 64040 w 111219"/>
                    <a:gd name="connsiteY168" fmla="*/ 4181 h 69166"/>
                    <a:gd name="connsiteX169" fmla="*/ 61547 w 111219"/>
                    <a:gd name="connsiteY169" fmla="*/ 4442 h 69166"/>
                    <a:gd name="connsiteX170" fmla="*/ 60593 w 111219"/>
                    <a:gd name="connsiteY170" fmla="*/ 4050 h 69166"/>
                    <a:gd name="connsiteX171" fmla="*/ 60349 w 111219"/>
                    <a:gd name="connsiteY171" fmla="*/ 3146 h 69166"/>
                    <a:gd name="connsiteX172" fmla="*/ 61155 w 111219"/>
                    <a:gd name="connsiteY172" fmla="*/ 1597 h 69166"/>
                    <a:gd name="connsiteX173" fmla="*/ 62989 w 111219"/>
                    <a:gd name="connsiteY173" fmla="*/ 318 h 69166"/>
                    <a:gd name="connsiteX174" fmla="*/ 64554 w 111219"/>
                    <a:gd name="connsiteY174" fmla="*/ 0 h 69166"/>
                    <a:gd name="connsiteX175" fmla="*/ 65662 w 111219"/>
                    <a:gd name="connsiteY175" fmla="*/ 350 h 69166"/>
                    <a:gd name="connsiteX176" fmla="*/ 68401 w 111219"/>
                    <a:gd name="connsiteY176" fmla="*/ 2714 h 69166"/>
                    <a:gd name="connsiteX177" fmla="*/ 69061 w 111219"/>
                    <a:gd name="connsiteY177" fmla="*/ 2787 h 69166"/>
                    <a:gd name="connsiteX178" fmla="*/ 69444 w 111219"/>
                    <a:gd name="connsiteY178" fmla="*/ 2355 h 69166"/>
                    <a:gd name="connsiteX179" fmla="*/ 70014 w 111219"/>
                    <a:gd name="connsiteY179" fmla="*/ 2127 h 69166"/>
                    <a:gd name="connsiteX180" fmla="*/ 70952 w 111219"/>
                    <a:gd name="connsiteY180" fmla="*/ 2583 h 69166"/>
                    <a:gd name="connsiteX181" fmla="*/ 72027 w 111219"/>
                    <a:gd name="connsiteY181" fmla="*/ 4050 h 69166"/>
                    <a:gd name="connsiteX182" fmla="*/ 72198 w 111219"/>
                    <a:gd name="connsiteY182" fmla="*/ 4279 h 69166"/>
                    <a:gd name="connsiteX183" fmla="*/ 78310 w 111219"/>
                    <a:gd name="connsiteY183" fmla="*/ 3765 h 69166"/>
                    <a:gd name="connsiteX184" fmla="*/ 79680 w 111219"/>
                    <a:gd name="connsiteY184" fmla="*/ 3765 h 69166"/>
                    <a:gd name="connsiteX185" fmla="*/ 83828 w 111219"/>
                    <a:gd name="connsiteY185" fmla="*/ 6332 h 69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111219" h="69166">
                      <a:moveTo>
                        <a:pt x="88139" y="8997"/>
                      </a:moveTo>
                      <a:lnTo>
                        <a:pt x="88897" y="9470"/>
                      </a:lnTo>
                      <a:lnTo>
                        <a:pt x="90674" y="11043"/>
                      </a:lnTo>
                      <a:lnTo>
                        <a:pt x="90250" y="13732"/>
                      </a:lnTo>
                      <a:lnTo>
                        <a:pt x="88229" y="18052"/>
                      </a:lnTo>
                      <a:lnTo>
                        <a:pt x="87153" y="21548"/>
                      </a:lnTo>
                      <a:lnTo>
                        <a:pt x="87039" y="24221"/>
                      </a:lnTo>
                      <a:lnTo>
                        <a:pt x="87243" y="25484"/>
                      </a:lnTo>
                      <a:lnTo>
                        <a:pt x="87601" y="25468"/>
                      </a:lnTo>
                      <a:lnTo>
                        <a:pt x="89541" y="25655"/>
                      </a:lnTo>
                      <a:lnTo>
                        <a:pt x="90527" y="25655"/>
                      </a:lnTo>
                      <a:lnTo>
                        <a:pt x="93624" y="26381"/>
                      </a:lnTo>
                      <a:lnTo>
                        <a:pt x="96110" y="27432"/>
                      </a:lnTo>
                      <a:lnTo>
                        <a:pt x="96591" y="28557"/>
                      </a:lnTo>
                      <a:lnTo>
                        <a:pt x="96916" y="29918"/>
                      </a:lnTo>
                      <a:lnTo>
                        <a:pt x="99875" y="31784"/>
                      </a:lnTo>
                      <a:lnTo>
                        <a:pt x="103265" y="32990"/>
                      </a:lnTo>
                      <a:lnTo>
                        <a:pt x="104406" y="32599"/>
                      </a:lnTo>
                      <a:lnTo>
                        <a:pt x="108611" y="28247"/>
                      </a:lnTo>
                      <a:lnTo>
                        <a:pt x="110241" y="28964"/>
                      </a:lnTo>
                      <a:lnTo>
                        <a:pt x="111219" y="31287"/>
                      </a:lnTo>
                      <a:lnTo>
                        <a:pt x="111178" y="32509"/>
                      </a:lnTo>
                      <a:lnTo>
                        <a:pt x="110021" y="37130"/>
                      </a:lnTo>
                      <a:lnTo>
                        <a:pt x="109817" y="39608"/>
                      </a:lnTo>
                      <a:lnTo>
                        <a:pt x="110812" y="41254"/>
                      </a:lnTo>
                      <a:lnTo>
                        <a:pt x="110918" y="42525"/>
                      </a:lnTo>
                      <a:lnTo>
                        <a:pt x="110632" y="43691"/>
                      </a:lnTo>
                      <a:lnTo>
                        <a:pt x="108953" y="43797"/>
                      </a:lnTo>
                      <a:lnTo>
                        <a:pt x="106696" y="43161"/>
                      </a:lnTo>
                      <a:lnTo>
                        <a:pt x="104797" y="41181"/>
                      </a:lnTo>
                      <a:lnTo>
                        <a:pt x="103355" y="41409"/>
                      </a:lnTo>
                      <a:lnTo>
                        <a:pt x="102108" y="41922"/>
                      </a:lnTo>
                      <a:lnTo>
                        <a:pt x="101472" y="43805"/>
                      </a:lnTo>
                      <a:lnTo>
                        <a:pt x="100902" y="46062"/>
                      </a:lnTo>
                      <a:lnTo>
                        <a:pt x="101081" y="47309"/>
                      </a:lnTo>
                      <a:lnTo>
                        <a:pt x="101978" y="48279"/>
                      </a:lnTo>
                      <a:lnTo>
                        <a:pt x="102662" y="50333"/>
                      </a:lnTo>
                      <a:lnTo>
                        <a:pt x="103167" y="52981"/>
                      </a:lnTo>
                      <a:lnTo>
                        <a:pt x="103550" y="54204"/>
                      </a:lnTo>
                      <a:lnTo>
                        <a:pt x="103127" y="54742"/>
                      </a:lnTo>
                      <a:lnTo>
                        <a:pt x="101945" y="55100"/>
                      </a:lnTo>
                      <a:lnTo>
                        <a:pt x="100959" y="54750"/>
                      </a:lnTo>
                      <a:lnTo>
                        <a:pt x="99247" y="51572"/>
                      </a:lnTo>
                      <a:lnTo>
                        <a:pt x="98440" y="50365"/>
                      </a:lnTo>
                      <a:lnTo>
                        <a:pt x="97087" y="50154"/>
                      </a:lnTo>
                      <a:lnTo>
                        <a:pt x="94691" y="50928"/>
                      </a:lnTo>
                      <a:lnTo>
                        <a:pt x="91008" y="52704"/>
                      </a:lnTo>
                      <a:lnTo>
                        <a:pt x="89516" y="52696"/>
                      </a:lnTo>
                      <a:lnTo>
                        <a:pt x="88253" y="52338"/>
                      </a:lnTo>
                      <a:lnTo>
                        <a:pt x="87080" y="50830"/>
                      </a:lnTo>
                      <a:lnTo>
                        <a:pt x="86069" y="47920"/>
                      </a:lnTo>
                      <a:lnTo>
                        <a:pt x="85751" y="46095"/>
                      </a:lnTo>
                      <a:lnTo>
                        <a:pt x="85050" y="46152"/>
                      </a:lnTo>
                      <a:lnTo>
                        <a:pt x="82687" y="45622"/>
                      </a:lnTo>
                      <a:lnTo>
                        <a:pt x="81595" y="46348"/>
                      </a:lnTo>
                      <a:lnTo>
                        <a:pt x="81587" y="49322"/>
                      </a:lnTo>
                      <a:lnTo>
                        <a:pt x="81375" y="53022"/>
                      </a:lnTo>
                      <a:lnTo>
                        <a:pt x="80185" y="55418"/>
                      </a:lnTo>
                      <a:lnTo>
                        <a:pt x="76901" y="59550"/>
                      </a:lnTo>
                      <a:lnTo>
                        <a:pt x="75694" y="61351"/>
                      </a:lnTo>
                      <a:lnTo>
                        <a:pt x="75214" y="62639"/>
                      </a:lnTo>
                      <a:lnTo>
                        <a:pt x="75116" y="63755"/>
                      </a:lnTo>
                      <a:lnTo>
                        <a:pt x="75621" y="65703"/>
                      </a:lnTo>
                      <a:lnTo>
                        <a:pt x="76306" y="67553"/>
                      </a:lnTo>
                      <a:lnTo>
                        <a:pt x="75735" y="68621"/>
                      </a:lnTo>
                      <a:lnTo>
                        <a:pt x="73999" y="69167"/>
                      </a:lnTo>
                      <a:lnTo>
                        <a:pt x="72769" y="68042"/>
                      </a:lnTo>
                      <a:lnTo>
                        <a:pt x="72296" y="66037"/>
                      </a:lnTo>
                      <a:lnTo>
                        <a:pt x="69647" y="63299"/>
                      </a:lnTo>
                      <a:lnTo>
                        <a:pt x="70854" y="61009"/>
                      </a:lnTo>
                      <a:lnTo>
                        <a:pt x="70650" y="60438"/>
                      </a:lnTo>
                      <a:lnTo>
                        <a:pt x="66265" y="59249"/>
                      </a:lnTo>
                      <a:lnTo>
                        <a:pt x="64366" y="57513"/>
                      </a:lnTo>
                      <a:lnTo>
                        <a:pt x="61718" y="54473"/>
                      </a:lnTo>
                      <a:lnTo>
                        <a:pt x="61213" y="53161"/>
                      </a:lnTo>
                      <a:lnTo>
                        <a:pt x="61326" y="48915"/>
                      </a:lnTo>
                      <a:lnTo>
                        <a:pt x="61172" y="47888"/>
                      </a:lnTo>
                      <a:lnTo>
                        <a:pt x="60821" y="47383"/>
                      </a:lnTo>
                      <a:lnTo>
                        <a:pt x="59534" y="47407"/>
                      </a:lnTo>
                      <a:lnTo>
                        <a:pt x="57757" y="48890"/>
                      </a:lnTo>
                      <a:lnTo>
                        <a:pt x="56086" y="51091"/>
                      </a:lnTo>
                      <a:lnTo>
                        <a:pt x="52712" y="53576"/>
                      </a:lnTo>
                      <a:lnTo>
                        <a:pt x="52362" y="54114"/>
                      </a:lnTo>
                      <a:lnTo>
                        <a:pt x="53503" y="56535"/>
                      </a:lnTo>
                      <a:lnTo>
                        <a:pt x="53446" y="57480"/>
                      </a:lnTo>
                      <a:lnTo>
                        <a:pt x="50691" y="61335"/>
                      </a:lnTo>
                      <a:lnTo>
                        <a:pt x="50178" y="62606"/>
                      </a:lnTo>
                      <a:lnTo>
                        <a:pt x="46681" y="65019"/>
                      </a:lnTo>
                      <a:lnTo>
                        <a:pt x="45076" y="65931"/>
                      </a:lnTo>
                      <a:lnTo>
                        <a:pt x="40243" y="64147"/>
                      </a:lnTo>
                      <a:lnTo>
                        <a:pt x="38898" y="63935"/>
                      </a:lnTo>
                      <a:lnTo>
                        <a:pt x="36739" y="65125"/>
                      </a:lnTo>
                      <a:lnTo>
                        <a:pt x="33666" y="66266"/>
                      </a:lnTo>
                      <a:lnTo>
                        <a:pt x="28736" y="67390"/>
                      </a:lnTo>
                      <a:lnTo>
                        <a:pt x="26918" y="66567"/>
                      </a:lnTo>
                      <a:lnTo>
                        <a:pt x="26054" y="65793"/>
                      </a:lnTo>
                      <a:lnTo>
                        <a:pt x="25631" y="64619"/>
                      </a:lnTo>
                      <a:lnTo>
                        <a:pt x="24392" y="62566"/>
                      </a:lnTo>
                      <a:lnTo>
                        <a:pt x="22990" y="61343"/>
                      </a:lnTo>
                      <a:lnTo>
                        <a:pt x="22020" y="60007"/>
                      </a:lnTo>
                      <a:lnTo>
                        <a:pt x="20733" y="58548"/>
                      </a:lnTo>
                      <a:lnTo>
                        <a:pt x="19885" y="57333"/>
                      </a:lnTo>
                      <a:lnTo>
                        <a:pt x="20994" y="53430"/>
                      </a:lnTo>
                      <a:lnTo>
                        <a:pt x="20187" y="52060"/>
                      </a:lnTo>
                      <a:lnTo>
                        <a:pt x="19763" y="50105"/>
                      </a:lnTo>
                      <a:lnTo>
                        <a:pt x="19983" y="48784"/>
                      </a:lnTo>
                      <a:lnTo>
                        <a:pt x="19543" y="48458"/>
                      </a:lnTo>
                      <a:lnTo>
                        <a:pt x="15077" y="47692"/>
                      </a:lnTo>
                      <a:lnTo>
                        <a:pt x="11369" y="47929"/>
                      </a:lnTo>
                      <a:lnTo>
                        <a:pt x="8720" y="49233"/>
                      </a:lnTo>
                      <a:lnTo>
                        <a:pt x="6552" y="51400"/>
                      </a:lnTo>
                      <a:lnTo>
                        <a:pt x="6299" y="51873"/>
                      </a:lnTo>
                      <a:lnTo>
                        <a:pt x="6438" y="52256"/>
                      </a:lnTo>
                      <a:lnTo>
                        <a:pt x="7514" y="54245"/>
                      </a:lnTo>
                      <a:lnTo>
                        <a:pt x="5688" y="56331"/>
                      </a:lnTo>
                      <a:lnTo>
                        <a:pt x="2885" y="57969"/>
                      </a:lnTo>
                      <a:lnTo>
                        <a:pt x="913" y="58140"/>
                      </a:lnTo>
                      <a:lnTo>
                        <a:pt x="41" y="57814"/>
                      </a:lnTo>
                      <a:lnTo>
                        <a:pt x="0" y="55573"/>
                      </a:lnTo>
                      <a:lnTo>
                        <a:pt x="1630" y="54750"/>
                      </a:lnTo>
                      <a:lnTo>
                        <a:pt x="3113" y="53283"/>
                      </a:lnTo>
                      <a:lnTo>
                        <a:pt x="3610" y="51221"/>
                      </a:lnTo>
                      <a:lnTo>
                        <a:pt x="3789" y="49770"/>
                      </a:lnTo>
                      <a:lnTo>
                        <a:pt x="2233" y="48010"/>
                      </a:lnTo>
                      <a:lnTo>
                        <a:pt x="2428" y="46934"/>
                      </a:lnTo>
                      <a:lnTo>
                        <a:pt x="3398" y="44897"/>
                      </a:lnTo>
                      <a:lnTo>
                        <a:pt x="3953" y="43096"/>
                      </a:lnTo>
                      <a:lnTo>
                        <a:pt x="4726" y="41531"/>
                      </a:lnTo>
                      <a:lnTo>
                        <a:pt x="7815" y="38972"/>
                      </a:lnTo>
                      <a:lnTo>
                        <a:pt x="10912" y="36397"/>
                      </a:lnTo>
                      <a:lnTo>
                        <a:pt x="11369" y="33667"/>
                      </a:lnTo>
                      <a:lnTo>
                        <a:pt x="11613" y="30333"/>
                      </a:lnTo>
                      <a:lnTo>
                        <a:pt x="12045" y="29535"/>
                      </a:lnTo>
                      <a:lnTo>
                        <a:pt x="16242" y="27554"/>
                      </a:lnTo>
                      <a:lnTo>
                        <a:pt x="17285" y="26756"/>
                      </a:lnTo>
                      <a:lnTo>
                        <a:pt x="17799" y="25631"/>
                      </a:lnTo>
                      <a:lnTo>
                        <a:pt x="21091" y="21882"/>
                      </a:lnTo>
                      <a:lnTo>
                        <a:pt x="24359" y="18174"/>
                      </a:lnTo>
                      <a:lnTo>
                        <a:pt x="25003" y="16935"/>
                      </a:lnTo>
                      <a:lnTo>
                        <a:pt x="25557" y="16202"/>
                      </a:lnTo>
                      <a:lnTo>
                        <a:pt x="25557" y="15599"/>
                      </a:lnTo>
                      <a:lnTo>
                        <a:pt x="25150" y="15134"/>
                      </a:lnTo>
                      <a:lnTo>
                        <a:pt x="23585" y="14824"/>
                      </a:lnTo>
                      <a:lnTo>
                        <a:pt x="23072" y="13651"/>
                      </a:lnTo>
                      <a:lnTo>
                        <a:pt x="24759" y="11540"/>
                      </a:lnTo>
                      <a:lnTo>
                        <a:pt x="26878" y="10244"/>
                      </a:lnTo>
                      <a:lnTo>
                        <a:pt x="28915" y="10236"/>
                      </a:lnTo>
                      <a:lnTo>
                        <a:pt x="29730" y="10823"/>
                      </a:lnTo>
                      <a:lnTo>
                        <a:pt x="29690" y="11516"/>
                      </a:lnTo>
                      <a:lnTo>
                        <a:pt x="30577" y="12265"/>
                      </a:lnTo>
                      <a:lnTo>
                        <a:pt x="32134" y="12518"/>
                      </a:lnTo>
                      <a:lnTo>
                        <a:pt x="34049" y="12257"/>
                      </a:lnTo>
                      <a:lnTo>
                        <a:pt x="35964" y="11467"/>
                      </a:lnTo>
                      <a:lnTo>
                        <a:pt x="37130" y="9592"/>
                      </a:lnTo>
                      <a:lnTo>
                        <a:pt x="37806" y="8174"/>
                      </a:lnTo>
                      <a:lnTo>
                        <a:pt x="40805" y="6552"/>
                      </a:lnTo>
                      <a:lnTo>
                        <a:pt x="42851" y="7367"/>
                      </a:lnTo>
                      <a:lnTo>
                        <a:pt x="48540" y="7587"/>
                      </a:lnTo>
                      <a:lnTo>
                        <a:pt x="52671" y="7147"/>
                      </a:lnTo>
                      <a:lnTo>
                        <a:pt x="55255" y="6047"/>
                      </a:lnTo>
                      <a:lnTo>
                        <a:pt x="58474" y="6047"/>
                      </a:lnTo>
                      <a:lnTo>
                        <a:pt x="60626" y="6667"/>
                      </a:lnTo>
                      <a:lnTo>
                        <a:pt x="61009" y="6569"/>
                      </a:lnTo>
                      <a:lnTo>
                        <a:pt x="61604" y="6422"/>
                      </a:lnTo>
                      <a:lnTo>
                        <a:pt x="62190" y="5843"/>
                      </a:lnTo>
                      <a:lnTo>
                        <a:pt x="64220" y="5428"/>
                      </a:lnTo>
                      <a:lnTo>
                        <a:pt x="64497" y="4939"/>
                      </a:lnTo>
                      <a:lnTo>
                        <a:pt x="64407" y="4434"/>
                      </a:lnTo>
                      <a:lnTo>
                        <a:pt x="64040" y="4181"/>
                      </a:lnTo>
                      <a:lnTo>
                        <a:pt x="61547" y="4442"/>
                      </a:lnTo>
                      <a:lnTo>
                        <a:pt x="60593" y="4050"/>
                      </a:lnTo>
                      <a:lnTo>
                        <a:pt x="60349" y="3146"/>
                      </a:lnTo>
                      <a:lnTo>
                        <a:pt x="61155" y="1597"/>
                      </a:lnTo>
                      <a:lnTo>
                        <a:pt x="62989" y="318"/>
                      </a:lnTo>
                      <a:lnTo>
                        <a:pt x="64554" y="0"/>
                      </a:lnTo>
                      <a:lnTo>
                        <a:pt x="65662" y="350"/>
                      </a:lnTo>
                      <a:lnTo>
                        <a:pt x="68401" y="2714"/>
                      </a:lnTo>
                      <a:lnTo>
                        <a:pt x="69061" y="2787"/>
                      </a:lnTo>
                      <a:lnTo>
                        <a:pt x="69444" y="2355"/>
                      </a:lnTo>
                      <a:lnTo>
                        <a:pt x="70014" y="2127"/>
                      </a:lnTo>
                      <a:lnTo>
                        <a:pt x="70952" y="2583"/>
                      </a:lnTo>
                      <a:lnTo>
                        <a:pt x="72027" y="4050"/>
                      </a:lnTo>
                      <a:lnTo>
                        <a:pt x="72198" y="4279"/>
                      </a:lnTo>
                      <a:lnTo>
                        <a:pt x="78310" y="3765"/>
                      </a:lnTo>
                      <a:lnTo>
                        <a:pt x="79680" y="3765"/>
                      </a:lnTo>
                      <a:lnTo>
                        <a:pt x="83828" y="6332"/>
                      </a:lnTo>
                      <a:close/>
                    </a:path>
                  </a:pathLst>
                </a:custGeom>
                <a:solidFill>
                  <a:srgbClr val="D6D6D2"/>
                </a:solidFill>
                <a:ln w="6112" cap="rnd">
                  <a:solidFill>
                    <a:srgbClr val="FFFFFF"/>
                  </a:solidFill>
                  <a:prstDash val="solid"/>
                  <a:round/>
                </a:ln>
              </p:spPr>
              <p:txBody>
                <a:bodyPr rtlCol="0" anchor="ctr"/>
                <a:lstStyle/>
                <a:p>
                  <a:endParaRPr lang="en-US"/>
                </a:p>
              </p:txBody>
            </p:sp>
            <p:sp>
              <p:nvSpPr>
                <p:cNvPr id="764" name="Freeform: Shape 763">
                  <a:extLst>
                    <a:ext uri="{FF2B5EF4-FFF2-40B4-BE49-F238E27FC236}">
                      <a16:creationId xmlns:a16="http://schemas.microsoft.com/office/drawing/2014/main" id="{97B2C4D4-7972-4365-9DD9-7E85FFF00D66}"/>
                    </a:ext>
                  </a:extLst>
                </p:cNvPr>
                <p:cNvSpPr/>
                <p:nvPr/>
              </p:nvSpPr>
              <p:spPr>
                <a:xfrm>
                  <a:off x="6301560" y="4194277"/>
                  <a:ext cx="321734" cy="262250"/>
                </a:xfrm>
                <a:custGeom>
                  <a:avLst/>
                  <a:gdLst>
                    <a:gd name="connsiteX0" fmla="*/ 209049 w 321734"/>
                    <a:gd name="connsiteY0" fmla="*/ 2307 h 262250"/>
                    <a:gd name="connsiteX1" fmla="*/ 210809 w 321734"/>
                    <a:gd name="connsiteY1" fmla="*/ 6064 h 262250"/>
                    <a:gd name="connsiteX2" fmla="*/ 211632 w 321734"/>
                    <a:gd name="connsiteY2" fmla="*/ 7384 h 262250"/>
                    <a:gd name="connsiteX3" fmla="*/ 218869 w 321734"/>
                    <a:gd name="connsiteY3" fmla="*/ 16259 h 262250"/>
                    <a:gd name="connsiteX4" fmla="*/ 220263 w 321734"/>
                    <a:gd name="connsiteY4" fmla="*/ 18369 h 262250"/>
                    <a:gd name="connsiteX5" fmla="*/ 223849 w 321734"/>
                    <a:gd name="connsiteY5" fmla="*/ 24816 h 262250"/>
                    <a:gd name="connsiteX6" fmla="*/ 226041 w 321734"/>
                    <a:gd name="connsiteY6" fmla="*/ 29168 h 262250"/>
                    <a:gd name="connsiteX7" fmla="*/ 228551 w 321734"/>
                    <a:gd name="connsiteY7" fmla="*/ 35411 h 262250"/>
                    <a:gd name="connsiteX8" fmla="*/ 228803 w 321734"/>
                    <a:gd name="connsiteY8" fmla="*/ 38809 h 262250"/>
                    <a:gd name="connsiteX9" fmla="*/ 228461 w 321734"/>
                    <a:gd name="connsiteY9" fmla="*/ 41719 h 262250"/>
                    <a:gd name="connsiteX10" fmla="*/ 227964 w 321734"/>
                    <a:gd name="connsiteY10" fmla="*/ 49958 h 262250"/>
                    <a:gd name="connsiteX11" fmla="*/ 227312 w 321734"/>
                    <a:gd name="connsiteY11" fmla="*/ 52330 h 262250"/>
                    <a:gd name="connsiteX12" fmla="*/ 224142 w 321734"/>
                    <a:gd name="connsiteY12" fmla="*/ 56763 h 262250"/>
                    <a:gd name="connsiteX13" fmla="*/ 224003 w 321734"/>
                    <a:gd name="connsiteY13" fmla="*/ 58760 h 262250"/>
                    <a:gd name="connsiteX14" fmla="*/ 224647 w 321734"/>
                    <a:gd name="connsiteY14" fmla="*/ 60422 h 262250"/>
                    <a:gd name="connsiteX15" fmla="*/ 225617 w 321734"/>
                    <a:gd name="connsiteY15" fmla="*/ 61107 h 262250"/>
                    <a:gd name="connsiteX16" fmla="*/ 226204 w 321734"/>
                    <a:gd name="connsiteY16" fmla="*/ 61930 h 262250"/>
                    <a:gd name="connsiteX17" fmla="*/ 225853 w 321734"/>
                    <a:gd name="connsiteY17" fmla="*/ 65768 h 262250"/>
                    <a:gd name="connsiteX18" fmla="*/ 226986 w 321734"/>
                    <a:gd name="connsiteY18" fmla="*/ 67276 h 262250"/>
                    <a:gd name="connsiteX19" fmla="*/ 229366 w 321734"/>
                    <a:gd name="connsiteY19" fmla="*/ 68279 h 262250"/>
                    <a:gd name="connsiteX20" fmla="*/ 235389 w 321734"/>
                    <a:gd name="connsiteY20" fmla="*/ 68963 h 262250"/>
                    <a:gd name="connsiteX21" fmla="*/ 238518 w 321734"/>
                    <a:gd name="connsiteY21" fmla="*/ 69517 h 262250"/>
                    <a:gd name="connsiteX22" fmla="*/ 240971 w 321734"/>
                    <a:gd name="connsiteY22" fmla="*/ 70291 h 262250"/>
                    <a:gd name="connsiteX23" fmla="*/ 242161 w 321734"/>
                    <a:gd name="connsiteY23" fmla="*/ 70658 h 262250"/>
                    <a:gd name="connsiteX24" fmla="*/ 242805 w 321734"/>
                    <a:gd name="connsiteY24" fmla="*/ 72019 h 262250"/>
                    <a:gd name="connsiteX25" fmla="*/ 241794 w 321734"/>
                    <a:gd name="connsiteY25" fmla="*/ 76453 h 262250"/>
                    <a:gd name="connsiteX26" fmla="*/ 242495 w 321734"/>
                    <a:gd name="connsiteY26" fmla="*/ 79215 h 262250"/>
                    <a:gd name="connsiteX27" fmla="*/ 244549 w 321734"/>
                    <a:gd name="connsiteY27" fmla="*/ 81555 h 262250"/>
                    <a:gd name="connsiteX28" fmla="*/ 246635 w 321734"/>
                    <a:gd name="connsiteY28" fmla="*/ 82549 h 262250"/>
                    <a:gd name="connsiteX29" fmla="*/ 248632 w 321734"/>
                    <a:gd name="connsiteY29" fmla="*/ 83119 h 262250"/>
                    <a:gd name="connsiteX30" fmla="*/ 255600 w 321734"/>
                    <a:gd name="connsiteY30" fmla="*/ 84562 h 262250"/>
                    <a:gd name="connsiteX31" fmla="*/ 258485 w 321734"/>
                    <a:gd name="connsiteY31" fmla="*/ 86184 h 262250"/>
                    <a:gd name="connsiteX32" fmla="*/ 262299 w 321734"/>
                    <a:gd name="connsiteY32" fmla="*/ 91383 h 262250"/>
                    <a:gd name="connsiteX33" fmla="*/ 267099 w 321734"/>
                    <a:gd name="connsiteY33" fmla="*/ 96102 h 262250"/>
                    <a:gd name="connsiteX34" fmla="*/ 268265 w 321734"/>
                    <a:gd name="connsiteY34" fmla="*/ 98604 h 262250"/>
                    <a:gd name="connsiteX35" fmla="*/ 268036 w 321734"/>
                    <a:gd name="connsiteY35" fmla="*/ 100886 h 262250"/>
                    <a:gd name="connsiteX36" fmla="*/ 266618 w 321734"/>
                    <a:gd name="connsiteY36" fmla="*/ 103640 h 262250"/>
                    <a:gd name="connsiteX37" fmla="*/ 266847 w 321734"/>
                    <a:gd name="connsiteY37" fmla="*/ 104781 h 262250"/>
                    <a:gd name="connsiteX38" fmla="*/ 269039 w 321734"/>
                    <a:gd name="connsiteY38" fmla="*/ 107544 h 262250"/>
                    <a:gd name="connsiteX39" fmla="*/ 271574 w 321734"/>
                    <a:gd name="connsiteY39" fmla="*/ 110372 h 262250"/>
                    <a:gd name="connsiteX40" fmla="*/ 276170 w 321734"/>
                    <a:gd name="connsiteY40" fmla="*/ 113518 h 262250"/>
                    <a:gd name="connsiteX41" fmla="*/ 284173 w 321734"/>
                    <a:gd name="connsiteY41" fmla="*/ 118440 h 262250"/>
                    <a:gd name="connsiteX42" fmla="*/ 287832 w 321734"/>
                    <a:gd name="connsiteY42" fmla="*/ 121733 h 262250"/>
                    <a:gd name="connsiteX43" fmla="*/ 289079 w 321734"/>
                    <a:gd name="connsiteY43" fmla="*/ 124235 h 262250"/>
                    <a:gd name="connsiteX44" fmla="*/ 291133 w 321734"/>
                    <a:gd name="connsiteY44" fmla="*/ 126948 h 262250"/>
                    <a:gd name="connsiteX45" fmla="*/ 293985 w 321734"/>
                    <a:gd name="connsiteY45" fmla="*/ 129434 h 262250"/>
                    <a:gd name="connsiteX46" fmla="*/ 295900 w 321734"/>
                    <a:gd name="connsiteY46" fmla="*/ 131349 h 262250"/>
                    <a:gd name="connsiteX47" fmla="*/ 294580 w 321734"/>
                    <a:gd name="connsiteY47" fmla="*/ 136753 h 262250"/>
                    <a:gd name="connsiteX48" fmla="*/ 294980 w 321734"/>
                    <a:gd name="connsiteY48" fmla="*/ 138529 h 262250"/>
                    <a:gd name="connsiteX49" fmla="*/ 295688 w 321734"/>
                    <a:gd name="connsiteY49" fmla="*/ 140078 h 262250"/>
                    <a:gd name="connsiteX50" fmla="*/ 297359 w 321734"/>
                    <a:gd name="connsiteY50" fmla="*/ 142197 h 262250"/>
                    <a:gd name="connsiteX51" fmla="*/ 298019 w 321734"/>
                    <a:gd name="connsiteY51" fmla="*/ 144935 h 262250"/>
                    <a:gd name="connsiteX52" fmla="*/ 299682 w 321734"/>
                    <a:gd name="connsiteY52" fmla="*/ 148350 h 262250"/>
                    <a:gd name="connsiteX53" fmla="*/ 301646 w 321734"/>
                    <a:gd name="connsiteY53" fmla="*/ 149906 h 262250"/>
                    <a:gd name="connsiteX54" fmla="*/ 304946 w 321734"/>
                    <a:gd name="connsiteY54" fmla="*/ 150485 h 262250"/>
                    <a:gd name="connsiteX55" fmla="*/ 306682 w 321734"/>
                    <a:gd name="connsiteY55" fmla="*/ 152066 h 262250"/>
                    <a:gd name="connsiteX56" fmla="*/ 310301 w 321734"/>
                    <a:gd name="connsiteY56" fmla="*/ 154780 h 262250"/>
                    <a:gd name="connsiteX57" fmla="*/ 313806 w 321734"/>
                    <a:gd name="connsiteY57" fmla="*/ 157127 h 262250"/>
                    <a:gd name="connsiteX58" fmla="*/ 315297 w 321734"/>
                    <a:gd name="connsiteY58" fmla="*/ 158749 h 262250"/>
                    <a:gd name="connsiteX59" fmla="*/ 316226 w 321734"/>
                    <a:gd name="connsiteY59" fmla="*/ 160175 h 262250"/>
                    <a:gd name="connsiteX60" fmla="*/ 317016 w 321734"/>
                    <a:gd name="connsiteY60" fmla="*/ 161870 h 262250"/>
                    <a:gd name="connsiteX61" fmla="*/ 317416 w 321734"/>
                    <a:gd name="connsiteY61" fmla="*/ 163557 h 262250"/>
                    <a:gd name="connsiteX62" fmla="*/ 317497 w 321734"/>
                    <a:gd name="connsiteY62" fmla="*/ 167216 h 262250"/>
                    <a:gd name="connsiteX63" fmla="*/ 318100 w 321734"/>
                    <a:gd name="connsiteY63" fmla="*/ 171739 h 262250"/>
                    <a:gd name="connsiteX64" fmla="*/ 319967 w 321734"/>
                    <a:gd name="connsiteY64" fmla="*/ 174844 h 262250"/>
                    <a:gd name="connsiteX65" fmla="*/ 321735 w 321734"/>
                    <a:gd name="connsiteY65" fmla="*/ 177159 h 262250"/>
                    <a:gd name="connsiteX66" fmla="*/ 314579 w 321734"/>
                    <a:gd name="connsiteY66" fmla="*/ 174502 h 262250"/>
                    <a:gd name="connsiteX67" fmla="*/ 313512 w 321734"/>
                    <a:gd name="connsiteY67" fmla="*/ 174437 h 262250"/>
                    <a:gd name="connsiteX68" fmla="*/ 312241 w 321734"/>
                    <a:gd name="connsiteY68" fmla="*/ 174910 h 262250"/>
                    <a:gd name="connsiteX69" fmla="*/ 308508 w 321734"/>
                    <a:gd name="connsiteY69" fmla="*/ 178169 h 262250"/>
                    <a:gd name="connsiteX70" fmla="*/ 307326 w 321734"/>
                    <a:gd name="connsiteY70" fmla="*/ 178561 h 262250"/>
                    <a:gd name="connsiteX71" fmla="*/ 305965 w 321734"/>
                    <a:gd name="connsiteY71" fmla="*/ 178275 h 262250"/>
                    <a:gd name="connsiteX72" fmla="*/ 302616 w 321734"/>
                    <a:gd name="connsiteY72" fmla="*/ 177876 h 262250"/>
                    <a:gd name="connsiteX73" fmla="*/ 291231 w 321734"/>
                    <a:gd name="connsiteY73" fmla="*/ 175301 h 262250"/>
                    <a:gd name="connsiteX74" fmla="*/ 282462 w 321734"/>
                    <a:gd name="connsiteY74" fmla="*/ 172823 h 262250"/>
                    <a:gd name="connsiteX75" fmla="*/ 279837 w 321734"/>
                    <a:gd name="connsiteY75" fmla="*/ 171927 h 262250"/>
                    <a:gd name="connsiteX76" fmla="*/ 275143 w 321734"/>
                    <a:gd name="connsiteY76" fmla="*/ 171071 h 262250"/>
                    <a:gd name="connsiteX77" fmla="*/ 272046 w 321734"/>
                    <a:gd name="connsiteY77" fmla="*/ 172758 h 262250"/>
                    <a:gd name="connsiteX78" fmla="*/ 269153 w 321734"/>
                    <a:gd name="connsiteY78" fmla="*/ 178552 h 262250"/>
                    <a:gd name="connsiteX79" fmla="*/ 268313 w 321734"/>
                    <a:gd name="connsiteY79" fmla="*/ 179702 h 262250"/>
                    <a:gd name="connsiteX80" fmla="*/ 263733 w 321734"/>
                    <a:gd name="connsiteY80" fmla="*/ 181413 h 262250"/>
                    <a:gd name="connsiteX81" fmla="*/ 261590 w 321734"/>
                    <a:gd name="connsiteY81" fmla="*/ 180949 h 262250"/>
                    <a:gd name="connsiteX82" fmla="*/ 256309 w 321734"/>
                    <a:gd name="connsiteY82" fmla="*/ 182538 h 262250"/>
                    <a:gd name="connsiteX83" fmla="*/ 248175 w 321734"/>
                    <a:gd name="connsiteY83" fmla="*/ 180142 h 262250"/>
                    <a:gd name="connsiteX84" fmla="*/ 245250 w 321734"/>
                    <a:gd name="connsiteY84" fmla="*/ 180615 h 262250"/>
                    <a:gd name="connsiteX85" fmla="*/ 242968 w 321734"/>
                    <a:gd name="connsiteY85" fmla="*/ 181821 h 262250"/>
                    <a:gd name="connsiteX86" fmla="*/ 237116 w 321734"/>
                    <a:gd name="connsiteY86" fmla="*/ 184453 h 262250"/>
                    <a:gd name="connsiteX87" fmla="*/ 233563 w 321734"/>
                    <a:gd name="connsiteY87" fmla="*/ 185944 h 262250"/>
                    <a:gd name="connsiteX88" fmla="*/ 229439 w 321734"/>
                    <a:gd name="connsiteY88" fmla="*/ 187314 h 262250"/>
                    <a:gd name="connsiteX89" fmla="*/ 225511 w 321734"/>
                    <a:gd name="connsiteY89" fmla="*/ 189400 h 262250"/>
                    <a:gd name="connsiteX90" fmla="*/ 222871 w 321734"/>
                    <a:gd name="connsiteY90" fmla="*/ 190541 h 262250"/>
                    <a:gd name="connsiteX91" fmla="*/ 220279 w 321734"/>
                    <a:gd name="connsiteY91" fmla="*/ 190525 h 262250"/>
                    <a:gd name="connsiteX92" fmla="*/ 217948 w 321734"/>
                    <a:gd name="connsiteY92" fmla="*/ 189343 h 262250"/>
                    <a:gd name="connsiteX93" fmla="*/ 215397 w 321734"/>
                    <a:gd name="connsiteY93" fmla="*/ 188324 h 262250"/>
                    <a:gd name="connsiteX94" fmla="*/ 212341 w 321734"/>
                    <a:gd name="connsiteY94" fmla="*/ 188120 h 262250"/>
                    <a:gd name="connsiteX95" fmla="*/ 209163 w 321734"/>
                    <a:gd name="connsiteY95" fmla="*/ 188715 h 262250"/>
                    <a:gd name="connsiteX96" fmla="*/ 206473 w 321734"/>
                    <a:gd name="connsiteY96" fmla="*/ 191030 h 262250"/>
                    <a:gd name="connsiteX97" fmla="*/ 205373 w 321734"/>
                    <a:gd name="connsiteY97" fmla="*/ 192684 h 262250"/>
                    <a:gd name="connsiteX98" fmla="*/ 203026 w 321734"/>
                    <a:gd name="connsiteY98" fmla="*/ 197060 h 262250"/>
                    <a:gd name="connsiteX99" fmla="*/ 200263 w 321734"/>
                    <a:gd name="connsiteY99" fmla="*/ 204200 h 262250"/>
                    <a:gd name="connsiteX100" fmla="*/ 199171 w 321734"/>
                    <a:gd name="connsiteY100" fmla="*/ 205634 h 262250"/>
                    <a:gd name="connsiteX101" fmla="*/ 198870 w 321734"/>
                    <a:gd name="connsiteY101" fmla="*/ 205773 h 262250"/>
                    <a:gd name="connsiteX102" fmla="*/ 198193 w 321734"/>
                    <a:gd name="connsiteY102" fmla="*/ 206376 h 262250"/>
                    <a:gd name="connsiteX103" fmla="*/ 185447 w 321734"/>
                    <a:gd name="connsiteY103" fmla="*/ 202806 h 262250"/>
                    <a:gd name="connsiteX104" fmla="*/ 179954 w 321734"/>
                    <a:gd name="connsiteY104" fmla="*/ 201983 h 262250"/>
                    <a:gd name="connsiteX105" fmla="*/ 176254 w 321734"/>
                    <a:gd name="connsiteY105" fmla="*/ 203083 h 262250"/>
                    <a:gd name="connsiteX106" fmla="*/ 171601 w 321734"/>
                    <a:gd name="connsiteY106" fmla="*/ 201087 h 262250"/>
                    <a:gd name="connsiteX107" fmla="*/ 169572 w 321734"/>
                    <a:gd name="connsiteY107" fmla="*/ 200736 h 262250"/>
                    <a:gd name="connsiteX108" fmla="*/ 168618 w 321734"/>
                    <a:gd name="connsiteY108" fmla="*/ 201364 h 262250"/>
                    <a:gd name="connsiteX109" fmla="*/ 166034 w 321734"/>
                    <a:gd name="connsiteY109" fmla="*/ 200459 h 262250"/>
                    <a:gd name="connsiteX110" fmla="*/ 161821 w 321734"/>
                    <a:gd name="connsiteY110" fmla="*/ 198039 h 262250"/>
                    <a:gd name="connsiteX111" fmla="*/ 157779 w 321734"/>
                    <a:gd name="connsiteY111" fmla="*/ 197012 h 262250"/>
                    <a:gd name="connsiteX112" fmla="*/ 154176 w 321734"/>
                    <a:gd name="connsiteY112" fmla="*/ 197354 h 262250"/>
                    <a:gd name="connsiteX113" fmla="*/ 151951 w 321734"/>
                    <a:gd name="connsiteY113" fmla="*/ 196547 h 262250"/>
                    <a:gd name="connsiteX114" fmla="*/ 150175 w 321734"/>
                    <a:gd name="connsiteY114" fmla="*/ 194192 h 262250"/>
                    <a:gd name="connsiteX115" fmla="*/ 147877 w 321734"/>
                    <a:gd name="connsiteY115" fmla="*/ 189848 h 262250"/>
                    <a:gd name="connsiteX116" fmla="*/ 143720 w 321734"/>
                    <a:gd name="connsiteY116" fmla="*/ 185553 h 262250"/>
                    <a:gd name="connsiteX117" fmla="*/ 138178 w 321734"/>
                    <a:gd name="connsiteY117" fmla="*/ 182098 h 262250"/>
                    <a:gd name="connsiteX118" fmla="*/ 134707 w 321734"/>
                    <a:gd name="connsiteY118" fmla="*/ 179498 h 262250"/>
                    <a:gd name="connsiteX119" fmla="*/ 133313 w 321734"/>
                    <a:gd name="connsiteY119" fmla="*/ 177762 h 262250"/>
                    <a:gd name="connsiteX120" fmla="*/ 130322 w 321734"/>
                    <a:gd name="connsiteY120" fmla="*/ 176800 h 262250"/>
                    <a:gd name="connsiteX121" fmla="*/ 125734 w 321734"/>
                    <a:gd name="connsiteY121" fmla="*/ 176613 h 262250"/>
                    <a:gd name="connsiteX122" fmla="*/ 121333 w 321734"/>
                    <a:gd name="connsiteY122" fmla="*/ 178316 h 262250"/>
                    <a:gd name="connsiteX123" fmla="*/ 115009 w 321734"/>
                    <a:gd name="connsiteY123" fmla="*/ 183695 h 262250"/>
                    <a:gd name="connsiteX124" fmla="*/ 109133 w 321734"/>
                    <a:gd name="connsiteY124" fmla="*/ 194730 h 262250"/>
                    <a:gd name="connsiteX125" fmla="*/ 105865 w 321734"/>
                    <a:gd name="connsiteY125" fmla="*/ 198951 h 262250"/>
                    <a:gd name="connsiteX126" fmla="*/ 103257 w 321734"/>
                    <a:gd name="connsiteY126" fmla="*/ 200043 h 262250"/>
                    <a:gd name="connsiteX127" fmla="*/ 102588 w 321734"/>
                    <a:gd name="connsiteY127" fmla="*/ 202700 h 262250"/>
                    <a:gd name="connsiteX128" fmla="*/ 103893 w 321734"/>
                    <a:gd name="connsiteY128" fmla="*/ 206930 h 262250"/>
                    <a:gd name="connsiteX129" fmla="*/ 104227 w 321734"/>
                    <a:gd name="connsiteY129" fmla="*/ 211787 h 262250"/>
                    <a:gd name="connsiteX130" fmla="*/ 103298 w 321734"/>
                    <a:gd name="connsiteY130" fmla="*/ 220051 h 262250"/>
                    <a:gd name="connsiteX131" fmla="*/ 103640 w 321734"/>
                    <a:gd name="connsiteY131" fmla="*/ 226057 h 262250"/>
                    <a:gd name="connsiteX132" fmla="*/ 102246 w 321734"/>
                    <a:gd name="connsiteY132" fmla="*/ 225096 h 262250"/>
                    <a:gd name="connsiteX133" fmla="*/ 100902 w 321734"/>
                    <a:gd name="connsiteY133" fmla="*/ 222284 h 262250"/>
                    <a:gd name="connsiteX134" fmla="*/ 100274 w 321734"/>
                    <a:gd name="connsiteY134" fmla="*/ 221722 h 262250"/>
                    <a:gd name="connsiteX135" fmla="*/ 96403 w 321734"/>
                    <a:gd name="connsiteY135" fmla="*/ 222993 h 262250"/>
                    <a:gd name="connsiteX136" fmla="*/ 94390 w 321734"/>
                    <a:gd name="connsiteY136" fmla="*/ 224126 h 262250"/>
                    <a:gd name="connsiteX137" fmla="*/ 93323 w 321734"/>
                    <a:gd name="connsiteY137" fmla="*/ 225242 h 262250"/>
                    <a:gd name="connsiteX138" fmla="*/ 92499 w 321734"/>
                    <a:gd name="connsiteY138" fmla="*/ 225413 h 262250"/>
                    <a:gd name="connsiteX139" fmla="*/ 91269 w 321734"/>
                    <a:gd name="connsiteY139" fmla="*/ 223873 h 262250"/>
                    <a:gd name="connsiteX140" fmla="*/ 90299 w 321734"/>
                    <a:gd name="connsiteY140" fmla="*/ 223604 h 262250"/>
                    <a:gd name="connsiteX141" fmla="*/ 88775 w 321734"/>
                    <a:gd name="connsiteY141" fmla="*/ 223881 h 262250"/>
                    <a:gd name="connsiteX142" fmla="*/ 87227 w 321734"/>
                    <a:gd name="connsiteY142" fmla="*/ 223849 h 262250"/>
                    <a:gd name="connsiteX143" fmla="*/ 86208 w 321734"/>
                    <a:gd name="connsiteY143" fmla="*/ 223661 h 262250"/>
                    <a:gd name="connsiteX144" fmla="*/ 85547 w 321734"/>
                    <a:gd name="connsiteY144" fmla="*/ 223792 h 262250"/>
                    <a:gd name="connsiteX145" fmla="*/ 83714 w 321734"/>
                    <a:gd name="connsiteY145" fmla="*/ 222887 h 262250"/>
                    <a:gd name="connsiteX146" fmla="*/ 77047 w 321734"/>
                    <a:gd name="connsiteY146" fmla="*/ 220564 h 262250"/>
                    <a:gd name="connsiteX147" fmla="*/ 75898 w 321734"/>
                    <a:gd name="connsiteY147" fmla="*/ 219790 h 262250"/>
                    <a:gd name="connsiteX148" fmla="*/ 74562 w 321734"/>
                    <a:gd name="connsiteY148" fmla="*/ 219872 h 262250"/>
                    <a:gd name="connsiteX149" fmla="*/ 71106 w 321734"/>
                    <a:gd name="connsiteY149" fmla="*/ 221893 h 262250"/>
                    <a:gd name="connsiteX150" fmla="*/ 69281 w 321734"/>
                    <a:gd name="connsiteY150" fmla="*/ 222463 h 262250"/>
                    <a:gd name="connsiteX151" fmla="*/ 63771 w 321734"/>
                    <a:gd name="connsiteY151" fmla="*/ 223702 h 262250"/>
                    <a:gd name="connsiteX152" fmla="*/ 57863 w 321734"/>
                    <a:gd name="connsiteY152" fmla="*/ 224321 h 262250"/>
                    <a:gd name="connsiteX153" fmla="*/ 55606 w 321734"/>
                    <a:gd name="connsiteY153" fmla="*/ 224346 h 262250"/>
                    <a:gd name="connsiteX154" fmla="*/ 54049 w 321734"/>
                    <a:gd name="connsiteY154" fmla="*/ 225242 h 262250"/>
                    <a:gd name="connsiteX155" fmla="*/ 53046 w 321734"/>
                    <a:gd name="connsiteY155" fmla="*/ 226514 h 262250"/>
                    <a:gd name="connsiteX156" fmla="*/ 52370 w 321734"/>
                    <a:gd name="connsiteY156" fmla="*/ 229317 h 262250"/>
                    <a:gd name="connsiteX157" fmla="*/ 51213 w 321734"/>
                    <a:gd name="connsiteY157" fmla="*/ 234134 h 262250"/>
                    <a:gd name="connsiteX158" fmla="*/ 50724 w 321734"/>
                    <a:gd name="connsiteY158" fmla="*/ 235438 h 262250"/>
                    <a:gd name="connsiteX159" fmla="*/ 50813 w 321734"/>
                    <a:gd name="connsiteY159" fmla="*/ 237361 h 262250"/>
                    <a:gd name="connsiteX160" fmla="*/ 50471 w 321734"/>
                    <a:gd name="connsiteY160" fmla="*/ 240588 h 262250"/>
                    <a:gd name="connsiteX161" fmla="*/ 50308 w 321734"/>
                    <a:gd name="connsiteY161" fmla="*/ 243490 h 262250"/>
                    <a:gd name="connsiteX162" fmla="*/ 50528 w 321734"/>
                    <a:gd name="connsiteY162" fmla="*/ 245429 h 262250"/>
                    <a:gd name="connsiteX163" fmla="*/ 48858 w 321734"/>
                    <a:gd name="connsiteY163" fmla="*/ 249341 h 262250"/>
                    <a:gd name="connsiteX164" fmla="*/ 46836 w 321734"/>
                    <a:gd name="connsiteY164" fmla="*/ 254084 h 262250"/>
                    <a:gd name="connsiteX165" fmla="*/ 45157 w 321734"/>
                    <a:gd name="connsiteY165" fmla="*/ 258159 h 262250"/>
                    <a:gd name="connsiteX166" fmla="*/ 43454 w 321734"/>
                    <a:gd name="connsiteY166" fmla="*/ 262250 h 262250"/>
                    <a:gd name="connsiteX167" fmla="*/ 42272 w 321734"/>
                    <a:gd name="connsiteY167" fmla="*/ 259447 h 262250"/>
                    <a:gd name="connsiteX168" fmla="*/ 41555 w 321734"/>
                    <a:gd name="connsiteY168" fmla="*/ 256162 h 262250"/>
                    <a:gd name="connsiteX169" fmla="*/ 41278 w 321734"/>
                    <a:gd name="connsiteY169" fmla="*/ 252389 h 262250"/>
                    <a:gd name="connsiteX170" fmla="*/ 41433 w 321734"/>
                    <a:gd name="connsiteY170" fmla="*/ 251395 h 262250"/>
                    <a:gd name="connsiteX171" fmla="*/ 40969 w 321734"/>
                    <a:gd name="connsiteY171" fmla="*/ 250270 h 262250"/>
                    <a:gd name="connsiteX172" fmla="*/ 40944 w 321734"/>
                    <a:gd name="connsiteY172" fmla="*/ 250026 h 262250"/>
                    <a:gd name="connsiteX173" fmla="*/ 40374 w 321734"/>
                    <a:gd name="connsiteY173" fmla="*/ 247189 h 262250"/>
                    <a:gd name="connsiteX174" fmla="*/ 40952 w 321734"/>
                    <a:gd name="connsiteY174" fmla="*/ 245209 h 262250"/>
                    <a:gd name="connsiteX175" fmla="*/ 40480 w 321734"/>
                    <a:gd name="connsiteY175" fmla="*/ 243131 h 262250"/>
                    <a:gd name="connsiteX176" fmla="*/ 39110 w 321734"/>
                    <a:gd name="connsiteY176" fmla="*/ 241085 h 262250"/>
                    <a:gd name="connsiteX177" fmla="*/ 37864 w 321734"/>
                    <a:gd name="connsiteY177" fmla="*/ 239529 h 262250"/>
                    <a:gd name="connsiteX178" fmla="*/ 37138 w 321734"/>
                    <a:gd name="connsiteY178" fmla="*/ 238119 h 262250"/>
                    <a:gd name="connsiteX179" fmla="*/ 36543 w 321734"/>
                    <a:gd name="connsiteY179" fmla="*/ 237516 h 262250"/>
                    <a:gd name="connsiteX180" fmla="*/ 35174 w 321734"/>
                    <a:gd name="connsiteY180" fmla="*/ 237304 h 262250"/>
                    <a:gd name="connsiteX181" fmla="*/ 33324 w 321734"/>
                    <a:gd name="connsiteY181" fmla="*/ 236579 h 262250"/>
                    <a:gd name="connsiteX182" fmla="*/ 30887 w 321734"/>
                    <a:gd name="connsiteY182" fmla="*/ 233506 h 262250"/>
                    <a:gd name="connsiteX183" fmla="*/ 28516 w 321734"/>
                    <a:gd name="connsiteY183" fmla="*/ 230515 h 262250"/>
                    <a:gd name="connsiteX184" fmla="*/ 25476 w 321734"/>
                    <a:gd name="connsiteY184" fmla="*/ 226701 h 262250"/>
                    <a:gd name="connsiteX185" fmla="*/ 23039 w 321734"/>
                    <a:gd name="connsiteY185" fmla="*/ 223392 h 262250"/>
                    <a:gd name="connsiteX186" fmla="*/ 20056 w 321734"/>
                    <a:gd name="connsiteY186" fmla="*/ 219350 h 262250"/>
                    <a:gd name="connsiteX187" fmla="*/ 17302 w 321734"/>
                    <a:gd name="connsiteY187" fmla="*/ 215609 h 262250"/>
                    <a:gd name="connsiteX188" fmla="*/ 15647 w 321734"/>
                    <a:gd name="connsiteY188" fmla="*/ 212007 h 262250"/>
                    <a:gd name="connsiteX189" fmla="*/ 14971 w 321734"/>
                    <a:gd name="connsiteY189" fmla="*/ 209929 h 262250"/>
                    <a:gd name="connsiteX190" fmla="*/ 15778 w 321734"/>
                    <a:gd name="connsiteY190" fmla="*/ 209733 h 262250"/>
                    <a:gd name="connsiteX191" fmla="*/ 16968 w 321734"/>
                    <a:gd name="connsiteY191" fmla="*/ 209684 h 262250"/>
                    <a:gd name="connsiteX192" fmla="*/ 17473 w 321734"/>
                    <a:gd name="connsiteY192" fmla="*/ 209318 h 262250"/>
                    <a:gd name="connsiteX193" fmla="*/ 17497 w 321734"/>
                    <a:gd name="connsiteY193" fmla="*/ 208348 h 262250"/>
                    <a:gd name="connsiteX194" fmla="*/ 16275 w 321734"/>
                    <a:gd name="connsiteY194" fmla="*/ 205504 h 262250"/>
                    <a:gd name="connsiteX195" fmla="*/ 15672 w 321734"/>
                    <a:gd name="connsiteY195" fmla="*/ 201877 h 262250"/>
                    <a:gd name="connsiteX196" fmla="*/ 14661 w 321734"/>
                    <a:gd name="connsiteY196" fmla="*/ 199677 h 262250"/>
                    <a:gd name="connsiteX197" fmla="*/ 11467 w 321734"/>
                    <a:gd name="connsiteY197" fmla="*/ 196270 h 262250"/>
                    <a:gd name="connsiteX198" fmla="*/ 8402 w 321734"/>
                    <a:gd name="connsiteY198" fmla="*/ 193687 h 262250"/>
                    <a:gd name="connsiteX199" fmla="*/ 7440 w 321734"/>
                    <a:gd name="connsiteY199" fmla="*/ 192358 h 262250"/>
                    <a:gd name="connsiteX200" fmla="*/ 6878 w 321734"/>
                    <a:gd name="connsiteY200" fmla="*/ 190467 h 262250"/>
                    <a:gd name="connsiteX201" fmla="*/ 5721 w 321734"/>
                    <a:gd name="connsiteY201" fmla="*/ 178471 h 262250"/>
                    <a:gd name="connsiteX202" fmla="*/ 5183 w 321734"/>
                    <a:gd name="connsiteY202" fmla="*/ 175065 h 262250"/>
                    <a:gd name="connsiteX203" fmla="*/ 4230 w 321734"/>
                    <a:gd name="connsiteY203" fmla="*/ 173573 h 262250"/>
                    <a:gd name="connsiteX204" fmla="*/ 3521 w 321734"/>
                    <a:gd name="connsiteY204" fmla="*/ 172889 h 262250"/>
                    <a:gd name="connsiteX205" fmla="*/ 3260 w 321734"/>
                    <a:gd name="connsiteY205" fmla="*/ 172041 h 262250"/>
                    <a:gd name="connsiteX206" fmla="*/ 3398 w 321734"/>
                    <a:gd name="connsiteY206" fmla="*/ 169906 h 262250"/>
                    <a:gd name="connsiteX207" fmla="*/ 3789 w 321734"/>
                    <a:gd name="connsiteY207" fmla="*/ 167990 h 262250"/>
                    <a:gd name="connsiteX208" fmla="*/ 3773 w 321734"/>
                    <a:gd name="connsiteY208" fmla="*/ 167249 h 262250"/>
                    <a:gd name="connsiteX209" fmla="*/ 4596 w 321734"/>
                    <a:gd name="connsiteY209" fmla="*/ 165570 h 262250"/>
                    <a:gd name="connsiteX210" fmla="*/ 4596 w 321734"/>
                    <a:gd name="connsiteY210" fmla="*/ 154478 h 262250"/>
                    <a:gd name="connsiteX211" fmla="*/ 4148 w 321734"/>
                    <a:gd name="connsiteY211" fmla="*/ 153908 h 262250"/>
                    <a:gd name="connsiteX212" fmla="*/ 3618 w 321734"/>
                    <a:gd name="connsiteY212" fmla="*/ 152946 h 262250"/>
                    <a:gd name="connsiteX213" fmla="*/ 2754 w 321734"/>
                    <a:gd name="connsiteY213" fmla="*/ 153019 h 262250"/>
                    <a:gd name="connsiteX214" fmla="*/ 1768 w 321734"/>
                    <a:gd name="connsiteY214" fmla="*/ 152922 h 262250"/>
                    <a:gd name="connsiteX215" fmla="*/ 798 w 321734"/>
                    <a:gd name="connsiteY215" fmla="*/ 151308 h 262250"/>
                    <a:gd name="connsiteX216" fmla="*/ 0 w 321734"/>
                    <a:gd name="connsiteY216" fmla="*/ 149271 h 262250"/>
                    <a:gd name="connsiteX217" fmla="*/ 236 w 321734"/>
                    <a:gd name="connsiteY217" fmla="*/ 147820 h 262250"/>
                    <a:gd name="connsiteX218" fmla="*/ 1084 w 321734"/>
                    <a:gd name="connsiteY218" fmla="*/ 146622 h 262250"/>
                    <a:gd name="connsiteX219" fmla="*/ 1997 w 321734"/>
                    <a:gd name="connsiteY219" fmla="*/ 145571 h 262250"/>
                    <a:gd name="connsiteX220" fmla="*/ 3170 w 321734"/>
                    <a:gd name="connsiteY220" fmla="*/ 144690 h 262250"/>
                    <a:gd name="connsiteX221" fmla="*/ 6650 w 321734"/>
                    <a:gd name="connsiteY221" fmla="*/ 142914 h 262250"/>
                    <a:gd name="connsiteX222" fmla="*/ 7636 w 321734"/>
                    <a:gd name="connsiteY222" fmla="*/ 142025 h 262250"/>
                    <a:gd name="connsiteX223" fmla="*/ 8247 w 321734"/>
                    <a:gd name="connsiteY223" fmla="*/ 140933 h 262250"/>
                    <a:gd name="connsiteX224" fmla="*/ 8655 w 321734"/>
                    <a:gd name="connsiteY224" fmla="*/ 139450 h 262250"/>
                    <a:gd name="connsiteX225" fmla="*/ 10684 w 321734"/>
                    <a:gd name="connsiteY225" fmla="*/ 133737 h 262250"/>
                    <a:gd name="connsiteX226" fmla="*/ 13667 w 321734"/>
                    <a:gd name="connsiteY226" fmla="*/ 128049 h 262250"/>
                    <a:gd name="connsiteX227" fmla="*/ 14971 w 321734"/>
                    <a:gd name="connsiteY227" fmla="*/ 126875 h 262250"/>
                    <a:gd name="connsiteX228" fmla="*/ 16242 w 321734"/>
                    <a:gd name="connsiteY228" fmla="*/ 123102 h 262250"/>
                    <a:gd name="connsiteX229" fmla="*/ 18003 w 321734"/>
                    <a:gd name="connsiteY229" fmla="*/ 118481 h 262250"/>
                    <a:gd name="connsiteX230" fmla="*/ 18720 w 321734"/>
                    <a:gd name="connsiteY230" fmla="*/ 116346 h 262250"/>
                    <a:gd name="connsiteX231" fmla="*/ 19225 w 321734"/>
                    <a:gd name="connsiteY231" fmla="*/ 114194 h 262250"/>
                    <a:gd name="connsiteX232" fmla="*/ 20203 w 321734"/>
                    <a:gd name="connsiteY232" fmla="*/ 112466 h 262250"/>
                    <a:gd name="connsiteX233" fmla="*/ 23496 w 321734"/>
                    <a:gd name="connsiteY233" fmla="*/ 109622 h 262250"/>
                    <a:gd name="connsiteX234" fmla="*/ 26014 w 321734"/>
                    <a:gd name="connsiteY234" fmla="*/ 104651 h 262250"/>
                    <a:gd name="connsiteX235" fmla="*/ 28711 w 321734"/>
                    <a:gd name="connsiteY235" fmla="*/ 104912 h 262250"/>
                    <a:gd name="connsiteX236" fmla="*/ 31499 w 321734"/>
                    <a:gd name="connsiteY236" fmla="*/ 105710 h 262250"/>
                    <a:gd name="connsiteX237" fmla="*/ 35060 w 321734"/>
                    <a:gd name="connsiteY237" fmla="*/ 106101 h 262250"/>
                    <a:gd name="connsiteX238" fmla="*/ 37847 w 321734"/>
                    <a:gd name="connsiteY238" fmla="*/ 105140 h 262250"/>
                    <a:gd name="connsiteX239" fmla="*/ 39665 w 321734"/>
                    <a:gd name="connsiteY239" fmla="*/ 103192 h 262250"/>
                    <a:gd name="connsiteX240" fmla="*/ 43642 w 321734"/>
                    <a:gd name="connsiteY240" fmla="*/ 101652 h 262250"/>
                    <a:gd name="connsiteX241" fmla="*/ 48303 w 321734"/>
                    <a:gd name="connsiteY241" fmla="*/ 99842 h 262250"/>
                    <a:gd name="connsiteX242" fmla="*/ 48939 w 321734"/>
                    <a:gd name="connsiteY242" fmla="*/ 97177 h 262250"/>
                    <a:gd name="connsiteX243" fmla="*/ 50300 w 321734"/>
                    <a:gd name="connsiteY243" fmla="*/ 95768 h 262250"/>
                    <a:gd name="connsiteX244" fmla="*/ 51881 w 321734"/>
                    <a:gd name="connsiteY244" fmla="*/ 94537 h 262250"/>
                    <a:gd name="connsiteX245" fmla="*/ 52427 w 321734"/>
                    <a:gd name="connsiteY245" fmla="*/ 94374 h 262250"/>
                    <a:gd name="connsiteX246" fmla="*/ 52549 w 321734"/>
                    <a:gd name="connsiteY246" fmla="*/ 95262 h 262250"/>
                    <a:gd name="connsiteX247" fmla="*/ 53511 w 321734"/>
                    <a:gd name="connsiteY247" fmla="*/ 98041 h 262250"/>
                    <a:gd name="connsiteX248" fmla="*/ 55483 w 321734"/>
                    <a:gd name="connsiteY248" fmla="*/ 100796 h 262250"/>
                    <a:gd name="connsiteX249" fmla="*/ 58368 w 321734"/>
                    <a:gd name="connsiteY249" fmla="*/ 103828 h 262250"/>
                    <a:gd name="connsiteX250" fmla="*/ 59199 w 321734"/>
                    <a:gd name="connsiteY250" fmla="*/ 103640 h 262250"/>
                    <a:gd name="connsiteX251" fmla="*/ 60984 w 321734"/>
                    <a:gd name="connsiteY251" fmla="*/ 101342 h 262250"/>
                    <a:gd name="connsiteX252" fmla="*/ 65491 w 321734"/>
                    <a:gd name="connsiteY252" fmla="*/ 99924 h 262250"/>
                    <a:gd name="connsiteX253" fmla="*/ 66632 w 321734"/>
                    <a:gd name="connsiteY253" fmla="*/ 99288 h 262250"/>
                    <a:gd name="connsiteX254" fmla="*/ 69835 w 321734"/>
                    <a:gd name="connsiteY254" fmla="*/ 95955 h 262250"/>
                    <a:gd name="connsiteX255" fmla="*/ 73690 w 321734"/>
                    <a:gd name="connsiteY255" fmla="*/ 93795 h 262250"/>
                    <a:gd name="connsiteX256" fmla="*/ 74529 w 321734"/>
                    <a:gd name="connsiteY256" fmla="*/ 93608 h 262250"/>
                    <a:gd name="connsiteX257" fmla="*/ 75923 w 321734"/>
                    <a:gd name="connsiteY257" fmla="*/ 93037 h 262250"/>
                    <a:gd name="connsiteX258" fmla="*/ 79826 w 321734"/>
                    <a:gd name="connsiteY258" fmla="*/ 90821 h 262250"/>
                    <a:gd name="connsiteX259" fmla="*/ 82581 w 321734"/>
                    <a:gd name="connsiteY259" fmla="*/ 91114 h 262250"/>
                    <a:gd name="connsiteX260" fmla="*/ 87023 w 321734"/>
                    <a:gd name="connsiteY260" fmla="*/ 90764 h 262250"/>
                    <a:gd name="connsiteX261" fmla="*/ 94439 w 321734"/>
                    <a:gd name="connsiteY261" fmla="*/ 89704 h 262250"/>
                    <a:gd name="connsiteX262" fmla="*/ 99801 w 321734"/>
                    <a:gd name="connsiteY262" fmla="*/ 89362 h 262250"/>
                    <a:gd name="connsiteX263" fmla="*/ 102499 w 321734"/>
                    <a:gd name="connsiteY263" fmla="*/ 88938 h 262250"/>
                    <a:gd name="connsiteX264" fmla="*/ 103183 w 321734"/>
                    <a:gd name="connsiteY264" fmla="*/ 88490 h 262250"/>
                    <a:gd name="connsiteX265" fmla="*/ 104227 w 321734"/>
                    <a:gd name="connsiteY265" fmla="*/ 85279 h 262250"/>
                    <a:gd name="connsiteX266" fmla="*/ 105025 w 321734"/>
                    <a:gd name="connsiteY266" fmla="*/ 84374 h 262250"/>
                    <a:gd name="connsiteX267" fmla="*/ 107046 w 321734"/>
                    <a:gd name="connsiteY267" fmla="*/ 82989 h 262250"/>
                    <a:gd name="connsiteX268" fmla="*/ 110991 w 321734"/>
                    <a:gd name="connsiteY268" fmla="*/ 78140 h 262250"/>
                    <a:gd name="connsiteX269" fmla="*/ 113574 w 321734"/>
                    <a:gd name="connsiteY269" fmla="*/ 74040 h 262250"/>
                    <a:gd name="connsiteX270" fmla="*/ 114300 w 321734"/>
                    <a:gd name="connsiteY270" fmla="*/ 72663 h 262250"/>
                    <a:gd name="connsiteX271" fmla="*/ 114365 w 321734"/>
                    <a:gd name="connsiteY271" fmla="*/ 72557 h 262250"/>
                    <a:gd name="connsiteX272" fmla="*/ 114895 w 321734"/>
                    <a:gd name="connsiteY272" fmla="*/ 72305 h 262250"/>
                    <a:gd name="connsiteX273" fmla="*/ 116011 w 321734"/>
                    <a:gd name="connsiteY273" fmla="*/ 70569 h 262250"/>
                    <a:gd name="connsiteX274" fmla="*/ 114903 w 321734"/>
                    <a:gd name="connsiteY274" fmla="*/ 68792 h 262250"/>
                    <a:gd name="connsiteX275" fmla="*/ 110486 w 321734"/>
                    <a:gd name="connsiteY275" fmla="*/ 65157 h 262250"/>
                    <a:gd name="connsiteX276" fmla="*/ 110551 w 321734"/>
                    <a:gd name="connsiteY276" fmla="*/ 64660 h 262250"/>
                    <a:gd name="connsiteX277" fmla="*/ 110290 w 321734"/>
                    <a:gd name="connsiteY277" fmla="*/ 64041 h 262250"/>
                    <a:gd name="connsiteX278" fmla="*/ 110543 w 321734"/>
                    <a:gd name="connsiteY278" fmla="*/ 63543 h 262250"/>
                    <a:gd name="connsiteX279" fmla="*/ 112221 w 321734"/>
                    <a:gd name="connsiteY279" fmla="*/ 62060 h 262250"/>
                    <a:gd name="connsiteX280" fmla="*/ 114495 w 321734"/>
                    <a:gd name="connsiteY280" fmla="*/ 60365 h 262250"/>
                    <a:gd name="connsiteX281" fmla="*/ 116916 w 321734"/>
                    <a:gd name="connsiteY281" fmla="*/ 59738 h 262250"/>
                    <a:gd name="connsiteX282" fmla="*/ 123248 w 321734"/>
                    <a:gd name="connsiteY282" fmla="*/ 59868 h 262250"/>
                    <a:gd name="connsiteX283" fmla="*/ 128619 w 321734"/>
                    <a:gd name="connsiteY283" fmla="*/ 59509 h 262250"/>
                    <a:gd name="connsiteX284" fmla="*/ 129890 w 321734"/>
                    <a:gd name="connsiteY284" fmla="*/ 59591 h 262250"/>
                    <a:gd name="connsiteX285" fmla="*/ 134088 w 321734"/>
                    <a:gd name="connsiteY285" fmla="*/ 58735 h 262250"/>
                    <a:gd name="connsiteX286" fmla="*/ 136956 w 321734"/>
                    <a:gd name="connsiteY286" fmla="*/ 57953 h 262250"/>
                    <a:gd name="connsiteX287" fmla="*/ 139914 w 321734"/>
                    <a:gd name="connsiteY287" fmla="*/ 56209 h 262250"/>
                    <a:gd name="connsiteX288" fmla="*/ 146605 w 321734"/>
                    <a:gd name="connsiteY288" fmla="*/ 56388 h 262250"/>
                    <a:gd name="connsiteX289" fmla="*/ 152180 w 321734"/>
                    <a:gd name="connsiteY289" fmla="*/ 51938 h 262250"/>
                    <a:gd name="connsiteX290" fmla="*/ 153777 w 321734"/>
                    <a:gd name="connsiteY290" fmla="*/ 51140 h 262250"/>
                    <a:gd name="connsiteX291" fmla="*/ 154478 w 321734"/>
                    <a:gd name="connsiteY291" fmla="*/ 50447 h 262250"/>
                    <a:gd name="connsiteX292" fmla="*/ 154690 w 321734"/>
                    <a:gd name="connsiteY292" fmla="*/ 49762 h 262250"/>
                    <a:gd name="connsiteX293" fmla="*/ 157290 w 321734"/>
                    <a:gd name="connsiteY293" fmla="*/ 47994 h 262250"/>
                    <a:gd name="connsiteX294" fmla="*/ 160216 w 321734"/>
                    <a:gd name="connsiteY294" fmla="*/ 44335 h 262250"/>
                    <a:gd name="connsiteX295" fmla="*/ 162522 w 321734"/>
                    <a:gd name="connsiteY295" fmla="*/ 41042 h 262250"/>
                    <a:gd name="connsiteX296" fmla="*/ 163149 w 321734"/>
                    <a:gd name="connsiteY296" fmla="*/ 38728 h 262250"/>
                    <a:gd name="connsiteX297" fmla="*/ 169457 w 321734"/>
                    <a:gd name="connsiteY297" fmla="*/ 30839 h 262250"/>
                    <a:gd name="connsiteX298" fmla="*/ 171658 w 321734"/>
                    <a:gd name="connsiteY298" fmla="*/ 31002 h 262250"/>
                    <a:gd name="connsiteX299" fmla="*/ 172742 w 321734"/>
                    <a:gd name="connsiteY299" fmla="*/ 30032 h 262250"/>
                    <a:gd name="connsiteX300" fmla="*/ 175244 w 321734"/>
                    <a:gd name="connsiteY300" fmla="*/ 24775 h 262250"/>
                    <a:gd name="connsiteX301" fmla="*/ 176010 w 321734"/>
                    <a:gd name="connsiteY301" fmla="*/ 23806 h 262250"/>
                    <a:gd name="connsiteX302" fmla="*/ 177199 w 321734"/>
                    <a:gd name="connsiteY302" fmla="*/ 23479 h 262250"/>
                    <a:gd name="connsiteX303" fmla="*/ 178618 w 321734"/>
                    <a:gd name="connsiteY303" fmla="*/ 22885 h 262250"/>
                    <a:gd name="connsiteX304" fmla="*/ 179856 w 321734"/>
                    <a:gd name="connsiteY304" fmla="*/ 21328 h 262250"/>
                    <a:gd name="connsiteX305" fmla="*/ 180924 w 321734"/>
                    <a:gd name="connsiteY305" fmla="*/ 19013 h 262250"/>
                    <a:gd name="connsiteX306" fmla="*/ 180932 w 321734"/>
                    <a:gd name="connsiteY306" fmla="*/ 16145 h 262250"/>
                    <a:gd name="connsiteX307" fmla="*/ 180435 w 321734"/>
                    <a:gd name="connsiteY307" fmla="*/ 13838 h 262250"/>
                    <a:gd name="connsiteX308" fmla="*/ 180435 w 321734"/>
                    <a:gd name="connsiteY308" fmla="*/ 12722 h 262250"/>
                    <a:gd name="connsiteX309" fmla="*/ 181046 w 321734"/>
                    <a:gd name="connsiteY309" fmla="*/ 11703 h 262250"/>
                    <a:gd name="connsiteX310" fmla="*/ 182048 w 321734"/>
                    <a:gd name="connsiteY310" fmla="*/ 10668 h 262250"/>
                    <a:gd name="connsiteX311" fmla="*/ 186840 w 321734"/>
                    <a:gd name="connsiteY311" fmla="*/ 7840 h 262250"/>
                    <a:gd name="connsiteX312" fmla="*/ 188063 w 321734"/>
                    <a:gd name="connsiteY312" fmla="*/ 6471 h 262250"/>
                    <a:gd name="connsiteX313" fmla="*/ 188796 w 321734"/>
                    <a:gd name="connsiteY313" fmla="*/ 5240 h 262250"/>
                    <a:gd name="connsiteX314" fmla="*/ 190133 w 321734"/>
                    <a:gd name="connsiteY314" fmla="*/ 5012 h 262250"/>
                    <a:gd name="connsiteX315" fmla="*/ 191592 w 321734"/>
                    <a:gd name="connsiteY315" fmla="*/ 5134 h 262250"/>
                    <a:gd name="connsiteX316" fmla="*/ 192521 w 321734"/>
                    <a:gd name="connsiteY316" fmla="*/ 4377 h 262250"/>
                    <a:gd name="connsiteX317" fmla="*/ 193572 w 321734"/>
                    <a:gd name="connsiteY317" fmla="*/ 3081 h 262250"/>
                    <a:gd name="connsiteX318" fmla="*/ 196897 w 321734"/>
                    <a:gd name="connsiteY318" fmla="*/ 1345 h 262250"/>
                    <a:gd name="connsiteX319" fmla="*/ 199970 w 321734"/>
                    <a:gd name="connsiteY319" fmla="*/ 0 h 262250"/>
                    <a:gd name="connsiteX320" fmla="*/ 203197 w 321734"/>
                    <a:gd name="connsiteY320" fmla="*/ 571 h 262250"/>
                    <a:gd name="connsiteX321" fmla="*/ 205830 w 321734"/>
                    <a:gd name="connsiteY321" fmla="*/ 1271 h 262250"/>
                    <a:gd name="connsiteX322" fmla="*/ 207989 w 321734"/>
                    <a:gd name="connsiteY322" fmla="*/ 2078 h 26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Lst>
                  <a:rect l="l" t="t" r="r" b="b"/>
                  <a:pathLst>
                    <a:path w="321734" h="262250">
                      <a:moveTo>
                        <a:pt x="209049" y="2307"/>
                      </a:moveTo>
                      <a:lnTo>
                        <a:pt x="210809" y="6064"/>
                      </a:lnTo>
                      <a:lnTo>
                        <a:pt x="211632" y="7384"/>
                      </a:lnTo>
                      <a:lnTo>
                        <a:pt x="218869" y="16259"/>
                      </a:lnTo>
                      <a:lnTo>
                        <a:pt x="220263" y="18369"/>
                      </a:lnTo>
                      <a:lnTo>
                        <a:pt x="223849" y="24816"/>
                      </a:lnTo>
                      <a:lnTo>
                        <a:pt x="226041" y="29168"/>
                      </a:lnTo>
                      <a:lnTo>
                        <a:pt x="228551" y="35411"/>
                      </a:lnTo>
                      <a:lnTo>
                        <a:pt x="228803" y="38809"/>
                      </a:lnTo>
                      <a:lnTo>
                        <a:pt x="228461" y="41719"/>
                      </a:lnTo>
                      <a:lnTo>
                        <a:pt x="227964" y="49958"/>
                      </a:lnTo>
                      <a:lnTo>
                        <a:pt x="227312" y="52330"/>
                      </a:lnTo>
                      <a:lnTo>
                        <a:pt x="224142" y="56763"/>
                      </a:lnTo>
                      <a:lnTo>
                        <a:pt x="224003" y="58760"/>
                      </a:lnTo>
                      <a:lnTo>
                        <a:pt x="224647" y="60422"/>
                      </a:lnTo>
                      <a:lnTo>
                        <a:pt x="225617" y="61107"/>
                      </a:lnTo>
                      <a:lnTo>
                        <a:pt x="226204" y="61930"/>
                      </a:lnTo>
                      <a:lnTo>
                        <a:pt x="225853" y="65768"/>
                      </a:lnTo>
                      <a:lnTo>
                        <a:pt x="226986" y="67276"/>
                      </a:lnTo>
                      <a:lnTo>
                        <a:pt x="229366" y="68279"/>
                      </a:lnTo>
                      <a:lnTo>
                        <a:pt x="235389" y="68963"/>
                      </a:lnTo>
                      <a:lnTo>
                        <a:pt x="238518" y="69517"/>
                      </a:lnTo>
                      <a:lnTo>
                        <a:pt x="240971" y="70291"/>
                      </a:lnTo>
                      <a:lnTo>
                        <a:pt x="242161" y="70658"/>
                      </a:lnTo>
                      <a:lnTo>
                        <a:pt x="242805" y="72019"/>
                      </a:lnTo>
                      <a:lnTo>
                        <a:pt x="241794" y="76453"/>
                      </a:lnTo>
                      <a:lnTo>
                        <a:pt x="242495" y="79215"/>
                      </a:lnTo>
                      <a:lnTo>
                        <a:pt x="244549" y="81555"/>
                      </a:lnTo>
                      <a:lnTo>
                        <a:pt x="246635" y="82549"/>
                      </a:lnTo>
                      <a:lnTo>
                        <a:pt x="248632" y="83119"/>
                      </a:lnTo>
                      <a:lnTo>
                        <a:pt x="255600" y="84562"/>
                      </a:lnTo>
                      <a:lnTo>
                        <a:pt x="258485" y="86184"/>
                      </a:lnTo>
                      <a:lnTo>
                        <a:pt x="262299" y="91383"/>
                      </a:lnTo>
                      <a:lnTo>
                        <a:pt x="267099" y="96102"/>
                      </a:lnTo>
                      <a:lnTo>
                        <a:pt x="268265" y="98604"/>
                      </a:lnTo>
                      <a:lnTo>
                        <a:pt x="268036" y="100886"/>
                      </a:lnTo>
                      <a:lnTo>
                        <a:pt x="266618" y="103640"/>
                      </a:lnTo>
                      <a:lnTo>
                        <a:pt x="266847" y="104781"/>
                      </a:lnTo>
                      <a:lnTo>
                        <a:pt x="269039" y="107544"/>
                      </a:lnTo>
                      <a:lnTo>
                        <a:pt x="271574" y="110372"/>
                      </a:lnTo>
                      <a:lnTo>
                        <a:pt x="276170" y="113518"/>
                      </a:lnTo>
                      <a:lnTo>
                        <a:pt x="284173" y="118440"/>
                      </a:lnTo>
                      <a:lnTo>
                        <a:pt x="287832" y="121733"/>
                      </a:lnTo>
                      <a:lnTo>
                        <a:pt x="289079" y="124235"/>
                      </a:lnTo>
                      <a:lnTo>
                        <a:pt x="291133" y="126948"/>
                      </a:lnTo>
                      <a:lnTo>
                        <a:pt x="293985" y="129434"/>
                      </a:lnTo>
                      <a:lnTo>
                        <a:pt x="295900" y="131349"/>
                      </a:lnTo>
                      <a:lnTo>
                        <a:pt x="294580" y="136753"/>
                      </a:lnTo>
                      <a:lnTo>
                        <a:pt x="294980" y="138529"/>
                      </a:lnTo>
                      <a:lnTo>
                        <a:pt x="295688" y="140078"/>
                      </a:lnTo>
                      <a:lnTo>
                        <a:pt x="297359" y="142197"/>
                      </a:lnTo>
                      <a:lnTo>
                        <a:pt x="298019" y="144935"/>
                      </a:lnTo>
                      <a:lnTo>
                        <a:pt x="299682" y="148350"/>
                      </a:lnTo>
                      <a:lnTo>
                        <a:pt x="301646" y="149906"/>
                      </a:lnTo>
                      <a:lnTo>
                        <a:pt x="304946" y="150485"/>
                      </a:lnTo>
                      <a:lnTo>
                        <a:pt x="306682" y="152066"/>
                      </a:lnTo>
                      <a:lnTo>
                        <a:pt x="310301" y="154780"/>
                      </a:lnTo>
                      <a:lnTo>
                        <a:pt x="313806" y="157127"/>
                      </a:lnTo>
                      <a:lnTo>
                        <a:pt x="315297" y="158749"/>
                      </a:lnTo>
                      <a:lnTo>
                        <a:pt x="316226" y="160175"/>
                      </a:lnTo>
                      <a:lnTo>
                        <a:pt x="317016" y="161870"/>
                      </a:lnTo>
                      <a:lnTo>
                        <a:pt x="317416" y="163557"/>
                      </a:lnTo>
                      <a:lnTo>
                        <a:pt x="317497" y="167216"/>
                      </a:lnTo>
                      <a:lnTo>
                        <a:pt x="318100" y="171739"/>
                      </a:lnTo>
                      <a:lnTo>
                        <a:pt x="319967" y="174844"/>
                      </a:lnTo>
                      <a:lnTo>
                        <a:pt x="321735" y="177159"/>
                      </a:lnTo>
                      <a:lnTo>
                        <a:pt x="314579" y="174502"/>
                      </a:lnTo>
                      <a:lnTo>
                        <a:pt x="313512" y="174437"/>
                      </a:lnTo>
                      <a:lnTo>
                        <a:pt x="312241" y="174910"/>
                      </a:lnTo>
                      <a:lnTo>
                        <a:pt x="308508" y="178169"/>
                      </a:lnTo>
                      <a:lnTo>
                        <a:pt x="307326" y="178561"/>
                      </a:lnTo>
                      <a:lnTo>
                        <a:pt x="305965" y="178275"/>
                      </a:lnTo>
                      <a:lnTo>
                        <a:pt x="302616" y="177876"/>
                      </a:lnTo>
                      <a:lnTo>
                        <a:pt x="291231" y="175301"/>
                      </a:lnTo>
                      <a:lnTo>
                        <a:pt x="282462" y="172823"/>
                      </a:lnTo>
                      <a:lnTo>
                        <a:pt x="279837" y="171927"/>
                      </a:lnTo>
                      <a:lnTo>
                        <a:pt x="275143" y="171071"/>
                      </a:lnTo>
                      <a:lnTo>
                        <a:pt x="272046" y="172758"/>
                      </a:lnTo>
                      <a:lnTo>
                        <a:pt x="269153" y="178552"/>
                      </a:lnTo>
                      <a:lnTo>
                        <a:pt x="268313" y="179702"/>
                      </a:lnTo>
                      <a:lnTo>
                        <a:pt x="263733" y="181413"/>
                      </a:lnTo>
                      <a:lnTo>
                        <a:pt x="261590" y="180949"/>
                      </a:lnTo>
                      <a:lnTo>
                        <a:pt x="256309" y="182538"/>
                      </a:lnTo>
                      <a:lnTo>
                        <a:pt x="248175" y="180142"/>
                      </a:lnTo>
                      <a:lnTo>
                        <a:pt x="245250" y="180615"/>
                      </a:lnTo>
                      <a:lnTo>
                        <a:pt x="242968" y="181821"/>
                      </a:lnTo>
                      <a:lnTo>
                        <a:pt x="237116" y="184453"/>
                      </a:lnTo>
                      <a:lnTo>
                        <a:pt x="233563" y="185944"/>
                      </a:lnTo>
                      <a:lnTo>
                        <a:pt x="229439" y="187314"/>
                      </a:lnTo>
                      <a:lnTo>
                        <a:pt x="225511" y="189400"/>
                      </a:lnTo>
                      <a:lnTo>
                        <a:pt x="222871" y="190541"/>
                      </a:lnTo>
                      <a:lnTo>
                        <a:pt x="220279" y="190525"/>
                      </a:lnTo>
                      <a:lnTo>
                        <a:pt x="217948" y="189343"/>
                      </a:lnTo>
                      <a:lnTo>
                        <a:pt x="215397" y="188324"/>
                      </a:lnTo>
                      <a:lnTo>
                        <a:pt x="212341" y="188120"/>
                      </a:lnTo>
                      <a:lnTo>
                        <a:pt x="209163" y="188715"/>
                      </a:lnTo>
                      <a:lnTo>
                        <a:pt x="206473" y="191030"/>
                      </a:lnTo>
                      <a:lnTo>
                        <a:pt x="205373" y="192684"/>
                      </a:lnTo>
                      <a:lnTo>
                        <a:pt x="203026" y="197060"/>
                      </a:lnTo>
                      <a:lnTo>
                        <a:pt x="200263" y="204200"/>
                      </a:lnTo>
                      <a:lnTo>
                        <a:pt x="199171" y="205634"/>
                      </a:lnTo>
                      <a:lnTo>
                        <a:pt x="198870" y="205773"/>
                      </a:lnTo>
                      <a:lnTo>
                        <a:pt x="198193" y="206376"/>
                      </a:lnTo>
                      <a:lnTo>
                        <a:pt x="185447" y="202806"/>
                      </a:lnTo>
                      <a:lnTo>
                        <a:pt x="179954" y="201983"/>
                      </a:lnTo>
                      <a:lnTo>
                        <a:pt x="176254" y="203083"/>
                      </a:lnTo>
                      <a:lnTo>
                        <a:pt x="171601" y="201087"/>
                      </a:lnTo>
                      <a:lnTo>
                        <a:pt x="169572" y="200736"/>
                      </a:lnTo>
                      <a:lnTo>
                        <a:pt x="168618" y="201364"/>
                      </a:lnTo>
                      <a:lnTo>
                        <a:pt x="166034" y="200459"/>
                      </a:lnTo>
                      <a:lnTo>
                        <a:pt x="161821" y="198039"/>
                      </a:lnTo>
                      <a:lnTo>
                        <a:pt x="157779" y="197012"/>
                      </a:lnTo>
                      <a:lnTo>
                        <a:pt x="154176" y="197354"/>
                      </a:lnTo>
                      <a:lnTo>
                        <a:pt x="151951" y="196547"/>
                      </a:lnTo>
                      <a:lnTo>
                        <a:pt x="150175" y="194192"/>
                      </a:lnTo>
                      <a:lnTo>
                        <a:pt x="147877" y="189848"/>
                      </a:lnTo>
                      <a:lnTo>
                        <a:pt x="143720" y="185553"/>
                      </a:lnTo>
                      <a:lnTo>
                        <a:pt x="138178" y="182098"/>
                      </a:lnTo>
                      <a:lnTo>
                        <a:pt x="134707" y="179498"/>
                      </a:lnTo>
                      <a:lnTo>
                        <a:pt x="133313" y="177762"/>
                      </a:lnTo>
                      <a:lnTo>
                        <a:pt x="130322" y="176800"/>
                      </a:lnTo>
                      <a:lnTo>
                        <a:pt x="125734" y="176613"/>
                      </a:lnTo>
                      <a:lnTo>
                        <a:pt x="121333" y="178316"/>
                      </a:lnTo>
                      <a:lnTo>
                        <a:pt x="115009" y="183695"/>
                      </a:lnTo>
                      <a:lnTo>
                        <a:pt x="109133" y="194730"/>
                      </a:lnTo>
                      <a:lnTo>
                        <a:pt x="105865" y="198951"/>
                      </a:lnTo>
                      <a:lnTo>
                        <a:pt x="103257" y="200043"/>
                      </a:lnTo>
                      <a:lnTo>
                        <a:pt x="102588" y="202700"/>
                      </a:lnTo>
                      <a:lnTo>
                        <a:pt x="103893" y="206930"/>
                      </a:lnTo>
                      <a:lnTo>
                        <a:pt x="104227" y="211787"/>
                      </a:lnTo>
                      <a:lnTo>
                        <a:pt x="103298" y="220051"/>
                      </a:lnTo>
                      <a:lnTo>
                        <a:pt x="103640" y="226057"/>
                      </a:lnTo>
                      <a:lnTo>
                        <a:pt x="102246" y="225096"/>
                      </a:lnTo>
                      <a:lnTo>
                        <a:pt x="100902" y="222284"/>
                      </a:lnTo>
                      <a:lnTo>
                        <a:pt x="100274" y="221722"/>
                      </a:lnTo>
                      <a:lnTo>
                        <a:pt x="96403" y="222993"/>
                      </a:lnTo>
                      <a:lnTo>
                        <a:pt x="94390" y="224126"/>
                      </a:lnTo>
                      <a:lnTo>
                        <a:pt x="93323" y="225242"/>
                      </a:lnTo>
                      <a:lnTo>
                        <a:pt x="92499" y="225413"/>
                      </a:lnTo>
                      <a:lnTo>
                        <a:pt x="91269" y="223873"/>
                      </a:lnTo>
                      <a:lnTo>
                        <a:pt x="90299" y="223604"/>
                      </a:lnTo>
                      <a:lnTo>
                        <a:pt x="88775" y="223881"/>
                      </a:lnTo>
                      <a:lnTo>
                        <a:pt x="87227" y="223849"/>
                      </a:lnTo>
                      <a:lnTo>
                        <a:pt x="86208" y="223661"/>
                      </a:lnTo>
                      <a:lnTo>
                        <a:pt x="85547" y="223792"/>
                      </a:lnTo>
                      <a:lnTo>
                        <a:pt x="83714" y="222887"/>
                      </a:lnTo>
                      <a:lnTo>
                        <a:pt x="77047" y="220564"/>
                      </a:lnTo>
                      <a:lnTo>
                        <a:pt x="75898" y="219790"/>
                      </a:lnTo>
                      <a:lnTo>
                        <a:pt x="74562" y="219872"/>
                      </a:lnTo>
                      <a:lnTo>
                        <a:pt x="71106" y="221893"/>
                      </a:lnTo>
                      <a:lnTo>
                        <a:pt x="69281" y="222463"/>
                      </a:lnTo>
                      <a:lnTo>
                        <a:pt x="63771" y="223702"/>
                      </a:lnTo>
                      <a:lnTo>
                        <a:pt x="57863" y="224321"/>
                      </a:lnTo>
                      <a:lnTo>
                        <a:pt x="55606" y="224346"/>
                      </a:lnTo>
                      <a:lnTo>
                        <a:pt x="54049" y="225242"/>
                      </a:lnTo>
                      <a:lnTo>
                        <a:pt x="53046" y="226514"/>
                      </a:lnTo>
                      <a:lnTo>
                        <a:pt x="52370" y="229317"/>
                      </a:lnTo>
                      <a:lnTo>
                        <a:pt x="51213" y="234134"/>
                      </a:lnTo>
                      <a:lnTo>
                        <a:pt x="50724" y="235438"/>
                      </a:lnTo>
                      <a:lnTo>
                        <a:pt x="50813" y="237361"/>
                      </a:lnTo>
                      <a:lnTo>
                        <a:pt x="50471" y="240588"/>
                      </a:lnTo>
                      <a:lnTo>
                        <a:pt x="50308" y="243490"/>
                      </a:lnTo>
                      <a:lnTo>
                        <a:pt x="50528" y="245429"/>
                      </a:lnTo>
                      <a:lnTo>
                        <a:pt x="48858" y="249341"/>
                      </a:lnTo>
                      <a:lnTo>
                        <a:pt x="46836" y="254084"/>
                      </a:lnTo>
                      <a:lnTo>
                        <a:pt x="45157" y="258159"/>
                      </a:lnTo>
                      <a:lnTo>
                        <a:pt x="43454" y="262250"/>
                      </a:lnTo>
                      <a:lnTo>
                        <a:pt x="42272" y="259447"/>
                      </a:lnTo>
                      <a:lnTo>
                        <a:pt x="41555" y="256162"/>
                      </a:lnTo>
                      <a:lnTo>
                        <a:pt x="41278" y="252389"/>
                      </a:lnTo>
                      <a:lnTo>
                        <a:pt x="41433" y="251395"/>
                      </a:lnTo>
                      <a:lnTo>
                        <a:pt x="40969" y="250270"/>
                      </a:lnTo>
                      <a:lnTo>
                        <a:pt x="40944" y="250026"/>
                      </a:lnTo>
                      <a:lnTo>
                        <a:pt x="40374" y="247189"/>
                      </a:lnTo>
                      <a:lnTo>
                        <a:pt x="40952" y="245209"/>
                      </a:lnTo>
                      <a:lnTo>
                        <a:pt x="40480" y="243131"/>
                      </a:lnTo>
                      <a:lnTo>
                        <a:pt x="39110" y="241085"/>
                      </a:lnTo>
                      <a:lnTo>
                        <a:pt x="37864" y="239529"/>
                      </a:lnTo>
                      <a:lnTo>
                        <a:pt x="37138" y="238119"/>
                      </a:lnTo>
                      <a:lnTo>
                        <a:pt x="36543" y="237516"/>
                      </a:lnTo>
                      <a:lnTo>
                        <a:pt x="35174" y="237304"/>
                      </a:lnTo>
                      <a:lnTo>
                        <a:pt x="33324" y="236579"/>
                      </a:lnTo>
                      <a:lnTo>
                        <a:pt x="30887" y="233506"/>
                      </a:lnTo>
                      <a:lnTo>
                        <a:pt x="28516" y="230515"/>
                      </a:lnTo>
                      <a:lnTo>
                        <a:pt x="25476" y="226701"/>
                      </a:lnTo>
                      <a:lnTo>
                        <a:pt x="23039" y="223392"/>
                      </a:lnTo>
                      <a:lnTo>
                        <a:pt x="20056" y="219350"/>
                      </a:lnTo>
                      <a:lnTo>
                        <a:pt x="17302" y="215609"/>
                      </a:lnTo>
                      <a:lnTo>
                        <a:pt x="15647" y="212007"/>
                      </a:lnTo>
                      <a:lnTo>
                        <a:pt x="14971" y="209929"/>
                      </a:lnTo>
                      <a:lnTo>
                        <a:pt x="15778" y="209733"/>
                      </a:lnTo>
                      <a:lnTo>
                        <a:pt x="16968" y="209684"/>
                      </a:lnTo>
                      <a:lnTo>
                        <a:pt x="17473" y="209318"/>
                      </a:lnTo>
                      <a:lnTo>
                        <a:pt x="17497" y="208348"/>
                      </a:lnTo>
                      <a:lnTo>
                        <a:pt x="16275" y="205504"/>
                      </a:lnTo>
                      <a:lnTo>
                        <a:pt x="15672" y="201877"/>
                      </a:lnTo>
                      <a:lnTo>
                        <a:pt x="14661" y="199677"/>
                      </a:lnTo>
                      <a:lnTo>
                        <a:pt x="11467" y="196270"/>
                      </a:lnTo>
                      <a:lnTo>
                        <a:pt x="8402" y="193687"/>
                      </a:lnTo>
                      <a:lnTo>
                        <a:pt x="7440" y="192358"/>
                      </a:lnTo>
                      <a:lnTo>
                        <a:pt x="6878" y="190467"/>
                      </a:lnTo>
                      <a:lnTo>
                        <a:pt x="5721" y="178471"/>
                      </a:lnTo>
                      <a:lnTo>
                        <a:pt x="5183" y="175065"/>
                      </a:lnTo>
                      <a:lnTo>
                        <a:pt x="4230" y="173573"/>
                      </a:lnTo>
                      <a:lnTo>
                        <a:pt x="3521" y="172889"/>
                      </a:lnTo>
                      <a:lnTo>
                        <a:pt x="3260" y="172041"/>
                      </a:lnTo>
                      <a:lnTo>
                        <a:pt x="3398" y="169906"/>
                      </a:lnTo>
                      <a:lnTo>
                        <a:pt x="3789" y="167990"/>
                      </a:lnTo>
                      <a:lnTo>
                        <a:pt x="3773" y="167249"/>
                      </a:lnTo>
                      <a:lnTo>
                        <a:pt x="4596" y="165570"/>
                      </a:lnTo>
                      <a:lnTo>
                        <a:pt x="4596" y="154478"/>
                      </a:lnTo>
                      <a:lnTo>
                        <a:pt x="4148" y="153908"/>
                      </a:lnTo>
                      <a:lnTo>
                        <a:pt x="3618" y="152946"/>
                      </a:lnTo>
                      <a:lnTo>
                        <a:pt x="2754" y="153019"/>
                      </a:lnTo>
                      <a:lnTo>
                        <a:pt x="1768" y="152922"/>
                      </a:lnTo>
                      <a:lnTo>
                        <a:pt x="798" y="151308"/>
                      </a:lnTo>
                      <a:lnTo>
                        <a:pt x="0" y="149271"/>
                      </a:lnTo>
                      <a:lnTo>
                        <a:pt x="236" y="147820"/>
                      </a:lnTo>
                      <a:lnTo>
                        <a:pt x="1084" y="146622"/>
                      </a:lnTo>
                      <a:lnTo>
                        <a:pt x="1997" y="145571"/>
                      </a:lnTo>
                      <a:lnTo>
                        <a:pt x="3170" y="144690"/>
                      </a:lnTo>
                      <a:lnTo>
                        <a:pt x="6650" y="142914"/>
                      </a:lnTo>
                      <a:lnTo>
                        <a:pt x="7636" y="142025"/>
                      </a:lnTo>
                      <a:lnTo>
                        <a:pt x="8247" y="140933"/>
                      </a:lnTo>
                      <a:lnTo>
                        <a:pt x="8655" y="139450"/>
                      </a:lnTo>
                      <a:lnTo>
                        <a:pt x="10684" y="133737"/>
                      </a:lnTo>
                      <a:lnTo>
                        <a:pt x="13667" y="128049"/>
                      </a:lnTo>
                      <a:lnTo>
                        <a:pt x="14971" y="126875"/>
                      </a:lnTo>
                      <a:lnTo>
                        <a:pt x="16242" y="123102"/>
                      </a:lnTo>
                      <a:lnTo>
                        <a:pt x="18003" y="118481"/>
                      </a:lnTo>
                      <a:lnTo>
                        <a:pt x="18720" y="116346"/>
                      </a:lnTo>
                      <a:lnTo>
                        <a:pt x="19225" y="114194"/>
                      </a:lnTo>
                      <a:lnTo>
                        <a:pt x="20203" y="112466"/>
                      </a:lnTo>
                      <a:lnTo>
                        <a:pt x="23496" y="109622"/>
                      </a:lnTo>
                      <a:lnTo>
                        <a:pt x="26014" y="104651"/>
                      </a:lnTo>
                      <a:lnTo>
                        <a:pt x="28711" y="104912"/>
                      </a:lnTo>
                      <a:lnTo>
                        <a:pt x="31499" y="105710"/>
                      </a:lnTo>
                      <a:lnTo>
                        <a:pt x="35060" y="106101"/>
                      </a:lnTo>
                      <a:lnTo>
                        <a:pt x="37847" y="105140"/>
                      </a:lnTo>
                      <a:lnTo>
                        <a:pt x="39665" y="103192"/>
                      </a:lnTo>
                      <a:lnTo>
                        <a:pt x="43642" y="101652"/>
                      </a:lnTo>
                      <a:lnTo>
                        <a:pt x="48303" y="99842"/>
                      </a:lnTo>
                      <a:lnTo>
                        <a:pt x="48939" y="97177"/>
                      </a:lnTo>
                      <a:lnTo>
                        <a:pt x="50300" y="95768"/>
                      </a:lnTo>
                      <a:lnTo>
                        <a:pt x="51881" y="94537"/>
                      </a:lnTo>
                      <a:lnTo>
                        <a:pt x="52427" y="94374"/>
                      </a:lnTo>
                      <a:lnTo>
                        <a:pt x="52549" y="95262"/>
                      </a:lnTo>
                      <a:lnTo>
                        <a:pt x="53511" y="98041"/>
                      </a:lnTo>
                      <a:lnTo>
                        <a:pt x="55483" y="100796"/>
                      </a:lnTo>
                      <a:lnTo>
                        <a:pt x="58368" y="103828"/>
                      </a:lnTo>
                      <a:lnTo>
                        <a:pt x="59199" y="103640"/>
                      </a:lnTo>
                      <a:lnTo>
                        <a:pt x="60984" y="101342"/>
                      </a:lnTo>
                      <a:lnTo>
                        <a:pt x="65491" y="99924"/>
                      </a:lnTo>
                      <a:lnTo>
                        <a:pt x="66632" y="99288"/>
                      </a:lnTo>
                      <a:lnTo>
                        <a:pt x="69835" y="95955"/>
                      </a:lnTo>
                      <a:lnTo>
                        <a:pt x="73690" y="93795"/>
                      </a:lnTo>
                      <a:lnTo>
                        <a:pt x="74529" y="93608"/>
                      </a:lnTo>
                      <a:lnTo>
                        <a:pt x="75923" y="93037"/>
                      </a:lnTo>
                      <a:lnTo>
                        <a:pt x="79826" y="90821"/>
                      </a:lnTo>
                      <a:lnTo>
                        <a:pt x="82581" y="91114"/>
                      </a:lnTo>
                      <a:lnTo>
                        <a:pt x="87023" y="90764"/>
                      </a:lnTo>
                      <a:lnTo>
                        <a:pt x="94439" y="89704"/>
                      </a:lnTo>
                      <a:lnTo>
                        <a:pt x="99801" y="89362"/>
                      </a:lnTo>
                      <a:lnTo>
                        <a:pt x="102499" y="88938"/>
                      </a:lnTo>
                      <a:lnTo>
                        <a:pt x="103183" y="88490"/>
                      </a:lnTo>
                      <a:lnTo>
                        <a:pt x="104227" y="85279"/>
                      </a:lnTo>
                      <a:lnTo>
                        <a:pt x="105025" y="84374"/>
                      </a:lnTo>
                      <a:lnTo>
                        <a:pt x="107046" y="82989"/>
                      </a:lnTo>
                      <a:lnTo>
                        <a:pt x="110991" y="78140"/>
                      </a:lnTo>
                      <a:lnTo>
                        <a:pt x="113574" y="74040"/>
                      </a:lnTo>
                      <a:lnTo>
                        <a:pt x="114300" y="72663"/>
                      </a:lnTo>
                      <a:lnTo>
                        <a:pt x="114365" y="72557"/>
                      </a:lnTo>
                      <a:lnTo>
                        <a:pt x="114895" y="72305"/>
                      </a:lnTo>
                      <a:lnTo>
                        <a:pt x="116011" y="70569"/>
                      </a:lnTo>
                      <a:lnTo>
                        <a:pt x="114903" y="68792"/>
                      </a:lnTo>
                      <a:lnTo>
                        <a:pt x="110486" y="65157"/>
                      </a:lnTo>
                      <a:lnTo>
                        <a:pt x="110551" y="64660"/>
                      </a:lnTo>
                      <a:lnTo>
                        <a:pt x="110290" y="64041"/>
                      </a:lnTo>
                      <a:lnTo>
                        <a:pt x="110543" y="63543"/>
                      </a:lnTo>
                      <a:lnTo>
                        <a:pt x="112221" y="62060"/>
                      </a:lnTo>
                      <a:lnTo>
                        <a:pt x="114495" y="60365"/>
                      </a:lnTo>
                      <a:lnTo>
                        <a:pt x="116916" y="59738"/>
                      </a:lnTo>
                      <a:lnTo>
                        <a:pt x="123248" y="59868"/>
                      </a:lnTo>
                      <a:lnTo>
                        <a:pt x="128619" y="59509"/>
                      </a:lnTo>
                      <a:lnTo>
                        <a:pt x="129890" y="59591"/>
                      </a:lnTo>
                      <a:lnTo>
                        <a:pt x="134088" y="58735"/>
                      </a:lnTo>
                      <a:lnTo>
                        <a:pt x="136956" y="57953"/>
                      </a:lnTo>
                      <a:lnTo>
                        <a:pt x="139914" y="56209"/>
                      </a:lnTo>
                      <a:lnTo>
                        <a:pt x="146605" y="56388"/>
                      </a:lnTo>
                      <a:lnTo>
                        <a:pt x="152180" y="51938"/>
                      </a:lnTo>
                      <a:lnTo>
                        <a:pt x="153777" y="51140"/>
                      </a:lnTo>
                      <a:lnTo>
                        <a:pt x="154478" y="50447"/>
                      </a:lnTo>
                      <a:lnTo>
                        <a:pt x="154690" y="49762"/>
                      </a:lnTo>
                      <a:lnTo>
                        <a:pt x="157290" y="47994"/>
                      </a:lnTo>
                      <a:lnTo>
                        <a:pt x="160216" y="44335"/>
                      </a:lnTo>
                      <a:lnTo>
                        <a:pt x="162522" y="41042"/>
                      </a:lnTo>
                      <a:lnTo>
                        <a:pt x="163149" y="38728"/>
                      </a:lnTo>
                      <a:lnTo>
                        <a:pt x="169457" y="30839"/>
                      </a:lnTo>
                      <a:lnTo>
                        <a:pt x="171658" y="31002"/>
                      </a:lnTo>
                      <a:lnTo>
                        <a:pt x="172742" y="30032"/>
                      </a:lnTo>
                      <a:lnTo>
                        <a:pt x="175244" y="24775"/>
                      </a:lnTo>
                      <a:lnTo>
                        <a:pt x="176010" y="23806"/>
                      </a:lnTo>
                      <a:lnTo>
                        <a:pt x="177199" y="23479"/>
                      </a:lnTo>
                      <a:lnTo>
                        <a:pt x="178618" y="22885"/>
                      </a:lnTo>
                      <a:lnTo>
                        <a:pt x="179856" y="21328"/>
                      </a:lnTo>
                      <a:lnTo>
                        <a:pt x="180924" y="19013"/>
                      </a:lnTo>
                      <a:lnTo>
                        <a:pt x="180932" y="16145"/>
                      </a:lnTo>
                      <a:lnTo>
                        <a:pt x="180435" y="13838"/>
                      </a:lnTo>
                      <a:lnTo>
                        <a:pt x="180435" y="12722"/>
                      </a:lnTo>
                      <a:lnTo>
                        <a:pt x="181046" y="11703"/>
                      </a:lnTo>
                      <a:lnTo>
                        <a:pt x="182048" y="10668"/>
                      </a:lnTo>
                      <a:lnTo>
                        <a:pt x="186840" y="7840"/>
                      </a:lnTo>
                      <a:lnTo>
                        <a:pt x="188063" y="6471"/>
                      </a:lnTo>
                      <a:lnTo>
                        <a:pt x="188796" y="5240"/>
                      </a:lnTo>
                      <a:lnTo>
                        <a:pt x="190133" y="5012"/>
                      </a:lnTo>
                      <a:lnTo>
                        <a:pt x="191592" y="5134"/>
                      </a:lnTo>
                      <a:lnTo>
                        <a:pt x="192521" y="4377"/>
                      </a:lnTo>
                      <a:lnTo>
                        <a:pt x="193572" y="3081"/>
                      </a:lnTo>
                      <a:lnTo>
                        <a:pt x="196897" y="1345"/>
                      </a:lnTo>
                      <a:lnTo>
                        <a:pt x="199970" y="0"/>
                      </a:lnTo>
                      <a:lnTo>
                        <a:pt x="203197" y="571"/>
                      </a:lnTo>
                      <a:lnTo>
                        <a:pt x="205830" y="1271"/>
                      </a:lnTo>
                      <a:lnTo>
                        <a:pt x="207989" y="2078"/>
                      </a:lnTo>
                      <a:close/>
                    </a:path>
                  </a:pathLst>
                </a:custGeom>
                <a:solidFill>
                  <a:srgbClr val="D6D6D2"/>
                </a:solidFill>
                <a:ln w="6112" cap="rnd">
                  <a:solidFill>
                    <a:srgbClr val="FFFFFF"/>
                  </a:solidFill>
                  <a:prstDash val="solid"/>
                  <a:round/>
                </a:ln>
              </p:spPr>
              <p:txBody>
                <a:bodyPr rtlCol="0" anchor="ctr"/>
                <a:lstStyle/>
                <a:p>
                  <a:endParaRPr lang="en-US"/>
                </a:p>
              </p:txBody>
            </p:sp>
            <p:sp>
              <p:nvSpPr>
                <p:cNvPr id="765" name="Freeform: Shape 764">
                  <a:extLst>
                    <a:ext uri="{FF2B5EF4-FFF2-40B4-BE49-F238E27FC236}">
                      <a16:creationId xmlns:a16="http://schemas.microsoft.com/office/drawing/2014/main" id="{7CCCFB74-FCD5-402B-A5CA-6C4F8F0B0712}"/>
                    </a:ext>
                  </a:extLst>
                </p:cNvPr>
                <p:cNvSpPr/>
                <p:nvPr/>
              </p:nvSpPr>
              <p:spPr>
                <a:xfrm>
                  <a:off x="6439112" y="5061360"/>
                  <a:ext cx="232837" cy="282168"/>
                </a:xfrm>
                <a:custGeom>
                  <a:avLst/>
                  <a:gdLst>
                    <a:gd name="connsiteX0" fmla="*/ 130991 w 232837"/>
                    <a:gd name="connsiteY0" fmla="*/ 187 h 282168"/>
                    <a:gd name="connsiteX1" fmla="*/ 130493 w 232837"/>
                    <a:gd name="connsiteY1" fmla="*/ 1703 h 282168"/>
                    <a:gd name="connsiteX2" fmla="*/ 130135 w 232837"/>
                    <a:gd name="connsiteY2" fmla="*/ 3920 h 282168"/>
                    <a:gd name="connsiteX3" fmla="*/ 130583 w 232837"/>
                    <a:gd name="connsiteY3" fmla="*/ 5574 h 282168"/>
                    <a:gd name="connsiteX4" fmla="*/ 131577 w 232837"/>
                    <a:gd name="connsiteY4" fmla="*/ 7783 h 282168"/>
                    <a:gd name="connsiteX5" fmla="*/ 133012 w 232837"/>
                    <a:gd name="connsiteY5" fmla="*/ 9723 h 282168"/>
                    <a:gd name="connsiteX6" fmla="*/ 134112 w 232837"/>
                    <a:gd name="connsiteY6" fmla="*/ 10880 h 282168"/>
                    <a:gd name="connsiteX7" fmla="*/ 135408 w 232837"/>
                    <a:gd name="connsiteY7" fmla="*/ 13740 h 282168"/>
                    <a:gd name="connsiteX8" fmla="*/ 136711 w 232837"/>
                    <a:gd name="connsiteY8" fmla="*/ 17302 h 282168"/>
                    <a:gd name="connsiteX9" fmla="*/ 138415 w 232837"/>
                    <a:gd name="connsiteY9" fmla="*/ 20089 h 282168"/>
                    <a:gd name="connsiteX10" fmla="*/ 143452 w 232837"/>
                    <a:gd name="connsiteY10" fmla="*/ 26462 h 282168"/>
                    <a:gd name="connsiteX11" fmla="*/ 144014 w 232837"/>
                    <a:gd name="connsiteY11" fmla="*/ 28752 h 282168"/>
                    <a:gd name="connsiteX12" fmla="*/ 144699 w 232837"/>
                    <a:gd name="connsiteY12" fmla="*/ 31010 h 282168"/>
                    <a:gd name="connsiteX13" fmla="*/ 147877 w 232837"/>
                    <a:gd name="connsiteY13" fmla="*/ 35370 h 282168"/>
                    <a:gd name="connsiteX14" fmla="*/ 148366 w 232837"/>
                    <a:gd name="connsiteY14" fmla="*/ 36812 h 282168"/>
                    <a:gd name="connsiteX15" fmla="*/ 148154 w 232837"/>
                    <a:gd name="connsiteY15" fmla="*/ 39771 h 282168"/>
                    <a:gd name="connsiteX16" fmla="*/ 151414 w 232837"/>
                    <a:gd name="connsiteY16" fmla="*/ 48654 h 282168"/>
                    <a:gd name="connsiteX17" fmla="*/ 153541 w 232837"/>
                    <a:gd name="connsiteY17" fmla="*/ 53845 h 282168"/>
                    <a:gd name="connsiteX18" fmla="*/ 155350 w 232837"/>
                    <a:gd name="connsiteY18" fmla="*/ 54799 h 282168"/>
                    <a:gd name="connsiteX19" fmla="*/ 161145 w 232837"/>
                    <a:gd name="connsiteY19" fmla="*/ 60324 h 282168"/>
                    <a:gd name="connsiteX20" fmla="*/ 166198 w 232837"/>
                    <a:gd name="connsiteY20" fmla="*/ 64766 h 282168"/>
                    <a:gd name="connsiteX21" fmla="*/ 172122 w 232837"/>
                    <a:gd name="connsiteY21" fmla="*/ 67773 h 282168"/>
                    <a:gd name="connsiteX22" fmla="*/ 176450 w 232837"/>
                    <a:gd name="connsiteY22" fmla="*/ 69753 h 282168"/>
                    <a:gd name="connsiteX23" fmla="*/ 178601 w 232837"/>
                    <a:gd name="connsiteY23" fmla="*/ 71196 h 282168"/>
                    <a:gd name="connsiteX24" fmla="*/ 179669 w 232837"/>
                    <a:gd name="connsiteY24" fmla="*/ 72582 h 282168"/>
                    <a:gd name="connsiteX25" fmla="*/ 180549 w 232837"/>
                    <a:gd name="connsiteY25" fmla="*/ 75238 h 282168"/>
                    <a:gd name="connsiteX26" fmla="*/ 180989 w 232837"/>
                    <a:gd name="connsiteY26" fmla="*/ 79867 h 282168"/>
                    <a:gd name="connsiteX27" fmla="*/ 181136 w 232837"/>
                    <a:gd name="connsiteY27" fmla="*/ 82866 h 282168"/>
                    <a:gd name="connsiteX28" fmla="*/ 185806 w 232837"/>
                    <a:gd name="connsiteY28" fmla="*/ 82752 h 282168"/>
                    <a:gd name="connsiteX29" fmla="*/ 189669 w 232837"/>
                    <a:gd name="connsiteY29" fmla="*/ 83013 h 282168"/>
                    <a:gd name="connsiteX30" fmla="*/ 191030 w 232837"/>
                    <a:gd name="connsiteY30" fmla="*/ 83616 h 282168"/>
                    <a:gd name="connsiteX31" fmla="*/ 191527 w 232837"/>
                    <a:gd name="connsiteY31" fmla="*/ 84472 h 282168"/>
                    <a:gd name="connsiteX32" fmla="*/ 191413 w 232837"/>
                    <a:gd name="connsiteY32" fmla="*/ 86452 h 282168"/>
                    <a:gd name="connsiteX33" fmla="*/ 191469 w 232837"/>
                    <a:gd name="connsiteY33" fmla="*/ 89394 h 282168"/>
                    <a:gd name="connsiteX34" fmla="*/ 191649 w 232837"/>
                    <a:gd name="connsiteY34" fmla="*/ 91766 h 282168"/>
                    <a:gd name="connsiteX35" fmla="*/ 191242 w 232837"/>
                    <a:gd name="connsiteY35" fmla="*/ 94300 h 282168"/>
                    <a:gd name="connsiteX36" fmla="*/ 190973 w 232837"/>
                    <a:gd name="connsiteY36" fmla="*/ 97291 h 282168"/>
                    <a:gd name="connsiteX37" fmla="*/ 190785 w 232837"/>
                    <a:gd name="connsiteY37" fmla="*/ 100983 h 282168"/>
                    <a:gd name="connsiteX38" fmla="*/ 191372 w 232837"/>
                    <a:gd name="connsiteY38" fmla="*/ 102442 h 282168"/>
                    <a:gd name="connsiteX39" fmla="*/ 195121 w 232837"/>
                    <a:gd name="connsiteY39" fmla="*/ 107104 h 282168"/>
                    <a:gd name="connsiteX40" fmla="*/ 196677 w 232837"/>
                    <a:gd name="connsiteY40" fmla="*/ 110127 h 282168"/>
                    <a:gd name="connsiteX41" fmla="*/ 198340 w 232837"/>
                    <a:gd name="connsiteY41" fmla="*/ 114699 h 282168"/>
                    <a:gd name="connsiteX42" fmla="*/ 199334 w 232837"/>
                    <a:gd name="connsiteY42" fmla="*/ 116174 h 282168"/>
                    <a:gd name="connsiteX43" fmla="*/ 200109 w 232837"/>
                    <a:gd name="connsiteY43" fmla="*/ 116761 h 282168"/>
                    <a:gd name="connsiteX44" fmla="*/ 203482 w 232837"/>
                    <a:gd name="connsiteY44" fmla="*/ 117267 h 282168"/>
                    <a:gd name="connsiteX45" fmla="*/ 212170 w 232837"/>
                    <a:gd name="connsiteY45" fmla="*/ 119173 h 282168"/>
                    <a:gd name="connsiteX46" fmla="*/ 217524 w 232837"/>
                    <a:gd name="connsiteY46" fmla="*/ 120934 h 282168"/>
                    <a:gd name="connsiteX47" fmla="*/ 221770 w 232837"/>
                    <a:gd name="connsiteY47" fmla="*/ 122751 h 282168"/>
                    <a:gd name="connsiteX48" fmla="*/ 223555 w 232837"/>
                    <a:gd name="connsiteY48" fmla="*/ 123232 h 282168"/>
                    <a:gd name="connsiteX49" fmla="*/ 224419 w 232837"/>
                    <a:gd name="connsiteY49" fmla="*/ 123705 h 282168"/>
                    <a:gd name="connsiteX50" fmla="*/ 224721 w 232837"/>
                    <a:gd name="connsiteY50" fmla="*/ 124161 h 282168"/>
                    <a:gd name="connsiteX51" fmla="*/ 224174 w 232837"/>
                    <a:gd name="connsiteY51" fmla="*/ 128146 h 282168"/>
                    <a:gd name="connsiteX52" fmla="*/ 224362 w 232837"/>
                    <a:gd name="connsiteY52" fmla="*/ 129434 h 282168"/>
                    <a:gd name="connsiteX53" fmla="*/ 224835 w 232837"/>
                    <a:gd name="connsiteY53" fmla="*/ 130591 h 282168"/>
                    <a:gd name="connsiteX54" fmla="*/ 225552 w 232837"/>
                    <a:gd name="connsiteY54" fmla="*/ 131488 h 282168"/>
                    <a:gd name="connsiteX55" fmla="*/ 226432 w 232837"/>
                    <a:gd name="connsiteY55" fmla="*/ 132058 h 282168"/>
                    <a:gd name="connsiteX56" fmla="*/ 229667 w 232837"/>
                    <a:gd name="connsiteY56" fmla="*/ 132482 h 282168"/>
                    <a:gd name="connsiteX57" fmla="*/ 231607 w 232837"/>
                    <a:gd name="connsiteY57" fmla="*/ 134919 h 282168"/>
                    <a:gd name="connsiteX58" fmla="*/ 232838 w 232837"/>
                    <a:gd name="connsiteY58" fmla="*/ 136043 h 282168"/>
                    <a:gd name="connsiteX59" fmla="*/ 227011 w 232837"/>
                    <a:gd name="connsiteY59" fmla="*/ 136655 h 282168"/>
                    <a:gd name="connsiteX60" fmla="*/ 224118 w 232837"/>
                    <a:gd name="connsiteY60" fmla="*/ 138676 h 282168"/>
                    <a:gd name="connsiteX61" fmla="*/ 222439 w 232837"/>
                    <a:gd name="connsiteY61" fmla="*/ 142294 h 282168"/>
                    <a:gd name="connsiteX62" fmla="*/ 219807 w 232837"/>
                    <a:gd name="connsiteY62" fmla="*/ 144967 h 282168"/>
                    <a:gd name="connsiteX63" fmla="*/ 216229 w 232837"/>
                    <a:gd name="connsiteY63" fmla="*/ 146671 h 282168"/>
                    <a:gd name="connsiteX64" fmla="*/ 212447 w 232837"/>
                    <a:gd name="connsiteY64" fmla="*/ 147828 h 282168"/>
                    <a:gd name="connsiteX65" fmla="*/ 208454 w 232837"/>
                    <a:gd name="connsiteY65" fmla="*/ 148472 h 282168"/>
                    <a:gd name="connsiteX66" fmla="*/ 204191 w 232837"/>
                    <a:gd name="connsiteY66" fmla="*/ 151593 h 282168"/>
                    <a:gd name="connsiteX67" fmla="*/ 199676 w 232837"/>
                    <a:gd name="connsiteY67" fmla="*/ 157200 h 282168"/>
                    <a:gd name="connsiteX68" fmla="*/ 197370 w 232837"/>
                    <a:gd name="connsiteY68" fmla="*/ 160737 h 282168"/>
                    <a:gd name="connsiteX69" fmla="*/ 197280 w 232837"/>
                    <a:gd name="connsiteY69" fmla="*/ 162188 h 282168"/>
                    <a:gd name="connsiteX70" fmla="*/ 196270 w 232837"/>
                    <a:gd name="connsiteY70" fmla="*/ 163443 h 282168"/>
                    <a:gd name="connsiteX71" fmla="*/ 194322 w 232837"/>
                    <a:gd name="connsiteY71" fmla="*/ 164502 h 282168"/>
                    <a:gd name="connsiteX72" fmla="*/ 193238 w 232837"/>
                    <a:gd name="connsiteY72" fmla="*/ 165782 h 282168"/>
                    <a:gd name="connsiteX73" fmla="*/ 192986 w 232837"/>
                    <a:gd name="connsiteY73" fmla="*/ 167273 h 282168"/>
                    <a:gd name="connsiteX74" fmla="*/ 191950 w 232837"/>
                    <a:gd name="connsiteY74" fmla="*/ 167990 h 282168"/>
                    <a:gd name="connsiteX75" fmla="*/ 190158 w 232837"/>
                    <a:gd name="connsiteY75" fmla="*/ 167925 h 282168"/>
                    <a:gd name="connsiteX76" fmla="*/ 188870 w 232837"/>
                    <a:gd name="connsiteY76" fmla="*/ 169017 h 282168"/>
                    <a:gd name="connsiteX77" fmla="*/ 188153 w 232837"/>
                    <a:gd name="connsiteY77" fmla="*/ 171266 h 282168"/>
                    <a:gd name="connsiteX78" fmla="*/ 186548 w 232837"/>
                    <a:gd name="connsiteY78" fmla="*/ 172628 h 282168"/>
                    <a:gd name="connsiteX79" fmla="*/ 184078 w 232837"/>
                    <a:gd name="connsiteY79" fmla="*/ 173100 h 282168"/>
                    <a:gd name="connsiteX80" fmla="*/ 181951 w 232837"/>
                    <a:gd name="connsiteY80" fmla="*/ 174372 h 282168"/>
                    <a:gd name="connsiteX81" fmla="*/ 180166 w 232837"/>
                    <a:gd name="connsiteY81" fmla="*/ 176433 h 282168"/>
                    <a:gd name="connsiteX82" fmla="*/ 178772 w 232837"/>
                    <a:gd name="connsiteY82" fmla="*/ 177477 h 282168"/>
                    <a:gd name="connsiteX83" fmla="*/ 177811 w 232837"/>
                    <a:gd name="connsiteY83" fmla="*/ 177501 h 282168"/>
                    <a:gd name="connsiteX84" fmla="*/ 176295 w 232837"/>
                    <a:gd name="connsiteY84" fmla="*/ 179172 h 282168"/>
                    <a:gd name="connsiteX85" fmla="*/ 173858 w 232837"/>
                    <a:gd name="connsiteY85" fmla="*/ 183133 h 282168"/>
                    <a:gd name="connsiteX86" fmla="*/ 173450 w 232837"/>
                    <a:gd name="connsiteY86" fmla="*/ 184974 h 282168"/>
                    <a:gd name="connsiteX87" fmla="*/ 170093 w 232837"/>
                    <a:gd name="connsiteY87" fmla="*/ 199913 h 282168"/>
                    <a:gd name="connsiteX88" fmla="*/ 168259 w 232837"/>
                    <a:gd name="connsiteY88" fmla="*/ 201665 h 282168"/>
                    <a:gd name="connsiteX89" fmla="*/ 164706 w 232837"/>
                    <a:gd name="connsiteY89" fmla="*/ 204754 h 282168"/>
                    <a:gd name="connsiteX90" fmla="*/ 161813 w 232837"/>
                    <a:gd name="connsiteY90" fmla="*/ 208437 h 282168"/>
                    <a:gd name="connsiteX91" fmla="*/ 160582 w 232837"/>
                    <a:gd name="connsiteY91" fmla="*/ 210622 h 282168"/>
                    <a:gd name="connsiteX92" fmla="*/ 159229 w 232837"/>
                    <a:gd name="connsiteY92" fmla="*/ 211600 h 282168"/>
                    <a:gd name="connsiteX93" fmla="*/ 152620 w 232837"/>
                    <a:gd name="connsiteY93" fmla="*/ 213409 h 282168"/>
                    <a:gd name="connsiteX94" fmla="*/ 150159 w 232837"/>
                    <a:gd name="connsiteY94" fmla="*/ 214379 h 282168"/>
                    <a:gd name="connsiteX95" fmla="*/ 147192 w 232837"/>
                    <a:gd name="connsiteY95" fmla="*/ 215797 h 282168"/>
                    <a:gd name="connsiteX96" fmla="*/ 146443 w 232837"/>
                    <a:gd name="connsiteY96" fmla="*/ 217068 h 282168"/>
                    <a:gd name="connsiteX97" fmla="*/ 145717 w 232837"/>
                    <a:gd name="connsiteY97" fmla="*/ 221681 h 282168"/>
                    <a:gd name="connsiteX98" fmla="*/ 143663 w 232837"/>
                    <a:gd name="connsiteY98" fmla="*/ 228323 h 282168"/>
                    <a:gd name="connsiteX99" fmla="*/ 142001 w 232837"/>
                    <a:gd name="connsiteY99" fmla="*/ 233221 h 282168"/>
                    <a:gd name="connsiteX100" fmla="*/ 140925 w 232837"/>
                    <a:gd name="connsiteY100" fmla="*/ 237491 h 282168"/>
                    <a:gd name="connsiteX101" fmla="*/ 139059 w 232837"/>
                    <a:gd name="connsiteY101" fmla="*/ 242789 h 282168"/>
                    <a:gd name="connsiteX102" fmla="*/ 137429 w 232837"/>
                    <a:gd name="connsiteY102" fmla="*/ 244565 h 282168"/>
                    <a:gd name="connsiteX103" fmla="*/ 135579 w 232837"/>
                    <a:gd name="connsiteY103" fmla="*/ 246195 h 282168"/>
                    <a:gd name="connsiteX104" fmla="*/ 133158 w 232837"/>
                    <a:gd name="connsiteY104" fmla="*/ 247002 h 282168"/>
                    <a:gd name="connsiteX105" fmla="*/ 129866 w 232837"/>
                    <a:gd name="connsiteY105" fmla="*/ 247507 h 282168"/>
                    <a:gd name="connsiteX106" fmla="*/ 126867 w 232837"/>
                    <a:gd name="connsiteY106" fmla="*/ 247361 h 282168"/>
                    <a:gd name="connsiteX107" fmla="*/ 124544 w 232837"/>
                    <a:gd name="connsiteY107" fmla="*/ 247450 h 282168"/>
                    <a:gd name="connsiteX108" fmla="*/ 121325 w 232837"/>
                    <a:gd name="connsiteY108" fmla="*/ 249316 h 282168"/>
                    <a:gd name="connsiteX109" fmla="*/ 118326 w 232837"/>
                    <a:gd name="connsiteY109" fmla="*/ 249439 h 282168"/>
                    <a:gd name="connsiteX110" fmla="*/ 113558 w 232837"/>
                    <a:gd name="connsiteY110" fmla="*/ 248363 h 282168"/>
                    <a:gd name="connsiteX111" fmla="*/ 109704 w 232837"/>
                    <a:gd name="connsiteY111" fmla="*/ 247304 h 282168"/>
                    <a:gd name="connsiteX112" fmla="*/ 107976 w 232837"/>
                    <a:gd name="connsiteY112" fmla="*/ 247092 h 282168"/>
                    <a:gd name="connsiteX113" fmla="*/ 104561 w 232837"/>
                    <a:gd name="connsiteY113" fmla="*/ 243628 h 282168"/>
                    <a:gd name="connsiteX114" fmla="*/ 102352 w 232837"/>
                    <a:gd name="connsiteY114" fmla="*/ 243693 h 282168"/>
                    <a:gd name="connsiteX115" fmla="*/ 99019 w 232837"/>
                    <a:gd name="connsiteY115" fmla="*/ 243408 h 282168"/>
                    <a:gd name="connsiteX116" fmla="*/ 97145 w 232837"/>
                    <a:gd name="connsiteY116" fmla="*/ 242634 h 282168"/>
                    <a:gd name="connsiteX117" fmla="*/ 95401 w 232837"/>
                    <a:gd name="connsiteY117" fmla="*/ 240849 h 282168"/>
                    <a:gd name="connsiteX118" fmla="*/ 91611 w 232837"/>
                    <a:gd name="connsiteY118" fmla="*/ 237361 h 282168"/>
                    <a:gd name="connsiteX119" fmla="*/ 87903 w 232837"/>
                    <a:gd name="connsiteY119" fmla="*/ 234549 h 282168"/>
                    <a:gd name="connsiteX120" fmla="*/ 84627 w 232837"/>
                    <a:gd name="connsiteY120" fmla="*/ 232878 h 282168"/>
                    <a:gd name="connsiteX121" fmla="*/ 81562 w 232837"/>
                    <a:gd name="connsiteY121" fmla="*/ 232104 h 282168"/>
                    <a:gd name="connsiteX122" fmla="*/ 78661 w 232837"/>
                    <a:gd name="connsiteY122" fmla="*/ 232797 h 282168"/>
                    <a:gd name="connsiteX123" fmla="*/ 76395 w 232837"/>
                    <a:gd name="connsiteY123" fmla="*/ 233531 h 282168"/>
                    <a:gd name="connsiteX124" fmla="*/ 75523 w 232837"/>
                    <a:gd name="connsiteY124" fmla="*/ 233897 h 282168"/>
                    <a:gd name="connsiteX125" fmla="*/ 73755 w 232837"/>
                    <a:gd name="connsiteY125" fmla="*/ 235364 h 282168"/>
                    <a:gd name="connsiteX126" fmla="*/ 71962 w 232837"/>
                    <a:gd name="connsiteY126" fmla="*/ 238119 h 282168"/>
                    <a:gd name="connsiteX127" fmla="*/ 70479 w 232837"/>
                    <a:gd name="connsiteY127" fmla="*/ 242438 h 282168"/>
                    <a:gd name="connsiteX128" fmla="*/ 69916 w 232837"/>
                    <a:gd name="connsiteY128" fmla="*/ 245079 h 282168"/>
                    <a:gd name="connsiteX129" fmla="*/ 68254 w 232837"/>
                    <a:gd name="connsiteY129" fmla="*/ 250702 h 282168"/>
                    <a:gd name="connsiteX130" fmla="*/ 66045 w 232837"/>
                    <a:gd name="connsiteY130" fmla="*/ 257442 h 282168"/>
                    <a:gd name="connsiteX131" fmla="*/ 64986 w 232837"/>
                    <a:gd name="connsiteY131" fmla="*/ 259381 h 282168"/>
                    <a:gd name="connsiteX132" fmla="*/ 63780 w 232837"/>
                    <a:gd name="connsiteY132" fmla="*/ 260824 h 282168"/>
                    <a:gd name="connsiteX133" fmla="*/ 61840 w 232837"/>
                    <a:gd name="connsiteY133" fmla="*/ 262103 h 282168"/>
                    <a:gd name="connsiteX134" fmla="*/ 55557 w 232837"/>
                    <a:gd name="connsiteY134" fmla="*/ 267466 h 282168"/>
                    <a:gd name="connsiteX135" fmla="*/ 52419 w 232837"/>
                    <a:gd name="connsiteY135" fmla="*/ 273513 h 282168"/>
                    <a:gd name="connsiteX136" fmla="*/ 50430 w 232837"/>
                    <a:gd name="connsiteY136" fmla="*/ 275282 h 282168"/>
                    <a:gd name="connsiteX137" fmla="*/ 48051 w 232837"/>
                    <a:gd name="connsiteY137" fmla="*/ 276097 h 282168"/>
                    <a:gd name="connsiteX138" fmla="*/ 46030 w 232837"/>
                    <a:gd name="connsiteY138" fmla="*/ 276610 h 282168"/>
                    <a:gd name="connsiteX139" fmla="*/ 44913 w 232837"/>
                    <a:gd name="connsiteY139" fmla="*/ 277621 h 282168"/>
                    <a:gd name="connsiteX140" fmla="*/ 43666 w 232837"/>
                    <a:gd name="connsiteY140" fmla="*/ 280677 h 282168"/>
                    <a:gd name="connsiteX141" fmla="*/ 42591 w 232837"/>
                    <a:gd name="connsiteY141" fmla="*/ 281752 h 282168"/>
                    <a:gd name="connsiteX142" fmla="*/ 41401 w 232837"/>
                    <a:gd name="connsiteY142" fmla="*/ 282168 h 282168"/>
                    <a:gd name="connsiteX143" fmla="*/ 37798 w 232837"/>
                    <a:gd name="connsiteY143" fmla="*/ 281810 h 282168"/>
                    <a:gd name="connsiteX144" fmla="*/ 36649 w 232837"/>
                    <a:gd name="connsiteY144" fmla="*/ 281508 h 282168"/>
                    <a:gd name="connsiteX145" fmla="*/ 27122 w 232837"/>
                    <a:gd name="connsiteY145" fmla="*/ 282095 h 282168"/>
                    <a:gd name="connsiteX146" fmla="*/ 24221 w 232837"/>
                    <a:gd name="connsiteY146" fmla="*/ 281125 h 282168"/>
                    <a:gd name="connsiteX147" fmla="*/ 22159 w 232837"/>
                    <a:gd name="connsiteY147" fmla="*/ 280734 h 282168"/>
                    <a:gd name="connsiteX148" fmla="*/ 18915 w 232837"/>
                    <a:gd name="connsiteY148" fmla="*/ 282013 h 282168"/>
                    <a:gd name="connsiteX149" fmla="*/ 17554 w 232837"/>
                    <a:gd name="connsiteY149" fmla="*/ 281174 h 282168"/>
                    <a:gd name="connsiteX150" fmla="*/ 16471 w 232837"/>
                    <a:gd name="connsiteY150" fmla="*/ 278631 h 282168"/>
                    <a:gd name="connsiteX151" fmla="*/ 15941 w 232837"/>
                    <a:gd name="connsiteY151" fmla="*/ 273538 h 282168"/>
                    <a:gd name="connsiteX152" fmla="*/ 16112 w 232837"/>
                    <a:gd name="connsiteY152" fmla="*/ 269202 h 282168"/>
                    <a:gd name="connsiteX153" fmla="*/ 17864 w 232837"/>
                    <a:gd name="connsiteY153" fmla="*/ 265918 h 282168"/>
                    <a:gd name="connsiteX154" fmla="*/ 19347 w 232837"/>
                    <a:gd name="connsiteY154" fmla="*/ 263522 h 282168"/>
                    <a:gd name="connsiteX155" fmla="*/ 20782 w 232837"/>
                    <a:gd name="connsiteY155" fmla="*/ 260400 h 282168"/>
                    <a:gd name="connsiteX156" fmla="*/ 20969 w 232837"/>
                    <a:gd name="connsiteY156" fmla="*/ 258998 h 282168"/>
                    <a:gd name="connsiteX157" fmla="*/ 20676 w 232837"/>
                    <a:gd name="connsiteY157" fmla="*/ 257727 h 282168"/>
                    <a:gd name="connsiteX158" fmla="*/ 20399 w 232837"/>
                    <a:gd name="connsiteY158" fmla="*/ 255160 h 282168"/>
                    <a:gd name="connsiteX159" fmla="*/ 20236 w 232837"/>
                    <a:gd name="connsiteY159" fmla="*/ 252536 h 282168"/>
                    <a:gd name="connsiteX160" fmla="*/ 18190 w 232837"/>
                    <a:gd name="connsiteY160" fmla="*/ 246774 h 282168"/>
                    <a:gd name="connsiteX161" fmla="*/ 15672 w 232837"/>
                    <a:gd name="connsiteY161" fmla="*/ 239170 h 282168"/>
                    <a:gd name="connsiteX162" fmla="*/ 12298 w 232837"/>
                    <a:gd name="connsiteY162" fmla="*/ 230670 h 282168"/>
                    <a:gd name="connsiteX163" fmla="*/ 11238 w 232837"/>
                    <a:gd name="connsiteY163" fmla="*/ 228339 h 282168"/>
                    <a:gd name="connsiteX164" fmla="*/ 9128 w 232837"/>
                    <a:gd name="connsiteY164" fmla="*/ 224664 h 282168"/>
                    <a:gd name="connsiteX165" fmla="*/ 1271 w 232837"/>
                    <a:gd name="connsiteY165" fmla="*/ 217663 h 282168"/>
                    <a:gd name="connsiteX166" fmla="*/ 73 w 232837"/>
                    <a:gd name="connsiteY166" fmla="*/ 216718 h 282168"/>
                    <a:gd name="connsiteX167" fmla="*/ 73 w 232837"/>
                    <a:gd name="connsiteY167" fmla="*/ 215935 h 282168"/>
                    <a:gd name="connsiteX168" fmla="*/ 65 w 232837"/>
                    <a:gd name="connsiteY168" fmla="*/ 209147 h 282168"/>
                    <a:gd name="connsiteX169" fmla="*/ 57 w 232837"/>
                    <a:gd name="connsiteY169" fmla="*/ 200166 h 282168"/>
                    <a:gd name="connsiteX170" fmla="*/ 49 w 232837"/>
                    <a:gd name="connsiteY170" fmla="*/ 191193 h 282168"/>
                    <a:gd name="connsiteX171" fmla="*/ 41 w 232837"/>
                    <a:gd name="connsiteY171" fmla="*/ 182236 h 282168"/>
                    <a:gd name="connsiteX172" fmla="*/ 32 w 232837"/>
                    <a:gd name="connsiteY172" fmla="*/ 173288 h 282168"/>
                    <a:gd name="connsiteX173" fmla="*/ 24 w 232837"/>
                    <a:gd name="connsiteY173" fmla="*/ 164339 h 282168"/>
                    <a:gd name="connsiteX174" fmla="*/ 24 w 232837"/>
                    <a:gd name="connsiteY174" fmla="*/ 155399 h 282168"/>
                    <a:gd name="connsiteX175" fmla="*/ 16 w 232837"/>
                    <a:gd name="connsiteY175" fmla="*/ 146475 h 282168"/>
                    <a:gd name="connsiteX176" fmla="*/ 8 w 232837"/>
                    <a:gd name="connsiteY176" fmla="*/ 137559 h 282168"/>
                    <a:gd name="connsiteX177" fmla="*/ 0 w 232837"/>
                    <a:gd name="connsiteY177" fmla="*/ 130021 h 282168"/>
                    <a:gd name="connsiteX178" fmla="*/ 5656 w 232837"/>
                    <a:gd name="connsiteY178" fmla="*/ 130021 h 282168"/>
                    <a:gd name="connsiteX179" fmla="*/ 12656 w 232837"/>
                    <a:gd name="connsiteY179" fmla="*/ 130021 h 282168"/>
                    <a:gd name="connsiteX180" fmla="*/ 20977 w 232837"/>
                    <a:gd name="connsiteY180" fmla="*/ 130021 h 282168"/>
                    <a:gd name="connsiteX181" fmla="*/ 24645 w 232837"/>
                    <a:gd name="connsiteY181" fmla="*/ 130021 h 282168"/>
                    <a:gd name="connsiteX182" fmla="*/ 24857 w 232837"/>
                    <a:gd name="connsiteY182" fmla="*/ 128831 h 282168"/>
                    <a:gd name="connsiteX183" fmla="*/ 24849 w 232837"/>
                    <a:gd name="connsiteY183" fmla="*/ 123313 h 282168"/>
                    <a:gd name="connsiteX184" fmla="*/ 24832 w 232837"/>
                    <a:gd name="connsiteY184" fmla="*/ 110649 h 282168"/>
                    <a:gd name="connsiteX185" fmla="*/ 24816 w 232837"/>
                    <a:gd name="connsiteY185" fmla="*/ 98025 h 282168"/>
                    <a:gd name="connsiteX186" fmla="*/ 24808 w 232837"/>
                    <a:gd name="connsiteY186" fmla="*/ 85393 h 282168"/>
                    <a:gd name="connsiteX187" fmla="*/ 24791 w 232837"/>
                    <a:gd name="connsiteY187" fmla="*/ 72785 h 282168"/>
                    <a:gd name="connsiteX188" fmla="*/ 24783 w 232837"/>
                    <a:gd name="connsiteY188" fmla="*/ 60194 h 282168"/>
                    <a:gd name="connsiteX189" fmla="*/ 24767 w 232837"/>
                    <a:gd name="connsiteY189" fmla="*/ 47611 h 282168"/>
                    <a:gd name="connsiteX190" fmla="*/ 24751 w 232837"/>
                    <a:gd name="connsiteY190" fmla="*/ 35060 h 282168"/>
                    <a:gd name="connsiteX191" fmla="*/ 24726 w 232837"/>
                    <a:gd name="connsiteY191" fmla="*/ 22510 h 282168"/>
                    <a:gd name="connsiteX192" fmla="*/ 24726 w 232837"/>
                    <a:gd name="connsiteY192" fmla="*/ 16308 h 282168"/>
                    <a:gd name="connsiteX193" fmla="*/ 31132 w 232837"/>
                    <a:gd name="connsiteY193" fmla="*/ 15941 h 282168"/>
                    <a:gd name="connsiteX194" fmla="*/ 38499 w 232837"/>
                    <a:gd name="connsiteY194" fmla="*/ 14669 h 282168"/>
                    <a:gd name="connsiteX195" fmla="*/ 50447 w 232837"/>
                    <a:gd name="connsiteY195" fmla="*/ 12624 h 282168"/>
                    <a:gd name="connsiteX196" fmla="*/ 61579 w 232837"/>
                    <a:gd name="connsiteY196" fmla="*/ 10073 h 282168"/>
                    <a:gd name="connsiteX197" fmla="*/ 68840 w 232837"/>
                    <a:gd name="connsiteY197" fmla="*/ 8590 h 282168"/>
                    <a:gd name="connsiteX198" fmla="*/ 77447 w 232837"/>
                    <a:gd name="connsiteY198" fmla="*/ 6813 h 282168"/>
                    <a:gd name="connsiteX199" fmla="*/ 80413 w 232837"/>
                    <a:gd name="connsiteY199" fmla="*/ 6511 h 282168"/>
                    <a:gd name="connsiteX200" fmla="*/ 81204 w 232837"/>
                    <a:gd name="connsiteY200" fmla="*/ 6748 h 282168"/>
                    <a:gd name="connsiteX201" fmla="*/ 82369 w 232837"/>
                    <a:gd name="connsiteY201" fmla="*/ 7359 h 282168"/>
                    <a:gd name="connsiteX202" fmla="*/ 86371 w 232837"/>
                    <a:gd name="connsiteY202" fmla="*/ 13610 h 282168"/>
                    <a:gd name="connsiteX203" fmla="*/ 88865 w 232837"/>
                    <a:gd name="connsiteY203" fmla="*/ 18386 h 282168"/>
                    <a:gd name="connsiteX204" fmla="*/ 89362 w 232837"/>
                    <a:gd name="connsiteY204" fmla="*/ 20431 h 282168"/>
                    <a:gd name="connsiteX205" fmla="*/ 89843 w 232837"/>
                    <a:gd name="connsiteY205" fmla="*/ 20643 h 282168"/>
                    <a:gd name="connsiteX206" fmla="*/ 91024 w 232837"/>
                    <a:gd name="connsiteY206" fmla="*/ 20317 h 282168"/>
                    <a:gd name="connsiteX207" fmla="*/ 92353 w 232837"/>
                    <a:gd name="connsiteY207" fmla="*/ 19551 h 282168"/>
                    <a:gd name="connsiteX208" fmla="*/ 96403 w 232837"/>
                    <a:gd name="connsiteY208" fmla="*/ 14792 h 282168"/>
                    <a:gd name="connsiteX209" fmla="*/ 97243 w 232837"/>
                    <a:gd name="connsiteY209" fmla="*/ 13553 h 282168"/>
                    <a:gd name="connsiteX210" fmla="*/ 99842 w 232837"/>
                    <a:gd name="connsiteY210" fmla="*/ 11255 h 282168"/>
                    <a:gd name="connsiteX211" fmla="*/ 102980 w 232837"/>
                    <a:gd name="connsiteY211" fmla="*/ 8908 h 282168"/>
                    <a:gd name="connsiteX212" fmla="*/ 105824 w 232837"/>
                    <a:gd name="connsiteY212" fmla="*/ 7237 h 282168"/>
                    <a:gd name="connsiteX213" fmla="*/ 108676 w 232837"/>
                    <a:gd name="connsiteY213" fmla="*/ 5860 h 282168"/>
                    <a:gd name="connsiteX214" fmla="*/ 109997 w 232837"/>
                    <a:gd name="connsiteY214" fmla="*/ 6202 h 282168"/>
                    <a:gd name="connsiteX215" fmla="*/ 111545 w 232837"/>
                    <a:gd name="connsiteY215" fmla="*/ 7392 h 282168"/>
                    <a:gd name="connsiteX216" fmla="*/ 112939 w 232837"/>
                    <a:gd name="connsiteY216" fmla="*/ 8142 h 282168"/>
                    <a:gd name="connsiteX217" fmla="*/ 119418 w 232837"/>
                    <a:gd name="connsiteY217" fmla="*/ 2371 h 282168"/>
                    <a:gd name="connsiteX218" fmla="*/ 122319 w 232837"/>
                    <a:gd name="connsiteY218" fmla="*/ 1043 h 282168"/>
                    <a:gd name="connsiteX219" fmla="*/ 129939 w 232837"/>
                    <a:gd name="connsiteY219" fmla="*/ 0 h 282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232837" h="282168">
                      <a:moveTo>
                        <a:pt x="130991" y="187"/>
                      </a:moveTo>
                      <a:lnTo>
                        <a:pt x="130493" y="1703"/>
                      </a:lnTo>
                      <a:lnTo>
                        <a:pt x="130135" y="3920"/>
                      </a:lnTo>
                      <a:lnTo>
                        <a:pt x="130583" y="5574"/>
                      </a:lnTo>
                      <a:lnTo>
                        <a:pt x="131577" y="7783"/>
                      </a:lnTo>
                      <a:lnTo>
                        <a:pt x="133012" y="9723"/>
                      </a:lnTo>
                      <a:lnTo>
                        <a:pt x="134112" y="10880"/>
                      </a:lnTo>
                      <a:lnTo>
                        <a:pt x="135408" y="13740"/>
                      </a:lnTo>
                      <a:lnTo>
                        <a:pt x="136711" y="17302"/>
                      </a:lnTo>
                      <a:lnTo>
                        <a:pt x="138415" y="20089"/>
                      </a:lnTo>
                      <a:lnTo>
                        <a:pt x="143452" y="26462"/>
                      </a:lnTo>
                      <a:lnTo>
                        <a:pt x="144014" y="28752"/>
                      </a:lnTo>
                      <a:lnTo>
                        <a:pt x="144699" y="31010"/>
                      </a:lnTo>
                      <a:lnTo>
                        <a:pt x="147877" y="35370"/>
                      </a:lnTo>
                      <a:lnTo>
                        <a:pt x="148366" y="36812"/>
                      </a:lnTo>
                      <a:lnTo>
                        <a:pt x="148154" y="39771"/>
                      </a:lnTo>
                      <a:lnTo>
                        <a:pt x="151414" y="48654"/>
                      </a:lnTo>
                      <a:lnTo>
                        <a:pt x="153541" y="53845"/>
                      </a:lnTo>
                      <a:lnTo>
                        <a:pt x="155350" y="54799"/>
                      </a:lnTo>
                      <a:lnTo>
                        <a:pt x="161145" y="60324"/>
                      </a:lnTo>
                      <a:lnTo>
                        <a:pt x="166198" y="64766"/>
                      </a:lnTo>
                      <a:lnTo>
                        <a:pt x="172122" y="67773"/>
                      </a:lnTo>
                      <a:lnTo>
                        <a:pt x="176450" y="69753"/>
                      </a:lnTo>
                      <a:lnTo>
                        <a:pt x="178601" y="71196"/>
                      </a:lnTo>
                      <a:lnTo>
                        <a:pt x="179669" y="72582"/>
                      </a:lnTo>
                      <a:lnTo>
                        <a:pt x="180549" y="75238"/>
                      </a:lnTo>
                      <a:lnTo>
                        <a:pt x="180989" y="79867"/>
                      </a:lnTo>
                      <a:lnTo>
                        <a:pt x="181136" y="82866"/>
                      </a:lnTo>
                      <a:lnTo>
                        <a:pt x="185806" y="82752"/>
                      </a:lnTo>
                      <a:lnTo>
                        <a:pt x="189669" y="83013"/>
                      </a:lnTo>
                      <a:lnTo>
                        <a:pt x="191030" y="83616"/>
                      </a:lnTo>
                      <a:lnTo>
                        <a:pt x="191527" y="84472"/>
                      </a:lnTo>
                      <a:lnTo>
                        <a:pt x="191413" y="86452"/>
                      </a:lnTo>
                      <a:lnTo>
                        <a:pt x="191469" y="89394"/>
                      </a:lnTo>
                      <a:lnTo>
                        <a:pt x="191649" y="91766"/>
                      </a:lnTo>
                      <a:lnTo>
                        <a:pt x="191242" y="94300"/>
                      </a:lnTo>
                      <a:lnTo>
                        <a:pt x="190973" y="97291"/>
                      </a:lnTo>
                      <a:lnTo>
                        <a:pt x="190785" y="100983"/>
                      </a:lnTo>
                      <a:lnTo>
                        <a:pt x="191372" y="102442"/>
                      </a:lnTo>
                      <a:lnTo>
                        <a:pt x="195121" y="107104"/>
                      </a:lnTo>
                      <a:lnTo>
                        <a:pt x="196677" y="110127"/>
                      </a:lnTo>
                      <a:lnTo>
                        <a:pt x="198340" y="114699"/>
                      </a:lnTo>
                      <a:lnTo>
                        <a:pt x="199334" y="116174"/>
                      </a:lnTo>
                      <a:lnTo>
                        <a:pt x="200109" y="116761"/>
                      </a:lnTo>
                      <a:lnTo>
                        <a:pt x="203482" y="117267"/>
                      </a:lnTo>
                      <a:lnTo>
                        <a:pt x="212170" y="119173"/>
                      </a:lnTo>
                      <a:lnTo>
                        <a:pt x="217524" y="120934"/>
                      </a:lnTo>
                      <a:lnTo>
                        <a:pt x="221770" y="122751"/>
                      </a:lnTo>
                      <a:lnTo>
                        <a:pt x="223555" y="123232"/>
                      </a:lnTo>
                      <a:lnTo>
                        <a:pt x="224419" y="123705"/>
                      </a:lnTo>
                      <a:lnTo>
                        <a:pt x="224721" y="124161"/>
                      </a:lnTo>
                      <a:lnTo>
                        <a:pt x="224174" y="128146"/>
                      </a:lnTo>
                      <a:lnTo>
                        <a:pt x="224362" y="129434"/>
                      </a:lnTo>
                      <a:lnTo>
                        <a:pt x="224835" y="130591"/>
                      </a:lnTo>
                      <a:lnTo>
                        <a:pt x="225552" y="131488"/>
                      </a:lnTo>
                      <a:lnTo>
                        <a:pt x="226432" y="132058"/>
                      </a:lnTo>
                      <a:lnTo>
                        <a:pt x="229667" y="132482"/>
                      </a:lnTo>
                      <a:lnTo>
                        <a:pt x="231607" y="134919"/>
                      </a:lnTo>
                      <a:lnTo>
                        <a:pt x="232838" y="136043"/>
                      </a:lnTo>
                      <a:lnTo>
                        <a:pt x="227011" y="136655"/>
                      </a:lnTo>
                      <a:lnTo>
                        <a:pt x="224118" y="138676"/>
                      </a:lnTo>
                      <a:lnTo>
                        <a:pt x="222439" y="142294"/>
                      </a:lnTo>
                      <a:lnTo>
                        <a:pt x="219807" y="144967"/>
                      </a:lnTo>
                      <a:lnTo>
                        <a:pt x="216229" y="146671"/>
                      </a:lnTo>
                      <a:lnTo>
                        <a:pt x="212447" y="147828"/>
                      </a:lnTo>
                      <a:lnTo>
                        <a:pt x="208454" y="148472"/>
                      </a:lnTo>
                      <a:lnTo>
                        <a:pt x="204191" y="151593"/>
                      </a:lnTo>
                      <a:lnTo>
                        <a:pt x="199676" y="157200"/>
                      </a:lnTo>
                      <a:lnTo>
                        <a:pt x="197370" y="160737"/>
                      </a:lnTo>
                      <a:lnTo>
                        <a:pt x="197280" y="162188"/>
                      </a:lnTo>
                      <a:lnTo>
                        <a:pt x="196270" y="163443"/>
                      </a:lnTo>
                      <a:lnTo>
                        <a:pt x="194322" y="164502"/>
                      </a:lnTo>
                      <a:lnTo>
                        <a:pt x="193238" y="165782"/>
                      </a:lnTo>
                      <a:lnTo>
                        <a:pt x="192986" y="167273"/>
                      </a:lnTo>
                      <a:lnTo>
                        <a:pt x="191950" y="167990"/>
                      </a:lnTo>
                      <a:lnTo>
                        <a:pt x="190158" y="167925"/>
                      </a:lnTo>
                      <a:lnTo>
                        <a:pt x="188870" y="169017"/>
                      </a:lnTo>
                      <a:lnTo>
                        <a:pt x="188153" y="171266"/>
                      </a:lnTo>
                      <a:lnTo>
                        <a:pt x="186548" y="172628"/>
                      </a:lnTo>
                      <a:lnTo>
                        <a:pt x="184078" y="173100"/>
                      </a:lnTo>
                      <a:lnTo>
                        <a:pt x="181951" y="174372"/>
                      </a:lnTo>
                      <a:lnTo>
                        <a:pt x="180166" y="176433"/>
                      </a:lnTo>
                      <a:lnTo>
                        <a:pt x="178772" y="177477"/>
                      </a:lnTo>
                      <a:lnTo>
                        <a:pt x="177811" y="177501"/>
                      </a:lnTo>
                      <a:lnTo>
                        <a:pt x="176295" y="179172"/>
                      </a:lnTo>
                      <a:lnTo>
                        <a:pt x="173858" y="183133"/>
                      </a:lnTo>
                      <a:lnTo>
                        <a:pt x="173450" y="184974"/>
                      </a:lnTo>
                      <a:lnTo>
                        <a:pt x="170093" y="199913"/>
                      </a:lnTo>
                      <a:lnTo>
                        <a:pt x="168259" y="201665"/>
                      </a:lnTo>
                      <a:lnTo>
                        <a:pt x="164706" y="204754"/>
                      </a:lnTo>
                      <a:lnTo>
                        <a:pt x="161813" y="208437"/>
                      </a:lnTo>
                      <a:lnTo>
                        <a:pt x="160582" y="210622"/>
                      </a:lnTo>
                      <a:lnTo>
                        <a:pt x="159229" y="211600"/>
                      </a:lnTo>
                      <a:lnTo>
                        <a:pt x="152620" y="213409"/>
                      </a:lnTo>
                      <a:lnTo>
                        <a:pt x="150159" y="214379"/>
                      </a:lnTo>
                      <a:lnTo>
                        <a:pt x="147192" y="215797"/>
                      </a:lnTo>
                      <a:lnTo>
                        <a:pt x="146443" y="217068"/>
                      </a:lnTo>
                      <a:lnTo>
                        <a:pt x="145717" y="221681"/>
                      </a:lnTo>
                      <a:lnTo>
                        <a:pt x="143663" y="228323"/>
                      </a:lnTo>
                      <a:lnTo>
                        <a:pt x="142001" y="233221"/>
                      </a:lnTo>
                      <a:lnTo>
                        <a:pt x="140925" y="237491"/>
                      </a:lnTo>
                      <a:lnTo>
                        <a:pt x="139059" y="242789"/>
                      </a:lnTo>
                      <a:lnTo>
                        <a:pt x="137429" y="244565"/>
                      </a:lnTo>
                      <a:lnTo>
                        <a:pt x="135579" y="246195"/>
                      </a:lnTo>
                      <a:lnTo>
                        <a:pt x="133158" y="247002"/>
                      </a:lnTo>
                      <a:lnTo>
                        <a:pt x="129866" y="247507"/>
                      </a:lnTo>
                      <a:lnTo>
                        <a:pt x="126867" y="247361"/>
                      </a:lnTo>
                      <a:lnTo>
                        <a:pt x="124544" y="247450"/>
                      </a:lnTo>
                      <a:lnTo>
                        <a:pt x="121325" y="249316"/>
                      </a:lnTo>
                      <a:lnTo>
                        <a:pt x="118326" y="249439"/>
                      </a:lnTo>
                      <a:lnTo>
                        <a:pt x="113558" y="248363"/>
                      </a:lnTo>
                      <a:lnTo>
                        <a:pt x="109704" y="247304"/>
                      </a:lnTo>
                      <a:lnTo>
                        <a:pt x="107976" y="247092"/>
                      </a:lnTo>
                      <a:lnTo>
                        <a:pt x="104561" y="243628"/>
                      </a:lnTo>
                      <a:lnTo>
                        <a:pt x="102352" y="243693"/>
                      </a:lnTo>
                      <a:lnTo>
                        <a:pt x="99019" y="243408"/>
                      </a:lnTo>
                      <a:lnTo>
                        <a:pt x="97145" y="242634"/>
                      </a:lnTo>
                      <a:lnTo>
                        <a:pt x="95401" y="240849"/>
                      </a:lnTo>
                      <a:lnTo>
                        <a:pt x="91611" y="237361"/>
                      </a:lnTo>
                      <a:lnTo>
                        <a:pt x="87903" y="234549"/>
                      </a:lnTo>
                      <a:lnTo>
                        <a:pt x="84627" y="232878"/>
                      </a:lnTo>
                      <a:lnTo>
                        <a:pt x="81562" y="232104"/>
                      </a:lnTo>
                      <a:lnTo>
                        <a:pt x="78661" y="232797"/>
                      </a:lnTo>
                      <a:lnTo>
                        <a:pt x="76395" y="233531"/>
                      </a:lnTo>
                      <a:lnTo>
                        <a:pt x="75523" y="233897"/>
                      </a:lnTo>
                      <a:lnTo>
                        <a:pt x="73755" y="235364"/>
                      </a:lnTo>
                      <a:lnTo>
                        <a:pt x="71962" y="238119"/>
                      </a:lnTo>
                      <a:lnTo>
                        <a:pt x="70479" y="242438"/>
                      </a:lnTo>
                      <a:lnTo>
                        <a:pt x="69916" y="245079"/>
                      </a:lnTo>
                      <a:lnTo>
                        <a:pt x="68254" y="250702"/>
                      </a:lnTo>
                      <a:lnTo>
                        <a:pt x="66045" y="257442"/>
                      </a:lnTo>
                      <a:lnTo>
                        <a:pt x="64986" y="259381"/>
                      </a:lnTo>
                      <a:lnTo>
                        <a:pt x="63780" y="260824"/>
                      </a:lnTo>
                      <a:lnTo>
                        <a:pt x="61840" y="262103"/>
                      </a:lnTo>
                      <a:lnTo>
                        <a:pt x="55557" y="267466"/>
                      </a:lnTo>
                      <a:lnTo>
                        <a:pt x="52419" y="273513"/>
                      </a:lnTo>
                      <a:lnTo>
                        <a:pt x="50430" y="275282"/>
                      </a:lnTo>
                      <a:lnTo>
                        <a:pt x="48051" y="276097"/>
                      </a:lnTo>
                      <a:lnTo>
                        <a:pt x="46030" y="276610"/>
                      </a:lnTo>
                      <a:lnTo>
                        <a:pt x="44913" y="277621"/>
                      </a:lnTo>
                      <a:lnTo>
                        <a:pt x="43666" y="280677"/>
                      </a:lnTo>
                      <a:lnTo>
                        <a:pt x="42591" y="281752"/>
                      </a:lnTo>
                      <a:lnTo>
                        <a:pt x="41401" y="282168"/>
                      </a:lnTo>
                      <a:lnTo>
                        <a:pt x="37798" y="281810"/>
                      </a:lnTo>
                      <a:lnTo>
                        <a:pt x="36649" y="281508"/>
                      </a:lnTo>
                      <a:lnTo>
                        <a:pt x="27122" y="282095"/>
                      </a:lnTo>
                      <a:lnTo>
                        <a:pt x="24221" y="281125"/>
                      </a:lnTo>
                      <a:lnTo>
                        <a:pt x="22159" y="280734"/>
                      </a:lnTo>
                      <a:lnTo>
                        <a:pt x="18915" y="282013"/>
                      </a:lnTo>
                      <a:lnTo>
                        <a:pt x="17554" y="281174"/>
                      </a:lnTo>
                      <a:lnTo>
                        <a:pt x="16471" y="278631"/>
                      </a:lnTo>
                      <a:lnTo>
                        <a:pt x="15941" y="273538"/>
                      </a:lnTo>
                      <a:lnTo>
                        <a:pt x="16112" y="269202"/>
                      </a:lnTo>
                      <a:lnTo>
                        <a:pt x="17864" y="265918"/>
                      </a:lnTo>
                      <a:lnTo>
                        <a:pt x="19347" y="263522"/>
                      </a:lnTo>
                      <a:lnTo>
                        <a:pt x="20782" y="260400"/>
                      </a:lnTo>
                      <a:lnTo>
                        <a:pt x="20969" y="258998"/>
                      </a:lnTo>
                      <a:lnTo>
                        <a:pt x="20676" y="257727"/>
                      </a:lnTo>
                      <a:lnTo>
                        <a:pt x="20399" y="255160"/>
                      </a:lnTo>
                      <a:lnTo>
                        <a:pt x="20236" y="252536"/>
                      </a:lnTo>
                      <a:lnTo>
                        <a:pt x="18190" y="246774"/>
                      </a:lnTo>
                      <a:lnTo>
                        <a:pt x="15672" y="239170"/>
                      </a:lnTo>
                      <a:lnTo>
                        <a:pt x="12298" y="230670"/>
                      </a:lnTo>
                      <a:lnTo>
                        <a:pt x="11238" y="228339"/>
                      </a:lnTo>
                      <a:lnTo>
                        <a:pt x="9128" y="224664"/>
                      </a:lnTo>
                      <a:lnTo>
                        <a:pt x="1271" y="217663"/>
                      </a:lnTo>
                      <a:lnTo>
                        <a:pt x="73" y="216718"/>
                      </a:lnTo>
                      <a:lnTo>
                        <a:pt x="73" y="215935"/>
                      </a:lnTo>
                      <a:lnTo>
                        <a:pt x="65" y="209147"/>
                      </a:lnTo>
                      <a:lnTo>
                        <a:pt x="57" y="200166"/>
                      </a:lnTo>
                      <a:lnTo>
                        <a:pt x="49" y="191193"/>
                      </a:lnTo>
                      <a:lnTo>
                        <a:pt x="41" y="182236"/>
                      </a:lnTo>
                      <a:lnTo>
                        <a:pt x="32" y="173288"/>
                      </a:lnTo>
                      <a:lnTo>
                        <a:pt x="24" y="164339"/>
                      </a:lnTo>
                      <a:lnTo>
                        <a:pt x="24" y="155399"/>
                      </a:lnTo>
                      <a:lnTo>
                        <a:pt x="16" y="146475"/>
                      </a:lnTo>
                      <a:lnTo>
                        <a:pt x="8" y="137559"/>
                      </a:lnTo>
                      <a:lnTo>
                        <a:pt x="0" y="130021"/>
                      </a:lnTo>
                      <a:lnTo>
                        <a:pt x="5656" y="130021"/>
                      </a:lnTo>
                      <a:lnTo>
                        <a:pt x="12656" y="130021"/>
                      </a:lnTo>
                      <a:lnTo>
                        <a:pt x="20977" y="130021"/>
                      </a:lnTo>
                      <a:lnTo>
                        <a:pt x="24645" y="130021"/>
                      </a:lnTo>
                      <a:lnTo>
                        <a:pt x="24857" y="128831"/>
                      </a:lnTo>
                      <a:lnTo>
                        <a:pt x="24849" y="123313"/>
                      </a:lnTo>
                      <a:lnTo>
                        <a:pt x="24832" y="110649"/>
                      </a:lnTo>
                      <a:lnTo>
                        <a:pt x="24816" y="98025"/>
                      </a:lnTo>
                      <a:lnTo>
                        <a:pt x="24808" y="85393"/>
                      </a:lnTo>
                      <a:lnTo>
                        <a:pt x="24791" y="72785"/>
                      </a:lnTo>
                      <a:lnTo>
                        <a:pt x="24783" y="60194"/>
                      </a:lnTo>
                      <a:lnTo>
                        <a:pt x="24767" y="47611"/>
                      </a:lnTo>
                      <a:lnTo>
                        <a:pt x="24751" y="35060"/>
                      </a:lnTo>
                      <a:lnTo>
                        <a:pt x="24726" y="22510"/>
                      </a:lnTo>
                      <a:lnTo>
                        <a:pt x="24726" y="16308"/>
                      </a:lnTo>
                      <a:lnTo>
                        <a:pt x="31132" y="15941"/>
                      </a:lnTo>
                      <a:lnTo>
                        <a:pt x="38499" y="14669"/>
                      </a:lnTo>
                      <a:lnTo>
                        <a:pt x="50447" y="12624"/>
                      </a:lnTo>
                      <a:lnTo>
                        <a:pt x="61579" y="10073"/>
                      </a:lnTo>
                      <a:lnTo>
                        <a:pt x="68840" y="8590"/>
                      </a:lnTo>
                      <a:lnTo>
                        <a:pt x="77447" y="6813"/>
                      </a:lnTo>
                      <a:lnTo>
                        <a:pt x="80413" y="6511"/>
                      </a:lnTo>
                      <a:lnTo>
                        <a:pt x="81204" y="6748"/>
                      </a:lnTo>
                      <a:lnTo>
                        <a:pt x="82369" y="7359"/>
                      </a:lnTo>
                      <a:lnTo>
                        <a:pt x="86371" y="13610"/>
                      </a:lnTo>
                      <a:lnTo>
                        <a:pt x="88865" y="18386"/>
                      </a:lnTo>
                      <a:lnTo>
                        <a:pt x="89362" y="20431"/>
                      </a:lnTo>
                      <a:lnTo>
                        <a:pt x="89843" y="20643"/>
                      </a:lnTo>
                      <a:lnTo>
                        <a:pt x="91024" y="20317"/>
                      </a:lnTo>
                      <a:lnTo>
                        <a:pt x="92353" y="19551"/>
                      </a:lnTo>
                      <a:lnTo>
                        <a:pt x="96403" y="14792"/>
                      </a:lnTo>
                      <a:lnTo>
                        <a:pt x="97243" y="13553"/>
                      </a:lnTo>
                      <a:lnTo>
                        <a:pt x="99842" y="11255"/>
                      </a:lnTo>
                      <a:lnTo>
                        <a:pt x="102980" y="8908"/>
                      </a:lnTo>
                      <a:lnTo>
                        <a:pt x="105824" y="7237"/>
                      </a:lnTo>
                      <a:lnTo>
                        <a:pt x="108676" y="5860"/>
                      </a:lnTo>
                      <a:lnTo>
                        <a:pt x="109997" y="6202"/>
                      </a:lnTo>
                      <a:lnTo>
                        <a:pt x="111545" y="7392"/>
                      </a:lnTo>
                      <a:lnTo>
                        <a:pt x="112939" y="8142"/>
                      </a:lnTo>
                      <a:lnTo>
                        <a:pt x="119418" y="2371"/>
                      </a:lnTo>
                      <a:lnTo>
                        <a:pt x="122319" y="1043"/>
                      </a:lnTo>
                      <a:lnTo>
                        <a:pt x="129939" y="0"/>
                      </a:lnTo>
                      <a:close/>
                    </a:path>
                  </a:pathLst>
                </a:custGeom>
                <a:solidFill>
                  <a:srgbClr val="D6D6D2"/>
                </a:solidFill>
                <a:ln w="6112" cap="rnd">
                  <a:solidFill>
                    <a:srgbClr val="FFFFFF"/>
                  </a:solidFill>
                  <a:prstDash val="solid"/>
                  <a:round/>
                </a:ln>
              </p:spPr>
              <p:txBody>
                <a:bodyPr rtlCol="0" anchor="ctr"/>
                <a:lstStyle/>
                <a:p>
                  <a:endParaRPr lang="en-US"/>
                </a:p>
              </p:txBody>
            </p:sp>
            <p:sp>
              <p:nvSpPr>
                <p:cNvPr id="766" name="Freeform: Shape 765">
                  <a:extLst>
                    <a:ext uri="{FF2B5EF4-FFF2-40B4-BE49-F238E27FC236}">
                      <a16:creationId xmlns:a16="http://schemas.microsoft.com/office/drawing/2014/main" id="{7DEF8ACE-395B-438B-AC57-14F2F966CDF0}"/>
                    </a:ext>
                  </a:extLst>
                </p:cNvPr>
                <p:cNvSpPr/>
                <p:nvPr/>
              </p:nvSpPr>
              <p:spPr>
                <a:xfrm>
                  <a:off x="8144541" y="3659215"/>
                  <a:ext cx="82972" cy="51082"/>
                </a:xfrm>
                <a:custGeom>
                  <a:avLst/>
                  <a:gdLst>
                    <a:gd name="connsiteX0" fmla="*/ 71767 w 82972"/>
                    <a:gd name="connsiteY0" fmla="*/ 17530 h 51082"/>
                    <a:gd name="connsiteX1" fmla="*/ 71612 w 82972"/>
                    <a:gd name="connsiteY1" fmla="*/ 18255 h 51082"/>
                    <a:gd name="connsiteX2" fmla="*/ 70911 w 82972"/>
                    <a:gd name="connsiteY2" fmla="*/ 20171 h 51082"/>
                    <a:gd name="connsiteX3" fmla="*/ 70463 w 82972"/>
                    <a:gd name="connsiteY3" fmla="*/ 22257 h 51082"/>
                    <a:gd name="connsiteX4" fmla="*/ 70846 w 82972"/>
                    <a:gd name="connsiteY4" fmla="*/ 23952 h 51082"/>
                    <a:gd name="connsiteX5" fmla="*/ 72410 w 82972"/>
                    <a:gd name="connsiteY5" fmla="*/ 25989 h 51082"/>
                    <a:gd name="connsiteX6" fmla="*/ 74529 w 82972"/>
                    <a:gd name="connsiteY6" fmla="*/ 27611 h 51082"/>
                    <a:gd name="connsiteX7" fmla="*/ 77211 w 82972"/>
                    <a:gd name="connsiteY7" fmla="*/ 27742 h 51082"/>
                    <a:gd name="connsiteX8" fmla="*/ 79688 w 82972"/>
                    <a:gd name="connsiteY8" fmla="*/ 27114 h 51082"/>
                    <a:gd name="connsiteX9" fmla="*/ 80675 w 82972"/>
                    <a:gd name="connsiteY9" fmla="*/ 27367 h 51082"/>
                    <a:gd name="connsiteX10" fmla="*/ 82011 w 82972"/>
                    <a:gd name="connsiteY10" fmla="*/ 30081 h 51082"/>
                    <a:gd name="connsiteX11" fmla="*/ 82973 w 82972"/>
                    <a:gd name="connsiteY11" fmla="*/ 32428 h 51082"/>
                    <a:gd name="connsiteX12" fmla="*/ 81677 w 82972"/>
                    <a:gd name="connsiteY12" fmla="*/ 34848 h 51082"/>
                    <a:gd name="connsiteX13" fmla="*/ 80960 w 82972"/>
                    <a:gd name="connsiteY13" fmla="*/ 36975 h 51082"/>
                    <a:gd name="connsiteX14" fmla="*/ 80707 w 82972"/>
                    <a:gd name="connsiteY14" fmla="*/ 38475 h 51082"/>
                    <a:gd name="connsiteX15" fmla="*/ 80854 w 82972"/>
                    <a:gd name="connsiteY15" fmla="*/ 39127 h 51082"/>
                    <a:gd name="connsiteX16" fmla="*/ 81668 w 82972"/>
                    <a:gd name="connsiteY16" fmla="*/ 40349 h 51082"/>
                    <a:gd name="connsiteX17" fmla="*/ 82581 w 82972"/>
                    <a:gd name="connsiteY17" fmla="*/ 42419 h 51082"/>
                    <a:gd name="connsiteX18" fmla="*/ 82720 w 82972"/>
                    <a:gd name="connsiteY18" fmla="*/ 44335 h 51082"/>
                    <a:gd name="connsiteX19" fmla="*/ 82125 w 82972"/>
                    <a:gd name="connsiteY19" fmla="*/ 45598 h 51082"/>
                    <a:gd name="connsiteX20" fmla="*/ 80846 w 82972"/>
                    <a:gd name="connsiteY20" fmla="*/ 46225 h 51082"/>
                    <a:gd name="connsiteX21" fmla="*/ 79501 w 82972"/>
                    <a:gd name="connsiteY21" fmla="*/ 46046 h 51082"/>
                    <a:gd name="connsiteX22" fmla="*/ 78376 w 82972"/>
                    <a:gd name="connsiteY22" fmla="*/ 46070 h 51082"/>
                    <a:gd name="connsiteX23" fmla="*/ 76983 w 82972"/>
                    <a:gd name="connsiteY23" fmla="*/ 46290 h 51082"/>
                    <a:gd name="connsiteX24" fmla="*/ 74790 w 82972"/>
                    <a:gd name="connsiteY24" fmla="*/ 46991 h 51082"/>
                    <a:gd name="connsiteX25" fmla="*/ 72753 w 82972"/>
                    <a:gd name="connsiteY25" fmla="*/ 47904 h 51082"/>
                    <a:gd name="connsiteX26" fmla="*/ 68931 w 82972"/>
                    <a:gd name="connsiteY26" fmla="*/ 47733 h 51082"/>
                    <a:gd name="connsiteX27" fmla="*/ 67406 w 82972"/>
                    <a:gd name="connsiteY27" fmla="*/ 45850 h 51082"/>
                    <a:gd name="connsiteX28" fmla="*/ 66681 w 82972"/>
                    <a:gd name="connsiteY28" fmla="*/ 45842 h 51082"/>
                    <a:gd name="connsiteX29" fmla="*/ 63193 w 82972"/>
                    <a:gd name="connsiteY29" fmla="*/ 48279 h 51082"/>
                    <a:gd name="connsiteX30" fmla="*/ 59412 w 82972"/>
                    <a:gd name="connsiteY30" fmla="*/ 47855 h 51082"/>
                    <a:gd name="connsiteX31" fmla="*/ 52525 w 82972"/>
                    <a:gd name="connsiteY31" fmla="*/ 48678 h 51082"/>
                    <a:gd name="connsiteX32" fmla="*/ 49632 w 82972"/>
                    <a:gd name="connsiteY32" fmla="*/ 48858 h 51082"/>
                    <a:gd name="connsiteX33" fmla="*/ 46674 w 82972"/>
                    <a:gd name="connsiteY33" fmla="*/ 48589 h 51082"/>
                    <a:gd name="connsiteX34" fmla="*/ 45174 w 82972"/>
                    <a:gd name="connsiteY34" fmla="*/ 48075 h 51082"/>
                    <a:gd name="connsiteX35" fmla="*/ 42387 w 82972"/>
                    <a:gd name="connsiteY35" fmla="*/ 46364 h 51082"/>
                    <a:gd name="connsiteX36" fmla="*/ 39869 w 82972"/>
                    <a:gd name="connsiteY36" fmla="*/ 45109 h 51082"/>
                    <a:gd name="connsiteX37" fmla="*/ 37302 w 82972"/>
                    <a:gd name="connsiteY37" fmla="*/ 46250 h 51082"/>
                    <a:gd name="connsiteX38" fmla="*/ 36397 w 82972"/>
                    <a:gd name="connsiteY38" fmla="*/ 46470 h 51082"/>
                    <a:gd name="connsiteX39" fmla="*/ 34343 w 82972"/>
                    <a:gd name="connsiteY39" fmla="*/ 49404 h 51082"/>
                    <a:gd name="connsiteX40" fmla="*/ 29886 w 82972"/>
                    <a:gd name="connsiteY40" fmla="*/ 50373 h 51082"/>
                    <a:gd name="connsiteX41" fmla="*/ 25436 w 82972"/>
                    <a:gd name="connsiteY41" fmla="*/ 51083 h 51082"/>
                    <a:gd name="connsiteX42" fmla="*/ 24115 w 82972"/>
                    <a:gd name="connsiteY42" fmla="*/ 50691 h 51082"/>
                    <a:gd name="connsiteX43" fmla="*/ 21630 w 82972"/>
                    <a:gd name="connsiteY43" fmla="*/ 50512 h 51082"/>
                    <a:gd name="connsiteX44" fmla="*/ 21524 w 82972"/>
                    <a:gd name="connsiteY44" fmla="*/ 49836 h 51082"/>
                    <a:gd name="connsiteX45" fmla="*/ 21605 w 82972"/>
                    <a:gd name="connsiteY45" fmla="*/ 49159 h 51082"/>
                    <a:gd name="connsiteX46" fmla="*/ 21026 w 82972"/>
                    <a:gd name="connsiteY46" fmla="*/ 48637 h 51082"/>
                    <a:gd name="connsiteX47" fmla="*/ 20000 w 82972"/>
                    <a:gd name="connsiteY47" fmla="*/ 48092 h 51082"/>
                    <a:gd name="connsiteX48" fmla="*/ 18264 w 82972"/>
                    <a:gd name="connsiteY48" fmla="*/ 47855 h 51082"/>
                    <a:gd name="connsiteX49" fmla="*/ 16014 w 82972"/>
                    <a:gd name="connsiteY49" fmla="*/ 47130 h 51082"/>
                    <a:gd name="connsiteX50" fmla="*/ 14727 w 82972"/>
                    <a:gd name="connsiteY50" fmla="*/ 46429 h 51082"/>
                    <a:gd name="connsiteX51" fmla="*/ 10171 w 82972"/>
                    <a:gd name="connsiteY51" fmla="*/ 47456 h 51082"/>
                    <a:gd name="connsiteX52" fmla="*/ 7498 w 82972"/>
                    <a:gd name="connsiteY52" fmla="*/ 45907 h 51082"/>
                    <a:gd name="connsiteX53" fmla="*/ 4483 w 82972"/>
                    <a:gd name="connsiteY53" fmla="*/ 43780 h 51082"/>
                    <a:gd name="connsiteX54" fmla="*/ 2959 w 82972"/>
                    <a:gd name="connsiteY54" fmla="*/ 42859 h 51082"/>
                    <a:gd name="connsiteX55" fmla="*/ 2396 w 82972"/>
                    <a:gd name="connsiteY55" fmla="*/ 39559 h 51082"/>
                    <a:gd name="connsiteX56" fmla="*/ 1866 w 82972"/>
                    <a:gd name="connsiteY56" fmla="*/ 38499 h 51082"/>
                    <a:gd name="connsiteX57" fmla="*/ 669 w 82972"/>
                    <a:gd name="connsiteY57" fmla="*/ 37383 h 51082"/>
                    <a:gd name="connsiteX58" fmla="*/ 0 w 82972"/>
                    <a:gd name="connsiteY58" fmla="*/ 36071 h 51082"/>
                    <a:gd name="connsiteX59" fmla="*/ 546 w 82972"/>
                    <a:gd name="connsiteY59" fmla="*/ 34726 h 51082"/>
                    <a:gd name="connsiteX60" fmla="*/ 3562 w 82972"/>
                    <a:gd name="connsiteY60" fmla="*/ 32216 h 51082"/>
                    <a:gd name="connsiteX61" fmla="*/ 3798 w 82972"/>
                    <a:gd name="connsiteY61" fmla="*/ 31621 h 51082"/>
                    <a:gd name="connsiteX62" fmla="*/ 5192 w 82972"/>
                    <a:gd name="connsiteY62" fmla="*/ 26935 h 51082"/>
                    <a:gd name="connsiteX63" fmla="*/ 7115 w 82972"/>
                    <a:gd name="connsiteY63" fmla="*/ 25223 h 51082"/>
                    <a:gd name="connsiteX64" fmla="*/ 9030 w 82972"/>
                    <a:gd name="connsiteY64" fmla="*/ 22852 h 51082"/>
                    <a:gd name="connsiteX65" fmla="*/ 10464 w 82972"/>
                    <a:gd name="connsiteY65" fmla="*/ 19087 h 51082"/>
                    <a:gd name="connsiteX66" fmla="*/ 13243 w 82972"/>
                    <a:gd name="connsiteY66" fmla="*/ 15207 h 51082"/>
                    <a:gd name="connsiteX67" fmla="*/ 16308 w 82972"/>
                    <a:gd name="connsiteY67" fmla="*/ 11238 h 51082"/>
                    <a:gd name="connsiteX68" fmla="*/ 18411 w 82972"/>
                    <a:gd name="connsiteY68" fmla="*/ 7995 h 51082"/>
                    <a:gd name="connsiteX69" fmla="*/ 19804 w 82972"/>
                    <a:gd name="connsiteY69" fmla="*/ 6487 h 51082"/>
                    <a:gd name="connsiteX70" fmla="*/ 22681 w 82972"/>
                    <a:gd name="connsiteY70" fmla="*/ 4873 h 51082"/>
                    <a:gd name="connsiteX71" fmla="*/ 25093 w 82972"/>
                    <a:gd name="connsiteY71" fmla="*/ 3912 h 51082"/>
                    <a:gd name="connsiteX72" fmla="*/ 26756 w 82972"/>
                    <a:gd name="connsiteY72" fmla="*/ 1744 h 51082"/>
                    <a:gd name="connsiteX73" fmla="*/ 28752 w 82972"/>
                    <a:gd name="connsiteY73" fmla="*/ 546 h 51082"/>
                    <a:gd name="connsiteX74" fmla="*/ 30831 w 82972"/>
                    <a:gd name="connsiteY74" fmla="*/ 0 h 51082"/>
                    <a:gd name="connsiteX75" fmla="*/ 33879 w 82972"/>
                    <a:gd name="connsiteY75" fmla="*/ 293 h 51082"/>
                    <a:gd name="connsiteX76" fmla="*/ 36772 w 82972"/>
                    <a:gd name="connsiteY76" fmla="*/ 1068 h 51082"/>
                    <a:gd name="connsiteX77" fmla="*/ 39934 w 82972"/>
                    <a:gd name="connsiteY77" fmla="*/ 2143 h 51082"/>
                    <a:gd name="connsiteX78" fmla="*/ 40300 w 82972"/>
                    <a:gd name="connsiteY78" fmla="*/ 3015 h 51082"/>
                    <a:gd name="connsiteX79" fmla="*/ 40015 w 82972"/>
                    <a:gd name="connsiteY79" fmla="*/ 4556 h 51082"/>
                    <a:gd name="connsiteX80" fmla="*/ 39575 w 82972"/>
                    <a:gd name="connsiteY80" fmla="*/ 6112 h 51082"/>
                    <a:gd name="connsiteX81" fmla="*/ 39559 w 82972"/>
                    <a:gd name="connsiteY81" fmla="*/ 6911 h 51082"/>
                    <a:gd name="connsiteX82" fmla="*/ 40032 w 82972"/>
                    <a:gd name="connsiteY82" fmla="*/ 7351 h 51082"/>
                    <a:gd name="connsiteX83" fmla="*/ 43137 w 82972"/>
                    <a:gd name="connsiteY83" fmla="*/ 7653 h 51082"/>
                    <a:gd name="connsiteX84" fmla="*/ 46918 w 82972"/>
                    <a:gd name="connsiteY84" fmla="*/ 7408 h 51082"/>
                    <a:gd name="connsiteX85" fmla="*/ 49045 w 82972"/>
                    <a:gd name="connsiteY85" fmla="*/ 7620 h 51082"/>
                    <a:gd name="connsiteX86" fmla="*/ 53780 w 82972"/>
                    <a:gd name="connsiteY86" fmla="*/ 9062 h 51082"/>
                    <a:gd name="connsiteX87" fmla="*/ 55166 w 82972"/>
                    <a:gd name="connsiteY87" fmla="*/ 10073 h 51082"/>
                    <a:gd name="connsiteX88" fmla="*/ 56608 w 82972"/>
                    <a:gd name="connsiteY88" fmla="*/ 10855 h 51082"/>
                    <a:gd name="connsiteX89" fmla="*/ 58018 w 82972"/>
                    <a:gd name="connsiteY89" fmla="*/ 10717 h 51082"/>
                    <a:gd name="connsiteX90" fmla="*/ 59811 w 82972"/>
                    <a:gd name="connsiteY90" fmla="*/ 9054 h 51082"/>
                    <a:gd name="connsiteX91" fmla="*/ 61702 w 82972"/>
                    <a:gd name="connsiteY91" fmla="*/ 7636 h 51082"/>
                    <a:gd name="connsiteX92" fmla="*/ 62867 w 82972"/>
                    <a:gd name="connsiteY92" fmla="*/ 7416 h 51082"/>
                    <a:gd name="connsiteX93" fmla="*/ 63707 w 82972"/>
                    <a:gd name="connsiteY93" fmla="*/ 7864 h 51082"/>
                    <a:gd name="connsiteX94" fmla="*/ 65206 w 82972"/>
                    <a:gd name="connsiteY94" fmla="*/ 9217 h 51082"/>
                    <a:gd name="connsiteX95" fmla="*/ 68328 w 82972"/>
                    <a:gd name="connsiteY95" fmla="*/ 10489 h 51082"/>
                    <a:gd name="connsiteX96" fmla="*/ 71107 w 82972"/>
                    <a:gd name="connsiteY96" fmla="*/ 11442 h 51082"/>
                    <a:gd name="connsiteX97" fmla="*/ 72011 w 82972"/>
                    <a:gd name="connsiteY97" fmla="*/ 12347 h 51082"/>
                    <a:gd name="connsiteX98" fmla="*/ 71710 w 82972"/>
                    <a:gd name="connsiteY98" fmla="*/ 16243 h 51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82972" h="51082">
                      <a:moveTo>
                        <a:pt x="71767" y="17530"/>
                      </a:moveTo>
                      <a:lnTo>
                        <a:pt x="71612" y="18255"/>
                      </a:lnTo>
                      <a:lnTo>
                        <a:pt x="70911" y="20171"/>
                      </a:lnTo>
                      <a:lnTo>
                        <a:pt x="70463" y="22257"/>
                      </a:lnTo>
                      <a:lnTo>
                        <a:pt x="70846" y="23952"/>
                      </a:lnTo>
                      <a:lnTo>
                        <a:pt x="72410" y="25989"/>
                      </a:lnTo>
                      <a:lnTo>
                        <a:pt x="74529" y="27611"/>
                      </a:lnTo>
                      <a:lnTo>
                        <a:pt x="77211" y="27742"/>
                      </a:lnTo>
                      <a:lnTo>
                        <a:pt x="79688" y="27114"/>
                      </a:lnTo>
                      <a:lnTo>
                        <a:pt x="80675" y="27367"/>
                      </a:lnTo>
                      <a:lnTo>
                        <a:pt x="82011" y="30081"/>
                      </a:lnTo>
                      <a:lnTo>
                        <a:pt x="82973" y="32428"/>
                      </a:lnTo>
                      <a:lnTo>
                        <a:pt x="81677" y="34848"/>
                      </a:lnTo>
                      <a:lnTo>
                        <a:pt x="80960" y="36975"/>
                      </a:lnTo>
                      <a:lnTo>
                        <a:pt x="80707" y="38475"/>
                      </a:lnTo>
                      <a:lnTo>
                        <a:pt x="80854" y="39127"/>
                      </a:lnTo>
                      <a:lnTo>
                        <a:pt x="81668" y="40349"/>
                      </a:lnTo>
                      <a:lnTo>
                        <a:pt x="82581" y="42419"/>
                      </a:lnTo>
                      <a:lnTo>
                        <a:pt x="82720" y="44335"/>
                      </a:lnTo>
                      <a:lnTo>
                        <a:pt x="82125" y="45598"/>
                      </a:lnTo>
                      <a:lnTo>
                        <a:pt x="80846" y="46225"/>
                      </a:lnTo>
                      <a:lnTo>
                        <a:pt x="79501" y="46046"/>
                      </a:lnTo>
                      <a:lnTo>
                        <a:pt x="78376" y="46070"/>
                      </a:lnTo>
                      <a:lnTo>
                        <a:pt x="76983" y="46290"/>
                      </a:lnTo>
                      <a:lnTo>
                        <a:pt x="74790" y="46991"/>
                      </a:lnTo>
                      <a:lnTo>
                        <a:pt x="72753" y="47904"/>
                      </a:lnTo>
                      <a:lnTo>
                        <a:pt x="68931" y="47733"/>
                      </a:lnTo>
                      <a:lnTo>
                        <a:pt x="67406" y="45850"/>
                      </a:lnTo>
                      <a:lnTo>
                        <a:pt x="66681" y="45842"/>
                      </a:lnTo>
                      <a:lnTo>
                        <a:pt x="63193" y="48279"/>
                      </a:lnTo>
                      <a:lnTo>
                        <a:pt x="59412" y="47855"/>
                      </a:lnTo>
                      <a:lnTo>
                        <a:pt x="52525" y="48678"/>
                      </a:lnTo>
                      <a:lnTo>
                        <a:pt x="49632" y="48858"/>
                      </a:lnTo>
                      <a:lnTo>
                        <a:pt x="46674" y="48589"/>
                      </a:lnTo>
                      <a:lnTo>
                        <a:pt x="45174" y="48075"/>
                      </a:lnTo>
                      <a:lnTo>
                        <a:pt x="42387" y="46364"/>
                      </a:lnTo>
                      <a:lnTo>
                        <a:pt x="39869" y="45109"/>
                      </a:lnTo>
                      <a:lnTo>
                        <a:pt x="37302" y="46250"/>
                      </a:lnTo>
                      <a:lnTo>
                        <a:pt x="36397" y="46470"/>
                      </a:lnTo>
                      <a:lnTo>
                        <a:pt x="34343" y="49404"/>
                      </a:lnTo>
                      <a:lnTo>
                        <a:pt x="29886" y="50373"/>
                      </a:lnTo>
                      <a:lnTo>
                        <a:pt x="25436" y="51083"/>
                      </a:lnTo>
                      <a:lnTo>
                        <a:pt x="24115" y="50691"/>
                      </a:lnTo>
                      <a:lnTo>
                        <a:pt x="21630" y="50512"/>
                      </a:lnTo>
                      <a:lnTo>
                        <a:pt x="21524" y="49836"/>
                      </a:lnTo>
                      <a:lnTo>
                        <a:pt x="21605" y="49159"/>
                      </a:lnTo>
                      <a:lnTo>
                        <a:pt x="21026" y="48637"/>
                      </a:lnTo>
                      <a:lnTo>
                        <a:pt x="20000" y="48092"/>
                      </a:lnTo>
                      <a:lnTo>
                        <a:pt x="18264" y="47855"/>
                      </a:lnTo>
                      <a:lnTo>
                        <a:pt x="16014" y="47130"/>
                      </a:lnTo>
                      <a:lnTo>
                        <a:pt x="14727" y="46429"/>
                      </a:lnTo>
                      <a:lnTo>
                        <a:pt x="10171" y="47456"/>
                      </a:lnTo>
                      <a:lnTo>
                        <a:pt x="7498" y="45907"/>
                      </a:lnTo>
                      <a:lnTo>
                        <a:pt x="4483" y="43780"/>
                      </a:lnTo>
                      <a:lnTo>
                        <a:pt x="2959" y="42859"/>
                      </a:lnTo>
                      <a:lnTo>
                        <a:pt x="2396" y="39559"/>
                      </a:lnTo>
                      <a:lnTo>
                        <a:pt x="1866" y="38499"/>
                      </a:lnTo>
                      <a:lnTo>
                        <a:pt x="669" y="37383"/>
                      </a:lnTo>
                      <a:lnTo>
                        <a:pt x="0" y="36071"/>
                      </a:lnTo>
                      <a:lnTo>
                        <a:pt x="546" y="34726"/>
                      </a:lnTo>
                      <a:lnTo>
                        <a:pt x="3562" y="32216"/>
                      </a:lnTo>
                      <a:lnTo>
                        <a:pt x="3798" y="31621"/>
                      </a:lnTo>
                      <a:lnTo>
                        <a:pt x="5192" y="26935"/>
                      </a:lnTo>
                      <a:lnTo>
                        <a:pt x="7115" y="25223"/>
                      </a:lnTo>
                      <a:lnTo>
                        <a:pt x="9030" y="22852"/>
                      </a:lnTo>
                      <a:lnTo>
                        <a:pt x="10464" y="19087"/>
                      </a:lnTo>
                      <a:lnTo>
                        <a:pt x="13243" y="15207"/>
                      </a:lnTo>
                      <a:lnTo>
                        <a:pt x="16308" y="11238"/>
                      </a:lnTo>
                      <a:lnTo>
                        <a:pt x="18411" y="7995"/>
                      </a:lnTo>
                      <a:lnTo>
                        <a:pt x="19804" y="6487"/>
                      </a:lnTo>
                      <a:lnTo>
                        <a:pt x="22681" y="4873"/>
                      </a:lnTo>
                      <a:lnTo>
                        <a:pt x="25093" y="3912"/>
                      </a:lnTo>
                      <a:lnTo>
                        <a:pt x="26756" y="1744"/>
                      </a:lnTo>
                      <a:lnTo>
                        <a:pt x="28752" y="546"/>
                      </a:lnTo>
                      <a:lnTo>
                        <a:pt x="30831" y="0"/>
                      </a:lnTo>
                      <a:lnTo>
                        <a:pt x="33879" y="293"/>
                      </a:lnTo>
                      <a:lnTo>
                        <a:pt x="36772" y="1068"/>
                      </a:lnTo>
                      <a:lnTo>
                        <a:pt x="39934" y="2143"/>
                      </a:lnTo>
                      <a:lnTo>
                        <a:pt x="40300" y="3015"/>
                      </a:lnTo>
                      <a:lnTo>
                        <a:pt x="40015" y="4556"/>
                      </a:lnTo>
                      <a:lnTo>
                        <a:pt x="39575" y="6112"/>
                      </a:lnTo>
                      <a:lnTo>
                        <a:pt x="39559" y="6911"/>
                      </a:lnTo>
                      <a:lnTo>
                        <a:pt x="40032" y="7351"/>
                      </a:lnTo>
                      <a:lnTo>
                        <a:pt x="43137" y="7653"/>
                      </a:lnTo>
                      <a:lnTo>
                        <a:pt x="46918" y="7408"/>
                      </a:lnTo>
                      <a:lnTo>
                        <a:pt x="49045" y="7620"/>
                      </a:lnTo>
                      <a:lnTo>
                        <a:pt x="53780" y="9062"/>
                      </a:lnTo>
                      <a:lnTo>
                        <a:pt x="55166" y="10073"/>
                      </a:lnTo>
                      <a:lnTo>
                        <a:pt x="56608" y="10855"/>
                      </a:lnTo>
                      <a:lnTo>
                        <a:pt x="58018" y="10717"/>
                      </a:lnTo>
                      <a:lnTo>
                        <a:pt x="59811" y="9054"/>
                      </a:lnTo>
                      <a:lnTo>
                        <a:pt x="61702" y="7636"/>
                      </a:lnTo>
                      <a:lnTo>
                        <a:pt x="62867" y="7416"/>
                      </a:lnTo>
                      <a:lnTo>
                        <a:pt x="63707" y="7864"/>
                      </a:lnTo>
                      <a:lnTo>
                        <a:pt x="65206" y="9217"/>
                      </a:lnTo>
                      <a:lnTo>
                        <a:pt x="68328" y="10489"/>
                      </a:lnTo>
                      <a:lnTo>
                        <a:pt x="71107" y="11442"/>
                      </a:lnTo>
                      <a:lnTo>
                        <a:pt x="72011" y="12347"/>
                      </a:lnTo>
                      <a:lnTo>
                        <a:pt x="71710" y="16243"/>
                      </a:lnTo>
                      <a:close/>
                    </a:path>
                  </a:pathLst>
                </a:custGeom>
                <a:solidFill>
                  <a:srgbClr val="D6D6D2"/>
                </a:solidFill>
                <a:ln w="6112" cap="flat">
                  <a:solidFill>
                    <a:srgbClr val="FFFFFF"/>
                  </a:solidFill>
                  <a:prstDash val="solid"/>
                  <a:miter/>
                </a:ln>
              </p:spPr>
              <p:txBody>
                <a:bodyPr rtlCol="0" anchor="ctr"/>
                <a:lstStyle/>
                <a:p>
                  <a:endParaRPr lang="en-US"/>
                </a:p>
              </p:txBody>
            </p:sp>
            <p:sp>
              <p:nvSpPr>
                <p:cNvPr id="767" name="Freeform: Shape 766">
                  <a:extLst>
                    <a:ext uri="{FF2B5EF4-FFF2-40B4-BE49-F238E27FC236}">
                      <a16:creationId xmlns:a16="http://schemas.microsoft.com/office/drawing/2014/main" id="{0E231160-B92D-4CE0-B03A-6C703F83DA56}"/>
                    </a:ext>
                  </a:extLst>
                </p:cNvPr>
                <p:cNvSpPr/>
                <p:nvPr/>
              </p:nvSpPr>
              <p:spPr>
                <a:xfrm>
                  <a:off x="8772665" y="4374028"/>
                  <a:ext cx="24408" cy="29942"/>
                </a:xfrm>
                <a:custGeom>
                  <a:avLst/>
                  <a:gdLst>
                    <a:gd name="connsiteX0" fmla="*/ 23887 w 24408"/>
                    <a:gd name="connsiteY0" fmla="*/ 3692 h 29942"/>
                    <a:gd name="connsiteX1" fmla="*/ 21850 w 24408"/>
                    <a:gd name="connsiteY1" fmla="*/ 4996 h 29942"/>
                    <a:gd name="connsiteX2" fmla="*/ 19861 w 24408"/>
                    <a:gd name="connsiteY2" fmla="*/ 6634 h 29942"/>
                    <a:gd name="connsiteX3" fmla="*/ 17873 w 24408"/>
                    <a:gd name="connsiteY3" fmla="*/ 8036 h 29942"/>
                    <a:gd name="connsiteX4" fmla="*/ 16944 w 24408"/>
                    <a:gd name="connsiteY4" fmla="*/ 9136 h 29942"/>
                    <a:gd name="connsiteX5" fmla="*/ 17278 w 24408"/>
                    <a:gd name="connsiteY5" fmla="*/ 10684 h 29942"/>
                    <a:gd name="connsiteX6" fmla="*/ 17750 w 24408"/>
                    <a:gd name="connsiteY6" fmla="*/ 14083 h 29942"/>
                    <a:gd name="connsiteX7" fmla="*/ 18019 w 24408"/>
                    <a:gd name="connsiteY7" fmla="*/ 16756 h 29942"/>
                    <a:gd name="connsiteX8" fmla="*/ 18720 w 24408"/>
                    <a:gd name="connsiteY8" fmla="*/ 17815 h 29942"/>
                    <a:gd name="connsiteX9" fmla="*/ 19258 w 24408"/>
                    <a:gd name="connsiteY9" fmla="*/ 18875 h 29942"/>
                    <a:gd name="connsiteX10" fmla="*/ 19030 w 24408"/>
                    <a:gd name="connsiteY10" fmla="*/ 20040 h 29942"/>
                    <a:gd name="connsiteX11" fmla="*/ 17856 w 24408"/>
                    <a:gd name="connsiteY11" fmla="*/ 22249 h 29942"/>
                    <a:gd name="connsiteX12" fmla="*/ 18524 w 24408"/>
                    <a:gd name="connsiteY12" fmla="*/ 22681 h 29942"/>
                    <a:gd name="connsiteX13" fmla="*/ 17677 w 24408"/>
                    <a:gd name="connsiteY13" fmla="*/ 25606 h 29942"/>
                    <a:gd name="connsiteX14" fmla="*/ 16414 w 24408"/>
                    <a:gd name="connsiteY14" fmla="*/ 27774 h 29942"/>
                    <a:gd name="connsiteX15" fmla="*/ 14654 w 24408"/>
                    <a:gd name="connsiteY15" fmla="*/ 29535 h 29942"/>
                    <a:gd name="connsiteX16" fmla="*/ 13512 w 24408"/>
                    <a:gd name="connsiteY16" fmla="*/ 29942 h 29942"/>
                    <a:gd name="connsiteX17" fmla="*/ 12608 w 24408"/>
                    <a:gd name="connsiteY17" fmla="*/ 29192 h 29942"/>
                    <a:gd name="connsiteX18" fmla="*/ 11133 w 24408"/>
                    <a:gd name="connsiteY18" fmla="*/ 27253 h 29942"/>
                    <a:gd name="connsiteX19" fmla="*/ 9511 w 24408"/>
                    <a:gd name="connsiteY19" fmla="*/ 24555 h 29942"/>
                    <a:gd name="connsiteX20" fmla="*/ 8753 w 24408"/>
                    <a:gd name="connsiteY20" fmla="*/ 22991 h 29942"/>
                    <a:gd name="connsiteX21" fmla="*/ 6439 w 24408"/>
                    <a:gd name="connsiteY21" fmla="*/ 22787 h 29942"/>
                    <a:gd name="connsiteX22" fmla="*/ 5607 w 24408"/>
                    <a:gd name="connsiteY22" fmla="*/ 21540 h 29942"/>
                    <a:gd name="connsiteX23" fmla="*/ 5558 w 24408"/>
                    <a:gd name="connsiteY23" fmla="*/ 20024 h 29942"/>
                    <a:gd name="connsiteX24" fmla="*/ 4898 w 24408"/>
                    <a:gd name="connsiteY24" fmla="*/ 18247 h 29942"/>
                    <a:gd name="connsiteX25" fmla="*/ 3977 w 24408"/>
                    <a:gd name="connsiteY25" fmla="*/ 16332 h 29942"/>
                    <a:gd name="connsiteX26" fmla="*/ 2616 w 24408"/>
                    <a:gd name="connsiteY26" fmla="*/ 14857 h 29942"/>
                    <a:gd name="connsiteX27" fmla="*/ 782 w 24408"/>
                    <a:gd name="connsiteY27" fmla="*/ 13708 h 29942"/>
                    <a:gd name="connsiteX28" fmla="*/ 0 w 24408"/>
                    <a:gd name="connsiteY28" fmla="*/ 12885 h 29942"/>
                    <a:gd name="connsiteX29" fmla="*/ 2828 w 24408"/>
                    <a:gd name="connsiteY29" fmla="*/ 12934 h 29942"/>
                    <a:gd name="connsiteX30" fmla="*/ 5844 w 24408"/>
                    <a:gd name="connsiteY30" fmla="*/ 12453 h 29942"/>
                    <a:gd name="connsiteX31" fmla="*/ 8949 w 24408"/>
                    <a:gd name="connsiteY31" fmla="*/ 10855 h 29942"/>
                    <a:gd name="connsiteX32" fmla="*/ 11932 w 24408"/>
                    <a:gd name="connsiteY32" fmla="*/ 8924 h 29942"/>
                    <a:gd name="connsiteX33" fmla="*/ 14442 w 24408"/>
                    <a:gd name="connsiteY33" fmla="*/ 6724 h 29942"/>
                    <a:gd name="connsiteX34" fmla="*/ 16797 w 24408"/>
                    <a:gd name="connsiteY34" fmla="*/ 4238 h 29942"/>
                    <a:gd name="connsiteX35" fmla="*/ 19275 w 24408"/>
                    <a:gd name="connsiteY35" fmla="*/ 2274 h 29942"/>
                    <a:gd name="connsiteX36" fmla="*/ 23113 w 24408"/>
                    <a:gd name="connsiteY36" fmla="*/ 0 h 29942"/>
                    <a:gd name="connsiteX37" fmla="*/ 24409 w 24408"/>
                    <a:gd name="connsiteY37" fmla="*/ 171 h 29942"/>
                    <a:gd name="connsiteX38" fmla="*/ 24392 w 24408"/>
                    <a:gd name="connsiteY38" fmla="*/ 1793 h 29942"/>
                    <a:gd name="connsiteX39" fmla="*/ 23887 w 24408"/>
                    <a:gd name="connsiteY39" fmla="*/ 3692 h 2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4408" h="29942">
                      <a:moveTo>
                        <a:pt x="23887" y="3692"/>
                      </a:moveTo>
                      <a:lnTo>
                        <a:pt x="21850" y="4996"/>
                      </a:lnTo>
                      <a:lnTo>
                        <a:pt x="19861" y="6634"/>
                      </a:lnTo>
                      <a:lnTo>
                        <a:pt x="17873" y="8036"/>
                      </a:lnTo>
                      <a:lnTo>
                        <a:pt x="16944" y="9136"/>
                      </a:lnTo>
                      <a:lnTo>
                        <a:pt x="17278" y="10684"/>
                      </a:lnTo>
                      <a:lnTo>
                        <a:pt x="17750" y="14083"/>
                      </a:lnTo>
                      <a:lnTo>
                        <a:pt x="18019" y="16756"/>
                      </a:lnTo>
                      <a:lnTo>
                        <a:pt x="18720" y="17815"/>
                      </a:lnTo>
                      <a:lnTo>
                        <a:pt x="19258" y="18875"/>
                      </a:lnTo>
                      <a:lnTo>
                        <a:pt x="19030" y="20040"/>
                      </a:lnTo>
                      <a:lnTo>
                        <a:pt x="17856" y="22249"/>
                      </a:lnTo>
                      <a:lnTo>
                        <a:pt x="18524" y="22681"/>
                      </a:lnTo>
                      <a:lnTo>
                        <a:pt x="17677" y="25606"/>
                      </a:lnTo>
                      <a:lnTo>
                        <a:pt x="16414" y="27774"/>
                      </a:lnTo>
                      <a:lnTo>
                        <a:pt x="14654" y="29535"/>
                      </a:lnTo>
                      <a:lnTo>
                        <a:pt x="13512" y="29942"/>
                      </a:lnTo>
                      <a:lnTo>
                        <a:pt x="12608" y="29192"/>
                      </a:lnTo>
                      <a:lnTo>
                        <a:pt x="11133" y="27253"/>
                      </a:lnTo>
                      <a:lnTo>
                        <a:pt x="9511" y="24555"/>
                      </a:lnTo>
                      <a:lnTo>
                        <a:pt x="8753" y="22991"/>
                      </a:lnTo>
                      <a:lnTo>
                        <a:pt x="6439" y="22787"/>
                      </a:lnTo>
                      <a:lnTo>
                        <a:pt x="5607" y="21540"/>
                      </a:lnTo>
                      <a:lnTo>
                        <a:pt x="5558" y="20024"/>
                      </a:lnTo>
                      <a:lnTo>
                        <a:pt x="4898" y="18247"/>
                      </a:lnTo>
                      <a:lnTo>
                        <a:pt x="3977" y="16332"/>
                      </a:lnTo>
                      <a:lnTo>
                        <a:pt x="2616" y="14857"/>
                      </a:lnTo>
                      <a:lnTo>
                        <a:pt x="782" y="13708"/>
                      </a:lnTo>
                      <a:lnTo>
                        <a:pt x="0" y="12885"/>
                      </a:lnTo>
                      <a:lnTo>
                        <a:pt x="2828" y="12934"/>
                      </a:lnTo>
                      <a:lnTo>
                        <a:pt x="5844" y="12453"/>
                      </a:lnTo>
                      <a:lnTo>
                        <a:pt x="8949" y="10855"/>
                      </a:lnTo>
                      <a:lnTo>
                        <a:pt x="11932" y="8924"/>
                      </a:lnTo>
                      <a:lnTo>
                        <a:pt x="14442" y="6724"/>
                      </a:lnTo>
                      <a:lnTo>
                        <a:pt x="16797" y="4238"/>
                      </a:lnTo>
                      <a:lnTo>
                        <a:pt x="19275" y="2274"/>
                      </a:lnTo>
                      <a:lnTo>
                        <a:pt x="23113" y="0"/>
                      </a:lnTo>
                      <a:lnTo>
                        <a:pt x="24409" y="171"/>
                      </a:lnTo>
                      <a:lnTo>
                        <a:pt x="24392" y="1793"/>
                      </a:lnTo>
                      <a:lnTo>
                        <a:pt x="23887" y="3692"/>
                      </a:lnTo>
                      <a:close/>
                    </a:path>
                  </a:pathLst>
                </a:custGeom>
                <a:solidFill>
                  <a:srgbClr val="D6D6D2"/>
                </a:solidFill>
                <a:ln w="8150" cap="flat">
                  <a:noFill/>
                  <a:prstDash val="solid"/>
                  <a:miter/>
                </a:ln>
              </p:spPr>
              <p:txBody>
                <a:bodyPr rtlCol="0" anchor="ctr"/>
                <a:lstStyle/>
                <a:p>
                  <a:endParaRPr lang="en-US"/>
                </a:p>
              </p:txBody>
            </p:sp>
            <p:sp>
              <p:nvSpPr>
                <p:cNvPr id="768" name="Freeform: Shape 767">
                  <a:extLst>
                    <a:ext uri="{FF2B5EF4-FFF2-40B4-BE49-F238E27FC236}">
                      <a16:creationId xmlns:a16="http://schemas.microsoft.com/office/drawing/2014/main" id="{C8A07687-D4B9-48FD-AE43-A5DF9EECC815}"/>
                    </a:ext>
                  </a:extLst>
                </p:cNvPr>
                <p:cNvSpPr/>
                <p:nvPr/>
              </p:nvSpPr>
              <p:spPr>
                <a:xfrm>
                  <a:off x="4108215" y="4366978"/>
                  <a:ext cx="972214" cy="1198010"/>
                </a:xfrm>
                <a:custGeom>
                  <a:avLst/>
                  <a:gdLst>
                    <a:gd name="connsiteX0" fmla="*/ 549846 w 972214"/>
                    <a:gd name="connsiteY0" fmla="*/ 200459 h 1198010"/>
                    <a:gd name="connsiteX1" fmla="*/ 547222 w 972214"/>
                    <a:gd name="connsiteY1" fmla="*/ 201013 h 1198010"/>
                    <a:gd name="connsiteX2" fmla="*/ 550604 w 972214"/>
                    <a:gd name="connsiteY2" fmla="*/ 193524 h 1198010"/>
                    <a:gd name="connsiteX3" fmla="*/ 553636 w 972214"/>
                    <a:gd name="connsiteY3" fmla="*/ 190035 h 1198010"/>
                    <a:gd name="connsiteX4" fmla="*/ 553676 w 972214"/>
                    <a:gd name="connsiteY4" fmla="*/ 183116 h 1198010"/>
                    <a:gd name="connsiteX5" fmla="*/ 556961 w 972214"/>
                    <a:gd name="connsiteY5" fmla="*/ 176963 h 1198010"/>
                    <a:gd name="connsiteX6" fmla="*/ 559976 w 972214"/>
                    <a:gd name="connsiteY6" fmla="*/ 174453 h 1198010"/>
                    <a:gd name="connsiteX7" fmla="*/ 564206 w 972214"/>
                    <a:gd name="connsiteY7" fmla="*/ 173712 h 1198010"/>
                    <a:gd name="connsiteX8" fmla="*/ 566520 w 972214"/>
                    <a:gd name="connsiteY8" fmla="*/ 177477 h 1198010"/>
                    <a:gd name="connsiteX9" fmla="*/ 563652 w 972214"/>
                    <a:gd name="connsiteY9" fmla="*/ 188096 h 1198010"/>
                    <a:gd name="connsiteX10" fmla="*/ 562812 w 972214"/>
                    <a:gd name="connsiteY10" fmla="*/ 188169 h 1198010"/>
                    <a:gd name="connsiteX11" fmla="*/ 558966 w 972214"/>
                    <a:gd name="connsiteY11" fmla="*/ 193776 h 1198010"/>
                    <a:gd name="connsiteX12" fmla="*/ 554687 w 972214"/>
                    <a:gd name="connsiteY12" fmla="*/ 197688 h 1198010"/>
                    <a:gd name="connsiteX13" fmla="*/ 549846 w 972214"/>
                    <a:gd name="connsiteY13" fmla="*/ 200459 h 1198010"/>
                    <a:gd name="connsiteX14" fmla="*/ 604515 w 972214"/>
                    <a:gd name="connsiteY14" fmla="*/ 164388 h 1198010"/>
                    <a:gd name="connsiteX15" fmla="*/ 606829 w 972214"/>
                    <a:gd name="connsiteY15" fmla="*/ 164519 h 1198010"/>
                    <a:gd name="connsiteX16" fmla="*/ 610113 w 972214"/>
                    <a:gd name="connsiteY16" fmla="*/ 163956 h 1198010"/>
                    <a:gd name="connsiteX17" fmla="*/ 612314 w 972214"/>
                    <a:gd name="connsiteY17" fmla="*/ 162554 h 1198010"/>
                    <a:gd name="connsiteX18" fmla="*/ 614767 w 972214"/>
                    <a:gd name="connsiteY18" fmla="*/ 162277 h 1198010"/>
                    <a:gd name="connsiteX19" fmla="*/ 617204 w 972214"/>
                    <a:gd name="connsiteY19" fmla="*/ 162424 h 1198010"/>
                    <a:gd name="connsiteX20" fmla="*/ 625394 w 972214"/>
                    <a:gd name="connsiteY20" fmla="*/ 163981 h 1198010"/>
                    <a:gd name="connsiteX21" fmla="*/ 630316 w 972214"/>
                    <a:gd name="connsiteY21" fmla="*/ 164462 h 1198010"/>
                    <a:gd name="connsiteX22" fmla="*/ 632118 w 972214"/>
                    <a:gd name="connsiteY22" fmla="*/ 164959 h 1198010"/>
                    <a:gd name="connsiteX23" fmla="*/ 633878 w 972214"/>
                    <a:gd name="connsiteY23" fmla="*/ 165660 h 1198010"/>
                    <a:gd name="connsiteX24" fmla="*/ 635166 w 972214"/>
                    <a:gd name="connsiteY24" fmla="*/ 166434 h 1198010"/>
                    <a:gd name="connsiteX25" fmla="*/ 635492 w 972214"/>
                    <a:gd name="connsiteY25" fmla="*/ 168080 h 1198010"/>
                    <a:gd name="connsiteX26" fmla="*/ 634294 w 972214"/>
                    <a:gd name="connsiteY26" fmla="*/ 170737 h 1198010"/>
                    <a:gd name="connsiteX27" fmla="*/ 633405 w 972214"/>
                    <a:gd name="connsiteY27" fmla="*/ 173532 h 1198010"/>
                    <a:gd name="connsiteX28" fmla="*/ 632574 w 972214"/>
                    <a:gd name="connsiteY28" fmla="*/ 177436 h 1198010"/>
                    <a:gd name="connsiteX29" fmla="*/ 631930 w 972214"/>
                    <a:gd name="connsiteY29" fmla="*/ 178235 h 1198010"/>
                    <a:gd name="connsiteX30" fmla="*/ 630854 w 972214"/>
                    <a:gd name="connsiteY30" fmla="*/ 178023 h 1198010"/>
                    <a:gd name="connsiteX31" fmla="*/ 631531 w 972214"/>
                    <a:gd name="connsiteY31" fmla="*/ 181511 h 1198010"/>
                    <a:gd name="connsiteX32" fmla="*/ 631286 w 972214"/>
                    <a:gd name="connsiteY32" fmla="*/ 182913 h 1198010"/>
                    <a:gd name="connsiteX33" fmla="*/ 630757 w 972214"/>
                    <a:gd name="connsiteY33" fmla="*/ 184265 h 1198010"/>
                    <a:gd name="connsiteX34" fmla="*/ 629445 w 972214"/>
                    <a:gd name="connsiteY34" fmla="*/ 187085 h 1198010"/>
                    <a:gd name="connsiteX35" fmla="*/ 627440 w 972214"/>
                    <a:gd name="connsiteY35" fmla="*/ 190671 h 1198010"/>
                    <a:gd name="connsiteX36" fmla="*/ 626845 w 972214"/>
                    <a:gd name="connsiteY36" fmla="*/ 191421 h 1198010"/>
                    <a:gd name="connsiteX37" fmla="*/ 625321 w 972214"/>
                    <a:gd name="connsiteY37" fmla="*/ 192668 h 1198010"/>
                    <a:gd name="connsiteX38" fmla="*/ 624090 w 972214"/>
                    <a:gd name="connsiteY38" fmla="*/ 194257 h 1198010"/>
                    <a:gd name="connsiteX39" fmla="*/ 624351 w 972214"/>
                    <a:gd name="connsiteY39" fmla="*/ 195756 h 1198010"/>
                    <a:gd name="connsiteX40" fmla="*/ 624970 w 972214"/>
                    <a:gd name="connsiteY40" fmla="*/ 197272 h 1198010"/>
                    <a:gd name="connsiteX41" fmla="*/ 624237 w 972214"/>
                    <a:gd name="connsiteY41" fmla="*/ 199155 h 1198010"/>
                    <a:gd name="connsiteX42" fmla="*/ 621874 w 972214"/>
                    <a:gd name="connsiteY42" fmla="*/ 201918 h 1198010"/>
                    <a:gd name="connsiteX43" fmla="*/ 620464 w 972214"/>
                    <a:gd name="connsiteY43" fmla="*/ 202586 h 1198010"/>
                    <a:gd name="connsiteX44" fmla="*/ 619151 w 972214"/>
                    <a:gd name="connsiteY44" fmla="*/ 202863 h 1198010"/>
                    <a:gd name="connsiteX45" fmla="*/ 617953 w 972214"/>
                    <a:gd name="connsiteY45" fmla="*/ 202594 h 1198010"/>
                    <a:gd name="connsiteX46" fmla="*/ 615826 w 972214"/>
                    <a:gd name="connsiteY46" fmla="*/ 199823 h 1198010"/>
                    <a:gd name="connsiteX47" fmla="*/ 615606 w 972214"/>
                    <a:gd name="connsiteY47" fmla="*/ 201999 h 1198010"/>
                    <a:gd name="connsiteX48" fmla="*/ 615036 w 972214"/>
                    <a:gd name="connsiteY48" fmla="*/ 204216 h 1198010"/>
                    <a:gd name="connsiteX49" fmla="*/ 614311 w 972214"/>
                    <a:gd name="connsiteY49" fmla="*/ 205422 h 1198010"/>
                    <a:gd name="connsiteX50" fmla="*/ 611564 w 972214"/>
                    <a:gd name="connsiteY50" fmla="*/ 205292 h 1198010"/>
                    <a:gd name="connsiteX51" fmla="*/ 610032 w 972214"/>
                    <a:gd name="connsiteY51" fmla="*/ 204102 h 1198010"/>
                    <a:gd name="connsiteX52" fmla="*/ 607554 w 972214"/>
                    <a:gd name="connsiteY52" fmla="*/ 202782 h 1198010"/>
                    <a:gd name="connsiteX53" fmla="*/ 607082 w 972214"/>
                    <a:gd name="connsiteY53" fmla="*/ 206351 h 1198010"/>
                    <a:gd name="connsiteX54" fmla="*/ 605541 w 972214"/>
                    <a:gd name="connsiteY54" fmla="*/ 208804 h 1198010"/>
                    <a:gd name="connsiteX55" fmla="*/ 603993 w 972214"/>
                    <a:gd name="connsiteY55" fmla="*/ 209570 h 1198010"/>
                    <a:gd name="connsiteX56" fmla="*/ 601556 w 972214"/>
                    <a:gd name="connsiteY56" fmla="*/ 210084 h 1198010"/>
                    <a:gd name="connsiteX57" fmla="*/ 600163 w 972214"/>
                    <a:gd name="connsiteY57" fmla="*/ 211127 h 1198010"/>
                    <a:gd name="connsiteX58" fmla="*/ 597530 w 972214"/>
                    <a:gd name="connsiteY58" fmla="*/ 210320 h 1198010"/>
                    <a:gd name="connsiteX59" fmla="*/ 595085 w 972214"/>
                    <a:gd name="connsiteY59" fmla="*/ 208682 h 1198010"/>
                    <a:gd name="connsiteX60" fmla="*/ 593700 w 972214"/>
                    <a:gd name="connsiteY60" fmla="*/ 208535 h 1198010"/>
                    <a:gd name="connsiteX61" fmla="*/ 592624 w 972214"/>
                    <a:gd name="connsiteY61" fmla="*/ 209856 h 1198010"/>
                    <a:gd name="connsiteX62" fmla="*/ 586935 w 972214"/>
                    <a:gd name="connsiteY62" fmla="*/ 210092 h 1198010"/>
                    <a:gd name="connsiteX63" fmla="*/ 584336 w 972214"/>
                    <a:gd name="connsiteY63" fmla="*/ 211428 h 1198010"/>
                    <a:gd name="connsiteX64" fmla="*/ 582746 w 972214"/>
                    <a:gd name="connsiteY64" fmla="*/ 211054 h 1198010"/>
                    <a:gd name="connsiteX65" fmla="*/ 580399 w 972214"/>
                    <a:gd name="connsiteY65" fmla="*/ 208348 h 1198010"/>
                    <a:gd name="connsiteX66" fmla="*/ 580025 w 972214"/>
                    <a:gd name="connsiteY66" fmla="*/ 206555 h 1198010"/>
                    <a:gd name="connsiteX67" fmla="*/ 578631 w 972214"/>
                    <a:gd name="connsiteY67" fmla="*/ 202904 h 1198010"/>
                    <a:gd name="connsiteX68" fmla="*/ 577376 w 972214"/>
                    <a:gd name="connsiteY68" fmla="*/ 198585 h 1198010"/>
                    <a:gd name="connsiteX69" fmla="*/ 576488 w 972214"/>
                    <a:gd name="connsiteY69" fmla="*/ 194656 h 1198010"/>
                    <a:gd name="connsiteX70" fmla="*/ 577237 w 972214"/>
                    <a:gd name="connsiteY70" fmla="*/ 191266 h 1198010"/>
                    <a:gd name="connsiteX71" fmla="*/ 578753 w 972214"/>
                    <a:gd name="connsiteY71" fmla="*/ 191372 h 1198010"/>
                    <a:gd name="connsiteX72" fmla="*/ 580554 w 972214"/>
                    <a:gd name="connsiteY72" fmla="*/ 191885 h 1198010"/>
                    <a:gd name="connsiteX73" fmla="*/ 580937 w 972214"/>
                    <a:gd name="connsiteY73" fmla="*/ 191641 h 1198010"/>
                    <a:gd name="connsiteX74" fmla="*/ 581027 w 972214"/>
                    <a:gd name="connsiteY74" fmla="*/ 190557 h 1198010"/>
                    <a:gd name="connsiteX75" fmla="*/ 580628 w 972214"/>
                    <a:gd name="connsiteY75" fmla="*/ 189661 h 1198010"/>
                    <a:gd name="connsiteX76" fmla="*/ 577743 w 972214"/>
                    <a:gd name="connsiteY76" fmla="*/ 189799 h 1198010"/>
                    <a:gd name="connsiteX77" fmla="*/ 575909 w 972214"/>
                    <a:gd name="connsiteY77" fmla="*/ 187786 h 1198010"/>
                    <a:gd name="connsiteX78" fmla="*/ 575591 w 972214"/>
                    <a:gd name="connsiteY78" fmla="*/ 184665 h 1198010"/>
                    <a:gd name="connsiteX79" fmla="*/ 575966 w 972214"/>
                    <a:gd name="connsiteY79" fmla="*/ 178186 h 1198010"/>
                    <a:gd name="connsiteX80" fmla="*/ 576202 w 972214"/>
                    <a:gd name="connsiteY80" fmla="*/ 176849 h 1198010"/>
                    <a:gd name="connsiteX81" fmla="*/ 577482 w 972214"/>
                    <a:gd name="connsiteY81" fmla="*/ 174983 h 1198010"/>
                    <a:gd name="connsiteX82" fmla="*/ 577898 w 972214"/>
                    <a:gd name="connsiteY82" fmla="*/ 173353 h 1198010"/>
                    <a:gd name="connsiteX83" fmla="*/ 577580 w 972214"/>
                    <a:gd name="connsiteY83" fmla="*/ 171609 h 1198010"/>
                    <a:gd name="connsiteX84" fmla="*/ 578126 w 972214"/>
                    <a:gd name="connsiteY84" fmla="*/ 168439 h 1198010"/>
                    <a:gd name="connsiteX85" fmla="*/ 579315 w 972214"/>
                    <a:gd name="connsiteY85" fmla="*/ 165692 h 1198010"/>
                    <a:gd name="connsiteX86" fmla="*/ 583879 w 972214"/>
                    <a:gd name="connsiteY86" fmla="*/ 162237 h 1198010"/>
                    <a:gd name="connsiteX87" fmla="*/ 589169 w 972214"/>
                    <a:gd name="connsiteY87" fmla="*/ 161006 h 1198010"/>
                    <a:gd name="connsiteX88" fmla="*/ 604515 w 972214"/>
                    <a:gd name="connsiteY88" fmla="*/ 164388 h 1198010"/>
                    <a:gd name="connsiteX89" fmla="*/ 341286 w 972214"/>
                    <a:gd name="connsiteY89" fmla="*/ 0 h 1198010"/>
                    <a:gd name="connsiteX90" fmla="*/ 342770 w 972214"/>
                    <a:gd name="connsiteY90" fmla="*/ 571 h 1198010"/>
                    <a:gd name="connsiteX91" fmla="*/ 343756 w 972214"/>
                    <a:gd name="connsiteY91" fmla="*/ 571 h 1198010"/>
                    <a:gd name="connsiteX92" fmla="*/ 344652 w 972214"/>
                    <a:gd name="connsiteY92" fmla="*/ 1915 h 1198010"/>
                    <a:gd name="connsiteX93" fmla="*/ 345345 w 972214"/>
                    <a:gd name="connsiteY93" fmla="*/ 3423 h 1198010"/>
                    <a:gd name="connsiteX94" fmla="*/ 347504 w 972214"/>
                    <a:gd name="connsiteY94" fmla="*/ 5256 h 1198010"/>
                    <a:gd name="connsiteX95" fmla="*/ 347293 w 972214"/>
                    <a:gd name="connsiteY95" fmla="*/ 8052 h 1198010"/>
                    <a:gd name="connsiteX96" fmla="*/ 346893 w 972214"/>
                    <a:gd name="connsiteY96" fmla="*/ 10521 h 1198010"/>
                    <a:gd name="connsiteX97" fmla="*/ 346608 w 972214"/>
                    <a:gd name="connsiteY97" fmla="*/ 13357 h 1198010"/>
                    <a:gd name="connsiteX98" fmla="*/ 346486 w 972214"/>
                    <a:gd name="connsiteY98" fmla="*/ 15517 h 1198010"/>
                    <a:gd name="connsiteX99" fmla="*/ 345565 w 972214"/>
                    <a:gd name="connsiteY99" fmla="*/ 17734 h 1198010"/>
                    <a:gd name="connsiteX100" fmla="*/ 344188 w 972214"/>
                    <a:gd name="connsiteY100" fmla="*/ 19804 h 1198010"/>
                    <a:gd name="connsiteX101" fmla="*/ 343780 w 972214"/>
                    <a:gd name="connsiteY101" fmla="*/ 20651 h 1198010"/>
                    <a:gd name="connsiteX102" fmla="*/ 343593 w 972214"/>
                    <a:gd name="connsiteY102" fmla="*/ 21743 h 1198010"/>
                    <a:gd name="connsiteX103" fmla="*/ 344522 w 972214"/>
                    <a:gd name="connsiteY103" fmla="*/ 22404 h 1198010"/>
                    <a:gd name="connsiteX104" fmla="*/ 346160 w 972214"/>
                    <a:gd name="connsiteY104" fmla="*/ 22599 h 1198010"/>
                    <a:gd name="connsiteX105" fmla="*/ 348214 w 972214"/>
                    <a:gd name="connsiteY105" fmla="*/ 22689 h 1198010"/>
                    <a:gd name="connsiteX106" fmla="*/ 349599 w 972214"/>
                    <a:gd name="connsiteY106" fmla="*/ 23333 h 1198010"/>
                    <a:gd name="connsiteX107" fmla="*/ 351408 w 972214"/>
                    <a:gd name="connsiteY107" fmla="*/ 23471 h 1198010"/>
                    <a:gd name="connsiteX108" fmla="*/ 353584 w 972214"/>
                    <a:gd name="connsiteY108" fmla="*/ 25248 h 1198010"/>
                    <a:gd name="connsiteX109" fmla="*/ 354636 w 972214"/>
                    <a:gd name="connsiteY109" fmla="*/ 26307 h 1198010"/>
                    <a:gd name="connsiteX110" fmla="*/ 354725 w 972214"/>
                    <a:gd name="connsiteY110" fmla="*/ 27138 h 1198010"/>
                    <a:gd name="connsiteX111" fmla="*/ 354041 w 972214"/>
                    <a:gd name="connsiteY111" fmla="*/ 29111 h 1198010"/>
                    <a:gd name="connsiteX112" fmla="*/ 353764 w 972214"/>
                    <a:gd name="connsiteY112" fmla="*/ 30936 h 1198010"/>
                    <a:gd name="connsiteX113" fmla="*/ 354301 w 972214"/>
                    <a:gd name="connsiteY113" fmla="*/ 32094 h 1198010"/>
                    <a:gd name="connsiteX114" fmla="*/ 354937 w 972214"/>
                    <a:gd name="connsiteY114" fmla="*/ 32933 h 1198010"/>
                    <a:gd name="connsiteX115" fmla="*/ 356697 w 972214"/>
                    <a:gd name="connsiteY115" fmla="*/ 37049 h 1198010"/>
                    <a:gd name="connsiteX116" fmla="*/ 357537 w 972214"/>
                    <a:gd name="connsiteY116" fmla="*/ 38475 h 1198010"/>
                    <a:gd name="connsiteX117" fmla="*/ 358246 w 972214"/>
                    <a:gd name="connsiteY117" fmla="*/ 38939 h 1198010"/>
                    <a:gd name="connsiteX118" fmla="*/ 358409 w 972214"/>
                    <a:gd name="connsiteY118" fmla="*/ 39730 h 1198010"/>
                    <a:gd name="connsiteX119" fmla="*/ 357806 w 972214"/>
                    <a:gd name="connsiteY119" fmla="*/ 41238 h 1198010"/>
                    <a:gd name="connsiteX120" fmla="*/ 357089 w 972214"/>
                    <a:gd name="connsiteY120" fmla="*/ 43145 h 1198010"/>
                    <a:gd name="connsiteX121" fmla="*/ 355451 w 972214"/>
                    <a:gd name="connsiteY121" fmla="*/ 45150 h 1198010"/>
                    <a:gd name="connsiteX122" fmla="*/ 355239 w 972214"/>
                    <a:gd name="connsiteY122" fmla="*/ 46739 h 1198010"/>
                    <a:gd name="connsiteX123" fmla="*/ 353935 w 972214"/>
                    <a:gd name="connsiteY123" fmla="*/ 47741 h 1198010"/>
                    <a:gd name="connsiteX124" fmla="*/ 350887 w 972214"/>
                    <a:gd name="connsiteY124" fmla="*/ 50113 h 1198010"/>
                    <a:gd name="connsiteX125" fmla="*/ 351416 w 972214"/>
                    <a:gd name="connsiteY125" fmla="*/ 53870 h 1198010"/>
                    <a:gd name="connsiteX126" fmla="*/ 351522 w 972214"/>
                    <a:gd name="connsiteY126" fmla="*/ 55777 h 1198010"/>
                    <a:gd name="connsiteX127" fmla="*/ 351465 w 972214"/>
                    <a:gd name="connsiteY127" fmla="*/ 57260 h 1198010"/>
                    <a:gd name="connsiteX128" fmla="*/ 350430 w 972214"/>
                    <a:gd name="connsiteY128" fmla="*/ 59241 h 1198010"/>
                    <a:gd name="connsiteX129" fmla="*/ 348629 w 972214"/>
                    <a:gd name="connsiteY129" fmla="*/ 65092 h 1198010"/>
                    <a:gd name="connsiteX130" fmla="*/ 347961 w 972214"/>
                    <a:gd name="connsiteY130" fmla="*/ 68010 h 1198010"/>
                    <a:gd name="connsiteX131" fmla="*/ 347374 w 972214"/>
                    <a:gd name="connsiteY131" fmla="*/ 74749 h 1198010"/>
                    <a:gd name="connsiteX132" fmla="*/ 347415 w 972214"/>
                    <a:gd name="connsiteY132" fmla="*/ 77015 h 1198010"/>
                    <a:gd name="connsiteX133" fmla="*/ 348246 w 972214"/>
                    <a:gd name="connsiteY133" fmla="*/ 80055 h 1198010"/>
                    <a:gd name="connsiteX134" fmla="*/ 350015 w 972214"/>
                    <a:gd name="connsiteY134" fmla="*/ 86811 h 1198010"/>
                    <a:gd name="connsiteX135" fmla="*/ 351017 w 972214"/>
                    <a:gd name="connsiteY135" fmla="*/ 87878 h 1198010"/>
                    <a:gd name="connsiteX136" fmla="*/ 353348 w 972214"/>
                    <a:gd name="connsiteY136" fmla="*/ 89468 h 1198010"/>
                    <a:gd name="connsiteX137" fmla="*/ 353633 w 972214"/>
                    <a:gd name="connsiteY137" fmla="*/ 94032 h 1198010"/>
                    <a:gd name="connsiteX138" fmla="*/ 353437 w 972214"/>
                    <a:gd name="connsiteY138" fmla="*/ 98807 h 1198010"/>
                    <a:gd name="connsiteX139" fmla="*/ 353324 w 972214"/>
                    <a:gd name="connsiteY139" fmla="*/ 100649 h 1198010"/>
                    <a:gd name="connsiteX140" fmla="*/ 353707 w 972214"/>
                    <a:gd name="connsiteY140" fmla="*/ 101448 h 1198010"/>
                    <a:gd name="connsiteX141" fmla="*/ 354758 w 972214"/>
                    <a:gd name="connsiteY141" fmla="*/ 101823 h 1198010"/>
                    <a:gd name="connsiteX142" fmla="*/ 355500 w 972214"/>
                    <a:gd name="connsiteY142" fmla="*/ 102401 h 1198010"/>
                    <a:gd name="connsiteX143" fmla="*/ 355613 w 972214"/>
                    <a:gd name="connsiteY143" fmla="*/ 103811 h 1198010"/>
                    <a:gd name="connsiteX144" fmla="*/ 355548 w 972214"/>
                    <a:gd name="connsiteY144" fmla="*/ 105278 h 1198010"/>
                    <a:gd name="connsiteX145" fmla="*/ 357276 w 972214"/>
                    <a:gd name="connsiteY145" fmla="*/ 106126 h 1198010"/>
                    <a:gd name="connsiteX146" fmla="*/ 358792 w 972214"/>
                    <a:gd name="connsiteY146" fmla="*/ 106664 h 1198010"/>
                    <a:gd name="connsiteX147" fmla="*/ 360185 w 972214"/>
                    <a:gd name="connsiteY147" fmla="*/ 108685 h 1198010"/>
                    <a:gd name="connsiteX148" fmla="*/ 362712 w 972214"/>
                    <a:gd name="connsiteY148" fmla="*/ 111831 h 1198010"/>
                    <a:gd name="connsiteX149" fmla="*/ 363714 w 972214"/>
                    <a:gd name="connsiteY149" fmla="*/ 112409 h 1198010"/>
                    <a:gd name="connsiteX150" fmla="*/ 364220 w 972214"/>
                    <a:gd name="connsiteY150" fmla="*/ 113721 h 1198010"/>
                    <a:gd name="connsiteX151" fmla="*/ 366355 w 972214"/>
                    <a:gd name="connsiteY151" fmla="*/ 116370 h 1198010"/>
                    <a:gd name="connsiteX152" fmla="*/ 369598 w 972214"/>
                    <a:gd name="connsiteY152" fmla="*/ 117340 h 1198010"/>
                    <a:gd name="connsiteX153" fmla="*/ 372866 w 972214"/>
                    <a:gd name="connsiteY153" fmla="*/ 118513 h 1198010"/>
                    <a:gd name="connsiteX154" fmla="*/ 374154 w 972214"/>
                    <a:gd name="connsiteY154" fmla="*/ 120184 h 1198010"/>
                    <a:gd name="connsiteX155" fmla="*/ 375499 w 972214"/>
                    <a:gd name="connsiteY155" fmla="*/ 121537 h 1198010"/>
                    <a:gd name="connsiteX156" fmla="*/ 376518 w 972214"/>
                    <a:gd name="connsiteY156" fmla="*/ 121602 h 1198010"/>
                    <a:gd name="connsiteX157" fmla="*/ 377373 w 972214"/>
                    <a:gd name="connsiteY157" fmla="*/ 121390 h 1198010"/>
                    <a:gd name="connsiteX158" fmla="*/ 378775 w 972214"/>
                    <a:gd name="connsiteY158" fmla="*/ 120217 h 1198010"/>
                    <a:gd name="connsiteX159" fmla="*/ 379916 w 972214"/>
                    <a:gd name="connsiteY159" fmla="*/ 119214 h 1198010"/>
                    <a:gd name="connsiteX160" fmla="*/ 381888 w 972214"/>
                    <a:gd name="connsiteY160" fmla="*/ 119271 h 1198010"/>
                    <a:gd name="connsiteX161" fmla="*/ 384195 w 972214"/>
                    <a:gd name="connsiteY161" fmla="*/ 119108 h 1198010"/>
                    <a:gd name="connsiteX162" fmla="*/ 384602 w 972214"/>
                    <a:gd name="connsiteY162" fmla="*/ 118277 h 1198010"/>
                    <a:gd name="connsiteX163" fmla="*/ 384822 w 972214"/>
                    <a:gd name="connsiteY163" fmla="*/ 117218 h 1198010"/>
                    <a:gd name="connsiteX164" fmla="*/ 384341 w 972214"/>
                    <a:gd name="connsiteY164" fmla="*/ 114496 h 1198010"/>
                    <a:gd name="connsiteX165" fmla="*/ 385164 w 972214"/>
                    <a:gd name="connsiteY165" fmla="*/ 113664 h 1198010"/>
                    <a:gd name="connsiteX166" fmla="*/ 387080 w 972214"/>
                    <a:gd name="connsiteY166" fmla="*/ 113208 h 1198010"/>
                    <a:gd name="connsiteX167" fmla="*/ 387463 w 972214"/>
                    <a:gd name="connsiteY167" fmla="*/ 111757 h 1198010"/>
                    <a:gd name="connsiteX168" fmla="*/ 387903 w 972214"/>
                    <a:gd name="connsiteY168" fmla="*/ 110959 h 1198010"/>
                    <a:gd name="connsiteX169" fmla="*/ 388449 w 972214"/>
                    <a:gd name="connsiteY169" fmla="*/ 110038 h 1198010"/>
                    <a:gd name="connsiteX170" fmla="*/ 389109 w 972214"/>
                    <a:gd name="connsiteY170" fmla="*/ 109899 h 1198010"/>
                    <a:gd name="connsiteX171" fmla="*/ 389932 w 972214"/>
                    <a:gd name="connsiteY171" fmla="*/ 110429 h 1198010"/>
                    <a:gd name="connsiteX172" fmla="*/ 391187 w 972214"/>
                    <a:gd name="connsiteY172" fmla="*/ 110763 h 1198010"/>
                    <a:gd name="connsiteX173" fmla="*/ 392605 w 972214"/>
                    <a:gd name="connsiteY173" fmla="*/ 111228 h 1198010"/>
                    <a:gd name="connsiteX174" fmla="*/ 393371 w 972214"/>
                    <a:gd name="connsiteY174" fmla="*/ 112157 h 1198010"/>
                    <a:gd name="connsiteX175" fmla="*/ 394635 w 972214"/>
                    <a:gd name="connsiteY175" fmla="*/ 112230 h 1198010"/>
                    <a:gd name="connsiteX176" fmla="*/ 396036 w 972214"/>
                    <a:gd name="connsiteY176" fmla="*/ 112051 h 1198010"/>
                    <a:gd name="connsiteX177" fmla="*/ 396607 w 972214"/>
                    <a:gd name="connsiteY177" fmla="*/ 111464 h 1198010"/>
                    <a:gd name="connsiteX178" fmla="*/ 397022 w 972214"/>
                    <a:gd name="connsiteY178" fmla="*/ 110437 h 1198010"/>
                    <a:gd name="connsiteX179" fmla="*/ 397324 w 972214"/>
                    <a:gd name="connsiteY179" fmla="*/ 108220 h 1198010"/>
                    <a:gd name="connsiteX180" fmla="*/ 398228 w 972214"/>
                    <a:gd name="connsiteY180" fmla="*/ 108155 h 1198010"/>
                    <a:gd name="connsiteX181" fmla="*/ 400038 w 972214"/>
                    <a:gd name="connsiteY181" fmla="*/ 107658 h 1198010"/>
                    <a:gd name="connsiteX182" fmla="*/ 401961 w 972214"/>
                    <a:gd name="connsiteY182" fmla="*/ 106672 h 1198010"/>
                    <a:gd name="connsiteX183" fmla="*/ 404536 w 972214"/>
                    <a:gd name="connsiteY183" fmla="*/ 106533 h 1198010"/>
                    <a:gd name="connsiteX184" fmla="*/ 406957 w 972214"/>
                    <a:gd name="connsiteY184" fmla="*/ 106550 h 1198010"/>
                    <a:gd name="connsiteX185" fmla="*/ 408155 w 972214"/>
                    <a:gd name="connsiteY185" fmla="*/ 105890 h 1198010"/>
                    <a:gd name="connsiteX186" fmla="*/ 409280 w 972214"/>
                    <a:gd name="connsiteY186" fmla="*/ 104455 h 1198010"/>
                    <a:gd name="connsiteX187" fmla="*/ 411456 w 972214"/>
                    <a:gd name="connsiteY187" fmla="*/ 100405 h 1198010"/>
                    <a:gd name="connsiteX188" fmla="*/ 412596 w 972214"/>
                    <a:gd name="connsiteY188" fmla="*/ 99476 h 1198010"/>
                    <a:gd name="connsiteX189" fmla="*/ 413819 w 972214"/>
                    <a:gd name="connsiteY189" fmla="*/ 98775 h 1198010"/>
                    <a:gd name="connsiteX190" fmla="*/ 414854 w 972214"/>
                    <a:gd name="connsiteY190" fmla="*/ 98905 h 1198010"/>
                    <a:gd name="connsiteX191" fmla="*/ 416989 w 972214"/>
                    <a:gd name="connsiteY191" fmla="*/ 98229 h 1198010"/>
                    <a:gd name="connsiteX192" fmla="*/ 418741 w 972214"/>
                    <a:gd name="connsiteY192" fmla="*/ 97259 h 1198010"/>
                    <a:gd name="connsiteX193" fmla="*/ 419393 w 972214"/>
                    <a:gd name="connsiteY193" fmla="*/ 97503 h 1198010"/>
                    <a:gd name="connsiteX194" fmla="*/ 420763 w 972214"/>
                    <a:gd name="connsiteY194" fmla="*/ 99582 h 1198010"/>
                    <a:gd name="connsiteX195" fmla="*/ 421439 w 972214"/>
                    <a:gd name="connsiteY195" fmla="*/ 100038 h 1198010"/>
                    <a:gd name="connsiteX196" fmla="*/ 422450 w 972214"/>
                    <a:gd name="connsiteY196" fmla="*/ 100185 h 1198010"/>
                    <a:gd name="connsiteX197" fmla="*/ 425742 w 972214"/>
                    <a:gd name="connsiteY197" fmla="*/ 101236 h 1198010"/>
                    <a:gd name="connsiteX198" fmla="*/ 427486 w 972214"/>
                    <a:gd name="connsiteY198" fmla="*/ 100902 h 1198010"/>
                    <a:gd name="connsiteX199" fmla="*/ 429385 w 972214"/>
                    <a:gd name="connsiteY199" fmla="*/ 100242 h 1198010"/>
                    <a:gd name="connsiteX200" fmla="*/ 431202 w 972214"/>
                    <a:gd name="connsiteY200" fmla="*/ 99989 h 1198010"/>
                    <a:gd name="connsiteX201" fmla="*/ 432514 w 972214"/>
                    <a:gd name="connsiteY201" fmla="*/ 100454 h 1198010"/>
                    <a:gd name="connsiteX202" fmla="*/ 433460 w 972214"/>
                    <a:gd name="connsiteY202" fmla="*/ 99850 h 1198010"/>
                    <a:gd name="connsiteX203" fmla="*/ 434511 w 972214"/>
                    <a:gd name="connsiteY203" fmla="*/ 99402 h 1198010"/>
                    <a:gd name="connsiteX204" fmla="*/ 435253 w 972214"/>
                    <a:gd name="connsiteY204" fmla="*/ 99696 h 1198010"/>
                    <a:gd name="connsiteX205" fmla="*/ 436923 w 972214"/>
                    <a:gd name="connsiteY205" fmla="*/ 99948 h 1198010"/>
                    <a:gd name="connsiteX206" fmla="*/ 440860 w 972214"/>
                    <a:gd name="connsiteY206" fmla="*/ 101106 h 1198010"/>
                    <a:gd name="connsiteX207" fmla="*/ 445994 w 972214"/>
                    <a:gd name="connsiteY207" fmla="*/ 102393 h 1198010"/>
                    <a:gd name="connsiteX208" fmla="*/ 447396 w 972214"/>
                    <a:gd name="connsiteY208" fmla="*/ 101945 h 1198010"/>
                    <a:gd name="connsiteX209" fmla="*/ 448235 w 972214"/>
                    <a:gd name="connsiteY209" fmla="*/ 101032 h 1198010"/>
                    <a:gd name="connsiteX210" fmla="*/ 448431 w 972214"/>
                    <a:gd name="connsiteY210" fmla="*/ 98367 h 1198010"/>
                    <a:gd name="connsiteX211" fmla="*/ 448586 w 972214"/>
                    <a:gd name="connsiteY211" fmla="*/ 96485 h 1198010"/>
                    <a:gd name="connsiteX212" fmla="*/ 447428 w 972214"/>
                    <a:gd name="connsiteY212" fmla="*/ 94822 h 1198010"/>
                    <a:gd name="connsiteX213" fmla="*/ 445986 w 972214"/>
                    <a:gd name="connsiteY213" fmla="*/ 92931 h 1198010"/>
                    <a:gd name="connsiteX214" fmla="*/ 444658 w 972214"/>
                    <a:gd name="connsiteY214" fmla="*/ 90576 h 1198010"/>
                    <a:gd name="connsiteX215" fmla="*/ 443077 w 972214"/>
                    <a:gd name="connsiteY215" fmla="*/ 89916 h 1198010"/>
                    <a:gd name="connsiteX216" fmla="*/ 443280 w 972214"/>
                    <a:gd name="connsiteY216" fmla="*/ 88702 h 1198010"/>
                    <a:gd name="connsiteX217" fmla="*/ 444307 w 972214"/>
                    <a:gd name="connsiteY217" fmla="*/ 87455 h 1198010"/>
                    <a:gd name="connsiteX218" fmla="*/ 445366 w 972214"/>
                    <a:gd name="connsiteY218" fmla="*/ 86762 h 1198010"/>
                    <a:gd name="connsiteX219" fmla="*/ 445978 w 972214"/>
                    <a:gd name="connsiteY219" fmla="*/ 85914 h 1198010"/>
                    <a:gd name="connsiteX220" fmla="*/ 446646 w 972214"/>
                    <a:gd name="connsiteY220" fmla="*/ 82777 h 1198010"/>
                    <a:gd name="connsiteX221" fmla="*/ 447086 w 972214"/>
                    <a:gd name="connsiteY221" fmla="*/ 82223 h 1198010"/>
                    <a:gd name="connsiteX222" fmla="*/ 447542 w 972214"/>
                    <a:gd name="connsiteY222" fmla="*/ 82092 h 1198010"/>
                    <a:gd name="connsiteX223" fmla="*/ 448072 w 972214"/>
                    <a:gd name="connsiteY223" fmla="*/ 82206 h 1198010"/>
                    <a:gd name="connsiteX224" fmla="*/ 449123 w 972214"/>
                    <a:gd name="connsiteY224" fmla="*/ 83021 h 1198010"/>
                    <a:gd name="connsiteX225" fmla="*/ 453174 w 972214"/>
                    <a:gd name="connsiteY225" fmla="*/ 85523 h 1198010"/>
                    <a:gd name="connsiteX226" fmla="*/ 454950 w 972214"/>
                    <a:gd name="connsiteY226" fmla="*/ 85148 h 1198010"/>
                    <a:gd name="connsiteX227" fmla="*/ 461739 w 972214"/>
                    <a:gd name="connsiteY227" fmla="*/ 84497 h 1198010"/>
                    <a:gd name="connsiteX228" fmla="*/ 462766 w 972214"/>
                    <a:gd name="connsiteY228" fmla="*/ 83054 h 1198010"/>
                    <a:gd name="connsiteX229" fmla="*/ 464201 w 972214"/>
                    <a:gd name="connsiteY229" fmla="*/ 82728 h 1198010"/>
                    <a:gd name="connsiteX230" fmla="*/ 466646 w 972214"/>
                    <a:gd name="connsiteY230" fmla="*/ 81294 h 1198010"/>
                    <a:gd name="connsiteX231" fmla="*/ 467607 w 972214"/>
                    <a:gd name="connsiteY231" fmla="*/ 81196 h 1198010"/>
                    <a:gd name="connsiteX232" fmla="*/ 468471 w 972214"/>
                    <a:gd name="connsiteY232" fmla="*/ 81538 h 1198010"/>
                    <a:gd name="connsiteX233" fmla="*/ 469555 w 972214"/>
                    <a:gd name="connsiteY233" fmla="*/ 81261 h 1198010"/>
                    <a:gd name="connsiteX234" fmla="*/ 471152 w 972214"/>
                    <a:gd name="connsiteY234" fmla="*/ 79924 h 1198010"/>
                    <a:gd name="connsiteX235" fmla="*/ 471829 w 972214"/>
                    <a:gd name="connsiteY235" fmla="*/ 79786 h 1198010"/>
                    <a:gd name="connsiteX236" fmla="*/ 472081 w 972214"/>
                    <a:gd name="connsiteY236" fmla="*/ 81261 h 1198010"/>
                    <a:gd name="connsiteX237" fmla="*/ 473116 w 972214"/>
                    <a:gd name="connsiteY237" fmla="*/ 82793 h 1198010"/>
                    <a:gd name="connsiteX238" fmla="*/ 474363 w 972214"/>
                    <a:gd name="connsiteY238" fmla="*/ 84203 h 1198010"/>
                    <a:gd name="connsiteX239" fmla="*/ 474966 w 972214"/>
                    <a:gd name="connsiteY239" fmla="*/ 84529 h 1198010"/>
                    <a:gd name="connsiteX240" fmla="*/ 477069 w 972214"/>
                    <a:gd name="connsiteY240" fmla="*/ 84081 h 1198010"/>
                    <a:gd name="connsiteX241" fmla="*/ 478177 w 972214"/>
                    <a:gd name="connsiteY241" fmla="*/ 84472 h 1198010"/>
                    <a:gd name="connsiteX242" fmla="*/ 478658 w 972214"/>
                    <a:gd name="connsiteY242" fmla="*/ 85784 h 1198010"/>
                    <a:gd name="connsiteX243" fmla="*/ 478797 w 972214"/>
                    <a:gd name="connsiteY243" fmla="*/ 86925 h 1198010"/>
                    <a:gd name="connsiteX244" fmla="*/ 479677 w 972214"/>
                    <a:gd name="connsiteY244" fmla="*/ 87895 h 1198010"/>
                    <a:gd name="connsiteX245" fmla="*/ 480802 w 972214"/>
                    <a:gd name="connsiteY245" fmla="*/ 87911 h 1198010"/>
                    <a:gd name="connsiteX246" fmla="*/ 481413 w 972214"/>
                    <a:gd name="connsiteY246" fmla="*/ 88302 h 1198010"/>
                    <a:gd name="connsiteX247" fmla="*/ 482440 w 972214"/>
                    <a:gd name="connsiteY247" fmla="*/ 88922 h 1198010"/>
                    <a:gd name="connsiteX248" fmla="*/ 483320 w 972214"/>
                    <a:gd name="connsiteY248" fmla="*/ 90348 h 1198010"/>
                    <a:gd name="connsiteX249" fmla="*/ 485349 w 972214"/>
                    <a:gd name="connsiteY249" fmla="*/ 91481 h 1198010"/>
                    <a:gd name="connsiteX250" fmla="*/ 488821 w 972214"/>
                    <a:gd name="connsiteY250" fmla="*/ 93078 h 1198010"/>
                    <a:gd name="connsiteX251" fmla="*/ 490434 w 972214"/>
                    <a:gd name="connsiteY251" fmla="*/ 93103 h 1198010"/>
                    <a:gd name="connsiteX252" fmla="*/ 491942 w 972214"/>
                    <a:gd name="connsiteY252" fmla="*/ 93592 h 1198010"/>
                    <a:gd name="connsiteX253" fmla="*/ 492863 w 972214"/>
                    <a:gd name="connsiteY253" fmla="*/ 94072 h 1198010"/>
                    <a:gd name="connsiteX254" fmla="*/ 493866 w 972214"/>
                    <a:gd name="connsiteY254" fmla="*/ 93192 h 1198010"/>
                    <a:gd name="connsiteX255" fmla="*/ 497419 w 972214"/>
                    <a:gd name="connsiteY255" fmla="*/ 90739 h 1198010"/>
                    <a:gd name="connsiteX256" fmla="*/ 499155 w 972214"/>
                    <a:gd name="connsiteY256" fmla="*/ 89362 h 1198010"/>
                    <a:gd name="connsiteX257" fmla="*/ 500320 w 972214"/>
                    <a:gd name="connsiteY257" fmla="*/ 88327 h 1198010"/>
                    <a:gd name="connsiteX258" fmla="*/ 501200 w 972214"/>
                    <a:gd name="connsiteY258" fmla="*/ 87333 h 1198010"/>
                    <a:gd name="connsiteX259" fmla="*/ 501860 w 972214"/>
                    <a:gd name="connsiteY259" fmla="*/ 87072 h 1198010"/>
                    <a:gd name="connsiteX260" fmla="*/ 502292 w 972214"/>
                    <a:gd name="connsiteY260" fmla="*/ 87667 h 1198010"/>
                    <a:gd name="connsiteX261" fmla="*/ 502675 w 972214"/>
                    <a:gd name="connsiteY261" fmla="*/ 88457 h 1198010"/>
                    <a:gd name="connsiteX262" fmla="*/ 503947 w 972214"/>
                    <a:gd name="connsiteY262" fmla="*/ 88930 h 1198010"/>
                    <a:gd name="connsiteX263" fmla="*/ 506913 w 972214"/>
                    <a:gd name="connsiteY263" fmla="*/ 89859 h 1198010"/>
                    <a:gd name="connsiteX264" fmla="*/ 508274 w 972214"/>
                    <a:gd name="connsiteY264" fmla="*/ 90120 h 1198010"/>
                    <a:gd name="connsiteX265" fmla="*/ 510189 w 972214"/>
                    <a:gd name="connsiteY265" fmla="*/ 89329 h 1198010"/>
                    <a:gd name="connsiteX266" fmla="*/ 511820 w 972214"/>
                    <a:gd name="connsiteY266" fmla="*/ 87984 h 1198010"/>
                    <a:gd name="connsiteX267" fmla="*/ 512610 w 972214"/>
                    <a:gd name="connsiteY267" fmla="*/ 87520 h 1198010"/>
                    <a:gd name="connsiteX268" fmla="*/ 513816 w 972214"/>
                    <a:gd name="connsiteY268" fmla="*/ 88848 h 1198010"/>
                    <a:gd name="connsiteX269" fmla="*/ 514639 w 972214"/>
                    <a:gd name="connsiteY269" fmla="*/ 90731 h 1198010"/>
                    <a:gd name="connsiteX270" fmla="*/ 515201 w 972214"/>
                    <a:gd name="connsiteY270" fmla="*/ 91546 h 1198010"/>
                    <a:gd name="connsiteX271" fmla="*/ 516432 w 972214"/>
                    <a:gd name="connsiteY271" fmla="*/ 91358 h 1198010"/>
                    <a:gd name="connsiteX272" fmla="*/ 518853 w 972214"/>
                    <a:gd name="connsiteY272" fmla="*/ 91644 h 1198010"/>
                    <a:gd name="connsiteX273" fmla="*/ 520654 w 972214"/>
                    <a:gd name="connsiteY273" fmla="*/ 92247 h 1198010"/>
                    <a:gd name="connsiteX274" fmla="*/ 521762 w 972214"/>
                    <a:gd name="connsiteY274" fmla="*/ 92190 h 1198010"/>
                    <a:gd name="connsiteX275" fmla="*/ 523294 w 972214"/>
                    <a:gd name="connsiteY275" fmla="*/ 91350 h 1198010"/>
                    <a:gd name="connsiteX276" fmla="*/ 524109 w 972214"/>
                    <a:gd name="connsiteY276" fmla="*/ 89696 h 1198010"/>
                    <a:gd name="connsiteX277" fmla="*/ 526269 w 972214"/>
                    <a:gd name="connsiteY277" fmla="*/ 88180 h 1198010"/>
                    <a:gd name="connsiteX278" fmla="*/ 528323 w 972214"/>
                    <a:gd name="connsiteY278" fmla="*/ 86795 h 1198010"/>
                    <a:gd name="connsiteX279" fmla="*/ 529504 w 972214"/>
                    <a:gd name="connsiteY279" fmla="*/ 84928 h 1198010"/>
                    <a:gd name="connsiteX280" fmla="*/ 531240 w 972214"/>
                    <a:gd name="connsiteY280" fmla="*/ 81840 h 1198010"/>
                    <a:gd name="connsiteX281" fmla="*/ 531827 w 972214"/>
                    <a:gd name="connsiteY281" fmla="*/ 80511 h 1198010"/>
                    <a:gd name="connsiteX282" fmla="*/ 531949 w 972214"/>
                    <a:gd name="connsiteY282" fmla="*/ 78286 h 1198010"/>
                    <a:gd name="connsiteX283" fmla="*/ 534402 w 972214"/>
                    <a:gd name="connsiteY283" fmla="*/ 71807 h 1198010"/>
                    <a:gd name="connsiteX284" fmla="*/ 535331 w 972214"/>
                    <a:gd name="connsiteY284" fmla="*/ 70618 h 1198010"/>
                    <a:gd name="connsiteX285" fmla="*/ 535878 w 972214"/>
                    <a:gd name="connsiteY285" fmla="*/ 68564 h 1198010"/>
                    <a:gd name="connsiteX286" fmla="*/ 536864 w 972214"/>
                    <a:gd name="connsiteY286" fmla="*/ 66192 h 1198010"/>
                    <a:gd name="connsiteX287" fmla="*/ 536864 w 972214"/>
                    <a:gd name="connsiteY287" fmla="*/ 64204 h 1198010"/>
                    <a:gd name="connsiteX288" fmla="*/ 537572 w 972214"/>
                    <a:gd name="connsiteY288" fmla="*/ 62288 h 1198010"/>
                    <a:gd name="connsiteX289" fmla="*/ 538974 w 972214"/>
                    <a:gd name="connsiteY289" fmla="*/ 60626 h 1198010"/>
                    <a:gd name="connsiteX290" fmla="*/ 540009 w 972214"/>
                    <a:gd name="connsiteY290" fmla="*/ 59591 h 1198010"/>
                    <a:gd name="connsiteX291" fmla="*/ 541664 w 972214"/>
                    <a:gd name="connsiteY291" fmla="*/ 56804 h 1198010"/>
                    <a:gd name="connsiteX292" fmla="*/ 542821 w 972214"/>
                    <a:gd name="connsiteY292" fmla="*/ 54180 h 1198010"/>
                    <a:gd name="connsiteX293" fmla="*/ 545706 w 972214"/>
                    <a:gd name="connsiteY293" fmla="*/ 48352 h 1198010"/>
                    <a:gd name="connsiteX294" fmla="*/ 545926 w 972214"/>
                    <a:gd name="connsiteY294" fmla="*/ 46698 h 1198010"/>
                    <a:gd name="connsiteX295" fmla="*/ 547075 w 972214"/>
                    <a:gd name="connsiteY295" fmla="*/ 45704 h 1198010"/>
                    <a:gd name="connsiteX296" fmla="*/ 547458 w 972214"/>
                    <a:gd name="connsiteY296" fmla="*/ 44449 h 1198010"/>
                    <a:gd name="connsiteX297" fmla="*/ 548681 w 972214"/>
                    <a:gd name="connsiteY297" fmla="*/ 42900 h 1198010"/>
                    <a:gd name="connsiteX298" fmla="*/ 549968 w 972214"/>
                    <a:gd name="connsiteY298" fmla="*/ 41678 h 1198010"/>
                    <a:gd name="connsiteX299" fmla="*/ 550523 w 972214"/>
                    <a:gd name="connsiteY299" fmla="*/ 39868 h 1198010"/>
                    <a:gd name="connsiteX300" fmla="*/ 551468 w 972214"/>
                    <a:gd name="connsiteY300" fmla="*/ 37986 h 1198010"/>
                    <a:gd name="connsiteX301" fmla="*/ 553546 w 972214"/>
                    <a:gd name="connsiteY301" fmla="*/ 36576 h 1198010"/>
                    <a:gd name="connsiteX302" fmla="*/ 554304 w 972214"/>
                    <a:gd name="connsiteY302" fmla="*/ 35932 h 1198010"/>
                    <a:gd name="connsiteX303" fmla="*/ 556659 w 972214"/>
                    <a:gd name="connsiteY303" fmla="*/ 30765 h 1198010"/>
                    <a:gd name="connsiteX304" fmla="*/ 556928 w 972214"/>
                    <a:gd name="connsiteY304" fmla="*/ 28451 h 1198010"/>
                    <a:gd name="connsiteX305" fmla="*/ 559047 w 972214"/>
                    <a:gd name="connsiteY305" fmla="*/ 28361 h 1198010"/>
                    <a:gd name="connsiteX306" fmla="*/ 562389 w 972214"/>
                    <a:gd name="connsiteY306" fmla="*/ 31034 h 1198010"/>
                    <a:gd name="connsiteX307" fmla="*/ 565045 w 972214"/>
                    <a:gd name="connsiteY307" fmla="*/ 34962 h 1198010"/>
                    <a:gd name="connsiteX308" fmla="*/ 568607 w 972214"/>
                    <a:gd name="connsiteY308" fmla="*/ 47611 h 1198010"/>
                    <a:gd name="connsiteX309" fmla="*/ 569193 w 972214"/>
                    <a:gd name="connsiteY309" fmla="*/ 59297 h 1198010"/>
                    <a:gd name="connsiteX310" fmla="*/ 570644 w 972214"/>
                    <a:gd name="connsiteY310" fmla="*/ 65418 h 1198010"/>
                    <a:gd name="connsiteX311" fmla="*/ 574784 w 972214"/>
                    <a:gd name="connsiteY311" fmla="*/ 78164 h 1198010"/>
                    <a:gd name="connsiteX312" fmla="*/ 575053 w 972214"/>
                    <a:gd name="connsiteY312" fmla="*/ 80528 h 1198010"/>
                    <a:gd name="connsiteX313" fmla="*/ 575721 w 972214"/>
                    <a:gd name="connsiteY313" fmla="*/ 83388 h 1198010"/>
                    <a:gd name="connsiteX314" fmla="*/ 577034 w 972214"/>
                    <a:gd name="connsiteY314" fmla="*/ 86412 h 1198010"/>
                    <a:gd name="connsiteX315" fmla="*/ 578476 w 972214"/>
                    <a:gd name="connsiteY315" fmla="*/ 91399 h 1198010"/>
                    <a:gd name="connsiteX316" fmla="*/ 578533 w 972214"/>
                    <a:gd name="connsiteY316" fmla="*/ 92320 h 1198010"/>
                    <a:gd name="connsiteX317" fmla="*/ 577596 w 972214"/>
                    <a:gd name="connsiteY317" fmla="*/ 93681 h 1198010"/>
                    <a:gd name="connsiteX318" fmla="*/ 578965 w 972214"/>
                    <a:gd name="connsiteY318" fmla="*/ 93779 h 1198010"/>
                    <a:gd name="connsiteX319" fmla="*/ 580212 w 972214"/>
                    <a:gd name="connsiteY319" fmla="*/ 94586 h 1198010"/>
                    <a:gd name="connsiteX320" fmla="*/ 581027 w 972214"/>
                    <a:gd name="connsiteY320" fmla="*/ 97748 h 1198010"/>
                    <a:gd name="connsiteX321" fmla="*/ 582054 w 972214"/>
                    <a:gd name="connsiteY321" fmla="*/ 99883 h 1198010"/>
                    <a:gd name="connsiteX322" fmla="*/ 583920 w 972214"/>
                    <a:gd name="connsiteY322" fmla="*/ 102809 h 1198010"/>
                    <a:gd name="connsiteX323" fmla="*/ 587759 w 972214"/>
                    <a:gd name="connsiteY323" fmla="*/ 103771 h 1198010"/>
                    <a:gd name="connsiteX324" fmla="*/ 590652 w 972214"/>
                    <a:gd name="connsiteY324" fmla="*/ 104113 h 1198010"/>
                    <a:gd name="connsiteX325" fmla="*/ 593952 w 972214"/>
                    <a:gd name="connsiteY325" fmla="*/ 105767 h 1198010"/>
                    <a:gd name="connsiteX326" fmla="*/ 596373 w 972214"/>
                    <a:gd name="connsiteY326" fmla="*/ 107886 h 1198010"/>
                    <a:gd name="connsiteX327" fmla="*/ 598247 w 972214"/>
                    <a:gd name="connsiteY327" fmla="*/ 115074 h 1198010"/>
                    <a:gd name="connsiteX328" fmla="*/ 597636 w 972214"/>
                    <a:gd name="connsiteY328" fmla="*/ 119589 h 1198010"/>
                    <a:gd name="connsiteX329" fmla="*/ 597816 w 972214"/>
                    <a:gd name="connsiteY329" fmla="*/ 122768 h 1198010"/>
                    <a:gd name="connsiteX330" fmla="*/ 596846 w 972214"/>
                    <a:gd name="connsiteY330" fmla="*/ 124015 h 1198010"/>
                    <a:gd name="connsiteX331" fmla="*/ 594132 w 972214"/>
                    <a:gd name="connsiteY331" fmla="*/ 126093 h 1198010"/>
                    <a:gd name="connsiteX332" fmla="*/ 593545 w 972214"/>
                    <a:gd name="connsiteY332" fmla="*/ 127201 h 1198010"/>
                    <a:gd name="connsiteX333" fmla="*/ 588003 w 972214"/>
                    <a:gd name="connsiteY333" fmla="*/ 132572 h 1198010"/>
                    <a:gd name="connsiteX334" fmla="*/ 586789 w 972214"/>
                    <a:gd name="connsiteY334" fmla="*/ 135106 h 1198010"/>
                    <a:gd name="connsiteX335" fmla="*/ 583822 w 972214"/>
                    <a:gd name="connsiteY335" fmla="*/ 138513 h 1198010"/>
                    <a:gd name="connsiteX336" fmla="*/ 580880 w 972214"/>
                    <a:gd name="connsiteY336" fmla="*/ 145008 h 1198010"/>
                    <a:gd name="connsiteX337" fmla="*/ 576577 w 972214"/>
                    <a:gd name="connsiteY337" fmla="*/ 150933 h 1198010"/>
                    <a:gd name="connsiteX338" fmla="*/ 575061 w 972214"/>
                    <a:gd name="connsiteY338" fmla="*/ 152433 h 1198010"/>
                    <a:gd name="connsiteX339" fmla="*/ 572731 w 972214"/>
                    <a:gd name="connsiteY339" fmla="*/ 152775 h 1198010"/>
                    <a:gd name="connsiteX340" fmla="*/ 571321 w 972214"/>
                    <a:gd name="connsiteY340" fmla="*/ 153696 h 1198010"/>
                    <a:gd name="connsiteX341" fmla="*/ 567971 w 972214"/>
                    <a:gd name="connsiteY341" fmla="*/ 158537 h 1198010"/>
                    <a:gd name="connsiteX342" fmla="*/ 563489 w 972214"/>
                    <a:gd name="connsiteY342" fmla="*/ 160150 h 1198010"/>
                    <a:gd name="connsiteX343" fmla="*/ 563073 w 972214"/>
                    <a:gd name="connsiteY343" fmla="*/ 162954 h 1198010"/>
                    <a:gd name="connsiteX344" fmla="*/ 560481 w 972214"/>
                    <a:gd name="connsiteY344" fmla="*/ 169360 h 1198010"/>
                    <a:gd name="connsiteX345" fmla="*/ 558192 w 972214"/>
                    <a:gd name="connsiteY345" fmla="*/ 172856 h 1198010"/>
                    <a:gd name="connsiteX346" fmla="*/ 556733 w 972214"/>
                    <a:gd name="connsiteY346" fmla="*/ 174038 h 1198010"/>
                    <a:gd name="connsiteX347" fmla="*/ 553073 w 972214"/>
                    <a:gd name="connsiteY347" fmla="*/ 180435 h 1198010"/>
                    <a:gd name="connsiteX348" fmla="*/ 552601 w 972214"/>
                    <a:gd name="connsiteY348" fmla="*/ 183222 h 1198010"/>
                    <a:gd name="connsiteX349" fmla="*/ 552617 w 972214"/>
                    <a:gd name="connsiteY349" fmla="*/ 188104 h 1198010"/>
                    <a:gd name="connsiteX350" fmla="*/ 550172 w 972214"/>
                    <a:gd name="connsiteY350" fmla="*/ 191071 h 1198010"/>
                    <a:gd name="connsiteX351" fmla="*/ 547629 w 972214"/>
                    <a:gd name="connsiteY351" fmla="*/ 192961 h 1198010"/>
                    <a:gd name="connsiteX352" fmla="*/ 547311 w 972214"/>
                    <a:gd name="connsiteY352" fmla="*/ 197134 h 1198010"/>
                    <a:gd name="connsiteX353" fmla="*/ 546162 w 972214"/>
                    <a:gd name="connsiteY353" fmla="*/ 198568 h 1198010"/>
                    <a:gd name="connsiteX354" fmla="*/ 545176 w 972214"/>
                    <a:gd name="connsiteY354" fmla="*/ 199506 h 1198010"/>
                    <a:gd name="connsiteX355" fmla="*/ 539993 w 972214"/>
                    <a:gd name="connsiteY355" fmla="*/ 198397 h 1198010"/>
                    <a:gd name="connsiteX356" fmla="*/ 531957 w 972214"/>
                    <a:gd name="connsiteY356" fmla="*/ 202936 h 1198010"/>
                    <a:gd name="connsiteX357" fmla="*/ 529211 w 972214"/>
                    <a:gd name="connsiteY357" fmla="*/ 204069 h 1198010"/>
                    <a:gd name="connsiteX358" fmla="*/ 537988 w 972214"/>
                    <a:gd name="connsiteY358" fmla="*/ 204306 h 1198010"/>
                    <a:gd name="connsiteX359" fmla="*/ 540800 w 972214"/>
                    <a:gd name="connsiteY359" fmla="*/ 206718 h 1198010"/>
                    <a:gd name="connsiteX360" fmla="*/ 546977 w 972214"/>
                    <a:gd name="connsiteY360" fmla="*/ 205129 h 1198010"/>
                    <a:gd name="connsiteX361" fmla="*/ 554451 w 972214"/>
                    <a:gd name="connsiteY361" fmla="*/ 199359 h 1198010"/>
                    <a:gd name="connsiteX362" fmla="*/ 557303 w 972214"/>
                    <a:gd name="connsiteY362" fmla="*/ 198161 h 1198010"/>
                    <a:gd name="connsiteX363" fmla="*/ 563106 w 972214"/>
                    <a:gd name="connsiteY363" fmla="*/ 194257 h 1198010"/>
                    <a:gd name="connsiteX364" fmla="*/ 565461 w 972214"/>
                    <a:gd name="connsiteY364" fmla="*/ 191649 h 1198010"/>
                    <a:gd name="connsiteX365" fmla="*/ 569756 w 972214"/>
                    <a:gd name="connsiteY365" fmla="*/ 188520 h 1198010"/>
                    <a:gd name="connsiteX366" fmla="*/ 570677 w 972214"/>
                    <a:gd name="connsiteY366" fmla="*/ 187150 h 1198010"/>
                    <a:gd name="connsiteX367" fmla="*/ 573081 w 972214"/>
                    <a:gd name="connsiteY367" fmla="*/ 185692 h 1198010"/>
                    <a:gd name="connsiteX368" fmla="*/ 574385 w 972214"/>
                    <a:gd name="connsiteY368" fmla="*/ 187550 h 1198010"/>
                    <a:gd name="connsiteX369" fmla="*/ 574491 w 972214"/>
                    <a:gd name="connsiteY369" fmla="*/ 188723 h 1198010"/>
                    <a:gd name="connsiteX370" fmla="*/ 572511 w 972214"/>
                    <a:gd name="connsiteY370" fmla="*/ 191022 h 1198010"/>
                    <a:gd name="connsiteX371" fmla="*/ 573024 w 972214"/>
                    <a:gd name="connsiteY371" fmla="*/ 192488 h 1198010"/>
                    <a:gd name="connsiteX372" fmla="*/ 574328 w 972214"/>
                    <a:gd name="connsiteY372" fmla="*/ 194347 h 1198010"/>
                    <a:gd name="connsiteX373" fmla="*/ 574801 w 972214"/>
                    <a:gd name="connsiteY373" fmla="*/ 196889 h 1198010"/>
                    <a:gd name="connsiteX374" fmla="*/ 574972 w 972214"/>
                    <a:gd name="connsiteY374" fmla="*/ 198829 h 1198010"/>
                    <a:gd name="connsiteX375" fmla="*/ 575787 w 972214"/>
                    <a:gd name="connsiteY375" fmla="*/ 202227 h 1198010"/>
                    <a:gd name="connsiteX376" fmla="*/ 578444 w 972214"/>
                    <a:gd name="connsiteY376" fmla="*/ 206840 h 1198010"/>
                    <a:gd name="connsiteX377" fmla="*/ 578533 w 972214"/>
                    <a:gd name="connsiteY377" fmla="*/ 208364 h 1198010"/>
                    <a:gd name="connsiteX378" fmla="*/ 578166 w 972214"/>
                    <a:gd name="connsiteY378" fmla="*/ 210377 h 1198010"/>
                    <a:gd name="connsiteX379" fmla="*/ 579438 w 972214"/>
                    <a:gd name="connsiteY379" fmla="*/ 212032 h 1198010"/>
                    <a:gd name="connsiteX380" fmla="*/ 580758 w 972214"/>
                    <a:gd name="connsiteY380" fmla="*/ 213018 h 1198010"/>
                    <a:gd name="connsiteX381" fmla="*/ 585281 w 972214"/>
                    <a:gd name="connsiteY381" fmla="*/ 217965 h 1198010"/>
                    <a:gd name="connsiteX382" fmla="*/ 588826 w 972214"/>
                    <a:gd name="connsiteY382" fmla="*/ 215194 h 1198010"/>
                    <a:gd name="connsiteX383" fmla="*/ 591002 w 972214"/>
                    <a:gd name="connsiteY383" fmla="*/ 214387 h 1198010"/>
                    <a:gd name="connsiteX384" fmla="*/ 592388 w 972214"/>
                    <a:gd name="connsiteY384" fmla="*/ 213238 h 1198010"/>
                    <a:gd name="connsiteX385" fmla="*/ 595297 w 972214"/>
                    <a:gd name="connsiteY385" fmla="*/ 212464 h 1198010"/>
                    <a:gd name="connsiteX386" fmla="*/ 597685 w 972214"/>
                    <a:gd name="connsiteY386" fmla="*/ 213621 h 1198010"/>
                    <a:gd name="connsiteX387" fmla="*/ 602233 w 972214"/>
                    <a:gd name="connsiteY387" fmla="*/ 215291 h 1198010"/>
                    <a:gd name="connsiteX388" fmla="*/ 605558 w 972214"/>
                    <a:gd name="connsiteY388" fmla="*/ 213515 h 1198010"/>
                    <a:gd name="connsiteX389" fmla="*/ 612297 w 972214"/>
                    <a:gd name="connsiteY389" fmla="*/ 209456 h 1198010"/>
                    <a:gd name="connsiteX390" fmla="*/ 610187 w 972214"/>
                    <a:gd name="connsiteY390" fmla="*/ 216636 h 1198010"/>
                    <a:gd name="connsiteX391" fmla="*/ 608663 w 972214"/>
                    <a:gd name="connsiteY391" fmla="*/ 223229 h 1198010"/>
                    <a:gd name="connsiteX392" fmla="*/ 607497 w 972214"/>
                    <a:gd name="connsiteY392" fmla="*/ 225894 h 1198010"/>
                    <a:gd name="connsiteX393" fmla="*/ 606348 w 972214"/>
                    <a:gd name="connsiteY393" fmla="*/ 233066 h 1198010"/>
                    <a:gd name="connsiteX394" fmla="*/ 605215 w 972214"/>
                    <a:gd name="connsiteY394" fmla="*/ 234981 h 1198010"/>
                    <a:gd name="connsiteX395" fmla="*/ 604294 w 972214"/>
                    <a:gd name="connsiteY395" fmla="*/ 237182 h 1198010"/>
                    <a:gd name="connsiteX396" fmla="*/ 605794 w 972214"/>
                    <a:gd name="connsiteY396" fmla="*/ 236416 h 1198010"/>
                    <a:gd name="connsiteX397" fmla="*/ 607082 w 972214"/>
                    <a:gd name="connsiteY397" fmla="*/ 235380 h 1198010"/>
                    <a:gd name="connsiteX398" fmla="*/ 608728 w 972214"/>
                    <a:gd name="connsiteY398" fmla="*/ 232610 h 1198010"/>
                    <a:gd name="connsiteX399" fmla="*/ 609959 w 972214"/>
                    <a:gd name="connsiteY399" fmla="*/ 227809 h 1198010"/>
                    <a:gd name="connsiteX400" fmla="*/ 614840 w 972214"/>
                    <a:gd name="connsiteY400" fmla="*/ 214998 h 1198010"/>
                    <a:gd name="connsiteX401" fmla="*/ 616234 w 972214"/>
                    <a:gd name="connsiteY401" fmla="*/ 213857 h 1198010"/>
                    <a:gd name="connsiteX402" fmla="*/ 620292 w 972214"/>
                    <a:gd name="connsiteY402" fmla="*/ 212398 h 1198010"/>
                    <a:gd name="connsiteX403" fmla="*/ 627269 w 972214"/>
                    <a:gd name="connsiteY403" fmla="*/ 202146 h 1198010"/>
                    <a:gd name="connsiteX404" fmla="*/ 629999 w 972214"/>
                    <a:gd name="connsiteY404" fmla="*/ 202178 h 1198010"/>
                    <a:gd name="connsiteX405" fmla="*/ 631743 w 972214"/>
                    <a:gd name="connsiteY405" fmla="*/ 204534 h 1198010"/>
                    <a:gd name="connsiteX406" fmla="*/ 633397 w 972214"/>
                    <a:gd name="connsiteY406" fmla="*/ 205936 h 1198010"/>
                    <a:gd name="connsiteX407" fmla="*/ 633821 w 972214"/>
                    <a:gd name="connsiteY407" fmla="*/ 203132 h 1198010"/>
                    <a:gd name="connsiteX408" fmla="*/ 636201 w 972214"/>
                    <a:gd name="connsiteY408" fmla="*/ 201983 h 1198010"/>
                    <a:gd name="connsiteX409" fmla="*/ 633674 w 972214"/>
                    <a:gd name="connsiteY409" fmla="*/ 200589 h 1198010"/>
                    <a:gd name="connsiteX410" fmla="*/ 633259 w 972214"/>
                    <a:gd name="connsiteY410" fmla="*/ 199334 h 1198010"/>
                    <a:gd name="connsiteX411" fmla="*/ 633022 w 972214"/>
                    <a:gd name="connsiteY411" fmla="*/ 197232 h 1198010"/>
                    <a:gd name="connsiteX412" fmla="*/ 634734 w 972214"/>
                    <a:gd name="connsiteY412" fmla="*/ 194396 h 1198010"/>
                    <a:gd name="connsiteX413" fmla="*/ 633715 w 972214"/>
                    <a:gd name="connsiteY413" fmla="*/ 191894 h 1198010"/>
                    <a:gd name="connsiteX414" fmla="*/ 637276 w 972214"/>
                    <a:gd name="connsiteY414" fmla="*/ 188731 h 1198010"/>
                    <a:gd name="connsiteX415" fmla="*/ 636991 w 972214"/>
                    <a:gd name="connsiteY415" fmla="*/ 186352 h 1198010"/>
                    <a:gd name="connsiteX416" fmla="*/ 638263 w 972214"/>
                    <a:gd name="connsiteY416" fmla="*/ 184396 h 1198010"/>
                    <a:gd name="connsiteX417" fmla="*/ 639868 w 972214"/>
                    <a:gd name="connsiteY417" fmla="*/ 182391 h 1198010"/>
                    <a:gd name="connsiteX418" fmla="*/ 641686 w 972214"/>
                    <a:gd name="connsiteY418" fmla="*/ 181405 h 1198010"/>
                    <a:gd name="connsiteX419" fmla="*/ 642020 w 972214"/>
                    <a:gd name="connsiteY419" fmla="*/ 179685 h 1198010"/>
                    <a:gd name="connsiteX420" fmla="*/ 643169 w 972214"/>
                    <a:gd name="connsiteY420" fmla="*/ 178960 h 1198010"/>
                    <a:gd name="connsiteX421" fmla="*/ 644073 w 972214"/>
                    <a:gd name="connsiteY421" fmla="*/ 178707 h 1198010"/>
                    <a:gd name="connsiteX422" fmla="*/ 645842 w 972214"/>
                    <a:gd name="connsiteY422" fmla="*/ 180639 h 1198010"/>
                    <a:gd name="connsiteX423" fmla="*/ 647765 w 972214"/>
                    <a:gd name="connsiteY423" fmla="*/ 178357 h 1198010"/>
                    <a:gd name="connsiteX424" fmla="*/ 649640 w 972214"/>
                    <a:gd name="connsiteY424" fmla="*/ 177460 h 1198010"/>
                    <a:gd name="connsiteX425" fmla="*/ 650487 w 972214"/>
                    <a:gd name="connsiteY425" fmla="*/ 177868 h 1198010"/>
                    <a:gd name="connsiteX426" fmla="*/ 651538 w 972214"/>
                    <a:gd name="connsiteY426" fmla="*/ 178870 h 1198010"/>
                    <a:gd name="connsiteX427" fmla="*/ 652639 w 972214"/>
                    <a:gd name="connsiteY427" fmla="*/ 179310 h 1198010"/>
                    <a:gd name="connsiteX428" fmla="*/ 653535 w 972214"/>
                    <a:gd name="connsiteY428" fmla="*/ 179123 h 1198010"/>
                    <a:gd name="connsiteX429" fmla="*/ 655858 w 972214"/>
                    <a:gd name="connsiteY429" fmla="*/ 177656 h 1198010"/>
                    <a:gd name="connsiteX430" fmla="*/ 658009 w 972214"/>
                    <a:gd name="connsiteY430" fmla="*/ 180011 h 1198010"/>
                    <a:gd name="connsiteX431" fmla="*/ 659297 w 972214"/>
                    <a:gd name="connsiteY431" fmla="*/ 180533 h 1198010"/>
                    <a:gd name="connsiteX432" fmla="*/ 658947 w 972214"/>
                    <a:gd name="connsiteY432" fmla="*/ 179213 h 1198010"/>
                    <a:gd name="connsiteX433" fmla="*/ 658262 w 972214"/>
                    <a:gd name="connsiteY433" fmla="*/ 177990 h 1198010"/>
                    <a:gd name="connsiteX434" fmla="*/ 658792 w 972214"/>
                    <a:gd name="connsiteY434" fmla="*/ 176996 h 1198010"/>
                    <a:gd name="connsiteX435" fmla="*/ 659811 w 972214"/>
                    <a:gd name="connsiteY435" fmla="*/ 176368 h 1198010"/>
                    <a:gd name="connsiteX436" fmla="*/ 663021 w 972214"/>
                    <a:gd name="connsiteY436" fmla="*/ 176922 h 1198010"/>
                    <a:gd name="connsiteX437" fmla="*/ 664708 w 972214"/>
                    <a:gd name="connsiteY437" fmla="*/ 177974 h 1198010"/>
                    <a:gd name="connsiteX438" fmla="*/ 666534 w 972214"/>
                    <a:gd name="connsiteY438" fmla="*/ 179922 h 1198010"/>
                    <a:gd name="connsiteX439" fmla="*/ 669069 w 972214"/>
                    <a:gd name="connsiteY439" fmla="*/ 180068 h 1198010"/>
                    <a:gd name="connsiteX440" fmla="*/ 671065 w 972214"/>
                    <a:gd name="connsiteY440" fmla="*/ 179873 h 1198010"/>
                    <a:gd name="connsiteX441" fmla="*/ 672320 w 972214"/>
                    <a:gd name="connsiteY441" fmla="*/ 180965 h 1198010"/>
                    <a:gd name="connsiteX442" fmla="*/ 674366 w 972214"/>
                    <a:gd name="connsiteY442" fmla="*/ 180957 h 1198010"/>
                    <a:gd name="connsiteX443" fmla="*/ 675393 w 972214"/>
                    <a:gd name="connsiteY443" fmla="*/ 182660 h 1198010"/>
                    <a:gd name="connsiteX444" fmla="*/ 678506 w 972214"/>
                    <a:gd name="connsiteY444" fmla="*/ 185048 h 1198010"/>
                    <a:gd name="connsiteX445" fmla="*/ 679182 w 972214"/>
                    <a:gd name="connsiteY445" fmla="*/ 186661 h 1198010"/>
                    <a:gd name="connsiteX446" fmla="*/ 681684 w 972214"/>
                    <a:gd name="connsiteY446" fmla="*/ 187452 h 1198010"/>
                    <a:gd name="connsiteX447" fmla="*/ 684031 w 972214"/>
                    <a:gd name="connsiteY447" fmla="*/ 188446 h 1198010"/>
                    <a:gd name="connsiteX448" fmla="*/ 686533 w 972214"/>
                    <a:gd name="connsiteY448" fmla="*/ 188715 h 1198010"/>
                    <a:gd name="connsiteX449" fmla="*/ 689060 w 972214"/>
                    <a:gd name="connsiteY449" fmla="*/ 188479 h 1198010"/>
                    <a:gd name="connsiteX450" fmla="*/ 689158 w 972214"/>
                    <a:gd name="connsiteY450" fmla="*/ 190533 h 1198010"/>
                    <a:gd name="connsiteX451" fmla="*/ 691016 w 972214"/>
                    <a:gd name="connsiteY451" fmla="*/ 191087 h 1198010"/>
                    <a:gd name="connsiteX452" fmla="*/ 693387 w 972214"/>
                    <a:gd name="connsiteY452" fmla="*/ 190630 h 1198010"/>
                    <a:gd name="connsiteX453" fmla="*/ 695189 w 972214"/>
                    <a:gd name="connsiteY453" fmla="*/ 193165 h 1198010"/>
                    <a:gd name="connsiteX454" fmla="*/ 699980 w 972214"/>
                    <a:gd name="connsiteY454" fmla="*/ 195056 h 1198010"/>
                    <a:gd name="connsiteX455" fmla="*/ 703306 w 972214"/>
                    <a:gd name="connsiteY455" fmla="*/ 197957 h 1198010"/>
                    <a:gd name="connsiteX456" fmla="*/ 705490 w 972214"/>
                    <a:gd name="connsiteY456" fmla="*/ 197452 h 1198010"/>
                    <a:gd name="connsiteX457" fmla="*/ 707935 w 972214"/>
                    <a:gd name="connsiteY457" fmla="*/ 198218 h 1198010"/>
                    <a:gd name="connsiteX458" fmla="*/ 710551 w 972214"/>
                    <a:gd name="connsiteY458" fmla="*/ 204534 h 1198010"/>
                    <a:gd name="connsiteX459" fmla="*/ 711146 w 972214"/>
                    <a:gd name="connsiteY459" fmla="*/ 209024 h 1198010"/>
                    <a:gd name="connsiteX460" fmla="*/ 712311 w 972214"/>
                    <a:gd name="connsiteY460" fmla="*/ 208405 h 1198010"/>
                    <a:gd name="connsiteX461" fmla="*/ 713387 w 972214"/>
                    <a:gd name="connsiteY461" fmla="*/ 206400 h 1198010"/>
                    <a:gd name="connsiteX462" fmla="*/ 714789 w 972214"/>
                    <a:gd name="connsiteY462" fmla="*/ 202733 h 1198010"/>
                    <a:gd name="connsiteX463" fmla="*/ 717413 w 972214"/>
                    <a:gd name="connsiteY463" fmla="*/ 201527 h 1198010"/>
                    <a:gd name="connsiteX464" fmla="*/ 718668 w 972214"/>
                    <a:gd name="connsiteY464" fmla="*/ 202928 h 1198010"/>
                    <a:gd name="connsiteX465" fmla="*/ 721292 w 972214"/>
                    <a:gd name="connsiteY465" fmla="*/ 205194 h 1198010"/>
                    <a:gd name="connsiteX466" fmla="*/ 723566 w 972214"/>
                    <a:gd name="connsiteY466" fmla="*/ 207671 h 1198010"/>
                    <a:gd name="connsiteX467" fmla="*/ 724519 w 972214"/>
                    <a:gd name="connsiteY467" fmla="*/ 209261 h 1198010"/>
                    <a:gd name="connsiteX468" fmla="*/ 726223 w 972214"/>
                    <a:gd name="connsiteY468" fmla="*/ 209513 h 1198010"/>
                    <a:gd name="connsiteX469" fmla="*/ 724805 w 972214"/>
                    <a:gd name="connsiteY469" fmla="*/ 211461 h 1198010"/>
                    <a:gd name="connsiteX470" fmla="*/ 726231 w 972214"/>
                    <a:gd name="connsiteY470" fmla="*/ 211274 h 1198010"/>
                    <a:gd name="connsiteX471" fmla="*/ 727959 w 972214"/>
                    <a:gd name="connsiteY471" fmla="*/ 209888 h 1198010"/>
                    <a:gd name="connsiteX472" fmla="*/ 729442 w 972214"/>
                    <a:gd name="connsiteY472" fmla="*/ 212757 h 1198010"/>
                    <a:gd name="connsiteX473" fmla="*/ 730550 w 972214"/>
                    <a:gd name="connsiteY473" fmla="*/ 215895 h 1198010"/>
                    <a:gd name="connsiteX474" fmla="*/ 730770 w 972214"/>
                    <a:gd name="connsiteY474" fmla="*/ 219081 h 1198010"/>
                    <a:gd name="connsiteX475" fmla="*/ 729727 w 972214"/>
                    <a:gd name="connsiteY475" fmla="*/ 220923 h 1198010"/>
                    <a:gd name="connsiteX476" fmla="*/ 728806 w 972214"/>
                    <a:gd name="connsiteY476" fmla="*/ 222072 h 1198010"/>
                    <a:gd name="connsiteX477" fmla="*/ 727779 w 972214"/>
                    <a:gd name="connsiteY477" fmla="*/ 224321 h 1198010"/>
                    <a:gd name="connsiteX478" fmla="*/ 726565 w 972214"/>
                    <a:gd name="connsiteY478" fmla="*/ 224729 h 1198010"/>
                    <a:gd name="connsiteX479" fmla="*/ 725359 w 972214"/>
                    <a:gd name="connsiteY479" fmla="*/ 225470 h 1198010"/>
                    <a:gd name="connsiteX480" fmla="*/ 726736 w 972214"/>
                    <a:gd name="connsiteY480" fmla="*/ 227109 h 1198010"/>
                    <a:gd name="connsiteX481" fmla="*/ 727689 w 972214"/>
                    <a:gd name="connsiteY481" fmla="*/ 228681 h 1198010"/>
                    <a:gd name="connsiteX482" fmla="*/ 729759 w 972214"/>
                    <a:gd name="connsiteY482" fmla="*/ 224411 h 1198010"/>
                    <a:gd name="connsiteX483" fmla="*/ 731210 w 972214"/>
                    <a:gd name="connsiteY483" fmla="*/ 223205 h 1198010"/>
                    <a:gd name="connsiteX484" fmla="*/ 733313 w 972214"/>
                    <a:gd name="connsiteY484" fmla="*/ 222545 h 1198010"/>
                    <a:gd name="connsiteX485" fmla="*/ 734413 w 972214"/>
                    <a:gd name="connsiteY485" fmla="*/ 225593 h 1198010"/>
                    <a:gd name="connsiteX486" fmla="*/ 734649 w 972214"/>
                    <a:gd name="connsiteY486" fmla="*/ 228461 h 1198010"/>
                    <a:gd name="connsiteX487" fmla="*/ 731218 w 972214"/>
                    <a:gd name="connsiteY487" fmla="*/ 229659 h 1198010"/>
                    <a:gd name="connsiteX488" fmla="*/ 731210 w 972214"/>
                    <a:gd name="connsiteY488" fmla="*/ 231933 h 1198010"/>
                    <a:gd name="connsiteX489" fmla="*/ 730192 w 972214"/>
                    <a:gd name="connsiteY489" fmla="*/ 233213 h 1198010"/>
                    <a:gd name="connsiteX490" fmla="*/ 729515 w 972214"/>
                    <a:gd name="connsiteY490" fmla="*/ 234680 h 1198010"/>
                    <a:gd name="connsiteX491" fmla="*/ 728977 w 972214"/>
                    <a:gd name="connsiteY491" fmla="*/ 237785 h 1198010"/>
                    <a:gd name="connsiteX492" fmla="*/ 728284 w 972214"/>
                    <a:gd name="connsiteY492" fmla="*/ 240352 h 1198010"/>
                    <a:gd name="connsiteX493" fmla="*/ 726239 w 972214"/>
                    <a:gd name="connsiteY493" fmla="*/ 251729 h 1198010"/>
                    <a:gd name="connsiteX494" fmla="*/ 726198 w 972214"/>
                    <a:gd name="connsiteY494" fmla="*/ 253595 h 1198010"/>
                    <a:gd name="connsiteX495" fmla="*/ 728692 w 972214"/>
                    <a:gd name="connsiteY495" fmla="*/ 251599 h 1198010"/>
                    <a:gd name="connsiteX496" fmla="*/ 733280 w 972214"/>
                    <a:gd name="connsiteY496" fmla="*/ 245796 h 1198010"/>
                    <a:gd name="connsiteX497" fmla="*/ 734674 w 972214"/>
                    <a:gd name="connsiteY497" fmla="*/ 239618 h 1198010"/>
                    <a:gd name="connsiteX498" fmla="*/ 736491 w 972214"/>
                    <a:gd name="connsiteY498" fmla="*/ 233539 h 1198010"/>
                    <a:gd name="connsiteX499" fmla="*/ 738464 w 972214"/>
                    <a:gd name="connsiteY499" fmla="*/ 231632 h 1198010"/>
                    <a:gd name="connsiteX500" fmla="*/ 739686 w 972214"/>
                    <a:gd name="connsiteY500" fmla="*/ 231632 h 1198010"/>
                    <a:gd name="connsiteX501" fmla="*/ 741520 w 972214"/>
                    <a:gd name="connsiteY501" fmla="*/ 232292 h 1198010"/>
                    <a:gd name="connsiteX502" fmla="*/ 741626 w 972214"/>
                    <a:gd name="connsiteY502" fmla="*/ 234288 h 1198010"/>
                    <a:gd name="connsiteX503" fmla="*/ 741349 w 972214"/>
                    <a:gd name="connsiteY503" fmla="*/ 235429 h 1198010"/>
                    <a:gd name="connsiteX504" fmla="*/ 739393 w 972214"/>
                    <a:gd name="connsiteY504" fmla="*/ 238469 h 1198010"/>
                    <a:gd name="connsiteX505" fmla="*/ 738561 w 972214"/>
                    <a:gd name="connsiteY505" fmla="*/ 240132 h 1198010"/>
                    <a:gd name="connsiteX506" fmla="*/ 739368 w 972214"/>
                    <a:gd name="connsiteY506" fmla="*/ 241754 h 1198010"/>
                    <a:gd name="connsiteX507" fmla="*/ 743818 w 972214"/>
                    <a:gd name="connsiteY507" fmla="*/ 236742 h 1198010"/>
                    <a:gd name="connsiteX508" fmla="*/ 745807 w 972214"/>
                    <a:gd name="connsiteY508" fmla="*/ 234989 h 1198010"/>
                    <a:gd name="connsiteX509" fmla="*/ 747501 w 972214"/>
                    <a:gd name="connsiteY509" fmla="*/ 235348 h 1198010"/>
                    <a:gd name="connsiteX510" fmla="*/ 750875 w 972214"/>
                    <a:gd name="connsiteY510" fmla="*/ 233033 h 1198010"/>
                    <a:gd name="connsiteX511" fmla="*/ 757664 w 972214"/>
                    <a:gd name="connsiteY511" fmla="*/ 232544 h 1198010"/>
                    <a:gd name="connsiteX512" fmla="*/ 758170 w 972214"/>
                    <a:gd name="connsiteY512" fmla="*/ 229904 h 1198010"/>
                    <a:gd name="connsiteX513" fmla="*/ 759522 w 972214"/>
                    <a:gd name="connsiteY513" fmla="*/ 228771 h 1198010"/>
                    <a:gd name="connsiteX514" fmla="*/ 763255 w 972214"/>
                    <a:gd name="connsiteY514" fmla="*/ 229073 h 1198010"/>
                    <a:gd name="connsiteX515" fmla="*/ 770525 w 972214"/>
                    <a:gd name="connsiteY515" fmla="*/ 231444 h 1198010"/>
                    <a:gd name="connsiteX516" fmla="*/ 773116 w 972214"/>
                    <a:gd name="connsiteY516" fmla="*/ 233359 h 1198010"/>
                    <a:gd name="connsiteX517" fmla="*/ 776996 w 972214"/>
                    <a:gd name="connsiteY517" fmla="*/ 235161 h 1198010"/>
                    <a:gd name="connsiteX518" fmla="*/ 779033 w 972214"/>
                    <a:gd name="connsiteY518" fmla="*/ 237312 h 1198010"/>
                    <a:gd name="connsiteX519" fmla="*/ 787566 w 972214"/>
                    <a:gd name="connsiteY519" fmla="*/ 241224 h 1198010"/>
                    <a:gd name="connsiteX520" fmla="*/ 793760 w 972214"/>
                    <a:gd name="connsiteY520" fmla="*/ 241648 h 1198010"/>
                    <a:gd name="connsiteX521" fmla="*/ 796832 w 972214"/>
                    <a:gd name="connsiteY521" fmla="*/ 239871 h 1198010"/>
                    <a:gd name="connsiteX522" fmla="*/ 800654 w 972214"/>
                    <a:gd name="connsiteY522" fmla="*/ 241737 h 1198010"/>
                    <a:gd name="connsiteX523" fmla="*/ 802684 w 972214"/>
                    <a:gd name="connsiteY523" fmla="*/ 243824 h 1198010"/>
                    <a:gd name="connsiteX524" fmla="*/ 806652 w 972214"/>
                    <a:gd name="connsiteY524" fmla="*/ 244965 h 1198010"/>
                    <a:gd name="connsiteX525" fmla="*/ 810670 w 972214"/>
                    <a:gd name="connsiteY525" fmla="*/ 245560 h 1198010"/>
                    <a:gd name="connsiteX526" fmla="*/ 813734 w 972214"/>
                    <a:gd name="connsiteY526" fmla="*/ 244052 h 1198010"/>
                    <a:gd name="connsiteX527" fmla="*/ 821640 w 972214"/>
                    <a:gd name="connsiteY527" fmla="*/ 243555 h 1198010"/>
                    <a:gd name="connsiteX528" fmla="*/ 831591 w 972214"/>
                    <a:gd name="connsiteY528" fmla="*/ 241338 h 1198010"/>
                    <a:gd name="connsiteX529" fmla="*/ 837524 w 972214"/>
                    <a:gd name="connsiteY529" fmla="*/ 241860 h 1198010"/>
                    <a:gd name="connsiteX530" fmla="*/ 844239 w 972214"/>
                    <a:gd name="connsiteY530" fmla="*/ 243310 h 1198010"/>
                    <a:gd name="connsiteX531" fmla="*/ 849023 w 972214"/>
                    <a:gd name="connsiteY531" fmla="*/ 247035 h 1198010"/>
                    <a:gd name="connsiteX532" fmla="*/ 853049 w 972214"/>
                    <a:gd name="connsiteY532" fmla="*/ 249145 h 1198010"/>
                    <a:gd name="connsiteX533" fmla="*/ 855485 w 972214"/>
                    <a:gd name="connsiteY533" fmla="*/ 251216 h 1198010"/>
                    <a:gd name="connsiteX534" fmla="*/ 859414 w 972214"/>
                    <a:gd name="connsiteY534" fmla="*/ 253375 h 1198010"/>
                    <a:gd name="connsiteX535" fmla="*/ 867808 w 972214"/>
                    <a:gd name="connsiteY535" fmla="*/ 259161 h 1198010"/>
                    <a:gd name="connsiteX536" fmla="*/ 870742 w 972214"/>
                    <a:gd name="connsiteY536" fmla="*/ 262503 h 1198010"/>
                    <a:gd name="connsiteX537" fmla="*/ 875941 w 972214"/>
                    <a:gd name="connsiteY537" fmla="*/ 267059 h 1198010"/>
                    <a:gd name="connsiteX538" fmla="*/ 881165 w 972214"/>
                    <a:gd name="connsiteY538" fmla="*/ 268974 h 1198010"/>
                    <a:gd name="connsiteX539" fmla="*/ 883993 w 972214"/>
                    <a:gd name="connsiteY539" fmla="*/ 273725 h 1198010"/>
                    <a:gd name="connsiteX540" fmla="*/ 886226 w 972214"/>
                    <a:gd name="connsiteY540" fmla="*/ 275885 h 1198010"/>
                    <a:gd name="connsiteX541" fmla="*/ 891760 w 972214"/>
                    <a:gd name="connsiteY541" fmla="*/ 283912 h 1198010"/>
                    <a:gd name="connsiteX542" fmla="*/ 898043 w 972214"/>
                    <a:gd name="connsiteY542" fmla="*/ 289552 h 1198010"/>
                    <a:gd name="connsiteX543" fmla="*/ 902240 w 972214"/>
                    <a:gd name="connsiteY543" fmla="*/ 295175 h 1198010"/>
                    <a:gd name="connsiteX544" fmla="*/ 910301 w 972214"/>
                    <a:gd name="connsiteY544" fmla="*/ 298802 h 1198010"/>
                    <a:gd name="connsiteX545" fmla="*/ 913446 w 972214"/>
                    <a:gd name="connsiteY545" fmla="*/ 304776 h 1198010"/>
                    <a:gd name="connsiteX546" fmla="*/ 918899 w 972214"/>
                    <a:gd name="connsiteY546" fmla="*/ 305509 h 1198010"/>
                    <a:gd name="connsiteX547" fmla="*/ 921221 w 972214"/>
                    <a:gd name="connsiteY547" fmla="*/ 306405 h 1198010"/>
                    <a:gd name="connsiteX548" fmla="*/ 924041 w 972214"/>
                    <a:gd name="connsiteY548" fmla="*/ 308924 h 1198010"/>
                    <a:gd name="connsiteX549" fmla="*/ 927928 w 972214"/>
                    <a:gd name="connsiteY549" fmla="*/ 310326 h 1198010"/>
                    <a:gd name="connsiteX550" fmla="*/ 932989 w 972214"/>
                    <a:gd name="connsiteY550" fmla="*/ 309934 h 1198010"/>
                    <a:gd name="connsiteX551" fmla="*/ 938572 w 972214"/>
                    <a:gd name="connsiteY551" fmla="*/ 310220 h 1198010"/>
                    <a:gd name="connsiteX552" fmla="*/ 943079 w 972214"/>
                    <a:gd name="connsiteY552" fmla="*/ 309030 h 1198010"/>
                    <a:gd name="connsiteX553" fmla="*/ 953755 w 972214"/>
                    <a:gd name="connsiteY553" fmla="*/ 311279 h 1198010"/>
                    <a:gd name="connsiteX554" fmla="*/ 955434 w 972214"/>
                    <a:gd name="connsiteY554" fmla="*/ 312379 h 1198010"/>
                    <a:gd name="connsiteX555" fmla="*/ 957642 w 972214"/>
                    <a:gd name="connsiteY555" fmla="*/ 314922 h 1198010"/>
                    <a:gd name="connsiteX556" fmla="*/ 961546 w 972214"/>
                    <a:gd name="connsiteY556" fmla="*/ 324400 h 1198010"/>
                    <a:gd name="connsiteX557" fmla="*/ 963869 w 972214"/>
                    <a:gd name="connsiteY557" fmla="*/ 334921 h 1198010"/>
                    <a:gd name="connsiteX558" fmla="*/ 965018 w 972214"/>
                    <a:gd name="connsiteY558" fmla="*/ 342965 h 1198010"/>
                    <a:gd name="connsiteX559" fmla="*/ 967683 w 972214"/>
                    <a:gd name="connsiteY559" fmla="*/ 349224 h 1198010"/>
                    <a:gd name="connsiteX560" fmla="*/ 969142 w 972214"/>
                    <a:gd name="connsiteY560" fmla="*/ 360984 h 1198010"/>
                    <a:gd name="connsiteX561" fmla="*/ 970372 w 972214"/>
                    <a:gd name="connsiteY561" fmla="*/ 364668 h 1198010"/>
                    <a:gd name="connsiteX562" fmla="*/ 970470 w 972214"/>
                    <a:gd name="connsiteY562" fmla="*/ 367528 h 1198010"/>
                    <a:gd name="connsiteX563" fmla="*/ 971513 w 972214"/>
                    <a:gd name="connsiteY563" fmla="*/ 368180 h 1198010"/>
                    <a:gd name="connsiteX564" fmla="*/ 972214 w 972214"/>
                    <a:gd name="connsiteY564" fmla="*/ 376110 h 1198010"/>
                    <a:gd name="connsiteX565" fmla="*/ 971945 w 972214"/>
                    <a:gd name="connsiteY565" fmla="*/ 379321 h 1198010"/>
                    <a:gd name="connsiteX566" fmla="*/ 970926 w 972214"/>
                    <a:gd name="connsiteY566" fmla="*/ 383477 h 1198010"/>
                    <a:gd name="connsiteX567" fmla="*/ 970853 w 972214"/>
                    <a:gd name="connsiteY567" fmla="*/ 385344 h 1198010"/>
                    <a:gd name="connsiteX568" fmla="*/ 971000 w 972214"/>
                    <a:gd name="connsiteY568" fmla="*/ 386526 h 1198010"/>
                    <a:gd name="connsiteX569" fmla="*/ 970552 w 972214"/>
                    <a:gd name="connsiteY569" fmla="*/ 388253 h 1198010"/>
                    <a:gd name="connsiteX570" fmla="*/ 970413 w 972214"/>
                    <a:gd name="connsiteY570" fmla="*/ 389932 h 1198010"/>
                    <a:gd name="connsiteX571" fmla="*/ 971448 w 972214"/>
                    <a:gd name="connsiteY571" fmla="*/ 393665 h 1198010"/>
                    <a:gd name="connsiteX572" fmla="*/ 971505 w 972214"/>
                    <a:gd name="connsiteY572" fmla="*/ 396656 h 1198010"/>
                    <a:gd name="connsiteX573" fmla="*/ 970120 w 972214"/>
                    <a:gd name="connsiteY573" fmla="*/ 400299 h 1198010"/>
                    <a:gd name="connsiteX574" fmla="*/ 968237 w 972214"/>
                    <a:gd name="connsiteY574" fmla="*/ 409793 h 1198010"/>
                    <a:gd name="connsiteX575" fmla="*/ 963494 w 972214"/>
                    <a:gd name="connsiteY575" fmla="*/ 425530 h 1198010"/>
                    <a:gd name="connsiteX576" fmla="*/ 958946 w 972214"/>
                    <a:gd name="connsiteY576" fmla="*/ 434568 h 1198010"/>
                    <a:gd name="connsiteX577" fmla="*/ 952590 w 972214"/>
                    <a:gd name="connsiteY577" fmla="*/ 443916 h 1198010"/>
                    <a:gd name="connsiteX578" fmla="*/ 948450 w 972214"/>
                    <a:gd name="connsiteY578" fmla="*/ 448789 h 1198010"/>
                    <a:gd name="connsiteX579" fmla="*/ 946812 w 972214"/>
                    <a:gd name="connsiteY579" fmla="*/ 449295 h 1198010"/>
                    <a:gd name="connsiteX580" fmla="*/ 945304 w 972214"/>
                    <a:gd name="connsiteY580" fmla="*/ 448325 h 1198010"/>
                    <a:gd name="connsiteX581" fmla="*/ 946371 w 972214"/>
                    <a:gd name="connsiteY581" fmla="*/ 450900 h 1198010"/>
                    <a:gd name="connsiteX582" fmla="*/ 945434 w 972214"/>
                    <a:gd name="connsiteY582" fmla="*/ 453166 h 1198010"/>
                    <a:gd name="connsiteX583" fmla="*/ 941229 w 972214"/>
                    <a:gd name="connsiteY583" fmla="*/ 460044 h 1198010"/>
                    <a:gd name="connsiteX584" fmla="*/ 937048 w 972214"/>
                    <a:gd name="connsiteY584" fmla="*/ 464559 h 1198010"/>
                    <a:gd name="connsiteX585" fmla="*/ 932712 w 972214"/>
                    <a:gd name="connsiteY585" fmla="*/ 472375 h 1198010"/>
                    <a:gd name="connsiteX586" fmla="*/ 932378 w 972214"/>
                    <a:gd name="connsiteY586" fmla="*/ 472546 h 1198010"/>
                    <a:gd name="connsiteX587" fmla="*/ 926820 w 972214"/>
                    <a:gd name="connsiteY587" fmla="*/ 475561 h 1198010"/>
                    <a:gd name="connsiteX588" fmla="*/ 923536 w 972214"/>
                    <a:gd name="connsiteY588" fmla="*/ 478031 h 1198010"/>
                    <a:gd name="connsiteX589" fmla="*/ 919331 w 972214"/>
                    <a:gd name="connsiteY589" fmla="*/ 482537 h 1198010"/>
                    <a:gd name="connsiteX590" fmla="*/ 915476 w 972214"/>
                    <a:gd name="connsiteY590" fmla="*/ 489611 h 1198010"/>
                    <a:gd name="connsiteX591" fmla="*/ 914677 w 972214"/>
                    <a:gd name="connsiteY591" fmla="*/ 490524 h 1198010"/>
                    <a:gd name="connsiteX592" fmla="*/ 913259 w 972214"/>
                    <a:gd name="connsiteY592" fmla="*/ 490019 h 1198010"/>
                    <a:gd name="connsiteX593" fmla="*/ 913300 w 972214"/>
                    <a:gd name="connsiteY593" fmla="*/ 493621 h 1198010"/>
                    <a:gd name="connsiteX594" fmla="*/ 909975 w 972214"/>
                    <a:gd name="connsiteY594" fmla="*/ 499310 h 1198010"/>
                    <a:gd name="connsiteX595" fmla="*/ 908956 w 972214"/>
                    <a:gd name="connsiteY595" fmla="*/ 500157 h 1198010"/>
                    <a:gd name="connsiteX596" fmla="*/ 908980 w 972214"/>
                    <a:gd name="connsiteY596" fmla="*/ 498544 h 1198010"/>
                    <a:gd name="connsiteX597" fmla="*/ 909559 w 972214"/>
                    <a:gd name="connsiteY597" fmla="*/ 497321 h 1198010"/>
                    <a:gd name="connsiteX598" fmla="*/ 909828 w 972214"/>
                    <a:gd name="connsiteY598" fmla="*/ 496009 h 1198010"/>
                    <a:gd name="connsiteX599" fmla="*/ 909803 w 972214"/>
                    <a:gd name="connsiteY599" fmla="*/ 494452 h 1198010"/>
                    <a:gd name="connsiteX600" fmla="*/ 908875 w 972214"/>
                    <a:gd name="connsiteY600" fmla="*/ 495593 h 1198010"/>
                    <a:gd name="connsiteX601" fmla="*/ 906910 w 972214"/>
                    <a:gd name="connsiteY601" fmla="*/ 499856 h 1198010"/>
                    <a:gd name="connsiteX602" fmla="*/ 907571 w 972214"/>
                    <a:gd name="connsiteY602" fmla="*/ 502993 h 1198010"/>
                    <a:gd name="connsiteX603" fmla="*/ 906144 w 972214"/>
                    <a:gd name="connsiteY603" fmla="*/ 507720 h 1198010"/>
                    <a:gd name="connsiteX604" fmla="*/ 900708 w 972214"/>
                    <a:gd name="connsiteY604" fmla="*/ 521232 h 1198010"/>
                    <a:gd name="connsiteX605" fmla="*/ 894050 w 972214"/>
                    <a:gd name="connsiteY605" fmla="*/ 532601 h 1198010"/>
                    <a:gd name="connsiteX606" fmla="*/ 892518 w 972214"/>
                    <a:gd name="connsiteY606" fmla="*/ 536114 h 1198010"/>
                    <a:gd name="connsiteX607" fmla="*/ 887049 w 972214"/>
                    <a:gd name="connsiteY607" fmla="*/ 543775 h 1198010"/>
                    <a:gd name="connsiteX608" fmla="*/ 883032 w 972214"/>
                    <a:gd name="connsiteY608" fmla="*/ 547475 h 1198010"/>
                    <a:gd name="connsiteX609" fmla="*/ 881899 w 972214"/>
                    <a:gd name="connsiteY609" fmla="*/ 547499 h 1198010"/>
                    <a:gd name="connsiteX610" fmla="*/ 880619 w 972214"/>
                    <a:gd name="connsiteY610" fmla="*/ 547189 h 1198010"/>
                    <a:gd name="connsiteX611" fmla="*/ 879975 w 972214"/>
                    <a:gd name="connsiteY611" fmla="*/ 541281 h 1198010"/>
                    <a:gd name="connsiteX612" fmla="*/ 876781 w 972214"/>
                    <a:gd name="connsiteY612" fmla="*/ 537719 h 1198010"/>
                    <a:gd name="connsiteX613" fmla="*/ 875860 w 972214"/>
                    <a:gd name="connsiteY613" fmla="*/ 537092 h 1198010"/>
                    <a:gd name="connsiteX614" fmla="*/ 874548 w 972214"/>
                    <a:gd name="connsiteY614" fmla="*/ 540873 h 1198010"/>
                    <a:gd name="connsiteX615" fmla="*/ 873448 w 972214"/>
                    <a:gd name="connsiteY615" fmla="*/ 541900 h 1198010"/>
                    <a:gd name="connsiteX616" fmla="*/ 871866 w 972214"/>
                    <a:gd name="connsiteY616" fmla="*/ 542128 h 1198010"/>
                    <a:gd name="connsiteX617" fmla="*/ 873562 w 972214"/>
                    <a:gd name="connsiteY617" fmla="*/ 543775 h 1198010"/>
                    <a:gd name="connsiteX618" fmla="*/ 874059 w 972214"/>
                    <a:gd name="connsiteY618" fmla="*/ 545665 h 1198010"/>
                    <a:gd name="connsiteX619" fmla="*/ 872331 w 972214"/>
                    <a:gd name="connsiteY619" fmla="*/ 549488 h 1198010"/>
                    <a:gd name="connsiteX620" fmla="*/ 872282 w 972214"/>
                    <a:gd name="connsiteY620" fmla="*/ 552951 h 1198010"/>
                    <a:gd name="connsiteX621" fmla="*/ 869210 w 972214"/>
                    <a:gd name="connsiteY621" fmla="*/ 556782 h 1198010"/>
                    <a:gd name="connsiteX622" fmla="*/ 867433 w 972214"/>
                    <a:gd name="connsiteY622" fmla="*/ 559569 h 1198010"/>
                    <a:gd name="connsiteX623" fmla="*/ 866528 w 972214"/>
                    <a:gd name="connsiteY623" fmla="*/ 563081 h 1198010"/>
                    <a:gd name="connsiteX624" fmla="*/ 865982 w 972214"/>
                    <a:gd name="connsiteY624" fmla="*/ 566341 h 1198010"/>
                    <a:gd name="connsiteX625" fmla="*/ 867335 w 972214"/>
                    <a:gd name="connsiteY625" fmla="*/ 565461 h 1198010"/>
                    <a:gd name="connsiteX626" fmla="*/ 867979 w 972214"/>
                    <a:gd name="connsiteY626" fmla="*/ 566146 h 1198010"/>
                    <a:gd name="connsiteX627" fmla="*/ 868484 w 972214"/>
                    <a:gd name="connsiteY627" fmla="*/ 567164 h 1198010"/>
                    <a:gd name="connsiteX628" fmla="*/ 868175 w 972214"/>
                    <a:gd name="connsiteY628" fmla="*/ 568664 h 1198010"/>
                    <a:gd name="connsiteX629" fmla="*/ 867180 w 972214"/>
                    <a:gd name="connsiteY629" fmla="*/ 571516 h 1198010"/>
                    <a:gd name="connsiteX630" fmla="*/ 867335 w 972214"/>
                    <a:gd name="connsiteY630" fmla="*/ 578590 h 1198010"/>
                    <a:gd name="connsiteX631" fmla="*/ 867001 w 972214"/>
                    <a:gd name="connsiteY631" fmla="*/ 580196 h 1198010"/>
                    <a:gd name="connsiteX632" fmla="*/ 867987 w 972214"/>
                    <a:gd name="connsiteY632" fmla="*/ 581932 h 1198010"/>
                    <a:gd name="connsiteX633" fmla="*/ 869022 w 972214"/>
                    <a:gd name="connsiteY633" fmla="*/ 578973 h 1198010"/>
                    <a:gd name="connsiteX634" fmla="*/ 869625 w 972214"/>
                    <a:gd name="connsiteY634" fmla="*/ 579796 h 1198010"/>
                    <a:gd name="connsiteX635" fmla="*/ 866716 w 972214"/>
                    <a:gd name="connsiteY635" fmla="*/ 598777 h 1198010"/>
                    <a:gd name="connsiteX636" fmla="*/ 867865 w 972214"/>
                    <a:gd name="connsiteY636" fmla="*/ 607326 h 1198010"/>
                    <a:gd name="connsiteX637" fmla="*/ 868289 w 972214"/>
                    <a:gd name="connsiteY637" fmla="*/ 617024 h 1198010"/>
                    <a:gd name="connsiteX638" fmla="*/ 869601 w 972214"/>
                    <a:gd name="connsiteY638" fmla="*/ 626478 h 1198010"/>
                    <a:gd name="connsiteX639" fmla="*/ 871035 w 972214"/>
                    <a:gd name="connsiteY639" fmla="*/ 634954 h 1198010"/>
                    <a:gd name="connsiteX640" fmla="*/ 871157 w 972214"/>
                    <a:gd name="connsiteY640" fmla="*/ 635647 h 1198010"/>
                    <a:gd name="connsiteX641" fmla="*/ 869169 w 972214"/>
                    <a:gd name="connsiteY641" fmla="*/ 645475 h 1198010"/>
                    <a:gd name="connsiteX642" fmla="*/ 866626 w 972214"/>
                    <a:gd name="connsiteY642" fmla="*/ 655181 h 1198010"/>
                    <a:gd name="connsiteX643" fmla="*/ 865094 w 972214"/>
                    <a:gd name="connsiteY643" fmla="*/ 663119 h 1198010"/>
                    <a:gd name="connsiteX644" fmla="*/ 864132 w 972214"/>
                    <a:gd name="connsiteY644" fmla="*/ 671685 h 1198010"/>
                    <a:gd name="connsiteX645" fmla="*/ 863163 w 972214"/>
                    <a:gd name="connsiteY645" fmla="*/ 675800 h 1198010"/>
                    <a:gd name="connsiteX646" fmla="*/ 862853 w 972214"/>
                    <a:gd name="connsiteY646" fmla="*/ 680030 h 1198010"/>
                    <a:gd name="connsiteX647" fmla="*/ 863961 w 972214"/>
                    <a:gd name="connsiteY647" fmla="*/ 690030 h 1198010"/>
                    <a:gd name="connsiteX648" fmla="*/ 864369 w 972214"/>
                    <a:gd name="connsiteY648" fmla="*/ 691920 h 1198010"/>
                    <a:gd name="connsiteX649" fmla="*/ 861288 w 972214"/>
                    <a:gd name="connsiteY649" fmla="*/ 696378 h 1198010"/>
                    <a:gd name="connsiteX650" fmla="*/ 857955 w 972214"/>
                    <a:gd name="connsiteY650" fmla="*/ 698546 h 1198010"/>
                    <a:gd name="connsiteX651" fmla="*/ 856121 w 972214"/>
                    <a:gd name="connsiteY651" fmla="*/ 700706 h 1198010"/>
                    <a:gd name="connsiteX652" fmla="*/ 852054 w 972214"/>
                    <a:gd name="connsiteY652" fmla="*/ 708750 h 1198010"/>
                    <a:gd name="connsiteX653" fmla="*/ 849846 w 972214"/>
                    <a:gd name="connsiteY653" fmla="*/ 720656 h 1198010"/>
                    <a:gd name="connsiteX654" fmla="*/ 849789 w 972214"/>
                    <a:gd name="connsiteY654" fmla="*/ 727005 h 1198010"/>
                    <a:gd name="connsiteX655" fmla="*/ 850832 w 972214"/>
                    <a:gd name="connsiteY655" fmla="*/ 740289 h 1198010"/>
                    <a:gd name="connsiteX656" fmla="*/ 850050 w 972214"/>
                    <a:gd name="connsiteY656" fmla="*/ 745717 h 1198010"/>
                    <a:gd name="connsiteX657" fmla="*/ 848762 w 972214"/>
                    <a:gd name="connsiteY657" fmla="*/ 749352 h 1198010"/>
                    <a:gd name="connsiteX658" fmla="*/ 847238 w 972214"/>
                    <a:gd name="connsiteY658" fmla="*/ 751731 h 1198010"/>
                    <a:gd name="connsiteX659" fmla="*/ 843351 w 972214"/>
                    <a:gd name="connsiteY659" fmla="*/ 754608 h 1198010"/>
                    <a:gd name="connsiteX660" fmla="*/ 839871 w 972214"/>
                    <a:gd name="connsiteY660" fmla="*/ 761576 h 1198010"/>
                    <a:gd name="connsiteX661" fmla="*/ 838355 w 972214"/>
                    <a:gd name="connsiteY661" fmla="*/ 768919 h 1198010"/>
                    <a:gd name="connsiteX662" fmla="*/ 835967 w 972214"/>
                    <a:gd name="connsiteY662" fmla="*/ 771592 h 1198010"/>
                    <a:gd name="connsiteX663" fmla="*/ 835478 w 972214"/>
                    <a:gd name="connsiteY663" fmla="*/ 775708 h 1198010"/>
                    <a:gd name="connsiteX664" fmla="*/ 833555 w 972214"/>
                    <a:gd name="connsiteY664" fmla="*/ 780149 h 1198010"/>
                    <a:gd name="connsiteX665" fmla="*/ 828575 w 972214"/>
                    <a:gd name="connsiteY665" fmla="*/ 786775 h 1198010"/>
                    <a:gd name="connsiteX666" fmla="*/ 825340 w 972214"/>
                    <a:gd name="connsiteY666" fmla="*/ 788707 h 1198010"/>
                    <a:gd name="connsiteX667" fmla="*/ 823799 w 972214"/>
                    <a:gd name="connsiteY667" fmla="*/ 790565 h 1198010"/>
                    <a:gd name="connsiteX668" fmla="*/ 822821 w 972214"/>
                    <a:gd name="connsiteY668" fmla="*/ 794444 h 1198010"/>
                    <a:gd name="connsiteX669" fmla="*/ 819700 w 972214"/>
                    <a:gd name="connsiteY669" fmla="*/ 800850 h 1198010"/>
                    <a:gd name="connsiteX670" fmla="*/ 817402 w 972214"/>
                    <a:gd name="connsiteY670" fmla="*/ 809154 h 1198010"/>
                    <a:gd name="connsiteX671" fmla="*/ 817997 w 972214"/>
                    <a:gd name="connsiteY671" fmla="*/ 811974 h 1198010"/>
                    <a:gd name="connsiteX672" fmla="*/ 818029 w 972214"/>
                    <a:gd name="connsiteY672" fmla="*/ 812422 h 1198010"/>
                    <a:gd name="connsiteX673" fmla="*/ 818877 w 972214"/>
                    <a:gd name="connsiteY673" fmla="*/ 822031 h 1198010"/>
                    <a:gd name="connsiteX674" fmla="*/ 818559 w 972214"/>
                    <a:gd name="connsiteY674" fmla="*/ 824476 h 1198010"/>
                    <a:gd name="connsiteX675" fmla="*/ 815527 w 972214"/>
                    <a:gd name="connsiteY675" fmla="*/ 827133 h 1198010"/>
                    <a:gd name="connsiteX676" fmla="*/ 804110 w 972214"/>
                    <a:gd name="connsiteY676" fmla="*/ 832071 h 1198010"/>
                    <a:gd name="connsiteX677" fmla="*/ 801070 w 972214"/>
                    <a:gd name="connsiteY677" fmla="*/ 834125 h 1198010"/>
                    <a:gd name="connsiteX678" fmla="*/ 794249 w 972214"/>
                    <a:gd name="connsiteY678" fmla="*/ 842568 h 1198010"/>
                    <a:gd name="connsiteX679" fmla="*/ 793825 w 972214"/>
                    <a:gd name="connsiteY679" fmla="*/ 844549 h 1198010"/>
                    <a:gd name="connsiteX680" fmla="*/ 794110 w 972214"/>
                    <a:gd name="connsiteY680" fmla="*/ 847385 h 1198010"/>
                    <a:gd name="connsiteX681" fmla="*/ 795235 w 972214"/>
                    <a:gd name="connsiteY681" fmla="*/ 849023 h 1198010"/>
                    <a:gd name="connsiteX682" fmla="*/ 794077 w 972214"/>
                    <a:gd name="connsiteY682" fmla="*/ 850791 h 1198010"/>
                    <a:gd name="connsiteX683" fmla="*/ 792716 w 972214"/>
                    <a:gd name="connsiteY683" fmla="*/ 853978 h 1198010"/>
                    <a:gd name="connsiteX684" fmla="*/ 790728 w 972214"/>
                    <a:gd name="connsiteY684" fmla="*/ 853790 h 1198010"/>
                    <a:gd name="connsiteX685" fmla="*/ 779351 w 972214"/>
                    <a:gd name="connsiteY685" fmla="*/ 853799 h 1198010"/>
                    <a:gd name="connsiteX686" fmla="*/ 773198 w 972214"/>
                    <a:gd name="connsiteY686" fmla="*/ 854801 h 1198010"/>
                    <a:gd name="connsiteX687" fmla="*/ 769995 w 972214"/>
                    <a:gd name="connsiteY687" fmla="*/ 854605 h 1198010"/>
                    <a:gd name="connsiteX688" fmla="*/ 768552 w 972214"/>
                    <a:gd name="connsiteY688" fmla="*/ 853847 h 1198010"/>
                    <a:gd name="connsiteX689" fmla="*/ 766947 w 972214"/>
                    <a:gd name="connsiteY689" fmla="*/ 852601 h 1198010"/>
                    <a:gd name="connsiteX690" fmla="*/ 766458 w 972214"/>
                    <a:gd name="connsiteY690" fmla="*/ 850971 h 1198010"/>
                    <a:gd name="connsiteX691" fmla="*/ 767330 w 972214"/>
                    <a:gd name="connsiteY691" fmla="*/ 848485 h 1198010"/>
                    <a:gd name="connsiteX692" fmla="*/ 766817 w 972214"/>
                    <a:gd name="connsiteY692" fmla="*/ 847010 h 1198010"/>
                    <a:gd name="connsiteX693" fmla="*/ 765130 w 972214"/>
                    <a:gd name="connsiteY693" fmla="*/ 847067 h 1198010"/>
                    <a:gd name="connsiteX694" fmla="*/ 763279 w 972214"/>
                    <a:gd name="connsiteY694" fmla="*/ 847768 h 1198010"/>
                    <a:gd name="connsiteX695" fmla="*/ 762954 w 972214"/>
                    <a:gd name="connsiteY695" fmla="*/ 849259 h 1198010"/>
                    <a:gd name="connsiteX696" fmla="*/ 763084 w 972214"/>
                    <a:gd name="connsiteY696" fmla="*/ 850302 h 1198010"/>
                    <a:gd name="connsiteX697" fmla="*/ 763768 w 972214"/>
                    <a:gd name="connsiteY697" fmla="*/ 851835 h 1198010"/>
                    <a:gd name="connsiteX698" fmla="*/ 764143 w 972214"/>
                    <a:gd name="connsiteY698" fmla="*/ 853717 h 1198010"/>
                    <a:gd name="connsiteX699" fmla="*/ 763385 w 972214"/>
                    <a:gd name="connsiteY699" fmla="*/ 855355 h 1198010"/>
                    <a:gd name="connsiteX700" fmla="*/ 759783 w 972214"/>
                    <a:gd name="connsiteY700" fmla="*/ 855559 h 1198010"/>
                    <a:gd name="connsiteX701" fmla="*/ 755733 w 972214"/>
                    <a:gd name="connsiteY701" fmla="*/ 857075 h 1198010"/>
                    <a:gd name="connsiteX702" fmla="*/ 750680 w 972214"/>
                    <a:gd name="connsiteY702" fmla="*/ 857694 h 1198010"/>
                    <a:gd name="connsiteX703" fmla="*/ 746654 w 972214"/>
                    <a:gd name="connsiteY703" fmla="*/ 858794 h 1198010"/>
                    <a:gd name="connsiteX704" fmla="*/ 744788 w 972214"/>
                    <a:gd name="connsiteY704" fmla="*/ 857417 h 1198010"/>
                    <a:gd name="connsiteX705" fmla="*/ 746654 w 972214"/>
                    <a:gd name="connsiteY705" fmla="*/ 856732 h 1198010"/>
                    <a:gd name="connsiteX706" fmla="*/ 749319 w 972214"/>
                    <a:gd name="connsiteY706" fmla="*/ 857067 h 1198010"/>
                    <a:gd name="connsiteX707" fmla="*/ 752179 w 972214"/>
                    <a:gd name="connsiteY707" fmla="*/ 855917 h 1198010"/>
                    <a:gd name="connsiteX708" fmla="*/ 751511 w 972214"/>
                    <a:gd name="connsiteY708" fmla="*/ 854573 h 1198010"/>
                    <a:gd name="connsiteX709" fmla="*/ 747461 w 972214"/>
                    <a:gd name="connsiteY709" fmla="*/ 852829 h 1198010"/>
                    <a:gd name="connsiteX710" fmla="*/ 742962 w 972214"/>
                    <a:gd name="connsiteY710" fmla="*/ 853905 h 1198010"/>
                    <a:gd name="connsiteX711" fmla="*/ 740468 w 972214"/>
                    <a:gd name="connsiteY711" fmla="*/ 855966 h 1198010"/>
                    <a:gd name="connsiteX712" fmla="*/ 735008 w 972214"/>
                    <a:gd name="connsiteY712" fmla="*/ 855787 h 1198010"/>
                    <a:gd name="connsiteX713" fmla="*/ 728333 w 972214"/>
                    <a:gd name="connsiteY713" fmla="*/ 857360 h 1198010"/>
                    <a:gd name="connsiteX714" fmla="*/ 727241 w 972214"/>
                    <a:gd name="connsiteY714" fmla="*/ 858966 h 1198010"/>
                    <a:gd name="connsiteX715" fmla="*/ 727421 w 972214"/>
                    <a:gd name="connsiteY715" fmla="*/ 862070 h 1198010"/>
                    <a:gd name="connsiteX716" fmla="*/ 728725 w 972214"/>
                    <a:gd name="connsiteY716" fmla="*/ 862747 h 1198010"/>
                    <a:gd name="connsiteX717" fmla="*/ 730004 w 972214"/>
                    <a:gd name="connsiteY717" fmla="*/ 864173 h 1198010"/>
                    <a:gd name="connsiteX718" fmla="*/ 728782 w 972214"/>
                    <a:gd name="connsiteY718" fmla="*/ 865493 h 1198010"/>
                    <a:gd name="connsiteX719" fmla="*/ 727584 w 972214"/>
                    <a:gd name="connsiteY719" fmla="*/ 866080 h 1198010"/>
                    <a:gd name="connsiteX720" fmla="*/ 720534 w 972214"/>
                    <a:gd name="connsiteY720" fmla="*/ 867523 h 1198010"/>
                    <a:gd name="connsiteX721" fmla="*/ 713990 w 972214"/>
                    <a:gd name="connsiteY721" fmla="*/ 873586 h 1198010"/>
                    <a:gd name="connsiteX722" fmla="*/ 711268 w 972214"/>
                    <a:gd name="connsiteY722" fmla="*/ 874352 h 1198010"/>
                    <a:gd name="connsiteX723" fmla="*/ 708839 w 972214"/>
                    <a:gd name="connsiteY723" fmla="*/ 877025 h 1198010"/>
                    <a:gd name="connsiteX724" fmla="*/ 708587 w 972214"/>
                    <a:gd name="connsiteY724" fmla="*/ 879307 h 1198010"/>
                    <a:gd name="connsiteX725" fmla="*/ 707821 w 972214"/>
                    <a:gd name="connsiteY725" fmla="*/ 880684 h 1198010"/>
                    <a:gd name="connsiteX726" fmla="*/ 706264 w 972214"/>
                    <a:gd name="connsiteY726" fmla="*/ 880766 h 1198010"/>
                    <a:gd name="connsiteX727" fmla="*/ 702857 w 972214"/>
                    <a:gd name="connsiteY727" fmla="*/ 879511 h 1198010"/>
                    <a:gd name="connsiteX728" fmla="*/ 698432 w 972214"/>
                    <a:gd name="connsiteY728" fmla="*/ 879470 h 1198010"/>
                    <a:gd name="connsiteX729" fmla="*/ 695237 w 972214"/>
                    <a:gd name="connsiteY729" fmla="*/ 880465 h 1198010"/>
                    <a:gd name="connsiteX730" fmla="*/ 678897 w 972214"/>
                    <a:gd name="connsiteY730" fmla="*/ 890309 h 1198010"/>
                    <a:gd name="connsiteX731" fmla="*/ 673029 w 972214"/>
                    <a:gd name="connsiteY731" fmla="*/ 894254 h 1198010"/>
                    <a:gd name="connsiteX732" fmla="*/ 666338 w 972214"/>
                    <a:gd name="connsiteY732" fmla="*/ 902298 h 1198010"/>
                    <a:gd name="connsiteX733" fmla="*/ 655051 w 972214"/>
                    <a:gd name="connsiteY733" fmla="*/ 911327 h 1198010"/>
                    <a:gd name="connsiteX734" fmla="*/ 649126 w 972214"/>
                    <a:gd name="connsiteY734" fmla="*/ 916731 h 1198010"/>
                    <a:gd name="connsiteX735" fmla="*/ 647993 w 972214"/>
                    <a:gd name="connsiteY735" fmla="*/ 918124 h 1198010"/>
                    <a:gd name="connsiteX736" fmla="*/ 647056 w 972214"/>
                    <a:gd name="connsiteY736" fmla="*/ 918206 h 1198010"/>
                    <a:gd name="connsiteX737" fmla="*/ 645198 w 972214"/>
                    <a:gd name="connsiteY737" fmla="*/ 919339 h 1198010"/>
                    <a:gd name="connsiteX738" fmla="*/ 645940 w 972214"/>
                    <a:gd name="connsiteY738" fmla="*/ 920268 h 1198010"/>
                    <a:gd name="connsiteX739" fmla="*/ 647203 w 972214"/>
                    <a:gd name="connsiteY739" fmla="*/ 920349 h 1198010"/>
                    <a:gd name="connsiteX740" fmla="*/ 646689 w 972214"/>
                    <a:gd name="connsiteY740" fmla="*/ 923495 h 1198010"/>
                    <a:gd name="connsiteX741" fmla="*/ 644326 w 972214"/>
                    <a:gd name="connsiteY741" fmla="*/ 925655 h 1198010"/>
                    <a:gd name="connsiteX742" fmla="*/ 639909 w 972214"/>
                    <a:gd name="connsiteY742" fmla="*/ 931311 h 1198010"/>
                    <a:gd name="connsiteX743" fmla="*/ 638923 w 972214"/>
                    <a:gd name="connsiteY743" fmla="*/ 930887 h 1198010"/>
                    <a:gd name="connsiteX744" fmla="*/ 640316 w 972214"/>
                    <a:gd name="connsiteY744" fmla="*/ 927953 h 1198010"/>
                    <a:gd name="connsiteX745" fmla="*/ 638148 w 972214"/>
                    <a:gd name="connsiteY745" fmla="*/ 927839 h 1198010"/>
                    <a:gd name="connsiteX746" fmla="*/ 634929 w 972214"/>
                    <a:gd name="connsiteY746" fmla="*/ 926649 h 1198010"/>
                    <a:gd name="connsiteX747" fmla="*/ 633536 w 972214"/>
                    <a:gd name="connsiteY747" fmla="*/ 927863 h 1198010"/>
                    <a:gd name="connsiteX748" fmla="*/ 634302 w 972214"/>
                    <a:gd name="connsiteY748" fmla="*/ 930773 h 1198010"/>
                    <a:gd name="connsiteX749" fmla="*/ 633104 w 972214"/>
                    <a:gd name="connsiteY749" fmla="*/ 932011 h 1198010"/>
                    <a:gd name="connsiteX750" fmla="*/ 630920 w 972214"/>
                    <a:gd name="connsiteY750" fmla="*/ 932166 h 1198010"/>
                    <a:gd name="connsiteX751" fmla="*/ 628939 w 972214"/>
                    <a:gd name="connsiteY751" fmla="*/ 931824 h 1198010"/>
                    <a:gd name="connsiteX752" fmla="*/ 626763 w 972214"/>
                    <a:gd name="connsiteY752" fmla="*/ 929681 h 1198010"/>
                    <a:gd name="connsiteX753" fmla="*/ 627749 w 972214"/>
                    <a:gd name="connsiteY753" fmla="*/ 933552 h 1198010"/>
                    <a:gd name="connsiteX754" fmla="*/ 632338 w 972214"/>
                    <a:gd name="connsiteY754" fmla="*/ 934481 h 1198010"/>
                    <a:gd name="connsiteX755" fmla="*/ 634253 w 972214"/>
                    <a:gd name="connsiteY755" fmla="*/ 935394 h 1198010"/>
                    <a:gd name="connsiteX756" fmla="*/ 634962 w 972214"/>
                    <a:gd name="connsiteY756" fmla="*/ 936885 h 1198010"/>
                    <a:gd name="connsiteX757" fmla="*/ 631392 w 972214"/>
                    <a:gd name="connsiteY757" fmla="*/ 943764 h 1198010"/>
                    <a:gd name="connsiteX758" fmla="*/ 628401 w 972214"/>
                    <a:gd name="connsiteY758" fmla="*/ 944652 h 1198010"/>
                    <a:gd name="connsiteX759" fmla="*/ 628067 w 972214"/>
                    <a:gd name="connsiteY759" fmla="*/ 945630 h 1198010"/>
                    <a:gd name="connsiteX760" fmla="*/ 629713 w 972214"/>
                    <a:gd name="connsiteY760" fmla="*/ 945630 h 1198010"/>
                    <a:gd name="connsiteX761" fmla="*/ 630618 w 972214"/>
                    <a:gd name="connsiteY761" fmla="*/ 947521 h 1198010"/>
                    <a:gd name="connsiteX762" fmla="*/ 629550 w 972214"/>
                    <a:gd name="connsiteY762" fmla="*/ 955222 h 1198010"/>
                    <a:gd name="connsiteX763" fmla="*/ 628075 w 972214"/>
                    <a:gd name="connsiteY763" fmla="*/ 956681 h 1198010"/>
                    <a:gd name="connsiteX764" fmla="*/ 627212 w 972214"/>
                    <a:gd name="connsiteY764" fmla="*/ 956722 h 1198010"/>
                    <a:gd name="connsiteX765" fmla="*/ 626356 w 972214"/>
                    <a:gd name="connsiteY765" fmla="*/ 958042 h 1198010"/>
                    <a:gd name="connsiteX766" fmla="*/ 627537 w 972214"/>
                    <a:gd name="connsiteY766" fmla="*/ 960552 h 1198010"/>
                    <a:gd name="connsiteX767" fmla="*/ 628752 w 972214"/>
                    <a:gd name="connsiteY767" fmla="*/ 962402 h 1198010"/>
                    <a:gd name="connsiteX768" fmla="*/ 628589 w 972214"/>
                    <a:gd name="connsiteY768" fmla="*/ 965963 h 1198010"/>
                    <a:gd name="connsiteX769" fmla="*/ 628132 w 972214"/>
                    <a:gd name="connsiteY769" fmla="*/ 968905 h 1198010"/>
                    <a:gd name="connsiteX770" fmla="*/ 628100 w 972214"/>
                    <a:gd name="connsiteY770" fmla="*/ 971774 h 1198010"/>
                    <a:gd name="connsiteX771" fmla="*/ 629640 w 972214"/>
                    <a:gd name="connsiteY771" fmla="*/ 977316 h 1198010"/>
                    <a:gd name="connsiteX772" fmla="*/ 630186 w 972214"/>
                    <a:gd name="connsiteY772" fmla="*/ 983012 h 1198010"/>
                    <a:gd name="connsiteX773" fmla="*/ 630814 w 972214"/>
                    <a:gd name="connsiteY773" fmla="*/ 985082 h 1198010"/>
                    <a:gd name="connsiteX774" fmla="*/ 631164 w 972214"/>
                    <a:gd name="connsiteY774" fmla="*/ 987389 h 1198010"/>
                    <a:gd name="connsiteX775" fmla="*/ 630145 w 972214"/>
                    <a:gd name="connsiteY775" fmla="*/ 989532 h 1198010"/>
                    <a:gd name="connsiteX776" fmla="*/ 630724 w 972214"/>
                    <a:gd name="connsiteY776" fmla="*/ 992996 h 1198010"/>
                    <a:gd name="connsiteX777" fmla="*/ 628980 w 972214"/>
                    <a:gd name="connsiteY777" fmla="*/ 998872 h 1198010"/>
                    <a:gd name="connsiteX778" fmla="*/ 629893 w 972214"/>
                    <a:gd name="connsiteY778" fmla="*/ 1007356 h 1198010"/>
                    <a:gd name="connsiteX779" fmla="*/ 629518 w 972214"/>
                    <a:gd name="connsiteY779" fmla="*/ 1015310 h 1198010"/>
                    <a:gd name="connsiteX780" fmla="*/ 628833 w 972214"/>
                    <a:gd name="connsiteY780" fmla="*/ 1019515 h 1198010"/>
                    <a:gd name="connsiteX781" fmla="*/ 627725 w 972214"/>
                    <a:gd name="connsiteY781" fmla="*/ 1022791 h 1198010"/>
                    <a:gd name="connsiteX782" fmla="*/ 625142 w 972214"/>
                    <a:gd name="connsiteY782" fmla="*/ 1027005 h 1198010"/>
                    <a:gd name="connsiteX783" fmla="*/ 625084 w 972214"/>
                    <a:gd name="connsiteY783" fmla="*/ 1031243 h 1198010"/>
                    <a:gd name="connsiteX784" fmla="*/ 619526 w 972214"/>
                    <a:gd name="connsiteY784" fmla="*/ 1035171 h 1198010"/>
                    <a:gd name="connsiteX785" fmla="*/ 613381 w 972214"/>
                    <a:gd name="connsiteY785" fmla="*/ 1040688 h 1198010"/>
                    <a:gd name="connsiteX786" fmla="*/ 607717 w 972214"/>
                    <a:gd name="connsiteY786" fmla="*/ 1047192 h 1198010"/>
                    <a:gd name="connsiteX787" fmla="*/ 601613 w 972214"/>
                    <a:gd name="connsiteY787" fmla="*/ 1056409 h 1198010"/>
                    <a:gd name="connsiteX788" fmla="*/ 594482 w 972214"/>
                    <a:gd name="connsiteY788" fmla="*/ 1070427 h 1198010"/>
                    <a:gd name="connsiteX789" fmla="*/ 587881 w 972214"/>
                    <a:gd name="connsiteY789" fmla="*/ 1090491 h 1198010"/>
                    <a:gd name="connsiteX790" fmla="*/ 579935 w 972214"/>
                    <a:gd name="connsiteY790" fmla="*/ 1105674 h 1198010"/>
                    <a:gd name="connsiteX791" fmla="*/ 576757 w 972214"/>
                    <a:gd name="connsiteY791" fmla="*/ 1111167 h 1198010"/>
                    <a:gd name="connsiteX792" fmla="*/ 572462 w 972214"/>
                    <a:gd name="connsiteY792" fmla="*/ 1117304 h 1198010"/>
                    <a:gd name="connsiteX793" fmla="*/ 566749 w 972214"/>
                    <a:gd name="connsiteY793" fmla="*/ 1124484 h 1198010"/>
                    <a:gd name="connsiteX794" fmla="*/ 559096 w 972214"/>
                    <a:gd name="connsiteY794" fmla="*/ 1131664 h 1198010"/>
                    <a:gd name="connsiteX795" fmla="*/ 550718 w 972214"/>
                    <a:gd name="connsiteY795" fmla="*/ 1138069 h 1198010"/>
                    <a:gd name="connsiteX796" fmla="*/ 547694 w 972214"/>
                    <a:gd name="connsiteY796" fmla="*/ 1140954 h 1198010"/>
                    <a:gd name="connsiteX797" fmla="*/ 544744 w 972214"/>
                    <a:gd name="connsiteY797" fmla="*/ 1145005 h 1198010"/>
                    <a:gd name="connsiteX798" fmla="*/ 544011 w 972214"/>
                    <a:gd name="connsiteY798" fmla="*/ 1143334 h 1198010"/>
                    <a:gd name="connsiteX799" fmla="*/ 544655 w 972214"/>
                    <a:gd name="connsiteY799" fmla="*/ 1140571 h 1198010"/>
                    <a:gd name="connsiteX800" fmla="*/ 544247 w 972214"/>
                    <a:gd name="connsiteY800" fmla="*/ 1138485 h 1198010"/>
                    <a:gd name="connsiteX801" fmla="*/ 544158 w 972214"/>
                    <a:gd name="connsiteY801" fmla="*/ 1135796 h 1198010"/>
                    <a:gd name="connsiteX802" fmla="*/ 545845 w 972214"/>
                    <a:gd name="connsiteY802" fmla="*/ 1135290 h 1198010"/>
                    <a:gd name="connsiteX803" fmla="*/ 548379 w 972214"/>
                    <a:gd name="connsiteY803" fmla="*/ 1137010 h 1198010"/>
                    <a:gd name="connsiteX804" fmla="*/ 549667 w 972214"/>
                    <a:gd name="connsiteY804" fmla="*/ 1135845 h 1198010"/>
                    <a:gd name="connsiteX805" fmla="*/ 550604 w 972214"/>
                    <a:gd name="connsiteY805" fmla="*/ 1134695 h 1198010"/>
                    <a:gd name="connsiteX806" fmla="*/ 553652 w 972214"/>
                    <a:gd name="connsiteY806" fmla="*/ 1133986 h 1198010"/>
                    <a:gd name="connsiteX807" fmla="*/ 559463 w 972214"/>
                    <a:gd name="connsiteY807" fmla="*/ 1126945 h 1198010"/>
                    <a:gd name="connsiteX808" fmla="*/ 563774 w 972214"/>
                    <a:gd name="connsiteY808" fmla="*/ 1124362 h 1198010"/>
                    <a:gd name="connsiteX809" fmla="*/ 566203 w 972214"/>
                    <a:gd name="connsiteY809" fmla="*/ 1119920 h 1198010"/>
                    <a:gd name="connsiteX810" fmla="*/ 566618 w 972214"/>
                    <a:gd name="connsiteY810" fmla="*/ 1117573 h 1198010"/>
                    <a:gd name="connsiteX811" fmla="*/ 566520 w 972214"/>
                    <a:gd name="connsiteY811" fmla="*/ 1112797 h 1198010"/>
                    <a:gd name="connsiteX812" fmla="*/ 567890 w 972214"/>
                    <a:gd name="connsiteY812" fmla="*/ 1111583 h 1198010"/>
                    <a:gd name="connsiteX813" fmla="*/ 571019 w 972214"/>
                    <a:gd name="connsiteY813" fmla="*/ 1112006 h 1198010"/>
                    <a:gd name="connsiteX814" fmla="*/ 571655 w 972214"/>
                    <a:gd name="connsiteY814" fmla="*/ 1110654 h 1198010"/>
                    <a:gd name="connsiteX815" fmla="*/ 571378 w 972214"/>
                    <a:gd name="connsiteY815" fmla="*/ 1109146 h 1198010"/>
                    <a:gd name="connsiteX816" fmla="*/ 571989 w 972214"/>
                    <a:gd name="connsiteY816" fmla="*/ 1105862 h 1198010"/>
                    <a:gd name="connsiteX817" fmla="*/ 576227 w 972214"/>
                    <a:gd name="connsiteY817" fmla="*/ 1102960 h 1198010"/>
                    <a:gd name="connsiteX818" fmla="*/ 578232 w 972214"/>
                    <a:gd name="connsiteY818" fmla="*/ 1099431 h 1198010"/>
                    <a:gd name="connsiteX819" fmla="*/ 577555 w 972214"/>
                    <a:gd name="connsiteY819" fmla="*/ 1090483 h 1198010"/>
                    <a:gd name="connsiteX820" fmla="*/ 578329 w 972214"/>
                    <a:gd name="connsiteY820" fmla="*/ 1090084 h 1198010"/>
                    <a:gd name="connsiteX821" fmla="*/ 580074 w 972214"/>
                    <a:gd name="connsiteY821" fmla="*/ 1091477 h 1198010"/>
                    <a:gd name="connsiteX822" fmla="*/ 580888 w 972214"/>
                    <a:gd name="connsiteY822" fmla="*/ 1090907 h 1198010"/>
                    <a:gd name="connsiteX823" fmla="*/ 581769 w 972214"/>
                    <a:gd name="connsiteY823" fmla="*/ 1086979 h 1198010"/>
                    <a:gd name="connsiteX824" fmla="*/ 581345 w 972214"/>
                    <a:gd name="connsiteY824" fmla="*/ 1084949 h 1198010"/>
                    <a:gd name="connsiteX825" fmla="*/ 579299 w 972214"/>
                    <a:gd name="connsiteY825" fmla="*/ 1084412 h 1198010"/>
                    <a:gd name="connsiteX826" fmla="*/ 572209 w 972214"/>
                    <a:gd name="connsiteY826" fmla="*/ 1088829 h 1198010"/>
                    <a:gd name="connsiteX827" fmla="*/ 569903 w 972214"/>
                    <a:gd name="connsiteY827" fmla="*/ 1088658 h 1198010"/>
                    <a:gd name="connsiteX828" fmla="*/ 569528 w 972214"/>
                    <a:gd name="connsiteY828" fmla="*/ 1085186 h 1198010"/>
                    <a:gd name="connsiteX829" fmla="*/ 566080 w 972214"/>
                    <a:gd name="connsiteY829" fmla="*/ 1083588 h 1198010"/>
                    <a:gd name="connsiteX830" fmla="*/ 564727 w 972214"/>
                    <a:gd name="connsiteY830" fmla="*/ 1080712 h 1198010"/>
                    <a:gd name="connsiteX831" fmla="*/ 564328 w 972214"/>
                    <a:gd name="connsiteY831" fmla="*/ 1078739 h 1198010"/>
                    <a:gd name="connsiteX832" fmla="*/ 563130 w 972214"/>
                    <a:gd name="connsiteY832" fmla="*/ 1077932 h 1198010"/>
                    <a:gd name="connsiteX833" fmla="*/ 563204 w 972214"/>
                    <a:gd name="connsiteY833" fmla="*/ 1081331 h 1198010"/>
                    <a:gd name="connsiteX834" fmla="*/ 563530 w 972214"/>
                    <a:gd name="connsiteY834" fmla="*/ 1084648 h 1198010"/>
                    <a:gd name="connsiteX835" fmla="*/ 566618 w 972214"/>
                    <a:gd name="connsiteY835" fmla="*/ 1088511 h 1198010"/>
                    <a:gd name="connsiteX836" fmla="*/ 565868 w 972214"/>
                    <a:gd name="connsiteY836" fmla="*/ 1090043 h 1198010"/>
                    <a:gd name="connsiteX837" fmla="*/ 564410 w 972214"/>
                    <a:gd name="connsiteY837" fmla="*/ 1091828 h 1198010"/>
                    <a:gd name="connsiteX838" fmla="*/ 563391 w 972214"/>
                    <a:gd name="connsiteY838" fmla="*/ 1095805 h 1198010"/>
                    <a:gd name="connsiteX839" fmla="*/ 563505 w 972214"/>
                    <a:gd name="connsiteY839" fmla="*/ 1100972 h 1198010"/>
                    <a:gd name="connsiteX840" fmla="*/ 562674 w 972214"/>
                    <a:gd name="connsiteY840" fmla="*/ 1099407 h 1198010"/>
                    <a:gd name="connsiteX841" fmla="*/ 561614 w 972214"/>
                    <a:gd name="connsiteY841" fmla="*/ 1098494 h 1198010"/>
                    <a:gd name="connsiteX842" fmla="*/ 561191 w 972214"/>
                    <a:gd name="connsiteY842" fmla="*/ 1104044 h 1198010"/>
                    <a:gd name="connsiteX843" fmla="*/ 559137 w 972214"/>
                    <a:gd name="connsiteY843" fmla="*/ 1106171 h 1198010"/>
                    <a:gd name="connsiteX844" fmla="*/ 558493 w 972214"/>
                    <a:gd name="connsiteY844" fmla="*/ 1108258 h 1198010"/>
                    <a:gd name="connsiteX845" fmla="*/ 559023 w 972214"/>
                    <a:gd name="connsiteY845" fmla="*/ 1110678 h 1198010"/>
                    <a:gd name="connsiteX846" fmla="*/ 557963 w 972214"/>
                    <a:gd name="connsiteY846" fmla="*/ 1112365 h 1198010"/>
                    <a:gd name="connsiteX847" fmla="*/ 552739 w 972214"/>
                    <a:gd name="connsiteY847" fmla="*/ 1116856 h 1198010"/>
                    <a:gd name="connsiteX848" fmla="*/ 547532 w 972214"/>
                    <a:gd name="connsiteY848" fmla="*/ 1119920 h 1198010"/>
                    <a:gd name="connsiteX849" fmla="*/ 546399 w 972214"/>
                    <a:gd name="connsiteY849" fmla="*/ 1121371 h 1198010"/>
                    <a:gd name="connsiteX850" fmla="*/ 545845 w 972214"/>
                    <a:gd name="connsiteY850" fmla="*/ 1124810 h 1198010"/>
                    <a:gd name="connsiteX851" fmla="*/ 545054 w 972214"/>
                    <a:gd name="connsiteY851" fmla="*/ 1128339 h 1198010"/>
                    <a:gd name="connsiteX852" fmla="*/ 542748 w 972214"/>
                    <a:gd name="connsiteY852" fmla="*/ 1131435 h 1198010"/>
                    <a:gd name="connsiteX853" fmla="*/ 540922 w 972214"/>
                    <a:gd name="connsiteY853" fmla="*/ 1137613 h 1198010"/>
                    <a:gd name="connsiteX854" fmla="*/ 540963 w 972214"/>
                    <a:gd name="connsiteY854" fmla="*/ 1140262 h 1198010"/>
                    <a:gd name="connsiteX855" fmla="*/ 541574 w 972214"/>
                    <a:gd name="connsiteY855" fmla="*/ 1144174 h 1198010"/>
                    <a:gd name="connsiteX856" fmla="*/ 542560 w 972214"/>
                    <a:gd name="connsiteY856" fmla="*/ 1146749 h 1198010"/>
                    <a:gd name="connsiteX857" fmla="*/ 541004 w 972214"/>
                    <a:gd name="connsiteY857" fmla="*/ 1148468 h 1198010"/>
                    <a:gd name="connsiteX858" fmla="*/ 538909 w 972214"/>
                    <a:gd name="connsiteY858" fmla="*/ 1151810 h 1198010"/>
                    <a:gd name="connsiteX859" fmla="*/ 537247 w 972214"/>
                    <a:gd name="connsiteY859" fmla="*/ 1155575 h 1198010"/>
                    <a:gd name="connsiteX860" fmla="*/ 533107 w 972214"/>
                    <a:gd name="connsiteY860" fmla="*/ 1169723 h 1198010"/>
                    <a:gd name="connsiteX861" fmla="*/ 529537 w 972214"/>
                    <a:gd name="connsiteY861" fmla="*/ 1178280 h 1198010"/>
                    <a:gd name="connsiteX862" fmla="*/ 526799 w 972214"/>
                    <a:gd name="connsiteY862" fmla="*/ 1182469 h 1198010"/>
                    <a:gd name="connsiteX863" fmla="*/ 522879 w 972214"/>
                    <a:gd name="connsiteY863" fmla="*/ 1186894 h 1198010"/>
                    <a:gd name="connsiteX864" fmla="*/ 511722 w 972214"/>
                    <a:gd name="connsiteY864" fmla="*/ 1198011 h 1198010"/>
                    <a:gd name="connsiteX865" fmla="*/ 511053 w 972214"/>
                    <a:gd name="connsiteY865" fmla="*/ 1197848 h 1198010"/>
                    <a:gd name="connsiteX866" fmla="*/ 509415 w 972214"/>
                    <a:gd name="connsiteY866" fmla="*/ 1196951 h 1198010"/>
                    <a:gd name="connsiteX867" fmla="*/ 508046 w 972214"/>
                    <a:gd name="connsiteY867" fmla="*/ 1195883 h 1198010"/>
                    <a:gd name="connsiteX868" fmla="*/ 507728 w 972214"/>
                    <a:gd name="connsiteY868" fmla="*/ 1195175 h 1198010"/>
                    <a:gd name="connsiteX869" fmla="*/ 507573 w 972214"/>
                    <a:gd name="connsiteY869" fmla="*/ 1194099 h 1198010"/>
                    <a:gd name="connsiteX870" fmla="*/ 507753 w 972214"/>
                    <a:gd name="connsiteY870" fmla="*/ 1190097 h 1198010"/>
                    <a:gd name="connsiteX871" fmla="*/ 507728 w 972214"/>
                    <a:gd name="connsiteY871" fmla="*/ 1179364 h 1198010"/>
                    <a:gd name="connsiteX872" fmla="*/ 508217 w 972214"/>
                    <a:gd name="connsiteY872" fmla="*/ 1177335 h 1198010"/>
                    <a:gd name="connsiteX873" fmla="*/ 508935 w 972214"/>
                    <a:gd name="connsiteY873" fmla="*/ 1176023 h 1198010"/>
                    <a:gd name="connsiteX874" fmla="*/ 511110 w 972214"/>
                    <a:gd name="connsiteY874" fmla="*/ 1174132 h 1198010"/>
                    <a:gd name="connsiteX875" fmla="*/ 513221 w 972214"/>
                    <a:gd name="connsiteY875" fmla="*/ 1171418 h 1198010"/>
                    <a:gd name="connsiteX876" fmla="*/ 515601 w 972214"/>
                    <a:gd name="connsiteY876" fmla="*/ 1167971 h 1198010"/>
                    <a:gd name="connsiteX877" fmla="*/ 517793 w 972214"/>
                    <a:gd name="connsiteY877" fmla="*/ 1165224 h 1198010"/>
                    <a:gd name="connsiteX878" fmla="*/ 517003 w 972214"/>
                    <a:gd name="connsiteY878" fmla="*/ 1163383 h 1198010"/>
                    <a:gd name="connsiteX879" fmla="*/ 515169 w 972214"/>
                    <a:gd name="connsiteY879" fmla="*/ 1161606 h 1198010"/>
                    <a:gd name="connsiteX880" fmla="*/ 511901 w 972214"/>
                    <a:gd name="connsiteY880" fmla="*/ 1160163 h 1198010"/>
                    <a:gd name="connsiteX881" fmla="*/ 508763 w 972214"/>
                    <a:gd name="connsiteY881" fmla="*/ 1157621 h 1198010"/>
                    <a:gd name="connsiteX882" fmla="*/ 505976 w 972214"/>
                    <a:gd name="connsiteY882" fmla="*/ 1154369 h 1198010"/>
                    <a:gd name="connsiteX883" fmla="*/ 504689 w 972214"/>
                    <a:gd name="connsiteY883" fmla="*/ 1150995 h 1198010"/>
                    <a:gd name="connsiteX884" fmla="*/ 503507 w 972214"/>
                    <a:gd name="connsiteY884" fmla="*/ 1147344 h 1198010"/>
                    <a:gd name="connsiteX885" fmla="*/ 502374 w 972214"/>
                    <a:gd name="connsiteY885" fmla="*/ 1144459 h 1198010"/>
                    <a:gd name="connsiteX886" fmla="*/ 501999 w 972214"/>
                    <a:gd name="connsiteY886" fmla="*/ 1143139 h 1198010"/>
                    <a:gd name="connsiteX887" fmla="*/ 500899 w 972214"/>
                    <a:gd name="connsiteY887" fmla="*/ 1142593 h 1198010"/>
                    <a:gd name="connsiteX888" fmla="*/ 499155 w 972214"/>
                    <a:gd name="connsiteY888" fmla="*/ 1141134 h 1198010"/>
                    <a:gd name="connsiteX889" fmla="*/ 498063 w 972214"/>
                    <a:gd name="connsiteY889" fmla="*/ 1139765 h 1198010"/>
                    <a:gd name="connsiteX890" fmla="*/ 496457 w 972214"/>
                    <a:gd name="connsiteY890" fmla="*/ 1138974 h 1198010"/>
                    <a:gd name="connsiteX891" fmla="*/ 493597 w 972214"/>
                    <a:gd name="connsiteY891" fmla="*/ 1138110 h 1198010"/>
                    <a:gd name="connsiteX892" fmla="*/ 490614 w 972214"/>
                    <a:gd name="connsiteY892" fmla="*/ 1136619 h 1198010"/>
                    <a:gd name="connsiteX893" fmla="*/ 486914 w 972214"/>
                    <a:gd name="connsiteY893" fmla="*/ 1133049 h 1198010"/>
                    <a:gd name="connsiteX894" fmla="*/ 484241 w 972214"/>
                    <a:gd name="connsiteY894" fmla="*/ 1129097 h 1198010"/>
                    <a:gd name="connsiteX895" fmla="*/ 482920 w 972214"/>
                    <a:gd name="connsiteY895" fmla="*/ 1126497 h 1198010"/>
                    <a:gd name="connsiteX896" fmla="*/ 481519 w 972214"/>
                    <a:gd name="connsiteY896" fmla="*/ 1124647 h 1198010"/>
                    <a:gd name="connsiteX897" fmla="*/ 473866 w 972214"/>
                    <a:gd name="connsiteY897" fmla="*/ 1121623 h 1198010"/>
                    <a:gd name="connsiteX898" fmla="*/ 470394 w 972214"/>
                    <a:gd name="connsiteY898" fmla="*/ 1117997 h 1198010"/>
                    <a:gd name="connsiteX899" fmla="*/ 469033 w 972214"/>
                    <a:gd name="connsiteY899" fmla="*/ 1119129 h 1198010"/>
                    <a:gd name="connsiteX900" fmla="*/ 466988 w 972214"/>
                    <a:gd name="connsiteY900" fmla="*/ 1118013 h 1198010"/>
                    <a:gd name="connsiteX901" fmla="*/ 464975 w 972214"/>
                    <a:gd name="connsiteY901" fmla="*/ 1116269 h 1198010"/>
                    <a:gd name="connsiteX902" fmla="*/ 464372 w 972214"/>
                    <a:gd name="connsiteY902" fmla="*/ 1114932 h 1198010"/>
                    <a:gd name="connsiteX903" fmla="*/ 463516 w 972214"/>
                    <a:gd name="connsiteY903" fmla="*/ 1113563 h 1198010"/>
                    <a:gd name="connsiteX904" fmla="*/ 462717 w 972214"/>
                    <a:gd name="connsiteY904" fmla="*/ 1111998 h 1198010"/>
                    <a:gd name="connsiteX905" fmla="*/ 462212 w 972214"/>
                    <a:gd name="connsiteY905" fmla="*/ 1110474 h 1198010"/>
                    <a:gd name="connsiteX906" fmla="*/ 460142 w 972214"/>
                    <a:gd name="connsiteY906" fmla="*/ 1107842 h 1198010"/>
                    <a:gd name="connsiteX907" fmla="*/ 457469 w 972214"/>
                    <a:gd name="connsiteY907" fmla="*/ 1104990 h 1198010"/>
                    <a:gd name="connsiteX908" fmla="*/ 456328 w 972214"/>
                    <a:gd name="connsiteY908" fmla="*/ 1104175 h 1198010"/>
                    <a:gd name="connsiteX909" fmla="*/ 455733 w 972214"/>
                    <a:gd name="connsiteY909" fmla="*/ 1104411 h 1198010"/>
                    <a:gd name="connsiteX910" fmla="*/ 455154 w 972214"/>
                    <a:gd name="connsiteY910" fmla="*/ 1105511 h 1198010"/>
                    <a:gd name="connsiteX911" fmla="*/ 454788 w 972214"/>
                    <a:gd name="connsiteY911" fmla="*/ 1106562 h 1198010"/>
                    <a:gd name="connsiteX912" fmla="*/ 453769 w 972214"/>
                    <a:gd name="connsiteY912" fmla="*/ 1107255 h 1198010"/>
                    <a:gd name="connsiteX913" fmla="*/ 452522 w 972214"/>
                    <a:gd name="connsiteY913" fmla="*/ 1108576 h 1198010"/>
                    <a:gd name="connsiteX914" fmla="*/ 451251 w 972214"/>
                    <a:gd name="connsiteY914" fmla="*/ 1110165 h 1198010"/>
                    <a:gd name="connsiteX915" fmla="*/ 449612 w 972214"/>
                    <a:gd name="connsiteY915" fmla="*/ 1111232 h 1198010"/>
                    <a:gd name="connsiteX916" fmla="*/ 447673 w 972214"/>
                    <a:gd name="connsiteY916" fmla="*/ 1111591 h 1198010"/>
                    <a:gd name="connsiteX917" fmla="*/ 446361 w 972214"/>
                    <a:gd name="connsiteY917" fmla="*/ 1111534 h 1198010"/>
                    <a:gd name="connsiteX918" fmla="*/ 446092 w 972214"/>
                    <a:gd name="connsiteY918" fmla="*/ 1110914 h 1198010"/>
                    <a:gd name="connsiteX919" fmla="*/ 446019 w 972214"/>
                    <a:gd name="connsiteY919" fmla="*/ 1108722 h 1198010"/>
                    <a:gd name="connsiteX920" fmla="*/ 446508 w 972214"/>
                    <a:gd name="connsiteY920" fmla="*/ 1103735 h 1198010"/>
                    <a:gd name="connsiteX921" fmla="*/ 445366 w 972214"/>
                    <a:gd name="connsiteY921" fmla="*/ 1101828 h 1198010"/>
                    <a:gd name="connsiteX922" fmla="*/ 443851 w 972214"/>
                    <a:gd name="connsiteY922" fmla="*/ 1099766 h 1198010"/>
                    <a:gd name="connsiteX923" fmla="*/ 442107 w 972214"/>
                    <a:gd name="connsiteY923" fmla="*/ 1097011 h 1198010"/>
                    <a:gd name="connsiteX924" fmla="*/ 436377 w 972214"/>
                    <a:gd name="connsiteY924" fmla="*/ 1091192 h 1198010"/>
                    <a:gd name="connsiteX925" fmla="*/ 428570 w 972214"/>
                    <a:gd name="connsiteY925" fmla="*/ 1082822 h 1198010"/>
                    <a:gd name="connsiteX926" fmla="*/ 425815 w 972214"/>
                    <a:gd name="connsiteY926" fmla="*/ 1080272 h 1198010"/>
                    <a:gd name="connsiteX927" fmla="*/ 423224 w 972214"/>
                    <a:gd name="connsiteY927" fmla="*/ 1080076 h 1198010"/>
                    <a:gd name="connsiteX928" fmla="*/ 420852 w 972214"/>
                    <a:gd name="connsiteY928" fmla="*/ 1080353 h 1198010"/>
                    <a:gd name="connsiteX929" fmla="*/ 418676 w 972214"/>
                    <a:gd name="connsiteY929" fmla="*/ 1081470 h 1198010"/>
                    <a:gd name="connsiteX930" fmla="*/ 417030 w 972214"/>
                    <a:gd name="connsiteY930" fmla="*/ 1085341 h 1198010"/>
                    <a:gd name="connsiteX931" fmla="*/ 416345 w 972214"/>
                    <a:gd name="connsiteY931" fmla="*/ 1085927 h 1198010"/>
                    <a:gd name="connsiteX932" fmla="*/ 412140 w 972214"/>
                    <a:gd name="connsiteY932" fmla="*/ 1085846 h 1198010"/>
                    <a:gd name="connsiteX933" fmla="*/ 407967 w 972214"/>
                    <a:gd name="connsiteY933" fmla="*/ 1085218 h 1198010"/>
                    <a:gd name="connsiteX934" fmla="*/ 406566 w 972214"/>
                    <a:gd name="connsiteY934" fmla="*/ 1082871 h 1198010"/>
                    <a:gd name="connsiteX935" fmla="*/ 407682 w 972214"/>
                    <a:gd name="connsiteY935" fmla="*/ 1081331 h 1198010"/>
                    <a:gd name="connsiteX936" fmla="*/ 411618 w 972214"/>
                    <a:gd name="connsiteY936" fmla="*/ 1077924 h 1198010"/>
                    <a:gd name="connsiteX937" fmla="*/ 413794 w 972214"/>
                    <a:gd name="connsiteY937" fmla="*/ 1074885 h 1198010"/>
                    <a:gd name="connsiteX938" fmla="*/ 414210 w 972214"/>
                    <a:gd name="connsiteY938" fmla="*/ 1072236 h 1198010"/>
                    <a:gd name="connsiteX939" fmla="*/ 416093 w 972214"/>
                    <a:gd name="connsiteY939" fmla="*/ 1069848 h 1198010"/>
                    <a:gd name="connsiteX940" fmla="*/ 419450 w 972214"/>
                    <a:gd name="connsiteY940" fmla="*/ 1067729 h 1198010"/>
                    <a:gd name="connsiteX941" fmla="*/ 423191 w 972214"/>
                    <a:gd name="connsiteY941" fmla="*/ 1063850 h 1198010"/>
                    <a:gd name="connsiteX942" fmla="*/ 427307 w 972214"/>
                    <a:gd name="connsiteY942" fmla="*/ 1058186 h 1198010"/>
                    <a:gd name="connsiteX943" fmla="*/ 429809 w 972214"/>
                    <a:gd name="connsiteY943" fmla="*/ 1053997 h 1198010"/>
                    <a:gd name="connsiteX944" fmla="*/ 430689 w 972214"/>
                    <a:gd name="connsiteY944" fmla="*/ 1051307 h 1198010"/>
                    <a:gd name="connsiteX945" fmla="*/ 432311 w 972214"/>
                    <a:gd name="connsiteY945" fmla="*/ 1049221 h 1198010"/>
                    <a:gd name="connsiteX946" fmla="*/ 434658 w 972214"/>
                    <a:gd name="connsiteY946" fmla="*/ 1047762 h 1198010"/>
                    <a:gd name="connsiteX947" fmla="*/ 436703 w 972214"/>
                    <a:gd name="connsiteY947" fmla="*/ 1044730 h 1198010"/>
                    <a:gd name="connsiteX948" fmla="*/ 438464 w 972214"/>
                    <a:gd name="connsiteY948" fmla="*/ 1040101 h 1198010"/>
                    <a:gd name="connsiteX949" fmla="*/ 440860 w 972214"/>
                    <a:gd name="connsiteY949" fmla="*/ 1036426 h 1198010"/>
                    <a:gd name="connsiteX950" fmla="*/ 443908 w 972214"/>
                    <a:gd name="connsiteY950" fmla="*/ 1033696 h 1198010"/>
                    <a:gd name="connsiteX951" fmla="*/ 445611 w 972214"/>
                    <a:gd name="connsiteY951" fmla="*/ 1031447 h 1198010"/>
                    <a:gd name="connsiteX952" fmla="*/ 445970 w 972214"/>
                    <a:gd name="connsiteY952" fmla="*/ 1029654 h 1198010"/>
                    <a:gd name="connsiteX953" fmla="*/ 446825 w 972214"/>
                    <a:gd name="connsiteY953" fmla="*/ 1028496 h 1198010"/>
                    <a:gd name="connsiteX954" fmla="*/ 448186 w 972214"/>
                    <a:gd name="connsiteY954" fmla="*/ 1027991 h 1198010"/>
                    <a:gd name="connsiteX955" fmla="*/ 448846 w 972214"/>
                    <a:gd name="connsiteY955" fmla="*/ 1027054 h 1198010"/>
                    <a:gd name="connsiteX956" fmla="*/ 448806 w 972214"/>
                    <a:gd name="connsiteY956" fmla="*/ 1025660 h 1198010"/>
                    <a:gd name="connsiteX957" fmla="*/ 449172 w 972214"/>
                    <a:gd name="connsiteY957" fmla="*/ 1024723 h 1198010"/>
                    <a:gd name="connsiteX958" fmla="*/ 449955 w 972214"/>
                    <a:gd name="connsiteY958" fmla="*/ 1024218 h 1198010"/>
                    <a:gd name="connsiteX959" fmla="*/ 451267 w 972214"/>
                    <a:gd name="connsiteY959" fmla="*/ 1024397 h 1198010"/>
                    <a:gd name="connsiteX960" fmla="*/ 453101 w 972214"/>
                    <a:gd name="connsiteY960" fmla="*/ 1025244 h 1198010"/>
                    <a:gd name="connsiteX961" fmla="*/ 454217 w 972214"/>
                    <a:gd name="connsiteY961" fmla="*/ 1025090 h 1198010"/>
                    <a:gd name="connsiteX962" fmla="*/ 454592 w 972214"/>
                    <a:gd name="connsiteY962" fmla="*/ 1023908 h 1198010"/>
                    <a:gd name="connsiteX963" fmla="*/ 454111 w 972214"/>
                    <a:gd name="connsiteY963" fmla="*/ 1022563 h 1198010"/>
                    <a:gd name="connsiteX964" fmla="*/ 452758 w 972214"/>
                    <a:gd name="connsiteY964" fmla="*/ 1021064 h 1198010"/>
                    <a:gd name="connsiteX965" fmla="*/ 453264 w 972214"/>
                    <a:gd name="connsiteY965" fmla="*/ 1019426 h 1198010"/>
                    <a:gd name="connsiteX966" fmla="*/ 456817 w 972214"/>
                    <a:gd name="connsiteY966" fmla="*/ 1016777 h 1198010"/>
                    <a:gd name="connsiteX967" fmla="*/ 459433 w 972214"/>
                    <a:gd name="connsiteY967" fmla="*/ 1015782 h 1198010"/>
                    <a:gd name="connsiteX968" fmla="*/ 461087 w 972214"/>
                    <a:gd name="connsiteY968" fmla="*/ 1014136 h 1198010"/>
                    <a:gd name="connsiteX969" fmla="*/ 462660 w 972214"/>
                    <a:gd name="connsiteY969" fmla="*/ 1011529 h 1198010"/>
                    <a:gd name="connsiteX970" fmla="*/ 465211 w 972214"/>
                    <a:gd name="connsiteY970" fmla="*/ 1009719 h 1198010"/>
                    <a:gd name="connsiteX971" fmla="*/ 468732 w 972214"/>
                    <a:gd name="connsiteY971" fmla="*/ 1008700 h 1198010"/>
                    <a:gd name="connsiteX972" fmla="*/ 469669 w 972214"/>
                    <a:gd name="connsiteY972" fmla="*/ 1007723 h 1198010"/>
                    <a:gd name="connsiteX973" fmla="*/ 469539 w 972214"/>
                    <a:gd name="connsiteY973" fmla="*/ 1006459 h 1198010"/>
                    <a:gd name="connsiteX974" fmla="*/ 470256 w 972214"/>
                    <a:gd name="connsiteY974" fmla="*/ 1005563 h 1198010"/>
                    <a:gd name="connsiteX975" fmla="*/ 472334 w 972214"/>
                    <a:gd name="connsiteY975" fmla="*/ 1004903 h 1198010"/>
                    <a:gd name="connsiteX976" fmla="*/ 473475 w 972214"/>
                    <a:gd name="connsiteY976" fmla="*/ 1003688 h 1198010"/>
                    <a:gd name="connsiteX977" fmla="*/ 473654 w 972214"/>
                    <a:gd name="connsiteY977" fmla="*/ 1001879 h 1198010"/>
                    <a:gd name="connsiteX978" fmla="*/ 474331 w 972214"/>
                    <a:gd name="connsiteY978" fmla="*/ 1000217 h 1198010"/>
                    <a:gd name="connsiteX979" fmla="*/ 475488 w 972214"/>
                    <a:gd name="connsiteY979" fmla="*/ 998668 h 1198010"/>
                    <a:gd name="connsiteX980" fmla="*/ 476784 w 972214"/>
                    <a:gd name="connsiteY980" fmla="*/ 998098 h 1198010"/>
                    <a:gd name="connsiteX981" fmla="*/ 478202 w 972214"/>
                    <a:gd name="connsiteY981" fmla="*/ 998497 h 1198010"/>
                    <a:gd name="connsiteX982" fmla="*/ 479538 w 972214"/>
                    <a:gd name="connsiteY982" fmla="*/ 997910 h 1198010"/>
                    <a:gd name="connsiteX983" fmla="*/ 480785 w 972214"/>
                    <a:gd name="connsiteY983" fmla="*/ 996346 h 1198010"/>
                    <a:gd name="connsiteX984" fmla="*/ 482285 w 972214"/>
                    <a:gd name="connsiteY984" fmla="*/ 995620 h 1198010"/>
                    <a:gd name="connsiteX985" fmla="*/ 484037 w 972214"/>
                    <a:gd name="connsiteY985" fmla="*/ 995726 h 1198010"/>
                    <a:gd name="connsiteX986" fmla="*/ 484933 w 972214"/>
                    <a:gd name="connsiteY986" fmla="*/ 995376 h 1198010"/>
                    <a:gd name="connsiteX987" fmla="*/ 487941 w 972214"/>
                    <a:gd name="connsiteY987" fmla="*/ 994642 h 1198010"/>
                    <a:gd name="connsiteX988" fmla="*/ 489595 w 972214"/>
                    <a:gd name="connsiteY988" fmla="*/ 993330 h 1198010"/>
                    <a:gd name="connsiteX989" fmla="*/ 490956 w 972214"/>
                    <a:gd name="connsiteY989" fmla="*/ 990404 h 1198010"/>
                    <a:gd name="connsiteX990" fmla="*/ 492162 w 972214"/>
                    <a:gd name="connsiteY990" fmla="*/ 989263 h 1198010"/>
                    <a:gd name="connsiteX991" fmla="*/ 493222 w 972214"/>
                    <a:gd name="connsiteY991" fmla="*/ 989932 h 1198010"/>
                    <a:gd name="connsiteX992" fmla="*/ 495047 w 972214"/>
                    <a:gd name="connsiteY992" fmla="*/ 988945 h 1198010"/>
                    <a:gd name="connsiteX993" fmla="*/ 497647 w 972214"/>
                    <a:gd name="connsiteY993" fmla="*/ 986330 h 1198010"/>
                    <a:gd name="connsiteX994" fmla="*/ 498136 w 972214"/>
                    <a:gd name="connsiteY994" fmla="*/ 986281 h 1198010"/>
                    <a:gd name="connsiteX995" fmla="*/ 500051 w 972214"/>
                    <a:gd name="connsiteY995" fmla="*/ 985066 h 1198010"/>
                    <a:gd name="connsiteX996" fmla="*/ 502032 w 972214"/>
                    <a:gd name="connsiteY996" fmla="*/ 980535 h 1198010"/>
                    <a:gd name="connsiteX997" fmla="*/ 503050 w 972214"/>
                    <a:gd name="connsiteY997" fmla="*/ 977520 h 1198010"/>
                    <a:gd name="connsiteX998" fmla="*/ 502806 w 972214"/>
                    <a:gd name="connsiteY998" fmla="*/ 975042 h 1198010"/>
                    <a:gd name="connsiteX999" fmla="*/ 502154 w 972214"/>
                    <a:gd name="connsiteY999" fmla="*/ 973266 h 1198010"/>
                    <a:gd name="connsiteX1000" fmla="*/ 502366 w 972214"/>
                    <a:gd name="connsiteY1000" fmla="*/ 970674 h 1198010"/>
                    <a:gd name="connsiteX1001" fmla="*/ 503018 w 972214"/>
                    <a:gd name="connsiteY1001" fmla="*/ 963624 h 1198010"/>
                    <a:gd name="connsiteX1002" fmla="*/ 503197 w 972214"/>
                    <a:gd name="connsiteY1002" fmla="*/ 960739 h 1198010"/>
                    <a:gd name="connsiteX1003" fmla="*/ 504248 w 972214"/>
                    <a:gd name="connsiteY1003" fmla="*/ 958726 h 1198010"/>
                    <a:gd name="connsiteX1004" fmla="*/ 504183 w 972214"/>
                    <a:gd name="connsiteY1004" fmla="*/ 956738 h 1198010"/>
                    <a:gd name="connsiteX1005" fmla="*/ 502309 w 972214"/>
                    <a:gd name="connsiteY1005" fmla="*/ 952280 h 1198010"/>
                    <a:gd name="connsiteX1006" fmla="*/ 500410 w 972214"/>
                    <a:gd name="connsiteY1006" fmla="*/ 948368 h 1198010"/>
                    <a:gd name="connsiteX1007" fmla="*/ 499391 w 972214"/>
                    <a:gd name="connsiteY1007" fmla="*/ 941726 h 1198010"/>
                    <a:gd name="connsiteX1008" fmla="*/ 498723 w 972214"/>
                    <a:gd name="connsiteY1008" fmla="*/ 939200 h 1198010"/>
                    <a:gd name="connsiteX1009" fmla="*/ 497142 w 972214"/>
                    <a:gd name="connsiteY1009" fmla="*/ 938531 h 1198010"/>
                    <a:gd name="connsiteX1010" fmla="*/ 495716 w 972214"/>
                    <a:gd name="connsiteY1010" fmla="*/ 936339 h 1198010"/>
                    <a:gd name="connsiteX1011" fmla="*/ 493914 w 972214"/>
                    <a:gd name="connsiteY1011" fmla="*/ 936151 h 1198010"/>
                    <a:gd name="connsiteX1012" fmla="*/ 493067 w 972214"/>
                    <a:gd name="connsiteY1012" fmla="*/ 935304 h 1198010"/>
                    <a:gd name="connsiteX1013" fmla="*/ 492195 w 972214"/>
                    <a:gd name="connsiteY1013" fmla="*/ 934611 h 1198010"/>
                    <a:gd name="connsiteX1014" fmla="*/ 490915 w 972214"/>
                    <a:gd name="connsiteY1014" fmla="*/ 934807 h 1198010"/>
                    <a:gd name="connsiteX1015" fmla="*/ 489823 w 972214"/>
                    <a:gd name="connsiteY1015" fmla="*/ 936086 h 1198010"/>
                    <a:gd name="connsiteX1016" fmla="*/ 487794 w 972214"/>
                    <a:gd name="connsiteY1016" fmla="*/ 936144 h 1198010"/>
                    <a:gd name="connsiteX1017" fmla="*/ 486523 w 972214"/>
                    <a:gd name="connsiteY1017" fmla="*/ 936665 h 1198010"/>
                    <a:gd name="connsiteX1018" fmla="*/ 485015 w 972214"/>
                    <a:gd name="connsiteY1018" fmla="*/ 937814 h 1198010"/>
                    <a:gd name="connsiteX1019" fmla="*/ 483589 w 972214"/>
                    <a:gd name="connsiteY1019" fmla="*/ 937293 h 1198010"/>
                    <a:gd name="connsiteX1020" fmla="*/ 482684 w 972214"/>
                    <a:gd name="connsiteY1020" fmla="*/ 936290 h 1198010"/>
                    <a:gd name="connsiteX1021" fmla="*/ 480744 w 972214"/>
                    <a:gd name="connsiteY1021" fmla="*/ 936282 h 1198010"/>
                    <a:gd name="connsiteX1022" fmla="*/ 480883 w 972214"/>
                    <a:gd name="connsiteY1022" fmla="*/ 931759 h 1198010"/>
                    <a:gd name="connsiteX1023" fmla="*/ 484282 w 972214"/>
                    <a:gd name="connsiteY1023" fmla="*/ 925084 h 1198010"/>
                    <a:gd name="connsiteX1024" fmla="*/ 485194 w 972214"/>
                    <a:gd name="connsiteY1024" fmla="*/ 921971 h 1198010"/>
                    <a:gd name="connsiteX1025" fmla="*/ 484754 w 972214"/>
                    <a:gd name="connsiteY1025" fmla="*/ 920211 h 1198010"/>
                    <a:gd name="connsiteX1026" fmla="*/ 485773 w 972214"/>
                    <a:gd name="connsiteY1026" fmla="*/ 914001 h 1198010"/>
                    <a:gd name="connsiteX1027" fmla="*/ 488258 w 972214"/>
                    <a:gd name="connsiteY1027" fmla="*/ 903349 h 1198010"/>
                    <a:gd name="connsiteX1028" fmla="*/ 489049 w 972214"/>
                    <a:gd name="connsiteY1028" fmla="*/ 896389 h 1198010"/>
                    <a:gd name="connsiteX1029" fmla="*/ 488153 w 972214"/>
                    <a:gd name="connsiteY1029" fmla="*/ 893113 h 1198010"/>
                    <a:gd name="connsiteX1030" fmla="*/ 488128 w 972214"/>
                    <a:gd name="connsiteY1030" fmla="*/ 890823 h 1198010"/>
                    <a:gd name="connsiteX1031" fmla="*/ 489408 w 972214"/>
                    <a:gd name="connsiteY1031" fmla="*/ 888875 h 1198010"/>
                    <a:gd name="connsiteX1032" fmla="*/ 490027 w 972214"/>
                    <a:gd name="connsiteY1032" fmla="*/ 888304 h 1198010"/>
                    <a:gd name="connsiteX1033" fmla="*/ 486824 w 972214"/>
                    <a:gd name="connsiteY1033" fmla="*/ 885925 h 1198010"/>
                    <a:gd name="connsiteX1034" fmla="*/ 485105 w 972214"/>
                    <a:gd name="connsiteY1034" fmla="*/ 883749 h 1198010"/>
                    <a:gd name="connsiteX1035" fmla="*/ 482888 w 972214"/>
                    <a:gd name="connsiteY1035" fmla="*/ 882192 h 1198010"/>
                    <a:gd name="connsiteX1036" fmla="*/ 480508 w 972214"/>
                    <a:gd name="connsiteY1036" fmla="*/ 880954 h 1198010"/>
                    <a:gd name="connsiteX1037" fmla="*/ 479359 w 972214"/>
                    <a:gd name="connsiteY1037" fmla="*/ 881459 h 1198010"/>
                    <a:gd name="connsiteX1038" fmla="*/ 478129 w 972214"/>
                    <a:gd name="connsiteY1038" fmla="*/ 882192 h 1198010"/>
                    <a:gd name="connsiteX1039" fmla="*/ 475749 w 972214"/>
                    <a:gd name="connsiteY1039" fmla="*/ 883333 h 1198010"/>
                    <a:gd name="connsiteX1040" fmla="*/ 473035 w 972214"/>
                    <a:gd name="connsiteY1040" fmla="*/ 885289 h 1198010"/>
                    <a:gd name="connsiteX1041" fmla="*/ 471641 w 972214"/>
                    <a:gd name="connsiteY1041" fmla="*/ 886022 h 1198010"/>
                    <a:gd name="connsiteX1042" fmla="*/ 469180 w 972214"/>
                    <a:gd name="connsiteY1042" fmla="*/ 886748 h 1198010"/>
                    <a:gd name="connsiteX1043" fmla="*/ 466393 w 972214"/>
                    <a:gd name="connsiteY1043" fmla="*/ 887359 h 1198010"/>
                    <a:gd name="connsiteX1044" fmla="*/ 464095 w 972214"/>
                    <a:gd name="connsiteY1044" fmla="*/ 886952 h 1198010"/>
                    <a:gd name="connsiteX1045" fmla="*/ 462122 w 972214"/>
                    <a:gd name="connsiteY1045" fmla="*/ 886536 h 1198010"/>
                    <a:gd name="connsiteX1046" fmla="*/ 460900 w 972214"/>
                    <a:gd name="connsiteY1046" fmla="*/ 885289 h 1198010"/>
                    <a:gd name="connsiteX1047" fmla="*/ 460240 w 972214"/>
                    <a:gd name="connsiteY1047" fmla="*/ 882600 h 1198010"/>
                    <a:gd name="connsiteX1048" fmla="*/ 460240 w 972214"/>
                    <a:gd name="connsiteY1048" fmla="*/ 880334 h 1198010"/>
                    <a:gd name="connsiteX1049" fmla="*/ 459832 w 972214"/>
                    <a:gd name="connsiteY1049" fmla="*/ 877025 h 1198010"/>
                    <a:gd name="connsiteX1050" fmla="*/ 458357 w 972214"/>
                    <a:gd name="connsiteY1050" fmla="*/ 875167 h 1198010"/>
                    <a:gd name="connsiteX1051" fmla="*/ 457860 w 972214"/>
                    <a:gd name="connsiteY1051" fmla="*/ 873717 h 1198010"/>
                    <a:gd name="connsiteX1052" fmla="*/ 457779 w 972214"/>
                    <a:gd name="connsiteY1052" fmla="*/ 871956 h 1198010"/>
                    <a:gd name="connsiteX1053" fmla="*/ 457950 w 972214"/>
                    <a:gd name="connsiteY1053" fmla="*/ 870000 h 1198010"/>
                    <a:gd name="connsiteX1054" fmla="*/ 458357 w 972214"/>
                    <a:gd name="connsiteY1054" fmla="*/ 868550 h 1198010"/>
                    <a:gd name="connsiteX1055" fmla="*/ 458113 w 972214"/>
                    <a:gd name="connsiteY1055" fmla="*/ 866797 h 1198010"/>
                    <a:gd name="connsiteX1056" fmla="*/ 457453 w 972214"/>
                    <a:gd name="connsiteY1056" fmla="*/ 865550 h 1198010"/>
                    <a:gd name="connsiteX1057" fmla="*/ 457624 w 972214"/>
                    <a:gd name="connsiteY1057" fmla="*/ 863383 h 1198010"/>
                    <a:gd name="connsiteX1058" fmla="*/ 457290 w 972214"/>
                    <a:gd name="connsiteY1058" fmla="*/ 860392 h 1198010"/>
                    <a:gd name="connsiteX1059" fmla="*/ 456303 w 972214"/>
                    <a:gd name="connsiteY1059" fmla="*/ 858534 h 1198010"/>
                    <a:gd name="connsiteX1060" fmla="*/ 455806 w 972214"/>
                    <a:gd name="connsiteY1060" fmla="*/ 856366 h 1198010"/>
                    <a:gd name="connsiteX1061" fmla="*/ 455806 w 972214"/>
                    <a:gd name="connsiteY1061" fmla="*/ 854198 h 1198010"/>
                    <a:gd name="connsiteX1062" fmla="*/ 455073 w 972214"/>
                    <a:gd name="connsiteY1062" fmla="*/ 852030 h 1198010"/>
                    <a:gd name="connsiteX1063" fmla="*/ 454991 w 972214"/>
                    <a:gd name="connsiteY1063" fmla="*/ 849659 h 1198010"/>
                    <a:gd name="connsiteX1064" fmla="*/ 455652 w 972214"/>
                    <a:gd name="connsiteY1064" fmla="*/ 847499 h 1198010"/>
                    <a:gd name="connsiteX1065" fmla="*/ 455896 w 972214"/>
                    <a:gd name="connsiteY1065" fmla="*/ 845331 h 1198010"/>
                    <a:gd name="connsiteX1066" fmla="*/ 455162 w 972214"/>
                    <a:gd name="connsiteY1066" fmla="*/ 843783 h 1198010"/>
                    <a:gd name="connsiteX1067" fmla="*/ 453761 w 972214"/>
                    <a:gd name="connsiteY1067" fmla="*/ 842853 h 1198010"/>
                    <a:gd name="connsiteX1068" fmla="*/ 452693 w 972214"/>
                    <a:gd name="connsiteY1068" fmla="*/ 840384 h 1198010"/>
                    <a:gd name="connsiteX1069" fmla="*/ 452522 w 972214"/>
                    <a:gd name="connsiteY1069" fmla="*/ 837189 h 1198010"/>
                    <a:gd name="connsiteX1070" fmla="*/ 451373 w 972214"/>
                    <a:gd name="connsiteY1070" fmla="*/ 835429 h 1198010"/>
                    <a:gd name="connsiteX1071" fmla="*/ 450150 w 972214"/>
                    <a:gd name="connsiteY1071" fmla="*/ 834003 h 1198010"/>
                    <a:gd name="connsiteX1072" fmla="*/ 448757 w 972214"/>
                    <a:gd name="connsiteY1072" fmla="*/ 834003 h 1198010"/>
                    <a:gd name="connsiteX1073" fmla="*/ 446622 w 972214"/>
                    <a:gd name="connsiteY1073" fmla="*/ 833172 h 1198010"/>
                    <a:gd name="connsiteX1074" fmla="*/ 444739 w 972214"/>
                    <a:gd name="connsiteY1074" fmla="*/ 833286 h 1198010"/>
                    <a:gd name="connsiteX1075" fmla="*/ 441699 w 972214"/>
                    <a:gd name="connsiteY1075" fmla="*/ 833172 h 1198010"/>
                    <a:gd name="connsiteX1076" fmla="*/ 440305 w 972214"/>
                    <a:gd name="connsiteY1076" fmla="*/ 832658 h 1198010"/>
                    <a:gd name="connsiteX1077" fmla="*/ 439572 w 972214"/>
                    <a:gd name="connsiteY1077" fmla="*/ 831525 h 1198010"/>
                    <a:gd name="connsiteX1078" fmla="*/ 437690 w 972214"/>
                    <a:gd name="connsiteY1078" fmla="*/ 829985 h 1198010"/>
                    <a:gd name="connsiteX1079" fmla="*/ 436630 w 972214"/>
                    <a:gd name="connsiteY1079" fmla="*/ 827320 h 1198010"/>
                    <a:gd name="connsiteX1080" fmla="*/ 435310 w 972214"/>
                    <a:gd name="connsiteY1080" fmla="*/ 826807 h 1198010"/>
                    <a:gd name="connsiteX1081" fmla="*/ 433427 w 972214"/>
                    <a:gd name="connsiteY1081" fmla="*/ 827630 h 1198010"/>
                    <a:gd name="connsiteX1082" fmla="*/ 432775 w 972214"/>
                    <a:gd name="connsiteY1082" fmla="*/ 828665 h 1198010"/>
                    <a:gd name="connsiteX1083" fmla="*/ 432034 w 972214"/>
                    <a:gd name="connsiteY1083" fmla="*/ 830107 h 1198010"/>
                    <a:gd name="connsiteX1084" fmla="*/ 430721 w 972214"/>
                    <a:gd name="connsiteY1084" fmla="*/ 831753 h 1198010"/>
                    <a:gd name="connsiteX1085" fmla="*/ 429010 w 972214"/>
                    <a:gd name="connsiteY1085" fmla="*/ 831631 h 1198010"/>
                    <a:gd name="connsiteX1086" fmla="*/ 427201 w 972214"/>
                    <a:gd name="connsiteY1086" fmla="*/ 832560 h 1198010"/>
                    <a:gd name="connsiteX1087" fmla="*/ 425481 w 972214"/>
                    <a:gd name="connsiteY1087" fmla="*/ 832666 h 1198010"/>
                    <a:gd name="connsiteX1088" fmla="*/ 423183 w 972214"/>
                    <a:gd name="connsiteY1088" fmla="*/ 832870 h 1198010"/>
                    <a:gd name="connsiteX1089" fmla="*/ 420885 w 972214"/>
                    <a:gd name="connsiteY1089" fmla="*/ 832039 h 1198010"/>
                    <a:gd name="connsiteX1090" fmla="*/ 418098 w 972214"/>
                    <a:gd name="connsiteY1090" fmla="*/ 831126 h 1198010"/>
                    <a:gd name="connsiteX1091" fmla="*/ 415726 w 972214"/>
                    <a:gd name="connsiteY1091" fmla="*/ 830515 h 1198010"/>
                    <a:gd name="connsiteX1092" fmla="*/ 413428 w 972214"/>
                    <a:gd name="connsiteY1092" fmla="*/ 831126 h 1198010"/>
                    <a:gd name="connsiteX1093" fmla="*/ 411871 w 972214"/>
                    <a:gd name="connsiteY1093" fmla="*/ 830604 h 1198010"/>
                    <a:gd name="connsiteX1094" fmla="*/ 409817 w 972214"/>
                    <a:gd name="connsiteY1094" fmla="*/ 830303 h 1198010"/>
                    <a:gd name="connsiteX1095" fmla="*/ 407527 w 972214"/>
                    <a:gd name="connsiteY1095" fmla="*/ 830107 h 1198010"/>
                    <a:gd name="connsiteX1096" fmla="*/ 405726 w 972214"/>
                    <a:gd name="connsiteY1096" fmla="*/ 828461 h 1198010"/>
                    <a:gd name="connsiteX1097" fmla="*/ 403754 w 972214"/>
                    <a:gd name="connsiteY1097" fmla="*/ 827532 h 1198010"/>
                    <a:gd name="connsiteX1098" fmla="*/ 402686 w 972214"/>
                    <a:gd name="connsiteY1098" fmla="*/ 827850 h 1198010"/>
                    <a:gd name="connsiteX1099" fmla="*/ 401293 w 972214"/>
                    <a:gd name="connsiteY1099" fmla="*/ 828877 h 1198010"/>
                    <a:gd name="connsiteX1100" fmla="*/ 399818 w 972214"/>
                    <a:gd name="connsiteY1100" fmla="*/ 828673 h 1198010"/>
                    <a:gd name="connsiteX1101" fmla="*/ 397935 w 972214"/>
                    <a:gd name="connsiteY1101" fmla="*/ 827850 h 1198010"/>
                    <a:gd name="connsiteX1102" fmla="*/ 397194 w 972214"/>
                    <a:gd name="connsiteY1102" fmla="*/ 825894 h 1198010"/>
                    <a:gd name="connsiteX1103" fmla="*/ 397356 w 972214"/>
                    <a:gd name="connsiteY1103" fmla="*/ 824663 h 1198010"/>
                    <a:gd name="connsiteX1104" fmla="*/ 397764 w 972214"/>
                    <a:gd name="connsiteY1104" fmla="*/ 823433 h 1198010"/>
                    <a:gd name="connsiteX1105" fmla="*/ 398498 w 972214"/>
                    <a:gd name="connsiteY1105" fmla="*/ 821680 h 1198010"/>
                    <a:gd name="connsiteX1106" fmla="*/ 398090 w 972214"/>
                    <a:gd name="connsiteY1106" fmla="*/ 819838 h 1198010"/>
                    <a:gd name="connsiteX1107" fmla="*/ 398261 w 972214"/>
                    <a:gd name="connsiteY1107" fmla="*/ 818184 h 1198010"/>
                    <a:gd name="connsiteX1108" fmla="*/ 398595 w 972214"/>
                    <a:gd name="connsiteY1108" fmla="*/ 816742 h 1198010"/>
                    <a:gd name="connsiteX1109" fmla="*/ 398921 w 972214"/>
                    <a:gd name="connsiteY1109" fmla="*/ 815104 h 1198010"/>
                    <a:gd name="connsiteX1110" fmla="*/ 398677 w 972214"/>
                    <a:gd name="connsiteY1110" fmla="*/ 813572 h 1198010"/>
                    <a:gd name="connsiteX1111" fmla="*/ 398595 w 972214"/>
                    <a:gd name="connsiteY1111" fmla="*/ 811925 h 1198010"/>
                    <a:gd name="connsiteX1112" fmla="*/ 398424 w 972214"/>
                    <a:gd name="connsiteY1112" fmla="*/ 810401 h 1198010"/>
                    <a:gd name="connsiteX1113" fmla="*/ 398180 w 972214"/>
                    <a:gd name="connsiteY1113" fmla="*/ 808755 h 1198010"/>
                    <a:gd name="connsiteX1114" fmla="*/ 399166 w 972214"/>
                    <a:gd name="connsiteY1114" fmla="*/ 806391 h 1198010"/>
                    <a:gd name="connsiteX1115" fmla="*/ 399989 w 972214"/>
                    <a:gd name="connsiteY1115" fmla="*/ 804452 h 1198010"/>
                    <a:gd name="connsiteX1116" fmla="*/ 399492 w 972214"/>
                    <a:gd name="connsiteY1116" fmla="*/ 802806 h 1198010"/>
                    <a:gd name="connsiteX1117" fmla="*/ 399663 w 972214"/>
                    <a:gd name="connsiteY1117" fmla="*/ 801681 h 1198010"/>
                    <a:gd name="connsiteX1118" fmla="*/ 400315 w 972214"/>
                    <a:gd name="connsiteY1118" fmla="*/ 799823 h 1198010"/>
                    <a:gd name="connsiteX1119" fmla="*/ 401138 w 972214"/>
                    <a:gd name="connsiteY1119" fmla="*/ 797573 h 1198010"/>
                    <a:gd name="connsiteX1120" fmla="*/ 401056 w 972214"/>
                    <a:gd name="connsiteY1120" fmla="*/ 793368 h 1198010"/>
                    <a:gd name="connsiteX1121" fmla="*/ 400315 w 972214"/>
                    <a:gd name="connsiteY1121" fmla="*/ 790915 h 1198010"/>
                    <a:gd name="connsiteX1122" fmla="*/ 399516 w 972214"/>
                    <a:gd name="connsiteY1122" fmla="*/ 790247 h 1198010"/>
                    <a:gd name="connsiteX1123" fmla="*/ 399312 w 972214"/>
                    <a:gd name="connsiteY1123" fmla="*/ 789505 h 1198010"/>
                    <a:gd name="connsiteX1124" fmla="*/ 399704 w 972214"/>
                    <a:gd name="connsiteY1124" fmla="*/ 788536 h 1198010"/>
                    <a:gd name="connsiteX1125" fmla="*/ 399280 w 972214"/>
                    <a:gd name="connsiteY1125" fmla="*/ 787525 h 1198010"/>
                    <a:gd name="connsiteX1126" fmla="*/ 399117 w 972214"/>
                    <a:gd name="connsiteY1126" fmla="*/ 786506 h 1198010"/>
                    <a:gd name="connsiteX1127" fmla="*/ 399541 w 972214"/>
                    <a:gd name="connsiteY1127" fmla="*/ 785626 h 1198010"/>
                    <a:gd name="connsiteX1128" fmla="*/ 398954 w 972214"/>
                    <a:gd name="connsiteY1128" fmla="*/ 783849 h 1198010"/>
                    <a:gd name="connsiteX1129" fmla="*/ 397772 w 972214"/>
                    <a:gd name="connsiteY1129" fmla="*/ 783344 h 1198010"/>
                    <a:gd name="connsiteX1130" fmla="*/ 397365 w 972214"/>
                    <a:gd name="connsiteY1130" fmla="*/ 782831 h 1198010"/>
                    <a:gd name="connsiteX1131" fmla="*/ 396957 w 972214"/>
                    <a:gd name="connsiteY1131" fmla="*/ 780891 h 1198010"/>
                    <a:gd name="connsiteX1132" fmla="*/ 396631 w 972214"/>
                    <a:gd name="connsiteY1132" fmla="*/ 778642 h 1198010"/>
                    <a:gd name="connsiteX1133" fmla="*/ 396794 w 972214"/>
                    <a:gd name="connsiteY1133" fmla="*/ 776906 h 1198010"/>
                    <a:gd name="connsiteX1134" fmla="*/ 396224 w 972214"/>
                    <a:gd name="connsiteY1134" fmla="*/ 775374 h 1198010"/>
                    <a:gd name="connsiteX1135" fmla="*/ 395401 w 972214"/>
                    <a:gd name="connsiteY1135" fmla="*/ 774453 h 1198010"/>
                    <a:gd name="connsiteX1136" fmla="*/ 394577 w 972214"/>
                    <a:gd name="connsiteY1136" fmla="*/ 772823 h 1198010"/>
                    <a:gd name="connsiteX1137" fmla="*/ 393754 w 972214"/>
                    <a:gd name="connsiteY1137" fmla="*/ 771592 h 1198010"/>
                    <a:gd name="connsiteX1138" fmla="*/ 393428 w 972214"/>
                    <a:gd name="connsiteY1138" fmla="*/ 769856 h 1198010"/>
                    <a:gd name="connsiteX1139" fmla="*/ 392882 w 972214"/>
                    <a:gd name="connsiteY1139" fmla="*/ 767615 h 1198010"/>
                    <a:gd name="connsiteX1140" fmla="*/ 394520 w 972214"/>
                    <a:gd name="connsiteY1140" fmla="*/ 767191 h 1198010"/>
                    <a:gd name="connsiteX1141" fmla="*/ 395172 w 972214"/>
                    <a:gd name="connsiteY1141" fmla="*/ 765945 h 1198010"/>
                    <a:gd name="connsiteX1142" fmla="*/ 396321 w 972214"/>
                    <a:gd name="connsiteY1142" fmla="*/ 764233 h 1198010"/>
                    <a:gd name="connsiteX1143" fmla="*/ 397837 w 972214"/>
                    <a:gd name="connsiteY1143" fmla="*/ 763785 h 1198010"/>
                    <a:gd name="connsiteX1144" fmla="*/ 399638 w 972214"/>
                    <a:gd name="connsiteY1144" fmla="*/ 763157 h 1198010"/>
                    <a:gd name="connsiteX1145" fmla="*/ 400307 w 972214"/>
                    <a:gd name="connsiteY1145" fmla="*/ 761902 h 1198010"/>
                    <a:gd name="connsiteX1146" fmla="*/ 396110 w 972214"/>
                    <a:gd name="connsiteY1146" fmla="*/ 757371 h 1198010"/>
                    <a:gd name="connsiteX1147" fmla="*/ 393591 w 972214"/>
                    <a:gd name="connsiteY1147" fmla="*/ 754649 h 1198010"/>
                    <a:gd name="connsiteX1148" fmla="*/ 395066 w 972214"/>
                    <a:gd name="connsiteY1148" fmla="*/ 750982 h 1198010"/>
                    <a:gd name="connsiteX1149" fmla="*/ 397560 w 972214"/>
                    <a:gd name="connsiteY1149" fmla="*/ 744780 h 1198010"/>
                    <a:gd name="connsiteX1150" fmla="*/ 399973 w 972214"/>
                    <a:gd name="connsiteY1150" fmla="*/ 738781 h 1198010"/>
                    <a:gd name="connsiteX1151" fmla="*/ 401806 w 972214"/>
                    <a:gd name="connsiteY1151" fmla="*/ 734201 h 1198010"/>
                    <a:gd name="connsiteX1152" fmla="*/ 402279 w 972214"/>
                    <a:gd name="connsiteY1152" fmla="*/ 733362 h 1198010"/>
                    <a:gd name="connsiteX1153" fmla="*/ 403884 w 972214"/>
                    <a:gd name="connsiteY1153" fmla="*/ 733069 h 1198010"/>
                    <a:gd name="connsiteX1154" fmla="*/ 403591 w 972214"/>
                    <a:gd name="connsiteY1154" fmla="*/ 730705 h 1198010"/>
                    <a:gd name="connsiteX1155" fmla="*/ 403534 w 972214"/>
                    <a:gd name="connsiteY1155" fmla="*/ 729165 h 1198010"/>
                    <a:gd name="connsiteX1156" fmla="*/ 402238 w 972214"/>
                    <a:gd name="connsiteY1156" fmla="*/ 729075 h 1198010"/>
                    <a:gd name="connsiteX1157" fmla="*/ 403681 w 972214"/>
                    <a:gd name="connsiteY1157" fmla="*/ 723501 h 1198010"/>
                    <a:gd name="connsiteX1158" fmla="*/ 405808 w 972214"/>
                    <a:gd name="connsiteY1158" fmla="*/ 715571 h 1198010"/>
                    <a:gd name="connsiteX1159" fmla="*/ 407429 w 972214"/>
                    <a:gd name="connsiteY1159" fmla="*/ 709548 h 1198010"/>
                    <a:gd name="connsiteX1160" fmla="*/ 407943 w 972214"/>
                    <a:gd name="connsiteY1160" fmla="*/ 708546 h 1198010"/>
                    <a:gd name="connsiteX1161" fmla="*/ 409108 w 972214"/>
                    <a:gd name="connsiteY1161" fmla="*/ 708261 h 1198010"/>
                    <a:gd name="connsiteX1162" fmla="*/ 409369 w 972214"/>
                    <a:gd name="connsiteY1162" fmla="*/ 707568 h 1198010"/>
                    <a:gd name="connsiteX1163" fmla="*/ 407967 w 972214"/>
                    <a:gd name="connsiteY1163" fmla="*/ 706606 h 1198010"/>
                    <a:gd name="connsiteX1164" fmla="*/ 407112 w 972214"/>
                    <a:gd name="connsiteY1164" fmla="*/ 704732 h 1198010"/>
                    <a:gd name="connsiteX1165" fmla="*/ 405245 w 972214"/>
                    <a:gd name="connsiteY1165" fmla="*/ 699378 h 1198010"/>
                    <a:gd name="connsiteX1166" fmla="*/ 402303 w 972214"/>
                    <a:gd name="connsiteY1166" fmla="*/ 690918 h 1198010"/>
                    <a:gd name="connsiteX1167" fmla="*/ 402091 w 972214"/>
                    <a:gd name="connsiteY1167" fmla="*/ 687886 h 1198010"/>
                    <a:gd name="connsiteX1168" fmla="*/ 401007 w 972214"/>
                    <a:gd name="connsiteY1168" fmla="*/ 686020 h 1198010"/>
                    <a:gd name="connsiteX1169" fmla="*/ 399206 w 972214"/>
                    <a:gd name="connsiteY1169" fmla="*/ 686648 h 1198010"/>
                    <a:gd name="connsiteX1170" fmla="*/ 397079 w 972214"/>
                    <a:gd name="connsiteY1170" fmla="*/ 686044 h 1198010"/>
                    <a:gd name="connsiteX1171" fmla="*/ 391757 w 972214"/>
                    <a:gd name="connsiteY1171" fmla="*/ 681464 h 1198010"/>
                    <a:gd name="connsiteX1172" fmla="*/ 388229 w 972214"/>
                    <a:gd name="connsiteY1172" fmla="*/ 678971 h 1198010"/>
                    <a:gd name="connsiteX1173" fmla="*/ 387031 w 972214"/>
                    <a:gd name="connsiteY1173" fmla="*/ 677503 h 1198010"/>
                    <a:gd name="connsiteX1174" fmla="*/ 386501 w 972214"/>
                    <a:gd name="connsiteY1174" fmla="*/ 672793 h 1198010"/>
                    <a:gd name="connsiteX1175" fmla="*/ 385450 w 972214"/>
                    <a:gd name="connsiteY1175" fmla="*/ 667602 h 1198010"/>
                    <a:gd name="connsiteX1176" fmla="*/ 385002 w 972214"/>
                    <a:gd name="connsiteY1176" fmla="*/ 661171 h 1198010"/>
                    <a:gd name="connsiteX1177" fmla="*/ 385181 w 972214"/>
                    <a:gd name="connsiteY1177" fmla="*/ 659639 h 1198010"/>
                    <a:gd name="connsiteX1178" fmla="*/ 388164 w 972214"/>
                    <a:gd name="connsiteY1178" fmla="*/ 654758 h 1198010"/>
                    <a:gd name="connsiteX1179" fmla="*/ 388155 w 972214"/>
                    <a:gd name="connsiteY1179" fmla="*/ 652296 h 1198010"/>
                    <a:gd name="connsiteX1180" fmla="*/ 388408 w 972214"/>
                    <a:gd name="connsiteY1180" fmla="*/ 650145 h 1198010"/>
                    <a:gd name="connsiteX1181" fmla="*/ 388286 w 972214"/>
                    <a:gd name="connsiteY1181" fmla="*/ 648450 h 1198010"/>
                    <a:gd name="connsiteX1182" fmla="*/ 387552 w 972214"/>
                    <a:gd name="connsiteY1182" fmla="*/ 648417 h 1198010"/>
                    <a:gd name="connsiteX1183" fmla="*/ 386354 w 972214"/>
                    <a:gd name="connsiteY1183" fmla="*/ 649167 h 1198010"/>
                    <a:gd name="connsiteX1184" fmla="*/ 384545 w 972214"/>
                    <a:gd name="connsiteY1184" fmla="*/ 649737 h 1198010"/>
                    <a:gd name="connsiteX1185" fmla="*/ 383518 w 972214"/>
                    <a:gd name="connsiteY1185" fmla="*/ 649786 h 1198010"/>
                    <a:gd name="connsiteX1186" fmla="*/ 373119 w 972214"/>
                    <a:gd name="connsiteY1186" fmla="*/ 649322 h 1198010"/>
                    <a:gd name="connsiteX1187" fmla="*/ 361286 w 972214"/>
                    <a:gd name="connsiteY1187" fmla="*/ 648792 h 1198010"/>
                    <a:gd name="connsiteX1188" fmla="*/ 351441 w 972214"/>
                    <a:gd name="connsiteY1188" fmla="*/ 648368 h 1198010"/>
                    <a:gd name="connsiteX1189" fmla="*/ 342900 w 972214"/>
                    <a:gd name="connsiteY1189" fmla="*/ 647977 h 1198010"/>
                    <a:gd name="connsiteX1190" fmla="*/ 342607 w 972214"/>
                    <a:gd name="connsiteY1190" fmla="*/ 643796 h 1198010"/>
                    <a:gd name="connsiteX1191" fmla="*/ 342126 w 972214"/>
                    <a:gd name="connsiteY1191" fmla="*/ 636763 h 1198010"/>
                    <a:gd name="connsiteX1192" fmla="*/ 341783 w 972214"/>
                    <a:gd name="connsiteY1192" fmla="*/ 631784 h 1198010"/>
                    <a:gd name="connsiteX1193" fmla="*/ 341237 w 972214"/>
                    <a:gd name="connsiteY1193" fmla="*/ 623878 h 1198010"/>
                    <a:gd name="connsiteX1194" fmla="*/ 337814 w 972214"/>
                    <a:gd name="connsiteY1194" fmla="*/ 618964 h 1198010"/>
                    <a:gd name="connsiteX1195" fmla="*/ 334090 w 972214"/>
                    <a:gd name="connsiteY1195" fmla="*/ 613618 h 1198010"/>
                    <a:gd name="connsiteX1196" fmla="*/ 332778 w 972214"/>
                    <a:gd name="connsiteY1196" fmla="*/ 612257 h 1198010"/>
                    <a:gd name="connsiteX1197" fmla="*/ 337277 w 972214"/>
                    <a:gd name="connsiteY1197" fmla="*/ 612086 h 1198010"/>
                    <a:gd name="connsiteX1198" fmla="*/ 340471 w 972214"/>
                    <a:gd name="connsiteY1198" fmla="*/ 611963 h 1198010"/>
                    <a:gd name="connsiteX1199" fmla="*/ 339836 w 972214"/>
                    <a:gd name="connsiteY1199" fmla="*/ 597644 h 1198010"/>
                    <a:gd name="connsiteX1200" fmla="*/ 338866 w 972214"/>
                    <a:gd name="connsiteY1200" fmla="*/ 596177 h 1198010"/>
                    <a:gd name="connsiteX1201" fmla="*/ 338002 w 972214"/>
                    <a:gd name="connsiteY1201" fmla="*/ 591565 h 1198010"/>
                    <a:gd name="connsiteX1202" fmla="*/ 337423 w 972214"/>
                    <a:gd name="connsiteY1202" fmla="*/ 588957 h 1198010"/>
                    <a:gd name="connsiteX1203" fmla="*/ 335842 w 972214"/>
                    <a:gd name="connsiteY1203" fmla="*/ 586830 h 1198010"/>
                    <a:gd name="connsiteX1204" fmla="*/ 335484 w 972214"/>
                    <a:gd name="connsiteY1204" fmla="*/ 584442 h 1198010"/>
                    <a:gd name="connsiteX1205" fmla="*/ 335777 w 972214"/>
                    <a:gd name="connsiteY1205" fmla="*/ 582861 h 1198010"/>
                    <a:gd name="connsiteX1206" fmla="*/ 336641 w 972214"/>
                    <a:gd name="connsiteY1206" fmla="*/ 581875 h 1198010"/>
                    <a:gd name="connsiteX1207" fmla="*/ 337211 w 972214"/>
                    <a:gd name="connsiteY1207" fmla="*/ 579421 h 1198010"/>
                    <a:gd name="connsiteX1208" fmla="*/ 336779 w 972214"/>
                    <a:gd name="connsiteY1208" fmla="*/ 576944 h 1198010"/>
                    <a:gd name="connsiteX1209" fmla="*/ 335842 w 972214"/>
                    <a:gd name="connsiteY1209" fmla="*/ 574654 h 1198010"/>
                    <a:gd name="connsiteX1210" fmla="*/ 334685 w 972214"/>
                    <a:gd name="connsiteY1210" fmla="*/ 572445 h 1198010"/>
                    <a:gd name="connsiteX1211" fmla="*/ 332485 w 972214"/>
                    <a:gd name="connsiteY1211" fmla="*/ 571109 h 1198010"/>
                    <a:gd name="connsiteX1212" fmla="*/ 329339 w 972214"/>
                    <a:gd name="connsiteY1212" fmla="*/ 568639 h 1198010"/>
                    <a:gd name="connsiteX1213" fmla="*/ 324571 w 972214"/>
                    <a:gd name="connsiteY1213" fmla="*/ 565510 h 1198010"/>
                    <a:gd name="connsiteX1214" fmla="*/ 320537 w 972214"/>
                    <a:gd name="connsiteY1214" fmla="*/ 563334 h 1198010"/>
                    <a:gd name="connsiteX1215" fmla="*/ 319241 w 972214"/>
                    <a:gd name="connsiteY1215" fmla="*/ 563603 h 1198010"/>
                    <a:gd name="connsiteX1216" fmla="*/ 312126 w 972214"/>
                    <a:gd name="connsiteY1216" fmla="*/ 564451 h 1198010"/>
                    <a:gd name="connsiteX1217" fmla="*/ 309763 w 972214"/>
                    <a:gd name="connsiteY1217" fmla="*/ 564891 h 1198010"/>
                    <a:gd name="connsiteX1218" fmla="*/ 308174 w 972214"/>
                    <a:gd name="connsiteY1218" fmla="*/ 564393 h 1198010"/>
                    <a:gd name="connsiteX1219" fmla="*/ 302860 w 972214"/>
                    <a:gd name="connsiteY1219" fmla="*/ 564410 h 1198010"/>
                    <a:gd name="connsiteX1220" fmla="*/ 300790 w 972214"/>
                    <a:gd name="connsiteY1220" fmla="*/ 562682 h 1198010"/>
                    <a:gd name="connsiteX1221" fmla="*/ 299046 w 972214"/>
                    <a:gd name="connsiteY1221" fmla="*/ 560742 h 1198010"/>
                    <a:gd name="connsiteX1222" fmla="*/ 295322 w 972214"/>
                    <a:gd name="connsiteY1222" fmla="*/ 555763 h 1198010"/>
                    <a:gd name="connsiteX1223" fmla="*/ 294743 w 972214"/>
                    <a:gd name="connsiteY1223" fmla="*/ 553261 h 1198010"/>
                    <a:gd name="connsiteX1224" fmla="*/ 293309 w 972214"/>
                    <a:gd name="connsiteY1224" fmla="*/ 552462 h 1198010"/>
                    <a:gd name="connsiteX1225" fmla="*/ 291125 w 972214"/>
                    <a:gd name="connsiteY1225" fmla="*/ 552764 h 1198010"/>
                    <a:gd name="connsiteX1226" fmla="*/ 288916 w 972214"/>
                    <a:gd name="connsiteY1226" fmla="*/ 552421 h 1198010"/>
                    <a:gd name="connsiteX1227" fmla="*/ 284638 w 972214"/>
                    <a:gd name="connsiteY1227" fmla="*/ 550351 h 1198010"/>
                    <a:gd name="connsiteX1228" fmla="*/ 280628 w 972214"/>
                    <a:gd name="connsiteY1228" fmla="*/ 548232 h 1198010"/>
                    <a:gd name="connsiteX1229" fmla="*/ 278688 w 972214"/>
                    <a:gd name="connsiteY1229" fmla="*/ 548330 h 1198010"/>
                    <a:gd name="connsiteX1230" fmla="*/ 276960 w 972214"/>
                    <a:gd name="connsiteY1230" fmla="*/ 547002 h 1198010"/>
                    <a:gd name="connsiteX1231" fmla="*/ 273912 w 972214"/>
                    <a:gd name="connsiteY1231" fmla="*/ 543775 h 1198010"/>
                    <a:gd name="connsiteX1232" fmla="*/ 272495 w 972214"/>
                    <a:gd name="connsiteY1232" fmla="*/ 542528 h 1198010"/>
                    <a:gd name="connsiteX1233" fmla="*/ 271842 w 972214"/>
                    <a:gd name="connsiteY1233" fmla="*/ 540849 h 1198010"/>
                    <a:gd name="connsiteX1234" fmla="*/ 271191 w 972214"/>
                    <a:gd name="connsiteY1234" fmla="*/ 538380 h 1198010"/>
                    <a:gd name="connsiteX1235" fmla="*/ 269976 w 972214"/>
                    <a:gd name="connsiteY1235" fmla="*/ 537858 h 1198010"/>
                    <a:gd name="connsiteX1236" fmla="*/ 268387 w 972214"/>
                    <a:gd name="connsiteY1236" fmla="*/ 538306 h 1198010"/>
                    <a:gd name="connsiteX1237" fmla="*/ 266675 w 972214"/>
                    <a:gd name="connsiteY1237" fmla="*/ 539561 h 1198010"/>
                    <a:gd name="connsiteX1238" fmla="*/ 264271 w 972214"/>
                    <a:gd name="connsiteY1238" fmla="*/ 538714 h 1198010"/>
                    <a:gd name="connsiteX1239" fmla="*/ 261337 w 972214"/>
                    <a:gd name="connsiteY1239" fmla="*/ 536456 h 1198010"/>
                    <a:gd name="connsiteX1240" fmla="*/ 259438 w 972214"/>
                    <a:gd name="connsiteY1240" fmla="*/ 534671 h 1198010"/>
                    <a:gd name="connsiteX1241" fmla="*/ 258355 w 972214"/>
                    <a:gd name="connsiteY1241" fmla="*/ 533824 h 1198010"/>
                    <a:gd name="connsiteX1242" fmla="*/ 255804 w 972214"/>
                    <a:gd name="connsiteY1242" fmla="*/ 532593 h 1198010"/>
                    <a:gd name="connsiteX1243" fmla="*/ 253334 w 972214"/>
                    <a:gd name="connsiteY1243" fmla="*/ 532324 h 1198010"/>
                    <a:gd name="connsiteX1244" fmla="*/ 249602 w 972214"/>
                    <a:gd name="connsiteY1244" fmla="*/ 534150 h 1198010"/>
                    <a:gd name="connsiteX1245" fmla="*/ 246546 w 972214"/>
                    <a:gd name="connsiteY1245" fmla="*/ 533408 h 1198010"/>
                    <a:gd name="connsiteX1246" fmla="*/ 241754 w 972214"/>
                    <a:gd name="connsiteY1246" fmla="*/ 532756 h 1198010"/>
                    <a:gd name="connsiteX1247" fmla="*/ 237654 w 972214"/>
                    <a:gd name="connsiteY1247" fmla="*/ 531428 h 1198010"/>
                    <a:gd name="connsiteX1248" fmla="*/ 236155 w 972214"/>
                    <a:gd name="connsiteY1248" fmla="*/ 527997 h 1198010"/>
                    <a:gd name="connsiteX1249" fmla="*/ 235340 w 972214"/>
                    <a:gd name="connsiteY1249" fmla="*/ 525715 h 1198010"/>
                    <a:gd name="connsiteX1250" fmla="*/ 232903 w 972214"/>
                    <a:gd name="connsiteY1250" fmla="*/ 524289 h 1198010"/>
                    <a:gd name="connsiteX1251" fmla="*/ 230955 w 972214"/>
                    <a:gd name="connsiteY1251" fmla="*/ 522553 h 1198010"/>
                    <a:gd name="connsiteX1252" fmla="*/ 228641 w 972214"/>
                    <a:gd name="connsiteY1252" fmla="*/ 519912 h 1198010"/>
                    <a:gd name="connsiteX1253" fmla="*/ 227492 w 972214"/>
                    <a:gd name="connsiteY1253" fmla="*/ 519040 h 1198010"/>
                    <a:gd name="connsiteX1254" fmla="*/ 225397 w 972214"/>
                    <a:gd name="connsiteY1254" fmla="*/ 518307 h 1198010"/>
                    <a:gd name="connsiteX1255" fmla="*/ 223457 w 972214"/>
                    <a:gd name="connsiteY1255" fmla="*/ 517369 h 1198010"/>
                    <a:gd name="connsiteX1256" fmla="*/ 223237 w 972214"/>
                    <a:gd name="connsiteY1256" fmla="*/ 515707 h 1198010"/>
                    <a:gd name="connsiteX1257" fmla="*/ 222520 w 972214"/>
                    <a:gd name="connsiteY1257" fmla="*/ 513498 h 1198010"/>
                    <a:gd name="connsiteX1258" fmla="*/ 222349 w 972214"/>
                    <a:gd name="connsiteY1258" fmla="*/ 512960 h 1198010"/>
                    <a:gd name="connsiteX1259" fmla="*/ 221029 w 972214"/>
                    <a:gd name="connsiteY1259" fmla="*/ 510295 h 1198010"/>
                    <a:gd name="connsiteX1260" fmla="*/ 220409 w 972214"/>
                    <a:gd name="connsiteY1260" fmla="*/ 510108 h 1198010"/>
                    <a:gd name="connsiteX1261" fmla="*/ 219733 w 972214"/>
                    <a:gd name="connsiteY1261" fmla="*/ 510630 h 1198010"/>
                    <a:gd name="connsiteX1262" fmla="*/ 219220 w 972214"/>
                    <a:gd name="connsiteY1262" fmla="*/ 511021 h 1198010"/>
                    <a:gd name="connsiteX1263" fmla="*/ 218665 w 972214"/>
                    <a:gd name="connsiteY1263" fmla="*/ 510540 h 1198010"/>
                    <a:gd name="connsiteX1264" fmla="*/ 218568 w 972214"/>
                    <a:gd name="connsiteY1264" fmla="*/ 509350 h 1198010"/>
                    <a:gd name="connsiteX1265" fmla="*/ 218918 w 972214"/>
                    <a:gd name="connsiteY1265" fmla="*/ 507443 h 1198010"/>
                    <a:gd name="connsiteX1266" fmla="*/ 218152 w 972214"/>
                    <a:gd name="connsiteY1266" fmla="*/ 505438 h 1198010"/>
                    <a:gd name="connsiteX1267" fmla="*/ 216269 w 972214"/>
                    <a:gd name="connsiteY1267" fmla="*/ 503328 h 1198010"/>
                    <a:gd name="connsiteX1268" fmla="*/ 215283 w 972214"/>
                    <a:gd name="connsiteY1268" fmla="*/ 501143 h 1198010"/>
                    <a:gd name="connsiteX1269" fmla="*/ 215194 w 972214"/>
                    <a:gd name="connsiteY1269" fmla="*/ 498902 h 1198010"/>
                    <a:gd name="connsiteX1270" fmla="*/ 214778 w 972214"/>
                    <a:gd name="connsiteY1270" fmla="*/ 497386 h 1198010"/>
                    <a:gd name="connsiteX1271" fmla="*/ 214020 w 972214"/>
                    <a:gd name="connsiteY1271" fmla="*/ 496628 h 1198010"/>
                    <a:gd name="connsiteX1272" fmla="*/ 213596 w 972214"/>
                    <a:gd name="connsiteY1272" fmla="*/ 495324 h 1198010"/>
                    <a:gd name="connsiteX1273" fmla="*/ 213498 w 972214"/>
                    <a:gd name="connsiteY1273" fmla="*/ 493442 h 1198010"/>
                    <a:gd name="connsiteX1274" fmla="*/ 214044 w 972214"/>
                    <a:gd name="connsiteY1274" fmla="*/ 491217 h 1198010"/>
                    <a:gd name="connsiteX1275" fmla="*/ 215234 w 972214"/>
                    <a:gd name="connsiteY1275" fmla="*/ 488634 h 1198010"/>
                    <a:gd name="connsiteX1276" fmla="*/ 214982 w 972214"/>
                    <a:gd name="connsiteY1276" fmla="*/ 484648 h 1198010"/>
                    <a:gd name="connsiteX1277" fmla="*/ 213287 w 972214"/>
                    <a:gd name="connsiteY1277" fmla="*/ 479278 h 1198010"/>
                    <a:gd name="connsiteX1278" fmla="*/ 212349 w 972214"/>
                    <a:gd name="connsiteY1278" fmla="*/ 475382 h 1198010"/>
                    <a:gd name="connsiteX1279" fmla="*/ 212178 w 972214"/>
                    <a:gd name="connsiteY1279" fmla="*/ 473011 h 1198010"/>
                    <a:gd name="connsiteX1280" fmla="*/ 212431 w 972214"/>
                    <a:gd name="connsiteY1280" fmla="*/ 471242 h 1198010"/>
                    <a:gd name="connsiteX1281" fmla="*/ 213458 w 972214"/>
                    <a:gd name="connsiteY1281" fmla="*/ 469531 h 1198010"/>
                    <a:gd name="connsiteX1282" fmla="*/ 215503 w 972214"/>
                    <a:gd name="connsiteY1282" fmla="*/ 465325 h 1198010"/>
                    <a:gd name="connsiteX1283" fmla="*/ 215854 w 972214"/>
                    <a:gd name="connsiteY1283" fmla="*/ 462106 h 1198010"/>
                    <a:gd name="connsiteX1284" fmla="*/ 215210 w 972214"/>
                    <a:gd name="connsiteY1284" fmla="*/ 458496 h 1198010"/>
                    <a:gd name="connsiteX1285" fmla="*/ 215120 w 972214"/>
                    <a:gd name="connsiteY1285" fmla="*/ 455741 h 1198010"/>
                    <a:gd name="connsiteX1286" fmla="*/ 215593 w 972214"/>
                    <a:gd name="connsiteY1286" fmla="*/ 453842 h 1198010"/>
                    <a:gd name="connsiteX1287" fmla="*/ 214884 w 972214"/>
                    <a:gd name="connsiteY1287" fmla="*/ 451357 h 1198010"/>
                    <a:gd name="connsiteX1288" fmla="*/ 213442 w 972214"/>
                    <a:gd name="connsiteY1288" fmla="*/ 449010 h 1198010"/>
                    <a:gd name="connsiteX1289" fmla="*/ 212431 w 972214"/>
                    <a:gd name="connsiteY1289" fmla="*/ 448944 h 1198010"/>
                    <a:gd name="connsiteX1290" fmla="*/ 211062 w 972214"/>
                    <a:gd name="connsiteY1290" fmla="*/ 449588 h 1198010"/>
                    <a:gd name="connsiteX1291" fmla="*/ 209407 w 972214"/>
                    <a:gd name="connsiteY1291" fmla="*/ 451568 h 1198010"/>
                    <a:gd name="connsiteX1292" fmla="*/ 207468 w 972214"/>
                    <a:gd name="connsiteY1292" fmla="*/ 451927 h 1198010"/>
                    <a:gd name="connsiteX1293" fmla="*/ 205740 w 972214"/>
                    <a:gd name="connsiteY1293" fmla="*/ 450697 h 1198010"/>
                    <a:gd name="connsiteX1294" fmla="*/ 200337 w 972214"/>
                    <a:gd name="connsiteY1294" fmla="*/ 451210 h 1198010"/>
                    <a:gd name="connsiteX1295" fmla="*/ 191934 w 972214"/>
                    <a:gd name="connsiteY1295" fmla="*/ 452424 h 1198010"/>
                    <a:gd name="connsiteX1296" fmla="*/ 188569 w 972214"/>
                    <a:gd name="connsiteY1296" fmla="*/ 453704 h 1198010"/>
                    <a:gd name="connsiteX1297" fmla="*/ 186588 w 972214"/>
                    <a:gd name="connsiteY1297" fmla="*/ 454233 h 1198010"/>
                    <a:gd name="connsiteX1298" fmla="*/ 184200 w 972214"/>
                    <a:gd name="connsiteY1298" fmla="*/ 454657 h 1198010"/>
                    <a:gd name="connsiteX1299" fmla="*/ 180370 w 972214"/>
                    <a:gd name="connsiteY1299" fmla="*/ 456939 h 1198010"/>
                    <a:gd name="connsiteX1300" fmla="*/ 170900 w 972214"/>
                    <a:gd name="connsiteY1300" fmla="*/ 465782 h 1198010"/>
                    <a:gd name="connsiteX1301" fmla="*/ 168944 w 972214"/>
                    <a:gd name="connsiteY1301" fmla="*/ 467069 h 1198010"/>
                    <a:gd name="connsiteX1302" fmla="*/ 166711 w 972214"/>
                    <a:gd name="connsiteY1302" fmla="*/ 467240 h 1198010"/>
                    <a:gd name="connsiteX1303" fmla="*/ 165415 w 972214"/>
                    <a:gd name="connsiteY1303" fmla="*/ 468463 h 1198010"/>
                    <a:gd name="connsiteX1304" fmla="*/ 163329 w 972214"/>
                    <a:gd name="connsiteY1304" fmla="*/ 469425 h 1198010"/>
                    <a:gd name="connsiteX1305" fmla="*/ 159221 w 972214"/>
                    <a:gd name="connsiteY1305" fmla="*/ 472937 h 1198010"/>
                    <a:gd name="connsiteX1306" fmla="*/ 157135 w 972214"/>
                    <a:gd name="connsiteY1306" fmla="*/ 475749 h 1198010"/>
                    <a:gd name="connsiteX1307" fmla="*/ 155766 w 972214"/>
                    <a:gd name="connsiteY1307" fmla="*/ 478291 h 1198010"/>
                    <a:gd name="connsiteX1308" fmla="*/ 154185 w 972214"/>
                    <a:gd name="connsiteY1308" fmla="*/ 478373 h 1198010"/>
                    <a:gd name="connsiteX1309" fmla="*/ 152962 w 972214"/>
                    <a:gd name="connsiteY1309" fmla="*/ 477680 h 1198010"/>
                    <a:gd name="connsiteX1310" fmla="*/ 149075 w 972214"/>
                    <a:gd name="connsiteY1310" fmla="*/ 478031 h 1198010"/>
                    <a:gd name="connsiteX1311" fmla="*/ 147094 w 972214"/>
                    <a:gd name="connsiteY1311" fmla="*/ 478895 h 1198010"/>
                    <a:gd name="connsiteX1312" fmla="*/ 144935 w 972214"/>
                    <a:gd name="connsiteY1312" fmla="*/ 481364 h 1198010"/>
                    <a:gd name="connsiteX1313" fmla="*/ 142253 w 972214"/>
                    <a:gd name="connsiteY1313" fmla="*/ 485846 h 1198010"/>
                    <a:gd name="connsiteX1314" fmla="*/ 141153 w 972214"/>
                    <a:gd name="connsiteY1314" fmla="*/ 487118 h 1198010"/>
                    <a:gd name="connsiteX1315" fmla="*/ 138994 w 972214"/>
                    <a:gd name="connsiteY1315" fmla="*/ 488430 h 1198010"/>
                    <a:gd name="connsiteX1316" fmla="*/ 136500 w 972214"/>
                    <a:gd name="connsiteY1316" fmla="*/ 489522 h 1198010"/>
                    <a:gd name="connsiteX1317" fmla="*/ 133419 w 972214"/>
                    <a:gd name="connsiteY1317" fmla="*/ 491160 h 1198010"/>
                    <a:gd name="connsiteX1318" fmla="*/ 132042 w 972214"/>
                    <a:gd name="connsiteY1318" fmla="*/ 491274 h 1198010"/>
                    <a:gd name="connsiteX1319" fmla="*/ 130827 w 972214"/>
                    <a:gd name="connsiteY1319" fmla="*/ 491567 h 1198010"/>
                    <a:gd name="connsiteX1320" fmla="*/ 129776 w 972214"/>
                    <a:gd name="connsiteY1320" fmla="*/ 490818 h 1198010"/>
                    <a:gd name="connsiteX1321" fmla="*/ 129426 w 972214"/>
                    <a:gd name="connsiteY1321" fmla="*/ 489212 h 1198010"/>
                    <a:gd name="connsiteX1322" fmla="*/ 127829 w 972214"/>
                    <a:gd name="connsiteY1322" fmla="*/ 488201 h 1198010"/>
                    <a:gd name="connsiteX1323" fmla="*/ 124031 w 972214"/>
                    <a:gd name="connsiteY1323" fmla="*/ 487696 h 1198010"/>
                    <a:gd name="connsiteX1324" fmla="*/ 118399 w 972214"/>
                    <a:gd name="connsiteY1324" fmla="*/ 486531 h 1198010"/>
                    <a:gd name="connsiteX1325" fmla="*/ 112597 w 972214"/>
                    <a:gd name="connsiteY1325" fmla="*/ 486303 h 1198010"/>
                    <a:gd name="connsiteX1326" fmla="*/ 109712 w 972214"/>
                    <a:gd name="connsiteY1326" fmla="*/ 486409 h 1198010"/>
                    <a:gd name="connsiteX1327" fmla="*/ 107348 w 972214"/>
                    <a:gd name="connsiteY1327" fmla="*/ 486482 h 1198010"/>
                    <a:gd name="connsiteX1328" fmla="*/ 103241 w 972214"/>
                    <a:gd name="connsiteY1328" fmla="*/ 485863 h 1198010"/>
                    <a:gd name="connsiteX1329" fmla="*/ 100250 w 972214"/>
                    <a:gd name="connsiteY1329" fmla="*/ 485748 h 1198010"/>
                    <a:gd name="connsiteX1330" fmla="*/ 97617 w 972214"/>
                    <a:gd name="connsiteY1330" fmla="*/ 487338 h 1198010"/>
                    <a:gd name="connsiteX1331" fmla="*/ 93803 w 972214"/>
                    <a:gd name="connsiteY1331" fmla="*/ 489310 h 1198010"/>
                    <a:gd name="connsiteX1332" fmla="*/ 92059 w 972214"/>
                    <a:gd name="connsiteY1332" fmla="*/ 489815 h 1198010"/>
                    <a:gd name="connsiteX1333" fmla="*/ 90780 w 972214"/>
                    <a:gd name="connsiteY1333" fmla="*/ 489880 h 1198010"/>
                    <a:gd name="connsiteX1334" fmla="*/ 89533 w 972214"/>
                    <a:gd name="connsiteY1334" fmla="*/ 489652 h 1198010"/>
                    <a:gd name="connsiteX1335" fmla="*/ 88082 w 972214"/>
                    <a:gd name="connsiteY1335" fmla="*/ 488625 h 1198010"/>
                    <a:gd name="connsiteX1336" fmla="*/ 86045 w 972214"/>
                    <a:gd name="connsiteY1336" fmla="*/ 486278 h 1198010"/>
                    <a:gd name="connsiteX1337" fmla="*/ 84472 w 972214"/>
                    <a:gd name="connsiteY1337" fmla="*/ 487167 h 1198010"/>
                    <a:gd name="connsiteX1338" fmla="*/ 83339 w 972214"/>
                    <a:gd name="connsiteY1338" fmla="*/ 488185 h 1198010"/>
                    <a:gd name="connsiteX1339" fmla="*/ 83355 w 972214"/>
                    <a:gd name="connsiteY1339" fmla="*/ 483067 h 1198010"/>
                    <a:gd name="connsiteX1340" fmla="*/ 83388 w 972214"/>
                    <a:gd name="connsiteY1340" fmla="*/ 475366 h 1198010"/>
                    <a:gd name="connsiteX1341" fmla="*/ 83404 w 972214"/>
                    <a:gd name="connsiteY1341" fmla="*/ 468585 h 1198010"/>
                    <a:gd name="connsiteX1342" fmla="*/ 83421 w 972214"/>
                    <a:gd name="connsiteY1342" fmla="*/ 463157 h 1198010"/>
                    <a:gd name="connsiteX1343" fmla="*/ 83445 w 972214"/>
                    <a:gd name="connsiteY1343" fmla="*/ 456833 h 1198010"/>
                    <a:gd name="connsiteX1344" fmla="*/ 83461 w 972214"/>
                    <a:gd name="connsiteY1344" fmla="*/ 452367 h 1198010"/>
                    <a:gd name="connsiteX1345" fmla="*/ 84529 w 972214"/>
                    <a:gd name="connsiteY1345" fmla="*/ 450664 h 1198010"/>
                    <a:gd name="connsiteX1346" fmla="*/ 85189 w 972214"/>
                    <a:gd name="connsiteY1346" fmla="*/ 448781 h 1198010"/>
                    <a:gd name="connsiteX1347" fmla="*/ 84399 w 972214"/>
                    <a:gd name="connsiteY1347" fmla="*/ 446230 h 1198010"/>
                    <a:gd name="connsiteX1348" fmla="*/ 84570 w 972214"/>
                    <a:gd name="connsiteY1348" fmla="*/ 443908 h 1198010"/>
                    <a:gd name="connsiteX1349" fmla="*/ 85116 w 972214"/>
                    <a:gd name="connsiteY1349" fmla="*/ 442294 h 1198010"/>
                    <a:gd name="connsiteX1350" fmla="*/ 85833 w 972214"/>
                    <a:gd name="connsiteY1350" fmla="*/ 440721 h 1198010"/>
                    <a:gd name="connsiteX1351" fmla="*/ 84178 w 972214"/>
                    <a:gd name="connsiteY1351" fmla="*/ 441512 h 1198010"/>
                    <a:gd name="connsiteX1352" fmla="*/ 83461 w 972214"/>
                    <a:gd name="connsiteY1352" fmla="*/ 441952 h 1198010"/>
                    <a:gd name="connsiteX1353" fmla="*/ 82581 w 972214"/>
                    <a:gd name="connsiteY1353" fmla="*/ 443150 h 1198010"/>
                    <a:gd name="connsiteX1354" fmla="*/ 80446 w 972214"/>
                    <a:gd name="connsiteY1354" fmla="*/ 444764 h 1198010"/>
                    <a:gd name="connsiteX1355" fmla="*/ 79011 w 972214"/>
                    <a:gd name="connsiteY1355" fmla="*/ 446385 h 1198010"/>
                    <a:gd name="connsiteX1356" fmla="*/ 77317 w 972214"/>
                    <a:gd name="connsiteY1356" fmla="*/ 447697 h 1198010"/>
                    <a:gd name="connsiteX1357" fmla="*/ 75181 w 972214"/>
                    <a:gd name="connsiteY1357" fmla="*/ 450615 h 1198010"/>
                    <a:gd name="connsiteX1358" fmla="*/ 73413 w 972214"/>
                    <a:gd name="connsiteY1358" fmla="*/ 452212 h 1198010"/>
                    <a:gd name="connsiteX1359" fmla="*/ 71587 w 972214"/>
                    <a:gd name="connsiteY1359" fmla="*/ 453215 h 1198010"/>
                    <a:gd name="connsiteX1360" fmla="*/ 68547 w 972214"/>
                    <a:gd name="connsiteY1360" fmla="*/ 456646 h 1198010"/>
                    <a:gd name="connsiteX1361" fmla="*/ 66021 w 972214"/>
                    <a:gd name="connsiteY1361" fmla="*/ 457330 h 1198010"/>
                    <a:gd name="connsiteX1362" fmla="*/ 59363 w 972214"/>
                    <a:gd name="connsiteY1362" fmla="*/ 457852 h 1198010"/>
                    <a:gd name="connsiteX1363" fmla="*/ 52427 w 972214"/>
                    <a:gd name="connsiteY1363" fmla="*/ 457836 h 1198010"/>
                    <a:gd name="connsiteX1364" fmla="*/ 46095 w 972214"/>
                    <a:gd name="connsiteY1364" fmla="*/ 457828 h 1198010"/>
                    <a:gd name="connsiteX1365" fmla="*/ 45133 w 972214"/>
                    <a:gd name="connsiteY1365" fmla="*/ 457779 h 1198010"/>
                    <a:gd name="connsiteX1366" fmla="*/ 45190 w 972214"/>
                    <a:gd name="connsiteY1366" fmla="*/ 454959 h 1198010"/>
                    <a:gd name="connsiteX1367" fmla="*/ 45353 w 972214"/>
                    <a:gd name="connsiteY1367" fmla="*/ 452962 h 1198010"/>
                    <a:gd name="connsiteX1368" fmla="*/ 43185 w 972214"/>
                    <a:gd name="connsiteY1368" fmla="*/ 450859 h 1198010"/>
                    <a:gd name="connsiteX1369" fmla="*/ 43039 w 972214"/>
                    <a:gd name="connsiteY1369" fmla="*/ 448276 h 1198010"/>
                    <a:gd name="connsiteX1370" fmla="*/ 42468 w 972214"/>
                    <a:gd name="connsiteY1370" fmla="*/ 446475 h 1198010"/>
                    <a:gd name="connsiteX1371" fmla="*/ 41751 w 972214"/>
                    <a:gd name="connsiteY1371" fmla="*/ 444299 h 1198010"/>
                    <a:gd name="connsiteX1372" fmla="*/ 40235 w 972214"/>
                    <a:gd name="connsiteY1372" fmla="*/ 442897 h 1198010"/>
                    <a:gd name="connsiteX1373" fmla="*/ 38116 w 972214"/>
                    <a:gd name="connsiteY1373" fmla="*/ 442351 h 1198010"/>
                    <a:gd name="connsiteX1374" fmla="*/ 34620 w 972214"/>
                    <a:gd name="connsiteY1374" fmla="*/ 441145 h 1198010"/>
                    <a:gd name="connsiteX1375" fmla="*/ 29445 w 972214"/>
                    <a:gd name="connsiteY1375" fmla="*/ 439890 h 1198010"/>
                    <a:gd name="connsiteX1376" fmla="*/ 24498 w 972214"/>
                    <a:gd name="connsiteY1376" fmla="*/ 439800 h 1198010"/>
                    <a:gd name="connsiteX1377" fmla="*/ 19641 w 972214"/>
                    <a:gd name="connsiteY1377" fmla="*/ 439923 h 1198010"/>
                    <a:gd name="connsiteX1378" fmla="*/ 22607 w 972214"/>
                    <a:gd name="connsiteY1378" fmla="*/ 435530 h 1198010"/>
                    <a:gd name="connsiteX1379" fmla="*/ 25574 w 972214"/>
                    <a:gd name="connsiteY1379" fmla="*/ 431145 h 1198010"/>
                    <a:gd name="connsiteX1380" fmla="*/ 25484 w 972214"/>
                    <a:gd name="connsiteY1380" fmla="*/ 427323 h 1198010"/>
                    <a:gd name="connsiteX1381" fmla="*/ 23096 w 972214"/>
                    <a:gd name="connsiteY1381" fmla="*/ 423998 h 1198010"/>
                    <a:gd name="connsiteX1382" fmla="*/ 21800 w 972214"/>
                    <a:gd name="connsiteY1382" fmla="*/ 421928 h 1198010"/>
                    <a:gd name="connsiteX1383" fmla="*/ 19804 w 972214"/>
                    <a:gd name="connsiteY1383" fmla="*/ 419067 h 1198010"/>
                    <a:gd name="connsiteX1384" fmla="*/ 17343 w 972214"/>
                    <a:gd name="connsiteY1384" fmla="*/ 417103 h 1198010"/>
                    <a:gd name="connsiteX1385" fmla="*/ 15998 w 972214"/>
                    <a:gd name="connsiteY1385" fmla="*/ 414487 h 1198010"/>
                    <a:gd name="connsiteX1386" fmla="*/ 16128 w 972214"/>
                    <a:gd name="connsiteY1386" fmla="*/ 412898 h 1198010"/>
                    <a:gd name="connsiteX1387" fmla="*/ 15908 w 972214"/>
                    <a:gd name="connsiteY1387" fmla="*/ 411847 h 1198010"/>
                    <a:gd name="connsiteX1388" fmla="*/ 14971 w 972214"/>
                    <a:gd name="connsiteY1388" fmla="*/ 411244 h 1198010"/>
                    <a:gd name="connsiteX1389" fmla="*/ 14034 w 972214"/>
                    <a:gd name="connsiteY1389" fmla="*/ 410282 h 1198010"/>
                    <a:gd name="connsiteX1390" fmla="*/ 12738 w 972214"/>
                    <a:gd name="connsiteY1390" fmla="*/ 409231 h 1198010"/>
                    <a:gd name="connsiteX1391" fmla="*/ 11222 w 972214"/>
                    <a:gd name="connsiteY1391" fmla="*/ 407837 h 1198010"/>
                    <a:gd name="connsiteX1392" fmla="*/ 11222 w 972214"/>
                    <a:gd name="connsiteY1392" fmla="*/ 406427 h 1198010"/>
                    <a:gd name="connsiteX1393" fmla="*/ 10644 w 972214"/>
                    <a:gd name="connsiteY1393" fmla="*/ 404944 h 1198010"/>
                    <a:gd name="connsiteX1394" fmla="*/ 9706 w 972214"/>
                    <a:gd name="connsiteY1394" fmla="*/ 403192 h 1198010"/>
                    <a:gd name="connsiteX1395" fmla="*/ 9706 w 972214"/>
                    <a:gd name="connsiteY1395" fmla="*/ 401798 h 1198010"/>
                    <a:gd name="connsiteX1396" fmla="*/ 8851 w 972214"/>
                    <a:gd name="connsiteY1396" fmla="*/ 399606 h 1198010"/>
                    <a:gd name="connsiteX1397" fmla="*/ 7913 w 972214"/>
                    <a:gd name="connsiteY1397" fmla="*/ 398049 h 1198010"/>
                    <a:gd name="connsiteX1398" fmla="*/ 6976 w 972214"/>
                    <a:gd name="connsiteY1398" fmla="*/ 396990 h 1198010"/>
                    <a:gd name="connsiteX1399" fmla="*/ 5615 w 972214"/>
                    <a:gd name="connsiteY1399" fmla="*/ 395506 h 1198010"/>
                    <a:gd name="connsiteX1400" fmla="*/ 5688 w 972214"/>
                    <a:gd name="connsiteY1400" fmla="*/ 394284 h 1198010"/>
                    <a:gd name="connsiteX1401" fmla="*/ 6699 w 972214"/>
                    <a:gd name="connsiteY1401" fmla="*/ 393673 h 1198010"/>
                    <a:gd name="connsiteX1402" fmla="*/ 7131 w 972214"/>
                    <a:gd name="connsiteY1402" fmla="*/ 392271 h 1198010"/>
                    <a:gd name="connsiteX1403" fmla="*/ 6984 w 972214"/>
                    <a:gd name="connsiteY1403" fmla="*/ 390878 h 1198010"/>
                    <a:gd name="connsiteX1404" fmla="*/ 5835 w 972214"/>
                    <a:gd name="connsiteY1404" fmla="*/ 390006 h 1198010"/>
                    <a:gd name="connsiteX1405" fmla="*/ 4466 w 972214"/>
                    <a:gd name="connsiteY1405" fmla="*/ 389574 h 1198010"/>
                    <a:gd name="connsiteX1406" fmla="*/ 2665 w 972214"/>
                    <a:gd name="connsiteY1406" fmla="*/ 387031 h 1198010"/>
                    <a:gd name="connsiteX1407" fmla="*/ 1369 w 972214"/>
                    <a:gd name="connsiteY1407" fmla="*/ 385727 h 1198010"/>
                    <a:gd name="connsiteX1408" fmla="*/ 505 w 972214"/>
                    <a:gd name="connsiteY1408" fmla="*/ 384936 h 1198010"/>
                    <a:gd name="connsiteX1409" fmla="*/ 0 w 972214"/>
                    <a:gd name="connsiteY1409" fmla="*/ 384064 h 1198010"/>
                    <a:gd name="connsiteX1410" fmla="*/ 505 w 972214"/>
                    <a:gd name="connsiteY1410" fmla="*/ 383453 h 1198010"/>
                    <a:gd name="connsiteX1411" fmla="*/ 1084 w 972214"/>
                    <a:gd name="connsiteY1411" fmla="*/ 382589 h 1198010"/>
                    <a:gd name="connsiteX1412" fmla="*/ 1231 w 972214"/>
                    <a:gd name="connsiteY1412" fmla="*/ 381188 h 1198010"/>
                    <a:gd name="connsiteX1413" fmla="*/ 937 w 972214"/>
                    <a:gd name="connsiteY1413" fmla="*/ 379884 h 1198010"/>
                    <a:gd name="connsiteX1414" fmla="*/ 937 w 972214"/>
                    <a:gd name="connsiteY1414" fmla="*/ 378742 h 1198010"/>
                    <a:gd name="connsiteX1415" fmla="*/ 1801 w 972214"/>
                    <a:gd name="connsiteY1415" fmla="*/ 378384 h 1198010"/>
                    <a:gd name="connsiteX1416" fmla="*/ 2738 w 972214"/>
                    <a:gd name="connsiteY1416" fmla="*/ 378563 h 1198010"/>
                    <a:gd name="connsiteX1417" fmla="*/ 3675 w 972214"/>
                    <a:gd name="connsiteY1417" fmla="*/ 377870 h 1198010"/>
                    <a:gd name="connsiteX1418" fmla="*/ 4898 w 972214"/>
                    <a:gd name="connsiteY1418" fmla="*/ 377602 h 1198010"/>
                    <a:gd name="connsiteX1419" fmla="*/ 6259 w 972214"/>
                    <a:gd name="connsiteY1419" fmla="*/ 377430 h 1198010"/>
                    <a:gd name="connsiteX1420" fmla="*/ 6976 w 972214"/>
                    <a:gd name="connsiteY1420" fmla="*/ 376648 h 1198010"/>
                    <a:gd name="connsiteX1421" fmla="*/ 6903 w 972214"/>
                    <a:gd name="connsiteY1421" fmla="*/ 375254 h 1198010"/>
                    <a:gd name="connsiteX1422" fmla="*/ 6039 w 972214"/>
                    <a:gd name="connsiteY1422" fmla="*/ 372541 h 1198010"/>
                    <a:gd name="connsiteX1423" fmla="*/ 5175 w 972214"/>
                    <a:gd name="connsiteY1423" fmla="*/ 371400 h 1198010"/>
                    <a:gd name="connsiteX1424" fmla="*/ 4890 w 972214"/>
                    <a:gd name="connsiteY1424" fmla="*/ 369745 h 1198010"/>
                    <a:gd name="connsiteX1425" fmla="*/ 5591 w 972214"/>
                    <a:gd name="connsiteY1425" fmla="*/ 366550 h 1198010"/>
                    <a:gd name="connsiteX1426" fmla="*/ 6039 w 972214"/>
                    <a:gd name="connsiteY1426" fmla="*/ 364513 h 1198010"/>
                    <a:gd name="connsiteX1427" fmla="*/ 7612 w 972214"/>
                    <a:gd name="connsiteY1427" fmla="*/ 362353 h 1198010"/>
                    <a:gd name="connsiteX1428" fmla="*/ 12437 w 972214"/>
                    <a:gd name="connsiteY1428" fmla="*/ 357724 h 1198010"/>
                    <a:gd name="connsiteX1429" fmla="*/ 16764 w 972214"/>
                    <a:gd name="connsiteY1429" fmla="*/ 354562 h 1198010"/>
                    <a:gd name="connsiteX1430" fmla="*/ 18875 w 972214"/>
                    <a:gd name="connsiteY1430" fmla="*/ 354236 h 1198010"/>
                    <a:gd name="connsiteX1431" fmla="*/ 20439 w 972214"/>
                    <a:gd name="connsiteY1431" fmla="*/ 353071 h 1198010"/>
                    <a:gd name="connsiteX1432" fmla="*/ 21434 w 972214"/>
                    <a:gd name="connsiteY1432" fmla="*/ 351294 h 1198010"/>
                    <a:gd name="connsiteX1433" fmla="*/ 21703 w 972214"/>
                    <a:gd name="connsiteY1433" fmla="*/ 349338 h 1198010"/>
                    <a:gd name="connsiteX1434" fmla="*/ 21474 w 972214"/>
                    <a:gd name="connsiteY1434" fmla="*/ 347643 h 1198010"/>
                    <a:gd name="connsiteX1435" fmla="*/ 20676 w 972214"/>
                    <a:gd name="connsiteY1435" fmla="*/ 345133 h 1198010"/>
                    <a:gd name="connsiteX1436" fmla="*/ 19714 w 972214"/>
                    <a:gd name="connsiteY1436" fmla="*/ 341995 h 1198010"/>
                    <a:gd name="connsiteX1437" fmla="*/ 18997 w 972214"/>
                    <a:gd name="connsiteY1437" fmla="*/ 340251 h 1198010"/>
                    <a:gd name="connsiteX1438" fmla="*/ 19649 w 972214"/>
                    <a:gd name="connsiteY1438" fmla="*/ 338157 h 1198010"/>
                    <a:gd name="connsiteX1439" fmla="*/ 20798 w 972214"/>
                    <a:gd name="connsiteY1439" fmla="*/ 335296 h 1198010"/>
                    <a:gd name="connsiteX1440" fmla="*/ 23153 w 972214"/>
                    <a:gd name="connsiteY1440" fmla="*/ 330977 h 1198010"/>
                    <a:gd name="connsiteX1441" fmla="*/ 25337 w 972214"/>
                    <a:gd name="connsiteY1441" fmla="*/ 326340 h 1198010"/>
                    <a:gd name="connsiteX1442" fmla="*/ 25582 w 972214"/>
                    <a:gd name="connsiteY1442" fmla="*/ 324987 h 1198010"/>
                    <a:gd name="connsiteX1443" fmla="*/ 25859 w 972214"/>
                    <a:gd name="connsiteY1443" fmla="*/ 322151 h 1198010"/>
                    <a:gd name="connsiteX1444" fmla="*/ 26870 w 972214"/>
                    <a:gd name="connsiteY1444" fmla="*/ 316364 h 1198010"/>
                    <a:gd name="connsiteX1445" fmla="*/ 27424 w 972214"/>
                    <a:gd name="connsiteY1445" fmla="*/ 313227 h 1198010"/>
                    <a:gd name="connsiteX1446" fmla="*/ 27139 w 972214"/>
                    <a:gd name="connsiteY1446" fmla="*/ 312021 h 1198010"/>
                    <a:gd name="connsiteX1447" fmla="*/ 27644 w 972214"/>
                    <a:gd name="connsiteY1447" fmla="*/ 310977 h 1198010"/>
                    <a:gd name="connsiteX1448" fmla="*/ 29013 w 972214"/>
                    <a:gd name="connsiteY1448" fmla="*/ 310105 h 1198010"/>
                    <a:gd name="connsiteX1449" fmla="*/ 32322 w 972214"/>
                    <a:gd name="connsiteY1449" fmla="*/ 309315 h 1198010"/>
                    <a:gd name="connsiteX1450" fmla="*/ 34563 w 972214"/>
                    <a:gd name="connsiteY1450" fmla="*/ 307579 h 1198010"/>
                    <a:gd name="connsiteX1451" fmla="*/ 38018 w 972214"/>
                    <a:gd name="connsiteY1451" fmla="*/ 304327 h 1198010"/>
                    <a:gd name="connsiteX1452" fmla="*/ 40903 w 972214"/>
                    <a:gd name="connsiteY1452" fmla="*/ 300864 h 1198010"/>
                    <a:gd name="connsiteX1453" fmla="*/ 43283 w 972214"/>
                    <a:gd name="connsiteY1453" fmla="*/ 299755 h 1198010"/>
                    <a:gd name="connsiteX1454" fmla="*/ 47611 w 972214"/>
                    <a:gd name="connsiteY1454" fmla="*/ 296552 h 1198010"/>
                    <a:gd name="connsiteX1455" fmla="*/ 50088 w 972214"/>
                    <a:gd name="connsiteY1455" fmla="*/ 294523 h 1198010"/>
                    <a:gd name="connsiteX1456" fmla="*/ 51066 w 972214"/>
                    <a:gd name="connsiteY1456" fmla="*/ 293888 h 1198010"/>
                    <a:gd name="connsiteX1457" fmla="*/ 53511 w 972214"/>
                    <a:gd name="connsiteY1457" fmla="*/ 292421 h 1198010"/>
                    <a:gd name="connsiteX1458" fmla="*/ 57888 w 972214"/>
                    <a:gd name="connsiteY1458" fmla="*/ 291915 h 1198010"/>
                    <a:gd name="connsiteX1459" fmla="*/ 61530 w 972214"/>
                    <a:gd name="connsiteY1459" fmla="*/ 291386 h 1198010"/>
                    <a:gd name="connsiteX1460" fmla="*/ 63584 w 972214"/>
                    <a:gd name="connsiteY1460" fmla="*/ 290424 h 1198010"/>
                    <a:gd name="connsiteX1461" fmla="*/ 66600 w 972214"/>
                    <a:gd name="connsiteY1461" fmla="*/ 290025 h 1198010"/>
                    <a:gd name="connsiteX1462" fmla="*/ 68629 w 972214"/>
                    <a:gd name="connsiteY1462" fmla="*/ 288949 h 1198010"/>
                    <a:gd name="connsiteX1463" fmla="*/ 70878 w 972214"/>
                    <a:gd name="connsiteY1463" fmla="*/ 288908 h 1198010"/>
                    <a:gd name="connsiteX1464" fmla="*/ 75108 w 972214"/>
                    <a:gd name="connsiteY1464" fmla="*/ 287808 h 1198010"/>
                    <a:gd name="connsiteX1465" fmla="*/ 76550 w 972214"/>
                    <a:gd name="connsiteY1465" fmla="*/ 286153 h 1198010"/>
                    <a:gd name="connsiteX1466" fmla="*/ 77773 w 972214"/>
                    <a:gd name="connsiteY1466" fmla="*/ 284189 h 1198010"/>
                    <a:gd name="connsiteX1467" fmla="*/ 79427 w 972214"/>
                    <a:gd name="connsiteY1467" fmla="*/ 282502 h 1198010"/>
                    <a:gd name="connsiteX1468" fmla="*/ 81359 w 972214"/>
                    <a:gd name="connsiteY1468" fmla="*/ 282062 h 1198010"/>
                    <a:gd name="connsiteX1469" fmla="*/ 83518 w 972214"/>
                    <a:gd name="connsiteY1469" fmla="*/ 282356 h 1198010"/>
                    <a:gd name="connsiteX1470" fmla="*/ 86094 w 972214"/>
                    <a:gd name="connsiteY1470" fmla="*/ 282315 h 1198010"/>
                    <a:gd name="connsiteX1471" fmla="*/ 89223 w 972214"/>
                    <a:gd name="connsiteY1471" fmla="*/ 281801 h 1198010"/>
                    <a:gd name="connsiteX1472" fmla="*/ 90731 w 972214"/>
                    <a:gd name="connsiteY1472" fmla="*/ 283105 h 1198010"/>
                    <a:gd name="connsiteX1473" fmla="*/ 91399 w 972214"/>
                    <a:gd name="connsiteY1473" fmla="*/ 284711 h 1198010"/>
                    <a:gd name="connsiteX1474" fmla="*/ 93323 w 972214"/>
                    <a:gd name="connsiteY1474" fmla="*/ 286333 h 1198010"/>
                    <a:gd name="connsiteX1475" fmla="*/ 94692 w 972214"/>
                    <a:gd name="connsiteY1475" fmla="*/ 286235 h 1198010"/>
                    <a:gd name="connsiteX1476" fmla="*/ 96053 w 972214"/>
                    <a:gd name="connsiteY1476" fmla="*/ 285885 h 1198010"/>
                    <a:gd name="connsiteX1477" fmla="*/ 97927 w 972214"/>
                    <a:gd name="connsiteY1477" fmla="*/ 287278 h 1198010"/>
                    <a:gd name="connsiteX1478" fmla="*/ 99150 w 972214"/>
                    <a:gd name="connsiteY1478" fmla="*/ 287107 h 1198010"/>
                    <a:gd name="connsiteX1479" fmla="*/ 99940 w 972214"/>
                    <a:gd name="connsiteY1479" fmla="*/ 286333 h 1198010"/>
                    <a:gd name="connsiteX1480" fmla="*/ 100087 w 972214"/>
                    <a:gd name="connsiteY1480" fmla="*/ 284377 h 1198010"/>
                    <a:gd name="connsiteX1481" fmla="*/ 100527 w 972214"/>
                    <a:gd name="connsiteY1481" fmla="*/ 283317 h 1198010"/>
                    <a:gd name="connsiteX1482" fmla="*/ 101448 w 972214"/>
                    <a:gd name="connsiteY1482" fmla="*/ 277197 h 1198010"/>
                    <a:gd name="connsiteX1483" fmla="*/ 102972 w 972214"/>
                    <a:gd name="connsiteY1483" fmla="*/ 267107 h 1198010"/>
                    <a:gd name="connsiteX1484" fmla="*/ 104349 w 972214"/>
                    <a:gd name="connsiteY1484" fmla="*/ 257955 h 1198010"/>
                    <a:gd name="connsiteX1485" fmla="*/ 105881 w 972214"/>
                    <a:gd name="connsiteY1485" fmla="*/ 247842 h 1198010"/>
                    <a:gd name="connsiteX1486" fmla="*/ 107454 w 972214"/>
                    <a:gd name="connsiteY1486" fmla="*/ 237385 h 1198010"/>
                    <a:gd name="connsiteX1487" fmla="*/ 109051 w 972214"/>
                    <a:gd name="connsiteY1487" fmla="*/ 226799 h 1198010"/>
                    <a:gd name="connsiteX1488" fmla="*/ 110364 w 972214"/>
                    <a:gd name="connsiteY1488" fmla="*/ 218111 h 1198010"/>
                    <a:gd name="connsiteX1489" fmla="*/ 111496 w 972214"/>
                    <a:gd name="connsiteY1489" fmla="*/ 210646 h 1198010"/>
                    <a:gd name="connsiteX1490" fmla="*/ 112181 w 972214"/>
                    <a:gd name="connsiteY1490" fmla="*/ 206066 h 1198010"/>
                    <a:gd name="connsiteX1491" fmla="*/ 113265 w 972214"/>
                    <a:gd name="connsiteY1491" fmla="*/ 200068 h 1198010"/>
                    <a:gd name="connsiteX1492" fmla="*/ 113689 w 972214"/>
                    <a:gd name="connsiteY1492" fmla="*/ 194795 h 1198010"/>
                    <a:gd name="connsiteX1493" fmla="*/ 114121 w 972214"/>
                    <a:gd name="connsiteY1493" fmla="*/ 193271 h 1198010"/>
                    <a:gd name="connsiteX1494" fmla="*/ 113844 w 972214"/>
                    <a:gd name="connsiteY1494" fmla="*/ 191999 h 1198010"/>
                    <a:gd name="connsiteX1495" fmla="*/ 112906 w 972214"/>
                    <a:gd name="connsiteY1495" fmla="*/ 190182 h 1198010"/>
                    <a:gd name="connsiteX1496" fmla="*/ 112914 w 972214"/>
                    <a:gd name="connsiteY1496" fmla="*/ 189375 h 1198010"/>
                    <a:gd name="connsiteX1497" fmla="*/ 113029 w 972214"/>
                    <a:gd name="connsiteY1497" fmla="*/ 188332 h 1198010"/>
                    <a:gd name="connsiteX1498" fmla="*/ 112914 w 972214"/>
                    <a:gd name="connsiteY1498" fmla="*/ 187395 h 1198010"/>
                    <a:gd name="connsiteX1499" fmla="*/ 111928 w 972214"/>
                    <a:gd name="connsiteY1499" fmla="*/ 186417 h 1198010"/>
                    <a:gd name="connsiteX1500" fmla="*/ 111162 w 972214"/>
                    <a:gd name="connsiteY1500" fmla="*/ 185814 h 1198010"/>
                    <a:gd name="connsiteX1501" fmla="*/ 110567 w 972214"/>
                    <a:gd name="connsiteY1501" fmla="*/ 184966 h 1198010"/>
                    <a:gd name="connsiteX1502" fmla="*/ 110290 w 972214"/>
                    <a:gd name="connsiteY1502" fmla="*/ 183768 h 1198010"/>
                    <a:gd name="connsiteX1503" fmla="*/ 109801 w 972214"/>
                    <a:gd name="connsiteY1503" fmla="*/ 182578 h 1198010"/>
                    <a:gd name="connsiteX1504" fmla="*/ 109581 w 972214"/>
                    <a:gd name="connsiteY1504" fmla="*/ 181332 h 1198010"/>
                    <a:gd name="connsiteX1505" fmla="*/ 108872 w 972214"/>
                    <a:gd name="connsiteY1505" fmla="*/ 180337 h 1198010"/>
                    <a:gd name="connsiteX1506" fmla="*/ 108660 w 972214"/>
                    <a:gd name="connsiteY1506" fmla="*/ 179090 h 1198010"/>
                    <a:gd name="connsiteX1507" fmla="*/ 109149 w 972214"/>
                    <a:gd name="connsiteY1507" fmla="*/ 177901 h 1198010"/>
                    <a:gd name="connsiteX1508" fmla="*/ 109369 w 972214"/>
                    <a:gd name="connsiteY1508" fmla="*/ 176654 h 1198010"/>
                    <a:gd name="connsiteX1509" fmla="*/ 109149 w 972214"/>
                    <a:gd name="connsiteY1509" fmla="*/ 175464 h 1198010"/>
                    <a:gd name="connsiteX1510" fmla="*/ 108872 w 972214"/>
                    <a:gd name="connsiteY1510" fmla="*/ 174086 h 1198010"/>
                    <a:gd name="connsiteX1511" fmla="*/ 108326 w 972214"/>
                    <a:gd name="connsiteY1511" fmla="*/ 172766 h 1198010"/>
                    <a:gd name="connsiteX1512" fmla="*/ 107495 w 972214"/>
                    <a:gd name="connsiteY1512" fmla="*/ 171951 h 1198010"/>
                    <a:gd name="connsiteX1513" fmla="*/ 105506 w 972214"/>
                    <a:gd name="connsiteY1513" fmla="*/ 171071 h 1198010"/>
                    <a:gd name="connsiteX1514" fmla="*/ 103510 w 972214"/>
                    <a:gd name="connsiteY1514" fmla="*/ 168928 h 1198010"/>
                    <a:gd name="connsiteX1515" fmla="*/ 101154 w 972214"/>
                    <a:gd name="connsiteY1515" fmla="*/ 167021 h 1198010"/>
                    <a:gd name="connsiteX1516" fmla="*/ 98147 w 972214"/>
                    <a:gd name="connsiteY1516" fmla="*/ 163386 h 1198010"/>
                    <a:gd name="connsiteX1517" fmla="*/ 97487 w 972214"/>
                    <a:gd name="connsiteY1517" fmla="*/ 161674 h 1198010"/>
                    <a:gd name="connsiteX1518" fmla="*/ 97479 w 972214"/>
                    <a:gd name="connsiteY1518" fmla="*/ 156956 h 1198010"/>
                    <a:gd name="connsiteX1519" fmla="*/ 97609 w 972214"/>
                    <a:gd name="connsiteY1519" fmla="*/ 151846 h 1198010"/>
                    <a:gd name="connsiteX1520" fmla="*/ 97805 w 972214"/>
                    <a:gd name="connsiteY1520" fmla="*/ 144120 h 1198010"/>
                    <a:gd name="connsiteX1521" fmla="*/ 97903 w 972214"/>
                    <a:gd name="connsiteY1521" fmla="*/ 140192 h 1198010"/>
                    <a:gd name="connsiteX1522" fmla="*/ 99598 w 972214"/>
                    <a:gd name="connsiteY1522" fmla="*/ 139972 h 1198010"/>
                    <a:gd name="connsiteX1523" fmla="*/ 101097 w 972214"/>
                    <a:gd name="connsiteY1523" fmla="*/ 139866 h 1198010"/>
                    <a:gd name="connsiteX1524" fmla="*/ 102662 w 972214"/>
                    <a:gd name="connsiteY1524" fmla="*/ 139589 h 1198010"/>
                    <a:gd name="connsiteX1525" fmla="*/ 104023 w 972214"/>
                    <a:gd name="connsiteY1525" fmla="*/ 139320 h 1198010"/>
                    <a:gd name="connsiteX1526" fmla="*/ 105278 w 972214"/>
                    <a:gd name="connsiteY1526" fmla="*/ 138757 h 1198010"/>
                    <a:gd name="connsiteX1527" fmla="*/ 106215 w 972214"/>
                    <a:gd name="connsiteY1527" fmla="*/ 138056 h 1198010"/>
                    <a:gd name="connsiteX1528" fmla="*/ 107332 w 972214"/>
                    <a:gd name="connsiteY1528" fmla="*/ 137600 h 1198010"/>
                    <a:gd name="connsiteX1529" fmla="*/ 108204 w 972214"/>
                    <a:gd name="connsiteY1529" fmla="*/ 137763 h 1198010"/>
                    <a:gd name="connsiteX1530" fmla="*/ 109076 w 972214"/>
                    <a:gd name="connsiteY1530" fmla="*/ 137136 h 1198010"/>
                    <a:gd name="connsiteX1531" fmla="*/ 110038 w 972214"/>
                    <a:gd name="connsiteY1531" fmla="*/ 136549 h 1198010"/>
                    <a:gd name="connsiteX1532" fmla="*/ 110975 w 972214"/>
                    <a:gd name="connsiteY1532" fmla="*/ 136068 h 1198010"/>
                    <a:gd name="connsiteX1533" fmla="*/ 112336 w 972214"/>
                    <a:gd name="connsiteY1533" fmla="*/ 135660 h 1198010"/>
                    <a:gd name="connsiteX1534" fmla="*/ 113607 w 972214"/>
                    <a:gd name="connsiteY1534" fmla="*/ 136614 h 1198010"/>
                    <a:gd name="connsiteX1535" fmla="*/ 114316 w 972214"/>
                    <a:gd name="connsiteY1535" fmla="*/ 137551 h 1198010"/>
                    <a:gd name="connsiteX1536" fmla="*/ 115148 w 972214"/>
                    <a:gd name="connsiteY1536" fmla="*/ 138007 h 1198010"/>
                    <a:gd name="connsiteX1537" fmla="*/ 115930 w 972214"/>
                    <a:gd name="connsiteY1537" fmla="*/ 137893 h 1198010"/>
                    <a:gd name="connsiteX1538" fmla="*/ 116460 w 972214"/>
                    <a:gd name="connsiteY1538" fmla="*/ 137975 h 1198010"/>
                    <a:gd name="connsiteX1539" fmla="*/ 117022 w 972214"/>
                    <a:gd name="connsiteY1539" fmla="*/ 138733 h 1198010"/>
                    <a:gd name="connsiteX1540" fmla="*/ 117731 w 972214"/>
                    <a:gd name="connsiteY1540" fmla="*/ 138790 h 1198010"/>
                    <a:gd name="connsiteX1541" fmla="*/ 118758 w 972214"/>
                    <a:gd name="connsiteY1541" fmla="*/ 138660 h 1198010"/>
                    <a:gd name="connsiteX1542" fmla="*/ 119720 w 972214"/>
                    <a:gd name="connsiteY1542" fmla="*/ 138488 h 1198010"/>
                    <a:gd name="connsiteX1543" fmla="*/ 120168 w 972214"/>
                    <a:gd name="connsiteY1543" fmla="*/ 138277 h 1198010"/>
                    <a:gd name="connsiteX1544" fmla="*/ 120241 w 972214"/>
                    <a:gd name="connsiteY1544" fmla="*/ 137788 h 1198010"/>
                    <a:gd name="connsiteX1545" fmla="*/ 119997 w 972214"/>
                    <a:gd name="connsiteY1545" fmla="*/ 136956 h 1198010"/>
                    <a:gd name="connsiteX1546" fmla="*/ 119654 w 972214"/>
                    <a:gd name="connsiteY1546" fmla="*/ 136174 h 1198010"/>
                    <a:gd name="connsiteX1547" fmla="*/ 119923 w 972214"/>
                    <a:gd name="connsiteY1547" fmla="*/ 134960 h 1198010"/>
                    <a:gd name="connsiteX1548" fmla="*/ 119948 w 972214"/>
                    <a:gd name="connsiteY1548" fmla="*/ 133509 h 1198010"/>
                    <a:gd name="connsiteX1549" fmla="*/ 119988 w 972214"/>
                    <a:gd name="connsiteY1549" fmla="*/ 131651 h 1198010"/>
                    <a:gd name="connsiteX1550" fmla="*/ 119230 w 972214"/>
                    <a:gd name="connsiteY1550" fmla="*/ 130624 h 1198010"/>
                    <a:gd name="connsiteX1551" fmla="*/ 118473 w 972214"/>
                    <a:gd name="connsiteY1551" fmla="*/ 128676 h 1198010"/>
                    <a:gd name="connsiteX1552" fmla="*/ 117625 w 972214"/>
                    <a:gd name="connsiteY1552" fmla="*/ 127119 h 1198010"/>
                    <a:gd name="connsiteX1553" fmla="*/ 116313 w 972214"/>
                    <a:gd name="connsiteY1553" fmla="*/ 126068 h 1198010"/>
                    <a:gd name="connsiteX1554" fmla="*/ 115082 w 972214"/>
                    <a:gd name="connsiteY1554" fmla="*/ 125661 h 1198010"/>
                    <a:gd name="connsiteX1555" fmla="*/ 114055 w 972214"/>
                    <a:gd name="connsiteY1555" fmla="*/ 126313 h 1198010"/>
                    <a:gd name="connsiteX1556" fmla="*/ 113094 w 972214"/>
                    <a:gd name="connsiteY1556" fmla="*/ 126419 h 1198010"/>
                    <a:gd name="connsiteX1557" fmla="*/ 112385 w 972214"/>
                    <a:gd name="connsiteY1557" fmla="*/ 125832 h 1198010"/>
                    <a:gd name="connsiteX1558" fmla="*/ 111219 w 972214"/>
                    <a:gd name="connsiteY1558" fmla="*/ 125808 h 1198010"/>
                    <a:gd name="connsiteX1559" fmla="*/ 109964 w 972214"/>
                    <a:gd name="connsiteY1559" fmla="*/ 125620 h 1198010"/>
                    <a:gd name="connsiteX1560" fmla="*/ 108644 w 972214"/>
                    <a:gd name="connsiteY1560" fmla="*/ 125392 h 1198010"/>
                    <a:gd name="connsiteX1561" fmla="*/ 106264 w 972214"/>
                    <a:gd name="connsiteY1561" fmla="*/ 125815 h 1198010"/>
                    <a:gd name="connsiteX1562" fmla="*/ 105417 w 972214"/>
                    <a:gd name="connsiteY1562" fmla="*/ 125294 h 1198010"/>
                    <a:gd name="connsiteX1563" fmla="*/ 104251 w 972214"/>
                    <a:gd name="connsiteY1563" fmla="*/ 125237 h 1198010"/>
                    <a:gd name="connsiteX1564" fmla="*/ 102915 w 972214"/>
                    <a:gd name="connsiteY1564" fmla="*/ 125808 h 1198010"/>
                    <a:gd name="connsiteX1565" fmla="*/ 102947 w 972214"/>
                    <a:gd name="connsiteY1565" fmla="*/ 118342 h 1198010"/>
                    <a:gd name="connsiteX1566" fmla="*/ 102980 w 972214"/>
                    <a:gd name="connsiteY1566" fmla="*/ 111301 h 1198010"/>
                    <a:gd name="connsiteX1567" fmla="*/ 103004 w 972214"/>
                    <a:gd name="connsiteY1567" fmla="*/ 106370 h 1198010"/>
                    <a:gd name="connsiteX1568" fmla="*/ 104211 w 972214"/>
                    <a:gd name="connsiteY1568" fmla="*/ 106476 h 1198010"/>
                    <a:gd name="connsiteX1569" fmla="*/ 105702 w 972214"/>
                    <a:gd name="connsiteY1569" fmla="*/ 105588 h 1198010"/>
                    <a:gd name="connsiteX1570" fmla="*/ 107927 w 972214"/>
                    <a:gd name="connsiteY1570" fmla="*/ 105449 h 1198010"/>
                    <a:gd name="connsiteX1571" fmla="*/ 109630 w 972214"/>
                    <a:gd name="connsiteY1571" fmla="*/ 104512 h 1198010"/>
                    <a:gd name="connsiteX1572" fmla="*/ 110576 w 972214"/>
                    <a:gd name="connsiteY1572" fmla="*/ 104439 h 1198010"/>
                    <a:gd name="connsiteX1573" fmla="*/ 112385 w 972214"/>
                    <a:gd name="connsiteY1573" fmla="*/ 104895 h 1198010"/>
                    <a:gd name="connsiteX1574" fmla="*/ 114259 w 972214"/>
                    <a:gd name="connsiteY1574" fmla="*/ 105865 h 1198010"/>
                    <a:gd name="connsiteX1575" fmla="*/ 116117 w 972214"/>
                    <a:gd name="connsiteY1575" fmla="*/ 105996 h 1198010"/>
                    <a:gd name="connsiteX1576" fmla="*/ 120958 w 972214"/>
                    <a:gd name="connsiteY1576" fmla="*/ 105996 h 1198010"/>
                    <a:gd name="connsiteX1577" fmla="*/ 126198 w 972214"/>
                    <a:gd name="connsiteY1577" fmla="*/ 105996 h 1198010"/>
                    <a:gd name="connsiteX1578" fmla="*/ 132017 w 972214"/>
                    <a:gd name="connsiteY1578" fmla="*/ 105996 h 1198010"/>
                    <a:gd name="connsiteX1579" fmla="*/ 137845 w 972214"/>
                    <a:gd name="connsiteY1579" fmla="*/ 105996 h 1198010"/>
                    <a:gd name="connsiteX1580" fmla="*/ 142906 w 972214"/>
                    <a:gd name="connsiteY1580" fmla="*/ 105996 h 1198010"/>
                    <a:gd name="connsiteX1581" fmla="*/ 144462 w 972214"/>
                    <a:gd name="connsiteY1581" fmla="*/ 106052 h 1198010"/>
                    <a:gd name="connsiteX1582" fmla="*/ 143557 w 972214"/>
                    <a:gd name="connsiteY1582" fmla="*/ 104406 h 1198010"/>
                    <a:gd name="connsiteX1583" fmla="*/ 142498 w 972214"/>
                    <a:gd name="connsiteY1583" fmla="*/ 102287 h 1198010"/>
                    <a:gd name="connsiteX1584" fmla="*/ 142906 w 972214"/>
                    <a:gd name="connsiteY1584" fmla="*/ 100617 h 1198010"/>
                    <a:gd name="connsiteX1585" fmla="*/ 143427 w 972214"/>
                    <a:gd name="connsiteY1585" fmla="*/ 98930 h 1198010"/>
                    <a:gd name="connsiteX1586" fmla="*/ 144038 w 972214"/>
                    <a:gd name="connsiteY1586" fmla="*/ 98049 h 1198010"/>
                    <a:gd name="connsiteX1587" fmla="*/ 145611 w 972214"/>
                    <a:gd name="connsiteY1587" fmla="*/ 98987 h 1198010"/>
                    <a:gd name="connsiteX1588" fmla="*/ 146931 w 972214"/>
                    <a:gd name="connsiteY1588" fmla="*/ 101855 h 1198010"/>
                    <a:gd name="connsiteX1589" fmla="*/ 148024 w 972214"/>
                    <a:gd name="connsiteY1589" fmla="*/ 104007 h 1198010"/>
                    <a:gd name="connsiteX1590" fmla="*/ 149091 w 972214"/>
                    <a:gd name="connsiteY1590" fmla="*/ 105066 h 1198010"/>
                    <a:gd name="connsiteX1591" fmla="*/ 150420 w 972214"/>
                    <a:gd name="connsiteY1591" fmla="*/ 105189 h 1198010"/>
                    <a:gd name="connsiteX1592" fmla="*/ 151927 w 972214"/>
                    <a:gd name="connsiteY1592" fmla="*/ 104830 h 1198010"/>
                    <a:gd name="connsiteX1593" fmla="*/ 153427 w 972214"/>
                    <a:gd name="connsiteY1593" fmla="*/ 103950 h 1198010"/>
                    <a:gd name="connsiteX1594" fmla="*/ 155986 w 972214"/>
                    <a:gd name="connsiteY1594" fmla="*/ 99997 h 1198010"/>
                    <a:gd name="connsiteX1595" fmla="*/ 158529 w 972214"/>
                    <a:gd name="connsiteY1595" fmla="*/ 96615 h 1198010"/>
                    <a:gd name="connsiteX1596" fmla="*/ 159849 w 972214"/>
                    <a:gd name="connsiteY1596" fmla="*/ 95482 h 1198010"/>
                    <a:gd name="connsiteX1597" fmla="*/ 161242 w 972214"/>
                    <a:gd name="connsiteY1597" fmla="*/ 94439 h 1198010"/>
                    <a:gd name="connsiteX1598" fmla="*/ 162286 w 972214"/>
                    <a:gd name="connsiteY1598" fmla="*/ 94048 h 1198010"/>
                    <a:gd name="connsiteX1599" fmla="*/ 163703 w 972214"/>
                    <a:gd name="connsiteY1599" fmla="*/ 94178 h 1198010"/>
                    <a:gd name="connsiteX1600" fmla="*/ 164902 w 972214"/>
                    <a:gd name="connsiteY1600" fmla="*/ 95099 h 1198010"/>
                    <a:gd name="connsiteX1601" fmla="*/ 165684 w 972214"/>
                    <a:gd name="connsiteY1601" fmla="*/ 96713 h 1198010"/>
                    <a:gd name="connsiteX1602" fmla="*/ 168528 w 972214"/>
                    <a:gd name="connsiteY1602" fmla="*/ 102320 h 1198010"/>
                    <a:gd name="connsiteX1603" fmla="*/ 170680 w 972214"/>
                    <a:gd name="connsiteY1603" fmla="*/ 106550 h 1198010"/>
                    <a:gd name="connsiteX1604" fmla="*/ 171405 w 972214"/>
                    <a:gd name="connsiteY1604" fmla="*/ 109190 h 1198010"/>
                    <a:gd name="connsiteX1605" fmla="*/ 171446 w 972214"/>
                    <a:gd name="connsiteY1605" fmla="*/ 115628 h 1198010"/>
                    <a:gd name="connsiteX1606" fmla="*/ 171316 w 972214"/>
                    <a:gd name="connsiteY1606" fmla="*/ 121333 h 1198010"/>
                    <a:gd name="connsiteX1607" fmla="*/ 171593 w 972214"/>
                    <a:gd name="connsiteY1607" fmla="*/ 122067 h 1198010"/>
                    <a:gd name="connsiteX1608" fmla="*/ 172016 w 972214"/>
                    <a:gd name="connsiteY1608" fmla="*/ 122270 h 1198010"/>
                    <a:gd name="connsiteX1609" fmla="*/ 176711 w 972214"/>
                    <a:gd name="connsiteY1609" fmla="*/ 120934 h 1198010"/>
                    <a:gd name="connsiteX1610" fmla="*/ 183084 w 972214"/>
                    <a:gd name="connsiteY1610" fmla="*/ 127845 h 1198010"/>
                    <a:gd name="connsiteX1611" fmla="*/ 187794 w 972214"/>
                    <a:gd name="connsiteY1611" fmla="*/ 132939 h 1198010"/>
                    <a:gd name="connsiteX1612" fmla="*/ 189832 w 972214"/>
                    <a:gd name="connsiteY1612" fmla="*/ 134577 h 1198010"/>
                    <a:gd name="connsiteX1613" fmla="*/ 190956 w 972214"/>
                    <a:gd name="connsiteY1613" fmla="*/ 135033 h 1198010"/>
                    <a:gd name="connsiteX1614" fmla="*/ 193695 w 972214"/>
                    <a:gd name="connsiteY1614" fmla="*/ 134699 h 1198010"/>
                    <a:gd name="connsiteX1615" fmla="*/ 196946 w 972214"/>
                    <a:gd name="connsiteY1615" fmla="*/ 134030 h 1198010"/>
                    <a:gd name="connsiteX1616" fmla="*/ 198527 w 972214"/>
                    <a:gd name="connsiteY1616" fmla="*/ 133297 h 1198010"/>
                    <a:gd name="connsiteX1617" fmla="*/ 200280 w 972214"/>
                    <a:gd name="connsiteY1617" fmla="*/ 131708 h 1198010"/>
                    <a:gd name="connsiteX1618" fmla="*/ 203116 w 972214"/>
                    <a:gd name="connsiteY1618" fmla="*/ 129483 h 1198010"/>
                    <a:gd name="connsiteX1619" fmla="*/ 205430 w 972214"/>
                    <a:gd name="connsiteY1619" fmla="*/ 128268 h 1198010"/>
                    <a:gd name="connsiteX1620" fmla="*/ 206343 w 972214"/>
                    <a:gd name="connsiteY1620" fmla="*/ 128097 h 1198010"/>
                    <a:gd name="connsiteX1621" fmla="*/ 207256 w 972214"/>
                    <a:gd name="connsiteY1621" fmla="*/ 128489 h 1198010"/>
                    <a:gd name="connsiteX1622" fmla="*/ 209212 w 972214"/>
                    <a:gd name="connsiteY1622" fmla="*/ 129817 h 1198010"/>
                    <a:gd name="connsiteX1623" fmla="*/ 210279 w 972214"/>
                    <a:gd name="connsiteY1623" fmla="*/ 132286 h 1198010"/>
                    <a:gd name="connsiteX1624" fmla="*/ 209293 w 972214"/>
                    <a:gd name="connsiteY1624" fmla="*/ 135163 h 1198010"/>
                    <a:gd name="connsiteX1625" fmla="*/ 209456 w 972214"/>
                    <a:gd name="connsiteY1625" fmla="*/ 136948 h 1198010"/>
                    <a:gd name="connsiteX1626" fmla="*/ 211502 w 972214"/>
                    <a:gd name="connsiteY1626" fmla="*/ 136850 h 1198010"/>
                    <a:gd name="connsiteX1627" fmla="*/ 213148 w 972214"/>
                    <a:gd name="connsiteY1627" fmla="*/ 133876 h 1198010"/>
                    <a:gd name="connsiteX1628" fmla="*/ 214297 w 972214"/>
                    <a:gd name="connsiteY1628" fmla="*/ 131537 h 1198010"/>
                    <a:gd name="connsiteX1629" fmla="*/ 216693 w 972214"/>
                    <a:gd name="connsiteY1629" fmla="*/ 129646 h 1198010"/>
                    <a:gd name="connsiteX1630" fmla="*/ 219040 w 972214"/>
                    <a:gd name="connsiteY1630" fmla="*/ 126940 h 1198010"/>
                    <a:gd name="connsiteX1631" fmla="*/ 220670 w 972214"/>
                    <a:gd name="connsiteY1631" fmla="*/ 124365 h 1198010"/>
                    <a:gd name="connsiteX1632" fmla="*/ 222585 w 972214"/>
                    <a:gd name="connsiteY1632" fmla="*/ 122857 h 1198010"/>
                    <a:gd name="connsiteX1633" fmla="*/ 225470 w 972214"/>
                    <a:gd name="connsiteY1633" fmla="*/ 121015 h 1198010"/>
                    <a:gd name="connsiteX1634" fmla="*/ 227752 w 972214"/>
                    <a:gd name="connsiteY1634" fmla="*/ 119899 h 1198010"/>
                    <a:gd name="connsiteX1635" fmla="*/ 229896 w 972214"/>
                    <a:gd name="connsiteY1635" fmla="*/ 120013 h 1198010"/>
                    <a:gd name="connsiteX1636" fmla="*/ 231485 w 972214"/>
                    <a:gd name="connsiteY1636" fmla="*/ 118799 h 1198010"/>
                    <a:gd name="connsiteX1637" fmla="*/ 233547 w 972214"/>
                    <a:gd name="connsiteY1637" fmla="*/ 116517 h 1198010"/>
                    <a:gd name="connsiteX1638" fmla="*/ 234989 w 972214"/>
                    <a:gd name="connsiteY1638" fmla="*/ 114691 h 1198010"/>
                    <a:gd name="connsiteX1639" fmla="*/ 235992 w 972214"/>
                    <a:gd name="connsiteY1639" fmla="*/ 114031 h 1198010"/>
                    <a:gd name="connsiteX1640" fmla="*/ 237997 w 972214"/>
                    <a:gd name="connsiteY1640" fmla="*/ 114210 h 1198010"/>
                    <a:gd name="connsiteX1641" fmla="*/ 240507 w 972214"/>
                    <a:gd name="connsiteY1641" fmla="*/ 113958 h 1198010"/>
                    <a:gd name="connsiteX1642" fmla="*/ 242960 w 972214"/>
                    <a:gd name="connsiteY1642" fmla="*/ 111741 h 1198010"/>
                    <a:gd name="connsiteX1643" fmla="*/ 245193 w 972214"/>
                    <a:gd name="connsiteY1643" fmla="*/ 109043 h 1198010"/>
                    <a:gd name="connsiteX1644" fmla="*/ 246383 w 972214"/>
                    <a:gd name="connsiteY1644" fmla="*/ 104512 h 1198010"/>
                    <a:gd name="connsiteX1645" fmla="*/ 247173 w 972214"/>
                    <a:gd name="connsiteY1645" fmla="*/ 100503 h 1198010"/>
                    <a:gd name="connsiteX1646" fmla="*/ 247841 w 972214"/>
                    <a:gd name="connsiteY1646" fmla="*/ 99687 h 1198010"/>
                    <a:gd name="connsiteX1647" fmla="*/ 248656 w 972214"/>
                    <a:gd name="connsiteY1647" fmla="*/ 99044 h 1198010"/>
                    <a:gd name="connsiteX1648" fmla="*/ 249610 w 972214"/>
                    <a:gd name="connsiteY1648" fmla="*/ 98628 h 1198010"/>
                    <a:gd name="connsiteX1649" fmla="*/ 251908 w 972214"/>
                    <a:gd name="connsiteY1649" fmla="*/ 98335 h 1198010"/>
                    <a:gd name="connsiteX1650" fmla="*/ 255942 w 972214"/>
                    <a:gd name="connsiteY1650" fmla="*/ 96191 h 1198010"/>
                    <a:gd name="connsiteX1651" fmla="*/ 258713 w 972214"/>
                    <a:gd name="connsiteY1651" fmla="*/ 94032 h 1198010"/>
                    <a:gd name="connsiteX1652" fmla="*/ 261354 w 972214"/>
                    <a:gd name="connsiteY1652" fmla="*/ 93567 h 1198010"/>
                    <a:gd name="connsiteX1653" fmla="*/ 262128 w 972214"/>
                    <a:gd name="connsiteY1653" fmla="*/ 92980 h 1198010"/>
                    <a:gd name="connsiteX1654" fmla="*/ 263081 w 972214"/>
                    <a:gd name="connsiteY1654" fmla="*/ 90975 h 1198010"/>
                    <a:gd name="connsiteX1655" fmla="*/ 263562 w 972214"/>
                    <a:gd name="connsiteY1655" fmla="*/ 87439 h 1198010"/>
                    <a:gd name="connsiteX1656" fmla="*/ 263204 w 972214"/>
                    <a:gd name="connsiteY1656" fmla="*/ 85295 h 1198010"/>
                    <a:gd name="connsiteX1657" fmla="*/ 258355 w 972214"/>
                    <a:gd name="connsiteY1657" fmla="*/ 84635 h 1198010"/>
                    <a:gd name="connsiteX1658" fmla="*/ 255184 w 972214"/>
                    <a:gd name="connsiteY1658" fmla="*/ 84635 h 1198010"/>
                    <a:gd name="connsiteX1659" fmla="*/ 249928 w 972214"/>
                    <a:gd name="connsiteY1659" fmla="*/ 84081 h 1198010"/>
                    <a:gd name="connsiteX1660" fmla="*/ 247426 w 972214"/>
                    <a:gd name="connsiteY1660" fmla="*/ 83200 h 1198010"/>
                    <a:gd name="connsiteX1661" fmla="*/ 246888 w 972214"/>
                    <a:gd name="connsiteY1661" fmla="*/ 82581 h 1198010"/>
                    <a:gd name="connsiteX1662" fmla="*/ 246839 w 972214"/>
                    <a:gd name="connsiteY1662" fmla="*/ 81905 h 1198010"/>
                    <a:gd name="connsiteX1663" fmla="*/ 247336 w 972214"/>
                    <a:gd name="connsiteY1663" fmla="*/ 80381 h 1198010"/>
                    <a:gd name="connsiteX1664" fmla="*/ 247825 w 972214"/>
                    <a:gd name="connsiteY1664" fmla="*/ 77504 h 1198010"/>
                    <a:gd name="connsiteX1665" fmla="*/ 247108 w 972214"/>
                    <a:gd name="connsiteY1665" fmla="*/ 73616 h 1198010"/>
                    <a:gd name="connsiteX1666" fmla="*/ 244484 w 972214"/>
                    <a:gd name="connsiteY1666" fmla="*/ 67529 h 1198010"/>
                    <a:gd name="connsiteX1667" fmla="*/ 242617 w 972214"/>
                    <a:gd name="connsiteY1667" fmla="*/ 61547 h 1198010"/>
                    <a:gd name="connsiteX1668" fmla="*/ 242373 w 972214"/>
                    <a:gd name="connsiteY1668" fmla="*/ 57366 h 1198010"/>
                    <a:gd name="connsiteX1669" fmla="*/ 242414 w 972214"/>
                    <a:gd name="connsiteY1669" fmla="*/ 52957 h 1198010"/>
                    <a:gd name="connsiteX1670" fmla="*/ 242561 w 972214"/>
                    <a:gd name="connsiteY1670" fmla="*/ 50072 h 1198010"/>
                    <a:gd name="connsiteX1671" fmla="*/ 241216 w 972214"/>
                    <a:gd name="connsiteY1671" fmla="*/ 47815 h 1198010"/>
                    <a:gd name="connsiteX1672" fmla="*/ 233954 w 972214"/>
                    <a:gd name="connsiteY1672" fmla="*/ 40708 h 1198010"/>
                    <a:gd name="connsiteX1673" fmla="*/ 231452 w 972214"/>
                    <a:gd name="connsiteY1673" fmla="*/ 37350 h 1198010"/>
                    <a:gd name="connsiteX1674" fmla="*/ 230613 w 972214"/>
                    <a:gd name="connsiteY1674" fmla="*/ 35028 h 1198010"/>
                    <a:gd name="connsiteX1675" fmla="*/ 227752 w 972214"/>
                    <a:gd name="connsiteY1675" fmla="*/ 30741 h 1198010"/>
                    <a:gd name="connsiteX1676" fmla="*/ 228478 w 972214"/>
                    <a:gd name="connsiteY1676" fmla="*/ 29429 h 1198010"/>
                    <a:gd name="connsiteX1677" fmla="*/ 230124 w 972214"/>
                    <a:gd name="connsiteY1677" fmla="*/ 29478 h 1198010"/>
                    <a:gd name="connsiteX1678" fmla="*/ 231534 w 972214"/>
                    <a:gd name="connsiteY1678" fmla="*/ 30594 h 1198010"/>
                    <a:gd name="connsiteX1679" fmla="*/ 232822 w 972214"/>
                    <a:gd name="connsiteY1679" fmla="*/ 32982 h 1198010"/>
                    <a:gd name="connsiteX1680" fmla="*/ 233742 w 972214"/>
                    <a:gd name="connsiteY1680" fmla="*/ 33512 h 1198010"/>
                    <a:gd name="connsiteX1681" fmla="*/ 235006 w 972214"/>
                    <a:gd name="connsiteY1681" fmla="*/ 33512 h 1198010"/>
                    <a:gd name="connsiteX1682" fmla="*/ 241696 w 972214"/>
                    <a:gd name="connsiteY1682" fmla="*/ 33503 h 1198010"/>
                    <a:gd name="connsiteX1683" fmla="*/ 243269 w 972214"/>
                    <a:gd name="connsiteY1683" fmla="*/ 33903 h 1198010"/>
                    <a:gd name="connsiteX1684" fmla="*/ 244215 w 972214"/>
                    <a:gd name="connsiteY1684" fmla="*/ 34702 h 1198010"/>
                    <a:gd name="connsiteX1685" fmla="*/ 245022 w 972214"/>
                    <a:gd name="connsiteY1685" fmla="*/ 35696 h 1198010"/>
                    <a:gd name="connsiteX1686" fmla="*/ 246220 w 972214"/>
                    <a:gd name="connsiteY1686" fmla="*/ 38475 h 1198010"/>
                    <a:gd name="connsiteX1687" fmla="*/ 247507 w 972214"/>
                    <a:gd name="connsiteY1687" fmla="*/ 39836 h 1198010"/>
                    <a:gd name="connsiteX1688" fmla="*/ 250156 w 972214"/>
                    <a:gd name="connsiteY1688" fmla="*/ 39787 h 1198010"/>
                    <a:gd name="connsiteX1689" fmla="*/ 254321 w 972214"/>
                    <a:gd name="connsiteY1689" fmla="*/ 39730 h 1198010"/>
                    <a:gd name="connsiteX1690" fmla="*/ 256651 w 972214"/>
                    <a:gd name="connsiteY1690" fmla="*/ 39477 h 1198010"/>
                    <a:gd name="connsiteX1691" fmla="*/ 258045 w 972214"/>
                    <a:gd name="connsiteY1691" fmla="*/ 40260 h 1198010"/>
                    <a:gd name="connsiteX1692" fmla="*/ 259773 w 972214"/>
                    <a:gd name="connsiteY1692" fmla="*/ 40895 h 1198010"/>
                    <a:gd name="connsiteX1693" fmla="*/ 263416 w 972214"/>
                    <a:gd name="connsiteY1693" fmla="*/ 39420 h 1198010"/>
                    <a:gd name="connsiteX1694" fmla="*/ 264434 w 972214"/>
                    <a:gd name="connsiteY1694" fmla="*/ 39388 h 1198010"/>
                    <a:gd name="connsiteX1695" fmla="*/ 265526 w 972214"/>
                    <a:gd name="connsiteY1695" fmla="*/ 40040 h 1198010"/>
                    <a:gd name="connsiteX1696" fmla="*/ 269455 w 972214"/>
                    <a:gd name="connsiteY1696" fmla="*/ 45003 h 1198010"/>
                    <a:gd name="connsiteX1697" fmla="*/ 271712 w 972214"/>
                    <a:gd name="connsiteY1697" fmla="*/ 47105 h 1198010"/>
                    <a:gd name="connsiteX1698" fmla="*/ 273611 w 972214"/>
                    <a:gd name="connsiteY1698" fmla="*/ 49876 h 1198010"/>
                    <a:gd name="connsiteX1699" fmla="*/ 276374 w 972214"/>
                    <a:gd name="connsiteY1699" fmla="*/ 49885 h 1198010"/>
                    <a:gd name="connsiteX1700" fmla="*/ 278664 w 972214"/>
                    <a:gd name="connsiteY1700" fmla="*/ 47505 h 1198010"/>
                    <a:gd name="connsiteX1701" fmla="*/ 279275 w 972214"/>
                    <a:gd name="connsiteY1701" fmla="*/ 39485 h 1198010"/>
                    <a:gd name="connsiteX1702" fmla="*/ 279968 w 972214"/>
                    <a:gd name="connsiteY1702" fmla="*/ 37163 h 1198010"/>
                    <a:gd name="connsiteX1703" fmla="*/ 281133 w 972214"/>
                    <a:gd name="connsiteY1703" fmla="*/ 36503 h 1198010"/>
                    <a:gd name="connsiteX1704" fmla="*/ 282510 w 972214"/>
                    <a:gd name="connsiteY1704" fmla="*/ 36429 h 1198010"/>
                    <a:gd name="connsiteX1705" fmla="*/ 284140 w 972214"/>
                    <a:gd name="connsiteY1705" fmla="*/ 35166 h 1198010"/>
                    <a:gd name="connsiteX1706" fmla="*/ 285917 w 972214"/>
                    <a:gd name="connsiteY1706" fmla="*/ 33544 h 1198010"/>
                    <a:gd name="connsiteX1707" fmla="*/ 287449 w 972214"/>
                    <a:gd name="connsiteY1707" fmla="*/ 32998 h 1198010"/>
                    <a:gd name="connsiteX1708" fmla="*/ 293839 w 972214"/>
                    <a:gd name="connsiteY1708" fmla="*/ 34751 h 1198010"/>
                    <a:gd name="connsiteX1709" fmla="*/ 295607 w 972214"/>
                    <a:gd name="connsiteY1709" fmla="*/ 33911 h 1198010"/>
                    <a:gd name="connsiteX1710" fmla="*/ 302078 w 972214"/>
                    <a:gd name="connsiteY1710" fmla="*/ 31784 h 1198010"/>
                    <a:gd name="connsiteX1711" fmla="*/ 308687 w 972214"/>
                    <a:gd name="connsiteY1711" fmla="*/ 29070 h 1198010"/>
                    <a:gd name="connsiteX1712" fmla="*/ 310545 w 972214"/>
                    <a:gd name="connsiteY1712" fmla="*/ 25631 h 1198010"/>
                    <a:gd name="connsiteX1713" fmla="*/ 313316 w 972214"/>
                    <a:gd name="connsiteY1713" fmla="*/ 24710 h 1198010"/>
                    <a:gd name="connsiteX1714" fmla="*/ 315484 w 972214"/>
                    <a:gd name="connsiteY1714" fmla="*/ 22192 h 1198010"/>
                    <a:gd name="connsiteX1715" fmla="*/ 317236 w 972214"/>
                    <a:gd name="connsiteY1715" fmla="*/ 22453 h 1198010"/>
                    <a:gd name="connsiteX1716" fmla="*/ 319893 w 972214"/>
                    <a:gd name="connsiteY1716" fmla="*/ 22550 h 1198010"/>
                    <a:gd name="connsiteX1717" fmla="*/ 321539 w 972214"/>
                    <a:gd name="connsiteY1717" fmla="*/ 22118 h 1198010"/>
                    <a:gd name="connsiteX1718" fmla="*/ 322371 w 972214"/>
                    <a:gd name="connsiteY1718" fmla="*/ 21638 h 1198010"/>
                    <a:gd name="connsiteX1719" fmla="*/ 323275 w 972214"/>
                    <a:gd name="connsiteY1719" fmla="*/ 20456 h 1198010"/>
                    <a:gd name="connsiteX1720" fmla="*/ 324767 w 972214"/>
                    <a:gd name="connsiteY1720" fmla="*/ 17090 h 1198010"/>
                    <a:gd name="connsiteX1721" fmla="*/ 326576 w 972214"/>
                    <a:gd name="connsiteY1721" fmla="*/ 15819 h 1198010"/>
                    <a:gd name="connsiteX1722" fmla="*/ 328850 w 972214"/>
                    <a:gd name="connsiteY1722" fmla="*/ 14466 h 1198010"/>
                    <a:gd name="connsiteX1723" fmla="*/ 330398 w 972214"/>
                    <a:gd name="connsiteY1723" fmla="*/ 12876 h 1198010"/>
                    <a:gd name="connsiteX1724" fmla="*/ 331678 w 972214"/>
                    <a:gd name="connsiteY1724" fmla="*/ 10912 h 1198010"/>
                    <a:gd name="connsiteX1725" fmla="*/ 332265 w 972214"/>
                    <a:gd name="connsiteY1725" fmla="*/ 9217 h 1198010"/>
                    <a:gd name="connsiteX1726" fmla="*/ 332248 w 972214"/>
                    <a:gd name="connsiteY1726" fmla="*/ 7856 h 1198010"/>
                    <a:gd name="connsiteX1727" fmla="*/ 331498 w 972214"/>
                    <a:gd name="connsiteY1727" fmla="*/ 5232 h 1198010"/>
                    <a:gd name="connsiteX1728" fmla="*/ 330586 w 972214"/>
                    <a:gd name="connsiteY1728" fmla="*/ 2755 h 1198010"/>
                    <a:gd name="connsiteX1729" fmla="*/ 329591 w 972214"/>
                    <a:gd name="connsiteY1729" fmla="*/ 1940 h 1198010"/>
                    <a:gd name="connsiteX1730" fmla="*/ 328842 w 972214"/>
                    <a:gd name="connsiteY1730" fmla="*/ 1630 h 1198010"/>
                    <a:gd name="connsiteX1731" fmla="*/ 331091 w 972214"/>
                    <a:gd name="connsiteY1731" fmla="*/ 1060 h 1198010"/>
                    <a:gd name="connsiteX1732" fmla="*/ 332949 w 972214"/>
                    <a:gd name="connsiteY1732" fmla="*/ 1915 h 1198010"/>
                    <a:gd name="connsiteX1733" fmla="*/ 335842 w 972214"/>
                    <a:gd name="connsiteY1733" fmla="*/ 2046 h 1198010"/>
                    <a:gd name="connsiteX1734" fmla="*/ 337105 w 972214"/>
                    <a:gd name="connsiteY1734" fmla="*/ 1385 h 1198010"/>
                    <a:gd name="connsiteX1735" fmla="*/ 338931 w 972214"/>
                    <a:gd name="connsiteY1735" fmla="*/ 1711 h 1198010"/>
                    <a:gd name="connsiteX1736" fmla="*/ 341286 w 972214"/>
                    <a:gd name="connsiteY1736" fmla="*/ 0 h 119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Lst>
                  <a:rect l="l" t="t" r="r" b="b"/>
                  <a:pathLst>
                    <a:path w="972214" h="1198010">
                      <a:moveTo>
                        <a:pt x="549846" y="200459"/>
                      </a:moveTo>
                      <a:lnTo>
                        <a:pt x="547222" y="201013"/>
                      </a:lnTo>
                      <a:lnTo>
                        <a:pt x="550604" y="193524"/>
                      </a:lnTo>
                      <a:lnTo>
                        <a:pt x="553636" y="190035"/>
                      </a:lnTo>
                      <a:lnTo>
                        <a:pt x="553676" y="183116"/>
                      </a:lnTo>
                      <a:lnTo>
                        <a:pt x="556961" y="176963"/>
                      </a:lnTo>
                      <a:lnTo>
                        <a:pt x="559976" y="174453"/>
                      </a:lnTo>
                      <a:lnTo>
                        <a:pt x="564206" y="173712"/>
                      </a:lnTo>
                      <a:lnTo>
                        <a:pt x="566520" y="177477"/>
                      </a:lnTo>
                      <a:lnTo>
                        <a:pt x="563652" y="188096"/>
                      </a:lnTo>
                      <a:lnTo>
                        <a:pt x="562812" y="188169"/>
                      </a:lnTo>
                      <a:lnTo>
                        <a:pt x="558966" y="193776"/>
                      </a:lnTo>
                      <a:lnTo>
                        <a:pt x="554687" y="197688"/>
                      </a:lnTo>
                      <a:lnTo>
                        <a:pt x="549846" y="200459"/>
                      </a:lnTo>
                      <a:close/>
                      <a:moveTo>
                        <a:pt x="604515" y="164388"/>
                      </a:moveTo>
                      <a:lnTo>
                        <a:pt x="606829" y="164519"/>
                      </a:lnTo>
                      <a:lnTo>
                        <a:pt x="610113" y="163956"/>
                      </a:lnTo>
                      <a:lnTo>
                        <a:pt x="612314" y="162554"/>
                      </a:lnTo>
                      <a:lnTo>
                        <a:pt x="614767" y="162277"/>
                      </a:lnTo>
                      <a:lnTo>
                        <a:pt x="617204" y="162424"/>
                      </a:lnTo>
                      <a:lnTo>
                        <a:pt x="625394" y="163981"/>
                      </a:lnTo>
                      <a:lnTo>
                        <a:pt x="630316" y="164462"/>
                      </a:lnTo>
                      <a:lnTo>
                        <a:pt x="632118" y="164959"/>
                      </a:lnTo>
                      <a:lnTo>
                        <a:pt x="633878" y="165660"/>
                      </a:lnTo>
                      <a:lnTo>
                        <a:pt x="635166" y="166434"/>
                      </a:lnTo>
                      <a:lnTo>
                        <a:pt x="635492" y="168080"/>
                      </a:lnTo>
                      <a:lnTo>
                        <a:pt x="634294" y="170737"/>
                      </a:lnTo>
                      <a:lnTo>
                        <a:pt x="633405" y="173532"/>
                      </a:lnTo>
                      <a:lnTo>
                        <a:pt x="632574" y="177436"/>
                      </a:lnTo>
                      <a:lnTo>
                        <a:pt x="631930" y="178235"/>
                      </a:lnTo>
                      <a:lnTo>
                        <a:pt x="630854" y="178023"/>
                      </a:lnTo>
                      <a:lnTo>
                        <a:pt x="631531" y="181511"/>
                      </a:lnTo>
                      <a:lnTo>
                        <a:pt x="631286" y="182913"/>
                      </a:lnTo>
                      <a:lnTo>
                        <a:pt x="630757" y="184265"/>
                      </a:lnTo>
                      <a:lnTo>
                        <a:pt x="629445" y="187085"/>
                      </a:lnTo>
                      <a:lnTo>
                        <a:pt x="627440" y="190671"/>
                      </a:lnTo>
                      <a:lnTo>
                        <a:pt x="626845" y="191421"/>
                      </a:lnTo>
                      <a:lnTo>
                        <a:pt x="625321" y="192668"/>
                      </a:lnTo>
                      <a:lnTo>
                        <a:pt x="624090" y="194257"/>
                      </a:lnTo>
                      <a:lnTo>
                        <a:pt x="624351" y="195756"/>
                      </a:lnTo>
                      <a:lnTo>
                        <a:pt x="624970" y="197272"/>
                      </a:lnTo>
                      <a:lnTo>
                        <a:pt x="624237" y="199155"/>
                      </a:lnTo>
                      <a:lnTo>
                        <a:pt x="621874" y="201918"/>
                      </a:lnTo>
                      <a:lnTo>
                        <a:pt x="620464" y="202586"/>
                      </a:lnTo>
                      <a:lnTo>
                        <a:pt x="619151" y="202863"/>
                      </a:lnTo>
                      <a:lnTo>
                        <a:pt x="617953" y="202594"/>
                      </a:lnTo>
                      <a:lnTo>
                        <a:pt x="615826" y="199823"/>
                      </a:lnTo>
                      <a:lnTo>
                        <a:pt x="615606" y="201999"/>
                      </a:lnTo>
                      <a:lnTo>
                        <a:pt x="615036" y="204216"/>
                      </a:lnTo>
                      <a:lnTo>
                        <a:pt x="614311" y="205422"/>
                      </a:lnTo>
                      <a:lnTo>
                        <a:pt x="611564" y="205292"/>
                      </a:lnTo>
                      <a:lnTo>
                        <a:pt x="610032" y="204102"/>
                      </a:lnTo>
                      <a:lnTo>
                        <a:pt x="607554" y="202782"/>
                      </a:lnTo>
                      <a:lnTo>
                        <a:pt x="607082" y="206351"/>
                      </a:lnTo>
                      <a:lnTo>
                        <a:pt x="605541" y="208804"/>
                      </a:lnTo>
                      <a:lnTo>
                        <a:pt x="603993" y="209570"/>
                      </a:lnTo>
                      <a:lnTo>
                        <a:pt x="601556" y="210084"/>
                      </a:lnTo>
                      <a:lnTo>
                        <a:pt x="600163" y="211127"/>
                      </a:lnTo>
                      <a:lnTo>
                        <a:pt x="597530" y="210320"/>
                      </a:lnTo>
                      <a:lnTo>
                        <a:pt x="595085" y="208682"/>
                      </a:lnTo>
                      <a:lnTo>
                        <a:pt x="593700" y="208535"/>
                      </a:lnTo>
                      <a:lnTo>
                        <a:pt x="592624" y="209856"/>
                      </a:lnTo>
                      <a:lnTo>
                        <a:pt x="586935" y="210092"/>
                      </a:lnTo>
                      <a:lnTo>
                        <a:pt x="584336" y="211428"/>
                      </a:lnTo>
                      <a:lnTo>
                        <a:pt x="582746" y="211054"/>
                      </a:lnTo>
                      <a:lnTo>
                        <a:pt x="580399" y="208348"/>
                      </a:lnTo>
                      <a:lnTo>
                        <a:pt x="580025" y="206555"/>
                      </a:lnTo>
                      <a:lnTo>
                        <a:pt x="578631" y="202904"/>
                      </a:lnTo>
                      <a:lnTo>
                        <a:pt x="577376" y="198585"/>
                      </a:lnTo>
                      <a:lnTo>
                        <a:pt x="576488" y="194656"/>
                      </a:lnTo>
                      <a:lnTo>
                        <a:pt x="577237" y="191266"/>
                      </a:lnTo>
                      <a:lnTo>
                        <a:pt x="578753" y="191372"/>
                      </a:lnTo>
                      <a:lnTo>
                        <a:pt x="580554" y="191885"/>
                      </a:lnTo>
                      <a:lnTo>
                        <a:pt x="580937" y="191641"/>
                      </a:lnTo>
                      <a:lnTo>
                        <a:pt x="581027" y="190557"/>
                      </a:lnTo>
                      <a:lnTo>
                        <a:pt x="580628" y="189661"/>
                      </a:lnTo>
                      <a:lnTo>
                        <a:pt x="577743" y="189799"/>
                      </a:lnTo>
                      <a:lnTo>
                        <a:pt x="575909" y="187786"/>
                      </a:lnTo>
                      <a:lnTo>
                        <a:pt x="575591" y="184665"/>
                      </a:lnTo>
                      <a:lnTo>
                        <a:pt x="575966" y="178186"/>
                      </a:lnTo>
                      <a:lnTo>
                        <a:pt x="576202" y="176849"/>
                      </a:lnTo>
                      <a:lnTo>
                        <a:pt x="577482" y="174983"/>
                      </a:lnTo>
                      <a:lnTo>
                        <a:pt x="577898" y="173353"/>
                      </a:lnTo>
                      <a:lnTo>
                        <a:pt x="577580" y="171609"/>
                      </a:lnTo>
                      <a:lnTo>
                        <a:pt x="578126" y="168439"/>
                      </a:lnTo>
                      <a:lnTo>
                        <a:pt x="579315" y="165692"/>
                      </a:lnTo>
                      <a:lnTo>
                        <a:pt x="583879" y="162237"/>
                      </a:lnTo>
                      <a:lnTo>
                        <a:pt x="589169" y="161006"/>
                      </a:lnTo>
                      <a:lnTo>
                        <a:pt x="604515" y="164388"/>
                      </a:lnTo>
                      <a:close/>
                      <a:moveTo>
                        <a:pt x="341286" y="0"/>
                      </a:moveTo>
                      <a:lnTo>
                        <a:pt x="342770" y="571"/>
                      </a:lnTo>
                      <a:lnTo>
                        <a:pt x="343756" y="571"/>
                      </a:lnTo>
                      <a:lnTo>
                        <a:pt x="344652" y="1915"/>
                      </a:lnTo>
                      <a:lnTo>
                        <a:pt x="345345" y="3423"/>
                      </a:lnTo>
                      <a:lnTo>
                        <a:pt x="347504" y="5256"/>
                      </a:lnTo>
                      <a:lnTo>
                        <a:pt x="347293" y="8052"/>
                      </a:lnTo>
                      <a:lnTo>
                        <a:pt x="346893" y="10521"/>
                      </a:lnTo>
                      <a:lnTo>
                        <a:pt x="346608" y="13357"/>
                      </a:lnTo>
                      <a:lnTo>
                        <a:pt x="346486" y="15517"/>
                      </a:lnTo>
                      <a:lnTo>
                        <a:pt x="345565" y="17734"/>
                      </a:lnTo>
                      <a:lnTo>
                        <a:pt x="344188" y="19804"/>
                      </a:lnTo>
                      <a:lnTo>
                        <a:pt x="343780" y="20651"/>
                      </a:lnTo>
                      <a:lnTo>
                        <a:pt x="343593" y="21743"/>
                      </a:lnTo>
                      <a:lnTo>
                        <a:pt x="344522" y="22404"/>
                      </a:lnTo>
                      <a:lnTo>
                        <a:pt x="346160" y="22599"/>
                      </a:lnTo>
                      <a:lnTo>
                        <a:pt x="348214" y="22689"/>
                      </a:lnTo>
                      <a:lnTo>
                        <a:pt x="349599" y="23333"/>
                      </a:lnTo>
                      <a:lnTo>
                        <a:pt x="351408" y="23471"/>
                      </a:lnTo>
                      <a:lnTo>
                        <a:pt x="353584" y="25248"/>
                      </a:lnTo>
                      <a:lnTo>
                        <a:pt x="354636" y="26307"/>
                      </a:lnTo>
                      <a:lnTo>
                        <a:pt x="354725" y="27138"/>
                      </a:lnTo>
                      <a:lnTo>
                        <a:pt x="354041" y="29111"/>
                      </a:lnTo>
                      <a:lnTo>
                        <a:pt x="353764" y="30936"/>
                      </a:lnTo>
                      <a:lnTo>
                        <a:pt x="354301" y="32094"/>
                      </a:lnTo>
                      <a:lnTo>
                        <a:pt x="354937" y="32933"/>
                      </a:lnTo>
                      <a:lnTo>
                        <a:pt x="356697" y="37049"/>
                      </a:lnTo>
                      <a:lnTo>
                        <a:pt x="357537" y="38475"/>
                      </a:lnTo>
                      <a:lnTo>
                        <a:pt x="358246" y="38939"/>
                      </a:lnTo>
                      <a:lnTo>
                        <a:pt x="358409" y="39730"/>
                      </a:lnTo>
                      <a:lnTo>
                        <a:pt x="357806" y="41238"/>
                      </a:lnTo>
                      <a:lnTo>
                        <a:pt x="357089" y="43145"/>
                      </a:lnTo>
                      <a:lnTo>
                        <a:pt x="355451" y="45150"/>
                      </a:lnTo>
                      <a:lnTo>
                        <a:pt x="355239" y="46739"/>
                      </a:lnTo>
                      <a:lnTo>
                        <a:pt x="353935" y="47741"/>
                      </a:lnTo>
                      <a:lnTo>
                        <a:pt x="350887" y="50113"/>
                      </a:lnTo>
                      <a:lnTo>
                        <a:pt x="351416" y="53870"/>
                      </a:lnTo>
                      <a:lnTo>
                        <a:pt x="351522" y="55777"/>
                      </a:lnTo>
                      <a:lnTo>
                        <a:pt x="351465" y="57260"/>
                      </a:lnTo>
                      <a:lnTo>
                        <a:pt x="350430" y="59241"/>
                      </a:lnTo>
                      <a:lnTo>
                        <a:pt x="348629" y="65092"/>
                      </a:lnTo>
                      <a:lnTo>
                        <a:pt x="347961" y="68010"/>
                      </a:lnTo>
                      <a:lnTo>
                        <a:pt x="347374" y="74749"/>
                      </a:lnTo>
                      <a:lnTo>
                        <a:pt x="347415" y="77015"/>
                      </a:lnTo>
                      <a:lnTo>
                        <a:pt x="348246" y="80055"/>
                      </a:lnTo>
                      <a:lnTo>
                        <a:pt x="350015" y="86811"/>
                      </a:lnTo>
                      <a:lnTo>
                        <a:pt x="351017" y="87878"/>
                      </a:lnTo>
                      <a:lnTo>
                        <a:pt x="353348" y="89468"/>
                      </a:lnTo>
                      <a:lnTo>
                        <a:pt x="353633" y="94032"/>
                      </a:lnTo>
                      <a:lnTo>
                        <a:pt x="353437" y="98807"/>
                      </a:lnTo>
                      <a:lnTo>
                        <a:pt x="353324" y="100649"/>
                      </a:lnTo>
                      <a:lnTo>
                        <a:pt x="353707" y="101448"/>
                      </a:lnTo>
                      <a:lnTo>
                        <a:pt x="354758" y="101823"/>
                      </a:lnTo>
                      <a:lnTo>
                        <a:pt x="355500" y="102401"/>
                      </a:lnTo>
                      <a:lnTo>
                        <a:pt x="355613" y="103811"/>
                      </a:lnTo>
                      <a:lnTo>
                        <a:pt x="355548" y="105278"/>
                      </a:lnTo>
                      <a:lnTo>
                        <a:pt x="357276" y="106126"/>
                      </a:lnTo>
                      <a:lnTo>
                        <a:pt x="358792" y="106664"/>
                      </a:lnTo>
                      <a:lnTo>
                        <a:pt x="360185" y="108685"/>
                      </a:lnTo>
                      <a:lnTo>
                        <a:pt x="362712" y="111831"/>
                      </a:lnTo>
                      <a:lnTo>
                        <a:pt x="363714" y="112409"/>
                      </a:lnTo>
                      <a:lnTo>
                        <a:pt x="364220" y="113721"/>
                      </a:lnTo>
                      <a:lnTo>
                        <a:pt x="366355" y="116370"/>
                      </a:lnTo>
                      <a:lnTo>
                        <a:pt x="369598" y="117340"/>
                      </a:lnTo>
                      <a:lnTo>
                        <a:pt x="372866" y="118513"/>
                      </a:lnTo>
                      <a:lnTo>
                        <a:pt x="374154" y="120184"/>
                      </a:lnTo>
                      <a:lnTo>
                        <a:pt x="375499" y="121537"/>
                      </a:lnTo>
                      <a:lnTo>
                        <a:pt x="376518" y="121602"/>
                      </a:lnTo>
                      <a:lnTo>
                        <a:pt x="377373" y="121390"/>
                      </a:lnTo>
                      <a:lnTo>
                        <a:pt x="378775" y="120217"/>
                      </a:lnTo>
                      <a:lnTo>
                        <a:pt x="379916" y="119214"/>
                      </a:lnTo>
                      <a:lnTo>
                        <a:pt x="381888" y="119271"/>
                      </a:lnTo>
                      <a:lnTo>
                        <a:pt x="384195" y="119108"/>
                      </a:lnTo>
                      <a:lnTo>
                        <a:pt x="384602" y="118277"/>
                      </a:lnTo>
                      <a:lnTo>
                        <a:pt x="384822" y="117218"/>
                      </a:lnTo>
                      <a:lnTo>
                        <a:pt x="384341" y="114496"/>
                      </a:lnTo>
                      <a:lnTo>
                        <a:pt x="385164" y="113664"/>
                      </a:lnTo>
                      <a:lnTo>
                        <a:pt x="387080" y="113208"/>
                      </a:lnTo>
                      <a:lnTo>
                        <a:pt x="387463" y="111757"/>
                      </a:lnTo>
                      <a:lnTo>
                        <a:pt x="387903" y="110959"/>
                      </a:lnTo>
                      <a:lnTo>
                        <a:pt x="388449" y="110038"/>
                      </a:lnTo>
                      <a:lnTo>
                        <a:pt x="389109" y="109899"/>
                      </a:lnTo>
                      <a:lnTo>
                        <a:pt x="389932" y="110429"/>
                      </a:lnTo>
                      <a:lnTo>
                        <a:pt x="391187" y="110763"/>
                      </a:lnTo>
                      <a:lnTo>
                        <a:pt x="392605" y="111228"/>
                      </a:lnTo>
                      <a:lnTo>
                        <a:pt x="393371" y="112157"/>
                      </a:lnTo>
                      <a:lnTo>
                        <a:pt x="394635" y="112230"/>
                      </a:lnTo>
                      <a:lnTo>
                        <a:pt x="396036" y="112051"/>
                      </a:lnTo>
                      <a:lnTo>
                        <a:pt x="396607" y="111464"/>
                      </a:lnTo>
                      <a:lnTo>
                        <a:pt x="397022" y="110437"/>
                      </a:lnTo>
                      <a:lnTo>
                        <a:pt x="397324" y="108220"/>
                      </a:lnTo>
                      <a:lnTo>
                        <a:pt x="398228" y="108155"/>
                      </a:lnTo>
                      <a:lnTo>
                        <a:pt x="400038" y="107658"/>
                      </a:lnTo>
                      <a:lnTo>
                        <a:pt x="401961" y="106672"/>
                      </a:lnTo>
                      <a:lnTo>
                        <a:pt x="404536" y="106533"/>
                      </a:lnTo>
                      <a:lnTo>
                        <a:pt x="406957" y="106550"/>
                      </a:lnTo>
                      <a:lnTo>
                        <a:pt x="408155" y="105890"/>
                      </a:lnTo>
                      <a:lnTo>
                        <a:pt x="409280" y="104455"/>
                      </a:lnTo>
                      <a:lnTo>
                        <a:pt x="411456" y="100405"/>
                      </a:lnTo>
                      <a:lnTo>
                        <a:pt x="412596" y="99476"/>
                      </a:lnTo>
                      <a:lnTo>
                        <a:pt x="413819" y="98775"/>
                      </a:lnTo>
                      <a:lnTo>
                        <a:pt x="414854" y="98905"/>
                      </a:lnTo>
                      <a:lnTo>
                        <a:pt x="416989" y="98229"/>
                      </a:lnTo>
                      <a:lnTo>
                        <a:pt x="418741" y="97259"/>
                      </a:lnTo>
                      <a:lnTo>
                        <a:pt x="419393" y="97503"/>
                      </a:lnTo>
                      <a:lnTo>
                        <a:pt x="420763" y="99582"/>
                      </a:lnTo>
                      <a:lnTo>
                        <a:pt x="421439" y="100038"/>
                      </a:lnTo>
                      <a:lnTo>
                        <a:pt x="422450" y="100185"/>
                      </a:lnTo>
                      <a:lnTo>
                        <a:pt x="425742" y="101236"/>
                      </a:lnTo>
                      <a:lnTo>
                        <a:pt x="427486" y="100902"/>
                      </a:lnTo>
                      <a:lnTo>
                        <a:pt x="429385" y="100242"/>
                      </a:lnTo>
                      <a:lnTo>
                        <a:pt x="431202" y="99989"/>
                      </a:lnTo>
                      <a:lnTo>
                        <a:pt x="432514" y="100454"/>
                      </a:lnTo>
                      <a:lnTo>
                        <a:pt x="433460" y="99850"/>
                      </a:lnTo>
                      <a:lnTo>
                        <a:pt x="434511" y="99402"/>
                      </a:lnTo>
                      <a:lnTo>
                        <a:pt x="435253" y="99696"/>
                      </a:lnTo>
                      <a:lnTo>
                        <a:pt x="436923" y="99948"/>
                      </a:lnTo>
                      <a:lnTo>
                        <a:pt x="440860" y="101106"/>
                      </a:lnTo>
                      <a:lnTo>
                        <a:pt x="445994" y="102393"/>
                      </a:lnTo>
                      <a:lnTo>
                        <a:pt x="447396" y="101945"/>
                      </a:lnTo>
                      <a:lnTo>
                        <a:pt x="448235" y="101032"/>
                      </a:lnTo>
                      <a:lnTo>
                        <a:pt x="448431" y="98367"/>
                      </a:lnTo>
                      <a:lnTo>
                        <a:pt x="448586" y="96485"/>
                      </a:lnTo>
                      <a:lnTo>
                        <a:pt x="447428" y="94822"/>
                      </a:lnTo>
                      <a:lnTo>
                        <a:pt x="445986" y="92931"/>
                      </a:lnTo>
                      <a:lnTo>
                        <a:pt x="444658" y="90576"/>
                      </a:lnTo>
                      <a:lnTo>
                        <a:pt x="443077" y="89916"/>
                      </a:lnTo>
                      <a:lnTo>
                        <a:pt x="443280" y="88702"/>
                      </a:lnTo>
                      <a:lnTo>
                        <a:pt x="444307" y="87455"/>
                      </a:lnTo>
                      <a:lnTo>
                        <a:pt x="445366" y="86762"/>
                      </a:lnTo>
                      <a:lnTo>
                        <a:pt x="445978" y="85914"/>
                      </a:lnTo>
                      <a:lnTo>
                        <a:pt x="446646" y="82777"/>
                      </a:lnTo>
                      <a:lnTo>
                        <a:pt x="447086" y="82223"/>
                      </a:lnTo>
                      <a:lnTo>
                        <a:pt x="447542" y="82092"/>
                      </a:lnTo>
                      <a:lnTo>
                        <a:pt x="448072" y="82206"/>
                      </a:lnTo>
                      <a:lnTo>
                        <a:pt x="449123" y="83021"/>
                      </a:lnTo>
                      <a:lnTo>
                        <a:pt x="453174" y="85523"/>
                      </a:lnTo>
                      <a:lnTo>
                        <a:pt x="454950" y="85148"/>
                      </a:lnTo>
                      <a:lnTo>
                        <a:pt x="461739" y="84497"/>
                      </a:lnTo>
                      <a:lnTo>
                        <a:pt x="462766" y="83054"/>
                      </a:lnTo>
                      <a:lnTo>
                        <a:pt x="464201" y="82728"/>
                      </a:lnTo>
                      <a:lnTo>
                        <a:pt x="466646" y="81294"/>
                      </a:lnTo>
                      <a:lnTo>
                        <a:pt x="467607" y="81196"/>
                      </a:lnTo>
                      <a:lnTo>
                        <a:pt x="468471" y="81538"/>
                      </a:lnTo>
                      <a:lnTo>
                        <a:pt x="469555" y="81261"/>
                      </a:lnTo>
                      <a:lnTo>
                        <a:pt x="471152" y="79924"/>
                      </a:lnTo>
                      <a:lnTo>
                        <a:pt x="471829" y="79786"/>
                      </a:lnTo>
                      <a:lnTo>
                        <a:pt x="472081" y="81261"/>
                      </a:lnTo>
                      <a:lnTo>
                        <a:pt x="473116" y="82793"/>
                      </a:lnTo>
                      <a:lnTo>
                        <a:pt x="474363" y="84203"/>
                      </a:lnTo>
                      <a:lnTo>
                        <a:pt x="474966" y="84529"/>
                      </a:lnTo>
                      <a:lnTo>
                        <a:pt x="477069" y="84081"/>
                      </a:lnTo>
                      <a:lnTo>
                        <a:pt x="478177" y="84472"/>
                      </a:lnTo>
                      <a:lnTo>
                        <a:pt x="478658" y="85784"/>
                      </a:lnTo>
                      <a:lnTo>
                        <a:pt x="478797" y="86925"/>
                      </a:lnTo>
                      <a:lnTo>
                        <a:pt x="479677" y="87895"/>
                      </a:lnTo>
                      <a:lnTo>
                        <a:pt x="480802" y="87911"/>
                      </a:lnTo>
                      <a:lnTo>
                        <a:pt x="481413" y="88302"/>
                      </a:lnTo>
                      <a:lnTo>
                        <a:pt x="482440" y="88922"/>
                      </a:lnTo>
                      <a:lnTo>
                        <a:pt x="483320" y="90348"/>
                      </a:lnTo>
                      <a:lnTo>
                        <a:pt x="485349" y="91481"/>
                      </a:lnTo>
                      <a:lnTo>
                        <a:pt x="488821" y="93078"/>
                      </a:lnTo>
                      <a:lnTo>
                        <a:pt x="490434" y="93103"/>
                      </a:lnTo>
                      <a:lnTo>
                        <a:pt x="491942" y="93592"/>
                      </a:lnTo>
                      <a:lnTo>
                        <a:pt x="492863" y="94072"/>
                      </a:lnTo>
                      <a:lnTo>
                        <a:pt x="493866" y="93192"/>
                      </a:lnTo>
                      <a:lnTo>
                        <a:pt x="497419" y="90739"/>
                      </a:lnTo>
                      <a:lnTo>
                        <a:pt x="499155" y="89362"/>
                      </a:lnTo>
                      <a:lnTo>
                        <a:pt x="500320" y="88327"/>
                      </a:lnTo>
                      <a:lnTo>
                        <a:pt x="501200" y="87333"/>
                      </a:lnTo>
                      <a:lnTo>
                        <a:pt x="501860" y="87072"/>
                      </a:lnTo>
                      <a:lnTo>
                        <a:pt x="502292" y="87667"/>
                      </a:lnTo>
                      <a:lnTo>
                        <a:pt x="502675" y="88457"/>
                      </a:lnTo>
                      <a:lnTo>
                        <a:pt x="503947" y="88930"/>
                      </a:lnTo>
                      <a:lnTo>
                        <a:pt x="506913" y="89859"/>
                      </a:lnTo>
                      <a:lnTo>
                        <a:pt x="508274" y="90120"/>
                      </a:lnTo>
                      <a:lnTo>
                        <a:pt x="510189" y="89329"/>
                      </a:lnTo>
                      <a:lnTo>
                        <a:pt x="511820" y="87984"/>
                      </a:lnTo>
                      <a:lnTo>
                        <a:pt x="512610" y="87520"/>
                      </a:lnTo>
                      <a:lnTo>
                        <a:pt x="513816" y="88848"/>
                      </a:lnTo>
                      <a:lnTo>
                        <a:pt x="514639" y="90731"/>
                      </a:lnTo>
                      <a:lnTo>
                        <a:pt x="515201" y="91546"/>
                      </a:lnTo>
                      <a:lnTo>
                        <a:pt x="516432" y="91358"/>
                      </a:lnTo>
                      <a:lnTo>
                        <a:pt x="518853" y="91644"/>
                      </a:lnTo>
                      <a:lnTo>
                        <a:pt x="520654" y="92247"/>
                      </a:lnTo>
                      <a:lnTo>
                        <a:pt x="521762" y="92190"/>
                      </a:lnTo>
                      <a:lnTo>
                        <a:pt x="523294" y="91350"/>
                      </a:lnTo>
                      <a:lnTo>
                        <a:pt x="524109" y="89696"/>
                      </a:lnTo>
                      <a:lnTo>
                        <a:pt x="526269" y="88180"/>
                      </a:lnTo>
                      <a:lnTo>
                        <a:pt x="528323" y="86795"/>
                      </a:lnTo>
                      <a:lnTo>
                        <a:pt x="529504" y="84928"/>
                      </a:lnTo>
                      <a:lnTo>
                        <a:pt x="531240" y="81840"/>
                      </a:lnTo>
                      <a:lnTo>
                        <a:pt x="531827" y="80511"/>
                      </a:lnTo>
                      <a:lnTo>
                        <a:pt x="531949" y="78286"/>
                      </a:lnTo>
                      <a:lnTo>
                        <a:pt x="534402" y="71807"/>
                      </a:lnTo>
                      <a:lnTo>
                        <a:pt x="535331" y="70618"/>
                      </a:lnTo>
                      <a:lnTo>
                        <a:pt x="535878" y="68564"/>
                      </a:lnTo>
                      <a:lnTo>
                        <a:pt x="536864" y="66192"/>
                      </a:lnTo>
                      <a:lnTo>
                        <a:pt x="536864" y="64204"/>
                      </a:lnTo>
                      <a:lnTo>
                        <a:pt x="537572" y="62288"/>
                      </a:lnTo>
                      <a:lnTo>
                        <a:pt x="538974" y="60626"/>
                      </a:lnTo>
                      <a:lnTo>
                        <a:pt x="540009" y="59591"/>
                      </a:lnTo>
                      <a:lnTo>
                        <a:pt x="541664" y="56804"/>
                      </a:lnTo>
                      <a:lnTo>
                        <a:pt x="542821" y="54180"/>
                      </a:lnTo>
                      <a:lnTo>
                        <a:pt x="545706" y="48352"/>
                      </a:lnTo>
                      <a:lnTo>
                        <a:pt x="545926" y="46698"/>
                      </a:lnTo>
                      <a:lnTo>
                        <a:pt x="547075" y="45704"/>
                      </a:lnTo>
                      <a:lnTo>
                        <a:pt x="547458" y="44449"/>
                      </a:lnTo>
                      <a:lnTo>
                        <a:pt x="548681" y="42900"/>
                      </a:lnTo>
                      <a:lnTo>
                        <a:pt x="549968" y="41678"/>
                      </a:lnTo>
                      <a:lnTo>
                        <a:pt x="550523" y="39868"/>
                      </a:lnTo>
                      <a:lnTo>
                        <a:pt x="551468" y="37986"/>
                      </a:lnTo>
                      <a:lnTo>
                        <a:pt x="553546" y="36576"/>
                      </a:lnTo>
                      <a:lnTo>
                        <a:pt x="554304" y="35932"/>
                      </a:lnTo>
                      <a:lnTo>
                        <a:pt x="556659" y="30765"/>
                      </a:lnTo>
                      <a:lnTo>
                        <a:pt x="556928" y="28451"/>
                      </a:lnTo>
                      <a:lnTo>
                        <a:pt x="559047" y="28361"/>
                      </a:lnTo>
                      <a:lnTo>
                        <a:pt x="562389" y="31034"/>
                      </a:lnTo>
                      <a:lnTo>
                        <a:pt x="565045" y="34962"/>
                      </a:lnTo>
                      <a:lnTo>
                        <a:pt x="568607" y="47611"/>
                      </a:lnTo>
                      <a:lnTo>
                        <a:pt x="569193" y="59297"/>
                      </a:lnTo>
                      <a:lnTo>
                        <a:pt x="570644" y="65418"/>
                      </a:lnTo>
                      <a:lnTo>
                        <a:pt x="574784" y="78164"/>
                      </a:lnTo>
                      <a:lnTo>
                        <a:pt x="575053" y="80528"/>
                      </a:lnTo>
                      <a:lnTo>
                        <a:pt x="575721" y="83388"/>
                      </a:lnTo>
                      <a:lnTo>
                        <a:pt x="577034" y="86412"/>
                      </a:lnTo>
                      <a:lnTo>
                        <a:pt x="578476" y="91399"/>
                      </a:lnTo>
                      <a:lnTo>
                        <a:pt x="578533" y="92320"/>
                      </a:lnTo>
                      <a:lnTo>
                        <a:pt x="577596" y="93681"/>
                      </a:lnTo>
                      <a:lnTo>
                        <a:pt x="578965" y="93779"/>
                      </a:lnTo>
                      <a:lnTo>
                        <a:pt x="580212" y="94586"/>
                      </a:lnTo>
                      <a:lnTo>
                        <a:pt x="581027" y="97748"/>
                      </a:lnTo>
                      <a:lnTo>
                        <a:pt x="582054" y="99883"/>
                      </a:lnTo>
                      <a:lnTo>
                        <a:pt x="583920" y="102809"/>
                      </a:lnTo>
                      <a:lnTo>
                        <a:pt x="587759" y="103771"/>
                      </a:lnTo>
                      <a:lnTo>
                        <a:pt x="590652" y="104113"/>
                      </a:lnTo>
                      <a:lnTo>
                        <a:pt x="593952" y="105767"/>
                      </a:lnTo>
                      <a:lnTo>
                        <a:pt x="596373" y="107886"/>
                      </a:lnTo>
                      <a:lnTo>
                        <a:pt x="598247" y="115074"/>
                      </a:lnTo>
                      <a:lnTo>
                        <a:pt x="597636" y="119589"/>
                      </a:lnTo>
                      <a:lnTo>
                        <a:pt x="597816" y="122768"/>
                      </a:lnTo>
                      <a:lnTo>
                        <a:pt x="596846" y="124015"/>
                      </a:lnTo>
                      <a:lnTo>
                        <a:pt x="594132" y="126093"/>
                      </a:lnTo>
                      <a:lnTo>
                        <a:pt x="593545" y="127201"/>
                      </a:lnTo>
                      <a:lnTo>
                        <a:pt x="588003" y="132572"/>
                      </a:lnTo>
                      <a:lnTo>
                        <a:pt x="586789" y="135106"/>
                      </a:lnTo>
                      <a:lnTo>
                        <a:pt x="583822" y="138513"/>
                      </a:lnTo>
                      <a:lnTo>
                        <a:pt x="580880" y="145008"/>
                      </a:lnTo>
                      <a:lnTo>
                        <a:pt x="576577" y="150933"/>
                      </a:lnTo>
                      <a:lnTo>
                        <a:pt x="575061" y="152433"/>
                      </a:lnTo>
                      <a:lnTo>
                        <a:pt x="572731" y="152775"/>
                      </a:lnTo>
                      <a:lnTo>
                        <a:pt x="571321" y="153696"/>
                      </a:lnTo>
                      <a:lnTo>
                        <a:pt x="567971" y="158537"/>
                      </a:lnTo>
                      <a:lnTo>
                        <a:pt x="563489" y="160150"/>
                      </a:lnTo>
                      <a:lnTo>
                        <a:pt x="563073" y="162954"/>
                      </a:lnTo>
                      <a:lnTo>
                        <a:pt x="560481" y="169360"/>
                      </a:lnTo>
                      <a:lnTo>
                        <a:pt x="558192" y="172856"/>
                      </a:lnTo>
                      <a:lnTo>
                        <a:pt x="556733" y="174038"/>
                      </a:lnTo>
                      <a:lnTo>
                        <a:pt x="553073" y="180435"/>
                      </a:lnTo>
                      <a:lnTo>
                        <a:pt x="552601" y="183222"/>
                      </a:lnTo>
                      <a:lnTo>
                        <a:pt x="552617" y="188104"/>
                      </a:lnTo>
                      <a:lnTo>
                        <a:pt x="550172" y="191071"/>
                      </a:lnTo>
                      <a:lnTo>
                        <a:pt x="547629" y="192961"/>
                      </a:lnTo>
                      <a:lnTo>
                        <a:pt x="547311" y="197134"/>
                      </a:lnTo>
                      <a:lnTo>
                        <a:pt x="546162" y="198568"/>
                      </a:lnTo>
                      <a:lnTo>
                        <a:pt x="545176" y="199506"/>
                      </a:lnTo>
                      <a:lnTo>
                        <a:pt x="539993" y="198397"/>
                      </a:lnTo>
                      <a:lnTo>
                        <a:pt x="531957" y="202936"/>
                      </a:lnTo>
                      <a:lnTo>
                        <a:pt x="529211" y="204069"/>
                      </a:lnTo>
                      <a:lnTo>
                        <a:pt x="537988" y="204306"/>
                      </a:lnTo>
                      <a:lnTo>
                        <a:pt x="540800" y="206718"/>
                      </a:lnTo>
                      <a:lnTo>
                        <a:pt x="546977" y="205129"/>
                      </a:lnTo>
                      <a:lnTo>
                        <a:pt x="554451" y="199359"/>
                      </a:lnTo>
                      <a:lnTo>
                        <a:pt x="557303" y="198161"/>
                      </a:lnTo>
                      <a:lnTo>
                        <a:pt x="563106" y="194257"/>
                      </a:lnTo>
                      <a:lnTo>
                        <a:pt x="565461" y="191649"/>
                      </a:lnTo>
                      <a:lnTo>
                        <a:pt x="569756" y="188520"/>
                      </a:lnTo>
                      <a:lnTo>
                        <a:pt x="570677" y="187150"/>
                      </a:lnTo>
                      <a:lnTo>
                        <a:pt x="573081" y="185692"/>
                      </a:lnTo>
                      <a:lnTo>
                        <a:pt x="574385" y="187550"/>
                      </a:lnTo>
                      <a:lnTo>
                        <a:pt x="574491" y="188723"/>
                      </a:lnTo>
                      <a:lnTo>
                        <a:pt x="572511" y="191022"/>
                      </a:lnTo>
                      <a:lnTo>
                        <a:pt x="573024" y="192488"/>
                      </a:lnTo>
                      <a:lnTo>
                        <a:pt x="574328" y="194347"/>
                      </a:lnTo>
                      <a:lnTo>
                        <a:pt x="574801" y="196889"/>
                      </a:lnTo>
                      <a:lnTo>
                        <a:pt x="574972" y="198829"/>
                      </a:lnTo>
                      <a:lnTo>
                        <a:pt x="575787" y="202227"/>
                      </a:lnTo>
                      <a:lnTo>
                        <a:pt x="578444" y="206840"/>
                      </a:lnTo>
                      <a:lnTo>
                        <a:pt x="578533" y="208364"/>
                      </a:lnTo>
                      <a:lnTo>
                        <a:pt x="578166" y="210377"/>
                      </a:lnTo>
                      <a:lnTo>
                        <a:pt x="579438" y="212032"/>
                      </a:lnTo>
                      <a:lnTo>
                        <a:pt x="580758" y="213018"/>
                      </a:lnTo>
                      <a:lnTo>
                        <a:pt x="585281" y="217965"/>
                      </a:lnTo>
                      <a:lnTo>
                        <a:pt x="588826" y="215194"/>
                      </a:lnTo>
                      <a:lnTo>
                        <a:pt x="591002" y="214387"/>
                      </a:lnTo>
                      <a:lnTo>
                        <a:pt x="592388" y="213238"/>
                      </a:lnTo>
                      <a:lnTo>
                        <a:pt x="595297" y="212464"/>
                      </a:lnTo>
                      <a:lnTo>
                        <a:pt x="597685" y="213621"/>
                      </a:lnTo>
                      <a:lnTo>
                        <a:pt x="602233" y="215291"/>
                      </a:lnTo>
                      <a:lnTo>
                        <a:pt x="605558" y="213515"/>
                      </a:lnTo>
                      <a:lnTo>
                        <a:pt x="612297" y="209456"/>
                      </a:lnTo>
                      <a:lnTo>
                        <a:pt x="610187" y="216636"/>
                      </a:lnTo>
                      <a:lnTo>
                        <a:pt x="608663" y="223229"/>
                      </a:lnTo>
                      <a:lnTo>
                        <a:pt x="607497" y="225894"/>
                      </a:lnTo>
                      <a:lnTo>
                        <a:pt x="606348" y="233066"/>
                      </a:lnTo>
                      <a:lnTo>
                        <a:pt x="605215" y="234981"/>
                      </a:lnTo>
                      <a:lnTo>
                        <a:pt x="604294" y="237182"/>
                      </a:lnTo>
                      <a:lnTo>
                        <a:pt x="605794" y="236416"/>
                      </a:lnTo>
                      <a:lnTo>
                        <a:pt x="607082" y="235380"/>
                      </a:lnTo>
                      <a:lnTo>
                        <a:pt x="608728" y="232610"/>
                      </a:lnTo>
                      <a:lnTo>
                        <a:pt x="609959" y="227809"/>
                      </a:lnTo>
                      <a:lnTo>
                        <a:pt x="614840" y="214998"/>
                      </a:lnTo>
                      <a:lnTo>
                        <a:pt x="616234" y="213857"/>
                      </a:lnTo>
                      <a:lnTo>
                        <a:pt x="620292" y="212398"/>
                      </a:lnTo>
                      <a:lnTo>
                        <a:pt x="627269" y="202146"/>
                      </a:lnTo>
                      <a:lnTo>
                        <a:pt x="629999" y="202178"/>
                      </a:lnTo>
                      <a:lnTo>
                        <a:pt x="631743" y="204534"/>
                      </a:lnTo>
                      <a:lnTo>
                        <a:pt x="633397" y="205936"/>
                      </a:lnTo>
                      <a:lnTo>
                        <a:pt x="633821" y="203132"/>
                      </a:lnTo>
                      <a:lnTo>
                        <a:pt x="636201" y="201983"/>
                      </a:lnTo>
                      <a:lnTo>
                        <a:pt x="633674" y="200589"/>
                      </a:lnTo>
                      <a:lnTo>
                        <a:pt x="633259" y="199334"/>
                      </a:lnTo>
                      <a:lnTo>
                        <a:pt x="633022" y="197232"/>
                      </a:lnTo>
                      <a:lnTo>
                        <a:pt x="634734" y="194396"/>
                      </a:lnTo>
                      <a:lnTo>
                        <a:pt x="633715" y="191894"/>
                      </a:lnTo>
                      <a:lnTo>
                        <a:pt x="637276" y="188731"/>
                      </a:lnTo>
                      <a:lnTo>
                        <a:pt x="636991" y="186352"/>
                      </a:lnTo>
                      <a:lnTo>
                        <a:pt x="638263" y="184396"/>
                      </a:lnTo>
                      <a:lnTo>
                        <a:pt x="639868" y="182391"/>
                      </a:lnTo>
                      <a:lnTo>
                        <a:pt x="641686" y="181405"/>
                      </a:lnTo>
                      <a:lnTo>
                        <a:pt x="642020" y="179685"/>
                      </a:lnTo>
                      <a:lnTo>
                        <a:pt x="643169" y="178960"/>
                      </a:lnTo>
                      <a:lnTo>
                        <a:pt x="644073" y="178707"/>
                      </a:lnTo>
                      <a:lnTo>
                        <a:pt x="645842" y="180639"/>
                      </a:lnTo>
                      <a:lnTo>
                        <a:pt x="647765" y="178357"/>
                      </a:lnTo>
                      <a:lnTo>
                        <a:pt x="649640" y="177460"/>
                      </a:lnTo>
                      <a:lnTo>
                        <a:pt x="650487" y="177868"/>
                      </a:lnTo>
                      <a:lnTo>
                        <a:pt x="651538" y="178870"/>
                      </a:lnTo>
                      <a:lnTo>
                        <a:pt x="652639" y="179310"/>
                      </a:lnTo>
                      <a:lnTo>
                        <a:pt x="653535" y="179123"/>
                      </a:lnTo>
                      <a:lnTo>
                        <a:pt x="655858" y="177656"/>
                      </a:lnTo>
                      <a:lnTo>
                        <a:pt x="658009" y="180011"/>
                      </a:lnTo>
                      <a:lnTo>
                        <a:pt x="659297" y="180533"/>
                      </a:lnTo>
                      <a:lnTo>
                        <a:pt x="658947" y="179213"/>
                      </a:lnTo>
                      <a:lnTo>
                        <a:pt x="658262" y="177990"/>
                      </a:lnTo>
                      <a:lnTo>
                        <a:pt x="658792" y="176996"/>
                      </a:lnTo>
                      <a:lnTo>
                        <a:pt x="659811" y="176368"/>
                      </a:lnTo>
                      <a:lnTo>
                        <a:pt x="663021" y="176922"/>
                      </a:lnTo>
                      <a:lnTo>
                        <a:pt x="664708" y="177974"/>
                      </a:lnTo>
                      <a:lnTo>
                        <a:pt x="666534" y="179922"/>
                      </a:lnTo>
                      <a:lnTo>
                        <a:pt x="669069" y="180068"/>
                      </a:lnTo>
                      <a:lnTo>
                        <a:pt x="671065" y="179873"/>
                      </a:lnTo>
                      <a:lnTo>
                        <a:pt x="672320" y="180965"/>
                      </a:lnTo>
                      <a:lnTo>
                        <a:pt x="674366" y="180957"/>
                      </a:lnTo>
                      <a:lnTo>
                        <a:pt x="675393" y="182660"/>
                      </a:lnTo>
                      <a:lnTo>
                        <a:pt x="678506" y="185048"/>
                      </a:lnTo>
                      <a:lnTo>
                        <a:pt x="679182" y="186661"/>
                      </a:lnTo>
                      <a:lnTo>
                        <a:pt x="681684" y="187452"/>
                      </a:lnTo>
                      <a:lnTo>
                        <a:pt x="684031" y="188446"/>
                      </a:lnTo>
                      <a:lnTo>
                        <a:pt x="686533" y="188715"/>
                      </a:lnTo>
                      <a:lnTo>
                        <a:pt x="689060" y="188479"/>
                      </a:lnTo>
                      <a:lnTo>
                        <a:pt x="689158" y="190533"/>
                      </a:lnTo>
                      <a:lnTo>
                        <a:pt x="691016" y="191087"/>
                      </a:lnTo>
                      <a:lnTo>
                        <a:pt x="693387" y="190630"/>
                      </a:lnTo>
                      <a:lnTo>
                        <a:pt x="695189" y="193165"/>
                      </a:lnTo>
                      <a:lnTo>
                        <a:pt x="699980" y="195056"/>
                      </a:lnTo>
                      <a:lnTo>
                        <a:pt x="703306" y="197957"/>
                      </a:lnTo>
                      <a:lnTo>
                        <a:pt x="705490" y="197452"/>
                      </a:lnTo>
                      <a:lnTo>
                        <a:pt x="707935" y="198218"/>
                      </a:lnTo>
                      <a:lnTo>
                        <a:pt x="710551" y="204534"/>
                      </a:lnTo>
                      <a:lnTo>
                        <a:pt x="711146" y="209024"/>
                      </a:lnTo>
                      <a:lnTo>
                        <a:pt x="712311" y="208405"/>
                      </a:lnTo>
                      <a:lnTo>
                        <a:pt x="713387" y="206400"/>
                      </a:lnTo>
                      <a:lnTo>
                        <a:pt x="714789" y="202733"/>
                      </a:lnTo>
                      <a:lnTo>
                        <a:pt x="717413" y="201527"/>
                      </a:lnTo>
                      <a:lnTo>
                        <a:pt x="718668" y="202928"/>
                      </a:lnTo>
                      <a:lnTo>
                        <a:pt x="721292" y="205194"/>
                      </a:lnTo>
                      <a:lnTo>
                        <a:pt x="723566" y="207671"/>
                      </a:lnTo>
                      <a:lnTo>
                        <a:pt x="724519" y="209261"/>
                      </a:lnTo>
                      <a:lnTo>
                        <a:pt x="726223" y="209513"/>
                      </a:lnTo>
                      <a:lnTo>
                        <a:pt x="724805" y="211461"/>
                      </a:lnTo>
                      <a:lnTo>
                        <a:pt x="726231" y="211274"/>
                      </a:lnTo>
                      <a:lnTo>
                        <a:pt x="727959" y="209888"/>
                      </a:lnTo>
                      <a:lnTo>
                        <a:pt x="729442" y="212757"/>
                      </a:lnTo>
                      <a:lnTo>
                        <a:pt x="730550" y="215895"/>
                      </a:lnTo>
                      <a:lnTo>
                        <a:pt x="730770" y="219081"/>
                      </a:lnTo>
                      <a:lnTo>
                        <a:pt x="729727" y="220923"/>
                      </a:lnTo>
                      <a:lnTo>
                        <a:pt x="728806" y="222072"/>
                      </a:lnTo>
                      <a:lnTo>
                        <a:pt x="727779" y="224321"/>
                      </a:lnTo>
                      <a:lnTo>
                        <a:pt x="726565" y="224729"/>
                      </a:lnTo>
                      <a:lnTo>
                        <a:pt x="725359" y="225470"/>
                      </a:lnTo>
                      <a:lnTo>
                        <a:pt x="726736" y="227109"/>
                      </a:lnTo>
                      <a:lnTo>
                        <a:pt x="727689" y="228681"/>
                      </a:lnTo>
                      <a:lnTo>
                        <a:pt x="729759" y="224411"/>
                      </a:lnTo>
                      <a:lnTo>
                        <a:pt x="731210" y="223205"/>
                      </a:lnTo>
                      <a:lnTo>
                        <a:pt x="733313" y="222545"/>
                      </a:lnTo>
                      <a:lnTo>
                        <a:pt x="734413" y="225593"/>
                      </a:lnTo>
                      <a:lnTo>
                        <a:pt x="734649" y="228461"/>
                      </a:lnTo>
                      <a:lnTo>
                        <a:pt x="731218" y="229659"/>
                      </a:lnTo>
                      <a:lnTo>
                        <a:pt x="731210" y="231933"/>
                      </a:lnTo>
                      <a:lnTo>
                        <a:pt x="730192" y="233213"/>
                      </a:lnTo>
                      <a:lnTo>
                        <a:pt x="729515" y="234680"/>
                      </a:lnTo>
                      <a:lnTo>
                        <a:pt x="728977" y="237785"/>
                      </a:lnTo>
                      <a:lnTo>
                        <a:pt x="728284" y="240352"/>
                      </a:lnTo>
                      <a:lnTo>
                        <a:pt x="726239" y="251729"/>
                      </a:lnTo>
                      <a:lnTo>
                        <a:pt x="726198" y="253595"/>
                      </a:lnTo>
                      <a:lnTo>
                        <a:pt x="728692" y="251599"/>
                      </a:lnTo>
                      <a:lnTo>
                        <a:pt x="733280" y="245796"/>
                      </a:lnTo>
                      <a:lnTo>
                        <a:pt x="734674" y="239618"/>
                      </a:lnTo>
                      <a:lnTo>
                        <a:pt x="736491" y="233539"/>
                      </a:lnTo>
                      <a:lnTo>
                        <a:pt x="738464" y="231632"/>
                      </a:lnTo>
                      <a:lnTo>
                        <a:pt x="739686" y="231632"/>
                      </a:lnTo>
                      <a:lnTo>
                        <a:pt x="741520" y="232292"/>
                      </a:lnTo>
                      <a:lnTo>
                        <a:pt x="741626" y="234288"/>
                      </a:lnTo>
                      <a:lnTo>
                        <a:pt x="741349" y="235429"/>
                      </a:lnTo>
                      <a:lnTo>
                        <a:pt x="739393" y="238469"/>
                      </a:lnTo>
                      <a:lnTo>
                        <a:pt x="738561" y="240132"/>
                      </a:lnTo>
                      <a:lnTo>
                        <a:pt x="739368" y="241754"/>
                      </a:lnTo>
                      <a:lnTo>
                        <a:pt x="743818" y="236742"/>
                      </a:lnTo>
                      <a:lnTo>
                        <a:pt x="745807" y="234989"/>
                      </a:lnTo>
                      <a:lnTo>
                        <a:pt x="747501" y="235348"/>
                      </a:lnTo>
                      <a:lnTo>
                        <a:pt x="750875" y="233033"/>
                      </a:lnTo>
                      <a:lnTo>
                        <a:pt x="757664" y="232544"/>
                      </a:lnTo>
                      <a:lnTo>
                        <a:pt x="758170" y="229904"/>
                      </a:lnTo>
                      <a:lnTo>
                        <a:pt x="759522" y="228771"/>
                      </a:lnTo>
                      <a:lnTo>
                        <a:pt x="763255" y="229073"/>
                      </a:lnTo>
                      <a:lnTo>
                        <a:pt x="770525" y="231444"/>
                      </a:lnTo>
                      <a:lnTo>
                        <a:pt x="773116" y="233359"/>
                      </a:lnTo>
                      <a:lnTo>
                        <a:pt x="776996" y="235161"/>
                      </a:lnTo>
                      <a:lnTo>
                        <a:pt x="779033" y="237312"/>
                      </a:lnTo>
                      <a:lnTo>
                        <a:pt x="787566" y="241224"/>
                      </a:lnTo>
                      <a:lnTo>
                        <a:pt x="793760" y="241648"/>
                      </a:lnTo>
                      <a:lnTo>
                        <a:pt x="796832" y="239871"/>
                      </a:lnTo>
                      <a:lnTo>
                        <a:pt x="800654" y="241737"/>
                      </a:lnTo>
                      <a:lnTo>
                        <a:pt x="802684" y="243824"/>
                      </a:lnTo>
                      <a:lnTo>
                        <a:pt x="806652" y="244965"/>
                      </a:lnTo>
                      <a:lnTo>
                        <a:pt x="810670" y="245560"/>
                      </a:lnTo>
                      <a:lnTo>
                        <a:pt x="813734" y="244052"/>
                      </a:lnTo>
                      <a:lnTo>
                        <a:pt x="821640" y="243555"/>
                      </a:lnTo>
                      <a:lnTo>
                        <a:pt x="831591" y="241338"/>
                      </a:lnTo>
                      <a:lnTo>
                        <a:pt x="837524" y="241860"/>
                      </a:lnTo>
                      <a:lnTo>
                        <a:pt x="844239" y="243310"/>
                      </a:lnTo>
                      <a:lnTo>
                        <a:pt x="849023" y="247035"/>
                      </a:lnTo>
                      <a:lnTo>
                        <a:pt x="853049" y="249145"/>
                      </a:lnTo>
                      <a:lnTo>
                        <a:pt x="855485" y="251216"/>
                      </a:lnTo>
                      <a:lnTo>
                        <a:pt x="859414" y="253375"/>
                      </a:lnTo>
                      <a:lnTo>
                        <a:pt x="867808" y="259161"/>
                      </a:lnTo>
                      <a:lnTo>
                        <a:pt x="870742" y="262503"/>
                      </a:lnTo>
                      <a:lnTo>
                        <a:pt x="875941" y="267059"/>
                      </a:lnTo>
                      <a:lnTo>
                        <a:pt x="881165" y="268974"/>
                      </a:lnTo>
                      <a:lnTo>
                        <a:pt x="883993" y="273725"/>
                      </a:lnTo>
                      <a:lnTo>
                        <a:pt x="886226" y="275885"/>
                      </a:lnTo>
                      <a:lnTo>
                        <a:pt x="891760" y="283912"/>
                      </a:lnTo>
                      <a:lnTo>
                        <a:pt x="898043" y="289552"/>
                      </a:lnTo>
                      <a:lnTo>
                        <a:pt x="902240" y="295175"/>
                      </a:lnTo>
                      <a:lnTo>
                        <a:pt x="910301" y="298802"/>
                      </a:lnTo>
                      <a:lnTo>
                        <a:pt x="913446" y="304776"/>
                      </a:lnTo>
                      <a:lnTo>
                        <a:pt x="918899" y="305509"/>
                      </a:lnTo>
                      <a:lnTo>
                        <a:pt x="921221" y="306405"/>
                      </a:lnTo>
                      <a:lnTo>
                        <a:pt x="924041" y="308924"/>
                      </a:lnTo>
                      <a:lnTo>
                        <a:pt x="927928" y="310326"/>
                      </a:lnTo>
                      <a:lnTo>
                        <a:pt x="932989" y="309934"/>
                      </a:lnTo>
                      <a:lnTo>
                        <a:pt x="938572" y="310220"/>
                      </a:lnTo>
                      <a:lnTo>
                        <a:pt x="943079" y="309030"/>
                      </a:lnTo>
                      <a:lnTo>
                        <a:pt x="953755" y="311279"/>
                      </a:lnTo>
                      <a:lnTo>
                        <a:pt x="955434" y="312379"/>
                      </a:lnTo>
                      <a:lnTo>
                        <a:pt x="957642" y="314922"/>
                      </a:lnTo>
                      <a:lnTo>
                        <a:pt x="961546" y="324400"/>
                      </a:lnTo>
                      <a:lnTo>
                        <a:pt x="963869" y="334921"/>
                      </a:lnTo>
                      <a:lnTo>
                        <a:pt x="965018" y="342965"/>
                      </a:lnTo>
                      <a:lnTo>
                        <a:pt x="967683" y="349224"/>
                      </a:lnTo>
                      <a:lnTo>
                        <a:pt x="969142" y="360984"/>
                      </a:lnTo>
                      <a:lnTo>
                        <a:pt x="970372" y="364668"/>
                      </a:lnTo>
                      <a:lnTo>
                        <a:pt x="970470" y="367528"/>
                      </a:lnTo>
                      <a:lnTo>
                        <a:pt x="971513" y="368180"/>
                      </a:lnTo>
                      <a:lnTo>
                        <a:pt x="972214" y="376110"/>
                      </a:lnTo>
                      <a:lnTo>
                        <a:pt x="971945" y="379321"/>
                      </a:lnTo>
                      <a:lnTo>
                        <a:pt x="970926" y="383477"/>
                      </a:lnTo>
                      <a:lnTo>
                        <a:pt x="970853" y="385344"/>
                      </a:lnTo>
                      <a:lnTo>
                        <a:pt x="971000" y="386526"/>
                      </a:lnTo>
                      <a:lnTo>
                        <a:pt x="970552" y="388253"/>
                      </a:lnTo>
                      <a:lnTo>
                        <a:pt x="970413" y="389932"/>
                      </a:lnTo>
                      <a:lnTo>
                        <a:pt x="971448" y="393665"/>
                      </a:lnTo>
                      <a:lnTo>
                        <a:pt x="971505" y="396656"/>
                      </a:lnTo>
                      <a:lnTo>
                        <a:pt x="970120" y="400299"/>
                      </a:lnTo>
                      <a:lnTo>
                        <a:pt x="968237" y="409793"/>
                      </a:lnTo>
                      <a:lnTo>
                        <a:pt x="963494" y="425530"/>
                      </a:lnTo>
                      <a:lnTo>
                        <a:pt x="958946" y="434568"/>
                      </a:lnTo>
                      <a:lnTo>
                        <a:pt x="952590" y="443916"/>
                      </a:lnTo>
                      <a:lnTo>
                        <a:pt x="948450" y="448789"/>
                      </a:lnTo>
                      <a:lnTo>
                        <a:pt x="946812" y="449295"/>
                      </a:lnTo>
                      <a:lnTo>
                        <a:pt x="945304" y="448325"/>
                      </a:lnTo>
                      <a:lnTo>
                        <a:pt x="946371" y="450900"/>
                      </a:lnTo>
                      <a:lnTo>
                        <a:pt x="945434" y="453166"/>
                      </a:lnTo>
                      <a:lnTo>
                        <a:pt x="941229" y="460044"/>
                      </a:lnTo>
                      <a:lnTo>
                        <a:pt x="937048" y="464559"/>
                      </a:lnTo>
                      <a:lnTo>
                        <a:pt x="932712" y="472375"/>
                      </a:lnTo>
                      <a:lnTo>
                        <a:pt x="932378" y="472546"/>
                      </a:lnTo>
                      <a:lnTo>
                        <a:pt x="926820" y="475561"/>
                      </a:lnTo>
                      <a:lnTo>
                        <a:pt x="923536" y="478031"/>
                      </a:lnTo>
                      <a:lnTo>
                        <a:pt x="919331" y="482537"/>
                      </a:lnTo>
                      <a:lnTo>
                        <a:pt x="915476" y="489611"/>
                      </a:lnTo>
                      <a:lnTo>
                        <a:pt x="914677" y="490524"/>
                      </a:lnTo>
                      <a:lnTo>
                        <a:pt x="913259" y="490019"/>
                      </a:lnTo>
                      <a:lnTo>
                        <a:pt x="913300" y="493621"/>
                      </a:lnTo>
                      <a:lnTo>
                        <a:pt x="909975" y="499310"/>
                      </a:lnTo>
                      <a:lnTo>
                        <a:pt x="908956" y="500157"/>
                      </a:lnTo>
                      <a:lnTo>
                        <a:pt x="908980" y="498544"/>
                      </a:lnTo>
                      <a:lnTo>
                        <a:pt x="909559" y="497321"/>
                      </a:lnTo>
                      <a:lnTo>
                        <a:pt x="909828" y="496009"/>
                      </a:lnTo>
                      <a:lnTo>
                        <a:pt x="909803" y="494452"/>
                      </a:lnTo>
                      <a:lnTo>
                        <a:pt x="908875" y="495593"/>
                      </a:lnTo>
                      <a:lnTo>
                        <a:pt x="906910" y="499856"/>
                      </a:lnTo>
                      <a:lnTo>
                        <a:pt x="907571" y="502993"/>
                      </a:lnTo>
                      <a:lnTo>
                        <a:pt x="906144" y="507720"/>
                      </a:lnTo>
                      <a:lnTo>
                        <a:pt x="900708" y="521232"/>
                      </a:lnTo>
                      <a:lnTo>
                        <a:pt x="894050" y="532601"/>
                      </a:lnTo>
                      <a:lnTo>
                        <a:pt x="892518" y="536114"/>
                      </a:lnTo>
                      <a:lnTo>
                        <a:pt x="887049" y="543775"/>
                      </a:lnTo>
                      <a:lnTo>
                        <a:pt x="883032" y="547475"/>
                      </a:lnTo>
                      <a:lnTo>
                        <a:pt x="881899" y="547499"/>
                      </a:lnTo>
                      <a:lnTo>
                        <a:pt x="880619" y="547189"/>
                      </a:lnTo>
                      <a:lnTo>
                        <a:pt x="879975" y="541281"/>
                      </a:lnTo>
                      <a:lnTo>
                        <a:pt x="876781" y="537719"/>
                      </a:lnTo>
                      <a:lnTo>
                        <a:pt x="875860" y="537092"/>
                      </a:lnTo>
                      <a:lnTo>
                        <a:pt x="874548" y="540873"/>
                      </a:lnTo>
                      <a:lnTo>
                        <a:pt x="873448" y="541900"/>
                      </a:lnTo>
                      <a:lnTo>
                        <a:pt x="871866" y="542128"/>
                      </a:lnTo>
                      <a:lnTo>
                        <a:pt x="873562" y="543775"/>
                      </a:lnTo>
                      <a:lnTo>
                        <a:pt x="874059" y="545665"/>
                      </a:lnTo>
                      <a:lnTo>
                        <a:pt x="872331" y="549488"/>
                      </a:lnTo>
                      <a:lnTo>
                        <a:pt x="872282" y="552951"/>
                      </a:lnTo>
                      <a:lnTo>
                        <a:pt x="869210" y="556782"/>
                      </a:lnTo>
                      <a:lnTo>
                        <a:pt x="867433" y="559569"/>
                      </a:lnTo>
                      <a:lnTo>
                        <a:pt x="866528" y="563081"/>
                      </a:lnTo>
                      <a:lnTo>
                        <a:pt x="865982" y="566341"/>
                      </a:lnTo>
                      <a:lnTo>
                        <a:pt x="867335" y="565461"/>
                      </a:lnTo>
                      <a:lnTo>
                        <a:pt x="867979" y="566146"/>
                      </a:lnTo>
                      <a:lnTo>
                        <a:pt x="868484" y="567164"/>
                      </a:lnTo>
                      <a:lnTo>
                        <a:pt x="868175" y="568664"/>
                      </a:lnTo>
                      <a:lnTo>
                        <a:pt x="867180" y="571516"/>
                      </a:lnTo>
                      <a:lnTo>
                        <a:pt x="867335" y="578590"/>
                      </a:lnTo>
                      <a:lnTo>
                        <a:pt x="867001" y="580196"/>
                      </a:lnTo>
                      <a:lnTo>
                        <a:pt x="867987" y="581932"/>
                      </a:lnTo>
                      <a:lnTo>
                        <a:pt x="869022" y="578973"/>
                      </a:lnTo>
                      <a:lnTo>
                        <a:pt x="869625" y="579796"/>
                      </a:lnTo>
                      <a:lnTo>
                        <a:pt x="866716" y="598777"/>
                      </a:lnTo>
                      <a:lnTo>
                        <a:pt x="867865" y="607326"/>
                      </a:lnTo>
                      <a:lnTo>
                        <a:pt x="868289" y="617024"/>
                      </a:lnTo>
                      <a:lnTo>
                        <a:pt x="869601" y="626478"/>
                      </a:lnTo>
                      <a:lnTo>
                        <a:pt x="871035" y="634954"/>
                      </a:lnTo>
                      <a:lnTo>
                        <a:pt x="871157" y="635647"/>
                      </a:lnTo>
                      <a:lnTo>
                        <a:pt x="869169" y="645475"/>
                      </a:lnTo>
                      <a:lnTo>
                        <a:pt x="866626" y="655181"/>
                      </a:lnTo>
                      <a:lnTo>
                        <a:pt x="865094" y="663119"/>
                      </a:lnTo>
                      <a:lnTo>
                        <a:pt x="864132" y="671685"/>
                      </a:lnTo>
                      <a:lnTo>
                        <a:pt x="863163" y="675800"/>
                      </a:lnTo>
                      <a:lnTo>
                        <a:pt x="862853" y="680030"/>
                      </a:lnTo>
                      <a:lnTo>
                        <a:pt x="863961" y="690030"/>
                      </a:lnTo>
                      <a:lnTo>
                        <a:pt x="864369" y="691920"/>
                      </a:lnTo>
                      <a:lnTo>
                        <a:pt x="861288" y="696378"/>
                      </a:lnTo>
                      <a:lnTo>
                        <a:pt x="857955" y="698546"/>
                      </a:lnTo>
                      <a:lnTo>
                        <a:pt x="856121" y="700706"/>
                      </a:lnTo>
                      <a:lnTo>
                        <a:pt x="852054" y="708750"/>
                      </a:lnTo>
                      <a:lnTo>
                        <a:pt x="849846" y="720656"/>
                      </a:lnTo>
                      <a:lnTo>
                        <a:pt x="849789" y="727005"/>
                      </a:lnTo>
                      <a:lnTo>
                        <a:pt x="850832" y="740289"/>
                      </a:lnTo>
                      <a:lnTo>
                        <a:pt x="850050" y="745717"/>
                      </a:lnTo>
                      <a:lnTo>
                        <a:pt x="848762" y="749352"/>
                      </a:lnTo>
                      <a:lnTo>
                        <a:pt x="847238" y="751731"/>
                      </a:lnTo>
                      <a:lnTo>
                        <a:pt x="843351" y="754608"/>
                      </a:lnTo>
                      <a:lnTo>
                        <a:pt x="839871" y="761576"/>
                      </a:lnTo>
                      <a:lnTo>
                        <a:pt x="838355" y="768919"/>
                      </a:lnTo>
                      <a:lnTo>
                        <a:pt x="835967" y="771592"/>
                      </a:lnTo>
                      <a:lnTo>
                        <a:pt x="835478" y="775708"/>
                      </a:lnTo>
                      <a:lnTo>
                        <a:pt x="833555" y="780149"/>
                      </a:lnTo>
                      <a:lnTo>
                        <a:pt x="828575" y="786775"/>
                      </a:lnTo>
                      <a:lnTo>
                        <a:pt x="825340" y="788707"/>
                      </a:lnTo>
                      <a:lnTo>
                        <a:pt x="823799" y="790565"/>
                      </a:lnTo>
                      <a:lnTo>
                        <a:pt x="822821" y="794444"/>
                      </a:lnTo>
                      <a:lnTo>
                        <a:pt x="819700" y="800850"/>
                      </a:lnTo>
                      <a:lnTo>
                        <a:pt x="817402" y="809154"/>
                      </a:lnTo>
                      <a:lnTo>
                        <a:pt x="817997" y="811974"/>
                      </a:lnTo>
                      <a:lnTo>
                        <a:pt x="818029" y="812422"/>
                      </a:lnTo>
                      <a:lnTo>
                        <a:pt x="818877" y="822031"/>
                      </a:lnTo>
                      <a:lnTo>
                        <a:pt x="818559" y="824476"/>
                      </a:lnTo>
                      <a:lnTo>
                        <a:pt x="815527" y="827133"/>
                      </a:lnTo>
                      <a:lnTo>
                        <a:pt x="804110" y="832071"/>
                      </a:lnTo>
                      <a:lnTo>
                        <a:pt x="801070" y="834125"/>
                      </a:lnTo>
                      <a:lnTo>
                        <a:pt x="794249" y="842568"/>
                      </a:lnTo>
                      <a:lnTo>
                        <a:pt x="793825" y="844549"/>
                      </a:lnTo>
                      <a:lnTo>
                        <a:pt x="794110" y="847385"/>
                      </a:lnTo>
                      <a:lnTo>
                        <a:pt x="795235" y="849023"/>
                      </a:lnTo>
                      <a:lnTo>
                        <a:pt x="794077" y="850791"/>
                      </a:lnTo>
                      <a:lnTo>
                        <a:pt x="792716" y="853978"/>
                      </a:lnTo>
                      <a:lnTo>
                        <a:pt x="790728" y="853790"/>
                      </a:lnTo>
                      <a:lnTo>
                        <a:pt x="779351" y="853799"/>
                      </a:lnTo>
                      <a:lnTo>
                        <a:pt x="773198" y="854801"/>
                      </a:lnTo>
                      <a:lnTo>
                        <a:pt x="769995" y="854605"/>
                      </a:lnTo>
                      <a:lnTo>
                        <a:pt x="768552" y="853847"/>
                      </a:lnTo>
                      <a:lnTo>
                        <a:pt x="766947" y="852601"/>
                      </a:lnTo>
                      <a:lnTo>
                        <a:pt x="766458" y="850971"/>
                      </a:lnTo>
                      <a:lnTo>
                        <a:pt x="767330" y="848485"/>
                      </a:lnTo>
                      <a:lnTo>
                        <a:pt x="766817" y="847010"/>
                      </a:lnTo>
                      <a:lnTo>
                        <a:pt x="765130" y="847067"/>
                      </a:lnTo>
                      <a:lnTo>
                        <a:pt x="763279" y="847768"/>
                      </a:lnTo>
                      <a:lnTo>
                        <a:pt x="762954" y="849259"/>
                      </a:lnTo>
                      <a:lnTo>
                        <a:pt x="763084" y="850302"/>
                      </a:lnTo>
                      <a:lnTo>
                        <a:pt x="763768" y="851835"/>
                      </a:lnTo>
                      <a:lnTo>
                        <a:pt x="764143" y="853717"/>
                      </a:lnTo>
                      <a:lnTo>
                        <a:pt x="763385" y="855355"/>
                      </a:lnTo>
                      <a:lnTo>
                        <a:pt x="759783" y="855559"/>
                      </a:lnTo>
                      <a:lnTo>
                        <a:pt x="755733" y="857075"/>
                      </a:lnTo>
                      <a:lnTo>
                        <a:pt x="750680" y="857694"/>
                      </a:lnTo>
                      <a:lnTo>
                        <a:pt x="746654" y="858794"/>
                      </a:lnTo>
                      <a:lnTo>
                        <a:pt x="744788" y="857417"/>
                      </a:lnTo>
                      <a:lnTo>
                        <a:pt x="746654" y="856732"/>
                      </a:lnTo>
                      <a:lnTo>
                        <a:pt x="749319" y="857067"/>
                      </a:lnTo>
                      <a:lnTo>
                        <a:pt x="752179" y="855917"/>
                      </a:lnTo>
                      <a:lnTo>
                        <a:pt x="751511" y="854573"/>
                      </a:lnTo>
                      <a:lnTo>
                        <a:pt x="747461" y="852829"/>
                      </a:lnTo>
                      <a:lnTo>
                        <a:pt x="742962" y="853905"/>
                      </a:lnTo>
                      <a:lnTo>
                        <a:pt x="740468" y="855966"/>
                      </a:lnTo>
                      <a:lnTo>
                        <a:pt x="735008" y="855787"/>
                      </a:lnTo>
                      <a:lnTo>
                        <a:pt x="728333" y="857360"/>
                      </a:lnTo>
                      <a:lnTo>
                        <a:pt x="727241" y="858966"/>
                      </a:lnTo>
                      <a:lnTo>
                        <a:pt x="727421" y="862070"/>
                      </a:lnTo>
                      <a:lnTo>
                        <a:pt x="728725" y="862747"/>
                      </a:lnTo>
                      <a:lnTo>
                        <a:pt x="730004" y="864173"/>
                      </a:lnTo>
                      <a:lnTo>
                        <a:pt x="728782" y="865493"/>
                      </a:lnTo>
                      <a:lnTo>
                        <a:pt x="727584" y="866080"/>
                      </a:lnTo>
                      <a:lnTo>
                        <a:pt x="720534" y="867523"/>
                      </a:lnTo>
                      <a:lnTo>
                        <a:pt x="713990" y="873586"/>
                      </a:lnTo>
                      <a:lnTo>
                        <a:pt x="711268" y="874352"/>
                      </a:lnTo>
                      <a:lnTo>
                        <a:pt x="708839" y="877025"/>
                      </a:lnTo>
                      <a:lnTo>
                        <a:pt x="708587" y="879307"/>
                      </a:lnTo>
                      <a:lnTo>
                        <a:pt x="707821" y="880684"/>
                      </a:lnTo>
                      <a:lnTo>
                        <a:pt x="706264" y="880766"/>
                      </a:lnTo>
                      <a:lnTo>
                        <a:pt x="702857" y="879511"/>
                      </a:lnTo>
                      <a:lnTo>
                        <a:pt x="698432" y="879470"/>
                      </a:lnTo>
                      <a:lnTo>
                        <a:pt x="695237" y="880465"/>
                      </a:lnTo>
                      <a:lnTo>
                        <a:pt x="678897" y="890309"/>
                      </a:lnTo>
                      <a:lnTo>
                        <a:pt x="673029" y="894254"/>
                      </a:lnTo>
                      <a:lnTo>
                        <a:pt x="666338" y="902298"/>
                      </a:lnTo>
                      <a:lnTo>
                        <a:pt x="655051" y="911327"/>
                      </a:lnTo>
                      <a:lnTo>
                        <a:pt x="649126" y="916731"/>
                      </a:lnTo>
                      <a:lnTo>
                        <a:pt x="647993" y="918124"/>
                      </a:lnTo>
                      <a:lnTo>
                        <a:pt x="647056" y="918206"/>
                      </a:lnTo>
                      <a:lnTo>
                        <a:pt x="645198" y="919339"/>
                      </a:lnTo>
                      <a:lnTo>
                        <a:pt x="645940" y="920268"/>
                      </a:lnTo>
                      <a:lnTo>
                        <a:pt x="647203" y="920349"/>
                      </a:lnTo>
                      <a:lnTo>
                        <a:pt x="646689" y="923495"/>
                      </a:lnTo>
                      <a:lnTo>
                        <a:pt x="644326" y="925655"/>
                      </a:lnTo>
                      <a:lnTo>
                        <a:pt x="639909" y="931311"/>
                      </a:lnTo>
                      <a:lnTo>
                        <a:pt x="638923" y="930887"/>
                      </a:lnTo>
                      <a:lnTo>
                        <a:pt x="640316" y="927953"/>
                      </a:lnTo>
                      <a:lnTo>
                        <a:pt x="638148" y="927839"/>
                      </a:lnTo>
                      <a:lnTo>
                        <a:pt x="634929" y="926649"/>
                      </a:lnTo>
                      <a:lnTo>
                        <a:pt x="633536" y="927863"/>
                      </a:lnTo>
                      <a:lnTo>
                        <a:pt x="634302" y="930773"/>
                      </a:lnTo>
                      <a:lnTo>
                        <a:pt x="633104" y="932011"/>
                      </a:lnTo>
                      <a:lnTo>
                        <a:pt x="630920" y="932166"/>
                      </a:lnTo>
                      <a:lnTo>
                        <a:pt x="628939" y="931824"/>
                      </a:lnTo>
                      <a:lnTo>
                        <a:pt x="626763" y="929681"/>
                      </a:lnTo>
                      <a:lnTo>
                        <a:pt x="627749" y="933552"/>
                      </a:lnTo>
                      <a:lnTo>
                        <a:pt x="632338" y="934481"/>
                      </a:lnTo>
                      <a:lnTo>
                        <a:pt x="634253" y="935394"/>
                      </a:lnTo>
                      <a:lnTo>
                        <a:pt x="634962" y="936885"/>
                      </a:lnTo>
                      <a:lnTo>
                        <a:pt x="631392" y="943764"/>
                      </a:lnTo>
                      <a:lnTo>
                        <a:pt x="628401" y="944652"/>
                      </a:lnTo>
                      <a:lnTo>
                        <a:pt x="628067" y="945630"/>
                      </a:lnTo>
                      <a:lnTo>
                        <a:pt x="629713" y="945630"/>
                      </a:lnTo>
                      <a:lnTo>
                        <a:pt x="630618" y="947521"/>
                      </a:lnTo>
                      <a:lnTo>
                        <a:pt x="629550" y="955222"/>
                      </a:lnTo>
                      <a:lnTo>
                        <a:pt x="628075" y="956681"/>
                      </a:lnTo>
                      <a:lnTo>
                        <a:pt x="627212" y="956722"/>
                      </a:lnTo>
                      <a:lnTo>
                        <a:pt x="626356" y="958042"/>
                      </a:lnTo>
                      <a:lnTo>
                        <a:pt x="627537" y="960552"/>
                      </a:lnTo>
                      <a:lnTo>
                        <a:pt x="628752" y="962402"/>
                      </a:lnTo>
                      <a:lnTo>
                        <a:pt x="628589" y="965963"/>
                      </a:lnTo>
                      <a:lnTo>
                        <a:pt x="628132" y="968905"/>
                      </a:lnTo>
                      <a:lnTo>
                        <a:pt x="628100" y="971774"/>
                      </a:lnTo>
                      <a:lnTo>
                        <a:pt x="629640" y="977316"/>
                      </a:lnTo>
                      <a:lnTo>
                        <a:pt x="630186" y="983012"/>
                      </a:lnTo>
                      <a:lnTo>
                        <a:pt x="630814" y="985082"/>
                      </a:lnTo>
                      <a:lnTo>
                        <a:pt x="631164" y="987389"/>
                      </a:lnTo>
                      <a:lnTo>
                        <a:pt x="630145" y="989532"/>
                      </a:lnTo>
                      <a:lnTo>
                        <a:pt x="630724" y="992996"/>
                      </a:lnTo>
                      <a:lnTo>
                        <a:pt x="628980" y="998872"/>
                      </a:lnTo>
                      <a:lnTo>
                        <a:pt x="629893" y="1007356"/>
                      </a:lnTo>
                      <a:lnTo>
                        <a:pt x="629518" y="1015310"/>
                      </a:lnTo>
                      <a:lnTo>
                        <a:pt x="628833" y="1019515"/>
                      </a:lnTo>
                      <a:lnTo>
                        <a:pt x="627725" y="1022791"/>
                      </a:lnTo>
                      <a:lnTo>
                        <a:pt x="625142" y="1027005"/>
                      </a:lnTo>
                      <a:lnTo>
                        <a:pt x="625084" y="1031243"/>
                      </a:lnTo>
                      <a:lnTo>
                        <a:pt x="619526" y="1035171"/>
                      </a:lnTo>
                      <a:lnTo>
                        <a:pt x="613381" y="1040688"/>
                      </a:lnTo>
                      <a:lnTo>
                        <a:pt x="607717" y="1047192"/>
                      </a:lnTo>
                      <a:lnTo>
                        <a:pt x="601613" y="1056409"/>
                      </a:lnTo>
                      <a:lnTo>
                        <a:pt x="594482" y="1070427"/>
                      </a:lnTo>
                      <a:lnTo>
                        <a:pt x="587881" y="1090491"/>
                      </a:lnTo>
                      <a:lnTo>
                        <a:pt x="579935" y="1105674"/>
                      </a:lnTo>
                      <a:lnTo>
                        <a:pt x="576757" y="1111167"/>
                      </a:lnTo>
                      <a:lnTo>
                        <a:pt x="572462" y="1117304"/>
                      </a:lnTo>
                      <a:lnTo>
                        <a:pt x="566749" y="1124484"/>
                      </a:lnTo>
                      <a:lnTo>
                        <a:pt x="559096" y="1131664"/>
                      </a:lnTo>
                      <a:lnTo>
                        <a:pt x="550718" y="1138069"/>
                      </a:lnTo>
                      <a:lnTo>
                        <a:pt x="547694" y="1140954"/>
                      </a:lnTo>
                      <a:lnTo>
                        <a:pt x="544744" y="1145005"/>
                      </a:lnTo>
                      <a:lnTo>
                        <a:pt x="544011" y="1143334"/>
                      </a:lnTo>
                      <a:lnTo>
                        <a:pt x="544655" y="1140571"/>
                      </a:lnTo>
                      <a:lnTo>
                        <a:pt x="544247" y="1138485"/>
                      </a:lnTo>
                      <a:lnTo>
                        <a:pt x="544158" y="1135796"/>
                      </a:lnTo>
                      <a:lnTo>
                        <a:pt x="545845" y="1135290"/>
                      </a:lnTo>
                      <a:lnTo>
                        <a:pt x="548379" y="1137010"/>
                      </a:lnTo>
                      <a:lnTo>
                        <a:pt x="549667" y="1135845"/>
                      </a:lnTo>
                      <a:lnTo>
                        <a:pt x="550604" y="1134695"/>
                      </a:lnTo>
                      <a:lnTo>
                        <a:pt x="553652" y="1133986"/>
                      </a:lnTo>
                      <a:lnTo>
                        <a:pt x="559463" y="1126945"/>
                      </a:lnTo>
                      <a:lnTo>
                        <a:pt x="563774" y="1124362"/>
                      </a:lnTo>
                      <a:lnTo>
                        <a:pt x="566203" y="1119920"/>
                      </a:lnTo>
                      <a:lnTo>
                        <a:pt x="566618" y="1117573"/>
                      </a:lnTo>
                      <a:lnTo>
                        <a:pt x="566520" y="1112797"/>
                      </a:lnTo>
                      <a:lnTo>
                        <a:pt x="567890" y="1111583"/>
                      </a:lnTo>
                      <a:lnTo>
                        <a:pt x="571019" y="1112006"/>
                      </a:lnTo>
                      <a:lnTo>
                        <a:pt x="571655" y="1110654"/>
                      </a:lnTo>
                      <a:lnTo>
                        <a:pt x="571378" y="1109146"/>
                      </a:lnTo>
                      <a:lnTo>
                        <a:pt x="571989" y="1105862"/>
                      </a:lnTo>
                      <a:lnTo>
                        <a:pt x="576227" y="1102960"/>
                      </a:lnTo>
                      <a:lnTo>
                        <a:pt x="578232" y="1099431"/>
                      </a:lnTo>
                      <a:lnTo>
                        <a:pt x="577555" y="1090483"/>
                      </a:lnTo>
                      <a:lnTo>
                        <a:pt x="578329" y="1090084"/>
                      </a:lnTo>
                      <a:lnTo>
                        <a:pt x="580074" y="1091477"/>
                      </a:lnTo>
                      <a:lnTo>
                        <a:pt x="580888" y="1090907"/>
                      </a:lnTo>
                      <a:lnTo>
                        <a:pt x="581769" y="1086979"/>
                      </a:lnTo>
                      <a:lnTo>
                        <a:pt x="581345" y="1084949"/>
                      </a:lnTo>
                      <a:lnTo>
                        <a:pt x="579299" y="1084412"/>
                      </a:lnTo>
                      <a:lnTo>
                        <a:pt x="572209" y="1088829"/>
                      </a:lnTo>
                      <a:lnTo>
                        <a:pt x="569903" y="1088658"/>
                      </a:lnTo>
                      <a:lnTo>
                        <a:pt x="569528" y="1085186"/>
                      </a:lnTo>
                      <a:lnTo>
                        <a:pt x="566080" y="1083588"/>
                      </a:lnTo>
                      <a:lnTo>
                        <a:pt x="564727" y="1080712"/>
                      </a:lnTo>
                      <a:lnTo>
                        <a:pt x="564328" y="1078739"/>
                      </a:lnTo>
                      <a:lnTo>
                        <a:pt x="563130" y="1077932"/>
                      </a:lnTo>
                      <a:lnTo>
                        <a:pt x="563204" y="1081331"/>
                      </a:lnTo>
                      <a:lnTo>
                        <a:pt x="563530" y="1084648"/>
                      </a:lnTo>
                      <a:lnTo>
                        <a:pt x="566618" y="1088511"/>
                      </a:lnTo>
                      <a:lnTo>
                        <a:pt x="565868" y="1090043"/>
                      </a:lnTo>
                      <a:lnTo>
                        <a:pt x="564410" y="1091828"/>
                      </a:lnTo>
                      <a:lnTo>
                        <a:pt x="563391" y="1095805"/>
                      </a:lnTo>
                      <a:lnTo>
                        <a:pt x="563505" y="1100972"/>
                      </a:lnTo>
                      <a:lnTo>
                        <a:pt x="562674" y="1099407"/>
                      </a:lnTo>
                      <a:lnTo>
                        <a:pt x="561614" y="1098494"/>
                      </a:lnTo>
                      <a:lnTo>
                        <a:pt x="561191" y="1104044"/>
                      </a:lnTo>
                      <a:lnTo>
                        <a:pt x="559137" y="1106171"/>
                      </a:lnTo>
                      <a:lnTo>
                        <a:pt x="558493" y="1108258"/>
                      </a:lnTo>
                      <a:lnTo>
                        <a:pt x="559023" y="1110678"/>
                      </a:lnTo>
                      <a:lnTo>
                        <a:pt x="557963" y="1112365"/>
                      </a:lnTo>
                      <a:lnTo>
                        <a:pt x="552739" y="1116856"/>
                      </a:lnTo>
                      <a:lnTo>
                        <a:pt x="547532" y="1119920"/>
                      </a:lnTo>
                      <a:lnTo>
                        <a:pt x="546399" y="1121371"/>
                      </a:lnTo>
                      <a:lnTo>
                        <a:pt x="545845" y="1124810"/>
                      </a:lnTo>
                      <a:lnTo>
                        <a:pt x="545054" y="1128339"/>
                      </a:lnTo>
                      <a:lnTo>
                        <a:pt x="542748" y="1131435"/>
                      </a:lnTo>
                      <a:lnTo>
                        <a:pt x="540922" y="1137613"/>
                      </a:lnTo>
                      <a:lnTo>
                        <a:pt x="540963" y="1140262"/>
                      </a:lnTo>
                      <a:lnTo>
                        <a:pt x="541574" y="1144174"/>
                      </a:lnTo>
                      <a:lnTo>
                        <a:pt x="542560" y="1146749"/>
                      </a:lnTo>
                      <a:lnTo>
                        <a:pt x="541004" y="1148468"/>
                      </a:lnTo>
                      <a:lnTo>
                        <a:pt x="538909" y="1151810"/>
                      </a:lnTo>
                      <a:lnTo>
                        <a:pt x="537247" y="1155575"/>
                      </a:lnTo>
                      <a:lnTo>
                        <a:pt x="533107" y="1169723"/>
                      </a:lnTo>
                      <a:lnTo>
                        <a:pt x="529537" y="1178280"/>
                      </a:lnTo>
                      <a:lnTo>
                        <a:pt x="526799" y="1182469"/>
                      </a:lnTo>
                      <a:lnTo>
                        <a:pt x="522879" y="1186894"/>
                      </a:lnTo>
                      <a:lnTo>
                        <a:pt x="511722" y="1198011"/>
                      </a:lnTo>
                      <a:lnTo>
                        <a:pt x="511053" y="1197848"/>
                      </a:lnTo>
                      <a:lnTo>
                        <a:pt x="509415" y="1196951"/>
                      </a:lnTo>
                      <a:lnTo>
                        <a:pt x="508046" y="1195883"/>
                      </a:lnTo>
                      <a:lnTo>
                        <a:pt x="507728" y="1195175"/>
                      </a:lnTo>
                      <a:lnTo>
                        <a:pt x="507573" y="1194099"/>
                      </a:lnTo>
                      <a:lnTo>
                        <a:pt x="507753" y="1190097"/>
                      </a:lnTo>
                      <a:lnTo>
                        <a:pt x="507728" y="1179364"/>
                      </a:lnTo>
                      <a:lnTo>
                        <a:pt x="508217" y="1177335"/>
                      </a:lnTo>
                      <a:lnTo>
                        <a:pt x="508935" y="1176023"/>
                      </a:lnTo>
                      <a:lnTo>
                        <a:pt x="511110" y="1174132"/>
                      </a:lnTo>
                      <a:lnTo>
                        <a:pt x="513221" y="1171418"/>
                      </a:lnTo>
                      <a:lnTo>
                        <a:pt x="515601" y="1167971"/>
                      </a:lnTo>
                      <a:lnTo>
                        <a:pt x="517793" y="1165224"/>
                      </a:lnTo>
                      <a:lnTo>
                        <a:pt x="517003" y="1163383"/>
                      </a:lnTo>
                      <a:lnTo>
                        <a:pt x="515169" y="1161606"/>
                      </a:lnTo>
                      <a:lnTo>
                        <a:pt x="511901" y="1160163"/>
                      </a:lnTo>
                      <a:lnTo>
                        <a:pt x="508763" y="1157621"/>
                      </a:lnTo>
                      <a:lnTo>
                        <a:pt x="505976" y="1154369"/>
                      </a:lnTo>
                      <a:lnTo>
                        <a:pt x="504689" y="1150995"/>
                      </a:lnTo>
                      <a:lnTo>
                        <a:pt x="503507" y="1147344"/>
                      </a:lnTo>
                      <a:lnTo>
                        <a:pt x="502374" y="1144459"/>
                      </a:lnTo>
                      <a:lnTo>
                        <a:pt x="501999" y="1143139"/>
                      </a:lnTo>
                      <a:lnTo>
                        <a:pt x="500899" y="1142593"/>
                      </a:lnTo>
                      <a:lnTo>
                        <a:pt x="499155" y="1141134"/>
                      </a:lnTo>
                      <a:lnTo>
                        <a:pt x="498063" y="1139765"/>
                      </a:lnTo>
                      <a:lnTo>
                        <a:pt x="496457" y="1138974"/>
                      </a:lnTo>
                      <a:lnTo>
                        <a:pt x="493597" y="1138110"/>
                      </a:lnTo>
                      <a:lnTo>
                        <a:pt x="490614" y="1136619"/>
                      </a:lnTo>
                      <a:lnTo>
                        <a:pt x="486914" y="1133049"/>
                      </a:lnTo>
                      <a:lnTo>
                        <a:pt x="484241" y="1129097"/>
                      </a:lnTo>
                      <a:lnTo>
                        <a:pt x="482920" y="1126497"/>
                      </a:lnTo>
                      <a:lnTo>
                        <a:pt x="481519" y="1124647"/>
                      </a:lnTo>
                      <a:lnTo>
                        <a:pt x="473866" y="1121623"/>
                      </a:lnTo>
                      <a:lnTo>
                        <a:pt x="470394" y="1117997"/>
                      </a:lnTo>
                      <a:lnTo>
                        <a:pt x="469033" y="1119129"/>
                      </a:lnTo>
                      <a:lnTo>
                        <a:pt x="466988" y="1118013"/>
                      </a:lnTo>
                      <a:lnTo>
                        <a:pt x="464975" y="1116269"/>
                      </a:lnTo>
                      <a:lnTo>
                        <a:pt x="464372" y="1114932"/>
                      </a:lnTo>
                      <a:lnTo>
                        <a:pt x="463516" y="1113563"/>
                      </a:lnTo>
                      <a:lnTo>
                        <a:pt x="462717" y="1111998"/>
                      </a:lnTo>
                      <a:lnTo>
                        <a:pt x="462212" y="1110474"/>
                      </a:lnTo>
                      <a:lnTo>
                        <a:pt x="460142" y="1107842"/>
                      </a:lnTo>
                      <a:lnTo>
                        <a:pt x="457469" y="1104990"/>
                      </a:lnTo>
                      <a:lnTo>
                        <a:pt x="456328" y="1104175"/>
                      </a:lnTo>
                      <a:lnTo>
                        <a:pt x="455733" y="1104411"/>
                      </a:lnTo>
                      <a:lnTo>
                        <a:pt x="455154" y="1105511"/>
                      </a:lnTo>
                      <a:lnTo>
                        <a:pt x="454788" y="1106562"/>
                      </a:lnTo>
                      <a:lnTo>
                        <a:pt x="453769" y="1107255"/>
                      </a:lnTo>
                      <a:lnTo>
                        <a:pt x="452522" y="1108576"/>
                      </a:lnTo>
                      <a:lnTo>
                        <a:pt x="451251" y="1110165"/>
                      </a:lnTo>
                      <a:lnTo>
                        <a:pt x="449612" y="1111232"/>
                      </a:lnTo>
                      <a:lnTo>
                        <a:pt x="447673" y="1111591"/>
                      </a:lnTo>
                      <a:lnTo>
                        <a:pt x="446361" y="1111534"/>
                      </a:lnTo>
                      <a:lnTo>
                        <a:pt x="446092" y="1110914"/>
                      </a:lnTo>
                      <a:lnTo>
                        <a:pt x="446019" y="1108722"/>
                      </a:lnTo>
                      <a:lnTo>
                        <a:pt x="446508" y="1103735"/>
                      </a:lnTo>
                      <a:lnTo>
                        <a:pt x="445366" y="1101828"/>
                      </a:lnTo>
                      <a:lnTo>
                        <a:pt x="443851" y="1099766"/>
                      </a:lnTo>
                      <a:lnTo>
                        <a:pt x="442107" y="1097011"/>
                      </a:lnTo>
                      <a:lnTo>
                        <a:pt x="436377" y="1091192"/>
                      </a:lnTo>
                      <a:lnTo>
                        <a:pt x="428570" y="1082822"/>
                      </a:lnTo>
                      <a:lnTo>
                        <a:pt x="425815" y="1080272"/>
                      </a:lnTo>
                      <a:lnTo>
                        <a:pt x="423224" y="1080076"/>
                      </a:lnTo>
                      <a:lnTo>
                        <a:pt x="420852" y="1080353"/>
                      </a:lnTo>
                      <a:lnTo>
                        <a:pt x="418676" y="1081470"/>
                      </a:lnTo>
                      <a:lnTo>
                        <a:pt x="417030" y="1085341"/>
                      </a:lnTo>
                      <a:lnTo>
                        <a:pt x="416345" y="1085927"/>
                      </a:lnTo>
                      <a:lnTo>
                        <a:pt x="412140" y="1085846"/>
                      </a:lnTo>
                      <a:lnTo>
                        <a:pt x="407967" y="1085218"/>
                      </a:lnTo>
                      <a:lnTo>
                        <a:pt x="406566" y="1082871"/>
                      </a:lnTo>
                      <a:lnTo>
                        <a:pt x="407682" y="1081331"/>
                      </a:lnTo>
                      <a:lnTo>
                        <a:pt x="411618" y="1077924"/>
                      </a:lnTo>
                      <a:lnTo>
                        <a:pt x="413794" y="1074885"/>
                      </a:lnTo>
                      <a:lnTo>
                        <a:pt x="414210" y="1072236"/>
                      </a:lnTo>
                      <a:lnTo>
                        <a:pt x="416093" y="1069848"/>
                      </a:lnTo>
                      <a:lnTo>
                        <a:pt x="419450" y="1067729"/>
                      </a:lnTo>
                      <a:lnTo>
                        <a:pt x="423191" y="1063850"/>
                      </a:lnTo>
                      <a:lnTo>
                        <a:pt x="427307" y="1058186"/>
                      </a:lnTo>
                      <a:lnTo>
                        <a:pt x="429809" y="1053997"/>
                      </a:lnTo>
                      <a:lnTo>
                        <a:pt x="430689" y="1051307"/>
                      </a:lnTo>
                      <a:lnTo>
                        <a:pt x="432311" y="1049221"/>
                      </a:lnTo>
                      <a:lnTo>
                        <a:pt x="434658" y="1047762"/>
                      </a:lnTo>
                      <a:lnTo>
                        <a:pt x="436703" y="1044730"/>
                      </a:lnTo>
                      <a:lnTo>
                        <a:pt x="438464" y="1040101"/>
                      </a:lnTo>
                      <a:lnTo>
                        <a:pt x="440860" y="1036426"/>
                      </a:lnTo>
                      <a:lnTo>
                        <a:pt x="443908" y="1033696"/>
                      </a:lnTo>
                      <a:lnTo>
                        <a:pt x="445611" y="1031447"/>
                      </a:lnTo>
                      <a:lnTo>
                        <a:pt x="445970" y="1029654"/>
                      </a:lnTo>
                      <a:lnTo>
                        <a:pt x="446825" y="1028496"/>
                      </a:lnTo>
                      <a:lnTo>
                        <a:pt x="448186" y="1027991"/>
                      </a:lnTo>
                      <a:lnTo>
                        <a:pt x="448846" y="1027054"/>
                      </a:lnTo>
                      <a:lnTo>
                        <a:pt x="448806" y="1025660"/>
                      </a:lnTo>
                      <a:lnTo>
                        <a:pt x="449172" y="1024723"/>
                      </a:lnTo>
                      <a:lnTo>
                        <a:pt x="449955" y="1024218"/>
                      </a:lnTo>
                      <a:lnTo>
                        <a:pt x="451267" y="1024397"/>
                      </a:lnTo>
                      <a:lnTo>
                        <a:pt x="453101" y="1025244"/>
                      </a:lnTo>
                      <a:lnTo>
                        <a:pt x="454217" y="1025090"/>
                      </a:lnTo>
                      <a:lnTo>
                        <a:pt x="454592" y="1023908"/>
                      </a:lnTo>
                      <a:lnTo>
                        <a:pt x="454111" y="1022563"/>
                      </a:lnTo>
                      <a:lnTo>
                        <a:pt x="452758" y="1021064"/>
                      </a:lnTo>
                      <a:lnTo>
                        <a:pt x="453264" y="1019426"/>
                      </a:lnTo>
                      <a:lnTo>
                        <a:pt x="456817" y="1016777"/>
                      </a:lnTo>
                      <a:lnTo>
                        <a:pt x="459433" y="1015782"/>
                      </a:lnTo>
                      <a:lnTo>
                        <a:pt x="461087" y="1014136"/>
                      </a:lnTo>
                      <a:lnTo>
                        <a:pt x="462660" y="1011529"/>
                      </a:lnTo>
                      <a:lnTo>
                        <a:pt x="465211" y="1009719"/>
                      </a:lnTo>
                      <a:lnTo>
                        <a:pt x="468732" y="1008700"/>
                      </a:lnTo>
                      <a:lnTo>
                        <a:pt x="469669" y="1007723"/>
                      </a:lnTo>
                      <a:lnTo>
                        <a:pt x="469539" y="1006459"/>
                      </a:lnTo>
                      <a:lnTo>
                        <a:pt x="470256" y="1005563"/>
                      </a:lnTo>
                      <a:lnTo>
                        <a:pt x="472334" y="1004903"/>
                      </a:lnTo>
                      <a:lnTo>
                        <a:pt x="473475" y="1003688"/>
                      </a:lnTo>
                      <a:lnTo>
                        <a:pt x="473654" y="1001879"/>
                      </a:lnTo>
                      <a:lnTo>
                        <a:pt x="474331" y="1000217"/>
                      </a:lnTo>
                      <a:lnTo>
                        <a:pt x="475488" y="998668"/>
                      </a:lnTo>
                      <a:lnTo>
                        <a:pt x="476784" y="998098"/>
                      </a:lnTo>
                      <a:lnTo>
                        <a:pt x="478202" y="998497"/>
                      </a:lnTo>
                      <a:lnTo>
                        <a:pt x="479538" y="997910"/>
                      </a:lnTo>
                      <a:lnTo>
                        <a:pt x="480785" y="996346"/>
                      </a:lnTo>
                      <a:lnTo>
                        <a:pt x="482285" y="995620"/>
                      </a:lnTo>
                      <a:lnTo>
                        <a:pt x="484037" y="995726"/>
                      </a:lnTo>
                      <a:lnTo>
                        <a:pt x="484933" y="995376"/>
                      </a:lnTo>
                      <a:lnTo>
                        <a:pt x="487941" y="994642"/>
                      </a:lnTo>
                      <a:lnTo>
                        <a:pt x="489595" y="993330"/>
                      </a:lnTo>
                      <a:lnTo>
                        <a:pt x="490956" y="990404"/>
                      </a:lnTo>
                      <a:lnTo>
                        <a:pt x="492162" y="989263"/>
                      </a:lnTo>
                      <a:lnTo>
                        <a:pt x="493222" y="989932"/>
                      </a:lnTo>
                      <a:lnTo>
                        <a:pt x="495047" y="988945"/>
                      </a:lnTo>
                      <a:lnTo>
                        <a:pt x="497647" y="986330"/>
                      </a:lnTo>
                      <a:lnTo>
                        <a:pt x="498136" y="986281"/>
                      </a:lnTo>
                      <a:lnTo>
                        <a:pt x="500051" y="985066"/>
                      </a:lnTo>
                      <a:lnTo>
                        <a:pt x="502032" y="980535"/>
                      </a:lnTo>
                      <a:lnTo>
                        <a:pt x="503050" y="977520"/>
                      </a:lnTo>
                      <a:lnTo>
                        <a:pt x="502806" y="975042"/>
                      </a:lnTo>
                      <a:lnTo>
                        <a:pt x="502154" y="973266"/>
                      </a:lnTo>
                      <a:lnTo>
                        <a:pt x="502366" y="970674"/>
                      </a:lnTo>
                      <a:lnTo>
                        <a:pt x="503018" y="963624"/>
                      </a:lnTo>
                      <a:lnTo>
                        <a:pt x="503197" y="960739"/>
                      </a:lnTo>
                      <a:lnTo>
                        <a:pt x="504248" y="958726"/>
                      </a:lnTo>
                      <a:lnTo>
                        <a:pt x="504183" y="956738"/>
                      </a:lnTo>
                      <a:lnTo>
                        <a:pt x="502309" y="952280"/>
                      </a:lnTo>
                      <a:lnTo>
                        <a:pt x="500410" y="948368"/>
                      </a:lnTo>
                      <a:lnTo>
                        <a:pt x="499391" y="941726"/>
                      </a:lnTo>
                      <a:lnTo>
                        <a:pt x="498723" y="939200"/>
                      </a:lnTo>
                      <a:lnTo>
                        <a:pt x="497142" y="938531"/>
                      </a:lnTo>
                      <a:lnTo>
                        <a:pt x="495716" y="936339"/>
                      </a:lnTo>
                      <a:lnTo>
                        <a:pt x="493914" y="936151"/>
                      </a:lnTo>
                      <a:lnTo>
                        <a:pt x="493067" y="935304"/>
                      </a:lnTo>
                      <a:lnTo>
                        <a:pt x="492195" y="934611"/>
                      </a:lnTo>
                      <a:lnTo>
                        <a:pt x="490915" y="934807"/>
                      </a:lnTo>
                      <a:lnTo>
                        <a:pt x="489823" y="936086"/>
                      </a:lnTo>
                      <a:lnTo>
                        <a:pt x="487794" y="936144"/>
                      </a:lnTo>
                      <a:lnTo>
                        <a:pt x="486523" y="936665"/>
                      </a:lnTo>
                      <a:lnTo>
                        <a:pt x="485015" y="937814"/>
                      </a:lnTo>
                      <a:lnTo>
                        <a:pt x="483589" y="937293"/>
                      </a:lnTo>
                      <a:lnTo>
                        <a:pt x="482684" y="936290"/>
                      </a:lnTo>
                      <a:lnTo>
                        <a:pt x="480744" y="936282"/>
                      </a:lnTo>
                      <a:lnTo>
                        <a:pt x="480883" y="931759"/>
                      </a:lnTo>
                      <a:lnTo>
                        <a:pt x="484282" y="925084"/>
                      </a:lnTo>
                      <a:lnTo>
                        <a:pt x="485194" y="921971"/>
                      </a:lnTo>
                      <a:lnTo>
                        <a:pt x="484754" y="920211"/>
                      </a:lnTo>
                      <a:lnTo>
                        <a:pt x="485773" y="914001"/>
                      </a:lnTo>
                      <a:lnTo>
                        <a:pt x="488258" y="903349"/>
                      </a:lnTo>
                      <a:lnTo>
                        <a:pt x="489049" y="896389"/>
                      </a:lnTo>
                      <a:lnTo>
                        <a:pt x="488153" y="893113"/>
                      </a:lnTo>
                      <a:lnTo>
                        <a:pt x="488128" y="890823"/>
                      </a:lnTo>
                      <a:lnTo>
                        <a:pt x="489408" y="888875"/>
                      </a:lnTo>
                      <a:lnTo>
                        <a:pt x="490027" y="888304"/>
                      </a:lnTo>
                      <a:lnTo>
                        <a:pt x="486824" y="885925"/>
                      </a:lnTo>
                      <a:lnTo>
                        <a:pt x="485105" y="883749"/>
                      </a:lnTo>
                      <a:lnTo>
                        <a:pt x="482888" y="882192"/>
                      </a:lnTo>
                      <a:lnTo>
                        <a:pt x="480508" y="880954"/>
                      </a:lnTo>
                      <a:lnTo>
                        <a:pt x="479359" y="881459"/>
                      </a:lnTo>
                      <a:lnTo>
                        <a:pt x="478129" y="882192"/>
                      </a:lnTo>
                      <a:lnTo>
                        <a:pt x="475749" y="883333"/>
                      </a:lnTo>
                      <a:lnTo>
                        <a:pt x="473035" y="885289"/>
                      </a:lnTo>
                      <a:lnTo>
                        <a:pt x="471641" y="886022"/>
                      </a:lnTo>
                      <a:lnTo>
                        <a:pt x="469180" y="886748"/>
                      </a:lnTo>
                      <a:lnTo>
                        <a:pt x="466393" y="887359"/>
                      </a:lnTo>
                      <a:lnTo>
                        <a:pt x="464095" y="886952"/>
                      </a:lnTo>
                      <a:lnTo>
                        <a:pt x="462122" y="886536"/>
                      </a:lnTo>
                      <a:lnTo>
                        <a:pt x="460900" y="885289"/>
                      </a:lnTo>
                      <a:lnTo>
                        <a:pt x="460240" y="882600"/>
                      </a:lnTo>
                      <a:lnTo>
                        <a:pt x="460240" y="880334"/>
                      </a:lnTo>
                      <a:lnTo>
                        <a:pt x="459832" y="877025"/>
                      </a:lnTo>
                      <a:lnTo>
                        <a:pt x="458357" y="875167"/>
                      </a:lnTo>
                      <a:lnTo>
                        <a:pt x="457860" y="873717"/>
                      </a:lnTo>
                      <a:lnTo>
                        <a:pt x="457779" y="871956"/>
                      </a:lnTo>
                      <a:lnTo>
                        <a:pt x="457950" y="870000"/>
                      </a:lnTo>
                      <a:lnTo>
                        <a:pt x="458357" y="868550"/>
                      </a:lnTo>
                      <a:lnTo>
                        <a:pt x="458113" y="866797"/>
                      </a:lnTo>
                      <a:lnTo>
                        <a:pt x="457453" y="865550"/>
                      </a:lnTo>
                      <a:lnTo>
                        <a:pt x="457624" y="863383"/>
                      </a:lnTo>
                      <a:lnTo>
                        <a:pt x="457290" y="860392"/>
                      </a:lnTo>
                      <a:lnTo>
                        <a:pt x="456303" y="858534"/>
                      </a:lnTo>
                      <a:lnTo>
                        <a:pt x="455806" y="856366"/>
                      </a:lnTo>
                      <a:lnTo>
                        <a:pt x="455806" y="854198"/>
                      </a:lnTo>
                      <a:lnTo>
                        <a:pt x="455073" y="852030"/>
                      </a:lnTo>
                      <a:lnTo>
                        <a:pt x="454991" y="849659"/>
                      </a:lnTo>
                      <a:lnTo>
                        <a:pt x="455652" y="847499"/>
                      </a:lnTo>
                      <a:lnTo>
                        <a:pt x="455896" y="845331"/>
                      </a:lnTo>
                      <a:lnTo>
                        <a:pt x="455162" y="843783"/>
                      </a:lnTo>
                      <a:lnTo>
                        <a:pt x="453761" y="842853"/>
                      </a:lnTo>
                      <a:lnTo>
                        <a:pt x="452693" y="840384"/>
                      </a:lnTo>
                      <a:lnTo>
                        <a:pt x="452522" y="837189"/>
                      </a:lnTo>
                      <a:lnTo>
                        <a:pt x="451373" y="835429"/>
                      </a:lnTo>
                      <a:lnTo>
                        <a:pt x="450150" y="834003"/>
                      </a:lnTo>
                      <a:lnTo>
                        <a:pt x="448757" y="834003"/>
                      </a:lnTo>
                      <a:lnTo>
                        <a:pt x="446622" y="833172"/>
                      </a:lnTo>
                      <a:lnTo>
                        <a:pt x="444739" y="833286"/>
                      </a:lnTo>
                      <a:lnTo>
                        <a:pt x="441699" y="833172"/>
                      </a:lnTo>
                      <a:lnTo>
                        <a:pt x="440305" y="832658"/>
                      </a:lnTo>
                      <a:lnTo>
                        <a:pt x="439572" y="831525"/>
                      </a:lnTo>
                      <a:lnTo>
                        <a:pt x="437690" y="829985"/>
                      </a:lnTo>
                      <a:lnTo>
                        <a:pt x="436630" y="827320"/>
                      </a:lnTo>
                      <a:lnTo>
                        <a:pt x="435310" y="826807"/>
                      </a:lnTo>
                      <a:lnTo>
                        <a:pt x="433427" y="827630"/>
                      </a:lnTo>
                      <a:lnTo>
                        <a:pt x="432775" y="828665"/>
                      </a:lnTo>
                      <a:lnTo>
                        <a:pt x="432034" y="830107"/>
                      </a:lnTo>
                      <a:lnTo>
                        <a:pt x="430721" y="831753"/>
                      </a:lnTo>
                      <a:lnTo>
                        <a:pt x="429010" y="831631"/>
                      </a:lnTo>
                      <a:lnTo>
                        <a:pt x="427201" y="832560"/>
                      </a:lnTo>
                      <a:lnTo>
                        <a:pt x="425481" y="832666"/>
                      </a:lnTo>
                      <a:lnTo>
                        <a:pt x="423183" y="832870"/>
                      </a:lnTo>
                      <a:lnTo>
                        <a:pt x="420885" y="832039"/>
                      </a:lnTo>
                      <a:lnTo>
                        <a:pt x="418098" y="831126"/>
                      </a:lnTo>
                      <a:lnTo>
                        <a:pt x="415726" y="830515"/>
                      </a:lnTo>
                      <a:lnTo>
                        <a:pt x="413428" y="831126"/>
                      </a:lnTo>
                      <a:lnTo>
                        <a:pt x="411871" y="830604"/>
                      </a:lnTo>
                      <a:lnTo>
                        <a:pt x="409817" y="830303"/>
                      </a:lnTo>
                      <a:lnTo>
                        <a:pt x="407527" y="830107"/>
                      </a:lnTo>
                      <a:lnTo>
                        <a:pt x="405726" y="828461"/>
                      </a:lnTo>
                      <a:lnTo>
                        <a:pt x="403754" y="827532"/>
                      </a:lnTo>
                      <a:lnTo>
                        <a:pt x="402686" y="827850"/>
                      </a:lnTo>
                      <a:lnTo>
                        <a:pt x="401293" y="828877"/>
                      </a:lnTo>
                      <a:lnTo>
                        <a:pt x="399818" y="828673"/>
                      </a:lnTo>
                      <a:lnTo>
                        <a:pt x="397935" y="827850"/>
                      </a:lnTo>
                      <a:lnTo>
                        <a:pt x="397194" y="825894"/>
                      </a:lnTo>
                      <a:lnTo>
                        <a:pt x="397356" y="824663"/>
                      </a:lnTo>
                      <a:lnTo>
                        <a:pt x="397764" y="823433"/>
                      </a:lnTo>
                      <a:lnTo>
                        <a:pt x="398498" y="821680"/>
                      </a:lnTo>
                      <a:lnTo>
                        <a:pt x="398090" y="819838"/>
                      </a:lnTo>
                      <a:lnTo>
                        <a:pt x="398261" y="818184"/>
                      </a:lnTo>
                      <a:lnTo>
                        <a:pt x="398595" y="816742"/>
                      </a:lnTo>
                      <a:lnTo>
                        <a:pt x="398921" y="815104"/>
                      </a:lnTo>
                      <a:lnTo>
                        <a:pt x="398677" y="813572"/>
                      </a:lnTo>
                      <a:lnTo>
                        <a:pt x="398595" y="811925"/>
                      </a:lnTo>
                      <a:lnTo>
                        <a:pt x="398424" y="810401"/>
                      </a:lnTo>
                      <a:lnTo>
                        <a:pt x="398180" y="808755"/>
                      </a:lnTo>
                      <a:lnTo>
                        <a:pt x="399166" y="806391"/>
                      </a:lnTo>
                      <a:lnTo>
                        <a:pt x="399989" y="804452"/>
                      </a:lnTo>
                      <a:lnTo>
                        <a:pt x="399492" y="802806"/>
                      </a:lnTo>
                      <a:lnTo>
                        <a:pt x="399663" y="801681"/>
                      </a:lnTo>
                      <a:lnTo>
                        <a:pt x="400315" y="799823"/>
                      </a:lnTo>
                      <a:lnTo>
                        <a:pt x="401138" y="797573"/>
                      </a:lnTo>
                      <a:lnTo>
                        <a:pt x="401056" y="793368"/>
                      </a:lnTo>
                      <a:lnTo>
                        <a:pt x="400315" y="790915"/>
                      </a:lnTo>
                      <a:lnTo>
                        <a:pt x="399516" y="790247"/>
                      </a:lnTo>
                      <a:lnTo>
                        <a:pt x="399312" y="789505"/>
                      </a:lnTo>
                      <a:lnTo>
                        <a:pt x="399704" y="788536"/>
                      </a:lnTo>
                      <a:lnTo>
                        <a:pt x="399280" y="787525"/>
                      </a:lnTo>
                      <a:lnTo>
                        <a:pt x="399117" y="786506"/>
                      </a:lnTo>
                      <a:lnTo>
                        <a:pt x="399541" y="785626"/>
                      </a:lnTo>
                      <a:lnTo>
                        <a:pt x="398954" y="783849"/>
                      </a:lnTo>
                      <a:lnTo>
                        <a:pt x="397772" y="783344"/>
                      </a:lnTo>
                      <a:lnTo>
                        <a:pt x="397365" y="782831"/>
                      </a:lnTo>
                      <a:lnTo>
                        <a:pt x="396957" y="780891"/>
                      </a:lnTo>
                      <a:lnTo>
                        <a:pt x="396631" y="778642"/>
                      </a:lnTo>
                      <a:lnTo>
                        <a:pt x="396794" y="776906"/>
                      </a:lnTo>
                      <a:lnTo>
                        <a:pt x="396224" y="775374"/>
                      </a:lnTo>
                      <a:lnTo>
                        <a:pt x="395401" y="774453"/>
                      </a:lnTo>
                      <a:lnTo>
                        <a:pt x="394577" y="772823"/>
                      </a:lnTo>
                      <a:lnTo>
                        <a:pt x="393754" y="771592"/>
                      </a:lnTo>
                      <a:lnTo>
                        <a:pt x="393428" y="769856"/>
                      </a:lnTo>
                      <a:lnTo>
                        <a:pt x="392882" y="767615"/>
                      </a:lnTo>
                      <a:lnTo>
                        <a:pt x="394520" y="767191"/>
                      </a:lnTo>
                      <a:lnTo>
                        <a:pt x="395172" y="765945"/>
                      </a:lnTo>
                      <a:lnTo>
                        <a:pt x="396321" y="764233"/>
                      </a:lnTo>
                      <a:lnTo>
                        <a:pt x="397837" y="763785"/>
                      </a:lnTo>
                      <a:lnTo>
                        <a:pt x="399638" y="763157"/>
                      </a:lnTo>
                      <a:lnTo>
                        <a:pt x="400307" y="761902"/>
                      </a:lnTo>
                      <a:lnTo>
                        <a:pt x="396110" y="757371"/>
                      </a:lnTo>
                      <a:lnTo>
                        <a:pt x="393591" y="754649"/>
                      </a:lnTo>
                      <a:lnTo>
                        <a:pt x="395066" y="750982"/>
                      </a:lnTo>
                      <a:lnTo>
                        <a:pt x="397560" y="744780"/>
                      </a:lnTo>
                      <a:lnTo>
                        <a:pt x="399973" y="738781"/>
                      </a:lnTo>
                      <a:lnTo>
                        <a:pt x="401806" y="734201"/>
                      </a:lnTo>
                      <a:lnTo>
                        <a:pt x="402279" y="733362"/>
                      </a:lnTo>
                      <a:lnTo>
                        <a:pt x="403884" y="733069"/>
                      </a:lnTo>
                      <a:lnTo>
                        <a:pt x="403591" y="730705"/>
                      </a:lnTo>
                      <a:lnTo>
                        <a:pt x="403534" y="729165"/>
                      </a:lnTo>
                      <a:lnTo>
                        <a:pt x="402238" y="729075"/>
                      </a:lnTo>
                      <a:lnTo>
                        <a:pt x="403681" y="723501"/>
                      </a:lnTo>
                      <a:lnTo>
                        <a:pt x="405808" y="715571"/>
                      </a:lnTo>
                      <a:lnTo>
                        <a:pt x="407429" y="709548"/>
                      </a:lnTo>
                      <a:lnTo>
                        <a:pt x="407943" y="708546"/>
                      </a:lnTo>
                      <a:lnTo>
                        <a:pt x="409108" y="708261"/>
                      </a:lnTo>
                      <a:lnTo>
                        <a:pt x="409369" y="707568"/>
                      </a:lnTo>
                      <a:lnTo>
                        <a:pt x="407967" y="706606"/>
                      </a:lnTo>
                      <a:lnTo>
                        <a:pt x="407112" y="704732"/>
                      </a:lnTo>
                      <a:lnTo>
                        <a:pt x="405245" y="699378"/>
                      </a:lnTo>
                      <a:lnTo>
                        <a:pt x="402303" y="690918"/>
                      </a:lnTo>
                      <a:lnTo>
                        <a:pt x="402091" y="687886"/>
                      </a:lnTo>
                      <a:lnTo>
                        <a:pt x="401007" y="686020"/>
                      </a:lnTo>
                      <a:lnTo>
                        <a:pt x="399206" y="686648"/>
                      </a:lnTo>
                      <a:lnTo>
                        <a:pt x="397079" y="686044"/>
                      </a:lnTo>
                      <a:lnTo>
                        <a:pt x="391757" y="681464"/>
                      </a:lnTo>
                      <a:lnTo>
                        <a:pt x="388229" y="678971"/>
                      </a:lnTo>
                      <a:lnTo>
                        <a:pt x="387031" y="677503"/>
                      </a:lnTo>
                      <a:lnTo>
                        <a:pt x="386501" y="672793"/>
                      </a:lnTo>
                      <a:lnTo>
                        <a:pt x="385450" y="667602"/>
                      </a:lnTo>
                      <a:lnTo>
                        <a:pt x="385002" y="661171"/>
                      </a:lnTo>
                      <a:lnTo>
                        <a:pt x="385181" y="659639"/>
                      </a:lnTo>
                      <a:lnTo>
                        <a:pt x="388164" y="654758"/>
                      </a:lnTo>
                      <a:lnTo>
                        <a:pt x="388155" y="652296"/>
                      </a:lnTo>
                      <a:lnTo>
                        <a:pt x="388408" y="650145"/>
                      </a:lnTo>
                      <a:lnTo>
                        <a:pt x="388286" y="648450"/>
                      </a:lnTo>
                      <a:lnTo>
                        <a:pt x="387552" y="648417"/>
                      </a:lnTo>
                      <a:lnTo>
                        <a:pt x="386354" y="649167"/>
                      </a:lnTo>
                      <a:lnTo>
                        <a:pt x="384545" y="649737"/>
                      </a:lnTo>
                      <a:lnTo>
                        <a:pt x="383518" y="649786"/>
                      </a:lnTo>
                      <a:lnTo>
                        <a:pt x="373119" y="649322"/>
                      </a:lnTo>
                      <a:lnTo>
                        <a:pt x="361286" y="648792"/>
                      </a:lnTo>
                      <a:lnTo>
                        <a:pt x="351441" y="648368"/>
                      </a:lnTo>
                      <a:lnTo>
                        <a:pt x="342900" y="647977"/>
                      </a:lnTo>
                      <a:lnTo>
                        <a:pt x="342607" y="643796"/>
                      </a:lnTo>
                      <a:lnTo>
                        <a:pt x="342126" y="636763"/>
                      </a:lnTo>
                      <a:lnTo>
                        <a:pt x="341783" y="631784"/>
                      </a:lnTo>
                      <a:lnTo>
                        <a:pt x="341237" y="623878"/>
                      </a:lnTo>
                      <a:lnTo>
                        <a:pt x="337814" y="618964"/>
                      </a:lnTo>
                      <a:lnTo>
                        <a:pt x="334090" y="613618"/>
                      </a:lnTo>
                      <a:lnTo>
                        <a:pt x="332778" y="612257"/>
                      </a:lnTo>
                      <a:lnTo>
                        <a:pt x="337277" y="612086"/>
                      </a:lnTo>
                      <a:lnTo>
                        <a:pt x="340471" y="611963"/>
                      </a:lnTo>
                      <a:lnTo>
                        <a:pt x="339836" y="597644"/>
                      </a:lnTo>
                      <a:lnTo>
                        <a:pt x="338866" y="596177"/>
                      </a:lnTo>
                      <a:lnTo>
                        <a:pt x="338002" y="591565"/>
                      </a:lnTo>
                      <a:lnTo>
                        <a:pt x="337423" y="588957"/>
                      </a:lnTo>
                      <a:lnTo>
                        <a:pt x="335842" y="586830"/>
                      </a:lnTo>
                      <a:lnTo>
                        <a:pt x="335484" y="584442"/>
                      </a:lnTo>
                      <a:lnTo>
                        <a:pt x="335777" y="582861"/>
                      </a:lnTo>
                      <a:lnTo>
                        <a:pt x="336641" y="581875"/>
                      </a:lnTo>
                      <a:lnTo>
                        <a:pt x="337211" y="579421"/>
                      </a:lnTo>
                      <a:lnTo>
                        <a:pt x="336779" y="576944"/>
                      </a:lnTo>
                      <a:lnTo>
                        <a:pt x="335842" y="574654"/>
                      </a:lnTo>
                      <a:lnTo>
                        <a:pt x="334685" y="572445"/>
                      </a:lnTo>
                      <a:lnTo>
                        <a:pt x="332485" y="571109"/>
                      </a:lnTo>
                      <a:lnTo>
                        <a:pt x="329339" y="568639"/>
                      </a:lnTo>
                      <a:lnTo>
                        <a:pt x="324571" y="565510"/>
                      </a:lnTo>
                      <a:lnTo>
                        <a:pt x="320537" y="563334"/>
                      </a:lnTo>
                      <a:lnTo>
                        <a:pt x="319241" y="563603"/>
                      </a:lnTo>
                      <a:lnTo>
                        <a:pt x="312126" y="564451"/>
                      </a:lnTo>
                      <a:lnTo>
                        <a:pt x="309763" y="564891"/>
                      </a:lnTo>
                      <a:lnTo>
                        <a:pt x="308174" y="564393"/>
                      </a:lnTo>
                      <a:lnTo>
                        <a:pt x="302860" y="564410"/>
                      </a:lnTo>
                      <a:lnTo>
                        <a:pt x="300790" y="562682"/>
                      </a:lnTo>
                      <a:lnTo>
                        <a:pt x="299046" y="560742"/>
                      </a:lnTo>
                      <a:lnTo>
                        <a:pt x="295322" y="555763"/>
                      </a:lnTo>
                      <a:lnTo>
                        <a:pt x="294743" y="553261"/>
                      </a:lnTo>
                      <a:lnTo>
                        <a:pt x="293309" y="552462"/>
                      </a:lnTo>
                      <a:lnTo>
                        <a:pt x="291125" y="552764"/>
                      </a:lnTo>
                      <a:lnTo>
                        <a:pt x="288916" y="552421"/>
                      </a:lnTo>
                      <a:lnTo>
                        <a:pt x="284638" y="550351"/>
                      </a:lnTo>
                      <a:lnTo>
                        <a:pt x="280628" y="548232"/>
                      </a:lnTo>
                      <a:lnTo>
                        <a:pt x="278688" y="548330"/>
                      </a:lnTo>
                      <a:lnTo>
                        <a:pt x="276960" y="547002"/>
                      </a:lnTo>
                      <a:lnTo>
                        <a:pt x="273912" y="543775"/>
                      </a:lnTo>
                      <a:lnTo>
                        <a:pt x="272495" y="542528"/>
                      </a:lnTo>
                      <a:lnTo>
                        <a:pt x="271842" y="540849"/>
                      </a:lnTo>
                      <a:lnTo>
                        <a:pt x="271191" y="538380"/>
                      </a:lnTo>
                      <a:lnTo>
                        <a:pt x="269976" y="537858"/>
                      </a:lnTo>
                      <a:lnTo>
                        <a:pt x="268387" y="538306"/>
                      </a:lnTo>
                      <a:lnTo>
                        <a:pt x="266675" y="539561"/>
                      </a:lnTo>
                      <a:lnTo>
                        <a:pt x="264271" y="538714"/>
                      </a:lnTo>
                      <a:lnTo>
                        <a:pt x="261337" y="536456"/>
                      </a:lnTo>
                      <a:lnTo>
                        <a:pt x="259438" y="534671"/>
                      </a:lnTo>
                      <a:lnTo>
                        <a:pt x="258355" y="533824"/>
                      </a:lnTo>
                      <a:lnTo>
                        <a:pt x="255804" y="532593"/>
                      </a:lnTo>
                      <a:lnTo>
                        <a:pt x="253334" y="532324"/>
                      </a:lnTo>
                      <a:lnTo>
                        <a:pt x="249602" y="534150"/>
                      </a:lnTo>
                      <a:lnTo>
                        <a:pt x="246546" y="533408"/>
                      </a:lnTo>
                      <a:lnTo>
                        <a:pt x="241754" y="532756"/>
                      </a:lnTo>
                      <a:lnTo>
                        <a:pt x="237654" y="531428"/>
                      </a:lnTo>
                      <a:lnTo>
                        <a:pt x="236155" y="527997"/>
                      </a:lnTo>
                      <a:lnTo>
                        <a:pt x="235340" y="525715"/>
                      </a:lnTo>
                      <a:lnTo>
                        <a:pt x="232903" y="524289"/>
                      </a:lnTo>
                      <a:lnTo>
                        <a:pt x="230955" y="522553"/>
                      </a:lnTo>
                      <a:lnTo>
                        <a:pt x="228641" y="519912"/>
                      </a:lnTo>
                      <a:lnTo>
                        <a:pt x="227492" y="519040"/>
                      </a:lnTo>
                      <a:lnTo>
                        <a:pt x="225397" y="518307"/>
                      </a:lnTo>
                      <a:lnTo>
                        <a:pt x="223457" y="517369"/>
                      </a:lnTo>
                      <a:lnTo>
                        <a:pt x="223237" y="515707"/>
                      </a:lnTo>
                      <a:lnTo>
                        <a:pt x="222520" y="513498"/>
                      </a:lnTo>
                      <a:lnTo>
                        <a:pt x="222349" y="512960"/>
                      </a:lnTo>
                      <a:lnTo>
                        <a:pt x="221029" y="510295"/>
                      </a:lnTo>
                      <a:lnTo>
                        <a:pt x="220409" y="510108"/>
                      </a:lnTo>
                      <a:lnTo>
                        <a:pt x="219733" y="510630"/>
                      </a:lnTo>
                      <a:lnTo>
                        <a:pt x="219220" y="511021"/>
                      </a:lnTo>
                      <a:lnTo>
                        <a:pt x="218665" y="510540"/>
                      </a:lnTo>
                      <a:lnTo>
                        <a:pt x="218568" y="509350"/>
                      </a:lnTo>
                      <a:lnTo>
                        <a:pt x="218918" y="507443"/>
                      </a:lnTo>
                      <a:lnTo>
                        <a:pt x="218152" y="505438"/>
                      </a:lnTo>
                      <a:lnTo>
                        <a:pt x="216269" y="503328"/>
                      </a:lnTo>
                      <a:lnTo>
                        <a:pt x="215283" y="501143"/>
                      </a:lnTo>
                      <a:lnTo>
                        <a:pt x="215194" y="498902"/>
                      </a:lnTo>
                      <a:lnTo>
                        <a:pt x="214778" y="497386"/>
                      </a:lnTo>
                      <a:lnTo>
                        <a:pt x="214020" y="496628"/>
                      </a:lnTo>
                      <a:lnTo>
                        <a:pt x="213596" y="495324"/>
                      </a:lnTo>
                      <a:lnTo>
                        <a:pt x="213498" y="493442"/>
                      </a:lnTo>
                      <a:lnTo>
                        <a:pt x="214044" y="491217"/>
                      </a:lnTo>
                      <a:lnTo>
                        <a:pt x="215234" y="488634"/>
                      </a:lnTo>
                      <a:lnTo>
                        <a:pt x="214982" y="484648"/>
                      </a:lnTo>
                      <a:lnTo>
                        <a:pt x="213287" y="479278"/>
                      </a:lnTo>
                      <a:lnTo>
                        <a:pt x="212349" y="475382"/>
                      </a:lnTo>
                      <a:lnTo>
                        <a:pt x="212178" y="473011"/>
                      </a:lnTo>
                      <a:lnTo>
                        <a:pt x="212431" y="471242"/>
                      </a:lnTo>
                      <a:lnTo>
                        <a:pt x="213458" y="469531"/>
                      </a:lnTo>
                      <a:lnTo>
                        <a:pt x="215503" y="465325"/>
                      </a:lnTo>
                      <a:lnTo>
                        <a:pt x="215854" y="462106"/>
                      </a:lnTo>
                      <a:lnTo>
                        <a:pt x="215210" y="458496"/>
                      </a:lnTo>
                      <a:lnTo>
                        <a:pt x="215120" y="455741"/>
                      </a:lnTo>
                      <a:lnTo>
                        <a:pt x="215593" y="453842"/>
                      </a:lnTo>
                      <a:lnTo>
                        <a:pt x="214884" y="451357"/>
                      </a:lnTo>
                      <a:lnTo>
                        <a:pt x="213442" y="449010"/>
                      </a:lnTo>
                      <a:lnTo>
                        <a:pt x="212431" y="448944"/>
                      </a:lnTo>
                      <a:lnTo>
                        <a:pt x="211062" y="449588"/>
                      </a:lnTo>
                      <a:lnTo>
                        <a:pt x="209407" y="451568"/>
                      </a:lnTo>
                      <a:lnTo>
                        <a:pt x="207468" y="451927"/>
                      </a:lnTo>
                      <a:lnTo>
                        <a:pt x="205740" y="450697"/>
                      </a:lnTo>
                      <a:lnTo>
                        <a:pt x="200337" y="451210"/>
                      </a:lnTo>
                      <a:lnTo>
                        <a:pt x="191934" y="452424"/>
                      </a:lnTo>
                      <a:lnTo>
                        <a:pt x="188569" y="453704"/>
                      </a:lnTo>
                      <a:lnTo>
                        <a:pt x="186588" y="454233"/>
                      </a:lnTo>
                      <a:lnTo>
                        <a:pt x="184200" y="454657"/>
                      </a:lnTo>
                      <a:lnTo>
                        <a:pt x="180370" y="456939"/>
                      </a:lnTo>
                      <a:lnTo>
                        <a:pt x="170900" y="465782"/>
                      </a:lnTo>
                      <a:lnTo>
                        <a:pt x="168944" y="467069"/>
                      </a:lnTo>
                      <a:lnTo>
                        <a:pt x="166711" y="467240"/>
                      </a:lnTo>
                      <a:lnTo>
                        <a:pt x="165415" y="468463"/>
                      </a:lnTo>
                      <a:lnTo>
                        <a:pt x="163329" y="469425"/>
                      </a:lnTo>
                      <a:lnTo>
                        <a:pt x="159221" y="472937"/>
                      </a:lnTo>
                      <a:lnTo>
                        <a:pt x="157135" y="475749"/>
                      </a:lnTo>
                      <a:lnTo>
                        <a:pt x="155766" y="478291"/>
                      </a:lnTo>
                      <a:lnTo>
                        <a:pt x="154185" y="478373"/>
                      </a:lnTo>
                      <a:lnTo>
                        <a:pt x="152962" y="477680"/>
                      </a:lnTo>
                      <a:lnTo>
                        <a:pt x="149075" y="478031"/>
                      </a:lnTo>
                      <a:lnTo>
                        <a:pt x="147094" y="478895"/>
                      </a:lnTo>
                      <a:lnTo>
                        <a:pt x="144935" y="481364"/>
                      </a:lnTo>
                      <a:lnTo>
                        <a:pt x="142253" y="485846"/>
                      </a:lnTo>
                      <a:lnTo>
                        <a:pt x="141153" y="487118"/>
                      </a:lnTo>
                      <a:lnTo>
                        <a:pt x="138994" y="488430"/>
                      </a:lnTo>
                      <a:lnTo>
                        <a:pt x="136500" y="489522"/>
                      </a:lnTo>
                      <a:lnTo>
                        <a:pt x="133419" y="491160"/>
                      </a:lnTo>
                      <a:lnTo>
                        <a:pt x="132042" y="491274"/>
                      </a:lnTo>
                      <a:lnTo>
                        <a:pt x="130827" y="491567"/>
                      </a:lnTo>
                      <a:lnTo>
                        <a:pt x="129776" y="490818"/>
                      </a:lnTo>
                      <a:lnTo>
                        <a:pt x="129426" y="489212"/>
                      </a:lnTo>
                      <a:lnTo>
                        <a:pt x="127829" y="488201"/>
                      </a:lnTo>
                      <a:lnTo>
                        <a:pt x="124031" y="487696"/>
                      </a:lnTo>
                      <a:lnTo>
                        <a:pt x="118399" y="486531"/>
                      </a:lnTo>
                      <a:lnTo>
                        <a:pt x="112597" y="486303"/>
                      </a:lnTo>
                      <a:lnTo>
                        <a:pt x="109712" y="486409"/>
                      </a:lnTo>
                      <a:lnTo>
                        <a:pt x="107348" y="486482"/>
                      </a:lnTo>
                      <a:lnTo>
                        <a:pt x="103241" y="485863"/>
                      </a:lnTo>
                      <a:lnTo>
                        <a:pt x="100250" y="485748"/>
                      </a:lnTo>
                      <a:lnTo>
                        <a:pt x="97617" y="487338"/>
                      </a:lnTo>
                      <a:lnTo>
                        <a:pt x="93803" y="489310"/>
                      </a:lnTo>
                      <a:lnTo>
                        <a:pt x="92059" y="489815"/>
                      </a:lnTo>
                      <a:lnTo>
                        <a:pt x="90780" y="489880"/>
                      </a:lnTo>
                      <a:lnTo>
                        <a:pt x="89533" y="489652"/>
                      </a:lnTo>
                      <a:lnTo>
                        <a:pt x="88082" y="488625"/>
                      </a:lnTo>
                      <a:lnTo>
                        <a:pt x="86045" y="486278"/>
                      </a:lnTo>
                      <a:lnTo>
                        <a:pt x="84472" y="487167"/>
                      </a:lnTo>
                      <a:lnTo>
                        <a:pt x="83339" y="488185"/>
                      </a:lnTo>
                      <a:lnTo>
                        <a:pt x="83355" y="483067"/>
                      </a:lnTo>
                      <a:lnTo>
                        <a:pt x="83388" y="475366"/>
                      </a:lnTo>
                      <a:lnTo>
                        <a:pt x="83404" y="468585"/>
                      </a:lnTo>
                      <a:lnTo>
                        <a:pt x="83421" y="463157"/>
                      </a:lnTo>
                      <a:lnTo>
                        <a:pt x="83445" y="456833"/>
                      </a:lnTo>
                      <a:lnTo>
                        <a:pt x="83461" y="452367"/>
                      </a:lnTo>
                      <a:lnTo>
                        <a:pt x="84529" y="450664"/>
                      </a:lnTo>
                      <a:lnTo>
                        <a:pt x="85189" y="448781"/>
                      </a:lnTo>
                      <a:lnTo>
                        <a:pt x="84399" y="446230"/>
                      </a:lnTo>
                      <a:lnTo>
                        <a:pt x="84570" y="443908"/>
                      </a:lnTo>
                      <a:lnTo>
                        <a:pt x="85116" y="442294"/>
                      </a:lnTo>
                      <a:lnTo>
                        <a:pt x="85833" y="440721"/>
                      </a:lnTo>
                      <a:lnTo>
                        <a:pt x="84178" y="441512"/>
                      </a:lnTo>
                      <a:lnTo>
                        <a:pt x="83461" y="441952"/>
                      </a:lnTo>
                      <a:lnTo>
                        <a:pt x="82581" y="443150"/>
                      </a:lnTo>
                      <a:lnTo>
                        <a:pt x="80446" y="444764"/>
                      </a:lnTo>
                      <a:lnTo>
                        <a:pt x="79011" y="446385"/>
                      </a:lnTo>
                      <a:lnTo>
                        <a:pt x="77317" y="447697"/>
                      </a:lnTo>
                      <a:lnTo>
                        <a:pt x="75181" y="450615"/>
                      </a:lnTo>
                      <a:lnTo>
                        <a:pt x="73413" y="452212"/>
                      </a:lnTo>
                      <a:lnTo>
                        <a:pt x="71587" y="453215"/>
                      </a:lnTo>
                      <a:lnTo>
                        <a:pt x="68547" y="456646"/>
                      </a:lnTo>
                      <a:lnTo>
                        <a:pt x="66021" y="457330"/>
                      </a:lnTo>
                      <a:lnTo>
                        <a:pt x="59363" y="457852"/>
                      </a:lnTo>
                      <a:lnTo>
                        <a:pt x="52427" y="457836"/>
                      </a:lnTo>
                      <a:lnTo>
                        <a:pt x="46095" y="457828"/>
                      </a:lnTo>
                      <a:lnTo>
                        <a:pt x="45133" y="457779"/>
                      </a:lnTo>
                      <a:lnTo>
                        <a:pt x="45190" y="454959"/>
                      </a:lnTo>
                      <a:lnTo>
                        <a:pt x="45353" y="452962"/>
                      </a:lnTo>
                      <a:lnTo>
                        <a:pt x="43185" y="450859"/>
                      </a:lnTo>
                      <a:lnTo>
                        <a:pt x="43039" y="448276"/>
                      </a:lnTo>
                      <a:lnTo>
                        <a:pt x="42468" y="446475"/>
                      </a:lnTo>
                      <a:lnTo>
                        <a:pt x="41751" y="444299"/>
                      </a:lnTo>
                      <a:lnTo>
                        <a:pt x="40235" y="442897"/>
                      </a:lnTo>
                      <a:lnTo>
                        <a:pt x="38116" y="442351"/>
                      </a:lnTo>
                      <a:lnTo>
                        <a:pt x="34620" y="441145"/>
                      </a:lnTo>
                      <a:lnTo>
                        <a:pt x="29445" y="439890"/>
                      </a:lnTo>
                      <a:lnTo>
                        <a:pt x="24498" y="439800"/>
                      </a:lnTo>
                      <a:lnTo>
                        <a:pt x="19641" y="439923"/>
                      </a:lnTo>
                      <a:lnTo>
                        <a:pt x="22607" y="435530"/>
                      </a:lnTo>
                      <a:lnTo>
                        <a:pt x="25574" y="431145"/>
                      </a:lnTo>
                      <a:lnTo>
                        <a:pt x="25484" y="427323"/>
                      </a:lnTo>
                      <a:lnTo>
                        <a:pt x="23096" y="423998"/>
                      </a:lnTo>
                      <a:lnTo>
                        <a:pt x="21800" y="421928"/>
                      </a:lnTo>
                      <a:lnTo>
                        <a:pt x="19804" y="419067"/>
                      </a:lnTo>
                      <a:lnTo>
                        <a:pt x="17343" y="417103"/>
                      </a:lnTo>
                      <a:lnTo>
                        <a:pt x="15998" y="414487"/>
                      </a:lnTo>
                      <a:lnTo>
                        <a:pt x="16128" y="412898"/>
                      </a:lnTo>
                      <a:lnTo>
                        <a:pt x="15908" y="411847"/>
                      </a:lnTo>
                      <a:lnTo>
                        <a:pt x="14971" y="411244"/>
                      </a:lnTo>
                      <a:lnTo>
                        <a:pt x="14034" y="410282"/>
                      </a:lnTo>
                      <a:lnTo>
                        <a:pt x="12738" y="409231"/>
                      </a:lnTo>
                      <a:lnTo>
                        <a:pt x="11222" y="407837"/>
                      </a:lnTo>
                      <a:lnTo>
                        <a:pt x="11222" y="406427"/>
                      </a:lnTo>
                      <a:lnTo>
                        <a:pt x="10644" y="404944"/>
                      </a:lnTo>
                      <a:lnTo>
                        <a:pt x="9706" y="403192"/>
                      </a:lnTo>
                      <a:lnTo>
                        <a:pt x="9706" y="401798"/>
                      </a:lnTo>
                      <a:lnTo>
                        <a:pt x="8851" y="399606"/>
                      </a:lnTo>
                      <a:lnTo>
                        <a:pt x="7913" y="398049"/>
                      </a:lnTo>
                      <a:lnTo>
                        <a:pt x="6976" y="396990"/>
                      </a:lnTo>
                      <a:lnTo>
                        <a:pt x="5615" y="395506"/>
                      </a:lnTo>
                      <a:lnTo>
                        <a:pt x="5688" y="394284"/>
                      </a:lnTo>
                      <a:lnTo>
                        <a:pt x="6699" y="393673"/>
                      </a:lnTo>
                      <a:lnTo>
                        <a:pt x="7131" y="392271"/>
                      </a:lnTo>
                      <a:lnTo>
                        <a:pt x="6984" y="390878"/>
                      </a:lnTo>
                      <a:lnTo>
                        <a:pt x="5835" y="390006"/>
                      </a:lnTo>
                      <a:lnTo>
                        <a:pt x="4466" y="389574"/>
                      </a:lnTo>
                      <a:lnTo>
                        <a:pt x="2665" y="387031"/>
                      </a:lnTo>
                      <a:lnTo>
                        <a:pt x="1369" y="385727"/>
                      </a:lnTo>
                      <a:lnTo>
                        <a:pt x="505" y="384936"/>
                      </a:lnTo>
                      <a:lnTo>
                        <a:pt x="0" y="384064"/>
                      </a:lnTo>
                      <a:lnTo>
                        <a:pt x="505" y="383453"/>
                      </a:lnTo>
                      <a:lnTo>
                        <a:pt x="1084" y="382589"/>
                      </a:lnTo>
                      <a:lnTo>
                        <a:pt x="1231" y="381188"/>
                      </a:lnTo>
                      <a:lnTo>
                        <a:pt x="937" y="379884"/>
                      </a:lnTo>
                      <a:lnTo>
                        <a:pt x="937" y="378742"/>
                      </a:lnTo>
                      <a:lnTo>
                        <a:pt x="1801" y="378384"/>
                      </a:lnTo>
                      <a:lnTo>
                        <a:pt x="2738" y="378563"/>
                      </a:lnTo>
                      <a:lnTo>
                        <a:pt x="3675" y="377870"/>
                      </a:lnTo>
                      <a:lnTo>
                        <a:pt x="4898" y="377602"/>
                      </a:lnTo>
                      <a:lnTo>
                        <a:pt x="6259" y="377430"/>
                      </a:lnTo>
                      <a:lnTo>
                        <a:pt x="6976" y="376648"/>
                      </a:lnTo>
                      <a:lnTo>
                        <a:pt x="6903" y="375254"/>
                      </a:lnTo>
                      <a:lnTo>
                        <a:pt x="6039" y="372541"/>
                      </a:lnTo>
                      <a:lnTo>
                        <a:pt x="5175" y="371400"/>
                      </a:lnTo>
                      <a:lnTo>
                        <a:pt x="4890" y="369745"/>
                      </a:lnTo>
                      <a:lnTo>
                        <a:pt x="5591" y="366550"/>
                      </a:lnTo>
                      <a:lnTo>
                        <a:pt x="6039" y="364513"/>
                      </a:lnTo>
                      <a:lnTo>
                        <a:pt x="7612" y="362353"/>
                      </a:lnTo>
                      <a:lnTo>
                        <a:pt x="12437" y="357724"/>
                      </a:lnTo>
                      <a:lnTo>
                        <a:pt x="16764" y="354562"/>
                      </a:lnTo>
                      <a:lnTo>
                        <a:pt x="18875" y="354236"/>
                      </a:lnTo>
                      <a:lnTo>
                        <a:pt x="20439" y="353071"/>
                      </a:lnTo>
                      <a:lnTo>
                        <a:pt x="21434" y="351294"/>
                      </a:lnTo>
                      <a:lnTo>
                        <a:pt x="21703" y="349338"/>
                      </a:lnTo>
                      <a:lnTo>
                        <a:pt x="21474" y="347643"/>
                      </a:lnTo>
                      <a:lnTo>
                        <a:pt x="20676" y="345133"/>
                      </a:lnTo>
                      <a:lnTo>
                        <a:pt x="19714" y="341995"/>
                      </a:lnTo>
                      <a:lnTo>
                        <a:pt x="18997" y="340251"/>
                      </a:lnTo>
                      <a:lnTo>
                        <a:pt x="19649" y="338157"/>
                      </a:lnTo>
                      <a:lnTo>
                        <a:pt x="20798" y="335296"/>
                      </a:lnTo>
                      <a:lnTo>
                        <a:pt x="23153" y="330977"/>
                      </a:lnTo>
                      <a:lnTo>
                        <a:pt x="25337" y="326340"/>
                      </a:lnTo>
                      <a:lnTo>
                        <a:pt x="25582" y="324987"/>
                      </a:lnTo>
                      <a:lnTo>
                        <a:pt x="25859" y="322151"/>
                      </a:lnTo>
                      <a:lnTo>
                        <a:pt x="26870" y="316364"/>
                      </a:lnTo>
                      <a:lnTo>
                        <a:pt x="27424" y="313227"/>
                      </a:lnTo>
                      <a:lnTo>
                        <a:pt x="27139" y="312021"/>
                      </a:lnTo>
                      <a:lnTo>
                        <a:pt x="27644" y="310977"/>
                      </a:lnTo>
                      <a:lnTo>
                        <a:pt x="29013" y="310105"/>
                      </a:lnTo>
                      <a:lnTo>
                        <a:pt x="32322" y="309315"/>
                      </a:lnTo>
                      <a:lnTo>
                        <a:pt x="34563" y="307579"/>
                      </a:lnTo>
                      <a:lnTo>
                        <a:pt x="38018" y="304327"/>
                      </a:lnTo>
                      <a:lnTo>
                        <a:pt x="40903" y="300864"/>
                      </a:lnTo>
                      <a:lnTo>
                        <a:pt x="43283" y="299755"/>
                      </a:lnTo>
                      <a:lnTo>
                        <a:pt x="47611" y="296552"/>
                      </a:lnTo>
                      <a:lnTo>
                        <a:pt x="50088" y="294523"/>
                      </a:lnTo>
                      <a:lnTo>
                        <a:pt x="51066" y="293888"/>
                      </a:lnTo>
                      <a:lnTo>
                        <a:pt x="53511" y="292421"/>
                      </a:lnTo>
                      <a:lnTo>
                        <a:pt x="57888" y="291915"/>
                      </a:lnTo>
                      <a:lnTo>
                        <a:pt x="61530" y="291386"/>
                      </a:lnTo>
                      <a:lnTo>
                        <a:pt x="63584" y="290424"/>
                      </a:lnTo>
                      <a:lnTo>
                        <a:pt x="66600" y="290025"/>
                      </a:lnTo>
                      <a:lnTo>
                        <a:pt x="68629" y="288949"/>
                      </a:lnTo>
                      <a:lnTo>
                        <a:pt x="70878" y="288908"/>
                      </a:lnTo>
                      <a:lnTo>
                        <a:pt x="75108" y="287808"/>
                      </a:lnTo>
                      <a:lnTo>
                        <a:pt x="76550" y="286153"/>
                      </a:lnTo>
                      <a:lnTo>
                        <a:pt x="77773" y="284189"/>
                      </a:lnTo>
                      <a:lnTo>
                        <a:pt x="79427" y="282502"/>
                      </a:lnTo>
                      <a:lnTo>
                        <a:pt x="81359" y="282062"/>
                      </a:lnTo>
                      <a:lnTo>
                        <a:pt x="83518" y="282356"/>
                      </a:lnTo>
                      <a:lnTo>
                        <a:pt x="86094" y="282315"/>
                      </a:lnTo>
                      <a:lnTo>
                        <a:pt x="89223" y="281801"/>
                      </a:lnTo>
                      <a:lnTo>
                        <a:pt x="90731" y="283105"/>
                      </a:lnTo>
                      <a:lnTo>
                        <a:pt x="91399" y="284711"/>
                      </a:lnTo>
                      <a:lnTo>
                        <a:pt x="93323" y="286333"/>
                      </a:lnTo>
                      <a:lnTo>
                        <a:pt x="94692" y="286235"/>
                      </a:lnTo>
                      <a:lnTo>
                        <a:pt x="96053" y="285885"/>
                      </a:lnTo>
                      <a:lnTo>
                        <a:pt x="97927" y="287278"/>
                      </a:lnTo>
                      <a:lnTo>
                        <a:pt x="99150" y="287107"/>
                      </a:lnTo>
                      <a:lnTo>
                        <a:pt x="99940" y="286333"/>
                      </a:lnTo>
                      <a:lnTo>
                        <a:pt x="100087" y="284377"/>
                      </a:lnTo>
                      <a:lnTo>
                        <a:pt x="100527" y="283317"/>
                      </a:lnTo>
                      <a:lnTo>
                        <a:pt x="101448" y="277197"/>
                      </a:lnTo>
                      <a:lnTo>
                        <a:pt x="102972" y="267107"/>
                      </a:lnTo>
                      <a:lnTo>
                        <a:pt x="104349" y="257955"/>
                      </a:lnTo>
                      <a:lnTo>
                        <a:pt x="105881" y="247842"/>
                      </a:lnTo>
                      <a:lnTo>
                        <a:pt x="107454" y="237385"/>
                      </a:lnTo>
                      <a:lnTo>
                        <a:pt x="109051" y="226799"/>
                      </a:lnTo>
                      <a:lnTo>
                        <a:pt x="110364" y="218111"/>
                      </a:lnTo>
                      <a:lnTo>
                        <a:pt x="111496" y="210646"/>
                      </a:lnTo>
                      <a:lnTo>
                        <a:pt x="112181" y="206066"/>
                      </a:lnTo>
                      <a:lnTo>
                        <a:pt x="113265" y="200068"/>
                      </a:lnTo>
                      <a:lnTo>
                        <a:pt x="113689" y="194795"/>
                      </a:lnTo>
                      <a:lnTo>
                        <a:pt x="114121" y="193271"/>
                      </a:lnTo>
                      <a:lnTo>
                        <a:pt x="113844" y="191999"/>
                      </a:lnTo>
                      <a:lnTo>
                        <a:pt x="112906" y="190182"/>
                      </a:lnTo>
                      <a:lnTo>
                        <a:pt x="112914" y="189375"/>
                      </a:lnTo>
                      <a:lnTo>
                        <a:pt x="113029" y="188332"/>
                      </a:lnTo>
                      <a:lnTo>
                        <a:pt x="112914" y="187395"/>
                      </a:lnTo>
                      <a:lnTo>
                        <a:pt x="111928" y="186417"/>
                      </a:lnTo>
                      <a:lnTo>
                        <a:pt x="111162" y="185814"/>
                      </a:lnTo>
                      <a:lnTo>
                        <a:pt x="110567" y="184966"/>
                      </a:lnTo>
                      <a:lnTo>
                        <a:pt x="110290" y="183768"/>
                      </a:lnTo>
                      <a:lnTo>
                        <a:pt x="109801" y="182578"/>
                      </a:lnTo>
                      <a:lnTo>
                        <a:pt x="109581" y="181332"/>
                      </a:lnTo>
                      <a:lnTo>
                        <a:pt x="108872" y="180337"/>
                      </a:lnTo>
                      <a:lnTo>
                        <a:pt x="108660" y="179090"/>
                      </a:lnTo>
                      <a:lnTo>
                        <a:pt x="109149" y="177901"/>
                      </a:lnTo>
                      <a:lnTo>
                        <a:pt x="109369" y="176654"/>
                      </a:lnTo>
                      <a:lnTo>
                        <a:pt x="109149" y="175464"/>
                      </a:lnTo>
                      <a:lnTo>
                        <a:pt x="108872" y="174086"/>
                      </a:lnTo>
                      <a:lnTo>
                        <a:pt x="108326" y="172766"/>
                      </a:lnTo>
                      <a:lnTo>
                        <a:pt x="107495" y="171951"/>
                      </a:lnTo>
                      <a:lnTo>
                        <a:pt x="105506" y="171071"/>
                      </a:lnTo>
                      <a:lnTo>
                        <a:pt x="103510" y="168928"/>
                      </a:lnTo>
                      <a:lnTo>
                        <a:pt x="101154" y="167021"/>
                      </a:lnTo>
                      <a:lnTo>
                        <a:pt x="98147" y="163386"/>
                      </a:lnTo>
                      <a:lnTo>
                        <a:pt x="97487" y="161674"/>
                      </a:lnTo>
                      <a:lnTo>
                        <a:pt x="97479" y="156956"/>
                      </a:lnTo>
                      <a:lnTo>
                        <a:pt x="97609" y="151846"/>
                      </a:lnTo>
                      <a:lnTo>
                        <a:pt x="97805" y="144120"/>
                      </a:lnTo>
                      <a:lnTo>
                        <a:pt x="97903" y="140192"/>
                      </a:lnTo>
                      <a:lnTo>
                        <a:pt x="99598" y="139972"/>
                      </a:lnTo>
                      <a:lnTo>
                        <a:pt x="101097" y="139866"/>
                      </a:lnTo>
                      <a:lnTo>
                        <a:pt x="102662" y="139589"/>
                      </a:lnTo>
                      <a:lnTo>
                        <a:pt x="104023" y="139320"/>
                      </a:lnTo>
                      <a:lnTo>
                        <a:pt x="105278" y="138757"/>
                      </a:lnTo>
                      <a:lnTo>
                        <a:pt x="106215" y="138056"/>
                      </a:lnTo>
                      <a:lnTo>
                        <a:pt x="107332" y="137600"/>
                      </a:lnTo>
                      <a:lnTo>
                        <a:pt x="108204" y="137763"/>
                      </a:lnTo>
                      <a:lnTo>
                        <a:pt x="109076" y="137136"/>
                      </a:lnTo>
                      <a:lnTo>
                        <a:pt x="110038" y="136549"/>
                      </a:lnTo>
                      <a:lnTo>
                        <a:pt x="110975" y="136068"/>
                      </a:lnTo>
                      <a:lnTo>
                        <a:pt x="112336" y="135660"/>
                      </a:lnTo>
                      <a:lnTo>
                        <a:pt x="113607" y="136614"/>
                      </a:lnTo>
                      <a:lnTo>
                        <a:pt x="114316" y="137551"/>
                      </a:lnTo>
                      <a:lnTo>
                        <a:pt x="115148" y="138007"/>
                      </a:lnTo>
                      <a:lnTo>
                        <a:pt x="115930" y="137893"/>
                      </a:lnTo>
                      <a:lnTo>
                        <a:pt x="116460" y="137975"/>
                      </a:lnTo>
                      <a:lnTo>
                        <a:pt x="117022" y="138733"/>
                      </a:lnTo>
                      <a:lnTo>
                        <a:pt x="117731" y="138790"/>
                      </a:lnTo>
                      <a:lnTo>
                        <a:pt x="118758" y="138660"/>
                      </a:lnTo>
                      <a:lnTo>
                        <a:pt x="119720" y="138488"/>
                      </a:lnTo>
                      <a:lnTo>
                        <a:pt x="120168" y="138277"/>
                      </a:lnTo>
                      <a:lnTo>
                        <a:pt x="120241" y="137788"/>
                      </a:lnTo>
                      <a:lnTo>
                        <a:pt x="119997" y="136956"/>
                      </a:lnTo>
                      <a:lnTo>
                        <a:pt x="119654" y="136174"/>
                      </a:lnTo>
                      <a:lnTo>
                        <a:pt x="119923" y="134960"/>
                      </a:lnTo>
                      <a:lnTo>
                        <a:pt x="119948" y="133509"/>
                      </a:lnTo>
                      <a:lnTo>
                        <a:pt x="119988" y="131651"/>
                      </a:lnTo>
                      <a:lnTo>
                        <a:pt x="119230" y="130624"/>
                      </a:lnTo>
                      <a:lnTo>
                        <a:pt x="118473" y="128676"/>
                      </a:lnTo>
                      <a:lnTo>
                        <a:pt x="117625" y="127119"/>
                      </a:lnTo>
                      <a:lnTo>
                        <a:pt x="116313" y="126068"/>
                      </a:lnTo>
                      <a:lnTo>
                        <a:pt x="115082" y="125661"/>
                      </a:lnTo>
                      <a:lnTo>
                        <a:pt x="114055" y="126313"/>
                      </a:lnTo>
                      <a:lnTo>
                        <a:pt x="113094" y="126419"/>
                      </a:lnTo>
                      <a:lnTo>
                        <a:pt x="112385" y="125832"/>
                      </a:lnTo>
                      <a:lnTo>
                        <a:pt x="111219" y="125808"/>
                      </a:lnTo>
                      <a:lnTo>
                        <a:pt x="109964" y="125620"/>
                      </a:lnTo>
                      <a:lnTo>
                        <a:pt x="108644" y="125392"/>
                      </a:lnTo>
                      <a:lnTo>
                        <a:pt x="106264" y="125815"/>
                      </a:lnTo>
                      <a:lnTo>
                        <a:pt x="105417" y="125294"/>
                      </a:lnTo>
                      <a:lnTo>
                        <a:pt x="104251" y="125237"/>
                      </a:lnTo>
                      <a:lnTo>
                        <a:pt x="102915" y="125808"/>
                      </a:lnTo>
                      <a:lnTo>
                        <a:pt x="102947" y="118342"/>
                      </a:lnTo>
                      <a:lnTo>
                        <a:pt x="102980" y="111301"/>
                      </a:lnTo>
                      <a:lnTo>
                        <a:pt x="103004" y="106370"/>
                      </a:lnTo>
                      <a:lnTo>
                        <a:pt x="104211" y="106476"/>
                      </a:lnTo>
                      <a:lnTo>
                        <a:pt x="105702" y="105588"/>
                      </a:lnTo>
                      <a:lnTo>
                        <a:pt x="107927" y="105449"/>
                      </a:lnTo>
                      <a:lnTo>
                        <a:pt x="109630" y="104512"/>
                      </a:lnTo>
                      <a:lnTo>
                        <a:pt x="110576" y="104439"/>
                      </a:lnTo>
                      <a:lnTo>
                        <a:pt x="112385" y="104895"/>
                      </a:lnTo>
                      <a:lnTo>
                        <a:pt x="114259" y="105865"/>
                      </a:lnTo>
                      <a:lnTo>
                        <a:pt x="116117" y="105996"/>
                      </a:lnTo>
                      <a:lnTo>
                        <a:pt x="120958" y="105996"/>
                      </a:lnTo>
                      <a:lnTo>
                        <a:pt x="126198" y="105996"/>
                      </a:lnTo>
                      <a:lnTo>
                        <a:pt x="132017" y="105996"/>
                      </a:lnTo>
                      <a:lnTo>
                        <a:pt x="137845" y="105996"/>
                      </a:lnTo>
                      <a:lnTo>
                        <a:pt x="142906" y="105996"/>
                      </a:lnTo>
                      <a:lnTo>
                        <a:pt x="144462" y="106052"/>
                      </a:lnTo>
                      <a:lnTo>
                        <a:pt x="143557" y="104406"/>
                      </a:lnTo>
                      <a:lnTo>
                        <a:pt x="142498" y="102287"/>
                      </a:lnTo>
                      <a:lnTo>
                        <a:pt x="142906" y="100617"/>
                      </a:lnTo>
                      <a:lnTo>
                        <a:pt x="143427" y="98930"/>
                      </a:lnTo>
                      <a:lnTo>
                        <a:pt x="144038" y="98049"/>
                      </a:lnTo>
                      <a:lnTo>
                        <a:pt x="145611" y="98987"/>
                      </a:lnTo>
                      <a:lnTo>
                        <a:pt x="146931" y="101855"/>
                      </a:lnTo>
                      <a:lnTo>
                        <a:pt x="148024" y="104007"/>
                      </a:lnTo>
                      <a:lnTo>
                        <a:pt x="149091" y="105066"/>
                      </a:lnTo>
                      <a:lnTo>
                        <a:pt x="150420" y="105189"/>
                      </a:lnTo>
                      <a:lnTo>
                        <a:pt x="151927" y="104830"/>
                      </a:lnTo>
                      <a:lnTo>
                        <a:pt x="153427" y="103950"/>
                      </a:lnTo>
                      <a:lnTo>
                        <a:pt x="155986" y="99997"/>
                      </a:lnTo>
                      <a:lnTo>
                        <a:pt x="158529" y="96615"/>
                      </a:lnTo>
                      <a:lnTo>
                        <a:pt x="159849" y="95482"/>
                      </a:lnTo>
                      <a:lnTo>
                        <a:pt x="161242" y="94439"/>
                      </a:lnTo>
                      <a:lnTo>
                        <a:pt x="162286" y="94048"/>
                      </a:lnTo>
                      <a:lnTo>
                        <a:pt x="163703" y="94178"/>
                      </a:lnTo>
                      <a:lnTo>
                        <a:pt x="164902" y="95099"/>
                      </a:lnTo>
                      <a:lnTo>
                        <a:pt x="165684" y="96713"/>
                      </a:lnTo>
                      <a:lnTo>
                        <a:pt x="168528" y="102320"/>
                      </a:lnTo>
                      <a:lnTo>
                        <a:pt x="170680" y="106550"/>
                      </a:lnTo>
                      <a:lnTo>
                        <a:pt x="171405" y="109190"/>
                      </a:lnTo>
                      <a:lnTo>
                        <a:pt x="171446" y="115628"/>
                      </a:lnTo>
                      <a:lnTo>
                        <a:pt x="171316" y="121333"/>
                      </a:lnTo>
                      <a:lnTo>
                        <a:pt x="171593" y="122067"/>
                      </a:lnTo>
                      <a:lnTo>
                        <a:pt x="172016" y="122270"/>
                      </a:lnTo>
                      <a:lnTo>
                        <a:pt x="176711" y="120934"/>
                      </a:lnTo>
                      <a:lnTo>
                        <a:pt x="183084" y="127845"/>
                      </a:lnTo>
                      <a:lnTo>
                        <a:pt x="187794" y="132939"/>
                      </a:lnTo>
                      <a:lnTo>
                        <a:pt x="189832" y="134577"/>
                      </a:lnTo>
                      <a:lnTo>
                        <a:pt x="190956" y="135033"/>
                      </a:lnTo>
                      <a:lnTo>
                        <a:pt x="193695" y="134699"/>
                      </a:lnTo>
                      <a:lnTo>
                        <a:pt x="196946" y="134030"/>
                      </a:lnTo>
                      <a:lnTo>
                        <a:pt x="198527" y="133297"/>
                      </a:lnTo>
                      <a:lnTo>
                        <a:pt x="200280" y="131708"/>
                      </a:lnTo>
                      <a:lnTo>
                        <a:pt x="203116" y="129483"/>
                      </a:lnTo>
                      <a:lnTo>
                        <a:pt x="205430" y="128268"/>
                      </a:lnTo>
                      <a:lnTo>
                        <a:pt x="206343" y="128097"/>
                      </a:lnTo>
                      <a:lnTo>
                        <a:pt x="207256" y="128489"/>
                      </a:lnTo>
                      <a:lnTo>
                        <a:pt x="209212" y="129817"/>
                      </a:lnTo>
                      <a:lnTo>
                        <a:pt x="210279" y="132286"/>
                      </a:lnTo>
                      <a:lnTo>
                        <a:pt x="209293" y="135163"/>
                      </a:lnTo>
                      <a:lnTo>
                        <a:pt x="209456" y="136948"/>
                      </a:lnTo>
                      <a:lnTo>
                        <a:pt x="211502" y="136850"/>
                      </a:lnTo>
                      <a:lnTo>
                        <a:pt x="213148" y="133876"/>
                      </a:lnTo>
                      <a:lnTo>
                        <a:pt x="214297" y="131537"/>
                      </a:lnTo>
                      <a:lnTo>
                        <a:pt x="216693" y="129646"/>
                      </a:lnTo>
                      <a:lnTo>
                        <a:pt x="219040" y="126940"/>
                      </a:lnTo>
                      <a:lnTo>
                        <a:pt x="220670" y="124365"/>
                      </a:lnTo>
                      <a:lnTo>
                        <a:pt x="222585" y="122857"/>
                      </a:lnTo>
                      <a:lnTo>
                        <a:pt x="225470" y="121015"/>
                      </a:lnTo>
                      <a:lnTo>
                        <a:pt x="227752" y="119899"/>
                      </a:lnTo>
                      <a:lnTo>
                        <a:pt x="229896" y="120013"/>
                      </a:lnTo>
                      <a:lnTo>
                        <a:pt x="231485" y="118799"/>
                      </a:lnTo>
                      <a:lnTo>
                        <a:pt x="233547" y="116517"/>
                      </a:lnTo>
                      <a:lnTo>
                        <a:pt x="234989" y="114691"/>
                      </a:lnTo>
                      <a:lnTo>
                        <a:pt x="235992" y="114031"/>
                      </a:lnTo>
                      <a:lnTo>
                        <a:pt x="237997" y="114210"/>
                      </a:lnTo>
                      <a:lnTo>
                        <a:pt x="240507" y="113958"/>
                      </a:lnTo>
                      <a:lnTo>
                        <a:pt x="242960" y="111741"/>
                      </a:lnTo>
                      <a:lnTo>
                        <a:pt x="245193" y="109043"/>
                      </a:lnTo>
                      <a:lnTo>
                        <a:pt x="246383" y="104512"/>
                      </a:lnTo>
                      <a:lnTo>
                        <a:pt x="247173" y="100503"/>
                      </a:lnTo>
                      <a:lnTo>
                        <a:pt x="247841" y="99687"/>
                      </a:lnTo>
                      <a:lnTo>
                        <a:pt x="248656" y="99044"/>
                      </a:lnTo>
                      <a:lnTo>
                        <a:pt x="249610" y="98628"/>
                      </a:lnTo>
                      <a:lnTo>
                        <a:pt x="251908" y="98335"/>
                      </a:lnTo>
                      <a:lnTo>
                        <a:pt x="255942" y="96191"/>
                      </a:lnTo>
                      <a:lnTo>
                        <a:pt x="258713" y="94032"/>
                      </a:lnTo>
                      <a:lnTo>
                        <a:pt x="261354" y="93567"/>
                      </a:lnTo>
                      <a:lnTo>
                        <a:pt x="262128" y="92980"/>
                      </a:lnTo>
                      <a:lnTo>
                        <a:pt x="263081" y="90975"/>
                      </a:lnTo>
                      <a:lnTo>
                        <a:pt x="263562" y="87439"/>
                      </a:lnTo>
                      <a:lnTo>
                        <a:pt x="263204" y="85295"/>
                      </a:lnTo>
                      <a:lnTo>
                        <a:pt x="258355" y="84635"/>
                      </a:lnTo>
                      <a:lnTo>
                        <a:pt x="255184" y="84635"/>
                      </a:lnTo>
                      <a:lnTo>
                        <a:pt x="249928" y="84081"/>
                      </a:lnTo>
                      <a:lnTo>
                        <a:pt x="247426" y="83200"/>
                      </a:lnTo>
                      <a:lnTo>
                        <a:pt x="246888" y="82581"/>
                      </a:lnTo>
                      <a:lnTo>
                        <a:pt x="246839" y="81905"/>
                      </a:lnTo>
                      <a:lnTo>
                        <a:pt x="247336" y="80381"/>
                      </a:lnTo>
                      <a:lnTo>
                        <a:pt x="247825" y="77504"/>
                      </a:lnTo>
                      <a:lnTo>
                        <a:pt x="247108" y="73616"/>
                      </a:lnTo>
                      <a:lnTo>
                        <a:pt x="244484" y="67529"/>
                      </a:lnTo>
                      <a:lnTo>
                        <a:pt x="242617" y="61547"/>
                      </a:lnTo>
                      <a:lnTo>
                        <a:pt x="242373" y="57366"/>
                      </a:lnTo>
                      <a:lnTo>
                        <a:pt x="242414" y="52957"/>
                      </a:lnTo>
                      <a:lnTo>
                        <a:pt x="242561" y="50072"/>
                      </a:lnTo>
                      <a:lnTo>
                        <a:pt x="241216" y="47815"/>
                      </a:lnTo>
                      <a:lnTo>
                        <a:pt x="233954" y="40708"/>
                      </a:lnTo>
                      <a:lnTo>
                        <a:pt x="231452" y="37350"/>
                      </a:lnTo>
                      <a:lnTo>
                        <a:pt x="230613" y="35028"/>
                      </a:lnTo>
                      <a:lnTo>
                        <a:pt x="227752" y="30741"/>
                      </a:lnTo>
                      <a:lnTo>
                        <a:pt x="228478" y="29429"/>
                      </a:lnTo>
                      <a:lnTo>
                        <a:pt x="230124" y="29478"/>
                      </a:lnTo>
                      <a:lnTo>
                        <a:pt x="231534" y="30594"/>
                      </a:lnTo>
                      <a:lnTo>
                        <a:pt x="232822" y="32982"/>
                      </a:lnTo>
                      <a:lnTo>
                        <a:pt x="233742" y="33512"/>
                      </a:lnTo>
                      <a:lnTo>
                        <a:pt x="235006" y="33512"/>
                      </a:lnTo>
                      <a:lnTo>
                        <a:pt x="241696" y="33503"/>
                      </a:lnTo>
                      <a:lnTo>
                        <a:pt x="243269" y="33903"/>
                      </a:lnTo>
                      <a:lnTo>
                        <a:pt x="244215" y="34702"/>
                      </a:lnTo>
                      <a:lnTo>
                        <a:pt x="245022" y="35696"/>
                      </a:lnTo>
                      <a:lnTo>
                        <a:pt x="246220" y="38475"/>
                      </a:lnTo>
                      <a:lnTo>
                        <a:pt x="247507" y="39836"/>
                      </a:lnTo>
                      <a:lnTo>
                        <a:pt x="250156" y="39787"/>
                      </a:lnTo>
                      <a:lnTo>
                        <a:pt x="254321" y="39730"/>
                      </a:lnTo>
                      <a:lnTo>
                        <a:pt x="256651" y="39477"/>
                      </a:lnTo>
                      <a:lnTo>
                        <a:pt x="258045" y="40260"/>
                      </a:lnTo>
                      <a:lnTo>
                        <a:pt x="259773" y="40895"/>
                      </a:lnTo>
                      <a:lnTo>
                        <a:pt x="263416" y="39420"/>
                      </a:lnTo>
                      <a:lnTo>
                        <a:pt x="264434" y="39388"/>
                      </a:lnTo>
                      <a:lnTo>
                        <a:pt x="265526" y="40040"/>
                      </a:lnTo>
                      <a:lnTo>
                        <a:pt x="269455" y="45003"/>
                      </a:lnTo>
                      <a:lnTo>
                        <a:pt x="271712" y="47105"/>
                      </a:lnTo>
                      <a:lnTo>
                        <a:pt x="273611" y="49876"/>
                      </a:lnTo>
                      <a:lnTo>
                        <a:pt x="276374" y="49885"/>
                      </a:lnTo>
                      <a:lnTo>
                        <a:pt x="278664" y="47505"/>
                      </a:lnTo>
                      <a:lnTo>
                        <a:pt x="279275" y="39485"/>
                      </a:lnTo>
                      <a:lnTo>
                        <a:pt x="279968" y="37163"/>
                      </a:lnTo>
                      <a:lnTo>
                        <a:pt x="281133" y="36503"/>
                      </a:lnTo>
                      <a:lnTo>
                        <a:pt x="282510" y="36429"/>
                      </a:lnTo>
                      <a:lnTo>
                        <a:pt x="284140" y="35166"/>
                      </a:lnTo>
                      <a:lnTo>
                        <a:pt x="285917" y="33544"/>
                      </a:lnTo>
                      <a:lnTo>
                        <a:pt x="287449" y="32998"/>
                      </a:lnTo>
                      <a:lnTo>
                        <a:pt x="293839" y="34751"/>
                      </a:lnTo>
                      <a:lnTo>
                        <a:pt x="295607" y="33911"/>
                      </a:lnTo>
                      <a:lnTo>
                        <a:pt x="302078" y="31784"/>
                      </a:lnTo>
                      <a:lnTo>
                        <a:pt x="308687" y="29070"/>
                      </a:lnTo>
                      <a:lnTo>
                        <a:pt x="310545" y="25631"/>
                      </a:lnTo>
                      <a:lnTo>
                        <a:pt x="313316" y="24710"/>
                      </a:lnTo>
                      <a:lnTo>
                        <a:pt x="315484" y="22192"/>
                      </a:lnTo>
                      <a:lnTo>
                        <a:pt x="317236" y="22453"/>
                      </a:lnTo>
                      <a:lnTo>
                        <a:pt x="319893" y="22550"/>
                      </a:lnTo>
                      <a:lnTo>
                        <a:pt x="321539" y="22118"/>
                      </a:lnTo>
                      <a:lnTo>
                        <a:pt x="322371" y="21638"/>
                      </a:lnTo>
                      <a:lnTo>
                        <a:pt x="323275" y="20456"/>
                      </a:lnTo>
                      <a:lnTo>
                        <a:pt x="324767" y="17090"/>
                      </a:lnTo>
                      <a:lnTo>
                        <a:pt x="326576" y="15819"/>
                      </a:lnTo>
                      <a:lnTo>
                        <a:pt x="328850" y="14466"/>
                      </a:lnTo>
                      <a:lnTo>
                        <a:pt x="330398" y="12876"/>
                      </a:lnTo>
                      <a:lnTo>
                        <a:pt x="331678" y="10912"/>
                      </a:lnTo>
                      <a:lnTo>
                        <a:pt x="332265" y="9217"/>
                      </a:lnTo>
                      <a:lnTo>
                        <a:pt x="332248" y="7856"/>
                      </a:lnTo>
                      <a:lnTo>
                        <a:pt x="331498" y="5232"/>
                      </a:lnTo>
                      <a:lnTo>
                        <a:pt x="330586" y="2755"/>
                      </a:lnTo>
                      <a:lnTo>
                        <a:pt x="329591" y="1940"/>
                      </a:lnTo>
                      <a:lnTo>
                        <a:pt x="328842" y="1630"/>
                      </a:lnTo>
                      <a:lnTo>
                        <a:pt x="331091" y="1060"/>
                      </a:lnTo>
                      <a:lnTo>
                        <a:pt x="332949" y="1915"/>
                      </a:lnTo>
                      <a:lnTo>
                        <a:pt x="335842" y="2046"/>
                      </a:lnTo>
                      <a:lnTo>
                        <a:pt x="337105" y="1385"/>
                      </a:lnTo>
                      <a:lnTo>
                        <a:pt x="338931" y="1711"/>
                      </a:lnTo>
                      <a:lnTo>
                        <a:pt x="341286" y="0"/>
                      </a:lnTo>
                      <a:close/>
                    </a:path>
                  </a:pathLst>
                </a:custGeom>
                <a:solidFill>
                  <a:srgbClr val="D6D6D2"/>
                </a:solidFill>
                <a:ln w="6112" cap="rnd">
                  <a:solidFill>
                    <a:srgbClr val="FFFFFF"/>
                  </a:solidFill>
                  <a:prstDash val="solid"/>
                  <a:round/>
                </a:ln>
              </p:spPr>
              <p:txBody>
                <a:bodyPr rtlCol="0" anchor="ctr"/>
                <a:lstStyle/>
                <a:p>
                  <a:endParaRPr lang="en-US"/>
                </a:p>
              </p:txBody>
            </p:sp>
            <p:sp>
              <p:nvSpPr>
                <p:cNvPr id="769" name="Freeform: Shape 768">
                  <a:extLst>
                    <a:ext uri="{FF2B5EF4-FFF2-40B4-BE49-F238E27FC236}">
                      <a16:creationId xmlns:a16="http://schemas.microsoft.com/office/drawing/2014/main" id="{A53A1AB0-B83C-4369-A4EE-4C6341580D75}"/>
                    </a:ext>
                  </a:extLst>
                </p:cNvPr>
                <p:cNvSpPr/>
                <p:nvPr/>
              </p:nvSpPr>
              <p:spPr>
                <a:xfrm>
                  <a:off x="4216264" y="4815915"/>
                  <a:ext cx="301344" cy="403216"/>
                </a:xfrm>
                <a:custGeom>
                  <a:avLst/>
                  <a:gdLst>
                    <a:gd name="connsiteX0" fmla="*/ 284874 w 301344"/>
                    <a:gd name="connsiteY0" fmla="*/ 318606 h 403216"/>
                    <a:gd name="connsiteX1" fmla="*/ 285363 w 301344"/>
                    <a:gd name="connsiteY1" fmla="*/ 313479 h 403216"/>
                    <a:gd name="connsiteX2" fmla="*/ 284866 w 301344"/>
                    <a:gd name="connsiteY2" fmla="*/ 309046 h 403216"/>
                    <a:gd name="connsiteX3" fmla="*/ 284369 w 301344"/>
                    <a:gd name="connsiteY3" fmla="*/ 307897 h 403216"/>
                    <a:gd name="connsiteX4" fmla="*/ 277075 w 301344"/>
                    <a:gd name="connsiteY4" fmla="*/ 302600 h 403216"/>
                    <a:gd name="connsiteX5" fmla="*/ 270457 w 301344"/>
                    <a:gd name="connsiteY5" fmla="*/ 297791 h 403216"/>
                    <a:gd name="connsiteX6" fmla="*/ 261786 w 301344"/>
                    <a:gd name="connsiteY6" fmla="*/ 291516 h 403216"/>
                    <a:gd name="connsiteX7" fmla="*/ 250620 w 301344"/>
                    <a:gd name="connsiteY7" fmla="*/ 291687 h 403216"/>
                    <a:gd name="connsiteX8" fmla="*/ 239048 w 301344"/>
                    <a:gd name="connsiteY8" fmla="*/ 291866 h 403216"/>
                    <a:gd name="connsiteX9" fmla="*/ 228038 w 301344"/>
                    <a:gd name="connsiteY9" fmla="*/ 294678 h 403216"/>
                    <a:gd name="connsiteX10" fmla="*/ 217190 w 301344"/>
                    <a:gd name="connsiteY10" fmla="*/ 297433 h 403216"/>
                    <a:gd name="connsiteX11" fmla="*/ 212048 w 301344"/>
                    <a:gd name="connsiteY11" fmla="*/ 298745 h 403216"/>
                    <a:gd name="connsiteX12" fmla="*/ 201738 w 301344"/>
                    <a:gd name="connsiteY12" fmla="*/ 301377 h 403216"/>
                    <a:gd name="connsiteX13" fmla="*/ 195659 w 301344"/>
                    <a:gd name="connsiteY13" fmla="*/ 302583 h 403216"/>
                    <a:gd name="connsiteX14" fmla="*/ 194069 w 301344"/>
                    <a:gd name="connsiteY14" fmla="*/ 307644 h 403216"/>
                    <a:gd name="connsiteX15" fmla="*/ 191682 w 301344"/>
                    <a:gd name="connsiteY15" fmla="*/ 315232 h 403216"/>
                    <a:gd name="connsiteX16" fmla="*/ 189335 w 301344"/>
                    <a:gd name="connsiteY16" fmla="*/ 319673 h 403216"/>
                    <a:gd name="connsiteX17" fmla="*/ 186612 w 301344"/>
                    <a:gd name="connsiteY17" fmla="*/ 324335 h 403216"/>
                    <a:gd name="connsiteX18" fmla="*/ 182774 w 301344"/>
                    <a:gd name="connsiteY18" fmla="*/ 330904 h 403216"/>
                    <a:gd name="connsiteX19" fmla="*/ 182766 w 301344"/>
                    <a:gd name="connsiteY19" fmla="*/ 338890 h 403216"/>
                    <a:gd name="connsiteX20" fmla="*/ 182766 w 301344"/>
                    <a:gd name="connsiteY20" fmla="*/ 346486 h 403216"/>
                    <a:gd name="connsiteX21" fmla="*/ 180068 w 301344"/>
                    <a:gd name="connsiteY21" fmla="*/ 357203 h 403216"/>
                    <a:gd name="connsiteX22" fmla="*/ 177778 w 301344"/>
                    <a:gd name="connsiteY22" fmla="*/ 366306 h 403216"/>
                    <a:gd name="connsiteX23" fmla="*/ 175570 w 301344"/>
                    <a:gd name="connsiteY23" fmla="*/ 375100 h 403216"/>
                    <a:gd name="connsiteX24" fmla="*/ 174037 w 301344"/>
                    <a:gd name="connsiteY24" fmla="*/ 381179 h 403216"/>
                    <a:gd name="connsiteX25" fmla="*/ 173475 w 301344"/>
                    <a:gd name="connsiteY25" fmla="*/ 382728 h 403216"/>
                    <a:gd name="connsiteX26" fmla="*/ 173125 w 301344"/>
                    <a:gd name="connsiteY26" fmla="*/ 382239 h 403216"/>
                    <a:gd name="connsiteX27" fmla="*/ 171161 w 301344"/>
                    <a:gd name="connsiteY27" fmla="*/ 380429 h 403216"/>
                    <a:gd name="connsiteX28" fmla="*/ 169408 w 301344"/>
                    <a:gd name="connsiteY28" fmla="*/ 376998 h 403216"/>
                    <a:gd name="connsiteX29" fmla="*/ 168936 w 301344"/>
                    <a:gd name="connsiteY29" fmla="*/ 375426 h 403216"/>
                    <a:gd name="connsiteX30" fmla="*/ 168708 w 301344"/>
                    <a:gd name="connsiteY30" fmla="*/ 375385 h 403216"/>
                    <a:gd name="connsiteX31" fmla="*/ 158194 w 301344"/>
                    <a:gd name="connsiteY31" fmla="*/ 375474 h 403216"/>
                    <a:gd name="connsiteX32" fmla="*/ 148081 w 301344"/>
                    <a:gd name="connsiteY32" fmla="*/ 375597 h 403216"/>
                    <a:gd name="connsiteX33" fmla="*/ 147046 w 301344"/>
                    <a:gd name="connsiteY33" fmla="*/ 376314 h 403216"/>
                    <a:gd name="connsiteX34" fmla="*/ 145587 w 301344"/>
                    <a:gd name="connsiteY34" fmla="*/ 376306 h 403216"/>
                    <a:gd name="connsiteX35" fmla="*/ 144519 w 301344"/>
                    <a:gd name="connsiteY35" fmla="*/ 375629 h 403216"/>
                    <a:gd name="connsiteX36" fmla="*/ 143468 w 301344"/>
                    <a:gd name="connsiteY36" fmla="*/ 375686 h 403216"/>
                    <a:gd name="connsiteX37" fmla="*/ 141960 w 301344"/>
                    <a:gd name="connsiteY37" fmla="*/ 376346 h 403216"/>
                    <a:gd name="connsiteX38" fmla="*/ 140615 w 301344"/>
                    <a:gd name="connsiteY38" fmla="*/ 377716 h 403216"/>
                    <a:gd name="connsiteX39" fmla="*/ 136753 w 301344"/>
                    <a:gd name="connsiteY39" fmla="*/ 386835 h 403216"/>
                    <a:gd name="connsiteX40" fmla="*/ 134837 w 301344"/>
                    <a:gd name="connsiteY40" fmla="*/ 390731 h 403216"/>
                    <a:gd name="connsiteX41" fmla="*/ 133419 w 301344"/>
                    <a:gd name="connsiteY41" fmla="*/ 394219 h 403216"/>
                    <a:gd name="connsiteX42" fmla="*/ 132384 w 301344"/>
                    <a:gd name="connsiteY42" fmla="*/ 400209 h 403216"/>
                    <a:gd name="connsiteX43" fmla="*/ 131952 w 301344"/>
                    <a:gd name="connsiteY43" fmla="*/ 401211 h 403216"/>
                    <a:gd name="connsiteX44" fmla="*/ 130746 w 301344"/>
                    <a:gd name="connsiteY44" fmla="*/ 399141 h 403216"/>
                    <a:gd name="connsiteX45" fmla="*/ 128969 w 301344"/>
                    <a:gd name="connsiteY45" fmla="*/ 393665 h 403216"/>
                    <a:gd name="connsiteX46" fmla="*/ 128171 w 301344"/>
                    <a:gd name="connsiteY46" fmla="*/ 390551 h 403216"/>
                    <a:gd name="connsiteX47" fmla="*/ 127038 w 301344"/>
                    <a:gd name="connsiteY47" fmla="*/ 387006 h 403216"/>
                    <a:gd name="connsiteX48" fmla="*/ 125000 w 301344"/>
                    <a:gd name="connsiteY48" fmla="*/ 382565 h 403216"/>
                    <a:gd name="connsiteX49" fmla="*/ 122653 w 301344"/>
                    <a:gd name="connsiteY49" fmla="*/ 381220 h 403216"/>
                    <a:gd name="connsiteX50" fmla="*/ 121203 w 301344"/>
                    <a:gd name="connsiteY50" fmla="*/ 380796 h 403216"/>
                    <a:gd name="connsiteX51" fmla="*/ 119108 w 301344"/>
                    <a:gd name="connsiteY51" fmla="*/ 379924 h 403216"/>
                    <a:gd name="connsiteX52" fmla="*/ 115400 w 301344"/>
                    <a:gd name="connsiteY52" fmla="*/ 378865 h 403216"/>
                    <a:gd name="connsiteX53" fmla="*/ 113787 w 301344"/>
                    <a:gd name="connsiteY53" fmla="*/ 378653 h 403216"/>
                    <a:gd name="connsiteX54" fmla="*/ 103192 w 301344"/>
                    <a:gd name="connsiteY54" fmla="*/ 378506 h 403216"/>
                    <a:gd name="connsiteX55" fmla="*/ 102352 w 301344"/>
                    <a:gd name="connsiteY55" fmla="*/ 378400 h 403216"/>
                    <a:gd name="connsiteX56" fmla="*/ 98204 w 301344"/>
                    <a:gd name="connsiteY56" fmla="*/ 378881 h 403216"/>
                    <a:gd name="connsiteX57" fmla="*/ 96102 w 301344"/>
                    <a:gd name="connsiteY57" fmla="*/ 378547 h 403216"/>
                    <a:gd name="connsiteX58" fmla="*/ 93885 w 301344"/>
                    <a:gd name="connsiteY58" fmla="*/ 376078 h 403216"/>
                    <a:gd name="connsiteX59" fmla="*/ 88962 w 301344"/>
                    <a:gd name="connsiteY59" fmla="*/ 371717 h 403216"/>
                    <a:gd name="connsiteX60" fmla="*/ 87968 w 301344"/>
                    <a:gd name="connsiteY60" fmla="*/ 370332 h 403216"/>
                    <a:gd name="connsiteX61" fmla="*/ 86086 w 301344"/>
                    <a:gd name="connsiteY61" fmla="*/ 369427 h 403216"/>
                    <a:gd name="connsiteX62" fmla="*/ 84953 w 301344"/>
                    <a:gd name="connsiteY62" fmla="*/ 369313 h 403216"/>
                    <a:gd name="connsiteX63" fmla="*/ 84276 w 301344"/>
                    <a:gd name="connsiteY63" fmla="*/ 370201 h 403216"/>
                    <a:gd name="connsiteX64" fmla="*/ 83421 w 301344"/>
                    <a:gd name="connsiteY64" fmla="*/ 373828 h 403216"/>
                    <a:gd name="connsiteX65" fmla="*/ 82418 w 301344"/>
                    <a:gd name="connsiteY65" fmla="*/ 377104 h 403216"/>
                    <a:gd name="connsiteX66" fmla="*/ 81359 w 301344"/>
                    <a:gd name="connsiteY66" fmla="*/ 378995 h 403216"/>
                    <a:gd name="connsiteX67" fmla="*/ 77838 w 301344"/>
                    <a:gd name="connsiteY67" fmla="*/ 380381 h 403216"/>
                    <a:gd name="connsiteX68" fmla="*/ 74570 w 301344"/>
                    <a:gd name="connsiteY68" fmla="*/ 381848 h 403216"/>
                    <a:gd name="connsiteX69" fmla="*/ 72761 w 301344"/>
                    <a:gd name="connsiteY69" fmla="*/ 382190 h 403216"/>
                    <a:gd name="connsiteX70" fmla="*/ 71799 w 301344"/>
                    <a:gd name="connsiteY70" fmla="*/ 383828 h 403216"/>
                    <a:gd name="connsiteX71" fmla="*/ 71384 w 301344"/>
                    <a:gd name="connsiteY71" fmla="*/ 386126 h 403216"/>
                    <a:gd name="connsiteX72" fmla="*/ 70569 w 301344"/>
                    <a:gd name="connsiteY72" fmla="*/ 388196 h 403216"/>
                    <a:gd name="connsiteX73" fmla="*/ 65834 w 301344"/>
                    <a:gd name="connsiteY73" fmla="*/ 391317 h 403216"/>
                    <a:gd name="connsiteX74" fmla="*/ 64782 w 301344"/>
                    <a:gd name="connsiteY74" fmla="*/ 392630 h 403216"/>
                    <a:gd name="connsiteX75" fmla="*/ 64236 w 301344"/>
                    <a:gd name="connsiteY75" fmla="*/ 395710 h 403216"/>
                    <a:gd name="connsiteX76" fmla="*/ 61596 w 301344"/>
                    <a:gd name="connsiteY76" fmla="*/ 399524 h 403216"/>
                    <a:gd name="connsiteX77" fmla="*/ 60781 w 301344"/>
                    <a:gd name="connsiteY77" fmla="*/ 401024 h 403216"/>
                    <a:gd name="connsiteX78" fmla="*/ 56624 w 301344"/>
                    <a:gd name="connsiteY78" fmla="*/ 402067 h 403216"/>
                    <a:gd name="connsiteX79" fmla="*/ 51229 w 301344"/>
                    <a:gd name="connsiteY79" fmla="*/ 403216 h 403216"/>
                    <a:gd name="connsiteX80" fmla="*/ 48075 w 301344"/>
                    <a:gd name="connsiteY80" fmla="*/ 403126 h 403216"/>
                    <a:gd name="connsiteX81" fmla="*/ 45907 w 301344"/>
                    <a:gd name="connsiteY81" fmla="*/ 402825 h 403216"/>
                    <a:gd name="connsiteX82" fmla="*/ 45263 w 301344"/>
                    <a:gd name="connsiteY82" fmla="*/ 402149 h 403216"/>
                    <a:gd name="connsiteX83" fmla="*/ 43805 w 301344"/>
                    <a:gd name="connsiteY83" fmla="*/ 401065 h 403216"/>
                    <a:gd name="connsiteX84" fmla="*/ 43560 w 301344"/>
                    <a:gd name="connsiteY84" fmla="*/ 399858 h 403216"/>
                    <a:gd name="connsiteX85" fmla="*/ 43536 w 301344"/>
                    <a:gd name="connsiteY85" fmla="*/ 398147 h 403216"/>
                    <a:gd name="connsiteX86" fmla="*/ 43943 w 301344"/>
                    <a:gd name="connsiteY86" fmla="*/ 395074 h 403216"/>
                    <a:gd name="connsiteX87" fmla="*/ 43740 w 301344"/>
                    <a:gd name="connsiteY87" fmla="*/ 390796 h 403216"/>
                    <a:gd name="connsiteX88" fmla="*/ 42044 w 301344"/>
                    <a:gd name="connsiteY88" fmla="*/ 385833 h 403216"/>
                    <a:gd name="connsiteX89" fmla="*/ 42175 w 301344"/>
                    <a:gd name="connsiteY89" fmla="*/ 384235 h 403216"/>
                    <a:gd name="connsiteX90" fmla="*/ 41955 w 301344"/>
                    <a:gd name="connsiteY90" fmla="*/ 381799 h 403216"/>
                    <a:gd name="connsiteX91" fmla="*/ 41099 w 301344"/>
                    <a:gd name="connsiteY91" fmla="*/ 377227 h 403216"/>
                    <a:gd name="connsiteX92" fmla="*/ 38915 w 301344"/>
                    <a:gd name="connsiteY92" fmla="*/ 374928 h 403216"/>
                    <a:gd name="connsiteX93" fmla="*/ 38287 w 301344"/>
                    <a:gd name="connsiteY93" fmla="*/ 371131 h 403216"/>
                    <a:gd name="connsiteX94" fmla="*/ 38027 w 301344"/>
                    <a:gd name="connsiteY94" fmla="*/ 367797 h 403216"/>
                    <a:gd name="connsiteX95" fmla="*/ 36193 w 301344"/>
                    <a:gd name="connsiteY95" fmla="*/ 363617 h 403216"/>
                    <a:gd name="connsiteX96" fmla="*/ 35883 w 301344"/>
                    <a:gd name="connsiteY96" fmla="*/ 358303 h 403216"/>
                    <a:gd name="connsiteX97" fmla="*/ 35924 w 301344"/>
                    <a:gd name="connsiteY97" fmla="*/ 353739 h 403216"/>
                    <a:gd name="connsiteX98" fmla="*/ 33023 w 301344"/>
                    <a:gd name="connsiteY98" fmla="*/ 348458 h 403216"/>
                    <a:gd name="connsiteX99" fmla="*/ 30015 w 301344"/>
                    <a:gd name="connsiteY99" fmla="*/ 342835 h 403216"/>
                    <a:gd name="connsiteX100" fmla="*/ 27571 w 301344"/>
                    <a:gd name="connsiteY100" fmla="*/ 342077 h 403216"/>
                    <a:gd name="connsiteX101" fmla="*/ 26967 w 301344"/>
                    <a:gd name="connsiteY101" fmla="*/ 341417 h 403216"/>
                    <a:gd name="connsiteX102" fmla="*/ 26699 w 301344"/>
                    <a:gd name="connsiteY102" fmla="*/ 339787 h 403216"/>
                    <a:gd name="connsiteX103" fmla="*/ 26650 w 301344"/>
                    <a:gd name="connsiteY103" fmla="*/ 337293 h 403216"/>
                    <a:gd name="connsiteX104" fmla="*/ 26845 w 301344"/>
                    <a:gd name="connsiteY104" fmla="*/ 335785 h 403216"/>
                    <a:gd name="connsiteX105" fmla="*/ 28728 w 301344"/>
                    <a:gd name="connsiteY105" fmla="*/ 333316 h 403216"/>
                    <a:gd name="connsiteX106" fmla="*/ 28801 w 301344"/>
                    <a:gd name="connsiteY106" fmla="*/ 332949 h 403216"/>
                    <a:gd name="connsiteX107" fmla="*/ 28418 w 301344"/>
                    <a:gd name="connsiteY107" fmla="*/ 332436 h 403216"/>
                    <a:gd name="connsiteX108" fmla="*/ 23553 w 301344"/>
                    <a:gd name="connsiteY108" fmla="*/ 328760 h 403216"/>
                    <a:gd name="connsiteX109" fmla="*/ 22330 w 301344"/>
                    <a:gd name="connsiteY109" fmla="*/ 327692 h 403216"/>
                    <a:gd name="connsiteX110" fmla="*/ 21947 w 301344"/>
                    <a:gd name="connsiteY110" fmla="*/ 326381 h 403216"/>
                    <a:gd name="connsiteX111" fmla="*/ 21980 w 301344"/>
                    <a:gd name="connsiteY111" fmla="*/ 325191 h 403216"/>
                    <a:gd name="connsiteX112" fmla="*/ 23145 w 301344"/>
                    <a:gd name="connsiteY112" fmla="*/ 323993 h 403216"/>
                    <a:gd name="connsiteX113" fmla="*/ 23732 w 301344"/>
                    <a:gd name="connsiteY113" fmla="*/ 323104 h 403216"/>
                    <a:gd name="connsiteX114" fmla="*/ 22591 w 301344"/>
                    <a:gd name="connsiteY114" fmla="*/ 320472 h 403216"/>
                    <a:gd name="connsiteX115" fmla="*/ 22705 w 301344"/>
                    <a:gd name="connsiteY115" fmla="*/ 318108 h 403216"/>
                    <a:gd name="connsiteX116" fmla="*/ 21980 w 301344"/>
                    <a:gd name="connsiteY116" fmla="*/ 317082 h 403216"/>
                    <a:gd name="connsiteX117" fmla="*/ 22061 w 301344"/>
                    <a:gd name="connsiteY117" fmla="*/ 316324 h 403216"/>
                    <a:gd name="connsiteX118" fmla="*/ 22770 w 301344"/>
                    <a:gd name="connsiteY118" fmla="*/ 315672 h 403216"/>
                    <a:gd name="connsiteX119" fmla="*/ 25924 w 301344"/>
                    <a:gd name="connsiteY119" fmla="*/ 314906 h 403216"/>
                    <a:gd name="connsiteX120" fmla="*/ 26902 w 301344"/>
                    <a:gd name="connsiteY120" fmla="*/ 312510 h 403216"/>
                    <a:gd name="connsiteX121" fmla="*/ 26935 w 301344"/>
                    <a:gd name="connsiteY121" fmla="*/ 310513 h 403216"/>
                    <a:gd name="connsiteX122" fmla="*/ 26470 w 301344"/>
                    <a:gd name="connsiteY122" fmla="*/ 309095 h 403216"/>
                    <a:gd name="connsiteX123" fmla="*/ 23545 w 301344"/>
                    <a:gd name="connsiteY123" fmla="*/ 305517 h 403216"/>
                    <a:gd name="connsiteX124" fmla="*/ 23496 w 301344"/>
                    <a:gd name="connsiteY124" fmla="*/ 304922 h 403216"/>
                    <a:gd name="connsiteX125" fmla="*/ 26544 w 301344"/>
                    <a:gd name="connsiteY125" fmla="*/ 299959 h 403216"/>
                    <a:gd name="connsiteX126" fmla="*/ 28736 w 301344"/>
                    <a:gd name="connsiteY126" fmla="*/ 296691 h 403216"/>
                    <a:gd name="connsiteX127" fmla="*/ 29331 w 301344"/>
                    <a:gd name="connsiteY127" fmla="*/ 296031 h 403216"/>
                    <a:gd name="connsiteX128" fmla="*/ 29152 w 301344"/>
                    <a:gd name="connsiteY128" fmla="*/ 295322 h 403216"/>
                    <a:gd name="connsiteX129" fmla="*/ 28605 w 301344"/>
                    <a:gd name="connsiteY129" fmla="*/ 294466 h 403216"/>
                    <a:gd name="connsiteX130" fmla="*/ 27220 w 301344"/>
                    <a:gd name="connsiteY130" fmla="*/ 293195 h 403216"/>
                    <a:gd name="connsiteX131" fmla="*/ 25419 w 301344"/>
                    <a:gd name="connsiteY131" fmla="*/ 291834 h 403216"/>
                    <a:gd name="connsiteX132" fmla="*/ 23936 w 301344"/>
                    <a:gd name="connsiteY132" fmla="*/ 290163 h 403216"/>
                    <a:gd name="connsiteX133" fmla="*/ 21980 w 301344"/>
                    <a:gd name="connsiteY133" fmla="*/ 287685 h 403216"/>
                    <a:gd name="connsiteX134" fmla="*/ 19535 w 301344"/>
                    <a:gd name="connsiteY134" fmla="*/ 285567 h 403216"/>
                    <a:gd name="connsiteX135" fmla="*/ 17717 w 301344"/>
                    <a:gd name="connsiteY135" fmla="*/ 283472 h 403216"/>
                    <a:gd name="connsiteX136" fmla="*/ 16797 w 301344"/>
                    <a:gd name="connsiteY136" fmla="*/ 281712 h 403216"/>
                    <a:gd name="connsiteX137" fmla="*/ 16772 w 301344"/>
                    <a:gd name="connsiteY137" fmla="*/ 279927 h 403216"/>
                    <a:gd name="connsiteX138" fmla="*/ 16528 w 301344"/>
                    <a:gd name="connsiteY138" fmla="*/ 276944 h 403216"/>
                    <a:gd name="connsiteX139" fmla="*/ 15346 w 301344"/>
                    <a:gd name="connsiteY139" fmla="*/ 272128 h 403216"/>
                    <a:gd name="connsiteX140" fmla="*/ 15028 w 301344"/>
                    <a:gd name="connsiteY140" fmla="*/ 268860 h 403216"/>
                    <a:gd name="connsiteX141" fmla="*/ 14515 w 301344"/>
                    <a:gd name="connsiteY141" fmla="*/ 265258 h 403216"/>
                    <a:gd name="connsiteX142" fmla="*/ 14001 w 301344"/>
                    <a:gd name="connsiteY142" fmla="*/ 262910 h 403216"/>
                    <a:gd name="connsiteX143" fmla="*/ 13724 w 301344"/>
                    <a:gd name="connsiteY143" fmla="*/ 260636 h 403216"/>
                    <a:gd name="connsiteX144" fmla="*/ 12876 w 301344"/>
                    <a:gd name="connsiteY144" fmla="*/ 258183 h 403216"/>
                    <a:gd name="connsiteX145" fmla="*/ 12404 w 301344"/>
                    <a:gd name="connsiteY145" fmla="*/ 256391 h 403216"/>
                    <a:gd name="connsiteX146" fmla="*/ 13080 w 301344"/>
                    <a:gd name="connsiteY146" fmla="*/ 255119 h 403216"/>
                    <a:gd name="connsiteX147" fmla="*/ 13765 w 301344"/>
                    <a:gd name="connsiteY147" fmla="*/ 254141 h 403216"/>
                    <a:gd name="connsiteX148" fmla="*/ 13683 w 301344"/>
                    <a:gd name="connsiteY148" fmla="*/ 253505 h 403216"/>
                    <a:gd name="connsiteX149" fmla="*/ 9005 w 301344"/>
                    <a:gd name="connsiteY149" fmla="*/ 250890 h 403216"/>
                    <a:gd name="connsiteX150" fmla="*/ 8239 w 301344"/>
                    <a:gd name="connsiteY150" fmla="*/ 250213 h 403216"/>
                    <a:gd name="connsiteX151" fmla="*/ 7131 w 301344"/>
                    <a:gd name="connsiteY151" fmla="*/ 244957 h 403216"/>
                    <a:gd name="connsiteX152" fmla="*/ 3733 w 301344"/>
                    <a:gd name="connsiteY152" fmla="*/ 240295 h 403216"/>
                    <a:gd name="connsiteX153" fmla="*/ 3333 w 301344"/>
                    <a:gd name="connsiteY153" fmla="*/ 236823 h 403216"/>
                    <a:gd name="connsiteX154" fmla="*/ 3333 w 301344"/>
                    <a:gd name="connsiteY154" fmla="*/ 236782 h 403216"/>
                    <a:gd name="connsiteX155" fmla="*/ 3333 w 301344"/>
                    <a:gd name="connsiteY155" fmla="*/ 235421 h 403216"/>
                    <a:gd name="connsiteX156" fmla="*/ 3064 w 301344"/>
                    <a:gd name="connsiteY156" fmla="*/ 233229 h 403216"/>
                    <a:gd name="connsiteX157" fmla="*/ 2029 w 301344"/>
                    <a:gd name="connsiteY157" fmla="*/ 231510 h 403216"/>
                    <a:gd name="connsiteX158" fmla="*/ 489 w 301344"/>
                    <a:gd name="connsiteY158" fmla="*/ 230336 h 403216"/>
                    <a:gd name="connsiteX159" fmla="*/ 0 w 301344"/>
                    <a:gd name="connsiteY159" fmla="*/ 228934 h 403216"/>
                    <a:gd name="connsiteX160" fmla="*/ 513 w 301344"/>
                    <a:gd name="connsiteY160" fmla="*/ 227451 h 403216"/>
                    <a:gd name="connsiteX161" fmla="*/ 3529 w 301344"/>
                    <a:gd name="connsiteY161" fmla="*/ 224525 h 403216"/>
                    <a:gd name="connsiteX162" fmla="*/ 5134 w 301344"/>
                    <a:gd name="connsiteY162" fmla="*/ 224020 h 403216"/>
                    <a:gd name="connsiteX163" fmla="*/ 5566 w 301344"/>
                    <a:gd name="connsiteY163" fmla="*/ 222545 h 403216"/>
                    <a:gd name="connsiteX164" fmla="*/ 6544 w 301344"/>
                    <a:gd name="connsiteY164" fmla="*/ 221355 h 403216"/>
                    <a:gd name="connsiteX165" fmla="*/ 9380 w 301344"/>
                    <a:gd name="connsiteY165" fmla="*/ 217060 h 403216"/>
                    <a:gd name="connsiteX166" fmla="*/ 11059 w 301344"/>
                    <a:gd name="connsiteY166" fmla="*/ 214232 h 403216"/>
                    <a:gd name="connsiteX167" fmla="*/ 12722 w 301344"/>
                    <a:gd name="connsiteY167" fmla="*/ 212537 h 403216"/>
                    <a:gd name="connsiteX168" fmla="*/ 14653 w 301344"/>
                    <a:gd name="connsiteY168" fmla="*/ 211355 h 403216"/>
                    <a:gd name="connsiteX169" fmla="*/ 15493 w 301344"/>
                    <a:gd name="connsiteY169" fmla="*/ 210377 h 403216"/>
                    <a:gd name="connsiteX170" fmla="*/ 15061 w 301344"/>
                    <a:gd name="connsiteY170" fmla="*/ 207321 h 403216"/>
                    <a:gd name="connsiteX171" fmla="*/ 15191 w 301344"/>
                    <a:gd name="connsiteY171" fmla="*/ 205284 h 403216"/>
                    <a:gd name="connsiteX172" fmla="*/ 15859 w 301344"/>
                    <a:gd name="connsiteY172" fmla="*/ 203988 h 403216"/>
                    <a:gd name="connsiteX173" fmla="*/ 17791 w 301344"/>
                    <a:gd name="connsiteY173" fmla="*/ 202635 h 403216"/>
                    <a:gd name="connsiteX174" fmla="*/ 19535 w 301344"/>
                    <a:gd name="connsiteY174" fmla="*/ 201584 h 403216"/>
                    <a:gd name="connsiteX175" fmla="*/ 19910 w 301344"/>
                    <a:gd name="connsiteY175" fmla="*/ 201070 h 403216"/>
                    <a:gd name="connsiteX176" fmla="*/ 19755 w 301344"/>
                    <a:gd name="connsiteY176" fmla="*/ 200304 h 403216"/>
                    <a:gd name="connsiteX177" fmla="*/ 18158 w 301344"/>
                    <a:gd name="connsiteY177" fmla="*/ 198756 h 403216"/>
                    <a:gd name="connsiteX178" fmla="*/ 14865 w 301344"/>
                    <a:gd name="connsiteY178" fmla="*/ 197395 h 403216"/>
                    <a:gd name="connsiteX179" fmla="*/ 12681 w 301344"/>
                    <a:gd name="connsiteY179" fmla="*/ 197533 h 403216"/>
                    <a:gd name="connsiteX180" fmla="*/ 11344 w 301344"/>
                    <a:gd name="connsiteY180" fmla="*/ 196327 h 403216"/>
                    <a:gd name="connsiteX181" fmla="*/ 10611 w 301344"/>
                    <a:gd name="connsiteY181" fmla="*/ 195300 h 403216"/>
                    <a:gd name="connsiteX182" fmla="*/ 6292 w 301344"/>
                    <a:gd name="connsiteY182" fmla="*/ 182725 h 403216"/>
                    <a:gd name="connsiteX183" fmla="*/ 5566 w 301344"/>
                    <a:gd name="connsiteY183" fmla="*/ 179791 h 403216"/>
                    <a:gd name="connsiteX184" fmla="*/ 5631 w 301344"/>
                    <a:gd name="connsiteY184" fmla="*/ 178642 h 403216"/>
                    <a:gd name="connsiteX185" fmla="*/ 8525 w 301344"/>
                    <a:gd name="connsiteY185" fmla="*/ 172424 h 403216"/>
                    <a:gd name="connsiteX186" fmla="*/ 9706 w 301344"/>
                    <a:gd name="connsiteY186" fmla="*/ 170395 h 403216"/>
                    <a:gd name="connsiteX187" fmla="*/ 11727 w 301344"/>
                    <a:gd name="connsiteY187" fmla="*/ 167469 h 403216"/>
                    <a:gd name="connsiteX188" fmla="*/ 11369 w 301344"/>
                    <a:gd name="connsiteY188" fmla="*/ 166303 h 403216"/>
                    <a:gd name="connsiteX189" fmla="*/ 7808 w 301344"/>
                    <a:gd name="connsiteY189" fmla="*/ 161454 h 403216"/>
                    <a:gd name="connsiteX190" fmla="*/ 6715 w 301344"/>
                    <a:gd name="connsiteY190" fmla="*/ 159123 h 403216"/>
                    <a:gd name="connsiteX191" fmla="*/ 6740 w 301344"/>
                    <a:gd name="connsiteY191" fmla="*/ 156817 h 403216"/>
                    <a:gd name="connsiteX192" fmla="*/ 7090 w 301344"/>
                    <a:gd name="connsiteY192" fmla="*/ 154022 h 403216"/>
                    <a:gd name="connsiteX193" fmla="*/ 9160 w 301344"/>
                    <a:gd name="connsiteY193" fmla="*/ 152514 h 403216"/>
                    <a:gd name="connsiteX194" fmla="*/ 9747 w 301344"/>
                    <a:gd name="connsiteY194" fmla="*/ 150240 h 403216"/>
                    <a:gd name="connsiteX195" fmla="*/ 10187 w 301344"/>
                    <a:gd name="connsiteY195" fmla="*/ 147991 h 403216"/>
                    <a:gd name="connsiteX196" fmla="*/ 11067 w 301344"/>
                    <a:gd name="connsiteY196" fmla="*/ 147241 h 403216"/>
                    <a:gd name="connsiteX197" fmla="*/ 11972 w 301344"/>
                    <a:gd name="connsiteY197" fmla="*/ 145978 h 403216"/>
                    <a:gd name="connsiteX198" fmla="*/ 13040 w 301344"/>
                    <a:gd name="connsiteY198" fmla="*/ 144136 h 403216"/>
                    <a:gd name="connsiteX199" fmla="*/ 14694 w 301344"/>
                    <a:gd name="connsiteY199" fmla="*/ 142523 h 403216"/>
                    <a:gd name="connsiteX200" fmla="*/ 15680 w 301344"/>
                    <a:gd name="connsiteY200" fmla="*/ 141292 h 403216"/>
                    <a:gd name="connsiteX201" fmla="*/ 15900 w 301344"/>
                    <a:gd name="connsiteY201" fmla="*/ 137894 h 403216"/>
                    <a:gd name="connsiteX202" fmla="*/ 16707 w 301344"/>
                    <a:gd name="connsiteY202" fmla="*/ 136964 h 403216"/>
                    <a:gd name="connsiteX203" fmla="*/ 18981 w 301344"/>
                    <a:gd name="connsiteY203" fmla="*/ 135872 h 403216"/>
                    <a:gd name="connsiteX204" fmla="*/ 19217 w 301344"/>
                    <a:gd name="connsiteY204" fmla="*/ 134992 h 403216"/>
                    <a:gd name="connsiteX205" fmla="*/ 18696 w 301344"/>
                    <a:gd name="connsiteY205" fmla="*/ 132694 h 403216"/>
                    <a:gd name="connsiteX206" fmla="*/ 17563 w 301344"/>
                    <a:gd name="connsiteY206" fmla="*/ 130273 h 403216"/>
                    <a:gd name="connsiteX207" fmla="*/ 16650 w 301344"/>
                    <a:gd name="connsiteY207" fmla="*/ 129108 h 403216"/>
                    <a:gd name="connsiteX208" fmla="*/ 15435 w 301344"/>
                    <a:gd name="connsiteY208" fmla="*/ 123159 h 403216"/>
                    <a:gd name="connsiteX209" fmla="*/ 14172 w 301344"/>
                    <a:gd name="connsiteY209" fmla="*/ 120192 h 403216"/>
                    <a:gd name="connsiteX210" fmla="*/ 14694 w 301344"/>
                    <a:gd name="connsiteY210" fmla="*/ 119019 h 403216"/>
                    <a:gd name="connsiteX211" fmla="*/ 15574 w 301344"/>
                    <a:gd name="connsiteY211" fmla="*/ 117511 h 403216"/>
                    <a:gd name="connsiteX212" fmla="*/ 16422 w 301344"/>
                    <a:gd name="connsiteY212" fmla="*/ 114536 h 403216"/>
                    <a:gd name="connsiteX213" fmla="*/ 16699 w 301344"/>
                    <a:gd name="connsiteY213" fmla="*/ 111073 h 403216"/>
                    <a:gd name="connsiteX214" fmla="*/ 16495 w 301344"/>
                    <a:gd name="connsiteY214" fmla="*/ 98343 h 403216"/>
                    <a:gd name="connsiteX215" fmla="*/ 16536 w 301344"/>
                    <a:gd name="connsiteY215" fmla="*/ 95841 h 403216"/>
                    <a:gd name="connsiteX216" fmla="*/ 17652 w 301344"/>
                    <a:gd name="connsiteY216" fmla="*/ 94081 h 403216"/>
                    <a:gd name="connsiteX217" fmla="*/ 19290 w 301344"/>
                    <a:gd name="connsiteY217" fmla="*/ 92051 h 403216"/>
                    <a:gd name="connsiteX218" fmla="*/ 20676 w 301344"/>
                    <a:gd name="connsiteY218" fmla="*/ 91277 h 403216"/>
                    <a:gd name="connsiteX219" fmla="*/ 21980 w 301344"/>
                    <a:gd name="connsiteY219" fmla="*/ 89989 h 403216"/>
                    <a:gd name="connsiteX220" fmla="*/ 21890 w 301344"/>
                    <a:gd name="connsiteY220" fmla="*/ 87577 h 403216"/>
                    <a:gd name="connsiteX221" fmla="*/ 22754 w 301344"/>
                    <a:gd name="connsiteY221" fmla="*/ 86151 h 403216"/>
                    <a:gd name="connsiteX222" fmla="*/ 23813 w 301344"/>
                    <a:gd name="connsiteY222" fmla="*/ 84374 h 403216"/>
                    <a:gd name="connsiteX223" fmla="*/ 20505 w 301344"/>
                    <a:gd name="connsiteY223" fmla="*/ 77357 h 403216"/>
                    <a:gd name="connsiteX224" fmla="*/ 17595 w 301344"/>
                    <a:gd name="connsiteY224" fmla="*/ 71196 h 403216"/>
                    <a:gd name="connsiteX225" fmla="*/ 14865 w 301344"/>
                    <a:gd name="connsiteY225" fmla="*/ 65410 h 403216"/>
                    <a:gd name="connsiteX226" fmla="*/ 11703 w 301344"/>
                    <a:gd name="connsiteY226" fmla="*/ 58711 h 403216"/>
                    <a:gd name="connsiteX227" fmla="*/ 9617 w 301344"/>
                    <a:gd name="connsiteY227" fmla="*/ 54310 h 403216"/>
                    <a:gd name="connsiteX228" fmla="*/ 7033 w 301344"/>
                    <a:gd name="connsiteY228" fmla="*/ 48833 h 403216"/>
                    <a:gd name="connsiteX229" fmla="*/ 4759 w 301344"/>
                    <a:gd name="connsiteY229" fmla="*/ 44033 h 403216"/>
                    <a:gd name="connsiteX230" fmla="*/ 1654 w 301344"/>
                    <a:gd name="connsiteY230" fmla="*/ 37472 h 403216"/>
                    <a:gd name="connsiteX231" fmla="*/ 4539 w 301344"/>
                    <a:gd name="connsiteY231" fmla="*/ 37366 h 403216"/>
                    <a:gd name="connsiteX232" fmla="*/ 10342 w 301344"/>
                    <a:gd name="connsiteY232" fmla="*/ 37595 h 403216"/>
                    <a:gd name="connsiteX233" fmla="*/ 15973 w 301344"/>
                    <a:gd name="connsiteY233" fmla="*/ 38760 h 403216"/>
                    <a:gd name="connsiteX234" fmla="*/ 19771 w 301344"/>
                    <a:gd name="connsiteY234" fmla="*/ 39265 h 403216"/>
                    <a:gd name="connsiteX235" fmla="*/ 21368 w 301344"/>
                    <a:gd name="connsiteY235" fmla="*/ 40276 h 403216"/>
                    <a:gd name="connsiteX236" fmla="*/ 21719 w 301344"/>
                    <a:gd name="connsiteY236" fmla="*/ 41889 h 403216"/>
                    <a:gd name="connsiteX237" fmla="*/ 22770 w 301344"/>
                    <a:gd name="connsiteY237" fmla="*/ 42631 h 403216"/>
                    <a:gd name="connsiteX238" fmla="*/ 23985 w 301344"/>
                    <a:gd name="connsiteY238" fmla="*/ 42338 h 403216"/>
                    <a:gd name="connsiteX239" fmla="*/ 25362 w 301344"/>
                    <a:gd name="connsiteY239" fmla="*/ 42232 h 403216"/>
                    <a:gd name="connsiteX240" fmla="*/ 28451 w 301344"/>
                    <a:gd name="connsiteY240" fmla="*/ 40586 h 403216"/>
                    <a:gd name="connsiteX241" fmla="*/ 30936 w 301344"/>
                    <a:gd name="connsiteY241" fmla="*/ 39502 h 403216"/>
                    <a:gd name="connsiteX242" fmla="*/ 33096 w 301344"/>
                    <a:gd name="connsiteY242" fmla="*/ 38190 h 403216"/>
                    <a:gd name="connsiteX243" fmla="*/ 34196 w 301344"/>
                    <a:gd name="connsiteY243" fmla="*/ 36910 h 403216"/>
                    <a:gd name="connsiteX244" fmla="*/ 36877 w 301344"/>
                    <a:gd name="connsiteY244" fmla="*/ 32436 h 403216"/>
                    <a:gd name="connsiteX245" fmla="*/ 39037 w 301344"/>
                    <a:gd name="connsiteY245" fmla="*/ 29967 h 403216"/>
                    <a:gd name="connsiteX246" fmla="*/ 41018 w 301344"/>
                    <a:gd name="connsiteY246" fmla="*/ 29095 h 403216"/>
                    <a:gd name="connsiteX247" fmla="*/ 44905 w 301344"/>
                    <a:gd name="connsiteY247" fmla="*/ 28744 h 403216"/>
                    <a:gd name="connsiteX248" fmla="*/ 46128 w 301344"/>
                    <a:gd name="connsiteY248" fmla="*/ 29437 h 403216"/>
                    <a:gd name="connsiteX249" fmla="*/ 47709 w 301344"/>
                    <a:gd name="connsiteY249" fmla="*/ 29363 h 403216"/>
                    <a:gd name="connsiteX250" fmla="*/ 49078 w 301344"/>
                    <a:gd name="connsiteY250" fmla="*/ 26821 h 403216"/>
                    <a:gd name="connsiteX251" fmla="*/ 51164 w 301344"/>
                    <a:gd name="connsiteY251" fmla="*/ 24009 h 403216"/>
                    <a:gd name="connsiteX252" fmla="*/ 55271 w 301344"/>
                    <a:gd name="connsiteY252" fmla="*/ 20505 h 403216"/>
                    <a:gd name="connsiteX253" fmla="*/ 57366 w 301344"/>
                    <a:gd name="connsiteY253" fmla="*/ 19535 h 403216"/>
                    <a:gd name="connsiteX254" fmla="*/ 58654 w 301344"/>
                    <a:gd name="connsiteY254" fmla="*/ 18313 h 403216"/>
                    <a:gd name="connsiteX255" fmla="*/ 60887 w 301344"/>
                    <a:gd name="connsiteY255" fmla="*/ 18141 h 403216"/>
                    <a:gd name="connsiteX256" fmla="*/ 62851 w 301344"/>
                    <a:gd name="connsiteY256" fmla="*/ 16845 h 403216"/>
                    <a:gd name="connsiteX257" fmla="*/ 72312 w 301344"/>
                    <a:gd name="connsiteY257" fmla="*/ 8003 h 403216"/>
                    <a:gd name="connsiteX258" fmla="*/ 76143 w 301344"/>
                    <a:gd name="connsiteY258" fmla="*/ 5721 h 403216"/>
                    <a:gd name="connsiteX259" fmla="*/ 78531 w 301344"/>
                    <a:gd name="connsiteY259" fmla="*/ 5297 h 403216"/>
                    <a:gd name="connsiteX260" fmla="*/ 80511 w 301344"/>
                    <a:gd name="connsiteY260" fmla="*/ 4768 h 403216"/>
                    <a:gd name="connsiteX261" fmla="*/ 83877 w 301344"/>
                    <a:gd name="connsiteY261" fmla="*/ 3488 h 403216"/>
                    <a:gd name="connsiteX262" fmla="*/ 92279 w 301344"/>
                    <a:gd name="connsiteY262" fmla="*/ 2266 h 403216"/>
                    <a:gd name="connsiteX263" fmla="*/ 97683 w 301344"/>
                    <a:gd name="connsiteY263" fmla="*/ 1752 h 403216"/>
                    <a:gd name="connsiteX264" fmla="*/ 99419 w 301344"/>
                    <a:gd name="connsiteY264" fmla="*/ 2983 h 403216"/>
                    <a:gd name="connsiteX265" fmla="*/ 101358 w 301344"/>
                    <a:gd name="connsiteY265" fmla="*/ 2624 h 403216"/>
                    <a:gd name="connsiteX266" fmla="*/ 103012 w 301344"/>
                    <a:gd name="connsiteY266" fmla="*/ 644 h 403216"/>
                    <a:gd name="connsiteX267" fmla="*/ 104390 w 301344"/>
                    <a:gd name="connsiteY267" fmla="*/ 0 h 403216"/>
                    <a:gd name="connsiteX268" fmla="*/ 105392 w 301344"/>
                    <a:gd name="connsiteY268" fmla="*/ 65 h 403216"/>
                    <a:gd name="connsiteX269" fmla="*/ 106835 w 301344"/>
                    <a:gd name="connsiteY269" fmla="*/ 2412 h 403216"/>
                    <a:gd name="connsiteX270" fmla="*/ 107544 w 301344"/>
                    <a:gd name="connsiteY270" fmla="*/ 4898 h 403216"/>
                    <a:gd name="connsiteX271" fmla="*/ 107079 w 301344"/>
                    <a:gd name="connsiteY271" fmla="*/ 6797 h 403216"/>
                    <a:gd name="connsiteX272" fmla="*/ 107169 w 301344"/>
                    <a:gd name="connsiteY272" fmla="*/ 9551 h 403216"/>
                    <a:gd name="connsiteX273" fmla="*/ 107813 w 301344"/>
                    <a:gd name="connsiteY273" fmla="*/ 13162 h 403216"/>
                    <a:gd name="connsiteX274" fmla="*/ 107454 w 301344"/>
                    <a:gd name="connsiteY274" fmla="*/ 16381 h 403216"/>
                    <a:gd name="connsiteX275" fmla="*/ 105409 w 301344"/>
                    <a:gd name="connsiteY275" fmla="*/ 20578 h 403216"/>
                    <a:gd name="connsiteX276" fmla="*/ 104382 w 301344"/>
                    <a:gd name="connsiteY276" fmla="*/ 22289 h 403216"/>
                    <a:gd name="connsiteX277" fmla="*/ 104129 w 301344"/>
                    <a:gd name="connsiteY277" fmla="*/ 24058 h 403216"/>
                    <a:gd name="connsiteX278" fmla="*/ 104300 w 301344"/>
                    <a:gd name="connsiteY278" fmla="*/ 26430 h 403216"/>
                    <a:gd name="connsiteX279" fmla="*/ 105246 w 301344"/>
                    <a:gd name="connsiteY279" fmla="*/ 30325 h 403216"/>
                    <a:gd name="connsiteX280" fmla="*/ 106933 w 301344"/>
                    <a:gd name="connsiteY280" fmla="*/ 35696 h 403216"/>
                    <a:gd name="connsiteX281" fmla="*/ 107185 w 301344"/>
                    <a:gd name="connsiteY281" fmla="*/ 39681 h 403216"/>
                    <a:gd name="connsiteX282" fmla="*/ 105995 w 301344"/>
                    <a:gd name="connsiteY282" fmla="*/ 42273 h 403216"/>
                    <a:gd name="connsiteX283" fmla="*/ 105458 w 301344"/>
                    <a:gd name="connsiteY283" fmla="*/ 44497 h 403216"/>
                    <a:gd name="connsiteX284" fmla="*/ 105547 w 301344"/>
                    <a:gd name="connsiteY284" fmla="*/ 46380 h 403216"/>
                    <a:gd name="connsiteX285" fmla="*/ 105979 w 301344"/>
                    <a:gd name="connsiteY285" fmla="*/ 47692 h 403216"/>
                    <a:gd name="connsiteX286" fmla="*/ 106729 w 301344"/>
                    <a:gd name="connsiteY286" fmla="*/ 48442 h 403216"/>
                    <a:gd name="connsiteX287" fmla="*/ 107145 w 301344"/>
                    <a:gd name="connsiteY287" fmla="*/ 49958 h 403216"/>
                    <a:gd name="connsiteX288" fmla="*/ 107234 w 301344"/>
                    <a:gd name="connsiteY288" fmla="*/ 52199 h 403216"/>
                    <a:gd name="connsiteX289" fmla="*/ 108220 w 301344"/>
                    <a:gd name="connsiteY289" fmla="*/ 54383 h 403216"/>
                    <a:gd name="connsiteX290" fmla="*/ 110103 w 301344"/>
                    <a:gd name="connsiteY290" fmla="*/ 56494 h 403216"/>
                    <a:gd name="connsiteX291" fmla="*/ 110869 w 301344"/>
                    <a:gd name="connsiteY291" fmla="*/ 58499 h 403216"/>
                    <a:gd name="connsiteX292" fmla="*/ 110519 w 301344"/>
                    <a:gd name="connsiteY292" fmla="*/ 60406 h 403216"/>
                    <a:gd name="connsiteX293" fmla="*/ 110616 w 301344"/>
                    <a:gd name="connsiteY293" fmla="*/ 61596 h 403216"/>
                    <a:gd name="connsiteX294" fmla="*/ 111170 w 301344"/>
                    <a:gd name="connsiteY294" fmla="*/ 62068 h 403216"/>
                    <a:gd name="connsiteX295" fmla="*/ 111684 w 301344"/>
                    <a:gd name="connsiteY295" fmla="*/ 61677 h 403216"/>
                    <a:gd name="connsiteX296" fmla="*/ 112360 w 301344"/>
                    <a:gd name="connsiteY296" fmla="*/ 61156 h 403216"/>
                    <a:gd name="connsiteX297" fmla="*/ 112980 w 301344"/>
                    <a:gd name="connsiteY297" fmla="*/ 61343 h 403216"/>
                    <a:gd name="connsiteX298" fmla="*/ 114300 w 301344"/>
                    <a:gd name="connsiteY298" fmla="*/ 64016 h 403216"/>
                    <a:gd name="connsiteX299" fmla="*/ 114471 w 301344"/>
                    <a:gd name="connsiteY299" fmla="*/ 64554 h 403216"/>
                    <a:gd name="connsiteX300" fmla="*/ 115188 w 301344"/>
                    <a:gd name="connsiteY300" fmla="*/ 66755 h 403216"/>
                    <a:gd name="connsiteX301" fmla="*/ 115408 w 301344"/>
                    <a:gd name="connsiteY301" fmla="*/ 68425 h 403216"/>
                    <a:gd name="connsiteX302" fmla="*/ 117348 w 301344"/>
                    <a:gd name="connsiteY302" fmla="*/ 69362 h 403216"/>
                    <a:gd name="connsiteX303" fmla="*/ 119434 w 301344"/>
                    <a:gd name="connsiteY303" fmla="*/ 70096 h 403216"/>
                    <a:gd name="connsiteX304" fmla="*/ 120583 w 301344"/>
                    <a:gd name="connsiteY304" fmla="*/ 70968 h 403216"/>
                    <a:gd name="connsiteX305" fmla="*/ 122906 w 301344"/>
                    <a:gd name="connsiteY305" fmla="*/ 73608 h 403216"/>
                    <a:gd name="connsiteX306" fmla="*/ 124846 w 301344"/>
                    <a:gd name="connsiteY306" fmla="*/ 75344 h 403216"/>
                    <a:gd name="connsiteX307" fmla="*/ 127282 w 301344"/>
                    <a:gd name="connsiteY307" fmla="*/ 76771 h 403216"/>
                    <a:gd name="connsiteX308" fmla="*/ 128097 w 301344"/>
                    <a:gd name="connsiteY308" fmla="*/ 79053 h 403216"/>
                    <a:gd name="connsiteX309" fmla="*/ 129589 w 301344"/>
                    <a:gd name="connsiteY309" fmla="*/ 82483 h 403216"/>
                    <a:gd name="connsiteX310" fmla="*/ 133696 w 301344"/>
                    <a:gd name="connsiteY310" fmla="*/ 83812 h 403216"/>
                    <a:gd name="connsiteX311" fmla="*/ 138488 w 301344"/>
                    <a:gd name="connsiteY311" fmla="*/ 84464 h 403216"/>
                    <a:gd name="connsiteX312" fmla="*/ 141544 w 301344"/>
                    <a:gd name="connsiteY312" fmla="*/ 85205 h 403216"/>
                    <a:gd name="connsiteX313" fmla="*/ 145277 w 301344"/>
                    <a:gd name="connsiteY313" fmla="*/ 83380 h 403216"/>
                    <a:gd name="connsiteX314" fmla="*/ 147746 w 301344"/>
                    <a:gd name="connsiteY314" fmla="*/ 83657 h 403216"/>
                    <a:gd name="connsiteX315" fmla="*/ 150297 w 301344"/>
                    <a:gd name="connsiteY315" fmla="*/ 84887 h 403216"/>
                    <a:gd name="connsiteX316" fmla="*/ 151381 w 301344"/>
                    <a:gd name="connsiteY316" fmla="*/ 85735 h 403216"/>
                    <a:gd name="connsiteX317" fmla="*/ 153288 w 301344"/>
                    <a:gd name="connsiteY317" fmla="*/ 87512 h 403216"/>
                    <a:gd name="connsiteX318" fmla="*/ 156222 w 301344"/>
                    <a:gd name="connsiteY318" fmla="*/ 89777 h 403216"/>
                    <a:gd name="connsiteX319" fmla="*/ 158626 w 301344"/>
                    <a:gd name="connsiteY319" fmla="*/ 90617 h 403216"/>
                    <a:gd name="connsiteX320" fmla="*/ 160338 w 301344"/>
                    <a:gd name="connsiteY320" fmla="*/ 89362 h 403216"/>
                    <a:gd name="connsiteX321" fmla="*/ 161927 w 301344"/>
                    <a:gd name="connsiteY321" fmla="*/ 88914 h 403216"/>
                    <a:gd name="connsiteX322" fmla="*/ 163149 w 301344"/>
                    <a:gd name="connsiteY322" fmla="*/ 89443 h 403216"/>
                    <a:gd name="connsiteX323" fmla="*/ 163793 w 301344"/>
                    <a:gd name="connsiteY323" fmla="*/ 91905 h 403216"/>
                    <a:gd name="connsiteX324" fmla="*/ 164445 w 301344"/>
                    <a:gd name="connsiteY324" fmla="*/ 93583 h 403216"/>
                    <a:gd name="connsiteX325" fmla="*/ 165871 w 301344"/>
                    <a:gd name="connsiteY325" fmla="*/ 94838 h 403216"/>
                    <a:gd name="connsiteX326" fmla="*/ 168911 w 301344"/>
                    <a:gd name="connsiteY326" fmla="*/ 98066 h 403216"/>
                    <a:gd name="connsiteX327" fmla="*/ 170647 w 301344"/>
                    <a:gd name="connsiteY327" fmla="*/ 99394 h 403216"/>
                    <a:gd name="connsiteX328" fmla="*/ 172587 w 301344"/>
                    <a:gd name="connsiteY328" fmla="*/ 99304 h 403216"/>
                    <a:gd name="connsiteX329" fmla="*/ 176597 w 301344"/>
                    <a:gd name="connsiteY329" fmla="*/ 101415 h 403216"/>
                    <a:gd name="connsiteX330" fmla="*/ 180875 w 301344"/>
                    <a:gd name="connsiteY330" fmla="*/ 103485 h 403216"/>
                    <a:gd name="connsiteX331" fmla="*/ 183076 w 301344"/>
                    <a:gd name="connsiteY331" fmla="*/ 103828 h 403216"/>
                    <a:gd name="connsiteX332" fmla="*/ 185260 w 301344"/>
                    <a:gd name="connsiteY332" fmla="*/ 103526 h 403216"/>
                    <a:gd name="connsiteX333" fmla="*/ 186694 w 301344"/>
                    <a:gd name="connsiteY333" fmla="*/ 104325 h 403216"/>
                    <a:gd name="connsiteX334" fmla="*/ 187273 w 301344"/>
                    <a:gd name="connsiteY334" fmla="*/ 106818 h 403216"/>
                    <a:gd name="connsiteX335" fmla="*/ 190997 w 301344"/>
                    <a:gd name="connsiteY335" fmla="*/ 111806 h 403216"/>
                    <a:gd name="connsiteX336" fmla="*/ 192741 w 301344"/>
                    <a:gd name="connsiteY336" fmla="*/ 113746 h 403216"/>
                    <a:gd name="connsiteX337" fmla="*/ 194836 w 301344"/>
                    <a:gd name="connsiteY337" fmla="*/ 115416 h 403216"/>
                    <a:gd name="connsiteX338" fmla="*/ 200149 w 301344"/>
                    <a:gd name="connsiteY338" fmla="*/ 115400 h 403216"/>
                    <a:gd name="connsiteX339" fmla="*/ 201738 w 301344"/>
                    <a:gd name="connsiteY339" fmla="*/ 115897 h 403216"/>
                    <a:gd name="connsiteX340" fmla="*/ 204110 w 301344"/>
                    <a:gd name="connsiteY340" fmla="*/ 115457 h 403216"/>
                    <a:gd name="connsiteX341" fmla="*/ 211225 w 301344"/>
                    <a:gd name="connsiteY341" fmla="*/ 114610 h 403216"/>
                    <a:gd name="connsiteX342" fmla="*/ 212512 w 301344"/>
                    <a:gd name="connsiteY342" fmla="*/ 114333 h 403216"/>
                    <a:gd name="connsiteX343" fmla="*/ 216546 w 301344"/>
                    <a:gd name="connsiteY343" fmla="*/ 116508 h 403216"/>
                    <a:gd name="connsiteX344" fmla="*/ 221314 w 301344"/>
                    <a:gd name="connsiteY344" fmla="*/ 119638 h 403216"/>
                    <a:gd name="connsiteX345" fmla="*/ 224468 w 301344"/>
                    <a:gd name="connsiteY345" fmla="*/ 122099 h 403216"/>
                    <a:gd name="connsiteX346" fmla="*/ 226668 w 301344"/>
                    <a:gd name="connsiteY346" fmla="*/ 123444 h 403216"/>
                    <a:gd name="connsiteX347" fmla="*/ 227817 w 301344"/>
                    <a:gd name="connsiteY347" fmla="*/ 125653 h 403216"/>
                    <a:gd name="connsiteX348" fmla="*/ 228755 w 301344"/>
                    <a:gd name="connsiteY348" fmla="*/ 127943 h 403216"/>
                    <a:gd name="connsiteX349" fmla="*/ 229187 w 301344"/>
                    <a:gd name="connsiteY349" fmla="*/ 130420 h 403216"/>
                    <a:gd name="connsiteX350" fmla="*/ 228616 w 301344"/>
                    <a:gd name="connsiteY350" fmla="*/ 132873 h 403216"/>
                    <a:gd name="connsiteX351" fmla="*/ 227744 w 301344"/>
                    <a:gd name="connsiteY351" fmla="*/ 133859 h 403216"/>
                    <a:gd name="connsiteX352" fmla="*/ 227459 w 301344"/>
                    <a:gd name="connsiteY352" fmla="*/ 135440 h 403216"/>
                    <a:gd name="connsiteX353" fmla="*/ 227817 w 301344"/>
                    <a:gd name="connsiteY353" fmla="*/ 137828 h 403216"/>
                    <a:gd name="connsiteX354" fmla="*/ 229407 w 301344"/>
                    <a:gd name="connsiteY354" fmla="*/ 139955 h 403216"/>
                    <a:gd name="connsiteX355" fmla="*/ 229985 w 301344"/>
                    <a:gd name="connsiteY355" fmla="*/ 142563 h 403216"/>
                    <a:gd name="connsiteX356" fmla="*/ 230849 w 301344"/>
                    <a:gd name="connsiteY356" fmla="*/ 147184 h 403216"/>
                    <a:gd name="connsiteX357" fmla="*/ 231819 w 301344"/>
                    <a:gd name="connsiteY357" fmla="*/ 148643 h 403216"/>
                    <a:gd name="connsiteX358" fmla="*/ 232455 w 301344"/>
                    <a:gd name="connsiteY358" fmla="*/ 162962 h 403216"/>
                    <a:gd name="connsiteX359" fmla="*/ 229260 w 301344"/>
                    <a:gd name="connsiteY359" fmla="*/ 163084 h 403216"/>
                    <a:gd name="connsiteX360" fmla="*/ 224761 w 301344"/>
                    <a:gd name="connsiteY360" fmla="*/ 163247 h 403216"/>
                    <a:gd name="connsiteX361" fmla="*/ 226074 w 301344"/>
                    <a:gd name="connsiteY361" fmla="*/ 164608 h 403216"/>
                    <a:gd name="connsiteX362" fmla="*/ 229790 w 301344"/>
                    <a:gd name="connsiteY362" fmla="*/ 169963 h 403216"/>
                    <a:gd name="connsiteX363" fmla="*/ 233221 w 301344"/>
                    <a:gd name="connsiteY363" fmla="*/ 174869 h 403216"/>
                    <a:gd name="connsiteX364" fmla="*/ 233767 w 301344"/>
                    <a:gd name="connsiteY364" fmla="*/ 182774 h 403216"/>
                    <a:gd name="connsiteX365" fmla="*/ 234101 w 301344"/>
                    <a:gd name="connsiteY365" fmla="*/ 187753 h 403216"/>
                    <a:gd name="connsiteX366" fmla="*/ 234582 w 301344"/>
                    <a:gd name="connsiteY366" fmla="*/ 194787 h 403216"/>
                    <a:gd name="connsiteX367" fmla="*/ 234875 w 301344"/>
                    <a:gd name="connsiteY367" fmla="*/ 198968 h 403216"/>
                    <a:gd name="connsiteX368" fmla="*/ 243416 w 301344"/>
                    <a:gd name="connsiteY368" fmla="*/ 199359 h 403216"/>
                    <a:gd name="connsiteX369" fmla="*/ 253261 w 301344"/>
                    <a:gd name="connsiteY369" fmla="*/ 199783 h 403216"/>
                    <a:gd name="connsiteX370" fmla="*/ 265086 w 301344"/>
                    <a:gd name="connsiteY370" fmla="*/ 200312 h 403216"/>
                    <a:gd name="connsiteX371" fmla="*/ 275493 w 301344"/>
                    <a:gd name="connsiteY371" fmla="*/ 200777 h 403216"/>
                    <a:gd name="connsiteX372" fmla="*/ 276520 w 301344"/>
                    <a:gd name="connsiteY372" fmla="*/ 200728 h 403216"/>
                    <a:gd name="connsiteX373" fmla="*/ 278322 w 301344"/>
                    <a:gd name="connsiteY373" fmla="*/ 200157 h 403216"/>
                    <a:gd name="connsiteX374" fmla="*/ 279528 w 301344"/>
                    <a:gd name="connsiteY374" fmla="*/ 199408 h 403216"/>
                    <a:gd name="connsiteX375" fmla="*/ 280261 w 301344"/>
                    <a:gd name="connsiteY375" fmla="*/ 199440 h 403216"/>
                    <a:gd name="connsiteX376" fmla="*/ 280383 w 301344"/>
                    <a:gd name="connsiteY376" fmla="*/ 201135 h 403216"/>
                    <a:gd name="connsiteX377" fmla="*/ 280139 w 301344"/>
                    <a:gd name="connsiteY377" fmla="*/ 203279 h 403216"/>
                    <a:gd name="connsiteX378" fmla="*/ 280147 w 301344"/>
                    <a:gd name="connsiteY378" fmla="*/ 205740 h 403216"/>
                    <a:gd name="connsiteX379" fmla="*/ 277164 w 301344"/>
                    <a:gd name="connsiteY379" fmla="*/ 210622 h 403216"/>
                    <a:gd name="connsiteX380" fmla="*/ 276977 w 301344"/>
                    <a:gd name="connsiteY380" fmla="*/ 212154 h 403216"/>
                    <a:gd name="connsiteX381" fmla="*/ 277433 w 301344"/>
                    <a:gd name="connsiteY381" fmla="*/ 218584 h 403216"/>
                    <a:gd name="connsiteX382" fmla="*/ 278484 w 301344"/>
                    <a:gd name="connsiteY382" fmla="*/ 223775 h 403216"/>
                    <a:gd name="connsiteX383" fmla="*/ 279006 w 301344"/>
                    <a:gd name="connsiteY383" fmla="*/ 228486 h 403216"/>
                    <a:gd name="connsiteX384" fmla="*/ 280212 w 301344"/>
                    <a:gd name="connsiteY384" fmla="*/ 229953 h 403216"/>
                    <a:gd name="connsiteX385" fmla="*/ 283741 w 301344"/>
                    <a:gd name="connsiteY385" fmla="*/ 232447 h 403216"/>
                    <a:gd name="connsiteX386" fmla="*/ 289063 w 301344"/>
                    <a:gd name="connsiteY386" fmla="*/ 237027 h 403216"/>
                    <a:gd name="connsiteX387" fmla="*/ 291190 w 301344"/>
                    <a:gd name="connsiteY387" fmla="*/ 237630 h 403216"/>
                    <a:gd name="connsiteX388" fmla="*/ 292991 w 301344"/>
                    <a:gd name="connsiteY388" fmla="*/ 237002 h 403216"/>
                    <a:gd name="connsiteX389" fmla="*/ 294075 w 301344"/>
                    <a:gd name="connsiteY389" fmla="*/ 238869 h 403216"/>
                    <a:gd name="connsiteX390" fmla="*/ 294287 w 301344"/>
                    <a:gd name="connsiteY390" fmla="*/ 241900 h 403216"/>
                    <a:gd name="connsiteX391" fmla="*/ 297229 w 301344"/>
                    <a:gd name="connsiteY391" fmla="*/ 250360 h 403216"/>
                    <a:gd name="connsiteX392" fmla="*/ 299087 w 301344"/>
                    <a:gd name="connsiteY392" fmla="*/ 255714 h 403216"/>
                    <a:gd name="connsiteX393" fmla="*/ 299943 w 301344"/>
                    <a:gd name="connsiteY393" fmla="*/ 257589 h 403216"/>
                    <a:gd name="connsiteX394" fmla="*/ 301344 w 301344"/>
                    <a:gd name="connsiteY394" fmla="*/ 258559 h 403216"/>
                    <a:gd name="connsiteX395" fmla="*/ 301084 w 301344"/>
                    <a:gd name="connsiteY395" fmla="*/ 259251 h 403216"/>
                    <a:gd name="connsiteX396" fmla="*/ 299918 w 301344"/>
                    <a:gd name="connsiteY396" fmla="*/ 259536 h 403216"/>
                    <a:gd name="connsiteX397" fmla="*/ 299405 w 301344"/>
                    <a:gd name="connsiteY397" fmla="*/ 260539 h 403216"/>
                    <a:gd name="connsiteX398" fmla="*/ 297783 w 301344"/>
                    <a:gd name="connsiteY398" fmla="*/ 266562 h 403216"/>
                    <a:gd name="connsiteX399" fmla="*/ 295656 w 301344"/>
                    <a:gd name="connsiteY399" fmla="*/ 274491 h 403216"/>
                    <a:gd name="connsiteX400" fmla="*/ 294213 w 301344"/>
                    <a:gd name="connsiteY400" fmla="*/ 280058 h 403216"/>
                    <a:gd name="connsiteX401" fmla="*/ 295509 w 301344"/>
                    <a:gd name="connsiteY401" fmla="*/ 280147 h 403216"/>
                    <a:gd name="connsiteX402" fmla="*/ 295566 w 301344"/>
                    <a:gd name="connsiteY402" fmla="*/ 281687 h 403216"/>
                    <a:gd name="connsiteX403" fmla="*/ 295860 w 301344"/>
                    <a:gd name="connsiteY403" fmla="*/ 284059 h 403216"/>
                    <a:gd name="connsiteX404" fmla="*/ 294254 w 301344"/>
                    <a:gd name="connsiteY404" fmla="*/ 284352 h 403216"/>
                    <a:gd name="connsiteX405" fmla="*/ 293782 w 301344"/>
                    <a:gd name="connsiteY405" fmla="*/ 285184 h 403216"/>
                    <a:gd name="connsiteX406" fmla="*/ 291948 w 301344"/>
                    <a:gd name="connsiteY406" fmla="*/ 289772 h 403216"/>
                    <a:gd name="connsiteX407" fmla="*/ 289536 w 301344"/>
                    <a:gd name="connsiteY407" fmla="*/ 295770 h 403216"/>
                    <a:gd name="connsiteX408" fmla="*/ 287050 w 301344"/>
                    <a:gd name="connsiteY408" fmla="*/ 301972 h 403216"/>
                    <a:gd name="connsiteX409" fmla="*/ 285575 w 301344"/>
                    <a:gd name="connsiteY409" fmla="*/ 305639 h 403216"/>
                    <a:gd name="connsiteX410" fmla="*/ 288093 w 301344"/>
                    <a:gd name="connsiteY410" fmla="*/ 308361 h 403216"/>
                    <a:gd name="connsiteX411" fmla="*/ 292290 w 301344"/>
                    <a:gd name="connsiteY411" fmla="*/ 312893 h 403216"/>
                    <a:gd name="connsiteX412" fmla="*/ 291622 w 301344"/>
                    <a:gd name="connsiteY412" fmla="*/ 314148 h 403216"/>
                    <a:gd name="connsiteX413" fmla="*/ 289821 w 301344"/>
                    <a:gd name="connsiteY413" fmla="*/ 314775 h 403216"/>
                    <a:gd name="connsiteX414" fmla="*/ 288313 w 301344"/>
                    <a:gd name="connsiteY414" fmla="*/ 315223 h 403216"/>
                    <a:gd name="connsiteX415" fmla="*/ 287156 w 301344"/>
                    <a:gd name="connsiteY415" fmla="*/ 316935 h 403216"/>
                    <a:gd name="connsiteX416" fmla="*/ 286504 w 301344"/>
                    <a:gd name="connsiteY416" fmla="*/ 318182 h 403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Lst>
                  <a:rect l="l" t="t" r="r" b="b"/>
                  <a:pathLst>
                    <a:path w="301344" h="403216">
                      <a:moveTo>
                        <a:pt x="284874" y="318606"/>
                      </a:moveTo>
                      <a:lnTo>
                        <a:pt x="285363" y="313479"/>
                      </a:lnTo>
                      <a:lnTo>
                        <a:pt x="284866" y="309046"/>
                      </a:lnTo>
                      <a:lnTo>
                        <a:pt x="284369" y="307897"/>
                      </a:lnTo>
                      <a:lnTo>
                        <a:pt x="277075" y="302600"/>
                      </a:lnTo>
                      <a:lnTo>
                        <a:pt x="270457" y="297791"/>
                      </a:lnTo>
                      <a:lnTo>
                        <a:pt x="261786" y="291516"/>
                      </a:lnTo>
                      <a:lnTo>
                        <a:pt x="250620" y="291687"/>
                      </a:lnTo>
                      <a:lnTo>
                        <a:pt x="239048" y="291866"/>
                      </a:lnTo>
                      <a:lnTo>
                        <a:pt x="228038" y="294678"/>
                      </a:lnTo>
                      <a:lnTo>
                        <a:pt x="217190" y="297433"/>
                      </a:lnTo>
                      <a:lnTo>
                        <a:pt x="212048" y="298745"/>
                      </a:lnTo>
                      <a:lnTo>
                        <a:pt x="201738" y="301377"/>
                      </a:lnTo>
                      <a:lnTo>
                        <a:pt x="195659" y="302583"/>
                      </a:lnTo>
                      <a:lnTo>
                        <a:pt x="194069" y="307644"/>
                      </a:lnTo>
                      <a:lnTo>
                        <a:pt x="191682" y="315232"/>
                      </a:lnTo>
                      <a:lnTo>
                        <a:pt x="189335" y="319673"/>
                      </a:lnTo>
                      <a:lnTo>
                        <a:pt x="186612" y="324335"/>
                      </a:lnTo>
                      <a:lnTo>
                        <a:pt x="182774" y="330904"/>
                      </a:lnTo>
                      <a:lnTo>
                        <a:pt x="182766" y="338890"/>
                      </a:lnTo>
                      <a:lnTo>
                        <a:pt x="182766" y="346486"/>
                      </a:lnTo>
                      <a:lnTo>
                        <a:pt x="180068" y="357203"/>
                      </a:lnTo>
                      <a:lnTo>
                        <a:pt x="177778" y="366306"/>
                      </a:lnTo>
                      <a:lnTo>
                        <a:pt x="175570" y="375100"/>
                      </a:lnTo>
                      <a:lnTo>
                        <a:pt x="174037" y="381179"/>
                      </a:lnTo>
                      <a:lnTo>
                        <a:pt x="173475" y="382728"/>
                      </a:lnTo>
                      <a:lnTo>
                        <a:pt x="173125" y="382239"/>
                      </a:lnTo>
                      <a:lnTo>
                        <a:pt x="171161" y="380429"/>
                      </a:lnTo>
                      <a:lnTo>
                        <a:pt x="169408" y="376998"/>
                      </a:lnTo>
                      <a:lnTo>
                        <a:pt x="168936" y="375426"/>
                      </a:lnTo>
                      <a:lnTo>
                        <a:pt x="168708" y="375385"/>
                      </a:lnTo>
                      <a:lnTo>
                        <a:pt x="158194" y="375474"/>
                      </a:lnTo>
                      <a:lnTo>
                        <a:pt x="148081" y="375597"/>
                      </a:lnTo>
                      <a:lnTo>
                        <a:pt x="147046" y="376314"/>
                      </a:lnTo>
                      <a:lnTo>
                        <a:pt x="145587" y="376306"/>
                      </a:lnTo>
                      <a:lnTo>
                        <a:pt x="144519" y="375629"/>
                      </a:lnTo>
                      <a:lnTo>
                        <a:pt x="143468" y="375686"/>
                      </a:lnTo>
                      <a:lnTo>
                        <a:pt x="141960" y="376346"/>
                      </a:lnTo>
                      <a:lnTo>
                        <a:pt x="140615" y="377716"/>
                      </a:lnTo>
                      <a:lnTo>
                        <a:pt x="136753" y="386835"/>
                      </a:lnTo>
                      <a:lnTo>
                        <a:pt x="134837" y="390731"/>
                      </a:lnTo>
                      <a:lnTo>
                        <a:pt x="133419" y="394219"/>
                      </a:lnTo>
                      <a:lnTo>
                        <a:pt x="132384" y="400209"/>
                      </a:lnTo>
                      <a:lnTo>
                        <a:pt x="131952" y="401211"/>
                      </a:lnTo>
                      <a:lnTo>
                        <a:pt x="130746" y="399141"/>
                      </a:lnTo>
                      <a:lnTo>
                        <a:pt x="128969" y="393665"/>
                      </a:lnTo>
                      <a:lnTo>
                        <a:pt x="128171" y="390551"/>
                      </a:lnTo>
                      <a:lnTo>
                        <a:pt x="127038" y="387006"/>
                      </a:lnTo>
                      <a:lnTo>
                        <a:pt x="125000" y="382565"/>
                      </a:lnTo>
                      <a:lnTo>
                        <a:pt x="122653" y="381220"/>
                      </a:lnTo>
                      <a:lnTo>
                        <a:pt x="121203" y="380796"/>
                      </a:lnTo>
                      <a:lnTo>
                        <a:pt x="119108" y="379924"/>
                      </a:lnTo>
                      <a:lnTo>
                        <a:pt x="115400" y="378865"/>
                      </a:lnTo>
                      <a:lnTo>
                        <a:pt x="113787" y="378653"/>
                      </a:lnTo>
                      <a:lnTo>
                        <a:pt x="103192" y="378506"/>
                      </a:lnTo>
                      <a:lnTo>
                        <a:pt x="102352" y="378400"/>
                      </a:lnTo>
                      <a:lnTo>
                        <a:pt x="98204" y="378881"/>
                      </a:lnTo>
                      <a:lnTo>
                        <a:pt x="96102" y="378547"/>
                      </a:lnTo>
                      <a:lnTo>
                        <a:pt x="93885" y="376078"/>
                      </a:lnTo>
                      <a:lnTo>
                        <a:pt x="88962" y="371717"/>
                      </a:lnTo>
                      <a:lnTo>
                        <a:pt x="87968" y="370332"/>
                      </a:lnTo>
                      <a:lnTo>
                        <a:pt x="86086" y="369427"/>
                      </a:lnTo>
                      <a:lnTo>
                        <a:pt x="84953" y="369313"/>
                      </a:lnTo>
                      <a:lnTo>
                        <a:pt x="84276" y="370201"/>
                      </a:lnTo>
                      <a:lnTo>
                        <a:pt x="83421" y="373828"/>
                      </a:lnTo>
                      <a:lnTo>
                        <a:pt x="82418" y="377104"/>
                      </a:lnTo>
                      <a:lnTo>
                        <a:pt x="81359" y="378995"/>
                      </a:lnTo>
                      <a:lnTo>
                        <a:pt x="77838" y="380381"/>
                      </a:lnTo>
                      <a:lnTo>
                        <a:pt x="74570" y="381848"/>
                      </a:lnTo>
                      <a:lnTo>
                        <a:pt x="72761" y="382190"/>
                      </a:lnTo>
                      <a:lnTo>
                        <a:pt x="71799" y="383828"/>
                      </a:lnTo>
                      <a:lnTo>
                        <a:pt x="71384" y="386126"/>
                      </a:lnTo>
                      <a:lnTo>
                        <a:pt x="70569" y="388196"/>
                      </a:lnTo>
                      <a:lnTo>
                        <a:pt x="65834" y="391317"/>
                      </a:lnTo>
                      <a:lnTo>
                        <a:pt x="64782" y="392630"/>
                      </a:lnTo>
                      <a:lnTo>
                        <a:pt x="64236" y="395710"/>
                      </a:lnTo>
                      <a:lnTo>
                        <a:pt x="61596" y="399524"/>
                      </a:lnTo>
                      <a:lnTo>
                        <a:pt x="60781" y="401024"/>
                      </a:lnTo>
                      <a:lnTo>
                        <a:pt x="56624" y="402067"/>
                      </a:lnTo>
                      <a:lnTo>
                        <a:pt x="51229" y="403216"/>
                      </a:lnTo>
                      <a:lnTo>
                        <a:pt x="48075" y="403126"/>
                      </a:lnTo>
                      <a:lnTo>
                        <a:pt x="45907" y="402825"/>
                      </a:lnTo>
                      <a:lnTo>
                        <a:pt x="45263" y="402149"/>
                      </a:lnTo>
                      <a:lnTo>
                        <a:pt x="43805" y="401065"/>
                      </a:lnTo>
                      <a:lnTo>
                        <a:pt x="43560" y="399858"/>
                      </a:lnTo>
                      <a:lnTo>
                        <a:pt x="43536" y="398147"/>
                      </a:lnTo>
                      <a:lnTo>
                        <a:pt x="43943" y="395074"/>
                      </a:lnTo>
                      <a:lnTo>
                        <a:pt x="43740" y="390796"/>
                      </a:lnTo>
                      <a:lnTo>
                        <a:pt x="42044" y="385833"/>
                      </a:lnTo>
                      <a:lnTo>
                        <a:pt x="42175" y="384235"/>
                      </a:lnTo>
                      <a:lnTo>
                        <a:pt x="41955" y="381799"/>
                      </a:lnTo>
                      <a:lnTo>
                        <a:pt x="41099" y="377227"/>
                      </a:lnTo>
                      <a:lnTo>
                        <a:pt x="38915" y="374928"/>
                      </a:lnTo>
                      <a:lnTo>
                        <a:pt x="38287" y="371131"/>
                      </a:lnTo>
                      <a:lnTo>
                        <a:pt x="38027" y="367797"/>
                      </a:lnTo>
                      <a:lnTo>
                        <a:pt x="36193" y="363617"/>
                      </a:lnTo>
                      <a:lnTo>
                        <a:pt x="35883" y="358303"/>
                      </a:lnTo>
                      <a:lnTo>
                        <a:pt x="35924" y="353739"/>
                      </a:lnTo>
                      <a:lnTo>
                        <a:pt x="33023" y="348458"/>
                      </a:lnTo>
                      <a:lnTo>
                        <a:pt x="30015" y="342835"/>
                      </a:lnTo>
                      <a:lnTo>
                        <a:pt x="27571" y="342077"/>
                      </a:lnTo>
                      <a:lnTo>
                        <a:pt x="26967" y="341417"/>
                      </a:lnTo>
                      <a:lnTo>
                        <a:pt x="26699" y="339787"/>
                      </a:lnTo>
                      <a:lnTo>
                        <a:pt x="26650" y="337293"/>
                      </a:lnTo>
                      <a:lnTo>
                        <a:pt x="26845" y="335785"/>
                      </a:lnTo>
                      <a:lnTo>
                        <a:pt x="28728" y="333316"/>
                      </a:lnTo>
                      <a:lnTo>
                        <a:pt x="28801" y="332949"/>
                      </a:lnTo>
                      <a:lnTo>
                        <a:pt x="28418" y="332436"/>
                      </a:lnTo>
                      <a:lnTo>
                        <a:pt x="23553" y="328760"/>
                      </a:lnTo>
                      <a:lnTo>
                        <a:pt x="22330" y="327692"/>
                      </a:lnTo>
                      <a:lnTo>
                        <a:pt x="21947" y="326381"/>
                      </a:lnTo>
                      <a:lnTo>
                        <a:pt x="21980" y="325191"/>
                      </a:lnTo>
                      <a:lnTo>
                        <a:pt x="23145" y="323993"/>
                      </a:lnTo>
                      <a:lnTo>
                        <a:pt x="23732" y="323104"/>
                      </a:lnTo>
                      <a:lnTo>
                        <a:pt x="22591" y="320472"/>
                      </a:lnTo>
                      <a:lnTo>
                        <a:pt x="22705" y="318108"/>
                      </a:lnTo>
                      <a:lnTo>
                        <a:pt x="21980" y="317082"/>
                      </a:lnTo>
                      <a:lnTo>
                        <a:pt x="22061" y="316324"/>
                      </a:lnTo>
                      <a:lnTo>
                        <a:pt x="22770" y="315672"/>
                      </a:lnTo>
                      <a:lnTo>
                        <a:pt x="25924" y="314906"/>
                      </a:lnTo>
                      <a:lnTo>
                        <a:pt x="26902" y="312510"/>
                      </a:lnTo>
                      <a:lnTo>
                        <a:pt x="26935" y="310513"/>
                      </a:lnTo>
                      <a:lnTo>
                        <a:pt x="26470" y="309095"/>
                      </a:lnTo>
                      <a:lnTo>
                        <a:pt x="23545" y="305517"/>
                      </a:lnTo>
                      <a:lnTo>
                        <a:pt x="23496" y="304922"/>
                      </a:lnTo>
                      <a:lnTo>
                        <a:pt x="26544" y="299959"/>
                      </a:lnTo>
                      <a:lnTo>
                        <a:pt x="28736" y="296691"/>
                      </a:lnTo>
                      <a:lnTo>
                        <a:pt x="29331" y="296031"/>
                      </a:lnTo>
                      <a:lnTo>
                        <a:pt x="29152" y="295322"/>
                      </a:lnTo>
                      <a:lnTo>
                        <a:pt x="28605" y="294466"/>
                      </a:lnTo>
                      <a:lnTo>
                        <a:pt x="27220" y="293195"/>
                      </a:lnTo>
                      <a:lnTo>
                        <a:pt x="25419" y="291834"/>
                      </a:lnTo>
                      <a:lnTo>
                        <a:pt x="23936" y="290163"/>
                      </a:lnTo>
                      <a:lnTo>
                        <a:pt x="21980" y="287685"/>
                      </a:lnTo>
                      <a:lnTo>
                        <a:pt x="19535" y="285567"/>
                      </a:lnTo>
                      <a:lnTo>
                        <a:pt x="17717" y="283472"/>
                      </a:lnTo>
                      <a:lnTo>
                        <a:pt x="16797" y="281712"/>
                      </a:lnTo>
                      <a:lnTo>
                        <a:pt x="16772" y="279927"/>
                      </a:lnTo>
                      <a:lnTo>
                        <a:pt x="16528" y="276944"/>
                      </a:lnTo>
                      <a:lnTo>
                        <a:pt x="15346" y="272128"/>
                      </a:lnTo>
                      <a:lnTo>
                        <a:pt x="15028" y="268860"/>
                      </a:lnTo>
                      <a:lnTo>
                        <a:pt x="14515" y="265258"/>
                      </a:lnTo>
                      <a:lnTo>
                        <a:pt x="14001" y="262910"/>
                      </a:lnTo>
                      <a:lnTo>
                        <a:pt x="13724" y="260636"/>
                      </a:lnTo>
                      <a:lnTo>
                        <a:pt x="12876" y="258183"/>
                      </a:lnTo>
                      <a:lnTo>
                        <a:pt x="12404" y="256391"/>
                      </a:lnTo>
                      <a:lnTo>
                        <a:pt x="13080" y="255119"/>
                      </a:lnTo>
                      <a:lnTo>
                        <a:pt x="13765" y="254141"/>
                      </a:lnTo>
                      <a:lnTo>
                        <a:pt x="13683" y="253505"/>
                      </a:lnTo>
                      <a:lnTo>
                        <a:pt x="9005" y="250890"/>
                      </a:lnTo>
                      <a:lnTo>
                        <a:pt x="8239" y="250213"/>
                      </a:lnTo>
                      <a:lnTo>
                        <a:pt x="7131" y="244957"/>
                      </a:lnTo>
                      <a:lnTo>
                        <a:pt x="3733" y="240295"/>
                      </a:lnTo>
                      <a:lnTo>
                        <a:pt x="3333" y="236823"/>
                      </a:lnTo>
                      <a:lnTo>
                        <a:pt x="3333" y="236782"/>
                      </a:lnTo>
                      <a:lnTo>
                        <a:pt x="3333" y="235421"/>
                      </a:lnTo>
                      <a:lnTo>
                        <a:pt x="3064" y="233229"/>
                      </a:lnTo>
                      <a:lnTo>
                        <a:pt x="2029" y="231510"/>
                      </a:lnTo>
                      <a:lnTo>
                        <a:pt x="489" y="230336"/>
                      </a:lnTo>
                      <a:lnTo>
                        <a:pt x="0" y="228934"/>
                      </a:lnTo>
                      <a:lnTo>
                        <a:pt x="513" y="227451"/>
                      </a:lnTo>
                      <a:lnTo>
                        <a:pt x="3529" y="224525"/>
                      </a:lnTo>
                      <a:lnTo>
                        <a:pt x="5134" y="224020"/>
                      </a:lnTo>
                      <a:lnTo>
                        <a:pt x="5566" y="222545"/>
                      </a:lnTo>
                      <a:lnTo>
                        <a:pt x="6544" y="221355"/>
                      </a:lnTo>
                      <a:lnTo>
                        <a:pt x="9380" y="217060"/>
                      </a:lnTo>
                      <a:lnTo>
                        <a:pt x="11059" y="214232"/>
                      </a:lnTo>
                      <a:lnTo>
                        <a:pt x="12722" y="212537"/>
                      </a:lnTo>
                      <a:lnTo>
                        <a:pt x="14653" y="211355"/>
                      </a:lnTo>
                      <a:lnTo>
                        <a:pt x="15493" y="210377"/>
                      </a:lnTo>
                      <a:lnTo>
                        <a:pt x="15061" y="207321"/>
                      </a:lnTo>
                      <a:lnTo>
                        <a:pt x="15191" y="205284"/>
                      </a:lnTo>
                      <a:lnTo>
                        <a:pt x="15859" y="203988"/>
                      </a:lnTo>
                      <a:lnTo>
                        <a:pt x="17791" y="202635"/>
                      </a:lnTo>
                      <a:lnTo>
                        <a:pt x="19535" y="201584"/>
                      </a:lnTo>
                      <a:lnTo>
                        <a:pt x="19910" y="201070"/>
                      </a:lnTo>
                      <a:lnTo>
                        <a:pt x="19755" y="200304"/>
                      </a:lnTo>
                      <a:lnTo>
                        <a:pt x="18158" y="198756"/>
                      </a:lnTo>
                      <a:lnTo>
                        <a:pt x="14865" y="197395"/>
                      </a:lnTo>
                      <a:lnTo>
                        <a:pt x="12681" y="197533"/>
                      </a:lnTo>
                      <a:lnTo>
                        <a:pt x="11344" y="196327"/>
                      </a:lnTo>
                      <a:lnTo>
                        <a:pt x="10611" y="195300"/>
                      </a:lnTo>
                      <a:lnTo>
                        <a:pt x="6292" y="182725"/>
                      </a:lnTo>
                      <a:lnTo>
                        <a:pt x="5566" y="179791"/>
                      </a:lnTo>
                      <a:lnTo>
                        <a:pt x="5631" y="178642"/>
                      </a:lnTo>
                      <a:lnTo>
                        <a:pt x="8525" y="172424"/>
                      </a:lnTo>
                      <a:lnTo>
                        <a:pt x="9706" y="170395"/>
                      </a:lnTo>
                      <a:lnTo>
                        <a:pt x="11727" y="167469"/>
                      </a:lnTo>
                      <a:lnTo>
                        <a:pt x="11369" y="166303"/>
                      </a:lnTo>
                      <a:lnTo>
                        <a:pt x="7808" y="161454"/>
                      </a:lnTo>
                      <a:lnTo>
                        <a:pt x="6715" y="159123"/>
                      </a:lnTo>
                      <a:lnTo>
                        <a:pt x="6740" y="156817"/>
                      </a:lnTo>
                      <a:lnTo>
                        <a:pt x="7090" y="154022"/>
                      </a:lnTo>
                      <a:lnTo>
                        <a:pt x="9160" y="152514"/>
                      </a:lnTo>
                      <a:lnTo>
                        <a:pt x="9747" y="150240"/>
                      </a:lnTo>
                      <a:lnTo>
                        <a:pt x="10187" y="147991"/>
                      </a:lnTo>
                      <a:lnTo>
                        <a:pt x="11067" y="147241"/>
                      </a:lnTo>
                      <a:lnTo>
                        <a:pt x="11972" y="145978"/>
                      </a:lnTo>
                      <a:lnTo>
                        <a:pt x="13040" y="144136"/>
                      </a:lnTo>
                      <a:lnTo>
                        <a:pt x="14694" y="142523"/>
                      </a:lnTo>
                      <a:lnTo>
                        <a:pt x="15680" y="141292"/>
                      </a:lnTo>
                      <a:lnTo>
                        <a:pt x="15900" y="137894"/>
                      </a:lnTo>
                      <a:lnTo>
                        <a:pt x="16707" y="136964"/>
                      </a:lnTo>
                      <a:lnTo>
                        <a:pt x="18981" y="135872"/>
                      </a:lnTo>
                      <a:lnTo>
                        <a:pt x="19217" y="134992"/>
                      </a:lnTo>
                      <a:lnTo>
                        <a:pt x="18696" y="132694"/>
                      </a:lnTo>
                      <a:lnTo>
                        <a:pt x="17563" y="130273"/>
                      </a:lnTo>
                      <a:lnTo>
                        <a:pt x="16650" y="129108"/>
                      </a:lnTo>
                      <a:lnTo>
                        <a:pt x="15435" y="123159"/>
                      </a:lnTo>
                      <a:lnTo>
                        <a:pt x="14172" y="120192"/>
                      </a:lnTo>
                      <a:lnTo>
                        <a:pt x="14694" y="119019"/>
                      </a:lnTo>
                      <a:lnTo>
                        <a:pt x="15574" y="117511"/>
                      </a:lnTo>
                      <a:lnTo>
                        <a:pt x="16422" y="114536"/>
                      </a:lnTo>
                      <a:lnTo>
                        <a:pt x="16699" y="111073"/>
                      </a:lnTo>
                      <a:lnTo>
                        <a:pt x="16495" y="98343"/>
                      </a:lnTo>
                      <a:lnTo>
                        <a:pt x="16536" y="95841"/>
                      </a:lnTo>
                      <a:lnTo>
                        <a:pt x="17652" y="94081"/>
                      </a:lnTo>
                      <a:lnTo>
                        <a:pt x="19290" y="92051"/>
                      </a:lnTo>
                      <a:lnTo>
                        <a:pt x="20676" y="91277"/>
                      </a:lnTo>
                      <a:lnTo>
                        <a:pt x="21980" y="89989"/>
                      </a:lnTo>
                      <a:lnTo>
                        <a:pt x="21890" y="87577"/>
                      </a:lnTo>
                      <a:lnTo>
                        <a:pt x="22754" y="86151"/>
                      </a:lnTo>
                      <a:lnTo>
                        <a:pt x="23813" y="84374"/>
                      </a:lnTo>
                      <a:lnTo>
                        <a:pt x="20505" y="77357"/>
                      </a:lnTo>
                      <a:lnTo>
                        <a:pt x="17595" y="71196"/>
                      </a:lnTo>
                      <a:lnTo>
                        <a:pt x="14865" y="65410"/>
                      </a:lnTo>
                      <a:lnTo>
                        <a:pt x="11703" y="58711"/>
                      </a:lnTo>
                      <a:lnTo>
                        <a:pt x="9617" y="54310"/>
                      </a:lnTo>
                      <a:lnTo>
                        <a:pt x="7033" y="48833"/>
                      </a:lnTo>
                      <a:lnTo>
                        <a:pt x="4759" y="44033"/>
                      </a:lnTo>
                      <a:lnTo>
                        <a:pt x="1654" y="37472"/>
                      </a:lnTo>
                      <a:lnTo>
                        <a:pt x="4539" y="37366"/>
                      </a:lnTo>
                      <a:lnTo>
                        <a:pt x="10342" y="37595"/>
                      </a:lnTo>
                      <a:lnTo>
                        <a:pt x="15973" y="38760"/>
                      </a:lnTo>
                      <a:lnTo>
                        <a:pt x="19771" y="39265"/>
                      </a:lnTo>
                      <a:lnTo>
                        <a:pt x="21368" y="40276"/>
                      </a:lnTo>
                      <a:lnTo>
                        <a:pt x="21719" y="41889"/>
                      </a:lnTo>
                      <a:lnTo>
                        <a:pt x="22770" y="42631"/>
                      </a:lnTo>
                      <a:lnTo>
                        <a:pt x="23985" y="42338"/>
                      </a:lnTo>
                      <a:lnTo>
                        <a:pt x="25362" y="42232"/>
                      </a:lnTo>
                      <a:lnTo>
                        <a:pt x="28451" y="40586"/>
                      </a:lnTo>
                      <a:lnTo>
                        <a:pt x="30936" y="39502"/>
                      </a:lnTo>
                      <a:lnTo>
                        <a:pt x="33096" y="38190"/>
                      </a:lnTo>
                      <a:lnTo>
                        <a:pt x="34196" y="36910"/>
                      </a:lnTo>
                      <a:lnTo>
                        <a:pt x="36877" y="32436"/>
                      </a:lnTo>
                      <a:lnTo>
                        <a:pt x="39037" y="29967"/>
                      </a:lnTo>
                      <a:lnTo>
                        <a:pt x="41018" y="29095"/>
                      </a:lnTo>
                      <a:lnTo>
                        <a:pt x="44905" y="28744"/>
                      </a:lnTo>
                      <a:lnTo>
                        <a:pt x="46128" y="29437"/>
                      </a:lnTo>
                      <a:lnTo>
                        <a:pt x="47709" y="29363"/>
                      </a:lnTo>
                      <a:lnTo>
                        <a:pt x="49078" y="26821"/>
                      </a:lnTo>
                      <a:lnTo>
                        <a:pt x="51164" y="24009"/>
                      </a:lnTo>
                      <a:lnTo>
                        <a:pt x="55271" y="20505"/>
                      </a:lnTo>
                      <a:lnTo>
                        <a:pt x="57366" y="19535"/>
                      </a:lnTo>
                      <a:lnTo>
                        <a:pt x="58654" y="18313"/>
                      </a:lnTo>
                      <a:lnTo>
                        <a:pt x="60887" y="18141"/>
                      </a:lnTo>
                      <a:lnTo>
                        <a:pt x="62851" y="16845"/>
                      </a:lnTo>
                      <a:lnTo>
                        <a:pt x="72312" y="8003"/>
                      </a:lnTo>
                      <a:lnTo>
                        <a:pt x="76143" y="5721"/>
                      </a:lnTo>
                      <a:lnTo>
                        <a:pt x="78531" y="5297"/>
                      </a:lnTo>
                      <a:lnTo>
                        <a:pt x="80511" y="4768"/>
                      </a:lnTo>
                      <a:lnTo>
                        <a:pt x="83877" y="3488"/>
                      </a:lnTo>
                      <a:lnTo>
                        <a:pt x="92279" y="2266"/>
                      </a:lnTo>
                      <a:lnTo>
                        <a:pt x="97683" y="1752"/>
                      </a:lnTo>
                      <a:lnTo>
                        <a:pt x="99419" y="2983"/>
                      </a:lnTo>
                      <a:lnTo>
                        <a:pt x="101358" y="2624"/>
                      </a:lnTo>
                      <a:lnTo>
                        <a:pt x="103012" y="644"/>
                      </a:lnTo>
                      <a:lnTo>
                        <a:pt x="104390" y="0"/>
                      </a:lnTo>
                      <a:lnTo>
                        <a:pt x="105392" y="65"/>
                      </a:lnTo>
                      <a:lnTo>
                        <a:pt x="106835" y="2412"/>
                      </a:lnTo>
                      <a:lnTo>
                        <a:pt x="107544" y="4898"/>
                      </a:lnTo>
                      <a:lnTo>
                        <a:pt x="107079" y="6797"/>
                      </a:lnTo>
                      <a:lnTo>
                        <a:pt x="107169" y="9551"/>
                      </a:lnTo>
                      <a:lnTo>
                        <a:pt x="107813" y="13162"/>
                      </a:lnTo>
                      <a:lnTo>
                        <a:pt x="107454" y="16381"/>
                      </a:lnTo>
                      <a:lnTo>
                        <a:pt x="105409" y="20578"/>
                      </a:lnTo>
                      <a:lnTo>
                        <a:pt x="104382" y="22289"/>
                      </a:lnTo>
                      <a:lnTo>
                        <a:pt x="104129" y="24058"/>
                      </a:lnTo>
                      <a:lnTo>
                        <a:pt x="104300" y="26430"/>
                      </a:lnTo>
                      <a:lnTo>
                        <a:pt x="105246" y="30325"/>
                      </a:lnTo>
                      <a:lnTo>
                        <a:pt x="106933" y="35696"/>
                      </a:lnTo>
                      <a:lnTo>
                        <a:pt x="107185" y="39681"/>
                      </a:lnTo>
                      <a:lnTo>
                        <a:pt x="105995" y="42273"/>
                      </a:lnTo>
                      <a:lnTo>
                        <a:pt x="105458" y="44497"/>
                      </a:lnTo>
                      <a:lnTo>
                        <a:pt x="105547" y="46380"/>
                      </a:lnTo>
                      <a:lnTo>
                        <a:pt x="105979" y="47692"/>
                      </a:lnTo>
                      <a:lnTo>
                        <a:pt x="106729" y="48442"/>
                      </a:lnTo>
                      <a:lnTo>
                        <a:pt x="107145" y="49958"/>
                      </a:lnTo>
                      <a:lnTo>
                        <a:pt x="107234" y="52199"/>
                      </a:lnTo>
                      <a:lnTo>
                        <a:pt x="108220" y="54383"/>
                      </a:lnTo>
                      <a:lnTo>
                        <a:pt x="110103" y="56494"/>
                      </a:lnTo>
                      <a:lnTo>
                        <a:pt x="110869" y="58499"/>
                      </a:lnTo>
                      <a:lnTo>
                        <a:pt x="110519" y="60406"/>
                      </a:lnTo>
                      <a:lnTo>
                        <a:pt x="110616" y="61596"/>
                      </a:lnTo>
                      <a:lnTo>
                        <a:pt x="111170" y="62068"/>
                      </a:lnTo>
                      <a:lnTo>
                        <a:pt x="111684" y="61677"/>
                      </a:lnTo>
                      <a:lnTo>
                        <a:pt x="112360" y="61156"/>
                      </a:lnTo>
                      <a:lnTo>
                        <a:pt x="112980" y="61343"/>
                      </a:lnTo>
                      <a:lnTo>
                        <a:pt x="114300" y="64016"/>
                      </a:lnTo>
                      <a:lnTo>
                        <a:pt x="114471" y="64554"/>
                      </a:lnTo>
                      <a:lnTo>
                        <a:pt x="115188" y="66755"/>
                      </a:lnTo>
                      <a:lnTo>
                        <a:pt x="115408" y="68425"/>
                      </a:lnTo>
                      <a:lnTo>
                        <a:pt x="117348" y="69362"/>
                      </a:lnTo>
                      <a:lnTo>
                        <a:pt x="119434" y="70096"/>
                      </a:lnTo>
                      <a:lnTo>
                        <a:pt x="120583" y="70968"/>
                      </a:lnTo>
                      <a:lnTo>
                        <a:pt x="122906" y="73608"/>
                      </a:lnTo>
                      <a:lnTo>
                        <a:pt x="124846" y="75344"/>
                      </a:lnTo>
                      <a:lnTo>
                        <a:pt x="127282" y="76771"/>
                      </a:lnTo>
                      <a:lnTo>
                        <a:pt x="128097" y="79053"/>
                      </a:lnTo>
                      <a:lnTo>
                        <a:pt x="129589" y="82483"/>
                      </a:lnTo>
                      <a:lnTo>
                        <a:pt x="133696" y="83812"/>
                      </a:lnTo>
                      <a:lnTo>
                        <a:pt x="138488" y="84464"/>
                      </a:lnTo>
                      <a:lnTo>
                        <a:pt x="141544" y="85205"/>
                      </a:lnTo>
                      <a:lnTo>
                        <a:pt x="145277" y="83380"/>
                      </a:lnTo>
                      <a:lnTo>
                        <a:pt x="147746" y="83657"/>
                      </a:lnTo>
                      <a:lnTo>
                        <a:pt x="150297" y="84887"/>
                      </a:lnTo>
                      <a:lnTo>
                        <a:pt x="151381" y="85735"/>
                      </a:lnTo>
                      <a:lnTo>
                        <a:pt x="153288" y="87512"/>
                      </a:lnTo>
                      <a:lnTo>
                        <a:pt x="156222" y="89777"/>
                      </a:lnTo>
                      <a:lnTo>
                        <a:pt x="158626" y="90617"/>
                      </a:lnTo>
                      <a:lnTo>
                        <a:pt x="160338" y="89362"/>
                      </a:lnTo>
                      <a:lnTo>
                        <a:pt x="161927" y="88914"/>
                      </a:lnTo>
                      <a:lnTo>
                        <a:pt x="163149" y="89443"/>
                      </a:lnTo>
                      <a:lnTo>
                        <a:pt x="163793" y="91905"/>
                      </a:lnTo>
                      <a:lnTo>
                        <a:pt x="164445" y="93583"/>
                      </a:lnTo>
                      <a:lnTo>
                        <a:pt x="165871" y="94838"/>
                      </a:lnTo>
                      <a:lnTo>
                        <a:pt x="168911" y="98066"/>
                      </a:lnTo>
                      <a:lnTo>
                        <a:pt x="170647" y="99394"/>
                      </a:lnTo>
                      <a:lnTo>
                        <a:pt x="172587" y="99304"/>
                      </a:lnTo>
                      <a:lnTo>
                        <a:pt x="176597" y="101415"/>
                      </a:lnTo>
                      <a:lnTo>
                        <a:pt x="180875" y="103485"/>
                      </a:lnTo>
                      <a:lnTo>
                        <a:pt x="183076" y="103828"/>
                      </a:lnTo>
                      <a:lnTo>
                        <a:pt x="185260" y="103526"/>
                      </a:lnTo>
                      <a:lnTo>
                        <a:pt x="186694" y="104325"/>
                      </a:lnTo>
                      <a:lnTo>
                        <a:pt x="187273" y="106818"/>
                      </a:lnTo>
                      <a:lnTo>
                        <a:pt x="190997" y="111806"/>
                      </a:lnTo>
                      <a:lnTo>
                        <a:pt x="192741" y="113746"/>
                      </a:lnTo>
                      <a:lnTo>
                        <a:pt x="194836" y="115416"/>
                      </a:lnTo>
                      <a:lnTo>
                        <a:pt x="200149" y="115400"/>
                      </a:lnTo>
                      <a:lnTo>
                        <a:pt x="201738" y="115897"/>
                      </a:lnTo>
                      <a:lnTo>
                        <a:pt x="204110" y="115457"/>
                      </a:lnTo>
                      <a:lnTo>
                        <a:pt x="211225" y="114610"/>
                      </a:lnTo>
                      <a:lnTo>
                        <a:pt x="212512" y="114333"/>
                      </a:lnTo>
                      <a:lnTo>
                        <a:pt x="216546" y="116508"/>
                      </a:lnTo>
                      <a:lnTo>
                        <a:pt x="221314" y="119638"/>
                      </a:lnTo>
                      <a:lnTo>
                        <a:pt x="224468" y="122099"/>
                      </a:lnTo>
                      <a:lnTo>
                        <a:pt x="226668" y="123444"/>
                      </a:lnTo>
                      <a:lnTo>
                        <a:pt x="227817" y="125653"/>
                      </a:lnTo>
                      <a:lnTo>
                        <a:pt x="228755" y="127943"/>
                      </a:lnTo>
                      <a:lnTo>
                        <a:pt x="229187" y="130420"/>
                      </a:lnTo>
                      <a:lnTo>
                        <a:pt x="228616" y="132873"/>
                      </a:lnTo>
                      <a:lnTo>
                        <a:pt x="227744" y="133859"/>
                      </a:lnTo>
                      <a:lnTo>
                        <a:pt x="227459" y="135440"/>
                      </a:lnTo>
                      <a:lnTo>
                        <a:pt x="227817" y="137828"/>
                      </a:lnTo>
                      <a:lnTo>
                        <a:pt x="229407" y="139955"/>
                      </a:lnTo>
                      <a:lnTo>
                        <a:pt x="229985" y="142563"/>
                      </a:lnTo>
                      <a:lnTo>
                        <a:pt x="230849" y="147184"/>
                      </a:lnTo>
                      <a:lnTo>
                        <a:pt x="231819" y="148643"/>
                      </a:lnTo>
                      <a:lnTo>
                        <a:pt x="232455" y="162962"/>
                      </a:lnTo>
                      <a:lnTo>
                        <a:pt x="229260" y="163084"/>
                      </a:lnTo>
                      <a:lnTo>
                        <a:pt x="224761" y="163247"/>
                      </a:lnTo>
                      <a:lnTo>
                        <a:pt x="226074" y="164608"/>
                      </a:lnTo>
                      <a:lnTo>
                        <a:pt x="229790" y="169963"/>
                      </a:lnTo>
                      <a:lnTo>
                        <a:pt x="233221" y="174869"/>
                      </a:lnTo>
                      <a:lnTo>
                        <a:pt x="233767" y="182774"/>
                      </a:lnTo>
                      <a:lnTo>
                        <a:pt x="234101" y="187753"/>
                      </a:lnTo>
                      <a:lnTo>
                        <a:pt x="234582" y="194787"/>
                      </a:lnTo>
                      <a:lnTo>
                        <a:pt x="234875" y="198968"/>
                      </a:lnTo>
                      <a:lnTo>
                        <a:pt x="243416" y="199359"/>
                      </a:lnTo>
                      <a:lnTo>
                        <a:pt x="253261" y="199783"/>
                      </a:lnTo>
                      <a:lnTo>
                        <a:pt x="265086" y="200312"/>
                      </a:lnTo>
                      <a:lnTo>
                        <a:pt x="275493" y="200777"/>
                      </a:lnTo>
                      <a:lnTo>
                        <a:pt x="276520" y="200728"/>
                      </a:lnTo>
                      <a:lnTo>
                        <a:pt x="278322" y="200157"/>
                      </a:lnTo>
                      <a:lnTo>
                        <a:pt x="279528" y="199408"/>
                      </a:lnTo>
                      <a:lnTo>
                        <a:pt x="280261" y="199440"/>
                      </a:lnTo>
                      <a:lnTo>
                        <a:pt x="280383" y="201135"/>
                      </a:lnTo>
                      <a:lnTo>
                        <a:pt x="280139" y="203279"/>
                      </a:lnTo>
                      <a:lnTo>
                        <a:pt x="280147" y="205740"/>
                      </a:lnTo>
                      <a:lnTo>
                        <a:pt x="277164" y="210622"/>
                      </a:lnTo>
                      <a:lnTo>
                        <a:pt x="276977" y="212154"/>
                      </a:lnTo>
                      <a:lnTo>
                        <a:pt x="277433" y="218584"/>
                      </a:lnTo>
                      <a:lnTo>
                        <a:pt x="278484" y="223775"/>
                      </a:lnTo>
                      <a:lnTo>
                        <a:pt x="279006" y="228486"/>
                      </a:lnTo>
                      <a:lnTo>
                        <a:pt x="280212" y="229953"/>
                      </a:lnTo>
                      <a:lnTo>
                        <a:pt x="283741" y="232447"/>
                      </a:lnTo>
                      <a:lnTo>
                        <a:pt x="289063" y="237027"/>
                      </a:lnTo>
                      <a:lnTo>
                        <a:pt x="291190" y="237630"/>
                      </a:lnTo>
                      <a:lnTo>
                        <a:pt x="292991" y="237002"/>
                      </a:lnTo>
                      <a:lnTo>
                        <a:pt x="294075" y="238869"/>
                      </a:lnTo>
                      <a:lnTo>
                        <a:pt x="294287" y="241900"/>
                      </a:lnTo>
                      <a:lnTo>
                        <a:pt x="297229" y="250360"/>
                      </a:lnTo>
                      <a:lnTo>
                        <a:pt x="299087" y="255714"/>
                      </a:lnTo>
                      <a:lnTo>
                        <a:pt x="299943" y="257589"/>
                      </a:lnTo>
                      <a:lnTo>
                        <a:pt x="301344" y="258559"/>
                      </a:lnTo>
                      <a:lnTo>
                        <a:pt x="301084" y="259251"/>
                      </a:lnTo>
                      <a:lnTo>
                        <a:pt x="299918" y="259536"/>
                      </a:lnTo>
                      <a:lnTo>
                        <a:pt x="299405" y="260539"/>
                      </a:lnTo>
                      <a:lnTo>
                        <a:pt x="297783" y="266562"/>
                      </a:lnTo>
                      <a:lnTo>
                        <a:pt x="295656" y="274491"/>
                      </a:lnTo>
                      <a:lnTo>
                        <a:pt x="294213" y="280058"/>
                      </a:lnTo>
                      <a:lnTo>
                        <a:pt x="295509" y="280147"/>
                      </a:lnTo>
                      <a:lnTo>
                        <a:pt x="295566" y="281687"/>
                      </a:lnTo>
                      <a:lnTo>
                        <a:pt x="295860" y="284059"/>
                      </a:lnTo>
                      <a:lnTo>
                        <a:pt x="294254" y="284352"/>
                      </a:lnTo>
                      <a:lnTo>
                        <a:pt x="293782" y="285184"/>
                      </a:lnTo>
                      <a:lnTo>
                        <a:pt x="291948" y="289772"/>
                      </a:lnTo>
                      <a:lnTo>
                        <a:pt x="289536" y="295770"/>
                      </a:lnTo>
                      <a:lnTo>
                        <a:pt x="287050" y="301972"/>
                      </a:lnTo>
                      <a:lnTo>
                        <a:pt x="285575" y="305639"/>
                      </a:lnTo>
                      <a:lnTo>
                        <a:pt x="288093" y="308361"/>
                      </a:lnTo>
                      <a:lnTo>
                        <a:pt x="292290" y="312893"/>
                      </a:lnTo>
                      <a:lnTo>
                        <a:pt x="291622" y="314148"/>
                      </a:lnTo>
                      <a:lnTo>
                        <a:pt x="289821" y="314775"/>
                      </a:lnTo>
                      <a:lnTo>
                        <a:pt x="288313" y="315223"/>
                      </a:lnTo>
                      <a:lnTo>
                        <a:pt x="287156" y="316935"/>
                      </a:lnTo>
                      <a:lnTo>
                        <a:pt x="286504" y="318182"/>
                      </a:lnTo>
                      <a:close/>
                    </a:path>
                  </a:pathLst>
                </a:custGeom>
                <a:solidFill>
                  <a:srgbClr val="D6D6D2"/>
                </a:solidFill>
                <a:ln w="6112" cap="rnd">
                  <a:solidFill>
                    <a:srgbClr val="FFFFFF"/>
                  </a:solidFill>
                  <a:prstDash val="solid"/>
                  <a:round/>
                </a:ln>
              </p:spPr>
              <p:txBody>
                <a:bodyPr rtlCol="0" anchor="ctr"/>
                <a:lstStyle/>
                <a:p>
                  <a:endParaRPr lang="en-US"/>
                </a:p>
              </p:txBody>
            </p:sp>
            <p:sp>
              <p:nvSpPr>
                <p:cNvPr id="770" name="Freeform: Shape 769">
                  <a:extLst>
                    <a:ext uri="{FF2B5EF4-FFF2-40B4-BE49-F238E27FC236}">
                      <a16:creationId xmlns:a16="http://schemas.microsoft.com/office/drawing/2014/main" id="{B517BD09-5779-43D7-8742-674D5A9BA342}"/>
                    </a:ext>
                  </a:extLst>
                </p:cNvPr>
                <p:cNvSpPr/>
                <p:nvPr/>
              </p:nvSpPr>
              <p:spPr>
                <a:xfrm>
                  <a:off x="3730328" y="3966313"/>
                  <a:ext cx="28581" cy="79427"/>
                </a:xfrm>
                <a:custGeom>
                  <a:avLst/>
                  <a:gdLst>
                    <a:gd name="connsiteX0" fmla="*/ 22037 w 28581"/>
                    <a:gd name="connsiteY0" fmla="*/ 3790 h 79427"/>
                    <a:gd name="connsiteX1" fmla="*/ 23365 w 28581"/>
                    <a:gd name="connsiteY1" fmla="*/ 4246 h 79427"/>
                    <a:gd name="connsiteX2" fmla="*/ 24572 w 28581"/>
                    <a:gd name="connsiteY2" fmla="*/ 3912 h 79427"/>
                    <a:gd name="connsiteX3" fmla="*/ 27465 w 28581"/>
                    <a:gd name="connsiteY3" fmla="*/ 4034 h 79427"/>
                    <a:gd name="connsiteX4" fmla="*/ 28581 w 28581"/>
                    <a:gd name="connsiteY4" fmla="*/ 7864 h 79427"/>
                    <a:gd name="connsiteX5" fmla="*/ 28288 w 28581"/>
                    <a:gd name="connsiteY5" fmla="*/ 11075 h 79427"/>
                    <a:gd name="connsiteX6" fmla="*/ 25549 w 28581"/>
                    <a:gd name="connsiteY6" fmla="*/ 19527 h 79427"/>
                    <a:gd name="connsiteX7" fmla="*/ 25207 w 28581"/>
                    <a:gd name="connsiteY7" fmla="*/ 22436 h 79427"/>
                    <a:gd name="connsiteX8" fmla="*/ 23952 w 28581"/>
                    <a:gd name="connsiteY8" fmla="*/ 26780 h 79427"/>
                    <a:gd name="connsiteX9" fmla="*/ 25647 w 28581"/>
                    <a:gd name="connsiteY9" fmla="*/ 29641 h 79427"/>
                    <a:gd name="connsiteX10" fmla="*/ 24066 w 28581"/>
                    <a:gd name="connsiteY10" fmla="*/ 33438 h 79427"/>
                    <a:gd name="connsiteX11" fmla="*/ 23528 w 28581"/>
                    <a:gd name="connsiteY11" fmla="*/ 35883 h 79427"/>
                    <a:gd name="connsiteX12" fmla="*/ 23398 w 28581"/>
                    <a:gd name="connsiteY12" fmla="*/ 39575 h 79427"/>
                    <a:gd name="connsiteX13" fmla="*/ 24197 w 28581"/>
                    <a:gd name="connsiteY13" fmla="*/ 46584 h 79427"/>
                    <a:gd name="connsiteX14" fmla="*/ 22917 w 28581"/>
                    <a:gd name="connsiteY14" fmla="*/ 56689 h 79427"/>
                    <a:gd name="connsiteX15" fmla="*/ 20660 w 28581"/>
                    <a:gd name="connsiteY15" fmla="*/ 61098 h 79427"/>
                    <a:gd name="connsiteX16" fmla="*/ 19258 w 28581"/>
                    <a:gd name="connsiteY16" fmla="*/ 62777 h 79427"/>
                    <a:gd name="connsiteX17" fmla="*/ 16748 w 28581"/>
                    <a:gd name="connsiteY17" fmla="*/ 67154 h 79427"/>
                    <a:gd name="connsiteX18" fmla="*/ 13455 w 28581"/>
                    <a:gd name="connsiteY18" fmla="*/ 68466 h 79427"/>
                    <a:gd name="connsiteX19" fmla="*/ 8891 w 28581"/>
                    <a:gd name="connsiteY19" fmla="*/ 75515 h 79427"/>
                    <a:gd name="connsiteX20" fmla="*/ 8076 w 28581"/>
                    <a:gd name="connsiteY20" fmla="*/ 77365 h 79427"/>
                    <a:gd name="connsiteX21" fmla="*/ 8517 w 28581"/>
                    <a:gd name="connsiteY21" fmla="*/ 79370 h 79427"/>
                    <a:gd name="connsiteX22" fmla="*/ 7449 w 28581"/>
                    <a:gd name="connsiteY22" fmla="*/ 79395 h 79427"/>
                    <a:gd name="connsiteX23" fmla="*/ 3073 w 28581"/>
                    <a:gd name="connsiteY23" fmla="*/ 79060 h 79427"/>
                    <a:gd name="connsiteX24" fmla="*/ 114 w 28581"/>
                    <a:gd name="connsiteY24" fmla="*/ 79427 h 79427"/>
                    <a:gd name="connsiteX25" fmla="*/ 0 w 28581"/>
                    <a:gd name="connsiteY25" fmla="*/ 79256 h 79427"/>
                    <a:gd name="connsiteX26" fmla="*/ 244 w 28581"/>
                    <a:gd name="connsiteY26" fmla="*/ 71669 h 79427"/>
                    <a:gd name="connsiteX27" fmla="*/ 619 w 28581"/>
                    <a:gd name="connsiteY27" fmla="*/ 59933 h 79427"/>
                    <a:gd name="connsiteX28" fmla="*/ 897 w 28581"/>
                    <a:gd name="connsiteY28" fmla="*/ 51311 h 79427"/>
                    <a:gd name="connsiteX29" fmla="*/ 1165 w 28581"/>
                    <a:gd name="connsiteY29" fmla="*/ 42867 h 79427"/>
                    <a:gd name="connsiteX30" fmla="*/ 1369 w 28581"/>
                    <a:gd name="connsiteY30" fmla="*/ 36551 h 79427"/>
                    <a:gd name="connsiteX31" fmla="*/ 1646 w 28581"/>
                    <a:gd name="connsiteY31" fmla="*/ 27937 h 79427"/>
                    <a:gd name="connsiteX32" fmla="*/ 1891 w 28581"/>
                    <a:gd name="connsiteY32" fmla="*/ 20496 h 79427"/>
                    <a:gd name="connsiteX33" fmla="*/ 1866 w 28581"/>
                    <a:gd name="connsiteY33" fmla="*/ 17823 h 79427"/>
                    <a:gd name="connsiteX34" fmla="*/ 2575 w 28581"/>
                    <a:gd name="connsiteY34" fmla="*/ 15713 h 79427"/>
                    <a:gd name="connsiteX35" fmla="*/ 4637 w 28581"/>
                    <a:gd name="connsiteY35" fmla="*/ 14824 h 79427"/>
                    <a:gd name="connsiteX36" fmla="*/ 7310 w 28581"/>
                    <a:gd name="connsiteY36" fmla="*/ 16666 h 79427"/>
                    <a:gd name="connsiteX37" fmla="*/ 8419 w 28581"/>
                    <a:gd name="connsiteY37" fmla="*/ 17440 h 79427"/>
                    <a:gd name="connsiteX38" fmla="*/ 9429 w 28581"/>
                    <a:gd name="connsiteY38" fmla="*/ 17000 h 79427"/>
                    <a:gd name="connsiteX39" fmla="*/ 10693 w 28581"/>
                    <a:gd name="connsiteY39" fmla="*/ 15876 h 79427"/>
                    <a:gd name="connsiteX40" fmla="*/ 12249 w 28581"/>
                    <a:gd name="connsiteY40" fmla="*/ 12616 h 79427"/>
                    <a:gd name="connsiteX41" fmla="*/ 16153 w 28581"/>
                    <a:gd name="connsiteY41" fmla="*/ 5892 h 79427"/>
                    <a:gd name="connsiteX42" fmla="*/ 17718 w 28581"/>
                    <a:gd name="connsiteY42" fmla="*/ 1125 h 79427"/>
                    <a:gd name="connsiteX43" fmla="*/ 19250 w 28581"/>
                    <a:gd name="connsiteY43" fmla="*/ 171 h 79427"/>
                    <a:gd name="connsiteX44" fmla="*/ 21450 w 28581"/>
                    <a:gd name="connsiteY44" fmla="*/ 0 h 79427"/>
                    <a:gd name="connsiteX45" fmla="*/ 23349 w 28581"/>
                    <a:gd name="connsiteY45" fmla="*/ 310 h 79427"/>
                    <a:gd name="connsiteX46" fmla="*/ 22037 w 28581"/>
                    <a:gd name="connsiteY46" fmla="*/ 3790 h 79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8581" h="79427">
                      <a:moveTo>
                        <a:pt x="22037" y="3790"/>
                      </a:moveTo>
                      <a:lnTo>
                        <a:pt x="23365" y="4246"/>
                      </a:lnTo>
                      <a:lnTo>
                        <a:pt x="24572" y="3912"/>
                      </a:lnTo>
                      <a:lnTo>
                        <a:pt x="27465" y="4034"/>
                      </a:lnTo>
                      <a:lnTo>
                        <a:pt x="28581" y="7864"/>
                      </a:lnTo>
                      <a:lnTo>
                        <a:pt x="28288" y="11075"/>
                      </a:lnTo>
                      <a:lnTo>
                        <a:pt x="25549" y="19527"/>
                      </a:lnTo>
                      <a:lnTo>
                        <a:pt x="25207" y="22436"/>
                      </a:lnTo>
                      <a:lnTo>
                        <a:pt x="23952" y="26780"/>
                      </a:lnTo>
                      <a:lnTo>
                        <a:pt x="25647" y="29641"/>
                      </a:lnTo>
                      <a:lnTo>
                        <a:pt x="24066" y="33438"/>
                      </a:lnTo>
                      <a:lnTo>
                        <a:pt x="23528" y="35883"/>
                      </a:lnTo>
                      <a:lnTo>
                        <a:pt x="23398" y="39575"/>
                      </a:lnTo>
                      <a:lnTo>
                        <a:pt x="24197" y="46584"/>
                      </a:lnTo>
                      <a:lnTo>
                        <a:pt x="22917" y="56689"/>
                      </a:lnTo>
                      <a:lnTo>
                        <a:pt x="20660" y="61098"/>
                      </a:lnTo>
                      <a:lnTo>
                        <a:pt x="19258" y="62777"/>
                      </a:lnTo>
                      <a:lnTo>
                        <a:pt x="16748" y="67154"/>
                      </a:lnTo>
                      <a:lnTo>
                        <a:pt x="13455" y="68466"/>
                      </a:lnTo>
                      <a:lnTo>
                        <a:pt x="8891" y="75515"/>
                      </a:lnTo>
                      <a:lnTo>
                        <a:pt x="8076" y="77365"/>
                      </a:lnTo>
                      <a:lnTo>
                        <a:pt x="8517" y="79370"/>
                      </a:lnTo>
                      <a:lnTo>
                        <a:pt x="7449" y="79395"/>
                      </a:lnTo>
                      <a:lnTo>
                        <a:pt x="3073" y="79060"/>
                      </a:lnTo>
                      <a:lnTo>
                        <a:pt x="114" y="79427"/>
                      </a:lnTo>
                      <a:lnTo>
                        <a:pt x="0" y="79256"/>
                      </a:lnTo>
                      <a:lnTo>
                        <a:pt x="244" y="71669"/>
                      </a:lnTo>
                      <a:lnTo>
                        <a:pt x="619" y="59933"/>
                      </a:lnTo>
                      <a:lnTo>
                        <a:pt x="897" y="51311"/>
                      </a:lnTo>
                      <a:lnTo>
                        <a:pt x="1165" y="42867"/>
                      </a:lnTo>
                      <a:lnTo>
                        <a:pt x="1369" y="36551"/>
                      </a:lnTo>
                      <a:lnTo>
                        <a:pt x="1646" y="27937"/>
                      </a:lnTo>
                      <a:lnTo>
                        <a:pt x="1891" y="20496"/>
                      </a:lnTo>
                      <a:lnTo>
                        <a:pt x="1866" y="17823"/>
                      </a:lnTo>
                      <a:lnTo>
                        <a:pt x="2575" y="15713"/>
                      </a:lnTo>
                      <a:lnTo>
                        <a:pt x="4637" y="14824"/>
                      </a:lnTo>
                      <a:lnTo>
                        <a:pt x="7310" y="16666"/>
                      </a:lnTo>
                      <a:lnTo>
                        <a:pt x="8419" y="17440"/>
                      </a:lnTo>
                      <a:lnTo>
                        <a:pt x="9429" y="17000"/>
                      </a:lnTo>
                      <a:lnTo>
                        <a:pt x="10693" y="15876"/>
                      </a:lnTo>
                      <a:lnTo>
                        <a:pt x="12249" y="12616"/>
                      </a:lnTo>
                      <a:lnTo>
                        <a:pt x="16153" y="5892"/>
                      </a:lnTo>
                      <a:lnTo>
                        <a:pt x="17718" y="1125"/>
                      </a:lnTo>
                      <a:lnTo>
                        <a:pt x="19250" y="171"/>
                      </a:lnTo>
                      <a:lnTo>
                        <a:pt x="21450" y="0"/>
                      </a:lnTo>
                      <a:lnTo>
                        <a:pt x="23349" y="310"/>
                      </a:lnTo>
                      <a:lnTo>
                        <a:pt x="22037" y="3790"/>
                      </a:lnTo>
                      <a:close/>
                    </a:path>
                  </a:pathLst>
                </a:custGeom>
                <a:solidFill>
                  <a:srgbClr val="D6D6D2"/>
                </a:solidFill>
                <a:ln w="8150" cap="flat">
                  <a:noFill/>
                  <a:prstDash val="solid"/>
                  <a:miter/>
                </a:ln>
              </p:spPr>
              <p:txBody>
                <a:bodyPr rtlCol="0" anchor="ctr"/>
                <a:lstStyle/>
                <a:p>
                  <a:endParaRPr lang="en-US"/>
                </a:p>
              </p:txBody>
            </p:sp>
            <p:sp>
              <p:nvSpPr>
                <p:cNvPr id="771" name="Freeform: Shape 770">
                  <a:extLst>
                    <a:ext uri="{FF2B5EF4-FFF2-40B4-BE49-F238E27FC236}">
                      <a16:creationId xmlns:a16="http://schemas.microsoft.com/office/drawing/2014/main" id="{B6830DE6-D737-456B-80D5-8989994F553D}"/>
                    </a:ext>
                  </a:extLst>
                </p:cNvPr>
                <p:cNvSpPr/>
                <p:nvPr/>
              </p:nvSpPr>
              <p:spPr>
                <a:xfrm>
                  <a:off x="6518425" y="2694743"/>
                  <a:ext cx="236496" cy="183621"/>
                </a:xfrm>
                <a:custGeom>
                  <a:avLst/>
                  <a:gdLst>
                    <a:gd name="connsiteX0" fmla="*/ 123338 w 236496"/>
                    <a:gd name="connsiteY0" fmla="*/ 106 h 183621"/>
                    <a:gd name="connsiteX1" fmla="*/ 126720 w 236496"/>
                    <a:gd name="connsiteY1" fmla="*/ 3447 h 183621"/>
                    <a:gd name="connsiteX2" fmla="*/ 127511 w 236496"/>
                    <a:gd name="connsiteY2" fmla="*/ 3586 h 183621"/>
                    <a:gd name="connsiteX3" fmla="*/ 129393 w 236496"/>
                    <a:gd name="connsiteY3" fmla="*/ 2266 h 183621"/>
                    <a:gd name="connsiteX4" fmla="*/ 129760 w 236496"/>
                    <a:gd name="connsiteY4" fmla="*/ 2176 h 183621"/>
                    <a:gd name="connsiteX5" fmla="*/ 133655 w 236496"/>
                    <a:gd name="connsiteY5" fmla="*/ 2062 h 183621"/>
                    <a:gd name="connsiteX6" fmla="*/ 135465 w 236496"/>
                    <a:gd name="connsiteY6" fmla="*/ 3219 h 183621"/>
                    <a:gd name="connsiteX7" fmla="*/ 136802 w 236496"/>
                    <a:gd name="connsiteY7" fmla="*/ 5493 h 183621"/>
                    <a:gd name="connsiteX8" fmla="*/ 138040 w 236496"/>
                    <a:gd name="connsiteY8" fmla="*/ 7310 h 183621"/>
                    <a:gd name="connsiteX9" fmla="*/ 139385 w 236496"/>
                    <a:gd name="connsiteY9" fmla="*/ 7807 h 183621"/>
                    <a:gd name="connsiteX10" fmla="*/ 143166 w 236496"/>
                    <a:gd name="connsiteY10" fmla="*/ 5517 h 183621"/>
                    <a:gd name="connsiteX11" fmla="*/ 145253 w 236496"/>
                    <a:gd name="connsiteY11" fmla="*/ 4759 h 183621"/>
                    <a:gd name="connsiteX12" fmla="*/ 146638 w 236496"/>
                    <a:gd name="connsiteY12" fmla="*/ 4784 h 183621"/>
                    <a:gd name="connsiteX13" fmla="*/ 151495 w 236496"/>
                    <a:gd name="connsiteY13" fmla="*/ 6829 h 183621"/>
                    <a:gd name="connsiteX14" fmla="*/ 153769 w 236496"/>
                    <a:gd name="connsiteY14" fmla="*/ 7946 h 183621"/>
                    <a:gd name="connsiteX15" fmla="*/ 154299 w 236496"/>
                    <a:gd name="connsiteY15" fmla="*/ 8965 h 183621"/>
                    <a:gd name="connsiteX16" fmla="*/ 154340 w 236496"/>
                    <a:gd name="connsiteY16" fmla="*/ 10163 h 183621"/>
                    <a:gd name="connsiteX17" fmla="*/ 153720 w 236496"/>
                    <a:gd name="connsiteY17" fmla="*/ 11939 h 183621"/>
                    <a:gd name="connsiteX18" fmla="*/ 153239 w 236496"/>
                    <a:gd name="connsiteY18" fmla="*/ 13871 h 183621"/>
                    <a:gd name="connsiteX19" fmla="*/ 154706 w 236496"/>
                    <a:gd name="connsiteY19" fmla="*/ 16153 h 183621"/>
                    <a:gd name="connsiteX20" fmla="*/ 156434 w 236496"/>
                    <a:gd name="connsiteY20" fmla="*/ 17693 h 183621"/>
                    <a:gd name="connsiteX21" fmla="*/ 160102 w 236496"/>
                    <a:gd name="connsiteY21" fmla="*/ 15150 h 183621"/>
                    <a:gd name="connsiteX22" fmla="*/ 161454 w 236496"/>
                    <a:gd name="connsiteY22" fmla="*/ 14425 h 183621"/>
                    <a:gd name="connsiteX23" fmla="*/ 162929 w 236496"/>
                    <a:gd name="connsiteY23" fmla="*/ 14401 h 183621"/>
                    <a:gd name="connsiteX24" fmla="*/ 164910 w 236496"/>
                    <a:gd name="connsiteY24" fmla="*/ 13455 h 183621"/>
                    <a:gd name="connsiteX25" fmla="*/ 166336 w 236496"/>
                    <a:gd name="connsiteY25" fmla="*/ 12029 h 183621"/>
                    <a:gd name="connsiteX26" fmla="*/ 167713 w 236496"/>
                    <a:gd name="connsiteY26" fmla="*/ 11532 h 183621"/>
                    <a:gd name="connsiteX27" fmla="*/ 170329 w 236496"/>
                    <a:gd name="connsiteY27" fmla="*/ 11874 h 183621"/>
                    <a:gd name="connsiteX28" fmla="*/ 175056 w 236496"/>
                    <a:gd name="connsiteY28" fmla="*/ 11532 h 183621"/>
                    <a:gd name="connsiteX29" fmla="*/ 180590 w 236496"/>
                    <a:gd name="connsiteY29" fmla="*/ 13773 h 183621"/>
                    <a:gd name="connsiteX30" fmla="*/ 181062 w 236496"/>
                    <a:gd name="connsiteY30" fmla="*/ 14474 h 183621"/>
                    <a:gd name="connsiteX31" fmla="*/ 183825 w 236496"/>
                    <a:gd name="connsiteY31" fmla="*/ 17090 h 183621"/>
                    <a:gd name="connsiteX32" fmla="*/ 184787 w 236496"/>
                    <a:gd name="connsiteY32" fmla="*/ 18386 h 183621"/>
                    <a:gd name="connsiteX33" fmla="*/ 185700 w 236496"/>
                    <a:gd name="connsiteY33" fmla="*/ 18801 h 183621"/>
                    <a:gd name="connsiteX34" fmla="*/ 187175 w 236496"/>
                    <a:gd name="connsiteY34" fmla="*/ 20081 h 183621"/>
                    <a:gd name="connsiteX35" fmla="*/ 189131 w 236496"/>
                    <a:gd name="connsiteY35" fmla="*/ 20888 h 183621"/>
                    <a:gd name="connsiteX36" fmla="*/ 190508 w 236496"/>
                    <a:gd name="connsiteY36" fmla="*/ 20643 h 183621"/>
                    <a:gd name="connsiteX37" fmla="*/ 191152 w 236496"/>
                    <a:gd name="connsiteY37" fmla="*/ 21067 h 183621"/>
                    <a:gd name="connsiteX38" fmla="*/ 191763 w 236496"/>
                    <a:gd name="connsiteY38" fmla="*/ 22078 h 183621"/>
                    <a:gd name="connsiteX39" fmla="*/ 191804 w 236496"/>
                    <a:gd name="connsiteY39" fmla="*/ 23789 h 183621"/>
                    <a:gd name="connsiteX40" fmla="*/ 191608 w 236496"/>
                    <a:gd name="connsiteY40" fmla="*/ 28671 h 183621"/>
                    <a:gd name="connsiteX41" fmla="*/ 190655 w 236496"/>
                    <a:gd name="connsiteY41" fmla="*/ 30089 h 183621"/>
                    <a:gd name="connsiteX42" fmla="*/ 189644 w 236496"/>
                    <a:gd name="connsiteY42" fmla="*/ 31238 h 183621"/>
                    <a:gd name="connsiteX43" fmla="*/ 189375 w 236496"/>
                    <a:gd name="connsiteY43" fmla="*/ 32126 h 183621"/>
                    <a:gd name="connsiteX44" fmla="*/ 189465 w 236496"/>
                    <a:gd name="connsiteY44" fmla="*/ 33202 h 183621"/>
                    <a:gd name="connsiteX45" fmla="*/ 191030 w 236496"/>
                    <a:gd name="connsiteY45" fmla="*/ 35313 h 183621"/>
                    <a:gd name="connsiteX46" fmla="*/ 193051 w 236496"/>
                    <a:gd name="connsiteY46" fmla="*/ 38589 h 183621"/>
                    <a:gd name="connsiteX47" fmla="*/ 193523 w 236496"/>
                    <a:gd name="connsiteY47" fmla="*/ 40480 h 183621"/>
                    <a:gd name="connsiteX48" fmla="*/ 193523 w 236496"/>
                    <a:gd name="connsiteY48" fmla="*/ 41898 h 183621"/>
                    <a:gd name="connsiteX49" fmla="*/ 190761 w 236496"/>
                    <a:gd name="connsiteY49" fmla="*/ 46079 h 183621"/>
                    <a:gd name="connsiteX50" fmla="*/ 189864 w 236496"/>
                    <a:gd name="connsiteY50" fmla="*/ 47056 h 183621"/>
                    <a:gd name="connsiteX51" fmla="*/ 189237 w 236496"/>
                    <a:gd name="connsiteY51" fmla="*/ 49110 h 183621"/>
                    <a:gd name="connsiteX52" fmla="*/ 188894 w 236496"/>
                    <a:gd name="connsiteY52" fmla="*/ 51205 h 183621"/>
                    <a:gd name="connsiteX53" fmla="*/ 189082 w 236496"/>
                    <a:gd name="connsiteY53" fmla="*/ 52060 h 183621"/>
                    <a:gd name="connsiteX54" fmla="*/ 193694 w 236496"/>
                    <a:gd name="connsiteY54" fmla="*/ 55377 h 183621"/>
                    <a:gd name="connsiteX55" fmla="*/ 197085 w 236496"/>
                    <a:gd name="connsiteY55" fmla="*/ 57178 h 183621"/>
                    <a:gd name="connsiteX56" fmla="*/ 197843 w 236496"/>
                    <a:gd name="connsiteY56" fmla="*/ 58059 h 183621"/>
                    <a:gd name="connsiteX57" fmla="*/ 197916 w 236496"/>
                    <a:gd name="connsiteY57" fmla="*/ 58596 h 183621"/>
                    <a:gd name="connsiteX58" fmla="*/ 196107 w 236496"/>
                    <a:gd name="connsiteY58" fmla="*/ 62158 h 183621"/>
                    <a:gd name="connsiteX59" fmla="*/ 195928 w 236496"/>
                    <a:gd name="connsiteY59" fmla="*/ 63120 h 183621"/>
                    <a:gd name="connsiteX60" fmla="*/ 198658 w 236496"/>
                    <a:gd name="connsiteY60" fmla="*/ 64587 h 183621"/>
                    <a:gd name="connsiteX61" fmla="*/ 200174 w 236496"/>
                    <a:gd name="connsiteY61" fmla="*/ 66909 h 183621"/>
                    <a:gd name="connsiteX62" fmla="*/ 201494 w 236496"/>
                    <a:gd name="connsiteY62" fmla="*/ 70691 h 183621"/>
                    <a:gd name="connsiteX63" fmla="*/ 204086 w 236496"/>
                    <a:gd name="connsiteY63" fmla="*/ 74309 h 183621"/>
                    <a:gd name="connsiteX64" fmla="*/ 209660 w 236496"/>
                    <a:gd name="connsiteY64" fmla="*/ 77504 h 183621"/>
                    <a:gd name="connsiteX65" fmla="*/ 213719 w 236496"/>
                    <a:gd name="connsiteY65" fmla="*/ 79590 h 183621"/>
                    <a:gd name="connsiteX66" fmla="*/ 214558 w 236496"/>
                    <a:gd name="connsiteY66" fmla="*/ 80544 h 183621"/>
                    <a:gd name="connsiteX67" fmla="*/ 214851 w 236496"/>
                    <a:gd name="connsiteY67" fmla="*/ 81668 h 183621"/>
                    <a:gd name="connsiteX68" fmla="*/ 214550 w 236496"/>
                    <a:gd name="connsiteY68" fmla="*/ 84146 h 183621"/>
                    <a:gd name="connsiteX69" fmla="*/ 213499 w 236496"/>
                    <a:gd name="connsiteY69" fmla="*/ 87170 h 183621"/>
                    <a:gd name="connsiteX70" fmla="*/ 212773 w 236496"/>
                    <a:gd name="connsiteY70" fmla="*/ 88840 h 183621"/>
                    <a:gd name="connsiteX71" fmla="*/ 214436 w 236496"/>
                    <a:gd name="connsiteY71" fmla="*/ 89541 h 183621"/>
                    <a:gd name="connsiteX72" fmla="*/ 218690 w 236496"/>
                    <a:gd name="connsiteY72" fmla="*/ 89354 h 183621"/>
                    <a:gd name="connsiteX73" fmla="*/ 223849 w 236496"/>
                    <a:gd name="connsiteY73" fmla="*/ 89948 h 183621"/>
                    <a:gd name="connsiteX74" fmla="*/ 230050 w 236496"/>
                    <a:gd name="connsiteY74" fmla="*/ 93266 h 183621"/>
                    <a:gd name="connsiteX75" fmla="*/ 230067 w 236496"/>
                    <a:gd name="connsiteY75" fmla="*/ 94757 h 183621"/>
                    <a:gd name="connsiteX76" fmla="*/ 229423 w 236496"/>
                    <a:gd name="connsiteY76" fmla="*/ 96118 h 183621"/>
                    <a:gd name="connsiteX77" fmla="*/ 229847 w 236496"/>
                    <a:gd name="connsiteY77" fmla="*/ 97536 h 183621"/>
                    <a:gd name="connsiteX78" fmla="*/ 230523 w 236496"/>
                    <a:gd name="connsiteY78" fmla="*/ 98758 h 183621"/>
                    <a:gd name="connsiteX79" fmla="*/ 235886 w 236496"/>
                    <a:gd name="connsiteY79" fmla="*/ 102458 h 183621"/>
                    <a:gd name="connsiteX80" fmla="*/ 236399 w 236496"/>
                    <a:gd name="connsiteY80" fmla="*/ 103542 h 183621"/>
                    <a:gd name="connsiteX81" fmla="*/ 236497 w 236496"/>
                    <a:gd name="connsiteY81" fmla="*/ 105335 h 183621"/>
                    <a:gd name="connsiteX82" fmla="*/ 236342 w 236496"/>
                    <a:gd name="connsiteY82" fmla="*/ 106664 h 183621"/>
                    <a:gd name="connsiteX83" fmla="*/ 234859 w 236496"/>
                    <a:gd name="connsiteY83" fmla="*/ 106933 h 183621"/>
                    <a:gd name="connsiteX84" fmla="*/ 233212 w 236496"/>
                    <a:gd name="connsiteY84" fmla="*/ 107552 h 183621"/>
                    <a:gd name="connsiteX85" fmla="*/ 230523 w 236496"/>
                    <a:gd name="connsiteY85" fmla="*/ 109133 h 183621"/>
                    <a:gd name="connsiteX86" fmla="*/ 229440 w 236496"/>
                    <a:gd name="connsiteY86" fmla="*/ 111374 h 183621"/>
                    <a:gd name="connsiteX87" fmla="*/ 225096 w 236496"/>
                    <a:gd name="connsiteY87" fmla="*/ 114447 h 183621"/>
                    <a:gd name="connsiteX88" fmla="*/ 222398 w 236496"/>
                    <a:gd name="connsiteY88" fmla="*/ 115840 h 183621"/>
                    <a:gd name="connsiteX89" fmla="*/ 220255 w 236496"/>
                    <a:gd name="connsiteY89" fmla="*/ 115897 h 183621"/>
                    <a:gd name="connsiteX90" fmla="*/ 215153 w 236496"/>
                    <a:gd name="connsiteY90" fmla="*/ 115278 h 183621"/>
                    <a:gd name="connsiteX91" fmla="*/ 213360 w 236496"/>
                    <a:gd name="connsiteY91" fmla="*/ 113754 h 183621"/>
                    <a:gd name="connsiteX92" fmla="*/ 212618 w 236496"/>
                    <a:gd name="connsiteY92" fmla="*/ 112360 h 183621"/>
                    <a:gd name="connsiteX93" fmla="*/ 210654 w 236496"/>
                    <a:gd name="connsiteY93" fmla="*/ 111733 h 183621"/>
                    <a:gd name="connsiteX94" fmla="*/ 208038 w 236496"/>
                    <a:gd name="connsiteY94" fmla="*/ 111668 h 183621"/>
                    <a:gd name="connsiteX95" fmla="*/ 204444 w 236496"/>
                    <a:gd name="connsiteY95" fmla="*/ 111920 h 183621"/>
                    <a:gd name="connsiteX96" fmla="*/ 203703 w 236496"/>
                    <a:gd name="connsiteY96" fmla="*/ 112336 h 183621"/>
                    <a:gd name="connsiteX97" fmla="*/ 203116 w 236496"/>
                    <a:gd name="connsiteY97" fmla="*/ 114055 h 183621"/>
                    <a:gd name="connsiteX98" fmla="*/ 201584 w 236496"/>
                    <a:gd name="connsiteY98" fmla="*/ 116973 h 183621"/>
                    <a:gd name="connsiteX99" fmla="*/ 200500 w 236496"/>
                    <a:gd name="connsiteY99" fmla="*/ 118628 h 183621"/>
                    <a:gd name="connsiteX100" fmla="*/ 201388 w 236496"/>
                    <a:gd name="connsiteY100" fmla="*/ 119630 h 183621"/>
                    <a:gd name="connsiteX101" fmla="*/ 202831 w 236496"/>
                    <a:gd name="connsiteY101" fmla="*/ 121741 h 183621"/>
                    <a:gd name="connsiteX102" fmla="*/ 205056 w 236496"/>
                    <a:gd name="connsiteY102" fmla="*/ 124406 h 183621"/>
                    <a:gd name="connsiteX103" fmla="*/ 207337 w 236496"/>
                    <a:gd name="connsiteY103" fmla="*/ 126794 h 183621"/>
                    <a:gd name="connsiteX104" fmla="*/ 208087 w 236496"/>
                    <a:gd name="connsiteY104" fmla="*/ 128244 h 183621"/>
                    <a:gd name="connsiteX105" fmla="*/ 208047 w 236496"/>
                    <a:gd name="connsiteY105" fmla="*/ 129279 h 183621"/>
                    <a:gd name="connsiteX106" fmla="*/ 206954 w 236496"/>
                    <a:gd name="connsiteY106" fmla="*/ 130502 h 183621"/>
                    <a:gd name="connsiteX107" fmla="*/ 207117 w 236496"/>
                    <a:gd name="connsiteY107" fmla="*/ 132946 h 183621"/>
                    <a:gd name="connsiteX108" fmla="*/ 209350 w 236496"/>
                    <a:gd name="connsiteY108" fmla="*/ 136182 h 183621"/>
                    <a:gd name="connsiteX109" fmla="*/ 208601 w 236496"/>
                    <a:gd name="connsiteY109" fmla="*/ 136695 h 183621"/>
                    <a:gd name="connsiteX110" fmla="*/ 208380 w 236496"/>
                    <a:gd name="connsiteY110" fmla="*/ 140656 h 183621"/>
                    <a:gd name="connsiteX111" fmla="*/ 208389 w 236496"/>
                    <a:gd name="connsiteY111" fmla="*/ 144878 h 183621"/>
                    <a:gd name="connsiteX112" fmla="*/ 209000 w 236496"/>
                    <a:gd name="connsiteY112" fmla="*/ 145896 h 183621"/>
                    <a:gd name="connsiteX113" fmla="*/ 210198 w 236496"/>
                    <a:gd name="connsiteY113" fmla="*/ 146736 h 183621"/>
                    <a:gd name="connsiteX114" fmla="*/ 211200 w 236496"/>
                    <a:gd name="connsiteY114" fmla="*/ 148276 h 183621"/>
                    <a:gd name="connsiteX115" fmla="*/ 212887 w 236496"/>
                    <a:gd name="connsiteY115" fmla="*/ 151805 h 183621"/>
                    <a:gd name="connsiteX116" fmla="*/ 213018 w 236496"/>
                    <a:gd name="connsiteY116" fmla="*/ 152718 h 183621"/>
                    <a:gd name="connsiteX117" fmla="*/ 208307 w 236496"/>
                    <a:gd name="connsiteY117" fmla="*/ 152465 h 183621"/>
                    <a:gd name="connsiteX118" fmla="*/ 202651 w 236496"/>
                    <a:gd name="connsiteY118" fmla="*/ 152563 h 183621"/>
                    <a:gd name="connsiteX119" fmla="*/ 199481 w 236496"/>
                    <a:gd name="connsiteY119" fmla="*/ 154609 h 183621"/>
                    <a:gd name="connsiteX120" fmla="*/ 198250 w 236496"/>
                    <a:gd name="connsiteY120" fmla="*/ 154136 h 183621"/>
                    <a:gd name="connsiteX121" fmla="*/ 196034 w 236496"/>
                    <a:gd name="connsiteY121" fmla="*/ 153622 h 183621"/>
                    <a:gd name="connsiteX122" fmla="*/ 193597 w 236496"/>
                    <a:gd name="connsiteY122" fmla="*/ 154755 h 183621"/>
                    <a:gd name="connsiteX123" fmla="*/ 190255 w 236496"/>
                    <a:gd name="connsiteY123" fmla="*/ 158211 h 183621"/>
                    <a:gd name="connsiteX124" fmla="*/ 187998 w 236496"/>
                    <a:gd name="connsiteY124" fmla="*/ 160354 h 183621"/>
                    <a:gd name="connsiteX125" fmla="*/ 185830 w 236496"/>
                    <a:gd name="connsiteY125" fmla="*/ 163353 h 183621"/>
                    <a:gd name="connsiteX126" fmla="*/ 185129 w 236496"/>
                    <a:gd name="connsiteY126" fmla="*/ 164983 h 183621"/>
                    <a:gd name="connsiteX127" fmla="*/ 183752 w 236496"/>
                    <a:gd name="connsiteY127" fmla="*/ 167982 h 183621"/>
                    <a:gd name="connsiteX128" fmla="*/ 182489 w 236496"/>
                    <a:gd name="connsiteY128" fmla="*/ 171397 h 183621"/>
                    <a:gd name="connsiteX129" fmla="*/ 183181 w 236496"/>
                    <a:gd name="connsiteY129" fmla="*/ 173801 h 183621"/>
                    <a:gd name="connsiteX130" fmla="*/ 184217 w 236496"/>
                    <a:gd name="connsiteY130" fmla="*/ 176026 h 183621"/>
                    <a:gd name="connsiteX131" fmla="*/ 184453 w 236496"/>
                    <a:gd name="connsiteY131" fmla="*/ 178414 h 183621"/>
                    <a:gd name="connsiteX132" fmla="*/ 184958 w 236496"/>
                    <a:gd name="connsiteY132" fmla="*/ 180288 h 183621"/>
                    <a:gd name="connsiteX133" fmla="*/ 183581 w 236496"/>
                    <a:gd name="connsiteY133" fmla="*/ 181657 h 183621"/>
                    <a:gd name="connsiteX134" fmla="*/ 182782 w 236496"/>
                    <a:gd name="connsiteY134" fmla="*/ 183622 h 183621"/>
                    <a:gd name="connsiteX135" fmla="*/ 180427 w 236496"/>
                    <a:gd name="connsiteY135" fmla="*/ 183279 h 183621"/>
                    <a:gd name="connsiteX136" fmla="*/ 177534 w 236496"/>
                    <a:gd name="connsiteY136" fmla="*/ 181397 h 183621"/>
                    <a:gd name="connsiteX137" fmla="*/ 176931 w 236496"/>
                    <a:gd name="connsiteY137" fmla="*/ 178658 h 183621"/>
                    <a:gd name="connsiteX138" fmla="*/ 174714 w 236496"/>
                    <a:gd name="connsiteY138" fmla="*/ 176760 h 183621"/>
                    <a:gd name="connsiteX139" fmla="*/ 173263 w 236496"/>
                    <a:gd name="connsiteY139" fmla="*/ 175773 h 183621"/>
                    <a:gd name="connsiteX140" fmla="*/ 170859 w 236496"/>
                    <a:gd name="connsiteY140" fmla="*/ 175627 h 183621"/>
                    <a:gd name="connsiteX141" fmla="*/ 167012 w 236496"/>
                    <a:gd name="connsiteY141" fmla="*/ 176507 h 183621"/>
                    <a:gd name="connsiteX142" fmla="*/ 161984 w 236496"/>
                    <a:gd name="connsiteY142" fmla="*/ 177191 h 183621"/>
                    <a:gd name="connsiteX143" fmla="*/ 158178 w 236496"/>
                    <a:gd name="connsiteY143" fmla="*/ 177379 h 183621"/>
                    <a:gd name="connsiteX144" fmla="*/ 156116 w 236496"/>
                    <a:gd name="connsiteY144" fmla="*/ 178341 h 183621"/>
                    <a:gd name="connsiteX145" fmla="*/ 153052 w 236496"/>
                    <a:gd name="connsiteY145" fmla="*/ 179294 h 183621"/>
                    <a:gd name="connsiteX146" fmla="*/ 151878 w 236496"/>
                    <a:gd name="connsiteY146" fmla="*/ 178169 h 183621"/>
                    <a:gd name="connsiteX147" fmla="*/ 150192 w 236496"/>
                    <a:gd name="connsiteY147" fmla="*/ 175073 h 183621"/>
                    <a:gd name="connsiteX148" fmla="*/ 148790 w 236496"/>
                    <a:gd name="connsiteY148" fmla="*/ 171992 h 183621"/>
                    <a:gd name="connsiteX149" fmla="*/ 147836 w 236496"/>
                    <a:gd name="connsiteY149" fmla="*/ 170631 h 183621"/>
                    <a:gd name="connsiteX150" fmla="*/ 146997 w 236496"/>
                    <a:gd name="connsiteY150" fmla="*/ 170248 h 183621"/>
                    <a:gd name="connsiteX151" fmla="*/ 145978 w 236496"/>
                    <a:gd name="connsiteY151" fmla="*/ 170329 h 183621"/>
                    <a:gd name="connsiteX152" fmla="*/ 144796 w 236496"/>
                    <a:gd name="connsiteY152" fmla="*/ 171307 h 183621"/>
                    <a:gd name="connsiteX153" fmla="*/ 143916 w 236496"/>
                    <a:gd name="connsiteY153" fmla="*/ 172318 h 183621"/>
                    <a:gd name="connsiteX154" fmla="*/ 142669 w 236496"/>
                    <a:gd name="connsiteY154" fmla="*/ 172660 h 183621"/>
                    <a:gd name="connsiteX155" fmla="*/ 140738 w 236496"/>
                    <a:gd name="connsiteY155" fmla="*/ 173475 h 183621"/>
                    <a:gd name="connsiteX156" fmla="*/ 139344 w 236496"/>
                    <a:gd name="connsiteY156" fmla="*/ 174584 h 183621"/>
                    <a:gd name="connsiteX157" fmla="*/ 137804 w 236496"/>
                    <a:gd name="connsiteY157" fmla="*/ 177420 h 183621"/>
                    <a:gd name="connsiteX158" fmla="*/ 136785 w 236496"/>
                    <a:gd name="connsiteY158" fmla="*/ 177216 h 183621"/>
                    <a:gd name="connsiteX159" fmla="*/ 135734 w 236496"/>
                    <a:gd name="connsiteY159" fmla="*/ 176564 h 183621"/>
                    <a:gd name="connsiteX160" fmla="*/ 134528 w 236496"/>
                    <a:gd name="connsiteY160" fmla="*/ 173394 h 183621"/>
                    <a:gd name="connsiteX161" fmla="*/ 132857 w 236496"/>
                    <a:gd name="connsiteY161" fmla="*/ 172660 h 183621"/>
                    <a:gd name="connsiteX162" fmla="*/ 130208 w 236496"/>
                    <a:gd name="connsiteY162" fmla="*/ 172611 h 183621"/>
                    <a:gd name="connsiteX163" fmla="*/ 126899 w 236496"/>
                    <a:gd name="connsiteY163" fmla="*/ 171935 h 183621"/>
                    <a:gd name="connsiteX164" fmla="*/ 124226 w 236496"/>
                    <a:gd name="connsiteY164" fmla="*/ 170981 h 183621"/>
                    <a:gd name="connsiteX165" fmla="*/ 123256 w 236496"/>
                    <a:gd name="connsiteY165" fmla="*/ 171201 h 183621"/>
                    <a:gd name="connsiteX166" fmla="*/ 121659 w 236496"/>
                    <a:gd name="connsiteY166" fmla="*/ 172562 h 183621"/>
                    <a:gd name="connsiteX167" fmla="*/ 119939 w 236496"/>
                    <a:gd name="connsiteY167" fmla="*/ 172758 h 183621"/>
                    <a:gd name="connsiteX168" fmla="*/ 116158 w 236496"/>
                    <a:gd name="connsiteY168" fmla="*/ 171552 h 183621"/>
                    <a:gd name="connsiteX169" fmla="*/ 115416 w 236496"/>
                    <a:gd name="connsiteY169" fmla="*/ 172106 h 183621"/>
                    <a:gd name="connsiteX170" fmla="*/ 114431 w 236496"/>
                    <a:gd name="connsiteY170" fmla="*/ 173891 h 183621"/>
                    <a:gd name="connsiteX171" fmla="*/ 113249 w 236496"/>
                    <a:gd name="connsiteY171" fmla="*/ 175602 h 183621"/>
                    <a:gd name="connsiteX172" fmla="*/ 112230 w 236496"/>
                    <a:gd name="connsiteY172" fmla="*/ 175773 h 183621"/>
                    <a:gd name="connsiteX173" fmla="*/ 111651 w 236496"/>
                    <a:gd name="connsiteY173" fmla="*/ 175333 h 183621"/>
                    <a:gd name="connsiteX174" fmla="*/ 111977 w 236496"/>
                    <a:gd name="connsiteY174" fmla="*/ 172285 h 183621"/>
                    <a:gd name="connsiteX175" fmla="*/ 109785 w 236496"/>
                    <a:gd name="connsiteY175" fmla="*/ 171210 h 183621"/>
                    <a:gd name="connsiteX176" fmla="*/ 106085 w 236496"/>
                    <a:gd name="connsiteY176" fmla="*/ 171047 h 183621"/>
                    <a:gd name="connsiteX177" fmla="*/ 103485 w 236496"/>
                    <a:gd name="connsiteY177" fmla="*/ 171487 h 183621"/>
                    <a:gd name="connsiteX178" fmla="*/ 102214 w 236496"/>
                    <a:gd name="connsiteY178" fmla="*/ 171364 h 183621"/>
                    <a:gd name="connsiteX179" fmla="*/ 101562 w 236496"/>
                    <a:gd name="connsiteY179" fmla="*/ 170769 h 183621"/>
                    <a:gd name="connsiteX180" fmla="*/ 98384 w 236496"/>
                    <a:gd name="connsiteY180" fmla="*/ 165651 h 183621"/>
                    <a:gd name="connsiteX181" fmla="*/ 96697 w 236496"/>
                    <a:gd name="connsiteY181" fmla="*/ 165325 h 183621"/>
                    <a:gd name="connsiteX182" fmla="*/ 93689 w 236496"/>
                    <a:gd name="connsiteY182" fmla="*/ 165578 h 183621"/>
                    <a:gd name="connsiteX183" fmla="*/ 89240 w 236496"/>
                    <a:gd name="connsiteY183" fmla="*/ 164959 h 183621"/>
                    <a:gd name="connsiteX184" fmla="*/ 84113 w 236496"/>
                    <a:gd name="connsiteY184" fmla="*/ 163801 h 183621"/>
                    <a:gd name="connsiteX185" fmla="*/ 81310 w 236496"/>
                    <a:gd name="connsiteY185" fmla="*/ 163378 h 183621"/>
                    <a:gd name="connsiteX186" fmla="*/ 79843 w 236496"/>
                    <a:gd name="connsiteY186" fmla="*/ 162228 h 183621"/>
                    <a:gd name="connsiteX187" fmla="*/ 76681 w 236496"/>
                    <a:gd name="connsiteY187" fmla="*/ 161837 h 183621"/>
                    <a:gd name="connsiteX188" fmla="*/ 68205 w 236496"/>
                    <a:gd name="connsiteY188" fmla="*/ 159670 h 183621"/>
                    <a:gd name="connsiteX189" fmla="*/ 64741 w 236496"/>
                    <a:gd name="connsiteY189" fmla="*/ 159295 h 183621"/>
                    <a:gd name="connsiteX190" fmla="*/ 59648 w 236496"/>
                    <a:gd name="connsiteY190" fmla="*/ 159262 h 183621"/>
                    <a:gd name="connsiteX191" fmla="*/ 51889 w 236496"/>
                    <a:gd name="connsiteY191" fmla="*/ 158773 h 183621"/>
                    <a:gd name="connsiteX192" fmla="*/ 46910 w 236496"/>
                    <a:gd name="connsiteY192" fmla="*/ 159042 h 183621"/>
                    <a:gd name="connsiteX193" fmla="*/ 44612 w 236496"/>
                    <a:gd name="connsiteY193" fmla="*/ 159767 h 183621"/>
                    <a:gd name="connsiteX194" fmla="*/ 41946 w 236496"/>
                    <a:gd name="connsiteY194" fmla="*/ 160207 h 183621"/>
                    <a:gd name="connsiteX195" fmla="*/ 37456 w 236496"/>
                    <a:gd name="connsiteY195" fmla="*/ 160607 h 183621"/>
                    <a:gd name="connsiteX196" fmla="*/ 35614 w 236496"/>
                    <a:gd name="connsiteY196" fmla="*/ 160566 h 183621"/>
                    <a:gd name="connsiteX197" fmla="*/ 32746 w 236496"/>
                    <a:gd name="connsiteY197" fmla="*/ 160802 h 183621"/>
                    <a:gd name="connsiteX198" fmla="*/ 29428 w 236496"/>
                    <a:gd name="connsiteY198" fmla="*/ 161373 h 183621"/>
                    <a:gd name="connsiteX199" fmla="*/ 28491 w 236496"/>
                    <a:gd name="connsiteY199" fmla="*/ 162457 h 183621"/>
                    <a:gd name="connsiteX200" fmla="*/ 27399 w 236496"/>
                    <a:gd name="connsiteY200" fmla="*/ 164812 h 183621"/>
                    <a:gd name="connsiteX201" fmla="*/ 23602 w 236496"/>
                    <a:gd name="connsiteY201" fmla="*/ 168879 h 183621"/>
                    <a:gd name="connsiteX202" fmla="*/ 19918 w 236496"/>
                    <a:gd name="connsiteY202" fmla="*/ 171584 h 183621"/>
                    <a:gd name="connsiteX203" fmla="*/ 19241 w 236496"/>
                    <a:gd name="connsiteY203" fmla="*/ 171821 h 183621"/>
                    <a:gd name="connsiteX204" fmla="*/ 17090 w 236496"/>
                    <a:gd name="connsiteY204" fmla="*/ 170378 h 183621"/>
                    <a:gd name="connsiteX205" fmla="*/ 15289 w 236496"/>
                    <a:gd name="connsiteY205" fmla="*/ 169897 h 183621"/>
                    <a:gd name="connsiteX206" fmla="*/ 13186 w 236496"/>
                    <a:gd name="connsiteY206" fmla="*/ 169743 h 183621"/>
                    <a:gd name="connsiteX207" fmla="*/ 11703 w 236496"/>
                    <a:gd name="connsiteY207" fmla="*/ 170199 h 183621"/>
                    <a:gd name="connsiteX208" fmla="*/ 10749 w 236496"/>
                    <a:gd name="connsiteY208" fmla="*/ 170883 h 183621"/>
                    <a:gd name="connsiteX209" fmla="*/ 10880 w 236496"/>
                    <a:gd name="connsiteY209" fmla="*/ 174021 h 183621"/>
                    <a:gd name="connsiteX210" fmla="*/ 10676 w 236496"/>
                    <a:gd name="connsiteY210" fmla="*/ 174298 h 183621"/>
                    <a:gd name="connsiteX211" fmla="*/ 9038 w 236496"/>
                    <a:gd name="connsiteY211" fmla="*/ 170574 h 183621"/>
                    <a:gd name="connsiteX212" fmla="*/ 9168 w 236496"/>
                    <a:gd name="connsiteY212" fmla="*/ 167192 h 183621"/>
                    <a:gd name="connsiteX213" fmla="*/ 10073 w 236496"/>
                    <a:gd name="connsiteY213" fmla="*/ 165268 h 183621"/>
                    <a:gd name="connsiteX214" fmla="*/ 11173 w 236496"/>
                    <a:gd name="connsiteY214" fmla="*/ 163532 h 183621"/>
                    <a:gd name="connsiteX215" fmla="*/ 10717 w 236496"/>
                    <a:gd name="connsiteY215" fmla="*/ 160925 h 183621"/>
                    <a:gd name="connsiteX216" fmla="*/ 11801 w 236496"/>
                    <a:gd name="connsiteY216" fmla="*/ 157469 h 183621"/>
                    <a:gd name="connsiteX217" fmla="*/ 11833 w 236496"/>
                    <a:gd name="connsiteY217" fmla="*/ 154975 h 183621"/>
                    <a:gd name="connsiteX218" fmla="*/ 11361 w 236496"/>
                    <a:gd name="connsiteY218" fmla="*/ 153891 h 183621"/>
                    <a:gd name="connsiteX219" fmla="*/ 10481 w 236496"/>
                    <a:gd name="connsiteY219" fmla="*/ 152653 h 183621"/>
                    <a:gd name="connsiteX220" fmla="*/ 8085 w 236496"/>
                    <a:gd name="connsiteY220" fmla="*/ 151259 h 183621"/>
                    <a:gd name="connsiteX221" fmla="*/ 7025 w 236496"/>
                    <a:gd name="connsiteY221" fmla="*/ 150175 h 183621"/>
                    <a:gd name="connsiteX222" fmla="*/ 3773 w 236496"/>
                    <a:gd name="connsiteY222" fmla="*/ 148741 h 183621"/>
                    <a:gd name="connsiteX223" fmla="*/ 538 w 236496"/>
                    <a:gd name="connsiteY223" fmla="*/ 146940 h 183621"/>
                    <a:gd name="connsiteX224" fmla="*/ 0 w 236496"/>
                    <a:gd name="connsiteY224" fmla="*/ 145839 h 183621"/>
                    <a:gd name="connsiteX225" fmla="*/ 155 w 236496"/>
                    <a:gd name="connsiteY225" fmla="*/ 145073 h 183621"/>
                    <a:gd name="connsiteX226" fmla="*/ 717 w 236496"/>
                    <a:gd name="connsiteY226" fmla="*/ 143932 h 183621"/>
                    <a:gd name="connsiteX227" fmla="*/ 3186 w 236496"/>
                    <a:gd name="connsiteY227" fmla="*/ 140566 h 183621"/>
                    <a:gd name="connsiteX228" fmla="*/ 5852 w 236496"/>
                    <a:gd name="connsiteY228" fmla="*/ 137299 h 183621"/>
                    <a:gd name="connsiteX229" fmla="*/ 7546 w 236496"/>
                    <a:gd name="connsiteY229" fmla="*/ 135978 h 183621"/>
                    <a:gd name="connsiteX230" fmla="*/ 16609 w 236496"/>
                    <a:gd name="connsiteY230" fmla="*/ 131781 h 183621"/>
                    <a:gd name="connsiteX231" fmla="*/ 18011 w 236496"/>
                    <a:gd name="connsiteY231" fmla="*/ 130314 h 183621"/>
                    <a:gd name="connsiteX232" fmla="*/ 18361 w 236496"/>
                    <a:gd name="connsiteY232" fmla="*/ 127829 h 183621"/>
                    <a:gd name="connsiteX233" fmla="*/ 18386 w 236496"/>
                    <a:gd name="connsiteY233" fmla="*/ 126019 h 183621"/>
                    <a:gd name="connsiteX234" fmla="*/ 18207 w 236496"/>
                    <a:gd name="connsiteY234" fmla="*/ 122800 h 183621"/>
                    <a:gd name="connsiteX235" fmla="*/ 17660 w 236496"/>
                    <a:gd name="connsiteY235" fmla="*/ 118212 h 183621"/>
                    <a:gd name="connsiteX236" fmla="*/ 16960 w 236496"/>
                    <a:gd name="connsiteY236" fmla="*/ 115058 h 183621"/>
                    <a:gd name="connsiteX237" fmla="*/ 15232 w 236496"/>
                    <a:gd name="connsiteY237" fmla="*/ 109109 h 183621"/>
                    <a:gd name="connsiteX238" fmla="*/ 10505 w 236496"/>
                    <a:gd name="connsiteY238" fmla="*/ 96794 h 183621"/>
                    <a:gd name="connsiteX239" fmla="*/ 7677 w 236496"/>
                    <a:gd name="connsiteY239" fmla="*/ 83975 h 183621"/>
                    <a:gd name="connsiteX240" fmla="*/ 9519 w 236496"/>
                    <a:gd name="connsiteY240" fmla="*/ 84725 h 183621"/>
                    <a:gd name="connsiteX241" fmla="*/ 13855 w 236496"/>
                    <a:gd name="connsiteY241" fmla="*/ 85010 h 183621"/>
                    <a:gd name="connsiteX242" fmla="*/ 17294 w 236496"/>
                    <a:gd name="connsiteY242" fmla="*/ 84130 h 183621"/>
                    <a:gd name="connsiteX243" fmla="*/ 19079 w 236496"/>
                    <a:gd name="connsiteY243" fmla="*/ 84007 h 183621"/>
                    <a:gd name="connsiteX244" fmla="*/ 20676 w 236496"/>
                    <a:gd name="connsiteY244" fmla="*/ 84276 h 183621"/>
                    <a:gd name="connsiteX245" fmla="*/ 23031 w 236496"/>
                    <a:gd name="connsiteY245" fmla="*/ 83779 h 183621"/>
                    <a:gd name="connsiteX246" fmla="*/ 25199 w 236496"/>
                    <a:gd name="connsiteY246" fmla="*/ 83575 h 183621"/>
                    <a:gd name="connsiteX247" fmla="*/ 26323 w 236496"/>
                    <a:gd name="connsiteY247" fmla="*/ 84716 h 183621"/>
                    <a:gd name="connsiteX248" fmla="*/ 28344 w 236496"/>
                    <a:gd name="connsiteY248" fmla="*/ 85743 h 183621"/>
                    <a:gd name="connsiteX249" fmla="*/ 32330 w 236496"/>
                    <a:gd name="connsiteY249" fmla="*/ 84276 h 183621"/>
                    <a:gd name="connsiteX250" fmla="*/ 35851 w 236496"/>
                    <a:gd name="connsiteY250" fmla="*/ 82459 h 183621"/>
                    <a:gd name="connsiteX251" fmla="*/ 39518 w 236496"/>
                    <a:gd name="connsiteY251" fmla="*/ 82663 h 183621"/>
                    <a:gd name="connsiteX252" fmla="*/ 40039 w 236496"/>
                    <a:gd name="connsiteY252" fmla="*/ 81774 h 183621"/>
                    <a:gd name="connsiteX253" fmla="*/ 40928 w 236496"/>
                    <a:gd name="connsiteY253" fmla="*/ 77219 h 183621"/>
                    <a:gd name="connsiteX254" fmla="*/ 42020 w 236496"/>
                    <a:gd name="connsiteY254" fmla="*/ 76224 h 183621"/>
                    <a:gd name="connsiteX255" fmla="*/ 46404 w 236496"/>
                    <a:gd name="connsiteY255" fmla="*/ 76681 h 183621"/>
                    <a:gd name="connsiteX256" fmla="*/ 48026 w 236496"/>
                    <a:gd name="connsiteY256" fmla="*/ 75849 h 183621"/>
                    <a:gd name="connsiteX257" fmla="*/ 49713 w 236496"/>
                    <a:gd name="connsiteY257" fmla="*/ 73616 h 183621"/>
                    <a:gd name="connsiteX258" fmla="*/ 52305 w 236496"/>
                    <a:gd name="connsiteY258" fmla="*/ 72223 h 183621"/>
                    <a:gd name="connsiteX259" fmla="*/ 54465 w 236496"/>
                    <a:gd name="connsiteY259" fmla="*/ 72223 h 183621"/>
                    <a:gd name="connsiteX260" fmla="*/ 56697 w 236496"/>
                    <a:gd name="connsiteY260" fmla="*/ 70650 h 183621"/>
                    <a:gd name="connsiteX261" fmla="*/ 57798 w 236496"/>
                    <a:gd name="connsiteY261" fmla="*/ 71693 h 183621"/>
                    <a:gd name="connsiteX262" fmla="*/ 58344 w 236496"/>
                    <a:gd name="connsiteY262" fmla="*/ 73584 h 183621"/>
                    <a:gd name="connsiteX263" fmla="*/ 57594 w 236496"/>
                    <a:gd name="connsiteY263" fmla="*/ 75092 h 183621"/>
                    <a:gd name="connsiteX264" fmla="*/ 57920 w 236496"/>
                    <a:gd name="connsiteY264" fmla="*/ 75678 h 183621"/>
                    <a:gd name="connsiteX265" fmla="*/ 59469 w 236496"/>
                    <a:gd name="connsiteY265" fmla="*/ 76428 h 183621"/>
                    <a:gd name="connsiteX266" fmla="*/ 62142 w 236496"/>
                    <a:gd name="connsiteY266" fmla="*/ 76404 h 183621"/>
                    <a:gd name="connsiteX267" fmla="*/ 63845 w 236496"/>
                    <a:gd name="connsiteY267" fmla="*/ 75776 h 183621"/>
                    <a:gd name="connsiteX268" fmla="*/ 64236 w 236496"/>
                    <a:gd name="connsiteY268" fmla="*/ 74920 h 183621"/>
                    <a:gd name="connsiteX269" fmla="*/ 64236 w 236496"/>
                    <a:gd name="connsiteY269" fmla="*/ 73356 h 183621"/>
                    <a:gd name="connsiteX270" fmla="*/ 63821 w 236496"/>
                    <a:gd name="connsiteY270" fmla="*/ 71897 h 183621"/>
                    <a:gd name="connsiteX271" fmla="*/ 62679 w 236496"/>
                    <a:gd name="connsiteY271" fmla="*/ 70642 h 183621"/>
                    <a:gd name="connsiteX272" fmla="*/ 60569 w 236496"/>
                    <a:gd name="connsiteY272" fmla="*/ 69998 h 183621"/>
                    <a:gd name="connsiteX273" fmla="*/ 59094 w 236496"/>
                    <a:gd name="connsiteY273" fmla="*/ 69974 h 183621"/>
                    <a:gd name="connsiteX274" fmla="*/ 58833 w 236496"/>
                    <a:gd name="connsiteY274" fmla="*/ 69175 h 183621"/>
                    <a:gd name="connsiteX275" fmla="*/ 59338 w 236496"/>
                    <a:gd name="connsiteY275" fmla="*/ 67463 h 183621"/>
                    <a:gd name="connsiteX276" fmla="*/ 60642 w 236496"/>
                    <a:gd name="connsiteY276" fmla="*/ 64309 h 183621"/>
                    <a:gd name="connsiteX277" fmla="*/ 62256 w 236496"/>
                    <a:gd name="connsiteY277" fmla="*/ 61457 h 183621"/>
                    <a:gd name="connsiteX278" fmla="*/ 63242 w 236496"/>
                    <a:gd name="connsiteY278" fmla="*/ 60373 h 183621"/>
                    <a:gd name="connsiteX279" fmla="*/ 63405 w 236496"/>
                    <a:gd name="connsiteY279" fmla="*/ 59379 h 183621"/>
                    <a:gd name="connsiteX280" fmla="*/ 63226 w 236496"/>
                    <a:gd name="connsiteY280" fmla="*/ 57651 h 183621"/>
                    <a:gd name="connsiteX281" fmla="*/ 63185 w 236496"/>
                    <a:gd name="connsiteY281" fmla="*/ 54546 h 183621"/>
                    <a:gd name="connsiteX282" fmla="*/ 64627 w 236496"/>
                    <a:gd name="connsiteY282" fmla="*/ 50162 h 183621"/>
                    <a:gd name="connsiteX283" fmla="*/ 66575 w 236496"/>
                    <a:gd name="connsiteY283" fmla="*/ 46894 h 183621"/>
                    <a:gd name="connsiteX284" fmla="*/ 69183 w 236496"/>
                    <a:gd name="connsiteY284" fmla="*/ 45834 h 183621"/>
                    <a:gd name="connsiteX285" fmla="*/ 72370 w 236496"/>
                    <a:gd name="connsiteY285" fmla="*/ 45255 h 183621"/>
                    <a:gd name="connsiteX286" fmla="*/ 74407 w 236496"/>
                    <a:gd name="connsiteY286" fmla="*/ 43699 h 183621"/>
                    <a:gd name="connsiteX287" fmla="*/ 75417 w 236496"/>
                    <a:gd name="connsiteY287" fmla="*/ 41906 h 183621"/>
                    <a:gd name="connsiteX288" fmla="*/ 75809 w 236496"/>
                    <a:gd name="connsiteY288" fmla="*/ 40390 h 183621"/>
                    <a:gd name="connsiteX289" fmla="*/ 76281 w 236496"/>
                    <a:gd name="connsiteY289" fmla="*/ 39078 h 183621"/>
                    <a:gd name="connsiteX290" fmla="*/ 77300 w 236496"/>
                    <a:gd name="connsiteY290" fmla="*/ 38507 h 183621"/>
                    <a:gd name="connsiteX291" fmla="*/ 84969 w 236496"/>
                    <a:gd name="connsiteY291" fmla="*/ 38866 h 183621"/>
                    <a:gd name="connsiteX292" fmla="*/ 86143 w 236496"/>
                    <a:gd name="connsiteY292" fmla="*/ 36038 h 183621"/>
                    <a:gd name="connsiteX293" fmla="*/ 86803 w 236496"/>
                    <a:gd name="connsiteY293" fmla="*/ 35256 h 183621"/>
                    <a:gd name="connsiteX294" fmla="*/ 88278 w 236496"/>
                    <a:gd name="connsiteY294" fmla="*/ 34416 h 183621"/>
                    <a:gd name="connsiteX295" fmla="*/ 89305 w 236496"/>
                    <a:gd name="connsiteY295" fmla="*/ 33422 h 183621"/>
                    <a:gd name="connsiteX296" fmla="*/ 88913 w 236496"/>
                    <a:gd name="connsiteY296" fmla="*/ 32640 h 183621"/>
                    <a:gd name="connsiteX297" fmla="*/ 86958 w 236496"/>
                    <a:gd name="connsiteY297" fmla="*/ 32151 h 183621"/>
                    <a:gd name="connsiteX298" fmla="*/ 82353 w 236496"/>
                    <a:gd name="connsiteY298" fmla="*/ 31702 h 183621"/>
                    <a:gd name="connsiteX299" fmla="*/ 81416 w 236496"/>
                    <a:gd name="connsiteY299" fmla="*/ 30773 h 183621"/>
                    <a:gd name="connsiteX300" fmla="*/ 81709 w 236496"/>
                    <a:gd name="connsiteY300" fmla="*/ 29649 h 183621"/>
                    <a:gd name="connsiteX301" fmla="*/ 82940 w 236496"/>
                    <a:gd name="connsiteY301" fmla="*/ 26739 h 183621"/>
                    <a:gd name="connsiteX302" fmla="*/ 84105 w 236496"/>
                    <a:gd name="connsiteY302" fmla="*/ 22974 h 183621"/>
                    <a:gd name="connsiteX303" fmla="*/ 84725 w 236496"/>
                    <a:gd name="connsiteY303" fmla="*/ 20065 h 183621"/>
                    <a:gd name="connsiteX304" fmla="*/ 84782 w 236496"/>
                    <a:gd name="connsiteY304" fmla="*/ 18345 h 183621"/>
                    <a:gd name="connsiteX305" fmla="*/ 85442 w 236496"/>
                    <a:gd name="connsiteY305" fmla="*/ 17881 h 183621"/>
                    <a:gd name="connsiteX306" fmla="*/ 89207 w 236496"/>
                    <a:gd name="connsiteY306" fmla="*/ 17334 h 183621"/>
                    <a:gd name="connsiteX307" fmla="*/ 90470 w 236496"/>
                    <a:gd name="connsiteY307" fmla="*/ 16748 h 183621"/>
                    <a:gd name="connsiteX308" fmla="*/ 93698 w 236496"/>
                    <a:gd name="connsiteY308" fmla="*/ 12779 h 183621"/>
                    <a:gd name="connsiteX309" fmla="*/ 96167 w 236496"/>
                    <a:gd name="connsiteY309" fmla="*/ 12102 h 183621"/>
                    <a:gd name="connsiteX310" fmla="*/ 102532 w 236496"/>
                    <a:gd name="connsiteY310" fmla="*/ 13121 h 183621"/>
                    <a:gd name="connsiteX311" fmla="*/ 105458 w 236496"/>
                    <a:gd name="connsiteY311" fmla="*/ 13039 h 183621"/>
                    <a:gd name="connsiteX312" fmla="*/ 106248 w 236496"/>
                    <a:gd name="connsiteY312" fmla="*/ 13129 h 183621"/>
                    <a:gd name="connsiteX313" fmla="*/ 109174 w 236496"/>
                    <a:gd name="connsiteY313" fmla="*/ 13317 h 183621"/>
                    <a:gd name="connsiteX314" fmla="*/ 109492 w 236496"/>
                    <a:gd name="connsiteY314" fmla="*/ 12917 h 183621"/>
                    <a:gd name="connsiteX315" fmla="*/ 110795 w 236496"/>
                    <a:gd name="connsiteY315" fmla="*/ 8981 h 183621"/>
                    <a:gd name="connsiteX316" fmla="*/ 112083 w 236496"/>
                    <a:gd name="connsiteY316" fmla="*/ 7840 h 183621"/>
                    <a:gd name="connsiteX317" fmla="*/ 117095 w 236496"/>
                    <a:gd name="connsiteY317" fmla="*/ 2673 h 183621"/>
                    <a:gd name="connsiteX318" fmla="*/ 120461 w 236496"/>
                    <a:gd name="connsiteY318" fmla="*/ 473 h 183621"/>
                    <a:gd name="connsiteX319" fmla="*/ 122596 w 236496"/>
                    <a:gd name="connsiteY319" fmla="*/ 0 h 18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236496" h="183621">
                      <a:moveTo>
                        <a:pt x="123338" y="106"/>
                      </a:moveTo>
                      <a:lnTo>
                        <a:pt x="126720" y="3447"/>
                      </a:lnTo>
                      <a:lnTo>
                        <a:pt x="127511" y="3586"/>
                      </a:lnTo>
                      <a:lnTo>
                        <a:pt x="129393" y="2266"/>
                      </a:lnTo>
                      <a:lnTo>
                        <a:pt x="129760" y="2176"/>
                      </a:lnTo>
                      <a:lnTo>
                        <a:pt x="133655" y="2062"/>
                      </a:lnTo>
                      <a:lnTo>
                        <a:pt x="135465" y="3219"/>
                      </a:lnTo>
                      <a:lnTo>
                        <a:pt x="136802" y="5493"/>
                      </a:lnTo>
                      <a:lnTo>
                        <a:pt x="138040" y="7310"/>
                      </a:lnTo>
                      <a:lnTo>
                        <a:pt x="139385" y="7807"/>
                      </a:lnTo>
                      <a:lnTo>
                        <a:pt x="143166" y="5517"/>
                      </a:lnTo>
                      <a:lnTo>
                        <a:pt x="145253" y="4759"/>
                      </a:lnTo>
                      <a:lnTo>
                        <a:pt x="146638" y="4784"/>
                      </a:lnTo>
                      <a:lnTo>
                        <a:pt x="151495" y="6829"/>
                      </a:lnTo>
                      <a:lnTo>
                        <a:pt x="153769" y="7946"/>
                      </a:lnTo>
                      <a:lnTo>
                        <a:pt x="154299" y="8965"/>
                      </a:lnTo>
                      <a:lnTo>
                        <a:pt x="154340" y="10163"/>
                      </a:lnTo>
                      <a:lnTo>
                        <a:pt x="153720" y="11939"/>
                      </a:lnTo>
                      <a:lnTo>
                        <a:pt x="153239" y="13871"/>
                      </a:lnTo>
                      <a:lnTo>
                        <a:pt x="154706" y="16153"/>
                      </a:lnTo>
                      <a:lnTo>
                        <a:pt x="156434" y="17693"/>
                      </a:lnTo>
                      <a:lnTo>
                        <a:pt x="160102" y="15150"/>
                      </a:lnTo>
                      <a:lnTo>
                        <a:pt x="161454" y="14425"/>
                      </a:lnTo>
                      <a:lnTo>
                        <a:pt x="162929" y="14401"/>
                      </a:lnTo>
                      <a:lnTo>
                        <a:pt x="164910" y="13455"/>
                      </a:lnTo>
                      <a:lnTo>
                        <a:pt x="166336" y="12029"/>
                      </a:lnTo>
                      <a:lnTo>
                        <a:pt x="167713" y="11532"/>
                      </a:lnTo>
                      <a:lnTo>
                        <a:pt x="170329" y="11874"/>
                      </a:lnTo>
                      <a:lnTo>
                        <a:pt x="175056" y="11532"/>
                      </a:lnTo>
                      <a:lnTo>
                        <a:pt x="180590" y="13773"/>
                      </a:lnTo>
                      <a:lnTo>
                        <a:pt x="181062" y="14474"/>
                      </a:lnTo>
                      <a:lnTo>
                        <a:pt x="183825" y="17090"/>
                      </a:lnTo>
                      <a:lnTo>
                        <a:pt x="184787" y="18386"/>
                      </a:lnTo>
                      <a:lnTo>
                        <a:pt x="185700" y="18801"/>
                      </a:lnTo>
                      <a:lnTo>
                        <a:pt x="187175" y="20081"/>
                      </a:lnTo>
                      <a:lnTo>
                        <a:pt x="189131" y="20888"/>
                      </a:lnTo>
                      <a:lnTo>
                        <a:pt x="190508" y="20643"/>
                      </a:lnTo>
                      <a:lnTo>
                        <a:pt x="191152" y="21067"/>
                      </a:lnTo>
                      <a:lnTo>
                        <a:pt x="191763" y="22078"/>
                      </a:lnTo>
                      <a:lnTo>
                        <a:pt x="191804" y="23789"/>
                      </a:lnTo>
                      <a:lnTo>
                        <a:pt x="191608" y="28671"/>
                      </a:lnTo>
                      <a:lnTo>
                        <a:pt x="190655" y="30089"/>
                      </a:lnTo>
                      <a:lnTo>
                        <a:pt x="189644" y="31238"/>
                      </a:lnTo>
                      <a:lnTo>
                        <a:pt x="189375" y="32126"/>
                      </a:lnTo>
                      <a:lnTo>
                        <a:pt x="189465" y="33202"/>
                      </a:lnTo>
                      <a:lnTo>
                        <a:pt x="191030" y="35313"/>
                      </a:lnTo>
                      <a:lnTo>
                        <a:pt x="193051" y="38589"/>
                      </a:lnTo>
                      <a:lnTo>
                        <a:pt x="193523" y="40480"/>
                      </a:lnTo>
                      <a:lnTo>
                        <a:pt x="193523" y="41898"/>
                      </a:lnTo>
                      <a:lnTo>
                        <a:pt x="190761" y="46079"/>
                      </a:lnTo>
                      <a:lnTo>
                        <a:pt x="189864" y="47056"/>
                      </a:lnTo>
                      <a:lnTo>
                        <a:pt x="189237" y="49110"/>
                      </a:lnTo>
                      <a:lnTo>
                        <a:pt x="188894" y="51205"/>
                      </a:lnTo>
                      <a:lnTo>
                        <a:pt x="189082" y="52060"/>
                      </a:lnTo>
                      <a:lnTo>
                        <a:pt x="193694" y="55377"/>
                      </a:lnTo>
                      <a:lnTo>
                        <a:pt x="197085" y="57178"/>
                      </a:lnTo>
                      <a:lnTo>
                        <a:pt x="197843" y="58059"/>
                      </a:lnTo>
                      <a:lnTo>
                        <a:pt x="197916" y="58596"/>
                      </a:lnTo>
                      <a:lnTo>
                        <a:pt x="196107" y="62158"/>
                      </a:lnTo>
                      <a:lnTo>
                        <a:pt x="195928" y="63120"/>
                      </a:lnTo>
                      <a:lnTo>
                        <a:pt x="198658" y="64587"/>
                      </a:lnTo>
                      <a:lnTo>
                        <a:pt x="200174" y="66909"/>
                      </a:lnTo>
                      <a:lnTo>
                        <a:pt x="201494" y="70691"/>
                      </a:lnTo>
                      <a:lnTo>
                        <a:pt x="204086" y="74309"/>
                      </a:lnTo>
                      <a:lnTo>
                        <a:pt x="209660" y="77504"/>
                      </a:lnTo>
                      <a:lnTo>
                        <a:pt x="213719" y="79590"/>
                      </a:lnTo>
                      <a:lnTo>
                        <a:pt x="214558" y="80544"/>
                      </a:lnTo>
                      <a:lnTo>
                        <a:pt x="214851" y="81668"/>
                      </a:lnTo>
                      <a:lnTo>
                        <a:pt x="214550" y="84146"/>
                      </a:lnTo>
                      <a:lnTo>
                        <a:pt x="213499" y="87170"/>
                      </a:lnTo>
                      <a:lnTo>
                        <a:pt x="212773" y="88840"/>
                      </a:lnTo>
                      <a:lnTo>
                        <a:pt x="214436" y="89541"/>
                      </a:lnTo>
                      <a:lnTo>
                        <a:pt x="218690" y="89354"/>
                      </a:lnTo>
                      <a:lnTo>
                        <a:pt x="223849" y="89948"/>
                      </a:lnTo>
                      <a:lnTo>
                        <a:pt x="230050" y="93266"/>
                      </a:lnTo>
                      <a:lnTo>
                        <a:pt x="230067" y="94757"/>
                      </a:lnTo>
                      <a:lnTo>
                        <a:pt x="229423" y="96118"/>
                      </a:lnTo>
                      <a:lnTo>
                        <a:pt x="229847" y="97536"/>
                      </a:lnTo>
                      <a:lnTo>
                        <a:pt x="230523" y="98758"/>
                      </a:lnTo>
                      <a:lnTo>
                        <a:pt x="235886" y="102458"/>
                      </a:lnTo>
                      <a:lnTo>
                        <a:pt x="236399" y="103542"/>
                      </a:lnTo>
                      <a:lnTo>
                        <a:pt x="236497" y="105335"/>
                      </a:lnTo>
                      <a:lnTo>
                        <a:pt x="236342" y="106664"/>
                      </a:lnTo>
                      <a:lnTo>
                        <a:pt x="234859" y="106933"/>
                      </a:lnTo>
                      <a:lnTo>
                        <a:pt x="233212" y="107552"/>
                      </a:lnTo>
                      <a:lnTo>
                        <a:pt x="230523" y="109133"/>
                      </a:lnTo>
                      <a:lnTo>
                        <a:pt x="229440" y="111374"/>
                      </a:lnTo>
                      <a:lnTo>
                        <a:pt x="225096" y="114447"/>
                      </a:lnTo>
                      <a:lnTo>
                        <a:pt x="222398" y="115840"/>
                      </a:lnTo>
                      <a:lnTo>
                        <a:pt x="220255" y="115897"/>
                      </a:lnTo>
                      <a:lnTo>
                        <a:pt x="215153" y="115278"/>
                      </a:lnTo>
                      <a:lnTo>
                        <a:pt x="213360" y="113754"/>
                      </a:lnTo>
                      <a:lnTo>
                        <a:pt x="212618" y="112360"/>
                      </a:lnTo>
                      <a:lnTo>
                        <a:pt x="210654" y="111733"/>
                      </a:lnTo>
                      <a:lnTo>
                        <a:pt x="208038" y="111668"/>
                      </a:lnTo>
                      <a:lnTo>
                        <a:pt x="204444" y="111920"/>
                      </a:lnTo>
                      <a:lnTo>
                        <a:pt x="203703" y="112336"/>
                      </a:lnTo>
                      <a:lnTo>
                        <a:pt x="203116" y="114055"/>
                      </a:lnTo>
                      <a:lnTo>
                        <a:pt x="201584" y="116973"/>
                      </a:lnTo>
                      <a:lnTo>
                        <a:pt x="200500" y="118628"/>
                      </a:lnTo>
                      <a:lnTo>
                        <a:pt x="201388" y="119630"/>
                      </a:lnTo>
                      <a:lnTo>
                        <a:pt x="202831" y="121741"/>
                      </a:lnTo>
                      <a:lnTo>
                        <a:pt x="205056" y="124406"/>
                      </a:lnTo>
                      <a:lnTo>
                        <a:pt x="207337" y="126794"/>
                      </a:lnTo>
                      <a:lnTo>
                        <a:pt x="208087" y="128244"/>
                      </a:lnTo>
                      <a:lnTo>
                        <a:pt x="208047" y="129279"/>
                      </a:lnTo>
                      <a:lnTo>
                        <a:pt x="206954" y="130502"/>
                      </a:lnTo>
                      <a:lnTo>
                        <a:pt x="207117" y="132946"/>
                      </a:lnTo>
                      <a:lnTo>
                        <a:pt x="209350" y="136182"/>
                      </a:lnTo>
                      <a:lnTo>
                        <a:pt x="208601" y="136695"/>
                      </a:lnTo>
                      <a:lnTo>
                        <a:pt x="208380" y="140656"/>
                      </a:lnTo>
                      <a:lnTo>
                        <a:pt x="208389" y="144878"/>
                      </a:lnTo>
                      <a:lnTo>
                        <a:pt x="209000" y="145896"/>
                      </a:lnTo>
                      <a:lnTo>
                        <a:pt x="210198" y="146736"/>
                      </a:lnTo>
                      <a:lnTo>
                        <a:pt x="211200" y="148276"/>
                      </a:lnTo>
                      <a:lnTo>
                        <a:pt x="212887" y="151805"/>
                      </a:lnTo>
                      <a:lnTo>
                        <a:pt x="213018" y="152718"/>
                      </a:lnTo>
                      <a:lnTo>
                        <a:pt x="208307" y="152465"/>
                      </a:lnTo>
                      <a:lnTo>
                        <a:pt x="202651" y="152563"/>
                      </a:lnTo>
                      <a:lnTo>
                        <a:pt x="199481" y="154609"/>
                      </a:lnTo>
                      <a:lnTo>
                        <a:pt x="198250" y="154136"/>
                      </a:lnTo>
                      <a:lnTo>
                        <a:pt x="196034" y="153622"/>
                      </a:lnTo>
                      <a:lnTo>
                        <a:pt x="193597" y="154755"/>
                      </a:lnTo>
                      <a:lnTo>
                        <a:pt x="190255" y="158211"/>
                      </a:lnTo>
                      <a:lnTo>
                        <a:pt x="187998" y="160354"/>
                      </a:lnTo>
                      <a:lnTo>
                        <a:pt x="185830" y="163353"/>
                      </a:lnTo>
                      <a:lnTo>
                        <a:pt x="185129" y="164983"/>
                      </a:lnTo>
                      <a:lnTo>
                        <a:pt x="183752" y="167982"/>
                      </a:lnTo>
                      <a:lnTo>
                        <a:pt x="182489" y="171397"/>
                      </a:lnTo>
                      <a:lnTo>
                        <a:pt x="183181" y="173801"/>
                      </a:lnTo>
                      <a:lnTo>
                        <a:pt x="184217" y="176026"/>
                      </a:lnTo>
                      <a:lnTo>
                        <a:pt x="184453" y="178414"/>
                      </a:lnTo>
                      <a:lnTo>
                        <a:pt x="184958" y="180288"/>
                      </a:lnTo>
                      <a:lnTo>
                        <a:pt x="183581" y="181657"/>
                      </a:lnTo>
                      <a:lnTo>
                        <a:pt x="182782" y="183622"/>
                      </a:lnTo>
                      <a:lnTo>
                        <a:pt x="180427" y="183279"/>
                      </a:lnTo>
                      <a:lnTo>
                        <a:pt x="177534" y="181397"/>
                      </a:lnTo>
                      <a:lnTo>
                        <a:pt x="176931" y="178658"/>
                      </a:lnTo>
                      <a:lnTo>
                        <a:pt x="174714" y="176760"/>
                      </a:lnTo>
                      <a:lnTo>
                        <a:pt x="173263" y="175773"/>
                      </a:lnTo>
                      <a:lnTo>
                        <a:pt x="170859" y="175627"/>
                      </a:lnTo>
                      <a:lnTo>
                        <a:pt x="167012" y="176507"/>
                      </a:lnTo>
                      <a:lnTo>
                        <a:pt x="161984" y="177191"/>
                      </a:lnTo>
                      <a:lnTo>
                        <a:pt x="158178" y="177379"/>
                      </a:lnTo>
                      <a:lnTo>
                        <a:pt x="156116" y="178341"/>
                      </a:lnTo>
                      <a:lnTo>
                        <a:pt x="153052" y="179294"/>
                      </a:lnTo>
                      <a:lnTo>
                        <a:pt x="151878" y="178169"/>
                      </a:lnTo>
                      <a:lnTo>
                        <a:pt x="150192" y="175073"/>
                      </a:lnTo>
                      <a:lnTo>
                        <a:pt x="148790" y="171992"/>
                      </a:lnTo>
                      <a:lnTo>
                        <a:pt x="147836" y="170631"/>
                      </a:lnTo>
                      <a:lnTo>
                        <a:pt x="146997" y="170248"/>
                      </a:lnTo>
                      <a:lnTo>
                        <a:pt x="145978" y="170329"/>
                      </a:lnTo>
                      <a:lnTo>
                        <a:pt x="144796" y="171307"/>
                      </a:lnTo>
                      <a:lnTo>
                        <a:pt x="143916" y="172318"/>
                      </a:lnTo>
                      <a:lnTo>
                        <a:pt x="142669" y="172660"/>
                      </a:lnTo>
                      <a:lnTo>
                        <a:pt x="140738" y="173475"/>
                      </a:lnTo>
                      <a:lnTo>
                        <a:pt x="139344" y="174584"/>
                      </a:lnTo>
                      <a:lnTo>
                        <a:pt x="137804" y="177420"/>
                      </a:lnTo>
                      <a:lnTo>
                        <a:pt x="136785" y="177216"/>
                      </a:lnTo>
                      <a:lnTo>
                        <a:pt x="135734" y="176564"/>
                      </a:lnTo>
                      <a:lnTo>
                        <a:pt x="134528" y="173394"/>
                      </a:lnTo>
                      <a:lnTo>
                        <a:pt x="132857" y="172660"/>
                      </a:lnTo>
                      <a:lnTo>
                        <a:pt x="130208" y="172611"/>
                      </a:lnTo>
                      <a:lnTo>
                        <a:pt x="126899" y="171935"/>
                      </a:lnTo>
                      <a:lnTo>
                        <a:pt x="124226" y="170981"/>
                      </a:lnTo>
                      <a:lnTo>
                        <a:pt x="123256" y="171201"/>
                      </a:lnTo>
                      <a:lnTo>
                        <a:pt x="121659" y="172562"/>
                      </a:lnTo>
                      <a:lnTo>
                        <a:pt x="119939" y="172758"/>
                      </a:lnTo>
                      <a:lnTo>
                        <a:pt x="116158" y="171552"/>
                      </a:lnTo>
                      <a:lnTo>
                        <a:pt x="115416" y="172106"/>
                      </a:lnTo>
                      <a:lnTo>
                        <a:pt x="114431" y="173891"/>
                      </a:lnTo>
                      <a:lnTo>
                        <a:pt x="113249" y="175602"/>
                      </a:lnTo>
                      <a:lnTo>
                        <a:pt x="112230" y="175773"/>
                      </a:lnTo>
                      <a:lnTo>
                        <a:pt x="111651" y="175333"/>
                      </a:lnTo>
                      <a:lnTo>
                        <a:pt x="111977" y="172285"/>
                      </a:lnTo>
                      <a:lnTo>
                        <a:pt x="109785" y="171210"/>
                      </a:lnTo>
                      <a:lnTo>
                        <a:pt x="106085" y="171047"/>
                      </a:lnTo>
                      <a:lnTo>
                        <a:pt x="103485" y="171487"/>
                      </a:lnTo>
                      <a:lnTo>
                        <a:pt x="102214" y="171364"/>
                      </a:lnTo>
                      <a:lnTo>
                        <a:pt x="101562" y="170769"/>
                      </a:lnTo>
                      <a:lnTo>
                        <a:pt x="98384" y="165651"/>
                      </a:lnTo>
                      <a:lnTo>
                        <a:pt x="96697" y="165325"/>
                      </a:lnTo>
                      <a:lnTo>
                        <a:pt x="93689" y="165578"/>
                      </a:lnTo>
                      <a:lnTo>
                        <a:pt x="89240" y="164959"/>
                      </a:lnTo>
                      <a:lnTo>
                        <a:pt x="84113" y="163801"/>
                      </a:lnTo>
                      <a:lnTo>
                        <a:pt x="81310" y="163378"/>
                      </a:lnTo>
                      <a:lnTo>
                        <a:pt x="79843" y="162228"/>
                      </a:lnTo>
                      <a:lnTo>
                        <a:pt x="76681" y="161837"/>
                      </a:lnTo>
                      <a:lnTo>
                        <a:pt x="68205" y="159670"/>
                      </a:lnTo>
                      <a:lnTo>
                        <a:pt x="64741" y="159295"/>
                      </a:lnTo>
                      <a:lnTo>
                        <a:pt x="59648" y="159262"/>
                      </a:lnTo>
                      <a:lnTo>
                        <a:pt x="51889" y="158773"/>
                      </a:lnTo>
                      <a:lnTo>
                        <a:pt x="46910" y="159042"/>
                      </a:lnTo>
                      <a:lnTo>
                        <a:pt x="44612" y="159767"/>
                      </a:lnTo>
                      <a:lnTo>
                        <a:pt x="41946" y="160207"/>
                      </a:lnTo>
                      <a:lnTo>
                        <a:pt x="37456" y="160607"/>
                      </a:lnTo>
                      <a:lnTo>
                        <a:pt x="35614" y="160566"/>
                      </a:lnTo>
                      <a:lnTo>
                        <a:pt x="32746" y="160802"/>
                      </a:lnTo>
                      <a:lnTo>
                        <a:pt x="29428" y="161373"/>
                      </a:lnTo>
                      <a:lnTo>
                        <a:pt x="28491" y="162457"/>
                      </a:lnTo>
                      <a:lnTo>
                        <a:pt x="27399" y="164812"/>
                      </a:lnTo>
                      <a:lnTo>
                        <a:pt x="23602" y="168879"/>
                      </a:lnTo>
                      <a:lnTo>
                        <a:pt x="19918" y="171584"/>
                      </a:lnTo>
                      <a:lnTo>
                        <a:pt x="19241" y="171821"/>
                      </a:lnTo>
                      <a:lnTo>
                        <a:pt x="17090" y="170378"/>
                      </a:lnTo>
                      <a:lnTo>
                        <a:pt x="15289" y="169897"/>
                      </a:lnTo>
                      <a:lnTo>
                        <a:pt x="13186" y="169743"/>
                      </a:lnTo>
                      <a:lnTo>
                        <a:pt x="11703" y="170199"/>
                      </a:lnTo>
                      <a:lnTo>
                        <a:pt x="10749" y="170883"/>
                      </a:lnTo>
                      <a:lnTo>
                        <a:pt x="10880" y="174021"/>
                      </a:lnTo>
                      <a:lnTo>
                        <a:pt x="10676" y="174298"/>
                      </a:lnTo>
                      <a:lnTo>
                        <a:pt x="9038" y="170574"/>
                      </a:lnTo>
                      <a:lnTo>
                        <a:pt x="9168" y="167192"/>
                      </a:lnTo>
                      <a:lnTo>
                        <a:pt x="10073" y="165268"/>
                      </a:lnTo>
                      <a:lnTo>
                        <a:pt x="11173" y="163532"/>
                      </a:lnTo>
                      <a:lnTo>
                        <a:pt x="10717" y="160925"/>
                      </a:lnTo>
                      <a:lnTo>
                        <a:pt x="11801" y="157469"/>
                      </a:lnTo>
                      <a:lnTo>
                        <a:pt x="11833" y="154975"/>
                      </a:lnTo>
                      <a:lnTo>
                        <a:pt x="11361" y="153891"/>
                      </a:lnTo>
                      <a:lnTo>
                        <a:pt x="10481" y="152653"/>
                      </a:lnTo>
                      <a:lnTo>
                        <a:pt x="8085" y="151259"/>
                      </a:lnTo>
                      <a:lnTo>
                        <a:pt x="7025" y="150175"/>
                      </a:lnTo>
                      <a:lnTo>
                        <a:pt x="3773" y="148741"/>
                      </a:lnTo>
                      <a:lnTo>
                        <a:pt x="538" y="146940"/>
                      </a:lnTo>
                      <a:lnTo>
                        <a:pt x="0" y="145839"/>
                      </a:lnTo>
                      <a:lnTo>
                        <a:pt x="155" y="145073"/>
                      </a:lnTo>
                      <a:lnTo>
                        <a:pt x="717" y="143932"/>
                      </a:lnTo>
                      <a:lnTo>
                        <a:pt x="3186" y="140566"/>
                      </a:lnTo>
                      <a:lnTo>
                        <a:pt x="5852" y="137299"/>
                      </a:lnTo>
                      <a:lnTo>
                        <a:pt x="7546" y="135978"/>
                      </a:lnTo>
                      <a:lnTo>
                        <a:pt x="16609" y="131781"/>
                      </a:lnTo>
                      <a:lnTo>
                        <a:pt x="18011" y="130314"/>
                      </a:lnTo>
                      <a:lnTo>
                        <a:pt x="18361" y="127829"/>
                      </a:lnTo>
                      <a:lnTo>
                        <a:pt x="18386" y="126019"/>
                      </a:lnTo>
                      <a:lnTo>
                        <a:pt x="18207" y="122800"/>
                      </a:lnTo>
                      <a:lnTo>
                        <a:pt x="17660" y="118212"/>
                      </a:lnTo>
                      <a:lnTo>
                        <a:pt x="16960" y="115058"/>
                      </a:lnTo>
                      <a:lnTo>
                        <a:pt x="15232" y="109109"/>
                      </a:lnTo>
                      <a:lnTo>
                        <a:pt x="10505" y="96794"/>
                      </a:lnTo>
                      <a:lnTo>
                        <a:pt x="7677" y="83975"/>
                      </a:lnTo>
                      <a:lnTo>
                        <a:pt x="9519" y="84725"/>
                      </a:lnTo>
                      <a:lnTo>
                        <a:pt x="13855" y="85010"/>
                      </a:lnTo>
                      <a:lnTo>
                        <a:pt x="17294" y="84130"/>
                      </a:lnTo>
                      <a:lnTo>
                        <a:pt x="19079" y="84007"/>
                      </a:lnTo>
                      <a:lnTo>
                        <a:pt x="20676" y="84276"/>
                      </a:lnTo>
                      <a:lnTo>
                        <a:pt x="23031" y="83779"/>
                      </a:lnTo>
                      <a:lnTo>
                        <a:pt x="25199" y="83575"/>
                      </a:lnTo>
                      <a:lnTo>
                        <a:pt x="26323" y="84716"/>
                      </a:lnTo>
                      <a:lnTo>
                        <a:pt x="28344" y="85743"/>
                      </a:lnTo>
                      <a:lnTo>
                        <a:pt x="32330" y="84276"/>
                      </a:lnTo>
                      <a:lnTo>
                        <a:pt x="35851" y="82459"/>
                      </a:lnTo>
                      <a:lnTo>
                        <a:pt x="39518" y="82663"/>
                      </a:lnTo>
                      <a:lnTo>
                        <a:pt x="40039" y="81774"/>
                      </a:lnTo>
                      <a:lnTo>
                        <a:pt x="40928" y="77219"/>
                      </a:lnTo>
                      <a:lnTo>
                        <a:pt x="42020" y="76224"/>
                      </a:lnTo>
                      <a:lnTo>
                        <a:pt x="46404" y="76681"/>
                      </a:lnTo>
                      <a:lnTo>
                        <a:pt x="48026" y="75849"/>
                      </a:lnTo>
                      <a:lnTo>
                        <a:pt x="49713" y="73616"/>
                      </a:lnTo>
                      <a:lnTo>
                        <a:pt x="52305" y="72223"/>
                      </a:lnTo>
                      <a:lnTo>
                        <a:pt x="54465" y="72223"/>
                      </a:lnTo>
                      <a:lnTo>
                        <a:pt x="56697" y="70650"/>
                      </a:lnTo>
                      <a:lnTo>
                        <a:pt x="57798" y="71693"/>
                      </a:lnTo>
                      <a:lnTo>
                        <a:pt x="58344" y="73584"/>
                      </a:lnTo>
                      <a:lnTo>
                        <a:pt x="57594" y="75092"/>
                      </a:lnTo>
                      <a:lnTo>
                        <a:pt x="57920" y="75678"/>
                      </a:lnTo>
                      <a:lnTo>
                        <a:pt x="59469" y="76428"/>
                      </a:lnTo>
                      <a:lnTo>
                        <a:pt x="62142" y="76404"/>
                      </a:lnTo>
                      <a:lnTo>
                        <a:pt x="63845" y="75776"/>
                      </a:lnTo>
                      <a:lnTo>
                        <a:pt x="64236" y="74920"/>
                      </a:lnTo>
                      <a:lnTo>
                        <a:pt x="64236" y="73356"/>
                      </a:lnTo>
                      <a:lnTo>
                        <a:pt x="63821" y="71897"/>
                      </a:lnTo>
                      <a:lnTo>
                        <a:pt x="62679" y="70642"/>
                      </a:lnTo>
                      <a:lnTo>
                        <a:pt x="60569" y="69998"/>
                      </a:lnTo>
                      <a:lnTo>
                        <a:pt x="59094" y="69974"/>
                      </a:lnTo>
                      <a:lnTo>
                        <a:pt x="58833" y="69175"/>
                      </a:lnTo>
                      <a:lnTo>
                        <a:pt x="59338" y="67463"/>
                      </a:lnTo>
                      <a:lnTo>
                        <a:pt x="60642" y="64309"/>
                      </a:lnTo>
                      <a:lnTo>
                        <a:pt x="62256" y="61457"/>
                      </a:lnTo>
                      <a:lnTo>
                        <a:pt x="63242" y="60373"/>
                      </a:lnTo>
                      <a:lnTo>
                        <a:pt x="63405" y="59379"/>
                      </a:lnTo>
                      <a:lnTo>
                        <a:pt x="63226" y="57651"/>
                      </a:lnTo>
                      <a:lnTo>
                        <a:pt x="63185" y="54546"/>
                      </a:lnTo>
                      <a:lnTo>
                        <a:pt x="64627" y="50162"/>
                      </a:lnTo>
                      <a:lnTo>
                        <a:pt x="66575" y="46894"/>
                      </a:lnTo>
                      <a:lnTo>
                        <a:pt x="69183" y="45834"/>
                      </a:lnTo>
                      <a:lnTo>
                        <a:pt x="72370" y="45255"/>
                      </a:lnTo>
                      <a:lnTo>
                        <a:pt x="74407" y="43699"/>
                      </a:lnTo>
                      <a:lnTo>
                        <a:pt x="75417" y="41906"/>
                      </a:lnTo>
                      <a:lnTo>
                        <a:pt x="75809" y="40390"/>
                      </a:lnTo>
                      <a:lnTo>
                        <a:pt x="76281" y="39078"/>
                      </a:lnTo>
                      <a:lnTo>
                        <a:pt x="77300" y="38507"/>
                      </a:lnTo>
                      <a:lnTo>
                        <a:pt x="84969" y="38866"/>
                      </a:lnTo>
                      <a:lnTo>
                        <a:pt x="86143" y="36038"/>
                      </a:lnTo>
                      <a:lnTo>
                        <a:pt x="86803" y="35256"/>
                      </a:lnTo>
                      <a:lnTo>
                        <a:pt x="88278" y="34416"/>
                      </a:lnTo>
                      <a:lnTo>
                        <a:pt x="89305" y="33422"/>
                      </a:lnTo>
                      <a:lnTo>
                        <a:pt x="88913" y="32640"/>
                      </a:lnTo>
                      <a:lnTo>
                        <a:pt x="86958" y="32151"/>
                      </a:lnTo>
                      <a:lnTo>
                        <a:pt x="82353" y="31702"/>
                      </a:lnTo>
                      <a:lnTo>
                        <a:pt x="81416" y="30773"/>
                      </a:lnTo>
                      <a:lnTo>
                        <a:pt x="81709" y="29649"/>
                      </a:lnTo>
                      <a:lnTo>
                        <a:pt x="82940" y="26739"/>
                      </a:lnTo>
                      <a:lnTo>
                        <a:pt x="84105" y="22974"/>
                      </a:lnTo>
                      <a:lnTo>
                        <a:pt x="84725" y="20065"/>
                      </a:lnTo>
                      <a:lnTo>
                        <a:pt x="84782" y="18345"/>
                      </a:lnTo>
                      <a:lnTo>
                        <a:pt x="85442" y="17881"/>
                      </a:lnTo>
                      <a:lnTo>
                        <a:pt x="89207" y="17334"/>
                      </a:lnTo>
                      <a:lnTo>
                        <a:pt x="90470" y="16748"/>
                      </a:lnTo>
                      <a:lnTo>
                        <a:pt x="93698" y="12779"/>
                      </a:lnTo>
                      <a:lnTo>
                        <a:pt x="96167" y="12102"/>
                      </a:lnTo>
                      <a:lnTo>
                        <a:pt x="102532" y="13121"/>
                      </a:lnTo>
                      <a:lnTo>
                        <a:pt x="105458" y="13039"/>
                      </a:lnTo>
                      <a:lnTo>
                        <a:pt x="106248" y="13129"/>
                      </a:lnTo>
                      <a:lnTo>
                        <a:pt x="109174" y="13317"/>
                      </a:lnTo>
                      <a:lnTo>
                        <a:pt x="109492" y="12917"/>
                      </a:lnTo>
                      <a:lnTo>
                        <a:pt x="110795" y="8981"/>
                      </a:lnTo>
                      <a:lnTo>
                        <a:pt x="112083" y="7840"/>
                      </a:lnTo>
                      <a:lnTo>
                        <a:pt x="117095" y="2673"/>
                      </a:lnTo>
                      <a:lnTo>
                        <a:pt x="120461" y="473"/>
                      </a:lnTo>
                      <a:lnTo>
                        <a:pt x="122596" y="0"/>
                      </a:lnTo>
                      <a:close/>
                    </a:path>
                  </a:pathLst>
                </a:custGeom>
                <a:solidFill>
                  <a:srgbClr val="D6D6D2"/>
                </a:solidFill>
                <a:ln w="6112" cap="rnd">
                  <a:solidFill>
                    <a:srgbClr val="FFFFFF"/>
                  </a:solidFill>
                  <a:prstDash val="solid"/>
                  <a:round/>
                </a:ln>
              </p:spPr>
              <p:txBody>
                <a:bodyPr rtlCol="0" anchor="ctr"/>
                <a:lstStyle/>
                <a:p>
                  <a:endParaRPr lang="en-US"/>
                </a:p>
              </p:txBody>
            </p:sp>
            <p:sp>
              <p:nvSpPr>
                <p:cNvPr id="772" name="Freeform: Shape 771">
                  <a:extLst>
                    <a:ext uri="{FF2B5EF4-FFF2-40B4-BE49-F238E27FC236}">
                      <a16:creationId xmlns:a16="http://schemas.microsoft.com/office/drawing/2014/main" id="{432DF441-ADB9-435C-B030-CEF6D43C35C7}"/>
                    </a:ext>
                  </a:extLst>
                </p:cNvPr>
                <p:cNvSpPr/>
                <p:nvPr/>
              </p:nvSpPr>
              <p:spPr>
                <a:xfrm>
                  <a:off x="6333931" y="3093730"/>
                  <a:ext cx="95408" cy="94569"/>
                </a:xfrm>
                <a:custGeom>
                  <a:avLst/>
                  <a:gdLst>
                    <a:gd name="connsiteX0" fmla="*/ 29323 w 95408"/>
                    <a:gd name="connsiteY0" fmla="*/ 0 h 94569"/>
                    <a:gd name="connsiteX1" fmla="*/ 34449 w 95408"/>
                    <a:gd name="connsiteY1" fmla="*/ 3675 h 94569"/>
                    <a:gd name="connsiteX2" fmla="*/ 36560 w 95408"/>
                    <a:gd name="connsiteY2" fmla="*/ 4230 h 94569"/>
                    <a:gd name="connsiteX3" fmla="*/ 37750 w 95408"/>
                    <a:gd name="connsiteY3" fmla="*/ 3724 h 94569"/>
                    <a:gd name="connsiteX4" fmla="*/ 39371 w 95408"/>
                    <a:gd name="connsiteY4" fmla="*/ 3953 h 94569"/>
                    <a:gd name="connsiteX5" fmla="*/ 42982 w 95408"/>
                    <a:gd name="connsiteY5" fmla="*/ 5028 h 94569"/>
                    <a:gd name="connsiteX6" fmla="*/ 43805 w 95408"/>
                    <a:gd name="connsiteY6" fmla="*/ 5485 h 94569"/>
                    <a:gd name="connsiteX7" fmla="*/ 44889 w 95408"/>
                    <a:gd name="connsiteY7" fmla="*/ 5403 h 94569"/>
                    <a:gd name="connsiteX8" fmla="*/ 47545 w 95408"/>
                    <a:gd name="connsiteY8" fmla="*/ 3969 h 94569"/>
                    <a:gd name="connsiteX9" fmla="*/ 48450 w 95408"/>
                    <a:gd name="connsiteY9" fmla="*/ 4148 h 94569"/>
                    <a:gd name="connsiteX10" fmla="*/ 51498 w 95408"/>
                    <a:gd name="connsiteY10" fmla="*/ 6968 h 94569"/>
                    <a:gd name="connsiteX11" fmla="*/ 53030 w 95408"/>
                    <a:gd name="connsiteY11" fmla="*/ 7001 h 94569"/>
                    <a:gd name="connsiteX12" fmla="*/ 54872 w 95408"/>
                    <a:gd name="connsiteY12" fmla="*/ 5786 h 94569"/>
                    <a:gd name="connsiteX13" fmla="*/ 56046 w 95408"/>
                    <a:gd name="connsiteY13" fmla="*/ 4735 h 94569"/>
                    <a:gd name="connsiteX14" fmla="*/ 59542 w 95408"/>
                    <a:gd name="connsiteY14" fmla="*/ 5517 h 94569"/>
                    <a:gd name="connsiteX15" fmla="*/ 61547 w 95408"/>
                    <a:gd name="connsiteY15" fmla="*/ 5045 h 94569"/>
                    <a:gd name="connsiteX16" fmla="*/ 63209 w 95408"/>
                    <a:gd name="connsiteY16" fmla="*/ 4996 h 94569"/>
                    <a:gd name="connsiteX17" fmla="*/ 65002 w 95408"/>
                    <a:gd name="connsiteY17" fmla="*/ 5485 h 94569"/>
                    <a:gd name="connsiteX18" fmla="*/ 66648 w 95408"/>
                    <a:gd name="connsiteY18" fmla="*/ 6129 h 94569"/>
                    <a:gd name="connsiteX19" fmla="*/ 68246 w 95408"/>
                    <a:gd name="connsiteY19" fmla="*/ 6699 h 94569"/>
                    <a:gd name="connsiteX20" fmla="*/ 72582 w 95408"/>
                    <a:gd name="connsiteY20" fmla="*/ 6992 h 94569"/>
                    <a:gd name="connsiteX21" fmla="*/ 74643 w 95408"/>
                    <a:gd name="connsiteY21" fmla="*/ 8777 h 94569"/>
                    <a:gd name="connsiteX22" fmla="*/ 75467 w 95408"/>
                    <a:gd name="connsiteY22" fmla="*/ 10505 h 94569"/>
                    <a:gd name="connsiteX23" fmla="*/ 75491 w 95408"/>
                    <a:gd name="connsiteY23" fmla="*/ 11564 h 94569"/>
                    <a:gd name="connsiteX24" fmla="*/ 75694 w 95408"/>
                    <a:gd name="connsiteY24" fmla="*/ 12697 h 94569"/>
                    <a:gd name="connsiteX25" fmla="*/ 76885 w 95408"/>
                    <a:gd name="connsiteY25" fmla="*/ 13806 h 94569"/>
                    <a:gd name="connsiteX26" fmla="*/ 79484 w 95408"/>
                    <a:gd name="connsiteY26" fmla="*/ 14433 h 94569"/>
                    <a:gd name="connsiteX27" fmla="*/ 81122 w 95408"/>
                    <a:gd name="connsiteY27" fmla="*/ 14303 h 94569"/>
                    <a:gd name="connsiteX28" fmla="*/ 81986 w 95408"/>
                    <a:gd name="connsiteY28" fmla="*/ 14221 h 94569"/>
                    <a:gd name="connsiteX29" fmla="*/ 84203 w 95408"/>
                    <a:gd name="connsiteY29" fmla="*/ 13235 h 94569"/>
                    <a:gd name="connsiteX30" fmla="*/ 86819 w 95408"/>
                    <a:gd name="connsiteY30" fmla="*/ 12722 h 94569"/>
                    <a:gd name="connsiteX31" fmla="*/ 88694 w 95408"/>
                    <a:gd name="connsiteY31" fmla="*/ 13300 h 94569"/>
                    <a:gd name="connsiteX32" fmla="*/ 89590 w 95408"/>
                    <a:gd name="connsiteY32" fmla="*/ 13887 h 94569"/>
                    <a:gd name="connsiteX33" fmla="*/ 89794 w 95408"/>
                    <a:gd name="connsiteY33" fmla="*/ 14669 h 94569"/>
                    <a:gd name="connsiteX34" fmla="*/ 89240 w 95408"/>
                    <a:gd name="connsiteY34" fmla="*/ 17391 h 94569"/>
                    <a:gd name="connsiteX35" fmla="*/ 88180 w 95408"/>
                    <a:gd name="connsiteY35" fmla="*/ 20334 h 94569"/>
                    <a:gd name="connsiteX36" fmla="*/ 86477 w 95408"/>
                    <a:gd name="connsiteY36" fmla="*/ 23381 h 94569"/>
                    <a:gd name="connsiteX37" fmla="*/ 84700 w 95408"/>
                    <a:gd name="connsiteY37" fmla="*/ 26258 h 94569"/>
                    <a:gd name="connsiteX38" fmla="*/ 84219 w 95408"/>
                    <a:gd name="connsiteY38" fmla="*/ 27782 h 94569"/>
                    <a:gd name="connsiteX39" fmla="*/ 84105 w 95408"/>
                    <a:gd name="connsiteY39" fmla="*/ 30203 h 94569"/>
                    <a:gd name="connsiteX40" fmla="*/ 83869 w 95408"/>
                    <a:gd name="connsiteY40" fmla="*/ 32110 h 94569"/>
                    <a:gd name="connsiteX41" fmla="*/ 84130 w 95408"/>
                    <a:gd name="connsiteY41" fmla="*/ 33145 h 94569"/>
                    <a:gd name="connsiteX42" fmla="*/ 84708 w 95408"/>
                    <a:gd name="connsiteY42" fmla="*/ 34115 h 94569"/>
                    <a:gd name="connsiteX43" fmla="*/ 86680 w 95408"/>
                    <a:gd name="connsiteY43" fmla="*/ 34873 h 94569"/>
                    <a:gd name="connsiteX44" fmla="*/ 89346 w 95408"/>
                    <a:gd name="connsiteY44" fmla="*/ 36788 h 94569"/>
                    <a:gd name="connsiteX45" fmla="*/ 91611 w 95408"/>
                    <a:gd name="connsiteY45" fmla="*/ 39273 h 94569"/>
                    <a:gd name="connsiteX46" fmla="*/ 94521 w 95408"/>
                    <a:gd name="connsiteY46" fmla="*/ 42101 h 94569"/>
                    <a:gd name="connsiteX47" fmla="*/ 95409 w 95408"/>
                    <a:gd name="connsiteY47" fmla="*/ 43145 h 94569"/>
                    <a:gd name="connsiteX48" fmla="*/ 95409 w 95408"/>
                    <a:gd name="connsiteY48" fmla="*/ 44269 h 94569"/>
                    <a:gd name="connsiteX49" fmla="*/ 94570 w 95408"/>
                    <a:gd name="connsiteY49" fmla="*/ 45109 h 94569"/>
                    <a:gd name="connsiteX50" fmla="*/ 92092 w 95408"/>
                    <a:gd name="connsiteY50" fmla="*/ 45427 h 94569"/>
                    <a:gd name="connsiteX51" fmla="*/ 89500 w 95408"/>
                    <a:gd name="connsiteY51" fmla="*/ 45174 h 94569"/>
                    <a:gd name="connsiteX52" fmla="*/ 88514 w 95408"/>
                    <a:gd name="connsiteY52" fmla="*/ 44889 h 94569"/>
                    <a:gd name="connsiteX53" fmla="*/ 87585 w 95408"/>
                    <a:gd name="connsiteY53" fmla="*/ 45231 h 94569"/>
                    <a:gd name="connsiteX54" fmla="*/ 87015 w 95408"/>
                    <a:gd name="connsiteY54" fmla="*/ 45883 h 94569"/>
                    <a:gd name="connsiteX55" fmla="*/ 87316 w 95408"/>
                    <a:gd name="connsiteY55" fmla="*/ 46633 h 94569"/>
                    <a:gd name="connsiteX56" fmla="*/ 89965 w 95408"/>
                    <a:gd name="connsiteY56" fmla="*/ 50064 h 94569"/>
                    <a:gd name="connsiteX57" fmla="*/ 93045 w 95408"/>
                    <a:gd name="connsiteY57" fmla="*/ 54970 h 94569"/>
                    <a:gd name="connsiteX58" fmla="*/ 93225 w 95408"/>
                    <a:gd name="connsiteY58" fmla="*/ 57081 h 94569"/>
                    <a:gd name="connsiteX59" fmla="*/ 92841 w 95408"/>
                    <a:gd name="connsiteY59" fmla="*/ 58735 h 94569"/>
                    <a:gd name="connsiteX60" fmla="*/ 92133 w 95408"/>
                    <a:gd name="connsiteY60" fmla="*/ 59884 h 94569"/>
                    <a:gd name="connsiteX61" fmla="*/ 90853 w 95408"/>
                    <a:gd name="connsiteY61" fmla="*/ 59697 h 94569"/>
                    <a:gd name="connsiteX62" fmla="*/ 89883 w 95408"/>
                    <a:gd name="connsiteY62" fmla="*/ 58800 h 94569"/>
                    <a:gd name="connsiteX63" fmla="*/ 88400 w 95408"/>
                    <a:gd name="connsiteY63" fmla="*/ 58849 h 94569"/>
                    <a:gd name="connsiteX64" fmla="*/ 87251 w 95408"/>
                    <a:gd name="connsiteY64" fmla="*/ 59110 h 94569"/>
                    <a:gd name="connsiteX65" fmla="*/ 85768 w 95408"/>
                    <a:gd name="connsiteY65" fmla="*/ 60887 h 94569"/>
                    <a:gd name="connsiteX66" fmla="*/ 85010 w 95408"/>
                    <a:gd name="connsiteY66" fmla="*/ 60813 h 94569"/>
                    <a:gd name="connsiteX67" fmla="*/ 83738 w 95408"/>
                    <a:gd name="connsiteY67" fmla="*/ 61082 h 94569"/>
                    <a:gd name="connsiteX68" fmla="*/ 82923 w 95408"/>
                    <a:gd name="connsiteY68" fmla="*/ 61424 h 94569"/>
                    <a:gd name="connsiteX69" fmla="*/ 81644 w 95408"/>
                    <a:gd name="connsiteY69" fmla="*/ 60911 h 94569"/>
                    <a:gd name="connsiteX70" fmla="*/ 80299 w 95408"/>
                    <a:gd name="connsiteY70" fmla="*/ 60569 h 94569"/>
                    <a:gd name="connsiteX71" fmla="*/ 79721 w 95408"/>
                    <a:gd name="connsiteY71" fmla="*/ 61115 h 94569"/>
                    <a:gd name="connsiteX72" fmla="*/ 79451 w 95408"/>
                    <a:gd name="connsiteY72" fmla="*/ 62150 h 94569"/>
                    <a:gd name="connsiteX73" fmla="*/ 80291 w 95408"/>
                    <a:gd name="connsiteY73" fmla="*/ 64040 h 94569"/>
                    <a:gd name="connsiteX74" fmla="*/ 81848 w 95408"/>
                    <a:gd name="connsiteY74" fmla="*/ 66983 h 94569"/>
                    <a:gd name="connsiteX75" fmla="*/ 81603 w 95408"/>
                    <a:gd name="connsiteY75" fmla="*/ 69240 h 94569"/>
                    <a:gd name="connsiteX76" fmla="*/ 80413 w 95408"/>
                    <a:gd name="connsiteY76" fmla="*/ 69485 h 94569"/>
                    <a:gd name="connsiteX77" fmla="*/ 79330 w 95408"/>
                    <a:gd name="connsiteY77" fmla="*/ 67610 h 94569"/>
                    <a:gd name="connsiteX78" fmla="*/ 78352 w 95408"/>
                    <a:gd name="connsiteY78" fmla="*/ 67300 h 94569"/>
                    <a:gd name="connsiteX79" fmla="*/ 77251 w 95408"/>
                    <a:gd name="connsiteY79" fmla="*/ 67374 h 94569"/>
                    <a:gd name="connsiteX80" fmla="*/ 74725 w 95408"/>
                    <a:gd name="connsiteY80" fmla="*/ 69550 h 94569"/>
                    <a:gd name="connsiteX81" fmla="*/ 72859 w 95408"/>
                    <a:gd name="connsiteY81" fmla="*/ 71367 h 94569"/>
                    <a:gd name="connsiteX82" fmla="*/ 72426 w 95408"/>
                    <a:gd name="connsiteY82" fmla="*/ 72655 h 94569"/>
                    <a:gd name="connsiteX83" fmla="*/ 71758 w 95408"/>
                    <a:gd name="connsiteY83" fmla="*/ 74048 h 94569"/>
                    <a:gd name="connsiteX84" fmla="*/ 71563 w 95408"/>
                    <a:gd name="connsiteY84" fmla="*/ 75051 h 94569"/>
                    <a:gd name="connsiteX85" fmla="*/ 71595 w 95408"/>
                    <a:gd name="connsiteY85" fmla="*/ 78408 h 94569"/>
                    <a:gd name="connsiteX86" fmla="*/ 68254 w 95408"/>
                    <a:gd name="connsiteY86" fmla="*/ 78946 h 94569"/>
                    <a:gd name="connsiteX87" fmla="*/ 67545 w 95408"/>
                    <a:gd name="connsiteY87" fmla="*/ 79435 h 94569"/>
                    <a:gd name="connsiteX88" fmla="*/ 67146 w 95408"/>
                    <a:gd name="connsiteY88" fmla="*/ 80454 h 94569"/>
                    <a:gd name="connsiteX89" fmla="*/ 67431 w 95408"/>
                    <a:gd name="connsiteY89" fmla="*/ 84757 h 94569"/>
                    <a:gd name="connsiteX90" fmla="*/ 67700 w 95408"/>
                    <a:gd name="connsiteY90" fmla="*/ 87055 h 94569"/>
                    <a:gd name="connsiteX91" fmla="*/ 69607 w 95408"/>
                    <a:gd name="connsiteY91" fmla="*/ 90617 h 94569"/>
                    <a:gd name="connsiteX92" fmla="*/ 69672 w 95408"/>
                    <a:gd name="connsiteY92" fmla="*/ 91741 h 94569"/>
                    <a:gd name="connsiteX93" fmla="*/ 69411 w 95408"/>
                    <a:gd name="connsiteY93" fmla="*/ 92483 h 94569"/>
                    <a:gd name="connsiteX94" fmla="*/ 68050 w 95408"/>
                    <a:gd name="connsiteY94" fmla="*/ 93893 h 94569"/>
                    <a:gd name="connsiteX95" fmla="*/ 67398 w 95408"/>
                    <a:gd name="connsiteY95" fmla="*/ 94398 h 94569"/>
                    <a:gd name="connsiteX96" fmla="*/ 66966 w 95408"/>
                    <a:gd name="connsiteY96" fmla="*/ 94569 h 94569"/>
                    <a:gd name="connsiteX97" fmla="*/ 64741 w 95408"/>
                    <a:gd name="connsiteY97" fmla="*/ 93632 h 94569"/>
                    <a:gd name="connsiteX98" fmla="*/ 63674 w 95408"/>
                    <a:gd name="connsiteY98" fmla="*/ 93200 h 94569"/>
                    <a:gd name="connsiteX99" fmla="*/ 59208 w 95408"/>
                    <a:gd name="connsiteY99" fmla="*/ 90054 h 94569"/>
                    <a:gd name="connsiteX100" fmla="*/ 57244 w 95408"/>
                    <a:gd name="connsiteY100" fmla="*/ 88302 h 94569"/>
                    <a:gd name="connsiteX101" fmla="*/ 54122 w 95408"/>
                    <a:gd name="connsiteY101" fmla="*/ 86020 h 94569"/>
                    <a:gd name="connsiteX102" fmla="*/ 52207 w 95408"/>
                    <a:gd name="connsiteY102" fmla="*/ 84716 h 94569"/>
                    <a:gd name="connsiteX103" fmla="*/ 51229 w 95408"/>
                    <a:gd name="connsiteY103" fmla="*/ 82744 h 94569"/>
                    <a:gd name="connsiteX104" fmla="*/ 49697 w 95408"/>
                    <a:gd name="connsiteY104" fmla="*/ 82288 h 94569"/>
                    <a:gd name="connsiteX105" fmla="*/ 47896 w 95408"/>
                    <a:gd name="connsiteY105" fmla="*/ 82915 h 94569"/>
                    <a:gd name="connsiteX106" fmla="*/ 45842 w 95408"/>
                    <a:gd name="connsiteY106" fmla="*/ 81497 h 94569"/>
                    <a:gd name="connsiteX107" fmla="*/ 47293 w 95408"/>
                    <a:gd name="connsiteY107" fmla="*/ 80756 h 94569"/>
                    <a:gd name="connsiteX108" fmla="*/ 47651 w 95408"/>
                    <a:gd name="connsiteY108" fmla="*/ 80055 h 94569"/>
                    <a:gd name="connsiteX109" fmla="*/ 47472 w 95408"/>
                    <a:gd name="connsiteY109" fmla="*/ 79142 h 94569"/>
                    <a:gd name="connsiteX110" fmla="*/ 46828 w 95408"/>
                    <a:gd name="connsiteY110" fmla="*/ 77887 h 94569"/>
                    <a:gd name="connsiteX111" fmla="*/ 41327 w 95408"/>
                    <a:gd name="connsiteY111" fmla="*/ 72475 h 94569"/>
                    <a:gd name="connsiteX112" fmla="*/ 38605 w 95408"/>
                    <a:gd name="connsiteY112" fmla="*/ 68784 h 94569"/>
                    <a:gd name="connsiteX113" fmla="*/ 38165 w 95408"/>
                    <a:gd name="connsiteY113" fmla="*/ 67463 h 94569"/>
                    <a:gd name="connsiteX114" fmla="*/ 38133 w 95408"/>
                    <a:gd name="connsiteY114" fmla="*/ 63918 h 94569"/>
                    <a:gd name="connsiteX115" fmla="*/ 37497 w 95408"/>
                    <a:gd name="connsiteY115" fmla="*/ 63079 h 94569"/>
                    <a:gd name="connsiteX116" fmla="*/ 33438 w 95408"/>
                    <a:gd name="connsiteY116" fmla="*/ 61465 h 94569"/>
                    <a:gd name="connsiteX117" fmla="*/ 28907 w 95408"/>
                    <a:gd name="connsiteY117" fmla="*/ 56869 h 94569"/>
                    <a:gd name="connsiteX118" fmla="*/ 24237 w 95408"/>
                    <a:gd name="connsiteY118" fmla="*/ 52354 h 94569"/>
                    <a:gd name="connsiteX119" fmla="*/ 23594 w 95408"/>
                    <a:gd name="connsiteY119" fmla="*/ 51099 h 94569"/>
                    <a:gd name="connsiteX120" fmla="*/ 21181 w 95408"/>
                    <a:gd name="connsiteY120" fmla="*/ 47684 h 94569"/>
                    <a:gd name="connsiteX121" fmla="*/ 18247 w 95408"/>
                    <a:gd name="connsiteY121" fmla="*/ 44571 h 94569"/>
                    <a:gd name="connsiteX122" fmla="*/ 15900 w 95408"/>
                    <a:gd name="connsiteY122" fmla="*/ 42582 h 94569"/>
                    <a:gd name="connsiteX123" fmla="*/ 13977 w 95408"/>
                    <a:gd name="connsiteY123" fmla="*/ 40325 h 94569"/>
                    <a:gd name="connsiteX124" fmla="*/ 11850 w 95408"/>
                    <a:gd name="connsiteY124" fmla="*/ 37163 h 94569"/>
                    <a:gd name="connsiteX125" fmla="*/ 10741 w 95408"/>
                    <a:gd name="connsiteY125" fmla="*/ 32387 h 94569"/>
                    <a:gd name="connsiteX126" fmla="*/ 9771 w 95408"/>
                    <a:gd name="connsiteY126" fmla="*/ 28133 h 94569"/>
                    <a:gd name="connsiteX127" fmla="*/ 9103 w 95408"/>
                    <a:gd name="connsiteY127" fmla="*/ 26478 h 94569"/>
                    <a:gd name="connsiteX128" fmla="*/ 7750 w 95408"/>
                    <a:gd name="connsiteY128" fmla="*/ 25900 h 94569"/>
                    <a:gd name="connsiteX129" fmla="*/ 3562 w 95408"/>
                    <a:gd name="connsiteY129" fmla="*/ 20855 h 94569"/>
                    <a:gd name="connsiteX130" fmla="*/ 0 w 95408"/>
                    <a:gd name="connsiteY130" fmla="*/ 17913 h 94569"/>
                    <a:gd name="connsiteX131" fmla="*/ 41 w 95408"/>
                    <a:gd name="connsiteY131" fmla="*/ 14743 h 94569"/>
                    <a:gd name="connsiteX132" fmla="*/ 619 w 95408"/>
                    <a:gd name="connsiteY132" fmla="*/ 9446 h 94569"/>
                    <a:gd name="connsiteX133" fmla="*/ 1288 w 95408"/>
                    <a:gd name="connsiteY133" fmla="*/ 3431 h 94569"/>
                    <a:gd name="connsiteX134" fmla="*/ 2143 w 95408"/>
                    <a:gd name="connsiteY134" fmla="*/ 2592 h 94569"/>
                    <a:gd name="connsiteX135" fmla="*/ 3765 w 95408"/>
                    <a:gd name="connsiteY135" fmla="*/ 2135 h 94569"/>
                    <a:gd name="connsiteX136" fmla="*/ 5615 w 95408"/>
                    <a:gd name="connsiteY136" fmla="*/ 2306 h 94569"/>
                    <a:gd name="connsiteX137" fmla="*/ 7245 w 95408"/>
                    <a:gd name="connsiteY137" fmla="*/ 3056 h 94569"/>
                    <a:gd name="connsiteX138" fmla="*/ 10440 w 95408"/>
                    <a:gd name="connsiteY138" fmla="*/ 7180 h 94569"/>
                    <a:gd name="connsiteX139" fmla="*/ 12265 w 95408"/>
                    <a:gd name="connsiteY139" fmla="*/ 8777 h 94569"/>
                    <a:gd name="connsiteX140" fmla="*/ 13814 w 95408"/>
                    <a:gd name="connsiteY140" fmla="*/ 9397 h 94569"/>
                    <a:gd name="connsiteX141" fmla="*/ 15582 w 95408"/>
                    <a:gd name="connsiteY141" fmla="*/ 7661 h 94569"/>
                    <a:gd name="connsiteX142" fmla="*/ 17783 w 95408"/>
                    <a:gd name="connsiteY142" fmla="*/ 4018 h 94569"/>
                    <a:gd name="connsiteX143" fmla="*/ 19690 w 95408"/>
                    <a:gd name="connsiteY143" fmla="*/ 2103 h 94569"/>
                    <a:gd name="connsiteX144" fmla="*/ 26144 w 95408"/>
                    <a:gd name="connsiteY144" fmla="*/ 2795 h 9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95408" h="94569">
                      <a:moveTo>
                        <a:pt x="29323" y="0"/>
                      </a:moveTo>
                      <a:lnTo>
                        <a:pt x="34449" y="3675"/>
                      </a:lnTo>
                      <a:lnTo>
                        <a:pt x="36560" y="4230"/>
                      </a:lnTo>
                      <a:lnTo>
                        <a:pt x="37750" y="3724"/>
                      </a:lnTo>
                      <a:lnTo>
                        <a:pt x="39371" y="3953"/>
                      </a:lnTo>
                      <a:lnTo>
                        <a:pt x="42982" y="5028"/>
                      </a:lnTo>
                      <a:lnTo>
                        <a:pt x="43805" y="5485"/>
                      </a:lnTo>
                      <a:lnTo>
                        <a:pt x="44889" y="5403"/>
                      </a:lnTo>
                      <a:lnTo>
                        <a:pt x="47545" y="3969"/>
                      </a:lnTo>
                      <a:lnTo>
                        <a:pt x="48450" y="4148"/>
                      </a:lnTo>
                      <a:lnTo>
                        <a:pt x="51498" y="6968"/>
                      </a:lnTo>
                      <a:lnTo>
                        <a:pt x="53030" y="7001"/>
                      </a:lnTo>
                      <a:lnTo>
                        <a:pt x="54872" y="5786"/>
                      </a:lnTo>
                      <a:lnTo>
                        <a:pt x="56046" y="4735"/>
                      </a:lnTo>
                      <a:lnTo>
                        <a:pt x="59542" y="5517"/>
                      </a:lnTo>
                      <a:lnTo>
                        <a:pt x="61547" y="5045"/>
                      </a:lnTo>
                      <a:lnTo>
                        <a:pt x="63209" y="4996"/>
                      </a:lnTo>
                      <a:lnTo>
                        <a:pt x="65002" y="5485"/>
                      </a:lnTo>
                      <a:lnTo>
                        <a:pt x="66648" y="6129"/>
                      </a:lnTo>
                      <a:lnTo>
                        <a:pt x="68246" y="6699"/>
                      </a:lnTo>
                      <a:lnTo>
                        <a:pt x="72582" y="6992"/>
                      </a:lnTo>
                      <a:lnTo>
                        <a:pt x="74643" y="8777"/>
                      </a:lnTo>
                      <a:lnTo>
                        <a:pt x="75467" y="10505"/>
                      </a:lnTo>
                      <a:lnTo>
                        <a:pt x="75491" y="11564"/>
                      </a:lnTo>
                      <a:lnTo>
                        <a:pt x="75694" y="12697"/>
                      </a:lnTo>
                      <a:lnTo>
                        <a:pt x="76885" y="13806"/>
                      </a:lnTo>
                      <a:lnTo>
                        <a:pt x="79484" y="14433"/>
                      </a:lnTo>
                      <a:lnTo>
                        <a:pt x="81122" y="14303"/>
                      </a:lnTo>
                      <a:lnTo>
                        <a:pt x="81986" y="14221"/>
                      </a:lnTo>
                      <a:lnTo>
                        <a:pt x="84203" y="13235"/>
                      </a:lnTo>
                      <a:lnTo>
                        <a:pt x="86819" y="12722"/>
                      </a:lnTo>
                      <a:lnTo>
                        <a:pt x="88694" y="13300"/>
                      </a:lnTo>
                      <a:lnTo>
                        <a:pt x="89590" y="13887"/>
                      </a:lnTo>
                      <a:lnTo>
                        <a:pt x="89794" y="14669"/>
                      </a:lnTo>
                      <a:lnTo>
                        <a:pt x="89240" y="17391"/>
                      </a:lnTo>
                      <a:lnTo>
                        <a:pt x="88180" y="20334"/>
                      </a:lnTo>
                      <a:lnTo>
                        <a:pt x="86477" y="23381"/>
                      </a:lnTo>
                      <a:lnTo>
                        <a:pt x="84700" y="26258"/>
                      </a:lnTo>
                      <a:lnTo>
                        <a:pt x="84219" y="27782"/>
                      </a:lnTo>
                      <a:lnTo>
                        <a:pt x="84105" y="30203"/>
                      </a:lnTo>
                      <a:lnTo>
                        <a:pt x="83869" y="32110"/>
                      </a:lnTo>
                      <a:lnTo>
                        <a:pt x="84130" y="33145"/>
                      </a:lnTo>
                      <a:lnTo>
                        <a:pt x="84708" y="34115"/>
                      </a:lnTo>
                      <a:lnTo>
                        <a:pt x="86680" y="34873"/>
                      </a:lnTo>
                      <a:lnTo>
                        <a:pt x="89346" y="36788"/>
                      </a:lnTo>
                      <a:lnTo>
                        <a:pt x="91611" y="39273"/>
                      </a:lnTo>
                      <a:lnTo>
                        <a:pt x="94521" y="42101"/>
                      </a:lnTo>
                      <a:lnTo>
                        <a:pt x="95409" y="43145"/>
                      </a:lnTo>
                      <a:lnTo>
                        <a:pt x="95409" y="44269"/>
                      </a:lnTo>
                      <a:lnTo>
                        <a:pt x="94570" y="45109"/>
                      </a:lnTo>
                      <a:lnTo>
                        <a:pt x="92092" y="45427"/>
                      </a:lnTo>
                      <a:lnTo>
                        <a:pt x="89500" y="45174"/>
                      </a:lnTo>
                      <a:lnTo>
                        <a:pt x="88514" y="44889"/>
                      </a:lnTo>
                      <a:lnTo>
                        <a:pt x="87585" y="45231"/>
                      </a:lnTo>
                      <a:lnTo>
                        <a:pt x="87015" y="45883"/>
                      </a:lnTo>
                      <a:lnTo>
                        <a:pt x="87316" y="46633"/>
                      </a:lnTo>
                      <a:lnTo>
                        <a:pt x="89965" y="50064"/>
                      </a:lnTo>
                      <a:lnTo>
                        <a:pt x="93045" y="54970"/>
                      </a:lnTo>
                      <a:lnTo>
                        <a:pt x="93225" y="57081"/>
                      </a:lnTo>
                      <a:lnTo>
                        <a:pt x="92841" y="58735"/>
                      </a:lnTo>
                      <a:lnTo>
                        <a:pt x="92133" y="59884"/>
                      </a:lnTo>
                      <a:lnTo>
                        <a:pt x="90853" y="59697"/>
                      </a:lnTo>
                      <a:lnTo>
                        <a:pt x="89883" y="58800"/>
                      </a:lnTo>
                      <a:lnTo>
                        <a:pt x="88400" y="58849"/>
                      </a:lnTo>
                      <a:lnTo>
                        <a:pt x="87251" y="59110"/>
                      </a:lnTo>
                      <a:lnTo>
                        <a:pt x="85768" y="60887"/>
                      </a:lnTo>
                      <a:lnTo>
                        <a:pt x="85010" y="60813"/>
                      </a:lnTo>
                      <a:lnTo>
                        <a:pt x="83738" y="61082"/>
                      </a:lnTo>
                      <a:lnTo>
                        <a:pt x="82923" y="61424"/>
                      </a:lnTo>
                      <a:lnTo>
                        <a:pt x="81644" y="60911"/>
                      </a:lnTo>
                      <a:lnTo>
                        <a:pt x="80299" y="60569"/>
                      </a:lnTo>
                      <a:lnTo>
                        <a:pt x="79721" y="61115"/>
                      </a:lnTo>
                      <a:lnTo>
                        <a:pt x="79451" y="62150"/>
                      </a:lnTo>
                      <a:lnTo>
                        <a:pt x="80291" y="64040"/>
                      </a:lnTo>
                      <a:lnTo>
                        <a:pt x="81848" y="66983"/>
                      </a:lnTo>
                      <a:lnTo>
                        <a:pt x="81603" y="69240"/>
                      </a:lnTo>
                      <a:lnTo>
                        <a:pt x="80413" y="69485"/>
                      </a:lnTo>
                      <a:lnTo>
                        <a:pt x="79330" y="67610"/>
                      </a:lnTo>
                      <a:lnTo>
                        <a:pt x="78352" y="67300"/>
                      </a:lnTo>
                      <a:lnTo>
                        <a:pt x="77251" y="67374"/>
                      </a:lnTo>
                      <a:lnTo>
                        <a:pt x="74725" y="69550"/>
                      </a:lnTo>
                      <a:lnTo>
                        <a:pt x="72859" y="71367"/>
                      </a:lnTo>
                      <a:lnTo>
                        <a:pt x="72426" y="72655"/>
                      </a:lnTo>
                      <a:lnTo>
                        <a:pt x="71758" y="74048"/>
                      </a:lnTo>
                      <a:lnTo>
                        <a:pt x="71563" y="75051"/>
                      </a:lnTo>
                      <a:lnTo>
                        <a:pt x="71595" y="78408"/>
                      </a:lnTo>
                      <a:lnTo>
                        <a:pt x="68254" y="78946"/>
                      </a:lnTo>
                      <a:lnTo>
                        <a:pt x="67545" y="79435"/>
                      </a:lnTo>
                      <a:lnTo>
                        <a:pt x="67146" y="80454"/>
                      </a:lnTo>
                      <a:lnTo>
                        <a:pt x="67431" y="84757"/>
                      </a:lnTo>
                      <a:lnTo>
                        <a:pt x="67700" y="87055"/>
                      </a:lnTo>
                      <a:lnTo>
                        <a:pt x="69607" y="90617"/>
                      </a:lnTo>
                      <a:lnTo>
                        <a:pt x="69672" y="91741"/>
                      </a:lnTo>
                      <a:lnTo>
                        <a:pt x="69411" y="92483"/>
                      </a:lnTo>
                      <a:lnTo>
                        <a:pt x="68050" y="93893"/>
                      </a:lnTo>
                      <a:lnTo>
                        <a:pt x="67398" y="94398"/>
                      </a:lnTo>
                      <a:lnTo>
                        <a:pt x="66966" y="94569"/>
                      </a:lnTo>
                      <a:lnTo>
                        <a:pt x="64741" y="93632"/>
                      </a:lnTo>
                      <a:lnTo>
                        <a:pt x="63674" y="93200"/>
                      </a:lnTo>
                      <a:lnTo>
                        <a:pt x="59208" y="90054"/>
                      </a:lnTo>
                      <a:lnTo>
                        <a:pt x="57244" y="88302"/>
                      </a:lnTo>
                      <a:lnTo>
                        <a:pt x="54122" y="86020"/>
                      </a:lnTo>
                      <a:lnTo>
                        <a:pt x="52207" y="84716"/>
                      </a:lnTo>
                      <a:lnTo>
                        <a:pt x="51229" y="82744"/>
                      </a:lnTo>
                      <a:lnTo>
                        <a:pt x="49697" y="82288"/>
                      </a:lnTo>
                      <a:lnTo>
                        <a:pt x="47896" y="82915"/>
                      </a:lnTo>
                      <a:lnTo>
                        <a:pt x="45842" y="81497"/>
                      </a:lnTo>
                      <a:lnTo>
                        <a:pt x="47293" y="80756"/>
                      </a:lnTo>
                      <a:lnTo>
                        <a:pt x="47651" y="80055"/>
                      </a:lnTo>
                      <a:lnTo>
                        <a:pt x="47472" y="79142"/>
                      </a:lnTo>
                      <a:lnTo>
                        <a:pt x="46828" y="77887"/>
                      </a:lnTo>
                      <a:lnTo>
                        <a:pt x="41327" y="72475"/>
                      </a:lnTo>
                      <a:lnTo>
                        <a:pt x="38605" y="68784"/>
                      </a:lnTo>
                      <a:lnTo>
                        <a:pt x="38165" y="67463"/>
                      </a:lnTo>
                      <a:lnTo>
                        <a:pt x="38133" y="63918"/>
                      </a:lnTo>
                      <a:lnTo>
                        <a:pt x="37497" y="63079"/>
                      </a:lnTo>
                      <a:lnTo>
                        <a:pt x="33438" y="61465"/>
                      </a:lnTo>
                      <a:lnTo>
                        <a:pt x="28907" y="56869"/>
                      </a:lnTo>
                      <a:lnTo>
                        <a:pt x="24237" y="52354"/>
                      </a:lnTo>
                      <a:lnTo>
                        <a:pt x="23594" y="51099"/>
                      </a:lnTo>
                      <a:lnTo>
                        <a:pt x="21181" y="47684"/>
                      </a:lnTo>
                      <a:lnTo>
                        <a:pt x="18247" y="44571"/>
                      </a:lnTo>
                      <a:lnTo>
                        <a:pt x="15900" y="42582"/>
                      </a:lnTo>
                      <a:lnTo>
                        <a:pt x="13977" y="40325"/>
                      </a:lnTo>
                      <a:lnTo>
                        <a:pt x="11850" y="37163"/>
                      </a:lnTo>
                      <a:lnTo>
                        <a:pt x="10741" y="32387"/>
                      </a:lnTo>
                      <a:lnTo>
                        <a:pt x="9771" y="28133"/>
                      </a:lnTo>
                      <a:lnTo>
                        <a:pt x="9103" y="26478"/>
                      </a:lnTo>
                      <a:lnTo>
                        <a:pt x="7750" y="25900"/>
                      </a:lnTo>
                      <a:lnTo>
                        <a:pt x="3562" y="20855"/>
                      </a:lnTo>
                      <a:lnTo>
                        <a:pt x="0" y="17913"/>
                      </a:lnTo>
                      <a:lnTo>
                        <a:pt x="41" y="14743"/>
                      </a:lnTo>
                      <a:lnTo>
                        <a:pt x="619" y="9446"/>
                      </a:lnTo>
                      <a:lnTo>
                        <a:pt x="1288" y="3431"/>
                      </a:lnTo>
                      <a:lnTo>
                        <a:pt x="2143" y="2592"/>
                      </a:lnTo>
                      <a:lnTo>
                        <a:pt x="3765" y="2135"/>
                      </a:lnTo>
                      <a:lnTo>
                        <a:pt x="5615" y="2306"/>
                      </a:lnTo>
                      <a:lnTo>
                        <a:pt x="7245" y="3056"/>
                      </a:lnTo>
                      <a:lnTo>
                        <a:pt x="10440" y="7180"/>
                      </a:lnTo>
                      <a:lnTo>
                        <a:pt x="12265" y="8777"/>
                      </a:lnTo>
                      <a:lnTo>
                        <a:pt x="13814" y="9397"/>
                      </a:lnTo>
                      <a:lnTo>
                        <a:pt x="15582" y="7661"/>
                      </a:lnTo>
                      <a:lnTo>
                        <a:pt x="17783" y="4018"/>
                      </a:lnTo>
                      <a:lnTo>
                        <a:pt x="19690" y="2103"/>
                      </a:lnTo>
                      <a:lnTo>
                        <a:pt x="26144" y="2795"/>
                      </a:lnTo>
                      <a:close/>
                    </a:path>
                  </a:pathLst>
                </a:custGeom>
                <a:solidFill>
                  <a:srgbClr val="D6D6D2"/>
                </a:solidFill>
                <a:ln w="6112" cap="rnd">
                  <a:solidFill>
                    <a:srgbClr val="FFFFFF"/>
                  </a:solidFill>
                  <a:prstDash val="solid"/>
                  <a:round/>
                </a:ln>
              </p:spPr>
              <p:txBody>
                <a:bodyPr rtlCol="0" anchor="ctr"/>
                <a:lstStyle/>
                <a:p>
                  <a:endParaRPr lang="en-US"/>
                </a:p>
              </p:txBody>
            </p:sp>
            <p:sp>
              <p:nvSpPr>
                <p:cNvPr id="773" name="Freeform: Shape 772">
                  <a:extLst>
                    <a:ext uri="{FF2B5EF4-FFF2-40B4-BE49-F238E27FC236}">
                      <a16:creationId xmlns:a16="http://schemas.microsoft.com/office/drawing/2014/main" id="{4977D0BA-368D-4A0C-8489-951B7EE48978}"/>
                    </a:ext>
                  </a:extLst>
                </p:cNvPr>
                <p:cNvSpPr/>
                <p:nvPr/>
              </p:nvSpPr>
              <p:spPr>
                <a:xfrm>
                  <a:off x="3998250" y="3757582"/>
                  <a:ext cx="17375" cy="28703"/>
                </a:xfrm>
                <a:custGeom>
                  <a:avLst/>
                  <a:gdLst>
                    <a:gd name="connsiteX0" fmla="*/ 17155 w 17375"/>
                    <a:gd name="connsiteY0" fmla="*/ 15525 h 28703"/>
                    <a:gd name="connsiteX1" fmla="*/ 17106 w 17375"/>
                    <a:gd name="connsiteY1" fmla="*/ 19323 h 28703"/>
                    <a:gd name="connsiteX2" fmla="*/ 17375 w 17375"/>
                    <a:gd name="connsiteY2" fmla="*/ 22167 h 28703"/>
                    <a:gd name="connsiteX3" fmla="*/ 17123 w 17375"/>
                    <a:gd name="connsiteY3" fmla="*/ 23186 h 28703"/>
                    <a:gd name="connsiteX4" fmla="*/ 14433 w 17375"/>
                    <a:gd name="connsiteY4" fmla="*/ 25077 h 28703"/>
                    <a:gd name="connsiteX5" fmla="*/ 13740 w 17375"/>
                    <a:gd name="connsiteY5" fmla="*/ 26136 h 28703"/>
                    <a:gd name="connsiteX6" fmla="*/ 11214 w 17375"/>
                    <a:gd name="connsiteY6" fmla="*/ 27212 h 28703"/>
                    <a:gd name="connsiteX7" fmla="*/ 9682 w 17375"/>
                    <a:gd name="connsiteY7" fmla="*/ 28703 h 28703"/>
                    <a:gd name="connsiteX8" fmla="*/ 8916 w 17375"/>
                    <a:gd name="connsiteY8" fmla="*/ 26283 h 28703"/>
                    <a:gd name="connsiteX9" fmla="*/ 7432 w 17375"/>
                    <a:gd name="connsiteY9" fmla="*/ 24791 h 28703"/>
                    <a:gd name="connsiteX10" fmla="*/ 7180 w 17375"/>
                    <a:gd name="connsiteY10" fmla="*/ 22249 h 28703"/>
                    <a:gd name="connsiteX11" fmla="*/ 6047 w 17375"/>
                    <a:gd name="connsiteY11" fmla="*/ 23104 h 28703"/>
                    <a:gd name="connsiteX12" fmla="*/ 4401 w 17375"/>
                    <a:gd name="connsiteY12" fmla="*/ 22583 h 28703"/>
                    <a:gd name="connsiteX13" fmla="*/ 1703 w 17375"/>
                    <a:gd name="connsiteY13" fmla="*/ 20660 h 28703"/>
                    <a:gd name="connsiteX14" fmla="*/ 0 w 17375"/>
                    <a:gd name="connsiteY14" fmla="*/ 18043 h 28703"/>
                    <a:gd name="connsiteX15" fmla="*/ 2388 w 17375"/>
                    <a:gd name="connsiteY15" fmla="*/ 17595 h 28703"/>
                    <a:gd name="connsiteX16" fmla="*/ 2885 w 17375"/>
                    <a:gd name="connsiteY16" fmla="*/ 19217 h 28703"/>
                    <a:gd name="connsiteX17" fmla="*/ 4776 w 17375"/>
                    <a:gd name="connsiteY17" fmla="*/ 17220 h 28703"/>
                    <a:gd name="connsiteX18" fmla="*/ 4344 w 17375"/>
                    <a:gd name="connsiteY18" fmla="*/ 16169 h 28703"/>
                    <a:gd name="connsiteX19" fmla="*/ 4001 w 17375"/>
                    <a:gd name="connsiteY19" fmla="*/ 16039 h 28703"/>
                    <a:gd name="connsiteX20" fmla="*/ 3382 w 17375"/>
                    <a:gd name="connsiteY20" fmla="*/ 14083 h 28703"/>
                    <a:gd name="connsiteX21" fmla="*/ 6226 w 17375"/>
                    <a:gd name="connsiteY21" fmla="*/ 8965 h 28703"/>
                    <a:gd name="connsiteX22" fmla="*/ 6838 w 17375"/>
                    <a:gd name="connsiteY22" fmla="*/ 5656 h 28703"/>
                    <a:gd name="connsiteX23" fmla="*/ 5550 w 17375"/>
                    <a:gd name="connsiteY23" fmla="*/ 350 h 28703"/>
                    <a:gd name="connsiteX24" fmla="*/ 6756 w 17375"/>
                    <a:gd name="connsiteY24" fmla="*/ 0 h 28703"/>
                    <a:gd name="connsiteX25" fmla="*/ 9967 w 17375"/>
                    <a:gd name="connsiteY25" fmla="*/ 1858 h 28703"/>
                    <a:gd name="connsiteX26" fmla="*/ 11410 w 17375"/>
                    <a:gd name="connsiteY26" fmla="*/ 3692 h 28703"/>
                    <a:gd name="connsiteX27" fmla="*/ 11450 w 17375"/>
                    <a:gd name="connsiteY27" fmla="*/ 6202 h 28703"/>
                    <a:gd name="connsiteX28" fmla="*/ 12803 w 17375"/>
                    <a:gd name="connsiteY28" fmla="*/ 8150 h 28703"/>
                    <a:gd name="connsiteX29" fmla="*/ 14759 w 17375"/>
                    <a:gd name="connsiteY29" fmla="*/ 12811 h 28703"/>
                    <a:gd name="connsiteX30" fmla="*/ 17155 w 17375"/>
                    <a:gd name="connsiteY30" fmla="*/ 15525 h 28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7375" h="28703">
                      <a:moveTo>
                        <a:pt x="17155" y="15525"/>
                      </a:moveTo>
                      <a:lnTo>
                        <a:pt x="17106" y="19323"/>
                      </a:lnTo>
                      <a:lnTo>
                        <a:pt x="17375" y="22167"/>
                      </a:lnTo>
                      <a:lnTo>
                        <a:pt x="17123" y="23186"/>
                      </a:lnTo>
                      <a:lnTo>
                        <a:pt x="14433" y="25077"/>
                      </a:lnTo>
                      <a:lnTo>
                        <a:pt x="13740" y="26136"/>
                      </a:lnTo>
                      <a:lnTo>
                        <a:pt x="11214" y="27212"/>
                      </a:lnTo>
                      <a:lnTo>
                        <a:pt x="9682" y="28703"/>
                      </a:lnTo>
                      <a:lnTo>
                        <a:pt x="8916" y="26283"/>
                      </a:lnTo>
                      <a:lnTo>
                        <a:pt x="7432" y="24791"/>
                      </a:lnTo>
                      <a:lnTo>
                        <a:pt x="7180" y="22249"/>
                      </a:lnTo>
                      <a:lnTo>
                        <a:pt x="6047" y="23104"/>
                      </a:lnTo>
                      <a:lnTo>
                        <a:pt x="4401" y="22583"/>
                      </a:lnTo>
                      <a:lnTo>
                        <a:pt x="1703" y="20660"/>
                      </a:lnTo>
                      <a:lnTo>
                        <a:pt x="0" y="18043"/>
                      </a:lnTo>
                      <a:lnTo>
                        <a:pt x="2388" y="17595"/>
                      </a:lnTo>
                      <a:lnTo>
                        <a:pt x="2885" y="19217"/>
                      </a:lnTo>
                      <a:lnTo>
                        <a:pt x="4776" y="17220"/>
                      </a:lnTo>
                      <a:lnTo>
                        <a:pt x="4344" y="16169"/>
                      </a:lnTo>
                      <a:lnTo>
                        <a:pt x="4001" y="16039"/>
                      </a:lnTo>
                      <a:lnTo>
                        <a:pt x="3382" y="14083"/>
                      </a:lnTo>
                      <a:lnTo>
                        <a:pt x="6226" y="8965"/>
                      </a:lnTo>
                      <a:lnTo>
                        <a:pt x="6838" y="5656"/>
                      </a:lnTo>
                      <a:lnTo>
                        <a:pt x="5550" y="350"/>
                      </a:lnTo>
                      <a:lnTo>
                        <a:pt x="6756" y="0"/>
                      </a:lnTo>
                      <a:lnTo>
                        <a:pt x="9967" y="1858"/>
                      </a:lnTo>
                      <a:lnTo>
                        <a:pt x="11410" y="3692"/>
                      </a:lnTo>
                      <a:lnTo>
                        <a:pt x="11450" y="6202"/>
                      </a:lnTo>
                      <a:lnTo>
                        <a:pt x="12803" y="8150"/>
                      </a:lnTo>
                      <a:lnTo>
                        <a:pt x="14759" y="12811"/>
                      </a:lnTo>
                      <a:lnTo>
                        <a:pt x="17155" y="15525"/>
                      </a:lnTo>
                      <a:close/>
                    </a:path>
                  </a:pathLst>
                </a:custGeom>
                <a:solidFill>
                  <a:srgbClr val="D6D6D2"/>
                </a:solidFill>
                <a:ln w="8150" cap="flat">
                  <a:noFill/>
                  <a:prstDash val="solid"/>
                  <a:miter/>
                </a:ln>
              </p:spPr>
              <p:txBody>
                <a:bodyPr rtlCol="0" anchor="ctr"/>
                <a:lstStyle/>
                <a:p>
                  <a:endParaRPr lang="en-US"/>
                </a:p>
              </p:txBody>
            </p:sp>
            <p:sp>
              <p:nvSpPr>
                <p:cNvPr id="774" name="Freeform: Shape 773">
                  <a:extLst>
                    <a:ext uri="{FF2B5EF4-FFF2-40B4-BE49-F238E27FC236}">
                      <a16:creationId xmlns:a16="http://schemas.microsoft.com/office/drawing/2014/main" id="{BB370B2C-F903-4688-A2DB-2433696D93CD}"/>
                    </a:ext>
                  </a:extLst>
                </p:cNvPr>
                <p:cNvSpPr/>
                <p:nvPr/>
              </p:nvSpPr>
              <p:spPr>
                <a:xfrm>
                  <a:off x="6497814" y="3130110"/>
                  <a:ext cx="154795" cy="103371"/>
                </a:xfrm>
                <a:custGeom>
                  <a:avLst/>
                  <a:gdLst>
                    <a:gd name="connsiteX0" fmla="*/ 154796 w 154795"/>
                    <a:gd name="connsiteY0" fmla="*/ 17245 h 103371"/>
                    <a:gd name="connsiteX1" fmla="*/ 154217 w 154795"/>
                    <a:gd name="connsiteY1" fmla="*/ 25615 h 103371"/>
                    <a:gd name="connsiteX2" fmla="*/ 151821 w 154795"/>
                    <a:gd name="connsiteY2" fmla="*/ 29502 h 103371"/>
                    <a:gd name="connsiteX3" fmla="*/ 148203 w 154795"/>
                    <a:gd name="connsiteY3" fmla="*/ 28198 h 103371"/>
                    <a:gd name="connsiteX4" fmla="*/ 143598 w 154795"/>
                    <a:gd name="connsiteY4" fmla="*/ 29290 h 103371"/>
                    <a:gd name="connsiteX5" fmla="*/ 141145 w 154795"/>
                    <a:gd name="connsiteY5" fmla="*/ 33691 h 103371"/>
                    <a:gd name="connsiteX6" fmla="*/ 139760 w 154795"/>
                    <a:gd name="connsiteY6" fmla="*/ 34995 h 103371"/>
                    <a:gd name="connsiteX7" fmla="*/ 138521 w 154795"/>
                    <a:gd name="connsiteY7" fmla="*/ 36543 h 103371"/>
                    <a:gd name="connsiteX8" fmla="*/ 137706 w 154795"/>
                    <a:gd name="connsiteY8" fmla="*/ 42265 h 103371"/>
                    <a:gd name="connsiteX9" fmla="*/ 137518 w 154795"/>
                    <a:gd name="connsiteY9" fmla="*/ 51637 h 103371"/>
                    <a:gd name="connsiteX10" fmla="*/ 135783 w 154795"/>
                    <a:gd name="connsiteY10" fmla="*/ 52770 h 103371"/>
                    <a:gd name="connsiteX11" fmla="*/ 134169 w 154795"/>
                    <a:gd name="connsiteY11" fmla="*/ 53128 h 103371"/>
                    <a:gd name="connsiteX12" fmla="*/ 127494 w 154795"/>
                    <a:gd name="connsiteY12" fmla="*/ 61343 h 103371"/>
                    <a:gd name="connsiteX13" fmla="*/ 131333 w 154795"/>
                    <a:gd name="connsiteY13" fmla="*/ 63658 h 103371"/>
                    <a:gd name="connsiteX14" fmla="*/ 133036 w 154795"/>
                    <a:gd name="connsiteY14" fmla="*/ 65418 h 103371"/>
                    <a:gd name="connsiteX15" fmla="*/ 135848 w 154795"/>
                    <a:gd name="connsiteY15" fmla="*/ 70300 h 103371"/>
                    <a:gd name="connsiteX16" fmla="*/ 139849 w 154795"/>
                    <a:gd name="connsiteY16" fmla="*/ 75825 h 103371"/>
                    <a:gd name="connsiteX17" fmla="*/ 140640 w 154795"/>
                    <a:gd name="connsiteY17" fmla="*/ 78506 h 103371"/>
                    <a:gd name="connsiteX18" fmla="*/ 137274 w 154795"/>
                    <a:gd name="connsiteY18" fmla="*/ 77911 h 103371"/>
                    <a:gd name="connsiteX19" fmla="*/ 136109 w 154795"/>
                    <a:gd name="connsiteY19" fmla="*/ 78091 h 103371"/>
                    <a:gd name="connsiteX20" fmla="*/ 135351 w 154795"/>
                    <a:gd name="connsiteY20" fmla="*/ 78946 h 103371"/>
                    <a:gd name="connsiteX21" fmla="*/ 133802 w 154795"/>
                    <a:gd name="connsiteY21" fmla="*/ 78767 h 103371"/>
                    <a:gd name="connsiteX22" fmla="*/ 131871 w 154795"/>
                    <a:gd name="connsiteY22" fmla="*/ 78784 h 103371"/>
                    <a:gd name="connsiteX23" fmla="*/ 129850 w 154795"/>
                    <a:gd name="connsiteY23" fmla="*/ 79753 h 103371"/>
                    <a:gd name="connsiteX24" fmla="*/ 128749 w 154795"/>
                    <a:gd name="connsiteY24" fmla="*/ 80169 h 103371"/>
                    <a:gd name="connsiteX25" fmla="*/ 127258 w 154795"/>
                    <a:gd name="connsiteY25" fmla="*/ 79272 h 103371"/>
                    <a:gd name="connsiteX26" fmla="*/ 124479 w 154795"/>
                    <a:gd name="connsiteY26" fmla="*/ 76583 h 103371"/>
                    <a:gd name="connsiteX27" fmla="*/ 122792 w 154795"/>
                    <a:gd name="connsiteY27" fmla="*/ 74717 h 103371"/>
                    <a:gd name="connsiteX28" fmla="*/ 121537 w 154795"/>
                    <a:gd name="connsiteY28" fmla="*/ 74244 h 103371"/>
                    <a:gd name="connsiteX29" fmla="*/ 120274 w 154795"/>
                    <a:gd name="connsiteY29" fmla="*/ 74798 h 103371"/>
                    <a:gd name="connsiteX30" fmla="*/ 115767 w 154795"/>
                    <a:gd name="connsiteY30" fmla="*/ 75434 h 103371"/>
                    <a:gd name="connsiteX31" fmla="*/ 114708 w 154795"/>
                    <a:gd name="connsiteY31" fmla="*/ 76526 h 103371"/>
                    <a:gd name="connsiteX32" fmla="*/ 112621 w 154795"/>
                    <a:gd name="connsiteY32" fmla="*/ 77732 h 103371"/>
                    <a:gd name="connsiteX33" fmla="*/ 110518 w 154795"/>
                    <a:gd name="connsiteY33" fmla="*/ 78303 h 103371"/>
                    <a:gd name="connsiteX34" fmla="*/ 107511 w 154795"/>
                    <a:gd name="connsiteY34" fmla="*/ 78710 h 103371"/>
                    <a:gd name="connsiteX35" fmla="*/ 105938 w 154795"/>
                    <a:gd name="connsiteY35" fmla="*/ 78653 h 103371"/>
                    <a:gd name="connsiteX36" fmla="*/ 105050 w 154795"/>
                    <a:gd name="connsiteY36" fmla="*/ 79240 h 103371"/>
                    <a:gd name="connsiteX37" fmla="*/ 104309 w 154795"/>
                    <a:gd name="connsiteY37" fmla="*/ 80992 h 103371"/>
                    <a:gd name="connsiteX38" fmla="*/ 103803 w 154795"/>
                    <a:gd name="connsiteY38" fmla="*/ 82712 h 103371"/>
                    <a:gd name="connsiteX39" fmla="*/ 103355 w 154795"/>
                    <a:gd name="connsiteY39" fmla="*/ 83413 h 103371"/>
                    <a:gd name="connsiteX40" fmla="*/ 99614 w 154795"/>
                    <a:gd name="connsiteY40" fmla="*/ 84260 h 103371"/>
                    <a:gd name="connsiteX41" fmla="*/ 98791 w 154795"/>
                    <a:gd name="connsiteY41" fmla="*/ 85246 h 103371"/>
                    <a:gd name="connsiteX42" fmla="*/ 98554 w 154795"/>
                    <a:gd name="connsiteY42" fmla="*/ 86216 h 103371"/>
                    <a:gd name="connsiteX43" fmla="*/ 98628 w 154795"/>
                    <a:gd name="connsiteY43" fmla="*/ 87178 h 103371"/>
                    <a:gd name="connsiteX44" fmla="*/ 95645 w 154795"/>
                    <a:gd name="connsiteY44" fmla="*/ 86249 h 103371"/>
                    <a:gd name="connsiteX45" fmla="*/ 93339 w 154795"/>
                    <a:gd name="connsiteY45" fmla="*/ 86868 h 103371"/>
                    <a:gd name="connsiteX46" fmla="*/ 92793 w 154795"/>
                    <a:gd name="connsiteY46" fmla="*/ 87610 h 103371"/>
                    <a:gd name="connsiteX47" fmla="*/ 92312 w 154795"/>
                    <a:gd name="connsiteY47" fmla="*/ 88661 h 103371"/>
                    <a:gd name="connsiteX48" fmla="*/ 92589 w 154795"/>
                    <a:gd name="connsiteY48" fmla="*/ 89794 h 103371"/>
                    <a:gd name="connsiteX49" fmla="*/ 93445 w 154795"/>
                    <a:gd name="connsiteY49" fmla="*/ 90894 h 103371"/>
                    <a:gd name="connsiteX50" fmla="*/ 94235 w 154795"/>
                    <a:gd name="connsiteY50" fmla="*/ 93860 h 103371"/>
                    <a:gd name="connsiteX51" fmla="*/ 94520 w 154795"/>
                    <a:gd name="connsiteY51" fmla="*/ 96819 h 103371"/>
                    <a:gd name="connsiteX52" fmla="*/ 94040 w 154795"/>
                    <a:gd name="connsiteY52" fmla="*/ 98506 h 103371"/>
                    <a:gd name="connsiteX53" fmla="*/ 92320 w 154795"/>
                    <a:gd name="connsiteY53" fmla="*/ 99704 h 103371"/>
                    <a:gd name="connsiteX54" fmla="*/ 88767 w 154795"/>
                    <a:gd name="connsiteY54" fmla="*/ 101032 h 103371"/>
                    <a:gd name="connsiteX55" fmla="*/ 85336 w 154795"/>
                    <a:gd name="connsiteY55" fmla="*/ 100397 h 103371"/>
                    <a:gd name="connsiteX56" fmla="*/ 83836 w 154795"/>
                    <a:gd name="connsiteY56" fmla="*/ 100926 h 103371"/>
                    <a:gd name="connsiteX57" fmla="*/ 81285 w 154795"/>
                    <a:gd name="connsiteY57" fmla="*/ 101097 h 103371"/>
                    <a:gd name="connsiteX58" fmla="*/ 78947 w 154795"/>
                    <a:gd name="connsiteY58" fmla="*/ 101448 h 103371"/>
                    <a:gd name="connsiteX59" fmla="*/ 75352 w 154795"/>
                    <a:gd name="connsiteY59" fmla="*/ 102654 h 103371"/>
                    <a:gd name="connsiteX60" fmla="*/ 72101 w 154795"/>
                    <a:gd name="connsiteY60" fmla="*/ 103371 h 103371"/>
                    <a:gd name="connsiteX61" fmla="*/ 69183 w 154795"/>
                    <a:gd name="connsiteY61" fmla="*/ 100894 h 103371"/>
                    <a:gd name="connsiteX62" fmla="*/ 65711 w 154795"/>
                    <a:gd name="connsiteY62" fmla="*/ 99215 h 103371"/>
                    <a:gd name="connsiteX63" fmla="*/ 62077 w 154795"/>
                    <a:gd name="connsiteY63" fmla="*/ 98213 h 103371"/>
                    <a:gd name="connsiteX64" fmla="*/ 60813 w 154795"/>
                    <a:gd name="connsiteY64" fmla="*/ 98954 h 103371"/>
                    <a:gd name="connsiteX65" fmla="*/ 60251 w 154795"/>
                    <a:gd name="connsiteY65" fmla="*/ 99516 h 103371"/>
                    <a:gd name="connsiteX66" fmla="*/ 57211 w 154795"/>
                    <a:gd name="connsiteY66" fmla="*/ 97332 h 103371"/>
                    <a:gd name="connsiteX67" fmla="*/ 55850 w 154795"/>
                    <a:gd name="connsiteY67" fmla="*/ 96558 h 103371"/>
                    <a:gd name="connsiteX68" fmla="*/ 55190 w 154795"/>
                    <a:gd name="connsiteY68" fmla="*/ 95710 h 103371"/>
                    <a:gd name="connsiteX69" fmla="*/ 53918 w 154795"/>
                    <a:gd name="connsiteY69" fmla="*/ 92801 h 103371"/>
                    <a:gd name="connsiteX70" fmla="*/ 53169 w 154795"/>
                    <a:gd name="connsiteY70" fmla="*/ 92711 h 103371"/>
                    <a:gd name="connsiteX71" fmla="*/ 50659 w 154795"/>
                    <a:gd name="connsiteY71" fmla="*/ 93795 h 103371"/>
                    <a:gd name="connsiteX72" fmla="*/ 48254 w 154795"/>
                    <a:gd name="connsiteY72" fmla="*/ 93738 h 103371"/>
                    <a:gd name="connsiteX73" fmla="*/ 46787 w 154795"/>
                    <a:gd name="connsiteY73" fmla="*/ 93543 h 103371"/>
                    <a:gd name="connsiteX74" fmla="*/ 42468 w 154795"/>
                    <a:gd name="connsiteY74" fmla="*/ 93665 h 103371"/>
                    <a:gd name="connsiteX75" fmla="*/ 41881 w 154795"/>
                    <a:gd name="connsiteY75" fmla="*/ 95653 h 103371"/>
                    <a:gd name="connsiteX76" fmla="*/ 41344 w 154795"/>
                    <a:gd name="connsiteY76" fmla="*/ 95963 h 103371"/>
                    <a:gd name="connsiteX77" fmla="*/ 40414 w 154795"/>
                    <a:gd name="connsiteY77" fmla="*/ 96232 h 103371"/>
                    <a:gd name="connsiteX78" fmla="*/ 38108 w 154795"/>
                    <a:gd name="connsiteY78" fmla="*/ 96110 h 103371"/>
                    <a:gd name="connsiteX79" fmla="*/ 35174 w 154795"/>
                    <a:gd name="connsiteY79" fmla="*/ 97577 h 103371"/>
                    <a:gd name="connsiteX80" fmla="*/ 32020 w 154795"/>
                    <a:gd name="connsiteY80" fmla="*/ 98473 h 103371"/>
                    <a:gd name="connsiteX81" fmla="*/ 29567 w 154795"/>
                    <a:gd name="connsiteY81" fmla="*/ 98498 h 103371"/>
                    <a:gd name="connsiteX82" fmla="*/ 27016 w 154795"/>
                    <a:gd name="connsiteY82" fmla="*/ 98066 h 103371"/>
                    <a:gd name="connsiteX83" fmla="*/ 25500 w 154795"/>
                    <a:gd name="connsiteY83" fmla="*/ 98367 h 103371"/>
                    <a:gd name="connsiteX84" fmla="*/ 22208 w 154795"/>
                    <a:gd name="connsiteY84" fmla="*/ 98530 h 103371"/>
                    <a:gd name="connsiteX85" fmla="*/ 20138 w 154795"/>
                    <a:gd name="connsiteY85" fmla="*/ 100682 h 103371"/>
                    <a:gd name="connsiteX86" fmla="*/ 16902 w 154795"/>
                    <a:gd name="connsiteY86" fmla="*/ 100560 h 103371"/>
                    <a:gd name="connsiteX87" fmla="*/ 14188 w 154795"/>
                    <a:gd name="connsiteY87" fmla="*/ 100193 h 103371"/>
                    <a:gd name="connsiteX88" fmla="*/ 14523 w 154795"/>
                    <a:gd name="connsiteY88" fmla="*/ 99516 h 103371"/>
                    <a:gd name="connsiteX89" fmla="*/ 15060 w 154795"/>
                    <a:gd name="connsiteY89" fmla="*/ 90976 h 103371"/>
                    <a:gd name="connsiteX90" fmla="*/ 16405 w 154795"/>
                    <a:gd name="connsiteY90" fmla="*/ 87161 h 103371"/>
                    <a:gd name="connsiteX91" fmla="*/ 16365 w 154795"/>
                    <a:gd name="connsiteY91" fmla="*/ 86379 h 103371"/>
                    <a:gd name="connsiteX92" fmla="*/ 16063 w 154795"/>
                    <a:gd name="connsiteY92" fmla="*/ 85784 h 103371"/>
                    <a:gd name="connsiteX93" fmla="*/ 14873 w 154795"/>
                    <a:gd name="connsiteY93" fmla="*/ 85173 h 103371"/>
                    <a:gd name="connsiteX94" fmla="*/ 14017 w 154795"/>
                    <a:gd name="connsiteY94" fmla="*/ 83111 h 103371"/>
                    <a:gd name="connsiteX95" fmla="*/ 12225 w 154795"/>
                    <a:gd name="connsiteY95" fmla="*/ 77667 h 103371"/>
                    <a:gd name="connsiteX96" fmla="*/ 11214 w 154795"/>
                    <a:gd name="connsiteY96" fmla="*/ 76567 h 103371"/>
                    <a:gd name="connsiteX97" fmla="*/ 8386 w 154795"/>
                    <a:gd name="connsiteY97" fmla="*/ 75418 h 103371"/>
                    <a:gd name="connsiteX98" fmla="*/ 5917 w 154795"/>
                    <a:gd name="connsiteY98" fmla="*/ 73845 h 103371"/>
                    <a:gd name="connsiteX99" fmla="*/ 3822 w 154795"/>
                    <a:gd name="connsiteY99" fmla="*/ 71775 h 103371"/>
                    <a:gd name="connsiteX100" fmla="*/ 0 w 154795"/>
                    <a:gd name="connsiteY100" fmla="*/ 66657 h 103371"/>
                    <a:gd name="connsiteX101" fmla="*/ 1939 w 154795"/>
                    <a:gd name="connsiteY101" fmla="*/ 66143 h 103371"/>
                    <a:gd name="connsiteX102" fmla="*/ 2518 w 154795"/>
                    <a:gd name="connsiteY102" fmla="*/ 65100 h 103371"/>
                    <a:gd name="connsiteX103" fmla="*/ 4458 w 154795"/>
                    <a:gd name="connsiteY103" fmla="*/ 62280 h 103371"/>
                    <a:gd name="connsiteX104" fmla="*/ 4670 w 154795"/>
                    <a:gd name="connsiteY104" fmla="*/ 60895 h 103371"/>
                    <a:gd name="connsiteX105" fmla="*/ 4466 w 154795"/>
                    <a:gd name="connsiteY105" fmla="*/ 60112 h 103371"/>
                    <a:gd name="connsiteX106" fmla="*/ 3170 w 154795"/>
                    <a:gd name="connsiteY106" fmla="*/ 58760 h 103371"/>
                    <a:gd name="connsiteX107" fmla="*/ 2290 w 154795"/>
                    <a:gd name="connsiteY107" fmla="*/ 55801 h 103371"/>
                    <a:gd name="connsiteX108" fmla="*/ 2958 w 154795"/>
                    <a:gd name="connsiteY108" fmla="*/ 53022 h 103371"/>
                    <a:gd name="connsiteX109" fmla="*/ 3007 w 154795"/>
                    <a:gd name="connsiteY109" fmla="*/ 51596 h 103371"/>
                    <a:gd name="connsiteX110" fmla="*/ 2363 w 154795"/>
                    <a:gd name="connsiteY110" fmla="*/ 50186 h 103371"/>
                    <a:gd name="connsiteX111" fmla="*/ 3040 w 154795"/>
                    <a:gd name="connsiteY111" fmla="*/ 48434 h 103371"/>
                    <a:gd name="connsiteX112" fmla="*/ 4441 w 154795"/>
                    <a:gd name="connsiteY112" fmla="*/ 47472 h 103371"/>
                    <a:gd name="connsiteX113" fmla="*/ 5305 w 154795"/>
                    <a:gd name="connsiteY113" fmla="*/ 47187 h 103371"/>
                    <a:gd name="connsiteX114" fmla="*/ 8973 w 154795"/>
                    <a:gd name="connsiteY114" fmla="*/ 46991 h 103371"/>
                    <a:gd name="connsiteX115" fmla="*/ 11295 w 154795"/>
                    <a:gd name="connsiteY115" fmla="*/ 43471 h 103371"/>
                    <a:gd name="connsiteX116" fmla="*/ 12722 w 154795"/>
                    <a:gd name="connsiteY116" fmla="*/ 42346 h 103371"/>
                    <a:gd name="connsiteX117" fmla="*/ 14164 w 154795"/>
                    <a:gd name="connsiteY117" fmla="*/ 40357 h 103371"/>
                    <a:gd name="connsiteX118" fmla="*/ 14841 w 154795"/>
                    <a:gd name="connsiteY118" fmla="*/ 39624 h 103371"/>
                    <a:gd name="connsiteX119" fmla="*/ 15476 w 154795"/>
                    <a:gd name="connsiteY119" fmla="*/ 38067 h 103371"/>
                    <a:gd name="connsiteX120" fmla="*/ 15696 w 154795"/>
                    <a:gd name="connsiteY120" fmla="*/ 36478 h 103371"/>
                    <a:gd name="connsiteX121" fmla="*/ 12779 w 154795"/>
                    <a:gd name="connsiteY121" fmla="*/ 34253 h 103371"/>
                    <a:gd name="connsiteX122" fmla="*/ 11792 w 154795"/>
                    <a:gd name="connsiteY122" fmla="*/ 32575 h 103371"/>
                    <a:gd name="connsiteX123" fmla="*/ 10505 w 154795"/>
                    <a:gd name="connsiteY123" fmla="*/ 30716 h 103371"/>
                    <a:gd name="connsiteX124" fmla="*/ 8753 w 154795"/>
                    <a:gd name="connsiteY124" fmla="*/ 29437 h 103371"/>
                    <a:gd name="connsiteX125" fmla="*/ 5215 w 154795"/>
                    <a:gd name="connsiteY125" fmla="*/ 27245 h 103371"/>
                    <a:gd name="connsiteX126" fmla="*/ 3847 w 154795"/>
                    <a:gd name="connsiteY126" fmla="*/ 25003 h 103371"/>
                    <a:gd name="connsiteX127" fmla="*/ 3219 w 154795"/>
                    <a:gd name="connsiteY127" fmla="*/ 22102 h 103371"/>
                    <a:gd name="connsiteX128" fmla="*/ 2290 w 154795"/>
                    <a:gd name="connsiteY128" fmla="*/ 19918 h 103371"/>
                    <a:gd name="connsiteX129" fmla="*/ 1263 w 154795"/>
                    <a:gd name="connsiteY129" fmla="*/ 18484 h 103371"/>
                    <a:gd name="connsiteX130" fmla="*/ 1067 w 154795"/>
                    <a:gd name="connsiteY130" fmla="*/ 17318 h 103371"/>
                    <a:gd name="connsiteX131" fmla="*/ 644 w 154795"/>
                    <a:gd name="connsiteY131" fmla="*/ 15892 h 103371"/>
                    <a:gd name="connsiteX132" fmla="*/ 521 w 154795"/>
                    <a:gd name="connsiteY132" fmla="*/ 13080 h 103371"/>
                    <a:gd name="connsiteX133" fmla="*/ 1361 w 154795"/>
                    <a:gd name="connsiteY133" fmla="*/ 9340 h 103371"/>
                    <a:gd name="connsiteX134" fmla="*/ 1907 w 154795"/>
                    <a:gd name="connsiteY134" fmla="*/ 8019 h 103371"/>
                    <a:gd name="connsiteX135" fmla="*/ 3105 w 154795"/>
                    <a:gd name="connsiteY135" fmla="*/ 7653 h 103371"/>
                    <a:gd name="connsiteX136" fmla="*/ 6275 w 154795"/>
                    <a:gd name="connsiteY136" fmla="*/ 5656 h 103371"/>
                    <a:gd name="connsiteX137" fmla="*/ 6430 w 154795"/>
                    <a:gd name="connsiteY137" fmla="*/ 3105 h 103371"/>
                    <a:gd name="connsiteX138" fmla="*/ 7009 w 154795"/>
                    <a:gd name="connsiteY138" fmla="*/ 1516 h 103371"/>
                    <a:gd name="connsiteX139" fmla="*/ 8019 w 154795"/>
                    <a:gd name="connsiteY139" fmla="*/ 603 h 103371"/>
                    <a:gd name="connsiteX140" fmla="*/ 8948 w 154795"/>
                    <a:gd name="connsiteY140" fmla="*/ 0 h 103371"/>
                    <a:gd name="connsiteX141" fmla="*/ 10693 w 154795"/>
                    <a:gd name="connsiteY141" fmla="*/ 1483 h 103371"/>
                    <a:gd name="connsiteX142" fmla="*/ 14906 w 154795"/>
                    <a:gd name="connsiteY142" fmla="*/ 3847 h 103371"/>
                    <a:gd name="connsiteX143" fmla="*/ 16976 w 154795"/>
                    <a:gd name="connsiteY143" fmla="*/ 5566 h 103371"/>
                    <a:gd name="connsiteX144" fmla="*/ 16870 w 154795"/>
                    <a:gd name="connsiteY144" fmla="*/ 6634 h 103371"/>
                    <a:gd name="connsiteX145" fmla="*/ 15900 w 154795"/>
                    <a:gd name="connsiteY145" fmla="*/ 7685 h 103371"/>
                    <a:gd name="connsiteX146" fmla="*/ 14058 w 154795"/>
                    <a:gd name="connsiteY146" fmla="*/ 8728 h 103371"/>
                    <a:gd name="connsiteX147" fmla="*/ 12991 w 154795"/>
                    <a:gd name="connsiteY147" fmla="*/ 10098 h 103371"/>
                    <a:gd name="connsiteX148" fmla="*/ 12705 w 154795"/>
                    <a:gd name="connsiteY148" fmla="*/ 11801 h 103371"/>
                    <a:gd name="connsiteX149" fmla="*/ 12982 w 154795"/>
                    <a:gd name="connsiteY149" fmla="*/ 12999 h 103371"/>
                    <a:gd name="connsiteX150" fmla="*/ 14262 w 154795"/>
                    <a:gd name="connsiteY150" fmla="*/ 14034 h 103371"/>
                    <a:gd name="connsiteX151" fmla="*/ 21833 w 154795"/>
                    <a:gd name="connsiteY151" fmla="*/ 12673 h 103371"/>
                    <a:gd name="connsiteX152" fmla="*/ 29526 w 154795"/>
                    <a:gd name="connsiteY152" fmla="*/ 13374 h 103371"/>
                    <a:gd name="connsiteX153" fmla="*/ 39844 w 154795"/>
                    <a:gd name="connsiteY153" fmla="*/ 15705 h 103371"/>
                    <a:gd name="connsiteX154" fmla="*/ 46690 w 154795"/>
                    <a:gd name="connsiteY154" fmla="*/ 16503 h 103371"/>
                    <a:gd name="connsiteX155" fmla="*/ 51743 w 154795"/>
                    <a:gd name="connsiteY155" fmla="*/ 15436 h 103371"/>
                    <a:gd name="connsiteX156" fmla="*/ 61115 w 154795"/>
                    <a:gd name="connsiteY156" fmla="*/ 17383 h 103371"/>
                    <a:gd name="connsiteX157" fmla="*/ 69827 w 154795"/>
                    <a:gd name="connsiteY157" fmla="*/ 19185 h 103371"/>
                    <a:gd name="connsiteX158" fmla="*/ 78196 w 154795"/>
                    <a:gd name="connsiteY158" fmla="*/ 19731 h 103371"/>
                    <a:gd name="connsiteX159" fmla="*/ 82891 w 154795"/>
                    <a:gd name="connsiteY159" fmla="*/ 18304 h 103371"/>
                    <a:gd name="connsiteX160" fmla="*/ 86184 w 154795"/>
                    <a:gd name="connsiteY160" fmla="*/ 16397 h 103371"/>
                    <a:gd name="connsiteX161" fmla="*/ 89019 w 154795"/>
                    <a:gd name="connsiteY161" fmla="*/ 12787 h 103371"/>
                    <a:gd name="connsiteX162" fmla="*/ 96028 w 154795"/>
                    <a:gd name="connsiteY162" fmla="*/ 8027 h 103371"/>
                    <a:gd name="connsiteX163" fmla="*/ 102809 w 154795"/>
                    <a:gd name="connsiteY163" fmla="*/ 5354 h 103371"/>
                    <a:gd name="connsiteX164" fmla="*/ 111700 w 154795"/>
                    <a:gd name="connsiteY164" fmla="*/ 3187 h 103371"/>
                    <a:gd name="connsiteX165" fmla="*/ 117633 w 154795"/>
                    <a:gd name="connsiteY165" fmla="*/ 2445 h 103371"/>
                    <a:gd name="connsiteX166" fmla="*/ 118473 w 154795"/>
                    <a:gd name="connsiteY166" fmla="*/ 3195 h 103371"/>
                    <a:gd name="connsiteX167" fmla="*/ 126027 w 154795"/>
                    <a:gd name="connsiteY167" fmla="*/ 7571 h 103371"/>
                    <a:gd name="connsiteX168" fmla="*/ 129393 w 154795"/>
                    <a:gd name="connsiteY168" fmla="*/ 7579 h 103371"/>
                    <a:gd name="connsiteX169" fmla="*/ 132123 w 154795"/>
                    <a:gd name="connsiteY169" fmla="*/ 8354 h 103371"/>
                    <a:gd name="connsiteX170" fmla="*/ 133110 w 154795"/>
                    <a:gd name="connsiteY170" fmla="*/ 9511 h 103371"/>
                    <a:gd name="connsiteX171" fmla="*/ 133794 w 154795"/>
                    <a:gd name="connsiteY171" fmla="*/ 9804 h 103371"/>
                    <a:gd name="connsiteX172" fmla="*/ 137412 w 154795"/>
                    <a:gd name="connsiteY172" fmla="*/ 8720 h 103371"/>
                    <a:gd name="connsiteX173" fmla="*/ 139010 w 154795"/>
                    <a:gd name="connsiteY173" fmla="*/ 11116 h 103371"/>
                    <a:gd name="connsiteX174" fmla="*/ 141528 w 154795"/>
                    <a:gd name="connsiteY174" fmla="*/ 14458 h 103371"/>
                    <a:gd name="connsiteX175" fmla="*/ 145782 w 154795"/>
                    <a:gd name="connsiteY175" fmla="*/ 16185 h 103371"/>
                    <a:gd name="connsiteX176" fmla="*/ 149588 w 154795"/>
                    <a:gd name="connsiteY176" fmla="*/ 17155 h 103371"/>
                    <a:gd name="connsiteX177" fmla="*/ 150786 w 154795"/>
                    <a:gd name="connsiteY177" fmla="*/ 17310 h 103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154795" h="103371">
                      <a:moveTo>
                        <a:pt x="154796" y="17245"/>
                      </a:moveTo>
                      <a:lnTo>
                        <a:pt x="154217" y="25615"/>
                      </a:lnTo>
                      <a:lnTo>
                        <a:pt x="151821" y="29502"/>
                      </a:lnTo>
                      <a:lnTo>
                        <a:pt x="148203" y="28198"/>
                      </a:lnTo>
                      <a:lnTo>
                        <a:pt x="143598" y="29290"/>
                      </a:lnTo>
                      <a:lnTo>
                        <a:pt x="141145" y="33691"/>
                      </a:lnTo>
                      <a:lnTo>
                        <a:pt x="139760" y="34995"/>
                      </a:lnTo>
                      <a:lnTo>
                        <a:pt x="138521" y="36543"/>
                      </a:lnTo>
                      <a:lnTo>
                        <a:pt x="137706" y="42265"/>
                      </a:lnTo>
                      <a:lnTo>
                        <a:pt x="137518" y="51637"/>
                      </a:lnTo>
                      <a:lnTo>
                        <a:pt x="135783" y="52770"/>
                      </a:lnTo>
                      <a:lnTo>
                        <a:pt x="134169" y="53128"/>
                      </a:lnTo>
                      <a:lnTo>
                        <a:pt x="127494" y="61343"/>
                      </a:lnTo>
                      <a:lnTo>
                        <a:pt x="131333" y="63658"/>
                      </a:lnTo>
                      <a:lnTo>
                        <a:pt x="133036" y="65418"/>
                      </a:lnTo>
                      <a:lnTo>
                        <a:pt x="135848" y="70300"/>
                      </a:lnTo>
                      <a:lnTo>
                        <a:pt x="139849" y="75825"/>
                      </a:lnTo>
                      <a:lnTo>
                        <a:pt x="140640" y="78506"/>
                      </a:lnTo>
                      <a:lnTo>
                        <a:pt x="137274" y="77911"/>
                      </a:lnTo>
                      <a:lnTo>
                        <a:pt x="136109" y="78091"/>
                      </a:lnTo>
                      <a:lnTo>
                        <a:pt x="135351" y="78946"/>
                      </a:lnTo>
                      <a:lnTo>
                        <a:pt x="133802" y="78767"/>
                      </a:lnTo>
                      <a:lnTo>
                        <a:pt x="131871" y="78784"/>
                      </a:lnTo>
                      <a:lnTo>
                        <a:pt x="129850" y="79753"/>
                      </a:lnTo>
                      <a:lnTo>
                        <a:pt x="128749" y="80169"/>
                      </a:lnTo>
                      <a:lnTo>
                        <a:pt x="127258" y="79272"/>
                      </a:lnTo>
                      <a:lnTo>
                        <a:pt x="124479" y="76583"/>
                      </a:lnTo>
                      <a:lnTo>
                        <a:pt x="122792" y="74717"/>
                      </a:lnTo>
                      <a:lnTo>
                        <a:pt x="121537" y="74244"/>
                      </a:lnTo>
                      <a:lnTo>
                        <a:pt x="120274" y="74798"/>
                      </a:lnTo>
                      <a:lnTo>
                        <a:pt x="115767" y="75434"/>
                      </a:lnTo>
                      <a:lnTo>
                        <a:pt x="114708" y="76526"/>
                      </a:lnTo>
                      <a:lnTo>
                        <a:pt x="112621" y="77732"/>
                      </a:lnTo>
                      <a:lnTo>
                        <a:pt x="110518" y="78303"/>
                      </a:lnTo>
                      <a:lnTo>
                        <a:pt x="107511" y="78710"/>
                      </a:lnTo>
                      <a:lnTo>
                        <a:pt x="105938" y="78653"/>
                      </a:lnTo>
                      <a:lnTo>
                        <a:pt x="105050" y="79240"/>
                      </a:lnTo>
                      <a:lnTo>
                        <a:pt x="104309" y="80992"/>
                      </a:lnTo>
                      <a:lnTo>
                        <a:pt x="103803" y="82712"/>
                      </a:lnTo>
                      <a:lnTo>
                        <a:pt x="103355" y="83413"/>
                      </a:lnTo>
                      <a:lnTo>
                        <a:pt x="99614" y="84260"/>
                      </a:lnTo>
                      <a:lnTo>
                        <a:pt x="98791" y="85246"/>
                      </a:lnTo>
                      <a:lnTo>
                        <a:pt x="98554" y="86216"/>
                      </a:lnTo>
                      <a:lnTo>
                        <a:pt x="98628" y="87178"/>
                      </a:lnTo>
                      <a:lnTo>
                        <a:pt x="95645" y="86249"/>
                      </a:lnTo>
                      <a:lnTo>
                        <a:pt x="93339" y="86868"/>
                      </a:lnTo>
                      <a:lnTo>
                        <a:pt x="92793" y="87610"/>
                      </a:lnTo>
                      <a:lnTo>
                        <a:pt x="92312" y="88661"/>
                      </a:lnTo>
                      <a:lnTo>
                        <a:pt x="92589" y="89794"/>
                      </a:lnTo>
                      <a:lnTo>
                        <a:pt x="93445" y="90894"/>
                      </a:lnTo>
                      <a:lnTo>
                        <a:pt x="94235" y="93860"/>
                      </a:lnTo>
                      <a:lnTo>
                        <a:pt x="94520" y="96819"/>
                      </a:lnTo>
                      <a:lnTo>
                        <a:pt x="94040" y="98506"/>
                      </a:lnTo>
                      <a:lnTo>
                        <a:pt x="92320" y="99704"/>
                      </a:lnTo>
                      <a:lnTo>
                        <a:pt x="88767" y="101032"/>
                      </a:lnTo>
                      <a:lnTo>
                        <a:pt x="85336" y="100397"/>
                      </a:lnTo>
                      <a:lnTo>
                        <a:pt x="83836" y="100926"/>
                      </a:lnTo>
                      <a:lnTo>
                        <a:pt x="81285" y="101097"/>
                      </a:lnTo>
                      <a:lnTo>
                        <a:pt x="78947" y="101448"/>
                      </a:lnTo>
                      <a:lnTo>
                        <a:pt x="75352" y="102654"/>
                      </a:lnTo>
                      <a:lnTo>
                        <a:pt x="72101" y="103371"/>
                      </a:lnTo>
                      <a:lnTo>
                        <a:pt x="69183" y="100894"/>
                      </a:lnTo>
                      <a:lnTo>
                        <a:pt x="65711" y="99215"/>
                      </a:lnTo>
                      <a:lnTo>
                        <a:pt x="62077" y="98213"/>
                      </a:lnTo>
                      <a:lnTo>
                        <a:pt x="60813" y="98954"/>
                      </a:lnTo>
                      <a:lnTo>
                        <a:pt x="60251" y="99516"/>
                      </a:lnTo>
                      <a:lnTo>
                        <a:pt x="57211" y="97332"/>
                      </a:lnTo>
                      <a:lnTo>
                        <a:pt x="55850" y="96558"/>
                      </a:lnTo>
                      <a:lnTo>
                        <a:pt x="55190" y="95710"/>
                      </a:lnTo>
                      <a:lnTo>
                        <a:pt x="53918" y="92801"/>
                      </a:lnTo>
                      <a:lnTo>
                        <a:pt x="53169" y="92711"/>
                      </a:lnTo>
                      <a:lnTo>
                        <a:pt x="50659" y="93795"/>
                      </a:lnTo>
                      <a:lnTo>
                        <a:pt x="48254" y="93738"/>
                      </a:lnTo>
                      <a:lnTo>
                        <a:pt x="46787" y="93543"/>
                      </a:lnTo>
                      <a:lnTo>
                        <a:pt x="42468" y="93665"/>
                      </a:lnTo>
                      <a:lnTo>
                        <a:pt x="41881" y="95653"/>
                      </a:lnTo>
                      <a:lnTo>
                        <a:pt x="41344" y="95963"/>
                      </a:lnTo>
                      <a:lnTo>
                        <a:pt x="40414" y="96232"/>
                      </a:lnTo>
                      <a:lnTo>
                        <a:pt x="38108" y="96110"/>
                      </a:lnTo>
                      <a:lnTo>
                        <a:pt x="35174" y="97577"/>
                      </a:lnTo>
                      <a:lnTo>
                        <a:pt x="32020" y="98473"/>
                      </a:lnTo>
                      <a:lnTo>
                        <a:pt x="29567" y="98498"/>
                      </a:lnTo>
                      <a:lnTo>
                        <a:pt x="27016" y="98066"/>
                      </a:lnTo>
                      <a:lnTo>
                        <a:pt x="25500" y="98367"/>
                      </a:lnTo>
                      <a:lnTo>
                        <a:pt x="22208" y="98530"/>
                      </a:lnTo>
                      <a:lnTo>
                        <a:pt x="20138" y="100682"/>
                      </a:lnTo>
                      <a:lnTo>
                        <a:pt x="16902" y="100560"/>
                      </a:lnTo>
                      <a:lnTo>
                        <a:pt x="14188" y="100193"/>
                      </a:lnTo>
                      <a:lnTo>
                        <a:pt x="14523" y="99516"/>
                      </a:lnTo>
                      <a:lnTo>
                        <a:pt x="15060" y="90976"/>
                      </a:lnTo>
                      <a:lnTo>
                        <a:pt x="16405" y="87161"/>
                      </a:lnTo>
                      <a:lnTo>
                        <a:pt x="16365" y="86379"/>
                      </a:lnTo>
                      <a:lnTo>
                        <a:pt x="16063" y="85784"/>
                      </a:lnTo>
                      <a:lnTo>
                        <a:pt x="14873" y="85173"/>
                      </a:lnTo>
                      <a:lnTo>
                        <a:pt x="14017" y="83111"/>
                      </a:lnTo>
                      <a:lnTo>
                        <a:pt x="12225" y="77667"/>
                      </a:lnTo>
                      <a:lnTo>
                        <a:pt x="11214" y="76567"/>
                      </a:lnTo>
                      <a:lnTo>
                        <a:pt x="8386" y="75418"/>
                      </a:lnTo>
                      <a:lnTo>
                        <a:pt x="5917" y="73845"/>
                      </a:lnTo>
                      <a:lnTo>
                        <a:pt x="3822" y="71775"/>
                      </a:lnTo>
                      <a:lnTo>
                        <a:pt x="0" y="66657"/>
                      </a:lnTo>
                      <a:lnTo>
                        <a:pt x="1939" y="66143"/>
                      </a:lnTo>
                      <a:lnTo>
                        <a:pt x="2518" y="65100"/>
                      </a:lnTo>
                      <a:lnTo>
                        <a:pt x="4458" y="62280"/>
                      </a:lnTo>
                      <a:lnTo>
                        <a:pt x="4670" y="60895"/>
                      </a:lnTo>
                      <a:lnTo>
                        <a:pt x="4466" y="60112"/>
                      </a:lnTo>
                      <a:lnTo>
                        <a:pt x="3170" y="58760"/>
                      </a:lnTo>
                      <a:lnTo>
                        <a:pt x="2290" y="55801"/>
                      </a:lnTo>
                      <a:lnTo>
                        <a:pt x="2958" y="53022"/>
                      </a:lnTo>
                      <a:lnTo>
                        <a:pt x="3007" y="51596"/>
                      </a:lnTo>
                      <a:lnTo>
                        <a:pt x="2363" y="50186"/>
                      </a:lnTo>
                      <a:lnTo>
                        <a:pt x="3040" y="48434"/>
                      </a:lnTo>
                      <a:lnTo>
                        <a:pt x="4441" y="47472"/>
                      </a:lnTo>
                      <a:lnTo>
                        <a:pt x="5305" y="47187"/>
                      </a:lnTo>
                      <a:lnTo>
                        <a:pt x="8973" y="46991"/>
                      </a:lnTo>
                      <a:lnTo>
                        <a:pt x="11295" y="43471"/>
                      </a:lnTo>
                      <a:lnTo>
                        <a:pt x="12722" y="42346"/>
                      </a:lnTo>
                      <a:lnTo>
                        <a:pt x="14164" y="40357"/>
                      </a:lnTo>
                      <a:lnTo>
                        <a:pt x="14841" y="39624"/>
                      </a:lnTo>
                      <a:lnTo>
                        <a:pt x="15476" y="38067"/>
                      </a:lnTo>
                      <a:lnTo>
                        <a:pt x="15696" y="36478"/>
                      </a:lnTo>
                      <a:lnTo>
                        <a:pt x="12779" y="34253"/>
                      </a:lnTo>
                      <a:lnTo>
                        <a:pt x="11792" y="32575"/>
                      </a:lnTo>
                      <a:lnTo>
                        <a:pt x="10505" y="30716"/>
                      </a:lnTo>
                      <a:lnTo>
                        <a:pt x="8753" y="29437"/>
                      </a:lnTo>
                      <a:lnTo>
                        <a:pt x="5215" y="27245"/>
                      </a:lnTo>
                      <a:lnTo>
                        <a:pt x="3847" y="25003"/>
                      </a:lnTo>
                      <a:lnTo>
                        <a:pt x="3219" y="22102"/>
                      </a:lnTo>
                      <a:lnTo>
                        <a:pt x="2290" y="19918"/>
                      </a:lnTo>
                      <a:lnTo>
                        <a:pt x="1263" y="18484"/>
                      </a:lnTo>
                      <a:lnTo>
                        <a:pt x="1067" y="17318"/>
                      </a:lnTo>
                      <a:lnTo>
                        <a:pt x="644" y="15892"/>
                      </a:lnTo>
                      <a:lnTo>
                        <a:pt x="521" y="13080"/>
                      </a:lnTo>
                      <a:lnTo>
                        <a:pt x="1361" y="9340"/>
                      </a:lnTo>
                      <a:lnTo>
                        <a:pt x="1907" y="8019"/>
                      </a:lnTo>
                      <a:lnTo>
                        <a:pt x="3105" y="7653"/>
                      </a:lnTo>
                      <a:lnTo>
                        <a:pt x="6275" y="5656"/>
                      </a:lnTo>
                      <a:lnTo>
                        <a:pt x="6430" y="3105"/>
                      </a:lnTo>
                      <a:lnTo>
                        <a:pt x="7009" y="1516"/>
                      </a:lnTo>
                      <a:lnTo>
                        <a:pt x="8019" y="603"/>
                      </a:lnTo>
                      <a:lnTo>
                        <a:pt x="8948" y="0"/>
                      </a:lnTo>
                      <a:lnTo>
                        <a:pt x="10693" y="1483"/>
                      </a:lnTo>
                      <a:lnTo>
                        <a:pt x="14906" y="3847"/>
                      </a:lnTo>
                      <a:lnTo>
                        <a:pt x="16976" y="5566"/>
                      </a:lnTo>
                      <a:lnTo>
                        <a:pt x="16870" y="6634"/>
                      </a:lnTo>
                      <a:lnTo>
                        <a:pt x="15900" y="7685"/>
                      </a:lnTo>
                      <a:lnTo>
                        <a:pt x="14058" y="8728"/>
                      </a:lnTo>
                      <a:lnTo>
                        <a:pt x="12991" y="10098"/>
                      </a:lnTo>
                      <a:lnTo>
                        <a:pt x="12705" y="11801"/>
                      </a:lnTo>
                      <a:lnTo>
                        <a:pt x="12982" y="12999"/>
                      </a:lnTo>
                      <a:lnTo>
                        <a:pt x="14262" y="14034"/>
                      </a:lnTo>
                      <a:lnTo>
                        <a:pt x="21833" y="12673"/>
                      </a:lnTo>
                      <a:lnTo>
                        <a:pt x="29526" y="13374"/>
                      </a:lnTo>
                      <a:lnTo>
                        <a:pt x="39844" y="15705"/>
                      </a:lnTo>
                      <a:lnTo>
                        <a:pt x="46690" y="16503"/>
                      </a:lnTo>
                      <a:lnTo>
                        <a:pt x="51743" y="15436"/>
                      </a:lnTo>
                      <a:lnTo>
                        <a:pt x="61115" y="17383"/>
                      </a:lnTo>
                      <a:lnTo>
                        <a:pt x="69827" y="19185"/>
                      </a:lnTo>
                      <a:lnTo>
                        <a:pt x="78196" y="19731"/>
                      </a:lnTo>
                      <a:lnTo>
                        <a:pt x="82891" y="18304"/>
                      </a:lnTo>
                      <a:lnTo>
                        <a:pt x="86184" y="16397"/>
                      </a:lnTo>
                      <a:lnTo>
                        <a:pt x="89019" y="12787"/>
                      </a:lnTo>
                      <a:lnTo>
                        <a:pt x="96028" y="8027"/>
                      </a:lnTo>
                      <a:lnTo>
                        <a:pt x="102809" y="5354"/>
                      </a:lnTo>
                      <a:lnTo>
                        <a:pt x="111700" y="3187"/>
                      </a:lnTo>
                      <a:lnTo>
                        <a:pt x="117633" y="2445"/>
                      </a:lnTo>
                      <a:lnTo>
                        <a:pt x="118473" y="3195"/>
                      </a:lnTo>
                      <a:lnTo>
                        <a:pt x="126027" y="7571"/>
                      </a:lnTo>
                      <a:lnTo>
                        <a:pt x="129393" y="7579"/>
                      </a:lnTo>
                      <a:lnTo>
                        <a:pt x="132123" y="8354"/>
                      </a:lnTo>
                      <a:lnTo>
                        <a:pt x="133110" y="9511"/>
                      </a:lnTo>
                      <a:lnTo>
                        <a:pt x="133794" y="9804"/>
                      </a:lnTo>
                      <a:lnTo>
                        <a:pt x="137412" y="8720"/>
                      </a:lnTo>
                      <a:lnTo>
                        <a:pt x="139010" y="11116"/>
                      </a:lnTo>
                      <a:lnTo>
                        <a:pt x="141528" y="14458"/>
                      </a:lnTo>
                      <a:lnTo>
                        <a:pt x="145782" y="16185"/>
                      </a:lnTo>
                      <a:lnTo>
                        <a:pt x="149588" y="17155"/>
                      </a:lnTo>
                      <a:lnTo>
                        <a:pt x="150786" y="17310"/>
                      </a:lnTo>
                      <a:close/>
                    </a:path>
                  </a:pathLst>
                </a:custGeom>
                <a:solidFill>
                  <a:srgbClr val="D6D6D2"/>
                </a:solidFill>
                <a:ln w="6112" cap="rnd">
                  <a:solidFill>
                    <a:srgbClr val="FFFFFF"/>
                  </a:solidFill>
                  <a:prstDash val="solid"/>
                  <a:round/>
                </a:ln>
              </p:spPr>
              <p:txBody>
                <a:bodyPr rtlCol="0" anchor="ctr"/>
                <a:lstStyle/>
                <a:p>
                  <a:endParaRPr lang="en-US"/>
                </a:p>
              </p:txBody>
            </p:sp>
            <p:sp>
              <p:nvSpPr>
                <p:cNvPr id="775" name="Freeform: Shape 774">
                  <a:extLst>
                    <a:ext uri="{FF2B5EF4-FFF2-40B4-BE49-F238E27FC236}">
                      <a16:creationId xmlns:a16="http://schemas.microsoft.com/office/drawing/2014/main" id="{75185CEE-72AE-4346-A017-197B0B434640}"/>
                    </a:ext>
                  </a:extLst>
                </p:cNvPr>
                <p:cNvSpPr/>
                <p:nvPr/>
              </p:nvSpPr>
              <p:spPr>
                <a:xfrm>
                  <a:off x="8126807" y="3714372"/>
                  <a:ext cx="114299" cy="180777"/>
                </a:xfrm>
                <a:custGeom>
                  <a:avLst/>
                  <a:gdLst>
                    <a:gd name="connsiteX0" fmla="*/ 18328 w 114299"/>
                    <a:gd name="connsiteY0" fmla="*/ 9266 h 180777"/>
                    <a:gd name="connsiteX1" fmla="*/ 19958 w 114299"/>
                    <a:gd name="connsiteY1" fmla="*/ 10130 h 180777"/>
                    <a:gd name="connsiteX2" fmla="*/ 21662 w 114299"/>
                    <a:gd name="connsiteY2" fmla="*/ 9869 h 180777"/>
                    <a:gd name="connsiteX3" fmla="*/ 22762 w 114299"/>
                    <a:gd name="connsiteY3" fmla="*/ 10342 h 180777"/>
                    <a:gd name="connsiteX4" fmla="*/ 23496 w 114299"/>
                    <a:gd name="connsiteY4" fmla="*/ 10171 h 180777"/>
                    <a:gd name="connsiteX5" fmla="*/ 23773 w 114299"/>
                    <a:gd name="connsiteY5" fmla="*/ 9054 h 180777"/>
                    <a:gd name="connsiteX6" fmla="*/ 22942 w 114299"/>
                    <a:gd name="connsiteY6" fmla="*/ 7408 h 180777"/>
                    <a:gd name="connsiteX7" fmla="*/ 22338 w 114299"/>
                    <a:gd name="connsiteY7" fmla="*/ 6243 h 180777"/>
                    <a:gd name="connsiteX8" fmla="*/ 23031 w 114299"/>
                    <a:gd name="connsiteY8" fmla="*/ 5069 h 180777"/>
                    <a:gd name="connsiteX9" fmla="*/ 23821 w 114299"/>
                    <a:gd name="connsiteY9" fmla="*/ 4833 h 180777"/>
                    <a:gd name="connsiteX10" fmla="*/ 24685 w 114299"/>
                    <a:gd name="connsiteY10" fmla="*/ 5126 h 180777"/>
                    <a:gd name="connsiteX11" fmla="*/ 25875 w 114299"/>
                    <a:gd name="connsiteY11" fmla="*/ 6177 h 180777"/>
                    <a:gd name="connsiteX12" fmla="*/ 26747 w 114299"/>
                    <a:gd name="connsiteY12" fmla="*/ 8345 h 180777"/>
                    <a:gd name="connsiteX13" fmla="*/ 26902 w 114299"/>
                    <a:gd name="connsiteY13" fmla="*/ 11695 h 180777"/>
                    <a:gd name="connsiteX14" fmla="*/ 28842 w 114299"/>
                    <a:gd name="connsiteY14" fmla="*/ 14735 h 180777"/>
                    <a:gd name="connsiteX15" fmla="*/ 31393 w 114299"/>
                    <a:gd name="connsiteY15" fmla="*/ 16894 h 180777"/>
                    <a:gd name="connsiteX16" fmla="*/ 33389 w 114299"/>
                    <a:gd name="connsiteY16" fmla="*/ 17889 h 180777"/>
                    <a:gd name="connsiteX17" fmla="*/ 35793 w 114299"/>
                    <a:gd name="connsiteY17" fmla="*/ 18598 h 180777"/>
                    <a:gd name="connsiteX18" fmla="*/ 37855 w 114299"/>
                    <a:gd name="connsiteY18" fmla="*/ 17921 h 180777"/>
                    <a:gd name="connsiteX19" fmla="*/ 38882 w 114299"/>
                    <a:gd name="connsiteY19" fmla="*/ 15802 h 180777"/>
                    <a:gd name="connsiteX20" fmla="*/ 38418 w 114299"/>
                    <a:gd name="connsiteY20" fmla="*/ 13912 h 180777"/>
                    <a:gd name="connsiteX21" fmla="*/ 38744 w 114299"/>
                    <a:gd name="connsiteY21" fmla="*/ 12216 h 180777"/>
                    <a:gd name="connsiteX22" fmla="*/ 39567 w 114299"/>
                    <a:gd name="connsiteY22" fmla="*/ 11287 h 180777"/>
                    <a:gd name="connsiteX23" fmla="*/ 40855 w 114299"/>
                    <a:gd name="connsiteY23" fmla="*/ 11336 h 180777"/>
                    <a:gd name="connsiteX24" fmla="*/ 41816 w 114299"/>
                    <a:gd name="connsiteY24" fmla="*/ 12681 h 180777"/>
                    <a:gd name="connsiteX25" fmla="*/ 44628 w 114299"/>
                    <a:gd name="connsiteY25" fmla="*/ 19934 h 180777"/>
                    <a:gd name="connsiteX26" fmla="*/ 44049 w 114299"/>
                    <a:gd name="connsiteY26" fmla="*/ 23145 h 180777"/>
                    <a:gd name="connsiteX27" fmla="*/ 44677 w 114299"/>
                    <a:gd name="connsiteY27" fmla="*/ 31947 h 180777"/>
                    <a:gd name="connsiteX28" fmla="*/ 43967 w 114299"/>
                    <a:gd name="connsiteY28" fmla="*/ 37741 h 180777"/>
                    <a:gd name="connsiteX29" fmla="*/ 44082 w 114299"/>
                    <a:gd name="connsiteY29" fmla="*/ 38988 h 180777"/>
                    <a:gd name="connsiteX30" fmla="*/ 44408 w 114299"/>
                    <a:gd name="connsiteY30" fmla="*/ 39958 h 180777"/>
                    <a:gd name="connsiteX31" fmla="*/ 44889 w 114299"/>
                    <a:gd name="connsiteY31" fmla="*/ 40357 h 180777"/>
                    <a:gd name="connsiteX32" fmla="*/ 45712 w 114299"/>
                    <a:gd name="connsiteY32" fmla="*/ 40349 h 180777"/>
                    <a:gd name="connsiteX33" fmla="*/ 49127 w 114299"/>
                    <a:gd name="connsiteY33" fmla="*/ 41441 h 180777"/>
                    <a:gd name="connsiteX34" fmla="*/ 51995 w 114299"/>
                    <a:gd name="connsiteY34" fmla="*/ 42639 h 180777"/>
                    <a:gd name="connsiteX35" fmla="*/ 55239 w 114299"/>
                    <a:gd name="connsiteY35" fmla="*/ 43748 h 180777"/>
                    <a:gd name="connsiteX36" fmla="*/ 59917 w 114299"/>
                    <a:gd name="connsiteY36" fmla="*/ 44603 h 180777"/>
                    <a:gd name="connsiteX37" fmla="*/ 62802 w 114299"/>
                    <a:gd name="connsiteY37" fmla="*/ 44318 h 180777"/>
                    <a:gd name="connsiteX38" fmla="*/ 64236 w 114299"/>
                    <a:gd name="connsiteY38" fmla="*/ 44286 h 180777"/>
                    <a:gd name="connsiteX39" fmla="*/ 67137 w 114299"/>
                    <a:gd name="connsiteY39" fmla="*/ 44546 h 180777"/>
                    <a:gd name="connsiteX40" fmla="*/ 74774 w 114299"/>
                    <a:gd name="connsiteY40" fmla="*/ 44082 h 180777"/>
                    <a:gd name="connsiteX41" fmla="*/ 81106 w 114299"/>
                    <a:gd name="connsiteY41" fmla="*/ 43960 h 180777"/>
                    <a:gd name="connsiteX42" fmla="*/ 83673 w 114299"/>
                    <a:gd name="connsiteY42" fmla="*/ 44791 h 180777"/>
                    <a:gd name="connsiteX43" fmla="*/ 85727 w 114299"/>
                    <a:gd name="connsiteY43" fmla="*/ 45092 h 180777"/>
                    <a:gd name="connsiteX44" fmla="*/ 92768 w 114299"/>
                    <a:gd name="connsiteY44" fmla="*/ 44514 h 180777"/>
                    <a:gd name="connsiteX45" fmla="*/ 99859 w 114299"/>
                    <a:gd name="connsiteY45" fmla="*/ 44237 h 180777"/>
                    <a:gd name="connsiteX46" fmla="*/ 103705 w 114299"/>
                    <a:gd name="connsiteY46" fmla="*/ 46079 h 180777"/>
                    <a:gd name="connsiteX47" fmla="*/ 107894 w 114299"/>
                    <a:gd name="connsiteY47" fmla="*/ 49086 h 180777"/>
                    <a:gd name="connsiteX48" fmla="*/ 110250 w 114299"/>
                    <a:gd name="connsiteY48" fmla="*/ 51319 h 180777"/>
                    <a:gd name="connsiteX49" fmla="*/ 110674 w 114299"/>
                    <a:gd name="connsiteY49" fmla="*/ 52606 h 180777"/>
                    <a:gd name="connsiteX50" fmla="*/ 110421 w 114299"/>
                    <a:gd name="connsiteY50" fmla="*/ 53690 h 180777"/>
                    <a:gd name="connsiteX51" fmla="*/ 109630 w 114299"/>
                    <a:gd name="connsiteY51" fmla="*/ 54302 h 180777"/>
                    <a:gd name="connsiteX52" fmla="*/ 108179 w 114299"/>
                    <a:gd name="connsiteY52" fmla="*/ 54318 h 180777"/>
                    <a:gd name="connsiteX53" fmla="*/ 104871 w 114299"/>
                    <a:gd name="connsiteY53" fmla="*/ 52859 h 180777"/>
                    <a:gd name="connsiteX54" fmla="*/ 104300 w 114299"/>
                    <a:gd name="connsiteY54" fmla="*/ 53291 h 180777"/>
                    <a:gd name="connsiteX55" fmla="*/ 104357 w 114299"/>
                    <a:gd name="connsiteY55" fmla="*/ 56282 h 180777"/>
                    <a:gd name="connsiteX56" fmla="*/ 104259 w 114299"/>
                    <a:gd name="connsiteY56" fmla="*/ 56763 h 180777"/>
                    <a:gd name="connsiteX57" fmla="*/ 103550 w 114299"/>
                    <a:gd name="connsiteY57" fmla="*/ 59444 h 180777"/>
                    <a:gd name="connsiteX58" fmla="*/ 101554 w 114299"/>
                    <a:gd name="connsiteY58" fmla="*/ 65459 h 180777"/>
                    <a:gd name="connsiteX59" fmla="*/ 101162 w 114299"/>
                    <a:gd name="connsiteY59" fmla="*/ 68148 h 180777"/>
                    <a:gd name="connsiteX60" fmla="*/ 100731 w 114299"/>
                    <a:gd name="connsiteY60" fmla="*/ 68833 h 180777"/>
                    <a:gd name="connsiteX61" fmla="*/ 100225 w 114299"/>
                    <a:gd name="connsiteY61" fmla="*/ 69208 h 180777"/>
                    <a:gd name="connsiteX62" fmla="*/ 98652 w 114299"/>
                    <a:gd name="connsiteY62" fmla="*/ 69314 h 180777"/>
                    <a:gd name="connsiteX63" fmla="*/ 97430 w 114299"/>
                    <a:gd name="connsiteY63" fmla="*/ 69753 h 180777"/>
                    <a:gd name="connsiteX64" fmla="*/ 96925 w 114299"/>
                    <a:gd name="connsiteY64" fmla="*/ 70740 h 180777"/>
                    <a:gd name="connsiteX65" fmla="*/ 96118 w 114299"/>
                    <a:gd name="connsiteY65" fmla="*/ 72769 h 180777"/>
                    <a:gd name="connsiteX66" fmla="*/ 95580 w 114299"/>
                    <a:gd name="connsiteY66" fmla="*/ 74814 h 180777"/>
                    <a:gd name="connsiteX67" fmla="*/ 94806 w 114299"/>
                    <a:gd name="connsiteY67" fmla="*/ 75450 h 180777"/>
                    <a:gd name="connsiteX68" fmla="*/ 92980 w 114299"/>
                    <a:gd name="connsiteY68" fmla="*/ 74334 h 180777"/>
                    <a:gd name="connsiteX69" fmla="*/ 91839 w 114299"/>
                    <a:gd name="connsiteY69" fmla="*/ 74505 h 180777"/>
                    <a:gd name="connsiteX70" fmla="*/ 90405 w 114299"/>
                    <a:gd name="connsiteY70" fmla="*/ 74969 h 180777"/>
                    <a:gd name="connsiteX71" fmla="*/ 88971 w 114299"/>
                    <a:gd name="connsiteY71" fmla="*/ 76143 h 180777"/>
                    <a:gd name="connsiteX72" fmla="*/ 87984 w 114299"/>
                    <a:gd name="connsiteY72" fmla="*/ 77585 h 180777"/>
                    <a:gd name="connsiteX73" fmla="*/ 86860 w 114299"/>
                    <a:gd name="connsiteY73" fmla="*/ 78083 h 180777"/>
                    <a:gd name="connsiteX74" fmla="*/ 83551 w 114299"/>
                    <a:gd name="connsiteY74" fmla="*/ 77789 h 180777"/>
                    <a:gd name="connsiteX75" fmla="*/ 82923 w 114299"/>
                    <a:gd name="connsiteY75" fmla="*/ 78001 h 180777"/>
                    <a:gd name="connsiteX76" fmla="*/ 82500 w 114299"/>
                    <a:gd name="connsiteY76" fmla="*/ 79028 h 180777"/>
                    <a:gd name="connsiteX77" fmla="*/ 82165 w 114299"/>
                    <a:gd name="connsiteY77" fmla="*/ 80332 h 180777"/>
                    <a:gd name="connsiteX78" fmla="*/ 79574 w 114299"/>
                    <a:gd name="connsiteY78" fmla="*/ 83412 h 180777"/>
                    <a:gd name="connsiteX79" fmla="*/ 78588 w 114299"/>
                    <a:gd name="connsiteY79" fmla="*/ 88335 h 180777"/>
                    <a:gd name="connsiteX80" fmla="*/ 77797 w 114299"/>
                    <a:gd name="connsiteY80" fmla="*/ 91530 h 180777"/>
                    <a:gd name="connsiteX81" fmla="*/ 77928 w 114299"/>
                    <a:gd name="connsiteY81" fmla="*/ 94015 h 180777"/>
                    <a:gd name="connsiteX82" fmla="*/ 80112 w 114299"/>
                    <a:gd name="connsiteY82" fmla="*/ 100494 h 180777"/>
                    <a:gd name="connsiteX83" fmla="*/ 81644 w 114299"/>
                    <a:gd name="connsiteY83" fmla="*/ 108897 h 180777"/>
                    <a:gd name="connsiteX84" fmla="*/ 82223 w 114299"/>
                    <a:gd name="connsiteY84" fmla="*/ 109752 h 180777"/>
                    <a:gd name="connsiteX85" fmla="*/ 82736 w 114299"/>
                    <a:gd name="connsiteY85" fmla="*/ 110030 h 180777"/>
                    <a:gd name="connsiteX86" fmla="*/ 82964 w 114299"/>
                    <a:gd name="connsiteY86" fmla="*/ 109834 h 180777"/>
                    <a:gd name="connsiteX87" fmla="*/ 82915 w 114299"/>
                    <a:gd name="connsiteY87" fmla="*/ 108082 h 180777"/>
                    <a:gd name="connsiteX88" fmla="*/ 83021 w 114299"/>
                    <a:gd name="connsiteY88" fmla="*/ 105979 h 180777"/>
                    <a:gd name="connsiteX89" fmla="*/ 83722 w 114299"/>
                    <a:gd name="connsiteY89" fmla="*/ 105482 h 180777"/>
                    <a:gd name="connsiteX90" fmla="*/ 84643 w 114299"/>
                    <a:gd name="connsiteY90" fmla="*/ 105922 h 180777"/>
                    <a:gd name="connsiteX91" fmla="*/ 85499 w 114299"/>
                    <a:gd name="connsiteY91" fmla="*/ 107756 h 180777"/>
                    <a:gd name="connsiteX92" fmla="*/ 86485 w 114299"/>
                    <a:gd name="connsiteY92" fmla="*/ 111113 h 180777"/>
                    <a:gd name="connsiteX93" fmla="*/ 87536 w 114299"/>
                    <a:gd name="connsiteY93" fmla="*/ 112425 h 180777"/>
                    <a:gd name="connsiteX94" fmla="*/ 89182 w 114299"/>
                    <a:gd name="connsiteY94" fmla="*/ 112792 h 180777"/>
                    <a:gd name="connsiteX95" fmla="*/ 91049 w 114299"/>
                    <a:gd name="connsiteY95" fmla="*/ 112002 h 180777"/>
                    <a:gd name="connsiteX96" fmla="*/ 92434 w 114299"/>
                    <a:gd name="connsiteY96" fmla="*/ 110486 h 180777"/>
                    <a:gd name="connsiteX97" fmla="*/ 93005 w 114299"/>
                    <a:gd name="connsiteY97" fmla="*/ 108848 h 180777"/>
                    <a:gd name="connsiteX98" fmla="*/ 92605 w 114299"/>
                    <a:gd name="connsiteY98" fmla="*/ 105612 h 180777"/>
                    <a:gd name="connsiteX99" fmla="*/ 92508 w 114299"/>
                    <a:gd name="connsiteY99" fmla="*/ 103192 h 180777"/>
                    <a:gd name="connsiteX100" fmla="*/ 93396 w 114299"/>
                    <a:gd name="connsiteY100" fmla="*/ 100894 h 180777"/>
                    <a:gd name="connsiteX101" fmla="*/ 96599 w 114299"/>
                    <a:gd name="connsiteY101" fmla="*/ 97455 h 180777"/>
                    <a:gd name="connsiteX102" fmla="*/ 97080 w 114299"/>
                    <a:gd name="connsiteY102" fmla="*/ 96411 h 180777"/>
                    <a:gd name="connsiteX103" fmla="*/ 96868 w 114299"/>
                    <a:gd name="connsiteY103" fmla="*/ 93494 h 180777"/>
                    <a:gd name="connsiteX104" fmla="*/ 96868 w 114299"/>
                    <a:gd name="connsiteY104" fmla="*/ 90755 h 180777"/>
                    <a:gd name="connsiteX105" fmla="*/ 98074 w 114299"/>
                    <a:gd name="connsiteY105" fmla="*/ 90568 h 180777"/>
                    <a:gd name="connsiteX106" fmla="*/ 99704 w 114299"/>
                    <a:gd name="connsiteY106" fmla="*/ 91016 h 180777"/>
                    <a:gd name="connsiteX107" fmla="*/ 101749 w 114299"/>
                    <a:gd name="connsiteY107" fmla="*/ 89663 h 180777"/>
                    <a:gd name="connsiteX108" fmla="*/ 102385 w 114299"/>
                    <a:gd name="connsiteY108" fmla="*/ 89639 h 180777"/>
                    <a:gd name="connsiteX109" fmla="*/ 103249 w 114299"/>
                    <a:gd name="connsiteY109" fmla="*/ 91081 h 180777"/>
                    <a:gd name="connsiteX110" fmla="*/ 104707 w 114299"/>
                    <a:gd name="connsiteY110" fmla="*/ 90829 h 180777"/>
                    <a:gd name="connsiteX111" fmla="*/ 105792 w 114299"/>
                    <a:gd name="connsiteY111" fmla="*/ 96794 h 180777"/>
                    <a:gd name="connsiteX112" fmla="*/ 106892 w 114299"/>
                    <a:gd name="connsiteY112" fmla="*/ 102059 h 180777"/>
                    <a:gd name="connsiteX113" fmla="*/ 106908 w 114299"/>
                    <a:gd name="connsiteY113" fmla="*/ 104569 h 180777"/>
                    <a:gd name="connsiteX114" fmla="*/ 107088 w 114299"/>
                    <a:gd name="connsiteY114" fmla="*/ 109956 h 180777"/>
                    <a:gd name="connsiteX115" fmla="*/ 107592 w 114299"/>
                    <a:gd name="connsiteY115" fmla="*/ 114349 h 180777"/>
                    <a:gd name="connsiteX116" fmla="*/ 108375 w 114299"/>
                    <a:gd name="connsiteY116" fmla="*/ 115343 h 180777"/>
                    <a:gd name="connsiteX117" fmla="*/ 109304 w 114299"/>
                    <a:gd name="connsiteY117" fmla="*/ 117690 h 180777"/>
                    <a:gd name="connsiteX118" fmla="*/ 110152 w 114299"/>
                    <a:gd name="connsiteY118" fmla="*/ 120412 h 180777"/>
                    <a:gd name="connsiteX119" fmla="*/ 110820 w 114299"/>
                    <a:gd name="connsiteY119" fmla="*/ 121944 h 180777"/>
                    <a:gd name="connsiteX120" fmla="*/ 111268 w 114299"/>
                    <a:gd name="connsiteY120" fmla="*/ 126916 h 180777"/>
                    <a:gd name="connsiteX121" fmla="*/ 111814 w 114299"/>
                    <a:gd name="connsiteY121" fmla="*/ 130502 h 180777"/>
                    <a:gd name="connsiteX122" fmla="*/ 112548 w 114299"/>
                    <a:gd name="connsiteY122" fmla="*/ 141765 h 180777"/>
                    <a:gd name="connsiteX123" fmla="*/ 112890 w 114299"/>
                    <a:gd name="connsiteY123" fmla="*/ 143940 h 180777"/>
                    <a:gd name="connsiteX124" fmla="*/ 113078 w 114299"/>
                    <a:gd name="connsiteY124" fmla="*/ 145114 h 180777"/>
                    <a:gd name="connsiteX125" fmla="*/ 113118 w 114299"/>
                    <a:gd name="connsiteY125" fmla="*/ 155399 h 180777"/>
                    <a:gd name="connsiteX126" fmla="*/ 113338 w 114299"/>
                    <a:gd name="connsiteY126" fmla="*/ 159800 h 180777"/>
                    <a:gd name="connsiteX127" fmla="*/ 114129 w 114299"/>
                    <a:gd name="connsiteY127" fmla="*/ 163418 h 180777"/>
                    <a:gd name="connsiteX128" fmla="*/ 114300 w 114299"/>
                    <a:gd name="connsiteY128" fmla="*/ 164796 h 180777"/>
                    <a:gd name="connsiteX129" fmla="*/ 113501 w 114299"/>
                    <a:gd name="connsiteY129" fmla="*/ 165912 h 180777"/>
                    <a:gd name="connsiteX130" fmla="*/ 112727 w 114299"/>
                    <a:gd name="connsiteY130" fmla="*/ 166124 h 180777"/>
                    <a:gd name="connsiteX131" fmla="*/ 111994 w 114299"/>
                    <a:gd name="connsiteY131" fmla="*/ 164380 h 180777"/>
                    <a:gd name="connsiteX132" fmla="*/ 110323 w 114299"/>
                    <a:gd name="connsiteY132" fmla="*/ 163043 h 180777"/>
                    <a:gd name="connsiteX133" fmla="*/ 107862 w 114299"/>
                    <a:gd name="connsiteY133" fmla="*/ 161617 h 180777"/>
                    <a:gd name="connsiteX134" fmla="*/ 106826 w 114299"/>
                    <a:gd name="connsiteY134" fmla="*/ 160656 h 180777"/>
                    <a:gd name="connsiteX135" fmla="*/ 105564 w 114299"/>
                    <a:gd name="connsiteY135" fmla="*/ 161039 h 180777"/>
                    <a:gd name="connsiteX136" fmla="*/ 103787 w 114299"/>
                    <a:gd name="connsiteY136" fmla="*/ 163207 h 180777"/>
                    <a:gd name="connsiteX137" fmla="*/ 103069 w 114299"/>
                    <a:gd name="connsiteY137" fmla="*/ 165211 h 180777"/>
                    <a:gd name="connsiteX138" fmla="*/ 103379 w 114299"/>
                    <a:gd name="connsiteY138" fmla="*/ 168023 h 180777"/>
                    <a:gd name="connsiteX139" fmla="*/ 103941 w 114299"/>
                    <a:gd name="connsiteY139" fmla="*/ 170802 h 180777"/>
                    <a:gd name="connsiteX140" fmla="*/ 105172 w 114299"/>
                    <a:gd name="connsiteY140" fmla="*/ 172391 h 180777"/>
                    <a:gd name="connsiteX141" fmla="*/ 105278 w 114299"/>
                    <a:gd name="connsiteY141" fmla="*/ 174152 h 180777"/>
                    <a:gd name="connsiteX142" fmla="*/ 105718 w 114299"/>
                    <a:gd name="connsiteY142" fmla="*/ 176417 h 180777"/>
                    <a:gd name="connsiteX143" fmla="*/ 106354 w 114299"/>
                    <a:gd name="connsiteY143" fmla="*/ 178487 h 180777"/>
                    <a:gd name="connsiteX144" fmla="*/ 106655 w 114299"/>
                    <a:gd name="connsiteY144" fmla="*/ 180737 h 180777"/>
                    <a:gd name="connsiteX145" fmla="*/ 106248 w 114299"/>
                    <a:gd name="connsiteY145" fmla="*/ 180777 h 180777"/>
                    <a:gd name="connsiteX146" fmla="*/ 104765 w 114299"/>
                    <a:gd name="connsiteY146" fmla="*/ 177892 h 180777"/>
                    <a:gd name="connsiteX147" fmla="*/ 103445 w 114299"/>
                    <a:gd name="connsiteY147" fmla="*/ 174779 h 180777"/>
                    <a:gd name="connsiteX148" fmla="*/ 100005 w 114299"/>
                    <a:gd name="connsiteY148" fmla="*/ 168879 h 180777"/>
                    <a:gd name="connsiteX149" fmla="*/ 98889 w 114299"/>
                    <a:gd name="connsiteY149" fmla="*/ 158292 h 180777"/>
                    <a:gd name="connsiteX150" fmla="*/ 98807 w 114299"/>
                    <a:gd name="connsiteY150" fmla="*/ 153060 h 180777"/>
                    <a:gd name="connsiteX151" fmla="*/ 96452 w 114299"/>
                    <a:gd name="connsiteY151" fmla="*/ 146907 h 180777"/>
                    <a:gd name="connsiteX152" fmla="*/ 94895 w 114299"/>
                    <a:gd name="connsiteY152" fmla="*/ 138382 h 180777"/>
                    <a:gd name="connsiteX153" fmla="*/ 94268 w 114299"/>
                    <a:gd name="connsiteY153" fmla="*/ 136166 h 180777"/>
                    <a:gd name="connsiteX154" fmla="*/ 95099 w 114299"/>
                    <a:gd name="connsiteY154" fmla="*/ 133411 h 180777"/>
                    <a:gd name="connsiteX155" fmla="*/ 95238 w 114299"/>
                    <a:gd name="connsiteY155" fmla="*/ 132384 h 180777"/>
                    <a:gd name="connsiteX156" fmla="*/ 94781 w 114299"/>
                    <a:gd name="connsiteY156" fmla="*/ 132612 h 180777"/>
                    <a:gd name="connsiteX157" fmla="*/ 93592 w 114299"/>
                    <a:gd name="connsiteY157" fmla="*/ 134030 h 180777"/>
                    <a:gd name="connsiteX158" fmla="*/ 92027 w 114299"/>
                    <a:gd name="connsiteY158" fmla="*/ 130632 h 180777"/>
                    <a:gd name="connsiteX159" fmla="*/ 91008 w 114299"/>
                    <a:gd name="connsiteY159" fmla="*/ 127584 h 180777"/>
                    <a:gd name="connsiteX160" fmla="*/ 86965 w 114299"/>
                    <a:gd name="connsiteY160" fmla="*/ 121260 h 180777"/>
                    <a:gd name="connsiteX161" fmla="*/ 85784 w 114299"/>
                    <a:gd name="connsiteY161" fmla="*/ 118464 h 180777"/>
                    <a:gd name="connsiteX162" fmla="*/ 85727 w 114299"/>
                    <a:gd name="connsiteY162" fmla="*/ 115742 h 180777"/>
                    <a:gd name="connsiteX163" fmla="*/ 83975 w 114299"/>
                    <a:gd name="connsiteY163" fmla="*/ 118481 h 180777"/>
                    <a:gd name="connsiteX164" fmla="*/ 81595 w 114299"/>
                    <a:gd name="connsiteY164" fmla="*/ 120404 h 180777"/>
                    <a:gd name="connsiteX165" fmla="*/ 79183 w 114299"/>
                    <a:gd name="connsiteY165" fmla="*/ 123297 h 180777"/>
                    <a:gd name="connsiteX166" fmla="*/ 77577 w 114299"/>
                    <a:gd name="connsiteY166" fmla="*/ 124169 h 180777"/>
                    <a:gd name="connsiteX167" fmla="*/ 72467 w 114299"/>
                    <a:gd name="connsiteY167" fmla="*/ 124707 h 180777"/>
                    <a:gd name="connsiteX168" fmla="*/ 69525 w 114299"/>
                    <a:gd name="connsiteY168" fmla="*/ 120828 h 180777"/>
                    <a:gd name="connsiteX169" fmla="*/ 65295 w 114299"/>
                    <a:gd name="connsiteY169" fmla="*/ 111350 h 180777"/>
                    <a:gd name="connsiteX170" fmla="*/ 64733 w 114299"/>
                    <a:gd name="connsiteY170" fmla="*/ 109206 h 180777"/>
                    <a:gd name="connsiteX171" fmla="*/ 65287 w 114299"/>
                    <a:gd name="connsiteY171" fmla="*/ 103624 h 180777"/>
                    <a:gd name="connsiteX172" fmla="*/ 64293 w 114299"/>
                    <a:gd name="connsiteY172" fmla="*/ 98334 h 180777"/>
                    <a:gd name="connsiteX173" fmla="*/ 64302 w 114299"/>
                    <a:gd name="connsiteY173" fmla="*/ 95547 h 180777"/>
                    <a:gd name="connsiteX174" fmla="*/ 64000 w 114299"/>
                    <a:gd name="connsiteY174" fmla="*/ 93681 h 180777"/>
                    <a:gd name="connsiteX175" fmla="*/ 63242 w 114299"/>
                    <a:gd name="connsiteY175" fmla="*/ 94097 h 180777"/>
                    <a:gd name="connsiteX176" fmla="*/ 62949 w 114299"/>
                    <a:gd name="connsiteY176" fmla="*/ 95376 h 180777"/>
                    <a:gd name="connsiteX177" fmla="*/ 63112 w 114299"/>
                    <a:gd name="connsiteY177" fmla="*/ 97340 h 180777"/>
                    <a:gd name="connsiteX178" fmla="*/ 62810 w 114299"/>
                    <a:gd name="connsiteY178" fmla="*/ 98987 h 180777"/>
                    <a:gd name="connsiteX179" fmla="*/ 59142 w 114299"/>
                    <a:gd name="connsiteY179" fmla="*/ 98669 h 180777"/>
                    <a:gd name="connsiteX180" fmla="*/ 55695 w 114299"/>
                    <a:gd name="connsiteY180" fmla="*/ 97919 h 180777"/>
                    <a:gd name="connsiteX181" fmla="*/ 58727 w 114299"/>
                    <a:gd name="connsiteY181" fmla="*/ 100698 h 180777"/>
                    <a:gd name="connsiteX182" fmla="*/ 61979 w 114299"/>
                    <a:gd name="connsiteY182" fmla="*/ 101350 h 180777"/>
                    <a:gd name="connsiteX183" fmla="*/ 63682 w 114299"/>
                    <a:gd name="connsiteY183" fmla="*/ 103844 h 180777"/>
                    <a:gd name="connsiteX184" fmla="*/ 63878 w 114299"/>
                    <a:gd name="connsiteY184" fmla="*/ 105783 h 180777"/>
                    <a:gd name="connsiteX185" fmla="*/ 63772 w 114299"/>
                    <a:gd name="connsiteY185" fmla="*/ 107976 h 180777"/>
                    <a:gd name="connsiteX186" fmla="*/ 62101 w 114299"/>
                    <a:gd name="connsiteY186" fmla="*/ 109508 h 180777"/>
                    <a:gd name="connsiteX187" fmla="*/ 60569 w 114299"/>
                    <a:gd name="connsiteY187" fmla="*/ 110470 h 180777"/>
                    <a:gd name="connsiteX188" fmla="*/ 60862 w 114299"/>
                    <a:gd name="connsiteY188" fmla="*/ 112564 h 180777"/>
                    <a:gd name="connsiteX189" fmla="*/ 62712 w 114299"/>
                    <a:gd name="connsiteY189" fmla="*/ 115115 h 180777"/>
                    <a:gd name="connsiteX190" fmla="*/ 60479 w 114299"/>
                    <a:gd name="connsiteY190" fmla="*/ 115832 h 180777"/>
                    <a:gd name="connsiteX191" fmla="*/ 59860 w 114299"/>
                    <a:gd name="connsiteY191" fmla="*/ 117503 h 180777"/>
                    <a:gd name="connsiteX192" fmla="*/ 59819 w 114299"/>
                    <a:gd name="connsiteY192" fmla="*/ 119874 h 180777"/>
                    <a:gd name="connsiteX193" fmla="*/ 60943 w 114299"/>
                    <a:gd name="connsiteY193" fmla="*/ 121969 h 180777"/>
                    <a:gd name="connsiteX194" fmla="*/ 61384 w 114299"/>
                    <a:gd name="connsiteY194" fmla="*/ 123517 h 180777"/>
                    <a:gd name="connsiteX195" fmla="*/ 61123 w 114299"/>
                    <a:gd name="connsiteY195" fmla="*/ 124952 h 180777"/>
                    <a:gd name="connsiteX196" fmla="*/ 62215 w 114299"/>
                    <a:gd name="connsiteY196" fmla="*/ 126484 h 180777"/>
                    <a:gd name="connsiteX197" fmla="*/ 63804 w 114299"/>
                    <a:gd name="connsiteY197" fmla="*/ 129703 h 180777"/>
                    <a:gd name="connsiteX198" fmla="*/ 64309 w 114299"/>
                    <a:gd name="connsiteY198" fmla="*/ 132001 h 180777"/>
                    <a:gd name="connsiteX199" fmla="*/ 63649 w 114299"/>
                    <a:gd name="connsiteY199" fmla="*/ 135220 h 180777"/>
                    <a:gd name="connsiteX200" fmla="*/ 62737 w 114299"/>
                    <a:gd name="connsiteY200" fmla="*/ 136475 h 180777"/>
                    <a:gd name="connsiteX201" fmla="*/ 61286 w 114299"/>
                    <a:gd name="connsiteY201" fmla="*/ 137698 h 180777"/>
                    <a:gd name="connsiteX202" fmla="*/ 57846 w 114299"/>
                    <a:gd name="connsiteY202" fmla="*/ 141765 h 180777"/>
                    <a:gd name="connsiteX203" fmla="*/ 56176 w 114299"/>
                    <a:gd name="connsiteY203" fmla="*/ 146386 h 180777"/>
                    <a:gd name="connsiteX204" fmla="*/ 54742 w 114299"/>
                    <a:gd name="connsiteY204" fmla="*/ 148545 h 180777"/>
                    <a:gd name="connsiteX205" fmla="*/ 52957 w 114299"/>
                    <a:gd name="connsiteY205" fmla="*/ 148945 h 180777"/>
                    <a:gd name="connsiteX206" fmla="*/ 52264 w 114299"/>
                    <a:gd name="connsiteY206" fmla="*/ 147991 h 180777"/>
                    <a:gd name="connsiteX207" fmla="*/ 50781 w 114299"/>
                    <a:gd name="connsiteY207" fmla="*/ 146760 h 180777"/>
                    <a:gd name="connsiteX208" fmla="*/ 50756 w 114299"/>
                    <a:gd name="connsiteY208" fmla="*/ 144503 h 180777"/>
                    <a:gd name="connsiteX209" fmla="*/ 51196 w 114299"/>
                    <a:gd name="connsiteY209" fmla="*/ 142710 h 180777"/>
                    <a:gd name="connsiteX210" fmla="*/ 54220 w 114299"/>
                    <a:gd name="connsiteY210" fmla="*/ 138391 h 180777"/>
                    <a:gd name="connsiteX211" fmla="*/ 52582 w 114299"/>
                    <a:gd name="connsiteY211" fmla="*/ 138969 h 180777"/>
                    <a:gd name="connsiteX212" fmla="*/ 50715 w 114299"/>
                    <a:gd name="connsiteY212" fmla="*/ 140200 h 180777"/>
                    <a:gd name="connsiteX213" fmla="*/ 47880 w 114299"/>
                    <a:gd name="connsiteY213" fmla="*/ 142539 h 180777"/>
                    <a:gd name="connsiteX214" fmla="*/ 46983 w 114299"/>
                    <a:gd name="connsiteY214" fmla="*/ 139645 h 180777"/>
                    <a:gd name="connsiteX215" fmla="*/ 46388 w 114299"/>
                    <a:gd name="connsiteY215" fmla="*/ 136956 h 180777"/>
                    <a:gd name="connsiteX216" fmla="*/ 46388 w 114299"/>
                    <a:gd name="connsiteY216" fmla="*/ 133664 h 180777"/>
                    <a:gd name="connsiteX217" fmla="*/ 48646 w 114299"/>
                    <a:gd name="connsiteY217" fmla="*/ 128741 h 180777"/>
                    <a:gd name="connsiteX218" fmla="*/ 46086 w 114299"/>
                    <a:gd name="connsiteY218" fmla="*/ 131194 h 180777"/>
                    <a:gd name="connsiteX219" fmla="*/ 45378 w 114299"/>
                    <a:gd name="connsiteY219" fmla="*/ 134259 h 180777"/>
                    <a:gd name="connsiteX220" fmla="*/ 45688 w 114299"/>
                    <a:gd name="connsiteY220" fmla="*/ 137861 h 180777"/>
                    <a:gd name="connsiteX221" fmla="*/ 45361 w 114299"/>
                    <a:gd name="connsiteY221" fmla="*/ 140412 h 180777"/>
                    <a:gd name="connsiteX222" fmla="*/ 44351 w 114299"/>
                    <a:gd name="connsiteY222" fmla="*/ 143753 h 180777"/>
                    <a:gd name="connsiteX223" fmla="*/ 42990 w 114299"/>
                    <a:gd name="connsiteY223" fmla="*/ 145758 h 180777"/>
                    <a:gd name="connsiteX224" fmla="*/ 40781 w 114299"/>
                    <a:gd name="connsiteY224" fmla="*/ 147046 h 180777"/>
                    <a:gd name="connsiteX225" fmla="*/ 39803 w 114299"/>
                    <a:gd name="connsiteY225" fmla="*/ 149010 h 180777"/>
                    <a:gd name="connsiteX226" fmla="*/ 38320 w 114299"/>
                    <a:gd name="connsiteY226" fmla="*/ 150460 h 180777"/>
                    <a:gd name="connsiteX227" fmla="*/ 38271 w 114299"/>
                    <a:gd name="connsiteY227" fmla="*/ 147567 h 180777"/>
                    <a:gd name="connsiteX228" fmla="*/ 37790 w 114299"/>
                    <a:gd name="connsiteY228" fmla="*/ 143737 h 180777"/>
                    <a:gd name="connsiteX229" fmla="*/ 36209 w 114299"/>
                    <a:gd name="connsiteY229" fmla="*/ 134674 h 180777"/>
                    <a:gd name="connsiteX230" fmla="*/ 35859 w 114299"/>
                    <a:gd name="connsiteY230" fmla="*/ 136622 h 180777"/>
                    <a:gd name="connsiteX231" fmla="*/ 36682 w 114299"/>
                    <a:gd name="connsiteY231" fmla="*/ 142245 h 180777"/>
                    <a:gd name="connsiteX232" fmla="*/ 36641 w 114299"/>
                    <a:gd name="connsiteY232" fmla="*/ 145897 h 180777"/>
                    <a:gd name="connsiteX233" fmla="*/ 35427 w 114299"/>
                    <a:gd name="connsiteY233" fmla="*/ 148798 h 180777"/>
                    <a:gd name="connsiteX234" fmla="*/ 32998 w 114299"/>
                    <a:gd name="connsiteY234" fmla="*/ 151903 h 180777"/>
                    <a:gd name="connsiteX235" fmla="*/ 31132 w 114299"/>
                    <a:gd name="connsiteY235" fmla="*/ 152343 h 180777"/>
                    <a:gd name="connsiteX236" fmla="*/ 30040 w 114299"/>
                    <a:gd name="connsiteY236" fmla="*/ 151862 h 180777"/>
                    <a:gd name="connsiteX237" fmla="*/ 28361 w 114299"/>
                    <a:gd name="connsiteY237" fmla="*/ 149939 h 180777"/>
                    <a:gd name="connsiteX238" fmla="*/ 26552 w 114299"/>
                    <a:gd name="connsiteY238" fmla="*/ 147192 h 180777"/>
                    <a:gd name="connsiteX239" fmla="*/ 26242 w 114299"/>
                    <a:gd name="connsiteY239" fmla="*/ 142775 h 180777"/>
                    <a:gd name="connsiteX240" fmla="*/ 25492 w 114299"/>
                    <a:gd name="connsiteY240" fmla="*/ 140347 h 180777"/>
                    <a:gd name="connsiteX241" fmla="*/ 25606 w 114299"/>
                    <a:gd name="connsiteY241" fmla="*/ 137453 h 180777"/>
                    <a:gd name="connsiteX242" fmla="*/ 25459 w 114299"/>
                    <a:gd name="connsiteY242" fmla="*/ 134707 h 180777"/>
                    <a:gd name="connsiteX243" fmla="*/ 23512 w 114299"/>
                    <a:gd name="connsiteY243" fmla="*/ 127356 h 180777"/>
                    <a:gd name="connsiteX244" fmla="*/ 22257 w 114299"/>
                    <a:gd name="connsiteY244" fmla="*/ 123583 h 180777"/>
                    <a:gd name="connsiteX245" fmla="*/ 22412 w 114299"/>
                    <a:gd name="connsiteY245" fmla="*/ 122368 h 180777"/>
                    <a:gd name="connsiteX246" fmla="*/ 22330 w 114299"/>
                    <a:gd name="connsiteY246" fmla="*/ 121863 h 180777"/>
                    <a:gd name="connsiteX247" fmla="*/ 21743 w 114299"/>
                    <a:gd name="connsiteY247" fmla="*/ 117006 h 180777"/>
                    <a:gd name="connsiteX248" fmla="*/ 20920 w 114299"/>
                    <a:gd name="connsiteY248" fmla="*/ 114039 h 180777"/>
                    <a:gd name="connsiteX249" fmla="*/ 20521 w 114299"/>
                    <a:gd name="connsiteY249" fmla="*/ 110869 h 180777"/>
                    <a:gd name="connsiteX250" fmla="*/ 22436 w 114299"/>
                    <a:gd name="connsiteY250" fmla="*/ 106313 h 180777"/>
                    <a:gd name="connsiteX251" fmla="*/ 21670 w 114299"/>
                    <a:gd name="connsiteY251" fmla="*/ 105571 h 180777"/>
                    <a:gd name="connsiteX252" fmla="*/ 19445 w 114299"/>
                    <a:gd name="connsiteY252" fmla="*/ 104969 h 180777"/>
                    <a:gd name="connsiteX253" fmla="*/ 17383 w 114299"/>
                    <a:gd name="connsiteY253" fmla="*/ 104178 h 180777"/>
                    <a:gd name="connsiteX254" fmla="*/ 16878 w 114299"/>
                    <a:gd name="connsiteY254" fmla="*/ 102996 h 180777"/>
                    <a:gd name="connsiteX255" fmla="*/ 17791 w 114299"/>
                    <a:gd name="connsiteY255" fmla="*/ 98506 h 180777"/>
                    <a:gd name="connsiteX256" fmla="*/ 16715 w 114299"/>
                    <a:gd name="connsiteY256" fmla="*/ 96745 h 180777"/>
                    <a:gd name="connsiteX257" fmla="*/ 15183 w 114299"/>
                    <a:gd name="connsiteY257" fmla="*/ 94961 h 180777"/>
                    <a:gd name="connsiteX258" fmla="*/ 14702 w 114299"/>
                    <a:gd name="connsiteY258" fmla="*/ 94252 h 180777"/>
                    <a:gd name="connsiteX259" fmla="*/ 14197 w 114299"/>
                    <a:gd name="connsiteY259" fmla="*/ 93331 h 180777"/>
                    <a:gd name="connsiteX260" fmla="*/ 13488 w 114299"/>
                    <a:gd name="connsiteY260" fmla="*/ 91073 h 180777"/>
                    <a:gd name="connsiteX261" fmla="*/ 14857 w 114299"/>
                    <a:gd name="connsiteY261" fmla="*/ 86330 h 180777"/>
                    <a:gd name="connsiteX262" fmla="*/ 16772 w 114299"/>
                    <a:gd name="connsiteY262" fmla="*/ 80813 h 180777"/>
                    <a:gd name="connsiteX263" fmla="*/ 17114 w 114299"/>
                    <a:gd name="connsiteY263" fmla="*/ 78710 h 180777"/>
                    <a:gd name="connsiteX264" fmla="*/ 17432 w 114299"/>
                    <a:gd name="connsiteY264" fmla="*/ 75067 h 180777"/>
                    <a:gd name="connsiteX265" fmla="*/ 17603 w 114299"/>
                    <a:gd name="connsiteY265" fmla="*/ 73665 h 180777"/>
                    <a:gd name="connsiteX266" fmla="*/ 17359 w 114299"/>
                    <a:gd name="connsiteY266" fmla="*/ 72288 h 180777"/>
                    <a:gd name="connsiteX267" fmla="*/ 15346 w 114299"/>
                    <a:gd name="connsiteY267" fmla="*/ 70683 h 180777"/>
                    <a:gd name="connsiteX268" fmla="*/ 11776 w 114299"/>
                    <a:gd name="connsiteY268" fmla="*/ 70039 h 180777"/>
                    <a:gd name="connsiteX269" fmla="*/ 9258 w 114299"/>
                    <a:gd name="connsiteY269" fmla="*/ 68702 h 180777"/>
                    <a:gd name="connsiteX270" fmla="*/ 7775 w 114299"/>
                    <a:gd name="connsiteY270" fmla="*/ 66673 h 180777"/>
                    <a:gd name="connsiteX271" fmla="*/ 6528 w 114299"/>
                    <a:gd name="connsiteY271" fmla="*/ 65866 h 180777"/>
                    <a:gd name="connsiteX272" fmla="*/ 4988 w 114299"/>
                    <a:gd name="connsiteY272" fmla="*/ 66461 h 180777"/>
                    <a:gd name="connsiteX273" fmla="*/ 3023 w 114299"/>
                    <a:gd name="connsiteY273" fmla="*/ 65670 h 180777"/>
                    <a:gd name="connsiteX274" fmla="*/ 1377 w 114299"/>
                    <a:gd name="connsiteY274" fmla="*/ 63658 h 180777"/>
                    <a:gd name="connsiteX275" fmla="*/ 0 w 114299"/>
                    <a:gd name="connsiteY275" fmla="*/ 61213 h 180777"/>
                    <a:gd name="connsiteX276" fmla="*/ 171 w 114299"/>
                    <a:gd name="connsiteY276" fmla="*/ 60063 h 180777"/>
                    <a:gd name="connsiteX277" fmla="*/ 530 w 114299"/>
                    <a:gd name="connsiteY277" fmla="*/ 58539 h 180777"/>
                    <a:gd name="connsiteX278" fmla="*/ 3129 w 114299"/>
                    <a:gd name="connsiteY278" fmla="*/ 52215 h 180777"/>
                    <a:gd name="connsiteX279" fmla="*/ 4099 w 114299"/>
                    <a:gd name="connsiteY279" fmla="*/ 52028 h 180777"/>
                    <a:gd name="connsiteX280" fmla="*/ 6341 w 114299"/>
                    <a:gd name="connsiteY280" fmla="*/ 53242 h 180777"/>
                    <a:gd name="connsiteX281" fmla="*/ 7180 w 114299"/>
                    <a:gd name="connsiteY281" fmla="*/ 53242 h 180777"/>
                    <a:gd name="connsiteX282" fmla="*/ 8663 w 114299"/>
                    <a:gd name="connsiteY282" fmla="*/ 50740 h 180777"/>
                    <a:gd name="connsiteX283" fmla="*/ 10733 w 114299"/>
                    <a:gd name="connsiteY283" fmla="*/ 43609 h 180777"/>
                    <a:gd name="connsiteX284" fmla="*/ 13643 w 114299"/>
                    <a:gd name="connsiteY284" fmla="*/ 43625 h 180777"/>
                    <a:gd name="connsiteX285" fmla="*/ 16210 w 114299"/>
                    <a:gd name="connsiteY285" fmla="*/ 43862 h 180777"/>
                    <a:gd name="connsiteX286" fmla="*/ 17945 w 114299"/>
                    <a:gd name="connsiteY286" fmla="*/ 44220 h 180777"/>
                    <a:gd name="connsiteX287" fmla="*/ 19681 w 114299"/>
                    <a:gd name="connsiteY287" fmla="*/ 43992 h 180777"/>
                    <a:gd name="connsiteX288" fmla="*/ 21491 w 114299"/>
                    <a:gd name="connsiteY288" fmla="*/ 43422 h 180777"/>
                    <a:gd name="connsiteX289" fmla="*/ 22477 w 114299"/>
                    <a:gd name="connsiteY289" fmla="*/ 42525 h 180777"/>
                    <a:gd name="connsiteX290" fmla="*/ 23015 w 114299"/>
                    <a:gd name="connsiteY290" fmla="*/ 41384 h 180777"/>
                    <a:gd name="connsiteX291" fmla="*/ 22819 w 114299"/>
                    <a:gd name="connsiteY291" fmla="*/ 40382 h 180777"/>
                    <a:gd name="connsiteX292" fmla="*/ 20611 w 114299"/>
                    <a:gd name="connsiteY292" fmla="*/ 39037 h 180777"/>
                    <a:gd name="connsiteX293" fmla="*/ 19755 w 114299"/>
                    <a:gd name="connsiteY293" fmla="*/ 38035 h 180777"/>
                    <a:gd name="connsiteX294" fmla="*/ 19144 w 114299"/>
                    <a:gd name="connsiteY294" fmla="*/ 35174 h 180777"/>
                    <a:gd name="connsiteX295" fmla="*/ 18492 w 114299"/>
                    <a:gd name="connsiteY295" fmla="*/ 34090 h 180777"/>
                    <a:gd name="connsiteX296" fmla="*/ 14132 w 114299"/>
                    <a:gd name="connsiteY296" fmla="*/ 33944 h 180777"/>
                    <a:gd name="connsiteX297" fmla="*/ 11882 w 114299"/>
                    <a:gd name="connsiteY297" fmla="*/ 32632 h 180777"/>
                    <a:gd name="connsiteX298" fmla="*/ 10635 w 114299"/>
                    <a:gd name="connsiteY298" fmla="*/ 31450 h 180777"/>
                    <a:gd name="connsiteX299" fmla="*/ 8427 w 114299"/>
                    <a:gd name="connsiteY299" fmla="*/ 27554 h 180777"/>
                    <a:gd name="connsiteX300" fmla="*/ 5688 w 114299"/>
                    <a:gd name="connsiteY300" fmla="*/ 24669 h 180777"/>
                    <a:gd name="connsiteX301" fmla="*/ 3073 w 114299"/>
                    <a:gd name="connsiteY301" fmla="*/ 23993 h 180777"/>
                    <a:gd name="connsiteX302" fmla="*/ 2062 w 114299"/>
                    <a:gd name="connsiteY302" fmla="*/ 23055 h 180777"/>
                    <a:gd name="connsiteX303" fmla="*/ 1516 w 114299"/>
                    <a:gd name="connsiteY303" fmla="*/ 21564 h 180777"/>
                    <a:gd name="connsiteX304" fmla="*/ 1833 w 114299"/>
                    <a:gd name="connsiteY304" fmla="*/ 19421 h 180777"/>
                    <a:gd name="connsiteX305" fmla="*/ 2624 w 114299"/>
                    <a:gd name="connsiteY305" fmla="*/ 17473 h 180777"/>
                    <a:gd name="connsiteX306" fmla="*/ 3154 w 114299"/>
                    <a:gd name="connsiteY306" fmla="*/ 15289 h 180777"/>
                    <a:gd name="connsiteX307" fmla="*/ 5256 w 114299"/>
                    <a:gd name="connsiteY307" fmla="*/ 12420 h 180777"/>
                    <a:gd name="connsiteX308" fmla="*/ 7710 w 114299"/>
                    <a:gd name="connsiteY308" fmla="*/ 9910 h 180777"/>
                    <a:gd name="connsiteX309" fmla="*/ 8793 w 114299"/>
                    <a:gd name="connsiteY309" fmla="*/ 8191 h 180777"/>
                    <a:gd name="connsiteX310" fmla="*/ 10342 w 114299"/>
                    <a:gd name="connsiteY310" fmla="*/ 6373 h 180777"/>
                    <a:gd name="connsiteX311" fmla="*/ 10521 w 114299"/>
                    <a:gd name="connsiteY311" fmla="*/ 5379 h 180777"/>
                    <a:gd name="connsiteX312" fmla="*/ 10260 w 114299"/>
                    <a:gd name="connsiteY312" fmla="*/ 4238 h 180777"/>
                    <a:gd name="connsiteX313" fmla="*/ 8997 w 114299"/>
                    <a:gd name="connsiteY313" fmla="*/ 3154 h 180777"/>
                    <a:gd name="connsiteX314" fmla="*/ 8141 w 114299"/>
                    <a:gd name="connsiteY314" fmla="*/ 2803 h 180777"/>
                    <a:gd name="connsiteX315" fmla="*/ 7995 w 114299"/>
                    <a:gd name="connsiteY315" fmla="*/ 2111 h 180777"/>
                    <a:gd name="connsiteX316" fmla="*/ 8598 w 114299"/>
                    <a:gd name="connsiteY316" fmla="*/ 228 h 180777"/>
                    <a:gd name="connsiteX317" fmla="*/ 9788 w 114299"/>
                    <a:gd name="connsiteY317" fmla="*/ 0 h 180777"/>
                    <a:gd name="connsiteX318" fmla="*/ 12265 w 114299"/>
                    <a:gd name="connsiteY318" fmla="*/ 1695 h 180777"/>
                    <a:gd name="connsiteX319" fmla="*/ 14800 w 114299"/>
                    <a:gd name="connsiteY319" fmla="*/ 4450 h 180777"/>
                    <a:gd name="connsiteX320" fmla="*/ 16307 w 114299"/>
                    <a:gd name="connsiteY320" fmla="*/ 6903 h 180777"/>
                    <a:gd name="connsiteX321" fmla="*/ 16365 w 114299"/>
                    <a:gd name="connsiteY321" fmla="*/ 8834 h 180777"/>
                    <a:gd name="connsiteX322" fmla="*/ 17335 w 114299"/>
                    <a:gd name="connsiteY322" fmla="*/ 9152 h 180777"/>
                    <a:gd name="connsiteX323" fmla="*/ 18328 w 114299"/>
                    <a:gd name="connsiteY323" fmla="*/ 9266 h 180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114299" h="180777">
                      <a:moveTo>
                        <a:pt x="18328" y="9266"/>
                      </a:moveTo>
                      <a:lnTo>
                        <a:pt x="19958" y="10130"/>
                      </a:lnTo>
                      <a:lnTo>
                        <a:pt x="21662" y="9869"/>
                      </a:lnTo>
                      <a:lnTo>
                        <a:pt x="22762" y="10342"/>
                      </a:lnTo>
                      <a:lnTo>
                        <a:pt x="23496" y="10171"/>
                      </a:lnTo>
                      <a:lnTo>
                        <a:pt x="23773" y="9054"/>
                      </a:lnTo>
                      <a:lnTo>
                        <a:pt x="22942" y="7408"/>
                      </a:lnTo>
                      <a:lnTo>
                        <a:pt x="22338" y="6243"/>
                      </a:lnTo>
                      <a:lnTo>
                        <a:pt x="23031" y="5069"/>
                      </a:lnTo>
                      <a:lnTo>
                        <a:pt x="23821" y="4833"/>
                      </a:lnTo>
                      <a:lnTo>
                        <a:pt x="24685" y="5126"/>
                      </a:lnTo>
                      <a:lnTo>
                        <a:pt x="25875" y="6177"/>
                      </a:lnTo>
                      <a:lnTo>
                        <a:pt x="26747" y="8345"/>
                      </a:lnTo>
                      <a:lnTo>
                        <a:pt x="26902" y="11695"/>
                      </a:lnTo>
                      <a:lnTo>
                        <a:pt x="28842" y="14735"/>
                      </a:lnTo>
                      <a:lnTo>
                        <a:pt x="31393" y="16894"/>
                      </a:lnTo>
                      <a:lnTo>
                        <a:pt x="33389" y="17889"/>
                      </a:lnTo>
                      <a:lnTo>
                        <a:pt x="35793" y="18598"/>
                      </a:lnTo>
                      <a:lnTo>
                        <a:pt x="37855" y="17921"/>
                      </a:lnTo>
                      <a:lnTo>
                        <a:pt x="38882" y="15802"/>
                      </a:lnTo>
                      <a:lnTo>
                        <a:pt x="38418" y="13912"/>
                      </a:lnTo>
                      <a:lnTo>
                        <a:pt x="38744" y="12216"/>
                      </a:lnTo>
                      <a:lnTo>
                        <a:pt x="39567" y="11287"/>
                      </a:lnTo>
                      <a:lnTo>
                        <a:pt x="40855" y="11336"/>
                      </a:lnTo>
                      <a:lnTo>
                        <a:pt x="41816" y="12681"/>
                      </a:lnTo>
                      <a:lnTo>
                        <a:pt x="44628" y="19934"/>
                      </a:lnTo>
                      <a:lnTo>
                        <a:pt x="44049" y="23145"/>
                      </a:lnTo>
                      <a:lnTo>
                        <a:pt x="44677" y="31947"/>
                      </a:lnTo>
                      <a:lnTo>
                        <a:pt x="43967" y="37741"/>
                      </a:lnTo>
                      <a:lnTo>
                        <a:pt x="44082" y="38988"/>
                      </a:lnTo>
                      <a:lnTo>
                        <a:pt x="44408" y="39958"/>
                      </a:lnTo>
                      <a:lnTo>
                        <a:pt x="44889" y="40357"/>
                      </a:lnTo>
                      <a:lnTo>
                        <a:pt x="45712" y="40349"/>
                      </a:lnTo>
                      <a:lnTo>
                        <a:pt x="49127" y="41441"/>
                      </a:lnTo>
                      <a:lnTo>
                        <a:pt x="51995" y="42639"/>
                      </a:lnTo>
                      <a:lnTo>
                        <a:pt x="55239" y="43748"/>
                      </a:lnTo>
                      <a:lnTo>
                        <a:pt x="59917" y="44603"/>
                      </a:lnTo>
                      <a:lnTo>
                        <a:pt x="62802" y="44318"/>
                      </a:lnTo>
                      <a:lnTo>
                        <a:pt x="64236" y="44286"/>
                      </a:lnTo>
                      <a:lnTo>
                        <a:pt x="67137" y="44546"/>
                      </a:lnTo>
                      <a:lnTo>
                        <a:pt x="74774" y="44082"/>
                      </a:lnTo>
                      <a:lnTo>
                        <a:pt x="81106" y="43960"/>
                      </a:lnTo>
                      <a:lnTo>
                        <a:pt x="83673" y="44791"/>
                      </a:lnTo>
                      <a:lnTo>
                        <a:pt x="85727" y="45092"/>
                      </a:lnTo>
                      <a:lnTo>
                        <a:pt x="92768" y="44514"/>
                      </a:lnTo>
                      <a:lnTo>
                        <a:pt x="99859" y="44237"/>
                      </a:lnTo>
                      <a:lnTo>
                        <a:pt x="103705" y="46079"/>
                      </a:lnTo>
                      <a:lnTo>
                        <a:pt x="107894" y="49086"/>
                      </a:lnTo>
                      <a:lnTo>
                        <a:pt x="110250" y="51319"/>
                      </a:lnTo>
                      <a:lnTo>
                        <a:pt x="110674" y="52606"/>
                      </a:lnTo>
                      <a:lnTo>
                        <a:pt x="110421" y="53690"/>
                      </a:lnTo>
                      <a:lnTo>
                        <a:pt x="109630" y="54302"/>
                      </a:lnTo>
                      <a:lnTo>
                        <a:pt x="108179" y="54318"/>
                      </a:lnTo>
                      <a:lnTo>
                        <a:pt x="104871" y="52859"/>
                      </a:lnTo>
                      <a:lnTo>
                        <a:pt x="104300" y="53291"/>
                      </a:lnTo>
                      <a:lnTo>
                        <a:pt x="104357" y="56282"/>
                      </a:lnTo>
                      <a:lnTo>
                        <a:pt x="104259" y="56763"/>
                      </a:lnTo>
                      <a:lnTo>
                        <a:pt x="103550" y="59444"/>
                      </a:lnTo>
                      <a:lnTo>
                        <a:pt x="101554" y="65459"/>
                      </a:lnTo>
                      <a:lnTo>
                        <a:pt x="101162" y="68148"/>
                      </a:lnTo>
                      <a:lnTo>
                        <a:pt x="100731" y="68833"/>
                      </a:lnTo>
                      <a:lnTo>
                        <a:pt x="100225" y="69208"/>
                      </a:lnTo>
                      <a:lnTo>
                        <a:pt x="98652" y="69314"/>
                      </a:lnTo>
                      <a:lnTo>
                        <a:pt x="97430" y="69753"/>
                      </a:lnTo>
                      <a:lnTo>
                        <a:pt x="96925" y="70740"/>
                      </a:lnTo>
                      <a:lnTo>
                        <a:pt x="96118" y="72769"/>
                      </a:lnTo>
                      <a:lnTo>
                        <a:pt x="95580" y="74814"/>
                      </a:lnTo>
                      <a:lnTo>
                        <a:pt x="94806" y="75450"/>
                      </a:lnTo>
                      <a:lnTo>
                        <a:pt x="92980" y="74334"/>
                      </a:lnTo>
                      <a:lnTo>
                        <a:pt x="91839" y="74505"/>
                      </a:lnTo>
                      <a:lnTo>
                        <a:pt x="90405" y="74969"/>
                      </a:lnTo>
                      <a:lnTo>
                        <a:pt x="88971" y="76143"/>
                      </a:lnTo>
                      <a:lnTo>
                        <a:pt x="87984" y="77585"/>
                      </a:lnTo>
                      <a:lnTo>
                        <a:pt x="86860" y="78083"/>
                      </a:lnTo>
                      <a:lnTo>
                        <a:pt x="83551" y="77789"/>
                      </a:lnTo>
                      <a:lnTo>
                        <a:pt x="82923" y="78001"/>
                      </a:lnTo>
                      <a:lnTo>
                        <a:pt x="82500" y="79028"/>
                      </a:lnTo>
                      <a:lnTo>
                        <a:pt x="82165" y="80332"/>
                      </a:lnTo>
                      <a:lnTo>
                        <a:pt x="79574" y="83412"/>
                      </a:lnTo>
                      <a:lnTo>
                        <a:pt x="78588" y="88335"/>
                      </a:lnTo>
                      <a:lnTo>
                        <a:pt x="77797" y="91530"/>
                      </a:lnTo>
                      <a:lnTo>
                        <a:pt x="77928" y="94015"/>
                      </a:lnTo>
                      <a:lnTo>
                        <a:pt x="80112" y="100494"/>
                      </a:lnTo>
                      <a:lnTo>
                        <a:pt x="81644" y="108897"/>
                      </a:lnTo>
                      <a:lnTo>
                        <a:pt x="82223" y="109752"/>
                      </a:lnTo>
                      <a:lnTo>
                        <a:pt x="82736" y="110030"/>
                      </a:lnTo>
                      <a:lnTo>
                        <a:pt x="82964" y="109834"/>
                      </a:lnTo>
                      <a:lnTo>
                        <a:pt x="82915" y="108082"/>
                      </a:lnTo>
                      <a:lnTo>
                        <a:pt x="83021" y="105979"/>
                      </a:lnTo>
                      <a:lnTo>
                        <a:pt x="83722" y="105482"/>
                      </a:lnTo>
                      <a:lnTo>
                        <a:pt x="84643" y="105922"/>
                      </a:lnTo>
                      <a:lnTo>
                        <a:pt x="85499" y="107756"/>
                      </a:lnTo>
                      <a:lnTo>
                        <a:pt x="86485" y="111113"/>
                      </a:lnTo>
                      <a:lnTo>
                        <a:pt x="87536" y="112425"/>
                      </a:lnTo>
                      <a:lnTo>
                        <a:pt x="89182" y="112792"/>
                      </a:lnTo>
                      <a:lnTo>
                        <a:pt x="91049" y="112002"/>
                      </a:lnTo>
                      <a:lnTo>
                        <a:pt x="92434" y="110486"/>
                      </a:lnTo>
                      <a:lnTo>
                        <a:pt x="93005" y="108848"/>
                      </a:lnTo>
                      <a:lnTo>
                        <a:pt x="92605" y="105612"/>
                      </a:lnTo>
                      <a:lnTo>
                        <a:pt x="92508" y="103192"/>
                      </a:lnTo>
                      <a:lnTo>
                        <a:pt x="93396" y="100894"/>
                      </a:lnTo>
                      <a:lnTo>
                        <a:pt x="96599" y="97455"/>
                      </a:lnTo>
                      <a:lnTo>
                        <a:pt x="97080" y="96411"/>
                      </a:lnTo>
                      <a:lnTo>
                        <a:pt x="96868" y="93494"/>
                      </a:lnTo>
                      <a:lnTo>
                        <a:pt x="96868" y="90755"/>
                      </a:lnTo>
                      <a:lnTo>
                        <a:pt x="98074" y="90568"/>
                      </a:lnTo>
                      <a:lnTo>
                        <a:pt x="99704" y="91016"/>
                      </a:lnTo>
                      <a:lnTo>
                        <a:pt x="101749" y="89663"/>
                      </a:lnTo>
                      <a:lnTo>
                        <a:pt x="102385" y="89639"/>
                      </a:lnTo>
                      <a:lnTo>
                        <a:pt x="103249" y="91081"/>
                      </a:lnTo>
                      <a:lnTo>
                        <a:pt x="104707" y="90829"/>
                      </a:lnTo>
                      <a:lnTo>
                        <a:pt x="105792" y="96794"/>
                      </a:lnTo>
                      <a:lnTo>
                        <a:pt x="106892" y="102059"/>
                      </a:lnTo>
                      <a:lnTo>
                        <a:pt x="106908" y="104569"/>
                      </a:lnTo>
                      <a:lnTo>
                        <a:pt x="107088" y="109956"/>
                      </a:lnTo>
                      <a:lnTo>
                        <a:pt x="107592" y="114349"/>
                      </a:lnTo>
                      <a:lnTo>
                        <a:pt x="108375" y="115343"/>
                      </a:lnTo>
                      <a:lnTo>
                        <a:pt x="109304" y="117690"/>
                      </a:lnTo>
                      <a:lnTo>
                        <a:pt x="110152" y="120412"/>
                      </a:lnTo>
                      <a:lnTo>
                        <a:pt x="110820" y="121944"/>
                      </a:lnTo>
                      <a:lnTo>
                        <a:pt x="111268" y="126916"/>
                      </a:lnTo>
                      <a:lnTo>
                        <a:pt x="111814" y="130502"/>
                      </a:lnTo>
                      <a:lnTo>
                        <a:pt x="112548" y="141765"/>
                      </a:lnTo>
                      <a:lnTo>
                        <a:pt x="112890" y="143940"/>
                      </a:lnTo>
                      <a:lnTo>
                        <a:pt x="113078" y="145114"/>
                      </a:lnTo>
                      <a:lnTo>
                        <a:pt x="113118" y="155399"/>
                      </a:lnTo>
                      <a:lnTo>
                        <a:pt x="113338" y="159800"/>
                      </a:lnTo>
                      <a:lnTo>
                        <a:pt x="114129" y="163418"/>
                      </a:lnTo>
                      <a:lnTo>
                        <a:pt x="114300" y="164796"/>
                      </a:lnTo>
                      <a:lnTo>
                        <a:pt x="113501" y="165912"/>
                      </a:lnTo>
                      <a:lnTo>
                        <a:pt x="112727" y="166124"/>
                      </a:lnTo>
                      <a:lnTo>
                        <a:pt x="111994" y="164380"/>
                      </a:lnTo>
                      <a:lnTo>
                        <a:pt x="110323" y="163043"/>
                      </a:lnTo>
                      <a:lnTo>
                        <a:pt x="107862" y="161617"/>
                      </a:lnTo>
                      <a:lnTo>
                        <a:pt x="106826" y="160656"/>
                      </a:lnTo>
                      <a:lnTo>
                        <a:pt x="105564" y="161039"/>
                      </a:lnTo>
                      <a:lnTo>
                        <a:pt x="103787" y="163207"/>
                      </a:lnTo>
                      <a:lnTo>
                        <a:pt x="103069" y="165211"/>
                      </a:lnTo>
                      <a:lnTo>
                        <a:pt x="103379" y="168023"/>
                      </a:lnTo>
                      <a:lnTo>
                        <a:pt x="103941" y="170802"/>
                      </a:lnTo>
                      <a:lnTo>
                        <a:pt x="105172" y="172391"/>
                      </a:lnTo>
                      <a:lnTo>
                        <a:pt x="105278" y="174152"/>
                      </a:lnTo>
                      <a:lnTo>
                        <a:pt x="105718" y="176417"/>
                      </a:lnTo>
                      <a:lnTo>
                        <a:pt x="106354" y="178487"/>
                      </a:lnTo>
                      <a:lnTo>
                        <a:pt x="106655" y="180737"/>
                      </a:lnTo>
                      <a:lnTo>
                        <a:pt x="106248" y="180777"/>
                      </a:lnTo>
                      <a:lnTo>
                        <a:pt x="104765" y="177892"/>
                      </a:lnTo>
                      <a:lnTo>
                        <a:pt x="103445" y="174779"/>
                      </a:lnTo>
                      <a:lnTo>
                        <a:pt x="100005" y="168879"/>
                      </a:lnTo>
                      <a:lnTo>
                        <a:pt x="98889" y="158292"/>
                      </a:lnTo>
                      <a:lnTo>
                        <a:pt x="98807" y="153060"/>
                      </a:lnTo>
                      <a:lnTo>
                        <a:pt x="96452" y="146907"/>
                      </a:lnTo>
                      <a:lnTo>
                        <a:pt x="94895" y="138382"/>
                      </a:lnTo>
                      <a:lnTo>
                        <a:pt x="94268" y="136166"/>
                      </a:lnTo>
                      <a:lnTo>
                        <a:pt x="95099" y="133411"/>
                      </a:lnTo>
                      <a:lnTo>
                        <a:pt x="95238" y="132384"/>
                      </a:lnTo>
                      <a:lnTo>
                        <a:pt x="94781" y="132612"/>
                      </a:lnTo>
                      <a:lnTo>
                        <a:pt x="93592" y="134030"/>
                      </a:lnTo>
                      <a:lnTo>
                        <a:pt x="92027" y="130632"/>
                      </a:lnTo>
                      <a:lnTo>
                        <a:pt x="91008" y="127584"/>
                      </a:lnTo>
                      <a:lnTo>
                        <a:pt x="86965" y="121260"/>
                      </a:lnTo>
                      <a:lnTo>
                        <a:pt x="85784" y="118464"/>
                      </a:lnTo>
                      <a:lnTo>
                        <a:pt x="85727" y="115742"/>
                      </a:lnTo>
                      <a:lnTo>
                        <a:pt x="83975" y="118481"/>
                      </a:lnTo>
                      <a:lnTo>
                        <a:pt x="81595" y="120404"/>
                      </a:lnTo>
                      <a:lnTo>
                        <a:pt x="79183" y="123297"/>
                      </a:lnTo>
                      <a:lnTo>
                        <a:pt x="77577" y="124169"/>
                      </a:lnTo>
                      <a:lnTo>
                        <a:pt x="72467" y="124707"/>
                      </a:lnTo>
                      <a:lnTo>
                        <a:pt x="69525" y="120828"/>
                      </a:lnTo>
                      <a:lnTo>
                        <a:pt x="65295" y="111350"/>
                      </a:lnTo>
                      <a:lnTo>
                        <a:pt x="64733" y="109206"/>
                      </a:lnTo>
                      <a:lnTo>
                        <a:pt x="65287" y="103624"/>
                      </a:lnTo>
                      <a:lnTo>
                        <a:pt x="64293" y="98334"/>
                      </a:lnTo>
                      <a:lnTo>
                        <a:pt x="64302" y="95547"/>
                      </a:lnTo>
                      <a:lnTo>
                        <a:pt x="64000" y="93681"/>
                      </a:lnTo>
                      <a:lnTo>
                        <a:pt x="63242" y="94097"/>
                      </a:lnTo>
                      <a:lnTo>
                        <a:pt x="62949" y="95376"/>
                      </a:lnTo>
                      <a:lnTo>
                        <a:pt x="63112" y="97340"/>
                      </a:lnTo>
                      <a:lnTo>
                        <a:pt x="62810" y="98987"/>
                      </a:lnTo>
                      <a:lnTo>
                        <a:pt x="59142" y="98669"/>
                      </a:lnTo>
                      <a:lnTo>
                        <a:pt x="55695" y="97919"/>
                      </a:lnTo>
                      <a:lnTo>
                        <a:pt x="58727" y="100698"/>
                      </a:lnTo>
                      <a:lnTo>
                        <a:pt x="61979" y="101350"/>
                      </a:lnTo>
                      <a:lnTo>
                        <a:pt x="63682" y="103844"/>
                      </a:lnTo>
                      <a:lnTo>
                        <a:pt x="63878" y="105783"/>
                      </a:lnTo>
                      <a:lnTo>
                        <a:pt x="63772" y="107976"/>
                      </a:lnTo>
                      <a:lnTo>
                        <a:pt x="62101" y="109508"/>
                      </a:lnTo>
                      <a:lnTo>
                        <a:pt x="60569" y="110470"/>
                      </a:lnTo>
                      <a:lnTo>
                        <a:pt x="60862" y="112564"/>
                      </a:lnTo>
                      <a:lnTo>
                        <a:pt x="62712" y="115115"/>
                      </a:lnTo>
                      <a:lnTo>
                        <a:pt x="60479" y="115832"/>
                      </a:lnTo>
                      <a:lnTo>
                        <a:pt x="59860" y="117503"/>
                      </a:lnTo>
                      <a:lnTo>
                        <a:pt x="59819" y="119874"/>
                      </a:lnTo>
                      <a:lnTo>
                        <a:pt x="60943" y="121969"/>
                      </a:lnTo>
                      <a:lnTo>
                        <a:pt x="61384" y="123517"/>
                      </a:lnTo>
                      <a:lnTo>
                        <a:pt x="61123" y="124952"/>
                      </a:lnTo>
                      <a:lnTo>
                        <a:pt x="62215" y="126484"/>
                      </a:lnTo>
                      <a:lnTo>
                        <a:pt x="63804" y="129703"/>
                      </a:lnTo>
                      <a:lnTo>
                        <a:pt x="64309" y="132001"/>
                      </a:lnTo>
                      <a:lnTo>
                        <a:pt x="63649" y="135220"/>
                      </a:lnTo>
                      <a:lnTo>
                        <a:pt x="62737" y="136475"/>
                      </a:lnTo>
                      <a:lnTo>
                        <a:pt x="61286" y="137698"/>
                      </a:lnTo>
                      <a:lnTo>
                        <a:pt x="57846" y="141765"/>
                      </a:lnTo>
                      <a:lnTo>
                        <a:pt x="56176" y="146386"/>
                      </a:lnTo>
                      <a:lnTo>
                        <a:pt x="54742" y="148545"/>
                      </a:lnTo>
                      <a:lnTo>
                        <a:pt x="52957" y="148945"/>
                      </a:lnTo>
                      <a:lnTo>
                        <a:pt x="52264" y="147991"/>
                      </a:lnTo>
                      <a:lnTo>
                        <a:pt x="50781" y="146760"/>
                      </a:lnTo>
                      <a:lnTo>
                        <a:pt x="50756" y="144503"/>
                      </a:lnTo>
                      <a:lnTo>
                        <a:pt x="51196" y="142710"/>
                      </a:lnTo>
                      <a:lnTo>
                        <a:pt x="54220" y="138391"/>
                      </a:lnTo>
                      <a:lnTo>
                        <a:pt x="52582" y="138969"/>
                      </a:lnTo>
                      <a:lnTo>
                        <a:pt x="50715" y="140200"/>
                      </a:lnTo>
                      <a:lnTo>
                        <a:pt x="47880" y="142539"/>
                      </a:lnTo>
                      <a:lnTo>
                        <a:pt x="46983" y="139645"/>
                      </a:lnTo>
                      <a:lnTo>
                        <a:pt x="46388" y="136956"/>
                      </a:lnTo>
                      <a:lnTo>
                        <a:pt x="46388" y="133664"/>
                      </a:lnTo>
                      <a:lnTo>
                        <a:pt x="48646" y="128741"/>
                      </a:lnTo>
                      <a:lnTo>
                        <a:pt x="46086" y="131194"/>
                      </a:lnTo>
                      <a:lnTo>
                        <a:pt x="45378" y="134259"/>
                      </a:lnTo>
                      <a:lnTo>
                        <a:pt x="45688" y="137861"/>
                      </a:lnTo>
                      <a:lnTo>
                        <a:pt x="45361" y="140412"/>
                      </a:lnTo>
                      <a:lnTo>
                        <a:pt x="44351" y="143753"/>
                      </a:lnTo>
                      <a:lnTo>
                        <a:pt x="42990" y="145758"/>
                      </a:lnTo>
                      <a:lnTo>
                        <a:pt x="40781" y="147046"/>
                      </a:lnTo>
                      <a:lnTo>
                        <a:pt x="39803" y="149010"/>
                      </a:lnTo>
                      <a:lnTo>
                        <a:pt x="38320" y="150460"/>
                      </a:lnTo>
                      <a:lnTo>
                        <a:pt x="38271" y="147567"/>
                      </a:lnTo>
                      <a:lnTo>
                        <a:pt x="37790" y="143737"/>
                      </a:lnTo>
                      <a:lnTo>
                        <a:pt x="36209" y="134674"/>
                      </a:lnTo>
                      <a:lnTo>
                        <a:pt x="35859" y="136622"/>
                      </a:lnTo>
                      <a:lnTo>
                        <a:pt x="36682" y="142245"/>
                      </a:lnTo>
                      <a:lnTo>
                        <a:pt x="36641" y="145897"/>
                      </a:lnTo>
                      <a:lnTo>
                        <a:pt x="35427" y="148798"/>
                      </a:lnTo>
                      <a:lnTo>
                        <a:pt x="32998" y="151903"/>
                      </a:lnTo>
                      <a:lnTo>
                        <a:pt x="31132" y="152343"/>
                      </a:lnTo>
                      <a:lnTo>
                        <a:pt x="30040" y="151862"/>
                      </a:lnTo>
                      <a:lnTo>
                        <a:pt x="28361" y="149939"/>
                      </a:lnTo>
                      <a:lnTo>
                        <a:pt x="26552" y="147192"/>
                      </a:lnTo>
                      <a:lnTo>
                        <a:pt x="26242" y="142775"/>
                      </a:lnTo>
                      <a:lnTo>
                        <a:pt x="25492" y="140347"/>
                      </a:lnTo>
                      <a:lnTo>
                        <a:pt x="25606" y="137453"/>
                      </a:lnTo>
                      <a:lnTo>
                        <a:pt x="25459" y="134707"/>
                      </a:lnTo>
                      <a:lnTo>
                        <a:pt x="23512" y="127356"/>
                      </a:lnTo>
                      <a:lnTo>
                        <a:pt x="22257" y="123583"/>
                      </a:lnTo>
                      <a:lnTo>
                        <a:pt x="22412" y="122368"/>
                      </a:lnTo>
                      <a:lnTo>
                        <a:pt x="22330" y="121863"/>
                      </a:lnTo>
                      <a:lnTo>
                        <a:pt x="21743" y="117006"/>
                      </a:lnTo>
                      <a:lnTo>
                        <a:pt x="20920" y="114039"/>
                      </a:lnTo>
                      <a:lnTo>
                        <a:pt x="20521" y="110869"/>
                      </a:lnTo>
                      <a:lnTo>
                        <a:pt x="22436" y="106313"/>
                      </a:lnTo>
                      <a:lnTo>
                        <a:pt x="21670" y="105571"/>
                      </a:lnTo>
                      <a:lnTo>
                        <a:pt x="19445" y="104969"/>
                      </a:lnTo>
                      <a:lnTo>
                        <a:pt x="17383" y="104178"/>
                      </a:lnTo>
                      <a:lnTo>
                        <a:pt x="16878" y="102996"/>
                      </a:lnTo>
                      <a:lnTo>
                        <a:pt x="17791" y="98506"/>
                      </a:lnTo>
                      <a:lnTo>
                        <a:pt x="16715" y="96745"/>
                      </a:lnTo>
                      <a:lnTo>
                        <a:pt x="15183" y="94961"/>
                      </a:lnTo>
                      <a:lnTo>
                        <a:pt x="14702" y="94252"/>
                      </a:lnTo>
                      <a:lnTo>
                        <a:pt x="14197" y="93331"/>
                      </a:lnTo>
                      <a:lnTo>
                        <a:pt x="13488" y="91073"/>
                      </a:lnTo>
                      <a:lnTo>
                        <a:pt x="14857" y="86330"/>
                      </a:lnTo>
                      <a:lnTo>
                        <a:pt x="16772" y="80813"/>
                      </a:lnTo>
                      <a:lnTo>
                        <a:pt x="17114" y="78710"/>
                      </a:lnTo>
                      <a:lnTo>
                        <a:pt x="17432" y="75067"/>
                      </a:lnTo>
                      <a:lnTo>
                        <a:pt x="17603" y="73665"/>
                      </a:lnTo>
                      <a:lnTo>
                        <a:pt x="17359" y="72288"/>
                      </a:lnTo>
                      <a:lnTo>
                        <a:pt x="15346" y="70683"/>
                      </a:lnTo>
                      <a:lnTo>
                        <a:pt x="11776" y="70039"/>
                      </a:lnTo>
                      <a:lnTo>
                        <a:pt x="9258" y="68702"/>
                      </a:lnTo>
                      <a:lnTo>
                        <a:pt x="7775" y="66673"/>
                      </a:lnTo>
                      <a:lnTo>
                        <a:pt x="6528" y="65866"/>
                      </a:lnTo>
                      <a:lnTo>
                        <a:pt x="4988" y="66461"/>
                      </a:lnTo>
                      <a:lnTo>
                        <a:pt x="3023" y="65670"/>
                      </a:lnTo>
                      <a:lnTo>
                        <a:pt x="1377" y="63658"/>
                      </a:lnTo>
                      <a:lnTo>
                        <a:pt x="0" y="61213"/>
                      </a:lnTo>
                      <a:lnTo>
                        <a:pt x="171" y="60063"/>
                      </a:lnTo>
                      <a:lnTo>
                        <a:pt x="530" y="58539"/>
                      </a:lnTo>
                      <a:lnTo>
                        <a:pt x="3129" y="52215"/>
                      </a:lnTo>
                      <a:lnTo>
                        <a:pt x="4099" y="52028"/>
                      </a:lnTo>
                      <a:lnTo>
                        <a:pt x="6341" y="53242"/>
                      </a:lnTo>
                      <a:lnTo>
                        <a:pt x="7180" y="53242"/>
                      </a:lnTo>
                      <a:lnTo>
                        <a:pt x="8663" y="50740"/>
                      </a:lnTo>
                      <a:lnTo>
                        <a:pt x="10733" y="43609"/>
                      </a:lnTo>
                      <a:lnTo>
                        <a:pt x="13643" y="43625"/>
                      </a:lnTo>
                      <a:lnTo>
                        <a:pt x="16210" y="43862"/>
                      </a:lnTo>
                      <a:lnTo>
                        <a:pt x="17945" y="44220"/>
                      </a:lnTo>
                      <a:lnTo>
                        <a:pt x="19681" y="43992"/>
                      </a:lnTo>
                      <a:lnTo>
                        <a:pt x="21491" y="43422"/>
                      </a:lnTo>
                      <a:lnTo>
                        <a:pt x="22477" y="42525"/>
                      </a:lnTo>
                      <a:lnTo>
                        <a:pt x="23015" y="41384"/>
                      </a:lnTo>
                      <a:lnTo>
                        <a:pt x="22819" y="40382"/>
                      </a:lnTo>
                      <a:lnTo>
                        <a:pt x="20611" y="39037"/>
                      </a:lnTo>
                      <a:lnTo>
                        <a:pt x="19755" y="38035"/>
                      </a:lnTo>
                      <a:lnTo>
                        <a:pt x="19144" y="35174"/>
                      </a:lnTo>
                      <a:lnTo>
                        <a:pt x="18492" y="34090"/>
                      </a:lnTo>
                      <a:lnTo>
                        <a:pt x="14132" y="33944"/>
                      </a:lnTo>
                      <a:lnTo>
                        <a:pt x="11882" y="32632"/>
                      </a:lnTo>
                      <a:lnTo>
                        <a:pt x="10635" y="31450"/>
                      </a:lnTo>
                      <a:lnTo>
                        <a:pt x="8427" y="27554"/>
                      </a:lnTo>
                      <a:lnTo>
                        <a:pt x="5688" y="24669"/>
                      </a:lnTo>
                      <a:lnTo>
                        <a:pt x="3073" y="23993"/>
                      </a:lnTo>
                      <a:lnTo>
                        <a:pt x="2062" y="23055"/>
                      </a:lnTo>
                      <a:lnTo>
                        <a:pt x="1516" y="21564"/>
                      </a:lnTo>
                      <a:lnTo>
                        <a:pt x="1833" y="19421"/>
                      </a:lnTo>
                      <a:lnTo>
                        <a:pt x="2624" y="17473"/>
                      </a:lnTo>
                      <a:lnTo>
                        <a:pt x="3154" y="15289"/>
                      </a:lnTo>
                      <a:lnTo>
                        <a:pt x="5256" y="12420"/>
                      </a:lnTo>
                      <a:lnTo>
                        <a:pt x="7710" y="9910"/>
                      </a:lnTo>
                      <a:lnTo>
                        <a:pt x="8793" y="8191"/>
                      </a:lnTo>
                      <a:lnTo>
                        <a:pt x="10342" y="6373"/>
                      </a:lnTo>
                      <a:lnTo>
                        <a:pt x="10521" y="5379"/>
                      </a:lnTo>
                      <a:lnTo>
                        <a:pt x="10260" y="4238"/>
                      </a:lnTo>
                      <a:lnTo>
                        <a:pt x="8997" y="3154"/>
                      </a:lnTo>
                      <a:lnTo>
                        <a:pt x="8141" y="2803"/>
                      </a:lnTo>
                      <a:lnTo>
                        <a:pt x="7995" y="2111"/>
                      </a:lnTo>
                      <a:lnTo>
                        <a:pt x="8598" y="228"/>
                      </a:lnTo>
                      <a:lnTo>
                        <a:pt x="9788" y="0"/>
                      </a:lnTo>
                      <a:lnTo>
                        <a:pt x="12265" y="1695"/>
                      </a:lnTo>
                      <a:lnTo>
                        <a:pt x="14800" y="4450"/>
                      </a:lnTo>
                      <a:lnTo>
                        <a:pt x="16307" y="6903"/>
                      </a:lnTo>
                      <a:lnTo>
                        <a:pt x="16365" y="8834"/>
                      </a:lnTo>
                      <a:lnTo>
                        <a:pt x="17335" y="9152"/>
                      </a:lnTo>
                      <a:lnTo>
                        <a:pt x="18328" y="9266"/>
                      </a:lnTo>
                      <a:close/>
                    </a:path>
                  </a:pathLst>
                </a:custGeom>
                <a:solidFill>
                  <a:srgbClr val="D6D6D2"/>
                </a:solidFill>
                <a:ln w="6112" cap="rnd">
                  <a:solidFill>
                    <a:srgbClr val="FFFFFF"/>
                  </a:solidFill>
                  <a:prstDash val="solid"/>
                  <a:round/>
                </a:ln>
              </p:spPr>
              <p:txBody>
                <a:bodyPr rtlCol="0" anchor="ctr"/>
                <a:lstStyle/>
                <a:p>
                  <a:endParaRPr lang="en-US"/>
                </a:p>
              </p:txBody>
            </p:sp>
            <p:sp>
              <p:nvSpPr>
                <p:cNvPr id="776" name="Freeform: Shape 775">
                  <a:extLst>
                    <a:ext uri="{FF2B5EF4-FFF2-40B4-BE49-F238E27FC236}">
                      <a16:creationId xmlns:a16="http://schemas.microsoft.com/office/drawing/2014/main" id="{E3766E71-4A18-405C-B87A-D4C0AC295A56}"/>
                    </a:ext>
                  </a:extLst>
                </p:cNvPr>
                <p:cNvSpPr/>
                <p:nvPr/>
              </p:nvSpPr>
              <p:spPr>
                <a:xfrm>
                  <a:off x="5806635" y="4070467"/>
                  <a:ext cx="196245" cy="171233"/>
                </a:xfrm>
                <a:custGeom>
                  <a:avLst/>
                  <a:gdLst>
                    <a:gd name="connsiteX0" fmla="*/ 142392 w 196245"/>
                    <a:gd name="connsiteY0" fmla="*/ 5061 h 171233"/>
                    <a:gd name="connsiteX1" fmla="*/ 142050 w 196245"/>
                    <a:gd name="connsiteY1" fmla="*/ 6479 h 171233"/>
                    <a:gd name="connsiteX2" fmla="*/ 142017 w 196245"/>
                    <a:gd name="connsiteY2" fmla="*/ 8989 h 171233"/>
                    <a:gd name="connsiteX3" fmla="*/ 141585 w 196245"/>
                    <a:gd name="connsiteY3" fmla="*/ 12942 h 171233"/>
                    <a:gd name="connsiteX4" fmla="*/ 141055 w 196245"/>
                    <a:gd name="connsiteY4" fmla="*/ 17677 h 171233"/>
                    <a:gd name="connsiteX5" fmla="*/ 143207 w 196245"/>
                    <a:gd name="connsiteY5" fmla="*/ 20741 h 171233"/>
                    <a:gd name="connsiteX6" fmla="*/ 145782 w 196245"/>
                    <a:gd name="connsiteY6" fmla="*/ 24034 h 171233"/>
                    <a:gd name="connsiteX7" fmla="*/ 146483 w 196245"/>
                    <a:gd name="connsiteY7" fmla="*/ 25321 h 171233"/>
                    <a:gd name="connsiteX8" fmla="*/ 145790 w 196245"/>
                    <a:gd name="connsiteY8" fmla="*/ 28573 h 171233"/>
                    <a:gd name="connsiteX9" fmla="*/ 146263 w 196245"/>
                    <a:gd name="connsiteY9" fmla="*/ 30472 h 171233"/>
                    <a:gd name="connsiteX10" fmla="*/ 147640 w 196245"/>
                    <a:gd name="connsiteY10" fmla="*/ 33642 h 171233"/>
                    <a:gd name="connsiteX11" fmla="*/ 149955 w 196245"/>
                    <a:gd name="connsiteY11" fmla="*/ 37660 h 171233"/>
                    <a:gd name="connsiteX12" fmla="*/ 152334 w 196245"/>
                    <a:gd name="connsiteY12" fmla="*/ 41808 h 171233"/>
                    <a:gd name="connsiteX13" fmla="*/ 153981 w 196245"/>
                    <a:gd name="connsiteY13" fmla="*/ 42354 h 171233"/>
                    <a:gd name="connsiteX14" fmla="*/ 155537 w 196245"/>
                    <a:gd name="connsiteY14" fmla="*/ 42680 h 171233"/>
                    <a:gd name="connsiteX15" fmla="*/ 156483 w 196245"/>
                    <a:gd name="connsiteY15" fmla="*/ 43422 h 171233"/>
                    <a:gd name="connsiteX16" fmla="*/ 157885 w 196245"/>
                    <a:gd name="connsiteY16" fmla="*/ 44139 h 171233"/>
                    <a:gd name="connsiteX17" fmla="*/ 159262 w 196245"/>
                    <a:gd name="connsiteY17" fmla="*/ 44603 h 171233"/>
                    <a:gd name="connsiteX18" fmla="*/ 160468 w 196245"/>
                    <a:gd name="connsiteY18" fmla="*/ 45516 h 171233"/>
                    <a:gd name="connsiteX19" fmla="*/ 161242 w 196245"/>
                    <a:gd name="connsiteY19" fmla="*/ 46405 h 171233"/>
                    <a:gd name="connsiteX20" fmla="*/ 162237 w 196245"/>
                    <a:gd name="connsiteY20" fmla="*/ 48955 h 171233"/>
                    <a:gd name="connsiteX21" fmla="*/ 164918 w 196245"/>
                    <a:gd name="connsiteY21" fmla="*/ 50642 h 171233"/>
                    <a:gd name="connsiteX22" fmla="*/ 166784 w 196245"/>
                    <a:gd name="connsiteY22" fmla="*/ 52305 h 171233"/>
                    <a:gd name="connsiteX23" fmla="*/ 166034 w 196245"/>
                    <a:gd name="connsiteY23" fmla="*/ 53153 h 171233"/>
                    <a:gd name="connsiteX24" fmla="*/ 163703 w 196245"/>
                    <a:gd name="connsiteY24" fmla="*/ 52810 h 171233"/>
                    <a:gd name="connsiteX25" fmla="*/ 161511 w 196245"/>
                    <a:gd name="connsiteY25" fmla="*/ 52077 h 171233"/>
                    <a:gd name="connsiteX26" fmla="*/ 161218 w 196245"/>
                    <a:gd name="connsiteY26" fmla="*/ 53307 h 171233"/>
                    <a:gd name="connsiteX27" fmla="*/ 161136 w 196245"/>
                    <a:gd name="connsiteY27" fmla="*/ 57985 h 171233"/>
                    <a:gd name="connsiteX28" fmla="*/ 161487 w 196245"/>
                    <a:gd name="connsiteY28" fmla="*/ 61881 h 171233"/>
                    <a:gd name="connsiteX29" fmla="*/ 161984 w 196245"/>
                    <a:gd name="connsiteY29" fmla="*/ 62402 h 171233"/>
                    <a:gd name="connsiteX30" fmla="*/ 164201 w 196245"/>
                    <a:gd name="connsiteY30" fmla="*/ 63111 h 171233"/>
                    <a:gd name="connsiteX31" fmla="*/ 169449 w 196245"/>
                    <a:gd name="connsiteY31" fmla="*/ 68181 h 171233"/>
                    <a:gd name="connsiteX32" fmla="*/ 174209 w 196245"/>
                    <a:gd name="connsiteY32" fmla="*/ 72956 h 171233"/>
                    <a:gd name="connsiteX33" fmla="*/ 175806 w 196245"/>
                    <a:gd name="connsiteY33" fmla="*/ 74211 h 171233"/>
                    <a:gd name="connsiteX34" fmla="*/ 178447 w 196245"/>
                    <a:gd name="connsiteY34" fmla="*/ 74676 h 171233"/>
                    <a:gd name="connsiteX35" fmla="*/ 181388 w 196245"/>
                    <a:gd name="connsiteY35" fmla="*/ 74871 h 171233"/>
                    <a:gd name="connsiteX36" fmla="*/ 182644 w 196245"/>
                    <a:gd name="connsiteY36" fmla="*/ 74431 h 171233"/>
                    <a:gd name="connsiteX37" fmla="*/ 185512 w 196245"/>
                    <a:gd name="connsiteY37" fmla="*/ 72019 h 171233"/>
                    <a:gd name="connsiteX38" fmla="*/ 187028 w 196245"/>
                    <a:gd name="connsiteY38" fmla="*/ 71758 h 171233"/>
                    <a:gd name="connsiteX39" fmla="*/ 188422 w 196245"/>
                    <a:gd name="connsiteY39" fmla="*/ 71823 h 171233"/>
                    <a:gd name="connsiteX40" fmla="*/ 189196 w 196245"/>
                    <a:gd name="connsiteY40" fmla="*/ 72207 h 171233"/>
                    <a:gd name="connsiteX41" fmla="*/ 190565 w 196245"/>
                    <a:gd name="connsiteY41" fmla="*/ 74179 h 171233"/>
                    <a:gd name="connsiteX42" fmla="*/ 191845 w 196245"/>
                    <a:gd name="connsiteY42" fmla="*/ 77145 h 171233"/>
                    <a:gd name="connsiteX43" fmla="*/ 192211 w 196245"/>
                    <a:gd name="connsiteY43" fmla="*/ 79338 h 171233"/>
                    <a:gd name="connsiteX44" fmla="*/ 192081 w 196245"/>
                    <a:gd name="connsiteY44" fmla="*/ 80511 h 171233"/>
                    <a:gd name="connsiteX45" fmla="*/ 191657 w 196245"/>
                    <a:gd name="connsiteY45" fmla="*/ 80951 h 171233"/>
                    <a:gd name="connsiteX46" fmla="*/ 189318 w 196245"/>
                    <a:gd name="connsiteY46" fmla="*/ 81530 h 171233"/>
                    <a:gd name="connsiteX47" fmla="*/ 188307 w 196245"/>
                    <a:gd name="connsiteY47" fmla="*/ 81970 h 171233"/>
                    <a:gd name="connsiteX48" fmla="*/ 188047 w 196245"/>
                    <a:gd name="connsiteY48" fmla="*/ 82614 h 171233"/>
                    <a:gd name="connsiteX49" fmla="*/ 188405 w 196245"/>
                    <a:gd name="connsiteY49" fmla="*/ 84081 h 171233"/>
                    <a:gd name="connsiteX50" fmla="*/ 188870 w 196245"/>
                    <a:gd name="connsiteY50" fmla="*/ 85034 h 171233"/>
                    <a:gd name="connsiteX51" fmla="*/ 191413 w 196245"/>
                    <a:gd name="connsiteY51" fmla="*/ 89321 h 171233"/>
                    <a:gd name="connsiteX52" fmla="*/ 195121 w 196245"/>
                    <a:gd name="connsiteY52" fmla="*/ 95083 h 171233"/>
                    <a:gd name="connsiteX53" fmla="*/ 196245 w 196245"/>
                    <a:gd name="connsiteY53" fmla="*/ 96566 h 171233"/>
                    <a:gd name="connsiteX54" fmla="*/ 195602 w 196245"/>
                    <a:gd name="connsiteY54" fmla="*/ 98286 h 171233"/>
                    <a:gd name="connsiteX55" fmla="*/ 193719 w 196245"/>
                    <a:gd name="connsiteY55" fmla="*/ 102793 h 171233"/>
                    <a:gd name="connsiteX56" fmla="*/ 192326 w 196245"/>
                    <a:gd name="connsiteY56" fmla="*/ 104675 h 171233"/>
                    <a:gd name="connsiteX57" fmla="*/ 186107 w 196245"/>
                    <a:gd name="connsiteY57" fmla="*/ 111048 h 171233"/>
                    <a:gd name="connsiteX58" fmla="*/ 183067 w 196245"/>
                    <a:gd name="connsiteY58" fmla="*/ 110290 h 171233"/>
                    <a:gd name="connsiteX59" fmla="*/ 176670 w 196245"/>
                    <a:gd name="connsiteY59" fmla="*/ 111586 h 171233"/>
                    <a:gd name="connsiteX60" fmla="*/ 175725 w 196245"/>
                    <a:gd name="connsiteY60" fmla="*/ 110119 h 171233"/>
                    <a:gd name="connsiteX61" fmla="*/ 174233 w 196245"/>
                    <a:gd name="connsiteY61" fmla="*/ 109924 h 171233"/>
                    <a:gd name="connsiteX62" fmla="*/ 172383 w 196245"/>
                    <a:gd name="connsiteY62" fmla="*/ 110176 h 171233"/>
                    <a:gd name="connsiteX63" fmla="*/ 171706 w 196245"/>
                    <a:gd name="connsiteY63" fmla="*/ 110738 h 171233"/>
                    <a:gd name="connsiteX64" fmla="*/ 171511 w 196245"/>
                    <a:gd name="connsiteY64" fmla="*/ 111358 h 171233"/>
                    <a:gd name="connsiteX65" fmla="*/ 170851 w 196245"/>
                    <a:gd name="connsiteY65" fmla="*/ 112246 h 171233"/>
                    <a:gd name="connsiteX66" fmla="*/ 169661 w 196245"/>
                    <a:gd name="connsiteY66" fmla="*/ 114773 h 171233"/>
                    <a:gd name="connsiteX67" fmla="*/ 168748 w 196245"/>
                    <a:gd name="connsiteY67" fmla="*/ 115416 h 171233"/>
                    <a:gd name="connsiteX68" fmla="*/ 167615 w 196245"/>
                    <a:gd name="connsiteY68" fmla="*/ 115799 h 171233"/>
                    <a:gd name="connsiteX69" fmla="*/ 166230 w 196245"/>
                    <a:gd name="connsiteY69" fmla="*/ 115751 h 171233"/>
                    <a:gd name="connsiteX70" fmla="*/ 165415 w 196245"/>
                    <a:gd name="connsiteY70" fmla="*/ 116076 h 171233"/>
                    <a:gd name="connsiteX71" fmla="*/ 165407 w 196245"/>
                    <a:gd name="connsiteY71" fmla="*/ 117332 h 171233"/>
                    <a:gd name="connsiteX72" fmla="*/ 165154 w 196245"/>
                    <a:gd name="connsiteY72" fmla="*/ 118432 h 171233"/>
                    <a:gd name="connsiteX73" fmla="*/ 164225 w 196245"/>
                    <a:gd name="connsiteY73" fmla="*/ 118970 h 171233"/>
                    <a:gd name="connsiteX74" fmla="*/ 163817 w 196245"/>
                    <a:gd name="connsiteY74" fmla="*/ 120184 h 171233"/>
                    <a:gd name="connsiteX75" fmla="*/ 163891 w 196245"/>
                    <a:gd name="connsiteY75" fmla="*/ 121382 h 171233"/>
                    <a:gd name="connsiteX76" fmla="*/ 163337 w 196245"/>
                    <a:gd name="connsiteY76" fmla="*/ 121936 h 171233"/>
                    <a:gd name="connsiteX77" fmla="*/ 162147 w 196245"/>
                    <a:gd name="connsiteY77" fmla="*/ 121635 h 171233"/>
                    <a:gd name="connsiteX78" fmla="*/ 161430 w 196245"/>
                    <a:gd name="connsiteY78" fmla="*/ 121309 h 171233"/>
                    <a:gd name="connsiteX79" fmla="*/ 160761 w 196245"/>
                    <a:gd name="connsiteY79" fmla="*/ 122857 h 171233"/>
                    <a:gd name="connsiteX80" fmla="*/ 159930 w 196245"/>
                    <a:gd name="connsiteY80" fmla="*/ 123908 h 171233"/>
                    <a:gd name="connsiteX81" fmla="*/ 159327 w 196245"/>
                    <a:gd name="connsiteY81" fmla="*/ 123900 h 171233"/>
                    <a:gd name="connsiteX82" fmla="*/ 152946 w 196245"/>
                    <a:gd name="connsiteY82" fmla="*/ 124210 h 171233"/>
                    <a:gd name="connsiteX83" fmla="*/ 150615 w 196245"/>
                    <a:gd name="connsiteY83" fmla="*/ 125041 h 171233"/>
                    <a:gd name="connsiteX84" fmla="*/ 149213 w 196245"/>
                    <a:gd name="connsiteY84" fmla="*/ 125058 h 171233"/>
                    <a:gd name="connsiteX85" fmla="*/ 149172 w 196245"/>
                    <a:gd name="connsiteY85" fmla="*/ 124349 h 171233"/>
                    <a:gd name="connsiteX86" fmla="*/ 149001 w 196245"/>
                    <a:gd name="connsiteY86" fmla="*/ 123933 h 171233"/>
                    <a:gd name="connsiteX87" fmla="*/ 140942 w 196245"/>
                    <a:gd name="connsiteY87" fmla="*/ 121586 h 171233"/>
                    <a:gd name="connsiteX88" fmla="*/ 135293 w 196245"/>
                    <a:gd name="connsiteY88" fmla="*/ 120200 h 171233"/>
                    <a:gd name="connsiteX89" fmla="*/ 129572 w 196245"/>
                    <a:gd name="connsiteY89" fmla="*/ 118644 h 171233"/>
                    <a:gd name="connsiteX90" fmla="*/ 129247 w 196245"/>
                    <a:gd name="connsiteY90" fmla="*/ 120103 h 171233"/>
                    <a:gd name="connsiteX91" fmla="*/ 128415 w 196245"/>
                    <a:gd name="connsiteY91" fmla="*/ 121032 h 171233"/>
                    <a:gd name="connsiteX92" fmla="*/ 127184 w 196245"/>
                    <a:gd name="connsiteY92" fmla="*/ 121105 h 171233"/>
                    <a:gd name="connsiteX93" fmla="*/ 126321 w 196245"/>
                    <a:gd name="connsiteY93" fmla="*/ 120869 h 171233"/>
                    <a:gd name="connsiteX94" fmla="*/ 125742 w 196245"/>
                    <a:gd name="connsiteY94" fmla="*/ 121985 h 171233"/>
                    <a:gd name="connsiteX95" fmla="*/ 124797 w 196245"/>
                    <a:gd name="connsiteY95" fmla="*/ 123460 h 171233"/>
                    <a:gd name="connsiteX96" fmla="*/ 123477 w 196245"/>
                    <a:gd name="connsiteY96" fmla="*/ 124186 h 171233"/>
                    <a:gd name="connsiteX97" fmla="*/ 122172 w 196245"/>
                    <a:gd name="connsiteY97" fmla="*/ 125098 h 171233"/>
                    <a:gd name="connsiteX98" fmla="*/ 121439 w 196245"/>
                    <a:gd name="connsiteY98" fmla="*/ 125889 h 171233"/>
                    <a:gd name="connsiteX99" fmla="*/ 120909 w 196245"/>
                    <a:gd name="connsiteY99" fmla="*/ 125905 h 171233"/>
                    <a:gd name="connsiteX100" fmla="*/ 119597 w 196245"/>
                    <a:gd name="connsiteY100" fmla="*/ 124031 h 171233"/>
                    <a:gd name="connsiteX101" fmla="*/ 117853 w 196245"/>
                    <a:gd name="connsiteY101" fmla="*/ 123835 h 171233"/>
                    <a:gd name="connsiteX102" fmla="*/ 114602 w 196245"/>
                    <a:gd name="connsiteY102" fmla="*/ 124153 h 171233"/>
                    <a:gd name="connsiteX103" fmla="*/ 113134 w 196245"/>
                    <a:gd name="connsiteY103" fmla="*/ 123640 h 171233"/>
                    <a:gd name="connsiteX104" fmla="*/ 111138 w 196245"/>
                    <a:gd name="connsiteY104" fmla="*/ 123387 h 171233"/>
                    <a:gd name="connsiteX105" fmla="*/ 106427 w 196245"/>
                    <a:gd name="connsiteY105" fmla="*/ 123778 h 171233"/>
                    <a:gd name="connsiteX106" fmla="*/ 98881 w 196245"/>
                    <a:gd name="connsiteY106" fmla="*/ 123012 h 171233"/>
                    <a:gd name="connsiteX107" fmla="*/ 97650 w 196245"/>
                    <a:gd name="connsiteY107" fmla="*/ 123419 h 171233"/>
                    <a:gd name="connsiteX108" fmla="*/ 97324 w 196245"/>
                    <a:gd name="connsiteY108" fmla="*/ 123762 h 171233"/>
                    <a:gd name="connsiteX109" fmla="*/ 89851 w 196245"/>
                    <a:gd name="connsiteY109" fmla="*/ 123851 h 171233"/>
                    <a:gd name="connsiteX110" fmla="*/ 81636 w 196245"/>
                    <a:gd name="connsiteY110" fmla="*/ 123949 h 171233"/>
                    <a:gd name="connsiteX111" fmla="*/ 74757 w 196245"/>
                    <a:gd name="connsiteY111" fmla="*/ 124039 h 171233"/>
                    <a:gd name="connsiteX112" fmla="*/ 68743 w 196245"/>
                    <a:gd name="connsiteY112" fmla="*/ 124104 h 171233"/>
                    <a:gd name="connsiteX113" fmla="*/ 68735 w 196245"/>
                    <a:gd name="connsiteY113" fmla="*/ 123786 h 171233"/>
                    <a:gd name="connsiteX114" fmla="*/ 66803 w 196245"/>
                    <a:gd name="connsiteY114" fmla="*/ 123745 h 171233"/>
                    <a:gd name="connsiteX115" fmla="*/ 66591 w 196245"/>
                    <a:gd name="connsiteY115" fmla="*/ 124373 h 171233"/>
                    <a:gd name="connsiteX116" fmla="*/ 64888 w 196245"/>
                    <a:gd name="connsiteY116" fmla="*/ 131912 h 171233"/>
                    <a:gd name="connsiteX117" fmla="*/ 64700 w 196245"/>
                    <a:gd name="connsiteY117" fmla="*/ 136003 h 171233"/>
                    <a:gd name="connsiteX118" fmla="*/ 65597 w 196245"/>
                    <a:gd name="connsiteY118" fmla="*/ 138554 h 171233"/>
                    <a:gd name="connsiteX119" fmla="*/ 66624 w 196245"/>
                    <a:gd name="connsiteY119" fmla="*/ 140167 h 171233"/>
                    <a:gd name="connsiteX120" fmla="*/ 67765 w 196245"/>
                    <a:gd name="connsiteY120" fmla="*/ 140836 h 171233"/>
                    <a:gd name="connsiteX121" fmla="*/ 67879 w 196245"/>
                    <a:gd name="connsiteY121" fmla="*/ 141756 h 171233"/>
                    <a:gd name="connsiteX122" fmla="*/ 66966 w 196245"/>
                    <a:gd name="connsiteY122" fmla="*/ 142930 h 171233"/>
                    <a:gd name="connsiteX123" fmla="*/ 67048 w 196245"/>
                    <a:gd name="connsiteY123" fmla="*/ 144144 h 171233"/>
                    <a:gd name="connsiteX124" fmla="*/ 68115 w 196245"/>
                    <a:gd name="connsiteY124" fmla="*/ 145391 h 171233"/>
                    <a:gd name="connsiteX125" fmla="*/ 68376 w 196245"/>
                    <a:gd name="connsiteY125" fmla="*/ 146695 h 171233"/>
                    <a:gd name="connsiteX126" fmla="*/ 67830 w 196245"/>
                    <a:gd name="connsiteY126" fmla="*/ 148073 h 171233"/>
                    <a:gd name="connsiteX127" fmla="*/ 67961 w 196245"/>
                    <a:gd name="connsiteY127" fmla="*/ 151381 h 171233"/>
                    <a:gd name="connsiteX128" fmla="*/ 68775 w 196245"/>
                    <a:gd name="connsiteY128" fmla="*/ 156605 h 171233"/>
                    <a:gd name="connsiteX129" fmla="*/ 68800 w 196245"/>
                    <a:gd name="connsiteY129" fmla="*/ 160004 h 171233"/>
                    <a:gd name="connsiteX130" fmla="*/ 68034 w 196245"/>
                    <a:gd name="connsiteY130" fmla="*/ 161552 h 171233"/>
                    <a:gd name="connsiteX131" fmla="*/ 68392 w 196245"/>
                    <a:gd name="connsiteY131" fmla="*/ 164201 h 171233"/>
                    <a:gd name="connsiteX132" fmla="*/ 69868 w 196245"/>
                    <a:gd name="connsiteY132" fmla="*/ 167933 h 171233"/>
                    <a:gd name="connsiteX133" fmla="*/ 70128 w 196245"/>
                    <a:gd name="connsiteY133" fmla="*/ 169523 h 171233"/>
                    <a:gd name="connsiteX134" fmla="*/ 69607 w 196245"/>
                    <a:gd name="connsiteY134" fmla="*/ 170256 h 171233"/>
                    <a:gd name="connsiteX135" fmla="*/ 68376 w 196245"/>
                    <a:gd name="connsiteY135" fmla="*/ 171234 h 171233"/>
                    <a:gd name="connsiteX136" fmla="*/ 67129 w 196245"/>
                    <a:gd name="connsiteY136" fmla="*/ 171201 h 171233"/>
                    <a:gd name="connsiteX137" fmla="*/ 65687 w 196245"/>
                    <a:gd name="connsiteY137" fmla="*/ 168936 h 171233"/>
                    <a:gd name="connsiteX138" fmla="*/ 65051 w 196245"/>
                    <a:gd name="connsiteY138" fmla="*/ 167925 h 171233"/>
                    <a:gd name="connsiteX139" fmla="*/ 63877 w 196245"/>
                    <a:gd name="connsiteY139" fmla="*/ 165627 h 171233"/>
                    <a:gd name="connsiteX140" fmla="*/ 62875 w 196245"/>
                    <a:gd name="connsiteY140" fmla="*/ 163312 h 171233"/>
                    <a:gd name="connsiteX141" fmla="*/ 61530 w 196245"/>
                    <a:gd name="connsiteY141" fmla="*/ 162302 h 171233"/>
                    <a:gd name="connsiteX142" fmla="*/ 60210 w 196245"/>
                    <a:gd name="connsiteY142" fmla="*/ 161356 h 171233"/>
                    <a:gd name="connsiteX143" fmla="*/ 58605 w 196245"/>
                    <a:gd name="connsiteY143" fmla="*/ 158439 h 171233"/>
                    <a:gd name="connsiteX144" fmla="*/ 57048 w 196245"/>
                    <a:gd name="connsiteY144" fmla="*/ 157037 h 171233"/>
                    <a:gd name="connsiteX145" fmla="*/ 55402 w 196245"/>
                    <a:gd name="connsiteY145" fmla="*/ 157436 h 171233"/>
                    <a:gd name="connsiteX146" fmla="*/ 53006 w 196245"/>
                    <a:gd name="connsiteY146" fmla="*/ 156899 h 171233"/>
                    <a:gd name="connsiteX147" fmla="*/ 48173 w 196245"/>
                    <a:gd name="connsiteY147" fmla="*/ 156165 h 171233"/>
                    <a:gd name="connsiteX148" fmla="*/ 42982 w 196245"/>
                    <a:gd name="connsiteY148" fmla="*/ 156377 h 171233"/>
                    <a:gd name="connsiteX149" fmla="*/ 40814 w 196245"/>
                    <a:gd name="connsiteY149" fmla="*/ 157053 h 171233"/>
                    <a:gd name="connsiteX150" fmla="*/ 38695 w 196245"/>
                    <a:gd name="connsiteY150" fmla="*/ 158121 h 171233"/>
                    <a:gd name="connsiteX151" fmla="*/ 33291 w 196245"/>
                    <a:gd name="connsiteY151" fmla="*/ 160468 h 171233"/>
                    <a:gd name="connsiteX152" fmla="*/ 31156 w 196245"/>
                    <a:gd name="connsiteY152" fmla="*/ 161625 h 171233"/>
                    <a:gd name="connsiteX153" fmla="*/ 29543 w 196245"/>
                    <a:gd name="connsiteY153" fmla="*/ 164567 h 171233"/>
                    <a:gd name="connsiteX154" fmla="*/ 27709 w 196245"/>
                    <a:gd name="connsiteY154" fmla="*/ 164502 h 171233"/>
                    <a:gd name="connsiteX155" fmla="*/ 25875 w 196245"/>
                    <a:gd name="connsiteY155" fmla="*/ 163557 h 171233"/>
                    <a:gd name="connsiteX156" fmla="*/ 24726 w 196245"/>
                    <a:gd name="connsiteY156" fmla="*/ 162229 h 171233"/>
                    <a:gd name="connsiteX157" fmla="*/ 22265 w 196245"/>
                    <a:gd name="connsiteY157" fmla="*/ 162530 h 171233"/>
                    <a:gd name="connsiteX158" fmla="*/ 19885 w 196245"/>
                    <a:gd name="connsiteY158" fmla="*/ 161226 h 171233"/>
                    <a:gd name="connsiteX159" fmla="*/ 17587 w 196245"/>
                    <a:gd name="connsiteY159" fmla="*/ 158675 h 171233"/>
                    <a:gd name="connsiteX160" fmla="*/ 15892 w 196245"/>
                    <a:gd name="connsiteY160" fmla="*/ 157836 h 171233"/>
                    <a:gd name="connsiteX161" fmla="*/ 13732 w 196245"/>
                    <a:gd name="connsiteY161" fmla="*/ 155994 h 171233"/>
                    <a:gd name="connsiteX162" fmla="*/ 13129 w 196245"/>
                    <a:gd name="connsiteY162" fmla="*/ 152481 h 171233"/>
                    <a:gd name="connsiteX163" fmla="*/ 11760 w 196245"/>
                    <a:gd name="connsiteY163" fmla="*/ 150012 h 171233"/>
                    <a:gd name="connsiteX164" fmla="*/ 10505 w 196245"/>
                    <a:gd name="connsiteY164" fmla="*/ 146597 h 171233"/>
                    <a:gd name="connsiteX165" fmla="*/ 8639 w 196245"/>
                    <a:gd name="connsiteY165" fmla="*/ 145049 h 171233"/>
                    <a:gd name="connsiteX166" fmla="*/ 6479 w 196245"/>
                    <a:gd name="connsiteY166" fmla="*/ 144242 h 171233"/>
                    <a:gd name="connsiteX167" fmla="*/ 3496 w 196245"/>
                    <a:gd name="connsiteY167" fmla="*/ 144413 h 171233"/>
                    <a:gd name="connsiteX168" fmla="*/ 1540 w 196245"/>
                    <a:gd name="connsiteY168" fmla="*/ 143028 h 171233"/>
                    <a:gd name="connsiteX169" fmla="*/ 0 w 196245"/>
                    <a:gd name="connsiteY169" fmla="*/ 141023 h 171233"/>
                    <a:gd name="connsiteX170" fmla="*/ 407 w 196245"/>
                    <a:gd name="connsiteY170" fmla="*/ 139295 h 171233"/>
                    <a:gd name="connsiteX171" fmla="*/ 1100 w 196245"/>
                    <a:gd name="connsiteY171" fmla="*/ 136826 h 171233"/>
                    <a:gd name="connsiteX172" fmla="*/ 1181 w 196245"/>
                    <a:gd name="connsiteY172" fmla="*/ 134446 h 171233"/>
                    <a:gd name="connsiteX173" fmla="*/ 1646 w 196245"/>
                    <a:gd name="connsiteY173" fmla="*/ 130599 h 171233"/>
                    <a:gd name="connsiteX174" fmla="*/ 1361 w 196245"/>
                    <a:gd name="connsiteY174" fmla="*/ 125775 h 171233"/>
                    <a:gd name="connsiteX175" fmla="*/ 815 w 196245"/>
                    <a:gd name="connsiteY175" fmla="*/ 122409 h 171233"/>
                    <a:gd name="connsiteX176" fmla="*/ 2461 w 196245"/>
                    <a:gd name="connsiteY176" fmla="*/ 121007 h 171233"/>
                    <a:gd name="connsiteX177" fmla="*/ 4368 w 196245"/>
                    <a:gd name="connsiteY177" fmla="*/ 119760 h 171233"/>
                    <a:gd name="connsiteX178" fmla="*/ 5550 w 196245"/>
                    <a:gd name="connsiteY178" fmla="*/ 117462 h 171233"/>
                    <a:gd name="connsiteX179" fmla="*/ 6780 w 196245"/>
                    <a:gd name="connsiteY179" fmla="*/ 112336 h 171233"/>
                    <a:gd name="connsiteX180" fmla="*/ 7294 w 196245"/>
                    <a:gd name="connsiteY180" fmla="*/ 107902 h 171233"/>
                    <a:gd name="connsiteX181" fmla="*/ 6911 w 196245"/>
                    <a:gd name="connsiteY181" fmla="*/ 106256 h 171233"/>
                    <a:gd name="connsiteX182" fmla="*/ 6283 w 196245"/>
                    <a:gd name="connsiteY182" fmla="*/ 104952 h 171233"/>
                    <a:gd name="connsiteX183" fmla="*/ 5778 w 196245"/>
                    <a:gd name="connsiteY183" fmla="*/ 103029 h 171233"/>
                    <a:gd name="connsiteX184" fmla="*/ 5493 w 196245"/>
                    <a:gd name="connsiteY184" fmla="*/ 100698 h 171233"/>
                    <a:gd name="connsiteX185" fmla="*/ 5835 w 196245"/>
                    <a:gd name="connsiteY185" fmla="*/ 98661 h 171233"/>
                    <a:gd name="connsiteX186" fmla="*/ 7278 w 196245"/>
                    <a:gd name="connsiteY186" fmla="*/ 96770 h 171233"/>
                    <a:gd name="connsiteX187" fmla="*/ 9078 w 196245"/>
                    <a:gd name="connsiteY187" fmla="*/ 95189 h 171233"/>
                    <a:gd name="connsiteX188" fmla="*/ 10358 w 196245"/>
                    <a:gd name="connsiteY188" fmla="*/ 94431 h 171233"/>
                    <a:gd name="connsiteX189" fmla="*/ 13757 w 196245"/>
                    <a:gd name="connsiteY189" fmla="*/ 93649 h 171233"/>
                    <a:gd name="connsiteX190" fmla="*/ 17995 w 196245"/>
                    <a:gd name="connsiteY190" fmla="*/ 92475 h 171233"/>
                    <a:gd name="connsiteX191" fmla="*/ 20439 w 196245"/>
                    <a:gd name="connsiteY191" fmla="*/ 91138 h 171233"/>
                    <a:gd name="connsiteX192" fmla="*/ 22232 w 196245"/>
                    <a:gd name="connsiteY192" fmla="*/ 89810 h 171233"/>
                    <a:gd name="connsiteX193" fmla="*/ 23234 w 196245"/>
                    <a:gd name="connsiteY193" fmla="*/ 88759 h 171233"/>
                    <a:gd name="connsiteX194" fmla="*/ 24237 w 196245"/>
                    <a:gd name="connsiteY194" fmla="*/ 86591 h 171233"/>
                    <a:gd name="connsiteX195" fmla="*/ 25883 w 196245"/>
                    <a:gd name="connsiteY195" fmla="*/ 84920 h 171233"/>
                    <a:gd name="connsiteX196" fmla="*/ 27155 w 196245"/>
                    <a:gd name="connsiteY196" fmla="*/ 83225 h 171233"/>
                    <a:gd name="connsiteX197" fmla="*/ 27326 w 196245"/>
                    <a:gd name="connsiteY197" fmla="*/ 78523 h 171233"/>
                    <a:gd name="connsiteX198" fmla="*/ 27318 w 196245"/>
                    <a:gd name="connsiteY198" fmla="*/ 75841 h 171233"/>
                    <a:gd name="connsiteX199" fmla="*/ 26372 w 196245"/>
                    <a:gd name="connsiteY199" fmla="*/ 74358 h 171233"/>
                    <a:gd name="connsiteX200" fmla="*/ 25867 w 196245"/>
                    <a:gd name="connsiteY200" fmla="*/ 73087 h 171233"/>
                    <a:gd name="connsiteX201" fmla="*/ 32151 w 196245"/>
                    <a:gd name="connsiteY201" fmla="*/ 69411 h 171233"/>
                    <a:gd name="connsiteX202" fmla="*/ 32200 w 196245"/>
                    <a:gd name="connsiteY202" fmla="*/ 66811 h 171233"/>
                    <a:gd name="connsiteX203" fmla="*/ 31319 w 196245"/>
                    <a:gd name="connsiteY203" fmla="*/ 63902 h 171233"/>
                    <a:gd name="connsiteX204" fmla="*/ 30097 w 196245"/>
                    <a:gd name="connsiteY204" fmla="*/ 61563 h 171233"/>
                    <a:gd name="connsiteX205" fmla="*/ 29632 w 196245"/>
                    <a:gd name="connsiteY205" fmla="*/ 59542 h 171233"/>
                    <a:gd name="connsiteX206" fmla="*/ 31368 w 196245"/>
                    <a:gd name="connsiteY206" fmla="*/ 57162 h 171233"/>
                    <a:gd name="connsiteX207" fmla="*/ 32917 w 196245"/>
                    <a:gd name="connsiteY207" fmla="*/ 55385 h 171233"/>
                    <a:gd name="connsiteX208" fmla="*/ 34041 w 196245"/>
                    <a:gd name="connsiteY208" fmla="*/ 53861 h 171233"/>
                    <a:gd name="connsiteX209" fmla="*/ 36519 w 196245"/>
                    <a:gd name="connsiteY209" fmla="*/ 51547 h 171233"/>
                    <a:gd name="connsiteX210" fmla="*/ 39094 w 196245"/>
                    <a:gd name="connsiteY210" fmla="*/ 50952 h 171233"/>
                    <a:gd name="connsiteX211" fmla="*/ 41425 w 196245"/>
                    <a:gd name="connsiteY211" fmla="*/ 51824 h 171233"/>
                    <a:gd name="connsiteX212" fmla="*/ 48303 w 196245"/>
                    <a:gd name="connsiteY212" fmla="*/ 57260 h 171233"/>
                    <a:gd name="connsiteX213" fmla="*/ 49501 w 196245"/>
                    <a:gd name="connsiteY213" fmla="*/ 57610 h 171233"/>
                    <a:gd name="connsiteX214" fmla="*/ 50936 w 196245"/>
                    <a:gd name="connsiteY214" fmla="*/ 57195 h 171233"/>
                    <a:gd name="connsiteX215" fmla="*/ 52745 w 196245"/>
                    <a:gd name="connsiteY215" fmla="*/ 55760 h 171233"/>
                    <a:gd name="connsiteX216" fmla="*/ 55100 w 196245"/>
                    <a:gd name="connsiteY216" fmla="*/ 54628 h 171233"/>
                    <a:gd name="connsiteX217" fmla="*/ 55972 w 196245"/>
                    <a:gd name="connsiteY217" fmla="*/ 50993 h 171233"/>
                    <a:gd name="connsiteX218" fmla="*/ 55891 w 196245"/>
                    <a:gd name="connsiteY218" fmla="*/ 45630 h 171233"/>
                    <a:gd name="connsiteX219" fmla="*/ 56420 w 196245"/>
                    <a:gd name="connsiteY219" fmla="*/ 43177 h 171233"/>
                    <a:gd name="connsiteX220" fmla="*/ 57667 w 196245"/>
                    <a:gd name="connsiteY220" fmla="*/ 42729 h 171233"/>
                    <a:gd name="connsiteX221" fmla="*/ 61628 w 196245"/>
                    <a:gd name="connsiteY221" fmla="*/ 43756 h 171233"/>
                    <a:gd name="connsiteX222" fmla="*/ 62655 w 196245"/>
                    <a:gd name="connsiteY222" fmla="*/ 43813 h 171233"/>
                    <a:gd name="connsiteX223" fmla="*/ 63804 w 196245"/>
                    <a:gd name="connsiteY223" fmla="*/ 43479 h 171233"/>
                    <a:gd name="connsiteX224" fmla="*/ 64644 w 196245"/>
                    <a:gd name="connsiteY224" fmla="*/ 42533 h 171233"/>
                    <a:gd name="connsiteX225" fmla="*/ 64611 w 196245"/>
                    <a:gd name="connsiteY225" fmla="*/ 40806 h 171233"/>
                    <a:gd name="connsiteX226" fmla="*/ 64423 w 196245"/>
                    <a:gd name="connsiteY226" fmla="*/ 39274 h 171233"/>
                    <a:gd name="connsiteX227" fmla="*/ 65711 w 196245"/>
                    <a:gd name="connsiteY227" fmla="*/ 34286 h 171233"/>
                    <a:gd name="connsiteX228" fmla="*/ 68066 w 196245"/>
                    <a:gd name="connsiteY228" fmla="*/ 30553 h 171233"/>
                    <a:gd name="connsiteX229" fmla="*/ 72834 w 196245"/>
                    <a:gd name="connsiteY229" fmla="*/ 25875 h 171233"/>
                    <a:gd name="connsiteX230" fmla="*/ 74326 w 196245"/>
                    <a:gd name="connsiteY230" fmla="*/ 24938 h 171233"/>
                    <a:gd name="connsiteX231" fmla="*/ 76053 w 196245"/>
                    <a:gd name="connsiteY231" fmla="*/ 24457 h 171233"/>
                    <a:gd name="connsiteX232" fmla="*/ 84586 w 196245"/>
                    <a:gd name="connsiteY232" fmla="*/ 27668 h 171233"/>
                    <a:gd name="connsiteX233" fmla="*/ 85972 w 196245"/>
                    <a:gd name="connsiteY233" fmla="*/ 26878 h 171233"/>
                    <a:gd name="connsiteX234" fmla="*/ 88058 w 196245"/>
                    <a:gd name="connsiteY234" fmla="*/ 18915 h 171233"/>
                    <a:gd name="connsiteX235" fmla="*/ 90372 w 196245"/>
                    <a:gd name="connsiteY235" fmla="*/ 18149 h 171233"/>
                    <a:gd name="connsiteX236" fmla="*/ 93143 w 196245"/>
                    <a:gd name="connsiteY236" fmla="*/ 18019 h 171233"/>
                    <a:gd name="connsiteX237" fmla="*/ 94953 w 196245"/>
                    <a:gd name="connsiteY237" fmla="*/ 17334 h 171233"/>
                    <a:gd name="connsiteX238" fmla="*/ 95890 w 196245"/>
                    <a:gd name="connsiteY238" fmla="*/ 16772 h 171233"/>
                    <a:gd name="connsiteX239" fmla="*/ 99948 w 196245"/>
                    <a:gd name="connsiteY239" fmla="*/ 13748 h 171233"/>
                    <a:gd name="connsiteX240" fmla="*/ 107104 w 196245"/>
                    <a:gd name="connsiteY240" fmla="*/ 9633 h 171233"/>
                    <a:gd name="connsiteX241" fmla="*/ 110959 w 196245"/>
                    <a:gd name="connsiteY241" fmla="*/ 7864 h 171233"/>
                    <a:gd name="connsiteX242" fmla="*/ 111717 w 196245"/>
                    <a:gd name="connsiteY242" fmla="*/ 7204 h 171233"/>
                    <a:gd name="connsiteX243" fmla="*/ 114479 w 196245"/>
                    <a:gd name="connsiteY243" fmla="*/ 4279 h 171233"/>
                    <a:gd name="connsiteX244" fmla="*/ 118138 w 196245"/>
                    <a:gd name="connsiteY244" fmla="*/ 913 h 171233"/>
                    <a:gd name="connsiteX245" fmla="*/ 120461 w 196245"/>
                    <a:gd name="connsiteY245" fmla="*/ 244 h 171233"/>
                    <a:gd name="connsiteX246" fmla="*/ 123689 w 196245"/>
                    <a:gd name="connsiteY246" fmla="*/ 0 h 171233"/>
                    <a:gd name="connsiteX247" fmla="*/ 125717 w 196245"/>
                    <a:gd name="connsiteY247" fmla="*/ 554 h 171233"/>
                    <a:gd name="connsiteX248" fmla="*/ 126272 w 196245"/>
                    <a:gd name="connsiteY248" fmla="*/ 1499 h 171233"/>
                    <a:gd name="connsiteX249" fmla="*/ 126940 w 196245"/>
                    <a:gd name="connsiteY249" fmla="*/ 1988 h 171233"/>
                    <a:gd name="connsiteX250" fmla="*/ 131145 w 196245"/>
                    <a:gd name="connsiteY250" fmla="*/ 562 h 171233"/>
                    <a:gd name="connsiteX251" fmla="*/ 137176 w 196245"/>
                    <a:gd name="connsiteY251" fmla="*/ 2828 h 171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196245" h="171233">
                      <a:moveTo>
                        <a:pt x="142392" y="5061"/>
                      </a:moveTo>
                      <a:lnTo>
                        <a:pt x="142050" y="6479"/>
                      </a:lnTo>
                      <a:lnTo>
                        <a:pt x="142017" y="8989"/>
                      </a:lnTo>
                      <a:lnTo>
                        <a:pt x="141585" y="12942"/>
                      </a:lnTo>
                      <a:lnTo>
                        <a:pt x="141055" y="17677"/>
                      </a:lnTo>
                      <a:lnTo>
                        <a:pt x="143207" y="20741"/>
                      </a:lnTo>
                      <a:lnTo>
                        <a:pt x="145782" y="24034"/>
                      </a:lnTo>
                      <a:lnTo>
                        <a:pt x="146483" y="25321"/>
                      </a:lnTo>
                      <a:lnTo>
                        <a:pt x="145790" y="28573"/>
                      </a:lnTo>
                      <a:lnTo>
                        <a:pt x="146263" y="30472"/>
                      </a:lnTo>
                      <a:lnTo>
                        <a:pt x="147640" y="33642"/>
                      </a:lnTo>
                      <a:lnTo>
                        <a:pt x="149955" y="37660"/>
                      </a:lnTo>
                      <a:lnTo>
                        <a:pt x="152334" y="41808"/>
                      </a:lnTo>
                      <a:lnTo>
                        <a:pt x="153981" y="42354"/>
                      </a:lnTo>
                      <a:lnTo>
                        <a:pt x="155537" y="42680"/>
                      </a:lnTo>
                      <a:lnTo>
                        <a:pt x="156483" y="43422"/>
                      </a:lnTo>
                      <a:lnTo>
                        <a:pt x="157885" y="44139"/>
                      </a:lnTo>
                      <a:lnTo>
                        <a:pt x="159262" y="44603"/>
                      </a:lnTo>
                      <a:lnTo>
                        <a:pt x="160468" y="45516"/>
                      </a:lnTo>
                      <a:lnTo>
                        <a:pt x="161242" y="46405"/>
                      </a:lnTo>
                      <a:lnTo>
                        <a:pt x="162237" y="48955"/>
                      </a:lnTo>
                      <a:lnTo>
                        <a:pt x="164918" y="50642"/>
                      </a:lnTo>
                      <a:lnTo>
                        <a:pt x="166784" y="52305"/>
                      </a:lnTo>
                      <a:lnTo>
                        <a:pt x="166034" y="53153"/>
                      </a:lnTo>
                      <a:lnTo>
                        <a:pt x="163703" y="52810"/>
                      </a:lnTo>
                      <a:lnTo>
                        <a:pt x="161511" y="52077"/>
                      </a:lnTo>
                      <a:lnTo>
                        <a:pt x="161218" y="53307"/>
                      </a:lnTo>
                      <a:lnTo>
                        <a:pt x="161136" y="57985"/>
                      </a:lnTo>
                      <a:lnTo>
                        <a:pt x="161487" y="61881"/>
                      </a:lnTo>
                      <a:lnTo>
                        <a:pt x="161984" y="62402"/>
                      </a:lnTo>
                      <a:lnTo>
                        <a:pt x="164201" y="63111"/>
                      </a:lnTo>
                      <a:lnTo>
                        <a:pt x="169449" y="68181"/>
                      </a:lnTo>
                      <a:lnTo>
                        <a:pt x="174209" y="72956"/>
                      </a:lnTo>
                      <a:lnTo>
                        <a:pt x="175806" y="74211"/>
                      </a:lnTo>
                      <a:lnTo>
                        <a:pt x="178447" y="74676"/>
                      </a:lnTo>
                      <a:lnTo>
                        <a:pt x="181388" y="74871"/>
                      </a:lnTo>
                      <a:lnTo>
                        <a:pt x="182644" y="74431"/>
                      </a:lnTo>
                      <a:lnTo>
                        <a:pt x="185512" y="72019"/>
                      </a:lnTo>
                      <a:lnTo>
                        <a:pt x="187028" y="71758"/>
                      </a:lnTo>
                      <a:lnTo>
                        <a:pt x="188422" y="71823"/>
                      </a:lnTo>
                      <a:lnTo>
                        <a:pt x="189196" y="72207"/>
                      </a:lnTo>
                      <a:lnTo>
                        <a:pt x="190565" y="74179"/>
                      </a:lnTo>
                      <a:lnTo>
                        <a:pt x="191845" y="77145"/>
                      </a:lnTo>
                      <a:lnTo>
                        <a:pt x="192211" y="79338"/>
                      </a:lnTo>
                      <a:lnTo>
                        <a:pt x="192081" y="80511"/>
                      </a:lnTo>
                      <a:lnTo>
                        <a:pt x="191657" y="80951"/>
                      </a:lnTo>
                      <a:lnTo>
                        <a:pt x="189318" y="81530"/>
                      </a:lnTo>
                      <a:lnTo>
                        <a:pt x="188307" y="81970"/>
                      </a:lnTo>
                      <a:lnTo>
                        <a:pt x="188047" y="82614"/>
                      </a:lnTo>
                      <a:lnTo>
                        <a:pt x="188405" y="84081"/>
                      </a:lnTo>
                      <a:lnTo>
                        <a:pt x="188870" y="85034"/>
                      </a:lnTo>
                      <a:lnTo>
                        <a:pt x="191413" y="89321"/>
                      </a:lnTo>
                      <a:lnTo>
                        <a:pt x="195121" y="95083"/>
                      </a:lnTo>
                      <a:lnTo>
                        <a:pt x="196245" y="96566"/>
                      </a:lnTo>
                      <a:lnTo>
                        <a:pt x="195602" y="98286"/>
                      </a:lnTo>
                      <a:lnTo>
                        <a:pt x="193719" y="102793"/>
                      </a:lnTo>
                      <a:lnTo>
                        <a:pt x="192326" y="104675"/>
                      </a:lnTo>
                      <a:lnTo>
                        <a:pt x="186107" y="111048"/>
                      </a:lnTo>
                      <a:lnTo>
                        <a:pt x="183067" y="110290"/>
                      </a:lnTo>
                      <a:lnTo>
                        <a:pt x="176670" y="111586"/>
                      </a:lnTo>
                      <a:lnTo>
                        <a:pt x="175725" y="110119"/>
                      </a:lnTo>
                      <a:lnTo>
                        <a:pt x="174233" y="109924"/>
                      </a:lnTo>
                      <a:lnTo>
                        <a:pt x="172383" y="110176"/>
                      </a:lnTo>
                      <a:lnTo>
                        <a:pt x="171706" y="110738"/>
                      </a:lnTo>
                      <a:lnTo>
                        <a:pt x="171511" y="111358"/>
                      </a:lnTo>
                      <a:lnTo>
                        <a:pt x="170851" y="112246"/>
                      </a:lnTo>
                      <a:lnTo>
                        <a:pt x="169661" y="114773"/>
                      </a:lnTo>
                      <a:lnTo>
                        <a:pt x="168748" y="115416"/>
                      </a:lnTo>
                      <a:lnTo>
                        <a:pt x="167615" y="115799"/>
                      </a:lnTo>
                      <a:lnTo>
                        <a:pt x="166230" y="115751"/>
                      </a:lnTo>
                      <a:lnTo>
                        <a:pt x="165415" y="116076"/>
                      </a:lnTo>
                      <a:lnTo>
                        <a:pt x="165407" y="117332"/>
                      </a:lnTo>
                      <a:lnTo>
                        <a:pt x="165154" y="118432"/>
                      </a:lnTo>
                      <a:lnTo>
                        <a:pt x="164225" y="118970"/>
                      </a:lnTo>
                      <a:lnTo>
                        <a:pt x="163817" y="120184"/>
                      </a:lnTo>
                      <a:lnTo>
                        <a:pt x="163891" y="121382"/>
                      </a:lnTo>
                      <a:lnTo>
                        <a:pt x="163337" y="121936"/>
                      </a:lnTo>
                      <a:lnTo>
                        <a:pt x="162147" y="121635"/>
                      </a:lnTo>
                      <a:lnTo>
                        <a:pt x="161430" y="121309"/>
                      </a:lnTo>
                      <a:lnTo>
                        <a:pt x="160761" y="122857"/>
                      </a:lnTo>
                      <a:lnTo>
                        <a:pt x="159930" y="123908"/>
                      </a:lnTo>
                      <a:lnTo>
                        <a:pt x="159327" y="123900"/>
                      </a:lnTo>
                      <a:lnTo>
                        <a:pt x="152946" y="124210"/>
                      </a:lnTo>
                      <a:lnTo>
                        <a:pt x="150615" y="125041"/>
                      </a:lnTo>
                      <a:lnTo>
                        <a:pt x="149213" y="125058"/>
                      </a:lnTo>
                      <a:lnTo>
                        <a:pt x="149172" y="124349"/>
                      </a:lnTo>
                      <a:lnTo>
                        <a:pt x="149001" y="123933"/>
                      </a:lnTo>
                      <a:lnTo>
                        <a:pt x="140942" y="121586"/>
                      </a:lnTo>
                      <a:lnTo>
                        <a:pt x="135293" y="120200"/>
                      </a:lnTo>
                      <a:lnTo>
                        <a:pt x="129572" y="118644"/>
                      </a:lnTo>
                      <a:lnTo>
                        <a:pt x="129247" y="120103"/>
                      </a:lnTo>
                      <a:lnTo>
                        <a:pt x="128415" y="121032"/>
                      </a:lnTo>
                      <a:lnTo>
                        <a:pt x="127184" y="121105"/>
                      </a:lnTo>
                      <a:lnTo>
                        <a:pt x="126321" y="120869"/>
                      </a:lnTo>
                      <a:lnTo>
                        <a:pt x="125742" y="121985"/>
                      </a:lnTo>
                      <a:lnTo>
                        <a:pt x="124797" y="123460"/>
                      </a:lnTo>
                      <a:lnTo>
                        <a:pt x="123477" y="124186"/>
                      </a:lnTo>
                      <a:lnTo>
                        <a:pt x="122172" y="125098"/>
                      </a:lnTo>
                      <a:lnTo>
                        <a:pt x="121439" y="125889"/>
                      </a:lnTo>
                      <a:lnTo>
                        <a:pt x="120909" y="125905"/>
                      </a:lnTo>
                      <a:lnTo>
                        <a:pt x="119597" y="124031"/>
                      </a:lnTo>
                      <a:lnTo>
                        <a:pt x="117853" y="123835"/>
                      </a:lnTo>
                      <a:lnTo>
                        <a:pt x="114602" y="124153"/>
                      </a:lnTo>
                      <a:lnTo>
                        <a:pt x="113134" y="123640"/>
                      </a:lnTo>
                      <a:lnTo>
                        <a:pt x="111138" y="123387"/>
                      </a:lnTo>
                      <a:lnTo>
                        <a:pt x="106427" y="123778"/>
                      </a:lnTo>
                      <a:lnTo>
                        <a:pt x="98881" y="123012"/>
                      </a:lnTo>
                      <a:lnTo>
                        <a:pt x="97650" y="123419"/>
                      </a:lnTo>
                      <a:lnTo>
                        <a:pt x="97324" y="123762"/>
                      </a:lnTo>
                      <a:lnTo>
                        <a:pt x="89851" y="123851"/>
                      </a:lnTo>
                      <a:lnTo>
                        <a:pt x="81636" y="123949"/>
                      </a:lnTo>
                      <a:lnTo>
                        <a:pt x="74757" y="124039"/>
                      </a:lnTo>
                      <a:lnTo>
                        <a:pt x="68743" y="124104"/>
                      </a:lnTo>
                      <a:lnTo>
                        <a:pt x="68735" y="123786"/>
                      </a:lnTo>
                      <a:lnTo>
                        <a:pt x="66803" y="123745"/>
                      </a:lnTo>
                      <a:lnTo>
                        <a:pt x="66591" y="124373"/>
                      </a:lnTo>
                      <a:lnTo>
                        <a:pt x="64888" y="131912"/>
                      </a:lnTo>
                      <a:lnTo>
                        <a:pt x="64700" y="136003"/>
                      </a:lnTo>
                      <a:lnTo>
                        <a:pt x="65597" y="138554"/>
                      </a:lnTo>
                      <a:lnTo>
                        <a:pt x="66624" y="140167"/>
                      </a:lnTo>
                      <a:lnTo>
                        <a:pt x="67765" y="140836"/>
                      </a:lnTo>
                      <a:lnTo>
                        <a:pt x="67879" y="141756"/>
                      </a:lnTo>
                      <a:lnTo>
                        <a:pt x="66966" y="142930"/>
                      </a:lnTo>
                      <a:lnTo>
                        <a:pt x="67048" y="144144"/>
                      </a:lnTo>
                      <a:lnTo>
                        <a:pt x="68115" y="145391"/>
                      </a:lnTo>
                      <a:lnTo>
                        <a:pt x="68376" y="146695"/>
                      </a:lnTo>
                      <a:lnTo>
                        <a:pt x="67830" y="148073"/>
                      </a:lnTo>
                      <a:lnTo>
                        <a:pt x="67961" y="151381"/>
                      </a:lnTo>
                      <a:lnTo>
                        <a:pt x="68775" y="156605"/>
                      </a:lnTo>
                      <a:lnTo>
                        <a:pt x="68800" y="160004"/>
                      </a:lnTo>
                      <a:lnTo>
                        <a:pt x="68034" y="161552"/>
                      </a:lnTo>
                      <a:lnTo>
                        <a:pt x="68392" y="164201"/>
                      </a:lnTo>
                      <a:lnTo>
                        <a:pt x="69868" y="167933"/>
                      </a:lnTo>
                      <a:lnTo>
                        <a:pt x="70128" y="169523"/>
                      </a:lnTo>
                      <a:lnTo>
                        <a:pt x="69607" y="170256"/>
                      </a:lnTo>
                      <a:lnTo>
                        <a:pt x="68376" y="171234"/>
                      </a:lnTo>
                      <a:lnTo>
                        <a:pt x="67129" y="171201"/>
                      </a:lnTo>
                      <a:lnTo>
                        <a:pt x="65687" y="168936"/>
                      </a:lnTo>
                      <a:lnTo>
                        <a:pt x="65051" y="167925"/>
                      </a:lnTo>
                      <a:lnTo>
                        <a:pt x="63877" y="165627"/>
                      </a:lnTo>
                      <a:lnTo>
                        <a:pt x="62875" y="163312"/>
                      </a:lnTo>
                      <a:lnTo>
                        <a:pt x="61530" y="162302"/>
                      </a:lnTo>
                      <a:lnTo>
                        <a:pt x="60210" y="161356"/>
                      </a:lnTo>
                      <a:lnTo>
                        <a:pt x="58605" y="158439"/>
                      </a:lnTo>
                      <a:lnTo>
                        <a:pt x="57048" y="157037"/>
                      </a:lnTo>
                      <a:lnTo>
                        <a:pt x="55402" y="157436"/>
                      </a:lnTo>
                      <a:lnTo>
                        <a:pt x="53006" y="156899"/>
                      </a:lnTo>
                      <a:lnTo>
                        <a:pt x="48173" y="156165"/>
                      </a:lnTo>
                      <a:lnTo>
                        <a:pt x="42982" y="156377"/>
                      </a:lnTo>
                      <a:lnTo>
                        <a:pt x="40814" y="157053"/>
                      </a:lnTo>
                      <a:lnTo>
                        <a:pt x="38695" y="158121"/>
                      </a:lnTo>
                      <a:lnTo>
                        <a:pt x="33291" y="160468"/>
                      </a:lnTo>
                      <a:lnTo>
                        <a:pt x="31156" y="161625"/>
                      </a:lnTo>
                      <a:lnTo>
                        <a:pt x="29543" y="164567"/>
                      </a:lnTo>
                      <a:lnTo>
                        <a:pt x="27709" y="164502"/>
                      </a:lnTo>
                      <a:lnTo>
                        <a:pt x="25875" y="163557"/>
                      </a:lnTo>
                      <a:lnTo>
                        <a:pt x="24726" y="162229"/>
                      </a:lnTo>
                      <a:lnTo>
                        <a:pt x="22265" y="162530"/>
                      </a:lnTo>
                      <a:lnTo>
                        <a:pt x="19885" y="161226"/>
                      </a:lnTo>
                      <a:lnTo>
                        <a:pt x="17587" y="158675"/>
                      </a:lnTo>
                      <a:lnTo>
                        <a:pt x="15892" y="157836"/>
                      </a:lnTo>
                      <a:lnTo>
                        <a:pt x="13732" y="155994"/>
                      </a:lnTo>
                      <a:lnTo>
                        <a:pt x="13129" y="152481"/>
                      </a:lnTo>
                      <a:lnTo>
                        <a:pt x="11760" y="150012"/>
                      </a:lnTo>
                      <a:lnTo>
                        <a:pt x="10505" y="146597"/>
                      </a:lnTo>
                      <a:lnTo>
                        <a:pt x="8639" y="145049"/>
                      </a:lnTo>
                      <a:lnTo>
                        <a:pt x="6479" y="144242"/>
                      </a:lnTo>
                      <a:lnTo>
                        <a:pt x="3496" y="144413"/>
                      </a:lnTo>
                      <a:lnTo>
                        <a:pt x="1540" y="143028"/>
                      </a:lnTo>
                      <a:lnTo>
                        <a:pt x="0" y="141023"/>
                      </a:lnTo>
                      <a:lnTo>
                        <a:pt x="407" y="139295"/>
                      </a:lnTo>
                      <a:lnTo>
                        <a:pt x="1100" y="136826"/>
                      </a:lnTo>
                      <a:lnTo>
                        <a:pt x="1181" y="134446"/>
                      </a:lnTo>
                      <a:lnTo>
                        <a:pt x="1646" y="130599"/>
                      </a:lnTo>
                      <a:lnTo>
                        <a:pt x="1361" y="125775"/>
                      </a:lnTo>
                      <a:lnTo>
                        <a:pt x="815" y="122409"/>
                      </a:lnTo>
                      <a:lnTo>
                        <a:pt x="2461" y="121007"/>
                      </a:lnTo>
                      <a:lnTo>
                        <a:pt x="4368" y="119760"/>
                      </a:lnTo>
                      <a:lnTo>
                        <a:pt x="5550" y="117462"/>
                      </a:lnTo>
                      <a:lnTo>
                        <a:pt x="6780" y="112336"/>
                      </a:lnTo>
                      <a:lnTo>
                        <a:pt x="7294" y="107902"/>
                      </a:lnTo>
                      <a:lnTo>
                        <a:pt x="6911" y="106256"/>
                      </a:lnTo>
                      <a:lnTo>
                        <a:pt x="6283" y="104952"/>
                      </a:lnTo>
                      <a:lnTo>
                        <a:pt x="5778" y="103029"/>
                      </a:lnTo>
                      <a:lnTo>
                        <a:pt x="5493" y="100698"/>
                      </a:lnTo>
                      <a:lnTo>
                        <a:pt x="5835" y="98661"/>
                      </a:lnTo>
                      <a:lnTo>
                        <a:pt x="7278" y="96770"/>
                      </a:lnTo>
                      <a:lnTo>
                        <a:pt x="9078" y="95189"/>
                      </a:lnTo>
                      <a:lnTo>
                        <a:pt x="10358" y="94431"/>
                      </a:lnTo>
                      <a:lnTo>
                        <a:pt x="13757" y="93649"/>
                      </a:lnTo>
                      <a:lnTo>
                        <a:pt x="17995" y="92475"/>
                      </a:lnTo>
                      <a:lnTo>
                        <a:pt x="20439" y="91138"/>
                      </a:lnTo>
                      <a:lnTo>
                        <a:pt x="22232" y="89810"/>
                      </a:lnTo>
                      <a:lnTo>
                        <a:pt x="23234" y="88759"/>
                      </a:lnTo>
                      <a:lnTo>
                        <a:pt x="24237" y="86591"/>
                      </a:lnTo>
                      <a:lnTo>
                        <a:pt x="25883" y="84920"/>
                      </a:lnTo>
                      <a:lnTo>
                        <a:pt x="27155" y="83225"/>
                      </a:lnTo>
                      <a:lnTo>
                        <a:pt x="27326" y="78523"/>
                      </a:lnTo>
                      <a:lnTo>
                        <a:pt x="27318" y="75841"/>
                      </a:lnTo>
                      <a:lnTo>
                        <a:pt x="26372" y="74358"/>
                      </a:lnTo>
                      <a:lnTo>
                        <a:pt x="25867" y="73087"/>
                      </a:lnTo>
                      <a:lnTo>
                        <a:pt x="32151" y="69411"/>
                      </a:lnTo>
                      <a:lnTo>
                        <a:pt x="32200" y="66811"/>
                      </a:lnTo>
                      <a:lnTo>
                        <a:pt x="31319" y="63902"/>
                      </a:lnTo>
                      <a:lnTo>
                        <a:pt x="30097" y="61563"/>
                      </a:lnTo>
                      <a:lnTo>
                        <a:pt x="29632" y="59542"/>
                      </a:lnTo>
                      <a:lnTo>
                        <a:pt x="31368" y="57162"/>
                      </a:lnTo>
                      <a:lnTo>
                        <a:pt x="32917" y="55385"/>
                      </a:lnTo>
                      <a:lnTo>
                        <a:pt x="34041" y="53861"/>
                      </a:lnTo>
                      <a:lnTo>
                        <a:pt x="36519" y="51547"/>
                      </a:lnTo>
                      <a:lnTo>
                        <a:pt x="39094" y="50952"/>
                      </a:lnTo>
                      <a:lnTo>
                        <a:pt x="41425" y="51824"/>
                      </a:lnTo>
                      <a:lnTo>
                        <a:pt x="48303" y="57260"/>
                      </a:lnTo>
                      <a:lnTo>
                        <a:pt x="49501" y="57610"/>
                      </a:lnTo>
                      <a:lnTo>
                        <a:pt x="50936" y="57195"/>
                      </a:lnTo>
                      <a:lnTo>
                        <a:pt x="52745" y="55760"/>
                      </a:lnTo>
                      <a:lnTo>
                        <a:pt x="55100" y="54628"/>
                      </a:lnTo>
                      <a:lnTo>
                        <a:pt x="55972" y="50993"/>
                      </a:lnTo>
                      <a:lnTo>
                        <a:pt x="55891" y="45630"/>
                      </a:lnTo>
                      <a:lnTo>
                        <a:pt x="56420" y="43177"/>
                      </a:lnTo>
                      <a:lnTo>
                        <a:pt x="57667" y="42729"/>
                      </a:lnTo>
                      <a:lnTo>
                        <a:pt x="61628" y="43756"/>
                      </a:lnTo>
                      <a:lnTo>
                        <a:pt x="62655" y="43813"/>
                      </a:lnTo>
                      <a:lnTo>
                        <a:pt x="63804" y="43479"/>
                      </a:lnTo>
                      <a:lnTo>
                        <a:pt x="64644" y="42533"/>
                      </a:lnTo>
                      <a:lnTo>
                        <a:pt x="64611" y="40806"/>
                      </a:lnTo>
                      <a:lnTo>
                        <a:pt x="64423" y="39274"/>
                      </a:lnTo>
                      <a:lnTo>
                        <a:pt x="65711" y="34286"/>
                      </a:lnTo>
                      <a:lnTo>
                        <a:pt x="68066" y="30553"/>
                      </a:lnTo>
                      <a:lnTo>
                        <a:pt x="72834" y="25875"/>
                      </a:lnTo>
                      <a:lnTo>
                        <a:pt x="74326" y="24938"/>
                      </a:lnTo>
                      <a:lnTo>
                        <a:pt x="76053" y="24457"/>
                      </a:lnTo>
                      <a:lnTo>
                        <a:pt x="84586" y="27668"/>
                      </a:lnTo>
                      <a:lnTo>
                        <a:pt x="85972" y="26878"/>
                      </a:lnTo>
                      <a:lnTo>
                        <a:pt x="88058" y="18915"/>
                      </a:lnTo>
                      <a:lnTo>
                        <a:pt x="90372" y="18149"/>
                      </a:lnTo>
                      <a:lnTo>
                        <a:pt x="93143" y="18019"/>
                      </a:lnTo>
                      <a:lnTo>
                        <a:pt x="94953" y="17334"/>
                      </a:lnTo>
                      <a:lnTo>
                        <a:pt x="95890" y="16772"/>
                      </a:lnTo>
                      <a:lnTo>
                        <a:pt x="99948" y="13748"/>
                      </a:lnTo>
                      <a:lnTo>
                        <a:pt x="107104" y="9633"/>
                      </a:lnTo>
                      <a:lnTo>
                        <a:pt x="110959" y="7864"/>
                      </a:lnTo>
                      <a:lnTo>
                        <a:pt x="111717" y="7204"/>
                      </a:lnTo>
                      <a:lnTo>
                        <a:pt x="114479" y="4279"/>
                      </a:lnTo>
                      <a:lnTo>
                        <a:pt x="118138" y="913"/>
                      </a:lnTo>
                      <a:lnTo>
                        <a:pt x="120461" y="244"/>
                      </a:lnTo>
                      <a:lnTo>
                        <a:pt x="123689" y="0"/>
                      </a:lnTo>
                      <a:lnTo>
                        <a:pt x="125717" y="554"/>
                      </a:lnTo>
                      <a:lnTo>
                        <a:pt x="126272" y="1499"/>
                      </a:lnTo>
                      <a:lnTo>
                        <a:pt x="126940" y="1988"/>
                      </a:lnTo>
                      <a:lnTo>
                        <a:pt x="131145" y="562"/>
                      </a:lnTo>
                      <a:lnTo>
                        <a:pt x="137176" y="2828"/>
                      </a:lnTo>
                      <a:close/>
                    </a:path>
                  </a:pathLst>
                </a:custGeom>
                <a:solidFill>
                  <a:srgbClr val="D6D6D2"/>
                </a:solidFill>
                <a:ln w="6112" cap="rnd">
                  <a:solidFill>
                    <a:srgbClr val="FFFFFF"/>
                  </a:solidFill>
                  <a:prstDash val="solid"/>
                  <a:round/>
                </a:ln>
              </p:spPr>
              <p:txBody>
                <a:bodyPr rtlCol="0" anchor="ctr"/>
                <a:lstStyle/>
                <a:p>
                  <a:endParaRPr lang="en-US"/>
                </a:p>
              </p:txBody>
            </p:sp>
            <p:sp>
              <p:nvSpPr>
                <p:cNvPr id="777" name="Freeform: Shape 776">
                  <a:extLst>
                    <a:ext uri="{FF2B5EF4-FFF2-40B4-BE49-F238E27FC236}">
                      <a16:creationId xmlns:a16="http://schemas.microsoft.com/office/drawing/2014/main" id="{7D859EBC-B2B8-464F-971A-B776CCA846F9}"/>
                    </a:ext>
                  </a:extLst>
                </p:cNvPr>
                <p:cNvSpPr/>
                <p:nvPr/>
              </p:nvSpPr>
              <p:spPr>
                <a:xfrm>
                  <a:off x="5962564" y="4152290"/>
                  <a:ext cx="76167" cy="185903"/>
                </a:xfrm>
                <a:custGeom>
                  <a:avLst/>
                  <a:gdLst>
                    <a:gd name="connsiteX0" fmla="*/ 70242 w 76167"/>
                    <a:gd name="connsiteY0" fmla="*/ 20814 h 185903"/>
                    <a:gd name="connsiteX1" fmla="*/ 69208 w 76167"/>
                    <a:gd name="connsiteY1" fmla="*/ 22762 h 185903"/>
                    <a:gd name="connsiteX2" fmla="*/ 67643 w 76167"/>
                    <a:gd name="connsiteY2" fmla="*/ 26772 h 185903"/>
                    <a:gd name="connsiteX3" fmla="*/ 67570 w 76167"/>
                    <a:gd name="connsiteY3" fmla="*/ 29918 h 185903"/>
                    <a:gd name="connsiteX4" fmla="*/ 71327 w 76167"/>
                    <a:gd name="connsiteY4" fmla="*/ 36527 h 185903"/>
                    <a:gd name="connsiteX5" fmla="*/ 71750 w 76167"/>
                    <a:gd name="connsiteY5" fmla="*/ 37195 h 185903"/>
                    <a:gd name="connsiteX6" fmla="*/ 72720 w 76167"/>
                    <a:gd name="connsiteY6" fmla="*/ 38230 h 185903"/>
                    <a:gd name="connsiteX7" fmla="*/ 73242 w 76167"/>
                    <a:gd name="connsiteY7" fmla="*/ 39469 h 185903"/>
                    <a:gd name="connsiteX8" fmla="*/ 73682 w 76167"/>
                    <a:gd name="connsiteY8" fmla="*/ 42713 h 185903"/>
                    <a:gd name="connsiteX9" fmla="*/ 73943 w 76167"/>
                    <a:gd name="connsiteY9" fmla="*/ 46388 h 185903"/>
                    <a:gd name="connsiteX10" fmla="*/ 74244 w 76167"/>
                    <a:gd name="connsiteY10" fmla="*/ 48849 h 185903"/>
                    <a:gd name="connsiteX11" fmla="*/ 76045 w 76167"/>
                    <a:gd name="connsiteY11" fmla="*/ 52329 h 185903"/>
                    <a:gd name="connsiteX12" fmla="*/ 76167 w 76167"/>
                    <a:gd name="connsiteY12" fmla="*/ 53731 h 185903"/>
                    <a:gd name="connsiteX13" fmla="*/ 74912 w 76167"/>
                    <a:gd name="connsiteY13" fmla="*/ 58906 h 185903"/>
                    <a:gd name="connsiteX14" fmla="*/ 74611 w 76167"/>
                    <a:gd name="connsiteY14" fmla="*/ 59460 h 185903"/>
                    <a:gd name="connsiteX15" fmla="*/ 74285 w 76167"/>
                    <a:gd name="connsiteY15" fmla="*/ 59607 h 185903"/>
                    <a:gd name="connsiteX16" fmla="*/ 72345 w 76167"/>
                    <a:gd name="connsiteY16" fmla="*/ 59159 h 185903"/>
                    <a:gd name="connsiteX17" fmla="*/ 71514 w 76167"/>
                    <a:gd name="connsiteY17" fmla="*/ 59721 h 185903"/>
                    <a:gd name="connsiteX18" fmla="*/ 70454 w 76167"/>
                    <a:gd name="connsiteY18" fmla="*/ 61473 h 185903"/>
                    <a:gd name="connsiteX19" fmla="*/ 69810 w 76167"/>
                    <a:gd name="connsiteY19" fmla="*/ 63234 h 185903"/>
                    <a:gd name="connsiteX20" fmla="*/ 69770 w 76167"/>
                    <a:gd name="connsiteY20" fmla="*/ 63959 h 185903"/>
                    <a:gd name="connsiteX21" fmla="*/ 71489 w 76167"/>
                    <a:gd name="connsiteY21" fmla="*/ 67227 h 185903"/>
                    <a:gd name="connsiteX22" fmla="*/ 70405 w 76167"/>
                    <a:gd name="connsiteY22" fmla="*/ 71921 h 185903"/>
                    <a:gd name="connsiteX23" fmla="*/ 69289 w 76167"/>
                    <a:gd name="connsiteY23" fmla="*/ 74855 h 185903"/>
                    <a:gd name="connsiteX24" fmla="*/ 67300 w 76167"/>
                    <a:gd name="connsiteY24" fmla="*/ 76526 h 185903"/>
                    <a:gd name="connsiteX25" fmla="*/ 65516 w 76167"/>
                    <a:gd name="connsiteY25" fmla="*/ 76925 h 185903"/>
                    <a:gd name="connsiteX26" fmla="*/ 64269 w 76167"/>
                    <a:gd name="connsiteY26" fmla="*/ 77707 h 185903"/>
                    <a:gd name="connsiteX27" fmla="*/ 63543 w 76167"/>
                    <a:gd name="connsiteY27" fmla="*/ 78743 h 185903"/>
                    <a:gd name="connsiteX28" fmla="*/ 63649 w 76167"/>
                    <a:gd name="connsiteY28" fmla="*/ 82108 h 185903"/>
                    <a:gd name="connsiteX29" fmla="*/ 61009 w 76167"/>
                    <a:gd name="connsiteY29" fmla="*/ 85165 h 185903"/>
                    <a:gd name="connsiteX30" fmla="*/ 59558 w 76167"/>
                    <a:gd name="connsiteY30" fmla="*/ 87300 h 185903"/>
                    <a:gd name="connsiteX31" fmla="*/ 58849 w 76167"/>
                    <a:gd name="connsiteY31" fmla="*/ 88596 h 185903"/>
                    <a:gd name="connsiteX32" fmla="*/ 59142 w 76167"/>
                    <a:gd name="connsiteY32" fmla="*/ 92548 h 185903"/>
                    <a:gd name="connsiteX33" fmla="*/ 58214 w 76167"/>
                    <a:gd name="connsiteY33" fmla="*/ 96533 h 185903"/>
                    <a:gd name="connsiteX34" fmla="*/ 56584 w 76167"/>
                    <a:gd name="connsiteY34" fmla="*/ 99687 h 185903"/>
                    <a:gd name="connsiteX35" fmla="*/ 52949 w 76167"/>
                    <a:gd name="connsiteY35" fmla="*/ 100356 h 185903"/>
                    <a:gd name="connsiteX36" fmla="*/ 49884 w 76167"/>
                    <a:gd name="connsiteY36" fmla="*/ 100747 h 185903"/>
                    <a:gd name="connsiteX37" fmla="*/ 48849 w 76167"/>
                    <a:gd name="connsiteY37" fmla="*/ 108758 h 185903"/>
                    <a:gd name="connsiteX38" fmla="*/ 48890 w 76167"/>
                    <a:gd name="connsiteY38" fmla="*/ 113835 h 185903"/>
                    <a:gd name="connsiteX39" fmla="*/ 48621 w 76167"/>
                    <a:gd name="connsiteY39" fmla="*/ 119011 h 185903"/>
                    <a:gd name="connsiteX40" fmla="*/ 48108 w 76167"/>
                    <a:gd name="connsiteY40" fmla="*/ 121121 h 185903"/>
                    <a:gd name="connsiteX41" fmla="*/ 48328 w 76167"/>
                    <a:gd name="connsiteY41" fmla="*/ 124096 h 185903"/>
                    <a:gd name="connsiteX42" fmla="*/ 48092 w 76167"/>
                    <a:gd name="connsiteY42" fmla="*/ 130811 h 185903"/>
                    <a:gd name="connsiteX43" fmla="*/ 47692 w 76167"/>
                    <a:gd name="connsiteY43" fmla="*/ 136109 h 185903"/>
                    <a:gd name="connsiteX44" fmla="*/ 48222 w 76167"/>
                    <a:gd name="connsiteY44" fmla="*/ 137527 h 185903"/>
                    <a:gd name="connsiteX45" fmla="*/ 48540 w 76167"/>
                    <a:gd name="connsiteY45" fmla="*/ 140640 h 185903"/>
                    <a:gd name="connsiteX46" fmla="*/ 48515 w 76167"/>
                    <a:gd name="connsiteY46" fmla="*/ 143851 h 185903"/>
                    <a:gd name="connsiteX47" fmla="*/ 49298 w 76167"/>
                    <a:gd name="connsiteY47" fmla="*/ 146092 h 185903"/>
                    <a:gd name="connsiteX48" fmla="*/ 50145 w 76167"/>
                    <a:gd name="connsiteY48" fmla="*/ 148048 h 185903"/>
                    <a:gd name="connsiteX49" fmla="*/ 50113 w 76167"/>
                    <a:gd name="connsiteY49" fmla="*/ 149050 h 185903"/>
                    <a:gd name="connsiteX50" fmla="*/ 49664 w 76167"/>
                    <a:gd name="connsiteY50" fmla="*/ 149686 h 185903"/>
                    <a:gd name="connsiteX51" fmla="*/ 49281 w 76167"/>
                    <a:gd name="connsiteY51" fmla="*/ 150509 h 185903"/>
                    <a:gd name="connsiteX52" fmla="*/ 49289 w 76167"/>
                    <a:gd name="connsiteY52" fmla="*/ 158072 h 185903"/>
                    <a:gd name="connsiteX53" fmla="*/ 49436 w 76167"/>
                    <a:gd name="connsiteY53" fmla="*/ 160338 h 185903"/>
                    <a:gd name="connsiteX54" fmla="*/ 49208 w 76167"/>
                    <a:gd name="connsiteY54" fmla="*/ 161780 h 185903"/>
                    <a:gd name="connsiteX55" fmla="*/ 48564 w 76167"/>
                    <a:gd name="connsiteY55" fmla="*/ 162970 h 185903"/>
                    <a:gd name="connsiteX56" fmla="*/ 48817 w 76167"/>
                    <a:gd name="connsiteY56" fmla="*/ 166800 h 185903"/>
                    <a:gd name="connsiteX57" fmla="*/ 49347 w 76167"/>
                    <a:gd name="connsiteY57" fmla="*/ 169237 h 185903"/>
                    <a:gd name="connsiteX58" fmla="*/ 49876 w 76167"/>
                    <a:gd name="connsiteY58" fmla="*/ 171046 h 185903"/>
                    <a:gd name="connsiteX59" fmla="*/ 49363 w 76167"/>
                    <a:gd name="connsiteY59" fmla="*/ 172546 h 185903"/>
                    <a:gd name="connsiteX60" fmla="*/ 48915 w 76167"/>
                    <a:gd name="connsiteY60" fmla="*/ 174526 h 185903"/>
                    <a:gd name="connsiteX61" fmla="*/ 48230 w 76167"/>
                    <a:gd name="connsiteY61" fmla="*/ 179579 h 185903"/>
                    <a:gd name="connsiteX62" fmla="*/ 48189 w 76167"/>
                    <a:gd name="connsiteY62" fmla="*/ 181332 h 185903"/>
                    <a:gd name="connsiteX63" fmla="*/ 37782 w 76167"/>
                    <a:gd name="connsiteY63" fmla="*/ 182562 h 185903"/>
                    <a:gd name="connsiteX64" fmla="*/ 26160 w 76167"/>
                    <a:gd name="connsiteY64" fmla="*/ 184591 h 185903"/>
                    <a:gd name="connsiteX65" fmla="*/ 21311 w 76167"/>
                    <a:gd name="connsiteY65" fmla="*/ 185903 h 185903"/>
                    <a:gd name="connsiteX66" fmla="*/ 21018 w 76167"/>
                    <a:gd name="connsiteY66" fmla="*/ 184885 h 185903"/>
                    <a:gd name="connsiteX67" fmla="*/ 25166 w 76167"/>
                    <a:gd name="connsiteY67" fmla="*/ 183573 h 185903"/>
                    <a:gd name="connsiteX68" fmla="*/ 24302 w 76167"/>
                    <a:gd name="connsiteY68" fmla="*/ 179612 h 185903"/>
                    <a:gd name="connsiteX69" fmla="*/ 21727 w 76167"/>
                    <a:gd name="connsiteY69" fmla="*/ 174950 h 185903"/>
                    <a:gd name="connsiteX70" fmla="*/ 20709 w 76167"/>
                    <a:gd name="connsiteY70" fmla="*/ 174095 h 185903"/>
                    <a:gd name="connsiteX71" fmla="*/ 20187 w 76167"/>
                    <a:gd name="connsiteY71" fmla="*/ 171772 h 185903"/>
                    <a:gd name="connsiteX72" fmla="*/ 20823 w 76167"/>
                    <a:gd name="connsiteY72" fmla="*/ 170240 h 185903"/>
                    <a:gd name="connsiteX73" fmla="*/ 20521 w 76167"/>
                    <a:gd name="connsiteY73" fmla="*/ 169221 h 185903"/>
                    <a:gd name="connsiteX74" fmla="*/ 20301 w 76167"/>
                    <a:gd name="connsiteY74" fmla="*/ 166075 h 185903"/>
                    <a:gd name="connsiteX75" fmla="*/ 19038 w 76167"/>
                    <a:gd name="connsiteY75" fmla="*/ 162603 h 185903"/>
                    <a:gd name="connsiteX76" fmla="*/ 21360 w 76167"/>
                    <a:gd name="connsiteY76" fmla="*/ 162465 h 185903"/>
                    <a:gd name="connsiteX77" fmla="*/ 21360 w 76167"/>
                    <a:gd name="connsiteY77" fmla="*/ 151283 h 185903"/>
                    <a:gd name="connsiteX78" fmla="*/ 21360 w 76167"/>
                    <a:gd name="connsiteY78" fmla="*/ 140558 h 185903"/>
                    <a:gd name="connsiteX79" fmla="*/ 21360 w 76167"/>
                    <a:gd name="connsiteY79" fmla="*/ 131398 h 185903"/>
                    <a:gd name="connsiteX80" fmla="*/ 21360 w 76167"/>
                    <a:gd name="connsiteY80" fmla="*/ 124153 h 185903"/>
                    <a:gd name="connsiteX81" fmla="*/ 20912 w 76167"/>
                    <a:gd name="connsiteY81" fmla="*/ 115482 h 185903"/>
                    <a:gd name="connsiteX82" fmla="*/ 20847 w 76167"/>
                    <a:gd name="connsiteY82" fmla="*/ 109108 h 185903"/>
                    <a:gd name="connsiteX83" fmla="*/ 20749 w 76167"/>
                    <a:gd name="connsiteY83" fmla="*/ 100698 h 185903"/>
                    <a:gd name="connsiteX84" fmla="*/ 19910 w 76167"/>
                    <a:gd name="connsiteY84" fmla="*/ 98074 h 185903"/>
                    <a:gd name="connsiteX85" fmla="*/ 16397 w 76167"/>
                    <a:gd name="connsiteY85" fmla="*/ 93624 h 185903"/>
                    <a:gd name="connsiteX86" fmla="*/ 15435 w 76167"/>
                    <a:gd name="connsiteY86" fmla="*/ 91309 h 185903"/>
                    <a:gd name="connsiteX87" fmla="*/ 15264 w 76167"/>
                    <a:gd name="connsiteY87" fmla="*/ 88253 h 185903"/>
                    <a:gd name="connsiteX88" fmla="*/ 14474 w 76167"/>
                    <a:gd name="connsiteY88" fmla="*/ 85099 h 185903"/>
                    <a:gd name="connsiteX89" fmla="*/ 14425 w 76167"/>
                    <a:gd name="connsiteY89" fmla="*/ 79590 h 185903"/>
                    <a:gd name="connsiteX90" fmla="*/ 14376 w 76167"/>
                    <a:gd name="connsiteY90" fmla="*/ 73176 h 185903"/>
                    <a:gd name="connsiteX91" fmla="*/ 14058 w 76167"/>
                    <a:gd name="connsiteY91" fmla="*/ 72158 h 185903"/>
                    <a:gd name="connsiteX92" fmla="*/ 10244 w 76167"/>
                    <a:gd name="connsiteY92" fmla="*/ 69093 h 185903"/>
                    <a:gd name="connsiteX93" fmla="*/ 4841 w 76167"/>
                    <a:gd name="connsiteY93" fmla="*/ 64758 h 185903"/>
                    <a:gd name="connsiteX94" fmla="*/ 717 w 76167"/>
                    <a:gd name="connsiteY94" fmla="*/ 61457 h 185903"/>
                    <a:gd name="connsiteX95" fmla="*/ 407 w 76167"/>
                    <a:gd name="connsiteY95" fmla="*/ 61204 h 185903"/>
                    <a:gd name="connsiteX96" fmla="*/ 0 w 76167"/>
                    <a:gd name="connsiteY96" fmla="*/ 60389 h 185903"/>
                    <a:gd name="connsiteX97" fmla="*/ 595 w 76167"/>
                    <a:gd name="connsiteY97" fmla="*/ 50626 h 185903"/>
                    <a:gd name="connsiteX98" fmla="*/ 1450 w 76167"/>
                    <a:gd name="connsiteY98" fmla="*/ 49347 h 185903"/>
                    <a:gd name="connsiteX99" fmla="*/ 2763 w 76167"/>
                    <a:gd name="connsiteY99" fmla="*/ 45320 h 185903"/>
                    <a:gd name="connsiteX100" fmla="*/ 3398 w 76167"/>
                    <a:gd name="connsiteY100" fmla="*/ 42077 h 185903"/>
                    <a:gd name="connsiteX101" fmla="*/ 4001 w 76167"/>
                    <a:gd name="connsiteY101" fmla="*/ 42085 h 185903"/>
                    <a:gd name="connsiteX102" fmla="*/ 4832 w 76167"/>
                    <a:gd name="connsiteY102" fmla="*/ 41034 h 185903"/>
                    <a:gd name="connsiteX103" fmla="*/ 5501 w 76167"/>
                    <a:gd name="connsiteY103" fmla="*/ 39485 h 185903"/>
                    <a:gd name="connsiteX104" fmla="*/ 6218 w 76167"/>
                    <a:gd name="connsiteY104" fmla="*/ 39811 h 185903"/>
                    <a:gd name="connsiteX105" fmla="*/ 7408 w 76167"/>
                    <a:gd name="connsiteY105" fmla="*/ 40113 h 185903"/>
                    <a:gd name="connsiteX106" fmla="*/ 7962 w 76167"/>
                    <a:gd name="connsiteY106" fmla="*/ 39559 h 185903"/>
                    <a:gd name="connsiteX107" fmla="*/ 7889 w 76167"/>
                    <a:gd name="connsiteY107" fmla="*/ 38361 h 185903"/>
                    <a:gd name="connsiteX108" fmla="*/ 8296 w 76167"/>
                    <a:gd name="connsiteY108" fmla="*/ 37146 h 185903"/>
                    <a:gd name="connsiteX109" fmla="*/ 9225 w 76167"/>
                    <a:gd name="connsiteY109" fmla="*/ 36608 h 185903"/>
                    <a:gd name="connsiteX110" fmla="*/ 9478 w 76167"/>
                    <a:gd name="connsiteY110" fmla="*/ 35508 h 185903"/>
                    <a:gd name="connsiteX111" fmla="*/ 9486 w 76167"/>
                    <a:gd name="connsiteY111" fmla="*/ 34253 h 185903"/>
                    <a:gd name="connsiteX112" fmla="*/ 10301 w 76167"/>
                    <a:gd name="connsiteY112" fmla="*/ 33927 h 185903"/>
                    <a:gd name="connsiteX113" fmla="*/ 11686 w 76167"/>
                    <a:gd name="connsiteY113" fmla="*/ 33976 h 185903"/>
                    <a:gd name="connsiteX114" fmla="*/ 12820 w 76167"/>
                    <a:gd name="connsiteY114" fmla="*/ 33593 h 185903"/>
                    <a:gd name="connsiteX115" fmla="*/ 13732 w 76167"/>
                    <a:gd name="connsiteY115" fmla="*/ 32949 h 185903"/>
                    <a:gd name="connsiteX116" fmla="*/ 14922 w 76167"/>
                    <a:gd name="connsiteY116" fmla="*/ 30423 h 185903"/>
                    <a:gd name="connsiteX117" fmla="*/ 15582 w 76167"/>
                    <a:gd name="connsiteY117" fmla="*/ 29535 h 185903"/>
                    <a:gd name="connsiteX118" fmla="*/ 15778 w 76167"/>
                    <a:gd name="connsiteY118" fmla="*/ 28915 h 185903"/>
                    <a:gd name="connsiteX119" fmla="*/ 16454 w 76167"/>
                    <a:gd name="connsiteY119" fmla="*/ 28353 h 185903"/>
                    <a:gd name="connsiteX120" fmla="*/ 18304 w 76167"/>
                    <a:gd name="connsiteY120" fmla="*/ 28100 h 185903"/>
                    <a:gd name="connsiteX121" fmla="*/ 19796 w 76167"/>
                    <a:gd name="connsiteY121" fmla="*/ 28296 h 185903"/>
                    <a:gd name="connsiteX122" fmla="*/ 20741 w 76167"/>
                    <a:gd name="connsiteY122" fmla="*/ 29763 h 185903"/>
                    <a:gd name="connsiteX123" fmla="*/ 27138 w 76167"/>
                    <a:gd name="connsiteY123" fmla="*/ 28467 h 185903"/>
                    <a:gd name="connsiteX124" fmla="*/ 30178 w 76167"/>
                    <a:gd name="connsiteY124" fmla="*/ 29225 h 185903"/>
                    <a:gd name="connsiteX125" fmla="*/ 36397 w 76167"/>
                    <a:gd name="connsiteY125" fmla="*/ 22852 h 185903"/>
                    <a:gd name="connsiteX126" fmla="*/ 37790 w 76167"/>
                    <a:gd name="connsiteY126" fmla="*/ 20969 h 185903"/>
                    <a:gd name="connsiteX127" fmla="*/ 39673 w 76167"/>
                    <a:gd name="connsiteY127" fmla="*/ 16462 h 185903"/>
                    <a:gd name="connsiteX128" fmla="*/ 40316 w 76167"/>
                    <a:gd name="connsiteY128" fmla="*/ 14743 h 185903"/>
                    <a:gd name="connsiteX129" fmla="*/ 40911 w 76167"/>
                    <a:gd name="connsiteY129" fmla="*/ 11654 h 185903"/>
                    <a:gd name="connsiteX130" fmla="*/ 39673 w 76167"/>
                    <a:gd name="connsiteY130" fmla="*/ 5925 h 185903"/>
                    <a:gd name="connsiteX131" fmla="*/ 39754 w 76167"/>
                    <a:gd name="connsiteY131" fmla="*/ 4906 h 185903"/>
                    <a:gd name="connsiteX132" fmla="*/ 42305 w 76167"/>
                    <a:gd name="connsiteY132" fmla="*/ 3675 h 185903"/>
                    <a:gd name="connsiteX133" fmla="*/ 45516 w 76167"/>
                    <a:gd name="connsiteY133" fmla="*/ 2714 h 185903"/>
                    <a:gd name="connsiteX134" fmla="*/ 46747 w 76167"/>
                    <a:gd name="connsiteY134" fmla="*/ 2649 h 185903"/>
                    <a:gd name="connsiteX135" fmla="*/ 47562 w 76167"/>
                    <a:gd name="connsiteY135" fmla="*/ 2151 h 185903"/>
                    <a:gd name="connsiteX136" fmla="*/ 48735 w 76167"/>
                    <a:gd name="connsiteY136" fmla="*/ 921 h 185903"/>
                    <a:gd name="connsiteX137" fmla="*/ 50650 w 76167"/>
                    <a:gd name="connsiteY137" fmla="*/ 0 h 185903"/>
                    <a:gd name="connsiteX138" fmla="*/ 51767 w 76167"/>
                    <a:gd name="connsiteY138" fmla="*/ 310 h 185903"/>
                    <a:gd name="connsiteX139" fmla="*/ 52444 w 76167"/>
                    <a:gd name="connsiteY139" fmla="*/ 489 h 185903"/>
                    <a:gd name="connsiteX140" fmla="*/ 59192 w 76167"/>
                    <a:gd name="connsiteY140" fmla="*/ 8052 h 185903"/>
                    <a:gd name="connsiteX141" fmla="*/ 62101 w 76167"/>
                    <a:gd name="connsiteY141" fmla="*/ 11866 h 185903"/>
                    <a:gd name="connsiteX142" fmla="*/ 62891 w 76167"/>
                    <a:gd name="connsiteY142" fmla="*/ 13830 h 185903"/>
                    <a:gd name="connsiteX143" fmla="*/ 64399 w 76167"/>
                    <a:gd name="connsiteY143" fmla="*/ 15240 h 185903"/>
                    <a:gd name="connsiteX144" fmla="*/ 66632 w 76167"/>
                    <a:gd name="connsiteY144" fmla="*/ 16104 h 185903"/>
                    <a:gd name="connsiteX145" fmla="*/ 68661 w 76167"/>
                    <a:gd name="connsiteY145" fmla="*/ 18060 h 185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76167" h="185903">
                      <a:moveTo>
                        <a:pt x="70242" y="20814"/>
                      </a:moveTo>
                      <a:lnTo>
                        <a:pt x="69208" y="22762"/>
                      </a:lnTo>
                      <a:lnTo>
                        <a:pt x="67643" y="26772"/>
                      </a:lnTo>
                      <a:lnTo>
                        <a:pt x="67570" y="29918"/>
                      </a:lnTo>
                      <a:lnTo>
                        <a:pt x="71327" y="36527"/>
                      </a:lnTo>
                      <a:lnTo>
                        <a:pt x="71750" y="37195"/>
                      </a:lnTo>
                      <a:lnTo>
                        <a:pt x="72720" y="38230"/>
                      </a:lnTo>
                      <a:lnTo>
                        <a:pt x="73242" y="39469"/>
                      </a:lnTo>
                      <a:lnTo>
                        <a:pt x="73682" y="42713"/>
                      </a:lnTo>
                      <a:lnTo>
                        <a:pt x="73943" y="46388"/>
                      </a:lnTo>
                      <a:lnTo>
                        <a:pt x="74244" y="48849"/>
                      </a:lnTo>
                      <a:lnTo>
                        <a:pt x="76045" y="52329"/>
                      </a:lnTo>
                      <a:lnTo>
                        <a:pt x="76167" y="53731"/>
                      </a:lnTo>
                      <a:lnTo>
                        <a:pt x="74912" y="58906"/>
                      </a:lnTo>
                      <a:lnTo>
                        <a:pt x="74611" y="59460"/>
                      </a:lnTo>
                      <a:lnTo>
                        <a:pt x="74285" y="59607"/>
                      </a:lnTo>
                      <a:lnTo>
                        <a:pt x="72345" y="59159"/>
                      </a:lnTo>
                      <a:lnTo>
                        <a:pt x="71514" y="59721"/>
                      </a:lnTo>
                      <a:lnTo>
                        <a:pt x="70454" y="61473"/>
                      </a:lnTo>
                      <a:lnTo>
                        <a:pt x="69810" y="63234"/>
                      </a:lnTo>
                      <a:lnTo>
                        <a:pt x="69770" y="63959"/>
                      </a:lnTo>
                      <a:lnTo>
                        <a:pt x="71489" y="67227"/>
                      </a:lnTo>
                      <a:lnTo>
                        <a:pt x="70405" y="71921"/>
                      </a:lnTo>
                      <a:lnTo>
                        <a:pt x="69289" y="74855"/>
                      </a:lnTo>
                      <a:lnTo>
                        <a:pt x="67300" y="76526"/>
                      </a:lnTo>
                      <a:lnTo>
                        <a:pt x="65516" y="76925"/>
                      </a:lnTo>
                      <a:lnTo>
                        <a:pt x="64269" y="77707"/>
                      </a:lnTo>
                      <a:lnTo>
                        <a:pt x="63543" y="78743"/>
                      </a:lnTo>
                      <a:lnTo>
                        <a:pt x="63649" y="82108"/>
                      </a:lnTo>
                      <a:lnTo>
                        <a:pt x="61009" y="85165"/>
                      </a:lnTo>
                      <a:lnTo>
                        <a:pt x="59558" y="87300"/>
                      </a:lnTo>
                      <a:lnTo>
                        <a:pt x="58849" y="88596"/>
                      </a:lnTo>
                      <a:lnTo>
                        <a:pt x="59142" y="92548"/>
                      </a:lnTo>
                      <a:lnTo>
                        <a:pt x="58214" y="96533"/>
                      </a:lnTo>
                      <a:lnTo>
                        <a:pt x="56584" y="99687"/>
                      </a:lnTo>
                      <a:lnTo>
                        <a:pt x="52949" y="100356"/>
                      </a:lnTo>
                      <a:lnTo>
                        <a:pt x="49884" y="100747"/>
                      </a:lnTo>
                      <a:lnTo>
                        <a:pt x="48849" y="108758"/>
                      </a:lnTo>
                      <a:lnTo>
                        <a:pt x="48890" y="113835"/>
                      </a:lnTo>
                      <a:lnTo>
                        <a:pt x="48621" y="119011"/>
                      </a:lnTo>
                      <a:lnTo>
                        <a:pt x="48108" y="121121"/>
                      </a:lnTo>
                      <a:lnTo>
                        <a:pt x="48328" y="124096"/>
                      </a:lnTo>
                      <a:lnTo>
                        <a:pt x="48092" y="130811"/>
                      </a:lnTo>
                      <a:lnTo>
                        <a:pt x="47692" y="136109"/>
                      </a:lnTo>
                      <a:lnTo>
                        <a:pt x="48222" y="137527"/>
                      </a:lnTo>
                      <a:lnTo>
                        <a:pt x="48540" y="140640"/>
                      </a:lnTo>
                      <a:lnTo>
                        <a:pt x="48515" y="143851"/>
                      </a:lnTo>
                      <a:lnTo>
                        <a:pt x="49298" y="146092"/>
                      </a:lnTo>
                      <a:lnTo>
                        <a:pt x="50145" y="148048"/>
                      </a:lnTo>
                      <a:lnTo>
                        <a:pt x="50113" y="149050"/>
                      </a:lnTo>
                      <a:lnTo>
                        <a:pt x="49664" y="149686"/>
                      </a:lnTo>
                      <a:lnTo>
                        <a:pt x="49281" y="150509"/>
                      </a:lnTo>
                      <a:lnTo>
                        <a:pt x="49289" y="158072"/>
                      </a:lnTo>
                      <a:lnTo>
                        <a:pt x="49436" y="160338"/>
                      </a:lnTo>
                      <a:lnTo>
                        <a:pt x="49208" y="161780"/>
                      </a:lnTo>
                      <a:lnTo>
                        <a:pt x="48564" y="162970"/>
                      </a:lnTo>
                      <a:lnTo>
                        <a:pt x="48817" y="166800"/>
                      </a:lnTo>
                      <a:lnTo>
                        <a:pt x="49347" y="169237"/>
                      </a:lnTo>
                      <a:lnTo>
                        <a:pt x="49876" y="171046"/>
                      </a:lnTo>
                      <a:lnTo>
                        <a:pt x="49363" y="172546"/>
                      </a:lnTo>
                      <a:lnTo>
                        <a:pt x="48915" y="174526"/>
                      </a:lnTo>
                      <a:lnTo>
                        <a:pt x="48230" y="179579"/>
                      </a:lnTo>
                      <a:lnTo>
                        <a:pt x="48189" y="181332"/>
                      </a:lnTo>
                      <a:lnTo>
                        <a:pt x="37782" y="182562"/>
                      </a:lnTo>
                      <a:lnTo>
                        <a:pt x="26160" y="184591"/>
                      </a:lnTo>
                      <a:lnTo>
                        <a:pt x="21311" y="185903"/>
                      </a:lnTo>
                      <a:lnTo>
                        <a:pt x="21018" y="184885"/>
                      </a:lnTo>
                      <a:lnTo>
                        <a:pt x="25166" y="183573"/>
                      </a:lnTo>
                      <a:lnTo>
                        <a:pt x="24302" y="179612"/>
                      </a:lnTo>
                      <a:lnTo>
                        <a:pt x="21727" y="174950"/>
                      </a:lnTo>
                      <a:lnTo>
                        <a:pt x="20709" y="174095"/>
                      </a:lnTo>
                      <a:lnTo>
                        <a:pt x="20187" y="171772"/>
                      </a:lnTo>
                      <a:lnTo>
                        <a:pt x="20823" y="170240"/>
                      </a:lnTo>
                      <a:lnTo>
                        <a:pt x="20521" y="169221"/>
                      </a:lnTo>
                      <a:lnTo>
                        <a:pt x="20301" y="166075"/>
                      </a:lnTo>
                      <a:lnTo>
                        <a:pt x="19038" y="162603"/>
                      </a:lnTo>
                      <a:lnTo>
                        <a:pt x="21360" y="162465"/>
                      </a:lnTo>
                      <a:lnTo>
                        <a:pt x="21360" y="151283"/>
                      </a:lnTo>
                      <a:lnTo>
                        <a:pt x="21360" y="140558"/>
                      </a:lnTo>
                      <a:lnTo>
                        <a:pt x="21360" y="131398"/>
                      </a:lnTo>
                      <a:lnTo>
                        <a:pt x="21360" y="124153"/>
                      </a:lnTo>
                      <a:lnTo>
                        <a:pt x="20912" y="115482"/>
                      </a:lnTo>
                      <a:lnTo>
                        <a:pt x="20847" y="109108"/>
                      </a:lnTo>
                      <a:lnTo>
                        <a:pt x="20749" y="100698"/>
                      </a:lnTo>
                      <a:lnTo>
                        <a:pt x="19910" y="98074"/>
                      </a:lnTo>
                      <a:lnTo>
                        <a:pt x="16397" y="93624"/>
                      </a:lnTo>
                      <a:lnTo>
                        <a:pt x="15435" y="91309"/>
                      </a:lnTo>
                      <a:lnTo>
                        <a:pt x="15264" y="88253"/>
                      </a:lnTo>
                      <a:lnTo>
                        <a:pt x="14474" y="85099"/>
                      </a:lnTo>
                      <a:lnTo>
                        <a:pt x="14425" y="79590"/>
                      </a:lnTo>
                      <a:lnTo>
                        <a:pt x="14376" y="73176"/>
                      </a:lnTo>
                      <a:lnTo>
                        <a:pt x="14058" y="72158"/>
                      </a:lnTo>
                      <a:lnTo>
                        <a:pt x="10244" y="69093"/>
                      </a:lnTo>
                      <a:lnTo>
                        <a:pt x="4841" y="64758"/>
                      </a:lnTo>
                      <a:lnTo>
                        <a:pt x="717" y="61457"/>
                      </a:lnTo>
                      <a:lnTo>
                        <a:pt x="407" y="61204"/>
                      </a:lnTo>
                      <a:lnTo>
                        <a:pt x="0" y="60389"/>
                      </a:lnTo>
                      <a:lnTo>
                        <a:pt x="595" y="50626"/>
                      </a:lnTo>
                      <a:lnTo>
                        <a:pt x="1450" y="49347"/>
                      </a:lnTo>
                      <a:lnTo>
                        <a:pt x="2763" y="45320"/>
                      </a:lnTo>
                      <a:lnTo>
                        <a:pt x="3398" y="42077"/>
                      </a:lnTo>
                      <a:lnTo>
                        <a:pt x="4001" y="42085"/>
                      </a:lnTo>
                      <a:lnTo>
                        <a:pt x="4832" y="41034"/>
                      </a:lnTo>
                      <a:lnTo>
                        <a:pt x="5501" y="39485"/>
                      </a:lnTo>
                      <a:lnTo>
                        <a:pt x="6218" y="39811"/>
                      </a:lnTo>
                      <a:lnTo>
                        <a:pt x="7408" y="40113"/>
                      </a:lnTo>
                      <a:lnTo>
                        <a:pt x="7962" y="39559"/>
                      </a:lnTo>
                      <a:lnTo>
                        <a:pt x="7889" y="38361"/>
                      </a:lnTo>
                      <a:lnTo>
                        <a:pt x="8296" y="37146"/>
                      </a:lnTo>
                      <a:lnTo>
                        <a:pt x="9225" y="36608"/>
                      </a:lnTo>
                      <a:lnTo>
                        <a:pt x="9478" y="35508"/>
                      </a:lnTo>
                      <a:lnTo>
                        <a:pt x="9486" y="34253"/>
                      </a:lnTo>
                      <a:lnTo>
                        <a:pt x="10301" y="33927"/>
                      </a:lnTo>
                      <a:lnTo>
                        <a:pt x="11686" y="33976"/>
                      </a:lnTo>
                      <a:lnTo>
                        <a:pt x="12820" y="33593"/>
                      </a:lnTo>
                      <a:lnTo>
                        <a:pt x="13732" y="32949"/>
                      </a:lnTo>
                      <a:lnTo>
                        <a:pt x="14922" y="30423"/>
                      </a:lnTo>
                      <a:lnTo>
                        <a:pt x="15582" y="29535"/>
                      </a:lnTo>
                      <a:lnTo>
                        <a:pt x="15778" y="28915"/>
                      </a:lnTo>
                      <a:lnTo>
                        <a:pt x="16454" y="28353"/>
                      </a:lnTo>
                      <a:lnTo>
                        <a:pt x="18304" y="28100"/>
                      </a:lnTo>
                      <a:lnTo>
                        <a:pt x="19796" y="28296"/>
                      </a:lnTo>
                      <a:lnTo>
                        <a:pt x="20741" y="29763"/>
                      </a:lnTo>
                      <a:lnTo>
                        <a:pt x="27138" y="28467"/>
                      </a:lnTo>
                      <a:lnTo>
                        <a:pt x="30178" y="29225"/>
                      </a:lnTo>
                      <a:lnTo>
                        <a:pt x="36397" y="22852"/>
                      </a:lnTo>
                      <a:lnTo>
                        <a:pt x="37790" y="20969"/>
                      </a:lnTo>
                      <a:lnTo>
                        <a:pt x="39673" y="16462"/>
                      </a:lnTo>
                      <a:lnTo>
                        <a:pt x="40316" y="14743"/>
                      </a:lnTo>
                      <a:lnTo>
                        <a:pt x="40911" y="11654"/>
                      </a:lnTo>
                      <a:lnTo>
                        <a:pt x="39673" y="5925"/>
                      </a:lnTo>
                      <a:lnTo>
                        <a:pt x="39754" y="4906"/>
                      </a:lnTo>
                      <a:lnTo>
                        <a:pt x="42305" y="3675"/>
                      </a:lnTo>
                      <a:lnTo>
                        <a:pt x="45516" y="2714"/>
                      </a:lnTo>
                      <a:lnTo>
                        <a:pt x="46747" y="2649"/>
                      </a:lnTo>
                      <a:lnTo>
                        <a:pt x="47562" y="2151"/>
                      </a:lnTo>
                      <a:lnTo>
                        <a:pt x="48735" y="921"/>
                      </a:lnTo>
                      <a:lnTo>
                        <a:pt x="50650" y="0"/>
                      </a:lnTo>
                      <a:lnTo>
                        <a:pt x="51767" y="310"/>
                      </a:lnTo>
                      <a:lnTo>
                        <a:pt x="52444" y="489"/>
                      </a:lnTo>
                      <a:lnTo>
                        <a:pt x="59192" y="8052"/>
                      </a:lnTo>
                      <a:lnTo>
                        <a:pt x="62101" y="11866"/>
                      </a:lnTo>
                      <a:lnTo>
                        <a:pt x="62891" y="13830"/>
                      </a:lnTo>
                      <a:lnTo>
                        <a:pt x="64399" y="15240"/>
                      </a:lnTo>
                      <a:lnTo>
                        <a:pt x="66632" y="16104"/>
                      </a:lnTo>
                      <a:lnTo>
                        <a:pt x="68661" y="18060"/>
                      </a:lnTo>
                      <a:close/>
                    </a:path>
                  </a:pathLst>
                </a:custGeom>
                <a:solidFill>
                  <a:srgbClr val="D6D6D2"/>
                </a:solidFill>
                <a:ln w="6112" cap="rnd">
                  <a:solidFill>
                    <a:srgbClr val="FFFFFF"/>
                  </a:solidFill>
                  <a:prstDash val="solid"/>
                  <a:round/>
                </a:ln>
              </p:spPr>
              <p:txBody>
                <a:bodyPr rtlCol="0" anchor="ctr"/>
                <a:lstStyle/>
                <a:p>
                  <a:endParaRPr lang="en-US"/>
                </a:p>
              </p:txBody>
            </p:sp>
            <p:sp>
              <p:nvSpPr>
                <p:cNvPr id="778" name="Freeform: Shape 777">
                  <a:extLst>
                    <a:ext uri="{FF2B5EF4-FFF2-40B4-BE49-F238E27FC236}">
                      <a16:creationId xmlns:a16="http://schemas.microsoft.com/office/drawing/2014/main" id="{CD0805A7-4E5B-4A65-8B9C-2B9D1D41B98E}"/>
                    </a:ext>
                  </a:extLst>
                </p:cNvPr>
                <p:cNvSpPr/>
                <p:nvPr/>
              </p:nvSpPr>
              <p:spPr>
                <a:xfrm>
                  <a:off x="6006246" y="2870028"/>
                  <a:ext cx="95237" cy="72475"/>
                </a:xfrm>
                <a:custGeom>
                  <a:avLst/>
                  <a:gdLst>
                    <a:gd name="connsiteX0" fmla="*/ 56828 w 95237"/>
                    <a:gd name="connsiteY0" fmla="*/ 2160 h 72475"/>
                    <a:gd name="connsiteX1" fmla="*/ 56950 w 95237"/>
                    <a:gd name="connsiteY1" fmla="*/ 2918 h 72475"/>
                    <a:gd name="connsiteX2" fmla="*/ 57627 w 95237"/>
                    <a:gd name="connsiteY2" fmla="*/ 3252 h 72475"/>
                    <a:gd name="connsiteX3" fmla="*/ 60006 w 95237"/>
                    <a:gd name="connsiteY3" fmla="*/ 3081 h 72475"/>
                    <a:gd name="connsiteX4" fmla="*/ 61213 w 95237"/>
                    <a:gd name="connsiteY4" fmla="*/ 1695 h 72475"/>
                    <a:gd name="connsiteX5" fmla="*/ 62158 w 95237"/>
                    <a:gd name="connsiteY5" fmla="*/ 823 h 72475"/>
                    <a:gd name="connsiteX6" fmla="*/ 62867 w 95237"/>
                    <a:gd name="connsiteY6" fmla="*/ 1402 h 72475"/>
                    <a:gd name="connsiteX7" fmla="*/ 63218 w 95237"/>
                    <a:gd name="connsiteY7" fmla="*/ 3105 h 72475"/>
                    <a:gd name="connsiteX8" fmla="*/ 63869 w 95237"/>
                    <a:gd name="connsiteY8" fmla="*/ 5346 h 72475"/>
                    <a:gd name="connsiteX9" fmla="*/ 66706 w 95237"/>
                    <a:gd name="connsiteY9" fmla="*/ 7832 h 72475"/>
                    <a:gd name="connsiteX10" fmla="*/ 69110 w 95237"/>
                    <a:gd name="connsiteY10" fmla="*/ 8533 h 72475"/>
                    <a:gd name="connsiteX11" fmla="*/ 72052 w 95237"/>
                    <a:gd name="connsiteY11" fmla="*/ 8044 h 72475"/>
                    <a:gd name="connsiteX12" fmla="*/ 73217 w 95237"/>
                    <a:gd name="connsiteY12" fmla="*/ 7604 h 72475"/>
                    <a:gd name="connsiteX13" fmla="*/ 74008 w 95237"/>
                    <a:gd name="connsiteY13" fmla="*/ 7970 h 72475"/>
                    <a:gd name="connsiteX14" fmla="*/ 74790 w 95237"/>
                    <a:gd name="connsiteY14" fmla="*/ 9291 h 72475"/>
                    <a:gd name="connsiteX15" fmla="*/ 76493 w 95237"/>
                    <a:gd name="connsiteY15" fmla="*/ 10790 h 72475"/>
                    <a:gd name="connsiteX16" fmla="*/ 80055 w 95237"/>
                    <a:gd name="connsiteY16" fmla="*/ 11858 h 72475"/>
                    <a:gd name="connsiteX17" fmla="*/ 81147 w 95237"/>
                    <a:gd name="connsiteY17" fmla="*/ 12461 h 72475"/>
                    <a:gd name="connsiteX18" fmla="*/ 81905 w 95237"/>
                    <a:gd name="connsiteY18" fmla="*/ 13472 h 72475"/>
                    <a:gd name="connsiteX19" fmla="*/ 81693 w 95237"/>
                    <a:gd name="connsiteY19" fmla="*/ 14914 h 72475"/>
                    <a:gd name="connsiteX20" fmla="*/ 79998 w 95237"/>
                    <a:gd name="connsiteY20" fmla="*/ 18500 h 72475"/>
                    <a:gd name="connsiteX21" fmla="*/ 79761 w 95237"/>
                    <a:gd name="connsiteY21" fmla="*/ 19559 h 72475"/>
                    <a:gd name="connsiteX22" fmla="*/ 79998 w 95237"/>
                    <a:gd name="connsiteY22" fmla="*/ 19918 h 72475"/>
                    <a:gd name="connsiteX23" fmla="*/ 79664 w 95237"/>
                    <a:gd name="connsiteY23" fmla="*/ 20586 h 72475"/>
                    <a:gd name="connsiteX24" fmla="*/ 77447 w 95237"/>
                    <a:gd name="connsiteY24" fmla="*/ 22990 h 72475"/>
                    <a:gd name="connsiteX25" fmla="*/ 77259 w 95237"/>
                    <a:gd name="connsiteY25" fmla="*/ 23838 h 72475"/>
                    <a:gd name="connsiteX26" fmla="*/ 77993 w 95237"/>
                    <a:gd name="connsiteY26" fmla="*/ 25215 h 72475"/>
                    <a:gd name="connsiteX27" fmla="*/ 78596 w 95237"/>
                    <a:gd name="connsiteY27" fmla="*/ 26364 h 72475"/>
                    <a:gd name="connsiteX28" fmla="*/ 78620 w 95237"/>
                    <a:gd name="connsiteY28" fmla="*/ 26128 h 72475"/>
                    <a:gd name="connsiteX29" fmla="*/ 82003 w 95237"/>
                    <a:gd name="connsiteY29" fmla="*/ 25101 h 72475"/>
                    <a:gd name="connsiteX30" fmla="*/ 83527 w 95237"/>
                    <a:gd name="connsiteY30" fmla="*/ 27171 h 72475"/>
                    <a:gd name="connsiteX31" fmla="*/ 86045 w 95237"/>
                    <a:gd name="connsiteY31" fmla="*/ 27245 h 72475"/>
                    <a:gd name="connsiteX32" fmla="*/ 86346 w 95237"/>
                    <a:gd name="connsiteY32" fmla="*/ 27921 h 72475"/>
                    <a:gd name="connsiteX33" fmla="*/ 89166 w 95237"/>
                    <a:gd name="connsiteY33" fmla="*/ 29861 h 72475"/>
                    <a:gd name="connsiteX34" fmla="*/ 90022 w 95237"/>
                    <a:gd name="connsiteY34" fmla="*/ 31401 h 72475"/>
                    <a:gd name="connsiteX35" fmla="*/ 92043 w 95237"/>
                    <a:gd name="connsiteY35" fmla="*/ 32892 h 72475"/>
                    <a:gd name="connsiteX36" fmla="*/ 90372 w 95237"/>
                    <a:gd name="connsiteY36" fmla="*/ 34767 h 72475"/>
                    <a:gd name="connsiteX37" fmla="*/ 90633 w 95237"/>
                    <a:gd name="connsiteY37" fmla="*/ 35606 h 72475"/>
                    <a:gd name="connsiteX38" fmla="*/ 91236 w 95237"/>
                    <a:gd name="connsiteY38" fmla="*/ 36462 h 72475"/>
                    <a:gd name="connsiteX39" fmla="*/ 93510 w 95237"/>
                    <a:gd name="connsiteY39" fmla="*/ 36959 h 72475"/>
                    <a:gd name="connsiteX40" fmla="*/ 94651 w 95237"/>
                    <a:gd name="connsiteY40" fmla="*/ 38190 h 72475"/>
                    <a:gd name="connsiteX41" fmla="*/ 94716 w 95237"/>
                    <a:gd name="connsiteY41" fmla="*/ 40080 h 72475"/>
                    <a:gd name="connsiteX42" fmla="*/ 95238 w 95237"/>
                    <a:gd name="connsiteY42" fmla="*/ 43153 h 72475"/>
                    <a:gd name="connsiteX43" fmla="*/ 90535 w 95237"/>
                    <a:gd name="connsiteY43" fmla="*/ 46201 h 72475"/>
                    <a:gd name="connsiteX44" fmla="*/ 89199 w 95237"/>
                    <a:gd name="connsiteY44" fmla="*/ 49607 h 72475"/>
                    <a:gd name="connsiteX45" fmla="*/ 89085 w 95237"/>
                    <a:gd name="connsiteY45" fmla="*/ 50276 h 72475"/>
                    <a:gd name="connsiteX46" fmla="*/ 88922 w 95237"/>
                    <a:gd name="connsiteY46" fmla="*/ 50170 h 72475"/>
                    <a:gd name="connsiteX47" fmla="*/ 88400 w 95237"/>
                    <a:gd name="connsiteY47" fmla="*/ 49053 h 72475"/>
                    <a:gd name="connsiteX48" fmla="*/ 87544 w 95237"/>
                    <a:gd name="connsiteY48" fmla="*/ 49061 h 72475"/>
                    <a:gd name="connsiteX49" fmla="*/ 85605 w 95237"/>
                    <a:gd name="connsiteY49" fmla="*/ 48589 h 72475"/>
                    <a:gd name="connsiteX50" fmla="*/ 82899 w 95237"/>
                    <a:gd name="connsiteY50" fmla="*/ 51669 h 72475"/>
                    <a:gd name="connsiteX51" fmla="*/ 81668 w 95237"/>
                    <a:gd name="connsiteY51" fmla="*/ 54228 h 72475"/>
                    <a:gd name="connsiteX52" fmla="*/ 80935 w 95237"/>
                    <a:gd name="connsiteY52" fmla="*/ 56103 h 72475"/>
                    <a:gd name="connsiteX53" fmla="*/ 79843 w 95237"/>
                    <a:gd name="connsiteY53" fmla="*/ 57619 h 72475"/>
                    <a:gd name="connsiteX54" fmla="*/ 79631 w 95237"/>
                    <a:gd name="connsiteY54" fmla="*/ 59224 h 72475"/>
                    <a:gd name="connsiteX55" fmla="*/ 79761 w 95237"/>
                    <a:gd name="connsiteY55" fmla="*/ 59892 h 72475"/>
                    <a:gd name="connsiteX56" fmla="*/ 79395 w 95237"/>
                    <a:gd name="connsiteY56" fmla="*/ 60756 h 72475"/>
                    <a:gd name="connsiteX57" fmla="*/ 79387 w 95237"/>
                    <a:gd name="connsiteY57" fmla="*/ 61669 h 72475"/>
                    <a:gd name="connsiteX58" fmla="*/ 80935 w 95237"/>
                    <a:gd name="connsiteY58" fmla="*/ 63470 h 72475"/>
                    <a:gd name="connsiteX59" fmla="*/ 81326 w 95237"/>
                    <a:gd name="connsiteY59" fmla="*/ 64448 h 72475"/>
                    <a:gd name="connsiteX60" fmla="*/ 83225 w 95237"/>
                    <a:gd name="connsiteY60" fmla="*/ 67618 h 72475"/>
                    <a:gd name="connsiteX61" fmla="*/ 82638 w 95237"/>
                    <a:gd name="connsiteY61" fmla="*/ 68776 h 72475"/>
                    <a:gd name="connsiteX62" fmla="*/ 82165 w 95237"/>
                    <a:gd name="connsiteY62" fmla="*/ 70031 h 72475"/>
                    <a:gd name="connsiteX63" fmla="*/ 81620 w 95237"/>
                    <a:gd name="connsiteY63" fmla="*/ 70927 h 72475"/>
                    <a:gd name="connsiteX64" fmla="*/ 80984 w 95237"/>
                    <a:gd name="connsiteY64" fmla="*/ 71489 h 72475"/>
                    <a:gd name="connsiteX65" fmla="*/ 79020 w 95237"/>
                    <a:gd name="connsiteY65" fmla="*/ 71449 h 72475"/>
                    <a:gd name="connsiteX66" fmla="*/ 76526 w 95237"/>
                    <a:gd name="connsiteY66" fmla="*/ 71848 h 72475"/>
                    <a:gd name="connsiteX67" fmla="*/ 74847 w 95237"/>
                    <a:gd name="connsiteY67" fmla="*/ 72475 h 72475"/>
                    <a:gd name="connsiteX68" fmla="*/ 73975 w 95237"/>
                    <a:gd name="connsiteY68" fmla="*/ 72475 h 72475"/>
                    <a:gd name="connsiteX69" fmla="*/ 72174 w 95237"/>
                    <a:gd name="connsiteY69" fmla="*/ 70895 h 72475"/>
                    <a:gd name="connsiteX70" fmla="*/ 70169 w 95237"/>
                    <a:gd name="connsiteY70" fmla="*/ 68523 h 72475"/>
                    <a:gd name="connsiteX71" fmla="*/ 68882 w 95237"/>
                    <a:gd name="connsiteY71" fmla="*/ 67390 h 72475"/>
                    <a:gd name="connsiteX72" fmla="*/ 68311 w 95237"/>
                    <a:gd name="connsiteY72" fmla="*/ 66412 h 72475"/>
                    <a:gd name="connsiteX73" fmla="*/ 66730 w 95237"/>
                    <a:gd name="connsiteY73" fmla="*/ 66005 h 72475"/>
                    <a:gd name="connsiteX74" fmla="*/ 64473 w 95237"/>
                    <a:gd name="connsiteY74" fmla="*/ 64831 h 72475"/>
                    <a:gd name="connsiteX75" fmla="*/ 62908 w 95237"/>
                    <a:gd name="connsiteY75" fmla="*/ 63552 h 72475"/>
                    <a:gd name="connsiteX76" fmla="*/ 61563 w 95237"/>
                    <a:gd name="connsiteY76" fmla="*/ 62761 h 72475"/>
                    <a:gd name="connsiteX77" fmla="*/ 59673 w 95237"/>
                    <a:gd name="connsiteY77" fmla="*/ 62362 h 72475"/>
                    <a:gd name="connsiteX78" fmla="*/ 58100 w 95237"/>
                    <a:gd name="connsiteY78" fmla="*/ 62402 h 72475"/>
                    <a:gd name="connsiteX79" fmla="*/ 57659 w 95237"/>
                    <a:gd name="connsiteY79" fmla="*/ 60251 h 72475"/>
                    <a:gd name="connsiteX80" fmla="*/ 57464 w 95237"/>
                    <a:gd name="connsiteY80" fmla="*/ 57798 h 72475"/>
                    <a:gd name="connsiteX81" fmla="*/ 56193 w 95237"/>
                    <a:gd name="connsiteY81" fmla="*/ 56160 h 72475"/>
                    <a:gd name="connsiteX82" fmla="*/ 57937 w 95237"/>
                    <a:gd name="connsiteY82" fmla="*/ 49730 h 72475"/>
                    <a:gd name="connsiteX83" fmla="*/ 56901 w 95237"/>
                    <a:gd name="connsiteY83" fmla="*/ 49102 h 72475"/>
                    <a:gd name="connsiteX84" fmla="*/ 55760 w 95237"/>
                    <a:gd name="connsiteY84" fmla="*/ 49616 h 72475"/>
                    <a:gd name="connsiteX85" fmla="*/ 54122 w 95237"/>
                    <a:gd name="connsiteY85" fmla="*/ 51148 h 72475"/>
                    <a:gd name="connsiteX86" fmla="*/ 53332 w 95237"/>
                    <a:gd name="connsiteY86" fmla="*/ 52981 h 72475"/>
                    <a:gd name="connsiteX87" fmla="*/ 52867 w 95237"/>
                    <a:gd name="connsiteY87" fmla="*/ 54603 h 72475"/>
                    <a:gd name="connsiteX88" fmla="*/ 50113 w 95237"/>
                    <a:gd name="connsiteY88" fmla="*/ 56135 h 72475"/>
                    <a:gd name="connsiteX89" fmla="*/ 45744 w 95237"/>
                    <a:gd name="connsiteY89" fmla="*/ 56689 h 72475"/>
                    <a:gd name="connsiteX90" fmla="*/ 40961 w 95237"/>
                    <a:gd name="connsiteY90" fmla="*/ 56135 h 72475"/>
                    <a:gd name="connsiteX91" fmla="*/ 40293 w 95237"/>
                    <a:gd name="connsiteY91" fmla="*/ 55720 h 72475"/>
                    <a:gd name="connsiteX92" fmla="*/ 39999 w 95237"/>
                    <a:gd name="connsiteY92" fmla="*/ 55255 h 72475"/>
                    <a:gd name="connsiteX93" fmla="*/ 39991 w 95237"/>
                    <a:gd name="connsiteY93" fmla="*/ 54685 h 72475"/>
                    <a:gd name="connsiteX94" fmla="*/ 40325 w 95237"/>
                    <a:gd name="connsiteY94" fmla="*/ 53813 h 72475"/>
                    <a:gd name="connsiteX95" fmla="*/ 41148 w 95237"/>
                    <a:gd name="connsiteY95" fmla="*/ 52761 h 72475"/>
                    <a:gd name="connsiteX96" fmla="*/ 41360 w 95237"/>
                    <a:gd name="connsiteY96" fmla="*/ 51254 h 72475"/>
                    <a:gd name="connsiteX97" fmla="*/ 40504 w 95237"/>
                    <a:gd name="connsiteY97" fmla="*/ 49958 h 72475"/>
                    <a:gd name="connsiteX98" fmla="*/ 39950 w 95237"/>
                    <a:gd name="connsiteY98" fmla="*/ 49444 h 72475"/>
                    <a:gd name="connsiteX99" fmla="*/ 40170 w 95237"/>
                    <a:gd name="connsiteY99" fmla="*/ 48181 h 72475"/>
                    <a:gd name="connsiteX100" fmla="*/ 40797 w 95237"/>
                    <a:gd name="connsiteY100" fmla="*/ 46600 h 72475"/>
                    <a:gd name="connsiteX101" fmla="*/ 40920 w 95237"/>
                    <a:gd name="connsiteY101" fmla="*/ 45696 h 72475"/>
                    <a:gd name="connsiteX102" fmla="*/ 37685 w 95237"/>
                    <a:gd name="connsiteY102" fmla="*/ 42965 h 72475"/>
                    <a:gd name="connsiteX103" fmla="*/ 35337 w 95237"/>
                    <a:gd name="connsiteY103" fmla="*/ 42427 h 72475"/>
                    <a:gd name="connsiteX104" fmla="*/ 33071 w 95237"/>
                    <a:gd name="connsiteY104" fmla="*/ 42330 h 72475"/>
                    <a:gd name="connsiteX105" fmla="*/ 31344 w 95237"/>
                    <a:gd name="connsiteY105" fmla="*/ 42028 h 72475"/>
                    <a:gd name="connsiteX106" fmla="*/ 30342 w 95237"/>
                    <a:gd name="connsiteY106" fmla="*/ 42150 h 72475"/>
                    <a:gd name="connsiteX107" fmla="*/ 29616 w 95237"/>
                    <a:gd name="connsiteY107" fmla="*/ 42949 h 72475"/>
                    <a:gd name="connsiteX108" fmla="*/ 28883 w 95237"/>
                    <a:gd name="connsiteY108" fmla="*/ 43520 h 72475"/>
                    <a:gd name="connsiteX109" fmla="*/ 28337 w 95237"/>
                    <a:gd name="connsiteY109" fmla="*/ 42827 h 72475"/>
                    <a:gd name="connsiteX110" fmla="*/ 27342 w 95237"/>
                    <a:gd name="connsiteY110" fmla="*/ 37994 h 72475"/>
                    <a:gd name="connsiteX111" fmla="*/ 26560 w 95237"/>
                    <a:gd name="connsiteY111" fmla="*/ 37261 h 72475"/>
                    <a:gd name="connsiteX112" fmla="*/ 23618 w 95237"/>
                    <a:gd name="connsiteY112" fmla="*/ 36446 h 72475"/>
                    <a:gd name="connsiteX113" fmla="*/ 19633 w 95237"/>
                    <a:gd name="connsiteY113" fmla="*/ 36152 h 72475"/>
                    <a:gd name="connsiteX114" fmla="*/ 18573 w 95237"/>
                    <a:gd name="connsiteY114" fmla="*/ 35280 h 72475"/>
                    <a:gd name="connsiteX115" fmla="*/ 17986 w 95237"/>
                    <a:gd name="connsiteY115" fmla="*/ 33088 h 72475"/>
                    <a:gd name="connsiteX116" fmla="*/ 17612 w 95237"/>
                    <a:gd name="connsiteY116" fmla="*/ 30456 h 72475"/>
                    <a:gd name="connsiteX117" fmla="*/ 16299 w 95237"/>
                    <a:gd name="connsiteY117" fmla="*/ 27937 h 72475"/>
                    <a:gd name="connsiteX118" fmla="*/ 15623 w 95237"/>
                    <a:gd name="connsiteY118" fmla="*/ 27310 h 72475"/>
                    <a:gd name="connsiteX119" fmla="*/ 14441 w 95237"/>
                    <a:gd name="connsiteY119" fmla="*/ 26185 h 72475"/>
                    <a:gd name="connsiteX120" fmla="*/ 12355 w 95237"/>
                    <a:gd name="connsiteY120" fmla="*/ 26650 h 72475"/>
                    <a:gd name="connsiteX121" fmla="*/ 9845 w 95237"/>
                    <a:gd name="connsiteY121" fmla="*/ 28117 h 72475"/>
                    <a:gd name="connsiteX122" fmla="*/ 8378 w 95237"/>
                    <a:gd name="connsiteY122" fmla="*/ 28516 h 72475"/>
                    <a:gd name="connsiteX123" fmla="*/ 7815 w 95237"/>
                    <a:gd name="connsiteY123" fmla="*/ 28671 h 72475"/>
                    <a:gd name="connsiteX124" fmla="*/ 5819 w 95237"/>
                    <a:gd name="connsiteY124" fmla="*/ 27245 h 72475"/>
                    <a:gd name="connsiteX125" fmla="*/ 3586 w 95237"/>
                    <a:gd name="connsiteY125" fmla="*/ 25012 h 72475"/>
                    <a:gd name="connsiteX126" fmla="*/ 1785 w 95237"/>
                    <a:gd name="connsiteY126" fmla="*/ 22648 h 72475"/>
                    <a:gd name="connsiteX127" fmla="*/ 1353 w 95237"/>
                    <a:gd name="connsiteY127" fmla="*/ 21336 h 72475"/>
                    <a:gd name="connsiteX128" fmla="*/ 1907 w 95237"/>
                    <a:gd name="connsiteY128" fmla="*/ 19739 h 72475"/>
                    <a:gd name="connsiteX129" fmla="*/ 1247 w 95237"/>
                    <a:gd name="connsiteY129" fmla="*/ 18508 h 72475"/>
                    <a:gd name="connsiteX130" fmla="*/ 277 w 95237"/>
                    <a:gd name="connsiteY130" fmla="*/ 16275 h 72475"/>
                    <a:gd name="connsiteX131" fmla="*/ 0 w 95237"/>
                    <a:gd name="connsiteY131" fmla="*/ 14523 h 72475"/>
                    <a:gd name="connsiteX132" fmla="*/ 10798 w 95237"/>
                    <a:gd name="connsiteY132" fmla="*/ 8321 h 72475"/>
                    <a:gd name="connsiteX133" fmla="*/ 17375 w 95237"/>
                    <a:gd name="connsiteY133" fmla="*/ 5151 h 72475"/>
                    <a:gd name="connsiteX134" fmla="*/ 20472 w 95237"/>
                    <a:gd name="connsiteY134" fmla="*/ 4189 h 72475"/>
                    <a:gd name="connsiteX135" fmla="*/ 21214 w 95237"/>
                    <a:gd name="connsiteY135" fmla="*/ 7375 h 72475"/>
                    <a:gd name="connsiteX136" fmla="*/ 21776 w 95237"/>
                    <a:gd name="connsiteY136" fmla="*/ 8386 h 72475"/>
                    <a:gd name="connsiteX137" fmla="*/ 22526 w 95237"/>
                    <a:gd name="connsiteY137" fmla="*/ 9046 h 72475"/>
                    <a:gd name="connsiteX138" fmla="*/ 23496 w 95237"/>
                    <a:gd name="connsiteY138" fmla="*/ 9177 h 72475"/>
                    <a:gd name="connsiteX139" fmla="*/ 24620 w 95237"/>
                    <a:gd name="connsiteY139" fmla="*/ 8386 h 72475"/>
                    <a:gd name="connsiteX140" fmla="*/ 26177 w 95237"/>
                    <a:gd name="connsiteY140" fmla="*/ 7563 h 72475"/>
                    <a:gd name="connsiteX141" fmla="*/ 28703 w 95237"/>
                    <a:gd name="connsiteY141" fmla="*/ 7954 h 72475"/>
                    <a:gd name="connsiteX142" fmla="*/ 30529 w 95237"/>
                    <a:gd name="connsiteY142" fmla="*/ 8712 h 72475"/>
                    <a:gd name="connsiteX143" fmla="*/ 31181 w 95237"/>
                    <a:gd name="connsiteY143" fmla="*/ 9511 h 72475"/>
                    <a:gd name="connsiteX144" fmla="*/ 32395 w 95237"/>
                    <a:gd name="connsiteY144" fmla="*/ 10269 h 72475"/>
                    <a:gd name="connsiteX145" fmla="*/ 34164 w 95237"/>
                    <a:gd name="connsiteY145" fmla="*/ 10456 h 72475"/>
                    <a:gd name="connsiteX146" fmla="*/ 37595 w 95237"/>
                    <a:gd name="connsiteY146" fmla="*/ 8997 h 72475"/>
                    <a:gd name="connsiteX147" fmla="*/ 40871 w 95237"/>
                    <a:gd name="connsiteY147" fmla="*/ 6789 h 72475"/>
                    <a:gd name="connsiteX148" fmla="*/ 41841 w 95237"/>
                    <a:gd name="connsiteY148" fmla="*/ 5248 h 72475"/>
                    <a:gd name="connsiteX149" fmla="*/ 42199 w 95237"/>
                    <a:gd name="connsiteY149" fmla="*/ 3863 h 72475"/>
                    <a:gd name="connsiteX150" fmla="*/ 44139 w 95237"/>
                    <a:gd name="connsiteY150" fmla="*/ 4784 h 72475"/>
                    <a:gd name="connsiteX151" fmla="*/ 45859 w 95237"/>
                    <a:gd name="connsiteY151" fmla="*/ 4988 h 72475"/>
                    <a:gd name="connsiteX152" fmla="*/ 46608 w 95237"/>
                    <a:gd name="connsiteY152" fmla="*/ 4572 h 72475"/>
                    <a:gd name="connsiteX153" fmla="*/ 46136 w 95237"/>
                    <a:gd name="connsiteY153" fmla="*/ 2347 h 72475"/>
                    <a:gd name="connsiteX154" fmla="*/ 47521 w 95237"/>
                    <a:gd name="connsiteY154" fmla="*/ 1157 h 72475"/>
                    <a:gd name="connsiteX155" fmla="*/ 49077 w 95237"/>
                    <a:gd name="connsiteY155" fmla="*/ 611 h 72475"/>
                    <a:gd name="connsiteX156" fmla="*/ 49787 w 95237"/>
                    <a:gd name="connsiteY156" fmla="*/ 1573 h 72475"/>
                    <a:gd name="connsiteX157" fmla="*/ 51196 w 95237"/>
                    <a:gd name="connsiteY157" fmla="*/ 2559 h 72475"/>
                    <a:gd name="connsiteX158" fmla="*/ 52313 w 95237"/>
                    <a:gd name="connsiteY158" fmla="*/ 2567 h 72475"/>
                    <a:gd name="connsiteX159" fmla="*/ 55329 w 95237"/>
                    <a:gd name="connsiteY159" fmla="*/ 0 h 72475"/>
                    <a:gd name="connsiteX160" fmla="*/ 56037 w 95237"/>
                    <a:gd name="connsiteY160" fmla="*/ 513 h 72475"/>
                    <a:gd name="connsiteX161" fmla="*/ 56689 w 95237"/>
                    <a:gd name="connsiteY161" fmla="*/ 1418 h 7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95237" h="72475">
                      <a:moveTo>
                        <a:pt x="56828" y="2160"/>
                      </a:moveTo>
                      <a:lnTo>
                        <a:pt x="56950" y="2918"/>
                      </a:lnTo>
                      <a:lnTo>
                        <a:pt x="57627" y="3252"/>
                      </a:lnTo>
                      <a:lnTo>
                        <a:pt x="60006" y="3081"/>
                      </a:lnTo>
                      <a:lnTo>
                        <a:pt x="61213" y="1695"/>
                      </a:lnTo>
                      <a:lnTo>
                        <a:pt x="62158" y="823"/>
                      </a:lnTo>
                      <a:lnTo>
                        <a:pt x="62867" y="1402"/>
                      </a:lnTo>
                      <a:lnTo>
                        <a:pt x="63218" y="3105"/>
                      </a:lnTo>
                      <a:lnTo>
                        <a:pt x="63869" y="5346"/>
                      </a:lnTo>
                      <a:lnTo>
                        <a:pt x="66706" y="7832"/>
                      </a:lnTo>
                      <a:lnTo>
                        <a:pt x="69110" y="8533"/>
                      </a:lnTo>
                      <a:lnTo>
                        <a:pt x="72052" y="8044"/>
                      </a:lnTo>
                      <a:lnTo>
                        <a:pt x="73217" y="7604"/>
                      </a:lnTo>
                      <a:lnTo>
                        <a:pt x="74008" y="7970"/>
                      </a:lnTo>
                      <a:lnTo>
                        <a:pt x="74790" y="9291"/>
                      </a:lnTo>
                      <a:lnTo>
                        <a:pt x="76493" y="10790"/>
                      </a:lnTo>
                      <a:lnTo>
                        <a:pt x="80055" y="11858"/>
                      </a:lnTo>
                      <a:lnTo>
                        <a:pt x="81147" y="12461"/>
                      </a:lnTo>
                      <a:lnTo>
                        <a:pt x="81905" y="13472"/>
                      </a:lnTo>
                      <a:lnTo>
                        <a:pt x="81693" y="14914"/>
                      </a:lnTo>
                      <a:lnTo>
                        <a:pt x="79998" y="18500"/>
                      </a:lnTo>
                      <a:lnTo>
                        <a:pt x="79761" y="19559"/>
                      </a:lnTo>
                      <a:lnTo>
                        <a:pt x="79998" y="19918"/>
                      </a:lnTo>
                      <a:lnTo>
                        <a:pt x="79664" y="20586"/>
                      </a:lnTo>
                      <a:lnTo>
                        <a:pt x="77447" y="22990"/>
                      </a:lnTo>
                      <a:lnTo>
                        <a:pt x="77259" y="23838"/>
                      </a:lnTo>
                      <a:lnTo>
                        <a:pt x="77993" y="25215"/>
                      </a:lnTo>
                      <a:lnTo>
                        <a:pt x="78596" y="26364"/>
                      </a:lnTo>
                      <a:lnTo>
                        <a:pt x="78620" y="26128"/>
                      </a:lnTo>
                      <a:lnTo>
                        <a:pt x="82003" y="25101"/>
                      </a:lnTo>
                      <a:lnTo>
                        <a:pt x="83527" y="27171"/>
                      </a:lnTo>
                      <a:lnTo>
                        <a:pt x="86045" y="27245"/>
                      </a:lnTo>
                      <a:lnTo>
                        <a:pt x="86346" y="27921"/>
                      </a:lnTo>
                      <a:lnTo>
                        <a:pt x="89166" y="29861"/>
                      </a:lnTo>
                      <a:lnTo>
                        <a:pt x="90022" y="31401"/>
                      </a:lnTo>
                      <a:lnTo>
                        <a:pt x="92043" y="32892"/>
                      </a:lnTo>
                      <a:lnTo>
                        <a:pt x="90372" y="34767"/>
                      </a:lnTo>
                      <a:lnTo>
                        <a:pt x="90633" y="35606"/>
                      </a:lnTo>
                      <a:lnTo>
                        <a:pt x="91236" y="36462"/>
                      </a:lnTo>
                      <a:lnTo>
                        <a:pt x="93510" y="36959"/>
                      </a:lnTo>
                      <a:lnTo>
                        <a:pt x="94651" y="38190"/>
                      </a:lnTo>
                      <a:lnTo>
                        <a:pt x="94716" y="40080"/>
                      </a:lnTo>
                      <a:lnTo>
                        <a:pt x="95238" y="43153"/>
                      </a:lnTo>
                      <a:lnTo>
                        <a:pt x="90535" y="46201"/>
                      </a:lnTo>
                      <a:lnTo>
                        <a:pt x="89199" y="49607"/>
                      </a:lnTo>
                      <a:lnTo>
                        <a:pt x="89085" y="50276"/>
                      </a:lnTo>
                      <a:lnTo>
                        <a:pt x="88922" y="50170"/>
                      </a:lnTo>
                      <a:lnTo>
                        <a:pt x="88400" y="49053"/>
                      </a:lnTo>
                      <a:lnTo>
                        <a:pt x="87544" y="49061"/>
                      </a:lnTo>
                      <a:lnTo>
                        <a:pt x="85605" y="48589"/>
                      </a:lnTo>
                      <a:lnTo>
                        <a:pt x="82899" y="51669"/>
                      </a:lnTo>
                      <a:lnTo>
                        <a:pt x="81668" y="54228"/>
                      </a:lnTo>
                      <a:lnTo>
                        <a:pt x="80935" y="56103"/>
                      </a:lnTo>
                      <a:lnTo>
                        <a:pt x="79843" y="57619"/>
                      </a:lnTo>
                      <a:lnTo>
                        <a:pt x="79631" y="59224"/>
                      </a:lnTo>
                      <a:lnTo>
                        <a:pt x="79761" y="59892"/>
                      </a:lnTo>
                      <a:lnTo>
                        <a:pt x="79395" y="60756"/>
                      </a:lnTo>
                      <a:lnTo>
                        <a:pt x="79387" y="61669"/>
                      </a:lnTo>
                      <a:lnTo>
                        <a:pt x="80935" y="63470"/>
                      </a:lnTo>
                      <a:lnTo>
                        <a:pt x="81326" y="64448"/>
                      </a:lnTo>
                      <a:lnTo>
                        <a:pt x="83225" y="67618"/>
                      </a:lnTo>
                      <a:lnTo>
                        <a:pt x="82638" y="68776"/>
                      </a:lnTo>
                      <a:lnTo>
                        <a:pt x="82165" y="70031"/>
                      </a:lnTo>
                      <a:lnTo>
                        <a:pt x="81620" y="70927"/>
                      </a:lnTo>
                      <a:lnTo>
                        <a:pt x="80984" y="71489"/>
                      </a:lnTo>
                      <a:lnTo>
                        <a:pt x="79020" y="71449"/>
                      </a:lnTo>
                      <a:lnTo>
                        <a:pt x="76526" y="71848"/>
                      </a:lnTo>
                      <a:lnTo>
                        <a:pt x="74847" y="72475"/>
                      </a:lnTo>
                      <a:lnTo>
                        <a:pt x="73975" y="72475"/>
                      </a:lnTo>
                      <a:lnTo>
                        <a:pt x="72174" y="70895"/>
                      </a:lnTo>
                      <a:lnTo>
                        <a:pt x="70169" y="68523"/>
                      </a:lnTo>
                      <a:lnTo>
                        <a:pt x="68882" y="67390"/>
                      </a:lnTo>
                      <a:lnTo>
                        <a:pt x="68311" y="66412"/>
                      </a:lnTo>
                      <a:lnTo>
                        <a:pt x="66730" y="66005"/>
                      </a:lnTo>
                      <a:lnTo>
                        <a:pt x="64473" y="64831"/>
                      </a:lnTo>
                      <a:lnTo>
                        <a:pt x="62908" y="63552"/>
                      </a:lnTo>
                      <a:lnTo>
                        <a:pt x="61563" y="62761"/>
                      </a:lnTo>
                      <a:lnTo>
                        <a:pt x="59673" y="62362"/>
                      </a:lnTo>
                      <a:lnTo>
                        <a:pt x="58100" y="62402"/>
                      </a:lnTo>
                      <a:lnTo>
                        <a:pt x="57659" y="60251"/>
                      </a:lnTo>
                      <a:lnTo>
                        <a:pt x="57464" y="57798"/>
                      </a:lnTo>
                      <a:lnTo>
                        <a:pt x="56193" y="56160"/>
                      </a:lnTo>
                      <a:lnTo>
                        <a:pt x="57937" y="49730"/>
                      </a:lnTo>
                      <a:lnTo>
                        <a:pt x="56901" y="49102"/>
                      </a:lnTo>
                      <a:lnTo>
                        <a:pt x="55760" y="49616"/>
                      </a:lnTo>
                      <a:lnTo>
                        <a:pt x="54122" y="51148"/>
                      </a:lnTo>
                      <a:lnTo>
                        <a:pt x="53332" y="52981"/>
                      </a:lnTo>
                      <a:lnTo>
                        <a:pt x="52867" y="54603"/>
                      </a:lnTo>
                      <a:lnTo>
                        <a:pt x="50113" y="56135"/>
                      </a:lnTo>
                      <a:lnTo>
                        <a:pt x="45744" y="56689"/>
                      </a:lnTo>
                      <a:lnTo>
                        <a:pt x="40961" y="56135"/>
                      </a:lnTo>
                      <a:lnTo>
                        <a:pt x="40293" y="55720"/>
                      </a:lnTo>
                      <a:lnTo>
                        <a:pt x="39999" y="55255"/>
                      </a:lnTo>
                      <a:lnTo>
                        <a:pt x="39991" y="54685"/>
                      </a:lnTo>
                      <a:lnTo>
                        <a:pt x="40325" y="53813"/>
                      </a:lnTo>
                      <a:lnTo>
                        <a:pt x="41148" y="52761"/>
                      </a:lnTo>
                      <a:lnTo>
                        <a:pt x="41360" y="51254"/>
                      </a:lnTo>
                      <a:lnTo>
                        <a:pt x="40504" y="49958"/>
                      </a:lnTo>
                      <a:lnTo>
                        <a:pt x="39950" y="49444"/>
                      </a:lnTo>
                      <a:lnTo>
                        <a:pt x="40170" y="48181"/>
                      </a:lnTo>
                      <a:lnTo>
                        <a:pt x="40797" y="46600"/>
                      </a:lnTo>
                      <a:lnTo>
                        <a:pt x="40920" y="45696"/>
                      </a:lnTo>
                      <a:lnTo>
                        <a:pt x="37685" y="42965"/>
                      </a:lnTo>
                      <a:lnTo>
                        <a:pt x="35337" y="42427"/>
                      </a:lnTo>
                      <a:lnTo>
                        <a:pt x="33071" y="42330"/>
                      </a:lnTo>
                      <a:lnTo>
                        <a:pt x="31344" y="42028"/>
                      </a:lnTo>
                      <a:lnTo>
                        <a:pt x="30342" y="42150"/>
                      </a:lnTo>
                      <a:lnTo>
                        <a:pt x="29616" y="42949"/>
                      </a:lnTo>
                      <a:lnTo>
                        <a:pt x="28883" y="43520"/>
                      </a:lnTo>
                      <a:lnTo>
                        <a:pt x="28337" y="42827"/>
                      </a:lnTo>
                      <a:lnTo>
                        <a:pt x="27342" y="37994"/>
                      </a:lnTo>
                      <a:lnTo>
                        <a:pt x="26560" y="37261"/>
                      </a:lnTo>
                      <a:lnTo>
                        <a:pt x="23618" y="36446"/>
                      </a:lnTo>
                      <a:lnTo>
                        <a:pt x="19633" y="36152"/>
                      </a:lnTo>
                      <a:lnTo>
                        <a:pt x="18573" y="35280"/>
                      </a:lnTo>
                      <a:lnTo>
                        <a:pt x="17986" y="33088"/>
                      </a:lnTo>
                      <a:lnTo>
                        <a:pt x="17612" y="30456"/>
                      </a:lnTo>
                      <a:lnTo>
                        <a:pt x="16299" y="27937"/>
                      </a:lnTo>
                      <a:lnTo>
                        <a:pt x="15623" y="27310"/>
                      </a:lnTo>
                      <a:lnTo>
                        <a:pt x="14441" y="26185"/>
                      </a:lnTo>
                      <a:lnTo>
                        <a:pt x="12355" y="26650"/>
                      </a:lnTo>
                      <a:lnTo>
                        <a:pt x="9845" y="28117"/>
                      </a:lnTo>
                      <a:lnTo>
                        <a:pt x="8378" y="28516"/>
                      </a:lnTo>
                      <a:lnTo>
                        <a:pt x="7815" y="28671"/>
                      </a:lnTo>
                      <a:lnTo>
                        <a:pt x="5819" y="27245"/>
                      </a:lnTo>
                      <a:lnTo>
                        <a:pt x="3586" y="25012"/>
                      </a:lnTo>
                      <a:lnTo>
                        <a:pt x="1785" y="22648"/>
                      </a:lnTo>
                      <a:lnTo>
                        <a:pt x="1353" y="21336"/>
                      </a:lnTo>
                      <a:lnTo>
                        <a:pt x="1907" y="19739"/>
                      </a:lnTo>
                      <a:lnTo>
                        <a:pt x="1247" y="18508"/>
                      </a:lnTo>
                      <a:lnTo>
                        <a:pt x="277" y="16275"/>
                      </a:lnTo>
                      <a:lnTo>
                        <a:pt x="0" y="14523"/>
                      </a:lnTo>
                      <a:lnTo>
                        <a:pt x="10798" y="8321"/>
                      </a:lnTo>
                      <a:lnTo>
                        <a:pt x="17375" y="5151"/>
                      </a:lnTo>
                      <a:lnTo>
                        <a:pt x="20472" y="4189"/>
                      </a:lnTo>
                      <a:lnTo>
                        <a:pt x="21214" y="7375"/>
                      </a:lnTo>
                      <a:lnTo>
                        <a:pt x="21776" y="8386"/>
                      </a:lnTo>
                      <a:lnTo>
                        <a:pt x="22526" y="9046"/>
                      </a:lnTo>
                      <a:lnTo>
                        <a:pt x="23496" y="9177"/>
                      </a:lnTo>
                      <a:lnTo>
                        <a:pt x="24620" y="8386"/>
                      </a:lnTo>
                      <a:lnTo>
                        <a:pt x="26177" y="7563"/>
                      </a:lnTo>
                      <a:lnTo>
                        <a:pt x="28703" y="7954"/>
                      </a:lnTo>
                      <a:lnTo>
                        <a:pt x="30529" y="8712"/>
                      </a:lnTo>
                      <a:lnTo>
                        <a:pt x="31181" y="9511"/>
                      </a:lnTo>
                      <a:lnTo>
                        <a:pt x="32395" y="10269"/>
                      </a:lnTo>
                      <a:lnTo>
                        <a:pt x="34164" y="10456"/>
                      </a:lnTo>
                      <a:lnTo>
                        <a:pt x="37595" y="8997"/>
                      </a:lnTo>
                      <a:lnTo>
                        <a:pt x="40871" y="6789"/>
                      </a:lnTo>
                      <a:lnTo>
                        <a:pt x="41841" y="5248"/>
                      </a:lnTo>
                      <a:lnTo>
                        <a:pt x="42199" y="3863"/>
                      </a:lnTo>
                      <a:lnTo>
                        <a:pt x="44139" y="4784"/>
                      </a:lnTo>
                      <a:lnTo>
                        <a:pt x="45859" y="4988"/>
                      </a:lnTo>
                      <a:lnTo>
                        <a:pt x="46608" y="4572"/>
                      </a:lnTo>
                      <a:lnTo>
                        <a:pt x="46136" y="2347"/>
                      </a:lnTo>
                      <a:lnTo>
                        <a:pt x="47521" y="1157"/>
                      </a:lnTo>
                      <a:lnTo>
                        <a:pt x="49077" y="611"/>
                      </a:lnTo>
                      <a:lnTo>
                        <a:pt x="49787" y="1573"/>
                      </a:lnTo>
                      <a:lnTo>
                        <a:pt x="51196" y="2559"/>
                      </a:lnTo>
                      <a:lnTo>
                        <a:pt x="52313" y="2567"/>
                      </a:lnTo>
                      <a:lnTo>
                        <a:pt x="55329" y="0"/>
                      </a:lnTo>
                      <a:lnTo>
                        <a:pt x="56037" y="513"/>
                      </a:lnTo>
                      <a:lnTo>
                        <a:pt x="56689" y="1418"/>
                      </a:lnTo>
                      <a:close/>
                    </a:path>
                  </a:pathLst>
                </a:custGeom>
                <a:solidFill>
                  <a:srgbClr val="D6D6D2"/>
                </a:solidFill>
                <a:ln w="6112" cap="rnd">
                  <a:solidFill>
                    <a:srgbClr val="FFFFFF"/>
                  </a:solidFill>
                  <a:prstDash val="solid"/>
                  <a:round/>
                </a:ln>
              </p:spPr>
              <p:txBody>
                <a:bodyPr rtlCol="0" anchor="ctr"/>
                <a:lstStyle/>
                <a:p>
                  <a:endParaRPr lang="en-US"/>
                </a:p>
              </p:txBody>
            </p:sp>
            <p:sp>
              <p:nvSpPr>
                <p:cNvPr id="779" name="Freeform: Shape 778">
                  <a:extLst>
                    <a:ext uri="{FF2B5EF4-FFF2-40B4-BE49-F238E27FC236}">
                      <a16:creationId xmlns:a16="http://schemas.microsoft.com/office/drawing/2014/main" id="{FC1FFB17-9884-4C5B-A5A1-0DFCEB9916EC}"/>
                    </a:ext>
                  </a:extLst>
                </p:cNvPr>
                <p:cNvSpPr/>
                <p:nvPr/>
              </p:nvSpPr>
              <p:spPr>
                <a:xfrm>
                  <a:off x="6663246" y="4593753"/>
                  <a:ext cx="44578" cy="64219"/>
                </a:xfrm>
                <a:custGeom>
                  <a:avLst/>
                  <a:gdLst>
                    <a:gd name="connsiteX0" fmla="*/ 38181 w 44578"/>
                    <a:gd name="connsiteY0" fmla="*/ 2616 h 64219"/>
                    <a:gd name="connsiteX1" fmla="*/ 37693 w 44578"/>
                    <a:gd name="connsiteY1" fmla="*/ 3399 h 64219"/>
                    <a:gd name="connsiteX2" fmla="*/ 35410 w 44578"/>
                    <a:gd name="connsiteY2" fmla="*/ 9014 h 64219"/>
                    <a:gd name="connsiteX3" fmla="*/ 34979 w 44578"/>
                    <a:gd name="connsiteY3" fmla="*/ 9845 h 64219"/>
                    <a:gd name="connsiteX4" fmla="*/ 35231 w 44578"/>
                    <a:gd name="connsiteY4" fmla="*/ 10383 h 64219"/>
                    <a:gd name="connsiteX5" fmla="*/ 36185 w 44578"/>
                    <a:gd name="connsiteY5" fmla="*/ 11426 h 64219"/>
                    <a:gd name="connsiteX6" fmla="*/ 35630 w 44578"/>
                    <a:gd name="connsiteY6" fmla="*/ 13195 h 64219"/>
                    <a:gd name="connsiteX7" fmla="*/ 35394 w 44578"/>
                    <a:gd name="connsiteY7" fmla="*/ 13667 h 64219"/>
                    <a:gd name="connsiteX8" fmla="*/ 34979 w 44578"/>
                    <a:gd name="connsiteY8" fmla="*/ 15313 h 64219"/>
                    <a:gd name="connsiteX9" fmla="*/ 35206 w 44578"/>
                    <a:gd name="connsiteY9" fmla="*/ 16829 h 64219"/>
                    <a:gd name="connsiteX10" fmla="*/ 35745 w 44578"/>
                    <a:gd name="connsiteY10" fmla="*/ 17392 h 64219"/>
                    <a:gd name="connsiteX11" fmla="*/ 37219 w 44578"/>
                    <a:gd name="connsiteY11" fmla="*/ 18125 h 64219"/>
                    <a:gd name="connsiteX12" fmla="*/ 39436 w 44578"/>
                    <a:gd name="connsiteY12" fmla="*/ 18639 h 64219"/>
                    <a:gd name="connsiteX13" fmla="*/ 42052 w 44578"/>
                    <a:gd name="connsiteY13" fmla="*/ 19910 h 64219"/>
                    <a:gd name="connsiteX14" fmla="*/ 43805 w 44578"/>
                    <a:gd name="connsiteY14" fmla="*/ 20130 h 64219"/>
                    <a:gd name="connsiteX15" fmla="*/ 44212 w 44578"/>
                    <a:gd name="connsiteY15" fmla="*/ 21043 h 64219"/>
                    <a:gd name="connsiteX16" fmla="*/ 44139 w 44578"/>
                    <a:gd name="connsiteY16" fmla="*/ 22673 h 64219"/>
                    <a:gd name="connsiteX17" fmla="*/ 44571 w 44578"/>
                    <a:gd name="connsiteY17" fmla="*/ 24066 h 64219"/>
                    <a:gd name="connsiteX18" fmla="*/ 44579 w 44578"/>
                    <a:gd name="connsiteY18" fmla="*/ 26601 h 64219"/>
                    <a:gd name="connsiteX19" fmla="*/ 44049 w 44578"/>
                    <a:gd name="connsiteY19" fmla="*/ 28809 h 64219"/>
                    <a:gd name="connsiteX20" fmla="*/ 41368 w 44578"/>
                    <a:gd name="connsiteY20" fmla="*/ 29861 h 64219"/>
                    <a:gd name="connsiteX21" fmla="*/ 39974 w 44578"/>
                    <a:gd name="connsiteY21" fmla="*/ 30994 h 64219"/>
                    <a:gd name="connsiteX22" fmla="*/ 39608 w 44578"/>
                    <a:gd name="connsiteY22" fmla="*/ 31564 h 64219"/>
                    <a:gd name="connsiteX23" fmla="*/ 39950 w 44578"/>
                    <a:gd name="connsiteY23" fmla="*/ 32232 h 64219"/>
                    <a:gd name="connsiteX24" fmla="*/ 40129 w 44578"/>
                    <a:gd name="connsiteY24" fmla="*/ 33137 h 64219"/>
                    <a:gd name="connsiteX25" fmla="*/ 37595 w 44578"/>
                    <a:gd name="connsiteY25" fmla="*/ 35337 h 64219"/>
                    <a:gd name="connsiteX26" fmla="*/ 34995 w 44578"/>
                    <a:gd name="connsiteY26" fmla="*/ 38239 h 64219"/>
                    <a:gd name="connsiteX27" fmla="*/ 34367 w 44578"/>
                    <a:gd name="connsiteY27" fmla="*/ 40186 h 64219"/>
                    <a:gd name="connsiteX28" fmla="*/ 33854 w 44578"/>
                    <a:gd name="connsiteY28" fmla="*/ 42485 h 64219"/>
                    <a:gd name="connsiteX29" fmla="*/ 33096 w 44578"/>
                    <a:gd name="connsiteY29" fmla="*/ 43952 h 64219"/>
                    <a:gd name="connsiteX30" fmla="*/ 31116 w 44578"/>
                    <a:gd name="connsiteY30" fmla="*/ 46087 h 64219"/>
                    <a:gd name="connsiteX31" fmla="*/ 29086 w 44578"/>
                    <a:gd name="connsiteY31" fmla="*/ 50341 h 64219"/>
                    <a:gd name="connsiteX32" fmla="*/ 28100 w 44578"/>
                    <a:gd name="connsiteY32" fmla="*/ 53120 h 64219"/>
                    <a:gd name="connsiteX33" fmla="*/ 23137 w 44578"/>
                    <a:gd name="connsiteY33" fmla="*/ 59770 h 64219"/>
                    <a:gd name="connsiteX34" fmla="*/ 18736 w 44578"/>
                    <a:gd name="connsiteY34" fmla="*/ 63087 h 64219"/>
                    <a:gd name="connsiteX35" fmla="*/ 17449 w 44578"/>
                    <a:gd name="connsiteY35" fmla="*/ 64220 h 64219"/>
                    <a:gd name="connsiteX36" fmla="*/ 9649 w 44578"/>
                    <a:gd name="connsiteY36" fmla="*/ 64024 h 64219"/>
                    <a:gd name="connsiteX37" fmla="*/ 9054 w 44578"/>
                    <a:gd name="connsiteY37" fmla="*/ 59542 h 64219"/>
                    <a:gd name="connsiteX38" fmla="*/ 7864 w 44578"/>
                    <a:gd name="connsiteY38" fmla="*/ 53413 h 64219"/>
                    <a:gd name="connsiteX39" fmla="*/ 5183 w 44578"/>
                    <a:gd name="connsiteY39" fmla="*/ 47880 h 64219"/>
                    <a:gd name="connsiteX40" fmla="*/ 4906 w 44578"/>
                    <a:gd name="connsiteY40" fmla="*/ 45573 h 64219"/>
                    <a:gd name="connsiteX41" fmla="*/ 5036 w 44578"/>
                    <a:gd name="connsiteY41" fmla="*/ 41116 h 64219"/>
                    <a:gd name="connsiteX42" fmla="*/ 5036 w 44578"/>
                    <a:gd name="connsiteY42" fmla="*/ 34848 h 64219"/>
                    <a:gd name="connsiteX43" fmla="*/ 4857 w 44578"/>
                    <a:gd name="connsiteY43" fmla="*/ 31474 h 64219"/>
                    <a:gd name="connsiteX44" fmla="*/ 4914 w 44578"/>
                    <a:gd name="connsiteY44" fmla="*/ 29021 h 64219"/>
                    <a:gd name="connsiteX45" fmla="*/ 5256 w 44578"/>
                    <a:gd name="connsiteY45" fmla="*/ 24743 h 64219"/>
                    <a:gd name="connsiteX46" fmla="*/ 5215 w 44578"/>
                    <a:gd name="connsiteY46" fmla="*/ 22200 h 64219"/>
                    <a:gd name="connsiteX47" fmla="*/ 3447 w 44578"/>
                    <a:gd name="connsiteY47" fmla="*/ 19250 h 64219"/>
                    <a:gd name="connsiteX48" fmla="*/ 1255 w 44578"/>
                    <a:gd name="connsiteY48" fmla="*/ 16128 h 64219"/>
                    <a:gd name="connsiteX49" fmla="*/ 57 w 44578"/>
                    <a:gd name="connsiteY49" fmla="*/ 14580 h 64219"/>
                    <a:gd name="connsiteX50" fmla="*/ 0 w 44578"/>
                    <a:gd name="connsiteY50" fmla="*/ 13349 h 64219"/>
                    <a:gd name="connsiteX51" fmla="*/ 8 w 44578"/>
                    <a:gd name="connsiteY51" fmla="*/ 12208 h 64219"/>
                    <a:gd name="connsiteX52" fmla="*/ 350 w 44578"/>
                    <a:gd name="connsiteY52" fmla="*/ 10538 h 64219"/>
                    <a:gd name="connsiteX53" fmla="*/ 1222 w 44578"/>
                    <a:gd name="connsiteY53" fmla="*/ 8688 h 64219"/>
                    <a:gd name="connsiteX54" fmla="*/ 2176 w 44578"/>
                    <a:gd name="connsiteY54" fmla="*/ 8476 h 64219"/>
                    <a:gd name="connsiteX55" fmla="*/ 4555 w 44578"/>
                    <a:gd name="connsiteY55" fmla="*/ 9209 h 64219"/>
                    <a:gd name="connsiteX56" fmla="*/ 7017 w 44578"/>
                    <a:gd name="connsiteY56" fmla="*/ 10790 h 64219"/>
                    <a:gd name="connsiteX57" fmla="*/ 8329 w 44578"/>
                    <a:gd name="connsiteY57" fmla="*/ 14335 h 64219"/>
                    <a:gd name="connsiteX58" fmla="*/ 9323 w 44578"/>
                    <a:gd name="connsiteY58" fmla="*/ 14857 h 64219"/>
                    <a:gd name="connsiteX59" fmla="*/ 11157 w 44578"/>
                    <a:gd name="connsiteY59" fmla="*/ 14841 h 64219"/>
                    <a:gd name="connsiteX60" fmla="*/ 15811 w 44578"/>
                    <a:gd name="connsiteY60" fmla="*/ 14376 h 64219"/>
                    <a:gd name="connsiteX61" fmla="*/ 16975 w 44578"/>
                    <a:gd name="connsiteY61" fmla="*/ 14441 h 64219"/>
                    <a:gd name="connsiteX62" fmla="*/ 19078 w 44578"/>
                    <a:gd name="connsiteY62" fmla="*/ 13586 h 64219"/>
                    <a:gd name="connsiteX63" fmla="*/ 21181 w 44578"/>
                    <a:gd name="connsiteY63" fmla="*/ 12094 h 64219"/>
                    <a:gd name="connsiteX64" fmla="*/ 21784 w 44578"/>
                    <a:gd name="connsiteY64" fmla="*/ 10538 h 64219"/>
                    <a:gd name="connsiteX65" fmla="*/ 22281 w 44578"/>
                    <a:gd name="connsiteY65" fmla="*/ 7066 h 64219"/>
                    <a:gd name="connsiteX66" fmla="*/ 22721 w 44578"/>
                    <a:gd name="connsiteY66" fmla="*/ 799 h 64219"/>
                    <a:gd name="connsiteX67" fmla="*/ 23781 w 44578"/>
                    <a:gd name="connsiteY67" fmla="*/ 725 h 64219"/>
                    <a:gd name="connsiteX68" fmla="*/ 26731 w 44578"/>
                    <a:gd name="connsiteY68" fmla="*/ 2967 h 64219"/>
                    <a:gd name="connsiteX69" fmla="*/ 27367 w 44578"/>
                    <a:gd name="connsiteY69" fmla="*/ 3105 h 64219"/>
                    <a:gd name="connsiteX70" fmla="*/ 27986 w 44578"/>
                    <a:gd name="connsiteY70" fmla="*/ 3032 h 64219"/>
                    <a:gd name="connsiteX71" fmla="*/ 28997 w 44578"/>
                    <a:gd name="connsiteY71" fmla="*/ 1931 h 64219"/>
                    <a:gd name="connsiteX72" fmla="*/ 30244 w 44578"/>
                    <a:gd name="connsiteY72" fmla="*/ 1027 h 64219"/>
                    <a:gd name="connsiteX73" fmla="*/ 31181 w 44578"/>
                    <a:gd name="connsiteY73" fmla="*/ 1043 h 64219"/>
                    <a:gd name="connsiteX74" fmla="*/ 34587 w 44578"/>
                    <a:gd name="connsiteY74" fmla="*/ 0 h 64219"/>
                    <a:gd name="connsiteX75" fmla="*/ 36413 w 44578"/>
                    <a:gd name="connsiteY75" fmla="*/ 1899 h 64219"/>
                    <a:gd name="connsiteX76" fmla="*/ 37570 w 44578"/>
                    <a:gd name="connsiteY76" fmla="*/ 2486 h 64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44578" h="64219">
                      <a:moveTo>
                        <a:pt x="38181" y="2616"/>
                      </a:moveTo>
                      <a:lnTo>
                        <a:pt x="37693" y="3399"/>
                      </a:lnTo>
                      <a:lnTo>
                        <a:pt x="35410" y="9014"/>
                      </a:lnTo>
                      <a:lnTo>
                        <a:pt x="34979" y="9845"/>
                      </a:lnTo>
                      <a:lnTo>
                        <a:pt x="35231" y="10383"/>
                      </a:lnTo>
                      <a:lnTo>
                        <a:pt x="36185" y="11426"/>
                      </a:lnTo>
                      <a:lnTo>
                        <a:pt x="35630" y="13195"/>
                      </a:lnTo>
                      <a:lnTo>
                        <a:pt x="35394" y="13667"/>
                      </a:lnTo>
                      <a:lnTo>
                        <a:pt x="34979" y="15313"/>
                      </a:lnTo>
                      <a:lnTo>
                        <a:pt x="35206" y="16829"/>
                      </a:lnTo>
                      <a:lnTo>
                        <a:pt x="35745" y="17392"/>
                      </a:lnTo>
                      <a:lnTo>
                        <a:pt x="37219" y="18125"/>
                      </a:lnTo>
                      <a:lnTo>
                        <a:pt x="39436" y="18639"/>
                      </a:lnTo>
                      <a:lnTo>
                        <a:pt x="42052" y="19910"/>
                      </a:lnTo>
                      <a:lnTo>
                        <a:pt x="43805" y="20130"/>
                      </a:lnTo>
                      <a:lnTo>
                        <a:pt x="44212" y="21043"/>
                      </a:lnTo>
                      <a:lnTo>
                        <a:pt x="44139" y="22673"/>
                      </a:lnTo>
                      <a:lnTo>
                        <a:pt x="44571" y="24066"/>
                      </a:lnTo>
                      <a:lnTo>
                        <a:pt x="44579" y="26601"/>
                      </a:lnTo>
                      <a:lnTo>
                        <a:pt x="44049" y="28809"/>
                      </a:lnTo>
                      <a:lnTo>
                        <a:pt x="41368" y="29861"/>
                      </a:lnTo>
                      <a:lnTo>
                        <a:pt x="39974" y="30994"/>
                      </a:lnTo>
                      <a:lnTo>
                        <a:pt x="39608" y="31564"/>
                      </a:lnTo>
                      <a:lnTo>
                        <a:pt x="39950" y="32232"/>
                      </a:lnTo>
                      <a:lnTo>
                        <a:pt x="40129" y="33137"/>
                      </a:lnTo>
                      <a:lnTo>
                        <a:pt x="37595" y="35337"/>
                      </a:lnTo>
                      <a:lnTo>
                        <a:pt x="34995" y="38239"/>
                      </a:lnTo>
                      <a:lnTo>
                        <a:pt x="34367" y="40186"/>
                      </a:lnTo>
                      <a:lnTo>
                        <a:pt x="33854" y="42485"/>
                      </a:lnTo>
                      <a:lnTo>
                        <a:pt x="33096" y="43952"/>
                      </a:lnTo>
                      <a:lnTo>
                        <a:pt x="31116" y="46087"/>
                      </a:lnTo>
                      <a:lnTo>
                        <a:pt x="29086" y="50341"/>
                      </a:lnTo>
                      <a:lnTo>
                        <a:pt x="28100" y="53120"/>
                      </a:lnTo>
                      <a:lnTo>
                        <a:pt x="23137" y="59770"/>
                      </a:lnTo>
                      <a:lnTo>
                        <a:pt x="18736" y="63087"/>
                      </a:lnTo>
                      <a:lnTo>
                        <a:pt x="17449" y="64220"/>
                      </a:lnTo>
                      <a:lnTo>
                        <a:pt x="9649" y="64024"/>
                      </a:lnTo>
                      <a:lnTo>
                        <a:pt x="9054" y="59542"/>
                      </a:lnTo>
                      <a:lnTo>
                        <a:pt x="7864" y="53413"/>
                      </a:lnTo>
                      <a:lnTo>
                        <a:pt x="5183" y="47880"/>
                      </a:lnTo>
                      <a:lnTo>
                        <a:pt x="4906" y="45573"/>
                      </a:lnTo>
                      <a:lnTo>
                        <a:pt x="5036" y="41116"/>
                      </a:lnTo>
                      <a:lnTo>
                        <a:pt x="5036" y="34848"/>
                      </a:lnTo>
                      <a:lnTo>
                        <a:pt x="4857" y="31474"/>
                      </a:lnTo>
                      <a:lnTo>
                        <a:pt x="4914" y="29021"/>
                      </a:lnTo>
                      <a:lnTo>
                        <a:pt x="5256" y="24743"/>
                      </a:lnTo>
                      <a:lnTo>
                        <a:pt x="5215" y="22200"/>
                      </a:lnTo>
                      <a:lnTo>
                        <a:pt x="3447" y="19250"/>
                      </a:lnTo>
                      <a:lnTo>
                        <a:pt x="1255" y="16128"/>
                      </a:lnTo>
                      <a:lnTo>
                        <a:pt x="57" y="14580"/>
                      </a:lnTo>
                      <a:lnTo>
                        <a:pt x="0" y="13349"/>
                      </a:lnTo>
                      <a:lnTo>
                        <a:pt x="8" y="12208"/>
                      </a:lnTo>
                      <a:lnTo>
                        <a:pt x="350" y="10538"/>
                      </a:lnTo>
                      <a:lnTo>
                        <a:pt x="1222" y="8688"/>
                      </a:lnTo>
                      <a:lnTo>
                        <a:pt x="2176" y="8476"/>
                      </a:lnTo>
                      <a:lnTo>
                        <a:pt x="4555" y="9209"/>
                      </a:lnTo>
                      <a:lnTo>
                        <a:pt x="7017" y="10790"/>
                      </a:lnTo>
                      <a:lnTo>
                        <a:pt x="8329" y="14335"/>
                      </a:lnTo>
                      <a:lnTo>
                        <a:pt x="9323" y="14857"/>
                      </a:lnTo>
                      <a:lnTo>
                        <a:pt x="11157" y="14841"/>
                      </a:lnTo>
                      <a:lnTo>
                        <a:pt x="15811" y="14376"/>
                      </a:lnTo>
                      <a:lnTo>
                        <a:pt x="16975" y="14441"/>
                      </a:lnTo>
                      <a:lnTo>
                        <a:pt x="19078" y="13586"/>
                      </a:lnTo>
                      <a:lnTo>
                        <a:pt x="21181" y="12094"/>
                      </a:lnTo>
                      <a:lnTo>
                        <a:pt x="21784" y="10538"/>
                      </a:lnTo>
                      <a:lnTo>
                        <a:pt x="22281" y="7066"/>
                      </a:lnTo>
                      <a:lnTo>
                        <a:pt x="22721" y="799"/>
                      </a:lnTo>
                      <a:lnTo>
                        <a:pt x="23781" y="725"/>
                      </a:lnTo>
                      <a:lnTo>
                        <a:pt x="26731" y="2967"/>
                      </a:lnTo>
                      <a:lnTo>
                        <a:pt x="27367" y="3105"/>
                      </a:lnTo>
                      <a:lnTo>
                        <a:pt x="27986" y="3032"/>
                      </a:lnTo>
                      <a:lnTo>
                        <a:pt x="28997" y="1931"/>
                      </a:lnTo>
                      <a:lnTo>
                        <a:pt x="30244" y="1027"/>
                      </a:lnTo>
                      <a:lnTo>
                        <a:pt x="31181" y="1043"/>
                      </a:lnTo>
                      <a:lnTo>
                        <a:pt x="34587" y="0"/>
                      </a:lnTo>
                      <a:lnTo>
                        <a:pt x="36413" y="1899"/>
                      </a:lnTo>
                      <a:lnTo>
                        <a:pt x="37570" y="2486"/>
                      </a:lnTo>
                      <a:close/>
                    </a:path>
                  </a:pathLst>
                </a:custGeom>
                <a:solidFill>
                  <a:srgbClr val="D6D6D2"/>
                </a:solidFill>
                <a:ln w="8150" cap="flat">
                  <a:noFill/>
                  <a:prstDash val="solid"/>
                  <a:miter/>
                </a:ln>
              </p:spPr>
              <p:txBody>
                <a:bodyPr rtlCol="0" anchor="ctr"/>
                <a:lstStyle/>
                <a:p>
                  <a:endParaRPr lang="en-US"/>
                </a:p>
              </p:txBody>
            </p:sp>
            <p:sp>
              <p:nvSpPr>
                <p:cNvPr id="780" name="Freeform: Shape 779">
                  <a:extLst>
                    <a:ext uri="{FF2B5EF4-FFF2-40B4-BE49-F238E27FC236}">
                      <a16:creationId xmlns:a16="http://schemas.microsoft.com/office/drawing/2014/main" id="{24BDB418-90D6-40CC-A02C-36CF7064447A}"/>
                    </a:ext>
                  </a:extLst>
                </p:cNvPr>
                <p:cNvSpPr/>
                <p:nvPr/>
              </p:nvSpPr>
              <p:spPr>
                <a:xfrm>
                  <a:off x="7053993" y="3211314"/>
                  <a:ext cx="138830" cy="118521"/>
                </a:xfrm>
                <a:custGeom>
                  <a:avLst/>
                  <a:gdLst>
                    <a:gd name="connsiteX0" fmla="*/ 9527 w 138830"/>
                    <a:gd name="connsiteY0" fmla="*/ 78629 h 118521"/>
                    <a:gd name="connsiteX1" fmla="*/ 10024 w 138830"/>
                    <a:gd name="connsiteY1" fmla="*/ 79036 h 118521"/>
                    <a:gd name="connsiteX2" fmla="*/ 12013 w 138830"/>
                    <a:gd name="connsiteY2" fmla="*/ 78197 h 118521"/>
                    <a:gd name="connsiteX3" fmla="*/ 12893 w 138830"/>
                    <a:gd name="connsiteY3" fmla="*/ 79207 h 118521"/>
                    <a:gd name="connsiteX4" fmla="*/ 14417 w 138830"/>
                    <a:gd name="connsiteY4" fmla="*/ 80413 h 118521"/>
                    <a:gd name="connsiteX5" fmla="*/ 17073 w 138830"/>
                    <a:gd name="connsiteY5" fmla="*/ 81611 h 118521"/>
                    <a:gd name="connsiteX6" fmla="*/ 20888 w 138830"/>
                    <a:gd name="connsiteY6" fmla="*/ 79737 h 118521"/>
                    <a:gd name="connsiteX7" fmla="*/ 22795 w 138830"/>
                    <a:gd name="connsiteY7" fmla="*/ 79256 h 118521"/>
                    <a:gd name="connsiteX8" fmla="*/ 24351 w 138830"/>
                    <a:gd name="connsiteY8" fmla="*/ 79289 h 118521"/>
                    <a:gd name="connsiteX9" fmla="*/ 25199 w 138830"/>
                    <a:gd name="connsiteY9" fmla="*/ 79884 h 118521"/>
                    <a:gd name="connsiteX10" fmla="*/ 25492 w 138830"/>
                    <a:gd name="connsiteY10" fmla="*/ 81823 h 118521"/>
                    <a:gd name="connsiteX11" fmla="*/ 25191 w 138830"/>
                    <a:gd name="connsiteY11" fmla="*/ 84219 h 118521"/>
                    <a:gd name="connsiteX12" fmla="*/ 24751 w 138830"/>
                    <a:gd name="connsiteY12" fmla="*/ 85531 h 118521"/>
                    <a:gd name="connsiteX13" fmla="*/ 25549 w 138830"/>
                    <a:gd name="connsiteY13" fmla="*/ 86485 h 118521"/>
                    <a:gd name="connsiteX14" fmla="*/ 28687 w 138830"/>
                    <a:gd name="connsiteY14" fmla="*/ 88791 h 118521"/>
                    <a:gd name="connsiteX15" fmla="*/ 29983 w 138830"/>
                    <a:gd name="connsiteY15" fmla="*/ 90071 h 118521"/>
                    <a:gd name="connsiteX16" fmla="*/ 29347 w 138830"/>
                    <a:gd name="connsiteY16" fmla="*/ 92288 h 118521"/>
                    <a:gd name="connsiteX17" fmla="*/ 31686 w 138830"/>
                    <a:gd name="connsiteY17" fmla="*/ 97699 h 118521"/>
                    <a:gd name="connsiteX18" fmla="*/ 32469 w 138830"/>
                    <a:gd name="connsiteY18" fmla="*/ 99810 h 118521"/>
                    <a:gd name="connsiteX19" fmla="*/ 33381 w 138830"/>
                    <a:gd name="connsiteY19" fmla="*/ 102401 h 118521"/>
                    <a:gd name="connsiteX20" fmla="*/ 28606 w 138830"/>
                    <a:gd name="connsiteY20" fmla="*/ 101383 h 118521"/>
                    <a:gd name="connsiteX21" fmla="*/ 19999 w 138830"/>
                    <a:gd name="connsiteY21" fmla="*/ 99199 h 118521"/>
                    <a:gd name="connsiteX22" fmla="*/ 17636 w 138830"/>
                    <a:gd name="connsiteY22" fmla="*/ 98074 h 118521"/>
                    <a:gd name="connsiteX23" fmla="*/ 15395 w 138830"/>
                    <a:gd name="connsiteY23" fmla="*/ 95050 h 118521"/>
                    <a:gd name="connsiteX24" fmla="*/ 14058 w 138830"/>
                    <a:gd name="connsiteY24" fmla="*/ 93591 h 118521"/>
                    <a:gd name="connsiteX25" fmla="*/ 12086 w 138830"/>
                    <a:gd name="connsiteY25" fmla="*/ 91717 h 118521"/>
                    <a:gd name="connsiteX26" fmla="*/ 10472 w 138830"/>
                    <a:gd name="connsiteY26" fmla="*/ 91016 h 118521"/>
                    <a:gd name="connsiteX27" fmla="*/ 9258 w 138830"/>
                    <a:gd name="connsiteY27" fmla="*/ 89712 h 118521"/>
                    <a:gd name="connsiteX28" fmla="*/ 8557 w 138830"/>
                    <a:gd name="connsiteY28" fmla="*/ 87773 h 118521"/>
                    <a:gd name="connsiteX29" fmla="*/ 7530 w 138830"/>
                    <a:gd name="connsiteY29" fmla="*/ 86045 h 118521"/>
                    <a:gd name="connsiteX30" fmla="*/ 5754 w 138830"/>
                    <a:gd name="connsiteY30" fmla="*/ 83999 h 118521"/>
                    <a:gd name="connsiteX31" fmla="*/ 1736 w 138830"/>
                    <a:gd name="connsiteY31" fmla="*/ 77048 h 118521"/>
                    <a:gd name="connsiteX32" fmla="*/ 1214 w 138830"/>
                    <a:gd name="connsiteY32" fmla="*/ 76322 h 118521"/>
                    <a:gd name="connsiteX33" fmla="*/ 375 w 138830"/>
                    <a:gd name="connsiteY33" fmla="*/ 75165 h 118521"/>
                    <a:gd name="connsiteX34" fmla="*/ 0 w 138830"/>
                    <a:gd name="connsiteY34" fmla="*/ 74529 h 118521"/>
                    <a:gd name="connsiteX35" fmla="*/ 2461 w 138830"/>
                    <a:gd name="connsiteY35" fmla="*/ 74008 h 118521"/>
                    <a:gd name="connsiteX36" fmla="*/ 6528 w 138830"/>
                    <a:gd name="connsiteY36" fmla="*/ 72443 h 118521"/>
                    <a:gd name="connsiteX37" fmla="*/ 7644 w 138830"/>
                    <a:gd name="connsiteY37" fmla="*/ 73201 h 118521"/>
                    <a:gd name="connsiteX38" fmla="*/ 8842 w 138830"/>
                    <a:gd name="connsiteY38" fmla="*/ 74782 h 118521"/>
                    <a:gd name="connsiteX39" fmla="*/ 9429 w 138830"/>
                    <a:gd name="connsiteY39" fmla="*/ 76127 h 118521"/>
                    <a:gd name="connsiteX40" fmla="*/ 9527 w 138830"/>
                    <a:gd name="connsiteY40" fmla="*/ 78629 h 118521"/>
                    <a:gd name="connsiteX41" fmla="*/ 44237 w 138830"/>
                    <a:gd name="connsiteY41" fmla="*/ 2689 h 118521"/>
                    <a:gd name="connsiteX42" fmla="*/ 44718 w 138830"/>
                    <a:gd name="connsiteY42" fmla="*/ 3105 h 118521"/>
                    <a:gd name="connsiteX43" fmla="*/ 45826 w 138830"/>
                    <a:gd name="connsiteY43" fmla="*/ 2877 h 118521"/>
                    <a:gd name="connsiteX44" fmla="*/ 47676 w 138830"/>
                    <a:gd name="connsiteY44" fmla="*/ 2037 h 118521"/>
                    <a:gd name="connsiteX45" fmla="*/ 49135 w 138830"/>
                    <a:gd name="connsiteY45" fmla="*/ 2681 h 118521"/>
                    <a:gd name="connsiteX46" fmla="*/ 51025 w 138830"/>
                    <a:gd name="connsiteY46" fmla="*/ 5053 h 118521"/>
                    <a:gd name="connsiteX47" fmla="*/ 53633 w 138830"/>
                    <a:gd name="connsiteY47" fmla="*/ 7555 h 118521"/>
                    <a:gd name="connsiteX48" fmla="*/ 55051 w 138830"/>
                    <a:gd name="connsiteY48" fmla="*/ 9234 h 118521"/>
                    <a:gd name="connsiteX49" fmla="*/ 55606 w 138830"/>
                    <a:gd name="connsiteY49" fmla="*/ 10399 h 118521"/>
                    <a:gd name="connsiteX50" fmla="*/ 56934 w 138830"/>
                    <a:gd name="connsiteY50" fmla="*/ 11524 h 118521"/>
                    <a:gd name="connsiteX51" fmla="*/ 58882 w 138830"/>
                    <a:gd name="connsiteY51" fmla="*/ 12844 h 118521"/>
                    <a:gd name="connsiteX52" fmla="*/ 60439 w 138830"/>
                    <a:gd name="connsiteY52" fmla="*/ 14914 h 118521"/>
                    <a:gd name="connsiteX53" fmla="*/ 61824 w 138830"/>
                    <a:gd name="connsiteY53" fmla="*/ 19722 h 118521"/>
                    <a:gd name="connsiteX54" fmla="*/ 63226 w 138830"/>
                    <a:gd name="connsiteY54" fmla="*/ 20839 h 118521"/>
                    <a:gd name="connsiteX55" fmla="*/ 68254 w 138830"/>
                    <a:gd name="connsiteY55" fmla="*/ 22664 h 118521"/>
                    <a:gd name="connsiteX56" fmla="*/ 70022 w 138830"/>
                    <a:gd name="connsiteY56" fmla="*/ 23039 h 118521"/>
                    <a:gd name="connsiteX57" fmla="*/ 74961 w 138830"/>
                    <a:gd name="connsiteY57" fmla="*/ 23683 h 118521"/>
                    <a:gd name="connsiteX58" fmla="*/ 76705 w 138830"/>
                    <a:gd name="connsiteY58" fmla="*/ 23219 h 118521"/>
                    <a:gd name="connsiteX59" fmla="*/ 79248 w 138830"/>
                    <a:gd name="connsiteY59" fmla="*/ 19079 h 118521"/>
                    <a:gd name="connsiteX60" fmla="*/ 81538 w 138830"/>
                    <a:gd name="connsiteY60" fmla="*/ 14808 h 118521"/>
                    <a:gd name="connsiteX61" fmla="*/ 83682 w 138830"/>
                    <a:gd name="connsiteY61" fmla="*/ 13920 h 118521"/>
                    <a:gd name="connsiteX62" fmla="*/ 87552 w 138830"/>
                    <a:gd name="connsiteY62" fmla="*/ 11858 h 118521"/>
                    <a:gd name="connsiteX63" fmla="*/ 89859 w 138830"/>
                    <a:gd name="connsiteY63" fmla="*/ 9902 h 118521"/>
                    <a:gd name="connsiteX64" fmla="*/ 90828 w 138830"/>
                    <a:gd name="connsiteY64" fmla="*/ 7807 h 118521"/>
                    <a:gd name="connsiteX65" fmla="*/ 93021 w 138830"/>
                    <a:gd name="connsiteY65" fmla="*/ 3830 h 118521"/>
                    <a:gd name="connsiteX66" fmla="*/ 94366 w 138830"/>
                    <a:gd name="connsiteY66" fmla="*/ 1597 h 118521"/>
                    <a:gd name="connsiteX67" fmla="*/ 96631 w 138830"/>
                    <a:gd name="connsiteY67" fmla="*/ 3586 h 118521"/>
                    <a:gd name="connsiteX68" fmla="*/ 100576 w 138830"/>
                    <a:gd name="connsiteY68" fmla="*/ 8965 h 118521"/>
                    <a:gd name="connsiteX69" fmla="*/ 106207 w 138830"/>
                    <a:gd name="connsiteY69" fmla="*/ 17717 h 118521"/>
                    <a:gd name="connsiteX70" fmla="*/ 107592 w 138830"/>
                    <a:gd name="connsiteY70" fmla="*/ 20195 h 118521"/>
                    <a:gd name="connsiteX71" fmla="*/ 108497 w 138830"/>
                    <a:gd name="connsiteY71" fmla="*/ 23064 h 118521"/>
                    <a:gd name="connsiteX72" fmla="*/ 109280 w 138830"/>
                    <a:gd name="connsiteY72" fmla="*/ 26536 h 118521"/>
                    <a:gd name="connsiteX73" fmla="*/ 110568 w 138830"/>
                    <a:gd name="connsiteY73" fmla="*/ 29600 h 118521"/>
                    <a:gd name="connsiteX74" fmla="*/ 116272 w 138830"/>
                    <a:gd name="connsiteY74" fmla="*/ 37318 h 118521"/>
                    <a:gd name="connsiteX75" fmla="*/ 118742 w 138830"/>
                    <a:gd name="connsiteY75" fmla="*/ 40170 h 118521"/>
                    <a:gd name="connsiteX76" fmla="*/ 122759 w 138830"/>
                    <a:gd name="connsiteY76" fmla="*/ 43854 h 118521"/>
                    <a:gd name="connsiteX77" fmla="*/ 124194 w 138830"/>
                    <a:gd name="connsiteY77" fmla="*/ 44677 h 118521"/>
                    <a:gd name="connsiteX78" fmla="*/ 126068 w 138830"/>
                    <a:gd name="connsiteY78" fmla="*/ 44905 h 118521"/>
                    <a:gd name="connsiteX79" fmla="*/ 129507 w 138830"/>
                    <a:gd name="connsiteY79" fmla="*/ 44921 h 118521"/>
                    <a:gd name="connsiteX80" fmla="*/ 132702 w 138830"/>
                    <a:gd name="connsiteY80" fmla="*/ 46356 h 118521"/>
                    <a:gd name="connsiteX81" fmla="*/ 134275 w 138830"/>
                    <a:gd name="connsiteY81" fmla="*/ 47366 h 118521"/>
                    <a:gd name="connsiteX82" fmla="*/ 135897 w 138830"/>
                    <a:gd name="connsiteY82" fmla="*/ 48833 h 118521"/>
                    <a:gd name="connsiteX83" fmla="*/ 137364 w 138830"/>
                    <a:gd name="connsiteY83" fmla="*/ 50520 h 118521"/>
                    <a:gd name="connsiteX84" fmla="*/ 138830 w 138830"/>
                    <a:gd name="connsiteY84" fmla="*/ 55027 h 118521"/>
                    <a:gd name="connsiteX85" fmla="*/ 133297 w 138830"/>
                    <a:gd name="connsiteY85" fmla="*/ 53536 h 118521"/>
                    <a:gd name="connsiteX86" fmla="*/ 127731 w 138830"/>
                    <a:gd name="connsiteY86" fmla="*/ 53772 h 118521"/>
                    <a:gd name="connsiteX87" fmla="*/ 124585 w 138830"/>
                    <a:gd name="connsiteY87" fmla="*/ 54742 h 118521"/>
                    <a:gd name="connsiteX88" fmla="*/ 121537 w 138830"/>
                    <a:gd name="connsiteY88" fmla="*/ 56062 h 118521"/>
                    <a:gd name="connsiteX89" fmla="*/ 118611 w 138830"/>
                    <a:gd name="connsiteY89" fmla="*/ 57928 h 118521"/>
                    <a:gd name="connsiteX90" fmla="*/ 116777 w 138830"/>
                    <a:gd name="connsiteY90" fmla="*/ 61555 h 118521"/>
                    <a:gd name="connsiteX91" fmla="*/ 115245 w 138830"/>
                    <a:gd name="connsiteY91" fmla="*/ 69941 h 118521"/>
                    <a:gd name="connsiteX92" fmla="*/ 112988 w 138830"/>
                    <a:gd name="connsiteY92" fmla="*/ 77773 h 118521"/>
                    <a:gd name="connsiteX93" fmla="*/ 113078 w 138830"/>
                    <a:gd name="connsiteY93" fmla="*/ 81391 h 118521"/>
                    <a:gd name="connsiteX94" fmla="*/ 114063 w 138830"/>
                    <a:gd name="connsiteY94" fmla="*/ 84871 h 118521"/>
                    <a:gd name="connsiteX95" fmla="*/ 113950 w 138830"/>
                    <a:gd name="connsiteY95" fmla="*/ 86518 h 118521"/>
                    <a:gd name="connsiteX96" fmla="*/ 112906 w 138830"/>
                    <a:gd name="connsiteY96" fmla="*/ 87210 h 118521"/>
                    <a:gd name="connsiteX97" fmla="*/ 111627 w 138830"/>
                    <a:gd name="connsiteY97" fmla="*/ 88685 h 118521"/>
                    <a:gd name="connsiteX98" fmla="*/ 109907 w 138830"/>
                    <a:gd name="connsiteY98" fmla="*/ 95857 h 118521"/>
                    <a:gd name="connsiteX99" fmla="*/ 109051 w 138830"/>
                    <a:gd name="connsiteY99" fmla="*/ 97283 h 118521"/>
                    <a:gd name="connsiteX100" fmla="*/ 107951 w 138830"/>
                    <a:gd name="connsiteY100" fmla="*/ 98172 h 118521"/>
                    <a:gd name="connsiteX101" fmla="*/ 107650 w 138830"/>
                    <a:gd name="connsiteY101" fmla="*/ 97324 h 118521"/>
                    <a:gd name="connsiteX102" fmla="*/ 107715 w 138830"/>
                    <a:gd name="connsiteY102" fmla="*/ 95450 h 118521"/>
                    <a:gd name="connsiteX103" fmla="*/ 105278 w 138830"/>
                    <a:gd name="connsiteY103" fmla="*/ 93787 h 118521"/>
                    <a:gd name="connsiteX104" fmla="*/ 103999 w 138830"/>
                    <a:gd name="connsiteY104" fmla="*/ 95645 h 118521"/>
                    <a:gd name="connsiteX105" fmla="*/ 103119 w 138830"/>
                    <a:gd name="connsiteY105" fmla="*/ 99590 h 118521"/>
                    <a:gd name="connsiteX106" fmla="*/ 101350 w 138830"/>
                    <a:gd name="connsiteY106" fmla="*/ 103730 h 118521"/>
                    <a:gd name="connsiteX107" fmla="*/ 101244 w 138830"/>
                    <a:gd name="connsiteY107" fmla="*/ 104520 h 118521"/>
                    <a:gd name="connsiteX108" fmla="*/ 101701 w 138830"/>
                    <a:gd name="connsiteY108" fmla="*/ 117291 h 118521"/>
                    <a:gd name="connsiteX109" fmla="*/ 100991 w 138830"/>
                    <a:gd name="connsiteY109" fmla="*/ 117226 h 118521"/>
                    <a:gd name="connsiteX110" fmla="*/ 95914 w 138830"/>
                    <a:gd name="connsiteY110" fmla="*/ 118522 h 118521"/>
                    <a:gd name="connsiteX111" fmla="*/ 94847 w 138830"/>
                    <a:gd name="connsiteY111" fmla="*/ 118106 h 118521"/>
                    <a:gd name="connsiteX112" fmla="*/ 90503 w 138830"/>
                    <a:gd name="connsiteY112" fmla="*/ 112214 h 118521"/>
                    <a:gd name="connsiteX113" fmla="*/ 89614 w 138830"/>
                    <a:gd name="connsiteY113" fmla="*/ 111562 h 118521"/>
                    <a:gd name="connsiteX114" fmla="*/ 87740 w 138830"/>
                    <a:gd name="connsiteY114" fmla="*/ 111301 h 118521"/>
                    <a:gd name="connsiteX115" fmla="*/ 86640 w 138830"/>
                    <a:gd name="connsiteY115" fmla="*/ 110331 h 118521"/>
                    <a:gd name="connsiteX116" fmla="*/ 85743 w 138830"/>
                    <a:gd name="connsiteY116" fmla="*/ 108758 h 118521"/>
                    <a:gd name="connsiteX117" fmla="*/ 85238 w 138830"/>
                    <a:gd name="connsiteY117" fmla="*/ 107585 h 118521"/>
                    <a:gd name="connsiteX118" fmla="*/ 80739 w 138830"/>
                    <a:gd name="connsiteY118" fmla="*/ 104390 h 118521"/>
                    <a:gd name="connsiteX119" fmla="*/ 80071 w 138830"/>
                    <a:gd name="connsiteY119" fmla="*/ 103216 h 118521"/>
                    <a:gd name="connsiteX120" fmla="*/ 79973 w 138830"/>
                    <a:gd name="connsiteY120" fmla="*/ 102190 h 118521"/>
                    <a:gd name="connsiteX121" fmla="*/ 80633 w 138830"/>
                    <a:gd name="connsiteY121" fmla="*/ 101269 h 118521"/>
                    <a:gd name="connsiteX122" fmla="*/ 81408 w 138830"/>
                    <a:gd name="connsiteY122" fmla="*/ 100486 h 118521"/>
                    <a:gd name="connsiteX123" fmla="*/ 83600 w 138830"/>
                    <a:gd name="connsiteY123" fmla="*/ 99687 h 118521"/>
                    <a:gd name="connsiteX124" fmla="*/ 86167 w 138830"/>
                    <a:gd name="connsiteY124" fmla="*/ 99011 h 118521"/>
                    <a:gd name="connsiteX125" fmla="*/ 86990 w 138830"/>
                    <a:gd name="connsiteY125" fmla="*/ 98514 h 118521"/>
                    <a:gd name="connsiteX126" fmla="*/ 87406 w 138830"/>
                    <a:gd name="connsiteY126" fmla="*/ 97666 h 118521"/>
                    <a:gd name="connsiteX127" fmla="*/ 87381 w 138830"/>
                    <a:gd name="connsiteY127" fmla="*/ 96297 h 118521"/>
                    <a:gd name="connsiteX128" fmla="*/ 86958 w 138830"/>
                    <a:gd name="connsiteY128" fmla="*/ 94953 h 118521"/>
                    <a:gd name="connsiteX129" fmla="*/ 83274 w 138830"/>
                    <a:gd name="connsiteY129" fmla="*/ 92508 h 118521"/>
                    <a:gd name="connsiteX130" fmla="*/ 82866 w 138830"/>
                    <a:gd name="connsiteY130" fmla="*/ 91456 h 118521"/>
                    <a:gd name="connsiteX131" fmla="*/ 82744 w 138830"/>
                    <a:gd name="connsiteY131" fmla="*/ 90169 h 118521"/>
                    <a:gd name="connsiteX132" fmla="*/ 82956 w 138830"/>
                    <a:gd name="connsiteY132" fmla="*/ 88816 h 118521"/>
                    <a:gd name="connsiteX133" fmla="*/ 83526 w 138830"/>
                    <a:gd name="connsiteY133" fmla="*/ 87764 h 118521"/>
                    <a:gd name="connsiteX134" fmla="*/ 86526 w 138830"/>
                    <a:gd name="connsiteY134" fmla="*/ 86322 h 118521"/>
                    <a:gd name="connsiteX135" fmla="*/ 88147 w 138830"/>
                    <a:gd name="connsiteY135" fmla="*/ 84831 h 118521"/>
                    <a:gd name="connsiteX136" fmla="*/ 87145 w 138830"/>
                    <a:gd name="connsiteY136" fmla="*/ 83168 h 118521"/>
                    <a:gd name="connsiteX137" fmla="*/ 83901 w 138830"/>
                    <a:gd name="connsiteY137" fmla="*/ 79378 h 118521"/>
                    <a:gd name="connsiteX138" fmla="*/ 80055 w 138830"/>
                    <a:gd name="connsiteY138" fmla="*/ 75206 h 118521"/>
                    <a:gd name="connsiteX139" fmla="*/ 77488 w 138830"/>
                    <a:gd name="connsiteY139" fmla="*/ 75165 h 118521"/>
                    <a:gd name="connsiteX140" fmla="*/ 74529 w 138830"/>
                    <a:gd name="connsiteY140" fmla="*/ 76396 h 118521"/>
                    <a:gd name="connsiteX141" fmla="*/ 69786 w 138830"/>
                    <a:gd name="connsiteY141" fmla="*/ 79957 h 118521"/>
                    <a:gd name="connsiteX142" fmla="*/ 67162 w 138830"/>
                    <a:gd name="connsiteY142" fmla="*/ 81481 h 118521"/>
                    <a:gd name="connsiteX143" fmla="*/ 63747 w 138830"/>
                    <a:gd name="connsiteY143" fmla="*/ 83999 h 118521"/>
                    <a:gd name="connsiteX144" fmla="*/ 60031 w 138830"/>
                    <a:gd name="connsiteY144" fmla="*/ 86795 h 118521"/>
                    <a:gd name="connsiteX145" fmla="*/ 56975 w 138830"/>
                    <a:gd name="connsiteY145" fmla="*/ 89769 h 118521"/>
                    <a:gd name="connsiteX146" fmla="*/ 55092 w 138830"/>
                    <a:gd name="connsiteY146" fmla="*/ 92222 h 118521"/>
                    <a:gd name="connsiteX147" fmla="*/ 51702 w 138830"/>
                    <a:gd name="connsiteY147" fmla="*/ 93290 h 118521"/>
                    <a:gd name="connsiteX148" fmla="*/ 49982 w 138830"/>
                    <a:gd name="connsiteY148" fmla="*/ 95352 h 118521"/>
                    <a:gd name="connsiteX149" fmla="*/ 44326 w 138830"/>
                    <a:gd name="connsiteY149" fmla="*/ 101513 h 118521"/>
                    <a:gd name="connsiteX150" fmla="*/ 42729 w 138830"/>
                    <a:gd name="connsiteY150" fmla="*/ 101432 h 118521"/>
                    <a:gd name="connsiteX151" fmla="*/ 42639 w 138830"/>
                    <a:gd name="connsiteY151" fmla="*/ 98375 h 118521"/>
                    <a:gd name="connsiteX152" fmla="*/ 42705 w 138830"/>
                    <a:gd name="connsiteY152" fmla="*/ 95955 h 118521"/>
                    <a:gd name="connsiteX153" fmla="*/ 42354 w 138830"/>
                    <a:gd name="connsiteY153" fmla="*/ 94561 h 118521"/>
                    <a:gd name="connsiteX154" fmla="*/ 40520 w 138830"/>
                    <a:gd name="connsiteY154" fmla="*/ 92646 h 118521"/>
                    <a:gd name="connsiteX155" fmla="*/ 40488 w 138830"/>
                    <a:gd name="connsiteY155" fmla="*/ 91823 h 118521"/>
                    <a:gd name="connsiteX156" fmla="*/ 40993 w 138830"/>
                    <a:gd name="connsiteY156" fmla="*/ 91310 h 118521"/>
                    <a:gd name="connsiteX157" fmla="*/ 42395 w 138830"/>
                    <a:gd name="connsiteY157" fmla="*/ 91619 h 118521"/>
                    <a:gd name="connsiteX158" fmla="*/ 44204 w 138830"/>
                    <a:gd name="connsiteY158" fmla="*/ 91505 h 118521"/>
                    <a:gd name="connsiteX159" fmla="*/ 45060 w 138830"/>
                    <a:gd name="connsiteY159" fmla="*/ 90764 h 118521"/>
                    <a:gd name="connsiteX160" fmla="*/ 43136 w 138830"/>
                    <a:gd name="connsiteY160" fmla="*/ 88229 h 118521"/>
                    <a:gd name="connsiteX161" fmla="*/ 41417 w 138830"/>
                    <a:gd name="connsiteY161" fmla="*/ 86542 h 118521"/>
                    <a:gd name="connsiteX162" fmla="*/ 39942 w 138830"/>
                    <a:gd name="connsiteY162" fmla="*/ 85401 h 118521"/>
                    <a:gd name="connsiteX163" fmla="*/ 39624 w 138830"/>
                    <a:gd name="connsiteY163" fmla="*/ 84717 h 118521"/>
                    <a:gd name="connsiteX164" fmla="*/ 39616 w 138830"/>
                    <a:gd name="connsiteY164" fmla="*/ 84227 h 118521"/>
                    <a:gd name="connsiteX165" fmla="*/ 39925 w 138830"/>
                    <a:gd name="connsiteY165" fmla="*/ 83657 h 118521"/>
                    <a:gd name="connsiteX166" fmla="*/ 42427 w 138830"/>
                    <a:gd name="connsiteY166" fmla="*/ 82263 h 118521"/>
                    <a:gd name="connsiteX167" fmla="*/ 42672 w 138830"/>
                    <a:gd name="connsiteY167" fmla="*/ 80984 h 118521"/>
                    <a:gd name="connsiteX168" fmla="*/ 42501 w 138830"/>
                    <a:gd name="connsiteY168" fmla="*/ 79558 h 118521"/>
                    <a:gd name="connsiteX169" fmla="*/ 38540 w 138830"/>
                    <a:gd name="connsiteY169" fmla="*/ 77455 h 118521"/>
                    <a:gd name="connsiteX170" fmla="*/ 35581 w 138830"/>
                    <a:gd name="connsiteY170" fmla="*/ 78229 h 118521"/>
                    <a:gd name="connsiteX171" fmla="*/ 32917 w 138830"/>
                    <a:gd name="connsiteY171" fmla="*/ 75866 h 118521"/>
                    <a:gd name="connsiteX172" fmla="*/ 31214 w 138830"/>
                    <a:gd name="connsiteY172" fmla="*/ 74032 h 118521"/>
                    <a:gd name="connsiteX173" fmla="*/ 29070 w 138830"/>
                    <a:gd name="connsiteY173" fmla="*/ 72068 h 118521"/>
                    <a:gd name="connsiteX174" fmla="*/ 27171 w 138830"/>
                    <a:gd name="connsiteY174" fmla="*/ 70992 h 118521"/>
                    <a:gd name="connsiteX175" fmla="*/ 25346 w 138830"/>
                    <a:gd name="connsiteY175" fmla="*/ 68531 h 118521"/>
                    <a:gd name="connsiteX176" fmla="*/ 22175 w 138830"/>
                    <a:gd name="connsiteY176" fmla="*/ 65988 h 118521"/>
                    <a:gd name="connsiteX177" fmla="*/ 20138 w 138830"/>
                    <a:gd name="connsiteY177" fmla="*/ 65263 h 118521"/>
                    <a:gd name="connsiteX178" fmla="*/ 20170 w 138830"/>
                    <a:gd name="connsiteY178" fmla="*/ 64880 h 118521"/>
                    <a:gd name="connsiteX179" fmla="*/ 20545 w 138830"/>
                    <a:gd name="connsiteY179" fmla="*/ 64407 h 118521"/>
                    <a:gd name="connsiteX180" fmla="*/ 21393 w 138830"/>
                    <a:gd name="connsiteY180" fmla="*/ 64024 h 118521"/>
                    <a:gd name="connsiteX181" fmla="*/ 27041 w 138830"/>
                    <a:gd name="connsiteY181" fmla="*/ 64122 h 118521"/>
                    <a:gd name="connsiteX182" fmla="*/ 27734 w 138830"/>
                    <a:gd name="connsiteY182" fmla="*/ 63666 h 118521"/>
                    <a:gd name="connsiteX183" fmla="*/ 28084 w 138830"/>
                    <a:gd name="connsiteY183" fmla="*/ 62566 h 118521"/>
                    <a:gd name="connsiteX184" fmla="*/ 28858 w 138830"/>
                    <a:gd name="connsiteY184" fmla="*/ 60952 h 118521"/>
                    <a:gd name="connsiteX185" fmla="*/ 29763 w 138830"/>
                    <a:gd name="connsiteY185" fmla="*/ 58572 h 118521"/>
                    <a:gd name="connsiteX186" fmla="*/ 29690 w 138830"/>
                    <a:gd name="connsiteY186" fmla="*/ 56567 h 118521"/>
                    <a:gd name="connsiteX187" fmla="*/ 24001 w 138830"/>
                    <a:gd name="connsiteY187" fmla="*/ 53332 h 118521"/>
                    <a:gd name="connsiteX188" fmla="*/ 19885 w 138830"/>
                    <a:gd name="connsiteY188" fmla="*/ 50341 h 118521"/>
                    <a:gd name="connsiteX189" fmla="*/ 17033 w 138830"/>
                    <a:gd name="connsiteY189" fmla="*/ 46413 h 118521"/>
                    <a:gd name="connsiteX190" fmla="*/ 15085 w 138830"/>
                    <a:gd name="connsiteY190" fmla="*/ 42819 h 118521"/>
                    <a:gd name="connsiteX191" fmla="*/ 15158 w 138830"/>
                    <a:gd name="connsiteY191" fmla="*/ 41613 h 118521"/>
                    <a:gd name="connsiteX192" fmla="*/ 15713 w 138830"/>
                    <a:gd name="connsiteY192" fmla="*/ 40463 h 118521"/>
                    <a:gd name="connsiteX193" fmla="*/ 20130 w 138830"/>
                    <a:gd name="connsiteY193" fmla="*/ 37146 h 118521"/>
                    <a:gd name="connsiteX194" fmla="*/ 20423 w 138830"/>
                    <a:gd name="connsiteY194" fmla="*/ 36291 h 118521"/>
                    <a:gd name="connsiteX195" fmla="*/ 20334 w 138830"/>
                    <a:gd name="connsiteY195" fmla="*/ 35704 h 118521"/>
                    <a:gd name="connsiteX196" fmla="*/ 18752 w 138830"/>
                    <a:gd name="connsiteY196" fmla="*/ 34001 h 118521"/>
                    <a:gd name="connsiteX197" fmla="*/ 16772 w 138830"/>
                    <a:gd name="connsiteY197" fmla="*/ 32257 h 118521"/>
                    <a:gd name="connsiteX198" fmla="*/ 16153 w 138830"/>
                    <a:gd name="connsiteY198" fmla="*/ 30969 h 118521"/>
                    <a:gd name="connsiteX199" fmla="*/ 14914 w 138830"/>
                    <a:gd name="connsiteY199" fmla="*/ 30317 h 118521"/>
                    <a:gd name="connsiteX200" fmla="*/ 12542 w 138830"/>
                    <a:gd name="connsiteY200" fmla="*/ 30268 h 118521"/>
                    <a:gd name="connsiteX201" fmla="*/ 8394 w 138830"/>
                    <a:gd name="connsiteY201" fmla="*/ 28117 h 118521"/>
                    <a:gd name="connsiteX202" fmla="*/ 7514 w 138830"/>
                    <a:gd name="connsiteY202" fmla="*/ 27905 h 118521"/>
                    <a:gd name="connsiteX203" fmla="*/ 7319 w 138830"/>
                    <a:gd name="connsiteY203" fmla="*/ 27481 h 118521"/>
                    <a:gd name="connsiteX204" fmla="*/ 7522 w 138830"/>
                    <a:gd name="connsiteY204" fmla="*/ 27041 h 118521"/>
                    <a:gd name="connsiteX205" fmla="*/ 10481 w 138830"/>
                    <a:gd name="connsiteY205" fmla="*/ 26177 h 118521"/>
                    <a:gd name="connsiteX206" fmla="*/ 10431 w 138830"/>
                    <a:gd name="connsiteY206" fmla="*/ 25460 h 118521"/>
                    <a:gd name="connsiteX207" fmla="*/ 9543 w 138830"/>
                    <a:gd name="connsiteY207" fmla="*/ 24514 h 118521"/>
                    <a:gd name="connsiteX208" fmla="*/ 7864 w 138830"/>
                    <a:gd name="connsiteY208" fmla="*/ 23822 h 118521"/>
                    <a:gd name="connsiteX209" fmla="*/ 6332 w 138830"/>
                    <a:gd name="connsiteY209" fmla="*/ 22102 h 118521"/>
                    <a:gd name="connsiteX210" fmla="*/ 5811 w 138830"/>
                    <a:gd name="connsiteY210" fmla="*/ 20562 h 118521"/>
                    <a:gd name="connsiteX211" fmla="*/ 11157 w 138830"/>
                    <a:gd name="connsiteY211" fmla="*/ 16030 h 118521"/>
                    <a:gd name="connsiteX212" fmla="*/ 12738 w 138830"/>
                    <a:gd name="connsiteY212" fmla="*/ 15134 h 118521"/>
                    <a:gd name="connsiteX213" fmla="*/ 16242 w 138830"/>
                    <a:gd name="connsiteY213" fmla="*/ 15965 h 118521"/>
                    <a:gd name="connsiteX214" fmla="*/ 23520 w 138830"/>
                    <a:gd name="connsiteY214" fmla="*/ 18964 h 118521"/>
                    <a:gd name="connsiteX215" fmla="*/ 23023 w 138830"/>
                    <a:gd name="connsiteY215" fmla="*/ 20627 h 118521"/>
                    <a:gd name="connsiteX216" fmla="*/ 23765 w 138830"/>
                    <a:gd name="connsiteY216" fmla="*/ 21564 h 118521"/>
                    <a:gd name="connsiteX217" fmla="*/ 25435 w 138830"/>
                    <a:gd name="connsiteY217" fmla="*/ 22827 h 118521"/>
                    <a:gd name="connsiteX218" fmla="*/ 28638 w 138830"/>
                    <a:gd name="connsiteY218" fmla="*/ 24123 h 118521"/>
                    <a:gd name="connsiteX219" fmla="*/ 31352 w 138830"/>
                    <a:gd name="connsiteY219" fmla="*/ 24783 h 118521"/>
                    <a:gd name="connsiteX220" fmla="*/ 32721 w 138830"/>
                    <a:gd name="connsiteY220" fmla="*/ 24221 h 118521"/>
                    <a:gd name="connsiteX221" fmla="*/ 34815 w 138830"/>
                    <a:gd name="connsiteY221" fmla="*/ 23740 h 118521"/>
                    <a:gd name="connsiteX222" fmla="*/ 37521 w 138830"/>
                    <a:gd name="connsiteY222" fmla="*/ 25223 h 118521"/>
                    <a:gd name="connsiteX223" fmla="*/ 40023 w 138830"/>
                    <a:gd name="connsiteY223" fmla="*/ 27106 h 118521"/>
                    <a:gd name="connsiteX224" fmla="*/ 41262 w 138830"/>
                    <a:gd name="connsiteY224" fmla="*/ 27864 h 118521"/>
                    <a:gd name="connsiteX225" fmla="*/ 41930 w 138830"/>
                    <a:gd name="connsiteY225" fmla="*/ 28100 h 118521"/>
                    <a:gd name="connsiteX226" fmla="*/ 43829 w 138830"/>
                    <a:gd name="connsiteY226" fmla="*/ 27473 h 118521"/>
                    <a:gd name="connsiteX227" fmla="*/ 46103 w 138830"/>
                    <a:gd name="connsiteY227" fmla="*/ 25044 h 118521"/>
                    <a:gd name="connsiteX228" fmla="*/ 46999 w 138830"/>
                    <a:gd name="connsiteY228" fmla="*/ 22110 h 118521"/>
                    <a:gd name="connsiteX229" fmla="*/ 47244 w 138830"/>
                    <a:gd name="connsiteY229" fmla="*/ 20700 h 118521"/>
                    <a:gd name="connsiteX230" fmla="*/ 45915 w 138830"/>
                    <a:gd name="connsiteY230" fmla="*/ 18752 h 118521"/>
                    <a:gd name="connsiteX231" fmla="*/ 43177 w 138830"/>
                    <a:gd name="connsiteY231" fmla="*/ 16642 h 118521"/>
                    <a:gd name="connsiteX232" fmla="*/ 40113 w 138830"/>
                    <a:gd name="connsiteY232" fmla="*/ 14775 h 118521"/>
                    <a:gd name="connsiteX233" fmla="*/ 38149 w 138830"/>
                    <a:gd name="connsiteY233" fmla="*/ 13137 h 118521"/>
                    <a:gd name="connsiteX234" fmla="*/ 36894 w 138830"/>
                    <a:gd name="connsiteY234" fmla="*/ 9910 h 118521"/>
                    <a:gd name="connsiteX235" fmla="*/ 35622 w 138830"/>
                    <a:gd name="connsiteY235" fmla="*/ 9551 h 118521"/>
                    <a:gd name="connsiteX236" fmla="*/ 35296 w 138830"/>
                    <a:gd name="connsiteY236" fmla="*/ 9128 h 118521"/>
                    <a:gd name="connsiteX237" fmla="*/ 35085 w 138830"/>
                    <a:gd name="connsiteY237" fmla="*/ 8019 h 118521"/>
                    <a:gd name="connsiteX238" fmla="*/ 35150 w 138830"/>
                    <a:gd name="connsiteY238" fmla="*/ 6479 h 118521"/>
                    <a:gd name="connsiteX239" fmla="*/ 35590 w 138830"/>
                    <a:gd name="connsiteY239" fmla="*/ 5289 h 118521"/>
                    <a:gd name="connsiteX240" fmla="*/ 36821 w 138830"/>
                    <a:gd name="connsiteY240" fmla="*/ 4776 h 118521"/>
                    <a:gd name="connsiteX241" fmla="*/ 38076 w 138830"/>
                    <a:gd name="connsiteY241" fmla="*/ 4596 h 118521"/>
                    <a:gd name="connsiteX242" fmla="*/ 39217 w 138830"/>
                    <a:gd name="connsiteY242" fmla="*/ 3455 h 118521"/>
                    <a:gd name="connsiteX243" fmla="*/ 40634 w 138830"/>
                    <a:gd name="connsiteY243" fmla="*/ 1231 h 118521"/>
                    <a:gd name="connsiteX244" fmla="*/ 41229 w 138830"/>
                    <a:gd name="connsiteY244" fmla="*/ 0 h 118521"/>
                    <a:gd name="connsiteX245" fmla="*/ 43911 w 138830"/>
                    <a:gd name="connsiteY245" fmla="*/ 701 h 118521"/>
                    <a:gd name="connsiteX246" fmla="*/ 44237 w 138830"/>
                    <a:gd name="connsiteY246" fmla="*/ 2689 h 118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Lst>
                  <a:rect l="l" t="t" r="r" b="b"/>
                  <a:pathLst>
                    <a:path w="138830" h="118521">
                      <a:moveTo>
                        <a:pt x="9527" y="78629"/>
                      </a:moveTo>
                      <a:lnTo>
                        <a:pt x="10024" y="79036"/>
                      </a:lnTo>
                      <a:lnTo>
                        <a:pt x="12013" y="78197"/>
                      </a:lnTo>
                      <a:lnTo>
                        <a:pt x="12893" y="79207"/>
                      </a:lnTo>
                      <a:lnTo>
                        <a:pt x="14417" y="80413"/>
                      </a:lnTo>
                      <a:lnTo>
                        <a:pt x="17073" y="81611"/>
                      </a:lnTo>
                      <a:lnTo>
                        <a:pt x="20888" y="79737"/>
                      </a:lnTo>
                      <a:lnTo>
                        <a:pt x="22795" y="79256"/>
                      </a:lnTo>
                      <a:lnTo>
                        <a:pt x="24351" y="79289"/>
                      </a:lnTo>
                      <a:lnTo>
                        <a:pt x="25199" y="79884"/>
                      </a:lnTo>
                      <a:lnTo>
                        <a:pt x="25492" y="81823"/>
                      </a:lnTo>
                      <a:lnTo>
                        <a:pt x="25191" y="84219"/>
                      </a:lnTo>
                      <a:lnTo>
                        <a:pt x="24751" y="85531"/>
                      </a:lnTo>
                      <a:lnTo>
                        <a:pt x="25549" y="86485"/>
                      </a:lnTo>
                      <a:lnTo>
                        <a:pt x="28687" y="88791"/>
                      </a:lnTo>
                      <a:lnTo>
                        <a:pt x="29983" y="90071"/>
                      </a:lnTo>
                      <a:lnTo>
                        <a:pt x="29347" y="92288"/>
                      </a:lnTo>
                      <a:lnTo>
                        <a:pt x="31686" y="97699"/>
                      </a:lnTo>
                      <a:lnTo>
                        <a:pt x="32469" y="99810"/>
                      </a:lnTo>
                      <a:lnTo>
                        <a:pt x="33381" y="102401"/>
                      </a:lnTo>
                      <a:lnTo>
                        <a:pt x="28606" y="101383"/>
                      </a:lnTo>
                      <a:lnTo>
                        <a:pt x="19999" y="99199"/>
                      </a:lnTo>
                      <a:lnTo>
                        <a:pt x="17636" y="98074"/>
                      </a:lnTo>
                      <a:lnTo>
                        <a:pt x="15395" y="95050"/>
                      </a:lnTo>
                      <a:lnTo>
                        <a:pt x="14058" y="93591"/>
                      </a:lnTo>
                      <a:lnTo>
                        <a:pt x="12086" y="91717"/>
                      </a:lnTo>
                      <a:lnTo>
                        <a:pt x="10472" y="91016"/>
                      </a:lnTo>
                      <a:lnTo>
                        <a:pt x="9258" y="89712"/>
                      </a:lnTo>
                      <a:lnTo>
                        <a:pt x="8557" y="87773"/>
                      </a:lnTo>
                      <a:lnTo>
                        <a:pt x="7530" y="86045"/>
                      </a:lnTo>
                      <a:lnTo>
                        <a:pt x="5754" y="83999"/>
                      </a:lnTo>
                      <a:lnTo>
                        <a:pt x="1736" y="77048"/>
                      </a:lnTo>
                      <a:lnTo>
                        <a:pt x="1214" y="76322"/>
                      </a:lnTo>
                      <a:lnTo>
                        <a:pt x="375" y="75165"/>
                      </a:lnTo>
                      <a:lnTo>
                        <a:pt x="0" y="74529"/>
                      </a:lnTo>
                      <a:lnTo>
                        <a:pt x="2461" y="74008"/>
                      </a:lnTo>
                      <a:lnTo>
                        <a:pt x="6528" y="72443"/>
                      </a:lnTo>
                      <a:lnTo>
                        <a:pt x="7644" y="73201"/>
                      </a:lnTo>
                      <a:lnTo>
                        <a:pt x="8842" y="74782"/>
                      </a:lnTo>
                      <a:lnTo>
                        <a:pt x="9429" y="76127"/>
                      </a:lnTo>
                      <a:lnTo>
                        <a:pt x="9527" y="78629"/>
                      </a:lnTo>
                      <a:close/>
                      <a:moveTo>
                        <a:pt x="44237" y="2689"/>
                      </a:moveTo>
                      <a:lnTo>
                        <a:pt x="44718" y="3105"/>
                      </a:lnTo>
                      <a:lnTo>
                        <a:pt x="45826" y="2877"/>
                      </a:lnTo>
                      <a:lnTo>
                        <a:pt x="47676" y="2037"/>
                      </a:lnTo>
                      <a:lnTo>
                        <a:pt x="49135" y="2681"/>
                      </a:lnTo>
                      <a:lnTo>
                        <a:pt x="51025" y="5053"/>
                      </a:lnTo>
                      <a:lnTo>
                        <a:pt x="53633" y="7555"/>
                      </a:lnTo>
                      <a:lnTo>
                        <a:pt x="55051" y="9234"/>
                      </a:lnTo>
                      <a:lnTo>
                        <a:pt x="55606" y="10399"/>
                      </a:lnTo>
                      <a:lnTo>
                        <a:pt x="56934" y="11524"/>
                      </a:lnTo>
                      <a:lnTo>
                        <a:pt x="58882" y="12844"/>
                      </a:lnTo>
                      <a:lnTo>
                        <a:pt x="60439" y="14914"/>
                      </a:lnTo>
                      <a:lnTo>
                        <a:pt x="61824" y="19722"/>
                      </a:lnTo>
                      <a:lnTo>
                        <a:pt x="63226" y="20839"/>
                      </a:lnTo>
                      <a:lnTo>
                        <a:pt x="68254" y="22664"/>
                      </a:lnTo>
                      <a:lnTo>
                        <a:pt x="70022" y="23039"/>
                      </a:lnTo>
                      <a:lnTo>
                        <a:pt x="74961" y="23683"/>
                      </a:lnTo>
                      <a:lnTo>
                        <a:pt x="76705" y="23219"/>
                      </a:lnTo>
                      <a:lnTo>
                        <a:pt x="79248" y="19079"/>
                      </a:lnTo>
                      <a:lnTo>
                        <a:pt x="81538" y="14808"/>
                      </a:lnTo>
                      <a:lnTo>
                        <a:pt x="83682" y="13920"/>
                      </a:lnTo>
                      <a:lnTo>
                        <a:pt x="87552" y="11858"/>
                      </a:lnTo>
                      <a:lnTo>
                        <a:pt x="89859" y="9902"/>
                      </a:lnTo>
                      <a:lnTo>
                        <a:pt x="90828" y="7807"/>
                      </a:lnTo>
                      <a:lnTo>
                        <a:pt x="93021" y="3830"/>
                      </a:lnTo>
                      <a:lnTo>
                        <a:pt x="94366" y="1597"/>
                      </a:lnTo>
                      <a:lnTo>
                        <a:pt x="96631" y="3586"/>
                      </a:lnTo>
                      <a:lnTo>
                        <a:pt x="100576" y="8965"/>
                      </a:lnTo>
                      <a:lnTo>
                        <a:pt x="106207" y="17717"/>
                      </a:lnTo>
                      <a:lnTo>
                        <a:pt x="107592" y="20195"/>
                      </a:lnTo>
                      <a:lnTo>
                        <a:pt x="108497" y="23064"/>
                      </a:lnTo>
                      <a:lnTo>
                        <a:pt x="109280" y="26536"/>
                      </a:lnTo>
                      <a:lnTo>
                        <a:pt x="110568" y="29600"/>
                      </a:lnTo>
                      <a:lnTo>
                        <a:pt x="116272" y="37318"/>
                      </a:lnTo>
                      <a:lnTo>
                        <a:pt x="118742" y="40170"/>
                      </a:lnTo>
                      <a:lnTo>
                        <a:pt x="122759" y="43854"/>
                      </a:lnTo>
                      <a:lnTo>
                        <a:pt x="124194" y="44677"/>
                      </a:lnTo>
                      <a:lnTo>
                        <a:pt x="126068" y="44905"/>
                      </a:lnTo>
                      <a:lnTo>
                        <a:pt x="129507" y="44921"/>
                      </a:lnTo>
                      <a:lnTo>
                        <a:pt x="132702" y="46356"/>
                      </a:lnTo>
                      <a:lnTo>
                        <a:pt x="134275" y="47366"/>
                      </a:lnTo>
                      <a:lnTo>
                        <a:pt x="135897" y="48833"/>
                      </a:lnTo>
                      <a:lnTo>
                        <a:pt x="137364" y="50520"/>
                      </a:lnTo>
                      <a:lnTo>
                        <a:pt x="138830" y="55027"/>
                      </a:lnTo>
                      <a:lnTo>
                        <a:pt x="133297" y="53536"/>
                      </a:lnTo>
                      <a:lnTo>
                        <a:pt x="127731" y="53772"/>
                      </a:lnTo>
                      <a:lnTo>
                        <a:pt x="124585" y="54742"/>
                      </a:lnTo>
                      <a:lnTo>
                        <a:pt x="121537" y="56062"/>
                      </a:lnTo>
                      <a:lnTo>
                        <a:pt x="118611" y="57928"/>
                      </a:lnTo>
                      <a:lnTo>
                        <a:pt x="116777" y="61555"/>
                      </a:lnTo>
                      <a:lnTo>
                        <a:pt x="115245" y="69941"/>
                      </a:lnTo>
                      <a:lnTo>
                        <a:pt x="112988" y="77773"/>
                      </a:lnTo>
                      <a:lnTo>
                        <a:pt x="113078" y="81391"/>
                      </a:lnTo>
                      <a:lnTo>
                        <a:pt x="114063" y="84871"/>
                      </a:lnTo>
                      <a:lnTo>
                        <a:pt x="113950" y="86518"/>
                      </a:lnTo>
                      <a:lnTo>
                        <a:pt x="112906" y="87210"/>
                      </a:lnTo>
                      <a:lnTo>
                        <a:pt x="111627" y="88685"/>
                      </a:lnTo>
                      <a:lnTo>
                        <a:pt x="109907" y="95857"/>
                      </a:lnTo>
                      <a:lnTo>
                        <a:pt x="109051" y="97283"/>
                      </a:lnTo>
                      <a:lnTo>
                        <a:pt x="107951" y="98172"/>
                      </a:lnTo>
                      <a:lnTo>
                        <a:pt x="107650" y="97324"/>
                      </a:lnTo>
                      <a:lnTo>
                        <a:pt x="107715" y="95450"/>
                      </a:lnTo>
                      <a:lnTo>
                        <a:pt x="105278" y="93787"/>
                      </a:lnTo>
                      <a:lnTo>
                        <a:pt x="103999" y="95645"/>
                      </a:lnTo>
                      <a:lnTo>
                        <a:pt x="103119" y="99590"/>
                      </a:lnTo>
                      <a:lnTo>
                        <a:pt x="101350" y="103730"/>
                      </a:lnTo>
                      <a:lnTo>
                        <a:pt x="101244" y="104520"/>
                      </a:lnTo>
                      <a:lnTo>
                        <a:pt x="101701" y="117291"/>
                      </a:lnTo>
                      <a:lnTo>
                        <a:pt x="100991" y="117226"/>
                      </a:lnTo>
                      <a:lnTo>
                        <a:pt x="95914" y="118522"/>
                      </a:lnTo>
                      <a:lnTo>
                        <a:pt x="94847" y="118106"/>
                      </a:lnTo>
                      <a:lnTo>
                        <a:pt x="90503" y="112214"/>
                      </a:lnTo>
                      <a:lnTo>
                        <a:pt x="89614" y="111562"/>
                      </a:lnTo>
                      <a:lnTo>
                        <a:pt x="87740" y="111301"/>
                      </a:lnTo>
                      <a:lnTo>
                        <a:pt x="86640" y="110331"/>
                      </a:lnTo>
                      <a:lnTo>
                        <a:pt x="85743" y="108758"/>
                      </a:lnTo>
                      <a:lnTo>
                        <a:pt x="85238" y="107585"/>
                      </a:lnTo>
                      <a:lnTo>
                        <a:pt x="80739" y="104390"/>
                      </a:lnTo>
                      <a:lnTo>
                        <a:pt x="80071" y="103216"/>
                      </a:lnTo>
                      <a:lnTo>
                        <a:pt x="79973" y="102190"/>
                      </a:lnTo>
                      <a:lnTo>
                        <a:pt x="80633" y="101269"/>
                      </a:lnTo>
                      <a:lnTo>
                        <a:pt x="81408" y="100486"/>
                      </a:lnTo>
                      <a:lnTo>
                        <a:pt x="83600" y="99687"/>
                      </a:lnTo>
                      <a:lnTo>
                        <a:pt x="86167" y="99011"/>
                      </a:lnTo>
                      <a:lnTo>
                        <a:pt x="86990" y="98514"/>
                      </a:lnTo>
                      <a:lnTo>
                        <a:pt x="87406" y="97666"/>
                      </a:lnTo>
                      <a:lnTo>
                        <a:pt x="87381" y="96297"/>
                      </a:lnTo>
                      <a:lnTo>
                        <a:pt x="86958" y="94953"/>
                      </a:lnTo>
                      <a:lnTo>
                        <a:pt x="83274" y="92508"/>
                      </a:lnTo>
                      <a:lnTo>
                        <a:pt x="82866" y="91456"/>
                      </a:lnTo>
                      <a:lnTo>
                        <a:pt x="82744" y="90169"/>
                      </a:lnTo>
                      <a:lnTo>
                        <a:pt x="82956" y="88816"/>
                      </a:lnTo>
                      <a:lnTo>
                        <a:pt x="83526" y="87764"/>
                      </a:lnTo>
                      <a:lnTo>
                        <a:pt x="86526" y="86322"/>
                      </a:lnTo>
                      <a:lnTo>
                        <a:pt x="88147" y="84831"/>
                      </a:lnTo>
                      <a:lnTo>
                        <a:pt x="87145" y="83168"/>
                      </a:lnTo>
                      <a:lnTo>
                        <a:pt x="83901" y="79378"/>
                      </a:lnTo>
                      <a:lnTo>
                        <a:pt x="80055" y="75206"/>
                      </a:lnTo>
                      <a:lnTo>
                        <a:pt x="77488" y="75165"/>
                      </a:lnTo>
                      <a:lnTo>
                        <a:pt x="74529" y="76396"/>
                      </a:lnTo>
                      <a:lnTo>
                        <a:pt x="69786" y="79957"/>
                      </a:lnTo>
                      <a:lnTo>
                        <a:pt x="67162" y="81481"/>
                      </a:lnTo>
                      <a:lnTo>
                        <a:pt x="63747" y="83999"/>
                      </a:lnTo>
                      <a:lnTo>
                        <a:pt x="60031" y="86795"/>
                      </a:lnTo>
                      <a:lnTo>
                        <a:pt x="56975" y="89769"/>
                      </a:lnTo>
                      <a:lnTo>
                        <a:pt x="55092" y="92222"/>
                      </a:lnTo>
                      <a:lnTo>
                        <a:pt x="51702" y="93290"/>
                      </a:lnTo>
                      <a:lnTo>
                        <a:pt x="49982" y="95352"/>
                      </a:lnTo>
                      <a:lnTo>
                        <a:pt x="44326" y="101513"/>
                      </a:lnTo>
                      <a:lnTo>
                        <a:pt x="42729" y="101432"/>
                      </a:lnTo>
                      <a:lnTo>
                        <a:pt x="42639" y="98375"/>
                      </a:lnTo>
                      <a:lnTo>
                        <a:pt x="42705" y="95955"/>
                      </a:lnTo>
                      <a:lnTo>
                        <a:pt x="42354" y="94561"/>
                      </a:lnTo>
                      <a:lnTo>
                        <a:pt x="40520" y="92646"/>
                      </a:lnTo>
                      <a:lnTo>
                        <a:pt x="40488" y="91823"/>
                      </a:lnTo>
                      <a:lnTo>
                        <a:pt x="40993" y="91310"/>
                      </a:lnTo>
                      <a:lnTo>
                        <a:pt x="42395" y="91619"/>
                      </a:lnTo>
                      <a:lnTo>
                        <a:pt x="44204" y="91505"/>
                      </a:lnTo>
                      <a:lnTo>
                        <a:pt x="45060" y="90764"/>
                      </a:lnTo>
                      <a:lnTo>
                        <a:pt x="43136" y="88229"/>
                      </a:lnTo>
                      <a:lnTo>
                        <a:pt x="41417" y="86542"/>
                      </a:lnTo>
                      <a:lnTo>
                        <a:pt x="39942" y="85401"/>
                      </a:lnTo>
                      <a:lnTo>
                        <a:pt x="39624" y="84717"/>
                      </a:lnTo>
                      <a:lnTo>
                        <a:pt x="39616" y="84227"/>
                      </a:lnTo>
                      <a:lnTo>
                        <a:pt x="39925" y="83657"/>
                      </a:lnTo>
                      <a:lnTo>
                        <a:pt x="42427" y="82263"/>
                      </a:lnTo>
                      <a:lnTo>
                        <a:pt x="42672" y="80984"/>
                      </a:lnTo>
                      <a:lnTo>
                        <a:pt x="42501" y="79558"/>
                      </a:lnTo>
                      <a:lnTo>
                        <a:pt x="38540" y="77455"/>
                      </a:lnTo>
                      <a:lnTo>
                        <a:pt x="35581" y="78229"/>
                      </a:lnTo>
                      <a:lnTo>
                        <a:pt x="32917" y="75866"/>
                      </a:lnTo>
                      <a:lnTo>
                        <a:pt x="31214" y="74032"/>
                      </a:lnTo>
                      <a:lnTo>
                        <a:pt x="29070" y="72068"/>
                      </a:lnTo>
                      <a:lnTo>
                        <a:pt x="27171" y="70992"/>
                      </a:lnTo>
                      <a:lnTo>
                        <a:pt x="25346" y="68531"/>
                      </a:lnTo>
                      <a:lnTo>
                        <a:pt x="22175" y="65988"/>
                      </a:lnTo>
                      <a:lnTo>
                        <a:pt x="20138" y="65263"/>
                      </a:lnTo>
                      <a:lnTo>
                        <a:pt x="20170" y="64880"/>
                      </a:lnTo>
                      <a:lnTo>
                        <a:pt x="20545" y="64407"/>
                      </a:lnTo>
                      <a:lnTo>
                        <a:pt x="21393" y="64024"/>
                      </a:lnTo>
                      <a:lnTo>
                        <a:pt x="27041" y="64122"/>
                      </a:lnTo>
                      <a:lnTo>
                        <a:pt x="27734" y="63666"/>
                      </a:lnTo>
                      <a:lnTo>
                        <a:pt x="28084" y="62566"/>
                      </a:lnTo>
                      <a:lnTo>
                        <a:pt x="28858" y="60952"/>
                      </a:lnTo>
                      <a:lnTo>
                        <a:pt x="29763" y="58572"/>
                      </a:lnTo>
                      <a:lnTo>
                        <a:pt x="29690" y="56567"/>
                      </a:lnTo>
                      <a:lnTo>
                        <a:pt x="24001" y="53332"/>
                      </a:lnTo>
                      <a:lnTo>
                        <a:pt x="19885" y="50341"/>
                      </a:lnTo>
                      <a:lnTo>
                        <a:pt x="17033" y="46413"/>
                      </a:lnTo>
                      <a:lnTo>
                        <a:pt x="15085" y="42819"/>
                      </a:lnTo>
                      <a:lnTo>
                        <a:pt x="15158" y="41613"/>
                      </a:lnTo>
                      <a:lnTo>
                        <a:pt x="15713" y="40463"/>
                      </a:lnTo>
                      <a:lnTo>
                        <a:pt x="20130" y="37146"/>
                      </a:lnTo>
                      <a:lnTo>
                        <a:pt x="20423" y="36291"/>
                      </a:lnTo>
                      <a:lnTo>
                        <a:pt x="20334" y="35704"/>
                      </a:lnTo>
                      <a:lnTo>
                        <a:pt x="18752" y="34001"/>
                      </a:lnTo>
                      <a:lnTo>
                        <a:pt x="16772" y="32257"/>
                      </a:lnTo>
                      <a:lnTo>
                        <a:pt x="16153" y="30969"/>
                      </a:lnTo>
                      <a:lnTo>
                        <a:pt x="14914" y="30317"/>
                      </a:lnTo>
                      <a:lnTo>
                        <a:pt x="12542" y="30268"/>
                      </a:lnTo>
                      <a:lnTo>
                        <a:pt x="8394" y="28117"/>
                      </a:lnTo>
                      <a:lnTo>
                        <a:pt x="7514" y="27905"/>
                      </a:lnTo>
                      <a:lnTo>
                        <a:pt x="7319" y="27481"/>
                      </a:lnTo>
                      <a:lnTo>
                        <a:pt x="7522" y="27041"/>
                      </a:lnTo>
                      <a:lnTo>
                        <a:pt x="10481" y="26177"/>
                      </a:lnTo>
                      <a:lnTo>
                        <a:pt x="10431" y="25460"/>
                      </a:lnTo>
                      <a:lnTo>
                        <a:pt x="9543" y="24514"/>
                      </a:lnTo>
                      <a:lnTo>
                        <a:pt x="7864" y="23822"/>
                      </a:lnTo>
                      <a:lnTo>
                        <a:pt x="6332" y="22102"/>
                      </a:lnTo>
                      <a:lnTo>
                        <a:pt x="5811" y="20562"/>
                      </a:lnTo>
                      <a:lnTo>
                        <a:pt x="11157" y="16030"/>
                      </a:lnTo>
                      <a:lnTo>
                        <a:pt x="12738" y="15134"/>
                      </a:lnTo>
                      <a:lnTo>
                        <a:pt x="16242" y="15965"/>
                      </a:lnTo>
                      <a:lnTo>
                        <a:pt x="23520" y="18964"/>
                      </a:lnTo>
                      <a:lnTo>
                        <a:pt x="23023" y="20627"/>
                      </a:lnTo>
                      <a:lnTo>
                        <a:pt x="23765" y="21564"/>
                      </a:lnTo>
                      <a:lnTo>
                        <a:pt x="25435" y="22827"/>
                      </a:lnTo>
                      <a:lnTo>
                        <a:pt x="28638" y="24123"/>
                      </a:lnTo>
                      <a:lnTo>
                        <a:pt x="31352" y="24783"/>
                      </a:lnTo>
                      <a:lnTo>
                        <a:pt x="32721" y="24221"/>
                      </a:lnTo>
                      <a:lnTo>
                        <a:pt x="34815" y="23740"/>
                      </a:lnTo>
                      <a:lnTo>
                        <a:pt x="37521" y="25223"/>
                      </a:lnTo>
                      <a:lnTo>
                        <a:pt x="40023" y="27106"/>
                      </a:lnTo>
                      <a:lnTo>
                        <a:pt x="41262" y="27864"/>
                      </a:lnTo>
                      <a:lnTo>
                        <a:pt x="41930" y="28100"/>
                      </a:lnTo>
                      <a:lnTo>
                        <a:pt x="43829" y="27473"/>
                      </a:lnTo>
                      <a:lnTo>
                        <a:pt x="46103" y="25044"/>
                      </a:lnTo>
                      <a:lnTo>
                        <a:pt x="46999" y="22110"/>
                      </a:lnTo>
                      <a:lnTo>
                        <a:pt x="47244" y="20700"/>
                      </a:lnTo>
                      <a:lnTo>
                        <a:pt x="45915" y="18752"/>
                      </a:lnTo>
                      <a:lnTo>
                        <a:pt x="43177" y="16642"/>
                      </a:lnTo>
                      <a:lnTo>
                        <a:pt x="40113" y="14775"/>
                      </a:lnTo>
                      <a:lnTo>
                        <a:pt x="38149" y="13137"/>
                      </a:lnTo>
                      <a:lnTo>
                        <a:pt x="36894" y="9910"/>
                      </a:lnTo>
                      <a:lnTo>
                        <a:pt x="35622" y="9551"/>
                      </a:lnTo>
                      <a:lnTo>
                        <a:pt x="35296" y="9128"/>
                      </a:lnTo>
                      <a:lnTo>
                        <a:pt x="35085" y="8019"/>
                      </a:lnTo>
                      <a:lnTo>
                        <a:pt x="35150" y="6479"/>
                      </a:lnTo>
                      <a:lnTo>
                        <a:pt x="35590" y="5289"/>
                      </a:lnTo>
                      <a:lnTo>
                        <a:pt x="36821" y="4776"/>
                      </a:lnTo>
                      <a:lnTo>
                        <a:pt x="38076" y="4596"/>
                      </a:lnTo>
                      <a:lnTo>
                        <a:pt x="39217" y="3455"/>
                      </a:lnTo>
                      <a:lnTo>
                        <a:pt x="40634" y="1231"/>
                      </a:lnTo>
                      <a:lnTo>
                        <a:pt x="41229" y="0"/>
                      </a:lnTo>
                      <a:lnTo>
                        <a:pt x="43911" y="701"/>
                      </a:lnTo>
                      <a:lnTo>
                        <a:pt x="44237" y="2689"/>
                      </a:lnTo>
                      <a:close/>
                    </a:path>
                  </a:pathLst>
                </a:custGeom>
                <a:solidFill>
                  <a:srgbClr val="D6D6D2"/>
                </a:solidFill>
                <a:ln w="6112" cap="rnd">
                  <a:solidFill>
                    <a:srgbClr val="FFFFFF"/>
                  </a:solidFill>
                  <a:prstDash val="solid"/>
                  <a:round/>
                </a:ln>
              </p:spPr>
              <p:txBody>
                <a:bodyPr rtlCol="0" anchor="ctr"/>
                <a:lstStyle/>
                <a:p>
                  <a:endParaRPr lang="en-US"/>
                </a:p>
              </p:txBody>
            </p:sp>
            <p:sp>
              <p:nvSpPr>
                <p:cNvPr id="781" name="Freeform: Shape 780">
                  <a:extLst>
                    <a:ext uri="{FF2B5EF4-FFF2-40B4-BE49-F238E27FC236}">
                      <a16:creationId xmlns:a16="http://schemas.microsoft.com/office/drawing/2014/main" id="{9C8608B5-F05B-4210-B43C-96AF0FFD14E3}"/>
                    </a:ext>
                  </a:extLst>
                </p:cNvPr>
                <p:cNvSpPr/>
                <p:nvPr/>
              </p:nvSpPr>
              <p:spPr>
                <a:xfrm>
                  <a:off x="6179844" y="2960979"/>
                  <a:ext cx="189073" cy="93110"/>
                </a:xfrm>
                <a:custGeom>
                  <a:avLst/>
                  <a:gdLst>
                    <a:gd name="connsiteX0" fmla="*/ 184257 w 189073"/>
                    <a:gd name="connsiteY0" fmla="*/ 14523 h 93110"/>
                    <a:gd name="connsiteX1" fmla="*/ 184159 w 189073"/>
                    <a:gd name="connsiteY1" fmla="*/ 14890 h 93110"/>
                    <a:gd name="connsiteX2" fmla="*/ 184013 w 189073"/>
                    <a:gd name="connsiteY2" fmla="*/ 16250 h 93110"/>
                    <a:gd name="connsiteX3" fmla="*/ 183059 w 189073"/>
                    <a:gd name="connsiteY3" fmla="*/ 17954 h 93110"/>
                    <a:gd name="connsiteX4" fmla="*/ 182016 w 189073"/>
                    <a:gd name="connsiteY4" fmla="*/ 20195 h 93110"/>
                    <a:gd name="connsiteX5" fmla="*/ 182089 w 189073"/>
                    <a:gd name="connsiteY5" fmla="*/ 22151 h 93110"/>
                    <a:gd name="connsiteX6" fmla="*/ 184746 w 189073"/>
                    <a:gd name="connsiteY6" fmla="*/ 28940 h 93110"/>
                    <a:gd name="connsiteX7" fmla="*/ 187101 w 189073"/>
                    <a:gd name="connsiteY7" fmla="*/ 33072 h 93110"/>
                    <a:gd name="connsiteX8" fmla="*/ 187550 w 189073"/>
                    <a:gd name="connsiteY8" fmla="*/ 34644 h 93110"/>
                    <a:gd name="connsiteX9" fmla="*/ 189073 w 189073"/>
                    <a:gd name="connsiteY9" fmla="*/ 35842 h 93110"/>
                    <a:gd name="connsiteX10" fmla="*/ 187639 w 189073"/>
                    <a:gd name="connsiteY10" fmla="*/ 37358 h 93110"/>
                    <a:gd name="connsiteX11" fmla="*/ 187346 w 189073"/>
                    <a:gd name="connsiteY11" fmla="*/ 39608 h 93110"/>
                    <a:gd name="connsiteX12" fmla="*/ 186417 w 189073"/>
                    <a:gd name="connsiteY12" fmla="*/ 40610 h 93110"/>
                    <a:gd name="connsiteX13" fmla="*/ 186164 w 189073"/>
                    <a:gd name="connsiteY13" fmla="*/ 41890 h 93110"/>
                    <a:gd name="connsiteX14" fmla="*/ 186563 w 189073"/>
                    <a:gd name="connsiteY14" fmla="*/ 43063 h 93110"/>
                    <a:gd name="connsiteX15" fmla="*/ 186555 w 189073"/>
                    <a:gd name="connsiteY15" fmla="*/ 44522 h 93110"/>
                    <a:gd name="connsiteX16" fmla="*/ 187077 w 189073"/>
                    <a:gd name="connsiteY16" fmla="*/ 46535 h 93110"/>
                    <a:gd name="connsiteX17" fmla="*/ 184762 w 189073"/>
                    <a:gd name="connsiteY17" fmla="*/ 46975 h 93110"/>
                    <a:gd name="connsiteX18" fmla="*/ 182016 w 189073"/>
                    <a:gd name="connsiteY18" fmla="*/ 46902 h 93110"/>
                    <a:gd name="connsiteX19" fmla="*/ 181030 w 189073"/>
                    <a:gd name="connsiteY19" fmla="*/ 47024 h 93110"/>
                    <a:gd name="connsiteX20" fmla="*/ 180117 w 189073"/>
                    <a:gd name="connsiteY20" fmla="*/ 47570 h 93110"/>
                    <a:gd name="connsiteX21" fmla="*/ 179163 w 189073"/>
                    <a:gd name="connsiteY21" fmla="*/ 47301 h 93110"/>
                    <a:gd name="connsiteX22" fmla="*/ 176686 w 189073"/>
                    <a:gd name="connsiteY22" fmla="*/ 45402 h 93110"/>
                    <a:gd name="connsiteX23" fmla="*/ 175276 w 189073"/>
                    <a:gd name="connsiteY23" fmla="*/ 44995 h 93110"/>
                    <a:gd name="connsiteX24" fmla="*/ 174290 w 189073"/>
                    <a:gd name="connsiteY24" fmla="*/ 45109 h 93110"/>
                    <a:gd name="connsiteX25" fmla="*/ 173548 w 189073"/>
                    <a:gd name="connsiteY25" fmla="*/ 45932 h 93110"/>
                    <a:gd name="connsiteX26" fmla="*/ 172269 w 189073"/>
                    <a:gd name="connsiteY26" fmla="*/ 46975 h 93110"/>
                    <a:gd name="connsiteX27" fmla="*/ 171071 w 189073"/>
                    <a:gd name="connsiteY27" fmla="*/ 47725 h 93110"/>
                    <a:gd name="connsiteX28" fmla="*/ 171340 w 189073"/>
                    <a:gd name="connsiteY28" fmla="*/ 48369 h 93110"/>
                    <a:gd name="connsiteX29" fmla="*/ 176482 w 189073"/>
                    <a:gd name="connsiteY29" fmla="*/ 50072 h 93110"/>
                    <a:gd name="connsiteX30" fmla="*/ 177403 w 189073"/>
                    <a:gd name="connsiteY30" fmla="*/ 52672 h 93110"/>
                    <a:gd name="connsiteX31" fmla="*/ 176417 w 189073"/>
                    <a:gd name="connsiteY31" fmla="*/ 54791 h 93110"/>
                    <a:gd name="connsiteX32" fmla="*/ 176075 w 189073"/>
                    <a:gd name="connsiteY32" fmla="*/ 55834 h 93110"/>
                    <a:gd name="connsiteX33" fmla="*/ 174869 w 189073"/>
                    <a:gd name="connsiteY33" fmla="*/ 56649 h 93110"/>
                    <a:gd name="connsiteX34" fmla="*/ 173385 w 189073"/>
                    <a:gd name="connsiteY34" fmla="*/ 57366 h 93110"/>
                    <a:gd name="connsiteX35" fmla="*/ 171601 w 189073"/>
                    <a:gd name="connsiteY35" fmla="*/ 57545 h 93110"/>
                    <a:gd name="connsiteX36" fmla="*/ 171389 w 189073"/>
                    <a:gd name="connsiteY36" fmla="*/ 58694 h 93110"/>
                    <a:gd name="connsiteX37" fmla="*/ 172089 w 189073"/>
                    <a:gd name="connsiteY37" fmla="*/ 62060 h 93110"/>
                    <a:gd name="connsiteX38" fmla="*/ 171535 w 189073"/>
                    <a:gd name="connsiteY38" fmla="*/ 62785 h 93110"/>
                    <a:gd name="connsiteX39" fmla="*/ 170957 w 189073"/>
                    <a:gd name="connsiteY39" fmla="*/ 63829 h 93110"/>
                    <a:gd name="connsiteX40" fmla="*/ 171495 w 189073"/>
                    <a:gd name="connsiteY40" fmla="*/ 66591 h 93110"/>
                    <a:gd name="connsiteX41" fmla="*/ 172603 w 189073"/>
                    <a:gd name="connsiteY41" fmla="*/ 66787 h 93110"/>
                    <a:gd name="connsiteX42" fmla="*/ 172848 w 189073"/>
                    <a:gd name="connsiteY42" fmla="*/ 67423 h 93110"/>
                    <a:gd name="connsiteX43" fmla="*/ 172644 w 189073"/>
                    <a:gd name="connsiteY43" fmla="*/ 68547 h 93110"/>
                    <a:gd name="connsiteX44" fmla="*/ 172440 w 189073"/>
                    <a:gd name="connsiteY44" fmla="*/ 69729 h 93110"/>
                    <a:gd name="connsiteX45" fmla="*/ 172057 w 189073"/>
                    <a:gd name="connsiteY45" fmla="*/ 70992 h 93110"/>
                    <a:gd name="connsiteX46" fmla="*/ 171870 w 189073"/>
                    <a:gd name="connsiteY46" fmla="*/ 71546 h 93110"/>
                    <a:gd name="connsiteX47" fmla="*/ 171136 w 189073"/>
                    <a:gd name="connsiteY47" fmla="*/ 71905 h 93110"/>
                    <a:gd name="connsiteX48" fmla="*/ 168846 w 189073"/>
                    <a:gd name="connsiteY48" fmla="*/ 71709 h 93110"/>
                    <a:gd name="connsiteX49" fmla="*/ 166890 w 189073"/>
                    <a:gd name="connsiteY49" fmla="*/ 72793 h 93110"/>
                    <a:gd name="connsiteX50" fmla="*/ 162929 w 189073"/>
                    <a:gd name="connsiteY50" fmla="*/ 76656 h 93110"/>
                    <a:gd name="connsiteX51" fmla="*/ 161544 w 189073"/>
                    <a:gd name="connsiteY51" fmla="*/ 77317 h 93110"/>
                    <a:gd name="connsiteX52" fmla="*/ 160052 w 189073"/>
                    <a:gd name="connsiteY52" fmla="*/ 78857 h 93110"/>
                    <a:gd name="connsiteX53" fmla="*/ 160142 w 189073"/>
                    <a:gd name="connsiteY53" fmla="*/ 82247 h 93110"/>
                    <a:gd name="connsiteX54" fmla="*/ 159930 w 189073"/>
                    <a:gd name="connsiteY54" fmla="*/ 82557 h 93110"/>
                    <a:gd name="connsiteX55" fmla="*/ 159563 w 189073"/>
                    <a:gd name="connsiteY55" fmla="*/ 83249 h 93110"/>
                    <a:gd name="connsiteX56" fmla="*/ 154836 w 189073"/>
                    <a:gd name="connsiteY56" fmla="*/ 82060 h 93110"/>
                    <a:gd name="connsiteX57" fmla="*/ 154682 w 189073"/>
                    <a:gd name="connsiteY57" fmla="*/ 82076 h 93110"/>
                    <a:gd name="connsiteX58" fmla="*/ 151512 w 189073"/>
                    <a:gd name="connsiteY58" fmla="*/ 82516 h 93110"/>
                    <a:gd name="connsiteX59" fmla="*/ 149343 w 189073"/>
                    <a:gd name="connsiteY59" fmla="*/ 84073 h 93110"/>
                    <a:gd name="connsiteX60" fmla="*/ 146711 w 189073"/>
                    <a:gd name="connsiteY60" fmla="*/ 84953 h 93110"/>
                    <a:gd name="connsiteX61" fmla="*/ 141194 w 189073"/>
                    <a:gd name="connsiteY61" fmla="*/ 84488 h 93110"/>
                    <a:gd name="connsiteX62" fmla="*/ 135832 w 189073"/>
                    <a:gd name="connsiteY62" fmla="*/ 85091 h 93110"/>
                    <a:gd name="connsiteX63" fmla="*/ 134560 w 189073"/>
                    <a:gd name="connsiteY63" fmla="*/ 85539 h 93110"/>
                    <a:gd name="connsiteX64" fmla="*/ 133175 w 189073"/>
                    <a:gd name="connsiteY64" fmla="*/ 85792 h 93110"/>
                    <a:gd name="connsiteX65" fmla="*/ 131871 w 189073"/>
                    <a:gd name="connsiteY65" fmla="*/ 86705 h 93110"/>
                    <a:gd name="connsiteX66" fmla="*/ 131121 w 189073"/>
                    <a:gd name="connsiteY66" fmla="*/ 87976 h 93110"/>
                    <a:gd name="connsiteX67" fmla="*/ 129784 w 189073"/>
                    <a:gd name="connsiteY67" fmla="*/ 89590 h 93110"/>
                    <a:gd name="connsiteX68" fmla="*/ 127885 w 189073"/>
                    <a:gd name="connsiteY68" fmla="*/ 90853 h 93110"/>
                    <a:gd name="connsiteX69" fmla="*/ 125823 w 189073"/>
                    <a:gd name="connsiteY69" fmla="*/ 91823 h 93110"/>
                    <a:gd name="connsiteX70" fmla="*/ 125334 w 189073"/>
                    <a:gd name="connsiteY70" fmla="*/ 92638 h 93110"/>
                    <a:gd name="connsiteX71" fmla="*/ 124650 w 189073"/>
                    <a:gd name="connsiteY71" fmla="*/ 93111 h 93110"/>
                    <a:gd name="connsiteX72" fmla="*/ 123493 w 189073"/>
                    <a:gd name="connsiteY72" fmla="*/ 92499 h 93110"/>
                    <a:gd name="connsiteX73" fmla="*/ 122572 w 189073"/>
                    <a:gd name="connsiteY73" fmla="*/ 92532 h 93110"/>
                    <a:gd name="connsiteX74" fmla="*/ 121431 w 189073"/>
                    <a:gd name="connsiteY74" fmla="*/ 92116 h 93110"/>
                    <a:gd name="connsiteX75" fmla="*/ 117649 w 189073"/>
                    <a:gd name="connsiteY75" fmla="*/ 91660 h 93110"/>
                    <a:gd name="connsiteX76" fmla="*/ 113485 w 189073"/>
                    <a:gd name="connsiteY76" fmla="*/ 90910 h 93110"/>
                    <a:gd name="connsiteX77" fmla="*/ 111504 w 189073"/>
                    <a:gd name="connsiteY77" fmla="*/ 90185 h 93110"/>
                    <a:gd name="connsiteX78" fmla="*/ 109247 w 189073"/>
                    <a:gd name="connsiteY78" fmla="*/ 89623 h 93110"/>
                    <a:gd name="connsiteX79" fmla="*/ 106834 w 189073"/>
                    <a:gd name="connsiteY79" fmla="*/ 89158 h 93110"/>
                    <a:gd name="connsiteX80" fmla="*/ 104667 w 189073"/>
                    <a:gd name="connsiteY80" fmla="*/ 89044 h 93110"/>
                    <a:gd name="connsiteX81" fmla="*/ 103575 w 189073"/>
                    <a:gd name="connsiteY81" fmla="*/ 88840 h 93110"/>
                    <a:gd name="connsiteX82" fmla="*/ 98359 w 189073"/>
                    <a:gd name="connsiteY82" fmla="*/ 87585 h 93110"/>
                    <a:gd name="connsiteX83" fmla="*/ 94936 w 189073"/>
                    <a:gd name="connsiteY83" fmla="*/ 87504 h 93110"/>
                    <a:gd name="connsiteX84" fmla="*/ 90405 w 189073"/>
                    <a:gd name="connsiteY84" fmla="*/ 86974 h 93110"/>
                    <a:gd name="connsiteX85" fmla="*/ 81391 w 189073"/>
                    <a:gd name="connsiteY85" fmla="*/ 85091 h 93110"/>
                    <a:gd name="connsiteX86" fmla="*/ 78775 w 189073"/>
                    <a:gd name="connsiteY86" fmla="*/ 84325 h 93110"/>
                    <a:gd name="connsiteX87" fmla="*/ 76257 w 189073"/>
                    <a:gd name="connsiteY87" fmla="*/ 84089 h 93110"/>
                    <a:gd name="connsiteX88" fmla="*/ 73290 w 189073"/>
                    <a:gd name="connsiteY88" fmla="*/ 83437 h 93110"/>
                    <a:gd name="connsiteX89" fmla="*/ 71049 w 189073"/>
                    <a:gd name="connsiteY89" fmla="*/ 82369 h 93110"/>
                    <a:gd name="connsiteX90" fmla="*/ 69599 w 189073"/>
                    <a:gd name="connsiteY90" fmla="*/ 80332 h 93110"/>
                    <a:gd name="connsiteX91" fmla="*/ 68066 w 189073"/>
                    <a:gd name="connsiteY91" fmla="*/ 77626 h 93110"/>
                    <a:gd name="connsiteX92" fmla="*/ 65239 w 189073"/>
                    <a:gd name="connsiteY92" fmla="*/ 74097 h 93110"/>
                    <a:gd name="connsiteX93" fmla="*/ 64660 w 189073"/>
                    <a:gd name="connsiteY93" fmla="*/ 72337 h 93110"/>
                    <a:gd name="connsiteX94" fmla="*/ 65516 w 189073"/>
                    <a:gd name="connsiteY94" fmla="*/ 70788 h 93110"/>
                    <a:gd name="connsiteX95" fmla="*/ 66412 w 189073"/>
                    <a:gd name="connsiteY95" fmla="*/ 69623 h 93110"/>
                    <a:gd name="connsiteX96" fmla="*/ 66298 w 189073"/>
                    <a:gd name="connsiteY96" fmla="*/ 69126 h 93110"/>
                    <a:gd name="connsiteX97" fmla="*/ 65613 w 189073"/>
                    <a:gd name="connsiteY97" fmla="*/ 68865 h 93110"/>
                    <a:gd name="connsiteX98" fmla="*/ 60650 w 189073"/>
                    <a:gd name="connsiteY98" fmla="*/ 70373 h 93110"/>
                    <a:gd name="connsiteX99" fmla="*/ 55850 w 189073"/>
                    <a:gd name="connsiteY99" fmla="*/ 72288 h 93110"/>
                    <a:gd name="connsiteX100" fmla="*/ 53959 w 189073"/>
                    <a:gd name="connsiteY100" fmla="*/ 72337 h 93110"/>
                    <a:gd name="connsiteX101" fmla="*/ 52126 w 189073"/>
                    <a:gd name="connsiteY101" fmla="*/ 71913 h 93110"/>
                    <a:gd name="connsiteX102" fmla="*/ 49697 w 189073"/>
                    <a:gd name="connsiteY102" fmla="*/ 71881 h 93110"/>
                    <a:gd name="connsiteX103" fmla="*/ 47358 w 189073"/>
                    <a:gd name="connsiteY103" fmla="*/ 72394 h 93110"/>
                    <a:gd name="connsiteX104" fmla="*/ 42664 w 189073"/>
                    <a:gd name="connsiteY104" fmla="*/ 72663 h 93110"/>
                    <a:gd name="connsiteX105" fmla="*/ 39933 w 189073"/>
                    <a:gd name="connsiteY105" fmla="*/ 74057 h 93110"/>
                    <a:gd name="connsiteX106" fmla="*/ 38181 w 189073"/>
                    <a:gd name="connsiteY106" fmla="*/ 76803 h 93110"/>
                    <a:gd name="connsiteX107" fmla="*/ 37228 w 189073"/>
                    <a:gd name="connsiteY107" fmla="*/ 79012 h 93110"/>
                    <a:gd name="connsiteX108" fmla="*/ 36453 w 189073"/>
                    <a:gd name="connsiteY108" fmla="*/ 79721 h 93110"/>
                    <a:gd name="connsiteX109" fmla="*/ 34815 w 189073"/>
                    <a:gd name="connsiteY109" fmla="*/ 79990 h 93110"/>
                    <a:gd name="connsiteX110" fmla="*/ 32371 w 189073"/>
                    <a:gd name="connsiteY110" fmla="*/ 79786 h 93110"/>
                    <a:gd name="connsiteX111" fmla="*/ 30659 w 189073"/>
                    <a:gd name="connsiteY111" fmla="*/ 79142 h 93110"/>
                    <a:gd name="connsiteX112" fmla="*/ 28899 w 189073"/>
                    <a:gd name="connsiteY112" fmla="*/ 77251 h 93110"/>
                    <a:gd name="connsiteX113" fmla="*/ 26193 w 189073"/>
                    <a:gd name="connsiteY113" fmla="*/ 76999 h 93110"/>
                    <a:gd name="connsiteX114" fmla="*/ 23691 w 189073"/>
                    <a:gd name="connsiteY114" fmla="*/ 76942 h 93110"/>
                    <a:gd name="connsiteX115" fmla="*/ 23039 w 189073"/>
                    <a:gd name="connsiteY115" fmla="*/ 76599 h 93110"/>
                    <a:gd name="connsiteX116" fmla="*/ 23080 w 189073"/>
                    <a:gd name="connsiteY116" fmla="*/ 75377 h 93110"/>
                    <a:gd name="connsiteX117" fmla="*/ 22102 w 189073"/>
                    <a:gd name="connsiteY117" fmla="*/ 73054 h 93110"/>
                    <a:gd name="connsiteX118" fmla="*/ 20472 w 189073"/>
                    <a:gd name="connsiteY118" fmla="*/ 72337 h 93110"/>
                    <a:gd name="connsiteX119" fmla="*/ 16267 w 189073"/>
                    <a:gd name="connsiteY119" fmla="*/ 76689 h 93110"/>
                    <a:gd name="connsiteX120" fmla="*/ 15126 w 189073"/>
                    <a:gd name="connsiteY120" fmla="*/ 77080 h 93110"/>
                    <a:gd name="connsiteX121" fmla="*/ 11736 w 189073"/>
                    <a:gd name="connsiteY121" fmla="*/ 75874 h 93110"/>
                    <a:gd name="connsiteX122" fmla="*/ 8777 w 189073"/>
                    <a:gd name="connsiteY122" fmla="*/ 74008 h 93110"/>
                    <a:gd name="connsiteX123" fmla="*/ 8451 w 189073"/>
                    <a:gd name="connsiteY123" fmla="*/ 72647 h 93110"/>
                    <a:gd name="connsiteX124" fmla="*/ 7970 w 189073"/>
                    <a:gd name="connsiteY124" fmla="*/ 71522 h 93110"/>
                    <a:gd name="connsiteX125" fmla="*/ 5485 w 189073"/>
                    <a:gd name="connsiteY125" fmla="*/ 70471 h 93110"/>
                    <a:gd name="connsiteX126" fmla="*/ 2388 w 189073"/>
                    <a:gd name="connsiteY126" fmla="*/ 69745 h 93110"/>
                    <a:gd name="connsiteX127" fmla="*/ 1402 w 189073"/>
                    <a:gd name="connsiteY127" fmla="*/ 69745 h 93110"/>
                    <a:gd name="connsiteX128" fmla="*/ 1776 w 189073"/>
                    <a:gd name="connsiteY128" fmla="*/ 69093 h 93110"/>
                    <a:gd name="connsiteX129" fmla="*/ 2151 w 189073"/>
                    <a:gd name="connsiteY129" fmla="*/ 67969 h 93110"/>
                    <a:gd name="connsiteX130" fmla="*/ 1915 w 189073"/>
                    <a:gd name="connsiteY130" fmla="*/ 67089 h 93110"/>
                    <a:gd name="connsiteX131" fmla="*/ 1190 w 189073"/>
                    <a:gd name="connsiteY131" fmla="*/ 66168 h 93110"/>
                    <a:gd name="connsiteX132" fmla="*/ 790 w 189073"/>
                    <a:gd name="connsiteY132" fmla="*/ 65182 h 93110"/>
                    <a:gd name="connsiteX133" fmla="*/ 676 w 189073"/>
                    <a:gd name="connsiteY133" fmla="*/ 64228 h 93110"/>
                    <a:gd name="connsiteX134" fmla="*/ 456 w 189073"/>
                    <a:gd name="connsiteY134" fmla="*/ 63446 h 93110"/>
                    <a:gd name="connsiteX135" fmla="*/ 318 w 189073"/>
                    <a:gd name="connsiteY135" fmla="*/ 62712 h 93110"/>
                    <a:gd name="connsiteX136" fmla="*/ 90 w 189073"/>
                    <a:gd name="connsiteY136" fmla="*/ 62142 h 93110"/>
                    <a:gd name="connsiteX137" fmla="*/ 2111 w 189073"/>
                    <a:gd name="connsiteY137" fmla="*/ 57822 h 93110"/>
                    <a:gd name="connsiteX138" fmla="*/ 2534 w 189073"/>
                    <a:gd name="connsiteY138" fmla="*/ 55133 h 93110"/>
                    <a:gd name="connsiteX139" fmla="*/ 758 w 189073"/>
                    <a:gd name="connsiteY139" fmla="*/ 53560 h 93110"/>
                    <a:gd name="connsiteX140" fmla="*/ 0 w 189073"/>
                    <a:gd name="connsiteY140" fmla="*/ 53087 h 93110"/>
                    <a:gd name="connsiteX141" fmla="*/ 619 w 189073"/>
                    <a:gd name="connsiteY141" fmla="*/ 52737 h 93110"/>
                    <a:gd name="connsiteX142" fmla="*/ 3146 w 189073"/>
                    <a:gd name="connsiteY142" fmla="*/ 53030 h 93110"/>
                    <a:gd name="connsiteX143" fmla="*/ 4735 w 189073"/>
                    <a:gd name="connsiteY143" fmla="*/ 52150 h 93110"/>
                    <a:gd name="connsiteX144" fmla="*/ 5574 w 189073"/>
                    <a:gd name="connsiteY144" fmla="*/ 51262 h 93110"/>
                    <a:gd name="connsiteX145" fmla="*/ 7815 w 189073"/>
                    <a:gd name="connsiteY145" fmla="*/ 52085 h 93110"/>
                    <a:gd name="connsiteX146" fmla="*/ 11100 w 189073"/>
                    <a:gd name="connsiteY146" fmla="*/ 53764 h 93110"/>
                    <a:gd name="connsiteX147" fmla="*/ 12656 w 189073"/>
                    <a:gd name="connsiteY147" fmla="*/ 54897 h 93110"/>
                    <a:gd name="connsiteX148" fmla="*/ 13292 w 189073"/>
                    <a:gd name="connsiteY148" fmla="*/ 55777 h 93110"/>
                    <a:gd name="connsiteX149" fmla="*/ 13659 w 189073"/>
                    <a:gd name="connsiteY149" fmla="*/ 56510 h 93110"/>
                    <a:gd name="connsiteX150" fmla="*/ 13455 w 189073"/>
                    <a:gd name="connsiteY150" fmla="*/ 57765 h 93110"/>
                    <a:gd name="connsiteX151" fmla="*/ 14197 w 189073"/>
                    <a:gd name="connsiteY151" fmla="*/ 58262 h 93110"/>
                    <a:gd name="connsiteX152" fmla="*/ 15753 w 189073"/>
                    <a:gd name="connsiteY152" fmla="*/ 58450 h 93110"/>
                    <a:gd name="connsiteX153" fmla="*/ 16780 w 189073"/>
                    <a:gd name="connsiteY153" fmla="*/ 58833 h 93110"/>
                    <a:gd name="connsiteX154" fmla="*/ 16421 w 189073"/>
                    <a:gd name="connsiteY154" fmla="*/ 60479 h 93110"/>
                    <a:gd name="connsiteX155" fmla="*/ 16348 w 189073"/>
                    <a:gd name="connsiteY155" fmla="*/ 61856 h 93110"/>
                    <a:gd name="connsiteX156" fmla="*/ 17782 w 189073"/>
                    <a:gd name="connsiteY156" fmla="*/ 61669 h 93110"/>
                    <a:gd name="connsiteX157" fmla="*/ 19568 w 189073"/>
                    <a:gd name="connsiteY157" fmla="*/ 60618 h 93110"/>
                    <a:gd name="connsiteX158" fmla="*/ 20953 w 189073"/>
                    <a:gd name="connsiteY158" fmla="*/ 58735 h 93110"/>
                    <a:gd name="connsiteX159" fmla="*/ 21825 w 189073"/>
                    <a:gd name="connsiteY159" fmla="*/ 56926 h 93110"/>
                    <a:gd name="connsiteX160" fmla="*/ 22477 w 189073"/>
                    <a:gd name="connsiteY160" fmla="*/ 52484 h 93110"/>
                    <a:gd name="connsiteX161" fmla="*/ 22705 w 189073"/>
                    <a:gd name="connsiteY161" fmla="*/ 52109 h 93110"/>
                    <a:gd name="connsiteX162" fmla="*/ 23781 w 189073"/>
                    <a:gd name="connsiteY162" fmla="*/ 52460 h 93110"/>
                    <a:gd name="connsiteX163" fmla="*/ 28141 w 189073"/>
                    <a:gd name="connsiteY163" fmla="*/ 52272 h 93110"/>
                    <a:gd name="connsiteX164" fmla="*/ 30203 w 189073"/>
                    <a:gd name="connsiteY164" fmla="*/ 53096 h 93110"/>
                    <a:gd name="connsiteX165" fmla="*/ 33462 w 189073"/>
                    <a:gd name="connsiteY165" fmla="*/ 53234 h 93110"/>
                    <a:gd name="connsiteX166" fmla="*/ 33406 w 189073"/>
                    <a:gd name="connsiteY166" fmla="*/ 53927 h 93110"/>
                    <a:gd name="connsiteX167" fmla="*/ 33984 w 189073"/>
                    <a:gd name="connsiteY167" fmla="*/ 55011 h 93110"/>
                    <a:gd name="connsiteX168" fmla="*/ 35427 w 189073"/>
                    <a:gd name="connsiteY168" fmla="*/ 56575 h 93110"/>
                    <a:gd name="connsiteX169" fmla="*/ 36144 w 189073"/>
                    <a:gd name="connsiteY169" fmla="*/ 57594 h 93110"/>
                    <a:gd name="connsiteX170" fmla="*/ 37652 w 189073"/>
                    <a:gd name="connsiteY170" fmla="*/ 57765 h 93110"/>
                    <a:gd name="connsiteX171" fmla="*/ 39982 w 189073"/>
                    <a:gd name="connsiteY171" fmla="*/ 57219 h 93110"/>
                    <a:gd name="connsiteX172" fmla="*/ 41344 w 189073"/>
                    <a:gd name="connsiteY172" fmla="*/ 56624 h 93110"/>
                    <a:gd name="connsiteX173" fmla="*/ 41865 w 189073"/>
                    <a:gd name="connsiteY173" fmla="*/ 57040 h 93110"/>
                    <a:gd name="connsiteX174" fmla="*/ 44000 w 189073"/>
                    <a:gd name="connsiteY174" fmla="*/ 56641 h 93110"/>
                    <a:gd name="connsiteX175" fmla="*/ 45891 w 189073"/>
                    <a:gd name="connsiteY175" fmla="*/ 55377 h 93110"/>
                    <a:gd name="connsiteX176" fmla="*/ 46364 w 189073"/>
                    <a:gd name="connsiteY176" fmla="*/ 54416 h 93110"/>
                    <a:gd name="connsiteX177" fmla="*/ 48263 w 189073"/>
                    <a:gd name="connsiteY177" fmla="*/ 53739 h 93110"/>
                    <a:gd name="connsiteX178" fmla="*/ 50846 w 189073"/>
                    <a:gd name="connsiteY178" fmla="*/ 52175 h 93110"/>
                    <a:gd name="connsiteX179" fmla="*/ 54383 w 189073"/>
                    <a:gd name="connsiteY179" fmla="*/ 50968 h 93110"/>
                    <a:gd name="connsiteX180" fmla="*/ 66021 w 189073"/>
                    <a:gd name="connsiteY180" fmla="*/ 49681 h 93110"/>
                    <a:gd name="connsiteX181" fmla="*/ 66461 w 189073"/>
                    <a:gd name="connsiteY181" fmla="*/ 48711 h 93110"/>
                    <a:gd name="connsiteX182" fmla="*/ 66290 w 189073"/>
                    <a:gd name="connsiteY182" fmla="*/ 46486 h 93110"/>
                    <a:gd name="connsiteX183" fmla="*/ 66600 w 189073"/>
                    <a:gd name="connsiteY183" fmla="*/ 46152 h 93110"/>
                    <a:gd name="connsiteX184" fmla="*/ 68074 w 189073"/>
                    <a:gd name="connsiteY184" fmla="*/ 46706 h 93110"/>
                    <a:gd name="connsiteX185" fmla="*/ 70422 w 189073"/>
                    <a:gd name="connsiteY185" fmla="*/ 47228 h 93110"/>
                    <a:gd name="connsiteX186" fmla="*/ 72207 w 189073"/>
                    <a:gd name="connsiteY186" fmla="*/ 48018 h 93110"/>
                    <a:gd name="connsiteX187" fmla="*/ 73388 w 189073"/>
                    <a:gd name="connsiteY187" fmla="*/ 49045 h 93110"/>
                    <a:gd name="connsiteX188" fmla="*/ 74480 w 189073"/>
                    <a:gd name="connsiteY188" fmla="*/ 49094 h 93110"/>
                    <a:gd name="connsiteX189" fmla="*/ 76159 w 189073"/>
                    <a:gd name="connsiteY189" fmla="*/ 48369 h 93110"/>
                    <a:gd name="connsiteX190" fmla="*/ 78416 w 189073"/>
                    <a:gd name="connsiteY190" fmla="*/ 47904 h 93110"/>
                    <a:gd name="connsiteX191" fmla="*/ 80544 w 189073"/>
                    <a:gd name="connsiteY191" fmla="*/ 48972 h 93110"/>
                    <a:gd name="connsiteX192" fmla="*/ 81155 w 189073"/>
                    <a:gd name="connsiteY192" fmla="*/ 50129 h 93110"/>
                    <a:gd name="connsiteX193" fmla="*/ 80788 w 189073"/>
                    <a:gd name="connsiteY193" fmla="*/ 50724 h 93110"/>
                    <a:gd name="connsiteX194" fmla="*/ 80821 w 189073"/>
                    <a:gd name="connsiteY194" fmla="*/ 51661 h 93110"/>
                    <a:gd name="connsiteX195" fmla="*/ 81481 w 189073"/>
                    <a:gd name="connsiteY195" fmla="*/ 52452 h 93110"/>
                    <a:gd name="connsiteX196" fmla="*/ 83217 w 189073"/>
                    <a:gd name="connsiteY196" fmla="*/ 53723 h 93110"/>
                    <a:gd name="connsiteX197" fmla="*/ 85425 w 189073"/>
                    <a:gd name="connsiteY197" fmla="*/ 54823 h 93110"/>
                    <a:gd name="connsiteX198" fmla="*/ 86574 w 189073"/>
                    <a:gd name="connsiteY198" fmla="*/ 54734 h 93110"/>
                    <a:gd name="connsiteX199" fmla="*/ 86998 w 189073"/>
                    <a:gd name="connsiteY199" fmla="*/ 53674 h 93110"/>
                    <a:gd name="connsiteX200" fmla="*/ 87406 w 189073"/>
                    <a:gd name="connsiteY200" fmla="*/ 51131 h 93110"/>
                    <a:gd name="connsiteX201" fmla="*/ 87552 w 189073"/>
                    <a:gd name="connsiteY201" fmla="*/ 48418 h 93110"/>
                    <a:gd name="connsiteX202" fmla="*/ 87055 w 189073"/>
                    <a:gd name="connsiteY202" fmla="*/ 46853 h 93110"/>
                    <a:gd name="connsiteX203" fmla="*/ 85849 w 189073"/>
                    <a:gd name="connsiteY203" fmla="*/ 46470 h 93110"/>
                    <a:gd name="connsiteX204" fmla="*/ 84431 w 189073"/>
                    <a:gd name="connsiteY204" fmla="*/ 46347 h 93110"/>
                    <a:gd name="connsiteX205" fmla="*/ 83682 w 189073"/>
                    <a:gd name="connsiteY205" fmla="*/ 46021 h 93110"/>
                    <a:gd name="connsiteX206" fmla="*/ 83942 w 189073"/>
                    <a:gd name="connsiteY206" fmla="*/ 45166 h 93110"/>
                    <a:gd name="connsiteX207" fmla="*/ 85083 w 189073"/>
                    <a:gd name="connsiteY207" fmla="*/ 42949 h 93110"/>
                    <a:gd name="connsiteX208" fmla="*/ 85067 w 189073"/>
                    <a:gd name="connsiteY208" fmla="*/ 39974 h 93110"/>
                    <a:gd name="connsiteX209" fmla="*/ 82483 w 189073"/>
                    <a:gd name="connsiteY209" fmla="*/ 36600 h 93110"/>
                    <a:gd name="connsiteX210" fmla="*/ 80275 w 189073"/>
                    <a:gd name="connsiteY210" fmla="*/ 33324 h 93110"/>
                    <a:gd name="connsiteX211" fmla="*/ 80275 w 189073"/>
                    <a:gd name="connsiteY211" fmla="*/ 32216 h 93110"/>
                    <a:gd name="connsiteX212" fmla="*/ 81611 w 189073"/>
                    <a:gd name="connsiteY212" fmla="*/ 30276 h 93110"/>
                    <a:gd name="connsiteX213" fmla="*/ 83673 w 189073"/>
                    <a:gd name="connsiteY213" fmla="*/ 28744 h 93110"/>
                    <a:gd name="connsiteX214" fmla="*/ 88253 w 189073"/>
                    <a:gd name="connsiteY214" fmla="*/ 26177 h 93110"/>
                    <a:gd name="connsiteX215" fmla="*/ 89696 w 189073"/>
                    <a:gd name="connsiteY215" fmla="*/ 25647 h 93110"/>
                    <a:gd name="connsiteX216" fmla="*/ 91546 w 189073"/>
                    <a:gd name="connsiteY216" fmla="*/ 25207 h 93110"/>
                    <a:gd name="connsiteX217" fmla="*/ 94219 w 189073"/>
                    <a:gd name="connsiteY217" fmla="*/ 24148 h 93110"/>
                    <a:gd name="connsiteX218" fmla="*/ 95507 w 189073"/>
                    <a:gd name="connsiteY218" fmla="*/ 23072 h 93110"/>
                    <a:gd name="connsiteX219" fmla="*/ 96362 w 189073"/>
                    <a:gd name="connsiteY219" fmla="*/ 21898 h 93110"/>
                    <a:gd name="connsiteX220" fmla="*/ 97626 w 189073"/>
                    <a:gd name="connsiteY220" fmla="*/ 15762 h 93110"/>
                    <a:gd name="connsiteX221" fmla="*/ 97919 w 189073"/>
                    <a:gd name="connsiteY221" fmla="*/ 15493 h 93110"/>
                    <a:gd name="connsiteX222" fmla="*/ 98286 w 189073"/>
                    <a:gd name="connsiteY222" fmla="*/ 15142 h 93110"/>
                    <a:gd name="connsiteX223" fmla="*/ 102963 w 189073"/>
                    <a:gd name="connsiteY223" fmla="*/ 17253 h 93110"/>
                    <a:gd name="connsiteX224" fmla="*/ 103387 w 189073"/>
                    <a:gd name="connsiteY224" fmla="*/ 16902 h 93110"/>
                    <a:gd name="connsiteX225" fmla="*/ 104161 w 189073"/>
                    <a:gd name="connsiteY225" fmla="*/ 16552 h 93110"/>
                    <a:gd name="connsiteX226" fmla="*/ 105694 w 189073"/>
                    <a:gd name="connsiteY226" fmla="*/ 14930 h 93110"/>
                    <a:gd name="connsiteX227" fmla="*/ 106036 w 189073"/>
                    <a:gd name="connsiteY227" fmla="*/ 13700 h 93110"/>
                    <a:gd name="connsiteX228" fmla="*/ 105995 w 189073"/>
                    <a:gd name="connsiteY228" fmla="*/ 11361 h 93110"/>
                    <a:gd name="connsiteX229" fmla="*/ 106126 w 189073"/>
                    <a:gd name="connsiteY229" fmla="*/ 9160 h 93110"/>
                    <a:gd name="connsiteX230" fmla="*/ 106427 w 189073"/>
                    <a:gd name="connsiteY230" fmla="*/ 8459 h 93110"/>
                    <a:gd name="connsiteX231" fmla="*/ 107128 w 189073"/>
                    <a:gd name="connsiteY231" fmla="*/ 8712 h 93110"/>
                    <a:gd name="connsiteX232" fmla="*/ 109141 w 189073"/>
                    <a:gd name="connsiteY232" fmla="*/ 9869 h 93110"/>
                    <a:gd name="connsiteX233" fmla="*/ 110738 w 189073"/>
                    <a:gd name="connsiteY233" fmla="*/ 11141 h 93110"/>
                    <a:gd name="connsiteX234" fmla="*/ 112230 w 189073"/>
                    <a:gd name="connsiteY234" fmla="*/ 14392 h 93110"/>
                    <a:gd name="connsiteX235" fmla="*/ 115718 w 189073"/>
                    <a:gd name="connsiteY235" fmla="*/ 15256 h 93110"/>
                    <a:gd name="connsiteX236" fmla="*/ 120135 w 189073"/>
                    <a:gd name="connsiteY236" fmla="*/ 15338 h 93110"/>
                    <a:gd name="connsiteX237" fmla="*/ 121708 w 189073"/>
                    <a:gd name="connsiteY237" fmla="*/ 13895 h 93110"/>
                    <a:gd name="connsiteX238" fmla="*/ 123134 w 189073"/>
                    <a:gd name="connsiteY238" fmla="*/ 13561 h 93110"/>
                    <a:gd name="connsiteX239" fmla="*/ 124764 w 189073"/>
                    <a:gd name="connsiteY239" fmla="*/ 14001 h 93110"/>
                    <a:gd name="connsiteX240" fmla="*/ 128162 w 189073"/>
                    <a:gd name="connsiteY240" fmla="*/ 14507 h 93110"/>
                    <a:gd name="connsiteX241" fmla="*/ 128554 w 189073"/>
                    <a:gd name="connsiteY241" fmla="*/ 11890 h 93110"/>
                    <a:gd name="connsiteX242" fmla="*/ 130510 w 189073"/>
                    <a:gd name="connsiteY242" fmla="*/ 9168 h 93110"/>
                    <a:gd name="connsiteX243" fmla="*/ 131398 w 189073"/>
                    <a:gd name="connsiteY243" fmla="*/ 8199 h 93110"/>
                    <a:gd name="connsiteX244" fmla="*/ 133900 w 189073"/>
                    <a:gd name="connsiteY244" fmla="*/ 8296 h 93110"/>
                    <a:gd name="connsiteX245" fmla="*/ 134519 w 189073"/>
                    <a:gd name="connsiteY245" fmla="*/ 6267 h 93110"/>
                    <a:gd name="connsiteX246" fmla="*/ 135131 w 189073"/>
                    <a:gd name="connsiteY246" fmla="*/ 619 h 93110"/>
                    <a:gd name="connsiteX247" fmla="*/ 135660 w 189073"/>
                    <a:gd name="connsiteY247" fmla="*/ 0 h 93110"/>
                    <a:gd name="connsiteX248" fmla="*/ 137478 w 189073"/>
                    <a:gd name="connsiteY248" fmla="*/ 114 h 93110"/>
                    <a:gd name="connsiteX249" fmla="*/ 139287 w 189073"/>
                    <a:gd name="connsiteY249" fmla="*/ 1149 h 93110"/>
                    <a:gd name="connsiteX250" fmla="*/ 139833 w 189073"/>
                    <a:gd name="connsiteY250" fmla="*/ 1980 h 93110"/>
                    <a:gd name="connsiteX251" fmla="*/ 140770 w 189073"/>
                    <a:gd name="connsiteY251" fmla="*/ 1915 h 93110"/>
                    <a:gd name="connsiteX252" fmla="*/ 142091 w 189073"/>
                    <a:gd name="connsiteY252" fmla="*/ 1345 h 93110"/>
                    <a:gd name="connsiteX253" fmla="*/ 143525 w 189073"/>
                    <a:gd name="connsiteY253" fmla="*/ 978 h 93110"/>
                    <a:gd name="connsiteX254" fmla="*/ 145815 w 189073"/>
                    <a:gd name="connsiteY254" fmla="*/ 1581 h 93110"/>
                    <a:gd name="connsiteX255" fmla="*/ 150688 w 189073"/>
                    <a:gd name="connsiteY255" fmla="*/ 4140 h 93110"/>
                    <a:gd name="connsiteX256" fmla="*/ 153206 w 189073"/>
                    <a:gd name="connsiteY256" fmla="*/ 5085 h 93110"/>
                    <a:gd name="connsiteX257" fmla="*/ 154788 w 189073"/>
                    <a:gd name="connsiteY257" fmla="*/ 4906 h 93110"/>
                    <a:gd name="connsiteX258" fmla="*/ 156279 w 189073"/>
                    <a:gd name="connsiteY258" fmla="*/ 4947 h 93110"/>
                    <a:gd name="connsiteX259" fmla="*/ 162033 w 189073"/>
                    <a:gd name="connsiteY259" fmla="*/ 8899 h 93110"/>
                    <a:gd name="connsiteX260" fmla="*/ 166059 w 189073"/>
                    <a:gd name="connsiteY260" fmla="*/ 9454 h 93110"/>
                    <a:gd name="connsiteX261" fmla="*/ 169726 w 189073"/>
                    <a:gd name="connsiteY261" fmla="*/ 9470 h 93110"/>
                    <a:gd name="connsiteX262" fmla="*/ 170916 w 189073"/>
                    <a:gd name="connsiteY262" fmla="*/ 8280 h 93110"/>
                    <a:gd name="connsiteX263" fmla="*/ 172473 w 189073"/>
                    <a:gd name="connsiteY263" fmla="*/ 7261 h 93110"/>
                    <a:gd name="connsiteX264" fmla="*/ 174103 w 189073"/>
                    <a:gd name="connsiteY264" fmla="*/ 7400 h 93110"/>
                    <a:gd name="connsiteX265" fmla="*/ 175529 w 189073"/>
                    <a:gd name="connsiteY265" fmla="*/ 7913 h 93110"/>
                    <a:gd name="connsiteX266" fmla="*/ 178300 w 189073"/>
                    <a:gd name="connsiteY266" fmla="*/ 9641 h 93110"/>
                    <a:gd name="connsiteX267" fmla="*/ 179579 w 189073"/>
                    <a:gd name="connsiteY267" fmla="*/ 10081 h 93110"/>
                    <a:gd name="connsiteX268" fmla="*/ 181282 w 189073"/>
                    <a:gd name="connsiteY268" fmla="*/ 10358 h 93110"/>
                    <a:gd name="connsiteX269" fmla="*/ 182537 w 189073"/>
                    <a:gd name="connsiteY269" fmla="*/ 10741 h 93110"/>
                    <a:gd name="connsiteX270" fmla="*/ 183646 w 189073"/>
                    <a:gd name="connsiteY270" fmla="*/ 13724 h 93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Lst>
                  <a:rect l="l" t="t" r="r" b="b"/>
                  <a:pathLst>
                    <a:path w="189073" h="93110">
                      <a:moveTo>
                        <a:pt x="184257" y="14523"/>
                      </a:moveTo>
                      <a:lnTo>
                        <a:pt x="184159" y="14890"/>
                      </a:lnTo>
                      <a:lnTo>
                        <a:pt x="184013" y="16250"/>
                      </a:lnTo>
                      <a:lnTo>
                        <a:pt x="183059" y="17954"/>
                      </a:lnTo>
                      <a:lnTo>
                        <a:pt x="182016" y="20195"/>
                      </a:lnTo>
                      <a:lnTo>
                        <a:pt x="182089" y="22151"/>
                      </a:lnTo>
                      <a:lnTo>
                        <a:pt x="184746" y="28940"/>
                      </a:lnTo>
                      <a:lnTo>
                        <a:pt x="187101" y="33072"/>
                      </a:lnTo>
                      <a:lnTo>
                        <a:pt x="187550" y="34644"/>
                      </a:lnTo>
                      <a:lnTo>
                        <a:pt x="189073" y="35842"/>
                      </a:lnTo>
                      <a:lnTo>
                        <a:pt x="187639" y="37358"/>
                      </a:lnTo>
                      <a:lnTo>
                        <a:pt x="187346" y="39608"/>
                      </a:lnTo>
                      <a:lnTo>
                        <a:pt x="186417" y="40610"/>
                      </a:lnTo>
                      <a:lnTo>
                        <a:pt x="186164" y="41890"/>
                      </a:lnTo>
                      <a:lnTo>
                        <a:pt x="186563" y="43063"/>
                      </a:lnTo>
                      <a:lnTo>
                        <a:pt x="186555" y="44522"/>
                      </a:lnTo>
                      <a:lnTo>
                        <a:pt x="187077" y="46535"/>
                      </a:lnTo>
                      <a:lnTo>
                        <a:pt x="184762" y="46975"/>
                      </a:lnTo>
                      <a:lnTo>
                        <a:pt x="182016" y="46902"/>
                      </a:lnTo>
                      <a:lnTo>
                        <a:pt x="181030" y="47024"/>
                      </a:lnTo>
                      <a:lnTo>
                        <a:pt x="180117" y="47570"/>
                      </a:lnTo>
                      <a:lnTo>
                        <a:pt x="179163" y="47301"/>
                      </a:lnTo>
                      <a:lnTo>
                        <a:pt x="176686" y="45402"/>
                      </a:lnTo>
                      <a:lnTo>
                        <a:pt x="175276" y="44995"/>
                      </a:lnTo>
                      <a:lnTo>
                        <a:pt x="174290" y="45109"/>
                      </a:lnTo>
                      <a:lnTo>
                        <a:pt x="173548" y="45932"/>
                      </a:lnTo>
                      <a:lnTo>
                        <a:pt x="172269" y="46975"/>
                      </a:lnTo>
                      <a:lnTo>
                        <a:pt x="171071" y="47725"/>
                      </a:lnTo>
                      <a:lnTo>
                        <a:pt x="171340" y="48369"/>
                      </a:lnTo>
                      <a:lnTo>
                        <a:pt x="176482" y="50072"/>
                      </a:lnTo>
                      <a:lnTo>
                        <a:pt x="177403" y="52672"/>
                      </a:lnTo>
                      <a:lnTo>
                        <a:pt x="176417" y="54791"/>
                      </a:lnTo>
                      <a:lnTo>
                        <a:pt x="176075" y="55834"/>
                      </a:lnTo>
                      <a:lnTo>
                        <a:pt x="174869" y="56649"/>
                      </a:lnTo>
                      <a:lnTo>
                        <a:pt x="173385" y="57366"/>
                      </a:lnTo>
                      <a:lnTo>
                        <a:pt x="171601" y="57545"/>
                      </a:lnTo>
                      <a:lnTo>
                        <a:pt x="171389" y="58694"/>
                      </a:lnTo>
                      <a:lnTo>
                        <a:pt x="172089" y="62060"/>
                      </a:lnTo>
                      <a:lnTo>
                        <a:pt x="171535" y="62785"/>
                      </a:lnTo>
                      <a:lnTo>
                        <a:pt x="170957" y="63829"/>
                      </a:lnTo>
                      <a:lnTo>
                        <a:pt x="171495" y="66591"/>
                      </a:lnTo>
                      <a:lnTo>
                        <a:pt x="172603" y="66787"/>
                      </a:lnTo>
                      <a:lnTo>
                        <a:pt x="172848" y="67423"/>
                      </a:lnTo>
                      <a:lnTo>
                        <a:pt x="172644" y="68547"/>
                      </a:lnTo>
                      <a:lnTo>
                        <a:pt x="172440" y="69729"/>
                      </a:lnTo>
                      <a:lnTo>
                        <a:pt x="172057" y="70992"/>
                      </a:lnTo>
                      <a:lnTo>
                        <a:pt x="171870" y="71546"/>
                      </a:lnTo>
                      <a:lnTo>
                        <a:pt x="171136" y="71905"/>
                      </a:lnTo>
                      <a:lnTo>
                        <a:pt x="168846" y="71709"/>
                      </a:lnTo>
                      <a:lnTo>
                        <a:pt x="166890" y="72793"/>
                      </a:lnTo>
                      <a:lnTo>
                        <a:pt x="162929" y="76656"/>
                      </a:lnTo>
                      <a:lnTo>
                        <a:pt x="161544" y="77317"/>
                      </a:lnTo>
                      <a:lnTo>
                        <a:pt x="160052" y="78857"/>
                      </a:lnTo>
                      <a:lnTo>
                        <a:pt x="160142" y="82247"/>
                      </a:lnTo>
                      <a:lnTo>
                        <a:pt x="159930" y="82557"/>
                      </a:lnTo>
                      <a:lnTo>
                        <a:pt x="159563" y="83249"/>
                      </a:lnTo>
                      <a:lnTo>
                        <a:pt x="154836" y="82060"/>
                      </a:lnTo>
                      <a:lnTo>
                        <a:pt x="154682" y="82076"/>
                      </a:lnTo>
                      <a:lnTo>
                        <a:pt x="151512" y="82516"/>
                      </a:lnTo>
                      <a:lnTo>
                        <a:pt x="149343" y="84073"/>
                      </a:lnTo>
                      <a:lnTo>
                        <a:pt x="146711" y="84953"/>
                      </a:lnTo>
                      <a:lnTo>
                        <a:pt x="141194" y="84488"/>
                      </a:lnTo>
                      <a:lnTo>
                        <a:pt x="135832" y="85091"/>
                      </a:lnTo>
                      <a:lnTo>
                        <a:pt x="134560" y="85539"/>
                      </a:lnTo>
                      <a:lnTo>
                        <a:pt x="133175" y="85792"/>
                      </a:lnTo>
                      <a:lnTo>
                        <a:pt x="131871" y="86705"/>
                      </a:lnTo>
                      <a:lnTo>
                        <a:pt x="131121" y="87976"/>
                      </a:lnTo>
                      <a:lnTo>
                        <a:pt x="129784" y="89590"/>
                      </a:lnTo>
                      <a:lnTo>
                        <a:pt x="127885" y="90853"/>
                      </a:lnTo>
                      <a:lnTo>
                        <a:pt x="125823" y="91823"/>
                      </a:lnTo>
                      <a:lnTo>
                        <a:pt x="125334" y="92638"/>
                      </a:lnTo>
                      <a:lnTo>
                        <a:pt x="124650" y="93111"/>
                      </a:lnTo>
                      <a:lnTo>
                        <a:pt x="123493" y="92499"/>
                      </a:lnTo>
                      <a:lnTo>
                        <a:pt x="122572" y="92532"/>
                      </a:lnTo>
                      <a:lnTo>
                        <a:pt x="121431" y="92116"/>
                      </a:lnTo>
                      <a:lnTo>
                        <a:pt x="117649" y="91660"/>
                      </a:lnTo>
                      <a:lnTo>
                        <a:pt x="113485" y="90910"/>
                      </a:lnTo>
                      <a:lnTo>
                        <a:pt x="111504" y="90185"/>
                      </a:lnTo>
                      <a:lnTo>
                        <a:pt x="109247" y="89623"/>
                      </a:lnTo>
                      <a:lnTo>
                        <a:pt x="106834" y="89158"/>
                      </a:lnTo>
                      <a:lnTo>
                        <a:pt x="104667" y="89044"/>
                      </a:lnTo>
                      <a:lnTo>
                        <a:pt x="103575" y="88840"/>
                      </a:lnTo>
                      <a:lnTo>
                        <a:pt x="98359" y="87585"/>
                      </a:lnTo>
                      <a:lnTo>
                        <a:pt x="94936" y="87504"/>
                      </a:lnTo>
                      <a:lnTo>
                        <a:pt x="90405" y="86974"/>
                      </a:lnTo>
                      <a:lnTo>
                        <a:pt x="81391" y="85091"/>
                      </a:lnTo>
                      <a:lnTo>
                        <a:pt x="78775" y="84325"/>
                      </a:lnTo>
                      <a:lnTo>
                        <a:pt x="76257" y="84089"/>
                      </a:lnTo>
                      <a:lnTo>
                        <a:pt x="73290" y="83437"/>
                      </a:lnTo>
                      <a:lnTo>
                        <a:pt x="71049" y="82369"/>
                      </a:lnTo>
                      <a:lnTo>
                        <a:pt x="69599" y="80332"/>
                      </a:lnTo>
                      <a:lnTo>
                        <a:pt x="68066" y="77626"/>
                      </a:lnTo>
                      <a:lnTo>
                        <a:pt x="65239" y="74097"/>
                      </a:lnTo>
                      <a:lnTo>
                        <a:pt x="64660" y="72337"/>
                      </a:lnTo>
                      <a:lnTo>
                        <a:pt x="65516" y="70788"/>
                      </a:lnTo>
                      <a:lnTo>
                        <a:pt x="66412" y="69623"/>
                      </a:lnTo>
                      <a:lnTo>
                        <a:pt x="66298" y="69126"/>
                      </a:lnTo>
                      <a:lnTo>
                        <a:pt x="65613" y="68865"/>
                      </a:lnTo>
                      <a:lnTo>
                        <a:pt x="60650" y="70373"/>
                      </a:lnTo>
                      <a:lnTo>
                        <a:pt x="55850" y="72288"/>
                      </a:lnTo>
                      <a:lnTo>
                        <a:pt x="53959" y="72337"/>
                      </a:lnTo>
                      <a:lnTo>
                        <a:pt x="52126" y="71913"/>
                      </a:lnTo>
                      <a:lnTo>
                        <a:pt x="49697" y="71881"/>
                      </a:lnTo>
                      <a:lnTo>
                        <a:pt x="47358" y="72394"/>
                      </a:lnTo>
                      <a:lnTo>
                        <a:pt x="42664" y="72663"/>
                      </a:lnTo>
                      <a:lnTo>
                        <a:pt x="39933" y="74057"/>
                      </a:lnTo>
                      <a:lnTo>
                        <a:pt x="38181" y="76803"/>
                      </a:lnTo>
                      <a:lnTo>
                        <a:pt x="37228" y="79012"/>
                      </a:lnTo>
                      <a:lnTo>
                        <a:pt x="36453" y="79721"/>
                      </a:lnTo>
                      <a:lnTo>
                        <a:pt x="34815" y="79990"/>
                      </a:lnTo>
                      <a:lnTo>
                        <a:pt x="32371" y="79786"/>
                      </a:lnTo>
                      <a:lnTo>
                        <a:pt x="30659" y="79142"/>
                      </a:lnTo>
                      <a:lnTo>
                        <a:pt x="28899" y="77251"/>
                      </a:lnTo>
                      <a:lnTo>
                        <a:pt x="26193" y="76999"/>
                      </a:lnTo>
                      <a:lnTo>
                        <a:pt x="23691" y="76942"/>
                      </a:lnTo>
                      <a:lnTo>
                        <a:pt x="23039" y="76599"/>
                      </a:lnTo>
                      <a:lnTo>
                        <a:pt x="23080" y="75377"/>
                      </a:lnTo>
                      <a:lnTo>
                        <a:pt x="22102" y="73054"/>
                      </a:lnTo>
                      <a:lnTo>
                        <a:pt x="20472" y="72337"/>
                      </a:lnTo>
                      <a:lnTo>
                        <a:pt x="16267" y="76689"/>
                      </a:lnTo>
                      <a:lnTo>
                        <a:pt x="15126" y="77080"/>
                      </a:lnTo>
                      <a:lnTo>
                        <a:pt x="11736" y="75874"/>
                      </a:lnTo>
                      <a:lnTo>
                        <a:pt x="8777" y="74008"/>
                      </a:lnTo>
                      <a:lnTo>
                        <a:pt x="8451" y="72647"/>
                      </a:lnTo>
                      <a:lnTo>
                        <a:pt x="7970" y="71522"/>
                      </a:lnTo>
                      <a:lnTo>
                        <a:pt x="5485" y="70471"/>
                      </a:lnTo>
                      <a:lnTo>
                        <a:pt x="2388" y="69745"/>
                      </a:lnTo>
                      <a:lnTo>
                        <a:pt x="1402" y="69745"/>
                      </a:lnTo>
                      <a:lnTo>
                        <a:pt x="1776" y="69093"/>
                      </a:lnTo>
                      <a:lnTo>
                        <a:pt x="2151" y="67969"/>
                      </a:lnTo>
                      <a:lnTo>
                        <a:pt x="1915" y="67089"/>
                      </a:lnTo>
                      <a:lnTo>
                        <a:pt x="1190" y="66168"/>
                      </a:lnTo>
                      <a:lnTo>
                        <a:pt x="790" y="65182"/>
                      </a:lnTo>
                      <a:lnTo>
                        <a:pt x="676" y="64228"/>
                      </a:lnTo>
                      <a:lnTo>
                        <a:pt x="456" y="63446"/>
                      </a:lnTo>
                      <a:lnTo>
                        <a:pt x="318" y="62712"/>
                      </a:lnTo>
                      <a:lnTo>
                        <a:pt x="90" y="62142"/>
                      </a:lnTo>
                      <a:lnTo>
                        <a:pt x="2111" y="57822"/>
                      </a:lnTo>
                      <a:lnTo>
                        <a:pt x="2534" y="55133"/>
                      </a:lnTo>
                      <a:lnTo>
                        <a:pt x="758" y="53560"/>
                      </a:lnTo>
                      <a:lnTo>
                        <a:pt x="0" y="53087"/>
                      </a:lnTo>
                      <a:lnTo>
                        <a:pt x="619" y="52737"/>
                      </a:lnTo>
                      <a:lnTo>
                        <a:pt x="3146" y="53030"/>
                      </a:lnTo>
                      <a:lnTo>
                        <a:pt x="4735" y="52150"/>
                      </a:lnTo>
                      <a:lnTo>
                        <a:pt x="5574" y="51262"/>
                      </a:lnTo>
                      <a:lnTo>
                        <a:pt x="7815" y="52085"/>
                      </a:lnTo>
                      <a:lnTo>
                        <a:pt x="11100" y="53764"/>
                      </a:lnTo>
                      <a:lnTo>
                        <a:pt x="12656" y="54897"/>
                      </a:lnTo>
                      <a:lnTo>
                        <a:pt x="13292" y="55777"/>
                      </a:lnTo>
                      <a:lnTo>
                        <a:pt x="13659" y="56510"/>
                      </a:lnTo>
                      <a:lnTo>
                        <a:pt x="13455" y="57765"/>
                      </a:lnTo>
                      <a:lnTo>
                        <a:pt x="14197" y="58262"/>
                      </a:lnTo>
                      <a:lnTo>
                        <a:pt x="15753" y="58450"/>
                      </a:lnTo>
                      <a:lnTo>
                        <a:pt x="16780" y="58833"/>
                      </a:lnTo>
                      <a:lnTo>
                        <a:pt x="16421" y="60479"/>
                      </a:lnTo>
                      <a:lnTo>
                        <a:pt x="16348" y="61856"/>
                      </a:lnTo>
                      <a:lnTo>
                        <a:pt x="17782" y="61669"/>
                      </a:lnTo>
                      <a:lnTo>
                        <a:pt x="19568" y="60618"/>
                      </a:lnTo>
                      <a:lnTo>
                        <a:pt x="20953" y="58735"/>
                      </a:lnTo>
                      <a:lnTo>
                        <a:pt x="21825" y="56926"/>
                      </a:lnTo>
                      <a:lnTo>
                        <a:pt x="22477" y="52484"/>
                      </a:lnTo>
                      <a:lnTo>
                        <a:pt x="22705" y="52109"/>
                      </a:lnTo>
                      <a:lnTo>
                        <a:pt x="23781" y="52460"/>
                      </a:lnTo>
                      <a:lnTo>
                        <a:pt x="28141" y="52272"/>
                      </a:lnTo>
                      <a:lnTo>
                        <a:pt x="30203" y="53096"/>
                      </a:lnTo>
                      <a:lnTo>
                        <a:pt x="33462" y="53234"/>
                      </a:lnTo>
                      <a:lnTo>
                        <a:pt x="33406" y="53927"/>
                      </a:lnTo>
                      <a:lnTo>
                        <a:pt x="33984" y="55011"/>
                      </a:lnTo>
                      <a:lnTo>
                        <a:pt x="35427" y="56575"/>
                      </a:lnTo>
                      <a:lnTo>
                        <a:pt x="36144" y="57594"/>
                      </a:lnTo>
                      <a:lnTo>
                        <a:pt x="37652" y="57765"/>
                      </a:lnTo>
                      <a:lnTo>
                        <a:pt x="39982" y="57219"/>
                      </a:lnTo>
                      <a:lnTo>
                        <a:pt x="41344" y="56624"/>
                      </a:lnTo>
                      <a:lnTo>
                        <a:pt x="41865" y="57040"/>
                      </a:lnTo>
                      <a:lnTo>
                        <a:pt x="44000" y="56641"/>
                      </a:lnTo>
                      <a:lnTo>
                        <a:pt x="45891" y="55377"/>
                      </a:lnTo>
                      <a:lnTo>
                        <a:pt x="46364" y="54416"/>
                      </a:lnTo>
                      <a:lnTo>
                        <a:pt x="48263" y="53739"/>
                      </a:lnTo>
                      <a:lnTo>
                        <a:pt x="50846" y="52175"/>
                      </a:lnTo>
                      <a:lnTo>
                        <a:pt x="54383" y="50968"/>
                      </a:lnTo>
                      <a:lnTo>
                        <a:pt x="66021" y="49681"/>
                      </a:lnTo>
                      <a:lnTo>
                        <a:pt x="66461" y="48711"/>
                      </a:lnTo>
                      <a:lnTo>
                        <a:pt x="66290" y="46486"/>
                      </a:lnTo>
                      <a:lnTo>
                        <a:pt x="66600" y="46152"/>
                      </a:lnTo>
                      <a:lnTo>
                        <a:pt x="68074" y="46706"/>
                      </a:lnTo>
                      <a:lnTo>
                        <a:pt x="70422" y="47228"/>
                      </a:lnTo>
                      <a:lnTo>
                        <a:pt x="72207" y="48018"/>
                      </a:lnTo>
                      <a:lnTo>
                        <a:pt x="73388" y="49045"/>
                      </a:lnTo>
                      <a:lnTo>
                        <a:pt x="74480" y="49094"/>
                      </a:lnTo>
                      <a:lnTo>
                        <a:pt x="76159" y="48369"/>
                      </a:lnTo>
                      <a:lnTo>
                        <a:pt x="78416" y="47904"/>
                      </a:lnTo>
                      <a:lnTo>
                        <a:pt x="80544" y="48972"/>
                      </a:lnTo>
                      <a:lnTo>
                        <a:pt x="81155" y="50129"/>
                      </a:lnTo>
                      <a:lnTo>
                        <a:pt x="80788" y="50724"/>
                      </a:lnTo>
                      <a:lnTo>
                        <a:pt x="80821" y="51661"/>
                      </a:lnTo>
                      <a:lnTo>
                        <a:pt x="81481" y="52452"/>
                      </a:lnTo>
                      <a:lnTo>
                        <a:pt x="83217" y="53723"/>
                      </a:lnTo>
                      <a:lnTo>
                        <a:pt x="85425" y="54823"/>
                      </a:lnTo>
                      <a:lnTo>
                        <a:pt x="86574" y="54734"/>
                      </a:lnTo>
                      <a:lnTo>
                        <a:pt x="86998" y="53674"/>
                      </a:lnTo>
                      <a:lnTo>
                        <a:pt x="87406" y="51131"/>
                      </a:lnTo>
                      <a:lnTo>
                        <a:pt x="87552" y="48418"/>
                      </a:lnTo>
                      <a:lnTo>
                        <a:pt x="87055" y="46853"/>
                      </a:lnTo>
                      <a:lnTo>
                        <a:pt x="85849" y="46470"/>
                      </a:lnTo>
                      <a:lnTo>
                        <a:pt x="84431" y="46347"/>
                      </a:lnTo>
                      <a:lnTo>
                        <a:pt x="83682" y="46021"/>
                      </a:lnTo>
                      <a:lnTo>
                        <a:pt x="83942" y="45166"/>
                      </a:lnTo>
                      <a:lnTo>
                        <a:pt x="85083" y="42949"/>
                      </a:lnTo>
                      <a:lnTo>
                        <a:pt x="85067" y="39974"/>
                      </a:lnTo>
                      <a:lnTo>
                        <a:pt x="82483" y="36600"/>
                      </a:lnTo>
                      <a:lnTo>
                        <a:pt x="80275" y="33324"/>
                      </a:lnTo>
                      <a:lnTo>
                        <a:pt x="80275" y="32216"/>
                      </a:lnTo>
                      <a:lnTo>
                        <a:pt x="81611" y="30276"/>
                      </a:lnTo>
                      <a:lnTo>
                        <a:pt x="83673" y="28744"/>
                      </a:lnTo>
                      <a:lnTo>
                        <a:pt x="88253" y="26177"/>
                      </a:lnTo>
                      <a:lnTo>
                        <a:pt x="89696" y="25647"/>
                      </a:lnTo>
                      <a:lnTo>
                        <a:pt x="91546" y="25207"/>
                      </a:lnTo>
                      <a:lnTo>
                        <a:pt x="94219" y="24148"/>
                      </a:lnTo>
                      <a:lnTo>
                        <a:pt x="95507" y="23072"/>
                      </a:lnTo>
                      <a:lnTo>
                        <a:pt x="96362" y="21898"/>
                      </a:lnTo>
                      <a:lnTo>
                        <a:pt x="97626" y="15762"/>
                      </a:lnTo>
                      <a:lnTo>
                        <a:pt x="97919" y="15493"/>
                      </a:lnTo>
                      <a:lnTo>
                        <a:pt x="98286" y="15142"/>
                      </a:lnTo>
                      <a:lnTo>
                        <a:pt x="102963" y="17253"/>
                      </a:lnTo>
                      <a:lnTo>
                        <a:pt x="103387" y="16902"/>
                      </a:lnTo>
                      <a:lnTo>
                        <a:pt x="104161" y="16552"/>
                      </a:lnTo>
                      <a:lnTo>
                        <a:pt x="105694" y="14930"/>
                      </a:lnTo>
                      <a:lnTo>
                        <a:pt x="106036" y="13700"/>
                      </a:lnTo>
                      <a:lnTo>
                        <a:pt x="105995" y="11361"/>
                      </a:lnTo>
                      <a:lnTo>
                        <a:pt x="106126" y="9160"/>
                      </a:lnTo>
                      <a:lnTo>
                        <a:pt x="106427" y="8459"/>
                      </a:lnTo>
                      <a:lnTo>
                        <a:pt x="107128" y="8712"/>
                      </a:lnTo>
                      <a:lnTo>
                        <a:pt x="109141" y="9869"/>
                      </a:lnTo>
                      <a:lnTo>
                        <a:pt x="110738" y="11141"/>
                      </a:lnTo>
                      <a:lnTo>
                        <a:pt x="112230" y="14392"/>
                      </a:lnTo>
                      <a:lnTo>
                        <a:pt x="115718" y="15256"/>
                      </a:lnTo>
                      <a:lnTo>
                        <a:pt x="120135" y="15338"/>
                      </a:lnTo>
                      <a:lnTo>
                        <a:pt x="121708" y="13895"/>
                      </a:lnTo>
                      <a:lnTo>
                        <a:pt x="123134" y="13561"/>
                      </a:lnTo>
                      <a:lnTo>
                        <a:pt x="124764" y="14001"/>
                      </a:lnTo>
                      <a:lnTo>
                        <a:pt x="128162" y="14507"/>
                      </a:lnTo>
                      <a:lnTo>
                        <a:pt x="128554" y="11890"/>
                      </a:lnTo>
                      <a:lnTo>
                        <a:pt x="130510" y="9168"/>
                      </a:lnTo>
                      <a:lnTo>
                        <a:pt x="131398" y="8199"/>
                      </a:lnTo>
                      <a:lnTo>
                        <a:pt x="133900" y="8296"/>
                      </a:lnTo>
                      <a:lnTo>
                        <a:pt x="134519" y="6267"/>
                      </a:lnTo>
                      <a:lnTo>
                        <a:pt x="135131" y="619"/>
                      </a:lnTo>
                      <a:lnTo>
                        <a:pt x="135660" y="0"/>
                      </a:lnTo>
                      <a:lnTo>
                        <a:pt x="137478" y="114"/>
                      </a:lnTo>
                      <a:lnTo>
                        <a:pt x="139287" y="1149"/>
                      </a:lnTo>
                      <a:lnTo>
                        <a:pt x="139833" y="1980"/>
                      </a:lnTo>
                      <a:lnTo>
                        <a:pt x="140770" y="1915"/>
                      </a:lnTo>
                      <a:lnTo>
                        <a:pt x="142091" y="1345"/>
                      </a:lnTo>
                      <a:lnTo>
                        <a:pt x="143525" y="978"/>
                      </a:lnTo>
                      <a:lnTo>
                        <a:pt x="145815" y="1581"/>
                      </a:lnTo>
                      <a:lnTo>
                        <a:pt x="150688" y="4140"/>
                      </a:lnTo>
                      <a:lnTo>
                        <a:pt x="153206" y="5085"/>
                      </a:lnTo>
                      <a:lnTo>
                        <a:pt x="154788" y="4906"/>
                      </a:lnTo>
                      <a:lnTo>
                        <a:pt x="156279" y="4947"/>
                      </a:lnTo>
                      <a:lnTo>
                        <a:pt x="162033" y="8899"/>
                      </a:lnTo>
                      <a:lnTo>
                        <a:pt x="166059" y="9454"/>
                      </a:lnTo>
                      <a:lnTo>
                        <a:pt x="169726" y="9470"/>
                      </a:lnTo>
                      <a:lnTo>
                        <a:pt x="170916" y="8280"/>
                      </a:lnTo>
                      <a:lnTo>
                        <a:pt x="172473" y="7261"/>
                      </a:lnTo>
                      <a:lnTo>
                        <a:pt x="174103" y="7400"/>
                      </a:lnTo>
                      <a:lnTo>
                        <a:pt x="175529" y="7913"/>
                      </a:lnTo>
                      <a:lnTo>
                        <a:pt x="178300" y="9641"/>
                      </a:lnTo>
                      <a:lnTo>
                        <a:pt x="179579" y="10081"/>
                      </a:lnTo>
                      <a:lnTo>
                        <a:pt x="181282" y="10358"/>
                      </a:lnTo>
                      <a:lnTo>
                        <a:pt x="182537" y="10741"/>
                      </a:lnTo>
                      <a:lnTo>
                        <a:pt x="183646" y="13724"/>
                      </a:lnTo>
                      <a:close/>
                    </a:path>
                  </a:pathLst>
                </a:custGeom>
                <a:solidFill>
                  <a:srgbClr val="D6D6D2"/>
                </a:solidFill>
                <a:ln w="6112" cap="rnd">
                  <a:solidFill>
                    <a:srgbClr val="FFFFFF"/>
                  </a:solidFill>
                  <a:prstDash val="solid"/>
                  <a:round/>
                </a:ln>
              </p:spPr>
              <p:txBody>
                <a:bodyPr rtlCol="0" anchor="ctr"/>
                <a:lstStyle/>
                <a:p>
                  <a:endParaRPr lang="en-US"/>
                </a:p>
              </p:txBody>
            </p:sp>
            <p:sp>
              <p:nvSpPr>
                <p:cNvPr id="782" name="Freeform: Shape 781">
                  <a:extLst>
                    <a:ext uri="{FF2B5EF4-FFF2-40B4-BE49-F238E27FC236}">
                      <a16:creationId xmlns:a16="http://schemas.microsoft.com/office/drawing/2014/main" id="{5AAB5732-262A-46FA-9B15-6DDF3AB11437}"/>
                    </a:ext>
                  </a:extLst>
                </p:cNvPr>
                <p:cNvSpPr/>
                <p:nvPr/>
              </p:nvSpPr>
              <p:spPr>
                <a:xfrm>
                  <a:off x="7021051" y="3231868"/>
                  <a:ext cx="77984" cy="82149"/>
                </a:xfrm>
                <a:custGeom>
                  <a:avLst/>
                  <a:gdLst>
                    <a:gd name="connsiteX0" fmla="*/ 40781 w 77984"/>
                    <a:gd name="connsiteY0" fmla="*/ 3260 h 82149"/>
                    <a:gd name="connsiteX1" fmla="*/ 42460 w 77984"/>
                    <a:gd name="connsiteY1" fmla="*/ 3953 h 82149"/>
                    <a:gd name="connsiteX2" fmla="*/ 43348 w 77984"/>
                    <a:gd name="connsiteY2" fmla="*/ 4898 h 82149"/>
                    <a:gd name="connsiteX3" fmla="*/ 43397 w 77984"/>
                    <a:gd name="connsiteY3" fmla="*/ 5615 h 82149"/>
                    <a:gd name="connsiteX4" fmla="*/ 40439 w 77984"/>
                    <a:gd name="connsiteY4" fmla="*/ 6479 h 82149"/>
                    <a:gd name="connsiteX5" fmla="*/ 40235 w 77984"/>
                    <a:gd name="connsiteY5" fmla="*/ 6919 h 82149"/>
                    <a:gd name="connsiteX6" fmla="*/ 40431 w 77984"/>
                    <a:gd name="connsiteY6" fmla="*/ 7343 h 82149"/>
                    <a:gd name="connsiteX7" fmla="*/ 41311 w 77984"/>
                    <a:gd name="connsiteY7" fmla="*/ 7555 h 82149"/>
                    <a:gd name="connsiteX8" fmla="*/ 45459 w 77984"/>
                    <a:gd name="connsiteY8" fmla="*/ 9706 h 82149"/>
                    <a:gd name="connsiteX9" fmla="*/ 47830 w 77984"/>
                    <a:gd name="connsiteY9" fmla="*/ 9755 h 82149"/>
                    <a:gd name="connsiteX10" fmla="*/ 49070 w 77984"/>
                    <a:gd name="connsiteY10" fmla="*/ 10407 h 82149"/>
                    <a:gd name="connsiteX11" fmla="*/ 49689 w 77984"/>
                    <a:gd name="connsiteY11" fmla="*/ 11695 h 82149"/>
                    <a:gd name="connsiteX12" fmla="*/ 51669 w 77984"/>
                    <a:gd name="connsiteY12" fmla="*/ 13439 h 82149"/>
                    <a:gd name="connsiteX13" fmla="*/ 53250 w 77984"/>
                    <a:gd name="connsiteY13" fmla="*/ 15142 h 82149"/>
                    <a:gd name="connsiteX14" fmla="*/ 53340 w 77984"/>
                    <a:gd name="connsiteY14" fmla="*/ 15729 h 82149"/>
                    <a:gd name="connsiteX15" fmla="*/ 53055 w 77984"/>
                    <a:gd name="connsiteY15" fmla="*/ 16593 h 82149"/>
                    <a:gd name="connsiteX16" fmla="*/ 48637 w 77984"/>
                    <a:gd name="connsiteY16" fmla="*/ 19910 h 82149"/>
                    <a:gd name="connsiteX17" fmla="*/ 48083 w 77984"/>
                    <a:gd name="connsiteY17" fmla="*/ 21059 h 82149"/>
                    <a:gd name="connsiteX18" fmla="*/ 48010 w 77984"/>
                    <a:gd name="connsiteY18" fmla="*/ 22265 h 82149"/>
                    <a:gd name="connsiteX19" fmla="*/ 49958 w 77984"/>
                    <a:gd name="connsiteY19" fmla="*/ 25859 h 82149"/>
                    <a:gd name="connsiteX20" fmla="*/ 52810 w 77984"/>
                    <a:gd name="connsiteY20" fmla="*/ 29787 h 82149"/>
                    <a:gd name="connsiteX21" fmla="*/ 56926 w 77984"/>
                    <a:gd name="connsiteY21" fmla="*/ 32778 h 82149"/>
                    <a:gd name="connsiteX22" fmla="*/ 62614 w 77984"/>
                    <a:gd name="connsiteY22" fmla="*/ 36014 h 82149"/>
                    <a:gd name="connsiteX23" fmla="*/ 62687 w 77984"/>
                    <a:gd name="connsiteY23" fmla="*/ 38018 h 82149"/>
                    <a:gd name="connsiteX24" fmla="*/ 61783 w 77984"/>
                    <a:gd name="connsiteY24" fmla="*/ 40398 h 82149"/>
                    <a:gd name="connsiteX25" fmla="*/ 61009 w 77984"/>
                    <a:gd name="connsiteY25" fmla="*/ 42012 h 82149"/>
                    <a:gd name="connsiteX26" fmla="*/ 60658 w 77984"/>
                    <a:gd name="connsiteY26" fmla="*/ 43112 h 82149"/>
                    <a:gd name="connsiteX27" fmla="*/ 59965 w 77984"/>
                    <a:gd name="connsiteY27" fmla="*/ 43568 h 82149"/>
                    <a:gd name="connsiteX28" fmla="*/ 54318 w 77984"/>
                    <a:gd name="connsiteY28" fmla="*/ 43471 h 82149"/>
                    <a:gd name="connsiteX29" fmla="*/ 53470 w 77984"/>
                    <a:gd name="connsiteY29" fmla="*/ 43854 h 82149"/>
                    <a:gd name="connsiteX30" fmla="*/ 53095 w 77984"/>
                    <a:gd name="connsiteY30" fmla="*/ 44326 h 82149"/>
                    <a:gd name="connsiteX31" fmla="*/ 53063 w 77984"/>
                    <a:gd name="connsiteY31" fmla="*/ 44709 h 82149"/>
                    <a:gd name="connsiteX32" fmla="*/ 55100 w 77984"/>
                    <a:gd name="connsiteY32" fmla="*/ 45435 h 82149"/>
                    <a:gd name="connsiteX33" fmla="*/ 58270 w 77984"/>
                    <a:gd name="connsiteY33" fmla="*/ 47977 h 82149"/>
                    <a:gd name="connsiteX34" fmla="*/ 60096 w 77984"/>
                    <a:gd name="connsiteY34" fmla="*/ 50439 h 82149"/>
                    <a:gd name="connsiteX35" fmla="*/ 61995 w 77984"/>
                    <a:gd name="connsiteY35" fmla="*/ 51514 h 82149"/>
                    <a:gd name="connsiteX36" fmla="*/ 64138 w 77984"/>
                    <a:gd name="connsiteY36" fmla="*/ 53479 h 82149"/>
                    <a:gd name="connsiteX37" fmla="*/ 65842 w 77984"/>
                    <a:gd name="connsiteY37" fmla="*/ 55312 h 82149"/>
                    <a:gd name="connsiteX38" fmla="*/ 68507 w 77984"/>
                    <a:gd name="connsiteY38" fmla="*/ 57676 h 82149"/>
                    <a:gd name="connsiteX39" fmla="*/ 71465 w 77984"/>
                    <a:gd name="connsiteY39" fmla="*/ 56901 h 82149"/>
                    <a:gd name="connsiteX40" fmla="*/ 75426 w 77984"/>
                    <a:gd name="connsiteY40" fmla="*/ 59004 h 82149"/>
                    <a:gd name="connsiteX41" fmla="*/ 75597 w 77984"/>
                    <a:gd name="connsiteY41" fmla="*/ 60430 h 82149"/>
                    <a:gd name="connsiteX42" fmla="*/ 75352 w 77984"/>
                    <a:gd name="connsiteY42" fmla="*/ 61710 h 82149"/>
                    <a:gd name="connsiteX43" fmla="*/ 72850 w 77984"/>
                    <a:gd name="connsiteY43" fmla="*/ 63103 h 82149"/>
                    <a:gd name="connsiteX44" fmla="*/ 72541 w 77984"/>
                    <a:gd name="connsiteY44" fmla="*/ 63674 h 82149"/>
                    <a:gd name="connsiteX45" fmla="*/ 72549 w 77984"/>
                    <a:gd name="connsiteY45" fmla="*/ 64163 h 82149"/>
                    <a:gd name="connsiteX46" fmla="*/ 72867 w 77984"/>
                    <a:gd name="connsiteY46" fmla="*/ 64847 h 82149"/>
                    <a:gd name="connsiteX47" fmla="*/ 74342 w 77984"/>
                    <a:gd name="connsiteY47" fmla="*/ 65988 h 82149"/>
                    <a:gd name="connsiteX48" fmla="*/ 76062 w 77984"/>
                    <a:gd name="connsiteY48" fmla="*/ 67675 h 82149"/>
                    <a:gd name="connsiteX49" fmla="*/ 77985 w 77984"/>
                    <a:gd name="connsiteY49" fmla="*/ 70210 h 82149"/>
                    <a:gd name="connsiteX50" fmla="*/ 77129 w 77984"/>
                    <a:gd name="connsiteY50" fmla="*/ 70952 h 82149"/>
                    <a:gd name="connsiteX51" fmla="*/ 75320 w 77984"/>
                    <a:gd name="connsiteY51" fmla="*/ 71066 h 82149"/>
                    <a:gd name="connsiteX52" fmla="*/ 73918 w 77984"/>
                    <a:gd name="connsiteY52" fmla="*/ 70756 h 82149"/>
                    <a:gd name="connsiteX53" fmla="*/ 73413 w 77984"/>
                    <a:gd name="connsiteY53" fmla="*/ 71269 h 82149"/>
                    <a:gd name="connsiteX54" fmla="*/ 73445 w 77984"/>
                    <a:gd name="connsiteY54" fmla="*/ 72092 h 82149"/>
                    <a:gd name="connsiteX55" fmla="*/ 75279 w 77984"/>
                    <a:gd name="connsiteY55" fmla="*/ 74008 h 82149"/>
                    <a:gd name="connsiteX56" fmla="*/ 75629 w 77984"/>
                    <a:gd name="connsiteY56" fmla="*/ 75401 h 82149"/>
                    <a:gd name="connsiteX57" fmla="*/ 75564 w 77984"/>
                    <a:gd name="connsiteY57" fmla="*/ 77822 h 82149"/>
                    <a:gd name="connsiteX58" fmla="*/ 75654 w 77984"/>
                    <a:gd name="connsiteY58" fmla="*/ 80878 h 82149"/>
                    <a:gd name="connsiteX59" fmla="*/ 71367 w 77984"/>
                    <a:gd name="connsiteY59" fmla="*/ 80682 h 82149"/>
                    <a:gd name="connsiteX60" fmla="*/ 67716 w 77984"/>
                    <a:gd name="connsiteY60" fmla="*/ 82149 h 82149"/>
                    <a:gd name="connsiteX61" fmla="*/ 66330 w 77984"/>
                    <a:gd name="connsiteY61" fmla="*/ 81856 h 82149"/>
                    <a:gd name="connsiteX62" fmla="*/ 65418 w 77984"/>
                    <a:gd name="connsiteY62" fmla="*/ 79264 h 82149"/>
                    <a:gd name="connsiteX63" fmla="*/ 64635 w 77984"/>
                    <a:gd name="connsiteY63" fmla="*/ 77153 h 82149"/>
                    <a:gd name="connsiteX64" fmla="*/ 62296 w 77984"/>
                    <a:gd name="connsiteY64" fmla="*/ 71742 h 82149"/>
                    <a:gd name="connsiteX65" fmla="*/ 62932 w 77984"/>
                    <a:gd name="connsiteY65" fmla="*/ 69525 h 82149"/>
                    <a:gd name="connsiteX66" fmla="*/ 61636 w 77984"/>
                    <a:gd name="connsiteY66" fmla="*/ 68246 h 82149"/>
                    <a:gd name="connsiteX67" fmla="*/ 58499 w 77984"/>
                    <a:gd name="connsiteY67" fmla="*/ 65939 h 82149"/>
                    <a:gd name="connsiteX68" fmla="*/ 57700 w 77984"/>
                    <a:gd name="connsiteY68" fmla="*/ 64986 h 82149"/>
                    <a:gd name="connsiteX69" fmla="*/ 58140 w 77984"/>
                    <a:gd name="connsiteY69" fmla="*/ 63674 h 82149"/>
                    <a:gd name="connsiteX70" fmla="*/ 58441 w 77984"/>
                    <a:gd name="connsiteY70" fmla="*/ 61278 h 82149"/>
                    <a:gd name="connsiteX71" fmla="*/ 58148 w 77984"/>
                    <a:gd name="connsiteY71" fmla="*/ 59338 h 82149"/>
                    <a:gd name="connsiteX72" fmla="*/ 57301 w 77984"/>
                    <a:gd name="connsiteY72" fmla="*/ 58743 h 82149"/>
                    <a:gd name="connsiteX73" fmla="*/ 55744 w 77984"/>
                    <a:gd name="connsiteY73" fmla="*/ 58711 h 82149"/>
                    <a:gd name="connsiteX74" fmla="*/ 53837 w 77984"/>
                    <a:gd name="connsiteY74" fmla="*/ 59192 h 82149"/>
                    <a:gd name="connsiteX75" fmla="*/ 50023 w 77984"/>
                    <a:gd name="connsiteY75" fmla="*/ 61066 h 82149"/>
                    <a:gd name="connsiteX76" fmla="*/ 47366 w 77984"/>
                    <a:gd name="connsiteY76" fmla="*/ 59868 h 82149"/>
                    <a:gd name="connsiteX77" fmla="*/ 45842 w 77984"/>
                    <a:gd name="connsiteY77" fmla="*/ 58662 h 82149"/>
                    <a:gd name="connsiteX78" fmla="*/ 44962 w 77984"/>
                    <a:gd name="connsiteY78" fmla="*/ 57651 h 82149"/>
                    <a:gd name="connsiteX79" fmla="*/ 42974 w 77984"/>
                    <a:gd name="connsiteY79" fmla="*/ 58491 h 82149"/>
                    <a:gd name="connsiteX80" fmla="*/ 42476 w 77984"/>
                    <a:gd name="connsiteY80" fmla="*/ 58083 h 82149"/>
                    <a:gd name="connsiteX81" fmla="*/ 42370 w 77984"/>
                    <a:gd name="connsiteY81" fmla="*/ 55581 h 82149"/>
                    <a:gd name="connsiteX82" fmla="*/ 41783 w 77984"/>
                    <a:gd name="connsiteY82" fmla="*/ 54236 h 82149"/>
                    <a:gd name="connsiteX83" fmla="*/ 40586 w 77984"/>
                    <a:gd name="connsiteY83" fmla="*/ 52655 h 82149"/>
                    <a:gd name="connsiteX84" fmla="*/ 39469 w 77984"/>
                    <a:gd name="connsiteY84" fmla="*/ 51897 h 82149"/>
                    <a:gd name="connsiteX85" fmla="*/ 35402 w 77984"/>
                    <a:gd name="connsiteY85" fmla="*/ 53462 h 82149"/>
                    <a:gd name="connsiteX86" fmla="*/ 32941 w 77984"/>
                    <a:gd name="connsiteY86" fmla="*/ 53984 h 82149"/>
                    <a:gd name="connsiteX87" fmla="*/ 32094 w 77984"/>
                    <a:gd name="connsiteY87" fmla="*/ 52525 h 82149"/>
                    <a:gd name="connsiteX88" fmla="*/ 27790 w 77984"/>
                    <a:gd name="connsiteY88" fmla="*/ 47757 h 82149"/>
                    <a:gd name="connsiteX89" fmla="*/ 23805 w 77984"/>
                    <a:gd name="connsiteY89" fmla="*/ 44090 h 82149"/>
                    <a:gd name="connsiteX90" fmla="*/ 21067 w 77984"/>
                    <a:gd name="connsiteY90" fmla="*/ 42574 h 82149"/>
                    <a:gd name="connsiteX91" fmla="*/ 18313 w 77984"/>
                    <a:gd name="connsiteY91" fmla="*/ 42737 h 82149"/>
                    <a:gd name="connsiteX92" fmla="*/ 14034 w 77984"/>
                    <a:gd name="connsiteY92" fmla="*/ 43471 h 82149"/>
                    <a:gd name="connsiteX93" fmla="*/ 12461 w 77984"/>
                    <a:gd name="connsiteY93" fmla="*/ 43161 h 82149"/>
                    <a:gd name="connsiteX94" fmla="*/ 8736 w 77984"/>
                    <a:gd name="connsiteY94" fmla="*/ 41564 h 82149"/>
                    <a:gd name="connsiteX95" fmla="*/ 5623 w 77984"/>
                    <a:gd name="connsiteY95" fmla="*/ 39665 h 82149"/>
                    <a:gd name="connsiteX96" fmla="*/ 6047 w 77984"/>
                    <a:gd name="connsiteY96" fmla="*/ 38874 h 82149"/>
                    <a:gd name="connsiteX97" fmla="*/ 6699 w 77984"/>
                    <a:gd name="connsiteY97" fmla="*/ 38304 h 82149"/>
                    <a:gd name="connsiteX98" fmla="*/ 5916 w 77984"/>
                    <a:gd name="connsiteY98" fmla="*/ 35834 h 82149"/>
                    <a:gd name="connsiteX99" fmla="*/ 4181 w 77984"/>
                    <a:gd name="connsiteY99" fmla="*/ 31849 h 82149"/>
                    <a:gd name="connsiteX100" fmla="*/ 4360 w 77984"/>
                    <a:gd name="connsiteY100" fmla="*/ 30602 h 82149"/>
                    <a:gd name="connsiteX101" fmla="*/ 3822 w 77984"/>
                    <a:gd name="connsiteY101" fmla="*/ 28883 h 82149"/>
                    <a:gd name="connsiteX102" fmla="*/ 3219 w 77984"/>
                    <a:gd name="connsiteY102" fmla="*/ 27579 h 82149"/>
                    <a:gd name="connsiteX103" fmla="*/ 5664 w 77984"/>
                    <a:gd name="connsiteY103" fmla="*/ 24457 h 82149"/>
                    <a:gd name="connsiteX104" fmla="*/ 6780 w 77984"/>
                    <a:gd name="connsiteY104" fmla="*/ 21947 h 82149"/>
                    <a:gd name="connsiteX105" fmla="*/ 7017 w 77984"/>
                    <a:gd name="connsiteY105" fmla="*/ 19502 h 82149"/>
                    <a:gd name="connsiteX106" fmla="*/ 6373 w 77984"/>
                    <a:gd name="connsiteY106" fmla="*/ 16960 h 82149"/>
                    <a:gd name="connsiteX107" fmla="*/ 4767 w 77984"/>
                    <a:gd name="connsiteY107" fmla="*/ 12363 h 82149"/>
                    <a:gd name="connsiteX108" fmla="*/ 3773 w 77984"/>
                    <a:gd name="connsiteY108" fmla="*/ 11027 h 82149"/>
                    <a:gd name="connsiteX109" fmla="*/ 1931 w 77984"/>
                    <a:gd name="connsiteY109" fmla="*/ 9780 h 82149"/>
                    <a:gd name="connsiteX110" fmla="*/ 391 w 77984"/>
                    <a:gd name="connsiteY110" fmla="*/ 7734 h 82149"/>
                    <a:gd name="connsiteX111" fmla="*/ 0 w 77984"/>
                    <a:gd name="connsiteY111" fmla="*/ 6283 h 82149"/>
                    <a:gd name="connsiteX112" fmla="*/ 1304 w 77984"/>
                    <a:gd name="connsiteY112" fmla="*/ 5998 h 82149"/>
                    <a:gd name="connsiteX113" fmla="*/ 5102 w 77984"/>
                    <a:gd name="connsiteY113" fmla="*/ 5957 h 82149"/>
                    <a:gd name="connsiteX114" fmla="*/ 8777 w 77984"/>
                    <a:gd name="connsiteY114" fmla="*/ 5460 h 82149"/>
                    <a:gd name="connsiteX115" fmla="*/ 11646 w 77984"/>
                    <a:gd name="connsiteY115" fmla="*/ 4515 h 82149"/>
                    <a:gd name="connsiteX116" fmla="*/ 15826 w 77984"/>
                    <a:gd name="connsiteY116" fmla="*/ 3708 h 82149"/>
                    <a:gd name="connsiteX117" fmla="*/ 17546 w 77984"/>
                    <a:gd name="connsiteY117" fmla="*/ 2991 h 82149"/>
                    <a:gd name="connsiteX118" fmla="*/ 19551 w 77984"/>
                    <a:gd name="connsiteY118" fmla="*/ 2649 h 82149"/>
                    <a:gd name="connsiteX119" fmla="*/ 25647 w 77984"/>
                    <a:gd name="connsiteY119" fmla="*/ 3415 h 82149"/>
                    <a:gd name="connsiteX120" fmla="*/ 27913 w 77984"/>
                    <a:gd name="connsiteY120" fmla="*/ 2836 h 82149"/>
                    <a:gd name="connsiteX121" fmla="*/ 34783 w 77984"/>
                    <a:gd name="connsiteY121" fmla="*/ 2722 h 82149"/>
                    <a:gd name="connsiteX122" fmla="*/ 34954 w 77984"/>
                    <a:gd name="connsiteY122" fmla="*/ 2420 h 82149"/>
                    <a:gd name="connsiteX123" fmla="*/ 34017 w 77984"/>
                    <a:gd name="connsiteY123" fmla="*/ 1451 h 82149"/>
                    <a:gd name="connsiteX124" fmla="*/ 34025 w 77984"/>
                    <a:gd name="connsiteY124" fmla="*/ 1084 h 82149"/>
                    <a:gd name="connsiteX125" fmla="*/ 38108 w 77984"/>
                    <a:gd name="connsiteY125" fmla="*/ 464 h 82149"/>
                    <a:gd name="connsiteX126" fmla="*/ 38744 w 77984"/>
                    <a:gd name="connsiteY126" fmla="*/ 0 h 82149"/>
                    <a:gd name="connsiteX127" fmla="*/ 39265 w 77984"/>
                    <a:gd name="connsiteY127" fmla="*/ 1540 h 82149"/>
                    <a:gd name="connsiteX128" fmla="*/ 40781 w 77984"/>
                    <a:gd name="connsiteY128" fmla="*/ 3260 h 82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77984" h="82149">
                      <a:moveTo>
                        <a:pt x="40781" y="3260"/>
                      </a:moveTo>
                      <a:lnTo>
                        <a:pt x="42460" y="3953"/>
                      </a:lnTo>
                      <a:lnTo>
                        <a:pt x="43348" y="4898"/>
                      </a:lnTo>
                      <a:lnTo>
                        <a:pt x="43397" y="5615"/>
                      </a:lnTo>
                      <a:lnTo>
                        <a:pt x="40439" y="6479"/>
                      </a:lnTo>
                      <a:lnTo>
                        <a:pt x="40235" y="6919"/>
                      </a:lnTo>
                      <a:lnTo>
                        <a:pt x="40431" y="7343"/>
                      </a:lnTo>
                      <a:lnTo>
                        <a:pt x="41311" y="7555"/>
                      </a:lnTo>
                      <a:lnTo>
                        <a:pt x="45459" y="9706"/>
                      </a:lnTo>
                      <a:lnTo>
                        <a:pt x="47830" y="9755"/>
                      </a:lnTo>
                      <a:lnTo>
                        <a:pt x="49070" y="10407"/>
                      </a:lnTo>
                      <a:lnTo>
                        <a:pt x="49689" y="11695"/>
                      </a:lnTo>
                      <a:lnTo>
                        <a:pt x="51669" y="13439"/>
                      </a:lnTo>
                      <a:lnTo>
                        <a:pt x="53250" y="15142"/>
                      </a:lnTo>
                      <a:lnTo>
                        <a:pt x="53340" y="15729"/>
                      </a:lnTo>
                      <a:lnTo>
                        <a:pt x="53055" y="16593"/>
                      </a:lnTo>
                      <a:lnTo>
                        <a:pt x="48637" y="19910"/>
                      </a:lnTo>
                      <a:lnTo>
                        <a:pt x="48083" y="21059"/>
                      </a:lnTo>
                      <a:lnTo>
                        <a:pt x="48010" y="22265"/>
                      </a:lnTo>
                      <a:lnTo>
                        <a:pt x="49958" y="25859"/>
                      </a:lnTo>
                      <a:lnTo>
                        <a:pt x="52810" y="29787"/>
                      </a:lnTo>
                      <a:lnTo>
                        <a:pt x="56926" y="32778"/>
                      </a:lnTo>
                      <a:lnTo>
                        <a:pt x="62614" y="36014"/>
                      </a:lnTo>
                      <a:lnTo>
                        <a:pt x="62687" y="38018"/>
                      </a:lnTo>
                      <a:lnTo>
                        <a:pt x="61783" y="40398"/>
                      </a:lnTo>
                      <a:lnTo>
                        <a:pt x="61009" y="42012"/>
                      </a:lnTo>
                      <a:lnTo>
                        <a:pt x="60658" y="43112"/>
                      </a:lnTo>
                      <a:lnTo>
                        <a:pt x="59965" y="43568"/>
                      </a:lnTo>
                      <a:lnTo>
                        <a:pt x="54318" y="43471"/>
                      </a:lnTo>
                      <a:lnTo>
                        <a:pt x="53470" y="43854"/>
                      </a:lnTo>
                      <a:lnTo>
                        <a:pt x="53095" y="44326"/>
                      </a:lnTo>
                      <a:lnTo>
                        <a:pt x="53063" y="44709"/>
                      </a:lnTo>
                      <a:lnTo>
                        <a:pt x="55100" y="45435"/>
                      </a:lnTo>
                      <a:lnTo>
                        <a:pt x="58270" y="47977"/>
                      </a:lnTo>
                      <a:lnTo>
                        <a:pt x="60096" y="50439"/>
                      </a:lnTo>
                      <a:lnTo>
                        <a:pt x="61995" y="51514"/>
                      </a:lnTo>
                      <a:lnTo>
                        <a:pt x="64138" y="53479"/>
                      </a:lnTo>
                      <a:lnTo>
                        <a:pt x="65842" y="55312"/>
                      </a:lnTo>
                      <a:lnTo>
                        <a:pt x="68507" y="57676"/>
                      </a:lnTo>
                      <a:lnTo>
                        <a:pt x="71465" y="56901"/>
                      </a:lnTo>
                      <a:lnTo>
                        <a:pt x="75426" y="59004"/>
                      </a:lnTo>
                      <a:lnTo>
                        <a:pt x="75597" y="60430"/>
                      </a:lnTo>
                      <a:lnTo>
                        <a:pt x="75352" y="61710"/>
                      </a:lnTo>
                      <a:lnTo>
                        <a:pt x="72850" y="63103"/>
                      </a:lnTo>
                      <a:lnTo>
                        <a:pt x="72541" y="63674"/>
                      </a:lnTo>
                      <a:lnTo>
                        <a:pt x="72549" y="64163"/>
                      </a:lnTo>
                      <a:lnTo>
                        <a:pt x="72867" y="64847"/>
                      </a:lnTo>
                      <a:lnTo>
                        <a:pt x="74342" y="65988"/>
                      </a:lnTo>
                      <a:lnTo>
                        <a:pt x="76062" y="67675"/>
                      </a:lnTo>
                      <a:lnTo>
                        <a:pt x="77985" y="70210"/>
                      </a:lnTo>
                      <a:lnTo>
                        <a:pt x="77129" y="70952"/>
                      </a:lnTo>
                      <a:lnTo>
                        <a:pt x="75320" y="71066"/>
                      </a:lnTo>
                      <a:lnTo>
                        <a:pt x="73918" y="70756"/>
                      </a:lnTo>
                      <a:lnTo>
                        <a:pt x="73413" y="71269"/>
                      </a:lnTo>
                      <a:lnTo>
                        <a:pt x="73445" y="72092"/>
                      </a:lnTo>
                      <a:lnTo>
                        <a:pt x="75279" y="74008"/>
                      </a:lnTo>
                      <a:lnTo>
                        <a:pt x="75629" y="75401"/>
                      </a:lnTo>
                      <a:lnTo>
                        <a:pt x="75564" y="77822"/>
                      </a:lnTo>
                      <a:lnTo>
                        <a:pt x="75654" y="80878"/>
                      </a:lnTo>
                      <a:lnTo>
                        <a:pt x="71367" y="80682"/>
                      </a:lnTo>
                      <a:lnTo>
                        <a:pt x="67716" y="82149"/>
                      </a:lnTo>
                      <a:lnTo>
                        <a:pt x="66330" y="81856"/>
                      </a:lnTo>
                      <a:lnTo>
                        <a:pt x="65418" y="79264"/>
                      </a:lnTo>
                      <a:lnTo>
                        <a:pt x="64635" y="77153"/>
                      </a:lnTo>
                      <a:lnTo>
                        <a:pt x="62296" y="71742"/>
                      </a:lnTo>
                      <a:lnTo>
                        <a:pt x="62932" y="69525"/>
                      </a:lnTo>
                      <a:lnTo>
                        <a:pt x="61636" y="68246"/>
                      </a:lnTo>
                      <a:lnTo>
                        <a:pt x="58499" y="65939"/>
                      </a:lnTo>
                      <a:lnTo>
                        <a:pt x="57700" y="64986"/>
                      </a:lnTo>
                      <a:lnTo>
                        <a:pt x="58140" y="63674"/>
                      </a:lnTo>
                      <a:lnTo>
                        <a:pt x="58441" y="61278"/>
                      </a:lnTo>
                      <a:lnTo>
                        <a:pt x="58148" y="59338"/>
                      </a:lnTo>
                      <a:lnTo>
                        <a:pt x="57301" y="58743"/>
                      </a:lnTo>
                      <a:lnTo>
                        <a:pt x="55744" y="58711"/>
                      </a:lnTo>
                      <a:lnTo>
                        <a:pt x="53837" y="59192"/>
                      </a:lnTo>
                      <a:lnTo>
                        <a:pt x="50023" y="61066"/>
                      </a:lnTo>
                      <a:lnTo>
                        <a:pt x="47366" y="59868"/>
                      </a:lnTo>
                      <a:lnTo>
                        <a:pt x="45842" y="58662"/>
                      </a:lnTo>
                      <a:lnTo>
                        <a:pt x="44962" y="57651"/>
                      </a:lnTo>
                      <a:lnTo>
                        <a:pt x="42974" y="58491"/>
                      </a:lnTo>
                      <a:lnTo>
                        <a:pt x="42476" y="58083"/>
                      </a:lnTo>
                      <a:lnTo>
                        <a:pt x="42370" y="55581"/>
                      </a:lnTo>
                      <a:lnTo>
                        <a:pt x="41783" y="54236"/>
                      </a:lnTo>
                      <a:lnTo>
                        <a:pt x="40586" y="52655"/>
                      </a:lnTo>
                      <a:lnTo>
                        <a:pt x="39469" y="51897"/>
                      </a:lnTo>
                      <a:lnTo>
                        <a:pt x="35402" y="53462"/>
                      </a:lnTo>
                      <a:lnTo>
                        <a:pt x="32941" y="53984"/>
                      </a:lnTo>
                      <a:lnTo>
                        <a:pt x="32094" y="52525"/>
                      </a:lnTo>
                      <a:lnTo>
                        <a:pt x="27790" y="47757"/>
                      </a:lnTo>
                      <a:lnTo>
                        <a:pt x="23805" y="44090"/>
                      </a:lnTo>
                      <a:lnTo>
                        <a:pt x="21067" y="42574"/>
                      </a:lnTo>
                      <a:lnTo>
                        <a:pt x="18313" y="42737"/>
                      </a:lnTo>
                      <a:lnTo>
                        <a:pt x="14034" y="43471"/>
                      </a:lnTo>
                      <a:lnTo>
                        <a:pt x="12461" y="43161"/>
                      </a:lnTo>
                      <a:lnTo>
                        <a:pt x="8736" y="41564"/>
                      </a:lnTo>
                      <a:lnTo>
                        <a:pt x="5623" y="39665"/>
                      </a:lnTo>
                      <a:lnTo>
                        <a:pt x="6047" y="38874"/>
                      </a:lnTo>
                      <a:lnTo>
                        <a:pt x="6699" y="38304"/>
                      </a:lnTo>
                      <a:lnTo>
                        <a:pt x="5916" y="35834"/>
                      </a:lnTo>
                      <a:lnTo>
                        <a:pt x="4181" y="31849"/>
                      </a:lnTo>
                      <a:lnTo>
                        <a:pt x="4360" y="30602"/>
                      </a:lnTo>
                      <a:lnTo>
                        <a:pt x="3822" y="28883"/>
                      </a:lnTo>
                      <a:lnTo>
                        <a:pt x="3219" y="27579"/>
                      </a:lnTo>
                      <a:lnTo>
                        <a:pt x="5664" y="24457"/>
                      </a:lnTo>
                      <a:lnTo>
                        <a:pt x="6780" y="21947"/>
                      </a:lnTo>
                      <a:lnTo>
                        <a:pt x="7017" y="19502"/>
                      </a:lnTo>
                      <a:lnTo>
                        <a:pt x="6373" y="16960"/>
                      </a:lnTo>
                      <a:lnTo>
                        <a:pt x="4767" y="12363"/>
                      </a:lnTo>
                      <a:lnTo>
                        <a:pt x="3773" y="11027"/>
                      </a:lnTo>
                      <a:lnTo>
                        <a:pt x="1931" y="9780"/>
                      </a:lnTo>
                      <a:lnTo>
                        <a:pt x="391" y="7734"/>
                      </a:lnTo>
                      <a:lnTo>
                        <a:pt x="0" y="6283"/>
                      </a:lnTo>
                      <a:lnTo>
                        <a:pt x="1304" y="5998"/>
                      </a:lnTo>
                      <a:lnTo>
                        <a:pt x="5102" y="5957"/>
                      </a:lnTo>
                      <a:lnTo>
                        <a:pt x="8777" y="5460"/>
                      </a:lnTo>
                      <a:lnTo>
                        <a:pt x="11646" y="4515"/>
                      </a:lnTo>
                      <a:lnTo>
                        <a:pt x="15826" y="3708"/>
                      </a:lnTo>
                      <a:lnTo>
                        <a:pt x="17546" y="2991"/>
                      </a:lnTo>
                      <a:lnTo>
                        <a:pt x="19551" y="2649"/>
                      </a:lnTo>
                      <a:lnTo>
                        <a:pt x="25647" y="3415"/>
                      </a:lnTo>
                      <a:lnTo>
                        <a:pt x="27913" y="2836"/>
                      </a:lnTo>
                      <a:lnTo>
                        <a:pt x="34783" y="2722"/>
                      </a:lnTo>
                      <a:lnTo>
                        <a:pt x="34954" y="2420"/>
                      </a:lnTo>
                      <a:lnTo>
                        <a:pt x="34017" y="1451"/>
                      </a:lnTo>
                      <a:lnTo>
                        <a:pt x="34025" y="1084"/>
                      </a:lnTo>
                      <a:lnTo>
                        <a:pt x="38108" y="464"/>
                      </a:lnTo>
                      <a:lnTo>
                        <a:pt x="38744" y="0"/>
                      </a:lnTo>
                      <a:lnTo>
                        <a:pt x="39265" y="1540"/>
                      </a:lnTo>
                      <a:lnTo>
                        <a:pt x="40781" y="3260"/>
                      </a:lnTo>
                      <a:close/>
                    </a:path>
                  </a:pathLst>
                </a:custGeom>
                <a:solidFill>
                  <a:srgbClr val="D6D6D2"/>
                </a:solidFill>
                <a:ln w="8150" cap="flat">
                  <a:noFill/>
                  <a:prstDash val="solid"/>
                  <a:miter/>
                </a:ln>
              </p:spPr>
              <p:txBody>
                <a:bodyPr rtlCol="0" anchor="ctr"/>
                <a:lstStyle/>
                <a:p>
                  <a:endParaRPr lang="en-US"/>
                </a:p>
              </p:txBody>
            </p:sp>
            <p:sp>
              <p:nvSpPr>
                <p:cNvPr id="783" name="Freeform: Shape 782">
                  <a:extLst>
                    <a:ext uri="{FF2B5EF4-FFF2-40B4-BE49-F238E27FC236}">
                      <a16:creationId xmlns:a16="http://schemas.microsoft.com/office/drawing/2014/main" id="{C66D1A25-030B-4F99-8F30-964405EF7FB8}"/>
                    </a:ext>
                  </a:extLst>
                </p:cNvPr>
                <p:cNvSpPr/>
                <p:nvPr/>
              </p:nvSpPr>
              <p:spPr>
                <a:xfrm>
                  <a:off x="4118809" y="5185236"/>
                  <a:ext cx="493718" cy="1126447"/>
                </a:xfrm>
                <a:custGeom>
                  <a:avLst/>
                  <a:gdLst>
                    <a:gd name="connsiteX0" fmla="*/ 131365 w 493718"/>
                    <a:gd name="connsiteY0" fmla="*/ 1049181 h 1126447"/>
                    <a:gd name="connsiteX1" fmla="*/ 132311 w 493718"/>
                    <a:gd name="connsiteY1" fmla="*/ 1052832 h 1126447"/>
                    <a:gd name="connsiteX2" fmla="*/ 130013 w 493718"/>
                    <a:gd name="connsiteY2" fmla="*/ 1050509 h 1126447"/>
                    <a:gd name="connsiteX3" fmla="*/ 127576 w 493718"/>
                    <a:gd name="connsiteY3" fmla="*/ 1051837 h 1126447"/>
                    <a:gd name="connsiteX4" fmla="*/ 126378 w 493718"/>
                    <a:gd name="connsiteY4" fmla="*/ 1054037 h 1126447"/>
                    <a:gd name="connsiteX5" fmla="*/ 125351 w 493718"/>
                    <a:gd name="connsiteY5" fmla="*/ 1056409 h 1126447"/>
                    <a:gd name="connsiteX6" fmla="*/ 125359 w 493718"/>
                    <a:gd name="connsiteY6" fmla="*/ 1058080 h 1126447"/>
                    <a:gd name="connsiteX7" fmla="*/ 126158 w 493718"/>
                    <a:gd name="connsiteY7" fmla="*/ 1059547 h 1126447"/>
                    <a:gd name="connsiteX8" fmla="*/ 128529 w 493718"/>
                    <a:gd name="connsiteY8" fmla="*/ 1060818 h 1126447"/>
                    <a:gd name="connsiteX9" fmla="*/ 134283 w 493718"/>
                    <a:gd name="connsiteY9" fmla="*/ 1061250 h 1126447"/>
                    <a:gd name="connsiteX10" fmla="*/ 134707 w 493718"/>
                    <a:gd name="connsiteY10" fmla="*/ 1061739 h 1126447"/>
                    <a:gd name="connsiteX11" fmla="*/ 138065 w 493718"/>
                    <a:gd name="connsiteY11" fmla="*/ 1070932 h 1126447"/>
                    <a:gd name="connsiteX12" fmla="*/ 139760 w 493718"/>
                    <a:gd name="connsiteY12" fmla="*/ 1072986 h 1126447"/>
                    <a:gd name="connsiteX13" fmla="*/ 141724 w 493718"/>
                    <a:gd name="connsiteY13" fmla="*/ 1074616 h 1126447"/>
                    <a:gd name="connsiteX14" fmla="*/ 146263 w 493718"/>
                    <a:gd name="connsiteY14" fmla="*/ 1079310 h 1126447"/>
                    <a:gd name="connsiteX15" fmla="*/ 150615 w 493718"/>
                    <a:gd name="connsiteY15" fmla="*/ 1084387 h 1126447"/>
                    <a:gd name="connsiteX16" fmla="*/ 155790 w 493718"/>
                    <a:gd name="connsiteY16" fmla="*/ 1089220 h 1126447"/>
                    <a:gd name="connsiteX17" fmla="*/ 161365 w 493718"/>
                    <a:gd name="connsiteY17" fmla="*/ 1092920 h 1126447"/>
                    <a:gd name="connsiteX18" fmla="*/ 166434 w 493718"/>
                    <a:gd name="connsiteY18" fmla="*/ 1095740 h 1126447"/>
                    <a:gd name="connsiteX19" fmla="*/ 171275 w 493718"/>
                    <a:gd name="connsiteY19" fmla="*/ 1099179 h 1126447"/>
                    <a:gd name="connsiteX20" fmla="*/ 176433 w 493718"/>
                    <a:gd name="connsiteY20" fmla="*/ 1104004 h 1126447"/>
                    <a:gd name="connsiteX21" fmla="*/ 182049 w 493718"/>
                    <a:gd name="connsiteY21" fmla="*/ 1107508 h 1126447"/>
                    <a:gd name="connsiteX22" fmla="*/ 188080 w 493718"/>
                    <a:gd name="connsiteY22" fmla="*/ 1109986 h 1126447"/>
                    <a:gd name="connsiteX23" fmla="*/ 194167 w 493718"/>
                    <a:gd name="connsiteY23" fmla="*/ 1112064 h 1126447"/>
                    <a:gd name="connsiteX24" fmla="*/ 203540 w 493718"/>
                    <a:gd name="connsiteY24" fmla="*/ 1111249 h 1126447"/>
                    <a:gd name="connsiteX25" fmla="*/ 206441 w 493718"/>
                    <a:gd name="connsiteY25" fmla="*/ 1111469 h 1126447"/>
                    <a:gd name="connsiteX26" fmla="*/ 208250 w 493718"/>
                    <a:gd name="connsiteY26" fmla="*/ 1112993 h 1126447"/>
                    <a:gd name="connsiteX27" fmla="*/ 206433 w 493718"/>
                    <a:gd name="connsiteY27" fmla="*/ 1117198 h 1126447"/>
                    <a:gd name="connsiteX28" fmla="*/ 204102 w 493718"/>
                    <a:gd name="connsiteY28" fmla="*/ 1120580 h 1126447"/>
                    <a:gd name="connsiteX29" fmla="*/ 201005 w 493718"/>
                    <a:gd name="connsiteY29" fmla="*/ 1121974 h 1126447"/>
                    <a:gd name="connsiteX30" fmla="*/ 197721 w 493718"/>
                    <a:gd name="connsiteY30" fmla="*/ 1122487 h 1126447"/>
                    <a:gd name="connsiteX31" fmla="*/ 194762 w 493718"/>
                    <a:gd name="connsiteY31" fmla="*/ 1122414 h 1126447"/>
                    <a:gd name="connsiteX32" fmla="*/ 191804 w 493718"/>
                    <a:gd name="connsiteY32" fmla="*/ 1121802 h 1126447"/>
                    <a:gd name="connsiteX33" fmla="*/ 189033 w 493718"/>
                    <a:gd name="connsiteY33" fmla="*/ 1122145 h 1126447"/>
                    <a:gd name="connsiteX34" fmla="*/ 186384 w 493718"/>
                    <a:gd name="connsiteY34" fmla="*/ 1123571 h 1126447"/>
                    <a:gd name="connsiteX35" fmla="*/ 183622 w 493718"/>
                    <a:gd name="connsiteY35" fmla="*/ 1124289 h 1126447"/>
                    <a:gd name="connsiteX36" fmla="*/ 180777 w 493718"/>
                    <a:gd name="connsiteY36" fmla="*/ 1124386 h 1126447"/>
                    <a:gd name="connsiteX37" fmla="*/ 177998 w 493718"/>
                    <a:gd name="connsiteY37" fmla="*/ 1125576 h 1126447"/>
                    <a:gd name="connsiteX38" fmla="*/ 175211 w 493718"/>
                    <a:gd name="connsiteY38" fmla="*/ 1126448 h 1126447"/>
                    <a:gd name="connsiteX39" fmla="*/ 172326 w 493718"/>
                    <a:gd name="connsiteY39" fmla="*/ 1125723 h 1126447"/>
                    <a:gd name="connsiteX40" fmla="*/ 164820 w 493718"/>
                    <a:gd name="connsiteY40" fmla="*/ 1122365 h 1126447"/>
                    <a:gd name="connsiteX41" fmla="*/ 159947 w 493718"/>
                    <a:gd name="connsiteY41" fmla="*/ 1121558 h 1126447"/>
                    <a:gd name="connsiteX42" fmla="*/ 143427 w 493718"/>
                    <a:gd name="connsiteY42" fmla="*/ 1120222 h 1126447"/>
                    <a:gd name="connsiteX43" fmla="*/ 138122 w 493718"/>
                    <a:gd name="connsiteY43" fmla="*/ 1119456 h 1126447"/>
                    <a:gd name="connsiteX44" fmla="*/ 132841 w 493718"/>
                    <a:gd name="connsiteY44" fmla="*/ 1118274 h 1126447"/>
                    <a:gd name="connsiteX45" fmla="*/ 130070 w 493718"/>
                    <a:gd name="connsiteY45" fmla="*/ 1118225 h 1126447"/>
                    <a:gd name="connsiteX46" fmla="*/ 126117 w 493718"/>
                    <a:gd name="connsiteY46" fmla="*/ 1118983 h 1126447"/>
                    <a:gd name="connsiteX47" fmla="*/ 122947 w 493718"/>
                    <a:gd name="connsiteY47" fmla="*/ 1118893 h 1126447"/>
                    <a:gd name="connsiteX48" fmla="*/ 122091 w 493718"/>
                    <a:gd name="connsiteY48" fmla="*/ 1119651 h 1126447"/>
                    <a:gd name="connsiteX49" fmla="*/ 122238 w 493718"/>
                    <a:gd name="connsiteY49" fmla="*/ 1111070 h 1126447"/>
                    <a:gd name="connsiteX50" fmla="*/ 122425 w 493718"/>
                    <a:gd name="connsiteY50" fmla="*/ 1099554 h 1126447"/>
                    <a:gd name="connsiteX51" fmla="*/ 122466 w 493718"/>
                    <a:gd name="connsiteY51" fmla="*/ 1089318 h 1126447"/>
                    <a:gd name="connsiteX52" fmla="*/ 122499 w 493718"/>
                    <a:gd name="connsiteY52" fmla="*/ 1079367 h 1126447"/>
                    <a:gd name="connsiteX53" fmla="*/ 122539 w 493718"/>
                    <a:gd name="connsiteY53" fmla="*/ 1069090 h 1126447"/>
                    <a:gd name="connsiteX54" fmla="*/ 122580 w 493718"/>
                    <a:gd name="connsiteY54" fmla="*/ 1058830 h 1126447"/>
                    <a:gd name="connsiteX55" fmla="*/ 122621 w 493718"/>
                    <a:gd name="connsiteY55" fmla="*/ 1047893 h 1126447"/>
                    <a:gd name="connsiteX56" fmla="*/ 122670 w 493718"/>
                    <a:gd name="connsiteY56" fmla="*/ 1036809 h 1126447"/>
                    <a:gd name="connsiteX57" fmla="*/ 124121 w 493718"/>
                    <a:gd name="connsiteY57" fmla="*/ 1038382 h 1126447"/>
                    <a:gd name="connsiteX58" fmla="*/ 129890 w 493718"/>
                    <a:gd name="connsiteY58" fmla="*/ 1046034 h 1126447"/>
                    <a:gd name="connsiteX59" fmla="*/ 131365 w 493718"/>
                    <a:gd name="connsiteY59" fmla="*/ 1049181 h 1126447"/>
                    <a:gd name="connsiteX60" fmla="*/ 193556 w 493718"/>
                    <a:gd name="connsiteY60" fmla="*/ 9226 h 1126447"/>
                    <a:gd name="connsiteX61" fmla="*/ 195659 w 493718"/>
                    <a:gd name="connsiteY61" fmla="*/ 9560 h 1126447"/>
                    <a:gd name="connsiteX62" fmla="*/ 199807 w 493718"/>
                    <a:gd name="connsiteY62" fmla="*/ 9071 h 1126447"/>
                    <a:gd name="connsiteX63" fmla="*/ 200655 w 493718"/>
                    <a:gd name="connsiteY63" fmla="*/ 9185 h 1126447"/>
                    <a:gd name="connsiteX64" fmla="*/ 211241 w 493718"/>
                    <a:gd name="connsiteY64" fmla="*/ 9332 h 1126447"/>
                    <a:gd name="connsiteX65" fmla="*/ 212863 w 493718"/>
                    <a:gd name="connsiteY65" fmla="*/ 9544 h 1126447"/>
                    <a:gd name="connsiteX66" fmla="*/ 216571 w 493718"/>
                    <a:gd name="connsiteY66" fmla="*/ 10603 h 1126447"/>
                    <a:gd name="connsiteX67" fmla="*/ 218657 w 493718"/>
                    <a:gd name="connsiteY67" fmla="*/ 11467 h 1126447"/>
                    <a:gd name="connsiteX68" fmla="*/ 220116 w 493718"/>
                    <a:gd name="connsiteY68" fmla="*/ 11899 h 1126447"/>
                    <a:gd name="connsiteX69" fmla="*/ 222463 w 493718"/>
                    <a:gd name="connsiteY69" fmla="*/ 13243 h 1126447"/>
                    <a:gd name="connsiteX70" fmla="*/ 224492 w 493718"/>
                    <a:gd name="connsiteY70" fmla="*/ 17685 h 1126447"/>
                    <a:gd name="connsiteX71" fmla="*/ 225634 w 493718"/>
                    <a:gd name="connsiteY71" fmla="*/ 21230 h 1126447"/>
                    <a:gd name="connsiteX72" fmla="*/ 226432 w 493718"/>
                    <a:gd name="connsiteY72" fmla="*/ 24343 h 1126447"/>
                    <a:gd name="connsiteX73" fmla="*/ 228209 w 493718"/>
                    <a:gd name="connsiteY73" fmla="*/ 29820 h 1126447"/>
                    <a:gd name="connsiteX74" fmla="*/ 229415 w 493718"/>
                    <a:gd name="connsiteY74" fmla="*/ 31890 h 1126447"/>
                    <a:gd name="connsiteX75" fmla="*/ 229847 w 493718"/>
                    <a:gd name="connsiteY75" fmla="*/ 30896 h 1126447"/>
                    <a:gd name="connsiteX76" fmla="*/ 230882 w 493718"/>
                    <a:gd name="connsiteY76" fmla="*/ 24906 h 1126447"/>
                    <a:gd name="connsiteX77" fmla="*/ 232300 w 493718"/>
                    <a:gd name="connsiteY77" fmla="*/ 21418 h 1126447"/>
                    <a:gd name="connsiteX78" fmla="*/ 234215 w 493718"/>
                    <a:gd name="connsiteY78" fmla="*/ 17514 h 1126447"/>
                    <a:gd name="connsiteX79" fmla="*/ 238078 w 493718"/>
                    <a:gd name="connsiteY79" fmla="*/ 8394 h 1126447"/>
                    <a:gd name="connsiteX80" fmla="*/ 239423 w 493718"/>
                    <a:gd name="connsiteY80" fmla="*/ 7025 h 1126447"/>
                    <a:gd name="connsiteX81" fmla="*/ 240930 w 493718"/>
                    <a:gd name="connsiteY81" fmla="*/ 6365 h 1126447"/>
                    <a:gd name="connsiteX82" fmla="*/ 241982 w 493718"/>
                    <a:gd name="connsiteY82" fmla="*/ 6308 h 1126447"/>
                    <a:gd name="connsiteX83" fmla="*/ 243049 w 493718"/>
                    <a:gd name="connsiteY83" fmla="*/ 6985 h 1126447"/>
                    <a:gd name="connsiteX84" fmla="*/ 244508 w 493718"/>
                    <a:gd name="connsiteY84" fmla="*/ 6992 h 1126447"/>
                    <a:gd name="connsiteX85" fmla="*/ 245543 w 493718"/>
                    <a:gd name="connsiteY85" fmla="*/ 6275 h 1126447"/>
                    <a:gd name="connsiteX86" fmla="*/ 255665 w 493718"/>
                    <a:gd name="connsiteY86" fmla="*/ 6153 h 1126447"/>
                    <a:gd name="connsiteX87" fmla="*/ 266179 w 493718"/>
                    <a:gd name="connsiteY87" fmla="*/ 6055 h 1126447"/>
                    <a:gd name="connsiteX88" fmla="*/ 266398 w 493718"/>
                    <a:gd name="connsiteY88" fmla="*/ 6104 h 1126447"/>
                    <a:gd name="connsiteX89" fmla="*/ 266879 w 493718"/>
                    <a:gd name="connsiteY89" fmla="*/ 7669 h 1126447"/>
                    <a:gd name="connsiteX90" fmla="*/ 268623 w 493718"/>
                    <a:gd name="connsiteY90" fmla="*/ 11100 h 1126447"/>
                    <a:gd name="connsiteX91" fmla="*/ 270596 w 493718"/>
                    <a:gd name="connsiteY91" fmla="*/ 12918 h 1126447"/>
                    <a:gd name="connsiteX92" fmla="*/ 270946 w 493718"/>
                    <a:gd name="connsiteY92" fmla="*/ 13406 h 1126447"/>
                    <a:gd name="connsiteX93" fmla="*/ 271574 w 493718"/>
                    <a:gd name="connsiteY93" fmla="*/ 14270 h 1126447"/>
                    <a:gd name="connsiteX94" fmla="*/ 271565 w 493718"/>
                    <a:gd name="connsiteY94" fmla="*/ 15159 h 1126447"/>
                    <a:gd name="connsiteX95" fmla="*/ 273660 w 493718"/>
                    <a:gd name="connsiteY95" fmla="*/ 17009 h 1126447"/>
                    <a:gd name="connsiteX96" fmla="*/ 277849 w 493718"/>
                    <a:gd name="connsiteY96" fmla="*/ 19796 h 1126447"/>
                    <a:gd name="connsiteX97" fmla="*/ 281777 w 493718"/>
                    <a:gd name="connsiteY97" fmla="*/ 25191 h 1126447"/>
                    <a:gd name="connsiteX98" fmla="*/ 285436 w 493718"/>
                    <a:gd name="connsiteY98" fmla="*/ 33186 h 1126447"/>
                    <a:gd name="connsiteX99" fmla="*/ 288876 w 493718"/>
                    <a:gd name="connsiteY99" fmla="*/ 39111 h 1126447"/>
                    <a:gd name="connsiteX100" fmla="*/ 292086 w 493718"/>
                    <a:gd name="connsiteY100" fmla="*/ 42941 h 1126447"/>
                    <a:gd name="connsiteX101" fmla="*/ 295037 w 493718"/>
                    <a:gd name="connsiteY101" fmla="*/ 45647 h 1126447"/>
                    <a:gd name="connsiteX102" fmla="*/ 297726 w 493718"/>
                    <a:gd name="connsiteY102" fmla="*/ 47228 h 1126447"/>
                    <a:gd name="connsiteX103" fmla="*/ 299169 w 493718"/>
                    <a:gd name="connsiteY103" fmla="*/ 48499 h 1126447"/>
                    <a:gd name="connsiteX104" fmla="*/ 299356 w 493718"/>
                    <a:gd name="connsiteY104" fmla="*/ 49485 h 1126447"/>
                    <a:gd name="connsiteX105" fmla="*/ 301874 w 493718"/>
                    <a:gd name="connsiteY105" fmla="*/ 51531 h 1126447"/>
                    <a:gd name="connsiteX106" fmla="*/ 306723 w 493718"/>
                    <a:gd name="connsiteY106" fmla="*/ 54636 h 1126447"/>
                    <a:gd name="connsiteX107" fmla="*/ 309788 w 493718"/>
                    <a:gd name="connsiteY107" fmla="*/ 57749 h 1126447"/>
                    <a:gd name="connsiteX108" fmla="*/ 311075 w 493718"/>
                    <a:gd name="connsiteY108" fmla="*/ 60846 h 1126447"/>
                    <a:gd name="connsiteX109" fmla="*/ 315859 w 493718"/>
                    <a:gd name="connsiteY109" fmla="*/ 64057 h 1126447"/>
                    <a:gd name="connsiteX110" fmla="*/ 324156 w 493718"/>
                    <a:gd name="connsiteY110" fmla="*/ 67358 h 1126447"/>
                    <a:gd name="connsiteX111" fmla="*/ 330187 w 493718"/>
                    <a:gd name="connsiteY111" fmla="*/ 68931 h 1126447"/>
                    <a:gd name="connsiteX112" fmla="*/ 333952 w 493718"/>
                    <a:gd name="connsiteY112" fmla="*/ 68776 h 1126447"/>
                    <a:gd name="connsiteX113" fmla="*/ 339355 w 493718"/>
                    <a:gd name="connsiteY113" fmla="*/ 71408 h 1126447"/>
                    <a:gd name="connsiteX114" fmla="*/ 346396 w 493718"/>
                    <a:gd name="connsiteY114" fmla="*/ 76844 h 1126447"/>
                    <a:gd name="connsiteX115" fmla="*/ 350691 w 493718"/>
                    <a:gd name="connsiteY115" fmla="*/ 80609 h 1126447"/>
                    <a:gd name="connsiteX116" fmla="*/ 352231 w 493718"/>
                    <a:gd name="connsiteY116" fmla="*/ 82695 h 1126447"/>
                    <a:gd name="connsiteX117" fmla="*/ 356836 w 493718"/>
                    <a:gd name="connsiteY117" fmla="*/ 86102 h 1126447"/>
                    <a:gd name="connsiteX118" fmla="*/ 368327 w 493718"/>
                    <a:gd name="connsiteY118" fmla="*/ 93135 h 1126447"/>
                    <a:gd name="connsiteX119" fmla="*/ 373396 w 493718"/>
                    <a:gd name="connsiteY119" fmla="*/ 94904 h 1126447"/>
                    <a:gd name="connsiteX120" fmla="*/ 375800 w 493718"/>
                    <a:gd name="connsiteY120" fmla="*/ 96517 h 1126447"/>
                    <a:gd name="connsiteX121" fmla="*/ 377227 w 493718"/>
                    <a:gd name="connsiteY121" fmla="*/ 98563 h 1126447"/>
                    <a:gd name="connsiteX122" fmla="*/ 378629 w 493718"/>
                    <a:gd name="connsiteY122" fmla="*/ 99174 h 1126447"/>
                    <a:gd name="connsiteX123" fmla="*/ 380014 w 493718"/>
                    <a:gd name="connsiteY123" fmla="*/ 98384 h 1126447"/>
                    <a:gd name="connsiteX124" fmla="*/ 382899 w 493718"/>
                    <a:gd name="connsiteY124" fmla="*/ 99117 h 1126447"/>
                    <a:gd name="connsiteX125" fmla="*/ 387283 w 493718"/>
                    <a:gd name="connsiteY125" fmla="*/ 101375 h 1126447"/>
                    <a:gd name="connsiteX126" fmla="*/ 390715 w 493718"/>
                    <a:gd name="connsiteY126" fmla="*/ 104113 h 1126447"/>
                    <a:gd name="connsiteX127" fmla="*/ 395124 w 493718"/>
                    <a:gd name="connsiteY127" fmla="*/ 110152 h 1126447"/>
                    <a:gd name="connsiteX128" fmla="*/ 396525 w 493718"/>
                    <a:gd name="connsiteY128" fmla="*/ 112564 h 1126447"/>
                    <a:gd name="connsiteX129" fmla="*/ 397120 w 493718"/>
                    <a:gd name="connsiteY129" fmla="*/ 114724 h 1126447"/>
                    <a:gd name="connsiteX130" fmla="*/ 396916 w 493718"/>
                    <a:gd name="connsiteY130" fmla="*/ 116631 h 1126447"/>
                    <a:gd name="connsiteX131" fmla="*/ 395572 w 493718"/>
                    <a:gd name="connsiteY131" fmla="*/ 118652 h 1126447"/>
                    <a:gd name="connsiteX132" fmla="*/ 393102 w 493718"/>
                    <a:gd name="connsiteY132" fmla="*/ 120812 h 1126447"/>
                    <a:gd name="connsiteX133" fmla="*/ 392377 w 493718"/>
                    <a:gd name="connsiteY133" fmla="*/ 121765 h 1126447"/>
                    <a:gd name="connsiteX134" fmla="*/ 392320 w 493718"/>
                    <a:gd name="connsiteY134" fmla="*/ 122670 h 1126447"/>
                    <a:gd name="connsiteX135" fmla="*/ 391684 w 493718"/>
                    <a:gd name="connsiteY135" fmla="*/ 124487 h 1126447"/>
                    <a:gd name="connsiteX136" fmla="*/ 389639 w 493718"/>
                    <a:gd name="connsiteY136" fmla="*/ 128375 h 1126447"/>
                    <a:gd name="connsiteX137" fmla="*/ 389117 w 493718"/>
                    <a:gd name="connsiteY137" fmla="*/ 130192 h 1126447"/>
                    <a:gd name="connsiteX138" fmla="*/ 389011 w 493718"/>
                    <a:gd name="connsiteY138" fmla="*/ 131512 h 1126447"/>
                    <a:gd name="connsiteX139" fmla="*/ 387707 w 493718"/>
                    <a:gd name="connsiteY139" fmla="*/ 132979 h 1126447"/>
                    <a:gd name="connsiteX140" fmla="*/ 384252 w 493718"/>
                    <a:gd name="connsiteY140" fmla="*/ 135685 h 1126447"/>
                    <a:gd name="connsiteX141" fmla="*/ 383543 w 493718"/>
                    <a:gd name="connsiteY141" fmla="*/ 136997 h 1126447"/>
                    <a:gd name="connsiteX142" fmla="*/ 383372 w 493718"/>
                    <a:gd name="connsiteY142" fmla="*/ 138415 h 1126447"/>
                    <a:gd name="connsiteX143" fmla="*/ 382931 w 493718"/>
                    <a:gd name="connsiteY143" fmla="*/ 139246 h 1126447"/>
                    <a:gd name="connsiteX144" fmla="*/ 382459 w 493718"/>
                    <a:gd name="connsiteY144" fmla="*/ 139597 h 1126447"/>
                    <a:gd name="connsiteX145" fmla="*/ 381791 w 493718"/>
                    <a:gd name="connsiteY145" fmla="*/ 141023 h 1126447"/>
                    <a:gd name="connsiteX146" fmla="*/ 381253 w 493718"/>
                    <a:gd name="connsiteY146" fmla="*/ 143354 h 1126447"/>
                    <a:gd name="connsiteX147" fmla="*/ 381204 w 493718"/>
                    <a:gd name="connsiteY147" fmla="*/ 146361 h 1126447"/>
                    <a:gd name="connsiteX148" fmla="*/ 381636 w 493718"/>
                    <a:gd name="connsiteY148" fmla="*/ 150020 h 1126447"/>
                    <a:gd name="connsiteX149" fmla="*/ 381554 w 493718"/>
                    <a:gd name="connsiteY149" fmla="*/ 151210 h 1126447"/>
                    <a:gd name="connsiteX150" fmla="*/ 380788 w 493718"/>
                    <a:gd name="connsiteY150" fmla="*/ 151846 h 1126447"/>
                    <a:gd name="connsiteX151" fmla="*/ 380356 w 493718"/>
                    <a:gd name="connsiteY151" fmla="*/ 152694 h 1126447"/>
                    <a:gd name="connsiteX152" fmla="*/ 380201 w 493718"/>
                    <a:gd name="connsiteY152" fmla="*/ 154413 h 1126447"/>
                    <a:gd name="connsiteX153" fmla="*/ 379549 w 493718"/>
                    <a:gd name="connsiteY153" fmla="*/ 155668 h 1126447"/>
                    <a:gd name="connsiteX154" fmla="*/ 378408 w 493718"/>
                    <a:gd name="connsiteY154" fmla="*/ 156459 h 1126447"/>
                    <a:gd name="connsiteX155" fmla="*/ 377985 w 493718"/>
                    <a:gd name="connsiteY155" fmla="*/ 157380 h 1126447"/>
                    <a:gd name="connsiteX156" fmla="*/ 378286 w 493718"/>
                    <a:gd name="connsiteY156" fmla="*/ 158415 h 1126447"/>
                    <a:gd name="connsiteX157" fmla="*/ 377447 w 493718"/>
                    <a:gd name="connsiteY157" fmla="*/ 159442 h 1126447"/>
                    <a:gd name="connsiteX158" fmla="*/ 375466 w 493718"/>
                    <a:gd name="connsiteY158" fmla="*/ 160452 h 1126447"/>
                    <a:gd name="connsiteX159" fmla="*/ 374252 w 493718"/>
                    <a:gd name="connsiteY159" fmla="*/ 161927 h 1126447"/>
                    <a:gd name="connsiteX160" fmla="*/ 373804 w 493718"/>
                    <a:gd name="connsiteY160" fmla="*/ 163850 h 1126447"/>
                    <a:gd name="connsiteX161" fmla="*/ 372704 w 493718"/>
                    <a:gd name="connsiteY161" fmla="*/ 165586 h 1126447"/>
                    <a:gd name="connsiteX162" fmla="*/ 370943 w 493718"/>
                    <a:gd name="connsiteY162" fmla="*/ 167110 h 1126447"/>
                    <a:gd name="connsiteX163" fmla="*/ 370373 w 493718"/>
                    <a:gd name="connsiteY163" fmla="*/ 169140 h 1126447"/>
                    <a:gd name="connsiteX164" fmla="*/ 371286 w 493718"/>
                    <a:gd name="connsiteY164" fmla="*/ 172889 h 1126447"/>
                    <a:gd name="connsiteX165" fmla="*/ 382116 w 493718"/>
                    <a:gd name="connsiteY165" fmla="*/ 171593 h 1126447"/>
                    <a:gd name="connsiteX166" fmla="*/ 390943 w 493718"/>
                    <a:gd name="connsiteY166" fmla="*/ 172962 h 1126447"/>
                    <a:gd name="connsiteX167" fmla="*/ 401383 w 493718"/>
                    <a:gd name="connsiteY167" fmla="*/ 176572 h 1126447"/>
                    <a:gd name="connsiteX168" fmla="*/ 408318 w 493718"/>
                    <a:gd name="connsiteY168" fmla="*/ 177819 h 1126447"/>
                    <a:gd name="connsiteX169" fmla="*/ 411733 w 493718"/>
                    <a:gd name="connsiteY169" fmla="*/ 176735 h 1126447"/>
                    <a:gd name="connsiteX170" fmla="*/ 414267 w 493718"/>
                    <a:gd name="connsiteY170" fmla="*/ 176882 h 1126447"/>
                    <a:gd name="connsiteX171" fmla="*/ 415922 w 493718"/>
                    <a:gd name="connsiteY171" fmla="*/ 178284 h 1126447"/>
                    <a:gd name="connsiteX172" fmla="*/ 418138 w 493718"/>
                    <a:gd name="connsiteY172" fmla="*/ 178577 h 1126447"/>
                    <a:gd name="connsiteX173" fmla="*/ 420925 w 493718"/>
                    <a:gd name="connsiteY173" fmla="*/ 177746 h 1126447"/>
                    <a:gd name="connsiteX174" fmla="*/ 423232 w 493718"/>
                    <a:gd name="connsiteY174" fmla="*/ 178381 h 1126447"/>
                    <a:gd name="connsiteX175" fmla="*/ 425049 w 493718"/>
                    <a:gd name="connsiteY175" fmla="*/ 180476 h 1126447"/>
                    <a:gd name="connsiteX176" fmla="*/ 426704 w 493718"/>
                    <a:gd name="connsiteY176" fmla="*/ 179962 h 1126447"/>
                    <a:gd name="connsiteX177" fmla="*/ 428195 w 493718"/>
                    <a:gd name="connsiteY177" fmla="*/ 176825 h 1126447"/>
                    <a:gd name="connsiteX178" fmla="*/ 429898 w 493718"/>
                    <a:gd name="connsiteY178" fmla="*/ 174543 h 1126447"/>
                    <a:gd name="connsiteX179" fmla="*/ 431822 w 493718"/>
                    <a:gd name="connsiteY179" fmla="*/ 173109 h 1126447"/>
                    <a:gd name="connsiteX180" fmla="*/ 434226 w 493718"/>
                    <a:gd name="connsiteY180" fmla="*/ 172677 h 1126447"/>
                    <a:gd name="connsiteX181" fmla="*/ 437103 w 493718"/>
                    <a:gd name="connsiteY181" fmla="*/ 173231 h 1126447"/>
                    <a:gd name="connsiteX182" fmla="*/ 439393 w 493718"/>
                    <a:gd name="connsiteY182" fmla="*/ 174388 h 1126447"/>
                    <a:gd name="connsiteX183" fmla="*/ 441104 w 493718"/>
                    <a:gd name="connsiteY183" fmla="*/ 176116 h 1126447"/>
                    <a:gd name="connsiteX184" fmla="*/ 442971 w 493718"/>
                    <a:gd name="connsiteY184" fmla="*/ 176067 h 1126447"/>
                    <a:gd name="connsiteX185" fmla="*/ 445000 w 493718"/>
                    <a:gd name="connsiteY185" fmla="*/ 174241 h 1126447"/>
                    <a:gd name="connsiteX186" fmla="*/ 445970 w 493718"/>
                    <a:gd name="connsiteY186" fmla="*/ 172033 h 1126447"/>
                    <a:gd name="connsiteX187" fmla="*/ 445888 w 493718"/>
                    <a:gd name="connsiteY187" fmla="*/ 169490 h 1126447"/>
                    <a:gd name="connsiteX188" fmla="*/ 446687 w 493718"/>
                    <a:gd name="connsiteY188" fmla="*/ 167664 h 1126447"/>
                    <a:gd name="connsiteX189" fmla="*/ 448382 w 493718"/>
                    <a:gd name="connsiteY189" fmla="*/ 166564 h 1126447"/>
                    <a:gd name="connsiteX190" fmla="*/ 449531 w 493718"/>
                    <a:gd name="connsiteY190" fmla="*/ 165073 h 1126447"/>
                    <a:gd name="connsiteX191" fmla="*/ 450118 w 493718"/>
                    <a:gd name="connsiteY191" fmla="*/ 163207 h 1126447"/>
                    <a:gd name="connsiteX192" fmla="*/ 452123 w 493718"/>
                    <a:gd name="connsiteY192" fmla="*/ 162066 h 1126447"/>
                    <a:gd name="connsiteX193" fmla="*/ 455546 w 493718"/>
                    <a:gd name="connsiteY193" fmla="*/ 161650 h 1126447"/>
                    <a:gd name="connsiteX194" fmla="*/ 457330 w 493718"/>
                    <a:gd name="connsiteY194" fmla="*/ 160729 h 1126447"/>
                    <a:gd name="connsiteX195" fmla="*/ 457494 w 493718"/>
                    <a:gd name="connsiteY195" fmla="*/ 159295 h 1126447"/>
                    <a:gd name="connsiteX196" fmla="*/ 458504 w 493718"/>
                    <a:gd name="connsiteY196" fmla="*/ 157991 h 1126447"/>
                    <a:gd name="connsiteX197" fmla="*/ 460370 w 493718"/>
                    <a:gd name="connsiteY197" fmla="*/ 156785 h 1126447"/>
                    <a:gd name="connsiteX198" fmla="*/ 461642 w 493718"/>
                    <a:gd name="connsiteY198" fmla="*/ 155293 h 1126447"/>
                    <a:gd name="connsiteX199" fmla="*/ 462326 w 493718"/>
                    <a:gd name="connsiteY199" fmla="*/ 153492 h 1126447"/>
                    <a:gd name="connsiteX200" fmla="*/ 463451 w 493718"/>
                    <a:gd name="connsiteY200" fmla="*/ 152359 h 1126447"/>
                    <a:gd name="connsiteX201" fmla="*/ 465024 w 493718"/>
                    <a:gd name="connsiteY201" fmla="*/ 151895 h 1126447"/>
                    <a:gd name="connsiteX202" fmla="*/ 466768 w 493718"/>
                    <a:gd name="connsiteY202" fmla="*/ 148122 h 1126447"/>
                    <a:gd name="connsiteX203" fmla="*/ 468683 w 493718"/>
                    <a:gd name="connsiteY203" fmla="*/ 141047 h 1126447"/>
                    <a:gd name="connsiteX204" fmla="*/ 469816 w 493718"/>
                    <a:gd name="connsiteY204" fmla="*/ 131480 h 1126447"/>
                    <a:gd name="connsiteX205" fmla="*/ 470215 w 493718"/>
                    <a:gd name="connsiteY205" fmla="*/ 117951 h 1126447"/>
                    <a:gd name="connsiteX206" fmla="*/ 472155 w 493718"/>
                    <a:gd name="connsiteY206" fmla="*/ 117959 h 1126447"/>
                    <a:gd name="connsiteX207" fmla="*/ 473059 w 493718"/>
                    <a:gd name="connsiteY207" fmla="*/ 118962 h 1126447"/>
                    <a:gd name="connsiteX208" fmla="*/ 474486 w 493718"/>
                    <a:gd name="connsiteY208" fmla="*/ 119483 h 1126447"/>
                    <a:gd name="connsiteX209" fmla="*/ 475993 w 493718"/>
                    <a:gd name="connsiteY209" fmla="*/ 118334 h 1126447"/>
                    <a:gd name="connsiteX210" fmla="*/ 477265 w 493718"/>
                    <a:gd name="connsiteY210" fmla="*/ 117813 h 1126447"/>
                    <a:gd name="connsiteX211" fmla="*/ 479294 w 493718"/>
                    <a:gd name="connsiteY211" fmla="*/ 117756 h 1126447"/>
                    <a:gd name="connsiteX212" fmla="*/ 480386 w 493718"/>
                    <a:gd name="connsiteY212" fmla="*/ 116476 h 1126447"/>
                    <a:gd name="connsiteX213" fmla="*/ 481665 w 493718"/>
                    <a:gd name="connsiteY213" fmla="*/ 116280 h 1126447"/>
                    <a:gd name="connsiteX214" fmla="*/ 482538 w 493718"/>
                    <a:gd name="connsiteY214" fmla="*/ 116973 h 1126447"/>
                    <a:gd name="connsiteX215" fmla="*/ 483385 w 493718"/>
                    <a:gd name="connsiteY215" fmla="*/ 117821 h 1126447"/>
                    <a:gd name="connsiteX216" fmla="*/ 485186 w 493718"/>
                    <a:gd name="connsiteY216" fmla="*/ 118008 h 1126447"/>
                    <a:gd name="connsiteX217" fmla="*/ 486613 w 493718"/>
                    <a:gd name="connsiteY217" fmla="*/ 120201 h 1126447"/>
                    <a:gd name="connsiteX218" fmla="*/ 488194 w 493718"/>
                    <a:gd name="connsiteY218" fmla="*/ 120869 h 1126447"/>
                    <a:gd name="connsiteX219" fmla="*/ 488862 w 493718"/>
                    <a:gd name="connsiteY219" fmla="*/ 123395 h 1126447"/>
                    <a:gd name="connsiteX220" fmla="*/ 489881 w 493718"/>
                    <a:gd name="connsiteY220" fmla="*/ 130037 h 1126447"/>
                    <a:gd name="connsiteX221" fmla="*/ 491779 w 493718"/>
                    <a:gd name="connsiteY221" fmla="*/ 133949 h 1126447"/>
                    <a:gd name="connsiteX222" fmla="*/ 493654 w 493718"/>
                    <a:gd name="connsiteY222" fmla="*/ 138407 h 1126447"/>
                    <a:gd name="connsiteX223" fmla="*/ 493719 w 493718"/>
                    <a:gd name="connsiteY223" fmla="*/ 140396 h 1126447"/>
                    <a:gd name="connsiteX224" fmla="*/ 492668 w 493718"/>
                    <a:gd name="connsiteY224" fmla="*/ 142408 h 1126447"/>
                    <a:gd name="connsiteX225" fmla="*/ 492488 w 493718"/>
                    <a:gd name="connsiteY225" fmla="*/ 145293 h 1126447"/>
                    <a:gd name="connsiteX226" fmla="*/ 491836 w 493718"/>
                    <a:gd name="connsiteY226" fmla="*/ 152343 h 1126447"/>
                    <a:gd name="connsiteX227" fmla="*/ 491625 w 493718"/>
                    <a:gd name="connsiteY227" fmla="*/ 154935 h 1126447"/>
                    <a:gd name="connsiteX228" fmla="*/ 492276 w 493718"/>
                    <a:gd name="connsiteY228" fmla="*/ 156711 h 1126447"/>
                    <a:gd name="connsiteX229" fmla="*/ 492521 w 493718"/>
                    <a:gd name="connsiteY229" fmla="*/ 159189 h 1126447"/>
                    <a:gd name="connsiteX230" fmla="*/ 491502 w 493718"/>
                    <a:gd name="connsiteY230" fmla="*/ 162204 h 1126447"/>
                    <a:gd name="connsiteX231" fmla="*/ 489522 w 493718"/>
                    <a:gd name="connsiteY231" fmla="*/ 166735 h 1126447"/>
                    <a:gd name="connsiteX232" fmla="*/ 487607 w 493718"/>
                    <a:gd name="connsiteY232" fmla="*/ 167950 h 1126447"/>
                    <a:gd name="connsiteX233" fmla="*/ 487118 w 493718"/>
                    <a:gd name="connsiteY233" fmla="*/ 167999 h 1126447"/>
                    <a:gd name="connsiteX234" fmla="*/ 484518 w 493718"/>
                    <a:gd name="connsiteY234" fmla="*/ 170615 h 1126447"/>
                    <a:gd name="connsiteX235" fmla="*/ 482692 w 493718"/>
                    <a:gd name="connsiteY235" fmla="*/ 171601 h 1126447"/>
                    <a:gd name="connsiteX236" fmla="*/ 481633 w 493718"/>
                    <a:gd name="connsiteY236" fmla="*/ 170932 h 1126447"/>
                    <a:gd name="connsiteX237" fmla="*/ 480427 w 493718"/>
                    <a:gd name="connsiteY237" fmla="*/ 172074 h 1126447"/>
                    <a:gd name="connsiteX238" fmla="*/ 479066 w 493718"/>
                    <a:gd name="connsiteY238" fmla="*/ 174999 h 1126447"/>
                    <a:gd name="connsiteX239" fmla="*/ 477411 w 493718"/>
                    <a:gd name="connsiteY239" fmla="*/ 176311 h 1126447"/>
                    <a:gd name="connsiteX240" fmla="*/ 474404 w 493718"/>
                    <a:gd name="connsiteY240" fmla="*/ 177045 h 1126447"/>
                    <a:gd name="connsiteX241" fmla="*/ 473508 w 493718"/>
                    <a:gd name="connsiteY241" fmla="*/ 177395 h 1126447"/>
                    <a:gd name="connsiteX242" fmla="*/ 471756 w 493718"/>
                    <a:gd name="connsiteY242" fmla="*/ 177290 h 1126447"/>
                    <a:gd name="connsiteX243" fmla="*/ 470256 w 493718"/>
                    <a:gd name="connsiteY243" fmla="*/ 178015 h 1126447"/>
                    <a:gd name="connsiteX244" fmla="*/ 469009 w 493718"/>
                    <a:gd name="connsiteY244" fmla="*/ 179579 h 1126447"/>
                    <a:gd name="connsiteX245" fmla="*/ 467673 w 493718"/>
                    <a:gd name="connsiteY245" fmla="*/ 180166 h 1126447"/>
                    <a:gd name="connsiteX246" fmla="*/ 466254 w 493718"/>
                    <a:gd name="connsiteY246" fmla="*/ 179767 h 1126447"/>
                    <a:gd name="connsiteX247" fmla="*/ 464959 w 493718"/>
                    <a:gd name="connsiteY247" fmla="*/ 180337 h 1126447"/>
                    <a:gd name="connsiteX248" fmla="*/ 463801 w 493718"/>
                    <a:gd name="connsiteY248" fmla="*/ 181886 h 1126447"/>
                    <a:gd name="connsiteX249" fmla="*/ 463125 w 493718"/>
                    <a:gd name="connsiteY249" fmla="*/ 183548 h 1126447"/>
                    <a:gd name="connsiteX250" fmla="*/ 462946 w 493718"/>
                    <a:gd name="connsiteY250" fmla="*/ 185358 h 1126447"/>
                    <a:gd name="connsiteX251" fmla="*/ 461805 w 493718"/>
                    <a:gd name="connsiteY251" fmla="*/ 186572 h 1126447"/>
                    <a:gd name="connsiteX252" fmla="*/ 459726 w 493718"/>
                    <a:gd name="connsiteY252" fmla="*/ 187232 h 1126447"/>
                    <a:gd name="connsiteX253" fmla="*/ 459009 w 493718"/>
                    <a:gd name="connsiteY253" fmla="*/ 188129 h 1126447"/>
                    <a:gd name="connsiteX254" fmla="*/ 459140 w 493718"/>
                    <a:gd name="connsiteY254" fmla="*/ 189392 h 1126447"/>
                    <a:gd name="connsiteX255" fmla="*/ 458202 w 493718"/>
                    <a:gd name="connsiteY255" fmla="*/ 190370 h 1126447"/>
                    <a:gd name="connsiteX256" fmla="*/ 454682 w 493718"/>
                    <a:gd name="connsiteY256" fmla="*/ 191388 h 1126447"/>
                    <a:gd name="connsiteX257" fmla="*/ 452131 w 493718"/>
                    <a:gd name="connsiteY257" fmla="*/ 193198 h 1126447"/>
                    <a:gd name="connsiteX258" fmla="*/ 450558 w 493718"/>
                    <a:gd name="connsiteY258" fmla="*/ 195805 h 1126447"/>
                    <a:gd name="connsiteX259" fmla="*/ 448904 w 493718"/>
                    <a:gd name="connsiteY259" fmla="*/ 197452 h 1126447"/>
                    <a:gd name="connsiteX260" fmla="*/ 446288 w 493718"/>
                    <a:gd name="connsiteY260" fmla="*/ 198446 h 1126447"/>
                    <a:gd name="connsiteX261" fmla="*/ 442734 w 493718"/>
                    <a:gd name="connsiteY261" fmla="*/ 201095 h 1126447"/>
                    <a:gd name="connsiteX262" fmla="*/ 442229 w 493718"/>
                    <a:gd name="connsiteY262" fmla="*/ 202733 h 1126447"/>
                    <a:gd name="connsiteX263" fmla="*/ 443582 w 493718"/>
                    <a:gd name="connsiteY263" fmla="*/ 204233 h 1126447"/>
                    <a:gd name="connsiteX264" fmla="*/ 444063 w 493718"/>
                    <a:gd name="connsiteY264" fmla="*/ 205577 h 1126447"/>
                    <a:gd name="connsiteX265" fmla="*/ 443688 w 493718"/>
                    <a:gd name="connsiteY265" fmla="*/ 206759 h 1126447"/>
                    <a:gd name="connsiteX266" fmla="*/ 442571 w 493718"/>
                    <a:gd name="connsiteY266" fmla="*/ 206914 h 1126447"/>
                    <a:gd name="connsiteX267" fmla="*/ 440737 w 493718"/>
                    <a:gd name="connsiteY267" fmla="*/ 206066 h 1126447"/>
                    <a:gd name="connsiteX268" fmla="*/ 439426 w 493718"/>
                    <a:gd name="connsiteY268" fmla="*/ 205887 h 1126447"/>
                    <a:gd name="connsiteX269" fmla="*/ 438643 w 493718"/>
                    <a:gd name="connsiteY269" fmla="*/ 206392 h 1126447"/>
                    <a:gd name="connsiteX270" fmla="*/ 438276 w 493718"/>
                    <a:gd name="connsiteY270" fmla="*/ 207329 h 1126447"/>
                    <a:gd name="connsiteX271" fmla="*/ 438317 w 493718"/>
                    <a:gd name="connsiteY271" fmla="*/ 208723 h 1126447"/>
                    <a:gd name="connsiteX272" fmla="*/ 437657 w 493718"/>
                    <a:gd name="connsiteY272" fmla="*/ 209660 h 1126447"/>
                    <a:gd name="connsiteX273" fmla="*/ 436296 w 493718"/>
                    <a:gd name="connsiteY273" fmla="*/ 210165 h 1126447"/>
                    <a:gd name="connsiteX274" fmla="*/ 435440 w 493718"/>
                    <a:gd name="connsiteY274" fmla="*/ 211323 h 1126447"/>
                    <a:gd name="connsiteX275" fmla="*/ 435082 w 493718"/>
                    <a:gd name="connsiteY275" fmla="*/ 213116 h 1126447"/>
                    <a:gd name="connsiteX276" fmla="*/ 433378 w 493718"/>
                    <a:gd name="connsiteY276" fmla="*/ 215365 h 1126447"/>
                    <a:gd name="connsiteX277" fmla="*/ 430330 w 493718"/>
                    <a:gd name="connsiteY277" fmla="*/ 218095 h 1126447"/>
                    <a:gd name="connsiteX278" fmla="*/ 427934 w 493718"/>
                    <a:gd name="connsiteY278" fmla="*/ 221771 h 1126447"/>
                    <a:gd name="connsiteX279" fmla="*/ 426174 w 493718"/>
                    <a:gd name="connsiteY279" fmla="*/ 226400 h 1126447"/>
                    <a:gd name="connsiteX280" fmla="*/ 424128 w 493718"/>
                    <a:gd name="connsiteY280" fmla="*/ 229431 h 1126447"/>
                    <a:gd name="connsiteX281" fmla="*/ 421781 w 493718"/>
                    <a:gd name="connsiteY281" fmla="*/ 230890 h 1126447"/>
                    <a:gd name="connsiteX282" fmla="*/ 420159 w 493718"/>
                    <a:gd name="connsiteY282" fmla="*/ 232976 h 1126447"/>
                    <a:gd name="connsiteX283" fmla="*/ 419279 w 493718"/>
                    <a:gd name="connsiteY283" fmla="*/ 235666 h 1126447"/>
                    <a:gd name="connsiteX284" fmla="*/ 416777 w 493718"/>
                    <a:gd name="connsiteY284" fmla="*/ 239855 h 1126447"/>
                    <a:gd name="connsiteX285" fmla="*/ 412662 w 493718"/>
                    <a:gd name="connsiteY285" fmla="*/ 245519 h 1126447"/>
                    <a:gd name="connsiteX286" fmla="*/ 408921 w 493718"/>
                    <a:gd name="connsiteY286" fmla="*/ 249398 h 1126447"/>
                    <a:gd name="connsiteX287" fmla="*/ 405563 w 493718"/>
                    <a:gd name="connsiteY287" fmla="*/ 251517 h 1126447"/>
                    <a:gd name="connsiteX288" fmla="*/ 403681 w 493718"/>
                    <a:gd name="connsiteY288" fmla="*/ 253905 h 1126447"/>
                    <a:gd name="connsiteX289" fmla="*/ 403265 w 493718"/>
                    <a:gd name="connsiteY289" fmla="*/ 256554 h 1126447"/>
                    <a:gd name="connsiteX290" fmla="*/ 401089 w 493718"/>
                    <a:gd name="connsiteY290" fmla="*/ 259594 h 1126447"/>
                    <a:gd name="connsiteX291" fmla="*/ 397153 w 493718"/>
                    <a:gd name="connsiteY291" fmla="*/ 263000 h 1126447"/>
                    <a:gd name="connsiteX292" fmla="*/ 396036 w 493718"/>
                    <a:gd name="connsiteY292" fmla="*/ 264540 h 1126447"/>
                    <a:gd name="connsiteX293" fmla="*/ 395115 w 493718"/>
                    <a:gd name="connsiteY293" fmla="*/ 265779 h 1126447"/>
                    <a:gd name="connsiteX294" fmla="*/ 394993 w 493718"/>
                    <a:gd name="connsiteY294" fmla="*/ 267971 h 1126447"/>
                    <a:gd name="connsiteX295" fmla="*/ 393453 w 493718"/>
                    <a:gd name="connsiteY295" fmla="*/ 270856 h 1126447"/>
                    <a:gd name="connsiteX296" fmla="*/ 390519 w 493718"/>
                    <a:gd name="connsiteY296" fmla="*/ 274410 h 1126447"/>
                    <a:gd name="connsiteX297" fmla="*/ 389492 w 493718"/>
                    <a:gd name="connsiteY297" fmla="*/ 277507 h 1126447"/>
                    <a:gd name="connsiteX298" fmla="*/ 390837 w 493718"/>
                    <a:gd name="connsiteY298" fmla="*/ 281402 h 1126447"/>
                    <a:gd name="connsiteX299" fmla="*/ 391032 w 493718"/>
                    <a:gd name="connsiteY299" fmla="*/ 286121 h 1126447"/>
                    <a:gd name="connsiteX300" fmla="*/ 390454 w 493718"/>
                    <a:gd name="connsiteY300" fmla="*/ 288012 h 1126447"/>
                    <a:gd name="connsiteX301" fmla="*/ 389158 w 493718"/>
                    <a:gd name="connsiteY301" fmla="*/ 288647 h 1126447"/>
                    <a:gd name="connsiteX302" fmla="*/ 388856 w 493718"/>
                    <a:gd name="connsiteY302" fmla="*/ 289870 h 1126447"/>
                    <a:gd name="connsiteX303" fmla="*/ 389557 w 493718"/>
                    <a:gd name="connsiteY303" fmla="*/ 291679 h 1126447"/>
                    <a:gd name="connsiteX304" fmla="*/ 389598 w 493718"/>
                    <a:gd name="connsiteY304" fmla="*/ 294034 h 1126447"/>
                    <a:gd name="connsiteX305" fmla="*/ 388979 w 493718"/>
                    <a:gd name="connsiteY305" fmla="*/ 296968 h 1126447"/>
                    <a:gd name="connsiteX306" fmla="*/ 387618 w 493718"/>
                    <a:gd name="connsiteY306" fmla="*/ 300326 h 1126447"/>
                    <a:gd name="connsiteX307" fmla="*/ 385507 w 493718"/>
                    <a:gd name="connsiteY307" fmla="*/ 304115 h 1126447"/>
                    <a:gd name="connsiteX308" fmla="*/ 385002 w 493718"/>
                    <a:gd name="connsiteY308" fmla="*/ 306642 h 1126447"/>
                    <a:gd name="connsiteX309" fmla="*/ 386094 w 493718"/>
                    <a:gd name="connsiteY309" fmla="*/ 307922 h 1126447"/>
                    <a:gd name="connsiteX310" fmla="*/ 386632 w 493718"/>
                    <a:gd name="connsiteY310" fmla="*/ 309274 h 1126447"/>
                    <a:gd name="connsiteX311" fmla="*/ 386615 w 493718"/>
                    <a:gd name="connsiteY311" fmla="*/ 310717 h 1126447"/>
                    <a:gd name="connsiteX312" fmla="*/ 386159 w 493718"/>
                    <a:gd name="connsiteY312" fmla="*/ 312795 h 1126447"/>
                    <a:gd name="connsiteX313" fmla="*/ 385287 w 493718"/>
                    <a:gd name="connsiteY313" fmla="*/ 315517 h 1126447"/>
                    <a:gd name="connsiteX314" fmla="*/ 383958 w 493718"/>
                    <a:gd name="connsiteY314" fmla="*/ 317546 h 1126447"/>
                    <a:gd name="connsiteX315" fmla="*/ 382182 w 493718"/>
                    <a:gd name="connsiteY315" fmla="*/ 318866 h 1126447"/>
                    <a:gd name="connsiteX316" fmla="*/ 381652 w 493718"/>
                    <a:gd name="connsiteY316" fmla="*/ 320545 h 1126447"/>
                    <a:gd name="connsiteX317" fmla="*/ 382353 w 493718"/>
                    <a:gd name="connsiteY317" fmla="*/ 322558 h 1126447"/>
                    <a:gd name="connsiteX318" fmla="*/ 382459 w 493718"/>
                    <a:gd name="connsiteY318" fmla="*/ 324661 h 1126447"/>
                    <a:gd name="connsiteX319" fmla="*/ 381945 w 493718"/>
                    <a:gd name="connsiteY319" fmla="*/ 326862 h 1126447"/>
                    <a:gd name="connsiteX320" fmla="*/ 382255 w 493718"/>
                    <a:gd name="connsiteY320" fmla="*/ 328980 h 1126447"/>
                    <a:gd name="connsiteX321" fmla="*/ 383372 w 493718"/>
                    <a:gd name="connsiteY321" fmla="*/ 331067 h 1126447"/>
                    <a:gd name="connsiteX322" fmla="*/ 383290 w 493718"/>
                    <a:gd name="connsiteY322" fmla="*/ 333438 h 1126447"/>
                    <a:gd name="connsiteX323" fmla="*/ 381350 w 493718"/>
                    <a:gd name="connsiteY323" fmla="*/ 338304 h 1126447"/>
                    <a:gd name="connsiteX324" fmla="*/ 380878 w 493718"/>
                    <a:gd name="connsiteY324" fmla="*/ 341303 h 1126447"/>
                    <a:gd name="connsiteX325" fmla="*/ 382100 w 493718"/>
                    <a:gd name="connsiteY325" fmla="*/ 354155 h 1126447"/>
                    <a:gd name="connsiteX326" fmla="*/ 381359 w 493718"/>
                    <a:gd name="connsiteY326" fmla="*/ 355956 h 1126447"/>
                    <a:gd name="connsiteX327" fmla="*/ 380128 w 493718"/>
                    <a:gd name="connsiteY327" fmla="*/ 358042 h 1126447"/>
                    <a:gd name="connsiteX328" fmla="*/ 378677 w 493718"/>
                    <a:gd name="connsiteY328" fmla="*/ 358189 h 1126447"/>
                    <a:gd name="connsiteX329" fmla="*/ 377015 w 493718"/>
                    <a:gd name="connsiteY329" fmla="*/ 357830 h 1126447"/>
                    <a:gd name="connsiteX330" fmla="*/ 375817 w 493718"/>
                    <a:gd name="connsiteY330" fmla="*/ 359118 h 1126447"/>
                    <a:gd name="connsiteX331" fmla="*/ 375059 w 493718"/>
                    <a:gd name="connsiteY331" fmla="*/ 364806 h 1126447"/>
                    <a:gd name="connsiteX332" fmla="*/ 372769 w 493718"/>
                    <a:gd name="connsiteY332" fmla="*/ 377129 h 1126447"/>
                    <a:gd name="connsiteX333" fmla="*/ 373185 w 493718"/>
                    <a:gd name="connsiteY333" fmla="*/ 380055 h 1126447"/>
                    <a:gd name="connsiteX334" fmla="*/ 375018 w 493718"/>
                    <a:gd name="connsiteY334" fmla="*/ 384806 h 1126447"/>
                    <a:gd name="connsiteX335" fmla="*/ 375695 w 493718"/>
                    <a:gd name="connsiteY335" fmla="*/ 387838 h 1126447"/>
                    <a:gd name="connsiteX336" fmla="*/ 376200 w 493718"/>
                    <a:gd name="connsiteY336" fmla="*/ 390120 h 1126447"/>
                    <a:gd name="connsiteX337" fmla="*/ 376616 w 493718"/>
                    <a:gd name="connsiteY337" fmla="*/ 394455 h 1126447"/>
                    <a:gd name="connsiteX338" fmla="*/ 375548 w 493718"/>
                    <a:gd name="connsiteY338" fmla="*/ 396403 h 1126447"/>
                    <a:gd name="connsiteX339" fmla="*/ 374562 w 493718"/>
                    <a:gd name="connsiteY339" fmla="*/ 396745 h 1126447"/>
                    <a:gd name="connsiteX340" fmla="*/ 373315 w 493718"/>
                    <a:gd name="connsiteY340" fmla="*/ 397837 h 1126447"/>
                    <a:gd name="connsiteX341" fmla="*/ 374782 w 493718"/>
                    <a:gd name="connsiteY341" fmla="*/ 403119 h 1126447"/>
                    <a:gd name="connsiteX342" fmla="*/ 375955 w 493718"/>
                    <a:gd name="connsiteY342" fmla="*/ 405555 h 1126447"/>
                    <a:gd name="connsiteX343" fmla="*/ 379313 w 493718"/>
                    <a:gd name="connsiteY343" fmla="*/ 410543 h 1126447"/>
                    <a:gd name="connsiteX344" fmla="*/ 392206 w 493718"/>
                    <a:gd name="connsiteY344" fmla="*/ 417487 h 1126447"/>
                    <a:gd name="connsiteX345" fmla="*/ 397560 w 493718"/>
                    <a:gd name="connsiteY345" fmla="*/ 421586 h 1126447"/>
                    <a:gd name="connsiteX346" fmla="*/ 403615 w 493718"/>
                    <a:gd name="connsiteY346" fmla="*/ 427168 h 1126447"/>
                    <a:gd name="connsiteX347" fmla="*/ 406916 w 493718"/>
                    <a:gd name="connsiteY347" fmla="*/ 432906 h 1126447"/>
                    <a:gd name="connsiteX348" fmla="*/ 407201 w 493718"/>
                    <a:gd name="connsiteY348" fmla="*/ 437633 h 1126447"/>
                    <a:gd name="connsiteX349" fmla="*/ 402369 w 493718"/>
                    <a:gd name="connsiteY349" fmla="*/ 444715 h 1126447"/>
                    <a:gd name="connsiteX350" fmla="*/ 401831 w 493718"/>
                    <a:gd name="connsiteY350" fmla="*/ 450664 h 1126447"/>
                    <a:gd name="connsiteX351" fmla="*/ 402825 w 493718"/>
                    <a:gd name="connsiteY351" fmla="*/ 454845 h 1126447"/>
                    <a:gd name="connsiteX352" fmla="*/ 404569 w 493718"/>
                    <a:gd name="connsiteY352" fmla="*/ 458740 h 1126447"/>
                    <a:gd name="connsiteX353" fmla="*/ 409255 w 493718"/>
                    <a:gd name="connsiteY353" fmla="*/ 463793 h 1126447"/>
                    <a:gd name="connsiteX354" fmla="*/ 412703 w 493718"/>
                    <a:gd name="connsiteY354" fmla="*/ 465643 h 1126447"/>
                    <a:gd name="connsiteX355" fmla="*/ 417356 w 493718"/>
                    <a:gd name="connsiteY355" fmla="*/ 465456 h 1126447"/>
                    <a:gd name="connsiteX356" fmla="*/ 418155 w 493718"/>
                    <a:gd name="connsiteY356" fmla="*/ 466866 h 1126447"/>
                    <a:gd name="connsiteX357" fmla="*/ 418636 w 493718"/>
                    <a:gd name="connsiteY357" fmla="*/ 468104 h 1126447"/>
                    <a:gd name="connsiteX358" fmla="*/ 419377 w 493718"/>
                    <a:gd name="connsiteY358" fmla="*/ 478365 h 1126447"/>
                    <a:gd name="connsiteX359" fmla="*/ 419279 w 493718"/>
                    <a:gd name="connsiteY359" fmla="*/ 482220 h 1126447"/>
                    <a:gd name="connsiteX360" fmla="*/ 417910 w 493718"/>
                    <a:gd name="connsiteY360" fmla="*/ 485757 h 1126447"/>
                    <a:gd name="connsiteX361" fmla="*/ 408970 w 493718"/>
                    <a:gd name="connsiteY361" fmla="*/ 502048 h 1126447"/>
                    <a:gd name="connsiteX362" fmla="*/ 401325 w 493718"/>
                    <a:gd name="connsiteY362" fmla="*/ 512023 h 1126447"/>
                    <a:gd name="connsiteX363" fmla="*/ 398554 w 493718"/>
                    <a:gd name="connsiteY363" fmla="*/ 517524 h 1126447"/>
                    <a:gd name="connsiteX364" fmla="*/ 397568 w 493718"/>
                    <a:gd name="connsiteY364" fmla="*/ 523441 h 1126447"/>
                    <a:gd name="connsiteX365" fmla="*/ 395124 w 493718"/>
                    <a:gd name="connsiteY365" fmla="*/ 526261 h 1126447"/>
                    <a:gd name="connsiteX366" fmla="*/ 381888 w 493718"/>
                    <a:gd name="connsiteY366" fmla="*/ 535193 h 1126447"/>
                    <a:gd name="connsiteX367" fmla="*/ 361351 w 493718"/>
                    <a:gd name="connsiteY367" fmla="*/ 543171 h 1126447"/>
                    <a:gd name="connsiteX368" fmla="*/ 344758 w 493718"/>
                    <a:gd name="connsiteY368" fmla="*/ 547328 h 1126447"/>
                    <a:gd name="connsiteX369" fmla="*/ 340993 w 493718"/>
                    <a:gd name="connsiteY369" fmla="*/ 548730 h 1126447"/>
                    <a:gd name="connsiteX370" fmla="*/ 314311 w 493718"/>
                    <a:gd name="connsiteY370" fmla="*/ 553293 h 1126447"/>
                    <a:gd name="connsiteX371" fmla="*/ 309152 w 493718"/>
                    <a:gd name="connsiteY371" fmla="*/ 553938 h 1126447"/>
                    <a:gd name="connsiteX372" fmla="*/ 302437 w 493718"/>
                    <a:gd name="connsiteY372" fmla="*/ 553522 h 1126447"/>
                    <a:gd name="connsiteX373" fmla="*/ 296993 w 493718"/>
                    <a:gd name="connsiteY373" fmla="*/ 554133 h 1126447"/>
                    <a:gd name="connsiteX374" fmla="*/ 290905 w 493718"/>
                    <a:gd name="connsiteY374" fmla="*/ 552886 h 1126447"/>
                    <a:gd name="connsiteX375" fmla="*/ 285469 w 493718"/>
                    <a:gd name="connsiteY375" fmla="*/ 551460 h 1126447"/>
                    <a:gd name="connsiteX376" fmla="*/ 282437 w 493718"/>
                    <a:gd name="connsiteY376" fmla="*/ 547882 h 1126447"/>
                    <a:gd name="connsiteX377" fmla="*/ 278827 w 493718"/>
                    <a:gd name="connsiteY377" fmla="*/ 547442 h 1126447"/>
                    <a:gd name="connsiteX378" fmla="*/ 277841 w 493718"/>
                    <a:gd name="connsiteY378" fmla="*/ 549227 h 1126447"/>
                    <a:gd name="connsiteX379" fmla="*/ 279593 w 493718"/>
                    <a:gd name="connsiteY379" fmla="*/ 553782 h 1126447"/>
                    <a:gd name="connsiteX380" fmla="*/ 278745 w 493718"/>
                    <a:gd name="connsiteY380" fmla="*/ 559267 h 1126447"/>
                    <a:gd name="connsiteX381" fmla="*/ 279813 w 493718"/>
                    <a:gd name="connsiteY381" fmla="*/ 562389 h 1126447"/>
                    <a:gd name="connsiteX382" fmla="*/ 281948 w 493718"/>
                    <a:gd name="connsiteY382" fmla="*/ 563016 h 1126447"/>
                    <a:gd name="connsiteX383" fmla="*/ 283994 w 493718"/>
                    <a:gd name="connsiteY383" fmla="*/ 564622 h 1126447"/>
                    <a:gd name="connsiteX384" fmla="*/ 285803 w 493718"/>
                    <a:gd name="connsiteY384" fmla="*/ 566798 h 1126447"/>
                    <a:gd name="connsiteX385" fmla="*/ 282682 w 493718"/>
                    <a:gd name="connsiteY385" fmla="*/ 567010 h 1126447"/>
                    <a:gd name="connsiteX386" fmla="*/ 283888 w 493718"/>
                    <a:gd name="connsiteY386" fmla="*/ 568745 h 1126447"/>
                    <a:gd name="connsiteX387" fmla="*/ 285224 w 493718"/>
                    <a:gd name="connsiteY387" fmla="*/ 569748 h 1126447"/>
                    <a:gd name="connsiteX388" fmla="*/ 285078 w 493718"/>
                    <a:gd name="connsiteY388" fmla="*/ 573366 h 1126447"/>
                    <a:gd name="connsiteX389" fmla="*/ 283872 w 493718"/>
                    <a:gd name="connsiteY389" fmla="*/ 582046 h 1126447"/>
                    <a:gd name="connsiteX390" fmla="*/ 280832 w 493718"/>
                    <a:gd name="connsiteY390" fmla="*/ 583920 h 1126447"/>
                    <a:gd name="connsiteX391" fmla="*/ 280009 w 493718"/>
                    <a:gd name="connsiteY391" fmla="*/ 584425 h 1126447"/>
                    <a:gd name="connsiteX392" fmla="*/ 279096 w 493718"/>
                    <a:gd name="connsiteY392" fmla="*/ 586300 h 1126447"/>
                    <a:gd name="connsiteX393" fmla="*/ 277164 w 493718"/>
                    <a:gd name="connsiteY393" fmla="*/ 594637 h 1126447"/>
                    <a:gd name="connsiteX394" fmla="*/ 276537 w 493718"/>
                    <a:gd name="connsiteY394" fmla="*/ 600048 h 1126447"/>
                    <a:gd name="connsiteX395" fmla="*/ 277368 w 493718"/>
                    <a:gd name="connsiteY395" fmla="*/ 603545 h 1126447"/>
                    <a:gd name="connsiteX396" fmla="*/ 281019 w 493718"/>
                    <a:gd name="connsiteY396" fmla="*/ 610888 h 1126447"/>
                    <a:gd name="connsiteX397" fmla="*/ 279642 w 493718"/>
                    <a:gd name="connsiteY397" fmla="*/ 615655 h 1126447"/>
                    <a:gd name="connsiteX398" fmla="*/ 277335 w 493718"/>
                    <a:gd name="connsiteY398" fmla="*/ 618255 h 1126447"/>
                    <a:gd name="connsiteX399" fmla="*/ 267336 w 493718"/>
                    <a:gd name="connsiteY399" fmla="*/ 623577 h 1126447"/>
                    <a:gd name="connsiteX400" fmla="*/ 263342 w 493718"/>
                    <a:gd name="connsiteY400" fmla="*/ 625720 h 1126447"/>
                    <a:gd name="connsiteX401" fmla="*/ 257051 w 493718"/>
                    <a:gd name="connsiteY401" fmla="*/ 627187 h 1126447"/>
                    <a:gd name="connsiteX402" fmla="*/ 246904 w 493718"/>
                    <a:gd name="connsiteY402" fmla="*/ 627423 h 1126447"/>
                    <a:gd name="connsiteX403" fmla="*/ 243155 w 493718"/>
                    <a:gd name="connsiteY403" fmla="*/ 627089 h 1126447"/>
                    <a:gd name="connsiteX404" fmla="*/ 234468 w 493718"/>
                    <a:gd name="connsiteY404" fmla="*/ 622232 h 1126447"/>
                    <a:gd name="connsiteX405" fmla="*/ 228013 w 493718"/>
                    <a:gd name="connsiteY405" fmla="*/ 619339 h 1126447"/>
                    <a:gd name="connsiteX406" fmla="*/ 222105 w 493718"/>
                    <a:gd name="connsiteY406" fmla="*/ 617024 h 1126447"/>
                    <a:gd name="connsiteX407" fmla="*/ 216359 w 493718"/>
                    <a:gd name="connsiteY407" fmla="*/ 615631 h 1126447"/>
                    <a:gd name="connsiteX408" fmla="*/ 217182 w 493718"/>
                    <a:gd name="connsiteY408" fmla="*/ 614930 h 1126447"/>
                    <a:gd name="connsiteX409" fmla="*/ 217565 w 493718"/>
                    <a:gd name="connsiteY409" fmla="*/ 613675 h 1126447"/>
                    <a:gd name="connsiteX410" fmla="*/ 215952 w 493718"/>
                    <a:gd name="connsiteY410" fmla="*/ 612974 h 1126447"/>
                    <a:gd name="connsiteX411" fmla="*/ 214778 w 493718"/>
                    <a:gd name="connsiteY411" fmla="*/ 612819 h 1126447"/>
                    <a:gd name="connsiteX412" fmla="*/ 210997 w 493718"/>
                    <a:gd name="connsiteY412" fmla="*/ 615338 h 1126447"/>
                    <a:gd name="connsiteX413" fmla="*/ 209407 w 493718"/>
                    <a:gd name="connsiteY413" fmla="*/ 617905 h 1126447"/>
                    <a:gd name="connsiteX414" fmla="*/ 208943 w 493718"/>
                    <a:gd name="connsiteY414" fmla="*/ 620170 h 1126447"/>
                    <a:gd name="connsiteX415" fmla="*/ 208869 w 493718"/>
                    <a:gd name="connsiteY415" fmla="*/ 625574 h 1126447"/>
                    <a:gd name="connsiteX416" fmla="*/ 209546 w 493718"/>
                    <a:gd name="connsiteY416" fmla="*/ 630137 h 1126447"/>
                    <a:gd name="connsiteX417" fmla="*/ 212260 w 493718"/>
                    <a:gd name="connsiteY417" fmla="*/ 641360 h 1126447"/>
                    <a:gd name="connsiteX418" fmla="*/ 212537 w 493718"/>
                    <a:gd name="connsiteY418" fmla="*/ 647464 h 1126447"/>
                    <a:gd name="connsiteX419" fmla="*/ 211249 w 493718"/>
                    <a:gd name="connsiteY419" fmla="*/ 655174 h 1126447"/>
                    <a:gd name="connsiteX420" fmla="*/ 213050 w 493718"/>
                    <a:gd name="connsiteY420" fmla="*/ 659713 h 1126447"/>
                    <a:gd name="connsiteX421" fmla="*/ 215243 w 493718"/>
                    <a:gd name="connsiteY421" fmla="*/ 661775 h 1126447"/>
                    <a:gd name="connsiteX422" fmla="*/ 220165 w 493718"/>
                    <a:gd name="connsiteY422" fmla="*/ 663804 h 1126447"/>
                    <a:gd name="connsiteX423" fmla="*/ 222080 w 493718"/>
                    <a:gd name="connsiteY423" fmla="*/ 665190 h 1126447"/>
                    <a:gd name="connsiteX424" fmla="*/ 224175 w 493718"/>
                    <a:gd name="connsiteY424" fmla="*/ 664969 h 1126447"/>
                    <a:gd name="connsiteX425" fmla="*/ 224819 w 493718"/>
                    <a:gd name="connsiteY425" fmla="*/ 665507 h 1126447"/>
                    <a:gd name="connsiteX426" fmla="*/ 224509 w 493718"/>
                    <a:gd name="connsiteY426" fmla="*/ 666502 h 1126447"/>
                    <a:gd name="connsiteX427" fmla="*/ 223270 w 493718"/>
                    <a:gd name="connsiteY427" fmla="*/ 668449 h 1126447"/>
                    <a:gd name="connsiteX428" fmla="*/ 223352 w 493718"/>
                    <a:gd name="connsiteY428" fmla="*/ 670527 h 1126447"/>
                    <a:gd name="connsiteX429" fmla="*/ 227084 w 493718"/>
                    <a:gd name="connsiteY429" fmla="*/ 671131 h 1126447"/>
                    <a:gd name="connsiteX430" fmla="*/ 230947 w 493718"/>
                    <a:gd name="connsiteY430" fmla="*/ 670715 h 1126447"/>
                    <a:gd name="connsiteX431" fmla="*/ 235006 w 493718"/>
                    <a:gd name="connsiteY431" fmla="*/ 669794 h 1126447"/>
                    <a:gd name="connsiteX432" fmla="*/ 235967 w 493718"/>
                    <a:gd name="connsiteY432" fmla="*/ 668360 h 1126447"/>
                    <a:gd name="connsiteX433" fmla="*/ 235992 w 493718"/>
                    <a:gd name="connsiteY433" fmla="*/ 665361 h 1126447"/>
                    <a:gd name="connsiteX434" fmla="*/ 231240 w 493718"/>
                    <a:gd name="connsiteY434" fmla="*/ 664839 h 1126447"/>
                    <a:gd name="connsiteX435" fmla="*/ 231844 w 493718"/>
                    <a:gd name="connsiteY435" fmla="*/ 663714 h 1126447"/>
                    <a:gd name="connsiteX436" fmla="*/ 235446 w 493718"/>
                    <a:gd name="connsiteY436" fmla="*/ 662492 h 1126447"/>
                    <a:gd name="connsiteX437" fmla="*/ 240173 w 493718"/>
                    <a:gd name="connsiteY437" fmla="*/ 660495 h 1126447"/>
                    <a:gd name="connsiteX438" fmla="*/ 242585 w 493718"/>
                    <a:gd name="connsiteY438" fmla="*/ 660128 h 1126447"/>
                    <a:gd name="connsiteX439" fmla="*/ 244223 w 493718"/>
                    <a:gd name="connsiteY439" fmla="*/ 661465 h 1126447"/>
                    <a:gd name="connsiteX440" fmla="*/ 245331 w 493718"/>
                    <a:gd name="connsiteY440" fmla="*/ 662704 h 1126447"/>
                    <a:gd name="connsiteX441" fmla="*/ 246692 w 493718"/>
                    <a:gd name="connsiteY441" fmla="*/ 665931 h 1126447"/>
                    <a:gd name="connsiteX442" fmla="*/ 247540 w 493718"/>
                    <a:gd name="connsiteY442" fmla="*/ 670193 h 1126447"/>
                    <a:gd name="connsiteX443" fmla="*/ 247573 w 493718"/>
                    <a:gd name="connsiteY443" fmla="*/ 675327 h 1126447"/>
                    <a:gd name="connsiteX444" fmla="*/ 247002 w 493718"/>
                    <a:gd name="connsiteY444" fmla="*/ 680177 h 1126447"/>
                    <a:gd name="connsiteX445" fmla="*/ 246326 w 493718"/>
                    <a:gd name="connsiteY445" fmla="*/ 681888 h 1126447"/>
                    <a:gd name="connsiteX446" fmla="*/ 245136 w 493718"/>
                    <a:gd name="connsiteY446" fmla="*/ 683950 h 1126447"/>
                    <a:gd name="connsiteX447" fmla="*/ 236644 w 493718"/>
                    <a:gd name="connsiteY447" fmla="*/ 686574 h 1126447"/>
                    <a:gd name="connsiteX448" fmla="*/ 234264 w 493718"/>
                    <a:gd name="connsiteY448" fmla="*/ 685890 h 1126447"/>
                    <a:gd name="connsiteX449" fmla="*/ 232055 w 493718"/>
                    <a:gd name="connsiteY449" fmla="*/ 682239 h 1126447"/>
                    <a:gd name="connsiteX450" fmla="*/ 231355 w 493718"/>
                    <a:gd name="connsiteY450" fmla="*/ 678449 h 1126447"/>
                    <a:gd name="connsiteX451" fmla="*/ 229464 w 493718"/>
                    <a:gd name="connsiteY451" fmla="*/ 675914 h 1126447"/>
                    <a:gd name="connsiteX452" fmla="*/ 225405 w 493718"/>
                    <a:gd name="connsiteY452" fmla="*/ 673885 h 1126447"/>
                    <a:gd name="connsiteX453" fmla="*/ 221371 w 493718"/>
                    <a:gd name="connsiteY453" fmla="*/ 674505 h 1126447"/>
                    <a:gd name="connsiteX454" fmla="*/ 217370 w 493718"/>
                    <a:gd name="connsiteY454" fmla="*/ 678017 h 1126447"/>
                    <a:gd name="connsiteX455" fmla="*/ 213433 w 493718"/>
                    <a:gd name="connsiteY455" fmla="*/ 679150 h 1126447"/>
                    <a:gd name="connsiteX456" fmla="*/ 212040 w 493718"/>
                    <a:gd name="connsiteY456" fmla="*/ 682353 h 1126447"/>
                    <a:gd name="connsiteX457" fmla="*/ 221901 w 493718"/>
                    <a:gd name="connsiteY457" fmla="*/ 687544 h 1126447"/>
                    <a:gd name="connsiteX458" fmla="*/ 226555 w 493718"/>
                    <a:gd name="connsiteY458" fmla="*/ 688987 h 1126447"/>
                    <a:gd name="connsiteX459" fmla="*/ 228070 w 493718"/>
                    <a:gd name="connsiteY459" fmla="*/ 688929 h 1126447"/>
                    <a:gd name="connsiteX460" fmla="*/ 229594 w 493718"/>
                    <a:gd name="connsiteY460" fmla="*/ 689622 h 1126447"/>
                    <a:gd name="connsiteX461" fmla="*/ 228193 w 493718"/>
                    <a:gd name="connsiteY461" fmla="*/ 691537 h 1126447"/>
                    <a:gd name="connsiteX462" fmla="*/ 226791 w 493718"/>
                    <a:gd name="connsiteY462" fmla="*/ 692736 h 1126447"/>
                    <a:gd name="connsiteX463" fmla="*/ 219766 w 493718"/>
                    <a:gd name="connsiteY463" fmla="*/ 695368 h 1126447"/>
                    <a:gd name="connsiteX464" fmla="*/ 216677 w 493718"/>
                    <a:gd name="connsiteY464" fmla="*/ 697226 h 1126447"/>
                    <a:gd name="connsiteX465" fmla="*/ 213067 w 493718"/>
                    <a:gd name="connsiteY465" fmla="*/ 700845 h 1126447"/>
                    <a:gd name="connsiteX466" fmla="*/ 208006 w 493718"/>
                    <a:gd name="connsiteY466" fmla="*/ 708774 h 1126447"/>
                    <a:gd name="connsiteX467" fmla="*/ 206457 w 493718"/>
                    <a:gd name="connsiteY467" fmla="*/ 710502 h 1126447"/>
                    <a:gd name="connsiteX468" fmla="*/ 205683 w 493718"/>
                    <a:gd name="connsiteY468" fmla="*/ 712523 h 1126447"/>
                    <a:gd name="connsiteX469" fmla="*/ 205161 w 493718"/>
                    <a:gd name="connsiteY469" fmla="*/ 718000 h 1126447"/>
                    <a:gd name="connsiteX470" fmla="*/ 206799 w 493718"/>
                    <a:gd name="connsiteY470" fmla="*/ 727079 h 1126447"/>
                    <a:gd name="connsiteX471" fmla="*/ 205072 w 493718"/>
                    <a:gd name="connsiteY471" fmla="*/ 730909 h 1126447"/>
                    <a:gd name="connsiteX472" fmla="*/ 206131 w 493718"/>
                    <a:gd name="connsiteY472" fmla="*/ 735147 h 1126447"/>
                    <a:gd name="connsiteX473" fmla="*/ 205528 w 493718"/>
                    <a:gd name="connsiteY473" fmla="*/ 737983 h 1126447"/>
                    <a:gd name="connsiteX474" fmla="*/ 203760 w 493718"/>
                    <a:gd name="connsiteY474" fmla="*/ 742041 h 1126447"/>
                    <a:gd name="connsiteX475" fmla="*/ 196661 w 493718"/>
                    <a:gd name="connsiteY475" fmla="*/ 748480 h 1126447"/>
                    <a:gd name="connsiteX476" fmla="*/ 195398 w 493718"/>
                    <a:gd name="connsiteY476" fmla="*/ 753198 h 1126447"/>
                    <a:gd name="connsiteX477" fmla="*/ 197859 w 493718"/>
                    <a:gd name="connsiteY477" fmla="*/ 755994 h 1126447"/>
                    <a:gd name="connsiteX478" fmla="*/ 197696 w 493718"/>
                    <a:gd name="connsiteY478" fmla="*/ 758423 h 1126447"/>
                    <a:gd name="connsiteX479" fmla="*/ 196873 w 493718"/>
                    <a:gd name="connsiteY479" fmla="*/ 760631 h 1126447"/>
                    <a:gd name="connsiteX480" fmla="*/ 193923 w 493718"/>
                    <a:gd name="connsiteY480" fmla="*/ 760607 h 1126447"/>
                    <a:gd name="connsiteX481" fmla="*/ 183198 w 493718"/>
                    <a:gd name="connsiteY481" fmla="*/ 759115 h 1126447"/>
                    <a:gd name="connsiteX482" fmla="*/ 179294 w 493718"/>
                    <a:gd name="connsiteY482" fmla="*/ 761527 h 1126447"/>
                    <a:gd name="connsiteX483" fmla="*/ 175676 w 493718"/>
                    <a:gd name="connsiteY483" fmla="*/ 764470 h 1126447"/>
                    <a:gd name="connsiteX484" fmla="*/ 174681 w 493718"/>
                    <a:gd name="connsiteY484" fmla="*/ 765879 h 1126447"/>
                    <a:gd name="connsiteX485" fmla="*/ 173402 w 493718"/>
                    <a:gd name="connsiteY485" fmla="*/ 766759 h 1126447"/>
                    <a:gd name="connsiteX486" fmla="*/ 166026 w 493718"/>
                    <a:gd name="connsiteY486" fmla="*/ 768341 h 1126447"/>
                    <a:gd name="connsiteX487" fmla="*/ 164560 w 493718"/>
                    <a:gd name="connsiteY487" fmla="*/ 769376 h 1126447"/>
                    <a:gd name="connsiteX488" fmla="*/ 156719 w 493718"/>
                    <a:gd name="connsiteY488" fmla="*/ 780630 h 1126447"/>
                    <a:gd name="connsiteX489" fmla="*/ 153362 w 493718"/>
                    <a:gd name="connsiteY489" fmla="*/ 787623 h 1126447"/>
                    <a:gd name="connsiteX490" fmla="*/ 149303 w 493718"/>
                    <a:gd name="connsiteY490" fmla="*/ 794485 h 1126447"/>
                    <a:gd name="connsiteX491" fmla="*/ 148235 w 493718"/>
                    <a:gd name="connsiteY491" fmla="*/ 797402 h 1126447"/>
                    <a:gd name="connsiteX492" fmla="*/ 147999 w 493718"/>
                    <a:gd name="connsiteY492" fmla="*/ 801445 h 1126447"/>
                    <a:gd name="connsiteX493" fmla="*/ 148570 w 493718"/>
                    <a:gd name="connsiteY493" fmla="*/ 805072 h 1126447"/>
                    <a:gd name="connsiteX494" fmla="*/ 149132 w 493718"/>
                    <a:gd name="connsiteY494" fmla="*/ 807761 h 1126447"/>
                    <a:gd name="connsiteX495" fmla="*/ 150542 w 493718"/>
                    <a:gd name="connsiteY495" fmla="*/ 811208 h 1126447"/>
                    <a:gd name="connsiteX496" fmla="*/ 153517 w 493718"/>
                    <a:gd name="connsiteY496" fmla="*/ 815144 h 1126447"/>
                    <a:gd name="connsiteX497" fmla="*/ 168642 w 493718"/>
                    <a:gd name="connsiteY497" fmla="*/ 831216 h 1126447"/>
                    <a:gd name="connsiteX498" fmla="*/ 171772 w 493718"/>
                    <a:gd name="connsiteY498" fmla="*/ 832609 h 1126447"/>
                    <a:gd name="connsiteX499" fmla="*/ 187941 w 493718"/>
                    <a:gd name="connsiteY499" fmla="*/ 834337 h 1126447"/>
                    <a:gd name="connsiteX500" fmla="*/ 191535 w 493718"/>
                    <a:gd name="connsiteY500" fmla="*/ 836578 h 1126447"/>
                    <a:gd name="connsiteX501" fmla="*/ 193630 w 493718"/>
                    <a:gd name="connsiteY501" fmla="*/ 840148 h 1126447"/>
                    <a:gd name="connsiteX502" fmla="*/ 194396 w 493718"/>
                    <a:gd name="connsiteY502" fmla="*/ 843302 h 1126447"/>
                    <a:gd name="connsiteX503" fmla="*/ 193467 w 493718"/>
                    <a:gd name="connsiteY503" fmla="*/ 851280 h 1126447"/>
                    <a:gd name="connsiteX504" fmla="*/ 192505 w 493718"/>
                    <a:gd name="connsiteY504" fmla="*/ 853774 h 1126447"/>
                    <a:gd name="connsiteX505" fmla="*/ 190720 w 493718"/>
                    <a:gd name="connsiteY505" fmla="*/ 856040 h 1126447"/>
                    <a:gd name="connsiteX506" fmla="*/ 186890 w 493718"/>
                    <a:gd name="connsiteY506" fmla="*/ 858966 h 1126447"/>
                    <a:gd name="connsiteX507" fmla="*/ 182309 w 493718"/>
                    <a:gd name="connsiteY507" fmla="*/ 860522 h 1126447"/>
                    <a:gd name="connsiteX508" fmla="*/ 183622 w 493718"/>
                    <a:gd name="connsiteY508" fmla="*/ 861622 h 1126447"/>
                    <a:gd name="connsiteX509" fmla="*/ 185488 w 493718"/>
                    <a:gd name="connsiteY509" fmla="*/ 861468 h 1126447"/>
                    <a:gd name="connsiteX510" fmla="*/ 189530 w 493718"/>
                    <a:gd name="connsiteY510" fmla="*/ 860522 h 1126447"/>
                    <a:gd name="connsiteX511" fmla="*/ 191282 w 493718"/>
                    <a:gd name="connsiteY511" fmla="*/ 861468 h 1126447"/>
                    <a:gd name="connsiteX512" fmla="*/ 192619 w 493718"/>
                    <a:gd name="connsiteY512" fmla="*/ 864622 h 1126447"/>
                    <a:gd name="connsiteX513" fmla="*/ 190076 w 493718"/>
                    <a:gd name="connsiteY513" fmla="*/ 865893 h 1126447"/>
                    <a:gd name="connsiteX514" fmla="*/ 189302 w 493718"/>
                    <a:gd name="connsiteY514" fmla="*/ 867417 h 1126447"/>
                    <a:gd name="connsiteX515" fmla="*/ 187468 w 493718"/>
                    <a:gd name="connsiteY515" fmla="*/ 869748 h 1126447"/>
                    <a:gd name="connsiteX516" fmla="*/ 178137 w 493718"/>
                    <a:gd name="connsiteY516" fmla="*/ 879022 h 1126447"/>
                    <a:gd name="connsiteX517" fmla="*/ 173100 w 493718"/>
                    <a:gd name="connsiteY517" fmla="*/ 881801 h 1126447"/>
                    <a:gd name="connsiteX518" fmla="*/ 168471 w 493718"/>
                    <a:gd name="connsiteY518" fmla="*/ 885534 h 1126447"/>
                    <a:gd name="connsiteX519" fmla="*/ 162269 w 493718"/>
                    <a:gd name="connsiteY519" fmla="*/ 889315 h 1126447"/>
                    <a:gd name="connsiteX520" fmla="*/ 159841 w 493718"/>
                    <a:gd name="connsiteY520" fmla="*/ 891475 h 1126447"/>
                    <a:gd name="connsiteX521" fmla="*/ 156556 w 493718"/>
                    <a:gd name="connsiteY521" fmla="*/ 896047 h 1126447"/>
                    <a:gd name="connsiteX522" fmla="*/ 151528 w 493718"/>
                    <a:gd name="connsiteY522" fmla="*/ 901010 h 1126447"/>
                    <a:gd name="connsiteX523" fmla="*/ 146100 w 493718"/>
                    <a:gd name="connsiteY523" fmla="*/ 911678 h 1126447"/>
                    <a:gd name="connsiteX524" fmla="*/ 145880 w 493718"/>
                    <a:gd name="connsiteY524" fmla="*/ 913756 h 1126447"/>
                    <a:gd name="connsiteX525" fmla="*/ 146663 w 493718"/>
                    <a:gd name="connsiteY525" fmla="*/ 915150 h 1126447"/>
                    <a:gd name="connsiteX526" fmla="*/ 143655 w 493718"/>
                    <a:gd name="connsiteY526" fmla="*/ 933919 h 1126447"/>
                    <a:gd name="connsiteX527" fmla="*/ 142596 w 493718"/>
                    <a:gd name="connsiteY527" fmla="*/ 936127 h 1126447"/>
                    <a:gd name="connsiteX528" fmla="*/ 140420 w 493718"/>
                    <a:gd name="connsiteY528" fmla="*/ 938491 h 1126447"/>
                    <a:gd name="connsiteX529" fmla="*/ 134666 w 493718"/>
                    <a:gd name="connsiteY529" fmla="*/ 942386 h 1126447"/>
                    <a:gd name="connsiteX530" fmla="*/ 131903 w 493718"/>
                    <a:gd name="connsiteY530" fmla="*/ 942883 h 1126447"/>
                    <a:gd name="connsiteX531" fmla="*/ 128244 w 493718"/>
                    <a:gd name="connsiteY531" fmla="*/ 940618 h 1126447"/>
                    <a:gd name="connsiteX532" fmla="*/ 126182 w 493718"/>
                    <a:gd name="connsiteY532" fmla="*/ 938262 h 1126447"/>
                    <a:gd name="connsiteX533" fmla="*/ 124161 w 493718"/>
                    <a:gd name="connsiteY533" fmla="*/ 934220 h 1126447"/>
                    <a:gd name="connsiteX534" fmla="*/ 121724 w 493718"/>
                    <a:gd name="connsiteY534" fmla="*/ 930056 h 1126447"/>
                    <a:gd name="connsiteX535" fmla="*/ 121594 w 493718"/>
                    <a:gd name="connsiteY535" fmla="*/ 931547 h 1126447"/>
                    <a:gd name="connsiteX536" fmla="*/ 122441 w 493718"/>
                    <a:gd name="connsiteY536" fmla="*/ 934074 h 1126447"/>
                    <a:gd name="connsiteX537" fmla="*/ 121871 w 493718"/>
                    <a:gd name="connsiteY537" fmla="*/ 936722 h 1126447"/>
                    <a:gd name="connsiteX538" fmla="*/ 115637 w 493718"/>
                    <a:gd name="connsiteY538" fmla="*/ 937929 h 1126447"/>
                    <a:gd name="connsiteX539" fmla="*/ 113982 w 493718"/>
                    <a:gd name="connsiteY539" fmla="*/ 939167 h 1126447"/>
                    <a:gd name="connsiteX540" fmla="*/ 119614 w 493718"/>
                    <a:gd name="connsiteY540" fmla="*/ 938621 h 1126447"/>
                    <a:gd name="connsiteX541" fmla="*/ 123444 w 493718"/>
                    <a:gd name="connsiteY541" fmla="*/ 939420 h 1126447"/>
                    <a:gd name="connsiteX542" fmla="*/ 125066 w 493718"/>
                    <a:gd name="connsiteY542" fmla="*/ 940390 h 1126447"/>
                    <a:gd name="connsiteX543" fmla="*/ 126533 w 493718"/>
                    <a:gd name="connsiteY543" fmla="*/ 942394 h 1126447"/>
                    <a:gd name="connsiteX544" fmla="*/ 127812 w 493718"/>
                    <a:gd name="connsiteY544" fmla="*/ 944823 h 1126447"/>
                    <a:gd name="connsiteX545" fmla="*/ 126736 w 493718"/>
                    <a:gd name="connsiteY545" fmla="*/ 946176 h 1126447"/>
                    <a:gd name="connsiteX546" fmla="*/ 123664 w 493718"/>
                    <a:gd name="connsiteY546" fmla="*/ 947292 h 1126447"/>
                    <a:gd name="connsiteX547" fmla="*/ 119687 w 493718"/>
                    <a:gd name="connsiteY547" fmla="*/ 949330 h 1126447"/>
                    <a:gd name="connsiteX548" fmla="*/ 114976 w 493718"/>
                    <a:gd name="connsiteY548" fmla="*/ 953022 h 1126447"/>
                    <a:gd name="connsiteX549" fmla="*/ 112368 w 493718"/>
                    <a:gd name="connsiteY549" fmla="*/ 957300 h 1126447"/>
                    <a:gd name="connsiteX550" fmla="*/ 111244 w 493718"/>
                    <a:gd name="connsiteY550" fmla="*/ 960373 h 1126447"/>
                    <a:gd name="connsiteX551" fmla="*/ 109972 w 493718"/>
                    <a:gd name="connsiteY551" fmla="*/ 966591 h 1126447"/>
                    <a:gd name="connsiteX552" fmla="*/ 109630 w 493718"/>
                    <a:gd name="connsiteY552" fmla="*/ 970690 h 1126447"/>
                    <a:gd name="connsiteX553" fmla="*/ 107642 w 493718"/>
                    <a:gd name="connsiteY553" fmla="*/ 973861 h 1126447"/>
                    <a:gd name="connsiteX554" fmla="*/ 104586 w 493718"/>
                    <a:gd name="connsiteY554" fmla="*/ 976705 h 1126447"/>
                    <a:gd name="connsiteX555" fmla="*/ 104757 w 493718"/>
                    <a:gd name="connsiteY555" fmla="*/ 977365 h 1126447"/>
                    <a:gd name="connsiteX556" fmla="*/ 106835 w 493718"/>
                    <a:gd name="connsiteY556" fmla="*/ 975906 h 1126447"/>
                    <a:gd name="connsiteX557" fmla="*/ 108497 w 493718"/>
                    <a:gd name="connsiteY557" fmla="*/ 975434 h 1126447"/>
                    <a:gd name="connsiteX558" fmla="*/ 109924 w 493718"/>
                    <a:gd name="connsiteY558" fmla="*/ 979239 h 1126447"/>
                    <a:gd name="connsiteX559" fmla="*/ 111847 w 493718"/>
                    <a:gd name="connsiteY559" fmla="*/ 986835 h 1126447"/>
                    <a:gd name="connsiteX560" fmla="*/ 112744 w 493718"/>
                    <a:gd name="connsiteY560" fmla="*/ 992108 h 1126447"/>
                    <a:gd name="connsiteX561" fmla="*/ 112597 w 493718"/>
                    <a:gd name="connsiteY561" fmla="*/ 993672 h 1126447"/>
                    <a:gd name="connsiteX562" fmla="*/ 112034 w 493718"/>
                    <a:gd name="connsiteY562" fmla="*/ 995832 h 1126447"/>
                    <a:gd name="connsiteX563" fmla="*/ 108074 w 493718"/>
                    <a:gd name="connsiteY563" fmla="*/ 996338 h 1126447"/>
                    <a:gd name="connsiteX564" fmla="*/ 104537 w 493718"/>
                    <a:gd name="connsiteY564" fmla="*/ 996272 h 1126447"/>
                    <a:gd name="connsiteX565" fmla="*/ 101937 w 493718"/>
                    <a:gd name="connsiteY565" fmla="*/ 997201 h 1126447"/>
                    <a:gd name="connsiteX566" fmla="*/ 103331 w 493718"/>
                    <a:gd name="connsiteY566" fmla="*/ 998147 h 1126447"/>
                    <a:gd name="connsiteX567" fmla="*/ 105718 w 493718"/>
                    <a:gd name="connsiteY567" fmla="*/ 997804 h 1126447"/>
                    <a:gd name="connsiteX568" fmla="*/ 109019 w 493718"/>
                    <a:gd name="connsiteY568" fmla="*/ 1000062 h 1126447"/>
                    <a:gd name="connsiteX569" fmla="*/ 112678 w 493718"/>
                    <a:gd name="connsiteY569" fmla="*/ 999108 h 1126447"/>
                    <a:gd name="connsiteX570" fmla="*/ 114349 w 493718"/>
                    <a:gd name="connsiteY570" fmla="*/ 1000616 h 1126447"/>
                    <a:gd name="connsiteX571" fmla="*/ 115555 w 493718"/>
                    <a:gd name="connsiteY571" fmla="*/ 1002002 h 1126447"/>
                    <a:gd name="connsiteX572" fmla="*/ 121162 w 493718"/>
                    <a:gd name="connsiteY572" fmla="*/ 1013044 h 1126447"/>
                    <a:gd name="connsiteX573" fmla="*/ 126060 w 493718"/>
                    <a:gd name="connsiteY573" fmla="*/ 1019890 h 1126447"/>
                    <a:gd name="connsiteX574" fmla="*/ 128538 w 493718"/>
                    <a:gd name="connsiteY574" fmla="*/ 1023957 h 1126447"/>
                    <a:gd name="connsiteX575" fmla="*/ 127307 w 493718"/>
                    <a:gd name="connsiteY575" fmla="*/ 1025807 h 1126447"/>
                    <a:gd name="connsiteX576" fmla="*/ 126867 w 493718"/>
                    <a:gd name="connsiteY576" fmla="*/ 1023346 h 1126447"/>
                    <a:gd name="connsiteX577" fmla="*/ 123680 w 493718"/>
                    <a:gd name="connsiteY577" fmla="*/ 1022710 h 1126447"/>
                    <a:gd name="connsiteX578" fmla="*/ 120567 w 493718"/>
                    <a:gd name="connsiteY578" fmla="*/ 1022050 h 1126447"/>
                    <a:gd name="connsiteX579" fmla="*/ 115376 w 493718"/>
                    <a:gd name="connsiteY579" fmla="*/ 1020298 h 1126447"/>
                    <a:gd name="connsiteX580" fmla="*/ 108383 w 493718"/>
                    <a:gd name="connsiteY580" fmla="*/ 1017616 h 1126447"/>
                    <a:gd name="connsiteX581" fmla="*/ 101391 w 493718"/>
                    <a:gd name="connsiteY581" fmla="*/ 1017616 h 1126447"/>
                    <a:gd name="connsiteX582" fmla="*/ 95825 w 493718"/>
                    <a:gd name="connsiteY582" fmla="*/ 1015367 h 1126447"/>
                    <a:gd name="connsiteX583" fmla="*/ 89688 w 493718"/>
                    <a:gd name="connsiteY583" fmla="*/ 1012865 h 1126447"/>
                    <a:gd name="connsiteX584" fmla="*/ 76730 w 493718"/>
                    <a:gd name="connsiteY584" fmla="*/ 1012653 h 1126447"/>
                    <a:gd name="connsiteX585" fmla="*/ 65312 w 493718"/>
                    <a:gd name="connsiteY585" fmla="*/ 1012498 h 1126447"/>
                    <a:gd name="connsiteX586" fmla="*/ 53617 w 493718"/>
                    <a:gd name="connsiteY586" fmla="*/ 1012336 h 1126447"/>
                    <a:gd name="connsiteX587" fmla="*/ 46128 w 493718"/>
                    <a:gd name="connsiteY587" fmla="*/ 1012238 h 1126447"/>
                    <a:gd name="connsiteX588" fmla="*/ 41116 w 493718"/>
                    <a:gd name="connsiteY588" fmla="*/ 1012172 h 1126447"/>
                    <a:gd name="connsiteX589" fmla="*/ 39820 w 493718"/>
                    <a:gd name="connsiteY589" fmla="*/ 1011227 h 1126447"/>
                    <a:gd name="connsiteX590" fmla="*/ 40260 w 493718"/>
                    <a:gd name="connsiteY590" fmla="*/ 1008130 h 1126447"/>
                    <a:gd name="connsiteX591" fmla="*/ 38402 w 493718"/>
                    <a:gd name="connsiteY591" fmla="*/ 1005848 h 1126447"/>
                    <a:gd name="connsiteX592" fmla="*/ 35704 w 493718"/>
                    <a:gd name="connsiteY592" fmla="*/ 1003086 h 1126447"/>
                    <a:gd name="connsiteX593" fmla="*/ 32428 w 493718"/>
                    <a:gd name="connsiteY593" fmla="*/ 1001138 h 1126447"/>
                    <a:gd name="connsiteX594" fmla="*/ 30806 w 493718"/>
                    <a:gd name="connsiteY594" fmla="*/ 998513 h 1126447"/>
                    <a:gd name="connsiteX595" fmla="*/ 28989 w 493718"/>
                    <a:gd name="connsiteY595" fmla="*/ 995587 h 1126447"/>
                    <a:gd name="connsiteX596" fmla="*/ 30007 w 493718"/>
                    <a:gd name="connsiteY596" fmla="*/ 992988 h 1126447"/>
                    <a:gd name="connsiteX597" fmla="*/ 31572 w 493718"/>
                    <a:gd name="connsiteY597" fmla="*/ 986672 h 1126447"/>
                    <a:gd name="connsiteX598" fmla="*/ 31613 w 493718"/>
                    <a:gd name="connsiteY598" fmla="*/ 983877 h 1126447"/>
                    <a:gd name="connsiteX599" fmla="*/ 30187 w 493718"/>
                    <a:gd name="connsiteY599" fmla="*/ 981937 h 1126447"/>
                    <a:gd name="connsiteX600" fmla="*/ 29746 w 493718"/>
                    <a:gd name="connsiteY600" fmla="*/ 979174 h 1126447"/>
                    <a:gd name="connsiteX601" fmla="*/ 30187 w 493718"/>
                    <a:gd name="connsiteY601" fmla="*/ 977878 h 1126447"/>
                    <a:gd name="connsiteX602" fmla="*/ 31474 w 493718"/>
                    <a:gd name="connsiteY602" fmla="*/ 976900 h 1126447"/>
                    <a:gd name="connsiteX603" fmla="*/ 32240 w 493718"/>
                    <a:gd name="connsiteY603" fmla="*/ 972377 h 1126447"/>
                    <a:gd name="connsiteX604" fmla="*/ 31645 w 493718"/>
                    <a:gd name="connsiteY604" fmla="*/ 967944 h 1126447"/>
                    <a:gd name="connsiteX605" fmla="*/ 30659 w 493718"/>
                    <a:gd name="connsiteY605" fmla="*/ 963991 h 1126447"/>
                    <a:gd name="connsiteX606" fmla="*/ 29355 w 493718"/>
                    <a:gd name="connsiteY606" fmla="*/ 962255 h 1126447"/>
                    <a:gd name="connsiteX607" fmla="*/ 27676 w 493718"/>
                    <a:gd name="connsiteY607" fmla="*/ 961416 h 1126447"/>
                    <a:gd name="connsiteX608" fmla="*/ 26446 w 493718"/>
                    <a:gd name="connsiteY608" fmla="*/ 961261 h 1126447"/>
                    <a:gd name="connsiteX609" fmla="*/ 23708 w 493718"/>
                    <a:gd name="connsiteY609" fmla="*/ 962736 h 1126447"/>
                    <a:gd name="connsiteX610" fmla="*/ 19160 w 493718"/>
                    <a:gd name="connsiteY610" fmla="*/ 962369 h 1126447"/>
                    <a:gd name="connsiteX611" fmla="*/ 17612 w 493718"/>
                    <a:gd name="connsiteY611" fmla="*/ 962932 h 1126447"/>
                    <a:gd name="connsiteX612" fmla="*/ 15395 w 493718"/>
                    <a:gd name="connsiteY612" fmla="*/ 964521 h 1126447"/>
                    <a:gd name="connsiteX613" fmla="*/ 12249 w 493718"/>
                    <a:gd name="connsiteY613" fmla="*/ 966860 h 1126447"/>
                    <a:gd name="connsiteX614" fmla="*/ 10497 w 493718"/>
                    <a:gd name="connsiteY614" fmla="*/ 966045 h 1126447"/>
                    <a:gd name="connsiteX615" fmla="*/ 9967 w 493718"/>
                    <a:gd name="connsiteY615" fmla="*/ 963535 h 1126447"/>
                    <a:gd name="connsiteX616" fmla="*/ 8802 w 493718"/>
                    <a:gd name="connsiteY616" fmla="*/ 961367 h 1126447"/>
                    <a:gd name="connsiteX617" fmla="*/ 8060 w 493718"/>
                    <a:gd name="connsiteY617" fmla="*/ 959460 h 1126447"/>
                    <a:gd name="connsiteX618" fmla="*/ 7498 w 493718"/>
                    <a:gd name="connsiteY618" fmla="*/ 956306 h 1126447"/>
                    <a:gd name="connsiteX619" fmla="*/ 6569 w 493718"/>
                    <a:gd name="connsiteY619" fmla="*/ 952264 h 1126447"/>
                    <a:gd name="connsiteX620" fmla="*/ 4711 w 493718"/>
                    <a:gd name="connsiteY620" fmla="*/ 947488 h 1126447"/>
                    <a:gd name="connsiteX621" fmla="*/ 1866 w 493718"/>
                    <a:gd name="connsiteY621" fmla="*/ 943625 h 1126447"/>
                    <a:gd name="connsiteX622" fmla="*/ 1703 w 493718"/>
                    <a:gd name="connsiteY622" fmla="*/ 940145 h 1126447"/>
                    <a:gd name="connsiteX623" fmla="*/ 1182 w 493718"/>
                    <a:gd name="connsiteY623" fmla="*/ 935810 h 1126447"/>
                    <a:gd name="connsiteX624" fmla="*/ 2624 w 493718"/>
                    <a:gd name="connsiteY624" fmla="*/ 931564 h 1126447"/>
                    <a:gd name="connsiteX625" fmla="*/ 1785 w 493718"/>
                    <a:gd name="connsiteY625" fmla="*/ 928051 h 1126447"/>
                    <a:gd name="connsiteX626" fmla="*/ 0 w 493718"/>
                    <a:gd name="connsiteY626" fmla="*/ 923870 h 1126447"/>
                    <a:gd name="connsiteX627" fmla="*/ 554 w 493718"/>
                    <a:gd name="connsiteY627" fmla="*/ 919542 h 1126447"/>
                    <a:gd name="connsiteX628" fmla="*/ 2298 w 493718"/>
                    <a:gd name="connsiteY628" fmla="*/ 917138 h 1126447"/>
                    <a:gd name="connsiteX629" fmla="*/ 2844 w 493718"/>
                    <a:gd name="connsiteY629" fmla="*/ 914107 h 1126447"/>
                    <a:gd name="connsiteX630" fmla="*/ 10937 w 493718"/>
                    <a:gd name="connsiteY630" fmla="*/ 913626 h 1126447"/>
                    <a:gd name="connsiteX631" fmla="*/ 10595 w 493718"/>
                    <a:gd name="connsiteY631" fmla="*/ 909543 h 1126447"/>
                    <a:gd name="connsiteX632" fmla="*/ 11948 w 493718"/>
                    <a:gd name="connsiteY632" fmla="*/ 906242 h 1126447"/>
                    <a:gd name="connsiteX633" fmla="*/ 13455 w 493718"/>
                    <a:gd name="connsiteY633" fmla="*/ 903259 h 1126447"/>
                    <a:gd name="connsiteX634" fmla="*/ 14743 w 493718"/>
                    <a:gd name="connsiteY634" fmla="*/ 901898 h 1126447"/>
                    <a:gd name="connsiteX635" fmla="*/ 17628 w 493718"/>
                    <a:gd name="connsiteY635" fmla="*/ 900709 h 1126447"/>
                    <a:gd name="connsiteX636" fmla="*/ 21026 w 493718"/>
                    <a:gd name="connsiteY636" fmla="*/ 898981 h 1126447"/>
                    <a:gd name="connsiteX637" fmla="*/ 22942 w 493718"/>
                    <a:gd name="connsiteY637" fmla="*/ 897009 h 1126447"/>
                    <a:gd name="connsiteX638" fmla="*/ 23854 w 493718"/>
                    <a:gd name="connsiteY638" fmla="*/ 895248 h 1126447"/>
                    <a:gd name="connsiteX639" fmla="*/ 24408 w 493718"/>
                    <a:gd name="connsiteY639" fmla="*/ 892966 h 1126447"/>
                    <a:gd name="connsiteX640" fmla="*/ 24555 w 493718"/>
                    <a:gd name="connsiteY640" fmla="*/ 890546 h 1126447"/>
                    <a:gd name="connsiteX641" fmla="*/ 24001 w 493718"/>
                    <a:gd name="connsiteY641" fmla="*/ 885387 h 1126447"/>
                    <a:gd name="connsiteX642" fmla="*/ 24629 w 493718"/>
                    <a:gd name="connsiteY642" fmla="*/ 883806 h 1126447"/>
                    <a:gd name="connsiteX643" fmla="*/ 26739 w 493718"/>
                    <a:gd name="connsiteY643" fmla="*/ 881720 h 1126447"/>
                    <a:gd name="connsiteX644" fmla="*/ 30293 w 493718"/>
                    <a:gd name="connsiteY644" fmla="*/ 879862 h 1126447"/>
                    <a:gd name="connsiteX645" fmla="*/ 31825 w 493718"/>
                    <a:gd name="connsiteY645" fmla="*/ 874939 h 1126447"/>
                    <a:gd name="connsiteX646" fmla="*/ 30953 w 493718"/>
                    <a:gd name="connsiteY646" fmla="*/ 870668 h 1126447"/>
                    <a:gd name="connsiteX647" fmla="*/ 28972 w 493718"/>
                    <a:gd name="connsiteY647" fmla="*/ 867294 h 1126447"/>
                    <a:gd name="connsiteX648" fmla="*/ 26462 w 493718"/>
                    <a:gd name="connsiteY648" fmla="*/ 865762 h 1126447"/>
                    <a:gd name="connsiteX649" fmla="*/ 26242 w 493718"/>
                    <a:gd name="connsiteY649" fmla="*/ 862282 h 1126447"/>
                    <a:gd name="connsiteX650" fmla="*/ 27375 w 493718"/>
                    <a:gd name="connsiteY650" fmla="*/ 858990 h 1126447"/>
                    <a:gd name="connsiteX651" fmla="*/ 28858 w 493718"/>
                    <a:gd name="connsiteY651" fmla="*/ 855445 h 1126447"/>
                    <a:gd name="connsiteX652" fmla="*/ 30618 w 493718"/>
                    <a:gd name="connsiteY652" fmla="*/ 851386 h 1126447"/>
                    <a:gd name="connsiteX653" fmla="*/ 30505 w 493718"/>
                    <a:gd name="connsiteY653" fmla="*/ 848559 h 1126447"/>
                    <a:gd name="connsiteX654" fmla="*/ 32069 w 493718"/>
                    <a:gd name="connsiteY654" fmla="*/ 846896 h 1126447"/>
                    <a:gd name="connsiteX655" fmla="*/ 36519 w 493718"/>
                    <a:gd name="connsiteY655" fmla="*/ 843204 h 1126447"/>
                    <a:gd name="connsiteX656" fmla="*/ 38051 w 493718"/>
                    <a:gd name="connsiteY656" fmla="*/ 839594 h 1126447"/>
                    <a:gd name="connsiteX657" fmla="*/ 39616 w 493718"/>
                    <a:gd name="connsiteY657" fmla="*/ 838608 h 1126447"/>
                    <a:gd name="connsiteX658" fmla="*/ 41441 w 493718"/>
                    <a:gd name="connsiteY658" fmla="*/ 838167 h 1126447"/>
                    <a:gd name="connsiteX659" fmla="*/ 41555 w 493718"/>
                    <a:gd name="connsiteY659" fmla="*/ 836122 h 1126447"/>
                    <a:gd name="connsiteX660" fmla="*/ 40219 w 493718"/>
                    <a:gd name="connsiteY660" fmla="*/ 834101 h 1126447"/>
                    <a:gd name="connsiteX661" fmla="*/ 39999 w 493718"/>
                    <a:gd name="connsiteY661" fmla="*/ 831558 h 1126447"/>
                    <a:gd name="connsiteX662" fmla="*/ 40154 w 493718"/>
                    <a:gd name="connsiteY662" fmla="*/ 828730 h 1126447"/>
                    <a:gd name="connsiteX663" fmla="*/ 40561 w 493718"/>
                    <a:gd name="connsiteY663" fmla="*/ 824981 h 1126447"/>
                    <a:gd name="connsiteX664" fmla="*/ 42639 w 493718"/>
                    <a:gd name="connsiteY664" fmla="*/ 823571 h 1126447"/>
                    <a:gd name="connsiteX665" fmla="*/ 45704 w 493718"/>
                    <a:gd name="connsiteY665" fmla="*/ 820523 h 1126447"/>
                    <a:gd name="connsiteX666" fmla="*/ 46527 w 493718"/>
                    <a:gd name="connsiteY666" fmla="*/ 818600 h 1126447"/>
                    <a:gd name="connsiteX667" fmla="*/ 46641 w 493718"/>
                    <a:gd name="connsiteY667" fmla="*/ 816008 h 1126447"/>
                    <a:gd name="connsiteX668" fmla="*/ 45753 w 493718"/>
                    <a:gd name="connsiteY668" fmla="*/ 810670 h 1126447"/>
                    <a:gd name="connsiteX669" fmla="*/ 44986 w 493718"/>
                    <a:gd name="connsiteY669" fmla="*/ 806840 h 1126447"/>
                    <a:gd name="connsiteX670" fmla="*/ 44603 w 493718"/>
                    <a:gd name="connsiteY670" fmla="*/ 805422 h 1126447"/>
                    <a:gd name="connsiteX671" fmla="*/ 43202 w 493718"/>
                    <a:gd name="connsiteY671" fmla="*/ 802838 h 1126447"/>
                    <a:gd name="connsiteX672" fmla="*/ 42167 w 493718"/>
                    <a:gd name="connsiteY672" fmla="*/ 801200 h 1126447"/>
                    <a:gd name="connsiteX673" fmla="*/ 43813 w 493718"/>
                    <a:gd name="connsiteY673" fmla="*/ 799163 h 1126447"/>
                    <a:gd name="connsiteX674" fmla="*/ 46910 w 493718"/>
                    <a:gd name="connsiteY674" fmla="*/ 797003 h 1126447"/>
                    <a:gd name="connsiteX675" fmla="*/ 48222 w 493718"/>
                    <a:gd name="connsiteY675" fmla="*/ 793890 h 1126447"/>
                    <a:gd name="connsiteX676" fmla="*/ 47016 w 493718"/>
                    <a:gd name="connsiteY676" fmla="*/ 791241 h 1126447"/>
                    <a:gd name="connsiteX677" fmla="*/ 45264 w 493718"/>
                    <a:gd name="connsiteY677" fmla="*/ 789840 h 1126447"/>
                    <a:gd name="connsiteX678" fmla="*/ 44718 w 493718"/>
                    <a:gd name="connsiteY678" fmla="*/ 785797 h 1126447"/>
                    <a:gd name="connsiteX679" fmla="*/ 45378 w 493718"/>
                    <a:gd name="connsiteY679" fmla="*/ 780663 h 1126447"/>
                    <a:gd name="connsiteX680" fmla="*/ 46690 w 493718"/>
                    <a:gd name="connsiteY680" fmla="*/ 779106 h 1126447"/>
                    <a:gd name="connsiteX681" fmla="*/ 51286 w 493718"/>
                    <a:gd name="connsiteY681" fmla="*/ 778340 h 1126447"/>
                    <a:gd name="connsiteX682" fmla="*/ 51726 w 493718"/>
                    <a:gd name="connsiteY682" fmla="*/ 775700 h 1126447"/>
                    <a:gd name="connsiteX683" fmla="*/ 55223 w 493718"/>
                    <a:gd name="connsiteY683" fmla="*/ 771975 h 1126447"/>
                    <a:gd name="connsiteX684" fmla="*/ 55117 w 493718"/>
                    <a:gd name="connsiteY684" fmla="*/ 768414 h 1126447"/>
                    <a:gd name="connsiteX685" fmla="*/ 52892 w 493718"/>
                    <a:gd name="connsiteY685" fmla="*/ 766222 h 1126447"/>
                    <a:gd name="connsiteX686" fmla="*/ 50716 w 493718"/>
                    <a:gd name="connsiteY686" fmla="*/ 762693 h 1126447"/>
                    <a:gd name="connsiteX687" fmla="*/ 49102 w 493718"/>
                    <a:gd name="connsiteY687" fmla="*/ 759580 h 1126447"/>
                    <a:gd name="connsiteX688" fmla="*/ 43748 w 493718"/>
                    <a:gd name="connsiteY688" fmla="*/ 757876 h 1126447"/>
                    <a:gd name="connsiteX689" fmla="*/ 38059 w 493718"/>
                    <a:gd name="connsiteY689" fmla="*/ 756947 h 1126447"/>
                    <a:gd name="connsiteX690" fmla="*/ 37293 w 493718"/>
                    <a:gd name="connsiteY690" fmla="*/ 754021 h 1126447"/>
                    <a:gd name="connsiteX691" fmla="*/ 37513 w 493718"/>
                    <a:gd name="connsiteY691" fmla="*/ 752318 h 1126447"/>
                    <a:gd name="connsiteX692" fmla="*/ 40162 w 493718"/>
                    <a:gd name="connsiteY692" fmla="*/ 753011 h 1126447"/>
                    <a:gd name="connsiteX693" fmla="*/ 44481 w 493718"/>
                    <a:gd name="connsiteY693" fmla="*/ 752408 h 1126447"/>
                    <a:gd name="connsiteX694" fmla="*/ 47733 w 493718"/>
                    <a:gd name="connsiteY694" fmla="*/ 752269 h 1126447"/>
                    <a:gd name="connsiteX695" fmla="*/ 49999 w 493718"/>
                    <a:gd name="connsiteY695" fmla="*/ 751976 h 1126447"/>
                    <a:gd name="connsiteX696" fmla="*/ 52606 w 493718"/>
                    <a:gd name="connsiteY696" fmla="*/ 751544 h 1126447"/>
                    <a:gd name="connsiteX697" fmla="*/ 55019 w 493718"/>
                    <a:gd name="connsiteY697" fmla="*/ 752783 h 1126447"/>
                    <a:gd name="connsiteX698" fmla="*/ 57423 w 493718"/>
                    <a:gd name="connsiteY698" fmla="*/ 752008 h 1126447"/>
                    <a:gd name="connsiteX699" fmla="*/ 58409 w 493718"/>
                    <a:gd name="connsiteY699" fmla="*/ 747379 h 1126447"/>
                    <a:gd name="connsiteX700" fmla="*/ 59941 w 493718"/>
                    <a:gd name="connsiteY700" fmla="*/ 744910 h 1126447"/>
                    <a:gd name="connsiteX701" fmla="*/ 60161 w 493718"/>
                    <a:gd name="connsiteY701" fmla="*/ 742604 h 1126447"/>
                    <a:gd name="connsiteX702" fmla="*/ 58629 w 493718"/>
                    <a:gd name="connsiteY702" fmla="*/ 740746 h 1126447"/>
                    <a:gd name="connsiteX703" fmla="*/ 55826 w 493718"/>
                    <a:gd name="connsiteY703" fmla="*/ 740183 h 1126447"/>
                    <a:gd name="connsiteX704" fmla="*/ 43569 w 493718"/>
                    <a:gd name="connsiteY704" fmla="*/ 738725 h 1126447"/>
                    <a:gd name="connsiteX705" fmla="*/ 43193 w 493718"/>
                    <a:gd name="connsiteY705" fmla="*/ 736866 h 1126447"/>
                    <a:gd name="connsiteX706" fmla="*/ 43299 w 493718"/>
                    <a:gd name="connsiteY706" fmla="*/ 733769 h 1126447"/>
                    <a:gd name="connsiteX707" fmla="*/ 43764 w 493718"/>
                    <a:gd name="connsiteY707" fmla="*/ 730607 h 1126447"/>
                    <a:gd name="connsiteX708" fmla="*/ 43756 w 493718"/>
                    <a:gd name="connsiteY708" fmla="*/ 729051 h 1126447"/>
                    <a:gd name="connsiteX709" fmla="*/ 44880 w 493718"/>
                    <a:gd name="connsiteY709" fmla="*/ 727674 h 1126447"/>
                    <a:gd name="connsiteX710" fmla="*/ 46144 w 493718"/>
                    <a:gd name="connsiteY710" fmla="*/ 724813 h 1126447"/>
                    <a:gd name="connsiteX711" fmla="*/ 47040 w 493718"/>
                    <a:gd name="connsiteY711" fmla="*/ 722898 h 1126447"/>
                    <a:gd name="connsiteX712" fmla="*/ 46152 w 493718"/>
                    <a:gd name="connsiteY712" fmla="*/ 720428 h 1126447"/>
                    <a:gd name="connsiteX713" fmla="*/ 44204 w 493718"/>
                    <a:gd name="connsiteY713" fmla="*/ 716769 h 1126447"/>
                    <a:gd name="connsiteX714" fmla="*/ 45622 w 493718"/>
                    <a:gd name="connsiteY714" fmla="*/ 715090 h 1126447"/>
                    <a:gd name="connsiteX715" fmla="*/ 45736 w 493718"/>
                    <a:gd name="connsiteY715" fmla="*/ 713069 h 1126447"/>
                    <a:gd name="connsiteX716" fmla="*/ 45296 w 493718"/>
                    <a:gd name="connsiteY716" fmla="*/ 711105 h 1126447"/>
                    <a:gd name="connsiteX717" fmla="*/ 43267 w 493718"/>
                    <a:gd name="connsiteY717" fmla="*/ 708913 h 1126447"/>
                    <a:gd name="connsiteX718" fmla="*/ 41466 w 493718"/>
                    <a:gd name="connsiteY718" fmla="*/ 705905 h 1126447"/>
                    <a:gd name="connsiteX719" fmla="*/ 41466 w 493718"/>
                    <a:gd name="connsiteY719" fmla="*/ 702678 h 1126447"/>
                    <a:gd name="connsiteX720" fmla="*/ 43569 w 493718"/>
                    <a:gd name="connsiteY720" fmla="*/ 701823 h 1126447"/>
                    <a:gd name="connsiteX721" fmla="*/ 44970 w 493718"/>
                    <a:gd name="connsiteY721" fmla="*/ 700853 h 1126447"/>
                    <a:gd name="connsiteX722" fmla="*/ 45296 w 493718"/>
                    <a:gd name="connsiteY722" fmla="*/ 698856 h 1126447"/>
                    <a:gd name="connsiteX723" fmla="*/ 44530 w 493718"/>
                    <a:gd name="connsiteY723" fmla="*/ 696419 h 1126447"/>
                    <a:gd name="connsiteX724" fmla="*/ 41629 w 493718"/>
                    <a:gd name="connsiteY724" fmla="*/ 695669 h 1126447"/>
                    <a:gd name="connsiteX725" fmla="*/ 37758 w 493718"/>
                    <a:gd name="connsiteY725" fmla="*/ 694170 h 1126447"/>
                    <a:gd name="connsiteX726" fmla="*/ 36568 w 493718"/>
                    <a:gd name="connsiteY726" fmla="*/ 692915 h 1126447"/>
                    <a:gd name="connsiteX727" fmla="*/ 35476 w 493718"/>
                    <a:gd name="connsiteY727" fmla="*/ 690307 h 1126447"/>
                    <a:gd name="connsiteX728" fmla="*/ 36291 w 493718"/>
                    <a:gd name="connsiteY728" fmla="*/ 682932 h 1126447"/>
                    <a:gd name="connsiteX729" fmla="*/ 35883 w 493718"/>
                    <a:gd name="connsiteY729" fmla="*/ 678498 h 1126447"/>
                    <a:gd name="connsiteX730" fmla="*/ 35541 w 493718"/>
                    <a:gd name="connsiteY730" fmla="*/ 676045 h 1126447"/>
                    <a:gd name="connsiteX731" fmla="*/ 36494 w 493718"/>
                    <a:gd name="connsiteY731" fmla="*/ 674162 h 1126447"/>
                    <a:gd name="connsiteX732" fmla="*/ 37782 w 493718"/>
                    <a:gd name="connsiteY732" fmla="*/ 672467 h 1126447"/>
                    <a:gd name="connsiteX733" fmla="*/ 37171 w 493718"/>
                    <a:gd name="connsiteY733" fmla="*/ 668523 h 1126447"/>
                    <a:gd name="connsiteX734" fmla="*/ 36022 w 493718"/>
                    <a:gd name="connsiteY734" fmla="*/ 666453 h 1126447"/>
                    <a:gd name="connsiteX735" fmla="*/ 36429 w 493718"/>
                    <a:gd name="connsiteY735" fmla="*/ 664847 h 1126447"/>
                    <a:gd name="connsiteX736" fmla="*/ 37513 w 493718"/>
                    <a:gd name="connsiteY736" fmla="*/ 663258 h 1126447"/>
                    <a:gd name="connsiteX737" fmla="*/ 38467 w 493718"/>
                    <a:gd name="connsiteY737" fmla="*/ 661269 h 1126447"/>
                    <a:gd name="connsiteX738" fmla="*/ 39282 w 493718"/>
                    <a:gd name="connsiteY738" fmla="*/ 660805 h 1126447"/>
                    <a:gd name="connsiteX739" fmla="*/ 40504 w 493718"/>
                    <a:gd name="connsiteY739" fmla="*/ 661937 h 1126447"/>
                    <a:gd name="connsiteX740" fmla="*/ 42574 w 493718"/>
                    <a:gd name="connsiteY740" fmla="*/ 661269 h 1126447"/>
                    <a:gd name="connsiteX741" fmla="*/ 45052 w 493718"/>
                    <a:gd name="connsiteY741" fmla="*/ 659680 h 1126447"/>
                    <a:gd name="connsiteX742" fmla="*/ 45321 w 493718"/>
                    <a:gd name="connsiteY742" fmla="*/ 657814 h 1126447"/>
                    <a:gd name="connsiteX743" fmla="*/ 44824 w 493718"/>
                    <a:gd name="connsiteY743" fmla="*/ 655116 h 1126447"/>
                    <a:gd name="connsiteX744" fmla="*/ 42974 w 493718"/>
                    <a:gd name="connsiteY744" fmla="*/ 648368 h 1126447"/>
                    <a:gd name="connsiteX745" fmla="*/ 41319 w 493718"/>
                    <a:gd name="connsiteY745" fmla="*/ 644204 h 1126447"/>
                    <a:gd name="connsiteX746" fmla="*/ 41661 w 493718"/>
                    <a:gd name="connsiteY746" fmla="*/ 642696 h 1126447"/>
                    <a:gd name="connsiteX747" fmla="*/ 42314 w 493718"/>
                    <a:gd name="connsiteY747" fmla="*/ 641123 h 1126447"/>
                    <a:gd name="connsiteX748" fmla="*/ 41792 w 493718"/>
                    <a:gd name="connsiteY748" fmla="*/ 635411 h 1126447"/>
                    <a:gd name="connsiteX749" fmla="*/ 41963 w 493718"/>
                    <a:gd name="connsiteY749" fmla="*/ 631946 h 1126447"/>
                    <a:gd name="connsiteX750" fmla="*/ 42085 w 493718"/>
                    <a:gd name="connsiteY750" fmla="*/ 621784 h 1126447"/>
                    <a:gd name="connsiteX751" fmla="*/ 42273 w 493718"/>
                    <a:gd name="connsiteY751" fmla="*/ 618312 h 1126447"/>
                    <a:gd name="connsiteX752" fmla="*/ 40578 w 493718"/>
                    <a:gd name="connsiteY752" fmla="*/ 614767 h 1126447"/>
                    <a:gd name="connsiteX753" fmla="*/ 40806 w 493718"/>
                    <a:gd name="connsiteY753" fmla="*/ 611450 h 1126447"/>
                    <a:gd name="connsiteX754" fmla="*/ 42004 w 493718"/>
                    <a:gd name="connsiteY754" fmla="*/ 609021 h 1126447"/>
                    <a:gd name="connsiteX755" fmla="*/ 43128 w 493718"/>
                    <a:gd name="connsiteY755" fmla="*/ 605753 h 1126447"/>
                    <a:gd name="connsiteX756" fmla="*/ 43976 w 493718"/>
                    <a:gd name="connsiteY756" fmla="*/ 602868 h 1126447"/>
                    <a:gd name="connsiteX757" fmla="*/ 44856 w 493718"/>
                    <a:gd name="connsiteY757" fmla="*/ 601556 h 1126447"/>
                    <a:gd name="connsiteX758" fmla="*/ 46348 w 493718"/>
                    <a:gd name="connsiteY758" fmla="*/ 600904 h 1126447"/>
                    <a:gd name="connsiteX759" fmla="*/ 46682 w 493718"/>
                    <a:gd name="connsiteY759" fmla="*/ 599332 h 1126447"/>
                    <a:gd name="connsiteX760" fmla="*/ 46005 w 493718"/>
                    <a:gd name="connsiteY760" fmla="*/ 598133 h 1126447"/>
                    <a:gd name="connsiteX761" fmla="*/ 44074 w 493718"/>
                    <a:gd name="connsiteY761" fmla="*/ 596251 h 1126447"/>
                    <a:gd name="connsiteX762" fmla="*/ 43634 w 493718"/>
                    <a:gd name="connsiteY762" fmla="*/ 593961 h 1126447"/>
                    <a:gd name="connsiteX763" fmla="*/ 44041 w 493718"/>
                    <a:gd name="connsiteY763" fmla="*/ 592201 h 1126447"/>
                    <a:gd name="connsiteX764" fmla="*/ 44995 w 493718"/>
                    <a:gd name="connsiteY764" fmla="*/ 591165 h 1126447"/>
                    <a:gd name="connsiteX765" fmla="*/ 46470 w 493718"/>
                    <a:gd name="connsiteY765" fmla="*/ 591173 h 1126447"/>
                    <a:gd name="connsiteX766" fmla="*/ 47570 w 493718"/>
                    <a:gd name="connsiteY766" fmla="*/ 588663 h 1126447"/>
                    <a:gd name="connsiteX767" fmla="*/ 47888 w 493718"/>
                    <a:gd name="connsiteY767" fmla="*/ 585567 h 1126447"/>
                    <a:gd name="connsiteX768" fmla="*/ 48116 w 493718"/>
                    <a:gd name="connsiteY768" fmla="*/ 584124 h 1126447"/>
                    <a:gd name="connsiteX769" fmla="*/ 47268 w 493718"/>
                    <a:gd name="connsiteY769" fmla="*/ 582306 h 1126447"/>
                    <a:gd name="connsiteX770" fmla="*/ 46657 w 493718"/>
                    <a:gd name="connsiteY770" fmla="*/ 578036 h 1126447"/>
                    <a:gd name="connsiteX771" fmla="*/ 46079 w 493718"/>
                    <a:gd name="connsiteY771" fmla="*/ 575599 h 1126447"/>
                    <a:gd name="connsiteX772" fmla="*/ 46755 w 493718"/>
                    <a:gd name="connsiteY772" fmla="*/ 574581 h 1126447"/>
                    <a:gd name="connsiteX773" fmla="*/ 47709 w 493718"/>
                    <a:gd name="connsiteY773" fmla="*/ 574206 h 1126447"/>
                    <a:gd name="connsiteX774" fmla="*/ 49379 w 493718"/>
                    <a:gd name="connsiteY774" fmla="*/ 574784 h 1126447"/>
                    <a:gd name="connsiteX775" fmla="*/ 50561 w 493718"/>
                    <a:gd name="connsiteY775" fmla="*/ 574491 h 1126447"/>
                    <a:gd name="connsiteX776" fmla="*/ 50765 w 493718"/>
                    <a:gd name="connsiteY776" fmla="*/ 573203 h 1126447"/>
                    <a:gd name="connsiteX777" fmla="*/ 50903 w 493718"/>
                    <a:gd name="connsiteY777" fmla="*/ 571810 h 1126447"/>
                    <a:gd name="connsiteX778" fmla="*/ 51351 w 493718"/>
                    <a:gd name="connsiteY778" fmla="*/ 570864 h 1126447"/>
                    <a:gd name="connsiteX779" fmla="*/ 52403 w 493718"/>
                    <a:gd name="connsiteY779" fmla="*/ 567735 h 1126447"/>
                    <a:gd name="connsiteX780" fmla="*/ 53527 w 493718"/>
                    <a:gd name="connsiteY780" fmla="*/ 563839 h 1126447"/>
                    <a:gd name="connsiteX781" fmla="*/ 53796 w 493718"/>
                    <a:gd name="connsiteY781" fmla="*/ 561093 h 1126447"/>
                    <a:gd name="connsiteX782" fmla="*/ 53397 w 493718"/>
                    <a:gd name="connsiteY782" fmla="*/ 553676 h 1126447"/>
                    <a:gd name="connsiteX783" fmla="*/ 53992 w 493718"/>
                    <a:gd name="connsiteY783" fmla="*/ 551957 h 1126447"/>
                    <a:gd name="connsiteX784" fmla="*/ 55190 w 493718"/>
                    <a:gd name="connsiteY784" fmla="*/ 550408 h 1126447"/>
                    <a:gd name="connsiteX785" fmla="*/ 56861 w 493718"/>
                    <a:gd name="connsiteY785" fmla="*/ 548950 h 1126447"/>
                    <a:gd name="connsiteX786" fmla="*/ 59061 w 493718"/>
                    <a:gd name="connsiteY786" fmla="*/ 547735 h 1126447"/>
                    <a:gd name="connsiteX787" fmla="*/ 61791 w 493718"/>
                    <a:gd name="connsiteY787" fmla="*/ 545991 h 1126447"/>
                    <a:gd name="connsiteX788" fmla="*/ 65149 w 493718"/>
                    <a:gd name="connsiteY788" fmla="*/ 545348 h 1126447"/>
                    <a:gd name="connsiteX789" fmla="*/ 66510 w 493718"/>
                    <a:gd name="connsiteY789" fmla="*/ 543416 h 1126447"/>
                    <a:gd name="connsiteX790" fmla="*/ 67455 w 493718"/>
                    <a:gd name="connsiteY790" fmla="*/ 540857 h 1126447"/>
                    <a:gd name="connsiteX791" fmla="*/ 67732 w 493718"/>
                    <a:gd name="connsiteY791" fmla="*/ 538730 h 1126447"/>
                    <a:gd name="connsiteX792" fmla="*/ 66445 w 493718"/>
                    <a:gd name="connsiteY792" fmla="*/ 537263 h 1126447"/>
                    <a:gd name="connsiteX793" fmla="*/ 64750 w 493718"/>
                    <a:gd name="connsiteY793" fmla="*/ 535519 h 1126447"/>
                    <a:gd name="connsiteX794" fmla="*/ 63943 w 493718"/>
                    <a:gd name="connsiteY794" fmla="*/ 531118 h 1126447"/>
                    <a:gd name="connsiteX795" fmla="*/ 63511 w 493718"/>
                    <a:gd name="connsiteY795" fmla="*/ 527068 h 1126447"/>
                    <a:gd name="connsiteX796" fmla="*/ 63258 w 493718"/>
                    <a:gd name="connsiteY796" fmla="*/ 521958 h 1126447"/>
                    <a:gd name="connsiteX797" fmla="*/ 61571 w 493718"/>
                    <a:gd name="connsiteY797" fmla="*/ 517557 h 1126447"/>
                    <a:gd name="connsiteX798" fmla="*/ 59803 w 493718"/>
                    <a:gd name="connsiteY798" fmla="*/ 512618 h 1126447"/>
                    <a:gd name="connsiteX799" fmla="*/ 59322 w 493718"/>
                    <a:gd name="connsiteY799" fmla="*/ 508234 h 1126447"/>
                    <a:gd name="connsiteX800" fmla="*/ 59917 w 493718"/>
                    <a:gd name="connsiteY800" fmla="*/ 505830 h 1126447"/>
                    <a:gd name="connsiteX801" fmla="*/ 60618 w 493718"/>
                    <a:gd name="connsiteY801" fmla="*/ 502015 h 1126447"/>
                    <a:gd name="connsiteX802" fmla="*/ 59868 w 493718"/>
                    <a:gd name="connsiteY802" fmla="*/ 500288 h 1126447"/>
                    <a:gd name="connsiteX803" fmla="*/ 58988 w 493718"/>
                    <a:gd name="connsiteY803" fmla="*/ 497183 h 1126447"/>
                    <a:gd name="connsiteX804" fmla="*/ 59901 w 493718"/>
                    <a:gd name="connsiteY804" fmla="*/ 494754 h 1126447"/>
                    <a:gd name="connsiteX805" fmla="*/ 61017 w 493718"/>
                    <a:gd name="connsiteY805" fmla="*/ 490981 h 1126447"/>
                    <a:gd name="connsiteX806" fmla="*/ 60879 w 493718"/>
                    <a:gd name="connsiteY806" fmla="*/ 489073 h 1126447"/>
                    <a:gd name="connsiteX807" fmla="*/ 59990 w 493718"/>
                    <a:gd name="connsiteY807" fmla="*/ 484518 h 1126447"/>
                    <a:gd name="connsiteX808" fmla="*/ 59175 w 493718"/>
                    <a:gd name="connsiteY808" fmla="*/ 481975 h 1126447"/>
                    <a:gd name="connsiteX809" fmla="*/ 59990 w 493718"/>
                    <a:gd name="connsiteY809" fmla="*/ 479253 h 1126447"/>
                    <a:gd name="connsiteX810" fmla="*/ 61286 w 493718"/>
                    <a:gd name="connsiteY810" fmla="*/ 476711 h 1126447"/>
                    <a:gd name="connsiteX811" fmla="*/ 62305 w 493718"/>
                    <a:gd name="connsiteY811" fmla="*/ 475341 h 1126447"/>
                    <a:gd name="connsiteX812" fmla="*/ 62134 w 493718"/>
                    <a:gd name="connsiteY812" fmla="*/ 473149 h 1126447"/>
                    <a:gd name="connsiteX813" fmla="*/ 62574 w 493718"/>
                    <a:gd name="connsiteY813" fmla="*/ 471340 h 1126447"/>
                    <a:gd name="connsiteX814" fmla="*/ 64497 w 493718"/>
                    <a:gd name="connsiteY814" fmla="*/ 470134 h 1126447"/>
                    <a:gd name="connsiteX815" fmla="*/ 66306 w 493718"/>
                    <a:gd name="connsiteY815" fmla="*/ 467901 h 1126447"/>
                    <a:gd name="connsiteX816" fmla="*/ 67594 w 493718"/>
                    <a:gd name="connsiteY816" fmla="*/ 467632 h 1126447"/>
                    <a:gd name="connsiteX817" fmla="*/ 69151 w 493718"/>
                    <a:gd name="connsiteY817" fmla="*/ 467632 h 1126447"/>
                    <a:gd name="connsiteX818" fmla="*/ 70169 w 493718"/>
                    <a:gd name="connsiteY818" fmla="*/ 467012 h 1126447"/>
                    <a:gd name="connsiteX819" fmla="*/ 70577 w 493718"/>
                    <a:gd name="connsiteY819" fmla="*/ 465276 h 1126447"/>
                    <a:gd name="connsiteX820" fmla="*/ 70846 w 493718"/>
                    <a:gd name="connsiteY820" fmla="*/ 463386 h 1126447"/>
                    <a:gd name="connsiteX821" fmla="*/ 73331 w 493718"/>
                    <a:gd name="connsiteY821" fmla="*/ 461014 h 1126447"/>
                    <a:gd name="connsiteX822" fmla="*/ 74782 w 493718"/>
                    <a:gd name="connsiteY822" fmla="*/ 458846 h 1126447"/>
                    <a:gd name="connsiteX823" fmla="*/ 77431 w 493718"/>
                    <a:gd name="connsiteY823" fmla="*/ 458382 h 1126447"/>
                    <a:gd name="connsiteX824" fmla="*/ 78718 w 493718"/>
                    <a:gd name="connsiteY824" fmla="*/ 456027 h 1126447"/>
                    <a:gd name="connsiteX825" fmla="*/ 78743 w 493718"/>
                    <a:gd name="connsiteY825" fmla="*/ 453019 h 1126447"/>
                    <a:gd name="connsiteX826" fmla="*/ 78441 w 493718"/>
                    <a:gd name="connsiteY826" fmla="*/ 449971 h 1126447"/>
                    <a:gd name="connsiteX827" fmla="*/ 79321 w 493718"/>
                    <a:gd name="connsiteY827" fmla="*/ 446442 h 1126447"/>
                    <a:gd name="connsiteX828" fmla="*/ 78335 w 493718"/>
                    <a:gd name="connsiteY828" fmla="*/ 441072 h 1126447"/>
                    <a:gd name="connsiteX829" fmla="*/ 78433 w 493718"/>
                    <a:gd name="connsiteY829" fmla="*/ 438219 h 1126447"/>
                    <a:gd name="connsiteX830" fmla="*/ 77414 w 493718"/>
                    <a:gd name="connsiteY830" fmla="*/ 435880 h 1126447"/>
                    <a:gd name="connsiteX831" fmla="*/ 77618 w 493718"/>
                    <a:gd name="connsiteY831" fmla="*/ 433346 h 1126447"/>
                    <a:gd name="connsiteX832" fmla="*/ 77080 w 493718"/>
                    <a:gd name="connsiteY832" fmla="*/ 431724 h 1126447"/>
                    <a:gd name="connsiteX833" fmla="*/ 75540 w 493718"/>
                    <a:gd name="connsiteY833" fmla="*/ 431121 h 1126447"/>
                    <a:gd name="connsiteX834" fmla="*/ 74978 w 493718"/>
                    <a:gd name="connsiteY834" fmla="*/ 429116 h 1126447"/>
                    <a:gd name="connsiteX835" fmla="*/ 75727 w 493718"/>
                    <a:gd name="connsiteY835" fmla="*/ 428122 h 1126447"/>
                    <a:gd name="connsiteX836" fmla="*/ 77178 w 493718"/>
                    <a:gd name="connsiteY836" fmla="*/ 427364 h 1126447"/>
                    <a:gd name="connsiteX837" fmla="*/ 78995 w 493718"/>
                    <a:gd name="connsiteY837" fmla="*/ 425824 h 1126447"/>
                    <a:gd name="connsiteX838" fmla="*/ 80364 w 493718"/>
                    <a:gd name="connsiteY838" fmla="*/ 418407 h 1126447"/>
                    <a:gd name="connsiteX839" fmla="*/ 81008 w 493718"/>
                    <a:gd name="connsiteY839" fmla="*/ 416207 h 1126447"/>
                    <a:gd name="connsiteX840" fmla="*/ 81636 w 493718"/>
                    <a:gd name="connsiteY840" fmla="*/ 413566 h 1126447"/>
                    <a:gd name="connsiteX841" fmla="*/ 81554 w 493718"/>
                    <a:gd name="connsiteY841" fmla="*/ 412197 h 1126447"/>
                    <a:gd name="connsiteX842" fmla="*/ 82427 w 493718"/>
                    <a:gd name="connsiteY842" fmla="*/ 410225 h 1126447"/>
                    <a:gd name="connsiteX843" fmla="*/ 83519 w 493718"/>
                    <a:gd name="connsiteY843" fmla="*/ 407226 h 1126447"/>
                    <a:gd name="connsiteX844" fmla="*/ 85238 w 493718"/>
                    <a:gd name="connsiteY844" fmla="*/ 404325 h 1126447"/>
                    <a:gd name="connsiteX845" fmla="*/ 86224 w 493718"/>
                    <a:gd name="connsiteY845" fmla="*/ 402320 h 1126447"/>
                    <a:gd name="connsiteX846" fmla="*/ 87178 w 493718"/>
                    <a:gd name="connsiteY846" fmla="*/ 399639 h 1126447"/>
                    <a:gd name="connsiteX847" fmla="*/ 87447 w 493718"/>
                    <a:gd name="connsiteY847" fmla="*/ 398017 h 1126447"/>
                    <a:gd name="connsiteX848" fmla="*/ 88669 w 493718"/>
                    <a:gd name="connsiteY848" fmla="*/ 397218 h 1126447"/>
                    <a:gd name="connsiteX849" fmla="*/ 90071 w 493718"/>
                    <a:gd name="connsiteY849" fmla="*/ 397014 h 1126447"/>
                    <a:gd name="connsiteX850" fmla="*/ 91717 w 493718"/>
                    <a:gd name="connsiteY850" fmla="*/ 396501 h 1126447"/>
                    <a:gd name="connsiteX851" fmla="*/ 92394 w 493718"/>
                    <a:gd name="connsiteY851" fmla="*/ 395523 h 1126447"/>
                    <a:gd name="connsiteX852" fmla="*/ 92271 w 493718"/>
                    <a:gd name="connsiteY852" fmla="*/ 394072 h 1126447"/>
                    <a:gd name="connsiteX853" fmla="*/ 92165 w 493718"/>
                    <a:gd name="connsiteY853" fmla="*/ 390910 h 1126447"/>
                    <a:gd name="connsiteX854" fmla="*/ 91668 w 493718"/>
                    <a:gd name="connsiteY854" fmla="*/ 385866 h 1126447"/>
                    <a:gd name="connsiteX855" fmla="*/ 91350 w 493718"/>
                    <a:gd name="connsiteY855" fmla="*/ 379378 h 1126447"/>
                    <a:gd name="connsiteX856" fmla="*/ 91644 w 493718"/>
                    <a:gd name="connsiteY856" fmla="*/ 375124 h 1126447"/>
                    <a:gd name="connsiteX857" fmla="*/ 92728 w 493718"/>
                    <a:gd name="connsiteY857" fmla="*/ 370846 h 1126447"/>
                    <a:gd name="connsiteX858" fmla="*/ 93746 w 493718"/>
                    <a:gd name="connsiteY858" fmla="*/ 368515 h 1126447"/>
                    <a:gd name="connsiteX859" fmla="*/ 93477 w 493718"/>
                    <a:gd name="connsiteY859" fmla="*/ 366730 h 1126447"/>
                    <a:gd name="connsiteX860" fmla="*/ 93200 w 493718"/>
                    <a:gd name="connsiteY860" fmla="*/ 364774 h 1126447"/>
                    <a:gd name="connsiteX861" fmla="*/ 91301 w 493718"/>
                    <a:gd name="connsiteY861" fmla="*/ 363698 h 1126447"/>
                    <a:gd name="connsiteX862" fmla="*/ 89492 w 493718"/>
                    <a:gd name="connsiteY862" fmla="*/ 364627 h 1126447"/>
                    <a:gd name="connsiteX863" fmla="*/ 88237 w 493718"/>
                    <a:gd name="connsiteY863" fmla="*/ 364375 h 1126447"/>
                    <a:gd name="connsiteX864" fmla="*/ 86623 w 493718"/>
                    <a:gd name="connsiteY864" fmla="*/ 362101 h 1126447"/>
                    <a:gd name="connsiteX865" fmla="*/ 86151 w 493718"/>
                    <a:gd name="connsiteY865" fmla="*/ 359697 h 1126447"/>
                    <a:gd name="connsiteX866" fmla="*/ 86420 w 493718"/>
                    <a:gd name="connsiteY866" fmla="*/ 356396 h 1126447"/>
                    <a:gd name="connsiteX867" fmla="*/ 87683 w 493718"/>
                    <a:gd name="connsiteY867" fmla="*/ 354350 h 1126447"/>
                    <a:gd name="connsiteX868" fmla="*/ 88188 w 493718"/>
                    <a:gd name="connsiteY868" fmla="*/ 351767 h 1126447"/>
                    <a:gd name="connsiteX869" fmla="*/ 87439 w 493718"/>
                    <a:gd name="connsiteY869" fmla="*/ 350960 h 1126447"/>
                    <a:gd name="connsiteX870" fmla="*/ 85849 w 493718"/>
                    <a:gd name="connsiteY870" fmla="*/ 349257 h 1126447"/>
                    <a:gd name="connsiteX871" fmla="*/ 84342 w 493718"/>
                    <a:gd name="connsiteY871" fmla="*/ 343356 h 1126447"/>
                    <a:gd name="connsiteX872" fmla="*/ 84521 w 493718"/>
                    <a:gd name="connsiteY872" fmla="*/ 338344 h 1126447"/>
                    <a:gd name="connsiteX873" fmla="*/ 83029 w 493718"/>
                    <a:gd name="connsiteY873" fmla="*/ 337016 h 1126447"/>
                    <a:gd name="connsiteX874" fmla="*/ 82337 w 493718"/>
                    <a:gd name="connsiteY874" fmla="*/ 333104 h 1126447"/>
                    <a:gd name="connsiteX875" fmla="*/ 80796 w 493718"/>
                    <a:gd name="connsiteY875" fmla="*/ 331694 h 1126447"/>
                    <a:gd name="connsiteX876" fmla="*/ 80185 w 493718"/>
                    <a:gd name="connsiteY876" fmla="*/ 328768 h 1126447"/>
                    <a:gd name="connsiteX877" fmla="*/ 79704 w 493718"/>
                    <a:gd name="connsiteY877" fmla="*/ 325753 h 1126447"/>
                    <a:gd name="connsiteX878" fmla="*/ 79908 w 493718"/>
                    <a:gd name="connsiteY878" fmla="*/ 324425 h 1126447"/>
                    <a:gd name="connsiteX879" fmla="*/ 81514 w 493718"/>
                    <a:gd name="connsiteY879" fmla="*/ 324058 h 1126447"/>
                    <a:gd name="connsiteX880" fmla="*/ 82418 w 493718"/>
                    <a:gd name="connsiteY880" fmla="*/ 321686 h 1126447"/>
                    <a:gd name="connsiteX881" fmla="*/ 81742 w 493718"/>
                    <a:gd name="connsiteY881" fmla="*/ 320350 h 1126447"/>
                    <a:gd name="connsiteX882" fmla="*/ 80519 w 493718"/>
                    <a:gd name="connsiteY882" fmla="*/ 319201 h 1126447"/>
                    <a:gd name="connsiteX883" fmla="*/ 78963 w 493718"/>
                    <a:gd name="connsiteY883" fmla="*/ 319282 h 1126447"/>
                    <a:gd name="connsiteX884" fmla="*/ 77569 w 493718"/>
                    <a:gd name="connsiteY884" fmla="*/ 317921 h 1126447"/>
                    <a:gd name="connsiteX885" fmla="*/ 75695 w 493718"/>
                    <a:gd name="connsiteY885" fmla="*/ 312241 h 1126447"/>
                    <a:gd name="connsiteX886" fmla="*/ 74220 w 493718"/>
                    <a:gd name="connsiteY886" fmla="*/ 309111 h 1126447"/>
                    <a:gd name="connsiteX887" fmla="*/ 74684 w 493718"/>
                    <a:gd name="connsiteY887" fmla="*/ 304539 h 1126447"/>
                    <a:gd name="connsiteX888" fmla="*/ 74986 w 493718"/>
                    <a:gd name="connsiteY888" fmla="*/ 300970 h 1126447"/>
                    <a:gd name="connsiteX889" fmla="*/ 75621 w 493718"/>
                    <a:gd name="connsiteY889" fmla="*/ 297914 h 1126447"/>
                    <a:gd name="connsiteX890" fmla="*/ 75850 w 493718"/>
                    <a:gd name="connsiteY890" fmla="*/ 295518 h 1126447"/>
                    <a:gd name="connsiteX891" fmla="*/ 77007 w 493718"/>
                    <a:gd name="connsiteY891" fmla="*/ 294369 h 1126447"/>
                    <a:gd name="connsiteX892" fmla="*/ 78091 w 493718"/>
                    <a:gd name="connsiteY892" fmla="*/ 294890 h 1126447"/>
                    <a:gd name="connsiteX893" fmla="*/ 79109 w 493718"/>
                    <a:gd name="connsiteY893" fmla="*/ 294629 h 1126447"/>
                    <a:gd name="connsiteX894" fmla="*/ 80047 w 493718"/>
                    <a:gd name="connsiteY894" fmla="*/ 292682 h 1126447"/>
                    <a:gd name="connsiteX895" fmla="*/ 81074 w 493718"/>
                    <a:gd name="connsiteY895" fmla="*/ 291467 h 1126447"/>
                    <a:gd name="connsiteX896" fmla="*/ 81008 w 493718"/>
                    <a:gd name="connsiteY896" fmla="*/ 290489 h 1126447"/>
                    <a:gd name="connsiteX897" fmla="*/ 80397 w 493718"/>
                    <a:gd name="connsiteY897" fmla="*/ 289430 h 1126447"/>
                    <a:gd name="connsiteX898" fmla="*/ 80104 w 493718"/>
                    <a:gd name="connsiteY898" fmla="*/ 287580 h 1126447"/>
                    <a:gd name="connsiteX899" fmla="*/ 80821 w 493718"/>
                    <a:gd name="connsiteY899" fmla="*/ 285371 h 1126447"/>
                    <a:gd name="connsiteX900" fmla="*/ 82051 w 493718"/>
                    <a:gd name="connsiteY900" fmla="*/ 280326 h 1126447"/>
                    <a:gd name="connsiteX901" fmla="*/ 83918 w 493718"/>
                    <a:gd name="connsiteY901" fmla="*/ 274776 h 1126447"/>
                    <a:gd name="connsiteX902" fmla="*/ 84725 w 493718"/>
                    <a:gd name="connsiteY902" fmla="*/ 272698 h 1126447"/>
                    <a:gd name="connsiteX903" fmla="*/ 84521 w 493718"/>
                    <a:gd name="connsiteY903" fmla="*/ 270930 h 1126447"/>
                    <a:gd name="connsiteX904" fmla="*/ 84928 w 493718"/>
                    <a:gd name="connsiteY904" fmla="*/ 270139 h 1126447"/>
                    <a:gd name="connsiteX905" fmla="*/ 86200 w 493718"/>
                    <a:gd name="connsiteY905" fmla="*/ 271019 h 1126447"/>
                    <a:gd name="connsiteX906" fmla="*/ 89810 w 493718"/>
                    <a:gd name="connsiteY906" fmla="*/ 270050 h 1126447"/>
                    <a:gd name="connsiteX907" fmla="*/ 91033 w 493718"/>
                    <a:gd name="connsiteY907" fmla="*/ 267588 h 1126447"/>
                    <a:gd name="connsiteX908" fmla="*/ 91505 w 493718"/>
                    <a:gd name="connsiteY908" fmla="*/ 265396 h 1126447"/>
                    <a:gd name="connsiteX909" fmla="*/ 92589 w 493718"/>
                    <a:gd name="connsiteY909" fmla="*/ 264165 h 1126447"/>
                    <a:gd name="connsiteX910" fmla="*/ 92117 w 493718"/>
                    <a:gd name="connsiteY910" fmla="*/ 262405 h 1126447"/>
                    <a:gd name="connsiteX911" fmla="*/ 90625 w 493718"/>
                    <a:gd name="connsiteY911" fmla="*/ 261884 h 1126447"/>
                    <a:gd name="connsiteX912" fmla="*/ 89720 w 493718"/>
                    <a:gd name="connsiteY912" fmla="*/ 261052 h 1126447"/>
                    <a:gd name="connsiteX913" fmla="*/ 90079 w 493718"/>
                    <a:gd name="connsiteY913" fmla="*/ 259072 h 1126447"/>
                    <a:gd name="connsiteX914" fmla="*/ 90609 w 493718"/>
                    <a:gd name="connsiteY914" fmla="*/ 254500 h 1126447"/>
                    <a:gd name="connsiteX915" fmla="*/ 90519 w 493718"/>
                    <a:gd name="connsiteY915" fmla="*/ 251134 h 1126447"/>
                    <a:gd name="connsiteX916" fmla="*/ 89158 w 493718"/>
                    <a:gd name="connsiteY916" fmla="*/ 243970 h 1126447"/>
                    <a:gd name="connsiteX917" fmla="*/ 88066 w 493718"/>
                    <a:gd name="connsiteY917" fmla="*/ 236888 h 1126447"/>
                    <a:gd name="connsiteX918" fmla="*/ 88832 w 493718"/>
                    <a:gd name="connsiteY918" fmla="*/ 234525 h 1126447"/>
                    <a:gd name="connsiteX919" fmla="*/ 91204 w 493718"/>
                    <a:gd name="connsiteY919" fmla="*/ 231289 h 1126447"/>
                    <a:gd name="connsiteX920" fmla="*/ 92997 w 493718"/>
                    <a:gd name="connsiteY920" fmla="*/ 229831 h 1126447"/>
                    <a:gd name="connsiteX921" fmla="*/ 93323 w 493718"/>
                    <a:gd name="connsiteY921" fmla="*/ 227981 h 1126447"/>
                    <a:gd name="connsiteX922" fmla="*/ 95099 w 493718"/>
                    <a:gd name="connsiteY922" fmla="*/ 219627 h 1126447"/>
                    <a:gd name="connsiteX923" fmla="*/ 95303 w 493718"/>
                    <a:gd name="connsiteY923" fmla="*/ 215063 h 1126447"/>
                    <a:gd name="connsiteX924" fmla="*/ 96477 w 493718"/>
                    <a:gd name="connsiteY924" fmla="*/ 212553 h 1126447"/>
                    <a:gd name="connsiteX925" fmla="*/ 97243 w 493718"/>
                    <a:gd name="connsiteY925" fmla="*/ 207826 h 1126447"/>
                    <a:gd name="connsiteX926" fmla="*/ 100462 w 493718"/>
                    <a:gd name="connsiteY926" fmla="*/ 203752 h 1126447"/>
                    <a:gd name="connsiteX927" fmla="*/ 101407 w 493718"/>
                    <a:gd name="connsiteY927" fmla="*/ 201046 h 1126447"/>
                    <a:gd name="connsiteX928" fmla="*/ 102695 w 493718"/>
                    <a:gd name="connsiteY928" fmla="*/ 200785 h 1126447"/>
                    <a:gd name="connsiteX929" fmla="*/ 103371 w 493718"/>
                    <a:gd name="connsiteY929" fmla="*/ 199921 h 1126447"/>
                    <a:gd name="connsiteX930" fmla="*/ 105083 w 493718"/>
                    <a:gd name="connsiteY930" fmla="*/ 196914 h 1126447"/>
                    <a:gd name="connsiteX931" fmla="*/ 107300 w 493718"/>
                    <a:gd name="connsiteY931" fmla="*/ 193817 h 1126447"/>
                    <a:gd name="connsiteX932" fmla="*/ 109206 w 493718"/>
                    <a:gd name="connsiteY932" fmla="*/ 192277 h 1126447"/>
                    <a:gd name="connsiteX933" fmla="*/ 109679 w 493718"/>
                    <a:gd name="connsiteY933" fmla="*/ 189832 h 1126447"/>
                    <a:gd name="connsiteX934" fmla="*/ 110592 w 493718"/>
                    <a:gd name="connsiteY934" fmla="*/ 186515 h 1126447"/>
                    <a:gd name="connsiteX935" fmla="*/ 112483 w 493718"/>
                    <a:gd name="connsiteY935" fmla="*/ 180998 h 1126447"/>
                    <a:gd name="connsiteX936" fmla="*/ 113542 w 493718"/>
                    <a:gd name="connsiteY936" fmla="*/ 177159 h 1126447"/>
                    <a:gd name="connsiteX937" fmla="*/ 114968 w 493718"/>
                    <a:gd name="connsiteY937" fmla="*/ 175765 h 1126447"/>
                    <a:gd name="connsiteX938" fmla="*/ 116623 w 493718"/>
                    <a:gd name="connsiteY938" fmla="*/ 170745 h 1126447"/>
                    <a:gd name="connsiteX939" fmla="*/ 117340 w 493718"/>
                    <a:gd name="connsiteY939" fmla="*/ 167803 h 1126447"/>
                    <a:gd name="connsiteX940" fmla="*/ 119239 w 493718"/>
                    <a:gd name="connsiteY940" fmla="*/ 166589 h 1126447"/>
                    <a:gd name="connsiteX941" fmla="*/ 120730 w 493718"/>
                    <a:gd name="connsiteY941" fmla="*/ 166247 h 1126447"/>
                    <a:gd name="connsiteX942" fmla="*/ 122148 w 493718"/>
                    <a:gd name="connsiteY942" fmla="*/ 167632 h 1126447"/>
                    <a:gd name="connsiteX943" fmla="*/ 123640 w 493718"/>
                    <a:gd name="connsiteY943" fmla="*/ 167363 h 1126447"/>
                    <a:gd name="connsiteX944" fmla="*/ 125001 w 493718"/>
                    <a:gd name="connsiteY944" fmla="*/ 165635 h 1126447"/>
                    <a:gd name="connsiteX945" fmla="*/ 128277 w 493718"/>
                    <a:gd name="connsiteY945" fmla="*/ 164454 h 1126447"/>
                    <a:gd name="connsiteX946" fmla="*/ 129752 w 493718"/>
                    <a:gd name="connsiteY946" fmla="*/ 163818 h 1126447"/>
                    <a:gd name="connsiteX947" fmla="*/ 130428 w 493718"/>
                    <a:gd name="connsiteY947" fmla="*/ 162090 h 1126447"/>
                    <a:gd name="connsiteX948" fmla="*/ 130428 w 493718"/>
                    <a:gd name="connsiteY948" fmla="*/ 159050 h 1126447"/>
                    <a:gd name="connsiteX949" fmla="*/ 129076 w 493718"/>
                    <a:gd name="connsiteY949" fmla="*/ 156809 h 1126447"/>
                    <a:gd name="connsiteX950" fmla="*/ 126305 w 493718"/>
                    <a:gd name="connsiteY950" fmla="*/ 152506 h 1126447"/>
                    <a:gd name="connsiteX951" fmla="*/ 123925 w 493718"/>
                    <a:gd name="connsiteY951" fmla="*/ 147706 h 1126447"/>
                    <a:gd name="connsiteX952" fmla="*/ 123664 w 493718"/>
                    <a:gd name="connsiteY952" fmla="*/ 146182 h 1126447"/>
                    <a:gd name="connsiteX953" fmla="*/ 123648 w 493718"/>
                    <a:gd name="connsiteY953" fmla="*/ 144536 h 1126447"/>
                    <a:gd name="connsiteX954" fmla="*/ 124055 w 493718"/>
                    <a:gd name="connsiteY954" fmla="*/ 142441 h 1126447"/>
                    <a:gd name="connsiteX955" fmla="*/ 125204 w 493718"/>
                    <a:gd name="connsiteY955" fmla="*/ 140078 h 1126447"/>
                    <a:gd name="connsiteX956" fmla="*/ 128065 w 493718"/>
                    <a:gd name="connsiteY956" fmla="*/ 136182 h 1126447"/>
                    <a:gd name="connsiteX957" fmla="*/ 127755 w 493718"/>
                    <a:gd name="connsiteY957" fmla="*/ 133395 h 1126447"/>
                    <a:gd name="connsiteX958" fmla="*/ 125669 w 493718"/>
                    <a:gd name="connsiteY958" fmla="*/ 123167 h 1126447"/>
                    <a:gd name="connsiteX959" fmla="*/ 124895 w 493718"/>
                    <a:gd name="connsiteY959" fmla="*/ 120347 h 1126447"/>
                    <a:gd name="connsiteX960" fmla="*/ 123452 w 493718"/>
                    <a:gd name="connsiteY960" fmla="*/ 115123 h 1126447"/>
                    <a:gd name="connsiteX961" fmla="*/ 123648 w 493718"/>
                    <a:gd name="connsiteY961" fmla="*/ 113061 h 1126447"/>
                    <a:gd name="connsiteX962" fmla="*/ 124919 w 493718"/>
                    <a:gd name="connsiteY962" fmla="*/ 107291 h 1126447"/>
                    <a:gd name="connsiteX963" fmla="*/ 126027 w 493718"/>
                    <a:gd name="connsiteY963" fmla="*/ 104977 h 1126447"/>
                    <a:gd name="connsiteX964" fmla="*/ 127649 w 493718"/>
                    <a:gd name="connsiteY964" fmla="*/ 104537 h 1126447"/>
                    <a:gd name="connsiteX965" fmla="*/ 128529 w 493718"/>
                    <a:gd name="connsiteY965" fmla="*/ 103771 h 1126447"/>
                    <a:gd name="connsiteX966" fmla="*/ 128806 w 493718"/>
                    <a:gd name="connsiteY966" fmla="*/ 102736 h 1126447"/>
                    <a:gd name="connsiteX967" fmla="*/ 127723 w 493718"/>
                    <a:gd name="connsiteY967" fmla="*/ 101448 h 1126447"/>
                    <a:gd name="connsiteX968" fmla="*/ 127250 w 493718"/>
                    <a:gd name="connsiteY968" fmla="*/ 99810 h 1126447"/>
                    <a:gd name="connsiteX969" fmla="*/ 126777 w 493718"/>
                    <a:gd name="connsiteY969" fmla="*/ 97512 h 1126447"/>
                    <a:gd name="connsiteX970" fmla="*/ 125270 w 493718"/>
                    <a:gd name="connsiteY970" fmla="*/ 96680 h 1126447"/>
                    <a:gd name="connsiteX971" fmla="*/ 124406 w 493718"/>
                    <a:gd name="connsiteY971" fmla="*/ 94765 h 1126447"/>
                    <a:gd name="connsiteX972" fmla="*/ 124406 w 493718"/>
                    <a:gd name="connsiteY972" fmla="*/ 91913 h 1126447"/>
                    <a:gd name="connsiteX973" fmla="*/ 125767 w 493718"/>
                    <a:gd name="connsiteY973" fmla="*/ 88221 h 1126447"/>
                    <a:gd name="connsiteX974" fmla="*/ 127258 w 493718"/>
                    <a:gd name="connsiteY974" fmla="*/ 87194 h 1126447"/>
                    <a:gd name="connsiteX975" fmla="*/ 127869 w 493718"/>
                    <a:gd name="connsiteY975" fmla="*/ 85580 h 1126447"/>
                    <a:gd name="connsiteX976" fmla="*/ 129467 w 493718"/>
                    <a:gd name="connsiteY976" fmla="*/ 84073 h 1126447"/>
                    <a:gd name="connsiteX977" fmla="*/ 130917 w 493718"/>
                    <a:gd name="connsiteY977" fmla="*/ 82915 h 1126447"/>
                    <a:gd name="connsiteX978" fmla="*/ 132140 w 493718"/>
                    <a:gd name="connsiteY978" fmla="*/ 80764 h 1126447"/>
                    <a:gd name="connsiteX979" fmla="*/ 137176 w 493718"/>
                    <a:gd name="connsiteY979" fmla="*/ 78148 h 1126447"/>
                    <a:gd name="connsiteX980" fmla="*/ 141170 w 493718"/>
                    <a:gd name="connsiteY980" fmla="*/ 76111 h 1126447"/>
                    <a:gd name="connsiteX981" fmla="*/ 148969 w 493718"/>
                    <a:gd name="connsiteY981" fmla="*/ 72207 h 1126447"/>
                    <a:gd name="connsiteX982" fmla="*/ 154323 w 493718"/>
                    <a:gd name="connsiteY982" fmla="*/ 69550 h 1126447"/>
                    <a:gd name="connsiteX983" fmla="*/ 154829 w 493718"/>
                    <a:gd name="connsiteY983" fmla="*/ 67700 h 1126447"/>
                    <a:gd name="connsiteX984" fmla="*/ 155236 w 493718"/>
                    <a:gd name="connsiteY984" fmla="*/ 66445 h 1126447"/>
                    <a:gd name="connsiteX985" fmla="*/ 157722 w 493718"/>
                    <a:gd name="connsiteY985" fmla="*/ 57048 h 1126447"/>
                    <a:gd name="connsiteX986" fmla="*/ 160933 w 493718"/>
                    <a:gd name="connsiteY986" fmla="*/ 44905 h 1126447"/>
                    <a:gd name="connsiteX987" fmla="*/ 162938 w 493718"/>
                    <a:gd name="connsiteY987" fmla="*/ 37309 h 1126447"/>
                    <a:gd name="connsiteX988" fmla="*/ 158325 w 493718"/>
                    <a:gd name="connsiteY988" fmla="*/ 31703 h 1126447"/>
                    <a:gd name="connsiteX989" fmla="*/ 159148 w 493718"/>
                    <a:gd name="connsiteY989" fmla="*/ 30203 h 1126447"/>
                    <a:gd name="connsiteX990" fmla="*/ 161788 w 493718"/>
                    <a:gd name="connsiteY990" fmla="*/ 26381 h 1126447"/>
                    <a:gd name="connsiteX991" fmla="*/ 162335 w 493718"/>
                    <a:gd name="connsiteY991" fmla="*/ 23300 h 1126447"/>
                    <a:gd name="connsiteX992" fmla="*/ 163386 w 493718"/>
                    <a:gd name="connsiteY992" fmla="*/ 21988 h 1126447"/>
                    <a:gd name="connsiteX993" fmla="*/ 168121 w 493718"/>
                    <a:gd name="connsiteY993" fmla="*/ 18867 h 1126447"/>
                    <a:gd name="connsiteX994" fmla="*/ 168936 w 493718"/>
                    <a:gd name="connsiteY994" fmla="*/ 16797 h 1126447"/>
                    <a:gd name="connsiteX995" fmla="*/ 169351 w 493718"/>
                    <a:gd name="connsiteY995" fmla="*/ 14499 h 1126447"/>
                    <a:gd name="connsiteX996" fmla="*/ 170313 w 493718"/>
                    <a:gd name="connsiteY996" fmla="*/ 12860 h 1126447"/>
                    <a:gd name="connsiteX997" fmla="*/ 172114 w 493718"/>
                    <a:gd name="connsiteY997" fmla="*/ 12518 h 1126447"/>
                    <a:gd name="connsiteX998" fmla="*/ 175390 w 493718"/>
                    <a:gd name="connsiteY998" fmla="*/ 11051 h 1126447"/>
                    <a:gd name="connsiteX999" fmla="*/ 178911 w 493718"/>
                    <a:gd name="connsiteY999" fmla="*/ 9666 h 1126447"/>
                    <a:gd name="connsiteX1000" fmla="*/ 179971 w 493718"/>
                    <a:gd name="connsiteY1000" fmla="*/ 7783 h 1126447"/>
                    <a:gd name="connsiteX1001" fmla="*/ 180973 w 493718"/>
                    <a:gd name="connsiteY1001" fmla="*/ 4507 h 1126447"/>
                    <a:gd name="connsiteX1002" fmla="*/ 181829 w 493718"/>
                    <a:gd name="connsiteY1002" fmla="*/ 880 h 1126447"/>
                    <a:gd name="connsiteX1003" fmla="*/ 182505 w 493718"/>
                    <a:gd name="connsiteY1003" fmla="*/ 0 h 1126447"/>
                    <a:gd name="connsiteX1004" fmla="*/ 183638 w 493718"/>
                    <a:gd name="connsiteY1004" fmla="*/ 114 h 1126447"/>
                    <a:gd name="connsiteX1005" fmla="*/ 185521 w 493718"/>
                    <a:gd name="connsiteY1005" fmla="*/ 1019 h 1126447"/>
                    <a:gd name="connsiteX1006" fmla="*/ 186515 w 493718"/>
                    <a:gd name="connsiteY1006" fmla="*/ 2404 h 1126447"/>
                    <a:gd name="connsiteX1007" fmla="*/ 191437 w 493718"/>
                    <a:gd name="connsiteY1007" fmla="*/ 6756 h 1126447"/>
                    <a:gd name="connsiteX1008" fmla="*/ 193556 w 493718"/>
                    <a:gd name="connsiteY1008" fmla="*/ 9226 h 1126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493718" h="1126447">
                      <a:moveTo>
                        <a:pt x="131365" y="1049181"/>
                      </a:moveTo>
                      <a:lnTo>
                        <a:pt x="132311" y="1052832"/>
                      </a:lnTo>
                      <a:lnTo>
                        <a:pt x="130013" y="1050509"/>
                      </a:lnTo>
                      <a:lnTo>
                        <a:pt x="127576" y="1051837"/>
                      </a:lnTo>
                      <a:lnTo>
                        <a:pt x="126378" y="1054037"/>
                      </a:lnTo>
                      <a:lnTo>
                        <a:pt x="125351" y="1056409"/>
                      </a:lnTo>
                      <a:lnTo>
                        <a:pt x="125359" y="1058080"/>
                      </a:lnTo>
                      <a:lnTo>
                        <a:pt x="126158" y="1059547"/>
                      </a:lnTo>
                      <a:lnTo>
                        <a:pt x="128529" y="1060818"/>
                      </a:lnTo>
                      <a:lnTo>
                        <a:pt x="134283" y="1061250"/>
                      </a:lnTo>
                      <a:lnTo>
                        <a:pt x="134707" y="1061739"/>
                      </a:lnTo>
                      <a:lnTo>
                        <a:pt x="138065" y="1070932"/>
                      </a:lnTo>
                      <a:lnTo>
                        <a:pt x="139760" y="1072986"/>
                      </a:lnTo>
                      <a:lnTo>
                        <a:pt x="141724" y="1074616"/>
                      </a:lnTo>
                      <a:lnTo>
                        <a:pt x="146263" y="1079310"/>
                      </a:lnTo>
                      <a:lnTo>
                        <a:pt x="150615" y="1084387"/>
                      </a:lnTo>
                      <a:lnTo>
                        <a:pt x="155790" y="1089220"/>
                      </a:lnTo>
                      <a:lnTo>
                        <a:pt x="161365" y="1092920"/>
                      </a:lnTo>
                      <a:lnTo>
                        <a:pt x="166434" y="1095740"/>
                      </a:lnTo>
                      <a:lnTo>
                        <a:pt x="171275" y="1099179"/>
                      </a:lnTo>
                      <a:lnTo>
                        <a:pt x="176433" y="1104004"/>
                      </a:lnTo>
                      <a:lnTo>
                        <a:pt x="182049" y="1107508"/>
                      </a:lnTo>
                      <a:lnTo>
                        <a:pt x="188080" y="1109986"/>
                      </a:lnTo>
                      <a:lnTo>
                        <a:pt x="194167" y="1112064"/>
                      </a:lnTo>
                      <a:lnTo>
                        <a:pt x="203540" y="1111249"/>
                      </a:lnTo>
                      <a:lnTo>
                        <a:pt x="206441" y="1111469"/>
                      </a:lnTo>
                      <a:lnTo>
                        <a:pt x="208250" y="1112993"/>
                      </a:lnTo>
                      <a:lnTo>
                        <a:pt x="206433" y="1117198"/>
                      </a:lnTo>
                      <a:lnTo>
                        <a:pt x="204102" y="1120580"/>
                      </a:lnTo>
                      <a:lnTo>
                        <a:pt x="201005" y="1121974"/>
                      </a:lnTo>
                      <a:lnTo>
                        <a:pt x="197721" y="1122487"/>
                      </a:lnTo>
                      <a:lnTo>
                        <a:pt x="194762" y="1122414"/>
                      </a:lnTo>
                      <a:lnTo>
                        <a:pt x="191804" y="1121802"/>
                      </a:lnTo>
                      <a:lnTo>
                        <a:pt x="189033" y="1122145"/>
                      </a:lnTo>
                      <a:lnTo>
                        <a:pt x="186384" y="1123571"/>
                      </a:lnTo>
                      <a:lnTo>
                        <a:pt x="183622" y="1124289"/>
                      </a:lnTo>
                      <a:lnTo>
                        <a:pt x="180777" y="1124386"/>
                      </a:lnTo>
                      <a:lnTo>
                        <a:pt x="177998" y="1125576"/>
                      </a:lnTo>
                      <a:lnTo>
                        <a:pt x="175211" y="1126448"/>
                      </a:lnTo>
                      <a:lnTo>
                        <a:pt x="172326" y="1125723"/>
                      </a:lnTo>
                      <a:lnTo>
                        <a:pt x="164820" y="1122365"/>
                      </a:lnTo>
                      <a:lnTo>
                        <a:pt x="159947" y="1121558"/>
                      </a:lnTo>
                      <a:lnTo>
                        <a:pt x="143427" y="1120222"/>
                      </a:lnTo>
                      <a:lnTo>
                        <a:pt x="138122" y="1119456"/>
                      </a:lnTo>
                      <a:lnTo>
                        <a:pt x="132841" y="1118274"/>
                      </a:lnTo>
                      <a:lnTo>
                        <a:pt x="130070" y="1118225"/>
                      </a:lnTo>
                      <a:lnTo>
                        <a:pt x="126117" y="1118983"/>
                      </a:lnTo>
                      <a:lnTo>
                        <a:pt x="122947" y="1118893"/>
                      </a:lnTo>
                      <a:lnTo>
                        <a:pt x="122091" y="1119651"/>
                      </a:lnTo>
                      <a:lnTo>
                        <a:pt x="122238" y="1111070"/>
                      </a:lnTo>
                      <a:lnTo>
                        <a:pt x="122425" y="1099554"/>
                      </a:lnTo>
                      <a:lnTo>
                        <a:pt x="122466" y="1089318"/>
                      </a:lnTo>
                      <a:lnTo>
                        <a:pt x="122499" y="1079367"/>
                      </a:lnTo>
                      <a:lnTo>
                        <a:pt x="122539" y="1069090"/>
                      </a:lnTo>
                      <a:lnTo>
                        <a:pt x="122580" y="1058830"/>
                      </a:lnTo>
                      <a:lnTo>
                        <a:pt x="122621" y="1047893"/>
                      </a:lnTo>
                      <a:lnTo>
                        <a:pt x="122670" y="1036809"/>
                      </a:lnTo>
                      <a:lnTo>
                        <a:pt x="124121" y="1038382"/>
                      </a:lnTo>
                      <a:lnTo>
                        <a:pt x="129890" y="1046034"/>
                      </a:lnTo>
                      <a:lnTo>
                        <a:pt x="131365" y="1049181"/>
                      </a:lnTo>
                      <a:close/>
                      <a:moveTo>
                        <a:pt x="193556" y="9226"/>
                      </a:moveTo>
                      <a:lnTo>
                        <a:pt x="195659" y="9560"/>
                      </a:lnTo>
                      <a:lnTo>
                        <a:pt x="199807" y="9071"/>
                      </a:lnTo>
                      <a:lnTo>
                        <a:pt x="200655" y="9185"/>
                      </a:lnTo>
                      <a:lnTo>
                        <a:pt x="211241" y="9332"/>
                      </a:lnTo>
                      <a:lnTo>
                        <a:pt x="212863" y="9544"/>
                      </a:lnTo>
                      <a:lnTo>
                        <a:pt x="216571" y="10603"/>
                      </a:lnTo>
                      <a:lnTo>
                        <a:pt x="218657" y="11467"/>
                      </a:lnTo>
                      <a:lnTo>
                        <a:pt x="220116" y="11899"/>
                      </a:lnTo>
                      <a:lnTo>
                        <a:pt x="222463" y="13243"/>
                      </a:lnTo>
                      <a:lnTo>
                        <a:pt x="224492" y="17685"/>
                      </a:lnTo>
                      <a:lnTo>
                        <a:pt x="225634" y="21230"/>
                      </a:lnTo>
                      <a:lnTo>
                        <a:pt x="226432" y="24343"/>
                      </a:lnTo>
                      <a:lnTo>
                        <a:pt x="228209" y="29820"/>
                      </a:lnTo>
                      <a:lnTo>
                        <a:pt x="229415" y="31890"/>
                      </a:lnTo>
                      <a:lnTo>
                        <a:pt x="229847" y="30896"/>
                      </a:lnTo>
                      <a:lnTo>
                        <a:pt x="230882" y="24906"/>
                      </a:lnTo>
                      <a:lnTo>
                        <a:pt x="232300" y="21418"/>
                      </a:lnTo>
                      <a:lnTo>
                        <a:pt x="234215" y="17514"/>
                      </a:lnTo>
                      <a:lnTo>
                        <a:pt x="238078" y="8394"/>
                      </a:lnTo>
                      <a:lnTo>
                        <a:pt x="239423" y="7025"/>
                      </a:lnTo>
                      <a:lnTo>
                        <a:pt x="240930" y="6365"/>
                      </a:lnTo>
                      <a:lnTo>
                        <a:pt x="241982" y="6308"/>
                      </a:lnTo>
                      <a:lnTo>
                        <a:pt x="243049" y="6985"/>
                      </a:lnTo>
                      <a:lnTo>
                        <a:pt x="244508" y="6992"/>
                      </a:lnTo>
                      <a:lnTo>
                        <a:pt x="245543" y="6275"/>
                      </a:lnTo>
                      <a:lnTo>
                        <a:pt x="255665" y="6153"/>
                      </a:lnTo>
                      <a:lnTo>
                        <a:pt x="266179" y="6055"/>
                      </a:lnTo>
                      <a:lnTo>
                        <a:pt x="266398" y="6104"/>
                      </a:lnTo>
                      <a:lnTo>
                        <a:pt x="266879" y="7669"/>
                      </a:lnTo>
                      <a:lnTo>
                        <a:pt x="268623" y="11100"/>
                      </a:lnTo>
                      <a:lnTo>
                        <a:pt x="270596" y="12918"/>
                      </a:lnTo>
                      <a:lnTo>
                        <a:pt x="270946" y="13406"/>
                      </a:lnTo>
                      <a:lnTo>
                        <a:pt x="271574" y="14270"/>
                      </a:lnTo>
                      <a:lnTo>
                        <a:pt x="271565" y="15159"/>
                      </a:lnTo>
                      <a:lnTo>
                        <a:pt x="273660" y="17009"/>
                      </a:lnTo>
                      <a:lnTo>
                        <a:pt x="277849" y="19796"/>
                      </a:lnTo>
                      <a:lnTo>
                        <a:pt x="281777" y="25191"/>
                      </a:lnTo>
                      <a:lnTo>
                        <a:pt x="285436" y="33186"/>
                      </a:lnTo>
                      <a:lnTo>
                        <a:pt x="288876" y="39111"/>
                      </a:lnTo>
                      <a:lnTo>
                        <a:pt x="292086" y="42941"/>
                      </a:lnTo>
                      <a:lnTo>
                        <a:pt x="295037" y="45647"/>
                      </a:lnTo>
                      <a:lnTo>
                        <a:pt x="297726" y="47228"/>
                      </a:lnTo>
                      <a:lnTo>
                        <a:pt x="299169" y="48499"/>
                      </a:lnTo>
                      <a:lnTo>
                        <a:pt x="299356" y="49485"/>
                      </a:lnTo>
                      <a:lnTo>
                        <a:pt x="301874" y="51531"/>
                      </a:lnTo>
                      <a:lnTo>
                        <a:pt x="306723" y="54636"/>
                      </a:lnTo>
                      <a:lnTo>
                        <a:pt x="309788" y="57749"/>
                      </a:lnTo>
                      <a:lnTo>
                        <a:pt x="311075" y="60846"/>
                      </a:lnTo>
                      <a:lnTo>
                        <a:pt x="315859" y="64057"/>
                      </a:lnTo>
                      <a:lnTo>
                        <a:pt x="324156" y="67358"/>
                      </a:lnTo>
                      <a:lnTo>
                        <a:pt x="330187" y="68931"/>
                      </a:lnTo>
                      <a:lnTo>
                        <a:pt x="333952" y="68776"/>
                      </a:lnTo>
                      <a:lnTo>
                        <a:pt x="339355" y="71408"/>
                      </a:lnTo>
                      <a:lnTo>
                        <a:pt x="346396" y="76844"/>
                      </a:lnTo>
                      <a:lnTo>
                        <a:pt x="350691" y="80609"/>
                      </a:lnTo>
                      <a:lnTo>
                        <a:pt x="352231" y="82695"/>
                      </a:lnTo>
                      <a:lnTo>
                        <a:pt x="356836" y="86102"/>
                      </a:lnTo>
                      <a:lnTo>
                        <a:pt x="368327" y="93135"/>
                      </a:lnTo>
                      <a:lnTo>
                        <a:pt x="373396" y="94904"/>
                      </a:lnTo>
                      <a:lnTo>
                        <a:pt x="375800" y="96517"/>
                      </a:lnTo>
                      <a:lnTo>
                        <a:pt x="377227" y="98563"/>
                      </a:lnTo>
                      <a:lnTo>
                        <a:pt x="378629" y="99174"/>
                      </a:lnTo>
                      <a:lnTo>
                        <a:pt x="380014" y="98384"/>
                      </a:lnTo>
                      <a:lnTo>
                        <a:pt x="382899" y="99117"/>
                      </a:lnTo>
                      <a:lnTo>
                        <a:pt x="387283" y="101375"/>
                      </a:lnTo>
                      <a:lnTo>
                        <a:pt x="390715" y="104113"/>
                      </a:lnTo>
                      <a:lnTo>
                        <a:pt x="395124" y="110152"/>
                      </a:lnTo>
                      <a:lnTo>
                        <a:pt x="396525" y="112564"/>
                      </a:lnTo>
                      <a:lnTo>
                        <a:pt x="397120" y="114724"/>
                      </a:lnTo>
                      <a:lnTo>
                        <a:pt x="396916" y="116631"/>
                      </a:lnTo>
                      <a:lnTo>
                        <a:pt x="395572" y="118652"/>
                      </a:lnTo>
                      <a:lnTo>
                        <a:pt x="393102" y="120812"/>
                      </a:lnTo>
                      <a:lnTo>
                        <a:pt x="392377" y="121765"/>
                      </a:lnTo>
                      <a:lnTo>
                        <a:pt x="392320" y="122670"/>
                      </a:lnTo>
                      <a:lnTo>
                        <a:pt x="391684" y="124487"/>
                      </a:lnTo>
                      <a:lnTo>
                        <a:pt x="389639" y="128375"/>
                      </a:lnTo>
                      <a:lnTo>
                        <a:pt x="389117" y="130192"/>
                      </a:lnTo>
                      <a:lnTo>
                        <a:pt x="389011" y="131512"/>
                      </a:lnTo>
                      <a:lnTo>
                        <a:pt x="387707" y="132979"/>
                      </a:lnTo>
                      <a:lnTo>
                        <a:pt x="384252" y="135685"/>
                      </a:lnTo>
                      <a:lnTo>
                        <a:pt x="383543" y="136997"/>
                      </a:lnTo>
                      <a:lnTo>
                        <a:pt x="383372" y="138415"/>
                      </a:lnTo>
                      <a:lnTo>
                        <a:pt x="382931" y="139246"/>
                      </a:lnTo>
                      <a:lnTo>
                        <a:pt x="382459" y="139597"/>
                      </a:lnTo>
                      <a:lnTo>
                        <a:pt x="381791" y="141023"/>
                      </a:lnTo>
                      <a:lnTo>
                        <a:pt x="381253" y="143354"/>
                      </a:lnTo>
                      <a:lnTo>
                        <a:pt x="381204" y="146361"/>
                      </a:lnTo>
                      <a:lnTo>
                        <a:pt x="381636" y="150020"/>
                      </a:lnTo>
                      <a:lnTo>
                        <a:pt x="381554" y="151210"/>
                      </a:lnTo>
                      <a:lnTo>
                        <a:pt x="380788" y="151846"/>
                      </a:lnTo>
                      <a:lnTo>
                        <a:pt x="380356" y="152694"/>
                      </a:lnTo>
                      <a:lnTo>
                        <a:pt x="380201" y="154413"/>
                      </a:lnTo>
                      <a:lnTo>
                        <a:pt x="379549" y="155668"/>
                      </a:lnTo>
                      <a:lnTo>
                        <a:pt x="378408" y="156459"/>
                      </a:lnTo>
                      <a:lnTo>
                        <a:pt x="377985" y="157380"/>
                      </a:lnTo>
                      <a:lnTo>
                        <a:pt x="378286" y="158415"/>
                      </a:lnTo>
                      <a:lnTo>
                        <a:pt x="377447" y="159442"/>
                      </a:lnTo>
                      <a:lnTo>
                        <a:pt x="375466" y="160452"/>
                      </a:lnTo>
                      <a:lnTo>
                        <a:pt x="374252" y="161927"/>
                      </a:lnTo>
                      <a:lnTo>
                        <a:pt x="373804" y="163850"/>
                      </a:lnTo>
                      <a:lnTo>
                        <a:pt x="372704" y="165586"/>
                      </a:lnTo>
                      <a:lnTo>
                        <a:pt x="370943" y="167110"/>
                      </a:lnTo>
                      <a:lnTo>
                        <a:pt x="370373" y="169140"/>
                      </a:lnTo>
                      <a:lnTo>
                        <a:pt x="371286" y="172889"/>
                      </a:lnTo>
                      <a:lnTo>
                        <a:pt x="382116" y="171593"/>
                      </a:lnTo>
                      <a:lnTo>
                        <a:pt x="390943" y="172962"/>
                      </a:lnTo>
                      <a:lnTo>
                        <a:pt x="401383" y="176572"/>
                      </a:lnTo>
                      <a:lnTo>
                        <a:pt x="408318" y="177819"/>
                      </a:lnTo>
                      <a:lnTo>
                        <a:pt x="411733" y="176735"/>
                      </a:lnTo>
                      <a:lnTo>
                        <a:pt x="414267" y="176882"/>
                      </a:lnTo>
                      <a:lnTo>
                        <a:pt x="415922" y="178284"/>
                      </a:lnTo>
                      <a:lnTo>
                        <a:pt x="418138" y="178577"/>
                      </a:lnTo>
                      <a:lnTo>
                        <a:pt x="420925" y="177746"/>
                      </a:lnTo>
                      <a:lnTo>
                        <a:pt x="423232" y="178381"/>
                      </a:lnTo>
                      <a:lnTo>
                        <a:pt x="425049" y="180476"/>
                      </a:lnTo>
                      <a:lnTo>
                        <a:pt x="426704" y="179962"/>
                      </a:lnTo>
                      <a:lnTo>
                        <a:pt x="428195" y="176825"/>
                      </a:lnTo>
                      <a:lnTo>
                        <a:pt x="429898" y="174543"/>
                      </a:lnTo>
                      <a:lnTo>
                        <a:pt x="431822" y="173109"/>
                      </a:lnTo>
                      <a:lnTo>
                        <a:pt x="434226" y="172677"/>
                      </a:lnTo>
                      <a:lnTo>
                        <a:pt x="437103" y="173231"/>
                      </a:lnTo>
                      <a:lnTo>
                        <a:pt x="439393" y="174388"/>
                      </a:lnTo>
                      <a:lnTo>
                        <a:pt x="441104" y="176116"/>
                      </a:lnTo>
                      <a:lnTo>
                        <a:pt x="442971" y="176067"/>
                      </a:lnTo>
                      <a:lnTo>
                        <a:pt x="445000" y="174241"/>
                      </a:lnTo>
                      <a:lnTo>
                        <a:pt x="445970" y="172033"/>
                      </a:lnTo>
                      <a:lnTo>
                        <a:pt x="445888" y="169490"/>
                      </a:lnTo>
                      <a:lnTo>
                        <a:pt x="446687" y="167664"/>
                      </a:lnTo>
                      <a:lnTo>
                        <a:pt x="448382" y="166564"/>
                      </a:lnTo>
                      <a:lnTo>
                        <a:pt x="449531" y="165073"/>
                      </a:lnTo>
                      <a:lnTo>
                        <a:pt x="450118" y="163207"/>
                      </a:lnTo>
                      <a:lnTo>
                        <a:pt x="452123" y="162066"/>
                      </a:lnTo>
                      <a:lnTo>
                        <a:pt x="455546" y="161650"/>
                      </a:lnTo>
                      <a:lnTo>
                        <a:pt x="457330" y="160729"/>
                      </a:lnTo>
                      <a:lnTo>
                        <a:pt x="457494" y="159295"/>
                      </a:lnTo>
                      <a:lnTo>
                        <a:pt x="458504" y="157991"/>
                      </a:lnTo>
                      <a:lnTo>
                        <a:pt x="460370" y="156785"/>
                      </a:lnTo>
                      <a:lnTo>
                        <a:pt x="461642" y="155293"/>
                      </a:lnTo>
                      <a:lnTo>
                        <a:pt x="462326" y="153492"/>
                      </a:lnTo>
                      <a:lnTo>
                        <a:pt x="463451" y="152359"/>
                      </a:lnTo>
                      <a:lnTo>
                        <a:pt x="465024" y="151895"/>
                      </a:lnTo>
                      <a:lnTo>
                        <a:pt x="466768" y="148122"/>
                      </a:lnTo>
                      <a:lnTo>
                        <a:pt x="468683" y="141047"/>
                      </a:lnTo>
                      <a:lnTo>
                        <a:pt x="469816" y="131480"/>
                      </a:lnTo>
                      <a:lnTo>
                        <a:pt x="470215" y="117951"/>
                      </a:lnTo>
                      <a:lnTo>
                        <a:pt x="472155" y="117959"/>
                      </a:lnTo>
                      <a:lnTo>
                        <a:pt x="473059" y="118962"/>
                      </a:lnTo>
                      <a:lnTo>
                        <a:pt x="474486" y="119483"/>
                      </a:lnTo>
                      <a:lnTo>
                        <a:pt x="475993" y="118334"/>
                      </a:lnTo>
                      <a:lnTo>
                        <a:pt x="477265" y="117813"/>
                      </a:lnTo>
                      <a:lnTo>
                        <a:pt x="479294" y="117756"/>
                      </a:lnTo>
                      <a:lnTo>
                        <a:pt x="480386" y="116476"/>
                      </a:lnTo>
                      <a:lnTo>
                        <a:pt x="481665" y="116280"/>
                      </a:lnTo>
                      <a:lnTo>
                        <a:pt x="482538" y="116973"/>
                      </a:lnTo>
                      <a:lnTo>
                        <a:pt x="483385" y="117821"/>
                      </a:lnTo>
                      <a:lnTo>
                        <a:pt x="485186" y="118008"/>
                      </a:lnTo>
                      <a:lnTo>
                        <a:pt x="486613" y="120201"/>
                      </a:lnTo>
                      <a:lnTo>
                        <a:pt x="488194" y="120869"/>
                      </a:lnTo>
                      <a:lnTo>
                        <a:pt x="488862" y="123395"/>
                      </a:lnTo>
                      <a:lnTo>
                        <a:pt x="489881" y="130037"/>
                      </a:lnTo>
                      <a:lnTo>
                        <a:pt x="491779" y="133949"/>
                      </a:lnTo>
                      <a:lnTo>
                        <a:pt x="493654" y="138407"/>
                      </a:lnTo>
                      <a:lnTo>
                        <a:pt x="493719" y="140396"/>
                      </a:lnTo>
                      <a:lnTo>
                        <a:pt x="492668" y="142408"/>
                      </a:lnTo>
                      <a:lnTo>
                        <a:pt x="492488" y="145293"/>
                      </a:lnTo>
                      <a:lnTo>
                        <a:pt x="491836" y="152343"/>
                      </a:lnTo>
                      <a:lnTo>
                        <a:pt x="491625" y="154935"/>
                      </a:lnTo>
                      <a:lnTo>
                        <a:pt x="492276" y="156711"/>
                      </a:lnTo>
                      <a:lnTo>
                        <a:pt x="492521" y="159189"/>
                      </a:lnTo>
                      <a:lnTo>
                        <a:pt x="491502" y="162204"/>
                      </a:lnTo>
                      <a:lnTo>
                        <a:pt x="489522" y="166735"/>
                      </a:lnTo>
                      <a:lnTo>
                        <a:pt x="487607" y="167950"/>
                      </a:lnTo>
                      <a:lnTo>
                        <a:pt x="487118" y="167999"/>
                      </a:lnTo>
                      <a:lnTo>
                        <a:pt x="484518" y="170615"/>
                      </a:lnTo>
                      <a:lnTo>
                        <a:pt x="482692" y="171601"/>
                      </a:lnTo>
                      <a:lnTo>
                        <a:pt x="481633" y="170932"/>
                      </a:lnTo>
                      <a:lnTo>
                        <a:pt x="480427" y="172074"/>
                      </a:lnTo>
                      <a:lnTo>
                        <a:pt x="479066" y="174999"/>
                      </a:lnTo>
                      <a:lnTo>
                        <a:pt x="477411" y="176311"/>
                      </a:lnTo>
                      <a:lnTo>
                        <a:pt x="474404" y="177045"/>
                      </a:lnTo>
                      <a:lnTo>
                        <a:pt x="473508" y="177395"/>
                      </a:lnTo>
                      <a:lnTo>
                        <a:pt x="471756" y="177290"/>
                      </a:lnTo>
                      <a:lnTo>
                        <a:pt x="470256" y="178015"/>
                      </a:lnTo>
                      <a:lnTo>
                        <a:pt x="469009" y="179579"/>
                      </a:lnTo>
                      <a:lnTo>
                        <a:pt x="467673" y="180166"/>
                      </a:lnTo>
                      <a:lnTo>
                        <a:pt x="466254" y="179767"/>
                      </a:lnTo>
                      <a:lnTo>
                        <a:pt x="464959" y="180337"/>
                      </a:lnTo>
                      <a:lnTo>
                        <a:pt x="463801" y="181886"/>
                      </a:lnTo>
                      <a:lnTo>
                        <a:pt x="463125" y="183548"/>
                      </a:lnTo>
                      <a:lnTo>
                        <a:pt x="462946" y="185358"/>
                      </a:lnTo>
                      <a:lnTo>
                        <a:pt x="461805" y="186572"/>
                      </a:lnTo>
                      <a:lnTo>
                        <a:pt x="459726" y="187232"/>
                      </a:lnTo>
                      <a:lnTo>
                        <a:pt x="459009" y="188129"/>
                      </a:lnTo>
                      <a:lnTo>
                        <a:pt x="459140" y="189392"/>
                      </a:lnTo>
                      <a:lnTo>
                        <a:pt x="458202" y="190370"/>
                      </a:lnTo>
                      <a:lnTo>
                        <a:pt x="454682" y="191388"/>
                      </a:lnTo>
                      <a:lnTo>
                        <a:pt x="452131" y="193198"/>
                      </a:lnTo>
                      <a:lnTo>
                        <a:pt x="450558" y="195805"/>
                      </a:lnTo>
                      <a:lnTo>
                        <a:pt x="448904" y="197452"/>
                      </a:lnTo>
                      <a:lnTo>
                        <a:pt x="446288" y="198446"/>
                      </a:lnTo>
                      <a:lnTo>
                        <a:pt x="442734" y="201095"/>
                      </a:lnTo>
                      <a:lnTo>
                        <a:pt x="442229" y="202733"/>
                      </a:lnTo>
                      <a:lnTo>
                        <a:pt x="443582" y="204233"/>
                      </a:lnTo>
                      <a:lnTo>
                        <a:pt x="444063" y="205577"/>
                      </a:lnTo>
                      <a:lnTo>
                        <a:pt x="443688" y="206759"/>
                      </a:lnTo>
                      <a:lnTo>
                        <a:pt x="442571" y="206914"/>
                      </a:lnTo>
                      <a:lnTo>
                        <a:pt x="440737" y="206066"/>
                      </a:lnTo>
                      <a:lnTo>
                        <a:pt x="439426" y="205887"/>
                      </a:lnTo>
                      <a:lnTo>
                        <a:pt x="438643" y="206392"/>
                      </a:lnTo>
                      <a:lnTo>
                        <a:pt x="438276" y="207329"/>
                      </a:lnTo>
                      <a:lnTo>
                        <a:pt x="438317" y="208723"/>
                      </a:lnTo>
                      <a:lnTo>
                        <a:pt x="437657" y="209660"/>
                      </a:lnTo>
                      <a:lnTo>
                        <a:pt x="436296" y="210165"/>
                      </a:lnTo>
                      <a:lnTo>
                        <a:pt x="435440" y="211323"/>
                      </a:lnTo>
                      <a:lnTo>
                        <a:pt x="435082" y="213116"/>
                      </a:lnTo>
                      <a:lnTo>
                        <a:pt x="433378" y="215365"/>
                      </a:lnTo>
                      <a:lnTo>
                        <a:pt x="430330" y="218095"/>
                      </a:lnTo>
                      <a:lnTo>
                        <a:pt x="427934" y="221771"/>
                      </a:lnTo>
                      <a:lnTo>
                        <a:pt x="426174" y="226400"/>
                      </a:lnTo>
                      <a:lnTo>
                        <a:pt x="424128" y="229431"/>
                      </a:lnTo>
                      <a:lnTo>
                        <a:pt x="421781" y="230890"/>
                      </a:lnTo>
                      <a:lnTo>
                        <a:pt x="420159" y="232976"/>
                      </a:lnTo>
                      <a:lnTo>
                        <a:pt x="419279" y="235666"/>
                      </a:lnTo>
                      <a:lnTo>
                        <a:pt x="416777" y="239855"/>
                      </a:lnTo>
                      <a:lnTo>
                        <a:pt x="412662" y="245519"/>
                      </a:lnTo>
                      <a:lnTo>
                        <a:pt x="408921" y="249398"/>
                      </a:lnTo>
                      <a:lnTo>
                        <a:pt x="405563" y="251517"/>
                      </a:lnTo>
                      <a:lnTo>
                        <a:pt x="403681" y="253905"/>
                      </a:lnTo>
                      <a:lnTo>
                        <a:pt x="403265" y="256554"/>
                      </a:lnTo>
                      <a:lnTo>
                        <a:pt x="401089" y="259594"/>
                      </a:lnTo>
                      <a:lnTo>
                        <a:pt x="397153" y="263000"/>
                      </a:lnTo>
                      <a:lnTo>
                        <a:pt x="396036" y="264540"/>
                      </a:lnTo>
                      <a:lnTo>
                        <a:pt x="395115" y="265779"/>
                      </a:lnTo>
                      <a:lnTo>
                        <a:pt x="394993" y="267971"/>
                      </a:lnTo>
                      <a:lnTo>
                        <a:pt x="393453" y="270856"/>
                      </a:lnTo>
                      <a:lnTo>
                        <a:pt x="390519" y="274410"/>
                      </a:lnTo>
                      <a:lnTo>
                        <a:pt x="389492" y="277507"/>
                      </a:lnTo>
                      <a:lnTo>
                        <a:pt x="390837" y="281402"/>
                      </a:lnTo>
                      <a:lnTo>
                        <a:pt x="391032" y="286121"/>
                      </a:lnTo>
                      <a:lnTo>
                        <a:pt x="390454" y="288012"/>
                      </a:lnTo>
                      <a:lnTo>
                        <a:pt x="389158" y="288647"/>
                      </a:lnTo>
                      <a:lnTo>
                        <a:pt x="388856" y="289870"/>
                      </a:lnTo>
                      <a:lnTo>
                        <a:pt x="389557" y="291679"/>
                      </a:lnTo>
                      <a:lnTo>
                        <a:pt x="389598" y="294034"/>
                      </a:lnTo>
                      <a:lnTo>
                        <a:pt x="388979" y="296968"/>
                      </a:lnTo>
                      <a:lnTo>
                        <a:pt x="387618" y="300326"/>
                      </a:lnTo>
                      <a:lnTo>
                        <a:pt x="385507" y="304115"/>
                      </a:lnTo>
                      <a:lnTo>
                        <a:pt x="385002" y="306642"/>
                      </a:lnTo>
                      <a:lnTo>
                        <a:pt x="386094" y="307922"/>
                      </a:lnTo>
                      <a:lnTo>
                        <a:pt x="386632" y="309274"/>
                      </a:lnTo>
                      <a:lnTo>
                        <a:pt x="386615" y="310717"/>
                      </a:lnTo>
                      <a:lnTo>
                        <a:pt x="386159" y="312795"/>
                      </a:lnTo>
                      <a:lnTo>
                        <a:pt x="385287" y="315517"/>
                      </a:lnTo>
                      <a:lnTo>
                        <a:pt x="383958" y="317546"/>
                      </a:lnTo>
                      <a:lnTo>
                        <a:pt x="382182" y="318866"/>
                      </a:lnTo>
                      <a:lnTo>
                        <a:pt x="381652" y="320545"/>
                      </a:lnTo>
                      <a:lnTo>
                        <a:pt x="382353" y="322558"/>
                      </a:lnTo>
                      <a:lnTo>
                        <a:pt x="382459" y="324661"/>
                      </a:lnTo>
                      <a:lnTo>
                        <a:pt x="381945" y="326862"/>
                      </a:lnTo>
                      <a:lnTo>
                        <a:pt x="382255" y="328980"/>
                      </a:lnTo>
                      <a:lnTo>
                        <a:pt x="383372" y="331067"/>
                      </a:lnTo>
                      <a:lnTo>
                        <a:pt x="383290" y="333438"/>
                      </a:lnTo>
                      <a:lnTo>
                        <a:pt x="381350" y="338304"/>
                      </a:lnTo>
                      <a:lnTo>
                        <a:pt x="380878" y="341303"/>
                      </a:lnTo>
                      <a:lnTo>
                        <a:pt x="382100" y="354155"/>
                      </a:lnTo>
                      <a:lnTo>
                        <a:pt x="381359" y="355956"/>
                      </a:lnTo>
                      <a:lnTo>
                        <a:pt x="380128" y="358042"/>
                      </a:lnTo>
                      <a:lnTo>
                        <a:pt x="378677" y="358189"/>
                      </a:lnTo>
                      <a:lnTo>
                        <a:pt x="377015" y="357830"/>
                      </a:lnTo>
                      <a:lnTo>
                        <a:pt x="375817" y="359118"/>
                      </a:lnTo>
                      <a:lnTo>
                        <a:pt x="375059" y="364806"/>
                      </a:lnTo>
                      <a:lnTo>
                        <a:pt x="372769" y="377129"/>
                      </a:lnTo>
                      <a:lnTo>
                        <a:pt x="373185" y="380055"/>
                      </a:lnTo>
                      <a:lnTo>
                        <a:pt x="375018" y="384806"/>
                      </a:lnTo>
                      <a:lnTo>
                        <a:pt x="375695" y="387838"/>
                      </a:lnTo>
                      <a:lnTo>
                        <a:pt x="376200" y="390120"/>
                      </a:lnTo>
                      <a:lnTo>
                        <a:pt x="376616" y="394455"/>
                      </a:lnTo>
                      <a:lnTo>
                        <a:pt x="375548" y="396403"/>
                      </a:lnTo>
                      <a:lnTo>
                        <a:pt x="374562" y="396745"/>
                      </a:lnTo>
                      <a:lnTo>
                        <a:pt x="373315" y="397837"/>
                      </a:lnTo>
                      <a:lnTo>
                        <a:pt x="374782" y="403119"/>
                      </a:lnTo>
                      <a:lnTo>
                        <a:pt x="375955" y="405555"/>
                      </a:lnTo>
                      <a:lnTo>
                        <a:pt x="379313" y="410543"/>
                      </a:lnTo>
                      <a:lnTo>
                        <a:pt x="392206" y="417487"/>
                      </a:lnTo>
                      <a:lnTo>
                        <a:pt x="397560" y="421586"/>
                      </a:lnTo>
                      <a:lnTo>
                        <a:pt x="403615" y="427168"/>
                      </a:lnTo>
                      <a:lnTo>
                        <a:pt x="406916" y="432906"/>
                      </a:lnTo>
                      <a:lnTo>
                        <a:pt x="407201" y="437633"/>
                      </a:lnTo>
                      <a:lnTo>
                        <a:pt x="402369" y="444715"/>
                      </a:lnTo>
                      <a:lnTo>
                        <a:pt x="401831" y="450664"/>
                      </a:lnTo>
                      <a:lnTo>
                        <a:pt x="402825" y="454845"/>
                      </a:lnTo>
                      <a:lnTo>
                        <a:pt x="404569" y="458740"/>
                      </a:lnTo>
                      <a:lnTo>
                        <a:pt x="409255" y="463793"/>
                      </a:lnTo>
                      <a:lnTo>
                        <a:pt x="412703" y="465643"/>
                      </a:lnTo>
                      <a:lnTo>
                        <a:pt x="417356" y="465456"/>
                      </a:lnTo>
                      <a:lnTo>
                        <a:pt x="418155" y="466866"/>
                      </a:lnTo>
                      <a:lnTo>
                        <a:pt x="418636" y="468104"/>
                      </a:lnTo>
                      <a:lnTo>
                        <a:pt x="419377" y="478365"/>
                      </a:lnTo>
                      <a:lnTo>
                        <a:pt x="419279" y="482220"/>
                      </a:lnTo>
                      <a:lnTo>
                        <a:pt x="417910" y="485757"/>
                      </a:lnTo>
                      <a:lnTo>
                        <a:pt x="408970" y="502048"/>
                      </a:lnTo>
                      <a:lnTo>
                        <a:pt x="401325" y="512023"/>
                      </a:lnTo>
                      <a:lnTo>
                        <a:pt x="398554" y="517524"/>
                      </a:lnTo>
                      <a:lnTo>
                        <a:pt x="397568" y="523441"/>
                      </a:lnTo>
                      <a:lnTo>
                        <a:pt x="395124" y="526261"/>
                      </a:lnTo>
                      <a:lnTo>
                        <a:pt x="381888" y="535193"/>
                      </a:lnTo>
                      <a:lnTo>
                        <a:pt x="361351" y="543171"/>
                      </a:lnTo>
                      <a:lnTo>
                        <a:pt x="344758" y="547328"/>
                      </a:lnTo>
                      <a:lnTo>
                        <a:pt x="340993" y="548730"/>
                      </a:lnTo>
                      <a:lnTo>
                        <a:pt x="314311" y="553293"/>
                      </a:lnTo>
                      <a:lnTo>
                        <a:pt x="309152" y="553938"/>
                      </a:lnTo>
                      <a:lnTo>
                        <a:pt x="302437" y="553522"/>
                      </a:lnTo>
                      <a:lnTo>
                        <a:pt x="296993" y="554133"/>
                      </a:lnTo>
                      <a:lnTo>
                        <a:pt x="290905" y="552886"/>
                      </a:lnTo>
                      <a:lnTo>
                        <a:pt x="285469" y="551460"/>
                      </a:lnTo>
                      <a:lnTo>
                        <a:pt x="282437" y="547882"/>
                      </a:lnTo>
                      <a:lnTo>
                        <a:pt x="278827" y="547442"/>
                      </a:lnTo>
                      <a:lnTo>
                        <a:pt x="277841" y="549227"/>
                      </a:lnTo>
                      <a:lnTo>
                        <a:pt x="279593" y="553782"/>
                      </a:lnTo>
                      <a:lnTo>
                        <a:pt x="278745" y="559267"/>
                      </a:lnTo>
                      <a:lnTo>
                        <a:pt x="279813" y="562389"/>
                      </a:lnTo>
                      <a:lnTo>
                        <a:pt x="281948" y="563016"/>
                      </a:lnTo>
                      <a:lnTo>
                        <a:pt x="283994" y="564622"/>
                      </a:lnTo>
                      <a:lnTo>
                        <a:pt x="285803" y="566798"/>
                      </a:lnTo>
                      <a:lnTo>
                        <a:pt x="282682" y="567010"/>
                      </a:lnTo>
                      <a:lnTo>
                        <a:pt x="283888" y="568745"/>
                      </a:lnTo>
                      <a:lnTo>
                        <a:pt x="285224" y="569748"/>
                      </a:lnTo>
                      <a:lnTo>
                        <a:pt x="285078" y="573366"/>
                      </a:lnTo>
                      <a:lnTo>
                        <a:pt x="283872" y="582046"/>
                      </a:lnTo>
                      <a:lnTo>
                        <a:pt x="280832" y="583920"/>
                      </a:lnTo>
                      <a:lnTo>
                        <a:pt x="280009" y="584425"/>
                      </a:lnTo>
                      <a:lnTo>
                        <a:pt x="279096" y="586300"/>
                      </a:lnTo>
                      <a:lnTo>
                        <a:pt x="277164" y="594637"/>
                      </a:lnTo>
                      <a:lnTo>
                        <a:pt x="276537" y="600048"/>
                      </a:lnTo>
                      <a:lnTo>
                        <a:pt x="277368" y="603545"/>
                      </a:lnTo>
                      <a:lnTo>
                        <a:pt x="281019" y="610888"/>
                      </a:lnTo>
                      <a:lnTo>
                        <a:pt x="279642" y="615655"/>
                      </a:lnTo>
                      <a:lnTo>
                        <a:pt x="277335" y="618255"/>
                      </a:lnTo>
                      <a:lnTo>
                        <a:pt x="267336" y="623577"/>
                      </a:lnTo>
                      <a:lnTo>
                        <a:pt x="263342" y="625720"/>
                      </a:lnTo>
                      <a:lnTo>
                        <a:pt x="257051" y="627187"/>
                      </a:lnTo>
                      <a:lnTo>
                        <a:pt x="246904" y="627423"/>
                      </a:lnTo>
                      <a:lnTo>
                        <a:pt x="243155" y="627089"/>
                      </a:lnTo>
                      <a:lnTo>
                        <a:pt x="234468" y="622232"/>
                      </a:lnTo>
                      <a:lnTo>
                        <a:pt x="228013" y="619339"/>
                      </a:lnTo>
                      <a:lnTo>
                        <a:pt x="222105" y="617024"/>
                      </a:lnTo>
                      <a:lnTo>
                        <a:pt x="216359" y="615631"/>
                      </a:lnTo>
                      <a:lnTo>
                        <a:pt x="217182" y="614930"/>
                      </a:lnTo>
                      <a:lnTo>
                        <a:pt x="217565" y="613675"/>
                      </a:lnTo>
                      <a:lnTo>
                        <a:pt x="215952" y="612974"/>
                      </a:lnTo>
                      <a:lnTo>
                        <a:pt x="214778" y="612819"/>
                      </a:lnTo>
                      <a:lnTo>
                        <a:pt x="210997" y="615338"/>
                      </a:lnTo>
                      <a:lnTo>
                        <a:pt x="209407" y="617905"/>
                      </a:lnTo>
                      <a:lnTo>
                        <a:pt x="208943" y="620170"/>
                      </a:lnTo>
                      <a:lnTo>
                        <a:pt x="208869" y="625574"/>
                      </a:lnTo>
                      <a:lnTo>
                        <a:pt x="209546" y="630137"/>
                      </a:lnTo>
                      <a:lnTo>
                        <a:pt x="212260" y="641360"/>
                      </a:lnTo>
                      <a:lnTo>
                        <a:pt x="212537" y="647464"/>
                      </a:lnTo>
                      <a:lnTo>
                        <a:pt x="211249" y="655174"/>
                      </a:lnTo>
                      <a:lnTo>
                        <a:pt x="213050" y="659713"/>
                      </a:lnTo>
                      <a:lnTo>
                        <a:pt x="215243" y="661775"/>
                      </a:lnTo>
                      <a:lnTo>
                        <a:pt x="220165" y="663804"/>
                      </a:lnTo>
                      <a:lnTo>
                        <a:pt x="222080" y="665190"/>
                      </a:lnTo>
                      <a:lnTo>
                        <a:pt x="224175" y="664969"/>
                      </a:lnTo>
                      <a:lnTo>
                        <a:pt x="224819" y="665507"/>
                      </a:lnTo>
                      <a:lnTo>
                        <a:pt x="224509" y="666502"/>
                      </a:lnTo>
                      <a:lnTo>
                        <a:pt x="223270" y="668449"/>
                      </a:lnTo>
                      <a:lnTo>
                        <a:pt x="223352" y="670527"/>
                      </a:lnTo>
                      <a:lnTo>
                        <a:pt x="227084" y="671131"/>
                      </a:lnTo>
                      <a:lnTo>
                        <a:pt x="230947" y="670715"/>
                      </a:lnTo>
                      <a:lnTo>
                        <a:pt x="235006" y="669794"/>
                      </a:lnTo>
                      <a:lnTo>
                        <a:pt x="235967" y="668360"/>
                      </a:lnTo>
                      <a:lnTo>
                        <a:pt x="235992" y="665361"/>
                      </a:lnTo>
                      <a:lnTo>
                        <a:pt x="231240" y="664839"/>
                      </a:lnTo>
                      <a:lnTo>
                        <a:pt x="231844" y="663714"/>
                      </a:lnTo>
                      <a:lnTo>
                        <a:pt x="235446" y="662492"/>
                      </a:lnTo>
                      <a:lnTo>
                        <a:pt x="240173" y="660495"/>
                      </a:lnTo>
                      <a:lnTo>
                        <a:pt x="242585" y="660128"/>
                      </a:lnTo>
                      <a:lnTo>
                        <a:pt x="244223" y="661465"/>
                      </a:lnTo>
                      <a:lnTo>
                        <a:pt x="245331" y="662704"/>
                      </a:lnTo>
                      <a:lnTo>
                        <a:pt x="246692" y="665931"/>
                      </a:lnTo>
                      <a:lnTo>
                        <a:pt x="247540" y="670193"/>
                      </a:lnTo>
                      <a:lnTo>
                        <a:pt x="247573" y="675327"/>
                      </a:lnTo>
                      <a:lnTo>
                        <a:pt x="247002" y="680177"/>
                      </a:lnTo>
                      <a:lnTo>
                        <a:pt x="246326" y="681888"/>
                      </a:lnTo>
                      <a:lnTo>
                        <a:pt x="245136" y="683950"/>
                      </a:lnTo>
                      <a:lnTo>
                        <a:pt x="236644" y="686574"/>
                      </a:lnTo>
                      <a:lnTo>
                        <a:pt x="234264" y="685890"/>
                      </a:lnTo>
                      <a:lnTo>
                        <a:pt x="232055" y="682239"/>
                      </a:lnTo>
                      <a:lnTo>
                        <a:pt x="231355" y="678449"/>
                      </a:lnTo>
                      <a:lnTo>
                        <a:pt x="229464" y="675914"/>
                      </a:lnTo>
                      <a:lnTo>
                        <a:pt x="225405" y="673885"/>
                      </a:lnTo>
                      <a:lnTo>
                        <a:pt x="221371" y="674505"/>
                      </a:lnTo>
                      <a:lnTo>
                        <a:pt x="217370" y="678017"/>
                      </a:lnTo>
                      <a:lnTo>
                        <a:pt x="213433" y="679150"/>
                      </a:lnTo>
                      <a:lnTo>
                        <a:pt x="212040" y="682353"/>
                      </a:lnTo>
                      <a:lnTo>
                        <a:pt x="221901" y="687544"/>
                      </a:lnTo>
                      <a:lnTo>
                        <a:pt x="226555" y="688987"/>
                      </a:lnTo>
                      <a:lnTo>
                        <a:pt x="228070" y="688929"/>
                      </a:lnTo>
                      <a:lnTo>
                        <a:pt x="229594" y="689622"/>
                      </a:lnTo>
                      <a:lnTo>
                        <a:pt x="228193" y="691537"/>
                      </a:lnTo>
                      <a:lnTo>
                        <a:pt x="226791" y="692736"/>
                      </a:lnTo>
                      <a:lnTo>
                        <a:pt x="219766" y="695368"/>
                      </a:lnTo>
                      <a:lnTo>
                        <a:pt x="216677" y="697226"/>
                      </a:lnTo>
                      <a:lnTo>
                        <a:pt x="213067" y="700845"/>
                      </a:lnTo>
                      <a:lnTo>
                        <a:pt x="208006" y="708774"/>
                      </a:lnTo>
                      <a:lnTo>
                        <a:pt x="206457" y="710502"/>
                      </a:lnTo>
                      <a:lnTo>
                        <a:pt x="205683" y="712523"/>
                      </a:lnTo>
                      <a:lnTo>
                        <a:pt x="205161" y="718000"/>
                      </a:lnTo>
                      <a:lnTo>
                        <a:pt x="206799" y="727079"/>
                      </a:lnTo>
                      <a:lnTo>
                        <a:pt x="205072" y="730909"/>
                      </a:lnTo>
                      <a:lnTo>
                        <a:pt x="206131" y="735147"/>
                      </a:lnTo>
                      <a:lnTo>
                        <a:pt x="205528" y="737983"/>
                      </a:lnTo>
                      <a:lnTo>
                        <a:pt x="203760" y="742041"/>
                      </a:lnTo>
                      <a:lnTo>
                        <a:pt x="196661" y="748480"/>
                      </a:lnTo>
                      <a:lnTo>
                        <a:pt x="195398" y="753198"/>
                      </a:lnTo>
                      <a:lnTo>
                        <a:pt x="197859" y="755994"/>
                      </a:lnTo>
                      <a:lnTo>
                        <a:pt x="197696" y="758423"/>
                      </a:lnTo>
                      <a:lnTo>
                        <a:pt x="196873" y="760631"/>
                      </a:lnTo>
                      <a:lnTo>
                        <a:pt x="193923" y="760607"/>
                      </a:lnTo>
                      <a:lnTo>
                        <a:pt x="183198" y="759115"/>
                      </a:lnTo>
                      <a:lnTo>
                        <a:pt x="179294" y="761527"/>
                      </a:lnTo>
                      <a:lnTo>
                        <a:pt x="175676" y="764470"/>
                      </a:lnTo>
                      <a:lnTo>
                        <a:pt x="174681" y="765879"/>
                      </a:lnTo>
                      <a:lnTo>
                        <a:pt x="173402" y="766759"/>
                      </a:lnTo>
                      <a:lnTo>
                        <a:pt x="166026" y="768341"/>
                      </a:lnTo>
                      <a:lnTo>
                        <a:pt x="164560" y="769376"/>
                      </a:lnTo>
                      <a:lnTo>
                        <a:pt x="156719" y="780630"/>
                      </a:lnTo>
                      <a:lnTo>
                        <a:pt x="153362" y="787623"/>
                      </a:lnTo>
                      <a:lnTo>
                        <a:pt x="149303" y="794485"/>
                      </a:lnTo>
                      <a:lnTo>
                        <a:pt x="148235" y="797402"/>
                      </a:lnTo>
                      <a:lnTo>
                        <a:pt x="147999" y="801445"/>
                      </a:lnTo>
                      <a:lnTo>
                        <a:pt x="148570" y="805072"/>
                      </a:lnTo>
                      <a:lnTo>
                        <a:pt x="149132" y="807761"/>
                      </a:lnTo>
                      <a:lnTo>
                        <a:pt x="150542" y="811208"/>
                      </a:lnTo>
                      <a:lnTo>
                        <a:pt x="153517" y="815144"/>
                      </a:lnTo>
                      <a:lnTo>
                        <a:pt x="168642" y="831216"/>
                      </a:lnTo>
                      <a:lnTo>
                        <a:pt x="171772" y="832609"/>
                      </a:lnTo>
                      <a:lnTo>
                        <a:pt x="187941" y="834337"/>
                      </a:lnTo>
                      <a:lnTo>
                        <a:pt x="191535" y="836578"/>
                      </a:lnTo>
                      <a:lnTo>
                        <a:pt x="193630" y="840148"/>
                      </a:lnTo>
                      <a:lnTo>
                        <a:pt x="194396" y="843302"/>
                      </a:lnTo>
                      <a:lnTo>
                        <a:pt x="193467" y="851280"/>
                      </a:lnTo>
                      <a:lnTo>
                        <a:pt x="192505" y="853774"/>
                      </a:lnTo>
                      <a:lnTo>
                        <a:pt x="190720" y="856040"/>
                      </a:lnTo>
                      <a:lnTo>
                        <a:pt x="186890" y="858966"/>
                      </a:lnTo>
                      <a:lnTo>
                        <a:pt x="182309" y="860522"/>
                      </a:lnTo>
                      <a:lnTo>
                        <a:pt x="183622" y="861622"/>
                      </a:lnTo>
                      <a:lnTo>
                        <a:pt x="185488" y="861468"/>
                      </a:lnTo>
                      <a:lnTo>
                        <a:pt x="189530" y="860522"/>
                      </a:lnTo>
                      <a:lnTo>
                        <a:pt x="191282" y="861468"/>
                      </a:lnTo>
                      <a:lnTo>
                        <a:pt x="192619" y="864622"/>
                      </a:lnTo>
                      <a:lnTo>
                        <a:pt x="190076" y="865893"/>
                      </a:lnTo>
                      <a:lnTo>
                        <a:pt x="189302" y="867417"/>
                      </a:lnTo>
                      <a:lnTo>
                        <a:pt x="187468" y="869748"/>
                      </a:lnTo>
                      <a:lnTo>
                        <a:pt x="178137" y="879022"/>
                      </a:lnTo>
                      <a:lnTo>
                        <a:pt x="173100" y="881801"/>
                      </a:lnTo>
                      <a:lnTo>
                        <a:pt x="168471" y="885534"/>
                      </a:lnTo>
                      <a:lnTo>
                        <a:pt x="162269" y="889315"/>
                      </a:lnTo>
                      <a:lnTo>
                        <a:pt x="159841" y="891475"/>
                      </a:lnTo>
                      <a:lnTo>
                        <a:pt x="156556" y="896047"/>
                      </a:lnTo>
                      <a:lnTo>
                        <a:pt x="151528" y="901010"/>
                      </a:lnTo>
                      <a:lnTo>
                        <a:pt x="146100" y="911678"/>
                      </a:lnTo>
                      <a:lnTo>
                        <a:pt x="145880" y="913756"/>
                      </a:lnTo>
                      <a:lnTo>
                        <a:pt x="146663" y="915150"/>
                      </a:lnTo>
                      <a:lnTo>
                        <a:pt x="143655" y="933919"/>
                      </a:lnTo>
                      <a:lnTo>
                        <a:pt x="142596" y="936127"/>
                      </a:lnTo>
                      <a:lnTo>
                        <a:pt x="140420" y="938491"/>
                      </a:lnTo>
                      <a:lnTo>
                        <a:pt x="134666" y="942386"/>
                      </a:lnTo>
                      <a:lnTo>
                        <a:pt x="131903" y="942883"/>
                      </a:lnTo>
                      <a:lnTo>
                        <a:pt x="128244" y="940618"/>
                      </a:lnTo>
                      <a:lnTo>
                        <a:pt x="126182" y="938262"/>
                      </a:lnTo>
                      <a:lnTo>
                        <a:pt x="124161" y="934220"/>
                      </a:lnTo>
                      <a:lnTo>
                        <a:pt x="121724" y="930056"/>
                      </a:lnTo>
                      <a:lnTo>
                        <a:pt x="121594" y="931547"/>
                      </a:lnTo>
                      <a:lnTo>
                        <a:pt x="122441" y="934074"/>
                      </a:lnTo>
                      <a:lnTo>
                        <a:pt x="121871" y="936722"/>
                      </a:lnTo>
                      <a:lnTo>
                        <a:pt x="115637" y="937929"/>
                      </a:lnTo>
                      <a:lnTo>
                        <a:pt x="113982" y="939167"/>
                      </a:lnTo>
                      <a:lnTo>
                        <a:pt x="119614" y="938621"/>
                      </a:lnTo>
                      <a:lnTo>
                        <a:pt x="123444" y="939420"/>
                      </a:lnTo>
                      <a:lnTo>
                        <a:pt x="125066" y="940390"/>
                      </a:lnTo>
                      <a:lnTo>
                        <a:pt x="126533" y="942394"/>
                      </a:lnTo>
                      <a:lnTo>
                        <a:pt x="127812" y="944823"/>
                      </a:lnTo>
                      <a:lnTo>
                        <a:pt x="126736" y="946176"/>
                      </a:lnTo>
                      <a:lnTo>
                        <a:pt x="123664" y="947292"/>
                      </a:lnTo>
                      <a:lnTo>
                        <a:pt x="119687" y="949330"/>
                      </a:lnTo>
                      <a:lnTo>
                        <a:pt x="114976" y="953022"/>
                      </a:lnTo>
                      <a:lnTo>
                        <a:pt x="112368" y="957300"/>
                      </a:lnTo>
                      <a:lnTo>
                        <a:pt x="111244" y="960373"/>
                      </a:lnTo>
                      <a:lnTo>
                        <a:pt x="109972" y="966591"/>
                      </a:lnTo>
                      <a:lnTo>
                        <a:pt x="109630" y="970690"/>
                      </a:lnTo>
                      <a:lnTo>
                        <a:pt x="107642" y="973861"/>
                      </a:lnTo>
                      <a:lnTo>
                        <a:pt x="104586" y="976705"/>
                      </a:lnTo>
                      <a:lnTo>
                        <a:pt x="104757" y="977365"/>
                      </a:lnTo>
                      <a:lnTo>
                        <a:pt x="106835" y="975906"/>
                      </a:lnTo>
                      <a:lnTo>
                        <a:pt x="108497" y="975434"/>
                      </a:lnTo>
                      <a:lnTo>
                        <a:pt x="109924" y="979239"/>
                      </a:lnTo>
                      <a:lnTo>
                        <a:pt x="111847" y="986835"/>
                      </a:lnTo>
                      <a:lnTo>
                        <a:pt x="112744" y="992108"/>
                      </a:lnTo>
                      <a:lnTo>
                        <a:pt x="112597" y="993672"/>
                      </a:lnTo>
                      <a:lnTo>
                        <a:pt x="112034" y="995832"/>
                      </a:lnTo>
                      <a:lnTo>
                        <a:pt x="108074" y="996338"/>
                      </a:lnTo>
                      <a:lnTo>
                        <a:pt x="104537" y="996272"/>
                      </a:lnTo>
                      <a:lnTo>
                        <a:pt x="101937" y="997201"/>
                      </a:lnTo>
                      <a:lnTo>
                        <a:pt x="103331" y="998147"/>
                      </a:lnTo>
                      <a:lnTo>
                        <a:pt x="105718" y="997804"/>
                      </a:lnTo>
                      <a:lnTo>
                        <a:pt x="109019" y="1000062"/>
                      </a:lnTo>
                      <a:lnTo>
                        <a:pt x="112678" y="999108"/>
                      </a:lnTo>
                      <a:lnTo>
                        <a:pt x="114349" y="1000616"/>
                      </a:lnTo>
                      <a:lnTo>
                        <a:pt x="115555" y="1002002"/>
                      </a:lnTo>
                      <a:lnTo>
                        <a:pt x="121162" y="1013044"/>
                      </a:lnTo>
                      <a:lnTo>
                        <a:pt x="126060" y="1019890"/>
                      </a:lnTo>
                      <a:lnTo>
                        <a:pt x="128538" y="1023957"/>
                      </a:lnTo>
                      <a:lnTo>
                        <a:pt x="127307" y="1025807"/>
                      </a:lnTo>
                      <a:lnTo>
                        <a:pt x="126867" y="1023346"/>
                      </a:lnTo>
                      <a:lnTo>
                        <a:pt x="123680" y="1022710"/>
                      </a:lnTo>
                      <a:lnTo>
                        <a:pt x="120567" y="1022050"/>
                      </a:lnTo>
                      <a:lnTo>
                        <a:pt x="115376" y="1020298"/>
                      </a:lnTo>
                      <a:lnTo>
                        <a:pt x="108383" y="1017616"/>
                      </a:lnTo>
                      <a:lnTo>
                        <a:pt x="101391" y="1017616"/>
                      </a:lnTo>
                      <a:lnTo>
                        <a:pt x="95825" y="1015367"/>
                      </a:lnTo>
                      <a:lnTo>
                        <a:pt x="89688" y="1012865"/>
                      </a:lnTo>
                      <a:lnTo>
                        <a:pt x="76730" y="1012653"/>
                      </a:lnTo>
                      <a:lnTo>
                        <a:pt x="65312" y="1012498"/>
                      </a:lnTo>
                      <a:lnTo>
                        <a:pt x="53617" y="1012336"/>
                      </a:lnTo>
                      <a:lnTo>
                        <a:pt x="46128" y="1012238"/>
                      </a:lnTo>
                      <a:lnTo>
                        <a:pt x="41116" y="1012172"/>
                      </a:lnTo>
                      <a:lnTo>
                        <a:pt x="39820" y="1011227"/>
                      </a:lnTo>
                      <a:lnTo>
                        <a:pt x="40260" y="1008130"/>
                      </a:lnTo>
                      <a:lnTo>
                        <a:pt x="38402" y="1005848"/>
                      </a:lnTo>
                      <a:lnTo>
                        <a:pt x="35704" y="1003086"/>
                      </a:lnTo>
                      <a:lnTo>
                        <a:pt x="32428" y="1001138"/>
                      </a:lnTo>
                      <a:lnTo>
                        <a:pt x="30806" y="998513"/>
                      </a:lnTo>
                      <a:lnTo>
                        <a:pt x="28989" y="995587"/>
                      </a:lnTo>
                      <a:lnTo>
                        <a:pt x="30007" y="992988"/>
                      </a:lnTo>
                      <a:lnTo>
                        <a:pt x="31572" y="986672"/>
                      </a:lnTo>
                      <a:lnTo>
                        <a:pt x="31613" y="983877"/>
                      </a:lnTo>
                      <a:lnTo>
                        <a:pt x="30187" y="981937"/>
                      </a:lnTo>
                      <a:lnTo>
                        <a:pt x="29746" y="979174"/>
                      </a:lnTo>
                      <a:lnTo>
                        <a:pt x="30187" y="977878"/>
                      </a:lnTo>
                      <a:lnTo>
                        <a:pt x="31474" y="976900"/>
                      </a:lnTo>
                      <a:lnTo>
                        <a:pt x="32240" y="972377"/>
                      </a:lnTo>
                      <a:lnTo>
                        <a:pt x="31645" y="967944"/>
                      </a:lnTo>
                      <a:lnTo>
                        <a:pt x="30659" y="963991"/>
                      </a:lnTo>
                      <a:lnTo>
                        <a:pt x="29355" y="962255"/>
                      </a:lnTo>
                      <a:lnTo>
                        <a:pt x="27676" y="961416"/>
                      </a:lnTo>
                      <a:lnTo>
                        <a:pt x="26446" y="961261"/>
                      </a:lnTo>
                      <a:lnTo>
                        <a:pt x="23708" y="962736"/>
                      </a:lnTo>
                      <a:lnTo>
                        <a:pt x="19160" y="962369"/>
                      </a:lnTo>
                      <a:lnTo>
                        <a:pt x="17612" y="962932"/>
                      </a:lnTo>
                      <a:lnTo>
                        <a:pt x="15395" y="964521"/>
                      </a:lnTo>
                      <a:lnTo>
                        <a:pt x="12249" y="966860"/>
                      </a:lnTo>
                      <a:lnTo>
                        <a:pt x="10497" y="966045"/>
                      </a:lnTo>
                      <a:lnTo>
                        <a:pt x="9967" y="963535"/>
                      </a:lnTo>
                      <a:lnTo>
                        <a:pt x="8802" y="961367"/>
                      </a:lnTo>
                      <a:lnTo>
                        <a:pt x="8060" y="959460"/>
                      </a:lnTo>
                      <a:lnTo>
                        <a:pt x="7498" y="956306"/>
                      </a:lnTo>
                      <a:lnTo>
                        <a:pt x="6569" y="952264"/>
                      </a:lnTo>
                      <a:lnTo>
                        <a:pt x="4711" y="947488"/>
                      </a:lnTo>
                      <a:lnTo>
                        <a:pt x="1866" y="943625"/>
                      </a:lnTo>
                      <a:lnTo>
                        <a:pt x="1703" y="940145"/>
                      </a:lnTo>
                      <a:lnTo>
                        <a:pt x="1182" y="935810"/>
                      </a:lnTo>
                      <a:lnTo>
                        <a:pt x="2624" y="931564"/>
                      </a:lnTo>
                      <a:lnTo>
                        <a:pt x="1785" y="928051"/>
                      </a:lnTo>
                      <a:lnTo>
                        <a:pt x="0" y="923870"/>
                      </a:lnTo>
                      <a:lnTo>
                        <a:pt x="554" y="919542"/>
                      </a:lnTo>
                      <a:lnTo>
                        <a:pt x="2298" y="917138"/>
                      </a:lnTo>
                      <a:lnTo>
                        <a:pt x="2844" y="914107"/>
                      </a:lnTo>
                      <a:lnTo>
                        <a:pt x="10937" y="913626"/>
                      </a:lnTo>
                      <a:lnTo>
                        <a:pt x="10595" y="909543"/>
                      </a:lnTo>
                      <a:lnTo>
                        <a:pt x="11948" y="906242"/>
                      </a:lnTo>
                      <a:lnTo>
                        <a:pt x="13455" y="903259"/>
                      </a:lnTo>
                      <a:lnTo>
                        <a:pt x="14743" y="901898"/>
                      </a:lnTo>
                      <a:lnTo>
                        <a:pt x="17628" y="900709"/>
                      </a:lnTo>
                      <a:lnTo>
                        <a:pt x="21026" y="898981"/>
                      </a:lnTo>
                      <a:lnTo>
                        <a:pt x="22942" y="897009"/>
                      </a:lnTo>
                      <a:lnTo>
                        <a:pt x="23854" y="895248"/>
                      </a:lnTo>
                      <a:lnTo>
                        <a:pt x="24408" y="892966"/>
                      </a:lnTo>
                      <a:lnTo>
                        <a:pt x="24555" y="890546"/>
                      </a:lnTo>
                      <a:lnTo>
                        <a:pt x="24001" y="885387"/>
                      </a:lnTo>
                      <a:lnTo>
                        <a:pt x="24629" y="883806"/>
                      </a:lnTo>
                      <a:lnTo>
                        <a:pt x="26739" y="881720"/>
                      </a:lnTo>
                      <a:lnTo>
                        <a:pt x="30293" y="879862"/>
                      </a:lnTo>
                      <a:lnTo>
                        <a:pt x="31825" y="874939"/>
                      </a:lnTo>
                      <a:lnTo>
                        <a:pt x="30953" y="870668"/>
                      </a:lnTo>
                      <a:lnTo>
                        <a:pt x="28972" y="867294"/>
                      </a:lnTo>
                      <a:lnTo>
                        <a:pt x="26462" y="865762"/>
                      </a:lnTo>
                      <a:lnTo>
                        <a:pt x="26242" y="862282"/>
                      </a:lnTo>
                      <a:lnTo>
                        <a:pt x="27375" y="858990"/>
                      </a:lnTo>
                      <a:lnTo>
                        <a:pt x="28858" y="855445"/>
                      </a:lnTo>
                      <a:lnTo>
                        <a:pt x="30618" y="851386"/>
                      </a:lnTo>
                      <a:lnTo>
                        <a:pt x="30505" y="848559"/>
                      </a:lnTo>
                      <a:lnTo>
                        <a:pt x="32069" y="846896"/>
                      </a:lnTo>
                      <a:lnTo>
                        <a:pt x="36519" y="843204"/>
                      </a:lnTo>
                      <a:lnTo>
                        <a:pt x="38051" y="839594"/>
                      </a:lnTo>
                      <a:lnTo>
                        <a:pt x="39616" y="838608"/>
                      </a:lnTo>
                      <a:lnTo>
                        <a:pt x="41441" y="838167"/>
                      </a:lnTo>
                      <a:lnTo>
                        <a:pt x="41555" y="836122"/>
                      </a:lnTo>
                      <a:lnTo>
                        <a:pt x="40219" y="834101"/>
                      </a:lnTo>
                      <a:lnTo>
                        <a:pt x="39999" y="831558"/>
                      </a:lnTo>
                      <a:lnTo>
                        <a:pt x="40154" y="828730"/>
                      </a:lnTo>
                      <a:lnTo>
                        <a:pt x="40561" y="824981"/>
                      </a:lnTo>
                      <a:lnTo>
                        <a:pt x="42639" y="823571"/>
                      </a:lnTo>
                      <a:lnTo>
                        <a:pt x="45704" y="820523"/>
                      </a:lnTo>
                      <a:lnTo>
                        <a:pt x="46527" y="818600"/>
                      </a:lnTo>
                      <a:lnTo>
                        <a:pt x="46641" y="816008"/>
                      </a:lnTo>
                      <a:lnTo>
                        <a:pt x="45753" y="810670"/>
                      </a:lnTo>
                      <a:lnTo>
                        <a:pt x="44986" y="806840"/>
                      </a:lnTo>
                      <a:lnTo>
                        <a:pt x="44603" y="805422"/>
                      </a:lnTo>
                      <a:lnTo>
                        <a:pt x="43202" y="802838"/>
                      </a:lnTo>
                      <a:lnTo>
                        <a:pt x="42167" y="801200"/>
                      </a:lnTo>
                      <a:lnTo>
                        <a:pt x="43813" y="799163"/>
                      </a:lnTo>
                      <a:lnTo>
                        <a:pt x="46910" y="797003"/>
                      </a:lnTo>
                      <a:lnTo>
                        <a:pt x="48222" y="793890"/>
                      </a:lnTo>
                      <a:lnTo>
                        <a:pt x="47016" y="791241"/>
                      </a:lnTo>
                      <a:lnTo>
                        <a:pt x="45264" y="789840"/>
                      </a:lnTo>
                      <a:lnTo>
                        <a:pt x="44718" y="785797"/>
                      </a:lnTo>
                      <a:lnTo>
                        <a:pt x="45378" y="780663"/>
                      </a:lnTo>
                      <a:lnTo>
                        <a:pt x="46690" y="779106"/>
                      </a:lnTo>
                      <a:lnTo>
                        <a:pt x="51286" y="778340"/>
                      </a:lnTo>
                      <a:lnTo>
                        <a:pt x="51726" y="775700"/>
                      </a:lnTo>
                      <a:lnTo>
                        <a:pt x="55223" y="771975"/>
                      </a:lnTo>
                      <a:lnTo>
                        <a:pt x="55117" y="768414"/>
                      </a:lnTo>
                      <a:lnTo>
                        <a:pt x="52892" y="766222"/>
                      </a:lnTo>
                      <a:lnTo>
                        <a:pt x="50716" y="762693"/>
                      </a:lnTo>
                      <a:lnTo>
                        <a:pt x="49102" y="759580"/>
                      </a:lnTo>
                      <a:lnTo>
                        <a:pt x="43748" y="757876"/>
                      </a:lnTo>
                      <a:lnTo>
                        <a:pt x="38059" y="756947"/>
                      </a:lnTo>
                      <a:lnTo>
                        <a:pt x="37293" y="754021"/>
                      </a:lnTo>
                      <a:lnTo>
                        <a:pt x="37513" y="752318"/>
                      </a:lnTo>
                      <a:lnTo>
                        <a:pt x="40162" y="753011"/>
                      </a:lnTo>
                      <a:lnTo>
                        <a:pt x="44481" y="752408"/>
                      </a:lnTo>
                      <a:lnTo>
                        <a:pt x="47733" y="752269"/>
                      </a:lnTo>
                      <a:lnTo>
                        <a:pt x="49999" y="751976"/>
                      </a:lnTo>
                      <a:lnTo>
                        <a:pt x="52606" y="751544"/>
                      </a:lnTo>
                      <a:lnTo>
                        <a:pt x="55019" y="752783"/>
                      </a:lnTo>
                      <a:lnTo>
                        <a:pt x="57423" y="752008"/>
                      </a:lnTo>
                      <a:lnTo>
                        <a:pt x="58409" y="747379"/>
                      </a:lnTo>
                      <a:lnTo>
                        <a:pt x="59941" y="744910"/>
                      </a:lnTo>
                      <a:lnTo>
                        <a:pt x="60161" y="742604"/>
                      </a:lnTo>
                      <a:lnTo>
                        <a:pt x="58629" y="740746"/>
                      </a:lnTo>
                      <a:lnTo>
                        <a:pt x="55826" y="740183"/>
                      </a:lnTo>
                      <a:lnTo>
                        <a:pt x="43569" y="738725"/>
                      </a:lnTo>
                      <a:lnTo>
                        <a:pt x="43193" y="736866"/>
                      </a:lnTo>
                      <a:lnTo>
                        <a:pt x="43299" y="733769"/>
                      </a:lnTo>
                      <a:lnTo>
                        <a:pt x="43764" y="730607"/>
                      </a:lnTo>
                      <a:lnTo>
                        <a:pt x="43756" y="729051"/>
                      </a:lnTo>
                      <a:lnTo>
                        <a:pt x="44880" y="727674"/>
                      </a:lnTo>
                      <a:lnTo>
                        <a:pt x="46144" y="724813"/>
                      </a:lnTo>
                      <a:lnTo>
                        <a:pt x="47040" y="722898"/>
                      </a:lnTo>
                      <a:lnTo>
                        <a:pt x="46152" y="720428"/>
                      </a:lnTo>
                      <a:lnTo>
                        <a:pt x="44204" y="716769"/>
                      </a:lnTo>
                      <a:lnTo>
                        <a:pt x="45622" y="715090"/>
                      </a:lnTo>
                      <a:lnTo>
                        <a:pt x="45736" y="713069"/>
                      </a:lnTo>
                      <a:lnTo>
                        <a:pt x="45296" y="711105"/>
                      </a:lnTo>
                      <a:lnTo>
                        <a:pt x="43267" y="708913"/>
                      </a:lnTo>
                      <a:lnTo>
                        <a:pt x="41466" y="705905"/>
                      </a:lnTo>
                      <a:lnTo>
                        <a:pt x="41466" y="702678"/>
                      </a:lnTo>
                      <a:lnTo>
                        <a:pt x="43569" y="701823"/>
                      </a:lnTo>
                      <a:lnTo>
                        <a:pt x="44970" y="700853"/>
                      </a:lnTo>
                      <a:lnTo>
                        <a:pt x="45296" y="698856"/>
                      </a:lnTo>
                      <a:lnTo>
                        <a:pt x="44530" y="696419"/>
                      </a:lnTo>
                      <a:lnTo>
                        <a:pt x="41629" y="695669"/>
                      </a:lnTo>
                      <a:lnTo>
                        <a:pt x="37758" y="694170"/>
                      </a:lnTo>
                      <a:lnTo>
                        <a:pt x="36568" y="692915"/>
                      </a:lnTo>
                      <a:lnTo>
                        <a:pt x="35476" y="690307"/>
                      </a:lnTo>
                      <a:lnTo>
                        <a:pt x="36291" y="682932"/>
                      </a:lnTo>
                      <a:lnTo>
                        <a:pt x="35883" y="678498"/>
                      </a:lnTo>
                      <a:lnTo>
                        <a:pt x="35541" y="676045"/>
                      </a:lnTo>
                      <a:lnTo>
                        <a:pt x="36494" y="674162"/>
                      </a:lnTo>
                      <a:lnTo>
                        <a:pt x="37782" y="672467"/>
                      </a:lnTo>
                      <a:lnTo>
                        <a:pt x="37171" y="668523"/>
                      </a:lnTo>
                      <a:lnTo>
                        <a:pt x="36022" y="666453"/>
                      </a:lnTo>
                      <a:lnTo>
                        <a:pt x="36429" y="664847"/>
                      </a:lnTo>
                      <a:lnTo>
                        <a:pt x="37513" y="663258"/>
                      </a:lnTo>
                      <a:lnTo>
                        <a:pt x="38467" y="661269"/>
                      </a:lnTo>
                      <a:lnTo>
                        <a:pt x="39282" y="660805"/>
                      </a:lnTo>
                      <a:lnTo>
                        <a:pt x="40504" y="661937"/>
                      </a:lnTo>
                      <a:lnTo>
                        <a:pt x="42574" y="661269"/>
                      </a:lnTo>
                      <a:lnTo>
                        <a:pt x="45052" y="659680"/>
                      </a:lnTo>
                      <a:lnTo>
                        <a:pt x="45321" y="657814"/>
                      </a:lnTo>
                      <a:lnTo>
                        <a:pt x="44824" y="655116"/>
                      </a:lnTo>
                      <a:lnTo>
                        <a:pt x="42974" y="648368"/>
                      </a:lnTo>
                      <a:lnTo>
                        <a:pt x="41319" y="644204"/>
                      </a:lnTo>
                      <a:lnTo>
                        <a:pt x="41661" y="642696"/>
                      </a:lnTo>
                      <a:lnTo>
                        <a:pt x="42314" y="641123"/>
                      </a:lnTo>
                      <a:lnTo>
                        <a:pt x="41792" y="635411"/>
                      </a:lnTo>
                      <a:lnTo>
                        <a:pt x="41963" y="631946"/>
                      </a:lnTo>
                      <a:lnTo>
                        <a:pt x="42085" y="621784"/>
                      </a:lnTo>
                      <a:lnTo>
                        <a:pt x="42273" y="618312"/>
                      </a:lnTo>
                      <a:lnTo>
                        <a:pt x="40578" y="614767"/>
                      </a:lnTo>
                      <a:lnTo>
                        <a:pt x="40806" y="611450"/>
                      </a:lnTo>
                      <a:lnTo>
                        <a:pt x="42004" y="609021"/>
                      </a:lnTo>
                      <a:lnTo>
                        <a:pt x="43128" y="605753"/>
                      </a:lnTo>
                      <a:lnTo>
                        <a:pt x="43976" y="602868"/>
                      </a:lnTo>
                      <a:lnTo>
                        <a:pt x="44856" y="601556"/>
                      </a:lnTo>
                      <a:lnTo>
                        <a:pt x="46348" y="600904"/>
                      </a:lnTo>
                      <a:lnTo>
                        <a:pt x="46682" y="599332"/>
                      </a:lnTo>
                      <a:lnTo>
                        <a:pt x="46005" y="598133"/>
                      </a:lnTo>
                      <a:lnTo>
                        <a:pt x="44074" y="596251"/>
                      </a:lnTo>
                      <a:lnTo>
                        <a:pt x="43634" y="593961"/>
                      </a:lnTo>
                      <a:lnTo>
                        <a:pt x="44041" y="592201"/>
                      </a:lnTo>
                      <a:lnTo>
                        <a:pt x="44995" y="591165"/>
                      </a:lnTo>
                      <a:lnTo>
                        <a:pt x="46470" y="591173"/>
                      </a:lnTo>
                      <a:lnTo>
                        <a:pt x="47570" y="588663"/>
                      </a:lnTo>
                      <a:lnTo>
                        <a:pt x="47888" y="585567"/>
                      </a:lnTo>
                      <a:lnTo>
                        <a:pt x="48116" y="584124"/>
                      </a:lnTo>
                      <a:lnTo>
                        <a:pt x="47268" y="582306"/>
                      </a:lnTo>
                      <a:lnTo>
                        <a:pt x="46657" y="578036"/>
                      </a:lnTo>
                      <a:lnTo>
                        <a:pt x="46079" y="575599"/>
                      </a:lnTo>
                      <a:lnTo>
                        <a:pt x="46755" y="574581"/>
                      </a:lnTo>
                      <a:lnTo>
                        <a:pt x="47709" y="574206"/>
                      </a:lnTo>
                      <a:lnTo>
                        <a:pt x="49379" y="574784"/>
                      </a:lnTo>
                      <a:lnTo>
                        <a:pt x="50561" y="574491"/>
                      </a:lnTo>
                      <a:lnTo>
                        <a:pt x="50765" y="573203"/>
                      </a:lnTo>
                      <a:lnTo>
                        <a:pt x="50903" y="571810"/>
                      </a:lnTo>
                      <a:lnTo>
                        <a:pt x="51351" y="570864"/>
                      </a:lnTo>
                      <a:lnTo>
                        <a:pt x="52403" y="567735"/>
                      </a:lnTo>
                      <a:lnTo>
                        <a:pt x="53527" y="563839"/>
                      </a:lnTo>
                      <a:lnTo>
                        <a:pt x="53796" y="561093"/>
                      </a:lnTo>
                      <a:lnTo>
                        <a:pt x="53397" y="553676"/>
                      </a:lnTo>
                      <a:lnTo>
                        <a:pt x="53992" y="551957"/>
                      </a:lnTo>
                      <a:lnTo>
                        <a:pt x="55190" y="550408"/>
                      </a:lnTo>
                      <a:lnTo>
                        <a:pt x="56861" y="548950"/>
                      </a:lnTo>
                      <a:lnTo>
                        <a:pt x="59061" y="547735"/>
                      </a:lnTo>
                      <a:lnTo>
                        <a:pt x="61791" y="545991"/>
                      </a:lnTo>
                      <a:lnTo>
                        <a:pt x="65149" y="545348"/>
                      </a:lnTo>
                      <a:lnTo>
                        <a:pt x="66510" y="543416"/>
                      </a:lnTo>
                      <a:lnTo>
                        <a:pt x="67455" y="540857"/>
                      </a:lnTo>
                      <a:lnTo>
                        <a:pt x="67732" y="538730"/>
                      </a:lnTo>
                      <a:lnTo>
                        <a:pt x="66445" y="537263"/>
                      </a:lnTo>
                      <a:lnTo>
                        <a:pt x="64750" y="535519"/>
                      </a:lnTo>
                      <a:lnTo>
                        <a:pt x="63943" y="531118"/>
                      </a:lnTo>
                      <a:lnTo>
                        <a:pt x="63511" y="527068"/>
                      </a:lnTo>
                      <a:lnTo>
                        <a:pt x="63258" y="521958"/>
                      </a:lnTo>
                      <a:lnTo>
                        <a:pt x="61571" y="517557"/>
                      </a:lnTo>
                      <a:lnTo>
                        <a:pt x="59803" y="512618"/>
                      </a:lnTo>
                      <a:lnTo>
                        <a:pt x="59322" y="508234"/>
                      </a:lnTo>
                      <a:lnTo>
                        <a:pt x="59917" y="505830"/>
                      </a:lnTo>
                      <a:lnTo>
                        <a:pt x="60618" y="502015"/>
                      </a:lnTo>
                      <a:lnTo>
                        <a:pt x="59868" y="500288"/>
                      </a:lnTo>
                      <a:lnTo>
                        <a:pt x="58988" y="497183"/>
                      </a:lnTo>
                      <a:lnTo>
                        <a:pt x="59901" y="494754"/>
                      </a:lnTo>
                      <a:lnTo>
                        <a:pt x="61017" y="490981"/>
                      </a:lnTo>
                      <a:lnTo>
                        <a:pt x="60879" y="489073"/>
                      </a:lnTo>
                      <a:lnTo>
                        <a:pt x="59990" y="484518"/>
                      </a:lnTo>
                      <a:lnTo>
                        <a:pt x="59175" y="481975"/>
                      </a:lnTo>
                      <a:lnTo>
                        <a:pt x="59990" y="479253"/>
                      </a:lnTo>
                      <a:lnTo>
                        <a:pt x="61286" y="476711"/>
                      </a:lnTo>
                      <a:lnTo>
                        <a:pt x="62305" y="475341"/>
                      </a:lnTo>
                      <a:lnTo>
                        <a:pt x="62134" y="473149"/>
                      </a:lnTo>
                      <a:lnTo>
                        <a:pt x="62574" y="471340"/>
                      </a:lnTo>
                      <a:lnTo>
                        <a:pt x="64497" y="470134"/>
                      </a:lnTo>
                      <a:lnTo>
                        <a:pt x="66306" y="467901"/>
                      </a:lnTo>
                      <a:lnTo>
                        <a:pt x="67594" y="467632"/>
                      </a:lnTo>
                      <a:lnTo>
                        <a:pt x="69151" y="467632"/>
                      </a:lnTo>
                      <a:lnTo>
                        <a:pt x="70169" y="467012"/>
                      </a:lnTo>
                      <a:lnTo>
                        <a:pt x="70577" y="465276"/>
                      </a:lnTo>
                      <a:lnTo>
                        <a:pt x="70846" y="463386"/>
                      </a:lnTo>
                      <a:lnTo>
                        <a:pt x="73331" y="461014"/>
                      </a:lnTo>
                      <a:lnTo>
                        <a:pt x="74782" y="458846"/>
                      </a:lnTo>
                      <a:lnTo>
                        <a:pt x="77431" y="458382"/>
                      </a:lnTo>
                      <a:lnTo>
                        <a:pt x="78718" y="456027"/>
                      </a:lnTo>
                      <a:lnTo>
                        <a:pt x="78743" y="453019"/>
                      </a:lnTo>
                      <a:lnTo>
                        <a:pt x="78441" y="449971"/>
                      </a:lnTo>
                      <a:lnTo>
                        <a:pt x="79321" y="446442"/>
                      </a:lnTo>
                      <a:lnTo>
                        <a:pt x="78335" y="441072"/>
                      </a:lnTo>
                      <a:lnTo>
                        <a:pt x="78433" y="438219"/>
                      </a:lnTo>
                      <a:lnTo>
                        <a:pt x="77414" y="435880"/>
                      </a:lnTo>
                      <a:lnTo>
                        <a:pt x="77618" y="433346"/>
                      </a:lnTo>
                      <a:lnTo>
                        <a:pt x="77080" y="431724"/>
                      </a:lnTo>
                      <a:lnTo>
                        <a:pt x="75540" y="431121"/>
                      </a:lnTo>
                      <a:lnTo>
                        <a:pt x="74978" y="429116"/>
                      </a:lnTo>
                      <a:lnTo>
                        <a:pt x="75727" y="428122"/>
                      </a:lnTo>
                      <a:lnTo>
                        <a:pt x="77178" y="427364"/>
                      </a:lnTo>
                      <a:lnTo>
                        <a:pt x="78995" y="425824"/>
                      </a:lnTo>
                      <a:lnTo>
                        <a:pt x="80364" y="418407"/>
                      </a:lnTo>
                      <a:lnTo>
                        <a:pt x="81008" y="416207"/>
                      </a:lnTo>
                      <a:lnTo>
                        <a:pt x="81636" y="413566"/>
                      </a:lnTo>
                      <a:lnTo>
                        <a:pt x="81554" y="412197"/>
                      </a:lnTo>
                      <a:lnTo>
                        <a:pt x="82427" y="410225"/>
                      </a:lnTo>
                      <a:lnTo>
                        <a:pt x="83519" y="407226"/>
                      </a:lnTo>
                      <a:lnTo>
                        <a:pt x="85238" y="404325"/>
                      </a:lnTo>
                      <a:lnTo>
                        <a:pt x="86224" y="402320"/>
                      </a:lnTo>
                      <a:lnTo>
                        <a:pt x="87178" y="399639"/>
                      </a:lnTo>
                      <a:lnTo>
                        <a:pt x="87447" y="398017"/>
                      </a:lnTo>
                      <a:lnTo>
                        <a:pt x="88669" y="397218"/>
                      </a:lnTo>
                      <a:lnTo>
                        <a:pt x="90071" y="397014"/>
                      </a:lnTo>
                      <a:lnTo>
                        <a:pt x="91717" y="396501"/>
                      </a:lnTo>
                      <a:lnTo>
                        <a:pt x="92394" y="395523"/>
                      </a:lnTo>
                      <a:lnTo>
                        <a:pt x="92271" y="394072"/>
                      </a:lnTo>
                      <a:lnTo>
                        <a:pt x="92165" y="390910"/>
                      </a:lnTo>
                      <a:lnTo>
                        <a:pt x="91668" y="385866"/>
                      </a:lnTo>
                      <a:lnTo>
                        <a:pt x="91350" y="379378"/>
                      </a:lnTo>
                      <a:lnTo>
                        <a:pt x="91644" y="375124"/>
                      </a:lnTo>
                      <a:lnTo>
                        <a:pt x="92728" y="370846"/>
                      </a:lnTo>
                      <a:lnTo>
                        <a:pt x="93746" y="368515"/>
                      </a:lnTo>
                      <a:lnTo>
                        <a:pt x="93477" y="366730"/>
                      </a:lnTo>
                      <a:lnTo>
                        <a:pt x="93200" y="364774"/>
                      </a:lnTo>
                      <a:lnTo>
                        <a:pt x="91301" y="363698"/>
                      </a:lnTo>
                      <a:lnTo>
                        <a:pt x="89492" y="364627"/>
                      </a:lnTo>
                      <a:lnTo>
                        <a:pt x="88237" y="364375"/>
                      </a:lnTo>
                      <a:lnTo>
                        <a:pt x="86623" y="362101"/>
                      </a:lnTo>
                      <a:lnTo>
                        <a:pt x="86151" y="359697"/>
                      </a:lnTo>
                      <a:lnTo>
                        <a:pt x="86420" y="356396"/>
                      </a:lnTo>
                      <a:lnTo>
                        <a:pt x="87683" y="354350"/>
                      </a:lnTo>
                      <a:lnTo>
                        <a:pt x="88188" y="351767"/>
                      </a:lnTo>
                      <a:lnTo>
                        <a:pt x="87439" y="350960"/>
                      </a:lnTo>
                      <a:lnTo>
                        <a:pt x="85849" y="349257"/>
                      </a:lnTo>
                      <a:lnTo>
                        <a:pt x="84342" y="343356"/>
                      </a:lnTo>
                      <a:lnTo>
                        <a:pt x="84521" y="338344"/>
                      </a:lnTo>
                      <a:lnTo>
                        <a:pt x="83029" y="337016"/>
                      </a:lnTo>
                      <a:lnTo>
                        <a:pt x="82337" y="333104"/>
                      </a:lnTo>
                      <a:lnTo>
                        <a:pt x="80796" y="331694"/>
                      </a:lnTo>
                      <a:lnTo>
                        <a:pt x="80185" y="328768"/>
                      </a:lnTo>
                      <a:lnTo>
                        <a:pt x="79704" y="325753"/>
                      </a:lnTo>
                      <a:lnTo>
                        <a:pt x="79908" y="324425"/>
                      </a:lnTo>
                      <a:lnTo>
                        <a:pt x="81514" y="324058"/>
                      </a:lnTo>
                      <a:lnTo>
                        <a:pt x="82418" y="321686"/>
                      </a:lnTo>
                      <a:lnTo>
                        <a:pt x="81742" y="320350"/>
                      </a:lnTo>
                      <a:lnTo>
                        <a:pt x="80519" y="319201"/>
                      </a:lnTo>
                      <a:lnTo>
                        <a:pt x="78963" y="319282"/>
                      </a:lnTo>
                      <a:lnTo>
                        <a:pt x="77569" y="317921"/>
                      </a:lnTo>
                      <a:lnTo>
                        <a:pt x="75695" y="312241"/>
                      </a:lnTo>
                      <a:lnTo>
                        <a:pt x="74220" y="309111"/>
                      </a:lnTo>
                      <a:lnTo>
                        <a:pt x="74684" y="304539"/>
                      </a:lnTo>
                      <a:lnTo>
                        <a:pt x="74986" y="300970"/>
                      </a:lnTo>
                      <a:lnTo>
                        <a:pt x="75621" y="297914"/>
                      </a:lnTo>
                      <a:lnTo>
                        <a:pt x="75850" y="295518"/>
                      </a:lnTo>
                      <a:lnTo>
                        <a:pt x="77007" y="294369"/>
                      </a:lnTo>
                      <a:lnTo>
                        <a:pt x="78091" y="294890"/>
                      </a:lnTo>
                      <a:lnTo>
                        <a:pt x="79109" y="294629"/>
                      </a:lnTo>
                      <a:lnTo>
                        <a:pt x="80047" y="292682"/>
                      </a:lnTo>
                      <a:lnTo>
                        <a:pt x="81074" y="291467"/>
                      </a:lnTo>
                      <a:lnTo>
                        <a:pt x="81008" y="290489"/>
                      </a:lnTo>
                      <a:lnTo>
                        <a:pt x="80397" y="289430"/>
                      </a:lnTo>
                      <a:lnTo>
                        <a:pt x="80104" y="287580"/>
                      </a:lnTo>
                      <a:lnTo>
                        <a:pt x="80821" y="285371"/>
                      </a:lnTo>
                      <a:lnTo>
                        <a:pt x="82051" y="280326"/>
                      </a:lnTo>
                      <a:lnTo>
                        <a:pt x="83918" y="274776"/>
                      </a:lnTo>
                      <a:lnTo>
                        <a:pt x="84725" y="272698"/>
                      </a:lnTo>
                      <a:lnTo>
                        <a:pt x="84521" y="270930"/>
                      </a:lnTo>
                      <a:lnTo>
                        <a:pt x="84928" y="270139"/>
                      </a:lnTo>
                      <a:lnTo>
                        <a:pt x="86200" y="271019"/>
                      </a:lnTo>
                      <a:lnTo>
                        <a:pt x="89810" y="270050"/>
                      </a:lnTo>
                      <a:lnTo>
                        <a:pt x="91033" y="267588"/>
                      </a:lnTo>
                      <a:lnTo>
                        <a:pt x="91505" y="265396"/>
                      </a:lnTo>
                      <a:lnTo>
                        <a:pt x="92589" y="264165"/>
                      </a:lnTo>
                      <a:lnTo>
                        <a:pt x="92117" y="262405"/>
                      </a:lnTo>
                      <a:lnTo>
                        <a:pt x="90625" y="261884"/>
                      </a:lnTo>
                      <a:lnTo>
                        <a:pt x="89720" y="261052"/>
                      </a:lnTo>
                      <a:lnTo>
                        <a:pt x="90079" y="259072"/>
                      </a:lnTo>
                      <a:lnTo>
                        <a:pt x="90609" y="254500"/>
                      </a:lnTo>
                      <a:lnTo>
                        <a:pt x="90519" y="251134"/>
                      </a:lnTo>
                      <a:lnTo>
                        <a:pt x="89158" y="243970"/>
                      </a:lnTo>
                      <a:lnTo>
                        <a:pt x="88066" y="236888"/>
                      </a:lnTo>
                      <a:lnTo>
                        <a:pt x="88832" y="234525"/>
                      </a:lnTo>
                      <a:lnTo>
                        <a:pt x="91204" y="231289"/>
                      </a:lnTo>
                      <a:lnTo>
                        <a:pt x="92997" y="229831"/>
                      </a:lnTo>
                      <a:lnTo>
                        <a:pt x="93323" y="227981"/>
                      </a:lnTo>
                      <a:lnTo>
                        <a:pt x="95099" y="219627"/>
                      </a:lnTo>
                      <a:lnTo>
                        <a:pt x="95303" y="215063"/>
                      </a:lnTo>
                      <a:lnTo>
                        <a:pt x="96477" y="212553"/>
                      </a:lnTo>
                      <a:lnTo>
                        <a:pt x="97243" y="207826"/>
                      </a:lnTo>
                      <a:lnTo>
                        <a:pt x="100462" y="203752"/>
                      </a:lnTo>
                      <a:lnTo>
                        <a:pt x="101407" y="201046"/>
                      </a:lnTo>
                      <a:lnTo>
                        <a:pt x="102695" y="200785"/>
                      </a:lnTo>
                      <a:lnTo>
                        <a:pt x="103371" y="199921"/>
                      </a:lnTo>
                      <a:lnTo>
                        <a:pt x="105083" y="196914"/>
                      </a:lnTo>
                      <a:lnTo>
                        <a:pt x="107300" y="193817"/>
                      </a:lnTo>
                      <a:lnTo>
                        <a:pt x="109206" y="192277"/>
                      </a:lnTo>
                      <a:lnTo>
                        <a:pt x="109679" y="189832"/>
                      </a:lnTo>
                      <a:lnTo>
                        <a:pt x="110592" y="186515"/>
                      </a:lnTo>
                      <a:lnTo>
                        <a:pt x="112483" y="180998"/>
                      </a:lnTo>
                      <a:lnTo>
                        <a:pt x="113542" y="177159"/>
                      </a:lnTo>
                      <a:lnTo>
                        <a:pt x="114968" y="175765"/>
                      </a:lnTo>
                      <a:lnTo>
                        <a:pt x="116623" y="170745"/>
                      </a:lnTo>
                      <a:lnTo>
                        <a:pt x="117340" y="167803"/>
                      </a:lnTo>
                      <a:lnTo>
                        <a:pt x="119239" y="166589"/>
                      </a:lnTo>
                      <a:lnTo>
                        <a:pt x="120730" y="166247"/>
                      </a:lnTo>
                      <a:lnTo>
                        <a:pt x="122148" y="167632"/>
                      </a:lnTo>
                      <a:lnTo>
                        <a:pt x="123640" y="167363"/>
                      </a:lnTo>
                      <a:lnTo>
                        <a:pt x="125001" y="165635"/>
                      </a:lnTo>
                      <a:lnTo>
                        <a:pt x="128277" y="164454"/>
                      </a:lnTo>
                      <a:lnTo>
                        <a:pt x="129752" y="163818"/>
                      </a:lnTo>
                      <a:lnTo>
                        <a:pt x="130428" y="162090"/>
                      </a:lnTo>
                      <a:lnTo>
                        <a:pt x="130428" y="159050"/>
                      </a:lnTo>
                      <a:lnTo>
                        <a:pt x="129076" y="156809"/>
                      </a:lnTo>
                      <a:lnTo>
                        <a:pt x="126305" y="152506"/>
                      </a:lnTo>
                      <a:lnTo>
                        <a:pt x="123925" y="147706"/>
                      </a:lnTo>
                      <a:lnTo>
                        <a:pt x="123664" y="146182"/>
                      </a:lnTo>
                      <a:lnTo>
                        <a:pt x="123648" y="144536"/>
                      </a:lnTo>
                      <a:lnTo>
                        <a:pt x="124055" y="142441"/>
                      </a:lnTo>
                      <a:lnTo>
                        <a:pt x="125204" y="140078"/>
                      </a:lnTo>
                      <a:lnTo>
                        <a:pt x="128065" y="136182"/>
                      </a:lnTo>
                      <a:lnTo>
                        <a:pt x="127755" y="133395"/>
                      </a:lnTo>
                      <a:lnTo>
                        <a:pt x="125669" y="123167"/>
                      </a:lnTo>
                      <a:lnTo>
                        <a:pt x="124895" y="120347"/>
                      </a:lnTo>
                      <a:lnTo>
                        <a:pt x="123452" y="115123"/>
                      </a:lnTo>
                      <a:lnTo>
                        <a:pt x="123648" y="113061"/>
                      </a:lnTo>
                      <a:lnTo>
                        <a:pt x="124919" y="107291"/>
                      </a:lnTo>
                      <a:lnTo>
                        <a:pt x="126027" y="104977"/>
                      </a:lnTo>
                      <a:lnTo>
                        <a:pt x="127649" y="104537"/>
                      </a:lnTo>
                      <a:lnTo>
                        <a:pt x="128529" y="103771"/>
                      </a:lnTo>
                      <a:lnTo>
                        <a:pt x="128806" y="102736"/>
                      </a:lnTo>
                      <a:lnTo>
                        <a:pt x="127723" y="101448"/>
                      </a:lnTo>
                      <a:lnTo>
                        <a:pt x="127250" y="99810"/>
                      </a:lnTo>
                      <a:lnTo>
                        <a:pt x="126777" y="97512"/>
                      </a:lnTo>
                      <a:lnTo>
                        <a:pt x="125270" y="96680"/>
                      </a:lnTo>
                      <a:lnTo>
                        <a:pt x="124406" y="94765"/>
                      </a:lnTo>
                      <a:lnTo>
                        <a:pt x="124406" y="91913"/>
                      </a:lnTo>
                      <a:lnTo>
                        <a:pt x="125767" y="88221"/>
                      </a:lnTo>
                      <a:lnTo>
                        <a:pt x="127258" y="87194"/>
                      </a:lnTo>
                      <a:lnTo>
                        <a:pt x="127869" y="85580"/>
                      </a:lnTo>
                      <a:lnTo>
                        <a:pt x="129467" y="84073"/>
                      </a:lnTo>
                      <a:lnTo>
                        <a:pt x="130917" y="82915"/>
                      </a:lnTo>
                      <a:lnTo>
                        <a:pt x="132140" y="80764"/>
                      </a:lnTo>
                      <a:lnTo>
                        <a:pt x="137176" y="78148"/>
                      </a:lnTo>
                      <a:lnTo>
                        <a:pt x="141170" y="76111"/>
                      </a:lnTo>
                      <a:lnTo>
                        <a:pt x="148969" y="72207"/>
                      </a:lnTo>
                      <a:lnTo>
                        <a:pt x="154323" y="69550"/>
                      </a:lnTo>
                      <a:lnTo>
                        <a:pt x="154829" y="67700"/>
                      </a:lnTo>
                      <a:lnTo>
                        <a:pt x="155236" y="66445"/>
                      </a:lnTo>
                      <a:lnTo>
                        <a:pt x="157722" y="57048"/>
                      </a:lnTo>
                      <a:lnTo>
                        <a:pt x="160933" y="44905"/>
                      </a:lnTo>
                      <a:lnTo>
                        <a:pt x="162938" y="37309"/>
                      </a:lnTo>
                      <a:lnTo>
                        <a:pt x="158325" y="31703"/>
                      </a:lnTo>
                      <a:lnTo>
                        <a:pt x="159148" y="30203"/>
                      </a:lnTo>
                      <a:lnTo>
                        <a:pt x="161788" y="26381"/>
                      </a:lnTo>
                      <a:lnTo>
                        <a:pt x="162335" y="23300"/>
                      </a:lnTo>
                      <a:lnTo>
                        <a:pt x="163386" y="21988"/>
                      </a:lnTo>
                      <a:lnTo>
                        <a:pt x="168121" y="18867"/>
                      </a:lnTo>
                      <a:lnTo>
                        <a:pt x="168936" y="16797"/>
                      </a:lnTo>
                      <a:lnTo>
                        <a:pt x="169351" y="14499"/>
                      </a:lnTo>
                      <a:lnTo>
                        <a:pt x="170313" y="12860"/>
                      </a:lnTo>
                      <a:lnTo>
                        <a:pt x="172114" y="12518"/>
                      </a:lnTo>
                      <a:lnTo>
                        <a:pt x="175390" y="11051"/>
                      </a:lnTo>
                      <a:lnTo>
                        <a:pt x="178911" y="9666"/>
                      </a:lnTo>
                      <a:lnTo>
                        <a:pt x="179971" y="7783"/>
                      </a:lnTo>
                      <a:lnTo>
                        <a:pt x="180973" y="4507"/>
                      </a:lnTo>
                      <a:lnTo>
                        <a:pt x="181829" y="880"/>
                      </a:lnTo>
                      <a:lnTo>
                        <a:pt x="182505" y="0"/>
                      </a:lnTo>
                      <a:lnTo>
                        <a:pt x="183638" y="114"/>
                      </a:lnTo>
                      <a:lnTo>
                        <a:pt x="185521" y="1019"/>
                      </a:lnTo>
                      <a:lnTo>
                        <a:pt x="186515" y="2404"/>
                      </a:lnTo>
                      <a:lnTo>
                        <a:pt x="191437" y="6756"/>
                      </a:lnTo>
                      <a:lnTo>
                        <a:pt x="193556" y="9226"/>
                      </a:lnTo>
                      <a:close/>
                    </a:path>
                  </a:pathLst>
                </a:custGeom>
                <a:solidFill>
                  <a:srgbClr val="D6D6D2"/>
                </a:solidFill>
                <a:ln w="6112" cap="rnd">
                  <a:solidFill>
                    <a:srgbClr val="FFFFFF"/>
                  </a:solidFill>
                  <a:prstDash val="solid"/>
                  <a:round/>
                </a:ln>
              </p:spPr>
              <p:txBody>
                <a:bodyPr rtlCol="0" anchor="ctr"/>
                <a:lstStyle/>
                <a:p>
                  <a:endParaRPr lang="en-US"/>
                </a:p>
              </p:txBody>
            </p:sp>
            <p:sp>
              <p:nvSpPr>
                <p:cNvPr id="784" name="Freeform: Shape 783">
                  <a:extLst>
                    <a:ext uri="{FF2B5EF4-FFF2-40B4-BE49-F238E27FC236}">
                      <a16:creationId xmlns:a16="http://schemas.microsoft.com/office/drawing/2014/main" id="{98AEDA90-18C3-4169-8650-D53053AB8E1D}"/>
                    </a:ext>
                  </a:extLst>
                </p:cNvPr>
                <p:cNvSpPr/>
                <p:nvPr/>
              </p:nvSpPr>
              <p:spPr>
                <a:xfrm>
                  <a:off x="7222659" y="3730346"/>
                  <a:ext cx="119524" cy="107983"/>
                </a:xfrm>
                <a:custGeom>
                  <a:avLst/>
                  <a:gdLst>
                    <a:gd name="connsiteX0" fmla="*/ 114455 w 119524"/>
                    <a:gd name="connsiteY0" fmla="*/ 13292 h 107983"/>
                    <a:gd name="connsiteX1" fmla="*/ 116085 w 119524"/>
                    <a:gd name="connsiteY1" fmla="*/ 13912 h 107983"/>
                    <a:gd name="connsiteX2" fmla="*/ 116802 w 119524"/>
                    <a:gd name="connsiteY2" fmla="*/ 13838 h 107983"/>
                    <a:gd name="connsiteX3" fmla="*/ 117283 w 119524"/>
                    <a:gd name="connsiteY3" fmla="*/ 13113 h 107983"/>
                    <a:gd name="connsiteX4" fmla="*/ 118921 w 119524"/>
                    <a:gd name="connsiteY4" fmla="*/ 15672 h 107983"/>
                    <a:gd name="connsiteX5" fmla="*/ 119141 w 119524"/>
                    <a:gd name="connsiteY5" fmla="*/ 33006 h 107983"/>
                    <a:gd name="connsiteX6" fmla="*/ 119524 w 119524"/>
                    <a:gd name="connsiteY6" fmla="*/ 34229 h 107983"/>
                    <a:gd name="connsiteX7" fmla="*/ 118652 w 119524"/>
                    <a:gd name="connsiteY7" fmla="*/ 34416 h 107983"/>
                    <a:gd name="connsiteX8" fmla="*/ 117674 w 119524"/>
                    <a:gd name="connsiteY8" fmla="*/ 35737 h 107983"/>
                    <a:gd name="connsiteX9" fmla="*/ 116541 w 119524"/>
                    <a:gd name="connsiteY9" fmla="*/ 37766 h 107983"/>
                    <a:gd name="connsiteX10" fmla="*/ 114977 w 119524"/>
                    <a:gd name="connsiteY10" fmla="*/ 38817 h 107983"/>
                    <a:gd name="connsiteX11" fmla="*/ 113738 w 119524"/>
                    <a:gd name="connsiteY11" fmla="*/ 39999 h 107983"/>
                    <a:gd name="connsiteX12" fmla="*/ 112548 w 119524"/>
                    <a:gd name="connsiteY12" fmla="*/ 41474 h 107983"/>
                    <a:gd name="connsiteX13" fmla="*/ 111480 w 119524"/>
                    <a:gd name="connsiteY13" fmla="*/ 41784 h 107983"/>
                    <a:gd name="connsiteX14" fmla="*/ 110103 w 119524"/>
                    <a:gd name="connsiteY14" fmla="*/ 39926 h 107983"/>
                    <a:gd name="connsiteX15" fmla="*/ 109174 w 119524"/>
                    <a:gd name="connsiteY15" fmla="*/ 38019 h 107983"/>
                    <a:gd name="connsiteX16" fmla="*/ 109386 w 119524"/>
                    <a:gd name="connsiteY16" fmla="*/ 37603 h 107983"/>
                    <a:gd name="connsiteX17" fmla="*/ 110046 w 119524"/>
                    <a:gd name="connsiteY17" fmla="*/ 37472 h 107983"/>
                    <a:gd name="connsiteX18" fmla="*/ 110315 w 119524"/>
                    <a:gd name="connsiteY18" fmla="*/ 36486 h 107983"/>
                    <a:gd name="connsiteX19" fmla="*/ 109907 w 119524"/>
                    <a:gd name="connsiteY19" fmla="*/ 35060 h 107983"/>
                    <a:gd name="connsiteX20" fmla="*/ 108978 w 119524"/>
                    <a:gd name="connsiteY20" fmla="*/ 34522 h 107983"/>
                    <a:gd name="connsiteX21" fmla="*/ 107805 w 119524"/>
                    <a:gd name="connsiteY21" fmla="*/ 34481 h 107983"/>
                    <a:gd name="connsiteX22" fmla="*/ 106680 w 119524"/>
                    <a:gd name="connsiteY22" fmla="*/ 35117 h 107983"/>
                    <a:gd name="connsiteX23" fmla="*/ 105498 w 119524"/>
                    <a:gd name="connsiteY23" fmla="*/ 36380 h 107983"/>
                    <a:gd name="connsiteX24" fmla="*/ 104822 w 119524"/>
                    <a:gd name="connsiteY24" fmla="*/ 37742 h 107983"/>
                    <a:gd name="connsiteX25" fmla="*/ 104708 w 119524"/>
                    <a:gd name="connsiteY25" fmla="*/ 40463 h 107983"/>
                    <a:gd name="connsiteX26" fmla="*/ 105026 w 119524"/>
                    <a:gd name="connsiteY26" fmla="*/ 43528 h 107983"/>
                    <a:gd name="connsiteX27" fmla="*/ 105017 w 119524"/>
                    <a:gd name="connsiteY27" fmla="*/ 45011 h 107983"/>
                    <a:gd name="connsiteX28" fmla="*/ 104366 w 119524"/>
                    <a:gd name="connsiteY28" fmla="*/ 46861 h 107983"/>
                    <a:gd name="connsiteX29" fmla="*/ 104137 w 119524"/>
                    <a:gd name="connsiteY29" fmla="*/ 49583 h 107983"/>
                    <a:gd name="connsiteX30" fmla="*/ 104602 w 119524"/>
                    <a:gd name="connsiteY30" fmla="*/ 51686 h 107983"/>
                    <a:gd name="connsiteX31" fmla="*/ 105026 w 119524"/>
                    <a:gd name="connsiteY31" fmla="*/ 52941 h 107983"/>
                    <a:gd name="connsiteX32" fmla="*/ 105075 w 119524"/>
                    <a:gd name="connsiteY32" fmla="*/ 54000 h 107983"/>
                    <a:gd name="connsiteX33" fmla="*/ 103958 w 119524"/>
                    <a:gd name="connsiteY33" fmla="*/ 57358 h 107983"/>
                    <a:gd name="connsiteX34" fmla="*/ 104920 w 119524"/>
                    <a:gd name="connsiteY34" fmla="*/ 57985 h 107983"/>
                    <a:gd name="connsiteX35" fmla="*/ 108123 w 119524"/>
                    <a:gd name="connsiteY35" fmla="*/ 58222 h 107983"/>
                    <a:gd name="connsiteX36" fmla="*/ 109051 w 119524"/>
                    <a:gd name="connsiteY36" fmla="*/ 60487 h 107983"/>
                    <a:gd name="connsiteX37" fmla="*/ 109696 w 119524"/>
                    <a:gd name="connsiteY37" fmla="*/ 62036 h 107983"/>
                    <a:gd name="connsiteX38" fmla="*/ 109524 w 119524"/>
                    <a:gd name="connsiteY38" fmla="*/ 62965 h 107983"/>
                    <a:gd name="connsiteX39" fmla="*/ 107267 w 119524"/>
                    <a:gd name="connsiteY39" fmla="*/ 63649 h 107983"/>
                    <a:gd name="connsiteX40" fmla="*/ 104414 w 119524"/>
                    <a:gd name="connsiteY40" fmla="*/ 64415 h 107983"/>
                    <a:gd name="connsiteX41" fmla="*/ 102369 w 119524"/>
                    <a:gd name="connsiteY41" fmla="*/ 64196 h 107983"/>
                    <a:gd name="connsiteX42" fmla="*/ 98685 w 119524"/>
                    <a:gd name="connsiteY42" fmla="*/ 65222 h 107983"/>
                    <a:gd name="connsiteX43" fmla="*/ 96713 w 119524"/>
                    <a:gd name="connsiteY43" fmla="*/ 66795 h 107983"/>
                    <a:gd name="connsiteX44" fmla="*/ 97283 w 119524"/>
                    <a:gd name="connsiteY44" fmla="*/ 67781 h 107983"/>
                    <a:gd name="connsiteX45" fmla="*/ 97968 w 119524"/>
                    <a:gd name="connsiteY45" fmla="*/ 68539 h 107983"/>
                    <a:gd name="connsiteX46" fmla="*/ 98278 w 119524"/>
                    <a:gd name="connsiteY46" fmla="*/ 70618 h 107983"/>
                    <a:gd name="connsiteX47" fmla="*/ 97699 w 119524"/>
                    <a:gd name="connsiteY47" fmla="*/ 73568 h 107983"/>
                    <a:gd name="connsiteX48" fmla="*/ 96656 w 119524"/>
                    <a:gd name="connsiteY48" fmla="*/ 76436 h 107983"/>
                    <a:gd name="connsiteX49" fmla="*/ 95352 w 119524"/>
                    <a:gd name="connsiteY49" fmla="*/ 80006 h 107983"/>
                    <a:gd name="connsiteX50" fmla="*/ 93844 w 119524"/>
                    <a:gd name="connsiteY50" fmla="*/ 84105 h 107983"/>
                    <a:gd name="connsiteX51" fmla="*/ 91790 w 119524"/>
                    <a:gd name="connsiteY51" fmla="*/ 90266 h 107983"/>
                    <a:gd name="connsiteX52" fmla="*/ 90039 w 119524"/>
                    <a:gd name="connsiteY52" fmla="*/ 95107 h 107983"/>
                    <a:gd name="connsiteX53" fmla="*/ 89851 w 119524"/>
                    <a:gd name="connsiteY53" fmla="*/ 98595 h 107983"/>
                    <a:gd name="connsiteX54" fmla="*/ 89908 w 119524"/>
                    <a:gd name="connsiteY54" fmla="*/ 100861 h 107983"/>
                    <a:gd name="connsiteX55" fmla="*/ 89704 w 119524"/>
                    <a:gd name="connsiteY55" fmla="*/ 105409 h 107983"/>
                    <a:gd name="connsiteX56" fmla="*/ 88058 w 119524"/>
                    <a:gd name="connsiteY56" fmla="*/ 107902 h 107983"/>
                    <a:gd name="connsiteX57" fmla="*/ 87675 w 119524"/>
                    <a:gd name="connsiteY57" fmla="*/ 107984 h 107983"/>
                    <a:gd name="connsiteX58" fmla="*/ 85719 w 119524"/>
                    <a:gd name="connsiteY58" fmla="*/ 107683 h 107983"/>
                    <a:gd name="connsiteX59" fmla="*/ 85051 w 119524"/>
                    <a:gd name="connsiteY59" fmla="*/ 107577 h 107983"/>
                    <a:gd name="connsiteX60" fmla="*/ 83185 w 119524"/>
                    <a:gd name="connsiteY60" fmla="*/ 107283 h 107983"/>
                    <a:gd name="connsiteX61" fmla="*/ 80259 w 119524"/>
                    <a:gd name="connsiteY61" fmla="*/ 106843 h 107983"/>
                    <a:gd name="connsiteX62" fmla="*/ 76477 w 119524"/>
                    <a:gd name="connsiteY62" fmla="*/ 106264 h 107983"/>
                    <a:gd name="connsiteX63" fmla="*/ 71995 w 119524"/>
                    <a:gd name="connsiteY63" fmla="*/ 105580 h 107983"/>
                    <a:gd name="connsiteX64" fmla="*/ 66999 w 119524"/>
                    <a:gd name="connsiteY64" fmla="*/ 104814 h 107983"/>
                    <a:gd name="connsiteX65" fmla="*/ 61661 w 119524"/>
                    <a:gd name="connsiteY65" fmla="*/ 103991 h 107983"/>
                    <a:gd name="connsiteX66" fmla="*/ 56135 w 119524"/>
                    <a:gd name="connsiteY66" fmla="*/ 103143 h 107983"/>
                    <a:gd name="connsiteX67" fmla="*/ 50618 w 119524"/>
                    <a:gd name="connsiteY67" fmla="*/ 102295 h 107983"/>
                    <a:gd name="connsiteX68" fmla="*/ 45272 w 119524"/>
                    <a:gd name="connsiteY68" fmla="*/ 101480 h 107983"/>
                    <a:gd name="connsiteX69" fmla="*/ 40268 w 119524"/>
                    <a:gd name="connsiteY69" fmla="*/ 100714 h 107983"/>
                    <a:gd name="connsiteX70" fmla="*/ 35794 w 119524"/>
                    <a:gd name="connsiteY70" fmla="*/ 100022 h 107983"/>
                    <a:gd name="connsiteX71" fmla="*/ 32004 w 119524"/>
                    <a:gd name="connsiteY71" fmla="*/ 99451 h 107983"/>
                    <a:gd name="connsiteX72" fmla="*/ 29095 w 119524"/>
                    <a:gd name="connsiteY72" fmla="*/ 98995 h 107983"/>
                    <a:gd name="connsiteX73" fmla="*/ 27220 w 119524"/>
                    <a:gd name="connsiteY73" fmla="*/ 98701 h 107983"/>
                    <a:gd name="connsiteX74" fmla="*/ 26560 w 119524"/>
                    <a:gd name="connsiteY74" fmla="*/ 98604 h 107983"/>
                    <a:gd name="connsiteX75" fmla="*/ 24474 w 119524"/>
                    <a:gd name="connsiteY75" fmla="*/ 98278 h 107983"/>
                    <a:gd name="connsiteX76" fmla="*/ 23341 w 119524"/>
                    <a:gd name="connsiteY76" fmla="*/ 96583 h 107983"/>
                    <a:gd name="connsiteX77" fmla="*/ 21972 w 119524"/>
                    <a:gd name="connsiteY77" fmla="*/ 94545 h 107983"/>
                    <a:gd name="connsiteX78" fmla="*/ 20611 w 119524"/>
                    <a:gd name="connsiteY78" fmla="*/ 92500 h 107983"/>
                    <a:gd name="connsiteX79" fmla="*/ 19242 w 119524"/>
                    <a:gd name="connsiteY79" fmla="*/ 90454 h 107983"/>
                    <a:gd name="connsiteX80" fmla="*/ 17881 w 119524"/>
                    <a:gd name="connsiteY80" fmla="*/ 88416 h 107983"/>
                    <a:gd name="connsiteX81" fmla="*/ 16519 w 119524"/>
                    <a:gd name="connsiteY81" fmla="*/ 86379 h 107983"/>
                    <a:gd name="connsiteX82" fmla="*/ 15150 w 119524"/>
                    <a:gd name="connsiteY82" fmla="*/ 84333 h 107983"/>
                    <a:gd name="connsiteX83" fmla="*/ 13789 w 119524"/>
                    <a:gd name="connsiteY83" fmla="*/ 82296 h 107983"/>
                    <a:gd name="connsiteX84" fmla="*/ 12420 w 119524"/>
                    <a:gd name="connsiteY84" fmla="*/ 80251 h 107983"/>
                    <a:gd name="connsiteX85" fmla="*/ 11059 w 119524"/>
                    <a:gd name="connsiteY85" fmla="*/ 78205 h 107983"/>
                    <a:gd name="connsiteX86" fmla="*/ 9690 w 119524"/>
                    <a:gd name="connsiteY86" fmla="*/ 76159 h 107983"/>
                    <a:gd name="connsiteX87" fmla="*/ 8321 w 119524"/>
                    <a:gd name="connsiteY87" fmla="*/ 74114 h 107983"/>
                    <a:gd name="connsiteX88" fmla="*/ 6968 w 119524"/>
                    <a:gd name="connsiteY88" fmla="*/ 72068 h 107983"/>
                    <a:gd name="connsiteX89" fmla="*/ 5599 w 119524"/>
                    <a:gd name="connsiteY89" fmla="*/ 70023 h 107983"/>
                    <a:gd name="connsiteX90" fmla="*/ 4238 w 119524"/>
                    <a:gd name="connsiteY90" fmla="*/ 67977 h 107983"/>
                    <a:gd name="connsiteX91" fmla="*/ 2869 w 119524"/>
                    <a:gd name="connsiteY91" fmla="*/ 65931 h 107983"/>
                    <a:gd name="connsiteX92" fmla="*/ 1508 w 119524"/>
                    <a:gd name="connsiteY92" fmla="*/ 63886 h 107983"/>
                    <a:gd name="connsiteX93" fmla="*/ 595 w 119524"/>
                    <a:gd name="connsiteY93" fmla="*/ 62517 h 107983"/>
                    <a:gd name="connsiteX94" fmla="*/ 90 w 119524"/>
                    <a:gd name="connsiteY94" fmla="*/ 60968 h 107983"/>
                    <a:gd name="connsiteX95" fmla="*/ 0 w 119524"/>
                    <a:gd name="connsiteY95" fmla="*/ 56901 h 107983"/>
                    <a:gd name="connsiteX96" fmla="*/ 0 w 119524"/>
                    <a:gd name="connsiteY96" fmla="*/ 56021 h 107983"/>
                    <a:gd name="connsiteX97" fmla="*/ 913 w 119524"/>
                    <a:gd name="connsiteY97" fmla="*/ 54383 h 107983"/>
                    <a:gd name="connsiteX98" fmla="*/ 1361 w 119524"/>
                    <a:gd name="connsiteY98" fmla="*/ 55549 h 107983"/>
                    <a:gd name="connsiteX99" fmla="*/ 2380 w 119524"/>
                    <a:gd name="connsiteY99" fmla="*/ 57146 h 107983"/>
                    <a:gd name="connsiteX100" fmla="*/ 4124 w 119524"/>
                    <a:gd name="connsiteY100" fmla="*/ 56763 h 107983"/>
                    <a:gd name="connsiteX101" fmla="*/ 4939 w 119524"/>
                    <a:gd name="connsiteY101" fmla="*/ 57024 h 107983"/>
                    <a:gd name="connsiteX102" fmla="*/ 5534 w 119524"/>
                    <a:gd name="connsiteY102" fmla="*/ 62647 h 107983"/>
                    <a:gd name="connsiteX103" fmla="*/ 6805 w 119524"/>
                    <a:gd name="connsiteY103" fmla="*/ 64644 h 107983"/>
                    <a:gd name="connsiteX104" fmla="*/ 8370 w 119524"/>
                    <a:gd name="connsiteY104" fmla="*/ 65442 h 107983"/>
                    <a:gd name="connsiteX105" fmla="*/ 13635 w 119524"/>
                    <a:gd name="connsiteY105" fmla="*/ 65891 h 107983"/>
                    <a:gd name="connsiteX106" fmla="*/ 16911 w 119524"/>
                    <a:gd name="connsiteY106" fmla="*/ 65133 h 107983"/>
                    <a:gd name="connsiteX107" fmla="*/ 23382 w 119524"/>
                    <a:gd name="connsiteY107" fmla="*/ 61457 h 107983"/>
                    <a:gd name="connsiteX108" fmla="*/ 26772 w 119524"/>
                    <a:gd name="connsiteY108" fmla="*/ 60137 h 107983"/>
                    <a:gd name="connsiteX109" fmla="*/ 36153 w 119524"/>
                    <a:gd name="connsiteY109" fmla="*/ 60365 h 107983"/>
                    <a:gd name="connsiteX110" fmla="*/ 43667 w 119524"/>
                    <a:gd name="connsiteY110" fmla="*/ 61897 h 107983"/>
                    <a:gd name="connsiteX111" fmla="*/ 55386 w 119524"/>
                    <a:gd name="connsiteY111" fmla="*/ 62802 h 107983"/>
                    <a:gd name="connsiteX112" fmla="*/ 57659 w 119524"/>
                    <a:gd name="connsiteY112" fmla="*/ 62566 h 107983"/>
                    <a:gd name="connsiteX113" fmla="*/ 63967 w 119524"/>
                    <a:gd name="connsiteY113" fmla="*/ 59615 h 107983"/>
                    <a:gd name="connsiteX114" fmla="*/ 67847 w 119524"/>
                    <a:gd name="connsiteY114" fmla="*/ 57016 h 107983"/>
                    <a:gd name="connsiteX115" fmla="*/ 70145 w 119524"/>
                    <a:gd name="connsiteY115" fmla="*/ 56266 h 107983"/>
                    <a:gd name="connsiteX116" fmla="*/ 71669 w 119524"/>
                    <a:gd name="connsiteY116" fmla="*/ 53764 h 107983"/>
                    <a:gd name="connsiteX117" fmla="*/ 72671 w 119524"/>
                    <a:gd name="connsiteY117" fmla="*/ 50488 h 107983"/>
                    <a:gd name="connsiteX118" fmla="*/ 73559 w 119524"/>
                    <a:gd name="connsiteY118" fmla="*/ 48344 h 107983"/>
                    <a:gd name="connsiteX119" fmla="*/ 74701 w 119524"/>
                    <a:gd name="connsiteY119" fmla="*/ 47326 h 107983"/>
                    <a:gd name="connsiteX120" fmla="*/ 75777 w 119524"/>
                    <a:gd name="connsiteY120" fmla="*/ 45508 h 107983"/>
                    <a:gd name="connsiteX121" fmla="*/ 76640 w 119524"/>
                    <a:gd name="connsiteY121" fmla="*/ 42550 h 107983"/>
                    <a:gd name="connsiteX122" fmla="*/ 78824 w 119524"/>
                    <a:gd name="connsiteY122" fmla="*/ 39575 h 107983"/>
                    <a:gd name="connsiteX123" fmla="*/ 87528 w 119524"/>
                    <a:gd name="connsiteY123" fmla="*/ 32314 h 107983"/>
                    <a:gd name="connsiteX124" fmla="*/ 92630 w 119524"/>
                    <a:gd name="connsiteY124" fmla="*/ 26185 h 107983"/>
                    <a:gd name="connsiteX125" fmla="*/ 93078 w 119524"/>
                    <a:gd name="connsiteY125" fmla="*/ 24197 h 107983"/>
                    <a:gd name="connsiteX126" fmla="*/ 95849 w 119524"/>
                    <a:gd name="connsiteY126" fmla="*/ 21230 h 107983"/>
                    <a:gd name="connsiteX127" fmla="*/ 98074 w 119524"/>
                    <a:gd name="connsiteY127" fmla="*/ 17962 h 107983"/>
                    <a:gd name="connsiteX128" fmla="*/ 108441 w 119524"/>
                    <a:gd name="connsiteY128" fmla="*/ 8647 h 107983"/>
                    <a:gd name="connsiteX129" fmla="*/ 110519 w 119524"/>
                    <a:gd name="connsiteY129" fmla="*/ 4792 h 107983"/>
                    <a:gd name="connsiteX130" fmla="*/ 111741 w 119524"/>
                    <a:gd name="connsiteY130" fmla="*/ 481 h 107983"/>
                    <a:gd name="connsiteX131" fmla="*/ 111896 w 119524"/>
                    <a:gd name="connsiteY131" fmla="*/ 171 h 107983"/>
                    <a:gd name="connsiteX132" fmla="*/ 112784 w 119524"/>
                    <a:gd name="connsiteY132" fmla="*/ 0 h 107983"/>
                    <a:gd name="connsiteX133" fmla="*/ 114055 w 119524"/>
                    <a:gd name="connsiteY133" fmla="*/ 652 h 107983"/>
                    <a:gd name="connsiteX134" fmla="*/ 114178 w 119524"/>
                    <a:gd name="connsiteY134" fmla="*/ 3879 h 107983"/>
                    <a:gd name="connsiteX135" fmla="*/ 113713 w 119524"/>
                    <a:gd name="connsiteY135" fmla="*/ 6927 h 107983"/>
                    <a:gd name="connsiteX136" fmla="*/ 113656 w 119524"/>
                    <a:gd name="connsiteY136" fmla="*/ 10155 h 107983"/>
                    <a:gd name="connsiteX137" fmla="*/ 113477 w 119524"/>
                    <a:gd name="connsiteY137" fmla="*/ 11907 h 107983"/>
                    <a:gd name="connsiteX138" fmla="*/ 114455 w 119524"/>
                    <a:gd name="connsiteY138" fmla="*/ 13292 h 107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19524" h="107983">
                      <a:moveTo>
                        <a:pt x="114455" y="13292"/>
                      </a:moveTo>
                      <a:lnTo>
                        <a:pt x="116085" y="13912"/>
                      </a:lnTo>
                      <a:lnTo>
                        <a:pt x="116802" y="13838"/>
                      </a:lnTo>
                      <a:lnTo>
                        <a:pt x="117283" y="13113"/>
                      </a:lnTo>
                      <a:lnTo>
                        <a:pt x="118921" y="15672"/>
                      </a:lnTo>
                      <a:lnTo>
                        <a:pt x="119141" y="33006"/>
                      </a:lnTo>
                      <a:lnTo>
                        <a:pt x="119524" y="34229"/>
                      </a:lnTo>
                      <a:lnTo>
                        <a:pt x="118652" y="34416"/>
                      </a:lnTo>
                      <a:lnTo>
                        <a:pt x="117674" y="35737"/>
                      </a:lnTo>
                      <a:lnTo>
                        <a:pt x="116541" y="37766"/>
                      </a:lnTo>
                      <a:lnTo>
                        <a:pt x="114977" y="38817"/>
                      </a:lnTo>
                      <a:lnTo>
                        <a:pt x="113738" y="39999"/>
                      </a:lnTo>
                      <a:lnTo>
                        <a:pt x="112548" y="41474"/>
                      </a:lnTo>
                      <a:lnTo>
                        <a:pt x="111480" y="41784"/>
                      </a:lnTo>
                      <a:lnTo>
                        <a:pt x="110103" y="39926"/>
                      </a:lnTo>
                      <a:lnTo>
                        <a:pt x="109174" y="38019"/>
                      </a:lnTo>
                      <a:lnTo>
                        <a:pt x="109386" y="37603"/>
                      </a:lnTo>
                      <a:lnTo>
                        <a:pt x="110046" y="37472"/>
                      </a:lnTo>
                      <a:lnTo>
                        <a:pt x="110315" y="36486"/>
                      </a:lnTo>
                      <a:lnTo>
                        <a:pt x="109907" y="35060"/>
                      </a:lnTo>
                      <a:lnTo>
                        <a:pt x="108978" y="34522"/>
                      </a:lnTo>
                      <a:lnTo>
                        <a:pt x="107805" y="34481"/>
                      </a:lnTo>
                      <a:lnTo>
                        <a:pt x="106680" y="35117"/>
                      </a:lnTo>
                      <a:lnTo>
                        <a:pt x="105498" y="36380"/>
                      </a:lnTo>
                      <a:lnTo>
                        <a:pt x="104822" y="37742"/>
                      </a:lnTo>
                      <a:lnTo>
                        <a:pt x="104708" y="40463"/>
                      </a:lnTo>
                      <a:lnTo>
                        <a:pt x="105026" y="43528"/>
                      </a:lnTo>
                      <a:lnTo>
                        <a:pt x="105017" y="45011"/>
                      </a:lnTo>
                      <a:lnTo>
                        <a:pt x="104366" y="46861"/>
                      </a:lnTo>
                      <a:lnTo>
                        <a:pt x="104137" y="49583"/>
                      </a:lnTo>
                      <a:lnTo>
                        <a:pt x="104602" y="51686"/>
                      </a:lnTo>
                      <a:lnTo>
                        <a:pt x="105026" y="52941"/>
                      </a:lnTo>
                      <a:lnTo>
                        <a:pt x="105075" y="54000"/>
                      </a:lnTo>
                      <a:lnTo>
                        <a:pt x="103958" y="57358"/>
                      </a:lnTo>
                      <a:lnTo>
                        <a:pt x="104920" y="57985"/>
                      </a:lnTo>
                      <a:lnTo>
                        <a:pt x="108123" y="58222"/>
                      </a:lnTo>
                      <a:lnTo>
                        <a:pt x="109051" y="60487"/>
                      </a:lnTo>
                      <a:lnTo>
                        <a:pt x="109696" y="62036"/>
                      </a:lnTo>
                      <a:lnTo>
                        <a:pt x="109524" y="62965"/>
                      </a:lnTo>
                      <a:lnTo>
                        <a:pt x="107267" y="63649"/>
                      </a:lnTo>
                      <a:lnTo>
                        <a:pt x="104414" y="64415"/>
                      </a:lnTo>
                      <a:lnTo>
                        <a:pt x="102369" y="64196"/>
                      </a:lnTo>
                      <a:lnTo>
                        <a:pt x="98685" y="65222"/>
                      </a:lnTo>
                      <a:lnTo>
                        <a:pt x="96713" y="66795"/>
                      </a:lnTo>
                      <a:lnTo>
                        <a:pt x="97283" y="67781"/>
                      </a:lnTo>
                      <a:lnTo>
                        <a:pt x="97968" y="68539"/>
                      </a:lnTo>
                      <a:lnTo>
                        <a:pt x="98278" y="70618"/>
                      </a:lnTo>
                      <a:lnTo>
                        <a:pt x="97699" y="73568"/>
                      </a:lnTo>
                      <a:lnTo>
                        <a:pt x="96656" y="76436"/>
                      </a:lnTo>
                      <a:lnTo>
                        <a:pt x="95352" y="80006"/>
                      </a:lnTo>
                      <a:lnTo>
                        <a:pt x="93844" y="84105"/>
                      </a:lnTo>
                      <a:lnTo>
                        <a:pt x="91790" y="90266"/>
                      </a:lnTo>
                      <a:lnTo>
                        <a:pt x="90039" y="95107"/>
                      </a:lnTo>
                      <a:lnTo>
                        <a:pt x="89851" y="98595"/>
                      </a:lnTo>
                      <a:lnTo>
                        <a:pt x="89908" y="100861"/>
                      </a:lnTo>
                      <a:lnTo>
                        <a:pt x="89704" y="105409"/>
                      </a:lnTo>
                      <a:lnTo>
                        <a:pt x="88058" y="107902"/>
                      </a:lnTo>
                      <a:lnTo>
                        <a:pt x="87675" y="107984"/>
                      </a:lnTo>
                      <a:lnTo>
                        <a:pt x="85719" y="107683"/>
                      </a:lnTo>
                      <a:lnTo>
                        <a:pt x="85051" y="107577"/>
                      </a:lnTo>
                      <a:lnTo>
                        <a:pt x="83185" y="107283"/>
                      </a:lnTo>
                      <a:lnTo>
                        <a:pt x="80259" y="106843"/>
                      </a:lnTo>
                      <a:lnTo>
                        <a:pt x="76477" y="106264"/>
                      </a:lnTo>
                      <a:lnTo>
                        <a:pt x="71995" y="105580"/>
                      </a:lnTo>
                      <a:lnTo>
                        <a:pt x="66999" y="104814"/>
                      </a:lnTo>
                      <a:lnTo>
                        <a:pt x="61661" y="103991"/>
                      </a:lnTo>
                      <a:lnTo>
                        <a:pt x="56135" y="103143"/>
                      </a:lnTo>
                      <a:lnTo>
                        <a:pt x="50618" y="102295"/>
                      </a:lnTo>
                      <a:lnTo>
                        <a:pt x="45272" y="101480"/>
                      </a:lnTo>
                      <a:lnTo>
                        <a:pt x="40268" y="100714"/>
                      </a:lnTo>
                      <a:lnTo>
                        <a:pt x="35794" y="100022"/>
                      </a:lnTo>
                      <a:lnTo>
                        <a:pt x="32004" y="99451"/>
                      </a:lnTo>
                      <a:lnTo>
                        <a:pt x="29095" y="98995"/>
                      </a:lnTo>
                      <a:lnTo>
                        <a:pt x="27220" y="98701"/>
                      </a:lnTo>
                      <a:lnTo>
                        <a:pt x="26560" y="98604"/>
                      </a:lnTo>
                      <a:lnTo>
                        <a:pt x="24474" y="98278"/>
                      </a:lnTo>
                      <a:lnTo>
                        <a:pt x="23341" y="96583"/>
                      </a:lnTo>
                      <a:lnTo>
                        <a:pt x="21972" y="94545"/>
                      </a:lnTo>
                      <a:lnTo>
                        <a:pt x="20611" y="92500"/>
                      </a:lnTo>
                      <a:lnTo>
                        <a:pt x="19242" y="90454"/>
                      </a:lnTo>
                      <a:lnTo>
                        <a:pt x="17881" y="88416"/>
                      </a:lnTo>
                      <a:lnTo>
                        <a:pt x="16519" y="86379"/>
                      </a:lnTo>
                      <a:lnTo>
                        <a:pt x="15150" y="84333"/>
                      </a:lnTo>
                      <a:lnTo>
                        <a:pt x="13789" y="82296"/>
                      </a:lnTo>
                      <a:lnTo>
                        <a:pt x="12420" y="80251"/>
                      </a:lnTo>
                      <a:lnTo>
                        <a:pt x="11059" y="78205"/>
                      </a:lnTo>
                      <a:lnTo>
                        <a:pt x="9690" y="76159"/>
                      </a:lnTo>
                      <a:lnTo>
                        <a:pt x="8321" y="74114"/>
                      </a:lnTo>
                      <a:lnTo>
                        <a:pt x="6968" y="72068"/>
                      </a:lnTo>
                      <a:lnTo>
                        <a:pt x="5599" y="70023"/>
                      </a:lnTo>
                      <a:lnTo>
                        <a:pt x="4238" y="67977"/>
                      </a:lnTo>
                      <a:lnTo>
                        <a:pt x="2869" y="65931"/>
                      </a:lnTo>
                      <a:lnTo>
                        <a:pt x="1508" y="63886"/>
                      </a:lnTo>
                      <a:lnTo>
                        <a:pt x="595" y="62517"/>
                      </a:lnTo>
                      <a:lnTo>
                        <a:pt x="90" y="60968"/>
                      </a:lnTo>
                      <a:lnTo>
                        <a:pt x="0" y="56901"/>
                      </a:lnTo>
                      <a:lnTo>
                        <a:pt x="0" y="56021"/>
                      </a:lnTo>
                      <a:lnTo>
                        <a:pt x="913" y="54383"/>
                      </a:lnTo>
                      <a:lnTo>
                        <a:pt x="1361" y="55549"/>
                      </a:lnTo>
                      <a:lnTo>
                        <a:pt x="2380" y="57146"/>
                      </a:lnTo>
                      <a:lnTo>
                        <a:pt x="4124" y="56763"/>
                      </a:lnTo>
                      <a:lnTo>
                        <a:pt x="4939" y="57024"/>
                      </a:lnTo>
                      <a:lnTo>
                        <a:pt x="5534" y="62647"/>
                      </a:lnTo>
                      <a:lnTo>
                        <a:pt x="6805" y="64644"/>
                      </a:lnTo>
                      <a:lnTo>
                        <a:pt x="8370" y="65442"/>
                      </a:lnTo>
                      <a:lnTo>
                        <a:pt x="13635" y="65891"/>
                      </a:lnTo>
                      <a:lnTo>
                        <a:pt x="16911" y="65133"/>
                      </a:lnTo>
                      <a:lnTo>
                        <a:pt x="23382" y="61457"/>
                      </a:lnTo>
                      <a:lnTo>
                        <a:pt x="26772" y="60137"/>
                      </a:lnTo>
                      <a:lnTo>
                        <a:pt x="36153" y="60365"/>
                      </a:lnTo>
                      <a:lnTo>
                        <a:pt x="43667" y="61897"/>
                      </a:lnTo>
                      <a:lnTo>
                        <a:pt x="55386" y="62802"/>
                      </a:lnTo>
                      <a:lnTo>
                        <a:pt x="57659" y="62566"/>
                      </a:lnTo>
                      <a:lnTo>
                        <a:pt x="63967" y="59615"/>
                      </a:lnTo>
                      <a:lnTo>
                        <a:pt x="67847" y="57016"/>
                      </a:lnTo>
                      <a:lnTo>
                        <a:pt x="70145" y="56266"/>
                      </a:lnTo>
                      <a:lnTo>
                        <a:pt x="71669" y="53764"/>
                      </a:lnTo>
                      <a:lnTo>
                        <a:pt x="72671" y="50488"/>
                      </a:lnTo>
                      <a:lnTo>
                        <a:pt x="73559" y="48344"/>
                      </a:lnTo>
                      <a:lnTo>
                        <a:pt x="74701" y="47326"/>
                      </a:lnTo>
                      <a:lnTo>
                        <a:pt x="75777" y="45508"/>
                      </a:lnTo>
                      <a:lnTo>
                        <a:pt x="76640" y="42550"/>
                      </a:lnTo>
                      <a:lnTo>
                        <a:pt x="78824" y="39575"/>
                      </a:lnTo>
                      <a:lnTo>
                        <a:pt x="87528" y="32314"/>
                      </a:lnTo>
                      <a:lnTo>
                        <a:pt x="92630" y="26185"/>
                      </a:lnTo>
                      <a:lnTo>
                        <a:pt x="93078" y="24197"/>
                      </a:lnTo>
                      <a:lnTo>
                        <a:pt x="95849" y="21230"/>
                      </a:lnTo>
                      <a:lnTo>
                        <a:pt x="98074" y="17962"/>
                      </a:lnTo>
                      <a:lnTo>
                        <a:pt x="108441" y="8647"/>
                      </a:lnTo>
                      <a:lnTo>
                        <a:pt x="110519" y="4792"/>
                      </a:lnTo>
                      <a:lnTo>
                        <a:pt x="111741" y="481"/>
                      </a:lnTo>
                      <a:lnTo>
                        <a:pt x="111896" y="171"/>
                      </a:lnTo>
                      <a:lnTo>
                        <a:pt x="112784" y="0"/>
                      </a:lnTo>
                      <a:lnTo>
                        <a:pt x="114055" y="652"/>
                      </a:lnTo>
                      <a:lnTo>
                        <a:pt x="114178" y="3879"/>
                      </a:lnTo>
                      <a:lnTo>
                        <a:pt x="113713" y="6927"/>
                      </a:lnTo>
                      <a:lnTo>
                        <a:pt x="113656" y="10155"/>
                      </a:lnTo>
                      <a:lnTo>
                        <a:pt x="113477" y="11907"/>
                      </a:lnTo>
                      <a:lnTo>
                        <a:pt x="114455" y="13292"/>
                      </a:lnTo>
                      <a:close/>
                    </a:path>
                  </a:pathLst>
                </a:custGeom>
                <a:solidFill>
                  <a:srgbClr val="D6D6D2"/>
                </a:solidFill>
                <a:ln w="6112" cap="rnd">
                  <a:solidFill>
                    <a:srgbClr val="FFFFFF"/>
                  </a:solidFill>
                  <a:prstDash val="solid"/>
                  <a:round/>
                </a:ln>
              </p:spPr>
              <p:txBody>
                <a:bodyPr rtlCol="0" anchor="ctr"/>
                <a:lstStyle/>
                <a:p>
                  <a:endParaRPr lang="en-US"/>
                </a:p>
              </p:txBody>
            </p:sp>
            <p:sp>
              <p:nvSpPr>
                <p:cNvPr id="785" name="Freeform: Shape 784">
                  <a:extLst>
                    <a:ext uri="{FF2B5EF4-FFF2-40B4-BE49-F238E27FC236}">
                      <a16:creationId xmlns:a16="http://schemas.microsoft.com/office/drawing/2014/main" id="{FD9525E3-606C-4DEA-9189-2C2327D0B83F}"/>
                    </a:ext>
                  </a:extLst>
                </p:cNvPr>
                <p:cNvSpPr/>
                <p:nvPr/>
              </p:nvSpPr>
              <p:spPr>
                <a:xfrm>
                  <a:off x="6421834" y="3185259"/>
                  <a:ext cx="43413" cy="102287"/>
                </a:xfrm>
                <a:custGeom>
                  <a:avLst/>
                  <a:gdLst>
                    <a:gd name="connsiteX0" fmla="*/ 19421 w 43413"/>
                    <a:gd name="connsiteY0" fmla="*/ 3472 h 102287"/>
                    <a:gd name="connsiteX1" fmla="*/ 20407 w 43413"/>
                    <a:gd name="connsiteY1" fmla="*/ 4246 h 102287"/>
                    <a:gd name="connsiteX2" fmla="*/ 22444 w 43413"/>
                    <a:gd name="connsiteY2" fmla="*/ 7653 h 102287"/>
                    <a:gd name="connsiteX3" fmla="*/ 23805 w 43413"/>
                    <a:gd name="connsiteY3" fmla="*/ 10644 h 102287"/>
                    <a:gd name="connsiteX4" fmla="*/ 26470 w 43413"/>
                    <a:gd name="connsiteY4" fmla="*/ 11687 h 102287"/>
                    <a:gd name="connsiteX5" fmla="*/ 27970 w 43413"/>
                    <a:gd name="connsiteY5" fmla="*/ 12852 h 102287"/>
                    <a:gd name="connsiteX6" fmla="*/ 29877 w 43413"/>
                    <a:gd name="connsiteY6" fmla="*/ 14621 h 102287"/>
                    <a:gd name="connsiteX7" fmla="*/ 30814 w 43413"/>
                    <a:gd name="connsiteY7" fmla="*/ 16405 h 102287"/>
                    <a:gd name="connsiteX8" fmla="*/ 32118 w 43413"/>
                    <a:gd name="connsiteY8" fmla="*/ 21849 h 102287"/>
                    <a:gd name="connsiteX9" fmla="*/ 32257 w 43413"/>
                    <a:gd name="connsiteY9" fmla="*/ 25134 h 102287"/>
                    <a:gd name="connsiteX10" fmla="*/ 31890 w 43413"/>
                    <a:gd name="connsiteY10" fmla="*/ 26642 h 102287"/>
                    <a:gd name="connsiteX11" fmla="*/ 31564 w 43413"/>
                    <a:gd name="connsiteY11" fmla="*/ 27033 h 102287"/>
                    <a:gd name="connsiteX12" fmla="*/ 30366 w 43413"/>
                    <a:gd name="connsiteY12" fmla="*/ 32371 h 102287"/>
                    <a:gd name="connsiteX13" fmla="*/ 30651 w 43413"/>
                    <a:gd name="connsiteY13" fmla="*/ 35093 h 102287"/>
                    <a:gd name="connsiteX14" fmla="*/ 30651 w 43413"/>
                    <a:gd name="connsiteY14" fmla="*/ 36886 h 102287"/>
                    <a:gd name="connsiteX15" fmla="*/ 29632 w 43413"/>
                    <a:gd name="connsiteY15" fmla="*/ 37595 h 102287"/>
                    <a:gd name="connsiteX16" fmla="*/ 28972 w 43413"/>
                    <a:gd name="connsiteY16" fmla="*/ 38719 h 102287"/>
                    <a:gd name="connsiteX17" fmla="*/ 30048 w 43413"/>
                    <a:gd name="connsiteY17" fmla="*/ 43161 h 102287"/>
                    <a:gd name="connsiteX18" fmla="*/ 29917 w 43413"/>
                    <a:gd name="connsiteY18" fmla="*/ 45052 h 102287"/>
                    <a:gd name="connsiteX19" fmla="*/ 29975 w 43413"/>
                    <a:gd name="connsiteY19" fmla="*/ 47228 h 102287"/>
                    <a:gd name="connsiteX20" fmla="*/ 31922 w 43413"/>
                    <a:gd name="connsiteY20" fmla="*/ 52175 h 102287"/>
                    <a:gd name="connsiteX21" fmla="*/ 33079 w 43413"/>
                    <a:gd name="connsiteY21" fmla="*/ 53707 h 102287"/>
                    <a:gd name="connsiteX22" fmla="*/ 34115 w 43413"/>
                    <a:gd name="connsiteY22" fmla="*/ 54432 h 102287"/>
                    <a:gd name="connsiteX23" fmla="*/ 35435 w 43413"/>
                    <a:gd name="connsiteY23" fmla="*/ 58980 h 102287"/>
                    <a:gd name="connsiteX24" fmla="*/ 36217 w 43413"/>
                    <a:gd name="connsiteY24" fmla="*/ 59770 h 102287"/>
                    <a:gd name="connsiteX25" fmla="*/ 39420 w 43413"/>
                    <a:gd name="connsiteY25" fmla="*/ 59338 h 102287"/>
                    <a:gd name="connsiteX26" fmla="*/ 40993 w 43413"/>
                    <a:gd name="connsiteY26" fmla="*/ 59844 h 102287"/>
                    <a:gd name="connsiteX27" fmla="*/ 41612 w 43413"/>
                    <a:gd name="connsiteY27" fmla="*/ 60919 h 102287"/>
                    <a:gd name="connsiteX28" fmla="*/ 41751 w 43413"/>
                    <a:gd name="connsiteY28" fmla="*/ 61661 h 102287"/>
                    <a:gd name="connsiteX29" fmla="*/ 41547 w 43413"/>
                    <a:gd name="connsiteY29" fmla="*/ 64204 h 102287"/>
                    <a:gd name="connsiteX30" fmla="*/ 42346 w 43413"/>
                    <a:gd name="connsiteY30" fmla="*/ 66160 h 102287"/>
                    <a:gd name="connsiteX31" fmla="*/ 43413 w 43413"/>
                    <a:gd name="connsiteY31" fmla="*/ 68173 h 102287"/>
                    <a:gd name="connsiteX32" fmla="*/ 43413 w 43413"/>
                    <a:gd name="connsiteY32" fmla="*/ 69403 h 102287"/>
                    <a:gd name="connsiteX33" fmla="*/ 42696 w 43413"/>
                    <a:gd name="connsiteY33" fmla="*/ 71416 h 102287"/>
                    <a:gd name="connsiteX34" fmla="*/ 41409 w 43413"/>
                    <a:gd name="connsiteY34" fmla="*/ 73755 h 102287"/>
                    <a:gd name="connsiteX35" fmla="*/ 39714 w 43413"/>
                    <a:gd name="connsiteY35" fmla="*/ 74668 h 102287"/>
                    <a:gd name="connsiteX36" fmla="*/ 37831 w 43413"/>
                    <a:gd name="connsiteY36" fmla="*/ 75426 h 102287"/>
                    <a:gd name="connsiteX37" fmla="*/ 36942 w 43413"/>
                    <a:gd name="connsiteY37" fmla="*/ 77251 h 102287"/>
                    <a:gd name="connsiteX38" fmla="*/ 36478 w 43413"/>
                    <a:gd name="connsiteY38" fmla="*/ 79183 h 102287"/>
                    <a:gd name="connsiteX39" fmla="*/ 35639 w 43413"/>
                    <a:gd name="connsiteY39" fmla="*/ 80617 h 102287"/>
                    <a:gd name="connsiteX40" fmla="*/ 35125 w 43413"/>
                    <a:gd name="connsiteY40" fmla="*/ 82190 h 102287"/>
                    <a:gd name="connsiteX41" fmla="*/ 34326 w 43413"/>
                    <a:gd name="connsiteY41" fmla="*/ 85409 h 102287"/>
                    <a:gd name="connsiteX42" fmla="*/ 34139 w 43413"/>
                    <a:gd name="connsiteY42" fmla="*/ 86567 h 102287"/>
                    <a:gd name="connsiteX43" fmla="*/ 32876 w 43413"/>
                    <a:gd name="connsiteY43" fmla="*/ 87748 h 102287"/>
                    <a:gd name="connsiteX44" fmla="*/ 30904 w 43413"/>
                    <a:gd name="connsiteY44" fmla="*/ 88229 h 102287"/>
                    <a:gd name="connsiteX45" fmla="*/ 29160 w 43413"/>
                    <a:gd name="connsiteY45" fmla="*/ 88327 h 102287"/>
                    <a:gd name="connsiteX46" fmla="*/ 27961 w 43413"/>
                    <a:gd name="connsiteY46" fmla="*/ 88873 h 102287"/>
                    <a:gd name="connsiteX47" fmla="*/ 27359 w 43413"/>
                    <a:gd name="connsiteY47" fmla="*/ 89973 h 102287"/>
                    <a:gd name="connsiteX48" fmla="*/ 26225 w 43413"/>
                    <a:gd name="connsiteY48" fmla="*/ 90853 h 102287"/>
                    <a:gd name="connsiteX49" fmla="*/ 25549 w 43413"/>
                    <a:gd name="connsiteY49" fmla="*/ 91244 h 102287"/>
                    <a:gd name="connsiteX50" fmla="*/ 25565 w 43413"/>
                    <a:gd name="connsiteY50" fmla="*/ 92222 h 102287"/>
                    <a:gd name="connsiteX51" fmla="*/ 26381 w 43413"/>
                    <a:gd name="connsiteY51" fmla="*/ 94260 h 102287"/>
                    <a:gd name="connsiteX52" fmla="*/ 27301 w 43413"/>
                    <a:gd name="connsiteY52" fmla="*/ 95914 h 102287"/>
                    <a:gd name="connsiteX53" fmla="*/ 27326 w 43413"/>
                    <a:gd name="connsiteY53" fmla="*/ 97243 h 102287"/>
                    <a:gd name="connsiteX54" fmla="*/ 26861 w 43413"/>
                    <a:gd name="connsiteY54" fmla="*/ 97609 h 102287"/>
                    <a:gd name="connsiteX55" fmla="*/ 25435 w 43413"/>
                    <a:gd name="connsiteY55" fmla="*/ 97438 h 102287"/>
                    <a:gd name="connsiteX56" fmla="*/ 25126 w 43413"/>
                    <a:gd name="connsiteY56" fmla="*/ 97935 h 102287"/>
                    <a:gd name="connsiteX57" fmla="*/ 24970 w 43413"/>
                    <a:gd name="connsiteY57" fmla="*/ 99410 h 102287"/>
                    <a:gd name="connsiteX58" fmla="*/ 24587 w 43413"/>
                    <a:gd name="connsiteY58" fmla="*/ 100674 h 102287"/>
                    <a:gd name="connsiteX59" fmla="*/ 24001 w 43413"/>
                    <a:gd name="connsiteY59" fmla="*/ 101440 h 102287"/>
                    <a:gd name="connsiteX60" fmla="*/ 22974 w 43413"/>
                    <a:gd name="connsiteY60" fmla="*/ 102287 h 102287"/>
                    <a:gd name="connsiteX61" fmla="*/ 21083 w 43413"/>
                    <a:gd name="connsiteY61" fmla="*/ 102010 h 102287"/>
                    <a:gd name="connsiteX62" fmla="*/ 19331 w 43413"/>
                    <a:gd name="connsiteY62" fmla="*/ 100739 h 102287"/>
                    <a:gd name="connsiteX63" fmla="*/ 18402 w 43413"/>
                    <a:gd name="connsiteY63" fmla="*/ 100356 h 102287"/>
                    <a:gd name="connsiteX64" fmla="*/ 17880 w 43413"/>
                    <a:gd name="connsiteY64" fmla="*/ 100388 h 102287"/>
                    <a:gd name="connsiteX65" fmla="*/ 17726 w 43413"/>
                    <a:gd name="connsiteY65" fmla="*/ 97300 h 102287"/>
                    <a:gd name="connsiteX66" fmla="*/ 16960 w 43413"/>
                    <a:gd name="connsiteY66" fmla="*/ 94879 h 102287"/>
                    <a:gd name="connsiteX67" fmla="*/ 14164 w 43413"/>
                    <a:gd name="connsiteY67" fmla="*/ 89077 h 102287"/>
                    <a:gd name="connsiteX68" fmla="*/ 5061 w 43413"/>
                    <a:gd name="connsiteY68" fmla="*/ 83429 h 102287"/>
                    <a:gd name="connsiteX69" fmla="*/ 2909 w 43413"/>
                    <a:gd name="connsiteY69" fmla="*/ 80886 h 102287"/>
                    <a:gd name="connsiteX70" fmla="*/ 1972 w 43413"/>
                    <a:gd name="connsiteY70" fmla="*/ 78751 h 102287"/>
                    <a:gd name="connsiteX71" fmla="*/ 1035 w 43413"/>
                    <a:gd name="connsiteY71" fmla="*/ 76730 h 102287"/>
                    <a:gd name="connsiteX72" fmla="*/ 1939 w 43413"/>
                    <a:gd name="connsiteY72" fmla="*/ 76673 h 102287"/>
                    <a:gd name="connsiteX73" fmla="*/ 2820 w 43413"/>
                    <a:gd name="connsiteY73" fmla="*/ 77186 h 102287"/>
                    <a:gd name="connsiteX74" fmla="*/ 3969 w 43413"/>
                    <a:gd name="connsiteY74" fmla="*/ 77806 h 102287"/>
                    <a:gd name="connsiteX75" fmla="*/ 4425 w 43413"/>
                    <a:gd name="connsiteY75" fmla="*/ 76795 h 102287"/>
                    <a:gd name="connsiteX76" fmla="*/ 3928 w 43413"/>
                    <a:gd name="connsiteY76" fmla="*/ 74586 h 102287"/>
                    <a:gd name="connsiteX77" fmla="*/ 1581 w 43413"/>
                    <a:gd name="connsiteY77" fmla="*/ 69419 h 102287"/>
                    <a:gd name="connsiteX78" fmla="*/ 1402 w 43413"/>
                    <a:gd name="connsiteY78" fmla="*/ 67993 h 102287"/>
                    <a:gd name="connsiteX79" fmla="*/ 2559 w 43413"/>
                    <a:gd name="connsiteY79" fmla="*/ 63682 h 102287"/>
                    <a:gd name="connsiteX80" fmla="*/ 4482 w 43413"/>
                    <a:gd name="connsiteY80" fmla="*/ 58808 h 102287"/>
                    <a:gd name="connsiteX81" fmla="*/ 4352 w 43413"/>
                    <a:gd name="connsiteY81" fmla="*/ 52916 h 102287"/>
                    <a:gd name="connsiteX82" fmla="*/ 4947 w 43413"/>
                    <a:gd name="connsiteY82" fmla="*/ 48467 h 102287"/>
                    <a:gd name="connsiteX83" fmla="*/ 4278 w 43413"/>
                    <a:gd name="connsiteY83" fmla="*/ 45573 h 102287"/>
                    <a:gd name="connsiteX84" fmla="*/ 3969 w 43413"/>
                    <a:gd name="connsiteY84" fmla="*/ 42020 h 102287"/>
                    <a:gd name="connsiteX85" fmla="*/ 5371 w 43413"/>
                    <a:gd name="connsiteY85" fmla="*/ 37293 h 102287"/>
                    <a:gd name="connsiteX86" fmla="*/ 6577 w 43413"/>
                    <a:gd name="connsiteY86" fmla="*/ 36136 h 102287"/>
                    <a:gd name="connsiteX87" fmla="*/ 7319 w 43413"/>
                    <a:gd name="connsiteY87" fmla="*/ 34645 h 102287"/>
                    <a:gd name="connsiteX88" fmla="*/ 7359 w 43413"/>
                    <a:gd name="connsiteY88" fmla="*/ 29592 h 102287"/>
                    <a:gd name="connsiteX89" fmla="*/ 4661 w 43413"/>
                    <a:gd name="connsiteY89" fmla="*/ 27236 h 102287"/>
                    <a:gd name="connsiteX90" fmla="*/ 1532 w 43413"/>
                    <a:gd name="connsiteY90" fmla="*/ 26796 h 102287"/>
                    <a:gd name="connsiteX91" fmla="*/ 1605 w 43413"/>
                    <a:gd name="connsiteY91" fmla="*/ 25085 h 102287"/>
                    <a:gd name="connsiteX92" fmla="*/ 1997 w 43413"/>
                    <a:gd name="connsiteY92" fmla="*/ 22379 h 102287"/>
                    <a:gd name="connsiteX93" fmla="*/ 1768 w 43413"/>
                    <a:gd name="connsiteY93" fmla="*/ 21475 h 102287"/>
                    <a:gd name="connsiteX94" fmla="*/ 2005 w 43413"/>
                    <a:gd name="connsiteY94" fmla="*/ 19918 h 102287"/>
                    <a:gd name="connsiteX95" fmla="*/ 1247 w 43413"/>
                    <a:gd name="connsiteY95" fmla="*/ 17856 h 102287"/>
                    <a:gd name="connsiteX96" fmla="*/ 0 w 43413"/>
                    <a:gd name="connsiteY96" fmla="*/ 16365 h 102287"/>
                    <a:gd name="connsiteX97" fmla="*/ 1206 w 43413"/>
                    <a:gd name="connsiteY97" fmla="*/ 13732 h 102287"/>
                    <a:gd name="connsiteX98" fmla="*/ 2950 w 43413"/>
                    <a:gd name="connsiteY98" fmla="*/ 10546 h 102287"/>
                    <a:gd name="connsiteX99" fmla="*/ 4572 w 43413"/>
                    <a:gd name="connsiteY99" fmla="*/ 8019 h 102287"/>
                    <a:gd name="connsiteX100" fmla="*/ 6544 w 43413"/>
                    <a:gd name="connsiteY100" fmla="*/ 5379 h 102287"/>
                    <a:gd name="connsiteX101" fmla="*/ 7856 w 43413"/>
                    <a:gd name="connsiteY101" fmla="*/ 2836 h 102287"/>
                    <a:gd name="connsiteX102" fmla="*/ 9274 w 43413"/>
                    <a:gd name="connsiteY102" fmla="*/ 660 h 102287"/>
                    <a:gd name="connsiteX103" fmla="*/ 10489 w 43413"/>
                    <a:gd name="connsiteY103" fmla="*/ 0 h 102287"/>
                    <a:gd name="connsiteX104" fmla="*/ 11100 w 43413"/>
                    <a:gd name="connsiteY104" fmla="*/ 456 h 102287"/>
                    <a:gd name="connsiteX105" fmla="*/ 11409 w 43413"/>
                    <a:gd name="connsiteY105" fmla="*/ 1410 h 102287"/>
                    <a:gd name="connsiteX106" fmla="*/ 11328 w 43413"/>
                    <a:gd name="connsiteY106" fmla="*/ 4230 h 102287"/>
                    <a:gd name="connsiteX107" fmla="*/ 11752 w 43413"/>
                    <a:gd name="connsiteY107" fmla="*/ 5208 h 102287"/>
                    <a:gd name="connsiteX108" fmla="*/ 12583 w 43413"/>
                    <a:gd name="connsiteY108" fmla="*/ 5917 h 102287"/>
                    <a:gd name="connsiteX109" fmla="*/ 14360 w 43413"/>
                    <a:gd name="connsiteY109" fmla="*/ 5566 h 102287"/>
                    <a:gd name="connsiteX110" fmla="*/ 16324 w 43413"/>
                    <a:gd name="connsiteY110" fmla="*/ 4865 h 102287"/>
                    <a:gd name="connsiteX111" fmla="*/ 18973 w 43413"/>
                    <a:gd name="connsiteY111" fmla="*/ 3374 h 102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413" h="102287">
                      <a:moveTo>
                        <a:pt x="19421" y="3472"/>
                      </a:moveTo>
                      <a:lnTo>
                        <a:pt x="20407" y="4246"/>
                      </a:lnTo>
                      <a:lnTo>
                        <a:pt x="22444" y="7653"/>
                      </a:lnTo>
                      <a:lnTo>
                        <a:pt x="23805" y="10644"/>
                      </a:lnTo>
                      <a:lnTo>
                        <a:pt x="26470" y="11687"/>
                      </a:lnTo>
                      <a:lnTo>
                        <a:pt x="27970" y="12852"/>
                      </a:lnTo>
                      <a:lnTo>
                        <a:pt x="29877" y="14621"/>
                      </a:lnTo>
                      <a:lnTo>
                        <a:pt x="30814" y="16405"/>
                      </a:lnTo>
                      <a:lnTo>
                        <a:pt x="32118" y="21849"/>
                      </a:lnTo>
                      <a:lnTo>
                        <a:pt x="32257" y="25134"/>
                      </a:lnTo>
                      <a:lnTo>
                        <a:pt x="31890" y="26642"/>
                      </a:lnTo>
                      <a:lnTo>
                        <a:pt x="31564" y="27033"/>
                      </a:lnTo>
                      <a:lnTo>
                        <a:pt x="30366" y="32371"/>
                      </a:lnTo>
                      <a:lnTo>
                        <a:pt x="30651" y="35093"/>
                      </a:lnTo>
                      <a:lnTo>
                        <a:pt x="30651" y="36886"/>
                      </a:lnTo>
                      <a:lnTo>
                        <a:pt x="29632" y="37595"/>
                      </a:lnTo>
                      <a:lnTo>
                        <a:pt x="28972" y="38719"/>
                      </a:lnTo>
                      <a:lnTo>
                        <a:pt x="30048" y="43161"/>
                      </a:lnTo>
                      <a:lnTo>
                        <a:pt x="29917" y="45052"/>
                      </a:lnTo>
                      <a:lnTo>
                        <a:pt x="29975" y="47228"/>
                      </a:lnTo>
                      <a:lnTo>
                        <a:pt x="31922" y="52175"/>
                      </a:lnTo>
                      <a:lnTo>
                        <a:pt x="33079" y="53707"/>
                      </a:lnTo>
                      <a:lnTo>
                        <a:pt x="34115" y="54432"/>
                      </a:lnTo>
                      <a:lnTo>
                        <a:pt x="35435" y="58980"/>
                      </a:lnTo>
                      <a:lnTo>
                        <a:pt x="36217" y="59770"/>
                      </a:lnTo>
                      <a:lnTo>
                        <a:pt x="39420" y="59338"/>
                      </a:lnTo>
                      <a:lnTo>
                        <a:pt x="40993" y="59844"/>
                      </a:lnTo>
                      <a:lnTo>
                        <a:pt x="41612" y="60919"/>
                      </a:lnTo>
                      <a:lnTo>
                        <a:pt x="41751" y="61661"/>
                      </a:lnTo>
                      <a:lnTo>
                        <a:pt x="41547" y="64204"/>
                      </a:lnTo>
                      <a:lnTo>
                        <a:pt x="42346" y="66160"/>
                      </a:lnTo>
                      <a:lnTo>
                        <a:pt x="43413" y="68173"/>
                      </a:lnTo>
                      <a:lnTo>
                        <a:pt x="43413" y="69403"/>
                      </a:lnTo>
                      <a:lnTo>
                        <a:pt x="42696" y="71416"/>
                      </a:lnTo>
                      <a:lnTo>
                        <a:pt x="41409" y="73755"/>
                      </a:lnTo>
                      <a:lnTo>
                        <a:pt x="39714" y="74668"/>
                      </a:lnTo>
                      <a:lnTo>
                        <a:pt x="37831" y="75426"/>
                      </a:lnTo>
                      <a:lnTo>
                        <a:pt x="36942" y="77251"/>
                      </a:lnTo>
                      <a:lnTo>
                        <a:pt x="36478" y="79183"/>
                      </a:lnTo>
                      <a:lnTo>
                        <a:pt x="35639" y="80617"/>
                      </a:lnTo>
                      <a:lnTo>
                        <a:pt x="35125" y="82190"/>
                      </a:lnTo>
                      <a:lnTo>
                        <a:pt x="34326" y="85409"/>
                      </a:lnTo>
                      <a:lnTo>
                        <a:pt x="34139" y="86567"/>
                      </a:lnTo>
                      <a:lnTo>
                        <a:pt x="32876" y="87748"/>
                      </a:lnTo>
                      <a:lnTo>
                        <a:pt x="30904" y="88229"/>
                      </a:lnTo>
                      <a:lnTo>
                        <a:pt x="29160" y="88327"/>
                      </a:lnTo>
                      <a:lnTo>
                        <a:pt x="27961" y="88873"/>
                      </a:lnTo>
                      <a:lnTo>
                        <a:pt x="27359" y="89973"/>
                      </a:lnTo>
                      <a:lnTo>
                        <a:pt x="26225" y="90853"/>
                      </a:lnTo>
                      <a:lnTo>
                        <a:pt x="25549" y="91244"/>
                      </a:lnTo>
                      <a:lnTo>
                        <a:pt x="25565" y="92222"/>
                      </a:lnTo>
                      <a:lnTo>
                        <a:pt x="26381" y="94260"/>
                      </a:lnTo>
                      <a:lnTo>
                        <a:pt x="27301" y="95914"/>
                      </a:lnTo>
                      <a:lnTo>
                        <a:pt x="27326" y="97243"/>
                      </a:lnTo>
                      <a:lnTo>
                        <a:pt x="26861" y="97609"/>
                      </a:lnTo>
                      <a:lnTo>
                        <a:pt x="25435" y="97438"/>
                      </a:lnTo>
                      <a:lnTo>
                        <a:pt x="25126" y="97935"/>
                      </a:lnTo>
                      <a:lnTo>
                        <a:pt x="24970" y="99410"/>
                      </a:lnTo>
                      <a:lnTo>
                        <a:pt x="24587" y="100674"/>
                      </a:lnTo>
                      <a:lnTo>
                        <a:pt x="24001" y="101440"/>
                      </a:lnTo>
                      <a:lnTo>
                        <a:pt x="22974" y="102287"/>
                      </a:lnTo>
                      <a:lnTo>
                        <a:pt x="21083" y="102010"/>
                      </a:lnTo>
                      <a:lnTo>
                        <a:pt x="19331" y="100739"/>
                      </a:lnTo>
                      <a:lnTo>
                        <a:pt x="18402" y="100356"/>
                      </a:lnTo>
                      <a:lnTo>
                        <a:pt x="17880" y="100388"/>
                      </a:lnTo>
                      <a:lnTo>
                        <a:pt x="17726" y="97300"/>
                      </a:lnTo>
                      <a:lnTo>
                        <a:pt x="16960" y="94879"/>
                      </a:lnTo>
                      <a:lnTo>
                        <a:pt x="14164" y="89077"/>
                      </a:lnTo>
                      <a:lnTo>
                        <a:pt x="5061" y="83429"/>
                      </a:lnTo>
                      <a:lnTo>
                        <a:pt x="2909" y="80886"/>
                      </a:lnTo>
                      <a:lnTo>
                        <a:pt x="1972" y="78751"/>
                      </a:lnTo>
                      <a:lnTo>
                        <a:pt x="1035" y="76730"/>
                      </a:lnTo>
                      <a:lnTo>
                        <a:pt x="1939" y="76673"/>
                      </a:lnTo>
                      <a:lnTo>
                        <a:pt x="2820" y="77186"/>
                      </a:lnTo>
                      <a:lnTo>
                        <a:pt x="3969" y="77806"/>
                      </a:lnTo>
                      <a:lnTo>
                        <a:pt x="4425" y="76795"/>
                      </a:lnTo>
                      <a:lnTo>
                        <a:pt x="3928" y="74586"/>
                      </a:lnTo>
                      <a:lnTo>
                        <a:pt x="1581" y="69419"/>
                      </a:lnTo>
                      <a:lnTo>
                        <a:pt x="1402" y="67993"/>
                      </a:lnTo>
                      <a:lnTo>
                        <a:pt x="2559" y="63682"/>
                      </a:lnTo>
                      <a:lnTo>
                        <a:pt x="4482" y="58808"/>
                      </a:lnTo>
                      <a:lnTo>
                        <a:pt x="4352" y="52916"/>
                      </a:lnTo>
                      <a:lnTo>
                        <a:pt x="4947" y="48467"/>
                      </a:lnTo>
                      <a:lnTo>
                        <a:pt x="4278" y="45573"/>
                      </a:lnTo>
                      <a:lnTo>
                        <a:pt x="3969" y="42020"/>
                      </a:lnTo>
                      <a:lnTo>
                        <a:pt x="5371" y="37293"/>
                      </a:lnTo>
                      <a:lnTo>
                        <a:pt x="6577" y="36136"/>
                      </a:lnTo>
                      <a:lnTo>
                        <a:pt x="7319" y="34645"/>
                      </a:lnTo>
                      <a:lnTo>
                        <a:pt x="7359" y="29592"/>
                      </a:lnTo>
                      <a:lnTo>
                        <a:pt x="4661" y="27236"/>
                      </a:lnTo>
                      <a:lnTo>
                        <a:pt x="1532" y="26796"/>
                      </a:lnTo>
                      <a:lnTo>
                        <a:pt x="1605" y="25085"/>
                      </a:lnTo>
                      <a:lnTo>
                        <a:pt x="1997" y="22379"/>
                      </a:lnTo>
                      <a:lnTo>
                        <a:pt x="1768" y="21475"/>
                      </a:lnTo>
                      <a:lnTo>
                        <a:pt x="2005" y="19918"/>
                      </a:lnTo>
                      <a:lnTo>
                        <a:pt x="1247" y="17856"/>
                      </a:lnTo>
                      <a:lnTo>
                        <a:pt x="0" y="16365"/>
                      </a:lnTo>
                      <a:lnTo>
                        <a:pt x="1206" y="13732"/>
                      </a:lnTo>
                      <a:lnTo>
                        <a:pt x="2950" y="10546"/>
                      </a:lnTo>
                      <a:lnTo>
                        <a:pt x="4572" y="8019"/>
                      </a:lnTo>
                      <a:lnTo>
                        <a:pt x="6544" y="5379"/>
                      </a:lnTo>
                      <a:lnTo>
                        <a:pt x="7856" y="2836"/>
                      </a:lnTo>
                      <a:lnTo>
                        <a:pt x="9274" y="660"/>
                      </a:lnTo>
                      <a:lnTo>
                        <a:pt x="10489" y="0"/>
                      </a:lnTo>
                      <a:lnTo>
                        <a:pt x="11100" y="456"/>
                      </a:lnTo>
                      <a:lnTo>
                        <a:pt x="11409" y="1410"/>
                      </a:lnTo>
                      <a:lnTo>
                        <a:pt x="11328" y="4230"/>
                      </a:lnTo>
                      <a:lnTo>
                        <a:pt x="11752" y="5208"/>
                      </a:lnTo>
                      <a:lnTo>
                        <a:pt x="12583" y="5917"/>
                      </a:lnTo>
                      <a:lnTo>
                        <a:pt x="14360" y="5566"/>
                      </a:lnTo>
                      <a:lnTo>
                        <a:pt x="16324" y="4865"/>
                      </a:lnTo>
                      <a:lnTo>
                        <a:pt x="18973" y="3374"/>
                      </a:lnTo>
                      <a:close/>
                    </a:path>
                  </a:pathLst>
                </a:custGeom>
                <a:solidFill>
                  <a:srgbClr val="D6D6D2"/>
                </a:solidFill>
                <a:ln w="6112" cap="rnd">
                  <a:solidFill>
                    <a:srgbClr val="FFFFFF"/>
                  </a:solidFill>
                  <a:prstDash val="solid"/>
                  <a:round/>
                </a:ln>
              </p:spPr>
              <p:txBody>
                <a:bodyPr rtlCol="0" anchor="ctr"/>
                <a:lstStyle/>
                <a:p>
                  <a:endParaRPr lang="en-US"/>
                </a:p>
              </p:txBody>
            </p:sp>
            <p:sp>
              <p:nvSpPr>
                <p:cNvPr id="786" name="Freeform: Shape 785">
                  <a:extLst>
                    <a:ext uri="{FF2B5EF4-FFF2-40B4-BE49-F238E27FC236}">
                      <a16:creationId xmlns:a16="http://schemas.microsoft.com/office/drawing/2014/main" id="{E094D1E0-FF40-4B1A-A20C-486EDF47C850}"/>
                    </a:ext>
                  </a:extLst>
                </p:cNvPr>
                <p:cNvSpPr/>
                <p:nvPr/>
              </p:nvSpPr>
              <p:spPr>
                <a:xfrm>
                  <a:off x="6234855" y="4657150"/>
                  <a:ext cx="305150" cy="411349"/>
                </a:xfrm>
                <a:custGeom>
                  <a:avLst/>
                  <a:gdLst>
                    <a:gd name="connsiteX0" fmla="*/ 60740 w 305150"/>
                    <a:gd name="connsiteY0" fmla="*/ 43430 h 411349"/>
                    <a:gd name="connsiteX1" fmla="*/ 65899 w 305150"/>
                    <a:gd name="connsiteY1" fmla="*/ 43935 h 411349"/>
                    <a:gd name="connsiteX2" fmla="*/ 72320 w 305150"/>
                    <a:gd name="connsiteY2" fmla="*/ 43821 h 411349"/>
                    <a:gd name="connsiteX3" fmla="*/ 74586 w 305150"/>
                    <a:gd name="connsiteY3" fmla="*/ 43552 h 411349"/>
                    <a:gd name="connsiteX4" fmla="*/ 83013 w 305150"/>
                    <a:gd name="connsiteY4" fmla="*/ 43389 h 411349"/>
                    <a:gd name="connsiteX5" fmla="*/ 91342 w 305150"/>
                    <a:gd name="connsiteY5" fmla="*/ 43218 h 411349"/>
                    <a:gd name="connsiteX6" fmla="*/ 98831 w 305150"/>
                    <a:gd name="connsiteY6" fmla="*/ 43063 h 411349"/>
                    <a:gd name="connsiteX7" fmla="*/ 107096 w 305150"/>
                    <a:gd name="connsiteY7" fmla="*/ 43096 h 411349"/>
                    <a:gd name="connsiteX8" fmla="*/ 113420 w 305150"/>
                    <a:gd name="connsiteY8" fmla="*/ 43120 h 411349"/>
                    <a:gd name="connsiteX9" fmla="*/ 116305 w 305150"/>
                    <a:gd name="connsiteY9" fmla="*/ 44171 h 411349"/>
                    <a:gd name="connsiteX10" fmla="*/ 118921 w 305150"/>
                    <a:gd name="connsiteY10" fmla="*/ 46135 h 411349"/>
                    <a:gd name="connsiteX11" fmla="*/ 120111 w 305150"/>
                    <a:gd name="connsiteY11" fmla="*/ 47912 h 411349"/>
                    <a:gd name="connsiteX12" fmla="*/ 120681 w 305150"/>
                    <a:gd name="connsiteY12" fmla="*/ 48711 h 411349"/>
                    <a:gd name="connsiteX13" fmla="*/ 121455 w 305150"/>
                    <a:gd name="connsiteY13" fmla="*/ 50593 h 411349"/>
                    <a:gd name="connsiteX14" fmla="*/ 122898 w 305150"/>
                    <a:gd name="connsiteY14" fmla="*/ 52093 h 411349"/>
                    <a:gd name="connsiteX15" fmla="*/ 123403 w 305150"/>
                    <a:gd name="connsiteY15" fmla="*/ 54408 h 411349"/>
                    <a:gd name="connsiteX16" fmla="*/ 122988 w 305150"/>
                    <a:gd name="connsiteY16" fmla="*/ 57553 h 411349"/>
                    <a:gd name="connsiteX17" fmla="*/ 123200 w 305150"/>
                    <a:gd name="connsiteY17" fmla="*/ 61327 h 411349"/>
                    <a:gd name="connsiteX18" fmla="*/ 124031 w 305150"/>
                    <a:gd name="connsiteY18" fmla="*/ 65727 h 411349"/>
                    <a:gd name="connsiteX19" fmla="*/ 125766 w 305150"/>
                    <a:gd name="connsiteY19" fmla="*/ 70365 h 411349"/>
                    <a:gd name="connsiteX20" fmla="*/ 128407 w 305150"/>
                    <a:gd name="connsiteY20" fmla="*/ 75214 h 411349"/>
                    <a:gd name="connsiteX21" fmla="*/ 129556 w 305150"/>
                    <a:gd name="connsiteY21" fmla="*/ 79060 h 411349"/>
                    <a:gd name="connsiteX22" fmla="*/ 129222 w 305150"/>
                    <a:gd name="connsiteY22" fmla="*/ 81913 h 411349"/>
                    <a:gd name="connsiteX23" fmla="*/ 130029 w 305150"/>
                    <a:gd name="connsiteY23" fmla="*/ 84936 h 411349"/>
                    <a:gd name="connsiteX24" fmla="*/ 131984 w 305150"/>
                    <a:gd name="connsiteY24" fmla="*/ 88115 h 411349"/>
                    <a:gd name="connsiteX25" fmla="*/ 133427 w 305150"/>
                    <a:gd name="connsiteY25" fmla="*/ 89802 h 411349"/>
                    <a:gd name="connsiteX26" fmla="*/ 134259 w 305150"/>
                    <a:gd name="connsiteY26" fmla="*/ 91073 h 411349"/>
                    <a:gd name="connsiteX27" fmla="*/ 136492 w 305150"/>
                    <a:gd name="connsiteY27" fmla="*/ 95947 h 411349"/>
                    <a:gd name="connsiteX28" fmla="*/ 140607 w 305150"/>
                    <a:gd name="connsiteY28" fmla="*/ 103713 h 411349"/>
                    <a:gd name="connsiteX29" fmla="*/ 143712 w 305150"/>
                    <a:gd name="connsiteY29" fmla="*/ 109557 h 411349"/>
                    <a:gd name="connsiteX30" fmla="*/ 144788 w 305150"/>
                    <a:gd name="connsiteY30" fmla="*/ 110249 h 411349"/>
                    <a:gd name="connsiteX31" fmla="*/ 146361 w 305150"/>
                    <a:gd name="connsiteY31" fmla="*/ 110005 h 411349"/>
                    <a:gd name="connsiteX32" fmla="*/ 149726 w 305150"/>
                    <a:gd name="connsiteY32" fmla="*/ 109426 h 411349"/>
                    <a:gd name="connsiteX33" fmla="*/ 153060 w 305150"/>
                    <a:gd name="connsiteY33" fmla="*/ 109312 h 411349"/>
                    <a:gd name="connsiteX34" fmla="*/ 155431 w 305150"/>
                    <a:gd name="connsiteY34" fmla="*/ 110502 h 411349"/>
                    <a:gd name="connsiteX35" fmla="*/ 156377 w 305150"/>
                    <a:gd name="connsiteY35" fmla="*/ 110306 h 411349"/>
                    <a:gd name="connsiteX36" fmla="*/ 159954 w 305150"/>
                    <a:gd name="connsiteY36" fmla="*/ 107992 h 411349"/>
                    <a:gd name="connsiteX37" fmla="*/ 163516 w 305150"/>
                    <a:gd name="connsiteY37" fmla="*/ 107291 h 411349"/>
                    <a:gd name="connsiteX38" fmla="*/ 167224 w 305150"/>
                    <a:gd name="connsiteY38" fmla="*/ 106330 h 411349"/>
                    <a:gd name="connsiteX39" fmla="*/ 169164 w 305150"/>
                    <a:gd name="connsiteY39" fmla="*/ 105352 h 411349"/>
                    <a:gd name="connsiteX40" fmla="*/ 171413 w 305150"/>
                    <a:gd name="connsiteY40" fmla="*/ 105352 h 411349"/>
                    <a:gd name="connsiteX41" fmla="*/ 177485 w 305150"/>
                    <a:gd name="connsiteY41" fmla="*/ 107226 h 411349"/>
                    <a:gd name="connsiteX42" fmla="*/ 178634 w 305150"/>
                    <a:gd name="connsiteY42" fmla="*/ 107316 h 411349"/>
                    <a:gd name="connsiteX43" fmla="*/ 183556 w 305150"/>
                    <a:gd name="connsiteY43" fmla="*/ 107316 h 411349"/>
                    <a:gd name="connsiteX44" fmla="*/ 188471 w 305150"/>
                    <a:gd name="connsiteY44" fmla="*/ 106272 h 411349"/>
                    <a:gd name="connsiteX45" fmla="*/ 189188 w 305150"/>
                    <a:gd name="connsiteY45" fmla="*/ 98449 h 411349"/>
                    <a:gd name="connsiteX46" fmla="*/ 189237 w 305150"/>
                    <a:gd name="connsiteY46" fmla="*/ 96900 h 411349"/>
                    <a:gd name="connsiteX47" fmla="*/ 190418 w 305150"/>
                    <a:gd name="connsiteY47" fmla="*/ 93966 h 411349"/>
                    <a:gd name="connsiteX48" fmla="*/ 191926 w 305150"/>
                    <a:gd name="connsiteY48" fmla="*/ 91407 h 411349"/>
                    <a:gd name="connsiteX49" fmla="*/ 192114 w 305150"/>
                    <a:gd name="connsiteY49" fmla="*/ 88962 h 411349"/>
                    <a:gd name="connsiteX50" fmla="*/ 192016 w 305150"/>
                    <a:gd name="connsiteY50" fmla="*/ 85621 h 411349"/>
                    <a:gd name="connsiteX51" fmla="*/ 193107 w 305150"/>
                    <a:gd name="connsiteY51" fmla="*/ 81562 h 411349"/>
                    <a:gd name="connsiteX52" fmla="*/ 196392 w 305150"/>
                    <a:gd name="connsiteY52" fmla="*/ 78335 h 411349"/>
                    <a:gd name="connsiteX53" fmla="*/ 201722 w 305150"/>
                    <a:gd name="connsiteY53" fmla="*/ 76803 h 411349"/>
                    <a:gd name="connsiteX54" fmla="*/ 204754 w 305150"/>
                    <a:gd name="connsiteY54" fmla="*/ 76501 h 411349"/>
                    <a:gd name="connsiteX55" fmla="*/ 209529 w 305150"/>
                    <a:gd name="connsiteY55" fmla="*/ 75597 h 411349"/>
                    <a:gd name="connsiteX56" fmla="*/ 216791 w 305150"/>
                    <a:gd name="connsiteY56" fmla="*/ 74692 h 411349"/>
                    <a:gd name="connsiteX57" fmla="*/ 219456 w 305150"/>
                    <a:gd name="connsiteY57" fmla="*/ 74814 h 411349"/>
                    <a:gd name="connsiteX58" fmla="*/ 219668 w 305150"/>
                    <a:gd name="connsiteY58" fmla="*/ 75287 h 411349"/>
                    <a:gd name="connsiteX59" fmla="*/ 218136 w 305150"/>
                    <a:gd name="connsiteY59" fmla="*/ 80894 h 411349"/>
                    <a:gd name="connsiteX60" fmla="*/ 218103 w 305150"/>
                    <a:gd name="connsiteY60" fmla="*/ 82728 h 411349"/>
                    <a:gd name="connsiteX61" fmla="*/ 218657 w 305150"/>
                    <a:gd name="connsiteY61" fmla="*/ 84594 h 411349"/>
                    <a:gd name="connsiteX62" fmla="*/ 219888 w 305150"/>
                    <a:gd name="connsiteY62" fmla="*/ 85588 h 411349"/>
                    <a:gd name="connsiteX63" fmla="*/ 227402 w 305150"/>
                    <a:gd name="connsiteY63" fmla="*/ 85703 h 411349"/>
                    <a:gd name="connsiteX64" fmla="*/ 234337 w 305150"/>
                    <a:gd name="connsiteY64" fmla="*/ 85800 h 411349"/>
                    <a:gd name="connsiteX65" fmla="*/ 242283 w 305150"/>
                    <a:gd name="connsiteY65" fmla="*/ 86159 h 411349"/>
                    <a:gd name="connsiteX66" fmla="*/ 248241 w 305150"/>
                    <a:gd name="connsiteY66" fmla="*/ 86428 h 411349"/>
                    <a:gd name="connsiteX67" fmla="*/ 248999 w 305150"/>
                    <a:gd name="connsiteY67" fmla="*/ 86697 h 411349"/>
                    <a:gd name="connsiteX68" fmla="*/ 249601 w 305150"/>
                    <a:gd name="connsiteY68" fmla="*/ 87120 h 411349"/>
                    <a:gd name="connsiteX69" fmla="*/ 250482 w 305150"/>
                    <a:gd name="connsiteY69" fmla="*/ 89899 h 411349"/>
                    <a:gd name="connsiteX70" fmla="*/ 250286 w 305150"/>
                    <a:gd name="connsiteY70" fmla="*/ 95327 h 411349"/>
                    <a:gd name="connsiteX71" fmla="*/ 248958 w 305150"/>
                    <a:gd name="connsiteY71" fmla="*/ 103273 h 411349"/>
                    <a:gd name="connsiteX72" fmla="*/ 249480 w 305150"/>
                    <a:gd name="connsiteY72" fmla="*/ 110681 h 411349"/>
                    <a:gd name="connsiteX73" fmla="*/ 251835 w 305150"/>
                    <a:gd name="connsiteY73" fmla="*/ 117584 h 411349"/>
                    <a:gd name="connsiteX74" fmla="*/ 252063 w 305150"/>
                    <a:gd name="connsiteY74" fmla="*/ 128179 h 411349"/>
                    <a:gd name="connsiteX75" fmla="*/ 251232 w 305150"/>
                    <a:gd name="connsiteY75" fmla="*/ 134511 h 411349"/>
                    <a:gd name="connsiteX76" fmla="*/ 250180 w 305150"/>
                    <a:gd name="connsiteY76" fmla="*/ 142498 h 411349"/>
                    <a:gd name="connsiteX77" fmla="*/ 249765 w 305150"/>
                    <a:gd name="connsiteY77" fmla="*/ 151536 h 411349"/>
                    <a:gd name="connsiteX78" fmla="*/ 250849 w 305150"/>
                    <a:gd name="connsiteY78" fmla="*/ 155317 h 411349"/>
                    <a:gd name="connsiteX79" fmla="*/ 253131 w 305150"/>
                    <a:gd name="connsiteY79" fmla="*/ 159278 h 411349"/>
                    <a:gd name="connsiteX80" fmla="*/ 256619 w 305150"/>
                    <a:gd name="connsiteY80" fmla="*/ 163410 h 411349"/>
                    <a:gd name="connsiteX81" fmla="*/ 259308 w 305150"/>
                    <a:gd name="connsiteY81" fmla="*/ 168781 h 411349"/>
                    <a:gd name="connsiteX82" fmla="*/ 261215 w 305150"/>
                    <a:gd name="connsiteY82" fmla="*/ 175374 h 411349"/>
                    <a:gd name="connsiteX83" fmla="*/ 261900 w 305150"/>
                    <a:gd name="connsiteY83" fmla="*/ 179539 h 411349"/>
                    <a:gd name="connsiteX84" fmla="*/ 261394 w 305150"/>
                    <a:gd name="connsiteY84" fmla="*/ 181242 h 411349"/>
                    <a:gd name="connsiteX85" fmla="*/ 261435 w 305150"/>
                    <a:gd name="connsiteY85" fmla="*/ 184200 h 411349"/>
                    <a:gd name="connsiteX86" fmla="*/ 262022 w 305150"/>
                    <a:gd name="connsiteY86" fmla="*/ 188430 h 411349"/>
                    <a:gd name="connsiteX87" fmla="*/ 261361 w 305150"/>
                    <a:gd name="connsiteY87" fmla="*/ 191233 h 411349"/>
                    <a:gd name="connsiteX88" fmla="*/ 259463 w 305150"/>
                    <a:gd name="connsiteY88" fmla="*/ 192611 h 411349"/>
                    <a:gd name="connsiteX89" fmla="*/ 258819 w 305150"/>
                    <a:gd name="connsiteY89" fmla="*/ 194501 h 411349"/>
                    <a:gd name="connsiteX90" fmla="*/ 259781 w 305150"/>
                    <a:gd name="connsiteY90" fmla="*/ 198136 h 411349"/>
                    <a:gd name="connsiteX91" fmla="*/ 260009 w 305150"/>
                    <a:gd name="connsiteY91" fmla="*/ 201437 h 411349"/>
                    <a:gd name="connsiteX92" fmla="*/ 260775 w 305150"/>
                    <a:gd name="connsiteY92" fmla="*/ 202692 h 411349"/>
                    <a:gd name="connsiteX93" fmla="*/ 261313 w 305150"/>
                    <a:gd name="connsiteY93" fmla="*/ 203613 h 411349"/>
                    <a:gd name="connsiteX94" fmla="*/ 262218 w 305150"/>
                    <a:gd name="connsiteY94" fmla="*/ 203743 h 411349"/>
                    <a:gd name="connsiteX95" fmla="*/ 264141 w 305150"/>
                    <a:gd name="connsiteY95" fmla="*/ 202561 h 411349"/>
                    <a:gd name="connsiteX96" fmla="*/ 266455 w 305150"/>
                    <a:gd name="connsiteY96" fmla="*/ 200361 h 411349"/>
                    <a:gd name="connsiteX97" fmla="*/ 268313 w 305150"/>
                    <a:gd name="connsiteY97" fmla="*/ 199424 h 411349"/>
                    <a:gd name="connsiteX98" fmla="*/ 270929 w 305150"/>
                    <a:gd name="connsiteY98" fmla="*/ 199554 h 411349"/>
                    <a:gd name="connsiteX99" fmla="*/ 274605 w 305150"/>
                    <a:gd name="connsiteY99" fmla="*/ 200165 h 411349"/>
                    <a:gd name="connsiteX100" fmla="*/ 281092 w 305150"/>
                    <a:gd name="connsiteY100" fmla="*/ 200402 h 411349"/>
                    <a:gd name="connsiteX101" fmla="*/ 283089 w 305150"/>
                    <a:gd name="connsiteY101" fmla="*/ 200011 h 411349"/>
                    <a:gd name="connsiteX102" fmla="*/ 289120 w 305150"/>
                    <a:gd name="connsiteY102" fmla="*/ 197028 h 411349"/>
                    <a:gd name="connsiteX103" fmla="*/ 290709 w 305150"/>
                    <a:gd name="connsiteY103" fmla="*/ 196824 h 411349"/>
                    <a:gd name="connsiteX104" fmla="*/ 293080 w 305150"/>
                    <a:gd name="connsiteY104" fmla="*/ 197093 h 411349"/>
                    <a:gd name="connsiteX105" fmla="*/ 296471 w 305150"/>
                    <a:gd name="connsiteY105" fmla="*/ 197965 h 411349"/>
                    <a:gd name="connsiteX106" fmla="*/ 299877 w 305150"/>
                    <a:gd name="connsiteY106" fmla="*/ 198144 h 411349"/>
                    <a:gd name="connsiteX107" fmla="*/ 301548 w 305150"/>
                    <a:gd name="connsiteY107" fmla="*/ 197240 h 411349"/>
                    <a:gd name="connsiteX108" fmla="*/ 301695 w 305150"/>
                    <a:gd name="connsiteY108" fmla="*/ 196034 h 411349"/>
                    <a:gd name="connsiteX109" fmla="*/ 302233 w 305150"/>
                    <a:gd name="connsiteY109" fmla="*/ 194461 h 411349"/>
                    <a:gd name="connsiteX110" fmla="*/ 303162 w 305150"/>
                    <a:gd name="connsiteY110" fmla="*/ 193874 h 411349"/>
                    <a:gd name="connsiteX111" fmla="*/ 303699 w 305150"/>
                    <a:gd name="connsiteY111" fmla="*/ 197826 h 411349"/>
                    <a:gd name="connsiteX112" fmla="*/ 304238 w 305150"/>
                    <a:gd name="connsiteY112" fmla="*/ 203336 h 411349"/>
                    <a:gd name="connsiteX113" fmla="*/ 304621 w 305150"/>
                    <a:gd name="connsiteY113" fmla="*/ 207280 h 411349"/>
                    <a:gd name="connsiteX114" fmla="*/ 305020 w 305150"/>
                    <a:gd name="connsiteY114" fmla="*/ 209057 h 411349"/>
                    <a:gd name="connsiteX115" fmla="*/ 305150 w 305150"/>
                    <a:gd name="connsiteY115" fmla="*/ 210002 h 411349"/>
                    <a:gd name="connsiteX116" fmla="*/ 304718 w 305150"/>
                    <a:gd name="connsiteY116" fmla="*/ 211013 h 411349"/>
                    <a:gd name="connsiteX117" fmla="*/ 304352 w 305150"/>
                    <a:gd name="connsiteY117" fmla="*/ 213393 h 411349"/>
                    <a:gd name="connsiteX118" fmla="*/ 303659 w 305150"/>
                    <a:gd name="connsiteY118" fmla="*/ 215495 h 411349"/>
                    <a:gd name="connsiteX119" fmla="*/ 303276 w 305150"/>
                    <a:gd name="connsiteY119" fmla="*/ 216970 h 411349"/>
                    <a:gd name="connsiteX120" fmla="*/ 303586 w 305150"/>
                    <a:gd name="connsiteY120" fmla="*/ 219668 h 411349"/>
                    <a:gd name="connsiteX121" fmla="*/ 303333 w 305150"/>
                    <a:gd name="connsiteY121" fmla="*/ 223547 h 411349"/>
                    <a:gd name="connsiteX122" fmla="*/ 303056 w 305150"/>
                    <a:gd name="connsiteY122" fmla="*/ 227622 h 411349"/>
                    <a:gd name="connsiteX123" fmla="*/ 302966 w 305150"/>
                    <a:gd name="connsiteY123" fmla="*/ 231558 h 411349"/>
                    <a:gd name="connsiteX124" fmla="*/ 303903 w 305150"/>
                    <a:gd name="connsiteY124" fmla="*/ 238608 h 411349"/>
                    <a:gd name="connsiteX125" fmla="*/ 303773 w 305150"/>
                    <a:gd name="connsiteY125" fmla="*/ 240784 h 411349"/>
                    <a:gd name="connsiteX126" fmla="*/ 302608 w 305150"/>
                    <a:gd name="connsiteY126" fmla="*/ 244467 h 411349"/>
                    <a:gd name="connsiteX127" fmla="*/ 301736 w 305150"/>
                    <a:gd name="connsiteY127" fmla="*/ 247263 h 411349"/>
                    <a:gd name="connsiteX128" fmla="*/ 301173 w 305150"/>
                    <a:gd name="connsiteY128" fmla="*/ 250506 h 411349"/>
                    <a:gd name="connsiteX129" fmla="*/ 301067 w 305150"/>
                    <a:gd name="connsiteY129" fmla="*/ 252185 h 411349"/>
                    <a:gd name="connsiteX130" fmla="*/ 303195 w 305150"/>
                    <a:gd name="connsiteY130" fmla="*/ 256985 h 411349"/>
                    <a:gd name="connsiteX131" fmla="*/ 303072 w 305150"/>
                    <a:gd name="connsiteY131" fmla="*/ 257931 h 411349"/>
                    <a:gd name="connsiteX132" fmla="*/ 301442 w 305150"/>
                    <a:gd name="connsiteY132" fmla="*/ 258232 h 411349"/>
                    <a:gd name="connsiteX133" fmla="*/ 300098 w 305150"/>
                    <a:gd name="connsiteY133" fmla="*/ 258314 h 411349"/>
                    <a:gd name="connsiteX134" fmla="*/ 294955 w 305150"/>
                    <a:gd name="connsiteY134" fmla="*/ 258314 h 411349"/>
                    <a:gd name="connsiteX135" fmla="*/ 287587 w 305150"/>
                    <a:gd name="connsiteY135" fmla="*/ 258314 h 411349"/>
                    <a:gd name="connsiteX136" fmla="*/ 280212 w 305150"/>
                    <a:gd name="connsiteY136" fmla="*/ 258314 h 411349"/>
                    <a:gd name="connsiteX137" fmla="*/ 272845 w 305150"/>
                    <a:gd name="connsiteY137" fmla="*/ 258314 h 411349"/>
                    <a:gd name="connsiteX138" fmla="*/ 266064 w 305150"/>
                    <a:gd name="connsiteY138" fmla="*/ 258314 h 411349"/>
                    <a:gd name="connsiteX139" fmla="*/ 259585 w 305150"/>
                    <a:gd name="connsiteY139" fmla="*/ 258314 h 411349"/>
                    <a:gd name="connsiteX140" fmla="*/ 253864 w 305150"/>
                    <a:gd name="connsiteY140" fmla="*/ 258314 h 411349"/>
                    <a:gd name="connsiteX141" fmla="*/ 253864 w 305150"/>
                    <a:gd name="connsiteY141" fmla="*/ 263049 h 411349"/>
                    <a:gd name="connsiteX142" fmla="*/ 253864 w 305150"/>
                    <a:gd name="connsiteY142" fmla="*/ 272780 h 411349"/>
                    <a:gd name="connsiteX143" fmla="*/ 253864 w 305150"/>
                    <a:gd name="connsiteY143" fmla="*/ 282527 h 411349"/>
                    <a:gd name="connsiteX144" fmla="*/ 253872 w 305150"/>
                    <a:gd name="connsiteY144" fmla="*/ 292282 h 411349"/>
                    <a:gd name="connsiteX145" fmla="*/ 253872 w 305150"/>
                    <a:gd name="connsiteY145" fmla="*/ 302021 h 411349"/>
                    <a:gd name="connsiteX146" fmla="*/ 253880 w 305150"/>
                    <a:gd name="connsiteY146" fmla="*/ 311792 h 411349"/>
                    <a:gd name="connsiteX147" fmla="*/ 253880 w 305150"/>
                    <a:gd name="connsiteY147" fmla="*/ 321572 h 411349"/>
                    <a:gd name="connsiteX148" fmla="*/ 253880 w 305150"/>
                    <a:gd name="connsiteY148" fmla="*/ 331344 h 411349"/>
                    <a:gd name="connsiteX149" fmla="*/ 253888 w 305150"/>
                    <a:gd name="connsiteY149" fmla="*/ 341123 h 411349"/>
                    <a:gd name="connsiteX150" fmla="*/ 253888 w 305150"/>
                    <a:gd name="connsiteY150" fmla="*/ 348189 h 411349"/>
                    <a:gd name="connsiteX151" fmla="*/ 255388 w 305150"/>
                    <a:gd name="connsiteY151" fmla="*/ 357561 h 411349"/>
                    <a:gd name="connsiteX152" fmla="*/ 258126 w 305150"/>
                    <a:gd name="connsiteY152" fmla="*/ 367789 h 411349"/>
                    <a:gd name="connsiteX153" fmla="*/ 259202 w 305150"/>
                    <a:gd name="connsiteY153" fmla="*/ 368735 h 411349"/>
                    <a:gd name="connsiteX154" fmla="*/ 261957 w 305150"/>
                    <a:gd name="connsiteY154" fmla="*/ 370609 h 411349"/>
                    <a:gd name="connsiteX155" fmla="*/ 265795 w 305150"/>
                    <a:gd name="connsiteY155" fmla="*/ 374447 h 411349"/>
                    <a:gd name="connsiteX156" fmla="*/ 267938 w 305150"/>
                    <a:gd name="connsiteY156" fmla="*/ 377357 h 411349"/>
                    <a:gd name="connsiteX157" fmla="*/ 272315 w 305150"/>
                    <a:gd name="connsiteY157" fmla="*/ 382410 h 411349"/>
                    <a:gd name="connsiteX158" fmla="*/ 278110 w 305150"/>
                    <a:gd name="connsiteY158" fmla="*/ 388848 h 411349"/>
                    <a:gd name="connsiteX159" fmla="*/ 283708 w 305150"/>
                    <a:gd name="connsiteY159" fmla="*/ 394642 h 411349"/>
                    <a:gd name="connsiteX160" fmla="*/ 288647 w 305150"/>
                    <a:gd name="connsiteY160" fmla="*/ 399728 h 411349"/>
                    <a:gd name="connsiteX161" fmla="*/ 280897 w 305150"/>
                    <a:gd name="connsiteY161" fmla="*/ 401513 h 411349"/>
                    <a:gd name="connsiteX162" fmla="*/ 269878 w 305150"/>
                    <a:gd name="connsiteY162" fmla="*/ 404055 h 411349"/>
                    <a:gd name="connsiteX163" fmla="*/ 262437 w 305150"/>
                    <a:gd name="connsiteY163" fmla="*/ 405767 h 411349"/>
                    <a:gd name="connsiteX164" fmla="*/ 253432 w 305150"/>
                    <a:gd name="connsiteY164" fmla="*/ 407853 h 411349"/>
                    <a:gd name="connsiteX165" fmla="*/ 247426 w 305150"/>
                    <a:gd name="connsiteY165" fmla="*/ 409157 h 411349"/>
                    <a:gd name="connsiteX166" fmla="*/ 239944 w 305150"/>
                    <a:gd name="connsiteY166" fmla="*/ 410771 h 411349"/>
                    <a:gd name="connsiteX167" fmla="*/ 238754 w 305150"/>
                    <a:gd name="connsiteY167" fmla="*/ 410738 h 411349"/>
                    <a:gd name="connsiteX168" fmla="*/ 236750 w 305150"/>
                    <a:gd name="connsiteY168" fmla="*/ 409614 h 411349"/>
                    <a:gd name="connsiteX169" fmla="*/ 232422 w 305150"/>
                    <a:gd name="connsiteY169" fmla="*/ 409402 h 411349"/>
                    <a:gd name="connsiteX170" fmla="*/ 227336 w 305150"/>
                    <a:gd name="connsiteY170" fmla="*/ 410934 h 411349"/>
                    <a:gd name="connsiteX171" fmla="*/ 223294 w 305150"/>
                    <a:gd name="connsiteY171" fmla="*/ 411350 h 411349"/>
                    <a:gd name="connsiteX172" fmla="*/ 220311 w 305150"/>
                    <a:gd name="connsiteY172" fmla="*/ 410649 h 411349"/>
                    <a:gd name="connsiteX173" fmla="*/ 217410 w 305150"/>
                    <a:gd name="connsiteY173" fmla="*/ 409296 h 411349"/>
                    <a:gd name="connsiteX174" fmla="*/ 214558 w 305150"/>
                    <a:gd name="connsiteY174" fmla="*/ 407307 h 411349"/>
                    <a:gd name="connsiteX175" fmla="*/ 209635 w 305150"/>
                    <a:gd name="connsiteY175" fmla="*/ 406566 h 411349"/>
                    <a:gd name="connsiteX176" fmla="*/ 202627 w 305150"/>
                    <a:gd name="connsiteY176" fmla="*/ 407112 h 411349"/>
                    <a:gd name="connsiteX177" fmla="*/ 195871 w 305150"/>
                    <a:gd name="connsiteY177" fmla="*/ 406712 h 411349"/>
                    <a:gd name="connsiteX178" fmla="*/ 189359 w 305150"/>
                    <a:gd name="connsiteY178" fmla="*/ 405384 h 411349"/>
                    <a:gd name="connsiteX179" fmla="*/ 184714 w 305150"/>
                    <a:gd name="connsiteY179" fmla="*/ 404879 h 411349"/>
                    <a:gd name="connsiteX180" fmla="*/ 181910 w 305150"/>
                    <a:gd name="connsiteY180" fmla="*/ 405164 h 411349"/>
                    <a:gd name="connsiteX181" fmla="*/ 178911 w 305150"/>
                    <a:gd name="connsiteY181" fmla="*/ 404724 h 411349"/>
                    <a:gd name="connsiteX182" fmla="*/ 175700 w 305150"/>
                    <a:gd name="connsiteY182" fmla="*/ 403575 h 411349"/>
                    <a:gd name="connsiteX183" fmla="*/ 173019 w 305150"/>
                    <a:gd name="connsiteY183" fmla="*/ 401643 h 411349"/>
                    <a:gd name="connsiteX184" fmla="*/ 169791 w 305150"/>
                    <a:gd name="connsiteY184" fmla="*/ 397560 h 411349"/>
                    <a:gd name="connsiteX185" fmla="*/ 167273 w 305150"/>
                    <a:gd name="connsiteY185" fmla="*/ 393656 h 411349"/>
                    <a:gd name="connsiteX186" fmla="*/ 166621 w 305150"/>
                    <a:gd name="connsiteY186" fmla="*/ 393102 h 411349"/>
                    <a:gd name="connsiteX187" fmla="*/ 165822 w 305150"/>
                    <a:gd name="connsiteY187" fmla="*/ 392507 h 411349"/>
                    <a:gd name="connsiteX188" fmla="*/ 165040 w 305150"/>
                    <a:gd name="connsiteY188" fmla="*/ 392336 h 411349"/>
                    <a:gd name="connsiteX189" fmla="*/ 157901 w 305150"/>
                    <a:gd name="connsiteY189" fmla="*/ 392222 h 411349"/>
                    <a:gd name="connsiteX190" fmla="*/ 151120 w 305150"/>
                    <a:gd name="connsiteY190" fmla="*/ 392132 h 411349"/>
                    <a:gd name="connsiteX191" fmla="*/ 147225 w 305150"/>
                    <a:gd name="connsiteY191" fmla="*/ 392124 h 411349"/>
                    <a:gd name="connsiteX192" fmla="*/ 137739 w 305150"/>
                    <a:gd name="connsiteY192" fmla="*/ 392108 h 411349"/>
                    <a:gd name="connsiteX193" fmla="*/ 128260 w 305150"/>
                    <a:gd name="connsiteY193" fmla="*/ 392084 h 411349"/>
                    <a:gd name="connsiteX194" fmla="*/ 118758 w 305150"/>
                    <a:gd name="connsiteY194" fmla="*/ 392067 h 411349"/>
                    <a:gd name="connsiteX195" fmla="*/ 109280 w 305150"/>
                    <a:gd name="connsiteY195" fmla="*/ 392051 h 411349"/>
                    <a:gd name="connsiteX196" fmla="*/ 99785 w 305150"/>
                    <a:gd name="connsiteY196" fmla="*/ 392027 h 411349"/>
                    <a:gd name="connsiteX197" fmla="*/ 90291 w 305150"/>
                    <a:gd name="connsiteY197" fmla="*/ 392010 h 411349"/>
                    <a:gd name="connsiteX198" fmla="*/ 80804 w 305150"/>
                    <a:gd name="connsiteY198" fmla="*/ 391994 h 411349"/>
                    <a:gd name="connsiteX199" fmla="*/ 71318 w 305150"/>
                    <a:gd name="connsiteY199" fmla="*/ 391978 h 411349"/>
                    <a:gd name="connsiteX200" fmla="*/ 66282 w 305150"/>
                    <a:gd name="connsiteY200" fmla="*/ 391961 h 411349"/>
                    <a:gd name="connsiteX201" fmla="*/ 61596 w 305150"/>
                    <a:gd name="connsiteY201" fmla="*/ 392271 h 411349"/>
                    <a:gd name="connsiteX202" fmla="*/ 56420 w 305150"/>
                    <a:gd name="connsiteY202" fmla="*/ 392621 h 411349"/>
                    <a:gd name="connsiteX203" fmla="*/ 55687 w 305150"/>
                    <a:gd name="connsiteY203" fmla="*/ 392467 h 411349"/>
                    <a:gd name="connsiteX204" fmla="*/ 54448 w 305150"/>
                    <a:gd name="connsiteY204" fmla="*/ 391994 h 411349"/>
                    <a:gd name="connsiteX205" fmla="*/ 53609 w 305150"/>
                    <a:gd name="connsiteY205" fmla="*/ 391138 h 411349"/>
                    <a:gd name="connsiteX206" fmla="*/ 50821 w 305150"/>
                    <a:gd name="connsiteY206" fmla="*/ 388921 h 411349"/>
                    <a:gd name="connsiteX207" fmla="*/ 48409 w 305150"/>
                    <a:gd name="connsiteY207" fmla="*/ 387251 h 411349"/>
                    <a:gd name="connsiteX208" fmla="*/ 45117 w 305150"/>
                    <a:gd name="connsiteY208" fmla="*/ 384415 h 411349"/>
                    <a:gd name="connsiteX209" fmla="*/ 42982 w 305150"/>
                    <a:gd name="connsiteY209" fmla="*/ 381318 h 411349"/>
                    <a:gd name="connsiteX210" fmla="*/ 41197 w 305150"/>
                    <a:gd name="connsiteY210" fmla="*/ 380332 h 411349"/>
                    <a:gd name="connsiteX211" fmla="*/ 38010 w 305150"/>
                    <a:gd name="connsiteY211" fmla="*/ 379769 h 411349"/>
                    <a:gd name="connsiteX212" fmla="*/ 35630 w 305150"/>
                    <a:gd name="connsiteY212" fmla="*/ 379240 h 411349"/>
                    <a:gd name="connsiteX213" fmla="*/ 33699 w 305150"/>
                    <a:gd name="connsiteY213" fmla="*/ 379109 h 411349"/>
                    <a:gd name="connsiteX214" fmla="*/ 30268 w 305150"/>
                    <a:gd name="connsiteY214" fmla="*/ 380576 h 411349"/>
                    <a:gd name="connsiteX215" fmla="*/ 27692 w 305150"/>
                    <a:gd name="connsiteY215" fmla="*/ 382027 h 411349"/>
                    <a:gd name="connsiteX216" fmla="*/ 25851 w 305150"/>
                    <a:gd name="connsiteY216" fmla="*/ 383420 h 411349"/>
                    <a:gd name="connsiteX217" fmla="*/ 22656 w 305150"/>
                    <a:gd name="connsiteY217" fmla="*/ 385018 h 411349"/>
                    <a:gd name="connsiteX218" fmla="*/ 19975 w 305150"/>
                    <a:gd name="connsiteY218" fmla="*/ 386615 h 411349"/>
                    <a:gd name="connsiteX219" fmla="*/ 15289 w 305150"/>
                    <a:gd name="connsiteY219" fmla="*/ 386403 h 411349"/>
                    <a:gd name="connsiteX220" fmla="*/ 14278 w 305150"/>
                    <a:gd name="connsiteY220" fmla="*/ 386631 h 411349"/>
                    <a:gd name="connsiteX221" fmla="*/ 11670 w 305150"/>
                    <a:gd name="connsiteY221" fmla="*/ 386525 h 411349"/>
                    <a:gd name="connsiteX222" fmla="*/ 9217 w 305150"/>
                    <a:gd name="connsiteY222" fmla="*/ 385124 h 411349"/>
                    <a:gd name="connsiteX223" fmla="*/ 6732 w 305150"/>
                    <a:gd name="connsiteY223" fmla="*/ 385254 h 411349"/>
                    <a:gd name="connsiteX224" fmla="*/ 3960 w 305150"/>
                    <a:gd name="connsiteY224" fmla="*/ 387031 h 411349"/>
                    <a:gd name="connsiteX225" fmla="*/ 0 w 305150"/>
                    <a:gd name="connsiteY225" fmla="*/ 387732 h 411349"/>
                    <a:gd name="connsiteX226" fmla="*/ 921 w 305150"/>
                    <a:gd name="connsiteY226" fmla="*/ 376159 h 411349"/>
                    <a:gd name="connsiteX227" fmla="*/ 1882 w 305150"/>
                    <a:gd name="connsiteY227" fmla="*/ 371049 h 411349"/>
                    <a:gd name="connsiteX228" fmla="*/ 1907 w 305150"/>
                    <a:gd name="connsiteY228" fmla="*/ 364937 h 411349"/>
                    <a:gd name="connsiteX229" fmla="*/ 1345 w 305150"/>
                    <a:gd name="connsiteY229" fmla="*/ 349118 h 411349"/>
                    <a:gd name="connsiteX230" fmla="*/ 652 w 305150"/>
                    <a:gd name="connsiteY230" fmla="*/ 346950 h 411349"/>
                    <a:gd name="connsiteX231" fmla="*/ 195 w 305150"/>
                    <a:gd name="connsiteY231" fmla="*/ 344408 h 411349"/>
                    <a:gd name="connsiteX232" fmla="*/ 2648 w 305150"/>
                    <a:gd name="connsiteY232" fmla="*/ 342468 h 411349"/>
                    <a:gd name="connsiteX233" fmla="*/ 3895 w 305150"/>
                    <a:gd name="connsiteY233" fmla="*/ 340985 h 411349"/>
                    <a:gd name="connsiteX234" fmla="*/ 5583 w 305150"/>
                    <a:gd name="connsiteY234" fmla="*/ 338369 h 411349"/>
                    <a:gd name="connsiteX235" fmla="*/ 6772 w 305150"/>
                    <a:gd name="connsiteY235" fmla="*/ 334701 h 411349"/>
                    <a:gd name="connsiteX236" fmla="*/ 8198 w 305150"/>
                    <a:gd name="connsiteY236" fmla="*/ 326617 h 411349"/>
                    <a:gd name="connsiteX237" fmla="*/ 13341 w 305150"/>
                    <a:gd name="connsiteY237" fmla="*/ 308019 h 411349"/>
                    <a:gd name="connsiteX238" fmla="*/ 15778 w 305150"/>
                    <a:gd name="connsiteY238" fmla="*/ 289812 h 411349"/>
                    <a:gd name="connsiteX239" fmla="*/ 18867 w 305150"/>
                    <a:gd name="connsiteY239" fmla="*/ 281198 h 411349"/>
                    <a:gd name="connsiteX240" fmla="*/ 20040 w 305150"/>
                    <a:gd name="connsiteY240" fmla="*/ 271541 h 411349"/>
                    <a:gd name="connsiteX241" fmla="*/ 28654 w 305150"/>
                    <a:gd name="connsiteY241" fmla="*/ 259112 h 411349"/>
                    <a:gd name="connsiteX242" fmla="*/ 30773 w 305150"/>
                    <a:gd name="connsiteY242" fmla="*/ 251468 h 411349"/>
                    <a:gd name="connsiteX243" fmla="*/ 35231 w 305150"/>
                    <a:gd name="connsiteY243" fmla="*/ 247727 h 411349"/>
                    <a:gd name="connsiteX244" fmla="*/ 41531 w 305150"/>
                    <a:gd name="connsiteY244" fmla="*/ 243734 h 411349"/>
                    <a:gd name="connsiteX245" fmla="*/ 46021 w 305150"/>
                    <a:gd name="connsiteY245" fmla="*/ 236635 h 411349"/>
                    <a:gd name="connsiteX246" fmla="*/ 48198 w 305150"/>
                    <a:gd name="connsiteY246" fmla="*/ 231721 h 411349"/>
                    <a:gd name="connsiteX247" fmla="*/ 50675 w 305150"/>
                    <a:gd name="connsiteY247" fmla="*/ 222308 h 411349"/>
                    <a:gd name="connsiteX248" fmla="*/ 50642 w 305150"/>
                    <a:gd name="connsiteY248" fmla="*/ 212472 h 411349"/>
                    <a:gd name="connsiteX249" fmla="*/ 52215 w 305150"/>
                    <a:gd name="connsiteY249" fmla="*/ 199383 h 411349"/>
                    <a:gd name="connsiteX250" fmla="*/ 51865 w 305150"/>
                    <a:gd name="connsiteY250" fmla="*/ 195610 h 411349"/>
                    <a:gd name="connsiteX251" fmla="*/ 49526 w 305150"/>
                    <a:gd name="connsiteY251" fmla="*/ 190394 h 411349"/>
                    <a:gd name="connsiteX252" fmla="*/ 49085 w 305150"/>
                    <a:gd name="connsiteY252" fmla="*/ 186661 h 411349"/>
                    <a:gd name="connsiteX253" fmla="*/ 46902 w 305150"/>
                    <a:gd name="connsiteY253" fmla="*/ 183002 h 411349"/>
                    <a:gd name="connsiteX254" fmla="*/ 44571 w 305150"/>
                    <a:gd name="connsiteY254" fmla="*/ 180239 h 411349"/>
                    <a:gd name="connsiteX255" fmla="*/ 43479 w 305150"/>
                    <a:gd name="connsiteY255" fmla="*/ 175292 h 411349"/>
                    <a:gd name="connsiteX256" fmla="*/ 39428 w 305150"/>
                    <a:gd name="connsiteY256" fmla="*/ 167509 h 411349"/>
                    <a:gd name="connsiteX257" fmla="*/ 38320 w 305150"/>
                    <a:gd name="connsiteY257" fmla="*/ 162318 h 411349"/>
                    <a:gd name="connsiteX258" fmla="*/ 36380 w 305150"/>
                    <a:gd name="connsiteY258" fmla="*/ 158594 h 411349"/>
                    <a:gd name="connsiteX259" fmla="*/ 36070 w 305150"/>
                    <a:gd name="connsiteY259" fmla="*/ 153997 h 411349"/>
                    <a:gd name="connsiteX260" fmla="*/ 35044 w 305150"/>
                    <a:gd name="connsiteY260" fmla="*/ 149132 h 411349"/>
                    <a:gd name="connsiteX261" fmla="*/ 33071 w 305150"/>
                    <a:gd name="connsiteY261" fmla="*/ 144332 h 411349"/>
                    <a:gd name="connsiteX262" fmla="*/ 31156 w 305150"/>
                    <a:gd name="connsiteY262" fmla="*/ 138839 h 411349"/>
                    <a:gd name="connsiteX263" fmla="*/ 31156 w 305150"/>
                    <a:gd name="connsiteY263" fmla="*/ 137119 h 411349"/>
                    <a:gd name="connsiteX264" fmla="*/ 32354 w 305150"/>
                    <a:gd name="connsiteY264" fmla="*/ 135049 h 411349"/>
                    <a:gd name="connsiteX265" fmla="*/ 33495 w 305150"/>
                    <a:gd name="connsiteY265" fmla="*/ 134365 h 411349"/>
                    <a:gd name="connsiteX266" fmla="*/ 33112 w 305150"/>
                    <a:gd name="connsiteY266" fmla="*/ 135408 h 411349"/>
                    <a:gd name="connsiteX267" fmla="*/ 32346 w 305150"/>
                    <a:gd name="connsiteY267" fmla="*/ 136638 h 411349"/>
                    <a:gd name="connsiteX268" fmla="*/ 32517 w 305150"/>
                    <a:gd name="connsiteY268" fmla="*/ 137600 h 411349"/>
                    <a:gd name="connsiteX269" fmla="*/ 40097 w 305150"/>
                    <a:gd name="connsiteY269" fmla="*/ 127967 h 411349"/>
                    <a:gd name="connsiteX270" fmla="*/ 40578 w 305150"/>
                    <a:gd name="connsiteY270" fmla="*/ 126093 h 411349"/>
                    <a:gd name="connsiteX271" fmla="*/ 40325 w 305150"/>
                    <a:gd name="connsiteY271" fmla="*/ 123982 h 411349"/>
                    <a:gd name="connsiteX272" fmla="*/ 40284 w 305150"/>
                    <a:gd name="connsiteY272" fmla="*/ 121406 h 411349"/>
                    <a:gd name="connsiteX273" fmla="*/ 40578 w 305150"/>
                    <a:gd name="connsiteY273" fmla="*/ 118416 h 411349"/>
                    <a:gd name="connsiteX274" fmla="*/ 33438 w 305150"/>
                    <a:gd name="connsiteY274" fmla="*/ 100674 h 411349"/>
                    <a:gd name="connsiteX275" fmla="*/ 27774 w 305150"/>
                    <a:gd name="connsiteY275" fmla="*/ 84187 h 411349"/>
                    <a:gd name="connsiteX276" fmla="*/ 26812 w 305150"/>
                    <a:gd name="connsiteY276" fmla="*/ 75866 h 411349"/>
                    <a:gd name="connsiteX277" fmla="*/ 19323 w 305150"/>
                    <a:gd name="connsiteY277" fmla="*/ 64904 h 411349"/>
                    <a:gd name="connsiteX278" fmla="*/ 16365 w 305150"/>
                    <a:gd name="connsiteY278" fmla="*/ 57790 h 411349"/>
                    <a:gd name="connsiteX279" fmla="*/ 14686 w 305150"/>
                    <a:gd name="connsiteY279" fmla="*/ 52810 h 411349"/>
                    <a:gd name="connsiteX280" fmla="*/ 13422 w 305150"/>
                    <a:gd name="connsiteY280" fmla="*/ 50919 h 411349"/>
                    <a:gd name="connsiteX281" fmla="*/ 13903 w 305150"/>
                    <a:gd name="connsiteY281" fmla="*/ 49958 h 411349"/>
                    <a:gd name="connsiteX282" fmla="*/ 15835 w 305150"/>
                    <a:gd name="connsiteY282" fmla="*/ 49713 h 411349"/>
                    <a:gd name="connsiteX283" fmla="*/ 20130 w 305150"/>
                    <a:gd name="connsiteY283" fmla="*/ 48556 h 411349"/>
                    <a:gd name="connsiteX284" fmla="*/ 26006 w 305150"/>
                    <a:gd name="connsiteY284" fmla="*/ 47309 h 411349"/>
                    <a:gd name="connsiteX285" fmla="*/ 31441 w 305150"/>
                    <a:gd name="connsiteY285" fmla="*/ 44424 h 411349"/>
                    <a:gd name="connsiteX286" fmla="*/ 32900 w 305150"/>
                    <a:gd name="connsiteY286" fmla="*/ 43137 h 411349"/>
                    <a:gd name="connsiteX287" fmla="*/ 35777 w 305150"/>
                    <a:gd name="connsiteY287" fmla="*/ 42884 h 411349"/>
                    <a:gd name="connsiteX288" fmla="*/ 38703 w 305150"/>
                    <a:gd name="connsiteY288" fmla="*/ 43650 h 411349"/>
                    <a:gd name="connsiteX289" fmla="*/ 39795 w 305150"/>
                    <a:gd name="connsiteY289" fmla="*/ 43104 h 411349"/>
                    <a:gd name="connsiteX290" fmla="*/ 40414 w 305150"/>
                    <a:gd name="connsiteY290" fmla="*/ 43063 h 411349"/>
                    <a:gd name="connsiteX291" fmla="*/ 47301 w 305150"/>
                    <a:gd name="connsiteY291" fmla="*/ 43047 h 411349"/>
                    <a:gd name="connsiteX292" fmla="*/ 50178 w 305150"/>
                    <a:gd name="connsiteY292" fmla="*/ 42851 h 411349"/>
                    <a:gd name="connsiteX293" fmla="*/ 55475 w 305150"/>
                    <a:gd name="connsiteY293" fmla="*/ 42916 h 411349"/>
                    <a:gd name="connsiteX294" fmla="*/ 58833 w 305150"/>
                    <a:gd name="connsiteY294" fmla="*/ 43153 h 411349"/>
                    <a:gd name="connsiteX295" fmla="*/ 60740 w 305150"/>
                    <a:gd name="connsiteY295" fmla="*/ 43430 h 411349"/>
                    <a:gd name="connsiteX296" fmla="*/ 12729 w 305150"/>
                    <a:gd name="connsiteY296" fmla="*/ 39551 h 411349"/>
                    <a:gd name="connsiteX297" fmla="*/ 11703 w 305150"/>
                    <a:gd name="connsiteY297" fmla="*/ 39917 h 411349"/>
                    <a:gd name="connsiteX298" fmla="*/ 11344 w 305150"/>
                    <a:gd name="connsiteY298" fmla="*/ 39094 h 411349"/>
                    <a:gd name="connsiteX299" fmla="*/ 10260 w 305150"/>
                    <a:gd name="connsiteY299" fmla="*/ 36128 h 411349"/>
                    <a:gd name="connsiteX300" fmla="*/ 10872 w 305150"/>
                    <a:gd name="connsiteY300" fmla="*/ 33300 h 411349"/>
                    <a:gd name="connsiteX301" fmla="*/ 11524 w 305150"/>
                    <a:gd name="connsiteY301" fmla="*/ 31181 h 411349"/>
                    <a:gd name="connsiteX302" fmla="*/ 10790 w 305150"/>
                    <a:gd name="connsiteY302" fmla="*/ 26886 h 411349"/>
                    <a:gd name="connsiteX303" fmla="*/ 9136 w 305150"/>
                    <a:gd name="connsiteY303" fmla="*/ 23055 h 411349"/>
                    <a:gd name="connsiteX304" fmla="*/ 7392 w 305150"/>
                    <a:gd name="connsiteY304" fmla="*/ 18190 h 411349"/>
                    <a:gd name="connsiteX305" fmla="*/ 6854 w 305150"/>
                    <a:gd name="connsiteY305" fmla="*/ 17269 h 411349"/>
                    <a:gd name="connsiteX306" fmla="*/ 8329 w 305150"/>
                    <a:gd name="connsiteY306" fmla="*/ 15705 h 411349"/>
                    <a:gd name="connsiteX307" fmla="*/ 10554 w 305150"/>
                    <a:gd name="connsiteY307" fmla="*/ 12273 h 411349"/>
                    <a:gd name="connsiteX308" fmla="*/ 11458 w 305150"/>
                    <a:gd name="connsiteY308" fmla="*/ 10497 h 411349"/>
                    <a:gd name="connsiteX309" fmla="*/ 14034 w 305150"/>
                    <a:gd name="connsiteY309" fmla="*/ 10106 h 411349"/>
                    <a:gd name="connsiteX310" fmla="*/ 14995 w 305150"/>
                    <a:gd name="connsiteY310" fmla="*/ 8867 h 411349"/>
                    <a:gd name="connsiteX311" fmla="*/ 15680 w 305150"/>
                    <a:gd name="connsiteY311" fmla="*/ 6870 h 411349"/>
                    <a:gd name="connsiteX312" fmla="*/ 15924 w 305150"/>
                    <a:gd name="connsiteY312" fmla="*/ 5721 h 411349"/>
                    <a:gd name="connsiteX313" fmla="*/ 18834 w 305150"/>
                    <a:gd name="connsiteY313" fmla="*/ 4768 h 411349"/>
                    <a:gd name="connsiteX314" fmla="*/ 22306 w 305150"/>
                    <a:gd name="connsiteY314" fmla="*/ 3072 h 411349"/>
                    <a:gd name="connsiteX315" fmla="*/ 24229 w 305150"/>
                    <a:gd name="connsiteY315" fmla="*/ 1231 h 411349"/>
                    <a:gd name="connsiteX316" fmla="*/ 26185 w 305150"/>
                    <a:gd name="connsiteY316" fmla="*/ 57 h 411349"/>
                    <a:gd name="connsiteX317" fmla="*/ 27424 w 305150"/>
                    <a:gd name="connsiteY317" fmla="*/ 0 h 411349"/>
                    <a:gd name="connsiteX318" fmla="*/ 28247 w 305150"/>
                    <a:gd name="connsiteY318" fmla="*/ 497 h 411349"/>
                    <a:gd name="connsiteX319" fmla="*/ 30471 w 305150"/>
                    <a:gd name="connsiteY319" fmla="*/ 3700 h 411349"/>
                    <a:gd name="connsiteX320" fmla="*/ 32379 w 305150"/>
                    <a:gd name="connsiteY320" fmla="*/ 5721 h 411349"/>
                    <a:gd name="connsiteX321" fmla="*/ 32982 w 305150"/>
                    <a:gd name="connsiteY321" fmla="*/ 6194 h 411349"/>
                    <a:gd name="connsiteX322" fmla="*/ 32599 w 305150"/>
                    <a:gd name="connsiteY322" fmla="*/ 6683 h 411349"/>
                    <a:gd name="connsiteX323" fmla="*/ 29885 w 305150"/>
                    <a:gd name="connsiteY323" fmla="*/ 8011 h 411349"/>
                    <a:gd name="connsiteX324" fmla="*/ 26951 w 305150"/>
                    <a:gd name="connsiteY324" fmla="*/ 9242 h 411349"/>
                    <a:gd name="connsiteX325" fmla="*/ 23121 w 305150"/>
                    <a:gd name="connsiteY325" fmla="*/ 14295 h 411349"/>
                    <a:gd name="connsiteX326" fmla="*/ 21165 w 305150"/>
                    <a:gd name="connsiteY326" fmla="*/ 16495 h 411349"/>
                    <a:gd name="connsiteX327" fmla="*/ 20611 w 305150"/>
                    <a:gd name="connsiteY327" fmla="*/ 17041 h 411349"/>
                    <a:gd name="connsiteX328" fmla="*/ 18850 w 305150"/>
                    <a:gd name="connsiteY328" fmla="*/ 18247 h 411349"/>
                    <a:gd name="connsiteX329" fmla="*/ 17587 w 305150"/>
                    <a:gd name="connsiteY329" fmla="*/ 19282 h 411349"/>
                    <a:gd name="connsiteX330" fmla="*/ 17628 w 305150"/>
                    <a:gd name="connsiteY330" fmla="*/ 19853 h 411349"/>
                    <a:gd name="connsiteX331" fmla="*/ 18475 w 305150"/>
                    <a:gd name="connsiteY331" fmla="*/ 20513 h 411349"/>
                    <a:gd name="connsiteX332" fmla="*/ 19331 w 305150"/>
                    <a:gd name="connsiteY332" fmla="*/ 21605 h 411349"/>
                    <a:gd name="connsiteX333" fmla="*/ 19258 w 305150"/>
                    <a:gd name="connsiteY333" fmla="*/ 29877 h 411349"/>
                    <a:gd name="connsiteX334" fmla="*/ 18867 w 305150"/>
                    <a:gd name="connsiteY334" fmla="*/ 38010 h 411349"/>
                    <a:gd name="connsiteX335" fmla="*/ 18402 w 305150"/>
                    <a:gd name="connsiteY335" fmla="*/ 38711 h 411349"/>
                    <a:gd name="connsiteX336" fmla="*/ 15949 w 305150"/>
                    <a:gd name="connsiteY336" fmla="*/ 38972 h 411349"/>
                    <a:gd name="connsiteX337" fmla="*/ 12729 w 305150"/>
                    <a:gd name="connsiteY337" fmla="*/ 39551 h 411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Lst>
                  <a:rect l="l" t="t" r="r" b="b"/>
                  <a:pathLst>
                    <a:path w="305150" h="411349">
                      <a:moveTo>
                        <a:pt x="60740" y="43430"/>
                      </a:moveTo>
                      <a:lnTo>
                        <a:pt x="65899" y="43935"/>
                      </a:lnTo>
                      <a:lnTo>
                        <a:pt x="72320" y="43821"/>
                      </a:lnTo>
                      <a:lnTo>
                        <a:pt x="74586" y="43552"/>
                      </a:lnTo>
                      <a:lnTo>
                        <a:pt x="83013" y="43389"/>
                      </a:lnTo>
                      <a:lnTo>
                        <a:pt x="91342" y="43218"/>
                      </a:lnTo>
                      <a:lnTo>
                        <a:pt x="98831" y="43063"/>
                      </a:lnTo>
                      <a:lnTo>
                        <a:pt x="107096" y="43096"/>
                      </a:lnTo>
                      <a:lnTo>
                        <a:pt x="113420" y="43120"/>
                      </a:lnTo>
                      <a:lnTo>
                        <a:pt x="116305" y="44171"/>
                      </a:lnTo>
                      <a:lnTo>
                        <a:pt x="118921" y="46135"/>
                      </a:lnTo>
                      <a:lnTo>
                        <a:pt x="120111" y="47912"/>
                      </a:lnTo>
                      <a:lnTo>
                        <a:pt x="120681" y="48711"/>
                      </a:lnTo>
                      <a:lnTo>
                        <a:pt x="121455" y="50593"/>
                      </a:lnTo>
                      <a:lnTo>
                        <a:pt x="122898" y="52093"/>
                      </a:lnTo>
                      <a:lnTo>
                        <a:pt x="123403" y="54408"/>
                      </a:lnTo>
                      <a:lnTo>
                        <a:pt x="122988" y="57553"/>
                      </a:lnTo>
                      <a:lnTo>
                        <a:pt x="123200" y="61327"/>
                      </a:lnTo>
                      <a:lnTo>
                        <a:pt x="124031" y="65727"/>
                      </a:lnTo>
                      <a:lnTo>
                        <a:pt x="125766" y="70365"/>
                      </a:lnTo>
                      <a:lnTo>
                        <a:pt x="128407" y="75214"/>
                      </a:lnTo>
                      <a:lnTo>
                        <a:pt x="129556" y="79060"/>
                      </a:lnTo>
                      <a:lnTo>
                        <a:pt x="129222" y="81913"/>
                      </a:lnTo>
                      <a:lnTo>
                        <a:pt x="130029" y="84936"/>
                      </a:lnTo>
                      <a:lnTo>
                        <a:pt x="131984" y="88115"/>
                      </a:lnTo>
                      <a:lnTo>
                        <a:pt x="133427" y="89802"/>
                      </a:lnTo>
                      <a:lnTo>
                        <a:pt x="134259" y="91073"/>
                      </a:lnTo>
                      <a:lnTo>
                        <a:pt x="136492" y="95947"/>
                      </a:lnTo>
                      <a:lnTo>
                        <a:pt x="140607" y="103713"/>
                      </a:lnTo>
                      <a:lnTo>
                        <a:pt x="143712" y="109557"/>
                      </a:lnTo>
                      <a:lnTo>
                        <a:pt x="144788" y="110249"/>
                      </a:lnTo>
                      <a:lnTo>
                        <a:pt x="146361" y="110005"/>
                      </a:lnTo>
                      <a:lnTo>
                        <a:pt x="149726" y="109426"/>
                      </a:lnTo>
                      <a:lnTo>
                        <a:pt x="153060" y="109312"/>
                      </a:lnTo>
                      <a:lnTo>
                        <a:pt x="155431" y="110502"/>
                      </a:lnTo>
                      <a:lnTo>
                        <a:pt x="156377" y="110306"/>
                      </a:lnTo>
                      <a:lnTo>
                        <a:pt x="159954" y="107992"/>
                      </a:lnTo>
                      <a:lnTo>
                        <a:pt x="163516" y="107291"/>
                      </a:lnTo>
                      <a:lnTo>
                        <a:pt x="167224" y="106330"/>
                      </a:lnTo>
                      <a:lnTo>
                        <a:pt x="169164" y="105352"/>
                      </a:lnTo>
                      <a:lnTo>
                        <a:pt x="171413" y="105352"/>
                      </a:lnTo>
                      <a:lnTo>
                        <a:pt x="177485" y="107226"/>
                      </a:lnTo>
                      <a:lnTo>
                        <a:pt x="178634" y="107316"/>
                      </a:lnTo>
                      <a:lnTo>
                        <a:pt x="183556" y="107316"/>
                      </a:lnTo>
                      <a:lnTo>
                        <a:pt x="188471" y="106272"/>
                      </a:lnTo>
                      <a:lnTo>
                        <a:pt x="189188" y="98449"/>
                      </a:lnTo>
                      <a:lnTo>
                        <a:pt x="189237" y="96900"/>
                      </a:lnTo>
                      <a:lnTo>
                        <a:pt x="190418" y="93966"/>
                      </a:lnTo>
                      <a:lnTo>
                        <a:pt x="191926" y="91407"/>
                      </a:lnTo>
                      <a:lnTo>
                        <a:pt x="192114" y="88962"/>
                      </a:lnTo>
                      <a:lnTo>
                        <a:pt x="192016" y="85621"/>
                      </a:lnTo>
                      <a:lnTo>
                        <a:pt x="193107" y="81562"/>
                      </a:lnTo>
                      <a:lnTo>
                        <a:pt x="196392" y="78335"/>
                      </a:lnTo>
                      <a:lnTo>
                        <a:pt x="201722" y="76803"/>
                      </a:lnTo>
                      <a:lnTo>
                        <a:pt x="204754" y="76501"/>
                      </a:lnTo>
                      <a:lnTo>
                        <a:pt x="209529" y="75597"/>
                      </a:lnTo>
                      <a:lnTo>
                        <a:pt x="216791" y="74692"/>
                      </a:lnTo>
                      <a:lnTo>
                        <a:pt x="219456" y="74814"/>
                      </a:lnTo>
                      <a:lnTo>
                        <a:pt x="219668" y="75287"/>
                      </a:lnTo>
                      <a:lnTo>
                        <a:pt x="218136" y="80894"/>
                      </a:lnTo>
                      <a:lnTo>
                        <a:pt x="218103" y="82728"/>
                      </a:lnTo>
                      <a:lnTo>
                        <a:pt x="218657" y="84594"/>
                      </a:lnTo>
                      <a:lnTo>
                        <a:pt x="219888" y="85588"/>
                      </a:lnTo>
                      <a:lnTo>
                        <a:pt x="227402" y="85703"/>
                      </a:lnTo>
                      <a:lnTo>
                        <a:pt x="234337" y="85800"/>
                      </a:lnTo>
                      <a:lnTo>
                        <a:pt x="242283" y="86159"/>
                      </a:lnTo>
                      <a:lnTo>
                        <a:pt x="248241" y="86428"/>
                      </a:lnTo>
                      <a:lnTo>
                        <a:pt x="248999" y="86697"/>
                      </a:lnTo>
                      <a:lnTo>
                        <a:pt x="249601" y="87120"/>
                      </a:lnTo>
                      <a:lnTo>
                        <a:pt x="250482" y="89899"/>
                      </a:lnTo>
                      <a:lnTo>
                        <a:pt x="250286" y="95327"/>
                      </a:lnTo>
                      <a:lnTo>
                        <a:pt x="248958" y="103273"/>
                      </a:lnTo>
                      <a:lnTo>
                        <a:pt x="249480" y="110681"/>
                      </a:lnTo>
                      <a:lnTo>
                        <a:pt x="251835" y="117584"/>
                      </a:lnTo>
                      <a:lnTo>
                        <a:pt x="252063" y="128179"/>
                      </a:lnTo>
                      <a:lnTo>
                        <a:pt x="251232" y="134511"/>
                      </a:lnTo>
                      <a:lnTo>
                        <a:pt x="250180" y="142498"/>
                      </a:lnTo>
                      <a:lnTo>
                        <a:pt x="249765" y="151536"/>
                      </a:lnTo>
                      <a:lnTo>
                        <a:pt x="250849" y="155317"/>
                      </a:lnTo>
                      <a:lnTo>
                        <a:pt x="253131" y="159278"/>
                      </a:lnTo>
                      <a:lnTo>
                        <a:pt x="256619" y="163410"/>
                      </a:lnTo>
                      <a:lnTo>
                        <a:pt x="259308" y="168781"/>
                      </a:lnTo>
                      <a:lnTo>
                        <a:pt x="261215" y="175374"/>
                      </a:lnTo>
                      <a:lnTo>
                        <a:pt x="261900" y="179539"/>
                      </a:lnTo>
                      <a:lnTo>
                        <a:pt x="261394" y="181242"/>
                      </a:lnTo>
                      <a:lnTo>
                        <a:pt x="261435" y="184200"/>
                      </a:lnTo>
                      <a:lnTo>
                        <a:pt x="262022" y="188430"/>
                      </a:lnTo>
                      <a:lnTo>
                        <a:pt x="261361" y="191233"/>
                      </a:lnTo>
                      <a:lnTo>
                        <a:pt x="259463" y="192611"/>
                      </a:lnTo>
                      <a:lnTo>
                        <a:pt x="258819" y="194501"/>
                      </a:lnTo>
                      <a:lnTo>
                        <a:pt x="259781" y="198136"/>
                      </a:lnTo>
                      <a:lnTo>
                        <a:pt x="260009" y="201437"/>
                      </a:lnTo>
                      <a:lnTo>
                        <a:pt x="260775" y="202692"/>
                      </a:lnTo>
                      <a:lnTo>
                        <a:pt x="261313" y="203613"/>
                      </a:lnTo>
                      <a:lnTo>
                        <a:pt x="262218" y="203743"/>
                      </a:lnTo>
                      <a:lnTo>
                        <a:pt x="264141" y="202561"/>
                      </a:lnTo>
                      <a:lnTo>
                        <a:pt x="266455" y="200361"/>
                      </a:lnTo>
                      <a:lnTo>
                        <a:pt x="268313" y="199424"/>
                      </a:lnTo>
                      <a:lnTo>
                        <a:pt x="270929" y="199554"/>
                      </a:lnTo>
                      <a:lnTo>
                        <a:pt x="274605" y="200165"/>
                      </a:lnTo>
                      <a:lnTo>
                        <a:pt x="281092" y="200402"/>
                      </a:lnTo>
                      <a:lnTo>
                        <a:pt x="283089" y="200011"/>
                      </a:lnTo>
                      <a:lnTo>
                        <a:pt x="289120" y="197028"/>
                      </a:lnTo>
                      <a:lnTo>
                        <a:pt x="290709" y="196824"/>
                      </a:lnTo>
                      <a:lnTo>
                        <a:pt x="293080" y="197093"/>
                      </a:lnTo>
                      <a:lnTo>
                        <a:pt x="296471" y="197965"/>
                      </a:lnTo>
                      <a:lnTo>
                        <a:pt x="299877" y="198144"/>
                      </a:lnTo>
                      <a:lnTo>
                        <a:pt x="301548" y="197240"/>
                      </a:lnTo>
                      <a:lnTo>
                        <a:pt x="301695" y="196034"/>
                      </a:lnTo>
                      <a:lnTo>
                        <a:pt x="302233" y="194461"/>
                      </a:lnTo>
                      <a:lnTo>
                        <a:pt x="303162" y="193874"/>
                      </a:lnTo>
                      <a:lnTo>
                        <a:pt x="303699" y="197826"/>
                      </a:lnTo>
                      <a:lnTo>
                        <a:pt x="304238" y="203336"/>
                      </a:lnTo>
                      <a:lnTo>
                        <a:pt x="304621" y="207280"/>
                      </a:lnTo>
                      <a:lnTo>
                        <a:pt x="305020" y="209057"/>
                      </a:lnTo>
                      <a:lnTo>
                        <a:pt x="305150" y="210002"/>
                      </a:lnTo>
                      <a:lnTo>
                        <a:pt x="304718" y="211013"/>
                      </a:lnTo>
                      <a:lnTo>
                        <a:pt x="304352" y="213393"/>
                      </a:lnTo>
                      <a:lnTo>
                        <a:pt x="303659" y="215495"/>
                      </a:lnTo>
                      <a:lnTo>
                        <a:pt x="303276" y="216970"/>
                      </a:lnTo>
                      <a:lnTo>
                        <a:pt x="303586" y="219668"/>
                      </a:lnTo>
                      <a:lnTo>
                        <a:pt x="303333" y="223547"/>
                      </a:lnTo>
                      <a:lnTo>
                        <a:pt x="303056" y="227622"/>
                      </a:lnTo>
                      <a:lnTo>
                        <a:pt x="302966" y="231558"/>
                      </a:lnTo>
                      <a:lnTo>
                        <a:pt x="303903" y="238608"/>
                      </a:lnTo>
                      <a:lnTo>
                        <a:pt x="303773" y="240784"/>
                      </a:lnTo>
                      <a:lnTo>
                        <a:pt x="302608" y="244467"/>
                      </a:lnTo>
                      <a:lnTo>
                        <a:pt x="301736" y="247263"/>
                      </a:lnTo>
                      <a:lnTo>
                        <a:pt x="301173" y="250506"/>
                      </a:lnTo>
                      <a:lnTo>
                        <a:pt x="301067" y="252185"/>
                      </a:lnTo>
                      <a:lnTo>
                        <a:pt x="303195" y="256985"/>
                      </a:lnTo>
                      <a:lnTo>
                        <a:pt x="303072" y="257931"/>
                      </a:lnTo>
                      <a:lnTo>
                        <a:pt x="301442" y="258232"/>
                      </a:lnTo>
                      <a:lnTo>
                        <a:pt x="300098" y="258314"/>
                      </a:lnTo>
                      <a:lnTo>
                        <a:pt x="294955" y="258314"/>
                      </a:lnTo>
                      <a:lnTo>
                        <a:pt x="287587" y="258314"/>
                      </a:lnTo>
                      <a:lnTo>
                        <a:pt x="280212" y="258314"/>
                      </a:lnTo>
                      <a:lnTo>
                        <a:pt x="272845" y="258314"/>
                      </a:lnTo>
                      <a:lnTo>
                        <a:pt x="266064" y="258314"/>
                      </a:lnTo>
                      <a:lnTo>
                        <a:pt x="259585" y="258314"/>
                      </a:lnTo>
                      <a:lnTo>
                        <a:pt x="253864" y="258314"/>
                      </a:lnTo>
                      <a:lnTo>
                        <a:pt x="253864" y="263049"/>
                      </a:lnTo>
                      <a:lnTo>
                        <a:pt x="253864" y="272780"/>
                      </a:lnTo>
                      <a:lnTo>
                        <a:pt x="253864" y="282527"/>
                      </a:lnTo>
                      <a:lnTo>
                        <a:pt x="253872" y="292282"/>
                      </a:lnTo>
                      <a:lnTo>
                        <a:pt x="253872" y="302021"/>
                      </a:lnTo>
                      <a:lnTo>
                        <a:pt x="253880" y="311792"/>
                      </a:lnTo>
                      <a:lnTo>
                        <a:pt x="253880" y="321572"/>
                      </a:lnTo>
                      <a:lnTo>
                        <a:pt x="253880" y="331344"/>
                      </a:lnTo>
                      <a:lnTo>
                        <a:pt x="253888" y="341123"/>
                      </a:lnTo>
                      <a:lnTo>
                        <a:pt x="253888" y="348189"/>
                      </a:lnTo>
                      <a:lnTo>
                        <a:pt x="255388" y="357561"/>
                      </a:lnTo>
                      <a:lnTo>
                        <a:pt x="258126" y="367789"/>
                      </a:lnTo>
                      <a:lnTo>
                        <a:pt x="259202" y="368735"/>
                      </a:lnTo>
                      <a:lnTo>
                        <a:pt x="261957" y="370609"/>
                      </a:lnTo>
                      <a:lnTo>
                        <a:pt x="265795" y="374447"/>
                      </a:lnTo>
                      <a:lnTo>
                        <a:pt x="267938" y="377357"/>
                      </a:lnTo>
                      <a:lnTo>
                        <a:pt x="272315" y="382410"/>
                      </a:lnTo>
                      <a:lnTo>
                        <a:pt x="278110" y="388848"/>
                      </a:lnTo>
                      <a:lnTo>
                        <a:pt x="283708" y="394642"/>
                      </a:lnTo>
                      <a:lnTo>
                        <a:pt x="288647" y="399728"/>
                      </a:lnTo>
                      <a:lnTo>
                        <a:pt x="280897" y="401513"/>
                      </a:lnTo>
                      <a:lnTo>
                        <a:pt x="269878" y="404055"/>
                      </a:lnTo>
                      <a:lnTo>
                        <a:pt x="262437" y="405767"/>
                      </a:lnTo>
                      <a:lnTo>
                        <a:pt x="253432" y="407853"/>
                      </a:lnTo>
                      <a:lnTo>
                        <a:pt x="247426" y="409157"/>
                      </a:lnTo>
                      <a:lnTo>
                        <a:pt x="239944" y="410771"/>
                      </a:lnTo>
                      <a:lnTo>
                        <a:pt x="238754" y="410738"/>
                      </a:lnTo>
                      <a:lnTo>
                        <a:pt x="236750" y="409614"/>
                      </a:lnTo>
                      <a:lnTo>
                        <a:pt x="232422" y="409402"/>
                      </a:lnTo>
                      <a:lnTo>
                        <a:pt x="227336" y="410934"/>
                      </a:lnTo>
                      <a:lnTo>
                        <a:pt x="223294" y="411350"/>
                      </a:lnTo>
                      <a:lnTo>
                        <a:pt x="220311" y="410649"/>
                      </a:lnTo>
                      <a:lnTo>
                        <a:pt x="217410" y="409296"/>
                      </a:lnTo>
                      <a:lnTo>
                        <a:pt x="214558" y="407307"/>
                      </a:lnTo>
                      <a:lnTo>
                        <a:pt x="209635" y="406566"/>
                      </a:lnTo>
                      <a:lnTo>
                        <a:pt x="202627" y="407112"/>
                      </a:lnTo>
                      <a:lnTo>
                        <a:pt x="195871" y="406712"/>
                      </a:lnTo>
                      <a:lnTo>
                        <a:pt x="189359" y="405384"/>
                      </a:lnTo>
                      <a:lnTo>
                        <a:pt x="184714" y="404879"/>
                      </a:lnTo>
                      <a:lnTo>
                        <a:pt x="181910" y="405164"/>
                      </a:lnTo>
                      <a:lnTo>
                        <a:pt x="178911" y="404724"/>
                      </a:lnTo>
                      <a:lnTo>
                        <a:pt x="175700" y="403575"/>
                      </a:lnTo>
                      <a:lnTo>
                        <a:pt x="173019" y="401643"/>
                      </a:lnTo>
                      <a:lnTo>
                        <a:pt x="169791" y="397560"/>
                      </a:lnTo>
                      <a:lnTo>
                        <a:pt x="167273" y="393656"/>
                      </a:lnTo>
                      <a:lnTo>
                        <a:pt x="166621" y="393102"/>
                      </a:lnTo>
                      <a:lnTo>
                        <a:pt x="165822" y="392507"/>
                      </a:lnTo>
                      <a:lnTo>
                        <a:pt x="165040" y="392336"/>
                      </a:lnTo>
                      <a:lnTo>
                        <a:pt x="157901" y="392222"/>
                      </a:lnTo>
                      <a:lnTo>
                        <a:pt x="151120" y="392132"/>
                      </a:lnTo>
                      <a:lnTo>
                        <a:pt x="147225" y="392124"/>
                      </a:lnTo>
                      <a:lnTo>
                        <a:pt x="137739" y="392108"/>
                      </a:lnTo>
                      <a:lnTo>
                        <a:pt x="128260" y="392084"/>
                      </a:lnTo>
                      <a:lnTo>
                        <a:pt x="118758" y="392067"/>
                      </a:lnTo>
                      <a:lnTo>
                        <a:pt x="109280" y="392051"/>
                      </a:lnTo>
                      <a:lnTo>
                        <a:pt x="99785" y="392027"/>
                      </a:lnTo>
                      <a:lnTo>
                        <a:pt x="90291" y="392010"/>
                      </a:lnTo>
                      <a:lnTo>
                        <a:pt x="80804" y="391994"/>
                      </a:lnTo>
                      <a:lnTo>
                        <a:pt x="71318" y="391978"/>
                      </a:lnTo>
                      <a:lnTo>
                        <a:pt x="66282" y="391961"/>
                      </a:lnTo>
                      <a:lnTo>
                        <a:pt x="61596" y="392271"/>
                      </a:lnTo>
                      <a:lnTo>
                        <a:pt x="56420" y="392621"/>
                      </a:lnTo>
                      <a:lnTo>
                        <a:pt x="55687" y="392467"/>
                      </a:lnTo>
                      <a:lnTo>
                        <a:pt x="54448" y="391994"/>
                      </a:lnTo>
                      <a:lnTo>
                        <a:pt x="53609" y="391138"/>
                      </a:lnTo>
                      <a:lnTo>
                        <a:pt x="50821" y="388921"/>
                      </a:lnTo>
                      <a:lnTo>
                        <a:pt x="48409" y="387251"/>
                      </a:lnTo>
                      <a:lnTo>
                        <a:pt x="45117" y="384415"/>
                      </a:lnTo>
                      <a:lnTo>
                        <a:pt x="42982" y="381318"/>
                      </a:lnTo>
                      <a:lnTo>
                        <a:pt x="41197" y="380332"/>
                      </a:lnTo>
                      <a:lnTo>
                        <a:pt x="38010" y="379769"/>
                      </a:lnTo>
                      <a:lnTo>
                        <a:pt x="35630" y="379240"/>
                      </a:lnTo>
                      <a:lnTo>
                        <a:pt x="33699" y="379109"/>
                      </a:lnTo>
                      <a:lnTo>
                        <a:pt x="30268" y="380576"/>
                      </a:lnTo>
                      <a:lnTo>
                        <a:pt x="27692" y="382027"/>
                      </a:lnTo>
                      <a:lnTo>
                        <a:pt x="25851" y="383420"/>
                      </a:lnTo>
                      <a:lnTo>
                        <a:pt x="22656" y="385018"/>
                      </a:lnTo>
                      <a:lnTo>
                        <a:pt x="19975" y="386615"/>
                      </a:lnTo>
                      <a:lnTo>
                        <a:pt x="15289" y="386403"/>
                      </a:lnTo>
                      <a:lnTo>
                        <a:pt x="14278" y="386631"/>
                      </a:lnTo>
                      <a:lnTo>
                        <a:pt x="11670" y="386525"/>
                      </a:lnTo>
                      <a:lnTo>
                        <a:pt x="9217" y="385124"/>
                      </a:lnTo>
                      <a:lnTo>
                        <a:pt x="6732" y="385254"/>
                      </a:lnTo>
                      <a:lnTo>
                        <a:pt x="3960" y="387031"/>
                      </a:lnTo>
                      <a:lnTo>
                        <a:pt x="0" y="387732"/>
                      </a:lnTo>
                      <a:lnTo>
                        <a:pt x="921" y="376159"/>
                      </a:lnTo>
                      <a:lnTo>
                        <a:pt x="1882" y="371049"/>
                      </a:lnTo>
                      <a:lnTo>
                        <a:pt x="1907" y="364937"/>
                      </a:lnTo>
                      <a:lnTo>
                        <a:pt x="1345" y="349118"/>
                      </a:lnTo>
                      <a:lnTo>
                        <a:pt x="652" y="346950"/>
                      </a:lnTo>
                      <a:lnTo>
                        <a:pt x="195" y="344408"/>
                      </a:lnTo>
                      <a:lnTo>
                        <a:pt x="2648" y="342468"/>
                      </a:lnTo>
                      <a:lnTo>
                        <a:pt x="3895" y="340985"/>
                      </a:lnTo>
                      <a:lnTo>
                        <a:pt x="5583" y="338369"/>
                      </a:lnTo>
                      <a:lnTo>
                        <a:pt x="6772" y="334701"/>
                      </a:lnTo>
                      <a:lnTo>
                        <a:pt x="8198" y="326617"/>
                      </a:lnTo>
                      <a:lnTo>
                        <a:pt x="13341" y="308019"/>
                      </a:lnTo>
                      <a:lnTo>
                        <a:pt x="15778" y="289812"/>
                      </a:lnTo>
                      <a:lnTo>
                        <a:pt x="18867" y="281198"/>
                      </a:lnTo>
                      <a:lnTo>
                        <a:pt x="20040" y="271541"/>
                      </a:lnTo>
                      <a:lnTo>
                        <a:pt x="28654" y="259112"/>
                      </a:lnTo>
                      <a:lnTo>
                        <a:pt x="30773" y="251468"/>
                      </a:lnTo>
                      <a:lnTo>
                        <a:pt x="35231" y="247727"/>
                      </a:lnTo>
                      <a:lnTo>
                        <a:pt x="41531" y="243734"/>
                      </a:lnTo>
                      <a:lnTo>
                        <a:pt x="46021" y="236635"/>
                      </a:lnTo>
                      <a:lnTo>
                        <a:pt x="48198" y="231721"/>
                      </a:lnTo>
                      <a:lnTo>
                        <a:pt x="50675" y="222308"/>
                      </a:lnTo>
                      <a:lnTo>
                        <a:pt x="50642" y="212472"/>
                      </a:lnTo>
                      <a:lnTo>
                        <a:pt x="52215" y="199383"/>
                      </a:lnTo>
                      <a:lnTo>
                        <a:pt x="51865" y="195610"/>
                      </a:lnTo>
                      <a:lnTo>
                        <a:pt x="49526" y="190394"/>
                      </a:lnTo>
                      <a:lnTo>
                        <a:pt x="49085" y="186661"/>
                      </a:lnTo>
                      <a:lnTo>
                        <a:pt x="46902" y="183002"/>
                      </a:lnTo>
                      <a:lnTo>
                        <a:pt x="44571" y="180239"/>
                      </a:lnTo>
                      <a:lnTo>
                        <a:pt x="43479" y="175292"/>
                      </a:lnTo>
                      <a:lnTo>
                        <a:pt x="39428" y="167509"/>
                      </a:lnTo>
                      <a:lnTo>
                        <a:pt x="38320" y="162318"/>
                      </a:lnTo>
                      <a:lnTo>
                        <a:pt x="36380" y="158594"/>
                      </a:lnTo>
                      <a:lnTo>
                        <a:pt x="36070" y="153997"/>
                      </a:lnTo>
                      <a:lnTo>
                        <a:pt x="35044" y="149132"/>
                      </a:lnTo>
                      <a:lnTo>
                        <a:pt x="33071" y="144332"/>
                      </a:lnTo>
                      <a:lnTo>
                        <a:pt x="31156" y="138839"/>
                      </a:lnTo>
                      <a:lnTo>
                        <a:pt x="31156" y="137119"/>
                      </a:lnTo>
                      <a:lnTo>
                        <a:pt x="32354" y="135049"/>
                      </a:lnTo>
                      <a:lnTo>
                        <a:pt x="33495" y="134365"/>
                      </a:lnTo>
                      <a:lnTo>
                        <a:pt x="33112" y="135408"/>
                      </a:lnTo>
                      <a:lnTo>
                        <a:pt x="32346" y="136638"/>
                      </a:lnTo>
                      <a:lnTo>
                        <a:pt x="32517" y="137600"/>
                      </a:lnTo>
                      <a:lnTo>
                        <a:pt x="40097" y="127967"/>
                      </a:lnTo>
                      <a:lnTo>
                        <a:pt x="40578" y="126093"/>
                      </a:lnTo>
                      <a:lnTo>
                        <a:pt x="40325" y="123982"/>
                      </a:lnTo>
                      <a:lnTo>
                        <a:pt x="40284" y="121406"/>
                      </a:lnTo>
                      <a:lnTo>
                        <a:pt x="40578" y="118416"/>
                      </a:lnTo>
                      <a:lnTo>
                        <a:pt x="33438" y="100674"/>
                      </a:lnTo>
                      <a:lnTo>
                        <a:pt x="27774" y="84187"/>
                      </a:lnTo>
                      <a:lnTo>
                        <a:pt x="26812" y="75866"/>
                      </a:lnTo>
                      <a:lnTo>
                        <a:pt x="19323" y="64904"/>
                      </a:lnTo>
                      <a:lnTo>
                        <a:pt x="16365" y="57790"/>
                      </a:lnTo>
                      <a:lnTo>
                        <a:pt x="14686" y="52810"/>
                      </a:lnTo>
                      <a:lnTo>
                        <a:pt x="13422" y="50919"/>
                      </a:lnTo>
                      <a:lnTo>
                        <a:pt x="13903" y="49958"/>
                      </a:lnTo>
                      <a:lnTo>
                        <a:pt x="15835" y="49713"/>
                      </a:lnTo>
                      <a:lnTo>
                        <a:pt x="20130" y="48556"/>
                      </a:lnTo>
                      <a:lnTo>
                        <a:pt x="26006" y="47309"/>
                      </a:lnTo>
                      <a:lnTo>
                        <a:pt x="31441" y="44424"/>
                      </a:lnTo>
                      <a:lnTo>
                        <a:pt x="32900" y="43137"/>
                      </a:lnTo>
                      <a:lnTo>
                        <a:pt x="35777" y="42884"/>
                      </a:lnTo>
                      <a:lnTo>
                        <a:pt x="38703" y="43650"/>
                      </a:lnTo>
                      <a:lnTo>
                        <a:pt x="39795" y="43104"/>
                      </a:lnTo>
                      <a:lnTo>
                        <a:pt x="40414" y="43063"/>
                      </a:lnTo>
                      <a:lnTo>
                        <a:pt x="47301" y="43047"/>
                      </a:lnTo>
                      <a:lnTo>
                        <a:pt x="50178" y="42851"/>
                      </a:lnTo>
                      <a:lnTo>
                        <a:pt x="55475" y="42916"/>
                      </a:lnTo>
                      <a:lnTo>
                        <a:pt x="58833" y="43153"/>
                      </a:lnTo>
                      <a:lnTo>
                        <a:pt x="60740" y="43430"/>
                      </a:lnTo>
                      <a:close/>
                      <a:moveTo>
                        <a:pt x="12729" y="39551"/>
                      </a:moveTo>
                      <a:lnTo>
                        <a:pt x="11703" y="39917"/>
                      </a:lnTo>
                      <a:lnTo>
                        <a:pt x="11344" y="39094"/>
                      </a:lnTo>
                      <a:lnTo>
                        <a:pt x="10260" y="36128"/>
                      </a:lnTo>
                      <a:lnTo>
                        <a:pt x="10872" y="33300"/>
                      </a:lnTo>
                      <a:lnTo>
                        <a:pt x="11524" y="31181"/>
                      </a:lnTo>
                      <a:lnTo>
                        <a:pt x="10790" y="26886"/>
                      </a:lnTo>
                      <a:lnTo>
                        <a:pt x="9136" y="23055"/>
                      </a:lnTo>
                      <a:lnTo>
                        <a:pt x="7392" y="18190"/>
                      </a:lnTo>
                      <a:lnTo>
                        <a:pt x="6854" y="17269"/>
                      </a:lnTo>
                      <a:lnTo>
                        <a:pt x="8329" y="15705"/>
                      </a:lnTo>
                      <a:lnTo>
                        <a:pt x="10554" y="12273"/>
                      </a:lnTo>
                      <a:lnTo>
                        <a:pt x="11458" y="10497"/>
                      </a:lnTo>
                      <a:lnTo>
                        <a:pt x="14034" y="10106"/>
                      </a:lnTo>
                      <a:lnTo>
                        <a:pt x="14995" y="8867"/>
                      </a:lnTo>
                      <a:lnTo>
                        <a:pt x="15680" y="6870"/>
                      </a:lnTo>
                      <a:lnTo>
                        <a:pt x="15924" y="5721"/>
                      </a:lnTo>
                      <a:lnTo>
                        <a:pt x="18834" y="4768"/>
                      </a:lnTo>
                      <a:lnTo>
                        <a:pt x="22306" y="3072"/>
                      </a:lnTo>
                      <a:lnTo>
                        <a:pt x="24229" y="1231"/>
                      </a:lnTo>
                      <a:lnTo>
                        <a:pt x="26185" y="57"/>
                      </a:lnTo>
                      <a:lnTo>
                        <a:pt x="27424" y="0"/>
                      </a:lnTo>
                      <a:lnTo>
                        <a:pt x="28247" y="497"/>
                      </a:lnTo>
                      <a:lnTo>
                        <a:pt x="30471" y="3700"/>
                      </a:lnTo>
                      <a:lnTo>
                        <a:pt x="32379" y="5721"/>
                      </a:lnTo>
                      <a:lnTo>
                        <a:pt x="32982" y="6194"/>
                      </a:lnTo>
                      <a:lnTo>
                        <a:pt x="32599" y="6683"/>
                      </a:lnTo>
                      <a:lnTo>
                        <a:pt x="29885" y="8011"/>
                      </a:lnTo>
                      <a:lnTo>
                        <a:pt x="26951" y="9242"/>
                      </a:lnTo>
                      <a:lnTo>
                        <a:pt x="23121" y="14295"/>
                      </a:lnTo>
                      <a:lnTo>
                        <a:pt x="21165" y="16495"/>
                      </a:lnTo>
                      <a:lnTo>
                        <a:pt x="20611" y="17041"/>
                      </a:lnTo>
                      <a:lnTo>
                        <a:pt x="18850" y="18247"/>
                      </a:lnTo>
                      <a:lnTo>
                        <a:pt x="17587" y="19282"/>
                      </a:lnTo>
                      <a:lnTo>
                        <a:pt x="17628" y="19853"/>
                      </a:lnTo>
                      <a:lnTo>
                        <a:pt x="18475" y="20513"/>
                      </a:lnTo>
                      <a:lnTo>
                        <a:pt x="19331" y="21605"/>
                      </a:lnTo>
                      <a:lnTo>
                        <a:pt x="19258" y="29877"/>
                      </a:lnTo>
                      <a:lnTo>
                        <a:pt x="18867" y="38010"/>
                      </a:lnTo>
                      <a:lnTo>
                        <a:pt x="18402" y="38711"/>
                      </a:lnTo>
                      <a:lnTo>
                        <a:pt x="15949" y="38972"/>
                      </a:lnTo>
                      <a:lnTo>
                        <a:pt x="12729" y="39551"/>
                      </a:lnTo>
                      <a:close/>
                    </a:path>
                  </a:pathLst>
                </a:custGeom>
                <a:solidFill>
                  <a:srgbClr val="D6D6D2"/>
                </a:solidFill>
                <a:ln w="6112" cap="rnd">
                  <a:solidFill>
                    <a:srgbClr val="FFFFFF"/>
                  </a:solidFill>
                  <a:prstDash val="solid"/>
                  <a:round/>
                </a:ln>
              </p:spPr>
              <p:txBody>
                <a:bodyPr rtlCol="0" anchor="ctr"/>
                <a:lstStyle/>
                <a:p>
                  <a:endParaRPr lang="en-US"/>
                </a:p>
              </p:txBody>
            </p:sp>
            <p:sp>
              <p:nvSpPr>
                <p:cNvPr id="787" name="Freeform: Shape 786">
                  <a:extLst>
                    <a:ext uri="{FF2B5EF4-FFF2-40B4-BE49-F238E27FC236}">
                      <a16:creationId xmlns:a16="http://schemas.microsoft.com/office/drawing/2014/main" id="{2FF4A188-E753-47EB-BFF8-0AAD05D32C1D}"/>
                    </a:ext>
                  </a:extLst>
                </p:cNvPr>
                <p:cNvSpPr/>
                <p:nvPr/>
              </p:nvSpPr>
              <p:spPr>
                <a:xfrm>
                  <a:off x="7443810" y="3327896"/>
                  <a:ext cx="357292" cy="296821"/>
                </a:xfrm>
                <a:custGeom>
                  <a:avLst/>
                  <a:gdLst>
                    <a:gd name="connsiteX0" fmla="*/ 357292 w 357292"/>
                    <a:gd name="connsiteY0" fmla="*/ 40977 h 296821"/>
                    <a:gd name="connsiteX1" fmla="*/ 356021 w 357292"/>
                    <a:gd name="connsiteY1" fmla="*/ 41197 h 296821"/>
                    <a:gd name="connsiteX2" fmla="*/ 354228 w 357292"/>
                    <a:gd name="connsiteY2" fmla="*/ 40390 h 296821"/>
                    <a:gd name="connsiteX3" fmla="*/ 353519 w 357292"/>
                    <a:gd name="connsiteY3" fmla="*/ 39176 h 296821"/>
                    <a:gd name="connsiteX4" fmla="*/ 353218 w 357292"/>
                    <a:gd name="connsiteY4" fmla="*/ 39013 h 296821"/>
                    <a:gd name="connsiteX5" fmla="*/ 351775 w 357292"/>
                    <a:gd name="connsiteY5" fmla="*/ 39803 h 296821"/>
                    <a:gd name="connsiteX6" fmla="*/ 349053 w 357292"/>
                    <a:gd name="connsiteY6" fmla="*/ 40814 h 296821"/>
                    <a:gd name="connsiteX7" fmla="*/ 344424 w 357292"/>
                    <a:gd name="connsiteY7" fmla="*/ 43446 h 296821"/>
                    <a:gd name="connsiteX8" fmla="*/ 344506 w 357292"/>
                    <a:gd name="connsiteY8" fmla="*/ 44115 h 296821"/>
                    <a:gd name="connsiteX9" fmla="*/ 347529 w 357292"/>
                    <a:gd name="connsiteY9" fmla="*/ 46788 h 296821"/>
                    <a:gd name="connsiteX10" fmla="*/ 348246 w 357292"/>
                    <a:gd name="connsiteY10" fmla="*/ 47676 h 296821"/>
                    <a:gd name="connsiteX11" fmla="*/ 348605 w 357292"/>
                    <a:gd name="connsiteY11" fmla="*/ 47953 h 296821"/>
                    <a:gd name="connsiteX12" fmla="*/ 345875 w 357292"/>
                    <a:gd name="connsiteY12" fmla="*/ 49241 h 296821"/>
                    <a:gd name="connsiteX13" fmla="*/ 340015 w 357292"/>
                    <a:gd name="connsiteY13" fmla="*/ 52126 h 296821"/>
                    <a:gd name="connsiteX14" fmla="*/ 336152 w 357292"/>
                    <a:gd name="connsiteY14" fmla="*/ 54497 h 296821"/>
                    <a:gd name="connsiteX15" fmla="*/ 335231 w 357292"/>
                    <a:gd name="connsiteY15" fmla="*/ 54579 h 296821"/>
                    <a:gd name="connsiteX16" fmla="*/ 332900 w 357292"/>
                    <a:gd name="connsiteY16" fmla="*/ 53593 h 296821"/>
                    <a:gd name="connsiteX17" fmla="*/ 329461 w 357292"/>
                    <a:gd name="connsiteY17" fmla="*/ 52403 h 296821"/>
                    <a:gd name="connsiteX18" fmla="*/ 328532 w 357292"/>
                    <a:gd name="connsiteY18" fmla="*/ 52427 h 296821"/>
                    <a:gd name="connsiteX19" fmla="*/ 320586 w 357292"/>
                    <a:gd name="connsiteY19" fmla="*/ 52631 h 296821"/>
                    <a:gd name="connsiteX20" fmla="*/ 313276 w 357292"/>
                    <a:gd name="connsiteY20" fmla="*/ 53063 h 296821"/>
                    <a:gd name="connsiteX21" fmla="*/ 310228 w 357292"/>
                    <a:gd name="connsiteY21" fmla="*/ 53633 h 296821"/>
                    <a:gd name="connsiteX22" fmla="*/ 304588 w 357292"/>
                    <a:gd name="connsiteY22" fmla="*/ 54188 h 296821"/>
                    <a:gd name="connsiteX23" fmla="*/ 301027 w 357292"/>
                    <a:gd name="connsiteY23" fmla="*/ 54367 h 296821"/>
                    <a:gd name="connsiteX24" fmla="*/ 298761 w 357292"/>
                    <a:gd name="connsiteY24" fmla="*/ 55280 h 296821"/>
                    <a:gd name="connsiteX25" fmla="*/ 296275 w 357292"/>
                    <a:gd name="connsiteY25" fmla="*/ 56486 h 296821"/>
                    <a:gd name="connsiteX26" fmla="*/ 293692 w 357292"/>
                    <a:gd name="connsiteY26" fmla="*/ 57260 h 296821"/>
                    <a:gd name="connsiteX27" fmla="*/ 291777 w 357292"/>
                    <a:gd name="connsiteY27" fmla="*/ 57521 h 296821"/>
                    <a:gd name="connsiteX28" fmla="*/ 289462 w 357292"/>
                    <a:gd name="connsiteY28" fmla="*/ 58637 h 296821"/>
                    <a:gd name="connsiteX29" fmla="*/ 287955 w 357292"/>
                    <a:gd name="connsiteY29" fmla="*/ 60870 h 296821"/>
                    <a:gd name="connsiteX30" fmla="*/ 283619 w 357292"/>
                    <a:gd name="connsiteY30" fmla="*/ 64179 h 296821"/>
                    <a:gd name="connsiteX31" fmla="*/ 281174 w 357292"/>
                    <a:gd name="connsiteY31" fmla="*/ 65776 h 296821"/>
                    <a:gd name="connsiteX32" fmla="*/ 279944 w 357292"/>
                    <a:gd name="connsiteY32" fmla="*/ 67578 h 296821"/>
                    <a:gd name="connsiteX33" fmla="*/ 278550 w 357292"/>
                    <a:gd name="connsiteY33" fmla="*/ 67749 h 296821"/>
                    <a:gd name="connsiteX34" fmla="*/ 276170 w 357292"/>
                    <a:gd name="connsiteY34" fmla="*/ 67423 h 296821"/>
                    <a:gd name="connsiteX35" fmla="*/ 274320 w 357292"/>
                    <a:gd name="connsiteY35" fmla="*/ 69371 h 296821"/>
                    <a:gd name="connsiteX36" fmla="*/ 272266 w 357292"/>
                    <a:gd name="connsiteY36" fmla="*/ 72174 h 296821"/>
                    <a:gd name="connsiteX37" fmla="*/ 268534 w 357292"/>
                    <a:gd name="connsiteY37" fmla="*/ 76225 h 296821"/>
                    <a:gd name="connsiteX38" fmla="*/ 266562 w 357292"/>
                    <a:gd name="connsiteY38" fmla="*/ 77854 h 296821"/>
                    <a:gd name="connsiteX39" fmla="*/ 265364 w 357292"/>
                    <a:gd name="connsiteY39" fmla="*/ 80495 h 296821"/>
                    <a:gd name="connsiteX40" fmla="*/ 266244 w 357292"/>
                    <a:gd name="connsiteY40" fmla="*/ 81864 h 296821"/>
                    <a:gd name="connsiteX41" fmla="*/ 269283 w 357292"/>
                    <a:gd name="connsiteY41" fmla="*/ 83918 h 296821"/>
                    <a:gd name="connsiteX42" fmla="*/ 270645 w 357292"/>
                    <a:gd name="connsiteY42" fmla="*/ 85857 h 296821"/>
                    <a:gd name="connsiteX43" fmla="*/ 271387 w 357292"/>
                    <a:gd name="connsiteY43" fmla="*/ 87390 h 296821"/>
                    <a:gd name="connsiteX44" fmla="*/ 272772 w 357292"/>
                    <a:gd name="connsiteY44" fmla="*/ 91326 h 296821"/>
                    <a:gd name="connsiteX45" fmla="*/ 273652 w 357292"/>
                    <a:gd name="connsiteY45" fmla="*/ 95197 h 296821"/>
                    <a:gd name="connsiteX46" fmla="*/ 274964 w 357292"/>
                    <a:gd name="connsiteY46" fmla="*/ 96868 h 296821"/>
                    <a:gd name="connsiteX47" fmla="*/ 275339 w 357292"/>
                    <a:gd name="connsiteY47" fmla="*/ 99704 h 296821"/>
                    <a:gd name="connsiteX48" fmla="*/ 275673 w 357292"/>
                    <a:gd name="connsiteY48" fmla="*/ 101456 h 296821"/>
                    <a:gd name="connsiteX49" fmla="*/ 274964 w 357292"/>
                    <a:gd name="connsiteY49" fmla="*/ 102695 h 296821"/>
                    <a:gd name="connsiteX50" fmla="*/ 274312 w 357292"/>
                    <a:gd name="connsiteY50" fmla="*/ 104080 h 296821"/>
                    <a:gd name="connsiteX51" fmla="*/ 274312 w 357292"/>
                    <a:gd name="connsiteY51" fmla="*/ 105376 h 296821"/>
                    <a:gd name="connsiteX52" fmla="*/ 275103 w 357292"/>
                    <a:gd name="connsiteY52" fmla="*/ 106729 h 296821"/>
                    <a:gd name="connsiteX53" fmla="*/ 275795 w 357292"/>
                    <a:gd name="connsiteY53" fmla="*/ 107919 h 296821"/>
                    <a:gd name="connsiteX54" fmla="*/ 276170 w 357292"/>
                    <a:gd name="connsiteY54" fmla="*/ 108872 h 296821"/>
                    <a:gd name="connsiteX55" fmla="*/ 275706 w 357292"/>
                    <a:gd name="connsiteY55" fmla="*/ 109932 h 296821"/>
                    <a:gd name="connsiteX56" fmla="*/ 274312 w 357292"/>
                    <a:gd name="connsiteY56" fmla="*/ 111562 h 296821"/>
                    <a:gd name="connsiteX57" fmla="*/ 273603 w 357292"/>
                    <a:gd name="connsiteY57" fmla="*/ 113216 h 296821"/>
                    <a:gd name="connsiteX58" fmla="*/ 272071 w 357292"/>
                    <a:gd name="connsiteY58" fmla="*/ 115987 h 296821"/>
                    <a:gd name="connsiteX59" fmla="*/ 269666 w 357292"/>
                    <a:gd name="connsiteY59" fmla="*/ 117870 h 296821"/>
                    <a:gd name="connsiteX60" fmla="*/ 268069 w 357292"/>
                    <a:gd name="connsiteY60" fmla="*/ 119247 h 296821"/>
                    <a:gd name="connsiteX61" fmla="*/ 266374 w 357292"/>
                    <a:gd name="connsiteY61" fmla="*/ 122148 h 296821"/>
                    <a:gd name="connsiteX62" fmla="*/ 263595 w 357292"/>
                    <a:gd name="connsiteY62" fmla="*/ 125367 h 296821"/>
                    <a:gd name="connsiteX63" fmla="*/ 262405 w 357292"/>
                    <a:gd name="connsiteY63" fmla="*/ 128057 h 296821"/>
                    <a:gd name="connsiteX64" fmla="*/ 261183 w 357292"/>
                    <a:gd name="connsiteY64" fmla="*/ 129540 h 296821"/>
                    <a:gd name="connsiteX65" fmla="*/ 259928 w 357292"/>
                    <a:gd name="connsiteY65" fmla="*/ 130339 h 296821"/>
                    <a:gd name="connsiteX66" fmla="*/ 260254 w 357292"/>
                    <a:gd name="connsiteY66" fmla="*/ 131781 h 296821"/>
                    <a:gd name="connsiteX67" fmla="*/ 261346 w 357292"/>
                    <a:gd name="connsiteY67" fmla="*/ 133591 h 296821"/>
                    <a:gd name="connsiteX68" fmla="*/ 263155 w 357292"/>
                    <a:gd name="connsiteY68" fmla="*/ 135612 h 296821"/>
                    <a:gd name="connsiteX69" fmla="*/ 263074 w 357292"/>
                    <a:gd name="connsiteY69" fmla="*/ 138766 h 296821"/>
                    <a:gd name="connsiteX70" fmla="*/ 262984 w 357292"/>
                    <a:gd name="connsiteY70" fmla="*/ 141039 h 296821"/>
                    <a:gd name="connsiteX71" fmla="*/ 263041 w 357292"/>
                    <a:gd name="connsiteY71" fmla="*/ 143786 h 296821"/>
                    <a:gd name="connsiteX72" fmla="*/ 262063 w 357292"/>
                    <a:gd name="connsiteY72" fmla="*/ 146092 h 296821"/>
                    <a:gd name="connsiteX73" fmla="*/ 257019 w 357292"/>
                    <a:gd name="connsiteY73" fmla="*/ 148309 h 296821"/>
                    <a:gd name="connsiteX74" fmla="*/ 252194 w 357292"/>
                    <a:gd name="connsiteY74" fmla="*/ 149287 h 296821"/>
                    <a:gd name="connsiteX75" fmla="*/ 246293 w 357292"/>
                    <a:gd name="connsiteY75" fmla="*/ 149344 h 296821"/>
                    <a:gd name="connsiteX76" fmla="*/ 244052 w 357292"/>
                    <a:gd name="connsiteY76" fmla="*/ 148994 h 296821"/>
                    <a:gd name="connsiteX77" fmla="*/ 242259 w 357292"/>
                    <a:gd name="connsiteY77" fmla="*/ 148504 h 296821"/>
                    <a:gd name="connsiteX78" fmla="*/ 235845 w 357292"/>
                    <a:gd name="connsiteY78" fmla="*/ 146027 h 296821"/>
                    <a:gd name="connsiteX79" fmla="*/ 233237 w 357292"/>
                    <a:gd name="connsiteY79" fmla="*/ 147486 h 296821"/>
                    <a:gd name="connsiteX80" fmla="*/ 232708 w 357292"/>
                    <a:gd name="connsiteY80" fmla="*/ 151072 h 296821"/>
                    <a:gd name="connsiteX81" fmla="*/ 237385 w 357292"/>
                    <a:gd name="connsiteY81" fmla="*/ 156882 h 296821"/>
                    <a:gd name="connsiteX82" fmla="*/ 239301 w 357292"/>
                    <a:gd name="connsiteY82" fmla="*/ 160126 h 296821"/>
                    <a:gd name="connsiteX83" fmla="*/ 241436 w 357292"/>
                    <a:gd name="connsiteY83" fmla="*/ 165546 h 296821"/>
                    <a:gd name="connsiteX84" fmla="*/ 243025 w 357292"/>
                    <a:gd name="connsiteY84" fmla="*/ 168341 h 296821"/>
                    <a:gd name="connsiteX85" fmla="*/ 242455 w 357292"/>
                    <a:gd name="connsiteY85" fmla="*/ 170957 h 296821"/>
                    <a:gd name="connsiteX86" fmla="*/ 238217 w 357292"/>
                    <a:gd name="connsiteY86" fmla="*/ 173915 h 296821"/>
                    <a:gd name="connsiteX87" fmla="*/ 234003 w 357292"/>
                    <a:gd name="connsiteY87" fmla="*/ 176711 h 296821"/>
                    <a:gd name="connsiteX88" fmla="*/ 228633 w 357292"/>
                    <a:gd name="connsiteY88" fmla="*/ 177289 h 296821"/>
                    <a:gd name="connsiteX89" fmla="*/ 225259 w 357292"/>
                    <a:gd name="connsiteY89" fmla="*/ 178284 h 296821"/>
                    <a:gd name="connsiteX90" fmla="*/ 223604 w 357292"/>
                    <a:gd name="connsiteY90" fmla="*/ 179718 h 296821"/>
                    <a:gd name="connsiteX91" fmla="*/ 222414 w 357292"/>
                    <a:gd name="connsiteY91" fmla="*/ 185814 h 296821"/>
                    <a:gd name="connsiteX92" fmla="*/ 221208 w 357292"/>
                    <a:gd name="connsiteY92" fmla="*/ 188047 h 296821"/>
                    <a:gd name="connsiteX93" fmla="*/ 221233 w 357292"/>
                    <a:gd name="connsiteY93" fmla="*/ 190696 h 296821"/>
                    <a:gd name="connsiteX94" fmla="*/ 220100 w 357292"/>
                    <a:gd name="connsiteY94" fmla="*/ 193695 h 296821"/>
                    <a:gd name="connsiteX95" fmla="*/ 218364 w 357292"/>
                    <a:gd name="connsiteY95" fmla="*/ 195643 h 296821"/>
                    <a:gd name="connsiteX96" fmla="*/ 217158 w 357292"/>
                    <a:gd name="connsiteY96" fmla="*/ 198788 h 296821"/>
                    <a:gd name="connsiteX97" fmla="*/ 217533 w 357292"/>
                    <a:gd name="connsiteY97" fmla="*/ 204770 h 296821"/>
                    <a:gd name="connsiteX98" fmla="*/ 218103 w 357292"/>
                    <a:gd name="connsiteY98" fmla="*/ 214900 h 296821"/>
                    <a:gd name="connsiteX99" fmla="*/ 215805 w 357292"/>
                    <a:gd name="connsiteY99" fmla="*/ 218103 h 296821"/>
                    <a:gd name="connsiteX100" fmla="*/ 213238 w 357292"/>
                    <a:gd name="connsiteY100" fmla="*/ 221322 h 296821"/>
                    <a:gd name="connsiteX101" fmla="*/ 210516 w 357292"/>
                    <a:gd name="connsiteY101" fmla="*/ 223629 h 296821"/>
                    <a:gd name="connsiteX102" fmla="*/ 207924 w 357292"/>
                    <a:gd name="connsiteY102" fmla="*/ 224696 h 296821"/>
                    <a:gd name="connsiteX103" fmla="*/ 205773 w 357292"/>
                    <a:gd name="connsiteY103" fmla="*/ 224305 h 296821"/>
                    <a:gd name="connsiteX104" fmla="*/ 204070 w 357292"/>
                    <a:gd name="connsiteY104" fmla="*/ 222308 h 296821"/>
                    <a:gd name="connsiteX105" fmla="*/ 203075 w 357292"/>
                    <a:gd name="connsiteY105" fmla="*/ 220630 h 296821"/>
                    <a:gd name="connsiteX106" fmla="*/ 201193 w 357292"/>
                    <a:gd name="connsiteY106" fmla="*/ 219228 h 296821"/>
                    <a:gd name="connsiteX107" fmla="*/ 199285 w 357292"/>
                    <a:gd name="connsiteY107" fmla="*/ 219521 h 296821"/>
                    <a:gd name="connsiteX108" fmla="*/ 197370 w 357292"/>
                    <a:gd name="connsiteY108" fmla="*/ 220801 h 296821"/>
                    <a:gd name="connsiteX109" fmla="*/ 194306 w 357292"/>
                    <a:gd name="connsiteY109" fmla="*/ 220377 h 296821"/>
                    <a:gd name="connsiteX110" fmla="*/ 191674 w 357292"/>
                    <a:gd name="connsiteY110" fmla="*/ 219097 h 296821"/>
                    <a:gd name="connsiteX111" fmla="*/ 190362 w 357292"/>
                    <a:gd name="connsiteY111" fmla="*/ 219228 h 296821"/>
                    <a:gd name="connsiteX112" fmla="*/ 189604 w 357292"/>
                    <a:gd name="connsiteY112" fmla="*/ 220524 h 296821"/>
                    <a:gd name="connsiteX113" fmla="*/ 186800 w 357292"/>
                    <a:gd name="connsiteY113" fmla="*/ 223278 h 296821"/>
                    <a:gd name="connsiteX114" fmla="*/ 179922 w 357292"/>
                    <a:gd name="connsiteY114" fmla="*/ 227475 h 296821"/>
                    <a:gd name="connsiteX115" fmla="*/ 177110 w 357292"/>
                    <a:gd name="connsiteY115" fmla="*/ 227777 h 296821"/>
                    <a:gd name="connsiteX116" fmla="*/ 175920 w 357292"/>
                    <a:gd name="connsiteY116" fmla="*/ 228820 h 296821"/>
                    <a:gd name="connsiteX117" fmla="*/ 176385 w 357292"/>
                    <a:gd name="connsiteY117" fmla="*/ 230540 h 296821"/>
                    <a:gd name="connsiteX118" fmla="*/ 177624 w 357292"/>
                    <a:gd name="connsiteY118" fmla="*/ 231950 h 296821"/>
                    <a:gd name="connsiteX119" fmla="*/ 179759 w 357292"/>
                    <a:gd name="connsiteY119" fmla="*/ 232936 h 296821"/>
                    <a:gd name="connsiteX120" fmla="*/ 179873 w 357292"/>
                    <a:gd name="connsiteY120" fmla="*/ 234077 h 296821"/>
                    <a:gd name="connsiteX121" fmla="*/ 177982 w 357292"/>
                    <a:gd name="connsiteY121" fmla="*/ 235079 h 296821"/>
                    <a:gd name="connsiteX122" fmla="*/ 176360 w 357292"/>
                    <a:gd name="connsiteY122" fmla="*/ 236212 h 296821"/>
                    <a:gd name="connsiteX123" fmla="*/ 172799 w 357292"/>
                    <a:gd name="connsiteY123" fmla="*/ 237605 h 296821"/>
                    <a:gd name="connsiteX124" fmla="*/ 168692 w 357292"/>
                    <a:gd name="connsiteY124" fmla="*/ 238143 h 296821"/>
                    <a:gd name="connsiteX125" fmla="*/ 164446 w 357292"/>
                    <a:gd name="connsiteY125" fmla="*/ 237345 h 296821"/>
                    <a:gd name="connsiteX126" fmla="*/ 162261 w 357292"/>
                    <a:gd name="connsiteY126" fmla="*/ 235495 h 296821"/>
                    <a:gd name="connsiteX127" fmla="*/ 159702 w 357292"/>
                    <a:gd name="connsiteY127" fmla="*/ 235315 h 296821"/>
                    <a:gd name="connsiteX128" fmla="*/ 157339 w 357292"/>
                    <a:gd name="connsiteY128" fmla="*/ 236668 h 296821"/>
                    <a:gd name="connsiteX129" fmla="*/ 154910 w 357292"/>
                    <a:gd name="connsiteY129" fmla="*/ 238901 h 296821"/>
                    <a:gd name="connsiteX130" fmla="*/ 152253 w 357292"/>
                    <a:gd name="connsiteY130" fmla="*/ 243693 h 296821"/>
                    <a:gd name="connsiteX131" fmla="*/ 151545 w 357292"/>
                    <a:gd name="connsiteY131" fmla="*/ 244525 h 296821"/>
                    <a:gd name="connsiteX132" fmla="*/ 150819 w 357292"/>
                    <a:gd name="connsiteY132" fmla="*/ 245291 h 296821"/>
                    <a:gd name="connsiteX133" fmla="*/ 149108 w 357292"/>
                    <a:gd name="connsiteY133" fmla="*/ 246318 h 296821"/>
                    <a:gd name="connsiteX134" fmla="*/ 146614 w 357292"/>
                    <a:gd name="connsiteY134" fmla="*/ 248005 h 296821"/>
                    <a:gd name="connsiteX135" fmla="*/ 145367 w 357292"/>
                    <a:gd name="connsiteY135" fmla="*/ 251533 h 296821"/>
                    <a:gd name="connsiteX136" fmla="*/ 143875 w 357292"/>
                    <a:gd name="connsiteY136" fmla="*/ 257801 h 296821"/>
                    <a:gd name="connsiteX137" fmla="*/ 144226 w 357292"/>
                    <a:gd name="connsiteY137" fmla="*/ 261183 h 296821"/>
                    <a:gd name="connsiteX138" fmla="*/ 144348 w 357292"/>
                    <a:gd name="connsiteY138" fmla="*/ 267026 h 296821"/>
                    <a:gd name="connsiteX139" fmla="*/ 143761 w 357292"/>
                    <a:gd name="connsiteY139" fmla="*/ 271125 h 296821"/>
                    <a:gd name="connsiteX140" fmla="*/ 142694 w 357292"/>
                    <a:gd name="connsiteY140" fmla="*/ 273823 h 296821"/>
                    <a:gd name="connsiteX141" fmla="*/ 142897 w 357292"/>
                    <a:gd name="connsiteY141" fmla="*/ 275942 h 296821"/>
                    <a:gd name="connsiteX142" fmla="*/ 144536 w 357292"/>
                    <a:gd name="connsiteY142" fmla="*/ 278354 h 296821"/>
                    <a:gd name="connsiteX143" fmla="*/ 143875 w 357292"/>
                    <a:gd name="connsiteY143" fmla="*/ 279903 h 296821"/>
                    <a:gd name="connsiteX144" fmla="*/ 142506 w 357292"/>
                    <a:gd name="connsiteY144" fmla="*/ 281647 h 296821"/>
                    <a:gd name="connsiteX145" fmla="*/ 141162 w 357292"/>
                    <a:gd name="connsiteY145" fmla="*/ 282608 h 296821"/>
                    <a:gd name="connsiteX146" fmla="*/ 135816 w 357292"/>
                    <a:gd name="connsiteY146" fmla="*/ 284434 h 296821"/>
                    <a:gd name="connsiteX147" fmla="*/ 128481 w 357292"/>
                    <a:gd name="connsiteY147" fmla="*/ 286920 h 296821"/>
                    <a:gd name="connsiteX148" fmla="*/ 123648 w 357292"/>
                    <a:gd name="connsiteY148" fmla="*/ 288509 h 296821"/>
                    <a:gd name="connsiteX149" fmla="*/ 116436 w 357292"/>
                    <a:gd name="connsiteY149" fmla="*/ 290872 h 296821"/>
                    <a:gd name="connsiteX150" fmla="*/ 114333 w 357292"/>
                    <a:gd name="connsiteY150" fmla="*/ 291459 h 296821"/>
                    <a:gd name="connsiteX151" fmla="*/ 109956 w 357292"/>
                    <a:gd name="connsiteY151" fmla="*/ 291679 h 296821"/>
                    <a:gd name="connsiteX152" fmla="*/ 107683 w 357292"/>
                    <a:gd name="connsiteY152" fmla="*/ 291312 h 296821"/>
                    <a:gd name="connsiteX153" fmla="*/ 104618 w 357292"/>
                    <a:gd name="connsiteY153" fmla="*/ 291215 h 296821"/>
                    <a:gd name="connsiteX154" fmla="*/ 100087 w 357292"/>
                    <a:gd name="connsiteY154" fmla="*/ 291296 h 296821"/>
                    <a:gd name="connsiteX155" fmla="*/ 96925 w 357292"/>
                    <a:gd name="connsiteY155" fmla="*/ 291948 h 296821"/>
                    <a:gd name="connsiteX156" fmla="*/ 93763 w 357292"/>
                    <a:gd name="connsiteY156" fmla="*/ 293146 h 296821"/>
                    <a:gd name="connsiteX157" fmla="*/ 91440 w 357292"/>
                    <a:gd name="connsiteY157" fmla="*/ 294629 h 296821"/>
                    <a:gd name="connsiteX158" fmla="*/ 90095 w 357292"/>
                    <a:gd name="connsiteY158" fmla="*/ 296112 h 296821"/>
                    <a:gd name="connsiteX159" fmla="*/ 89615 w 357292"/>
                    <a:gd name="connsiteY159" fmla="*/ 296821 h 296821"/>
                    <a:gd name="connsiteX160" fmla="*/ 86444 w 357292"/>
                    <a:gd name="connsiteY160" fmla="*/ 295607 h 296821"/>
                    <a:gd name="connsiteX161" fmla="*/ 76437 w 357292"/>
                    <a:gd name="connsiteY161" fmla="*/ 293423 h 296821"/>
                    <a:gd name="connsiteX162" fmla="*/ 49371 w 357292"/>
                    <a:gd name="connsiteY162" fmla="*/ 296300 h 296821"/>
                    <a:gd name="connsiteX163" fmla="*/ 46820 w 357292"/>
                    <a:gd name="connsiteY163" fmla="*/ 295754 h 296821"/>
                    <a:gd name="connsiteX164" fmla="*/ 37587 w 357292"/>
                    <a:gd name="connsiteY164" fmla="*/ 292396 h 296821"/>
                    <a:gd name="connsiteX165" fmla="*/ 25696 w 357292"/>
                    <a:gd name="connsiteY165" fmla="*/ 288060 h 296821"/>
                    <a:gd name="connsiteX166" fmla="*/ 18329 w 357292"/>
                    <a:gd name="connsiteY166" fmla="*/ 285379 h 296821"/>
                    <a:gd name="connsiteX167" fmla="*/ 8883 w 357292"/>
                    <a:gd name="connsiteY167" fmla="*/ 281875 h 296821"/>
                    <a:gd name="connsiteX168" fmla="*/ 15346 w 357292"/>
                    <a:gd name="connsiteY168" fmla="*/ 273220 h 296821"/>
                    <a:gd name="connsiteX169" fmla="*/ 20978 w 357292"/>
                    <a:gd name="connsiteY169" fmla="*/ 265657 h 296821"/>
                    <a:gd name="connsiteX170" fmla="*/ 26625 w 357292"/>
                    <a:gd name="connsiteY170" fmla="*/ 258086 h 296821"/>
                    <a:gd name="connsiteX171" fmla="*/ 32208 w 357292"/>
                    <a:gd name="connsiteY171" fmla="*/ 250596 h 296821"/>
                    <a:gd name="connsiteX172" fmla="*/ 32868 w 357292"/>
                    <a:gd name="connsiteY172" fmla="*/ 247972 h 296821"/>
                    <a:gd name="connsiteX173" fmla="*/ 32950 w 357292"/>
                    <a:gd name="connsiteY173" fmla="*/ 242838 h 296821"/>
                    <a:gd name="connsiteX174" fmla="*/ 31483 w 357292"/>
                    <a:gd name="connsiteY174" fmla="*/ 235967 h 296821"/>
                    <a:gd name="connsiteX175" fmla="*/ 29127 w 357292"/>
                    <a:gd name="connsiteY175" fmla="*/ 232830 h 296821"/>
                    <a:gd name="connsiteX176" fmla="*/ 21352 w 357292"/>
                    <a:gd name="connsiteY176" fmla="*/ 231567 h 296821"/>
                    <a:gd name="connsiteX177" fmla="*/ 15501 w 357292"/>
                    <a:gd name="connsiteY177" fmla="*/ 230613 h 296821"/>
                    <a:gd name="connsiteX178" fmla="*/ 9136 w 357292"/>
                    <a:gd name="connsiteY178" fmla="*/ 229578 h 296821"/>
                    <a:gd name="connsiteX179" fmla="*/ 8305 w 357292"/>
                    <a:gd name="connsiteY179" fmla="*/ 229195 h 296821"/>
                    <a:gd name="connsiteX180" fmla="*/ 7588 w 357292"/>
                    <a:gd name="connsiteY180" fmla="*/ 223841 h 296821"/>
                    <a:gd name="connsiteX181" fmla="*/ 7905 w 357292"/>
                    <a:gd name="connsiteY181" fmla="*/ 221453 h 296821"/>
                    <a:gd name="connsiteX182" fmla="*/ 7490 w 357292"/>
                    <a:gd name="connsiteY182" fmla="*/ 216832 h 296821"/>
                    <a:gd name="connsiteX183" fmla="*/ 7555 w 357292"/>
                    <a:gd name="connsiteY183" fmla="*/ 213279 h 296821"/>
                    <a:gd name="connsiteX184" fmla="*/ 8468 w 357292"/>
                    <a:gd name="connsiteY184" fmla="*/ 207411 h 296821"/>
                    <a:gd name="connsiteX185" fmla="*/ 8525 w 357292"/>
                    <a:gd name="connsiteY185" fmla="*/ 204770 h 296821"/>
                    <a:gd name="connsiteX186" fmla="*/ 5575 w 357292"/>
                    <a:gd name="connsiteY186" fmla="*/ 193385 h 296821"/>
                    <a:gd name="connsiteX187" fmla="*/ 3945 w 357292"/>
                    <a:gd name="connsiteY187" fmla="*/ 187069 h 296821"/>
                    <a:gd name="connsiteX188" fmla="*/ 2258 w 357292"/>
                    <a:gd name="connsiteY188" fmla="*/ 180533 h 296821"/>
                    <a:gd name="connsiteX189" fmla="*/ 1883 w 357292"/>
                    <a:gd name="connsiteY189" fmla="*/ 178455 h 296821"/>
                    <a:gd name="connsiteX190" fmla="*/ 1850 w 357292"/>
                    <a:gd name="connsiteY190" fmla="*/ 175879 h 296821"/>
                    <a:gd name="connsiteX191" fmla="*/ 5770 w 357292"/>
                    <a:gd name="connsiteY191" fmla="*/ 169824 h 296821"/>
                    <a:gd name="connsiteX192" fmla="*/ 6968 w 357292"/>
                    <a:gd name="connsiteY192" fmla="*/ 168512 h 296821"/>
                    <a:gd name="connsiteX193" fmla="*/ 9266 w 357292"/>
                    <a:gd name="connsiteY193" fmla="*/ 165497 h 296821"/>
                    <a:gd name="connsiteX194" fmla="*/ 10701 w 357292"/>
                    <a:gd name="connsiteY194" fmla="*/ 163891 h 296821"/>
                    <a:gd name="connsiteX195" fmla="*/ 10448 w 357292"/>
                    <a:gd name="connsiteY195" fmla="*/ 162799 h 296821"/>
                    <a:gd name="connsiteX196" fmla="*/ 7954 w 357292"/>
                    <a:gd name="connsiteY196" fmla="*/ 162155 h 296821"/>
                    <a:gd name="connsiteX197" fmla="*/ 4197 w 357292"/>
                    <a:gd name="connsiteY197" fmla="*/ 162098 h 296821"/>
                    <a:gd name="connsiteX198" fmla="*/ 2184 w 357292"/>
                    <a:gd name="connsiteY198" fmla="*/ 161177 h 296821"/>
                    <a:gd name="connsiteX199" fmla="*/ 628 w 357292"/>
                    <a:gd name="connsiteY199" fmla="*/ 159531 h 296821"/>
                    <a:gd name="connsiteX200" fmla="*/ 0 w 357292"/>
                    <a:gd name="connsiteY200" fmla="*/ 157143 h 296821"/>
                    <a:gd name="connsiteX201" fmla="*/ 1027 w 357292"/>
                    <a:gd name="connsiteY201" fmla="*/ 152889 h 296821"/>
                    <a:gd name="connsiteX202" fmla="*/ 0 w 357292"/>
                    <a:gd name="connsiteY202" fmla="*/ 144617 h 296821"/>
                    <a:gd name="connsiteX203" fmla="*/ 2103 w 357292"/>
                    <a:gd name="connsiteY203" fmla="*/ 140526 h 296821"/>
                    <a:gd name="connsiteX204" fmla="*/ 3896 w 357292"/>
                    <a:gd name="connsiteY204" fmla="*/ 137657 h 296821"/>
                    <a:gd name="connsiteX205" fmla="*/ 10016 w 357292"/>
                    <a:gd name="connsiteY205" fmla="*/ 137258 h 296821"/>
                    <a:gd name="connsiteX206" fmla="*/ 7897 w 357292"/>
                    <a:gd name="connsiteY206" fmla="*/ 134022 h 296821"/>
                    <a:gd name="connsiteX207" fmla="*/ 6870 w 357292"/>
                    <a:gd name="connsiteY207" fmla="*/ 132140 h 296821"/>
                    <a:gd name="connsiteX208" fmla="*/ 6218 w 357292"/>
                    <a:gd name="connsiteY208" fmla="*/ 131602 h 296821"/>
                    <a:gd name="connsiteX209" fmla="*/ 5958 w 357292"/>
                    <a:gd name="connsiteY209" fmla="*/ 130738 h 296821"/>
                    <a:gd name="connsiteX210" fmla="*/ 6292 w 357292"/>
                    <a:gd name="connsiteY210" fmla="*/ 129866 h 296821"/>
                    <a:gd name="connsiteX211" fmla="*/ 7856 w 357292"/>
                    <a:gd name="connsiteY211" fmla="*/ 129540 h 296821"/>
                    <a:gd name="connsiteX212" fmla="*/ 8916 w 357292"/>
                    <a:gd name="connsiteY212" fmla="*/ 128456 h 296821"/>
                    <a:gd name="connsiteX213" fmla="*/ 10644 w 357292"/>
                    <a:gd name="connsiteY213" fmla="*/ 126924 h 296821"/>
                    <a:gd name="connsiteX214" fmla="*/ 11548 w 357292"/>
                    <a:gd name="connsiteY214" fmla="*/ 126280 h 296821"/>
                    <a:gd name="connsiteX215" fmla="*/ 11711 w 357292"/>
                    <a:gd name="connsiteY215" fmla="*/ 124438 h 296821"/>
                    <a:gd name="connsiteX216" fmla="*/ 12527 w 357292"/>
                    <a:gd name="connsiteY216" fmla="*/ 123126 h 296821"/>
                    <a:gd name="connsiteX217" fmla="*/ 13757 w 357292"/>
                    <a:gd name="connsiteY217" fmla="*/ 121496 h 296821"/>
                    <a:gd name="connsiteX218" fmla="*/ 14735 w 357292"/>
                    <a:gd name="connsiteY218" fmla="*/ 119646 h 296821"/>
                    <a:gd name="connsiteX219" fmla="*/ 14498 w 357292"/>
                    <a:gd name="connsiteY219" fmla="*/ 117470 h 296821"/>
                    <a:gd name="connsiteX220" fmla="*/ 15403 w 357292"/>
                    <a:gd name="connsiteY220" fmla="*/ 114854 h 296821"/>
                    <a:gd name="connsiteX221" fmla="*/ 15811 w 357292"/>
                    <a:gd name="connsiteY221" fmla="*/ 113224 h 296821"/>
                    <a:gd name="connsiteX222" fmla="*/ 16471 w 357292"/>
                    <a:gd name="connsiteY222" fmla="*/ 111806 h 296821"/>
                    <a:gd name="connsiteX223" fmla="*/ 15892 w 357292"/>
                    <a:gd name="connsiteY223" fmla="*/ 109744 h 296821"/>
                    <a:gd name="connsiteX224" fmla="*/ 15403 w 357292"/>
                    <a:gd name="connsiteY224" fmla="*/ 108000 h 296821"/>
                    <a:gd name="connsiteX225" fmla="*/ 15240 w 357292"/>
                    <a:gd name="connsiteY225" fmla="*/ 105930 h 296821"/>
                    <a:gd name="connsiteX226" fmla="*/ 16218 w 357292"/>
                    <a:gd name="connsiteY226" fmla="*/ 105376 h 296821"/>
                    <a:gd name="connsiteX227" fmla="*/ 17449 w 357292"/>
                    <a:gd name="connsiteY227" fmla="*/ 104610 h 296821"/>
                    <a:gd name="connsiteX228" fmla="*/ 17693 w 357292"/>
                    <a:gd name="connsiteY228" fmla="*/ 102980 h 296821"/>
                    <a:gd name="connsiteX229" fmla="*/ 18353 w 357292"/>
                    <a:gd name="connsiteY229" fmla="*/ 100910 h 296821"/>
                    <a:gd name="connsiteX230" fmla="*/ 18842 w 357292"/>
                    <a:gd name="connsiteY230" fmla="*/ 99272 h 296821"/>
                    <a:gd name="connsiteX231" fmla="*/ 19666 w 357292"/>
                    <a:gd name="connsiteY231" fmla="*/ 97960 h 296821"/>
                    <a:gd name="connsiteX232" fmla="*/ 19747 w 357292"/>
                    <a:gd name="connsiteY232" fmla="*/ 96656 h 296821"/>
                    <a:gd name="connsiteX233" fmla="*/ 19258 w 357292"/>
                    <a:gd name="connsiteY233" fmla="*/ 94464 h 296821"/>
                    <a:gd name="connsiteX234" fmla="*/ 21311 w 357292"/>
                    <a:gd name="connsiteY234" fmla="*/ 94138 h 296821"/>
                    <a:gd name="connsiteX235" fmla="*/ 22127 w 357292"/>
                    <a:gd name="connsiteY235" fmla="*/ 95336 h 296821"/>
                    <a:gd name="connsiteX236" fmla="*/ 23211 w 357292"/>
                    <a:gd name="connsiteY236" fmla="*/ 96900 h 296821"/>
                    <a:gd name="connsiteX237" fmla="*/ 26226 w 357292"/>
                    <a:gd name="connsiteY237" fmla="*/ 99802 h 296821"/>
                    <a:gd name="connsiteX238" fmla="*/ 28157 w 357292"/>
                    <a:gd name="connsiteY238" fmla="*/ 100649 h 296821"/>
                    <a:gd name="connsiteX239" fmla="*/ 30602 w 357292"/>
                    <a:gd name="connsiteY239" fmla="*/ 101073 h 296821"/>
                    <a:gd name="connsiteX240" fmla="*/ 33610 w 357292"/>
                    <a:gd name="connsiteY240" fmla="*/ 100674 h 296821"/>
                    <a:gd name="connsiteX241" fmla="*/ 36030 w 357292"/>
                    <a:gd name="connsiteY241" fmla="*/ 100136 h 296821"/>
                    <a:gd name="connsiteX242" fmla="*/ 37163 w 357292"/>
                    <a:gd name="connsiteY242" fmla="*/ 100274 h 296821"/>
                    <a:gd name="connsiteX243" fmla="*/ 39787 w 357292"/>
                    <a:gd name="connsiteY243" fmla="*/ 102385 h 296821"/>
                    <a:gd name="connsiteX244" fmla="*/ 42843 w 357292"/>
                    <a:gd name="connsiteY244" fmla="*/ 105335 h 296821"/>
                    <a:gd name="connsiteX245" fmla="*/ 43829 w 357292"/>
                    <a:gd name="connsiteY245" fmla="*/ 106647 h 296821"/>
                    <a:gd name="connsiteX246" fmla="*/ 44286 w 357292"/>
                    <a:gd name="connsiteY246" fmla="*/ 108669 h 296821"/>
                    <a:gd name="connsiteX247" fmla="*/ 45199 w 357292"/>
                    <a:gd name="connsiteY247" fmla="*/ 109264 h 296821"/>
                    <a:gd name="connsiteX248" fmla="*/ 47146 w 357292"/>
                    <a:gd name="connsiteY248" fmla="*/ 107275 h 296821"/>
                    <a:gd name="connsiteX249" fmla="*/ 49037 w 357292"/>
                    <a:gd name="connsiteY249" fmla="*/ 106615 h 296821"/>
                    <a:gd name="connsiteX250" fmla="*/ 50781 w 357292"/>
                    <a:gd name="connsiteY250" fmla="*/ 106990 h 296821"/>
                    <a:gd name="connsiteX251" fmla="*/ 52713 w 357292"/>
                    <a:gd name="connsiteY251" fmla="*/ 107218 h 296821"/>
                    <a:gd name="connsiteX252" fmla="*/ 54628 w 357292"/>
                    <a:gd name="connsiteY252" fmla="*/ 106484 h 296821"/>
                    <a:gd name="connsiteX253" fmla="*/ 55475 w 357292"/>
                    <a:gd name="connsiteY253" fmla="*/ 105955 h 296821"/>
                    <a:gd name="connsiteX254" fmla="*/ 58849 w 357292"/>
                    <a:gd name="connsiteY254" fmla="*/ 103379 h 296821"/>
                    <a:gd name="connsiteX255" fmla="*/ 61873 w 357292"/>
                    <a:gd name="connsiteY255" fmla="*/ 101415 h 296821"/>
                    <a:gd name="connsiteX256" fmla="*/ 63772 w 357292"/>
                    <a:gd name="connsiteY256" fmla="*/ 100201 h 296821"/>
                    <a:gd name="connsiteX257" fmla="*/ 64448 w 357292"/>
                    <a:gd name="connsiteY257" fmla="*/ 96167 h 296821"/>
                    <a:gd name="connsiteX258" fmla="*/ 65320 w 357292"/>
                    <a:gd name="connsiteY258" fmla="*/ 93877 h 296821"/>
                    <a:gd name="connsiteX259" fmla="*/ 66567 w 357292"/>
                    <a:gd name="connsiteY259" fmla="*/ 92532 h 296821"/>
                    <a:gd name="connsiteX260" fmla="*/ 66103 w 357292"/>
                    <a:gd name="connsiteY260" fmla="*/ 90878 h 296821"/>
                    <a:gd name="connsiteX261" fmla="*/ 65589 w 357292"/>
                    <a:gd name="connsiteY261" fmla="*/ 89606 h 296821"/>
                    <a:gd name="connsiteX262" fmla="*/ 65060 w 357292"/>
                    <a:gd name="connsiteY262" fmla="*/ 87887 h 296821"/>
                    <a:gd name="connsiteX263" fmla="*/ 65589 w 357292"/>
                    <a:gd name="connsiteY263" fmla="*/ 86974 h 296821"/>
                    <a:gd name="connsiteX264" fmla="*/ 66787 w 357292"/>
                    <a:gd name="connsiteY264" fmla="*/ 86567 h 296821"/>
                    <a:gd name="connsiteX265" fmla="*/ 69843 w 357292"/>
                    <a:gd name="connsiteY265" fmla="*/ 86567 h 296821"/>
                    <a:gd name="connsiteX266" fmla="*/ 75182 w 357292"/>
                    <a:gd name="connsiteY266" fmla="*/ 84757 h 296821"/>
                    <a:gd name="connsiteX267" fmla="*/ 79639 w 357292"/>
                    <a:gd name="connsiteY267" fmla="*/ 82956 h 296821"/>
                    <a:gd name="connsiteX268" fmla="*/ 83755 w 357292"/>
                    <a:gd name="connsiteY268" fmla="*/ 81481 h 296821"/>
                    <a:gd name="connsiteX269" fmla="*/ 85637 w 357292"/>
                    <a:gd name="connsiteY269" fmla="*/ 81237 h 296821"/>
                    <a:gd name="connsiteX270" fmla="*/ 87398 w 357292"/>
                    <a:gd name="connsiteY270" fmla="*/ 81489 h 296821"/>
                    <a:gd name="connsiteX271" fmla="*/ 88213 w 357292"/>
                    <a:gd name="connsiteY271" fmla="*/ 81057 h 296821"/>
                    <a:gd name="connsiteX272" fmla="*/ 88441 w 357292"/>
                    <a:gd name="connsiteY272" fmla="*/ 79656 h 296821"/>
                    <a:gd name="connsiteX273" fmla="*/ 89452 w 357292"/>
                    <a:gd name="connsiteY273" fmla="*/ 78156 h 296821"/>
                    <a:gd name="connsiteX274" fmla="*/ 91742 w 357292"/>
                    <a:gd name="connsiteY274" fmla="*/ 76958 h 296821"/>
                    <a:gd name="connsiteX275" fmla="*/ 96045 w 357292"/>
                    <a:gd name="connsiteY275" fmla="*/ 74399 h 296821"/>
                    <a:gd name="connsiteX276" fmla="*/ 99843 w 357292"/>
                    <a:gd name="connsiteY276" fmla="*/ 70609 h 296821"/>
                    <a:gd name="connsiteX277" fmla="*/ 101204 w 357292"/>
                    <a:gd name="connsiteY277" fmla="*/ 67716 h 296821"/>
                    <a:gd name="connsiteX278" fmla="*/ 102100 w 357292"/>
                    <a:gd name="connsiteY278" fmla="*/ 63503 h 296821"/>
                    <a:gd name="connsiteX279" fmla="*/ 103885 w 357292"/>
                    <a:gd name="connsiteY279" fmla="*/ 56999 h 296821"/>
                    <a:gd name="connsiteX280" fmla="*/ 105841 w 357292"/>
                    <a:gd name="connsiteY280" fmla="*/ 49868 h 296821"/>
                    <a:gd name="connsiteX281" fmla="*/ 106566 w 357292"/>
                    <a:gd name="connsiteY281" fmla="*/ 46722 h 296821"/>
                    <a:gd name="connsiteX282" fmla="*/ 107422 w 357292"/>
                    <a:gd name="connsiteY282" fmla="*/ 44294 h 296821"/>
                    <a:gd name="connsiteX283" fmla="*/ 110772 w 357292"/>
                    <a:gd name="connsiteY283" fmla="*/ 42248 h 296821"/>
                    <a:gd name="connsiteX284" fmla="*/ 114194 w 357292"/>
                    <a:gd name="connsiteY284" fmla="*/ 40773 h 296821"/>
                    <a:gd name="connsiteX285" fmla="*/ 119500 w 357292"/>
                    <a:gd name="connsiteY285" fmla="*/ 40472 h 296821"/>
                    <a:gd name="connsiteX286" fmla="*/ 125726 w 357292"/>
                    <a:gd name="connsiteY286" fmla="*/ 40325 h 296821"/>
                    <a:gd name="connsiteX287" fmla="*/ 127046 w 357292"/>
                    <a:gd name="connsiteY287" fmla="*/ 36413 h 296821"/>
                    <a:gd name="connsiteX288" fmla="*/ 127861 w 357292"/>
                    <a:gd name="connsiteY288" fmla="*/ 33096 h 296821"/>
                    <a:gd name="connsiteX289" fmla="*/ 128904 w 357292"/>
                    <a:gd name="connsiteY289" fmla="*/ 31385 h 296821"/>
                    <a:gd name="connsiteX290" fmla="*/ 130412 w 357292"/>
                    <a:gd name="connsiteY290" fmla="*/ 29991 h 296821"/>
                    <a:gd name="connsiteX291" fmla="*/ 130942 w 357292"/>
                    <a:gd name="connsiteY291" fmla="*/ 29714 h 296821"/>
                    <a:gd name="connsiteX292" fmla="*/ 134299 w 357292"/>
                    <a:gd name="connsiteY292" fmla="*/ 31751 h 296821"/>
                    <a:gd name="connsiteX293" fmla="*/ 139458 w 357292"/>
                    <a:gd name="connsiteY293" fmla="*/ 34865 h 296821"/>
                    <a:gd name="connsiteX294" fmla="*/ 145457 w 357292"/>
                    <a:gd name="connsiteY294" fmla="*/ 36421 h 296821"/>
                    <a:gd name="connsiteX295" fmla="*/ 148480 w 357292"/>
                    <a:gd name="connsiteY295" fmla="*/ 37204 h 296821"/>
                    <a:gd name="connsiteX296" fmla="*/ 149727 w 357292"/>
                    <a:gd name="connsiteY296" fmla="*/ 37081 h 296821"/>
                    <a:gd name="connsiteX297" fmla="*/ 157298 w 357292"/>
                    <a:gd name="connsiteY297" fmla="*/ 36315 h 296821"/>
                    <a:gd name="connsiteX298" fmla="*/ 163280 w 357292"/>
                    <a:gd name="connsiteY298" fmla="*/ 37538 h 296821"/>
                    <a:gd name="connsiteX299" fmla="*/ 166418 w 357292"/>
                    <a:gd name="connsiteY299" fmla="*/ 40855 h 296821"/>
                    <a:gd name="connsiteX300" fmla="*/ 169506 w 357292"/>
                    <a:gd name="connsiteY300" fmla="*/ 41719 h 296821"/>
                    <a:gd name="connsiteX301" fmla="*/ 172522 w 357292"/>
                    <a:gd name="connsiteY301" fmla="*/ 40097 h 296821"/>
                    <a:gd name="connsiteX302" fmla="*/ 174404 w 357292"/>
                    <a:gd name="connsiteY302" fmla="*/ 39803 h 296821"/>
                    <a:gd name="connsiteX303" fmla="*/ 175122 w 357292"/>
                    <a:gd name="connsiteY303" fmla="*/ 40847 h 296821"/>
                    <a:gd name="connsiteX304" fmla="*/ 176637 w 357292"/>
                    <a:gd name="connsiteY304" fmla="*/ 41278 h 296821"/>
                    <a:gd name="connsiteX305" fmla="*/ 178928 w 357292"/>
                    <a:gd name="connsiteY305" fmla="*/ 41124 h 296821"/>
                    <a:gd name="connsiteX306" fmla="*/ 180248 w 357292"/>
                    <a:gd name="connsiteY306" fmla="*/ 42036 h 296821"/>
                    <a:gd name="connsiteX307" fmla="*/ 180403 w 357292"/>
                    <a:gd name="connsiteY307" fmla="*/ 42957 h 296821"/>
                    <a:gd name="connsiteX308" fmla="*/ 180574 w 357292"/>
                    <a:gd name="connsiteY308" fmla="*/ 44025 h 296821"/>
                    <a:gd name="connsiteX309" fmla="*/ 182269 w 357292"/>
                    <a:gd name="connsiteY309" fmla="*/ 46551 h 296821"/>
                    <a:gd name="connsiteX310" fmla="*/ 185333 w 357292"/>
                    <a:gd name="connsiteY310" fmla="*/ 49624 h 296821"/>
                    <a:gd name="connsiteX311" fmla="*/ 188055 w 357292"/>
                    <a:gd name="connsiteY311" fmla="*/ 50365 h 296821"/>
                    <a:gd name="connsiteX312" fmla="*/ 191641 w 357292"/>
                    <a:gd name="connsiteY312" fmla="*/ 47978 h 296821"/>
                    <a:gd name="connsiteX313" fmla="*/ 192839 w 357292"/>
                    <a:gd name="connsiteY313" fmla="*/ 48255 h 296821"/>
                    <a:gd name="connsiteX314" fmla="*/ 193434 w 357292"/>
                    <a:gd name="connsiteY314" fmla="*/ 47480 h 296821"/>
                    <a:gd name="connsiteX315" fmla="*/ 193809 w 357292"/>
                    <a:gd name="connsiteY315" fmla="*/ 45745 h 296821"/>
                    <a:gd name="connsiteX316" fmla="*/ 195961 w 357292"/>
                    <a:gd name="connsiteY316" fmla="*/ 44115 h 296821"/>
                    <a:gd name="connsiteX317" fmla="*/ 199921 w 357292"/>
                    <a:gd name="connsiteY317" fmla="*/ 42591 h 296821"/>
                    <a:gd name="connsiteX318" fmla="*/ 202170 w 357292"/>
                    <a:gd name="connsiteY318" fmla="*/ 41213 h 296821"/>
                    <a:gd name="connsiteX319" fmla="*/ 202969 w 357292"/>
                    <a:gd name="connsiteY319" fmla="*/ 40080 h 296821"/>
                    <a:gd name="connsiteX320" fmla="*/ 204306 w 357292"/>
                    <a:gd name="connsiteY320" fmla="*/ 39763 h 296821"/>
                    <a:gd name="connsiteX321" fmla="*/ 205765 w 357292"/>
                    <a:gd name="connsiteY321" fmla="*/ 40097 h 296821"/>
                    <a:gd name="connsiteX322" fmla="*/ 206799 w 357292"/>
                    <a:gd name="connsiteY322" fmla="*/ 39673 h 296821"/>
                    <a:gd name="connsiteX323" fmla="*/ 207175 w 357292"/>
                    <a:gd name="connsiteY323" fmla="*/ 38597 h 296821"/>
                    <a:gd name="connsiteX324" fmla="*/ 207590 w 357292"/>
                    <a:gd name="connsiteY324" fmla="*/ 38141 h 296821"/>
                    <a:gd name="connsiteX325" fmla="*/ 208324 w 357292"/>
                    <a:gd name="connsiteY325" fmla="*/ 37758 h 296821"/>
                    <a:gd name="connsiteX326" fmla="*/ 208984 w 357292"/>
                    <a:gd name="connsiteY326" fmla="*/ 37562 h 296821"/>
                    <a:gd name="connsiteX327" fmla="*/ 210198 w 357292"/>
                    <a:gd name="connsiteY327" fmla="*/ 37864 h 296821"/>
                    <a:gd name="connsiteX328" fmla="*/ 212415 w 357292"/>
                    <a:gd name="connsiteY328" fmla="*/ 39812 h 296821"/>
                    <a:gd name="connsiteX329" fmla="*/ 215650 w 357292"/>
                    <a:gd name="connsiteY329" fmla="*/ 43422 h 296821"/>
                    <a:gd name="connsiteX330" fmla="*/ 217745 w 357292"/>
                    <a:gd name="connsiteY330" fmla="*/ 45084 h 296821"/>
                    <a:gd name="connsiteX331" fmla="*/ 218723 w 357292"/>
                    <a:gd name="connsiteY331" fmla="*/ 44799 h 296821"/>
                    <a:gd name="connsiteX332" fmla="*/ 219945 w 357292"/>
                    <a:gd name="connsiteY332" fmla="*/ 43691 h 296821"/>
                    <a:gd name="connsiteX333" fmla="*/ 221453 w 357292"/>
                    <a:gd name="connsiteY333" fmla="*/ 41776 h 296821"/>
                    <a:gd name="connsiteX334" fmla="*/ 221836 w 357292"/>
                    <a:gd name="connsiteY334" fmla="*/ 39005 h 296821"/>
                    <a:gd name="connsiteX335" fmla="*/ 221078 w 357292"/>
                    <a:gd name="connsiteY335" fmla="*/ 35386 h 296821"/>
                    <a:gd name="connsiteX336" fmla="*/ 221600 w 357292"/>
                    <a:gd name="connsiteY336" fmla="*/ 32469 h 296821"/>
                    <a:gd name="connsiteX337" fmla="*/ 223384 w 357292"/>
                    <a:gd name="connsiteY337" fmla="*/ 30252 h 296821"/>
                    <a:gd name="connsiteX338" fmla="*/ 226693 w 357292"/>
                    <a:gd name="connsiteY338" fmla="*/ 28891 h 296821"/>
                    <a:gd name="connsiteX339" fmla="*/ 231534 w 357292"/>
                    <a:gd name="connsiteY339" fmla="*/ 28361 h 296821"/>
                    <a:gd name="connsiteX340" fmla="*/ 234492 w 357292"/>
                    <a:gd name="connsiteY340" fmla="*/ 28671 h 296821"/>
                    <a:gd name="connsiteX341" fmla="*/ 235601 w 357292"/>
                    <a:gd name="connsiteY341" fmla="*/ 29812 h 296821"/>
                    <a:gd name="connsiteX342" fmla="*/ 237092 w 357292"/>
                    <a:gd name="connsiteY342" fmla="*/ 30447 h 296821"/>
                    <a:gd name="connsiteX343" fmla="*/ 238950 w 357292"/>
                    <a:gd name="connsiteY343" fmla="*/ 30570 h 296821"/>
                    <a:gd name="connsiteX344" fmla="*/ 240653 w 357292"/>
                    <a:gd name="connsiteY344" fmla="*/ 29266 h 296821"/>
                    <a:gd name="connsiteX345" fmla="*/ 242218 w 357292"/>
                    <a:gd name="connsiteY345" fmla="*/ 26536 h 296821"/>
                    <a:gd name="connsiteX346" fmla="*/ 242300 w 357292"/>
                    <a:gd name="connsiteY346" fmla="*/ 23153 h 296821"/>
                    <a:gd name="connsiteX347" fmla="*/ 240922 w 357292"/>
                    <a:gd name="connsiteY347" fmla="*/ 19119 h 296821"/>
                    <a:gd name="connsiteX348" fmla="*/ 241298 w 357292"/>
                    <a:gd name="connsiteY348" fmla="*/ 17840 h 296821"/>
                    <a:gd name="connsiteX349" fmla="*/ 241900 w 357292"/>
                    <a:gd name="connsiteY349" fmla="*/ 17269 h 296821"/>
                    <a:gd name="connsiteX350" fmla="*/ 243750 w 357292"/>
                    <a:gd name="connsiteY350" fmla="*/ 15819 h 296821"/>
                    <a:gd name="connsiteX351" fmla="*/ 246342 w 357292"/>
                    <a:gd name="connsiteY351" fmla="*/ 12771 h 296821"/>
                    <a:gd name="connsiteX352" fmla="*/ 248844 w 357292"/>
                    <a:gd name="connsiteY352" fmla="*/ 8875 h 296821"/>
                    <a:gd name="connsiteX353" fmla="*/ 251256 w 357292"/>
                    <a:gd name="connsiteY353" fmla="*/ 4091 h 296821"/>
                    <a:gd name="connsiteX354" fmla="*/ 254231 w 357292"/>
                    <a:gd name="connsiteY354" fmla="*/ 1141 h 296821"/>
                    <a:gd name="connsiteX355" fmla="*/ 257785 w 357292"/>
                    <a:gd name="connsiteY355" fmla="*/ 0 h 296821"/>
                    <a:gd name="connsiteX356" fmla="*/ 262079 w 357292"/>
                    <a:gd name="connsiteY356" fmla="*/ 1296 h 296821"/>
                    <a:gd name="connsiteX357" fmla="*/ 267124 w 357292"/>
                    <a:gd name="connsiteY357" fmla="*/ 5012 h 296821"/>
                    <a:gd name="connsiteX358" fmla="*/ 269039 w 357292"/>
                    <a:gd name="connsiteY358" fmla="*/ 9600 h 296821"/>
                    <a:gd name="connsiteX359" fmla="*/ 267792 w 357292"/>
                    <a:gd name="connsiteY359" fmla="*/ 15036 h 296821"/>
                    <a:gd name="connsiteX360" fmla="*/ 267686 w 357292"/>
                    <a:gd name="connsiteY360" fmla="*/ 18035 h 296821"/>
                    <a:gd name="connsiteX361" fmla="*/ 268721 w 357292"/>
                    <a:gd name="connsiteY361" fmla="*/ 18590 h 296821"/>
                    <a:gd name="connsiteX362" fmla="*/ 270433 w 357292"/>
                    <a:gd name="connsiteY362" fmla="*/ 18443 h 296821"/>
                    <a:gd name="connsiteX363" fmla="*/ 272869 w 357292"/>
                    <a:gd name="connsiteY363" fmla="*/ 17587 h 296821"/>
                    <a:gd name="connsiteX364" fmla="*/ 274475 w 357292"/>
                    <a:gd name="connsiteY364" fmla="*/ 17538 h 296821"/>
                    <a:gd name="connsiteX365" fmla="*/ 275217 w 357292"/>
                    <a:gd name="connsiteY365" fmla="*/ 18313 h 296821"/>
                    <a:gd name="connsiteX366" fmla="*/ 275176 w 357292"/>
                    <a:gd name="connsiteY366" fmla="*/ 19845 h 296821"/>
                    <a:gd name="connsiteX367" fmla="*/ 274328 w 357292"/>
                    <a:gd name="connsiteY367" fmla="*/ 22143 h 296821"/>
                    <a:gd name="connsiteX368" fmla="*/ 273310 w 357292"/>
                    <a:gd name="connsiteY368" fmla="*/ 28581 h 296821"/>
                    <a:gd name="connsiteX369" fmla="*/ 272682 w 357292"/>
                    <a:gd name="connsiteY369" fmla="*/ 34156 h 296821"/>
                    <a:gd name="connsiteX370" fmla="*/ 272063 w 357292"/>
                    <a:gd name="connsiteY370" fmla="*/ 39640 h 296821"/>
                    <a:gd name="connsiteX371" fmla="*/ 271517 w 357292"/>
                    <a:gd name="connsiteY371" fmla="*/ 44449 h 296821"/>
                    <a:gd name="connsiteX372" fmla="*/ 272486 w 357292"/>
                    <a:gd name="connsiteY372" fmla="*/ 48189 h 296821"/>
                    <a:gd name="connsiteX373" fmla="*/ 273945 w 357292"/>
                    <a:gd name="connsiteY373" fmla="*/ 53845 h 296821"/>
                    <a:gd name="connsiteX374" fmla="*/ 275592 w 357292"/>
                    <a:gd name="connsiteY374" fmla="*/ 57578 h 296821"/>
                    <a:gd name="connsiteX375" fmla="*/ 277287 w 357292"/>
                    <a:gd name="connsiteY375" fmla="*/ 58768 h 296821"/>
                    <a:gd name="connsiteX376" fmla="*/ 278982 w 357292"/>
                    <a:gd name="connsiteY376" fmla="*/ 59200 h 296821"/>
                    <a:gd name="connsiteX377" fmla="*/ 280669 w 357292"/>
                    <a:gd name="connsiteY377" fmla="*/ 58857 h 296821"/>
                    <a:gd name="connsiteX378" fmla="*/ 284140 w 357292"/>
                    <a:gd name="connsiteY378" fmla="*/ 56470 h 296821"/>
                    <a:gd name="connsiteX379" fmla="*/ 289389 w 357292"/>
                    <a:gd name="connsiteY379" fmla="*/ 52004 h 296821"/>
                    <a:gd name="connsiteX380" fmla="*/ 294483 w 357292"/>
                    <a:gd name="connsiteY380" fmla="*/ 49265 h 296821"/>
                    <a:gd name="connsiteX381" fmla="*/ 301891 w 357292"/>
                    <a:gd name="connsiteY381" fmla="*/ 47733 h 296821"/>
                    <a:gd name="connsiteX382" fmla="*/ 304360 w 357292"/>
                    <a:gd name="connsiteY382" fmla="*/ 42941 h 296821"/>
                    <a:gd name="connsiteX383" fmla="*/ 307783 w 357292"/>
                    <a:gd name="connsiteY383" fmla="*/ 39779 h 296821"/>
                    <a:gd name="connsiteX384" fmla="*/ 315615 w 357292"/>
                    <a:gd name="connsiteY384" fmla="*/ 35076 h 296821"/>
                    <a:gd name="connsiteX385" fmla="*/ 319877 w 357292"/>
                    <a:gd name="connsiteY385" fmla="*/ 33284 h 296821"/>
                    <a:gd name="connsiteX386" fmla="*/ 322322 w 357292"/>
                    <a:gd name="connsiteY386" fmla="*/ 32966 h 296821"/>
                    <a:gd name="connsiteX387" fmla="*/ 325386 w 357292"/>
                    <a:gd name="connsiteY387" fmla="*/ 33821 h 296821"/>
                    <a:gd name="connsiteX388" fmla="*/ 326079 w 357292"/>
                    <a:gd name="connsiteY388" fmla="*/ 34123 h 296821"/>
                    <a:gd name="connsiteX389" fmla="*/ 326682 w 357292"/>
                    <a:gd name="connsiteY389" fmla="*/ 34343 h 296821"/>
                    <a:gd name="connsiteX390" fmla="*/ 328263 w 357292"/>
                    <a:gd name="connsiteY390" fmla="*/ 34734 h 296821"/>
                    <a:gd name="connsiteX391" fmla="*/ 328581 w 357292"/>
                    <a:gd name="connsiteY391" fmla="*/ 36169 h 296821"/>
                    <a:gd name="connsiteX392" fmla="*/ 328166 w 357292"/>
                    <a:gd name="connsiteY392" fmla="*/ 37717 h 296821"/>
                    <a:gd name="connsiteX393" fmla="*/ 326470 w 357292"/>
                    <a:gd name="connsiteY393" fmla="*/ 38988 h 296821"/>
                    <a:gd name="connsiteX394" fmla="*/ 325957 w 357292"/>
                    <a:gd name="connsiteY394" fmla="*/ 39974 h 296821"/>
                    <a:gd name="connsiteX395" fmla="*/ 326601 w 357292"/>
                    <a:gd name="connsiteY395" fmla="*/ 40716 h 296821"/>
                    <a:gd name="connsiteX396" fmla="*/ 328972 w 357292"/>
                    <a:gd name="connsiteY396" fmla="*/ 40969 h 296821"/>
                    <a:gd name="connsiteX397" fmla="*/ 333919 w 357292"/>
                    <a:gd name="connsiteY397" fmla="*/ 39257 h 296821"/>
                    <a:gd name="connsiteX398" fmla="*/ 337114 w 357292"/>
                    <a:gd name="connsiteY398" fmla="*/ 38157 h 296821"/>
                    <a:gd name="connsiteX399" fmla="*/ 339339 w 357292"/>
                    <a:gd name="connsiteY399" fmla="*/ 37717 h 296821"/>
                    <a:gd name="connsiteX400" fmla="*/ 340227 w 357292"/>
                    <a:gd name="connsiteY400" fmla="*/ 36283 h 296821"/>
                    <a:gd name="connsiteX401" fmla="*/ 341629 w 357292"/>
                    <a:gd name="connsiteY401" fmla="*/ 34848 h 296821"/>
                    <a:gd name="connsiteX402" fmla="*/ 343837 w 357292"/>
                    <a:gd name="connsiteY402" fmla="*/ 34734 h 296821"/>
                    <a:gd name="connsiteX403" fmla="*/ 346217 w 357292"/>
                    <a:gd name="connsiteY403" fmla="*/ 35508 h 296821"/>
                    <a:gd name="connsiteX404" fmla="*/ 348181 w 357292"/>
                    <a:gd name="connsiteY404" fmla="*/ 35949 h 296821"/>
                    <a:gd name="connsiteX405" fmla="*/ 351539 w 357292"/>
                    <a:gd name="connsiteY405" fmla="*/ 35549 h 296821"/>
                    <a:gd name="connsiteX406" fmla="*/ 353299 w 357292"/>
                    <a:gd name="connsiteY406" fmla="*/ 36796 h 296821"/>
                    <a:gd name="connsiteX407" fmla="*/ 355777 w 357292"/>
                    <a:gd name="connsiteY407" fmla="*/ 39168 h 296821"/>
                    <a:gd name="connsiteX408" fmla="*/ 356893 w 357292"/>
                    <a:gd name="connsiteY408" fmla="*/ 40626 h 296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Lst>
                  <a:rect l="l" t="t" r="r" b="b"/>
                  <a:pathLst>
                    <a:path w="357292" h="296821">
                      <a:moveTo>
                        <a:pt x="357292" y="40977"/>
                      </a:moveTo>
                      <a:lnTo>
                        <a:pt x="356021" y="41197"/>
                      </a:lnTo>
                      <a:lnTo>
                        <a:pt x="354228" y="40390"/>
                      </a:lnTo>
                      <a:lnTo>
                        <a:pt x="353519" y="39176"/>
                      </a:lnTo>
                      <a:lnTo>
                        <a:pt x="353218" y="39013"/>
                      </a:lnTo>
                      <a:lnTo>
                        <a:pt x="351775" y="39803"/>
                      </a:lnTo>
                      <a:lnTo>
                        <a:pt x="349053" y="40814"/>
                      </a:lnTo>
                      <a:lnTo>
                        <a:pt x="344424" y="43446"/>
                      </a:lnTo>
                      <a:lnTo>
                        <a:pt x="344506" y="44115"/>
                      </a:lnTo>
                      <a:lnTo>
                        <a:pt x="347529" y="46788"/>
                      </a:lnTo>
                      <a:lnTo>
                        <a:pt x="348246" y="47676"/>
                      </a:lnTo>
                      <a:lnTo>
                        <a:pt x="348605" y="47953"/>
                      </a:lnTo>
                      <a:lnTo>
                        <a:pt x="345875" y="49241"/>
                      </a:lnTo>
                      <a:lnTo>
                        <a:pt x="340015" y="52126"/>
                      </a:lnTo>
                      <a:lnTo>
                        <a:pt x="336152" y="54497"/>
                      </a:lnTo>
                      <a:lnTo>
                        <a:pt x="335231" y="54579"/>
                      </a:lnTo>
                      <a:lnTo>
                        <a:pt x="332900" y="53593"/>
                      </a:lnTo>
                      <a:lnTo>
                        <a:pt x="329461" y="52403"/>
                      </a:lnTo>
                      <a:lnTo>
                        <a:pt x="328532" y="52427"/>
                      </a:lnTo>
                      <a:lnTo>
                        <a:pt x="320586" y="52631"/>
                      </a:lnTo>
                      <a:lnTo>
                        <a:pt x="313276" y="53063"/>
                      </a:lnTo>
                      <a:lnTo>
                        <a:pt x="310228" y="53633"/>
                      </a:lnTo>
                      <a:lnTo>
                        <a:pt x="304588" y="54188"/>
                      </a:lnTo>
                      <a:lnTo>
                        <a:pt x="301027" y="54367"/>
                      </a:lnTo>
                      <a:lnTo>
                        <a:pt x="298761" y="55280"/>
                      </a:lnTo>
                      <a:lnTo>
                        <a:pt x="296275" y="56486"/>
                      </a:lnTo>
                      <a:lnTo>
                        <a:pt x="293692" y="57260"/>
                      </a:lnTo>
                      <a:lnTo>
                        <a:pt x="291777" y="57521"/>
                      </a:lnTo>
                      <a:lnTo>
                        <a:pt x="289462" y="58637"/>
                      </a:lnTo>
                      <a:lnTo>
                        <a:pt x="287955" y="60870"/>
                      </a:lnTo>
                      <a:lnTo>
                        <a:pt x="283619" y="64179"/>
                      </a:lnTo>
                      <a:lnTo>
                        <a:pt x="281174" y="65776"/>
                      </a:lnTo>
                      <a:lnTo>
                        <a:pt x="279944" y="67578"/>
                      </a:lnTo>
                      <a:lnTo>
                        <a:pt x="278550" y="67749"/>
                      </a:lnTo>
                      <a:lnTo>
                        <a:pt x="276170" y="67423"/>
                      </a:lnTo>
                      <a:lnTo>
                        <a:pt x="274320" y="69371"/>
                      </a:lnTo>
                      <a:lnTo>
                        <a:pt x="272266" y="72174"/>
                      </a:lnTo>
                      <a:lnTo>
                        <a:pt x="268534" y="76225"/>
                      </a:lnTo>
                      <a:lnTo>
                        <a:pt x="266562" y="77854"/>
                      </a:lnTo>
                      <a:lnTo>
                        <a:pt x="265364" y="80495"/>
                      </a:lnTo>
                      <a:lnTo>
                        <a:pt x="266244" y="81864"/>
                      </a:lnTo>
                      <a:lnTo>
                        <a:pt x="269283" y="83918"/>
                      </a:lnTo>
                      <a:lnTo>
                        <a:pt x="270645" y="85857"/>
                      </a:lnTo>
                      <a:lnTo>
                        <a:pt x="271387" y="87390"/>
                      </a:lnTo>
                      <a:lnTo>
                        <a:pt x="272772" y="91326"/>
                      </a:lnTo>
                      <a:lnTo>
                        <a:pt x="273652" y="95197"/>
                      </a:lnTo>
                      <a:lnTo>
                        <a:pt x="274964" y="96868"/>
                      </a:lnTo>
                      <a:lnTo>
                        <a:pt x="275339" y="99704"/>
                      </a:lnTo>
                      <a:lnTo>
                        <a:pt x="275673" y="101456"/>
                      </a:lnTo>
                      <a:lnTo>
                        <a:pt x="274964" y="102695"/>
                      </a:lnTo>
                      <a:lnTo>
                        <a:pt x="274312" y="104080"/>
                      </a:lnTo>
                      <a:lnTo>
                        <a:pt x="274312" y="105376"/>
                      </a:lnTo>
                      <a:lnTo>
                        <a:pt x="275103" y="106729"/>
                      </a:lnTo>
                      <a:lnTo>
                        <a:pt x="275795" y="107919"/>
                      </a:lnTo>
                      <a:lnTo>
                        <a:pt x="276170" y="108872"/>
                      </a:lnTo>
                      <a:lnTo>
                        <a:pt x="275706" y="109932"/>
                      </a:lnTo>
                      <a:lnTo>
                        <a:pt x="274312" y="111562"/>
                      </a:lnTo>
                      <a:lnTo>
                        <a:pt x="273603" y="113216"/>
                      </a:lnTo>
                      <a:lnTo>
                        <a:pt x="272071" y="115987"/>
                      </a:lnTo>
                      <a:lnTo>
                        <a:pt x="269666" y="117870"/>
                      </a:lnTo>
                      <a:lnTo>
                        <a:pt x="268069" y="119247"/>
                      </a:lnTo>
                      <a:lnTo>
                        <a:pt x="266374" y="122148"/>
                      </a:lnTo>
                      <a:lnTo>
                        <a:pt x="263595" y="125367"/>
                      </a:lnTo>
                      <a:lnTo>
                        <a:pt x="262405" y="128057"/>
                      </a:lnTo>
                      <a:lnTo>
                        <a:pt x="261183" y="129540"/>
                      </a:lnTo>
                      <a:lnTo>
                        <a:pt x="259928" y="130339"/>
                      </a:lnTo>
                      <a:lnTo>
                        <a:pt x="260254" y="131781"/>
                      </a:lnTo>
                      <a:lnTo>
                        <a:pt x="261346" y="133591"/>
                      </a:lnTo>
                      <a:lnTo>
                        <a:pt x="263155" y="135612"/>
                      </a:lnTo>
                      <a:lnTo>
                        <a:pt x="263074" y="138766"/>
                      </a:lnTo>
                      <a:lnTo>
                        <a:pt x="262984" y="141039"/>
                      </a:lnTo>
                      <a:lnTo>
                        <a:pt x="263041" y="143786"/>
                      </a:lnTo>
                      <a:lnTo>
                        <a:pt x="262063" y="146092"/>
                      </a:lnTo>
                      <a:lnTo>
                        <a:pt x="257019" y="148309"/>
                      </a:lnTo>
                      <a:lnTo>
                        <a:pt x="252194" y="149287"/>
                      </a:lnTo>
                      <a:lnTo>
                        <a:pt x="246293" y="149344"/>
                      </a:lnTo>
                      <a:lnTo>
                        <a:pt x="244052" y="148994"/>
                      </a:lnTo>
                      <a:lnTo>
                        <a:pt x="242259" y="148504"/>
                      </a:lnTo>
                      <a:lnTo>
                        <a:pt x="235845" y="146027"/>
                      </a:lnTo>
                      <a:lnTo>
                        <a:pt x="233237" y="147486"/>
                      </a:lnTo>
                      <a:lnTo>
                        <a:pt x="232708" y="151072"/>
                      </a:lnTo>
                      <a:lnTo>
                        <a:pt x="237385" y="156882"/>
                      </a:lnTo>
                      <a:lnTo>
                        <a:pt x="239301" y="160126"/>
                      </a:lnTo>
                      <a:lnTo>
                        <a:pt x="241436" y="165546"/>
                      </a:lnTo>
                      <a:lnTo>
                        <a:pt x="243025" y="168341"/>
                      </a:lnTo>
                      <a:lnTo>
                        <a:pt x="242455" y="170957"/>
                      </a:lnTo>
                      <a:lnTo>
                        <a:pt x="238217" y="173915"/>
                      </a:lnTo>
                      <a:lnTo>
                        <a:pt x="234003" y="176711"/>
                      </a:lnTo>
                      <a:lnTo>
                        <a:pt x="228633" y="177289"/>
                      </a:lnTo>
                      <a:lnTo>
                        <a:pt x="225259" y="178284"/>
                      </a:lnTo>
                      <a:lnTo>
                        <a:pt x="223604" y="179718"/>
                      </a:lnTo>
                      <a:lnTo>
                        <a:pt x="222414" y="185814"/>
                      </a:lnTo>
                      <a:lnTo>
                        <a:pt x="221208" y="188047"/>
                      </a:lnTo>
                      <a:lnTo>
                        <a:pt x="221233" y="190696"/>
                      </a:lnTo>
                      <a:lnTo>
                        <a:pt x="220100" y="193695"/>
                      </a:lnTo>
                      <a:lnTo>
                        <a:pt x="218364" y="195643"/>
                      </a:lnTo>
                      <a:lnTo>
                        <a:pt x="217158" y="198788"/>
                      </a:lnTo>
                      <a:lnTo>
                        <a:pt x="217533" y="204770"/>
                      </a:lnTo>
                      <a:lnTo>
                        <a:pt x="218103" y="214900"/>
                      </a:lnTo>
                      <a:lnTo>
                        <a:pt x="215805" y="218103"/>
                      </a:lnTo>
                      <a:lnTo>
                        <a:pt x="213238" y="221322"/>
                      </a:lnTo>
                      <a:lnTo>
                        <a:pt x="210516" y="223629"/>
                      </a:lnTo>
                      <a:lnTo>
                        <a:pt x="207924" y="224696"/>
                      </a:lnTo>
                      <a:lnTo>
                        <a:pt x="205773" y="224305"/>
                      </a:lnTo>
                      <a:lnTo>
                        <a:pt x="204070" y="222308"/>
                      </a:lnTo>
                      <a:lnTo>
                        <a:pt x="203075" y="220630"/>
                      </a:lnTo>
                      <a:lnTo>
                        <a:pt x="201193" y="219228"/>
                      </a:lnTo>
                      <a:lnTo>
                        <a:pt x="199285" y="219521"/>
                      </a:lnTo>
                      <a:lnTo>
                        <a:pt x="197370" y="220801"/>
                      </a:lnTo>
                      <a:lnTo>
                        <a:pt x="194306" y="220377"/>
                      </a:lnTo>
                      <a:lnTo>
                        <a:pt x="191674" y="219097"/>
                      </a:lnTo>
                      <a:lnTo>
                        <a:pt x="190362" y="219228"/>
                      </a:lnTo>
                      <a:lnTo>
                        <a:pt x="189604" y="220524"/>
                      </a:lnTo>
                      <a:lnTo>
                        <a:pt x="186800" y="223278"/>
                      </a:lnTo>
                      <a:lnTo>
                        <a:pt x="179922" y="227475"/>
                      </a:lnTo>
                      <a:lnTo>
                        <a:pt x="177110" y="227777"/>
                      </a:lnTo>
                      <a:lnTo>
                        <a:pt x="175920" y="228820"/>
                      </a:lnTo>
                      <a:lnTo>
                        <a:pt x="176385" y="230540"/>
                      </a:lnTo>
                      <a:lnTo>
                        <a:pt x="177624" y="231950"/>
                      </a:lnTo>
                      <a:lnTo>
                        <a:pt x="179759" y="232936"/>
                      </a:lnTo>
                      <a:lnTo>
                        <a:pt x="179873" y="234077"/>
                      </a:lnTo>
                      <a:lnTo>
                        <a:pt x="177982" y="235079"/>
                      </a:lnTo>
                      <a:lnTo>
                        <a:pt x="176360" y="236212"/>
                      </a:lnTo>
                      <a:lnTo>
                        <a:pt x="172799" y="237605"/>
                      </a:lnTo>
                      <a:lnTo>
                        <a:pt x="168692" y="238143"/>
                      </a:lnTo>
                      <a:lnTo>
                        <a:pt x="164446" y="237345"/>
                      </a:lnTo>
                      <a:lnTo>
                        <a:pt x="162261" y="235495"/>
                      </a:lnTo>
                      <a:lnTo>
                        <a:pt x="159702" y="235315"/>
                      </a:lnTo>
                      <a:lnTo>
                        <a:pt x="157339" y="236668"/>
                      </a:lnTo>
                      <a:lnTo>
                        <a:pt x="154910" y="238901"/>
                      </a:lnTo>
                      <a:lnTo>
                        <a:pt x="152253" y="243693"/>
                      </a:lnTo>
                      <a:lnTo>
                        <a:pt x="151545" y="244525"/>
                      </a:lnTo>
                      <a:lnTo>
                        <a:pt x="150819" y="245291"/>
                      </a:lnTo>
                      <a:lnTo>
                        <a:pt x="149108" y="246318"/>
                      </a:lnTo>
                      <a:lnTo>
                        <a:pt x="146614" y="248005"/>
                      </a:lnTo>
                      <a:lnTo>
                        <a:pt x="145367" y="251533"/>
                      </a:lnTo>
                      <a:lnTo>
                        <a:pt x="143875" y="257801"/>
                      </a:lnTo>
                      <a:lnTo>
                        <a:pt x="144226" y="261183"/>
                      </a:lnTo>
                      <a:lnTo>
                        <a:pt x="144348" y="267026"/>
                      </a:lnTo>
                      <a:lnTo>
                        <a:pt x="143761" y="271125"/>
                      </a:lnTo>
                      <a:lnTo>
                        <a:pt x="142694" y="273823"/>
                      </a:lnTo>
                      <a:lnTo>
                        <a:pt x="142897" y="275942"/>
                      </a:lnTo>
                      <a:lnTo>
                        <a:pt x="144536" y="278354"/>
                      </a:lnTo>
                      <a:lnTo>
                        <a:pt x="143875" y="279903"/>
                      </a:lnTo>
                      <a:lnTo>
                        <a:pt x="142506" y="281647"/>
                      </a:lnTo>
                      <a:lnTo>
                        <a:pt x="141162" y="282608"/>
                      </a:lnTo>
                      <a:lnTo>
                        <a:pt x="135816" y="284434"/>
                      </a:lnTo>
                      <a:lnTo>
                        <a:pt x="128481" y="286920"/>
                      </a:lnTo>
                      <a:lnTo>
                        <a:pt x="123648" y="288509"/>
                      </a:lnTo>
                      <a:lnTo>
                        <a:pt x="116436" y="290872"/>
                      </a:lnTo>
                      <a:lnTo>
                        <a:pt x="114333" y="291459"/>
                      </a:lnTo>
                      <a:lnTo>
                        <a:pt x="109956" y="291679"/>
                      </a:lnTo>
                      <a:lnTo>
                        <a:pt x="107683" y="291312"/>
                      </a:lnTo>
                      <a:lnTo>
                        <a:pt x="104618" y="291215"/>
                      </a:lnTo>
                      <a:lnTo>
                        <a:pt x="100087" y="291296"/>
                      </a:lnTo>
                      <a:lnTo>
                        <a:pt x="96925" y="291948"/>
                      </a:lnTo>
                      <a:lnTo>
                        <a:pt x="93763" y="293146"/>
                      </a:lnTo>
                      <a:lnTo>
                        <a:pt x="91440" y="294629"/>
                      </a:lnTo>
                      <a:lnTo>
                        <a:pt x="90095" y="296112"/>
                      </a:lnTo>
                      <a:lnTo>
                        <a:pt x="89615" y="296821"/>
                      </a:lnTo>
                      <a:lnTo>
                        <a:pt x="86444" y="295607"/>
                      </a:lnTo>
                      <a:lnTo>
                        <a:pt x="76437" y="293423"/>
                      </a:lnTo>
                      <a:lnTo>
                        <a:pt x="49371" y="296300"/>
                      </a:lnTo>
                      <a:lnTo>
                        <a:pt x="46820" y="295754"/>
                      </a:lnTo>
                      <a:lnTo>
                        <a:pt x="37587" y="292396"/>
                      </a:lnTo>
                      <a:lnTo>
                        <a:pt x="25696" y="288060"/>
                      </a:lnTo>
                      <a:lnTo>
                        <a:pt x="18329" y="285379"/>
                      </a:lnTo>
                      <a:lnTo>
                        <a:pt x="8883" y="281875"/>
                      </a:lnTo>
                      <a:lnTo>
                        <a:pt x="15346" y="273220"/>
                      </a:lnTo>
                      <a:lnTo>
                        <a:pt x="20978" y="265657"/>
                      </a:lnTo>
                      <a:lnTo>
                        <a:pt x="26625" y="258086"/>
                      </a:lnTo>
                      <a:lnTo>
                        <a:pt x="32208" y="250596"/>
                      </a:lnTo>
                      <a:lnTo>
                        <a:pt x="32868" y="247972"/>
                      </a:lnTo>
                      <a:lnTo>
                        <a:pt x="32950" y="242838"/>
                      </a:lnTo>
                      <a:lnTo>
                        <a:pt x="31483" y="235967"/>
                      </a:lnTo>
                      <a:lnTo>
                        <a:pt x="29127" y="232830"/>
                      </a:lnTo>
                      <a:lnTo>
                        <a:pt x="21352" y="231567"/>
                      </a:lnTo>
                      <a:lnTo>
                        <a:pt x="15501" y="230613"/>
                      </a:lnTo>
                      <a:lnTo>
                        <a:pt x="9136" y="229578"/>
                      </a:lnTo>
                      <a:lnTo>
                        <a:pt x="8305" y="229195"/>
                      </a:lnTo>
                      <a:lnTo>
                        <a:pt x="7588" y="223841"/>
                      </a:lnTo>
                      <a:lnTo>
                        <a:pt x="7905" y="221453"/>
                      </a:lnTo>
                      <a:lnTo>
                        <a:pt x="7490" y="216832"/>
                      </a:lnTo>
                      <a:lnTo>
                        <a:pt x="7555" y="213279"/>
                      </a:lnTo>
                      <a:lnTo>
                        <a:pt x="8468" y="207411"/>
                      </a:lnTo>
                      <a:lnTo>
                        <a:pt x="8525" y="204770"/>
                      </a:lnTo>
                      <a:lnTo>
                        <a:pt x="5575" y="193385"/>
                      </a:lnTo>
                      <a:lnTo>
                        <a:pt x="3945" y="187069"/>
                      </a:lnTo>
                      <a:lnTo>
                        <a:pt x="2258" y="180533"/>
                      </a:lnTo>
                      <a:lnTo>
                        <a:pt x="1883" y="178455"/>
                      </a:lnTo>
                      <a:lnTo>
                        <a:pt x="1850" y="175879"/>
                      </a:lnTo>
                      <a:lnTo>
                        <a:pt x="5770" y="169824"/>
                      </a:lnTo>
                      <a:lnTo>
                        <a:pt x="6968" y="168512"/>
                      </a:lnTo>
                      <a:lnTo>
                        <a:pt x="9266" y="165497"/>
                      </a:lnTo>
                      <a:lnTo>
                        <a:pt x="10701" y="163891"/>
                      </a:lnTo>
                      <a:lnTo>
                        <a:pt x="10448" y="162799"/>
                      </a:lnTo>
                      <a:lnTo>
                        <a:pt x="7954" y="162155"/>
                      </a:lnTo>
                      <a:lnTo>
                        <a:pt x="4197" y="162098"/>
                      </a:lnTo>
                      <a:lnTo>
                        <a:pt x="2184" y="161177"/>
                      </a:lnTo>
                      <a:lnTo>
                        <a:pt x="628" y="159531"/>
                      </a:lnTo>
                      <a:lnTo>
                        <a:pt x="0" y="157143"/>
                      </a:lnTo>
                      <a:lnTo>
                        <a:pt x="1027" y="152889"/>
                      </a:lnTo>
                      <a:lnTo>
                        <a:pt x="0" y="144617"/>
                      </a:lnTo>
                      <a:lnTo>
                        <a:pt x="2103" y="140526"/>
                      </a:lnTo>
                      <a:lnTo>
                        <a:pt x="3896" y="137657"/>
                      </a:lnTo>
                      <a:lnTo>
                        <a:pt x="10016" y="137258"/>
                      </a:lnTo>
                      <a:lnTo>
                        <a:pt x="7897" y="134022"/>
                      </a:lnTo>
                      <a:lnTo>
                        <a:pt x="6870" y="132140"/>
                      </a:lnTo>
                      <a:lnTo>
                        <a:pt x="6218" y="131602"/>
                      </a:lnTo>
                      <a:lnTo>
                        <a:pt x="5958" y="130738"/>
                      </a:lnTo>
                      <a:lnTo>
                        <a:pt x="6292" y="129866"/>
                      </a:lnTo>
                      <a:lnTo>
                        <a:pt x="7856" y="129540"/>
                      </a:lnTo>
                      <a:lnTo>
                        <a:pt x="8916" y="128456"/>
                      </a:lnTo>
                      <a:lnTo>
                        <a:pt x="10644" y="126924"/>
                      </a:lnTo>
                      <a:lnTo>
                        <a:pt x="11548" y="126280"/>
                      </a:lnTo>
                      <a:lnTo>
                        <a:pt x="11711" y="124438"/>
                      </a:lnTo>
                      <a:lnTo>
                        <a:pt x="12527" y="123126"/>
                      </a:lnTo>
                      <a:lnTo>
                        <a:pt x="13757" y="121496"/>
                      </a:lnTo>
                      <a:lnTo>
                        <a:pt x="14735" y="119646"/>
                      </a:lnTo>
                      <a:lnTo>
                        <a:pt x="14498" y="117470"/>
                      </a:lnTo>
                      <a:lnTo>
                        <a:pt x="15403" y="114854"/>
                      </a:lnTo>
                      <a:lnTo>
                        <a:pt x="15811" y="113224"/>
                      </a:lnTo>
                      <a:lnTo>
                        <a:pt x="16471" y="111806"/>
                      </a:lnTo>
                      <a:lnTo>
                        <a:pt x="15892" y="109744"/>
                      </a:lnTo>
                      <a:lnTo>
                        <a:pt x="15403" y="108000"/>
                      </a:lnTo>
                      <a:lnTo>
                        <a:pt x="15240" y="105930"/>
                      </a:lnTo>
                      <a:lnTo>
                        <a:pt x="16218" y="105376"/>
                      </a:lnTo>
                      <a:lnTo>
                        <a:pt x="17449" y="104610"/>
                      </a:lnTo>
                      <a:lnTo>
                        <a:pt x="17693" y="102980"/>
                      </a:lnTo>
                      <a:lnTo>
                        <a:pt x="18353" y="100910"/>
                      </a:lnTo>
                      <a:lnTo>
                        <a:pt x="18842" y="99272"/>
                      </a:lnTo>
                      <a:lnTo>
                        <a:pt x="19666" y="97960"/>
                      </a:lnTo>
                      <a:lnTo>
                        <a:pt x="19747" y="96656"/>
                      </a:lnTo>
                      <a:lnTo>
                        <a:pt x="19258" y="94464"/>
                      </a:lnTo>
                      <a:lnTo>
                        <a:pt x="21311" y="94138"/>
                      </a:lnTo>
                      <a:lnTo>
                        <a:pt x="22127" y="95336"/>
                      </a:lnTo>
                      <a:lnTo>
                        <a:pt x="23211" y="96900"/>
                      </a:lnTo>
                      <a:lnTo>
                        <a:pt x="26226" y="99802"/>
                      </a:lnTo>
                      <a:lnTo>
                        <a:pt x="28157" y="100649"/>
                      </a:lnTo>
                      <a:lnTo>
                        <a:pt x="30602" y="101073"/>
                      </a:lnTo>
                      <a:lnTo>
                        <a:pt x="33610" y="100674"/>
                      </a:lnTo>
                      <a:lnTo>
                        <a:pt x="36030" y="100136"/>
                      </a:lnTo>
                      <a:lnTo>
                        <a:pt x="37163" y="100274"/>
                      </a:lnTo>
                      <a:lnTo>
                        <a:pt x="39787" y="102385"/>
                      </a:lnTo>
                      <a:lnTo>
                        <a:pt x="42843" y="105335"/>
                      </a:lnTo>
                      <a:lnTo>
                        <a:pt x="43829" y="106647"/>
                      </a:lnTo>
                      <a:lnTo>
                        <a:pt x="44286" y="108669"/>
                      </a:lnTo>
                      <a:lnTo>
                        <a:pt x="45199" y="109264"/>
                      </a:lnTo>
                      <a:lnTo>
                        <a:pt x="47146" y="107275"/>
                      </a:lnTo>
                      <a:lnTo>
                        <a:pt x="49037" y="106615"/>
                      </a:lnTo>
                      <a:lnTo>
                        <a:pt x="50781" y="106990"/>
                      </a:lnTo>
                      <a:lnTo>
                        <a:pt x="52713" y="107218"/>
                      </a:lnTo>
                      <a:lnTo>
                        <a:pt x="54628" y="106484"/>
                      </a:lnTo>
                      <a:lnTo>
                        <a:pt x="55475" y="105955"/>
                      </a:lnTo>
                      <a:lnTo>
                        <a:pt x="58849" y="103379"/>
                      </a:lnTo>
                      <a:lnTo>
                        <a:pt x="61873" y="101415"/>
                      </a:lnTo>
                      <a:lnTo>
                        <a:pt x="63772" y="100201"/>
                      </a:lnTo>
                      <a:lnTo>
                        <a:pt x="64448" y="96167"/>
                      </a:lnTo>
                      <a:lnTo>
                        <a:pt x="65320" y="93877"/>
                      </a:lnTo>
                      <a:lnTo>
                        <a:pt x="66567" y="92532"/>
                      </a:lnTo>
                      <a:lnTo>
                        <a:pt x="66103" y="90878"/>
                      </a:lnTo>
                      <a:lnTo>
                        <a:pt x="65589" y="89606"/>
                      </a:lnTo>
                      <a:lnTo>
                        <a:pt x="65060" y="87887"/>
                      </a:lnTo>
                      <a:lnTo>
                        <a:pt x="65589" y="86974"/>
                      </a:lnTo>
                      <a:lnTo>
                        <a:pt x="66787" y="86567"/>
                      </a:lnTo>
                      <a:lnTo>
                        <a:pt x="69843" y="86567"/>
                      </a:lnTo>
                      <a:lnTo>
                        <a:pt x="75182" y="84757"/>
                      </a:lnTo>
                      <a:lnTo>
                        <a:pt x="79639" y="82956"/>
                      </a:lnTo>
                      <a:lnTo>
                        <a:pt x="83755" y="81481"/>
                      </a:lnTo>
                      <a:lnTo>
                        <a:pt x="85637" y="81237"/>
                      </a:lnTo>
                      <a:lnTo>
                        <a:pt x="87398" y="81489"/>
                      </a:lnTo>
                      <a:lnTo>
                        <a:pt x="88213" y="81057"/>
                      </a:lnTo>
                      <a:lnTo>
                        <a:pt x="88441" y="79656"/>
                      </a:lnTo>
                      <a:lnTo>
                        <a:pt x="89452" y="78156"/>
                      </a:lnTo>
                      <a:lnTo>
                        <a:pt x="91742" y="76958"/>
                      </a:lnTo>
                      <a:lnTo>
                        <a:pt x="96045" y="74399"/>
                      </a:lnTo>
                      <a:lnTo>
                        <a:pt x="99843" y="70609"/>
                      </a:lnTo>
                      <a:lnTo>
                        <a:pt x="101204" y="67716"/>
                      </a:lnTo>
                      <a:lnTo>
                        <a:pt x="102100" y="63503"/>
                      </a:lnTo>
                      <a:lnTo>
                        <a:pt x="103885" y="56999"/>
                      </a:lnTo>
                      <a:lnTo>
                        <a:pt x="105841" y="49868"/>
                      </a:lnTo>
                      <a:lnTo>
                        <a:pt x="106566" y="46722"/>
                      </a:lnTo>
                      <a:lnTo>
                        <a:pt x="107422" y="44294"/>
                      </a:lnTo>
                      <a:lnTo>
                        <a:pt x="110772" y="42248"/>
                      </a:lnTo>
                      <a:lnTo>
                        <a:pt x="114194" y="40773"/>
                      </a:lnTo>
                      <a:lnTo>
                        <a:pt x="119500" y="40472"/>
                      </a:lnTo>
                      <a:lnTo>
                        <a:pt x="125726" y="40325"/>
                      </a:lnTo>
                      <a:lnTo>
                        <a:pt x="127046" y="36413"/>
                      </a:lnTo>
                      <a:lnTo>
                        <a:pt x="127861" y="33096"/>
                      </a:lnTo>
                      <a:lnTo>
                        <a:pt x="128904" y="31385"/>
                      </a:lnTo>
                      <a:lnTo>
                        <a:pt x="130412" y="29991"/>
                      </a:lnTo>
                      <a:lnTo>
                        <a:pt x="130942" y="29714"/>
                      </a:lnTo>
                      <a:lnTo>
                        <a:pt x="134299" y="31751"/>
                      </a:lnTo>
                      <a:lnTo>
                        <a:pt x="139458" y="34865"/>
                      </a:lnTo>
                      <a:lnTo>
                        <a:pt x="145457" y="36421"/>
                      </a:lnTo>
                      <a:lnTo>
                        <a:pt x="148480" y="37204"/>
                      </a:lnTo>
                      <a:lnTo>
                        <a:pt x="149727" y="37081"/>
                      </a:lnTo>
                      <a:lnTo>
                        <a:pt x="157298" y="36315"/>
                      </a:lnTo>
                      <a:lnTo>
                        <a:pt x="163280" y="37538"/>
                      </a:lnTo>
                      <a:lnTo>
                        <a:pt x="166418" y="40855"/>
                      </a:lnTo>
                      <a:lnTo>
                        <a:pt x="169506" y="41719"/>
                      </a:lnTo>
                      <a:lnTo>
                        <a:pt x="172522" y="40097"/>
                      </a:lnTo>
                      <a:lnTo>
                        <a:pt x="174404" y="39803"/>
                      </a:lnTo>
                      <a:lnTo>
                        <a:pt x="175122" y="40847"/>
                      </a:lnTo>
                      <a:lnTo>
                        <a:pt x="176637" y="41278"/>
                      </a:lnTo>
                      <a:lnTo>
                        <a:pt x="178928" y="41124"/>
                      </a:lnTo>
                      <a:lnTo>
                        <a:pt x="180248" y="42036"/>
                      </a:lnTo>
                      <a:lnTo>
                        <a:pt x="180403" y="42957"/>
                      </a:lnTo>
                      <a:lnTo>
                        <a:pt x="180574" y="44025"/>
                      </a:lnTo>
                      <a:lnTo>
                        <a:pt x="182269" y="46551"/>
                      </a:lnTo>
                      <a:lnTo>
                        <a:pt x="185333" y="49624"/>
                      </a:lnTo>
                      <a:lnTo>
                        <a:pt x="188055" y="50365"/>
                      </a:lnTo>
                      <a:lnTo>
                        <a:pt x="191641" y="47978"/>
                      </a:lnTo>
                      <a:lnTo>
                        <a:pt x="192839" y="48255"/>
                      </a:lnTo>
                      <a:lnTo>
                        <a:pt x="193434" y="47480"/>
                      </a:lnTo>
                      <a:lnTo>
                        <a:pt x="193809" y="45745"/>
                      </a:lnTo>
                      <a:lnTo>
                        <a:pt x="195961" y="44115"/>
                      </a:lnTo>
                      <a:lnTo>
                        <a:pt x="199921" y="42591"/>
                      </a:lnTo>
                      <a:lnTo>
                        <a:pt x="202170" y="41213"/>
                      </a:lnTo>
                      <a:lnTo>
                        <a:pt x="202969" y="40080"/>
                      </a:lnTo>
                      <a:lnTo>
                        <a:pt x="204306" y="39763"/>
                      </a:lnTo>
                      <a:lnTo>
                        <a:pt x="205765" y="40097"/>
                      </a:lnTo>
                      <a:lnTo>
                        <a:pt x="206799" y="39673"/>
                      </a:lnTo>
                      <a:lnTo>
                        <a:pt x="207175" y="38597"/>
                      </a:lnTo>
                      <a:lnTo>
                        <a:pt x="207590" y="38141"/>
                      </a:lnTo>
                      <a:lnTo>
                        <a:pt x="208324" y="37758"/>
                      </a:lnTo>
                      <a:lnTo>
                        <a:pt x="208984" y="37562"/>
                      </a:lnTo>
                      <a:lnTo>
                        <a:pt x="210198" y="37864"/>
                      </a:lnTo>
                      <a:lnTo>
                        <a:pt x="212415" y="39812"/>
                      </a:lnTo>
                      <a:lnTo>
                        <a:pt x="215650" y="43422"/>
                      </a:lnTo>
                      <a:lnTo>
                        <a:pt x="217745" y="45084"/>
                      </a:lnTo>
                      <a:lnTo>
                        <a:pt x="218723" y="44799"/>
                      </a:lnTo>
                      <a:lnTo>
                        <a:pt x="219945" y="43691"/>
                      </a:lnTo>
                      <a:lnTo>
                        <a:pt x="221453" y="41776"/>
                      </a:lnTo>
                      <a:lnTo>
                        <a:pt x="221836" y="39005"/>
                      </a:lnTo>
                      <a:lnTo>
                        <a:pt x="221078" y="35386"/>
                      </a:lnTo>
                      <a:lnTo>
                        <a:pt x="221600" y="32469"/>
                      </a:lnTo>
                      <a:lnTo>
                        <a:pt x="223384" y="30252"/>
                      </a:lnTo>
                      <a:lnTo>
                        <a:pt x="226693" y="28891"/>
                      </a:lnTo>
                      <a:lnTo>
                        <a:pt x="231534" y="28361"/>
                      </a:lnTo>
                      <a:lnTo>
                        <a:pt x="234492" y="28671"/>
                      </a:lnTo>
                      <a:lnTo>
                        <a:pt x="235601" y="29812"/>
                      </a:lnTo>
                      <a:lnTo>
                        <a:pt x="237092" y="30447"/>
                      </a:lnTo>
                      <a:lnTo>
                        <a:pt x="238950" y="30570"/>
                      </a:lnTo>
                      <a:lnTo>
                        <a:pt x="240653" y="29266"/>
                      </a:lnTo>
                      <a:lnTo>
                        <a:pt x="242218" y="26536"/>
                      </a:lnTo>
                      <a:lnTo>
                        <a:pt x="242300" y="23153"/>
                      </a:lnTo>
                      <a:lnTo>
                        <a:pt x="240922" y="19119"/>
                      </a:lnTo>
                      <a:lnTo>
                        <a:pt x="241298" y="17840"/>
                      </a:lnTo>
                      <a:lnTo>
                        <a:pt x="241900" y="17269"/>
                      </a:lnTo>
                      <a:lnTo>
                        <a:pt x="243750" y="15819"/>
                      </a:lnTo>
                      <a:lnTo>
                        <a:pt x="246342" y="12771"/>
                      </a:lnTo>
                      <a:lnTo>
                        <a:pt x="248844" y="8875"/>
                      </a:lnTo>
                      <a:lnTo>
                        <a:pt x="251256" y="4091"/>
                      </a:lnTo>
                      <a:lnTo>
                        <a:pt x="254231" y="1141"/>
                      </a:lnTo>
                      <a:lnTo>
                        <a:pt x="257785" y="0"/>
                      </a:lnTo>
                      <a:lnTo>
                        <a:pt x="262079" y="1296"/>
                      </a:lnTo>
                      <a:lnTo>
                        <a:pt x="267124" y="5012"/>
                      </a:lnTo>
                      <a:lnTo>
                        <a:pt x="269039" y="9600"/>
                      </a:lnTo>
                      <a:lnTo>
                        <a:pt x="267792" y="15036"/>
                      </a:lnTo>
                      <a:lnTo>
                        <a:pt x="267686" y="18035"/>
                      </a:lnTo>
                      <a:lnTo>
                        <a:pt x="268721" y="18590"/>
                      </a:lnTo>
                      <a:lnTo>
                        <a:pt x="270433" y="18443"/>
                      </a:lnTo>
                      <a:lnTo>
                        <a:pt x="272869" y="17587"/>
                      </a:lnTo>
                      <a:lnTo>
                        <a:pt x="274475" y="17538"/>
                      </a:lnTo>
                      <a:lnTo>
                        <a:pt x="275217" y="18313"/>
                      </a:lnTo>
                      <a:lnTo>
                        <a:pt x="275176" y="19845"/>
                      </a:lnTo>
                      <a:lnTo>
                        <a:pt x="274328" y="22143"/>
                      </a:lnTo>
                      <a:lnTo>
                        <a:pt x="273310" y="28581"/>
                      </a:lnTo>
                      <a:lnTo>
                        <a:pt x="272682" y="34156"/>
                      </a:lnTo>
                      <a:lnTo>
                        <a:pt x="272063" y="39640"/>
                      </a:lnTo>
                      <a:lnTo>
                        <a:pt x="271517" y="44449"/>
                      </a:lnTo>
                      <a:lnTo>
                        <a:pt x="272486" y="48189"/>
                      </a:lnTo>
                      <a:lnTo>
                        <a:pt x="273945" y="53845"/>
                      </a:lnTo>
                      <a:lnTo>
                        <a:pt x="275592" y="57578"/>
                      </a:lnTo>
                      <a:lnTo>
                        <a:pt x="277287" y="58768"/>
                      </a:lnTo>
                      <a:lnTo>
                        <a:pt x="278982" y="59200"/>
                      </a:lnTo>
                      <a:lnTo>
                        <a:pt x="280669" y="58857"/>
                      </a:lnTo>
                      <a:lnTo>
                        <a:pt x="284140" y="56470"/>
                      </a:lnTo>
                      <a:lnTo>
                        <a:pt x="289389" y="52004"/>
                      </a:lnTo>
                      <a:lnTo>
                        <a:pt x="294483" y="49265"/>
                      </a:lnTo>
                      <a:lnTo>
                        <a:pt x="301891" y="47733"/>
                      </a:lnTo>
                      <a:lnTo>
                        <a:pt x="304360" y="42941"/>
                      </a:lnTo>
                      <a:lnTo>
                        <a:pt x="307783" y="39779"/>
                      </a:lnTo>
                      <a:lnTo>
                        <a:pt x="315615" y="35076"/>
                      </a:lnTo>
                      <a:lnTo>
                        <a:pt x="319877" y="33284"/>
                      </a:lnTo>
                      <a:lnTo>
                        <a:pt x="322322" y="32966"/>
                      </a:lnTo>
                      <a:lnTo>
                        <a:pt x="325386" y="33821"/>
                      </a:lnTo>
                      <a:lnTo>
                        <a:pt x="326079" y="34123"/>
                      </a:lnTo>
                      <a:lnTo>
                        <a:pt x="326682" y="34343"/>
                      </a:lnTo>
                      <a:lnTo>
                        <a:pt x="328263" y="34734"/>
                      </a:lnTo>
                      <a:lnTo>
                        <a:pt x="328581" y="36169"/>
                      </a:lnTo>
                      <a:lnTo>
                        <a:pt x="328166" y="37717"/>
                      </a:lnTo>
                      <a:lnTo>
                        <a:pt x="326470" y="38988"/>
                      </a:lnTo>
                      <a:lnTo>
                        <a:pt x="325957" y="39974"/>
                      </a:lnTo>
                      <a:lnTo>
                        <a:pt x="326601" y="40716"/>
                      </a:lnTo>
                      <a:lnTo>
                        <a:pt x="328972" y="40969"/>
                      </a:lnTo>
                      <a:lnTo>
                        <a:pt x="333919" y="39257"/>
                      </a:lnTo>
                      <a:lnTo>
                        <a:pt x="337114" y="38157"/>
                      </a:lnTo>
                      <a:lnTo>
                        <a:pt x="339339" y="37717"/>
                      </a:lnTo>
                      <a:lnTo>
                        <a:pt x="340227" y="36283"/>
                      </a:lnTo>
                      <a:lnTo>
                        <a:pt x="341629" y="34848"/>
                      </a:lnTo>
                      <a:lnTo>
                        <a:pt x="343837" y="34734"/>
                      </a:lnTo>
                      <a:lnTo>
                        <a:pt x="346217" y="35508"/>
                      </a:lnTo>
                      <a:lnTo>
                        <a:pt x="348181" y="35949"/>
                      </a:lnTo>
                      <a:lnTo>
                        <a:pt x="351539" y="35549"/>
                      </a:lnTo>
                      <a:lnTo>
                        <a:pt x="353299" y="36796"/>
                      </a:lnTo>
                      <a:lnTo>
                        <a:pt x="355777" y="39168"/>
                      </a:lnTo>
                      <a:lnTo>
                        <a:pt x="356893" y="40626"/>
                      </a:lnTo>
                      <a:close/>
                    </a:path>
                  </a:pathLst>
                </a:custGeom>
                <a:solidFill>
                  <a:srgbClr val="D6D6D2"/>
                </a:solidFill>
                <a:ln w="6112" cap="rnd">
                  <a:solidFill>
                    <a:srgbClr val="FFFFFF"/>
                  </a:solidFill>
                  <a:prstDash val="solid"/>
                  <a:round/>
                </a:ln>
              </p:spPr>
              <p:txBody>
                <a:bodyPr rtlCol="0" anchor="ctr"/>
                <a:lstStyle/>
                <a:p>
                  <a:endParaRPr lang="en-US"/>
                </a:p>
              </p:txBody>
            </p:sp>
          </p:grpSp>
          <p:grpSp>
            <p:nvGrpSpPr>
              <p:cNvPr id="406" name="Graphic 7">
                <a:extLst>
                  <a:ext uri="{FF2B5EF4-FFF2-40B4-BE49-F238E27FC236}">
                    <a16:creationId xmlns:a16="http://schemas.microsoft.com/office/drawing/2014/main" id="{C188AA49-CB59-44E4-AFC5-E948CE579237}"/>
                  </a:ext>
                </a:extLst>
              </p:cNvPr>
              <p:cNvGrpSpPr/>
              <p:nvPr/>
            </p:nvGrpSpPr>
            <p:grpSpPr>
              <a:xfrm>
                <a:off x="1595905" y="1483025"/>
                <a:ext cx="8157776" cy="4414334"/>
                <a:chOff x="1595905" y="1483025"/>
                <a:chExt cx="8157776" cy="4414334"/>
              </a:xfrm>
              <a:solidFill>
                <a:srgbClr val="D6D6D2"/>
              </a:solidFill>
            </p:grpSpPr>
            <p:sp>
              <p:nvSpPr>
                <p:cNvPr id="427" name="Freeform: Shape 426">
                  <a:extLst>
                    <a:ext uri="{FF2B5EF4-FFF2-40B4-BE49-F238E27FC236}">
                      <a16:creationId xmlns:a16="http://schemas.microsoft.com/office/drawing/2014/main" id="{8C15273D-83A0-454C-BA72-A02C7B06677B}"/>
                    </a:ext>
                  </a:extLst>
                </p:cNvPr>
                <p:cNvSpPr/>
                <p:nvPr/>
              </p:nvSpPr>
              <p:spPr>
                <a:xfrm>
                  <a:off x="3894480" y="3253831"/>
                  <a:ext cx="121349" cy="115832"/>
                </a:xfrm>
                <a:custGeom>
                  <a:avLst/>
                  <a:gdLst>
                    <a:gd name="connsiteX0" fmla="*/ 52085 w 121349"/>
                    <a:gd name="connsiteY0" fmla="*/ 27465 h 115832"/>
                    <a:gd name="connsiteX1" fmla="*/ 52085 w 121349"/>
                    <a:gd name="connsiteY1" fmla="*/ 31385 h 115832"/>
                    <a:gd name="connsiteX2" fmla="*/ 55320 w 121349"/>
                    <a:gd name="connsiteY2" fmla="*/ 31385 h 115832"/>
                    <a:gd name="connsiteX3" fmla="*/ 58548 w 121349"/>
                    <a:gd name="connsiteY3" fmla="*/ 31377 h 115832"/>
                    <a:gd name="connsiteX4" fmla="*/ 61775 w 121349"/>
                    <a:gd name="connsiteY4" fmla="*/ 31377 h 115832"/>
                    <a:gd name="connsiteX5" fmla="*/ 65010 w 121349"/>
                    <a:gd name="connsiteY5" fmla="*/ 31377 h 115832"/>
                    <a:gd name="connsiteX6" fmla="*/ 68230 w 121349"/>
                    <a:gd name="connsiteY6" fmla="*/ 31377 h 115832"/>
                    <a:gd name="connsiteX7" fmla="*/ 71465 w 121349"/>
                    <a:gd name="connsiteY7" fmla="*/ 31368 h 115832"/>
                    <a:gd name="connsiteX8" fmla="*/ 74701 w 121349"/>
                    <a:gd name="connsiteY8" fmla="*/ 31368 h 115832"/>
                    <a:gd name="connsiteX9" fmla="*/ 77928 w 121349"/>
                    <a:gd name="connsiteY9" fmla="*/ 31368 h 115832"/>
                    <a:gd name="connsiteX10" fmla="*/ 77863 w 121349"/>
                    <a:gd name="connsiteY10" fmla="*/ 35704 h 115832"/>
                    <a:gd name="connsiteX11" fmla="*/ 77797 w 121349"/>
                    <a:gd name="connsiteY11" fmla="*/ 40023 h 115832"/>
                    <a:gd name="connsiteX12" fmla="*/ 77732 w 121349"/>
                    <a:gd name="connsiteY12" fmla="*/ 44351 h 115832"/>
                    <a:gd name="connsiteX13" fmla="*/ 77667 w 121349"/>
                    <a:gd name="connsiteY13" fmla="*/ 48670 h 115832"/>
                    <a:gd name="connsiteX14" fmla="*/ 80845 w 121349"/>
                    <a:gd name="connsiteY14" fmla="*/ 46152 h 115832"/>
                    <a:gd name="connsiteX15" fmla="*/ 82492 w 121349"/>
                    <a:gd name="connsiteY15" fmla="*/ 45264 h 115832"/>
                    <a:gd name="connsiteX16" fmla="*/ 87903 w 121349"/>
                    <a:gd name="connsiteY16" fmla="*/ 39722 h 115832"/>
                    <a:gd name="connsiteX17" fmla="*/ 88612 w 121349"/>
                    <a:gd name="connsiteY17" fmla="*/ 39689 h 115832"/>
                    <a:gd name="connsiteX18" fmla="*/ 90478 w 121349"/>
                    <a:gd name="connsiteY18" fmla="*/ 40472 h 115832"/>
                    <a:gd name="connsiteX19" fmla="*/ 94366 w 121349"/>
                    <a:gd name="connsiteY19" fmla="*/ 36535 h 115832"/>
                    <a:gd name="connsiteX20" fmla="*/ 94830 w 121349"/>
                    <a:gd name="connsiteY20" fmla="*/ 35093 h 115832"/>
                    <a:gd name="connsiteX21" fmla="*/ 95279 w 121349"/>
                    <a:gd name="connsiteY21" fmla="*/ 34628 h 115832"/>
                    <a:gd name="connsiteX22" fmla="*/ 95768 w 121349"/>
                    <a:gd name="connsiteY22" fmla="*/ 34685 h 115832"/>
                    <a:gd name="connsiteX23" fmla="*/ 96061 w 121349"/>
                    <a:gd name="connsiteY23" fmla="*/ 35060 h 115832"/>
                    <a:gd name="connsiteX24" fmla="*/ 95890 w 121349"/>
                    <a:gd name="connsiteY24" fmla="*/ 35875 h 115832"/>
                    <a:gd name="connsiteX25" fmla="*/ 96175 w 121349"/>
                    <a:gd name="connsiteY25" fmla="*/ 36274 h 115832"/>
                    <a:gd name="connsiteX26" fmla="*/ 97764 w 121349"/>
                    <a:gd name="connsiteY26" fmla="*/ 37228 h 115832"/>
                    <a:gd name="connsiteX27" fmla="*/ 100005 w 121349"/>
                    <a:gd name="connsiteY27" fmla="*/ 37741 h 115832"/>
                    <a:gd name="connsiteX28" fmla="*/ 100315 w 121349"/>
                    <a:gd name="connsiteY28" fmla="*/ 37798 h 115832"/>
                    <a:gd name="connsiteX29" fmla="*/ 102287 w 121349"/>
                    <a:gd name="connsiteY29" fmla="*/ 37782 h 115832"/>
                    <a:gd name="connsiteX30" fmla="*/ 103151 w 121349"/>
                    <a:gd name="connsiteY30" fmla="*/ 37008 h 115832"/>
                    <a:gd name="connsiteX31" fmla="*/ 103591 w 121349"/>
                    <a:gd name="connsiteY31" fmla="*/ 35476 h 115832"/>
                    <a:gd name="connsiteX32" fmla="*/ 104488 w 121349"/>
                    <a:gd name="connsiteY32" fmla="*/ 34579 h 115832"/>
                    <a:gd name="connsiteX33" fmla="*/ 106509 w 121349"/>
                    <a:gd name="connsiteY33" fmla="*/ 34196 h 115832"/>
                    <a:gd name="connsiteX34" fmla="*/ 110078 w 121349"/>
                    <a:gd name="connsiteY34" fmla="*/ 32623 h 115832"/>
                    <a:gd name="connsiteX35" fmla="*/ 112149 w 121349"/>
                    <a:gd name="connsiteY35" fmla="*/ 32892 h 115832"/>
                    <a:gd name="connsiteX36" fmla="*/ 113893 w 121349"/>
                    <a:gd name="connsiteY36" fmla="*/ 34465 h 115832"/>
                    <a:gd name="connsiteX37" fmla="*/ 115677 w 121349"/>
                    <a:gd name="connsiteY37" fmla="*/ 35223 h 115832"/>
                    <a:gd name="connsiteX38" fmla="*/ 117470 w 121349"/>
                    <a:gd name="connsiteY38" fmla="*/ 35166 h 115832"/>
                    <a:gd name="connsiteX39" fmla="*/ 118163 w 121349"/>
                    <a:gd name="connsiteY39" fmla="*/ 35541 h 115832"/>
                    <a:gd name="connsiteX40" fmla="*/ 117739 w 121349"/>
                    <a:gd name="connsiteY40" fmla="*/ 36348 h 115832"/>
                    <a:gd name="connsiteX41" fmla="*/ 118220 w 121349"/>
                    <a:gd name="connsiteY41" fmla="*/ 37269 h 115832"/>
                    <a:gd name="connsiteX42" fmla="*/ 119581 w 121349"/>
                    <a:gd name="connsiteY42" fmla="*/ 38320 h 115832"/>
                    <a:gd name="connsiteX43" fmla="*/ 120046 w 121349"/>
                    <a:gd name="connsiteY43" fmla="*/ 39298 h 115832"/>
                    <a:gd name="connsiteX44" fmla="*/ 119597 w 121349"/>
                    <a:gd name="connsiteY44" fmla="*/ 40211 h 115832"/>
                    <a:gd name="connsiteX45" fmla="*/ 119744 w 121349"/>
                    <a:gd name="connsiteY45" fmla="*/ 40871 h 115832"/>
                    <a:gd name="connsiteX46" fmla="*/ 120469 w 121349"/>
                    <a:gd name="connsiteY46" fmla="*/ 41295 h 115832"/>
                    <a:gd name="connsiteX47" fmla="*/ 120901 w 121349"/>
                    <a:gd name="connsiteY47" fmla="*/ 42281 h 115832"/>
                    <a:gd name="connsiteX48" fmla="*/ 121048 w 121349"/>
                    <a:gd name="connsiteY48" fmla="*/ 43829 h 115832"/>
                    <a:gd name="connsiteX49" fmla="*/ 121350 w 121349"/>
                    <a:gd name="connsiteY49" fmla="*/ 44090 h 115832"/>
                    <a:gd name="connsiteX50" fmla="*/ 119744 w 121349"/>
                    <a:gd name="connsiteY50" fmla="*/ 48140 h 115832"/>
                    <a:gd name="connsiteX51" fmla="*/ 118644 w 121349"/>
                    <a:gd name="connsiteY51" fmla="*/ 50887 h 115832"/>
                    <a:gd name="connsiteX52" fmla="*/ 115848 w 121349"/>
                    <a:gd name="connsiteY52" fmla="*/ 48483 h 115832"/>
                    <a:gd name="connsiteX53" fmla="*/ 111643 w 121349"/>
                    <a:gd name="connsiteY53" fmla="*/ 44881 h 115832"/>
                    <a:gd name="connsiteX54" fmla="*/ 109785 w 121349"/>
                    <a:gd name="connsiteY54" fmla="*/ 43283 h 115832"/>
                    <a:gd name="connsiteX55" fmla="*/ 106582 w 121349"/>
                    <a:gd name="connsiteY55" fmla="*/ 40537 h 115832"/>
                    <a:gd name="connsiteX56" fmla="*/ 105865 w 121349"/>
                    <a:gd name="connsiteY56" fmla="*/ 41914 h 115832"/>
                    <a:gd name="connsiteX57" fmla="*/ 105507 w 121349"/>
                    <a:gd name="connsiteY57" fmla="*/ 44449 h 115832"/>
                    <a:gd name="connsiteX58" fmla="*/ 104561 w 121349"/>
                    <a:gd name="connsiteY58" fmla="*/ 46926 h 115832"/>
                    <a:gd name="connsiteX59" fmla="*/ 103779 w 121349"/>
                    <a:gd name="connsiteY59" fmla="*/ 50357 h 115832"/>
                    <a:gd name="connsiteX60" fmla="*/ 100152 w 121349"/>
                    <a:gd name="connsiteY60" fmla="*/ 55809 h 115832"/>
                    <a:gd name="connsiteX61" fmla="*/ 97389 w 121349"/>
                    <a:gd name="connsiteY61" fmla="*/ 58417 h 115832"/>
                    <a:gd name="connsiteX62" fmla="*/ 96534 w 121349"/>
                    <a:gd name="connsiteY62" fmla="*/ 58336 h 115832"/>
                    <a:gd name="connsiteX63" fmla="*/ 95800 w 121349"/>
                    <a:gd name="connsiteY63" fmla="*/ 58874 h 115832"/>
                    <a:gd name="connsiteX64" fmla="*/ 94602 w 121349"/>
                    <a:gd name="connsiteY64" fmla="*/ 60487 h 115832"/>
                    <a:gd name="connsiteX65" fmla="*/ 93029 w 121349"/>
                    <a:gd name="connsiteY65" fmla="*/ 61914 h 115832"/>
                    <a:gd name="connsiteX66" fmla="*/ 89973 w 121349"/>
                    <a:gd name="connsiteY66" fmla="*/ 61848 h 115832"/>
                    <a:gd name="connsiteX67" fmla="*/ 88751 w 121349"/>
                    <a:gd name="connsiteY67" fmla="*/ 62859 h 115832"/>
                    <a:gd name="connsiteX68" fmla="*/ 87952 w 121349"/>
                    <a:gd name="connsiteY68" fmla="*/ 64464 h 115832"/>
                    <a:gd name="connsiteX69" fmla="*/ 87178 w 121349"/>
                    <a:gd name="connsiteY69" fmla="*/ 66787 h 115832"/>
                    <a:gd name="connsiteX70" fmla="*/ 85988 w 121349"/>
                    <a:gd name="connsiteY70" fmla="*/ 68629 h 115832"/>
                    <a:gd name="connsiteX71" fmla="*/ 84741 w 121349"/>
                    <a:gd name="connsiteY71" fmla="*/ 71726 h 115832"/>
                    <a:gd name="connsiteX72" fmla="*/ 83812 w 121349"/>
                    <a:gd name="connsiteY72" fmla="*/ 73388 h 115832"/>
                    <a:gd name="connsiteX73" fmla="*/ 82231 w 121349"/>
                    <a:gd name="connsiteY73" fmla="*/ 74277 h 115832"/>
                    <a:gd name="connsiteX74" fmla="*/ 79949 w 121349"/>
                    <a:gd name="connsiteY74" fmla="*/ 74130 h 115832"/>
                    <a:gd name="connsiteX75" fmla="*/ 77251 w 121349"/>
                    <a:gd name="connsiteY75" fmla="*/ 72891 h 115832"/>
                    <a:gd name="connsiteX76" fmla="*/ 76754 w 121349"/>
                    <a:gd name="connsiteY76" fmla="*/ 71481 h 115832"/>
                    <a:gd name="connsiteX77" fmla="*/ 76004 w 121349"/>
                    <a:gd name="connsiteY77" fmla="*/ 70601 h 115832"/>
                    <a:gd name="connsiteX78" fmla="*/ 74945 w 121349"/>
                    <a:gd name="connsiteY78" fmla="*/ 70006 h 115832"/>
                    <a:gd name="connsiteX79" fmla="*/ 73910 w 121349"/>
                    <a:gd name="connsiteY79" fmla="*/ 70169 h 115832"/>
                    <a:gd name="connsiteX80" fmla="*/ 73193 w 121349"/>
                    <a:gd name="connsiteY80" fmla="*/ 71115 h 115832"/>
                    <a:gd name="connsiteX81" fmla="*/ 72035 w 121349"/>
                    <a:gd name="connsiteY81" fmla="*/ 75817 h 115832"/>
                    <a:gd name="connsiteX82" fmla="*/ 70340 w 121349"/>
                    <a:gd name="connsiteY82" fmla="*/ 78107 h 115832"/>
                    <a:gd name="connsiteX83" fmla="*/ 69615 w 121349"/>
                    <a:gd name="connsiteY83" fmla="*/ 80422 h 115832"/>
                    <a:gd name="connsiteX84" fmla="*/ 67382 w 121349"/>
                    <a:gd name="connsiteY84" fmla="*/ 83315 h 115832"/>
                    <a:gd name="connsiteX85" fmla="*/ 65671 w 121349"/>
                    <a:gd name="connsiteY85" fmla="*/ 87830 h 115832"/>
                    <a:gd name="connsiteX86" fmla="*/ 60300 w 121349"/>
                    <a:gd name="connsiteY86" fmla="*/ 95254 h 115832"/>
                    <a:gd name="connsiteX87" fmla="*/ 58874 w 121349"/>
                    <a:gd name="connsiteY87" fmla="*/ 97699 h 115832"/>
                    <a:gd name="connsiteX88" fmla="*/ 57896 w 121349"/>
                    <a:gd name="connsiteY88" fmla="*/ 100177 h 115832"/>
                    <a:gd name="connsiteX89" fmla="*/ 58637 w 121349"/>
                    <a:gd name="connsiteY89" fmla="*/ 101236 h 115832"/>
                    <a:gd name="connsiteX90" fmla="*/ 58874 w 121349"/>
                    <a:gd name="connsiteY90" fmla="*/ 102051 h 115832"/>
                    <a:gd name="connsiteX91" fmla="*/ 57725 w 121349"/>
                    <a:gd name="connsiteY91" fmla="*/ 103885 h 115832"/>
                    <a:gd name="connsiteX92" fmla="*/ 57130 w 121349"/>
                    <a:gd name="connsiteY92" fmla="*/ 105767 h 115832"/>
                    <a:gd name="connsiteX93" fmla="*/ 55761 w 121349"/>
                    <a:gd name="connsiteY93" fmla="*/ 107006 h 115832"/>
                    <a:gd name="connsiteX94" fmla="*/ 53446 w 121349"/>
                    <a:gd name="connsiteY94" fmla="*/ 108334 h 115832"/>
                    <a:gd name="connsiteX95" fmla="*/ 52778 w 121349"/>
                    <a:gd name="connsiteY95" fmla="*/ 107291 h 115832"/>
                    <a:gd name="connsiteX96" fmla="*/ 52387 w 121349"/>
                    <a:gd name="connsiteY96" fmla="*/ 107120 h 115832"/>
                    <a:gd name="connsiteX97" fmla="*/ 47114 w 121349"/>
                    <a:gd name="connsiteY97" fmla="*/ 109394 h 115832"/>
                    <a:gd name="connsiteX98" fmla="*/ 45875 w 121349"/>
                    <a:gd name="connsiteY98" fmla="*/ 109378 h 115832"/>
                    <a:gd name="connsiteX99" fmla="*/ 44603 w 121349"/>
                    <a:gd name="connsiteY99" fmla="*/ 108652 h 115832"/>
                    <a:gd name="connsiteX100" fmla="*/ 44049 w 121349"/>
                    <a:gd name="connsiteY100" fmla="*/ 108701 h 115832"/>
                    <a:gd name="connsiteX101" fmla="*/ 43577 w 121349"/>
                    <a:gd name="connsiteY101" fmla="*/ 108946 h 115832"/>
                    <a:gd name="connsiteX102" fmla="*/ 43348 w 121349"/>
                    <a:gd name="connsiteY102" fmla="*/ 109443 h 115832"/>
                    <a:gd name="connsiteX103" fmla="*/ 43316 w 121349"/>
                    <a:gd name="connsiteY103" fmla="*/ 111407 h 115832"/>
                    <a:gd name="connsiteX104" fmla="*/ 42273 w 121349"/>
                    <a:gd name="connsiteY104" fmla="*/ 112385 h 115832"/>
                    <a:gd name="connsiteX105" fmla="*/ 41564 w 121349"/>
                    <a:gd name="connsiteY105" fmla="*/ 112695 h 115832"/>
                    <a:gd name="connsiteX106" fmla="*/ 38744 w 121349"/>
                    <a:gd name="connsiteY106" fmla="*/ 112972 h 115832"/>
                    <a:gd name="connsiteX107" fmla="*/ 35745 w 121349"/>
                    <a:gd name="connsiteY107" fmla="*/ 113990 h 115832"/>
                    <a:gd name="connsiteX108" fmla="*/ 34530 w 121349"/>
                    <a:gd name="connsiteY108" fmla="*/ 113990 h 115832"/>
                    <a:gd name="connsiteX109" fmla="*/ 31482 w 121349"/>
                    <a:gd name="connsiteY109" fmla="*/ 111635 h 115832"/>
                    <a:gd name="connsiteX110" fmla="*/ 29771 w 121349"/>
                    <a:gd name="connsiteY110" fmla="*/ 113355 h 115832"/>
                    <a:gd name="connsiteX111" fmla="*/ 28125 w 121349"/>
                    <a:gd name="connsiteY111" fmla="*/ 114202 h 115832"/>
                    <a:gd name="connsiteX112" fmla="*/ 26161 w 121349"/>
                    <a:gd name="connsiteY112" fmla="*/ 115767 h 115832"/>
                    <a:gd name="connsiteX113" fmla="*/ 25558 w 121349"/>
                    <a:gd name="connsiteY113" fmla="*/ 115832 h 115832"/>
                    <a:gd name="connsiteX114" fmla="*/ 23773 w 121349"/>
                    <a:gd name="connsiteY114" fmla="*/ 115368 h 115832"/>
                    <a:gd name="connsiteX115" fmla="*/ 21515 w 121349"/>
                    <a:gd name="connsiteY115" fmla="*/ 113738 h 115832"/>
                    <a:gd name="connsiteX116" fmla="*/ 19600 w 121349"/>
                    <a:gd name="connsiteY116" fmla="*/ 112809 h 115832"/>
                    <a:gd name="connsiteX117" fmla="*/ 18451 w 121349"/>
                    <a:gd name="connsiteY117" fmla="*/ 111774 h 115832"/>
                    <a:gd name="connsiteX118" fmla="*/ 17522 w 121349"/>
                    <a:gd name="connsiteY118" fmla="*/ 110461 h 115832"/>
                    <a:gd name="connsiteX119" fmla="*/ 16870 w 121349"/>
                    <a:gd name="connsiteY119" fmla="*/ 108343 h 115832"/>
                    <a:gd name="connsiteX120" fmla="*/ 16071 w 121349"/>
                    <a:gd name="connsiteY120" fmla="*/ 106990 h 115832"/>
                    <a:gd name="connsiteX121" fmla="*/ 16414 w 121349"/>
                    <a:gd name="connsiteY121" fmla="*/ 105832 h 115832"/>
                    <a:gd name="connsiteX122" fmla="*/ 16218 w 121349"/>
                    <a:gd name="connsiteY122" fmla="*/ 104765 h 115832"/>
                    <a:gd name="connsiteX123" fmla="*/ 12803 w 121349"/>
                    <a:gd name="connsiteY123" fmla="*/ 103730 h 115832"/>
                    <a:gd name="connsiteX124" fmla="*/ 8411 w 121349"/>
                    <a:gd name="connsiteY124" fmla="*/ 99834 h 115832"/>
                    <a:gd name="connsiteX125" fmla="*/ 5591 w 121349"/>
                    <a:gd name="connsiteY125" fmla="*/ 95116 h 115832"/>
                    <a:gd name="connsiteX126" fmla="*/ 4702 w 121349"/>
                    <a:gd name="connsiteY126" fmla="*/ 92915 h 115832"/>
                    <a:gd name="connsiteX127" fmla="*/ 3659 w 121349"/>
                    <a:gd name="connsiteY127" fmla="*/ 91432 h 115832"/>
                    <a:gd name="connsiteX128" fmla="*/ 3407 w 121349"/>
                    <a:gd name="connsiteY128" fmla="*/ 89916 h 115832"/>
                    <a:gd name="connsiteX129" fmla="*/ 758 w 121349"/>
                    <a:gd name="connsiteY129" fmla="*/ 86029 h 115832"/>
                    <a:gd name="connsiteX130" fmla="*/ 41 w 121349"/>
                    <a:gd name="connsiteY130" fmla="*/ 84350 h 115832"/>
                    <a:gd name="connsiteX131" fmla="*/ 0 w 121349"/>
                    <a:gd name="connsiteY131" fmla="*/ 83266 h 115832"/>
                    <a:gd name="connsiteX132" fmla="*/ 848 w 121349"/>
                    <a:gd name="connsiteY132" fmla="*/ 81237 h 115832"/>
                    <a:gd name="connsiteX133" fmla="*/ 1019 w 121349"/>
                    <a:gd name="connsiteY133" fmla="*/ 80250 h 115832"/>
                    <a:gd name="connsiteX134" fmla="*/ 750 w 121349"/>
                    <a:gd name="connsiteY134" fmla="*/ 75279 h 115832"/>
                    <a:gd name="connsiteX135" fmla="*/ 163 w 121349"/>
                    <a:gd name="connsiteY135" fmla="*/ 74334 h 115832"/>
                    <a:gd name="connsiteX136" fmla="*/ 3024 w 121349"/>
                    <a:gd name="connsiteY136" fmla="*/ 75450 h 115832"/>
                    <a:gd name="connsiteX137" fmla="*/ 5770 w 121349"/>
                    <a:gd name="connsiteY137" fmla="*/ 74815 h 115832"/>
                    <a:gd name="connsiteX138" fmla="*/ 7473 w 121349"/>
                    <a:gd name="connsiteY138" fmla="*/ 73282 h 115832"/>
                    <a:gd name="connsiteX139" fmla="*/ 8150 w 121349"/>
                    <a:gd name="connsiteY139" fmla="*/ 70854 h 115832"/>
                    <a:gd name="connsiteX140" fmla="*/ 9103 w 121349"/>
                    <a:gd name="connsiteY140" fmla="*/ 69436 h 115832"/>
                    <a:gd name="connsiteX141" fmla="*/ 10342 w 121349"/>
                    <a:gd name="connsiteY141" fmla="*/ 69045 h 115832"/>
                    <a:gd name="connsiteX142" fmla="*/ 10896 w 121349"/>
                    <a:gd name="connsiteY142" fmla="*/ 67977 h 115832"/>
                    <a:gd name="connsiteX143" fmla="*/ 10709 w 121349"/>
                    <a:gd name="connsiteY143" fmla="*/ 65369 h 115832"/>
                    <a:gd name="connsiteX144" fmla="*/ 10317 w 121349"/>
                    <a:gd name="connsiteY144" fmla="*/ 63584 h 115832"/>
                    <a:gd name="connsiteX145" fmla="*/ 11312 w 121349"/>
                    <a:gd name="connsiteY145" fmla="*/ 61001 h 115832"/>
                    <a:gd name="connsiteX146" fmla="*/ 13569 w 121349"/>
                    <a:gd name="connsiteY146" fmla="*/ 57024 h 115832"/>
                    <a:gd name="connsiteX147" fmla="*/ 15338 w 121349"/>
                    <a:gd name="connsiteY147" fmla="*/ 55410 h 115832"/>
                    <a:gd name="connsiteX148" fmla="*/ 16609 w 121349"/>
                    <a:gd name="connsiteY148" fmla="*/ 56135 h 115832"/>
                    <a:gd name="connsiteX149" fmla="*/ 17383 w 121349"/>
                    <a:gd name="connsiteY149" fmla="*/ 57390 h 115832"/>
                    <a:gd name="connsiteX150" fmla="*/ 17660 w 121349"/>
                    <a:gd name="connsiteY150" fmla="*/ 59143 h 115832"/>
                    <a:gd name="connsiteX151" fmla="*/ 17921 w 121349"/>
                    <a:gd name="connsiteY151" fmla="*/ 59363 h 115832"/>
                    <a:gd name="connsiteX152" fmla="*/ 18280 w 121349"/>
                    <a:gd name="connsiteY152" fmla="*/ 59338 h 115832"/>
                    <a:gd name="connsiteX153" fmla="*/ 19241 w 121349"/>
                    <a:gd name="connsiteY153" fmla="*/ 57993 h 115832"/>
                    <a:gd name="connsiteX154" fmla="*/ 20097 w 121349"/>
                    <a:gd name="connsiteY154" fmla="*/ 57464 h 115832"/>
                    <a:gd name="connsiteX155" fmla="*/ 20448 w 121349"/>
                    <a:gd name="connsiteY155" fmla="*/ 57602 h 115832"/>
                    <a:gd name="connsiteX156" fmla="*/ 20815 w 121349"/>
                    <a:gd name="connsiteY156" fmla="*/ 57562 h 115832"/>
                    <a:gd name="connsiteX157" fmla="*/ 20880 w 121349"/>
                    <a:gd name="connsiteY157" fmla="*/ 56698 h 115832"/>
                    <a:gd name="connsiteX158" fmla="*/ 20203 w 121349"/>
                    <a:gd name="connsiteY158" fmla="*/ 54294 h 115832"/>
                    <a:gd name="connsiteX159" fmla="*/ 20260 w 121349"/>
                    <a:gd name="connsiteY159" fmla="*/ 52876 h 115832"/>
                    <a:gd name="connsiteX160" fmla="*/ 21051 w 121349"/>
                    <a:gd name="connsiteY160" fmla="*/ 52444 h 115832"/>
                    <a:gd name="connsiteX161" fmla="*/ 21898 w 121349"/>
                    <a:gd name="connsiteY161" fmla="*/ 50838 h 115832"/>
                    <a:gd name="connsiteX162" fmla="*/ 22795 w 121349"/>
                    <a:gd name="connsiteY162" fmla="*/ 48043 h 115832"/>
                    <a:gd name="connsiteX163" fmla="*/ 23862 w 121349"/>
                    <a:gd name="connsiteY163" fmla="*/ 46608 h 115832"/>
                    <a:gd name="connsiteX164" fmla="*/ 25126 w 121349"/>
                    <a:gd name="connsiteY164" fmla="*/ 46535 h 115832"/>
                    <a:gd name="connsiteX165" fmla="*/ 26487 w 121349"/>
                    <a:gd name="connsiteY165" fmla="*/ 45394 h 115832"/>
                    <a:gd name="connsiteX166" fmla="*/ 27946 w 121349"/>
                    <a:gd name="connsiteY166" fmla="*/ 43177 h 115832"/>
                    <a:gd name="connsiteX167" fmla="*/ 29266 w 121349"/>
                    <a:gd name="connsiteY167" fmla="*/ 42534 h 115832"/>
                    <a:gd name="connsiteX168" fmla="*/ 30439 w 121349"/>
                    <a:gd name="connsiteY168" fmla="*/ 43471 h 115832"/>
                    <a:gd name="connsiteX169" fmla="*/ 31898 w 121349"/>
                    <a:gd name="connsiteY169" fmla="*/ 43536 h 115832"/>
                    <a:gd name="connsiteX170" fmla="*/ 33658 w 121349"/>
                    <a:gd name="connsiteY170" fmla="*/ 42737 h 115832"/>
                    <a:gd name="connsiteX171" fmla="*/ 36723 w 121349"/>
                    <a:gd name="connsiteY171" fmla="*/ 40390 h 115832"/>
                    <a:gd name="connsiteX172" fmla="*/ 41083 w 121349"/>
                    <a:gd name="connsiteY172" fmla="*/ 36503 h 115832"/>
                    <a:gd name="connsiteX173" fmla="*/ 43283 w 121349"/>
                    <a:gd name="connsiteY173" fmla="*/ 33349 h 115832"/>
                    <a:gd name="connsiteX174" fmla="*/ 43340 w 121349"/>
                    <a:gd name="connsiteY174" fmla="*/ 30945 h 115832"/>
                    <a:gd name="connsiteX175" fmla="*/ 45035 w 121349"/>
                    <a:gd name="connsiteY175" fmla="*/ 25060 h 115832"/>
                    <a:gd name="connsiteX176" fmla="*/ 48393 w 121349"/>
                    <a:gd name="connsiteY176" fmla="*/ 15696 h 115832"/>
                    <a:gd name="connsiteX177" fmla="*/ 50039 w 121349"/>
                    <a:gd name="connsiteY177" fmla="*/ 9625 h 115832"/>
                    <a:gd name="connsiteX178" fmla="*/ 49990 w 121349"/>
                    <a:gd name="connsiteY178" fmla="*/ 6862 h 115832"/>
                    <a:gd name="connsiteX179" fmla="*/ 49510 w 121349"/>
                    <a:gd name="connsiteY179" fmla="*/ 4613 h 115832"/>
                    <a:gd name="connsiteX180" fmla="*/ 48630 w 121349"/>
                    <a:gd name="connsiteY180" fmla="*/ 2861 h 115832"/>
                    <a:gd name="connsiteX181" fmla="*/ 49159 w 121349"/>
                    <a:gd name="connsiteY181" fmla="*/ 1483 h 115832"/>
                    <a:gd name="connsiteX182" fmla="*/ 52093 w 121349"/>
                    <a:gd name="connsiteY182" fmla="*/ 0 h 115832"/>
                    <a:gd name="connsiteX183" fmla="*/ 52069 w 121349"/>
                    <a:gd name="connsiteY183" fmla="*/ 3912 h 115832"/>
                    <a:gd name="connsiteX184" fmla="*/ 52069 w 121349"/>
                    <a:gd name="connsiteY184" fmla="*/ 7848 h 115832"/>
                    <a:gd name="connsiteX185" fmla="*/ 52069 w 121349"/>
                    <a:gd name="connsiteY185" fmla="*/ 11776 h 115832"/>
                    <a:gd name="connsiteX186" fmla="*/ 52077 w 121349"/>
                    <a:gd name="connsiteY186" fmla="*/ 15696 h 115832"/>
                    <a:gd name="connsiteX187" fmla="*/ 52077 w 121349"/>
                    <a:gd name="connsiteY187" fmla="*/ 19625 h 115832"/>
                    <a:gd name="connsiteX188" fmla="*/ 52077 w 121349"/>
                    <a:gd name="connsiteY188" fmla="*/ 23545 h 115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121349" h="115832">
                      <a:moveTo>
                        <a:pt x="52085" y="27465"/>
                      </a:moveTo>
                      <a:lnTo>
                        <a:pt x="52085" y="31385"/>
                      </a:lnTo>
                      <a:lnTo>
                        <a:pt x="55320" y="31385"/>
                      </a:lnTo>
                      <a:lnTo>
                        <a:pt x="58548" y="31377"/>
                      </a:lnTo>
                      <a:lnTo>
                        <a:pt x="61775" y="31377"/>
                      </a:lnTo>
                      <a:lnTo>
                        <a:pt x="65010" y="31377"/>
                      </a:lnTo>
                      <a:lnTo>
                        <a:pt x="68230" y="31377"/>
                      </a:lnTo>
                      <a:lnTo>
                        <a:pt x="71465" y="31368"/>
                      </a:lnTo>
                      <a:lnTo>
                        <a:pt x="74701" y="31368"/>
                      </a:lnTo>
                      <a:lnTo>
                        <a:pt x="77928" y="31368"/>
                      </a:lnTo>
                      <a:lnTo>
                        <a:pt x="77863" y="35704"/>
                      </a:lnTo>
                      <a:lnTo>
                        <a:pt x="77797" y="40023"/>
                      </a:lnTo>
                      <a:lnTo>
                        <a:pt x="77732" y="44351"/>
                      </a:lnTo>
                      <a:lnTo>
                        <a:pt x="77667" y="48670"/>
                      </a:lnTo>
                      <a:lnTo>
                        <a:pt x="80845" y="46152"/>
                      </a:lnTo>
                      <a:lnTo>
                        <a:pt x="82492" y="45264"/>
                      </a:lnTo>
                      <a:lnTo>
                        <a:pt x="87903" y="39722"/>
                      </a:lnTo>
                      <a:lnTo>
                        <a:pt x="88612" y="39689"/>
                      </a:lnTo>
                      <a:lnTo>
                        <a:pt x="90478" y="40472"/>
                      </a:lnTo>
                      <a:lnTo>
                        <a:pt x="94366" y="36535"/>
                      </a:lnTo>
                      <a:lnTo>
                        <a:pt x="94830" y="35093"/>
                      </a:lnTo>
                      <a:lnTo>
                        <a:pt x="95279" y="34628"/>
                      </a:lnTo>
                      <a:lnTo>
                        <a:pt x="95768" y="34685"/>
                      </a:lnTo>
                      <a:lnTo>
                        <a:pt x="96061" y="35060"/>
                      </a:lnTo>
                      <a:lnTo>
                        <a:pt x="95890" y="35875"/>
                      </a:lnTo>
                      <a:lnTo>
                        <a:pt x="96175" y="36274"/>
                      </a:lnTo>
                      <a:lnTo>
                        <a:pt x="97764" y="37228"/>
                      </a:lnTo>
                      <a:lnTo>
                        <a:pt x="100005" y="37741"/>
                      </a:lnTo>
                      <a:lnTo>
                        <a:pt x="100315" y="37798"/>
                      </a:lnTo>
                      <a:lnTo>
                        <a:pt x="102287" y="37782"/>
                      </a:lnTo>
                      <a:lnTo>
                        <a:pt x="103151" y="37008"/>
                      </a:lnTo>
                      <a:lnTo>
                        <a:pt x="103591" y="35476"/>
                      </a:lnTo>
                      <a:lnTo>
                        <a:pt x="104488" y="34579"/>
                      </a:lnTo>
                      <a:lnTo>
                        <a:pt x="106509" y="34196"/>
                      </a:lnTo>
                      <a:lnTo>
                        <a:pt x="110078" y="32623"/>
                      </a:lnTo>
                      <a:lnTo>
                        <a:pt x="112149" y="32892"/>
                      </a:lnTo>
                      <a:lnTo>
                        <a:pt x="113893" y="34465"/>
                      </a:lnTo>
                      <a:lnTo>
                        <a:pt x="115677" y="35223"/>
                      </a:lnTo>
                      <a:lnTo>
                        <a:pt x="117470" y="35166"/>
                      </a:lnTo>
                      <a:lnTo>
                        <a:pt x="118163" y="35541"/>
                      </a:lnTo>
                      <a:lnTo>
                        <a:pt x="117739" y="36348"/>
                      </a:lnTo>
                      <a:lnTo>
                        <a:pt x="118220" y="37269"/>
                      </a:lnTo>
                      <a:lnTo>
                        <a:pt x="119581" y="38320"/>
                      </a:lnTo>
                      <a:lnTo>
                        <a:pt x="120046" y="39298"/>
                      </a:lnTo>
                      <a:lnTo>
                        <a:pt x="119597" y="40211"/>
                      </a:lnTo>
                      <a:lnTo>
                        <a:pt x="119744" y="40871"/>
                      </a:lnTo>
                      <a:lnTo>
                        <a:pt x="120469" y="41295"/>
                      </a:lnTo>
                      <a:lnTo>
                        <a:pt x="120901" y="42281"/>
                      </a:lnTo>
                      <a:lnTo>
                        <a:pt x="121048" y="43829"/>
                      </a:lnTo>
                      <a:lnTo>
                        <a:pt x="121350" y="44090"/>
                      </a:lnTo>
                      <a:lnTo>
                        <a:pt x="119744" y="48140"/>
                      </a:lnTo>
                      <a:lnTo>
                        <a:pt x="118644" y="50887"/>
                      </a:lnTo>
                      <a:lnTo>
                        <a:pt x="115848" y="48483"/>
                      </a:lnTo>
                      <a:lnTo>
                        <a:pt x="111643" y="44881"/>
                      </a:lnTo>
                      <a:lnTo>
                        <a:pt x="109785" y="43283"/>
                      </a:lnTo>
                      <a:lnTo>
                        <a:pt x="106582" y="40537"/>
                      </a:lnTo>
                      <a:lnTo>
                        <a:pt x="105865" y="41914"/>
                      </a:lnTo>
                      <a:lnTo>
                        <a:pt x="105507" y="44449"/>
                      </a:lnTo>
                      <a:lnTo>
                        <a:pt x="104561" y="46926"/>
                      </a:lnTo>
                      <a:lnTo>
                        <a:pt x="103779" y="50357"/>
                      </a:lnTo>
                      <a:lnTo>
                        <a:pt x="100152" y="55809"/>
                      </a:lnTo>
                      <a:lnTo>
                        <a:pt x="97389" y="58417"/>
                      </a:lnTo>
                      <a:lnTo>
                        <a:pt x="96534" y="58336"/>
                      </a:lnTo>
                      <a:lnTo>
                        <a:pt x="95800" y="58874"/>
                      </a:lnTo>
                      <a:lnTo>
                        <a:pt x="94602" y="60487"/>
                      </a:lnTo>
                      <a:lnTo>
                        <a:pt x="93029" y="61914"/>
                      </a:lnTo>
                      <a:lnTo>
                        <a:pt x="89973" y="61848"/>
                      </a:lnTo>
                      <a:lnTo>
                        <a:pt x="88751" y="62859"/>
                      </a:lnTo>
                      <a:lnTo>
                        <a:pt x="87952" y="64464"/>
                      </a:lnTo>
                      <a:lnTo>
                        <a:pt x="87178" y="66787"/>
                      </a:lnTo>
                      <a:lnTo>
                        <a:pt x="85988" y="68629"/>
                      </a:lnTo>
                      <a:lnTo>
                        <a:pt x="84741" y="71726"/>
                      </a:lnTo>
                      <a:lnTo>
                        <a:pt x="83812" y="73388"/>
                      </a:lnTo>
                      <a:lnTo>
                        <a:pt x="82231" y="74277"/>
                      </a:lnTo>
                      <a:lnTo>
                        <a:pt x="79949" y="74130"/>
                      </a:lnTo>
                      <a:lnTo>
                        <a:pt x="77251" y="72891"/>
                      </a:lnTo>
                      <a:lnTo>
                        <a:pt x="76754" y="71481"/>
                      </a:lnTo>
                      <a:lnTo>
                        <a:pt x="76004" y="70601"/>
                      </a:lnTo>
                      <a:lnTo>
                        <a:pt x="74945" y="70006"/>
                      </a:lnTo>
                      <a:lnTo>
                        <a:pt x="73910" y="70169"/>
                      </a:lnTo>
                      <a:lnTo>
                        <a:pt x="73193" y="71115"/>
                      </a:lnTo>
                      <a:lnTo>
                        <a:pt x="72035" y="75817"/>
                      </a:lnTo>
                      <a:lnTo>
                        <a:pt x="70340" y="78107"/>
                      </a:lnTo>
                      <a:lnTo>
                        <a:pt x="69615" y="80422"/>
                      </a:lnTo>
                      <a:lnTo>
                        <a:pt x="67382" y="83315"/>
                      </a:lnTo>
                      <a:lnTo>
                        <a:pt x="65671" y="87830"/>
                      </a:lnTo>
                      <a:lnTo>
                        <a:pt x="60300" y="95254"/>
                      </a:lnTo>
                      <a:lnTo>
                        <a:pt x="58874" y="97699"/>
                      </a:lnTo>
                      <a:lnTo>
                        <a:pt x="57896" y="100177"/>
                      </a:lnTo>
                      <a:lnTo>
                        <a:pt x="58637" y="101236"/>
                      </a:lnTo>
                      <a:lnTo>
                        <a:pt x="58874" y="102051"/>
                      </a:lnTo>
                      <a:lnTo>
                        <a:pt x="57725" y="103885"/>
                      </a:lnTo>
                      <a:lnTo>
                        <a:pt x="57130" y="105767"/>
                      </a:lnTo>
                      <a:lnTo>
                        <a:pt x="55761" y="107006"/>
                      </a:lnTo>
                      <a:lnTo>
                        <a:pt x="53446" y="108334"/>
                      </a:lnTo>
                      <a:lnTo>
                        <a:pt x="52778" y="107291"/>
                      </a:lnTo>
                      <a:lnTo>
                        <a:pt x="52387" y="107120"/>
                      </a:lnTo>
                      <a:lnTo>
                        <a:pt x="47114" y="109394"/>
                      </a:lnTo>
                      <a:lnTo>
                        <a:pt x="45875" y="109378"/>
                      </a:lnTo>
                      <a:lnTo>
                        <a:pt x="44603" y="108652"/>
                      </a:lnTo>
                      <a:lnTo>
                        <a:pt x="44049" y="108701"/>
                      </a:lnTo>
                      <a:lnTo>
                        <a:pt x="43577" y="108946"/>
                      </a:lnTo>
                      <a:lnTo>
                        <a:pt x="43348" y="109443"/>
                      </a:lnTo>
                      <a:lnTo>
                        <a:pt x="43316" y="111407"/>
                      </a:lnTo>
                      <a:lnTo>
                        <a:pt x="42273" y="112385"/>
                      </a:lnTo>
                      <a:lnTo>
                        <a:pt x="41564" y="112695"/>
                      </a:lnTo>
                      <a:lnTo>
                        <a:pt x="38744" y="112972"/>
                      </a:lnTo>
                      <a:lnTo>
                        <a:pt x="35745" y="113990"/>
                      </a:lnTo>
                      <a:lnTo>
                        <a:pt x="34530" y="113990"/>
                      </a:lnTo>
                      <a:lnTo>
                        <a:pt x="31482" y="111635"/>
                      </a:lnTo>
                      <a:lnTo>
                        <a:pt x="29771" y="113355"/>
                      </a:lnTo>
                      <a:lnTo>
                        <a:pt x="28125" y="114202"/>
                      </a:lnTo>
                      <a:lnTo>
                        <a:pt x="26161" y="115767"/>
                      </a:lnTo>
                      <a:lnTo>
                        <a:pt x="25558" y="115832"/>
                      </a:lnTo>
                      <a:lnTo>
                        <a:pt x="23773" y="115368"/>
                      </a:lnTo>
                      <a:lnTo>
                        <a:pt x="21515" y="113738"/>
                      </a:lnTo>
                      <a:lnTo>
                        <a:pt x="19600" y="112809"/>
                      </a:lnTo>
                      <a:lnTo>
                        <a:pt x="18451" y="111774"/>
                      </a:lnTo>
                      <a:lnTo>
                        <a:pt x="17522" y="110461"/>
                      </a:lnTo>
                      <a:lnTo>
                        <a:pt x="16870" y="108343"/>
                      </a:lnTo>
                      <a:lnTo>
                        <a:pt x="16071" y="106990"/>
                      </a:lnTo>
                      <a:lnTo>
                        <a:pt x="16414" y="105832"/>
                      </a:lnTo>
                      <a:lnTo>
                        <a:pt x="16218" y="104765"/>
                      </a:lnTo>
                      <a:lnTo>
                        <a:pt x="12803" y="103730"/>
                      </a:lnTo>
                      <a:lnTo>
                        <a:pt x="8411" y="99834"/>
                      </a:lnTo>
                      <a:lnTo>
                        <a:pt x="5591" y="95116"/>
                      </a:lnTo>
                      <a:lnTo>
                        <a:pt x="4702" y="92915"/>
                      </a:lnTo>
                      <a:lnTo>
                        <a:pt x="3659" y="91432"/>
                      </a:lnTo>
                      <a:lnTo>
                        <a:pt x="3407" y="89916"/>
                      </a:lnTo>
                      <a:lnTo>
                        <a:pt x="758" y="86029"/>
                      </a:lnTo>
                      <a:lnTo>
                        <a:pt x="41" y="84350"/>
                      </a:lnTo>
                      <a:lnTo>
                        <a:pt x="0" y="83266"/>
                      </a:lnTo>
                      <a:lnTo>
                        <a:pt x="848" y="81237"/>
                      </a:lnTo>
                      <a:lnTo>
                        <a:pt x="1019" y="80250"/>
                      </a:lnTo>
                      <a:lnTo>
                        <a:pt x="750" y="75279"/>
                      </a:lnTo>
                      <a:lnTo>
                        <a:pt x="163" y="74334"/>
                      </a:lnTo>
                      <a:lnTo>
                        <a:pt x="3024" y="75450"/>
                      </a:lnTo>
                      <a:lnTo>
                        <a:pt x="5770" y="74815"/>
                      </a:lnTo>
                      <a:lnTo>
                        <a:pt x="7473" y="73282"/>
                      </a:lnTo>
                      <a:lnTo>
                        <a:pt x="8150" y="70854"/>
                      </a:lnTo>
                      <a:lnTo>
                        <a:pt x="9103" y="69436"/>
                      </a:lnTo>
                      <a:lnTo>
                        <a:pt x="10342" y="69045"/>
                      </a:lnTo>
                      <a:lnTo>
                        <a:pt x="10896" y="67977"/>
                      </a:lnTo>
                      <a:lnTo>
                        <a:pt x="10709" y="65369"/>
                      </a:lnTo>
                      <a:lnTo>
                        <a:pt x="10317" y="63584"/>
                      </a:lnTo>
                      <a:lnTo>
                        <a:pt x="11312" y="61001"/>
                      </a:lnTo>
                      <a:lnTo>
                        <a:pt x="13569" y="57024"/>
                      </a:lnTo>
                      <a:lnTo>
                        <a:pt x="15338" y="55410"/>
                      </a:lnTo>
                      <a:lnTo>
                        <a:pt x="16609" y="56135"/>
                      </a:lnTo>
                      <a:lnTo>
                        <a:pt x="17383" y="57390"/>
                      </a:lnTo>
                      <a:lnTo>
                        <a:pt x="17660" y="59143"/>
                      </a:lnTo>
                      <a:lnTo>
                        <a:pt x="17921" y="59363"/>
                      </a:lnTo>
                      <a:lnTo>
                        <a:pt x="18280" y="59338"/>
                      </a:lnTo>
                      <a:lnTo>
                        <a:pt x="19241" y="57993"/>
                      </a:lnTo>
                      <a:lnTo>
                        <a:pt x="20097" y="57464"/>
                      </a:lnTo>
                      <a:lnTo>
                        <a:pt x="20448" y="57602"/>
                      </a:lnTo>
                      <a:lnTo>
                        <a:pt x="20815" y="57562"/>
                      </a:lnTo>
                      <a:lnTo>
                        <a:pt x="20880" y="56698"/>
                      </a:lnTo>
                      <a:lnTo>
                        <a:pt x="20203" y="54294"/>
                      </a:lnTo>
                      <a:lnTo>
                        <a:pt x="20260" y="52876"/>
                      </a:lnTo>
                      <a:lnTo>
                        <a:pt x="21051" y="52444"/>
                      </a:lnTo>
                      <a:lnTo>
                        <a:pt x="21898" y="50838"/>
                      </a:lnTo>
                      <a:lnTo>
                        <a:pt x="22795" y="48043"/>
                      </a:lnTo>
                      <a:lnTo>
                        <a:pt x="23862" y="46608"/>
                      </a:lnTo>
                      <a:lnTo>
                        <a:pt x="25126" y="46535"/>
                      </a:lnTo>
                      <a:lnTo>
                        <a:pt x="26487" y="45394"/>
                      </a:lnTo>
                      <a:lnTo>
                        <a:pt x="27946" y="43177"/>
                      </a:lnTo>
                      <a:lnTo>
                        <a:pt x="29266" y="42534"/>
                      </a:lnTo>
                      <a:lnTo>
                        <a:pt x="30439" y="43471"/>
                      </a:lnTo>
                      <a:lnTo>
                        <a:pt x="31898" y="43536"/>
                      </a:lnTo>
                      <a:lnTo>
                        <a:pt x="33658" y="42737"/>
                      </a:lnTo>
                      <a:lnTo>
                        <a:pt x="36723" y="40390"/>
                      </a:lnTo>
                      <a:lnTo>
                        <a:pt x="41083" y="36503"/>
                      </a:lnTo>
                      <a:lnTo>
                        <a:pt x="43283" y="33349"/>
                      </a:lnTo>
                      <a:lnTo>
                        <a:pt x="43340" y="30945"/>
                      </a:lnTo>
                      <a:lnTo>
                        <a:pt x="45035" y="25060"/>
                      </a:lnTo>
                      <a:lnTo>
                        <a:pt x="48393" y="15696"/>
                      </a:lnTo>
                      <a:lnTo>
                        <a:pt x="50039" y="9625"/>
                      </a:lnTo>
                      <a:lnTo>
                        <a:pt x="49990" y="6862"/>
                      </a:lnTo>
                      <a:lnTo>
                        <a:pt x="49510" y="4613"/>
                      </a:lnTo>
                      <a:lnTo>
                        <a:pt x="48630" y="2861"/>
                      </a:lnTo>
                      <a:lnTo>
                        <a:pt x="49159" y="1483"/>
                      </a:lnTo>
                      <a:lnTo>
                        <a:pt x="52093" y="0"/>
                      </a:lnTo>
                      <a:lnTo>
                        <a:pt x="52069" y="3912"/>
                      </a:lnTo>
                      <a:lnTo>
                        <a:pt x="52069" y="7848"/>
                      </a:lnTo>
                      <a:lnTo>
                        <a:pt x="52069" y="11776"/>
                      </a:lnTo>
                      <a:lnTo>
                        <a:pt x="52077" y="15696"/>
                      </a:lnTo>
                      <a:lnTo>
                        <a:pt x="52077" y="19625"/>
                      </a:lnTo>
                      <a:lnTo>
                        <a:pt x="52077" y="23545"/>
                      </a:lnTo>
                      <a:close/>
                    </a:path>
                  </a:pathLst>
                </a:custGeom>
                <a:solidFill>
                  <a:srgbClr val="D6D6D2"/>
                </a:solidFill>
                <a:ln w="6112" cap="rnd">
                  <a:solidFill>
                    <a:srgbClr val="FFFFFF"/>
                  </a:solidFill>
                  <a:prstDash val="solid"/>
                  <a:round/>
                </a:ln>
              </p:spPr>
              <p:txBody>
                <a:bodyPr rtlCol="0" anchor="ctr"/>
                <a:lstStyle/>
                <a:p>
                  <a:endParaRPr lang="en-US"/>
                </a:p>
              </p:txBody>
            </p:sp>
            <p:sp>
              <p:nvSpPr>
                <p:cNvPr id="428" name="Freeform: Shape 427">
                  <a:extLst>
                    <a:ext uri="{FF2B5EF4-FFF2-40B4-BE49-F238E27FC236}">
                      <a16:creationId xmlns:a16="http://schemas.microsoft.com/office/drawing/2014/main" id="{FBC1D68C-9F02-4D4E-A292-2D18A05A2728}"/>
                    </a:ext>
                  </a:extLst>
                </p:cNvPr>
                <p:cNvSpPr/>
                <p:nvPr/>
              </p:nvSpPr>
              <p:spPr>
                <a:xfrm>
                  <a:off x="3639580" y="3021759"/>
                  <a:ext cx="164494" cy="168846"/>
                </a:xfrm>
                <a:custGeom>
                  <a:avLst/>
                  <a:gdLst>
                    <a:gd name="connsiteX0" fmla="*/ 64432 w 164494"/>
                    <a:gd name="connsiteY0" fmla="*/ 19527 h 168846"/>
                    <a:gd name="connsiteX1" fmla="*/ 63022 w 164494"/>
                    <a:gd name="connsiteY1" fmla="*/ 22632 h 168846"/>
                    <a:gd name="connsiteX2" fmla="*/ 61612 w 164494"/>
                    <a:gd name="connsiteY2" fmla="*/ 25753 h 168846"/>
                    <a:gd name="connsiteX3" fmla="*/ 62117 w 164494"/>
                    <a:gd name="connsiteY3" fmla="*/ 27041 h 168846"/>
                    <a:gd name="connsiteX4" fmla="*/ 63397 w 164494"/>
                    <a:gd name="connsiteY4" fmla="*/ 26699 h 168846"/>
                    <a:gd name="connsiteX5" fmla="*/ 63951 w 164494"/>
                    <a:gd name="connsiteY5" fmla="*/ 27473 h 168846"/>
                    <a:gd name="connsiteX6" fmla="*/ 64709 w 164494"/>
                    <a:gd name="connsiteY6" fmla="*/ 27807 h 168846"/>
                    <a:gd name="connsiteX7" fmla="*/ 66135 w 164494"/>
                    <a:gd name="connsiteY7" fmla="*/ 28426 h 168846"/>
                    <a:gd name="connsiteX8" fmla="*/ 66828 w 164494"/>
                    <a:gd name="connsiteY8" fmla="*/ 29918 h 168846"/>
                    <a:gd name="connsiteX9" fmla="*/ 67521 w 164494"/>
                    <a:gd name="connsiteY9" fmla="*/ 31409 h 168846"/>
                    <a:gd name="connsiteX10" fmla="*/ 68205 w 164494"/>
                    <a:gd name="connsiteY10" fmla="*/ 32900 h 168846"/>
                    <a:gd name="connsiteX11" fmla="*/ 68906 w 164494"/>
                    <a:gd name="connsiteY11" fmla="*/ 34384 h 168846"/>
                    <a:gd name="connsiteX12" fmla="*/ 72003 w 164494"/>
                    <a:gd name="connsiteY12" fmla="*/ 35239 h 168846"/>
                    <a:gd name="connsiteX13" fmla="*/ 75100 w 164494"/>
                    <a:gd name="connsiteY13" fmla="*/ 36087 h 168846"/>
                    <a:gd name="connsiteX14" fmla="*/ 78197 w 164494"/>
                    <a:gd name="connsiteY14" fmla="*/ 36951 h 168846"/>
                    <a:gd name="connsiteX15" fmla="*/ 81294 w 164494"/>
                    <a:gd name="connsiteY15" fmla="*/ 37798 h 168846"/>
                    <a:gd name="connsiteX16" fmla="*/ 84399 w 164494"/>
                    <a:gd name="connsiteY16" fmla="*/ 38646 h 168846"/>
                    <a:gd name="connsiteX17" fmla="*/ 87496 w 164494"/>
                    <a:gd name="connsiteY17" fmla="*/ 39502 h 168846"/>
                    <a:gd name="connsiteX18" fmla="*/ 90592 w 164494"/>
                    <a:gd name="connsiteY18" fmla="*/ 40349 h 168846"/>
                    <a:gd name="connsiteX19" fmla="*/ 93689 w 164494"/>
                    <a:gd name="connsiteY19" fmla="*/ 41197 h 168846"/>
                    <a:gd name="connsiteX20" fmla="*/ 95434 w 164494"/>
                    <a:gd name="connsiteY20" fmla="*/ 42199 h 168846"/>
                    <a:gd name="connsiteX21" fmla="*/ 97186 w 164494"/>
                    <a:gd name="connsiteY21" fmla="*/ 43185 h 168846"/>
                    <a:gd name="connsiteX22" fmla="*/ 98938 w 164494"/>
                    <a:gd name="connsiteY22" fmla="*/ 44188 h 168846"/>
                    <a:gd name="connsiteX23" fmla="*/ 100682 w 164494"/>
                    <a:gd name="connsiteY23" fmla="*/ 45182 h 168846"/>
                    <a:gd name="connsiteX24" fmla="*/ 103412 w 164494"/>
                    <a:gd name="connsiteY24" fmla="*/ 45370 h 168846"/>
                    <a:gd name="connsiteX25" fmla="*/ 105841 w 164494"/>
                    <a:gd name="connsiteY25" fmla="*/ 45981 h 168846"/>
                    <a:gd name="connsiteX26" fmla="*/ 109223 w 164494"/>
                    <a:gd name="connsiteY26" fmla="*/ 45997 h 168846"/>
                    <a:gd name="connsiteX27" fmla="*/ 112654 w 164494"/>
                    <a:gd name="connsiteY27" fmla="*/ 46747 h 168846"/>
                    <a:gd name="connsiteX28" fmla="*/ 117682 w 164494"/>
                    <a:gd name="connsiteY28" fmla="*/ 48409 h 168846"/>
                    <a:gd name="connsiteX29" fmla="*/ 118856 w 164494"/>
                    <a:gd name="connsiteY29" fmla="*/ 49827 h 168846"/>
                    <a:gd name="connsiteX30" fmla="*/ 119051 w 164494"/>
                    <a:gd name="connsiteY30" fmla="*/ 50773 h 168846"/>
                    <a:gd name="connsiteX31" fmla="*/ 118571 w 164494"/>
                    <a:gd name="connsiteY31" fmla="*/ 52981 h 168846"/>
                    <a:gd name="connsiteX32" fmla="*/ 123371 w 164494"/>
                    <a:gd name="connsiteY32" fmla="*/ 54954 h 168846"/>
                    <a:gd name="connsiteX33" fmla="*/ 125425 w 164494"/>
                    <a:gd name="connsiteY33" fmla="*/ 56429 h 168846"/>
                    <a:gd name="connsiteX34" fmla="*/ 126182 w 164494"/>
                    <a:gd name="connsiteY34" fmla="*/ 57553 h 168846"/>
                    <a:gd name="connsiteX35" fmla="*/ 126068 w 164494"/>
                    <a:gd name="connsiteY35" fmla="*/ 58580 h 168846"/>
                    <a:gd name="connsiteX36" fmla="*/ 126549 w 164494"/>
                    <a:gd name="connsiteY36" fmla="*/ 60732 h 168846"/>
                    <a:gd name="connsiteX37" fmla="*/ 126052 w 164494"/>
                    <a:gd name="connsiteY37" fmla="*/ 61881 h 168846"/>
                    <a:gd name="connsiteX38" fmla="*/ 126036 w 164494"/>
                    <a:gd name="connsiteY38" fmla="*/ 63902 h 168846"/>
                    <a:gd name="connsiteX39" fmla="*/ 124944 w 164494"/>
                    <a:gd name="connsiteY39" fmla="*/ 66029 h 168846"/>
                    <a:gd name="connsiteX40" fmla="*/ 124577 w 164494"/>
                    <a:gd name="connsiteY40" fmla="*/ 67178 h 168846"/>
                    <a:gd name="connsiteX41" fmla="*/ 124553 w 164494"/>
                    <a:gd name="connsiteY41" fmla="*/ 68140 h 168846"/>
                    <a:gd name="connsiteX42" fmla="*/ 124789 w 164494"/>
                    <a:gd name="connsiteY42" fmla="*/ 68759 h 168846"/>
                    <a:gd name="connsiteX43" fmla="*/ 125376 w 164494"/>
                    <a:gd name="connsiteY43" fmla="*/ 69012 h 168846"/>
                    <a:gd name="connsiteX44" fmla="*/ 127193 w 164494"/>
                    <a:gd name="connsiteY44" fmla="*/ 68882 h 168846"/>
                    <a:gd name="connsiteX45" fmla="*/ 128978 w 164494"/>
                    <a:gd name="connsiteY45" fmla="*/ 68230 h 168846"/>
                    <a:gd name="connsiteX46" fmla="*/ 129785 w 164494"/>
                    <a:gd name="connsiteY46" fmla="*/ 68637 h 168846"/>
                    <a:gd name="connsiteX47" fmla="*/ 129948 w 164494"/>
                    <a:gd name="connsiteY47" fmla="*/ 68971 h 168846"/>
                    <a:gd name="connsiteX48" fmla="*/ 129817 w 164494"/>
                    <a:gd name="connsiteY48" fmla="*/ 69558 h 168846"/>
                    <a:gd name="connsiteX49" fmla="*/ 128375 w 164494"/>
                    <a:gd name="connsiteY49" fmla="*/ 73152 h 168846"/>
                    <a:gd name="connsiteX50" fmla="*/ 128423 w 164494"/>
                    <a:gd name="connsiteY50" fmla="*/ 74611 h 168846"/>
                    <a:gd name="connsiteX51" fmla="*/ 129035 w 164494"/>
                    <a:gd name="connsiteY51" fmla="*/ 76029 h 168846"/>
                    <a:gd name="connsiteX52" fmla="*/ 130037 w 164494"/>
                    <a:gd name="connsiteY52" fmla="*/ 77406 h 168846"/>
                    <a:gd name="connsiteX53" fmla="*/ 134854 w 164494"/>
                    <a:gd name="connsiteY53" fmla="*/ 79289 h 168846"/>
                    <a:gd name="connsiteX54" fmla="*/ 135840 w 164494"/>
                    <a:gd name="connsiteY54" fmla="*/ 75230 h 168846"/>
                    <a:gd name="connsiteX55" fmla="*/ 140192 w 164494"/>
                    <a:gd name="connsiteY55" fmla="*/ 71506 h 168846"/>
                    <a:gd name="connsiteX56" fmla="*/ 143395 w 164494"/>
                    <a:gd name="connsiteY56" fmla="*/ 65785 h 168846"/>
                    <a:gd name="connsiteX57" fmla="*/ 147681 w 164494"/>
                    <a:gd name="connsiteY57" fmla="*/ 65785 h 168846"/>
                    <a:gd name="connsiteX58" fmla="*/ 151854 w 164494"/>
                    <a:gd name="connsiteY58" fmla="*/ 65785 h 168846"/>
                    <a:gd name="connsiteX59" fmla="*/ 159099 w 164494"/>
                    <a:gd name="connsiteY59" fmla="*/ 70332 h 168846"/>
                    <a:gd name="connsiteX60" fmla="*/ 164494 w 164494"/>
                    <a:gd name="connsiteY60" fmla="*/ 73714 h 168846"/>
                    <a:gd name="connsiteX61" fmla="*/ 161096 w 164494"/>
                    <a:gd name="connsiteY61" fmla="*/ 76999 h 168846"/>
                    <a:gd name="connsiteX62" fmla="*/ 157763 w 164494"/>
                    <a:gd name="connsiteY62" fmla="*/ 80226 h 168846"/>
                    <a:gd name="connsiteX63" fmla="*/ 153329 w 164494"/>
                    <a:gd name="connsiteY63" fmla="*/ 87072 h 168846"/>
                    <a:gd name="connsiteX64" fmla="*/ 150664 w 164494"/>
                    <a:gd name="connsiteY64" fmla="*/ 96004 h 168846"/>
                    <a:gd name="connsiteX65" fmla="*/ 148268 w 164494"/>
                    <a:gd name="connsiteY65" fmla="*/ 104023 h 168846"/>
                    <a:gd name="connsiteX66" fmla="*/ 145448 w 164494"/>
                    <a:gd name="connsiteY66" fmla="*/ 113444 h 168846"/>
                    <a:gd name="connsiteX67" fmla="*/ 144185 w 164494"/>
                    <a:gd name="connsiteY67" fmla="*/ 120453 h 168846"/>
                    <a:gd name="connsiteX68" fmla="*/ 142743 w 164494"/>
                    <a:gd name="connsiteY68" fmla="*/ 128538 h 168846"/>
                    <a:gd name="connsiteX69" fmla="*/ 142653 w 164494"/>
                    <a:gd name="connsiteY69" fmla="*/ 131537 h 168846"/>
                    <a:gd name="connsiteX70" fmla="*/ 142408 w 164494"/>
                    <a:gd name="connsiteY70" fmla="*/ 140021 h 168846"/>
                    <a:gd name="connsiteX71" fmla="*/ 143427 w 164494"/>
                    <a:gd name="connsiteY71" fmla="*/ 150281 h 168846"/>
                    <a:gd name="connsiteX72" fmla="*/ 144283 w 164494"/>
                    <a:gd name="connsiteY72" fmla="*/ 158863 h 168846"/>
                    <a:gd name="connsiteX73" fmla="*/ 145285 w 164494"/>
                    <a:gd name="connsiteY73" fmla="*/ 168846 h 168846"/>
                    <a:gd name="connsiteX74" fmla="*/ 134112 w 164494"/>
                    <a:gd name="connsiteY74" fmla="*/ 168765 h 168846"/>
                    <a:gd name="connsiteX75" fmla="*/ 122947 w 164494"/>
                    <a:gd name="connsiteY75" fmla="*/ 168675 h 168846"/>
                    <a:gd name="connsiteX76" fmla="*/ 111774 w 164494"/>
                    <a:gd name="connsiteY76" fmla="*/ 168585 h 168846"/>
                    <a:gd name="connsiteX77" fmla="*/ 100617 w 164494"/>
                    <a:gd name="connsiteY77" fmla="*/ 168496 h 168846"/>
                    <a:gd name="connsiteX78" fmla="*/ 89443 w 164494"/>
                    <a:gd name="connsiteY78" fmla="*/ 168414 h 168846"/>
                    <a:gd name="connsiteX79" fmla="*/ 78278 w 164494"/>
                    <a:gd name="connsiteY79" fmla="*/ 168325 h 168846"/>
                    <a:gd name="connsiteX80" fmla="*/ 67113 w 164494"/>
                    <a:gd name="connsiteY80" fmla="*/ 168243 h 168846"/>
                    <a:gd name="connsiteX81" fmla="*/ 55712 w 164494"/>
                    <a:gd name="connsiteY81" fmla="*/ 168145 h 168846"/>
                    <a:gd name="connsiteX82" fmla="*/ 55540 w 164494"/>
                    <a:gd name="connsiteY82" fmla="*/ 167885 h 168846"/>
                    <a:gd name="connsiteX83" fmla="*/ 54791 w 164494"/>
                    <a:gd name="connsiteY83" fmla="*/ 164788 h 168846"/>
                    <a:gd name="connsiteX84" fmla="*/ 52281 w 164494"/>
                    <a:gd name="connsiteY84" fmla="*/ 162497 h 168846"/>
                    <a:gd name="connsiteX85" fmla="*/ 48035 w 164494"/>
                    <a:gd name="connsiteY85" fmla="*/ 160998 h 168846"/>
                    <a:gd name="connsiteX86" fmla="*/ 45312 w 164494"/>
                    <a:gd name="connsiteY86" fmla="*/ 158643 h 168846"/>
                    <a:gd name="connsiteX87" fmla="*/ 44131 w 164494"/>
                    <a:gd name="connsiteY87" fmla="*/ 155424 h 168846"/>
                    <a:gd name="connsiteX88" fmla="*/ 43373 w 164494"/>
                    <a:gd name="connsiteY88" fmla="*/ 151813 h 168846"/>
                    <a:gd name="connsiteX89" fmla="*/ 43047 w 164494"/>
                    <a:gd name="connsiteY89" fmla="*/ 147795 h 168846"/>
                    <a:gd name="connsiteX90" fmla="*/ 43389 w 164494"/>
                    <a:gd name="connsiteY90" fmla="*/ 144430 h 168846"/>
                    <a:gd name="connsiteX91" fmla="*/ 44392 w 164494"/>
                    <a:gd name="connsiteY91" fmla="*/ 141708 h 168846"/>
                    <a:gd name="connsiteX92" fmla="*/ 44139 w 164494"/>
                    <a:gd name="connsiteY92" fmla="*/ 139874 h 168846"/>
                    <a:gd name="connsiteX93" fmla="*/ 42623 w 164494"/>
                    <a:gd name="connsiteY93" fmla="*/ 138912 h 168846"/>
                    <a:gd name="connsiteX94" fmla="*/ 41621 w 164494"/>
                    <a:gd name="connsiteY94" fmla="*/ 137649 h 168846"/>
                    <a:gd name="connsiteX95" fmla="*/ 41132 w 164494"/>
                    <a:gd name="connsiteY95" fmla="*/ 136092 h 168846"/>
                    <a:gd name="connsiteX96" fmla="*/ 40961 w 164494"/>
                    <a:gd name="connsiteY96" fmla="*/ 133933 h 168846"/>
                    <a:gd name="connsiteX97" fmla="*/ 40138 w 164494"/>
                    <a:gd name="connsiteY97" fmla="*/ 123680 h 168846"/>
                    <a:gd name="connsiteX98" fmla="*/ 39111 w 164494"/>
                    <a:gd name="connsiteY98" fmla="*/ 118848 h 168846"/>
                    <a:gd name="connsiteX99" fmla="*/ 37546 w 164494"/>
                    <a:gd name="connsiteY99" fmla="*/ 116949 h 168846"/>
                    <a:gd name="connsiteX100" fmla="*/ 34270 w 164494"/>
                    <a:gd name="connsiteY100" fmla="*/ 114740 h 168846"/>
                    <a:gd name="connsiteX101" fmla="*/ 29274 w 164494"/>
                    <a:gd name="connsiteY101" fmla="*/ 112222 h 168846"/>
                    <a:gd name="connsiteX102" fmla="*/ 26185 w 164494"/>
                    <a:gd name="connsiteY102" fmla="*/ 109867 h 168846"/>
                    <a:gd name="connsiteX103" fmla="*/ 24417 w 164494"/>
                    <a:gd name="connsiteY103" fmla="*/ 106558 h 168846"/>
                    <a:gd name="connsiteX104" fmla="*/ 20872 w 164494"/>
                    <a:gd name="connsiteY104" fmla="*/ 102687 h 168846"/>
                    <a:gd name="connsiteX105" fmla="*/ 18557 w 164494"/>
                    <a:gd name="connsiteY105" fmla="*/ 101097 h 168846"/>
                    <a:gd name="connsiteX106" fmla="*/ 16275 w 164494"/>
                    <a:gd name="connsiteY106" fmla="*/ 100511 h 168846"/>
                    <a:gd name="connsiteX107" fmla="*/ 14474 w 164494"/>
                    <a:gd name="connsiteY107" fmla="*/ 99264 h 168846"/>
                    <a:gd name="connsiteX108" fmla="*/ 13137 w 164494"/>
                    <a:gd name="connsiteY108" fmla="*/ 97357 h 168846"/>
                    <a:gd name="connsiteX109" fmla="*/ 11287 w 164494"/>
                    <a:gd name="connsiteY109" fmla="*/ 96159 h 168846"/>
                    <a:gd name="connsiteX110" fmla="*/ 8924 w 164494"/>
                    <a:gd name="connsiteY110" fmla="*/ 95662 h 168846"/>
                    <a:gd name="connsiteX111" fmla="*/ 6275 w 164494"/>
                    <a:gd name="connsiteY111" fmla="*/ 94105 h 168846"/>
                    <a:gd name="connsiteX112" fmla="*/ 3146 w 164494"/>
                    <a:gd name="connsiteY112" fmla="*/ 91285 h 168846"/>
                    <a:gd name="connsiteX113" fmla="*/ 3081 w 164494"/>
                    <a:gd name="connsiteY113" fmla="*/ 91065 h 168846"/>
                    <a:gd name="connsiteX114" fmla="*/ 2420 w 164494"/>
                    <a:gd name="connsiteY114" fmla="*/ 89036 h 168846"/>
                    <a:gd name="connsiteX115" fmla="*/ 2779 w 164494"/>
                    <a:gd name="connsiteY115" fmla="*/ 87895 h 168846"/>
                    <a:gd name="connsiteX116" fmla="*/ 3309 w 164494"/>
                    <a:gd name="connsiteY116" fmla="*/ 83983 h 168846"/>
                    <a:gd name="connsiteX117" fmla="*/ 3268 w 164494"/>
                    <a:gd name="connsiteY117" fmla="*/ 82744 h 168846"/>
                    <a:gd name="connsiteX118" fmla="*/ 2567 w 164494"/>
                    <a:gd name="connsiteY118" fmla="*/ 79175 h 168846"/>
                    <a:gd name="connsiteX119" fmla="*/ 3415 w 164494"/>
                    <a:gd name="connsiteY119" fmla="*/ 77797 h 168846"/>
                    <a:gd name="connsiteX120" fmla="*/ 3235 w 164494"/>
                    <a:gd name="connsiteY120" fmla="*/ 73380 h 168846"/>
                    <a:gd name="connsiteX121" fmla="*/ 3537 w 164494"/>
                    <a:gd name="connsiteY121" fmla="*/ 71930 h 168846"/>
                    <a:gd name="connsiteX122" fmla="*/ 5232 w 164494"/>
                    <a:gd name="connsiteY122" fmla="*/ 68311 h 168846"/>
                    <a:gd name="connsiteX123" fmla="*/ 5305 w 164494"/>
                    <a:gd name="connsiteY123" fmla="*/ 66461 h 168846"/>
                    <a:gd name="connsiteX124" fmla="*/ 4702 w 164494"/>
                    <a:gd name="connsiteY124" fmla="*/ 64334 h 168846"/>
                    <a:gd name="connsiteX125" fmla="*/ 3456 w 164494"/>
                    <a:gd name="connsiteY125" fmla="*/ 62582 h 168846"/>
                    <a:gd name="connsiteX126" fmla="*/ 106 w 164494"/>
                    <a:gd name="connsiteY126" fmla="*/ 60773 h 168846"/>
                    <a:gd name="connsiteX127" fmla="*/ 0 w 164494"/>
                    <a:gd name="connsiteY127" fmla="*/ 58523 h 168846"/>
                    <a:gd name="connsiteX128" fmla="*/ 546 w 164494"/>
                    <a:gd name="connsiteY128" fmla="*/ 56844 h 168846"/>
                    <a:gd name="connsiteX129" fmla="*/ 2738 w 164494"/>
                    <a:gd name="connsiteY129" fmla="*/ 53690 h 168846"/>
                    <a:gd name="connsiteX130" fmla="*/ 3936 w 164494"/>
                    <a:gd name="connsiteY130" fmla="*/ 50903 h 168846"/>
                    <a:gd name="connsiteX131" fmla="*/ 5028 w 164494"/>
                    <a:gd name="connsiteY131" fmla="*/ 49689 h 168846"/>
                    <a:gd name="connsiteX132" fmla="*/ 11711 w 164494"/>
                    <a:gd name="connsiteY132" fmla="*/ 45492 h 168846"/>
                    <a:gd name="connsiteX133" fmla="*/ 13129 w 164494"/>
                    <a:gd name="connsiteY133" fmla="*/ 45198 h 168846"/>
                    <a:gd name="connsiteX134" fmla="*/ 14172 w 164494"/>
                    <a:gd name="connsiteY134" fmla="*/ 44017 h 168846"/>
                    <a:gd name="connsiteX135" fmla="*/ 14988 w 164494"/>
                    <a:gd name="connsiteY135" fmla="*/ 43495 h 168846"/>
                    <a:gd name="connsiteX136" fmla="*/ 14988 w 164494"/>
                    <a:gd name="connsiteY136" fmla="*/ 38393 h 168846"/>
                    <a:gd name="connsiteX137" fmla="*/ 14995 w 164494"/>
                    <a:gd name="connsiteY137" fmla="*/ 33292 h 168846"/>
                    <a:gd name="connsiteX138" fmla="*/ 15004 w 164494"/>
                    <a:gd name="connsiteY138" fmla="*/ 28190 h 168846"/>
                    <a:gd name="connsiteX139" fmla="*/ 15012 w 164494"/>
                    <a:gd name="connsiteY139" fmla="*/ 23072 h 168846"/>
                    <a:gd name="connsiteX140" fmla="*/ 16682 w 164494"/>
                    <a:gd name="connsiteY140" fmla="*/ 22705 h 168846"/>
                    <a:gd name="connsiteX141" fmla="*/ 17424 w 164494"/>
                    <a:gd name="connsiteY141" fmla="*/ 21434 h 168846"/>
                    <a:gd name="connsiteX142" fmla="*/ 19136 w 164494"/>
                    <a:gd name="connsiteY142" fmla="*/ 19437 h 168846"/>
                    <a:gd name="connsiteX143" fmla="*/ 19926 w 164494"/>
                    <a:gd name="connsiteY143" fmla="*/ 19478 h 168846"/>
                    <a:gd name="connsiteX144" fmla="*/ 23113 w 164494"/>
                    <a:gd name="connsiteY144" fmla="*/ 20619 h 168846"/>
                    <a:gd name="connsiteX145" fmla="*/ 26193 w 164494"/>
                    <a:gd name="connsiteY145" fmla="*/ 18883 h 168846"/>
                    <a:gd name="connsiteX146" fmla="*/ 29266 w 164494"/>
                    <a:gd name="connsiteY146" fmla="*/ 17155 h 168846"/>
                    <a:gd name="connsiteX147" fmla="*/ 32346 w 164494"/>
                    <a:gd name="connsiteY147" fmla="*/ 15411 h 168846"/>
                    <a:gd name="connsiteX148" fmla="*/ 35427 w 164494"/>
                    <a:gd name="connsiteY148" fmla="*/ 13675 h 168846"/>
                    <a:gd name="connsiteX149" fmla="*/ 40480 w 164494"/>
                    <a:gd name="connsiteY149" fmla="*/ 10261 h 168846"/>
                    <a:gd name="connsiteX150" fmla="*/ 45533 w 164494"/>
                    <a:gd name="connsiteY150" fmla="*/ 6838 h 168846"/>
                    <a:gd name="connsiteX151" fmla="*/ 50577 w 164494"/>
                    <a:gd name="connsiteY151" fmla="*/ 3423 h 168846"/>
                    <a:gd name="connsiteX152" fmla="*/ 55622 w 164494"/>
                    <a:gd name="connsiteY152" fmla="*/ 0 h 168846"/>
                    <a:gd name="connsiteX153" fmla="*/ 59941 w 164494"/>
                    <a:gd name="connsiteY153" fmla="*/ 196 h 168846"/>
                    <a:gd name="connsiteX154" fmla="*/ 64261 w 164494"/>
                    <a:gd name="connsiteY154" fmla="*/ 383 h 168846"/>
                    <a:gd name="connsiteX155" fmla="*/ 68580 w 164494"/>
                    <a:gd name="connsiteY155" fmla="*/ 579 h 168846"/>
                    <a:gd name="connsiteX156" fmla="*/ 72899 w 164494"/>
                    <a:gd name="connsiteY156" fmla="*/ 774 h 168846"/>
                    <a:gd name="connsiteX157" fmla="*/ 71489 w 164494"/>
                    <a:gd name="connsiteY157" fmla="*/ 3904 h 168846"/>
                    <a:gd name="connsiteX158" fmla="*/ 70080 w 164494"/>
                    <a:gd name="connsiteY158" fmla="*/ 7033 h 168846"/>
                    <a:gd name="connsiteX159" fmla="*/ 68662 w 164494"/>
                    <a:gd name="connsiteY159" fmla="*/ 10163 h 168846"/>
                    <a:gd name="connsiteX160" fmla="*/ 67252 w 164494"/>
                    <a:gd name="connsiteY160" fmla="*/ 13276 h 168846"/>
                    <a:gd name="connsiteX161" fmla="*/ 65842 w 164494"/>
                    <a:gd name="connsiteY161" fmla="*/ 16397 h 168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164494" h="168846">
                      <a:moveTo>
                        <a:pt x="64432" y="19527"/>
                      </a:moveTo>
                      <a:lnTo>
                        <a:pt x="63022" y="22632"/>
                      </a:lnTo>
                      <a:lnTo>
                        <a:pt x="61612" y="25753"/>
                      </a:lnTo>
                      <a:lnTo>
                        <a:pt x="62117" y="27041"/>
                      </a:lnTo>
                      <a:lnTo>
                        <a:pt x="63397" y="26699"/>
                      </a:lnTo>
                      <a:lnTo>
                        <a:pt x="63951" y="27473"/>
                      </a:lnTo>
                      <a:lnTo>
                        <a:pt x="64709" y="27807"/>
                      </a:lnTo>
                      <a:lnTo>
                        <a:pt x="66135" y="28426"/>
                      </a:lnTo>
                      <a:lnTo>
                        <a:pt x="66828" y="29918"/>
                      </a:lnTo>
                      <a:lnTo>
                        <a:pt x="67521" y="31409"/>
                      </a:lnTo>
                      <a:lnTo>
                        <a:pt x="68205" y="32900"/>
                      </a:lnTo>
                      <a:lnTo>
                        <a:pt x="68906" y="34384"/>
                      </a:lnTo>
                      <a:lnTo>
                        <a:pt x="72003" y="35239"/>
                      </a:lnTo>
                      <a:lnTo>
                        <a:pt x="75100" y="36087"/>
                      </a:lnTo>
                      <a:lnTo>
                        <a:pt x="78197" y="36951"/>
                      </a:lnTo>
                      <a:lnTo>
                        <a:pt x="81294" y="37798"/>
                      </a:lnTo>
                      <a:lnTo>
                        <a:pt x="84399" y="38646"/>
                      </a:lnTo>
                      <a:lnTo>
                        <a:pt x="87496" y="39502"/>
                      </a:lnTo>
                      <a:lnTo>
                        <a:pt x="90592" y="40349"/>
                      </a:lnTo>
                      <a:lnTo>
                        <a:pt x="93689" y="41197"/>
                      </a:lnTo>
                      <a:lnTo>
                        <a:pt x="95434" y="42199"/>
                      </a:lnTo>
                      <a:lnTo>
                        <a:pt x="97186" y="43185"/>
                      </a:lnTo>
                      <a:lnTo>
                        <a:pt x="98938" y="44188"/>
                      </a:lnTo>
                      <a:lnTo>
                        <a:pt x="100682" y="45182"/>
                      </a:lnTo>
                      <a:lnTo>
                        <a:pt x="103412" y="45370"/>
                      </a:lnTo>
                      <a:lnTo>
                        <a:pt x="105841" y="45981"/>
                      </a:lnTo>
                      <a:lnTo>
                        <a:pt x="109223" y="45997"/>
                      </a:lnTo>
                      <a:lnTo>
                        <a:pt x="112654" y="46747"/>
                      </a:lnTo>
                      <a:lnTo>
                        <a:pt x="117682" y="48409"/>
                      </a:lnTo>
                      <a:lnTo>
                        <a:pt x="118856" y="49827"/>
                      </a:lnTo>
                      <a:lnTo>
                        <a:pt x="119051" y="50773"/>
                      </a:lnTo>
                      <a:lnTo>
                        <a:pt x="118571" y="52981"/>
                      </a:lnTo>
                      <a:lnTo>
                        <a:pt x="123371" y="54954"/>
                      </a:lnTo>
                      <a:lnTo>
                        <a:pt x="125425" y="56429"/>
                      </a:lnTo>
                      <a:lnTo>
                        <a:pt x="126182" y="57553"/>
                      </a:lnTo>
                      <a:lnTo>
                        <a:pt x="126068" y="58580"/>
                      </a:lnTo>
                      <a:lnTo>
                        <a:pt x="126549" y="60732"/>
                      </a:lnTo>
                      <a:lnTo>
                        <a:pt x="126052" y="61881"/>
                      </a:lnTo>
                      <a:lnTo>
                        <a:pt x="126036" y="63902"/>
                      </a:lnTo>
                      <a:lnTo>
                        <a:pt x="124944" y="66029"/>
                      </a:lnTo>
                      <a:lnTo>
                        <a:pt x="124577" y="67178"/>
                      </a:lnTo>
                      <a:lnTo>
                        <a:pt x="124553" y="68140"/>
                      </a:lnTo>
                      <a:lnTo>
                        <a:pt x="124789" y="68759"/>
                      </a:lnTo>
                      <a:lnTo>
                        <a:pt x="125376" y="69012"/>
                      </a:lnTo>
                      <a:lnTo>
                        <a:pt x="127193" y="68882"/>
                      </a:lnTo>
                      <a:lnTo>
                        <a:pt x="128978" y="68230"/>
                      </a:lnTo>
                      <a:lnTo>
                        <a:pt x="129785" y="68637"/>
                      </a:lnTo>
                      <a:lnTo>
                        <a:pt x="129948" y="68971"/>
                      </a:lnTo>
                      <a:lnTo>
                        <a:pt x="129817" y="69558"/>
                      </a:lnTo>
                      <a:lnTo>
                        <a:pt x="128375" y="73152"/>
                      </a:lnTo>
                      <a:lnTo>
                        <a:pt x="128423" y="74611"/>
                      </a:lnTo>
                      <a:lnTo>
                        <a:pt x="129035" y="76029"/>
                      </a:lnTo>
                      <a:lnTo>
                        <a:pt x="130037" y="77406"/>
                      </a:lnTo>
                      <a:lnTo>
                        <a:pt x="134854" y="79289"/>
                      </a:lnTo>
                      <a:lnTo>
                        <a:pt x="135840" y="75230"/>
                      </a:lnTo>
                      <a:lnTo>
                        <a:pt x="140192" y="71506"/>
                      </a:lnTo>
                      <a:lnTo>
                        <a:pt x="143395" y="65785"/>
                      </a:lnTo>
                      <a:lnTo>
                        <a:pt x="147681" y="65785"/>
                      </a:lnTo>
                      <a:lnTo>
                        <a:pt x="151854" y="65785"/>
                      </a:lnTo>
                      <a:lnTo>
                        <a:pt x="159099" y="70332"/>
                      </a:lnTo>
                      <a:lnTo>
                        <a:pt x="164494" y="73714"/>
                      </a:lnTo>
                      <a:lnTo>
                        <a:pt x="161096" y="76999"/>
                      </a:lnTo>
                      <a:lnTo>
                        <a:pt x="157763" y="80226"/>
                      </a:lnTo>
                      <a:lnTo>
                        <a:pt x="153329" y="87072"/>
                      </a:lnTo>
                      <a:lnTo>
                        <a:pt x="150664" y="96004"/>
                      </a:lnTo>
                      <a:lnTo>
                        <a:pt x="148268" y="104023"/>
                      </a:lnTo>
                      <a:lnTo>
                        <a:pt x="145448" y="113444"/>
                      </a:lnTo>
                      <a:lnTo>
                        <a:pt x="144185" y="120453"/>
                      </a:lnTo>
                      <a:lnTo>
                        <a:pt x="142743" y="128538"/>
                      </a:lnTo>
                      <a:lnTo>
                        <a:pt x="142653" y="131537"/>
                      </a:lnTo>
                      <a:lnTo>
                        <a:pt x="142408" y="140021"/>
                      </a:lnTo>
                      <a:lnTo>
                        <a:pt x="143427" y="150281"/>
                      </a:lnTo>
                      <a:lnTo>
                        <a:pt x="144283" y="158863"/>
                      </a:lnTo>
                      <a:lnTo>
                        <a:pt x="145285" y="168846"/>
                      </a:lnTo>
                      <a:lnTo>
                        <a:pt x="134112" y="168765"/>
                      </a:lnTo>
                      <a:lnTo>
                        <a:pt x="122947" y="168675"/>
                      </a:lnTo>
                      <a:lnTo>
                        <a:pt x="111774" y="168585"/>
                      </a:lnTo>
                      <a:lnTo>
                        <a:pt x="100617" y="168496"/>
                      </a:lnTo>
                      <a:lnTo>
                        <a:pt x="89443" y="168414"/>
                      </a:lnTo>
                      <a:lnTo>
                        <a:pt x="78278" y="168325"/>
                      </a:lnTo>
                      <a:lnTo>
                        <a:pt x="67113" y="168243"/>
                      </a:lnTo>
                      <a:lnTo>
                        <a:pt x="55712" y="168145"/>
                      </a:lnTo>
                      <a:lnTo>
                        <a:pt x="55540" y="167885"/>
                      </a:lnTo>
                      <a:lnTo>
                        <a:pt x="54791" y="164788"/>
                      </a:lnTo>
                      <a:lnTo>
                        <a:pt x="52281" y="162497"/>
                      </a:lnTo>
                      <a:lnTo>
                        <a:pt x="48035" y="160998"/>
                      </a:lnTo>
                      <a:lnTo>
                        <a:pt x="45312" y="158643"/>
                      </a:lnTo>
                      <a:lnTo>
                        <a:pt x="44131" y="155424"/>
                      </a:lnTo>
                      <a:lnTo>
                        <a:pt x="43373" y="151813"/>
                      </a:lnTo>
                      <a:lnTo>
                        <a:pt x="43047" y="147795"/>
                      </a:lnTo>
                      <a:lnTo>
                        <a:pt x="43389" y="144430"/>
                      </a:lnTo>
                      <a:lnTo>
                        <a:pt x="44392" y="141708"/>
                      </a:lnTo>
                      <a:lnTo>
                        <a:pt x="44139" y="139874"/>
                      </a:lnTo>
                      <a:lnTo>
                        <a:pt x="42623" y="138912"/>
                      </a:lnTo>
                      <a:lnTo>
                        <a:pt x="41621" y="137649"/>
                      </a:lnTo>
                      <a:lnTo>
                        <a:pt x="41132" y="136092"/>
                      </a:lnTo>
                      <a:lnTo>
                        <a:pt x="40961" y="133933"/>
                      </a:lnTo>
                      <a:lnTo>
                        <a:pt x="40138" y="123680"/>
                      </a:lnTo>
                      <a:lnTo>
                        <a:pt x="39111" y="118848"/>
                      </a:lnTo>
                      <a:lnTo>
                        <a:pt x="37546" y="116949"/>
                      </a:lnTo>
                      <a:lnTo>
                        <a:pt x="34270" y="114740"/>
                      </a:lnTo>
                      <a:lnTo>
                        <a:pt x="29274" y="112222"/>
                      </a:lnTo>
                      <a:lnTo>
                        <a:pt x="26185" y="109867"/>
                      </a:lnTo>
                      <a:lnTo>
                        <a:pt x="24417" y="106558"/>
                      </a:lnTo>
                      <a:lnTo>
                        <a:pt x="20872" y="102687"/>
                      </a:lnTo>
                      <a:lnTo>
                        <a:pt x="18557" y="101097"/>
                      </a:lnTo>
                      <a:lnTo>
                        <a:pt x="16275" y="100511"/>
                      </a:lnTo>
                      <a:lnTo>
                        <a:pt x="14474" y="99264"/>
                      </a:lnTo>
                      <a:lnTo>
                        <a:pt x="13137" y="97357"/>
                      </a:lnTo>
                      <a:lnTo>
                        <a:pt x="11287" y="96159"/>
                      </a:lnTo>
                      <a:lnTo>
                        <a:pt x="8924" y="95662"/>
                      </a:lnTo>
                      <a:lnTo>
                        <a:pt x="6275" y="94105"/>
                      </a:lnTo>
                      <a:lnTo>
                        <a:pt x="3146" y="91285"/>
                      </a:lnTo>
                      <a:lnTo>
                        <a:pt x="3081" y="91065"/>
                      </a:lnTo>
                      <a:lnTo>
                        <a:pt x="2420" y="89036"/>
                      </a:lnTo>
                      <a:lnTo>
                        <a:pt x="2779" y="87895"/>
                      </a:lnTo>
                      <a:lnTo>
                        <a:pt x="3309" y="83983"/>
                      </a:lnTo>
                      <a:lnTo>
                        <a:pt x="3268" y="82744"/>
                      </a:lnTo>
                      <a:lnTo>
                        <a:pt x="2567" y="79175"/>
                      </a:lnTo>
                      <a:lnTo>
                        <a:pt x="3415" y="77797"/>
                      </a:lnTo>
                      <a:lnTo>
                        <a:pt x="3235" y="73380"/>
                      </a:lnTo>
                      <a:lnTo>
                        <a:pt x="3537" y="71930"/>
                      </a:lnTo>
                      <a:lnTo>
                        <a:pt x="5232" y="68311"/>
                      </a:lnTo>
                      <a:lnTo>
                        <a:pt x="5305" y="66461"/>
                      </a:lnTo>
                      <a:lnTo>
                        <a:pt x="4702" y="64334"/>
                      </a:lnTo>
                      <a:lnTo>
                        <a:pt x="3456" y="62582"/>
                      </a:lnTo>
                      <a:lnTo>
                        <a:pt x="106" y="60773"/>
                      </a:lnTo>
                      <a:lnTo>
                        <a:pt x="0" y="58523"/>
                      </a:lnTo>
                      <a:lnTo>
                        <a:pt x="546" y="56844"/>
                      </a:lnTo>
                      <a:lnTo>
                        <a:pt x="2738" y="53690"/>
                      </a:lnTo>
                      <a:lnTo>
                        <a:pt x="3936" y="50903"/>
                      </a:lnTo>
                      <a:lnTo>
                        <a:pt x="5028" y="49689"/>
                      </a:lnTo>
                      <a:lnTo>
                        <a:pt x="11711" y="45492"/>
                      </a:lnTo>
                      <a:lnTo>
                        <a:pt x="13129" y="45198"/>
                      </a:lnTo>
                      <a:lnTo>
                        <a:pt x="14172" y="44017"/>
                      </a:lnTo>
                      <a:lnTo>
                        <a:pt x="14988" y="43495"/>
                      </a:lnTo>
                      <a:lnTo>
                        <a:pt x="14988" y="38393"/>
                      </a:lnTo>
                      <a:lnTo>
                        <a:pt x="14995" y="33292"/>
                      </a:lnTo>
                      <a:lnTo>
                        <a:pt x="15004" y="28190"/>
                      </a:lnTo>
                      <a:lnTo>
                        <a:pt x="15012" y="23072"/>
                      </a:lnTo>
                      <a:lnTo>
                        <a:pt x="16682" y="22705"/>
                      </a:lnTo>
                      <a:lnTo>
                        <a:pt x="17424" y="21434"/>
                      </a:lnTo>
                      <a:lnTo>
                        <a:pt x="19136" y="19437"/>
                      </a:lnTo>
                      <a:lnTo>
                        <a:pt x="19926" y="19478"/>
                      </a:lnTo>
                      <a:lnTo>
                        <a:pt x="23113" y="20619"/>
                      </a:lnTo>
                      <a:lnTo>
                        <a:pt x="26193" y="18883"/>
                      </a:lnTo>
                      <a:lnTo>
                        <a:pt x="29266" y="17155"/>
                      </a:lnTo>
                      <a:lnTo>
                        <a:pt x="32346" y="15411"/>
                      </a:lnTo>
                      <a:lnTo>
                        <a:pt x="35427" y="13675"/>
                      </a:lnTo>
                      <a:lnTo>
                        <a:pt x="40480" y="10261"/>
                      </a:lnTo>
                      <a:lnTo>
                        <a:pt x="45533" y="6838"/>
                      </a:lnTo>
                      <a:lnTo>
                        <a:pt x="50577" y="3423"/>
                      </a:lnTo>
                      <a:lnTo>
                        <a:pt x="55622" y="0"/>
                      </a:lnTo>
                      <a:lnTo>
                        <a:pt x="59941" y="196"/>
                      </a:lnTo>
                      <a:lnTo>
                        <a:pt x="64261" y="383"/>
                      </a:lnTo>
                      <a:lnTo>
                        <a:pt x="68580" y="579"/>
                      </a:lnTo>
                      <a:lnTo>
                        <a:pt x="72899" y="774"/>
                      </a:lnTo>
                      <a:lnTo>
                        <a:pt x="71489" y="3904"/>
                      </a:lnTo>
                      <a:lnTo>
                        <a:pt x="70080" y="7033"/>
                      </a:lnTo>
                      <a:lnTo>
                        <a:pt x="68662" y="10163"/>
                      </a:lnTo>
                      <a:lnTo>
                        <a:pt x="67252" y="13276"/>
                      </a:lnTo>
                      <a:lnTo>
                        <a:pt x="65842" y="16397"/>
                      </a:lnTo>
                      <a:close/>
                    </a:path>
                  </a:pathLst>
                </a:custGeom>
                <a:solidFill>
                  <a:srgbClr val="D6D6D2"/>
                </a:solidFill>
                <a:ln w="6112" cap="rnd">
                  <a:solidFill>
                    <a:srgbClr val="FFFFFF"/>
                  </a:solidFill>
                  <a:prstDash val="solid"/>
                  <a:round/>
                </a:ln>
              </p:spPr>
              <p:txBody>
                <a:bodyPr rtlCol="0" anchor="ctr"/>
                <a:lstStyle/>
                <a:p>
                  <a:endParaRPr lang="en-US"/>
                </a:p>
              </p:txBody>
            </p:sp>
            <p:sp>
              <p:nvSpPr>
                <p:cNvPr id="429" name="Freeform: Shape 428">
                  <a:extLst>
                    <a:ext uri="{FF2B5EF4-FFF2-40B4-BE49-F238E27FC236}">
                      <a16:creationId xmlns:a16="http://schemas.microsoft.com/office/drawing/2014/main" id="{98B46836-F8CE-43E8-8EC5-E8185BC4D0F4}"/>
                    </a:ext>
                  </a:extLst>
                </p:cNvPr>
                <p:cNvSpPr/>
                <p:nvPr/>
              </p:nvSpPr>
              <p:spPr>
                <a:xfrm>
                  <a:off x="2850540" y="2961256"/>
                  <a:ext cx="193776" cy="121406"/>
                </a:xfrm>
                <a:custGeom>
                  <a:avLst/>
                  <a:gdLst>
                    <a:gd name="connsiteX0" fmla="*/ 190304 w 193776"/>
                    <a:gd name="connsiteY0" fmla="*/ 5770 h 121406"/>
                    <a:gd name="connsiteX1" fmla="*/ 190321 w 193776"/>
                    <a:gd name="connsiteY1" fmla="*/ 11556 h 121406"/>
                    <a:gd name="connsiteX2" fmla="*/ 190337 w 193776"/>
                    <a:gd name="connsiteY2" fmla="*/ 17326 h 121406"/>
                    <a:gd name="connsiteX3" fmla="*/ 190361 w 193776"/>
                    <a:gd name="connsiteY3" fmla="*/ 23096 h 121406"/>
                    <a:gd name="connsiteX4" fmla="*/ 190378 w 193776"/>
                    <a:gd name="connsiteY4" fmla="*/ 28858 h 121406"/>
                    <a:gd name="connsiteX5" fmla="*/ 190402 w 193776"/>
                    <a:gd name="connsiteY5" fmla="*/ 34620 h 121406"/>
                    <a:gd name="connsiteX6" fmla="*/ 190410 w 193776"/>
                    <a:gd name="connsiteY6" fmla="*/ 40366 h 121406"/>
                    <a:gd name="connsiteX7" fmla="*/ 190435 w 193776"/>
                    <a:gd name="connsiteY7" fmla="*/ 46111 h 121406"/>
                    <a:gd name="connsiteX8" fmla="*/ 190451 w 193776"/>
                    <a:gd name="connsiteY8" fmla="*/ 51840 h 121406"/>
                    <a:gd name="connsiteX9" fmla="*/ 190476 w 193776"/>
                    <a:gd name="connsiteY9" fmla="*/ 57570 h 121406"/>
                    <a:gd name="connsiteX10" fmla="*/ 190492 w 193776"/>
                    <a:gd name="connsiteY10" fmla="*/ 63283 h 121406"/>
                    <a:gd name="connsiteX11" fmla="*/ 190508 w 193776"/>
                    <a:gd name="connsiteY11" fmla="*/ 69004 h 121406"/>
                    <a:gd name="connsiteX12" fmla="*/ 190533 w 193776"/>
                    <a:gd name="connsiteY12" fmla="*/ 74717 h 121406"/>
                    <a:gd name="connsiteX13" fmla="*/ 190549 w 193776"/>
                    <a:gd name="connsiteY13" fmla="*/ 80413 h 121406"/>
                    <a:gd name="connsiteX14" fmla="*/ 190565 w 193776"/>
                    <a:gd name="connsiteY14" fmla="*/ 86110 h 121406"/>
                    <a:gd name="connsiteX15" fmla="*/ 190582 w 193776"/>
                    <a:gd name="connsiteY15" fmla="*/ 91790 h 121406"/>
                    <a:gd name="connsiteX16" fmla="*/ 190394 w 193776"/>
                    <a:gd name="connsiteY16" fmla="*/ 92133 h 121406"/>
                    <a:gd name="connsiteX17" fmla="*/ 190231 w 193776"/>
                    <a:gd name="connsiteY17" fmla="*/ 92956 h 121406"/>
                    <a:gd name="connsiteX18" fmla="*/ 190940 w 193776"/>
                    <a:gd name="connsiteY18" fmla="*/ 95327 h 121406"/>
                    <a:gd name="connsiteX19" fmla="*/ 192619 w 193776"/>
                    <a:gd name="connsiteY19" fmla="*/ 98775 h 121406"/>
                    <a:gd name="connsiteX20" fmla="*/ 193132 w 193776"/>
                    <a:gd name="connsiteY20" fmla="*/ 101203 h 121406"/>
                    <a:gd name="connsiteX21" fmla="*/ 192497 w 193776"/>
                    <a:gd name="connsiteY21" fmla="*/ 102589 h 121406"/>
                    <a:gd name="connsiteX22" fmla="*/ 192937 w 193776"/>
                    <a:gd name="connsiteY22" fmla="*/ 105001 h 121406"/>
                    <a:gd name="connsiteX23" fmla="*/ 193776 w 193776"/>
                    <a:gd name="connsiteY23" fmla="*/ 106908 h 121406"/>
                    <a:gd name="connsiteX24" fmla="*/ 187623 w 193776"/>
                    <a:gd name="connsiteY24" fmla="*/ 106908 h 121406"/>
                    <a:gd name="connsiteX25" fmla="*/ 181046 w 193776"/>
                    <a:gd name="connsiteY25" fmla="*/ 106908 h 121406"/>
                    <a:gd name="connsiteX26" fmla="*/ 174453 w 193776"/>
                    <a:gd name="connsiteY26" fmla="*/ 106916 h 121406"/>
                    <a:gd name="connsiteX27" fmla="*/ 167876 w 193776"/>
                    <a:gd name="connsiteY27" fmla="*/ 106924 h 121406"/>
                    <a:gd name="connsiteX28" fmla="*/ 161291 w 193776"/>
                    <a:gd name="connsiteY28" fmla="*/ 106933 h 121406"/>
                    <a:gd name="connsiteX29" fmla="*/ 154706 w 193776"/>
                    <a:gd name="connsiteY29" fmla="*/ 106941 h 121406"/>
                    <a:gd name="connsiteX30" fmla="*/ 148121 w 193776"/>
                    <a:gd name="connsiteY30" fmla="*/ 106949 h 121406"/>
                    <a:gd name="connsiteX31" fmla="*/ 141536 w 193776"/>
                    <a:gd name="connsiteY31" fmla="*/ 106957 h 121406"/>
                    <a:gd name="connsiteX32" fmla="*/ 141105 w 193776"/>
                    <a:gd name="connsiteY32" fmla="*/ 106957 h 121406"/>
                    <a:gd name="connsiteX33" fmla="*/ 140363 w 193776"/>
                    <a:gd name="connsiteY33" fmla="*/ 107634 h 121406"/>
                    <a:gd name="connsiteX34" fmla="*/ 137193 w 193776"/>
                    <a:gd name="connsiteY34" fmla="*/ 108913 h 121406"/>
                    <a:gd name="connsiteX35" fmla="*/ 130950 w 193776"/>
                    <a:gd name="connsiteY35" fmla="*/ 109296 h 121406"/>
                    <a:gd name="connsiteX36" fmla="*/ 118424 w 193776"/>
                    <a:gd name="connsiteY36" fmla="*/ 112703 h 121406"/>
                    <a:gd name="connsiteX37" fmla="*/ 112923 w 193776"/>
                    <a:gd name="connsiteY37" fmla="*/ 115368 h 121406"/>
                    <a:gd name="connsiteX38" fmla="*/ 108082 w 193776"/>
                    <a:gd name="connsiteY38" fmla="*/ 116672 h 121406"/>
                    <a:gd name="connsiteX39" fmla="*/ 99044 w 193776"/>
                    <a:gd name="connsiteY39" fmla="*/ 117918 h 121406"/>
                    <a:gd name="connsiteX40" fmla="*/ 90878 w 193776"/>
                    <a:gd name="connsiteY40" fmla="*/ 119711 h 121406"/>
                    <a:gd name="connsiteX41" fmla="*/ 87430 w 193776"/>
                    <a:gd name="connsiteY41" fmla="*/ 119540 h 121406"/>
                    <a:gd name="connsiteX42" fmla="*/ 85980 w 193776"/>
                    <a:gd name="connsiteY42" fmla="*/ 118016 h 121406"/>
                    <a:gd name="connsiteX43" fmla="*/ 82027 w 193776"/>
                    <a:gd name="connsiteY43" fmla="*/ 117144 h 121406"/>
                    <a:gd name="connsiteX44" fmla="*/ 75573 w 193776"/>
                    <a:gd name="connsiteY44" fmla="*/ 116924 h 121406"/>
                    <a:gd name="connsiteX45" fmla="*/ 70129 w 193776"/>
                    <a:gd name="connsiteY45" fmla="*/ 117935 h 121406"/>
                    <a:gd name="connsiteX46" fmla="*/ 65092 w 193776"/>
                    <a:gd name="connsiteY46" fmla="*/ 120991 h 121406"/>
                    <a:gd name="connsiteX47" fmla="*/ 63486 w 193776"/>
                    <a:gd name="connsiteY47" fmla="*/ 121309 h 121406"/>
                    <a:gd name="connsiteX48" fmla="*/ 63486 w 193776"/>
                    <a:gd name="connsiteY48" fmla="*/ 121309 h 121406"/>
                    <a:gd name="connsiteX49" fmla="*/ 62183 w 193776"/>
                    <a:gd name="connsiteY49" fmla="*/ 121407 h 121406"/>
                    <a:gd name="connsiteX50" fmla="*/ 53299 w 193776"/>
                    <a:gd name="connsiteY50" fmla="*/ 120209 h 121406"/>
                    <a:gd name="connsiteX51" fmla="*/ 51091 w 193776"/>
                    <a:gd name="connsiteY51" fmla="*/ 120119 h 121406"/>
                    <a:gd name="connsiteX52" fmla="*/ 49208 w 193776"/>
                    <a:gd name="connsiteY52" fmla="*/ 118489 h 121406"/>
                    <a:gd name="connsiteX53" fmla="*/ 48703 w 193776"/>
                    <a:gd name="connsiteY53" fmla="*/ 115808 h 121406"/>
                    <a:gd name="connsiteX54" fmla="*/ 46299 w 193776"/>
                    <a:gd name="connsiteY54" fmla="*/ 107748 h 121406"/>
                    <a:gd name="connsiteX55" fmla="*/ 43854 w 193776"/>
                    <a:gd name="connsiteY55" fmla="*/ 102915 h 121406"/>
                    <a:gd name="connsiteX56" fmla="*/ 41360 w 193776"/>
                    <a:gd name="connsiteY56" fmla="*/ 101317 h 121406"/>
                    <a:gd name="connsiteX57" fmla="*/ 39412 w 193776"/>
                    <a:gd name="connsiteY57" fmla="*/ 100649 h 121406"/>
                    <a:gd name="connsiteX58" fmla="*/ 36935 w 193776"/>
                    <a:gd name="connsiteY58" fmla="*/ 101538 h 121406"/>
                    <a:gd name="connsiteX59" fmla="*/ 36177 w 193776"/>
                    <a:gd name="connsiteY59" fmla="*/ 101057 h 121406"/>
                    <a:gd name="connsiteX60" fmla="*/ 34995 w 193776"/>
                    <a:gd name="connsiteY60" fmla="*/ 100926 h 121406"/>
                    <a:gd name="connsiteX61" fmla="*/ 32371 w 193776"/>
                    <a:gd name="connsiteY61" fmla="*/ 99150 h 121406"/>
                    <a:gd name="connsiteX62" fmla="*/ 30879 w 193776"/>
                    <a:gd name="connsiteY62" fmla="*/ 97381 h 121406"/>
                    <a:gd name="connsiteX63" fmla="*/ 26275 w 193776"/>
                    <a:gd name="connsiteY63" fmla="*/ 97503 h 121406"/>
                    <a:gd name="connsiteX64" fmla="*/ 25338 w 193776"/>
                    <a:gd name="connsiteY64" fmla="*/ 96362 h 121406"/>
                    <a:gd name="connsiteX65" fmla="*/ 20195 w 193776"/>
                    <a:gd name="connsiteY65" fmla="*/ 97503 h 121406"/>
                    <a:gd name="connsiteX66" fmla="*/ 18606 w 193776"/>
                    <a:gd name="connsiteY66" fmla="*/ 96330 h 121406"/>
                    <a:gd name="connsiteX67" fmla="*/ 15802 w 193776"/>
                    <a:gd name="connsiteY67" fmla="*/ 97088 h 121406"/>
                    <a:gd name="connsiteX68" fmla="*/ 16487 w 193776"/>
                    <a:gd name="connsiteY68" fmla="*/ 93779 h 121406"/>
                    <a:gd name="connsiteX69" fmla="*/ 16357 w 193776"/>
                    <a:gd name="connsiteY69" fmla="*/ 89606 h 121406"/>
                    <a:gd name="connsiteX70" fmla="*/ 16503 w 193776"/>
                    <a:gd name="connsiteY70" fmla="*/ 85540 h 121406"/>
                    <a:gd name="connsiteX71" fmla="*/ 17188 w 193776"/>
                    <a:gd name="connsiteY71" fmla="*/ 88506 h 121406"/>
                    <a:gd name="connsiteX72" fmla="*/ 18932 w 193776"/>
                    <a:gd name="connsiteY72" fmla="*/ 91660 h 121406"/>
                    <a:gd name="connsiteX73" fmla="*/ 19771 w 193776"/>
                    <a:gd name="connsiteY73" fmla="*/ 88090 h 121406"/>
                    <a:gd name="connsiteX74" fmla="*/ 20350 w 193776"/>
                    <a:gd name="connsiteY74" fmla="*/ 83592 h 121406"/>
                    <a:gd name="connsiteX75" fmla="*/ 18655 w 193776"/>
                    <a:gd name="connsiteY75" fmla="*/ 81864 h 121406"/>
                    <a:gd name="connsiteX76" fmla="*/ 15819 w 193776"/>
                    <a:gd name="connsiteY76" fmla="*/ 80585 h 121406"/>
                    <a:gd name="connsiteX77" fmla="*/ 14808 w 193776"/>
                    <a:gd name="connsiteY77" fmla="*/ 76387 h 121406"/>
                    <a:gd name="connsiteX78" fmla="*/ 21499 w 193776"/>
                    <a:gd name="connsiteY78" fmla="*/ 72810 h 121406"/>
                    <a:gd name="connsiteX79" fmla="*/ 17946 w 193776"/>
                    <a:gd name="connsiteY79" fmla="*/ 72052 h 121406"/>
                    <a:gd name="connsiteX80" fmla="*/ 16552 w 193776"/>
                    <a:gd name="connsiteY80" fmla="*/ 70446 h 121406"/>
                    <a:gd name="connsiteX81" fmla="*/ 14833 w 193776"/>
                    <a:gd name="connsiteY81" fmla="*/ 70251 h 121406"/>
                    <a:gd name="connsiteX82" fmla="*/ 14702 w 193776"/>
                    <a:gd name="connsiteY82" fmla="*/ 71489 h 121406"/>
                    <a:gd name="connsiteX83" fmla="*/ 14148 w 193776"/>
                    <a:gd name="connsiteY83" fmla="*/ 73111 h 121406"/>
                    <a:gd name="connsiteX84" fmla="*/ 13545 w 193776"/>
                    <a:gd name="connsiteY84" fmla="*/ 70952 h 121406"/>
                    <a:gd name="connsiteX85" fmla="*/ 13374 w 193776"/>
                    <a:gd name="connsiteY85" fmla="*/ 68409 h 121406"/>
                    <a:gd name="connsiteX86" fmla="*/ 12673 w 193776"/>
                    <a:gd name="connsiteY86" fmla="*/ 64073 h 121406"/>
                    <a:gd name="connsiteX87" fmla="*/ 9935 w 193776"/>
                    <a:gd name="connsiteY87" fmla="*/ 57081 h 121406"/>
                    <a:gd name="connsiteX88" fmla="*/ 8272 w 193776"/>
                    <a:gd name="connsiteY88" fmla="*/ 47994 h 121406"/>
                    <a:gd name="connsiteX89" fmla="*/ 6194 w 193776"/>
                    <a:gd name="connsiteY89" fmla="*/ 43495 h 121406"/>
                    <a:gd name="connsiteX90" fmla="*/ 2200 w 193776"/>
                    <a:gd name="connsiteY90" fmla="*/ 39208 h 121406"/>
                    <a:gd name="connsiteX91" fmla="*/ 1157 w 193776"/>
                    <a:gd name="connsiteY91" fmla="*/ 36690 h 121406"/>
                    <a:gd name="connsiteX92" fmla="*/ 204 w 193776"/>
                    <a:gd name="connsiteY92" fmla="*/ 30317 h 121406"/>
                    <a:gd name="connsiteX93" fmla="*/ 742 w 193776"/>
                    <a:gd name="connsiteY93" fmla="*/ 25500 h 121406"/>
                    <a:gd name="connsiteX94" fmla="*/ 0 w 193776"/>
                    <a:gd name="connsiteY94" fmla="*/ 22102 h 121406"/>
                    <a:gd name="connsiteX95" fmla="*/ 1915 w 193776"/>
                    <a:gd name="connsiteY95" fmla="*/ 22290 h 121406"/>
                    <a:gd name="connsiteX96" fmla="*/ 6968 w 193776"/>
                    <a:gd name="connsiteY96" fmla="*/ 24963 h 121406"/>
                    <a:gd name="connsiteX97" fmla="*/ 13252 w 193776"/>
                    <a:gd name="connsiteY97" fmla="*/ 27057 h 121406"/>
                    <a:gd name="connsiteX98" fmla="*/ 15159 w 193776"/>
                    <a:gd name="connsiteY98" fmla="*/ 28589 h 121406"/>
                    <a:gd name="connsiteX99" fmla="*/ 18207 w 193776"/>
                    <a:gd name="connsiteY99" fmla="*/ 29722 h 121406"/>
                    <a:gd name="connsiteX100" fmla="*/ 35109 w 193776"/>
                    <a:gd name="connsiteY100" fmla="*/ 31474 h 121406"/>
                    <a:gd name="connsiteX101" fmla="*/ 36209 w 193776"/>
                    <a:gd name="connsiteY101" fmla="*/ 31311 h 121406"/>
                    <a:gd name="connsiteX102" fmla="*/ 38393 w 193776"/>
                    <a:gd name="connsiteY102" fmla="*/ 30227 h 121406"/>
                    <a:gd name="connsiteX103" fmla="*/ 39322 w 193776"/>
                    <a:gd name="connsiteY103" fmla="*/ 30358 h 121406"/>
                    <a:gd name="connsiteX104" fmla="*/ 41808 w 193776"/>
                    <a:gd name="connsiteY104" fmla="*/ 32843 h 121406"/>
                    <a:gd name="connsiteX105" fmla="*/ 43055 w 193776"/>
                    <a:gd name="connsiteY105" fmla="*/ 33145 h 121406"/>
                    <a:gd name="connsiteX106" fmla="*/ 44669 w 193776"/>
                    <a:gd name="connsiteY106" fmla="*/ 33015 h 121406"/>
                    <a:gd name="connsiteX107" fmla="*/ 45859 w 193776"/>
                    <a:gd name="connsiteY107" fmla="*/ 32542 h 121406"/>
                    <a:gd name="connsiteX108" fmla="*/ 47896 w 193776"/>
                    <a:gd name="connsiteY108" fmla="*/ 30839 h 121406"/>
                    <a:gd name="connsiteX109" fmla="*/ 48173 w 193776"/>
                    <a:gd name="connsiteY109" fmla="*/ 31474 h 121406"/>
                    <a:gd name="connsiteX110" fmla="*/ 48140 w 193776"/>
                    <a:gd name="connsiteY110" fmla="*/ 33055 h 121406"/>
                    <a:gd name="connsiteX111" fmla="*/ 48866 w 193776"/>
                    <a:gd name="connsiteY111" fmla="*/ 35305 h 121406"/>
                    <a:gd name="connsiteX112" fmla="*/ 50365 w 193776"/>
                    <a:gd name="connsiteY112" fmla="*/ 38230 h 121406"/>
                    <a:gd name="connsiteX113" fmla="*/ 50928 w 193776"/>
                    <a:gd name="connsiteY113" fmla="*/ 40048 h 121406"/>
                    <a:gd name="connsiteX114" fmla="*/ 47912 w 193776"/>
                    <a:gd name="connsiteY114" fmla="*/ 45158 h 121406"/>
                    <a:gd name="connsiteX115" fmla="*/ 47334 w 193776"/>
                    <a:gd name="connsiteY115" fmla="*/ 45272 h 121406"/>
                    <a:gd name="connsiteX116" fmla="*/ 47244 w 193776"/>
                    <a:gd name="connsiteY116" fmla="*/ 43544 h 121406"/>
                    <a:gd name="connsiteX117" fmla="*/ 46853 w 193776"/>
                    <a:gd name="connsiteY117" fmla="*/ 43202 h 121406"/>
                    <a:gd name="connsiteX118" fmla="*/ 41164 w 193776"/>
                    <a:gd name="connsiteY118" fmla="*/ 51832 h 121406"/>
                    <a:gd name="connsiteX119" fmla="*/ 39168 w 193776"/>
                    <a:gd name="connsiteY119" fmla="*/ 55915 h 121406"/>
                    <a:gd name="connsiteX120" fmla="*/ 38964 w 193776"/>
                    <a:gd name="connsiteY120" fmla="*/ 57757 h 121406"/>
                    <a:gd name="connsiteX121" fmla="*/ 39029 w 193776"/>
                    <a:gd name="connsiteY121" fmla="*/ 58841 h 121406"/>
                    <a:gd name="connsiteX122" fmla="*/ 39828 w 193776"/>
                    <a:gd name="connsiteY122" fmla="*/ 59110 h 121406"/>
                    <a:gd name="connsiteX123" fmla="*/ 41645 w 193776"/>
                    <a:gd name="connsiteY123" fmla="*/ 58686 h 121406"/>
                    <a:gd name="connsiteX124" fmla="*/ 44343 w 193776"/>
                    <a:gd name="connsiteY124" fmla="*/ 56999 h 121406"/>
                    <a:gd name="connsiteX125" fmla="*/ 44473 w 193776"/>
                    <a:gd name="connsiteY125" fmla="*/ 56624 h 121406"/>
                    <a:gd name="connsiteX126" fmla="*/ 41963 w 193776"/>
                    <a:gd name="connsiteY126" fmla="*/ 57236 h 121406"/>
                    <a:gd name="connsiteX127" fmla="*/ 40757 w 193776"/>
                    <a:gd name="connsiteY127" fmla="*/ 57284 h 121406"/>
                    <a:gd name="connsiteX128" fmla="*/ 40920 w 193776"/>
                    <a:gd name="connsiteY128" fmla="*/ 55361 h 121406"/>
                    <a:gd name="connsiteX129" fmla="*/ 41213 w 193776"/>
                    <a:gd name="connsiteY129" fmla="*/ 54440 h 121406"/>
                    <a:gd name="connsiteX130" fmla="*/ 42851 w 193776"/>
                    <a:gd name="connsiteY130" fmla="*/ 51572 h 121406"/>
                    <a:gd name="connsiteX131" fmla="*/ 44571 w 193776"/>
                    <a:gd name="connsiteY131" fmla="*/ 49860 h 121406"/>
                    <a:gd name="connsiteX132" fmla="*/ 47024 w 193776"/>
                    <a:gd name="connsiteY132" fmla="*/ 48026 h 121406"/>
                    <a:gd name="connsiteX133" fmla="*/ 48434 w 193776"/>
                    <a:gd name="connsiteY133" fmla="*/ 46519 h 121406"/>
                    <a:gd name="connsiteX134" fmla="*/ 49412 w 193776"/>
                    <a:gd name="connsiteY134" fmla="*/ 44318 h 121406"/>
                    <a:gd name="connsiteX135" fmla="*/ 52126 w 193776"/>
                    <a:gd name="connsiteY135" fmla="*/ 41686 h 121406"/>
                    <a:gd name="connsiteX136" fmla="*/ 52631 w 193776"/>
                    <a:gd name="connsiteY136" fmla="*/ 40961 h 121406"/>
                    <a:gd name="connsiteX137" fmla="*/ 52509 w 193776"/>
                    <a:gd name="connsiteY137" fmla="*/ 38793 h 121406"/>
                    <a:gd name="connsiteX138" fmla="*/ 52680 w 193776"/>
                    <a:gd name="connsiteY138" fmla="*/ 38377 h 121406"/>
                    <a:gd name="connsiteX139" fmla="*/ 53992 w 193776"/>
                    <a:gd name="connsiteY139" fmla="*/ 38670 h 121406"/>
                    <a:gd name="connsiteX140" fmla="*/ 54538 w 193776"/>
                    <a:gd name="connsiteY140" fmla="*/ 42403 h 121406"/>
                    <a:gd name="connsiteX141" fmla="*/ 54212 w 193776"/>
                    <a:gd name="connsiteY141" fmla="*/ 44066 h 121406"/>
                    <a:gd name="connsiteX142" fmla="*/ 51865 w 193776"/>
                    <a:gd name="connsiteY142" fmla="*/ 46087 h 121406"/>
                    <a:gd name="connsiteX143" fmla="*/ 51580 w 193776"/>
                    <a:gd name="connsiteY143" fmla="*/ 46788 h 121406"/>
                    <a:gd name="connsiteX144" fmla="*/ 51987 w 193776"/>
                    <a:gd name="connsiteY144" fmla="*/ 49542 h 121406"/>
                    <a:gd name="connsiteX145" fmla="*/ 51629 w 193776"/>
                    <a:gd name="connsiteY145" fmla="*/ 49811 h 121406"/>
                    <a:gd name="connsiteX146" fmla="*/ 50740 w 193776"/>
                    <a:gd name="connsiteY146" fmla="*/ 49485 h 121406"/>
                    <a:gd name="connsiteX147" fmla="*/ 50463 w 193776"/>
                    <a:gd name="connsiteY147" fmla="*/ 49656 h 121406"/>
                    <a:gd name="connsiteX148" fmla="*/ 52680 w 193776"/>
                    <a:gd name="connsiteY148" fmla="*/ 52663 h 121406"/>
                    <a:gd name="connsiteX149" fmla="*/ 53381 w 193776"/>
                    <a:gd name="connsiteY149" fmla="*/ 54994 h 121406"/>
                    <a:gd name="connsiteX150" fmla="*/ 53479 w 193776"/>
                    <a:gd name="connsiteY150" fmla="*/ 57081 h 121406"/>
                    <a:gd name="connsiteX151" fmla="*/ 52876 w 193776"/>
                    <a:gd name="connsiteY151" fmla="*/ 61066 h 121406"/>
                    <a:gd name="connsiteX152" fmla="*/ 52232 w 193776"/>
                    <a:gd name="connsiteY152" fmla="*/ 61734 h 121406"/>
                    <a:gd name="connsiteX153" fmla="*/ 51115 w 193776"/>
                    <a:gd name="connsiteY153" fmla="*/ 61490 h 121406"/>
                    <a:gd name="connsiteX154" fmla="*/ 49656 w 193776"/>
                    <a:gd name="connsiteY154" fmla="*/ 60243 h 121406"/>
                    <a:gd name="connsiteX155" fmla="*/ 49330 w 193776"/>
                    <a:gd name="connsiteY155" fmla="*/ 60650 h 121406"/>
                    <a:gd name="connsiteX156" fmla="*/ 48165 w 193776"/>
                    <a:gd name="connsiteY156" fmla="*/ 63739 h 121406"/>
                    <a:gd name="connsiteX157" fmla="*/ 47782 w 193776"/>
                    <a:gd name="connsiteY157" fmla="*/ 63470 h 121406"/>
                    <a:gd name="connsiteX158" fmla="*/ 47057 w 193776"/>
                    <a:gd name="connsiteY158" fmla="*/ 59795 h 121406"/>
                    <a:gd name="connsiteX159" fmla="*/ 46665 w 193776"/>
                    <a:gd name="connsiteY159" fmla="*/ 59526 h 121406"/>
                    <a:gd name="connsiteX160" fmla="*/ 44408 w 193776"/>
                    <a:gd name="connsiteY160" fmla="*/ 61196 h 121406"/>
                    <a:gd name="connsiteX161" fmla="*/ 43495 w 193776"/>
                    <a:gd name="connsiteY161" fmla="*/ 62810 h 121406"/>
                    <a:gd name="connsiteX162" fmla="*/ 42713 w 193776"/>
                    <a:gd name="connsiteY162" fmla="*/ 65377 h 121406"/>
                    <a:gd name="connsiteX163" fmla="*/ 41727 w 193776"/>
                    <a:gd name="connsiteY163" fmla="*/ 66567 h 121406"/>
                    <a:gd name="connsiteX164" fmla="*/ 44538 w 193776"/>
                    <a:gd name="connsiteY164" fmla="*/ 66828 h 121406"/>
                    <a:gd name="connsiteX165" fmla="*/ 47081 w 193776"/>
                    <a:gd name="connsiteY165" fmla="*/ 66314 h 121406"/>
                    <a:gd name="connsiteX166" fmla="*/ 49110 w 193776"/>
                    <a:gd name="connsiteY166" fmla="*/ 67537 h 121406"/>
                    <a:gd name="connsiteX167" fmla="*/ 49803 w 193776"/>
                    <a:gd name="connsiteY167" fmla="*/ 67569 h 121406"/>
                    <a:gd name="connsiteX168" fmla="*/ 51661 w 193776"/>
                    <a:gd name="connsiteY168" fmla="*/ 66380 h 121406"/>
                    <a:gd name="connsiteX169" fmla="*/ 52232 w 193776"/>
                    <a:gd name="connsiteY169" fmla="*/ 65565 h 121406"/>
                    <a:gd name="connsiteX170" fmla="*/ 53764 w 193776"/>
                    <a:gd name="connsiteY170" fmla="*/ 61693 h 121406"/>
                    <a:gd name="connsiteX171" fmla="*/ 54530 w 193776"/>
                    <a:gd name="connsiteY171" fmla="*/ 61001 h 121406"/>
                    <a:gd name="connsiteX172" fmla="*/ 55679 w 193776"/>
                    <a:gd name="connsiteY172" fmla="*/ 60976 h 121406"/>
                    <a:gd name="connsiteX173" fmla="*/ 56787 w 193776"/>
                    <a:gd name="connsiteY173" fmla="*/ 60398 h 121406"/>
                    <a:gd name="connsiteX174" fmla="*/ 58434 w 193776"/>
                    <a:gd name="connsiteY174" fmla="*/ 58271 h 121406"/>
                    <a:gd name="connsiteX175" fmla="*/ 58499 w 193776"/>
                    <a:gd name="connsiteY175" fmla="*/ 57423 h 121406"/>
                    <a:gd name="connsiteX176" fmla="*/ 57904 w 193776"/>
                    <a:gd name="connsiteY176" fmla="*/ 52672 h 121406"/>
                    <a:gd name="connsiteX177" fmla="*/ 58075 w 193776"/>
                    <a:gd name="connsiteY177" fmla="*/ 49966 h 121406"/>
                    <a:gd name="connsiteX178" fmla="*/ 57765 w 193776"/>
                    <a:gd name="connsiteY178" fmla="*/ 49110 h 121406"/>
                    <a:gd name="connsiteX179" fmla="*/ 57032 w 193776"/>
                    <a:gd name="connsiteY179" fmla="*/ 48222 h 121406"/>
                    <a:gd name="connsiteX180" fmla="*/ 57121 w 193776"/>
                    <a:gd name="connsiteY180" fmla="*/ 47358 h 121406"/>
                    <a:gd name="connsiteX181" fmla="*/ 57692 w 193776"/>
                    <a:gd name="connsiteY181" fmla="*/ 45940 h 121406"/>
                    <a:gd name="connsiteX182" fmla="*/ 57733 w 193776"/>
                    <a:gd name="connsiteY182" fmla="*/ 44652 h 121406"/>
                    <a:gd name="connsiteX183" fmla="*/ 57236 w 193776"/>
                    <a:gd name="connsiteY183" fmla="*/ 43503 h 121406"/>
                    <a:gd name="connsiteX184" fmla="*/ 57456 w 193776"/>
                    <a:gd name="connsiteY184" fmla="*/ 42207 h 121406"/>
                    <a:gd name="connsiteX185" fmla="*/ 59004 w 193776"/>
                    <a:gd name="connsiteY185" fmla="*/ 39404 h 121406"/>
                    <a:gd name="connsiteX186" fmla="*/ 59306 w 193776"/>
                    <a:gd name="connsiteY186" fmla="*/ 38173 h 121406"/>
                    <a:gd name="connsiteX187" fmla="*/ 61205 w 193776"/>
                    <a:gd name="connsiteY187" fmla="*/ 35386 h 121406"/>
                    <a:gd name="connsiteX188" fmla="*/ 60724 w 193776"/>
                    <a:gd name="connsiteY188" fmla="*/ 34270 h 121406"/>
                    <a:gd name="connsiteX189" fmla="*/ 59330 w 193776"/>
                    <a:gd name="connsiteY189" fmla="*/ 32900 h 121406"/>
                    <a:gd name="connsiteX190" fmla="*/ 58450 w 193776"/>
                    <a:gd name="connsiteY190" fmla="*/ 31694 h 121406"/>
                    <a:gd name="connsiteX191" fmla="*/ 57570 w 193776"/>
                    <a:gd name="connsiteY191" fmla="*/ 29812 h 121406"/>
                    <a:gd name="connsiteX192" fmla="*/ 56893 w 193776"/>
                    <a:gd name="connsiteY192" fmla="*/ 29176 h 121406"/>
                    <a:gd name="connsiteX193" fmla="*/ 56673 w 193776"/>
                    <a:gd name="connsiteY193" fmla="*/ 29461 h 121406"/>
                    <a:gd name="connsiteX194" fmla="*/ 57610 w 193776"/>
                    <a:gd name="connsiteY194" fmla="*/ 32550 h 121406"/>
                    <a:gd name="connsiteX195" fmla="*/ 57415 w 193776"/>
                    <a:gd name="connsiteY195" fmla="*/ 32754 h 121406"/>
                    <a:gd name="connsiteX196" fmla="*/ 54954 w 193776"/>
                    <a:gd name="connsiteY196" fmla="*/ 31091 h 121406"/>
                    <a:gd name="connsiteX197" fmla="*/ 54383 w 193776"/>
                    <a:gd name="connsiteY197" fmla="*/ 30040 h 121406"/>
                    <a:gd name="connsiteX198" fmla="*/ 54082 w 193776"/>
                    <a:gd name="connsiteY198" fmla="*/ 28622 h 121406"/>
                    <a:gd name="connsiteX199" fmla="*/ 54302 w 193776"/>
                    <a:gd name="connsiteY199" fmla="*/ 27546 h 121406"/>
                    <a:gd name="connsiteX200" fmla="*/ 55622 w 193776"/>
                    <a:gd name="connsiteY200" fmla="*/ 26495 h 121406"/>
                    <a:gd name="connsiteX201" fmla="*/ 57203 w 193776"/>
                    <a:gd name="connsiteY201" fmla="*/ 26112 h 121406"/>
                    <a:gd name="connsiteX202" fmla="*/ 57081 w 193776"/>
                    <a:gd name="connsiteY202" fmla="*/ 25223 h 121406"/>
                    <a:gd name="connsiteX203" fmla="*/ 55100 w 193776"/>
                    <a:gd name="connsiteY203" fmla="*/ 22330 h 121406"/>
                    <a:gd name="connsiteX204" fmla="*/ 53780 w 193776"/>
                    <a:gd name="connsiteY204" fmla="*/ 21010 h 121406"/>
                    <a:gd name="connsiteX205" fmla="*/ 52761 w 193776"/>
                    <a:gd name="connsiteY205" fmla="*/ 20366 h 121406"/>
                    <a:gd name="connsiteX206" fmla="*/ 51400 w 193776"/>
                    <a:gd name="connsiteY206" fmla="*/ 20203 h 121406"/>
                    <a:gd name="connsiteX207" fmla="*/ 50789 w 193776"/>
                    <a:gd name="connsiteY207" fmla="*/ 19722 h 121406"/>
                    <a:gd name="connsiteX208" fmla="*/ 50626 w 193776"/>
                    <a:gd name="connsiteY208" fmla="*/ 19046 h 121406"/>
                    <a:gd name="connsiteX209" fmla="*/ 50920 w 193776"/>
                    <a:gd name="connsiteY209" fmla="*/ 18149 h 121406"/>
                    <a:gd name="connsiteX210" fmla="*/ 51645 w 193776"/>
                    <a:gd name="connsiteY210" fmla="*/ 17864 h 121406"/>
                    <a:gd name="connsiteX211" fmla="*/ 53756 w 193776"/>
                    <a:gd name="connsiteY211" fmla="*/ 18223 h 121406"/>
                    <a:gd name="connsiteX212" fmla="*/ 54897 w 193776"/>
                    <a:gd name="connsiteY212" fmla="*/ 17587 h 121406"/>
                    <a:gd name="connsiteX213" fmla="*/ 54791 w 193776"/>
                    <a:gd name="connsiteY213" fmla="*/ 16438 h 121406"/>
                    <a:gd name="connsiteX214" fmla="*/ 54448 w 193776"/>
                    <a:gd name="connsiteY214" fmla="*/ 15802 h 121406"/>
                    <a:gd name="connsiteX215" fmla="*/ 54497 w 193776"/>
                    <a:gd name="connsiteY215" fmla="*/ 11687 h 121406"/>
                    <a:gd name="connsiteX216" fmla="*/ 53690 w 193776"/>
                    <a:gd name="connsiteY216" fmla="*/ 8337 h 121406"/>
                    <a:gd name="connsiteX217" fmla="*/ 53267 w 193776"/>
                    <a:gd name="connsiteY217" fmla="*/ 7775 h 121406"/>
                    <a:gd name="connsiteX218" fmla="*/ 52818 w 193776"/>
                    <a:gd name="connsiteY218" fmla="*/ 7718 h 121406"/>
                    <a:gd name="connsiteX219" fmla="*/ 52338 w 193776"/>
                    <a:gd name="connsiteY219" fmla="*/ 8166 h 121406"/>
                    <a:gd name="connsiteX220" fmla="*/ 51009 w 193776"/>
                    <a:gd name="connsiteY220" fmla="*/ 8280 h 121406"/>
                    <a:gd name="connsiteX221" fmla="*/ 50194 w 193776"/>
                    <a:gd name="connsiteY221" fmla="*/ 7180 h 121406"/>
                    <a:gd name="connsiteX222" fmla="*/ 49290 w 193776"/>
                    <a:gd name="connsiteY222" fmla="*/ 5061 h 121406"/>
                    <a:gd name="connsiteX223" fmla="*/ 47643 w 193776"/>
                    <a:gd name="connsiteY223" fmla="*/ 8 h 121406"/>
                    <a:gd name="connsiteX224" fmla="*/ 50186 w 193776"/>
                    <a:gd name="connsiteY224" fmla="*/ 8 h 121406"/>
                    <a:gd name="connsiteX225" fmla="*/ 60764 w 193776"/>
                    <a:gd name="connsiteY225" fmla="*/ 8 h 121406"/>
                    <a:gd name="connsiteX226" fmla="*/ 71335 w 193776"/>
                    <a:gd name="connsiteY226" fmla="*/ 8 h 121406"/>
                    <a:gd name="connsiteX227" fmla="*/ 81913 w 193776"/>
                    <a:gd name="connsiteY227" fmla="*/ 8 h 121406"/>
                    <a:gd name="connsiteX228" fmla="*/ 92483 w 193776"/>
                    <a:gd name="connsiteY228" fmla="*/ 8 h 121406"/>
                    <a:gd name="connsiteX229" fmla="*/ 103053 w 193776"/>
                    <a:gd name="connsiteY229" fmla="*/ 8 h 121406"/>
                    <a:gd name="connsiteX230" fmla="*/ 113632 w 193776"/>
                    <a:gd name="connsiteY230" fmla="*/ 8 h 121406"/>
                    <a:gd name="connsiteX231" fmla="*/ 124210 w 193776"/>
                    <a:gd name="connsiteY231" fmla="*/ 8 h 121406"/>
                    <a:gd name="connsiteX232" fmla="*/ 134780 w 193776"/>
                    <a:gd name="connsiteY232" fmla="*/ 0 h 121406"/>
                    <a:gd name="connsiteX233" fmla="*/ 145351 w 193776"/>
                    <a:gd name="connsiteY233" fmla="*/ 0 h 121406"/>
                    <a:gd name="connsiteX234" fmla="*/ 155921 w 193776"/>
                    <a:gd name="connsiteY234" fmla="*/ 0 h 121406"/>
                    <a:gd name="connsiteX235" fmla="*/ 166499 w 193776"/>
                    <a:gd name="connsiteY235" fmla="*/ 0 h 121406"/>
                    <a:gd name="connsiteX236" fmla="*/ 177077 w 193776"/>
                    <a:gd name="connsiteY236" fmla="*/ 0 h 121406"/>
                    <a:gd name="connsiteX237" fmla="*/ 187648 w 193776"/>
                    <a:gd name="connsiteY237" fmla="*/ 0 h 121406"/>
                    <a:gd name="connsiteX238" fmla="*/ 190231 w 193776"/>
                    <a:gd name="connsiteY238" fmla="*/ 0 h 121406"/>
                    <a:gd name="connsiteX239" fmla="*/ 190304 w 193776"/>
                    <a:gd name="connsiteY239" fmla="*/ 5770 h 121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Lst>
                  <a:rect l="l" t="t" r="r" b="b"/>
                  <a:pathLst>
                    <a:path w="193776" h="121406">
                      <a:moveTo>
                        <a:pt x="190304" y="5770"/>
                      </a:moveTo>
                      <a:lnTo>
                        <a:pt x="190321" y="11556"/>
                      </a:lnTo>
                      <a:lnTo>
                        <a:pt x="190337" y="17326"/>
                      </a:lnTo>
                      <a:lnTo>
                        <a:pt x="190361" y="23096"/>
                      </a:lnTo>
                      <a:lnTo>
                        <a:pt x="190378" y="28858"/>
                      </a:lnTo>
                      <a:lnTo>
                        <a:pt x="190402" y="34620"/>
                      </a:lnTo>
                      <a:lnTo>
                        <a:pt x="190410" y="40366"/>
                      </a:lnTo>
                      <a:lnTo>
                        <a:pt x="190435" y="46111"/>
                      </a:lnTo>
                      <a:lnTo>
                        <a:pt x="190451" y="51840"/>
                      </a:lnTo>
                      <a:lnTo>
                        <a:pt x="190476" y="57570"/>
                      </a:lnTo>
                      <a:lnTo>
                        <a:pt x="190492" y="63283"/>
                      </a:lnTo>
                      <a:lnTo>
                        <a:pt x="190508" y="69004"/>
                      </a:lnTo>
                      <a:lnTo>
                        <a:pt x="190533" y="74717"/>
                      </a:lnTo>
                      <a:lnTo>
                        <a:pt x="190549" y="80413"/>
                      </a:lnTo>
                      <a:lnTo>
                        <a:pt x="190565" y="86110"/>
                      </a:lnTo>
                      <a:lnTo>
                        <a:pt x="190582" y="91790"/>
                      </a:lnTo>
                      <a:lnTo>
                        <a:pt x="190394" y="92133"/>
                      </a:lnTo>
                      <a:lnTo>
                        <a:pt x="190231" y="92956"/>
                      </a:lnTo>
                      <a:lnTo>
                        <a:pt x="190940" y="95327"/>
                      </a:lnTo>
                      <a:lnTo>
                        <a:pt x="192619" y="98775"/>
                      </a:lnTo>
                      <a:lnTo>
                        <a:pt x="193132" y="101203"/>
                      </a:lnTo>
                      <a:lnTo>
                        <a:pt x="192497" y="102589"/>
                      </a:lnTo>
                      <a:lnTo>
                        <a:pt x="192937" y="105001"/>
                      </a:lnTo>
                      <a:lnTo>
                        <a:pt x="193776" y="106908"/>
                      </a:lnTo>
                      <a:lnTo>
                        <a:pt x="187623" y="106908"/>
                      </a:lnTo>
                      <a:lnTo>
                        <a:pt x="181046" y="106908"/>
                      </a:lnTo>
                      <a:lnTo>
                        <a:pt x="174453" y="106916"/>
                      </a:lnTo>
                      <a:lnTo>
                        <a:pt x="167876" y="106924"/>
                      </a:lnTo>
                      <a:lnTo>
                        <a:pt x="161291" y="106933"/>
                      </a:lnTo>
                      <a:lnTo>
                        <a:pt x="154706" y="106941"/>
                      </a:lnTo>
                      <a:lnTo>
                        <a:pt x="148121" y="106949"/>
                      </a:lnTo>
                      <a:lnTo>
                        <a:pt x="141536" y="106957"/>
                      </a:lnTo>
                      <a:lnTo>
                        <a:pt x="141105" y="106957"/>
                      </a:lnTo>
                      <a:lnTo>
                        <a:pt x="140363" y="107634"/>
                      </a:lnTo>
                      <a:lnTo>
                        <a:pt x="137193" y="108913"/>
                      </a:lnTo>
                      <a:lnTo>
                        <a:pt x="130950" y="109296"/>
                      </a:lnTo>
                      <a:lnTo>
                        <a:pt x="118424" y="112703"/>
                      </a:lnTo>
                      <a:lnTo>
                        <a:pt x="112923" y="115368"/>
                      </a:lnTo>
                      <a:lnTo>
                        <a:pt x="108082" y="116672"/>
                      </a:lnTo>
                      <a:lnTo>
                        <a:pt x="99044" y="117918"/>
                      </a:lnTo>
                      <a:lnTo>
                        <a:pt x="90878" y="119711"/>
                      </a:lnTo>
                      <a:lnTo>
                        <a:pt x="87430" y="119540"/>
                      </a:lnTo>
                      <a:lnTo>
                        <a:pt x="85980" y="118016"/>
                      </a:lnTo>
                      <a:lnTo>
                        <a:pt x="82027" y="117144"/>
                      </a:lnTo>
                      <a:lnTo>
                        <a:pt x="75573" y="116924"/>
                      </a:lnTo>
                      <a:lnTo>
                        <a:pt x="70129" y="117935"/>
                      </a:lnTo>
                      <a:lnTo>
                        <a:pt x="65092" y="120991"/>
                      </a:lnTo>
                      <a:lnTo>
                        <a:pt x="63486" y="121309"/>
                      </a:lnTo>
                      <a:lnTo>
                        <a:pt x="63486" y="121309"/>
                      </a:lnTo>
                      <a:lnTo>
                        <a:pt x="62183" y="121407"/>
                      </a:lnTo>
                      <a:lnTo>
                        <a:pt x="53299" y="120209"/>
                      </a:lnTo>
                      <a:lnTo>
                        <a:pt x="51091" y="120119"/>
                      </a:lnTo>
                      <a:lnTo>
                        <a:pt x="49208" y="118489"/>
                      </a:lnTo>
                      <a:lnTo>
                        <a:pt x="48703" y="115808"/>
                      </a:lnTo>
                      <a:lnTo>
                        <a:pt x="46299" y="107748"/>
                      </a:lnTo>
                      <a:lnTo>
                        <a:pt x="43854" y="102915"/>
                      </a:lnTo>
                      <a:lnTo>
                        <a:pt x="41360" y="101317"/>
                      </a:lnTo>
                      <a:lnTo>
                        <a:pt x="39412" y="100649"/>
                      </a:lnTo>
                      <a:lnTo>
                        <a:pt x="36935" y="101538"/>
                      </a:lnTo>
                      <a:lnTo>
                        <a:pt x="36177" y="101057"/>
                      </a:lnTo>
                      <a:lnTo>
                        <a:pt x="34995" y="100926"/>
                      </a:lnTo>
                      <a:lnTo>
                        <a:pt x="32371" y="99150"/>
                      </a:lnTo>
                      <a:lnTo>
                        <a:pt x="30879" y="97381"/>
                      </a:lnTo>
                      <a:lnTo>
                        <a:pt x="26275" y="97503"/>
                      </a:lnTo>
                      <a:lnTo>
                        <a:pt x="25338" y="96362"/>
                      </a:lnTo>
                      <a:lnTo>
                        <a:pt x="20195" y="97503"/>
                      </a:lnTo>
                      <a:lnTo>
                        <a:pt x="18606" y="96330"/>
                      </a:lnTo>
                      <a:lnTo>
                        <a:pt x="15802" y="97088"/>
                      </a:lnTo>
                      <a:lnTo>
                        <a:pt x="16487" y="93779"/>
                      </a:lnTo>
                      <a:lnTo>
                        <a:pt x="16357" y="89606"/>
                      </a:lnTo>
                      <a:lnTo>
                        <a:pt x="16503" y="85540"/>
                      </a:lnTo>
                      <a:lnTo>
                        <a:pt x="17188" y="88506"/>
                      </a:lnTo>
                      <a:lnTo>
                        <a:pt x="18932" y="91660"/>
                      </a:lnTo>
                      <a:lnTo>
                        <a:pt x="19771" y="88090"/>
                      </a:lnTo>
                      <a:lnTo>
                        <a:pt x="20350" y="83592"/>
                      </a:lnTo>
                      <a:lnTo>
                        <a:pt x="18655" y="81864"/>
                      </a:lnTo>
                      <a:lnTo>
                        <a:pt x="15819" y="80585"/>
                      </a:lnTo>
                      <a:lnTo>
                        <a:pt x="14808" y="76387"/>
                      </a:lnTo>
                      <a:lnTo>
                        <a:pt x="21499" y="72810"/>
                      </a:lnTo>
                      <a:lnTo>
                        <a:pt x="17946" y="72052"/>
                      </a:lnTo>
                      <a:lnTo>
                        <a:pt x="16552" y="70446"/>
                      </a:lnTo>
                      <a:lnTo>
                        <a:pt x="14833" y="70251"/>
                      </a:lnTo>
                      <a:lnTo>
                        <a:pt x="14702" y="71489"/>
                      </a:lnTo>
                      <a:lnTo>
                        <a:pt x="14148" y="73111"/>
                      </a:lnTo>
                      <a:lnTo>
                        <a:pt x="13545" y="70952"/>
                      </a:lnTo>
                      <a:lnTo>
                        <a:pt x="13374" y="68409"/>
                      </a:lnTo>
                      <a:lnTo>
                        <a:pt x="12673" y="64073"/>
                      </a:lnTo>
                      <a:lnTo>
                        <a:pt x="9935" y="57081"/>
                      </a:lnTo>
                      <a:lnTo>
                        <a:pt x="8272" y="47994"/>
                      </a:lnTo>
                      <a:lnTo>
                        <a:pt x="6194" y="43495"/>
                      </a:lnTo>
                      <a:lnTo>
                        <a:pt x="2200" y="39208"/>
                      </a:lnTo>
                      <a:lnTo>
                        <a:pt x="1157" y="36690"/>
                      </a:lnTo>
                      <a:lnTo>
                        <a:pt x="204" y="30317"/>
                      </a:lnTo>
                      <a:lnTo>
                        <a:pt x="742" y="25500"/>
                      </a:lnTo>
                      <a:lnTo>
                        <a:pt x="0" y="22102"/>
                      </a:lnTo>
                      <a:lnTo>
                        <a:pt x="1915" y="22290"/>
                      </a:lnTo>
                      <a:lnTo>
                        <a:pt x="6968" y="24963"/>
                      </a:lnTo>
                      <a:lnTo>
                        <a:pt x="13252" y="27057"/>
                      </a:lnTo>
                      <a:lnTo>
                        <a:pt x="15159" y="28589"/>
                      </a:lnTo>
                      <a:lnTo>
                        <a:pt x="18207" y="29722"/>
                      </a:lnTo>
                      <a:lnTo>
                        <a:pt x="35109" y="31474"/>
                      </a:lnTo>
                      <a:lnTo>
                        <a:pt x="36209" y="31311"/>
                      </a:lnTo>
                      <a:lnTo>
                        <a:pt x="38393" y="30227"/>
                      </a:lnTo>
                      <a:lnTo>
                        <a:pt x="39322" y="30358"/>
                      </a:lnTo>
                      <a:lnTo>
                        <a:pt x="41808" y="32843"/>
                      </a:lnTo>
                      <a:lnTo>
                        <a:pt x="43055" y="33145"/>
                      </a:lnTo>
                      <a:lnTo>
                        <a:pt x="44669" y="33015"/>
                      </a:lnTo>
                      <a:lnTo>
                        <a:pt x="45859" y="32542"/>
                      </a:lnTo>
                      <a:lnTo>
                        <a:pt x="47896" y="30839"/>
                      </a:lnTo>
                      <a:lnTo>
                        <a:pt x="48173" y="31474"/>
                      </a:lnTo>
                      <a:lnTo>
                        <a:pt x="48140" y="33055"/>
                      </a:lnTo>
                      <a:lnTo>
                        <a:pt x="48866" y="35305"/>
                      </a:lnTo>
                      <a:lnTo>
                        <a:pt x="50365" y="38230"/>
                      </a:lnTo>
                      <a:lnTo>
                        <a:pt x="50928" y="40048"/>
                      </a:lnTo>
                      <a:lnTo>
                        <a:pt x="47912" y="45158"/>
                      </a:lnTo>
                      <a:lnTo>
                        <a:pt x="47334" y="45272"/>
                      </a:lnTo>
                      <a:lnTo>
                        <a:pt x="47244" y="43544"/>
                      </a:lnTo>
                      <a:lnTo>
                        <a:pt x="46853" y="43202"/>
                      </a:lnTo>
                      <a:lnTo>
                        <a:pt x="41164" y="51832"/>
                      </a:lnTo>
                      <a:lnTo>
                        <a:pt x="39168" y="55915"/>
                      </a:lnTo>
                      <a:lnTo>
                        <a:pt x="38964" y="57757"/>
                      </a:lnTo>
                      <a:lnTo>
                        <a:pt x="39029" y="58841"/>
                      </a:lnTo>
                      <a:lnTo>
                        <a:pt x="39828" y="59110"/>
                      </a:lnTo>
                      <a:lnTo>
                        <a:pt x="41645" y="58686"/>
                      </a:lnTo>
                      <a:lnTo>
                        <a:pt x="44343" y="56999"/>
                      </a:lnTo>
                      <a:lnTo>
                        <a:pt x="44473" y="56624"/>
                      </a:lnTo>
                      <a:lnTo>
                        <a:pt x="41963" y="57236"/>
                      </a:lnTo>
                      <a:lnTo>
                        <a:pt x="40757" y="57284"/>
                      </a:lnTo>
                      <a:lnTo>
                        <a:pt x="40920" y="55361"/>
                      </a:lnTo>
                      <a:lnTo>
                        <a:pt x="41213" y="54440"/>
                      </a:lnTo>
                      <a:lnTo>
                        <a:pt x="42851" y="51572"/>
                      </a:lnTo>
                      <a:lnTo>
                        <a:pt x="44571" y="49860"/>
                      </a:lnTo>
                      <a:lnTo>
                        <a:pt x="47024" y="48026"/>
                      </a:lnTo>
                      <a:lnTo>
                        <a:pt x="48434" y="46519"/>
                      </a:lnTo>
                      <a:lnTo>
                        <a:pt x="49412" y="44318"/>
                      </a:lnTo>
                      <a:lnTo>
                        <a:pt x="52126" y="41686"/>
                      </a:lnTo>
                      <a:lnTo>
                        <a:pt x="52631" y="40961"/>
                      </a:lnTo>
                      <a:lnTo>
                        <a:pt x="52509" y="38793"/>
                      </a:lnTo>
                      <a:lnTo>
                        <a:pt x="52680" y="38377"/>
                      </a:lnTo>
                      <a:lnTo>
                        <a:pt x="53992" y="38670"/>
                      </a:lnTo>
                      <a:lnTo>
                        <a:pt x="54538" y="42403"/>
                      </a:lnTo>
                      <a:lnTo>
                        <a:pt x="54212" y="44066"/>
                      </a:lnTo>
                      <a:lnTo>
                        <a:pt x="51865" y="46087"/>
                      </a:lnTo>
                      <a:lnTo>
                        <a:pt x="51580" y="46788"/>
                      </a:lnTo>
                      <a:lnTo>
                        <a:pt x="51987" y="49542"/>
                      </a:lnTo>
                      <a:lnTo>
                        <a:pt x="51629" y="49811"/>
                      </a:lnTo>
                      <a:lnTo>
                        <a:pt x="50740" y="49485"/>
                      </a:lnTo>
                      <a:lnTo>
                        <a:pt x="50463" y="49656"/>
                      </a:lnTo>
                      <a:lnTo>
                        <a:pt x="52680" y="52663"/>
                      </a:lnTo>
                      <a:lnTo>
                        <a:pt x="53381" y="54994"/>
                      </a:lnTo>
                      <a:lnTo>
                        <a:pt x="53479" y="57081"/>
                      </a:lnTo>
                      <a:lnTo>
                        <a:pt x="52876" y="61066"/>
                      </a:lnTo>
                      <a:lnTo>
                        <a:pt x="52232" y="61734"/>
                      </a:lnTo>
                      <a:lnTo>
                        <a:pt x="51115" y="61490"/>
                      </a:lnTo>
                      <a:lnTo>
                        <a:pt x="49656" y="60243"/>
                      </a:lnTo>
                      <a:lnTo>
                        <a:pt x="49330" y="60650"/>
                      </a:lnTo>
                      <a:lnTo>
                        <a:pt x="48165" y="63739"/>
                      </a:lnTo>
                      <a:lnTo>
                        <a:pt x="47782" y="63470"/>
                      </a:lnTo>
                      <a:lnTo>
                        <a:pt x="47057" y="59795"/>
                      </a:lnTo>
                      <a:lnTo>
                        <a:pt x="46665" y="59526"/>
                      </a:lnTo>
                      <a:lnTo>
                        <a:pt x="44408" y="61196"/>
                      </a:lnTo>
                      <a:lnTo>
                        <a:pt x="43495" y="62810"/>
                      </a:lnTo>
                      <a:lnTo>
                        <a:pt x="42713" y="65377"/>
                      </a:lnTo>
                      <a:lnTo>
                        <a:pt x="41727" y="66567"/>
                      </a:lnTo>
                      <a:lnTo>
                        <a:pt x="44538" y="66828"/>
                      </a:lnTo>
                      <a:lnTo>
                        <a:pt x="47081" y="66314"/>
                      </a:lnTo>
                      <a:lnTo>
                        <a:pt x="49110" y="67537"/>
                      </a:lnTo>
                      <a:lnTo>
                        <a:pt x="49803" y="67569"/>
                      </a:lnTo>
                      <a:lnTo>
                        <a:pt x="51661" y="66380"/>
                      </a:lnTo>
                      <a:lnTo>
                        <a:pt x="52232" y="65565"/>
                      </a:lnTo>
                      <a:lnTo>
                        <a:pt x="53764" y="61693"/>
                      </a:lnTo>
                      <a:lnTo>
                        <a:pt x="54530" y="61001"/>
                      </a:lnTo>
                      <a:lnTo>
                        <a:pt x="55679" y="60976"/>
                      </a:lnTo>
                      <a:lnTo>
                        <a:pt x="56787" y="60398"/>
                      </a:lnTo>
                      <a:lnTo>
                        <a:pt x="58434" y="58271"/>
                      </a:lnTo>
                      <a:lnTo>
                        <a:pt x="58499" y="57423"/>
                      </a:lnTo>
                      <a:lnTo>
                        <a:pt x="57904" y="52672"/>
                      </a:lnTo>
                      <a:lnTo>
                        <a:pt x="58075" y="49966"/>
                      </a:lnTo>
                      <a:lnTo>
                        <a:pt x="57765" y="49110"/>
                      </a:lnTo>
                      <a:lnTo>
                        <a:pt x="57032" y="48222"/>
                      </a:lnTo>
                      <a:lnTo>
                        <a:pt x="57121" y="47358"/>
                      </a:lnTo>
                      <a:lnTo>
                        <a:pt x="57692" y="45940"/>
                      </a:lnTo>
                      <a:lnTo>
                        <a:pt x="57733" y="44652"/>
                      </a:lnTo>
                      <a:lnTo>
                        <a:pt x="57236" y="43503"/>
                      </a:lnTo>
                      <a:lnTo>
                        <a:pt x="57456" y="42207"/>
                      </a:lnTo>
                      <a:lnTo>
                        <a:pt x="59004" y="39404"/>
                      </a:lnTo>
                      <a:lnTo>
                        <a:pt x="59306" y="38173"/>
                      </a:lnTo>
                      <a:lnTo>
                        <a:pt x="61205" y="35386"/>
                      </a:lnTo>
                      <a:lnTo>
                        <a:pt x="60724" y="34270"/>
                      </a:lnTo>
                      <a:lnTo>
                        <a:pt x="59330" y="32900"/>
                      </a:lnTo>
                      <a:lnTo>
                        <a:pt x="58450" y="31694"/>
                      </a:lnTo>
                      <a:lnTo>
                        <a:pt x="57570" y="29812"/>
                      </a:lnTo>
                      <a:lnTo>
                        <a:pt x="56893" y="29176"/>
                      </a:lnTo>
                      <a:lnTo>
                        <a:pt x="56673" y="29461"/>
                      </a:lnTo>
                      <a:lnTo>
                        <a:pt x="57610" y="32550"/>
                      </a:lnTo>
                      <a:lnTo>
                        <a:pt x="57415" y="32754"/>
                      </a:lnTo>
                      <a:lnTo>
                        <a:pt x="54954" y="31091"/>
                      </a:lnTo>
                      <a:lnTo>
                        <a:pt x="54383" y="30040"/>
                      </a:lnTo>
                      <a:lnTo>
                        <a:pt x="54082" y="28622"/>
                      </a:lnTo>
                      <a:lnTo>
                        <a:pt x="54302" y="27546"/>
                      </a:lnTo>
                      <a:lnTo>
                        <a:pt x="55622" y="26495"/>
                      </a:lnTo>
                      <a:lnTo>
                        <a:pt x="57203" y="26112"/>
                      </a:lnTo>
                      <a:lnTo>
                        <a:pt x="57081" y="25223"/>
                      </a:lnTo>
                      <a:lnTo>
                        <a:pt x="55100" y="22330"/>
                      </a:lnTo>
                      <a:lnTo>
                        <a:pt x="53780" y="21010"/>
                      </a:lnTo>
                      <a:lnTo>
                        <a:pt x="52761" y="20366"/>
                      </a:lnTo>
                      <a:lnTo>
                        <a:pt x="51400" y="20203"/>
                      </a:lnTo>
                      <a:lnTo>
                        <a:pt x="50789" y="19722"/>
                      </a:lnTo>
                      <a:lnTo>
                        <a:pt x="50626" y="19046"/>
                      </a:lnTo>
                      <a:lnTo>
                        <a:pt x="50920" y="18149"/>
                      </a:lnTo>
                      <a:lnTo>
                        <a:pt x="51645" y="17864"/>
                      </a:lnTo>
                      <a:lnTo>
                        <a:pt x="53756" y="18223"/>
                      </a:lnTo>
                      <a:lnTo>
                        <a:pt x="54897" y="17587"/>
                      </a:lnTo>
                      <a:lnTo>
                        <a:pt x="54791" y="16438"/>
                      </a:lnTo>
                      <a:lnTo>
                        <a:pt x="54448" y="15802"/>
                      </a:lnTo>
                      <a:lnTo>
                        <a:pt x="54497" y="11687"/>
                      </a:lnTo>
                      <a:lnTo>
                        <a:pt x="53690" y="8337"/>
                      </a:lnTo>
                      <a:lnTo>
                        <a:pt x="53267" y="7775"/>
                      </a:lnTo>
                      <a:lnTo>
                        <a:pt x="52818" y="7718"/>
                      </a:lnTo>
                      <a:lnTo>
                        <a:pt x="52338" y="8166"/>
                      </a:lnTo>
                      <a:lnTo>
                        <a:pt x="51009" y="8280"/>
                      </a:lnTo>
                      <a:lnTo>
                        <a:pt x="50194" y="7180"/>
                      </a:lnTo>
                      <a:lnTo>
                        <a:pt x="49290" y="5061"/>
                      </a:lnTo>
                      <a:lnTo>
                        <a:pt x="47643" y="8"/>
                      </a:lnTo>
                      <a:lnTo>
                        <a:pt x="50186" y="8"/>
                      </a:lnTo>
                      <a:lnTo>
                        <a:pt x="60764" y="8"/>
                      </a:lnTo>
                      <a:lnTo>
                        <a:pt x="71335" y="8"/>
                      </a:lnTo>
                      <a:lnTo>
                        <a:pt x="81913" y="8"/>
                      </a:lnTo>
                      <a:lnTo>
                        <a:pt x="92483" y="8"/>
                      </a:lnTo>
                      <a:lnTo>
                        <a:pt x="103053" y="8"/>
                      </a:lnTo>
                      <a:lnTo>
                        <a:pt x="113632" y="8"/>
                      </a:lnTo>
                      <a:lnTo>
                        <a:pt x="124210" y="8"/>
                      </a:lnTo>
                      <a:lnTo>
                        <a:pt x="134780" y="0"/>
                      </a:lnTo>
                      <a:lnTo>
                        <a:pt x="145351" y="0"/>
                      </a:lnTo>
                      <a:lnTo>
                        <a:pt x="155921" y="0"/>
                      </a:lnTo>
                      <a:lnTo>
                        <a:pt x="166499" y="0"/>
                      </a:lnTo>
                      <a:lnTo>
                        <a:pt x="177077" y="0"/>
                      </a:lnTo>
                      <a:lnTo>
                        <a:pt x="187648" y="0"/>
                      </a:lnTo>
                      <a:lnTo>
                        <a:pt x="190231" y="0"/>
                      </a:lnTo>
                      <a:lnTo>
                        <a:pt x="190304" y="5770"/>
                      </a:lnTo>
                      <a:close/>
                    </a:path>
                  </a:pathLst>
                </a:custGeom>
                <a:solidFill>
                  <a:srgbClr val="D6D6D2"/>
                </a:solidFill>
                <a:ln w="6112" cap="rnd">
                  <a:solidFill>
                    <a:srgbClr val="FFFFFF"/>
                  </a:solidFill>
                  <a:prstDash val="solid"/>
                  <a:round/>
                </a:ln>
              </p:spPr>
              <p:txBody>
                <a:bodyPr rtlCol="0" anchor="ctr"/>
                <a:lstStyle/>
                <a:p>
                  <a:endParaRPr lang="en-US"/>
                </a:p>
              </p:txBody>
            </p:sp>
            <p:sp>
              <p:nvSpPr>
                <p:cNvPr id="430" name="Freeform: Shape 429">
                  <a:extLst>
                    <a:ext uri="{FF2B5EF4-FFF2-40B4-BE49-F238E27FC236}">
                      <a16:creationId xmlns:a16="http://schemas.microsoft.com/office/drawing/2014/main" id="{0BA37B6C-131B-4557-90BA-65BA8717900E}"/>
                    </a:ext>
                  </a:extLst>
                </p:cNvPr>
                <p:cNvSpPr/>
                <p:nvPr/>
              </p:nvSpPr>
              <p:spPr>
                <a:xfrm>
                  <a:off x="4122493" y="3103175"/>
                  <a:ext cx="47521" cy="79239"/>
                </a:xfrm>
                <a:custGeom>
                  <a:avLst/>
                  <a:gdLst>
                    <a:gd name="connsiteX0" fmla="*/ 28019 w 47521"/>
                    <a:gd name="connsiteY0" fmla="*/ 45133 h 79239"/>
                    <a:gd name="connsiteX1" fmla="*/ 27000 w 47521"/>
                    <a:gd name="connsiteY1" fmla="*/ 48360 h 79239"/>
                    <a:gd name="connsiteX2" fmla="*/ 26389 w 47521"/>
                    <a:gd name="connsiteY2" fmla="*/ 49591 h 79239"/>
                    <a:gd name="connsiteX3" fmla="*/ 25827 w 47521"/>
                    <a:gd name="connsiteY3" fmla="*/ 51580 h 79239"/>
                    <a:gd name="connsiteX4" fmla="*/ 25281 w 47521"/>
                    <a:gd name="connsiteY4" fmla="*/ 58425 h 79239"/>
                    <a:gd name="connsiteX5" fmla="*/ 24506 w 47521"/>
                    <a:gd name="connsiteY5" fmla="*/ 62142 h 79239"/>
                    <a:gd name="connsiteX6" fmla="*/ 23626 w 47521"/>
                    <a:gd name="connsiteY6" fmla="*/ 68588 h 79239"/>
                    <a:gd name="connsiteX7" fmla="*/ 23056 w 47521"/>
                    <a:gd name="connsiteY7" fmla="*/ 70202 h 79239"/>
                    <a:gd name="connsiteX8" fmla="*/ 22493 w 47521"/>
                    <a:gd name="connsiteY8" fmla="*/ 71074 h 79239"/>
                    <a:gd name="connsiteX9" fmla="*/ 21735 w 47521"/>
                    <a:gd name="connsiteY9" fmla="*/ 73837 h 79239"/>
                    <a:gd name="connsiteX10" fmla="*/ 21662 w 47521"/>
                    <a:gd name="connsiteY10" fmla="*/ 74880 h 79239"/>
                    <a:gd name="connsiteX11" fmla="*/ 21988 w 47521"/>
                    <a:gd name="connsiteY11" fmla="*/ 75809 h 79239"/>
                    <a:gd name="connsiteX12" fmla="*/ 23382 w 47521"/>
                    <a:gd name="connsiteY12" fmla="*/ 78001 h 79239"/>
                    <a:gd name="connsiteX13" fmla="*/ 23797 w 47521"/>
                    <a:gd name="connsiteY13" fmla="*/ 79240 h 79239"/>
                    <a:gd name="connsiteX14" fmla="*/ 21352 w 47521"/>
                    <a:gd name="connsiteY14" fmla="*/ 79142 h 79239"/>
                    <a:gd name="connsiteX15" fmla="*/ 18916 w 47521"/>
                    <a:gd name="connsiteY15" fmla="*/ 79052 h 79239"/>
                    <a:gd name="connsiteX16" fmla="*/ 16479 w 47521"/>
                    <a:gd name="connsiteY16" fmla="*/ 78946 h 79239"/>
                    <a:gd name="connsiteX17" fmla="*/ 14042 w 47521"/>
                    <a:gd name="connsiteY17" fmla="*/ 78857 h 79239"/>
                    <a:gd name="connsiteX18" fmla="*/ 11605 w 47521"/>
                    <a:gd name="connsiteY18" fmla="*/ 78759 h 79239"/>
                    <a:gd name="connsiteX19" fmla="*/ 9168 w 47521"/>
                    <a:gd name="connsiteY19" fmla="*/ 78669 h 79239"/>
                    <a:gd name="connsiteX20" fmla="*/ 6724 w 47521"/>
                    <a:gd name="connsiteY20" fmla="*/ 78571 h 79239"/>
                    <a:gd name="connsiteX21" fmla="*/ 4287 w 47521"/>
                    <a:gd name="connsiteY21" fmla="*/ 78482 h 79239"/>
                    <a:gd name="connsiteX22" fmla="*/ 3618 w 47521"/>
                    <a:gd name="connsiteY22" fmla="*/ 76371 h 79239"/>
                    <a:gd name="connsiteX23" fmla="*/ 3961 w 47521"/>
                    <a:gd name="connsiteY23" fmla="*/ 74594 h 79239"/>
                    <a:gd name="connsiteX24" fmla="*/ 4010 w 47521"/>
                    <a:gd name="connsiteY24" fmla="*/ 72158 h 79239"/>
                    <a:gd name="connsiteX25" fmla="*/ 4075 w 47521"/>
                    <a:gd name="connsiteY25" fmla="*/ 68987 h 79239"/>
                    <a:gd name="connsiteX26" fmla="*/ 4148 w 47521"/>
                    <a:gd name="connsiteY26" fmla="*/ 65491 h 79239"/>
                    <a:gd name="connsiteX27" fmla="*/ 4238 w 47521"/>
                    <a:gd name="connsiteY27" fmla="*/ 60732 h 79239"/>
                    <a:gd name="connsiteX28" fmla="*/ 4303 w 47521"/>
                    <a:gd name="connsiteY28" fmla="*/ 57545 h 79239"/>
                    <a:gd name="connsiteX29" fmla="*/ 4360 w 47521"/>
                    <a:gd name="connsiteY29" fmla="*/ 54685 h 79239"/>
                    <a:gd name="connsiteX30" fmla="*/ 4442 w 47521"/>
                    <a:gd name="connsiteY30" fmla="*/ 50748 h 79239"/>
                    <a:gd name="connsiteX31" fmla="*/ 2975 w 47521"/>
                    <a:gd name="connsiteY31" fmla="*/ 48564 h 79239"/>
                    <a:gd name="connsiteX32" fmla="*/ 2380 w 47521"/>
                    <a:gd name="connsiteY32" fmla="*/ 48198 h 79239"/>
                    <a:gd name="connsiteX33" fmla="*/ 1907 w 47521"/>
                    <a:gd name="connsiteY33" fmla="*/ 48418 h 79239"/>
                    <a:gd name="connsiteX34" fmla="*/ 864 w 47521"/>
                    <a:gd name="connsiteY34" fmla="*/ 49868 h 79239"/>
                    <a:gd name="connsiteX35" fmla="*/ 530 w 47521"/>
                    <a:gd name="connsiteY35" fmla="*/ 49860 h 79239"/>
                    <a:gd name="connsiteX36" fmla="*/ 253 w 47521"/>
                    <a:gd name="connsiteY36" fmla="*/ 49485 h 79239"/>
                    <a:gd name="connsiteX37" fmla="*/ 318 w 47521"/>
                    <a:gd name="connsiteY37" fmla="*/ 48157 h 79239"/>
                    <a:gd name="connsiteX38" fmla="*/ 1247 w 47521"/>
                    <a:gd name="connsiteY38" fmla="*/ 43487 h 79239"/>
                    <a:gd name="connsiteX39" fmla="*/ 1271 w 47521"/>
                    <a:gd name="connsiteY39" fmla="*/ 42028 h 79239"/>
                    <a:gd name="connsiteX40" fmla="*/ 1076 w 47521"/>
                    <a:gd name="connsiteY40" fmla="*/ 39534 h 79239"/>
                    <a:gd name="connsiteX41" fmla="*/ 33 w 47521"/>
                    <a:gd name="connsiteY41" fmla="*/ 33878 h 79239"/>
                    <a:gd name="connsiteX42" fmla="*/ 0 w 47521"/>
                    <a:gd name="connsiteY42" fmla="*/ 32607 h 79239"/>
                    <a:gd name="connsiteX43" fmla="*/ 408 w 47521"/>
                    <a:gd name="connsiteY43" fmla="*/ 30635 h 79239"/>
                    <a:gd name="connsiteX44" fmla="*/ 1116 w 47521"/>
                    <a:gd name="connsiteY44" fmla="*/ 28679 h 79239"/>
                    <a:gd name="connsiteX45" fmla="*/ 2339 w 47521"/>
                    <a:gd name="connsiteY45" fmla="*/ 26690 h 79239"/>
                    <a:gd name="connsiteX46" fmla="*/ 2616 w 47521"/>
                    <a:gd name="connsiteY46" fmla="*/ 25843 h 79239"/>
                    <a:gd name="connsiteX47" fmla="*/ 2518 w 47521"/>
                    <a:gd name="connsiteY47" fmla="*/ 22387 h 79239"/>
                    <a:gd name="connsiteX48" fmla="*/ 2893 w 47521"/>
                    <a:gd name="connsiteY48" fmla="*/ 19176 h 79239"/>
                    <a:gd name="connsiteX49" fmla="*/ 1345 w 47521"/>
                    <a:gd name="connsiteY49" fmla="*/ 14368 h 79239"/>
                    <a:gd name="connsiteX50" fmla="*/ 1931 w 47521"/>
                    <a:gd name="connsiteY50" fmla="*/ 8142 h 79239"/>
                    <a:gd name="connsiteX51" fmla="*/ 1500 w 47521"/>
                    <a:gd name="connsiteY51" fmla="*/ 5159 h 79239"/>
                    <a:gd name="connsiteX52" fmla="*/ 2013 w 47521"/>
                    <a:gd name="connsiteY52" fmla="*/ 2404 h 79239"/>
                    <a:gd name="connsiteX53" fmla="*/ 1834 w 47521"/>
                    <a:gd name="connsiteY53" fmla="*/ 73 h 79239"/>
                    <a:gd name="connsiteX54" fmla="*/ 6055 w 47521"/>
                    <a:gd name="connsiteY54" fmla="*/ 65 h 79239"/>
                    <a:gd name="connsiteX55" fmla="*/ 16381 w 47521"/>
                    <a:gd name="connsiteY55" fmla="*/ 49 h 79239"/>
                    <a:gd name="connsiteX56" fmla="*/ 26699 w 47521"/>
                    <a:gd name="connsiteY56" fmla="*/ 33 h 79239"/>
                    <a:gd name="connsiteX57" fmla="*/ 37024 w 47521"/>
                    <a:gd name="connsiteY57" fmla="*/ 16 h 79239"/>
                    <a:gd name="connsiteX58" fmla="*/ 47342 w 47521"/>
                    <a:gd name="connsiteY58" fmla="*/ 0 h 79239"/>
                    <a:gd name="connsiteX59" fmla="*/ 46943 w 47521"/>
                    <a:gd name="connsiteY59" fmla="*/ 685 h 79239"/>
                    <a:gd name="connsiteX60" fmla="*/ 47521 w 47521"/>
                    <a:gd name="connsiteY60" fmla="*/ 3480 h 79239"/>
                    <a:gd name="connsiteX61" fmla="*/ 44783 w 47521"/>
                    <a:gd name="connsiteY61" fmla="*/ 8264 h 79239"/>
                    <a:gd name="connsiteX62" fmla="*/ 44840 w 47521"/>
                    <a:gd name="connsiteY62" fmla="*/ 9804 h 79239"/>
                    <a:gd name="connsiteX63" fmla="*/ 46079 w 47521"/>
                    <a:gd name="connsiteY63" fmla="*/ 14009 h 79239"/>
                    <a:gd name="connsiteX64" fmla="*/ 46005 w 47521"/>
                    <a:gd name="connsiteY64" fmla="*/ 15004 h 79239"/>
                    <a:gd name="connsiteX65" fmla="*/ 45598 w 47521"/>
                    <a:gd name="connsiteY65" fmla="*/ 15493 h 79239"/>
                    <a:gd name="connsiteX66" fmla="*/ 45060 w 47521"/>
                    <a:gd name="connsiteY66" fmla="*/ 17277 h 79239"/>
                    <a:gd name="connsiteX67" fmla="*/ 44351 w 47521"/>
                    <a:gd name="connsiteY67" fmla="*/ 18410 h 79239"/>
                    <a:gd name="connsiteX68" fmla="*/ 43234 w 47521"/>
                    <a:gd name="connsiteY68" fmla="*/ 19510 h 79239"/>
                    <a:gd name="connsiteX69" fmla="*/ 39706 w 47521"/>
                    <a:gd name="connsiteY69" fmla="*/ 22167 h 79239"/>
                    <a:gd name="connsiteX70" fmla="*/ 38654 w 47521"/>
                    <a:gd name="connsiteY70" fmla="*/ 22836 h 79239"/>
                    <a:gd name="connsiteX71" fmla="*/ 35329 w 47521"/>
                    <a:gd name="connsiteY71" fmla="*/ 23724 h 79239"/>
                    <a:gd name="connsiteX72" fmla="*/ 34604 w 47521"/>
                    <a:gd name="connsiteY72" fmla="*/ 24734 h 79239"/>
                    <a:gd name="connsiteX73" fmla="*/ 33830 w 47521"/>
                    <a:gd name="connsiteY73" fmla="*/ 31156 h 79239"/>
                    <a:gd name="connsiteX74" fmla="*/ 32737 w 47521"/>
                    <a:gd name="connsiteY74" fmla="*/ 34759 h 79239"/>
                    <a:gd name="connsiteX75" fmla="*/ 32518 w 47521"/>
                    <a:gd name="connsiteY75" fmla="*/ 36421 h 79239"/>
                    <a:gd name="connsiteX76" fmla="*/ 31067 w 47521"/>
                    <a:gd name="connsiteY76" fmla="*/ 39249 h 79239"/>
                    <a:gd name="connsiteX77" fmla="*/ 29852 w 47521"/>
                    <a:gd name="connsiteY77" fmla="*/ 42493 h 79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47521" h="79239">
                      <a:moveTo>
                        <a:pt x="28019" y="45133"/>
                      </a:moveTo>
                      <a:lnTo>
                        <a:pt x="27000" y="48360"/>
                      </a:lnTo>
                      <a:lnTo>
                        <a:pt x="26389" y="49591"/>
                      </a:lnTo>
                      <a:lnTo>
                        <a:pt x="25827" y="51580"/>
                      </a:lnTo>
                      <a:lnTo>
                        <a:pt x="25281" y="58425"/>
                      </a:lnTo>
                      <a:lnTo>
                        <a:pt x="24506" y="62142"/>
                      </a:lnTo>
                      <a:lnTo>
                        <a:pt x="23626" y="68588"/>
                      </a:lnTo>
                      <a:lnTo>
                        <a:pt x="23056" y="70202"/>
                      </a:lnTo>
                      <a:lnTo>
                        <a:pt x="22493" y="71074"/>
                      </a:lnTo>
                      <a:lnTo>
                        <a:pt x="21735" y="73837"/>
                      </a:lnTo>
                      <a:lnTo>
                        <a:pt x="21662" y="74880"/>
                      </a:lnTo>
                      <a:lnTo>
                        <a:pt x="21988" y="75809"/>
                      </a:lnTo>
                      <a:lnTo>
                        <a:pt x="23382" y="78001"/>
                      </a:lnTo>
                      <a:lnTo>
                        <a:pt x="23797" y="79240"/>
                      </a:lnTo>
                      <a:lnTo>
                        <a:pt x="21352" y="79142"/>
                      </a:lnTo>
                      <a:lnTo>
                        <a:pt x="18916" y="79052"/>
                      </a:lnTo>
                      <a:lnTo>
                        <a:pt x="16479" y="78946"/>
                      </a:lnTo>
                      <a:lnTo>
                        <a:pt x="14042" y="78857"/>
                      </a:lnTo>
                      <a:lnTo>
                        <a:pt x="11605" y="78759"/>
                      </a:lnTo>
                      <a:lnTo>
                        <a:pt x="9168" y="78669"/>
                      </a:lnTo>
                      <a:lnTo>
                        <a:pt x="6724" y="78571"/>
                      </a:lnTo>
                      <a:lnTo>
                        <a:pt x="4287" y="78482"/>
                      </a:lnTo>
                      <a:lnTo>
                        <a:pt x="3618" y="76371"/>
                      </a:lnTo>
                      <a:lnTo>
                        <a:pt x="3961" y="74594"/>
                      </a:lnTo>
                      <a:lnTo>
                        <a:pt x="4010" y="72158"/>
                      </a:lnTo>
                      <a:lnTo>
                        <a:pt x="4075" y="68987"/>
                      </a:lnTo>
                      <a:lnTo>
                        <a:pt x="4148" y="65491"/>
                      </a:lnTo>
                      <a:lnTo>
                        <a:pt x="4238" y="60732"/>
                      </a:lnTo>
                      <a:lnTo>
                        <a:pt x="4303" y="57545"/>
                      </a:lnTo>
                      <a:lnTo>
                        <a:pt x="4360" y="54685"/>
                      </a:lnTo>
                      <a:lnTo>
                        <a:pt x="4442" y="50748"/>
                      </a:lnTo>
                      <a:lnTo>
                        <a:pt x="2975" y="48564"/>
                      </a:lnTo>
                      <a:lnTo>
                        <a:pt x="2380" y="48198"/>
                      </a:lnTo>
                      <a:lnTo>
                        <a:pt x="1907" y="48418"/>
                      </a:lnTo>
                      <a:lnTo>
                        <a:pt x="864" y="49868"/>
                      </a:lnTo>
                      <a:lnTo>
                        <a:pt x="530" y="49860"/>
                      </a:lnTo>
                      <a:lnTo>
                        <a:pt x="253" y="49485"/>
                      </a:lnTo>
                      <a:lnTo>
                        <a:pt x="318" y="48157"/>
                      </a:lnTo>
                      <a:lnTo>
                        <a:pt x="1247" y="43487"/>
                      </a:lnTo>
                      <a:lnTo>
                        <a:pt x="1271" y="42028"/>
                      </a:lnTo>
                      <a:lnTo>
                        <a:pt x="1076" y="39534"/>
                      </a:lnTo>
                      <a:lnTo>
                        <a:pt x="33" y="33878"/>
                      </a:lnTo>
                      <a:lnTo>
                        <a:pt x="0" y="32607"/>
                      </a:lnTo>
                      <a:lnTo>
                        <a:pt x="408" y="30635"/>
                      </a:lnTo>
                      <a:lnTo>
                        <a:pt x="1116" y="28679"/>
                      </a:lnTo>
                      <a:lnTo>
                        <a:pt x="2339" y="26690"/>
                      </a:lnTo>
                      <a:lnTo>
                        <a:pt x="2616" y="25843"/>
                      </a:lnTo>
                      <a:lnTo>
                        <a:pt x="2518" y="22387"/>
                      </a:lnTo>
                      <a:lnTo>
                        <a:pt x="2893" y="19176"/>
                      </a:lnTo>
                      <a:lnTo>
                        <a:pt x="1345" y="14368"/>
                      </a:lnTo>
                      <a:lnTo>
                        <a:pt x="1931" y="8142"/>
                      </a:lnTo>
                      <a:lnTo>
                        <a:pt x="1500" y="5159"/>
                      </a:lnTo>
                      <a:lnTo>
                        <a:pt x="2013" y="2404"/>
                      </a:lnTo>
                      <a:lnTo>
                        <a:pt x="1834" y="73"/>
                      </a:lnTo>
                      <a:lnTo>
                        <a:pt x="6055" y="65"/>
                      </a:lnTo>
                      <a:lnTo>
                        <a:pt x="16381" y="49"/>
                      </a:lnTo>
                      <a:lnTo>
                        <a:pt x="26699" y="33"/>
                      </a:lnTo>
                      <a:lnTo>
                        <a:pt x="37024" y="16"/>
                      </a:lnTo>
                      <a:lnTo>
                        <a:pt x="47342" y="0"/>
                      </a:lnTo>
                      <a:lnTo>
                        <a:pt x="46943" y="685"/>
                      </a:lnTo>
                      <a:lnTo>
                        <a:pt x="47521" y="3480"/>
                      </a:lnTo>
                      <a:lnTo>
                        <a:pt x="44783" y="8264"/>
                      </a:lnTo>
                      <a:lnTo>
                        <a:pt x="44840" y="9804"/>
                      </a:lnTo>
                      <a:lnTo>
                        <a:pt x="46079" y="14009"/>
                      </a:lnTo>
                      <a:lnTo>
                        <a:pt x="46005" y="15004"/>
                      </a:lnTo>
                      <a:lnTo>
                        <a:pt x="45598" y="15493"/>
                      </a:lnTo>
                      <a:lnTo>
                        <a:pt x="45060" y="17277"/>
                      </a:lnTo>
                      <a:lnTo>
                        <a:pt x="44351" y="18410"/>
                      </a:lnTo>
                      <a:lnTo>
                        <a:pt x="43234" y="19510"/>
                      </a:lnTo>
                      <a:lnTo>
                        <a:pt x="39706" y="22167"/>
                      </a:lnTo>
                      <a:lnTo>
                        <a:pt x="38654" y="22836"/>
                      </a:lnTo>
                      <a:lnTo>
                        <a:pt x="35329" y="23724"/>
                      </a:lnTo>
                      <a:lnTo>
                        <a:pt x="34604" y="24734"/>
                      </a:lnTo>
                      <a:lnTo>
                        <a:pt x="33830" y="31156"/>
                      </a:lnTo>
                      <a:lnTo>
                        <a:pt x="32737" y="34759"/>
                      </a:lnTo>
                      <a:lnTo>
                        <a:pt x="32518" y="36421"/>
                      </a:lnTo>
                      <a:lnTo>
                        <a:pt x="31067" y="39249"/>
                      </a:lnTo>
                      <a:lnTo>
                        <a:pt x="29852" y="42493"/>
                      </a:lnTo>
                      <a:close/>
                    </a:path>
                  </a:pathLst>
                </a:custGeom>
                <a:solidFill>
                  <a:srgbClr val="D6D6D2"/>
                </a:solidFill>
                <a:ln w="8150" cap="flat">
                  <a:noFill/>
                  <a:prstDash val="solid"/>
                  <a:miter/>
                </a:ln>
              </p:spPr>
              <p:txBody>
                <a:bodyPr rtlCol="0" anchor="ctr"/>
                <a:lstStyle/>
                <a:p>
                  <a:endParaRPr lang="en-US"/>
                </a:p>
              </p:txBody>
            </p:sp>
            <p:sp>
              <p:nvSpPr>
                <p:cNvPr id="431" name="Freeform: Shape 430">
                  <a:extLst>
                    <a:ext uri="{FF2B5EF4-FFF2-40B4-BE49-F238E27FC236}">
                      <a16:creationId xmlns:a16="http://schemas.microsoft.com/office/drawing/2014/main" id="{A6A51FF2-0F7C-4C19-B238-5A280D397CA0}"/>
                    </a:ext>
                  </a:extLst>
                </p:cNvPr>
                <p:cNvSpPr/>
                <p:nvPr/>
              </p:nvSpPr>
              <p:spPr>
                <a:xfrm>
                  <a:off x="3868433" y="3294384"/>
                  <a:ext cx="205699" cy="97169"/>
                </a:xfrm>
                <a:custGeom>
                  <a:avLst/>
                  <a:gdLst>
                    <a:gd name="connsiteX0" fmla="*/ 141895 w 205699"/>
                    <a:gd name="connsiteY0" fmla="*/ 7930 h 97169"/>
                    <a:gd name="connsiteX1" fmla="*/ 144690 w 205699"/>
                    <a:gd name="connsiteY1" fmla="*/ 10326 h 97169"/>
                    <a:gd name="connsiteX2" fmla="*/ 145782 w 205699"/>
                    <a:gd name="connsiteY2" fmla="*/ 7579 h 97169"/>
                    <a:gd name="connsiteX3" fmla="*/ 147396 w 205699"/>
                    <a:gd name="connsiteY3" fmla="*/ 3529 h 97169"/>
                    <a:gd name="connsiteX4" fmla="*/ 148830 w 205699"/>
                    <a:gd name="connsiteY4" fmla="*/ 4776 h 97169"/>
                    <a:gd name="connsiteX5" fmla="*/ 152164 w 205699"/>
                    <a:gd name="connsiteY5" fmla="*/ 6259 h 97169"/>
                    <a:gd name="connsiteX6" fmla="*/ 153541 w 205699"/>
                    <a:gd name="connsiteY6" fmla="*/ 7775 h 97169"/>
                    <a:gd name="connsiteX7" fmla="*/ 152938 w 205699"/>
                    <a:gd name="connsiteY7" fmla="*/ 9315 h 97169"/>
                    <a:gd name="connsiteX8" fmla="*/ 152856 w 205699"/>
                    <a:gd name="connsiteY8" fmla="*/ 10415 h 97169"/>
                    <a:gd name="connsiteX9" fmla="*/ 153484 w 205699"/>
                    <a:gd name="connsiteY9" fmla="*/ 11418 h 97169"/>
                    <a:gd name="connsiteX10" fmla="*/ 157942 w 205699"/>
                    <a:gd name="connsiteY10" fmla="*/ 13431 h 97169"/>
                    <a:gd name="connsiteX11" fmla="*/ 160688 w 205699"/>
                    <a:gd name="connsiteY11" fmla="*/ 16267 h 97169"/>
                    <a:gd name="connsiteX12" fmla="*/ 162383 w 205699"/>
                    <a:gd name="connsiteY12" fmla="*/ 17123 h 97169"/>
                    <a:gd name="connsiteX13" fmla="*/ 162889 w 205699"/>
                    <a:gd name="connsiteY13" fmla="*/ 17375 h 97169"/>
                    <a:gd name="connsiteX14" fmla="*/ 164095 w 205699"/>
                    <a:gd name="connsiteY14" fmla="*/ 18076 h 97169"/>
                    <a:gd name="connsiteX15" fmla="*/ 164657 w 205699"/>
                    <a:gd name="connsiteY15" fmla="*/ 18948 h 97169"/>
                    <a:gd name="connsiteX16" fmla="*/ 164282 w 205699"/>
                    <a:gd name="connsiteY16" fmla="*/ 22770 h 97169"/>
                    <a:gd name="connsiteX17" fmla="*/ 163125 w 205699"/>
                    <a:gd name="connsiteY17" fmla="*/ 24661 h 97169"/>
                    <a:gd name="connsiteX18" fmla="*/ 161324 w 205699"/>
                    <a:gd name="connsiteY18" fmla="*/ 26104 h 97169"/>
                    <a:gd name="connsiteX19" fmla="*/ 158944 w 205699"/>
                    <a:gd name="connsiteY19" fmla="*/ 28679 h 97169"/>
                    <a:gd name="connsiteX20" fmla="*/ 158365 w 205699"/>
                    <a:gd name="connsiteY20" fmla="*/ 31059 h 97169"/>
                    <a:gd name="connsiteX21" fmla="*/ 157624 w 205699"/>
                    <a:gd name="connsiteY21" fmla="*/ 35508 h 97169"/>
                    <a:gd name="connsiteX22" fmla="*/ 158626 w 205699"/>
                    <a:gd name="connsiteY22" fmla="*/ 37024 h 97169"/>
                    <a:gd name="connsiteX23" fmla="*/ 159653 w 205699"/>
                    <a:gd name="connsiteY23" fmla="*/ 37415 h 97169"/>
                    <a:gd name="connsiteX24" fmla="*/ 162677 w 205699"/>
                    <a:gd name="connsiteY24" fmla="*/ 36405 h 97169"/>
                    <a:gd name="connsiteX25" fmla="*/ 164241 w 205699"/>
                    <a:gd name="connsiteY25" fmla="*/ 36861 h 97169"/>
                    <a:gd name="connsiteX26" fmla="*/ 167721 w 205699"/>
                    <a:gd name="connsiteY26" fmla="*/ 42216 h 97169"/>
                    <a:gd name="connsiteX27" fmla="*/ 174209 w 205699"/>
                    <a:gd name="connsiteY27" fmla="*/ 44318 h 97169"/>
                    <a:gd name="connsiteX28" fmla="*/ 176572 w 205699"/>
                    <a:gd name="connsiteY28" fmla="*/ 45647 h 97169"/>
                    <a:gd name="connsiteX29" fmla="*/ 178503 w 205699"/>
                    <a:gd name="connsiteY29" fmla="*/ 48442 h 97169"/>
                    <a:gd name="connsiteX30" fmla="*/ 181397 w 205699"/>
                    <a:gd name="connsiteY30" fmla="*/ 50048 h 97169"/>
                    <a:gd name="connsiteX31" fmla="*/ 183646 w 205699"/>
                    <a:gd name="connsiteY31" fmla="*/ 52378 h 97169"/>
                    <a:gd name="connsiteX32" fmla="*/ 183711 w 205699"/>
                    <a:gd name="connsiteY32" fmla="*/ 53902 h 97169"/>
                    <a:gd name="connsiteX33" fmla="*/ 182929 w 205699"/>
                    <a:gd name="connsiteY33" fmla="*/ 55695 h 97169"/>
                    <a:gd name="connsiteX34" fmla="*/ 182619 w 205699"/>
                    <a:gd name="connsiteY34" fmla="*/ 58132 h 97169"/>
                    <a:gd name="connsiteX35" fmla="*/ 181666 w 205699"/>
                    <a:gd name="connsiteY35" fmla="*/ 59664 h 97169"/>
                    <a:gd name="connsiteX36" fmla="*/ 179375 w 205699"/>
                    <a:gd name="connsiteY36" fmla="*/ 59844 h 97169"/>
                    <a:gd name="connsiteX37" fmla="*/ 177990 w 205699"/>
                    <a:gd name="connsiteY37" fmla="*/ 59452 h 97169"/>
                    <a:gd name="connsiteX38" fmla="*/ 170541 w 205699"/>
                    <a:gd name="connsiteY38" fmla="*/ 50895 h 97169"/>
                    <a:gd name="connsiteX39" fmla="*/ 169653 w 205699"/>
                    <a:gd name="connsiteY39" fmla="*/ 50105 h 97169"/>
                    <a:gd name="connsiteX40" fmla="*/ 166890 w 205699"/>
                    <a:gd name="connsiteY40" fmla="*/ 45622 h 97169"/>
                    <a:gd name="connsiteX41" fmla="*/ 163647 w 205699"/>
                    <a:gd name="connsiteY41" fmla="*/ 43218 h 97169"/>
                    <a:gd name="connsiteX42" fmla="*/ 162644 w 205699"/>
                    <a:gd name="connsiteY42" fmla="*/ 43267 h 97169"/>
                    <a:gd name="connsiteX43" fmla="*/ 167257 w 205699"/>
                    <a:gd name="connsiteY43" fmla="*/ 47709 h 97169"/>
                    <a:gd name="connsiteX44" fmla="*/ 169140 w 205699"/>
                    <a:gd name="connsiteY44" fmla="*/ 50814 h 97169"/>
                    <a:gd name="connsiteX45" fmla="*/ 172456 w 205699"/>
                    <a:gd name="connsiteY45" fmla="*/ 55166 h 97169"/>
                    <a:gd name="connsiteX46" fmla="*/ 174820 w 205699"/>
                    <a:gd name="connsiteY46" fmla="*/ 57016 h 97169"/>
                    <a:gd name="connsiteX47" fmla="*/ 176564 w 205699"/>
                    <a:gd name="connsiteY47" fmla="*/ 59884 h 97169"/>
                    <a:gd name="connsiteX48" fmla="*/ 178186 w 205699"/>
                    <a:gd name="connsiteY48" fmla="*/ 61237 h 97169"/>
                    <a:gd name="connsiteX49" fmla="*/ 182611 w 205699"/>
                    <a:gd name="connsiteY49" fmla="*/ 63152 h 97169"/>
                    <a:gd name="connsiteX50" fmla="*/ 181079 w 205699"/>
                    <a:gd name="connsiteY50" fmla="*/ 64530 h 97169"/>
                    <a:gd name="connsiteX51" fmla="*/ 183532 w 205699"/>
                    <a:gd name="connsiteY51" fmla="*/ 65695 h 97169"/>
                    <a:gd name="connsiteX52" fmla="*/ 183882 w 205699"/>
                    <a:gd name="connsiteY52" fmla="*/ 67855 h 97169"/>
                    <a:gd name="connsiteX53" fmla="*/ 183654 w 205699"/>
                    <a:gd name="connsiteY53" fmla="*/ 70308 h 97169"/>
                    <a:gd name="connsiteX54" fmla="*/ 180247 w 205699"/>
                    <a:gd name="connsiteY54" fmla="*/ 69338 h 97169"/>
                    <a:gd name="connsiteX55" fmla="*/ 180134 w 205699"/>
                    <a:gd name="connsiteY55" fmla="*/ 71147 h 97169"/>
                    <a:gd name="connsiteX56" fmla="*/ 180435 w 205699"/>
                    <a:gd name="connsiteY56" fmla="*/ 72215 h 97169"/>
                    <a:gd name="connsiteX57" fmla="*/ 178927 w 205699"/>
                    <a:gd name="connsiteY57" fmla="*/ 73095 h 97169"/>
                    <a:gd name="connsiteX58" fmla="*/ 176833 w 205699"/>
                    <a:gd name="connsiteY58" fmla="*/ 71905 h 97169"/>
                    <a:gd name="connsiteX59" fmla="*/ 171397 w 205699"/>
                    <a:gd name="connsiteY59" fmla="*/ 65361 h 97169"/>
                    <a:gd name="connsiteX60" fmla="*/ 171446 w 205699"/>
                    <a:gd name="connsiteY60" fmla="*/ 66233 h 97169"/>
                    <a:gd name="connsiteX61" fmla="*/ 171886 w 205699"/>
                    <a:gd name="connsiteY61" fmla="*/ 67252 h 97169"/>
                    <a:gd name="connsiteX62" fmla="*/ 175040 w 205699"/>
                    <a:gd name="connsiteY62" fmla="*/ 71465 h 97169"/>
                    <a:gd name="connsiteX63" fmla="*/ 177860 w 205699"/>
                    <a:gd name="connsiteY63" fmla="*/ 73992 h 97169"/>
                    <a:gd name="connsiteX64" fmla="*/ 180239 w 205699"/>
                    <a:gd name="connsiteY64" fmla="*/ 75132 h 97169"/>
                    <a:gd name="connsiteX65" fmla="*/ 182081 w 205699"/>
                    <a:gd name="connsiteY65" fmla="*/ 77243 h 97169"/>
                    <a:gd name="connsiteX66" fmla="*/ 182733 w 205699"/>
                    <a:gd name="connsiteY66" fmla="*/ 78523 h 97169"/>
                    <a:gd name="connsiteX67" fmla="*/ 183165 w 205699"/>
                    <a:gd name="connsiteY67" fmla="*/ 80462 h 97169"/>
                    <a:gd name="connsiteX68" fmla="*/ 181804 w 205699"/>
                    <a:gd name="connsiteY68" fmla="*/ 81783 h 97169"/>
                    <a:gd name="connsiteX69" fmla="*/ 180247 w 205699"/>
                    <a:gd name="connsiteY69" fmla="*/ 82500 h 97169"/>
                    <a:gd name="connsiteX70" fmla="*/ 178732 w 205699"/>
                    <a:gd name="connsiteY70" fmla="*/ 81188 h 97169"/>
                    <a:gd name="connsiteX71" fmla="*/ 177623 w 205699"/>
                    <a:gd name="connsiteY71" fmla="*/ 79802 h 97169"/>
                    <a:gd name="connsiteX72" fmla="*/ 175252 w 205699"/>
                    <a:gd name="connsiteY72" fmla="*/ 77455 h 97169"/>
                    <a:gd name="connsiteX73" fmla="*/ 174543 w 205699"/>
                    <a:gd name="connsiteY73" fmla="*/ 74831 h 97169"/>
                    <a:gd name="connsiteX74" fmla="*/ 172742 w 205699"/>
                    <a:gd name="connsiteY74" fmla="*/ 74969 h 97169"/>
                    <a:gd name="connsiteX75" fmla="*/ 165219 w 205699"/>
                    <a:gd name="connsiteY75" fmla="*/ 71628 h 97169"/>
                    <a:gd name="connsiteX76" fmla="*/ 159164 w 205699"/>
                    <a:gd name="connsiteY76" fmla="*/ 71245 h 97169"/>
                    <a:gd name="connsiteX77" fmla="*/ 159759 w 205699"/>
                    <a:gd name="connsiteY77" fmla="*/ 71921 h 97169"/>
                    <a:gd name="connsiteX78" fmla="*/ 160525 w 205699"/>
                    <a:gd name="connsiteY78" fmla="*/ 72362 h 97169"/>
                    <a:gd name="connsiteX79" fmla="*/ 165342 w 205699"/>
                    <a:gd name="connsiteY79" fmla="*/ 73193 h 97169"/>
                    <a:gd name="connsiteX80" fmla="*/ 167241 w 205699"/>
                    <a:gd name="connsiteY80" fmla="*/ 74725 h 97169"/>
                    <a:gd name="connsiteX81" fmla="*/ 171201 w 205699"/>
                    <a:gd name="connsiteY81" fmla="*/ 76086 h 97169"/>
                    <a:gd name="connsiteX82" fmla="*/ 173524 w 205699"/>
                    <a:gd name="connsiteY82" fmla="*/ 76453 h 97169"/>
                    <a:gd name="connsiteX83" fmla="*/ 174469 w 205699"/>
                    <a:gd name="connsiteY83" fmla="*/ 80642 h 97169"/>
                    <a:gd name="connsiteX84" fmla="*/ 177680 w 205699"/>
                    <a:gd name="connsiteY84" fmla="*/ 83518 h 97169"/>
                    <a:gd name="connsiteX85" fmla="*/ 178096 w 205699"/>
                    <a:gd name="connsiteY85" fmla="*/ 85646 h 97169"/>
                    <a:gd name="connsiteX86" fmla="*/ 180288 w 205699"/>
                    <a:gd name="connsiteY86" fmla="*/ 85890 h 97169"/>
                    <a:gd name="connsiteX87" fmla="*/ 184135 w 205699"/>
                    <a:gd name="connsiteY87" fmla="*/ 83804 h 97169"/>
                    <a:gd name="connsiteX88" fmla="*/ 186621 w 205699"/>
                    <a:gd name="connsiteY88" fmla="*/ 84529 h 97169"/>
                    <a:gd name="connsiteX89" fmla="*/ 190207 w 205699"/>
                    <a:gd name="connsiteY89" fmla="*/ 85132 h 97169"/>
                    <a:gd name="connsiteX90" fmla="*/ 191030 w 205699"/>
                    <a:gd name="connsiteY90" fmla="*/ 86819 h 97169"/>
                    <a:gd name="connsiteX91" fmla="*/ 191641 w 205699"/>
                    <a:gd name="connsiteY91" fmla="*/ 90022 h 97169"/>
                    <a:gd name="connsiteX92" fmla="*/ 192904 w 205699"/>
                    <a:gd name="connsiteY92" fmla="*/ 93624 h 97169"/>
                    <a:gd name="connsiteX93" fmla="*/ 193727 w 205699"/>
                    <a:gd name="connsiteY93" fmla="*/ 97161 h 97169"/>
                    <a:gd name="connsiteX94" fmla="*/ 192945 w 205699"/>
                    <a:gd name="connsiteY94" fmla="*/ 97169 h 97169"/>
                    <a:gd name="connsiteX95" fmla="*/ 191030 w 205699"/>
                    <a:gd name="connsiteY95" fmla="*/ 97137 h 97169"/>
                    <a:gd name="connsiteX96" fmla="*/ 184868 w 205699"/>
                    <a:gd name="connsiteY96" fmla="*/ 97088 h 97169"/>
                    <a:gd name="connsiteX97" fmla="*/ 175896 w 205699"/>
                    <a:gd name="connsiteY97" fmla="*/ 96990 h 97169"/>
                    <a:gd name="connsiteX98" fmla="*/ 166923 w 205699"/>
                    <a:gd name="connsiteY98" fmla="*/ 96900 h 97169"/>
                    <a:gd name="connsiteX99" fmla="*/ 157942 w 205699"/>
                    <a:gd name="connsiteY99" fmla="*/ 96803 h 97169"/>
                    <a:gd name="connsiteX100" fmla="*/ 148969 w 205699"/>
                    <a:gd name="connsiteY100" fmla="*/ 96713 h 97169"/>
                    <a:gd name="connsiteX101" fmla="*/ 139996 w 205699"/>
                    <a:gd name="connsiteY101" fmla="*/ 96615 h 97169"/>
                    <a:gd name="connsiteX102" fmla="*/ 131023 w 205699"/>
                    <a:gd name="connsiteY102" fmla="*/ 96526 h 97169"/>
                    <a:gd name="connsiteX103" fmla="*/ 122042 w 205699"/>
                    <a:gd name="connsiteY103" fmla="*/ 96428 h 97169"/>
                    <a:gd name="connsiteX104" fmla="*/ 113069 w 205699"/>
                    <a:gd name="connsiteY104" fmla="*/ 96330 h 97169"/>
                    <a:gd name="connsiteX105" fmla="*/ 104096 w 205699"/>
                    <a:gd name="connsiteY105" fmla="*/ 96240 h 97169"/>
                    <a:gd name="connsiteX106" fmla="*/ 95124 w 205699"/>
                    <a:gd name="connsiteY106" fmla="*/ 96151 h 97169"/>
                    <a:gd name="connsiteX107" fmla="*/ 86151 w 205699"/>
                    <a:gd name="connsiteY107" fmla="*/ 96053 h 97169"/>
                    <a:gd name="connsiteX108" fmla="*/ 77178 w 205699"/>
                    <a:gd name="connsiteY108" fmla="*/ 95963 h 97169"/>
                    <a:gd name="connsiteX109" fmla="*/ 68205 w 205699"/>
                    <a:gd name="connsiteY109" fmla="*/ 95865 h 97169"/>
                    <a:gd name="connsiteX110" fmla="*/ 59232 w 205699"/>
                    <a:gd name="connsiteY110" fmla="*/ 95776 h 97169"/>
                    <a:gd name="connsiteX111" fmla="*/ 50251 w 205699"/>
                    <a:gd name="connsiteY111" fmla="*/ 95678 h 97169"/>
                    <a:gd name="connsiteX112" fmla="*/ 49819 w 205699"/>
                    <a:gd name="connsiteY112" fmla="*/ 95164 h 97169"/>
                    <a:gd name="connsiteX113" fmla="*/ 46307 w 205699"/>
                    <a:gd name="connsiteY113" fmla="*/ 95010 h 97169"/>
                    <a:gd name="connsiteX114" fmla="*/ 43707 w 205699"/>
                    <a:gd name="connsiteY114" fmla="*/ 94896 h 97169"/>
                    <a:gd name="connsiteX115" fmla="*/ 42542 w 205699"/>
                    <a:gd name="connsiteY115" fmla="*/ 95572 h 97169"/>
                    <a:gd name="connsiteX116" fmla="*/ 37342 w 205699"/>
                    <a:gd name="connsiteY116" fmla="*/ 95547 h 97169"/>
                    <a:gd name="connsiteX117" fmla="*/ 33194 w 205699"/>
                    <a:gd name="connsiteY117" fmla="*/ 95523 h 97169"/>
                    <a:gd name="connsiteX118" fmla="*/ 26185 w 205699"/>
                    <a:gd name="connsiteY118" fmla="*/ 95482 h 97169"/>
                    <a:gd name="connsiteX119" fmla="*/ 17652 w 205699"/>
                    <a:gd name="connsiteY119" fmla="*/ 95433 h 97169"/>
                    <a:gd name="connsiteX120" fmla="*/ 5623 w 205699"/>
                    <a:gd name="connsiteY120" fmla="*/ 95376 h 97169"/>
                    <a:gd name="connsiteX121" fmla="*/ 0 w 205699"/>
                    <a:gd name="connsiteY121" fmla="*/ 95344 h 97169"/>
                    <a:gd name="connsiteX122" fmla="*/ 2518 w 205699"/>
                    <a:gd name="connsiteY122" fmla="*/ 93763 h 97169"/>
                    <a:gd name="connsiteX123" fmla="*/ 6218 w 205699"/>
                    <a:gd name="connsiteY123" fmla="*/ 92817 h 97169"/>
                    <a:gd name="connsiteX124" fmla="*/ 12827 w 205699"/>
                    <a:gd name="connsiteY124" fmla="*/ 90112 h 97169"/>
                    <a:gd name="connsiteX125" fmla="*/ 15468 w 205699"/>
                    <a:gd name="connsiteY125" fmla="*/ 87349 h 97169"/>
                    <a:gd name="connsiteX126" fmla="*/ 19168 w 205699"/>
                    <a:gd name="connsiteY126" fmla="*/ 85320 h 97169"/>
                    <a:gd name="connsiteX127" fmla="*/ 20717 w 205699"/>
                    <a:gd name="connsiteY127" fmla="*/ 82899 h 97169"/>
                    <a:gd name="connsiteX128" fmla="*/ 23202 w 205699"/>
                    <a:gd name="connsiteY128" fmla="*/ 80601 h 97169"/>
                    <a:gd name="connsiteX129" fmla="*/ 24115 w 205699"/>
                    <a:gd name="connsiteY129" fmla="*/ 78009 h 97169"/>
                    <a:gd name="connsiteX130" fmla="*/ 24449 w 205699"/>
                    <a:gd name="connsiteY130" fmla="*/ 77610 h 97169"/>
                    <a:gd name="connsiteX131" fmla="*/ 28548 w 205699"/>
                    <a:gd name="connsiteY131" fmla="*/ 75255 h 97169"/>
                    <a:gd name="connsiteX132" fmla="*/ 32843 w 205699"/>
                    <a:gd name="connsiteY132" fmla="*/ 72321 h 97169"/>
                    <a:gd name="connsiteX133" fmla="*/ 42216 w 205699"/>
                    <a:gd name="connsiteY133" fmla="*/ 64220 h 97169"/>
                    <a:gd name="connsiteX134" fmla="*/ 42411 w 205699"/>
                    <a:gd name="connsiteY134" fmla="*/ 65288 h 97169"/>
                    <a:gd name="connsiteX135" fmla="*/ 42069 w 205699"/>
                    <a:gd name="connsiteY135" fmla="*/ 66445 h 97169"/>
                    <a:gd name="connsiteX136" fmla="*/ 42867 w 205699"/>
                    <a:gd name="connsiteY136" fmla="*/ 67798 h 97169"/>
                    <a:gd name="connsiteX137" fmla="*/ 43520 w 205699"/>
                    <a:gd name="connsiteY137" fmla="*/ 69917 h 97169"/>
                    <a:gd name="connsiteX138" fmla="*/ 44448 w 205699"/>
                    <a:gd name="connsiteY138" fmla="*/ 71229 h 97169"/>
                    <a:gd name="connsiteX139" fmla="*/ 45598 w 205699"/>
                    <a:gd name="connsiteY139" fmla="*/ 72264 h 97169"/>
                    <a:gd name="connsiteX140" fmla="*/ 47513 w 205699"/>
                    <a:gd name="connsiteY140" fmla="*/ 73193 h 97169"/>
                    <a:gd name="connsiteX141" fmla="*/ 49770 w 205699"/>
                    <a:gd name="connsiteY141" fmla="*/ 74823 h 97169"/>
                    <a:gd name="connsiteX142" fmla="*/ 51555 w 205699"/>
                    <a:gd name="connsiteY142" fmla="*/ 75287 h 97169"/>
                    <a:gd name="connsiteX143" fmla="*/ 52150 w 205699"/>
                    <a:gd name="connsiteY143" fmla="*/ 75230 h 97169"/>
                    <a:gd name="connsiteX144" fmla="*/ 54122 w 205699"/>
                    <a:gd name="connsiteY144" fmla="*/ 73665 h 97169"/>
                    <a:gd name="connsiteX145" fmla="*/ 55760 w 205699"/>
                    <a:gd name="connsiteY145" fmla="*/ 72818 h 97169"/>
                    <a:gd name="connsiteX146" fmla="*/ 57480 w 205699"/>
                    <a:gd name="connsiteY146" fmla="*/ 71106 h 97169"/>
                    <a:gd name="connsiteX147" fmla="*/ 60528 w 205699"/>
                    <a:gd name="connsiteY147" fmla="*/ 73454 h 97169"/>
                    <a:gd name="connsiteX148" fmla="*/ 61742 w 205699"/>
                    <a:gd name="connsiteY148" fmla="*/ 73454 h 97169"/>
                    <a:gd name="connsiteX149" fmla="*/ 64741 w 205699"/>
                    <a:gd name="connsiteY149" fmla="*/ 72435 h 97169"/>
                    <a:gd name="connsiteX150" fmla="*/ 67561 w 205699"/>
                    <a:gd name="connsiteY150" fmla="*/ 72166 h 97169"/>
                    <a:gd name="connsiteX151" fmla="*/ 68270 w 205699"/>
                    <a:gd name="connsiteY151" fmla="*/ 71848 h 97169"/>
                    <a:gd name="connsiteX152" fmla="*/ 69313 w 205699"/>
                    <a:gd name="connsiteY152" fmla="*/ 70870 h 97169"/>
                    <a:gd name="connsiteX153" fmla="*/ 69338 w 205699"/>
                    <a:gd name="connsiteY153" fmla="*/ 68906 h 97169"/>
                    <a:gd name="connsiteX154" fmla="*/ 69574 w 205699"/>
                    <a:gd name="connsiteY154" fmla="*/ 68409 h 97169"/>
                    <a:gd name="connsiteX155" fmla="*/ 70047 w 205699"/>
                    <a:gd name="connsiteY155" fmla="*/ 68164 h 97169"/>
                    <a:gd name="connsiteX156" fmla="*/ 70601 w 205699"/>
                    <a:gd name="connsiteY156" fmla="*/ 68115 h 97169"/>
                    <a:gd name="connsiteX157" fmla="*/ 71864 w 205699"/>
                    <a:gd name="connsiteY157" fmla="*/ 68841 h 97169"/>
                    <a:gd name="connsiteX158" fmla="*/ 73111 w 205699"/>
                    <a:gd name="connsiteY158" fmla="*/ 68849 h 97169"/>
                    <a:gd name="connsiteX159" fmla="*/ 78376 w 205699"/>
                    <a:gd name="connsiteY159" fmla="*/ 66575 h 97169"/>
                    <a:gd name="connsiteX160" fmla="*/ 78767 w 205699"/>
                    <a:gd name="connsiteY160" fmla="*/ 66746 h 97169"/>
                    <a:gd name="connsiteX161" fmla="*/ 79435 w 205699"/>
                    <a:gd name="connsiteY161" fmla="*/ 67790 h 97169"/>
                    <a:gd name="connsiteX162" fmla="*/ 81750 w 205699"/>
                    <a:gd name="connsiteY162" fmla="*/ 66461 h 97169"/>
                    <a:gd name="connsiteX163" fmla="*/ 83111 w 205699"/>
                    <a:gd name="connsiteY163" fmla="*/ 65222 h 97169"/>
                    <a:gd name="connsiteX164" fmla="*/ 83706 w 205699"/>
                    <a:gd name="connsiteY164" fmla="*/ 63348 h 97169"/>
                    <a:gd name="connsiteX165" fmla="*/ 84855 w 205699"/>
                    <a:gd name="connsiteY165" fmla="*/ 61514 h 97169"/>
                    <a:gd name="connsiteX166" fmla="*/ 84619 w 205699"/>
                    <a:gd name="connsiteY166" fmla="*/ 60699 h 97169"/>
                    <a:gd name="connsiteX167" fmla="*/ 83877 w 205699"/>
                    <a:gd name="connsiteY167" fmla="*/ 59640 h 97169"/>
                    <a:gd name="connsiteX168" fmla="*/ 84855 w 205699"/>
                    <a:gd name="connsiteY168" fmla="*/ 57162 h 97169"/>
                    <a:gd name="connsiteX169" fmla="*/ 86281 w 205699"/>
                    <a:gd name="connsiteY169" fmla="*/ 54717 h 97169"/>
                    <a:gd name="connsiteX170" fmla="*/ 91652 w 205699"/>
                    <a:gd name="connsiteY170" fmla="*/ 47293 h 97169"/>
                    <a:gd name="connsiteX171" fmla="*/ 93363 w 205699"/>
                    <a:gd name="connsiteY171" fmla="*/ 42778 h 97169"/>
                    <a:gd name="connsiteX172" fmla="*/ 95588 w 205699"/>
                    <a:gd name="connsiteY172" fmla="*/ 39885 h 97169"/>
                    <a:gd name="connsiteX173" fmla="*/ 96313 w 205699"/>
                    <a:gd name="connsiteY173" fmla="*/ 37570 h 97169"/>
                    <a:gd name="connsiteX174" fmla="*/ 98009 w 205699"/>
                    <a:gd name="connsiteY174" fmla="*/ 35288 h 97169"/>
                    <a:gd name="connsiteX175" fmla="*/ 99166 w 205699"/>
                    <a:gd name="connsiteY175" fmla="*/ 30578 h 97169"/>
                    <a:gd name="connsiteX176" fmla="*/ 99883 w 205699"/>
                    <a:gd name="connsiteY176" fmla="*/ 29632 h 97169"/>
                    <a:gd name="connsiteX177" fmla="*/ 100918 w 205699"/>
                    <a:gd name="connsiteY177" fmla="*/ 29470 h 97169"/>
                    <a:gd name="connsiteX178" fmla="*/ 101978 w 205699"/>
                    <a:gd name="connsiteY178" fmla="*/ 30064 h 97169"/>
                    <a:gd name="connsiteX179" fmla="*/ 102727 w 205699"/>
                    <a:gd name="connsiteY179" fmla="*/ 30936 h 97169"/>
                    <a:gd name="connsiteX180" fmla="*/ 103224 w 205699"/>
                    <a:gd name="connsiteY180" fmla="*/ 32346 h 97169"/>
                    <a:gd name="connsiteX181" fmla="*/ 105930 w 205699"/>
                    <a:gd name="connsiteY181" fmla="*/ 33585 h 97169"/>
                    <a:gd name="connsiteX182" fmla="*/ 108204 w 205699"/>
                    <a:gd name="connsiteY182" fmla="*/ 33740 h 97169"/>
                    <a:gd name="connsiteX183" fmla="*/ 109785 w 205699"/>
                    <a:gd name="connsiteY183" fmla="*/ 32852 h 97169"/>
                    <a:gd name="connsiteX184" fmla="*/ 110714 w 205699"/>
                    <a:gd name="connsiteY184" fmla="*/ 31189 h 97169"/>
                    <a:gd name="connsiteX185" fmla="*/ 111969 w 205699"/>
                    <a:gd name="connsiteY185" fmla="*/ 28084 h 97169"/>
                    <a:gd name="connsiteX186" fmla="*/ 113159 w 205699"/>
                    <a:gd name="connsiteY186" fmla="*/ 26242 h 97169"/>
                    <a:gd name="connsiteX187" fmla="*/ 113933 w 205699"/>
                    <a:gd name="connsiteY187" fmla="*/ 23920 h 97169"/>
                    <a:gd name="connsiteX188" fmla="*/ 114732 w 205699"/>
                    <a:gd name="connsiteY188" fmla="*/ 22314 h 97169"/>
                    <a:gd name="connsiteX189" fmla="*/ 115954 w 205699"/>
                    <a:gd name="connsiteY189" fmla="*/ 21303 h 97169"/>
                    <a:gd name="connsiteX190" fmla="*/ 119011 w 205699"/>
                    <a:gd name="connsiteY190" fmla="*/ 21369 h 97169"/>
                    <a:gd name="connsiteX191" fmla="*/ 120583 w 205699"/>
                    <a:gd name="connsiteY191" fmla="*/ 19942 h 97169"/>
                    <a:gd name="connsiteX192" fmla="*/ 121781 w 205699"/>
                    <a:gd name="connsiteY192" fmla="*/ 18329 h 97169"/>
                    <a:gd name="connsiteX193" fmla="*/ 122515 w 205699"/>
                    <a:gd name="connsiteY193" fmla="*/ 17799 h 97169"/>
                    <a:gd name="connsiteX194" fmla="*/ 123371 w 205699"/>
                    <a:gd name="connsiteY194" fmla="*/ 17872 h 97169"/>
                    <a:gd name="connsiteX195" fmla="*/ 126133 w 205699"/>
                    <a:gd name="connsiteY195" fmla="*/ 15273 h 97169"/>
                    <a:gd name="connsiteX196" fmla="*/ 129760 w 205699"/>
                    <a:gd name="connsiteY196" fmla="*/ 9820 h 97169"/>
                    <a:gd name="connsiteX197" fmla="*/ 130542 w 205699"/>
                    <a:gd name="connsiteY197" fmla="*/ 6381 h 97169"/>
                    <a:gd name="connsiteX198" fmla="*/ 131488 w 205699"/>
                    <a:gd name="connsiteY198" fmla="*/ 3912 h 97169"/>
                    <a:gd name="connsiteX199" fmla="*/ 131846 w 205699"/>
                    <a:gd name="connsiteY199" fmla="*/ 1377 h 97169"/>
                    <a:gd name="connsiteX200" fmla="*/ 132563 w 205699"/>
                    <a:gd name="connsiteY200" fmla="*/ 0 h 97169"/>
                    <a:gd name="connsiteX201" fmla="*/ 135774 w 205699"/>
                    <a:gd name="connsiteY201" fmla="*/ 2747 h 97169"/>
                    <a:gd name="connsiteX202" fmla="*/ 137633 w 205699"/>
                    <a:gd name="connsiteY202" fmla="*/ 4336 h 97169"/>
                    <a:gd name="connsiteX203" fmla="*/ 141895 w 205699"/>
                    <a:gd name="connsiteY203" fmla="*/ 7930 h 97169"/>
                    <a:gd name="connsiteX204" fmla="*/ 193849 w 205699"/>
                    <a:gd name="connsiteY204" fmla="*/ 72321 h 97169"/>
                    <a:gd name="connsiteX205" fmla="*/ 191853 w 205699"/>
                    <a:gd name="connsiteY205" fmla="*/ 77145 h 97169"/>
                    <a:gd name="connsiteX206" fmla="*/ 190614 w 205699"/>
                    <a:gd name="connsiteY206" fmla="*/ 75132 h 97169"/>
                    <a:gd name="connsiteX207" fmla="*/ 190288 w 205699"/>
                    <a:gd name="connsiteY207" fmla="*/ 73413 h 97169"/>
                    <a:gd name="connsiteX208" fmla="*/ 190842 w 205699"/>
                    <a:gd name="connsiteY208" fmla="*/ 68922 h 97169"/>
                    <a:gd name="connsiteX209" fmla="*/ 193002 w 205699"/>
                    <a:gd name="connsiteY209" fmla="*/ 61555 h 97169"/>
                    <a:gd name="connsiteX210" fmla="*/ 195373 w 205699"/>
                    <a:gd name="connsiteY210" fmla="*/ 56967 h 97169"/>
                    <a:gd name="connsiteX211" fmla="*/ 197183 w 205699"/>
                    <a:gd name="connsiteY211" fmla="*/ 54791 h 97169"/>
                    <a:gd name="connsiteX212" fmla="*/ 198674 w 205699"/>
                    <a:gd name="connsiteY212" fmla="*/ 50357 h 97169"/>
                    <a:gd name="connsiteX213" fmla="*/ 199652 w 205699"/>
                    <a:gd name="connsiteY213" fmla="*/ 48841 h 97169"/>
                    <a:gd name="connsiteX214" fmla="*/ 203385 w 205699"/>
                    <a:gd name="connsiteY214" fmla="*/ 48320 h 97169"/>
                    <a:gd name="connsiteX215" fmla="*/ 205699 w 205699"/>
                    <a:gd name="connsiteY215" fmla="*/ 47986 h 97169"/>
                    <a:gd name="connsiteX216" fmla="*/ 200239 w 205699"/>
                    <a:gd name="connsiteY216" fmla="*/ 61156 h 97169"/>
                    <a:gd name="connsiteX217" fmla="*/ 200467 w 205699"/>
                    <a:gd name="connsiteY217" fmla="*/ 63568 h 97169"/>
                    <a:gd name="connsiteX218" fmla="*/ 199367 w 205699"/>
                    <a:gd name="connsiteY218" fmla="*/ 64358 h 97169"/>
                    <a:gd name="connsiteX219" fmla="*/ 197696 w 205699"/>
                    <a:gd name="connsiteY219" fmla="*/ 64994 h 97169"/>
                    <a:gd name="connsiteX220" fmla="*/ 196001 w 205699"/>
                    <a:gd name="connsiteY220" fmla="*/ 66437 h 97169"/>
                    <a:gd name="connsiteX221" fmla="*/ 194885 w 205699"/>
                    <a:gd name="connsiteY221" fmla="*/ 68034 h 97169"/>
                    <a:gd name="connsiteX222" fmla="*/ 193849 w 205699"/>
                    <a:gd name="connsiteY222" fmla="*/ 72321 h 97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Lst>
                  <a:rect l="l" t="t" r="r" b="b"/>
                  <a:pathLst>
                    <a:path w="205699" h="97169">
                      <a:moveTo>
                        <a:pt x="141895" y="7930"/>
                      </a:moveTo>
                      <a:lnTo>
                        <a:pt x="144690" y="10326"/>
                      </a:lnTo>
                      <a:lnTo>
                        <a:pt x="145782" y="7579"/>
                      </a:lnTo>
                      <a:lnTo>
                        <a:pt x="147396" y="3529"/>
                      </a:lnTo>
                      <a:lnTo>
                        <a:pt x="148830" y="4776"/>
                      </a:lnTo>
                      <a:lnTo>
                        <a:pt x="152164" y="6259"/>
                      </a:lnTo>
                      <a:lnTo>
                        <a:pt x="153541" y="7775"/>
                      </a:lnTo>
                      <a:lnTo>
                        <a:pt x="152938" y="9315"/>
                      </a:lnTo>
                      <a:lnTo>
                        <a:pt x="152856" y="10415"/>
                      </a:lnTo>
                      <a:lnTo>
                        <a:pt x="153484" y="11418"/>
                      </a:lnTo>
                      <a:lnTo>
                        <a:pt x="157942" y="13431"/>
                      </a:lnTo>
                      <a:lnTo>
                        <a:pt x="160688" y="16267"/>
                      </a:lnTo>
                      <a:lnTo>
                        <a:pt x="162383" y="17123"/>
                      </a:lnTo>
                      <a:lnTo>
                        <a:pt x="162889" y="17375"/>
                      </a:lnTo>
                      <a:lnTo>
                        <a:pt x="164095" y="18076"/>
                      </a:lnTo>
                      <a:lnTo>
                        <a:pt x="164657" y="18948"/>
                      </a:lnTo>
                      <a:lnTo>
                        <a:pt x="164282" y="22770"/>
                      </a:lnTo>
                      <a:lnTo>
                        <a:pt x="163125" y="24661"/>
                      </a:lnTo>
                      <a:lnTo>
                        <a:pt x="161324" y="26104"/>
                      </a:lnTo>
                      <a:lnTo>
                        <a:pt x="158944" y="28679"/>
                      </a:lnTo>
                      <a:lnTo>
                        <a:pt x="158365" y="31059"/>
                      </a:lnTo>
                      <a:lnTo>
                        <a:pt x="157624" y="35508"/>
                      </a:lnTo>
                      <a:lnTo>
                        <a:pt x="158626" y="37024"/>
                      </a:lnTo>
                      <a:lnTo>
                        <a:pt x="159653" y="37415"/>
                      </a:lnTo>
                      <a:lnTo>
                        <a:pt x="162677" y="36405"/>
                      </a:lnTo>
                      <a:lnTo>
                        <a:pt x="164241" y="36861"/>
                      </a:lnTo>
                      <a:lnTo>
                        <a:pt x="167721" y="42216"/>
                      </a:lnTo>
                      <a:lnTo>
                        <a:pt x="174209" y="44318"/>
                      </a:lnTo>
                      <a:lnTo>
                        <a:pt x="176572" y="45647"/>
                      </a:lnTo>
                      <a:lnTo>
                        <a:pt x="178503" y="48442"/>
                      </a:lnTo>
                      <a:lnTo>
                        <a:pt x="181397" y="50048"/>
                      </a:lnTo>
                      <a:lnTo>
                        <a:pt x="183646" y="52378"/>
                      </a:lnTo>
                      <a:lnTo>
                        <a:pt x="183711" y="53902"/>
                      </a:lnTo>
                      <a:lnTo>
                        <a:pt x="182929" y="55695"/>
                      </a:lnTo>
                      <a:lnTo>
                        <a:pt x="182619" y="58132"/>
                      </a:lnTo>
                      <a:lnTo>
                        <a:pt x="181666" y="59664"/>
                      </a:lnTo>
                      <a:lnTo>
                        <a:pt x="179375" y="59844"/>
                      </a:lnTo>
                      <a:lnTo>
                        <a:pt x="177990" y="59452"/>
                      </a:lnTo>
                      <a:lnTo>
                        <a:pt x="170541" y="50895"/>
                      </a:lnTo>
                      <a:lnTo>
                        <a:pt x="169653" y="50105"/>
                      </a:lnTo>
                      <a:lnTo>
                        <a:pt x="166890" y="45622"/>
                      </a:lnTo>
                      <a:lnTo>
                        <a:pt x="163647" y="43218"/>
                      </a:lnTo>
                      <a:lnTo>
                        <a:pt x="162644" y="43267"/>
                      </a:lnTo>
                      <a:lnTo>
                        <a:pt x="167257" y="47709"/>
                      </a:lnTo>
                      <a:lnTo>
                        <a:pt x="169140" y="50814"/>
                      </a:lnTo>
                      <a:lnTo>
                        <a:pt x="172456" y="55166"/>
                      </a:lnTo>
                      <a:lnTo>
                        <a:pt x="174820" y="57016"/>
                      </a:lnTo>
                      <a:lnTo>
                        <a:pt x="176564" y="59884"/>
                      </a:lnTo>
                      <a:lnTo>
                        <a:pt x="178186" y="61237"/>
                      </a:lnTo>
                      <a:lnTo>
                        <a:pt x="182611" y="63152"/>
                      </a:lnTo>
                      <a:lnTo>
                        <a:pt x="181079" y="64530"/>
                      </a:lnTo>
                      <a:lnTo>
                        <a:pt x="183532" y="65695"/>
                      </a:lnTo>
                      <a:lnTo>
                        <a:pt x="183882" y="67855"/>
                      </a:lnTo>
                      <a:lnTo>
                        <a:pt x="183654" y="70308"/>
                      </a:lnTo>
                      <a:lnTo>
                        <a:pt x="180247" y="69338"/>
                      </a:lnTo>
                      <a:lnTo>
                        <a:pt x="180134" y="71147"/>
                      </a:lnTo>
                      <a:lnTo>
                        <a:pt x="180435" y="72215"/>
                      </a:lnTo>
                      <a:lnTo>
                        <a:pt x="178927" y="73095"/>
                      </a:lnTo>
                      <a:lnTo>
                        <a:pt x="176833" y="71905"/>
                      </a:lnTo>
                      <a:lnTo>
                        <a:pt x="171397" y="65361"/>
                      </a:lnTo>
                      <a:lnTo>
                        <a:pt x="171446" y="66233"/>
                      </a:lnTo>
                      <a:lnTo>
                        <a:pt x="171886" y="67252"/>
                      </a:lnTo>
                      <a:lnTo>
                        <a:pt x="175040" y="71465"/>
                      </a:lnTo>
                      <a:lnTo>
                        <a:pt x="177860" y="73992"/>
                      </a:lnTo>
                      <a:lnTo>
                        <a:pt x="180239" y="75132"/>
                      </a:lnTo>
                      <a:lnTo>
                        <a:pt x="182081" y="77243"/>
                      </a:lnTo>
                      <a:lnTo>
                        <a:pt x="182733" y="78523"/>
                      </a:lnTo>
                      <a:lnTo>
                        <a:pt x="183165" y="80462"/>
                      </a:lnTo>
                      <a:lnTo>
                        <a:pt x="181804" y="81783"/>
                      </a:lnTo>
                      <a:lnTo>
                        <a:pt x="180247" y="82500"/>
                      </a:lnTo>
                      <a:lnTo>
                        <a:pt x="178732" y="81188"/>
                      </a:lnTo>
                      <a:lnTo>
                        <a:pt x="177623" y="79802"/>
                      </a:lnTo>
                      <a:lnTo>
                        <a:pt x="175252" y="77455"/>
                      </a:lnTo>
                      <a:lnTo>
                        <a:pt x="174543" y="74831"/>
                      </a:lnTo>
                      <a:lnTo>
                        <a:pt x="172742" y="74969"/>
                      </a:lnTo>
                      <a:lnTo>
                        <a:pt x="165219" y="71628"/>
                      </a:lnTo>
                      <a:lnTo>
                        <a:pt x="159164" y="71245"/>
                      </a:lnTo>
                      <a:lnTo>
                        <a:pt x="159759" y="71921"/>
                      </a:lnTo>
                      <a:lnTo>
                        <a:pt x="160525" y="72362"/>
                      </a:lnTo>
                      <a:lnTo>
                        <a:pt x="165342" y="73193"/>
                      </a:lnTo>
                      <a:lnTo>
                        <a:pt x="167241" y="74725"/>
                      </a:lnTo>
                      <a:lnTo>
                        <a:pt x="171201" y="76086"/>
                      </a:lnTo>
                      <a:lnTo>
                        <a:pt x="173524" y="76453"/>
                      </a:lnTo>
                      <a:lnTo>
                        <a:pt x="174469" y="80642"/>
                      </a:lnTo>
                      <a:lnTo>
                        <a:pt x="177680" y="83518"/>
                      </a:lnTo>
                      <a:lnTo>
                        <a:pt x="178096" y="85646"/>
                      </a:lnTo>
                      <a:lnTo>
                        <a:pt x="180288" y="85890"/>
                      </a:lnTo>
                      <a:lnTo>
                        <a:pt x="184135" y="83804"/>
                      </a:lnTo>
                      <a:lnTo>
                        <a:pt x="186621" y="84529"/>
                      </a:lnTo>
                      <a:lnTo>
                        <a:pt x="190207" y="85132"/>
                      </a:lnTo>
                      <a:lnTo>
                        <a:pt x="191030" y="86819"/>
                      </a:lnTo>
                      <a:lnTo>
                        <a:pt x="191641" y="90022"/>
                      </a:lnTo>
                      <a:lnTo>
                        <a:pt x="192904" y="93624"/>
                      </a:lnTo>
                      <a:lnTo>
                        <a:pt x="193727" y="97161"/>
                      </a:lnTo>
                      <a:lnTo>
                        <a:pt x="192945" y="97169"/>
                      </a:lnTo>
                      <a:lnTo>
                        <a:pt x="191030" y="97137"/>
                      </a:lnTo>
                      <a:lnTo>
                        <a:pt x="184868" y="97088"/>
                      </a:lnTo>
                      <a:lnTo>
                        <a:pt x="175896" y="96990"/>
                      </a:lnTo>
                      <a:lnTo>
                        <a:pt x="166923" y="96900"/>
                      </a:lnTo>
                      <a:lnTo>
                        <a:pt x="157942" y="96803"/>
                      </a:lnTo>
                      <a:lnTo>
                        <a:pt x="148969" y="96713"/>
                      </a:lnTo>
                      <a:lnTo>
                        <a:pt x="139996" y="96615"/>
                      </a:lnTo>
                      <a:lnTo>
                        <a:pt x="131023" y="96526"/>
                      </a:lnTo>
                      <a:lnTo>
                        <a:pt x="122042" y="96428"/>
                      </a:lnTo>
                      <a:lnTo>
                        <a:pt x="113069" y="96330"/>
                      </a:lnTo>
                      <a:lnTo>
                        <a:pt x="104096" y="96240"/>
                      </a:lnTo>
                      <a:lnTo>
                        <a:pt x="95124" y="96151"/>
                      </a:lnTo>
                      <a:lnTo>
                        <a:pt x="86151" y="96053"/>
                      </a:lnTo>
                      <a:lnTo>
                        <a:pt x="77178" y="95963"/>
                      </a:lnTo>
                      <a:lnTo>
                        <a:pt x="68205" y="95865"/>
                      </a:lnTo>
                      <a:lnTo>
                        <a:pt x="59232" y="95776"/>
                      </a:lnTo>
                      <a:lnTo>
                        <a:pt x="50251" y="95678"/>
                      </a:lnTo>
                      <a:lnTo>
                        <a:pt x="49819" y="95164"/>
                      </a:lnTo>
                      <a:lnTo>
                        <a:pt x="46307" y="95010"/>
                      </a:lnTo>
                      <a:lnTo>
                        <a:pt x="43707" y="94896"/>
                      </a:lnTo>
                      <a:lnTo>
                        <a:pt x="42542" y="95572"/>
                      </a:lnTo>
                      <a:lnTo>
                        <a:pt x="37342" y="95547"/>
                      </a:lnTo>
                      <a:lnTo>
                        <a:pt x="33194" y="95523"/>
                      </a:lnTo>
                      <a:lnTo>
                        <a:pt x="26185" y="95482"/>
                      </a:lnTo>
                      <a:lnTo>
                        <a:pt x="17652" y="95433"/>
                      </a:lnTo>
                      <a:lnTo>
                        <a:pt x="5623" y="95376"/>
                      </a:lnTo>
                      <a:lnTo>
                        <a:pt x="0" y="95344"/>
                      </a:lnTo>
                      <a:lnTo>
                        <a:pt x="2518" y="93763"/>
                      </a:lnTo>
                      <a:lnTo>
                        <a:pt x="6218" y="92817"/>
                      </a:lnTo>
                      <a:lnTo>
                        <a:pt x="12827" y="90112"/>
                      </a:lnTo>
                      <a:lnTo>
                        <a:pt x="15468" y="87349"/>
                      </a:lnTo>
                      <a:lnTo>
                        <a:pt x="19168" y="85320"/>
                      </a:lnTo>
                      <a:lnTo>
                        <a:pt x="20717" y="82899"/>
                      </a:lnTo>
                      <a:lnTo>
                        <a:pt x="23202" y="80601"/>
                      </a:lnTo>
                      <a:lnTo>
                        <a:pt x="24115" y="78009"/>
                      </a:lnTo>
                      <a:lnTo>
                        <a:pt x="24449" y="77610"/>
                      </a:lnTo>
                      <a:lnTo>
                        <a:pt x="28548" y="75255"/>
                      </a:lnTo>
                      <a:lnTo>
                        <a:pt x="32843" y="72321"/>
                      </a:lnTo>
                      <a:lnTo>
                        <a:pt x="42216" y="64220"/>
                      </a:lnTo>
                      <a:lnTo>
                        <a:pt x="42411" y="65288"/>
                      </a:lnTo>
                      <a:lnTo>
                        <a:pt x="42069" y="66445"/>
                      </a:lnTo>
                      <a:lnTo>
                        <a:pt x="42867" y="67798"/>
                      </a:lnTo>
                      <a:lnTo>
                        <a:pt x="43520" y="69917"/>
                      </a:lnTo>
                      <a:lnTo>
                        <a:pt x="44448" y="71229"/>
                      </a:lnTo>
                      <a:lnTo>
                        <a:pt x="45598" y="72264"/>
                      </a:lnTo>
                      <a:lnTo>
                        <a:pt x="47513" y="73193"/>
                      </a:lnTo>
                      <a:lnTo>
                        <a:pt x="49770" y="74823"/>
                      </a:lnTo>
                      <a:lnTo>
                        <a:pt x="51555" y="75287"/>
                      </a:lnTo>
                      <a:lnTo>
                        <a:pt x="52150" y="75230"/>
                      </a:lnTo>
                      <a:lnTo>
                        <a:pt x="54122" y="73665"/>
                      </a:lnTo>
                      <a:lnTo>
                        <a:pt x="55760" y="72818"/>
                      </a:lnTo>
                      <a:lnTo>
                        <a:pt x="57480" y="71106"/>
                      </a:lnTo>
                      <a:lnTo>
                        <a:pt x="60528" y="73454"/>
                      </a:lnTo>
                      <a:lnTo>
                        <a:pt x="61742" y="73454"/>
                      </a:lnTo>
                      <a:lnTo>
                        <a:pt x="64741" y="72435"/>
                      </a:lnTo>
                      <a:lnTo>
                        <a:pt x="67561" y="72166"/>
                      </a:lnTo>
                      <a:lnTo>
                        <a:pt x="68270" y="71848"/>
                      </a:lnTo>
                      <a:lnTo>
                        <a:pt x="69313" y="70870"/>
                      </a:lnTo>
                      <a:lnTo>
                        <a:pt x="69338" y="68906"/>
                      </a:lnTo>
                      <a:lnTo>
                        <a:pt x="69574" y="68409"/>
                      </a:lnTo>
                      <a:lnTo>
                        <a:pt x="70047" y="68164"/>
                      </a:lnTo>
                      <a:lnTo>
                        <a:pt x="70601" y="68115"/>
                      </a:lnTo>
                      <a:lnTo>
                        <a:pt x="71864" y="68841"/>
                      </a:lnTo>
                      <a:lnTo>
                        <a:pt x="73111" y="68849"/>
                      </a:lnTo>
                      <a:lnTo>
                        <a:pt x="78376" y="66575"/>
                      </a:lnTo>
                      <a:lnTo>
                        <a:pt x="78767" y="66746"/>
                      </a:lnTo>
                      <a:lnTo>
                        <a:pt x="79435" y="67790"/>
                      </a:lnTo>
                      <a:lnTo>
                        <a:pt x="81750" y="66461"/>
                      </a:lnTo>
                      <a:lnTo>
                        <a:pt x="83111" y="65222"/>
                      </a:lnTo>
                      <a:lnTo>
                        <a:pt x="83706" y="63348"/>
                      </a:lnTo>
                      <a:lnTo>
                        <a:pt x="84855" y="61514"/>
                      </a:lnTo>
                      <a:lnTo>
                        <a:pt x="84619" y="60699"/>
                      </a:lnTo>
                      <a:lnTo>
                        <a:pt x="83877" y="59640"/>
                      </a:lnTo>
                      <a:lnTo>
                        <a:pt x="84855" y="57162"/>
                      </a:lnTo>
                      <a:lnTo>
                        <a:pt x="86281" y="54717"/>
                      </a:lnTo>
                      <a:lnTo>
                        <a:pt x="91652" y="47293"/>
                      </a:lnTo>
                      <a:lnTo>
                        <a:pt x="93363" y="42778"/>
                      </a:lnTo>
                      <a:lnTo>
                        <a:pt x="95588" y="39885"/>
                      </a:lnTo>
                      <a:lnTo>
                        <a:pt x="96313" y="37570"/>
                      </a:lnTo>
                      <a:lnTo>
                        <a:pt x="98009" y="35288"/>
                      </a:lnTo>
                      <a:lnTo>
                        <a:pt x="99166" y="30578"/>
                      </a:lnTo>
                      <a:lnTo>
                        <a:pt x="99883" y="29632"/>
                      </a:lnTo>
                      <a:lnTo>
                        <a:pt x="100918" y="29470"/>
                      </a:lnTo>
                      <a:lnTo>
                        <a:pt x="101978" y="30064"/>
                      </a:lnTo>
                      <a:lnTo>
                        <a:pt x="102727" y="30936"/>
                      </a:lnTo>
                      <a:lnTo>
                        <a:pt x="103224" y="32346"/>
                      </a:lnTo>
                      <a:lnTo>
                        <a:pt x="105930" y="33585"/>
                      </a:lnTo>
                      <a:lnTo>
                        <a:pt x="108204" y="33740"/>
                      </a:lnTo>
                      <a:lnTo>
                        <a:pt x="109785" y="32852"/>
                      </a:lnTo>
                      <a:lnTo>
                        <a:pt x="110714" y="31189"/>
                      </a:lnTo>
                      <a:lnTo>
                        <a:pt x="111969" y="28084"/>
                      </a:lnTo>
                      <a:lnTo>
                        <a:pt x="113159" y="26242"/>
                      </a:lnTo>
                      <a:lnTo>
                        <a:pt x="113933" y="23920"/>
                      </a:lnTo>
                      <a:lnTo>
                        <a:pt x="114732" y="22314"/>
                      </a:lnTo>
                      <a:lnTo>
                        <a:pt x="115954" y="21303"/>
                      </a:lnTo>
                      <a:lnTo>
                        <a:pt x="119011" y="21369"/>
                      </a:lnTo>
                      <a:lnTo>
                        <a:pt x="120583" y="19942"/>
                      </a:lnTo>
                      <a:lnTo>
                        <a:pt x="121781" y="18329"/>
                      </a:lnTo>
                      <a:lnTo>
                        <a:pt x="122515" y="17799"/>
                      </a:lnTo>
                      <a:lnTo>
                        <a:pt x="123371" y="17872"/>
                      </a:lnTo>
                      <a:lnTo>
                        <a:pt x="126133" y="15273"/>
                      </a:lnTo>
                      <a:lnTo>
                        <a:pt x="129760" y="9820"/>
                      </a:lnTo>
                      <a:lnTo>
                        <a:pt x="130542" y="6381"/>
                      </a:lnTo>
                      <a:lnTo>
                        <a:pt x="131488" y="3912"/>
                      </a:lnTo>
                      <a:lnTo>
                        <a:pt x="131846" y="1377"/>
                      </a:lnTo>
                      <a:lnTo>
                        <a:pt x="132563" y="0"/>
                      </a:lnTo>
                      <a:lnTo>
                        <a:pt x="135774" y="2747"/>
                      </a:lnTo>
                      <a:lnTo>
                        <a:pt x="137633" y="4336"/>
                      </a:lnTo>
                      <a:lnTo>
                        <a:pt x="141895" y="7930"/>
                      </a:lnTo>
                      <a:close/>
                      <a:moveTo>
                        <a:pt x="193849" y="72321"/>
                      </a:moveTo>
                      <a:lnTo>
                        <a:pt x="191853" y="77145"/>
                      </a:lnTo>
                      <a:lnTo>
                        <a:pt x="190614" y="75132"/>
                      </a:lnTo>
                      <a:lnTo>
                        <a:pt x="190288" y="73413"/>
                      </a:lnTo>
                      <a:lnTo>
                        <a:pt x="190842" y="68922"/>
                      </a:lnTo>
                      <a:lnTo>
                        <a:pt x="193002" y="61555"/>
                      </a:lnTo>
                      <a:lnTo>
                        <a:pt x="195373" y="56967"/>
                      </a:lnTo>
                      <a:lnTo>
                        <a:pt x="197183" y="54791"/>
                      </a:lnTo>
                      <a:lnTo>
                        <a:pt x="198674" y="50357"/>
                      </a:lnTo>
                      <a:lnTo>
                        <a:pt x="199652" y="48841"/>
                      </a:lnTo>
                      <a:lnTo>
                        <a:pt x="203385" y="48320"/>
                      </a:lnTo>
                      <a:lnTo>
                        <a:pt x="205699" y="47986"/>
                      </a:lnTo>
                      <a:lnTo>
                        <a:pt x="200239" y="61156"/>
                      </a:lnTo>
                      <a:lnTo>
                        <a:pt x="200467" y="63568"/>
                      </a:lnTo>
                      <a:lnTo>
                        <a:pt x="199367" y="64358"/>
                      </a:lnTo>
                      <a:lnTo>
                        <a:pt x="197696" y="64994"/>
                      </a:lnTo>
                      <a:lnTo>
                        <a:pt x="196001" y="66437"/>
                      </a:lnTo>
                      <a:lnTo>
                        <a:pt x="194885" y="68034"/>
                      </a:lnTo>
                      <a:lnTo>
                        <a:pt x="193849" y="72321"/>
                      </a:lnTo>
                      <a:close/>
                    </a:path>
                  </a:pathLst>
                </a:custGeom>
                <a:solidFill>
                  <a:srgbClr val="D6D6D2"/>
                </a:solidFill>
                <a:ln w="6112" cap="rnd">
                  <a:solidFill>
                    <a:srgbClr val="FFFFFF"/>
                  </a:solidFill>
                  <a:prstDash val="solid"/>
                  <a:round/>
                </a:ln>
              </p:spPr>
              <p:txBody>
                <a:bodyPr rtlCol="0" anchor="ctr"/>
                <a:lstStyle/>
                <a:p>
                  <a:endParaRPr lang="en-US"/>
                </a:p>
              </p:txBody>
            </p:sp>
            <p:sp>
              <p:nvSpPr>
                <p:cNvPr id="432" name="Freeform: Shape 431">
                  <a:extLst>
                    <a:ext uri="{FF2B5EF4-FFF2-40B4-BE49-F238E27FC236}">
                      <a16:creationId xmlns:a16="http://schemas.microsoft.com/office/drawing/2014/main" id="{EB23F0D8-8FF1-44CC-9CBC-291456653CD0}"/>
                    </a:ext>
                  </a:extLst>
                </p:cNvPr>
                <p:cNvSpPr/>
                <p:nvPr/>
              </p:nvSpPr>
              <p:spPr>
                <a:xfrm>
                  <a:off x="3297976" y="3393167"/>
                  <a:ext cx="325809" cy="343380"/>
                </a:xfrm>
                <a:custGeom>
                  <a:avLst/>
                  <a:gdLst>
                    <a:gd name="connsiteX0" fmla="*/ 95661 w 325809"/>
                    <a:gd name="connsiteY0" fmla="*/ 0 h 343380"/>
                    <a:gd name="connsiteX1" fmla="*/ 100307 w 325809"/>
                    <a:gd name="connsiteY1" fmla="*/ 0 h 343380"/>
                    <a:gd name="connsiteX2" fmla="*/ 104952 w 325809"/>
                    <a:gd name="connsiteY2" fmla="*/ 0 h 343380"/>
                    <a:gd name="connsiteX3" fmla="*/ 109606 w 325809"/>
                    <a:gd name="connsiteY3" fmla="*/ 0 h 343380"/>
                    <a:gd name="connsiteX4" fmla="*/ 114251 w 325809"/>
                    <a:gd name="connsiteY4" fmla="*/ 0 h 343380"/>
                    <a:gd name="connsiteX5" fmla="*/ 118896 w 325809"/>
                    <a:gd name="connsiteY5" fmla="*/ 0 h 343380"/>
                    <a:gd name="connsiteX6" fmla="*/ 123542 w 325809"/>
                    <a:gd name="connsiteY6" fmla="*/ 0 h 343380"/>
                    <a:gd name="connsiteX7" fmla="*/ 128187 w 325809"/>
                    <a:gd name="connsiteY7" fmla="*/ 0 h 343380"/>
                    <a:gd name="connsiteX8" fmla="*/ 132832 w 325809"/>
                    <a:gd name="connsiteY8" fmla="*/ 0 h 343380"/>
                    <a:gd name="connsiteX9" fmla="*/ 137478 w 325809"/>
                    <a:gd name="connsiteY9" fmla="*/ 0 h 343380"/>
                    <a:gd name="connsiteX10" fmla="*/ 142123 w 325809"/>
                    <a:gd name="connsiteY10" fmla="*/ 0 h 343380"/>
                    <a:gd name="connsiteX11" fmla="*/ 146769 w 325809"/>
                    <a:gd name="connsiteY11" fmla="*/ 0 h 343380"/>
                    <a:gd name="connsiteX12" fmla="*/ 151422 w 325809"/>
                    <a:gd name="connsiteY12" fmla="*/ 0 h 343380"/>
                    <a:gd name="connsiteX13" fmla="*/ 156067 w 325809"/>
                    <a:gd name="connsiteY13" fmla="*/ 0 h 343380"/>
                    <a:gd name="connsiteX14" fmla="*/ 160713 w 325809"/>
                    <a:gd name="connsiteY14" fmla="*/ 0 h 343380"/>
                    <a:gd name="connsiteX15" fmla="*/ 165358 w 325809"/>
                    <a:gd name="connsiteY15" fmla="*/ 0 h 343380"/>
                    <a:gd name="connsiteX16" fmla="*/ 165366 w 325809"/>
                    <a:gd name="connsiteY16" fmla="*/ 3977 h 343380"/>
                    <a:gd name="connsiteX17" fmla="*/ 165366 w 325809"/>
                    <a:gd name="connsiteY17" fmla="*/ 7938 h 343380"/>
                    <a:gd name="connsiteX18" fmla="*/ 165366 w 325809"/>
                    <a:gd name="connsiteY18" fmla="*/ 11907 h 343380"/>
                    <a:gd name="connsiteX19" fmla="*/ 165366 w 325809"/>
                    <a:gd name="connsiteY19" fmla="*/ 15868 h 343380"/>
                    <a:gd name="connsiteX20" fmla="*/ 165374 w 325809"/>
                    <a:gd name="connsiteY20" fmla="*/ 19820 h 343380"/>
                    <a:gd name="connsiteX21" fmla="*/ 165374 w 325809"/>
                    <a:gd name="connsiteY21" fmla="*/ 23781 h 343380"/>
                    <a:gd name="connsiteX22" fmla="*/ 165374 w 325809"/>
                    <a:gd name="connsiteY22" fmla="*/ 27725 h 343380"/>
                    <a:gd name="connsiteX23" fmla="*/ 165383 w 325809"/>
                    <a:gd name="connsiteY23" fmla="*/ 31678 h 343380"/>
                    <a:gd name="connsiteX24" fmla="*/ 165383 w 325809"/>
                    <a:gd name="connsiteY24" fmla="*/ 35622 h 343380"/>
                    <a:gd name="connsiteX25" fmla="*/ 165383 w 325809"/>
                    <a:gd name="connsiteY25" fmla="*/ 39567 h 343380"/>
                    <a:gd name="connsiteX26" fmla="*/ 165391 w 325809"/>
                    <a:gd name="connsiteY26" fmla="*/ 43503 h 343380"/>
                    <a:gd name="connsiteX27" fmla="*/ 165391 w 325809"/>
                    <a:gd name="connsiteY27" fmla="*/ 47440 h 343380"/>
                    <a:gd name="connsiteX28" fmla="*/ 165391 w 325809"/>
                    <a:gd name="connsiteY28" fmla="*/ 51384 h 343380"/>
                    <a:gd name="connsiteX29" fmla="*/ 165399 w 325809"/>
                    <a:gd name="connsiteY29" fmla="*/ 55312 h 343380"/>
                    <a:gd name="connsiteX30" fmla="*/ 165399 w 325809"/>
                    <a:gd name="connsiteY30" fmla="*/ 59249 h 343380"/>
                    <a:gd name="connsiteX31" fmla="*/ 165399 w 325809"/>
                    <a:gd name="connsiteY31" fmla="*/ 63177 h 343380"/>
                    <a:gd name="connsiteX32" fmla="*/ 166849 w 325809"/>
                    <a:gd name="connsiteY32" fmla="*/ 63519 h 343380"/>
                    <a:gd name="connsiteX33" fmla="*/ 168675 w 325809"/>
                    <a:gd name="connsiteY33" fmla="*/ 64603 h 343380"/>
                    <a:gd name="connsiteX34" fmla="*/ 173174 w 325809"/>
                    <a:gd name="connsiteY34" fmla="*/ 68784 h 343380"/>
                    <a:gd name="connsiteX35" fmla="*/ 174502 w 325809"/>
                    <a:gd name="connsiteY35" fmla="*/ 69680 h 343380"/>
                    <a:gd name="connsiteX36" fmla="*/ 176882 w 325809"/>
                    <a:gd name="connsiteY36" fmla="*/ 69159 h 343380"/>
                    <a:gd name="connsiteX37" fmla="*/ 179457 w 325809"/>
                    <a:gd name="connsiteY37" fmla="*/ 69664 h 343380"/>
                    <a:gd name="connsiteX38" fmla="*/ 180134 w 325809"/>
                    <a:gd name="connsiteY38" fmla="*/ 69566 h 343380"/>
                    <a:gd name="connsiteX39" fmla="*/ 180639 w 325809"/>
                    <a:gd name="connsiteY39" fmla="*/ 67773 h 343380"/>
                    <a:gd name="connsiteX40" fmla="*/ 180875 w 325809"/>
                    <a:gd name="connsiteY40" fmla="*/ 67415 h 343380"/>
                    <a:gd name="connsiteX41" fmla="*/ 181234 w 325809"/>
                    <a:gd name="connsiteY41" fmla="*/ 67463 h 343380"/>
                    <a:gd name="connsiteX42" fmla="*/ 183467 w 325809"/>
                    <a:gd name="connsiteY42" fmla="*/ 69069 h 343380"/>
                    <a:gd name="connsiteX43" fmla="*/ 183899 w 325809"/>
                    <a:gd name="connsiteY43" fmla="*/ 69697 h 343380"/>
                    <a:gd name="connsiteX44" fmla="*/ 185211 w 325809"/>
                    <a:gd name="connsiteY44" fmla="*/ 71987 h 343380"/>
                    <a:gd name="connsiteX45" fmla="*/ 185545 w 325809"/>
                    <a:gd name="connsiteY45" fmla="*/ 74700 h 343380"/>
                    <a:gd name="connsiteX46" fmla="*/ 186262 w 325809"/>
                    <a:gd name="connsiteY46" fmla="*/ 75100 h 343380"/>
                    <a:gd name="connsiteX47" fmla="*/ 187623 w 325809"/>
                    <a:gd name="connsiteY47" fmla="*/ 75426 h 343380"/>
                    <a:gd name="connsiteX48" fmla="*/ 190932 w 325809"/>
                    <a:gd name="connsiteY48" fmla="*/ 75589 h 343380"/>
                    <a:gd name="connsiteX49" fmla="*/ 195153 w 325809"/>
                    <a:gd name="connsiteY49" fmla="*/ 77357 h 343380"/>
                    <a:gd name="connsiteX50" fmla="*/ 196857 w 325809"/>
                    <a:gd name="connsiteY50" fmla="*/ 77626 h 343380"/>
                    <a:gd name="connsiteX51" fmla="*/ 199880 w 325809"/>
                    <a:gd name="connsiteY51" fmla="*/ 77145 h 343380"/>
                    <a:gd name="connsiteX52" fmla="*/ 202725 w 325809"/>
                    <a:gd name="connsiteY52" fmla="*/ 79525 h 343380"/>
                    <a:gd name="connsiteX53" fmla="*/ 203727 w 325809"/>
                    <a:gd name="connsiteY53" fmla="*/ 79876 h 343380"/>
                    <a:gd name="connsiteX54" fmla="*/ 204550 w 325809"/>
                    <a:gd name="connsiteY54" fmla="*/ 79550 h 343380"/>
                    <a:gd name="connsiteX55" fmla="*/ 206147 w 325809"/>
                    <a:gd name="connsiteY55" fmla="*/ 77797 h 343380"/>
                    <a:gd name="connsiteX56" fmla="*/ 209668 w 325809"/>
                    <a:gd name="connsiteY56" fmla="*/ 77993 h 343380"/>
                    <a:gd name="connsiteX57" fmla="*/ 212529 w 325809"/>
                    <a:gd name="connsiteY57" fmla="*/ 77683 h 343380"/>
                    <a:gd name="connsiteX58" fmla="*/ 212757 w 325809"/>
                    <a:gd name="connsiteY58" fmla="*/ 79672 h 343380"/>
                    <a:gd name="connsiteX59" fmla="*/ 213262 w 325809"/>
                    <a:gd name="connsiteY59" fmla="*/ 81106 h 343380"/>
                    <a:gd name="connsiteX60" fmla="*/ 215626 w 325809"/>
                    <a:gd name="connsiteY60" fmla="*/ 82630 h 343380"/>
                    <a:gd name="connsiteX61" fmla="*/ 216196 w 325809"/>
                    <a:gd name="connsiteY61" fmla="*/ 83372 h 343380"/>
                    <a:gd name="connsiteX62" fmla="*/ 216318 w 325809"/>
                    <a:gd name="connsiteY62" fmla="*/ 85792 h 343380"/>
                    <a:gd name="connsiteX63" fmla="*/ 216930 w 325809"/>
                    <a:gd name="connsiteY63" fmla="*/ 86404 h 343380"/>
                    <a:gd name="connsiteX64" fmla="*/ 217891 w 325809"/>
                    <a:gd name="connsiteY64" fmla="*/ 86640 h 343380"/>
                    <a:gd name="connsiteX65" fmla="*/ 218894 w 325809"/>
                    <a:gd name="connsiteY65" fmla="*/ 86485 h 343380"/>
                    <a:gd name="connsiteX66" fmla="*/ 220059 w 325809"/>
                    <a:gd name="connsiteY66" fmla="*/ 85727 h 343380"/>
                    <a:gd name="connsiteX67" fmla="*/ 222626 w 325809"/>
                    <a:gd name="connsiteY67" fmla="*/ 83331 h 343380"/>
                    <a:gd name="connsiteX68" fmla="*/ 223409 w 325809"/>
                    <a:gd name="connsiteY68" fmla="*/ 82744 h 343380"/>
                    <a:gd name="connsiteX69" fmla="*/ 223889 w 325809"/>
                    <a:gd name="connsiteY69" fmla="*/ 82695 h 343380"/>
                    <a:gd name="connsiteX70" fmla="*/ 224362 w 325809"/>
                    <a:gd name="connsiteY70" fmla="*/ 82826 h 343380"/>
                    <a:gd name="connsiteX71" fmla="*/ 224753 w 325809"/>
                    <a:gd name="connsiteY71" fmla="*/ 83355 h 343380"/>
                    <a:gd name="connsiteX72" fmla="*/ 225609 w 325809"/>
                    <a:gd name="connsiteY72" fmla="*/ 85181 h 343380"/>
                    <a:gd name="connsiteX73" fmla="*/ 227834 w 325809"/>
                    <a:gd name="connsiteY73" fmla="*/ 86167 h 343380"/>
                    <a:gd name="connsiteX74" fmla="*/ 229113 w 325809"/>
                    <a:gd name="connsiteY74" fmla="*/ 87707 h 343380"/>
                    <a:gd name="connsiteX75" fmla="*/ 229896 w 325809"/>
                    <a:gd name="connsiteY75" fmla="*/ 87944 h 343380"/>
                    <a:gd name="connsiteX76" fmla="*/ 230760 w 325809"/>
                    <a:gd name="connsiteY76" fmla="*/ 87658 h 343380"/>
                    <a:gd name="connsiteX77" fmla="*/ 232129 w 325809"/>
                    <a:gd name="connsiteY77" fmla="*/ 86705 h 343380"/>
                    <a:gd name="connsiteX78" fmla="*/ 233205 w 325809"/>
                    <a:gd name="connsiteY78" fmla="*/ 86746 h 343380"/>
                    <a:gd name="connsiteX79" fmla="*/ 234435 w 325809"/>
                    <a:gd name="connsiteY79" fmla="*/ 85792 h 343380"/>
                    <a:gd name="connsiteX80" fmla="*/ 234932 w 325809"/>
                    <a:gd name="connsiteY80" fmla="*/ 86004 h 343380"/>
                    <a:gd name="connsiteX81" fmla="*/ 235144 w 325809"/>
                    <a:gd name="connsiteY81" fmla="*/ 86681 h 343380"/>
                    <a:gd name="connsiteX82" fmla="*/ 234777 w 325809"/>
                    <a:gd name="connsiteY82" fmla="*/ 88710 h 343380"/>
                    <a:gd name="connsiteX83" fmla="*/ 234989 w 325809"/>
                    <a:gd name="connsiteY83" fmla="*/ 89484 h 343380"/>
                    <a:gd name="connsiteX84" fmla="*/ 235486 w 325809"/>
                    <a:gd name="connsiteY84" fmla="*/ 90389 h 343380"/>
                    <a:gd name="connsiteX85" fmla="*/ 236163 w 325809"/>
                    <a:gd name="connsiteY85" fmla="*/ 91016 h 343380"/>
                    <a:gd name="connsiteX86" fmla="*/ 236815 w 325809"/>
                    <a:gd name="connsiteY86" fmla="*/ 91114 h 343380"/>
                    <a:gd name="connsiteX87" fmla="*/ 237312 w 325809"/>
                    <a:gd name="connsiteY87" fmla="*/ 90601 h 343380"/>
                    <a:gd name="connsiteX88" fmla="*/ 238241 w 325809"/>
                    <a:gd name="connsiteY88" fmla="*/ 88050 h 343380"/>
                    <a:gd name="connsiteX89" fmla="*/ 238176 w 325809"/>
                    <a:gd name="connsiteY89" fmla="*/ 87129 h 343380"/>
                    <a:gd name="connsiteX90" fmla="*/ 239219 w 325809"/>
                    <a:gd name="connsiteY90" fmla="*/ 86803 h 343380"/>
                    <a:gd name="connsiteX91" fmla="*/ 239700 w 325809"/>
                    <a:gd name="connsiteY91" fmla="*/ 86306 h 343380"/>
                    <a:gd name="connsiteX92" fmla="*/ 240311 w 325809"/>
                    <a:gd name="connsiteY92" fmla="*/ 84456 h 343380"/>
                    <a:gd name="connsiteX93" fmla="*/ 241395 w 325809"/>
                    <a:gd name="connsiteY93" fmla="*/ 83950 h 343380"/>
                    <a:gd name="connsiteX94" fmla="*/ 241966 w 325809"/>
                    <a:gd name="connsiteY94" fmla="*/ 84048 h 343380"/>
                    <a:gd name="connsiteX95" fmla="*/ 242487 w 325809"/>
                    <a:gd name="connsiteY95" fmla="*/ 84562 h 343380"/>
                    <a:gd name="connsiteX96" fmla="*/ 243538 w 325809"/>
                    <a:gd name="connsiteY96" fmla="*/ 86249 h 343380"/>
                    <a:gd name="connsiteX97" fmla="*/ 246057 w 325809"/>
                    <a:gd name="connsiteY97" fmla="*/ 87194 h 343380"/>
                    <a:gd name="connsiteX98" fmla="*/ 246701 w 325809"/>
                    <a:gd name="connsiteY98" fmla="*/ 87243 h 343380"/>
                    <a:gd name="connsiteX99" fmla="*/ 247353 w 325809"/>
                    <a:gd name="connsiteY99" fmla="*/ 86884 h 343380"/>
                    <a:gd name="connsiteX100" fmla="*/ 248477 w 325809"/>
                    <a:gd name="connsiteY100" fmla="*/ 85491 h 343380"/>
                    <a:gd name="connsiteX101" fmla="*/ 249056 w 325809"/>
                    <a:gd name="connsiteY101" fmla="*/ 85328 h 343380"/>
                    <a:gd name="connsiteX102" fmla="*/ 249520 w 325809"/>
                    <a:gd name="connsiteY102" fmla="*/ 85515 h 343380"/>
                    <a:gd name="connsiteX103" fmla="*/ 249797 w 325809"/>
                    <a:gd name="connsiteY103" fmla="*/ 85711 h 343380"/>
                    <a:gd name="connsiteX104" fmla="*/ 249887 w 325809"/>
                    <a:gd name="connsiteY104" fmla="*/ 87357 h 343380"/>
                    <a:gd name="connsiteX105" fmla="*/ 252470 w 325809"/>
                    <a:gd name="connsiteY105" fmla="*/ 89215 h 343380"/>
                    <a:gd name="connsiteX106" fmla="*/ 254361 w 325809"/>
                    <a:gd name="connsiteY106" fmla="*/ 89778 h 343380"/>
                    <a:gd name="connsiteX107" fmla="*/ 256203 w 325809"/>
                    <a:gd name="connsiteY107" fmla="*/ 91660 h 343380"/>
                    <a:gd name="connsiteX108" fmla="*/ 256741 w 325809"/>
                    <a:gd name="connsiteY108" fmla="*/ 91872 h 343380"/>
                    <a:gd name="connsiteX109" fmla="*/ 257646 w 325809"/>
                    <a:gd name="connsiteY109" fmla="*/ 90356 h 343380"/>
                    <a:gd name="connsiteX110" fmla="*/ 259414 w 325809"/>
                    <a:gd name="connsiteY110" fmla="*/ 89818 h 343380"/>
                    <a:gd name="connsiteX111" fmla="*/ 261101 w 325809"/>
                    <a:gd name="connsiteY111" fmla="*/ 88254 h 343380"/>
                    <a:gd name="connsiteX112" fmla="*/ 266007 w 325809"/>
                    <a:gd name="connsiteY112" fmla="*/ 86265 h 343380"/>
                    <a:gd name="connsiteX113" fmla="*/ 267955 w 325809"/>
                    <a:gd name="connsiteY113" fmla="*/ 86901 h 343380"/>
                    <a:gd name="connsiteX114" fmla="*/ 269919 w 325809"/>
                    <a:gd name="connsiteY114" fmla="*/ 86860 h 343380"/>
                    <a:gd name="connsiteX115" fmla="*/ 270433 w 325809"/>
                    <a:gd name="connsiteY115" fmla="*/ 85980 h 343380"/>
                    <a:gd name="connsiteX116" fmla="*/ 273913 w 325809"/>
                    <a:gd name="connsiteY116" fmla="*/ 84708 h 343380"/>
                    <a:gd name="connsiteX117" fmla="*/ 274605 w 325809"/>
                    <a:gd name="connsiteY117" fmla="*/ 84219 h 343380"/>
                    <a:gd name="connsiteX118" fmla="*/ 275575 w 325809"/>
                    <a:gd name="connsiteY118" fmla="*/ 84847 h 343380"/>
                    <a:gd name="connsiteX119" fmla="*/ 275917 w 325809"/>
                    <a:gd name="connsiteY119" fmla="*/ 85760 h 343380"/>
                    <a:gd name="connsiteX120" fmla="*/ 276374 w 325809"/>
                    <a:gd name="connsiteY120" fmla="*/ 86135 h 343380"/>
                    <a:gd name="connsiteX121" fmla="*/ 278762 w 325809"/>
                    <a:gd name="connsiteY121" fmla="*/ 86591 h 343380"/>
                    <a:gd name="connsiteX122" fmla="*/ 280082 w 325809"/>
                    <a:gd name="connsiteY122" fmla="*/ 86534 h 343380"/>
                    <a:gd name="connsiteX123" fmla="*/ 282510 w 325809"/>
                    <a:gd name="connsiteY123" fmla="*/ 85352 h 343380"/>
                    <a:gd name="connsiteX124" fmla="*/ 283448 w 325809"/>
                    <a:gd name="connsiteY124" fmla="*/ 83845 h 343380"/>
                    <a:gd name="connsiteX125" fmla="*/ 284002 w 325809"/>
                    <a:gd name="connsiteY125" fmla="*/ 83763 h 343380"/>
                    <a:gd name="connsiteX126" fmla="*/ 285730 w 325809"/>
                    <a:gd name="connsiteY126" fmla="*/ 84496 h 343380"/>
                    <a:gd name="connsiteX127" fmla="*/ 290285 w 325809"/>
                    <a:gd name="connsiteY127" fmla="*/ 87544 h 343380"/>
                    <a:gd name="connsiteX128" fmla="*/ 292592 w 325809"/>
                    <a:gd name="connsiteY128" fmla="*/ 90006 h 343380"/>
                    <a:gd name="connsiteX129" fmla="*/ 295167 w 325809"/>
                    <a:gd name="connsiteY129" fmla="*/ 91204 h 343380"/>
                    <a:gd name="connsiteX130" fmla="*/ 296569 w 325809"/>
                    <a:gd name="connsiteY130" fmla="*/ 92255 h 343380"/>
                    <a:gd name="connsiteX131" fmla="*/ 302151 w 325809"/>
                    <a:gd name="connsiteY131" fmla="*/ 93918 h 343380"/>
                    <a:gd name="connsiteX132" fmla="*/ 303447 w 325809"/>
                    <a:gd name="connsiteY132" fmla="*/ 95515 h 343380"/>
                    <a:gd name="connsiteX133" fmla="*/ 304482 w 325809"/>
                    <a:gd name="connsiteY133" fmla="*/ 95979 h 343380"/>
                    <a:gd name="connsiteX134" fmla="*/ 304784 w 325809"/>
                    <a:gd name="connsiteY134" fmla="*/ 96615 h 343380"/>
                    <a:gd name="connsiteX135" fmla="*/ 305289 w 325809"/>
                    <a:gd name="connsiteY135" fmla="*/ 96778 h 343380"/>
                    <a:gd name="connsiteX136" fmla="*/ 305917 w 325809"/>
                    <a:gd name="connsiteY136" fmla="*/ 96648 h 343380"/>
                    <a:gd name="connsiteX137" fmla="*/ 306854 w 325809"/>
                    <a:gd name="connsiteY137" fmla="*/ 95914 h 343380"/>
                    <a:gd name="connsiteX138" fmla="*/ 308255 w 325809"/>
                    <a:gd name="connsiteY138" fmla="*/ 96118 h 343380"/>
                    <a:gd name="connsiteX139" fmla="*/ 309421 w 325809"/>
                    <a:gd name="connsiteY139" fmla="*/ 95865 h 343380"/>
                    <a:gd name="connsiteX140" fmla="*/ 311727 w 325809"/>
                    <a:gd name="connsiteY140" fmla="*/ 96248 h 343380"/>
                    <a:gd name="connsiteX141" fmla="*/ 312999 w 325809"/>
                    <a:gd name="connsiteY141" fmla="*/ 96990 h 343380"/>
                    <a:gd name="connsiteX142" fmla="*/ 313031 w 325809"/>
                    <a:gd name="connsiteY142" fmla="*/ 101423 h 343380"/>
                    <a:gd name="connsiteX143" fmla="*/ 313064 w 325809"/>
                    <a:gd name="connsiteY143" fmla="*/ 105849 h 343380"/>
                    <a:gd name="connsiteX144" fmla="*/ 313105 w 325809"/>
                    <a:gd name="connsiteY144" fmla="*/ 110266 h 343380"/>
                    <a:gd name="connsiteX145" fmla="*/ 313137 w 325809"/>
                    <a:gd name="connsiteY145" fmla="*/ 114683 h 343380"/>
                    <a:gd name="connsiteX146" fmla="*/ 313137 w 325809"/>
                    <a:gd name="connsiteY146" fmla="*/ 118807 h 343380"/>
                    <a:gd name="connsiteX147" fmla="*/ 313129 w 325809"/>
                    <a:gd name="connsiteY147" fmla="*/ 122931 h 343380"/>
                    <a:gd name="connsiteX148" fmla="*/ 313129 w 325809"/>
                    <a:gd name="connsiteY148" fmla="*/ 127046 h 343380"/>
                    <a:gd name="connsiteX149" fmla="*/ 313121 w 325809"/>
                    <a:gd name="connsiteY149" fmla="*/ 131154 h 343380"/>
                    <a:gd name="connsiteX150" fmla="*/ 313113 w 325809"/>
                    <a:gd name="connsiteY150" fmla="*/ 135261 h 343380"/>
                    <a:gd name="connsiteX151" fmla="*/ 313113 w 325809"/>
                    <a:gd name="connsiteY151" fmla="*/ 139377 h 343380"/>
                    <a:gd name="connsiteX152" fmla="*/ 313105 w 325809"/>
                    <a:gd name="connsiteY152" fmla="*/ 143476 h 343380"/>
                    <a:gd name="connsiteX153" fmla="*/ 313096 w 325809"/>
                    <a:gd name="connsiteY153" fmla="*/ 147584 h 343380"/>
                    <a:gd name="connsiteX154" fmla="*/ 316527 w 325809"/>
                    <a:gd name="connsiteY154" fmla="*/ 151544 h 343380"/>
                    <a:gd name="connsiteX155" fmla="*/ 318002 w 325809"/>
                    <a:gd name="connsiteY155" fmla="*/ 154258 h 343380"/>
                    <a:gd name="connsiteX156" fmla="*/ 318467 w 325809"/>
                    <a:gd name="connsiteY156" fmla="*/ 155644 h 343380"/>
                    <a:gd name="connsiteX157" fmla="*/ 318622 w 325809"/>
                    <a:gd name="connsiteY157" fmla="*/ 160379 h 343380"/>
                    <a:gd name="connsiteX158" fmla="*/ 318964 w 325809"/>
                    <a:gd name="connsiteY158" fmla="*/ 161511 h 343380"/>
                    <a:gd name="connsiteX159" fmla="*/ 320676 w 325809"/>
                    <a:gd name="connsiteY159" fmla="*/ 163296 h 343380"/>
                    <a:gd name="connsiteX160" fmla="*/ 320716 w 325809"/>
                    <a:gd name="connsiteY160" fmla="*/ 164462 h 343380"/>
                    <a:gd name="connsiteX161" fmla="*/ 322509 w 325809"/>
                    <a:gd name="connsiteY161" fmla="*/ 167876 h 343380"/>
                    <a:gd name="connsiteX162" fmla="*/ 322460 w 325809"/>
                    <a:gd name="connsiteY162" fmla="*/ 169482 h 343380"/>
                    <a:gd name="connsiteX163" fmla="*/ 324164 w 325809"/>
                    <a:gd name="connsiteY163" fmla="*/ 173125 h 343380"/>
                    <a:gd name="connsiteX164" fmla="*/ 325134 w 325809"/>
                    <a:gd name="connsiteY164" fmla="*/ 174070 h 343380"/>
                    <a:gd name="connsiteX165" fmla="*/ 325297 w 325809"/>
                    <a:gd name="connsiteY165" fmla="*/ 176531 h 343380"/>
                    <a:gd name="connsiteX166" fmla="*/ 325810 w 325809"/>
                    <a:gd name="connsiteY166" fmla="*/ 178398 h 343380"/>
                    <a:gd name="connsiteX167" fmla="*/ 325019 w 325809"/>
                    <a:gd name="connsiteY167" fmla="*/ 179726 h 343380"/>
                    <a:gd name="connsiteX168" fmla="*/ 325354 w 325809"/>
                    <a:gd name="connsiteY168" fmla="*/ 181576 h 343380"/>
                    <a:gd name="connsiteX169" fmla="*/ 324865 w 325809"/>
                    <a:gd name="connsiteY169" fmla="*/ 183279 h 343380"/>
                    <a:gd name="connsiteX170" fmla="*/ 324604 w 325809"/>
                    <a:gd name="connsiteY170" fmla="*/ 185561 h 343380"/>
                    <a:gd name="connsiteX171" fmla="*/ 323471 w 325809"/>
                    <a:gd name="connsiteY171" fmla="*/ 189090 h 343380"/>
                    <a:gd name="connsiteX172" fmla="*/ 322469 w 325809"/>
                    <a:gd name="connsiteY172" fmla="*/ 190810 h 343380"/>
                    <a:gd name="connsiteX173" fmla="*/ 321099 w 325809"/>
                    <a:gd name="connsiteY173" fmla="*/ 194110 h 343380"/>
                    <a:gd name="connsiteX174" fmla="*/ 321230 w 325809"/>
                    <a:gd name="connsiteY174" fmla="*/ 196840 h 343380"/>
                    <a:gd name="connsiteX175" fmla="*/ 320448 w 325809"/>
                    <a:gd name="connsiteY175" fmla="*/ 199831 h 343380"/>
                    <a:gd name="connsiteX176" fmla="*/ 320350 w 325809"/>
                    <a:gd name="connsiteY176" fmla="*/ 200972 h 343380"/>
                    <a:gd name="connsiteX177" fmla="*/ 321083 w 325809"/>
                    <a:gd name="connsiteY177" fmla="*/ 202961 h 343380"/>
                    <a:gd name="connsiteX178" fmla="*/ 321336 w 325809"/>
                    <a:gd name="connsiteY178" fmla="*/ 208421 h 343380"/>
                    <a:gd name="connsiteX179" fmla="*/ 320937 w 325809"/>
                    <a:gd name="connsiteY179" fmla="*/ 209562 h 343380"/>
                    <a:gd name="connsiteX180" fmla="*/ 319274 w 325809"/>
                    <a:gd name="connsiteY180" fmla="*/ 212773 h 343380"/>
                    <a:gd name="connsiteX181" fmla="*/ 318092 w 325809"/>
                    <a:gd name="connsiteY181" fmla="*/ 212692 h 343380"/>
                    <a:gd name="connsiteX182" fmla="*/ 315493 w 325809"/>
                    <a:gd name="connsiteY182" fmla="*/ 217973 h 343380"/>
                    <a:gd name="connsiteX183" fmla="*/ 316976 w 325809"/>
                    <a:gd name="connsiteY183" fmla="*/ 220939 h 343380"/>
                    <a:gd name="connsiteX184" fmla="*/ 316951 w 325809"/>
                    <a:gd name="connsiteY184" fmla="*/ 222031 h 343380"/>
                    <a:gd name="connsiteX185" fmla="*/ 311768 w 325809"/>
                    <a:gd name="connsiteY185" fmla="*/ 222634 h 343380"/>
                    <a:gd name="connsiteX186" fmla="*/ 299992 w 325809"/>
                    <a:gd name="connsiteY186" fmla="*/ 228584 h 343380"/>
                    <a:gd name="connsiteX187" fmla="*/ 295403 w 325809"/>
                    <a:gd name="connsiteY187" fmla="*/ 231803 h 343380"/>
                    <a:gd name="connsiteX188" fmla="*/ 295632 w 325809"/>
                    <a:gd name="connsiteY188" fmla="*/ 230719 h 343380"/>
                    <a:gd name="connsiteX189" fmla="*/ 301190 w 325809"/>
                    <a:gd name="connsiteY189" fmla="*/ 226563 h 343380"/>
                    <a:gd name="connsiteX190" fmla="*/ 299234 w 325809"/>
                    <a:gd name="connsiteY190" fmla="*/ 225927 h 343380"/>
                    <a:gd name="connsiteX191" fmla="*/ 296072 w 325809"/>
                    <a:gd name="connsiteY191" fmla="*/ 226970 h 343380"/>
                    <a:gd name="connsiteX192" fmla="*/ 294939 w 325809"/>
                    <a:gd name="connsiteY192" fmla="*/ 226563 h 343380"/>
                    <a:gd name="connsiteX193" fmla="*/ 296275 w 325809"/>
                    <a:gd name="connsiteY193" fmla="*/ 223123 h 343380"/>
                    <a:gd name="connsiteX194" fmla="*/ 295843 w 325809"/>
                    <a:gd name="connsiteY194" fmla="*/ 220083 h 343380"/>
                    <a:gd name="connsiteX195" fmla="*/ 293602 w 325809"/>
                    <a:gd name="connsiteY195" fmla="*/ 220002 h 343380"/>
                    <a:gd name="connsiteX196" fmla="*/ 292168 w 325809"/>
                    <a:gd name="connsiteY196" fmla="*/ 222423 h 343380"/>
                    <a:gd name="connsiteX197" fmla="*/ 291174 w 325809"/>
                    <a:gd name="connsiteY197" fmla="*/ 222317 h 343380"/>
                    <a:gd name="connsiteX198" fmla="*/ 289878 w 325809"/>
                    <a:gd name="connsiteY198" fmla="*/ 221274 h 343380"/>
                    <a:gd name="connsiteX199" fmla="*/ 288867 w 325809"/>
                    <a:gd name="connsiteY199" fmla="*/ 221608 h 343380"/>
                    <a:gd name="connsiteX200" fmla="*/ 289609 w 325809"/>
                    <a:gd name="connsiteY200" fmla="*/ 227101 h 343380"/>
                    <a:gd name="connsiteX201" fmla="*/ 291019 w 325809"/>
                    <a:gd name="connsiteY201" fmla="*/ 229350 h 343380"/>
                    <a:gd name="connsiteX202" fmla="*/ 292200 w 325809"/>
                    <a:gd name="connsiteY202" fmla="*/ 232235 h 343380"/>
                    <a:gd name="connsiteX203" fmla="*/ 288973 w 325809"/>
                    <a:gd name="connsiteY203" fmla="*/ 235788 h 343380"/>
                    <a:gd name="connsiteX204" fmla="*/ 285982 w 325809"/>
                    <a:gd name="connsiteY204" fmla="*/ 238714 h 343380"/>
                    <a:gd name="connsiteX205" fmla="*/ 285656 w 325809"/>
                    <a:gd name="connsiteY205" fmla="*/ 241550 h 343380"/>
                    <a:gd name="connsiteX206" fmla="*/ 282641 w 325809"/>
                    <a:gd name="connsiteY206" fmla="*/ 245233 h 343380"/>
                    <a:gd name="connsiteX207" fmla="*/ 279813 w 325809"/>
                    <a:gd name="connsiteY207" fmla="*/ 247320 h 343380"/>
                    <a:gd name="connsiteX208" fmla="*/ 273163 w 325809"/>
                    <a:gd name="connsiteY208" fmla="*/ 252234 h 343380"/>
                    <a:gd name="connsiteX209" fmla="*/ 271264 w 325809"/>
                    <a:gd name="connsiteY209" fmla="*/ 253278 h 343380"/>
                    <a:gd name="connsiteX210" fmla="*/ 268265 w 325809"/>
                    <a:gd name="connsiteY210" fmla="*/ 255551 h 343380"/>
                    <a:gd name="connsiteX211" fmla="*/ 264125 w 325809"/>
                    <a:gd name="connsiteY211" fmla="*/ 257254 h 343380"/>
                    <a:gd name="connsiteX212" fmla="*/ 260156 w 325809"/>
                    <a:gd name="connsiteY212" fmla="*/ 259968 h 343380"/>
                    <a:gd name="connsiteX213" fmla="*/ 258811 w 325809"/>
                    <a:gd name="connsiteY213" fmla="*/ 260376 h 343380"/>
                    <a:gd name="connsiteX214" fmla="*/ 261354 w 325809"/>
                    <a:gd name="connsiteY214" fmla="*/ 258086 h 343380"/>
                    <a:gd name="connsiteX215" fmla="*/ 264353 w 325809"/>
                    <a:gd name="connsiteY215" fmla="*/ 255820 h 343380"/>
                    <a:gd name="connsiteX216" fmla="*/ 261778 w 325809"/>
                    <a:gd name="connsiteY216" fmla="*/ 256130 h 343380"/>
                    <a:gd name="connsiteX217" fmla="*/ 257800 w 325809"/>
                    <a:gd name="connsiteY217" fmla="*/ 255078 h 343380"/>
                    <a:gd name="connsiteX218" fmla="*/ 255364 w 325809"/>
                    <a:gd name="connsiteY218" fmla="*/ 255021 h 343380"/>
                    <a:gd name="connsiteX219" fmla="*/ 255347 w 325809"/>
                    <a:gd name="connsiteY219" fmla="*/ 255853 h 343380"/>
                    <a:gd name="connsiteX220" fmla="*/ 253497 w 325809"/>
                    <a:gd name="connsiteY220" fmla="*/ 257018 h 343380"/>
                    <a:gd name="connsiteX221" fmla="*/ 251582 w 325809"/>
                    <a:gd name="connsiteY221" fmla="*/ 255307 h 343380"/>
                    <a:gd name="connsiteX222" fmla="*/ 250743 w 325809"/>
                    <a:gd name="connsiteY222" fmla="*/ 254157 h 343380"/>
                    <a:gd name="connsiteX223" fmla="*/ 250352 w 325809"/>
                    <a:gd name="connsiteY223" fmla="*/ 253155 h 343380"/>
                    <a:gd name="connsiteX224" fmla="*/ 249537 w 325809"/>
                    <a:gd name="connsiteY224" fmla="*/ 252919 h 343380"/>
                    <a:gd name="connsiteX225" fmla="*/ 248754 w 325809"/>
                    <a:gd name="connsiteY225" fmla="*/ 253383 h 343380"/>
                    <a:gd name="connsiteX226" fmla="*/ 251615 w 325809"/>
                    <a:gd name="connsiteY226" fmla="*/ 260400 h 343380"/>
                    <a:gd name="connsiteX227" fmla="*/ 252837 w 325809"/>
                    <a:gd name="connsiteY227" fmla="*/ 260702 h 343380"/>
                    <a:gd name="connsiteX228" fmla="*/ 254182 w 325809"/>
                    <a:gd name="connsiteY228" fmla="*/ 261403 h 343380"/>
                    <a:gd name="connsiteX229" fmla="*/ 252503 w 325809"/>
                    <a:gd name="connsiteY229" fmla="*/ 263033 h 343380"/>
                    <a:gd name="connsiteX230" fmla="*/ 250686 w 325809"/>
                    <a:gd name="connsiteY230" fmla="*/ 264272 h 343380"/>
                    <a:gd name="connsiteX231" fmla="*/ 247841 w 325809"/>
                    <a:gd name="connsiteY231" fmla="*/ 265094 h 343380"/>
                    <a:gd name="connsiteX232" fmla="*/ 245429 w 325809"/>
                    <a:gd name="connsiteY232" fmla="*/ 262544 h 343380"/>
                    <a:gd name="connsiteX233" fmla="*/ 244908 w 325809"/>
                    <a:gd name="connsiteY233" fmla="*/ 265755 h 343380"/>
                    <a:gd name="connsiteX234" fmla="*/ 244598 w 325809"/>
                    <a:gd name="connsiteY234" fmla="*/ 268966 h 343380"/>
                    <a:gd name="connsiteX235" fmla="*/ 243791 w 325809"/>
                    <a:gd name="connsiteY235" fmla="*/ 269789 h 343380"/>
                    <a:gd name="connsiteX236" fmla="*/ 242495 w 325809"/>
                    <a:gd name="connsiteY236" fmla="*/ 270962 h 343380"/>
                    <a:gd name="connsiteX237" fmla="*/ 241794 w 325809"/>
                    <a:gd name="connsiteY237" fmla="*/ 270074 h 343380"/>
                    <a:gd name="connsiteX238" fmla="*/ 241460 w 325809"/>
                    <a:gd name="connsiteY238" fmla="*/ 268835 h 343380"/>
                    <a:gd name="connsiteX239" fmla="*/ 240637 w 325809"/>
                    <a:gd name="connsiteY239" fmla="*/ 269944 h 343380"/>
                    <a:gd name="connsiteX240" fmla="*/ 239431 w 325809"/>
                    <a:gd name="connsiteY240" fmla="*/ 270775 h 343380"/>
                    <a:gd name="connsiteX241" fmla="*/ 237426 w 325809"/>
                    <a:gd name="connsiteY241" fmla="*/ 270946 h 343380"/>
                    <a:gd name="connsiteX242" fmla="*/ 235927 w 325809"/>
                    <a:gd name="connsiteY242" fmla="*/ 271386 h 343380"/>
                    <a:gd name="connsiteX243" fmla="*/ 235959 w 325809"/>
                    <a:gd name="connsiteY243" fmla="*/ 272714 h 343380"/>
                    <a:gd name="connsiteX244" fmla="*/ 236301 w 325809"/>
                    <a:gd name="connsiteY244" fmla="*/ 274043 h 343380"/>
                    <a:gd name="connsiteX245" fmla="*/ 238958 w 325809"/>
                    <a:gd name="connsiteY245" fmla="*/ 273000 h 343380"/>
                    <a:gd name="connsiteX246" fmla="*/ 237997 w 325809"/>
                    <a:gd name="connsiteY246" fmla="*/ 276423 h 343380"/>
                    <a:gd name="connsiteX247" fmla="*/ 235560 w 325809"/>
                    <a:gd name="connsiteY247" fmla="*/ 279813 h 343380"/>
                    <a:gd name="connsiteX248" fmla="*/ 233571 w 325809"/>
                    <a:gd name="connsiteY248" fmla="*/ 280612 h 343380"/>
                    <a:gd name="connsiteX249" fmla="*/ 230532 w 325809"/>
                    <a:gd name="connsiteY249" fmla="*/ 280115 h 343380"/>
                    <a:gd name="connsiteX250" fmla="*/ 229782 w 325809"/>
                    <a:gd name="connsiteY250" fmla="*/ 280457 h 343380"/>
                    <a:gd name="connsiteX251" fmla="*/ 229105 w 325809"/>
                    <a:gd name="connsiteY251" fmla="*/ 281158 h 343380"/>
                    <a:gd name="connsiteX252" fmla="*/ 232650 w 325809"/>
                    <a:gd name="connsiteY252" fmla="*/ 286447 h 343380"/>
                    <a:gd name="connsiteX253" fmla="*/ 230377 w 325809"/>
                    <a:gd name="connsiteY253" fmla="*/ 294425 h 343380"/>
                    <a:gd name="connsiteX254" fmla="*/ 228918 w 325809"/>
                    <a:gd name="connsiteY254" fmla="*/ 297310 h 343380"/>
                    <a:gd name="connsiteX255" fmla="*/ 227907 w 325809"/>
                    <a:gd name="connsiteY255" fmla="*/ 297677 h 343380"/>
                    <a:gd name="connsiteX256" fmla="*/ 226815 w 325809"/>
                    <a:gd name="connsiteY256" fmla="*/ 297767 h 343380"/>
                    <a:gd name="connsiteX257" fmla="*/ 222887 w 325809"/>
                    <a:gd name="connsiteY257" fmla="*/ 295200 h 343380"/>
                    <a:gd name="connsiteX258" fmla="*/ 220744 w 325809"/>
                    <a:gd name="connsiteY258" fmla="*/ 293211 h 343380"/>
                    <a:gd name="connsiteX259" fmla="*/ 222626 w 325809"/>
                    <a:gd name="connsiteY259" fmla="*/ 298623 h 343380"/>
                    <a:gd name="connsiteX260" fmla="*/ 227769 w 325809"/>
                    <a:gd name="connsiteY260" fmla="*/ 300195 h 343380"/>
                    <a:gd name="connsiteX261" fmla="*/ 228029 w 325809"/>
                    <a:gd name="connsiteY261" fmla="*/ 302233 h 343380"/>
                    <a:gd name="connsiteX262" fmla="*/ 228005 w 325809"/>
                    <a:gd name="connsiteY262" fmla="*/ 303977 h 343380"/>
                    <a:gd name="connsiteX263" fmla="*/ 226986 w 325809"/>
                    <a:gd name="connsiteY263" fmla="*/ 306022 h 343380"/>
                    <a:gd name="connsiteX264" fmla="*/ 226041 w 325809"/>
                    <a:gd name="connsiteY264" fmla="*/ 308736 h 343380"/>
                    <a:gd name="connsiteX265" fmla="*/ 226742 w 325809"/>
                    <a:gd name="connsiteY265" fmla="*/ 310635 h 343380"/>
                    <a:gd name="connsiteX266" fmla="*/ 227549 w 325809"/>
                    <a:gd name="connsiteY266" fmla="*/ 315313 h 343380"/>
                    <a:gd name="connsiteX267" fmla="*/ 228241 w 325809"/>
                    <a:gd name="connsiteY267" fmla="*/ 317457 h 343380"/>
                    <a:gd name="connsiteX268" fmla="*/ 228999 w 325809"/>
                    <a:gd name="connsiteY268" fmla="*/ 323960 h 343380"/>
                    <a:gd name="connsiteX269" fmla="*/ 229822 w 325809"/>
                    <a:gd name="connsiteY269" fmla="*/ 326788 h 343380"/>
                    <a:gd name="connsiteX270" fmla="*/ 234492 w 325809"/>
                    <a:gd name="connsiteY270" fmla="*/ 337163 h 343380"/>
                    <a:gd name="connsiteX271" fmla="*/ 236065 w 325809"/>
                    <a:gd name="connsiteY271" fmla="*/ 337236 h 343380"/>
                    <a:gd name="connsiteX272" fmla="*/ 236318 w 325809"/>
                    <a:gd name="connsiteY272" fmla="*/ 338361 h 343380"/>
                    <a:gd name="connsiteX273" fmla="*/ 236171 w 325809"/>
                    <a:gd name="connsiteY273" fmla="*/ 340512 h 343380"/>
                    <a:gd name="connsiteX274" fmla="*/ 232805 w 325809"/>
                    <a:gd name="connsiteY274" fmla="*/ 341140 h 343380"/>
                    <a:gd name="connsiteX275" fmla="*/ 231403 w 325809"/>
                    <a:gd name="connsiteY275" fmla="*/ 342101 h 343380"/>
                    <a:gd name="connsiteX276" fmla="*/ 231126 w 325809"/>
                    <a:gd name="connsiteY276" fmla="*/ 342933 h 343380"/>
                    <a:gd name="connsiteX277" fmla="*/ 230915 w 325809"/>
                    <a:gd name="connsiteY277" fmla="*/ 343381 h 343380"/>
                    <a:gd name="connsiteX278" fmla="*/ 230483 w 325809"/>
                    <a:gd name="connsiteY278" fmla="*/ 343340 h 343380"/>
                    <a:gd name="connsiteX279" fmla="*/ 228877 w 325809"/>
                    <a:gd name="connsiteY279" fmla="*/ 342745 h 343380"/>
                    <a:gd name="connsiteX280" fmla="*/ 225234 w 325809"/>
                    <a:gd name="connsiteY280" fmla="*/ 339795 h 343380"/>
                    <a:gd name="connsiteX281" fmla="*/ 219921 w 325809"/>
                    <a:gd name="connsiteY281" fmla="*/ 337970 h 343380"/>
                    <a:gd name="connsiteX282" fmla="*/ 212944 w 325809"/>
                    <a:gd name="connsiteY282" fmla="*/ 337269 h 343380"/>
                    <a:gd name="connsiteX283" fmla="*/ 208177 w 325809"/>
                    <a:gd name="connsiteY283" fmla="*/ 335794 h 343380"/>
                    <a:gd name="connsiteX284" fmla="*/ 205626 w 325809"/>
                    <a:gd name="connsiteY284" fmla="*/ 333552 h 343380"/>
                    <a:gd name="connsiteX285" fmla="*/ 202953 w 325809"/>
                    <a:gd name="connsiteY285" fmla="*/ 332216 h 343380"/>
                    <a:gd name="connsiteX286" fmla="*/ 200157 w 325809"/>
                    <a:gd name="connsiteY286" fmla="*/ 331800 h 343380"/>
                    <a:gd name="connsiteX287" fmla="*/ 197851 w 325809"/>
                    <a:gd name="connsiteY287" fmla="*/ 330586 h 343380"/>
                    <a:gd name="connsiteX288" fmla="*/ 196017 w 325809"/>
                    <a:gd name="connsiteY288" fmla="*/ 328565 h 343380"/>
                    <a:gd name="connsiteX289" fmla="*/ 193344 w 325809"/>
                    <a:gd name="connsiteY289" fmla="*/ 327277 h 343380"/>
                    <a:gd name="connsiteX290" fmla="*/ 189815 w 325809"/>
                    <a:gd name="connsiteY290" fmla="*/ 326715 h 343380"/>
                    <a:gd name="connsiteX291" fmla="*/ 187517 w 325809"/>
                    <a:gd name="connsiteY291" fmla="*/ 325199 h 343380"/>
                    <a:gd name="connsiteX292" fmla="*/ 185920 w 325809"/>
                    <a:gd name="connsiteY292" fmla="*/ 321491 h 343380"/>
                    <a:gd name="connsiteX293" fmla="*/ 185920 w 325809"/>
                    <a:gd name="connsiteY293" fmla="*/ 321434 h 343380"/>
                    <a:gd name="connsiteX294" fmla="*/ 184494 w 325809"/>
                    <a:gd name="connsiteY294" fmla="*/ 315240 h 343380"/>
                    <a:gd name="connsiteX295" fmla="*/ 182693 w 325809"/>
                    <a:gd name="connsiteY295" fmla="*/ 311344 h 343380"/>
                    <a:gd name="connsiteX296" fmla="*/ 179188 w 325809"/>
                    <a:gd name="connsiteY296" fmla="*/ 306536 h 343380"/>
                    <a:gd name="connsiteX297" fmla="*/ 178862 w 325809"/>
                    <a:gd name="connsiteY297" fmla="*/ 305908 h 343380"/>
                    <a:gd name="connsiteX298" fmla="*/ 178862 w 325809"/>
                    <a:gd name="connsiteY298" fmla="*/ 305908 h 343380"/>
                    <a:gd name="connsiteX299" fmla="*/ 178838 w 325809"/>
                    <a:gd name="connsiteY299" fmla="*/ 305110 h 343380"/>
                    <a:gd name="connsiteX300" fmla="*/ 179270 w 325809"/>
                    <a:gd name="connsiteY300" fmla="*/ 302306 h 343380"/>
                    <a:gd name="connsiteX301" fmla="*/ 178895 w 325809"/>
                    <a:gd name="connsiteY301" fmla="*/ 300293 h 343380"/>
                    <a:gd name="connsiteX302" fmla="*/ 177795 w 325809"/>
                    <a:gd name="connsiteY302" fmla="*/ 298647 h 343380"/>
                    <a:gd name="connsiteX303" fmla="*/ 177534 w 325809"/>
                    <a:gd name="connsiteY303" fmla="*/ 296911 h 343380"/>
                    <a:gd name="connsiteX304" fmla="*/ 178137 w 325809"/>
                    <a:gd name="connsiteY304" fmla="*/ 295077 h 343380"/>
                    <a:gd name="connsiteX305" fmla="*/ 178178 w 325809"/>
                    <a:gd name="connsiteY305" fmla="*/ 292877 h 343380"/>
                    <a:gd name="connsiteX306" fmla="*/ 177656 w 325809"/>
                    <a:gd name="connsiteY306" fmla="*/ 290310 h 343380"/>
                    <a:gd name="connsiteX307" fmla="*/ 175423 w 325809"/>
                    <a:gd name="connsiteY307" fmla="*/ 287531 h 343380"/>
                    <a:gd name="connsiteX308" fmla="*/ 171479 w 325809"/>
                    <a:gd name="connsiteY308" fmla="*/ 284548 h 343380"/>
                    <a:gd name="connsiteX309" fmla="*/ 168121 w 325809"/>
                    <a:gd name="connsiteY309" fmla="*/ 280180 h 343380"/>
                    <a:gd name="connsiteX310" fmla="*/ 165350 w 325809"/>
                    <a:gd name="connsiteY310" fmla="*/ 274442 h 343380"/>
                    <a:gd name="connsiteX311" fmla="*/ 162603 w 325809"/>
                    <a:gd name="connsiteY311" fmla="*/ 270457 h 343380"/>
                    <a:gd name="connsiteX312" fmla="*/ 159898 w 325809"/>
                    <a:gd name="connsiteY312" fmla="*/ 268248 h 343380"/>
                    <a:gd name="connsiteX313" fmla="*/ 158040 w 325809"/>
                    <a:gd name="connsiteY313" fmla="*/ 265535 h 343380"/>
                    <a:gd name="connsiteX314" fmla="*/ 157045 w 325809"/>
                    <a:gd name="connsiteY314" fmla="*/ 262332 h 343380"/>
                    <a:gd name="connsiteX315" fmla="*/ 156744 w 325809"/>
                    <a:gd name="connsiteY315" fmla="*/ 260474 h 343380"/>
                    <a:gd name="connsiteX316" fmla="*/ 157151 w 325809"/>
                    <a:gd name="connsiteY316" fmla="*/ 259960 h 343380"/>
                    <a:gd name="connsiteX317" fmla="*/ 155481 w 325809"/>
                    <a:gd name="connsiteY317" fmla="*/ 256399 h 343380"/>
                    <a:gd name="connsiteX318" fmla="*/ 151748 w 325809"/>
                    <a:gd name="connsiteY318" fmla="*/ 249789 h 343380"/>
                    <a:gd name="connsiteX319" fmla="*/ 149597 w 325809"/>
                    <a:gd name="connsiteY319" fmla="*/ 244956 h 343380"/>
                    <a:gd name="connsiteX320" fmla="*/ 149042 w 325809"/>
                    <a:gd name="connsiteY320" fmla="*/ 241900 h 343380"/>
                    <a:gd name="connsiteX321" fmla="*/ 146663 w 325809"/>
                    <a:gd name="connsiteY321" fmla="*/ 238257 h 343380"/>
                    <a:gd name="connsiteX322" fmla="*/ 142457 w 325809"/>
                    <a:gd name="connsiteY322" fmla="*/ 234028 h 343380"/>
                    <a:gd name="connsiteX323" fmla="*/ 140167 w 325809"/>
                    <a:gd name="connsiteY323" fmla="*/ 231281 h 343380"/>
                    <a:gd name="connsiteX324" fmla="*/ 139613 w 325809"/>
                    <a:gd name="connsiteY324" fmla="*/ 229366 h 343380"/>
                    <a:gd name="connsiteX325" fmla="*/ 139605 w 325809"/>
                    <a:gd name="connsiteY325" fmla="*/ 229366 h 343380"/>
                    <a:gd name="connsiteX326" fmla="*/ 133044 w 325809"/>
                    <a:gd name="connsiteY326" fmla="*/ 223808 h 343380"/>
                    <a:gd name="connsiteX327" fmla="*/ 131145 w 325809"/>
                    <a:gd name="connsiteY327" fmla="*/ 220328 h 343380"/>
                    <a:gd name="connsiteX328" fmla="*/ 129654 w 325809"/>
                    <a:gd name="connsiteY328" fmla="*/ 219236 h 343380"/>
                    <a:gd name="connsiteX329" fmla="*/ 127943 w 325809"/>
                    <a:gd name="connsiteY329" fmla="*/ 219350 h 343380"/>
                    <a:gd name="connsiteX330" fmla="*/ 127071 w 325809"/>
                    <a:gd name="connsiteY330" fmla="*/ 219016 h 343380"/>
                    <a:gd name="connsiteX331" fmla="*/ 127030 w 325809"/>
                    <a:gd name="connsiteY331" fmla="*/ 218225 h 343380"/>
                    <a:gd name="connsiteX332" fmla="*/ 126476 w 325809"/>
                    <a:gd name="connsiteY332" fmla="*/ 218185 h 343380"/>
                    <a:gd name="connsiteX333" fmla="*/ 125416 w 325809"/>
                    <a:gd name="connsiteY333" fmla="*/ 218894 h 343380"/>
                    <a:gd name="connsiteX334" fmla="*/ 121928 w 325809"/>
                    <a:gd name="connsiteY334" fmla="*/ 219049 h 343380"/>
                    <a:gd name="connsiteX335" fmla="*/ 116011 w 325809"/>
                    <a:gd name="connsiteY335" fmla="*/ 218617 h 343380"/>
                    <a:gd name="connsiteX336" fmla="*/ 111741 w 325809"/>
                    <a:gd name="connsiteY336" fmla="*/ 217671 h 343380"/>
                    <a:gd name="connsiteX337" fmla="*/ 109117 w 325809"/>
                    <a:gd name="connsiteY337" fmla="*/ 216196 h 343380"/>
                    <a:gd name="connsiteX338" fmla="*/ 107275 w 325809"/>
                    <a:gd name="connsiteY338" fmla="*/ 216392 h 343380"/>
                    <a:gd name="connsiteX339" fmla="*/ 106215 w 325809"/>
                    <a:gd name="connsiteY339" fmla="*/ 218258 h 343380"/>
                    <a:gd name="connsiteX340" fmla="*/ 103974 w 325809"/>
                    <a:gd name="connsiteY340" fmla="*/ 219464 h 343380"/>
                    <a:gd name="connsiteX341" fmla="*/ 100535 w 325809"/>
                    <a:gd name="connsiteY341" fmla="*/ 220002 h 343380"/>
                    <a:gd name="connsiteX342" fmla="*/ 97577 w 325809"/>
                    <a:gd name="connsiteY342" fmla="*/ 223474 h 343380"/>
                    <a:gd name="connsiteX343" fmla="*/ 95099 w 325809"/>
                    <a:gd name="connsiteY343" fmla="*/ 229880 h 343380"/>
                    <a:gd name="connsiteX344" fmla="*/ 94007 w 325809"/>
                    <a:gd name="connsiteY344" fmla="*/ 233995 h 343380"/>
                    <a:gd name="connsiteX345" fmla="*/ 94309 w 325809"/>
                    <a:gd name="connsiteY345" fmla="*/ 235829 h 343380"/>
                    <a:gd name="connsiteX346" fmla="*/ 93657 w 325809"/>
                    <a:gd name="connsiteY346" fmla="*/ 237165 h 343380"/>
                    <a:gd name="connsiteX347" fmla="*/ 92051 w 325809"/>
                    <a:gd name="connsiteY347" fmla="*/ 237997 h 343380"/>
                    <a:gd name="connsiteX348" fmla="*/ 90413 w 325809"/>
                    <a:gd name="connsiteY348" fmla="*/ 239855 h 343380"/>
                    <a:gd name="connsiteX349" fmla="*/ 88742 w 325809"/>
                    <a:gd name="connsiteY349" fmla="*/ 242748 h 343380"/>
                    <a:gd name="connsiteX350" fmla="*/ 86803 w 325809"/>
                    <a:gd name="connsiteY350" fmla="*/ 244142 h 343380"/>
                    <a:gd name="connsiteX351" fmla="*/ 84586 w 325809"/>
                    <a:gd name="connsiteY351" fmla="*/ 244052 h 343380"/>
                    <a:gd name="connsiteX352" fmla="*/ 80487 w 325809"/>
                    <a:gd name="connsiteY352" fmla="*/ 241827 h 343380"/>
                    <a:gd name="connsiteX353" fmla="*/ 74513 w 325809"/>
                    <a:gd name="connsiteY353" fmla="*/ 237475 h 343380"/>
                    <a:gd name="connsiteX354" fmla="*/ 69827 w 325809"/>
                    <a:gd name="connsiteY354" fmla="*/ 234786 h 343380"/>
                    <a:gd name="connsiteX355" fmla="*/ 66428 w 325809"/>
                    <a:gd name="connsiteY355" fmla="*/ 233759 h 343380"/>
                    <a:gd name="connsiteX356" fmla="*/ 63429 w 325809"/>
                    <a:gd name="connsiteY356" fmla="*/ 231746 h 343380"/>
                    <a:gd name="connsiteX357" fmla="*/ 60830 w 325809"/>
                    <a:gd name="connsiteY357" fmla="*/ 228747 h 343380"/>
                    <a:gd name="connsiteX358" fmla="*/ 58434 w 325809"/>
                    <a:gd name="connsiteY358" fmla="*/ 226742 h 343380"/>
                    <a:gd name="connsiteX359" fmla="*/ 56241 w 325809"/>
                    <a:gd name="connsiteY359" fmla="*/ 225739 h 343380"/>
                    <a:gd name="connsiteX360" fmla="*/ 53682 w 325809"/>
                    <a:gd name="connsiteY360" fmla="*/ 222414 h 343380"/>
                    <a:gd name="connsiteX361" fmla="*/ 50748 w 325809"/>
                    <a:gd name="connsiteY361" fmla="*/ 216750 h 343380"/>
                    <a:gd name="connsiteX362" fmla="*/ 49281 w 325809"/>
                    <a:gd name="connsiteY362" fmla="*/ 212374 h 343380"/>
                    <a:gd name="connsiteX363" fmla="*/ 49281 w 325809"/>
                    <a:gd name="connsiteY363" fmla="*/ 207761 h 343380"/>
                    <a:gd name="connsiteX364" fmla="*/ 45443 w 325809"/>
                    <a:gd name="connsiteY364" fmla="*/ 197696 h 343380"/>
                    <a:gd name="connsiteX365" fmla="*/ 43414 w 325809"/>
                    <a:gd name="connsiteY365" fmla="*/ 193328 h 343380"/>
                    <a:gd name="connsiteX366" fmla="*/ 41898 w 325809"/>
                    <a:gd name="connsiteY366" fmla="*/ 191323 h 343380"/>
                    <a:gd name="connsiteX367" fmla="*/ 38939 w 325809"/>
                    <a:gd name="connsiteY367" fmla="*/ 188919 h 343380"/>
                    <a:gd name="connsiteX368" fmla="*/ 34530 w 325809"/>
                    <a:gd name="connsiteY368" fmla="*/ 186124 h 343380"/>
                    <a:gd name="connsiteX369" fmla="*/ 28622 w 325809"/>
                    <a:gd name="connsiteY369" fmla="*/ 180533 h 343380"/>
                    <a:gd name="connsiteX370" fmla="*/ 21214 w 325809"/>
                    <a:gd name="connsiteY370" fmla="*/ 172139 h 343380"/>
                    <a:gd name="connsiteX371" fmla="*/ 15973 w 325809"/>
                    <a:gd name="connsiteY371" fmla="*/ 167078 h 343380"/>
                    <a:gd name="connsiteX372" fmla="*/ 12901 w 325809"/>
                    <a:gd name="connsiteY372" fmla="*/ 165358 h 343380"/>
                    <a:gd name="connsiteX373" fmla="*/ 10228 w 325809"/>
                    <a:gd name="connsiteY373" fmla="*/ 162326 h 343380"/>
                    <a:gd name="connsiteX374" fmla="*/ 7970 w 325809"/>
                    <a:gd name="connsiteY374" fmla="*/ 157983 h 343380"/>
                    <a:gd name="connsiteX375" fmla="*/ 5762 w 325809"/>
                    <a:gd name="connsiteY375" fmla="*/ 155220 h 343380"/>
                    <a:gd name="connsiteX376" fmla="*/ 5534 w 325809"/>
                    <a:gd name="connsiteY376" fmla="*/ 155089 h 343380"/>
                    <a:gd name="connsiteX377" fmla="*/ 2526 w 325809"/>
                    <a:gd name="connsiteY377" fmla="*/ 153435 h 343380"/>
                    <a:gd name="connsiteX378" fmla="*/ 2526 w 325809"/>
                    <a:gd name="connsiteY378" fmla="*/ 153435 h 343380"/>
                    <a:gd name="connsiteX379" fmla="*/ 0 w 325809"/>
                    <a:gd name="connsiteY379" fmla="*/ 147559 h 343380"/>
                    <a:gd name="connsiteX380" fmla="*/ 147 w 325809"/>
                    <a:gd name="connsiteY380" fmla="*/ 147551 h 343380"/>
                    <a:gd name="connsiteX381" fmla="*/ 5721 w 325809"/>
                    <a:gd name="connsiteY381" fmla="*/ 147551 h 343380"/>
                    <a:gd name="connsiteX382" fmla="*/ 11296 w 325809"/>
                    <a:gd name="connsiteY382" fmla="*/ 147551 h 343380"/>
                    <a:gd name="connsiteX383" fmla="*/ 16878 w 325809"/>
                    <a:gd name="connsiteY383" fmla="*/ 147551 h 343380"/>
                    <a:gd name="connsiteX384" fmla="*/ 22452 w 325809"/>
                    <a:gd name="connsiteY384" fmla="*/ 147551 h 343380"/>
                    <a:gd name="connsiteX385" fmla="*/ 28035 w 325809"/>
                    <a:gd name="connsiteY385" fmla="*/ 147551 h 343380"/>
                    <a:gd name="connsiteX386" fmla="*/ 33609 w 325809"/>
                    <a:gd name="connsiteY386" fmla="*/ 147551 h 343380"/>
                    <a:gd name="connsiteX387" fmla="*/ 39184 w 325809"/>
                    <a:gd name="connsiteY387" fmla="*/ 147551 h 343380"/>
                    <a:gd name="connsiteX388" fmla="*/ 44766 w 325809"/>
                    <a:gd name="connsiteY388" fmla="*/ 147551 h 343380"/>
                    <a:gd name="connsiteX389" fmla="*/ 50333 w 325809"/>
                    <a:gd name="connsiteY389" fmla="*/ 147543 h 343380"/>
                    <a:gd name="connsiteX390" fmla="*/ 55915 w 325809"/>
                    <a:gd name="connsiteY390" fmla="*/ 147543 h 343380"/>
                    <a:gd name="connsiteX391" fmla="*/ 61490 w 325809"/>
                    <a:gd name="connsiteY391" fmla="*/ 147543 h 343380"/>
                    <a:gd name="connsiteX392" fmla="*/ 67064 w 325809"/>
                    <a:gd name="connsiteY392" fmla="*/ 147543 h 343380"/>
                    <a:gd name="connsiteX393" fmla="*/ 72647 w 325809"/>
                    <a:gd name="connsiteY393" fmla="*/ 147543 h 343380"/>
                    <a:gd name="connsiteX394" fmla="*/ 78221 w 325809"/>
                    <a:gd name="connsiteY394" fmla="*/ 147543 h 343380"/>
                    <a:gd name="connsiteX395" fmla="*/ 83796 w 325809"/>
                    <a:gd name="connsiteY395" fmla="*/ 147543 h 343380"/>
                    <a:gd name="connsiteX396" fmla="*/ 89370 w 325809"/>
                    <a:gd name="connsiteY396" fmla="*/ 147543 h 343380"/>
                    <a:gd name="connsiteX397" fmla="*/ 89403 w 325809"/>
                    <a:gd name="connsiteY397" fmla="*/ 138423 h 343380"/>
                    <a:gd name="connsiteX398" fmla="*/ 89435 w 325809"/>
                    <a:gd name="connsiteY398" fmla="*/ 129296 h 343380"/>
                    <a:gd name="connsiteX399" fmla="*/ 89476 w 325809"/>
                    <a:gd name="connsiteY399" fmla="*/ 120151 h 343380"/>
                    <a:gd name="connsiteX400" fmla="*/ 89509 w 325809"/>
                    <a:gd name="connsiteY400" fmla="*/ 110999 h 343380"/>
                    <a:gd name="connsiteX401" fmla="*/ 89549 w 325809"/>
                    <a:gd name="connsiteY401" fmla="*/ 101831 h 343380"/>
                    <a:gd name="connsiteX402" fmla="*/ 89590 w 325809"/>
                    <a:gd name="connsiteY402" fmla="*/ 92646 h 343380"/>
                    <a:gd name="connsiteX403" fmla="*/ 89623 w 325809"/>
                    <a:gd name="connsiteY403" fmla="*/ 83453 h 343380"/>
                    <a:gd name="connsiteX404" fmla="*/ 89663 w 325809"/>
                    <a:gd name="connsiteY404" fmla="*/ 74244 h 343380"/>
                    <a:gd name="connsiteX405" fmla="*/ 89696 w 325809"/>
                    <a:gd name="connsiteY405" fmla="*/ 65019 h 343380"/>
                    <a:gd name="connsiteX406" fmla="*/ 89729 w 325809"/>
                    <a:gd name="connsiteY406" fmla="*/ 55785 h 343380"/>
                    <a:gd name="connsiteX407" fmla="*/ 89761 w 325809"/>
                    <a:gd name="connsiteY407" fmla="*/ 46535 h 343380"/>
                    <a:gd name="connsiteX408" fmla="*/ 89802 w 325809"/>
                    <a:gd name="connsiteY408" fmla="*/ 37269 h 343380"/>
                    <a:gd name="connsiteX409" fmla="*/ 89834 w 325809"/>
                    <a:gd name="connsiteY409" fmla="*/ 27986 h 343380"/>
                    <a:gd name="connsiteX410" fmla="*/ 89867 w 325809"/>
                    <a:gd name="connsiteY410" fmla="*/ 18687 h 343380"/>
                    <a:gd name="connsiteX411" fmla="*/ 89908 w 325809"/>
                    <a:gd name="connsiteY411" fmla="*/ 9380 h 343380"/>
                    <a:gd name="connsiteX412" fmla="*/ 89940 w 325809"/>
                    <a:gd name="connsiteY412" fmla="*/ 49 h 343380"/>
                    <a:gd name="connsiteX413" fmla="*/ 90975 w 325809"/>
                    <a:gd name="connsiteY413" fmla="*/ 33 h 343380"/>
                    <a:gd name="connsiteX414" fmla="*/ 95661 w 325809"/>
                    <a:gd name="connsiteY414" fmla="*/ 33 h 343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Lst>
                  <a:rect l="l" t="t" r="r" b="b"/>
                  <a:pathLst>
                    <a:path w="325809" h="343380">
                      <a:moveTo>
                        <a:pt x="95661" y="0"/>
                      </a:moveTo>
                      <a:lnTo>
                        <a:pt x="100307" y="0"/>
                      </a:lnTo>
                      <a:lnTo>
                        <a:pt x="104952" y="0"/>
                      </a:lnTo>
                      <a:lnTo>
                        <a:pt x="109606" y="0"/>
                      </a:lnTo>
                      <a:lnTo>
                        <a:pt x="114251" y="0"/>
                      </a:lnTo>
                      <a:lnTo>
                        <a:pt x="118896" y="0"/>
                      </a:lnTo>
                      <a:lnTo>
                        <a:pt x="123542" y="0"/>
                      </a:lnTo>
                      <a:lnTo>
                        <a:pt x="128187" y="0"/>
                      </a:lnTo>
                      <a:lnTo>
                        <a:pt x="132832" y="0"/>
                      </a:lnTo>
                      <a:lnTo>
                        <a:pt x="137478" y="0"/>
                      </a:lnTo>
                      <a:lnTo>
                        <a:pt x="142123" y="0"/>
                      </a:lnTo>
                      <a:lnTo>
                        <a:pt x="146769" y="0"/>
                      </a:lnTo>
                      <a:lnTo>
                        <a:pt x="151422" y="0"/>
                      </a:lnTo>
                      <a:lnTo>
                        <a:pt x="156067" y="0"/>
                      </a:lnTo>
                      <a:lnTo>
                        <a:pt x="160713" y="0"/>
                      </a:lnTo>
                      <a:lnTo>
                        <a:pt x="165358" y="0"/>
                      </a:lnTo>
                      <a:lnTo>
                        <a:pt x="165366" y="3977"/>
                      </a:lnTo>
                      <a:lnTo>
                        <a:pt x="165366" y="7938"/>
                      </a:lnTo>
                      <a:lnTo>
                        <a:pt x="165366" y="11907"/>
                      </a:lnTo>
                      <a:lnTo>
                        <a:pt x="165366" y="15868"/>
                      </a:lnTo>
                      <a:lnTo>
                        <a:pt x="165374" y="19820"/>
                      </a:lnTo>
                      <a:lnTo>
                        <a:pt x="165374" y="23781"/>
                      </a:lnTo>
                      <a:lnTo>
                        <a:pt x="165374" y="27725"/>
                      </a:lnTo>
                      <a:lnTo>
                        <a:pt x="165383" y="31678"/>
                      </a:lnTo>
                      <a:lnTo>
                        <a:pt x="165383" y="35622"/>
                      </a:lnTo>
                      <a:lnTo>
                        <a:pt x="165383" y="39567"/>
                      </a:lnTo>
                      <a:lnTo>
                        <a:pt x="165391" y="43503"/>
                      </a:lnTo>
                      <a:lnTo>
                        <a:pt x="165391" y="47440"/>
                      </a:lnTo>
                      <a:lnTo>
                        <a:pt x="165391" y="51384"/>
                      </a:lnTo>
                      <a:lnTo>
                        <a:pt x="165399" y="55312"/>
                      </a:lnTo>
                      <a:lnTo>
                        <a:pt x="165399" y="59249"/>
                      </a:lnTo>
                      <a:lnTo>
                        <a:pt x="165399" y="63177"/>
                      </a:lnTo>
                      <a:lnTo>
                        <a:pt x="166849" y="63519"/>
                      </a:lnTo>
                      <a:lnTo>
                        <a:pt x="168675" y="64603"/>
                      </a:lnTo>
                      <a:lnTo>
                        <a:pt x="173174" y="68784"/>
                      </a:lnTo>
                      <a:lnTo>
                        <a:pt x="174502" y="69680"/>
                      </a:lnTo>
                      <a:lnTo>
                        <a:pt x="176882" y="69159"/>
                      </a:lnTo>
                      <a:lnTo>
                        <a:pt x="179457" y="69664"/>
                      </a:lnTo>
                      <a:lnTo>
                        <a:pt x="180134" y="69566"/>
                      </a:lnTo>
                      <a:lnTo>
                        <a:pt x="180639" y="67773"/>
                      </a:lnTo>
                      <a:lnTo>
                        <a:pt x="180875" y="67415"/>
                      </a:lnTo>
                      <a:lnTo>
                        <a:pt x="181234" y="67463"/>
                      </a:lnTo>
                      <a:lnTo>
                        <a:pt x="183467" y="69069"/>
                      </a:lnTo>
                      <a:lnTo>
                        <a:pt x="183899" y="69697"/>
                      </a:lnTo>
                      <a:lnTo>
                        <a:pt x="185211" y="71987"/>
                      </a:lnTo>
                      <a:lnTo>
                        <a:pt x="185545" y="74700"/>
                      </a:lnTo>
                      <a:lnTo>
                        <a:pt x="186262" y="75100"/>
                      </a:lnTo>
                      <a:lnTo>
                        <a:pt x="187623" y="75426"/>
                      </a:lnTo>
                      <a:lnTo>
                        <a:pt x="190932" y="75589"/>
                      </a:lnTo>
                      <a:lnTo>
                        <a:pt x="195153" y="77357"/>
                      </a:lnTo>
                      <a:lnTo>
                        <a:pt x="196857" y="77626"/>
                      </a:lnTo>
                      <a:lnTo>
                        <a:pt x="199880" y="77145"/>
                      </a:lnTo>
                      <a:lnTo>
                        <a:pt x="202725" y="79525"/>
                      </a:lnTo>
                      <a:lnTo>
                        <a:pt x="203727" y="79876"/>
                      </a:lnTo>
                      <a:lnTo>
                        <a:pt x="204550" y="79550"/>
                      </a:lnTo>
                      <a:lnTo>
                        <a:pt x="206147" y="77797"/>
                      </a:lnTo>
                      <a:lnTo>
                        <a:pt x="209668" y="77993"/>
                      </a:lnTo>
                      <a:lnTo>
                        <a:pt x="212529" y="77683"/>
                      </a:lnTo>
                      <a:lnTo>
                        <a:pt x="212757" y="79672"/>
                      </a:lnTo>
                      <a:lnTo>
                        <a:pt x="213262" y="81106"/>
                      </a:lnTo>
                      <a:lnTo>
                        <a:pt x="215626" y="82630"/>
                      </a:lnTo>
                      <a:lnTo>
                        <a:pt x="216196" y="83372"/>
                      </a:lnTo>
                      <a:lnTo>
                        <a:pt x="216318" y="85792"/>
                      </a:lnTo>
                      <a:lnTo>
                        <a:pt x="216930" y="86404"/>
                      </a:lnTo>
                      <a:lnTo>
                        <a:pt x="217891" y="86640"/>
                      </a:lnTo>
                      <a:lnTo>
                        <a:pt x="218894" y="86485"/>
                      </a:lnTo>
                      <a:lnTo>
                        <a:pt x="220059" y="85727"/>
                      </a:lnTo>
                      <a:lnTo>
                        <a:pt x="222626" y="83331"/>
                      </a:lnTo>
                      <a:lnTo>
                        <a:pt x="223409" y="82744"/>
                      </a:lnTo>
                      <a:lnTo>
                        <a:pt x="223889" y="82695"/>
                      </a:lnTo>
                      <a:lnTo>
                        <a:pt x="224362" y="82826"/>
                      </a:lnTo>
                      <a:lnTo>
                        <a:pt x="224753" y="83355"/>
                      </a:lnTo>
                      <a:lnTo>
                        <a:pt x="225609" y="85181"/>
                      </a:lnTo>
                      <a:lnTo>
                        <a:pt x="227834" y="86167"/>
                      </a:lnTo>
                      <a:lnTo>
                        <a:pt x="229113" y="87707"/>
                      </a:lnTo>
                      <a:lnTo>
                        <a:pt x="229896" y="87944"/>
                      </a:lnTo>
                      <a:lnTo>
                        <a:pt x="230760" y="87658"/>
                      </a:lnTo>
                      <a:lnTo>
                        <a:pt x="232129" y="86705"/>
                      </a:lnTo>
                      <a:lnTo>
                        <a:pt x="233205" y="86746"/>
                      </a:lnTo>
                      <a:lnTo>
                        <a:pt x="234435" y="85792"/>
                      </a:lnTo>
                      <a:lnTo>
                        <a:pt x="234932" y="86004"/>
                      </a:lnTo>
                      <a:lnTo>
                        <a:pt x="235144" y="86681"/>
                      </a:lnTo>
                      <a:lnTo>
                        <a:pt x="234777" y="88710"/>
                      </a:lnTo>
                      <a:lnTo>
                        <a:pt x="234989" y="89484"/>
                      </a:lnTo>
                      <a:lnTo>
                        <a:pt x="235486" y="90389"/>
                      </a:lnTo>
                      <a:lnTo>
                        <a:pt x="236163" y="91016"/>
                      </a:lnTo>
                      <a:lnTo>
                        <a:pt x="236815" y="91114"/>
                      </a:lnTo>
                      <a:lnTo>
                        <a:pt x="237312" y="90601"/>
                      </a:lnTo>
                      <a:lnTo>
                        <a:pt x="238241" y="88050"/>
                      </a:lnTo>
                      <a:lnTo>
                        <a:pt x="238176" y="87129"/>
                      </a:lnTo>
                      <a:lnTo>
                        <a:pt x="239219" y="86803"/>
                      </a:lnTo>
                      <a:lnTo>
                        <a:pt x="239700" y="86306"/>
                      </a:lnTo>
                      <a:lnTo>
                        <a:pt x="240311" y="84456"/>
                      </a:lnTo>
                      <a:lnTo>
                        <a:pt x="241395" y="83950"/>
                      </a:lnTo>
                      <a:lnTo>
                        <a:pt x="241966" y="84048"/>
                      </a:lnTo>
                      <a:lnTo>
                        <a:pt x="242487" y="84562"/>
                      </a:lnTo>
                      <a:lnTo>
                        <a:pt x="243538" y="86249"/>
                      </a:lnTo>
                      <a:lnTo>
                        <a:pt x="246057" y="87194"/>
                      </a:lnTo>
                      <a:lnTo>
                        <a:pt x="246701" y="87243"/>
                      </a:lnTo>
                      <a:lnTo>
                        <a:pt x="247353" y="86884"/>
                      </a:lnTo>
                      <a:lnTo>
                        <a:pt x="248477" y="85491"/>
                      </a:lnTo>
                      <a:lnTo>
                        <a:pt x="249056" y="85328"/>
                      </a:lnTo>
                      <a:lnTo>
                        <a:pt x="249520" y="85515"/>
                      </a:lnTo>
                      <a:lnTo>
                        <a:pt x="249797" y="85711"/>
                      </a:lnTo>
                      <a:lnTo>
                        <a:pt x="249887" y="87357"/>
                      </a:lnTo>
                      <a:lnTo>
                        <a:pt x="252470" y="89215"/>
                      </a:lnTo>
                      <a:lnTo>
                        <a:pt x="254361" y="89778"/>
                      </a:lnTo>
                      <a:lnTo>
                        <a:pt x="256203" y="91660"/>
                      </a:lnTo>
                      <a:lnTo>
                        <a:pt x="256741" y="91872"/>
                      </a:lnTo>
                      <a:lnTo>
                        <a:pt x="257646" y="90356"/>
                      </a:lnTo>
                      <a:lnTo>
                        <a:pt x="259414" y="89818"/>
                      </a:lnTo>
                      <a:lnTo>
                        <a:pt x="261101" y="88254"/>
                      </a:lnTo>
                      <a:lnTo>
                        <a:pt x="266007" y="86265"/>
                      </a:lnTo>
                      <a:lnTo>
                        <a:pt x="267955" y="86901"/>
                      </a:lnTo>
                      <a:lnTo>
                        <a:pt x="269919" y="86860"/>
                      </a:lnTo>
                      <a:lnTo>
                        <a:pt x="270433" y="85980"/>
                      </a:lnTo>
                      <a:lnTo>
                        <a:pt x="273913" y="84708"/>
                      </a:lnTo>
                      <a:lnTo>
                        <a:pt x="274605" y="84219"/>
                      </a:lnTo>
                      <a:lnTo>
                        <a:pt x="275575" y="84847"/>
                      </a:lnTo>
                      <a:lnTo>
                        <a:pt x="275917" y="85760"/>
                      </a:lnTo>
                      <a:lnTo>
                        <a:pt x="276374" y="86135"/>
                      </a:lnTo>
                      <a:lnTo>
                        <a:pt x="278762" y="86591"/>
                      </a:lnTo>
                      <a:lnTo>
                        <a:pt x="280082" y="86534"/>
                      </a:lnTo>
                      <a:lnTo>
                        <a:pt x="282510" y="85352"/>
                      </a:lnTo>
                      <a:lnTo>
                        <a:pt x="283448" y="83845"/>
                      </a:lnTo>
                      <a:lnTo>
                        <a:pt x="284002" y="83763"/>
                      </a:lnTo>
                      <a:lnTo>
                        <a:pt x="285730" y="84496"/>
                      </a:lnTo>
                      <a:lnTo>
                        <a:pt x="290285" y="87544"/>
                      </a:lnTo>
                      <a:lnTo>
                        <a:pt x="292592" y="90006"/>
                      </a:lnTo>
                      <a:lnTo>
                        <a:pt x="295167" y="91204"/>
                      </a:lnTo>
                      <a:lnTo>
                        <a:pt x="296569" y="92255"/>
                      </a:lnTo>
                      <a:lnTo>
                        <a:pt x="302151" y="93918"/>
                      </a:lnTo>
                      <a:lnTo>
                        <a:pt x="303447" y="95515"/>
                      </a:lnTo>
                      <a:lnTo>
                        <a:pt x="304482" y="95979"/>
                      </a:lnTo>
                      <a:lnTo>
                        <a:pt x="304784" y="96615"/>
                      </a:lnTo>
                      <a:lnTo>
                        <a:pt x="305289" y="96778"/>
                      </a:lnTo>
                      <a:lnTo>
                        <a:pt x="305917" y="96648"/>
                      </a:lnTo>
                      <a:lnTo>
                        <a:pt x="306854" y="95914"/>
                      </a:lnTo>
                      <a:lnTo>
                        <a:pt x="308255" y="96118"/>
                      </a:lnTo>
                      <a:lnTo>
                        <a:pt x="309421" y="95865"/>
                      </a:lnTo>
                      <a:lnTo>
                        <a:pt x="311727" y="96248"/>
                      </a:lnTo>
                      <a:lnTo>
                        <a:pt x="312999" y="96990"/>
                      </a:lnTo>
                      <a:lnTo>
                        <a:pt x="313031" y="101423"/>
                      </a:lnTo>
                      <a:lnTo>
                        <a:pt x="313064" y="105849"/>
                      </a:lnTo>
                      <a:lnTo>
                        <a:pt x="313105" y="110266"/>
                      </a:lnTo>
                      <a:lnTo>
                        <a:pt x="313137" y="114683"/>
                      </a:lnTo>
                      <a:lnTo>
                        <a:pt x="313137" y="118807"/>
                      </a:lnTo>
                      <a:lnTo>
                        <a:pt x="313129" y="122931"/>
                      </a:lnTo>
                      <a:lnTo>
                        <a:pt x="313129" y="127046"/>
                      </a:lnTo>
                      <a:lnTo>
                        <a:pt x="313121" y="131154"/>
                      </a:lnTo>
                      <a:lnTo>
                        <a:pt x="313113" y="135261"/>
                      </a:lnTo>
                      <a:lnTo>
                        <a:pt x="313113" y="139377"/>
                      </a:lnTo>
                      <a:lnTo>
                        <a:pt x="313105" y="143476"/>
                      </a:lnTo>
                      <a:lnTo>
                        <a:pt x="313096" y="147584"/>
                      </a:lnTo>
                      <a:lnTo>
                        <a:pt x="316527" y="151544"/>
                      </a:lnTo>
                      <a:lnTo>
                        <a:pt x="318002" y="154258"/>
                      </a:lnTo>
                      <a:lnTo>
                        <a:pt x="318467" y="155644"/>
                      </a:lnTo>
                      <a:lnTo>
                        <a:pt x="318622" y="160379"/>
                      </a:lnTo>
                      <a:lnTo>
                        <a:pt x="318964" y="161511"/>
                      </a:lnTo>
                      <a:lnTo>
                        <a:pt x="320676" y="163296"/>
                      </a:lnTo>
                      <a:lnTo>
                        <a:pt x="320716" y="164462"/>
                      </a:lnTo>
                      <a:lnTo>
                        <a:pt x="322509" y="167876"/>
                      </a:lnTo>
                      <a:lnTo>
                        <a:pt x="322460" y="169482"/>
                      </a:lnTo>
                      <a:lnTo>
                        <a:pt x="324164" y="173125"/>
                      </a:lnTo>
                      <a:lnTo>
                        <a:pt x="325134" y="174070"/>
                      </a:lnTo>
                      <a:lnTo>
                        <a:pt x="325297" y="176531"/>
                      </a:lnTo>
                      <a:lnTo>
                        <a:pt x="325810" y="178398"/>
                      </a:lnTo>
                      <a:lnTo>
                        <a:pt x="325019" y="179726"/>
                      </a:lnTo>
                      <a:lnTo>
                        <a:pt x="325354" y="181576"/>
                      </a:lnTo>
                      <a:lnTo>
                        <a:pt x="324865" y="183279"/>
                      </a:lnTo>
                      <a:lnTo>
                        <a:pt x="324604" y="185561"/>
                      </a:lnTo>
                      <a:lnTo>
                        <a:pt x="323471" y="189090"/>
                      </a:lnTo>
                      <a:lnTo>
                        <a:pt x="322469" y="190810"/>
                      </a:lnTo>
                      <a:lnTo>
                        <a:pt x="321099" y="194110"/>
                      </a:lnTo>
                      <a:lnTo>
                        <a:pt x="321230" y="196840"/>
                      </a:lnTo>
                      <a:lnTo>
                        <a:pt x="320448" y="199831"/>
                      </a:lnTo>
                      <a:lnTo>
                        <a:pt x="320350" y="200972"/>
                      </a:lnTo>
                      <a:lnTo>
                        <a:pt x="321083" y="202961"/>
                      </a:lnTo>
                      <a:lnTo>
                        <a:pt x="321336" y="208421"/>
                      </a:lnTo>
                      <a:lnTo>
                        <a:pt x="320937" y="209562"/>
                      </a:lnTo>
                      <a:lnTo>
                        <a:pt x="319274" y="212773"/>
                      </a:lnTo>
                      <a:lnTo>
                        <a:pt x="318092" y="212692"/>
                      </a:lnTo>
                      <a:lnTo>
                        <a:pt x="315493" y="217973"/>
                      </a:lnTo>
                      <a:lnTo>
                        <a:pt x="316976" y="220939"/>
                      </a:lnTo>
                      <a:lnTo>
                        <a:pt x="316951" y="222031"/>
                      </a:lnTo>
                      <a:lnTo>
                        <a:pt x="311768" y="222634"/>
                      </a:lnTo>
                      <a:lnTo>
                        <a:pt x="299992" y="228584"/>
                      </a:lnTo>
                      <a:lnTo>
                        <a:pt x="295403" y="231803"/>
                      </a:lnTo>
                      <a:lnTo>
                        <a:pt x="295632" y="230719"/>
                      </a:lnTo>
                      <a:lnTo>
                        <a:pt x="301190" y="226563"/>
                      </a:lnTo>
                      <a:lnTo>
                        <a:pt x="299234" y="225927"/>
                      </a:lnTo>
                      <a:lnTo>
                        <a:pt x="296072" y="226970"/>
                      </a:lnTo>
                      <a:lnTo>
                        <a:pt x="294939" y="226563"/>
                      </a:lnTo>
                      <a:lnTo>
                        <a:pt x="296275" y="223123"/>
                      </a:lnTo>
                      <a:lnTo>
                        <a:pt x="295843" y="220083"/>
                      </a:lnTo>
                      <a:lnTo>
                        <a:pt x="293602" y="220002"/>
                      </a:lnTo>
                      <a:lnTo>
                        <a:pt x="292168" y="222423"/>
                      </a:lnTo>
                      <a:lnTo>
                        <a:pt x="291174" y="222317"/>
                      </a:lnTo>
                      <a:lnTo>
                        <a:pt x="289878" y="221274"/>
                      </a:lnTo>
                      <a:lnTo>
                        <a:pt x="288867" y="221608"/>
                      </a:lnTo>
                      <a:lnTo>
                        <a:pt x="289609" y="227101"/>
                      </a:lnTo>
                      <a:lnTo>
                        <a:pt x="291019" y="229350"/>
                      </a:lnTo>
                      <a:lnTo>
                        <a:pt x="292200" y="232235"/>
                      </a:lnTo>
                      <a:lnTo>
                        <a:pt x="288973" y="235788"/>
                      </a:lnTo>
                      <a:lnTo>
                        <a:pt x="285982" y="238714"/>
                      </a:lnTo>
                      <a:lnTo>
                        <a:pt x="285656" y="241550"/>
                      </a:lnTo>
                      <a:lnTo>
                        <a:pt x="282641" y="245233"/>
                      </a:lnTo>
                      <a:lnTo>
                        <a:pt x="279813" y="247320"/>
                      </a:lnTo>
                      <a:lnTo>
                        <a:pt x="273163" y="252234"/>
                      </a:lnTo>
                      <a:lnTo>
                        <a:pt x="271264" y="253278"/>
                      </a:lnTo>
                      <a:lnTo>
                        <a:pt x="268265" y="255551"/>
                      </a:lnTo>
                      <a:lnTo>
                        <a:pt x="264125" y="257254"/>
                      </a:lnTo>
                      <a:lnTo>
                        <a:pt x="260156" y="259968"/>
                      </a:lnTo>
                      <a:lnTo>
                        <a:pt x="258811" y="260376"/>
                      </a:lnTo>
                      <a:lnTo>
                        <a:pt x="261354" y="258086"/>
                      </a:lnTo>
                      <a:lnTo>
                        <a:pt x="264353" y="255820"/>
                      </a:lnTo>
                      <a:lnTo>
                        <a:pt x="261778" y="256130"/>
                      </a:lnTo>
                      <a:lnTo>
                        <a:pt x="257800" y="255078"/>
                      </a:lnTo>
                      <a:lnTo>
                        <a:pt x="255364" y="255021"/>
                      </a:lnTo>
                      <a:lnTo>
                        <a:pt x="255347" y="255853"/>
                      </a:lnTo>
                      <a:lnTo>
                        <a:pt x="253497" y="257018"/>
                      </a:lnTo>
                      <a:lnTo>
                        <a:pt x="251582" y="255307"/>
                      </a:lnTo>
                      <a:lnTo>
                        <a:pt x="250743" y="254157"/>
                      </a:lnTo>
                      <a:lnTo>
                        <a:pt x="250352" y="253155"/>
                      </a:lnTo>
                      <a:lnTo>
                        <a:pt x="249537" y="252919"/>
                      </a:lnTo>
                      <a:lnTo>
                        <a:pt x="248754" y="253383"/>
                      </a:lnTo>
                      <a:lnTo>
                        <a:pt x="251615" y="260400"/>
                      </a:lnTo>
                      <a:lnTo>
                        <a:pt x="252837" y="260702"/>
                      </a:lnTo>
                      <a:lnTo>
                        <a:pt x="254182" y="261403"/>
                      </a:lnTo>
                      <a:lnTo>
                        <a:pt x="252503" y="263033"/>
                      </a:lnTo>
                      <a:lnTo>
                        <a:pt x="250686" y="264272"/>
                      </a:lnTo>
                      <a:lnTo>
                        <a:pt x="247841" y="265094"/>
                      </a:lnTo>
                      <a:lnTo>
                        <a:pt x="245429" y="262544"/>
                      </a:lnTo>
                      <a:lnTo>
                        <a:pt x="244908" y="265755"/>
                      </a:lnTo>
                      <a:lnTo>
                        <a:pt x="244598" y="268966"/>
                      </a:lnTo>
                      <a:lnTo>
                        <a:pt x="243791" y="269789"/>
                      </a:lnTo>
                      <a:lnTo>
                        <a:pt x="242495" y="270962"/>
                      </a:lnTo>
                      <a:lnTo>
                        <a:pt x="241794" y="270074"/>
                      </a:lnTo>
                      <a:lnTo>
                        <a:pt x="241460" y="268835"/>
                      </a:lnTo>
                      <a:lnTo>
                        <a:pt x="240637" y="269944"/>
                      </a:lnTo>
                      <a:lnTo>
                        <a:pt x="239431" y="270775"/>
                      </a:lnTo>
                      <a:lnTo>
                        <a:pt x="237426" y="270946"/>
                      </a:lnTo>
                      <a:lnTo>
                        <a:pt x="235927" y="271386"/>
                      </a:lnTo>
                      <a:lnTo>
                        <a:pt x="235959" y="272714"/>
                      </a:lnTo>
                      <a:lnTo>
                        <a:pt x="236301" y="274043"/>
                      </a:lnTo>
                      <a:lnTo>
                        <a:pt x="238958" y="273000"/>
                      </a:lnTo>
                      <a:lnTo>
                        <a:pt x="237997" y="276423"/>
                      </a:lnTo>
                      <a:lnTo>
                        <a:pt x="235560" y="279813"/>
                      </a:lnTo>
                      <a:lnTo>
                        <a:pt x="233571" y="280612"/>
                      </a:lnTo>
                      <a:lnTo>
                        <a:pt x="230532" y="280115"/>
                      </a:lnTo>
                      <a:lnTo>
                        <a:pt x="229782" y="280457"/>
                      </a:lnTo>
                      <a:lnTo>
                        <a:pt x="229105" y="281158"/>
                      </a:lnTo>
                      <a:lnTo>
                        <a:pt x="232650" y="286447"/>
                      </a:lnTo>
                      <a:lnTo>
                        <a:pt x="230377" y="294425"/>
                      </a:lnTo>
                      <a:lnTo>
                        <a:pt x="228918" y="297310"/>
                      </a:lnTo>
                      <a:lnTo>
                        <a:pt x="227907" y="297677"/>
                      </a:lnTo>
                      <a:lnTo>
                        <a:pt x="226815" y="297767"/>
                      </a:lnTo>
                      <a:lnTo>
                        <a:pt x="222887" y="295200"/>
                      </a:lnTo>
                      <a:lnTo>
                        <a:pt x="220744" y="293211"/>
                      </a:lnTo>
                      <a:lnTo>
                        <a:pt x="222626" y="298623"/>
                      </a:lnTo>
                      <a:lnTo>
                        <a:pt x="227769" y="300195"/>
                      </a:lnTo>
                      <a:lnTo>
                        <a:pt x="228029" y="302233"/>
                      </a:lnTo>
                      <a:lnTo>
                        <a:pt x="228005" y="303977"/>
                      </a:lnTo>
                      <a:lnTo>
                        <a:pt x="226986" y="306022"/>
                      </a:lnTo>
                      <a:lnTo>
                        <a:pt x="226041" y="308736"/>
                      </a:lnTo>
                      <a:lnTo>
                        <a:pt x="226742" y="310635"/>
                      </a:lnTo>
                      <a:lnTo>
                        <a:pt x="227549" y="315313"/>
                      </a:lnTo>
                      <a:lnTo>
                        <a:pt x="228241" y="317457"/>
                      </a:lnTo>
                      <a:lnTo>
                        <a:pt x="228999" y="323960"/>
                      </a:lnTo>
                      <a:lnTo>
                        <a:pt x="229822" y="326788"/>
                      </a:lnTo>
                      <a:lnTo>
                        <a:pt x="234492" y="337163"/>
                      </a:lnTo>
                      <a:lnTo>
                        <a:pt x="236065" y="337236"/>
                      </a:lnTo>
                      <a:lnTo>
                        <a:pt x="236318" y="338361"/>
                      </a:lnTo>
                      <a:lnTo>
                        <a:pt x="236171" y="340512"/>
                      </a:lnTo>
                      <a:lnTo>
                        <a:pt x="232805" y="341140"/>
                      </a:lnTo>
                      <a:lnTo>
                        <a:pt x="231403" y="342101"/>
                      </a:lnTo>
                      <a:lnTo>
                        <a:pt x="231126" y="342933"/>
                      </a:lnTo>
                      <a:lnTo>
                        <a:pt x="230915" y="343381"/>
                      </a:lnTo>
                      <a:lnTo>
                        <a:pt x="230483" y="343340"/>
                      </a:lnTo>
                      <a:lnTo>
                        <a:pt x="228877" y="342745"/>
                      </a:lnTo>
                      <a:lnTo>
                        <a:pt x="225234" y="339795"/>
                      </a:lnTo>
                      <a:lnTo>
                        <a:pt x="219921" y="337970"/>
                      </a:lnTo>
                      <a:lnTo>
                        <a:pt x="212944" y="337269"/>
                      </a:lnTo>
                      <a:lnTo>
                        <a:pt x="208177" y="335794"/>
                      </a:lnTo>
                      <a:lnTo>
                        <a:pt x="205626" y="333552"/>
                      </a:lnTo>
                      <a:lnTo>
                        <a:pt x="202953" y="332216"/>
                      </a:lnTo>
                      <a:lnTo>
                        <a:pt x="200157" y="331800"/>
                      </a:lnTo>
                      <a:lnTo>
                        <a:pt x="197851" y="330586"/>
                      </a:lnTo>
                      <a:lnTo>
                        <a:pt x="196017" y="328565"/>
                      </a:lnTo>
                      <a:lnTo>
                        <a:pt x="193344" y="327277"/>
                      </a:lnTo>
                      <a:lnTo>
                        <a:pt x="189815" y="326715"/>
                      </a:lnTo>
                      <a:lnTo>
                        <a:pt x="187517" y="325199"/>
                      </a:lnTo>
                      <a:lnTo>
                        <a:pt x="185920" y="321491"/>
                      </a:lnTo>
                      <a:lnTo>
                        <a:pt x="185920" y="321434"/>
                      </a:lnTo>
                      <a:lnTo>
                        <a:pt x="184494" y="315240"/>
                      </a:lnTo>
                      <a:lnTo>
                        <a:pt x="182693" y="311344"/>
                      </a:lnTo>
                      <a:lnTo>
                        <a:pt x="179188" y="306536"/>
                      </a:lnTo>
                      <a:lnTo>
                        <a:pt x="178862" y="305908"/>
                      </a:lnTo>
                      <a:lnTo>
                        <a:pt x="178862" y="305908"/>
                      </a:lnTo>
                      <a:lnTo>
                        <a:pt x="178838" y="305110"/>
                      </a:lnTo>
                      <a:lnTo>
                        <a:pt x="179270" y="302306"/>
                      </a:lnTo>
                      <a:lnTo>
                        <a:pt x="178895" y="300293"/>
                      </a:lnTo>
                      <a:lnTo>
                        <a:pt x="177795" y="298647"/>
                      </a:lnTo>
                      <a:lnTo>
                        <a:pt x="177534" y="296911"/>
                      </a:lnTo>
                      <a:lnTo>
                        <a:pt x="178137" y="295077"/>
                      </a:lnTo>
                      <a:lnTo>
                        <a:pt x="178178" y="292877"/>
                      </a:lnTo>
                      <a:lnTo>
                        <a:pt x="177656" y="290310"/>
                      </a:lnTo>
                      <a:lnTo>
                        <a:pt x="175423" y="287531"/>
                      </a:lnTo>
                      <a:lnTo>
                        <a:pt x="171479" y="284548"/>
                      </a:lnTo>
                      <a:lnTo>
                        <a:pt x="168121" y="280180"/>
                      </a:lnTo>
                      <a:lnTo>
                        <a:pt x="165350" y="274442"/>
                      </a:lnTo>
                      <a:lnTo>
                        <a:pt x="162603" y="270457"/>
                      </a:lnTo>
                      <a:lnTo>
                        <a:pt x="159898" y="268248"/>
                      </a:lnTo>
                      <a:lnTo>
                        <a:pt x="158040" y="265535"/>
                      </a:lnTo>
                      <a:lnTo>
                        <a:pt x="157045" y="262332"/>
                      </a:lnTo>
                      <a:lnTo>
                        <a:pt x="156744" y="260474"/>
                      </a:lnTo>
                      <a:lnTo>
                        <a:pt x="157151" y="259960"/>
                      </a:lnTo>
                      <a:lnTo>
                        <a:pt x="155481" y="256399"/>
                      </a:lnTo>
                      <a:lnTo>
                        <a:pt x="151748" y="249789"/>
                      </a:lnTo>
                      <a:lnTo>
                        <a:pt x="149597" y="244956"/>
                      </a:lnTo>
                      <a:lnTo>
                        <a:pt x="149042" y="241900"/>
                      </a:lnTo>
                      <a:lnTo>
                        <a:pt x="146663" y="238257"/>
                      </a:lnTo>
                      <a:lnTo>
                        <a:pt x="142457" y="234028"/>
                      </a:lnTo>
                      <a:lnTo>
                        <a:pt x="140167" y="231281"/>
                      </a:lnTo>
                      <a:lnTo>
                        <a:pt x="139613" y="229366"/>
                      </a:lnTo>
                      <a:lnTo>
                        <a:pt x="139605" y="229366"/>
                      </a:lnTo>
                      <a:lnTo>
                        <a:pt x="133044" y="223808"/>
                      </a:lnTo>
                      <a:lnTo>
                        <a:pt x="131145" y="220328"/>
                      </a:lnTo>
                      <a:lnTo>
                        <a:pt x="129654" y="219236"/>
                      </a:lnTo>
                      <a:lnTo>
                        <a:pt x="127943" y="219350"/>
                      </a:lnTo>
                      <a:lnTo>
                        <a:pt x="127071" y="219016"/>
                      </a:lnTo>
                      <a:lnTo>
                        <a:pt x="127030" y="218225"/>
                      </a:lnTo>
                      <a:lnTo>
                        <a:pt x="126476" y="218185"/>
                      </a:lnTo>
                      <a:lnTo>
                        <a:pt x="125416" y="218894"/>
                      </a:lnTo>
                      <a:lnTo>
                        <a:pt x="121928" y="219049"/>
                      </a:lnTo>
                      <a:lnTo>
                        <a:pt x="116011" y="218617"/>
                      </a:lnTo>
                      <a:lnTo>
                        <a:pt x="111741" y="217671"/>
                      </a:lnTo>
                      <a:lnTo>
                        <a:pt x="109117" y="216196"/>
                      </a:lnTo>
                      <a:lnTo>
                        <a:pt x="107275" y="216392"/>
                      </a:lnTo>
                      <a:lnTo>
                        <a:pt x="106215" y="218258"/>
                      </a:lnTo>
                      <a:lnTo>
                        <a:pt x="103974" y="219464"/>
                      </a:lnTo>
                      <a:lnTo>
                        <a:pt x="100535" y="220002"/>
                      </a:lnTo>
                      <a:lnTo>
                        <a:pt x="97577" y="223474"/>
                      </a:lnTo>
                      <a:lnTo>
                        <a:pt x="95099" y="229880"/>
                      </a:lnTo>
                      <a:lnTo>
                        <a:pt x="94007" y="233995"/>
                      </a:lnTo>
                      <a:lnTo>
                        <a:pt x="94309" y="235829"/>
                      </a:lnTo>
                      <a:lnTo>
                        <a:pt x="93657" y="237165"/>
                      </a:lnTo>
                      <a:lnTo>
                        <a:pt x="92051" y="237997"/>
                      </a:lnTo>
                      <a:lnTo>
                        <a:pt x="90413" y="239855"/>
                      </a:lnTo>
                      <a:lnTo>
                        <a:pt x="88742" y="242748"/>
                      </a:lnTo>
                      <a:lnTo>
                        <a:pt x="86803" y="244142"/>
                      </a:lnTo>
                      <a:lnTo>
                        <a:pt x="84586" y="244052"/>
                      </a:lnTo>
                      <a:lnTo>
                        <a:pt x="80487" y="241827"/>
                      </a:lnTo>
                      <a:lnTo>
                        <a:pt x="74513" y="237475"/>
                      </a:lnTo>
                      <a:lnTo>
                        <a:pt x="69827" y="234786"/>
                      </a:lnTo>
                      <a:lnTo>
                        <a:pt x="66428" y="233759"/>
                      </a:lnTo>
                      <a:lnTo>
                        <a:pt x="63429" y="231746"/>
                      </a:lnTo>
                      <a:lnTo>
                        <a:pt x="60830" y="228747"/>
                      </a:lnTo>
                      <a:lnTo>
                        <a:pt x="58434" y="226742"/>
                      </a:lnTo>
                      <a:lnTo>
                        <a:pt x="56241" y="225739"/>
                      </a:lnTo>
                      <a:lnTo>
                        <a:pt x="53682" y="222414"/>
                      </a:lnTo>
                      <a:lnTo>
                        <a:pt x="50748" y="216750"/>
                      </a:lnTo>
                      <a:lnTo>
                        <a:pt x="49281" y="212374"/>
                      </a:lnTo>
                      <a:lnTo>
                        <a:pt x="49281" y="207761"/>
                      </a:lnTo>
                      <a:lnTo>
                        <a:pt x="45443" y="197696"/>
                      </a:lnTo>
                      <a:lnTo>
                        <a:pt x="43414" y="193328"/>
                      </a:lnTo>
                      <a:lnTo>
                        <a:pt x="41898" y="191323"/>
                      </a:lnTo>
                      <a:lnTo>
                        <a:pt x="38939" y="188919"/>
                      </a:lnTo>
                      <a:lnTo>
                        <a:pt x="34530" y="186124"/>
                      </a:lnTo>
                      <a:lnTo>
                        <a:pt x="28622" y="180533"/>
                      </a:lnTo>
                      <a:lnTo>
                        <a:pt x="21214" y="172139"/>
                      </a:lnTo>
                      <a:lnTo>
                        <a:pt x="15973" y="167078"/>
                      </a:lnTo>
                      <a:lnTo>
                        <a:pt x="12901" y="165358"/>
                      </a:lnTo>
                      <a:lnTo>
                        <a:pt x="10228" y="162326"/>
                      </a:lnTo>
                      <a:lnTo>
                        <a:pt x="7970" y="157983"/>
                      </a:lnTo>
                      <a:lnTo>
                        <a:pt x="5762" y="155220"/>
                      </a:lnTo>
                      <a:lnTo>
                        <a:pt x="5534" y="155089"/>
                      </a:lnTo>
                      <a:lnTo>
                        <a:pt x="2526" y="153435"/>
                      </a:lnTo>
                      <a:lnTo>
                        <a:pt x="2526" y="153435"/>
                      </a:lnTo>
                      <a:lnTo>
                        <a:pt x="0" y="147559"/>
                      </a:lnTo>
                      <a:lnTo>
                        <a:pt x="147" y="147551"/>
                      </a:lnTo>
                      <a:lnTo>
                        <a:pt x="5721" y="147551"/>
                      </a:lnTo>
                      <a:lnTo>
                        <a:pt x="11296" y="147551"/>
                      </a:lnTo>
                      <a:lnTo>
                        <a:pt x="16878" y="147551"/>
                      </a:lnTo>
                      <a:lnTo>
                        <a:pt x="22452" y="147551"/>
                      </a:lnTo>
                      <a:lnTo>
                        <a:pt x="28035" y="147551"/>
                      </a:lnTo>
                      <a:lnTo>
                        <a:pt x="33609" y="147551"/>
                      </a:lnTo>
                      <a:lnTo>
                        <a:pt x="39184" y="147551"/>
                      </a:lnTo>
                      <a:lnTo>
                        <a:pt x="44766" y="147551"/>
                      </a:lnTo>
                      <a:lnTo>
                        <a:pt x="50333" y="147543"/>
                      </a:lnTo>
                      <a:lnTo>
                        <a:pt x="55915" y="147543"/>
                      </a:lnTo>
                      <a:lnTo>
                        <a:pt x="61490" y="147543"/>
                      </a:lnTo>
                      <a:lnTo>
                        <a:pt x="67064" y="147543"/>
                      </a:lnTo>
                      <a:lnTo>
                        <a:pt x="72647" y="147543"/>
                      </a:lnTo>
                      <a:lnTo>
                        <a:pt x="78221" y="147543"/>
                      </a:lnTo>
                      <a:lnTo>
                        <a:pt x="83796" y="147543"/>
                      </a:lnTo>
                      <a:lnTo>
                        <a:pt x="89370" y="147543"/>
                      </a:lnTo>
                      <a:lnTo>
                        <a:pt x="89403" y="138423"/>
                      </a:lnTo>
                      <a:lnTo>
                        <a:pt x="89435" y="129296"/>
                      </a:lnTo>
                      <a:lnTo>
                        <a:pt x="89476" y="120151"/>
                      </a:lnTo>
                      <a:lnTo>
                        <a:pt x="89509" y="110999"/>
                      </a:lnTo>
                      <a:lnTo>
                        <a:pt x="89549" y="101831"/>
                      </a:lnTo>
                      <a:lnTo>
                        <a:pt x="89590" y="92646"/>
                      </a:lnTo>
                      <a:lnTo>
                        <a:pt x="89623" y="83453"/>
                      </a:lnTo>
                      <a:lnTo>
                        <a:pt x="89663" y="74244"/>
                      </a:lnTo>
                      <a:lnTo>
                        <a:pt x="89696" y="65019"/>
                      </a:lnTo>
                      <a:lnTo>
                        <a:pt x="89729" y="55785"/>
                      </a:lnTo>
                      <a:lnTo>
                        <a:pt x="89761" y="46535"/>
                      </a:lnTo>
                      <a:lnTo>
                        <a:pt x="89802" y="37269"/>
                      </a:lnTo>
                      <a:lnTo>
                        <a:pt x="89834" y="27986"/>
                      </a:lnTo>
                      <a:lnTo>
                        <a:pt x="89867" y="18687"/>
                      </a:lnTo>
                      <a:lnTo>
                        <a:pt x="89908" y="9380"/>
                      </a:lnTo>
                      <a:lnTo>
                        <a:pt x="89940" y="49"/>
                      </a:lnTo>
                      <a:lnTo>
                        <a:pt x="90975" y="33"/>
                      </a:lnTo>
                      <a:lnTo>
                        <a:pt x="95661" y="33"/>
                      </a:lnTo>
                      <a:close/>
                    </a:path>
                  </a:pathLst>
                </a:custGeom>
                <a:solidFill>
                  <a:srgbClr val="D6D6D2"/>
                </a:solidFill>
                <a:ln w="6112" cap="rnd">
                  <a:solidFill>
                    <a:srgbClr val="FFFFFF"/>
                  </a:solidFill>
                  <a:prstDash val="solid"/>
                  <a:round/>
                </a:ln>
              </p:spPr>
              <p:txBody>
                <a:bodyPr rtlCol="0" anchor="ctr"/>
                <a:lstStyle/>
                <a:p>
                  <a:endParaRPr lang="en-US"/>
                </a:p>
              </p:txBody>
            </p:sp>
            <p:sp>
              <p:nvSpPr>
                <p:cNvPr id="433" name="Freeform: Shape 432">
                  <a:extLst>
                    <a:ext uri="{FF2B5EF4-FFF2-40B4-BE49-F238E27FC236}">
                      <a16:creationId xmlns:a16="http://schemas.microsoft.com/office/drawing/2014/main" id="{71B32EE2-ABA7-4BA9-B68D-64DCF24D1142}"/>
                    </a:ext>
                  </a:extLst>
                </p:cNvPr>
                <p:cNvSpPr/>
                <p:nvPr/>
              </p:nvSpPr>
              <p:spPr>
                <a:xfrm>
                  <a:off x="3704143" y="3386802"/>
                  <a:ext cx="214158" cy="56387"/>
                </a:xfrm>
                <a:custGeom>
                  <a:avLst/>
                  <a:gdLst>
                    <a:gd name="connsiteX0" fmla="*/ 60145 w 214158"/>
                    <a:gd name="connsiteY0" fmla="*/ 595 h 56387"/>
                    <a:gd name="connsiteX1" fmla="*/ 60879 w 214158"/>
                    <a:gd name="connsiteY1" fmla="*/ 1630 h 56387"/>
                    <a:gd name="connsiteX2" fmla="*/ 69134 w 214158"/>
                    <a:gd name="connsiteY2" fmla="*/ 1451 h 56387"/>
                    <a:gd name="connsiteX3" fmla="*/ 77390 w 214158"/>
                    <a:gd name="connsiteY3" fmla="*/ 1279 h 56387"/>
                    <a:gd name="connsiteX4" fmla="*/ 85654 w 214158"/>
                    <a:gd name="connsiteY4" fmla="*/ 1108 h 56387"/>
                    <a:gd name="connsiteX5" fmla="*/ 93901 w 214158"/>
                    <a:gd name="connsiteY5" fmla="*/ 937 h 56387"/>
                    <a:gd name="connsiteX6" fmla="*/ 102516 w 214158"/>
                    <a:gd name="connsiteY6" fmla="*/ 1255 h 56387"/>
                    <a:gd name="connsiteX7" fmla="*/ 111122 w 214158"/>
                    <a:gd name="connsiteY7" fmla="*/ 1581 h 56387"/>
                    <a:gd name="connsiteX8" fmla="*/ 119728 w 214158"/>
                    <a:gd name="connsiteY8" fmla="*/ 1907 h 56387"/>
                    <a:gd name="connsiteX9" fmla="*/ 128342 w 214158"/>
                    <a:gd name="connsiteY9" fmla="*/ 2233 h 56387"/>
                    <a:gd name="connsiteX10" fmla="*/ 136956 w 214158"/>
                    <a:gd name="connsiteY10" fmla="*/ 2551 h 56387"/>
                    <a:gd name="connsiteX11" fmla="*/ 145563 w 214158"/>
                    <a:gd name="connsiteY11" fmla="*/ 2877 h 56387"/>
                    <a:gd name="connsiteX12" fmla="*/ 154177 w 214158"/>
                    <a:gd name="connsiteY12" fmla="*/ 3203 h 56387"/>
                    <a:gd name="connsiteX13" fmla="*/ 162783 w 214158"/>
                    <a:gd name="connsiteY13" fmla="*/ 3521 h 56387"/>
                    <a:gd name="connsiteX14" fmla="*/ 162978 w 214158"/>
                    <a:gd name="connsiteY14" fmla="*/ 3447 h 56387"/>
                    <a:gd name="connsiteX15" fmla="*/ 163174 w 214158"/>
                    <a:gd name="connsiteY15" fmla="*/ 3374 h 56387"/>
                    <a:gd name="connsiteX16" fmla="*/ 163370 w 214158"/>
                    <a:gd name="connsiteY16" fmla="*/ 3301 h 56387"/>
                    <a:gd name="connsiteX17" fmla="*/ 163565 w 214158"/>
                    <a:gd name="connsiteY17" fmla="*/ 3227 h 56387"/>
                    <a:gd name="connsiteX18" fmla="*/ 163761 w 214158"/>
                    <a:gd name="connsiteY18" fmla="*/ 3146 h 56387"/>
                    <a:gd name="connsiteX19" fmla="*/ 163956 w 214158"/>
                    <a:gd name="connsiteY19" fmla="*/ 3081 h 56387"/>
                    <a:gd name="connsiteX20" fmla="*/ 164144 w 214158"/>
                    <a:gd name="connsiteY20" fmla="*/ 2999 h 56387"/>
                    <a:gd name="connsiteX21" fmla="*/ 164339 w 214158"/>
                    <a:gd name="connsiteY21" fmla="*/ 2917 h 56387"/>
                    <a:gd name="connsiteX22" fmla="*/ 169971 w 214158"/>
                    <a:gd name="connsiteY22" fmla="*/ 2950 h 56387"/>
                    <a:gd name="connsiteX23" fmla="*/ 181992 w 214158"/>
                    <a:gd name="connsiteY23" fmla="*/ 3015 h 56387"/>
                    <a:gd name="connsiteX24" fmla="*/ 190525 w 214158"/>
                    <a:gd name="connsiteY24" fmla="*/ 3064 h 56387"/>
                    <a:gd name="connsiteX25" fmla="*/ 197533 w 214158"/>
                    <a:gd name="connsiteY25" fmla="*/ 3097 h 56387"/>
                    <a:gd name="connsiteX26" fmla="*/ 201682 w 214158"/>
                    <a:gd name="connsiteY26" fmla="*/ 3129 h 56387"/>
                    <a:gd name="connsiteX27" fmla="*/ 206881 w 214158"/>
                    <a:gd name="connsiteY27" fmla="*/ 3154 h 56387"/>
                    <a:gd name="connsiteX28" fmla="*/ 208047 w 214158"/>
                    <a:gd name="connsiteY28" fmla="*/ 2469 h 56387"/>
                    <a:gd name="connsiteX29" fmla="*/ 210646 w 214158"/>
                    <a:gd name="connsiteY29" fmla="*/ 2583 h 56387"/>
                    <a:gd name="connsiteX30" fmla="*/ 214159 w 214158"/>
                    <a:gd name="connsiteY30" fmla="*/ 2738 h 56387"/>
                    <a:gd name="connsiteX31" fmla="*/ 213034 w 214158"/>
                    <a:gd name="connsiteY31" fmla="*/ 5289 h 56387"/>
                    <a:gd name="connsiteX32" fmla="*/ 212953 w 214158"/>
                    <a:gd name="connsiteY32" fmla="*/ 7009 h 56387"/>
                    <a:gd name="connsiteX33" fmla="*/ 212317 w 214158"/>
                    <a:gd name="connsiteY33" fmla="*/ 9535 h 56387"/>
                    <a:gd name="connsiteX34" fmla="*/ 212292 w 214158"/>
                    <a:gd name="connsiteY34" fmla="*/ 11206 h 56387"/>
                    <a:gd name="connsiteX35" fmla="*/ 210459 w 214158"/>
                    <a:gd name="connsiteY35" fmla="*/ 11295 h 56387"/>
                    <a:gd name="connsiteX36" fmla="*/ 209391 w 214158"/>
                    <a:gd name="connsiteY36" fmla="*/ 11727 h 56387"/>
                    <a:gd name="connsiteX37" fmla="*/ 207973 w 214158"/>
                    <a:gd name="connsiteY37" fmla="*/ 12828 h 56387"/>
                    <a:gd name="connsiteX38" fmla="*/ 204428 w 214158"/>
                    <a:gd name="connsiteY38" fmla="*/ 18916 h 56387"/>
                    <a:gd name="connsiteX39" fmla="*/ 203206 w 214158"/>
                    <a:gd name="connsiteY39" fmla="*/ 19453 h 56387"/>
                    <a:gd name="connsiteX40" fmla="*/ 201176 w 214158"/>
                    <a:gd name="connsiteY40" fmla="*/ 17889 h 56387"/>
                    <a:gd name="connsiteX41" fmla="*/ 198389 w 214158"/>
                    <a:gd name="connsiteY41" fmla="*/ 18549 h 56387"/>
                    <a:gd name="connsiteX42" fmla="*/ 196564 w 214158"/>
                    <a:gd name="connsiteY42" fmla="*/ 19690 h 56387"/>
                    <a:gd name="connsiteX43" fmla="*/ 193833 w 214158"/>
                    <a:gd name="connsiteY43" fmla="*/ 22648 h 56387"/>
                    <a:gd name="connsiteX44" fmla="*/ 192782 w 214158"/>
                    <a:gd name="connsiteY44" fmla="*/ 23602 h 56387"/>
                    <a:gd name="connsiteX45" fmla="*/ 191975 w 214158"/>
                    <a:gd name="connsiteY45" fmla="*/ 23944 h 56387"/>
                    <a:gd name="connsiteX46" fmla="*/ 191397 w 214158"/>
                    <a:gd name="connsiteY46" fmla="*/ 23903 h 56387"/>
                    <a:gd name="connsiteX47" fmla="*/ 191095 w 214158"/>
                    <a:gd name="connsiteY47" fmla="*/ 23422 h 56387"/>
                    <a:gd name="connsiteX48" fmla="*/ 190867 w 214158"/>
                    <a:gd name="connsiteY48" fmla="*/ 21939 h 56387"/>
                    <a:gd name="connsiteX49" fmla="*/ 190549 w 214158"/>
                    <a:gd name="connsiteY49" fmla="*/ 21417 h 56387"/>
                    <a:gd name="connsiteX50" fmla="*/ 189710 w 214158"/>
                    <a:gd name="connsiteY50" fmla="*/ 21434 h 56387"/>
                    <a:gd name="connsiteX51" fmla="*/ 188340 w 214158"/>
                    <a:gd name="connsiteY51" fmla="*/ 21988 h 56387"/>
                    <a:gd name="connsiteX52" fmla="*/ 186963 w 214158"/>
                    <a:gd name="connsiteY52" fmla="*/ 22982 h 56387"/>
                    <a:gd name="connsiteX53" fmla="*/ 185545 w 214158"/>
                    <a:gd name="connsiteY53" fmla="*/ 24726 h 56387"/>
                    <a:gd name="connsiteX54" fmla="*/ 183679 w 214158"/>
                    <a:gd name="connsiteY54" fmla="*/ 24580 h 56387"/>
                    <a:gd name="connsiteX55" fmla="*/ 183336 w 214158"/>
                    <a:gd name="connsiteY55" fmla="*/ 24995 h 56387"/>
                    <a:gd name="connsiteX56" fmla="*/ 182880 w 214158"/>
                    <a:gd name="connsiteY56" fmla="*/ 26992 h 56387"/>
                    <a:gd name="connsiteX57" fmla="*/ 182155 w 214158"/>
                    <a:gd name="connsiteY57" fmla="*/ 28459 h 56387"/>
                    <a:gd name="connsiteX58" fmla="*/ 181144 w 214158"/>
                    <a:gd name="connsiteY58" fmla="*/ 29575 h 56387"/>
                    <a:gd name="connsiteX59" fmla="*/ 177917 w 214158"/>
                    <a:gd name="connsiteY59" fmla="*/ 30431 h 56387"/>
                    <a:gd name="connsiteX60" fmla="*/ 173850 w 214158"/>
                    <a:gd name="connsiteY60" fmla="*/ 33495 h 56387"/>
                    <a:gd name="connsiteX61" fmla="*/ 168227 w 214158"/>
                    <a:gd name="connsiteY61" fmla="*/ 36731 h 56387"/>
                    <a:gd name="connsiteX62" fmla="*/ 162978 w 214158"/>
                    <a:gd name="connsiteY62" fmla="*/ 37529 h 56387"/>
                    <a:gd name="connsiteX63" fmla="*/ 160770 w 214158"/>
                    <a:gd name="connsiteY63" fmla="*/ 38181 h 56387"/>
                    <a:gd name="connsiteX64" fmla="*/ 159295 w 214158"/>
                    <a:gd name="connsiteY64" fmla="*/ 39013 h 56387"/>
                    <a:gd name="connsiteX65" fmla="*/ 156002 w 214158"/>
                    <a:gd name="connsiteY65" fmla="*/ 42346 h 56387"/>
                    <a:gd name="connsiteX66" fmla="*/ 154552 w 214158"/>
                    <a:gd name="connsiteY66" fmla="*/ 46567 h 56387"/>
                    <a:gd name="connsiteX67" fmla="*/ 152905 w 214158"/>
                    <a:gd name="connsiteY67" fmla="*/ 47383 h 56387"/>
                    <a:gd name="connsiteX68" fmla="*/ 150330 w 214158"/>
                    <a:gd name="connsiteY68" fmla="*/ 47407 h 56387"/>
                    <a:gd name="connsiteX69" fmla="*/ 149621 w 214158"/>
                    <a:gd name="connsiteY69" fmla="*/ 47774 h 56387"/>
                    <a:gd name="connsiteX70" fmla="*/ 148977 w 214158"/>
                    <a:gd name="connsiteY70" fmla="*/ 49371 h 56387"/>
                    <a:gd name="connsiteX71" fmla="*/ 148040 w 214158"/>
                    <a:gd name="connsiteY71" fmla="*/ 56388 h 56387"/>
                    <a:gd name="connsiteX72" fmla="*/ 139988 w 214158"/>
                    <a:gd name="connsiteY72" fmla="*/ 56274 h 56387"/>
                    <a:gd name="connsiteX73" fmla="*/ 131936 w 214158"/>
                    <a:gd name="connsiteY73" fmla="*/ 56176 h 56387"/>
                    <a:gd name="connsiteX74" fmla="*/ 123876 w 214158"/>
                    <a:gd name="connsiteY74" fmla="*/ 56062 h 56387"/>
                    <a:gd name="connsiteX75" fmla="*/ 115832 w 214158"/>
                    <a:gd name="connsiteY75" fmla="*/ 55956 h 56387"/>
                    <a:gd name="connsiteX76" fmla="*/ 111847 w 214158"/>
                    <a:gd name="connsiteY76" fmla="*/ 55907 h 56387"/>
                    <a:gd name="connsiteX77" fmla="*/ 107870 w 214158"/>
                    <a:gd name="connsiteY77" fmla="*/ 55866 h 56387"/>
                    <a:gd name="connsiteX78" fmla="*/ 103893 w 214158"/>
                    <a:gd name="connsiteY78" fmla="*/ 55809 h 56387"/>
                    <a:gd name="connsiteX79" fmla="*/ 99916 w 214158"/>
                    <a:gd name="connsiteY79" fmla="*/ 55760 h 56387"/>
                    <a:gd name="connsiteX80" fmla="*/ 95931 w 214158"/>
                    <a:gd name="connsiteY80" fmla="*/ 55712 h 56387"/>
                    <a:gd name="connsiteX81" fmla="*/ 91945 w 214158"/>
                    <a:gd name="connsiteY81" fmla="*/ 55663 h 56387"/>
                    <a:gd name="connsiteX82" fmla="*/ 87976 w 214158"/>
                    <a:gd name="connsiteY82" fmla="*/ 55614 h 56387"/>
                    <a:gd name="connsiteX83" fmla="*/ 83999 w 214158"/>
                    <a:gd name="connsiteY83" fmla="*/ 55565 h 56387"/>
                    <a:gd name="connsiteX84" fmla="*/ 80022 w 214158"/>
                    <a:gd name="connsiteY84" fmla="*/ 55508 h 56387"/>
                    <a:gd name="connsiteX85" fmla="*/ 76037 w 214158"/>
                    <a:gd name="connsiteY85" fmla="*/ 55459 h 56387"/>
                    <a:gd name="connsiteX86" fmla="*/ 72060 w 214158"/>
                    <a:gd name="connsiteY86" fmla="*/ 55410 h 56387"/>
                    <a:gd name="connsiteX87" fmla="*/ 68083 w 214158"/>
                    <a:gd name="connsiteY87" fmla="*/ 55369 h 56387"/>
                    <a:gd name="connsiteX88" fmla="*/ 64098 w 214158"/>
                    <a:gd name="connsiteY88" fmla="*/ 55312 h 56387"/>
                    <a:gd name="connsiteX89" fmla="*/ 60121 w 214158"/>
                    <a:gd name="connsiteY89" fmla="*/ 55263 h 56387"/>
                    <a:gd name="connsiteX90" fmla="*/ 56144 w 214158"/>
                    <a:gd name="connsiteY90" fmla="*/ 55214 h 56387"/>
                    <a:gd name="connsiteX91" fmla="*/ 52166 w 214158"/>
                    <a:gd name="connsiteY91" fmla="*/ 55166 h 56387"/>
                    <a:gd name="connsiteX92" fmla="*/ 51849 w 214158"/>
                    <a:gd name="connsiteY92" fmla="*/ 55190 h 56387"/>
                    <a:gd name="connsiteX93" fmla="*/ 52158 w 214158"/>
                    <a:gd name="connsiteY93" fmla="*/ 55597 h 56387"/>
                    <a:gd name="connsiteX94" fmla="*/ 52590 w 214158"/>
                    <a:gd name="connsiteY94" fmla="*/ 56021 h 56387"/>
                    <a:gd name="connsiteX95" fmla="*/ 45859 w 214158"/>
                    <a:gd name="connsiteY95" fmla="*/ 56021 h 56387"/>
                    <a:gd name="connsiteX96" fmla="*/ 39274 w 214158"/>
                    <a:gd name="connsiteY96" fmla="*/ 56013 h 56387"/>
                    <a:gd name="connsiteX97" fmla="*/ 32681 w 214158"/>
                    <a:gd name="connsiteY97" fmla="*/ 55997 h 56387"/>
                    <a:gd name="connsiteX98" fmla="*/ 26087 w 214158"/>
                    <a:gd name="connsiteY98" fmla="*/ 55989 h 56387"/>
                    <a:gd name="connsiteX99" fmla="*/ 19502 w 214158"/>
                    <a:gd name="connsiteY99" fmla="*/ 55980 h 56387"/>
                    <a:gd name="connsiteX100" fmla="*/ 12909 w 214158"/>
                    <a:gd name="connsiteY100" fmla="*/ 55972 h 56387"/>
                    <a:gd name="connsiteX101" fmla="*/ 6324 w 214158"/>
                    <a:gd name="connsiteY101" fmla="*/ 55956 h 56387"/>
                    <a:gd name="connsiteX102" fmla="*/ 0 w 214158"/>
                    <a:gd name="connsiteY102" fmla="*/ 55956 h 56387"/>
                    <a:gd name="connsiteX103" fmla="*/ 0 w 214158"/>
                    <a:gd name="connsiteY103" fmla="*/ 55842 h 56387"/>
                    <a:gd name="connsiteX104" fmla="*/ 937 w 214158"/>
                    <a:gd name="connsiteY104" fmla="*/ 54465 h 56387"/>
                    <a:gd name="connsiteX105" fmla="*/ 3757 w 214158"/>
                    <a:gd name="connsiteY105" fmla="*/ 52232 h 56387"/>
                    <a:gd name="connsiteX106" fmla="*/ 4980 w 214158"/>
                    <a:gd name="connsiteY106" fmla="*/ 49281 h 56387"/>
                    <a:gd name="connsiteX107" fmla="*/ 4605 w 214158"/>
                    <a:gd name="connsiteY107" fmla="*/ 45638 h 56387"/>
                    <a:gd name="connsiteX108" fmla="*/ 5648 w 214158"/>
                    <a:gd name="connsiteY108" fmla="*/ 42346 h 56387"/>
                    <a:gd name="connsiteX109" fmla="*/ 8093 w 214158"/>
                    <a:gd name="connsiteY109" fmla="*/ 39404 h 56387"/>
                    <a:gd name="connsiteX110" fmla="*/ 9103 w 214158"/>
                    <a:gd name="connsiteY110" fmla="*/ 36478 h 56387"/>
                    <a:gd name="connsiteX111" fmla="*/ 8688 w 214158"/>
                    <a:gd name="connsiteY111" fmla="*/ 33593 h 56387"/>
                    <a:gd name="connsiteX112" fmla="*/ 9902 w 214158"/>
                    <a:gd name="connsiteY112" fmla="*/ 31238 h 56387"/>
                    <a:gd name="connsiteX113" fmla="*/ 12746 w 214158"/>
                    <a:gd name="connsiteY113" fmla="*/ 29404 h 56387"/>
                    <a:gd name="connsiteX114" fmla="*/ 13146 w 214158"/>
                    <a:gd name="connsiteY114" fmla="*/ 28671 h 56387"/>
                    <a:gd name="connsiteX115" fmla="*/ 13031 w 214158"/>
                    <a:gd name="connsiteY115" fmla="*/ 28100 h 56387"/>
                    <a:gd name="connsiteX116" fmla="*/ 12991 w 214158"/>
                    <a:gd name="connsiteY116" fmla="*/ 27465 h 56387"/>
                    <a:gd name="connsiteX117" fmla="*/ 13015 w 214158"/>
                    <a:gd name="connsiteY117" fmla="*/ 27212 h 56387"/>
                    <a:gd name="connsiteX118" fmla="*/ 13146 w 214158"/>
                    <a:gd name="connsiteY118" fmla="*/ 26666 h 56387"/>
                    <a:gd name="connsiteX119" fmla="*/ 13773 w 214158"/>
                    <a:gd name="connsiteY119" fmla="*/ 26340 h 56387"/>
                    <a:gd name="connsiteX120" fmla="*/ 14637 w 214158"/>
                    <a:gd name="connsiteY120" fmla="*/ 26063 h 56387"/>
                    <a:gd name="connsiteX121" fmla="*/ 15004 w 214158"/>
                    <a:gd name="connsiteY121" fmla="*/ 25598 h 56387"/>
                    <a:gd name="connsiteX122" fmla="*/ 14996 w 214158"/>
                    <a:gd name="connsiteY122" fmla="*/ 24849 h 56387"/>
                    <a:gd name="connsiteX123" fmla="*/ 14490 w 214158"/>
                    <a:gd name="connsiteY123" fmla="*/ 23545 h 56387"/>
                    <a:gd name="connsiteX124" fmla="*/ 14605 w 214158"/>
                    <a:gd name="connsiteY124" fmla="*/ 22933 h 56387"/>
                    <a:gd name="connsiteX125" fmla="*/ 14784 w 214158"/>
                    <a:gd name="connsiteY125" fmla="*/ 21980 h 56387"/>
                    <a:gd name="connsiteX126" fmla="*/ 16169 w 214158"/>
                    <a:gd name="connsiteY126" fmla="*/ 19519 h 56387"/>
                    <a:gd name="connsiteX127" fmla="*/ 16365 w 214158"/>
                    <a:gd name="connsiteY127" fmla="*/ 17416 h 56387"/>
                    <a:gd name="connsiteX128" fmla="*/ 15354 w 214158"/>
                    <a:gd name="connsiteY128" fmla="*/ 15672 h 56387"/>
                    <a:gd name="connsiteX129" fmla="*/ 15868 w 214158"/>
                    <a:gd name="connsiteY129" fmla="*/ 14767 h 56387"/>
                    <a:gd name="connsiteX130" fmla="*/ 16511 w 214158"/>
                    <a:gd name="connsiteY130" fmla="*/ 14523 h 56387"/>
                    <a:gd name="connsiteX131" fmla="*/ 17343 w 214158"/>
                    <a:gd name="connsiteY131" fmla="*/ 14392 h 56387"/>
                    <a:gd name="connsiteX132" fmla="*/ 17612 w 214158"/>
                    <a:gd name="connsiteY132" fmla="*/ 13960 h 56387"/>
                    <a:gd name="connsiteX133" fmla="*/ 17612 w 214158"/>
                    <a:gd name="connsiteY133" fmla="*/ 13447 h 56387"/>
                    <a:gd name="connsiteX134" fmla="*/ 16911 w 214158"/>
                    <a:gd name="connsiteY134" fmla="*/ 12314 h 56387"/>
                    <a:gd name="connsiteX135" fmla="*/ 17106 w 214158"/>
                    <a:gd name="connsiteY135" fmla="*/ 11320 h 56387"/>
                    <a:gd name="connsiteX136" fmla="*/ 18313 w 214158"/>
                    <a:gd name="connsiteY136" fmla="*/ 10627 h 56387"/>
                    <a:gd name="connsiteX137" fmla="*/ 18679 w 214158"/>
                    <a:gd name="connsiteY137" fmla="*/ 8842 h 56387"/>
                    <a:gd name="connsiteX138" fmla="*/ 18264 w 214158"/>
                    <a:gd name="connsiteY138" fmla="*/ 6373 h 56387"/>
                    <a:gd name="connsiteX139" fmla="*/ 20008 w 214158"/>
                    <a:gd name="connsiteY139" fmla="*/ 6308 h 56387"/>
                    <a:gd name="connsiteX140" fmla="*/ 20049 w 214158"/>
                    <a:gd name="connsiteY140" fmla="*/ 6471 h 56387"/>
                    <a:gd name="connsiteX141" fmla="*/ 20391 w 214158"/>
                    <a:gd name="connsiteY141" fmla="*/ 6781 h 56387"/>
                    <a:gd name="connsiteX142" fmla="*/ 20880 w 214158"/>
                    <a:gd name="connsiteY142" fmla="*/ 6487 h 56387"/>
                    <a:gd name="connsiteX143" fmla="*/ 20912 w 214158"/>
                    <a:gd name="connsiteY143" fmla="*/ 6406 h 56387"/>
                    <a:gd name="connsiteX144" fmla="*/ 25843 w 214158"/>
                    <a:gd name="connsiteY144" fmla="*/ 6414 h 56387"/>
                    <a:gd name="connsiteX145" fmla="*/ 30130 w 214158"/>
                    <a:gd name="connsiteY145" fmla="*/ 6414 h 56387"/>
                    <a:gd name="connsiteX146" fmla="*/ 34400 w 214158"/>
                    <a:gd name="connsiteY146" fmla="*/ 6414 h 56387"/>
                    <a:gd name="connsiteX147" fmla="*/ 38695 w 214158"/>
                    <a:gd name="connsiteY147" fmla="*/ 6414 h 56387"/>
                    <a:gd name="connsiteX148" fmla="*/ 42982 w 214158"/>
                    <a:gd name="connsiteY148" fmla="*/ 6414 h 56387"/>
                    <a:gd name="connsiteX149" fmla="*/ 47260 w 214158"/>
                    <a:gd name="connsiteY149" fmla="*/ 6414 h 56387"/>
                    <a:gd name="connsiteX150" fmla="*/ 51539 w 214158"/>
                    <a:gd name="connsiteY150" fmla="*/ 6414 h 56387"/>
                    <a:gd name="connsiteX151" fmla="*/ 55427 w 214158"/>
                    <a:gd name="connsiteY151" fmla="*/ 6422 h 56387"/>
                    <a:gd name="connsiteX152" fmla="*/ 55500 w 214158"/>
                    <a:gd name="connsiteY152" fmla="*/ 6373 h 56387"/>
                    <a:gd name="connsiteX153" fmla="*/ 55475 w 214158"/>
                    <a:gd name="connsiteY153" fmla="*/ 3407 h 56387"/>
                    <a:gd name="connsiteX154" fmla="*/ 54497 w 214158"/>
                    <a:gd name="connsiteY154" fmla="*/ 0 h 56387"/>
                    <a:gd name="connsiteX155" fmla="*/ 54628 w 214158"/>
                    <a:gd name="connsiteY155" fmla="*/ 8 h 56387"/>
                    <a:gd name="connsiteX156" fmla="*/ 57969 w 214158"/>
                    <a:gd name="connsiteY156" fmla="*/ 367 h 56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214158" h="56387">
                      <a:moveTo>
                        <a:pt x="60145" y="595"/>
                      </a:moveTo>
                      <a:lnTo>
                        <a:pt x="60879" y="1630"/>
                      </a:lnTo>
                      <a:lnTo>
                        <a:pt x="69134" y="1451"/>
                      </a:lnTo>
                      <a:lnTo>
                        <a:pt x="77390" y="1279"/>
                      </a:lnTo>
                      <a:lnTo>
                        <a:pt x="85654" y="1108"/>
                      </a:lnTo>
                      <a:lnTo>
                        <a:pt x="93901" y="937"/>
                      </a:lnTo>
                      <a:lnTo>
                        <a:pt x="102516" y="1255"/>
                      </a:lnTo>
                      <a:lnTo>
                        <a:pt x="111122" y="1581"/>
                      </a:lnTo>
                      <a:lnTo>
                        <a:pt x="119728" y="1907"/>
                      </a:lnTo>
                      <a:lnTo>
                        <a:pt x="128342" y="2233"/>
                      </a:lnTo>
                      <a:lnTo>
                        <a:pt x="136956" y="2551"/>
                      </a:lnTo>
                      <a:lnTo>
                        <a:pt x="145563" y="2877"/>
                      </a:lnTo>
                      <a:lnTo>
                        <a:pt x="154177" y="3203"/>
                      </a:lnTo>
                      <a:lnTo>
                        <a:pt x="162783" y="3521"/>
                      </a:lnTo>
                      <a:lnTo>
                        <a:pt x="162978" y="3447"/>
                      </a:lnTo>
                      <a:lnTo>
                        <a:pt x="163174" y="3374"/>
                      </a:lnTo>
                      <a:lnTo>
                        <a:pt x="163370" y="3301"/>
                      </a:lnTo>
                      <a:lnTo>
                        <a:pt x="163565" y="3227"/>
                      </a:lnTo>
                      <a:lnTo>
                        <a:pt x="163761" y="3146"/>
                      </a:lnTo>
                      <a:lnTo>
                        <a:pt x="163956" y="3081"/>
                      </a:lnTo>
                      <a:lnTo>
                        <a:pt x="164144" y="2999"/>
                      </a:lnTo>
                      <a:lnTo>
                        <a:pt x="164339" y="2917"/>
                      </a:lnTo>
                      <a:lnTo>
                        <a:pt x="169971" y="2950"/>
                      </a:lnTo>
                      <a:lnTo>
                        <a:pt x="181992" y="3015"/>
                      </a:lnTo>
                      <a:lnTo>
                        <a:pt x="190525" y="3064"/>
                      </a:lnTo>
                      <a:lnTo>
                        <a:pt x="197533" y="3097"/>
                      </a:lnTo>
                      <a:lnTo>
                        <a:pt x="201682" y="3129"/>
                      </a:lnTo>
                      <a:lnTo>
                        <a:pt x="206881" y="3154"/>
                      </a:lnTo>
                      <a:lnTo>
                        <a:pt x="208047" y="2469"/>
                      </a:lnTo>
                      <a:lnTo>
                        <a:pt x="210646" y="2583"/>
                      </a:lnTo>
                      <a:lnTo>
                        <a:pt x="214159" y="2738"/>
                      </a:lnTo>
                      <a:lnTo>
                        <a:pt x="213034" y="5289"/>
                      </a:lnTo>
                      <a:lnTo>
                        <a:pt x="212953" y="7009"/>
                      </a:lnTo>
                      <a:lnTo>
                        <a:pt x="212317" y="9535"/>
                      </a:lnTo>
                      <a:lnTo>
                        <a:pt x="212292" y="11206"/>
                      </a:lnTo>
                      <a:lnTo>
                        <a:pt x="210459" y="11295"/>
                      </a:lnTo>
                      <a:lnTo>
                        <a:pt x="209391" y="11727"/>
                      </a:lnTo>
                      <a:lnTo>
                        <a:pt x="207973" y="12828"/>
                      </a:lnTo>
                      <a:lnTo>
                        <a:pt x="204428" y="18916"/>
                      </a:lnTo>
                      <a:lnTo>
                        <a:pt x="203206" y="19453"/>
                      </a:lnTo>
                      <a:lnTo>
                        <a:pt x="201176" y="17889"/>
                      </a:lnTo>
                      <a:lnTo>
                        <a:pt x="198389" y="18549"/>
                      </a:lnTo>
                      <a:lnTo>
                        <a:pt x="196564" y="19690"/>
                      </a:lnTo>
                      <a:lnTo>
                        <a:pt x="193833" y="22648"/>
                      </a:lnTo>
                      <a:lnTo>
                        <a:pt x="192782" y="23602"/>
                      </a:lnTo>
                      <a:lnTo>
                        <a:pt x="191975" y="23944"/>
                      </a:lnTo>
                      <a:lnTo>
                        <a:pt x="191397" y="23903"/>
                      </a:lnTo>
                      <a:lnTo>
                        <a:pt x="191095" y="23422"/>
                      </a:lnTo>
                      <a:lnTo>
                        <a:pt x="190867" y="21939"/>
                      </a:lnTo>
                      <a:lnTo>
                        <a:pt x="190549" y="21417"/>
                      </a:lnTo>
                      <a:lnTo>
                        <a:pt x="189710" y="21434"/>
                      </a:lnTo>
                      <a:lnTo>
                        <a:pt x="188340" y="21988"/>
                      </a:lnTo>
                      <a:lnTo>
                        <a:pt x="186963" y="22982"/>
                      </a:lnTo>
                      <a:lnTo>
                        <a:pt x="185545" y="24726"/>
                      </a:lnTo>
                      <a:lnTo>
                        <a:pt x="183679" y="24580"/>
                      </a:lnTo>
                      <a:lnTo>
                        <a:pt x="183336" y="24995"/>
                      </a:lnTo>
                      <a:lnTo>
                        <a:pt x="182880" y="26992"/>
                      </a:lnTo>
                      <a:lnTo>
                        <a:pt x="182155" y="28459"/>
                      </a:lnTo>
                      <a:lnTo>
                        <a:pt x="181144" y="29575"/>
                      </a:lnTo>
                      <a:lnTo>
                        <a:pt x="177917" y="30431"/>
                      </a:lnTo>
                      <a:lnTo>
                        <a:pt x="173850" y="33495"/>
                      </a:lnTo>
                      <a:lnTo>
                        <a:pt x="168227" y="36731"/>
                      </a:lnTo>
                      <a:lnTo>
                        <a:pt x="162978" y="37529"/>
                      </a:lnTo>
                      <a:lnTo>
                        <a:pt x="160770" y="38181"/>
                      </a:lnTo>
                      <a:lnTo>
                        <a:pt x="159295" y="39013"/>
                      </a:lnTo>
                      <a:lnTo>
                        <a:pt x="156002" y="42346"/>
                      </a:lnTo>
                      <a:lnTo>
                        <a:pt x="154552" y="46567"/>
                      </a:lnTo>
                      <a:lnTo>
                        <a:pt x="152905" y="47383"/>
                      </a:lnTo>
                      <a:lnTo>
                        <a:pt x="150330" y="47407"/>
                      </a:lnTo>
                      <a:lnTo>
                        <a:pt x="149621" y="47774"/>
                      </a:lnTo>
                      <a:lnTo>
                        <a:pt x="148977" y="49371"/>
                      </a:lnTo>
                      <a:lnTo>
                        <a:pt x="148040" y="56388"/>
                      </a:lnTo>
                      <a:lnTo>
                        <a:pt x="139988" y="56274"/>
                      </a:lnTo>
                      <a:lnTo>
                        <a:pt x="131936" y="56176"/>
                      </a:lnTo>
                      <a:lnTo>
                        <a:pt x="123876" y="56062"/>
                      </a:lnTo>
                      <a:lnTo>
                        <a:pt x="115832" y="55956"/>
                      </a:lnTo>
                      <a:lnTo>
                        <a:pt x="111847" y="55907"/>
                      </a:lnTo>
                      <a:lnTo>
                        <a:pt x="107870" y="55866"/>
                      </a:lnTo>
                      <a:lnTo>
                        <a:pt x="103893" y="55809"/>
                      </a:lnTo>
                      <a:lnTo>
                        <a:pt x="99916" y="55760"/>
                      </a:lnTo>
                      <a:lnTo>
                        <a:pt x="95931" y="55712"/>
                      </a:lnTo>
                      <a:lnTo>
                        <a:pt x="91945" y="55663"/>
                      </a:lnTo>
                      <a:lnTo>
                        <a:pt x="87976" y="55614"/>
                      </a:lnTo>
                      <a:lnTo>
                        <a:pt x="83999" y="55565"/>
                      </a:lnTo>
                      <a:lnTo>
                        <a:pt x="80022" y="55508"/>
                      </a:lnTo>
                      <a:lnTo>
                        <a:pt x="76037" y="55459"/>
                      </a:lnTo>
                      <a:lnTo>
                        <a:pt x="72060" y="55410"/>
                      </a:lnTo>
                      <a:lnTo>
                        <a:pt x="68083" y="55369"/>
                      </a:lnTo>
                      <a:lnTo>
                        <a:pt x="64098" y="55312"/>
                      </a:lnTo>
                      <a:lnTo>
                        <a:pt x="60121" y="55263"/>
                      </a:lnTo>
                      <a:lnTo>
                        <a:pt x="56144" y="55214"/>
                      </a:lnTo>
                      <a:lnTo>
                        <a:pt x="52166" y="55166"/>
                      </a:lnTo>
                      <a:lnTo>
                        <a:pt x="51849" y="55190"/>
                      </a:lnTo>
                      <a:lnTo>
                        <a:pt x="52158" y="55597"/>
                      </a:lnTo>
                      <a:lnTo>
                        <a:pt x="52590" y="56021"/>
                      </a:lnTo>
                      <a:lnTo>
                        <a:pt x="45859" y="56021"/>
                      </a:lnTo>
                      <a:lnTo>
                        <a:pt x="39274" y="56013"/>
                      </a:lnTo>
                      <a:lnTo>
                        <a:pt x="32681" y="55997"/>
                      </a:lnTo>
                      <a:lnTo>
                        <a:pt x="26087" y="55989"/>
                      </a:lnTo>
                      <a:lnTo>
                        <a:pt x="19502" y="55980"/>
                      </a:lnTo>
                      <a:lnTo>
                        <a:pt x="12909" y="55972"/>
                      </a:lnTo>
                      <a:lnTo>
                        <a:pt x="6324" y="55956"/>
                      </a:lnTo>
                      <a:lnTo>
                        <a:pt x="0" y="55956"/>
                      </a:lnTo>
                      <a:lnTo>
                        <a:pt x="0" y="55842"/>
                      </a:lnTo>
                      <a:lnTo>
                        <a:pt x="937" y="54465"/>
                      </a:lnTo>
                      <a:lnTo>
                        <a:pt x="3757" y="52232"/>
                      </a:lnTo>
                      <a:lnTo>
                        <a:pt x="4980" y="49281"/>
                      </a:lnTo>
                      <a:lnTo>
                        <a:pt x="4605" y="45638"/>
                      </a:lnTo>
                      <a:lnTo>
                        <a:pt x="5648" y="42346"/>
                      </a:lnTo>
                      <a:lnTo>
                        <a:pt x="8093" y="39404"/>
                      </a:lnTo>
                      <a:lnTo>
                        <a:pt x="9103" y="36478"/>
                      </a:lnTo>
                      <a:lnTo>
                        <a:pt x="8688" y="33593"/>
                      </a:lnTo>
                      <a:lnTo>
                        <a:pt x="9902" y="31238"/>
                      </a:lnTo>
                      <a:lnTo>
                        <a:pt x="12746" y="29404"/>
                      </a:lnTo>
                      <a:lnTo>
                        <a:pt x="13146" y="28671"/>
                      </a:lnTo>
                      <a:lnTo>
                        <a:pt x="13031" y="28100"/>
                      </a:lnTo>
                      <a:lnTo>
                        <a:pt x="12991" y="27465"/>
                      </a:lnTo>
                      <a:lnTo>
                        <a:pt x="13015" y="27212"/>
                      </a:lnTo>
                      <a:lnTo>
                        <a:pt x="13146" y="26666"/>
                      </a:lnTo>
                      <a:lnTo>
                        <a:pt x="13773" y="26340"/>
                      </a:lnTo>
                      <a:lnTo>
                        <a:pt x="14637" y="26063"/>
                      </a:lnTo>
                      <a:lnTo>
                        <a:pt x="15004" y="25598"/>
                      </a:lnTo>
                      <a:lnTo>
                        <a:pt x="14996" y="24849"/>
                      </a:lnTo>
                      <a:lnTo>
                        <a:pt x="14490" y="23545"/>
                      </a:lnTo>
                      <a:lnTo>
                        <a:pt x="14605" y="22933"/>
                      </a:lnTo>
                      <a:lnTo>
                        <a:pt x="14784" y="21980"/>
                      </a:lnTo>
                      <a:lnTo>
                        <a:pt x="16169" y="19519"/>
                      </a:lnTo>
                      <a:lnTo>
                        <a:pt x="16365" y="17416"/>
                      </a:lnTo>
                      <a:lnTo>
                        <a:pt x="15354" y="15672"/>
                      </a:lnTo>
                      <a:lnTo>
                        <a:pt x="15868" y="14767"/>
                      </a:lnTo>
                      <a:lnTo>
                        <a:pt x="16511" y="14523"/>
                      </a:lnTo>
                      <a:lnTo>
                        <a:pt x="17343" y="14392"/>
                      </a:lnTo>
                      <a:lnTo>
                        <a:pt x="17612" y="13960"/>
                      </a:lnTo>
                      <a:lnTo>
                        <a:pt x="17612" y="13447"/>
                      </a:lnTo>
                      <a:lnTo>
                        <a:pt x="16911" y="12314"/>
                      </a:lnTo>
                      <a:lnTo>
                        <a:pt x="17106" y="11320"/>
                      </a:lnTo>
                      <a:lnTo>
                        <a:pt x="18313" y="10627"/>
                      </a:lnTo>
                      <a:lnTo>
                        <a:pt x="18679" y="8842"/>
                      </a:lnTo>
                      <a:lnTo>
                        <a:pt x="18264" y="6373"/>
                      </a:lnTo>
                      <a:lnTo>
                        <a:pt x="20008" y="6308"/>
                      </a:lnTo>
                      <a:lnTo>
                        <a:pt x="20049" y="6471"/>
                      </a:lnTo>
                      <a:lnTo>
                        <a:pt x="20391" y="6781"/>
                      </a:lnTo>
                      <a:lnTo>
                        <a:pt x="20880" y="6487"/>
                      </a:lnTo>
                      <a:lnTo>
                        <a:pt x="20912" y="6406"/>
                      </a:lnTo>
                      <a:lnTo>
                        <a:pt x="25843" y="6414"/>
                      </a:lnTo>
                      <a:lnTo>
                        <a:pt x="30130" y="6414"/>
                      </a:lnTo>
                      <a:lnTo>
                        <a:pt x="34400" y="6414"/>
                      </a:lnTo>
                      <a:lnTo>
                        <a:pt x="38695" y="6414"/>
                      </a:lnTo>
                      <a:lnTo>
                        <a:pt x="42982" y="6414"/>
                      </a:lnTo>
                      <a:lnTo>
                        <a:pt x="47260" y="6414"/>
                      </a:lnTo>
                      <a:lnTo>
                        <a:pt x="51539" y="6414"/>
                      </a:lnTo>
                      <a:lnTo>
                        <a:pt x="55427" y="6422"/>
                      </a:lnTo>
                      <a:lnTo>
                        <a:pt x="55500" y="6373"/>
                      </a:lnTo>
                      <a:lnTo>
                        <a:pt x="55475" y="3407"/>
                      </a:lnTo>
                      <a:lnTo>
                        <a:pt x="54497" y="0"/>
                      </a:lnTo>
                      <a:lnTo>
                        <a:pt x="54628" y="8"/>
                      </a:lnTo>
                      <a:lnTo>
                        <a:pt x="57969" y="367"/>
                      </a:lnTo>
                      <a:close/>
                    </a:path>
                  </a:pathLst>
                </a:custGeom>
                <a:solidFill>
                  <a:srgbClr val="D6D6D2"/>
                </a:solidFill>
                <a:ln w="6112" cap="rnd">
                  <a:solidFill>
                    <a:srgbClr val="FFFFFF"/>
                  </a:solidFill>
                  <a:prstDash val="solid"/>
                  <a:round/>
                </a:ln>
              </p:spPr>
              <p:txBody>
                <a:bodyPr rtlCol="0" anchor="ctr"/>
                <a:lstStyle/>
                <a:p>
                  <a:endParaRPr lang="en-US"/>
                </a:p>
              </p:txBody>
            </p:sp>
            <p:sp>
              <p:nvSpPr>
                <p:cNvPr id="434" name="Freeform: Shape 433">
                  <a:extLst>
                    <a:ext uri="{FF2B5EF4-FFF2-40B4-BE49-F238E27FC236}">
                      <a16:creationId xmlns:a16="http://schemas.microsoft.com/office/drawing/2014/main" id="{7C38FAD2-AD43-419C-923A-C7037C91ABBF}"/>
                    </a:ext>
                  </a:extLst>
                </p:cNvPr>
                <p:cNvSpPr/>
                <p:nvPr/>
              </p:nvSpPr>
              <p:spPr>
                <a:xfrm>
                  <a:off x="3876216" y="3435847"/>
                  <a:ext cx="118847" cy="103949"/>
                </a:xfrm>
                <a:custGeom>
                  <a:avLst/>
                  <a:gdLst>
                    <a:gd name="connsiteX0" fmla="*/ 57162 w 118847"/>
                    <a:gd name="connsiteY0" fmla="*/ 4010 h 103949"/>
                    <a:gd name="connsiteX1" fmla="*/ 57309 w 118847"/>
                    <a:gd name="connsiteY1" fmla="*/ 4784 h 103949"/>
                    <a:gd name="connsiteX2" fmla="*/ 60080 w 118847"/>
                    <a:gd name="connsiteY2" fmla="*/ 3203 h 103949"/>
                    <a:gd name="connsiteX3" fmla="*/ 61367 w 118847"/>
                    <a:gd name="connsiteY3" fmla="*/ 5037 h 103949"/>
                    <a:gd name="connsiteX4" fmla="*/ 63568 w 118847"/>
                    <a:gd name="connsiteY4" fmla="*/ 8174 h 103949"/>
                    <a:gd name="connsiteX5" fmla="*/ 63658 w 118847"/>
                    <a:gd name="connsiteY5" fmla="*/ 10000 h 103949"/>
                    <a:gd name="connsiteX6" fmla="*/ 63788 w 118847"/>
                    <a:gd name="connsiteY6" fmla="*/ 12583 h 103949"/>
                    <a:gd name="connsiteX7" fmla="*/ 67292 w 118847"/>
                    <a:gd name="connsiteY7" fmla="*/ 12722 h 103949"/>
                    <a:gd name="connsiteX8" fmla="*/ 70797 w 118847"/>
                    <a:gd name="connsiteY8" fmla="*/ 12844 h 103949"/>
                    <a:gd name="connsiteX9" fmla="*/ 74301 w 118847"/>
                    <a:gd name="connsiteY9" fmla="*/ 12966 h 103949"/>
                    <a:gd name="connsiteX10" fmla="*/ 77805 w 118847"/>
                    <a:gd name="connsiteY10" fmla="*/ 13105 h 103949"/>
                    <a:gd name="connsiteX11" fmla="*/ 81310 w 118847"/>
                    <a:gd name="connsiteY11" fmla="*/ 13235 h 103949"/>
                    <a:gd name="connsiteX12" fmla="*/ 84814 w 118847"/>
                    <a:gd name="connsiteY12" fmla="*/ 13366 h 103949"/>
                    <a:gd name="connsiteX13" fmla="*/ 88319 w 118847"/>
                    <a:gd name="connsiteY13" fmla="*/ 13496 h 103949"/>
                    <a:gd name="connsiteX14" fmla="*/ 91823 w 118847"/>
                    <a:gd name="connsiteY14" fmla="*/ 13635 h 103949"/>
                    <a:gd name="connsiteX15" fmla="*/ 95173 w 118847"/>
                    <a:gd name="connsiteY15" fmla="*/ 17375 h 103949"/>
                    <a:gd name="connsiteX16" fmla="*/ 98522 w 118847"/>
                    <a:gd name="connsiteY16" fmla="*/ 21132 h 103949"/>
                    <a:gd name="connsiteX17" fmla="*/ 101872 w 118847"/>
                    <a:gd name="connsiteY17" fmla="*/ 24881 h 103949"/>
                    <a:gd name="connsiteX18" fmla="*/ 105221 w 118847"/>
                    <a:gd name="connsiteY18" fmla="*/ 28622 h 103949"/>
                    <a:gd name="connsiteX19" fmla="*/ 108571 w 118847"/>
                    <a:gd name="connsiteY19" fmla="*/ 32363 h 103949"/>
                    <a:gd name="connsiteX20" fmla="*/ 111920 w 118847"/>
                    <a:gd name="connsiteY20" fmla="*/ 36103 h 103949"/>
                    <a:gd name="connsiteX21" fmla="*/ 115278 w 118847"/>
                    <a:gd name="connsiteY21" fmla="*/ 39844 h 103949"/>
                    <a:gd name="connsiteX22" fmla="*/ 118848 w 118847"/>
                    <a:gd name="connsiteY22" fmla="*/ 43805 h 103949"/>
                    <a:gd name="connsiteX23" fmla="*/ 118513 w 118847"/>
                    <a:gd name="connsiteY23" fmla="*/ 43919 h 103949"/>
                    <a:gd name="connsiteX24" fmla="*/ 111961 w 118847"/>
                    <a:gd name="connsiteY24" fmla="*/ 48792 h 103949"/>
                    <a:gd name="connsiteX25" fmla="*/ 110013 w 118847"/>
                    <a:gd name="connsiteY25" fmla="*/ 50936 h 103949"/>
                    <a:gd name="connsiteX26" fmla="*/ 104602 w 118847"/>
                    <a:gd name="connsiteY26" fmla="*/ 59183 h 103949"/>
                    <a:gd name="connsiteX27" fmla="*/ 103224 w 118847"/>
                    <a:gd name="connsiteY27" fmla="*/ 64464 h 103949"/>
                    <a:gd name="connsiteX28" fmla="*/ 102124 w 118847"/>
                    <a:gd name="connsiteY28" fmla="*/ 62248 h 103949"/>
                    <a:gd name="connsiteX29" fmla="*/ 102393 w 118847"/>
                    <a:gd name="connsiteY29" fmla="*/ 60585 h 103949"/>
                    <a:gd name="connsiteX30" fmla="*/ 102418 w 118847"/>
                    <a:gd name="connsiteY30" fmla="*/ 59224 h 103949"/>
                    <a:gd name="connsiteX31" fmla="*/ 101057 w 118847"/>
                    <a:gd name="connsiteY31" fmla="*/ 62142 h 103949"/>
                    <a:gd name="connsiteX32" fmla="*/ 102352 w 118847"/>
                    <a:gd name="connsiteY32" fmla="*/ 66388 h 103949"/>
                    <a:gd name="connsiteX33" fmla="*/ 101187 w 118847"/>
                    <a:gd name="connsiteY33" fmla="*/ 68010 h 103949"/>
                    <a:gd name="connsiteX34" fmla="*/ 97626 w 118847"/>
                    <a:gd name="connsiteY34" fmla="*/ 71033 h 103949"/>
                    <a:gd name="connsiteX35" fmla="*/ 95670 w 118847"/>
                    <a:gd name="connsiteY35" fmla="*/ 71538 h 103949"/>
                    <a:gd name="connsiteX36" fmla="*/ 93469 w 118847"/>
                    <a:gd name="connsiteY36" fmla="*/ 72394 h 103949"/>
                    <a:gd name="connsiteX37" fmla="*/ 92785 w 118847"/>
                    <a:gd name="connsiteY37" fmla="*/ 75377 h 103949"/>
                    <a:gd name="connsiteX38" fmla="*/ 89810 w 118847"/>
                    <a:gd name="connsiteY38" fmla="*/ 78123 h 103949"/>
                    <a:gd name="connsiteX39" fmla="*/ 88066 w 118847"/>
                    <a:gd name="connsiteY39" fmla="*/ 79338 h 103949"/>
                    <a:gd name="connsiteX40" fmla="*/ 84896 w 118847"/>
                    <a:gd name="connsiteY40" fmla="*/ 78604 h 103949"/>
                    <a:gd name="connsiteX41" fmla="*/ 85866 w 118847"/>
                    <a:gd name="connsiteY41" fmla="*/ 81253 h 103949"/>
                    <a:gd name="connsiteX42" fmla="*/ 84700 w 118847"/>
                    <a:gd name="connsiteY42" fmla="*/ 83249 h 103949"/>
                    <a:gd name="connsiteX43" fmla="*/ 82687 w 118847"/>
                    <a:gd name="connsiteY43" fmla="*/ 84782 h 103949"/>
                    <a:gd name="connsiteX44" fmla="*/ 80193 w 118847"/>
                    <a:gd name="connsiteY44" fmla="*/ 85792 h 103949"/>
                    <a:gd name="connsiteX45" fmla="*/ 78759 w 118847"/>
                    <a:gd name="connsiteY45" fmla="*/ 85662 h 103949"/>
                    <a:gd name="connsiteX46" fmla="*/ 77537 w 118847"/>
                    <a:gd name="connsiteY46" fmla="*/ 86200 h 103949"/>
                    <a:gd name="connsiteX47" fmla="*/ 76575 w 118847"/>
                    <a:gd name="connsiteY47" fmla="*/ 87471 h 103949"/>
                    <a:gd name="connsiteX48" fmla="*/ 74236 w 118847"/>
                    <a:gd name="connsiteY48" fmla="*/ 88661 h 103949"/>
                    <a:gd name="connsiteX49" fmla="*/ 71799 w 118847"/>
                    <a:gd name="connsiteY49" fmla="*/ 87993 h 103949"/>
                    <a:gd name="connsiteX50" fmla="*/ 69044 w 118847"/>
                    <a:gd name="connsiteY50" fmla="*/ 87585 h 103949"/>
                    <a:gd name="connsiteX51" fmla="*/ 67504 w 118847"/>
                    <a:gd name="connsiteY51" fmla="*/ 88302 h 103949"/>
                    <a:gd name="connsiteX52" fmla="*/ 70088 w 118847"/>
                    <a:gd name="connsiteY52" fmla="*/ 89484 h 103949"/>
                    <a:gd name="connsiteX53" fmla="*/ 71473 w 118847"/>
                    <a:gd name="connsiteY53" fmla="*/ 91187 h 103949"/>
                    <a:gd name="connsiteX54" fmla="*/ 71188 w 118847"/>
                    <a:gd name="connsiteY54" fmla="*/ 93494 h 103949"/>
                    <a:gd name="connsiteX55" fmla="*/ 70495 w 118847"/>
                    <a:gd name="connsiteY55" fmla="*/ 94382 h 103949"/>
                    <a:gd name="connsiteX56" fmla="*/ 68865 w 118847"/>
                    <a:gd name="connsiteY56" fmla="*/ 95588 h 103949"/>
                    <a:gd name="connsiteX57" fmla="*/ 68148 w 118847"/>
                    <a:gd name="connsiteY57" fmla="*/ 95409 h 103949"/>
                    <a:gd name="connsiteX58" fmla="*/ 67716 w 118847"/>
                    <a:gd name="connsiteY58" fmla="*/ 94317 h 103949"/>
                    <a:gd name="connsiteX59" fmla="*/ 67178 w 118847"/>
                    <a:gd name="connsiteY59" fmla="*/ 92068 h 103949"/>
                    <a:gd name="connsiteX60" fmla="*/ 66420 w 118847"/>
                    <a:gd name="connsiteY60" fmla="*/ 92540 h 103949"/>
                    <a:gd name="connsiteX61" fmla="*/ 66290 w 118847"/>
                    <a:gd name="connsiteY61" fmla="*/ 93600 h 103949"/>
                    <a:gd name="connsiteX62" fmla="*/ 65646 w 118847"/>
                    <a:gd name="connsiteY62" fmla="*/ 93975 h 103949"/>
                    <a:gd name="connsiteX63" fmla="*/ 63332 w 118847"/>
                    <a:gd name="connsiteY63" fmla="*/ 90372 h 103949"/>
                    <a:gd name="connsiteX64" fmla="*/ 63446 w 118847"/>
                    <a:gd name="connsiteY64" fmla="*/ 93119 h 103949"/>
                    <a:gd name="connsiteX65" fmla="*/ 64253 w 118847"/>
                    <a:gd name="connsiteY65" fmla="*/ 95230 h 103949"/>
                    <a:gd name="connsiteX66" fmla="*/ 65027 w 118847"/>
                    <a:gd name="connsiteY66" fmla="*/ 96297 h 103949"/>
                    <a:gd name="connsiteX67" fmla="*/ 65817 w 118847"/>
                    <a:gd name="connsiteY67" fmla="*/ 96933 h 103949"/>
                    <a:gd name="connsiteX68" fmla="*/ 66013 w 118847"/>
                    <a:gd name="connsiteY68" fmla="*/ 97911 h 103949"/>
                    <a:gd name="connsiteX69" fmla="*/ 64432 w 118847"/>
                    <a:gd name="connsiteY69" fmla="*/ 100299 h 103949"/>
                    <a:gd name="connsiteX70" fmla="*/ 63617 w 118847"/>
                    <a:gd name="connsiteY70" fmla="*/ 100820 h 103949"/>
                    <a:gd name="connsiteX71" fmla="*/ 62166 w 118847"/>
                    <a:gd name="connsiteY71" fmla="*/ 101212 h 103949"/>
                    <a:gd name="connsiteX72" fmla="*/ 61351 w 118847"/>
                    <a:gd name="connsiteY72" fmla="*/ 102678 h 103949"/>
                    <a:gd name="connsiteX73" fmla="*/ 61604 w 118847"/>
                    <a:gd name="connsiteY73" fmla="*/ 103950 h 103949"/>
                    <a:gd name="connsiteX74" fmla="*/ 56575 w 118847"/>
                    <a:gd name="connsiteY74" fmla="*/ 101350 h 103949"/>
                    <a:gd name="connsiteX75" fmla="*/ 55084 w 118847"/>
                    <a:gd name="connsiteY75" fmla="*/ 99011 h 103949"/>
                    <a:gd name="connsiteX76" fmla="*/ 55133 w 118847"/>
                    <a:gd name="connsiteY76" fmla="*/ 95996 h 103949"/>
                    <a:gd name="connsiteX77" fmla="*/ 54171 w 118847"/>
                    <a:gd name="connsiteY77" fmla="*/ 92581 h 103949"/>
                    <a:gd name="connsiteX78" fmla="*/ 51229 w 118847"/>
                    <a:gd name="connsiteY78" fmla="*/ 86819 h 103949"/>
                    <a:gd name="connsiteX79" fmla="*/ 49078 w 118847"/>
                    <a:gd name="connsiteY79" fmla="*/ 85189 h 103949"/>
                    <a:gd name="connsiteX80" fmla="*/ 47668 w 118847"/>
                    <a:gd name="connsiteY80" fmla="*/ 81269 h 103949"/>
                    <a:gd name="connsiteX81" fmla="*/ 46282 w 118847"/>
                    <a:gd name="connsiteY81" fmla="*/ 74513 h 103949"/>
                    <a:gd name="connsiteX82" fmla="*/ 44090 w 118847"/>
                    <a:gd name="connsiteY82" fmla="*/ 70185 h 103949"/>
                    <a:gd name="connsiteX83" fmla="*/ 41091 w 118847"/>
                    <a:gd name="connsiteY83" fmla="*/ 68295 h 103949"/>
                    <a:gd name="connsiteX84" fmla="*/ 39078 w 118847"/>
                    <a:gd name="connsiteY84" fmla="*/ 66054 h 103949"/>
                    <a:gd name="connsiteX85" fmla="*/ 38059 w 118847"/>
                    <a:gd name="connsiteY85" fmla="*/ 63486 h 103949"/>
                    <a:gd name="connsiteX86" fmla="*/ 37000 w 118847"/>
                    <a:gd name="connsiteY86" fmla="*/ 61816 h 103949"/>
                    <a:gd name="connsiteX87" fmla="*/ 35891 w 118847"/>
                    <a:gd name="connsiteY87" fmla="*/ 61033 h 103949"/>
                    <a:gd name="connsiteX88" fmla="*/ 35296 w 118847"/>
                    <a:gd name="connsiteY88" fmla="*/ 59713 h 103949"/>
                    <a:gd name="connsiteX89" fmla="*/ 35207 w 118847"/>
                    <a:gd name="connsiteY89" fmla="*/ 57831 h 103949"/>
                    <a:gd name="connsiteX90" fmla="*/ 33487 w 118847"/>
                    <a:gd name="connsiteY90" fmla="*/ 55369 h 103949"/>
                    <a:gd name="connsiteX91" fmla="*/ 28459 w 118847"/>
                    <a:gd name="connsiteY91" fmla="*/ 50773 h 103949"/>
                    <a:gd name="connsiteX92" fmla="*/ 27261 w 118847"/>
                    <a:gd name="connsiteY92" fmla="*/ 47969 h 103949"/>
                    <a:gd name="connsiteX93" fmla="*/ 24897 w 118847"/>
                    <a:gd name="connsiteY93" fmla="*/ 45084 h 103949"/>
                    <a:gd name="connsiteX94" fmla="*/ 19013 w 118847"/>
                    <a:gd name="connsiteY94" fmla="*/ 39192 h 103949"/>
                    <a:gd name="connsiteX95" fmla="*/ 19013 w 118847"/>
                    <a:gd name="connsiteY95" fmla="*/ 39200 h 103949"/>
                    <a:gd name="connsiteX96" fmla="*/ 13325 w 118847"/>
                    <a:gd name="connsiteY96" fmla="*/ 27774 h 103949"/>
                    <a:gd name="connsiteX97" fmla="*/ 13325 w 118847"/>
                    <a:gd name="connsiteY97" fmla="*/ 27774 h 103949"/>
                    <a:gd name="connsiteX98" fmla="*/ 12599 w 118847"/>
                    <a:gd name="connsiteY98" fmla="*/ 25452 h 103949"/>
                    <a:gd name="connsiteX99" fmla="*/ 11385 w 118847"/>
                    <a:gd name="connsiteY99" fmla="*/ 24506 h 103949"/>
                    <a:gd name="connsiteX100" fmla="*/ 9429 w 118847"/>
                    <a:gd name="connsiteY100" fmla="*/ 24156 h 103949"/>
                    <a:gd name="connsiteX101" fmla="*/ 7514 w 118847"/>
                    <a:gd name="connsiteY101" fmla="*/ 23023 h 103949"/>
                    <a:gd name="connsiteX102" fmla="*/ 4711 w 118847"/>
                    <a:gd name="connsiteY102" fmla="*/ 20138 h 103949"/>
                    <a:gd name="connsiteX103" fmla="*/ 4694 w 118847"/>
                    <a:gd name="connsiteY103" fmla="*/ 20105 h 103949"/>
                    <a:gd name="connsiteX104" fmla="*/ 0 w 118847"/>
                    <a:gd name="connsiteY104" fmla="*/ 16536 h 103949"/>
                    <a:gd name="connsiteX105" fmla="*/ 970 w 118847"/>
                    <a:gd name="connsiteY105" fmla="*/ 13333 h 103949"/>
                    <a:gd name="connsiteX106" fmla="*/ 4596 w 118847"/>
                    <a:gd name="connsiteY106" fmla="*/ 9152 h 103949"/>
                    <a:gd name="connsiteX107" fmla="*/ 5811 w 118847"/>
                    <a:gd name="connsiteY107" fmla="*/ 6927 h 103949"/>
                    <a:gd name="connsiteX108" fmla="*/ 5974 w 118847"/>
                    <a:gd name="connsiteY108" fmla="*/ 6895 h 103949"/>
                    <a:gd name="connsiteX109" fmla="*/ 6430 w 118847"/>
                    <a:gd name="connsiteY109" fmla="*/ 6887 h 103949"/>
                    <a:gd name="connsiteX110" fmla="*/ 10391 w 118847"/>
                    <a:gd name="connsiteY110" fmla="*/ 5485 h 103949"/>
                    <a:gd name="connsiteX111" fmla="*/ 14344 w 118847"/>
                    <a:gd name="connsiteY111" fmla="*/ 4091 h 103949"/>
                    <a:gd name="connsiteX112" fmla="*/ 15175 w 118847"/>
                    <a:gd name="connsiteY112" fmla="*/ 4173 h 103949"/>
                    <a:gd name="connsiteX113" fmla="*/ 17473 w 118847"/>
                    <a:gd name="connsiteY113" fmla="*/ 2730 h 103949"/>
                    <a:gd name="connsiteX114" fmla="*/ 22118 w 118847"/>
                    <a:gd name="connsiteY114" fmla="*/ 1084 h 103949"/>
                    <a:gd name="connsiteX115" fmla="*/ 23895 w 118847"/>
                    <a:gd name="connsiteY115" fmla="*/ 0 h 103949"/>
                    <a:gd name="connsiteX116" fmla="*/ 24791 w 118847"/>
                    <a:gd name="connsiteY116" fmla="*/ 302 h 103949"/>
                    <a:gd name="connsiteX117" fmla="*/ 28728 w 118847"/>
                    <a:gd name="connsiteY117" fmla="*/ 489 h 103949"/>
                    <a:gd name="connsiteX118" fmla="*/ 32664 w 118847"/>
                    <a:gd name="connsiteY118" fmla="*/ 685 h 103949"/>
                    <a:gd name="connsiteX119" fmla="*/ 36592 w 118847"/>
                    <a:gd name="connsiteY119" fmla="*/ 872 h 103949"/>
                    <a:gd name="connsiteX120" fmla="*/ 40529 w 118847"/>
                    <a:gd name="connsiteY120" fmla="*/ 1060 h 103949"/>
                    <a:gd name="connsiteX121" fmla="*/ 44465 w 118847"/>
                    <a:gd name="connsiteY121" fmla="*/ 1247 h 103949"/>
                    <a:gd name="connsiteX122" fmla="*/ 48393 w 118847"/>
                    <a:gd name="connsiteY122" fmla="*/ 1434 h 103949"/>
                    <a:gd name="connsiteX123" fmla="*/ 52329 w 118847"/>
                    <a:gd name="connsiteY123" fmla="*/ 1630 h 103949"/>
                    <a:gd name="connsiteX124" fmla="*/ 56266 w 118847"/>
                    <a:gd name="connsiteY124" fmla="*/ 1817 h 103949"/>
                    <a:gd name="connsiteX125" fmla="*/ 57032 w 118847"/>
                    <a:gd name="connsiteY125" fmla="*/ 2152 h 103949"/>
                    <a:gd name="connsiteX126" fmla="*/ 57268 w 118847"/>
                    <a:gd name="connsiteY126" fmla="*/ 2624 h 103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18847" h="103949">
                      <a:moveTo>
                        <a:pt x="57162" y="4010"/>
                      </a:moveTo>
                      <a:lnTo>
                        <a:pt x="57309" y="4784"/>
                      </a:lnTo>
                      <a:lnTo>
                        <a:pt x="60080" y="3203"/>
                      </a:lnTo>
                      <a:lnTo>
                        <a:pt x="61367" y="5037"/>
                      </a:lnTo>
                      <a:lnTo>
                        <a:pt x="63568" y="8174"/>
                      </a:lnTo>
                      <a:lnTo>
                        <a:pt x="63658" y="10000"/>
                      </a:lnTo>
                      <a:lnTo>
                        <a:pt x="63788" y="12583"/>
                      </a:lnTo>
                      <a:lnTo>
                        <a:pt x="67292" y="12722"/>
                      </a:lnTo>
                      <a:lnTo>
                        <a:pt x="70797" y="12844"/>
                      </a:lnTo>
                      <a:lnTo>
                        <a:pt x="74301" y="12966"/>
                      </a:lnTo>
                      <a:lnTo>
                        <a:pt x="77805" y="13105"/>
                      </a:lnTo>
                      <a:lnTo>
                        <a:pt x="81310" y="13235"/>
                      </a:lnTo>
                      <a:lnTo>
                        <a:pt x="84814" y="13366"/>
                      </a:lnTo>
                      <a:lnTo>
                        <a:pt x="88319" y="13496"/>
                      </a:lnTo>
                      <a:lnTo>
                        <a:pt x="91823" y="13635"/>
                      </a:lnTo>
                      <a:lnTo>
                        <a:pt x="95173" y="17375"/>
                      </a:lnTo>
                      <a:lnTo>
                        <a:pt x="98522" y="21132"/>
                      </a:lnTo>
                      <a:lnTo>
                        <a:pt x="101872" y="24881"/>
                      </a:lnTo>
                      <a:lnTo>
                        <a:pt x="105221" y="28622"/>
                      </a:lnTo>
                      <a:lnTo>
                        <a:pt x="108571" y="32363"/>
                      </a:lnTo>
                      <a:lnTo>
                        <a:pt x="111920" y="36103"/>
                      </a:lnTo>
                      <a:lnTo>
                        <a:pt x="115278" y="39844"/>
                      </a:lnTo>
                      <a:lnTo>
                        <a:pt x="118848" y="43805"/>
                      </a:lnTo>
                      <a:lnTo>
                        <a:pt x="118513" y="43919"/>
                      </a:lnTo>
                      <a:lnTo>
                        <a:pt x="111961" y="48792"/>
                      </a:lnTo>
                      <a:lnTo>
                        <a:pt x="110013" y="50936"/>
                      </a:lnTo>
                      <a:lnTo>
                        <a:pt x="104602" y="59183"/>
                      </a:lnTo>
                      <a:lnTo>
                        <a:pt x="103224" y="64464"/>
                      </a:lnTo>
                      <a:lnTo>
                        <a:pt x="102124" y="62248"/>
                      </a:lnTo>
                      <a:lnTo>
                        <a:pt x="102393" y="60585"/>
                      </a:lnTo>
                      <a:lnTo>
                        <a:pt x="102418" y="59224"/>
                      </a:lnTo>
                      <a:lnTo>
                        <a:pt x="101057" y="62142"/>
                      </a:lnTo>
                      <a:lnTo>
                        <a:pt x="102352" y="66388"/>
                      </a:lnTo>
                      <a:lnTo>
                        <a:pt x="101187" y="68010"/>
                      </a:lnTo>
                      <a:lnTo>
                        <a:pt x="97626" y="71033"/>
                      </a:lnTo>
                      <a:lnTo>
                        <a:pt x="95670" y="71538"/>
                      </a:lnTo>
                      <a:lnTo>
                        <a:pt x="93469" y="72394"/>
                      </a:lnTo>
                      <a:lnTo>
                        <a:pt x="92785" y="75377"/>
                      </a:lnTo>
                      <a:lnTo>
                        <a:pt x="89810" y="78123"/>
                      </a:lnTo>
                      <a:lnTo>
                        <a:pt x="88066" y="79338"/>
                      </a:lnTo>
                      <a:lnTo>
                        <a:pt x="84896" y="78604"/>
                      </a:lnTo>
                      <a:lnTo>
                        <a:pt x="85866" y="81253"/>
                      </a:lnTo>
                      <a:lnTo>
                        <a:pt x="84700" y="83249"/>
                      </a:lnTo>
                      <a:lnTo>
                        <a:pt x="82687" y="84782"/>
                      </a:lnTo>
                      <a:lnTo>
                        <a:pt x="80193" y="85792"/>
                      </a:lnTo>
                      <a:lnTo>
                        <a:pt x="78759" y="85662"/>
                      </a:lnTo>
                      <a:lnTo>
                        <a:pt x="77537" y="86200"/>
                      </a:lnTo>
                      <a:lnTo>
                        <a:pt x="76575" y="87471"/>
                      </a:lnTo>
                      <a:lnTo>
                        <a:pt x="74236" y="88661"/>
                      </a:lnTo>
                      <a:lnTo>
                        <a:pt x="71799" y="87993"/>
                      </a:lnTo>
                      <a:lnTo>
                        <a:pt x="69044" y="87585"/>
                      </a:lnTo>
                      <a:lnTo>
                        <a:pt x="67504" y="88302"/>
                      </a:lnTo>
                      <a:lnTo>
                        <a:pt x="70088" y="89484"/>
                      </a:lnTo>
                      <a:lnTo>
                        <a:pt x="71473" y="91187"/>
                      </a:lnTo>
                      <a:lnTo>
                        <a:pt x="71188" y="93494"/>
                      </a:lnTo>
                      <a:lnTo>
                        <a:pt x="70495" y="94382"/>
                      </a:lnTo>
                      <a:lnTo>
                        <a:pt x="68865" y="95588"/>
                      </a:lnTo>
                      <a:lnTo>
                        <a:pt x="68148" y="95409"/>
                      </a:lnTo>
                      <a:lnTo>
                        <a:pt x="67716" y="94317"/>
                      </a:lnTo>
                      <a:lnTo>
                        <a:pt x="67178" y="92068"/>
                      </a:lnTo>
                      <a:lnTo>
                        <a:pt x="66420" y="92540"/>
                      </a:lnTo>
                      <a:lnTo>
                        <a:pt x="66290" y="93600"/>
                      </a:lnTo>
                      <a:lnTo>
                        <a:pt x="65646" y="93975"/>
                      </a:lnTo>
                      <a:lnTo>
                        <a:pt x="63332" y="90372"/>
                      </a:lnTo>
                      <a:lnTo>
                        <a:pt x="63446" y="93119"/>
                      </a:lnTo>
                      <a:lnTo>
                        <a:pt x="64253" y="95230"/>
                      </a:lnTo>
                      <a:lnTo>
                        <a:pt x="65027" y="96297"/>
                      </a:lnTo>
                      <a:lnTo>
                        <a:pt x="65817" y="96933"/>
                      </a:lnTo>
                      <a:lnTo>
                        <a:pt x="66013" y="97911"/>
                      </a:lnTo>
                      <a:lnTo>
                        <a:pt x="64432" y="100299"/>
                      </a:lnTo>
                      <a:lnTo>
                        <a:pt x="63617" y="100820"/>
                      </a:lnTo>
                      <a:lnTo>
                        <a:pt x="62166" y="101212"/>
                      </a:lnTo>
                      <a:lnTo>
                        <a:pt x="61351" y="102678"/>
                      </a:lnTo>
                      <a:lnTo>
                        <a:pt x="61604" y="103950"/>
                      </a:lnTo>
                      <a:lnTo>
                        <a:pt x="56575" y="101350"/>
                      </a:lnTo>
                      <a:lnTo>
                        <a:pt x="55084" y="99011"/>
                      </a:lnTo>
                      <a:lnTo>
                        <a:pt x="55133" y="95996"/>
                      </a:lnTo>
                      <a:lnTo>
                        <a:pt x="54171" y="92581"/>
                      </a:lnTo>
                      <a:lnTo>
                        <a:pt x="51229" y="86819"/>
                      </a:lnTo>
                      <a:lnTo>
                        <a:pt x="49078" y="85189"/>
                      </a:lnTo>
                      <a:lnTo>
                        <a:pt x="47668" y="81269"/>
                      </a:lnTo>
                      <a:lnTo>
                        <a:pt x="46282" y="74513"/>
                      </a:lnTo>
                      <a:lnTo>
                        <a:pt x="44090" y="70185"/>
                      </a:lnTo>
                      <a:lnTo>
                        <a:pt x="41091" y="68295"/>
                      </a:lnTo>
                      <a:lnTo>
                        <a:pt x="39078" y="66054"/>
                      </a:lnTo>
                      <a:lnTo>
                        <a:pt x="38059" y="63486"/>
                      </a:lnTo>
                      <a:lnTo>
                        <a:pt x="37000" y="61816"/>
                      </a:lnTo>
                      <a:lnTo>
                        <a:pt x="35891" y="61033"/>
                      </a:lnTo>
                      <a:lnTo>
                        <a:pt x="35296" y="59713"/>
                      </a:lnTo>
                      <a:lnTo>
                        <a:pt x="35207" y="57831"/>
                      </a:lnTo>
                      <a:lnTo>
                        <a:pt x="33487" y="55369"/>
                      </a:lnTo>
                      <a:lnTo>
                        <a:pt x="28459" y="50773"/>
                      </a:lnTo>
                      <a:lnTo>
                        <a:pt x="27261" y="47969"/>
                      </a:lnTo>
                      <a:lnTo>
                        <a:pt x="24897" y="45084"/>
                      </a:lnTo>
                      <a:lnTo>
                        <a:pt x="19013" y="39192"/>
                      </a:lnTo>
                      <a:lnTo>
                        <a:pt x="19013" y="39200"/>
                      </a:lnTo>
                      <a:lnTo>
                        <a:pt x="13325" y="27774"/>
                      </a:lnTo>
                      <a:lnTo>
                        <a:pt x="13325" y="27774"/>
                      </a:lnTo>
                      <a:lnTo>
                        <a:pt x="12599" y="25452"/>
                      </a:lnTo>
                      <a:lnTo>
                        <a:pt x="11385" y="24506"/>
                      </a:lnTo>
                      <a:lnTo>
                        <a:pt x="9429" y="24156"/>
                      </a:lnTo>
                      <a:lnTo>
                        <a:pt x="7514" y="23023"/>
                      </a:lnTo>
                      <a:lnTo>
                        <a:pt x="4711" y="20138"/>
                      </a:lnTo>
                      <a:lnTo>
                        <a:pt x="4694" y="20105"/>
                      </a:lnTo>
                      <a:lnTo>
                        <a:pt x="0" y="16536"/>
                      </a:lnTo>
                      <a:lnTo>
                        <a:pt x="970" y="13333"/>
                      </a:lnTo>
                      <a:lnTo>
                        <a:pt x="4596" y="9152"/>
                      </a:lnTo>
                      <a:lnTo>
                        <a:pt x="5811" y="6927"/>
                      </a:lnTo>
                      <a:lnTo>
                        <a:pt x="5974" y="6895"/>
                      </a:lnTo>
                      <a:lnTo>
                        <a:pt x="6430" y="6887"/>
                      </a:lnTo>
                      <a:lnTo>
                        <a:pt x="10391" y="5485"/>
                      </a:lnTo>
                      <a:lnTo>
                        <a:pt x="14344" y="4091"/>
                      </a:lnTo>
                      <a:lnTo>
                        <a:pt x="15175" y="4173"/>
                      </a:lnTo>
                      <a:lnTo>
                        <a:pt x="17473" y="2730"/>
                      </a:lnTo>
                      <a:lnTo>
                        <a:pt x="22118" y="1084"/>
                      </a:lnTo>
                      <a:lnTo>
                        <a:pt x="23895" y="0"/>
                      </a:lnTo>
                      <a:lnTo>
                        <a:pt x="24791" y="302"/>
                      </a:lnTo>
                      <a:lnTo>
                        <a:pt x="28728" y="489"/>
                      </a:lnTo>
                      <a:lnTo>
                        <a:pt x="32664" y="685"/>
                      </a:lnTo>
                      <a:lnTo>
                        <a:pt x="36592" y="872"/>
                      </a:lnTo>
                      <a:lnTo>
                        <a:pt x="40529" y="1060"/>
                      </a:lnTo>
                      <a:lnTo>
                        <a:pt x="44465" y="1247"/>
                      </a:lnTo>
                      <a:lnTo>
                        <a:pt x="48393" y="1434"/>
                      </a:lnTo>
                      <a:lnTo>
                        <a:pt x="52329" y="1630"/>
                      </a:lnTo>
                      <a:lnTo>
                        <a:pt x="56266" y="1817"/>
                      </a:lnTo>
                      <a:lnTo>
                        <a:pt x="57032" y="2152"/>
                      </a:lnTo>
                      <a:lnTo>
                        <a:pt x="57268" y="2624"/>
                      </a:lnTo>
                      <a:close/>
                    </a:path>
                  </a:pathLst>
                </a:custGeom>
                <a:solidFill>
                  <a:srgbClr val="D6D6D2"/>
                </a:solidFill>
                <a:ln w="6112" cap="rnd">
                  <a:solidFill>
                    <a:srgbClr val="FFFFFF"/>
                  </a:solidFill>
                  <a:prstDash val="solid"/>
                  <a:round/>
                </a:ln>
              </p:spPr>
              <p:txBody>
                <a:bodyPr rtlCol="0" anchor="ctr"/>
                <a:lstStyle/>
                <a:p>
                  <a:endParaRPr lang="en-US"/>
                </a:p>
              </p:txBody>
            </p:sp>
            <p:sp>
              <p:nvSpPr>
                <p:cNvPr id="435" name="Freeform: Shape 434">
                  <a:extLst>
                    <a:ext uri="{FF2B5EF4-FFF2-40B4-BE49-F238E27FC236}">
                      <a16:creationId xmlns:a16="http://schemas.microsoft.com/office/drawing/2014/main" id="{03C37E2C-2A15-4996-89EF-F5CA3F39270B}"/>
                    </a:ext>
                  </a:extLst>
                </p:cNvPr>
                <p:cNvSpPr/>
                <p:nvPr/>
              </p:nvSpPr>
              <p:spPr>
                <a:xfrm>
                  <a:off x="4161783" y="3206986"/>
                  <a:ext cx="15085" cy="23512"/>
                </a:xfrm>
                <a:custGeom>
                  <a:avLst/>
                  <a:gdLst>
                    <a:gd name="connsiteX0" fmla="*/ 12437 w 15085"/>
                    <a:gd name="connsiteY0" fmla="*/ 7514 h 23512"/>
                    <a:gd name="connsiteX1" fmla="*/ 13325 w 15085"/>
                    <a:gd name="connsiteY1" fmla="*/ 8313 h 23512"/>
                    <a:gd name="connsiteX2" fmla="*/ 14237 w 15085"/>
                    <a:gd name="connsiteY2" fmla="*/ 9136 h 23512"/>
                    <a:gd name="connsiteX3" fmla="*/ 15085 w 15085"/>
                    <a:gd name="connsiteY3" fmla="*/ 10652 h 23512"/>
                    <a:gd name="connsiteX4" fmla="*/ 14164 w 15085"/>
                    <a:gd name="connsiteY4" fmla="*/ 11516 h 23512"/>
                    <a:gd name="connsiteX5" fmla="*/ 13178 w 15085"/>
                    <a:gd name="connsiteY5" fmla="*/ 10195 h 23512"/>
                    <a:gd name="connsiteX6" fmla="*/ 12681 w 15085"/>
                    <a:gd name="connsiteY6" fmla="*/ 8737 h 23512"/>
                    <a:gd name="connsiteX7" fmla="*/ 11972 w 15085"/>
                    <a:gd name="connsiteY7" fmla="*/ 7913 h 23512"/>
                    <a:gd name="connsiteX8" fmla="*/ 11206 w 15085"/>
                    <a:gd name="connsiteY8" fmla="*/ 7596 h 23512"/>
                    <a:gd name="connsiteX9" fmla="*/ 11866 w 15085"/>
                    <a:gd name="connsiteY9" fmla="*/ 10774 h 23512"/>
                    <a:gd name="connsiteX10" fmla="*/ 10309 w 15085"/>
                    <a:gd name="connsiteY10" fmla="*/ 13154 h 23512"/>
                    <a:gd name="connsiteX11" fmla="*/ 9885 w 15085"/>
                    <a:gd name="connsiteY11" fmla="*/ 19307 h 23512"/>
                    <a:gd name="connsiteX12" fmla="*/ 7921 w 15085"/>
                    <a:gd name="connsiteY12" fmla="*/ 21866 h 23512"/>
                    <a:gd name="connsiteX13" fmla="*/ 1809 w 15085"/>
                    <a:gd name="connsiteY13" fmla="*/ 23512 h 23512"/>
                    <a:gd name="connsiteX14" fmla="*/ 0 w 15085"/>
                    <a:gd name="connsiteY14" fmla="*/ 23357 h 23512"/>
                    <a:gd name="connsiteX15" fmla="*/ 310 w 15085"/>
                    <a:gd name="connsiteY15" fmla="*/ 21393 h 23512"/>
                    <a:gd name="connsiteX16" fmla="*/ 945 w 15085"/>
                    <a:gd name="connsiteY16" fmla="*/ 20570 h 23512"/>
                    <a:gd name="connsiteX17" fmla="*/ 1076 w 15085"/>
                    <a:gd name="connsiteY17" fmla="*/ 18435 h 23512"/>
                    <a:gd name="connsiteX18" fmla="*/ 1165 w 15085"/>
                    <a:gd name="connsiteY18" fmla="*/ 17041 h 23512"/>
                    <a:gd name="connsiteX19" fmla="*/ 1149 w 15085"/>
                    <a:gd name="connsiteY19" fmla="*/ 14678 h 23512"/>
                    <a:gd name="connsiteX20" fmla="*/ 1133 w 15085"/>
                    <a:gd name="connsiteY20" fmla="*/ 11972 h 23512"/>
                    <a:gd name="connsiteX21" fmla="*/ 1108 w 15085"/>
                    <a:gd name="connsiteY21" fmla="*/ 9038 h 23512"/>
                    <a:gd name="connsiteX22" fmla="*/ 1092 w 15085"/>
                    <a:gd name="connsiteY22" fmla="*/ 6455 h 23512"/>
                    <a:gd name="connsiteX23" fmla="*/ 1076 w 15085"/>
                    <a:gd name="connsiteY23" fmla="*/ 4588 h 23512"/>
                    <a:gd name="connsiteX24" fmla="*/ 1060 w 15085"/>
                    <a:gd name="connsiteY24" fmla="*/ 2005 h 23512"/>
                    <a:gd name="connsiteX25" fmla="*/ 1043 w 15085"/>
                    <a:gd name="connsiteY25" fmla="*/ 163 h 23512"/>
                    <a:gd name="connsiteX26" fmla="*/ 2901 w 15085"/>
                    <a:gd name="connsiteY26" fmla="*/ 130 h 23512"/>
                    <a:gd name="connsiteX27" fmla="*/ 5444 w 15085"/>
                    <a:gd name="connsiteY27" fmla="*/ 90 h 23512"/>
                    <a:gd name="connsiteX28" fmla="*/ 7905 w 15085"/>
                    <a:gd name="connsiteY28" fmla="*/ 49 h 23512"/>
                    <a:gd name="connsiteX29" fmla="*/ 9429 w 15085"/>
                    <a:gd name="connsiteY29" fmla="*/ 24 h 23512"/>
                    <a:gd name="connsiteX30" fmla="*/ 11304 w 15085"/>
                    <a:gd name="connsiteY30" fmla="*/ 0 h 23512"/>
                    <a:gd name="connsiteX31" fmla="*/ 11385 w 15085"/>
                    <a:gd name="connsiteY31" fmla="*/ 1540 h 23512"/>
                    <a:gd name="connsiteX32" fmla="*/ 11507 w 15085"/>
                    <a:gd name="connsiteY32" fmla="*/ 3920 h 23512"/>
                    <a:gd name="connsiteX33" fmla="*/ 12534 w 15085"/>
                    <a:gd name="connsiteY33" fmla="*/ 4295 h 23512"/>
                    <a:gd name="connsiteX34" fmla="*/ 12485 w 15085"/>
                    <a:gd name="connsiteY34" fmla="*/ 6226 h 23512"/>
                    <a:gd name="connsiteX35" fmla="*/ 12437 w 15085"/>
                    <a:gd name="connsiteY35" fmla="*/ 7514 h 2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085" h="23512">
                      <a:moveTo>
                        <a:pt x="12437" y="7514"/>
                      </a:moveTo>
                      <a:lnTo>
                        <a:pt x="13325" y="8313"/>
                      </a:lnTo>
                      <a:lnTo>
                        <a:pt x="14237" y="9136"/>
                      </a:lnTo>
                      <a:lnTo>
                        <a:pt x="15085" y="10652"/>
                      </a:lnTo>
                      <a:lnTo>
                        <a:pt x="14164" y="11516"/>
                      </a:lnTo>
                      <a:lnTo>
                        <a:pt x="13178" y="10195"/>
                      </a:lnTo>
                      <a:lnTo>
                        <a:pt x="12681" y="8737"/>
                      </a:lnTo>
                      <a:lnTo>
                        <a:pt x="11972" y="7913"/>
                      </a:lnTo>
                      <a:lnTo>
                        <a:pt x="11206" y="7596"/>
                      </a:lnTo>
                      <a:lnTo>
                        <a:pt x="11866" y="10774"/>
                      </a:lnTo>
                      <a:lnTo>
                        <a:pt x="10309" y="13154"/>
                      </a:lnTo>
                      <a:lnTo>
                        <a:pt x="9885" y="19307"/>
                      </a:lnTo>
                      <a:lnTo>
                        <a:pt x="7921" y="21866"/>
                      </a:lnTo>
                      <a:lnTo>
                        <a:pt x="1809" y="23512"/>
                      </a:lnTo>
                      <a:lnTo>
                        <a:pt x="0" y="23357"/>
                      </a:lnTo>
                      <a:lnTo>
                        <a:pt x="310" y="21393"/>
                      </a:lnTo>
                      <a:lnTo>
                        <a:pt x="945" y="20570"/>
                      </a:lnTo>
                      <a:lnTo>
                        <a:pt x="1076" y="18435"/>
                      </a:lnTo>
                      <a:lnTo>
                        <a:pt x="1165" y="17041"/>
                      </a:lnTo>
                      <a:lnTo>
                        <a:pt x="1149" y="14678"/>
                      </a:lnTo>
                      <a:lnTo>
                        <a:pt x="1133" y="11972"/>
                      </a:lnTo>
                      <a:lnTo>
                        <a:pt x="1108" y="9038"/>
                      </a:lnTo>
                      <a:lnTo>
                        <a:pt x="1092" y="6455"/>
                      </a:lnTo>
                      <a:lnTo>
                        <a:pt x="1076" y="4588"/>
                      </a:lnTo>
                      <a:lnTo>
                        <a:pt x="1060" y="2005"/>
                      </a:lnTo>
                      <a:lnTo>
                        <a:pt x="1043" y="163"/>
                      </a:lnTo>
                      <a:lnTo>
                        <a:pt x="2901" y="130"/>
                      </a:lnTo>
                      <a:lnTo>
                        <a:pt x="5444" y="90"/>
                      </a:lnTo>
                      <a:lnTo>
                        <a:pt x="7905" y="49"/>
                      </a:lnTo>
                      <a:lnTo>
                        <a:pt x="9429" y="24"/>
                      </a:lnTo>
                      <a:lnTo>
                        <a:pt x="11304" y="0"/>
                      </a:lnTo>
                      <a:lnTo>
                        <a:pt x="11385" y="1540"/>
                      </a:lnTo>
                      <a:lnTo>
                        <a:pt x="11507" y="3920"/>
                      </a:lnTo>
                      <a:lnTo>
                        <a:pt x="12534" y="4295"/>
                      </a:lnTo>
                      <a:lnTo>
                        <a:pt x="12485" y="6226"/>
                      </a:lnTo>
                      <a:lnTo>
                        <a:pt x="12437" y="7514"/>
                      </a:lnTo>
                      <a:close/>
                    </a:path>
                  </a:pathLst>
                </a:custGeom>
                <a:solidFill>
                  <a:srgbClr val="D6D6D2"/>
                </a:solidFill>
                <a:ln w="8150" cap="flat">
                  <a:noFill/>
                  <a:prstDash val="solid"/>
                  <a:miter/>
                </a:ln>
              </p:spPr>
              <p:txBody>
                <a:bodyPr rtlCol="0" anchor="ctr"/>
                <a:lstStyle/>
                <a:p>
                  <a:endParaRPr lang="en-US"/>
                </a:p>
              </p:txBody>
            </p:sp>
            <p:sp>
              <p:nvSpPr>
                <p:cNvPr id="436" name="Freeform: Shape 435">
                  <a:extLst>
                    <a:ext uri="{FF2B5EF4-FFF2-40B4-BE49-F238E27FC236}">
                      <a16:creationId xmlns:a16="http://schemas.microsoft.com/office/drawing/2014/main" id="{01FF6A26-C1DD-43DC-BA3B-348D6E8273AB}"/>
                    </a:ext>
                  </a:extLst>
                </p:cNvPr>
                <p:cNvSpPr/>
                <p:nvPr/>
              </p:nvSpPr>
              <p:spPr>
                <a:xfrm>
                  <a:off x="3946532" y="3189016"/>
                  <a:ext cx="144397" cy="96199"/>
                </a:xfrm>
                <a:custGeom>
                  <a:avLst/>
                  <a:gdLst>
                    <a:gd name="connsiteX0" fmla="*/ 128970 w 144397"/>
                    <a:gd name="connsiteY0" fmla="*/ 91383 h 96199"/>
                    <a:gd name="connsiteX1" fmla="*/ 126989 w 144397"/>
                    <a:gd name="connsiteY1" fmla="*/ 92508 h 96199"/>
                    <a:gd name="connsiteX2" fmla="*/ 126484 w 144397"/>
                    <a:gd name="connsiteY2" fmla="*/ 93054 h 96199"/>
                    <a:gd name="connsiteX3" fmla="*/ 124267 w 144397"/>
                    <a:gd name="connsiteY3" fmla="*/ 92100 h 96199"/>
                    <a:gd name="connsiteX4" fmla="*/ 121195 w 144397"/>
                    <a:gd name="connsiteY4" fmla="*/ 92231 h 96199"/>
                    <a:gd name="connsiteX5" fmla="*/ 120143 w 144397"/>
                    <a:gd name="connsiteY5" fmla="*/ 92646 h 96199"/>
                    <a:gd name="connsiteX6" fmla="*/ 119337 w 144397"/>
                    <a:gd name="connsiteY6" fmla="*/ 93469 h 96199"/>
                    <a:gd name="connsiteX7" fmla="*/ 117470 w 144397"/>
                    <a:gd name="connsiteY7" fmla="*/ 96199 h 96199"/>
                    <a:gd name="connsiteX8" fmla="*/ 111741 w 144397"/>
                    <a:gd name="connsiteY8" fmla="*/ 96199 h 96199"/>
                    <a:gd name="connsiteX9" fmla="*/ 106012 w 144397"/>
                    <a:gd name="connsiteY9" fmla="*/ 96199 h 96199"/>
                    <a:gd name="connsiteX10" fmla="*/ 100291 w 144397"/>
                    <a:gd name="connsiteY10" fmla="*/ 96199 h 96199"/>
                    <a:gd name="connsiteX11" fmla="*/ 94570 w 144397"/>
                    <a:gd name="connsiteY11" fmla="*/ 96199 h 96199"/>
                    <a:gd name="connsiteX12" fmla="*/ 88848 w 144397"/>
                    <a:gd name="connsiteY12" fmla="*/ 96199 h 96199"/>
                    <a:gd name="connsiteX13" fmla="*/ 83119 w 144397"/>
                    <a:gd name="connsiteY13" fmla="*/ 96199 h 96199"/>
                    <a:gd name="connsiteX14" fmla="*/ 77398 w 144397"/>
                    <a:gd name="connsiteY14" fmla="*/ 96191 h 96199"/>
                    <a:gd name="connsiteX15" fmla="*/ 71669 w 144397"/>
                    <a:gd name="connsiteY15" fmla="*/ 96191 h 96199"/>
                    <a:gd name="connsiteX16" fmla="*/ 65948 w 144397"/>
                    <a:gd name="connsiteY16" fmla="*/ 96191 h 96199"/>
                    <a:gd name="connsiteX17" fmla="*/ 60227 w 144397"/>
                    <a:gd name="connsiteY17" fmla="*/ 96191 h 96199"/>
                    <a:gd name="connsiteX18" fmla="*/ 54497 w 144397"/>
                    <a:gd name="connsiteY18" fmla="*/ 96191 h 96199"/>
                    <a:gd name="connsiteX19" fmla="*/ 48768 w 144397"/>
                    <a:gd name="connsiteY19" fmla="*/ 96191 h 96199"/>
                    <a:gd name="connsiteX20" fmla="*/ 43055 w 144397"/>
                    <a:gd name="connsiteY20" fmla="*/ 96183 h 96199"/>
                    <a:gd name="connsiteX21" fmla="*/ 37326 w 144397"/>
                    <a:gd name="connsiteY21" fmla="*/ 96183 h 96199"/>
                    <a:gd name="connsiteX22" fmla="*/ 31597 w 144397"/>
                    <a:gd name="connsiteY22" fmla="*/ 96183 h 96199"/>
                    <a:gd name="connsiteX23" fmla="*/ 25876 w 144397"/>
                    <a:gd name="connsiteY23" fmla="*/ 96183 h 96199"/>
                    <a:gd name="connsiteX24" fmla="*/ 22648 w 144397"/>
                    <a:gd name="connsiteY24" fmla="*/ 96183 h 96199"/>
                    <a:gd name="connsiteX25" fmla="*/ 19413 w 144397"/>
                    <a:gd name="connsiteY25" fmla="*/ 96183 h 96199"/>
                    <a:gd name="connsiteX26" fmla="*/ 16177 w 144397"/>
                    <a:gd name="connsiteY26" fmla="*/ 96191 h 96199"/>
                    <a:gd name="connsiteX27" fmla="*/ 12958 w 144397"/>
                    <a:gd name="connsiteY27" fmla="*/ 96191 h 96199"/>
                    <a:gd name="connsiteX28" fmla="*/ 9723 w 144397"/>
                    <a:gd name="connsiteY28" fmla="*/ 96191 h 96199"/>
                    <a:gd name="connsiteX29" fmla="*/ 6495 w 144397"/>
                    <a:gd name="connsiteY29" fmla="*/ 96191 h 96199"/>
                    <a:gd name="connsiteX30" fmla="*/ 3268 w 144397"/>
                    <a:gd name="connsiteY30" fmla="*/ 96199 h 96199"/>
                    <a:gd name="connsiteX31" fmla="*/ 33 w 144397"/>
                    <a:gd name="connsiteY31" fmla="*/ 96199 h 96199"/>
                    <a:gd name="connsiteX32" fmla="*/ 33 w 144397"/>
                    <a:gd name="connsiteY32" fmla="*/ 92280 h 96199"/>
                    <a:gd name="connsiteX33" fmla="*/ 25 w 144397"/>
                    <a:gd name="connsiteY33" fmla="*/ 88359 h 96199"/>
                    <a:gd name="connsiteX34" fmla="*/ 25 w 144397"/>
                    <a:gd name="connsiteY34" fmla="*/ 84439 h 96199"/>
                    <a:gd name="connsiteX35" fmla="*/ 25 w 144397"/>
                    <a:gd name="connsiteY35" fmla="*/ 80511 h 96199"/>
                    <a:gd name="connsiteX36" fmla="*/ 16 w 144397"/>
                    <a:gd name="connsiteY36" fmla="*/ 76591 h 96199"/>
                    <a:gd name="connsiteX37" fmla="*/ 16 w 144397"/>
                    <a:gd name="connsiteY37" fmla="*/ 72663 h 96199"/>
                    <a:gd name="connsiteX38" fmla="*/ 16 w 144397"/>
                    <a:gd name="connsiteY38" fmla="*/ 68727 h 96199"/>
                    <a:gd name="connsiteX39" fmla="*/ 41 w 144397"/>
                    <a:gd name="connsiteY39" fmla="*/ 64815 h 96199"/>
                    <a:gd name="connsiteX40" fmla="*/ 16 w 144397"/>
                    <a:gd name="connsiteY40" fmla="*/ 61213 h 96199"/>
                    <a:gd name="connsiteX41" fmla="*/ 16 w 144397"/>
                    <a:gd name="connsiteY41" fmla="*/ 57643 h 96199"/>
                    <a:gd name="connsiteX42" fmla="*/ 16 w 144397"/>
                    <a:gd name="connsiteY42" fmla="*/ 54065 h 96199"/>
                    <a:gd name="connsiteX43" fmla="*/ 16 w 144397"/>
                    <a:gd name="connsiteY43" fmla="*/ 50488 h 96199"/>
                    <a:gd name="connsiteX44" fmla="*/ 16 w 144397"/>
                    <a:gd name="connsiteY44" fmla="*/ 46902 h 96199"/>
                    <a:gd name="connsiteX45" fmla="*/ 16 w 144397"/>
                    <a:gd name="connsiteY45" fmla="*/ 43316 h 96199"/>
                    <a:gd name="connsiteX46" fmla="*/ 16 w 144397"/>
                    <a:gd name="connsiteY46" fmla="*/ 39738 h 96199"/>
                    <a:gd name="connsiteX47" fmla="*/ 16 w 144397"/>
                    <a:gd name="connsiteY47" fmla="*/ 36152 h 96199"/>
                    <a:gd name="connsiteX48" fmla="*/ 16 w 144397"/>
                    <a:gd name="connsiteY48" fmla="*/ 32558 h 96199"/>
                    <a:gd name="connsiteX49" fmla="*/ 16 w 144397"/>
                    <a:gd name="connsiteY49" fmla="*/ 28964 h 96199"/>
                    <a:gd name="connsiteX50" fmla="*/ 16 w 144397"/>
                    <a:gd name="connsiteY50" fmla="*/ 25370 h 96199"/>
                    <a:gd name="connsiteX51" fmla="*/ 16 w 144397"/>
                    <a:gd name="connsiteY51" fmla="*/ 21768 h 96199"/>
                    <a:gd name="connsiteX52" fmla="*/ 16 w 144397"/>
                    <a:gd name="connsiteY52" fmla="*/ 18174 h 96199"/>
                    <a:gd name="connsiteX53" fmla="*/ 16 w 144397"/>
                    <a:gd name="connsiteY53" fmla="*/ 14572 h 96199"/>
                    <a:gd name="connsiteX54" fmla="*/ 16 w 144397"/>
                    <a:gd name="connsiteY54" fmla="*/ 10961 h 96199"/>
                    <a:gd name="connsiteX55" fmla="*/ 0 w 144397"/>
                    <a:gd name="connsiteY55" fmla="*/ 7392 h 96199"/>
                    <a:gd name="connsiteX56" fmla="*/ 6773 w 144397"/>
                    <a:gd name="connsiteY56" fmla="*/ 5957 h 96199"/>
                    <a:gd name="connsiteX57" fmla="*/ 12029 w 144397"/>
                    <a:gd name="connsiteY57" fmla="*/ 3358 h 96199"/>
                    <a:gd name="connsiteX58" fmla="*/ 18818 w 144397"/>
                    <a:gd name="connsiteY58" fmla="*/ 0 h 96199"/>
                    <a:gd name="connsiteX59" fmla="*/ 18793 w 144397"/>
                    <a:gd name="connsiteY59" fmla="*/ 4621 h 96199"/>
                    <a:gd name="connsiteX60" fmla="*/ 18793 w 144397"/>
                    <a:gd name="connsiteY60" fmla="*/ 9250 h 96199"/>
                    <a:gd name="connsiteX61" fmla="*/ 18793 w 144397"/>
                    <a:gd name="connsiteY61" fmla="*/ 13887 h 96199"/>
                    <a:gd name="connsiteX62" fmla="*/ 18801 w 144397"/>
                    <a:gd name="connsiteY62" fmla="*/ 18516 h 96199"/>
                    <a:gd name="connsiteX63" fmla="*/ 22216 w 144397"/>
                    <a:gd name="connsiteY63" fmla="*/ 18516 h 96199"/>
                    <a:gd name="connsiteX64" fmla="*/ 25631 w 144397"/>
                    <a:gd name="connsiteY64" fmla="*/ 18516 h 96199"/>
                    <a:gd name="connsiteX65" fmla="*/ 29054 w 144397"/>
                    <a:gd name="connsiteY65" fmla="*/ 18516 h 96199"/>
                    <a:gd name="connsiteX66" fmla="*/ 32469 w 144397"/>
                    <a:gd name="connsiteY66" fmla="*/ 18524 h 96199"/>
                    <a:gd name="connsiteX67" fmla="*/ 35892 w 144397"/>
                    <a:gd name="connsiteY67" fmla="*/ 18524 h 96199"/>
                    <a:gd name="connsiteX68" fmla="*/ 39314 w 144397"/>
                    <a:gd name="connsiteY68" fmla="*/ 18533 h 96199"/>
                    <a:gd name="connsiteX69" fmla="*/ 42729 w 144397"/>
                    <a:gd name="connsiteY69" fmla="*/ 18533 h 96199"/>
                    <a:gd name="connsiteX70" fmla="*/ 46152 w 144397"/>
                    <a:gd name="connsiteY70" fmla="*/ 18533 h 96199"/>
                    <a:gd name="connsiteX71" fmla="*/ 49567 w 144397"/>
                    <a:gd name="connsiteY71" fmla="*/ 18533 h 96199"/>
                    <a:gd name="connsiteX72" fmla="*/ 52990 w 144397"/>
                    <a:gd name="connsiteY72" fmla="*/ 18541 h 96199"/>
                    <a:gd name="connsiteX73" fmla="*/ 56404 w 144397"/>
                    <a:gd name="connsiteY73" fmla="*/ 18541 h 96199"/>
                    <a:gd name="connsiteX74" fmla="*/ 59827 w 144397"/>
                    <a:gd name="connsiteY74" fmla="*/ 18541 h 96199"/>
                    <a:gd name="connsiteX75" fmla="*/ 63250 w 144397"/>
                    <a:gd name="connsiteY75" fmla="*/ 18549 h 96199"/>
                    <a:gd name="connsiteX76" fmla="*/ 66665 w 144397"/>
                    <a:gd name="connsiteY76" fmla="*/ 18549 h 96199"/>
                    <a:gd name="connsiteX77" fmla="*/ 70088 w 144397"/>
                    <a:gd name="connsiteY77" fmla="*/ 18557 h 96199"/>
                    <a:gd name="connsiteX78" fmla="*/ 73503 w 144397"/>
                    <a:gd name="connsiteY78" fmla="*/ 18557 h 96199"/>
                    <a:gd name="connsiteX79" fmla="*/ 76925 w 144397"/>
                    <a:gd name="connsiteY79" fmla="*/ 18557 h 96199"/>
                    <a:gd name="connsiteX80" fmla="*/ 80340 w 144397"/>
                    <a:gd name="connsiteY80" fmla="*/ 18557 h 96199"/>
                    <a:gd name="connsiteX81" fmla="*/ 83763 w 144397"/>
                    <a:gd name="connsiteY81" fmla="*/ 18565 h 96199"/>
                    <a:gd name="connsiteX82" fmla="*/ 87186 w 144397"/>
                    <a:gd name="connsiteY82" fmla="*/ 18565 h 96199"/>
                    <a:gd name="connsiteX83" fmla="*/ 90601 w 144397"/>
                    <a:gd name="connsiteY83" fmla="*/ 18573 h 96199"/>
                    <a:gd name="connsiteX84" fmla="*/ 94024 w 144397"/>
                    <a:gd name="connsiteY84" fmla="*/ 18573 h 96199"/>
                    <a:gd name="connsiteX85" fmla="*/ 97438 w 144397"/>
                    <a:gd name="connsiteY85" fmla="*/ 18573 h 96199"/>
                    <a:gd name="connsiteX86" fmla="*/ 100861 w 144397"/>
                    <a:gd name="connsiteY86" fmla="*/ 18573 h 96199"/>
                    <a:gd name="connsiteX87" fmla="*/ 104276 w 144397"/>
                    <a:gd name="connsiteY87" fmla="*/ 18581 h 96199"/>
                    <a:gd name="connsiteX88" fmla="*/ 107699 w 144397"/>
                    <a:gd name="connsiteY88" fmla="*/ 18581 h 96199"/>
                    <a:gd name="connsiteX89" fmla="*/ 111113 w 144397"/>
                    <a:gd name="connsiteY89" fmla="*/ 18581 h 96199"/>
                    <a:gd name="connsiteX90" fmla="*/ 114536 w 144397"/>
                    <a:gd name="connsiteY90" fmla="*/ 18581 h 96199"/>
                    <a:gd name="connsiteX91" fmla="*/ 117959 w 144397"/>
                    <a:gd name="connsiteY91" fmla="*/ 18590 h 96199"/>
                    <a:gd name="connsiteX92" fmla="*/ 121374 w 144397"/>
                    <a:gd name="connsiteY92" fmla="*/ 18598 h 96199"/>
                    <a:gd name="connsiteX93" fmla="*/ 124797 w 144397"/>
                    <a:gd name="connsiteY93" fmla="*/ 18598 h 96199"/>
                    <a:gd name="connsiteX94" fmla="*/ 128220 w 144397"/>
                    <a:gd name="connsiteY94" fmla="*/ 18598 h 96199"/>
                    <a:gd name="connsiteX95" fmla="*/ 130135 w 144397"/>
                    <a:gd name="connsiteY95" fmla="*/ 20383 h 96199"/>
                    <a:gd name="connsiteX96" fmla="*/ 131007 w 144397"/>
                    <a:gd name="connsiteY96" fmla="*/ 22249 h 96199"/>
                    <a:gd name="connsiteX97" fmla="*/ 133908 w 144397"/>
                    <a:gd name="connsiteY97" fmla="*/ 23577 h 96199"/>
                    <a:gd name="connsiteX98" fmla="*/ 134560 w 144397"/>
                    <a:gd name="connsiteY98" fmla="*/ 24319 h 96199"/>
                    <a:gd name="connsiteX99" fmla="*/ 134577 w 144397"/>
                    <a:gd name="connsiteY99" fmla="*/ 25427 h 96199"/>
                    <a:gd name="connsiteX100" fmla="*/ 135595 w 144397"/>
                    <a:gd name="connsiteY100" fmla="*/ 26609 h 96199"/>
                    <a:gd name="connsiteX101" fmla="*/ 135269 w 144397"/>
                    <a:gd name="connsiteY101" fmla="*/ 28386 h 96199"/>
                    <a:gd name="connsiteX102" fmla="*/ 135286 w 144397"/>
                    <a:gd name="connsiteY102" fmla="*/ 29983 h 96199"/>
                    <a:gd name="connsiteX103" fmla="*/ 135652 w 144397"/>
                    <a:gd name="connsiteY103" fmla="*/ 31980 h 96199"/>
                    <a:gd name="connsiteX104" fmla="*/ 136361 w 144397"/>
                    <a:gd name="connsiteY104" fmla="*/ 33879 h 96199"/>
                    <a:gd name="connsiteX105" fmla="*/ 137388 w 144397"/>
                    <a:gd name="connsiteY105" fmla="*/ 35427 h 96199"/>
                    <a:gd name="connsiteX106" fmla="*/ 138529 w 144397"/>
                    <a:gd name="connsiteY106" fmla="*/ 36568 h 96199"/>
                    <a:gd name="connsiteX107" fmla="*/ 142963 w 144397"/>
                    <a:gd name="connsiteY107" fmla="*/ 38296 h 96199"/>
                    <a:gd name="connsiteX108" fmla="*/ 143867 w 144397"/>
                    <a:gd name="connsiteY108" fmla="*/ 39290 h 96199"/>
                    <a:gd name="connsiteX109" fmla="*/ 144397 w 144397"/>
                    <a:gd name="connsiteY109" fmla="*/ 40578 h 96199"/>
                    <a:gd name="connsiteX110" fmla="*/ 142441 w 144397"/>
                    <a:gd name="connsiteY110" fmla="*/ 41678 h 96199"/>
                    <a:gd name="connsiteX111" fmla="*/ 141577 w 144397"/>
                    <a:gd name="connsiteY111" fmla="*/ 42485 h 96199"/>
                    <a:gd name="connsiteX112" fmla="*/ 140868 w 144397"/>
                    <a:gd name="connsiteY112" fmla="*/ 43609 h 96199"/>
                    <a:gd name="connsiteX113" fmla="*/ 139100 w 144397"/>
                    <a:gd name="connsiteY113" fmla="*/ 47480 h 96199"/>
                    <a:gd name="connsiteX114" fmla="*/ 136141 w 144397"/>
                    <a:gd name="connsiteY114" fmla="*/ 51009 h 96199"/>
                    <a:gd name="connsiteX115" fmla="*/ 133876 w 144397"/>
                    <a:gd name="connsiteY115" fmla="*/ 52818 h 96199"/>
                    <a:gd name="connsiteX116" fmla="*/ 133884 w 144397"/>
                    <a:gd name="connsiteY116" fmla="*/ 53747 h 96199"/>
                    <a:gd name="connsiteX117" fmla="*/ 135074 w 144397"/>
                    <a:gd name="connsiteY117" fmla="*/ 56722 h 96199"/>
                    <a:gd name="connsiteX118" fmla="*/ 135049 w 144397"/>
                    <a:gd name="connsiteY118" fmla="*/ 57684 h 96199"/>
                    <a:gd name="connsiteX119" fmla="*/ 134153 w 144397"/>
                    <a:gd name="connsiteY119" fmla="*/ 59526 h 96199"/>
                    <a:gd name="connsiteX120" fmla="*/ 132596 w 144397"/>
                    <a:gd name="connsiteY120" fmla="*/ 60430 h 96199"/>
                    <a:gd name="connsiteX121" fmla="*/ 132319 w 144397"/>
                    <a:gd name="connsiteY121" fmla="*/ 61514 h 96199"/>
                    <a:gd name="connsiteX122" fmla="*/ 132164 w 144397"/>
                    <a:gd name="connsiteY122" fmla="*/ 63348 h 96199"/>
                    <a:gd name="connsiteX123" fmla="*/ 132238 w 144397"/>
                    <a:gd name="connsiteY123" fmla="*/ 66551 h 96199"/>
                    <a:gd name="connsiteX124" fmla="*/ 132702 w 144397"/>
                    <a:gd name="connsiteY124" fmla="*/ 67203 h 96199"/>
                    <a:gd name="connsiteX125" fmla="*/ 134511 w 144397"/>
                    <a:gd name="connsiteY125" fmla="*/ 68352 h 96199"/>
                    <a:gd name="connsiteX126" fmla="*/ 136084 w 144397"/>
                    <a:gd name="connsiteY126" fmla="*/ 72516 h 96199"/>
                    <a:gd name="connsiteX127" fmla="*/ 137511 w 144397"/>
                    <a:gd name="connsiteY127" fmla="*/ 73022 h 96199"/>
                    <a:gd name="connsiteX128" fmla="*/ 143501 w 144397"/>
                    <a:gd name="connsiteY128" fmla="*/ 81554 h 96199"/>
                    <a:gd name="connsiteX129" fmla="*/ 139181 w 144397"/>
                    <a:gd name="connsiteY129" fmla="*/ 84097 h 96199"/>
                    <a:gd name="connsiteX130" fmla="*/ 136337 w 144397"/>
                    <a:gd name="connsiteY130" fmla="*/ 86208 h 96199"/>
                    <a:gd name="connsiteX131" fmla="*/ 135090 w 144397"/>
                    <a:gd name="connsiteY131" fmla="*/ 87349 h 96199"/>
                    <a:gd name="connsiteX132" fmla="*/ 132637 w 144397"/>
                    <a:gd name="connsiteY132" fmla="*/ 90356 h 96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144397" h="96199">
                      <a:moveTo>
                        <a:pt x="128970" y="91383"/>
                      </a:moveTo>
                      <a:lnTo>
                        <a:pt x="126989" y="92508"/>
                      </a:lnTo>
                      <a:lnTo>
                        <a:pt x="126484" y="93054"/>
                      </a:lnTo>
                      <a:lnTo>
                        <a:pt x="124267" y="92100"/>
                      </a:lnTo>
                      <a:lnTo>
                        <a:pt x="121195" y="92231"/>
                      </a:lnTo>
                      <a:lnTo>
                        <a:pt x="120143" y="92646"/>
                      </a:lnTo>
                      <a:lnTo>
                        <a:pt x="119337" y="93469"/>
                      </a:lnTo>
                      <a:lnTo>
                        <a:pt x="117470" y="96199"/>
                      </a:lnTo>
                      <a:lnTo>
                        <a:pt x="111741" y="96199"/>
                      </a:lnTo>
                      <a:lnTo>
                        <a:pt x="106012" y="96199"/>
                      </a:lnTo>
                      <a:lnTo>
                        <a:pt x="100291" y="96199"/>
                      </a:lnTo>
                      <a:lnTo>
                        <a:pt x="94570" y="96199"/>
                      </a:lnTo>
                      <a:lnTo>
                        <a:pt x="88848" y="96199"/>
                      </a:lnTo>
                      <a:lnTo>
                        <a:pt x="83119" y="96199"/>
                      </a:lnTo>
                      <a:lnTo>
                        <a:pt x="77398" y="96191"/>
                      </a:lnTo>
                      <a:lnTo>
                        <a:pt x="71669" y="96191"/>
                      </a:lnTo>
                      <a:lnTo>
                        <a:pt x="65948" y="96191"/>
                      </a:lnTo>
                      <a:lnTo>
                        <a:pt x="60227" y="96191"/>
                      </a:lnTo>
                      <a:lnTo>
                        <a:pt x="54497" y="96191"/>
                      </a:lnTo>
                      <a:lnTo>
                        <a:pt x="48768" y="96191"/>
                      </a:lnTo>
                      <a:lnTo>
                        <a:pt x="43055" y="96183"/>
                      </a:lnTo>
                      <a:lnTo>
                        <a:pt x="37326" y="96183"/>
                      </a:lnTo>
                      <a:lnTo>
                        <a:pt x="31597" y="96183"/>
                      </a:lnTo>
                      <a:lnTo>
                        <a:pt x="25876" y="96183"/>
                      </a:lnTo>
                      <a:lnTo>
                        <a:pt x="22648" y="96183"/>
                      </a:lnTo>
                      <a:lnTo>
                        <a:pt x="19413" y="96183"/>
                      </a:lnTo>
                      <a:lnTo>
                        <a:pt x="16177" y="96191"/>
                      </a:lnTo>
                      <a:lnTo>
                        <a:pt x="12958" y="96191"/>
                      </a:lnTo>
                      <a:lnTo>
                        <a:pt x="9723" y="96191"/>
                      </a:lnTo>
                      <a:lnTo>
                        <a:pt x="6495" y="96191"/>
                      </a:lnTo>
                      <a:lnTo>
                        <a:pt x="3268" y="96199"/>
                      </a:lnTo>
                      <a:lnTo>
                        <a:pt x="33" y="96199"/>
                      </a:lnTo>
                      <a:lnTo>
                        <a:pt x="33" y="92280"/>
                      </a:lnTo>
                      <a:lnTo>
                        <a:pt x="25" y="88359"/>
                      </a:lnTo>
                      <a:lnTo>
                        <a:pt x="25" y="84439"/>
                      </a:lnTo>
                      <a:lnTo>
                        <a:pt x="25" y="80511"/>
                      </a:lnTo>
                      <a:lnTo>
                        <a:pt x="16" y="76591"/>
                      </a:lnTo>
                      <a:lnTo>
                        <a:pt x="16" y="72663"/>
                      </a:lnTo>
                      <a:lnTo>
                        <a:pt x="16" y="68727"/>
                      </a:lnTo>
                      <a:lnTo>
                        <a:pt x="41" y="64815"/>
                      </a:lnTo>
                      <a:lnTo>
                        <a:pt x="16" y="61213"/>
                      </a:lnTo>
                      <a:lnTo>
                        <a:pt x="16" y="57643"/>
                      </a:lnTo>
                      <a:lnTo>
                        <a:pt x="16" y="54065"/>
                      </a:lnTo>
                      <a:lnTo>
                        <a:pt x="16" y="50488"/>
                      </a:lnTo>
                      <a:lnTo>
                        <a:pt x="16" y="46902"/>
                      </a:lnTo>
                      <a:lnTo>
                        <a:pt x="16" y="43316"/>
                      </a:lnTo>
                      <a:lnTo>
                        <a:pt x="16" y="39738"/>
                      </a:lnTo>
                      <a:lnTo>
                        <a:pt x="16" y="36152"/>
                      </a:lnTo>
                      <a:lnTo>
                        <a:pt x="16" y="32558"/>
                      </a:lnTo>
                      <a:lnTo>
                        <a:pt x="16" y="28964"/>
                      </a:lnTo>
                      <a:lnTo>
                        <a:pt x="16" y="25370"/>
                      </a:lnTo>
                      <a:lnTo>
                        <a:pt x="16" y="21768"/>
                      </a:lnTo>
                      <a:lnTo>
                        <a:pt x="16" y="18174"/>
                      </a:lnTo>
                      <a:lnTo>
                        <a:pt x="16" y="14572"/>
                      </a:lnTo>
                      <a:lnTo>
                        <a:pt x="16" y="10961"/>
                      </a:lnTo>
                      <a:lnTo>
                        <a:pt x="0" y="7392"/>
                      </a:lnTo>
                      <a:lnTo>
                        <a:pt x="6773" y="5957"/>
                      </a:lnTo>
                      <a:lnTo>
                        <a:pt x="12029" y="3358"/>
                      </a:lnTo>
                      <a:lnTo>
                        <a:pt x="18818" y="0"/>
                      </a:lnTo>
                      <a:lnTo>
                        <a:pt x="18793" y="4621"/>
                      </a:lnTo>
                      <a:lnTo>
                        <a:pt x="18793" y="9250"/>
                      </a:lnTo>
                      <a:lnTo>
                        <a:pt x="18793" y="13887"/>
                      </a:lnTo>
                      <a:lnTo>
                        <a:pt x="18801" y="18516"/>
                      </a:lnTo>
                      <a:lnTo>
                        <a:pt x="22216" y="18516"/>
                      </a:lnTo>
                      <a:lnTo>
                        <a:pt x="25631" y="18516"/>
                      </a:lnTo>
                      <a:lnTo>
                        <a:pt x="29054" y="18516"/>
                      </a:lnTo>
                      <a:lnTo>
                        <a:pt x="32469" y="18524"/>
                      </a:lnTo>
                      <a:lnTo>
                        <a:pt x="35892" y="18524"/>
                      </a:lnTo>
                      <a:lnTo>
                        <a:pt x="39314" y="18533"/>
                      </a:lnTo>
                      <a:lnTo>
                        <a:pt x="42729" y="18533"/>
                      </a:lnTo>
                      <a:lnTo>
                        <a:pt x="46152" y="18533"/>
                      </a:lnTo>
                      <a:lnTo>
                        <a:pt x="49567" y="18533"/>
                      </a:lnTo>
                      <a:lnTo>
                        <a:pt x="52990" y="18541"/>
                      </a:lnTo>
                      <a:lnTo>
                        <a:pt x="56404" y="18541"/>
                      </a:lnTo>
                      <a:lnTo>
                        <a:pt x="59827" y="18541"/>
                      </a:lnTo>
                      <a:lnTo>
                        <a:pt x="63250" y="18549"/>
                      </a:lnTo>
                      <a:lnTo>
                        <a:pt x="66665" y="18549"/>
                      </a:lnTo>
                      <a:lnTo>
                        <a:pt x="70088" y="18557"/>
                      </a:lnTo>
                      <a:lnTo>
                        <a:pt x="73503" y="18557"/>
                      </a:lnTo>
                      <a:lnTo>
                        <a:pt x="76925" y="18557"/>
                      </a:lnTo>
                      <a:lnTo>
                        <a:pt x="80340" y="18557"/>
                      </a:lnTo>
                      <a:lnTo>
                        <a:pt x="83763" y="18565"/>
                      </a:lnTo>
                      <a:lnTo>
                        <a:pt x="87186" y="18565"/>
                      </a:lnTo>
                      <a:lnTo>
                        <a:pt x="90601" y="18573"/>
                      </a:lnTo>
                      <a:lnTo>
                        <a:pt x="94024" y="18573"/>
                      </a:lnTo>
                      <a:lnTo>
                        <a:pt x="97438" y="18573"/>
                      </a:lnTo>
                      <a:lnTo>
                        <a:pt x="100861" y="18573"/>
                      </a:lnTo>
                      <a:lnTo>
                        <a:pt x="104276" y="18581"/>
                      </a:lnTo>
                      <a:lnTo>
                        <a:pt x="107699" y="18581"/>
                      </a:lnTo>
                      <a:lnTo>
                        <a:pt x="111113" y="18581"/>
                      </a:lnTo>
                      <a:lnTo>
                        <a:pt x="114536" y="18581"/>
                      </a:lnTo>
                      <a:lnTo>
                        <a:pt x="117959" y="18590"/>
                      </a:lnTo>
                      <a:lnTo>
                        <a:pt x="121374" y="18598"/>
                      </a:lnTo>
                      <a:lnTo>
                        <a:pt x="124797" y="18598"/>
                      </a:lnTo>
                      <a:lnTo>
                        <a:pt x="128220" y="18598"/>
                      </a:lnTo>
                      <a:lnTo>
                        <a:pt x="130135" y="20383"/>
                      </a:lnTo>
                      <a:lnTo>
                        <a:pt x="131007" y="22249"/>
                      </a:lnTo>
                      <a:lnTo>
                        <a:pt x="133908" y="23577"/>
                      </a:lnTo>
                      <a:lnTo>
                        <a:pt x="134560" y="24319"/>
                      </a:lnTo>
                      <a:lnTo>
                        <a:pt x="134577" y="25427"/>
                      </a:lnTo>
                      <a:lnTo>
                        <a:pt x="135595" y="26609"/>
                      </a:lnTo>
                      <a:lnTo>
                        <a:pt x="135269" y="28386"/>
                      </a:lnTo>
                      <a:lnTo>
                        <a:pt x="135286" y="29983"/>
                      </a:lnTo>
                      <a:lnTo>
                        <a:pt x="135652" y="31980"/>
                      </a:lnTo>
                      <a:lnTo>
                        <a:pt x="136361" y="33879"/>
                      </a:lnTo>
                      <a:lnTo>
                        <a:pt x="137388" y="35427"/>
                      </a:lnTo>
                      <a:lnTo>
                        <a:pt x="138529" y="36568"/>
                      </a:lnTo>
                      <a:lnTo>
                        <a:pt x="142963" y="38296"/>
                      </a:lnTo>
                      <a:lnTo>
                        <a:pt x="143867" y="39290"/>
                      </a:lnTo>
                      <a:lnTo>
                        <a:pt x="144397" y="40578"/>
                      </a:lnTo>
                      <a:lnTo>
                        <a:pt x="142441" y="41678"/>
                      </a:lnTo>
                      <a:lnTo>
                        <a:pt x="141577" y="42485"/>
                      </a:lnTo>
                      <a:lnTo>
                        <a:pt x="140868" y="43609"/>
                      </a:lnTo>
                      <a:lnTo>
                        <a:pt x="139100" y="47480"/>
                      </a:lnTo>
                      <a:lnTo>
                        <a:pt x="136141" y="51009"/>
                      </a:lnTo>
                      <a:lnTo>
                        <a:pt x="133876" y="52818"/>
                      </a:lnTo>
                      <a:lnTo>
                        <a:pt x="133884" y="53747"/>
                      </a:lnTo>
                      <a:lnTo>
                        <a:pt x="135074" y="56722"/>
                      </a:lnTo>
                      <a:lnTo>
                        <a:pt x="135049" y="57684"/>
                      </a:lnTo>
                      <a:lnTo>
                        <a:pt x="134153" y="59526"/>
                      </a:lnTo>
                      <a:lnTo>
                        <a:pt x="132596" y="60430"/>
                      </a:lnTo>
                      <a:lnTo>
                        <a:pt x="132319" y="61514"/>
                      </a:lnTo>
                      <a:lnTo>
                        <a:pt x="132164" y="63348"/>
                      </a:lnTo>
                      <a:lnTo>
                        <a:pt x="132238" y="66551"/>
                      </a:lnTo>
                      <a:lnTo>
                        <a:pt x="132702" y="67203"/>
                      </a:lnTo>
                      <a:lnTo>
                        <a:pt x="134511" y="68352"/>
                      </a:lnTo>
                      <a:lnTo>
                        <a:pt x="136084" y="72516"/>
                      </a:lnTo>
                      <a:lnTo>
                        <a:pt x="137511" y="73022"/>
                      </a:lnTo>
                      <a:lnTo>
                        <a:pt x="143501" y="81554"/>
                      </a:lnTo>
                      <a:lnTo>
                        <a:pt x="139181" y="84097"/>
                      </a:lnTo>
                      <a:lnTo>
                        <a:pt x="136337" y="86208"/>
                      </a:lnTo>
                      <a:lnTo>
                        <a:pt x="135090" y="87349"/>
                      </a:lnTo>
                      <a:lnTo>
                        <a:pt x="132637" y="90356"/>
                      </a:lnTo>
                      <a:close/>
                    </a:path>
                  </a:pathLst>
                </a:custGeom>
                <a:solidFill>
                  <a:srgbClr val="D6D6D2"/>
                </a:solidFill>
                <a:ln w="6112" cap="rnd">
                  <a:solidFill>
                    <a:srgbClr val="FFFFFF"/>
                  </a:solidFill>
                  <a:prstDash val="solid"/>
                  <a:round/>
                </a:ln>
              </p:spPr>
              <p:txBody>
                <a:bodyPr rtlCol="0" anchor="ctr"/>
                <a:lstStyle/>
                <a:p>
                  <a:endParaRPr lang="en-US"/>
                </a:p>
              </p:txBody>
            </p:sp>
            <p:sp>
              <p:nvSpPr>
                <p:cNvPr id="437" name="Freeform: Shape 436">
                  <a:extLst>
                    <a:ext uri="{FF2B5EF4-FFF2-40B4-BE49-F238E27FC236}">
                      <a16:creationId xmlns:a16="http://schemas.microsoft.com/office/drawing/2014/main" id="{56A74279-3AE1-415B-ADE4-89CE30568435}"/>
                    </a:ext>
                  </a:extLst>
                </p:cNvPr>
                <p:cNvSpPr/>
                <p:nvPr/>
              </p:nvSpPr>
              <p:spPr>
                <a:xfrm>
                  <a:off x="2854761" y="3060259"/>
                  <a:ext cx="199978" cy="147282"/>
                </a:xfrm>
                <a:custGeom>
                  <a:avLst/>
                  <a:gdLst>
                    <a:gd name="connsiteX0" fmla="*/ 14303 w 199978"/>
                    <a:gd name="connsiteY0" fmla="*/ 0 h 147282"/>
                    <a:gd name="connsiteX1" fmla="*/ 15582 w 199978"/>
                    <a:gd name="connsiteY1" fmla="*/ 1532 h 147282"/>
                    <a:gd name="connsiteX2" fmla="*/ 21483 w 199978"/>
                    <a:gd name="connsiteY2" fmla="*/ 1516 h 147282"/>
                    <a:gd name="connsiteX3" fmla="*/ 25256 w 199978"/>
                    <a:gd name="connsiteY3" fmla="*/ 98 h 147282"/>
                    <a:gd name="connsiteX4" fmla="*/ 26625 w 199978"/>
                    <a:gd name="connsiteY4" fmla="*/ 571 h 147282"/>
                    <a:gd name="connsiteX5" fmla="*/ 28214 w 199978"/>
                    <a:gd name="connsiteY5" fmla="*/ 2494 h 147282"/>
                    <a:gd name="connsiteX6" fmla="*/ 30219 w 199978"/>
                    <a:gd name="connsiteY6" fmla="*/ 2885 h 147282"/>
                    <a:gd name="connsiteX7" fmla="*/ 32721 w 199978"/>
                    <a:gd name="connsiteY7" fmla="*/ 2543 h 147282"/>
                    <a:gd name="connsiteX8" fmla="*/ 35190 w 199978"/>
                    <a:gd name="connsiteY8" fmla="*/ 1654 h 147282"/>
                    <a:gd name="connsiteX9" fmla="*/ 37138 w 199978"/>
                    <a:gd name="connsiteY9" fmla="*/ 2314 h 147282"/>
                    <a:gd name="connsiteX10" fmla="*/ 39632 w 199978"/>
                    <a:gd name="connsiteY10" fmla="*/ 3920 h 147282"/>
                    <a:gd name="connsiteX11" fmla="*/ 42077 w 199978"/>
                    <a:gd name="connsiteY11" fmla="*/ 8745 h 147282"/>
                    <a:gd name="connsiteX12" fmla="*/ 44481 w 199978"/>
                    <a:gd name="connsiteY12" fmla="*/ 16813 h 147282"/>
                    <a:gd name="connsiteX13" fmla="*/ 44987 w 199978"/>
                    <a:gd name="connsiteY13" fmla="*/ 19494 h 147282"/>
                    <a:gd name="connsiteX14" fmla="*/ 46877 w 199978"/>
                    <a:gd name="connsiteY14" fmla="*/ 21124 h 147282"/>
                    <a:gd name="connsiteX15" fmla="*/ 49086 w 199978"/>
                    <a:gd name="connsiteY15" fmla="*/ 21206 h 147282"/>
                    <a:gd name="connsiteX16" fmla="*/ 57969 w 199978"/>
                    <a:gd name="connsiteY16" fmla="*/ 22404 h 147282"/>
                    <a:gd name="connsiteX17" fmla="*/ 59273 w 199978"/>
                    <a:gd name="connsiteY17" fmla="*/ 22314 h 147282"/>
                    <a:gd name="connsiteX18" fmla="*/ 59273 w 199978"/>
                    <a:gd name="connsiteY18" fmla="*/ 22314 h 147282"/>
                    <a:gd name="connsiteX19" fmla="*/ 60879 w 199978"/>
                    <a:gd name="connsiteY19" fmla="*/ 21996 h 147282"/>
                    <a:gd name="connsiteX20" fmla="*/ 65915 w 199978"/>
                    <a:gd name="connsiteY20" fmla="*/ 18932 h 147282"/>
                    <a:gd name="connsiteX21" fmla="*/ 71359 w 199978"/>
                    <a:gd name="connsiteY21" fmla="*/ 17921 h 147282"/>
                    <a:gd name="connsiteX22" fmla="*/ 77822 w 199978"/>
                    <a:gd name="connsiteY22" fmla="*/ 18149 h 147282"/>
                    <a:gd name="connsiteX23" fmla="*/ 81774 w 199978"/>
                    <a:gd name="connsiteY23" fmla="*/ 19021 h 147282"/>
                    <a:gd name="connsiteX24" fmla="*/ 83225 w 199978"/>
                    <a:gd name="connsiteY24" fmla="*/ 20545 h 147282"/>
                    <a:gd name="connsiteX25" fmla="*/ 86672 w 199978"/>
                    <a:gd name="connsiteY25" fmla="*/ 20717 h 147282"/>
                    <a:gd name="connsiteX26" fmla="*/ 94847 w 199978"/>
                    <a:gd name="connsiteY26" fmla="*/ 18924 h 147282"/>
                    <a:gd name="connsiteX27" fmla="*/ 103885 w 199978"/>
                    <a:gd name="connsiteY27" fmla="*/ 17677 h 147282"/>
                    <a:gd name="connsiteX28" fmla="*/ 108726 w 199978"/>
                    <a:gd name="connsiteY28" fmla="*/ 16373 h 147282"/>
                    <a:gd name="connsiteX29" fmla="*/ 114227 w 199978"/>
                    <a:gd name="connsiteY29" fmla="*/ 13708 h 147282"/>
                    <a:gd name="connsiteX30" fmla="*/ 126753 w 199978"/>
                    <a:gd name="connsiteY30" fmla="*/ 10301 h 147282"/>
                    <a:gd name="connsiteX31" fmla="*/ 132995 w 199978"/>
                    <a:gd name="connsiteY31" fmla="*/ 9918 h 147282"/>
                    <a:gd name="connsiteX32" fmla="*/ 136166 w 199978"/>
                    <a:gd name="connsiteY32" fmla="*/ 8631 h 147282"/>
                    <a:gd name="connsiteX33" fmla="*/ 136907 w 199978"/>
                    <a:gd name="connsiteY33" fmla="*/ 7962 h 147282"/>
                    <a:gd name="connsiteX34" fmla="*/ 137339 w 199978"/>
                    <a:gd name="connsiteY34" fmla="*/ 7954 h 147282"/>
                    <a:gd name="connsiteX35" fmla="*/ 143924 w 199978"/>
                    <a:gd name="connsiteY35" fmla="*/ 7946 h 147282"/>
                    <a:gd name="connsiteX36" fmla="*/ 150509 w 199978"/>
                    <a:gd name="connsiteY36" fmla="*/ 7938 h 147282"/>
                    <a:gd name="connsiteX37" fmla="*/ 157086 w 199978"/>
                    <a:gd name="connsiteY37" fmla="*/ 7930 h 147282"/>
                    <a:gd name="connsiteX38" fmla="*/ 163679 w 199978"/>
                    <a:gd name="connsiteY38" fmla="*/ 7922 h 147282"/>
                    <a:gd name="connsiteX39" fmla="*/ 170256 w 199978"/>
                    <a:gd name="connsiteY39" fmla="*/ 7913 h 147282"/>
                    <a:gd name="connsiteX40" fmla="*/ 176841 w 199978"/>
                    <a:gd name="connsiteY40" fmla="*/ 7905 h 147282"/>
                    <a:gd name="connsiteX41" fmla="*/ 183418 w 199978"/>
                    <a:gd name="connsiteY41" fmla="*/ 7897 h 147282"/>
                    <a:gd name="connsiteX42" fmla="*/ 189571 w 199978"/>
                    <a:gd name="connsiteY42" fmla="*/ 7905 h 147282"/>
                    <a:gd name="connsiteX43" fmla="*/ 190247 w 199978"/>
                    <a:gd name="connsiteY43" fmla="*/ 9446 h 147282"/>
                    <a:gd name="connsiteX44" fmla="*/ 192839 w 199978"/>
                    <a:gd name="connsiteY44" fmla="*/ 12469 h 147282"/>
                    <a:gd name="connsiteX45" fmla="*/ 196506 w 199978"/>
                    <a:gd name="connsiteY45" fmla="*/ 15069 h 147282"/>
                    <a:gd name="connsiteX46" fmla="*/ 198886 w 199978"/>
                    <a:gd name="connsiteY46" fmla="*/ 17791 h 147282"/>
                    <a:gd name="connsiteX47" fmla="*/ 199978 w 199978"/>
                    <a:gd name="connsiteY47" fmla="*/ 20635 h 147282"/>
                    <a:gd name="connsiteX48" fmla="*/ 198185 w 199978"/>
                    <a:gd name="connsiteY48" fmla="*/ 27130 h 147282"/>
                    <a:gd name="connsiteX49" fmla="*/ 193524 w 199978"/>
                    <a:gd name="connsiteY49" fmla="*/ 37252 h 147282"/>
                    <a:gd name="connsiteX50" fmla="*/ 190981 w 199978"/>
                    <a:gd name="connsiteY50" fmla="*/ 43707 h 147282"/>
                    <a:gd name="connsiteX51" fmla="*/ 190573 w 199978"/>
                    <a:gd name="connsiteY51" fmla="*/ 46478 h 147282"/>
                    <a:gd name="connsiteX52" fmla="*/ 188267 w 199978"/>
                    <a:gd name="connsiteY52" fmla="*/ 51237 h 147282"/>
                    <a:gd name="connsiteX53" fmla="*/ 184054 w 199978"/>
                    <a:gd name="connsiteY53" fmla="*/ 57953 h 147282"/>
                    <a:gd name="connsiteX54" fmla="*/ 182000 w 199978"/>
                    <a:gd name="connsiteY54" fmla="*/ 62908 h 147282"/>
                    <a:gd name="connsiteX55" fmla="*/ 182114 w 199978"/>
                    <a:gd name="connsiteY55" fmla="*/ 66143 h 147282"/>
                    <a:gd name="connsiteX56" fmla="*/ 183540 w 199978"/>
                    <a:gd name="connsiteY56" fmla="*/ 68010 h 147282"/>
                    <a:gd name="connsiteX57" fmla="*/ 186287 w 199978"/>
                    <a:gd name="connsiteY57" fmla="*/ 68523 h 147282"/>
                    <a:gd name="connsiteX58" fmla="*/ 188161 w 199978"/>
                    <a:gd name="connsiteY58" fmla="*/ 69582 h 147282"/>
                    <a:gd name="connsiteX59" fmla="*/ 189172 w 199978"/>
                    <a:gd name="connsiteY59" fmla="*/ 71180 h 147282"/>
                    <a:gd name="connsiteX60" fmla="*/ 189204 w 199978"/>
                    <a:gd name="connsiteY60" fmla="*/ 72647 h 147282"/>
                    <a:gd name="connsiteX61" fmla="*/ 188251 w 199978"/>
                    <a:gd name="connsiteY61" fmla="*/ 73983 h 147282"/>
                    <a:gd name="connsiteX62" fmla="*/ 187982 w 199978"/>
                    <a:gd name="connsiteY62" fmla="*/ 75377 h 147282"/>
                    <a:gd name="connsiteX63" fmla="*/ 188397 w 199978"/>
                    <a:gd name="connsiteY63" fmla="*/ 76819 h 147282"/>
                    <a:gd name="connsiteX64" fmla="*/ 188055 w 199978"/>
                    <a:gd name="connsiteY64" fmla="*/ 79378 h 147282"/>
                    <a:gd name="connsiteX65" fmla="*/ 186499 w 199978"/>
                    <a:gd name="connsiteY65" fmla="*/ 84635 h 147282"/>
                    <a:gd name="connsiteX66" fmla="*/ 186507 w 199978"/>
                    <a:gd name="connsiteY66" fmla="*/ 84798 h 147282"/>
                    <a:gd name="connsiteX67" fmla="*/ 186515 w 199978"/>
                    <a:gd name="connsiteY67" fmla="*/ 93331 h 147282"/>
                    <a:gd name="connsiteX68" fmla="*/ 186523 w 199978"/>
                    <a:gd name="connsiteY68" fmla="*/ 101081 h 147282"/>
                    <a:gd name="connsiteX69" fmla="*/ 186531 w 199978"/>
                    <a:gd name="connsiteY69" fmla="*/ 108807 h 147282"/>
                    <a:gd name="connsiteX70" fmla="*/ 186547 w 199978"/>
                    <a:gd name="connsiteY70" fmla="*/ 116525 h 147282"/>
                    <a:gd name="connsiteX71" fmla="*/ 186555 w 199978"/>
                    <a:gd name="connsiteY71" fmla="*/ 124235 h 147282"/>
                    <a:gd name="connsiteX72" fmla="*/ 186572 w 199978"/>
                    <a:gd name="connsiteY72" fmla="*/ 131928 h 147282"/>
                    <a:gd name="connsiteX73" fmla="*/ 186580 w 199978"/>
                    <a:gd name="connsiteY73" fmla="*/ 139613 h 147282"/>
                    <a:gd name="connsiteX74" fmla="*/ 186596 w 199978"/>
                    <a:gd name="connsiteY74" fmla="*/ 147282 h 147282"/>
                    <a:gd name="connsiteX75" fmla="*/ 177338 w 199978"/>
                    <a:gd name="connsiteY75" fmla="*/ 147282 h 147282"/>
                    <a:gd name="connsiteX76" fmla="*/ 168088 w 199978"/>
                    <a:gd name="connsiteY76" fmla="*/ 147282 h 147282"/>
                    <a:gd name="connsiteX77" fmla="*/ 158830 w 199978"/>
                    <a:gd name="connsiteY77" fmla="*/ 147282 h 147282"/>
                    <a:gd name="connsiteX78" fmla="*/ 149580 w 199978"/>
                    <a:gd name="connsiteY78" fmla="*/ 147282 h 147282"/>
                    <a:gd name="connsiteX79" fmla="*/ 140330 w 199978"/>
                    <a:gd name="connsiteY79" fmla="*/ 147282 h 147282"/>
                    <a:gd name="connsiteX80" fmla="*/ 131080 w 199978"/>
                    <a:gd name="connsiteY80" fmla="*/ 147282 h 147282"/>
                    <a:gd name="connsiteX81" fmla="*/ 121830 w 199978"/>
                    <a:gd name="connsiteY81" fmla="*/ 147282 h 147282"/>
                    <a:gd name="connsiteX82" fmla="*/ 112580 w 199978"/>
                    <a:gd name="connsiteY82" fmla="*/ 147282 h 147282"/>
                    <a:gd name="connsiteX83" fmla="*/ 106036 w 199978"/>
                    <a:gd name="connsiteY83" fmla="*/ 147282 h 147282"/>
                    <a:gd name="connsiteX84" fmla="*/ 99500 w 199978"/>
                    <a:gd name="connsiteY84" fmla="*/ 147282 h 147282"/>
                    <a:gd name="connsiteX85" fmla="*/ 92964 w 199978"/>
                    <a:gd name="connsiteY85" fmla="*/ 147282 h 147282"/>
                    <a:gd name="connsiteX86" fmla="*/ 86420 w 199978"/>
                    <a:gd name="connsiteY86" fmla="*/ 147282 h 147282"/>
                    <a:gd name="connsiteX87" fmla="*/ 79884 w 199978"/>
                    <a:gd name="connsiteY87" fmla="*/ 147282 h 147282"/>
                    <a:gd name="connsiteX88" fmla="*/ 73339 w 199978"/>
                    <a:gd name="connsiteY88" fmla="*/ 147282 h 147282"/>
                    <a:gd name="connsiteX89" fmla="*/ 66795 w 199978"/>
                    <a:gd name="connsiteY89" fmla="*/ 147282 h 147282"/>
                    <a:gd name="connsiteX90" fmla="*/ 60259 w 199978"/>
                    <a:gd name="connsiteY90" fmla="*/ 147282 h 147282"/>
                    <a:gd name="connsiteX91" fmla="*/ 53723 w 199978"/>
                    <a:gd name="connsiteY91" fmla="*/ 147282 h 147282"/>
                    <a:gd name="connsiteX92" fmla="*/ 47187 w 199978"/>
                    <a:gd name="connsiteY92" fmla="*/ 147282 h 147282"/>
                    <a:gd name="connsiteX93" fmla="*/ 40643 w 199978"/>
                    <a:gd name="connsiteY93" fmla="*/ 147282 h 147282"/>
                    <a:gd name="connsiteX94" fmla="*/ 34107 w 199978"/>
                    <a:gd name="connsiteY94" fmla="*/ 147282 h 147282"/>
                    <a:gd name="connsiteX95" fmla="*/ 27562 w 199978"/>
                    <a:gd name="connsiteY95" fmla="*/ 147282 h 147282"/>
                    <a:gd name="connsiteX96" fmla="*/ 21026 w 199978"/>
                    <a:gd name="connsiteY96" fmla="*/ 147282 h 147282"/>
                    <a:gd name="connsiteX97" fmla="*/ 14490 w 199978"/>
                    <a:gd name="connsiteY97" fmla="*/ 147282 h 147282"/>
                    <a:gd name="connsiteX98" fmla="*/ 7726 w 199978"/>
                    <a:gd name="connsiteY98" fmla="*/ 147274 h 147282"/>
                    <a:gd name="connsiteX99" fmla="*/ 4580 w 199978"/>
                    <a:gd name="connsiteY99" fmla="*/ 143077 h 147282"/>
                    <a:gd name="connsiteX100" fmla="*/ 3219 w 199978"/>
                    <a:gd name="connsiteY100" fmla="*/ 136842 h 147282"/>
                    <a:gd name="connsiteX101" fmla="*/ 2958 w 199978"/>
                    <a:gd name="connsiteY101" fmla="*/ 134194 h 147282"/>
                    <a:gd name="connsiteX102" fmla="*/ 3309 w 199978"/>
                    <a:gd name="connsiteY102" fmla="*/ 127217 h 147282"/>
                    <a:gd name="connsiteX103" fmla="*/ 2380 w 199978"/>
                    <a:gd name="connsiteY103" fmla="*/ 124226 h 147282"/>
                    <a:gd name="connsiteX104" fmla="*/ 0 w 199978"/>
                    <a:gd name="connsiteY104" fmla="*/ 119304 h 147282"/>
                    <a:gd name="connsiteX105" fmla="*/ 1027 w 199978"/>
                    <a:gd name="connsiteY105" fmla="*/ 115017 h 147282"/>
                    <a:gd name="connsiteX106" fmla="*/ 2119 w 199978"/>
                    <a:gd name="connsiteY106" fmla="*/ 112409 h 147282"/>
                    <a:gd name="connsiteX107" fmla="*/ 4792 w 199978"/>
                    <a:gd name="connsiteY107" fmla="*/ 101000 h 147282"/>
                    <a:gd name="connsiteX108" fmla="*/ 5436 w 199978"/>
                    <a:gd name="connsiteY108" fmla="*/ 100087 h 147282"/>
                    <a:gd name="connsiteX109" fmla="*/ 6560 w 199978"/>
                    <a:gd name="connsiteY109" fmla="*/ 100111 h 147282"/>
                    <a:gd name="connsiteX110" fmla="*/ 8500 w 199978"/>
                    <a:gd name="connsiteY110" fmla="*/ 98172 h 147282"/>
                    <a:gd name="connsiteX111" fmla="*/ 7604 w 199978"/>
                    <a:gd name="connsiteY111" fmla="*/ 97715 h 147282"/>
                    <a:gd name="connsiteX112" fmla="*/ 6251 w 199978"/>
                    <a:gd name="connsiteY112" fmla="*/ 98644 h 147282"/>
                    <a:gd name="connsiteX113" fmla="*/ 7457 w 199978"/>
                    <a:gd name="connsiteY113" fmla="*/ 94121 h 147282"/>
                    <a:gd name="connsiteX114" fmla="*/ 8818 w 199978"/>
                    <a:gd name="connsiteY114" fmla="*/ 90250 h 147282"/>
                    <a:gd name="connsiteX115" fmla="*/ 9698 w 199978"/>
                    <a:gd name="connsiteY115" fmla="*/ 88857 h 147282"/>
                    <a:gd name="connsiteX116" fmla="*/ 10146 w 199978"/>
                    <a:gd name="connsiteY116" fmla="*/ 76192 h 147282"/>
                    <a:gd name="connsiteX117" fmla="*/ 10929 w 199978"/>
                    <a:gd name="connsiteY117" fmla="*/ 66486 h 147282"/>
                    <a:gd name="connsiteX118" fmla="*/ 12208 w 199978"/>
                    <a:gd name="connsiteY118" fmla="*/ 63283 h 147282"/>
                    <a:gd name="connsiteX119" fmla="*/ 11768 w 199978"/>
                    <a:gd name="connsiteY119" fmla="*/ 59990 h 147282"/>
                    <a:gd name="connsiteX120" fmla="*/ 12282 w 199978"/>
                    <a:gd name="connsiteY120" fmla="*/ 55500 h 147282"/>
                    <a:gd name="connsiteX121" fmla="*/ 11915 w 199978"/>
                    <a:gd name="connsiteY121" fmla="*/ 50968 h 147282"/>
                    <a:gd name="connsiteX122" fmla="*/ 14661 w 199978"/>
                    <a:gd name="connsiteY122" fmla="*/ 29103 h 147282"/>
                    <a:gd name="connsiteX123" fmla="*/ 14303 w 199978"/>
                    <a:gd name="connsiteY123" fmla="*/ 26454 h 147282"/>
                    <a:gd name="connsiteX124" fmla="*/ 15134 w 199978"/>
                    <a:gd name="connsiteY124" fmla="*/ 22901 h 147282"/>
                    <a:gd name="connsiteX125" fmla="*/ 14352 w 199978"/>
                    <a:gd name="connsiteY125" fmla="*/ 13520 h 147282"/>
                    <a:gd name="connsiteX126" fmla="*/ 14694 w 199978"/>
                    <a:gd name="connsiteY126" fmla="*/ 3007 h 147282"/>
                    <a:gd name="connsiteX127" fmla="*/ 14001 w 199978"/>
                    <a:gd name="connsiteY127" fmla="*/ 1671 h 147282"/>
                    <a:gd name="connsiteX128" fmla="*/ 13651 w 199978"/>
                    <a:gd name="connsiteY128" fmla="*/ 220 h 147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199978" h="147282">
                      <a:moveTo>
                        <a:pt x="14303" y="0"/>
                      </a:moveTo>
                      <a:lnTo>
                        <a:pt x="15582" y="1532"/>
                      </a:lnTo>
                      <a:lnTo>
                        <a:pt x="21483" y="1516"/>
                      </a:lnTo>
                      <a:lnTo>
                        <a:pt x="25256" y="98"/>
                      </a:lnTo>
                      <a:lnTo>
                        <a:pt x="26625" y="571"/>
                      </a:lnTo>
                      <a:lnTo>
                        <a:pt x="28214" y="2494"/>
                      </a:lnTo>
                      <a:lnTo>
                        <a:pt x="30219" y="2885"/>
                      </a:lnTo>
                      <a:lnTo>
                        <a:pt x="32721" y="2543"/>
                      </a:lnTo>
                      <a:lnTo>
                        <a:pt x="35190" y="1654"/>
                      </a:lnTo>
                      <a:lnTo>
                        <a:pt x="37138" y="2314"/>
                      </a:lnTo>
                      <a:lnTo>
                        <a:pt x="39632" y="3920"/>
                      </a:lnTo>
                      <a:lnTo>
                        <a:pt x="42077" y="8745"/>
                      </a:lnTo>
                      <a:lnTo>
                        <a:pt x="44481" y="16813"/>
                      </a:lnTo>
                      <a:lnTo>
                        <a:pt x="44987" y="19494"/>
                      </a:lnTo>
                      <a:lnTo>
                        <a:pt x="46877" y="21124"/>
                      </a:lnTo>
                      <a:lnTo>
                        <a:pt x="49086" y="21206"/>
                      </a:lnTo>
                      <a:lnTo>
                        <a:pt x="57969" y="22404"/>
                      </a:lnTo>
                      <a:lnTo>
                        <a:pt x="59273" y="22314"/>
                      </a:lnTo>
                      <a:lnTo>
                        <a:pt x="59273" y="22314"/>
                      </a:lnTo>
                      <a:lnTo>
                        <a:pt x="60879" y="21996"/>
                      </a:lnTo>
                      <a:lnTo>
                        <a:pt x="65915" y="18932"/>
                      </a:lnTo>
                      <a:lnTo>
                        <a:pt x="71359" y="17921"/>
                      </a:lnTo>
                      <a:lnTo>
                        <a:pt x="77822" y="18149"/>
                      </a:lnTo>
                      <a:lnTo>
                        <a:pt x="81774" y="19021"/>
                      </a:lnTo>
                      <a:lnTo>
                        <a:pt x="83225" y="20545"/>
                      </a:lnTo>
                      <a:lnTo>
                        <a:pt x="86672" y="20717"/>
                      </a:lnTo>
                      <a:lnTo>
                        <a:pt x="94847" y="18924"/>
                      </a:lnTo>
                      <a:lnTo>
                        <a:pt x="103885" y="17677"/>
                      </a:lnTo>
                      <a:lnTo>
                        <a:pt x="108726" y="16373"/>
                      </a:lnTo>
                      <a:lnTo>
                        <a:pt x="114227" y="13708"/>
                      </a:lnTo>
                      <a:lnTo>
                        <a:pt x="126753" y="10301"/>
                      </a:lnTo>
                      <a:lnTo>
                        <a:pt x="132995" y="9918"/>
                      </a:lnTo>
                      <a:lnTo>
                        <a:pt x="136166" y="8631"/>
                      </a:lnTo>
                      <a:lnTo>
                        <a:pt x="136907" y="7962"/>
                      </a:lnTo>
                      <a:lnTo>
                        <a:pt x="137339" y="7954"/>
                      </a:lnTo>
                      <a:lnTo>
                        <a:pt x="143924" y="7946"/>
                      </a:lnTo>
                      <a:lnTo>
                        <a:pt x="150509" y="7938"/>
                      </a:lnTo>
                      <a:lnTo>
                        <a:pt x="157086" y="7930"/>
                      </a:lnTo>
                      <a:lnTo>
                        <a:pt x="163679" y="7922"/>
                      </a:lnTo>
                      <a:lnTo>
                        <a:pt x="170256" y="7913"/>
                      </a:lnTo>
                      <a:lnTo>
                        <a:pt x="176841" y="7905"/>
                      </a:lnTo>
                      <a:lnTo>
                        <a:pt x="183418" y="7897"/>
                      </a:lnTo>
                      <a:lnTo>
                        <a:pt x="189571" y="7905"/>
                      </a:lnTo>
                      <a:lnTo>
                        <a:pt x="190247" y="9446"/>
                      </a:lnTo>
                      <a:lnTo>
                        <a:pt x="192839" y="12469"/>
                      </a:lnTo>
                      <a:lnTo>
                        <a:pt x="196506" y="15069"/>
                      </a:lnTo>
                      <a:lnTo>
                        <a:pt x="198886" y="17791"/>
                      </a:lnTo>
                      <a:lnTo>
                        <a:pt x="199978" y="20635"/>
                      </a:lnTo>
                      <a:lnTo>
                        <a:pt x="198185" y="27130"/>
                      </a:lnTo>
                      <a:lnTo>
                        <a:pt x="193524" y="37252"/>
                      </a:lnTo>
                      <a:lnTo>
                        <a:pt x="190981" y="43707"/>
                      </a:lnTo>
                      <a:lnTo>
                        <a:pt x="190573" y="46478"/>
                      </a:lnTo>
                      <a:lnTo>
                        <a:pt x="188267" y="51237"/>
                      </a:lnTo>
                      <a:lnTo>
                        <a:pt x="184054" y="57953"/>
                      </a:lnTo>
                      <a:lnTo>
                        <a:pt x="182000" y="62908"/>
                      </a:lnTo>
                      <a:lnTo>
                        <a:pt x="182114" y="66143"/>
                      </a:lnTo>
                      <a:lnTo>
                        <a:pt x="183540" y="68010"/>
                      </a:lnTo>
                      <a:lnTo>
                        <a:pt x="186287" y="68523"/>
                      </a:lnTo>
                      <a:lnTo>
                        <a:pt x="188161" y="69582"/>
                      </a:lnTo>
                      <a:lnTo>
                        <a:pt x="189172" y="71180"/>
                      </a:lnTo>
                      <a:lnTo>
                        <a:pt x="189204" y="72647"/>
                      </a:lnTo>
                      <a:lnTo>
                        <a:pt x="188251" y="73983"/>
                      </a:lnTo>
                      <a:lnTo>
                        <a:pt x="187982" y="75377"/>
                      </a:lnTo>
                      <a:lnTo>
                        <a:pt x="188397" y="76819"/>
                      </a:lnTo>
                      <a:lnTo>
                        <a:pt x="188055" y="79378"/>
                      </a:lnTo>
                      <a:lnTo>
                        <a:pt x="186499" y="84635"/>
                      </a:lnTo>
                      <a:lnTo>
                        <a:pt x="186507" y="84798"/>
                      </a:lnTo>
                      <a:lnTo>
                        <a:pt x="186515" y="93331"/>
                      </a:lnTo>
                      <a:lnTo>
                        <a:pt x="186523" y="101081"/>
                      </a:lnTo>
                      <a:lnTo>
                        <a:pt x="186531" y="108807"/>
                      </a:lnTo>
                      <a:lnTo>
                        <a:pt x="186547" y="116525"/>
                      </a:lnTo>
                      <a:lnTo>
                        <a:pt x="186555" y="124235"/>
                      </a:lnTo>
                      <a:lnTo>
                        <a:pt x="186572" y="131928"/>
                      </a:lnTo>
                      <a:lnTo>
                        <a:pt x="186580" y="139613"/>
                      </a:lnTo>
                      <a:lnTo>
                        <a:pt x="186596" y="147282"/>
                      </a:lnTo>
                      <a:lnTo>
                        <a:pt x="177338" y="147282"/>
                      </a:lnTo>
                      <a:lnTo>
                        <a:pt x="168088" y="147282"/>
                      </a:lnTo>
                      <a:lnTo>
                        <a:pt x="158830" y="147282"/>
                      </a:lnTo>
                      <a:lnTo>
                        <a:pt x="149580" y="147282"/>
                      </a:lnTo>
                      <a:lnTo>
                        <a:pt x="140330" y="147282"/>
                      </a:lnTo>
                      <a:lnTo>
                        <a:pt x="131080" y="147282"/>
                      </a:lnTo>
                      <a:lnTo>
                        <a:pt x="121830" y="147282"/>
                      </a:lnTo>
                      <a:lnTo>
                        <a:pt x="112580" y="147282"/>
                      </a:lnTo>
                      <a:lnTo>
                        <a:pt x="106036" y="147282"/>
                      </a:lnTo>
                      <a:lnTo>
                        <a:pt x="99500" y="147282"/>
                      </a:lnTo>
                      <a:lnTo>
                        <a:pt x="92964" y="147282"/>
                      </a:lnTo>
                      <a:lnTo>
                        <a:pt x="86420" y="147282"/>
                      </a:lnTo>
                      <a:lnTo>
                        <a:pt x="79884" y="147282"/>
                      </a:lnTo>
                      <a:lnTo>
                        <a:pt x="73339" y="147282"/>
                      </a:lnTo>
                      <a:lnTo>
                        <a:pt x="66795" y="147282"/>
                      </a:lnTo>
                      <a:lnTo>
                        <a:pt x="60259" y="147282"/>
                      </a:lnTo>
                      <a:lnTo>
                        <a:pt x="53723" y="147282"/>
                      </a:lnTo>
                      <a:lnTo>
                        <a:pt x="47187" y="147282"/>
                      </a:lnTo>
                      <a:lnTo>
                        <a:pt x="40643" y="147282"/>
                      </a:lnTo>
                      <a:lnTo>
                        <a:pt x="34107" y="147282"/>
                      </a:lnTo>
                      <a:lnTo>
                        <a:pt x="27562" y="147282"/>
                      </a:lnTo>
                      <a:lnTo>
                        <a:pt x="21026" y="147282"/>
                      </a:lnTo>
                      <a:lnTo>
                        <a:pt x="14490" y="147282"/>
                      </a:lnTo>
                      <a:lnTo>
                        <a:pt x="7726" y="147274"/>
                      </a:lnTo>
                      <a:lnTo>
                        <a:pt x="4580" y="143077"/>
                      </a:lnTo>
                      <a:lnTo>
                        <a:pt x="3219" y="136842"/>
                      </a:lnTo>
                      <a:lnTo>
                        <a:pt x="2958" y="134194"/>
                      </a:lnTo>
                      <a:lnTo>
                        <a:pt x="3309" y="127217"/>
                      </a:lnTo>
                      <a:lnTo>
                        <a:pt x="2380" y="124226"/>
                      </a:lnTo>
                      <a:lnTo>
                        <a:pt x="0" y="119304"/>
                      </a:lnTo>
                      <a:lnTo>
                        <a:pt x="1027" y="115017"/>
                      </a:lnTo>
                      <a:lnTo>
                        <a:pt x="2119" y="112409"/>
                      </a:lnTo>
                      <a:lnTo>
                        <a:pt x="4792" y="101000"/>
                      </a:lnTo>
                      <a:lnTo>
                        <a:pt x="5436" y="100087"/>
                      </a:lnTo>
                      <a:lnTo>
                        <a:pt x="6560" y="100111"/>
                      </a:lnTo>
                      <a:lnTo>
                        <a:pt x="8500" y="98172"/>
                      </a:lnTo>
                      <a:lnTo>
                        <a:pt x="7604" y="97715"/>
                      </a:lnTo>
                      <a:lnTo>
                        <a:pt x="6251" y="98644"/>
                      </a:lnTo>
                      <a:lnTo>
                        <a:pt x="7457" y="94121"/>
                      </a:lnTo>
                      <a:lnTo>
                        <a:pt x="8818" y="90250"/>
                      </a:lnTo>
                      <a:lnTo>
                        <a:pt x="9698" y="88857"/>
                      </a:lnTo>
                      <a:lnTo>
                        <a:pt x="10146" y="76192"/>
                      </a:lnTo>
                      <a:lnTo>
                        <a:pt x="10929" y="66486"/>
                      </a:lnTo>
                      <a:lnTo>
                        <a:pt x="12208" y="63283"/>
                      </a:lnTo>
                      <a:lnTo>
                        <a:pt x="11768" y="59990"/>
                      </a:lnTo>
                      <a:lnTo>
                        <a:pt x="12282" y="55500"/>
                      </a:lnTo>
                      <a:lnTo>
                        <a:pt x="11915" y="50968"/>
                      </a:lnTo>
                      <a:lnTo>
                        <a:pt x="14661" y="29103"/>
                      </a:lnTo>
                      <a:lnTo>
                        <a:pt x="14303" y="26454"/>
                      </a:lnTo>
                      <a:lnTo>
                        <a:pt x="15134" y="22901"/>
                      </a:lnTo>
                      <a:lnTo>
                        <a:pt x="14352" y="13520"/>
                      </a:lnTo>
                      <a:lnTo>
                        <a:pt x="14694" y="3007"/>
                      </a:lnTo>
                      <a:lnTo>
                        <a:pt x="14001" y="1671"/>
                      </a:lnTo>
                      <a:lnTo>
                        <a:pt x="13651" y="220"/>
                      </a:lnTo>
                      <a:close/>
                    </a:path>
                  </a:pathLst>
                </a:custGeom>
                <a:solidFill>
                  <a:srgbClr val="D6D6D2"/>
                </a:solidFill>
                <a:ln w="6112" cap="rnd">
                  <a:solidFill>
                    <a:srgbClr val="FFFFFF"/>
                  </a:solidFill>
                  <a:prstDash val="solid"/>
                  <a:round/>
                </a:ln>
              </p:spPr>
              <p:txBody>
                <a:bodyPr rtlCol="0" anchor="ctr"/>
                <a:lstStyle/>
                <a:p>
                  <a:endParaRPr lang="en-US"/>
                </a:p>
              </p:txBody>
            </p:sp>
            <p:sp>
              <p:nvSpPr>
                <p:cNvPr id="438" name="Freeform: Shape 437">
                  <a:extLst>
                    <a:ext uri="{FF2B5EF4-FFF2-40B4-BE49-F238E27FC236}">
                      <a16:creationId xmlns:a16="http://schemas.microsoft.com/office/drawing/2014/main" id="{C0EEB998-35D8-4086-8A51-DEE10E76DE3F}"/>
                    </a:ext>
                  </a:extLst>
                </p:cNvPr>
                <p:cNvSpPr/>
                <p:nvPr/>
              </p:nvSpPr>
              <p:spPr>
                <a:xfrm>
                  <a:off x="3388976" y="3376566"/>
                  <a:ext cx="212349" cy="110543"/>
                </a:xfrm>
                <a:custGeom>
                  <a:avLst/>
                  <a:gdLst>
                    <a:gd name="connsiteX0" fmla="*/ 207908 w 212349"/>
                    <a:gd name="connsiteY0" fmla="*/ 12469 h 110543"/>
                    <a:gd name="connsiteX1" fmla="*/ 207908 w 212349"/>
                    <a:gd name="connsiteY1" fmla="*/ 16617 h 110543"/>
                    <a:gd name="connsiteX2" fmla="*/ 208462 w 212349"/>
                    <a:gd name="connsiteY2" fmla="*/ 21238 h 110543"/>
                    <a:gd name="connsiteX3" fmla="*/ 209016 w 212349"/>
                    <a:gd name="connsiteY3" fmla="*/ 25851 h 110543"/>
                    <a:gd name="connsiteX4" fmla="*/ 209570 w 212349"/>
                    <a:gd name="connsiteY4" fmla="*/ 30464 h 110543"/>
                    <a:gd name="connsiteX5" fmla="*/ 210133 w 212349"/>
                    <a:gd name="connsiteY5" fmla="*/ 35068 h 110543"/>
                    <a:gd name="connsiteX6" fmla="*/ 210679 w 212349"/>
                    <a:gd name="connsiteY6" fmla="*/ 39673 h 110543"/>
                    <a:gd name="connsiteX7" fmla="*/ 211233 w 212349"/>
                    <a:gd name="connsiteY7" fmla="*/ 44269 h 110543"/>
                    <a:gd name="connsiteX8" fmla="*/ 211795 w 212349"/>
                    <a:gd name="connsiteY8" fmla="*/ 48866 h 110543"/>
                    <a:gd name="connsiteX9" fmla="*/ 212349 w 212349"/>
                    <a:gd name="connsiteY9" fmla="*/ 53462 h 110543"/>
                    <a:gd name="connsiteX10" fmla="*/ 212284 w 212349"/>
                    <a:gd name="connsiteY10" fmla="*/ 57048 h 110543"/>
                    <a:gd name="connsiteX11" fmla="*/ 212211 w 212349"/>
                    <a:gd name="connsiteY11" fmla="*/ 60634 h 110543"/>
                    <a:gd name="connsiteX12" fmla="*/ 212138 w 212349"/>
                    <a:gd name="connsiteY12" fmla="*/ 64212 h 110543"/>
                    <a:gd name="connsiteX13" fmla="*/ 212072 w 212349"/>
                    <a:gd name="connsiteY13" fmla="*/ 67781 h 110543"/>
                    <a:gd name="connsiteX14" fmla="*/ 211999 w 212349"/>
                    <a:gd name="connsiteY14" fmla="*/ 71359 h 110543"/>
                    <a:gd name="connsiteX15" fmla="*/ 211934 w 212349"/>
                    <a:gd name="connsiteY15" fmla="*/ 74937 h 110543"/>
                    <a:gd name="connsiteX16" fmla="*/ 211860 w 212349"/>
                    <a:gd name="connsiteY16" fmla="*/ 78506 h 110543"/>
                    <a:gd name="connsiteX17" fmla="*/ 211795 w 212349"/>
                    <a:gd name="connsiteY17" fmla="*/ 82076 h 110543"/>
                    <a:gd name="connsiteX18" fmla="*/ 211722 w 212349"/>
                    <a:gd name="connsiteY18" fmla="*/ 85646 h 110543"/>
                    <a:gd name="connsiteX19" fmla="*/ 211649 w 212349"/>
                    <a:gd name="connsiteY19" fmla="*/ 89207 h 110543"/>
                    <a:gd name="connsiteX20" fmla="*/ 211583 w 212349"/>
                    <a:gd name="connsiteY20" fmla="*/ 92768 h 110543"/>
                    <a:gd name="connsiteX21" fmla="*/ 211510 w 212349"/>
                    <a:gd name="connsiteY21" fmla="*/ 96330 h 110543"/>
                    <a:gd name="connsiteX22" fmla="*/ 211445 w 212349"/>
                    <a:gd name="connsiteY22" fmla="*/ 99891 h 110543"/>
                    <a:gd name="connsiteX23" fmla="*/ 211371 w 212349"/>
                    <a:gd name="connsiteY23" fmla="*/ 103445 h 110543"/>
                    <a:gd name="connsiteX24" fmla="*/ 211306 w 212349"/>
                    <a:gd name="connsiteY24" fmla="*/ 106998 h 110543"/>
                    <a:gd name="connsiteX25" fmla="*/ 211233 w 212349"/>
                    <a:gd name="connsiteY25" fmla="*/ 110543 h 110543"/>
                    <a:gd name="connsiteX26" fmla="*/ 205650 w 212349"/>
                    <a:gd name="connsiteY26" fmla="*/ 108889 h 110543"/>
                    <a:gd name="connsiteX27" fmla="*/ 204249 w 212349"/>
                    <a:gd name="connsiteY27" fmla="*/ 107837 h 110543"/>
                    <a:gd name="connsiteX28" fmla="*/ 201673 w 212349"/>
                    <a:gd name="connsiteY28" fmla="*/ 106631 h 110543"/>
                    <a:gd name="connsiteX29" fmla="*/ 199375 w 212349"/>
                    <a:gd name="connsiteY29" fmla="*/ 104170 h 110543"/>
                    <a:gd name="connsiteX30" fmla="*/ 194819 w 212349"/>
                    <a:gd name="connsiteY30" fmla="*/ 101130 h 110543"/>
                    <a:gd name="connsiteX31" fmla="*/ 193083 w 212349"/>
                    <a:gd name="connsiteY31" fmla="*/ 100397 h 110543"/>
                    <a:gd name="connsiteX32" fmla="*/ 192529 w 212349"/>
                    <a:gd name="connsiteY32" fmla="*/ 100470 h 110543"/>
                    <a:gd name="connsiteX33" fmla="*/ 191592 w 212349"/>
                    <a:gd name="connsiteY33" fmla="*/ 101978 h 110543"/>
                    <a:gd name="connsiteX34" fmla="*/ 189163 w 212349"/>
                    <a:gd name="connsiteY34" fmla="*/ 103159 h 110543"/>
                    <a:gd name="connsiteX35" fmla="*/ 187843 w 212349"/>
                    <a:gd name="connsiteY35" fmla="*/ 103216 h 110543"/>
                    <a:gd name="connsiteX36" fmla="*/ 185455 w 212349"/>
                    <a:gd name="connsiteY36" fmla="*/ 102760 h 110543"/>
                    <a:gd name="connsiteX37" fmla="*/ 185007 w 212349"/>
                    <a:gd name="connsiteY37" fmla="*/ 102385 h 110543"/>
                    <a:gd name="connsiteX38" fmla="*/ 184657 w 212349"/>
                    <a:gd name="connsiteY38" fmla="*/ 101472 h 110543"/>
                    <a:gd name="connsiteX39" fmla="*/ 183687 w 212349"/>
                    <a:gd name="connsiteY39" fmla="*/ 100845 h 110543"/>
                    <a:gd name="connsiteX40" fmla="*/ 182994 w 212349"/>
                    <a:gd name="connsiteY40" fmla="*/ 101334 h 110543"/>
                    <a:gd name="connsiteX41" fmla="*/ 179514 w 212349"/>
                    <a:gd name="connsiteY41" fmla="*/ 102605 h 110543"/>
                    <a:gd name="connsiteX42" fmla="*/ 178993 w 212349"/>
                    <a:gd name="connsiteY42" fmla="*/ 103485 h 110543"/>
                    <a:gd name="connsiteX43" fmla="*/ 177037 w 212349"/>
                    <a:gd name="connsiteY43" fmla="*/ 103526 h 110543"/>
                    <a:gd name="connsiteX44" fmla="*/ 175081 w 212349"/>
                    <a:gd name="connsiteY44" fmla="*/ 102890 h 110543"/>
                    <a:gd name="connsiteX45" fmla="*/ 170183 w 212349"/>
                    <a:gd name="connsiteY45" fmla="*/ 104871 h 110543"/>
                    <a:gd name="connsiteX46" fmla="*/ 168496 w 212349"/>
                    <a:gd name="connsiteY46" fmla="*/ 106444 h 110543"/>
                    <a:gd name="connsiteX47" fmla="*/ 166727 w 212349"/>
                    <a:gd name="connsiteY47" fmla="*/ 106982 h 110543"/>
                    <a:gd name="connsiteX48" fmla="*/ 165823 w 212349"/>
                    <a:gd name="connsiteY48" fmla="*/ 108497 h 110543"/>
                    <a:gd name="connsiteX49" fmla="*/ 165285 w 212349"/>
                    <a:gd name="connsiteY49" fmla="*/ 108286 h 110543"/>
                    <a:gd name="connsiteX50" fmla="*/ 163443 w 212349"/>
                    <a:gd name="connsiteY50" fmla="*/ 106403 h 110543"/>
                    <a:gd name="connsiteX51" fmla="*/ 161552 w 212349"/>
                    <a:gd name="connsiteY51" fmla="*/ 105849 h 110543"/>
                    <a:gd name="connsiteX52" fmla="*/ 158960 w 212349"/>
                    <a:gd name="connsiteY52" fmla="*/ 103991 h 110543"/>
                    <a:gd name="connsiteX53" fmla="*/ 158871 w 212349"/>
                    <a:gd name="connsiteY53" fmla="*/ 102336 h 110543"/>
                    <a:gd name="connsiteX54" fmla="*/ 158594 w 212349"/>
                    <a:gd name="connsiteY54" fmla="*/ 102141 h 110543"/>
                    <a:gd name="connsiteX55" fmla="*/ 158129 w 212349"/>
                    <a:gd name="connsiteY55" fmla="*/ 101953 h 110543"/>
                    <a:gd name="connsiteX56" fmla="*/ 157551 w 212349"/>
                    <a:gd name="connsiteY56" fmla="*/ 102116 h 110543"/>
                    <a:gd name="connsiteX57" fmla="*/ 156426 w 212349"/>
                    <a:gd name="connsiteY57" fmla="*/ 103510 h 110543"/>
                    <a:gd name="connsiteX58" fmla="*/ 155774 w 212349"/>
                    <a:gd name="connsiteY58" fmla="*/ 103868 h 110543"/>
                    <a:gd name="connsiteX59" fmla="*/ 155130 w 212349"/>
                    <a:gd name="connsiteY59" fmla="*/ 103819 h 110543"/>
                    <a:gd name="connsiteX60" fmla="*/ 152612 w 212349"/>
                    <a:gd name="connsiteY60" fmla="*/ 102874 h 110543"/>
                    <a:gd name="connsiteX61" fmla="*/ 151561 w 212349"/>
                    <a:gd name="connsiteY61" fmla="*/ 101187 h 110543"/>
                    <a:gd name="connsiteX62" fmla="*/ 151039 w 212349"/>
                    <a:gd name="connsiteY62" fmla="*/ 100674 h 110543"/>
                    <a:gd name="connsiteX63" fmla="*/ 150469 w 212349"/>
                    <a:gd name="connsiteY63" fmla="*/ 100576 h 110543"/>
                    <a:gd name="connsiteX64" fmla="*/ 149385 w 212349"/>
                    <a:gd name="connsiteY64" fmla="*/ 101081 h 110543"/>
                    <a:gd name="connsiteX65" fmla="*/ 148781 w 212349"/>
                    <a:gd name="connsiteY65" fmla="*/ 102923 h 110543"/>
                    <a:gd name="connsiteX66" fmla="*/ 148301 w 212349"/>
                    <a:gd name="connsiteY66" fmla="*/ 103420 h 110543"/>
                    <a:gd name="connsiteX67" fmla="*/ 147249 w 212349"/>
                    <a:gd name="connsiteY67" fmla="*/ 103738 h 110543"/>
                    <a:gd name="connsiteX68" fmla="*/ 147314 w 212349"/>
                    <a:gd name="connsiteY68" fmla="*/ 104667 h 110543"/>
                    <a:gd name="connsiteX69" fmla="*/ 146385 w 212349"/>
                    <a:gd name="connsiteY69" fmla="*/ 107218 h 110543"/>
                    <a:gd name="connsiteX70" fmla="*/ 145888 w 212349"/>
                    <a:gd name="connsiteY70" fmla="*/ 107731 h 110543"/>
                    <a:gd name="connsiteX71" fmla="*/ 145236 w 212349"/>
                    <a:gd name="connsiteY71" fmla="*/ 107634 h 110543"/>
                    <a:gd name="connsiteX72" fmla="*/ 144560 w 212349"/>
                    <a:gd name="connsiteY72" fmla="*/ 107006 h 110543"/>
                    <a:gd name="connsiteX73" fmla="*/ 144063 w 212349"/>
                    <a:gd name="connsiteY73" fmla="*/ 106101 h 110543"/>
                    <a:gd name="connsiteX74" fmla="*/ 143851 w 212349"/>
                    <a:gd name="connsiteY74" fmla="*/ 105327 h 110543"/>
                    <a:gd name="connsiteX75" fmla="*/ 144218 w 212349"/>
                    <a:gd name="connsiteY75" fmla="*/ 103306 h 110543"/>
                    <a:gd name="connsiteX76" fmla="*/ 143998 w 212349"/>
                    <a:gd name="connsiteY76" fmla="*/ 102630 h 110543"/>
                    <a:gd name="connsiteX77" fmla="*/ 143501 w 212349"/>
                    <a:gd name="connsiteY77" fmla="*/ 102418 h 110543"/>
                    <a:gd name="connsiteX78" fmla="*/ 142270 w 212349"/>
                    <a:gd name="connsiteY78" fmla="*/ 103371 h 110543"/>
                    <a:gd name="connsiteX79" fmla="*/ 141194 w 212349"/>
                    <a:gd name="connsiteY79" fmla="*/ 103330 h 110543"/>
                    <a:gd name="connsiteX80" fmla="*/ 139817 w 212349"/>
                    <a:gd name="connsiteY80" fmla="*/ 104284 h 110543"/>
                    <a:gd name="connsiteX81" fmla="*/ 138953 w 212349"/>
                    <a:gd name="connsiteY81" fmla="*/ 104569 h 110543"/>
                    <a:gd name="connsiteX82" fmla="*/ 138162 w 212349"/>
                    <a:gd name="connsiteY82" fmla="*/ 104333 h 110543"/>
                    <a:gd name="connsiteX83" fmla="*/ 136891 w 212349"/>
                    <a:gd name="connsiteY83" fmla="*/ 102793 h 110543"/>
                    <a:gd name="connsiteX84" fmla="*/ 134666 w 212349"/>
                    <a:gd name="connsiteY84" fmla="*/ 101806 h 110543"/>
                    <a:gd name="connsiteX85" fmla="*/ 133802 w 212349"/>
                    <a:gd name="connsiteY85" fmla="*/ 99981 h 110543"/>
                    <a:gd name="connsiteX86" fmla="*/ 133411 w 212349"/>
                    <a:gd name="connsiteY86" fmla="*/ 99451 h 110543"/>
                    <a:gd name="connsiteX87" fmla="*/ 132938 w 212349"/>
                    <a:gd name="connsiteY87" fmla="*/ 99321 h 110543"/>
                    <a:gd name="connsiteX88" fmla="*/ 132458 w 212349"/>
                    <a:gd name="connsiteY88" fmla="*/ 99378 h 110543"/>
                    <a:gd name="connsiteX89" fmla="*/ 131675 w 212349"/>
                    <a:gd name="connsiteY89" fmla="*/ 99956 h 110543"/>
                    <a:gd name="connsiteX90" fmla="*/ 129108 w 212349"/>
                    <a:gd name="connsiteY90" fmla="*/ 102353 h 110543"/>
                    <a:gd name="connsiteX91" fmla="*/ 127943 w 212349"/>
                    <a:gd name="connsiteY91" fmla="*/ 103119 h 110543"/>
                    <a:gd name="connsiteX92" fmla="*/ 126940 w 212349"/>
                    <a:gd name="connsiteY92" fmla="*/ 103265 h 110543"/>
                    <a:gd name="connsiteX93" fmla="*/ 125979 w 212349"/>
                    <a:gd name="connsiteY93" fmla="*/ 103029 h 110543"/>
                    <a:gd name="connsiteX94" fmla="*/ 125367 w 212349"/>
                    <a:gd name="connsiteY94" fmla="*/ 102418 h 110543"/>
                    <a:gd name="connsiteX95" fmla="*/ 125245 w 212349"/>
                    <a:gd name="connsiteY95" fmla="*/ 99997 h 110543"/>
                    <a:gd name="connsiteX96" fmla="*/ 124675 w 212349"/>
                    <a:gd name="connsiteY96" fmla="*/ 99256 h 110543"/>
                    <a:gd name="connsiteX97" fmla="*/ 122311 w 212349"/>
                    <a:gd name="connsiteY97" fmla="*/ 97732 h 110543"/>
                    <a:gd name="connsiteX98" fmla="*/ 121814 w 212349"/>
                    <a:gd name="connsiteY98" fmla="*/ 96297 h 110543"/>
                    <a:gd name="connsiteX99" fmla="*/ 121586 w 212349"/>
                    <a:gd name="connsiteY99" fmla="*/ 94309 h 110543"/>
                    <a:gd name="connsiteX100" fmla="*/ 118725 w 212349"/>
                    <a:gd name="connsiteY100" fmla="*/ 94618 h 110543"/>
                    <a:gd name="connsiteX101" fmla="*/ 115205 w 212349"/>
                    <a:gd name="connsiteY101" fmla="*/ 94415 h 110543"/>
                    <a:gd name="connsiteX102" fmla="*/ 113607 w 212349"/>
                    <a:gd name="connsiteY102" fmla="*/ 96167 h 110543"/>
                    <a:gd name="connsiteX103" fmla="*/ 112784 w 212349"/>
                    <a:gd name="connsiteY103" fmla="*/ 96493 h 110543"/>
                    <a:gd name="connsiteX104" fmla="*/ 111782 w 212349"/>
                    <a:gd name="connsiteY104" fmla="*/ 96142 h 110543"/>
                    <a:gd name="connsiteX105" fmla="*/ 108946 w 212349"/>
                    <a:gd name="connsiteY105" fmla="*/ 93771 h 110543"/>
                    <a:gd name="connsiteX106" fmla="*/ 105922 w 212349"/>
                    <a:gd name="connsiteY106" fmla="*/ 94252 h 110543"/>
                    <a:gd name="connsiteX107" fmla="*/ 104219 w 212349"/>
                    <a:gd name="connsiteY107" fmla="*/ 93983 h 110543"/>
                    <a:gd name="connsiteX108" fmla="*/ 99997 w 212349"/>
                    <a:gd name="connsiteY108" fmla="*/ 92214 h 110543"/>
                    <a:gd name="connsiteX109" fmla="*/ 96688 w 212349"/>
                    <a:gd name="connsiteY109" fmla="*/ 92059 h 110543"/>
                    <a:gd name="connsiteX110" fmla="*/ 95327 w 212349"/>
                    <a:gd name="connsiteY110" fmla="*/ 91733 h 110543"/>
                    <a:gd name="connsiteX111" fmla="*/ 94602 w 212349"/>
                    <a:gd name="connsiteY111" fmla="*/ 91334 h 110543"/>
                    <a:gd name="connsiteX112" fmla="*/ 94276 w 212349"/>
                    <a:gd name="connsiteY112" fmla="*/ 88620 h 110543"/>
                    <a:gd name="connsiteX113" fmla="*/ 92964 w 212349"/>
                    <a:gd name="connsiteY113" fmla="*/ 86330 h 110543"/>
                    <a:gd name="connsiteX114" fmla="*/ 92524 w 212349"/>
                    <a:gd name="connsiteY114" fmla="*/ 85703 h 110543"/>
                    <a:gd name="connsiteX115" fmla="*/ 90291 w 212349"/>
                    <a:gd name="connsiteY115" fmla="*/ 84097 h 110543"/>
                    <a:gd name="connsiteX116" fmla="*/ 89932 w 212349"/>
                    <a:gd name="connsiteY116" fmla="*/ 84048 h 110543"/>
                    <a:gd name="connsiteX117" fmla="*/ 89688 w 212349"/>
                    <a:gd name="connsiteY117" fmla="*/ 84407 h 110543"/>
                    <a:gd name="connsiteX118" fmla="*/ 89182 w 212349"/>
                    <a:gd name="connsiteY118" fmla="*/ 86200 h 110543"/>
                    <a:gd name="connsiteX119" fmla="*/ 88506 w 212349"/>
                    <a:gd name="connsiteY119" fmla="*/ 86298 h 110543"/>
                    <a:gd name="connsiteX120" fmla="*/ 85931 w 212349"/>
                    <a:gd name="connsiteY120" fmla="*/ 85792 h 110543"/>
                    <a:gd name="connsiteX121" fmla="*/ 83551 w 212349"/>
                    <a:gd name="connsiteY121" fmla="*/ 86322 h 110543"/>
                    <a:gd name="connsiteX122" fmla="*/ 82223 w 212349"/>
                    <a:gd name="connsiteY122" fmla="*/ 85417 h 110543"/>
                    <a:gd name="connsiteX123" fmla="*/ 77724 w 212349"/>
                    <a:gd name="connsiteY123" fmla="*/ 81245 h 110543"/>
                    <a:gd name="connsiteX124" fmla="*/ 75898 w 212349"/>
                    <a:gd name="connsiteY124" fmla="*/ 80153 h 110543"/>
                    <a:gd name="connsiteX125" fmla="*/ 74448 w 212349"/>
                    <a:gd name="connsiteY125" fmla="*/ 79810 h 110543"/>
                    <a:gd name="connsiteX126" fmla="*/ 74440 w 212349"/>
                    <a:gd name="connsiteY126" fmla="*/ 75882 h 110543"/>
                    <a:gd name="connsiteX127" fmla="*/ 74440 w 212349"/>
                    <a:gd name="connsiteY127" fmla="*/ 71946 h 110543"/>
                    <a:gd name="connsiteX128" fmla="*/ 74431 w 212349"/>
                    <a:gd name="connsiteY128" fmla="*/ 68018 h 110543"/>
                    <a:gd name="connsiteX129" fmla="*/ 74423 w 212349"/>
                    <a:gd name="connsiteY129" fmla="*/ 64073 h 110543"/>
                    <a:gd name="connsiteX130" fmla="*/ 74423 w 212349"/>
                    <a:gd name="connsiteY130" fmla="*/ 60137 h 110543"/>
                    <a:gd name="connsiteX131" fmla="*/ 74415 w 212349"/>
                    <a:gd name="connsiteY131" fmla="*/ 56192 h 110543"/>
                    <a:gd name="connsiteX132" fmla="*/ 74407 w 212349"/>
                    <a:gd name="connsiteY132" fmla="*/ 52248 h 110543"/>
                    <a:gd name="connsiteX133" fmla="*/ 74407 w 212349"/>
                    <a:gd name="connsiteY133" fmla="*/ 48303 h 110543"/>
                    <a:gd name="connsiteX134" fmla="*/ 74399 w 212349"/>
                    <a:gd name="connsiteY134" fmla="*/ 44343 h 110543"/>
                    <a:gd name="connsiteX135" fmla="*/ 74391 w 212349"/>
                    <a:gd name="connsiteY135" fmla="*/ 40398 h 110543"/>
                    <a:gd name="connsiteX136" fmla="*/ 74391 w 212349"/>
                    <a:gd name="connsiteY136" fmla="*/ 36429 h 110543"/>
                    <a:gd name="connsiteX137" fmla="*/ 74383 w 212349"/>
                    <a:gd name="connsiteY137" fmla="*/ 32477 h 110543"/>
                    <a:gd name="connsiteX138" fmla="*/ 74383 w 212349"/>
                    <a:gd name="connsiteY138" fmla="*/ 28516 h 110543"/>
                    <a:gd name="connsiteX139" fmla="*/ 74374 w 212349"/>
                    <a:gd name="connsiteY139" fmla="*/ 24547 h 110543"/>
                    <a:gd name="connsiteX140" fmla="*/ 74374 w 212349"/>
                    <a:gd name="connsiteY140" fmla="*/ 20586 h 110543"/>
                    <a:gd name="connsiteX141" fmla="*/ 74366 w 212349"/>
                    <a:gd name="connsiteY141" fmla="*/ 16609 h 110543"/>
                    <a:gd name="connsiteX142" fmla="*/ 69721 w 212349"/>
                    <a:gd name="connsiteY142" fmla="*/ 16609 h 110543"/>
                    <a:gd name="connsiteX143" fmla="*/ 65076 w 212349"/>
                    <a:gd name="connsiteY143" fmla="*/ 16609 h 110543"/>
                    <a:gd name="connsiteX144" fmla="*/ 60422 w 212349"/>
                    <a:gd name="connsiteY144" fmla="*/ 16609 h 110543"/>
                    <a:gd name="connsiteX145" fmla="*/ 55777 w 212349"/>
                    <a:gd name="connsiteY145" fmla="*/ 16609 h 110543"/>
                    <a:gd name="connsiteX146" fmla="*/ 51131 w 212349"/>
                    <a:gd name="connsiteY146" fmla="*/ 16609 h 110543"/>
                    <a:gd name="connsiteX147" fmla="*/ 46486 w 212349"/>
                    <a:gd name="connsiteY147" fmla="*/ 16609 h 110543"/>
                    <a:gd name="connsiteX148" fmla="*/ 41841 w 212349"/>
                    <a:gd name="connsiteY148" fmla="*/ 16609 h 110543"/>
                    <a:gd name="connsiteX149" fmla="*/ 37187 w 212349"/>
                    <a:gd name="connsiteY149" fmla="*/ 16609 h 110543"/>
                    <a:gd name="connsiteX150" fmla="*/ 32542 w 212349"/>
                    <a:gd name="connsiteY150" fmla="*/ 16609 h 110543"/>
                    <a:gd name="connsiteX151" fmla="*/ 27896 w 212349"/>
                    <a:gd name="connsiteY151" fmla="*/ 16609 h 110543"/>
                    <a:gd name="connsiteX152" fmla="*/ 23251 w 212349"/>
                    <a:gd name="connsiteY152" fmla="*/ 16609 h 110543"/>
                    <a:gd name="connsiteX153" fmla="*/ 18606 w 212349"/>
                    <a:gd name="connsiteY153" fmla="*/ 16609 h 110543"/>
                    <a:gd name="connsiteX154" fmla="*/ 13952 w 212349"/>
                    <a:gd name="connsiteY154" fmla="*/ 16609 h 110543"/>
                    <a:gd name="connsiteX155" fmla="*/ 9307 w 212349"/>
                    <a:gd name="connsiteY155" fmla="*/ 16609 h 110543"/>
                    <a:gd name="connsiteX156" fmla="*/ 4662 w 212349"/>
                    <a:gd name="connsiteY156" fmla="*/ 16601 h 110543"/>
                    <a:gd name="connsiteX157" fmla="*/ 8 w 212349"/>
                    <a:gd name="connsiteY157" fmla="*/ 16601 h 110543"/>
                    <a:gd name="connsiteX158" fmla="*/ 8 w 212349"/>
                    <a:gd name="connsiteY158" fmla="*/ 12461 h 110543"/>
                    <a:gd name="connsiteX159" fmla="*/ 8 w 212349"/>
                    <a:gd name="connsiteY159" fmla="*/ 8305 h 110543"/>
                    <a:gd name="connsiteX160" fmla="*/ 8 w 212349"/>
                    <a:gd name="connsiteY160" fmla="*/ 4156 h 110543"/>
                    <a:gd name="connsiteX161" fmla="*/ 0 w 212349"/>
                    <a:gd name="connsiteY161" fmla="*/ 0 h 110543"/>
                    <a:gd name="connsiteX162" fmla="*/ 6129 w 212349"/>
                    <a:gd name="connsiteY162" fmla="*/ 0 h 110543"/>
                    <a:gd name="connsiteX163" fmla="*/ 12249 w 212349"/>
                    <a:gd name="connsiteY163" fmla="*/ 0 h 110543"/>
                    <a:gd name="connsiteX164" fmla="*/ 18378 w 212349"/>
                    <a:gd name="connsiteY164" fmla="*/ 0 h 110543"/>
                    <a:gd name="connsiteX165" fmla="*/ 24506 w 212349"/>
                    <a:gd name="connsiteY165" fmla="*/ 0 h 110543"/>
                    <a:gd name="connsiteX166" fmla="*/ 30235 w 212349"/>
                    <a:gd name="connsiteY166" fmla="*/ 0 h 110543"/>
                    <a:gd name="connsiteX167" fmla="*/ 35973 w 212349"/>
                    <a:gd name="connsiteY167" fmla="*/ 0 h 110543"/>
                    <a:gd name="connsiteX168" fmla="*/ 41702 w 212349"/>
                    <a:gd name="connsiteY168" fmla="*/ 0 h 110543"/>
                    <a:gd name="connsiteX169" fmla="*/ 47431 w 212349"/>
                    <a:gd name="connsiteY169" fmla="*/ 0 h 110543"/>
                    <a:gd name="connsiteX170" fmla="*/ 53161 w 212349"/>
                    <a:gd name="connsiteY170" fmla="*/ 0 h 110543"/>
                    <a:gd name="connsiteX171" fmla="*/ 58898 w 212349"/>
                    <a:gd name="connsiteY171" fmla="*/ 0 h 110543"/>
                    <a:gd name="connsiteX172" fmla="*/ 64627 w 212349"/>
                    <a:gd name="connsiteY172" fmla="*/ 0 h 110543"/>
                    <a:gd name="connsiteX173" fmla="*/ 70357 w 212349"/>
                    <a:gd name="connsiteY173" fmla="*/ 0 h 110543"/>
                    <a:gd name="connsiteX174" fmla="*/ 76086 w 212349"/>
                    <a:gd name="connsiteY174" fmla="*/ 0 h 110543"/>
                    <a:gd name="connsiteX175" fmla="*/ 81815 w 212349"/>
                    <a:gd name="connsiteY175" fmla="*/ 0 h 110543"/>
                    <a:gd name="connsiteX176" fmla="*/ 87553 w 212349"/>
                    <a:gd name="connsiteY176" fmla="*/ 0 h 110543"/>
                    <a:gd name="connsiteX177" fmla="*/ 93282 w 212349"/>
                    <a:gd name="connsiteY177" fmla="*/ 0 h 110543"/>
                    <a:gd name="connsiteX178" fmla="*/ 99011 w 212349"/>
                    <a:gd name="connsiteY178" fmla="*/ 0 h 110543"/>
                    <a:gd name="connsiteX179" fmla="*/ 104740 w 212349"/>
                    <a:gd name="connsiteY179" fmla="*/ 0 h 110543"/>
                    <a:gd name="connsiteX180" fmla="*/ 110478 w 212349"/>
                    <a:gd name="connsiteY180" fmla="*/ 0 h 110543"/>
                    <a:gd name="connsiteX181" fmla="*/ 116207 w 212349"/>
                    <a:gd name="connsiteY181" fmla="*/ 0 h 110543"/>
                    <a:gd name="connsiteX182" fmla="*/ 121944 w 212349"/>
                    <a:gd name="connsiteY182" fmla="*/ 0 h 110543"/>
                    <a:gd name="connsiteX183" fmla="*/ 127674 w 212349"/>
                    <a:gd name="connsiteY183" fmla="*/ 0 h 110543"/>
                    <a:gd name="connsiteX184" fmla="*/ 133403 w 212349"/>
                    <a:gd name="connsiteY184" fmla="*/ 0 h 110543"/>
                    <a:gd name="connsiteX185" fmla="*/ 139132 w 212349"/>
                    <a:gd name="connsiteY185" fmla="*/ 0 h 110543"/>
                    <a:gd name="connsiteX186" fmla="*/ 144870 w 212349"/>
                    <a:gd name="connsiteY186" fmla="*/ 0 h 110543"/>
                    <a:gd name="connsiteX187" fmla="*/ 150599 w 212349"/>
                    <a:gd name="connsiteY187" fmla="*/ 0 h 110543"/>
                    <a:gd name="connsiteX188" fmla="*/ 156328 w 212349"/>
                    <a:gd name="connsiteY188" fmla="*/ 0 h 110543"/>
                    <a:gd name="connsiteX189" fmla="*/ 162066 w 212349"/>
                    <a:gd name="connsiteY189" fmla="*/ 0 h 110543"/>
                    <a:gd name="connsiteX190" fmla="*/ 167795 w 212349"/>
                    <a:gd name="connsiteY190" fmla="*/ 0 h 110543"/>
                    <a:gd name="connsiteX191" fmla="*/ 173524 w 212349"/>
                    <a:gd name="connsiteY191" fmla="*/ 0 h 110543"/>
                    <a:gd name="connsiteX192" fmla="*/ 179253 w 212349"/>
                    <a:gd name="connsiteY192" fmla="*/ 0 h 110543"/>
                    <a:gd name="connsiteX193" fmla="*/ 184991 w 212349"/>
                    <a:gd name="connsiteY193" fmla="*/ 0 h 110543"/>
                    <a:gd name="connsiteX194" fmla="*/ 190712 w 212349"/>
                    <a:gd name="connsiteY194" fmla="*/ 0 h 110543"/>
                    <a:gd name="connsiteX195" fmla="*/ 196449 w 212349"/>
                    <a:gd name="connsiteY195" fmla="*/ 0 h 110543"/>
                    <a:gd name="connsiteX196" fmla="*/ 202179 w 212349"/>
                    <a:gd name="connsiteY196" fmla="*/ 0 h 110543"/>
                    <a:gd name="connsiteX197" fmla="*/ 207916 w 212349"/>
                    <a:gd name="connsiteY197" fmla="*/ 0 h 110543"/>
                    <a:gd name="connsiteX198" fmla="*/ 207916 w 212349"/>
                    <a:gd name="connsiteY198" fmla="*/ 4156 h 110543"/>
                    <a:gd name="connsiteX199" fmla="*/ 207916 w 212349"/>
                    <a:gd name="connsiteY199" fmla="*/ 8313 h 110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212349" h="110543">
                      <a:moveTo>
                        <a:pt x="207908" y="12469"/>
                      </a:moveTo>
                      <a:lnTo>
                        <a:pt x="207908" y="16617"/>
                      </a:lnTo>
                      <a:lnTo>
                        <a:pt x="208462" y="21238"/>
                      </a:lnTo>
                      <a:lnTo>
                        <a:pt x="209016" y="25851"/>
                      </a:lnTo>
                      <a:lnTo>
                        <a:pt x="209570" y="30464"/>
                      </a:lnTo>
                      <a:lnTo>
                        <a:pt x="210133" y="35068"/>
                      </a:lnTo>
                      <a:lnTo>
                        <a:pt x="210679" y="39673"/>
                      </a:lnTo>
                      <a:lnTo>
                        <a:pt x="211233" y="44269"/>
                      </a:lnTo>
                      <a:lnTo>
                        <a:pt x="211795" y="48866"/>
                      </a:lnTo>
                      <a:lnTo>
                        <a:pt x="212349" y="53462"/>
                      </a:lnTo>
                      <a:lnTo>
                        <a:pt x="212284" y="57048"/>
                      </a:lnTo>
                      <a:lnTo>
                        <a:pt x="212211" y="60634"/>
                      </a:lnTo>
                      <a:lnTo>
                        <a:pt x="212138" y="64212"/>
                      </a:lnTo>
                      <a:lnTo>
                        <a:pt x="212072" y="67781"/>
                      </a:lnTo>
                      <a:lnTo>
                        <a:pt x="211999" y="71359"/>
                      </a:lnTo>
                      <a:lnTo>
                        <a:pt x="211934" y="74937"/>
                      </a:lnTo>
                      <a:lnTo>
                        <a:pt x="211860" y="78506"/>
                      </a:lnTo>
                      <a:lnTo>
                        <a:pt x="211795" y="82076"/>
                      </a:lnTo>
                      <a:lnTo>
                        <a:pt x="211722" y="85646"/>
                      </a:lnTo>
                      <a:lnTo>
                        <a:pt x="211649" y="89207"/>
                      </a:lnTo>
                      <a:lnTo>
                        <a:pt x="211583" y="92768"/>
                      </a:lnTo>
                      <a:lnTo>
                        <a:pt x="211510" y="96330"/>
                      </a:lnTo>
                      <a:lnTo>
                        <a:pt x="211445" y="99891"/>
                      </a:lnTo>
                      <a:lnTo>
                        <a:pt x="211371" y="103445"/>
                      </a:lnTo>
                      <a:lnTo>
                        <a:pt x="211306" y="106998"/>
                      </a:lnTo>
                      <a:lnTo>
                        <a:pt x="211233" y="110543"/>
                      </a:lnTo>
                      <a:lnTo>
                        <a:pt x="205650" y="108889"/>
                      </a:lnTo>
                      <a:lnTo>
                        <a:pt x="204249" y="107837"/>
                      </a:lnTo>
                      <a:lnTo>
                        <a:pt x="201673" y="106631"/>
                      </a:lnTo>
                      <a:lnTo>
                        <a:pt x="199375" y="104170"/>
                      </a:lnTo>
                      <a:lnTo>
                        <a:pt x="194819" y="101130"/>
                      </a:lnTo>
                      <a:lnTo>
                        <a:pt x="193083" y="100397"/>
                      </a:lnTo>
                      <a:lnTo>
                        <a:pt x="192529" y="100470"/>
                      </a:lnTo>
                      <a:lnTo>
                        <a:pt x="191592" y="101978"/>
                      </a:lnTo>
                      <a:lnTo>
                        <a:pt x="189163" y="103159"/>
                      </a:lnTo>
                      <a:lnTo>
                        <a:pt x="187843" y="103216"/>
                      </a:lnTo>
                      <a:lnTo>
                        <a:pt x="185455" y="102760"/>
                      </a:lnTo>
                      <a:lnTo>
                        <a:pt x="185007" y="102385"/>
                      </a:lnTo>
                      <a:lnTo>
                        <a:pt x="184657" y="101472"/>
                      </a:lnTo>
                      <a:lnTo>
                        <a:pt x="183687" y="100845"/>
                      </a:lnTo>
                      <a:lnTo>
                        <a:pt x="182994" y="101334"/>
                      </a:lnTo>
                      <a:lnTo>
                        <a:pt x="179514" y="102605"/>
                      </a:lnTo>
                      <a:lnTo>
                        <a:pt x="178993" y="103485"/>
                      </a:lnTo>
                      <a:lnTo>
                        <a:pt x="177037" y="103526"/>
                      </a:lnTo>
                      <a:lnTo>
                        <a:pt x="175081" y="102890"/>
                      </a:lnTo>
                      <a:lnTo>
                        <a:pt x="170183" y="104871"/>
                      </a:lnTo>
                      <a:lnTo>
                        <a:pt x="168496" y="106444"/>
                      </a:lnTo>
                      <a:lnTo>
                        <a:pt x="166727" y="106982"/>
                      </a:lnTo>
                      <a:lnTo>
                        <a:pt x="165823" y="108497"/>
                      </a:lnTo>
                      <a:lnTo>
                        <a:pt x="165285" y="108286"/>
                      </a:lnTo>
                      <a:lnTo>
                        <a:pt x="163443" y="106403"/>
                      </a:lnTo>
                      <a:lnTo>
                        <a:pt x="161552" y="105849"/>
                      </a:lnTo>
                      <a:lnTo>
                        <a:pt x="158960" y="103991"/>
                      </a:lnTo>
                      <a:lnTo>
                        <a:pt x="158871" y="102336"/>
                      </a:lnTo>
                      <a:lnTo>
                        <a:pt x="158594" y="102141"/>
                      </a:lnTo>
                      <a:lnTo>
                        <a:pt x="158129" y="101953"/>
                      </a:lnTo>
                      <a:lnTo>
                        <a:pt x="157551" y="102116"/>
                      </a:lnTo>
                      <a:lnTo>
                        <a:pt x="156426" y="103510"/>
                      </a:lnTo>
                      <a:lnTo>
                        <a:pt x="155774" y="103868"/>
                      </a:lnTo>
                      <a:lnTo>
                        <a:pt x="155130" y="103819"/>
                      </a:lnTo>
                      <a:lnTo>
                        <a:pt x="152612" y="102874"/>
                      </a:lnTo>
                      <a:lnTo>
                        <a:pt x="151561" y="101187"/>
                      </a:lnTo>
                      <a:lnTo>
                        <a:pt x="151039" y="100674"/>
                      </a:lnTo>
                      <a:lnTo>
                        <a:pt x="150469" y="100576"/>
                      </a:lnTo>
                      <a:lnTo>
                        <a:pt x="149385" y="101081"/>
                      </a:lnTo>
                      <a:lnTo>
                        <a:pt x="148781" y="102923"/>
                      </a:lnTo>
                      <a:lnTo>
                        <a:pt x="148301" y="103420"/>
                      </a:lnTo>
                      <a:lnTo>
                        <a:pt x="147249" y="103738"/>
                      </a:lnTo>
                      <a:lnTo>
                        <a:pt x="147314" y="104667"/>
                      </a:lnTo>
                      <a:lnTo>
                        <a:pt x="146385" y="107218"/>
                      </a:lnTo>
                      <a:lnTo>
                        <a:pt x="145888" y="107731"/>
                      </a:lnTo>
                      <a:lnTo>
                        <a:pt x="145236" y="107634"/>
                      </a:lnTo>
                      <a:lnTo>
                        <a:pt x="144560" y="107006"/>
                      </a:lnTo>
                      <a:lnTo>
                        <a:pt x="144063" y="106101"/>
                      </a:lnTo>
                      <a:lnTo>
                        <a:pt x="143851" y="105327"/>
                      </a:lnTo>
                      <a:lnTo>
                        <a:pt x="144218" y="103306"/>
                      </a:lnTo>
                      <a:lnTo>
                        <a:pt x="143998" y="102630"/>
                      </a:lnTo>
                      <a:lnTo>
                        <a:pt x="143501" y="102418"/>
                      </a:lnTo>
                      <a:lnTo>
                        <a:pt x="142270" y="103371"/>
                      </a:lnTo>
                      <a:lnTo>
                        <a:pt x="141194" y="103330"/>
                      </a:lnTo>
                      <a:lnTo>
                        <a:pt x="139817" y="104284"/>
                      </a:lnTo>
                      <a:lnTo>
                        <a:pt x="138953" y="104569"/>
                      </a:lnTo>
                      <a:lnTo>
                        <a:pt x="138162" y="104333"/>
                      </a:lnTo>
                      <a:lnTo>
                        <a:pt x="136891" y="102793"/>
                      </a:lnTo>
                      <a:lnTo>
                        <a:pt x="134666" y="101806"/>
                      </a:lnTo>
                      <a:lnTo>
                        <a:pt x="133802" y="99981"/>
                      </a:lnTo>
                      <a:lnTo>
                        <a:pt x="133411" y="99451"/>
                      </a:lnTo>
                      <a:lnTo>
                        <a:pt x="132938" y="99321"/>
                      </a:lnTo>
                      <a:lnTo>
                        <a:pt x="132458" y="99378"/>
                      </a:lnTo>
                      <a:lnTo>
                        <a:pt x="131675" y="99956"/>
                      </a:lnTo>
                      <a:lnTo>
                        <a:pt x="129108" y="102353"/>
                      </a:lnTo>
                      <a:lnTo>
                        <a:pt x="127943" y="103119"/>
                      </a:lnTo>
                      <a:lnTo>
                        <a:pt x="126940" y="103265"/>
                      </a:lnTo>
                      <a:lnTo>
                        <a:pt x="125979" y="103029"/>
                      </a:lnTo>
                      <a:lnTo>
                        <a:pt x="125367" y="102418"/>
                      </a:lnTo>
                      <a:lnTo>
                        <a:pt x="125245" y="99997"/>
                      </a:lnTo>
                      <a:lnTo>
                        <a:pt x="124675" y="99256"/>
                      </a:lnTo>
                      <a:lnTo>
                        <a:pt x="122311" y="97732"/>
                      </a:lnTo>
                      <a:lnTo>
                        <a:pt x="121814" y="96297"/>
                      </a:lnTo>
                      <a:lnTo>
                        <a:pt x="121586" y="94309"/>
                      </a:lnTo>
                      <a:lnTo>
                        <a:pt x="118725" y="94618"/>
                      </a:lnTo>
                      <a:lnTo>
                        <a:pt x="115205" y="94415"/>
                      </a:lnTo>
                      <a:lnTo>
                        <a:pt x="113607" y="96167"/>
                      </a:lnTo>
                      <a:lnTo>
                        <a:pt x="112784" y="96493"/>
                      </a:lnTo>
                      <a:lnTo>
                        <a:pt x="111782" y="96142"/>
                      </a:lnTo>
                      <a:lnTo>
                        <a:pt x="108946" y="93771"/>
                      </a:lnTo>
                      <a:lnTo>
                        <a:pt x="105922" y="94252"/>
                      </a:lnTo>
                      <a:lnTo>
                        <a:pt x="104219" y="93983"/>
                      </a:lnTo>
                      <a:lnTo>
                        <a:pt x="99997" y="92214"/>
                      </a:lnTo>
                      <a:lnTo>
                        <a:pt x="96688" y="92059"/>
                      </a:lnTo>
                      <a:lnTo>
                        <a:pt x="95327" y="91733"/>
                      </a:lnTo>
                      <a:lnTo>
                        <a:pt x="94602" y="91334"/>
                      </a:lnTo>
                      <a:lnTo>
                        <a:pt x="94276" y="88620"/>
                      </a:lnTo>
                      <a:lnTo>
                        <a:pt x="92964" y="86330"/>
                      </a:lnTo>
                      <a:lnTo>
                        <a:pt x="92524" y="85703"/>
                      </a:lnTo>
                      <a:lnTo>
                        <a:pt x="90291" y="84097"/>
                      </a:lnTo>
                      <a:lnTo>
                        <a:pt x="89932" y="84048"/>
                      </a:lnTo>
                      <a:lnTo>
                        <a:pt x="89688" y="84407"/>
                      </a:lnTo>
                      <a:lnTo>
                        <a:pt x="89182" y="86200"/>
                      </a:lnTo>
                      <a:lnTo>
                        <a:pt x="88506" y="86298"/>
                      </a:lnTo>
                      <a:lnTo>
                        <a:pt x="85931" y="85792"/>
                      </a:lnTo>
                      <a:lnTo>
                        <a:pt x="83551" y="86322"/>
                      </a:lnTo>
                      <a:lnTo>
                        <a:pt x="82223" y="85417"/>
                      </a:lnTo>
                      <a:lnTo>
                        <a:pt x="77724" y="81245"/>
                      </a:lnTo>
                      <a:lnTo>
                        <a:pt x="75898" y="80153"/>
                      </a:lnTo>
                      <a:lnTo>
                        <a:pt x="74448" y="79810"/>
                      </a:lnTo>
                      <a:lnTo>
                        <a:pt x="74440" y="75882"/>
                      </a:lnTo>
                      <a:lnTo>
                        <a:pt x="74440" y="71946"/>
                      </a:lnTo>
                      <a:lnTo>
                        <a:pt x="74431" y="68018"/>
                      </a:lnTo>
                      <a:lnTo>
                        <a:pt x="74423" y="64073"/>
                      </a:lnTo>
                      <a:lnTo>
                        <a:pt x="74423" y="60137"/>
                      </a:lnTo>
                      <a:lnTo>
                        <a:pt x="74415" y="56192"/>
                      </a:lnTo>
                      <a:lnTo>
                        <a:pt x="74407" y="52248"/>
                      </a:lnTo>
                      <a:lnTo>
                        <a:pt x="74407" y="48303"/>
                      </a:lnTo>
                      <a:lnTo>
                        <a:pt x="74399" y="44343"/>
                      </a:lnTo>
                      <a:lnTo>
                        <a:pt x="74391" y="40398"/>
                      </a:lnTo>
                      <a:lnTo>
                        <a:pt x="74391" y="36429"/>
                      </a:lnTo>
                      <a:lnTo>
                        <a:pt x="74383" y="32477"/>
                      </a:lnTo>
                      <a:lnTo>
                        <a:pt x="74383" y="28516"/>
                      </a:lnTo>
                      <a:lnTo>
                        <a:pt x="74374" y="24547"/>
                      </a:lnTo>
                      <a:lnTo>
                        <a:pt x="74374" y="20586"/>
                      </a:lnTo>
                      <a:lnTo>
                        <a:pt x="74366" y="16609"/>
                      </a:lnTo>
                      <a:lnTo>
                        <a:pt x="69721" y="16609"/>
                      </a:lnTo>
                      <a:lnTo>
                        <a:pt x="65076" y="16609"/>
                      </a:lnTo>
                      <a:lnTo>
                        <a:pt x="60422" y="16609"/>
                      </a:lnTo>
                      <a:lnTo>
                        <a:pt x="55777" y="16609"/>
                      </a:lnTo>
                      <a:lnTo>
                        <a:pt x="51131" y="16609"/>
                      </a:lnTo>
                      <a:lnTo>
                        <a:pt x="46486" y="16609"/>
                      </a:lnTo>
                      <a:lnTo>
                        <a:pt x="41841" y="16609"/>
                      </a:lnTo>
                      <a:lnTo>
                        <a:pt x="37187" y="16609"/>
                      </a:lnTo>
                      <a:lnTo>
                        <a:pt x="32542" y="16609"/>
                      </a:lnTo>
                      <a:lnTo>
                        <a:pt x="27896" y="16609"/>
                      </a:lnTo>
                      <a:lnTo>
                        <a:pt x="23251" y="16609"/>
                      </a:lnTo>
                      <a:lnTo>
                        <a:pt x="18606" y="16609"/>
                      </a:lnTo>
                      <a:lnTo>
                        <a:pt x="13952" y="16609"/>
                      </a:lnTo>
                      <a:lnTo>
                        <a:pt x="9307" y="16609"/>
                      </a:lnTo>
                      <a:lnTo>
                        <a:pt x="4662" y="16601"/>
                      </a:lnTo>
                      <a:lnTo>
                        <a:pt x="8" y="16601"/>
                      </a:lnTo>
                      <a:lnTo>
                        <a:pt x="8" y="12461"/>
                      </a:lnTo>
                      <a:lnTo>
                        <a:pt x="8" y="8305"/>
                      </a:lnTo>
                      <a:lnTo>
                        <a:pt x="8" y="4156"/>
                      </a:lnTo>
                      <a:lnTo>
                        <a:pt x="0" y="0"/>
                      </a:lnTo>
                      <a:lnTo>
                        <a:pt x="6129" y="0"/>
                      </a:lnTo>
                      <a:lnTo>
                        <a:pt x="12249" y="0"/>
                      </a:lnTo>
                      <a:lnTo>
                        <a:pt x="18378" y="0"/>
                      </a:lnTo>
                      <a:lnTo>
                        <a:pt x="24506" y="0"/>
                      </a:lnTo>
                      <a:lnTo>
                        <a:pt x="30235" y="0"/>
                      </a:lnTo>
                      <a:lnTo>
                        <a:pt x="35973" y="0"/>
                      </a:lnTo>
                      <a:lnTo>
                        <a:pt x="41702" y="0"/>
                      </a:lnTo>
                      <a:lnTo>
                        <a:pt x="47431" y="0"/>
                      </a:lnTo>
                      <a:lnTo>
                        <a:pt x="53161" y="0"/>
                      </a:lnTo>
                      <a:lnTo>
                        <a:pt x="58898" y="0"/>
                      </a:lnTo>
                      <a:lnTo>
                        <a:pt x="64627" y="0"/>
                      </a:lnTo>
                      <a:lnTo>
                        <a:pt x="70357" y="0"/>
                      </a:lnTo>
                      <a:lnTo>
                        <a:pt x="76086" y="0"/>
                      </a:lnTo>
                      <a:lnTo>
                        <a:pt x="81815" y="0"/>
                      </a:lnTo>
                      <a:lnTo>
                        <a:pt x="87553" y="0"/>
                      </a:lnTo>
                      <a:lnTo>
                        <a:pt x="93282" y="0"/>
                      </a:lnTo>
                      <a:lnTo>
                        <a:pt x="99011" y="0"/>
                      </a:lnTo>
                      <a:lnTo>
                        <a:pt x="104740" y="0"/>
                      </a:lnTo>
                      <a:lnTo>
                        <a:pt x="110478" y="0"/>
                      </a:lnTo>
                      <a:lnTo>
                        <a:pt x="116207" y="0"/>
                      </a:lnTo>
                      <a:lnTo>
                        <a:pt x="121944" y="0"/>
                      </a:lnTo>
                      <a:lnTo>
                        <a:pt x="127674" y="0"/>
                      </a:lnTo>
                      <a:lnTo>
                        <a:pt x="133403" y="0"/>
                      </a:lnTo>
                      <a:lnTo>
                        <a:pt x="139132" y="0"/>
                      </a:lnTo>
                      <a:lnTo>
                        <a:pt x="144870" y="0"/>
                      </a:lnTo>
                      <a:lnTo>
                        <a:pt x="150599" y="0"/>
                      </a:lnTo>
                      <a:lnTo>
                        <a:pt x="156328" y="0"/>
                      </a:lnTo>
                      <a:lnTo>
                        <a:pt x="162066" y="0"/>
                      </a:lnTo>
                      <a:lnTo>
                        <a:pt x="167795" y="0"/>
                      </a:lnTo>
                      <a:lnTo>
                        <a:pt x="173524" y="0"/>
                      </a:lnTo>
                      <a:lnTo>
                        <a:pt x="179253" y="0"/>
                      </a:lnTo>
                      <a:lnTo>
                        <a:pt x="184991" y="0"/>
                      </a:lnTo>
                      <a:lnTo>
                        <a:pt x="190712" y="0"/>
                      </a:lnTo>
                      <a:lnTo>
                        <a:pt x="196449" y="0"/>
                      </a:lnTo>
                      <a:lnTo>
                        <a:pt x="202179" y="0"/>
                      </a:lnTo>
                      <a:lnTo>
                        <a:pt x="207916" y="0"/>
                      </a:lnTo>
                      <a:lnTo>
                        <a:pt x="207916" y="4156"/>
                      </a:lnTo>
                      <a:lnTo>
                        <a:pt x="207916" y="8313"/>
                      </a:lnTo>
                      <a:close/>
                    </a:path>
                  </a:pathLst>
                </a:custGeom>
                <a:solidFill>
                  <a:srgbClr val="D6D6D2"/>
                </a:solidFill>
                <a:ln w="6112" cap="rnd">
                  <a:solidFill>
                    <a:srgbClr val="FFFFFF"/>
                  </a:solidFill>
                  <a:prstDash val="solid"/>
                  <a:round/>
                </a:ln>
              </p:spPr>
              <p:txBody>
                <a:bodyPr rtlCol="0" anchor="ctr"/>
                <a:lstStyle/>
                <a:p>
                  <a:endParaRPr lang="en-US"/>
                </a:p>
              </p:txBody>
            </p:sp>
            <p:sp>
              <p:nvSpPr>
                <p:cNvPr id="439" name="Freeform: Shape 438">
                  <a:extLst>
                    <a:ext uri="{FF2B5EF4-FFF2-40B4-BE49-F238E27FC236}">
                      <a16:creationId xmlns:a16="http://schemas.microsoft.com/office/drawing/2014/main" id="{49C1E396-168B-411F-BD29-608E0E93EFBE}"/>
                    </a:ext>
                  </a:extLst>
                </p:cNvPr>
                <p:cNvSpPr/>
                <p:nvPr/>
              </p:nvSpPr>
              <p:spPr>
                <a:xfrm>
                  <a:off x="3839860" y="3196408"/>
                  <a:ext cx="106712" cy="132873"/>
                </a:xfrm>
                <a:custGeom>
                  <a:avLst/>
                  <a:gdLst>
                    <a:gd name="connsiteX0" fmla="*/ 106688 w 106712"/>
                    <a:gd name="connsiteY0" fmla="*/ 21572 h 132873"/>
                    <a:gd name="connsiteX1" fmla="*/ 106688 w 106712"/>
                    <a:gd name="connsiteY1" fmla="*/ 25166 h 132873"/>
                    <a:gd name="connsiteX2" fmla="*/ 106688 w 106712"/>
                    <a:gd name="connsiteY2" fmla="*/ 28760 h 132873"/>
                    <a:gd name="connsiteX3" fmla="*/ 106688 w 106712"/>
                    <a:gd name="connsiteY3" fmla="*/ 32346 h 132873"/>
                    <a:gd name="connsiteX4" fmla="*/ 106688 w 106712"/>
                    <a:gd name="connsiteY4" fmla="*/ 35924 h 132873"/>
                    <a:gd name="connsiteX5" fmla="*/ 106688 w 106712"/>
                    <a:gd name="connsiteY5" fmla="*/ 39510 h 132873"/>
                    <a:gd name="connsiteX6" fmla="*/ 106688 w 106712"/>
                    <a:gd name="connsiteY6" fmla="*/ 43096 h 132873"/>
                    <a:gd name="connsiteX7" fmla="*/ 106688 w 106712"/>
                    <a:gd name="connsiteY7" fmla="*/ 46673 h 132873"/>
                    <a:gd name="connsiteX8" fmla="*/ 106688 w 106712"/>
                    <a:gd name="connsiteY8" fmla="*/ 50251 h 132873"/>
                    <a:gd name="connsiteX9" fmla="*/ 106688 w 106712"/>
                    <a:gd name="connsiteY9" fmla="*/ 53821 h 132873"/>
                    <a:gd name="connsiteX10" fmla="*/ 106713 w 106712"/>
                    <a:gd name="connsiteY10" fmla="*/ 57423 h 132873"/>
                    <a:gd name="connsiteX11" fmla="*/ 103779 w 106712"/>
                    <a:gd name="connsiteY11" fmla="*/ 58906 h 132873"/>
                    <a:gd name="connsiteX12" fmla="*/ 103249 w 106712"/>
                    <a:gd name="connsiteY12" fmla="*/ 60283 h 132873"/>
                    <a:gd name="connsiteX13" fmla="*/ 104129 w 106712"/>
                    <a:gd name="connsiteY13" fmla="*/ 62036 h 132873"/>
                    <a:gd name="connsiteX14" fmla="*/ 104610 w 106712"/>
                    <a:gd name="connsiteY14" fmla="*/ 64285 h 132873"/>
                    <a:gd name="connsiteX15" fmla="*/ 104659 w 106712"/>
                    <a:gd name="connsiteY15" fmla="*/ 67048 h 132873"/>
                    <a:gd name="connsiteX16" fmla="*/ 103012 w 106712"/>
                    <a:gd name="connsiteY16" fmla="*/ 73119 h 132873"/>
                    <a:gd name="connsiteX17" fmla="*/ 99655 w 106712"/>
                    <a:gd name="connsiteY17" fmla="*/ 82483 h 132873"/>
                    <a:gd name="connsiteX18" fmla="*/ 97960 w 106712"/>
                    <a:gd name="connsiteY18" fmla="*/ 88367 h 132873"/>
                    <a:gd name="connsiteX19" fmla="*/ 97903 w 106712"/>
                    <a:gd name="connsiteY19" fmla="*/ 90772 h 132873"/>
                    <a:gd name="connsiteX20" fmla="*/ 95702 w 106712"/>
                    <a:gd name="connsiteY20" fmla="*/ 93926 h 132873"/>
                    <a:gd name="connsiteX21" fmla="*/ 91342 w 106712"/>
                    <a:gd name="connsiteY21" fmla="*/ 97813 h 132873"/>
                    <a:gd name="connsiteX22" fmla="*/ 88278 w 106712"/>
                    <a:gd name="connsiteY22" fmla="*/ 100160 h 132873"/>
                    <a:gd name="connsiteX23" fmla="*/ 86518 w 106712"/>
                    <a:gd name="connsiteY23" fmla="*/ 100959 h 132873"/>
                    <a:gd name="connsiteX24" fmla="*/ 85059 w 106712"/>
                    <a:gd name="connsiteY24" fmla="*/ 100894 h 132873"/>
                    <a:gd name="connsiteX25" fmla="*/ 83885 w 106712"/>
                    <a:gd name="connsiteY25" fmla="*/ 99956 h 132873"/>
                    <a:gd name="connsiteX26" fmla="*/ 82565 w 106712"/>
                    <a:gd name="connsiteY26" fmla="*/ 100600 h 132873"/>
                    <a:gd name="connsiteX27" fmla="*/ 81106 w 106712"/>
                    <a:gd name="connsiteY27" fmla="*/ 102817 h 132873"/>
                    <a:gd name="connsiteX28" fmla="*/ 79745 w 106712"/>
                    <a:gd name="connsiteY28" fmla="*/ 103958 h 132873"/>
                    <a:gd name="connsiteX29" fmla="*/ 78482 w 106712"/>
                    <a:gd name="connsiteY29" fmla="*/ 104031 h 132873"/>
                    <a:gd name="connsiteX30" fmla="*/ 77414 w 106712"/>
                    <a:gd name="connsiteY30" fmla="*/ 105466 h 132873"/>
                    <a:gd name="connsiteX31" fmla="*/ 76518 w 106712"/>
                    <a:gd name="connsiteY31" fmla="*/ 108261 h 132873"/>
                    <a:gd name="connsiteX32" fmla="*/ 75670 w 106712"/>
                    <a:gd name="connsiteY32" fmla="*/ 109866 h 132873"/>
                    <a:gd name="connsiteX33" fmla="*/ 74880 w 106712"/>
                    <a:gd name="connsiteY33" fmla="*/ 110298 h 132873"/>
                    <a:gd name="connsiteX34" fmla="*/ 74823 w 106712"/>
                    <a:gd name="connsiteY34" fmla="*/ 111716 h 132873"/>
                    <a:gd name="connsiteX35" fmla="*/ 75499 w 106712"/>
                    <a:gd name="connsiteY35" fmla="*/ 114121 h 132873"/>
                    <a:gd name="connsiteX36" fmla="*/ 75434 w 106712"/>
                    <a:gd name="connsiteY36" fmla="*/ 114985 h 132873"/>
                    <a:gd name="connsiteX37" fmla="*/ 75067 w 106712"/>
                    <a:gd name="connsiteY37" fmla="*/ 115025 h 132873"/>
                    <a:gd name="connsiteX38" fmla="*/ 74717 w 106712"/>
                    <a:gd name="connsiteY38" fmla="*/ 114887 h 132873"/>
                    <a:gd name="connsiteX39" fmla="*/ 73861 w 106712"/>
                    <a:gd name="connsiteY39" fmla="*/ 115416 h 132873"/>
                    <a:gd name="connsiteX40" fmla="*/ 72899 w 106712"/>
                    <a:gd name="connsiteY40" fmla="*/ 116761 h 132873"/>
                    <a:gd name="connsiteX41" fmla="*/ 72541 w 106712"/>
                    <a:gd name="connsiteY41" fmla="*/ 116786 h 132873"/>
                    <a:gd name="connsiteX42" fmla="*/ 72280 w 106712"/>
                    <a:gd name="connsiteY42" fmla="*/ 116566 h 132873"/>
                    <a:gd name="connsiteX43" fmla="*/ 72003 w 106712"/>
                    <a:gd name="connsiteY43" fmla="*/ 114813 h 132873"/>
                    <a:gd name="connsiteX44" fmla="*/ 71229 w 106712"/>
                    <a:gd name="connsiteY44" fmla="*/ 113558 h 132873"/>
                    <a:gd name="connsiteX45" fmla="*/ 69957 w 106712"/>
                    <a:gd name="connsiteY45" fmla="*/ 112833 h 132873"/>
                    <a:gd name="connsiteX46" fmla="*/ 68189 w 106712"/>
                    <a:gd name="connsiteY46" fmla="*/ 114447 h 132873"/>
                    <a:gd name="connsiteX47" fmla="*/ 65931 w 106712"/>
                    <a:gd name="connsiteY47" fmla="*/ 118424 h 132873"/>
                    <a:gd name="connsiteX48" fmla="*/ 64937 w 106712"/>
                    <a:gd name="connsiteY48" fmla="*/ 121007 h 132873"/>
                    <a:gd name="connsiteX49" fmla="*/ 65328 w 106712"/>
                    <a:gd name="connsiteY49" fmla="*/ 122792 h 132873"/>
                    <a:gd name="connsiteX50" fmla="*/ 65516 w 106712"/>
                    <a:gd name="connsiteY50" fmla="*/ 125400 h 132873"/>
                    <a:gd name="connsiteX51" fmla="*/ 64962 w 106712"/>
                    <a:gd name="connsiteY51" fmla="*/ 126467 h 132873"/>
                    <a:gd name="connsiteX52" fmla="*/ 63723 w 106712"/>
                    <a:gd name="connsiteY52" fmla="*/ 126859 h 132873"/>
                    <a:gd name="connsiteX53" fmla="*/ 62769 w 106712"/>
                    <a:gd name="connsiteY53" fmla="*/ 128277 h 132873"/>
                    <a:gd name="connsiteX54" fmla="*/ 62093 w 106712"/>
                    <a:gd name="connsiteY54" fmla="*/ 130705 h 132873"/>
                    <a:gd name="connsiteX55" fmla="*/ 60390 w 106712"/>
                    <a:gd name="connsiteY55" fmla="*/ 132238 h 132873"/>
                    <a:gd name="connsiteX56" fmla="*/ 57643 w 106712"/>
                    <a:gd name="connsiteY56" fmla="*/ 132873 h 132873"/>
                    <a:gd name="connsiteX57" fmla="*/ 54782 w 106712"/>
                    <a:gd name="connsiteY57" fmla="*/ 131757 h 132873"/>
                    <a:gd name="connsiteX58" fmla="*/ 54570 w 106712"/>
                    <a:gd name="connsiteY58" fmla="*/ 131683 h 132873"/>
                    <a:gd name="connsiteX59" fmla="*/ 51172 w 106712"/>
                    <a:gd name="connsiteY59" fmla="*/ 128643 h 132873"/>
                    <a:gd name="connsiteX60" fmla="*/ 49037 w 106712"/>
                    <a:gd name="connsiteY60" fmla="*/ 125734 h 132873"/>
                    <a:gd name="connsiteX61" fmla="*/ 48149 w 106712"/>
                    <a:gd name="connsiteY61" fmla="*/ 122955 h 132873"/>
                    <a:gd name="connsiteX62" fmla="*/ 45182 w 106712"/>
                    <a:gd name="connsiteY62" fmla="*/ 122833 h 132873"/>
                    <a:gd name="connsiteX63" fmla="*/ 40137 w 106712"/>
                    <a:gd name="connsiteY63" fmla="*/ 125359 h 132873"/>
                    <a:gd name="connsiteX64" fmla="*/ 36332 w 106712"/>
                    <a:gd name="connsiteY64" fmla="*/ 125742 h 132873"/>
                    <a:gd name="connsiteX65" fmla="*/ 33756 w 106712"/>
                    <a:gd name="connsiteY65" fmla="*/ 123990 h 132873"/>
                    <a:gd name="connsiteX66" fmla="*/ 31825 w 106712"/>
                    <a:gd name="connsiteY66" fmla="*/ 123305 h 132873"/>
                    <a:gd name="connsiteX67" fmla="*/ 29901 w 106712"/>
                    <a:gd name="connsiteY67" fmla="*/ 123876 h 132873"/>
                    <a:gd name="connsiteX68" fmla="*/ 28068 w 106712"/>
                    <a:gd name="connsiteY68" fmla="*/ 125001 h 132873"/>
                    <a:gd name="connsiteX69" fmla="*/ 26519 w 106712"/>
                    <a:gd name="connsiteY69" fmla="*/ 124332 h 132873"/>
                    <a:gd name="connsiteX70" fmla="*/ 24645 w 106712"/>
                    <a:gd name="connsiteY70" fmla="*/ 122254 h 132873"/>
                    <a:gd name="connsiteX71" fmla="*/ 21662 w 106712"/>
                    <a:gd name="connsiteY71" fmla="*/ 120803 h 132873"/>
                    <a:gd name="connsiteX72" fmla="*/ 17571 w 106712"/>
                    <a:gd name="connsiteY72" fmla="*/ 119988 h 132873"/>
                    <a:gd name="connsiteX73" fmla="*/ 14743 w 106712"/>
                    <a:gd name="connsiteY73" fmla="*/ 117739 h 132873"/>
                    <a:gd name="connsiteX74" fmla="*/ 13178 w 106712"/>
                    <a:gd name="connsiteY74" fmla="*/ 114047 h 132873"/>
                    <a:gd name="connsiteX75" fmla="*/ 11499 w 106712"/>
                    <a:gd name="connsiteY75" fmla="*/ 111521 h 132873"/>
                    <a:gd name="connsiteX76" fmla="*/ 9714 w 106712"/>
                    <a:gd name="connsiteY76" fmla="*/ 110135 h 132873"/>
                    <a:gd name="connsiteX77" fmla="*/ 7759 w 106712"/>
                    <a:gd name="connsiteY77" fmla="*/ 109736 h 132873"/>
                    <a:gd name="connsiteX78" fmla="*/ 5632 w 106712"/>
                    <a:gd name="connsiteY78" fmla="*/ 110307 h 132873"/>
                    <a:gd name="connsiteX79" fmla="*/ 4001 w 106712"/>
                    <a:gd name="connsiteY79" fmla="*/ 110021 h 132873"/>
                    <a:gd name="connsiteX80" fmla="*/ 2844 w 106712"/>
                    <a:gd name="connsiteY80" fmla="*/ 108856 h 132873"/>
                    <a:gd name="connsiteX81" fmla="*/ 1377 w 106712"/>
                    <a:gd name="connsiteY81" fmla="*/ 108986 h 132873"/>
                    <a:gd name="connsiteX82" fmla="*/ 0 w 106712"/>
                    <a:gd name="connsiteY82" fmla="*/ 110103 h 132873"/>
                    <a:gd name="connsiteX83" fmla="*/ 41 w 106712"/>
                    <a:gd name="connsiteY83" fmla="*/ 98905 h 132873"/>
                    <a:gd name="connsiteX84" fmla="*/ 122 w 106712"/>
                    <a:gd name="connsiteY84" fmla="*/ 87895 h 132873"/>
                    <a:gd name="connsiteX85" fmla="*/ 212 w 106712"/>
                    <a:gd name="connsiteY85" fmla="*/ 76876 h 132873"/>
                    <a:gd name="connsiteX86" fmla="*/ 293 w 106712"/>
                    <a:gd name="connsiteY86" fmla="*/ 65825 h 132873"/>
                    <a:gd name="connsiteX87" fmla="*/ 383 w 106712"/>
                    <a:gd name="connsiteY87" fmla="*/ 54758 h 132873"/>
                    <a:gd name="connsiteX88" fmla="*/ 465 w 106712"/>
                    <a:gd name="connsiteY88" fmla="*/ 43658 h 132873"/>
                    <a:gd name="connsiteX89" fmla="*/ 546 w 106712"/>
                    <a:gd name="connsiteY89" fmla="*/ 32534 h 132873"/>
                    <a:gd name="connsiteX90" fmla="*/ 636 w 106712"/>
                    <a:gd name="connsiteY90" fmla="*/ 21401 h 132873"/>
                    <a:gd name="connsiteX91" fmla="*/ 8891 w 106712"/>
                    <a:gd name="connsiteY91" fmla="*/ 21075 h 132873"/>
                    <a:gd name="connsiteX92" fmla="*/ 17155 w 106712"/>
                    <a:gd name="connsiteY92" fmla="*/ 20741 h 132873"/>
                    <a:gd name="connsiteX93" fmla="*/ 25411 w 106712"/>
                    <a:gd name="connsiteY93" fmla="*/ 20423 h 132873"/>
                    <a:gd name="connsiteX94" fmla="*/ 33667 w 106712"/>
                    <a:gd name="connsiteY94" fmla="*/ 20097 h 132873"/>
                    <a:gd name="connsiteX95" fmla="*/ 37644 w 106712"/>
                    <a:gd name="connsiteY95" fmla="*/ 16723 h 132873"/>
                    <a:gd name="connsiteX96" fmla="*/ 42159 w 106712"/>
                    <a:gd name="connsiteY96" fmla="*/ 12868 h 132873"/>
                    <a:gd name="connsiteX97" fmla="*/ 44441 w 106712"/>
                    <a:gd name="connsiteY97" fmla="*/ 16886 h 132873"/>
                    <a:gd name="connsiteX98" fmla="*/ 48499 w 106712"/>
                    <a:gd name="connsiteY98" fmla="*/ 19624 h 132873"/>
                    <a:gd name="connsiteX99" fmla="*/ 52867 w 106712"/>
                    <a:gd name="connsiteY99" fmla="*/ 22298 h 132873"/>
                    <a:gd name="connsiteX100" fmla="*/ 59094 w 106712"/>
                    <a:gd name="connsiteY100" fmla="*/ 22314 h 132873"/>
                    <a:gd name="connsiteX101" fmla="*/ 64692 w 106712"/>
                    <a:gd name="connsiteY101" fmla="*/ 18752 h 132873"/>
                    <a:gd name="connsiteX102" fmla="*/ 70625 w 106712"/>
                    <a:gd name="connsiteY102" fmla="*/ 14979 h 132873"/>
                    <a:gd name="connsiteX103" fmla="*/ 75915 w 106712"/>
                    <a:gd name="connsiteY103" fmla="*/ 11605 h 132873"/>
                    <a:gd name="connsiteX104" fmla="*/ 82206 w 106712"/>
                    <a:gd name="connsiteY104" fmla="*/ 7595 h 132873"/>
                    <a:gd name="connsiteX105" fmla="*/ 87903 w 106712"/>
                    <a:gd name="connsiteY105" fmla="*/ 3961 h 132873"/>
                    <a:gd name="connsiteX106" fmla="*/ 94081 w 106712"/>
                    <a:gd name="connsiteY106" fmla="*/ 2657 h 132873"/>
                    <a:gd name="connsiteX107" fmla="*/ 102654 w 106712"/>
                    <a:gd name="connsiteY107" fmla="*/ 847 h 132873"/>
                    <a:gd name="connsiteX108" fmla="*/ 106672 w 106712"/>
                    <a:gd name="connsiteY108" fmla="*/ 0 h 132873"/>
                    <a:gd name="connsiteX109" fmla="*/ 106688 w 106712"/>
                    <a:gd name="connsiteY109" fmla="*/ 3569 h 132873"/>
                    <a:gd name="connsiteX110" fmla="*/ 106688 w 106712"/>
                    <a:gd name="connsiteY110" fmla="*/ 7180 h 132873"/>
                    <a:gd name="connsiteX111" fmla="*/ 106688 w 106712"/>
                    <a:gd name="connsiteY111" fmla="*/ 10782 h 132873"/>
                    <a:gd name="connsiteX112" fmla="*/ 106688 w 106712"/>
                    <a:gd name="connsiteY112" fmla="*/ 14376 h 132873"/>
                    <a:gd name="connsiteX113" fmla="*/ 106688 w 106712"/>
                    <a:gd name="connsiteY113" fmla="*/ 17978 h 13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06712" h="132873">
                      <a:moveTo>
                        <a:pt x="106688" y="21572"/>
                      </a:moveTo>
                      <a:lnTo>
                        <a:pt x="106688" y="25166"/>
                      </a:lnTo>
                      <a:lnTo>
                        <a:pt x="106688" y="28760"/>
                      </a:lnTo>
                      <a:lnTo>
                        <a:pt x="106688" y="32346"/>
                      </a:lnTo>
                      <a:lnTo>
                        <a:pt x="106688" y="35924"/>
                      </a:lnTo>
                      <a:lnTo>
                        <a:pt x="106688" y="39510"/>
                      </a:lnTo>
                      <a:lnTo>
                        <a:pt x="106688" y="43096"/>
                      </a:lnTo>
                      <a:lnTo>
                        <a:pt x="106688" y="46673"/>
                      </a:lnTo>
                      <a:lnTo>
                        <a:pt x="106688" y="50251"/>
                      </a:lnTo>
                      <a:lnTo>
                        <a:pt x="106688" y="53821"/>
                      </a:lnTo>
                      <a:lnTo>
                        <a:pt x="106713" y="57423"/>
                      </a:lnTo>
                      <a:lnTo>
                        <a:pt x="103779" y="58906"/>
                      </a:lnTo>
                      <a:lnTo>
                        <a:pt x="103249" y="60283"/>
                      </a:lnTo>
                      <a:lnTo>
                        <a:pt x="104129" y="62036"/>
                      </a:lnTo>
                      <a:lnTo>
                        <a:pt x="104610" y="64285"/>
                      </a:lnTo>
                      <a:lnTo>
                        <a:pt x="104659" y="67048"/>
                      </a:lnTo>
                      <a:lnTo>
                        <a:pt x="103012" y="73119"/>
                      </a:lnTo>
                      <a:lnTo>
                        <a:pt x="99655" y="82483"/>
                      </a:lnTo>
                      <a:lnTo>
                        <a:pt x="97960" y="88367"/>
                      </a:lnTo>
                      <a:lnTo>
                        <a:pt x="97903" y="90772"/>
                      </a:lnTo>
                      <a:lnTo>
                        <a:pt x="95702" y="93926"/>
                      </a:lnTo>
                      <a:lnTo>
                        <a:pt x="91342" y="97813"/>
                      </a:lnTo>
                      <a:lnTo>
                        <a:pt x="88278" y="100160"/>
                      </a:lnTo>
                      <a:lnTo>
                        <a:pt x="86518" y="100959"/>
                      </a:lnTo>
                      <a:lnTo>
                        <a:pt x="85059" y="100894"/>
                      </a:lnTo>
                      <a:lnTo>
                        <a:pt x="83885" y="99956"/>
                      </a:lnTo>
                      <a:lnTo>
                        <a:pt x="82565" y="100600"/>
                      </a:lnTo>
                      <a:lnTo>
                        <a:pt x="81106" y="102817"/>
                      </a:lnTo>
                      <a:lnTo>
                        <a:pt x="79745" y="103958"/>
                      </a:lnTo>
                      <a:lnTo>
                        <a:pt x="78482" y="104031"/>
                      </a:lnTo>
                      <a:lnTo>
                        <a:pt x="77414" y="105466"/>
                      </a:lnTo>
                      <a:lnTo>
                        <a:pt x="76518" y="108261"/>
                      </a:lnTo>
                      <a:lnTo>
                        <a:pt x="75670" y="109866"/>
                      </a:lnTo>
                      <a:lnTo>
                        <a:pt x="74880" y="110298"/>
                      </a:lnTo>
                      <a:lnTo>
                        <a:pt x="74823" y="111716"/>
                      </a:lnTo>
                      <a:lnTo>
                        <a:pt x="75499" y="114121"/>
                      </a:lnTo>
                      <a:lnTo>
                        <a:pt x="75434" y="114985"/>
                      </a:lnTo>
                      <a:lnTo>
                        <a:pt x="75067" y="115025"/>
                      </a:lnTo>
                      <a:lnTo>
                        <a:pt x="74717" y="114887"/>
                      </a:lnTo>
                      <a:lnTo>
                        <a:pt x="73861" y="115416"/>
                      </a:lnTo>
                      <a:lnTo>
                        <a:pt x="72899" y="116761"/>
                      </a:lnTo>
                      <a:lnTo>
                        <a:pt x="72541" y="116786"/>
                      </a:lnTo>
                      <a:lnTo>
                        <a:pt x="72280" y="116566"/>
                      </a:lnTo>
                      <a:lnTo>
                        <a:pt x="72003" y="114813"/>
                      </a:lnTo>
                      <a:lnTo>
                        <a:pt x="71229" y="113558"/>
                      </a:lnTo>
                      <a:lnTo>
                        <a:pt x="69957" y="112833"/>
                      </a:lnTo>
                      <a:lnTo>
                        <a:pt x="68189" y="114447"/>
                      </a:lnTo>
                      <a:lnTo>
                        <a:pt x="65931" y="118424"/>
                      </a:lnTo>
                      <a:lnTo>
                        <a:pt x="64937" y="121007"/>
                      </a:lnTo>
                      <a:lnTo>
                        <a:pt x="65328" y="122792"/>
                      </a:lnTo>
                      <a:lnTo>
                        <a:pt x="65516" y="125400"/>
                      </a:lnTo>
                      <a:lnTo>
                        <a:pt x="64962" y="126467"/>
                      </a:lnTo>
                      <a:lnTo>
                        <a:pt x="63723" y="126859"/>
                      </a:lnTo>
                      <a:lnTo>
                        <a:pt x="62769" y="128277"/>
                      </a:lnTo>
                      <a:lnTo>
                        <a:pt x="62093" y="130705"/>
                      </a:lnTo>
                      <a:lnTo>
                        <a:pt x="60390" y="132238"/>
                      </a:lnTo>
                      <a:lnTo>
                        <a:pt x="57643" y="132873"/>
                      </a:lnTo>
                      <a:lnTo>
                        <a:pt x="54782" y="131757"/>
                      </a:lnTo>
                      <a:lnTo>
                        <a:pt x="54570" y="131683"/>
                      </a:lnTo>
                      <a:lnTo>
                        <a:pt x="51172" y="128643"/>
                      </a:lnTo>
                      <a:lnTo>
                        <a:pt x="49037" y="125734"/>
                      </a:lnTo>
                      <a:lnTo>
                        <a:pt x="48149" y="122955"/>
                      </a:lnTo>
                      <a:lnTo>
                        <a:pt x="45182" y="122833"/>
                      </a:lnTo>
                      <a:lnTo>
                        <a:pt x="40137" y="125359"/>
                      </a:lnTo>
                      <a:lnTo>
                        <a:pt x="36332" y="125742"/>
                      </a:lnTo>
                      <a:lnTo>
                        <a:pt x="33756" y="123990"/>
                      </a:lnTo>
                      <a:lnTo>
                        <a:pt x="31825" y="123305"/>
                      </a:lnTo>
                      <a:lnTo>
                        <a:pt x="29901" y="123876"/>
                      </a:lnTo>
                      <a:lnTo>
                        <a:pt x="28068" y="125001"/>
                      </a:lnTo>
                      <a:lnTo>
                        <a:pt x="26519" y="124332"/>
                      </a:lnTo>
                      <a:lnTo>
                        <a:pt x="24645" y="122254"/>
                      </a:lnTo>
                      <a:lnTo>
                        <a:pt x="21662" y="120803"/>
                      </a:lnTo>
                      <a:lnTo>
                        <a:pt x="17571" y="119988"/>
                      </a:lnTo>
                      <a:lnTo>
                        <a:pt x="14743" y="117739"/>
                      </a:lnTo>
                      <a:lnTo>
                        <a:pt x="13178" y="114047"/>
                      </a:lnTo>
                      <a:lnTo>
                        <a:pt x="11499" y="111521"/>
                      </a:lnTo>
                      <a:lnTo>
                        <a:pt x="9714" y="110135"/>
                      </a:lnTo>
                      <a:lnTo>
                        <a:pt x="7759" y="109736"/>
                      </a:lnTo>
                      <a:lnTo>
                        <a:pt x="5632" y="110307"/>
                      </a:lnTo>
                      <a:lnTo>
                        <a:pt x="4001" y="110021"/>
                      </a:lnTo>
                      <a:lnTo>
                        <a:pt x="2844" y="108856"/>
                      </a:lnTo>
                      <a:lnTo>
                        <a:pt x="1377" y="108986"/>
                      </a:lnTo>
                      <a:lnTo>
                        <a:pt x="0" y="110103"/>
                      </a:lnTo>
                      <a:lnTo>
                        <a:pt x="41" y="98905"/>
                      </a:lnTo>
                      <a:lnTo>
                        <a:pt x="122" y="87895"/>
                      </a:lnTo>
                      <a:lnTo>
                        <a:pt x="212" y="76876"/>
                      </a:lnTo>
                      <a:lnTo>
                        <a:pt x="293" y="65825"/>
                      </a:lnTo>
                      <a:lnTo>
                        <a:pt x="383" y="54758"/>
                      </a:lnTo>
                      <a:lnTo>
                        <a:pt x="465" y="43658"/>
                      </a:lnTo>
                      <a:lnTo>
                        <a:pt x="546" y="32534"/>
                      </a:lnTo>
                      <a:lnTo>
                        <a:pt x="636" y="21401"/>
                      </a:lnTo>
                      <a:lnTo>
                        <a:pt x="8891" y="21075"/>
                      </a:lnTo>
                      <a:lnTo>
                        <a:pt x="17155" y="20741"/>
                      </a:lnTo>
                      <a:lnTo>
                        <a:pt x="25411" y="20423"/>
                      </a:lnTo>
                      <a:lnTo>
                        <a:pt x="33667" y="20097"/>
                      </a:lnTo>
                      <a:lnTo>
                        <a:pt x="37644" y="16723"/>
                      </a:lnTo>
                      <a:lnTo>
                        <a:pt x="42159" y="12868"/>
                      </a:lnTo>
                      <a:lnTo>
                        <a:pt x="44441" y="16886"/>
                      </a:lnTo>
                      <a:lnTo>
                        <a:pt x="48499" y="19624"/>
                      </a:lnTo>
                      <a:lnTo>
                        <a:pt x="52867" y="22298"/>
                      </a:lnTo>
                      <a:lnTo>
                        <a:pt x="59094" y="22314"/>
                      </a:lnTo>
                      <a:lnTo>
                        <a:pt x="64692" y="18752"/>
                      </a:lnTo>
                      <a:lnTo>
                        <a:pt x="70625" y="14979"/>
                      </a:lnTo>
                      <a:lnTo>
                        <a:pt x="75915" y="11605"/>
                      </a:lnTo>
                      <a:lnTo>
                        <a:pt x="82206" y="7595"/>
                      </a:lnTo>
                      <a:lnTo>
                        <a:pt x="87903" y="3961"/>
                      </a:lnTo>
                      <a:lnTo>
                        <a:pt x="94081" y="2657"/>
                      </a:lnTo>
                      <a:lnTo>
                        <a:pt x="102654" y="847"/>
                      </a:lnTo>
                      <a:lnTo>
                        <a:pt x="106672" y="0"/>
                      </a:lnTo>
                      <a:lnTo>
                        <a:pt x="106688" y="3569"/>
                      </a:lnTo>
                      <a:lnTo>
                        <a:pt x="106688" y="7180"/>
                      </a:lnTo>
                      <a:lnTo>
                        <a:pt x="106688" y="10782"/>
                      </a:lnTo>
                      <a:lnTo>
                        <a:pt x="106688" y="14376"/>
                      </a:lnTo>
                      <a:lnTo>
                        <a:pt x="106688" y="17978"/>
                      </a:lnTo>
                      <a:close/>
                    </a:path>
                  </a:pathLst>
                </a:custGeom>
                <a:solidFill>
                  <a:srgbClr val="D6D6D2"/>
                </a:solidFill>
                <a:ln w="6112" cap="rnd">
                  <a:solidFill>
                    <a:srgbClr val="FFFFFF"/>
                  </a:solidFill>
                  <a:prstDash val="solid"/>
                  <a:round/>
                </a:ln>
              </p:spPr>
              <p:txBody>
                <a:bodyPr rtlCol="0" anchor="ctr"/>
                <a:lstStyle/>
                <a:p>
                  <a:endParaRPr lang="en-US"/>
                </a:p>
              </p:txBody>
            </p:sp>
            <p:sp>
              <p:nvSpPr>
                <p:cNvPr id="440" name="Freeform: Shape 439">
                  <a:extLst>
                    <a:ext uri="{FF2B5EF4-FFF2-40B4-BE49-F238E27FC236}">
                      <a16:creationId xmlns:a16="http://schemas.microsoft.com/office/drawing/2014/main" id="{A478FE29-DACE-42A6-B6BA-E578F03E0CA8}"/>
                    </a:ext>
                  </a:extLst>
                </p:cNvPr>
                <p:cNvSpPr/>
                <p:nvPr/>
              </p:nvSpPr>
              <p:spPr>
                <a:xfrm>
                  <a:off x="3965407" y="3103248"/>
                  <a:ext cx="194860" cy="153182"/>
                </a:xfrm>
                <a:custGeom>
                  <a:avLst/>
                  <a:gdLst>
                    <a:gd name="connsiteX0" fmla="*/ 158920 w 194860"/>
                    <a:gd name="connsiteY0" fmla="*/ 0 h 153182"/>
                    <a:gd name="connsiteX1" fmla="*/ 159099 w 194860"/>
                    <a:gd name="connsiteY1" fmla="*/ 2339 h 153182"/>
                    <a:gd name="connsiteX2" fmla="*/ 158586 w 194860"/>
                    <a:gd name="connsiteY2" fmla="*/ 5085 h 153182"/>
                    <a:gd name="connsiteX3" fmla="*/ 159018 w 194860"/>
                    <a:gd name="connsiteY3" fmla="*/ 8068 h 153182"/>
                    <a:gd name="connsiteX4" fmla="*/ 158431 w 194860"/>
                    <a:gd name="connsiteY4" fmla="*/ 14295 h 153182"/>
                    <a:gd name="connsiteX5" fmla="*/ 159979 w 194860"/>
                    <a:gd name="connsiteY5" fmla="*/ 19103 h 153182"/>
                    <a:gd name="connsiteX6" fmla="*/ 159612 w 194860"/>
                    <a:gd name="connsiteY6" fmla="*/ 22314 h 153182"/>
                    <a:gd name="connsiteX7" fmla="*/ 159702 w 194860"/>
                    <a:gd name="connsiteY7" fmla="*/ 25761 h 153182"/>
                    <a:gd name="connsiteX8" fmla="*/ 159433 w 194860"/>
                    <a:gd name="connsiteY8" fmla="*/ 26609 h 153182"/>
                    <a:gd name="connsiteX9" fmla="*/ 158211 w 194860"/>
                    <a:gd name="connsiteY9" fmla="*/ 28597 h 153182"/>
                    <a:gd name="connsiteX10" fmla="*/ 157502 w 194860"/>
                    <a:gd name="connsiteY10" fmla="*/ 30553 h 153182"/>
                    <a:gd name="connsiteX11" fmla="*/ 157094 w 194860"/>
                    <a:gd name="connsiteY11" fmla="*/ 32526 h 153182"/>
                    <a:gd name="connsiteX12" fmla="*/ 157127 w 194860"/>
                    <a:gd name="connsiteY12" fmla="*/ 33797 h 153182"/>
                    <a:gd name="connsiteX13" fmla="*/ 158162 w 194860"/>
                    <a:gd name="connsiteY13" fmla="*/ 39453 h 153182"/>
                    <a:gd name="connsiteX14" fmla="*/ 158357 w 194860"/>
                    <a:gd name="connsiteY14" fmla="*/ 41955 h 153182"/>
                    <a:gd name="connsiteX15" fmla="*/ 158333 w 194860"/>
                    <a:gd name="connsiteY15" fmla="*/ 43414 h 153182"/>
                    <a:gd name="connsiteX16" fmla="*/ 157404 w 194860"/>
                    <a:gd name="connsiteY16" fmla="*/ 48083 h 153182"/>
                    <a:gd name="connsiteX17" fmla="*/ 157347 w 194860"/>
                    <a:gd name="connsiteY17" fmla="*/ 49412 h 153182"/>
                    <a:gd name="connsiteX18" fmla="*/ 157616 w 194860"/>
                    <a:gd name="connsiteY18" fmla="*/ 49787 h 153182"/>
                    <a:gd name="connsiteX19" fmla="*/ 157958 w 194860"/>
                    <a:gd name="connsiteY19" fmla="*/ 49795 h 153182"/>
                    <a:gd name="connsiteX20" fmla="*/ 159001 w 194860"/>
                    <a:gd name="connsiteY20" fmla="*/ 48344 h 153182"/>
                    <a:gd name="connsiteX21" fmla="*/ 159474 w 194860"/>
                    <a:gd name="connsiteY21" fmla="*/ 48124 h 153182"/>
                    <a:gd name="connsiteX22" fmla="*/ 160077 w 194860"/>
                    <a:gd name="connsiteY22" fmla="*/ 48491 h 153182"/>
                    <a:gd name="connsiteX23" fmla="*/ 161536 w 194860"/>
                    <a:gd name="connsiteY23" fmla="*/ 50683 h 153182"/>
                    <a:gd name="connsiteX24" fmla="*/ 161463 w 194860"/>
                    <a:gd name="connsiteY24" fmla="*/ 54619 h 153182"/>
                    <a:gd name="connsiteX25" fmla="*/ 161405 w 194860"/>
                    <a:gd name="connsiteY25" fmla="*/ 57480 h 153182"/>
                    <a:gd name="connsiteX26" fmla="*/ 161340 w 194860"/>
                    <a:gd name="connsiteY26" fmla="*/ 60667 h 153182"/>
                    <a:gd name="connsiteX27" fmla="*/ 161242 w 194860"/>
                    <a:gd name="connsiteY27" fmla="*/ 65426 h 153182"/>
                    <a:gd name="connsiteX28" fmla="*/ 161177 w 194860"/>
                    <a:gd name="connsiteY28" fmla="*/ 68914 h 153182"/>
                    <a:gd name="connsiteX29" fmla="*/ 161112 w 194860"/>
                    <a:gd name="connsiteY29" fmla="*/ 72084 h 153182"/>
                    <a:gd name="connsiteX30" fmla="*/ 161063 w 194860"/>
                    <a:gd name="connsiteY30" fmla="*/ 74521 h 153182"/>
                    <a:gd name="connsiteX31" fmla="*/ 160721 w 194860"/>
                    <a:gd name="connsiteY31" fmla="*/ 76306 h 153182"/>
                    <a:gd name="connsiteX32" fmla="*/ 161389 w 194860"/>
                    <a:gd name="connsiteY32" fmla="*/ 78408 h 153182"/>
                    <a:gd name="connsiteX33" fmla="*/ 160607 w 194860"/>
                    <a:gd name="connsiteY33" fmla="*/ 81310 h 153182"/>
                    <a:gd name="connsiteX34" fmla="*/ 159816 w 194860"/>
                    <a:gd name="connsiteY34" fmla="*/ 84203 h 153182"/>
                    <a:gd name="connsiteX35" fmla="*/ 159034 w 194860"/>
                    <a:gd name="connsiteY35" fmla="*/ 87096 h 153182"/>
                    <a:gd name="connsiteX36" fmla="*/ 158243 w 194860"/>
                    <a:gd name="connsiteY36" fmla="*/ 89989 h 153182"/>
                    <a:gd name="connsiteX37" fmla="*/ 157461 w 194860"/>
                    <a:gd name="connsiteY37" fmla="*/ 92882 h 153182"/>
                    <a:gd name="connsiteX38" fmla="*/ 156670 w 194860"/>
                    <a:gd name="connsiteY38" fmla="*/ 95776 h 153182"/>
                    <a:gd name="connsiteX39" fmla="*/ 155888 w 194860"/>
                    <a:gd name="connsiteY39" fmla="*/ 98661 h 153182"/>
                    <a:gd name="connsiteX40" fmla="*/ 155106 w 194860"/>
                    <a:gd name="connsiteY40" fmla="*/ 101546 h 153182"/>
                    <a:gd name="connsiteX41" fmla="*/ 155766 w 194860"/>
                    <a:gd name="connsiteY41" fmla="*/ 102385 h 153182"/>
                    <a:gd name="connsiteX42" fmla="*/ 155562 w 194860"/>
                    <a:gd name="connsiteY42" fmla="*/ 105645 h 153182"/>
                    <a:gd name="connsiteX43" fmla="*/ 155366 w 194860"/>
                    <a:gd name="connsiteY43" fmla="*/ 108905 h 153182"/>
                    <a:gd name="connsiteX44" fmla="*/ 155171 w 194860"/>
                    <a:gd name="connsiteY44" fmla="*/ 112157 h 153182"/>
                    <a:gd name="connsiteX45" fmla="*/ 154975 w 194860"/>
                    <a:gd name="connsiteY45" fmla="*/ 115416 h 153182"/>
                    <a:gd name="connsiteX46" fmla="*/ 154780 w 194860"/>
                    <a:gd name="connsiteY46" fmla="*/ 118660 h 153182"/>
                    <a:gd name="connsiteX47" fmla="*/ 154584 w 194860"/>
                    <a:gd name="connsiteY47" fmla="*/ 121912 h 153182"/>
                    <a:gd name="connsiteX48" fmla="*/ 154389 w 194860"/>
                    <a:gd name="connsiteY48" fmla="*/ 125163 h 153182"/>
                    <a:gd name="connsiteX49" fmla="*/ 154193 w 194860"/>
                    <a:gd name="connsiteY49" fmla="*/ 128407 h 153182"/>
                    <a:gd name="connsiteX50" fmla="*/ 154943 w 194860"/>
                    <a:gd name="connsiteY50" fmla="*/ 129727 h 153182"/>
                    <a:gd name="connsiteX51" fmla="*/ 155693 w 194860"/>
                    <a:gd name="connsiteY51" fmla="*/ 131048 h 153182"/>
                    <a:gd name="connsiteX52" fmla="*/ 154755 w 194860"/>
                    <a:gd name="connsiteY52" fmla="*/ 131659 h 153182"/>
                    <a:gd name="connsiteX53" fmla="*/ 153313 w 194860"/>
                    <a:gd name="connsiteY53" fmla="*/ 132612 h 153182"/>
                    <a:gd name="connsiteX54" fmla="*/ 151772 w 194860"/>
                    <a:gd name="connsiteY54" fmla="*/ 133623 h 153182"/>
                    <a:gd name="connsiteX55" fmla="*/ 149760 w 194860"/>
                    <a:gd name="connsiteY55" fmla="*/ 134951 h 153182"/>
                    <a:gd name="connsiteX56" fmla="*/ 150778 w 194860"/>
                    <a:gd name="connsiteY56" fmla="*/ 136663 h 153182"/>
                    <a:gd name="connsiteX57" fmla="*/ 152058 w 194860"/>
                    <a:gd name="connsiteY57" fmla="*/ 138806 h 153182"/>
                    <a:gd name="connsiteX58" fmla="*/ 151039 w 194860"/>
                    <a:gd name="connsiteY58" fmla="*/ 139686 h 153182"/>
                    <a:gd name="connsiteX59" fmla="*/ 148366 w 194860"/>
                    <a:gd name="connsiteY59" fmla="*/ 142669 h 153182"/>
                    <a:gd name="connsiteX60" fmla="*/ 146573 w 194860"/>
                    <a:gd name="connsiteY60" fmla="*/ 144275 h 153182"/>
                    <a:gd name="connsiteX61" fmla="*/ 145098 w 194860"/>
                    <a:gd name="connsiteY61" fmla="*/ 144796 h 153182"/>
                    <a:gd name="connsiteX62" fmla="*/ 144193 w 194860"/>
                    <a:gd name="connsiteY62" fmla="*/ 146133 h 153182"/>
                    <a:gd name="connsiteX63" fmla="*/ 143199 w 194860"/>
                    <a:gd name="connsiteY63" fmla="*/ 147005 h 153182"/>
                    <a:gd name="connsiteX64" fmla="*/ 144152 w 194860"/>
                    <a:gd name="connsiteY64" fmla="*/ 144030 h 153182"/>
                    <a:gd name="connsiteX65" fmla="*/ 145188 w 194860"/>
                    <a:gd name="connsiteY65" fmla="*/ 141512 h 153182"/>
                    <a:gd name="connsiteX66" fmla="*/ 146051 w 194860"/>
                    <a:gd name="connsiteY66" fmla="*/ 136638 h 153182"/>
                    <a:gd name="connsiteX67" fmla="*/ 145791 w 194860"/>
                    <a:gd name="connsiteY67" fmla="*/ 132702 h 153182"/>
                    <a:gd name="connsiteX68" fmla="*/ 144723 w 194860"/>
                    <a:gd name="connsiteY68" fmla="*/ 131080 h 153182"/>
                    <a:gd name="connsiteX69" fmla="*/ 143615 w 194860"/>
                    <a:gd name="connsiteY69" fmla="*/ 129996 h 153182"/>
                    <a:gd name="connsiteX70" fmla="*/ 144910 w 194860"/>
                    <a:gd name="connsiteY70" fmla="*/ 133892 h 153182"/>
                    <a:gd name="connsiteX71" fmla="*/ 145114 w 194860"/>
                    <a:gd name="connsiteY71" fmla="*/ 138659 h 153182"/>
                    <a:gd name="connsiteX72" fmla="*/ 145098 w 194860"/>
                    <a:gd name="connsiteY72" fmla="*/ 138798 h 153182"/>
                    <a:gd name="connsiteX73" fmla="*/ 142718 w 194860"/>
                    <a:gd name="connsiteY73" fmla="*/ 137258 h 153182"/>
                    <a:gd name="connsiteX74" fmla="*/ 140265 w 194860"/>
                    <a:gd name="connsiteY74" fmla="*/ 135701 h 153182"/>
                    <a:gd name="connsiteX75" fmla="*/ 137804 w 194860"/>
                    <a:gd name="connsiteY75" fmla="*/ 134136 h 153182"/>
                    <a:gd name="connsiteX76" fmla="*/ 135351 w 194860"/>
                    <a:gd name="connsiteY76" fmla="*/ 132580 h 153182"/>
                    <a:gd name="connsiteX77" fmla="*/ 132898 w 194860"/>
                    <a:gd name="connsiteY77" fmla="*/ 131023 h 153182"/>
                    <a:gd name="connsiteX78" fmla="*/ 130445 w 194860"/>
                    <a:gd name="connsiteY78" fmla="*/ 129458 h 153182"/>
                    <a:gd name="connsiteX79" fmla="*/ 127991 w 194860"/>
                    <a:gd name="connsiteY79" fmla="*/ 127910 h 153182"/>
                    <a:gd name="connsiteX80" fmla="*/ 125538 w 194860"/>
                    <a:gd name="connsiteY80" fmla="*/ 126345 h 153182"/>
                    <a:gd name="connsiteX81" fmla="*/ 125009 w 194860"/>
                    <a:gd name="connsiteY81" fmla="*/ 125058 h 153182"/>
                    <a:gd name="connsiteX82" fmla="*/ 124104 w 194860"/>
                    <a:gd name="connsiteY82" fmla="*/ 124063 h 153182"/>
                    <a:gd name="connsiteX83" fmla="*/ 119679 w 194860"/>
                    <a:gd name="connsiteY83" fmla="*/ 122336 h 153182"/>
                    <a:gd name="connsiteX84" fmla="*/ 118538 w 194860"/>
                    <a:gd name="connsiteY84" fmla="*/ 121195 h 153182"/>
                    <a:gd name="connsiteX85" fmla="*/ 117511 w 194860"/>
                    <a:gd name="connsiteY85" fmla="*/ 119646 h 153182"/>
                    <a:gd name="connsiteX86" fmla="*/ 116802 w 194860"/>
                    <a:gd name="connsiteY86" fmla="*/ 117747 h 153182"/>
                    <a:gd name="connsiteX87" fmla="*/ 116435 w 194860"/>
                    <a:gd name="connsiteY87" fmla="*/ 115751 h 153182"/>
                    <a:gd name="connsiteX88" fmla="*/ 116419 w 194860"/>
                    <a:gd name="connsiteY88" fmla="*/ 114153 h 153182"/>
                    <a:gd name="connsiteX89" fmla="*/ 116745 w 194860"/>
                    <a:gd name="connsiteY89" fmla="*/ 112377 h 153182"/>
                    <a:gd name="connsiteX90" fmla="*/ 115726 w 194860"/>
                    <a:gd name="connsiteY90" fmla="*/ 111195 h 153182"/>
                    <a:gd name="connsiteX91" fmla="*/ 115710 w 194860"/>
                    <a:gd name="connsiteY91" fmla="*/ 110087 h 153182"/>
                    <a:gd name="connsiteX92" fmla="*/ 115058 w 194860"/>
                    <a:gd name="connsiteY92" fmla="*/ 109345 h 153182"/>
                    <a:gd name="connsiteX93" fmla="*/ 112157 w 194860"/>
                    <a:gd name="connsiteY93" fmla="*/ 108008 h 153182"/>
                    <a:gd name="connsiteX94" fmla="*/ 111285 w 194860"/>
                    <a:gd name="connsiteY94" fmla="*/ 106142 h 153182"/>
                    <a:gd name="connsiteX95" fmla="*/ 109370 w 194860"/>
                    <a:gd name="connsiteY95" fmla="*/ 104357 h 153182"/>
                    <a:gd name="connsiteX96" fmla="*/ 105947 w 194860"/>
                    <a:gd name="connsiteY96" fmla="*/ 104357 h 153182"/>
                    <a:gd name="connsiteX97" fmla="*/ 102524 w 194860"/>
                    <a:gd name="connsiteY97" fmla="*/ 104357 h 153182"/>
                    <a:gd name="connsiteX98" fmla="*/ 99109 w 194860"/>
                    <a:gd name="connsiteY98" fmla="*/ 104357 h 153182"/>
                    <a:gd name="connsiteX99" fmla="*/ 95686 w 194860"/>
                    <a:gd name="connsiteY99" fmla="*/ 104349 h 153182"/>
                    <a:gd name="connsiteX100" fmla="*/ 92263 w 194860"/>
                    <a:gd name="connsiteY100" fmla="*/ 104349 h 153182"/>
                    <a:gd name="connsiteX101" fmla="*/ 88848 w 194860"/>
                    <a:gd name="connsiteY101" fmla="*/ 104349 h 153182"/>
                    <a:gd name="connsiteX102" fmla="*/ 85434 w 194860"/>
                    <a:gd name="connsiteY102" fmla="*/ 104349 h 153182"/>
                    <a:gd name="connsiteX103" fmla="*/ 82019 w 194860"/>
                    <a:gd name="connsiteY103" fmla="*/ 104349 h 153182"/>
                    <a:gd name="connsiteX104" fmla="*/ 78604 w 194860"/>
                    <a:gd name="connsiteY104" fmla="*/ 104349 h 153182"/>
                    <a:gd name="connsiteX105" fmla="*/ 75181 w 194860"/>
                    <a:gd name="connsiteY105" fmla="*/ 104349 h 153182"/>
                    <a:gd name="connsiteX106" fmla="*/ 71767 w 194860"/>
                    <a:gd name="connsiteY106" fmla="*/ 104349 h 153182"/>
                    <a:gd name="connsiteX107" fmla="*/ 68352 w 194860"/>
                    <a:gd name="connsiteY107" fmla="*/ 104349 h 153182"/>
                    <a:gd name="connsiteX108" fmla="*/ 64929 w 194860"/>
                    <a:gd name="connsiteY108" fmla="*/ 104349 h 153182"/>
                    <a:gd name="connsiteX109" fmla="*/ 61514 w 194860"/>
                    <a:gd name="connsiteY109" fmla="*/ 104341 h 153182"/>
                    <a:gd name="connsiteX110" fmla="*/ 58099 w 194860"/>
                    <a:gd name="connsiteY110" fmla="*/ 104341 h 153182"/>
                    <a:gd name="connsiteX111" fmla="*/ 54685 w 194860"/>
                    <a:gd name="connsiteY111" fmla="*/ 104341 h 153182"/>
                    <a:gd name="connsiteX112" fmla="*/ 51270 w 194860"/>
                    <a:gd name="connsiteY112" fmla="*/ 104341 h 153182"/>
                    <a:gd name="connsiteX113" fmla="*/ 47847 w 194860"/>
                    <a:gd name="connsiteY113" fmla="*/ 104333 h 153182"/>
                    <a:gd name="connsiteX114" fmla="*/ 44432 w 194860"/>
                    <a:gd name="connsiteY114" fmla="*/ 104333 h 153182"/>
                    <a:gd name="connsiteX115" fmla="*/ 41018 w 194860"/>
                    <a:gd name="connsiteY115" fmla="*/ 104333 h 153182"/>
                    <a:gd name="connsiteX116" fmla="*/ 37595 w 194860"/>
                    <a:gd name="connsiteY116" fmla="*/ 104333 h 153182"/>
                    <a:gd name="connsiteX117" fmla="*/ 34180 w 194860"/>
                    <a:gd name="connsiteY117" fmla="*/ 104333 h 153182"/>
                    <a:gd name="connsiteX118" fmla="*/ 30765 w 194860"/>
                    <a:gd name="connsiteY118" fmla="*/ 104333 h 153182"/>
                    <a:gd name="connsiteX119" fmla="*/ 27350 w 194860"/>
                    <a:gd name="connsiteY119" fmla="*/ 104333 h 153182"/>
                    <a:gd name="connsiteX120" fmla="*/ 23928 w 194860"/>
                    <a:gd name="connsiteY120" fmla="*/ 104333 h 153182"/>
                    <a:gd name="connsiteX121" fmla="*/ 20513 w 194860"/>
                    <a:gd name="connsiteY121" fmla="*/ 104333 h 153182"/>
                    <a:gd name="connsiteX122" fmla="*/ 17090 w 194860"/>
                    <a:gd name="connsiteY122" fmla="*/ 104325 h 153182"/>
                    <a:gd name="connsiteX123" fmla="*/ 13675 w 194860"/>
                    <a:gd name="connsiteY123" fmla="*/ 104325 h 153182"/>
                    <a:gd name="connsiteX124" fmla="*/ 10261 w 194860"/>
                    <a:gd name="connsiteY124" fmla="*/ 104325 h 153182"/>
                    <a:gd name="connsiteX125" fmla="*/ 6838 w 194860"/>
                    <a:gd name="connsiteY125" fmla="*/ 104325 h 153182"/>
                    <a:gd name="connsiteX126" fmla="*/ 3423 w 194860"/>
                    <a:gd name="connsiteY126" fmla="*/ 104325 h 153182"/>
                    <a:gd name="connsiteX127" fmla="*/ 0 w 194860"/>
                    <a:gd name="connsiteY127" fmla="*/ 104325 h 153182"/>
                    <a:gd name="connsiteX128" fmla="*/ 0 w 194860"/>
                    <a:gd name="connsiteY128" fmla="*/ 99704 h 153182"/>
                    <a:gd name="connsiteX129" fmla="*/ 0 w 194860"/>
                    <a:gd name="connsiteY129" fmla="*/ 95067 h 153182"/>
                    <a:gd name="connsiteX130" fmla="*/ 0 w 194860"/>
                    <a:gd name="connsiteY130" fmla="*/ 90438 h 153182"/>
                    <a:gd name="connsiteX131" fmla="*/ 24 w 194860"/>
                    <a:gd name="connsiteY131" fmla="*/ 85817 h 153182"/>
                    <a:gd name="connsiteX132" fmla="*/ 7856 w 194860"/>
                    <a:gd name="connsiteY132" fmla="*/ 81937 h 153182"/>
                    <a:gd name="connsiteX133" fmla="*/ 14612 w 194860"/>
                    <a:gd name="connsiteY133" fmla="*/ 78588 h 153182"/>
                    <a:gd name="connsiteX134" fmla="*/ 18011 w 194860"/>
                    <a:gd name="connsiteY134" fmla="*/ 76730 h 153182"/>
                    <a:gd name="connsiteX135" fmla="*/ 20431 w 194860"/>
                    <a:gd name="connsiteY135" fmla="*/ 74603 h 153182"/>
                    <a:gd name="connsiteX136" fmla="*/ 21026 w 194860"/>
                    <a:gd name="connsiteY136" fmla="*/ 73038 h 153182"/>
                    <a:gd name="connsiteX137" fmla="*/ 20880 w 194860"/>
                    <a:gd name="connsiteY137" fmla="*/ 72133 h 153182"/>
                    <a:gd name="connsiteX138" fmla="*/ 20260 w 194860"/>
                    <a:gd name="connsiteY138" fmla="*/ 71237 h 153182"/>
                    <a:gd name="connsiteX139" fmla="*/ 19396 w 194860"/>
                    <a:gd name="connsiteY139" fmla="*/ 70560 h 153182"/>
                    <a:gd name="connsiteX140" fmla="*/ 18630 w 194860"/>
                    <a:gd name="connsiteY140" fmla="*/ 69998 h 153182"/>
                    <a:gd name="connsiteX141" fmla="*/ 18272 w 194860"/>
                    <a:gd name="connsiteY141" fmla="*/ 69297 h 153182"/>
                    <a:gd name="connsiteX142" fmla="*/ 18198 w 194860"/>
                    <a:gd name="connsiteY142" fmla="*/ 67765 h 153182"/>
                    <a:gd name="connsiteX143" fmla="*/ 17726 w 194860"/>
                    <a:gd name="connsiteY143" fmla="*/ 66885 h 153182"/>
                    <a:gd name="connsiteX144" fmla="*/ 17286 w 194860"/>
                    <a:gd name="connsiteY144" fmla="*/ 66233 h 153182"/>
                    <a:gd name="connsiteX145" fmla="*/ 17457 w 194860"/>
                    <a:gd name="connsiteY145" fmla="*/ 60283 h 153182"/>
                    <a:gd name="connsiteX146" fmla="*/ 16862 w 194860"/>
                    <a:gd name="connsiteY146" fmla="*/ 58434 h 153182"/>
                    <a:gd name="connsiteX147" fmla="*/ 14661 w 194860"/>
                    <a:gd name="connsiteY147" fmla="*/ 53739 h 153182"/>
                    <a:gd name="connsiteX148" fmla="*/ 18867 w 194860"/>
                    <a:gd name="connsiteY148" fmla="*/ 51637 h 153182"/>
                    <a:gd name="connsiteX149" fmla="*/ 22762 w 194860"/>
                    <a:gd name="connsiteY149" fmla="*/ 49689 h 153182"/>
                    <a:gd name="connsiteX150" fmla="*/ 25859 w 194860"/>
                    <a:gd name="connsiteY150" fmla="*/ 48246 h 153182"/>
                    <a:gd name="connsiteX151" fmla="*/ 32363 w 194860"/>
                    <a:gd name="connsiteY151" fmla="*/ 48026 h 153182"/>
                    <a:gd name="connsiteX152" fmla="*/ 38393 w 194860"/>
                    <a:gd name="connsiteY152" fmla="*/ 48051 h 153182"/>
                    <a:gd name="connsiteX153" fmla="*/ 46714 w 194860"/>
                    <a:gd name="connsiteY153" fmla="*/ 48091 h 153182"/>
                    <a:gd name="connsiteX154" fmla="*/ 53723 w 194860"/>
                    <a:gd name="connsiteY154" fmla="*/ 48116 h 153182"/>
                    <a:gd name="connsiteX155" fmla="*/ 61905 w 194860"/>
                    <a:gd name="connsiteY155" fmla="*/ 48157 h 153182"/>
                    <a:gd name="connsiteX156" fmla="*/ 66697 w 194860"/>
                    <a:gd name="connsiteY156" fmla="*/ 48181 h 153182"/>
                    <a:gd name="connsiteX157" fmla="*/ 72981 w 194860"/>
                    <a:gd name="connsiteY157" fmla="*/ 48116 h 153182"/>
                    <a:gd name="connsiteX158" fmla="*/ 76045 w 194860"/>
                    <a:gd name="connsiteY158" fmla="*/ 42688 h 153182"/>
                    <a:gd name="connsiteX159" fmla="*/ 78775 w 194860"/>
                    <a:gd name="connsiteY159" fmla="*/ 37831 h 153182"/>
                    <a:gd name="connsiteX160" fmla="*/ 81791 w 194860"/>
                    <a:gd name="connsiteY160" fmla="*/ 33194 h 153182"/>
                    <a:gd name="connsiteX161" fmla="*/ 87153 w 194860"/>
                    <a:gd name="connsiteY161" fmla="*/ 27734 h 153182"/>
                    <a:gd name="connsiteX162" fmla="*/ 88710 w 194860"/>
                    <a:gd name="connsiteY162" fmla="*/ 26747 h 153182"/>
                    <a:gd name="connsiteX163" fmla="*/ 89565 w 194860"/>
                    <a:gd name="connsiteY163" fmla="*/ 24596 h 153182"/>
                    <a:gd name="connsiteX164" fmla="*/ 92809 w 194860"/>
                    <a:gd name="connsiteY164" fmla="*/ 22550 h 153182"/>
                    <a:gd name="connsiteX165" fmla="*/ 96387 w 194860"/>
                    <a:gd name="connsiteY165" fmla="*/ 20651 h 153182"/>
                    <a:gd name="connsiteX166" fmla="*/ 97789 w 194860"/>
                    <a:gd name="connsiteY166" fmla="*/ 18867 h 153182"/>
                    <a:gd name="connsiteX167" fmla="*/ 98465 w 194860"/>
                    <a:gd name="connsiteY167" fmla="*/ 17856 h 153182"/>
                    <a:gd name="connsiteX168" fmla="*/ 108155 w 194860"/>
                    <a:gd name="connsiteY168" fmla="*/ 8223 h 153182"/>
                    <a:gd name="connsiteX169" fmla="*/ 113656 w 194860"/>
                    <a:gd name="connsiteY169" fmla="*/ 3773 h 153182"/>
                    <a:gd name="connsiteX170" fmla="*/ 118204 w 194860"/>
                    <a:gd name="connsiteY170" fmla="*/ 1296 h 153182"/>
                    <a:gd name="connsiteX171" fmla="*/ 121659 w 194860"/>
                    <a:gd name="connsiteY171" fmla="*/ 106 h 153182"/>
                    <a:gd name="connsiteX172" fmla="*/ 123998 w 194860"/>
                    <a:gd name="connsiteY172" fmla="*/ 277 h 153182"/>
                    <a:gd name="connsiteX173" fmla="*/ 125327 w 194860"/>
                    <a:gd name="connsiteY173" fmla="*/ 106 h 153182"/>
                    <a:gd name="connsiteX174" fmla="*/ 126459 w 194860"/>
                    <a:gd name="connsiteY174" fmla="*/ 106 h 153182"/>
                    <a:gd name="connsiteX175" fmla="*/ 132238 w 194860"/>
                    <a:gd name="connsiteY175" fmla="*/ 98 h 153182"/>
                    <a:gd name="connsiteX176" fmla="*/ 142563 w 194860"/>
                    <a:gd name="connsiteY176" fmla="*/ 81 h 153182"/>
                    <a:gd name="connsiteX177" fmla="*/ 152881 w 194860"/>
                    <a:gd name="connsiteY177" fmla="*/ 73 h 153182"/>
                    <a:gd name="connsiteX178" fmla="*/ 158920 w 194860"/>
                    <a:gd name="connsiteY178" fmla="*/ 0 h 153182"/>
                    <a:gd name="connsiteX179" fmla="*/ 179816 w 194860"/>
                    <a:gd name="connsiteY179" fmla="*/ 139026 h 153182"/>
                    <a:gd name="connsiteX180" fmla="*/ 178055 w 194860"/>
                    <a:gd name="connsiteY180" fmla="*/ 141235 h 153182"/>
                    <a:gd name="connsiteX181" fmla="*/ 179645 w 194860"/>
                    <a:gd name="connsiteY181" fmla="*/ 141455 h 153182"/>
                    <a:gd name="connsiteX182" fmla="*/ 181014 w 194860"/>
                    <a:gd name="connsiteY182" fmla="*/ 140811 h 153182"/>
                    <a:gd name="connsiteX183" fmla="*/ 182309 w 194860"/>
                    <a:gd name="connsiteY183" fmla="*/ 139499 h 153182"/>
                    <a:gd name="connsiteX184" fmla="*/ 185325 w 194860"/>
                    <a:gd name="connsiteY184" fmla="*/ 137730 h 153182"/>
                    <a:gd name="connsiteX185" fmla="*/ 187892 w 194860"/>
                    <a:gd name="connsiteY185" fmla="*/ 136956 h 153182"/>
                    <a:gd name="connsiteX186" fmla="*/ 188707 w 194860"/>
                    <a:gd name="connsiteY186" fmla="*/ 136793 h 153182"/>
                    <a:gd name="connsiteX187" fmla="*/ 189929 w 194860"/>
                    <a:gd name="connsiteY187" fmla="*/ 138032 h 153182"/>
                    <a:gd name="connsiteX188" fmla="*/ 192358 w 194860"/>
                    <a:gd name="connsiteY188" fmla="*/ 137038 h 153182"/>
                    <a:gd name="connsiteX189" fmla="*/ 194860 w 194860"/>
                    <a:gd name="connsiteY189" fmla="*/ 136475 h 153182"/>
                    <a:gd name="connsiteX190" fmla="*/ 184045 w 194860"/>
                    <a:gd name="connsiteY190" fmla="*/ 142164 h 153182"/>
                    <a:gd name="connsiteX191" fmla="*/ 181837 w 194860"/>
                    <a:gd name="connsiteY191" fmla="*/ 142800 h 153182"/>
                    <a:gd name="connsiteX192" fmla="*/ 178675 w 194860"/>
                    <a:gd name="connsiteY192" fmla="*/ 144495 h 153182"/>
                    <a:gd name="connsiteX193" fmla="*/ 175684 w 194860"/>
                    <a:gd name="connsiteY193" fmla="*/ 145693 h 153182"/>
                    <a:gd name="connsiteX194" fmla="*/ 173532 w 194860"/>
                    <a:gd name="connsiteY194" fmla="*/ 146125 h 153182"/>
                    <a:gd name="connsiteX195" fmla="*/ 162840 w 194860"/>
                    <a:gd name="connsiteY195" fmla="*/ 150338 h 153182"/>
                    <a:gd name="connsiteX196" fmla="*/ 161992 w 194860"/>
                    <a:gd name="connsiteY196" fmla="*/ 150428 h 153182"/>
                    <a:gd name="connsiteX197" fmla="*/ 161071 w 194860"/>
                    <a:gd name="connsiteY197" fmla="*/ 150020 h 153182"/>
                    <a:gd name="connsiteX198" fmla="*/ 152253 w 194860"/>
                    <a:gd name="connsiteY198" fmla="*/ 152180 h 153182"/>
                    <a:gd name="connsiteX199" fmla="*/ 148635 w 194860"/>
                    <a:gd name="connsiteY199" fmla="*/ 152433 h 153182"/>
                    <a:gd name="connsiteX200" fmla="*/ 145342 w 194860"/>
                    <a:gd name="connsiteY200" fmla="*/ 153182 h 153182"/>
                    <a:gd name="connsiteX201" fmla="*/ 147779 w 194860"/>
                    <a:gd name="connsiteY201" fmla="*/ 151438 h 153182"/>
                    <a:gd name="connsiteX202" fmla="*/ 147828 w 194860"/>
                    <a:gd name="connsiteY202" fmla="*/ 150786 h 153182"/>
                    <a:gd name="connsiteX203" fmla="*/ 147241 w 194860"/>
                    <a:gd name="connsiteY203" fmla="*/ 150281 h 153182"/>
                    <a:gd name="connsiteX204" fmla="*/ 145945 w 194860"/>
                    <a:gd name="connsiteY204" fmla="*/ 150428 h 153182"/>
                    <a:gd name="connsiteX205" fmla="*/ 144609 w 194860"/>
                    <a:gd name="connsiteY205" fmla="*/ 152221 h 153182"/>
                    <a:gd name="connsiteX206" fmla="*/ 142482 w 194860"/>
                    <a:gd name="connsiteY206" fmla="*/ 152824 h 153182"/>
                    <a:gd name="connsiteX207" fmla="*/ 142058 w 194860"/>
                    <a:gd name="connsiteY207" fmla="*/ 150868 h 153182"/>
                    <a:gd name="connsiteX208" fmla="*/ 142767 w 194860"/>
                    <a:gd name="connsiteY208" fmla="*/ 149352 h 153182"/>
                    <a:gd name="connsiteX209" fmla="*/ 143729 w 194860"/>
                    <a:gd name="connsiteY209" fmla="*/ 147918 h 153182"/>
                    <a:gd name="connsiteX210" fmla="*/ 145839 w 194860"/>
                    <a:gd name="connsiteY210" fmla="*/ 145660 h 153182"/>
                    <a:gd name="connsiteX211" fmla="*/ 148871 w 194860"/>
                    <a:gd name="connsiteY211" fmla="*/ 144226 h 153182"/>
                    <a:gd name="connsiteX212" fmla="*/ 150411 w 194860"/>
                    <a:gd name="connsiteY212" fmla="*/ 142987 h 153182"/>
                    <a:gd name="connsiteX213" fmla="*/ 151471 w 194860"/>
                    <a:gd name="connsiteY213" fmla="*/ 144079 h 153182"/>
                    <a:gd name="connsiteX214" fmla="*/ 151699 w 194860"/>
                    <a:gd name="connsiteY214" fmla="*/ 142596 h 153182"/>
                    <a:gd name="connsiteX215" fmla="*/ 152522 w 194860"/>
                    <a:gd name="connsiteY215" fmla="*/ 141748 h 153182"/>
                    <a:gd name="connsiteX216" fmla="*/ 153411 w 194860"/>
                    <a:gd name="connsiteY216" fmla="*/ 141284 h 153182"/>
                    <a:gd name="connsiteX217" fmla="*/ 155562 w 194860"/>
                    <a:gd name="connsiteY217" fmla="*/ 141276 h 153182"/>
                    <a:gd name="connsiteX218" fmla="*/ 156711 w 194860"/>
                    <a:gd name="connsiteY218" fmla="*/ 141039 h 153182"/>
                    <a:gd name="connsiteX219" fmla="*/ 157551 w 194860"/>
                    <a:gd name="connsiteY219" fmla="*/ 140550 h 153182"/>
                    <a:gd name="connsiteX220" fmla="*/ 158406 w 194860"/>
                    <a:gd name="connsiteY220" fmla="*/ 140461 h 153182"/>
                    <a:gd name="connsiteX221" fmla="*/ 160754 w 194860"/>
                    <a:gd name="connsiteY221" fmla="*/ 141121 h 153182"/>
                    <a:gd name="connsiteX222" fmla="*/ 163044 w 194860"/>
                    <a:gd name="connsiteY222" fmla="*/ 140933 h 153182"/>
                    <a:gd name="connsiteX223" fmla="*/ 164894 w 194860"/>
                    <a:gd name="connsiteY223" fmla="*/ 140012 h 153182"/>
                    <a:gd name="connsiteX224" fmla="*/ 166809 w 194860"/>
                    <a:gd name="connsiteY224" fmla="*/ 139703 h 153182"/>
                    <a:gd name="connsiteX225" fmla="*/ 171902 w 194860"/>
                    <a:gd name="connsiteY225" fmla="*/ 139499 h 153182"/>
                    <a:gd name="connsiteX226" fmla="*/ 176955 w 194860"/>
                    <a:gd name="connsiteY226" fmla="*/ 138823 h 153182"/>
                    <a:gd name="connsiteX227" fmla="*/ 178976 w 194860"/>
                    <a:gd name="connsiteY227" fmla="*/ 137624 h 153182"/>
                    <a:gd name="connsiteX228" fmla="*/ 183214 w 194860"/>
                    <a:gd name="connsiteY228" fmla="*/ 134259 h 153182"/>
                    <a:gd name="connsiteX229" fmla="*/ 185659 w 194860"/>
                    <a:gd name="connsiteY229" fmla="*/ 133321 h 153182"/>
                    <a:gd name="connsiteX230" fmla="*/ 181861 w 194860"/>
                    <a:gd name="connsiteY230" fmla="*/ 137233 h 153182"/>
                    <a:gd name="connsiteX231" fmla="*/ 179816 w 194860"/>
                    <a:gd name="connsiteY231" fmla="*/ 139026 h 15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Lst>
                  <a:rect l="l" t="t" r="r" b="b"/>
                  <a:pathLst>
                    <a:path w="194860" h="153182">
                      <a:moveTo>
                        <a:pt x="158920" y="0"/>
                      </a:moveTo>
                      <a:lnTo>
                        <a:pt x="159099" y="2339"/>
                      </a:lnTo>
                      <a:lnTo>
                        <a:pt x="158586" y="5085"/>
                      </a:lnTo>
                      <a:lnTo>
                        <a:pt x="159018" y="8068"/>
                      </a:lnTo>
                      <a:lnTo>
                        <a:pt x="158431" y="14295"/>
                      </a:lnTo>
                      <a:lnTo>
                        <a:pt x="159979" y="19103"/>
                      </a:lnTo>
                      <a:lnTo>
                        <a:pt x="159612" y="22314"/>
                      </a:lnTo>
                      <a:lnTo>
                        <a:pt x="159702" y="25761"/>
                      </a:lnTo>
                      <a:lnTo>
                        <a:pt x="159433" y="26609"/>
                      </a:lnTo>
                      <a:lnTo>
                        <a:pt x="158211" y="28597"/>
                      </a:lnTo>
                      <a:lnTo>
                        <a:pt x="157502" y="30553"/>
                      </a:lnTo>
                      <a:lnTo>
                        <a:pt x="157094" y="32526"/>
                      </a:lnTo>
                      <a:lnTo>
                        <a:pt x="157127" y="33797"/>
                      </a:lnTo>
                      <a:lnTo>
                        <a:pt x="158162" y="39453"/>
                      </a:lnTo>
                      <a:lnTo>
                        <a:pt x="158357" y="41955"/>
                      </a:lnTo>
                      <a:lnTo>
                        <a:pt x="158333" y="43414"/>
                      </a:lnTo>
                      <a:lnTo>
                        <a:pt x="157404" y="48083"/>
                      </a:lnTo>
                      <a:lnTo>
                        <a:pt x="157347" y="49412"/>
                      </a:lnTo>
                      <a:lnTo>
                        <a:pt x="157616" y="49787"/>
                      </a:lnTo>
                      <a:lnTo>
                        <a:pt x="157958" y="49795"/>
                      </a:lnTo>
                      <a:lnTo>
                        <a:pt x="159001" y="48344"/>
                      </a:lnTo>
                      <a:lnTo>
                        <a:pt x="159474" y="48124"/>
                      </a:lnTo>
                      <a:lnTo>
                        <a:pt x="160077" y="48491"/>
                      </a:lnTo>
                      <a:lnTo>
                        <a:pt x="161536" y="50683"/>
                      </a:lnTo>
                      <a:lnTo>
                        <a:pt x="161463" y="54619"/>
                      </a:lnTo>
                      <a:lnTo>
                        <a:pt x="161405" y="57480"/>
                      </a:lnTo>
                      <a:lnTo>
                        <a:pt x="161340" y="60667"/>
                      </a:lnTo>
                      <a:lnTo>
                        <a:pt x="161242" y="65426"/>
                      </a:lnTo>
                      <a:lnTo>
                        <a:pt x="161177" y="68914"/>
                      </a:lnTo>
                      <a:lnTo>
                        <a:pt x="161112" y="72084"/>
                      </a:lnTo>
                      <a:lnTo>
                        <a:pt x="161063" y="74521"/>
                      </a:lnTo>
                      <a:lnTo>
                        <a:pt x="160721" y="76306"/>
                      </a:lnTo>
                      <a:lnTo>
                        <a:pt x="161389" y="78408"/>
                      </a:lnTo>
                      <a:lnTo>
                        <a:pt x="160607" y="81310"/>
                      </a:lnTo>
                      <a:lnTo>
                        <a:pt x="159816" y="84203"/>
                      </a:lnTo>
                      <a:lnTo>
                        <a:pt x="159034" y="87096"/>
                      </a:lnTo>
                      <a:lnTo>
                        <a:pt x="158243" y="89989"/>
                      </a:lnTo>
                      <a:lnTo>
                        <a:pt x="157461" y="92882"/>
                      </a:lnTo>
                      <a:lnTo>
                        <a:pt x="156670" y="95776"/>
                      </a:lnTo>
                      <a:lnTo>
                        <a:pt x="155888" y="98661"/>
                      </a:lnTo>
                      <a:lnTo>
                        <a:pt x="155106" y="101546"/>
                      </a:lnTo>
                      <a:lnTo>
                        <a:pt x="155766" y="102385"/>
                      </a:lnTo>
                      <a:lnTo>
                        <a:pt x="155562" y="105645"/>
                      </a:lnTo>
                      <a:lnTo>
                        <a:pt x="155366" y="108905"/>
                      </a:lnTo>
                      <a:lnTo>
                        <a:pt x="155171" y="112157"/>
                      </a:lnTo>
                      <a:lnTo>
                        <a:pt x="154975" y="115416"/>
                      </a:lnTo>
                      <a:lnTo>
                        <a:pt x="154780" y="118660"/>
                      </a:lnTo>
                      <a:lnTo>
                        <a:pt x="154584" y="121912"/>
                      </a:lnTo>
                      <a:lnTo>
                        <a:pt x="154389" y="125163"/>
                      </a:lnTo>
                      <a:lnTo>
                        <a:pt x="154193" y="128407"/>
                      </a:lnTo>
                      <a:lnTo>
                        <a:pt x="154943" y="129727"/>
                      </a:lnTo>
                      <a:lnTo>
                        <a:pt x="155693" y="131048"/>
                      </a:lnTo>
                      <a:lnTo>
                        <a:pt x="154755" y="131659"/>
                      </a:lnTo>
                      <a:lnTo>
                        <a:pt x="153313" y="132612"/>
                      </a:lnTo>
                      <a:lnTo>
                        <a:pt x="151772" y="133623"/>
                      </a:lnTo>
                      <a:lnTo>
                        <a:pt x="149760" y="134951"/>
                      </a:lnTo>
                      <a:lnTo>
                        <a:pt x="150778" y="136663"/>
                      </a:lnTo>
                      <a:lnTo>
                        <a:pt x="152058" y="138806"/>
                      </a:lnTo>
                      <a:lnTo>
                        <a:pt x="151039" y="139686"/>
                      </a:lnTo>
                      <a:lnTo>
                        <a:pt x="148366" y="142669"/>
                      </a:lnTo>
                      <a:lnTo>
                        <a:pt x="146573" y="144275"/>
                      </a:lnTo>
                      <a:lnTo>
                        <a:pt x="145098" y="144796"/>
                      </a:lnTo>
                      <a:lnTo>
                        <a:pt x="144193" y="146133"/>
                      </a:lnTo>
                      <a:lnTo>
                        <a:pt x="143199" y="147005"/>
                      </a:lnTo>
                      <a:lnTo>
                        <a:pt x="144152" y="144030"/>
                      </a:lnTo>
                      <a:lnTo>
                        <a:pt x="145188" y="141512"/>
                      </a:lnTo>
                      <a:lnTo>
                        <a:pt x="146051" y="136638"/>
                      </a:lnTo>
                      <a:lnTo>
                        <a:pt x="145791" y="132702"/>
                      </a:lnTo>
                      <a:lnTo>
                        <a:pt x="144723" y="131080"/>
                      </a:lnTo>
                      <a:lnTo>
                        <a:pt x="143615" y="129996"/>
                      </a:lnTo>
                      <a:lnTo>
                        <a:pt x="144910" y="133892"/>
                      </a:lnTo>
                      <a:lnTo>
                        <a:pt x="145114" y="138659"/>
                      </a:lnTo>
                      <a:lnTo>
                        <a:pt x="145098" y="138798"/>
                      </a:lnTo>
                      <a:lnTo>
                        <a:pt x="142718" y="137258"/>
                      </a:lnTo>
                      <a:lnTo>
                        <a:pt x="140265" y="135701"/>
                      </a:lnTo>
                      <a:lnTo>
                        <a:pt x="137804" y="134136"/>
                      </a:lnTo>
                      <a:lnTo>
                        <a:pt x="135351" y="132580"/>
                      </a:lnTo>
                      <a:lnTo>
                        <a:pt x="132898" y="131023"/>
                      </a:lnTo>
                      <a:lnTo>
                        <a:pt x="130445" y="129458"/>
                      </a:lnTo>
                      <a:lnTo>
                        <a:pt x="127991" y="127910"/>
                      </a:lnTo>
                      <a:lnTo>
                        <a:pt x="125538" y="126345"/>
                      </a:lnTo>
                      <a:lnTo>
                        <a:pt x="125009" y="125058"/>
                      </a:lnTo>
                      <a:lnTo>
                        <a:pt x="124104" y="124063"/>
                      </a:lnTo>
                      <a:lnTo>
                        <a:pt x="119679" y="122336"/>
                      </a:lnTo>
                      <a:lnTo>
                        <a:pt x="118538" y="121195"/>
                      </a:lnTo>
                      <a:lnTo>
                        <a:pt x="117511" y="119646"/>
                      </a:lnTo>
                      <a:lnTo>
                        <a:pt x="116802" y="117747"/>
                      </a:lnTo>
                      <a:lnTo>
                        <a:pt x="116435" y="115751"/>
                      </a:lnTo>
                      <a:lnTo>
                        <a:pt x="116419" y="114153"/>
                      </a:lnTo>
                      <a:lnTo>
                        <a:pt x="116745" y="112377"/>
                      </a:lnTo>
                      <a:lnTo>
                        <a:pt x="115726" y="111195"/>
                      </a:lnTo>
                      <a:lnTo>
                        <a:pt x="115710" y="110087"/>
                      </a:lnTo>
                      <a:lnTo>
                        <a:pt x="115058" y="109345"/>
                      </a:lnTo>
                      <a:lnTo>
                        <a:pt x="112157" y="108008"/>
                      </a:lnTo>
                      <a:lnTo>
                        <a:pt x="111285" y="106142"/>
                      </a:lnTo>
                      <a:lnTo>
                        <a:pt x="109370" y="104357"/>
                      </a:lnTo>
                      <a:lnTo>
                        <a:pt x="105947" y="104357"/>
                      </a:lnTo>
                      <a:lnTo>
                        <a:pt x="102524" y="104357"/>
                      </a:lnTo>
                      <a:lnTo>
                        <a:pt x="99109" y="104357"/>
                      </a:lnTo>
                      <a:lnTo>
                        <a:pt x="95686" y="104349"/>
                      </a:lnTo>
                      <a:lnTo>
                        <a:pt x="92263" y="104349"/>
                      </a:lnTo>
                      <a:lnTo>
                        <a:pt x="88848" y="104349"/>
                      </a:lnTo>
                      <a:lnTo>
                        <a:pt x="85434" y="104349"/>
                      </a:lnTo>
                      <a:lnTo>
                        <a:pt x="82019" y="104349"/>
                      </a:lnTo>
                      <a:lnTo>
                        <a:pt x="78604" y="104349"/>
                      </a:lnTo>
                      <a:lnTo>
                        <a:pt x="75181" y="104349"/>
                      </a:lnTo>
                      <a:lnTo>
                        <a:pt x="71767" y="104349"/>
                      </a:lnTo>
                      <a:lnTo>
                        <a:pt x="68352" y="104349"/>
                      </a:lnTo>
                      <a:lnTo>
                        <a:pt x="64929" y="104349"/>
                      </a:lnTo>
                      <a:lnTo>
                        <a:pt x="61514" y="104341"/>
                      </a:lnTo>
                      <a:lnTo>
                        <a:pt x="58099" y="104341"/>
                      </a:lnTo>
                      <a:lnTo>
                        <a:pt x="54685" y="104341"/>
                      </a:lnTo>
                      <a:lnTo>
                        <a:pt x="51270" y="104341"/>
                      </a:lnTo>
                      <a:lnTo>
                        <a:pt x="47847" y="104333"/>
                      </a:lnTo>
                      <a:lnTo>
                        <a:pt x="44432" y="104333"/>
                      </a:lnTo>
                      <a:lnTo>
                        <a:pt x="41018" y="104333"/>
                      </a:lnTo>
                      <a:lnTo>
                        <a:pt x="37595" y="104333"/>
                      </a:lnTo>
                      <a:lnTo>
                        <a:pt x="34180" y="104333"/>
                      </a:lnTo>
                      <a:lnTo>
                        <a:pt x="30765" y="104333"/>
                      </a:lnTo>
                      <a:lnTo>
                        <a:pt x="27350" y="104333"/>
                      </a:lnTo>
                      <a:lnTo>
                        <a:pt x="23928" y="104333"/>
                      </a:lnTo>
                      <a:lnTo>
                        <a:pt x="20513" y="104333"/>
                      </a:lnTo>
                      <a:lnTo>
                        <a:pt x="17090" y="104325"/>
                      </a:lnTo>
                      <a:lnTo>
                        <a:pt x="13675" y="104325"/>
                      </a:lnTo>
                      <a:lnTo>
                        <a:pt x="10261" y="104325"/>
                      </a:lnTo>
                      <a:lnTo>
                        <a:pt x="6838" y="104325"/>
                      </a:lnTo>
                      <a:lnTo>
                        <a:pt x="3423" y="104325"/>
                      </a:lnTo>
                      <a:lnTo>
                        <a:pt x="0" y="104325"/>
                      </a:lnTo>
                      <a:lnTo>
                        <a:pt x="0" y="99704"/>
                      </a:lnTo>
                      <a:lnTo>
                        <a:pt x="0" y="95067"/>
                      </a:lnTo>
                      <a:lnTo>
                        <a:pt x="0" y="90438"/>
                      </a:lnTo>
                      <a:lnTo>
                        <a:pt x="24" y="85817"/>
                      </a:lnTo>
                      <a:lnTo>
                        <a:pt x="7856" y="81937"/>
                      </a:lnTo>
                      <a:lnTo>
                        <a:pt x="14612" y="78588"/>
                      </a:lnTo>
                      <a:lnTo>
                        <a:pt x="18011" y="76730"/>
                      </a:lnTo>
                      <a:lnTo>
                        <a:pt x="20431" y="74603"/>
                      </a:lnTo>
                      <a:lnTo>
                        <a:pt x="21026" y="73038"/>
                      </a:lnTo>
                      <a:lnTo>
                        <a:pt x="20880" y="72133"/>
                      </a:lnTo>
                      <a:lnTo>
                        <a:pt x="20260" y="71237"/>
                      </a:lnTo>
                      <a:lnTo>
                        <a:pt x="19396" y="70560"/>
                      </a:lnTo>
                      <a:lnTo>
                        <a:pt x="18630" y="69998"/>
                      </a:lnTo>
                      <a:lnTo>
                        <a:pt x="18272" y="69297"/>
                      </a:lnTo>
                      <a:lnTo>
                        <a:pt x="18198" y="67765"/>
                      </a:lnTo>
                      <a:lnTo>
                        <a:pt x="17726" y="66885"/>
                      </a:lnTo>
                      <a:lnTo>
                        <a:pt x="17286" y="66233"/>
                      </a:lnTo>
                      <a:lnTo>
                        <a:pt x="17457" y="60283"/>
                      </a:lnTo>
                      <a:lnTo>
                        <a:pt x="16862" y="58434"/>
                      </a:lnTo>
                      <a:lnTo>
                        <a:pt x="14661" y="53739"/>
                      </a:lnTo>
                      <a:lnTo>
                        <a:pt x="18867" y="51637"/>
                      </a:lnTo>
                      <a:lnTo>
                        <a:pt x="22762" y="49689"/>
                      </a:lnTo>
                      <a:lnTo>
                        <a:pt x="25859" y="48246"/>
                      </a:lnTo>
                      <a:lnTo>
                        <a:pt x="32363" y="48026"/>
                      </a:lnTo>
                      <a:lnTo>
                        <a:pt x="38393" y="48051"/>
                      </a:lnTo>
                      <a:lnTo>
                        <a:pt x="46714" y="48091"/>
                      </a:lnTo>
                      <a:lnTo>
                        <a:pt x="53723" y="48116"/>
                      </a:lnTo>
                      <a:lnTo>
                        <a:pt x="61905" y="48157"/>
                      </a:lnTo>
                      <a:lnTo>
                        <a:pt x="66697" y="48181"/>
                      </a:lnTo>
                      <a:lnTo>
                        <a:pt x="72981" y="48116"/>
                      </a:lnTo>
                      <a:lnTo>
                        <a:pt x="76045" y="42688"/>
                      </a:lnTo>
                      <a:lnTo>
                        <a:pt x="78775" y="37831"/>
                      </a:lnTo>
                      <a:lnTo>
                        <a:pt x="81791" y="33194"/>
                      </a:lnTo>
                      <a:lnTo>
                        <a:pt x="87153" y="27734"/>
                      </a:lnTo>
                      <a:lnTo>
                        <a:pt x="88710" y="26747"/>
                      </a:lnTo>
                      <a:lnTo>
                        <a:pt x="89565" y="24596"/>
                      </a:lnTo>
                      <a:lnTo>
                        <a:pt x="92809" y="22550"/>
                      </a:lnTo>
                      <a:lnTo>
                        <a:pt x="96387" y="20651"/>
                      </a:lnTo>
                      <a:lnTo>
                        <a:pt x="97789" y="18867"/>
                      </a:lnTo>
                      <a:lnTo>
                        <a:pt x="98465" y="17856"/>
                      </a:lnTo>
                      <a:lnTo>
                        <a:pt x="108155" y="8223"/>
                      </a:lnTo>
                      <a:lnTo>
                        <a:pt x="113656" y="3773"/>
                      </a:lnTo>
                      <a:lnTo>
                        <a:pt x="118204" y="1296"/>
                      </a:lnTo>
                      <a:lnTo>
                        <a:pt x="121659" y="106"/>
                      </a:lnTo>
                      <a:lnTo>
                        <a:pt x="123998" y="277"/>
                      </a:lnTo>
                      <a:lnTo>
                        <a:pt x="125327" y="106"/>
                      </a:lnTo>
                      <a:lnTo>
                        <a:pt x="126459" y="106"/>
                      </a:lnTo>
                      <a:lnTo>
                        <a:pt x="132238" y="98"/>
                      </a:lnTo>
                      <a:lnTo>
                        <a:pt x="142563" y="81"/>
                      </a:lnTo>
                      <a:lnTo>
                        <a:pt x="152881" y="73"/>
                      </a:lnTo>
                      <a:lnTo>
                        <a:pt x="158920" y="0"/>
                      </a:lnTo>
                      <a:close/>
                      <a:moveTo>
                        <a:pt x="179816" y="139026"/>
                      </a:moveTo>
                      <a:lnTo>
                        <a:pt x="178055" y="141235"/>
                      </a:lnTo>
                      <a:lnTo>
                        <a:pt x="179645" y="141455"/>
                      </a:lnTo>
                      <a:lnTo>
                        <a:pt x="181014" y="140811"/>
                      </a:lnTo>
                      <a:lnTo>
                        <a:pt x="182309" y="139499"/>
                      </a:lnTo>
                      <a:lnTo>
                        <a:pt x="185325" y="137730"/>
                      </a:lnTo>
                      <a:lnTo>
                        <a:pt x="187892" y="136956"/>
                      </a:lnTo>
                      <a:lnTo>
                        <a:pt x="188707" y="136793"/>
                      </a:lnTo>
                      <a:lnTo>
                        <a:pt x="189929" y="138032"/>
                      </a:lnTo>
                      <a:lnTo>
                        <a:pt x="192358" y="137038"/>
                      </a:lnTo>
                      <a:lnTo>
                        <a:pt x="194860" y="136475"/>
                      </a:lnTo>
                      <a:lnTo>
                        <a:pt x="184045" y="142164"/>
                      </a:lnTo>
                      <a:lnTo>
                        <a:pt x="181837" y="142800"/>
                      </a:lnTo>
                      <a:lnTo>
                        <a:pt x="178675" y="144495"/>
                      </a:lnTo>
                      <a:lnTo>
                        <a:pt x="175684" y="145693"/>
                      </a:lnTo>
                      <a:lnTo>
                        <a:pt x="173532" y="146125"/>
                      </a:lnTo>
                      <a:lnTo>
                        <a:pt x="162840" y="150338"/>
                      </a:lnTo>
                      <a:lnTo>
                        <a:pt x="161992" y="150428"/>
                      </a:lnTo>
                      <a:lnTo>
                        <a:pt x="161071" y="150020"/>
                      </a:lnTo>
                      <a:lnTo>
                        <a:pt x="152253" y="152180"/>
                      </a:lnTo>
                      <a:lnTo>
                        <a:pt x="148635" y="152433"/>
                      </a:lnTo>
                      <a:lnTo>
                        <a:pt x="145342" y="153182"/>
                      </a:lnTo>
                      <a:lnTo>
                        <a:pt x="147779" y="151438"/>
                      </a:lnTo>
                      <a:lnTo>
                        <a:pt x="147828" y="150786"/>
                      </a:lnTo>
                      <a:lnTo>
                        <a:pt x="147241" y="150281"/>
                      </a:lnTo>
                      <a:lnTo>
                        <a:pt x="145945" y="150428"/>
                      </a:lnTo>
                      <a:lnTo>
                        <a:pt x="144609" y="152221"/>
                      </a:lnTo>
                      <a:lnTo>
                        <a:pt x="142482" y="152824"/>
                      </a:lnTo>
                      <a:lnTo>
                        <a:pt x="142058" y="150868"/>
                      </a:lnTo>
                      <a:lnTo>
                        <a:pt x="142767" y="149352"/>
                      </a:lnTo>
                      <a:lnTo>
                        <a:pt x="143729" y="147918"/>
                      </a:lnTo>
                      <a:lnTo>
                        <a:pt x="145839" y="145660"/>
                      </a:lnTo>
                      <a:lnTo>
                        <a:pt x="148871" y="144226"/>
                      </a:lnTo>
                      <a:lnTo>
                        <a:pt x="150411" y="142987"/>
                      </a:lnTo>
                      <a:lnTo>
                        <a:pt x="151471" y="144079"/>
                      </a:lnTo>
                      <a:lnTo>
                        <a:pt x="151699" y="142596"/>
                      </a:lnTo>
                      <a:lnTo>
                        <a:pt x="152522" y="141748"/>
                      </a:lnTo>
                      <a:lnTo>
                        <a:pt x="153411" y="141284"/>
                      </a:lnTo>
                      <a:lnTo>
                        <a:pt x="155562" y="141276"/>
                      </a:lnTo>
                      <a:lnTo>
                        <a:pt x="156711" y="141039"/>
                      </a:lnTo>
                      <a:lnTo>
                        <a:pt x="157551" y="140550"/>
                      </a:lnTo>
                      <a:lnTo>
                        <a:pt x="158406" y="140461"/>
                      </a:lnTo>
                      <a:lnTo>
                        <a:pt x="160754" y="141121"/>
                      </a:lnTo>
                      <a:lnTo>
                        <a:pt x="163044" y="140933"/>
                      </a:lnTo>
                      <a:lnTo>
                        <a:pt x="164894" y="140012"/>
                      </a:lnTo>
                      <a:lnTo>
                        <a:pt x="166809" y="139703"/>
                      </a:lnTo>
                      <a:lnTo>
                        <a:pt x="171902" y="139499"/>
                      </a:lnTo>
                      <a:lnTo>
                        <a:pt x="176955" y="138823"/>
                      </a:lnTo>
                      <a:lnTo>
                        <a:pt x="178976" y="137624"/>
                      </a:lnTo>
                      <a:lnTo>
                        <a:pt x="183214" y="134259"/>
                      </a:lnTo>
                      <a:lnTo>
                        <a:pt x="185659" y="133321"/>
                      </a:lnTo>
                      <a:lnTo>
                        <a:pt x="181861" y="137233"/>
                      </a:lnTo>
                      <a:lnTo>
                        <a:pt x="179816" y="139026"/>
                      </a:lnTo>
                      <a:close/>
                    </a:path>
                  </a:pathLst>
                </a:custGeom>
                <a:solidFill>
                  <a:srgbClr val="D6D6D2"/>
                </a:solidFill>
                <a:ln w="6112" cap="rnd">
                  <a:solidFill>
                    <a:srgbClr val="FFFFFF"/>
                  </a:solidFill>
                  <a:prstDash val="solid"/>
                  <a:round/>
                </a:ln>
              </p:spPr>
              <p:txBody>
                <a:bodyPr rtlCol="0" anchor="ctr"/>
                <a:lstStyle/>
                <a:p>
                  <a:endParaRPr lang="en-US"/>
                </a:p>
              </p:txBody>
            </p:sp>
            <p:sp>
              <p:nvSpPr>
                <p:cNvPr id="441" name="Freeform: Shape 440">
                  <a:extLst>
                    <a:ext uri="{FF2B5EF4-FFF2-40B4-BE49-F238E27FC236}">
                      <a16:creationId xmlns:a16="http://schemas.microsoft.com/office/drawing/2014/main" id="{BD5DD8FC-032B-4C75-9DC8-2045E785F1AA}"/>
                    </a:ext>
                  </a:extLst>
                </p:cNvPr>
                <p:cNvSpPr/>
                <p:nvPr/>
              </p:nvSpPr>
              <p:spPr>
                <a:xfrm>
                  <a:off x="2967342" y="3207524"/>
                  <a:ext cx="147836" cy="235559"/>
                </a:xfrm>
                <a:custGeom>
                  <a:avLst/>
                  <a:gdLst>
                    <a:gd name="connsiteX0" fmla="*/ 147290 w 147836"/>
                    <a:gd name="connsiteY0" fmla="*/ 196457 h 235559"/>
                    <a:gd name="connsiteX1" fmla="*/ 145864 w 147836"/>
                    <a:gd name="connsiteY1" fmla="*/ 199725 h 235559"/>
                    <a:gd name="connsiteX2" fmla="*/ 144291 w 147836"/>
                    <a:gd name="connsiteY2" fmla="*/ 201258 h 235559"/>
                    <a:gd name="connsiteX3" fmla="*/ 143077 w 147836"/>
                    <a:gd name="connsiteY3" fmla="*/ 201217 h 235559"/>
                    <a:gd name="connsiteX4" fmla="*/ 141846 w 147836"/>
                    <a:gd name="connsiteY4" fmla="*/ 200263 h 235559"/>
                    <a:gd name="connsiteX5" fmla="*/ 140607 w 147836"/>
                    <a:gd name="connsiteY5" fmla="*/ 198413 h 235559"/>
                    <a:gd name="connsiteX6" fmla="*/ 138757 w 147836"/>
                    <a:gd name="connsiteY6" fmla="*/ 197346 h 235559"/>
                    <a:gd name="connsiteX7" fmla="*/ 136296 w 147836"/>
                    <a:gd name="connsiteY7" fmla="*/ 197077 h 235559"/>
                    <a:gd name="connsiteX8" fmla="*/ 134128 w 147836"/>
                    <a:gd name="connsiteY8" fmla="*/ 197370 h 235559"/>
                    <a:gd name="connsiteX9" fmla="*/ 132238 w 147836"/>
                    <a:gd name="connsiteY9" fmla="*/ 198226 h 235559"/>
                    <a:gd name="connsiteX10" fmla="*/ 131080 w 147836"/>
                    <a:gd name="connsiteY10" fmla="*/ 199448 h 235559"/>
                    <a:gd name="connsiteX11" fmla="*/ 130437 w 147836"/>
                    <a:gd name="connsiteY11" fmla="*/ 201812 h 235559"/>
                    <a:gd name="connsiteX12" fmla="*/ 130665 w 147836"/>
                    <a:gd name="connsiteY12" fmla="*/ 202798 h 235559"/>
                    <a:gd name="connsiteX13" fmla="*/ 131789 w 147836"/>
                    <a:gd name="connsiteY13" fmla="*/ 204998 h 235559"/>
                    <a:gd name="connsiteX14" fmla="*/ 131871 w 147836"/>
                    <a:gd name="connsiteY14" fmla="*/ 208429 h 235559"/>
                    <a:gd name="connsiteX15" fmla="*/ 132034 w 147836"/>
                    <a:gd name="connsiteY15" fmla="*/ 211200 h 235559"/>
                    <a:gd name="connsiteX16" fmla="*/ 132702 w 147836"/>
                    <a:gd name="connsiteY16" fmla="*/ 212732 h 235559"/>
                    <a:gd name="connsiteX17" fmla="*/ 132824 w 147836"/>
                    <a:gd name="connsiteY17" fmla="*/ 214477 h 235559"/>
                    <a:gd name="connsiteX18" fmla="*/ 132409 w 147836"/>
                    <a:gd name="connsiteY18" fmla="*/ 217288 h 235559"/>
                    <a:gd name="connsiteX19" fmla="*/ 132743 w 147836"/>
                    <a:gd name="connsiteY19" fmla="*/ 219578 h 235559"/>
                    <a:gd name="connsiteX20" fmla="*/ 134169 w 147836"/>
                    <a:gd name="connsiteY20" fmla="*/ 223645 h 235559"/>
                    <a:gd name="connsiteX21" fmla="*/ 133688 w 147836"/>
                    <a:gd name="connsiteY21" fmla="*/ 235340 h 235559"/>
                    <a:gd name="connsiteX22" fmla="*/ 133688 w 147836"/>
                    <a:gd name="connsiteY22" fmla="*/ 235560 h 235559"/>
                    <a:gd name="connsiteX23" fmla="*/ 126948 w 147836"/>
                    <a:gd name="connsiteY23" fmla="*/ 228584 h 235559"/>
                    <a:gd name="connsiteX24" fmla="*/ 120657 w 147836"/>
                    <a:gd name="connsiteY24" fmla="*/ 222056 h 235559"/>
                    <a:gd name="connsiteX25" fmla="*/ 114357 w 147836"/>
                    <a:gd name="connsiteY25" fmla="*/ 215512 h 235559"/>
                    <a:gd name="connsiteX26" fmla="*/ 108057 w 147836"/>
                    <a:gd name="connsiteY26" fmla="*/ 208967 h 235559"/>
                    <a:gd name="connsiteX27" fmla="*/ 101758 w 147836"/>
                    <a:gd name="connsiteY27" fmla="*/ 202407 h 235559"/>
                    <a:gd name="connsiteX28" fmla="*/ 95458 w 147836"/>
                    <a:gd name="connsiteY28" fmla="*/ 195846 h 235559"/>
                    <a:gd name="connsiteX29" fmla="*/ 89158 w 147836"/>
                    <a:gd name="connsiteY29" fmla="*/ 189277 h 235559"/>
                    <a:gd name="connsiteX30" fmla="*/ 82866 w 147836"/>
                    <a:gd name="connsiteY30" fmla="*/ 182701 h 235559"/>
                    <a:gd name="connsiteX31" fmla="*/ 78319 w 147836"/>
                    <a:gd name="connsiteY31" fmla="*/ 178120 h 235559"/>
                    <a:gd name="connsiteX32" fmla="*/ 73771 w 147836"/>
                    <a:gd name="connsiteY32" fmla="*/ 173540 h 235559"/>
                    <a:gd name="connsiteX33" fmla="*/ 69232 w 147836"/>
                    <a:gd name="connsiteY33" fmla="*/ 168952 h 235559"/>
                    <a:gd name="connsiteX34" fmla="*/ 64676 w 147836"/>
                    <a:gd name="connsiteY34" fmla="*/ 164372 h 235559"/>
                    <a:gd name="connsiteX35" fmla="*/ 60129 w 147836"/>
                    <a:gd name="connsiteY35" fmla="*/ 159775 h 235559"/>
                    <a:gd name="connsiteX36" fmla="*/ 55581 w 147836"/>
                    <a:gd name="connsiteY36" fmla="*/ 155179 h 235559"/>
                    <a:gd name="connsiteX37" fmla="*/ 51042 w 147836"/>
                    <a:gd name="connsiteY37" fmla="*/ 150574 h 235559"/>
                    <a:gd name="connsiteX38" fmla="*/ 46494 w 147836"/>
                    <a:gd name="connsiteY38" fmla="*/ 145970 h 235559"/>
                    <a:gd name="connsiteX39" fmla="*/ 40684 w 147836"/>
                    <a:gd name="connsiteY39" fmla="*/ 140501 h 235559"/>
                    <a:gd name="connsiteX40" fmla="*/ 34873 w 147836"/>
                    <a:gd name="connsiteY40" fmla="*/ 135025 h 235559"/>
                    <a:gd name="connsiteX41" fmla="*/ 29062 w 147836"/>
                    <a:gd name="connsiteY41" fmla="*/ 129548 h 235559"/>
                    <a:gd name="connsiteX42" fmla="*/ 23251 w 147836"/>
                    <a:gd name="connsiteY42" fmla="*/ 124063 h 235559"/>
                    <a:gd name="connsiteX43" fmla="*/ 17440 w 147836"/>
                    <a:gd name="connsiteY43" fmla="*/ 118579 h 235559"/>
                    <a:gd name="connsiteX44" fmla="*/ 11638 w 147836"/>
                    <a:gd name="connsiteY44" fmla="*/ 113086 h 235559"/>
                    <a:gd name="connsiteX45" fmla="*/ 5827 w 147836"/>
                    <a:gd name="connsiteY45" fmla="*/ 107585 h 235559"/>
                    <a:gd name="connsiteX46" fmla="*/ 16 w 147836"/>
                    <a:gd name="connsiteY46" fmla="*/ 102075 h 235559"/>
                    <a:gd name="connsiteX47" fmla="*/ 16 w 147836"/>
                    <a:gd name="connsiteY47" fmla="*/ 95759 h 235559"/>
                    <a:gd name="connsiteX48" fmla="*/ 16 w 147836"/>
                    <a:gd name="connsiteY48" fmla="*/ 89427 h 235559"/>
                    <a:gd name="connsiteX49" fmla="*/ 8 w 147836"/>
                    <a:gd name="connsiteY49" fmla="*/ 83086 h 235559"/>
                    <a:gd name="connsiteX50" fmla="*/ 8 w 147836"/>
                    <a:gd name="connsiteY50" fmla="*/ 76746 h 235559"/>
                    <a:gd name="connsiteX51" fmla="*/ 8 w 147836"/>
                    <a:gd name="connsiteY51" fmla="*/ 70397 h 235559"/>
                    <a:gd name="connsiteX52" fmla="*/ 8 w 147836"/>
                    <a:gd name="connsiteY52" fmla="*/ 64032 h 235559"/>
                    <a:gd name="connsiteX53" fmla="*/ 8 w 147836"/>
                    <a:gd name="connsiteY53" fmla="*/ 57667 h 235559"/>
                    <a:gd name="connsiteX54" fmla="*/ 8 w 147836"/>
                    <a:gd name="connsiteY54" fmla="*/ 51294 h 235559"/>
                    <a:gd name="connsiteX55" fmla="*/ 8 w 147836"/>
                    <a:gd name="connsiteY55" fmla="*/ 44913 h 235559"/>
                    <a:gd name="connsiteX56" fmla="*/ 8 w 147836"/>
                    <a:gd name="connsiteY56" fmla="*/ 38524 h 235559"/>
                    <a:gd name="connsiteX57" fmla="*/ 0 w 147836"/>
                    <a:gd name="connsiteY57" fmla="*/ 32126 h 235559"/>
                    <a:gd name="connsiteX58" fmla="*/ 0 w 147836"/>
                    <a:gd name="connsiteY58" fmla="*/ 25720 h 235559"/>
                    <a:gd name="connsiteX59" fmla="*/ 0 w 147836"/>
                    <a:gd name="connsiteY59" fmla="*/ 19307 h 235559"/>
                    <a:gd name="connsiteX60" fmla="*/ 0 w 147836"/>
                    <a:gd name="connsiteY60" fmla="*/ 12893 h 235559"/>
                    <a:gd name="connsiteX61" fmla="*/ 0 w 147836"/>
                    <a:gd name="connsiteY61" fmla="*/ 6455 h 235559"/>
                    <a:gd name="connsiteX62" fmla="*/ 0 w 147836"/>
                    <a:gd name="connsiteY62" fmla="*/ 16 h 235559"/>
                    <a:gd name="connsiteX63" fmla="*/ 9250 w 147836"/>
                    <a:gd name="connsiteY63" fmla="*/ 16 h 235559"/>
                    <a:gd name="connsiteX64" fmla="*/ 18500 w 147836"/>
                    <a:gd name="connsiteY64" fmla="*/ 16 h 235559"/>
                    <a:gd name="connsiteX65" fmla="*/ 27750 w 147836"/>
                    <a:gd name="connsiteY65" fmla="*/ 16 h 235559"/>
                    <a:gd name="connsiteX66" fmla="*/ 37000 w 147836"/>
                    <a:gd name="connsiteY66" fmla="*/ 16 h 235559"/>
                    <a:gd name="connsiteX67" fmla="*/ 46250 w 147836"/>
                    <a:gd name="connsiteY67" fmla="*/ 16 h 235559"/>
                    <a:gd name="connsiteX68" fmla="*/ 55508 w 147836"/>
                    <a:gd name="connsiteY68" fmla="*/ 16 h 235559"/>
                    <a:gd name="connsiteX69" fmla="*/ 64758 w 147836"/>
                    <a:gd name="connsiteY69" fmla="*/ 16 h 235559"/>
                    <a:gd name="connsiteX70" fmla="*/ 74016 w 147836"/>
                    <a:gd name="connsiteY70" fmla="*/ 16 h 235559"/>
                    <a:gd name="connsiteX71" fmla="*/ 83225 w 147836"/>
                    <a:gd name="connsiteY71" fmla="*/ 16 h 235559"/>
                    <a:gd name="connsiteX72" fmla="*/ 92451 w 147836"/>
                    <a:gd name="connsiteY72" fmla="*/ 8 h 235559"/>
                    <a:gd name="connsiteX73" fmla="*/ 101676 w 147836"/>
                    <a:gd name="connsiteY73" fmla="*/ 8 h 235559"/>
                    <a:gd name="connsiteX74" fmla="*/ 110893 w 147836"/>
                    <a:gd name="connsiteY74" fmla="*/ 8 h 235559"/>
                    <a:gd name="connsiteX75" fmla="*/ 120111 w 147836"/>
                    <a:gd name="connsiteY75" fmla="*/ 8 h 235559"/>
                    <a:gd name="connsiteX76" fmla="*/ 129336 w 147836"/>
                    <a:gd name="connsiteY76" fmla="*/ 0 h 235559"/>
                    <a:gd name="connsiteX77" fmla="*/ 138554 w 147836"/>
                    <a:gd name="connsiteY77" fmla="*/ 0 h 235559"/>
                    <a:gd name="connsiteX78" fmla="*/ 147771 w 147836"/>
                    <a:gd name="connsiteY78" fmla="*/ 0 h 235559"/>
                    <a:gd name="connsiteX79" fmla="*/ 147771 w 147836"/>
                    <a:gd name="connsiteY79" fmla="*/ 5362 h 235559"/>
                    <a:gd name="connsiteX80" fmla="*/ 147779 w 147836"/>
                    <a:gd name="connsiteY80" fmla="*/ 10717 h 235559"/>
                    <a:gd name="connsiteX81" fmla="*/ 147779 w 147836"/>
                    <a:gd name="connsiteY81" fmla="*/ 16063 h 235559"/>
                    <a:gd name="connsiteX82" fmla="*/ 147779 w 147836"/>
                    <a:gd name="connsiteY82" fmla="*/ 21409 h 235559"/>
                    <a:gd name="connsiteX83" fmla="*/ 147779 w 147836"/>
                    <a:gd name="connsiteY83" fmla="*/ 26747 h 235559"/>
                    <a:gd name="connsiteX84" fmla="*/ 147787 w 147836"/>
                    <a:gd name="connsiteY84" fmla="*/ 32085 h 235559"/>
                    <a:gd name="connsiteX85" fmla="*/ 147787 w 147836"/>
                    <a:gd name="connsiteY85" fmla="*/ 37407 h 235559"/>
                    <a:gd name="connsiteX86" fmla="*/ 147787 w 147836"/>
                    <a:gd name="connsiteY86" fmla="*/ 42729 h 235559"/>
                    <a:gd name="connsiteX87" fmla="*/ 147787 w 147836"/>
                    <a:gd name="connsiteY87" fmla="*/ 48051 h 235559"/>
                    <a:gd name="connsiteX88" fmla="*/ 147787 w 147836"/>
                    <a:gd name="connsiteY88" fmla="*/ 53356 h 235559"/>
                    <a:gd name="connsiteX89" fmla="*/ 147787 w 147836"/>
                    <a:gd name="connsiteY89" fmla="*/ 58670 h 235559"/>
                    <a:gd name="connsiteX90" fmla="*/ 147795 w 147836"/>
                    <a:gd name="connsiteY90" fmla="*/ 63967 h 235559"/>
                    <a:gd name="connsiteX91" fmla="*/ 147795 w 147836"/>
                    <a:gd name="connsiteY91" fmla="*/ 69273 h 235559"/>
                    <a:gd name="connsiteX92" fmla="*/ 147795 w 147836"/>
                    <a:gd name="connsiteY92" fmla="*/ 74554 h 235559"/>
                    <a:gd name="connsiteX93" fmla="*/ 147795 w 147836"/>
                    <a:gd name="connsiteY93" fmla="*/ 79843 h 235559"/>
                    <a:gd name="connsiteX94" fmla="*/ 147804 w 147836"/>
                    <a:gd name="connsiteY94" fmla="*/ 85124 h 235559"/>
                    <a:gd name="connsiteX95" fmla="*/ 147804 w 147836"/>
                    <a:gd name="connsiteY95" fmla="*/ 90397 h 235559"/>
                    <a:gd name="connsiteX96" fmla="*/ 147804 w 147836"/>
                    <a:gd name="connsiteY96" fmla="*/ 95670 h 235559"/>
                    <a:gd name="connsiteX97" fmla="*/ 147804 w 147836"/>
                    <a:gd name="connsiteY97" fmla="*/ 100934 h 235559"/>
                    <a:gd name="connsiteX98" fmla="*/ 147812 w 147836"/>
                    <a:gd name="connsiteY98" fmla="*/ 106199 h 235559"/>
                    <a:gd name="connsiteX99" fmla="*/ 147812 w 147836"/>
                    <a:gd name="connsiteY99" fmla="*/ 111447 h 235559"/>
                    <a:gd name="connsiteX100" fmla="*/ 147812 w 147836"/>
                    <a:gd name="connsiteY100" fmla="*/ 116704 h 235559"/>
                    <a:gd name="connsiteX101" fmla="*/ 147812 w 147836"/>
                    <a:gd name="connsiteY101" fmla="*/ 121944 h 235559"/>
                    <a:gd name="connsiteX102" fmla="*/ 147820 w 147836"/>
                    <a:gd name="connsiteY102" fmla="*/ 127185 h 235559"/>
                    <a:gd name="connsiteX103" fmla="*/ 147820 w 147836"/>
                    <a:gd name="connsiteY103" fmla="*/ 132417 h 235559"/>
                    <a:gd name="connsiteX104" fmla="*/ 147820 w 147836"/>
                    <a:gd name="connsiteY104" fmla="*/ 137657 h 235559"/>
                    <a:gd name="connsiteX105" fmla="*/ 147820 w 147836"/>
                    <a:gd name="connsiteY105" fmla="*/ 142873 h 235559"/>
                    <a:gd name="connsiteX106" fmla="*/ 147828 w 147836"/>
                    <a:gd name="connsiteY106" fmla="*/ 148097 h 235559"/>
                    <a:gd name="connsiteX107" fmla="*/ 147828 w 147836"/>
                    <a:gd name="connsiteY107" fmla="*/ 153313 h 235559"/>
                    <a:gd name="connsiteX108" fmla="*/ 147828 w 147836"/>
                    <a:gd name="connsiteY108" fmla="*/ 158520 h 235559"/>
                    <a:gd name="connsiteX109" fmla="*/ 147828 w 147836"/>
                    <a:gd name="connsiteY109" fmla="*/ 163728 h 235559"/>
                    <a:gd name="connsiteX110" fmla="*/ 147836 w 147836"/>
                    <a:gd name="connsiteY110" fmla="*/ 168919 h 235559"/>
                    <a:gd name="connsiteX111" fmla="*/ 147812 w 147836"/>
                    <a:gd name="connsiteY111" fmla="*/ 181951 h 235559"/>
                    <a:gd name="connsiteX112" fmla="*/ 147771 w 147836"/>
                    <a:gd name="connsiteY112" fmla="*/ 196237 h 235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47836" h="235559">
                      <a:moveTo>
                        <a:pt x="147290" y="196457"/>
                      </a:moveTo>
                      <a:lnTo>
                        <a:pt x="145864" y="199725"/>
                      </a:lnTo>
                      <a:lnTo>
                        <a:pt x="144291" y="201258"/>
                      </a:lnTo>
                      <a:lnTo>
                        <a:pt x="143077" y="201217"/>
                      </a:lnTo>
                      <a:lnTo>
                        <a:pt x="141846" y="200263"/>
                      </a:lnTo>
                      <a:lnTo>
                        <a:pt x="140607" y="198413"/>
                      </a:lnTo>
                      <a:lnTo>
                        <a:pt x="138757" y="197346"/>
                      </a:lnTo>
                      <a:lnTo>
                        <a:pt x="136296" y="197077"/>
                      </a:lnTo>
                      <a:lnTo>
                        <a:pt x="134128" y="197370"/>
                      </a:lnTo>
                      <a:lnTo>
                        <a:pt x="132238" y="198226"/>
                      </a:lnTo>
                      <a:lnTo>
                        <a:pt x="131080" y="199448"/>
                      </a:lnTo>
                      <a:lnTo>
                        <a:pt x="130437" y="201812"/>
                      </a:lnTo>
                      <a:lnTo>
                        <a:pt x="130665" y="202798"/>
                      </a:lnTo>
                      <a:lnTo>
                        <a:pt x="131789" y="204998"/>
                      </a:lnTo>
                      <a:lnTo>
                        <a:pt x="131871" y="208429"/>
                      </a:lnTo>
                      <a:lnTo>
                        <a:pt x="132034" y="211200"/>
                      </a:lnTo>
                      <a:lnTo>
                        <a:pt x="132702" y="212732"/>
                      </a:lnTo>
                      <a:lnTo>
                        <a:pt x="132824" y="214477"/>
                      </a:lnTo>
                      <a:lnTo>
                        <a:pt x="132409" y="217288"/>
                      </a:lnTo>
                      <a:lnTo>
                        <a:pt x="132743" y="219578"/>
                      </a:lnTo>
                      <a:lnTo>
                        <a:pt x="134169" y="223645"/>
                      </a:lnTo>
                      <a:lnTo>
                        <a:pt x="133688" y="235340"/>
                      </a:lnTo>
                      <a:lnTo>
                        <a:pt x="133688" y="235560"/>
                      </a:lnTo>
                      <a:lnTo>
                        <a:pt x="126948" y="228584"/>
                      </a:lnTo>
                      <a:lnTo>
                        <a:pt x="120657" y="222056"/>
                      </a:lnTo>
                      <a:lnTo>
                        <a:pt x="114357" y="215512"/>
                      </a:lnTo>
                      <a:lnTo>
                        <a:pt x="108057" y="208967"/>
                      </a:lnTo>
                      <a:lnTo>
                        <a:pt x="101758" y="202407"/>
                      </a:lnTo>
                      <a:lnTo>
                        <a:pt x="95458" y="195846"/>
                      </a:lnTo>
                      <a:lnTo>
                        <a:pt x="89158" y="189277"/>
                      </a:lnTo>
                      <a:lnTo>
                        <a:pt x="82866" y="182701"/>
                      </a:lnTo>
                      <a:lnTo>
                        <a:pt x="78319" y="178120"/>
                      </a:lnTo>
                      <a:lnTo>
                        <a:pt x="73771" y="173540"/>
                      </a:lnTo>
                      <a:lnTo>
                        <a:pt x="69232" y="168952"/>
                      </a:lnTo>
                      <a:lnTo>
                        <a:pt x="64676" y="164372"/>
                      </a:lnTo>
                      <a:lnTo>
                        <a:pt x="60129" y="159775"/>
                      </a:lnTo>
                      <a:lnTo>
                        <a:pt x="55581" y="155179"/>
                      </a:lnTo>
                      <a:lnTo>
                        <a:pt x="51042" y="150574"/>
                      </a:lnTo>
                      <a:lnTo>
                        <a:pt x="46494" y="145970"/>
                      </a:lnTo>
                      <a:lnTo>
                        <a:pt x="40684" y="140501"/>
                      </a:lnTo>
                      <a:lnTo>
                        <a:pt x="34873" y="135025"/>
                      </a:lnTo>
                      <a:lnTo>
                        <a:pt x="29062" y="129548"/>
                      </a:lnTo>
                      <a:lnTo>
                        <a:pt x="23251" y="124063"/>
                      </a:lnTo>
                      <a:lnTo>
                        <a:pt x="17440" y="118579"/>
                      </a:lnTo>
                      <a:lnTo>
                        <a:pt x="11638" y="113086"/>
                      </a:lnTo>
                      <a:lnTo>
                        <a:pt x="5827" y="107585"/>
                      </a:lnTo>
                      <a:lnTo>
                        <a:pt x="16" y="102075"/>
                      </a:lnTo>
                      <a:lnTo>
                        <a:pt x="16" y="95759"/>
                      </a:lnTo>
                      <a:lnTo>
                        <a:pt x="16" y="89427"/>
                      </a:lnTo>
                      <a:lnTo>
                        <a:pt x="8" y="83086"/>
                      </a:lnTo>
                      <a:lnTo>
                        <a:pt x="8" y="76746"/>
                      </a:lnTo>
                      <a:lnTo>
                        <a:pt x="8" y="70397"/>
                      </a:lnTo>
                      <a:lnTo>
                        <a:pt x="8" y="64032"/>
                      </a:lnTo>
                      <a:lnTo>
                        <a:pt x="8" y="57667"/>
                      </a:lnTo>
                      <a:lnTo>
                        <a:pt x="8" y="51294"/>
                      </a:lnTo>
                      <a:lnTo>
                        <a:pt x="8" y="44913"/>
                      </a:lnTo>
                      <a:lnTo>
                        <a:pt x="8" y="38524"/>
                      </a:lnTo>
                      <a:lnTo>
                        <a:pt x="0" y="32126"/>
                      </a:lnTo>
                      <a:lnTo>
                        <a:pt x="0" y="25720"/>
                      </a:lnTo>
                      <a:lnTo>
                        <a:pt x="0" y="19307"/>
                      </a:lnTo>
                      <a:lnTo>
                        <a:pt x="0" y="12893"/>
                      </a:lnTo>
                      <a:lnTo>
                        <a:pt x="0" y="6455"/>
                      </a:lnTo>
                      <a:lnTo>
                        <a:pt x="0" y="16"/>
                      </a:lnTo>
                      <a:lnTo>
                        <a:pt x="9250" y="16"/>
                      </a:lnTo>
                      <a:lnTo>
                        <a:pt x="18500" y="16"/>
                      </a:lnTo>
                      <a:lnTo>
                        <a:pt x="27750" y="16"/>
                      </a:lnTo>
                      <a:lnTo>
                        <a:pt x="37000" y="16"/>
                      </a:lnTo>
                      <a:lnTo>
                        <a:pt x="46250" y="16"/>
                      </a:lnTo>
                      <a:lnTo>
                        <a:pt x="55508" y="16"/>
                      </a:lnTo>
                      <a:lnTo>
                        <a:pt x="64758" y="16"/>
                      </a:lnTo>
                      <a:lnTo>
                        <a:pt x="74016" y="16"/>
                      </a:lnTo>
                      <a:lnTo>
                        <a:pt x="83225" y="16"/>
                      </a:lnTo>
                      <a:lnTo>
                        <a:pt x="92451" y="8"/>
                      </a:lnTo>
                      <a:lnTo>
                        <a:pt x="101676" y="8"/>
                      </a:lnTo>
                      <a:lnTo>
                        <a:pt x="110893" y="8"/>
                      </a:lnTo>
                      <a:lnTo>
                        <a:pt x="120111" y="8"/>
                      </a:lnTo>
                      <a:lnTo>
                        <a:pt x="129336" y="0"/>
                      </a:lnTo>
                      <a:lnTo>
                        <a:pt x="138554" y="0"/>
                      </a:lnTo>
                      <a:lnTo>
                        <a:pt x="147771" y="0"/>
                      </a:lnTo>
                      <a:lnTo>
                        <a:pt x="147771" y="5362"/>
                      </a:lnTo>
                      <a:lnTo>
                        <a:pt x="147779" y="10717"/>
                      </a:lnTo>
                      <a:lnTo>
                        <a:pt x="147779" y="16063"/>
                      </a:lnTo>
                      <a:lnTo>
                        <a:pt x="147779" y="21409"/>
                      </a:lnTo>
                      <a:lnTo>
                        <a:pt x="147779" y="26747"/>
                      </a:lnTo>
                      <a:lnTo>
                        <a:pt x="147787" y="32085"/>
                      </a:lnTo>
                      <a:lnTo>
                        <a:pt x="147787" y="37407"/>
                      </a:lnTo>
                      <a:lnTo>
                        <a:pt x="147787" y="42729"/>
                      </a:lnTo>
                      <a:lnTo>
                        <a:pt x="147787" y="48051"/>
                      </a:lnTo>
                      <a:lnTo>
                        <a:pt x="147787" y="53356"/>
                      </a:lnTo>
                      <a:lnTo>
                        <a:pt x="147787" y="58670"/>
                      </a:lnTo>
                      <a:lnTo>
                        <a:pt x="147795" y="63967"/>
                      </a:lnTo>
                      <a:lnTo>
                        <a:pt x="147795" y="69273"/>
                      </a:lnTo>
                      <a:lnTo>
                        <a:pt x="147795" y="74554"/>
                      </a:lnTo>
                      <a:lnTo>
                        <a:pt x="147795" y="79843"/>
                      </a:lnTo>
                      <a:lnTo>
                        <a:pt x="147804" y="85124"/>
                      </a:lnTo>
                      <a:lnTo>
                        <a:pt x="147804" y="90397"/>
                      </a:lnTo>
                      <a:lnTo>
                        <a:pt x="147804" y="95670"/>
                      </a:lnTo>
                      <a:lnTo>
                        <a:pt x="147804" y="100934"/>
                      </a:lnTo>
                      <a:lnTo>
                        <a:pt x="147812" y="106199"/>
                      </a:lnTo>
                      <a:lnTo>
                        <a:pt x="147812" y="111447"/>
                      </a:lnTo>
                      <a:lnTo>
                        <a:pt x="147812" y="116704"/>
                      </a:lnTo>
                      <a:lnTo>
                        <a:pt x="147812" y="121944"/>
                      </a:lnTo>
                      <a:lnTo>
                        <a:pt x="147820" y="127185"/>
                      </a:lnTo>
                      <a:lnTo>
                        <a:pt x="147820" y="132417"/>
                      </a:lnTo>
                      <a:lnTo>
                        <a:pt x="147820" y="137657"/>
                      </a:lnTo>
                      <a:lnTo>
                        <a:pt x="147820" y="142873"/>
                      </a:lnTo>
                      <a:lnTo>
                        <a:pt x="147828" y="148097"/>
                      </a:lnTo>
                      <a:lnTo>
                        <a:pt x="147828" y="153313"/>
                      </a:lnTo>
                      <a:lnTo>
                        <a:pt x="147828" y="158520"/>
                      </a:lnTo>
                      <a:lnTo>
                        <a:pt x="147828" y="163728"/>
                      </a:lnTo>
                      <a:lnTo>
                        <a:pt x="147836" y="168919"/>
                      </a:lnTo>
                      <a:lnTo>
                        <a:pt x="147812" y="181951"/>
                      </a:lnTo>
                      <a:lnTo>
                        <a:pt x="147771" y="196237"/>
                      </a:lnTo>
                      <a:close/>
                    </a:path>
                  </a:pathLst>
                </a:custGeom>
                <a:solidFill>
                  <a:srgbClr val="D6D6D2"/>
                </a:solidFill>
                <a:ln w="6112" cap="rnd">
                  <a:solidFill>
                    <a:srgbClr val="FFFFFF"/>
                  </a:solidFill>
                  <a:prstDash val="solid"/>
                  <a:round/>
                </a:ln>
              </p:spPr>
              <p:txBody>
                <a:bodyPr rtlCol="0" anchor="ctr"/>
                <a:lstStyle/>
                <a:p>
                  <a:endParaRPr lang="en-US"/>
                </a:p>
              </p:txBody>
            </p:sp>
            <p:sp>
              <p:nvSpPr>
                <p:cNvPr id="442" name="Freeform: Shape 441">
                  <a:extLst>
                    <a:ext uri="{FF2B5EF4-FFF2-40B4-BE49-F238E27FC236}">
                      <a16:creationId xmlns:a16="http://schemas.microsoft.com/office/drawing/2014/main" id="{6AAF5E03-69B3-4CB5-8CA5-5F117EF82410}"/>
                    </a:ext>
                  </a:extLst>
                </p:cNvPr>
                <p:cNvSpPr/>
                <p:nvPr/>
              </p:nvSpPr>
              <p:spPr>
                <a:xfrm>
                  <a:off x="3238997" y="3376566"/>
                  <a:ext cx="149987" cy="185928"/>
                </a:xfrm>
                <a:custGeom>
                  <a:avLst/>
                  <a:gdLst>
                    <a:gd name="connsiteX0" fmla="*/ 61547 w 149987"/>
                    <a:gd name="connsiteY0" fmla="*/ 170028 h 185928"/>
                    <a:gd name="connsiteX1" fmla="*/ 64546 w 149987"/>
                    <a:gd name="connsiteY1" fmla="*/ 171682 h 185928"/>
                    <a:gd name="connsiteX2" fmla="*/ 64350 w 149987"/>
                    <a:gd name="connsiteY2" fmla="*/ 171625 h 185928"/>
                    <a:gd name="connsiteX3" fmla="*/ 58898 w 149987"/>
                    <a:gd name="connsiteY3" fmla="*/ 171584 h 185928"/>
                    <a:gd name="connsiteX4" fmla="*/ 53446 w 149987"/>
                    <a:gd name="connsiteY4" fmla="*/ 171552 h 185928"/>
                    <a:gd name="connsiteX5" fmla="*/ 47994 w 149987"/>
                    <a:gd name="connsiteY5" fmla="*/ 171519 h 185928"/>
                    <a:gd name="connsiteX6" fmla="*/ 42542 w 149987"/>
                    <a:gd name="connsiteY6" fmla="*/ 171479 h 185928"/>
                    <a:gd name="connsiteX7" fmla="*/ 37089 w 149987"/>
                    <a:gd name="connsiteY7" fmla="*/ 171446 h 185928"/>
                    <a:gd name="connsiteX8" fmla="*/ 31637 w 149987"/>
                    <a:gd name="connsiteY8" fmla="*/ 171405 h 185928"/>
                    <a:gd name="connsiteX9" fmla="*/ 26185 w 149987"/>
                    <a:gd name="connsiteY9" fmla="*/ 171373 h 185928"/>
                    <a:gd name="connsiteX10" fmla="*/ 20733 w 149987"/>
                    <a:gd name="connsiteY10" fmla="*/ 171332 h 185928"/>
                    <a:gd name="connsiteX11" fmla="*/ 20717 w 149987"/>
                    <a:gd name="connsiteY11" fmla="*/ 174967 h 185928"/>
                    <a:gd name="connsiteX12" fmla="*/ 20700 w 149987"/>
                    <a:gd name="connsiteY12" fmla="*/ 178601 h 185928"/>
                    <a:gd name="connsiteX13" fmla="*/ 20684 w 149987"/>
                    <a:gd name="connsiteY13" fmla="*/ 182244 h 185928"/>
                    <a:gd name="connsiteX14" fmla="*/ 20676 w 149987"/>
                    <a:gd name="connsiteY14" fmla="*/ 185871 h 185928"/>
                    <a:gd name="connsiteX15" fmla="*/ 11899 w 149987"/>
                    <a:gd name="connsiteY15" fmla="*/ 185895 h 185928"/>
                    <a:gd name="connsiteX16" fmla="*/ 3138 w 149987"/>
                    <a:gd name="connsiteY16" fmla="*/ 185912 h 185928"/>
                    <a:gd name="connsiteX17" fmla="*/ 0 w 149987"/>
                    <a:gd name="connsiteY17" fmla="*/ 185928 h 185928"/>
                    <a:gd name="connsiteX18" fmla="*/ 8 w 149987"/>
                    <a:gd name="connsiteY18" fmla="*/ 174445 h 185928"/>
                    <a:gd name="connsiteX19" fmla="*/ 8 w 149987"/>
                    <a:gd name="connsiteY19" fmla="*/ 162962 h 185928"/>
                    <a:gd name="connsiteX20" fmla="*/ 16 w 149987"/>
                    <a:gd name="connsiteY20" fmla="*/ 151471 h 185928"/>
                    <a:gd name="connsiteX21" fmla="*/ 16 w 149987"/>
                    <a:gd name="connsiteY21" fmla="*/ 139947 h 185928"/>
                    <a:gd name="connsiteX22" fmla="*/ 16 w 149987"/>
                    <a:gd name="connsiteY22" fmla="*/ 128407 h 185928"/>
                    <a:gd name="connsiteX23" fmla="*/ 16 w 149987"/>
                    <a:gd name="connsiteY23" fmla="*/ 116843 h 185928"/>
                    <a:gd name="connsiteX24" fmla="*/ 16 w 149987"/>
                    <a:gd name="connsiteY24" fmla="*/ 105262 h 185928"/>
                    <a:gd name="connsiteX25" fmla="*/ 16 w 149987"/>
                    <a:gd name="connsiteY25" fmla="*/ 93649 h 185928"/>
                    <a:gd name="connsiteX26" fmla="*/ 16 w 149987"/>
                    <a:gd name="connsiteY26" fmla="*/ 82027 h 185928"/>
                    <a:gd name="connsiteX27" fmla="*/ 16 w 149987"/>
                    <a:gd name="connsiteY27" fmla="*/ 70373 h 185928"/>
                    <a:gd name="connsiteX28" fmla="*/ 16 w 149987"/>
                    <a:gd name="connsiteY28" fmla="*/ 58703 h 185928"/>
                    <a:gd name="connsiteX29" fmla="*/ 24 w 149987"/>
                    <a:gd name="connsiteY29" fmla="*/ 47008 h 185928"/>
                    <a:gd name="connsiteX30" fmla="*/ 24 w 149987"/>
                    <a:gd name="connsiteY30" fmla="*/ 35288 h 185928"/>
                    <a:gd name="connsiteX31" fmla="*/ 24 w 149987"/>
                    <a:gd name="connsiteY31" fmla="*/ 23553 h 185928"/>
                    <a:gd name="connsiteX32" fmla="*/ 24 w 149987"/>
                    <a:gd name="connsiteY32" fmla="*/ 11785 h 185928"/>
                    <a:gd name="connsiteX33" fmla="*/ 24 w 149987"/>
                    <a:gd name="connsiteY33" fmla="*/ 0 h 185928"/>
                    <a:gd name="connsiteX34" fmla="*/ 9405 w 149987"/>
                    <a:gd name="connsiteY34" fmla="*/ 0 h 185928"/>
                    <a:gd name="connsiteX35" fmla="*/ 18769 w 149987"/>
                    <a:gd name="connsiteY35" fmla="*/ 0 h 185928"/>
                    <a:gd name="connsiteX36" fmla="*/ 28149 w 149987"/>
                    <a:gd name="connsiteY36" fmla="*/ 0 h 185928"/>
                    <a:gd name="connsiteX37" fmla="*/ 37521 w 149987"/>
                    <a:gd name="connsiteY37" fmla="*/ 0 h 185928"/>
                    <a:gd name="connsiteX38" fmla="*/ 46885 w 149987"/>
                    <a:gd name="connsiteY38" fmla="*/ 0 h 185928"/>
                    <a:gd name="connsiteX39" fmla="*/ 56258 w 149987"/>
                    <a:gd name="connsiteY39" fmla="*/ 0 h 185928"/>
                    <a:gd name="connsiteX40" fmla="*/ 65630 w 149987"/>
                    <a:gd name="connsiteY40" fmla="*/ 0 h 185928"/>
                    <a:gd name="connsiteX41" fmla="*/ 75002 w 149987"/>
                    <a:gd name="connsiteY41" fmla="*/ 0 h 185928"/>
                    <a:gd name="connsiteX42" fmla="*/ 84374 w 149987"/>
                    <a:gd name="connsiteY42" fmla="*/ 0 h 185928"/>
                    <a:gd name="connsiteX43" fmla="*/ 93746 w 149987"/>
                    <a:gd name="connsiteY43" fmla="*/ 0 h 185928"/>
                    <a:gd name="connsiteX44" fmla="*/ 103119 w 149987"/>
                    <a:gd name="connsiteY44" fmla="*/ 0 h 185928"/>
                    <a:gd name="connsiteX45" fmla="*/ 112491 w 149987"/>
                    <a:gd name="connsiteY45" fmla="*/ 0 h 185928"/>
                    <a:gd name="connsiteX46" fmla="*/ 121863 w 149987"/>
                    <a:gd name="connsiteY46" fmla="*/ 0 h 185928"/>
                    <a:gd name="connsiteX47" fmla="*/ 131235 w 149987"/>
                    <a:gd name="connsiteY47" fmla="*/ 0 h 185928"/>
                    <a:gd name="connsiteX48" fmla="*/ 140607 w 149987"/>
                    <a:gd name="connsiteY48" fmla="*/ 0 h 185928"/>
                    <a:gd name="connsiteX49" fmla="*/ 149980 w 149987"/>
                    <a:gd name="connsiteY49" fmla="*/ 0 h 185928"/>
                    <a:gd name="connsiteX50" fmla="*/ 149988 w 149987"/>
                    <a:gd name="connsiteY50" fmla="*/ 4156 h 185928"/>
                    <a:gd name="connsiteX51" fmla="*/ 149988 w 149987"/>
                    <a:gd name="connsiteY51" fmla="*/ 8305 h 185928"/>
                    <a:gd name="connsiteX52" fmla="*/ 149988 w 149987"/>
                    <a:gd name="connsiteY52" fmla="*/ 12461 h 185928"/>
                    <a:gd name="connsiteX53" fmla="*/ 149988 w 149987"/>
                    <a:gd name="connsiteY53" fmla="*/ 16601 h 185928"/>
                    <a:gd name="connsiteX54" fmla="*/ 148953 w 149987"/>
                    <a:gd name="connsiteY54" fmla="*/ 16617 h 185928"/>
                    <a:gd name="connsiteX55" fmla="*/ 148920 w 149987"/>
                    <a:gd name="connsiteY55" fmla="*/ 25949 h 185928"/>
                    <a:gd name="connsiteX56" fmla="*/ 148879 w 149987"/>
                    <a:gd name="connsiteY56" fmla="*/ 35256 h 185928"/>
                    <a:gd name="connsiteX57" fmla="*/ 148847 w 149987"/>
                    <a:gd name="connsiteY57" fmla="*/ 44555 h 185928"/>
                    <a:gd name="connsiteX58" fmla="*/ 148814 w 149987"/>
                    <a:gd name="connsiteY58" fmla="*/ 53829 h 185928"/>
                    <a:gd name="connsiteX59" fmla="*/ 148773 w 149987"/>
                    <a:gd name="connsiteY59" fmla="*/ 63095 h 185928"/>
                    <a:gd name="connsiteX60" fmla="*/ 148741 w 149987"/>
                    <a:gd name="connsiteY60" fmla="*/ 72345 h 185928"/>
                    <a:gd name="connsiteX61" fmla="*/ 148700 w 149987"/>
                    <a:gd name="connsiteY61" fmla="*/ 81579 h 185928"/>
                    <a:gd name="connsiteX62" fmla="*/ 148667 w 149987"/>
                    <a:gd name="connsiteY62" fmla="*/ 90804 h 185928"/>
                    <a:gd name="connsiteX63" fmla="*/ 148627 w 149987"/>
                    <a:gd name="connsiteY63" fmla="*/ 100014 h 185928"/>
                    <a:gd name="connsiteX64" fmla="*/ 148594 w 149987"/>
                    <a:gd name="connsiteY64" fmla="*/ 109206 h 185928"/>
                    <a:gd name="connsiteX65" fmla="*/ 148553 w 149987"/>
                    <a:gd name="connsiteY65" fmla="*/ 118391 h 185928"/>
                    <a:gd name="connsiteX66" fmla="*/ 148513 w 149987"/>
                    <a:gd name="connsiteY66" fmla="*/ 127560 h 185928"/>
                    <a:gd name="connsiteX67" fmla="*/ 148480 w 149987"/>
                    <a:gd name="connsiteY67" fmla="*/ 136712 h 185928"/>
                    <a:gd name="connsiteX68" fmla="*/ 148439 w 149987"/>
                    <a:gd name="connsiteY68" fmla="*/ 145856 h 185928"/>
                    <a:gd name="connsiteX69" fmla="*/ 148407 w 149987"/>
                    <a:gd name="connsiteY69" fmla="*/ 154975 h 185928"/>
                    <a:gd name="connsiteX70" fmla="*/ 148374 w 149987"/>
                    <a:gd name="connsiteY70" fmla="*/ 164095 h 185928"/>
                    <a:gd name="connsiteX71" fmla="*/ 142800 w 149987"/>
                    <a:gd name="connsiteY71" fmla="*/ 164103 h 185928"/>
                    <a:gd name="connsiteX72" fmla="*/ 137225 w 149987"/>
                    <a:gd name="connsiteY72" fmla="*/ 164103 h 185928"/>
                    <a:gd name="connsiteX73" fmla="*/ 131651 w 149987"/>
                    <a:gd name="connsiteY73" fmla="*/ 164103 h 185928"/>
                    <a:gd name="connsiteX74" fmla="*/ 126068 w 149987"/>
                    <a:gd name="connsiteY74" fmla="*/ 164103 h 185928"/>
                    <a:gd name="connsiteX75" fmla="*/ 120494 w 149987"/>
                    <a:gd name="connsiteY75" fmla="*/ 164111 h 185928"/>
                    <a:gd name="connsiteX76" fmla="*/ 114919 w 149987"/>
                    <a:gd name="connsiteY76" fmla="*/ 164111 h 185928"/>
                    <a:gd name="connsiteX77" fmla="*/ 109345 w 149987"/>
                    <a:gd name="connsiteY77" fmla="*/ 164111 h 185928"/>
                    <a:gd name="connsiteX78" fmla="*/ 103771 w 149987"/>
                    <a:gd name="connsiteY78" fmla="*/ 164119 h 185928"/>
                    <a:gd name="connsiteX79" fmla="*/ 98196 w 149987"/>
                    <a:gd name="connsiteY79" fmla="*/ 164119 h 185928"/>
                    <a:gd name="connsiteX80" fmla="*/ 92622 w 149987"/>
                    <a:gd name="connsiteY80" fmla="*/ 164128 h 185928"/>
                    <a:gd name="connsiteX81" fmla="*/ 87047 w 149987"/>
                    <a:gd name="connsiteY81" fmla="*/ 164128 h 185928"/>
                    <a:gd name="connsiteX82" fmla="*/ 81465 w 149987"/>
                    <a:gd name="connsiteY82" fmla="*/ 164128 h 185928"/>
                    <a:gd name="connsiteX83" fmla="*/ 75898 w 149987"/>
                    <a:gd name="connsiteY83" fmla="*/ 164136 h 185928"/>
                    <a:gd name="connsiteX84" fmla="*/ 70316 w 149987"/>
                    <a:gd name="connsiteY84" fmla="*/ 164136 h 185928"/>
                    <a:gd name="connsiteX85" fmla="*/ 64741 w 149987"/>
                    <a:gd name="connsiteY85" fmla="*/ 164136 h 185928"/>
                    <a:gd name="connsiteX86" fmla="*/ 59167 w 149987"/>
                    <a:gd name="connsiteY86" fmla="*/ 164144 h 185928"/>
                    <a:gd name="connsiteX87" fmla="*/ 59020 w 149987"/>
                    <a:gd name="connsiteY87" fmla="*/ 164152 h 185928"/>
                    <a:gd name="connsiteX88" fmla="*/ 61547 w 149987"/>
                    <a:gd name="connsiteY88" fmla="*/ 170028 h 185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49987" h="185928">
                      <a:moveTo>
                        <a:pt x="61547" y="170028"/>
                      </a:moveTo>
                      <a:lnTo>
                        <a:pt x="64546" y="171682"/>
                      </a:lnTo>
                      <a:lnTo>
                        <a:pt x="64350" y="171625"/>
                      </a:lnTo>
                      <a:lnTo>
                        <a:pt x="58898" y="171584"/>
                      </a:lnTo>
                      <a:lnTo>
                        <a:pt x="53446" y="171552"/>
                      </a:lnTo>
                      <a:lnTo>
                        <a:pt x="47994" y="171519"/>
                      </a:lnTo>
                      <a:lnTo>
                        <a:pt x="42542" y="171479"/>
                      </a:lnTo>
                      <a:lnTo>
                        <a:pt x="37089" y="171446"/>
                      </a:lnTo>
                      <a:lnTo>
                        <a:pt x="31637" y="171405"/>
                      </a:lnTo>
                      <a:lnTo>
                        <a:pt x="26185" y="171373"/>
                      </a:lnTo>
                      <a:lnTo>
                        <a:pt x="20733" y="171332"/>
                      </a:lnTo>
                      <a:lnTo>
                        <a:pt x="20717" y="174967"/>
                      </a:lnTo>
                      <a:lnTo>
                        <a:pt x="20700" y="178601"/>
                      </a:lnTo>
                      <a:lnTo>
                        <a:pt x="20684" y="182244"/>
                      </a:lnTo>
                      <a:lnTo>
                        <a:pt x="20676" y="185871"/>
                      </a:lnTo>
                      <a:lnTo>
                        <a:pt x="11899" y="185895"/>
                      </a:lnTo>
                      <a:lnTo>
                        <a:pt x="3138" y="185912"/>
                      </a:lnTo>
                      <a:lnTo>
                        <a:pt x="0" y="185928"/>
                      </a:lnTo>
                      <a:lnTo>
                        <a:pt x="8" y="174445"/>
                      </a:lnTo>
                      <a:lnTo>
                        <a:pt x="8" y="162962"/>
                      </a:lnTo>
                      <a:lnTo>
                        <a:pt x="16" y="151471"/>
                      </a:lnTo>
                      <a:lnTo>
                        <a:pt x="16" y="139947"/>
                      </a:lnTo>
                      <a:lnTo>
                        <a:pt x="16" y="128407"/>
                      </a:lnTo>
                      <a:lnTo>
                        <a:pt x="16" y="116843"/>
                      </a:lnTo>
                      <a:lnTo>
                        <a:pt x="16" y="105262"/>
                      </a:lnTo>
                      <a:lnTo>
                        <a:pt x="16" y="93649"/>
                      </a:lnTo>
                      <a:lnTo>
                        <a:pt x="16" y="82027"/>
                      </a:lnTo>
                      <a:lnTo>
                        <a:pt x="16" y="70373"/>
                      </a:lnTo>
                      <a:lnTo>
                        <a:pt x="16" y="58703"/>
                      </a:lnTo>
                      <a:lnTo>
                        <a:pt x="24" y="47008"/>
                      </a:lnTo>
                      <a:lnTo>
                        <a:pt x="24" y="35288"/>
                      </a:lnTo>
                      <a:lnTo>
                        <a:pt x="24" y="23553"/>
                      </a:lnTo>
                      <a:lnTo>
                        <a:pt x="24" y="11785"/>
                      </a:lnTo>
                      <a:lnTo>
                        <a:pt x="24" y="0"/>
                      </a:lnTo>
                      <a:lnTo>
                        <a:pt x="9405" y="0"/>
                      </a:lnTo>
                      <a:lnTo>
                        <a:pt x="18769" y="0"/>
                      </a:lnTo>
                      <a:lnTo>
                        <a:pt x="28149" y="0"/>
                      </a:lnTo>
                      <a:lnTo>
                        <a:pt x="37521" y="0"/>
                      </a:lnTo>
                      <a:lnTo>
                        <a:pt x="46885" y="0"/>
                      </a:lnTo>
                      <a:lnTo>
                        <a:pt x="56258" y="0"/>
                      </a:lnTo>
                      <a:lnTo>
                        <a:pt x="65630" y="0"/>
                      </a:lnTo>
                      <a:lnTo>
                        <a:pt x="75002" y="0"/>
                      </a:lnTo>
                      <a:lnTo>
                        <a:pt x="84374" y="0"/>
                      </a:lnTo>
                      <a:lnTo>
                        <a:pt x="93746" y="0"/>
                      </a:lnTo>
                      <a:lnTo>
                        <a:pt x="103119" y="0"/>
                      </a:lnTo>
                      <a:lnTo>
                        <a:pt x="112491" y="0"/>
                      </a:lnTo>
                      <a:lnTo>
                        <a:pt x="121863" y="0"/>
                      </a:lnTo>
                      <a:lnTo>
                        <a:pt x="131235" y="0"/>
                      </a:lnTo>
                      <a:lnTo>
                        <a:pt x="140607" y="0"/>
                      </a:lnTo>
                      <a:lnTo>
                        <a:pt x="149980" y="0"/>
                      </a:lnTo>
                      <a:lnTo>
                        <a:pt x="149988" y="4156"/>
                      </a:lnTo>
                      <a:lnTo>
                        <a:pt x="149988" y="8305"/>
                      </a:lnTo>
                      <a:lnTo>
                        <a:pt x="149988" y="12461"/>
                      </a:lnTo>
                      <a:lnTo>
                        <a:pt x="149988" y="16601"/>
                      </a:lnTo>
                      <a:lnTo>
                        <a:pt x="148953" y="16617"/>
                      </a:lnTo>
                      <a:lnTo>
                        <a:pt x="148920" y="25949"/>
                      </a:lnTo>
                      <a:lnTo>
                        <a:pt x="148879" y="35256"/>
                      </a:lnTo>
                      <a:lnTo>
                        <a:pt x="148847" y="44555"/>
                      </a:lnTo>
                      <a:lnTo>
                        <a:pt x="148814" y="53829"/>
                      </a:lnTo>
                      <a:lnTo>
                        <a:pt x="148773" y="63095"/>
                      </a:lnTo>
                      <a:lnTo>
                        <a:pt x="148741" y="72345"/>
                      </a:lnTo>
                      <a:lnTo>
                        <a:pt x="148700" y="81579"/>
                      </a:lnTo>
                      <a:lnTo>
                        <a:pt x="148667" y="90804"/>
                      </a:lnTo>
                      <a:lnTo>
                        <a:pt x="148627" y="100014"/>
                      </a:lnTo>
                      <a:lnTo>
                        <a:pt x="148594" y="109206"/>
                      </a:lnTo>
                      <a:lnTo>
                        <a:pt x="148553" y="118391"/>
                      </a:lnTo>
                      <a:lnTo>
                        <a:pt x="148513" y="127560"/>
                      </a:lnTo>
                      <a:lnTo>
                        <a:pt x="148480" y="136712"/>
                      </a:lnTo>
                      <a:lnTo>
                        <a:pt x="148439" y="145856"/>
                      </a:lnTo>
                      <a:lnTo>
                        <a:pt x="148407" y="154975"/>
                      </a:lnTo>
                      <a:lnTo>
                        <a:pt x="148374" y="164095"/>
                      </a:lnTo>
                      <a:lnTo>
                        <a:pt x="142800" y="164103"/>
                      </a:lnTo>
                      <a:lnTo>
                        <a:pt x="137225" y="164103"/>
                      </a:lnTo>
                      <a:lnTo>
                        <a:pt x="131651" y="164103"/>
                      </a:lnTo>
                      <a:lnTo>
                        <a:pt x="126068" y="164103"/>
                      </a:lnTo>
                      <a:lnTo>
                        <a:pt x="120494" y="164111"/>
                      </a:lnTo>
                      <a:lnTo>
                        <a:pt x="114919" y="164111"/>
                      </a:lnTo>
                      <a:lnTo>
                        <a:pt x="109345" y="164111"/>
                      </a:lnTo>
                      <a:lnTo>
                        <a:pt x="103771" y="164119"/>
                      </a:lnTo>
                      <a:lnTo>
                        <a:pt x="98196" y="164119"/>
                      </a:lnTo>
                      <a:lnTo>
                        <a:pt x="92622" y="164128"/>
                      </a:lnTo>
                      <a:lnTo>
                        <a:pt x="87047" y="164128"/>
                      </a:lnTo>
                      <a:lnTo>
                        <a:pt x="81465" y="164128"/>
                      </a:lnTo>
                      <a:lnTo>
                        <a:pt x="75898" y="164136"/>
                      </a:lnTo>
                      <a:lnTo>
                        <a:pt x="70316" y="164136"/>
                      </a:lnTo>
                      <a:lnTo>
                        <a:pt x="64741" y="164136"/>
                      </a:lnTo>
                      <a:lnTo>
                        <a:pt x="59167" y="164144"/>
                      </a:lnTo>
                      <a:lnTo>
                        <a:pt x="59020" y="164152"/>
                      </a:lnTo>
                      <a:lnTo>
                        <a:pt x="61547" y="170028"/>
                      </a:lnTo>
                      <a:close/>
                    </a:path>
                  </a:pathLst>
                </a:custGeom>
                <a:solidFill>
                  <a:srgbClr val="D6D6D2"/>
                </a:solidFill>
                <a:ln w="6112" cap="rnd">
                  <a:solidFill>
                    <a:srgbClr val="FFFFFF"/>
                  </a:solidFill>
                  <a:prstDash val="solid"/>
                  <a:round/>
                </a:ln>
              </p:spPr>
              <p:txBody>
                <a:bodyPr rtlCol="0" anchor="ctr"/>
                <a:lstStyle/>
                <a:p>
                  <a:endParaRPr lang="en-US"/>
                </a:p>
              </p:txBody>
            </p:sp>
            <p:sp>
              <p:nvSpPr>
                <p:cNvPr id="443" name="Freeform: Shape 442">
                  <a:extLst>
                    <a:ext uri="{FF2B5EF4-FFF2-40B4-BE49-F238E27FC236}">
                      <a16:creationId xmlns:a16="http://schemas.microsoft.com/office/drawing/2014/main" id="{D35760C6-1031-4C1F-AB46-5691368F5BBA}"/>
                    </a:ext>
                  </a:extLst>
                </p:cNvPr>
                <p:cNvSpPr/>
                <p:nvPr/>
              </p:nvSpPr>
              <p:spPr>
                <a:xfrm>
                  <a:off x="4070449" y="3229577"/>
                  <a:ext cx="40039" cy="82018"/>
                </a:xfrm>
                <a:custGeom>
                  <a:avLst/>
                  <a:gdLst>
                    <a:gd name="connsiteX0" fmla="*/ 31825 w 40039"/>
                    <a:gd name="connsiteY0" fmla="*/ 30741 h 82018"/>
                    <a:gd name="connsiteX1" fmla="*/ 36576 w 40039"/>
                    <a:gd name="connsiteY1" fmla="*/ 31645 h 82018"/>
                    <a:gd name="connsiteX2" fmla="*/ 37855 w 40039"/>
                    <a:gd name="connsiteY2" fmla="*/ 30888 h 82018"/>
                    <a:gd name="connsiteX3" fmla="*/ 38508 w 40039"/>
                    <a:gd name="connsiteY3" fmla="*/ 32648 h 82018"/>
                    <a:gd name="connsiteX4" fmla="*/ 38874 w 40039"/>
                    <a:gd name="connsiteY4" fmla="*/ 35093 h 82018"/>
                    <a:gd name="connsiteX5" fmla="*/ 38515 w 40039"/>
                    <a:gd name="connsiteY5" fmla="*/ 37733 h 82018"/>
                    <a:gd name="connsiteX6" fmla="*/ 37725 w 40039"/>
                    <a:gd name="connsiteY6" fmla="*/ 40423 h 82018"/>
                    <a:gd name="connsiteX7" fmla="*/ 37122 w 40039"/>
                    <a:gd name="connsiteY7" fmla="*/ 43756 h 82018"/>
                    <a:gd name="connsiteX8" fmla="*/ 36609 w 40039"/>
                    <a:gd name="connsiteY8" fmla="*/ 48850 h 82018"/>
                    <a:gd name="connsiteX9" fmla="*/ 35842 w 40039"/>
                    <a:gd name="connsiteY9" fmla="*/ 53422 h 82018"/>
                    <a:gd name="connsiteX10" fmla="*/ 35736 w 40039"/>
                    <a:gd name="connsiteY10" fmla="*/ 52036 h 82018"/>
                    <a:gd name="connsiteX11" fmla="*/ 36226 w 40039"/>
                    <a:gd name="connsiteY11" fmla="*/ 46470 h 82018"/>
                    <a:gd name="connsiteX12" fmla="*/ 35443 w 40039"/>
                    <a:gd name="connsiteY12" fmla="*/ 47048 h 82018"/>
                    <a:gd name="connsiteX13" fmla="*/ 34913 w 40039"/>
                    <a:gd name="connsiteY13" fmla="*/ 48336 h 82018"/>
                    <a:gd name="connsiteX14" fmla="*/ 33463 w 40039"/>
                    <a:gd name="connsiteY14" fmla="*/ 55500 h 82018"/>
                    <a:gd name="connsiteX15" fmla="*/ 31466 w 40039"/>
                    <a:gd name="connsiteY15" fmla="*/ 59314 h 82018"/>
                    <a:gd name="connsiteX16" fmla="*/ 29632 w 40039"/>
                    <a:gd name="connsiteY16" fmla="*/ 61946 h 82018"/>
                    <a:gd name="connsiteX17" fmla="*/ 27742 w 40039"/>
                    <a:gd name="connsiteY17" fmla="*/ 61514 h 82018"/>
                    <a:gd name="connsiteX18" fmla="*/ 28165 w 40039"/>
                    <a:gd name="connsiteY18" fmla="*/ 63609 h 82018"/>
                    <a:gd name="connsiteX19" fmla="*/ 27644 w 40039"/>
                    <a:gd name="connsiteY19" fmla="*/ 64701 h 82018"/>
                    <a:gd name="connsiteX20" fmla="*/ 27196 w 40039"/>
                    <a:gd name="connsiteY20" fmla="*/ 66983 h 82018"/>
                    <a:gd name="connsiteX21" fmla="*/ 26063 w 40039"/>
                    <a:gd name="connsiteY21" fmla="*/ 68490 h 82018"/>
                    <a:gd name="connsiteX22" fmla="*/ 24995 w 40039"/>
                    <a:gd name="connsiteY22" fmla="*/ 68344 h 82018"/>
                    <a:gd name="connsiteX23" fmla="*/ 23471 w 40039"/>
                    <a:gd name="connsiteY23" fmla="*/ 69387 h 82018"/>
                    <a:gd name="connsiteX24" fmla="*/ 22868 w 40039"/>
                    <a:gd name="connsiteY24" fmla="*/ 70177 h 82018"/>
                    <a:gd name="connsiteX25" fmla="*/ 22827 w 40039"/>
                    <a:gd name="connsiteY25" fmla="*/ 71693 h 82018"/>
                    <a:gd name="connsiteX26" fmla="*/ 21800 w 40039"/>
                    <a:gd name="connsiteY26" fmla="*/ 73038 h 82018"/>
                    <a:gd name="connsiteX27" fmla="*/ 18117 w 40039"/>
                    <a:gd name="connsiteY27" fmla="*/ 79981 h 82018"/>
                    <a:gd name="connsiteX28" fmla="*/ 14914 w 40039"/>
                    <a:gd name="connsiteY28" fmla="*/ 82019 h 82018"/>
                    <a:gd name="connsiteX29" fmla="*/ 14148 w 40039"/>
                    <a:gd name="connsiteY29" fmla="*/ 81726 h 82018"/>
                    <a:gd name="connsiteX30" fmla="*/ 14987 w 40039"/>
                    <a:gd name="connsiteY30" fmla="*/ 78449 h 82018"/>
                    <a:gd name="connsiteX31" fmla="*/ 15566 w 40039"/>
                    <a:gd name="connsiteY31" fmla="*/ 75141 h 82018"/>
                    <a:gd name="connsiteX32" fmla="*/ 13626 w 40039"/>
                    <a:gd name="connsiteY32" fmla="*/ 73690 h 82018"/>
                    <a:gd name="connsiteX33" fmla="*/ 11760 w 40039"/>
                    <a:gd name="connsiteY33" fmla="*/ 72932 h 82018"/>
                    <a:gd name="connsiteX34" fmla="*/ 9633 w 40039"/>
                    <a:gd name="connsiteY34" fmla="*/ 73030 h 82018"/>
                    <a:gd name="connsiteX35" fmla="*/ 7278 w 40039"/>
                    <a:gd name="connsiteY35" fmla="*/ 70454 h 82018"/>
                    <a:gd name="connsiteX36" fmla="*/ 4238 w 40039"/>
                    <a:gd name="connsiteY36" fmla="*/ 68580 h 82018"/>
                    <a:gd name="connsiteX37" fmla="*/ 0 w 40039"/>
                    <a:gd name="connsiteY37" fmla="*/ 63503 h 82018"/>
                    <a:gd name="connsiteX38" fmla="*/ 122 w 40039"/>
                    <a:gd name="connsiteY38" fmla="*/ 62093 h 82018"/>
                    <a:gd name="connsiteX39" fmla="*/ 16 w 40039"/>
                    <a:gd name="connsiteY39" fmla="*/ 59721 h 82018"/>
                    <a:gd name="connsiteX40" fmla="*/ 1312 w 40039"/>
                    <a:gd name="connsiteY40" fmla="*/ 55981 h 82018"/>
                    <a:gd name="connsiteX41" fmla="*/ 2543 w 40039"/>
                    <a:gd name="connsiteY41" fmla="*/ 53364 h 82018"/>
                    <a:gd name="connsiteX42" fmla="*/ 4246 w 40039"/>
                    <a:gd name="connsiteY42" fmla="*/ 52003 h 82018"/>
                    <a:gd name="connsiteX43" fmla="*/ 9193 w 40039"/>
                    <a:gd name="connsiteY43" fmla="*/ 50626 h 82018"/>
                    <a:gd name="connsiteX44" fmla="*/ 10432 w 40039"/>
                    <a:gd name="connsiteY44" fmla="*/ 48548 h 82018"/>
                    <a:gd name="connsiteX45" fmla="*/ 11173 w 40039"/>
                    <a:gd name="connsiteY45" fmla="*/ 46788 h 82018"/>
                    <a:gd name="connsiteX46" fmla="*/ 12420 w 40039"/>
                    <a:gd name="connsiteY46" fmla="*/ 45639 h 82018"/>
                    <a:gd name="connsiteX47" fmla="*/ 15256 w 40039"/>
                    <a:gd name="connsiteY47" fmla="*/ 43528 h 82018"/>
                    <a:gd name="connsiteX48" fmla="*/ 19584 w 40039"/>
                    <a:gd name="connsiteY48" fmla="*/ 40985 h 82018"/>
                    <a:gd name="connsiteX49" fmla="*/ 13594 w 40039"/>
                    <a:gd name="connsiteY49" fmla="*/ 32452 h 82018"/>
                    <a:gd name="connsiteX50" fmla="*/ 12167 w 40039"/>
                    <a:gd name="connsiteY50" fmla="*/ 31955 h 82018"/>
                    <a:gd name="connsiteX51" fmla="*/ 10595 w 40039"/>
                    <a:gd name="connsiteY51" fmla="*/ 27782 h 82018"/>
                    <a:gd name="connsiteX52" fmla="*/ 8785 w 40039"/>
                    <a:gd name="connsiteY52" fmla="*/ 26633 h 82018"/>
                    <a:gd name="connsiteX53" fmla="*/ 8329 w 40039"/>
                    <a:gd name="connsiteY53" fmla="*/ 25981 h 82018"/>
                    <a:gd name="connsiteX54" fmla="*/ 8247 w 40039"/>
                    <a:gd name="connsiteY54" fmla="*/ 22778 h 82018"/>
                    <a:gd name="connsiteX55" fmla="*/ 8410 w 40039"/>
                    <a:gd name="connsiteY55" fmla="*/ 20945 h 82018"/>
                    <a:gd name="connsiteX56" fmla="*/ 8687 w 40039"/>
                    <a:gd name="connsiteY56" fmla="*/ 19861 h 82018"/>
                    <a:gd name="connsiteX57" fmla="*/ 10244 w 40039"/>
                    <a:gd name="connsiteY57" fmla="*/ 18956 h 82018"/>
                    <a:gd name="connsiteX58" fmla="*/ 11141 w 40039"/>
                    <a:gd name="connsiteY58" fmla="*/ 17106 h 82018"/>
                    <a:gd name="connsiteX59" fmla="*/ 11157 w 40039"/>
                    <a:gd name="connsiteY59" fmla="*/ 16145 h 82018"/>
                    <a:gd name="connsiteX60" fmla="*/ 9967 w 40039"/>
                    <a:gd name="connsiteY60" fmla="*/ 13170 h 82018"/>
                    <a:gd name="connsiteX61" fmla="*/ 9959 w 40039"/>
                    <a:gd name="connsiteY61" fmla="*/ 12241 h 82018"/>
                    <a:gd name="connsiteX62" fmla="*/ 12233 w 40039"/>
                    <a:gd name="connsiteY62" fmla="*/ 10440 h 82018"/>
                    <a:gd name="connsiteX63" fmla="*/ 15191 w 40039"/>
                    <a:gd name="connsiteY63" fmla="*/ 6903 h 82018"/>
                    <a:gd name="connsiteX64" fmla="*/ 16951 w 40039"/>
                    <a:gd name="connsiteY64" fmla="*/ 3032 h 82018"/>
                    <a:gd name="connsiteX65" fmla="*/ 17660 w 40039"/>
                    <a:gd name="connsiteY65" fmla="*/ 1907 h 82018"/>
                    <a:gd name="connsiteX66" fmla="*/ 18524 w 40039"/>
                    <a:gd name="connsiteY66" fmla="*/ 1100 h 82018"/>
                    <a:gd name="connsiteX67" fmla="*/ 20480 w 40039"/>
                    <a:gd name="connsiteY67" fmla="*/ 0 h 82018"/>
                    <a:gd name="connsiteX68" fmla="*/ 22933 w 40039"/>
                    <a:gd name="connsiteY68" fmla="*/ 1565 h 82018"/>
                    <a:gd name="connsiteX69" fmla="*/ 25386 w 40039"/>
                    <a:gd name="connsiteY69" fmla="*/ 3113 h 82018"/>
                    <a:gd name="connsiteX70" fmla="*/ 27839 w 40039"/>
                    <a:gd name="connsiteY70" fmla="*/ 4678 h 82018"/>
                    <a:gd name="connsiteX71" fmla="*/ 30292 w 40039"/>
                    <a:gd name="connsiteY71" fmla="*/ 6235 h 82018"/>
                    <a:gd name="connsiteX72" fmla="*/ 32746 w 40039"/>
                    <a:gd name="connsiteY72" fmla="*/ 7791 h 82018"/>
                    <a:gd name="connsiteX73" fmla="*/ 35207 w 40039"/>
                    <a:gd name="connsiteY73" fmla="*/ 9356 h 82018"/>
                    <a:gd name="connsiteX74" fmla="*/ 37660 w 40039"/>
                    <a:gd name="connsiteY74" fmla="*/ 10913 h 82018"/>
                    <a:gd name="connsiteX75" fmla="*/ 40040 w 40039"/>
                    <a:gd name="connsiteY75" fmla="*/ 12453 h 82018"/>
                    <a:gd name="connsiteX76" fmla="*/ 39616 w 40039"/>
                    <a:gd name="connsiteY76" fmla="*/ 15118 h 82018"/>
                    <a:gd name="connsiteX77" fmla="*/ 37179 w 40039"/>
                    <a:gd name="connsiteY77" fmla="*/ 20497 h 82018"/>
                    <a:gd name="connsiteX78" fmla="*/ 36136 w 40039"/>
                    <a:gd name="connsiteY78" fmla="*/ 21743 h 82018"/>
                    <a:gd name="connsiteX79" fmla="*/ 34930 w 40039"/>
                    <a:gd name="connsiteY79" fmla="*/ 22844 h 82018"/>
                    <a:gd name="connsiteX80" fmla="*/ 34009 w 40039"/>
                    <a:gd name="connsiteY80" fmla="*/ 23325 h 82018"/>
                    <a:gd name="connsiteX81" fmla="*/ 33169 w 40039"/>
                    <a:gd name="connsiteY81" fmla="*/ 24180 h 82018"/>
                    <a:gd name="connsiteX82" fmla="*/ 32183 w 40039"/>
                    <a:gd name="connsiteY82" fmla="*/ 25549 h 82018"/>
                    <a:gd name="connsiteX83" fmla="*/ 31254 w 40039"/>
                    <a:gd name="connsiteY83" fmla="*/ 28247 h 82018"/>
                    <a:gd name="connsiteX84" fmla="*/ 31825 w 40039"/>
                    <a:gd name="connsiteY84" fmla="*/ 30741 h 82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40039" h="82018">
                      <a:moveTo>
                        <a:pt x="31825" y="30741"/>
                      </a:moveTo>
                      <a:lnTo>
                        <a:pt x="36576" y="31645"/>
                      </a:lnTo>
                      <a:lnTo>
                        <a:pt x="37855" y="30888"/>
                      </a:lnTo>
                      <a:lnTo>
                        <a:pt x="38508" y="32648"/>
                      </a:lnTo>
                      <a:lnTo>
                        <a:pt x="38874" y="35093"/>
                      </a:lnTo>
                      <a:lnTo>
                        <a:pt x="38515" y="37733"/>
                      </a:lnTo>
                      <a:lnTo>
                        <a:pt x="37725" y="40423"/>
                      </a:lnTo>
                      <a:lnTo>
                        <a:pt x="37122" y="43756"/>
                      </a:lnTo>
                      <a:lnTo>
                        <a:pt x="36609" y="48850"/>
                      </a:lnTo>
                      <a:lnTo>
                        <a:pt x="35842" y="53422"/>
                      </a:lnTo>
                      <a:lnTo>
                        <a:pt x="35736" y="52036"/>
                      </a:lnTo>
                      <a:lnTo>
                        <a:pt x="36226" y="46470"/>
                      </a:lnTo>
                      <a:lnTo>
                        <a:pt x="35443" y="47048"/>
                      </a:lnTo>
                      <a:lnTo>
                        <a:pt x="34913" y="48336"/>
                      </a:lnTo>
                      <a:lnTo>
                        <a:pt x="33463" y="55500"/>
                      </a:lnTo>
                      <a:lnTo>
                        <a:pt x="31466" y="59314"/>
                      </a:lnTo>
                      <a:lnTo>
                        <a:pt x="29632" y="61946"/>
                      </a:lnTo>
                      <a:lnTo>
                        <a:pt x="27742" y="61514"/>
                      </a:lnTo>
                      <a:lnTo>
                        <a:pt x="28165" y="63609"/>
                      </a:lnTo>
                      <a:lnTo>
                        <a:pt x="27644" y="64701"/>
                      </a:lnTo>
                      <a:lnTo>
                        <a:pt x="27196" y="66983"/>
                      </a:lnTo>
                      <a:lnTo>
                        <a:pt x="26063" y="68490"/>
                      </a:lnTo>
                      <a:lnTo>
                        <a:pt x="24995" y="68344"/>
                      </a:lnTo>
                      <a:lnTo>
                        <a:pt x="23471" y="69387"/>
                      </a:lnTo>
                      <a:lnTo>
                        <a:pt x="22868" y="70177"/>
                      </a:lnTo>
                      <a:lnTo>
                        <a:pt x="22827" y="71693"/>
                      </a:lnTo>
                      <a:lnTo>
                        <a:pt x="21800" y="73038"/>
                      </a:lnTo>
                      <a:lnTo>
                        <a:pt x="18117" y="79981"/>
                      </a:lnTo>
                      <a:lnTo>
                        <a:pt x="14914" y="82019"/>
                      </a:lnTo>
                      <a:lnTo>
                        <a:pt x="14148" y="81726"/>
                      </a:lnTo>
                      <a:lnTo>
                        <a:pt x="14987" y="78449"/>
                      </a:lnTo>
                      <a:lnTo>
                        <a:pt x="15566" y="75141"/>
                      </a:lnTo>
                      <a:lnTo>
                        <a:pt x="13626" y="73690"/>
                      </a:lnTo>
                      <a:lnTo>
                        <a:pt x="11760" y="72932"/>
                      </a:lnTo>
                      <a:lnTo>
                        <a:pt x="9633" y="73030"/>
                      </a:lnTo>
                      <a:lnTo>
                        <a:pt x="7278" y="70454"/>
                      </a:lnTo>
                      <a:lnTo>
                        <a:pt x="4238" y="68580"/>
                      </a:lnTo>
                      <a:lnTo>
                        <a:pt x="0" y="63503"/>
                      </a:lnTo>
                      <a:lnTo>
                        <a:pt x="122" y="62093"/>
                      </a:lnTo>
                      <a:lnTo>
                        <a:pt x="16" y="59721"/>
                      </a:lnTo>
                      <a:lnTo>
                        <a:pt x="1312" y="55981"/>
                      </a:lnTo>
                      <a:lnTo>
                        <a:pt x="2543" y="53364"/>
                      </a:lnTo>
                      <a:lnTo>
                        <a:pt x="4246" y="52003"/>
                      </a:lnTo>
                      <a:lnTo>
                        <a:pt x="9193" y="50626"/>
                      </a:lnTo>
                      <a:lnTo>
                        <a:pt x="10432" y="48548"/>
                      </a:lnTo>
                      <a:lnTo>
                        <a:pt x="11173" y="46788"/>
                      </a:lnTo>
                      <a:lnTo>
                        <a:pt x="12420" y="45639"/>
                      </a:lnTo>
                      <a:lnTo>
                        <a:pt x="15256" y="43528"/>
                      </a:lnTo>
                      <a:lnTo>
                        <a:pt x="19584" y="40985"/>
                      </a:lnTo>
                      <a:lnTo>
                        <a:pt x="13594" y="32452"/>
                      </a:lnTo>
                      <a:lnTo>
                        <a:pt x="12167" y="31955"/>
                      </a:lnTo>
                      <a:lnTo>
                        <a:pt x="10595" y="27782"/>
                      </a:lnTo>
                      <a:lnTo>
                        <a:pt x="8785" y="26633"/>
                      </a:lnTo>
                      <a:lnTo>
                        <a:pt x="8329" y="25981"/>
                      </a:lnTo>
                      <a:lnTo>
                        <a:pt x="8247" y="22778"/>
                      </a:lnTo>
                      <a:lnTo>
                        <a:pt x="8410" y="20945"/>
                      </a:lnTo>
                      <a:lnTo>
                        <a:pt x="8687" y="19861"/>
                      </a:lnTo>
                      <a:lnTo>
                        <a:pt x="10244" y="18956"/>
                      </a:lnTo>
                      <a:lnTo>
                        <a:pt x="11141" y="17106"/>
                      </a:lnTo>
                      <a:lnTo>
                        <a:pt x="11157" y="16145"/>
                      </a:lnTo>
                      <a:lnTo>
                        <a:pt x="9967" y="13170"/>
                      </a:lnTo>
                      <a:lnTo>
                        <a:pt x="9959" y="12241"/>
                      </a:lnTo>
                      <a:lnTo>
                        <a:pt x="12233" y="10440"/>
                      </a:lnTo>
                      <a:lnTo>
                        <a:pt x="15191" y="6903"/>
                      </a:lnTo>
                      <a:lnTo>
                        <a:pt x="16951" y="3032"/>
                      </a:lnTo>
                      <a:lnTo>
                        <a:pt x="17660" y="1907"/>
                      </a:lnTo>
                      <a:lnTo>
                        <a:pt x="18524" y="1100"/>
                      </a:lnTo>
                      <a:lnTo>
                        <a:pt x="20480" y="0"/>
                      </a:lnTo>
                      <a:lnTo>
                        <a:pt x="22933" y="1565"/>
                      </a:lnTo>
                      <a:lnTo>
                        <a:pt x="25386" y="3113"/>
                      </a:lnTo>
                      <a:lnTo>
                        <a:pt x="27839" y="4678"/>
                      </a:lnTo>
                      <a:lnTo>
                        <a:pt x="30292" y="6235"/>
                      </a:lnTo>
                      <a:lnTo>
                        <a:pt x="32746" y="7791"/>
                      </a:lnTo>
                      <a:lnTo>
                        <a:pt x="35207" y="9356"/>
                      </a:lnTo>
                      <a:lnTo>
                        <a:pt x="37660" y="10913"/>
                      </a:lnTo>
                      <a:lnTo>
                        <a:pt x="40040" y="12453"/>
                      </a:lnTo>
                      <a:lnTo>
                        <a:pt x="39616" y="15118"/>
                      </a:lnTo>
                      <a:lnTo>
                        <a:pt x="37179" y="20497"/>
                      </a:lnTo>
                      <a:lnTo>
                        <a:pt x="36136" y="21743"/>
                      </a:lnTo>
                      <a:lnTo>
                        <a:pt x="34930" y="22844"/>
                      </a:lnTo>
                      <a:lnTo>
                        <a:pt x="34009" y="23325"/>
                      </a:lnTo>
                      <a:lnTo>
                        <a:pt x="33169" y="24180"/>
                      </a:lnTo>
                      <a:lnTo>
                        <a:pt x="32183" y="25549"/>
                      </a:lnTo>
                      <a:lnTo>
                        <a:pt x="31254" y="28247"/>
                      </a:lnTo>
                      <a:lnTo>
                        <a:pt x="31825" y="30741"/>
                      </a:lnTo>
                      <a:close/>
                    </a:path>
                  </a:pathLst>
                </a:custGeom>
                <a:solidFill>
                  <a:srgbClr val="D6D6D2"/>
                </a:solidFill>
                <a:ln w="8150" cap="flat">
                  <a:noFill/>
                  <a:prstDash val="solid"/>
                  <a:miter/>
                </a:ln>
              </p:spPr>
              <p:txBody>
                <a:bodyPr rtlCol="0" anchor="ctr"/>
                <a:lstStyle/>
                <a:p>
                  <a:endParaRPr lang="en-US"/>
                </a:p>
              </p:txBody>
            </p:sp>
            <p:sp>
              <p:nvSpPr>
                <p:cNvPr id="444" name="Freeform: Shape 443">
                  <a:extLst>
                    <a:ext uri="{FF2B5EF4-FFF2-40B4-BE49-F238E27FC236}">
                      <a16:creationId xmlns:a16="http://schemas.microsoft.com/office/drawing/2014/main" id="{D365A629-5E73-40A2-82A3-5BA2344B1E08}"/>
                    </a:ext>
                  </a:extLst>
                </p:cNvPr>
                <p:cNvSpPr/>
                <p:nvPr/>
              </p:nvSpPr>
              <p:spPr>
                <a:xfrm>
                  <a:off x="4144155" y="3093110"/>
                  <a:ext cx="45133" cy="90258"/>
                </a:xfrm>
                <a:custGeom>
                  <a:avLst/>
                  <a:gdLst>
                    <a:gd name="connsiteX0" fmla="*/ 36421 w 45133"/>
                    <a:gd name="connsiteY0" fmla="*/ 0 h 90258"/>
                    <a:gd name="connsiteX1" fmla="*/ 36600 w 45133"/>
                    <a:gd name="connsiteY1" fmla="*/ 3488 h 90258"/>
                    <a:gd name="connsiteX2" fmla="*/ 36788 w 45133"/>
                    <a:gd name="connsiteY2" fmla="*/ 7384 h 90258"/>
                    <a:gd name="connsiteX3" fmla="*/ 36975 w 45133"/>
                    <a:gd name="connsiteY3" fmla="*/ 11271 h 90258"/>
                    <a:gd name="connsiteX4" fmla="*/ 37163 w 45133"/>
                    <a:gd name="connsiteY4" fmla="*/ 15159 h 90258"/>
                    <a:gd name="connsiteX5" fmla="*/ 37358 w 45133"/>
                    <a:gd name="connsiteY5" fmla="*/ 19038 h 90258"/>
                    <a:gd name="connsiteX6" fmla="*/ 37546 w 45133"/>
                    <a:gd name="connsiteY6" fmla="*/ 22917 h 90258"/>
                    <a:gd name="connsiteX7" fmla="*/ 37733 w 45133"/>
                    <a:gd name="connsiteY7" fmla="*/ 26796 h 90258"/>
                    <a:gd name="connsiteX8" fmla="*/ 37929 w 45133"/>
                    <a:gd name="connsiteY8" fmla="*/ 30667 h 90258"/>
                    <a:gd name="connsiteX9" fmla="*/ 38116 w 45133"/>
                    <a:gd name="connsiteY9" fmla="*/ 34538 h 90258"/>
                    <a:gd name="connsiteX10" fmla="*/ 38304 w 45133"/>
                    <a:gd name="connsiteY10" fmla="*/ 38401 h 90258"/>
                    <a:gd name="connsiteX11" fmla="*/ 38499 w 45133"/>
                    <a:gd name="connsiteY11" fmla="*/ 42273 h 90258"/>
                    <a:gd name="connsiteX12" fmla="*/ 38687 w 45133"/>
                    <a:gd name="connsiteY12" fmla="*/ 46136 h 90258"/>
                    <a:gd name="connsiteX13" fmla="*/ 38874 w 45133"/>
                    <a:gd name="connsiteY13" fmla="*/ 49990 h 90258"/>
                    <a:gd name="connsiteX14" fmla="*/ 39062 w 45133"/>
                    <a:gd name="connsiteY14" fmla="*/ 53845 h 90258"/>
                    <a:gd name="connsiteX15" fmla="*/ 39257 w 45133"/>
                    <a:gd name="connsiteY15" fmla="*/ 57700 h 90258"/>
                    <a:gd name="connsiteX16" fmla="*/ 39445 w 45133"/>
                    <a:gd name="connsiteY16" fmla="*/ 61547 h 90258"/>
                    <a:gd name="connsiteX17" fmla="*/ 39322 w 45133"/>
                    <a:gd name="connsiteY17" fmla="*/ 64114 h 90258"/>
                    <a:gd name="connsiteX18" fmla="*/ 39616 w 45133"/>
                    <a:gd name="connsiteY18" fmla="*/ 66502 h 90258"/>
                    <a:gd name="connsiteX19" fmla="*/ 40504 w 45133"/>
                    <a:gd name="connsiteY19" fmla="*/ 68621 h 90258"/>
                    <a:gd name="connsiteX20" fmla="*/ 42753 w 45133"/>
                    <a:gd name="connsiteY20" fmla="*/ 71709 h 90258"/>
                    <a:gd name="connsiteX21" fmla="*/ 43153 w 45133"/>
                    <a:gd name="connsiteY21" fmla="*/ 74317 h 90258"/>
                    <a:gd name="connsiteX22" fmla="*/ 45133 w 45133"/>
                    <a:gd name="connsiteY22" fmla="*/ 77561 h 90258"/>
                    <a:gd name="connsiteX23" fmla="*/ 44025 w 45133"/>
                    <a:gd name="connsiteY23" fmla="*/ 82035 h 90258"/>
                    <a:gd name="connsiteX24" fmla="*/ 43316 w 45133"/>
                    <a:gd name="connsiteY24" fmla="*/ 84244 h 90258"/>
                    <a:gd name="connsiteX25" fmla="*/ 40414 w 45133"/>
                    <a:gd name="connsiteY25" fmla="*/ 84073 h 90258"/>
                    <a:gd name="connsiteX26" fmla="*/ 39159 w 45133"/>
                    <a:gd name="connsiteY26" fmla="*/ 84415 h 90258"/>
                    <a:gd name="connsiteX27" fmla="*/ 36625 w 45133"/>
                    <a:gd name="connsiteY27" fmla="*/ 86029 h 90258"/>
                    <a:gd name="connsiteX28" fmla="*/ 35060 w 45133"/>
                    <a:gd name="connsiteY28" fmla="*/ 86607 h 90258"/>
                    <a:gd name="connsiteX29" fmla="*/ 32501 w 45133"/>
                    <a:gd name="connsiteY29" fmla="*/ 89329 h 90258"/>
                    <a:gd name="connsiteX30" fmla="*/ 30341 w 45133"/>
                    <a:gd name="connsiteY30" fmla="*/ 90258 h 90258"/>
                    <a:gd name="connsiteX31" fmla="*/ 26812 w 45133"/>
                    <a:gd name="connsiteY31" fmla="*/ 90144 h 90258"/>
                    <a:gd name="connsiteX32" fmla="*/ 23284 w 45133"/>
                    <a:gd name="connsiteY32" fmla="*/ 90022 h 90258"/>
                    <a:gd name="connsiteX33" fmla="*/ 19763 w 45133"/>
                    <a:gd name="connsiteY33" fmla="*/ 89900 h 90258"/>
                    <a:gd name="connsiteX34" fmla="*/ 16234 w 45133"/>
                    <a:gd name="connsiteY34" fmla="*/ 89786 h 90258"/>
                    <a:gd name="connsiteX35" fmla="*/ 12714 w 45133"/>
                    <a:gd name="connsiteY35" fmla="*/ 89663 h 90258"/>
                    <a:gd name="connsiteX36" fmla="*/ 9185 w 45133"/>
                    <a:gd name="connsiteY36" fmla="*/ 89541 h 90258"/>
                    <a:gd name="connsiteX37" fmla="*/ 5656 w 45133"/>
                    <a:gd name="connsiteY37" fmla="*/ 89419 h 90258"/>
                    <a:gd name="connsiteX38" fmla="*/ 2135 w 45133"/>
                    <a:gd name="connsiteY38" fmla="*/ 89305 h 90258"/>
                    <a:gd name="connsiteX39" fmla="*/ 1720 w 45133"/>
                    <a:gd name="connsiteY39" fmla="*/ 88066 h 90258"/>
                    <a:gd name="connsiteX40" fmla="*/ 326 w 45133"/>
                    <a:gd name="connsiteY40" fmla="*/ 85874 h 90258"/>
                    <a:gd name="connsiteX41" fmla="*/ 0 w 45133"/>
                    <a:gd name="connsiteY41" fmla="*/ 84945 h 90258"/>
                    <a:gd name="connsiteX42" fmla="*/ 73 w 45133"/>
                    <a:gd name="connsiteY42" fmla="*/ 83901 h 90258"/>
                    <a:gd name="connsiteX43" fmla="*/ 831 w 45133"/>
                    <a:gd name="connsiteY43" fmla="*/ 81139 h 90258"/>
                    <a:gd name="connsiteX44" fmla="*/ 1394 w 45133"/>
                    <a:gd name="connsiteY44" fmla="*/ 80267 h 90258"/>
                    <a:gd name="connsiteX45" fmla="*/ 1964 w 45133"/>
                    <a:gd name="connsiteY45" fmla="*/ 78653 h 90258"/>
                    <a:gd name="connsiteX46" fmla="*/ 2844 w 45133"/>
                    <a:gd name="connsiteY46" fmla="*/ 72207 h 90258"/>
                    <a:gd name="connsiteX47" fmla="*/ 3618 w 45133"/>
                    <a:gd name="connsiteY47" fmla="*/ 68490 h 90258"/>
                    <a:gd name="connsiteX48" fmla="*/ 4164 w 45133"/>
                    <a:gd name="connsiteY48" fmla="*/ 61645 h 90258"/>
                    <a:gd name="connsiteX49" fmla="*/ 4727 w 45133"/>
                    <a:gd name="connsiteY49" fmla="*/ 59656 h 90258"/>
                    <a:gd name="connsiteX50" fmla="*/ 5338 w 45133"/>
                    <a:gd name="connsiteY50" fmla="*/ 58425 h 90258"/>
                    <a:gd name="connsiteX51" fmla="*/ 6357 w 45133"/>
                    <a:gd name="connsiteY51" fmla="*/ 55198 h 90258"/>
                    <a:gd name="connsiteX52" fmla="*/ 8190 w 45133"/>
                    <a:gd name="connsiteY52" fmla="*/ 52558 h 90258"/>
                    <a:gd name="connsiteX53" fmla="*/ 9405 w 45133"/>
                    <a:gd name="connsiteY53" fmla="*/ 49314 h 90258"/>
                    <a:gd name="connsiteX54" fmla="*/ 10855 w 45133"/>
                    <a:gd name="connsiteY54" fmla="*/ 46486 h 90258"/>
                    <a:gd name="connsiteX55" fmla="*/ 11075 w 45133"/>
                    <a:gd name="connsiteY55" fmla="*/ 44824 h 90258"/>
                    <a:gd name="connsiteX56" fmla="*/ 12167 w 45133"/>
                    <a:gd name="connsiteY56" fmla="*/ 41221 h 90258"/>
                    <a:gd name="connsiteX57" fmla="*/ 12942 w 45133"/>
                    <a:gd name="connsiteY57" fmla="*/ 34799 h 90258"/>
                    <a:gd name="connsiteX58" fmla="*/ 13667 w 45133"/>
                    <a:gd name="connsiteY58" fmla="*/ 33789 h 90258"/>
                    <a:gd name="connsiteX59" fmla="*/ 16992 w 45133"/>
                    <a:gd name="connsiteY59" fmla="*/ 32900 h 90258"/>
                    <a:gd name="connsiteX60" fmla="*/ 18043 w 45133"/>
                    <a:gd name="connsiteY60" fmla="*/ 32232 h 90258"/>
                    <a:gd name="connsiteX61" fmla="*/ 21572 w 45133"/>
                    <a:gd name="connsiteY61" fmla="*/ 29575 h 90258"/>
                    <a:gd name="connsiteX62" fmla="*/ 22689 w 45133"/>
                    <a:gd name="connsiteY62" fmla="*/ 28475 h 90258"/>
                    <a:gd name="connsiteX63" fmla="*/ 23398 w 45133"/>
                    <a:gd name="connsiteY63" fmla="*/ 27342 h 90258"/>
                    <a:gd name="connsiteX64" fmla="*/ 23936 w 45133"/>
                    <a:gd name="connsiteY64" fmla="*/ 25558 h 90258"/>
                    <a:gd name="connsiteX65" fmla="*/ 24343 w 45133"/>
                    <a:gd name="connsiteY65" fmla="*/ 25069 h 90258"/>
                    <a:gd name="connsiteX66" fmla="*/ 24416 w 45133"/>
                    <a:gd name="connsiteY66" fmla="*/ 24074 h 90258"/>
                    <a:gd name="connsiteX67" fmla="*/ 23178 w 45133"/>
                    <a:gd name="connsiteY67" fmla="*/ 19869 h 90258"/>
                    <a:gd name="connsiteX68" fmla="*/ 23121 w 45133"/>
                    <a:gd name="connsiteY68" fmla="*/ 18329 h 90258"/>
                    <a:gd name="connsiteX69" fmla="*/ 25859 w 45133"/>
                    <a:gd name="connsiteY69" fmla="*/ 13545 h 90258"/>
                    <a:gd name="connsiteX70" fmla="*/ 25280 w 45133"/>
                    <a:gd name="connsiteY70" fmla="*/ 10749 h 90258"/>
                    <a:gd name="connsiteX71" fmla="*/ 25680 w 45133"/>
                    <a:gd name="connsiteY71" fmla="*/ 10065 h 90258"/>
                    <a:gd name="connsiteX72" fmla="*/ 28125 w 45133"/>
                    <a:gd name="connsiteY72" fmla="*/ 3301 h 90258"/>
                    <a:gd name="connsiteX73" fmla="*/ 30398 w 45133"/>
                    <a:gd name="connsiteY73" fmla="*/ 147 h 90258"/>
                    <a:gd name="connsiteX74" fmla="*/ 33512 w 45133"/>
                    <a:gd name="connsiteY74" fmla="*/ 1190 h 90258"/>
                    <a:gd name="connsiteX75" fmla="*/ 35174 w 45133"/>
                    <a:gd name="connsiteY75" fmla="*/ 1100 h 90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5133" h="90258">
                      <a:moveTo>
                        <a:pt x="36421" y="0"/>
                      </a:moveTo>
                      <a:lnTo>
                        <a:pt x="36600" y="3488"/>
                      </a:lnTo>
                      <a:lnTo>
                        <a:pt x="36788" y="7384"/>
                      </a:lnTo>
                      <a:lnTo>
                        <a:pt x="36975" y="11271"/>
                      </a:lnTo>
                      <a:lnTo>
                        <a:pt x="37163" y="15159"/>
                      </a:lnTo>
                      <a:lnTo>
                        <a:pt x="37358" y="19038"/>
                      </a:lnTo>
                      <a:lnTo>
                        <a:pt x="37546" y="22917"/>
                      </a:lnTo>
                      <a:lnTo>
                        <a:pt x="37733" y="26796"/>
                      </a:lnTo>
                      <a:lnTo>
                        <a:pt x="37929" y="30667"/>
                      </a:lnTo>
                      <a:lnTo>
                        <a:pt x="38116" y="34538"/>
                      </a:lnTo>
                      <a:lnTo>
                        <a:pt x="38304" y="38401"/>
                      </a:lnTo>
                      <a:lnTo>
                        <a:pt x="38499" y="42273"/>
                      </a:lnTo>
                      <a:lnTo>
                        <a:pt x="38687" y="46136"/>
                      </a:lnTo>
                      <a:lnTo>
                        <a:pt x="38874" y="49990"/>
                      </a:lnTo>
                      <a:lnTo>
                        <a:pt x="39062" y="53845"/>
                      </a:lnTo>
                      <a:lnTo>
                        <a:pt x="39257" y="57700"/>
                      </a:lnTo>
                      <a:lnTo>
                        <a:pt x="39445" y="61547"/>
                      </a:lnTo>
                      <a:lnTo>
                        <a:pt x="39322" y="64114"/>
                      </a:lnTo>
                      <a:lnTo>
                        <a:pt x="39616" y="66502"/>
                      </a:lnTo>
                      <a:lnTo>
                        <a:pt x="40504" y="68621"/>
                      </a:lnTo>
                      <a:lnTo>
                        <a:pt x="42753" y="71709"/>
                      </a:lnTo>
                      <a:lnTo>
                        <a:pt x="43153" y="74317"/>
                      </a:lnTo>
                      <a:lnTo>
                        <a:pt x="45133" y="77561"/>
                      </a:lnTo>
                      <a:lnTo>
                        <a:pt x="44025" y="82035"/>
                      </a:lnTo>
                      <a:lnTo>
                        <a:pt x="43316" y="84244"/>
                      </a:lnTo>
                      <a:lnTo>
                        <a:pt x="40414" y="84073"/>
                      </a:lnTo>
                      <a:lnTo>
                        <a:pt x="39159" y="84415"/>
                      </a:lnTo>
                      <a:lnTo>
                        <a:pt x="36625" y="86029"/>
                      </a:lnTo>
                      <a:lnTo>
                        <a:pt x="35060" y="86607"/>
                      </a:lnTo>
                      <a:lnTo>
                        <a:pt x="32501" y="89329"/>
                      </a:lnTo>
                      <a:lnTo>
                        <a:pt x="30341" y="90258"/>
                      </a:lnTo>
                      <a:lnTo>
                        <a:pt x="26812" y="90144"/>
                      </a:lnTo>
                      <a:lnTo>
                        <a:pt x="23284" y="90022"/>
                      </a:lnTo>
                      <a:lnTo>
                        <a:pt x="19763" y="89900"/>
                      </a:lnTo>
                      <a:lnTo>
                        <a:pt x="16234" y="89786"/>
                      </a:lnTo>
                      <a:lnTo>
                        <a:pt x="12714" y="89663"/>
                      </a:lnTo>
                      <a:lnTo>
                        <a:pt x="9185" y="89541"/>
                      </a:lnTo>
                      <a:lnTo>
                        <a:pt x="5656" y="89419"/>
                      </a:lnTo>
                      <a:lnTo>
                        <a:pt x="2135" y="89305"/>
                      </a:lnTo>
                      <a:lnTo>
                        <a:pt x="1720" y="88066"/>
                      </a:lnTo>
                      <a:lnTo>
                        <a:pt x="326" y="85874"/>
                      </a:lnTo>
                      <a:lnTo>
                        <a:pt x="0" y="84945"/>
                      </a:lnTo>
                      <a:lnTo>
                        <a:pt x="73" y="83901"/>
                      </a:lnTo>
                      <a:lnTo>
                        <a:pt x="831" y="81139"/>
                      </a:lnTo>
                      <a:lnTo>
                        <a:pt x="1394" y="80267"/>
                      </a:lnTo>
                      <a:lnTo>
                        <a:pt x="1964" y="78653"/>
                      </a:lnTo>
                      <a:lnTo>
                        <a:pt x="2844" y="72207"/>
                      </a:lnTo>
                      <a:lnTo>
                        <a:pt x="3618" y="68490"/>
                      </a:lnTo>
                      <a:lnTo>
                        <a:pt x="4164" y="61645"/>
                      </a:lnTo>
                      <a:lnTo>
                        <a:pt x="4727" y="59656"/>
                      </a:lnTo>
                      <a:lnTo>
                        <a:pt x="5338" y="58425"/>
                      </a:lnTo>
                      <a:lnTo>
                        <a:pt x="6357" y="55198"/>
                      </a:lnTo>
                      <a:lnTo>
                        <a:pt x="8190" y="52558"/>
                      </a:lnTo>
                      <a:lnTo>
                        <a:pt x="9405" y="49314"/>
                      </a:lnTo>
                      <a:lnTo>
                        <a:pt x="10855" y="46486"/>
                      </a:lnTo>
                      <a:lnTo>
                        <a:pt x="11075" y="44824"/>
                      </a:lnTo>
                      <a:lnTo>
                        <a:pt x="12167" y="41221"/>
                      </a:lnTo>
                      <a:lnTo>
                        <a:pt x="12942" y="34799"/>
                      </a:lnTo>
                      <a:lnTo>
                        <a:pt x="13667" y="33789"/>
                      </a:lnTo>
                      <a:lnTo>
                        <a:pt x="16992" y="32900"/>
                      </a:lnTo>
                      <a:lnTo>
                        <a:pt x="18043" y="32232"/>
                      </a:lnTo>
                      <a:lnTo>
                        <a:pt x="21572" y="29575"/>
                      </a:lnTo>
                      <a:lnTo>
                        <a:pt x="22689" y="28475"/>
                      </a:lnTo>
                      <a:lnTo>
                        <a:pt x="23398" y="27342"/>
                      </a:lnTo>
                      <a:lnTo>
                        <a:pt x="23936" y="25558"/>
                      </a:lnTo>
                      <a:lnTo>
                        <a:pt x="24343" y="25069"/>
                      </a:lnTo>
                      <a:lnTo>
                        <a:pt x="24416" y="24074"/>
                      </a:lnTo>
                      <a:lnTo>
                        <a:pt x="23178" y="19869"/>
                      </a:lnTo>
                      <a:lnTo>
                        <a:pt x="23121" y="18329"/>
                      </a:lnTo>
                      <a:lnTo>
                        <a:pt x="25859" y="13545"/>
                      </a:lnTo>
                      <a:lnTo>
                        <a:pt x="25280" y="10749"/>
                      </a:lnTo>
                      <a:lnTo>
                        <a:pt x="25680" y="10065"/>
                      </a:lnTo>
                      <a:lnTo>
                        <a:pt x="28125" y="3301"/>
                      </a:lnTo>
                      <a:lnTo>
                        <a:pt x="30398" y="147"/>
                      </a:lnTo>
                      <a:lnTo>
                        <a:pt x="33512" y="1190"/>
                      </a:lnTo>
                      <a:lnTo>
                        <a:pt x="35174" y="1100"/>
                      </a:lnTo>
                      <a:close/>
                    </a:path>
                  </a:pathLst>
                </a:custGeom>
                <a:solidFill>
                  <a:srgbClr val="D6D6D2"/>
                </a:solidFill>
                <a:ln w="8150" cap="flat">
                  <a:noFill/>
                  <a:prstDash val="solid"/>
                  <a:miter/>
                </a:ln>
              </p:spPr>
              <p:txBody>
                <a:bodyPr rtlCol="0" anchor="ctr"/>
                <a:lstStyle/>
                <a:p>
                  <a:endParaRPr lang="en-US"/>
                </a:p>
              </p:txBody>
            </p:sp>
            <p:sp>
              <p:nvSpPr>
                <p:cNvPr id="445" name="Freeform: Shape 444">
                  <a:extLst>
                    <a:ext uri="{FF2B5EF4-FFF2-40B4-BE49-F238E27FC236}">
                      <a16:creationId xmlns:a16="http://schemas.microsoft.com/office/drawing/2014/main" id="{94DEE9FC-5BD1-4665-B9B1-17ABA8107291}"/>
                    </a:ext>
                  </a:extLst>
                </p:cNvPr>
                <p:cNvSpPr/>
                <p:nvPr/>
              </p:nvSpPr>
              <p:spPr>
                <a:xfrm>
                  <a:off x="3363476" y="3173043"/>
                  <a:ext cx="215340" cy="102735"/>
                </a:xfrm>
                <a:custGeom>
                  <a:avLst/>
                  <a:gdLst>
                    <a:gd name="connsiteX0" fmla="*/ 17171 w 215340"/>
                    <a:gd name="connsiteY0" fmla="*/ 0 h 102735"/>
                    <a:gd name="connsiteX1" fmla="*/ 25753 w 215340"/>
                    <a:gd name="connsiteY1" fmla="*/ 0 h 102735"/>
                    <a:gd name="connsiteX2" fmla="*/ 34343 w 215340"/>
                    <a:gd name="connsiteY2" fmla="*/ 0 h 102735"/>
                    <a:gd name="connsiteX3" fmla="*/ 42925 w 215340"/>
                    <a:gd name="connsiteY3" fmla="*/ 0 h 102735"/>
                    <a:gd name="connsiteX4" fmla="*/ 51506 w 215340"/>
                    <a:gd name="connsiteY4" fmla="*/ 0 h 102735"/>
                    <a:gd name="connsiteX5" fmla="*/ 60088 w 215340"/>
                    <a:gd name="connsiteY5" fmla="*/ 0 h 102735"/>
                    <a:gd name="connsiteX6" fmla="*/ 68678 w 215340"/>
                    <a:gd name="connsiteY6" fmla="*/ 0 h 102735"/>
                    <a:gd name="connsiteX7" fmla="*/ 77259 w 215340"/>
                    <a:gd name="connsiteY7" fmla="*/ 0 h 102735"/>
                    <a:gd name="connsiteX8" fmla="*/ 85849 w 215340"/>
                    <a:gd name="connsiteY8" fmla="*/ 0 h 102735"/>
                    <a:gd name="connsiteX9" fmla="*/ 94431 w 215340"/>
                    <a:gd name="connsiteY9" fmla="*/ 16 h 102735"/>
                    <a:gd name="connsiteX10" fmla="*/ 103013 w 215340"/>
                    <a:gd name="connsiteY10" fmla="*/ 16 h 102735"/>
                    <a:gd name="connsiteX11" fmla="*/ 111602 w 215340"/>
                    <a:gd name="connsiteY11" fmla="*/ 16 h 102735"/>
                    <a:gd name="connsiteX12" fmla="*/ 120192 w 215340"/>
                    <a:gd name="connsiteY12" fmla="*/ 16 h 102735"/>
                    <a:gd name="connsiteX13" fmla="*/ 128766 w 215340"/>
                    <a:gd name="connsiteY13" fmla="*/ 16 h 102735"/>
                    <a:gd name="connsiteX14" fmla="*/ 138570 w 215340"/>
                    <a:gd name="connsiteY14" fmla="*/ 16 h 102735"/>
                    <a:gd name="connsiteX15" fmla="*/ 145978 w 215340"/>
                    <a:gd name="connsiteY15" fmla="*/ 5159 h 102735"/>
                    <a:gd name="connsiteX16" fmla="*/ 150403 w 215340"/>
                    <a:gd name="connsiteY16" fmla="*/ 6764 h 102735"/>
                    <a:gd name="connsiteX17" fmla="*/ 152481 w 215340"/>
                    <a:gd name="connsiteY17" fmla="*/ 5248 h 102735"/>
                    <a:gd name="connsiteX18" fmla="*/ 157021 w 215340"/>
                    <a:gd name="connsiteY18" fmla="*/ 4385 h 102735"/>
                    <a:gd name="connsiteX19" fmla="*/ 163997 w 215340"/>
                    <a:gd name="connsiteY19" fmla="*/ 4165 h 102735"/>
                    <a:gd name="connsiteX20" fmla="*/ 168414 w 215340"/>
                    <a:gd name="connsiteY20" fmla="*/ 4873 h 102735"/>
                    <a:gd name="connsiteX21" fmla="*/ 170256 w 215340"/>
                    <a:gd name="connsiteY21" fmla="*/ 6504 h 102735"/>
                    <a:gd name="connsiteX22" fmla="*/ 173850 w 215340"/>
                    <a:gd name="connsiteY22" fmla="*/ 8345 h 102735"/>
                    <a:gd name="connsiteX23" fmla="*/ 179180 w 215340"/>
                    <a:gd name="connsiteY23" fmla="*/ 10366 h 102735"/>
                    <a:gd name="connsiteX24" fmla="*/ 182383 w 215340"/>
                    <a:gd name="connsiteY24" fmla="*/ 12567 h 102735"/>
                    <a:gd name="connsiteX25" fmla="*/ 183442 w 215340"/>
                    <a:gd name="connsiteY25" fmla="*/ 14947 h 102735"/>
                    <a:gd name="connsiteX26" fmla="*/ 185300 w 215340"/>
                    <a:gd name="connsiteY26" fmla="*/ 16462 h 102735"/>
                    <a:gd name="connsiteX27" fmla="*/ 187207 w 215340"/>
                    <a:gd name="connsiteY27" fmla="*/ 16927 h 102735"/>
                    <a:gd name="connsiteX28" fmla="*/ 187949 w 215340"/>
                    <a:gd name="connsiteY28" fmla="*/ 17106 h 102735"/>
                    <a:gd name="connsiteX29" fmla="*/ 189620 w 215340"/>
                    <a:gd name="connsiteY29" fmla="*/ 20146 h 102735"/>
                    <a:gd name="connsiteX30" fmla="*/ 190304 w 215340"/>
                    <a:gd name="connsiteY30" fmla="*/ 25574 h 102735"/>
                    <a:gd name="connsiteX31" fmla="*/ 191812 w 215340"/>
                    <a:gd name="connsiteY31" fmla="*/ 29950 h 102735"/>
                    <a:gd name="connsiteX32" fmla="*/ 194143 w 215340"/>
                    <a:gd name="connsiteY32" fmla="*/ 33275 h 102735"/>
                    <a:gd name="connsiteX33" fmla="*/ 195308 w 215340"/>
                    <a:gd name="connsiteY33" fmla="*/ 35712 h 102735"/>
                    <a:gd name="connsiteX34" fmla="*/ 195325 w 215340"/>
                    <a:gd name="connsiteY34" fmla="*/ 37252 h 102735"/>
                    <a:gd name="connsiteX35" fmla="*/ 195879 w 215340"/>
                    <a:gd name="connsiteY35" fmla="*/ 38899 h 102735"/>
                    <a:gd name="connsiteX36" fmla="*/ 196987 w 215340"/>
                    <a:gd name="connsiteY36" fmla="*/ 40643 h 102735"/>
                    <a:gd name="connsiteX37" fmla="*/ 197435 w 215340"/>
                    <a:gd name="connsiteY37" fmla="*/ 43634 h 102735"/>
                    <a:gd name="connsiteX38" fmla="*/ 197207 w 215340"/>
                    <a:gd name="connsiteY38" fmla="*/ 47855 h 102735"/>
                    <a:gd name="connsiteX39" fmla="*/ 197680 w 215340"/>
                    <a:gd name="connsiteY39" fmla="*/ 50096 h 102735"/>
                    <a:gd name="connsiteX40" fmla="*/ 198853 w 215340"/>
                    <a:gd name="connsiteY40" fmla="*/ 50365 h 102735"/>
                    <a:gd name="connsiteX41" fmla="*/ 199359 w 215340"/>
                    <a:gd name="connsiteY41" fmla="*/ 50960 h 102735"/>
                    <a:gd name="connsiteX42" fmla="*/ 199204 w 215340"/>
                    <a:gd name="connsiteY42" fmla="*/ 51881 h 102735"/>
                    <a:gd name="connsiteX43" fmla="*/ 199595 w 215340"/>
                    <a:gd name="connsiteY43" fmla="*/ 52558 h 102735"/>
                    <a:gd name="connsiteX44" fmla="*/ 200540 w 215340"/>
                    <a:gd name="connsiteY44" fmla="*/ 52998 h 102735"/>
                    <a:gd name="connsiteX45" fmla="*/ 200801 w 215340"/>
                    <a:gd name="connsiteY45" fmla="*/ 54212 h 102735"/>
                    <a:gd name="connsiteX46" fmla="*/ 200386 w 215340"/>
                    <a:gd name="connsiteY46" fmla="*/ 56201 h 102735"/>
                    <a:gd name="connsiteX47" fmla="*/ 200728 w 215340"/>
                    <a:gd name="connsiteY47" fmla="*/ 57447 h 102735"/>
                    <a:gd name="connsiteX48" fmla="*/ 201820 w 215340"/>
                    <a:gd name="connsiteY48" fmla="*/ 57953 h 102735"/>
                    <a:gd name="connsiteX49" fmla="*/ 202024 w 215340"/>
                    <a:gd name="connsiteY49" fmla="*/ 58931 h 102735"/>
                    <a:gd name="connsiteX50" fmla="*/ 201339 w 215340"/>
                    <a:gd name="connsiteY50" fmla="*/ 60381 h 102735"/>
                    <a:gd name="connsiteX51" fmla="*/ 201445 w 215340"/>
                    <a:gd name="connsiteY51" fmla="*/ 61522 h 102735"/>
                    <a:gd name="connsiteX52" fmla="*/ 202341 w 215340"/>
                    <a:gd name="connsiteY52" fmla="*/ 62345 h 102735"/>
                    <a:gd name="connsiteX53" fmla="*/ 202945 w 215340"/>
                    <a:gd name="connsiteY53" fmla="*/ 66013 h 102735"/>
                    <a:gd name="connsiteX54" fmla="*/ 203254 w 215340"/>
                    <a:gd name="connsiteY54" fmla="*/ 72524 h 102735"/>
                    <a:gd name="connsiteX55" fmla="*/ 203148 w 215340"/>
                    <a:gd name="connsiteY55" fmla="*/ 76330 h 102735"/>
                    <a:gd name="connsiteX56" fmla="*/ 202635 w 215340"/>
                    <a:gd name="connsiteY56" fmla="*/ 77447 h 102735"/>
                    <a:gd name="connsiteX57" fmla="*/ 203450 w 215340"/>
                    <a:gd name="connsiteY57" fmla="*/ 79794 h 102735"/>
                    <a:gd name="connsiteX58" fmla="*/ 204958 w 215340"/>
                    <a:gd name="connsiteY58" fmla="*/ 82320 h 102735"/>
                    <a:gd name="connsiteX59" fmla="*/ 205601 w 215340"/>
                    <a:gd name="connsiteY59" fmla="*/ 83380 h 102735"/>
                    <a:gd name="connsiteX60" fmla="*/ 206954 w 215340"/>
                    <a:gd name="connsiteY60" fmla="*/ 86933 h 102735"/>
                    <a:gd name="connsiteX61" fmla="*/ 207533 w 215340"/>
                    <a:gd name="connsiteY61" fmla="*/ 90454 h 102735"/>
                    <a:gd name="connsiteX62" fmla="*/ 208878 w 215340"/>
                    <a:gd name="connsiteY62" fmla="*/ 92736 h 102735"/>
                    <a:gd name="connsiteX63" fmla="*/ 211013 w 215340"/>
                    <a:gd name="connsiteY63" fmla="*/ 93787 h 102735"/>
                    <a:gd name="connsiteX64" fmla="*/ 212439 w 215340"/>
                    <a:gd name="connsiteY64" fmla="*/ 96045 h 102735"/>
                    <a:gd name="connsiteX65" fmla="*/ 213164 w 215340"/>
                    <a:gd name="connsiteY65" fmla="*/ 99516 h 102735"/>
                    <a:gd name="connsiteX66" fmla="*/ 214949 w 215340"/>
                    <a:gd name="connsiteY66" fmla="*/ 102418 h 102735"/>
                    <a:gd name="connsiteX67" fmla="*/ 215340 w 215340"/>
                    <a:gd name="connsiteY67" fmla="*/ 102719 h 102735"/>
                    <a:gd name="connsiteX68" fmla="*/ 210866 w 215340"/>
                    <a:gd name="connsiteY68" fmla="*/ 102736 h 102735"/>
                    <a:gd name="connsiteX69" fmla="*/ 205675 w 215340"/>
                    <a:gd name="connsiteY69" fmla="*/ 102736 h 102735"/>
                    <a:gd name="connsiteX70" fmla="*/ 200475 w 215340"/>
                    <a:gd name="connsiteY70" fmla="*/ 102736 h 102735"/>
                    <a:gd name="connsiteX71" fmla="*/ 195276 w 215340"/>
                    <a:gd name="connsiteY71" fmla="*/ 102736 h 102735"/>
                    <a:gd name="connsiteX72" fmla="*/ 190076 w 215340"/>
                    <a:gd name="connsiteY72" fmla="*/ 102736 h 102735"/>
                    <a:gd name="connsiteX73" fmla="*/ 184877 w 215340"/>
                    <a:gd name="connsiteY73" fmla="*/ 102736 h 102735"/>
                    <a:gd name="connsiteX74" fmla="*/ 179677 w 215340"/>
                    <a:gd name="connsiteY74" fmla="*/ 102736 h 102735"/>
                    <a:gd name="connsiteX75" fmla="*/ 174486 w 215340"/>
                    <a:gd name="connsiteY75" fmla="*/ 102736 h 102735"/>
                    <a:gd name="connsiteX76" fmla="*/ 169278 w 215340"/>
                    <a:gd name="connsiteY76" fmla="*/ 102736 h 102735"/>
                    <a:gd name="connsiteX77" fmla="*/ 164087 w 215340"/>
                    <a:gd name="connsiteY77" fmla="*/ 102736 h 102735"/>
                    <a:gd name="connsiteX78" fmla="*/ 158887 w 215340"/>
                    <a:gd name="connsiteY78" fmla="*/ 102736 h 102735"/>
                    <a:gd name="connsiteX79" fmla="*/ 153688 w 215340"/>
                    <a:gd name="connsiteY79" fmla="*/ 102736 h 102735"/>
                    <a:gd name="connsiteX80" fmla="*/ 148488 w 215340"/>
                    <a:gd name="connsiteY80" fmla="*/ 102736 h 102735"/>
                    <a:gd name="connsiteX81" fmla="*/ 143289 w 215340"/>
                    <a:gd name="connsiteY81" fmla="*/ 102736 h 102735"/>
                    <a:gd name="connsiteX82" fmla="*/ 138089 w 215340"/>
                    <a:gd name="connsiteY82" fmla="*/ 102736 h 102735"/>
                    <a:gd name="connsiteX83" fmla="*/ 132890 w 215340"/>
                    <a:gd name="connsiteY83" fmla="*/ 102736 h 102735"/>
                    <a:gd name="connsiteX84" fmla="*/ 127690 w 215340"/>
                    <a:gd name="connsiteY84" fmla="*/ 102736 h 102735"/>
                    <a:gd name="connsiteX85" fmla="*/ 122499 w 215340"/>
                    <a:gd name="connsiteY85" fmla="*/ 102736 h 102735"/>
                    <a:gd name="connsiteX86" fmla="*/ 117299 w 215340"/>
                    <a:gd name="connsiteY86" fmla="*/ 102736 h 102735"/>
                    <a:gd name="connsiteX87" fmla="*/ 112099 w 215340"/>
                    <a:gd name="connsiteY87" fmla="*/ 102736 h 102735"/>
                    <a:gd name="connsiteX88" fmla="*/ 106900 w 215340"/>
                    <a:gd name="connsiteY88" fmla="*/ 102736 h 102735"/>
                    <a:gd name="connsiteX89" fmla="*/ 101700 w 215340"/>
                    <a:gd name="connsiteY89" fmla="*/ 102736 h 102735"/>
                    <a:gd name="connsiteX90" fmla="*/ 96501 w 215340"/>
                    <a:gd name="connsiteY90" fmla="*/ 102736 h 102735"/>
                    <a:gd name="connsiteX91" fmla="*/ 91301 w 215340"/>
                    <a:gd name="connsiteY91" fmla="*/ 102736 h 102735"/>
                    <a:gd name="connsiteX92" fmla="*/ 86102 w 215340"/>
                    <a:gd name="connsiteY92" fmla="*/ 102736 h 102735"/>
                    <a:gd name="connsiteX93" fmla="*/ 80910 w 215340"/>
                    <a:gd name="connsiteY93" fmla="*/ 102736 h 102735"/>
                    <a:gd name="connsiteX94" fmla="*/ 75711 w 215340"/>
                    <a:gd name="connsiteY94" fmla="*/ 102736 h 102735"/>
                    <a:gd name="connsiteX95" fmla="*/ 70511 w 215340"/>
                    <a:gd name="connsiteY95" fmla="*/ 102736 h 102735"/>
                    <a:gd name="connsiteX96" fmla="*/ 65312 w 215340"/>
                    <a:gd name="connsiteY96" fmla="*/ 102736 h 102735"/>
                    <a:gd name="connsiteX97" fmla="*/ 60112 w 215340"/>
                    <a:gd name="connsiteY97" fmla="*/ 102736 h 102735"/>
                    <a:gd name="connsiteX98" fmla="*/ 54913 w 215340"/>
                    <a:gd name="connsiteY98" fmla="*/ 102736 h 102735"/>
                    <a:gd name="connsiteX99" fmla="*/ 49713 w 215340"/>
                    <a:gd name="connsiteY99" fmla="*/ 102736 h 102735"/>
                    <a:gd name="connsiteX100" fmla="*/ 49713 w 215340"/>
                    <a:gd name="connsiteY100" fmla="*/ 98489 h 102735"/>
                    <a:gd name="connsiteX101" fmla="*/ 49713 w 215340"/>
                    <a:gd name="connsiteY101" fmla="*/ 94252 h 102735"/>
                    <a:gd name="connsiteX102" fmla="*/ 49713 w 215340"/>
                    <a:gd name="connsiteY102" fmla="*/ 90014 h 102735"/>
                    <a:gd name="connsiteX103" fmla="*/ 49713 w 215340"/>
                    <a:gd name="connsiteY103" fmla="*/ 85760 h 102735"/>
                    <a:gd name="connsiteX104" fmla="*/ 49705 w 215340"/>
                    <a:gd name="connsiteY104" fmla="*/ 81505 h 102735"/>
                    <a:gd name="connsiteX105" fmla="*/ 49705 w 215340"/>
                    <a:gd name="connsiteY105" fmla="*/ 77251 h 102735"/>
                    <a:gd name="connsiteX106" fmla="*/ 49705 w 215340"/>
                    <a:gd name="connsiteY106" fmla="*/ 72997 h 102735"/>
                    <a:gd name="connsiteX107" fmla="*/ 49705 w 215340"/>
                    <a:gd name="connsiteY107" fmla="*/ 68735 h 102735"/>
                    <a:gd name="connsiteX108" fmla="*/ 43511 w 215340"/>
                    <a:gd name="connsiteY108" fmla="*/ 68735 h 102735"/>
                    <a:gd name="connsiteX109" fmla="*/ 37326 w 215340"/>
                    <a:gd name="connsiteY109" fmla="*/ 68735 h 102735"/>
                    <a:gd name="connsiteX110" fmla="*/ 31132 w 215340"/>
                    <a:gd name="connsiteY110" fmla="*/ 68735 h 102735"/>
                    <a:gd name="connsiteX111" fmla="*/ 24946 w 215340"/>
                    <a:gd name="connsiteY111" fmla="*/ 68727 h 102735"/>
                    <a:gd name="connsiteX112" fmla="*/ 18752 w 215340"/>
                    <a:gd name="connsiteY112" fmla="*/ 68727 h 102735"/>
                    <a:gd name="connsiteX113" fmla="*/ 12559 w 215340"/>
                    <a:gd name="connsiteY113" fmla="*/ 68727 h 102735"/>
                    <a:gd name="connsiteX114" fmla="*/ 6373 w 215340"/>
                    <a:gd name="connsiteY114" fmla="*/ 68727 h 102735"/>
                    <a:gd name="connsiteX115" fmla="*/ 179 w 215340"/>
                    <a:gd name="connsiteY115" fmla="*/ 68727 h 102735"/>
                    <a:gd name="connsiteX116" fmla="*/ 155 w 215340"/>
                    <a:gd name="connsiteY116" fmla="*/ 60186 h 102735"/>
                    <a:gd name="connsiteX117" fmla="*/ 139 w 215340"/>
                    <a:gd name="connsiteY117" fmla="*/ 51637 h 102735"/>
                    <a:gd name="connsiteX118" fmla="*/ 114 w 215340"/>
                    <a:gd name="connsiteY118" fmla="*/ 43063 h 102735"/>
                    <a:gd name="connsiteX119" fmla="*/ 90 w 215340"/>
                    <a:gd name="connsiteY119" fmla="*/ 34482 h 102735"/>
                    <a:gd name="connsiteX120" fmla="*/ 73 w 215340"/>
                    <a:gd name="connsiteY120" fmla="*/ 25875 h 102735"/>
                    <a:gd name="connsiteX121" fmla="*/ 49 w 215340"/>
                    <a:gd name="connsiteY121" fmla="*/ 17269 h 102735"/>
                    <a:gd name="connsiteX122" fmla="*/ 24 w 215340"/>
                    <a:gd name="connsiteY122" fmla="*/ 8639 h 102735"/>
                    <a:gd name="connsiteX123" fmla="*/ 0 w 215340"/>
                    <a:gd name="connsiteY123" fmla="*/ 0 h 102735"/>
                    <a:gd name="connsiteX124" fmla="*/ 8590 w 215340"/>
                    <a:gd name="connsiteY124" fmla="*/ 0 h 102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215340" h="102735">
                      <a:moveTo>
                        <a:pt x="17171" y="0"/>
                      </a:moveTo>
                      <a:lnTo>
                        <a:pt x="25753" y="0"/>
                      </a:lnTo>
                      <a:lnTo>
                        <a:pt x="34343" y="0"/>
                      </a:lnTo>
                      <a:lnTo>
                        <a:pt x="42925" y="0"/>
                      </a:lnTo>
                      <a:lnTo>
                        <a:pt x="51506" y="0"/>
                      </a:lnTo>
                      <a:lnTo>
                        <a:pt x="60088" y="0"/>
                      </a:lnTo>
                      <a:lnTo>
                        <a:pt x="68678" y="0"/>
                      </a:lnTo>
                      <a:lnTo>
                        <a:pt x="77259" y="0"/>
                      </a:lnTo>
                      <a:lnTo>
                        <a:pt x="85849" y="0"/>
                      </a:lnTo>
                      <a:lnTo>
                        <a:pt x="94431" y="16"/>
                      </a:lnTo>
                      <a:lnTo>
                        <a:pt x="103013" y="16"/>
                      </a:lnTo>
                      <a:lnTo>
                        <a:pt x="111602" y="16"/>
                      </a:lnTo>
                      <a:lnTo>
                        <a:pt x="120192" y="16"/>
                      </a:lnTo>
                      <a:lnTo>
                        <a:pt x="128766" y="16"/>
                      </a:lnTo>
                      <a:lnTo>
                        <a:pt x="138570" y="16"/>
                      </a:lnTo>
                      <a:lnTo>
                        <a:pt x="145978" y="5159"/>
                      </a:lnTo>
                      <a:lnTo>
                        <a:pt x="150403" y="6764"/>
                      </a:lnTo>
                      <a:lnTo>
                        <a:pt x="152481" y="5248"/>
                      </a:lnTo>
                      <a:lnTo>
                        <a:pt x="157021" y="4385"/>
                      </a:lnTo>
                      <a:lnTo>
                        <a:pt x="163997" y="4165"/>
                      </a:lnTo>
                      <a:lnTo>
                        <a:pt x="168414" y="4873"/>
                      </a:lnTo>
                      <a:lnTo>
                        <a:pt x="170256" y="6504"/>
                      </a:lnTo>
                      <a:lnTo>
                        <a:pt x="173850" y="8345"/>
                      </a:lnTo>
                      <a:lnTo>
                        <a:pt x="179180" y="10366"/>
                      </a:lnTo>
                      <a:lnTo>
                        <a:pt x="182383" y="12567"/>
                      </a:lnTo>
                      <a:lnTo>
                        <a:pt x="183442" y="14947"/>
                      </a:lnTo>
                      <a:lnTo>
                        <a:pt x="185300" y="16462"/>
                      </a:lnTo>
                      <a:lnTo>
                        <a:pt x="187207" y="16927"/>
                      </a:lnTo>
                      <a:lnTo>
                        <a:pt x="187949" y="17106"/>
                      </a:lnTo>
                      <a:lnTo>
                        <a:pt x="189620" y="20146"/>
                      </a:lnTo>
                      <a:lnTo>
                        <a:pt x="190304" y="25574"/>
                      </a:lnTo>
                      <a:lnTo>
                        <a:pt x="191812" y="29950"/>
                      </a:lnTo>
                      <a:lnTo>
                        <a:pt x="194143" y="33275"/>
                      </a:lnTo>
                      <a:lnTo>
                        <a:pt x="195308" y="35712"/>
                      </a:lnTo>
                      <a:lnTo>
                        <a:pt x="195325" y="37252"/>
                      </a:lnTo>
                      <a:lnTo>
                        <a:pt x="195879" y="38899"/>
                      </a:lnTo>
                      <a:lnTo>
                        <a:pt x="196987" y="40643"/>
                      </a:lnTo>
                      <a:lnTo>
                        <a:pt x="197435" y="43634"/>
                      </a:lnTo>
                      <a:lnTo>
                        <a:pt x="197207" y="47855"/>
                      </a:lnTo>
                      <a:lnTo>
                        <a:pt x="197680" y="50096"/>
                      </a:lnTo>
                      <a:lnTo>
                        <a:pt x="198853" y="50365"/>
                      </a:lnTo>
                      <a:lnTo>
                        <a:pt x="199359" y="50960"/>
                      </a:lnTo>
                      <a:lnTo>
                        <a:pt x="199204" y="51881"/>
                      </a:lnTo>
                      <a:lnTo>
                        <a:pt x="199595" y="52558"/>
                      </a:lnTo>
                      <a:lnTo>
                        <a:pt x="200540" y="52998"/>
                      </a:lnTo>
                      <a:lnTo>
                        <a:pt x="200801" y="54212"/>
                      </a:lnTo>
                      <a:lnTo>
                        <a:pt x="200386" y="56201"/>
                      </a:lnTo>
                      <a:lnTo>
                        <a:pt x="200728" y="57447"/>
                      </a:lnTo>
                      <a:lnTo>
                        <a:pt x="201820" y="57953"/>
                      </a:lnTo>
                      <a:lnTo>
                        <a:pt x="202024" y="58931"/>
                      </a:lnTo>
                      <a:lnTo>
                        <a:pt x="201339" y="60381"/>
                      </a:lnTo>
                      <a:lnTo>
                        <a:pt x="201445" y="61522"/>
                      </a:lnTo>
                      <a:lnTo>
                        <a:pt x="202341" y="62345"/>
                      </a:lnTo>
                      <a:lnTo>
                        <a:pt x="202945" y="66013"/>
                      </a:lnTo>
                      <a:lnTo>
                        <a:pt x="203254" y="72524"/>
                      </a:lnTo>
                      <a:lnTo>
                        <a:pt x="203148" y="76330"/>
                      </a:lnTo>
                      <a:lnTo>
                        <a:pt x="202635" y="77447"/>
                      </a:lnTo>
                      <a:lnTo>
                        <a:pt x="203450" y="79794"/>
                      </a:lnTo>
                      <a:lnTo>
                        <a:pt x="204958" y="82320"/>
                      </a:lnTo>
                      <a:lnTo>
                        <a:pt x="205601" y="83380"/>
                      </a:lnTo>
                      <a:lnTo>
                        <a:pt x="206954" y="86933"/>
                      </a:lnTo>
                      <a:lnTo>
                        <a:pt x="207533" y="90454"/>
                      </a:lnTo>
                      <a:lnTo>
                        <a:pt x="208878" y="92736"/>
                      </a:lnTo>
                      <a:lnTo>
                        <a:pt x="211013" y="93787"/>
                      </a:lnTo>
                      <a:lnTo>
                        <a:pt x="212439" y="96045"/>
                      </a:lnTo>
                      <a:lnTo>
                        <a:pt x="213164" y="99516"/>
                      </a:lnTo>
                      <a:lnTo>
                        <a:pt x="214949" y="102418"/>
                      </a:lnTo>
                      <a:lnTo>
                        <a:pt x="215340" y="102719"/>
                      </a:lnTo>
                      <a:lnTo>
                        <a:pt x="210866" y="102736"/>
                      </a:lnTo>
                      <a:lnTo>
                        <a:pt x="205675" y="102736"/>
                      </a:lnTo>
                      <a:lnTo>
                        <a:pt x="200475" y="102736"/>
                      </a:lnTo>
                      <a:lnTo>
                        <a:pt x="195276" y="102736"/>
                      </a:lnTo>
                      <a:lnTo>
                        <a:pt x="190076" y="102736"/>
                      </a:lnTo>
                      <a:lnTo>
                        <a:pt x="184877" y="102736"/>
                      </a:lnTo>
                      <a:lnTo>
                        <a:pt x="179677" y="102736"/>
                      </a:lnTo>
                      <a:lnTo>
                        <a:pt x="174486" y="102736"/>
                      </a:lnTo>
                      <a:lnTo>
                        <a:pt x="169278" y="102736"/>
                      </a:lnTo>
                      <a:lnTo>
                        <a:pt x="164087" y="102736"/>
                      </a:lnTo>
                      <a:lnTo>
                        <a:pt x="158887" y="102736"/>
                      </a:lnTo>
                      <a:lnTo>
                        <a:pt x="153688" y="102736"/>
                      </a:lnTo>
                      <a:lnTo>
                        <a:pt x="148488" y="102736"/>
                      </a:lnTo>
                      <a:lnTo>
                        <a:pt x="143289" y="102736"/>
                      </a:lnTo>
                      <a:lnTo>
                        <a:pt x="138089" y="102736"/>
                      </a:lnTo>
                      <a:lnTo>
                        <a:pt x="132890" y="102736"/>
                      </a:lnTo>
                      <a:lnTo>
                        <a:pt x="127690" y="102736"/>
                      </a:lnTo>
                      <a:lnTo>
                        <a:pt x="122499" y="102736"/>
                      </a:lnTo>
                      <a:lnTo>
                        <a:pt x="117299" y="102736"/>
                      </a:lnTo>
                      <a:lnTo>
                        <a:pt x="112099" y="102736"/>
                      </a:lnTo>
                      <a:lnTo>
                        <a:pt x="106900" y="102736"/>
                      </a:lnTo>
                      <a:lnTo>
                        <a:pt x="101700" y="102736"/>
                      </a:lnTo>
                      <a:lnTo>
                        <a:pt x="96501" y="102736"/>
                      </a:lnTo>
                      <a:lnTo>
                        <a:pt x="91301" y="102736"/>
                      </a:lnTo>
                      <a:lnTo>
                        <a:pt x="86102" y="102736"/>
                      </a:lnTo>
                      <a:lnTo>
                        <a:pt x="80910" y="102736"/>
                      </a:lnTo>
                      <a:lnTo>
                        <a:pt x="75711" y="102736"/>
                      </a:lnTo>
                      <a:lnTo>
                        <a:pt x="70511" y="102736"/>
                      </a:lnTo>
                      <a:lnTo>
                        <a:pt x="65312" y="102736"/>
                      </a:lnTo>
                      <a:lnTo>
                        <a:pt x="60112" y="102736"/>
                      </a:lnTo>
                      <a:lnTo>
                        <a:pt x="54913" y="102736"/>
                      </a:lnTo>
                      <a:lnTo>
                        <a:pt x="49713" y="102736"/>
                      </a:lnTo>
                      <a:lnTo>
                        <a:pt x="49713" y="98489"/>
                      </a:lnTo>
                      <a:lnTo>
                        <a:pt x="49713" y="94252"/>
                      </a:lnTo>
                      <a:lnTo>
                        <a:pt x="49713" y="90014"/>
                      </a:lnTo>
                      <a:lnTo>
                        <a:pt x="49713" y="85760"/>
                      </a:lnTo>
                      <a:lnTo>
                        <a:pt x="49705" y="81505"/>
                      </a:lnTo>
                      <a:lnTo>
                        <a:pt x="49705" y="77251"/>
                      </a:lnTo>
                      <a:lnTo>
                        <a:pt x="49705" y="72997"/>
                      </a:lnTo>
                      <a:lnTo>
                        <a:pt x="49705" y="68735"/>
                      </a:lnTo>
                      <a:lnTo>
                        <a:pt x="43511" y="68735"/>
                      </a:lnTo>
                      <a:lnTo>
                        <a:pt x="37326" y="68735"/>
                      </a:lnTo>
                      <a:lnTo>
                        <a:pt x="31132" y="68735"/>
                      </a:lnTo>
                      <a:lnTo>
                        <a:pt x="24946" y="68727"/>
                      </a:lnTo>
                      <a:lnTo>
                        <a:pt x="18752" y="68727"/>
                      </a:lnTo>
                      <a:lnTo>
                        <a:pt x="12559" y="68727"/>
                      </a:lnTo>
                      <a:lnTo>
                        <a:pt x="6373" y="68727"/>
                      </a:lnTo>
                      <a:lnTo>
                        <a:pt x="179" y="68727"/>
                      </a:lnTo>
                      <a:lnTo>
                        <a:pt x="155" y="60186"/>
                      </a:lnTo>
                      <a:lnTo>
                        <a:pt x="139" y="51637"/>
                      </a:lnTo>
                      <a:lnTo>
                        <a:pt x="114" y="43063"/>
                      </a:lnTo>
                      <a:lnTo>
                        <a:pt x="90" y="34482"/>
                      </a:lnTo>
                      <a:lnTo>
                        <a:pt x="73" y="25875"/>
                      </a:lnTo>
                      <a:lnTo>
                        <a:pt x="49" y="17269"/>
                      </a:lnTo>
                      <a:lnTo>
                        <a:pt x="24" y="8639"/>
                      </a:lnTo>
                      <a:lnTo>
                        <a:pt x="0" y="0"/>
                      </a:lnTo>
                      <a:lnTo>
                        <a:pt x="8590" y="0"/>
                      </a:lnTo>
                      <a:close/>
                    </a:path>
                  </a:pathLst>
                </a:custGeom>
                <a:solidFill>
                  <a:srgbClr val="D6D6D2"/>
                </a:solidFill>
                <a:ln w="6112" cap="rnd">
                  <a:solidFill>
                    <a:srgbClr val="FFFFFF"/>
                  </a:solidFill>
                  <a:prstDash val="solid"/>
                  <a:round/>
                </a:ln>
              </p:spPr>
              <p:txBody>
                <a:bodyPr rtlCol="0" anchor="ctr"/>
                <a:lstStyle/>
                <a:p>
                  <a:endParaRPr lang="en-US"/>
                </a:p>
              </p:txBody>
            </p:sp>
            <p:sp>
              <p:nvSpPr>
                <p:cNvPr id="446" name="Freeform: Shape 445">
                  <a:extLst>
                    <a:ext uri="{FF2B5EF4-FFF2-40B4-BE49-F238E27FC236}">
                      <a16:creationId xmlns:a16="http://schemas.microsoft.com/office/drawing/2014/main" id="{FF2934B0-D64B-4D7D-BD1D-E61193C09B56}"/>
                    </a:ext>
                  </a:extLst>
                </p:cNvPr>
                <p:cNvSpPr/>
                <p:nvPr/>
              </p:nvSpPr>
              <p:spPr>
                <a:xfrm>
                  <a:off x="3363353" y="2961264"/>
                  <a:ext cx="185455" cy="108994"/>
                </a:xfrm>
                <a:custGeom>
                  <a:avLst/>
                  <a:gdLst>
                    <a:gd name="connsiteX0" fmla="*/ 185113 w 185455"/>
                    <a:gd name="connsiteY0" fmla="*/ 106289 h 108994"/>
                    <a:gd name="connsiteX1" fmla="*/ 185455 w 185455"/>
                    <a:gd name="connsiteY1" fmla="*/ 108995 h 108994"/>
                    <a:gd name="connsiteX2" fmla="*/ 179685 w 185455"/>
                    <a:gd name="connsiteY2" fmla="*/ 108995 h 108994"/>
                    <a:gd name="connsiteX3" fmla="*/ 173907 w 185455"/>
                    <a:gd name="connsiteY3" fmla="*/ 108995 h 108994"/>
                    <a:gd name="connsiteX4" fmla="*/ 168121 w 185455"/>
                    <a:gd name="connsiteY4" fmla="*/ 108995 h 108994"/>
                    <a:gd name="connsiteX5" fmla="*/ 162351 w 185455"/>
                    <a:gd name="connsiteY5" fmla="*/ 108995 h 108994"/>
                    <a:gd name="connsiteX6" fmla="*/ 156573 w 185455"/>
                    <a:gd name="connsiteY6" fmla="*/ 108995 h 108994"/>
                    <a:gd name="connsiteX7" fmla="*/ 150794 w 185455"/>
                    <a:gd name="connsiteY7" fmla="*/ 108995 h 108994"/>
                    <a:gd name="connsiteX8" fmla="*/ 145016 w 185455"/>
                    <a:gd name="connsiteY8" fmla="*/ 108995 h 108994"/>
                    <a:gd name="connsiteX9" fmla="*/ 139238 w 185455"/>
                    <a:gd name="connsiteY9" fmla="*/ 108986 h 108994"/>
                    <a:gd name="connsiteX10" fmla="*/ 133460 w 185455"/>
                    <a:gd name="connsiteY10" fmla="*/ 108986 h 108994"/>
                    <a:gd name="connsiteX11" fmla="*/ 127682 w 185455"/>
                    <a:gd name="connsiteY11" fmla="*/ 108986 h 108994"/>
                    <a:gd name="connsiteX12" fmla="*/ 121904 w 185455"/>
                    <a:gd name="connsiteY12" fmla="*/ 108986 h 108994"/>
                    <a:gd name="connsiteX13" fmla="*/ 116125 w 185455"/>
                    <a:gd name="connsiteY13" fmla="*/ 108986 h 108994"/>
                    <a:gd name="connsiteX14" fmla="*/ 110339 w 185455"/>
                    <a:gd name="connsiteY14" fmla="*/ 108986 h 108994"/>
                    <a:gd name="connsiteX15" fmla="*/ 104569 w 185455"/>
                    <a:gd name="connsiteY15" fmla="*/ 108986 h 108994"/>
                    <a:gd name="connsiteX16" fmla="*/ 98791 w 185455"/>
                    <a:gd name="connsiteY16" fmla="*/ 108986 h 108994"/>
                    <a:gd name="connsiteX17" fmla="*/ 93013 w 185455"/>
                    <a:gd name="connsiteY17" fmla="*/ 108986 h 108994"/>
                    <a:gd name="connsiteX18" fmla="*/ 87235 w 185455"/>
                    <a:gd name="connsiteY18" fmla="*/ 108986 h 108994"/>
                    <a:gd name="connsiteX19" fmla="*/ 81457 w 185455"/>
                    <a:gd name="connsiteY19" fmla="*/ 108986 h 108994"/>
                    <a:gd name="connsiteX20" fmla="*/ 75670 w 185455"/>
                    <a:gd name="connsiteY20" fmla="*/ 108986 h 108994"/>
                    <a:gd name="connsiteX21" fmla="*/ 69900 w 185455"/>
                    <a:gd name="connsiteY21" fmla="*/ 108986 h 108994"/>
                    <a:gd name="connsiteX22" fmla="*/ 64122 w 185455"/>
                    <a:gd name="connsiteY22" fmla="*/ 108978 h 108994"/>
                    <a:gd name="connsiteX23" fmla="*/ 58344 w 185455"/>
                    <a:gd name="connsiteY23" fmla="*/ 108978 h 108994"/>
                    <a:gd name="connsiteX24" fmla="*/ 52566 w 185455"/>
                    <a:gd name="connsiteY24" fmla="*/ 108978 h 108994"/>
                    <a:gd name="connsiteX25" fmla="*/ 46796 w 185455"/>
                    <a:gd name="connsiteY25" fmla="*/ 108978 h 108994"/>
                    <a:gd name="connsiteX26" fmla="*/ 41018 w 185455"/>
                    <a:gd name="connsiteY26" fmla="*/ 108978 h 108994"/>
                    <a:gd name="connsiteX27" fmla="*/ 35231 w 185455"/>
                    <a:gd name="connsiteY27" fmla="*/ 108978 h 108994"/>
                    <a:gd name="connsiteX28" fmla="*/ 29453 w 185455"/>
                    <a:gd name="connsiteY28" fmla="*/ 108978 h 108994"/>
                    <a:gd name="connsiteX29" fmla="*/ 23675 w 185455"/>
                    <a:gd name="connsiteY29" fmla="*/ 108978 h 108994"/>
                    <a:gd name="connsiteX30" fmla="*/ 17897 w 185455"/>
                    <a:gd name="connsiteY30" fmla="*/ 108978 h 108994"/>
                    <a:gd name="connsiteX31" fmla="*/ 12127 w 185455"/>
                    <a:gd name="connsiteY31" fmla="*/ 108978 h 108994"/>
                    <a:gd name="connsiteX32" fmla="*/ 6349 w 185455"/>
                    <a:gd name="connsiteY32" fmla="*/ 108978 h 108994"/>
                    <a:gd name="connsiteX33" fmla="*/ 570 w 185455"/>
                    <a:gd name="connsiteY33" fmla="*/ 108978 h 108994"/>
                    <a:gd name="connsiteX34" fmla="*/ 530 w 185455"/>
                    <a:gd name="connsiteY34" fmla="*/ 102247 h 108994"/>
                    <a:gd name="connsiteX35" fmla="*/ 497 w 185455"/>
                    <a:gd name="connsiteY35" fmla="*/ 95499 h 108994"/>
                    <a:gd name="connsiteX36" fmla="*/ 456 w 185455"/>
                    <a:gd name="connsiteY36" fmla="*/ 88734 h 108994"/>
                    <a:gd name="connsiteX37" fmla="*/ 424 w 185455"/>
                    <a:gd name="connsiteY37" fmla="*/ 81970 h 108994"/>
                    <a:gd name="connsiteX38" fmla="*/ 399 w 185455"/>
                    <a:gd name="connsiteY38" fmla="*/ 75189 h 108994"/>
                    <a:gd name="connsiteX39" fmla="*/ 359 w 185455"/>
                    <a:gd name="connsiteY39" fmla="*/ 68401 h 108994"/>
                    <a:gd name="connsiteX40" fmla="*/ 326 w 185455"/>
                    <a:gd name="connsiteY40" fmla="*/ 61596 h 108994"/>
                    <a:gd name="connsiteX41" fmla="*/ 285 w 185455"/>
                    <a:gd name="connsiteY41" fmla="*/ 54791 h 108994"/>
                    <a:gd name="connsiteX42" fmla="*/ 261 w 185455"/>
                    <a:gd name="connsiteY42" fmla="*/ 47978 h 108994"/>
                    <a:gd name="connsiteX43" fmla="*/ 220 w 185455"/>
                    <a:gd name="connsiteY43" fmla="*/ 41156 h 108994"/>
                    <a:gd name="connsiteX44" fmla="*/ 187 w 185455"/>
                    <a:gd name="connsiteY44" fmla="*/ 34319 h 108994"/>
                    <a:gd name="connsiteX45" fmla="*/ 155 w 185455"/>
                    <a:gd name="connsiteY45" fmla="*/ 27465 h 108994"/>
                    <a:gd name="connsiteX46" fmla="*/ 114 w 185455"/>
                    <a:gd name="connsiteY46" fmla="*/ 20611 h 108994"/>
                    <a:gd name="connsiteX47" fmla="*/ 90 w 185455"/>
                    <a:gd name="connsiteY47" fmla="*/ 13732 h 108994"/>
                    <a:gd name="connsiteX48" fmla="*/ 49 w 185455"/>
                    <a:gd name="connsiteY48" fmla="*/ 6862 h 108994"/>
                    <a:gd name="connsiteX49" fmla="*/ 0 w 185455"/>
                    <a:gd name="connsiteY49" fmla="*/ 0 h 108994"/>
                    <a:gd name="connsiteX50" fmla="*/ 2681 w 185455"/>
                    <a:gd name="connsiteY50" fmla="*/ 0 h 108994"/>
                    <a:gd name="connsiteX51" fmla="*/ 13260 w 185455"/>
                    <a:gd name="connsiteY51" fmla="*/ 0 h 108994"/>
                    <a:gd name="connsiteX52" fmla="*/ 23838 w 185455"/>
                    <a:gd name="connsiteY52" fmla="*/ 0 h 108994"/>
                    <a:gd name="connsiteX53" fmla="*/ 34416 w 185455"/>
                    <a:gd name="connsiteY53" fmla="*/ 0 h 108994"/>
                    <a:gd name="connsiteX54" fmla="*/ 44995 w 185455"/>
                    <a:gd name="connsiteY54" fmla="*/ 0 h 108994"/>
                    <a:gd name="connsiteX55" fmla="*/ 55565 w 185455"/>
                    <a:gd name="connsiteY55" fmla="*/ 0 h 108994"/>
                    <a:gd name="connsiteX56" fmla="*/ 66143 w 185455"/>
                    <a:gd name="connsiteY56" fmla="*/ 0 h 108994"/>
                    <a:gd name="connsiteX57" fmla="*/ 76713 w 185455"/>
                    <a:gd name="connsiteY57" fmla="*/ 0 h 108994"/>
                    <a:gd name="connsiteX58" fmla="*/ 87292 w 185455"/>
                    <a:gd name="connsiteY58" fmla="*/ 0 h 108994"/>
                    <a:gd name="connsiteX59" fmla="*/ 97870 w 185455"/>
                    <a:gd name="connsiteY59" fmla="*/ 0 h 108994"/>
                    <a:gd name="connsiteX60" fmla="*/ 108432 w 185455"/>
                    <a:gd name="connsiteY60" fmla="*/ 0 h 108994"/>
                    <a:gd name="connsiteX61" fmla="*/ 119011 w 185455"/>
                    <a:gd name="connsiteY61" fmla="*/ 0 h 108994"/>
                    <a:gd name="connsiteX62" fmla="*/ 129597 w 185455"/>
                    <a:gd name="connsiteY62" fmla="*/ 0 h 108994"/>
                    <a:gd name="connsiteX63" fmla="*/ 140167 w 185455"/>
                    <a:gd name="connsiteY63" fmla="*/ 0 h 108994"/>
                    <a:gd name="connsiteX64" fmla="*/ 150737 w 185455"/>
                    <a:gd name="connsiteY64" fmla="*/ 0 h 108994"/>
                    <a:gd name="connsiteX65" fmla="*/ 161316 w 185455"/>
                    <a:gd name="connsiteY65" fmla="*/ 0 h 108994"/>
                    <a:gd name="connsiteX66" fmla="*/ 168862 w 185455"/>
                    <a:gd name="connsiteY66" fmla="*/ 0 h 108994"/>
                    <a:gd name="connsiteX67" fmla="*/ 171283 w 185455"/>
                    <a:gd name="connsiteY67" fmla="*/ 11271 h 108994"/>
                    <a:gd name="connsiteX68" fmla="*/ 171250 w 185455"/>
                    <a:gd name="connsiteY68" fmla="*/ 14433 h 108994"/>
                    <a:gd name="connsiteX69" fmla="*/ 170883 w 185455"/>
                    <a:gd name="connsiteY69" fmla="*/ 16479 h 108994"/>
                    <a:gd name="connsiteX70" fmla="*/ 171201 w 185455"/>
                    <a:gd name="connsiteY70" fmla="*/ 20048 h 108994"/>
                    <a:gd name="connsiteX71" fmla="*/ 171063 w 185455"/>
                    <a:gd name="connsiteY71" fmla="*/ 22436 h 108994"/>
                    <a:gd name="connsiteX72" fmla="*/ 171438 w 185455"/>
                    <a:gd name="connsiteY72" fmla="*/ 25501 h 108994"/>
                    <a:gd name="connsiteX73" fmla="*/ 171332 w 185455"/>
                    <a:gd name="connsiteY73" fmla="*/ 29543 h 108994"/>
                    <a:gd name="connsiteX74" fmla="*/ 172505 w 185455"/>
                    <a:gd name="connsiteY74" fmla="*/ 34213 h 108994"/>
                    <a:gd name="connsiteX75" fmla="*/ 174274 w 185455"/>
                    <a:gd name="connsiteY75" fmla="*/ 38442 h 108994"/>
                    <a:gd name="connsiteX76" fmla="*/ 174233 w 185455"/>
                    <a:gd name="connsiteY76" fmla="*/ 39657 h 108994"/>
                    <a:gd name="connsiteX77" fmla="*/ 174755 w 185455"/>
                    <a:gd name="connsiteY77" fmla="*/ 42207 h 108994"/>
                    <a:gd name="connsiteX78" fmla="*/ 175790 w 185455"/>
                    <a:gd name="connsiteY78" fmla="*/ 44318 h 108994"/>
                    <a:gd name="connsiteX79" fmla="*/ 177966 w 185455"/>
                    <a:gd name="connsiteY79" fmla="*/ 50512 h 108994"/>
                    <a:gd name="connsiteX80" fmla="*/ 177860 w 185455"/>
                    <a:gd name="connsiteY80" fmla="*/ 56388 h 108994"/>
                    <a:gd name="connsiteX81" fmla="*/ 178235 w 185455"/>
                    <a:gd name="connsiteY81" fmla="*/ 58189 h 108994"/>
                    <a:gd name="connsiteX82" fmla="*/ 178789 w 185455"/>
                    <a:gd name="connsiteY82" fmla="*/ 70829 h 108994"/>
                    <a:gd name="connsiteX83" fmla="*/ 178960 w 185455"/>
                    <a:gd name="connsiteY83" fmla="*/ 72419 h 108994"/>
                    <a:gd name="connsiteX84" fmla="*/ 180158 w 185455"/>
                    <a:gd name="connsiteY84" fmla="*/ 74358 h 108994"/>
                    <a:gd name="connsiteX85" fmla="*/ 179596 w 185455"/>
                    <a:gd name="connsiteY85" fmla="*/ 77227 h 108994"/>
                    <a:gd name="connsiteX86" fmla="*/ 179514 w 185455"/>
                    <a:gd name="connsiteY86" fmla="*/ 78718 h 108994"/>
                    <a:gd name="connsiteX87" fmla="*/ 179742 w 185455"/>
                    <a:gd name="connsiteY87" fmla="*/ 84007 h 108994"/>
                    <a:gd name="connsiteX88" fmla="*/ 180451 w 185455"/>
                    <a:gd name="connsiteY88" fmla="*/ 86069 h 108994"/>
                    <a:gd name="connsiteX89" fmla="*/ 181128 w 185455"/>
                    <a:gd name="connsiteY89" fmla="*/ 90242 h 108994"/>
                    <a:gd name="connsiteX90" fmla="*/ 183948 w 185455"/>
                    <a:gd name="connsiteY90" fmla="*/ 95401 h 108994"/>
                    <a:gd name="connsiteX91" fmla="*/ 184412 w 185455"/>
                    <a:gd name="connsiteY91" fmla="*/ 97357 h 108994"/>
                    <a:gd name="connsiteX92" fmla="*/ 184583 w 185455"/>
                    <a:gd name="connsiteY92" fmla="*/ 98921 h 108994"/>
                    <a:gd name="connsiteX93" fmla="*/ 185349 w 185455"/>
                    <a:gd name="connsiteY93" fmla="*/ 102092 h 10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85455" h="108994">
                      <a:moveTo>
                        <a:pt x="185113" y="106289"/>
                      </a:moveTo>
                      <a:lnTo>
                        <a:pt x="185455" y="108995"/>
                      </a:lnTo>
                      <a:lnTo>
                        <a:pt x="179685" y="108995"/>
                      </a:lnTo>
                      <a:lnTo>
                        <a:pt x="173907" y="108995"/>
                      </a:lnTo>
                      <a:lnTo>
                        <a:pt x="168121" y="108995"/>
                      </a:lnTo>
                      <a:lnTo>
                        <a:pt x="162351" y="108995"/>
                      </a:lnTo>
                      <a:lnTo>
                        <a:pt x="156573" y="108995"/>
                      </a:lnTo>
                      <a:lnTo>
                        <a:pt x="150794" y="108995"/>
                      </a:lnTo>
                      <a:lnTo>
                        <a:pt x="145016" y="108995"/>
                      </a:lnTo>
                      <a:lnTo>
                        <a:pt x="139238" y="108986"/>
                      </a:lnTo>
                      <a:lnTo>
                        <a:pt x="133460" y="108986"/>
                      </a:lnTo>
                      <a:lnTo>
                        <a:pt x="127682" y="108986"/>
                      </a:lnTo>
                      <a:lnTo>
                        <a:pt x="121904" y="108986"/>
                      </a:lnTo>
                      <a:lnTo>
                        <a:pt x="116125" y="108986"/>
                      </a:lnTo>
                      <a:lnTo>
                        <a:pt x="110339" y="108986"/>
                      </a:lnTo>
                      <a:lnTo>
                        <a:pt x="104569" y="108986"/>
                      </a:lnTo>
                      <a:lnTo>
                        <a:pt x="98791" y="108986"/>
                      </a:lnTo>
                      <a:lnTo>
                        <a:pt x="93013" y="108986"/>
                      </a:lnTo>
                      <a:lnTo>
                        <a:pt x="87235" y="108986"/>
                      </a:lnTo>
                      <a:lnTo>
                        <a:pt x="81457" y="108986"/>
                      </a:lnTo>
                      <a:lnTo>
                        <a:pt x="75670" y="108986"/>
                      </a:lnTo>
                      <a:lnTo>
                        <a:pt x="69900" y="108986"/>
                      </a:lnTo>
                      <a:lnTo>
                        <a:pt x="64122" y="108978"/>
                      </a:lnTo>
                      <a:lnTo>
                        <a:pt x="58344" y="108978"/>
                      </a:lnTo>
                      <a:lnTo>
                        <a:pt x="52566" y="108978"/>
                      </a:lnTo>
                      <a:lnTo>
                        <a:pt x="46796" y="108978"/>
                      </a:lnTo>
                      <a:lnTo>
                        <a:pt x="41018" y="108978"/>
                      </a:lnTo>
                      <a:lnTo>
                        <a:pt x="35231" y="108978"/>
                      </a:lnTo>
                      <a:lnTo>
                        <a:pt x="29453" y="108978"/>
                      </a:lnTo>
                      <a:lnTo>
                        <a:pt x="23675" y="108978"/>
                      </a:lnTo>
                      <a:lnTo>
                        <a:pt x="17897" y="108978"/>
                      </a:lnTo>
                      <a:lnTo>
                        <a:pt x="12127" y="108978"/>
                      </a:lnTo>
                      <a:lnTo>
                        <a:pt x="6349" y="108978"/>
                      </a:lnTo>
                      <a:lnTo>
                        <a:pt x="570" y="108978"/>
                      </a:lnTo>
                      <a:lnTo>
                        <a:pt x="530" y="102247"/>
                      </a:lnTo>
                      <a:lnTo>
                        <a:pt x="497" y="95499"/>
                      </a:lnTo>
                      <a:lnTo>
                        <a:pt x="456" y="88734"/>
                      </a:lnTo>
                      <a:lnTo>
                        <a:pt x="424" y="81970"/>
                      </a:lnTo>
                      <a:lnTo>
                        <a:pt x="399" y="75189"/>
                      </a:lnTo>
                      <a:lnTo>
                        <a:pt x="359" y="68401"/>
                      </a:lnTo>
                      <a:lnTo>
                        <a:pt x="326" y="61596"/>
                      </a:lnTo>
                      <a:lnTo>
                        <a:pt x="285" y="54791"/>
                      </a:lnTo>
                      <a:lnTo>
                        <a:pt x="261" y="47978"/>
                      </a:lnTo>
                      <a:lnTo>
                        <a:pt x="220" y="41156"/>
                      </a:lnTo>
                      <a:lnTo>
                        <a:pt x="187" y="34319"/>
                      </a:lnTo>
                      <a:lnTo>
                        <a:pt x="155" y="27465"/>
                      </a:lnTo>
                      <a:lnTo>
                        <a:pt x="114" y="20611"/>
                      </a:lnTo>
                      <a:lnTo>
                        <a:pt x="90" y="13732"/>
                      </a:lnTo>
                      <a:lnTo>
                        <a:pt x="49" y="6862"/>
                      </a:lnTo>
                      <a:lnTo>
                        <a:pt x="0" y="0"/>
                      </a:lnTo>
                      <a:lnTo>
                        <a:pt x="2681" y="0"/>
                      </a:lnTo>
                      <a:lnTo>
                        <a:pt x="13260" y="0"/>
                      </a:lnTo>
                      <a:lnTo>
                        <a:pt x="23838" y="0"/>
                      </a:lnTo>
                      <a:lnTo>
                        <a:pt x="34416" y="0"/>
                      </a:lnTo>
                      <a:lnTo>
                        <a:pt x="44995" y="0"/>
                      </a:lnTo>
                      <a:lnTo>
                        <a:pt x="55565" y="0"/>
                      </a:lnTo>
                      <a:lnTo>
                        <a:pt x="66143" y="0"/>
                      </a:lnTo>
                      <a:lnTo>
                        <a:pt x="76713" y="0"/>
                      </a:lnTo>
                      <a:lnTo>
                        <a:pt x="87292" y="0"/>
                      </a:lnTo>
                      <a:lnTo>
                        <a:pt x="97870" y="0"/>
                      </a:lnTo>
                      <a:lnTo>
                        <a:pt x="108432" y="0"/>
                      </a:lnTo>
                      <a:lnTo>
                        <a:pt x="119011" y="0"/>
                      </a:lnTo>
                      <a:lnTo>
                        <a:pt x="129597" y="0"/>
                      </a:lnTo>
                      <a:lnTo>
                        <a:pt x="140167" y="0"/>
                      </a:lnTo>
                      <a:lnTo>
                        <a:pt x="150737" y="0"/>
                      </a:lnTo>
                      <a:lnTo>
                        <a:pt x="161316" y="0"/>
                      </a:lnTo>
                      <a:lnTo>
                        <a:pt x="168862" y="0"/>
                      </a:lnTo>
                      <a:lnTo>
                        <a:pt x="171283" y="11271"/>
                      </a:lnTo>
                      <a:lnTo>
                        <a:pt x="171250" y="14433"/>
                      </a:lnTo>
                      <a:lnTo>
                        <a:pt x="170883" y="16479"/>
                      </a:lnTo>
                      <a:lnTo>
                        <a:pt x="171201" y="20048"/>
                      </a:lnTo>
                      <a:lnTo>
                        <a:pt x="171063" y="22436"/>
                      </a:lnTo>
                      <a:lnTo>
                        <a:pt x="171438" y="25501"/>
                      </a:lnTo>
                      <a:lnTo>
                        <a:pt x="171332" y="29543"/>
                      </a:lnTo>
                      <a:lnTo>
                        <a:pt x="172505" y="34213"/>
                      </a:lnTo>
                      <a:lnTo>
                        <a:pt x="174274" y="38442"/>
                      </a:lnTo>
                      <a:lnTo>
                        <a:pt x="174233" y="39657"/>
                      </a:lnTo>
                      <a:lnTo>
                        <a:pt x="174755" y="42207"/>
                      </a:lnTo>
                      <a:lnTo>
                        <a:pt x="175790" y="44318"/>
                      </a:lnTo>
                      <a:lnTo>
                        <a:pt x="177966" y="50512"/>
                      </a:lnTo>
                      <a:lnTo>
                        <a:pt x="177860" y="56388"/>
                      </a:lnTo>
                      <a:lnTo>
                        <a:pt x="178235" y="58189"/>
                      </a:lnTo>
                      <a:lnTo>
                        <a:pt x="178789" y="70829"/>
                      </a:lnTo>
                      <a:lnTo>
                        <a:pt x="178960" y="72419"/>
                      </a:lnTo>
                      <a:lnTo>
                        <a:pt x="180158" y="74358"/>
                      </a:lnTo>
                      <a:lnTo>
                        <a:pt x="179596" y="77227"/>
                      </a:lnTo>
                      <a:lnTo>
                        <a:pt x="179514" y="78718"/>
                      </a:lnTo>
                      <a:lnTo>
                        <a:pt x="179742" y="84007"/>
                      </a:lnTo>
                      <a:lnTo>
                        <a:pt x="180451" y="86069"/>
                      </a:lnTo>
                      <a:lnTo>
                        <a:pt x="181128" y="90242"/>
                      </a:lnTo>
                      <a:lnTo>
                        <a:pt x="183948" y="95401"/>
                      </a:lnTo>
                      <a:lnTo>
                        <a:pt x="184412" y="97357"/>
                      </a:lnTo>
                      <a:lnTo>
                        <a:pt x="184583" y="98921"/>
                      </a:lnTo>
                      <a:lnTo>
                        <a:pt x="185349" y="102092"/>
                      </a:lnTo>
                      <a:close/>
                    </a:path>
                  </a:pathLst>
                </a:custGeom>
                <a:solidFill>
                  <a:srgbClr val="D6D6D2"/>
                </a:solidFill>
                <a:ln w="6112" cap="rnd">
                  <a:solidFill>
                    <a:srgbClr val="FFFFFF"/>
                  </a:solidFill>
                  <a:prstDash val="solid"/>
                  <a:round/>
                </a:ln>
              </p:spPr>
              <p:txBody>
                <a:bodyPr rtlCol="0" anchor="ctr"/>
                <a:lstStyle/>
                <a:p>
                  <a:endParaRPr lang="en-US"/>
                </a:p>
              </p:txBody>
            </p:sp>
            <p:sp>
              <p:nvSpPr>
                <p:cNvPr id="447" name="Freeform: Shape 446">
                  <a:extLst>
                    <a:ext uri="{FF2B5EF4-FFF2-40B4-BE49-F238E27FC236}">
                      <a16:creationId xmlns:a16="http://schemas.microsoft.com/office/drawing/2014/main" id="{F35467C6-299C-44F3-A628-4F3DFD95F59B}"/>
                    </a:ext>
                  </a:extLst>
                </p:cNvPr>
                <p:cNvSpPr/>
                <p:nvPr/>
              </p:nvSpPr>
              <p:spPr>
                <a:xfrm>
                  <a:off x="3852240" y="3389557"/>
                  <a:ext cx="212748" cy="90127"/>
                </a:xfrm>
                <a:custGeom>
                  <a:avLst/>
                  <a:gdLst>
                    <a:gd name="connsiteX0" fmla="*/ 208283 w 212748"/>
                    <a:gd name="connsiteY0" fmla="*/ 7530 h 90127"/>
                    <a:gd name="connsiteX1" fmla="*/ 209733 w 212748"/>
                    <a:gd name="connsiteY1" fmla="*/ 11352 h 90127"/>
                    <a:gd name="connsiteX2" fmla="*/ 210882 w 212748"/>
                    <a:gd name="connsiteY2" fmla="*/ 16487 h 90127"/>
                    <a:gd name="connsiteX3" fmla="*/ 209326 w 212748"/>
                    <a:gd name="connsiteY3" fmla="*/ 14409 h 90127"/>
                    <a:gd name="connsiteX4" fmla="*/ 207655 w 212748"/>
                    <a:gd name="connsiteY4" fmla="*/ 13300 h 90127"/>
                    <a:gd name="connsiteX5" fmla="*/ 205072 w 212748"/>
                    <a:gd name="connsiteY5" fmla="*/ 12453 h 90127"/>
                    <a:gd name="connsiteX6" fmla="*/ 202757 w 212748"/>
                    <a:gd name="connsiteY6" fmla="*/ 10969 h 90127"/>
                    <a:gd name="connsiteX7" fmla="*/ 202928 w 212748"/>
                    <a:gd name="connsiteY7" fmla="*/ 13097 h 90127"/>
                    <a:gd name="connsiteX8" fmla="*/ 202708 w 212748"/>
                    <a:gd name="connsiteY8" fmla="*/ 15387 h 90127"/>
                    <a:gd name="connsiteX9" fmla="*/ 200932 w 212748"/>
                    <a:gd name="connsiteY9" fmla="*/ 14694 h 90127"/>
                    <a:gd name="connsiteX10" fmla="*/ 199717 w 212748"/>
                    <a:gd name="connsiteY10" fmla="*/ 13936 h 90127"/>
                    <a:gd name="connsiteX11" fmla="*/ 200793 w 212748"/>
                    <a:gd name="connsiteY11" fmla="*/ 16381 h 90127"/>
                    <a:gd name="connsiteX12" fmla="*/ 198470 w 212748"/>
                    <a:gd name="connsiteY12" fmla="*/ 15656 h 90127"/>
                    <a:gd name="connsiteX13" fmla="*/ 196914 w 212748"/>
                    <a:gd name="connsiteY13" fmla="*/ 15811 h 90127"/>
                    <a:gd name="connsiteX14" fmla="*/ 195903 w 212748"/>
                    <a:gd name="connsiteY14" fmla="*/ 17978 h 90127"/>
                    <a:gd name="connsiteX15" fmla="*/ 194550 w 212748"/>
                    <a:gd name="connsiteY15" fmla="*/ 19307 h 90127"/>
                    <a:gd name="connsiteX16" fmla="*/ 192554 w 212748"/>
                    <a:gd name="connsiteY16" fmla="*/ 19730 h 90127"/>
                    <a:gd name="connsiteX17" fmla="*/ 189587 w 212748"/>
                    <a:gd name="connsiteY17" fmla="*/ 17742 h 90127"/>
                    <a:gd name="connsiteX18" fmla="*/ 188625 w 212748"/>
                    <a:gd name="connsiteY18" fmla="*/ 15330 h 90127"/>
                    <a:gd name="connsiteX19" fmla="*/ 188226 w 212748"/>
                    <a:gd name="connsiteY19" fmla="*/ 12648 h 90127"/>
                    <a:gd name="connsiteX20" fmla="*/ 188063 w 212748"/>
                    <a:gd name="connsiteY20" fmla="*/ 15819 h 90127"/>
                    <a:gd name="connsiteX21" fmla="*/ 188593 w 212748"/>
                    <a:gd name="connsiteY21" fmla="*/ 19127 h 90127"/>
                    <a:gd name="connsiteX22" fmla="*/ 188405 w 212748"/>
                    <a:gd name="connsiteY22" fmla="*/ 21646 h 90127"/>
                    <a:gd name="connsiteX23" fmla="*/ 191266 w 212748"/>
                    <a:gd name="connsiteY23" fmla="*/ 22110 h 90127"/>
                    <a:gd name="connsiteX24" fmla="*/ 193931 w 212748"/>
                    <a:gd name="connsiteY24" fmla="*/ 21703 h 90127"/>
                    <a:gd name="connsiteX25" fmla="*/ 197533 w 212748"/>
                    <a:gd name="connsiteY25" fmla="*/ 21809 h 90127"/>
                    <a:gd name="connsiteX26" fmla="*/ 199880 w 212748"/>
                    <a:gd name="connsiteY26" fmla="*/ 21336 h 90127"/>
                    <a:gd name="connsiteX27" fmla="*/ 201290 w 212748"/>
                    <a:gd name="connsiteY27" fmla="*/ 20537 h 90127"/>
                    <a:gd name="connsiteX28" fmla="*/ 204689 w 212748"/>
                    <a:gd name="connsiteY28" fmla="*/ 21222 h 90127"/>
                    <a:gd name="connsiteX29" fmla="*/ 204933 w 212748"/>
                    <a:gd name="connsiteY29" fmla="*/ 24254 h 90127"/>
                    <a:gd name="connsiteX30" fmla="*/ 204542 w 212748"/>
                    <a:gd name="connsiteY30" fmla="*/ 27269 h 90127"/>
                    <a:gd name="connsiteX31" fmla="*/ 204346 w 212748"/>
                    <a:gd name="connsiteY31" fmla="*/ 30472 h 90127"/>
                    <a:gd name="connsiteX32" fmla="*/ 205292 w 212748"/>
                    <a:gd name="connsiteY32" fmla="*/ 30456 h 90127"/>
                    <a:gd name="connsiteX33" fmla="*/ 206400 w 212748"/>
                    <a:gd name="connsiteY33" fmla="*/ 29429 h 90127"/>
                    <a:gd name="connsiteX34" fmla="*/ 206946 w 212748"/>
                    <a:gd name="connsiteY34" fmla="*/ 23683 h 90127"/>
                    <a:gd name="connsiteX35" fmla="*/ 210043 w 212748"/>
                    <a:gd name="connsiteY35" fmla="*/ 21564 h 90127"/>
                    <a:gd name="connsiteX36" fmla="*/ 211086 w 212748"/>
                    <a:gd name="connsiteY36" fmla="*/ 21711 h 90127"/>
                    <a:gd name="connsiteX37" fmla="*/ 212072 w 212748"/>
                    <a:gd name="connsiteY37" fmla="*/ 23561 h 90127"/>
                    <a:gd name="connsiteX38" fmla="*/ 212406 w 212748"/>
                    <a:gd name="connsiteY38" fmla="*/ 25435 h 90127"/>
                    <a:gd name="connsiteX39" fmla="*/ 212749 w 212748"/>
                    <a:gd name="connsiteY39" fmla="*/ 28002 h 90127"/>
                    <a:gd name="connsiteX40" fmla="*/ 212023 w 212748"/>
                    <a:gd name="connsiteY40" fmla="*/ 31922 h 90127"/>
                    <a:gd name="connsiteX41" fmla="*/ 207264 w 212748"/>
                    <a:gd name="connsiteY41" fmla="*/ 36494 h 90127"/>
                    <a:gd name="connsiteX42" fmla="*/ 203857 w 212748"/>
                    <a:gd name="connsiteY42" fmla="*/ 40732 h 90127"/>
                    <a:gd name="connsiteX43" fmla="*/ 202113 w 212748"/>
                    <a:gd name="connsiteY43" fmla="*/ 41596 h 90127"/>
                    <a:gd name="connsiteX44" fmla="*/ 199603 w 212748"/>
                    <a:gd name="connsiteY44" fmla="*/ 41099 h 90127"/>
                    <a:gd name="connsiteX45" fmla="*/ 196751 w 212748"/>
                    <a:gd name="connsiteY45" fmla="*/ 40040 h 90127"/>
                    <a:gd name="connsiteX46" fmla="*/ 195349 w 212748"/>
                    <a:gd name="connsiteY46" fmla="*/ 39828 h 90127"/>
                    <a:gd name="connsiteX47" fmla="*/ 194290 w 212748"/>
                    <a:gd name="connsiteY47" fmla="*/ 40178 h 90127"/>
                    <a:gd name="connsiteX48" fmla="*/ 193637 w 212748"/>
                    <a:gd name="connsiteY48" fmla="*/ 38874 h 90127"/>
                    <a:gd name="connsiteX49" fmla="*/ 193222 w 212748"/>
                    <a:gd name="connsiteY49" fmla="*/ 36494 h 90127"/>
                    <a:gd name="connsiteX50" fmla="*/ 192114 w 212748"/>
                    <a:gd name="connsiteY50" fmla="*/ 35712 h 90127"/>
                    <a:gd name="connsiteX51" fmla="*/ 191274 w 212748"/>
                    <a:gd name="connsiteY51" fmla="*/ 35794 h 90127"/>
                    <a:gd name="connsiteX52" fmla="*/ 190704 w 212748"/>
                    <a:gd name="connsiteY52" fmla="*/ 38328 h 90127"/>
                    <a:gd name="connsiteX53" fmla="*/ 188047 w 212748"/>
                    <a:gd name="connsiteY53" fmla="*/ 39037 h 90127"/>
                    <a:gd name="connsiteX54" fmla="*/ 184428 w 212748"/>
                    <a:gd name="connsiteY54" fmla="*/ 37994 h 90127"/>
                    <a:gd name="connsiteX55" fmla="*/ 180639 w 212748"/>
                    <a:gd name="connsiteY55" fmla="*/ 35875 h 90127"/>
                    <a:gd name="connsiteX56" fmla="*/ 182269 w 212748"/>
                    <a:gd name="connsiteY56" fmla="*/ 38149 h 90127"/>
                    <a:gd name="connsiteX57" fmla="*/ 191665 w 212748"/>
                    <a:gd name="connsiteY57" fmla="*/ 42395 h 90127"/>
                    <a:gd name="connsiteX58" fmla="*/ 192725 w 212748"/>
                    <a:gd name="connsiteY58" fmla="*/ 43185 h 90127"/>
                    <a:gd name="connsiteX59" fmla="*/ 193711 w 212748"/>
                    <a:gd name="connsiteY59" fmla="*/ 44343 h 90127"/>
                    <a:gd name="connsiteX60" fmla="*/ 192399 w 212748"/>
                    <a:gd name="connsiteY60" fmla="*/ 46168 h 90127"/>
                    <a:gd name="connsiteX61" fmla="*/ 191364 w 212748"/>
                    <a:gd name="connsiteY61" fmla="*/ 48214 h 90127"/>
                    <a:gd name="connsiteX62" fmla="*/ 191217 w 212748"/>
                    <a:gd name="connsiteY62" fmla="*/ 49819 h 90127"/>
                    <a:gd name="connsiteX63" fmla="*/ 190858 w 212748"/>
                    <a:gd name="connsiteY63" fmla="*/ 50838 h 90127"/>
                    <a:gd name="connsiteX64" fmla="*/ 187110 w 212748"/>
                    <a:gd name="connsiteY64" fmla="*/ 53568 h 90127"/>
                    <a:gd name="connsiteX65" fmla="*/ 185080 w 212748"/>
                    <a:gd name="connsiteY65" fmla="*/ 53087 h 90127"/>
                    <a:gd name="connsiteX66" fmla="*/ 179889 w 212748"/>
                    <a:gd name="connsiteY66" fmla="*/ 48165 h 90127"/>
                    <a:gd name="connsiteX67" fmla="*/ 182260 w 212748"/>
                    <a:gd name="connsiteY67" fmla="*/ 52427 h 90127"/>
                    <a:gd name="connsiteX68" fmla="*/ 184151 w 212748"/>
                    <a:gd name="connsiteY68" fmla="*/ 54236 h 90127"/>
                    <a:gd name="connsiteX69" fmla="*/ 187965 w 212748"/>
                    <a:gd name="connsiteY69" fmla="*/ 55206 h 90127"/>
                    <a:gd name="connsiteX70" fmla="*/ 195113 w 212748"/>
                    <a:gd name="connsiteY70" fmla="*/ 53609 h 90127"/>
                    <a:gd name="connsiteX71" fmla="*/ 197460 w 212748"/>
                    <a:gd name="connsiteY71" fmla="*/ 55353 h 90127"/>
                    <a:gd name="connsiteX72" fmla="*/ 195536 w 212748"/>
                    <a:gd name="connsiteY72" fmla="*/ 58425 h 90127"/>
                    <a:gd name="connsiteX73" fmla="*/ 193629 w 212748"/>
                    <a:gd name="connsiteY73" fmla="*/ 60585 h 90127"/>
                    <a:gd name="connsiteX74" fmla="*/ 191128 w 212748"/>
                    <a:gd name="connsiteY74" fmla="*/ 60830 h 90127"/>
                    <a:gd name="connsiteX75" fmla="*/ 188919 w 212748"/>
                    <a:gd name="connsiteY75" fmla="*/ 61408 h 90127"/>
                    <a:gd name="connsiteX76" fmla="*/ 188267 w 212748"/>
                    <a:gd name="connsiteY76" fmla="*/ 62891 h 90127"/>
                    <a:gd name="connsiteX77" fmla="*/ 186694 w 212748"/>
                    <a:gd name="connsiteY77" fmla="*/ 62989 h 90127"/>
                    <a:gd name="connsiteX78" fmla="*/ 184241 w 212748"/>
                    <a:gd name="connsiteY78" fmla="*/ 63079 h 90127"/>
                    <a:gd name="connsiteX79" fmla="*/ 180427 w 212748"/>
                    <a:gd name="connsiteY79" fmla="*/ 63218 h 90127"/>
                    <a:gd name="connsiteX80" fmla="*/ 178332 w 212748"/>
                    <a:gd name="connsiteY80" fmla="*/ 62867 h 90127"/>
                    <a:gd name="connsiteX81" fmla="*/ 175415 w 212748"/>
                    <a:gd name="connsiteY81" fmla="*/ 65907 h 90127"/>
                    <a:gd name="connsiteX82" fmla="*/ 174306 w 212748"/>
                    <a:gd name="connsiteY82" fmla="*/ 66314 h 90127"/>
                    <a:gd name="connsiteX83" fmla="*/ 172766 w 212748"/>
                    <a:gd name="connsiteY83" fmla="*/ 65752 h 90127"/>
                    <a:gd name="connsiteX84" fmla="*/ 172114 w 212748"/>
                    <a:gd name="connsiteY84" fmla="*/ 63315 h 90127"/>
                    <a:gd name="connsiteX85" fmla="*/ 171429 w 212748"/>
                    <a:gd name="connsiteY85" fmla="*/ 62125 h 90127"/>
                    <a:gd name="connsiteX86" fmla="*/ 171413 w 212748"/>
                    <a:gd name="connsiteY86" fmla="*/ 66681 h 90127"/>
                    <a:gd name="connsiteX87" fmla="*/ 171690 w 212748"/>
                    <a:gd name="connsiteY87" fmla="*/ 67904 h 90127"/>
                    <a:gd name="connsiteX88" fmla="*/ 172236 w 212748"/>
                    <a:gd name="connsiteY88" fmla="*/ 68824 h 90127"/>
                    <a:gd name="connsiteX89" fmla="*/ 168822 w 212748"/>
                    <a:gd name="connsiteY89" fmla="*/ 71294 h 90127"/>
                    <a:gd name="connsiteX90" fmla="*/ 165545 w 212748"/>
                    <a:gd name="connsiteY90" fmla="*/ 74374 h 90127"/>
                    <a:gd name="connsiteX91" fmla="*/ 164372 w 212748"/>
                    <a:gd name="connsiteY91" fmla="*/ 75214 h 90127"/>
                    <a:gd name="connsiteX92" fmla="*/ 163035 w 212748"/>
                    <a:gd name="connsiteY92" fmla="*/ 76754 h 90127"/>
                    <a:gd name="connsiteX93" fmla="*/ 160305 w 212748"/>
                    <a:gd name="connsiteY93" fmla="*/ 81204 h 90127"/>
                    <a:gd name="connsiteX94" fmla="*/ 159629 w 212748"/>
                    <a:gd name="connsiteY94" fmla="*/ 84448 h 90127"/>
                    <a:gd name="connsiteX95" fmla="*/ 158635 w 212748"/>
                    <a:gd name="connsiteY95" fmla="*/ 88066 h 90127"/>
                    <a:gd name="connsiteX96" fmla="*/ 158512 w 212748"/>
                    <a:gd name="connsiteY96" fmla="*/ 86436 h 90127"/>
                    <a:gd name="connsiteX97" fmla="*/ 158683 w 212748"/>
                    <a:gd name="connsiteY97" fmla="*/ 83698 h 90127"/>
                    <a:gd name="connsiteX98" fmla="*/ 158007 w 212748"/>
                    <a:gd name="connsiteY98" fmla="*/ 80560 h 90127"/>
                    <a:gd name="connsiteX99" fmla="*/ 157575 w 212748"/>
                    <a:gd name="connsiteY99" fmla="*/ 86306 h 90127"/>
                    <a:gd name="connsiteX100" fmla="*/ 156516 w 212748"/>
                    <a:gd name="connsiteY100" fmla="*/ 88979 h 90127"/>
                    <a:gd name="connsiteX101" fmla="*/ 146785 w 212748"/>
                    <a:gd name="connsiteY101" fmla="*/ 88791 h 90127"/>
                    <a:gd name="connsiteX102" fmla="*/ 142857 w 212748"/>
                    <a:gd name="connsiteY102" fmla="*/ 90128 h 90127"/>
                    <a:gd name="connsiteX103" fmla="*/ 139287 w 212748"/>
                    <a:gd name="connsiteY103" fmla="*/ 86167 h 90127"/>
                    <a:gd name="connsiteX104" fmla="*/ 135937 w 212748"/>
                    <a:gd name="connsiteY104" fmla="*/ 82426 h 90127"/>
                    <a:gd name="connsiteX105" fmla="*/ 132588 w 212748"/>
                    <a:gd name="connsiteY105" fmla="*/ 78686 h 90127"/>
                    <a:gd name="connsiteX106" fmla="*/ 129238 w 212748"/>
                    <a:gd name="connsiteY106" fmla="*/ 74945 h 90127"/>
                    <a:gd name="connsiteX107" fmla="*/ 125889 w 212748"/>
                    <a:gd name="connsiteY107" fmla="*/ 71204 h 90127"/>
                    <a:gd name="connsiteX108" fmla="*/ 122539 w 212748"/>
                    <a:gd name="connsiteY108" fmla="*/ 67455 h 90127"/>
                    <a:gd name="connsiteX109" fmla="*/ 119190 w 212748"/>
                    <a:gd name="connsiteY109" fmla="*/ 63698 h 90127"/>
                    <a:gd name="connsiteX110" fmla="*/ 115840 w 212748"/>
                    <a:gd name="connsiteY110" fmla="*/ 59958 h 90127"/>
                    <a:gd name="connsiteX111" fmla="*/ 112336 w 212748"/>
                    <a:gd name="connsiteY111" fmla="*/ 59819 h 90127"/>
                    <a:gd name="connsiteX112" fmla="*/ 108831 w 212748"/>
                    <a:gd name="connsiteY112" fmla="*/ 59689 h 90127"/>
                    <a:gd name="connsiteX113" fmla="*/ 105319 w 212748"/>
                    <a:gd name="connsiteY113" fmla="*/ 59550 h 90127"/>
                    <a:gd name="connsiteX114" fmla="*/ 101814 w 212748"/>
                    <a:gd name="connsiteY114" fmla="*/ 59420 h 90127"/>
                    <a:gd name="connsiteX115" fmla="*/ 98310 w 212748"/>
                    <a:gd name="connsiteY115" fmla="*/ 59281 h 90127"/>
                    <a:gd name="connsiteX116" fmla="*/ 94806 w 212748"/>
                    <a:gd name="connsiteY116" fmla="*/ 59159 h 90127"/>
                    <a:gd name="connsiteX117" fmla="*/ 91301 w 212748"/>
                    <a:gd name="connsiteY117" fmla="*/ 59028 h 90127"/>
                    <a:gd name="connsiteX118" fmla="*/ 87797 w 212748"/>
                    <a:gd name="connsiteY118" fmla="*/ 58890 h 90127"/>
                    <a:gd name="connsiteX119" fmla="*/ 87667 w 212748"/>
                    <a:gd name="connsiteY119" fmla="*/ 56306 h 90127"/>
                    <a:gd name="connsiteX120" fmla="*/ 87577 w 212748"/>
                    <a:gd name="connsiteY120" fmla="*/ 54481 h 90127"/>
                    <a:gd name="connsiteX121" fmla="*/ 85376 w 212748"/>
                    <a:gd name="connsiteY121" fmla="*/ 51351 h 90127"/>
                    <a:gd name="connsiteX122" fmla="*/ 84089 w 212748"/>
                    <a:gd name="connsiteY122" fmla="*/ 49510 h 90127"/>
                    <a:gd name="connsiteX123" fmla="*/ 81318 w 212748"/>
                    <a:gd name="connsiteY123" fmla="*/ 51091 h 90127"/>
                    <a:gd name="connsiteX124" fmla="*/ 81171 w 212748"/>
                    <a:gd name="connsiteY124" fmla="*/ 50316 h 90127"/>
                    <a:gd name="connsiteX125" fmla="*/ 81277 w 212748"/>
                    <a:gd name="connsiteY125" fmla="*/ 48931 h 90127"/>
                    <a:gd name="connsiteX126" fmla="*/ 81041 w 212748"/>
                    <a:gd name="connsiteY126" fmla="*/ 48458 h 90127"/>
                    <a:gd name="connsiteX127" fmla="*/ 80275 w 212748"/>
                    <a:gd name="connsiteY127" fmla="*/ 48116 h 90127"/>
                    <a:gd name="connsiteX128" fmla="*/ 76347 w 212748"/>
                    <a:gd name="connsiteY128" fmla="*/ 47929 h 90127"/>
                    <a:gd name="connsiteX129" fmla="*/ 72410 w 212748"/>
                    <a:gd name="connsiteY129" fmla="*/ 47741 h 90127"/>
                    <a:gd name="connsiteX130" fmla="*/ 68482 w 212748"/>
                    <a:gd name="connsiteY130" fmla="*/ 47554 h 90127"/>
                    <a:gd name="connsiteX131" fmla="*/ 64546 w 212748"/>
                    <a:gd name="connsiteY131" fmla="*/ 47366 h 90127"/>
                    <a:gd name="connsiteX132" fmla="*/ 60609 w 212748"/>
                    <a:gd name="connsiteY132" fmla="*/ 47179 h 90127"/>
                    <a:gd name="connsiteX133" fmla="*/ 56681 w 212748"/>
                    <a:gd name="connsiteY133" fmla="*/ 46991 h 90127"/>
                    <a:gd name="connsiteX134" fmla="*/ 52745 w 212748"/>
                    <a:gd name="connsiteY134" fmla="*/ 46804 h 90127"/>
                    <a:gd name="connsiteX135" fmla="*/ 48817 w 212748"/>
                    <a:gd name="connsiteY135" fmla="*/ 46616 h 90127"/>
                    <a:gd name="connsiteX136" fmla="*/ 47920 w 212748"/>
                    <a:gd name="connsiteY136" fmla="*/ 46307 h 90127"/>
                    <a:gd name="connsiteX137" fmla="*/ 46144 w 212748"/>
                    <a:gd name="connsiteY137" fmla="*/ 47391 h 90127"/>
                    <a:gd name="connsiteX138" fmla="*/ 41490 w 212748"/>
                    <a:gd name="connsiteY138" fmla="*/ 49037 h 90127"/>
                    <a:gd name="connsiteX139" fmla="*/ 39200 w 212748"/>
                    <a:gd name="connsiteY139" fmla="*/ 50479 h 90127"/>
                    <a:gd name="connsiteX140" fmla="*/ 38369 w 212748"/>
                    <a:gd name="connsiteY140" fmla="*/ 50398 h 90127"/>
                    <a:gd name="connsiteX141" fmla="*/ 34416 w 212748"/>
                    <a:gd name="connsiteY141" fmla="*/ 51792 h 90127"/>
                    <a:gd name="connsiteX142" fmla="*/ 30456 w 212748"/>
                    <a:gd name="connsiteY142" fmla="*/ 53193 h 90127"/>
                    <a:gd name="connsiteX143" fmla="*/ 29999 w 212748"/>
                    <a:gd name="connsiteY143" fmla="*/ 53193 h 90127"/>
                    <a:gd name="connsiteX144" fmla="*/ 22501 w 212748"/>
                    <a:gd name="connsiteY144" fmla="*/ 53307 h 90127"/>
                    <a:gd name="connsiteX145" fmla="*/ 15003 w 212748"/>
                    <a:gd name="connsiteY145" fmla="*/ 53421 h 90127"/>
                    <a:gd name="connsiteX146" fmla="*/ 7506 w 212748"/>
                    <a:gd name="connsiteY146" fmla="*/ 53536 h 90127"/>
                    <a:gd name="connsiteX147" fmla="*/ 0 w 212748"/>
                    <a:gd name="connsiteY147" fmla="*/ 53650 h 90127"/>
                    <a:gd name="connsiteX148" fmla="*/ 937 w 212748"/>
                    <a:gd name="connsiteY148" fmla="*/ 46641 h 90127"/>
                    <a:gd name="connsiteX149" fmla="*/ 1581 w 212748"/>
                    <a:gd name="connsiteY149" fmla="*/ 45044 h 90127"/>
                    <a:gd name="connsiteX150" fmla="*/ 2290 w 212748"/>
                    <a:gd name="connsiteY150" fmla="*/ 44677 h 90127"/>
                    <a:gd name="connsiteX151" fmla="*/ 4865 w 212748"/>
                    <a:gd name="connsiteY151" fmla="*/ 44652 h 90127"/>
                    <a:gd name="connsiteX152" fmla="*/ 6503 w 212748"/>
                    <a:gd name="connsiteY152" fmla="*/ 43837 h 90127"/>
                    <a:gd name="connsiteX153" fmla="*/ 7962 w 212748"/>
                    <a:gd name="connsiteY153" fmla="*/ 39616 h 90127"/>
                    <a:gd name="connsiteX154" fmla="*/ 11246 w 212748"/>
                    <a:gd name="connsiteY154" fmla="*/ 36283 h 90127"/>
                    <a:gd name="connsiteX155" fmla="*/ 12722 w 212748"/>
                    <a:gd name="connsiteY155" fmla="*/ 35443 h 90127"/>
                    <a:gd name="connsiteX156" fmla="*/ 14930 w 212748"/>
                    <a:gd name="connsiteY156" fmla="*/ 34791 h 90127"/>
                    <a:gd name="connsiteX157" fmla="*/ 20179 w 212748"/>
                    <a:gd name="connsiteY157" fmla="*/ 33992 h 90127"/>
                    <a:gd name="connsiteX158" fmla="*/ 25802 w 212748"/>
                    <a:gd name="connsiteY158" fmla="*/ 30765 h 90127"/>
                    <a:gd name="connsiteX159" fmla="*/ 29869 w 212748"/>
                    <a:gd name="connsiteY159" fmla="*/ 27701 h 90127"/>
                    <a:gd name="connsiteX160" fmla="*/ 33096 w 212748"/>
                    <a:gd name="connsiteY160" fmla="*/ 26845 h 90127"/>
                    <a:gd name="connsiteX161" fmla="*/ 34107 w 212748"/>
                    <a:gd name="connsiteY161" fmla="*/ 25720 h 90127"/>
                    <a:gd name="connsiteX162" fmla="*/ 34832 w 212748"/>
                    <a:gd name="connsiteY162" fmla="*/ 24254 h 90127"/>
                    <a:gd name="connsiteX163" fmla="*/ 35288 w 212748"/>
                    <a:gd name="connsiteY163" fmla="*/ 22257 h 90127"/>
                    <a:gd name="connsiteX164" fmla="*/ 35630 w 212748"/>
                    <a:gd name="connsiteY164" fmla="*/ 21841 h 90127"/>
                    <a:gd name="connsiteX165" fmla="*/ 37497 w 212748"/>
                    <a:gd name="connsiteY165" fmla="*/ 21988 h 90127"/>
                    <a:gd name="connsiteX166" fmla="*/ 38915 w 212748"/>
                    <a:gd name="connsiteY166" fmla="*/ 20252 h 90127"/>
                    <a:gd name="connsiteX167" fmla="*/ 40292 w 212748"/>
                    <a:gd name="connsiteY167" fmla="*/ 19258 h 90127"/>
                    <a:gd name="connsiteX168" fmla="*/ 41653 w 212748"/>
                    <a:gd name="connsiteY168" fmla="*/ 18704 h 90127"/>
                    <a:gd name="connsiteX169" fmla="*/ 42493 w 212748"/>
                    <a:gd name="connsiteY169" fmla="*/ 18687 h 90127"/>
                    <a:gd name="connsiteX170" fmla="*/ 42819 w 212748"/>
                    <a:gd name="connsiteY170" fmla="*/ 19209 h 90127"/>
                    <a:gd name="connsiteX171" fmla="*/ 43047 w 212748"/>
                    <a:gd name="connsiteY171" fmla="*/ 20692 h 90127"/>
                    <a:gd name="connsiteX172" fmla="*/ 43348 w 212748"/>
                    <a:gd name="connsiteY172" fmla="*/ 21173 h 90127"/>
                    <a:gd name="connsiteX173" fmla="*/ 43927 w 212748"/>
                    <a:gd name="connsiteY173" fmla="*/ 21214 h 90127"/>
                    <a:gd name="connsiteX174" fmla="*/ 44734 w 212748"/>
                    <a:gd name="connsiteY174" fmla="*/ 20871 h 90127"/>
                    <a:gd name="connsiteX175" fmla="*/ 45785 w 212748"/>
                    <a:gd name="connsiteY175" fmla="*/ 19918 h 90127"/>
                    <a:gd name="connsiteX176" fmla="*/ 48515 w 212748"/>
                    <a:gd name="connsiteY176" fmla="*/ 16960 h 90127"/>
                    <a:gd name="connsiteX177" fmla="*/ 50333 w 212748"/>
                    <a:gd name="connsiteY177" fmla="*/ 15819 h 90127"/>
                    <a:gd name="connsiteX178" fmla="*/ 53128 w 212748"/>
                    <a:gd name="connsiteY178" fmla="*/ 15159 h 90127"/>
                    <a:gd name="connsiteX179" fmla="*/ 55157 w 212748"/>
                    <a:gd name="connsiteY179" fmla="*/ 16723 h 90127"/>
                    <a:gd name="connsiteX180" fmla="*/ 56372 w 212748"/>
                    <a:gd name="connsiteY180" fmla="*/ 16185 h 90127"/>
                    <a:gd name="connsiteX181" fmla="*/ 59925 w 212748"/>
                    <a:gd name="connsiteY181" fmla="*/ 10098 h 90127"/>
                    <a:gd name="connsiteX182" fmla="*/ 61343 w 212748"/>
                    <a:gd name="connsiteY182" fmla="*/ 8997 h 90127"/>
                    <a:gd name="connsiteX183" fmla="*/ 62411 w 212748"/>
                    <a:gd name="connsiteY183" fmla="*/ 8565 h 90127"/>
                    <a:gd name="connsiteX184" fmla="*/ 64244 w 212748"/>
                    <a:gd name="connsiteY184" fmla="*/ 8476 h 90127"/>
                    <a:gd name="connsiteX185" fmla="*/ 64269 w 212748"/>
                    <a:gd name="connsiteY185" fmla="*/ 6797 h 90127"/>
                    <a:gd name="connsiteX186" fmla="*/ 64904 w 212748"/>
                    <a:gd name="connsiteY186" fmla="*/ 4270 h 90127"/>
                    <a:gd name="connsiteX187" fmla="*/ 64986 w 212748"/>
                    <a:gd name="connsiteY187" fmla="*/ 2551 h 90127"/>
                    <a:gd name="connsiteX188" fmla="*/ 66111 w 212748"/>
                    <a:gd name="connsiteY188" fmla="*/ 0 h 90127"/>
                    <a:gd name="connsiteX189" fmla="*/ 66542 w 212748"/>
                    <a:gd name="connsiteY189" fmla="*/ 513 h 90127"/>
                    <a:gd name="connsiteX190" fmla="*/ 75524 w 212748"/>
                    <a:gd name="connsiteY190" fmla="*/ 611 h 90127"/>
                    <a:gd name="connsiteX191" fmla="*/ 84496 w 212748"/>
                    <a:gd name="connsiteY191" fmla="*/ 701 h 90127"/>
                    <a:gd name="connsiteX192" fmla="*/ 93469 w 212748"/>
                    <a:gd name="connsiteY192" fmla="*/ 799 h 90127"/>
                    <a:gd name="connsiteX193" fmla="*/ 102442 w 212748"/>
                    <a:gd name="connsiteY193" fmla="*/ 888 h 90127"/>
                    <a:gd name="connsiteX194" fmla="*/ 111415 w 212748"/>
                    <a:gd name="connsiteY194" fmla="*/ 986 h 90127"/>
                    <a:gd name="connsiteX195" fmla="*/ 120388 w 212748"/>
                    <a:gd name="connsiteY195" fmla="*/ 1076 h 90127"/>
                    <a:gd name="connsiteX196" fmla="*/ 129361 w 212748"/>
                    <a:gd name="connsiteY196" fmla="*/ 1165 h 90127"/>
                    <a:gd name="connsiteX197" fmla="*/ 138334 w 212748"/>
                    <a:gd name="connsiteY197" fmla="*/ 1263 h 90127"/>
                    <a:gd name="connsiteX198" fmla="*/ 147314 w 212748"/>
                    <a:gd name="connsiteY198" fmla="*/ 1361 h 90127"/>
                    <a:gd name="connsiteX199" fmla="*/ 156287 w 212748"/>
                    <a:gd name="connsiteY199" fmla="*/ 1451 h 90127"/>
                    <a:gd name="connsiteX200" fmla="*/ 165260 w 212748"/>
                    <a:gd name="connsiteY200" fmla="*/ 1548 h 90127"/>
                    <a:gd name="connsiteX201" fmla="*/ 174233 w 212748"/>
                    <a:gd name="connsiteY201" fmla="*/ 1638 h 90127"/>
                    <a:gd name="connsiteX202" fmla="*/ 183214 w 212748"/>
                    <a:gd name="connsiteY202" fmla="*/ 1736 h 90127"/>
                    <a:gd name="connsiteX203" fmla="*/ 192187 w 212748"/>
                    <a:gd name="connsiteY203" fmla="*/ 1826 h 90127"/>
                    <a:gd name="connsiteX204" fmla="*/ 201160 w 212748"/>
                    <a:gd name="connsiteY204" fmla="*/ 1923 h 90127"/>
                    <a:gd name="connsiteX205" fmla="*/ 207321 w 212748"/>
                    <a:gd name="connsiteY205" fmla="*/ 1972 h 90127"/>
                    <a:gd name="connsiteX206" fmla="*/ 206669 w 212748"/>
                    <a:gd name="connsiteY206" fmla="*/ 4548 h 90127"/>
                    <a:gd name="connsiteX207" fmla="*/ 207028 w 212748"/>
                    <a:gd name="connsiteY207" fmla="*/ 6031 h 90127"/>
                    <a:gd name="connsiteX208" fmla="*/ 208283 w 212748"/>
                    <a:gd name="connsiteY208" fmla="*/ 7530 h 90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Lst>
                  <a:rect l="l" t="t" r="r" b="b"/>
                  <a:pathLst>
                    <a:path w="212748" h="90127">
                      <a:moveTo>
                        <a:pt x="208283" y="7530"/>
                      </a:moveTo>
                      <a:lnTo>
                        <a:pt x="209733" y="11352"/>
                      </a:lnTo>
                      <a:lnTo>
                        <a:pt x="210882" y="16487"/>
                      </a:lnTo>
                      <a:lnTo>
                        <a:pt x="209326" y="14409"/>
                      </a:lnTo>
                      <a:lnTo>
                        <a:pt x="207655" y="13300"/>
                      </a:lnTo>
                      <a:lnTo>
                        <a:pt x="205072" y="12453"/>
                      </a:lnTo>
                      <a:lnTo>
                        <a:pt x="202757" y="10969"/>
                      </a:lnTo>
                      <a:lnTo>
                        <a:pt x="202928" y="13097"/>
                      </a:lnTo>
                      <a:lnTo>
                        <a:pt x="202708" y="15387"/>
                      </a:lnTo>
                      <a:lnTo>
                        <a:pt x="200932" y="14694"/>
                      </a:lnTo>
                      <a:lnTo>
                        <a:pt x="199717" y="13936"/>
                      </a:lnTo>
                      <a:lnTo>
                        <a:pt x="200793" y="16381"/>
                      </a:lnTo>
                      <a:lnTo>
                        <a:pt x="198470" y="15656"/>
                      </a:lnTo>
                      <a:lnTo>
                        <a:pt x="196914" y="15811"/>
                      </a:lnTo>
                      <a:lnTo>
                        <a:pt x="195903" y="17978"/>
                      </a:lnTo>
                      <a:lnTo>
                        <a:pt x="194550" y="19307"/>
                      </a:lnTo>
                      <a:lnTo>
                        <a:pt x="192554" y="19730"/>
                      </a:lnTo>
                      <a:lnTo>
                        <a:pt x="189587" y="17742"/>
                      </a:lnTo>
                      <a:lnTo>
                        <a:pt x="188625" y="15330"/>
                      </a:lnTo>
                      <a:lnTo>
                        <a:pt x="188226" y="12648"/>
                      </a:lnTo>
                      <a:lnTo>
                        <a:pt x="188063" y="15819"/>
                      </a:lnTo>
                      <a:lnTo>
                        <a:pt x="188593" y="19127"/>
                      </a:lnTo>
                      <a:lnTo>
                        <a:pt x="188405" y="21646"/>
                      </a:lnTo>
                      <a:lnTo>
                        <a:pt x="191266" y="22110"/>
                      </a:lnTo>
                      <a:lnTo>
                        <a:pt x="193931" y="21703"/>
                      </a:lnTo>
                      <a:lnTo>
                        <a:pt x="197533" y="21809"/>
                      </a:lnTo>
                      <a:lnTo>
                        <a:pt x="199880" y="21336"/>
                      </a:lnTo>
                      <a:lnTo>
                        <a:pt x="201290" y="20537"/>
                      </a:lnTo>
                      <a:lnTo>
                        <a:pt x="204689" y="21222"/>
                      </a:lnTo>
                      <a:lnTo>
                        <a:pt x="204933" y="24254"/>
                      </a:lnTo>
                      <a:lnTo>
                        <a:pt x="204542" y="27269"/>
                      </a:lnTo>
                      <a:lnTo>
                        <a:pt x="204346" y="30472"/>
                      </a:lnTo>
                      <a:lnTo>
                        <a:pt x="205292" y="30456"/>
                      </a:lnTo>
                      <a:lnTo>
                        <a:pt x="206400" y="29429"/>
                      </a:lnTo>
                      <a:lnTo>
                        <a:pt x="206946" y="23683"/>
                      </a:lnTo>
                      <a:lnTo>
                        <a:pt x="210043" y="21564"/>
                      </a:lnTo>
                      <a:lnTo>
                        <a:pt x="211086" y="21711"/>
                      </a:lnTo>
                      <a:lnTo>
                        <a:pt x="212072" y="23561"/>
                      </a:lnTo>
                      <a:lnTo>
                        <a:pt x="212406" y="25435"/>
                      </a:lnTo>
                      <a:lnTo>
                        <a:pt x="212749" y="28002"/>
                      </a:lnTo>
                      <a:lnTo>
                        <a:pt x="212023" y="31922"/>
                      </a:lnTo>
                      <a:lnTo>
                        <a:pt x="207264" y="36494"/>
                      </a:lnTo>
                      <a:lnTo>
                        <a:pt x="203857" y="40732"/>
                      </a:lnTo>
                      <a:lnTo>
                        <a:pt x="202113" y="41596"/>
                      </a:lnTo>
                      <a:lnTo>
                        <a:pt x="199603" y="41099"/>
                      </a:lnTo>
                      <a:lnTo>
                        <a:pt x="196751" y="40040"/>
                      </a:lnTo>
                      <a:lnTo>
                        <a:pt x="195349" y="39828"/>
                      </a:lnTo>
                      <a:lnTo>
                        <a:pt x="194290" y="40178"/>
                      </a:lnTo>
                      <a:lnTo>
                        <a:pt x="193637" y="38874"/>
                      </a:lnTo>
                      <a:lnTo>
                        <a:pt x="193222" y="36494"/>
                      </a:lnTo>
                      <a:lnTo>
                        <a:pt x="192114" y="35712"/>
                      </a:lnTo>
                      <a:lnTo>
                        <a:pt x="191274" y="35794"/>
                      </a:lnTo>
                      <a:lnTo>
                        <a:pt x="190704" y="38328"/>
                      </a:lnTo>
                      <a:lnTo>
                        <a:pt x="188047" y="39037"/>
                      </a:lnTo>
                      <a:lnTo>
                        <a:pt x="184428" y="37994"/>
                      </a:lnTo>
                      <a:lnTo>
                        <a:pt x="180639" y="35875"/>
                      </a:lnTo>
                      <a:lnTo>
                        <a:pt x="182269" y="38149"/>
                      </a:lnTo>
                      <a:lnTo>
                        <a:pt x="191665" y="42395"/>
                      </a:lnTo>
                      <a:lnTo>
                        <a:pt x="192725" y="43185"/>
                      </a:lnTo>
                      <a:lnTo>
                        <a:pt x="193711" y="44343"/>
                      </a:lnTo>
                      <a:lnTo>
                        <a:pt x="192399" y="46168"/>
                      </a:lnTo>
                      <a:lnTo>
                        <a:pt x="191364" y="48214"/>
                      </a:lnTo>
                      <a:lnTo>
                        <a:pt x="191217" y="49819"/>
                      </a:lnTo>
                      <a:lnTo>
                        <a:pt x="190858" y="50838"/>
                      </a:lnTo>
                      <a:lnTo>
                        <a:pt x="187110" y="53568"/>
                      </a:lnTo>
                      <a:lnTo>
                        <a:pt x="185080" y="53087"/>
                      </a:lnTo>
                      <a:lnTo>
                        <a:pt x="179889" y="48165"/>
                      </a:lnTo>
                      <a:lnTo>
                        <a:pt x="182260" y="52427"/>
                      </a:lnTo>
                      <a:lnTo>
                        <a:pt x="184151" y="54236"/>
                      </a:lnTo>
                      <a:lnTo>
                        <a:pt x="187965" y="55206"/>
                      </a:lnTo>
                      <a:lnTo>
                        <a:pt x="195113" y="53609"/>
                      </a:lnTo>
                      <a:lnTo>
                        <a:pt x="197460" y="55353"/>
                      </a:lnTo>
                      <a:lnTo>
                        <a:pt x="195536" y="58425"/>
                      </a:lnTo>
                      <a:lnTo>
                        <a:pt x="193629" y="60585"/>
                      </a:lnTo>
                      <a:lnTo>
                        <a:pt x="191128" y="60830"/>
                      </a:lnTo>
                      <a:lnTo>
                        <a:pt x="188919" y="61408"/>
                      </a:lnTo>
                      <a:lnTo>
                        <a:pt x="188267" y="62891"/>
                      </a:lnTo>
                      <a:lnTo>
                        <a:pt x="186694" y="62989"/>
                      </a:lnTo>
                      <a:lnTo>
                        <a:pt x="184241" y="63079"/>
                      </a:lnTo>
                      <a:lnTo>
                        <a:pt x="180427" y="63218"/>
                      </a:lnTo>
                      <a:lnTo>
                        <a:pt x="178332" y="62867"/>
                      </a:lnTo>
                      <a:lnTo>
                        <a:pt x="175415" y="65907"/>
                      </a:lnTo>
                      <a:lnTo>
                        <a:pt x="174306" y="66314"/>
                      </a:lnTo>
                      <a:lnTo>
                        <a:pt x="172766" y="65752"/>
                      </a:lnTo>
                      <a:lnTo>
                        <a:pt x="172114" y="63315"/>
                      </a:lnTo>
                      <a:lnTo>
                        <a:pt x="171429" y="62125"/>
                      </a:lnTo>
                      <a:lnTo>
                        <a:pt x="171413" y="66681"/>
                      </a:lnTo>
                      <a:lnTo>
                        <a:pt x="171690" y="67904"/>
                      </a:lnTo>
                      <a:lnTo>
                        <a:pt x="172236" y="68824"/>
                      </a:lnTo>
                      <a:lnTo>
                        <a:pt x="168822" y="71294"/>
                      </a:lnTo>
                      <a:lnTo>
                        <a:pt x="165545" y="74374"/>
                      </a:lnTo>
                      <a:lnTo>
                        <a:pt x="164372" y="75214"/>
                      </a:lnTo>
                      <a:lnTo>
                        <a:pt x="163035" y="76754"/>
                      </a:lnTo>
                      <a:lnTo>
                        <a:pt x="160305" y="81204"/>
                      </a:lnTo>
                      <a:lnTo>
                        <a:pt x="159629" y="84448"/>
                      </a:lnTo>
                      <a:lnTo>
                        <a:pt x="158635" y="88066"/>
                      </a:lnTo>
                      <a:lnTo>
                        <a:pt x="158512" y="86436"/>
                      </a:lnTo>
                      <a:lnTo>
                        <a:pt x="158683" y="83698"/>
                      </a:lnTo>
                      <a:lnTo>
                        <a:pt x="158007" y="80560"/>
                      </a:lnTo>
                      <a:lnTo>
                        <a:pt x="157575" y="86306"/>
                      </a:lnTo>
                      <a:lnTo>
                        <a:pt x="156516" y="88979"/>
                      </a:lnTo>
                      <a:lnTo>
                        <a:pt x="146785" y="88791"/>
                      </a:lnTo>
                      <a:lnTo>
                        <a:pt x="142857" y="90128"/>
                      </a:lnTo>
                      <a:lnTo>
                        <a:pt x="139287" y="86167"/>
                      </a:lnTo>
                      <a:lnTo>
                        <a:pt x="135937" y="82426"/>
                      </a:lnTo>
                      <a:lnTo>
                        <a:pt x="132588" y="78686"/>
                      </a:lnTo>
                      <a:lnTo>
                        <a:pt x="129238" y="74945"/>
                      </a:lnTo>
                      <a:lnTo>
                        <a:pt x="125889" y="71204"/>
                      </a:lnTo>
                      <a:lnTo>
                        <a:pt x="122539" y="67455"/>
                      </a:lnTo>
                      <a:lnTo>
                        <a:pt x="119190" y="63698"/>
                      </a:lnTo>
                      <a:lnTo>
                        <a:pt x="115840" y="59958"/>
                      </a:lnTo>
                      <a:lnTo>
                        <a:pt x="112336" y="59819"/>
                      </a:lnTo>
                      <a:lnTo>
                        <a:pt x="108831" y="59689"/>
                      </a:lnTo>
                      <a:lnTo>
                        <a:pt x="105319" y="59550"/>
                      </a:lnTo>
                      <a:lnTo>
                        <a:pt x="101814" y="59420"/>
                      </a:lnTo>
                      <a:lnTo>
                        <a:pt x="98310" y="59281"/>
                      </a:lnTo>
                      <a:lnTo>
                        <a:pt x="94806" y="59159"/>
                      </a:lnTo>
                      <a:lnTo>
                        <a:pt x="91301" y="59028"/>
                      </a:lnTo>
                      <a:lnTo>
                        <a:pt x="87797" y="58890"/>
                      </a:lnTo>
                      <a:lnTo>
                        <a:pt x="87667" y="56306"/>
                      </a:lnTo>
                      <a:lnTo>
                        <a:pt x="87577" y="54481"/>
                      </a:lnTo>
                      <a:lnTo>
                        <a:pt x="85376" y="51351"/>
                      </a:lnTo>
                      <a:lnTo>
                        <a:pt x="84089" y="49510"/>
                      </a:lnTo>
                      <a:lnTo>
                        <a:pt x="81318" y="51091"/>
                      </a:lnTo>
                      <a:lnTo>
                        <a:pt x="81171" y="50316"/>
                      </a:lnTo>
                      <a:lnTo>
                        <a:pt x="81277" y="48931"/>
                      </a:lnTo>
                      <a:lnTo>
                        <a:pt x="81041" y="48458"/>
                      </a:lnTo>
                      <a:lnTo>
                        <a:pt x="80275" y="48116"/>
                      </a:lnTo>
                      <a:lnTo>
                        <a:pt x="76347" y="47929"/>
                      </a:lnTo>
                      <a:lnTo>
                        <a:pt x="72410" y="47741"/>
                      </a:lnTo>
                      <a:lnTo>
                        <a:pt x="68482" y="47554"/>
                      </a:lnTo>
                      <a:lnTo>
                        <a:pt x="64546" y="47366"/>
                      </a:lnTo>
                      <a:lnTo>
                        <a:pt x="60609" y="47179"/>
                      </a:lnTo>
                      <a:lnTo>
                        <a:pt x="56681" y="46991"/>
                      </a:lnTo>
                      <a:lnTo>
                        <a:pt x="52745" y="46804"/>
                      </a:lnTo>
                      <a:lnTo>
                        <a:pt x="48817" y="46616"/>
                      </a:lnTo>
                      <a:lnTo>
                        <a:pt x="47920" y="46307"/>
                      </a:lnTo>
                      <a:lnTo>
                        <a:pt x="46144" y="47391"/>
                      </a:lnTo>
                      <a:lnTo>
                        <a:pt x="41490" y="49037"/>
                      </a:lnTo>
                      <a:lnTo>
                        <a:pt x="39200" y="50479"/>
                      </a:lnTo>
                      <a:lnTo>
                        <a:pt x="38369" y="50398"/>
                      </a:lnTo>
                      <a:lnTo>
                        <a:pt x="34416" y="51792"/>
                      </a:lnTo>
                      <a:lnTo>
                        <a:pt x="30456" y="53193"/>
                      </a:lnTo>
                      <a:lnTo>
                        <a:pt x="29999" y="53193"/>
                      </a:lnTo>
                      <a:lnTo>
                        <a:pt x="22501" y="53307"/>
                      </a:lnTo>
                      <a:lnTo>
                        <a:pt x="15003" y="53421"/>
                      </a:lnTo>
                      <a:lnTo>
                        <a:pt x="7506" y="53536"/>
                      </a:lnTo>
                      <a:lnTo>
                        <a:pt x="0" y="53650"/>
                      </a:lnTo>
                      <a:lnTo>
                        <a:pt x="937" y="46641"/>
                      </a:lnTo>
                      <a:lnTo>
                        <a:pt x="1581" y="45044"/>
                      </a:lnTo>
                      <a:lnTo>
                        <a:pt x="2290" y="44677"/>
                      </a:lnTo>
                      <a:lnTo>
                        <a:pt x="4865" y="44652"/>
                      </a:lnTo>
                      <a:lnTo>
                        <a:pt x="6503" y="43837"/>
                      </a:lnTo>
                      <a:lnTo>
                        <a:pt x="7962" y="39616"/>
                      </a:lnTo>
                      <a:lnTo>
                        <a:pt x="11246" y="36283"/>
                      </a:lnTo>
                      <a:lnTo>
                        <a:pt x="12722" y="35443"/>
                      </a:lnTo>
                      <a:lnTo>
                        <a:pt x="14930" y="34791"/>
                      </a:lnTo>
                      <a:lnTo>
                        <a:pt x="20179" y="33992"/>
                      </a:lnTo>
                      <a:lnTo>
                        <a:pt x="25802" y="30765"/>
                      </a:lnTo>
                      <a:lnTo>
                        <a:pt x="29869" y="27701"/>
                      </a:lnTo>
                      <a:lnTo>
                        <a:pt x="33096" y="26845"/>
                      </a:lnTo>
                      <a:lnTo>
                        <a:pt x="34107" y="25720"/>
                      </a:lnTo>
                      <a:lnTo>
                        <a:pt x="34832" y="24254"/>
                      </a:lnTo>
                      <a:lnTo>
                        <a:pt x="35288" y="22257"/>
                      </a:lnTo>
                      <a:lnTo>
                        <a:pt x="35630" y="21841"/>
                      </a:lnTo>
                      <a:lnTo>
                        <a:pt x="37497" y="21988"/>
                      </a:lnTo>
                      <a:lnTo>
                        <a:pt x="38915" y="20252"/>
                      </a:lnTo>
                      <a:lnTo>
                        <a:pt x="40292" y="19258"/>
                      </a:lnTo>
                      <a:lnTo>
                        <a:pt x="41653" y="18704"/>
                      </a:lnTo>
                      <a:lnTo>
                        <a:pt x="42493" y="18687"/>
                      </a:lnTo>
                      <a:lnTo>
                        <a:pt x="42819" y="19209"/>
                      </a:lnTo>
                      <a:lnTo>
                        <a:pt x="43047" y="20692"/>
                      </a:lnTo>
                      <a:lnTo>
                        <a:pt x="43348" y="21173"/>
                      </a:lnTo>
                      <a:lnTo>
                        <a:pt x="43927" y="21214"/>
                      </a:lnTo>
                      <a:lnTo>
                        <a:pt x="44734" y="20871"/>
                      </a:lnTo>
                      <a:lnTo>
                        <a:pt x="45785" y="19918"/>
                      </a:lnTo>
                      <a:lnTo>
                        <a:pt x="48515" y="16960"/>
                      </a:lnTo>
                      <a:lnTo>
                        <a:pt x="50333" y="15819"/>
                      </a:lnTo>
                      <a:lnTo>
                        <a:pt x="53128" y="15159"/>
                      </a:lnTo>
                      <a:lnTo>
                        <a:pt x="55157" y="16723"/>
                      </a:lnTo>
                      <a:lnTo>
                        <a:pt x="56372" y="16185"/>
                      </a:lnTo>
                      <a:lnTo>
                        <a:pt x="59925" y="10098"/>
                      </a:lnTo>
                      <a:lnTo>
                        <a:pt x="61343" y="8997"/>
                      </a:lnTo>
                      <a:lnTo>
                        <a:pt x="62411" y="8565"/>
                      </a:lnTo>
                      <a:lnTo>
                        <a:pt x="64244" y="8476"/>
                      </a:lnTo>
                      <a:lnTo>
                        <a:pt x="64269" y="6797"/>
                      </a:lnTo>
                      <a:lnTo>
                        <a:pt x="64904" y="4270"/>
                      </a:lnTo>
                      <a:lnTo>
                        <a:pt x="64986" y="2551"/>
                      </a:lnTo>
                      <a:lnTo>
                        <a:pt x="66111" y="0"/>
                      </a:lnTo>
                      <a:lnTo>
                        <a:pt x="66542" y="513"/>
                      </a:lnTo>
                      <a:lnTo>
                        <a:pt x="75524" y="611"/>
                      </a:lnTo>
                      <a:lnTo>
                        <a:pt x="84496" y="701"/>
                      </a:lnTo>
                      <a:lnTo>
                        <a:pt x="93469" y="799"/>
                      </a:lnTo>
                      <a:lnTo>
                        <a:pt x="102442" y="888"/>
                      </a:lnTo>
                      <a:lnTo>
                        <a:pt x="111415" y="986"/>
                      </a:lnTo>
                      <a:lnTo>
                        <a:pt x="120388" y="1076"/>
                      </a:lnTo>
                      <a:lnTo>
                        <a:pt x="129361" y="1165"/>
                      </a:lnTo>
                      <a:lnTo>
                        <a:pt x="138334" y="1263"/>
                      </a:lnTo>
                      <a:lnTo>
                        <a:pt x="147314" y="1361"/>
                      </a:lnTo>
                      <a:lnTo>
                        <a:pt x="156287" y="1451"/>
                      </a:lnTo>
                      <a:lnTo>
                        <a:pt x="165260" y="1548"/>
                      </a:lnTo>
                      <a:lnTo>
                        <a:pt x="174233" y="1638"/>
                      </a:lnTo>
                      <a:lnTo>
                        <a:pt x="183214" y="1736"/>
                      </a:lnTo>
                      <a:lnTo>
                        <a:pt x="192187" y="1826"/>
                      </a:lnTo>
                      <a:lnTo>
                        <a:pt x="201160" y="1923"/>
                      </a:lnTo>
                      <a:lnTo>
                        <a:pt x="207321" y="1972"/>
                      </a:lnTo>
                      <a:lnTo>
                        <a:pt x="206669" y="4548"/>
                      </a:lnTo>
                      <a:lnTo>
                        <a:pt x="207028" y="6031"/>
                      </a:lnTo>
                      <a:lnTo>
                        <a:pt x="208283" y="7530"/>
                      </a:lnTo>
                      <a:close/>
                    </a:path>
                  </a:pathLst>
                </a:custGeom>
                <a:solidFill>
                  <a:srgbClr val="D6D6D2"/>
                </a:solidFill>
                <a:ln w="6112" cap="rnd">
                  <a:solidFill>
                    <a:srgbClr val="FFFFFF"/>
                  </a:solidFill>
                  <a:prstDash val="solid"/>
                  <a:round/>
                </a:ln>
              </p:spPr>
              <p:txBody>
                <a:bodyPr rtlCol="0" anchor="ctr"/>
                <a:lstStyle/>
                <a:p>
                  <a:endParaRPr lang="en-US"/>
                </a:p>
              </p:txBody>
            </p:sp>
            <p:sp>
              <p:nvSpPr>
                <p:cNvPr id="448" name="Freeform: Shape 447">
                  <a:extLst>
                    <a:ext uri="{FF2B5EF4-FFF2-40B4-BE49-F238E27FC236}">
                      <a16:creationId xmlns:a16="http://schemas.microsoft.com/office/drawing/2014/main" id="{D067DAFA-9442-4A25-80DF-2D37C6DB8BE3}"/>
                    </a:ext>
                  </a:extLst>
                </p:cNvPr>
                <p:cNvSpPr/>
                <p:nvPr/>
              </p:nvSpPr>
              <p:spPr>
                <a:xfrm>
                  <a:off x="3670370" y="3442774"/>
                  <a:ext cx="88595" cy="156287"/>
                </a:xfrm>
                <a:custGeom>
                  <a:avLst/>
                  <a:gdLst>
                    <a:gd name="connsiteX0" fmla="*/ 79647 w 88595"/>
                    <a:gd name="connsiteY0" fmla="*/ 125791 h 156287"/>
                    <a:gd name="connsiteX1" fmla="*/ 79908 w 88595"/>
                    <a:gd name="connsiteY1" fmla="*/ 131846 h 156287"/>
                    <a:gd name="connsiteX2" fmla="*/ 80169 w 88595"/>
                    <a:gd name="connsiteY2" fmla="*/ 137893 h 156287"/>
                    <a:gd name="connsiteX3" fmla="*/ 80430 w 88595"/>
                    <a:gd name="connsiteY3" fmla="*/ 143941 h 156287"/>
                    <a:gd name="connsiteX4" fmla="*/ 80756 w 88595"/>
                    <a:gd name="connsiteY4" fmla="*/ 150558 h 156287"/>
                    <a:gd name="connsiteX5" fmla="*/ 73502 w 88595"/>
                    <a:gd name="connsiteY5" fmla="*/ 151055 h 156287"/>
                    <a:gd name="connsiteX6" fmla="*/ 70332 w 88595"/>
                    <a:gd name="connsiteY6" fmla="*/ 149409 h 156287"/>
                    <a:gd name="connsiteX7" fmla="*/ 69012 w 88595"/>
                    <a:gd name="connsiteY7" fmla="*/ 149091 h 156287"/>
                    <a:gd name="connsiteX8" fmla="*/ 68213 w 88595"/>
                    <a:gd name="connsiteY8" fmla="*/ 149124 h 156287"/>
                    <a:gd name="connsiteX9" fmla="*/ 64521 w 88595"/>
                    <a:gd name="connsiteY9" fmla="*/ 150640 h 156287"/>
                    <a:gd name="connsiteX10" fmla="*/ 60316 w 88595"/>
                    <a:gd name="connsiteY10" fmla="*/ 151789 h 156287"/>
                    <a:gd name="connsiteX11" fmla="*/ 59322 w 88595"/>
                    <a:gd name="connsiteY11" fmla="*/ 151430 h 156287"/>
                    <a:gd name="connsiteX12" fmla="*/ 57912 w 88595"/>
                    <a:gd name="connsiteY12" fmla="*/ 151373 h 156287"/>
                    <a:gd name="connsiteX13" fmla="*/ 54856 w 88595"/>
                    <a:gd name="connsiteY13" fmla="*/ 155301 h 156287"/>
                    <a:gd name="connsiteX14" fmla="*/ 52949 w 88595"/>
                    <a:gd name="connsiteY14" fmla="*/ 156287 h 156287"/>
                    <a:gd name="connsiteX15" fmla="*/ 52346 w 88595"/>
                    <a:gd name="connsiteY15" fmla="*/ 156027 h 156287"/>
                    <a:gd name="connsiteX16" fmla="*/ 51669 w 88595"/>
                    <a:gd name="connsiteY16" fmla="*/ 155758 h 156287"/>
                    <a:gd name="connsiteX17" fmla="*/ 51196 w 88595"/>
                    <a:gd name="connsiteY17" fmla="*/ 155309 h 156287"/>
                    <a:gd name="connsiteX18" fmla="*/ 50268 w 88595"/>
                    <a:gd name="connsiteY18" fmla="*/ 152962 h 156287"/>
                    <a:gd name="connsiteX19" fmla="*/ 49974 w 88595"/>
                    <a:gd name="connsiteY19" fmla="*/ 151267 h 156287"/>
                    <a:gd name="connsiteX20" fmla="*/ 48858 w 88595"/>
                    <a:gd name="connsiteY20" fmla="*/ 147608 h 156287"/>
                    <a:gd name="connsiteX21" fmla="*/ 47594 w 88595"/>
                    <a:gd name="connsiteY21" fmla="*/ 145554 h 156287"/>
                    <a:gd name="connsiteX22" fmla="*/ 46176 w 88595"/>
                    <a:gd name="connsiteY22" fmla="*/ 144193 h 156287"/>
                    <a:gd name="connsiteX23" fmla="*/ 45524 w 88595"/>
                    <a:gd name="connsiteY23" fmla="*/ 142832 h 156287"/>
                    <a:gd name="connsiteX24" fmla="*/ 45533 w 88595"/>
                    <a:gd name="connsiteY24" fmla="*/ 141911 h 156287"/>
                    <a:gd name="connsiteX25" fmla="*/ 45076 w 88595"/>
                    <a:gd name="connsiteY25" fmla="*/ 140281 h 156287"/>
                    <a:gd name="connsiteX26" fmla="*/ 45150 w 88595"/>
                    <a:gd name="connsiteY26" fmla="*/ 138977 h 156287"/>
                    <a:gd name="connsiteX27" fmla="*/ 46894 w 88595"/>
                    <a:gd name="connsiteY27" fmla="*/ 133981 h 156287"/>
                    <a:gd name="connsiteX28" fmla="*/ 47627 w 88595"/>
                    <a:gd name="connsiteY28" fmla="*/ 130265 h 156287"/>
                    <a:gd name="connsiteX29" fmla="*/ 41678 w 88595"/>
                    <a:gd name="connsiteY29" fmla="*/ 130265 h 156287"/>
                    <a:gd name="connsiteX30" fmla="*/ 35720 w 88595"/>
                    <a:gd name="connsiteY30" fmla="*/ 130265 h 156287"/>
                    <a:gd name="connsiteX31" fmla="*/ 29763 w 88595"/>
                    <a:gd name="connsiteY31" fmla="*/ 130265 h 156287"/>
                    <a:gd name="connsiteX32" fmla="*/ 23805 w 88595"/>
                    <a:gd name="connsiteY32" fmla="*/ 130265 h 156287"/>
                    <a:gd name="connsiteX33" fmla="*/ 17848 w 88595"/>
                    <a:gd name="connsiteY33" fmla="*/ 130265 h 156287"/>
                    <a:gd name="connsiteX34" fmla="*/ 11899 w 88595"/>
                    <a:gd name="connsiteY34" fmla="*/ 130265 h 156287"/>
                    <a:gd name="connsiteX35" fmla="*/ 5941 w 88595"/>
                    <a:gd name="connsiteY35" fmla="*/ 130265 h 156287"/>
                    <a:gd name="connsiteX36" fmla="*/ 0 w 88595"/>
                    <a:gd name="connsiteY36" fmla="*/ 130249 h 156287"/>
                    <a:gd name="connsiteX37" fmla="*/ 98 w 88595"/>
                    <a:gd name="connsiteY37" fmla="*/ 129353 h 156287"/>
                    <a:gd name="connsiteX38" fmla="*/ 1133 w 88595"/>
                    <a:gd name="connsiteY38" fmla="*/ 128212 h 156287"/>
                    <a:gd name="connsiteX39" fmla="*/ 1491 w 88595"/>
                    <a:gd name="connsiteY39" fmla="*/ 126761 h 156287"/>
                    <a:gd name="connsiteX40" fmla="*/ 636 w 88595"/>
                    <a:gd name="connsiteY40" fmla="*/ 123289 h 156287"/>
                    <a:gd name="connsiteX41" fmla="*/ 954 w 88595"/>
                    <a:gd name="connsiteY41" fmla="*/ 121374 h 156287"/>
                    <a:gd name="connsiteX42" fmla="*/ 2437 w 88595"/>
                    <a:gd name="connsiteY42" fmla="*/ 121023 h 156287"/>
                    <a:gd name="connsiteX43" fmla="*/ 3170 w 88595"/>
                    <a:gd name="connsiteY43" fmla="*/ 119174 h 156287"/>
                    <a:gd name="connsiteX44" fmla="*/ 3170 w 88595"/>
                    <a:gd name="connsiteY44" fmla="*/ 115824 h 156287"/>
                    <a:gd name="connsiteX45" fmla="*/ 3749 w 88595"/>
                    <a:gd name="connsiteY45" fmla="*/ 113566 h 156287"/>
                    <a:gd name="connsiteX46" fmla="*/ 4906 w 88595"/>
                    <a:gd name="connsiteY46" fmla="*/ 112393 h 156287"/>
                    <a:gd name="connsiteX47" fmla="*/ 6015 w 88595"/>
                    <a:gd name="connsiteY47" fmla="*/ 109646 h 156287"/>
                    <a:gd name="connsiteX48" fmla="*/ 7058 w 88595"/>
                    <a:gd name="connsiteY48" fmla="*/ 105319 h 156287"/>
                    <a:gd name="connsiteX49" fmla="*/ 9193 w 88595"/>
                    <a:gd name="connsiteY49" fmla="*/ 101749 h 156287"/>
                    <a:gd name="connsiteX50" fmla="*/ 12420 w 88595"/>
                    <a:gd name="connsiteY50" fmla="*/ 98946 h 156287"/>
                    <a:gd name="connsiteX51" fmla="*/ 14009 w 88595"/>
                    <a:gd name="connsiteY51" fmla="*/ 96509 h 156287"/>
                    <a:gd name="connsiteX52" fmla="*/ 14107 w 88595"/>
                    <a:gd name="connsiteY52" fmla="*/ 94626 h 156287"/>
                    <a:gd name="connsiteX53" fmla="*/ 14458 w 88595"/>
                    <a:gd name="connsiteY53" fmla="*/ 93746 h 156287"/>
                    <a:gd name="connsiteX54" fmla="*/ 15110 w 88595"/>
                    <a:gd name="connsiteY54" fmla="*/ 93274 h 156287"/>
                    <a:gd name="connsiteX55" fmla="*/ 16185 w 88595"/>
                    <a:gd name="connsiteY55" fmla="*/ 91986 h 156287"/>
                    <a:gd name="connsiteX56" fmla="*/ 17595 w 88595"/>
                    <a:gd name="connsiteY56" fmla="*/ 90217 h 156287"/>
                    <a:gd name="connsiteX57" fmla="*/ 17848 w 88595"/>
                    <a:gd name="connsiteY57" fmla="*/ 89003 h 156287"/>
                    <a:gd name="connsiteX58" fmla="*/ 17775 w 88595"/>
                    <a:gd name="connsiteY58" fmla="*/ 88172 h 156287"/>
                    <a:gd name="connsiteX59" fmla="*/ 17677 w 88595"/>
                    <a:gd name="connsiteY59" fmla="*/ 87275 h 156287"/>
                    <a:gd name="connsiteX60" fmla="*/ 16552 w 88595"/>
                    <a:gd name="connsiteY60" fmla="*/ 85637 h 156287"/>
                    <a:gd name="connsiteX61" fmla="*/ 14833 w 88595"/>
                    <a:gd name="connsiteY61" fmla="*/ 84252 h 156287"/>
                    <a:gd name="connsiteX62" fmla="*/ 13724 w 88595"/>
                    <a:gd name="connsiteY62" fmla="*/ 82092 h 156287"/>
                    <a:gd name="connsiteX63" fmla="*/ 13806 w 88595"/>
                    <a:gd name="connsiteY63" fmla="*/ 80438 h 156287"/>
                    <a:gd name="connsiteX64" fmla="*/ 13423 w 88595"/>
                    <a:gd name="connsiteY64" fmla="*/ 78979 h 156287"/>
                    <a:gd name="connsiteX65" fmla="*/ 12591 w 88595"/>
                    <a:gd name="connsiteY65" fmla="*/ 77724 h 156287"/>
                    <a:gd name="connsiteX66" fmla="*/ 12771 w 88595"/>
                    <a:gd name="connsiteY66" fmla="*/ 76550 h 156287"/>
                    <a:gd name="connsiteX67" fmla="*/ 13960 w 88595"/>
                    <a:gd name="connsiteY67" fmla="*/ 75466 h 156287"/>
                    <a:gd name="connsiteX68" fmla="*/ 14018 w 88595"/>
                    <a:gd name="connsiteY68" fmla="*/ 74440 h 156287"/>
                    <a:gd name="connsiteX69" fmla="*/ 12942 w 88595"/>
                    <a:gd name="connsiteY69" fmla="*/ 73470 h 156287"/>
                    <a:gd name="connsiteX70" fmla="*/ 12934 w 88595"/>
                    <a:gd name="connsiteY70" fmla="*/ 71742 h 156287"/>
                    <a:gd name="connsiteX71" fmla="*/ 13993 w 88595"/>
                    <a:gd name="connsiteY71" fmla="*/ 69265 h 156287"/>
                    <a:gd name="connsiteX72" fmla="*/ 13928 w 88595"/>
                    <a:gd name="connsiteY72" fmla="*/ 67545 h 156287"/>
                    <a:gd name="connsiteX73" fmla="*/ 12738 w 88595"/>
                    <a:gd name="connsiteY73" fmla="*/ 66600 h 156287"/>
                    <a:gd name="connsiteX74" fmla="*/ 12591 w 88595"/>
                    <a:gd name="connsiteY74" fmla="*/ 65002 h 156287"/>
                    <a:gd name="connsiteX75" fmla="*/ 12518 w 88595"/>
                    <a:gd name="connsiteY75" fmla="*/ 64195 h 156287"/>
                    <a:gd name="connsiteX76" fmla="*/ 13659 w 88595"/>
                    <a:gd name="connsiteY76" fmla="*/ 58417 h 156287"/>
                    <a:gd name="connsiteX77" fmla="*/ 13398 w 88595"/>
                    <a:gd name="connsiteY77" fmla="*/ 57668 h 156287"/>
                    <a:gd name="connsiteX78" fmla="*/ 12249 w 88595"/>
                    <a:gd name="connsiteY78" fmla="*/ 55923 h 156287"/>
                    <a:gd name="connsiteX79" fmla="*/ 12127 w 88595"/>
                    <a:gd name="connsiteY79" fmla="*/ 53796 h 156287"/>
                    <a:gd name="connsiteX80" fmla="*/ 12803 w 88595"/>
                    <a:gd name="connsiteY80" fmla="*/ 51221 h 156287"/>
                    <a:gd name="connsiteX81" fmla="*/ 12469 w 88595"/>
                    <a:gd name="connsiteY81" fmla="*/ 49200 h 156287"/>
                    <a:gd name="connsiteX82" fmla="*/ 11507 w 88595"/>
                    <a:gd name="connsiteY82" fmla="*/ 48475 h 156287"/>
                    <a:gd name="connsiteX83" fmla="*/ 11263 w 88595"/>
                    <a:gd name="connsiteY83" fmla="*/ 47676 h 156287"/>
                    <a:gd name="connsiteX84" fmla="*/ 10970 w 88595"/>
                    <a:gd name="connsiteY84" fmla="*/ 46486 h 156287"/>
                    <a:gd name="connsiteX85" fmla="*/ 12004 w 88595"/>
                    <a:gd name="connsiteY85" fmla="*/ 45394 h 156287"/>
                    <a:gd name="connsiteX86" fmla="*/ 12061 w 88595"/>
                    <a:gd name="connsiteY86" fmla="*/ 44392 h 156287"/>
                    <a:gd name="connsiteX87" fmla="*/ 11149 w 88595"/>
                    <a:gd name="connsiteY87" fmla="*/ 43471 h 156287"/>
                    <a:gd name="connsiteX88" fmla="*/ 11719 w 88595"/>
                    <a:gd name="connsiteY88" fmla="*/ 42167 h 156287"/>
                    <a:gd name="connsiteX89" fmla="*/ 13797 w 88595"/>
                    <a:gd name="connsiteY89" fmla="*/ 40472 h 156287"/>
                    <a:gd name="connsiteX90" fmla="*/ 14368 w 88595"/>
                    <a:gd name="connsiteY90" fmla="*/ 39518 h 156287"/>
                    <a:gd name="connsiteX91" fmla="*/ 14979 w 88595"/>
                    <a:gd name="connsiteY91" fmla="*/ 38507 h 156287"/>
                    <a:gd name="connsiteX92" fmla="*/ 15338 w 88595"/>
                    <a:gd name="connsiteY92" fmla="*/ 36095 h 156287"/>
                    <a:gd name="connsiteX93" fmla="*/ 15044 w 88595"/>
                    <a:gd name="connsiteY93" fmla="*/ 34669 h 156287"/>
                    <a:gd name="connsiteX94" fmla="*/ 14547 w 88595"/>
                    <a:gd name="connsiteY94" fmla="*/ 33715 h 156287"/>
                    <a:gd name="connsiteX95" fmla="*/ 14784 w 88595"/>
                    <a:gd name="connsiteY95" fmla="*/ 33218 h 156287"/>
                    <a:gd name="connsiteX96" fmla="*/ 15216 w 88595"/>
                    <a:gd name="connsiteY96" fmla="*/ 32770 h 156287"/>
                    <a:gd name="connsiteX97" fmla="*/ 17693 w 88595"/>
                    <a:gd name="connsiteY97" fmla="*/ 31898 h 156287"/>
                    <a:gd name="connsiteX98" fmla="*/ 18394 w 88595"/>
                    <a:gd name="connsiteY98" fmla="*/ 31279 h 156287"/>
                    <a:gd name="connsiteX99" fmla="*/ 18549 w 88595"/>
                    <a:gd name="connsiteY99" fmla="*/ 30529 h 156287"/>
                    <a:gd name="connsiteX100" fmla="*/ 17766 w 88595"/>
                    <a:gd name="connsiteY100" fmla="*/ 28654 h 156287"/>
                    <a:gd name="connsiteX101" fmla="*/ 18524 w 88595"/>
                    <a:gd name="connsiteY101" fmla="*/ 26682 h 156287"/>
                    <a:gd name="connsiteX102" fmla="*/ 20823 w 88595"/>
                    <a:gd name="connsiteY102" fmla="*/ 24596 h 156287"/>
                    <a:gd name="connsiteX103" fmla="*/ 22037 w 88595"/>
                    <a:gd name="connsiteY103" fmla="*/ 22762 h 156287"/>
                    <a:gd name="connsiteX104" fmla="*/ 22183 w 88595"/>
                    <a:gd name="connsiteY104" fmla="*/ 21181 h 156287"/>
                    <a:gd name="connsiteX105" fmla="*/ 23284 w 88595"/>
                    <a:gd name="connsiteY105" fmla="*/ 20024 h 156287"/>
                    <a:gd name="connsiteX106" fmla="*/ 25329 w 88595"/>
                    <a:gd name="connsiteY106" fmla="*/ 19299 h 156287"/>
                    <a:gd name="connsiteX107" fmla="*/ 26601 w 88595"/>
                    <a:gd name="connsiteY107" fmla="*/ 16348 h 156287"/>
                    <a:gd name="connsiteX108" fmla="*/ 27106 w 88595"/>
                    <a:gd name="connsiteY108" fmla="*/ 11181 h 156287"/>
                    <a:gd name="connsiteX109" fmla="*/ 27717 w 88595"/>
                    <a:gd name="connsiteY109" fmla="*/ 8973 h 156287"/>
                    <a:gd name="connsiteX110" fmla="*/ 28760 w 88595"/>
                    <a:gd name="connsiteY110" fmla="*/ 8647 h 156287"/>
                    <a:gd name="connsiteX111" fmla="*/ 29314 w 88595"/>
                    <a:gd name="connsiteY111" fmla="*/ 7930 h 156287"/>
                    <a:gd name="connsiteX112" fmla="*/ 29494 w 88595"/>
                    <a:gd name="connsiteY112" fmla="*/ 6438 h 156287"/>
                    <a:gd name="connsiteX113" fmla="*/ 30773 w 88595"/>
                    <a:gd name="connsiteY113" fmla="*/ 4914 h 156287"/>
                    <a:gd name="connsiteX114" fmla="*/ 33153 w 88595"/>
                    <a:gd name="connsiteY114" fmla="*/ 3350 h 156287"/>
                    <a:gd name="connsiteX115" fmla="*/ 34090 w 88595"/>
                    <a:gd name="connsiteY115" fmla="*/ 1834 h 156287"/>
                    <a:gd name="connsiteX116" fmla="*/ 33805 w 88595"/>
                    <a:gd name="connsiteY116" fmla="*/ 1019 h 156287"/>
                    <a:gd name="connsiteX117" fmla="*/ 33797 w 88595"/>
                    <a:gd name="connsiteY117" fmla="*/ 0 h 156287"/>
                    <a:gd name="connsiteX118" fmla="*/ 40121 w 88595"/>
                    <a:gd name="connsiteY118" fmla="*/ 0 h 156287"/>
                    <a:gd name="connsiteX119" fmla="*/ 46706 w 88595"/>
                    <a:gd name="connsiteY119" fmla="*/ 8 h 156287"/>
                    <a:gd name="connsiteX120" fmla="*/ 53299 w 88595"/>
                    <a:gd name="connsiteY120" fmla="*/ 16 h 156287"/>
                    <a:gd name="connsiteX121" fmla="*/ 59892 w 88595"/>
                    <a:gd name="connsiteY121" fmla="*/ 24 h 156287"/>
                    <a:gd name="connsiteX122" fmla="*/ 66477 w 88595"/>
                    <a:gd name="connsiteY122" fmla="*/ 33 h 156287"/>
                    <a:gd name="connsiteX123" fmla="*/ 73071 w 88595"/>
                    <a:gd name="connsiteY123" fmla="*/ 49 h 156287"/>
                    <a:gd name="connsiteX124" fmla="*/ 79664 w 88595"/>
                    <a:gd name="connsiteY124" fmla="*/ 57 h 156287"/>
                    <a:gd name="connsiteX125" fmla="*/ 86395 w 88595"/>
                    <a:gd name="connsiteY125" fmla="*/ 57 h 156287"/>
                    <a:gd name="connsiteX126" fmla="*/ 88596 w 88595"/>
                    <a:gd name="connsiteY126" fmla="*/ 2233 h 156287"/>
                    <a:gd name="connsiteX127" fmla="*/ 88514 w 88595"/>
                    <a:gd name="connsiteY127" fmla="*/ 3015 h 156287"/>
                    <a:gd name="connsiteX128" fmla="*/ 88482 w 88595"/>
                    <a:gd name="connsiteY128" fmla="*/ 3545 h 156287"/>
                    <a:gd name="connsiteX129" fmla="*/ 88327 w 88595"/>
                    <a:gd name="connsiteY129" fmla="*/ 5077 h 156287"/>
                    <a:gd name="connsiteX130" fmla="*/ 87724 w 88595"/>
                    <a:gd name="connsiteY130" fmla="*/ 11149 h 156287"/>
                    <a:gd name="connsiteX131" fmla="*/ 87121 w 88595"/>
                    <a:gd name="connsiteY131" fmla="*/ 17212 h 156287"/>
                    <a:gd name="connsiteX132" fmla="*/ 86509 w 88595"/>
                    <a:gd name="connsiteY132" fmla="*/ 23276 h 156287"/>
                    <a:gd name="connsiteX133" fmla="*/ 85906 w 88595"/>
                    <a:gd name="connsiteY133" fmla="*/ 29331 h 156287"/>
                    <a:gd name="connsiteX134" fmla="*/ 85303 w 88595"/>
                    <a:gd name="connsiteY134" fmla="*/ 35378 h 156287"/>
                    <a:gd name="connsiteX135" fmla="*/ 84692 w 88595"/>
                    <a:gd name="connsiteY135" fmla="*/ 41417 h 156287"/>
                    <a:gd name="connsiteX136" fmla="*/ 84089 w 88595"/>
                    <a:gd name="connsiteY136" fmla="*/ 47456 h 156287"/>
                    <a:gd name="connsiteX137" fmla="*/ 83486 w 88595"/>
                    <a:gd name="connsiteY137" fmla="*/ 53487 h 156287"/>
                    <a:gd name="connsiteX138" fmla="*/ 82875 w 88595"/>
                    <a:gd name="connsiteY138" fmla="*/ 59509 h 156287"/>
                    <a:gd name="connsiteX139" fmla="*/ 82272 w 88595"/>
                    <a:gd name="connsiteY139" fmla="*/ 65532 h 156287"/>
                    <a:gd name="connsiteX140" fmla="*/ 81668 w 88595"/>
                    <a:gd name="connsiteY140" fmla="*/ 71546 h 156287"/>
                    <a:gd name="connsiteX141" fmla="*/ 81065 w 88595"/>
                    <a:gd name="connsiteY141" fmla="*/ 77545 h 156287"/>
                    <a:gd name="connsiteX142" fmla="*/ 80454 w 88595"/>
                    <a:gd name="connsiteY142" fmla="*/ 83551 h 156287"/>
                    <a:gd name="connsiteX143" fmla="*/ 79851 w 88595"/>
                    <a:gd name="connsiteY143" fmla="*/ 89541 h 156287"/>
                    <a:gd name="connsiteX144" fmla="*/ 79240 w 88595"/>
                    <a:gd name="connsiteY144" fmla="*/ 95531 h 156287"/>
                    <a:gd name="connsiteX145" fmla="*/ 78629 w 88595"/>
                    <a:gd name="connsiteY145" fmla="*/ 101513 h 156287"/>
                    <a:gd name="connsiteX146" fmla="*/ 78889 w 88595"/>
                    <a:gd name="connsiteY146" fmla="*/ 107593 h 156287"/>
                    <a:gd name="connsiteX147" fmla="*/ 79150 w 88595"/>
                    <a:gd name="connsiteY147" fmla="*/ 113664 h 156287"/>
                    <a:gd name="connsiteX148" fmla="*/ 79411 w 88595"/>
                    <a:gd name="connsiteY148" fmla="*/ 119728 h 156287"/>
                    <a:gd name="connsiteX149" fmla="*/ 79647 w 88595"/>
                    <a:gd name="connsiteY149" fmla="*/ 125791 h 15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88595" h="156287">
                      <a:moveTo>
                        <a:pt x="79647" y="125791"/>
                      </a:moveTo>
                      <a:lnTo>
                        <a:pt x="79908" y="131846"/>
                      </a:lnTo>
                      <a:lnTo>
                        <a:pt x="80169" y="137893"/>
                      </a:lnTo>
                      <a:lnTo>
                        <a:pt x="80430" y="143941"/>
                      </a:lnTo>
                      <a:lnTo>
                        <a:pt x="80756" y="150558"/>
                      </a:lnTo>
                      <a:lnTo>
                        <a:pt x="73502" y="151055"/>
                      </a:lnTo>
                      <a:lnTo>
                        <a:pt x="70332" y="149409"/>
                      </a:lnTo>
                      <a:lnTo>
                        <a:pt x="69012" y="149091"/>
                      </a:lnTo>
                      <a:lnTo>
                        <a:pt x="68213" y="149124"/>
                      </a:lnTo>
                      <a:lnTo>
                        <a:pt x="64521" y="150640"/>
                      </a:lnTo>
                      <a:lnTo>
                        <a:pt x="60316" y="151789"/>
                      </a:lnTo>
                      <a:lnTo>
                        <a:pt x="59322" y="151430"/>
                      </a:lnTo>
                      <a:lnTo>
                        <a:pt x="57912" y="151373"/>
                      </a:lnTo>
                      <a:lnTo>
                        <a:pt x="54856" y="155301"/>
                      </a:lnTo>
                      <a:lnTo>
                        <a:pt x="52949" y="156287"/>
                      </a:lnTo>
                      <a:lnTo>
                        <a:pt x="52346" y="156027"/>
                      </a:lnTo>
                      <a:lnTo>
                        <a:pt x="51669" y="155758"/>
                      </a:lnTo>
                      <a:lnTo>
                        <a:pt x="51196" y="155309"/>
                      </a:lnTo>
                      <a:lnTo>
                        <a:pt x="50268" y="152962"/>
                      </a:lnTo>
                      <a:lnTo>
                        <a:pt x="49974" y="151267"/>
                      </a:lnTo>
                      <a:lnTo>
                        <a:pt x="48858" y="147608"/>
                      </a:lnTo>
                      <a:lnTo>
                        <a:pt x="47594" y="145554"/>
                      </a:lnTo>
                      <a:lnTo>
                        <a:pt x="46176" y="144193"/>
                      </a:lnTo>
                      <a:lnTo>
                        <a:pt x="45524" y="142832"/>
                      </a:lnTo>
                      <a:lnTo>
                        <a:pt x="45533" y="141911"/>
                      </a:lnTo>
                      <a:lnTo>
                        <a:pt x="45076" y="140281"/>
                      </a:lnTo>
                      <a:lnTo>
                        <a:pt x="45150" y="138977"/>
                      </a:lnTo>
                      <a:lnTo>
                        <a:pt x="46894" y="133981"/>
                      </a:lnTo>
                      <a:lnTo>
                        <a:pt x="47627" y="130265"/>
                      </a:lnTo>
                      <a:lnTo>
                        <a:pt x="41678" y="130265"/>
                      </a:lnTo>
                      <a:lnTo>
                        <a:pt x="35720" y="130265"/>
                      </a:lnTo>
                      <a:lnTo>
                        <a:pt x="29763" y="130265"/>
                      </a:lnTo>
                      <a:lnTo>
                        <a:pt x="23805" y="130265"/>
                      </a:lnTo>
                      <a:lnTo>
                        <a:pt x="17848" y="130265"/>
                      </a:lnTo>
                      <a:lnTo>
                        <a:pt x="11899" y="130265"/>
                      </a:lnTo>
                      <a:lnTo>
                        <a:pt x="5941" y="130265"/>
                      </a:lnTo>
                      <a:lnTo>
                        <a:pt x="0" y="130249"/>
                      </a:lnTo>
                      <a:lnTo>
                        <a:pt x="98" y="129353"/>
                      </a:lnTo>
                      <a:lnTo>
                        <a:pt x="1133" y="128212"/>
                      </a:lnTo>
                      <a:lnTo>
                        <a:pt x="1491" y="126761"/>
                      </a:lnTo>
                      <a:lnTo>
                        <a:pt x="636" y="123289"/>
                      </a:lnTo>
                      <a:lnTo>
                        <a:pt x="954" y="121374"/>
                      </a:lnTo>
                      <a:lnTo>
                        <a:pt x="2437" y="121023"/>
                      </a:lnTo>
                      <a:lnTo>
                        <a:pt x="3170" y="119174"/>
                      </a:lnTo>
                      <a:lnTo>
                        <a:pt x="3170" y="115824"/>
                      </a:lnTo>
                      <a:lnTo>
                        <a:pt x="3749" y="113566"/>
                      </a:lnTo>
                      <a:lnTo>
                        <a:pt x="4906" y="112393"/>
                      </a:lnTo>
                      <a:lnTo>
                        <a:pt x="6015" y="109646"/>
                      </a:lnTo>
                      <a:lnTo>
                        <a:pt x="7058" y="105319"/>
                      </a:lnTo>
                      <a:lnTo>
                        <a:pt x="9193" y="101749"/>
                      </a:lnTo>
                      <a:lnTo>
                        <a:pt x="12420" y="98946"/>
                      </a:lnTo>
                      <a:lnTo>
                        <a:pt x="14009" y="96509"/>
                      </a:lnTo>
                      <a:lnTo>
                        <a:pt x="14107" y="94626"/>
                      </a:lnTo>
                      <a:lnTo>
                        <a:pt x="14458" y="93746"/>
                      </a:lnTo>
                      <a:lnTo>
                        <a:pt x="15110" y="93274"/>
                      </a:lnTo>
                      <a:lnTo>
                        <a:pt x="16185" y="91986"/>
                      </a:lnTo>
                      <a:lnTo>
                        <a:pt x="17595" y="90217"/>
                      </a:lnTo>
                      <a:lnTo>
                        <a:pt x="17848" y="89003"/>
                      </a:lnTo>
                      <a:lnTo>
                        <a:pt x="17775" y="88172"/>
                      </a:lnTo>
                      <a:lnTo>
                        <a:pt x="17677" y="87275"/>
                      </a:lnTo>
                      <a:lnTo>
                        <a:pt x="16552" y="85637"/>
                      </a:lnTo>
                      <a:lnTo>
                        <a:pt x="14833" y="84252"/>
                      </a:lnTo>
                      <a:lnTo>
                        <a:pt x="13724" y="82092"/>
                      </a:lnTo>
                      <a:lnTo>
                        <a:pt x="13806" y="80438"/>
                      </a:lnTo>
                      <a:lnTo>
                        <a:pt x="13423" y="78979"/>
                      </a:lnTo>
                      <a:lnTo>
                        <a:pt x="12591" y="77724"/>
                      </a:lnTo>
                      <a:lnTo>
                        <a:pt x="12771" y="76550"/>
                      </a:lnTo>
                      <a:lnTo>
                        <a:pt x="13960" y="75466"/>
                      </a:lnTo>
                      <a:lnTo>
                        <a:pt x="14018" y="74440"/>
                      </a:lnTo>
                      <a:lnTo>
                        <a:pt x="12942" y="73470"/>
                      </a:lnTo>
                      <a:lnTo>
                        <a:pt x="12934" y="71742"/>
                      </a:lnTo>
                      <a:lnTo>
                        <a:pt x="13993" y="69265"/>
                      </a:lnTo>
                      <a:lnTo>
                        <a:pt x="13928" y="67545"/>
                      </a:lnTo>
                      <a:lnTo>
                        <a:pt x="12738" y="66600"/>
                      </a:lnTo>
                      <a:lnTo>
                        <a:pt x="12591" y="65002"/>
                      </a:lnTo>
                      <a:lnTo>
                        <a:pt x="12518" y="64195"/>
                      </a:lnTo>
                      <a:lnTo>
                        <a:pt x="13659" y="58417"/>
                      </a:lnTo>
                      <a:lnTo>
                        <a:pt x="13398" y="57668"/>
                      </a:lnTo>
                      <a:lnTo>
                        <a:pt x="12249" y="55923"/>
                      </a:lnTo>
                      <a:lnTo>
                        <a:pt x="12127" y="53796"/>
                      </a:lnTo>
                      <a:lnTo>
                        <a:pt x="12803" y="51221"/>
                      </a:lnTo>
                      <a:lnTo>
                        <a:pt x="12469" y="49200"/>
                      </a:lnTo>
                      <a:lnTo>
                        <a:pt x="11507" y="48475"/>
                      </a:lnTo>
                      <a:lnTo>
                        <a:pt x="11263" y="47676"/>
                      </a:lnTo>
                      <a:lnTo>
                        <a:pt x="10970" y="46486"/>
                      </a:lnTo>
                      <a:lnTo>
                        <a:pt x="12004" y="45394"/>
                      </a:lnTo>
                      <a:lnTo>
                        <a:pt x="12061" y="44392"/>
                      </a:lnTo>
                      <a:lnTo>
                        <a:pt x="11149" y="43471"/>
                      </a:lnTo>
                      <a:lnTo>
                        <a:pt x="11719" y="42167"/>
                      </a:lnTo>
                      <a:lnTo>
                        <a:pt x="13797" y="40472"/>
                      </a:lnTo>
                      <a:lnTo>
                        <a:pt x="14368" y="39518"/>
                      </a:lnTo>
                      <a:lnTo>
                        <a:pt x="14979" y="38507"/>
                      </a:lnTo>
                      <a:lnTo>
                        <a:pt x="15338" y="36095"/>
                      </a:lnTo>
                      <a:lnTo>
                        <a:pt x="15044" y="34669"/>
                      </a:lnTo>
                      <a:lnTo>
                        <a:pt x="14547" y="33715"/>
                      </a:lnTo>
                      <a:lnTo>
                        <a:pt x="14784" y="33218"/>
                      </a:lnTo>
                      <a:lnTo>
                        <a:pt x="15216" y="32770"/>
                      </a:lnTo>
                      <a:lnTo>
                        <a:pt x="17693" y="31898"/>
                      </a:lnTo>
                      <a:lnTo>
                        <a:pt x="18394" y="31279"/>
                      </a:lnTo>
                      <a:lnTo>
                        <a:pt x="18549" y="30529"/>
                      </a:lnTo>
                      <a:lnTo>
                        <a:pt x="17766" y="28654"/>
                      </a:lnTo>
                      <a:lnTo>
                        <a:pt x="18524" y="26682"/>
                      </a:lnTo>
                      <a:lnTo>
                        <a:pt x="20823" y="24596"/>
                      </a:lnTo>
                      <a:lnTo>
                        <a:pt x="22037" y="22762"/>
                      </a:lnTo>
                      <a:lnTo>
                        <a:pt x="22183" y="21181"/>
                      </a:lnTo>
                      <a:lnTo>
                        <a:pt x="23284" y="20024"/>
                      </a:lnTo>
                      <a:lnTo>
                        <a:pt x="25329" y="19299"/>
                      </a:lnTo>
                      <a:lnTo>
                        <a:pt x="26601" y="16348"/>
                      </a:lnTo>
                      <a:lnTo>
                        <a:pt x="27106" y="11181"/>
                      </a:lnTo>
                      <a:lnTo>
                        <a:pt x="27717" y="8973"/>
                      </a:lnTo>
                      <a:lnTo>
                        <a:pt x="28760" y="8647"/>
                      </a:lnTo>
                      <a:lnTo>
                        <a:pt x="29314" y="7930"/>
                      </a:lnTo>
                      <a:lnTo>
                        <a:pt x="29494" y="6438"/>
                      </a:lnTo>
                      <a:lnTo>
                        <a:pt x="30773" y="4914"/>
                      </a:lnTo>
                      <a:lnTo>
                        <a:pt x="33153" y="3350"/>
                      </a:lnTo>
                      <a:lnTo>
                        <a:pt x="34090" y="1834"/>
                      </a:lnTo>
                      <a:lnTo>
                        <a:pt x="33805" y="1019"/>
                      </a:lnTo>
                      <a:lnTo>
                        <a:pt x="33797" y="0"/>
                      </a:lnTo>
                      <a:lnTo>
                        <a:pt x="40121" y="0"/>
                      </a:lnTo>
                      <a:lnTo>
                        <a:pt x="46706" y="8"/>
                      </a:lnTo>
                      <a:lnTo>
                        <a:pt x="53299" y="16"/>
                      </a:lnTo>
                      <a:lnTo>
                        <a:pt x="59892" y="24"/>
                      </a:lnTo>
                      <a:lnTo>
                        <a:pt x="66477" y="33"/>
                      </a:lnTo>
                      <a:lnTo>
                        <a:pt x="73071" y="49"/>
                      </a:lnTo>
                      <a:lnTo>
                        <a:pt x="79664" y="57"/>
                      </a:lnTo>
                      <a:lnTo>
                        <a:pt x="86395" y="57"/>
                      </a:lnTo>
                      <a:lnTo>
                        <a:pt x="88596" y="2233"/>
                      </a:lnTo>
                      <a:lnTo>
                        <a:pt x="88514" y="3015"/>
                      </a:lnTo>
                      <a:lnTo>
                        <a:pt x="88482" y="3545"/>
                      </a:lnTo>
                      <a:lnTo>
                        <a:pt x="88327" y="5077"/>
                      </a:lnTo>
                      <a:lnTo>
                        <a:pt x="87724" y="11149"/>
                      </a:lnTo>
                      <a:lnTo>
                        <a:pt x="87121" y="17212"/>
                      </a:lnTo>
                      <a:lnTo>
                        <a:pt x="86509" y="23276"/>
                      </a:lnTo>
                      <a:lnTo>
                        <a:pt x="85906" y="29331"/>
                      </a:lnTo>
                      <a:lnTo>
                        <a:pt x="85303" y="35378"/>
                      </a:lnTo>
                      <a:lnTo>
                        <a:pt x="84692" y="41417"/>
                      </a:lnTo>
                      <a:lnTo>
                        <a:pt x="84089" y="47456"/>
                      </a:lnTo>
                      <a:lnTo>
                        <a:pt x="83486" y="53487"/>
                      </a:lnTo>
                      <a:lnTo>
                        <a:pt x="82875" y="59509"/>
                      </a:lnTo>
                      <a:lnTo>
                        <a:pt x="82272" y="65532"/>
                      </a:lnTo>
                      <a:lnTo>
                        <a:pt x="81668" y="71546"/>
                      </a:lnTo>
                      <a:lnTo>
                        <a:pt x="81065" y="77545"/>
                      </a:lnTo>
                      <a:lnTo>
                        <a:pt x="80454" y="83551"/>
                      </a:lnTo>
                      <a:lnTo>
                        <a:pt x="79851" y="89541"/>
                      </a:lnTo>
                      <a:lnTo>
                        <a:pt x="79240" y="95531"/>
                      </a:lnTo>
                      <a:lnTo>
                        <a:pt x="78629" y="101513"/>
                      </a:lnTo>
                      <a:lnTo>
                        <a:pt x="78889" y="107593"/>
                      </a:lnTo>
                      <a:lnTo>
                        <a:pt x="79150" y="113664"/>
                      </a:lnTo>
                      <a:lnTo>
                        <a:pt x="79411" y="119728"/>
                      </a:lnTo>
                      <a:lnTo>
                        <a:pt x="79647" y="125791"/>
                      </a:lnTo>
                      <a:close/>
                    </a:path>
                  </a:pathLst>
                </a:custGeom>
                <a:solidFill>
                  <a:srgbClr val="D6D6D2"/>
                </a:solidFill>
                <a:ln w="6112" cap="rnd">
                  <a:solidFill>
                    <a:srgbClr val="FFFFFF"/>
                  </a:solidFill>
                  <a:prstDash val="solid"/>
                  <a:round/>
                </a:ln>
              </p:spPr>
              <p:txBody>
                <a:bodyPr rtlCol="0" anchor="ctr"/>
                <a:lstStyle/>
                <a:p>
                  <a:endParaRPr lang="en-US"/>
                </a:p>
              </p:txBody>
            </p:sp>
            <p:sp>
              <p:nvSpPr>
                <p:cNvPr id="449" name="Freeform: Shape 448">
                  <a:extLst>
                    <a:ext uri="{FF2B5EF4-FFF2-40B4-BE49-F238E27FC236}">
                      <a16:creationId xmlns:a16="http://schemas.microsoft.com/office/drawing/2014/main" id="{0AD94C85-231B-40E4-9ADE-E8AF5EE2B0C1}"/>
                    </a:ext>
                  </a:extLst>
                </p:cNvPr>
                <p:cNvSpPr/>
                <p:nvPr/>
              </p:nvSpPr>
              <p:spPr>
                <a:xfrm>
                  <a:off x="3568433" y="3254589"/>
                  <a:ext cx="164755" cy="155439"/>
                </a:xfrm>
                <a:custGeom>
                  <a:avLst/>
                  <a:gdLst>
                    <a:gd name="connsiteX0" fmla="*/ 106607 w 164755"/>
                    <a:gd name="connsiteY0" fmla="*/ 23162 h 155439"/>
                    <a:gd name="connsiteX1" fmla="*/ 107625 w 164755"/>
                    <a:gd name="connsiteY1" fmla="*/ 27090 h 155439"/>
                    <a:gd name="connsiteX2" fmla="*/ 108799 w 164755"/>
                    <a:gd name="connsiteY2" fmla="*/ 29714 h 155439"/>
                    <a:gd name="connsiteX3" fmla="*/ 112980 w 164755"/>
                    <a:gd name="connsiteY3" fmla="*/ 34669 h 155439"/>
                    <a:gd name="connsiteX4" fmla="*/ 120192 w 164755"/>
                    <a:gd name="connsiteY4" fmla="*/ 41963 h 155439"/>
                    <a:gd name="connsiteX5" fmla="*/ 124707 w 164755"/>
                    <a:gd name="connsiteY5" fmla="*/ 48890 h 155439"/>
                    <a:gd name="connsiteX6" fmla="*/ 126533 w 164755"/>
                    <a:gd name="connsiteY6" fmla="*/ 55443 h 155439"/>
                    <a:gd name="connsiteX7" fmla="*/ 128676 w 164755"/>
                    <a:gd name="connsiteY7" fmla="*/ 58067 h 155439"/>
                    <a:gd name="connsiteX8" fmla="*/ 131145 w 164755"/>
                    <a:gd name="connsiteY8" fmla="*/ 56763 h 155439"/>
                    <a:gd name="connsiteX9" fmla="*/ 134210 w 164755"/>
                    <a:gd name="connsiteY9" fmla="*/ 57374 h 155439"/>
                    <a:gd name="connsiteX10" fmla="*/ 137535 w 164755"/>
                    <a:gd name="connsiteY10" fmla="*/ 58466 h 155439"/>
                    <a:gd name="connsiteX11" fmla="*/ 139271 w 164755"/>
                    <a:gd name="connsiteY11" fmla="*/ 59746 h 155439"/>
                    <a:gd name="connsiteX12" fmla="*/ 139662 w 164755"/>
                    <a:gd name="connsiteY12" fmla="*/ 60186 h 155439"/>
                    <a:gd name="connsiteX13" fmla="*/ 139850 w 164755"/>
                    <a:gd name="connsiteY13" fmla="*/ 60659 h 155439"/>
                    <a:gd name="connsiteX14" fmla="*/ 139711 w 164755"/>
                    <a:gd name="connsiteY14" fmla="*/ 61123 h 155439"/>
                    <a:gd name="connsiteX15" fmla="*/ 139255 w 164755"/>
                    <a:gd name="connsiteY15" fmla="*/ 62411 h 155439"/>
                    <a:gd name="connsiteX16" fmla="*/ 135139 w 164755"/>
                    <a:gd name="connsiteY16" fmla="*/ 73258 h 155439"/>
                    <a:gd name="connsiteX17" fmla="*/ 133721 w 164755"/>
                    <a:gd name="connsiteY17" fmla="*/ 78229 h 155439"/>
                    <a:gd name="connsiteX18" fmla="*/ 133925 w 164755"/>
                    <a:gd name="connsiteY18" fmla="*/ 80096 h 155439"/>
                    <a:gd name="connsiteX19" fmla="*/ 135579 w 164755"/>
                    <a:gd name="connsiteY19" fmla="*/ 82785 h 155439"/>
                    <a:gd name="connsiteX20" fmla="*/ 138684 w 164755"/>
                    <a:gd name="connsiteY20" fmla="*/ 86298 h 155439"/>
                    <a:gd name="connsiteX21" fmla="*/ 141406 w 164755"/>
                    <a:gd name="connsiteY21" fmla="*/ 88588 h 155439"/>
                    <a:gd name="connsiteX22" fmla="*/ 143737 w 164755"/>
                    <a:gd name="connsiteY22" fmla="*/ 89663 h 155439"/>
                    <a:gd name="connsiteX23" fmla="*/ 147380 w 164755"/>
                    <a:gd name="connsiteY23" fmla="*/ 92491 h 155439"/>
                    <a:gd name="connsiteX24" fmla="*/ 152335 w 164755"/>
                    <a:gd name="connsiteY24" fmla="*/ 97071 h 155439"/>
                    <a:gd name="connsiteX25" fmla="*/ 154812 w 164755"/>
                    <a:gd name="connsiteY25" fmla="*/ 100503 h 155439"/>
                    <a:gd name="connsiteX26" fmla="*/ 154812 w 164755"/>
                    <a:gd name="connsiteY26" fmla="*/ 102793 h 155439"/>
                    <a:gd name="connsiteX27" fmla="*/ 155318 w 164755"/>
                    <a:gd name="connsiteY27" fmla="*/ 105131 h 155439"/>
                    <a:gd name="connsiteX28" fmla="*/ 156336 w 164755"/>
                    <a:gd name="connsiteY28" fmla="*/ 107528 h 155439"/>
                    <a:gd name="connsiteX29" fmla="*/ 156336 w 164755"/>
                    <a:gd name="connsiteY29" fmla="*/ 109809 h 155439"/>
                    <a:gd name="connsiteX30" fmla="*/ 155318 w 164755"/>
                    <a:gd name="connsiteY30" fmla="*/ 111985 h 155439"/>
                    <a:gd name="connsiteX31" fmla="*/ 155717 w 164755"/>
                    <a:gd name="connsiteY31" fmla="*/ 114911 h 155439"/>
                    <a:gd name="connsiteX32" fmla="*/ 157526 w 164755"/>
                    <a:gd name="connsiteY32" fmla="*/ 118595 h 155439"/>
                    <a:gd name="connsiteX33" fmla="*/ 159067 w 164755"/>
                    <a:gd name="connsiteY33" fmla="*/ 120820 h 155439"/>
                    <a:gd name="connsiteX34" fmla="*/ 160338 w 164755"/>
                    <a:gd name="connsiteY34" fmla="*/ 121602 h 155439"/>
                    <a:gd name="connsiteX35" fmla="*/ 160599 w 164755"/>
                    <a:gd name="connsiteY35" fmla="*/ 121570 h 155439"/>
                    <a:gd name="connsiteX36" fmla="*/ 160705 w 164755"/>
                    <a:gd name="connsiteY36" fmla="*/ 121244 h 155439"/>
                    <a:gd name="connsiteX37" fmla="*/ 160517 w 164755"/>
                    <a:gd name="connsiteY37" fmla="*/ 120730 h 155439"/>
                    <a:gd name="connsiteX38" fmla="*/ 160460 w 164755"/>
                    <a:gd name="connsiteY38" fmla="*/ 120282 h 155439"/>
                    <a:gd name="connsiteX39" fmla="*/ 160566 w 164755"/>
                    <a:gd name="connsiteY39" fmla="*/ 119654 h 155439"/>
                    <a:gd name="connsiteX40" fmla="*/ 160819 w 164755"/>
                    <a:gd name="connsiteY40" fmla="*/ 119410 h 155439"/>
                    <a:gd name="connsiteX41" fmla="*/ 161039 w 164755"/>
                    <a:gd name="connsiteY41" fmla="*/ 119345 h 155439"/>
                    <a:gd name="connsiteX42" fmla="*/ 162212 w 164755"/>
                    <a:gd name="connsiteY42" fmla="*/ 120241 h 155439"/>
                    <a:gd name="connsiteX43" fmla="*/ 163973 w 164755"/>
                    <a:gd name="connsiteY43" fmla="*/ 122262 h 155439"/>
                    <a:gd name="connsiteX44" fmla="*/ 164755 w 164755"/>
                    <a:gd name="connsiteY44" fmla="*/ 124943 h 155439"/>
                    <a:gd name="connsiteX45" fmla="*/ 164584 w 164755"/>
                    <a:gd name="connsiteY45" fmla="*/ 128285 h 155439"/>
                    <a:gd name="connsiteX46" fmla="*/ 163916 w 164755"/>
                    <a:gd name="connsiteY46" fmla="*/ 131455 h 155439"/>
                    <a:gd name="connsiteX47" fmla="*/ 162758 w 164755"/>
                    <a:gd name="connsiteY47" fmla="*/ 134454 h 155439"/>
                    <a:gd name="connsiteX48" fmla="*/ 161438 w 164755"/>
                    <a:gd name="connsiteY48" fmla="*/ 135489 h 155439"/>
                    <a:gd name="connsiteX49" fmla="*/ 160843 w 164755"/>
                    <a:gd name="connsiteY49" fmla="*/ 135302 h 155439"/>
                    <a:gd name="connsiteX50" fmla="*/ 159596 w 164755"/>
                    <a:gd name="connsiteY50" fmla="*/ 134772 h 155439"/>
                    <a:gd name="connsiteX51" fmla="*/ 159083 w 164755"/>
                    <a:gd name="connsiteY51" fmla="*/ 134935 h 155439"/>
                    <a:gd name="connsiteX52" fmla="*/ 157942 w 164755"/>
                    <a:gd name="connsiteY52" fmla="*/ 135709 h 155439"/>
                    <a:gd name="connsiteX53" fmla="*/ 156622 w 164755"/>
                    <a:gd name="connsiteY53" fmla="*/ 138619 h 155439"/>
                    <a:gd name="connsiteX54" fmla="*/ 156589 w 164755"/>
                    <a:gd name="connsiteY54" fmla="*/ 138700 h 155439"/>
                    <a:gd name="connsiteX55" fmla="*/ 156100 w 164755"/>
                    <a:gd name="connsiteY55" fmla="*/ 138994 h 155439"/>
                    <a:gd name="connsiteX56" fmla="*/ 155758 w 164755"/>
                    <a:gd name="connsiteY56" fmla="*/ 138684 h 155439"/>
                    <a:gd name="connsiteX57" fmla="*/ 155717 w 164755"/>
                    <a:gd name="connsiteY57" fmla="*/ 138521 h 155439"/>
                    <a:gd name="connsiteX58" fmla="*/ 155473 w 164755"/>
                    <a:gd name="connsiteY58" fmla="*/ 137665 h 155439"/>
                    <a:gd name="connsiteX59" fmla="*/ 154910 w 164755"/>
                    <a:gd name="connsiteY59" fmla="*/ 136810 h 155439"/>
                    <a:gd name="connsiteX60" fmla="*/ 154511 w 164755"/>
                    <a:gd name="connsiteY60" fmla="*/ 136785 h 155439"/>
                    <a:gd name="connsiteX61" fmla="*/ 154160 w 164755"/>
                    <a:gd name="connsiteY61" fmla="*/ 136858 h 155439"/>
                    <a:gd name="connsiteX62" fmla="*/ 154022 w 164755"/>
                    <a:gd name="connsiteY62" fmla="*/ 137274 h 155439"/>
                    <a:gd name="connsiteX63" fmla="*/ 153908 w 164755"/>
                    <a:gd name="connsiteY63" fmla="*/ 138187 h 155439"/>
                    <a:gd name="connsiteX64" fmla="*/ 153973 w 164755"/>
                    <a:gd name="connsiteY64" fmla="*/ 138586 h 155439"/>
                    <a:gd name="connsiteX65" fmla="*/ 154389 w 164755"/>
                    <a:gd name="connsiteY65" fmla="*/ 141056 h 155439"/>
                    <a:gd name="connsiteX66" fmla="*/ 154022 w 164755"/>
                    <a:gd name="connsiteY66" fmla="*/ 142840 h 155439"/>
                    <a:gd name="connsiteX67" fmla="*/ 152816 w 164755"/>
                    <a:gd name="connsiteY67" fmla="*/ 143533 h 155439"/>
                    <a:gd name="connsiteX68" fmla="*/ 152620 w 164755"/>
                    <a:gd name="connsiteY68" fmla="*/ 144527 h 155439"/>
                    <a:gd name="connsiteX69" fmla="*/ 153321 w 164755"/>
                    <a:gd name="connsiteY69" fmla="*/ 145660 h 155439"/>
                    <a:gd name="connsiteX70" fmla="*/ 153321 w 164755"/>
                    <a:gd name="connsiteY70" fmla="*/ 146174 h 155439"/>
                    <a:gd name="connsiteX71" fmla="*/ 153052 w 164755"/>
                    <a:gd name="connsiteY71" fmla="*/ 146606 h 155439"/>
                    <a:gd name="connsiteX72" fmla="*/ 152221 w 164755"/>
                    <a:gd name="connsiteY72" fmla="*/ 146736 h 155439"/>
                    <a:gd name="connsiteX73" fmla="*/ 151577 w 164755"/>
                    <a:gd name="connsiteY73" fmla="*/ 146980 h 155439"/>
                    <a:gd name="connsiteX74" fmla="*/ 151063 w 164755"/>
                    <a:gd name="connsiteY74" fmla="*/ 147885 h 155439"/>
                    <a:gd name="connsiteX75" fmla="*/ 152074 w 164755"/>
                    <a:gd name="connsiteY75" fmla="*/ 149629 h 155439"/>
                    <a:gd name="connsiteX76" fmla="*/ 151878 w 164755"/>
                    <a:gd name="connsiteY76" fmla="*/ 151732 h 155439"/>
                    <a:gd name="connsiteX77" fmla="*/ 150493 w 164755"/>
                    <a:gd name="connsiteY77" fmla="*/ 154193 h 155439"/>
                    <a:gd name="connsiteX78" fmla="*/ 150314 w 164755"/>
                    <a:gd name="connsiteY78" fmla="*/ 155146 h 155439"/>
                    <a:gd name="connsiteX79" fmla="*/ 145766 w 164755"/>
                    <a:gd name="connsiteY79" fmla="*/ 155220 h 155439"/>
                    <a:gd name="connsiteX80" fmla="*/ 141691 w 164755"/>
                    <a:gd name="connsiteY80" fmla="*/ 155293 h 155439"/>
                    <a:gd name="connsiteX81" fmla="*/ 137616 w 164755"/>
                    <a:gd name="connsiteY81" fmla="*/ 155358 h 155439"/>
                    <a:gd name="connsiteX82" fmla="*/ 133542 w 164755"/>
                    <a:gd name="connsiteY82" fmla="*/ 155440 h 155439"/>
                    <a:gd name="connsiteX83" fmla="*/ 135473 w 164755"/>
                    <a:gd name="connsiteY83" fmla="*/ 151911 h 155439"/>
                    <a:gd name="connsiteX84" fmla="*/ 136728 w 164755"/>
                    <a:gd name="connsiteY84" fmla="*/ 150632 h 155439"/>
                    <a:gd name="connsiteX85" fmla="*/ 137633 w 164755"/>
                    <a:gd name="connsiteY85" fmla="*/ 149287 h 155439"/>
                    <a:gd name="connsiteX86" fmla="*/ 139287 w 164755"/>
                    <a:gd name="connsiteY86" fmla="*/ 148048 h 155439"/>
                    <a:gd name="connsiteX87" fmla="*/ 141113 w 164755"/>
                    <a:gd name="connsiteY87" fmla="*/ 145367 h 155439"/>
                    <a:gd name="connsiteX88" fmla="*/ 141333 w 164755"/>
                    <a:gd name="connsiteY88" fmla="*/ 144120 h 155439"/>
                    <a:gd name="connsiteX89" fmla="*/ 141145 w 164755"/>
                    <a:gd name="connsiteY89" fmla="*/ 142873 h 155439"/>
                    <a:gd name="connsiteX90" fmla="*/ 140061 w 164755"/>
                    <a:gd name="connsiteY90" fmla="*/ 141194 h 155439"/>
                    <a:gd name="connsiteX91" fmla="*/ 138969 w 164755"/>
                    <a:gd name="connsiteY91" fmla="*/ 138594 h 155439"/>
                    <a:gd name="connsiteX92" fmla="*/ 132058 w 164755"/>
                    <a:gd name="connsiteY92" fmla="*/ 138594 h 155439"/>
                    <a:gd name="connsiteX93" fmla="*/ 125156 w 164755"/>
                    <a:gd name="connsiteY93" fmla="*/ 138594 h 155439"/>
                    <a:gd name="connsiteX94" fmla="*/ 118253 w 164755"/>
                    <a:gd name="connsiteY94" fmla="*/ 138594 h 155439"/>
                    <a:gd name="connsiteX95" fmla="*/ 111342 w 164755"/>
                    <a:gd name="connsiteY95" fmla="*/ 138594 h 155439"/>
                    <a:gd name="connsiteX96" fmla="*/ 104431 w 164755"/>
                    <a:gd name="connsiteY96" fmla="*/ 138594 h 155439"/>
                    <a:gd name="connsiteX97" fmla="*/ 97528 w 164755"/>
                    <a:gd name="connsiteY97" fmla="*/ 138594 h 155439"/>
                    <a:gd name="connsiteX98" fmla="*/ 90617 w 164755"/>
                    <a:gd name="connsiteY98" fmla="*/ 138594 h 155439"/>
                    <a:gd name="connsiteX99" fmla="*/ 83706 w 164755"/>
                    <a:gd name="connsiteY99" fmla="*/ 138594 h 155439"/>
                    <a:gd name="connsiteX100" fmla="*/ 76803 w 164755"/>
                    <a:gd name="connsiteY100" fmla="*/ 138594 h 155439"/>
                    <a:gd name="connsiteX101" fmla="*/ 69892 w 164755"/>
                    <a:gd name="connsiteY101" fmla="*/ 138594 h 155439"/>
                    <a:gd name="connsiteX102" fmla="*/ 62981 w 164755"/>
                    <a:gd name="connsiteY102" fmla="*/ 138594 h 155439"/>
                    <a:gd name="connsiteX103" fmla="*/ 56078 w 164755"/>
                    <a:gd name="connsiteY103" fmla="*/ 138594 h 155439"/>
                    <a:gd name="connsiteX104" fmla="*/ 49167 w 164755"/>
                    <a:gd name="connsiteY104" fmla="*/ 138594 h 155439"/>
                    <a:gd name="connsiteX105" fmla="*/ 42265 w 164755"/>
                    <a:gd name="connsiteY105" fmla="*/ 138594 h 155439"/>
                    <a:gd name="connsiteX106" fmla="*/ 35354 w 164755"/>
                    <a:gd name="connsiteY106" fmla="*/ 138594 h 155439"/>
                    <a:gd name="connsiteX107" fmla="*/ 28451 w 164755"/>
                    <a:gd name="connsiteY107" fmla="*/ 138594 h 155439"/>
                    <a:gd name="connsiteX108" fmla="*/ 28451 w 164755"/>
                    <a:gd name="connsiteY108" fmla="*/ 134446 h 155439"/>
                    <a:gd name="connsiteX109" fmla="*/ 28459 w 164755"/>
                    <a:gd name="connsiteY109" fmla="*/ 130290 h 155439"/>
                    <a:gd name="connsiteX110" fmla="*/ 28459 w 164755"/>
                    <a:gd name="connsiteY110" fmla="*/ 126133 h 155439"/>
                    <a:gd name="connsiteX111" fmla="*/ 28459 w 164755"/>
                    <a:gd name="connsiteY111" fmla="*/ 121977 h 155439"/>
                    <a:gd name="connsiteX112" fmla="*/ 28451 w 164755"/>
                    <a:gd name="connsiteY112" fmla="*/ 117633 h 155439"/>
                    <a:gd name="connsiteX113" fmla="*/ 28435 w 164755"/>
                    <a:gd name="connsiteY113" fmla="*/ 113281 h 155439"/>
                    <a:gd name="connsiteX114" fmla="*/ 28426 w 164755"/>
                    <a:gd name="connsiteY114" fmla="*/ 108946 h 155439"/>
                    <a:gd name="connsiteX115" fmla="*/ 28418 w 164755"/>
                    <a:gd name="connsiteY115" fmla="*/ 104594 h 155439"/>
                    <a:gd name="connsiteX116" fmla="*/ 28402 w 164755"/>
                    <a:gd name="connsiteY116" fmla="*/ 100234 h 155439"/>
                    <a:gd name="connsiteX117" fmla="*/ 28394 w 164755"/>
                    <a:gd name="connsiteY117" fmla="*/ 95882 h 155439"/>
                    <a:gd name="connsiteX118" fmla="*/ 28377 w 164755"/>
                    <a:gd name="connsiteY118" fmla="*/ 91513 h 155439"/>
                    <a:gd name="connsiteX119" fmla="*/ 28369 w 164755"/>
                    <a:gd name="connsiteY119" fmla="*/ 87153 h 155439"/>
                    <a:gd name="connsiteX120" fmla="*/ 28369 w 164755"/>
                    <a:gd name="connsiteY120" fmla="*/ 82793 h 155439"/>
                    <a:gd name="connsiteX121" fmla="*/ 28353 w 164755"/>
                    <a:gd name="connsiteY121" fmla="*/ 78417 h 155439"/>
                    <a:gd name="connsiteX122" fmla="*/ 28345 w 164755"/>
                    <a:gd name="connsiteY122" fmla="*/ 74048 h 155439"/>
                    <a:gd name="connsiteX123" fmla="*/ 28337 w 164755"/>
                    <a:gd name="connsiteY123" fmla="*/ 69672 h 155439"/>
                    <a:gd name="connsiteX124" fmla="*/ 28320 w 164755"/>
                    <a:gd name="connsiteY124" fmla="*/ 65288 h 155439"/>
                    <a:gd name="connsiteX125" fmla="*/ 28312 w 164755"/>
                    <a:gd name="connsiteY125" fmla="*/ 60895 h 155439"/>
                    <a:gd name="connsiteX126" fmla="*/ 28304 w 164755"/>
                    <a:gd name="connsiteY126" fmla="*/ 56510 h 155439"/>
                    <a:gd name="connsiteX127" fmla="*/ 28296 w 164755"/>
                    <a:gd name="connsiteY127" fmla="*/ 52118 h 155439"/>
                    <a:gd name="connsiteX128" fmla="*/ 28345 w 164755"/>
                    <a:gd name="connsiteY128" fmla="*/ 50822 h 155439"/>
                    <a:gd name="connsiteX129" fmla="*/ 24490 w 164755"/>
                    <a:gd name="connsiteY129" fmla="*/ 48483 h 155439"/>
                    <a:gd name="connsiteX130" fmla="*/ 22770 w 164755"/>
                    <a:gd name="connsiteY130" fmla="*/ 46282 h 155439"/>
                    <a:gd name="connsiteX131" fmla="*/ 21898 w 164755"/>
                    <a:gd name="connsiteY131" fmla="*/ 43446 h 155439"/>
                    <a:gd name="connsiteX132" fmla="*/ 20162 w 164755"/>
                    <a:gd name="connsiteY132" fmla="*/ 40635 h 155439"/>
                    <a:gd name="connsiteX133" fmla="*/ 17538 w 164755"/>
                    <a:gd name="connsiteY133" fmla="*/ 37847 h 155439"/>
                    <a:gd name="connsiteX134" fmla="*/ 17114 w 164755"/>
                    <a:gd name="connsiteY134" fmla="*/ 34856 h 155439"/>
                    <a:gd name="connsiteX135" fmla="*/ 18867 w 164755"/>
                    <a:gd name="connsiteY135" fmla="*/ 31670 h 155439"/>
                    <a:gd name="connsiteX136" fmla="*/ 20325 w 164755"/>
                    <a:gd name="connsiteY136" fmla="*/ 30048 h 155439"/>
                    <a:gd name="connsiteX137" fmla="*/ 21499 w 164755"/>
                    <a:gd name="connsiteY137" fmla="*/ 29999 h 155439"/>
                    <a:gd name="connsiteX138" fmla="*/ 21629 w 164755"/>
                    <a:gd name="connsiteY138" fmla="*/ 28622 h 155439"/>
                    <a:gd name="connsiteX139" fmla="*/ 20717 w 164755"/>
                    <a:gd name="connsiteY139" fmla="*/ 25916 h 155439"/>
                    <a:gd name="connsiteX140" fmla="*/ 19380 w 164755"/>
                    <a:gd name="connsiteY140" fmla="*/ 24914 h 155439"/>
                    <a:gd name="connsiteX141" fmla="*/ 17612 w 164755"/>
                    <a:gd name="connsiteY141" fmla="*/ 25606 h 155439"/>
                    <a:gd name="connsiteX142" fmla="*/ 16096 w 164755"/>
                    <a:gd name="connsiteY142" fmla="*/ 25558 h 155439"/>
                    <a:gd name="connsiteX143" fmla="*/ 10383 w 164755"/>
                    <a:gd name="connsiteY143" fmla="*/ 21173 h 155439"/>
                    <a:gd name="connsiteX144" fmla="*/ 9992 w 164755"/>
                    <a:gd name="connsiteY144" fmla="*/ 20872 h 155439"/>
                    <a:gd name="connsiteX145" fmla="*/ 8207 w 164755"/>
                    <a:gd name="connsiteY145" fmla="*/ 17970 h 155439"/>
                    <a:gd name="connsiteX146" fmla="*/ 7481 w 164755"/>
                    <a:gd name="connsiteY146" fmla="*/ 14498 h 155439"/>
                    <a:gd name="connsiteX147" fmla="*/ 6055 w 164755"/>
                    <a:gd name="connsiteY147" fmla="*/ 12241 h 155439"/>
                    <a:gd name="connsiteX148" fmla="*/ 3920 w 164755"/>
                    <a:gd name="connsiteY148" fmla="*/ 11190 h 155439"/>
                    <a:gd name="connsiteX149" fmla="*/ 2575 w 164755"/>
                    <a:gd name="connsiteY149" fmla="*/ 8908 h 155439"/>
                    <a:gd name="connsiteX150" fmla="*/ 1997 w 164755"/>
                    <a:gd name="connsiteY150" fmla="*/ 5387 h 155439"/>
                    <a:gd name="connsiteX151" fmla="*/ 644 w 164755"/>
                    <a:gd name="connsiteY151" fmla="*/ 1834 h 155439"/>
                    <a:gd name="connsiteX152" fmla="*/ 0 w 164755"/>
                    <a:gd name="connsiteY152" fmla="*/ 774 h 155439"/>
                    <a:gd name="connsiteX153" fmla="*/ 6202 w 164755"/>
                    <a:gd name="connsiteY153" fmla="*/ 742 h 155439"/>
                    <a:gd name="connsiteX154" fmla="*/ 12453 w 164755"/>
                    <a:gd name="connsiteY154" fmla="*/ 685 h 155439"/>
                    <a:gd name="connsiteX155" fmla="*/ 18712 w 164755"/>
                    <a:gd name="connsiteY155" fmla="*/ 644 h 155439"/>
                    <a:gd name="connsiteX156" fmla="*/ 24971 w 164755"/>
                    <a:gd name="connsiteY156" fmla="*/ 595 h 155439"/>
                    <a:gd name="connsiteX157" fmla="*/ 31222 w 164755"/>
                    <a:gd name="connsiteY157" fmla="*/ 546 h 155439"/>
                    <a:gd name="connsiteX158" fmla="*/ 37481 w 164755"/>
                    <a:gd name="connsiteY158" fmla="*/ 489 h 155439"/>
                    <a:gd name="connsiteX159" fmla="*/ 43740 w 164755"/>
                    <a:gd name="connsiteY159" fmla="*/ 448 h 155439"/>
                    <a:gd name="connsiteX160" fmla="*/ 49991 w 164755"/>
                    <a:gd name="connsiteY160" fmla="*/ 391 h 155439"/>
                    <a:gd name="connsiteX161" fmla="*/ 56249 w 164755"/>
                    <a:gd name="connsiteY161" fmla="*/ 342 h 155439"/>
                    <a:gd name="connsiteX162" fmla="*/ 62508 w 164755"/>
                    <a:gd name="connsiteY162" fmla="*/ 302 h 155439"/>
                    <a:gd name="connsiteX163" fmla="*/ 68767 w 164755"/>
                    <a:gd name="connsiteY163" fmla="*/ 244 h 155439"/>
                    <a:gd name="connsiteX164" fmla="*/ 75018 w 164755"/>
                    <a:gd name="connsiteY164" fmla="*/ 196 h 155439"/>
                    <a:gd name="connsiteX165" fmla="*/ 81277 w 164755"/>
                    <a:gd name="connsiteY165" fmla="*/ 147 h 155439"/>
                    <a:gd name="connsiteX166" fmla="*/ 87536 w 164755"/>
                    <a:gd name="connsiteY166" fmla="*/ 98 h 155439"/>
                    <a:gd name="connsiteX167" fmla="*/ 93787 w 164755"/>
                    <a:gd name="connsiteY167" fmla="*/ 49 h 155439"/>
                    <a:gd name="connsiteX168" fmla="*/ 100046 w 164755"/>
                    <a:gd name="connsiteY168" fmla="*/ 0 h 155439"/>
                    <a:gd name="connsiteX169" fmla="*/ 101277 w 164755"/>
                    <a:gd name="connsiteY169" fmla="*/ 2478 h 155439"/>
                    <a:gd name="connsiteX170" fmla="*/ 102630 w 164755"/>
                    <a:gd name="connsiteY170" fmla="*/ 3195 h 155439"/>
                    <a:gd name="connsiteX171" fmla="*/ 102891 w 164755"/>
                    <a:gd name="connsiteY171" fmla="*/ 4010 h 155439"/>
                    <a:gd name="connsiteX172" fmla="*/ 104659 w 164755"/>
                    <a:gd name="connsiteY172" fmla="*/ 5289 h 155439"/>
                    <a:gd name="connsiteX173" fmla="*/ 105050 w 164755"/>
                    <a:gd name="connsiteY173" fmla="*/ 6544 h 155439"/>
                    <a:gd name="connsiteX174" fmla="*/ 107226 w 164755"/>
                    <a:gd name="connsiteY174" fmla="*/ 8337 h 155439"/>
                    <a:gd name="connsiteX175" fmla="*/ 105792 w 164755"/>
                    <a:gd name="connsiteY175" fmla="*/ 13553 h 155439"/>
                    <a:gd name="connsiteX176" fmla="*/ 105751 w 164755"/>
                    <a:gd name="connsiteY176" fmla="*/ 17913 h 155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164755" h="155439">
                      <a:moveTo>
                        <a:pt x="106607" y="23162"/>
                      </a:moveTo>
                      <a:lnTo>
                        <a:pt x="107625" y="27090"/>
                      </a:lnTo>
                      <a:lnTo>
                        <a:pt x="108799" y="29714"/>
                      </a:lnTo>
                      <a:lnTo>
                        <a:pt x="112980" y="34669"/>
                      </a:lnTo>
                      <a:lnTo>
                        <a:pt x="120192" y="41963"/>
                      </a:lnTo>
                      <a:lnTo>
                        <a:pt x="124707" y="48890"/>
                      </a:lnTo>
                      <a:lnTo>
                        <a:pt x="126533" y="55443"/>
                      </a:lnTo>
                      <a:lnTo>
                        <a:pt x="128676" y="58067"/>
                      </a:lnTo>
                      <a:lnTo>
                        <a:pt x="131145" y="56763"/>
                      </a:lnTo>
                      <a:lnTo>
                        <a:pt x="134210" y="57374"/>
                      </a:lnTo>
                      <a:lnTo>
                        <a:pt x="137535" y="58466"/>
                      </a:lnTo>
                      <a:lnTo>
                        <a:pt x="139271" y="59746"/>
                      </a:lnTo>
                      <a:lnTo>
                        <a:pt x="139662" y="60186"/>
                      </a:lnTo>
                      <a:lnTo>
                        <a:pt x="139850" y="60659"/>
                      </a:lnTo>
                      <a:lnTo>
                        <a:pt x="139711" y="61123"/>
                      </a:lnTo>
                      <a:lnTo>
                        <a:pt x="139255" y="62411"/>
                      </a:lnTo>
                      <a:lnTo>
                        <a:pt x="135139" y="73258"/>
                      </a:lnTo>
                      <a:lnTo>
                        <a:pt x="133721" y="78229"/>
                      </a:lnTo>
                      <a:lnTo>
                        <a:pt x="133925" y="80096"/>
                      </a:lnTo>
                      <a:lnTo>
                        <a:pt x="135579" y="82785"/>
                      </a:lnTo>
                      <a:lnTo>
                        <a:pt x="138684" y="86298"/>
                      </a:lnTo>
                      <a:lnTo>
                        <a:pt x="141406" y="88588"/>
                      </a:lnTo>
                      <a:lnTo>
                        <a:pt x="143737" y="89663"/>
                      </a:lnTo>
                      <a:lnTo>
                        <a:pt x="147380" y="92491"/>
                      </a:lnTo>
                      <a:lnTo>
                        <a:pt x="152335" y="97071"/>
                      </a:lnTo>
                      <a:lnTo>
                        <a:pt x="154812" y="100503"/>
                      </a:lnTo>
                      <a:lnTo>
                        <a:pt x="154812" y="102793"/>
                      </a:lnTo>
                      <a:lnTo>
                        <a:pt x="155318" y="105131"/>
                      </a:lnTo>
                      <a:lnTo>
                        <a:pt x="156336" y="107528"/>
                      </a:lnTo>
                      <a:lnTo>
                        <a:pt x="156336" y="109809"/>
                      </a:lnTo>
                      <a:lnTo>
                        <a:pt x="155318" y="111985"/>
                      </a:lnTo>
                      <a:lnTo>
                        <a:pt x="155717" y="114911"/>
                      </a:lnTo>
                      <a:lnTo>
                        <a:pt x="157526" y="118595"/>
                      </a:lnTo>
                      <a:lnTo>
                        <a:pt x="159067" y="120820"/>
                      </a:lnTo>
                      <a:lnTo>
                        <a:pt x="160338" y="121602"/>
                      </a:lnTo>
                      <a:lnTo>
                        <a:pt x="160599" y="121570"/>
                      </a:lnTo>
                      <a:lnTo>
                        <a:pt x="160705" y="121244"/>
                      </a:lnTo>
                      <a:lnTo>
                        <a:pt x="160517" y="120730"/>
                      </a:lnTo>
                      <a:lnTo>
                        <a:pt x="160460" y="120282"/>
                      </a:lnTo>
                      <a:lnTo>
                        <a:pt x="160566" y="119654"/>
                      </a:lnTo>
                      <a:lnTo>
                        <a:pt x="160819" y="119410"/>
                      </a:lnTo>
                      <a:lnTo>
                        <a:pt x="161039" y="119345"/>
                      </a:lnTo>
                      <a:lnTo>
                        <a:pt x="162212" y="120241"/>
                      </a:lnTo>
                      <a:lnTo>
                        <a:pt x="163973" y="122262"/>
                      </a:lnTo>
                      <a:lnTo>
                        <a:pt x="164755" y="124943"/>
                      </a:lnTo>
                      <a:lnTo>
                        <a:pt x="164584" y="128285"/>
                      </a:lnTo>
                      <a:lnTo>
                        <a:pt x="163916" y="131455"/>
                      </a:lnTo>
                      <a:lnTo>
                        <a:pt x="162758" y="134454"/>
                      </a:lnTo>
                      <a:lnTo>
                        <a:pt x="161438" y="135489"/>
                      </a:lnTo>
                      <a:lnTo>
                        <a:pt x="160843" y="135302"/>
                      </a:lnTo>
                      <a:lnTo>
                        <a:pt x="159596" y="134772"/>
                      </a:lnTo>
                      <a:lnTo>
                        <a:pt x="159083" y="134935"/>
                      </a:lnTo>
                      <a:lnTo>
                        <a:pt x="157942" y="135709"/>
                      </a:lnTo>
                      <a:lnTo>
                        <a:pt x="156622" y="138619"/>
                      </a:lnTo>
                      <a:lnTo>
                        <a:pt x="156589" y="138700"/>
                      </a:lnTo>
                      <a:lnTo>
                        <a:pt x="156100" y="138994"/>
                      </a:lnTo>
                      <a:lnTo>
                        <a:pt x="155758" y="138684"/>
                      </a:lnTo>
                      <a:lnTo>
                        <a:pt x="155717" y="138521"/>
                      </a:lnTo>
                      <a:lnTo>
                        <a:pt x="155473" y="137665"/>
                      </a:lnTo>
                      <a:lnTo>
                        <a:pt x="154910" y="136810"/>
                      </a:lnTo>
                      <a:lnTo>
                        <a:pt x="154511" y="136785"/>
                      </a:lnTo>
                      <a:lnTo>
                        <a:pt x="154160" y="136858"/>
                      </a:lnTo>
                      <a:lnTo>
                        <a:pt x="154022" y="137274"/>
                      </a:lnTo>
                      <a:lnTo>
                        <a:pt x="153908" y="138187"/>
                      </a:lnTo>
                      <a:lnTo>
                        <a:pt x="153973" y="138586"/>
                      </a:lnTo>
                      <a:lnTo>
                        <a:pt x="154389" y="141056"/>
                      </a:lnTo>
                      <a:lnTo>
                        <a:pt x="154022" y="142840"/>
                      </a:lnTo>
                      <a:lnTo>
                        <a:pt x="152816" y="143533"/>
                      </a:lnTo>
                      <a:lnTo>
                        <a:pt x="152620" y="144527"/>
                      </a:lnTo>
                      <a:lnTo>
                        <a:pt x="153321" y="145660"/>
                      </a:lnTo>
                      <a:lnTo>
                        <a:pt x="153321" y="146174"/>
                      </a:lnTo>
                      <a:lnTo>
                        <a:pt x="153052" y="146606"/>
                      </a:lnTo>
                      <a:lnTo>
                        <a:pt x="152221" y="146736"/>
                      </a:lnTo>
                      <a:lnTo>
                        <a:pt x="151577" y="146980"/>
                      </a:lnTo>
                      <a:lnTo>
                        <a:pt x="151063" y="147885"/>
                      </a:lnTo>
                      <a:lnTo>
                        <a:pt x="152074" y="149629"/>
                      </a:lnTo>
                      <a:lnTo>
                        <a:pt x="151878" y="151732"/>
                      </a:lnTo>
                      <a:lnTo>
                        <a:pt x="150493" y="154193"/>
                      </a:lnTo>
                      <a:lnTo>
                        <a:pt x="150314" y="155146"/>
                      </a:lnTo>
                      <a:lnTo>
                        <a:pt x="145766" y="155220"/>
                      </a:lnTo>
                      <a:lnTo>
                        <a:pt x="141691" y="155293"/>
                      </a:lnTo>
                      <a:lnTo>
                        <a:pt x="137616" y="155358"/>
                      </a:lnTo>
                      <a:lnTo>
                        <a:pt x="133542" y="155440"/>
                      </a:lnTo>
                      <a:lnTo>
                        <a:pt x="135473" y="151911"/>
                      </a:lnTo>
                      <a:lnTo>
                        <a:pt x="136728" y="150632"/>
                      </a:lnTo>
                      <a:lnTo>
                        <a:pt x="137633" y="149287"/>
                      </a:lnTo>
                      <a:lnTo>
                        <a:pt x="139287" y="148048"/>
                      </a:lnTo>
                      <a:lnTo>
                        <a:pt x="141113" y="145367"/>
                      </a:lnTo>
                      <a:lnTo>
                        <a:pt x="141333" y="144120"/>
                      </a:lnTo>
                      <a:lnTo>
                        <a:pt x="141145" y="142873"/>
                      </a:lnTo>
                      <a:lnTo>
                        <a:pt x="140061" y="141194"/>
                      </a:lnTo>
                      <a:lnTo>
                        <a:pt x="138969" y="138594"/>
                      </a:lnTo>
                      <a:lnTo>
                        <a:pt x="132058" y="138594"/>
                      </a:lnTo>
                      <a:lnTo>
                        <a:pt x="125156" y="138594"/>
                      </a:lnTo>
                      <a:lnTo>
                        <a:pt x="118253" y="138594"/>
                      </a:lnTo>
                      <a:lnTo>
                        <a:pt x="111342" y="138594"/>
                      </a:lnTo>
                      <a:lnTo>
                        <a:pt x="104431" y="138594"/>
                      </a:lnTo>
                      <a:lnTo>
                        <a:pt x="97528" y="138594"/>
                      </a:lnTo>
                      <a:lnTo>
                        <a:pt x="90617" y="138594"/>
                      </a:lnTo>
                      <a:lnTo>
                        <a:pt x="83706" y="138594"/>
                      </a:lnTo>
                      <a:lnTo>
                        <a:pt x="76803" y="138594"/>
                      </a:lnTo>
                      <a:lnTo>
                        <a:pt x="69892" y="138594"/>
                      </a:lnTo>
                      <a:lnTo>
                        <a:pt x="62981" y="138594"/>
                      </a:lnTo>
                      <a:lnTo>
                        <a:pt x="56078" y="138594"/>
                      </a:lnTo>
                      <a:lnTo>
                        <a:pt x="49167" y="138594"/>
                      </a:lnTo>
                      <a:lnTo>
                        <a:pt x="42265" y="138594"/>
                      </a:lnTo>
                      <a:lnTo>
                        <a:pt x="35354" y="138594"/>
                      </a:lnTo>
                      <a:lnTo>
                        <a:pt x="28451" y="138594"/>
                      </a:lnTo>
                      <a:lnTo>
                        <a:pt x="28451" y="134446"/>
                      </a:lnTo>
                      <a:lnTo>
                        <a:pt x="28459" y="130290"/>
                      </a:lnTo>
                      <a:lnTo>
                        <a:pt x="28459" y="126133"/>
                      </a:lnTo>
                      <a:lnTo>
                        <a:pt x="28459" y="121977"/>
                      </a:lnTo>
                      <a:lnTo>
                        <a:pt x="28451" y="117633"/>
                      </a:lnTo>
                      <a:lnTo>
                        <a:pt x="28435" y="113281"/>
                      </a:lnTo>
                      <a:lnTo>
                        <a:pt x="28426" y="108946"/>
                      </a:lnTo>
                      <a:lnTo>
                        <a:pt x="28418" y="104594"/>
                      </a:lnTo>
                      <a:lnTo>
                        <a:pt x="28402" y="100234"/>
                      </a:lnTo>
                      <a:lnTo>
                        <a:pt x="28394" y="95882"/>
                      </a:lnTo>
                      <a:lnTo>
                        <a:pt x="28377" y="91513"/>
                      </a:lnTo>
                      <a:lnTo>
                        <a:pt x="28369" y="87153"/>
                      </a:lnTo>
                      <a:lnTo>
                        <a:pt x="28369" y="82793"/>
                      </a:lnTo>
                      <a:lnTo>
                        <a:pt x="28353" y="78417"/>
                      </a:lnTo>
                      <a:lnTo>
                        <a:pt x="28345" y="74048"/>
                      </a:lnTo>
                      <a:lnTo>
                        <a:pt x="28337" y="69672"/>
                      </a:lnTo>
                      <a:lnTo>
                        <a:pt x="28320" y="65288"/>
                      </a:lnTo>
                      <a:lnTo>
                        <a:pt x="28312" y="60895"/>
                      </a:lnTo>
                      <a:lnTo>
                        <a:pt x="28304" y="56510"/>
                      </a:lnTo>
                      <a:lnTo>
                        <a:pt x="28296" y="52118"/>
                      </a:lnTo>
                      <a:lnTo>
                        <a:pt x="28345" y="50822"/>
                      </a:lnTo>
                      <a:lnTo>
                        <a:pt x="24490" y="48483"/>
                      </a:lnTo>
                      <a:lnTo>
                        <a:pt x="22770" y="46282"/>
                      </a:lnTo>
                      <a:lnTo>
                        <a:pt x="21898" y="43446"/>
                      </a:lnTo>
                      <a:lnTo>
                        <a:pt x="20162" y="40635"/>
                      </a:lnTo>
                      <a:lnTo>
                        <a:pt x="17538" y="37847"/>
                      </a:lnTo>
                      <a:lnTo>
                        <a:pt x="17114" y="34856"/>
                      </a:lnTo>
                      <a:lnTo>
                        <a:pt x="18867" y="31670"/>
                      </a:lnTo>
                      <a:lnTo>
                        <a:pt x="20325" y="30048"/>
                      </a:lnTo>
                      <a:lnTo>
                        <a:pt x="21499" y="29999"/>
                      </a:lnTo>
                      <a:lnTo>
                        <a:pt x="21629" y="28622"/>
                      </a:lnTo>
                      <a:lnTo>
                        <a:pt x="20717" y="25916"/>
                      </a:lnTo>
                      <a:lnTo>
                        <a:pt x="19380" y="24914"/>
                      </a:lnTo>
                      <a:lnTo>
                        <a:pt x="17612" y="25606"/>
                      </a:lnTo>
                      <a:lnTo>
                        <a:pt x="16096" y="25558"/>
                      </a:lnTo>
                      <a:lnTo>
                        <a:pt x="10383" y="21173"/>
                      </a:lnTo>
                      <a:lnTo>
                        <a:pt x="9992" y="20872"/>
                      </a:lnTo>
                      <a:lnTo>
                        <a:pt x="8207" y="17970"/>
                      </a:lnTo>
                      <a:lnTo>
                        <a:pt x="7481" y="14498"/>
                      </a:lnTo>
                      <a:lnTo>
                        <a:pt x="6055" y="12241"/>
                      </a:lnTo>
                      <a:lnTo>
                        <a:pt x="3920" y="11190"/>
                      </a:lnTo>
                      <a:lnTo>
                        <a:pt x="2575" y="8908"/>
                      </a:lnTo>
                      <a:lnTo>
                        <a:pt x="1997" y="5387"/>
                      </a:lnTo>
                      <a:lnTo>
                        <a:pt x="644" y="1834"/>
                      </a:lnTo>
                      <a:lnTo>
                        <a:pt x="0" y="774"/>
                      </a:lnTo>
                      <a:lnTo>
                        <a:pt x="6202" y="742"/>
                      </a:lnTo>
                      <a:lnTo>
                        <a:pt x="12453" y="685"/>
                      </a:lnTo>
                      <a:lnTo>
                        <a:pt x="18712" y="644"/>
                      </a:lnTo>
                      <a:lnTo>
                        <a:pt x="24971" y="595"/>
                      </a:lnTo>
                      <a:lnTo>
                        <a:pt x="31222" y="546"/>
                      </a:lnTo>
                      <a:lnTo>
                        <a:pt x="37481" y="489"/>
                      </a:lnTo>
                      <a:lnTo>
                        <a:pt x="43740" y="448"/>
                      </a:lnTo>
                      <a:lnTo>
                        <a:pt x="49991" y="391"/>
                      </a:lnTo>
                      <a:lnTo>
                        <a:pt x="56249" y="342"/>
                      </a:lnTo>
                      <a:lnTo>
                        <a:pt x="62508" y="302"/>
                      </a:lnTo>
                      <a:lnTo>
                        <a:pt x="68767" y="244"/>
                      </a:lnTo>
                      <a:lnTo>
                        <a:pt x="75018" y="196"/>
                      </a:lnTo>
                      <a:lnTo>
                        <a:pt x="81277" y="147"/>
                      </a:lnTo>
                      <a:lnTo>
                        <a:pt x="87536" y="98"/>
                      </a:lnTo>
                      <a:lnTo>
                        <a:pt x="93787" y="49"/>
                      </a:lnTo>
                      <a:lnTo>
                        <a:pt x="100046" y="0"/>
                      </a:lnTo>
                      <a:lnTo>
                        <a:pt x="101277" y="2478"/>
                      </a:lnTo>
                      <a:lnTo>
                        <a:pt x="102630" y="3195"/>
                      </a:lnTo>
                      <a:lnTo>
                        <a:pt x="102891" y="4010"/>
                      </a:lnTo>
                      <a:lnTo>
                        <a:pt x="104659" y="5289"/>
                      </a:lnTo>
                      <a:lnTo>
                        <a:pt x="105050" y="6544"/>
                      </a:lnTo>
                      <a:lnTo>
                        <a:pt x="107226" y="8337"/>
                      </a:lnTo>
                      <a:lnTo>
                        <a:pt x="105792" y="13553"/>
                      </a:lnTo>
                      <a:lnTo>
                        <a:pt x="105751" y="17913"/>
                      </a:lnTo>
                      <a:close/>
                    </a:path>
                  </a:pathLst>
                </a:custGeom>
                <a:solidFill>
                  <a:srgbClr val="D6D6D2"/>
                </a:solidFill>
                <a:ln w="6112" cap="rnd">
                  <a:solidFill>
                    <a:srgbClr val="FFFFFF"/>
                  </a:solidFill>
                  <a:prstDash val="solid"/>
                  <a:round/>
                </a:ln>
              </p:spPr>
              <p:txBody>
                <a:bodyPr rtlCol="0" anchor="ctr"/>
                <a:lstStyle/>
                <a:p>
                  <a:endParaRPr lang="en-US"/>
                </a:p>
              </p:txBody>
            </p:sp>
            <p:sp>
              <p:nvSpPr>
                <p:cNvPr id="450" name="Freeform: Shape 449">
                  <a:extLst>
                    <a:ext uri="{FF2B5EF4-FFF2-40B4-BE49-F238E27FC236}">
                      <a16:creationId xmlns:a16="http://schemas.microsoft.com/office/drawing/2014/main" id="{B2D763ED-FA67-47EF-A626-F09560B74BBE}"/>
                    </a:ext>
                  </a:extLst>
                </p:cNvPr>
                <p:cNvSpPr/>
                <p:nvPr/>
              </p:nvSpPr>
              <p:spPr>
                <a:xfrm>
                  <a:off x="3532216" y="2947629"/>
                  <a:ext cx="191649" cy="208103"/>
                </a:xfrm>
                <a:custGeom>
                  <a:avLst/>
                  <a:gdLst>
                    <a:gd name="connsiteX0" fmla="*/ 95433 w 191649"/>
                    <a:gd name="connsiteY0" fmla="*/ 27236 h 208103"/>
                    <a:gd name="connsiteX1" fmla="*/ 98408 w 191649"/>
                    <a:gd name="connsiteY1" fmla="*/ 26788 h 208103"/>
                    <a:gd name="connsiteX2" fmla="*/ 100959 w 191649"/>
                    <a:gd name="connsiteY2" fmla="*/ 26919 h 208103"/>
                    <a:gd name="connsiteX3" fmla="*/ 103526 w 191649"/>
                    <a:gd name="connsiteY3" fmla="*/ 27114 h 208103"/>
                    <a:gd name="connsiteX4" fmla="*/ 104895 w 191649"/>
                    <a:gd name="connsiteY4" fmla="*/ 27407 h 208103"/>
                    <a:gd name="connsiteX5" fmla="*/ 108848 w 191649"/>
                    <a:gd name="connsiteY5" fmla="*/ 28989 h 208103"/>
                    <a:gd name="connsiteX6" fmla="*/ 111431 w 191649"/>
                    <a:gd name="connsiteY6" fmla="*/ 30284 h 208103"/>
                    <a:gd name="connsiteX7" fmla="*/ 115139 w 191649"/>
                    <a:gd name="connsiteY7" fmla="*/ 32689 h 208103"/>
                    <a:gd name="connsiteX8" fmla="*/ 117185 w 191649"/>
                    <a:gd name="connsiteY8" fmla="*/ 33756 h 208103"/>
                    <a:gd name="connsiteX9" fmla="*/ 118179 w 191649"/>
                    <a:gd name="connsiteY9" fmla="*/ 36258 h 208103"/>
                    <a:gd name="connsiteX10" fmla="*/ 119328 w 191649"/>
                    <a:gd name="connsiteY10" fmla="*/ 39469 h 208103"/>
                    <a:gd name="connsiteX11" fmla="*/ 120967 w 191649"/>
                    <a:gd name="connsiteY11" fmla="*/ 39469 h 208103"/>
                    <a:gd name="connsiteX12" fmla="*/ 122197 w 191649"/>
                    <a:gd name="connsiteY12" fmla="*/ 37587 h 208103"/>
                    <a:gd name="connsiteX13" fmla="*/ 125343 w 191649"/>
                    <a:gd name="connsiteY13" fmla="*/ 37252 h 208103"/>
                    <a:gd name="connsiteX14" fmla="*/ 129483 w 191649"/>
                    <a:gd name="connsiteY14" fmla="*/ 38556 h 208103"/>
                    <a:gd name="connsiteX15" fmla="*/ 133118 w 191649"/>
                    <a:gd name="connsiteY15" fmla="*/ 42313 h 208103"/>
                    <a:gd name="connsiteX16" fmla="*/ 138350 w 191649"/>
                    <a:gd name="connsiteY16" fmla="*/ 45647 h 208103"/>
                    <a:gd name="connsiteX17" fmla="*/ 141553 w 191649"/>
                    <a:gd name="connsiteY17" fmla="*/ 47317 h 208103"/>
                    <a:gd name="connsiteX18" fmla="*/ 144805 w 191649"/>
                    <a:gd name="connsiteY18" fmla="*/ 47301 h 208103"/>
                    <a:gd name="connsiteX19" fmla="*/ 148936 w 191649"/>
                    <a:gd name="connsiteY19" fmla="*/ 45647 h 208103"/>
                    <a:gd name="connsiteX20" fmla="*/ 153329 w 191649"/>
                    <a:gd name="connsiteY20" fmla="*/ 42452 h 208103"/>
                    <a:gd name="connsiteX21" fmla="*/ 156491 w 191649"/>
                    <a:gd name="connsiteY21" fmla="*/ 41898 h 208103"/>
                    <a:gd name="connsiteX22" fmla="*/ 158366 w 191649"/>
                    <a:gd name="connsiteY22" fmla="*/ 42207 h 208103"/>
                    <a:gd name="connsiteX23" fmla="*/ 159441 w 191649"/>
                    <a:gd name="connsiteY23" fmla="*/ 44693 h 208103"/>
                    <a:gd name="connsiteX24" fmla="*/ 160754 w 191649"/>
                    <a:gd name="connsiteY24" fmla="*/ 45647 h 208103"/>
                    <a:gd name="connsiteX25" fmla="*/ 164152 w 191649"/>
                    <a:gd name="connsiteY25" fmla="*/ 45361 h 208103"/>
                    <a:gd name="connsiteX26" fmla="*/ 171267 w 191649"/>
                    <a:gd name="connsiteY26" fmla="*/ 45842 h 208103"/>
                    <a:gd name="connsiteX27" fmla="*/ 176931 w 191649"/>
                    <a:gd name="connsiteY27" fmla="*/ 45166 h 208103"/>
                    <a:gd name="connsiteX28" fmla="*/ 178218 w 191649"/>
                    <a:gd name="connsiteY28" fmla="*/ 46592 h 208103"/>
                    <a:gd name="connsiteX29" fmla="*/ 179368 w 191649"/>
                    <a:gd name="connsiteY29" fmla="*/ 48858 h 208103"/>
                    <a:gd name="connsiteX30" fmla="*/ 181666 w 191649"/>
                    <a:gd name="connsiteY30" fmla="*/ 49567 h 208103"/>
                    <a:gd name="connsiteX31" fmla="*/ 184779 w 191649"/>
                    <a:gd name="connsiteY31" fmla="*/ 48858 h 208103"/>
                    <a:gd name="connsiteX32" fmla="*/ 190353 w 191649"/>
                    <a:gd name="connsiteY32" fmla="*/ 49404 h 208103"/>
                    <a:gd name="connsiteX33" fmla="*/ 191649 w 191649"/>
                    <a:gd name="connsiteY33" fmla="*/ 49485 h 208103"/>
                    <a:gd name="connsiteX34" fmla="*/ 188797 w 191649"/>
                    <a:gd name="connsiteY34" fmla="*/ 55891 h 208103"/>
                    <a:gd name="connsiteX35" fmla="*/ 185952 w 191649"/>
                    <a:gd name="connsiteY35" fmla="*/ 62239 h 208103"/>
                    <a:gd name="connsiteX36" fmla="*/ 183108 w 191649"/>
                    <a:gd name="connsiteY36" fmla="*/ 68572 h 208103"/>
                    <a:gd name="connsiteX37" fmla="*/ 180264 w 191649"/>
                    <a:gd name="connsiteY37" fmla="*/ 74904 h 208103"/>
                    <a:gd name="connsiteX38" fmla="*/ 175945 w 191649"/>
                    <a:gd name="connsiteY38" fmla="*/ 74709 h 208103"/>
                    <a:gd name="connsiteX39" fmla="*/ 171625 w 191649"/>
                    <a:gd name="connsiteY39" fmla="*/ 74513 h 208103"/>
                    <a:gd name="connsiteX40" fmla="*/ 167306 w 191649"/>
                    <a:gd name="connsiteY40" fmla="*/ 74326 h 208103"/>
                    <a:gd name="connsiteX41" fmla="*/ 162987 w 191649"/>
                    <a:gd name="connsiteY41" fmla="*/ 74130 h 208103"/>
                    <a:gd name="connsiteX42" fmla="*/ 157942 w 191649"/>
                    <a:gd name="connsiteY42" fmla="*/ 77553 h 208103"/>
                    <a:gd name="connsiteX43" fmla="*/ 152897 w 191649"/>
                    <a:gd name="connsiteY43" fmla="*/ 80968 h 208103"/>
                    <a:gd name="connsiteX44" fmla="*/ 147844 w 191649"/>
                    <a:gd name="connsiteY44" fmla="*/ 84390 h 208103"/>
                    <a:gd name="connsiteX45" fmla="*/ 142792 w 191649"/>
                    <a:gd name="connsiteY45" fmla="*/ 87805 h 208103"/>
                    <a:gd name="connsiteX46" fmla="*/ 139711 w 191649"/>
                    <a:gd name="connsiteY46" fmla="*/ 89541 h 208103"/>
                    <a:gd name="connsiteX47" fmla="*/ 136630 w 191649"/>
                    <a:gd name="connsiteY47" fmla="*/ 91285 h 208103"/>
                    <a:gd name="connsiteX48" fmla="*/ 133558 w 191649"/>
                    <a:gd name="connsiteY48" fmla="*/ 93013 h 208103"/>
                    <a:gd name="connsiteX49" fmla="*/ 130477 w 191649"/>
                    <a:gd name="connsiteY49" fmla="*/ 94749 h 208103"/>
                    <a:gd name="connsiteX50" fmla="*/ 127291 w 191649"/>
                    <a:gd name="connsiteY50" fmla="*/ 93608 h 208103"/>
                    <a:gd name="connsiteX51" fmla="*/ 126500 w 191649"/>
                    <a:gd name="connsiteY51" fmla="*/ 93567 h 208103"/>
                    <a:gd name="connsiteX52" fmla="*/ 124789 w 191649"/>
                    <a:gd name="connsiteY52" fmla="*/ 95564 h 208103"/>
                    <a:gd name="connsiteX53" fmla="*/ 124047 w 191649"/>
                    <a:gd name="connsiteY53" fmla="*/ 96835 h 208103"/>
                    <a:gd name="connsiteX54" fmla="*/ 122376 w 191649"/>
                    <a:gd name="connsiteY54" fmla="*/ 97202 h 208103"/>
                    <a:gd name="connsiteX55" fmla="*/ 122368 w 191649"/>
                    <a:gd name="connsiteY55" fmla="*/ 102320 h 208103"/>
                    <a:gd name="connsiteX56" fmla="*/ 122360 w 191649"/>
                    <a:gd name="connsiteY56" fmla="*/ 107422 h 208103"/>
                    <a:gd name="connsiteX57" fmla="*/ 122352 w 191649"/>
                    <a:gd name="connsiteY57" fmla="*/ 112523 h 208103"/>
                    <a:gd name="connsiteX58" fmla="*/ 122352 w 191649"/>
                    <a:gd name="connsiteY58" fmla="*/ 117625 h 208103"/>
                    <a:gd name="connsiteX59" fmla="*/ 121537 w 191649"/>
                    <a:gd name="connsiteY59" fmla="*/ 118147 h 208103"/>
                    <a:gd name="connsiteX60" fmla="*/ 120494 w 191649"/>
                    <a:gd name="connsiteY60" fmla="*/ 119328 h 208103"/>
                    <a:gd name="connsiteX61" fmla="*/ 119076 w 191649"/>
                    <a:gd name="connsiteY61" fmla="*/ 119622 h 208103"/>
                    <a:gd name="connsiteX62" fmla="*/ 112393 w 191649"/>
                    <a:gd name="connsiteY62" fmla="*/ 123819 h 208103"/>
                    <a:gd name="connsiteX63" fmla="*/ 111301 w 191649"/>
                    <a:gd name="connsiteY63" fmla="*/ 125033 h 208103"/>
                    <a:gd name="connsiteX64" fmla="*/ 110103 w 191649"/>
                    <a:gd name="connsiteY64" fmla="*/ 127820 h 208103"/>
                    <a:gd name="connsiteX65" fmla="*/ 107911 w 191649"/>
                    <a:gd name="connsiteY65" fmla="*/ 130974 h 208103"/>
                    <a:gd name="connsiteX66" fmla="*/ 107365 w 191649"/>
                    <a:gd name="connsiteY66" fmla="*/ 132653 h 208103"/>
                    <a:gd name="connsiteX67" fmla="*/ 107470 w 191649"/>
                    <a:gd name="connsiteY67" fmla="*/ 134902 h 208103"/>
                    <a:gd name="connsiteX68" fmla="*/ 110820 w 191649"/>
                    <a:gd name="connsiteY68" fmla="*/ 136712 h 208103"/>
                    <a:gd name="connsiteX69" fmla="*/ 112067 w 191649"/>
                    <a:gd name="connsiteY69" fmla="*/ 138464 h 208103"/>
                    <a:gd name="connsiteX70" fmla="*/ 112670 w 191649"/>
                    <a:gd name="connsiteY70" fmla="*/ 140591 h 208103"/>
                    <a:gd name="connsiteX71" fmla="*/ 112597 w 191649"/>
                    <a:gd name="connsiteY71" fmla="*/ 142441 h 208103"/>
                    <a:gd name="connsiteX72" fmla="*/ 110902 w 191649"/>
                    <a:gd name="connsiteY72" fmla="*/ 146059 h 208103"/>
                    <a:gd name="connsiteX73" fmla="*/ 110600 w 191649"/>
                    <a:gd name="connsiteY73" fmla="*/ 147510 h 208103"/>
                    <a:gd name="connsiteX74" fmla="*/ 110779 w 191649"/>
                    <a:gd name="connsiteY74" fmla="*/ 151927 h 208103"/>
                    <a:gd name="connsiteX75" fmla="*/ 109932 w 191649"/>
                    <a:gd name="connsiteY75" fmla="*/ 153305 h 208103"/>
                    <a:gd name="connsiteX76" fmla="*/ 110633 w 191649"/>
                    <a:gd name="connsiteY76" fmla="*/ 156874 h 208103"/>
                    <a:gd name="connsiteX77" fmla="*/ 110673 w 191649"/>
                    <a:gd name="connsiteY77" fmla="*/ 158113 h 208103"/>
                    <a:gd name="connsiteX78" fmla="*/ 110144 w 191649"/>
                    <a:gd name="connsiteY78" fmla="*/ 162025 h 208103"/>
                    <a:gd name="connsiteX79" fmla="*/ 109785 w 191649"/>
                    <a:gd name="connsiteY79" fmla="*/ 163166 h 208103"/>
                    <a:gd name="connsiteX80" fmla="*/ 110445 w 191649"/>
                    <a:gd name="connsiteY80" fmla="*/ 165195 h 208103"/>
                    <a:gd name="connsiteX81" fmla="*/ 110510 w 191649"/>
                    <a:gd name="connsiteY81" fmla="*/ 165415 h 208103"/>
                    <a:gd name="connsiteX82" fmla="*/ 113640 w 191649"/>
                    <a:gd name="connsiteY82" fmla="*/ 168235 h 208103"/>
                    <a:gd name="connsiteX83" fmla="*/ 116289 w 191649"/>
                    <a:gd name="connsiteY83" fmla="*/ 169792 h 208103"/>
                    <a:gd name="connsiteX84" fmla="*/ 118652 w 191649"/>
                    <a:gd name="connsiteY84" fmla="*/ 170289 h 208103"/>
                    <a:gd name="connsiteX85" fmla="*/ 120502 w 191649"/>
                    <a:gd name="connsiteY85" fmla="*/ 171487 h 208103"/>
                    <a:gd name="connsiteX86" fmla="*/ 121838 w 191649"/>
                    <a:gd name="connsiteY86" fmla="*/ 173394 h 208103"/>
                    <a:gd name="connsiteX87" fmla="*/ 123640 w 191649"/>
                    <a:gd name="connsiteY87" fmla="*/ 174641 h 208103"/>
                    <a:gd name="connsiteX88" fmla="*/ 125922 w 191649"/>
                    <a:gd name="connsiteY88" fmla="*/ 175227 h 208103"/>
                    <a:gd name="connsiteX89" fmla="*/ 128236 w 191649"/>
                    <a:gd name="connsiteY89" fmla="*/ 176817 h 208103"/>
                    <a:gd name="connsiteX90" fmla="*/ 131781 w 191649"/>
                    <a:gd name="connsiteY90" fmla="*/ 180688 h 208103"/>
                    <a:gd name="connsiteX91" fmla="*/ 133550 w 191649"/>
                    <a:gd name="connsiteY91" fmla="*/ 183996 h 208103"/>
                    <a:gd name="connsiteX92" fmla="*/ 136638 w 191649"/>
                    <a:gd name="connsiteY92" fmla="*/ 186352 h 208103"/>
                    <a:gd name="connsiteX93" fmla="*/ 141634 w 191649"/>
                    <a:gd name="connsiteY93" fmla="*/ 188870 h 208103"/>
                    <a:gd name="connsiteX94" fmla="*/ 144911 w 191649"/>
                    <a:gd name="connsiteY94" fmla="*/ 191079 h 208103"/>
                    <a:gd name="connsiteX95" fmla="*/ 146475 w 191649"/>
                    <a:gd name="connsiteY95" fmla="*/ 192978 h 208103"/>
                    <a:gd name="connsiteX96" fmla="*/ 147502 w 191649"/>
                    <a:gd name="connsiteY96" fmla="*/ 197810 h 208103"/>
                    <a:gd name="connsiteX97" fmla="*/ 148325 w 191649"/>
                    <a:gd name="connsiteY97" fmla="*/ 208063 h 208103"/>
                    <a:gd name="connsiteX98" fmla="*/ 140135 w 191649"/>
                    <a:gd name="connsiteY98" fmla="*/ 208071 h 208103"/>
                    <a:gd name="connsiteX99" fmla="*/ 132066 w 191649"/>
                    <a:gd name="connsiteY99" fmla="*/ 208071 h 208103"/>
                    <a:gd name="connsiteX100" fmla="*/ 124006 w 191649"/>
                    <a:gd name="connsiteY100" fmla="*/ 208079 h 208103"/>
                    <a:gd name="connsiteX101" fmla="*/ 115938 w 191649"/>
                    <a:gd name="connsiteY101" fmla="*/ 208079 h 208103"/>
                    <a:gd name="connsiteX102" fmla="*/ 107870 w 191649"/>
                    <a:gd name="connsiteY102" fmla="*/ 208079 h 208103"/>
                    <a:gd name="connsiteX103" fmla="*/ 99810 w 191649"/>
                    <a:gd name="connsiteY103" fmla="*/ 208087 h 208103"/>
                    <a:gd name="connsiteX104" fmla="*/ 91733 w 191649"/>
                    <a:gd name="connsiteY104" fmla="*/ 208087 h 208103"/>
                    <a:gd name="connsiteX105" fmla="*/ 83673 w 191649"/>
                    <a:gd name="connsiteY105" fmla="*/ 208087 h 208103"/>
                    <a:gd name="connsiteX106" fmla="*/ 75605 w 191649"/>
                    <a:gd name="connsiteY106" fmla="*/ 208095 h 208103"/>
                    <a:gd name="connsiteX107" fmla="*/ 67545 w 191649"/>
                    <a:gd name="connsiteY107" fmla="*/ 208095 h 208103"/>
                    <a:gd name="connsiteX108" fmla="*/ 59469 w 191649"/>
                    <a:gd name="connsiteY108" fmla="*/ 208095 h 208103"/>
                    <a:gd name="connsiteX109" fmla="*/ 51409 w 191649"/>
                    <a:gd name="connsiteY109" fmla="*/ 208095 h 208103"/>
                    <a:gd name="connsiteX110" fmla="*/ 43340 w 191649"/>
                    <a:gd name="connsiteY110" fmla="*/ 208095 h 208103"/>
                    <a:gd name="connsiteX111" fmla="*/ 35280 w 191649"/>
                    <a:gd name="connsiteY111" fmla="*/ 208103 h 208103"/>
                    <a:gd name="connsiteX112" fmla="*/ 27212 w 191649"/>
                    <a:gd name="connsiteY112" fmla="*/ 208103 h 208103"/>
                    <a:gd name="connsiteX113" fmla="*/ 19144 w 191649"/>
                    <a:gd name="connsiteY113" fmla="*/ 208103 h 208103"/>
                    <a:gd name="connsiteX114" fmla="*/ 19144 w 191649"/>
                    <a:gd name="connsiteY114" fmla="*/ 200304 h 208103"/>
                    <a:gd name="connsiteX115" fmla="*/ 19144 w 191649"/>
                    <a:gd name="connsiteY115" fmla="*/ 192497 h 208103"/>
                    <a:gd name="connsiteX116" fmla="*/ 19144 w 191649"/>
                    <a:gd name="connsiteY116" fmla="*/ 184673 h 208103"/>
                    <a:gd name="connsiteX117" fmla="*/ 19144 w 191649"/>
                    <a:gd name="connsiteY117" fmla="*/ 176833 h 208103"/>
                    <a:gd name="connsiteX118" fmla="*/ 19144 w 191649"/>
                    <a:gd name="connsiteY118" fmla="*/ 168985 h 208103"/>
                    <a:gd name="connsiteX119" fmla="*/ 19144 w 191649"/>
                    <a:gd name="connsiteY119" fmla="*/ 161128 h 208103"/>
                    <a:gd name="connsiteX120" fmla="*/ 19144 w 191649"/>
                    <a:gd name="connsiteY120" fmla="*/ 153256 h 208103"/>
                    <a:gd name="connsiteX121" fmla="*/ 19144 w 191649"/>
                    <a:gd name="connsiteY121" fmla="*/ 145375 h 208103"/>
                    <a:gd name="connsiteX122" fmla="*/ 17253 w 191649"/>
                    <a:gd name="connsiteY122" fmla="*/ 142759 h 208103"/>
                    <a:gd name="connsiteX123" fmla="*/ 13129 w 191649"/>
                    <a:gd name="connsiteY123" fmla="*/ 140640 h 208103"/>
                    <a:gd name="connsiteX124" fmla="*/ 12102 w 191649"/>
                    <a:gd name="connsiteY124" fmla="*/ 139369 h 208103"/>
                    <a:gd name="connsiteX125" fmla="*/ 10187 w 191649"/>
                    <a:gd name="connsiteY125" fmla="*/ 136215 h 208103"/>
                    <a:gd name="connsiteX126" fmla="*/ 9429 w 191649"/>
                    <a:gd name="connsiteY126" fmla="*/ 134862 h 208103"/>
                    <a:gd name="connsiteX127" fmla="*/ 9291 w 191649"/>
                    <a:gd name="connsiteY127" fmla="*/ 133802 h 208103"/>
                    <a:gd name="connsiteX128" fmla="*/ 10212 w 191649"/>
                    <a:gd name="connsiteY128" fmla="*/ 132637 h 208103"/>
                    <a:gd name="connsiteX129" fmla="*/ 13961 w 191649"/>
                    <a:gd name="connsiteY129" fmla="*/ 129230 h 208103"/>
                    <a:gd name="connsiteX130" fmla="*/ 15150 w 191649"/>
                    <a:gd name="connsiteY130" fmla="*/ 127666 h 208103"/>
                    <a:gd name="connsiteX131" fmla="*/ 15737 w 191649"/>
                    <a:gd name="connsiteY131" fmla="*/ 126133 h 208103"/>
                    <a:gd name="connsiteX132" fmla="*/ 16593 w 191649"/>
                    <a:gd name="connsiteY132" fmla="*/ 122629 h 208103"/>
                    <a:gd name="connsiteX133" fmla="*/ 16251 w 191649"/>
                    <a:gd name="connsiteY133" fmla="*/ 119923 h 208103"/>
                    <a:gd name="connsiteX134" fmla="*/ 16487 w 191649"/>
                    <a:gd name="connsiteY134" fmla="*/ 115726 h 208103"/>
                    <a:gd name="connsiteX135" fmla="*/ 15721 w 191649"/>
                    <a:gd name="connsiteY135" fmla="*/ 112556 h 208103"/>
                    <a:gd name="connsiteX136" fmla="*/ 15550 w 191649"/>
                    <a:gd name="connsiteY136" fmla="*/ 110991 h 208103"/>
                    <a:gd name="connsiteX137" fmla="*/ 15085 w 191649"/>
                    <a:gd name="connsiteY137" fmla="*/ 109035 h 208103"/>
                    <a:gd name="connsiteX138" fmla="*/ 12265 w 191649"/>
                    <a:gd name="connsiteY138" fmla="*/ 103876 h 208103"/>
                    <a:gd name="connsiteX139" fmla="*/ 11589 w 191649"/>
                    <a:gd name="connsiteY139" fmla="*/ 99704 h 208103"/>
                    <a:gd name="connsiteX140" fmla="*/ 10880 w 191649"/>
                    <a:gd name="connsiteY140" fmla="*/ 97642 h 208103"/>
                    <a:gd name="connsiteX141" fmla="*/ 10652 w 191649"/>
                    <a:gd name="connsiteY141" fmla="*/ 92353 h 208103"/>
                    <a:gd name="connsiteX142" fmla="*/ 10733 w 191649"/>
                    <a:gd name="connsiteY142" fmla="*/ 90861 h 208103"/>
                    <a:gd name="connsiteX143" fmla="*/ 11296 w 191649"/>
                    <a:gd name="connsiteY143" fmla="*/ 87993 h 208103"/>
                    <a:gd name="connsiteX144" fmla="*/ 10098 w 191649"/>
                    <a:gd name="connsiteY144" fmla="*/ 86053 h 208103"/>
                    <a:gd name="connsiteX145" fmla="*/ 9926 w 191649"/>
                    <a:gd name="connsiteY145" fmla="*/ 84464 h 208103"/>
                    <a:gd name="connsiteX146" fmla="*/ 9372 w 191649"/>
                    <a:gd name="connsiteY146" fmla="*/ 71823 h 208103"/>
                    <a:gd name="connsiteX147" fmla="*/ 8997 w 191649"/>
                    <a:gd name="connsiteY147" fmla="*/ 70022 h 208103"/>
                    <a:gd name="connsiteX148" fmla="*/ 9103 w 191649"/>
                    <a:gd name="connsiteY148" fmla="*/ 64146 h 208103"/>
                    <a:gd name="connsiteX149" fmla="*/ 6927 w 191649"/>
                    <a:gd name="connsiteY149" fmla="*/ 57953 h 208103"/>
                    <a:gd name="connsiteX150" fmla="*/ 5892 w 191649"/>
                    <a:gd name="connsiteY150" fmla="*/ 55842 h 208103"/>
                    <a:gd name="connsiteX151" fmla="*/ 5371 w 191649"/>
                    <a:gd name="connsiteY151" fmla="*/ 53291 h 208103"/>
                    <a:gd name="connsiteX152" fmla="*/ 5411 w 191649"/>
                    <a:gd name="connsiteY152" fmla="*/ 52077 h 208103"/>
                    <a:gd name="connsiteX153" fmla="*/ 3643 w 191649"/>
                    <a:gd name="connsiteY153" fmla="*/ 47847 h 208103"/>
                    <a:gd name="connsiteX154" fmla="*/ 2469 w 191649"/>
                    <a:gd name="connsiteY154" fmla="*/ 43177 h 208103"/>
                    <a:gd name="connsiteX155" fmla="*/ 2575 w 191649"/>
                    <a:gd name="connsiteY155" fmla="*/ 39135 h 208103"/>
                    <a:gd name="connsiteX156" fmla="*/ 2200 w 191649"/>
                    <a:gd name="connsiteY156" fmla="*/ 36071 h 208103"/>
                    <a:gd name="connsiteX157" fmla="*/ 2339 w 191649"/>
                    <a:gd name="connsiteY157" fmla="*/ 33683 h 208103"/>
                    <a:gd name="connsiteX158" fmla="*/ 2021 w 191649"/>
                    <a:gd name="connsiteY158" fmla="*/ 30113 h 208103"/>
                    <a:gd name="connsiteX159" fmla="*/ 2388 w 191649"/>
                    <a:gd name="connsiteY159" fmla="*/ 28068 h 208103"/>
                    <a:gd name="connsiteX160" fmla="*/ 2421 w 191649"/>
                    <a:gd name="connsiteY160" fmla="*/ 24906 h 208103"/>
                    <a:gd name="connsiteX161" fmla="*/ 0 w 191649"/>
                    <a:gd name="connsiteY161" fmla="*/ 13634 h 208103"/>
                    <a:gd name="connsiteX162" fmla="*/ 3032 w 191649"/>
                    <a:gd name="connsiteY162" fmla="*/ 13634 h 208103"/>
                    <a:gd name="connsiteX163" fmla="*/ 13602 w 191649"/>
                    <a:gd name="connsiteY163" fmla="*/ 13634 h 208103"/>
                    <a:gd name="connsiteX164" fmla="*/ 24180 w 191649"/>
                    <a:gd name="connsiteY164" fmla="*/ 13634 h 208103"/>
                    <a:gd name="connsiteX165" fmla="*/ 34759 w 191649"/>
                    <a:gd name="connsiteY165" fmla="*/ 13634 h 208103"/>
                    <a:gd name="connsiteX166" fmla="*/ 45329 w 191649"/>
                    <a:gd name="connsiteY166" fmla="*/ 13634 h 208103"/>
                    <a:gd name="connsiteX167" fmla="*/ 51180 w 191649"/>
                    <a:gd name="connsiteY167" fmla="*/ 13691 h 208103"/>
                    <a:gd name="connsiteX168" fmla="*/ 51278 w 191649"/>
                    <a:gd name="connsiteY168" fmla="*/ 6039 h 208103"/>
                    <a:gd name="connsiteX169" fmla="*/ 51352 w 191649"/>
                    <a:gd name="connsiteY169" fmla="*/ 0 h 208103"/>
                    <a:gd name="connsiteX170" fmla="*/ 56706 w 191649"/>
                    <a:gd name="connsiteY170" fmla="*/ 742 h 208103"/>
                    <a:gd name="connsiteX171" fmla="*/ 58303 w 191649"/>
                    <a:gd name="connsiteY171" fmla="*/ 1834 h 208103"/>
                    <a:gd name="connsiteX172" fmla="*/ 58809 w 191649"/>
                    <a:gd name="connsiteY172" fmla="*/ 2363 h 208103"/>
                    <a:gd name="connsiteX173" fmla="*/ 58662 w 191649"/>
                    <a:gd name="connsiteY173" fmla="*/ 4034 h 208103"/>
                    <a:gd name="connsiteX174" fmla="*/ 59102 w 191649"/>
                    <a:gd name="connsiteY174" fmla="*/ 9079 h 208103"/>
                    <a:gd name="connsiteX175" fmla="*/ 60072 w 191649"/>
                    <a:gd name="connsiteY175" fmla="*/ 13284 h 208103"/>
                    <a:gd name="connsiteX176" fmla="*/ 62321 w 191649"/>
                    <a:gd name="connsiteY176" fmla="*/ 18321 h 208103"/>
                    <a:gd name="connsiteX177" fmla="*/ 62329 w 191649"/>
                    <a:gd name="connsiteY177" fmla="*/ 18337 h 208103"/>
                    <a:gd name="connsiteX178" fmla="*/ 62517 w 191649"/>
                    <a:gd name="connsiteY178" fmla="*/ 20309 h 208103"/>
                    <a:gd name="connsiteX179" fmla="*/ 63250 w 191649"/>
                    <a:gd name="connsiteY179" fmla="*/ 21540 h 208103"/>
                    <a:gd name="connsiteX180" fmla="*/ 64603 w 191649"/>
                    <a:gd name="connsiteY180" fmla="*/ 22689 h 208103"/>
                    <a:gd name="connsiteX181" fmla="*/ 69729 w 191649"/>
                    <a:gd name="connsiteY181" fmla="*/ 24074 h 208103"/>
                    <a:gd name="connsiteX182" fmla="*/ 78629 w 191649"/>
                    <a:gd name="connsiteY182" fmla="*/ 25704 h 208103"/>
                    <a:gd name="connsiteX183" fmla="*/ 83682 w 191649"/>
                    <a:gd name="connsiteY183" fmla="*/ 27562 h 208103"/>
                    <a:gd name="connsiteX184" fmla="*/ 84871 w 191649"/>
                    <a:gd name="connsiteY184" fmla="*/ 29673 h 208103"/>
                    <a:gd name="connsiteX185" fmla="*/ 87251 w 191649"/>
                    <a:gd name="connsiteY185" fmla="*/ 30521 h 208103"/>
                    <a:gd name="connsiteX186" fmla="*/ 90804 w 191649"/>
                    <a:gd name="connsiteY186" fmla="*/ 30105 h 208103"/>
                    <a:gd name="connsiteX187" fmla="*/ 93306 w 191649"/>
                    <a:gd name="connsiteY187" fmla="*/ 29225 h 20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191649" h="208103">
                      <a:moveTo>
                        <a:pt x="95433" y="27236"/>
                      </a:moveTo>
                      <a:lnTo>
                        <a:pt x="98408" y="26788"/>
                      </a:lnTo>
                      <a:lnTo>
                        <a:pt x="100959" y="26919"/>
                      </a:lnTo>
                      <a:lnTo>
                        <a:pt x="103526" y="27114"/>
                      </a:lnTo>
                      <a:lnTo>
                        <a:pt x="104895" y="27407"/>
                      </a:lnTo>
                      <a:lnTo>
                        <a:pt x="108848" y="28989"/>
                      </a:lnTo>
                      <a:lnTo>
                        <a:pt x="111431" y="30284"/>
                      </a:lnTo>
                      <a:lnTo>
                        <a:pt x="115139" y="32689"/>
                      </a:lnTo>
                      <a:lnTo>
                        <a:pt x="117185" y="33756"/>
                      </a:lnTo>
                      <a:lnTo>
                        <a:pt x="118179" y="36258"/>
                      </a:lnTo>
                      <a:lnTo>
                        <a:pt x="119328" y="39469"/>
                      </a:lnTo>
                      <a:lnTo>
                        <a:pt x="120967" y="39469"/>
                      </a:lnTo>
                      <a:lnTo>
                        <a:pt x="122197" y="37587"/>
                      </a:lnTo>
                      <a:lnTo>
                        <a:pt x="125343" y="37252"/>
                      </a:lnTo>
                      <a:lnTo>
                        <a:pt x="129483" y="38556"/>
                      </a:lnTo>
                      <a:lnTo>
                        <a:pt x="133118" y="42313"/>
                      </a:lnTo>
                      <a:lnTo>
                        <a:pt x="138350" y="45647"/>
                      </a:lnTo>
                      <a:lnTo>
                        <a:pt x="141553" y="47317"/>
                      </a:lnTo>
                      <a:lnTo>
                        <a:pt x="144805" y="47301"/>
                      </a:lnTo>
                      <a:lnTo>
                        <a:pt x="148936" y="45647"/>
                      </a:lnTo>
                      <a:lnTo>
                        <a:pt x="153329" y="42452"/>
                      </a:lnTo>
                      <a:lnTo>
                        <a:pt x="156491" y="41898"/>
                      </a:lnTo>
                      <a:lnTo>
                        <a:pt x="158366" y="42207"/>
                      </a:lnTo>
                      <a:lnTo>
                        <a:pt x="159441" y="44693"/>
                      </a:lnTo>
                      <a:lnTo>
                        <a:pt x="160754" y="45647"/>
                      </a:lnTo>
                      <a:lnTo>
                        <a:pt x="164152" y="45361"/>
                      </a:lnTo>
                      <a:lnTo>
                        <a:pt x="171267" y="45842"/>
                      </a:lnTo>
                      <a:lnTo>
                        <a:pt x="176931" y="45166"/>
                      </a:lnTo>
                      <a:lnTo>
                        <a:pt x="178218" y="46592"/>
                      </a:lnTo>
                      <a:lnTo>
                        <a:pt x="179368" y="48858"/>
                      </a:lnTo>
                      <a:lnTo>
                        <a:pt x="181666" y="49567"/>
                      </a:lnTo>
                      <a:lnTo>
                        <a:pt x="184779" y="48858"/>
                      </a:lnTo>
                      <a:lnTo>
                        <a:pt x="190353" y="49404"/>
                      </a:lnTo>
                      <a:lnTo>
                        <a:pt x="191649" y="49485"/>
                      </a:lnTo>
                      <a:lnTo>
                        <a:pt x="188797" y="55891"/>
                      </a:lnTo>
                      <a:lnTo>
                        <a:pt x="185952" y="62239"/>
                      </a:lnTo>
                      <a:lnTo>
                        <a:pt x="183108" y="68572"/>
                      </a:lnTo>
                      <a:lnTo>
                        <a:pt x="180264" y="74904"/>
                      </a:lnTo>
                      <a:lnTo>
                        <a:pt x="175945" y="74709"/>
                      </a:lnTo>
                      <a:lnTo>
                        <a:pt x="171625" y="74513"/>
                      </a:lnTo>
                      <a:lnTo>
                        <a:pt x="167306" y="74326"/>
                      </a:lnTo>
                      <a:lnTo>
                        <a:pt x="162987" y="74130"/>
                      </a:lnTo>
                      <a:lnTo>
                        <a:pt x="157942" y="77553"/>
                      </a:lnTo>
                      <a:lnTo>
                        <a:pt x="152897" y="80968"/>
                      </a:lnTo>
                      <a:lnTo>
                        <a:pt x="147844" y="84390"/>
                      </a:lnTo>
                      <a:lnTo>
                        <a:pt x="142792" y="87805"/>
                      </a:lnTo>
                      <a:lnTo>
                        <a:pt x="139711" y="89541"/>
                      </a:lnTo>
                      <a:lnTo>
                        <a:pt x="136630" y="91285"/>
                      </a:lnTo>
                      <a:lnTo>
                        <a:pt x="133558" y="93013"/>
                      </a:lnTo>
                      <a:lnTo>
                        <a:pt x="130477" y="94749"/>
                      </a:lnTo>
                      <a:lnTo>
                        <a:pt x="127291" y="93608"/>
                      </a:lnTo>
                      <a:lnTo>
                        <a:pt x="126500" y="93567"/>
                      </a:lnTo>
                      <a:lnTo>
                        <a:pt x="124789" y="95564"/>
                      </a:lnTo>
                      <a:lnTo>
                        <a:pt x="124047" y="96835"/>
                      </a:lnTo>
                      <a:lnTo>
                        <a:pt x="122376" y="97202"/>
                      </a:lnTo>
                      <a:lnTo>
                        <a:pt x="122368" y="102320"/>
                      </a:lnTo>
                      <a:lnTo>
                        <a:pt x="122360" y="107422"/>
                      </a:lnTo>
                      <a:lnTo>
                        <a:pt x="122352" y="112523"/>
                      </a:lnTo>
                      <a:lnTo>
                        <a:pt x="122352" y="117625"/>
                      </a:lnTo>
                      <a:lnTo>
                        <a:pt x="121537" y="118147"/>
                      </a:lnTo>
                      <a:lnTo>
                        <a:pt x="120494" y="119328"/>
                      </a:lnTo>
                      <a:lnTo>
                        <a:pt x="119076" y="119622"/>
                      </a:lnTo>
                      <a:lnTo>
                        <a:pt x="112393" y="123819"/>
                      </a:lnTo>
                      <a:lnTo>
                        <a:pt x="111301" y="125033"/>
                      </a:lnTo>
                      <a:lnTo>
                        <a:pt x="110103" y="127820"/>
                      </a:lnTo>
                      <a:lnTo>
                        <a:pt x="107911" y="130974"/>
                      </a:lnTo>
                      <a:lnTo>
                        <a:pt x="107365" y="132653"/>
                      </a:lnTo>
                      <a:lnTo>
                        <a:pt x="107470" y="134902"/>
                      </a:lnTo>
                      <a:lnTo>
                        <a:pt x="110820" y="136712"/>
                      </a:lnTo>
                      <a:lnTo>
                        <a:pt x="112067" y="138464"/>
                      </a:lnTo>
                      <a:lnTo>
                        <a:pt x="112670" y="140591"/>
                      </a:lnTo>
                      <a:lnTo>
                        <a:pt x="112597" y="142441"/>
                      </a:lnTo>
                      <a:lnTo>
                        <a:pt x="110902" y="146059"/>
                      </a:lnTo>
                      <a:lnTo>
                        <a:pt x="110600" y="147510"/>
                      </a:lnTo>
                      <a:lnTo>
                        <a:pt x="110779" y="151927"/>
                      </a:lnTo>
                      <a:lnTo>
                        <a:pt x="109932" y="153305"/>
                      </a:lnTo>
                      <a:lnTo>
                        <a:pt x="110633" y="156874"/>
                      </a:lnTo>
                      <a:lnTo>
                        <a:pt x="110673" y="158113"/>
                      </a:lnTo>
                      <a:lnTo>
                        <a:pt x="110144" y="162025"/>
                      </a:lnTo>
                      <a:lnTo>
                        <a:pt x="109785" y="163166"/>
                      </a:lnTo>
                      <a:lnTo>
                        <a:pt x="110445" y="165195"/>
                      </a:lnTo>
                      <a:lnTo>
                        <a:pt x="110510" y="165415"/>
                      </a:lnTo>
                      <a:lnTo>
                        <a:pt x="113640" y="168235"/>
                      </a:lnTo>
                      <a:lnTo>
                        <a:pt x="116289" y="169792"/>
                      </a:lnTo>
                      <a:lnTo>
                        <a:pt x="118652" y="170289"/>
                      </a:lnTo>
                      <a:lnTo>
                        <a:pt x="120502" y="171487"/>
                      </a:lnTo>
                      <a:lnTo>
                        <a:pt x="121838" y="173394"/>
                      </a:lnTo>
                      <a:lnTo>
                        <a:pt x="123640" y="174641"/>
                      </a:lnTo>
                      <a:lnTo>
                        <a:pt x="125922" y="175227"/>
                      </a:lnTo>
                      <a:lnTo>
                        <a:pt x="128236" y="176817"/>
                      </a:lnTo>
                      <a:lnTo>
                        <a:pt x="131781" y="180688"/>
                      </a:lnTo>
                      <a:lnTo>
                        <a:pt x="133550" y="183996"/>
                      </a:lnTo>
                      <a:lnTo>
                        <a:pt x="136638" y="186352"/>
                      </a:lnTo>
                      <a:lnTo>
                        <a:pt x="141634" y="188870"/>
                      </a:lnTo>
                      <a:lnTo>
                        <a:pt x="144911" y="191079"/>
                      </a:lnTo>
                      <a:lnTo>
                        <a:pt x="146475" y="192978"/>
                      </a:lnTo>
                      <a:lnTo>
                        <a:pt x="147502" y="197810"/>
                      </a:lnTo>
                      <a:lnTo>
                        <a:pt x="148325" y="208063"/>
                      </a:lnTo>
                      <a:lnTo>
                        <a:pt x="140135" y="208071"/>
                      </a:lnTo>
                      <a:lnTo>
                        <a:pt x="132066" y="208071"/>
                      </a:lnTo>
                      <a:lnTo>
                        <a:pt x="124006" y="208079"/>
                      </a:lnTo>
                      <a:lnTo>
                        <a:pt x="115938" y="208079"/>
                      </a:lnTo>
                      <a:lnTo>
                        <a:pt x="107870" y="208079"/>
                      </a:lnTo>
                      <a:lnTo>
                        <a:pt x="99810" y="208087"/>
                      </a:lnTo>
                      <a:lnTo>
                        <a:pt x="91733" y="208087"/>
                      </a:lnTo>
                      <a:lnTo>
                        <a:pt x="83673" y="208087"/>
                      </a:lnTo>
                      <a:lnTo>
                        <a:pt x="75605" y="208095"/>
                      </a:lnTo>
                      <a:lnTo>
                        <a:pt x="67545" y="208095"/>
                      </a:lnTo>
                      <a:lnTo>
                        <a:pt x="59469" y="208095"/>
                      </a:lnTo>
                      <a:lnTo>
                        <a:pt x="51409" y="208095"/>
                      </a:lnTo>
                      <a:lnTo>
                        <a:pt x="43340" y="208095"/>
                      </a:lnTo>
                      <a:lnTo>
                        <a:pt x="35280" y="208103"/>
                      </a:lnTo>
                      <a:lnTo>
                        <a:pt x="27212" y="208103"/>
                      </a:lnTo>
                      <a:lnTo>
                        <a:pt x="19144" y="208103"/>
                      </a:lnTo>
                      <a:lnTo>
                        <a:pt x="19144" y="200304"/>
                      </a:lnTo>
                      <a:lnTo>
                        <a:pt x="19144" y="192497"/>
                      </a:lnTo>
                      <a:lnTo>
                        <a:pt x="19144" y="184673"/>
                      </a:lnTo>
                      <a:lnTo>
                        <a:pt x="19144" y="176833"/>
                      </a:lnTo>
                      <a:lnTo>
                        <a:pt x="19144" y="168985"/>
                      </a:lnTo>
                      <a:lnTo>
                        <a:pt x="19144" y="161128"/>
                      </a:lnTo>
                      <a:lnTo>
                        <a:pt x="19144" y="153256"/>
                      </a:lnTo>
                      <a:lnTo>
                        <a:pt x="19144" y="145375"/>
                      </a:lnTo>
                      <a:lnTo>
                        <a:pt x="17253" y="142759"/>
                      </a:lnTo>
                      <a:lnTo>
                        <a:pt x="13129" y="140640"/>
                      </a:lnTo>
                      <a:lnTo>
                        <a:pt x="12102" y="139369"/>
                      </a:lnTo>
                      <a:lnTo>
                        <a:pt x="10187" y="136215"/>
                      </a:lnTo>
                      <a:lnTo>
                        <a:pt x="9429" y="134862"/>
                      </a:lnTo>
                      <a:lnTo>
                        <a:pt x="9291" y="133802"/>
                      </a:lnTo>
                      <a:lnTo>
                        <a:pt x="10212" y="132637"/>
                      </a:lnTo>
                      <a:lnTo>
                        <a:pt x="13961" y="129230"/>
                      </a:lnTo>
                      <a:lnTo>
                        <a:pt x="15150" y="127666"/>
                      </a:lnTo>
                      <a:lnTo>
                        <a:pt x="15737" y="126133"/>
                      </a:lnTo>
                      <a:lnTo>
                        <a:pt x="16593" y="122629"/>
                      </a:lnTo>
                      <a:lnTo>
                        <a:pt x="16251" y="119923"/>
                      </a:lnTo>
                      <a:lnTo>
                        <a:pt x="16487" y="115726"/>
                      </a:lnTo>
                      <a:lnTo>
                        <a:pt x="15721" y="112556"/>
                      </a:lnTo>
                      <a:lnTo>
                        <a:pt x="15550" y="110991"/>
                      </a:lnTo>
                      <a:lnTo>
                        <a:pt x="15085" y="109035"/>
                      </a:lnTo>
                      <a:lnTo>
                        <a:pt x="12265" y="103876"/>
                      </a:lnTo>
                      <a:lnTo>
                        <a:pt x="11589" y="99704"/>
                      </a:lnTo>
                      <a:lnTo>
                        <a:pt x="10880" y="97642"/>
                      </a:lnTo>
                      <a:lnTo>
                        <a:pt x="10652" y="92353"/>
                      </a:lnTo>
                      <a:lnTo>
                        <a:pt x="10733" y="90861"/>
                      </a:lnTo>
                      <a:lnTo>
                        <a:pt x="11296" y="87993"/>
                      </a:lnTo>
                      <a:lnTo>
                        <a:pt x="10098" y="86053"/>
                      </a:lnTo>
                      <a:lnTo>
                        <a:pt x="9926" y="84464"/>
                      </a:lnTo>
                      <a:lnTo>
                        <a:pt x="9372" y="71823"/>
                      </a:lnTo>
                      <a:lnTo>
                        <a:pt x="8997" y="70022"/>
                      </a:lnTo>
                      <a:lnTo>
                        <a:pt x="9103" y="64146"/>
                      </a:lnTo>
                      <a:lnTo>
                        <a:pt x="6927" y="57953"/>
                      </a:lnTo>
                      <a:lnTo>
                        <a:pt x="5892" y="55842"/>
                      </a:lnTo>
                      <a:lnTo>
                        <a:pt x="5371" y="53291"/>
                      </a:lnTo>
                      <a:lnTo>
                        <a:pt x="5411" y="52077"/>
                      </a:lnTo>
                      <a:lnTo>
                        <a:pt x="3643" y="47847"/>
                      </a:lnTo>
                      <a:lnTo>
                        <a:pt x="2469" y="43177"/>
                      </a:lnTo>
                      <a:lnTo>
                        <a:pt x="2575" y="39135"/>
                      </a:lnTo>
                      <a:lnTo>
                        <a:pt x="2200" y="36071"/>
                      </a:lnTo>
                      <a:lnTo>
                        <a:pt x="2339" y="33683"/>
                      </a:lnTo>
                      <a:lnTo>
                        <a:pt x="2021" y="30113"/>
                      </a:lnTo>
                      <a:lnTo>
                        <a:pt x="2388" y="28068"/>
                      </a:lnTo>
                      <a:lnTo>
                        <a:pt x="2421" y="24906"/>
                      </a:lnTo>
                      <a:lnTo>
                        <a:pt x="0" y="13634"/>
                      </a:lnTo>
                      <a:lnTo>
                        <a:pt x="3032" y="13634"/>
                      </a:lnTo>
                      <a:lnTo>
                        <a:pt x="13602" y="13634"/>
                      </a:lnTo>
                      <a:lnTo>
                        <a:pt x="24180" y="13634"/>
                      </a:lnTo>
                      <a:lnTo>
                        <a:pt x="34759" y="13634"/>
                      </a:lnTo>
                      <a:lnTo>
                        <a:pt x="45329" y="13634"/>
                      </a:lnTo>
                      <a:lnTo>
                        <a:pt x="51180" y="13691"/>
                      </a:lnTo>
                      <a:lnTo>
                        <a:pt x="51278" y="6039"/>
                      </a:lnTo>
                      <a:lnTo>
                        <a:pt x="51352" y="0"/>
                      </a:lnTo>
                      <a:lnTo>
                        <a:pt x="56706" y="742"/>
                      </a:lnTo>
                      <a:lnTo>
                        <a:pt x="58303" y="1834"/>
                      </a:lnTo>
                      <a:lnTo>
                        <a:pt x="58809" y="2363"/>
                      </a:lnTo>
                      <a:lnTo>
                        <a:pt x="58662" y="4034"/>
                      </a:lnTo>
                      <a:lnTo>
                        <a:pt x="59102" y="9079"/>
                      </a:lnTo>
                      <a:lnTo>
                        <a:pt x="60072" y="13284"/>
                      </a:lnTo>
                      <a:lnTo>
                        <a:pt x="62321" y="18321"/>
                      </a:lnTo>
                      <a:lnTo>
                        <a:pt x="62329" y="18337"/>
                      </a:lnTo>
                      <a:lnTo>
                        <a:pt x="62517" y="20309"/>
                      </a:lnTo>
                      <a:lnTo>
                        <a:pt x="63250" y="21540"/>
                      </a:lnTo>
                      <a:lnTo>
                        <a:pt x="64603" y="22689"/>
                      </a:lnTo>
                      <a:lnTo>
                        <a:pt x="69729" y="24074"/>
                      </a:lnTo>
                      <a:lnTo>
                        <a:pt x="78629" y="25704"/>
                      </a:lnTo>
                      <a:lnTo>
                        <a:pt x="83682" y="27562"/>
                      </a:lnTo>
                      <a:lnTo>
                        <a:pt x="84871" y="29673"/>
                      </a:lnTo>
                      <a:lnTo>
                        <a:pt x="87251" y="30521"/>
                      </a:lnTo>
                      <a:lnTo>
                        <a:pt x="90804" y="30105"/>
                      </a:lnTo>
                      <a:lnTo>
                        <a:pt x="93306" y="29225"/>
                      </a:lnTo>
                      <a:close/>
                    </a:path>
                  </a:pathLst>
                </a:custGeom>
                <a:solidFill>
                  <a:srgbClr val="D6D6D2"/>
                </a:solidFill>
                <a:ln w="6112" cap="rnd">
                  <a:solidFill>
                    <a:srgbClr val="FFFFFF"/>
                  </a:solidFill>
                  <a:prstDash val="solid"/>
                  <a:round/>
                </a:ln>
              </p:spPr>
              <p:txBody>
                <a:bodyPr rtlCol="0" anchor="ctr"/>
                <a:lstStyle/>
                <a:p>
                  <a:endParaRPr lang="en-US"/>
                </a:p>
              </p:txBody>
            </p:sp>
            <p:sp>
              <p:nvSpPr>
                <p:cNvPr id="451" name="Freeform: Shape 450">
                  <a:extLst>
                    <a:ext uri="{FF2B5EF4-FFF2-40B4-BE49-F238E27FC236}">
                      <a16:creationId xmlns:a16="http://schemas.microsoft.com/office/drawing/2014/main" id="{748BB408-F6DF-4FD9-AB04-D0FC6877D913}"/>
                    </a:ext>
                  </a:extLst>
                </p:cNvPr>
                <p:cNvSpPr/>
                <p:nvPr/>
              </p:nvSpPr>
              <p:spPr>
                <a:xfrm>
                  <a:off x="3701192" y="2986153"/>
                  <a:ext cx="205234" cy="231656"/>
                </a:xfrm>
                <a:custGeom>
                  <a:avLst/>
                  <a:gdLst>
                    <a:gd name="connsiteX0" fmla="*/ 66192 w 205234"/>
                    <a:gd name="connsiteY0" fmla="*/ 8704 h 231656"/>
                    <a:gd name="connsiteX1" fmla="*/ 72386 w 205234"/>
                    <a:gd name="connsiteY1" fmla="*/ 12249 h 231656"/>
                    <a:gd name="connsiteX2" fmla="*/ 79476 w 205234"/>
                    <a:gd name="connsiteY2" fmla="*/ 16308 h 231656"/>
                    <a:gd name="connsiteX3" fmla="*/ 86583 w 205234"/>
                    <a:gd name="connsiteY3" fmla="*/ 20366 h 231656"/>
                    <a:gd name="connsiteX4" fmla="*/ 92769 w 205234"/>
                    <a:gd name="connsiteY4" fmla="*/ 23903 h 231656"/>
                    <a:gd name="connsiteX5" fmla="*/ 97145 w 205234"/>
                    <a:gd name="connsiteY5" fmla="*/ 26405 h 231656"/>
                    <a:gd name="connsiteX6" fmla="*/ 98816 w 205234"/>
                    <a:gd name="connsiteY6" fmla="*/ 27351 h 231656"/>
                    <a:gd name="connsiteX7" fmla="*/ 103624 w 205234"/>
                    <a:gd name="connsiteY7" fmla="*/ 30211 h 231656"/>
                    <a:gd name="connsiteX8" fmla="*/ 108440 w 205234"/>
                    <a:gd name="connsiteY8" fmla="*/ 33072 h 231656"/>
                    <a:gd name="connsiteX9" fmla="*/ 113257 w 205234"/>
                    <a:gd name="connsiteY9" fmla="*/ 35924 h 231656"/>
                    <a:gd name="connsiteX10" fmla="*/ 118065 w 205234"/>
                    <a:gd name="connsiteY10" fmla="*/ 38785 h 231656"/>
                    <a:gd name="connsiteX11" fmla="*/ 122882 w 205234"/>
                    <a:gd name="connsiteY11" fmla="*/ 41629 h 231656"/>
                    <a:gd name="connsiteX12" fmla="*/ 127690 w 205234"/>
                    <a:gd name="connsiteY12" fmla="*/ 44481 h 231656"/>
                    <a:gd name="connsiteX13" fmla="*/ 132507 w 205234"/>
                    <a:gd name="connsiteY13" fmla="*/ 47334 h 231656"/>
                    <a:gd name="connsiteX14" fmla="*/ 137323 w 205234"/>
                    <a:gd name="connsiteY14" fmla="*/ 50178 h 231656"/>
                    <a:gd name="connsiteX15" fmla="*/ 138529 w 205234"/>
                    <a:gd name="connsiteY15" fmla="*/ 54905 h 231656"/>
                    <a:gd name="connsiteX16" fmla="*/ 139711 w 205234"/>
                    <a:gd name="connsiteY16" fmla="*/ 59509 h 231656"/>
                    <a:gd name="connsiteX17" fmla="*/ 142531 w 205234"/>
                    <a:gd name="connsiteY17" fmla="*/ 62851 h 231656"/>
                    <a:gd name="connsiteX18" fmla="*/ 145114 w 205234"/>
                    <a:gd name="connsiteY18" fmla="*/ 65891 h 231656"/>
                    <a:gd name="connsiteX19" fmla="*/ 146606 w 205234"/>
                    <a:gd name="connsiteY19" fmla="*/ 65736 h 231656"/>
                    <a:gd name="connsiteX20" fmla="*/ 148122 w 205234"/>
                    <a:gd name="connsiteY20" fmla="*/ 64448 h 231656"/>
                    <a:gd name="connsiteX21" fmla="*/ 149083 w 205234"/>
                    <a:gd name="connsiteY21" fmla="*/ 63829 h 231656"/>
                    <a:gd name="connsiteX22" fmla="*/ 150697 w 205234"/>
                    <a:gd name="connsiteY22" fmla="*/ 63723 h 231656"/>
                    <a:gd name="connsiteX23" fmla="*/ 154283 w 205234"/>
                    <a:gd name="connsiteY23" fmla="*/ 62631 h 231656"/>
                    <a:gd name="connsiteX24" fmla="*/ 155334 w 205234"/>
                    <a:gd name="connsiteY24" fmla="*/ 62859 h 231656"/>
                    <a:gd name="connsiteX25" fmla="*/ 155945 w 205234"/>
                    <a:gd name="connsiteY25" fmla="*/ 63421 h 231656"/>
                    <a:gd name="connsiteX26" fmla="*/ 155994 w 205234"/>
                    <a:gd name="connsiteY26" fmla="*/ 64277 h 231656"/>
                    <a:gd name="connsiteX27" fmla="*/ 155864 w 205234"/>
                    <a:gd name="connsiteY27" fmla="*/ 64962 h 231656"/>
                    <a:gd name="connsiteX28" fmla="*/ 155318 w 205234"/>
                    <a:gd name="connsiteY28" fmla="*/ 66339 h 231656"/>
                    <a:gd name="connsiteX29" fmla="*/ 156190 w 205234"/>
                    <a:gd name="connsiteY29" fmla="*/ 68963 h 231656"/>
                    <a:gd name="connsiteX30" fmla="*/ 156377 w 205234"/>
                    <a:gd name="connsiteY30" fmla="*/ 71872 h 231656"/>
                    <a:gd name="connsiteX31" fmla="*/ 156858 w 205234"/>
                    <a:gd name="connsiteY31" fmla="*/ 74065 h 231656"/>
                    <a:gd name="connsiteX32" fmla="*/ 158317 w 205234"/>
                    <a:gd name="connsiteY32" fmla="*/ 76885 h 231656"/>
                    <a:gd name="connsiteX33" fmla="*/ 159596 w 205234"/>
                    <a:gd name="connsiteY33" fmla="*/ 79077 h 231656"/>
                    <a:gd name="connsiteX34" fmla="*/ 161202 w 205234"/>
                    <a:gd name="connsiteY34" fmla="*/ 79509 h 231656"/>
                    <a:gd name="connsiteX35" fmla="*/ 164918 w 205234"/>
                    <a:gd name="connsiteY35" fmla="*/ 78229 h 231656"/>
                    <a:gd name="connsiteX36" fmla="*/ 167249 w 205234"/>
                    <a:gd name="connsiteY36" fmla="*/ 77740 h 231656"/>
                    <a:gd name="connsiteX37" fmla="*/ 168569 w 205234"/>
                    <a:gd name="connsiteY37" fmla="*/ 77944 h 231656"/>
                    <a:gd name="connsiteX38" fmla="*/ 170835 w 205234"/>
                    <a:gd name="connsiteY38" fmla="*/ 80006 h 231656"/>
                    <a:gd name="connsiteX39" fmla="*/ 171943 w 205234"/>
                    <a:gd name="connsiteY39" fmla="*/ 81245 h 231656"/>
                    <a:gd name="connsiteX40" fmla="*/ 172204 w 205234"/>
                    <a:gd name="connsiteY40" fmla="*/ 82272 h 231656"/>
                    <a:gd name="connsiteX41" fmla="*/ 169148 w 205234"/>
                    <a:gd name="connsiteY41" fmla="*/ 88539 h 231656"/>
                    <a:gd name="connsiteX42" fmla="*/ 173997 w 205234"/>
                    <a:gd name="connsiteY42" fmla="*/ 91644 h 231656"/>
                    <a:gd name="connsiteX43" fmla="*/ 179408 w 205234"/>
                    <a:gd name="connsiteY43" fmla="*/ 95034 h 231656"/>
                    <a:gd name="connsiteX44" fmla="*/ 185855 w 205234"/>
                    <a:gd name="connsiteY44" fmla="*/ 99084 h 231656"/>
                    <a:gd name="connsiteX45" fmla="*/ 189791 w 205234"/>
                    <a:gd name="connsiteY45" fmla="*/ 101554 h 231656"/>
                    <a:gd name="connsiteX46" fmla="*/ 194983 w 205234"/>
                    <a:gd name="connsiteY46" fmla="*/ 105083 h 231656"/>
                    <a:gd name="connsiteX47" fmla="*/ 195871 w 205234"/>
                    <a:gd name="connsiteY47" fmla="*/ 110111 h 231656"/>
                    <a:gd name="connsiteX48" fmla="*/ 196621 w 205234"/>
                    <a:gd name="connsiteY48" fmla="*/ 114349 h 231656"/>
                    <a:gd name="connsiteX49" fmla="*/ 197582 w 205234"/>
                    <a:gd name="connsiteY49" fmla="*/ 120249 h 231656"/>
                    <a:gd name="connsiteX50" fmla="*/ 198544 w 205234"/>
                    <a:gd name="connsiteY50" fmla="*/ 126264 h 231656"/>
                    <a:gd name="connsiteX51" fmla="*/ 199514 w 205234"/>
                    <a:gd name="connsiteY51" fmla="*/ 132246 h 231656"/>
                    <a:gd name="connsiteX52" fmla="*/ 200549 w 205234"/>
                    <a:gd name="connsiteY52" fmla="*/ 138578 h 231656"/>
                    <a:gd name="connsiteX53" fmla="*/ 201682 w 205234"/>
                    <a:gd name="connsiteY53" fmla="*/ 145538 h 231656"/>
                    <a:gd name="connsiteX54" fmla="*/ 202684 w 205234"/>
                    <a:gd name="connsiteY54" fmla="*/ 151699 h 231656"/>
                    <a:gd name="connsiteX55" fmla="*/ 203776 w 205234"/>
                    <a:gd name="connsiteY55" fmla="*/ 158423 h 231656"/>
                    <a:gd name="connsiteX56" fmla="*/ 205235 w 205234"/>
                    <a:gd name="connsiteY56" fmla="*/ 167159 h 231656"/>
                    <a:gd name="connsiteX57" fmla="*/ 203931 w 205234"/>
                    <a:gd name="connsiteY57" fmla="*/ 170509 h 231656"/>
                    <a:gd name="connsiteX58" fmla="*/ 201087 w 205234"/>
                    <a:gd name="connsiteY58" fmla="*/ 177827 h 231656"/>
                    <a:gd name="connsiteX59" fmla="*/ 198528 w 205234"/>
                    <a:gd name="connsiteY59" fmla="*/ 184428 h 231656"/>
                    <a:gd name="connsiteX60" fmla="*/ 198299 w 205234"/>
                    <a:gd name="connsiteY60" fmla="*/ 186335 h 231656"/>
                    <a:gd name="connsiteX61" fmla="*/ 196539 w 205234"/>
                    <a:gd name="connsiteY61" fmla="*/ 195936 h 231656"/>
                    <a:gd name="connsiteX62" fmla="*/ 195121 w 205234"/>
                    <a:gd name="connsiteY62" fmla="*/ 199905 h 231656"/>
                    <a:gd name="connsiteX63" fmla="*/ 192652 w 205234"/>
                    <a:gd name="connsiteY63" fmla="*/ 202203 h 231656"/>
                    <a:gd name="connsiteX64" fmla="*/ 190190 w 205234"/>
                    <a:gd name="connsiteY64" fmla="*/ 204428 h 231656"/>
                    <a:gd name="connsiteX65" fmla="*/ 187126 w 205234"/>
                    <a:gd name="connsiteY65" fmla="*/ 208161 h 231656"/>
                    <a:gd name="connsiteX66" fmla="*/ 183760 w 205234"/>
                    <a:gd name="connsiteY66" fmla="*/ 210002 h 231656"/>
                    <a:gd name="connsiteX67" fmla="*/ 182041 w 205234"/>
                    <a:gd name="connsiteY67" fmla="*/ 211078 h 231656"/>
                    <a:gd name="connsiteX68" fmla="*/ 181136 w 205234"/>
                    <a:gd name="connsiteY68" fmla="*/ 212790 h 231656"/>
                    <a:gd name="connsiteX69" fmla="*/ 180134 w 205234"/>
                    <a:gd name="connsiteY69" fmla="*/ 216530 h 231656"/>
                    <a:gd name="connsiteX70" fmla="*/ 180329 w 205234"/>
                    <a:gd name="connsiteY70" fmla="*/ 222235 h 231656"/>
                    <a:gd name="connsiteX71" fmla="*/ 180826 w 205234"/>
                    <a:gd name="connsiteY71" fmla="*/ 223123 h 231656"/>
                    <a:gd name="connsiteX72" fmla="*/ 176311 w 205234"/>
                    <a:gd name="connsiteY72" fmla="*/ 226978 h 231656"/>
                    <a:gd name="connsiteX73" fmla="*/ 172334 w 205234"/>
                    <a:gd name="connsiteY73" fmla="*/ 230352 h 231656"/>
                    <a:gd name="connsiteX74" fmla="*/ 164079 w 205234"/>
                    <a:gd name="connsiteY74" fmla="*/ 230678 h 231656"/>
                    <a:gd name="connsiteX75" fmla="*/ 155823 w 205234"/>
                    <a:gd name="connsiteY75" fmla="*/ 230996 h 231656"/>
                    <a:gd name="connsiteX76" fmla="*/ 147559 w 205234"/>
                    <a:gd name="connsiteY76" fmla="*/ 231330 h 231656"/>
                    <a:gd name="connsiteX77" fmla="*/ 139304 w 205234"/>
                    <a:gd name="connsiteY77" fmla="*/ 231656 h 231656"/>
                    <a:gd name="connsiteX78" fmla="*/ 139295 w 205234"/>
                    <a:gd name="connsiteY78" fmla="*/ 229651 h 231656"/>
                    <a:gd name="connsiteX79" fmla="*/ 131773 w 205234"/>
                    <a:gd name="connsiteY79" fmla="*/ 229651 h 231656"/>
                    <a:gd name="connsiteX80" fmla="*/ 124259 w 205234"/>
                    <a:gd name="connsiteY80" fmla="*/ 229651 h 231656"/>
                    <a:gd name="connsiteX81" fmla="*/ 116737 w 205234"/>
                    <a:gd name="connsiteY81" fmla="*/ 229643 h 231656"/>
                    <a:gd name="connsiteX82" fmla="*/ 109223 w 205234"/>
                    <a:gd name="connsiteY82" fmla="*/ 229635 h 231656"/>
                    <a:gd name="connsiteX83" fmla="*/ 101701 w 205234"/>
                    <a:gd name="connsiteY83" fmla="*/ 229627 h 231656"/>
                    <a:gd name="connsiteX84" fmla="*/ 94187 w 205234"/>
                    <a:gd name="connsiteY84" fmla="*/ 229627 h 231656"/>
                    <a:gd name="connsiteX85" fmla="*/ 86672 w 205234"/>
                    <a:gd name="connsiteY85" fmla="*/ 229627 h 231656"/>
                    <a:gd name="connsiteX86" fmla="*/ 79150 w 205234"/>
                    <a:gd name="connsiteY86" fmla="*/ 229619 h 231656"/>
                    <a:gd name="connsiteX87" fmla="*/ 80283 w 205234"/>
                    <a:gd name="connsiteY87" fmla="*/ 223343 h 231656"/>
                    <a:gd name="connsiteX88" fmla="*/ 81416 w 205234"/>
                    <a:gd name="connsiteY88" fmla="*/ 217052 h 231656"/>
                    <a:gd name="connsiteX89" fmla="*/ 82541 w 205234"/>
                    <a:gd name="connsiteY89" fmla="*/ 210752 h 231656"/>
                    <a:gd name="connsiteX90" fmla="*/ 83673 w 205234"/>
                    <a:gd name="connsiteY90" fmla="*/ 204452 h 231656"/>
                    <a:gd name="connsiteX91" fmla="*/ 82671 w 205234"/>
                    <a:gd name="connsiteY91" fmla="*/ 194469 h 231656"/>
                    <a:gd name="connsiteX92" fmla="*/ 81815 w 205234"/>
                    <a:gd name="connsiteY92" fmla="*/ 185887 h 231656"/>
                    <a:gd name="connsiteX93" fmla="*/ 80796 w 205234"/>
                    <a:gd name="connsiteY93" fmla="*/ 175627 h 231656"/>
                    <a:gd name="connsiteX94" fmla="*/ 81041 w 205234"/>
                    <a:gd name="connsiteY94" fmla="*/ 167143 h 231656"/>
                    <a:gd name="connsiteX95" fmla="*/ 81131 w 205234"/>
                    <a:gd name="connsiteY95" fmla="*/ 164144 h 231656"/>
                    <a:gd name="connsiteX96" fmla="*/ 82573 w 205234"/>
                    <a:gd name="connsiteY96" fmla="*/ 156059 h 231656"/>
                    <a:gd name="connsiteX97" fmla="*/ 83836 w 205234"/>
                    <a:gd name="connsiteY97" fmla="*/ 149050 h 231656"/>
                    <a:gd name="connsiteX98" fmla="*/ 86656 w 205234"/>
                    <a:gd name="connsiteY98" fmla="*/ 139629 h 231656"/>
                    <a:gd name="connsiteX99" fmla="*/ 89052 w 205234"/>
                    <a:gd name="connsiteY99" fmla="*/ 131610 h 231656"/>
                    <a:gd name="connsiteX100" fmla="*/ 91717 w 205234"/>
                    <a:gd name="connsiteY100" fmla="*/ 122678 h 231656"/>
                    <a:gd name="connsiteX101" fmla="*/ 96151 w 205234"/>
                    <a:gd name="connsiteY101" fmla="*/ 115832 h 231656"/>
                    <a:gd name="connsiteX102" fmla="*/ 99484 w 205234"/>
                    <a:gd name="connsiteY102" fmla="*/ 112605 h 231656"/>
                    <a:gd name="connsiteX103" fmla="*/ 102882 w 205234"/>
                    <a:gd name="connsiteY103" fmla="*/ 109321 h 231656"/>
                    <a:gd name="connsiteX104" fmla="*/ 97487 w 205234"/>
                    <a:gd name="connsiteY104" fmla="*/ 105938 h 231656"/>
                    <a:gd name="connsiteX105" fmla="*/ 90242 w 205234"/>
                    <a:gd name="connsiteY105" fmla="*/ 101391 h 231656"/>
                    <a:gd name="connsiteX106" fmla="*/ 86069 w 205234"/>
                    <a:gd name="connsiteY106" fmla="*/ 101391 h 231656"/>
                    <a:gd name="connsiteX107" fmla="*/ 81783 w 205234"/>
                    <a:gd name="connsiteY107" fmla="*/ 101391 h 231656"/>
                    <a:gd name="connsiteX108" fmla="*/ 78580 w 205234"/>
                    <a:gd name="connsiteY108" fmla="*/ 107112 h 231656"/>
                    <a:gd name="connsiteX109" fmla="*/ 74228 w 205234"/>
                    <a:gd name="connsiteY109" fmla="*/ 110836 h 231656"/>
                    <a:gd name="connsiteX110" fmla="*/ 73242 w 205234"/>
                    <a:gd name="connsiteY110" fmla="*/ 114895 h 231656"/>
                    <a:gd name="connsiteX111" fmla="*/ 68425 w 205234"/>
                    <a:gd name="connsiteY111" fmla="*/ 113012 h 231656"/>
                    <a:gd name="connsiteX112" fmla="*/ 67423 w 205234"/>
                    <a:gd name="connsiteY112" fmla="*/ 111635 h 231656"/>
                    <a:gd name="connsiteX113" fmla="*/ 66811 w 205234"/>
                    <a:gd name="connsiteY113" fmla="*/ 110217 h 231656"/>
                    <a:gd name="connsiteX114" fmla="*/ 66763 w 205234"/>
                    <a:gd name="connsiteY114" fmla="*/ 108758 h 231656"/>
                    <a:gd name="connsiteX115" fmla="*/ 68205 w 205234"/>
                    <a:gd name="connsiteY115" fmla="*/ 105164 h 231656"/>
                    <a:gd name="connsiteX116" fmla="*/ 68336 w 205234"/>
                    <a:gd name="connsiteY116" fmla="*/ 104577 h 231656"/>
                    <a:gd name="connsiteX117" fmla="*/ 68173 w 205234"/>
                    <a:gd name="connsiteY117" fmla="*/ 104243 h 231656"/>
                    <a:gd name="connsiteX118" fmla="*/ 67366 w 205234"/>
                    <a:gd name="connsiteY118" fmla="*/ 103836 h 231656"/>
                    <a:gd name="connsiteX119" fmla="*/ 65581 w 205234"/>
                    <a:gd name="connsiteY119" fmla="*/ 104488 h 231656"/>
                    <a:gd name="connsiteX120" fmla="*/ 63764 w 205234"/>
                    <a:gd name="connsiteY120" fmla="*/ 104618 h 231656"/>
                    <a:gd name="connsiteX121" fmla="*/ 63177 w 205234"/>
                    <a:gd name="connsiteY121" fmla="*/ 104365 h 231656"/>
                    <a:gd name="connsiteX122" fmla="*/ 62941 w 205234"/>
                    <a:gd name="connsiteY122" fmla="*/ 103746 h 231656"/>
                    <a:gd name="connsiteX123" fmla="*/ 62965 w 205234"/>
                    <a:gd name="connsiteY123" fmla="*/ 102784 h 231656"/>
                    <a:gd name="connsiteX124" fmla="*/ 63332 w 205234"/>
                    <a:gd name="connsiteY124" fmla="*/ 101635 h 231656"/>
                    <a:gd name="connsiteX125" fmla="*/ 64424 w 205234"/>
                    <a:gd name="connsiteY125" fmla="*/ 99508 h 231656"/>
                    <a:gd name="connsiteX126" fmla="*/ 64440 w 205234"/>
                    <a:gd name="connsiteY126" fmla="*/ 97487 h 231656"/>
                    <a:gd name="connsiteX127" fmla="*/ 64937 w 205234"/>
                    <a:gd name="connsiteY127" fmla="*/ 96338 h 231656"/>
                    <a:gd name="connsiteX128" fmla="*/ 64456 w 205234"/>
                    <a:gd name="connsiteY128" fmla="*/ 94187 h 231656"/>
                    <a:gd name="connsiteX129" fmla="*/ 64570 w 205234"/>
                    <a:gd name="connsiteY129" fmla="*/ 93160 h 231656"/>
                    <a:gd name="connsiteX130" fmla="*/ 63813 w 205234"/>
                    <a:gd name="connsiteY130" fmla="*/ 92035 h 231656"/>
                    <a:gd name="connsiteX131" fmla="*/ 61759 w 205234"/>
                    <a:gd name="connsiteY131" fmla="*/ 90560 h 231656"/>
                    <a:gd name="connsiteX132" fmla="*/ 56959 w 205234"/>
                    <a:gd name="connsiteY132" fmla="*/ 88588 h 231656"/>
                    <a:gd name="connsiteX133" fmla="*/ 57439 w 205234"/>
                    <a:gd name="connsiteY133" fmla="*/ 86379 h 231656"/>
                    <a:gd name="connsiteX134" fmla="*/ 57244 w 205234"/>
                    <a:gd name="connsiteY134" fmla="*/ 85434 h 231656"/>
                    <a:gd name="connsiteX135" fmla="*/ 56070 w 205234"/>
                    <a:gd name="connsiteY135" fmla="*/ 84016 h 231656"/>
                    <a:gd name="connsiteX136" fmla="*/ 51042 w 205234"/>
                    <a:gd name="connsiteY136" fmla="*/ 82353 h 231656"/>
                    <a:gd name="connsiteX137" fmla="*/ 47611 w 205234"/>
                    <a:gd name="connsiteY137" fmla="*/ 81603 h 231656"/>
                    <a:gd name="connsiteX138" fmla="*/ 44229 w 205234"/>
                    <a:gd name="connsiteY138" fmla="*/ 81587 h 231656"/>
                    <a:gd name="connsiteX139" fmla="*/ 41800 w 205234"/>
                    <a:gd name="connsiteY139" fmla="*/ 80976 h 231656"/>
                    <a:gd name="connsiteX140" fmla="*/ 39070 w 205234"/>
                    <a:gd name="connsiteY140" fmla="*/ 80788 h 231656"/>
                    <a:gd name="connsiteX141" fmla="*/ 37326 w 205234"/>
                    <a:gd name="connsiteY141" fmla="*/ 79794 h 231656"/>
                    <a:gd name="connsiteX142" fmla="*/ 35574 w 205234"/>
                    <a:gd name="connsiteY142" fmla="*/ 78792 h 231656"/>
                    <a:gd name="connsiteX143" fmla="*/ 33822 w 205234"/>
                    <a:gd name="connsiteY143" fmla="*/ 77805 h 231656"/>
                    <a:gd name="connsiteX144" fmla="*/ 32077 w 205234"/>
                    <a:gd name="connsiteY144" fmla="*/ 76803 h 231656"/>
                    <a:gd name="connsiteX145" fmla="*/ 28980 w 205234"/>
                    <a:gd name="connsiteY145" fmla="*/ 75956 h 231656"/>
                    <a:gd name="connsiteX146" fmla="*/ 25884 w 205234"/>
                    <a:gd name="connsiteY146" fmla="*/ 75108 h 231656"/>
                    <a:gd name="connsiteX147" fmla="*/ 22787 w 205234"/>
                    <a:gd name="connsiteY147" fmla="*/ 74252 h 231656"/>
                    <a:gd name="connsiteX148" fmla="*/ 19682 w 205234"/>
                    <a:gd name="connsiteY148" fmla="*/ 73405 h 231656"/>
                    <a:gd name="connsiteX149" fmla="*/ 16585 w 205234"/>
                    <a:gd name="connsiteY149" fmla="*/ 72557 h 231656"/>
                    <a:gd name="connsiteX150" fmla="*/ 13488 w 205234"/>
                    <a:gd name="connsiteY150" fmla="*/ 71693 h 231656"/>
                    <a:gd name="connsiteX151" fmla="*/ 10391 w 205234"/>
                    <a:gd name="connsiteY151" fmla="*/ 70846 h 231656"/>
                    <a:gd name="connsiteX152" fmla="*/ 7294 w 205234"/>
                    <a:gd name="connsiteY152" fmla="*/ 69990 h 231656"/>
                    <a:gd name="connsiteX153" fmla="*/ 6593 w 205234"/>
                    <a:gd name="connsiteY153" fmla="*/ 68507 h 231656"/>
                    <a:gd name="connsiteX154" fmla="*/ 5909 w 205234"/>
                    <a:gd name="connsiteY154" fmla="*/ 67015 h 231656"/>
                    <a:gd name="connsiteX155" fmla="*/ 5216 w 205234"/>
                    <a:gd name="connsiteY155" fmla="*/ 65524 h 231656"/>
                    <a:gd name="connsiteX156" fmla="*/ 4523 w 205234"/>
                    <a:gd name="connsiteY156" fmla="*/ 64033 h 231656"/>
                    <a:gd name="connsiteX157" fmla="*/ 3097 w 205234"/>
                    <a:gd name="connsiteY157" fmla="*/ 63413 h 231656"/>
                    <a:gd name="connsiteX158" fmla="*/ 2339 w 205234"/>
                    <a:gd name="connsiteY158" fmla="*/ 63079 h 231656"/>
                    <a:gd name="connsiteX159" fmla="*/ 1785 w 205234"/>
                    <a:gd name="connsiteY159" fmla="*/ 62305 h 231656"/>
                    <a:gd name="connsiteX160" fmla="*/ 505 w 205234"/>
                    <a:gd name="connsiteY160" fmla="*/ 62647 h 231656"/>
                    <a:gd name="connsiteX161" fmla="*/ 0 w 205234"/>
                    <a:gd name="connsiteY161" fmla="*/ 61359 h 231656"/>
                    <a:gd name="connsiteX162" fmla="*/ 1410 w 205234"/>
                    <a:gd name="connsiteY162" fmla="*/ 58238 h 231656"/>
                    <a:gd name="connsiteX163" fmla="*/ 2820 w 205234"/>
                    <a:gd name="connsiteY163" fmla="*/ 55133 h 231656"/>
                    <a:gd name="connsiteX164" fmla="*/ 4230 w 205234"/>
                    <a:gd name="connsiteY164" fmla="*/ 52004 h 231656"/>
                    <a:gd name="connsiteX165" fmla="*/ 5640 w 205234"/>
                    <a:gd name="connsiteY165" fmla="*/ 48882 h 231656"/>
                    <a:gd name="connsiteX166" fmla="*/ 7050 w 205234"/>
                    <a:gd name="connsiteY166" fmla="*/ 45769 h 231656"/>
                    <a:gd name="connsiteX167" fmla="*/ 8468 w 205234"/>
                    <a:gd name="connsiteY167" fmla="*/ 42639 h 231656"/>
                    <a:gd name="connsiteX168" fmla="*/ 9878 w 205234"/>
                    <a:gd name="connsiteY168" fmla="*/ 39510 h 231656"/>
                    <a:gd name="connsiteX169" fmla="*/ 11287 w 205234"/>
                    <a:gd name="connsiteY169" fmla="*/ 36380 h 231656"/>
                    <a:gd name="connsiteX170" fmla="*/ 14132 w 205234"/>
                    <a:gd name="connsiteY170" fmla="*/ 30048 h 231656"/>
                    <a:gd name="connsiteX171" fmla="*/ 16976 w 205234"/>
                    <a:gd name="connsiteY171" fmla="*/ 23716 h 231656"/>
                    <a:gd name="connsiteX172" fmla="*/ 19820 w 205234"/>
                    <a:gd name="connsiteY172" fmla="*/ 17367 h 231656"/>
                    <a:gd name="connsiteX173" fmla="*/ 22673 w 205234"/>
                    <a:gd name="connsiteY173" fmla="*/ 10961 h 231656"/>
                    <a:gd name="connsiteX174" fmla="*/ 23732 w 205234"/>
                    <a:gd name="connsiteY174" fmla="*/ 11018 h 231656"/>
                    <a:gd name="connsiteX175" fmla="*/ 28263 w 205234"/>
                    <a:gd name="connsiteY175" fmla="*/ 10163 h 231656"/>
                    <a:gd name="connsiteX176" fmla="*/ 30431 w 205234"/>
                    <a:gd name="connsiteY176" fmla="*/ 9177 h 231656"/>
                    <a:gd name="connsiteX177" fmla="*/ 33487 w 205234"/>
                    <a:gd name="connsiteY177" fmla="*/ 7514 h 231656"/>
                    <a:gd name="connsiteX178" fmla="*/ 37546 w 205234"/>
                    <a:gd name="connsiteY178" fmla="*/ 5289 h 231656"/>
                    <a:gd name="connsiteX179" fmla="*/ 44669 w 205234"/>
                    <a:gd name="connsiteY179" fmla="*/ 1402 h 231656"/>
                    <a:gd name="connsiteX180" fmla="*/ 50455 w 205234"/>
                    <a:gd name="connsiteY180" fmla="*/ 0 h 231656"/>
                    <a:gd name="connsiteX181" fmla="*/ 55850 w 205234"/>
                    <a:gd name="connsiteY181" fmla="*/ 2787 h 231656"/>
                    <a:gd name="connsiteX182" fmla="*/ 60153 w 205234"/>
                    <a:gd name="connsiteY182" fmla="*/ 5248 h 231656"/>
                    <a:gd name="connsiteX183" fmla="*/ 61808 w 205234"/>
                    <a:gd name="connsiteY183" fmla="*/ 6202 h 23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205234" h="231656">
                      <a:moveTo>
                        <a:pt x="66192" y="8704"/>
                      </a:moveTo>
                      <a:lnTo>
                        <a:pt x="72386" y="12249"/>
                      </a:lnTo>
                      <a:lnTo>
                        <a:pt x="79476" y="16308"/>
                      </a:lnTo>
                      <a:lnTo>
                        <a:pt x="86583" y="20366"/>
                      </a:lnTo>
                      <a:lnTo>
                        <a:pt x="92769" y="23903"/>
                      </a:lnTo>
                      <a:lnTo>
                        <a:pt x="97145" y="26405"/>
                      </a:lnTo>
                      <a:lnTo>
                        <a:pt x="98816" y="27351"/>
                      </a:lnTo>
                      <a:lnTo>
                        <a:pt x="103624" y="30211"/>
                      </a:lnTo>
                      <a:lnTo>
                        <a:pt x="108440" y="33072"/>
                      </a:lnTo>
                      <a:lnTo>
                        <a:pt x="113257" y="35924"/>
                      </a:lnTo>
                      <a:lnTo>
                        <a:pt x="118065" y="38785"/>
                      </a:lnTo>
                      <a:lnTo>
                        <a:pt x="122882" y="41629"/>
                      </a:lnTo>
                      <a:lnTo>
                        <a:pt x="127690" y="44481"/>
                      </a:lnTo>
                      <a:lnTo>
                        <a:pt x="132507" y="47334"/>
                      </a:lnTo>
                      <a:lnTo>
                        <a:pt x="137323" y="50178"/>
                      </a:lnTo>
                      <a:lnTo>
                        <a:pt x="138529" y="54905"/>
                      </a:lnTo>
                      <a:lnTo>
                        <a:pt x="139711" y="59509"/>
                      </a:lnTo>
                      <a:lnTo>
                        <a:pt x="142531" y="62851"/>
                      </a:lnTo>
                      <a:lnTo>
                        <a:pt x="145114" y="65891"/>
                      </a:lnTo>
                      <a:lnTo>
                        <a:pt x="146606" y="65736"/>
                      </a:lnTo>
                      <a:lnTo>
                        <a:pt x="148122" y="64448"/>
                      </a:lnTo>
                      <a:lnTo>
                        <a:pt x="149083" y="63829"/>
                      </a:lnTo>
                      <a:lnTo>
                        <a:pt x="150697" y="63723"/>
                      </a:lnTo>
                      <a:lnTo>
                        <a:pt x="154283" y="62631"/>
                      </a:lnTo>
                      <a:lnTo>
                        <a:pt x="155334" y="62859"/>
                      </a:lnTo>
                      <a:lnTo>
                        <a:pt x="155945" y="63421"/>
                      </a:lnTo>
                      <a:lnTo>
                        <a:pt x="155994" y="64277"/>
                      </a:lnTo>
                      <a:lnTo>
                        <a:pt x="155864" y="64962"/>
                      </a:lnTo>
                      <a:lnTo>
                        <a:pt x="155318" y="66339"/>
                      </a:lnTo>
                      <a:lnTo>
                        <a:pt x="156190" y="68963"/>
                      </a:lnTo>
                      <a:lnTo>
                        <a:pt x="156377" y="71872"/>
                      </a:lnTo>
                      <a:lnTo>
                        <a:pt x="156858" y="74065"/>
                      </a:lnTo>
                      <a:lnTo>
                        <a:pt x="158317" y="76885"/>
                      </a:lnTo>
                      <a:lnTo>
                        <a:pt x="159596" y="79077"/>
                      </a:lnTo>
                      <a:lnTo>
                        <a:pt x="161202" y="79509"/>
                      </a:lnTo>
                      <a:lnTo>
                        <a:pt x="164918" y="78229"/>
                      </a:lnTo>
                      <a:lnTo>
                        <a:pt x="167249" y="77740"/>
                      </a:lnTo>
                      <a:lnTo>
                        <a:pt x="168569" y="77944"/>
                      </a:lnTo>
                      <a:lnTo>
                        <a:pt x="170835" y="80006"/>
                      </a:lnTo>
                      <a:lnTo>
                        <a:pt x="171943" y="81245"/>
                      </a:lnTo>
                      <a:lnTo>
                        <a:pt x="172204" y="82272"/>
                      </a:lnTo>
                      <a:lnTo>
                        <a:pt x="169148" y="88539"/>
                      </a:lnTo>
                      <a:lnTo>
                        <a:pt x="173997" y="91644"/>
                      </a:lnTo>
                      <a:lnTo>
                        <a:pt x="179408" y="95034"/>
                      </a:lnTo>
                      <a:lnTo>
                        <a:pt x="185855" y="99084"/>
                      </a:lnTo>
                      <a:lnTo>
                        <a:pt x="189791" y="101554"/>
                      </a:lnTo>
                      <a:lnTo>
                        <a:pt x="194983" y="105083"/>
                      </a:lnTo>
                      <a:lnTo>
                        <a:pt x="195871" y="110111"/>
                      </a:lnTo>
                      <a:lnTo>
                        <a:pt x="196621" y="114349"/>
                      </a:lnTo>
                      <a:lnTo>
                        <a:pt x="197582" y="120249"/>
                      </a:lnTo>
                      <a:lnTo>
                        <a:pt x="198544" y="126264"/>
                      </a:lnTo>
                      <a:lnTo>
                        <a:pt x="199514" y="132246"/>
                      </a:lnTo>
                      <a:lnTo>
                        <a:pt x="200549" y="138578"/>
                      </a:lnTo>
                      <a:lnTo>
                        <a:pt x="201682" y="145538"/>
                      </a:lnTo>
                      <a:lnTo>
                        <a:pt x="202684" y="151699"/>
                      </a:lnTo>
                      <a:lnTo>
                        <a:pt x="203776" y="158423"/>
                      </a:lnTo>
                      <a:lnTo>
                        <a:pt x="205235" y="167159"/>
                      </a:lnTo>
                      <a:lnTo>
                        <a:pt x="203931" y="170509"/>
                      </a:lnTo>
                      <a:lnTo>
                        <a:pt x="201087" y="177827"/>
                      </a:lnTo>
                      <a:lnTo>
                        <a:pt x="198528" y="184428"/>
                      </a:lnTo>
                      <a:lnTo>
                        <a:pt x="198299" y="186335"/>
                      </a:lnTo>
                      <a:lnTo>
                        <a:pt x="196539" y="195936"/>
                      </a:lnTo>
                      <a:lnTo>
                        <a:pt x="195121" y="199905"/>
                      </a:lnTo>
                      <a:lnTo>
                        <a:pt x="192652" y="202203"/>
                      </a:lnTo>
                      <a:lnTo>
                        <a:pt x="190190" y="204428"/>
                      </a:lnTo>
                      <a:lnTo>
                        <a:pt x="187126" y="208161"/>
                      </a:lnTo>
                      <a:lnTo>
                        <a:pt x="183760" y="210002"/>
                      </a:lnTo>
                      <a:lnTo>
                        <a:pt x="182041" y="211078"/>
                      </a:lnTo>
                      <a:lnTo>
                        <a:pt x="181136" y="212790"/>
                      </a:lnTo>
                      <a:lnTo>
                        <a:pt x="180134" y="216530"/>
                      </a:lnTo>
                      <a:lnTo>
                        <a:pt x="180329" y="222235"/>
                      </a:lnTo>
                      <a:lnTo>
                        <a:pt x="180826" y="223123"/>
                      </a:lnTo>
                      <a:lnTo>
                        <a:pt x="176311" y="226978"/>
                      </a:lnTo>
                      <a:lnTo>
                        <a:pt x="172334" y="230352"/>
                      </a:lnTo>
                      <a:lnTo>
                        <a:pt x="164079" y="230678"/>
                      </a:lnTo>
                      <a:lnTo>
                        <a:pt x="155823" y="230996"/>
                      </a:lnTo>
                      <a:lnTo>
                        <a:pt x="147559" y="231330"/>
                      </a:lnTo>
                      <a:lnTo>
                        <a:pt x="139304" y="231656"/>
                      </a:lnTo>
                      <a:lnTo>
                        <a:pt x="139295" y="229651"/>
                      </a:lnTo>
                      <a:lnTo>
                        <a:pt x="131773" y="229651"/>
                      </a:lnTo>
                      <a:lnTo>
                        <a:pt x="124259" y="229651"/>
                      </a:lnTo>
                      <a:lnTo>
                        <a:pt x="116737" y="229643"/>
                      </a:lnTo>
                      <a:lnTo>
                        <a:pt x="109223" y="229635"/>
                      </a:lnTo>
                      <a:lnTo>
                        <a:pt x="101701" y="229627"/>
                      </a:lnTo>
                      <a:lnTo>
                        <a:pt x="94187" y="229627"/>
                      </a:lnTo>
                      <a:lnTo>
                        <a:pt x="86672" y="229627"/>
                      </a:lnTo>
                      <a:lnTo>
                        <a:pt x="79150" y="229619"/>
                      </a:lnTo>
                      <a:lnTo>
                        <a:pt x="80283" y="223343"/>
                      </a:lnTo>
                      <a:lnTo>
                        <a:pt x="81416" y="217052"/>
                      </a:lnTo>
                      <a:lnTo>
                        <a:pt x="82541" y="210752"/>
                      </a:lnTo>
                      <a:lnTo>
                        <a:pt x="83673" y="204452"/>
                      </a:lnTo>
                      <a:lnTo>
                        <a:pt x="82671" y="194469"/>
                      </a:lnTo>
                      <a:lnTo>
                        <a:pt x="81815" y="185887"/>
                      </a:lnTo>
                      <a:lnTo>
                        <a:pt x="80796" y="175627"/>
                      </a:lnTo>
                      <a:lnTo>
                        <a:pt x="81041" y="167143"/>
                      </a:lnTo>
                      <a:lnTo>
                        <a:pt x="81131" y="164144"/>
                      </a:lnTo>
                      <a:lnTo>
                        <a:pt x="82573" y="156059"/>
                      </a:lnTo>
                      <a:lnTo>
                        <a:pt x="83836" y="149050"/>
                      </a:lnTo>
                      <a:lnTo>
                        <a:pt x="86656" y="139629"/>
                      </a:lnTo>
                      <a:lnTo>
                        <a:pt x="89052" y="131610"/>
                      </a:lnTo>
                      <a:lnTo>
                        <a:pt x="91717" y="122678"/>
                      </a:lnTo>
                      <a:lnTo>
                        <a:pt x="96151" y="115832"/>
                      </a:lnTo>
                      <a:lnTo>
                        <a:pt x="99484" y="112605"/>
                      </a:lnTo>
                      <a:lnTo>
                        <a:pt x="102882" y="109321"/>
                      </a:lnTo>
                      <a:lnTo>
                        <a:pt x="97487" y="105938"/>
                      </a:lnTo>
                      <a:lnTo>
                        <a:pt x="90242" y="101391"/>
                      </a:lnTo>
                      <a:lnTo>
                        <a:pt x="86069" y="101391"/>
                      </a:lnTo>
                      <a:lnTo>
                        <a:pt x="81783" y="101391"/>
                      </a:lnTo>
                      <a:lnTo>
                        <a:pt x="78580" y="107112"/>
                      </a:lnTo>
                      <a:lnTo>
                        <a:pt x="74228" y="110836"/>
                      </a:lnTo>
                      <a:lnTo>
                        <a:pt x="73242" y="114895"/>
                      </a:lnTo>
                      <a:lnTo>
                        <a:pt x="68425" y="113012"/>
                      </a:lnTo>
                      <a:lnTo>
                        <a:pt x="67423" y="111635"/>
                      </a:lnTo>
                      <a:lnTo>
                        <a:pt x="66811" y="110217"/>
                      </a:lnTo>
                      <a:lnTo>
                        <a:pt x="66763" y="108758"/>
                      </a:lnTo>
                      <a:lnTo>
                        <a:pt x="68205" y="105164"/>
                      </a:lnTo>
                      <a:lnTo>
                        <a:pt x="68336" y="104577"/>
                      </a:lnTo>
                      <a:lnTo>
                        <a:pt x="68173" y="104243"/>
                      </a:lnTo>
                      <a:lnTo>
                        <a:pt x="67366" y="103836"/>
                      </a:lnTo>
                      <a:lnTo>
                        <a:pt x="65581" y="104488"/>
                      </a:lnTo>
                      <a:lnTo>
                        <a:pt x="63764" y="104618"/>
                      </a:lnTo>
                      <a:lnTo>
                        <a:pt x="63177" y="104365"/>
                      </a:lnTo>
                      <a:lnTo>
                        <a:pt x="62941" y="103746"/>
                      </a:lnTo>
                      <a:lnTo>
                        <a:pt x="62965" y="102784"/>
                      </a:lnTo>
                      <a:lnTo>
                        <a:pt x="63332" y="101635"/>
                      </a:lnTo>
                      <a:lnTo>
                        <a:pt x="64424" y="99508"/>
                      </a:lnTo>
                      <a:lnTo>
                        <a:pt x="64440" y="97487"/>
                      </a:lnTo>
                      <a:lnTo>
                        <a:pt x="64937" y="96338"/>
                      </a:lnTo>
                      <a:lnTo>
                        <a:pt x="64456" y="94187"/>
                      </a:lnTo>
                      <a:lnTo>
                        <a:pt x="64570" y="93160"/>
                      </a:lnTo>
                      <a:lnTo>
                        <a:pt x="63813" y="92035"/>
                      </a:lnTo>
                      <a:lnTo>
                        <a:pt x="61759" y="90560"/>
                      </a:lnTo>
                      <a:lnTo>
                        <a:pt x="56959" y="88588"/>
                      </a:lnTo>
                      <a:lnTo>
                        <a:pt x="57439" y="86379"/>
                      </a:lnTo>
                      <a:lnTo>
                        <a:pt x="57244" y="85434"/>
                      </a:lnTo>
                      <a:lnTo>
                        <a:pt x="56070" y="84016"/>
                      </a:lnTo>
                      <a:lnTo>
                        <a:pt x="51042" y="82353"/>
                      </a:lnTo>
                      <a:lnTo>
                        <a:pt x="47611" y="81603"/>
                      </a:lnTo>
                      <a:lnTo>
                        <a:pt x="44229" y="81587"/>
                      </a:lnTo>
                      <a:lnTo>
                        <a:pt x="41800" y="80976"/>
                      </a:lnTo>
                      <a:lnTo>
                        <a:pt x="39070" y="80788"/>
                      </a:lnTo>
                      <a:lnTo>
                        <a:pt x="37326" y="79794"/>
                      </a:lnTo>
                      <a:lnTo>
                        <a:pt x="35574" y="78792"/>
                      </a:lnTo>
                      <a:lnTo>
                        <a:pt x="33822" y="77805"/>
                      </a:lnTo>
                      <a:lnTo>
                        <a:pt x="32077" y="76803"/>
                      </a:lnTo>
                      <a:lnTo>
                        <a:pt x="28980" y="75956"/>
                      </a:lnTo>
                      <a:lnTo>
                        <a:pt x="25884" y="75108"/>
                      </a:lnTo>
                      <a:lnTo>
                        <a:pt x="22787" y="74252"/>
                      </a:lnTo>
                      <a:lnTo>
                        <a:pt x="19682" y="73405"/>
                      </a:lnTo>
                      <a:lnTo>
                        <a:pt x="16585" y="72557"/>
                      </a:lnTo>
                      <a:lnTo>
                        <a:pt x="13488" y="71693"/>
                      </a:lnTo>
                      <a:lnTo>
                        <a:pt x="10391" y="70846"/>
                      </a:lnTo>
                      <a:lnTo>
                        <a:pt x="7294" y="69990"/>
                      </a:lnTo>
                      <a:lnTo>
                        <a:pt x="6593" y="68507"/>
                      </a:lnTo>
                      <a:lnTo>
                        <a:pt x="5909" y="67015"/>
                      </a:lnTo>
                      <a:lnTo>
                        <a:pt x="5216" y="65524"/>
                      </a:lnTo>
                      <a:lnTo>
                        <a:pt x="4523" y="64033"/>
                      </a:lnTo>
                      <a:lnTo>
                        <a:pt x="3097" y="63413"/>
                      </a:lnTo>
                      <a:lnTo>
                        <a:pt x="2339" y="63079"/>
                      </a:lnTo>
                      <a:lnTo>
                        <a:pt x="1785" y="62305"/>
                      </a:lnTo>
                      <a:lnTo>
                        <a:pt x="505" y="62647"/>
                      </a:lnTo>
                      <a:lnTo>
                        <a:pt x="0" y="61359"/>
                      </a:lnTo>
                      <a:lnTo>
                        <a:pt x="1410" y="58238"/>
                      </a:lnTo>
                      <a:lnTo>
                        <a:pt x="2820" y="55133"/>
                      </a:lnTo>
                      <a:lnTo>
                        <a:pt x="4230" y="52004"/>
                      </a:lnTo>
                      <a:lnTo>
                        <a:pt x="5640" y="48882"/>
                      </a:lnTo>
                      <a:lnTo>
                        <a:pt x="7050" y="45769"/>
                      </a:lnTo>
                      <a:lnTo>
                        <a:pt x="8468" y="42639"/>
                      </a:lnTo>
                      <a:lnTo>
                        <a:pt x="9878" y="39510"/>
                      </a:lnTo>
                      <a:lnTo>
                        <a:pt x="11287" y="36380"/>
                      </a:lnTo>
                      <a:lnTo>
                        <a:pt x="14132" y="30048"/>
                      </a:lnTo>
                      <a:lnTo>
                        <a:pt x="16976" y="23716"/>
                      </a:lnTo>
                      <a:lnTo>
                        <a:pt x="19820" y="17367"/>
                      </a:lnTo>
                      <a:lnTo>
                        <a:pt x="22673" y="10961"/>
                      </a:lnTo>
                      <a:lnTo>
                        <a:pt x="23732" y="11018"/>
                      </a:lnTo>
                      <a:lnTo>
                        <a:pt x="28263" y="10163"/>
                      </a:lnTo>
                      <a:lnTo>
                        <a:pt x="30431" y="9177"/>
                      </a:lnTo>
                      <a:lnTo>
                        <a:pt x="33487" y="7514"/>
                      </a:lnTo>
                      <a:lnTo>
                        <a:pt x="37546" y="5289"/>
                      </a:lnTo>
                      <a:lnTo>
                        <a:pt x="44669" y="1402"/>
                      </a:lnTo>
                      <a:lnTo>
                        <a:pt x="50455" y="0"/>
                      </a:lnTo>
                      <a:lnTo>
                        <a:pt x="55850" y="2787"/>
                      </a:lnTo>
                      <a:lnTo>
                        <a:pt x="60153" y="5248"/>
                      </a:lnTo>
                      <a:lnTo>
                        <a:pt x="61808" y="6202"/>
                      </a:lnTo>
                      <a:close/>
                    </a:path>
                  </a:pathLst>
                </a:custGeom>
                <a:solidFill>
                  <a:srgbClr val="D6D6D2"/>
                </a:solidFill>
                <a:ln w="6112" cap="rnd">
                  <a:solidFill>
                    <a:srgbClr val="FFFFFF"/>
                  </a:solidFill>
                  <a:prstDash val="solid"/>
                  <a:round/>
                </a:ln>
              </p:spPr>
              <p:txBody>
                <a:bodyPr rtlCol="0" anchor="ctr"/>
                <a:lstStyle/>
                <a:p>
                  <a:endParaRPr lang="en-US"/>
                </a:p>
              </p:txBody>
            </p:sp>
            <p:sp>
              <p:nvSpPr>
                <p:cNvPr id="452" name="Freeform: Shape 451">
                  <a:extLst>
                    <a:ext uri="{FF2B5EF4-FFF2-40B4-BE49-F238E27FC236}">
                      <a16:creationId xmlns:a16="http://schemas.microsoft.com/office/drawing/2014/main" id="{60CB6BB7-E570-447F-A0DB-9700875CF131}"/>
                    </a:ext>
                  </a:extLst>
                </p:cNvPr>
                <p:cNvSpPr/>
                <p:nvPr/>
              </p:nvSpPr>
              <p:spPr>
                <a:xfrm>
                  <a:off x="4180584" y="3016201"/>
                  <a:ext cx="101627" cy="154461"/>
                </a:xfrm>
                <a:custGeom>
                  <a:avLst/>
                  <a:gdLst>
                    <a:gd name="connsiteX0" fmla="*/ 53251 w 101627"/>
                    <a:gd name="connsiteY0" fmla="*/ 9046 h 154461"/>
                    <a:gd name="connsiteX1" fmla="*/ 54481 w 101627"/>
                    <a:gd name="connsiteY1" fmla="*/ 9348 h 154461"/>
                    <a:gd name="connsiteX2" fmla="*/ 55932 w 101627"/>
                    <a:gd name="connsiteY2" fmla="*/ 9323 h 154461"/>
                    <a:gd name="connsiteX3" fmla="*/ 59909 w 101627"/>
                    <a:gd name="connsiteY3" fmla="*/ 7538 h 154461"/>
                    <a:gd name="connsiteX4" fmla="*/ 64579 w 101627"/>
                    <a:gd name="connsiteY4" fmla="*/ 6381 h 154461"/>
                    <a:gd name="connsiteX5" fmla="*/ 67146 w 101627"/>
                    <a:gd name="connsiteY5" fmla="*/ 5305 h 154461"/>
                    <a:gd name="connsiteX6" fmla="*/ 67619 w 101627"/>
                    <a:gd name="connsiteY6" fmla="*/ 4287 h 154461"/>
                    <a:gd name="connsiteX7" fmla="*/ 68792 w 101627"/>
                    <a:gd name="connsiteY7" fmla="*/ 3936 h 154461"/>
                    <a:gd name="connsiteX8" fmla="*/ 70658 w 101627"/>
                    <a:gd name="connsiteY8" fmla="*/ 4238 h 154461"/>
                    <a:gd name="connsiteX9" fmla="*/ 74097 w 101627"/>
                    <a:gd name="connsiteY9" fmla="*/ 6780 h 154461"/>
                    <a:gd name="connsiteX10" fmla="*/ 78115 w 101627"/>
                    <a:gd name="connsiteY10" fmla="*/ 10603 h 154461"/>
                    <a:gd name="connsiteX11" fmla="*/ 81294 w 101627"/>
                    <a:gd name="connsiteY11" fmla="*/ 13626 h 154461"/>
                    <a:gd name="connsiteX12" fmla="*/ 81392 w 101627"/>
                    <a:gd name="connsiteY12" fmla="*/ 18867 h 154461"/>
                    <a:gd name="connsiteX13" fmla="*/ 81449 w 101627"/>
                    <a:gd name="connsiteY13" fmla="*/ 24408 h 154461"/>
                    <a:gd name="connsiteX14" fmla="*/ 81514 w 101627"/>
                    <a:gd name="connsiteY14" fmla="*/ 30244 h 154461"/>
                    <a:gd name="connsiteX15" fmla="*/ 81555 w 101627"/>
                    <a:gd name="connsiteY15" fmla="*/ 34400 h 154461"/>
                    <a:gd name="connsiteX16" fmla="*/ 81636 w 101627"/>
                    <a:gd name="connsiteY16" fmla="*/ 40105 h 154461"/>
                    <a:gd name="connsiteX17" fmla="*/ 81701 w 101627"/>
                    <a:gd name="connsiteY17" fmla="*/ 44636 h 154461"/>
                    <a:gd name="connsiteX18" fmla="*/ 81791 w 101627"/>
                    <a:gd name="connsiteY18" fmla="*/ 50553 h 154461"/>
                    <a:gd name="connsiteX19" fmla="*/ 81832 w 101627"/>
                    <a:gd name="connsiteY19" fmla="*/ 53707 h 154461"/>
                    <a:gd name="connsiteX20" fmla="*/ 82272 w 101627"/>
                    <a:gd name="connsiteY20" fmla="*/ 54619 h 154461"/>
                    <a:gd name="connsiteX21" fmla="*/ 82011 w 101627"/>
                    <a:gd name="connsiteY21" fmla="*/ 55858 h 154461"/>
                    <a:gd name="connsiteX22" fmla="*/ 81889 w 101627"/>
                    <a:gd name="connsiteY22" fmla="*/ 56478 h 154461"/>
                    <a:gd name="connsiteX23" fmla="*/ 81921 w 101627"/>
                    <a:gd name="connsiteY23" fmla="*/ 56975 h 154461"/>
                    <a:gd name="connsiteX24" fmla="*/ 82092 w 101627"/>
                    <a:gd name="connsiteY24" fmla="*/ 57594 h 154461"/>
                    <a:gd name="connsiteX25" fmla="*/ 82068 w 101627"/>
                    <a:gd name="connsiteY25" fmla="*/ 58466 h 154461"/>
                    <a:gd name="connsiteX26" fmla="*/ 81652 w 101627"/>
                    <a:gd name="connsiteY26" fmla="*/ 59257 h 154461"/>
                    <a:gd name="connsiteX27" fmla="*/ 81457 w 101627"/>
                    <a:gd name="connsiteY27" fmla="*/ 60161 h 154461"/>
                    <a:gd name="connsiteX28" fmla="*/ 81400 w 101627"/>
                    <a:gd name="connsiteY28" fmla="*/ 61653 h 154461"/>
                    <a:gd name="connsiteX29" fmla="*/ 81840 w 101627"/>
                    <a:gd name="connsiteY29" fmla="*/ 62565 h 154461"/>
                    <a:gd name="connsiteX30" fmla="*/ 82565 w 101627"/>
                    <a:gd name="connsiteY30" fmla="*/ 63103 h 154461"/>
                    <a:gd name="connsiteX31" fmla="*/ 83176 w 101627"/>
                    <a:gd name="connsiteY31" fmla="*/ 63103 h 154461"/>
                    <a:gd name="connsiteX32" fmla="*/ 83967 w 101627"/>
                    <a:gd name="connsiteY32" fmla="*/ 63641 h 154461"/>
                    <a:gd name="connsiteX33" fmla="*/ 84985 w 101627"/>
                    <a:gd name="connsiteY33" fmla="*/ 64595 h 154461"/>
                    <a:gd name="connsiteX34" fmla="*/ 86526 w 101627"/>
                    <a:gd name="connsiteY34" fmla="*/ 65426 h 154461"/>
                    <a:gd name="connsiteX35" fmla="*/ 88131 w 101627"/>
                    <a:gd name="connsiteY35" fmla="*/ 65711 h 154461"/>
                    <a:gd name="connsiteX36" fmla="*/ 89231 w 101627"/>
                    <a:gd name="connsiteY36" fmla="*/ 65508 h 154461"/>
                    <a:gd name="connsiteX37" fmla="*/ 90576 w 101627"/>
                    <a:gd name="connsiteY37" fmla="*/ 66045 h 154461"/>
                    <a:gd name="connsiteX38" fmla="*/ 91041 w 101627"/>
                    <a:gd name="connsiteY38" fmla="*/ 67366 h 154461"/>
                    <a:gd name="connsiteX39" fmla="*/ 90780 w 101627"/>
                    <a:gd name="connsiteY39" fmla="*/ 68604 h 154461"/>
                    <a:gd name="connsiteX40" fmla="*/ 90022 w 101627"/>
                    <a:gd name="connsiteY40" fmla="*/ 69183 h 154461"/>
                    <a:gd name="connsiteX41" fmla="*/ 89207 w 101627"/>
                    <a:gd name="connsiteY41" fmla="*/ 69639 h 154461"/>
                    <a:gd name="connsiteX42" fmla="*/ 89060 w 101627"/>
                    <a:gd name="connsiteY42" fmla="*/ 70593 h 154461"/>
                    <a:gd name="connsiteX43" fmla="*/ 89468 w 101627"/>
                    <a:gd name="connsiteY43" fmla="*/ 71587 h 154461"/>
                    <a:gd name="connsiteX44" fmla="*/ 90055 w 101627"/>
                    <a:gd name="connsiteY44" fmla="*/ 72451 h 154461"/>
                    <a:gd name="connsiteX45" fmla="*/ 90690 w 101627"/>
                    <a:gd name="connsiteY45" fmla="*/ 73975 h 154461"/>
                    <a:gd name="connsiteX46" fmla="*/ 90430 w 101627"/>
                    <a:gd name="connsiteY46" fmla="*/ 75303 h 154461"/>
                    <a:gd name="connsiteX47" fmla="*/ 89851 w 101627"/>
                    <a:gd name="connsiteY47" fmla="*/ 76412 h 154461"/>
                    <a:gd name="connsiteX48" fmla="*/ 89590 w 101627"/>
                    <a:gd name="connsiteY48" fmla="*/ 77569 h 154461"/>
                    <a:gd name="connsiteX49" fmla="*/ 90087 w 101627"/>
                    <a:gd name="connsiteY49" fmla="*/ 78563 h 154461"/>
                    <a:gd name="connsiteX50" fmla="*/ 91399 w 101627"/>
                    <a:gd name="connsiteY50" fmla="*/ 79884 h 154461"/>
                    <a:gd name="connsiteX51" fmla="*/ 92214 w 101627"/>
                    <a:gd name="connsiteY51" fmla="*/ 81155 h 154461"/>
                    <a:gd name="connsiteX52" fmla="*/ 93494 w 101627"/>
                    <a:gd name="connsiteY52" fmla="*/ 81856 h 154461"/>
                    <a:gd name="connsiteX53" fmla="*/ 94105 w 101627"/>
                    <a:gd name="connsiteY53" fmla="*/ 81351 h 154461"/>
                    <a:gd name="connsiteX54" fmla="*/ 94602 w 101627"/>
                    <a:gd name="connsiteY54" fmla="*/ 80699 h 154461"/>
                    <a:gd name="connsiteX55" fmla="*/ 95124 w 101627"/>
                    <a:gd name="connsiteY55" fmla="*/ 80201 h 154461"/>
                    <a:gd name="connsiteX56" fmla="*/ 96028 w 101627"/>
                    <a:gd name="connsiteY56" fmla="*/ 80495 h 154461"/>
                    <a:gd name="connsiteX57" fmla="*/ 97072 w 101627"/>
                    <a:gd name="connsiteY57" fmla="*/ 80862 h 154461"/>
                    <a:gd name="connsiteX58" fmla="*/ 98213 w 101627"/>
                    <a:gd name="connsiteY58" fmla="*/ 81302 h 154461"/>
                    <a:gd name="connsiteX59" fmla="*/ 98074 w 101627"/>
                    <a:gd name="connsiteY59" fmla="*/ 82369 h 154461"/>
                    <a:gd name="connsiteX60" fmla="*/ 98767 w 101627"/>
                    <a:gd name="connsiteY60" fmla="*/ 84170 h 154461"/>
                    <a:gd name="connsiteX61" fmla="*/ 99305 w 101627"/>
                    <a:gd name="connsiteY61" fmla="*/ 87634 h 154461"/>
                    <a:gd name="connsiteX62" fmla="*/ 98473 w 101627"/>
                    <a:gd name="connsiteY62" fmla="*/ 89199 h 154461"/>
                    <a:gd name="connsiteX63" fmla="*/ 98653 w 101627"/>
                    <a:gd name="connsiteY63" fmla="*/ 91277 h 154461"/>
                    <a:gd name="connsiteX64" fmla="*/ 100951 w 101627"/>
                    <a:gd name="connsiteY64" fmla="*/ 91888 h 154461"/>
                    <a:gd name="connsiteX65" fmla="*/ 101513 w 101627"/>
                    <a:gd name="connsiteY65" fmla="*/ 92524 h 154461"/>
                    <a:gd name="connsiteX66" fmla="*/ 101627 w 101627"/>
                    <a:gd name="connsiteY66" fmla="*/ 93290 h 154461"/>
                    <a:gd name="connsiteX67" fmla="*/ 96558 w 101627"/>
                    <a:gd name="connsiteY67" fmla="*/ 98620 h 154461"/>
                    <a:gd name="connsiteX68" fmla="*/ 92271 w 101627"/>
                    <a:gd name="connsiteY68" fmla="*/ 97878 h 154461"/>
                    <a:gd name="connsiteX69" fmla="*/ 89949 w 101627"/>
                    <a:gd name="connsiteY69" fmla="*/ 99280 h 154461"/>
                    <a:gd name="connsiteX70" fmla="*/ 87512 w 101627"/>
                    <a:gd name="connsiteY70" fmla="*/ 99687 h 154461"/>
                    <a:gd name="connsiteX71" fmla="*/ 86444 w 101627"/>
                    <a:gd name="connsiteY71" fmla="*/ 102067 h 154461"/>
                    <a:gd name="connsiteX72" fmla="*/ 85108 w 101627"/>
                    <a:gd name="connsiteY72" fmla="*/ 102573 h 154461"/>
                    <a:gd name="connsiteX73" fmla="*/ 83274 w 101627"/>
                    <a:gd name="connsiteY73" fmla="*/ 102434 h 154461"/>
                    <a:gd name="connsiteX74" fmla="*/ 81701 w 101627"/>
                    <a:gd name="connsiteY74" fmla="*/ 101766 h 154461"/>
                    <a:gd name="connsiteX75" fmla="*/ 80495 w 101627"/>
                    <a:gd name="connsiteY75" fmla="*/ 102100 h 154461"/>
                    <a:gd name="connsiteX76" fmla="*/ 78808 w 101627"/>
                    <a:gd name="connsiteY76" fmla="*/ 106378 h 154461"/>
                    <a:gd name="connsiteX77" fmla="*/ 77422 w 101627"/>
                    <a:gd name="connsiteY77" fmla="*/ 106012 h 154461"/>
                    <a:gd name="connsiteX78" fmla="*/ 76877 w 101627"/>
                    <a:gd name="connsiteY78" fmla="*/ 107552 h 154461"/>
                    <a:gd name="connsiteX79" fmla="*/ 76151 w 101627"/>
                    <a:gd name="connsiteY79" fmla="*/ 108228 h 154461"/>
                    <a:gd name="connsiteX80" fmla="*/ 75100 w 101627"/>
                    <a:gd name="connsiteY80" fmla="*/ 108807 h 154461"/>
                    <a:gd name="connsiteX81" fmla="*/ 74179 w 101627"/>
                    <a:gd name="connsiteY81" fmla="*/ 106900 h 154461"/>
                    <a:gd name="connsiteX82" fmla="*/ 73576 w 101627"/>
                    <a:gd name="connsiteY82" fmla="*/ 105074 h 154461"/>
                    <a:gd name="connsiteX83" fmla="*/ 72712 w 101627"/>
                    <a:gd name="connsiteY83" fmla="*/ 104675 h 154461"/>
                    <a:gd name="connsiteX84" fmla="*/ 71571 w 101627"/>
                    <a:gd name="connsiteY84" fmla="*/ 104211 h 154461"/>
                    <a:gd name="connsiteX85" fmla="*/ 70389 w 101627"/>
                    <a:gd name="connsiteY85" fmla="*/ 104227 h 154461"/>
                    <a:gd name="connsiteX86" fmla="*/ 69607 w 101627"/>
                    <a:gd name="connsiteY86" fmla="*/ 104488 h 154461"/>
                    <a:gd name="connsiteX87" fmla="*/ 68629 w 101627"/>
                    <a:gd name="connsiteY87" fmla="*/ 105653 h 154461"/>
                    <a:gd name="connsiteX88" fmla="*/ 67211 w 101627"/>
                    <a:gd name="connsiteY88" fmla="*/ 106664 h 154461"/>
                    <a:gd name="connsiteX89" fmla="*/ 66143 w 101627"/>
                    <a:gd name="connsiteY89" fmla="*/ 105824 h 154461"/>
                    <a:gd name="connsiteX90" fmla="*/ 65304 w 101627"/>
                    <a:gd name="connsiteY90" fmla="*/ 104471 h 154461"/>
                    <a:gd name="connsiteX91" fmla="*/ 64587 w 101627"/>
                    <a:gd name="connsiteY91" fmla="*/ 106639 h 154461"/>
                    <a:gd name="connsiteX92" fmla="*/ 63552 w 101627"/>
                    <a:gd name="connsiteY92" fmla="*/ 108921 h 154461"/>
                    <a:gd name="connsiteX93" fmla="*/ 63723 w 101627"/>
                    <a:gd name="connsiteY93" fmla="*/ 111586 h 154461"/>
                    <a:gd name="connsiteX94" fmla="*/ 63275 w 101627"/>
                    <a:gd name="connsiteY94" fmla="*/ 113159 h 154461"/>
                    <a:gd name="connsiteX95" fmla="*/ 62288 w 101627"/>
                    <a:gd name="connsiteY95" fmla="*/ 112735 h 154461"/>
                    <a:gd name="connsiteX96" fmla="*/ 61302 w 101627"/>
                    <a:gd name="connsiteY96" fmla="*/ 111350 h 154461"/>
                    <a:gd name="connsiteX97" fmla="*/ 58548 w 101627"/>
                    <a:gd name="connsiteY97" fmla="*/ 110241 h 154461"/>
                    <a:gd name="connsiteX98" fmla="*/ 56347 w 101627"/>
                    <a:gd name="connsiteY98" fmla="*/ 110347 h 154461"/>
                    <a:gd name="connsiteX99" fmla="*/ 56796 w 101627"/>
                    <a:gd name="connsiteY99" fmla="*/ 108864 h 154461"/>
                    <a:gd name="connsiteX100" fmla="*/ 58874 w 101627"/>
                    <a:gd name="connsiteY100" fmla="*/ 106745 h 154461"/>
                    <a:gd name="connsiteX101" fmla="*/ 58230 w 101627"/>
                    <a:gd name="connsiteY101" fmla="*/ 106321 h 154461"/>
                    <a:gd name="connsiteX102" fmla="*/ 57211 w 101627"/>
                    <a:gd name="connsiteY102" fmla="*/ 106615 h 154461"/>
                    <a:gd name="connsiteX103" fmla="*/ 56763 w 101627"/>
                    <a:gd name="connsiteY103" fmla="*/ 106321 h 154461"/>
                    <a:gd name="connsiteX104" fmla="*/ 57497 w 101627"/>
                    <a:gd name="connsiteY104" fmla="*/ 104390 h 154461"/>
                    <a:gd name="connsiteX105" fmla="*/ 57562 w 101627"/>
                    <a:gd name="connsiteY105" fmla="*/ 102263 h 154461"/>
                    <a:gd name="connsiteX106" fmla="*/ 56633 w 101627"/>
                    <a:gd name="connsiteY106" fmla="*/ 103004 h 154461"/>
                    <a:gd name="connsiteX107" fmla="*/ 55459 w 101627"/>
                    <a:gd name="connsiteY107" fmla="*/ 105254 h 154461"/>
                    <a:gd name="connsiteX108" fmla="*/ 52623 w 101627"/>
                    <a:gd name="connsiteY108" fmla="*/ 107038 h 154461"/>
                    <a:gd name="connsiteX109" fmla="*/ 52753 w 101627"/>
                    <a:gd name="connsiteY109" fmla="*/ 110038 h 154461"/>
                    <a:gd name="connsiteX110" fmla="*/ 50088 w 101627"/>
                    <a:gd name="connsiteY110" fmla="*/ 116166 h 154461"/>
                    <a:gd name="connsiteX111" fmla="*/ 49966 w 101627"/>
                    <a:gd name="connsiteY111" fmla="*/ 118774 h 154461"/>
                    <a:gd name="connsiteX112" fmla="*/ 48263 w 101627"/>
                    <a:gd name="connsiteY112" fmla="*/ 120852 h 154461"/>
                    <a:gd name="connsiteX113" fmla="*/ 46054 w 101627"/>
                    <a:gd name="connsiteY113" fmla="*/ 122645 h 154461"/>
                    <a:gd name="connsiteX114" fmla="*/ 43112 w 101627"/>
                    <a:gd name="connsiteY114" fmla="*/ 122140 h 154461"/>
                    <a:gd name="connsiteX115" fmla="*/ 40871 w 101627"/>
                    <a:gd name="connsiteY115" fmla="*/ 123697 h 154461"/>
                    <a:gd name="connsiteX116" fmla="*/ 39730 w 101627"/>
                    <a:gd name="connsiteY116" fmla="*/ 125473 h 154461"/>
                    <a:gd name="connsiteX117" fmla="*/ 38744 w 101627"/>
                    <a:gd name="connsiteY117" fmla="*/ 125750 h 154461"/>
                    <a:gd name="connsiteX118" fmla="*/ 38222 w 101627"/>
                    <a:gd name="connsiteY118" fmla="*/ 123476 h 154461"/>
                    <a:gd name="connsiteX119" fmla="*/ 37856 w 101627"/>
                    <a:gd name="connsiteY119" fmla="*/ 122776 h 154461"/>
                    <a:gd name="connsiteX120" fmla="*/ 37032 w 101627"/>
                    <a:gd name="connsiteY120" fmla="*/ 126125 h 154461"/>
                    <a:gd name="connsiteX121" fmla="*/ 36185 w 101627"/>
                    <a:gd name="connsiteY121" fmla="*/ 126329 h 154461"/>
                    <a:gd name="connsiteX122" fmla="*/ 35867 w 101627"/>
                    <a:gd name="connsiteY122" fmla="*/ 123949 h 154461"/>
                    <a:gd name="connsiteX123" fmla="*/ 35460 w 101627"/>
                    <a:gd name="connsiteY123" fmla="*/ 122385 h 154461"/>
                    <a:gd name="connsiteX124" fmla="*/ 34311 w 101627"/>
                    <a:gd name="connsiteY124" fmla="*/ 123737 h 154461"/>
                    <a:gd name="connsiteX125" fmla="*/ 33552 w 101627"/>
                    <a:gd name="connsiteY125" fmla="*/ 127323 h 154461"/>
                    <a:gd name="connsiteX126" fmla="*/ 32754 w 101627"/>
                    <a:gd name="connsiteY126" fmla="*/ 127022 h 154461"/>
                    <a:gd name="connsiteX127" fmla="*/ 32493 w 101627"/>
                    <a:gd name="connsiteY127" fmla="*/ 125685 h 154461"/>
                    <a:gd name="connsiteX128" fmla="*/ 31923 w 101627"/>
                    <a:gd name="connsiteY128" fmla="*/ 125286 h 154461"/>
                    <a:gd name="connsiteX129" fmla="*/ 31727 w 101627"/>
                    <a:gd name="connsiteY129" fmla="*/ 126810 h 154461"/>
                    <a:gd name="connsiteX130" fmla="*/ 32012 w 101627"/>
                    <a:gd name="connsiteY130" fmla="*/ 128953 h 154461"/>
                    <a:gd name="connsiteX131" fmla="*/ 31597 w 101627"/>
                    <a:gd name="connsiteY131" fmla="*/ 130102 h 154461"/>
                    <a:gd name="connsiteX132" fmla="*/ 30806 w 101627"/>
                    <a:gd name="connsiteY132" fmla="*/ 129491 h 154461"/>
                    <a:gd name="connsiteX133" fmla="*/ 30007 w 101627"/>
                    <a:gd name="connsiteY133" fmla="*/ 128456 h 154461"/>
                    <a:gd name="connsiteX134" fmla="*/ 28687 w 101627"/>
                    <a:gd name="connsiteY134" fmla="*/ 129247 h 154461"/>
                    <a:gd name="connsiteX135" fmla="*/ 27481 w 101627"/>
                    <a:gd name="connsiteY135" fmla="*/ 129564 h 154461"/>
                    <a:gd name="connsiteX136" fmla="*/ 27481 w 101627"/>
                    <a:gd name="connsiteY136" fmla="*/ 128513 h 154461"/>
                    <a:gd name="connsiteX137" fmla="*/ 27709 w 101627"/>
                    <a:gd name="connsiteY137" fmla="*/ 127225 h 154461"/>
                    <a:gd name="connsiteX138" fmla="*/ 25305 w 101627"/>
                    <a:gd name="connsiteY138" fmla="*/ 127934 h 154461"/>
                    <a:gd name="connsiteX139" fmla="*/ 22420 w 101627"/>
                    <a:gd name="connsiteY139" fmla="*/ 130306 h 154461"/>
                    <a:gd name="connsiteX140" fmla="*/ 20179 w 101627"/>
                    <a:gd name="connsiteY140" fmla="*/ 133590 h 154461"/>
                    <a:gd name="connsiteX141" fmla="*/ 20961 w 101627"/>
                    <a:gd name="connsiteY141" fmla="*/ 134136 h 154461"/>
                    <a:gd name="connsiteX142" fmla="*/ 21833 w 101627"/>
                    <a:gd name="connsiteY142" fmla="*/ 135180 h 154461"/>
                    <a:gd name="connsiteX143" fmla="*/ 17938 w 101627"/>
                    <a:gd name="connsiteY143" fmla="*/ 140249 h 154461"/>
                    <a:gd name="connsiteX144" fmla="*/ 13952 w 101627"/>
                    <a:gd name="connsiteY144" fmla="*/ 144813 h 154461"/>
                    <a:gd name="connsiteX145" fmla="*/ 10929 w 101627"/>
                    <a:gd name="connsiteY145" fmla="*/ 152237 h 154461"/>
                    <a:gd name="connsiteX146" fmla="*/ 9715 w 101627"/>
                    <a:gd name="connsiteY146" fmla="*/ 153101 h 154461"/>
                    <a:gd name="connsiteX147" fmla="*/ 8679 w 101627"/>
                    <a:gd name="connsiteY147" fmla="*/ 154462 h 154461"/>
                    <a:gd name="connsiteX148" fmla="*/ 6699 w 101627"/>
                    <a:gd name="connsiteY148" fmla="*/ 151226 h 154461"/>
                    <a:gd name="connsiteX149" fmla="*/ 6292 w 101627"/>
                    <a:gd name="connsiteY149" fmla="*/ 148618 h 154461"/>
                    <a:gd name="connsiteX150" fmla="*/ 4050 w 101627"/>
                    <a:gd name="connsiteY150" fmla="*/ 145538 h 154461"/>
                    <a:gd name="connsiteX151" fmla="*/ 3162 w 101627"/>
                    <a:gd name="connsiteY151" fmla="*/ 143419 h 154461"/>
                    <a:gd name="connsiteX152" fmla="*/ 2869 w 101627"/>
                    <a:gd name="connsiteY152" fmla="*/ 141031 h 154461"/>
                    <a:gd name="connsiteX153" fmla="*/ 2999 w 101627"/>
                    <a:gd name="connsiteY153" fmla="*/ 138464 h 154461"/>
                    <a:gd name="connsiteX154" fmla="*/ 2812 w 101627"/>
                    <a:gd name="connsiteY154" fmla="*/ 134617 h 154461"/>
                    <a:gd name="connsiteX155" fmla="*/ 2624 w 101627"/>
                    <a:gd name="connsiteY155" fmla="*/ 130762 h 154461"/>
                    <a:gd name="connsiteX156" fmla="*/ 2437 w 101627"/>
                    <a:gd name="connsiteY156" fmla="*/ 126908 h 154461"/>
                    <a:gd name="connsiteX157" fmla="*/ 2249 w 101627"/>
                    <a:gd name="connsiteY157" fmla="*/ 123045 h 154461"/>
                    <a:gd name="connsiteX158" fmla="*/ 2062 w 101627"/>
                    <a:gd name="connsiteY158" fmla="*/ 119182 h 154461"/>
                    <a:gd name="connsiteX159" fmla="*/ 1866 w 101627"/>
                    <a:gd name="connsiteY159" fmla="*/ 115310 h 154461"/>
                    <a:gd name="connsiteX160" fmla="*/ 1679 w 101627"/>
                    <a:gd name="connsiteY160" fmla="*/ 111447 h 154461"/>
                    <a:gd name="connsiteX161" fmla="*/ 1492 w 101627"/>
                    <a:gd name="connsiteY161" fmla="*/ 107568 h 154461"/>
                    <a:gd name="connsiteX162" fmla="*/ 1304 w 101627"/>
                    <a:gd name="connsiteY162" fmla="*/ 103697 h 154461"/>
                    <a:gd name="connsiteX163" fmla="*/ 1117 w 101627"/>
                    <a:gd name="connsiteY163" fmla="*/ 99818 h 154461"/>
                    <a:gd name="connsiteX164" fmla="*/ 929 w 101627"/>
                    <a:gd name="connsiteY164" fmla="*/ 95939 h 154461"/>
                    <a:gd name="connsiteX165" fmla="*/ 742 w 101627"/>
                    <a:gd name="connsiteY165" fmla="*/ 92059 h 154461"/>
                    <a:gd name="connsiteX166" fmla="*/ 554 w 101627"/>
                    <a:gd name="connsiteY166" fmla="*/ 88172 h 154461"/>
                    <a:gd name="connsiteX167" fmla="*/ 367 w 101627"/>
                    <a:gd name="connsiteY167" fmla="*/ 84276 h 154461"/>
                    <a:gd name="connsiteX168" fmla="*/ 179 w 101627"/>
                    <a:gd name="connsiteY168" fmla="*/ 80381 h 154461"/>
                    <a:gd name="connsiteX169" fmla="*/ 0 w 101627"/>
                    <a:gd name="connsiteY169" fmla="*/ 76893 h 154461"/>
                    <a:gd name="connsiteX170" fmla="*/ 603 w 101627"/>
                    <a:gd name="connsiteY170" fmla="*/ 76363 h 154461"/>
                    <a:gd name="connsiteX171" fmla="*/ 2103 w 101627"/>
                    <a:gd name="connsiteY171" fmla="*/ 75369 h 154461"/>
                    <a:gd name="connsiteX172" fmla="*/ 3089 w 101627"/>
                    <a:gd name="connsiteY172" fmla="*/ 75515 h 154461"/>
                    <a:gd name="connsiteX173" fmla="*/ 3928 w 101627"/>
                    <a:gd name="connsiteY173" fmla="*/ 77007 h 154461"/>
                    <a:gd name="connsiteX174" fmla="*/ 4629 w 101627"/>
                    <a:gd name="connsiteY174" fmla="*/ 78001 h 154461"/>
                    <a:gd name="connsiteX175" fmla="*/ 5444 w 101627"/>
                    <a:gd name="connsiteY175" fmla="*/ 77708 h 154461"/>
                    <a:gd name="connsiteX176" fmla="*/ 6145 w 101627"/>
                    <a:gd name="connsiteY176" fmla="*/ 76306 h 154461"/>
                    <a:gd name="connsiteX177" fmla="*/ 6121 w 101627"/>
                    <a:gd name="connsiteY177" fmla="*/ 74350 h 154461"/>
                    <a:gd name="connsiteX178" fmla="*/ 7074 w 101627"/>
                    <a:gd name="connsiteY178" fmla="*/ 72997 h 154461"/>
                    <a:gd name="connsiteX179" fmla="*/ 8215 w 101627"/>
                    <a:gd name="connsiteY179" fmla="*/ 72785 h 154461"/>
                    <a:gd name="connsiteX180" fmla="*/ 9266 w 101627"/>
                    <a:gd name="connsiteY180" fmla="*/ 72826 h 154461"/>
                    <a:gd name="connsiteX181" fmla="*/ 9788 w 101627"/>
                    <a:gd name="connsiteY181" fmla="*/ 72158 h 154461"/>
                    <a:gd name="connsiteX182" fmla="*/ 9731 w 101627"/>
                    <a:gd name="connsiteY182" fmla="*/ 71212 h 154461"/>
                    <a:gd name="connsiteX183" fmla="*/ 9348 w 101627"/>
                    <a:gd name="connsiteY183" fmla="*/ 69680 h 154461"/>
                    <a:gd name="connsiteX184" fmla="*/ 9478 w 101627"/>
                    <a:gd name="connsiteY184" fmla="*/ 67830 h 154461"/>
                    <a:gd name="connsiteX185" fmla="*/ 12102 w 101627"/>
                    <a:gd name="connsiteY185" fmla="*/ 64570 h 154461"/>
                    <a:gd name="connsiteX186" fmla="*/ 15330 w 101627"/>
                    <a:gd name="connsiteY186" fmla="*/ 62353 h 154461"/>
                    <a:gd name="connsiteX187" fmla="*/ 16454 w 101627"/>
                    <a:gd name="connsiteY187" fmla="*/ 61253 h 154461"/>
                    <a:gd name="connsiteX188" fmla="*/ 16789 w 101627"/>
                    <a:gd name="connsiteY188" fmla="*/ 59004 h 154461"/>
                    <a:gd name="connsiteX189" fmla="*/ 18639 w 101627"/>
                    <a:gd name="connsiteY189" fmla="*/ 56673 h 154461"/>
                    <a:gd name="connsiteX190" fmla="*/ 19560 w 101627"/>
                    <a:gd name="connsiteY190" fmla="*/ 55320 h 154461"/>
                    <a:gd name="connsiteX191" fmla="*/ 19788 w 101627"/>
                    <a:gd name="connsiteY191" fmla="*/ 54147 h 154461"/>
                    <a:gd name="connsiteX192" fmla="*/ 19307 w 101627"/>
                    <a:gd name="connsiteY192" fmla="*/ 52712 h 154461"/>
                    <a:gd name="connsiteX193" fmla="*/ 19356 w 101627"/>
                    <a:gd name="connsiteY193" fmla="*/ 49974 h 154461"/>
                    <a:gd name="connsiteX194" fmla="*/ 19991 w 101627"/>
                    <a:gd name="connsiteY194" fmla="*/ 46698 h 154461"/>
                    <a:gd name="connsiteX195" fmla="*/ 20749 w 101627"/>
                    <a:gd name="connsiteY195" fmla="*/ 43128 h 154461"/>
                    <a:gd name="connsiteX196" fmla="*/ 22445 w 101627"/>
                    <a:gd name="connsiteY196" fmla="*/ 39909 h 154461"/>
                    <a:gd name="connsiteX197" fmla="*/ 25240 w 101627"/>
                    <a:gd name="connsiteY197" fmla="*/ 36389 h 154461"/>
                    <a:gd name="connsiteX198" fmla="*/ 25957 w 101627"/>
                    <a:gd name="connsiteY198" fmla="*/ 31768 h 154461"/>
                    <a:gd name="connsiteX199" fmla="*/ 26715 w 101627"/>
                    <a:gd name="connsiteY199" fmla="*/ 26878 h 154461"/>
                    <a:gd name="connsiteX200" fmla="*/ 30089 w 101627"/>
                    <a:gd name="connsiteY200" fmla="*/ 22126 h 154461"/>
                    <a:gd name="connsiteX201" fmla="*/ 33919 w 101627"/>
                    <a:gd name="connsiteY201" fmla="*/ 16715 h 154461"/>
                    <a:gd name="connsiteX202" fmla="*/ 36095 w 101627"/>
                    <a:gd name="connsiteY202" fmla="*/ 13626 h 154461"/>
                    <a:gd name="connsiteX203" fmla="*/ 40023 w 101627"/>
                    <a:gd name="connsiteY203" fmla="*/ 8019 h 154461"/>
                    <a:gd name="connsiteX204" fmla="*/ 42819 w 101627"/>
                    <a:gd name="connsiteY204" fmla="*/ 4026 h 154461"/>
                    <a:gd name="connsiteX205" fmla="*/ 44229 w 101627"/>
                    <a:gd name="connsiteY205" fmla="*/ 2184 h 154461"/>
                    <a:gd name="connsiteX206" fmla="*/ 45696 w 101627"/>
                    <a:gd name="connsiteY206" fmla="*/ 0 h 154461"/>
                    <a:gd name="connsiteX207" fmla="*/ 48092 w 101627"/>
                    <a:gd name="connsiteY207" fmla="*/ 660 h 154461"/>
                    <a:gd name="connsiteX208" fmla="*/ 50471 w 101627"/>
                    <a:gd name="connsiteY208" fmla="*/ 1312 h 154461"/>
                    <a:gd name="connsiteX209" fmla="*/ 50121 w 101627"/>
                    <a:gd name="connsiteY209" fmla="*/ 4466 h 154461"/>
                    <a:gd name="connsiteX210" fmla="*/ 50390 w 101627"/>
                    <a:gd name="connsiteY210" fmla="*/ 6014 h 154461"/>
                    <a:gd name="connsiteX211" fmla="*/ 50512 w 101627"/>
                    <a:gd name="connsiteY211" fmla="*/ 6764 h 154461"/>
                    <a:gd name="connsiteX212" fmla="*/ 51645 w 101627"/>
                    <a:gd name="connsiteY212" fmla="*/ 8084 h 154461"/>
                    <a:gd name="connsiteX213" fmla="*/ 53251 w 101627"/>
                    <a:gd name="connsiteY213" fmla="*/ 9046 h 154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Lst>
                  <a:rect l="l" t="t" r="r" b="b"/>
                  <a:pathLst>
                    <a:path w="101627" h="154461">
                      <a:moveTo>
                        <a:pt x="53251" y="9046"/>
                      </a:moveTo>
                      <a:lnTo>
                        <a:pt x="54481" y="9348"/>
                      </a:lnTo>
                      <a:lnTo>
                        <a:pt x="55932" y="9323"/>
                      </a:lnTo>
                      <a:lnTo>
                        <a:pt x="59909" y="7538"/>
                      </a:lnTo>
                      <a:lnTo>
                        <a:pt x="64579" y="6381"/>
                      </a:lnTo>
                      <a:lnTo>
                        <a:pt x="67146" y="5305"/>
                      </a:lnTo>
                      <a:lnTo>
                        <a:pt x="67619" y="4287"/>
                      </a:lnTo>
                      <a:lnTo>
                        <a:pt x="68792" y="3936"/>
                      </a:lnTo>
                      <a:lnTo>
                        <a:pt x="70658" y="4238"/>
                      </a:lnTo>
                      <a:lnTo>
                        <a:pt x="74097" y="6780"/>
                      </a:lnTo>
                      <a:lnTo>
                        <a:pt x="78115" y="10603"/>
                      </a:lnTo>
                      <a:lnTo>
                        <a:pt x="81294" y="13626"/>
                      </a:lnTo>
                      <a:lnTo>
                        <a:pt x="81392" y="18867"/>
                      </a:lnTo>
                      <a:lnTo>
                        <a:pt x="81449" y="24408"/>
                      </a:lnTo>
                      <a:lnTo>
                        <a:pt x="81514" y="30244"/>
                      </a:lnTo>
                      <a:lnTo>
                        <a:pt x="81555" y="34400"/>
                      </a:lnTo>
                      <a:lnTo>
                        <a:pt x="81636" y="40105"/>
                      </a:lnTo>
                      <a:lnTo>
                        <a:pt x="81701" y="44636"/>
                      </a:lnTo>
                      <a:lnTo>
                        <a:pt x="81791" y="50553"/>
                      </a:lnTo>
                      <a:lnTo>
                        <a:pt x="81832" y="53707"/>
                      </a:lnTo>
                      <a:lnTo>
                        <a:pt x="82272" y="54619"/>
                      </a:lnTo>
                      <a:lnTo>
                        <a:pt x="82011" y="55858"/>
                      </a:lnTo>
                      <a:lnTo>
                        <a:pt x="81889" y="56478"/>
                      </a:lnTo>
                      <a:lnTo>
                        <a:pt x="81921" y="56975"/>
                      </a:lnTo>
                      <a:lnTo>
                        <a:pt x="82092" y="57594"/>
                      </a:lnTo>
                      <a:lnTo>
                        <a:pt x="82068" y="58466"/>
                      </a:lnTo>
                      <a:lnTo>
                        <a:pt x="81652" y="59257"/>
                      </a:lnTo>
                      <a:lnTo>
                        <a:pt x="81457" y="60161"/>
                      </a:lnTo>
                      <a:lnTo>
                        <a:pt x="81400" y="61653"/>
                      </a:lnTo>
                      <a:lnTo>
                        <a:pt x="81840" y="62565"/>
                      </a:lnTo>
                      <a:lnTo>
                        <a:pt x="82565" y="63103"/>
                      </a:lnTo>
                      <a:lnTo>
                        <a:pt x="83176" y="63103"/>
                      </a:lnTo>
                      <a:lnTo>
                        <a:pt x="83967" y="63641"/>
                      </a:lnTo>
                      <a:lnTo>
                        <a:pt x="84985" y="64595"/>
                      </a:lnTo>
                      <a:lnTo>
                        <a:pt x="86526" y="65426"/>
                      </a:lnTo>
                      <a:lnTo>
                        <a:pt x="88131" y="65711"/>
                      </a:lnTo>
                      <a:lnTo>
                        <a:pt x="89231" y="65508"/>
                      </a:lnTo>
                      <a:lnTo>
                        <a:pt x="90576" y="66045"/>
                      </a:lnTo>
                      <a:lnTo>
                        <a:pt x="91041" y="67366"/>
                      </a:lnTo>
                      <a:lnTo>
                        <a:pt x="90780" y="68604"/>
                      </a:lnTo>
                      <a:lnTo>
                        <a:pt x="90022" y="69183"/>
                      </a:lnTo>
                      <a:lnTo>
                        <a:pt x="89207" y="69639"/>
                      </a:lnTo>
                      <a:lnTo>
                        <a:pt x="89060" y="70593"/>
                      </a:lnTo>
                      <a:lnTo>
                        <a:pt x="89468" y="71587"/>
                      </a:lnTo>
                      <a:lnTo>
                        <a:pt x="90055" y="72451"/>
                      </a:lnTo>
                      <a:lnTo>
                        <a:pt x="90690" y="73975"/>
                      </a:lnTo>
                      <a:lnTo>
                        <a:pt x="90430" y="75303"/>
                      </a:lnTo>
                      <a:lnTo>
                        <a:pt x="89851" y="76412"/>
                      </a:lnTo>
                      <a:lnTo>
                        <a:pt x="89590" y="77569"/>
                      </a:lnTo>
                      <a:lnTo>
                        <a:pt x="90087" y="78563"/>
                      </a:lnTo>
                      <a:lnTo>
                        <a:pt x="91399" y="79884"/>
                      </a:lnTo>
                      <a:lnTo>
                        <a:pt x="92214" y="81155"/>
                      </a:lnTo>
                      <a:lnTo>
                        <a:pt x="93494" y="81856"/>
                      </a:lnTo>
                      <a:lnTo>
                        <a:pt x="94105" y="81351"/>
                      </a:lnTo>
                      <a:lnTo>
                        <a:pt x="94602" y="80699"/>
                      </a:lnTo>
                      <a:lnTo>
                        <a:pt x="95124" y="80201"/>
                      </a:lnTo>
                      <a:lnTo>
                        <a:pt x="96028" y="80495"/>
                      </a:lnTo>
                      <a:lnTo>
                        <a:pt x="97072" y="80862"/>
                      </a:lnTo>
                      <a:lnTo>
                        <a:pt x="98213" y="81302"/>
                      </a:lnTo>
                      <a:lnTo>
                        <a:pt x="98074" y="82369"/>
                      </a:lnTo>
                      <a:lnTo>
                        <a:pt x="98767" y="84170"/>
                      </a:lnTo>
                      <a:lnTo>
                        <a:pt x="99305" y="87634"/>
                      </a:lnTo>
                      <a:lnTo>
                        <a:pt x="98473" y="89199"/>
                      </a:lnTo>
                      <a:lnTo>
                        <a:pt x="98653" y="91277"/>
                      </a:lnTo>
                      <a:lnTo>
                        <a:pt x="100951" y="91888"/>
                      </a:lnTo>
                      <a:lnTo>
                        <a:pt x="101513" y="92524"/>
                      </a:lnTo>
                      <a:lnTo>
                        <a:pt x="101627" y="93290"/>
                      </a:lnTo>
                      <a:lnTo>
                        <a:pt x="96558" y="98620"/>
                      </a:lnTo>
                      <a:lnTo>
                        <a:pt x="92271" y="97878"/>
                      </a:lnTo>
                      <a:lnTo>
                        <a:pt x="89949" y="99280"/>
                      </a:lnTo>
                      <a:lnTo>
                        <a:pt x="87512" y="99687"/>
                      </a:lnTo>
                      <a:lnTo>
                        <a:pt x="86444" y="102067"/>
                      </a:lnTo>
                      <a:lnTo>
                        <a:pt x="85108" y="102573"/>
                      </a:lnTo>
                      <a:lnTo>
                        <a:pt x="83274" y="102434"/>
                      </a:lnTo>
                      <a:lnTo>
                        <a:pt x="81701" y="101766"/>
                      </a:lnTo>
                      <a:lnTo>
                        <a:pt x="80495" y="102100"/>
                      </a:lnTo>
                      <a:lnTo>
                        <a:pt x="78808" y="106378"/>
                      </a:lnTo>
                      <a:lnTo>
                        <a:pt x="77422" y="106012"/>
                      </a:lnTo>
                      <a:lnTo>
                        <a:pt x="76877" y="107552"/>
                      </a:lnTo>
                      <a:lnTo>
                        <a:pt x="76151" y="108228"/>
                      </a:lnTo>
                      <a:lnTo>
                        <a:pt x="75100" y="108807"/>
                      </a:lnTo>
                      <a:lnTo>
                        <a:pt x="74179" y="106900"/>
                      </a:lnTo>
                      <a:lnTo>
                        <a:pt x="73576" y="105074"/>
                      </a:lnTo>
                      <a:lnTo>
                        <a:pt x="72712" y="104675"/>
                      </a:lnTo>
                      <a:lnTo>
                        <a:pt x="71571" y="104211"/>
                      </a:lnTo>
                      <a:lnTo>
                        <a:pt x="70389" y="104227"/>
                      </a:lnTo>
                      <a:lnTo>
                        <a:pt x="69607" y="104488"/>
                      </a:lnTo>
                      <a:lnTo>
                        <a:pt x="68629" y="105653"/>
                      </a:lnTo>
                      <a:lnTo>
                        <a:pt x="67211" y="106664"/>
                      </a:lnTo>
                      <a:lnTo>
                        <a:pt x="66143" y="105824"/>
                      </a:lnTo>
                      <a:lnTo>
                        <a:pt x="65304" y="104471"/>
                      </a:lnTo>
                      <a:lnTo>
                        <a:pt x="64587" y="106639"/>
                      </a:lnTo>
                      <a:lnTo>
                        <a:pt x="63552" y="108921"/>
                      </a:lnTo>
                      <a:lnTo>
                        <a:pt x="63723" y="111586"/>
                      </a:lnTo>
                      <a:lnTo>
                        <a:pt x="63275" y="113159"/>
                      </a:lnTo>
                      <a:lnTo>
                        <a:pt x="62288" y="112735"/>
                      </a:lnTo>
                      <a:lnTo>
                        <a:pt x="61302" y="111350"/>
                      </a:lnTo>
                      <a:lnTo>
                        <a:pt x="58548" y="110241"/>
                      </a:lnTo>
                      <a:lnTo>
                        <a:pt x="56347" y="110347"/>
                      </a:lnTo>
                      <a:lnTo>
                        <a:pt x="56796" y="108864"/>
                      </a:lnTo>
                      <a:lnTo>
                        <a:pt x="58874" y="106745"/>
                      </a:lnTo>
                      <a:lnTo>
                        <a:pt x="58230" y="106321"/>
                      </a:lnTo>
                      <a:lnTo>
                        <a:pt x="57211" y="106615"/>
                      </a:lnTo>
                      <a:lnTo>
                        <a:pt x="56763" y="106321"/>
                      </a:lnTo>
                      <a:lnTo>
                        <a:pt x="57497" y="104390"/>
                      </a:lnTo>
                      <a:lnTo>
                        <a:pt x="57562" y="102263"/>
                      </a:lnTo>
                      <a:lnTo>
                        <a:pt x="56633" y="103004"/>
                      </a:lnTo>
                      <a:lnTo>
                        <a:pt x="55459" y="105254"/>
                      </a:lnTo>
                      <a:lnTo>
                        <a:pt x="52623" y="107038"/>
                      </a:lnTo>
                      <a:lnTo>
                        <a:pt x="52753" y="110038"/>
                      </a:lnTo>
                      <a:lnTo>
                        <a:pt x="50088" y="116166"/>
                      </a:lnTo>
                      <a:lnTo>
                        <a:pt x="49966" y="118774"/>
                      </a:lnTo>
                      <a:lnTo>
                        <a:pt x="48263" y="120852"/>
                      </a:lnTo>
                      <a:lnTo>
                        <a:pt x="46054" y="122645"/>
                      </a:lnTo>
                      <a:lnTo>
                        <a:pt x="43112" y="122140"/>
                      </a:lnTo>
                      <a:lnTo>
                        <a:pt x="40871" y="123697"/>
                      </a:lnTo>
                      <a:lnTo>
                        <a:pt x="39730" y="125473"/>
                      </a:lnTo>
                      <a:lnTo>
                        <a:pt x="38744" y="125750"/>
                      </a:lnTo>
                      <a:lnTo>
                        <a:pt x="38222" y="123476"/>
                      </a:lnTo>
                      <a:lnTo>
                        <a:pt x="37856" y="122776"/>
                      </a:lnTo>
                      <a:lnTo>
                        <a:pt x="37032" y="126125"/>
                      </a:lnTo>
                      <a:lnTo>
                        <a:pt x="36185" y="126329"/>
                      </a:lnTo>
                      <a:lnTo>
                        <a:pt x="35867" y="123949"/>
                      </a:lnTo>
                      <a:lnTo>
                        <a:pt x="35460" y="122385"/>
                      </a:lnTo>
                      <a:lnTo>
                        <a:pt x="34311" y="123737"/>
                      </a:lnTo>
                      <a:lnTo>
                        <a:pt x="33552" y="127323"/>
                      </a:lnTo>
                      <a:lnTo>
                        <a:pt x="32754" y="127022"/>
                      </a:lnTo>
                      <a:lnTo>
                        <a:pt x="32493" y="125685"/>
                      </a:lnTo>
                      <a:lnTo>
                        <a:pt x="31923" y="125286"/>
                      </a:lnTo>
                      <a:lnTo>
                        <a:pt x="31727" y="126810"/>
                      </a:lnTo>
                      <a:lnTo>
                        <a:pt x="32012" y="128953"/>
                      </a:lnTo>
                      <a:lnTo>
                        <a:pt x="31597" y="130102"/>
                      </a:lnTo>
                      <a:lnTo>
                        <a:pt x="30806" y="129491"/>
                      </a:lnTo>
                      <a:lnTo>
                        <a:pt x="30007" y="128456"/>
                      </a:lnTo>
                      <a:lnTo>
                        <a:pt x="28687" y="129247"/>
                      </a:lnTo>
                      <a:lnTo>
                        <a:pt x="27481" y="129564"/>
                      </a:lnTo>
                      <a:lnTo>
                        <a:pt x="27481" y="128513"/>
                      </a:lnTo>
                      <a:lnTo>
                        <a:pt x="27709" y="127225"/>
                      </a:lnTo>
                      <a:lnTo>
                        <a:pt x="25305" y="127934"/>
                      </a:lnTo>
                      <a:lnTo>
                        <a:pt x="22420" y="130306"/>
                      </a:lnTo>
                      <a:lnTo>
                        <a:pt x="20179" y="133590"/>
                      </a:lnTo>
                      <a:lnTo>
                        <a:pt x="20961" y="134136"/>
                      </a:lnTo>
                      <a:lnTo>
                        <a:pt x="21833" y="135180"/>
                      </a:lnTo>
                      <a:lnTo>
                        <a:pt x="17938" y="140249"/>
                      </a:lnTo>
                      <a:lnTo>
                        <a:pt x="13952" y="144813"/>
                      </a:lnTo>
                      <a:lnTo>
                        <a:pt x="10929" y="152237"/>
                      </a:lnTo>
                      <a:lnTo>
                        <a:pt x="9715" y="153101"/>
                      </a:lnTo>
                      <a:lnTo>
                        <a:pt x="8679" y="154462"/>
                      </a:lnTo>
                      <a:lnTo>
                        <a:pt x="6699" y="151226"/>
                      </a:lnTo>
                      <a:lnTo>
                        <a:pt x="6292" y="148618"/>
                      </a:lnTo>
                      <a:lnTo>
                        <a:pt x="4050" y="145538"/>
                      </a:lnTo>
                      <a:lnTo>
                        <a:pt x="3162" y="143419"/>
                      </a:lnTo>
                      <a:lnTo>
                        <a:pt x="2869" y="141031"/>
                      </a:lnTo>
                      <a:lnTo>
                        <a:pt x="2999" y="138464"/>
                      </a:lnTo>
                      <a:lnTo>
                        <a:pt x="2812" y="134617"/>
                      </a:lnTo>
                      <a:lnTo>
                        <a:pt x="2624" y="130762"/>
                      </a:lnTo>
                      <a:lnTo>
                        <a:pt x="2437" y="126908"/>
                      </a:lnTo>
                      <a:lnTo>
                        <a:pt x="2249" y="123045"/>
                      </a:lnTo>
                      <a:lnTo>
                        <a:pt x="2062" y="119182"/>
                      </a:lnTo>
                      <a:lnTo>
                        <a:pt x="1866" y="115310"/>
                      </a:lnTo>
                      <a:lnTo>
                        <a:pt x="1679" y="111447"/>
                      </a:lnTo>
                      <a:lnTo>
                        <a:pt x="1492" y="107568"/>
                      </a:lnTo>
                      <a:lnTo>
                        <a:pt x="1304" y="103697"/>
                      </a:lnTo>
                      <a:lnTo>
                        <a:pt x="1117" y="99818"/>
                      </a:lnTo>
                      <a:lnTo>
                        <a:pt x="929" y="95939"/>
                      </a:lnTo>
                      <a:lnTo>
                        <a:pt x="742" y="92059"/>
                      </a:lnTo>
                      <a:lnTo>
                        <a:pt x="554" y="88172"/>
                      </a:lnTo>
                      <a:lnTo>
                        <a:pt x="367" y="84276"/>
                      </a:lnTo>
                      <a:lnTo>
                        <a:pt x="179" y="80381"/>
                      </a:lnTo>
                      <a:lnTo>
                        <a:pt x="0" y="76893"/>
                      </a:lnTo>
                      <a:lnTo>
                        <a:pt x="603" y="76363"/>
                      </a:lnTo>
                      <a:lnTo>
                        <a:pt x="2103" y="75369"/>
                      </a:lnTo>
                      <a:lnTo>
                        <a:pt x="3089" y="75515"/>
                      </a:lnTo>
                      <a:lnTo>
                        <a:pt x="3928" y="77007"/>
                      </a:lnTo>
                      <a:lnTo>
                        <a:pt x="4629" y="78001"/>
                      </a:lnTo>
                      <a:lnTo>
                        <a:pt x="5444" y="77708"/>
                      </a:lnTo>
                      <a:lnTo>
                        <a:pt x="6145" y="76306"/>
                      </a:lnTo>
                      <a:lnTo>
                        <a:pt x="6121" y="74350"/>
                      </a:lnTo>
                      <a:lnTo>
                        <a:pt x="7074" y="72997"/>
                      </a:lnTo>
                      <a:lnTo>
                        <a:pt x="8215" y="72785"/>
                      </a:lnTo>
                      <a:lnTo>
                        <a:pt x="9266" y="72826"/>
                      </a:lnTo>
                      <a:lnTo>
                        <a:pt x="9788" y="72158"/>
                      </a:lnTo>
                      <a:lnTo>
                        <a:pt x="9731" y="71212"/>
                      </a:lnTo>
                      <a:lnTo>
                        <a:pt x="9348" y="69680"/>
                      </a:lnTo>
                      <a:lnTo>
                        <a:pt x="9478" y="67830"/>
                      </a:lnTo>
                      <a:lnTo>
                        <a:pt x="12102" y="64570"/>
                      </a:lnTo>
                      <a:lnTo>
                        <a:pt x="15330" y="62353"/>
                      </a:lnTo>
                      <a:lnTo>
                        <a:pt x="16454" y="61253"/>
                      </a:lnTo>
                      <a:lnTo>
                        <a:pt x="16789" y="59004"/>
                      </a:lnTo>
                      <a:lnTo>
                        <a:pt x="18639" y="56673"/>
                      </a:lnTo>
                      <a:lnTo>
                        <a:pt x="19560" y="55320"/>
                      </a:lnTo>
                      <a:lnTo>
                        <a:pt x="19788" y="54147"/>
                      </a:lnTo>
                      <a:lnTo>
                        <a:pt x="19307" y="52712"/>
                      </a:lnTo>
                      <a:lnTo>
                        <a:pt x="19356" y="49974"/>
                      </a:lnTo>
                      <a:lnTo>
                        <a:pt x="19991" y="46698"/>
                      </a:lnTo>
                      <a:lnTo>
                        <a:pt x="20749" y="43128"/>
                      </a:lnTo>
                      <a:lnTo>
                        <a:pt x="22445" y="39909"/>
                      </a:lnTo>
                      <a:lnTo>
                        <a:pt x="25240" y="36389"/>
                      </a:lnTo>
                      <a:lnTo>
                        <a:pt x="25957" y="31768"/>
                      </a:lnTo>
                      <a:lnTo>
                        <a:pt x="26715" y="26878"/>
                      </a:lnTo>
                      <a:lnTo>
                        <a:pt x="30089" y="22126"/>
                      </a:lnTo>
                      <a:lnTo>
                        <a:pt x="33919" y="16715"/>
                      </a:lnTo>
                      <a:lnTo>
                        <a:pt x="36095" y="13626"/>
                      </a:lnTo>
                      <a:lnTo>
                        <a:pt x="40023" y="8019"/>
                      </a:lnTo>
                      <a:lnTo>
                        <a:pt x="42819" y="4026"/>
                      </a:lnTo>
                      <a:lnTo>
                        <a:pt x="44229" y="2184"/>
                      </a:lnTo>
                      <a:lnTo>
                        <a:pt x="45696" y="0"/>
                      </a:lnTo>
                      <a:lnTo>
                        <a:pt x="48092" y="660"/>
                      </a:lnTo>
                      <a:lnTo>
                        <a:pt x="50471" y="1312"/>
                      </a:lnTo>
                      <a:lnTo>
                        <a:pt x="50121" y="4466"/>
                      </a:lnTo>
                      <a:lnTo>
                        <a:pt x="50390" y="6014"/>
                      </a:lnTo>
                      <a:lnTo>
                        <a:pt x="50512" y="6764"/>
                      </a:lnTo>
                      <a:lnTo>
                        <a:pt x="51645" y="8084"/>
                      </a:lnTo>
                      <a:lnTo>
                        <a:pt x="53251" y="9046"/>
                      </a:lnTo>
                      <a:close/>
                    </a:path>
                  </a:pathLst>
                </a:custGeom>
                <a:solidFill>
                  <a:srgbClr val="D6D6D2"/>
                </a:solidFill>
                <a:ln w="6112" cap="rnd">
                  <a:solidFill>
                    <a:srgbClr val="FFFFFF"/>
                  </a:solidFill>
                  <a:prstDash val="solid"/>
                  <a:round/>
                </a:ln>
              </p:spPr>
              <p:txBody>
                <a:bodyPr rtlCol="0" anchor="ctr"/>
                <a:lstStyle/>
                <a:p>
                  <a:endParaRPr lang="en-US"/>
                </a:p>
              </p:txBody>
            </p:sp>
            <p:sp>
              <p:nvSpPr>
                <p:cNvPr id="453" name="Freeform: Shape 452">
                  <a:extLst>
                    <a:ext uri="{FF2B5EF4-FFF2-40B4-BE49-F238E27FC236}">
                      <a16:creationId xmlns:a16="http://schemas.microsoft.com/office/drawing/2014/main" id="{F8B541E6-2284-4856-9F5D-EE670C559C5C}"/>
                    </a:ext>
                  </a:extLst>
                </p:cNvPr>
                <p:cNvSpPr/>
                <p:nvPr/>
              </p:nvSpPr>
              <p:spPr>
                <a:xfrm>
                  <a:off x="3972122" y="3285159"/>
                  <a:ext cx="110396" cy="59582"/>
                </a:xfrm>
                <a:custGeom>
                  <a:avLst/>
                  <a:gdLst>
                    <a:gd name="connsiteX0" fmla="*/ 91880 w 110396"/>
                    <a:gd name="connsiteY0" fmla="*/ 57 h 59582"/>
                    <a:gd name="connsiteX1" fmla="*/ 92117 w 110396"/>
                    <a:gd name="connsiteY1" fmla="*/ 5411 h 59582"/>
                    <a:gd name="connsiteX2" fmla="*/ 92361 w 110396"/>
                    <a:gd name="connsiteY2" fmla="*/ 10766 h 59582"/>
                    <a:gd name="connsiteX3" fmla="*/ 92597 w 110396"/>
                    <a:gd name="connsiteY3" fmla="*/ 16120 h 59582"/>
                    <a:gd name="connsiteX4" fmla="*/ 92842 w 110396"/>
                    <a:gd name="connsiteY4" fmla="*/ 21466 h 59582"/>
                    <a:gd name="connsiteX5" fmla="*/ 93078 w 110396"/>
                    <a:gd name="connsiteY5" fmla="*/ 26804 h 59582"/>
                    <a:gd name="connsiteX6" fmla="*/ 93323 w 110396"/>
                    <a:gd name="connsiteY6" fmla="*/ 32134 h 59582"/>
                    <a:gd name="connsiteX7" fmla="*/ 93559 w 110396"/>
                    <a:gd name="connsiteY7" fmla="*/ 37464 h 59582"/>
                    <a:gd name="connsiteX8" fmla="*/ 93804 w 110396"/>
                    <a:gd name="connsiteY8" fmla="*/ 42786 h 59582"/>
                    <a:gd name="connsiteX9" fmla="*/ 93860 w 110396"/>
                    <a:gd name="connsiteY9" fmla="*/ 42786 h 59582"/>
                    <a:gd name="connsiteX10" fmla="*/ 93909 w 110396"/>
                    <a:gd name="connsiteY10" fmla="*/ 42786 h 59582"/>
                    <a:gd name="connsiteX11" fmla="*/ 93966 w 110396"/>
                    <a:gd name="connsiteY11" fmla="*/ 42786 h 59582"/>
                    <a:gd name="connsiteX12" fmla="*/ 94023 w 110396"/>
                    <a:gd name="connsiteY12" fmla="*/ 42786 h 59582"/>
                    <a:gd name="connsiteX13" fmla="*/ 94081 w 110396"/>
                    <a:gd name="connsiteY13" fmla="*/ 42786 h 59582"/>
                    <a:gd name="connsiteX14" fmla="*/ 94138 w 110396"/>
                    <a:gd name="connsiteY14" fmla="*/ 42786 h 59582"/>
                    <a:gd name="connsiteX15" fmla="*/ 94194 w 110396"/>
                    <a:gd name="connsiteY15" fmla="*/ 42786 h 59582"/>
                    <a:gd name="connsiteX16" fmla="*/ 94252 w 110396"/>
                    <a:gd name="connsiteY16" fmla="*/ 42786 h 59582"/>
                    <a:gd name="connsiteX17" fmla="*/ 96754 w 110396"/>
                    <a:gd name="connsiteY17" fmla="*/ 42786 h 59582"/>
                    <a:gd name="connsiteX18" fmla="*/ 102246 w 110396"/>
                    <a:gd name="connsiteY18" fmla="*/ 42786 h 59582"/>
                    <a:gd name="connsiteX19" fmla="*/ 107739 w 110396"/>
                    <a:gd name="connsiteY19" fmla="*/ 42786 h 59582"/>
                    <a:gd name="connsiteX20" fmla="*/ 110396 w 110396"/>
                    <a:gd name="connsiteY20" fmla="*/ 42762 h 59582"/>
                    <a:gd name="connsiteX21" fmla="*/ 110372 w 110396"/>
                    <a:gd name="connsiteY21" fmla="*/ 43748 h 59582"/>
                    <a:gd name="connsiteX22" fmla="*/ 110062 w 110396"/>
                    <a:gd name="connsiteY22" fmla="*/ 45198 h 59582"/>
                    <a:gd name="connsiteX23" fmla="*/ 109492 w 110396"/>
                    <a:gd name="connsiteY23" fmla="*/ 45777 h 59582"/>
                    <a:gd name="connsiteX24" fmla="*/ 109508 w 110396"/>
                    <a:gd name="connsiteY24" fmla="*/ 44294 h 59582"/>
                    <a:gd name="connsiteX25" fmla="*/ 109100 w 110396"/>
                    <a:gd name="connsiteY25" fmla="*/ 43780 h 59582"/>
                    <a:gd name="connsiteX26" fmla="*/ 108432 w 110396"/>
                    <a:gd name="connsiteY26" fmla="*/ 44416 h 59582"/>
                    <a:gd name="connsiteX27" fmla="*/ 108000 w 110396"/>
                    <a:gd name="connsiteY27" fmla="*/ 45158 h 59582"/>
                    <a:gd name="connsiteX28" fmla="*/ 107821 w 110396"/>
                    <a:gd name="connsiteY28" fmla="*/ 48051 h 59582"/>
                    <a:gd name="connsiteX29" fmla="*/ 107356 w 110396"/>
                    <a:gd name="connsiteY29" fmla="*/ 49493 h 59582"/>
                    <a:gd name="connsiteX30" fmla="*/ 105735 w 110396"/>
                    <a:gd name="connsiteY30" fmla="*/ 49925 h 59582"/>
                    <a:gd name="connsiteX31" fmla="*/ 104096 w 110396"/>
                    <a:gd name="connsiteY31" fmla="*/ 53715 h 59582"/>
                    <a:gd name="connsiteX32" fmla="*/ 102564 w 110396"/>
                    <a:gd name="connsiteY32" fmla="*/ 55866 h 59582"/>
                    <a:gd name="connsiteX33" fmla="*/ 102010 w 110396"/>
                    <a:gd name="connsiteY33" fmla="*/ 57211 h 59582"/>
                    <a:gd name="connsiteX34" fmla="*/ 99696 w 110396"/>
                    <a:gd name="connsiteY34" fmla="*/ 57545 h 59582"/>
                    <a:gd name="connsiteX35" fmla="*/ 95963 w 110396"/>
                    <a:gd name="connsiteY35" fmla="*/ 58067 h 59582"/>
                    <a:gd name="connsiteX36" fmla="*/ 94985 w 110396"/>
                    <a:gd name="connsiteY36" fmla="*/ 59583 h 59582"/>
                    <a:gd name="connsiteX37" fmla="*/ 93111 w 110396"/>
                    <a:gd name="connsiteY37" fmla="*/ 58923 h 59582"/>
                    <a:gd name="connsiteX38" fmla="*/ 90234 w 110396"/>
                    <a:gd name="connsiteY38" fmla="*/ 58996 h 59582"/>
                    <a:gd name="connsiteX39" fmla="*/ 90780 w 110396"/>
                    <a:gd name="connsiteY39" fmla="*/ 56942 h 59582"/>
                    <a:gd name="connsiteX40" fmla="*/ 91619 w 110396"/>
                    <a:gd name="connsiteY40" fmla="*/ 55141 h 59582"/>
                    <a:gd name="connsiteX41" fmla="*/ 90120 w 110396"/>
                    <a:gd name="connsiteY41" fmla="*/ 53340 h 59582"/>
                    <a:gd name="connsiteX42" fmla="*/ 89231 w 110396"/>
                    <a:gd name="connsiteY42" fmla="*/ 53112 h 59582"/>
                    <a:gd name="connsiteX43" fmla="*/ 88327 w 110396"/>
                    <a:gd name="connsiteY43" fmla="*/ 52378 h 59582"/>
                    <a:gd name="connsiteX44" fmla="*/ 89394 w 110396"/>
                    <a:gd name="connsiteY44" fmla="*/ 50871 h 59582"/>
                    <a:gd name="connsiteX45" fmla="*/ 89916 w 110396"/>
                    <a:gd name="connsiteY45" fmla="*/ 49289 h 59582"/>
                    <a:gd name="connsiteX46" fmla="*/ 89598 w 110396"/>
                    <a:gd name="connsiteY46" fmla="*/ 47358 h 59582"/>
                    <a:gd name="connsiteX47" fmla="*/ 90046 w 110396"/>
                    <a:gd name="connsiteY47" fmla="*/ 45907 h 59582"/>
                    <a:gd name="connsiteX48" fmla="*/ 89297 w 110396"/>
                    <a:gd name="connsiteY48" fmla="*/ 46136 h 59582"/>
                    <a:gd name="connsiteX49" fmla="*/ 88090 w 110396"/>
                    <a:gd name="connsiteY49" fmla="*/ 47668 h 59582"/>
                    <a:gd name="connsiteX50" fmla="*/ 87341 w 110396"/>
                    <a:gd name="connsiteY50" fmla="*/ 48279 h 59582"/>
                    <a:gd name="connsiteX51" fmla="*/ 86892 w 110396"/>
                    <a:gd name="connsiteY51" fmla="*/ 46918 h 59582"/>
                    <a:gd name="connsiteX52" fmla="*/ 86371 w 110396"/>
                    <a:gd name="connsiteY52" fmla="*/ 47228 h 59582"/>
                    <a:gd name="connsiteX53" fmla="*/ 86029 w 110396"/>
                    <a:gd name="connsiteY53" fmla="*/ 48165 h 59582"/>
                    <a:gd name="connsiteX54" fmla="*/ 85263 w 110396"/>
                    <a:gd name="connsiteY54" fmla="*/ 48678 h 59582"/>
                    <a:gd name="connsiteX55" fmla="*/ 83641 w 110396"/>
                    <a:gd name="connsiteY55" fmla="*/ 47399 h 59582"/>
                    <a:gd name="connsiteX56" fmla="*/ 81277 w 110396"/>
                    <a:gd name="connsiteY56" fmla="*/ 45932 h 59582"/>
                    <a:gd name="connsiteX57" fmla="*/ 79965 w 110396"/>
                    <a:gd name="connsiteY57" fmla="*/ 43405 h 59582"/>
                    <a:gd name="connsiteX58" fmla="*/ 79215 w 110396"/>
                    <a:gd name="connsiteY58" fmla="*/ 41450 h 59582"/>
                    <a:gd name="connsiteX59" fmla="*/ 79973 w 110396"/>
                    <a:gd name="connsiteY59" fmla="*/ 37912 h 59582"/>
                    <a:gd name="connsiteX60" fmla="*/ 81611 w 110396"/>
                    <a:gd name="connsiteY60" fmla="*/ 37285 h 59582"/>
                    <a:gd name="connsiteX61" fmla="*/ 83730 w 110396"/>
                    <a:gd name="connsiteY61" fmla="*/ 37855 h 59582"/>
                    <a:gd name="connsiteX62" fmla="*/ 86509 w 110396"/>
                    <a:gd name="connsiteY62" fmla="*/ 37855 h 59582"/>
                    <a:gd name="connsiteX63" fmla="*/ 86110 w 110396"/>
                    <a:gd name="connsiteY63" fmla="*/ 37065 h 59582"/>
                    <a:gd name="connsiteX64" fmla="*/ 85116 w 110396"/>
                    <a:gd name="connsiteY64" fmla="*/ 37195 h 59582"/>
                    <a:gd name="connsiteX65" fmla="*/ 82190 w 110396"/>
                    <a:gd name="connsiteY65" fmla="*/ 34319 h 59582"/>
                    <a:gd name="connsiteX66" fmla="*/ 81245 w 110396"/>
                    <a:gd name="connsiteY66" fmla="*/ 32583 h 59582"/>
                    <a:gd name="connsiteX67" fmla="*/ 79623 w 110396"/>
                    <a:gd name="connsiteY67" fmla="*/ 32102 h 59582"/>
                    <a:gd name="connsiteX68" fmla="*/ 78881 w 110396"/>
                    <a:gd name="connsiteY68" fmla="*/ 33772 h 59582"/>
                    <a:gd name="connsiteX69" fmla="*/ 78058 w 110396"/>
                    <a:gd name="connsiteY69" fmla="*/ 34221 h 59582"/>
                    <a:gd name="connsiteX70" fmla="*/ 79077 w 110396"/>
                    <a:gd name="connsiteY70" fmla="*/ 30561 h 59582"/>
                    <a:gd name="connsiteX71" fmla="*/ 80397 w 110396"/>
                    <a:gd name="connsiteY71" fmla="*/ 30415 h 59582"/>
                    <a:gd name="connsiteX72" fmla="*/ 82353 w 110396"/>
                    <a:gd name="connsiteY72" fmla="*/ 29396 h 59582"/>
                    <a:gd name="connsiteX73" fmla="*/ 81783 w 110396"/>
                    <a:gd name="connsiteY73" fmla="*/ 27277 h 59582"/>
                    <a:gd name="connsiteX74" fmla="*/ 80552 w 110396"/>
                    <a:gd name="connsiteY74" fmla="*/ 26348 h 59582"/>
                    <a:gd name="connsiteX75" fmla="*/ 78327 w 110396"/>
                    <a:gd name="connsiteY75" fmla="*/ 27513 h 59582"/>
                    <a:gd name="connsiteX76" fmla="*/ 78351 w 110396"/>
                    <a:gd name="connsiteY76" fmla="*/ 26022 h 59582"/>
                    <a:gd name="connsiteX77" fmla="*/ 78767 w 110396"/>
                    <a:gd name="connsiteY77" fmla="*/ 24123 h 59582"/>
                    <a:gd name="connsiteX78" fmla="*/ 80446 w 110396"/>
                    <a:gd name="connsiteY78" fmla="*/ 24123 h 59582"/>
                    <a:gd name="connsiteX79" fmla="*/ 81913 w 110396"/>
                    <a:gd name="connsiteY79" fmla="*/ 24743 h 59582"/>
                    <a:gd name="connsiteX80" fmla="*/ 83168 w 110396"/>
                    <a:gd name="connsiteY80" fmla="*/ 21662 h 59582"/>
                    <a:gd name="connsiteX81" fmla="*/ 83225 w 110396"/>
                    <a:gd name="connsiteY81" fmla="*/ 20285 h 59582"/>
                    <a:gd name="connsiteX82" fmla="*/ 81147 w 110396"/>
                    <a:gd name="connsiteY82" fmla="*/ 22290 h 59582"/>
                    <a:gd name="connsiteX83" fmla="*/ 80682 w 110396"/>
                    <a:gd name="connsiteY83" fmla="*/ 17978 h 59582"/>
                    <a:gd name="connsiteX84" fmla="*/ 82728 w 110396"/>
                    <a:gd name="connsiteY84" fmla="*/ 13806 h 59582"/>
                    <a:gd name="connsiteX85" fmla="*/ 84684 w 110396"/>
                    <a:gd name="connsiteY85" fmla="*/ 11988 h 59582"/>
                    <a:gd name="connsiteX86" fmla="*/ 87121 w 110396"/>
                    <a:gd name="connsiteY86" fmla="*/ 12037 h 59582"/>
                    <a:gd name="connsiteX87" fmla="*/ 89606 w 110396"/>
                    <a:gd name="connsiteY87" fmla="*/ 11744 h 59582"/>
                    <a:gd name="connsiteX88" fmla="*/ 88058 w 110396"/>
                    <a:gd name="connsiteY88" fmla="*/ 10986 h 59582"/>
                    <a:gd name="connsiteX89" fmla="*/ 86461 w 110396"/>
                    <a:gd name="connsiteY89" fmla="*/ 10570 h 59582"/>
                    <a:gd name="connsiteX90" fmla="*/ 87658 w 110396"/>
                    <a:gd name="connsiteY90" fmla="*/ 8924 h 59582"/>
                    <a:gd name="connsiteX91" fmla="*/ 88685 w 110396"/>
                    <a:gd name="connsiteY91" fmla="*/ 8622 h 59582"/>
                    <a:gd name="connsiteX92" fmla="*/ 89688 w 110396"/>
                    <a:gd name="connsiteY92" fmla="*/ 7180 h 59582"/>
                    <a:gd name="connsiteX93" fmla="*/ 87267 w 110396"/>
                    <a:gd name="connsiteY93" fmla="*/ 7392 h 59582"/>
                    <a:gd name="connsiteX94" fmla="*/ 87552 w 110396"/>
                    <a:gd name="connsiteY94" fmla="*/ 4678 h 59582"/>
                    <a:gd name="connsiteX95" fmla="*/ 86371 w 110396"/>
                    <a:gd name="connsiteY95" fmla="*/ 5232 h 59582"/>
                    <a:gd name="connsiteX96" fmla="*/ 84969 w 110396"/>
                    <a:gd name="connsiteY96" fmla="*/ 5485 h 59582"/>
                    <a:gd name="connsiteX97" fmla="*/ 84423 w 110396"/>
                    <a:gd name="connsiteY97" fmla="*/ 6642 h 59582"/>
                    <a:gd name="connsiteX98" fmla="*/ 84529 w 110396"/>
                    <a:gd name="connsiteY98" fmla="*/ 8549 h 59582"/>
                    <a:gd name="connsiteX99" fmla="*/ 84121 w 110396"/>
                    <a:gd name="connsiteY99" fmla="*/ 9812 h 59582"/>
                    <a:gd name="connsiteX100" fmla="*/ 83029 w 110396"/>
                    <a:gd name="connsiteY100" fmla="*/ 10823 h 59582"/>
                    <a:gd name="connsiteX101" fmla="*/ 81179 w 110396"/>
                    <a:gd name="connsiteY101" fmla="*/ 11605 h 59582"/>
                    <a:gd name="connsiteX102" fmla="*/ 81000 w 110396"/>
                    <a:gd name="connsiteY102" fmla="*/ 10244 h 59582"/>
                    <a:gd name="connsiteX103" fmla="*/ 80389 w 110396"/>
                    <a:gd name="connsiteY103" fmla="*/ 9633 h 59582"/>
                    <a:gd name="connsiteX104" fmla="*/ 80161 w 110396"/>
                    <a:gd name="connsiteY104" fmla="*/ 12542 h 59582"/>
                    <a:gd name="connsiteX105" fmla="*/ 79672 w 110396"/>
                    <a:gd name="connsiteY105" fmla="*/ 13545 h 59582"/>
                    <a:gd name="connsiteX106" fmla="*/ 78319 w 110396"/>
                    <a:gd name="connsiteY106" fmla="*/ 10798 h 59582"/>
                    <a:gd name="connsiteX107" fmla="*/ 77911 w 110396"/>
                    <a:gd name="connsiteY107" fmla="*/ 11352 h 59582"/>
                    <a:gd name="connsiteX108" fmla="*/ 77960 w 110396"/>
                    <a:gd name="connsiteY108" fmla="*/ 12127 h 59582"/>
                    <a:gd name="connsiteX109" fmla="*/ 77618 w 110396"/>
                    <a:gd name="connsiteY109" fmla="*/ 13472 h 59582"/>
                    <a:gd name="connsiteX110" fmla="*/ 76452 w 110396"/>
                    <a:gd name="connsiteY110" fmla="*/ 14172 h 59582"/>
                    <a:gd name="connsiteX111" fmla="*/ 76526 w 110396"/>
                    <a:gd name="connsiteY111" fmla="*/ 15892 h 59582"/>
                    <a:gd name="connsiteX112" fmla="*/ 76069 w 110396"/>
                    <a:gd name="connsiteY112" fmla="*/ 16837 h 59582"/>
                    <a:gd name="connsiteX113" fmla="*/ 72361 w 110396"/>
                    <a:gd name="connsiteY113" fmla="*/ 15338 h 59582"/>
                    <a:gd name="connsiteX114" fmla="*/ 72272 w 110396"/>
                    <a:gd name="connsiteY114" fmla="*/ 15843 h 59582"/>
                    <a:gd name="connsiteX115" fmla="*/ 74366 w 110396"/>
                    <a:gd name="connsiteY115" fmla="*/ 19070 h 59582"/>
                    <a:gd name="connsiteX116" fmla="*/ 75898 w 110396"/>
                    <a:gd name="connsiteY116" fmla="*/ 20171 h 59582"/>
                    <a:gd name="connsiteX117" fmla="*/ 76086 w 110396"/>
                    <a:gd name="connsiteY117" fmla="*/ 21931 h 59582"/>
                    <a:gd name="connsiteX118" fmla="*/ 74765 w 110396"/>
                    <a:gd name="connsiteY118" fmla="*/ 23390 h 59582"/>
                    <a:gd name="connsiteX119" fmla="*/ 72948 w 110396"/>
                    <a:gd name="connsiteY119" fmla="*/ 22126 h 59582"/>
                    <a:gd name="connsiteX120" fmla="*/ 72647 w 110396"/>
                    <a:gd name="connsiteY120" fmla="*/ 22216 h 59582"/>
                    <a:gd name="connsiteX121" fmla="*/ 73633 w 110396"/>
                    <a:gd name="connsiteY121" fmla="*/ 24376 h 59582"/>
                    <a:gd name="connsiteX122" fmla="*/ 74252 w 110396"/>
                    <a:gd name="connsiteY122" fmla="*/ 26267 h 59582"/>
                    <a:gd name="connsiteX123" fmla="*/ 73616 w 110396"/>
                    <a:gd name="connsiteY123" fmla="*/ 27848 h 59582"/>
                    <a:gd name="connsiteX124" fmla="*/ 73714 w 110396"/>
                    <a:gd name="connsiteY124" fmla="*/ 29787 h 59582"/>
                    <a:gd name="connsiteX125" fmla="*/ 73568 w 110396"/>
                    <a:gd name="connsiteY125" fmla="*/ 31539 h 59582"/>
                    <a:gd name="connsiteX126" fmla="*/ 73184 w 110396"/>
                    <a:gd name="connsiteY126" fmla="*/ 33072 h 59582"/>
                    <a:gd name="connsiteX127" fmla="*/ 74065 w 110396"/>
                    <a:gd name="connsiteY127" fmla="*/ 40154 h 59582"/>
                    <a:gd name="connsiteX128" fmla="*/ 75124 w 110396"/>
                    <a:gd name="connsiteY128" fmla="*/ 42069 h 59582"/>
                    <a:gd name="connsiteX129" fmla="*/ 76167 w 110396"/>
                    <a:gd name="connsiteY129" fmla="*/ 43911 h 59582"/>
                    <a:gd name="connsiteX130" fmla="*/ 76722 w 110396"/>
                    <a:gd name="connsiteY130" fmla="*/ 45622 h 59582"/>
                    <a:gd name="connsiteX131" fmla="*/ 75613 w 110396"/>
                    <a:gd name="connsiteY131" fmla="*/ 45875 h 59582"/>
                    <a:gd name="connsiteX132" fmla="*/ 73845 w 110396"/>
                    <a:gd name="connsiteY132" fmla="*/ 44465 h 59582"/>
                    <a:gd name="connsiteX133" fmla="*/ 72296 w 110396"/>
                    <a:gd name="connsiteY133" fmla="*/ 43381 h 59582"/>
                    <a:gd name="connsiteX134" fmla="*/ 70446 w 110396"/>
                    <a:gd name="connsiteY134" fmla="*/ 39934 h 59582"/>
                    <a:gd name="connsiteX135" fmla="*/ 70137 w 110396"/>
                    <a:gd name="connsiteY135" fmla="*/ 38556 h 59582"/>
                    <a:gd name="connsiteX136" fmla="*/ 69688 w 110396"/>
                    <a:gd name="connsiteY136" fmla="*/ 37464 h 59582"/>
                    <a:gd name="connsiteX137" fmla="*/ 69908 w 110396"/>
                    <a:gd name="connsiteY137" fmla="*/ 39966 h 59582"/>
                    <a:gd name="connsiteX138" fmla="*/ 70560 w 110396"/>
                    <a:gd name="connsiteY138" fmla="*/ 42762 h 59582"/>
                    <a:gd name="connsiteX139" fmla="*/ 76347 w 110396"/>
                    <a:gd name="connsiteY139" fmla="*/ 49012 h 59582"/>
                    <a:gd name="connsiteX140" fmla="*/ 77414 w 110396"/>
                    <a:gd name="connsiteY140" fmla="*/ 51409 h 59582"/>
                    <a:gd name="connsiteX141" fmla="*/ 78229 w 110396"/>
                    <a:gd name="connsiteY141" fmla="*/ 53283 h 59582"/>
                    <a:gd name="connsiteX142" fmla="*/ 78026 w 110396"/>
                    <a:gd name="connsiteY142" fmla="*/ 55084 h 59582"/>
                    <a:gd name="connsiteX143" fmla="*/ 76518 w 110396"/>
                    <a:gd name="connsiteY143" fmla="*/ 53813 h 59582"/>
                    <a:gd name="connsiteX144" fmla="*/ 75214 w 110396"/>
                    <a:gd name="connsiteY144" fmla="*/ 52191 h 59582"/>
                    <a:gd name="connsiteX145" fmla="*/ 71767 w 110396"/>
                    <a:gd name="connsiteY145" fmla="*/ 50349 h 59582"/>
                    <a:gd name="connsiteX146" fmla="*/ 67415 w 110396"/>
                    <a:gd name="connsiteY146" fmla="*/ 49184 h 59582"/>
                    <a:gd name="connsiteX147" fmla="*/ 64962 w 110396"/>
                    <a:gd name="connsiteY147" fmla="*/ 44913 h 59582"/>
                    <a:gd name="connsiteX148" fmla="*/ 64970 w 110396"/>
                    <a:gd name="connsiteY148" fmla="*/ 46698 h 59582"/>
                    <a:gd name="connsiteX149" fmla="*/ 64424 w 110396"/>
                    <a:gd name="connsiteY149" fmla="*/ 48214 h 59582"/>
                    <a:gd name="connsiteX150" fmla="*/ 62924 w 110396"/>
                    <a:gd name="connsiteY150" fmla="*/ 46372 h 59582"/>
                    <a:gd name="connsiteX151" fmla="*/ 61979 w 110396"/>
                    <a:gd name="connsiteY151" fmla="*/ 44799 h 59582"/>
                    <a:gd name="connsiteX152" fmla="*/ 61653 w 110396"/>
                    <a:gd name="connsiteY152" fmla="*/ 43071 h 59582"/>
                    <a:gd name="connsiteX153" fmla="*/ 59786 w 110396"/>
                    <a:gd name="connsiteY153" fmla="*/ 43193 h 59582"/>
                    <a:gd name="connsiteX154" fmla="*/ 57822 w 110396"/>
                    <a:gd name="connsiteY154" fmla="*/ 44693 h 59582"/>
                    <a:gd name="connsiteX155" fmla="*/ 55923 w 110396"/>
                    <a:gd name="connsiteY155" fmla="*/ 44334 h 59582"/>
                    <a:gd name="connsiteX156" fmla="*/ 55703 w 110396"/>
                    <a:gd name="connsiteY156" fmla="*/ 41409 h 59582"/>
                    <a:gd name="connsiteX157" fmla="*/ 56209 w 110396"/>
                    <a:gd name="connsiteY157" fmla="*/ 39860 h 59582"/>
                    <a:gd name="connsiteX158" fmla="*/ 58344 w 110396"/>
                    <a:gd name="connsiteY158" fmla="*/ 36185 h 59582"/>
                    <a:gd name="connsiteX159" fmla="*/ 60357 w 110396"/>
                    <a:gd name="connsiteY159" fmla="*/ 34319 h 59582"/>
                    <a:gd name="connsiteX160" fmla="*/ 61245 w 110396"/>
                    <a:gd name="connsiteY160" fmla="*/ 31898 h 59582"/>
                    <a:gd name="connsiteX161" fmla="*/ 60944 w 110396"/>
                    <a:gd name="connsiteY161" fmla="*/ 28141 h 59582"/>
                    <a:gd name="connsiteX162" fmla="*/ 61213 w 110396"/>
                    <a:gd name="connsiteY162" fmla="*/ 30928 h 59582"/>
                    <a:gd name="connsiteX163" fmla="*/ 63405 w 110396"/>
                    <a:gd name="connsiteY163" fmla="*/ 28174 h 59582"/>
                    <a:gd name="connsiteX164" fmla="*/ 61979 w 110396"/>
                    <a:gd name="connsiteY164" fmla="*/ 26022 h 59582"/>
                    <a:gd name="connsiteX165" fmla="*/ 60658 w 110396"/>
                    <a:gd name="connsiteY165" fmla="*/ 24009 h 59582"/>
                    <a:gd name="connsiteX166" fmla="*/ 58670 w 110396"/>
                    <a:gd name="connsiteY166" fmla="*/ 26307 h 59582"/>
                    <a:gd name="connsiteX167" fmla="*/ 56975 w 110396"/>
                    <a:gd name="connsiteY167" fmla="*/ 25452 h 59582"/>
                    <a:gd name="connsiteX168" fmla="*/ 54228 w 110396"/>
                    <a:gd name="connsiteY168" fmla="*/ 22615 h 59582"/>
                    <a:gd name="connsiteX169" fmla="*/ 49770 w 110396"/>
                    <a:gd name="connsiteY169" fmla="*/ 20603 h 59582"/>
                    <a:gd name="connsiteX170" fmla="*/ 49143 w 110396"/>
                    <a:gd name="connsiteY170" fmla="*/ 19600 h 59582"/>
                    <a:gd name="connsiteX171" fmla="*/ 49224 w 110396"/>
                    <a:gd name="connsiteY171" fmla="*/ 18500 h 59582"/>
                    <a:gd name="connsiteX172" fmla="*/ 49827 w 110396"/>
                    <a:gd name="connsiteY172" fmla="*/ 16960 h 59582"/>
                    <a:gd name="connsiteX173" fmla="*/ 48450 w 110396"/>
                    <a:gd name="connsiteY173" fmla="*/ 15444 h 59582"/>
                    <a:gd name="connsiteX174" fmla="*/ 45117 w 110396"/>
                    <a:gd name="connsiteY174" fmla="*/ 13960 h 59582"/>
                    <a:gd name="connsiteX175" fmla="*/ 43682 w 110396"/>
                    <a:gd name="connsiteY175" fmla="*/ 12714 h 59582"/>
                    <a:gd name="connsiteX176" fmla="*/ 43373 w 110396"/>
                    <a:gd name="connsiteY176" fmla="*/ 12445 h 59582"/>
                    <a:gd name="connsiteX177" fmla="*/ 43226 w 110396"/>
                    <a:gd name="connsiteY177" fmla="*/ 10896 h 59582"/>
                    <a:gd name="connsiteX178" fmla="*/ 42794 w 110396"/>
                    <a:gd name="connsiteY178" fmla="*/ 9910 h 59582"/>
                    <a:gd name="connsiteX179" fmla="*/ 42069 w 110396"/>
                    <a:gd name="connsiteY179" fmla="*/ 9486 h 59582"/>
                    <a:gd name="connsiteX180" fmla="*/ 41922 w 110396"/>
                    <a:gd name="connsiteY180" fmla="*/ 8818 h 59582"/>
                    <a:gd name="connsiteX181" fmla="*/ 42371 w 110396"/>
                    <a:gd name="connsiteY181" fmla="*/ 7913 h 59582"/>
                    <a:gd name="connsiteX182" fmla="*/ 41906 w 110396"/>
                    <a:gd name="connsiteY182" fmla="*/ 6935 h 59582"/>
                    <a:gd name="connsiteX183" fmla="*/ 40545 w 110396"/>
                    <a:gd name="connsiteY183" fmla="*/ 5884 h 59582"/>
                    <a:gd name="connsiteX184" fmla="*/ 40072 w 110396"/>
                    <a:gd name="connsiteY184" fmla="*/ 4963 h 59582"/>
                    <a:gd name="connsiteX185" fmla="*/ 40488 w 110396"/>
                    <a:gd name="connsiteY185" fmla="*/ 4148 h 59582"/>
                    <a:gd name="connsiteX186" fmla="*/ 39795 w 110396"/>
                    <a:gd name="connsiteY186" fmla="*/ 3773 h 59582"/>
                    <a:gd name="connsiteX187" fmla="*/ 38002 w 110396"/>
                    <a:gd name="connsiteY187" fmla="*/ 3838 h 59582"/>
                    <a:gd name="connsiteX188" fmla="*/ 36226 w 110396"/>
                    <a:gd name="connsiteY188" fmla="*/ 3081 h 59582"/>
                    <a:gd name="connsiteX189" fmla="*/ 34481 w 110396"/>
                    <a:gd name="connsiteY189" fmla="*/ 1508 h 59582"/>
                    <a:gd name="connsiteX190" fmla="*/ 32411 w 110396"/>
                    <a:gd name="connsiteY190" fmla="*/ 1239 h 59582"/>
                    <a:gd name="connsiteX191" fmla="*/ 28842 w 110396"/>
                    <a:gd name="connsiteY191" fmla="*/ 2812 h 59582"/>
                    <a:gd name="connsiteX192" fmla="*/ 26821 w 110396"/>
                    <a:gd name="connsiteY192" fmla="*/ 3195 h 59582"/>
                    <a:gd name="connsiteX193" fmla="*/ 25933 w 110396"/>
                    <a:gd name="connsiteY193" fmla="*/ 4083 h 59582"/>
                    <a:gd name="connsiteX194" fmla="*/ 25492 w 110396"/>
                    <a:gd name="connsiteY194" fmla="*/ 5615 h 59582"/>
                    <a:gd name="connsiteX195" fmla="*/ 24620 w 110396"/>
                    <a:gd name="connsiteY195" fmla="*/ 6389 h 59582"/>
                    <a:gd name="connsiteX196" fmla="*/ 22648 w 110396"/>
                    <a:gd name="connsiteY196" fmla="*/ 6406 h 59582"/>
                    <a:gd name="connsiteX197" fmla="*/ 22338 w 110396"/>
                    <a:gd name="connsiteY197" fmla="*/ 6349 h 59582"/>
                    <a:gd name="connsiteX198" fmla="*/ 20097 w 110396"/>
                    <a:gd name="connsiteY198" fmla="*/ 5835 h 59582"/>
                    <a:gd name="connsiteX199" fmla="*/ 18516 w 110396"/>
                    <a:gd name="connsiteY199" fmla="*/ 4882 h 59582"/>
                    <a:gd name="connsiteX200" fmla="*/ 18223 w 110396"/>
                    <a:gd name="connsiteY200" fmla="*/ 4482 h 59582"/>
                    <a:gd name="connsiteX201" fmla="*/ 18394 w 110396"/>
                    <a:gd name="connsiteY201" fmla="*/ 3667 h 59582"/>
                    <a:gd name="connsiteX202" fmla="*/ 18101 w 110396"/>
                    <a:gd name="connsiteY202" fmla="*/ 3292 h 59582"/>
                    <a:gd name="connsiteX203" fmla="*/ 17611 w 110396"/>
                    <a:gd name="connsiteY203" fmla="*/ 3235 h 59582"/>
                    <a:gd name="connsiteX204" fmla="*/ 17163 w 110396"/>
                    <a:gd name="connsiteY204" fmla="*/ 3708 h 59582"/>
                    <a:gd name="connsiteX205" fmla="*/ 16699 w 110396"/>
                    <a:gd name="connsiteY205" fmla="*/ 5151 h 59582"/>
                    <a:gd name="connsiteX206" fmla="*/ 12811 w 110396"/>
                    <a:gd name="connsiteY206" fmla="*/ 9087 h 59582"/>
                    <a:gd name="connsiteX207" fmla="*/ 10945 w 110396"/>
                    <a:gd name="connsiteY207" fmla="*/ 8305 h 59582"/>
                    <a:gd name="connsiteX208" fmla="*/ 10244 w 110396"/>
                    <a:gd name="connsiteY208" fmla="*/ 8337 h 59582"/>
                    <a:gd name="connsiteX209" fmla="*/ 4824 w 110396"/>
                    <a:gd name="connsiteY209" fmla="*/ 13887 h 59582"/>
                    <a:gd name="connsiteX210" fmla="*/ 3178 w 110396"/>
                    <a:gd name="connsiteY210" fmla="*/ 14775 h 59582"/>
                    <a:gd name="connsiteX211" fmla="*/ 0 w 110396"/>
                    <a:gd name="connsiteY211" fmla="*/ 17294 h 59582"/>
                    <a:gd name="connsiteX212" fmla="*/ 65 w 110396"/>
                    <a:gd name="connsiteY212" fmla="*/ 12974 h 59582"/>
                    <a:gd name="connsiteX213" fmla="*/ 130 w 110396"/>
                    <a:gd name="connsiteY213" fmla="*/ 8655 h 59582"/>
                    <a:gd name="connsiteX214" fmla="*/ 195 w 110396"/>
                    <a:gd name="connsiteY214" fmla="*/ 4327 h 59582"/>
                    <a:gd name="connsiteX215" fmla="*/ 261 w 110396"/>
                    <a:gd name="connsiteY215" fmla="*/ 0 h 59582"/>
                    <a:gd name="connsiteX216" fmla="*/ 5990 w 110396"/>
                    <a:gd name="connsiteY216" fmla="*/ 0 h 59582"/>
                    <a:gd name="connsiteX217" fmla="*/ 11719 w 110396"/>
                    <a:gd name="connsiteY217" fmla="*/ 0 h 59582"/>
                    <a:gd name="connsiteX218" fmla="*/ 17449 w 110396"/>
                    <a:gd name="connsiteY218" fmla="*/ 0 h 59582"/>
                    <a:gd name="connsiteX219" fmla="*/ 23170 w 110396"/>
                    <a:gd name="connsiteY219" fmla="*/ 8 h 59582"/>
                    <a:gd name="connsiteX220" fmla="*/ 28899 w 110396"/>
                    <a:gd name="connsiteY220" fmla="*/ 8 h 59582"/>
                    <a:gd name="connsiteX221" fmla="*/ 34628 w 110396"/>
                    <a:gd name="connsiteY221" fmla="*/ 8 h 59582"/>
                    <a:gd name="connsiteX222" fmla="*/ 40357 w 110396"/>
                    <a:gd name="connsiteY222" fmla="*/ 8 h 59582"/>
                    <a:gd name="connsiteX223" fmla="*/ 46079 w 110396"/>
                    <a:gd name="connsiteY223" fmla="*/ 8 h 59582"/>
                    <a:gd name="connsiteX224" fmla="*/ 51808 w 110396"/>
                    <a:gd name="connsiteY224" fmla="*/ 8 h 59582"/>
                    <a:gd name="connsiteX225" fmla="*/ 57529 w 110396"/>
                    <a:gd name="connsiteY225" fmla="*/ 8 h 59582"/>
                    <a:gd name="connsiteX226" fmla="*/ 63258 w 110396"/>
                    <a:gd name="connsiteY226" fmla="*/ 8 h 59582"/>
                    <a:gd name="connsiteX227" fmla="*/ 68979 w 110396"/>
                    <a:gd name="connsiteY227" fmla="*/ 8 h 59582"/>
                    <a:gd name="connsiteX228" fmla="*/ 74700 w 110396"/>
                    <a:gd name="connsiteY228" fmla="*/ 8 h 59582"/>
                    <a:gd name="connsiteX229" fmla="*/ 80421 w 110396"/>
                    <a:gd name="connsiteY229" fmla="*/ 8 h 59582"/>
                    <a:gd name="connsiteX230" fmla="*/ 86151 w 110396"/>
                    <a:gd name="connsiteY230" fmla="*/ 8 h 59582"/>
                    <a:gd name="connsiteX231" fmla="*/ 91880 w 110396"/>
                    <a:gd name="connsiteY231" fmla="*/ 8 h 5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Lst>
                  <a:rect l="l" t="t" r="r" b="b"/>
                  <a:pathLst>
                    <a:path w="110396" h="59582">
                      <a:moveTo>
                        <a:pt x="91880" y="57"/>
                      </a:moveTo>
                      <a:lnTo>
                        <a:pt x="92117" y="5411"/>
                      </a:lnTo>
                      <a:lnTo>
                        <a:pt x="92361" y="10766"/>
                      </a:lnTo>
                      <a:lnTo>
                        <a:pt x="92597" y="16120"/>
                      </a:lnTo>
                      <a:lnTo>
                        <a:pt x="92842" y="21466"/>
                      </a:lnTo>
                      <a:lnTo>
                        <a:pt x="93078" y="26804"/>
                      </a:lnTo>
                      <a:lnTo>
                        <a:pt x="93323" y="32134"/>
                      </a:lnTo>
                      <a:lnTo>
                        <a:pt x="93559" y="37464"/>
                      </a:lnTo>
                      <a:lnTo>
                        <a:pt x="93804" y="42786"/>
                      </a:lnTo>
                      <a:lnTo>
                        <a:pt x="93860" y="42786"/>
                      </a:lnTo>
                      <a:lnTo>
                        <a:pt x="93909" y="42786"/>
                      </a:lnTo>
                      <a:lnTo>
                        <a:pt x="93966" y="42786"/>
                      </a:lnTo>
                      <a:lnTo>
                        <a:pt x="94023" y="42786"/>
                      </a:lnTo>
                      <a:lnTo>
                        <a:pt x="94081" y="42786"/>
                      </a:lnTo>
                      <a:lnTo>
                        <a:pt x="94138" y="42786"/>
                      </a:lnTo>
                      <a:lnTo>
                        <a:pt x="94194" y="42786"/>
                      </a:lnTo>
                      <a:lnTo>
                        <a:pt x="94252" y="42786"/>
                      </a:lnTo>
                      <a:lnTo>
                        <a:pt x="96754" y="42786"/>
                      </a:lnTo>
                      <a:lnTo>
                        <a:pt x="102246" y="42786"/>
                      </a:lnTo>
                      <a:lnTo>
                        <a:pt x="107739" y="42786"/>
                      </a:lnTo>
                      <a:lnTo>
                        <a:pt x="110396" y="42762"/>
                      </a:lnTo>
                      <a:lnTo>
                        <a:pt x="110372" y="43748"/>
                      </a:lnTo>
                      <a:lnTo>
                        <a:pt x="110062" y="45198"/>
                      </a:lnTo>
                      <a:lnTo>
                        <a:pt x="109492" y="45777"/>
                      </a:lnTo>
                      <a:lnTo>
                        <a:pt x="109508" y="44294"/>
                      </a:lnTo>
                      <a:lnTo>
                        <a:pt x="109100" y="43780"/>
                      </a:lnTo>
                      <a:lnTo>
                        <a:pt x="108432" y="44416"/>
                      </a:lnTo>
                      <a:lnTo>
                        <a:pt x="108000" y="45158"/>
                      </a:lnTo>
                      <a:lnTo>
                        <a:pt x="107821" y="48051"/>
                      </a:lnTo>
                      <a:lnTo>
                        <a:pt x="107356" y="49493"/>
                      </a:lnTo>
                      <a:lnTo>
                        <a:pt x="105735" y="49925"/>
                      </a:lnTo>
                      <a:lnTo>
                        <a:pt x="104096" y="53715"/>
                      </a:lnTo>
                      <a:lnTo>
                        <a:pt x="102564" y="55866"/>
                      </a:lnTo>
                      <a:lnTo>
                        <a:pt x="102010" y="57211"/>
                      </a:lnTo>
                      <a:lnTo>
                        <a:pt x="99696" y="57545"/>
                      </a:lnTo>
                      <a:lnTo>
                        <a:pt x="95963" y="58067"/>
                      </a:lnTo>
                      <a:lnTo>
                        <a:pt x="94985" y="59583"/>
                      </a:lnTo>
                      <a:lnTo>
                        <a:pt x="93111" y="58923"/>
                      </a:lnTo>
                      <a:lnTo>
                        <a:pt x="90234" y="58996"/>
                      </a:lnTo>
                      <a:lnTo>
                        <a:pt x="90780" y="56942"/>
                      </a:lnTo>
                      <a:lnTo>
                        <a:pt x="91619" y="55141"/>
                      </a:lnTo>
                      <a:lnTo>
                        <a:pt x="90120" y="53340"/>
                      </a:lnTo>
                      <a:lnTo>
                        <a:pt x="89231" y="53112"/>
                      </a:lnTo>
                      <a:lnTo>
                        <a:pt x="88327" y="52378"/>
                      </a:lnTo>
                      <a:lnTo>
                        <a:pt x="89394" y="50871"/>
                      </a:lnTo>
                      <a:lnTo>
                        <a:pt x="89916" y="49289"/>
                      </a:lnTo>
                      <a:lnTo>
                        <a:pt x="89598" y="47358"/>
                      </a:lnTo>
                      <a:lnTo>
                        <a:pt x="90046" y="45907"/>
                      </a:lnTo>
                      <a:lnTo>
                        <a:pt x="89297" y="46136"/>
                      </a:lnTo>
                      <a:lnTo>
                        <a:pt x="88090" y="47668"/>
                      </a:lnTo>
                      <a:lnTo>
                        <a:pt x="87341" y="48279"/>
                      </a:lnTo>
                      <a:lnTo>
                        <a:pt x="86892" y="46918"/>
                      </a:lnTo>
                      <a:lnTo>
                        <a:pt x="86371" y="47228"/>
                      </a:lnTo>
                      <a:lnTo>
                        <a:pt x="86029" y="48165"/>
                      </a:lnTo>
                      <a:lnTo>
                        <a:pt x="85263" y="48678"/>
                      </a:lnTo>
                      <a:lnTo>
                        <a:pt x="83641" y="47399"/>
                      </a:lnTo>
                      <a:lnTo>
                        <a:pt x="81277" y="45932"/>
                      </a:lnTo>
                      <a:lnTo>
                        <a:pt x="79965" y="43405"/>
                      </a:lnTo>
                      <a:lnTo>
                        <a:pt x="79215" y="41450"/>
                      </a:lnTo>
                      <a:lnTo>
                        <a:pt x="79973" y="37912"/>
                      </a:lnTo>
                      <a:lnTo>
                        <a:pt x="81611" y="37285"/>
                      </a:lnTo>
                      <a:lnTo>
                        <a:pt x="83730" y="37855"/>
                      </a:lnTo>
                      <a:lnTo>
                        <a:pt x="86509" y="37855"/>
                      </a:lnTo>
                      <a:lnTo>
                        <a:pt x="86110" y="37065"/>
                      </a:lnTo>
                      <a:lnTo>
                        <a:pt x="85116" y="37195"/>
                      </a:lnTo>
                      <a:lnTo>
                        <a:pt x="82190" y="34319"/>
                      </a:lnTo>
                      <a:lnTo>
                        <a:pt x="81245" y="32583"/>
                      </a:lnTo>
                      <a:lnTo>
                        <a:pt x="79623" y="32102"/>
                      </a:lnTo>
                      <a:lnTo>
                        <a:pt x="78881" y="33772"/>
                      </a:lnTo>
                      <a:lnTo>
                        <a:pt x="78058" y="34221"/>
                      </a:lnTo>
                      <a:lnTo>
                        <a:pt x="79077" y="30561"/>
                      </a:lnTo>
                      <a:lnTo>
                        <a:pt x="80397" y="30415"/>
                      </a:lnTo>
                      <a:lnTo>
                        <a:pt x="82353" y="29396"/>
                      </a:lnTo>
                      <a:lnTo>
                        <a:pt x="81783" y="27277"/>
                      </a:lnTo>
                      <a:lnTo>
                        <a:pt x="80552" y="26348"/>
                      </a:lnTo>
                      <a:lnTo>
                        <a:pt x="78327" y="27513"/>
                      </a:lnTo>
                      <a:lnTo>
                        <a:pt x="78351" y="26022"/>
                      </a:lnTo>
                      <a:lnTo>
                        <a:pt x="78767" y="24123"/>
                      </a:lnTo>
                      <a:lnTo>
                        <a:pt x="80446" y="24123"/>
                      </a:lnTo>
                      <a:lnTo>
                        <a:pt x="81913" y="24743"/>
                      </a:lnTo>
                      <a:lnTo>
                        <a:pt x="83168" y="21662"/>
                      </a:lnTo>
                      <a:lnTo>
                        <a:pt x="83225" y="20285"/>
                      </a:lnTo>
                      <a:lnTo>
                        <a:pt x="81147" y="22290"/>
                      </a:lnTo>
                      <a:lnTo>
                        <a:pt x="80682" y="17978"/>
                      </a:lnTo>
                      <a:lnTo>
                        <a:pt x="82728" y="13806"/>
                      </a:lnTo>
                      <a:lnTo>
                        <a:pt x="84684" y="11988"/>
                      </a:lnTo>
                      <a:lnTo>
                        <a:pt x="87121" y="12037"/>
                      </a:lnTo>
                      <a:lnTo>
                        <a:pt x="89606" y="11744"/>
                      </a:lnTo>
                      <a:lnTo>
                        <a:pt x="88058" y="10986"/>
                      </a:lnTo>
                      <a:lnTo>
                        <a:pt x="86461" y="10570"/>
                      </a:lnTo>
                      <a:lnTo>
                        <a:pt x="87658" y="8924"/>
                      </a:lnTo>
                      <a:lnTo>
                        <a:pt x="88685" y="8622"/>
                      </a:lnTo>
                      <a:lnTo>
                        <a:pt x="89688" y="7180"/>
                      </a:lnTo>
                      <a:lnTo>
                        <a:pt x="87267" y="7392"/>
                      </a:lnTo>
                      <a:lnTo>
                        <a:pt x="87552" y="4678"/>
                      </a:lnTo>
                      <a:lnTo>
                        <a:pt x="86371" y="5232"/>
                      </a:lnTo>
                      <a:lnTo>
                        <a:pt x="84969" y="5485"/>
                      </a:lnTo>
                      <a:lnTo>
                        <a:pt x="84423" y="6642"/>
                      </a:lnTo>
                      <a:lnTo>
                        <a:pt x="84529" y="8549"/>
                      </a:lnTo>
                      <a:lnTo>
                        <a:pt x="84121" y="9812"/>
                      </a:lnTo>
                      <a:lnTo>
                        <a:pt x="83029" y="10823"/>
                      </a:lnTo>
                      <a:lnTo>
                        <a:pt x="81179" y="11605"/>
                      </a:lnTo>
                      <a:lnTo>
                        <a:pt x="81000" y="10244"/>
                      </a:lnTo>
                      <a:lnTo>
                        <a:pt x="80389" y="9633"/>
                      </a:lnTo>
                      <a:lnTo>
                        <a:pt x="80161" y="12542"/>
                      </a:lnTo>
                      <a:lnTo>
                        <a:pt x="79672" y="13545"/>
                      </a:lnTo>
                      <a:lnTo>
                        <a:pt x="78319" y="10798"/>
                      </a:lnTo>
                      <a:lnTo>
                        <a:pt x="77911" y="11352"/>
                      </a:lnTo>
                      <a:lnTo>
                        <a:pt x="77960" y="12127"/>
                      </a:lnTo>
                      <a:lnTo>
                        <a:pt x="77618" y="13472"/>
                      </a:lnTo>
                      <a:lnTo>
                        <a:pt x="76452" y="14172"/>
                      </a:lnTo>
                      <a:lnTo>
                        <a:pt x="76526" y="15892"/>
                      </a:lnTo>
                      <a:lnTo>
                        <a:pt x="76069" y="16837"/>
                      </a:lnTo>
                      <a:lnTo>
                        <a:pt x="72361" y="15338"/>
                      </a:lnTo>
                      <a:lnTo>
                        <a:pt x="72272" y="15843"/>
                      </a:lnTo>
                      <a:lnTo>
                        <a:pt x="74366" y="19070"/>
                      </a:lnTo>
                      <a:lnTo>
                        <a:pt x="75898" y="20171"/>
                      </a:lnTo>
                      <a:lnTo>
                        <a:pt x="76086" y="21931"/>
                      </a:lnTo>
                      <a:lnTo>
                        <a:pt x="74765" y="23390"/>
                      </a:lnTo>
                      <a:lnTo>
                        <a:pt x="72948" y="22126"/>
                      </a:lnTo>
                      <a:lnTo>
                        <a:pt x="72647" y="22216"/>
                      </a:lnTo>
                      <a:lnTo>
                        <a:pt x="73633" y="24376"/>
                      </a:lnTo>
                      <a:lnTo>
                        <a:pt x="74252" y="26267"/>
                      </a:lnTo>
                      <a:lnTo>
                        <a:pt x="73616" y="27848"/>
                      </a:lnTo>
                      <a:lnTo>
                        <a:pt x="73714" y="29787"/>
                      </a:lnTo>
                      <a:lnTo>
                        <a:pt x="73568" y="31539"/>
                      </a:lnTo>
                      <a:lnTo>
                        <a:pt x="73184" y="33072"/>
                      </a:lnTo>
                      <a:lnTo>
                        <a:pt x="74065" y="40154"/>
                      </a:lnTo>
                      <a:lnTo>
                        <a:pt x="75124" y="42069"/>
                      </a:lnTo>
                      <a:lnTo>
                        <a:pt x="76167" y="43911"/>
                      </a:lnTo>
                      <a:lnTo>
                        <a:pt x="76722" y="45622"/>
                      </a:lnTo>
                      <a:lnTo>
                        <a:pt x="75613" y="45875"/>
                      </a:lnTo>
                      <a:lnTo>
                        <a:pt x="73845" y="44465"/>
                      </a:lnTo>
                      <a:lnTo>
                        <a:pt x="72296" y="43381"/>
                      </a:lnTo>
                      <a:lnTo>
                        <a:pt x="70446" y="39934"/>
                      </a:lnTo>
                      <a:lnTo>
                        <a:pt x="70137" y="38556"/>
                      </a:lnTo>
                      <a:lnTo>
                        <a:pt x="69688" y="37464"/>
                      </a:lnTo>
                      <a:lnTo>
                        <a:pt x="69908" y="39966"/>
                      </a:lnTo>
                      <a:lnTo>
                        <a:pt x="70560" y="42762"/>
                      </a:lnTo>
                      <a:lnTo>
                        <a:pt x="76347" y="49012"/>
                      </a:lnTo>
                      <a:lnTo>
                        <a:pt x="77414" y="51409"/>
                      </a:lnTo>
                      <a:lnTo>
                        <a:pt x="78229" y="53283"/>
                      </a:lnTo>
                      <a:lnTo>
                        <a:pt x="78026" y="55084"/>
                      </a:lnTo>
                      <a:lnTo>
                        <a:pt x="76518" y="53813"/>
                      </a:lnTo>
                      <a:lnTo>
                        <a:pt x="75214" y="52191"/>
                      </a:lnTo>
                      <a:lnTo>
                        <a:pt x="71767" y="50349"/>
                      </a:lnTo>
                      <a:lnTo>
                        <a:pt x="67415" y="49184"/>
                      </a:lnTo>
                      <a:lnTo>
                        <a:pt x="64962" y="44913"/>
                      </a:lnTo>
                      <a:lnTo>
                        <a:pt x="64970" y="46698"/>
                      </a:lnTo>
                      <a:lnTo>
                        <a:pt x="64424" y="48214"/>
                      </a:lnTo>
                      <a:lnTo>
                        <a:pt x="62924" y="46372"/>
                      </a:lnTo>
                      <a:lnTo>
                        <a:pt x="61979" y="44799"/>
                      </a:lnTo>
                      <a:lnTo>
                        <a:pt x="61653" y="43071"/>
                      </a:lnTo>
                      <a:lnTo>
                        <a:pt x="59786" y="43193"/>
                      </a:lnTo>
                      <a:lnTo>
                        <a:pt x="57822" y="44693"/>
                      </a:lnTo>
                      <a:lnTo>
                        <a:pt x="55923" y="44334"/>
                      </a:lnTo>
                      <a:lnTo>
                        <a:pt x="55703" y="41409"/>
                      </a:lnTo>
                      <a:lnTo>
                        <a:pt x="56209" y="39860"/>
                      </a:lnTo>
                      <a:lnTo>
                        <a:pt x="58344" y="36185"/>
                      </a:lnTo>
                      <a:lnTo>
                        <a:pt x="60357" y="34319"/>
                      </a:lnTo>
                      <a:lnTo>
                        <a:pt x="61245" y="31898"/>
                      </a:lnTo>
                      <a:lnTo>
                        <a:pt x="60944" y="28141"/>
                      </a:lnTo>
                      <a:lnTo>
                        <a:pt x="61213" y="30928"/>
                      </a:lnTo>
                      <a:lnTo>
                        <a:pt x="63405" y="28174"/>
                      </a:lnTo>
                      <a:lnTo>
                        <a:pt x="61979" y="26022"/>
                      </a:lnTo>
                      <a:lnTo>
                        <a:pt x="60658" y="24009"/>
                      </a:lnTo>
                      <a:lnTo>
                        <a:pt x="58670" y="26307"/>
                      </a:lnTo>
                      <a:lnTo>
                        <a:pt x="56975" y="25452"/>
                      </a:lnTo>
                      <a:lnTo>
                        <a:pt x="54228" y="22615"/>
                      </a:lnTo>
                      <a:lnTo>
                        <a:pt x="49770" y="20603"/>
                      </a:lnTo>
                      <a:lnTo>
                        <a:pt x="49143" y="19600"/>
                      </a:lnTo>
                      <a:lnTo>
                        <a:pt x="49224" y="18500"/>
                      </a:lnTo>
                      <a:lnTo>
                        <a:pt x="49827" y="16960"/>
                      </a:lnTo>
                      <a:lnTo>
                        <a:pt x="48450" y="15444"/>
                      </a:lnTo>
                      <a:lnTo>
                        <a:pt x="45117" y="13960"/>
                      </a:lnTo>
                      <a:lnTo>
                        <a:pt x="43682" y="12714"/>
                      </a:lnTo>
                      <a:lnTo>
                        <a:pt x="43373" y="12445"/>
                      </a:lnTo>
                      <a:lnTo>
                        <a:pt x="43226" y="10896"/>
                      </a:lnTo>
                      <a:lnTo>
                        <a:pt x="42794" y="9910"/>
                      </a:lnTo>
                      <a:lnTo>
                        <a:pt x="42069" y="9486"/>
                      </a:lnTo>
                      <a:lnTo>
                        <a:pt x="41922" y="8818"/>
                      </a:lnTo>
                      <a:lnTo>
                        <a:pt x="42371" y="7913"/>
                      </a:lnTo>
                      <a:lnTo>
                        <a:pt x="41906" y="6935"/>
                      </a:lnTo>
                      <a:lnTo>
                        <a:pt x="40545" y="5884"/>
                      </a:lnTo>
                      <a:lnTo>
                        <a:pt x="40072" y="4963"/>
                      </a:lnTo>
                      <a:lnTo>
                        <a:pt x="40488" y="4148"/>
                      </a:lnTo>
                      <a:lnTo>
                        <a:pt x="39795" y="3773"/>
                      </a:lnTo>
                      <a:lnTo>
                        <a:pt x="38002" y="3838"/>
                      </a:lnTo>
                      <a:lnTo>
                        <a:pt x="36226" y="3081"/>
                      </a:lnTo>
                      <a:lnTo>
                        <a:pt x="34481" y="1508"/>
                      </a:lnTo>
                      <a:lnTo>
                        <a:pt x="32411" y="1239"/>
                      </a:lnTo>
                      <a:lnTo>
                        <a:pt x="28842" y="2812"/>
                      </a:lnTo>
                      <a:lnTo>
                        <a:pt x="26821" y="3195"/>
                      </a:lnTo>
                      <a:lnTo>
                        <a:pt x="25933" y="4083"/>
                      </a:lnTo>
                      <a:lnTo>
                        <a:pt x="25492" y="5615"/>
                      </a:lnTo>
                      <a:lnTo>
                        <a:pt x="24620" y="6389"/>
                      </a:lnTo>
                      <a:lnTo>
                        <a:pt x="22648" y="6406"/>
                      </a:lnTo>
                      <a:lnTo>
                        <a:pt x="22338" y="6349"/>
                      </a:lnTo>
                      <a:lnTo>
                        <a:pt x="20097" y="5835"/>
                      </a:lnTo>
                      <a:lnTo>
                        <a:pt x="18516" y="4882"/>
                      </a:lnTo>
                      <a:lnTo>
                        <a:pt x="18223" y="4482"/>
                      </a:lnTo>
                      <a:lnTo>
                        <a:pt x="18394" y="3667"/>
                      </a:lnTo>
                      <a:lnTo>
                        <a:pt x="18101" y="3292"/>
                      </a:lnTo>
                      <a:lnTo>
                        <a:pt x="17611" y="3235"/>
                      </a:lnTo>
                      <a:lnTo>
                        <a:pt x="17163" y="3708"/>
                      </a:lnTo>
                      <a:lnTo>
                        <a:pt x="16699" y="5151"/>
                      </a:lnTo>
                      <a:lnTo>
                        <a:pt x="12811" y="9087"/>
                      </a:lnTo>
                      <a:lnTo>
                        <a:pt x="10945" y="8305"/>
                      </a:lnTo>
                      <a:lnTo>
                        <a:pt x="10244" y="8337"/>
                      </a:lnTo>
                      <a:lnTo>
                        <a:pt x="4824" y="13887"/>
                      </a:lnTo>
                      <a:lnTo>
                        <a:pt x="3178" y="14775"/>
                      </a:lnTo>
                      <a:lnTo>
                        <a:pt x="0" y="17294"/>
                      </a:lnTo>
                      <a:lnTo>
                        <a:pt x="65" y="12974"/>
                      </a:lnTo>
                      <a:lnTo>
                        <a:pt x="130" y="8655"/>
                      </a:lnTo>
                      <a:lnTo>
                        <a:pt x="195" y="4327"/>
                      </a:lnTo>
                      <a:lnTo>
                        <a:pt x="261" y="0"/>
                      </a:lnTo>
                      <a:lnTo>
                        <a:pt x="5990" y="0"/>
                      </a:lnTo>
                      <a:lnTo>
                        <a:pt x="11719" y="0"/>
                      </a:lnTo>
                      <a:lnTo>
                        <a:pt x="17449" y="0"/>
                      </a:lnTo>
                      <a:lnTo>
                        <a:pt x="23170" y="8"/>
                      </a:lnTo>
                      <a:lnTo>
                        <a:pt x="28899" y="8"/>
                      </a:lnTo>
                      <a:lnTo>
                        <a:pt x="34628" y="8"/>
                      </a:lnTo>
                      <a:lnTo>
                        <a:pt x="40357" y="8"/>
                      </a:lnTo>
                      <a:lnTo>
                        <a:pt x="46079" y="8"/>
                      </a:lnTo>
                      <a:lnTo>
                        <a:pt x="51808" y="8"/>
                      </a:lnTo>
                      <a:lnTo>
                        <a:pt x="57529" y="8"/>
                      </a:lnTo>
                      <a:lnTo>
                        <a:pt x="63258" y="8"/>
                      </a:lnTo>
                      <a:lnTo>
                        <a:pt x="68979" y="8"/>
                      </a:lnTo>
                      <a:lnTo>
                        <a:pt x="74700" y="8"/>
                      </a:lnTo>
                      <a:lnTo>
                        <a:pt x="80421" y="8"/>
                      </a:lnTo>
                      <a:lnTo>
                        <a:pt x="86151" y="8"/>
                      </a:lnTo>
                      <a:lnTo>
                        <a:pt x="91880" y="8"/>
                      </a:lnTo>
                      <a:close/>
                    </a:path>
                  </a:pathLst>
                </a:custGeom>
                <a:solidFill>
                  <a:srgbClr val="D6D6D2"/>
                </a:solidFill>
                <a:ln w="8150" cap="flat">
                  <a:noFill/>
                  <a:prstDash val="solid"/>
                  <a:miter/>
                </a:ln>
              </p:spPr>
              <p:txBody>
                <a:bodyPr rtlCol="0" anchor="ctr"/>
                <a:lstStyle/>
                <a:p>
                  <a:endParaRPr lang="en-US"/>
                </a:p>
              </p:txBody>
            </p:sp>
            <p:sp>
              <p:nvSpPr>
                <p:cNvPr id="454" name="Freeform: Shape 453">
                  <a:extLst>
                    <a:ext uri="{FF2B5EF4-FFF2-40B4-BE49-F238E27FC236}">
                      <a16:creationId xmlns:a16="http://schemas.microsoft.com/office/drawing/2014/main" id="{C95BC291-438F-4AB0-9B8A-C9631C6C3497}"/>
                    </a:ext>
                  </a:extLst>
                </p:cNvPr>
                <p:cNvSpPr/>
                <p:nvPr/>
              </p:nvSpPr>
              <p:spPr>
                <a:xfrm>
                  <a:off x="4120480" y="3177256"/>
                  <a:ext cx="88636" cy="47822"/>
                </a:xfrm>
                <a:custGeom>
                  <a:avLst/>
                  <a:gdLst>
                    <a:gd name="connsiteX0" fmla="*/ 67610 w 88636"/>
                    <a:gd name="connsiteY0" fmla="*/ 5469 h 47822"/>
                    <a:gd name="connsiteX1" fmla="*/ 68743 w 88636"/>
                    <a:gd name="connsiteY1" fmla="*/ 7261 h 47822"/>
                    <a:gd name="connsiteX2" fmla="*/ 69713 w 88636"/>
                    <a:gd name="connsiteY2" fmla="*/ 7424 h 47822"/>
                    <a:gd name="connsiteX3" fmla="*/ 70748 w 88636"/>
                    <a:gd name="connsiteY3" fmla="*/ 7098 h 47822"/>
                    <a:gd name="connsiteX4" fmla="*/ 71514 w 88636"/>
                    <a:gd name="connsiteY4" fmla="*/ 7172 h 47822"/>
                    <a:gd name="connsiteX5" fmla="*/ 72003 w 88636"/>
                    <a:gd name="connsiteY5" fmla="*/ 7938 h 47822"/>
                    <a:gd name="connsiteX6" fmla="*/ 71783 w 88636"/>
                    <a:gd name="connsiteY6" fmla="*/ 8843 h 47822"/>
                    <a:gd name="connsiteX7" fmla="*/ 70585 w 88636"/>
                    <a:gd name="connsiteY7" fmla="*/ 9071 h 47822"/>
                    <a:gd name="connsiteX8" fmla="*/ 68352 w 88636"/>
                    <a:gd name="connsiteY8" fmla="*/ 10668 h 47822"/>
                    <a:gd name="connsiteX9" fmla="*/ 66380 w 88636"/>
                    <a:gd name="connsiteY9" fmla="*/ 11279 h 47822"/>
                    <a:gd name="connsiteX10" fmla="*/ 65394 w 88636"/>
                    <a:gd name="connsiteY10" fmla="*/ 13211 h 47822"/>
                    <a:gd name="connsiteX11" fmla="*/ 63918 w 88636"/>
                    <a:gd name="connsiteY11" fmla="*/ 15436 h 47822"/>
                    <a:gd name="connsiteX12" fmla="*/ 61042 w 88636"/>
                    <a:gd name="connsiteY12" fmla="*/ 18907 h 47822"/>
                    <a:gd name="connsiteX13" fmla="*/ 62272 w 88636"/>
                    <a:gd name="connsiteY13" fmla="*/ 19975 h 47822"/>
                    <a:gd name="connsiteX14" fmla="*/ 66698 w 88636"/>
                    <a:gd name="connsiteY14" fmla="*/ 21173 h 47822"/>
                    <a:gd name="connsiteX15" fmla="*/ 68678 w 88636"/>
                    <a:gd name="connsiteY15" fmla="*/ 22420 h 47822"/>
                    <a:gd name="connsiteX16" fmla="*/ 71669 w 88636"/>
                    <a:gd name="connsiteY16" fmla="*/ 28899 h 47822"/>
                    <a:gd name="connsiteX17" fmla="*/ 70993 w 88636"/>
                    <a:gd name="connsiteY17" fmla="*/ 29551 h 47822"/>
                    <a:gd name="connsiteX18" fmla="*/ 70715 w 88636"/>
                    <a:gd name="connsiteY18" fmla="*/ 30741 h 47822"/>
                    <a:gd name="connsiteX19" fmla="*/ 73380 w 88636"/>
                    <a:gd name="connsiteY19" fmla="*/ 32403 h 47822"/>
                    <a:gd name="connsiteX20" fmla="*/ 74228 w 88636"/>
                    <a:gd name="connsiteY20" fmla="*/ 37049 h 47822"/>
                    <a:gd name="connsiteX21" fmla="*/ 76412 w 88636"/>
                    <a:gd name="connsiteY21" fmla="*/ 38622 h 47822"/>
                    <a:gd name="connsiteX22" fmla="*/ 79664 w 88636"/>
                    <a:gd name="connsiteY22" fmla="*/ 39599 h 47822"/>
                    <a:gd name="connsiteX23" fmla="*/ 83649 w 88636"/>
                    <a:gd name="connsiteY23" fmla="*/ 38198 h 47822"/>
                    <a:gd name="connsiteX24" fmla="*/ 86966 w 88636"/>
                    <a:gd name="connsiteY24" fmla="*/ 36266 h 47822"/>
                    <a:gd name="connsiteX25" fmla="*/ 86844 w 88636"/>
                    <a:gd name="connsiteY25" fmla="*/ 34685 h 47822"/>
                    <a:gd name="connsiteX26" fmla="*/ 84765 w 88636"/>
                    <a:gd name="connsiteY26" fmla="*/ 30993 h 47822"/>
                    <a:gd name="connsiteX27" fmla="*/ 84268 w 88636"/>
                    <a:gd name="connsiteY27" fmla="*/ 29266 h 47822"/>
                    <a:gd name="connsiteX28" fmla="*/ 82720 w 88636"/>
                    <a:gd name="connsiteY28" fmla="*/ 28141 h 47822"/>
                    <a:gd name="connsiteX29" fmla="*/ 82133 w 88636"/>
                    <a:gd name="connsiteY29" fmla="*/ 29086 h 47822"/>
                    <a:gd name="connsiteX30" fmla="*/ 81131 w 88636"/>
                    <a:gd name="connsiteY30" fmla="*/ 27856 h 47822"/>
                    <a:gd name="connsiteX31" fmla="*/ 81017 w 88636"/>
                    <a:gd name="connsiteY31" fmla="*/ 27171 h 47822"/>
                    <a:gd name="connsiteX32" fmla="*/ 81954 w 88636"/>
                    <a:gd name="connsiteY32" fmla="*/ 26829 h 47822"/>
                    <a:gd name="connsiteX33" fmla="*/ 83030 w 88636"/>
                    <a:gd name="connsiteY33" fmla="*/ 26968 h 47822"/>
                    <a:gd name="connsiteX34" fmla="*/ 84293 w 88636"/>
                    <a:gd name="connsiteY34" fmla="*/ 27611 h 47822"/>
                    <a:gd name="connsiteX35" fmla="*/ 87544 w 88636"/>
                    <a:gd name="connsiteY35" fmla="*/ 31637 h 47822"/>
                    <a:gd name="connsiteX36" fmla="*/ 88449 w 88636"/>
                    <a:gd name="connsiteY36" fmla="*/ 36902 h 47822"/>
                    <a:gd name="connsiteX37" fmla="*/ 88637 w 88636"/>
                    <a:gd name="connsiteY37" fmla="*/ 40243 h 47822"/>
                    <a:gd name="connsiteX38" fmla="*/ 88270 w 88636"/>
                    <a:gd name="connsiteY38" fmla="*/ 41384 h 47822"/>
                    <a:gd name="connsiteX39" fmla="*/ 87325 w 88636"/>
                    <a:gd name="connsiteY39" fmla="*/ 41148 h 47822"/>
                    <a:gd name="connsiteX40" fmla="*/ 85515 w 88636"/>
                    <a:gd name="connsiteY40" fmla="*/ 41376 h 47822"/>
                    <a:gd name="connsiteX41" fmla="*/ 76958 w 88636"/>
                    <a:gd name="connsiteY41" fmla="*/ 43104 h 47822"/>
                    <a:gd name="connsiteX42" fmla="*/ 75051 w 88636"/>
                    <a:gd name="connsiteY42" fmla="*/ 44636 h 47822"/>
                    <a:gd name="connsiteX43" fmla="*/ 70691 w 88636"/>
                    <a:gd name="connsiteY43" fmla="*/ 46282 h 47822"/>
                    <a:gd name="connsiteX44" fmla="*/ 70422 w 88636"/>
                    <a:gd name="connsiteY44" fmla="*/ 45459 h 47822"/>
                    <a:gd name="connsiteX45" fmla="*/ 70740 w 88636"/>
                    <a:gd name="connsiteY45" fmla="*/ 43756 h 47822"/>
                    <a:gd name="connsiteX46" fmla="*/ 70463 w 88636"/>
                    <a:gd name="connsiteY46" fmla="*/ 40260 h 47822"/>
                    <a:gd name="connsiteX47" fmla="*/ 69607 w 88636"/>
                    <a:gd name="connsiteY47" fmla="*/ 40097 h 47822"/>
                    <a:gd name="connsiteX48" fmla="*/ 62826 w 88636"/>
                    <a:gd name="connsiteY48" fmla="*/ 45793 h 47822"/>
                    <a:gd name="connsiteX49" fmla="*/ 60210 w 88636"/>
                    <a:gd name="connsiteY49" fmla="*/ 46152 h 47822"/>
                    <a:gd name="connsiteX50" fmla="*/ 58010 w 88636"/>
                    <a:gd name="connsiteY50" fmla="*/ 47823 h 47822"/>
                    <a:gd name="connsiteX51" fmla="*/ 57513 w 88636"/>
                    <a:gd name="connsiteY51" fmla="*/ 46902 h 47822"/>
                    <a:gd name="connsiteX52" fmla="*/ 57121 w 88636"/>
                    <a:gd name="connsiteY52" fmla="*/ 42631 h 47822"/>
                    <a:gd name="connsiteX53" fmla="*/ 58491 w 88636"/>
                    <a:gd name="connsiteY53" fmla="*/ 39045 h 47822"/>
                    <a:gd name="connsiteX54" fmla="*/ 57757 w 88636"/>
                    <a:gd name="connsiteY54" fmla="*/ 39094 h 47822"/>
                    <a:gd name="connsiteX55" fmla="*/ 56388 w 88636"/>
                    <a:gd name="connsiteY55" fmla="*/ 40382 h 47822"/>
                    <a:gd name="connsiteX56" fmla="*/ 55540 w 88636"/>
                    <a:gd name="connsiteY56" fmla="*/ 38866 h 47822"/>
                    <a:gd name="connsiteX57" fmla="*/ 54628 w 88636"/>
                    <a:gd name="connsiteY57" fmla="*/ 38043 h 47822"/>
                    <a:gd name="connsiteX58" fmla="*/ 53740 w 88636"/>
                    <a:gd name="connsiteY58" fmla="*/ 37244 h 47822"/>
                    <a:gd name="connsiteX59" fmla="*/ 53764 w 88636"/>
                    <a:gd name="connsiteY59" fmla="*/ 35965 h 47822"/>
                    <a:gd name="connsiteX60" fmla="*/ 53813 w 88636"/>
                    <a:gd name="connsiteY60" fmla="*/ 34033 h 47822"/>
                    <a:gd name="connsiteX61" fmla="*/ 52786 w 88636"/>
                    <a:gd name="connsiteY61" fmla="*/ 33658 h 47822"/>
                    <a:gd name="connsiteX62" fmla="*/ 52664 w 88636"/>
                    <a:gd name="connsiteY62" fmla="*/ 31279 h 47822"/>
                    <a:gd name="connsiteX63" fmla="*/ 52582 w 88636"/>
                    <a:gd name="connsiteY63" fmla="*/ 29738 h 47822"/>
                    <a:gd name="connsiteX64" fmla="*/ 50708 w 88636"/>
                    <a:gd name="connsiteY64" fmla="*/ 29763 h 47822"/>
                    <a:gd name="connsiteX65" fmla="*/ 49184 w 88636"/>
                    <a:gd name="connsiteY65" fmla="*/ 29787 h 47822"/>
                    <a:gd name="connsiteX66" fmla="*/ 46722 w 88636"/>
                    <a:gd name="connsiteY66" fmla="*/ 29828 h 47822"/>
                    <a:gd name="connsiteX67" fmla="*/ 44180 w 88636"/>
                    <a:gd name="connsiteY67" fmla="*/ 29869 h 47822"/>
                    <a:gd name="connsiteX68" fmla="*/ 42322 w 88636"/>
                    <a:gd name="connsiteY68" fmla="*/ 29901 h 47822"/>
                    <a:gd name="connsiteX69" fmla="*/ 42305 w 88636"/>
                    <a:gd name="connsiteY69" fmla="*/ 29535 h 47822"/>
                    <a:gd name="connsiteX70" fmla="*/ 39339 w 88636"/>
                    <a:gd name="connsiteY70" fmla="*/ 29486 h 47822"/>
                    <a:gd name="connsiteX71" fmla="*/ 36381 w 88636"/>
                    <a:gd name="connsiteY71" fmla="*/ 29437 h 47822"/>
                    <a:gd name="connsiteX72" fmla="*/ 33414 w 88636"/>
                    <a:gd name="connsiteY72" fmla="*/ 29388 h 47822"/>
                    <a:gd name="connsiteX73" fmla="*/ 30448 w 88636"/>
                    <a:gd name="connsiteY73" fmla="*/ 29339 h 47822"/>
                    <a:gd name="connsiteX74" fmla="*/ 27481 w 88636"/>
                    <a:gd name="connsiteY74" fmla="*/ 29290 h 47822"/>
                    <a:gd name="connsiteX75" fmla="*/ 24515 w 88636"/>
                    <a:gd name="connsiteY75" fmla="*/ 29241 h 47822"/>
                    <a:gd name="connsiteX76" fmla="*/ 21556 w 88636"/>
                    <a:gd name="connsiteY76" fmla="*/ 29200 h 47822"/>
                    <a:gd name="connsiteX77" fmla="*/ 18590 w 88636"/>
                    <a:gd name="connsiteY77" fmla="*/ 29152 h 47822"/>
                    <a:gd name="connsiteX78" fmla="*/ 18443 w 88636"/>
                    <a:gd name="connsiteY78" fmla="*/ 29942 h 47822"/>
                    <a:gd name="connsiteX79" fmla="*/ 17375 w 88636"/>
                    <a:gd name="connsiteY79" fmla="*/ 30056 h 47822"/>
                    <a:gd name="connsiteX80" fmla="*/ 17351 w 88636"/>
                    <a:gd name="connsiteY80" fmla="*/ 29160 h 47822"/>
                    <a:gd name="connsiteX81" fmla="*/ 15265 w 88636"/>
                    <a:gd name="connsiteY81" fmla="*/ 29070 h 47822"/>
                    <a:gd name="connsiteX82" fmla="*/ 13178 w 88636"/>
                    <a:gd name="connsiteY82" fmla="*/ 28980 h 47822"/>
                    <a:gd name="connsiteX83" fmla="*/ 11092 w 88636"/>
                    <a:gd name="connsiteY83" fmla="*/ 28891 h 47822"/>
                    <a:gd name="connsiteX84" fmla="*/ 9006 w 88636"/>
                    <a:gd name="connsiteY84" fmla="*/ 28793 h 47822"/>
                    <a:gd name="connsiteX85" fmla="*/ 6919 w 88636"/>
                    <a:gd name="connsiteY85" fmla="*/ 28703 h 47822"/>
                    <a:gd name="connsiteX86" fmla="*/ 4833 w 88636"/>
                    <a:gd name="connsiteY86" fmla="*/ 28606 h 47822"/>
                    <a:gd name="connsiteX87" fmla="*/ 2747 w 88636"/>
                    <a:gd name="connsiteY87" fmla="*/ 28516 h 47822"/>
                    <a:gd name="connsiteX88" fmla="*/ 660 w 88636"/>
                    <a:gd name="connsiteY88" fmla="*/ 28426 h 47822"/>
                    <a:gd name="connsiteX89" fmla="*/ 0 w 88636"/>
                    <a:gd name="connsiteY89" fmla="*/ 27587 h 47822"/>
                    <a:gd name="connsiteX90" fmla="*/ 782 w 88636"/>
                    <a:gd name="connsiteY90" fmla="*/ 24702 h 47822"/>
                    <a:gd name="connsiteX91" fmla="*/ 1565 w 88636"/>
                    <a:gd name="connsiteY91" fmla="*/ 21817 h 47822"/>
                    <a:gd name="connsiteX92" fmla="*/ 2355 w 88636"/>
                    <a:gd name="connsiteY92" fmla="*/ 18924 h 47822"/>
                    <a:gd name="connsiteX93" fmla="*/ 3138 w 88636"/>
                    <a:gd name="connsiteY93" fmla="*/ 16030 h 47822"/>
                    <a:gd name="connsiteX94" fmla="*/ 3928 w 88636"/>
                    <a:gd name="connsiteY94" fmla="*/ 13137 h 47822"/>
                    <a:gd name="connsiteX95" fmla="*/ 4711 w 88636"/>
                    <a:gd name="connsiteY95" fmla="*/ 10244 h 47822"/>
                    <a:gd name="connsiteX96" fmla="*/ 5501 w 88636"/>
                    <a:gd name="connsiteY96" fmla="*/ 7351 h 47822"/>
                    <a:gd name="connsiteX97" fmla="*/ 6284 w 88636"/>
                    <a:gd name="connsiteY97" fmla="*/ 4450 h 47822"/>
                    <a:gd name="connsiteX98" fmla="*/ 8720 w 88636"/>
                    <a:gd name="connsiteY98" fmla="*/ 4548 h 47822"/>
                    <a:gd name="connsiteX99" fmla="*/ 11157 w 88636"/>
                    <a:gd name="connsiteY99" fmla="*/ 4645 h 47822"/>
                    <a:gd name="connsiteX100" fmla="*/ 13594 w 88636"/>
                    <a:gd name="connsiteY100" fmla="*/ 4735 h 47822"/>
                    <a:gd name="connsiteX101" fmla="*/ 16031 w 88636"/>
                    <a:gd name="connsiteY101" fmla="*/ 4833 h 47822"/>
                    <a:gd name="connsiteX102" fmla="*/ 18467 w 88636"/>
                    <a:gd name="connsiteY102" fmla="*/ 4922 h 47822"/>
                    <a:gd name="connsiteX103" fmla="*/ 20904 w 88636"/>
                    <a:gd name="connsiteY103" fmla="*/ 5028 h 47822"/>
                    <a:gd name="connsiteX104" fmla="*/ 23341 w 88636"/>
                    <a:gd name="connsiteY104" fmla="*/ 5118 h 47822"/>
                    <a:gd name="connsiteX105" fmla="*/ 25778 w 88636"/>
                    <a:gd name="connsiteY105" fmla="*/ 5216 h 47822"/>
                    <a:gd name="connsiteX106" fmla="*/ 29307 w 88636"/>
                    <a:gd name="connsiteY106" fmla="*/ 5330 h 47822"/>
                    <a:gd name="connsiteX107" fmla="*/ 32835 w 88636"/>
                    <a:gd name="connsiteY107" fmla="*/ 5452 h 47822"/>
                    <a:gd name="connsiteX108" fmla="*/ 36364 w 88636"/>
                    <a:gd name="connsiteY108" fmla="*/ 5574 h 47822"/>
                    <a:gd name="connsiteX109" fmla="*/ 39885 w 88636"/>
                    <a:gd name="connsiteY109" fmla="*/ 5697 h 47822"/>
                    <a:gd name="connsiteX110" fmla="*/ 43414 w 88636"/>
                    <a:gd name="connsiteY110" fmla="*/ 5811 h 47822"/>
                    <a:gd name="connsiteX111" fmla="*/ 46943 w 88636"/>
                    <a:gd name="connsiteY111" fmla="*/ 5933 h 47822"/>
                    <a:gd name="connsiteX112" fmla="*/ 50471 w 88636"/>
                    <a:gd name="connsiteY112" fmla="*/ 6055 h 47822"/>
                    <a:gd name="connsiteX113" fmla="*/ 54000 w 88636"/>
                    <a:gd name="connsiteY113" fmla="*/ 6177 h 47822"/>
                    <a:gd name="connsiteX114" fmla="*/ 56168 w 88636"/>
                    <a:gd name="connsiteY114" fmla="*/ 5248 h 47822"/>
                    <a:gd name="connsiteX115" fmla="*/ 58719 w 88636"/>
                    <a:gd name="connsiteY115" fmla="*/ 2535 h 47822"/>
                    <a:gd name="connsiteX116" fmla="*/ 60284 w 88636"/>
                    <a:gd name="connsiteY116" fmla="*/ 1956 h 47822"/>
                    <a:gd name="connsiteX117" fmla="*/ 62818 w 88636"/>
                    <a:gd name="connsiteY117" fmla="*/ 342 h 47822"/>
                    <a:gd name="connsiteX118" fmla="*/ 64073 w 88636"/>
                    <a:gd name="connsiteY118" fmla="*/ 0 h 47822"/>
                    <a:gd name="connsiteX119" fmla="*/ 66975 w 88636"/>
                    <a:gd name="connsiteY119" fmla="*/ 171 h 47822"/>
                    <a:gd name="connsiteX120" fmla="*/ 66404 w 88636"/>
                    <a:gd name="connsiteY120" fmla="*/ 1948 h 47822"/>
                    <a:gd name="connsiteX121" fmla="*/ 67121 w 88636"/>
                    <a:gd name="connsiteY121" fmla="*/ 3716 h 47822"/>
                    <a:gd name="connsiteX122" fmla="*/ 67610 w 88636"/>
                    <a:gd name="connsiteY122" fmla="*/ 5469 h 4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88636" h="47822">
                      <a:moveTo>
                        <a:pt x="67610" y="5469"/>
                      </a:moveTo>
                      <a:lnTo>
                        <a:pt x="68743" y="7261"/>
                      </a:lnTo>
                      <a:lnTo>
                        <a:pt x="69713" y="7424"/>
                      </a:lnTo>
                      <a:lnTo>
                        <a:pt x="70748" y="7098"/>
                      </a:lnTo>
                      <a:lnTo>
                        <a:pt x="71514" y="7172"/>
                      </a:lnTo>
                      <a:lnTo>
                        <a:pt x="72003" y="7938"/>
                      </a:lnTo>
                      <a:lnTo>
                        <a:pt x="71783" y="8843"/>
                      </a:lnTo>
                      <a:lnTo>
                        <a:pt x="70585" y="9071"/>
                      </a:lnTo>
                      <a:lnTo>
                        <a:pt x="68352" y="10668"/>
                      </a:lnTo>
                      <a:lnTo>
                        <a:pt x="66380" y="11279"/>
                      </a:lnTo>
                      <a:lnTo>
                        <a:pt x="65394" y="13211"/>
                      </a:lnTo>
                      <a:lnTo>
                        <a:pt x="63918" y="15436"/>
                      </a:lnTo>
                      <a:lnTo>
                        <a:pt x="61042" y="18907"/>
                      </a:lnTo>
                      <a:lnTo>
                        <a:pt x="62272" y="19975"/>
                      </a:lnTo>
                      <a:lnTo>
                        <a:pt x="66698" y="21173"/>
                      </a:lnTo>
                      <a:lnTo>
                        <a:pt x="68678" y="22420"/>
                      </a:lnTo>
                      <a:lnTo>
                        <a:pt x="71669" y="28899"/>
                      </a:lnTo>
                      <a:lnTo>
                        <a:pt x="70993" y="29551"/>
                      </a:lnTo>
                      <a:lnTo>
                        <a:pt x="70715" y="30741"/>
                      </a:lnTo>
                      <a:lnTo>
                        <a:pt x="73380" y="32403"/>
                      </a:lnTo>
                      <a:lnTo>
                        <a:pt x="74228" y="37049"/>
                      </a:lnTo>
                      <a:lnTo>
                        <a:pt x="76412" y="38622"/>
                      </a:lnTo>
                      <a:lnTo>
                        <a:pt x="79664" y="39599"/>
                      </a:lnTo>
                      <a:lnTo>
                        <a:pt x="83649" y="38198"/>
                      </a:lnTo>
                      <a:lnTo>
                        <a:pt x="86966" y="36266"/>
                      </a:lnTo>
                      <a:lnTo>
                        <a:pt x="86844" y="34685"/>
                      </a:lnTo>
                      <a:lnTo>
                        <a:pt x="84765" y="30993"/>
                      </a:lnTo>
                      <a:lnTo>
                        <a:pt x="84268" y="29266"/>
                      </a:lnTo>
                      <a:lnTo>
                        <a:pt x="82720" y="28141"/>
                      </a:lnTo>
                      <a:lnTo>
                        <a:pt x="82133" y="29086"/>
                      </a:lnTo>
                      <a:lnTo>
                        <a:pt x="81131" y="27856"/>
                      </a:lnTo>
                      <a:lnTo>
                        <a:pt x="81017" y="27171"/>
                      </a:lnTo>
                      <a:lnTo>
                        <a:pt x="81954" y="26829"/>
                      </a:lnTo>
                      <a:lnTo>
                        <a:pt x="83030" y="26968"/>
                      </a:lnTo>
                      <a:lnTo>
                        <a:pt x="84293" y="27611"/>
                      </a:lnTo>
                      <a:lnTo>
                        <a:pt x="87544" y="31637"/>
                      </a:lnTo>
                      <a:lnTo>
                        <a:pt x="88449" y="36902"/>
                      </a:lnTo>
                      <a:lnTo>
                        <a:pt x="88637" y="40243"/>
                      </a:lnTo>
                      <a:lnTo>
                        <a:pt x="88270" y="41384"/>
                      </a:lnTo>
                      <a:lnTo>
                        <a:pt x="87325" y="41148"/>
                      </a:lnTo>
                      <a:lnTo>
                        <a:pt x="85515" y="41376"/>
                      </a:lnTo>
                      <a:lnTo>
                        <a:pt x="76958" y="43104"/>
                      </a:lnTo>
                      <a:lnTo>
                        <a:pt x="75051" y="44636"/>
                      </a:lnTo>
                      <a:lnTo>
                        <a:pt x="70691" y="46282"/>
                      </a:lnTo>
                      <a:lnTo>
                        <a:pt x="70422" y="45459"/>
                      </a:lnTo>
                      <a:lnTo>
                        <a:pt x="70740" y="43756"/>
                      </a:lnTo>
                      <a:lnTo>
                        <a:pt x="70463" y="40260"/>
                      </a:lnTo>
                      <a:lnTo>
                        <a:pt x="69607" y="40097"/>
                      </a:lnTo>
                      <a:lnTo>
                        <a:pt x="62826" y="45793"/>
                      </a:lnTo>
                      <a:lnTo>
                        <a:pt x="60210" y="46152"/>
                      </a:lnTo>
                      <a:lnTo>
                        <a:pt x="58010" y="47823"/>
                      </a:lnTo>
                      <a:lnTo>
                        <a:pt x="57513" y="46902"/>
                      </a:lnTo>
                      <a:lnTo>
                        <a:pt x="57121" y="42631"/>
                      </a:lnTo>
                      <a:lnTo>
                        <a:pt x="58491" y="39045"/>
                      </a:lnTo>
                      <a:lnTo>
                        <a:pt x="57757" y="39094"/>
                      </a:lnTo>
                      <a:lnTo>
                        <a:pt x="56388" y="40382"/>
                      </a:lnTo>
                      <a:lnTo>
                        <a:pt x="55540" y="38866"/>
                      </a:lnTo>
                      <a:lnTo>
                        <a:pt x="54628" y="38043"/>
                      </a:lnTo>
                      <a:lnTo>
                        <a:pt x="53740" y="37244"/>
                      </a:lnTo>
                      <a:lnTo>
                        <a:pt x="53764" y="35965"/>
                      </a:lnTo>
                      <a:lnTo>
                        <a:pt x="53813" y="34033"/>
                      </a:lnTo>
                      <a:lnTo>
                        <a:pt x="52786" y="33658"/>
                      </a:lnTo>
                      <a:lnTo>
                        <a:pt x="52664" y="31279"/>
                      </a:lnTo>
                      <a:lnTo>
                        <a:pt x="52582" y="29738"/>
                      </a:lnTo>
                      <a:lnTo>
                        <a:pt x="50708" y="29763"/>
                      </a:lnTo>
                      <a:lnTo>
                        <a:pt x="49184" y="29787"/>
                      </a:lnTo>
                      <a:lnTo>
                        <a:pt x="46722" y="29828"/>
                      </a:lnTo>
                      <a:lnTo>
                        <a:pt x="44180" y="29869"/>
                      </a:lnTo>
                      <a:lnTo>
                        <a:pt x="42322" y="29901"/>
                      </a:lnTo>
                      <a:lnTo>
                        <a:pt x="42305" y="29535"/>
                      </a:lnTo>
                      <a:lnTo>
                        <a:pt x="39339" y="29486"/>
                      </a:lnTo>
                      <a:lnTo>
                        <a:pt x="36381" y="29437"/>
                      </a:lnTo>
                      <a:lnTo>
                        <a:pt x="33414" y="29388"/>
                      </a:lnTo>
                      <a:lnTo>
                        <a:pt x="30448" y="29339"/>
                      </a:lnTo>
                      <a:lnTo>
                        <a:pt x="27481" y="29290"/>
                      </a:lnTo>
                      <a:lnTo>
                        <a:pt x="24515" y="29241"/>
                      </a:lnTo>
                      <a:lnTo>
                        <a:pt x="21556" y="29200"/>
                      </a:lnTo>
                      <a:lnTo>
                        <a:pt x="18590" y="29152"/>
                      </a:lnTo>
                      <a:lnTo>
                        <a:pt x="18443" y="29942"/>
                      </a:lnTo>
                      <a:lnTo>
                        <a:pt x="17375" y="30056"/>
                      </a:lnTo>
                      <a:lnTo>
                        <a:pt x="17351" y="29160"/>
                      </a:lnTo>
                      <a:lnTo>
                        <a:pt x="15265" y="29070"/>
                      </a:lnTo>
                      <a:lnTo>
                        <a:pt x="13178" y="28980"/>
                      </a:lnTo>
                      <a:lnTo>
                        <a:pt x="11092" y="28891"/>
                      </a:lnTo>
                      <a:lnTo>
                        <a:pt x="9006" y="28793"/>
                      </a:lnTo>
                      <a:lnTo>
                        <a:pt x="6919" y="28703"/>
                      </a:lnTo>
                      <a:lnTo>
                        <a:pt x="4833" y="28606"/>
                      </a:lnTo>
                      <a:lnTo>
                        <a:pt x="2747" y="28516"/>
                      </a:lnTo>
                      <a:lnTo>
                        <a:pt x="660" y="28426"/>
                      </a:lnTo>
                      <a:lnTo>
                        <a:pt x="0" y="27587"/>
                      </a:lnTo>
                      <a:lnTo>
                        <a:pt x="782" y="24702"/>
                      </a:lnTo>
                      <a:lnTo>
                        <a:pt x="1565" y="21817"/>
                      </a:lnTo>
                      <a:lnTo>
                        <a:pt x="2355" y="18924"/>
                      </a:lnTo>
                      <a:lnTo>
                        <a:pt x="3138" y="16030"/>
                      </a:lnTo>
                      <a:lnTo>
                        <a:pt x="3928" y="13137"/>
                      </a:lnTo>
                      <a:lnTo>
                        <a:pt x="4711" y="10244"/>
                      </a:lnTo>
                      <a:lnTo>
                        <a:pt x="5501" y="7351"/>
                      </a:lnTo>
                      <a:lnTo>
                        <a:pt x="6284" y="4450"/>
                      </a:lnTo>
                      <a:lnTo>
                        <a:pt x="8720" y="4548"/>
                      </a:lnTo>
                      <a:lnTo>
                        <a:pt x="11157" y="4645"/>
                      </a:lnTo>
                      <a:lnTo>
                        <a:pt x="13594" y="4735"/>
                      </a:lnTo>
                      <a:lnTo>
                        <a:pt x="16031" y="4833"/>
                      </a:lnTo>
                      <a:lnTo>
                        <a:pt x="18467" y="4922"/>
                      </a:lnTo>
                      <a:lnTo>
                        <a:pt x="20904" y="5028"/>
                      </a:lnTo>
                      <a:lnTo>
                        <a:pt x="23341" y="5118"/>
                      </a:lnTo>
                      <a:lnTo>
                        <a:pt x="25778" y="5216"/>
                      </a:lnTo>
                      <a:lnTo>
                        <a:pt x="29307" y="5330"/>
                      </a:lnTo>
                      <a:lnTo>
                        <a:pt x="32835" y="5452"/>
                      </a:lnTo>
                      <a:lnTo>
                        <a:pt x="36364" y="5574"/>
                      </a:lnTo>
                      <a:lnTo>
                        <a:pt x="39885" y="5697"/>
                      </a:lnTo>
                      <a:lnTo>
                        <a:pt x="43414" y="5811"/>
                      </a:lnTo>
                      <a:lnTo>
                        <a:pt x="46943" y="5933"/>
                      </a:lnTo>
                      <a:lnTo>
                        <a:pt x="50471" y="6055"/>
                      </a:lnTo>
                      <a:lnTo>
                        <a:pt x="54000" y="6177"/>
                      </a:lnTo>
                      <a:lnTo>
                        <a:pt x="56168" y="5248"/>
                      </a:lnTo>
                      <a:lnTo>
                        <a:pt x="58719" y="2535"/>
                      </a:lnTo>
                      <a:lnTo>
                        <a:pt x="60284" y="1956"/>
                      </a:lnTo>
                      <a:lnTo>
                        <a:pt x="62818" y="342"/>
                      </a:lnTo>
                      <a:lnTo>
                        <a:pt x="64073" y="0"/>
                      </a:lnTo>
                      <a:lnTo>
                        <a:pt x="66975" y="171"/>
                      </a:lnTo>
                      <a:lnTo>
                        <a:pt x="66404" y="1948"/>
                      </a:lnTo>
                      <a:lnTo>
                        <a:pt x="67121" y="3716"/>
                      </a:lnTo>
                      <a:lnTo>
                        <a:pt x="67610" y="5469"/>
                      </a:lnTo>
                      <a:close/>
                    </a:path>
                  </a:pathLst>
                </a:custGeom>
                <a:solidFill>
                  <a:srgbClr val="D6D6D2"/>
                </a:solidFill>
                <a:ln w="8150" cap="flat">
                  <a:noFill/>
                  <a:prstDash val="solid"/>
                  <a:miter/>
                </a:ln>
              </p:spPr>
              <p:txBody>
                <a:bodyPr rtlCol="0" anchor="ctr"/>
                <a:lstStyle/>
                <a:p>
                  <a:endParaRPr lang="en-US"/>
                </a:p>
              </p:txBody>
            </p:sp>
            <p:sp>
              <p:nvSpPr>
                <p:cNvPr id="455" name="Freeform: Shape 454">
                  <a:extLst>
                    <a:ext uri="{FF2B5EF4-FFF2-40B4-BE49-F238E27FC236}">
                      <a16:creationId xmlns:a16="http://schemas.microsoft.com/office/drawing/2014/main" id="{A2503CAA-7265-4662-8B9C-0D40EAB9E411}"/>
                    </a:ext>
                  </a:extLst>
                </p:cNvPr>
                <p:cNvSpPr/>
                <p:nvPr/>
              </p:nvSpPr>
              <p:spPr>
                <a:xfrm>
                  <a:off x="3611105" y="3507777"/>
                  <a:ext cx="124699" cy="130061"/>
                </a:xfrm>
                <a:custGeom>
                  <a:avLst/>
                  <a:gdLst>
                    <a:gd name="connsiteX0" fmla="*/ 71131 w 124699"/>
                    <a:gd name="connsiteY0" fmla="*/ 65255 h 130061"/>
                    <a:gd name="connsiteX1" fmla="*/ 77080 w 124699"/>
                    <a:gd name="connsiteY1" fmla="*/ 65255 h 130061"/>
                    <a:gd name="connsiteX2" fmla="*/ 83038 w 124699"/>
                    <a:gd name="connsiteY2" fmla="*/ 65255 h 130061"/>
                    <a:gd name="connsiteX3" fmla="*/ 88995 w 124699"/>
                    <a:gd name="connsiteY3" fmla="*/ 65255 h 130061"/>
                    <a:gd name="connsiteX4" fmla="*/ 94953 w 124699"/>
                    <a:gd name="connsiteY4" fmla="*/ 65255 h 130061"/>
                    <a:gd name="connsiteX5" fmla="*/ 100910 w 124699"/>
                    <a:gd name="connsiteY5" fmla="*/ 65255 h 130061"/>
                    <a:gd name="connsiteX6" fmla="*/ 106859 w 124699"/>
                    <a:gd name="connsiteY6" fmla="*/ 65255 h 130061"/>
                    <a:gd name="connsiteX7" fmla="*/ 106126 w 124699"/>
                    <a:gd name="connsiteY7" fmla="*/ 68971 h 130061"/>
                    <a:gd name="connsiteX8" fmla="*/ 104382 w 124699"/>
                    <a:gd name="connsiteY8" fmla="*/ 73967 h 130061"/>
                    <a:gd name="connsiteX9" fmla="*/ 104309 w 124699"/>
                    <a:gd name="connsiteY9" fmla="*/ 75271 h 130061"/>
                    <a:gd name="connsiteX10" fmla="*/ 104765 w 124699"/>
                    <a:gd name="connsiteY10" fmla="*/ 76901 h 130061"/>
                    <a:gd name="connsiteX11" fmla="*/ 104757 w 124699"/>
                    <a:gd name="connsiteY11" fmla="*/ 77822 h 130061"/>
                    <a:gd name="connsiteX12" fmla="*/ 105409 w 124699"/>
                    <a:gd name="connsiteY12" fmla="*/ 79183 h 130061"/>
                    <a:gd name="connsiteX13" fmla="*/ 106827 w 124699"/>
                    <a:gd name="connsiteY13" fmla="*/ 80544 h 130061"/>
                    <a:gd name="connsiteX14" fmla="*/ 108090 w 124699"/>
                    <a:gd name="connsiteY14" fmla="*/ 82598 h 130061"/>
                    <a:gd name="connsiteX15" fmla="*/ 109206 w 124699"/>
                    <a:gd name="connsiteY15" fmla="*/ 86257 h 130061"/>
                    <a:gd name="connsiteX16" fmla="*/ 109500 w 124699"/>
                    <a:gd name="connsiteY16" fmla="*/ 87952 h 130061"/>
                    <a:gd name="connsiteX17" fmla="*/ 110429 w 124699"/>
                    <a:gd name="connsiteY17" fmla="*/ 90299 h 130061"/>
                    <a:gd name="connsiteX18" fmla="*/ 110902 w 124699"/>
                    <a:gd name="connsiteY18" fmla="*/ 90747 h 130061"/>
                    <a:gd name="connsiteX19" fmla="*/ 111578 w 124699"/>
                    <a:gd name="connsiteY19" fmla="*/ 91016 h 130061"/>
                    <a:gd name="connsiteX20" fmla="*/ 112181 w 124699"/>
                    <a:gd name="connsiteY20" fmla="*/ 91277 h 130061"/>
                    <a:gd name="connsiteX21" fmla="*/ 110502 w 124699"/>
                    <a:gd name="connsiteY21" fmla="*/ 92124 h 130061"/>
                    <a:gd name="connsiteX22" fmla="*/ 101431 w 124699"/>
                    <a:gd name="connsiteY22" fmla="*/ 88832 h 130061"/>
                    <a:gd name="connsiteX23" fmla="*/ 99174 w 124699"/>
                    <a:gd name="connsiteY23" fmla="*/ 86167 h 130061"/>
                    <a:gd name="connsiteX24" fmla="*/ 97169 w 124699"/>
                    <a:gd name="connsiteY24" fmla="*/ 85597 h 130061"/>
                    <a:gd name="connsiteX25" fmla="*/ 94708 w 124699"/>
                    <a:gd name="connsiteY25" fmla="*/ 85271 h 130061"/>
                    <a:gd name="connsiteX26" fmla="*/ 92059 w 124699"/>
                    <a:gd name="connsiteY26" fmla="*/ 88539 h 130061"/>
                    <a:gd name="connsiteX27" fmla="*/ 90046 w 124699"/>
                    <a:gd name="connsiteY27" fmla="*/ 92948 h 130061"/>
                    <a:gd name="connsiteX28" fmla="*/ 93225 w 124699"/>
                    <a:gd name="connsiteY28" fmla="*/ 95352 h 130061"/>
                    <a:gd name="connsiteX29" fmla="*/ 95939 w 124699"/>
                    <a:gd name="connsiteY29" fmla="*/ 96509 h 130061"/>
                    <a:gd name="connsiteX30" fmla="*/ 100437 w 124699"/>
                    <a:gd name="connsiteY30" fmla="*/ 95547 h 130061"/>
                    <a:gd name="connsiteX31" fmla="*/ 102923 w 124699"/>
                    <a:gd name="connsiteY31" fmla="*/ 93404 h 130061"/>
                    <a:gd name="connsiteX32" fmla="*/ 104952 w 124699"/>
                    <a:gd name="connsiteY32" fmla="*/ 93477 h 130061"/>
                    <a:gd name="connsiteX33" fmla="*/ 105922 w 124699"/>
                    <a:gd name="connsiteY33" fmla="*/ 93037 h 130061"/>
                    <a:gd name="connsiteX34" fmla="*/ 106810 w 124699"/>
                    <a:gd name="connsiteY34" fmla="*/ 91929 h 130061"/>
                    <a:gd name="connsiteX35" fmla="*/ 108546 w 124699"/>
                    <a:gd name="connsiteY35" fmla="*/ 92809 h 130061"/>
                    <a:gd name="connsiteX36" fmla="*/ 108603 w 124699"/>
                    <a:gd name="connsiteY36" fmla="*/ 93689 h 130061"/>
                    <a:gd name="connsiteX37" fmla="*/ 107381 w 124699"/>
                    <a:gd name="connsiteY37" fmla="*/ 94928 h 130061"/>
                    <a:gd name="connsiteX38" fmla="*/ 105824 w 124699"/>
                    <a:gd name="connsiteY38" fmla="*/ 95979 h 130061"/>
                    <a:gd name="connsiteX39" fmla="*/ 104887 w 124699"/>
                    <a:gd name="connsiteY39" fmla="*/ 97210 h 130061"/>
                    <a:gd name="connsiteX40" fmla="*/ 106656 w 124699"/>
                    <a:gd name="connsiteY40" fmla="*/ 99696 h 130061"/>
                    <a:gd name="connsiteX41" fmla="*/ 109435 w 124699"/>
                    <a:gd name="connsiteY41" fmla="*/ 100527 h 130061"/>
                    <a:gd name="connsiteX42" fmla="*/ 110486 w 124699"/>
                    <a:gd name="connsiteY42" fmla="*/ 100168 h 130061"/>
                    <a:gd name="connsiteX43" fmla="*/ 111130 w 124699"/>
                    <a:gd name="connsiteY43" fmla="*/ 97381 h 130061"/>
                    <a:gd name="connsiteX44" fmla="*/ 112841 w 124699"/>
                    <a:gd name="connsiteY44" fmla="*/ 95580 h 130061"/>
                    <a:gd name="connsiteX45" fmla="*/ 115164 w 124699"/>
                    <a:gd name="connsiteY45" fmla="*/ 95971 h 130061"/>
                    <a:gd name="connsiteX46" fmla="*/ 114838 w 124699"/>
                    <a:gd name="connsiteY46" fmla="*/ 97096 h 130061"/>
                    <a:gd name="connsiteX47" fmla="*/ 115164 w 124699"/>
                    <a:gd name="connsiteY47" fmla="*/ 98164 h 130061"/>
                    <a:gd name="connsiteX48" fmla="*/ 116223 w 124699"/>
                    <a:gd name="connsiteY48" fmla="*/ 99981 h 130061"/>
                    <a:gd name="connsiteX49" fmla="*/ 116101 w 124699"/>
                    <a:gd name="connsiteY49" fmla="*/ 102589 h 130061"/>
                    <a:gd name="connsiteX50" fmla="*/ 116313 w 124699"/>
                    <a:gd name="connsiteY50" fmla="*/ 103216 h 130061"/>
                    <a:gd name="connsiteX51" fmla="*/ 113803 w 124699"/>
                    <a:gd name="connsiteY51" fmla="*/ 104374 h 130061"/>
                    <a:gd name="connsiteX52" fmla="*/ 111936 w 124699"/>
                    <a:gd name="connsiteY52" fmla="*/ 104757 h 130061"/>
                    <a:gd name="connsiteX53" fmla="*/ 110437 w 124699"/>
                    <a:gd name="connsiteY53" fmla="*/ 106264 h 130061"/>
                    <a:gd name="connsiteX54" fmla="*/ 111219 w 124699"/>
                    <a:gd name="connsiteY54" fmla="*/ 107136 h 130061"/>
                    <a:gd name="connsiteX55" fmla="*/ 109704 w 124699"/>
                    <a:gd name="connsiteY55" fmla="*/ 107902 h 130061"/>
                    <a:gd name="connsiteX56" fmla="*/ 108668 w 124699"/>
                    <a:gd name="connsiteY56" fmla="*/ 107593 h 130061"/>
                    <a:gd name="connsiteX57" fmla="*/ 108155 w 124699"/>
                    <a:gd name="connsiteY57" fmla="*/ 107878 h 130061"/>
                    <a:gd name="connsiteX58" fmla="*/ 108000 w 124699"/>
                    <a:gd name="connsiteY58" fmla="*/ 108799 h 130061"/>
                    <a:gd name="connsiteX59" fmla="*/ 107218 w 124699"/>
                    <a:gd name="connsiteY59" fmla="*/ 109655 h 130061"/>
                    <a:gd name="connsiteX60" fmla="*/ 108359 w 124699"/>
                    <a:gd name="connsiteY60" fmla="*/ 112238 h 130061"/>
                    <a:gd name="connsiteX61" fmla="*/ 110698 w 124699"/>
                    <a:gd name="connsiteY61" fmla="*/ 113925 h 130061"/>
                    <a:gd name="connsiteX62" fmla="*/ 112352 w 124699"/>
                    <a:gd name="connsiteY62" fmla="*/ 116036 h 130061"/>
                    <a:gd name="connsiteX63" fmla="*/ 118994 w 124699"/>
                    <a:gd name="connsiteY63" fmla="*/ 118815 h 130061"/>
                    <a:gd name="connsiteX64" fmla="*/ 120608 w 124699"/>
                    <a:gd name="connsiteY64" fmla="*/ 118733 h 130061"/>
                    <a:gd name="connsiteX65" fmla="*/ 122189 w 124699"/>
                    <a:gd name="connsiteY65" fmla="*/ 121529 h 130061"/>
                    <a:gd name="connsiteX66" fmla="*/ 123468 w 124699"/>
                    <a:gd name="connsiteY66" fmla="*/ 122490 h 130061"/>
                    <a:gd name="connsiteX67" fmla="*/ 124699 w 124699"/>
                    <a:gd name="connsiteY67" fmla="*/ 122979 h 130061"/>
                    <a:gd name="connsiteX68" fmla="*/ 124560 w 124699"/>
                    <a:gd name="connsiteY68" fmla="*/ 124903 h 130061"/>
                    <a:gd name="connsiteX69" fmla="*/ 122376 w 124699"/>
                    <a:gd name="connsiteY69" fmla="*/ 126304 h 130061"/>
                    <a:gd name="connsiteX70" fmla="*/ 121781 w 124699"/>
                    <a:gd name="connsiteY70" fmla="*/ 127983 h 130061"/>
                    <a:gd name="connsiteX71" fmla="*/ 121235 w 124699"/>
                    <a:gd name="connsiteY71" fmla="*/ 128929 h 130061"/>
                    <a:gd name="connsiteX72" fmla="*/ 120249 w 124699"/>
                    <a:gd name="connsiteY72" fmla="*/ 127739 h 130061"/>
                    <a:gd name="connsiteX73" fmla="*/ 119231 w 124699"/>
                    <a:gd name="connsiteY73" fmla="*/ 126875 h 130061"/>
                    <a:gd name="connsiteX74" fmla="*/ 116892 w 124699"/>
                    <a:gd name="connsiteY74" fmla="*/ 129507 h 130061"/>
                    <a:gd name="connsiteX75" fmla="*/ 115759 w 124699"/>
                    <a:gd name="connsiteY75" fmla="*/ 130062 h 130061"/>
                    <a:gd name="connsiteX76" fmla="*/ 116321 w 124699"/>
                    <a:gd name="connsiteY76" fmla="*/ 127217 h 130061"/>
                    <a:gd name="connsiteX77" fmla="*/ 115441 w 124699"/>
                    <a:gd name="connsiteY77" fmla="*/ 126109 h 130061"/>
                    <a:gd name="connsiteX78" fmla="*/ 114096 w 124699"/>
                    <a:gd name="connsiteY78" fmla="*/ 123265 h 130061"/>
                    <a:gd name="connsiteX79" fmla="*/ 112148 w 124699"/>
                    <a:gd name="connsiteY79" fmla="*/ 121496 h 130061"/>
                    <a:gd name="connsiteX80" fmla="*/ 110771 w 124699"/>
                    <a:gd name="connsiteY80" fmla="*/ 120918 h 130061"/>
                    <a:gd name="connsiteX81" fmla="*/ 109704 w 124699"/>
                    <a:gd name="connsiteY81" fmla="*/ 119801 h 130061"/>
                    <a:gd name="connsiteX82" fmla="*/ 108408 w 124699"/>
                    <a:gd name="connsiteY82" fmla="*/ 119345 h 130061"/>
                    <a:gd name="connsiteX83" fmla="*/ 107299 w 124699"/>
                    <a:gd name="connsiteY83" fmla="*/ 119467 h 130061"/>
                    <a:gd name="connsiteX84" fmla="*/ 105433 w 124699"/>
                    <a:gd name="connsiteY84" fmla="*/ 118815 h 130061"/>
                    <a:gd name="connsiteX85" fmla="*/ 105311 w 124699"/>
                    <a:gd name="connsiteY85" fmla="*/ 117291 h 130061"/>
                    <a:gd name="connsiteX86" fmla="*/ 104797 w 124699"/>
                    <a:gd name="connsiteY86" fmla="*/ 116158 h 130061"/>
                    <a:gd name="connsiteX87" fmla="*/ 103330 w 124699"/>
                    <a:gd name="connsiteY87" fmla="*/ 114821 h 130061"/>
                    <a:gd name="connsiteX88" fmla="*/ 96338 w 124699"/>
                    <a:gd name="connsiteY88" fmla="*/ 112279 h 130061"/>
                    <a:gd name="connsiteX89" fmla="*/ 96297 w 124699"/>
                    <a:gd name="connsiteY89" fmla="*/ 113330 h 130061"/>
                    <a:gd name="connsiteX90" fmla="*/ 96786 w 124699"/>
                    <a:gd name="connsiteY90" fmla="*/ 114121 h 130061"/>
                    <a:gd name="connsiteX91" fmla="*/ 97789 w 124699"/>
                    <a:gd name="connsiteY91" fmla="*/ 114642 h 130061"/>
                    <a:gd name="connsiteX92" fmla="*/ 98987 w 124699"/>
                    <a:gd name="connsiteY92" fmla="*/ 115661 h 130061"/>
                    <a:gd name="connsiteX93" fmla="*/ 98978 w 124699"/>
                    <a:gd name="connsiteY93" fmla="*/ 118684 h 130061"/>
                    <a:gd name="connsiteX94" fmla="*/ 98457 w 124699"/>
                    <a:gd name="connsiteY94" fmla="*/ 119964 h 130061"/>
                    <a:gd name="connsiteX95" fmla="*/ 98237 w 124699"/>
                    <a:gd name="connsiteY95" fmla="*/ 121790 h 130061"/>
                    <a:gd name="connsiteX96" fmla="*/ 97772 w 124699"/>
                    <a:gd name="connsiteY96" fmla="*/ 123648 h 130061"/>
                    <a:gd name="connsiteX97" fmla="*/ 96917 w 124699"/>
                    <a:gd name="connsiteY97" fmla="*/ 125107 h 130061"/>
                    <a:gd name="connsiteX98" fmla="*/ 95010 w 124699"/>
                    <a:gd name="connsiteY98" fmla="*/ 126109 h 130061"/>
                    <a:gd name="connsiteX99" fmla="*/ 94162 w 124699"/>
                    <a:gd name="connsiteY99" fmla="*/ 125270 h 130061"/>
                    <a:gd name="connsiteX100" fmla="*/ 92801 w 124699"/>
                    <a:gd name="connsiteY100" fmla="*/ 121276 h 130061"/>
                    <a:gd name="connsiteX101" fmla="*/ 90878 w 124699"/>
                    <a:gd name="connsiteY101" fmla="*/ 120021 h 130061"/>
                    <a:gd name="connsiteX102" fmla="*/ 87813 w 124699"/>
                    <a:gd name="connsiteY102" fmla="*/ 119875 h 130061"/>
                    <a:gd name="connsiteX103" fmla="*/ 85743 w 124699"/>
                    <a:gd name="connsiteY103" fmla="*/ 120779 h 130061"/>
                    <a:gd name="connsiteX104" fmla="*/ 83486 w 124699"/>
                    <a:gd name="connsiteY104" fmla="*/ 124642 h 130061"/>
                    <a:gd name="connsiteX105" fmla="*/ 81660 w 124699"/>
                    <a:gd name="connsiteY105" fmla="*/ 125270 h 130061"/>
                    <a:gd name="connsiteX106" fmla="*/ 75418 w 124699"/>
                    <a:gd name="connsiteY106" fmla="*/ 123265 h 130061"/>
                    <a:gd name="connsiteX107" fmla="*/ 68287 w 124699"/>
                    <a:gd name="connsiteY107" fmla="*/ 120209 h 130061"/>
                    <a:gd name="connsiteX108" fmla="*/ 68466 w 124699"/>
                    <a:gd name="connsiteY108" fmla="*/ 119198 h 130061"/>
                    <a:gd name="connsiteX109" fmla="*/ 69591 w 124699"/>
                    <a:gd name="connsiteY109" fmla="*/ 118864 h 130061"/>
                    <a:gd name="connsiteX110" fmla="*/ 71742 w 124699"/>
                    <a:gd name="connsiteY110" fmla="*/ 119288 h 130061"/>
                    <a:gd name="connsiteX111" fmla="*/ 71628 w 124699"/>
                    <a:gd name="connsiteY111" fmla="*/ 118236 h 130061"/>
                    <a:gd name="connsiteX112" fmla="*/ 69428 w 124699"/>
                    <a:gd name="connsiteY112" fmla="*/ 114821 h 130061"/>
                    <a:gd name="connsiteX113" fmla="*/ 69028 w 124699"/>
                    <a:gd name="connsiteY113" fmla="*/ 113289 h 130061"/>
                    <a:gd name="connsiteX114" fmla="*/ 69314 w 124699"/>
                    <a:gd name="connsiteY114" fmla="*/ 111407 h 130061"/>
                    <a:gd name="connsiteX115" fmla="*/ 68596 w 124699"/>
                    <a:gd name="connsiteY115" fmla="*/ 111447 h 130061"/>
                    <a:gd name="connsiteX116" fmla="*/ 67276 w 124699"/>
                    <a:gd name="connsiteY116" fmla="*/ 113029 h 130061"/>
                    <a:gd name="connsiteX117" fmla="*/ 62728 w 124699"/>
                    <a:gd name="connsiteY117" fmla="*/ 111684 h 130061"/>
                    <a:gd name="connsiteX118" fmla="*/ 61473 w 124699"/>
                    <a:gd name="connsiteY118" fmla="*/ 110087 h 130061"/>
                    <a:gd name="connsiteX119" fmla="*/ 58800 w 124699"/>
                    <a:gd name="connsiteY119" fmla="*/ 105580 h 130061"/>
                    <a:gd name="connsiteX120" fmla="*/ 55035 w 124699"/>
                    <a:gd name="connsiteY120" fmla="*/ 105433 h 130061"/>
                    <a:gd name="connsiteX121" fmla="*/ 53332 w 124699"/>
                    <a:gd name="connsiteY121" fmla="*/ 102695 h 130061"/>
                    <a:gd name="connsiteX122" fmla="*/ 50251 w 124699"/>
                    <a:gd name="connsiteY122" fmla="*/ 103844 h 130061"/>
                    <a:gd name="connsiteX123" fmla="*/ 48695 w 124699"/>
                    <a:gd name="connsiteY123" fmla="*/ 105115 h 130061"/>
                    <a:gd name="connsiteX124" fmla="*/ 47326 w 124699"/>
                    <a:gd name="connsiteY124" fmla="*/ 107071 h 130061"/>
                    <a:gd name="connsiteX125" fmla="*/ 47855 w 124699"/>
                    <a:gd name="connsiteY125" fmla="*/ 108090 h 130061"/>
                    <a:gd name="connsiteX126" fmla="*/ 49216 w 124699"/>
                    <a:gd name="connsiteY126" fmla="*/ 109712 h 130061"/>
                    <a:gd name="connsiteX127" fmla="*/ 48589 w 124699"/>
                    <a:gd name="connsiteY127" fmla="*/ 110494 h 130061"/>
                    <a:gd name="connsiteX128" fmla="*/ 44204 w 124699"/>
                    <a:gd name="connsiteY128" fmla="*/ 111643 h 130061"/>
                    <a:gd name="connsiteX129" fmla="*/ 34025 w 124699"/>
                    <a:gd name="connsiteY129" fmla="*/ 110355 h 130061"/>
                    <a:gd name="connsiteX130" fmla="*/ 31050 w 124699"/>
                    <a:gd name="connsiteY130" fmla="*/ 109158 h 130061"/>
                    <a:gd name="connsiteX131" fmla="*/ 27049 w 124699"/>
                    <a:gd name="connsiteY131" fmla="*/ 106615 h 130061"/>
                    <a:gd name="connsiteX132" fmla="*/ 21507 w 124699"/>
                    <a:gd name="connsiteY132" fmla="*/ 104537 h 130061"/>
                    <a:gd name="connsiteX133" fmla="*/ 18842 w 124699"/>
                    <a:gd name="connsiteY133" fmla="*/ 104203 h 130061"/>
                    <a:gd name="connsiteX134" fmla="*/ 16234 w 124699"/>
                    <a:gd name="connsiteY134" fmla="*/ 104610 h 130061"/>
                    <a:gd name="connsiteX135" fmla="*/ 8630 w 124699"/>
                    <a:gd name="connsiteY135" fmla="*/ 104822 h 130061"/>
                    <a:gd name="connsiteX136" fmla="*/ 6870 w 124699"/>
                    <a:gd name="connsiteY136" fmla="*/ 105376 h 130061"/>
                    <a:gd name="connsiteX137" fmla="*/ 5362 w 124699"/>
                    <a:gd name="connsiteY137" fmla="*/ 106256 h 130061"/>
                    <a:gd name="connsiteX138" fmla="*/ 4393 w 124699"/>
                    <a:gd name="connsiteY138" fmla="*/ 105270 h 130061"/>
                    <a:gd name="connsiteX139" fmla="*/ 3945 w 124699"/>
                    <a:gd name="connsiteY139" fmla="*/ 103526 h 130061"/>
                    <a:gd name="connsiteX140" fmla="*/ 4825 w 124699"/>
                    <a:gd name="connsiteY140" fmla="*/ 103249 h 130061"/>
                    <a:gd name="connsiteX141" fmla="*/ 5811 w 124699"/>
                    <a:gd name="connsiteY141" fmla="*/ 102222 h 130061"/>
                    <a:gd name="connsiteX142" fmla="*/ 6699 w 124699"/>
                    <a:gd name="connsiteY142" fmla="*/ 100193 h 130061"/>
                    <a:gd name="connsiteX143" fmla="*/ 6797 w 124699"/>
                    <a:gd name="connsiteY143" fmla="*/ 98970 h 130061"/>
                    <a:gd name="connsiteX144" fmla="*/ 6177 w 124699"/>
                    <a:gd name="connsiteY144" fmla="*/ 98172 h 130061"/>
                    <a:gd name="connsiteX145" fmla="*/ 7840 w 124699"/>
                    <a:gd name="connsiteY145" fmla="*/ 94961 h 130061"/>
                    <a:gd name="connsiteX146" fmla="*/ 8239 w 124699"/>
                    <a:gd name="connsiteY146" fmla="*/ 93820 h 130061"/>
                    <a:gd name="connsiteX147" fmla="*/ 7987 w 124699"/>
                    <a:gd name="connsiteY147" fmla="*/ 88359 h 130061"/>
                    <a:gd name="connsiteX148" fmla="*/ 7253 w 124699"/>
                    <a:gd name="connsiteY148" fmla="*/ 86371 h 130061"/>
                    <a:gd name="connsiteX149" fmla="*/ 7351 w 124699"/>
                    <a:gd name="connsiteY149" fmla="*/ 85230 h 130061"/>
                    <a:gd name="connsiteX150" fmla="*/ 8133 w 124699"/>
                    <a:gd name="connsiteY150" fmla="*/ 82239 h 130061"/>
                    <a:gd name="connsiteX151" fmla="*/ 8003 w 124699"/>
                    <a:gd name="connsiteY151" fmla="*/ 79509 h 130061"/>
                    <a:gd name="connsiteX152" fmla="*/ 9372 w 124699"/>
                    <a:gd name="connsiteY152" fmla="*/ 76208 h 130061"/>
                    <a:gd name="connsiteX153" fmla="*/ 10375 w 124699"/>
                    <a:gd name="connsiteY153" fmla="*/ 74489 h 130061"/>
                    <a:gd name="connsiteX154" fmla="*/ 11507 w 124699"/>
                    <a:gd name="connsiteY154" fmla="*/ 70960 h 130061"/>
                    <a:gd name="connsiteX155" fmla="*/ 11768 w 124699"/>
                    <a:gd name="connsiteY155" fmla="*/ 68678 h 130061"/>
                    <a:gd name="connsiteX156" fmla="*/ 12257 w 124699"/>
                    <a:gd name="connsiteY156" fmla="*/ 66974 h 130061"/>
                    <a:gd name="connsiteX157" fmla="*/ 11923 w 124699"/>
                    <a:gd name="connsiteY157" fmla="*/ 65124 h 130061"/>
                    <a:gd name="connsiteX158" fmla="*/ 12714 w 124699"/>
                    <a:gd name="connsiteY158" fmla="*/ 63796 h 130061"/>
                    <a:gd name="connsiteX159" fmla="*/ 12200 w 124699"/>
                    <a:gd name="connsiteY159" fmla="*/ 61930 h 130061"/>
                    <a:gd name="connsiteX160" fmla="*/ 12037 w 124699"/>
                    <a:gd name="connsiteY160" fmla="*/ 59469 h 130061"/>
                    <a:gd name="connsiteX161" fmla="*/ 11067 w 124699"/>
                    <a:gd name="connsiteY161" fmla="*/ 58523 h 130061"/>
                    <a:gd name="connsiteX162" fmla="*/ 9364 w 124699"/>
                    <a:gd name="connsiteY162" fmla="*/ 54880 h 130061"/>
                    <a:gd name="connsiteX163" fmla="*/ 9413 w 124699"/>
                    <a:gd name="connsiteY163" fmla="*/ 53275 h 130061"/>
                    <a:gd name="connsiteX164" fmla="*/ 7620 w 124699"/>
                    <a:gd name="connsiteY164" fmla="*/ 49860 h 130061"/>
                    <a:gd name="connsiteX165" fmla="*/ 7579 w 124699"/>
                    <a:gd name="connsiteY165" fmla="*/ 48695 h 130061"/>
                    <a:gd name="connsiteX166" fmla="*/ 5868 w 124699"/>
                    <a:gd name="connsiteY166" fmla="*/ 46910 h 130061"/>
                    <a:gd name="connsiteX167" fmla="*/ 5526 w 124699"/>
                    <a:gd name="connsiteY167" fmla="*/ 45777 h 130061"/>
                    <a:gd name="connsiteX168" fmla="*/ 5371 w 124699"/>
                    <a:gd name="connsiteY168" fmla="*/ 41042 h 130061"/>
                    <a:gd name="connsiteX169" fmla="*/ 4906 w 124699"/>
                    <a:gd name="connsiteY169" fmla="*/ 39657 h 130061"/>
                    <a:gd name="connsiteX170" fmla="*/ 3431 w 124699"/>
                    <a:gd name="connsiteY170" fmla="*/ 36943 h 130061"/>
                    <a:gd name="connsiteX171" fmla="*/ 0 w 124699"/>
                    <a:gd name="connsiteY171" fmla="*/ 32982 h 130061"/>
                    <a:gd name="connsiteX172" fmla="*/ 8 w 124699"/>
                    <a:gd name="connsiteY172" fmla="*/ 28874 h 130061"/>
                    <a:gd name="connsiteX173" fmla="*/ 16 w 124699"/>
                    <a:gd name="connsiteY173" fmla="*/ 24775 h 130061"/>
                    <a:gd name="connsiteX174" fmla="*/ 16 w 124699"/>
                    <a:gd name="connsiteY174" fmla="*/ 20660 h 130061"/>
                    <a:gd name="connsiteX175" fmla="*/ 24 w 124699"/>
                    <a:gd name="connsiteY175" fmla="*/ 16552 h 130061"/>
                    <a:gd name="connsiteX176" fmla="*/ 33 w 124699"/>
                    <a:gd name="connsiteY176" fmla="*/ 12445 h 130061"/>
                    <a:gd name="connsiteX177" fmla="*/ 33 w 124699"/>
                    <a:gd name="connsiteY177" fmla="*/ 8329 h 130061"/>
                    <a:gd name="connsiteX178" fmla="*/ 41 w 124699"/>
                    <a:gd name="connsiteY178" fmla="*/ 4205 h 130061"/>
                    <a:gd name="connsiteX179" fmla="*/ 41 w 124699"/>
                    <a:gd name="connsiteY179" fmla="*/ 81 h 130061"/>
                    <a:gd name="connsiteX180" fmla="*/ 4499 w 124699"/>
                    <a:gd name="connsiteY180" fmla="*/ 81 h 130061"/>
                    <a:gd name="connsiteX181" fmla="*/ 8957 w 124699"/>
                    <a:gd name="connsiteY181" fmla="*/ 81 h 130061"/>
                    <a:gd name="connsiteX182" fmla="*/ 13414 w 124699"/>
                    <a:gd name="connsiteY182" fmla="*/ 73 h 130061"/>
                    <a:gd name="connsiteX183" fmla="*/ 17864 w 124699"/>
                    <a:gd name="connsiteY183" fmla="*/ 65 h 130061"/>
                    <a:gd name="connsiteX184" fmla="*/ 22322 w 124699"/>
                    <a:gd name="connsiteY184" fmla="*/ 57 h 130061"/>
                    <a:gd name="connsiteX185" fmla="*/ 26772 w 124699"/>
                    <a:gd name="connsiteY185" fmla="*/ 57 h 130061"/>
                    <a:gd name="connsiteX186" fmla="*/ 31230 w 124699"/>
                    <a:gd name="connsiteY186" fmla="*/ 49 h 130061"/>
                    <a:gd name="connsiteX187" fmla="*/ 35688 w 124699"/>
                    <a:gd name="connsiteY187" fmla="*/ 49 h 130061"/>
                    <a:gd name="connsiteX188" fmla="*/ 40137 w 124699"/>
                    <a:gd name="connsiteY188" fmla="*/ 49 h 130061"/>
                    <a:gd name="connsiteX189" fmla="*/ 44595 w 124699"/>
                    <a:gd name="connsiteY189" fmla="*/ 41 h 130061"/>
                    <a:gd name="connsiteX190" fmla="*/ 49053 w 124699"/>
                    <a:gd name="connsiteY190" fmla="*/ 41 h 130061"/>
                    <a:gd name="connsiteX191" fmla="*/ 53511 w 124699"/>
                    <a:gd name="connsiteY191" fmla="*/ 33 h 130061"/>
                    <a:gd name="connsiteX192" fmla="*/ 57969 w 124699"/>
                    <a:gd name="connsiteY192" fmla="*/ 33 h 130061"/>
                    <a:gd name="connsiteX193" fmla="*/ 62427 w 124699"/>
                    <a:gd name="connsiteY193" fmla="*/ 16 h 130061"/>
                    <a:gd name="connsiteX194" fmla="*/ 66877 w 124699"/>
                    <a:gd name="connsiteY194" fmla="*/ 16 h 130061"/>
                    <a:gd name="connsiteX195" fmla="*/ 71742 w 124699"/>
                    <a:gd name="connsiteY195" fmla="*/ 0 h 130061"/>
                    <a:gd name="connsiteX196" fmla="*/ 71889 w 124699"/>
                    <a:gd name="connsiteY196" fmla="*/ 1597 h 130061"/>
                    <a:gd name="connsiteX197" fmla="*/ 73079 w 124699"/>
                    <a:gd name="connsiteY197" fmla="*/ 2543 h 130061"/>
                    <a:gd name="connsiteX198" fmla="*/ 73144 w 124699"/>
                    <a:gd name="connsiteY198" fmla="*/ 4262 h 130061"/>
                    <a:gd name="connsiteX199" fmla="*/ 72084 w 124699"/>
                    <a:gd name="connsiteY199" fmla="*/ 6740 h 130061"/>
                    <a:gd name="connsiteX200" fmla="*/ 72093 w 124699"/>
                    <a:gd name="connsiteY200" fmla="*/ 8468 h 130061"/>
                    <a:gd name="connsiteX201" fmla="*/ 73168 w 124699"/>
                    <a:gd name="connsiteY201" fmla="*/ 9437 h 130061"/>
                    <a:gd name="connsiteX202" fmla="*/ 73111 w 124699"/>
                    <a:gd name="connsiteY202" fmla="*/ 10464 h 130061"/>
                    <a:gd name="connsiteX203" fmla="*/ 71921 w 124699"/>
                    <a:gd name="connsiteY203" fmla="*/ 11548 h 130061"/>
                    <a:gd name="connsiteX204" fmla="*/ 71742 w 124699"/>
                    <a:gd name="connsiteY204" fmla="*/ 12722 h 130061"/>
                    <a:gd name="connsiteX205" fmla="*/ 72573 w 124699"/>
                    <a:gd name="connsiteY205" fmla="*/ 13977 h 130061"/>
                    <a:gd name="connsiteX206" fmla="*/ 72956 w 124699"/>
                    <a:gd name="connsiteY206" fmla="*/ 15436 h 130061"/>
                    <a:gd name="connsiteX207" fmla="*/ 72875 w 124699"/>
                    <a:gd name="connsiteY207" fmla="*/ 17090 h 130061"/>
                    <a:gd name="connsiteX208" fmla="*/ 73983 w 124699"/>
                    <a:gd name="connsiteY208" fmla="*/ 19250 h 130061"/>
                    <a:gd name="connsiteX209" fmla="*/ 75703 w 124699"/>
                    <a:gd name="connsiteY209" fmla="*/ 20635 h 130061"/>
                    <a:gd name="connsiteX210" fmla="*/ 76828 w 124699"/>
                    <a:gd name="connsiteY210" fmla="*/ 22273 h 130061"/>
                    <a:gd name="connsiteX211" fmla="*/ 76925 w 124699"/>
                    <a:gd name="connsiteY211" fmla="*/ 23170 h 130061"/>
                    <a:gd name="connsiteX212" fmla="*/ 76999 w 124699"/>
                    <a:gd name="connsiteY212" fmla="*/ 24001 h 130061"/>
                    <a:gd name="connsiteX213" fmla="*/ 76746 w 124699"/>
                    <a:gd name="connsiteY213" fmla="*/ 25215 h 130061"/>
                    <a:gd name="connsiteX214" fmla="*/ 75336 w 124699"/>
                    <a:gd name="connsiteY214" fmla="*/ 26984 h 130061"/>
                    <a:gd name="connsiteX215" fmla="*/ 74260 w 124699"/>
                    <a:gd name="connsiteY215" fmla="*/ 28271 h 130061"/>
                    <a:gd name="connsiteX216" fmla="*/ 73608 w 124699"/>
                    <a:gd name="connsiteY216" fmla="*/ 28744 h 130061"/>
                    <a:gd name="connsiteX217" fmla="*/ 73258 w 124699"/>
                    <a:gd name="connsiteY217" fmla="*/ 29624 h 130061"/>
                    <a:gd name="connsiteX218" fmla="*/ 73160 w 124699"/>
                    <a:gd name="connsiteY218" fmla="*/ 31507 h 130061"/>
                    <a:gd name="connsiteX219" fmla="*/ 71571 w 124699"/>
                    <a:gd name="connsiteY219" fmla="*/ 33944 h 130061"/>
                    <a:gd name="connsiteX220" fmla="*/ 68344 w 124699"/>
                    <a:gd name="connsiteY220" fmla="*/ 36747 h 130061"/>
                    <a:gd name="connsiteX221" fmla="*/ 66208 w 124699"/>
                    <a:gd name="connsiteY221" fmla="*/ 40317 h 130061"/>
                    <a:gd name="connsiteX222" fmla="*/ 65165 w 124699"/>
                    <a:gd name="connsiteY222" fmla="*/ 44644 h 130061"/>
                    <a:gd name="connsiteX223" fmla="*/ 64057 w 124699"/>
                    <a:gd name="connsiteY223" fmla="*/ 47391 h 130061"/>
                    <a:gd name="connsiteX224" fmla="*/ 62900 w 124699"/>
                    <a:gd name="connsiteY224" fmla="*/ 48564 h 130061"/>
                    <a:gd name="connsiteX225" fmla="*/ 62321 w 124699"/>
                    <a:gd name="connsiteY225" fmla="*/ 50822 h 130061"/>
                    <a:gd name="connsiteX226" fmla="*/ 62321 w 124699"/>
                    <a:gd name="connsiteY226" fmla="*/ 54171 h 130061"/>
                    <a:gd name="connsiteX227" fmla="*/ 61588 w 124699"/>
                    <a:gd name="connsiteY227" fmla="*/ 56021 h 130061"/>
                    <a:gd name="connsiteX228" fmla="*/ 60104 w 124699"/>
                    <a:gd name="connsiteY228" fmla="*/ 56372 h 130061"/>
                    <a:gd name="connsiteX229" fmla="*/ 59786 w 124699"/>
                    <a:gd name="connsiteY229" fmla="*/ 58287 h 130061"/>
                    <a:gd name="connsiteX230" fmla="*/ 60642 w 124699"/>
                    <a:gd name="connsiteY230" fmla="*/ 61759 h 130061"/>
                    <a:gd name="connsiteX231" fmla="*/ 60284 w 124699"/>
                    <a:gd name="connsiteY231" fmla="*/ 63209 h 130061"/>
                    <a:gd name="connsiteX232" fmla="*/ 59248 w 124699"/>
                    <a:gd name="connsiteY232" fmla="*/ 64350 h 130061"/>
                    <a:gd name="connsiteX233" fmla="*/ 59151 w 124699"/>
                    <a:gd name="connsiteY233" fmla="*/ 65247 h 130061"/>
                    <a:gd name="connsiteX234" fmla="*/ 65092 w 124699"/>
                    <a:gd name="connsiteY234" fmla="*/ 65263 h 130061"/>
                    <a:gd name="connsiteX235" fmla="*/ 71131 w 124699"/>
                    <a:gd name="connsiteY235" fmla="*/ 65263 h 13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4699" h="130061">
                      <a:moveTo>
                        <a:pt x="71131" y="65255"/>
                      </a:moveTo>
                      <a:lnTo>
                        <a:pt x="77080" y="65255"/>
                      </a:lnTo>
                      <a:lnTo>
                        <a:pt x="83038" y="65255"/>
                      </a:lnTo>
                      <a:lnTo>
                        <a:pt x="88995" y="65255"/>
                      </a:lnTo>
                      <a:lnTo>
                        <a:pt x="94953" y="65255"/>
                      </a:lnTo>
                      <a:lnTo>
                        <a:pt x="100910" y="65255"/>
                      </a:lnTo>
                      <a:lnTo>
                        <a:pt x="106859" y="65255"/>
                      </a:lnTo>
                      <a:lnTo>
                        <a:pt x="106126" y="68971"/>
                      </a:lnTo>
                      <a:lnTo>
                        <a:pt x="104382" y="73967"/>
                      </a:lnTo>
                      <a:lnTo>
                        <a:pt x="104309" y="75271"/>
                      </a:lnTo>
                      <a:lnTo>
                        <a:pt x="104765" y="76901"/>
                      </a:lnTo>
                      <a:lnTo>
                        <a:pt x="104757" y="77822"/>
                      </a:lnTo>
                      <a:lnTo>
                        <a:pt x="105409" y="79183"/>
                      </a:lnTo>
                      <a:lnTo>
                        <a:pt x="106827" y="80544"/>
                      </a:lnTo>
                      <a:lnTo>
                        <a:pt x="108090" y="82598"/>
                      </a:lnTo>
                      <a:lnTo>
                        <a:pt x="109206" y="86257"/>
                      </a:lnTo>
                      <a:lnTo>
                        <a:pt x="109500" y="87952"/>
                      </a:lnTo>
                      <a:lnTo>
                        <a:pt x="110429" y="90299"/>
                      </a:lnTo>
                      <a:lnTo>
                        <a:pt x="110902" y="90747"/>
                      </a:lnTo>
                      <a:lnTo>
                        <a:pt x="111578" y="91016"/>
                      </a:lnTo>
                      <a:lnTo>
                        <a:pt x="112181" y="91277"/>
                      </a:lnTo>
                      <a:lnTo>
                        <a:pt x="110502" y="92124"/>
                      </a:lnTo>
                      <a:lnTo>
                        <a:pt x="101431" y="88832"/>
                      </a:lnTo>
                      <a:lnTo>
                        <a:pt x="99174" y="86167"/>
                      </a:lnTo>
                      <a:lnTo>
                        <a:pt x="97169" y="85597"/>
                      </a:lnTo>
                      <a:lnTo>
                        <a:pt x="94708" y="85271"/>
                      </a:lnTo>
                      <a:lnTo>
                        <a:pt x="92059" y="88539"/>
                      </a:lnTo>
                      <a:lnTo>
                        <a:pt x="90046" y="92948"/>
                      </a:lnTo>
                      <a:lnTo>
                        <a:pt x="93225" y="95352"/>
                      </a:lnTo>
                      <a:lnTo>
                        <a:pt x="95939" y="96509"/>
                      </a:lnTo>
                      <a:lnTo>
                        <a:pt x="100437" y="95547"/>
                      </a:lnTo>
                      <a:lnTo>
                        <a:pt x="102923" y="93404"/>
                      </a:lnTo>
                      <a:lnTo>
                        <a:pt x="104952" y="93477"/>
                      </a:lnTo>
                      <a:lnTo>
                        <a:pt x="105922" y="93037"/>
                      </a:lnTo>
                      <a:lnTo>
                        <a:pt x="106810" y="91929"/>
                      </a:lnTo>
                      <a:lnTo>
                        <a:pt x="108546" y="92809"/>
                      </a:lnTo>
                      <a:lnTo>
                        <a:pt x="108603" y="93689"/>
                      </a:lnTo>
                      <a:lnTo>
                        <a:pt x="107381" y="94928"/>
                      </a:lnTo>
                      <a:lnTo>
                        <a:pt x="105824" y="95979"/>
                      </a:lnTo>
                      <a:lnTo>
                        <a:pt x="104887" y="97210"/>
                      </a:lnTo>
                      <a:lnTo>
                        <a:pt x="106656" y="99696"/>
                      </a:lnTo>
                      <a:lnTo>
                        <a:pt x="109435" y="100527"/>
                      </a:lnTo>
                      <a:lnTo>
                        <a:pt x="110486" y="100168"/>
                      </a:lnTo>
                      <a:lnTo>
                        <a:pt x="111130" y="97381"/>
                      </a:lnTo>
                      <a:lnTo>
                        <a:pt x="112841" y="95580"/>
                      </a:lnTo>
                      <a:lnTo>
                        <a:pt x="115164" y="95971"/>
                      </a:lnTo>
                      <a:lnTo>
                        <a:pt x="114838" y="97096"/>
                      </a:lnTo>
                      <a:lnTo>
                        <a:pt x="115164" y="98164"/>
                      </a:lnTo>
                      <a:lnTo>
                        <a:pt x="116223" y="99981"/>
                      </a:lnTo>
                      <a:lnTo>
                        <a:pt x="116101" y="102589"/>
                      </a:lnTo>
                      <a:lnTo>
                        <a:pt x="116313" y="103216"/>
                      </a:lnTo>
                      <a:lnTo>
                        <a:pt x="113803" y="104374"/>
                      </a:lnTo>
                      <a:lnTo>
                        <a:pt x="111936" y="104757"/>
                      </a:lnTo>
                      <a:lnTo>
                        <a:pt x="110437" y="106264"/>
                      </a:lnTo>
                      <a:lnTo>
                        <a:pt x="111219" y="107136"/>
                      </a:lnTo>
                      <a:lnTo>
                        <a:pt x="109704" y="107902"/>
                      </a:lnTo>
                      <a:lnTo>
                        <a:pt x="108668" y="107593"/>
                      </a:lnTo>
                      <a:lnTo>
                        <a:pt x="108155" y="107878"/>
                      </a:lnTo>
                      <a:lnTo>
                        <a:pt x="108000" y="108799"/>
                      </a:lnTo>
                      <a:lnTo>
                        <a:pt x="107218" y="109655"/>
                      </a:lnTo>
                      <a:lnTo>
                        <a:pt x="108359" y="112238"/>
                      </a:lnTo>
                      <a:lnTo>
                        <a:pt x="110698" y="113925"/>
                      </a:lnTo>
                      <a:lnTo>
                        <a:pt x="112352" y="116036"/>
                      </a:lnTo>
                      <a:lnTo>
                        <a:pt x="118994" y="118815"/>
                      </a:lnTo>
                      <a:lnTo>
                        <a:pt x="120608" y="118733"/>
                      </a:lnTo>
                      <a:lnTo>
                        <a:pt x="122189" y="121529"/>
                      </a:lnTo>
                      <a:lnTo>
                        <a:pt x="123468" y="122490"/>
                      </a:lnTo>
                      <a:lnTo>
                        <a:pt x="124699" y="122979"/>
                      </a:lnTo>
                      <a:lnTo>
                        <a:pt x="124560" y="124903"/>
                      </a:lnTo>
                      <a:lnTo>
                        <a:pt x="122376" y="126304"/>
                      </a:lnTo>
                      <a:lnTo>
                        <a:pt x="121781" y="127983"/>
                      </a:lnTo>
                      <a:lnTo>
                        <a:pt x="121235" y="128929"/>
                      </a:lnTo>
                      <a:lnTo>
                        <a:pt x="120249" y="127739"/>
                      </a:lnTo>
                      <a:lnTo>
                        <a:pt x="119231" y="126875"/>
                      </a:lnTo>
                      <a:lnTo>
                        <a:pt x="116892" y="129507"/>
                      </a:lnTo>
                      <a:lnTo>
                        <a:pt x="115759" y="130062"/>
                      </a:lnTo>
                      <a:lnTo>
                        <a:pt x="116321" y="127217"/>
                      </a:lnTo>
                      <a:lnTo>
                        <a:pt x="115441" y="126109"/>
                      </a:lnTo>
                      <a:lnTo>
                        <a:pt x="114096" y="123265"/>
                      </a:lnTo>
                      <a:lnTo>
                        <a:pt x="112148" y="121496"/>
                      </a:lnTo>
                      <a:lnTo>
                        <a:pt x="110771" y="120918"/>
                      </a:lnTo>
                      <a:lnTo>
                        <a:pt x="109704" y="119801"/>
                      </a:lnTo>
                      <a:lnTo>
                        <a:pt x="108408" y="119345"/>
                      </a:lnTo>
                      <a:lnTo>
                        <a:pt x="107299" y="119467"/>
                      </a:lnTo>
                      <a:lnTo>
                        <a:pt x="105433" y="118815"/>
                      </a:lnTo>
                      <a:lnTo>
                        <a:pt x="105311" y="117291"/>
                      </a:lnTo>
                      <a:lnTo>
                        <a:pt x="104797" y="116158"/>
                      </a:lnTo>
                      <a:lnTo>
                        <a:pt x="103330" y="114821"/>
                      </a:lnTo>
                      <a:lnTo>
                        <a:pt x="96338" y="112279"/>
                      </a:lnTo>
                      <a:lnTo>
                        <a:pt x="96297" y="113330"/>
                      </a:lnTo>
                      <a:lnTo>
                        <a:pt x="96786" y="114121"/>
                      </a:lnTo>
                      <a:lnTo>
                        <a:pt x="97789" y="114642"/>
                      </a:lnTo>
                      <a:lnTo>
                        <a:pt x="98987" y="115661"/>
                      </a:lnTo>
                      <a:lnTo>
                        <a:pt x="98978" y="118684"/>
                      </a:lnTo>
                      <a:lnTo>
                        <a:pt x="98457" y="119964"/>
                      </a:lnTo>
                      <a:lnTo>
                        <a:pt x="98237" y="121790"/>
                      </a:lnTo>
                      <a:lnTo>
                        <a:pt x="97772" y="123648"/>
                      </a:lnTo>
                      <a:lnTo>
                        <a:pt x="96917" y="125107"/>
                      </a:lnTo>
                      <a:lnTo>
                        <a:pt x="95010" y="126109"/>
                      </a:lnTo>
                      <a:lnTo>
                        <a:pt x="94162" y="125270"/>
                      </a:lnTo>
                      <a:lnTo>
                        <a:pt x="92801" y="121276"/>
                      </a:lnTo>
                      <a:lnTo>
                        <a:pt x="90878" y="120021"/>
                      </a:lnTo>
                      <a:lnTo>
                        <a:pt x="87813" y="119875"/>
                      </a:lnTo>
                      <a:lnTo>
                        <a:pt x="85743" y="120779"/>
                      </a:lnTo>
                      <a:lnTo>
                        <a:pt x="83486" y="124642"/>
                      </a:lnTo>
                      <a:lnTo>
                        <a:pt x="81660" y="125270"/>
                      </a:lnTo>
                      <a:lnTo>
                        <a:pt x="75418" y="123265"/>
                      </a:lnTo>
                      <a:lnTo>
                        <a:pt x="68287" y="120209"/>
                      </a:lnTo>
                      <a:lnTo>
                        <a:pt x="68466" y="119198"/>
                      </a:lnTo>
                      <a:lnTo>
                        <a:pt x="69591" y="118864"/>
                      </a:lnTo>
                      <a:lnTo>
                        <a:pt x="71742" y="119288"/>
                      </a:lnTo>
                      <a:lnTo>
                        <a:pt x="71628" y="118236"/>
                      </a:lnTo>
                      <a:lnTo>
                        <a:pt x="69428" y="114821"/>
                      </a:lnTo>
                      <a:lnTo>
                        <a:pt x="69028" y="113289"/>
                      </a:lnTo>
                      <a:lnTo>
                        <a:pt x="69314" y="111407"/>
                      </a:lnTo>
                      <a:lnTo>
                        <a:pt x="68596" y="111447"/>
                      </a:lnTo>
                      <a:lnTo>
                        <a:pt x="67276" y="113029"/>
                      </a:lnTo>
                      <a:lnTo>
                        <a:pt x="62728" y="111684"/>
                      </a:lnTo>
                      <a:lnTo>
                        <a:pt x="61473" y="110087"/>
                      </a:lnTo>
                      <a:lnTo>
                        <a:pt x="58800" y="105580"/>
                      </a:lnTo>
                      <a:lnTo>
                        <a:pt x="55035" y="105433"/>
                      </a:lnTo>
                      <a:lnTo>
                        <a:pt x="53332" y="102695"/>
                      </a:lnTo>
                      <a:lnTo>
                        <a:pt x="50251" y="103844"/>
                      </a:lnTo>
                      <a:lnTo>
                        <a:pt x="48695" y="105115"/>
                      </a:lnTo>
                      <a:lnTo>
                        <a:pt x="47326" y="107071"/>
                      </a:lnTo>
                      <a:lnTo>
                        <a:pt x="47855" y="108090"/>
                      </a:lnTo>
                      <a:lnTo>
                        <a:pt x="49216" y="109712"/>
                      </a:lnTo>
                      <a:lnTo>
                        <a:pt x="48589" y="110494"/>
                      </a:lnTo>
                      <a:lnTo>
                        <a:pt x="44204" y="111643"/>
                      </a:lnTo>
                      <a:lnTo>
                        <a:pt x="34025" y="110355"/>
                      </a:lnTo>
                      <a:lnTo>
                        <a:pt x="31050" y="109158"/>
                      </a:lnTo>
                      <a:lnTo>
                        <a:pt x="27049" y="106615"/>
                      </a:lnTo>
                      <a:lnTo>
                        <a:pt x="21507" y="104537"/>
                      </a:lnTo>
                      <a:lnTo>
                        <a:pt x="18842" y="104203"/>
                      </a:lnTo>
                      <a:lnTo>
                        <a:pt x="16234" y="104610"/>
                      </a:lnTo>
                      <a:lnTo>
                        <a:pt x="8630" y="104822"/>
                      </a:lnTo>
                      <a:lnTo>
                        <a:pt x="6870" y="105376"/>
                      </a:lnTo>
                      <a:lnTo>
                        <a:pt x="5362" y="106256"/>
                      </a:lnTo>
                      <a:lnTo>
                        <a:pt x="4393" y="105270"/>
                      </a:lnTo>
                      <a:lnTo>
                        <a:pt x="3945" y="103526"/>
                      </a:lnTo>
                      <a:lnTo>
                        <a:pt x="4825" y="103249"/>
                      </a:lnTo>
                      <a:lnTo>
                        <a:pt x="5811" y="102222"/>
                      </a:lnTo>
                      <a:lnTo>
                        <a:pt x="6699" y="100193"/>
                      </a:lnTo>
                      <a:lnTo>
                        <a:pt x="6797" y="98970"/>
                      </a:lnTo>
                      <a:lnTo>
                        <a:pt x="6177" y="98172"/>
                      </a:lnTo>
                      <a:lnTo>
                        <a:pt x="7840" y="94961"/>
                      </a:lnTo>
                      <a:lnTo>
                        <a:pt x="8239" y="93820"/>
                      </a:lnTo>
                      <a:lnTo>
                        <a:pt x="7987" y="88359"/>
                      </a:lnTo>
                      <a:lnTo>
                        <a:pt x="7253" y="86371"/>
                      </a:lnTo>
                      <a:lnTo>
                        <a:pt x="7351" y="85230"/>
                      </a:lnTo>
                      <a:lnTo>
                        <a:pt x="8133" y="82239"/>
                      </a:lnTo>
                      <a:lnTo>
                        <a:pt x="8003" y="79509"/>
                      </a:lnTo>
                      <a:lnTo>
                        <a:pt x="9372" y="76208"/>
                      </a:lnTo>
                      <a:lnTo>
                        <a:pt x="10375" y="74489"/>
                      </a:lnTo>
                      <a:lnTo>
                        <a:pt x="11507" y="70960"/>
                      </a:lnTo>
                      <a:lnTo>
                        <a:pt x="11768" y="68678"/>
                      </a:lnTo>
                      <a:lnTo>
                        <a:pt x="12257" y="66974"/>
                      </a:lnTo>
                      <a:lnTo>
                        <a:pt x="11923" y="65124"/>
                      </a:lnTo>
                      <a:lnTo>
                        <a:pt x="12714" y="63796"/>
                      </a:lnTo>
                      <a:lnTo>
                        <a:pt x="12200" y="61930"/>
                      </a:lnTo>
                      <a:lnTo>
                        <a:pt x="12037" y="59469"/>
                      </a:lnTo>
                      <a:lnTo>
                        <a:pt x="11067" y="58523"/>
                      </a:lnTo>
                      <a:lnTo>
                        <a:pt x="9364" y="54880"/>
                      </a:lnTo>
                      <a:lnTo>
                        <a:pt x="9413" y="53275"/>
                      </a:lnTo>
                      <a:lnTo>
                        <a:pt x="7620" y="49860"/>
                      </a:lnTo>
                      <a:lnTo>
                        <a:pt x="7579" y="48695"/>
                      </a:lnTo>
                      <a:lnTo>
                        <a:pt x="5868" y="46910"/>
                      </a:lnTo>
                      <a:lnTo>
                        <a:pt x="5526" y="45777"/>
                      </a:lnTo>
                      <a:lnTo>
                        <a:pt x="5371" y="41042"/>
                      </a:lnTo>
                      <a:lnTo>
                        <a:pt x="4906" y="39657"/>
                      </a:lnTo>
                      <a:lnTo>
                        <a:pt x="3431" y="36943"/>
                      </a:lnTo>
                      <a:lnTo>
                        <a:pt x="0" y="32982"/>
                      </a:lnTo>
                      <a:lnTo>
                        <a:pt x="8" y="28874"/>
                      </a:lnTo>
                      <a:lnTo>
                        <a:pt x="16" y="24775"/>
                      </a:lnTo>
                      <a:lnTo>
                        <a:pt x="16" y="20660"/>
                      </a:lnTo>
                      <a:lnTo>
                        <a:pt x="24" y="16552"/>
                      </a:lnTo>
                      <a:lnTo>
                        <a:pt x="33" y="12445"/>
                      </a:lnTo>
                      <a:lnTo>
                        <a:pt x="33" y="8329"/>
                      </a:lnTo>
                      <a:lnTo>
                        <a:pt x="41" y="4205"/>
                      </a:lnTo>
                      <a:lnTo>
                        <a:pt x="41" y="81"/>
                      </a:lnTo>
                      <a:lnTo>
                        <a:pt x="4499" y="81"/>
                      </a:lnTo>
                      <a:lnTo>
                        <a:pt x="8957" y="81"/>
                      </a:lnTo>
                      <a:lnTo>
                        <a:pt x="13414" y="73"/>
                      </a:lnTo>
                      <a:lnTo>
                        <a:pt x="17864" y="65"/>
                      </a:lnTo>
                      <a:lnTo>
                        <a:pt x="22322" y="57"/>
                      </a:lnTo>
                      <a:lnTo>
                        <a:pt x="26772" y="57"/>
                      </a:lnTo>
                      <a:lnTo>
                        <a:pt x="31230" y="49"/>
                      </a:lnTo>
                      <a:lnTo>
                        <a:pt x="35688" y="49"/>
                      </a:lnTo>
                      <a:lnTo>
                        <a:pt x="40137" y="49"/>
                      </a:lnTo>
                      <a:lnTo>
                        <a:pt x="44595" y="41"/>
                      </a:lnTo>
                      <a:lnTo>
                        <a:pt x="49053" y="41"/>
                      </a:lnTo>
                      <a:lnTo>
                        <a:pt x="53511" y="33"/>
                      </a:lnTo>
                      <a:lnTo>
                        <a:pt x="57969" y="33"/>
                      </a:lnTo>
                      <a:lnTo>
                        <a:pt x="62427" y="16"/>
                      </a:lnTo>
                      <a:lnTo>
                        <a:pt x="66877" y="16"/>
                      </a:lnTo>
                      <a:lnTo>
                        <a:pt x="71742" y="0"/>
                      </a:lnTo>
                      <a:lnTo>
                        <a:pt x="71889" y="1597"/>
                      </a:lnTo>
                      <a:lnTo>
                        <a:pt x="73079" y="2543"/>
                      </a:lnTo>
                      <a:lnTo>
                        <a:pt x="73144" y="4262"/>
                      </a:lnTo>
                      <a:lnTo>
                        <a:pt x="72084" y="6740"/>
                      </a:lnTo>
                      <a:lnTo>
                        <a:pt x="72093" y="8468"/>
                      </a:lnTo>
                      <a:lnTo>
                        <a:pt x="73168" y="9437"/>
                      </a:lnTo>
                      <a:lnTo>
                        <a:pt x="73111" y="10464"/>
                      </a:lnTo>
                      <a:lnTo>
                        <a:pt x="71921" y="11548"/>
                      </a:lnTo>
                      <a:lnTo>
                        <a:pt x="71742" y="12722"/>
                      </a:lnTo>
                      <a:lnTo>
                        <a:pt x="72573" y="13977"/>
                      </a:lnTo>
                      <a:lnTo>
                        <a:pt x="72956" y="15436"/>
                      </a:lnTo>
                      <a:lnTo>
                        <a:pt x="72875" y="17090"/>
                      </a:lnTo>
                      <a:lnTo>
                        <a:pt x="73983" y="19250"/>
                      </a:lnTo>
                      <a:lnTo>
                        <a:pt x="75703" y="20635"/>
                      </a:lnTo>
                      <a:lnTo>
                        <a:pt x="76828" y="22273"/>
                      </a:lnTo>
                      <a:lnTo>
                        <a:pt x="76925" y="23170"/>
                      </a:lnTo>
                      <a:lnTo>
                        <a:pt x="76999" y="24001"/>
                      </a:lnTo>
                      <a:lnTo>
                        <a:pt x="76746" y="25215"/>
                      </a:lnTo>
                      <a:lnTo>
                        <a:pt x="75336" y="26984"/>
                      </a:lnTo>
                      <a:lnTo>
                        <a:pt x="74260" y="28271"/>
                      </a:lnTo>
                      <a:lnTo>
                        <a:pt x="73608" y="28744"/>
                      </a:lnTo>
                      <a:lnTo>
                        <a:pt x="73258" y="29624"/>
                      </a:lnTo>
                      <a:lnTo>
                        <a:pt x="73160" y="31507"/>
                      </a:lnTo>
                      <a:lnTo>
                        <a:pt x="71571" y="33944"/>
                      </a:lnTo>
                      <a:lnTo>
                        <a:pt x="68344" y="36747"/>
                      </a:lnTo>
                      <a:lnTo>
                        <a:pt x="66208" y="40317"/>
                      </a:lnTo>
                      <a:lnTo>
                        <a:pt x="65165" y="44644"/>
                      </a:lnTo>
                      <a:lnTo>
                        <a:pt x="64057" y="47391"/>
                      </a:lnTo>
                      <a:lnTo>
                        <a:pt x="62900" y="48564"/>
                      </a:lnTo>
                      <a:lnTo>
                        <a:pt x="62321" y="50822"/>
                      </a:lnTo>
                      <a:lnTo>
                        <a:pt x="62321" y="54171"/>
                      </a:lnTo>
                      <a:lnTo>
                        <a:pt x="61588" y="56021"/>
                      </a:lnTo>
                      <a:lnTo>
                        <a:pt x="60104" y="56372"/>
                      </a:lnTo>
                      <a:lnTo>
                        <a:pt x="59786" y="58287"/>
                      </a:lnTo>
                      <a:lnTo>
                        <a:pt x="60642" y="61759"/>
                      </a:lnTo>
                      <a:lnTo>
                        <a:pt x="60284" y="63209"/>
                      </a:lnTo>
                      <a:lnTo>
                        <a:pt x="59248" y="64350"/>
                      </a:lnTo>
                      <a:lnTo>
                        <a:pt x="59151" y="65247"/>
                      </a:lnTo>
                      <a:lnTo>
                        <a:pt x="65092" y="65263"/>
                      </a:lnTo>
                      <a:lnTo>
                        <a:pt x="71131" y="65263"/>
                      </a:lnTo>
                      <a:close/>
                    </a:path>
                  </a:pathLst>
                </a:custGeom>
                <a:solidFill>
                  <a:srgbClr val="D6D6D2"/>
                </a:solidFill>
                <a:ln w="6112" cap="rnd">
                  <a:solidFill>
                    <a:srgbClr val="FFFFFF"/>
                  </a:solidFill>
                  <a:prstDash val="solid"/>
                  <a:round/>
                </a:ln>
              </p:spPr>
              <p:txBody>
                <a:bodyPr rtlCol="0" anchor="ctr"/>
                <a:lstStyle/>
                <a:p>
                  <a:endParaRPr lang="en-US"/>
                </a:p>
              </p:txBody>
            </p:sp>
            <p:sp>
              <p:nvSpPr>
                <p:cNvPr id="456" name="Freeform: Shape 455">
                  <a:extLst>
                    <a:ext uri="{FF2B5EF4-FFF2-40B4-BE49-F238E27FC236}">
                      <a16:creationId xmlns:a16="http://schemas.microsoft.com/office/drawing/2014/main" id="{9A9C80A2-7C46-43F1-977B-1961D4F176B0}"/>
                    </a:ext>
                  </a:extLst>
                </p:cNvPr>
                <p:cNvSpPr/>
                <p:nvPr/>
              </p:nvSpPr>
              <p:spPr>
                <a:xfrm>
                  <a:off x="3725039" y="3305239"/>
                  <a:ext cx="185642" cy="87960"/>
                </a:xfrm>
                <a:custGeom>
                  <a:avLst/>
                  <a:gdLst>
                    <a:gd name="connsiteX0" fmla="*/ 118823 w 185642"/>
                    <a:gd name="connsiteY0" fmla="*/ 1190 h 87960"/>
                    <a:gd name="connsiteX1" fmla="*/ 120453 w 185642"/>
                    <a:gd name="connsiteY1" fmla="*/ 1483 h 87960"/>
                    <a:gd name="connsiteX2" fmla="*/ 122580 w 185642"/>
                    <a:gd name="connsiteY2" fmla="*/ 905 h 87960"/>
                    <a:gd name="connsiteX3" fmla="*/ 124536 w 185642"/>
                    <a:gd name="connsiteY3" fmla="*/ 1312 h 87960"/>
                    <a:gd name="connsiteX4" fmla="*/ 126321 w 185642"/>
                    <a:gd name="connsiteY4" fmla="*/ 2689 h 87960"/>
                    <a:gd name="connsiteX5" fmla="*/ 128000 w 185642"/>
                    <a:gd name="connsiteY5" fmla="*/ 5224 h 87960"/>
                    <a:gd name="connsiteX6" fmla="*/ 129564 w 185642"/>
                    <a:gd name="connsiteY6" fmla="*/ 8916 h 87960"/>
                    <a:gd name="connsiteX7" fmla="*/ 132392 w 185642"/>
                    <a:gd name="connsiteY7" fmla="*/ 11165 h 87960"/>
                    <a:gd name="connsiteX8" fmla="*/ 136475 w 185642"/>
                    <a:gd name="connsiteY8" fmla="*/ 11980 h 87960"/>
                    <a:gd name="connsiteX9" fmla="*/ 139458 w 185642"/>
                    <a:gd name="connsiteY9" fmla="*/ 13431 h 87960"/>
                    <a:gd name="connsiteX10" fmla="*/ 141341 w 185642"/>
                    <a:gd name="connsiteY10" fmla="*/ 15509 h 87960"/>
                    <a:gd name="connsiteX11" fmla="*/ 142889 w 185642"/>
                    <a:gd name="connsiteY11" fmla="*/ 16177 h 87960"/>
                    <a:gd name="connsiteX12" fmla="*/ 144715 w 185642"/>
                    <a:gd name="connsiteY12" fmla="*/ 15053 h 87960"/>
                    <a:gd name="connsiteX13" fmla="*/ 146646 w 185642"/>
                    <a:gd name="connsiteY13" fmla="*/ 14482 h 87960"/>
                    <a:gd name="connsiteX14" fmla="*/ 148578 w 185642"/>
                    <a:gd name="connsiteY14" fmla="*/ 15167 h 87960"/>
                    <a:gd name="connsiteX15" fmla="*/ 151145 w 185642"/>
                    <a:gd name="connsiteY15" fmla="*/ 16911 h 87960"/>
                    <a:gd name="connsiteX16" fmla="*/ 154951 w 185642"/>
                    <a:gd name="connsiteY16" fmla="*/ 16528 h 87960"/>
                    <a:gd name="connsiteX17" fmla="*/ 159995 w 185642"/>
                    <a:gd name="connsiteY17" fmla="*/ 14001 h 87960"/>
                    <a:gd name="connsiteX18" fmla="*/ 162962 w 185642"/>
                    <a:gd name="connsiteY18" fmla="*/ 14132 h 87960"/>
                    <a:gd name="connsiteX19" fmla="*/ 163850 w 185642"/>
                    <a:gd name="connsiteY19" fmla="*/ 16903 h 87960"/>
                    <a:gd name="connsiteX20" fmla="*/ 165994 w 185642"/>
                    <a:gd name="connsiteY20" fmla="*/ 19812 h 87960"/>
                    <a:gd name="connsiteX21" fmla="*/ 169392 w 185642"/>
                    <a:gd name="connsiteY21" fmla="*/ 22852 h 87960"/>
                    <a:gd name="connsiteX22" fmla="*/ 169604 w 185642"/>
                    <a:gd name="connsiteY22" fmla="*/ 22933 h 87960"/>
                    <a:gd name="connsiteX23" fmla="*/ 170183 w 185642"/>
                    <a:gd name="connsiteY23" fmla="*/ 23871 h 87960"/>
                    <a:gd name="connsiteX24" fmla="*/ 170451 w 185642"/>
                    <a:gd name="connsiteY24" fmla="*/ 28842 h 87960"/>
                    <a:gd name="connsiteX25" fmla="*/ 170280 w 185642"/>
                    <a:gd name="connsiteY25" fmla="*/ 29828 h 87960"/>
                    <a:gd name="connsiteX26" fmla="*/ 169433 w 185642"/>
                    <a:gd name="connsiteY26" fmla="*/ 31865 h 87960"/>
                    <a:gd name="connsiteX27" fmla="*/ 169474 w 185642"/>
                    <a:gd name="connsiteY27" fmla="*/ 32941 h 87960"/>
                    <a:gd name="connsiteX28" fmla="*/ 170191 w 185642"/>
                    <a:gd name="connsiteY28" fmla="*/ 34620 h 87960"/>
                    <a:gd name="connsiteX29" fmla="*/ 172831 w 185642"/>
                    <a:gd name="connsiteY29" fmla="*/ 38516 h 87960"/>
                    <a:gd name="connsiteX30" fmla="*/ 173084 w 185642"/>
                    <a:gd name="connsiteY30" fmla="*/ 40032 h 87960"/>
                    <a:gd name="connsiteX31" fmla="*/ 174127 w 185642"/>
                    <a:gd name="connsiteY31" fmla="*/ 41507 h 87960"/>
                    <a:gd name="connsiteX32" fmla="*/ 175015 w 185642"/>
                    <a:gd name="connsiteY32" fmla="*/ 43715 h 87960"/>
                    <a:gd name="connsiteX33" fmla="*/ 177835 w 185642"/>
                    <a:gd name="connsiteY33" fmla="*/ 48434 h 87960"/>
                    <a:gd name="connsiteX34" fmla="*/ 182220 w 185642"/>
                    <a:gd name="connsiteY34" fmla="*/ 52329 h 87960"/>
                    <a:gd name="connsiteX35" fmla="*/ 185643 w 185642"/>
                    <a:gd name="connsiteY35" fmla="*/ 53364 h 87960"/>
                    <a:gd name="connsiteX36" fmla="*/ 176271 w 185642"/>
                    <a:gd name="connsiteY36" fmla="*/ 61465 h 87960"/>
                    <a:gd name="connsiteX37" fmla="*/ 171976 w 185642"/>
                    <a:gd name="connsiteY37" fmla="*/ 64399 h 87960"/>
                    <a:gd name="connsiteX38" fmla="*/ 167876 w 185642"/>
                    <a:gd name="connsiteY38" fmla="*/ 66755 h 87960"/>
                    <a:gd name="connsiteX39" fmla="*/ 167542 w 185642"/>
                    <a:gd name="connsiteY39" fmla="*/ 67154 h 87960"/>
                    <a:gd name="connsiteX40" fmla="*/ 166629 w 185642"/>
                    <a:gd name="connsiteY40" fmla="*/ 69745 h 87960"/>
                    <a:gd name="connsiteX41" fmla="*/ 164144 w 185642"/>
                    <a:gd name="connsiteY41" fmla="*/ 72044 h 87960"/>
                    <a:gd name="connsiteX42" fmla="*/ 162595 w 185642"/>
                    <a:gd name="connsiteY42" fmla="*/ 74464 h 87960"/>
                    <a:gd name="connsiteX43" fmla="*/ 158895 w 185642"/>
                    <a:gd name="connsiteY43" fmla="*/ 76493 h 87960"/>
                    <a:gd name="connsiteX44" fmla="*/ 156255 w 185642"/>
                    <a:gd name="connsiteY44" fmla="*/ 79256 h 87960"/>
                    <a:gd name="connsiteX45" fmla="*/ 149645 w 185642"/>
                    <a:gd name="connsiteY45" fmla="*/ 81962 h 87960"/>
                    <a:gd name="connsiteX46" fmla="*/ 145945 w 185642"/>
                    <a:gd name="connsiteY46" fmla="*/ 82907 h 87960"/>
                    <a:gd name="connsiteX47" fmla="*/ 143427 w 185642"/>
                    <a:gd name="connsiteY47" fmla="*/ 84488 h 87960"/>
                    <a:gd name="connsiteX48" fmla="*/ 143231 w 185642"/>
                    <a:gd name="connsiteY48" fmla="*/ 84562 h 87960"/>
                    <a:gd name="connsiteX49" fmla="*/ 143044 w 185642"/>
                    <a:gd name="connsiteY49" fmla="*/ 84643 h 87960"/>
                    <a:gd name="connsiteX50" fmla="*/ 142848 w 185642"/>
                    <a:gd name="connsiteY50" fmla="*/ 84717 h 87960"/>
                    <a:gd name="connsiteX51" fmla="*/ 142653 w 185642"/>
                    <a:gd name="connsiteY51" fmla="*/ 84798 h 87960"/>
                    <a:gd name="connsiteX52" fmla="*/ 142465 w 185642"/>
                    <a:gd name="connsiteY52" fmla="*/ 84871 h 87960"/>
                    <a:gd name="connsiteX53" fmla="*/ 142270 w 185642"/>
                    <a:gd name="connsiteY53" fmla="*/ 84945 h 87960"/>
                    <a:gd name="connsiteX54" fmla="*/ 142074 w 185642"/>
                    <a:gd name="connsiteY54" fmla="*/ 85026 h 87960"/>
                    <a:gd name="connsiteX55" fmla="*/ 141887 w 185642"/>
                    <a:gd name="connsiteY55" fmla="*/ 85100 h 87960"/>
                    <a:gd name="connsiteX56" fmla="*/ 133273 w 185642"/>
                    <a:gd name="connsiteY56" fmla="*/ 84774 h 87960"/>
                    <a:gd name="connsiteX57" fmla="*/ 124658 w 185642"/>
                    <a:gd name="connsiteY57" fmla="*/ 84448 h 87960"/>
                    <a:gd name="connsiteX58" fmla="*/ 116052 w 185642"/>
                    <a:gd name="connsiteY58" fmla="*/ 84122 h 87960"/>
                    <a:gd name="connsiteX59" fmla="*/ 107438 w 185642"/>
                    <a:gd name="connsiteY59" fmla="*/ 83796 h 87960"/>
                    <a:gd name="connsiteX60" fmla="*/ 98823 w 185642"/>
                    <a:gd name="connsiteY60" fmla="*/ 83470 h 87960"/>
                    <a:gd name="connsiteX61" fmla="*/ 90217 w 185642"/>
                    <a:gd name="connsiteY61" fmla="*/ 83144 h 87960"/>
                    <a:gd name="connsiteX62" fmla="*/ 81603 w 185642"/>
                    <a:gd name="connsiteY62" fmla="*/ 82818 h 87960"/>
                    <a:gd name="connsiteX63" fmla="*/ 72989 w 185642"/>
                    <a:gd name="connsiteY63" fmla="*/ 82492 h 87960"/>
                    <a:gd name="connsiteX64" fmla="*/ 64733 w 185642"/>
                    <a:gd name="connsiteY64" fmla="*/ 82663 h 87960"/>
                    <a:gd name="connsiteX65" fmla="*/ 56469 w 185642"/>
                    <a:gd name="connsiteY65" fmla="*/ 82834 h 87960"/>
                    <a:gd name="connsiteX66" fmla="*/ 48214 w 185642"/>
                    <a:gd name="connsiteY66" fmla="*/ 83005 h 87960"/>
                    <a:gd name="connsiteX67" fmla="*/ 39958 w 185642"/>
                    <a:gd name="connsiteY67" fmla="*/ 83176 h 87960"/>
                    <a:gd name="connsiteX68" fmla="*/ 39225 w 185642"/>
                    <a:gd name="connsiteY68" fmla="*/ 82141 h 87960"/>
                    <a:gd name="connsiteX69" fmla="*/ 37049 w 185642"/>
                    <a:gd name="connsiteY69" fmla="*/ 81913 h 87960"/>
                    <a:gd name="connsiteX70" fmla="*/ 33707 w 185642"/>
                    <a:gd name="connsiteY70" fmla="*/ 81554 h 87960"/>
                    <a:gd name="connsiteX71" fmla="*/ 33577 w 185642"/>
                    <a:gd name="connsiteY71" fmla="*/ 81546 h 87960"/>
                    <a:gd name="connsiteX72" fmla="*/ 34563 w 185642"/>
                    <a:gd name="connsiteY72" fmla="*/ 84953 h 87960"/>
                    <a:gd name="connsiteX73" fmla="*/ 34579 w 185642"/>
                    <a:gd name="connsiteY73" fmla="*/ 87919 h 87960"/>
                    <a:gd name="connsiteX74" fmla="*/ 34506 w 185642"/>
                    <a:gd name="connsiteY74" fmla="*/ 87960 h 87960"/>
                    <a:gd name="connsiteX75" fmla="*/ 30627 w 185642"/>
                    <a:gd name="connsiteY75" fmla="*/ 87960 h 87960"/>
                    <a:gd name="connsiteX76" fmla="*/ 26340 w 185642"/>
                    <a:gd name="connsiteY76" fmla="*/ 87960 h 87960"/>
                    <a:gd name="connsiteX77" fmla="*/ 22061 w 185642"/>
                    <a:gd name="connsiteY77" fmla="*/ 87960 h 87960"/>
                    <a:gd name="connsiteX78" fmla="*/ 17775 w 185642"/>
                    <a:gd name="connsiteY78" fmla="*/ 87960 h 87960"/>
                    <a:gd name="connsiteX79" fmla="*/ 13488 w 185642"/>
                    <a:gd name="connsiteY79" fmla="*/ 87960 h 87960"/>
                    <a:gd name="connsiteX80" fmla="*/ 9209 w 185642"/>
                    <a:gd name="connsiteY80" fmla="*/ 87960 h 87960"/>
                    <a:gd name="connsiteX81" fmla="*/ 4930 w 185642"/>
                    <a:gd name="connsiteY81" fmla="*/ 87960 h 87960"/>
                    <a:gd name="connsiteX82" fmla="*/ 0 w 185642"/>
                    <a:gd name="connsiteY82" fmla="*/ 87960 h 87960"/>
                    <a:gd name="connsiteX83" fmla="*/ 1320 w 185642"/>
                    <a:gd name="connsiteY83" fmla="*/ 85051 h 87960"/>
                    <a:gd name="connsiteX84" fmla="*/ 2461 w 185642"/>
                    <a:gd name="connsiteY84" fmla="*/ 84268 h 87960"/>
                    <a:gd name="connsiteX85" fmla="*/ 2975 w 185642"/>
                    <a:gd name="connsiteY85" fmla="*/ 84105 h 87960"/>
                    <a:gd name="connsiteX86" fmla="*/ 4221 w 185642"/>
                    <a:gd name="connsiteY86" fmla="*/ 84635 h 87960"/>
                    <a:gd name="connsiteX87" fmla="*/ 4816 w 185642"/>
                    <a:gd name="connsiteY87" fmla="*/ 84822 h 87960"/>
                    <a:gd name="connsiteX88" fmla="*/ 6128 w 185642"/>
                    <a:gd name="connsiteY88" fmla="*/ 83787 h 87960"/>
                    <a:gd name="connsiteX89" fmla="*/ 7294 w 185642"/>
                    <a:gd name="connsiteY89" fmla="*/ 80796 h 87960"/>
                    <a:gd name="connsiteX90" fmla="*/ 7962 w 185642"/>
                    <a:gd name="connsiteY90" fmla="*/ 77626 h 87960"/>
                    <a:gd name="connsiteX91" fmla="*/ 8133 w 185642"/>
                    <a:gd name="connsiteY91" fmla="*/ 74285 h 87960"/>
                    <a:gd name="connsiteX92" fmla="*/ 7343 w 185642"/>
                    <a:gd name="connsiteY92" fmla="*/ 71604 h 87960"/>
                    <a:gd name="connsiteX93" fmla="*/ 7074 w 185642"/>
                    <a:gd name="connsiteY93" fmla="*/ 69957 h 87960"/>
                    <a:gd name="connsiteX94" fmla="*/ 7824 w 185642"/>
                    <a:gd name="connsiteY94" fmla="*/ 67928 h 87960"/>
                    <a:gd name="connsiteX95" fmla="*/ 10016 w 185642"/>
                    <a:gd name="connsiteY95" fmla="*/ 65247 h 87960"/>
                    <a:gd name="connsiteX96" fmla="*/ 14319 w 185642"/>
                    <a:gd name="connsiteY96" fmla="*/ 65157 h 87960"/>
                    <a:gd name="connsiteX97" fmla="*/ 20741 w 185642"/>
                    <a:gd name="connsiteY97" fmla="*/ 67675 h 87960"/>
                    <a:gd name="connsiteX98" fmla="*/ 24270 w 185642"/>
                    <a:gd name="connsiteY98" fmla="*/ 68401 h 87960"/>
                    <a:gd name="connsiteX99" fmla="*/ 24897 w 185642"/>
                    <a:gd name="connsiteY99" fmla="*/ 67333 h 87960"/>
                    <a:gd name="connsiteX100" fmla="*/ 24726 w 185642"/>
                    <a:gd name="connsiteY100" fmla="*/ 65402 h 87960"/>
                    <a:gd name="connsiteX101" fmla="*/ 23748 w 185642"/>
                    <a:gd name="connsiteY101" fmla="*/ 62623 h 87960"/>
                    <a:gd name="connsiteX102" fmla="*/ 23406 w 185642"/>
                    <a:gd name="connsiteY102" fmla="*/ 60561 h 87960"/>
                    <a:gd name="connsiteX103" fmla="*/ 23708 w 185642"/>
                    <a:gd name="connsiteY103" fmla="*/ 59200 h 87960"/>
                    <a:gd name="connsiteX104" fmla="*/ 26323 w 185642"/>
                    <a:gd name="connsiteY104" fmla="*/ 57635 h 87960"/>
                    <a:gd name="connsiteX105" fmla="*/ 31254 w 185642"/>
                    <a:gd name="connsiteY105" fmla="*/ 55858 h 87960"/>
                    <a:gd name="connsiteX106" fmla="*/ 33308 w 185642"/>
                    <a:gd name="connsiteY106" fmla="*/ 53519 h 87960"/>
                    <a:gd name="connsiteX107" fmla="*/ 32493 w 185642"/>
                    <a:gd name="connsiteY107" fmla="*/ 50634 h 87960"/>
                    <a:gd name="connsiteX108" fmla="*/ 32770 w 185642"/>
                    <a:gd name="connsiteY108" fmla="*/ 48002 h 87960"/>
                    <a:gd name="connsiteX109" fmla="*/ 34147 w 185642"/>
                    <a:gd name="connsiteY109" fmla="*/ 45614 h 87960"/>
                    <a:gd name="connsiteX110" fmla="*/ 34930 w 185642"/>
                    <a:gd name="connsiteY110" fmla="*/ 45011 h 87960"/>
                    <a:gd name="connsiteX111" fmla="*/ 35435 w 185642"/>
                    <a:gd name="connsiteY111" fmla="*/ 44628 h 87960"/>
                    <a:gd name="connsiteX112" fmla="*/ 36608 w 185642"/>
                    <a:gd name="connsiteY112" fmla="*/ 45044 h 87960"/>
                    <a:gd name="connsiteX113" fmla="*/ 37513 w 185642"/>
                    <a:gd name="connsiteY113" fmla="*/ 44848 h 87960"/>
                    <a:gd name="connsiteX114" fmla="*/ 38149 w 185642"/>
                    <a:gd name="connsiteY114" fmla="*/ 44041 h 87960"/>
                    <a:gd name="connsiteX115" fmla="*/ 38401 w 185642"/>
                    <a:gd name="connsiteY115" fmla="*/ 42794 h 87960"/>
                    <a:gd name="connsiteX116" fmla="*/ 38304 w 185642"/>
                    <a:gd name="connsiteY116" fmla="*/ 41238 h 87960"/>
                    <a:gd name="connsiteX117" fmla="*/ 38646 w 185642"/>
                    <a:gd name="connsiteY117" fmla="*/ 40863 h 87960"/>
                    <a:gd name="connsiteX118" fmla="*/ 39086 w 185642"/>
                    <a:gd name="connsiteY118" fmla="*/ 40773 h 87960"/>
                    <a:gd name="connsiteX119" fmla="*/ 40300 w 185642"/>
                    <a:gd name="connsiteY119" fmla="*/ 41580 h 87960"/>
                    <a:gd name="connsiteX120" fmla="*/ 41678 w 185642"/>
                    <a:gd name="connsiteY120" fmla="*/ 41792 h 87960"/>
                    <a:gd name="connsiteX121" fmla="*/ 43047 w 185642"/>
                    <a:gd name="connsiteY121" fmla="*/ 41311 h 87960"/>
                    <a:gd name="connsiteX122" fmla="*/ 43911 w 185642"/>
                    <a:gd name="connsiteY122" fmla="*/ 41751 h 87960"/>
                    <a:gd name="connsiteX123" fmla="*/ 44277 w 185642"/>
                    <a:gd name="connsiteY123" fmla="*/ 43112 h 87960"/>
                    <a:gd name="connsiteX124" fmla="*/ 44807 w 185642"/>
                    <a:gd name="connsiteY124" fmla="*/ 43528 h 87960"/>
                    <a:gd name="connsiteX125" fmla="*/ 45492 w 185642"/>
                    <a:gd name="connsiteY125" fmla="*/ 42998 h 87960"/>
                    <a:gd name="connsiteX126" fmla="*/ 45858 w 185642"/>
                    <a:gd name="connsiteY126" fmla="*/ 41735 h 87960"/>
                    <a:gd name="connsiteX127" fmla="*/ 45891 w 185642"/>
                    <a:gd name="connsiteY127" fmla="*/ 39738 h 87960"/>
                    <a:gd name="connsiteX128" fmla="*/ 46193 w 185642"/>
                    <a:gd name="connsiteY128" fmla="*/ 39428 h 87960"/>
                    <a:gd name="connsiteX129" fmla="*/ 46470 w 185642"/>
                    <a:gd name="connsiteY129" fmla="*/ 39689 h 87960"/>
                    <a:gd name="connsiteX130" fmla="*/ 46836 w 185642"/>
                    <a:gd name="connsiteY130" fmla="*/ 40317 h 87960"/>
                    <a:gd name="connsiteX131" fmla="*/ 47904 w 185642"/>
                    <a:gd name="connsiteY131" fmla="*/ 40569 h 87960"/>
                    <a:gd name="connsiteX132" fmla="*/ 49420 w 185642"/>
                    <a:gd name="connsiteY132" fmla="*/ 40015 h 87960"/>
                    <a:gd name="connsiteX133" fmla="*/ 51523 w 185642"/>
                    <a:gd name="connsiteY133" fmla="*/ 40504 h 87960"/>
                    <a:gd name="connsiteX134" fmla="*/ 55565 w 185642"/>
                    <a:gd name="connsiteY134" fmla="*/ 42802 h 87960"/>
                    <a:gd name="connsiteX135" fmla="*/ 57260 w 185642"/>
                    <a:gd name="connsiteY135" fmla="*/ 44457 h 87960"/>
                    <a:gd name="connsiteX136" fmla="*/ 58442 w 185642"/>
                    <a:gd name="connsiteY136" fmla="*/ 43919 h 87960"/>
                    <a:gd name="connsiteX137" fmla="*/ 59656 w 185642"/>
                    <a:gd name="connsiteY137" fmla="*/ 41743 h 87960"/>
                    <a:gd name="connsiteX138" fmla="*/ 61514 w 185642"/>
                    <a:gd name="connsiteY138" fmla="*/ 40015 h 87960"/>
                    <a:gd name="connsiteX139" fmla="*/ 64000 w 185642"/>
                    <a:gd name="connsiteY139" fmla="*/ 38736 h 87960"/>
                    <a:gd name="connsiteX140" fmla="*/ 66453 w 185642"/>
                    <a:gd name="connsiteY140" fmla="*/ 39282 h 87960"/>
                    <a:gd name="connsiteX141" fmla="*/ 68865 w 185642"/>
                    <a:gd name="connsiteY141" fmla="*/ 41653 h 87960"/>
                    <a:gd name="connsiteX142" fmla="*/ 70699 w 185642"/>
                    <a:gd name="connsiteY142" fmla="*/ 42134 h 87960"/>
                    <a:gd name="connsiteX143" fmla="*/ 71954 w 185642"/>
                    <a:gd name="connsiteY143" fmla="*/ 40716 h 87960"/>
                    <a:gd name="connsiteX144" fmla="*/ 72606 w 185642"/>
                    <a:gd name="connsiteY144" fmla="*/ 39151 h 87960"/>
                    <a:gd name="connsiteX145" fmla="*/ 72671 w 185642"/>
                    <a:gd name="connsiteY145" fmla="*/ 37440 h 87960"/>
                    <a:gd name="connsiteX146" fmla="*/ 73168 w 185642"/>
                    <a:gd name="connsiteY146" fmla="*/ 36356 h 87960"/>
                    <a:gd name="connsiteX147" fmla="*/ 74097 w 185642"/>
                    <a:gd name="connsiteY147" fmla="*/ 35875 h 87960"/>
                    <a:gd name="connsiteX148" fmla="*/ 74448 w 185642"/>
                    <a:gd name="connsiteY148" fmla="*/ 35060 h 87960"/>
                    <a:gd name="connsiteX149" fmla="*/ 74228 w 185642"/>
                    <a:gd name="connsiteY149" fmla="*/ 33911 h 87960"/>
                    <a:gd name="connsiteX150" fmla="*/ 74912 w 185642"/>
                    <a:gd name="connsiteY150" fmla="*/ 33259 h 87960"/>
                    <a:gd name="connsiteX151" fmla="*/ 76510 w 185642"/>
                    <a:gd name="connsiteY151" fmla="*/ 33088 h 87960"/>
                    <a:gd name="connsiteX152" fmla="*/ 76762 w 185642"/>
                    <a:gd name="connsiteY152" fmla="*/ 32615 h 87960"/>
                    <a:gd name="connsiteX153" fmla="*/ 76575 w 185642"/>
                    <a:gd name="connsiteY153" fmla="*/ 32167 h 87960"/>
                    <a:gd name="connsiteX154" fmla="*/ 76599 w 185642"/>
                    <a:gd name="connsiteY154" fmla="*/ 31939 h 87960"/>
                    <a:gd name="connsiteX155" fmla="*/ 77064 w 185642"/>
                    <a:gd name="connsiteY155" fmla="*/ 31947 h 87960"/>
                    <a:gd name="connsiteX156" fmla="*/ 77756 w 185642"/>
                    <a:gd name="connsiteY156" fmla="*/ 32452 h 87960"/>
                    <a:gd name="connsiteX157" fmla="*/ 78523 w 185642"/>
                    <a:gd name="connsiteY157" fmla="*/ 33585 h 87960"/>
                    <a:gd name="connsiteX158" fmla="*/ 78922 w 185642"/>
                    <a:gd name="connsiteY158" fmla="*/ 35166 h 87960"/>
                    <a:gd name="connsiteX159" fmla="*/ 80413 w 185642"/>
                    <a:gd name="connsiteY159" fmla="*/ 36706 h 87960"/>
                    <a:gd name="connsiteX160" fmla="*/ 82997 w 185642"/>
                    <a:gd name="connsiteY160" fmla="*/ 38206 h 87960"/>
                    <a:gd name="connsiteX161" fmla="*/ 85034 w 185642"/>
                    <a:gd name="connsiteY161" fmla="*/ 38459 h 87960"/>
                    <a:gd name="connsiteX162" fmla="*/ 86526 w 185642"/>
                    <a:gd name="connsiteY162" fmla="*/ 37464 h 87960"/>
                    <a:gd name="connsiteX163" fmla="*/ 87895 w 185642"/>
                    <a:gd name="connsiteY163" fmla="*/ 34889 h 87960"/>
                    <a:gd name="connsiteX164" fmla="*/ 89158 w 185642"/>
                    <a:gd name="connsiteY164" fmla="*/ 30733 h 87960"/>
                    <a:gd name="connsiteX165" fmla="*/ 90804 w 185642"/>
                    <a:gd name="connsiteY165" fmla="*/ 28377 h 87960"/>
                    <a:gd name="connsiteX166" fmla="*/ 92842 w 185642"/>
                    <a:gd name="connsiteY166" fmla="*/ 27839 h 87960"/>
                    <a:gd name="connsiteX167" fmla="*/ 94333 w 185642"/>
                    <a:gd name="connsiteY167" fmla="*/ 26291 h 87960"/>
                    <a:gd name="connsiteX168" fmla="*/ 95262 w 185642"/>
                    <a:gd name="connsiteY168" fmla="*/ 23757 h 87960"/>
                    <a:gd name="connsiteX169" fmla="*/ 96819 w 185642"/>
                    <a:gd name="connsiteY169" fmla="*/ 21703 h 87960"/>
                    <a:gd name="connsiteX170" fmla="*/ 98995 w 185642"/>
                    <a:gd name="connsiteY170" fmla="*/ 20162 h 87960"/>
                    <a:gd name="connsiteX171" fmla="*/ 99834 w 185642"/>
                    <a:gd name="connsiteY171" fmla="*/ 17921 h 87960"/>
                    <a:gd name="connsiteX172" fmla="*/ 99337 w 185642"/>
                    <a:gd name="connsiteY172" fmla="*/ 15020 h 87960"/>
                    <a:gd name="connsiteX173" fmla="*/ 100315 w 185642"/>
                    <a:gd name="connsiteY173" fmla="*/ 13447 h 87960"/>
                    <a:gd name="connsiteX174" fmla="*/ 102768 w 185642"/>
                    <a:gd name="connsiteY174" fmla="*/ 13203 h 87960"/>
                    <a:gd name="connsiteX175" fmla="*/ 104260 w 185642"/>
                    <a:gd name="connsiteY175" fmla="*/ 13545 h 87960"/>
                    <a:gd name="connsiteX176" fmla="*/ 105140 w 185642"/>
                    <a:gd name="connsiteY176" fmla="*/ 14311 h 87960"/>
                    <a:gd name="connsiteX177" fmla="*/ 105759 w 185642"/>
                    <a:gd name="connsiteY177" fmla="*/ 14661 h 87960"/>
                    <a:gd name="connsiteX178" fmla="*/ 105759 w 185642"/>
                    <a:gd name="connsiteY178" fmla="*/ 14661 h 87960"/>
                    <a:gd name="connsiteX179" fmla="*/ 106166 w 185642"/>
                    <a:gd name="connsiteY179" fmla="*/ 14775 h 87960"/>
                    <a:gd name="connsiteX180" fmla="*/ 107014 w 185642"/>
                    <a:gd name="connsiteY180" fmla="*/ 14539 h 87960"/>
                    <a:gd name="connsiteX181" fmla="*/ 108049 w 185642"/>
                    <a:gd name="connsiteY181" fmla="*/ 13993 h 87960"/>
                    <a:gd name="connsiteX182" fmla="*/ 112825 w 185642"/>
                    <a:gd name="connsiteY182" fmla="*/ 12111 h 87960"/>
                    <a:gd name="connsiteX183" fmla="*/ 115319 w 185642"/>
                    <a:gd name="connsiteY183" fmla="*/ 10432 h 87960"/>
                    <a:gd name="connsiteX184" fmla="*/ 115596 w 185642"/>
                    <a:gd name="connsiteY184" fmla="*/ 8785 h 87960"/>
                    <a:gd name="connsiteX185" fmla="*/ 115156 w 185642"/>
                    <a:gd name="connsiteY185" fmla="*/ 7734 h 87960"/>
                    <a:gd name="connsiteX186" fmla="*/ 113998 w 185642"/>
                    <a:gd name="connsiteY186" fmla="*/ 7286 h 87960"/>
                    <a:gd name="connsiteX187" fmla="*/ 113754 w 185642"/>
                    <a:gd name="connsiteY187" fmla="*/ 6601 h 87960"/>
                    <a:gd name="connsiteX188" fmla="*/ 114430 w 185642"/>
                    <a:gd name="connsiteY188" fmla="*/ 5680 h 87960"/>
                    <a:gd name="connsiteX189" fmla="*/ 114447 w 185642"/>
                    <a:gd name="connsiteY189" fmla="*/ 4491 h 87960"/>
                    <a:gd name="connsiteX190" fmla="*/ 113827 w 185642"/>
                    <a:gd name="connsiteY190" fmla="*/ 3015 h 87960"/>
                    <a:gd name="connsiteX191" fmla="*/ 114406 w 185642"/>
                    <a:gd name="connsiteY191" fmla="*/ 1573 h 87960"/>
                    <a:gd name="connsiteX192" fmla="*/ 114789 w 185642"/>
                    <a:gd name="connsiteY192" fmla="*/ 1255 h 87960"/>
                    <a:gd name="connsiteX193" fmla="*/ 116174 w 185642"/>
                    <a:gd name="connsiteY193" fmla="*/ 139 h 87960"/>
                    <a:gd name="connsiteX194" fmla="*/ 117641 w 185642"/>
                    <a:gd name="connsiteY194" fmla="*/ 0 h 87960"/>
                    <a:gd name="connsiteX195" fmla="*/ 118823 w 185642"/>
                    <a:gd name="connsiteY195" fmla="*/ 1190 h 87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185642" h="87960">
                      <a:moveTo>
                        <a:pt x="118823" y="1190"/>
                      </a:moveTo>
                      <a:lnTo>
                        <a:pt x="120453" y="1483"/>
                      </a:lnTo>
                      <a:lnTo>
                        <a:pt x="122580" y="905"/>
                      </a:lnTo>
                      <a:lnTo>
                        <a:pt x="124536" y="1312"/>
                      </a:lnTo>
                      <a:lnTo>
                        <a:pt x="126321" y="2689"/>
                      </a:lnTo>
                      <a:lnTo>
                        <a:pt x="128000" y="5224"/>
                      </a:lnTo>
                      <a:lnTo>
                        <a:pt x="129564" y="8916"/>
                      </a:lnTo>
                      <a:lnTo>
                        <a:pt x="132392" y="11165"/>
                      </a:lnTo>
                      <a:lnTo>
                        <a:pt x="136475" y="11980"/>
                      </a:lnTo>
                      <a:lnTo>
                        <a:pt x="139458" y="13431"/>
                      </a:lnTo>
                      <a:lnTo>
                        <a:pt x="141341" y="15509"/>
                      </a:lnTo>
                      <a:lnTo>
                        <a:pt x="142889" y="16177"/>
                      </a:lnTo>
                      <a:lnTo>
                        <a:pt x="144715" y="15053"/>
                      </a:lnTo>
                      <a:lnTo>
                        <a:pt x="146646" y="14482"/>
                      </a:lnTo>
                      <a:lnTo>
                        <a:pt x="148578" y="15167"/>
                      </a:lnTo>
                      <a:lnTo>
                        <a:pt x="151145" y="16911"/>
                      </a:lnTo>
                      <a:lnTo>
                        <a:pt x="154951" y="16528"/>
                      </a:lnTo>
                      <a:lnTo>
                        <a:pt x="159995" y="14001"/>
                      </a:lnTo>
                      <a:lnTo>
                        <a:pt x="162962" y="14132"/>
                      </a:lnTo>
                      <a:lnTo>
                        <a:pt x="163850" y="16903"/>
                      </a:lnTo>
                      <a:lnTo>
                        <a:pt x="165994" y="19812"/>
                      </a:lnTo>
                      <a:lnTo>
                        <a:pt x="169392" y="22852"/>
                      </a:lnTo>
                      <a:lnTo>
                        <a:pt x="169604" y="22933"/>
                      </a:lnTo>
                      <a:lnTo>
                        <a:pt x="170183" y="23871"/>
                      </a:lnTo>
                      <a:lnTo>
                        <a:pt x="170451" y="28842"/>
                      </a:lnTo>
                      <a:lnTo>
                        <a:pt x="170280" y="29828"/>
                      </a:lnTo>
                      <a:lnTo>
                        <a:pt x="169433" y="31865"/>
                      </a:lnTo>
                      <a:lnTo>
                        <a:pt x="169474" y="32941"/>
                      </a:lnTo>
                      <a:lnTo>
                        <a:pt x="170191" y="34620"/>
                      </a:lnTo>
                      <a:lnTo>
                        <a:pt x="172831" y="38516"/>
                      </a:lnTo>
                      <a:lnTo>
                        <a:pt x="173084" y="40032"/>
                      </a:lnTo>
                      <a:lnTo>
                        <a:pt x="174127" y="41507"/>
                      </a:lnTo>
                      <a:lnTo>
                        <a:pt x="175015" y="43715"/>
                      </a:lnTo>
                      <a:lnTo>
                        <a:pt x="177835" y="48434"/>
                      </a:lnTo>
                      <a:lnTo>
                        <a:pt x="182220" y="52329"/>
                      </a:lnTo>
                      <a:lnTo>
                        <a:pt x="185643" y="53364"/>
                      </a:lnTo>
                      <a:lnTo>
                        <a:pt x="176271" y="61465"/>
                      </a:lnTo>
                      <a:lnTo>
                        <a:pt x="171976" y="64399"/>
                      </a:lnTo>
                      <a:lnTo>
                        <a:pt x="167876" y="66755"/>
                      </a:lnTo>
                      <a:lnTo>
                        <a:pt x="167542" y="67154"/>
                      </a:lnTo>
                      <a:lnTo>
                        <a:pt x="166629" y="69745"/>
                      </a:lnTo>
                      <a:lnTo>
                        <a:pt x="164144" y="72044"/>
                      </a:lnTo>
                      <a:lnTo>
                        <a:pt x="162595" y="74464"/>
                      </a:lnTo>
                      <a:lnTo>
                        <a:pt x="158895" y="76493"/>
                      </a:lnTo>
                      <a:lnTo>
                        <a:pt x="156255" y="79256"/>
                      </a:lnTo>
                      <a:lnTo>
                        <a:pt x="149645" y="81962"/>
                      </a:lnTo>
                      <a:lnTo>
                        <a:pt x="145945" y="82907"/>
                      </a:lnTo>
                      <a:lnTo>
                        <a:pt x="143427" y="84488"/>
                      </a:lnTo>
                      <a:lnTo>
                        <a:pt x="143231" y="84562"/>
                      </a:lnTo>
                      <a:lnTo>
                        <a:pt x="143044" y="84643"/>
                      </a:lnTo>
                      <a:lnTo>
                        <a:pt x="142848" y="84717"/>
                      </a:lnTo>
                      <a:lnTo>
                        <a:pt x="142653" y="84798"/>
                      </a:lnTo>
                      <a:lnTo>
                        <a:pt x="142465" y="84871"/>
                      </a:lnTo>
                      <a:lnTo>
                        <a:pt x="142270" y="84945"/>
                      </a:lnTo>
                      <a:lnTo>
                        <a:pt x="142074" y="85026"/>
                      </a:lnTo>
                      <a:lnTo>
                        <a:pt x="141887" y="85100"/>
                      </a:lnTo>
                      <a:lnTo>
                        <a:pt x="133273" y="84774"/>
                      </a:lnTo>
                      <a:lnTo>
                        <a:pt x="124658" y="84448"/>
                      </a:lnTo>
                      <a:lnTo>
                        <a:pt x="116052" y="84122"/>
                      </a:lnTo>
                      <a:lnTo>
                        <a:pt x="107438" y="83796"/>
                      </a:lnTo>
                      <a:lnTo>
                        <a:pt x="98823" y="83470"/>
                      </a:lnTo>
                      <a:lnTo>
                        <a:pt x="90217" y="83144"/>
                      </a:lnTo>
                      <a:lnTo>
                        <a:pt x="81603" y="82818"/>
                      </a:lnTo>
                      <a:lnTo>
                        <a:pt x="72989" y="82492"/>
                      </a:lnTo>
                      <a:lnTo>
                        <a:pt x="64733" y="82663"/>
                      </a:lnTo>
                      <a:lnTo>
                        <a:pt x="56469" y="82834"/>
                      </a:lnTo>
                      <a:lnTo>
                        <a:pt x="48214" y="83005"/>
                      </a:lnTo>
                      <a:lnTo>
                        <a:pt x="39958" y="83176"/>
                      </a:lnTo>
                      <a:lnTo>
                        <a:pt x="39225" y="82141"/>
                      </a:lnTo>
                      <a:lnTo>
                        <a:pt x="37049" y="81913"/>
                      </a:lnTo>
                      <a:lnTo>
                        <a:pt x="33707" y="81554"/>
                      </a:lnTo>
                      <a:lnTo>
                        <a:pt x="33577" y="81546"/>
                      </a:lnTo>
                      <a:lnTo>
                        <a:pt x="34563" y="84953"/>
                      </a:lnTo>
                      <a:lnTo>
                        <a:pt x="34579" y="87919"/>
                      </a:lnTo>
                      <a:lnTo>
                        <a:pt x="34506" y="87960"/>
                      </a:lnTo>
                      <a:lnTo>
                        <a:pt x="30627" y="87960"/>
                      </a:lnTo>
                      <a:lnTo>
                        <a:pt x="26340" y="87960"/>
                      </a:lnTo>
                      <a:lnTo>
                        <a:pt x="22061" y="87960"/>
                      </a:lnTo>
                      <a:lnTo>
                        <a:pt x="17775" y="87960"/>
                      </a:lnTo>
                      <a:lnTo>
                        <a:pt x="13488" y="87960"/>
                      </a:lnTo>
                      <a:lnTo>
                        <a:pt x="9209" y="87960"/>
                      </a:lnTo>
                      <a:lnTo>
                        <a:pt x="4930" y="87960"/>
                      </a:lnTo>
                      <a:lnTo>
                        <a:pt x="0" y="87960"/>
                      </a:lnTo>
                      <a:lnTo>
                        <a:pt x="1320" y="85051"/>
                      </a:lnTo>
                      <a:lnTo>
                        <a:pt x="2461" y="84268"/>
                      </a:lnTo>
                      <a:lnTo>
                        <a:pt x="2975" y="84105"/>
                      </a:lnTo>
                      <a:lnTo>
                        <a:pt x="4221" y="84635"/>
                      </a:lnTo>
                      <a:lnTo>
                        <a:pt x="4816" y="84822"/>
                      </a:lnTo>
                      <a:lnTo>
                        <a:pt x="6128" y="83787"/>
                      </a:lnTo>
                      <a:lnTo>
                        <a:pt x="7294" y="80796"/>
                      </a:lnTo>
                      <a:lnTo>
                        <a:pt x="7962" y="77626"/>
                      </a:lnTo>
                      <a:lnTo>
                        <a:pt x="8133" y="74285"/>
                      </a:lnTo>
                      <a:lnTo>
                        <a:pt x="7343" y="71604"/>
                      </a:lnTo>
                      <a:lnTo>
                        <a:pt x="7074" y="69957"/>
                      </a:lnTo>
                      <a:lnTo>
                        <a:pt x="7824" y="67928"/>
                      </a:lnTo>
                      <a:lnTo>
                        <a:pt x="10016" y="65247"/>
                      </a:lnTo>
                      <a:lnTo>
                        <a:pt x="14319" y="65157"/>
                      </a:lnTo>
                      <a:lnTo>
                        <a:pt x="20741" y="67675"/>
                      </a:lnTo>
                      <a:lnTo>
                        <a:pt x="24270" y="68401"/>
                      </a:lnTo>
                      <a:lnTo>
                        <a:pt x="24897" y="67333"/>
                      </a:lnTo>
                      <a:lnTo>
                        <a:pt x="24726" y="65402"/>
                      </a:lnTo>
                      <a:lnTo>
                        <a:pt x="23748" y="62623"/>
                      </a:lnTo>
                      <a:lnTo>
                        <a:pt x="23406" y="60561"/>
                      </a:lnTo>
                      <a:lnTo>
                        <a:pt x="23708" y="59200"/>
                      </a:lnTo>
                      <a:lnTo>
                        <a:pt x="26323" y="57635"/>
                      </a:lnTo>
                      <a:lnTo>
                        <a:pt x="31254" y="55858"/>
                      </a:lnTo>
                      <a:lnTo>
                        <a:pt x="33308" y="53519"/>
                      </a:lnTo>
                      <a:lnTo>
                        <a:pt x="32493" y="50634"/>
                      </a:lnTo>
                      <a:lnTo>
                        <a:pt x="32770" y="48002"/>
                      </a:lnTo>
                      <a:lnTo>
                        <a:pt x="34147" y="45614"/>
                      </a:lnTo>
                      <a:lnTo>
                        <a:pt x="34930" y="45011"/>
                      </a:lnTo>
                      <a:lnTo>
                        <a:pt x="35435" y="44628"/>
                      </a:lnTo>
                      <a:lnTo>
                        <a:pt x="36608" y="45044"/>
                      </a:lnTo>
                      <a:lnTo>
                        <a:pt x="37513" y="44848"/>
                      </a:lnTo>
                      <a:lnTo>
                        <a:pt x="38149" y="44041"/>
                      </a:lnTo>
                      <a:lnTo>
                        <a:pt x="38401" y="42794"/>
                      </a:lnTo>
                      <a:lnTo>
                        <a:pt x="38304" y="41238"/>
                      </a:lnTo>
                      <a:lnTo>
                        <a:pt x="38646" y="40863"/>
                      </a:lnTo>
                      <a:lnTo>
                        <a:pt x="39086" y="40773"/>
                      </a:lnTo>
                      <a:lnTo>
                        <a:pt x="40300" y="41580"/>
                      </a:lnTo>
                      <a:lnTo>
                        <a:pt x="41678" y="41792"/>
                      </a:lnTo>
                      <a:lnTo>
                        <a:pt x="43047" y="41311"/>
                      </a:lnTo>
                      <a:lnTo>
                        <a:pt x="43911" y="41751"/>
                      </a:lnTo>
                      <a:lnTo>
                        <a:pt x="44277" y="43112"/>
                      </a:lnTo>
                      <a:lnTo>
                        <a:pt x="44807" y="43528"/>
                      </a:lnTo>
                      <a:lnTo>
                        <a:pt x="45492" y="42998"/>
                      </a:lnTo>
                      <a:lnTo>
                        <a:pt x="45858" y="41735"/>
                      </a:lnTo>
                      <a:lnTo>
                        <a:pt x="45891" y="39738"/>
                      </a:lnTo>
                      <a:lnTo>
                        <a:pt x="46193" y="39428"/>
                      </a:lnTo>
                      <a:lnTo>
                        <a:pt x="46470" y="39689"/>
                      </a:lnTo>
                      <a:lnTo>
                        <a:pt x="46836" y="40317"/>
                      </a:lnTo>
                      <a:lnTo>
                        <a:pt x="47904" y="40569"/>
                      </a:lnTo>
                      <a:lnTo>
                        <a:pt x="49420" y="40015"/>
                      </a:lnTo>
                      <a:lnTo>
                        <a:pt x="51523" y="40504"/>
                      </a:lnTo>
                      <a:lnTo>
                        <a:pt x="55565" y="42802"/>
                      </a:lnTo>
                      <a:lnTo>
                        <a:pt x="57260" y="44457"/>
                      </a:lnTo>
                      <a:lnTo>
                        <a:pt x="58442" y="43919"/>
                      </a:lnTo>
                      <a:lnTo>
                        <a:pt x="59656" y="41743"/>
                      </a:lnTo>
                      <a:lnTo>
                        <a:pt x="61514" y="40015"/>
                      </a:lnTo>
                      <a:lnTo>
                        <a:pt x="64000" y="38736"/>
                      </a:lnTo>
                      <a:lnTo>
                        <a:pt x="66453" y="39282"/>
                      </a:lnTo>
                      <a:lnTo>
                        <a:pt x="68865" y="41653"/>
                      </a:lnTo>
                      <a:lnTo>
                        <a:pt x="70699" y="42134"/>
                      </a:lnTo>
                      <a:lnTo>
                        <a:pt x="71954" y="40716"/>
                      </a:lnTo>
                      <a:lnTo>
                        <a:pt x="72606" y="39151"/>
                      </a:lnTo>
                      <a:lnTo>
                        <a:pt x="72671" y="37440"/>
                      </a:lnTo>
                      <a:lnTo>
                        <a:pt x="73168" y="36356"/>
                      </a:lnTo>
                      <a:lnTo>
                        <a:pt x="74097" y="35875"/>
                      </a:lnTo>
                      <a:lnTo>
                        <a:pt x="74448" y="35060"/>
                      </a:lnTo>
                      <a:lnTo>
                        <a:pt x="74228" y="33911"/>
                      </a:lnTo>
                      <a:lnTo>
                        <a:pt x="74912" y="33259"/>
                      </a:lnTo>
                      <a:lnTo>
                        <a:pt x="76510" y="33088"/>
                      </a:lnTo>
                      <a:lnTo>
                        <a:pt x="76762" y="32615"/>
                      </a:lnTo>
                      <a:lnTo>
                        <a:pt x="76575" y="32167"/>
                      </a:lnTo>
                      <a:lnTo>
                        <a:pt x="76599" y="31939"/>
                      </a:lnTo>
                      <a:lnTo>
                        <a:pt x="77064" y="31947"/>
                      </a:lnTo>
                      <a:lnTo>
                        <a:pt x="77756" y="32452"/>
                      </a:lnTo>
                      <a:lnTo>
                        <a:pt x="78523" y="33585"/>
                      </a:lnTo>
                      <a:lnTo>
                        <a:pt x="78922" y="35166"/>
                      </a:lnTo>
                      <a:lnTo>
                        <a:pt x="80413" y="36706"/>
                      </a:lnTo>
                      <a:lnTo>
                        <a:pt x="82997" y="38206"/>
                      </a:lnTo>
                      <a:lnTo>
                        <a:pt x="85034" y="38459"/>
                      </a:lnTo>
                      <a:lnTo>
                        <a:pt x="86526" y="37464"/>
                      </a:lnTo>
                      <a:lnTo>
                        <a:pt x="87895" y="34889"/>
                      </a:lnTo>
                      <a:lnTo>
                        <a:pt x="89158" y="30733"/>
                      </a:lnTo>
                      <a:lnTo>
                        <a:pt x="90804" y="28377"/>
                      </a:lnTo>
                      <a:lnTo>
                        <a:pt x="92842" y="27839"/>
                      </a:lnTo>
                      <a:lnTo>
                        <a:pt x="94333" y="26291"/>
                      </a:lnTo>
                      <a:lnTo>
                        <a:pt x="95262" y="23757"/>
                      </a:lnTo>
                      <a:lnTo>
                        <a:pt x="96819" y="21703"/>
                      </a:lnTo>
                      <a:lnTo>
                        <a:pt x="98995" y="20162"/>
                      </a:lnTo>
                      <a:lnTo>
                        <a:pt x="99834" y="17921"/>
                      </a:lnTo>
                      <a:lnTo>
                        <a:pt x="99337" y="15020"/>
                      </a:lnTo>
                      <a:lnTo>
                        <a:pt x="100315" y="13447"/>
                      </a:lnTo>
                      <a:lnTo>
                        <a:pt x="102768" y="13203"/>
                      </a:lnTo>
                      <a:lnTo>
                        <a:pt x="104260" y="13545"/>
                      </a:lnTo>
                      <a:lnTo>
                        <a:pt x="105140" y="14311"/>
                      </a:lnTo>
                      <a:lnTo>
                        <a:pt x="105759" y="14661"/>
                      </a:lnTo>
                      <a:lnTo>
                        <a:pt x="105759" y="14661"/>
                      </a:lnTo>
                      <a:lnTo>
                        <a:pt x="106166" y="14775"/>
                      </a:lnTo>
                      <a:lnTo>
                        <a:pt x="107014" y="14539"/>
                      </a:lnTo>
                      <a:lnTo>
                        <a:pt x="108049" y="13993"/>
                      </a:lnTo>
                      <a:lnTo>
                        <a:pt x="112825" y="12111"/>
                      </a:lnTo>
                      <a:lnTo>
                        <a:pt x="115319" y="10432"/>
                      </a:lnTo>
                      <a:lnTo>
                        <a:pt x="115596" y="8785"/>
                      </a:lnTo>
                      <a:lnTo>
                        <a:pt x="115156" y="7734"/>
                      </a:lnTo>
                      <a:lnTo>
                        <a:pt x="113998" y="7286"/>
                      </a:lnTo>
                      <a:lnTo>
                        <a:pt x="113754" y="6601"/>
                      </a:lnTo>
                      <a:lnTo>
                        <a:pt x="114430" y="5680"/>
                      </a:lnTo>
                      <a:lnTo>
                        <a:pt x="114447" y="4491"/>
                      </a:lnTo>
                      <a:lnTo>
                        <a:pt x="113827" y="3015"/>
                      </a:lnTo>
                      <a:lnTo>
                        <a:pt x="114406" y="1573"/>
                      </a:lnTo>
                      <a:lnTo>
                        <a:pt x="114789" y="1255"/>
                      </a:lnTo>
                      <a:lnTo>
                        <a:pt x="116174" y="139"/>
                      </a:lnTo>
                      <a:lnTo>
                        <a:pt x="117641" y="0"/>
                      </a:lnTo>
                      <a:lnTo>
                        <a:pt x="118823" y="1190"/>
                      </a:lnTo>
                      <a:close/>
                    </a:path>
                  </a:pathLst>
                </a:custGeom>
                <a:solidFill>
                  <a:srgbClr val="D6D6D2"/>
                </a:solidFill>
                <a:ln w="6112" cap="rnd">
                  <a:solidFill>
                    <a:srgbClr val="FFFFFF"/>
                  </a:solidFill>
                  <a:prstDash val="solid"/>
                  <a:round/>
                </a:ln>
              </p:spPr>
              <p:txBody>
                <a:bodyPr rtlCol="0" anchor="ctr"/>
                <a:lstStyle/>
                <a:p>
                  <a:endParaRPr lang="en-US"/>
                </a:p>
              </p:txBody>
            </p:sp>
            <p:sp>
              <p:nvSpPr>
                <p:cNvPr id="457" name="Freeform: Shape 456">
                  <a:extLst>
                    <a:ext uri="{FF2B5EF4-FFF2-40B4-BE49-F238E27FC236}">
                      <a16:creationId xmlns:a16="http://schemas.microsoft.com/office/drawing/2014/main" id="{E81A7BF8-5B88-4DB0-8780-9553524A08F5}"/>
                    </a:ext>
                  </a:extLst>
                </p:cNvPr>
                <p:cNvSpPr/>
                <p:nvPr/>
              </p:nvSpPr>
              <p:spPr>
                <a:xfrm>
                  <a:off x="3413189" y="3275762"/>
                  <a:ext cx="183703" cy="100803"/>
                </a:xfrm>
                <a:custGeom>
                  <a:avLst/>
                  <a:gdLst>
                    <a:gd name="connsiteX0" fmla="*/ 171340 w 183703"/>
                    <a:gd name="connsiteY0" fmla="*/ 4385 h 100803"/>
                    <a:gd name="connsiteX1" fmla="*/ 172856 w 183703"/>
                    <a:gd name="connsiteY1" fmla="*/ 4433 h 100803"/>
                    <a:gd name="connsiteX2" fmla="*/ 174624 w 183703"/>
                    <a:gd name="connsiteY2" fmla="*/ 3741 h 100803"/>
                    <a:gd name="connsiteX3" fmla="*/ 175961 w 183703"/>
                    <a:gd name="connsiteY3" fmla="*/ 4743 h 100803"/>
                    <a:gd name="connsiteX4" fmla="*/ 176874 w 183703"/>
                    <a:gd name="connsiteY4" fmla="*/ 7449 h 100803"/>
                    <a:gd name="connsiteX5" fmla="*/ 176743 w 183703"/>
                    <a:gd name="connsiteY5" fmla="*/ 8826 h 100803"/>
                    <a:gd name="connsiteX6" fmla="*/ 175570 w 183703"/>
                    <a:gd name="connsiteY6" fmla="*/ 8875 h 100803"/>
                    <a:gd name="connsiteX7" fmla="*/ 174111 w 183703"/>
                    <a:gd name="connsiteY7" fmla="*/ 10497 h 100803"/>
                    <a:gd name="connsiteX8" fmla="*/ 172359 w 183703"/>
                    <a:gd name="connsiteY8" fmla="*/ 13683 h 100803"/>
                    <a:gd name="connsiteX9" fmla="*/ 172783 w 183703"/>
                    <a:gd name="connsiteY9" fmla="*/ 16674 h 100803"/>
                    <a:gd name="connsiteX10" fmla="*/ 175407 w 183703"/>
                    <a:gd name="connsiteY10" fmla="*/ 19462 h 100803"/>
                    <a:gd name="connsiteX11" fmla="*/ 177143 w 183703"/>
                    <a:gd name="connsiteY11" fmla="*/ 22273 h 100803"/>
                    <a:gd name="connsiteX12" fmla="*/ 178015 w 183703"/>
                    <a:gd name="connsiteY12" fmla="*/ 25109 h 100803"/>
                    <a:gd name="connsiteX13" fmla="*/ 179734 w 183703"/>
                    <a:gd name="connsiteY13" fmla="*/ 27310 h 100803"/>
                    <a:gd name="connsiteX14" fmla="*/ 183589 w 183703"/>
                    <a:gd name="connsiteY14" fmla="*/ 29649 h 100803"/>
                    <a:gd name="connsiteX15" fmla="*/ 183540 w 183703"/>
                    <a:gd name="connsiteY15" fmla="*/ 30945 h 100803"/>
                    <a:gd name="connsiteX16" fmla="*/ 183548 w 183703"/>
                    <a:gd name="connsiteY16" fmla="*/ 35337 h 100803"/>
                    <a:gd name="connsiteX17" fmla="*/ 183556 w 183703"/>
                    <a:gd name="connsiteY17" fmla="*/ 39722 h 100803"/>
                    <a:gd name="connsiteX18" fmla="*/ 183565 w 183703"/>
                    <a:gd name="connsiteY18" fmla="*/ 44114 h 100803"/>
                    <a:gd name="connsiteX19" fmla="*/ 183581 w 183703"/>
                    <a:gd name="connsiteY19" fmla="*/ 48499 h 100803"/>
                    <a:gd name="connsiteX20" fmla="*/ 183589 w 183703"/>
                    <a:gd name="connsiteY20" fmla="*/ 52875 h 100803"/>
                    <a:gd name="connsiteX21" fmla="*/ 183597 w 183703"/>
                    <a:gd name="connsiteY21" fmla="*/ 57244 h 100803"/>
                    <a:gd name="connsiteX22" fmla="*/ 183613 w 183703"/>
                    <a:gd name="connsiteY22" fmla="*/ 61620 h 100803"/>
                    <a:gd name="connsiteX23" fmla="*/ 183613 w 183703"/>
                    <a:gd name="connsiteY23" fmla="*/ 65980 h 100803"/>
                    <a:gd name="connsiteX24" fmla="*/ 183622 w 183703"/>
                    <a:gd name="connsiteY24" fmla="*/ 70340 h 100803"/>
                    <a:gd name="connsiteX25" fmla="*/ 183638 w 183703"/>
                    <a:gd name="connsiteY25" fmla="*/ 74709 h 100803"/>
                    <a:gd name="connsiteX26" fmla="*/ 183646 w 183703"/>
                    <a:gd name="connsiteY26" fmla="*/ 79060 h 100803"/>
                    <a:gd name="connsiteX27" fmla="*/ 183662 w 183703"/>
                    <a:gd name="connsiteY27" fmla="*/ 83421 h 100803"/>
                    <a:gd name="connsiteX28" fmla="*/ 183671 w 183703"/>
                    <a:gd name="connsiteY28" fmla="*/ 87773 h 100803"/>
                    <a:gd name="connsiteX29" fmla="*/ 183679 w 183703"/>
                    <a:gd name="connsiteY29" fmla="*/ 92108 h 100803"/>
                    <a:gd name="connsiteX30" fmla="*/ 183695 w 183703"/>
                    <a:gd name="connsiteY30" fmla="*/ 96460 h 100803"/>
                    <a:gd name="connsiteX31" fmla="*/ 183703 w 183703"/>
                    <a:gd name="connsiteY31" fmla="*/ 100804 h 100803"/>
                    <a:gd name="connsiteX32" fmla="*/ 177966 w 183703"/>
                    <a:gd name="connsiteY32" fmla="*/ 100804 h 100803"/>
                    <a:gd name="connsiteX33" fmla="*/ 172236 w 183703"/>
                    <a:gd name="connsiteY33" fmla="*/ 100804 h 100803"/>
                    <a:gd name="connsiteX34" fmla="*/ 166499 w 183703"/>
                    <a:gd name="connsiteY34" fmla="*/ 100804 h 100803"/>
                    <a:gd name="connsiteX35" fmla="*/ 160778 w 183703"/>
                    <a:gd name="connsiteY35" fmla="*/ 100804 h 100803"/>
                    <a:gd name="connsiteX36" fmla="*/ 155041 w 183703"/>
                    <a:gd name="connsiteY36" fmla="*/ 100804 h 100803"/>
                    <a:gd name="connsiteX37" fmla="*/ 149311 w 183703"/>
                    <a:gd name="connsiteY37" fmla="*/ 100804 h 100803"/>
                    <a:gd name="connsiteX38" fmla="*/ 143582 w 183703"/>
                    <a:gd name="connsiteY38" fmla="*/ 100804 h 100803"/>
                    <a:gd name="connsiteX39" fmla="*/ 137853 w 183703"/>
                    <a:gd name="connsiteY39" fmla="*/ 100804 h 100803"/>
                    <a:gd name="connsiteX40" fmla="*/ 132115 w 183703"/>
                    <a:gd name="connsiteY40" fmla="*/ 100804 h 100803"/>
                    <a:gd name="connsiteX41" fmla="*/ 126386 w 183703"/>
                    <a:gd name="connsiteY41" fmla="*/ 100804 h 100803"/>
                    <a:gd name="connsiteX42" fmla="*/ 120657 w 183703"/>
                    <a:gd name="connsiteY42" fmla="*/ 100804 h 100803"/>
                    <a:gd name="connsiteX43" fmla="*/ 114919 w 183703"/>
                    <a:gd name="connsiteY43" fmla="*/ 100804 h 100803"/>
                    <a:gd name="connsiteX44" fmla="*/ 109190 w 183703"/>
                    <a:gd name="connsiteY44" fmla="*/ 100804 h 100803"/>
                    <a:gd name="connsiteX45" fmla="*/ 103461 w 183703"/>
                    <a:gd name="connsiteY45" fmla="*/ 100804 h 100803"/>
                    <a:gd name="connsiteX46" fmla="*/ 97732 w 183703"/>
                    <a:gd name="connsiteY46" fmla="*/ 100804 h 100803"/>
                    <a:gd name="connsiteX47" fmla="*/ 91994 w 183703"/>
                    <a:gd name="connsiteY47" fmla="*/ 100804 h 100803"/>
                    <a:gd name="connsiteX48" fmla="*/ 86265 w 183703"/>
                    <a:gd name="connsiteY48" fmla="*/ 100804 h 100803"/>
                    <a:gd name="connsiteX49" fmla="*/ 80527 w 183703"/>
                    <a:gd name="connsiteY49" fmla="*/ 100804 h 100803"/>
                    <a:gd name="connsiteX50" fmla="*/ 74798 w 183703"/>
                    <a:gd name="connsiteY50" fmla="*/ 100804 h 100803"/>
                    <a:gd name="connsiteX51" fmla="*/ 69069 w 183703"/>
                    <a:gd name="connsiteY51" fmla="*/ 100804 h 100803"/>
                    <a:gd name="connsiteX52" fmla="*/ 63340 w 183703"/>
                    <a:gd name="connsiteY52" fmla="*/ 100804 h 100803"/>
                    <a:gd name="connsiteX53" fmla="*/ 57602 w 183703"/>
                    <a:gd name="connsiteY53" fmla="*/ 100804 h 100803"/>
                    <a:gd name="connsiteX54" fmla="*/ 51873 w 183703"/>
                    <a:gd name="connsiteY54" fmla="*/ 100804 h 100803"/>
                    <a:gd name="connsiteX55" fmla="*/ 46144 w 183703"/>
                    <a:gd name="connsiteY55" fmla="*/ 100804 h 100803"/>
                    <a:gd name="connsiteX56" fmla="*/ 40415 w 183703"/>
                    <a:gd name="connsiteY56" fmla="*/ 100804 h 100803"/>
                    <a:gd name="connsiteX57" fmla="*/ 34685 w 183703"/>
                    <a:gd name="connsiteY57" fmla="*/ 100804 h 100803"/>
                    <a:gd name="connsiteX58" fmla="*/ 28948 w 183703"/>
                    <a:gd name="connsiteY58" fmla="*/ 100804 h 100803"/>
                    <a:gd name="connsiteX59" fmla="*/ 23219 w 183703"/>
                    <a:gd name="connsiteY59" fmla="*/ 100804 h 100803"/>
                    <a:gd name="connsiteX60" fmla="*/ 17489 w 183703"/>
                    <a:gd name="connsiteY60" fmla="*/ 100804 h 100803"/>
                    <a:gd name="connsiteX61" fmla="*/ 11760 w 183703"/>
                    <a:gd name="connsiteY61" fmla="*/ 100804 h 100803"/>
                    <a:gd name="connsiteX62" fmla="*/ 6023 w 183703"/>
                    <a:gd name="connsiteY62" fmla="*/ 100804 h 100803"/>
                    <a:gd name="connsiteX63" fmla="*/ 293 w 183703"/>
                    <a:gd name="connsiteY63" fmla="*/ 100804 h 100803"/>
                    <a:gd name="connsiteX64" fmla="*/ 277 w 183703"/>
                    <a:gd name="connsiteY64" fmla="*/ 94553 h 100803"/>
                    <a:gd name="connsiteX65" fmla="*/ 261 w 183703"/>
                    <a:gd name="connsiteY65" fmla="*/ 88302 h 100803"/>
                    <a:gd name="connsiteX66" fmla="*/ 236 w 183703"/>
                    <a:gd name="connsiteY66" fmla="*/ 82043 h 100803"/>
                    <a:gd name="connsiteX67" fmla="*/ 220 w 183703"/>
                    <a:gd name="connsiteY67" fmla="*/ 75768 h 100803"/>
                    <a:gd name="connsiteX68" fmla="*/ 204 w 183703"/>
                    <a:gd name="connsiteY68" fmla="*/ 69493 h 100803"/>
                    <a:gd name="connsiteX69" fmla="*/ 187 w 183703"/>
                    <a:gd name="connsiteY69" fmla="*/ 63217 h 100803"/>
                    <a:gd name="connsiteX70" fmla="*/ 163 w 183703"/>
                    <a:gd name="connsiteY70" fmla="*/ 56934 h 100803"/>
                    <a:gd name="connsiteX71" fmla="*/ 147 w 183703"/>
                    <a:gd name="connsiteY71" fmla="*/ 50634 h 100803"/>
                    <a:gd name="connsiteX72" fmla="*/ 130 w 183703"/>
                    <a:gd name="connsiteY72" fmla="*/ 44334 h 100803"/>
                    <a:gd name="connsiteX73" fmla="*/ 114 w 183703"/>
                    <a:gd name="connsiteY73" fmla="*/ 38027 h 100803"/>
                    <a:gd name="connsiteX74" fmla="*/ 90 w 183703"/>
                    <a:gd name="connsiteY74" fmla="*/ 31711 h 100803"/>
                    <a:gd name="connsiteX75" fmla="*/ 73 w 183703"/>
                    <a:gd name="connsiteY75" fmla="*/ 25378 h 100803"/>
                    <a:gd name="connsiteX76" fmla="*/ 57 w 183703"/>
                    <a:gd name="connsiteY76" fmla="*/ 19054 h 100803"/>
                    <a:gd name="connsiteX77" fmla="*/ 33 w 183703"/>
                    <a:gd name="connsiteY77" fmla="*/ 12714 h 100803"/>
                    <a:gd name="connsiteX78" fmla="*/ 16 w 183703"/>
                    <a:gd name="connsiteY78" fmla="*/ 6365 h 100803"/>
                    <a:gd name="connsiteX79" fmla="*/ 0 w 183703"/>
                    <a:gd name="connsiteY79" fmla="*/ 16 h 100803"/>
                    <a:gd name="connsiteX80" fmla="*/ 5200 w 183703"/>
                    <a:gd name="connsiteY80" fmla="*/ 16 h 100803"/>
                    <a:gd name="connsiteX81" fmla="*/ 10399 w 183703"/>
                    <a:gd name="connsiteY81" fmla="*/ 16 h 100803"/>
                    <a:gd name="connsiteX82" fmla="*/ 15599 w 183703"/>
                    <a:gd name="connsiteY82" fmla="*/ 16 h 100803"/>
                    <a:gd name="connsiteX83" fmla="*/ 20798 w 183703"/>
                    <a:gd name="connsiteY83" fmla="*/ 16 h 100803"/>
                    <a:gd name="connsiteX84" fmla="*/ 25998 w 183703"/>
                    <a:gd name="connsiteY84" fmla="*/ 16 h 100803"/>
                    <a:gd name="connsiteX85" fmla="*/ 31197 w 183703"/>
                    <a:gd name="connsiteY85" fmla="*/ 16 h 100803"/>
                    <a:gd name="connsiteX86" fmla="*/ 36389 w 183703"/>
                    <a:gd name="connsiteY86" fmla="*/ 16 h 100803"/>
                    <a:gd name="connsiteX87" fmla="*/ 41588 w 183703"/>
                    <a:gd name="connsiteY87" fmla="*/ 16 h 100803"/>
                    <a:gd name="connsiteX88" fmla="*/ 46788 w 183703"/>
                    <a:gd name="connsiteY88" fmla="*/ 16 h 100803"/>
                    <a:gd name="connsiteX89" fmla="*/ 51987 w 183703"/>
                    <a:gd name="connsiteY89" fmla="*/ 16 h 100803"/>
                    <a:gd name="connsiteX90" fmla="*/ 57187 w 183703"/>
                    <a:gd name="connsiteY90" fmla="*/ 16 h 100803"/>
                    <a:gd name="connsiteX91" fmla="*/ 62386 w 183703"/>
                    <a:gd name="connsiteY91" fmla="*/ 16 h 100803"/>
                    <a:gd name="connsiteX92" fmla="*/ 67586 w 183703"/>
                    <a:gd name="connsiteY92" fmla="*/ 16 h 100803"/>
                    <a:gd name="connsiteX93" fmla="*/ 72785 w 183703"/>
                    <a:gd name="connsiteY93" fmla="*/ 16 h 100803"/>
                    <a:gd name="connsiteX94" fmla="*/ 77977 w 183703"/>
                    <a:gd name="connsiteY94" fmla="*/ 16 h 100803"/>
                    <a:gd name="connsiteX95" fmla="*/ 83176 w 183703"/>
                    <a:gd name="connsiteY95" fmla="*/ 16 h 100803"/>
                    <a:gd name="connsiteX96" fmla="*/ 88376 w 183703"/>
                    <a:gd name="connsiteY96" fmla="*/ 16 h 100803"/>
                    <a:gd name="connsiteX97" fmla="*/ 93575 w 183703"/>
                    <a:gd name="connsiteY97" fmla="*/ 16 h 100803"/>
                    <a:gd name="connsiteX98" fmla="*/ 98775 w 183703"/>
                    <a:gd name="connsiteY98" fmla="*/ 16 h 100803"/>
                    <a:gd name="connsiteX99" fmla="*/ 103974 w 183703"/>
                    <a:gd name="connsiteY99" fmla="*/ 16 h 100803"/>
                    <a:gd name="connsiteX100" fmla="*/ 109174 w 183703"/>
                    <a:gd name="connsiteY100" fmla="*/ 16 h 100803"/>
                    <a:gd name="connsiteX101" fmla="*/ 114373 w 183703"/>
                    <a:gd name="connsiteY101" fmla="*/ 16 h 100803"/>
                    <a:gd name="connsiteX102" fmla="*/ 119565 w 183703"/>
                    <a:gd name="connsiteY102" fmla="*/ 16 h 100803"/>
                    <a:gd name="connsiteX103" fmla="*/ 124772 w 183703"/>
                    <a:gd name="connsiteY103" fmla="*/ 16 h 100803"/>
                    <a:gd name="connsiteX104" fmla="*/ 129964 w 183703"/>
                    <a:gd name="connsiteY104" fmla="*/ 16 h 100803"/>
                    <a:gd name="connsiteX105" fmla="*/ 135163 w 183703"/>
                    <a:gd name="connsiteY105" fmla="*/ 16 h 100803"/>
                    <a:gd name="connsiteX106" fmla="*/ 140363 w 183703"/>
                    <a:gd name="connsiteY106" fmla="*/ 16 h 100803"/>
                    <a:gd name="connsiteX107" fmla="*/ 145562 w 183703"/>
                    <a:gd name="connsiteY107" fmla="*/ 16 h 100803"/>
                    <a:gd name="connsiteX108" fmla="*/ 150762 w 183703"/>
                    <a:gd name="connsiteY108" fmla="*/ 16 h 100803"/>
                    <a:gd name="connsiteX109" fmla="*/ 155962 w 183703"/>
                    <a:gd name="connsiteY109" fmla="*/ 16 h 100803"/>
                    <a:gd name="connsiteX110" fmla="*/ 161153 w 183703"/>
                    <a:gd name="connsiteY110" fmla="*/ 16 h 100803"/>
                    <a:gd name="connsiteX111" fmla="*/ 165627 w 183703"/>
                    <a:gd name="connsiteY111" fmla="*/ 0 h 100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83703" h="100803">
                      <a:moveTo>
                        <a:pt x="171340" y="4385"/>
                      </a:moveTo>
                      <a:lnTo>
                        <a:pt x="172856" y="4433"/>
                      </a:lnTo>
                      <a:lnTo>
                        <a:pt x="174624" y="3741"/>
                      </a:lnTo>
                      <a:lnTo>
                        <a:pt x="175961" y="4743"/>
                      </a:lnTo>
                      <a:lnTo>
                        <a:pt x="176874" y="7449"/>
                      </a:lnTo>
                      <a:lnTo>
                        <a:pt x="176743" y="8826"/>
                      </a:lnTo>
                      <a:lnTo>
                        <a:pt x="175570" y="8875"/>
                      </a:lnTo>
                      <a:lnTo>
                        <a:pt x="174111" y="10497"/>
                      </a:lnTo>
                      <a:lnTo>
                        <a:pt x="172359" y="13683"/>
                      </a:lnTo>
                      <a:lnTo>
                        <a:pt x="172783" y="16674"/>
                      </a:lnTo>
                      <a:lnTo>
                        <a:pt x="175407" y="19462"/>
                      </a:lnTo>
                      <a:lnTo>
                        <a:pt x="177143" y="22273"/>
                      </a:lnTo>
                      <a:lnTo>
                        <a:pt x="178015" y="25109"/>
                      </a:lnTo>
                      <a:lnTo>
                        <a:pt x="179734" y="27310"/>
                      </a:lnTo>
                      <a:lnTo>
                        <a:pt x="183589" y="29649"/>
                      </a:lnTo>
                      <a:lnTo>
                        <a:pt x="183540" y="30945"/>
                      </a:lnTo>
                      <a:lnTo>
                        <a:pt x="183548" y="35337"/>
                      </a:lnTo>
                      <a:lnTo>
                        <a:pt x="183556" y="39722"/>
                      </a:lnTo>
                      <a:lnTo>
                        <a:pt x="183565" y="44114"/>
                      </a:lnTo>
                      <a:lnTo>
                        <a:pt x="183581" y="48499"/>
                      </a:lnTo>
                      <a:lnTo>
                        <a:pt x="183589" y="52875"/>
                      </a:lnTo>
                      <a:lnTo>
                        <a:pt x="183597" y="57244"/>
                      </a:lnTo>
                      <a:lnTo>
                        <a:pt x="183613" y="61620"/>
                      </a:lnTo>
                      <a:lnTo>
                        <a:pt x="183613" y="65980"/>
                      </a:lnTo>
                      <a:lnTo>
                        <a:pt x="183622" y="70340"/>
                      </a:lnTo>
                      <a:lnTo>
                        <a:pt x="183638" y="74709"/>
                      </a:lnTo>
                      <a:lnTo>
                        <a:pt x="183646" y="79060"/>
                      </a:lnTo>
                      <a:lnTo>
                        <a:pt x="183662" y="83421"/>
                      </a:lnTo>
                      <a:lnTo>
                        <a:pt x="183671" y="87773"/>
                      </a:lnTo>
                      <a:lnTo>
                        <a:pt x="183679" y="92108"/>
                      </a:lnTo>
                      <a:lnTo>
                        <a:pt x="183695" y="96460"/>
                      </a:lnTo>
                      <a:lnTo>
                        <a:pt x="183703" y="100804"/>
                      </a:lnTo>
                      <a:lnTo>
                        <a:pt x="177966" y="100804"/>
                      </a:lnTo>
                      <a:lnTo>
                        <a:pt x="172236" y="100804"/>
                      </a:lnTo>
                      <a:lnTo>
                        <a:pt x="166499" y="100804"/>
                      </a:lnTo>
                      <a:lnTo>
                        <a:pt x="160778" y="100804"/>
                      </a:lnTo>
                      <a:lnTo>
                        <a:pt x="155041" y="100804"/>
                      </a:lnTo>
                      <a:lnTo>
                        <a:pt x="149311" y="100804"/>
                      </a:lnTo>
                      <a:lnTo>
                        <a:pt x="143582" y="100804"/>
                      </a:lnTo>
                      <a:lnTo>
                        <a:pt x="137853" y="100804"/>
                      </a:lnTo>
                      <a:lnTo>
                        <a:pt x="132115" y="100804"/>
                      </a:lnTo>
                      <a:lnTo>
                        <a:pt x="126386" y="100804"/>
                      </a:lnTo>
                      <a:lnTo>
                        <a:pt x="120657" y="100804"/>
                      </a:lnTo>
                      <a:lnTo>
                        <a:pt x="114919" y="100804"/>
                      </a:lnTo>
                      <a:lnTo>
                        <a:pt x="109190" y="100804"/>
                      </a:lnTo>
                      <a:lnTo>
                        <a:pt x="103461" y="100804"/>
                      </a:lnTo>
                      <a:lnTo>
                        <a:pt x="97732" y="100804"/>
                      </a:lnTo>
                      <a:lnTo>
                        <a:pt x="91994" y="100804"/>
                      </a:lnTo>
                      <a:lnTo>
                        <a:pt x="86265" y="100804"/>
                      </a:lnTo>
                      <a:lnTo>
                        <a:pt x="80527" y="100804"/>
                      </a:lnTo>
                      <a:lnTo>
                        <a:pt x="74798" y="100804"/>
                      </a:lnTo>
                      <a:lnTo>
                        <a:pt x="69069" y="100804"/>
                      </a:lnTo>
                      <a:lnTo>
                        <a:pt x="63340" y="100804"/>
                      </a:lnTo>
                      <a:lnTo>
                        <a:pt x="57602" y="100804"/>
                      </a:lnTo>
                      <a:lnTo>
                        <a:pt x="51873" y="100804"/>
                      </a:lnTo>
                      <a:lnTo>
                        <a:pt x="46144" y="100804"/>
                      </a:lnTo>
                      <a:lnTo>
                        <a:pt x="40415" y="100804"/>
                      </a:lnTo>
                      <a:lnTo>
                        <a:pt x="34685" y="100804"/>
                      </a:lnTo>
                      <a:lnTo>
                        <a:pt x="28948" y="100804"/>
                      </a:lnTo>
                      <a:lnTo>
                        <a:pt x="23219" y="100804"/>
                      </a:lnTo>
                      <a:lnTo>
                        <a:pt x="17489" y="100804"/>
                      </a:lnTo>
                      <a:lnTo>
                        <a:pt x="11760" y="100804"/>
                      </a:lnTo>
                      <a:lnTo>
                        <a:pt x="6023" y="100804"/>
                      </a:lnTo>
                      <a:lnTo>
                        <a:pt x="293" y="100804"/>
                      </a:lnTo>
                      <a:lnTo>
                        <a:pt x="277" y="94553"/>
                      </a:lnTo>
                      <a:lnTo>
                        <a:pt x="261" y="88302"/>
                      </a:lnTo>
                      <a:lnTo>
                        <a:pt x="236" y="82043"/>
                      </a:lnTo>
                      <a:lnTo>
                        <a:pt x="220" y="75768"/>
                      </a:lnTo>
                      <a:lnTo>
                        <a:pt x="204" y="69493"/>
                      </a:lnTo>
                      <a:lnTo>
                        <a:pt x="187" y="63217"/>
                      </a:lnTo>
                      <a:lnTo>
                        <a:pt x="163" y="56934"/>
                      </a:lnTo>
                      <a:lnTo>
                        <a:pt x="147" y="50634"/>
                      </a:lnTo>
                      <a:lnTo>
                        <a:pt x="130" y="44334"/>
                      </a:lnTo>
                      <a:lnTo>
                        <a:pt x="114" y="38027"/>
                      </a:lnTo>
                      <a:lnTo>
                        <a:pt x="90" y="31711"/>
                      </a:lnTo>
                      <a:lnTo>
                        <a:pt x="73" y="25378"/>
                      </a:lnTo>
                      <a:lnTo>
                        <a:pt x="57" y="19054"/>
                      </a:lnTo>
                      <a:lnTo>
                        <a:pt x="33" y="12714"/>
                      </a:lnTo>
                      <a:lnTo>
                        <a:pt x="16" y="6365"/>
                      </a:lnTo>
                      <a:lnTo>
                        <a:pt x="0" y="16"/>
                      </a:lnTo>
                      <a:lnTo>
                        <a:pt x="5200" y="16"/>
                      </a:lnTo>
                      <a:lnTo>
                        <a:pt x="10399" y="16"/>
                      </a:lnTo>
                      <a:lnTo>
                        <a:pt x="15599" y="16"/>
                      </a:lnTo>
                      <a:lnTo>
                        <a:pt x="20798" y="16"/>
                      </a:lnTo>
                      <a:lnTo>
                        <a:pt x="25998" y="16"/>
                      </a:lnTo>
                      <a:lnTo>
                        <a:pt x="31197" y="16"/>
                      </a:lnTo>
                      <a:lnTo>
                        <a:pt x="36389" y="16"/>
                      </a:lnTo>
                      <a:lnTo>
                        <a:pt x="41588" y="16"/>
                      </a:lnTo>
                      <a:lnTo>
                        <a:pt x="46788" y="16"/>
                      </a:lnTo>
                      <a:lnTo>
                        <a:pt x="51987" y="16"/>
                      </a:lnTo>
                      <a:lnTo>
                        <a:pt x="57187" y="16"/>
                      </a:lnTo>
                      <a:lnTo>
                        <a:pt x="62386" y="16"/>
                      </a:lnTo>
                      <a:lnTo>
                        <a:pt x="67586" y="16"/>
                      </a:lnTo>
                      <a:lnTo>
                        <a:pt x="72785" y="16"/>
                      </a:lnTo>
                      <a:lnTo>
                        <a:pt x="77977" y="16"/>
                      </a:lnTo>
                      <a:lnTo>
                        <a:pt x="83176" y="16"/>
                      </a:lnTo>
                      <a:lnTo>
                        <a:pt x="88376" y="16"/>
                      </a:lnTo>
                      <a:lnTo>
                        <a:pt x="93575" y="16"/>
                      </a:lnTo>
                      <a:lnTo>
                        <a:pt x="98775" y="16"/>
                      </a:lnTo>
                      <a:lnTo>
                        <a:pt x="103974" y="16"/>
                      </a:lnTo>
                      <a:lnTo>
                        <a:pt x="109174" y="16"/>
                      </a:lnTo>
                      <a:lnTo>
                        <a:pt x="114373" y="16"/>
                      </a:lnTo>
                      <a:lnTo>
                        <a:pt x="119565" y="16"/>
                      </a:lnTo>
                      <a:lnTo>
                        <a:pt x="124772" y="16"/>
                      </a:lnTo>
                      <a:lnTo>
                        <a:pt x="129964" y="16"/>
                      </a:lnTo>
                      <a:lnTo>
                        <a:pt x="135163" y="16"/>
                      </a:lnTo>
                      <a:lnTo>
                        <a:pt x="140363" y="16"/>
                      </a:lnTo>
                      <a:lnTo>
                        <a:pt x="145562" y="16"/>
                      </a:lnTo>
                      <a:lnTo>
                        <a:pt x="150762" y="16"/>
                      </a:lnTo>
                      <a:lnTo>
                        <a:pt x="155962" y="16"/>
                      </a:lnTo>
                      <a:lnTo>
                        <a:pt x="161153" y="16"/>
                      </a:lnTo>
                      <a:lnTo>
                        <a:pt x="165627" y="0"/>
                      </a:lnTo>
                      <a:close/>
                    </a:path>
                  </a:pathLst>
                </a:custGeom>
                <a:solidFill>
                  <a:srgbClr val="D6D6D2"/>
                </a:solidFill>
                <a:ln w="6112" cap="rnd">
                  <a:solidFill>
                    <a:srgbClr val="FFFFFF"/>
                  </a:solidFill>
                  <a:prstDash val="solid"/>
                  <a:round/>
                </a:ln>
              </p:spPr>
              <p:txBody>
                <a:bodyPr rtlCol="0" anchor="ctr"/>
                <a:lstStyle/>
                <a:p>
                  <a:endParaRPr lang="en-US"/>
                </a:p>
              </p:txBody>
            </p:sp>
            <p:sp>
              <p:nvSpPr>
                <p:cNvPr id="458" name="Freeform: Shape 457">
                  <a:extLst>
                    <a:ext uri="{FF2B5EF4-FFF2-40B4-BE49-F238E27FC236}">
                      <a16:creationId xmlns:a16="http://schemas.microsoft.com/office/drawing/2014/main" id="{C84C7EF7-90C6-4AC5-BD7E-DFE024AFD1B9}"/>
                    </a:ext>
                  </a:extLst>
                </p:cNvPr>
                <p:cNvSpPr/>
                <p:nvPr/>
              </p:nvSpPr>
              <p:spPr>
                <a:xfrm>
                  <a:off x="3758664" y="3215772"/>
                  <a:ext cx="81994" cy="134527"/>
                </a:xfrm>
                <a:custGeom>
                  <a:avLst/>
                  <a:gdLst>
                    <a:gd name="connsiteX0" fmla="*/ 79224 w 81994"/>
                    <a:gd name="connsiteY0" fmla="*/ 101595 h 134527"/>
                    <a:gd name="connsiteX1" fmla="*/ 74448 w 81994"/>
                    <a:gd name="connsiteY1" fmla="*/ 103477 h 134527"/>
                    <a:gd name="connsiteX2" fmla="*/ 73405 w 81994"/>
                    <a:gd name="connsiteY2" fmla="*/ 104023 h 134527"/>
                    <a:gd name="connsiteX3" fmla="*/ 72557 w 81994"/>
                    <a:gd name="connsiteY3" fmla="*/ 104260 h 134527"/>
                    <a:gd name="connsiteX4" fmla="*/ 72158 w 81994"/>
                    <a:gd name="connsiteY4" fmla="*/ 104154 h 134527"/>
                    <a:gd name="connsiteX5" fmla="*/ 72158 w 81994"/>
                    <a:gd name="connsiteY5" fmla="*/ 104154 h 134527"/>
                    <a:gd name="connsiteX6" fmla="*/ 71538 w 81994"/>
                    <a:gd name="connsiteY6" fmla="*/ 103795 h 134527"/>
                    <a:gd name="connsiteX7" fmla="*/ 70658 w 81994"/>
                    <a:gd name="connsiteY7" fmla="*/ 103029 h 134527"/>
                    <a:gd name="connsiteX8" fmla="*/ 69167 w 81994"/>
                    <a:gd name="connsiteY8" fmla="*/ 102687 h 134527"/>
                    <a:gd name="connsiteX9" fmla="*/ 66714 w 81994"/>
                    <a:gd name="connsiteY9" fmla="*/ 102931 h 134527"/>
                    <a:gd name="connsiteX10" fmla="*/ 65744 w 81994"/>
                    <a:gd name="connsiteY10" fmla="*/ 104504 h 134527"/>
                    <a:gd name="connsiteX11" fmla="*/ 66241 w 81994"/>
                    <a:gd name="connsiteY11" fmla="*/ 107405 h 134527"/>
                    <a:gd name="connsiteX12" fmla="*/ 65402 w 81994"/>
                    <a:gd name="connsiteY12" fmla="*/ 109646 h 134527"/>
                    <a:gd name="connsiteX13" fmla="*/ 63226 w 81994"/>
                    <a:gd name="connsiteY13" fmla="*/ 111195 h 134527"/>
                    <a:gd name="connsiteX14" fmla="*/ 61669 w 81994"/>
                    <a:gd name="connsiteY14" fmla="*/ 113249 h 134527"/>
                    <a:gd name="connsiteX15" fmla="*/ 60740 w 81994"/>
                    <a:gd name="connsiteY15" fmla="*/ 115783 h 134527"/>
                    <a:gd name="connsiteX16" fmla="*/ 59257 w 81994"/>
                    <a:gd name="connsiteY16" fmla="*/ 117332 h 134527"/>
                    <a:gd name="connsiteX17" fmla="*/ 57219 w 81994"/>
                    <a:gd name="connsiteY17" fmla="*/ 117870 h 134527"/>
                    <a:gd name="connsiteX18" fmla="*/ 55573 w 81994"/>
                    <a:gd name="connsiteY18" fmla="*/ 120225 h 134527"/>
                    <a:gd name="connsiteX19" fmla="*/ 54310 w 81994"/>
                    <a:gd name="connsiteY19" fmla="*/ 124381 h 134527"/>
                    <a:gd name="connsiteX20" fmla="*/ 52933 w 81994"/>
                    <a:gd name="connsiteY20" fmla="*/ 126957 h 134527"/>
                    <a:gd name="connsiteX21" fmla="*/ 51441 w 81994"/>
                    <a:gd name="connsiteY21" fmla="*/ 127951 h 134527"/>
                    <a:gd name="connsiteX22" fmla="*/ 49404 w 81994"/>
                    <a:gd name="connsiteY22" fmla="*/ 127698 h 134527"/>
                    <a:gd name="connsiteX23" fmla="*/ 46820 w 81994"/>
                    <a:gd name="connsiteY23" fmla="*/ 126199 h 134527"/>
                    <a:gd name="connsiteX24" fmla="*/ 45337 w 81994"/>
                    <a:gd name="connsiteY24" fmla="*/ 124658 h 134527"/>
                    <a:gd name="connsiteX25" fmla="*/ 44938 w 81994"/>
                    <a:gd name="connsiteY25" fmla="*/ 123077 h 134527"/>
                    <a:gd name="connsiteX26" fmla="*/ 44172 w 81994"/>
                    <a:gd name="connsiteY26" fmla="*/ 121944 h 134527"/>
                    <a:gd name="connsiteX27" fmla="*/ 43471 w 81994"/>
                    <a:gd name="connsiteY27" fmla="*/ 121439 h 134527"/>
                    <a:gd name="connsiteX28" fmla="*/ 43006 w 81994"/>
                    <a:gd name="connsiteY28" fmla="*/ 121431 h 134527"/>
                    <a:gd name="connsiteX29" fmla="*/ 42982 w 81994"/>
                    <a:gd name="connsiteY29" fmla="*/ 121659 h 134527"/>
                    <a:gd name="connsiteX30" fmla="*/ 43169 w 81994"/>
                    <a:gd name="connsiteY30" fmla="*/ 122107 h 134527"/>
                    <a:gd name="connsiteX31" fmla="*/ 42917 w 81994"/>
                    <a:gd name="connsiteY31" fmla="*/ 122580 h 134527"/>
                    <a:gd name="connsiteX32" fmla="*/ 41319 w 81994"/>
                    <a:gd name="connsiteY32" fmla="*/ 122751 h 134527"/>
                    <a:gd name="connsiteX33" fmla="*/ 40627 w 81994"/>
                    <a:gd name="connsiteY33" fmla="*/ 123403 h 134527"/>
                    <a:gd name="connsiteX34" fmla="*/ 40847 w 81994"/>
                    <a:gd name="connsiteY34" fmla="*/ 124544 h 134527"/>
                    <a:gd name="connsiteX35" fmla="*/ 40496 w 81994"/>
                    <a:gd name="connsiteY35" fmla="*/ 125359 h 134527"/>
                    <a:gd name="connsiteX36" fmla="*/ 39575 w 81994"/>
                    <a:gd name="connsiteY36" fmla="*/ 125840 h 134527"/>
                    <a:gd name="connsiteX37" fmla="*/ 39078 w 81994"/>
                    <a:gd name="connsiteY37" fmla="*/ 126924 h 134527"/>
                    <a:gd name="connsiteX38" fmla="*/ 39013 w 81994"/>
                    <a:gd name="connsiteY38" fmla="*/ 128635 h 134527"/>
                    <a:gd name="connsiteX39" fmla="*/ 38361 w 81994"/>
                    <a:gd name="connsiteY39" fmla="*/ 130208 h 134527"/>
                    <a:gd name="connsiteX40" fmla="*/ 37106 w 81994"/>
                    <a:gd name="connsiteY40" fmla="*/ 131626 h 134527"/>
                    <a:gd name="connsiteX41" fmla="*/ 35272 w 81994"/>
                    <a:gd name="connsiteY41" fmla="*/ 131145 h 134527"/>
                    <a:gd name="connsiteX42" fmla="*/ 32860 w 81994"/>
                    <a:gd name="connsiteY42" fmla="*/ 128774 h 134527"/>
                    <a:gd name="connsiteX43" fmla="*/ 30415 w 81994"/>
                    <a:gd name="connsiteY43" fmla="*/ 128228 h 134527"/>
                    <a:gd name="connsiteX44" fmla="*/ 27921 w 81994"/>
                    <a:gd name="connsiteY44" fmla="*/ 129499 h 134527"/>
                    <a:gd name="connsiteX45" fmla="*/ 26071 w 81994"/>
                    <a:gd name="connsiteY45" fmla="*/ 131227 h 134527"/>
                    <a:gd name="connsiteX46" fmla="*/ 24849 w 81994"/>
                    <a:gd name="connsiteY46" fmla="*/ 133403 h 134527"/>
                    <a:gd name="connsiteX47" fmla="*/ 23667 w 81994"/>
                    <a:gd name="connsiteY47" fmla="*/ 133941 h 134527"/>
                    <a:gd name="connsiteX48" fmla="*/ 21972 w 81994"/>
                    <a:gd name="connsiteY48" fmla="*/ 132286 h 134527"/>
                    <a:gd name="connsiteX49" fmla="*/ 17930 w 81994"/>
                    <a:gd name="connsiteY49" fmla="*/ 129988 h 134527"/>
                    <a:gd name="connsiteX50" fmla="*/ 15827 w 81994"/>
                    <a:gd name="connsiteY50" fmla="*/ 129499 h 134527"/>
                    <a:gd name="connsiteX51" fmla="*/ 14311 w 81994"/>
                    <a:gd name="connsiteY51" fmla="*/ 130053 h 134527"/>
                    <a:gd name="connsiteX52" fmla="*/ 13243 w 81994"/>
                    <a:gd name="connsiteY52" fmla="*/ 129809 h 134527"/>
                    <a:gd name="connsiteX53" fmla="*/ 12877 w 81994"/>
                    <a:gd name="connsiteY53" fmla="*/ 129173 h 134527"/>
                    <a:gd name="connsiteX54" fmla="*/ 12600 w 81994"/>
                    <a:gd name="connsiteY54" fmla="*/ 128913 h 134527"/>
                    <a:gd name="connsiteX55" fmla="*/ 12298 w 81994"/>
                    <a:gd name="connsiteY55" fmla="*/ 129222 h 134527"/>
                    <a:gd name="connsiteX56" fmla="*/ 12274 w 81994"/>
                    <a:gd name="connsiteY56" fmla="*/ 131219 h 134527"/>
                    <a:gd name="connsiteX57" fmla="*/ 11907 w 81994"/>
                    <a:gd name="connsiteY57" fmla="*/ 132482 h 134527"/>
                    <a:gd name="connsiteX58" fmla="*/ 11214 w 81994"/>
                    <a:gd name="connsiteY58" fmla="*/ 133020 h 134527"/>
                    <a:gd name="connsiteX59" fmla="*/ 10684 w 81994"/>
                    <a:gd name="connsiteY59" fmla="*/ 132596 h 134527"/>
                    <a:gd name="connsiteX60" fmla="*/ 10318 w 81994"/>
                    <a:gd name="connsiteY60" fmla="*/ 131235 h 134527"/>
                    <a:gd name="connsiteX61" fmla="*/ 9446 w 81994"/>
                    <a:gd name="connsiteY61" fmla="*/ 130795 h 134527"/>
                    <a:gd name="connsiteX62" fmla="*/ 8076 w 81994"/>
                    <a:gd name="connsiteY62" fmla="*/ 131268 h 134527"/>
                    <a:gd name="connsiteX63" fmla="*/ 6699 w 81994"/>
                    <a:gd name="connsiteY63" fmla="*/ 131056 h 134527"/>
                    <a:gd name="connsiteX64" fmla="*/ 5485 w 81994"/>
                    <a:gd name="connsiteY64" fmla="*/ 130249 h 134527"/>
                    <a:gd name="connsiteX65" fmla="*/ 5045 w 81994"/>
                    <a:gd name="connsiteY65" fmla="*/ 130339 h 134527"/>
                    <a:gd name="connsiteX66" fmla="*/ 4694 w 81994"/>
                    <a:gd name="connsiteY66" fmla="*/ 130714 h 134527"/>
                    <a:gd name="connsiteX67" fmla="*/ 4792 w 81994"/>
                    <a:gd name="connsiteY67" fmla="*/ 132278 h 134527"/>
                    <a:gd name="connsiteX68" fmla="*/ 4539 w 81994"/>
                    <a:gd name="connsiteY68" fmla="*/ 133525 h 134527"/>
                    <a:gd name="connsiteX69" fmla="*/ 3904 w 81994"/>
                    <a:gd name="connsiteY69" fmla="*/ 134332 h 134527"/>
                    <a:gd name="connsiteX70" fmla="*/ 2999 w 81994"/>
                    <a:gd name="connsiteY70" fmla="*/ 134528 h 134527"/>
                    <a:gd name="connsiteX71" fmla="*/ 1826 w 81994"/>
                    <a:gd name="connsiteY71" fmla="*/ 134104 h 134527"/>
                    <a:gd name="connsiteX72" fmla="*/ 1329 w 81994"/>
                    <a:gd name="connsiteY72" fmla="*/ 134495 h 134527"/>
                    <a:gd name="connsiteX73" fmla="*/ 0 w 81994"/>
                    <a:gd name="connsiteY73" fmla="*/ 131594 h 134527"/>
                    <a:gd name="connsiteX74" fmla="*/ 106 w 81994"/>
                    <a:gd name="connsiteY74" fmla="*/ 130885 h 134527"/>
                    <a:gd name="connsiteX75" fmla="*/ 905 w 81994"/>
                    <a:gd name="connsiteY75" fmla="*/ 130828 h 134527"/>
                    <a:gd name="connsiteX76" fmla="*/ 1312 w 81994"/>
                    <a:gd name="connsiteY76" fmla="*/ 129548 h 134527"/>
                    <a:gd name="connsiteX77" fmla="*/ 1263 w 81994"/>
                    <a:gd name="connsiteY77" fmla="*/ 126981 h 134527"/>
                    <a:gd name="connsiteX78" fmla="*/ 1720 w 81994"/>
                    <a:gd name="connsiteY78" fmla="*/ 125433 h 134527"/>
                    <a:gd name="connsiteX79" fmla="*/ 2461 w 81994"/>
                    <a:gd name="connsiteY79" fmla="*/ 124935 h 134527"/>
                    <a:gd name="connsiteX80" fmla="*/ 2608 w 81994"/>
                    <a:gd name="connsiteY80" fmla="*/ 124438 h 134527"/>
                    <a:gd name="connsiteX81" fmla="*/ 2241 w 81994"/>
                    <a:gd name="connsiteY81" fmla="*/ 124129 h 134527"/>
                    <a:gd name="connsiteX82" fmla="*/ 2217 w 81994"/>
                    <a:gd name="connsiteY82" fmla="*/ 123631 h 134527"/>
                    <a:gd name="connsiteX83" fmla="*/ 3407 w 81994"/>
                    <a:gd name="connsiteY83" fmla="*/ 122596 h 134527"/>
                    <a:gd name="connsiteX84" fmla="*/ 3643 w 81994"/>
                    <a:gd name="connsiteY84" fmla="*/ 121464 h 134527"/>
                    <a:gd name="connsiteX85" fmla="*/ 2926 w 81994"/>
                    <a:gd name="connsiteY85" fmla="*/ 120241 h 134527"/>
                    <a:gd name="connsiteX86" fmla="*/ 2852 w 81994"/>
                    <a:gd name="connsiteY86" fmla="*/ 119084 h 134527"/>
                    <a:gd name="connsiteX87" fmla="*/ 3431 w 81994"/>
                    <a:gd name="connsiteY87" fmla="*/ 117967 h 134527"/>
                    <a:gd name="connsiteX88" fmla="*/ 4311 w 81994"/>
                    <a:gd name="connsiteY88" fmla="*/ 117454 h 134527"/>
                    <a:gd name="connsiteX89" fmla="*/ 5509 w 81994"/>
                    <a:gd name="connsiteY89" fmla="*/ 117544 h 134527"/>
                    <a:gd name="connsiteX90" fmla="*/ 6658 w 81994"/>
                    <a:gd name="connsiteY90" fmla="*/ 116174 h 134527"/>
                    <a:gd name="connsiteX91" fmla="*/ 7726 w 81994"/>
                    <a:gd name="connsiteY91" fmla="*/ 113371 h 134527"/>
                    <a:gd name="connsiteX92" fmla="*/ 8932 w 81994"/>
                    <a:gd name="connsiteY92" fmla="*/ 111668 h 134527"/>
                    <a:gd name="connsiteX93" fmla="*/ 10285 w 81994"/>
                    <a:gd name="connsiteY93" fmla="*/ 111065 h 134527"/>
                    <a:gd name="connsiteX94" fmla="*/ 11393 w 81994"/>
                    <a:gd name="connsiteY94" fmla="*/ 109231 h 134527"/>
                    <a:gd name="connsiteX95" fmla="*/ 12689 w 81994"/>
                    <a:gd name="connsiteY95" fmla="*/ 104626 h 134527"/>
                    <a:gd name="connsiteX96" fmla="*/ 14034 w 81994"/>
                    <a:gd name="connsiteY96" fmla="*/ 102515 h 134527"/>
                    <a:gd name="connsiteX97" fmla="*/ 14327 w 81994"/>
                    <a:gd name="connsiteY97" fmla="*/ 100177 h 134527"/>
                    <a:gd name="connsiteX98" fmla="*/ 14018 w 81994"/>
                    <a:gd name="connsiteY98" fmla="*/ 96909 h 134527"/>
                    <a:gd name="connsiteX99" fmla="*/ 13072 w 81994"/>
                    <a:gd name="connsiteY99" fmla="*/ 93592 h 134527"/>
                    <a:gd name="connsiteX100" fmla="*/ 11499 w 81994"/>
                    <a:gd name="connsiteY100" fmla="*/ 90242 h 134527"/>
                    <a:gd name="connsiteX101" fmla="*/ 11116 w 81994"/>
                    <a:gd name="connsiteY101" fmla="*/ 88147 h 134527"/>
                    <a:gd name="connsiteX102" fmla="*/ 11915 w 81994"/>
                    <a:gd name="connsiteY102" fmla="*/ 87324 h 134527"/>
                    <a:gd name="connsiteX103" fmla="*/ 12208 w 81994"/>
                    <a:gd name="connsiteY103" fmla="*/ 85939 h 134527"/>
                    <a:gd name="connsiteX104" fmla="*/ 12013 w 81994"/>
                    <a:gd name="connsiteY104" fmla="*/ 84016 h 134527"/>
                    <a:gd name="connsiteX105" fmla="*/ 12803 w 81994"/>
                    <a:gd name="connsiteY105" fmla="*/ 82239 h 134527"/>
                    <a:gd name="connsiteX106" fmla="*/ 13952 w 81994"/>
                    <a:gd name="connsiteY106" fmla="*/ 81196 h 134527"/>
                    <a:gd name="connsiteX107" fmla="*/ 13952 w 81994"/>
                    <a:gd name="connsiteY107" fmla="*/ 81049 h 134527"/>
                    <a:gd name="connsiteX108" fmla="*/ 13993 w 81994"/>
                    <a:gd name="connsiteY108" fmla="*/ 71473 h 134527"/>
                    <a:gd name="connsiteX109" fmla="*/ 14026 w 81994"/>
                    <a:gd name="connsiteY109" fmla="*/ 61319 h 134527"/>
                    <a:gd name="connsiteX110" fmla="*/ 14067 w 81994"/>
                    <a:gd name="connsiteY110" fmla="*/ 51148 h 134527"/>
                    <a:gd name="connsiteX111" fmla="*/ 14107 w 81994"/>
                    <a:gd name="connsiteY111" fmla="*/ 40961 h 134527"/>
                    <a:gd name="connsiteX112" fmla="*/ 14132 w 81994"/>
                    <a:gd name="connsiteY112" fmla="*/ 30749 h 134527"/>
                    <a:gd name="connsiteX113" fmla="*/ 14172 w 81994"/>
                    <a:gd name="connsiteY113" fmla="*/ 20521 h 134527"/>
                    <a:gd name="connsiteX114" fmla="*/ 14205 w 81994"/>
                    <a:gd name="connsiteY114" fmla="*/ 10269 h 134527"/>
                    <a:gd name="connsiteX115" fmla="*/ 14246 w 81994"/>
                    <a:gd name="connsiteY115" fmla="*/ 0 h 134527"/>
                    <a:gd name="connsiteX116" fmla="*/ 17954 w 81994"/>
                    <a:gd name="connsiteY116" fmla="*/ 0 h 134527"/>
                    <a:gd name="connsiteX117" fmla="*/ 21678 w 81994"/>
                    <a:gd name="connsiteY117" fmla="*/ 0 h 134527"/>
                    <a:gd name="connsiteX118" fmla="*/ 29201 w 81994"/>
                    <a:gd name="connsiteY118" fmla="*/ 8 h 134527"/>
                    <a:gd name="connsiteX119" fmla="*/ 36715 w 81994"/>
                    <a:gd name="connsiteY119" fmla="*/ 8 h 134527"/>
                    <a:gd name="connsiteX120" fmla="*/ 44229 w 81994"/>
                    <a:gd name="connsiteY120" fmla="*/ 8 h 134527"/>
                    <a:gd name="connsiteX121" fmla="*/ 51751 w 81994"/>
                    <a:gd name="connsiteY121" fmla="*/ 16 h 134527"/>
                    <a:gd name="connsiteX122" fmla="*/ 59265 w 81994"/>
                    <a:gd name="connsiteY122" fmla="*/ 24 h 134527"/>
                    <a:gd name="connsiteX123" fmla="*/ 66787 w 81994"/>
                    <a:gd name="connsiteY123" fmla="*/ 33 h 134527"/>
                    <a:gd name="connsiteX124" fmla="*/ 74301 w 81994"/>
                    <a:gd name="connsiteY124" fmla="*/ 33 h 134527"/>
                    <a:gd name="connsiteX125" fmla="*/ 81823 w 81994"/>
                    <a:gd name="connsiteY125" fmla="*/ 33 h 134527"/>
                    <a:gd name="connsiteX126" fmla="*/ 81832 w 81994"/>
                    <a:gd name="connsiteY126" fmla="*/ 2037 h 134527"/>
                    <a:gd name="connsiteX127" fmla="*/ 81742 w 81994"/>
                    <a:gd name="connsiteY127" fmla="*/ 13170 h 134527"/>
                    <a:gd name="connsiteX128" fmla="*/ 81660 w 81994"/>
                    <a:gd name="connsiteY128" fmla="*/ 24294 h 134527"/>
                    <a:gd name="connsiteX129" fmla="*/ 81579 w 81994"/>
                    <a:gd name="connsiteY129" fmla="*/ 35394 h 134527"/>
                    <a:gd name="connsiteX130" fmla="*/ 81489 w 81994"/>
                    <a:gd name="connsiteY130" fmla="*/ 46462 h 134527"/>
                    <a:gd name="connsiteX131" fmla="*/ 81408 w 81994"/>
                    <a:gd name="connsiteY131" fmla="*/ 57513 h 134527"/>
                    <a:gd name="connsiteX132" fmla="*/ 81318 w 81994"/>
                    <a:gd name="connsiteY132" fmla="*/ 68531 h 134527"/>
                    <a:gd name="connsiteX133" fmla="*/ 81237 w 81994"/>
                    <a:gd name="connsiteY133" fmla="*/ 79541 h 134527"/>
                    <a:gd name="connsiteX134" fmla="*/ 81196 w 81994"/>
                    <a:gd name="connsiteY134" fmla="*/ 90739 h 134527"/>
                    <a:gd name="connsiteX135" fmla="*/ 80805 w 81994"/>
                    <a:gd name="connsiteY135" fmla="*/ 91057 h 134527"/>
                    <a:gd name="connsiteX136" fmla="*/ 80226 w 81994"/>
                    <a:gd name="connsiteY136" fmla="*/ 92500 h 134527"/>
                    <a:gd name="connsiteX137" fmla="*/ 80854 w 81994"/>
                    <a:gd name="connsiteY137" fmla="*/ 93975 h 134527"/>
                    <a:gd name="connsiteX138" fmla="*/ 80829 w 81994"/>
                    <a:gd name="connsiteY138" fmla="*/ 95173 h 134527"/>
                    <a:gd name="connsiteX139" fmla="*/ 80153 w 81994"/>
                    <a:gd name="connsiteY139" fmla="*/ 96085 h 134527"/>
                    <a:gd name="connsiteX140" fmla="*/ 80389 w 81994"/>
                    <a:gd name="connsiteY140" fmla="*/ 96770 h 134527"/>
                    <a:gd name="connsiteX141" fmla="*/ 81555 w 81994"/>
                    <a:gd name="connsiteY141" fmla="*/ 97218 h 134527"/>
                    <a:gd name="connsiteX142" fmla="*/ 81995 w 81994"/>
                    <a:gd name="connsiteY142" fmla="*/ 98269 h 134527"/>
                    <a:gd name="connsiteX143" fmla="*/ 81717 w 81994"/>
                    <a:gd name="connsiteY143" fmla="*/ 99924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81994" h="134527">
                      <a:moveTo>
                        <a:pt x="79224" y="101595"/>
                      </a:moveTo>
                      <a:lnTo>
                        <a:pt x="74448" y="103477"/>
                      </a:lnTo>
                      <a:lnTo>
                        <a:pt x="73405" y="104023"/>
                      </a:lnTo>
                      <a:lnTo>
                        <a:pt x="72557" y="104260"/>
                      </a:lnTo>
                      <a:lnTo>
                        <a:pt x="72158" y="104154"/>
                      </a:lnTo>
                      <a:lnTo>
                        <a:pt x="72158" y="104154"/>
                      </a:lnTo>
                      <a:lnTo>
                        <a:pt x="71538" y="103795"/>
                      </a:lnTo>
                      <a:lnTo>
                        <a:pt x="70658" y="103029"/>
                      </a:lnTo>
                      <a:lnTo>
                        <a:pt x="69167" y="102687"/>
                      </a:lnTo>
                      <a:lnTo>
                        <a:pt x="66714" y="102931"/>
                      </a:lnTo>
                      <a:lnTo>
                        <a:pt x="65744" y="104504"/>
                      </a:lnTo>
                      <a:lnTo>
                        <a:pt x="66241" y="107405"/>
                      </a:lnTo>
                      <a:lnTo>
                        <a:pt x="65402" y="109646"/>
                      </a:lnTo>
                      <a:lnTo>
                        <a:pt x="63226" y="111195"/>
                      </a:lnTo>
                      <a:lnTo>
                        <a:pt x="61669" y="113249"/>
                      </a:lnTo>
                      <a:lnTo>
                        <a:pt x="60740" y="115783"/>
                      </a:lnTo>
                      <a:lnTo>
                        <a:pt x="59257" y="117332"/>
                      </a:lnTo>
                      <a:lnTo>
                        <a:pt x="57219" y="117870"/>
                      </a:lnTo>
                      <a:lnTo>
                        <a:pt x="55573" y="120225"/>
                      </a:lnTo>
                      <a:lnTo>
                        <a:pt x="54310" y="124381"/>
                      </a:lnTo>
                      <a:lnTo>
                        <a:pt x="52933" y="126957"/>
                      </a:lnTo>
                      <a:lnTo>
                        <a:pt x="51441" y="127951"/>
                      </a:lnTo>
                      <a:lnTo>
                        <a:pt x="49404" y="127698"/>
                      </a:lnTo>
                      <a:lnTo>
                        <a:pt x="46820" y="126199"/>
                      </a:lnTo>
                      <a:lnTo>
                        <a:pt x="45337" y="124658"/>
                      </a:lnTo>
                      <a:lnTo>
                        <a:pt x="44938" y="123077"/>
                      </a:lnTo>
                      <a:lnTo>
                        <a:pt x="44172" y="121944"/>
                      </a:lnTo>
                      <a:lnTo>
                        <a:pt x="43471" y="121439"/>
                      </a:lnTo>
                      <a:lnTo>
                        <a:pt x="43006" y="121431"/>
                      </a:lnTo>
                      <a:lnTo>
                        <a:pt x="42982" y="121659"/>
                      </a:lnTo>
                      <a:lnTo>
                        <a:pt x="43169" y="122107"/>
                      </a:lnTo>
                      <a:lnTo>
                        <a:pt x="42917" y="122580"/>
                      </a:lnTo>
                      <a:lnTo>
                        <a:pt x="41319" y="122751"/>
                      </a:lnTo>
                      <a:lnTo>
                        <a:pt x="40627" y="123403"/>
                      </a:lnTo>
                      <a:lnTo>
                        <a:pt x="40847" y="124544"/>
                      </a:lnTo>
                      <a:lnTo>
                        <a:pt x="40496" y="125359"/>
                      </a:lnTo>
                      <a:lnTo>
                        <a:pt x="39575" y="125840"/>
                      </a:lnTo>
                      <a:lnTo>
                        <a:pt x="39078" y="126924"/>
                      </a:lnTo>
                      <a:lnTo>
                        <a:pt x="39013" y="128635"/>
                      </a:lnTo>
                      <a:lnTo>
                        <a:pt x="38361" y="130208"/>
                      </a:lnTo>
                      <a:lnTo>
                        <a:pt x="37106" y="131626"/>
                      </a:lnTo>
                      <a:lnTo>
                        <a:pt x="35272" y="131145"/>
                      </a:lnTo>
                      <a:lnTo>
                        <a:pt x="32860" y="128774"/>
                      </a:lnTo>
                      <a:lnTo>
                        <a:pt x="30415" y="128228"/>
                      </a:lnTo>
                      <a:lnTo>
                        <a:pt x="27921" y="129499"/>
                      </a:lnTo>
                      <a:lnTo>
                        <a:pt x="26071" y="131227"/>
                      </a:lnTo>
                      <a:lnTo>
                        <a:pt x="24849" y="133403"/>
                      </a:lnTo>
                      <a:lnTo>
                        <a:pt x="23667" y="133941"/>
                      </a:lnTo>
                      <a:lnTo>
                        <a:pt x="21972" y="132286"/>
                      </a:lnTo>
                      <a:lnTo>
                        <a:pt x="17930" y="129988"/>
                      </a:lnTo>
                      <a:lnTo>
                        <a:pt x="15827" y="129499"/>
                      </a:lnTo>
                      <a:lnTo>
                        <a:pt x="14311" y="130053"/>
                      </a:lnTo>
                      <a:lnTo>
                        <a:pt x="13243" y="129809"/>
                      </a:lnTo>
                      <a:lnTo>
                        <a:pt x="12877" y="129173"/>
                      </a:lnTo>
                      <a:lnTo>
                        <a:pt x="12600" y="128913"/>
                      </a:lnTo>
                      <a:lnTo>
                        <a:pt x="12298" y="129222"/>
                      </a:lnTo>
                      <a:lnTo>
                        <a:pt x="12274" y="131219"/>
                      </a:lnTo>
                      <a:lnTo>
                        <a:pt x="11907" y="132482"/>
                      </a:lnTo>
                      <a:lnTo>
                        <a:pt x="11214" y="133020"/>
                      </a:lnTo>
                      <a:lnTo>
                        <a:pt x="10684" y="132596"/>
                      </a:lnTo>
                      <a:lnTo>
                        <a:pt x="10318" y="131235"/>
                      </a:lnTo>
                      <a:lnTo>
                        <a:pt x="9446" y="130795"/>
                      </a:lnTo>
                      <a:lnTo>
                        <a:pt x="8076" y="131268"/>
                      </a:lnTo>
                      <a:lnTo>
                        <a:pt x="6699" y="131056"/>
                      </a:lnTo>
                      <a:lnTo>
                        <a:pt x="5485" y="130249"/>
                      </a:lnTo>
                      <a:lnTo>
                        <a:pt x="5045" y="130339"/>
                      </a:lnTo>
                      <a:lnTo>
                        <a:pt x="4694" y="130714"/>
                      </a:lnTo>
                      <a:lnTo>
                        <a:pt x="4792" y="132278"/>
                      </a:lnTo>
                      <a:lnTo>
                        <a:pt x="4539" y="133525"/>
                      </a:lnTo>
                      <a:lnTo>
                        <a:pt x="3904" y="134332"/>
                      </a:lnTo>
                      <a:lnTo>
                        <a:pt x="2999" y="134528"/>
                      </a:lnTo>
                      <a:lnTo>
                        <a:pt x="1826" y="134104"/>
                      </a:lnTo>
                      <a:lnTo>
                        <a:pt x="1329" y="134495"/>
                      </a:lnTo>
                      <a:lnTo>
                        <a:pt x="0" y="131594"/>
                      </a:lnTo>
                      <a:lnTo>
                        <a:pt x="106" y="130885"/>
                      </a:lnTo>
                      <a:lnTo>
                        <a:pt x="905" y="130828"/>
                      </a:lnTo>
                      <a:lnTo>
                        <a:pt x="1312" y="129548"/>
                      </a:lnTo>
                      <a:lnTo>
                        <a:pt x="1263" y="126981"/>
                      </a:lnTo>
                      <a:lnTo>
                        <a:pt x="1720" y="125433"/>
                      </a:lnTo>
                      <a:lnTo>
                        <a:pt x="2461" y="124935"/>
                      </a:lnTo>
                      <a:lnTo>
                        <a:pt x="2608" y="124438"/>
                      </a:lnTo>
                      <a:lnTo>
                        <a:pt x="2241" y="124129"/>
                      </a:lnTo>
                      <a:lnTo>
                        <a:pt x="2217" y="123631"/>
                      </a:lnTo>
                      <a:lnTo>
                        <a:pt x="3407" y="122596"/>
                      </a:lnTo>
                      <a:lnTo>
                        <a:pt x="3643" y="121464"/>
                      </a:lnTo>
                      <a:lnTo>
                        <a:pt x="2926" y="120241"/>
                      </a:lnTo>
                      <a:lnTo>
                        <a:pt x="2852" y="119084"/>
                      </a:lnTo>
                      <a:lnTo>
                        <a:pt x="3431" y="117967"/>
                      </a:lnTo>
                      <a:lnTo>
                        <a:pt x="4311" y="117454"/>
                      </a:lnTo>
                      <a:lnTo>
                        <a:pt x="5509" y="117544"/>
                      </a:lnTo>
                      <a:lnTo>
                        <a:pt x="6658" y="116174"/>
                      </a:lnTo>
                      <a:lnTo>
                        <a:pt x="7726" y="113371"/>
                      </a:lnTo>
                      <a:lnTo>
                        <a:pt x="8932" y="111668"/>
                      </a:lnTo>
                      <a:lnTo>
                        <a:pt x="10285" y="111065"/>
                      </a:lnTo>
                      <a:lnTo>
                        <a:pt x="11393" y="109231"/>
                      </a:lnTo>
                      <a:lnTo>
                        <a:pt x="12689" y="104626"/>
                      </a:lnTo>
                      <a:lnTo>
                        <a:pt x="14034" y="102515"/>
                      </a:lnTo>
                      <a:lnTo>
                        <a:pt x="14327" y="100177"/>
                      </a:lnTo>
                      <a:lnTo>
                        <a:pt x="14018" y="96909"/>
                      </a:lnTo>
                      <a:lnTo>
                        <a:pt x="13072" y="93592"/>
                      </a:lnTo>
                      <a:lnTo>
                        <a:pt x="11499" y="90242"/>
                      </a:lnTo>
                      <a:lnTo>
                        <a:pt x="11116" y="88147"/>
                      </a:lnTo>
                      <a:lnTo>
                        <a:pt x="11915" y="87324"/>
                      </a:lnTo>
                      <a:lnTo>
                        <a:pt x="12208" y="85939"/>
                      </a:lnTo>
                      <a:lnTo>
                        <a:pt x="12013" y="84016"/>
                      </a:lnTo>
                      <a:lnTo>
                        <a:pt x="12803" y="82239"/>
                      </a:lnTo>
                      <a:lnTo>
                        <a:pt x="13952" y="81196"/>
                      </a:lnTo>
                      <a:lnTo>
                        <a:pt x="13952" y="81049"/>
                      </a:lnTo>
                      <a:lnTo>
                        <a:pt x="13993" y="71473"/>
                      </a:lnTo>
                      <a:lnTo>
                        <a:pt x="14026" y="61319"/>
                      </a:lnTo>
                      <a:lnTo>
                        <a:pt x="14067" y="51148"/>
                      </a:lnTo>
                      <a:lnTo>
                        <a:pt x="14107" y="40961"/>
                      </a:lnTo>
                      <a:lnTo>
                        <a:pt x="14132" y="30749"/>
                      </a:lnTo>
                      <a:lnTo>
                        <a:pt x="14172" y="20521"/>
                      </a:lnTo>
                      <a:lnTo>
                        <a:pt x="14205" y="10269"/>
                      </a:lnTo>
                      <a:lnTo>
                        <a:pt x="14246" y="0"/>
                      </a:lnTo>
                      <a:lnTo>
                        <a:pt x="17954" y="0"/>
                      </a:lnTo>
                      <a:lnTo>
                        <a:pt x="21678" y="0"/>
                      </a:lnTo>
                      <a:lnTo>
                        <a:pt x="29201" y="8"/>
                      </a:lnTo>
                      <a:lnTo>
                        <a:pt x="36715" y="8"/>
                      </a:lnTo>
                      <a:lnTo>
                        <a:pt x="44229" y="8"/>
                      </a:lnTo>
                      <a:lnTo>
                        <a:pt x="51751" y="16"/>
                      </a:lnTo>
                      <a:lnTo>
                        <a:pt x="59265" y="24"/>
                      </a:lnTo>
                      <a:lnTo>
                        <a:pt x="66787" y="33"/>
                      </a:lnTo>
                      <a:lnTo>
                        <a:pt x="74301" y="33"/>
                      </a:lnTo>
                      <a:lnTo>
                        <a:pt x="81823" y="33"/>
                      </a:lnTo>
                      <a:lnTo>
                        <a:pt x="81832" y="2037"/>
                      </a:lnTo>
                      <a:lnTo>
                        <a:pt x="81742" y="13170"/>
                      </a:lnTo>
                      <a:lnTo>
                        <a:pt x="81660" y="24294"/>
                      </a:lnTo>
                      <a:lnTo>
                        <a:pt x="81579" y="35394"/>
                      </a:lnTo>
                      <a:lnTo>
                        <a:pt x="81489" y="46462"/>
                      </a:lnTo>
                      <a:lnTo>
                        <a:pt x="81408" y="57513"/>
                      </a:lnTo>
                      <a:lnTo>
                        <a:pt x="81318" y="68531"/>
                      </a:lnTo>
                      <a:lnTo>
                        <a:pt x="81237" y="79541"/>
                      </a:lnTo>
                      <a:lnTo>
                        <a:pt x="81196" y="90739"/>
                      </a:lnTo>
                      <a:lnTo>
                        <a:pt x="80805" y="91057"/>
                      </a:lnTo>
                      <a:lnTo>
                        <a:pt x="80226" y="92500"/>
                      </a:lnTo>
                      <a:lnTo>
                        <a:pt x="80854" y="93975"/>
                      </a:lnTo>
                      <a:lnTo>
                        <a:pt x="80829" y="95173"/>
                      </a:lnTo>
                      <a:lnTo>
                        <a:pt x="80153" y="96085"/>
                      </a:lnTo>
                      <a:lnTo>
                        <a:pt x="80389" y="96770"/>
                      </a:lnTo>
                      <a:lnTo>
                        <a:pt x="81555" y="97218"/>
                      </a:lnTo>
                      <a:lnTo>
                        <a:pt x="81995" y="98269"/>
                      </a:lnTo>
                      <a:lnTo>
                        <a:pt x="81717" y="99924"/>
                      </a:lnTo>
                      <a:close/>
                    </a:path>
                  </a:pathLst>
                </a:custGeom>
                <a:solidFill>
                  <a:srgbClr val="D6D6D2"/>
                </a:solidFill>
                <a:ln w="6112" cap="rnd">
                  <a:solidFill>
                    <a:srgbClr val="FFFFFF"/>
                  </a:solidFill>
                  <a:prstDash val="solid"/>
                  <a:round/>
                </a:ln>
              </p:spPr>
              <p:txBody>
                <a:bodyPr rtlCol="0" anchor="ctr"/>
                <a:lstStyle/>
                <a:p>
                  <a:endParaRPr lang="en-US"/>
                </a:p>
              </p:txBody>
            </p:sp>
            <p:sp>
              <p:nvSpPr>
                <p:cNvPr id="459" name="Freeform: Shape 458">
                  <a:extLst>
                    <a:ext uri="{FF2B5EF4-FFF2-40B4-BE49-F238E27FC236}">
                      <a16:creationId xmlns:a16="http://schemas.microsoft.com/office/drawing/2014/main" id="{813DDDA7-860E-4790-823A-0B1515F1CCF1}"/>
                    </a:ext>
                  </a:extLst>
                </p:cNvPr>
                <p:cNvSpPr/>
                <p:nvPr/>
              </p:nvSpPr>
              <p:spPr>
                <a:xfrm>
                  <a:off x="3674184" y="3189905"/>
                  <a:ext cx="110681" cy="186946"/>
                </a:xfrm>
                <a:custGeom>
                  <a:avLst/>
                  <a:gdLst>
                    <a:gd name="connsiteX0" fmla="*/ 107291 w 110681"/>
                    <a:gd name="connsiteY0" fmla="*/ 19592 h 186946"/>
                    <a:gd name="connsiteX1" fmla="*/ 106158 w 110681"/>
                    <a:gd name="connsiteY1" fmla="*/ 25867 h 186946"/>
                    <a:gd name="connsiteX2" fmla="*/ 102434 w 110681"/>
                    <a:gd name="connsiteY2" fmla="*/ 25867 h 186946"/>
                    <a:gd name="connsiteX3" fmla="*/ 98726 w 110681"/>
                    <a:gd name="connsiteY3" fmla="*/ 25867 h 186946"/>
                    <a:gd name="connsiteX4" fmla="*/ 98685 w 110681"/>
                    <a:gd name="connsiteY4" fmla="*/ 36136 h 186946"/>
                    <a:gd name="connsiteX5" fmla="*/ 98653 w 110681"/>
                    <a:gd name="connsiteY5" fmla="*/ 46388 h 186946"/>
                    <a:gd name="connsiteX6" fmla="*/ 98612 w 110681"/>
                    <a:gd name="connsiteY6" fmla="*/ 56616 h 186946"/>
                    <a:gd name="connsiteX7" fmla="*/ 98587 w 110681"/>
                    <a:gd name="connsiteY7" fmla="*/ 66828 h 186946"/>
                    <a:gd name="connsiteX8" fmla="*/ 98547 w 110681"/>
                    <a:gd name="connsiteY8" fmla="*/ 77015 h 186946"/>
                    <a:gd name="connsiteX9" fmla="*/ 98506 w 110681"/>
                    <a:gd name="connsiteY9" fmla="*/ 87186 h 186946"/>
                    <a:gd name="connsiteX10" fmla="*/ 98473 w 110681"/>
                    <a:gd name="connsiteY10" fmla="*/ 97340 h 186946"/>
                    <a:gd name="connsiteX11" fmla="*/ 98432 w 110681"/>
                    <a:gd name="connsiteY11" fmla="*/ 106916 h 186946"/>
                    <a:gd name="connsiteX12" fmla="*/ 98432 w 110681"/>
                    <a:gd name="connsiteY12" fmla="*/ 107063 h 186946"/>
                    <a:gd name="connsiteX13" fmla="*/ 97283 w 110681"/>
                    <a:gd name="connsiteY13" fmla="*/ 108106 h 186946"/>
                    <a:gd name="connsiteX14" fmla="*/ 96493 w 110681"/>
                    <a:gd name="connsiteY14" fmla="*/ 109883 h 186946"/>
                    <a:gd name="connsiteX15" fmla="*/ 96689 w 110681"/>
                    <a:gd name="connsiteY15" fmla="*/ 111806 h 186946"/>
                    <a:gd name="connsiteX16" fmla="*/ 96395 w 110681"/>
                    <a:gd name="connsiteY16" fmla="*/ 113192 h 186946"/>
                    <a:gd name="connsiteX17" fmla="*/ 95596 w 110681"/>
                    <a:gd name="connsiteY17" fmla="*/ 114015 h 186946"/>
                    <a:gd name="connsiteX18" fmla="*/ 95979 w 110681"/>
                    <a:gd name="connsiteY18" fmla="*/ 116109 h 186946"/>
                    <a:gd name="connsiteX19" fmla="*/ 97552 w 110681"/>
                    <a:gd name="connsiteY19" fmla="*/ 119459 h 186946"/>
                    <a:gd name="connsiteX20" fmla="*/ 98498 w 110681"/>
                    <a:gd name="connsiteY20" fmla="*/ 122776 h 186946"/>
                    <a:gd name="connsiteX21" fmla="*/ 98808 w 110681"/>
                    <a:gd name="connsiteY21" fmla="*/ 126044 h 186946"/>
                    <a:gd name="connsiteX22" fmla="*/ 98514 w 110681"/>
                    <a:gd name="connsiteY22" fmla="*/ 128383 h 186946"/>
                    <a:gd name="connsiteX23" fmla="*/ 97169 w 110681"/>
                    <a:gd name="connsiteY23" fmla="*/ 130493 h 186946"/>
                    <a:gd name="connsiteX24" fmla="*/ 95874 w 110681"/>
                    <a:gd name="connsiteY24" fmla="*/ 135098 h 186946"/>
                    <a:gd name="connsiteX25" fmla="*/ 94765 w 110681"/>
                    <a:gd name="connsiteY25" fmla="*/ 136932 h 186946"/>
                    <a:gd name="connsiteX26" fmla="*/ 93412 w 110681"/>
                    <a:gd name="connsiteY26" fmla="*/ 137535 h 186946"/>
                    <a:gd name="connsiteX27" fmla="*/ 92206 w 110681"/>
                    <a:gd name="connsiteY27" fmla="*/ 139238 h 186946"/>
                    <a:gd name="connsiteX28" fmla="*/ 91139 w 110681"/>
                    <a:gd name="connsiteY28" fmla="*/ 142042 h 186946"/>
                    <a:gd name="connsiteX29" fmla="*/ 89990 w 110681"/>
                    <a:gd name="connsiteY29" fmla="*/ 143411 h 186946"/>
                    <a:gd name="connsiteX30" fmla="*/ 88791 w 110681"/>
                    <a:gd name="connsiteY30" fmla="*/ 143321 h 186946"/>
                    <a:gd name="connsiteX31" fmla="*/ 87911 w 110681"/>
                    <a:gd name="connsiteY31" fmla="*/ 143835 h 186946"/>
                    <a:gd name="connsiteX32" fmla="*/ 87333 w 110681"/>
                    <a:gd name="connsiteY32" fmla="*/ 144951 h 186946"/>
                    <a:gd name="connsiteX33" fmla="*/ 87406 w 110681"/>
                    <a:gd name="connsiteY33" fmla="*/ 146108 h 186946"/>
                    <a:gd name="connsiteX34" fmla="*/ 88123 w 110681"/>
                    <a:gd name="connsiteY34" fmla="*/ 147331 h 186946"/>
                    <a:gd name="connsiteX35" fmla="*/ 87887 w 110681"/>
                    <a:gd name="connsiteY35" fmla="*/ 148464 h 186946"/>
                    <a:gd name="connsiteX36" fmla="*/ 86697 w 110681"/>
                    <a:gd name="connsiteY36" fmla="*/ 149499 h 186946"/>
                    <a:gd name="connsiteX37" fmla="*/ 86721 w 110681"/>
                    <a:gd name="connsiteY37" fmla="*/ 149996 h 186946"/>
                    <a:gd name="connsiteX38" fmla="*/ 87088 w 110681"/>
                    <a:gd name="connsiteY38" fmla="*/ 150305 h 186946"/>
                    <a:gd name="connsiteX39" fmla="*/ 86941 w 110681"/>
                    <a:gd name="connsiteY39" fmla="*/ 150803 h 186946"/>
                    <a:gd name="connsiteX40" fmla="*/ 86200 w 110681"/>
                    <a:gd name="connsiteY40" fmla="*/ 151300 h 186946"/>
                    <a:gd name="connsiteX41" fmla="*/ 85743 w 110681"/>
                    <a:gd name="connsiteY41" fmla="*/ 152848 h 186946"/>
                    <a:gd name="connsiteX42" fmla="*/ 85792 w 110681"/>
                    <a:gd name="connsiteY42" fmla="*/ 155415 h 186946"/>
                    <a:gd name="connsiteX43" fmla="*/ 85385 w 110681"/>
                    <a:gd name="connsiteY43" fmla="*/ 156695 h 186946"/>
                    <a:gd name="connsiteX44" fmla="*/ 84586 w 110681"/>
                    <a:gd name="connsiteY44" fmla="*/ 156752 h 186946"/>
                    <a:gd name="connsiteX45" fmla="*/ 84480 w 110681"/>
                    <a:gd name="connsiteY45" fmla="*/ 157461 h 186946"/>
                    <a:gd name="connsiteX46" fmla="*/ 85809 w 110681"/>
                    <a:gd name="connsiteY46" fmla="*/ 160362 h 186946"/>
                    <a:gd name="connsiteX47" fmla="*/ 85026 w 110681"/>
                    <a:gd name="connsiteY47" fmla="*/ 160957 h 186946"/>
                    <a:gd name="connsiteX48" fmla="*/ 83649 w 110681"/>
                    <a:gd name="connsiteY48" fmla="*/ 163345 h 186946"/>
                    <a:gd name="connsiteX49" fmla="*/ 83364 w 110681"/>
                    <a:gd name="connsiteY49" fmla="*/ 165986 h 186946"/>
                    <a:gd name="connsiteX50" fmla="*/ 84179 w 110681"/>
                    <a:gd name="connsiteY50" fmla="*/ 168862 h 186946"/>
                    <a:gd name="connsiteX51" fmla="*/ 82125 w 110681"/>
                    <a:gd name="connsiteY51" fmla="*/ 171201 h 186946"/>
                    <a:gd name="connsiteX52" fmla="*/ 77194 w 110681"/>
                    <a:gd name="connsiteY52" fmla="*/ 172978 h 186946"/>
                    <a:gd name="connsiteX53" fmla="*/ 74578 w 110681"/>
                    <a:gd name="connsiteY53" fmla="*/ 174543 h 186946"/>
                    <a:gd name="connsiteX54" fmla="*/ 74277 w 110681"/>
                    <a:gd name="connsiteY54" fmla="*/ 175904 h 186946"/>
                    <a:gd name="connsiteX55" fmla="*/ 74627 w 110681"/>
                    <a:gd name="connsiteY55" fmla="*/ 177966 h 186946"/>
                    <a:gd name="connsiteX56" fmla="*/ 75605 w 110681"/>
                    <a:gd name="connsiteY56" fmla="*/ 180745 h 186946"/>
                    <a:gd name="connsiteX57" fmla="*/ 75776 w 110681"/>
                    <a:gd name="connsiteY57" fmla="*/ 182676 h 186946"/>
                    <a:gd name="connsiteX58" fmla="*/ 75149 w 110681"/>
                    <a:gd name="connsiteY58" fmla="*/ 183744 h 186946"/>
                    <a:gd name="connsiteX59" fmla="*/ 71628 w 110681"/>
                    <a:gd name="connsiteY59" fmla="*/ 183019 h 186946"/>
                    <a:gd name="connsiteX60" fmla="*/ 65198 w 110681"/>
                    <a:gd name="connsiteY60" fmla="*/ 180500 h 186946"/>
                    <a:gd name="connsiteX61" fmla="*/ 60895 w 110681"/>
                    <a:gd name="connsiteY61" fmla="*/ 180590 h 186946"/>
                    <a:gd name="connsiteX62" fmla="*/ 58703 w 110681"/>
                    <a:gd name="connsiteY62" fmla="*/ 183271 h 186946"/>
                    <a:gd name="connsiteX63" fmla="*/ 57953 w 110681"/>
                    <a:gd name="connsiteY63" fmla="*/ 185300 h 186946"/>
                    <a:gd name="connsiteX64" fmla="*/ 58222 w 110681"/>
                    <a:gd name="connsiteY64" fmla="*/ 186947 h 186946"/>
                    <a:gd name="connsiteX65" fmla="*/ 56461 w 110681"/>
                    <a:gd name="connsiteY65" fmla="*/ 184926 h 186946"/>
                    <a:gd name="connsiteX66" fmla="*/ 55288 w 110681"/>
                    <a:gd name="connsiteY66" fmla="*/ 184029 h 186946"/>
                    <a:gd name="connsiteX67" fmla="*/ 55068 w 110681"/>
                    <a:gd name="connsiteY67" fmla="*/ 184094 h 186946"/>
                    <a:gd name="connsiteX68" fmla="*/ 54815 w 110681"/>
                    <a:gd name="connsiteY68" fmla="*/ 184339 h 186946"/>
                    <a:gd name="connsiteX69" fmla="*/ 54709 w 110681"/>
                    <a:gd name="connsiteY69" fmla="*/ 184966 h 186946"/>
                    <a:gd name="connsiteX70" fmla="*/ 54766 w 110681"/>
                    <a:gd name="connsiteY70" fmla="*/ 185414 h 186946"/>
                    <a:gd name="connsiteX71" fmla="*/ 54954 w 110681"/>
                    <a:gd name="connsiteY71" fmla="*/ 185928 h 186946"/>
                    <a:gd name="connsiteX72" fmla="*/ 54848 w 110681"/>
                    <a:gd name="connsiteY72" fmla="*/ 186254 h 186946"/>
                    <a:gd name="connsiteX73" fmla="*/ 54587 w 110681"/>
                    <a:gd name="connsiteY73" fmla="*/ 186287 h 186946"/>
                    <a:gd name="connsiteX74" fmla="*/ 53316 w 110681"/>
                    <a:gd name="connsiteY74" fmla="*/ 185504 h 186946"/>
                    <a:gd name="connsiteX75" fmla="*/ 51775 w 110681"/>
                    <a:gd name="connsiteY75" fmla="*/ 183279 h 186946"/>
                    <a:gd name="connsiteX76" fmla="*/ 49966 w 110681"/>
                    <a:gd name="connsiteY76" fmla="*/ 179596 h 186946"/>
                    <a:gd name="connsiteX77" fmla="*/ 49567 w 110681"/>
                    <a:gd name="connsiteY77" fmla="*/ 176670 h 186946"/>
                    <a:gd name="connsiteX78" fmla="*/ 50585 w 110681"/>
                    <a:gd name="connsiteY78" fmla="*/ 174494 h 186946"/>
                    <a:gd name="connsiteX79" fmla="*/ 50585 w 110681"/>
                    <a:gd name="connsiteY79" fmla="*/ 172212 h 186946"/>
                    <a:gd name="connsiteX80" fmla="*/ 49567 w 110681"/>
                    <a:gd name="connsiteY80" fmla="*/ 169816 h 186946"/>
                    <a:gd name="connsiteX81" fmla="*/ 49062 w 110681"/>
                    <a:gd name="connsiteY81" fmla="*/ 167477 h 186946"/>
                    <a:gd name="connsiteX82" fmla="*/ 49062 w 110681"/>
                    <a:gd name="connsiteY82" fmla="*/ 165187 h 186946"/>
                    <a:gd name="connsiteX83" fmla="*/ 46584 w 110681"/>
                    <a:gd name="connsiteY83" fmla="*/ 161756 h 186946"/>
                    <a:gd name="connsiteX84" fmla="*/ 41629 w 110681"/>
                    <a:gd name="connsiteY84" fmla="*/ 157176 h 186946"/>
                    <a:gd name="connsiteX85" fmla="*/ 37986 w 110681"/>
                    <a:gd name="connsiteY85" fmla="*/ 154348 h 186946"/>
                    <a:gd name="connsiteX86" fmla="*/ 35655 w 110681"/>
                    <a:gd name="connsiteY86" fmla="*/ 153272 h 186946"/>
                    <a:gd name="connsiteX87" fmla="*/ 32933 w 110681"/>
                    <a:gd name="connsiteY87" fmla="*/ 150982 h 186946"/>
                    <a:gd name="connsiteX88" fmla="*/ 29828 w 110681"/>
                    <a:gd name="connsiteY88" fmla="*/ 147469 h 186946"/>
                    <a:gd name="connsiteX89" fmla="*/ 28174 w 110681"/>
                    <a:gd name="connsiteY89" fmla="*/ 144780 h 186946"/>
                    <a:gd name="connsiteX90" fmla="*/ 27970 w 110681"/>
                    <a:gd name="connsiteY90" fmla="*/ 142914 h 186946"/>
                    <a:gd name="connsiteX91" fmla="*/ 29388 w 110681"/>
                    <a:gd name="connsiteY91" fmla="*/ 137942 h 186946"/>
                    <a:gd name="connsiteX92" fmla="*/ 33504 w 110681"/>
                    <a:gd name="connsiteY92" fmla="*/ 127095 h 186946"/>
                    <a:gd name="connsiteX93" fmla="*/ 33960 w 110681"/>
                    <a:gd name="connsiteY93" fmla="*/ 125807 h 186946"/>
                    <a:gd name="connsiteX94" fmla="*/ 34099 w 110681"/>
                    <a:gd name="connsiteY94" fmla="*/ 125343 h 186946"/>
                    <a:gd name="connsiteX95" fmla="*/ 33911 w 110681"/>
                    <a:gd name="connsiteY95" fmla="*/ 124870 h 186946"/>
                    <a:gd name="connsiteX96" fmla="*/ 33520 w 110681"/>
                    <a:gd name="connsiteY96" fmla="*/ 124430 h 186946"/>
                    <a:gd name="connsiteX97" fmla="*/ 31784 w 110681"/>
                    <a:gd name="connsiteY97" fmla="*/ 123151 h 186946"/>
                    <a:gd name="connsiteX98" fmla="*/ 28459 w 110681"/>
                    <a:gd name="connsiteY98" fmla="*/ 122059 h 186946"/>
                    <a:gd name="connsiteX99" fmla="*/ 25395 w 110681"/>
                    <a:gd name="connsiteY99" fmla="*/ 121447 h 186946"/>
                    <a:gd name="connsiteX100" fmla="*/ 22925 w 110681"/>
                    <a:gd name="connsiteY100" fmla="*/ 122751 h 186946"/>
                    <a:gd name="connsiteX101" fmla="*/ 20782 w 110681"/>
                    <a:gd name="connsiteY101" fmla="*/ 120127 h 186946"/>
                    <a:gd name="connsiteX102" fmla="*/ 18956 w 110681"/>
                    <a:gd name="connsiteY102" fmla="*/ 113575 h 186946"/>
                    <a:gd name="connsiteX103" fmla="*/ 14441 w 110681"/>
                    <a:gd name="connsiteY103" fmla="*/ 106647 h 186946"/>
                    <a:gd name="connsiteX104" fmla="*/ 7229 w 110681"/>
                    <a:gd name="connsiteY104" fmla="*/ 99353 h 186946"/>
                    <a:gd name="connsiteX105" fmla="*/ 3048 w 110681"/>
                    <a:gd name="connsiteY105" fmla="*/ 94398 h 186946"/>
                    <a:gd name="connsiteX106" fmla="*/ 1875 w 110681"/>
                    <a:gd name="connsiteY106" fmla="*/ 91774 h 186946"/>
                    <a:gd name="connsiteX107" fmla="*/ 856 w 110681"/>
                    <a:gd name="connsiteY107" fmla="*/ 87846 h 186946"/>
                    <a:gd name="connsiteX108" fmla="*/ 0 w 110681"/>
                    <a:gd name="connsiteY108" fmla="*/ 82597 h 186946"/>
                    <a:gd name="connsiteX109" fmla="*/ 41 w 110681"/>
                    <a:gd name="connsiteY109" fmla="*/ 78237 h 186946"/>
                    <a:gd name="connsiteX110" fmla="*/ 1475 w 110681"/>
                    <a:gd name="connsiteY110" fmla="*/ 73022 h 186946"/>
                    <a:gd name="connsiteX111" fmla="*/ 2747 w 110681"/>
                    <a:gd name="connsiteY111" fmla="*/ 72419 h 186946"/>
                    <a:gd name="connsiteX112" fmla="*/ 2999 w 110681"/>
                    <a:gd name="connsiteY112" fmla="*/ 70707 h 186946"/>
                    <a:gd name="connsiteX113" fmla="*/ 2665 w 110681"/>
                    <a:gd name="connsiteY113" fmla="*/ 67675 h 186946"/>
                    <a:gd name="connsiteX114" fmla="*/ 4034 w 110681"/>
                    <a:gd name="connsiteY114" fmla="*/ 65385 h 186946"/>
                    <a:gd name="connsiteX115" fmla="*/ 7107 w 110681"/>
                    <a:gd name="connsiteY115" fmla="*/ 63837 h 186946"/>
                    <a:gd name="connsiteX116" fmla="*/ 9902 w 110681"/>
                    <a:gd name="connsiteY116" fmla="*/ 60422 h 186946"/>
                    <a:gd name="connsiteX117" fmla="*/ 12437 w 110681"/>
                    <a:gd name="connsiteY117" fmla="*/ 55141 h 186946"/>
                    <a:gd name="connsiteX118" fmla="*/ 13578 w 110681"/>
                    <a:gd name="connsiteY118" fmla="*/ 51360 h 186946"/>
                    <a:gd name="connsiteX119" fmla="*/ 13333 w 110681"/>
                    <a:gd name="connsiteY119" fmla="*/ 49070 h 186946"/>
                    <a:gd name="connsiteX120" fmla="*/ 12404 w 110681"/>
                    <a:gd name="connsiteY120" fmla="*/ 46910 h 186946"/>
                    <a:gd name="connsiteX121" fmla="*/ 10790 w 110681"/>
                    <a:gd name="connsiteY121" fmla="*/ 44856 h 186946"/>
                    <a:gd name="connsiteX122" fmla="*/ 10399 w 110681"/>
                    <a:gd name="connsiteY122" fmla="*/ 42322 h 186946"/>
                    <a:gd name="connsiteX123" fmla="*/ 11247 w 110681"/>
                    <a:gd name="connsiteY123" fmla="*/ 39282 h 186946"/>
                    <a:gd name="connsiteX124" fmla="*/ 13961 w 110681"/>
                    <a:gd name="connsiteY124" fmla="*/ 37350 h 186946"/>
                    <a:gd name="connsiteX125" fmla="*/ 18541 w 110681"/>
                    <a:gd name="connsiteY125" fmla="*/ 36519 h 186946"/>
                    <a:gd name="connsiteX126" fmla="*/ 22689 w 110681"/>
                    <a:gd name="connsiteY126" fmla="*/ 34979 h 186946"/>
                    <a:gd name="connsiteX127" fmla="*/ 26413 w 110681"/>
                    <a:gd name="connsiteY127" fmla="*/ 32737 h 186946"/>
                    <a:gd name="connsiteX128" fmla="*/ 28622 w 110681"/>
                    <a:gd name="connsiteY128" fmla="*/ 30276 h 186946"/>
                    <a:gd name="connsiteX129" fmla="*/ 29323 w 110681"/>
                    <a:gd name="connsiteY129" fmla="*/ 27619 h 186946"/>
                    <a:gd name="connsiteX130" fmla="*/ 30390 w 110681"/>
                    <a:gd name="connsiteY130" fmla="*/ 25549 h 186946"/>
                    <a:gd name="connsiteX131" fmla="*/ 31841 w 110681"/>
                    <a:gd name="connsiteY131" fmla="*/ 24074 h 186946"/>
                    <a:gd name="connsiteX132" fmla="*/ 32860 w 110681"/>
                    <a:gd name="connsiteY132" fmla="*/ 21654 h 186946"/>
                    <a:gd name="connsiteX133" fmla="*/ 33463 w 110681"/>
                    <a:gd name="connsiteY133" fmla="*/ 18296 h 186946"/>
                    <a:gd name="connsiteX134" fmla="*/ 33536 w 110681"/>
                    <a:gd name="connsiteY134" fmla="*/ 15811 h 186946"/>
                    <a:gd name="connsiteX135" fmla="*/ 33088 w 110681"/>
                    <a:gd name="connsiteY135" fmla="*/ 14213 h 186946"/>
                    <a:gd name="connsiteX136" fmla="*/ 31458 w 110681"/>
                    <a:gd name="connsiteY136" fmla="*/ 12363 h 186946"/>
                    <a:gd name="connsiteX137" fmla="*/ 28646 w 110681"/>
                    <a:gd name="connsiteY137" fmla="*/ 10269 h 186946"/>
                    <a:gd name="connsiteX138" fmla="*/ 27057 w 110681"/>
                    <a:gd name="connsiteY138" fmla="*/ 8296 h 186946"/>
                    <a:gd name="connsiteX139" fmla="*/ 26699 w 110681"/>
                    <a:gd name="connsiteY139" fmla="*/ 6455 h 186946"/>
                    <a:gd name="connsiteX140" fmla="*/ 25223 w 110681"/>
                    <a:gd name="connsiteY140" fmla="*/ 4474 h 186946"/>
                    <a:gd name="connsiteX141" fmla="*/ 22615 w 110681"/>
                    <a:gd name="connsiteY141" fmla="*/ 2355 h 186946"/>
                    <a:gd name="connsiteX142" fmla="*/ 21108 w 110681"/>
                    <a:gd name="connsiteY142" fmla="*/ 0 h 186946"/>
                    <a:gd name="connsiteX143" fmla="*/ 32509 w 110681"/>
                    <a:gd name="connsiteY143" fmla="*/ 98 h 186946"/>
                    <a:gd name="connsiteX144" fmla="*/ 43674 w 110681"/>
                    <a:gd name="connsiteY144" fmla="*/ 179 h 186946"/>
                    <a:gd name="connsiteX145" fmla="*/ 54840 w 110681"/>
                    <a:gd name="connsiteY145" fmla="*/ 269 h 186946"/>
                    <a:gd name="connsiteX146" fmla="*/ 66013 w 110681"/>
                    <a:gd name="connsiteY146" fmla="*/ 350 h 186946"/>
                    <a:gd name="connsiteX147" fmla="*/ 77170 w 110681"/>
                    <a:gd name="connsiteY147" fmla="*/ 440 h 186946"/>
                    <a:gd name="connsiteX148" fmla="*/ 88343 w 110681"/>
                    <a:gd name="connsiteY148" fmla="*/ 530 h 186946"/>
                    <a:gd name="connsiteX149" fmla="*/ 99508 w 110681"/>
                    <a:gd name="connsiteY149" fmla="*/ 619 h 186946"/>
                    <a:gd name="connsiteX150" fmla="*/ 110681 w 110681"/>
                    <a:gd name="connsiteY150" fmla="*/ 701 h 186946"/>
                    <a:gd name="connsiteX151" fmla="*/ 109549 w 110681"/>
                    <a:gd name="connsiteY151" fmla="*/ 7001 h 186946"/>
                    <a:gd name="connsiteX152" fmla="*/ 108424 w 110681"/>
                    <a:gd name="connsiteY152" fmla="*/ 13300 h 18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10681" h="186946">
                      <a:moveTo>
                        <a:pt x="107291" y="19592"/>
                      </a:moveTo>
                      <a:lnTo>
                        <a:pt x="106158" y="25867"/>
                      </a:lnTo>
                      <a:lnTo>
                        <a:pt x="102434" y="25867"/>
                      </a:lnTo>
                      <a:lnTo>
                        <a:pt x="98726" y="25867"/>
                      </a:lnTo>
                      <a:lnTo>
                        <a:pt x="98685" y="36136"/>
                      </a:lnTo>
                      <a:lnTo>
                        <a:pt x="98653" y="46388"/>
                      </a:lnTo>
                      <a:lnTo>
                        <a:pt x="98612" y="56616"/>
                      </a:lnTo>
                      <a:lnTo>
                        <a:pt x="98587" y="66828"/>
                      </a:lnTo>
                      <a:lnTo>
                        <a:pt x="98547" y="77015"/>
                      </a:lnTo>
                      <a:lnTo>
                        <a:pt x="98506" y="87186"/>
                      </a:lnTo>
                      <a:lnTo>
                        <a:pt x="98473" y="97340"/>
                      </a:lnTo>
                      <a:lnTo>
                        <a:pt x="98432" y="106916"/>
                      </a:lnTo>
                      <a:lnTo>
                        <a:pt x="98432" y="107063"/>
                      </a:lnTo>
                      <a:lnTo>
                        <a:pt x="97283" y="108106"/>
                      </a:lnTo>
                      <a:lnTo>
                        <a:pt x="96493" y="109883"/>
                      </a:lnTo>
                      <a:lnTo>
                        <a:pt x="96689" y="111806"/>
                      </a:lnTo>
                      <a:lnTo>
                        <a:pt x="96395" y="113192"/>
                      </a:lnTo>
                      <a:lnTo>
                        <a:pt x="95596" y="114015"/>
                      </a:lnTo>
                      <a:lnTo>
                        <a:pt x="95979" y="116109"/>
                      </a:lnTo>
                      <a:lnTo>
                        <a:pt x="97552" y="119459"/>
                      </a:lnTo>
                      <a:lnTo>
                        <a:pt x="98498" y="122776"/>
                      </a:lnTo>
                      <a:lnTo>
                        <a:pt x="98808" y="126044"/>
                      </a:lnTo>
                      <a:lnTo>
                        <a:pt x="98514" y="128383"/>
                      </a:lnTo>
                      <a:lnTo>
                        <a:pt x="97169" y="130493"/>
                      </a:lnTo>
                      <a:lnTo>
                        <a:pt x="95874" y="135098"/>
                      </a:lnTo>
                      <a:lnTo>
                        <a:pt x="94765" y="136932"/>
                      </a:lnTo>
                      <a:lnTo>
                        <a:pt x="93412" y="137535"/>
                      </a:lnTo>
                      <a:lnTo>
                        <a:pt x="92206" y="139238"/>
                      </a:lnTo>
                      <a:lnTo>
                        <a:pt x="91139" y="142042"/>
                      </a:lnTo>
                      <a:lnTo>
                        <a:pt x="89990" y="143411"/>
                      </a:lnTo>
                      <a:lnTo>
                        <a:pt x="88791" y="143321"/>
                      </a:lnTo>
                      <a:lnTo>
                        <a:pt x="87911" y="143835"/>
                      </a:lnTo>
                      <a:lnTo>
                        <a:pt x="87333" y="144951"/>
                      </a:lnTo>
                      <a:lnTo>
                        <a:pt x="87406" y="146108"/>
                      </a:lnTo>
                      <a:lnTo>
                        <a:pt x="88123" y="147331"/>
                      </a:lnTo>
                      <a:lnTo>
                        <a:pt x="87887" y="148464"/>
                      </a:lnTo>
                      <a:lnTo>
                        <a:pt x="86697" y="149499"/>
                      </a:lnTo>
                      <a:lnTo>
                        <a:pt x="86721" y="149996"/>
                      </a:lnTo>
                      <a:lnTo>
                        <a:pt x="87088" y="150305"/>
                      </a:lnTo>
                      <a:lnTo>
                        <a:pt x="86941" y="150803"/>
                      </a:lnTo>
                      <a:lnTo>
                        <a:pt x="86200" y="151300"/>
                      </a:lnTo>
                      <a:lnTo>
                        <a:pt x="85743" y="152848"/>
                      </a:lnTo>
                      <a:lnTo>
                        <a:pt x="85792" y="155415"/>
                      </a:lnTo>
                      <a:lnTo>
                        <a:pt x="85385" y="156695"/>
                      </a:lnTo>
                      <a:lnTo>
                        <a:pt x="84586" y="156752"/>
                      </a:lnTo>
                      <a:lnTo>
                        <a:pt x="84480" y="157461"/>
                      </a:lnTo>
                      <a:lnTo>
                        <a:pt x="85809" y="160362"/>
                      </a:lnTo>
                      <a:lnTo>
                        <a:pt x="85026" y="160957"/>
                      </a:lnTo>
                      <a:lnTo>
                        <a:pt x="83649" y="163345"/>
                      </a:lnTo>
                      <a:lnTo>
                        <a:pt x="83364" y="165986"/>
                      </a:lnTo>
                      <a:lnTo>
                        <a:pt x="84179" y="168862"/>
                      </a:lnTo>
                      <a:lnTo>
                        <a:pt x="82125" y="171201"/>
                      </a:lnTo>
                      <a:lnTo>
                        <a:pt x="77194" y="172978"/>
                      </a:lnTo>
                      <a:lnTo>
                        <a:pt x="74578" y="174543"/>
                      </a:lnTo>
                      <a:lnTo>
                        <a:pt x="74277" y="175904"/>
                      </a:lnTo>
                      <a:lnTo>
                        <a:pt x="74627" y="177966"/>
                      </a:lnTo>
                      <a:lnTo>
                        <a:pt x="75605" y="180745"/>
                      </a:lnTo>
                      <a:lnTo>
                        <a:pt x="75776" y="182676"/>
                      </a:lnTo>
                      <a:lnTo>
                        <a:pt x="75149" y="183744"/>
                      </a:lnTo>
                      <a:lnTo>
                        <a:pt x="71628" y="183019"/>
                      </a:lnTo>
                      <a:lnTo>
                        <a:pt x="65198" y="180500"/>
                      </a:lnTo>
                      <a:lnTo>
                        <a:pt x="60895" y="180590"/>
                      </a:lnTo>
                      <a:lnTo>
                        <a:pt x="58703" y="183271"/>
                      </a:lnTo>
                      <a:lnTo>
                        <a:pt x="57953" y="185300"/>
                      </a:lnTo>
                      <a:lnTo>
                        <a:pt x="58222" y="186947"/>
                      </a:lnTo>
                      <a:lnTo>
                        <a:pt x="56461" y="184926"/>
                      </a:lnTo>
                      <a:lnTo>
                        <a:pt x="55288" y="184029"/>
                      </a:lnTo>
                      <a:lnTo>
                        <a:pt x="55068" y="184094"/>
                      </a:lnTo>
                      <a:lnTo>
                        <a:pt x="54815" y="184339"/>
                      </a:lnTo>
                      <a:lnTo>
                        <a:pt x="54709" y="184966"/>
                      </a:lnTo>
                      <a:lnTo>
                        <a:pt x="54766" y="185414"/>
                      </a:lnTo>
                      <a:lnTo>
                        <a:pt x="54954" y="185928"/>
                      </a:lnTo>
                      <a:lnTo>
                        <a:pt x="54848" y="186254"/>
                      </a:lnTo>
                      <a:lnTo>
                        <a:pt x="54587" y="186287"/>
                      </a:lnTo>
                      <a:lnTo>
                        <a:pt x="53316" y="185504"/>
                      </a:lnTo>
                      <a:lnTo>
                        <a:pt x="51775" y="183279"/>
                      </a:lnTo>
                      <a:lnTo>
                        <a:pt x="49966" y="179596"/>
                      </a:lnTo>
                      <a:lnTo>
                        <a:pt x="49567" y="176670"/>
                      </a:lnTo>
                      <a:lnTo>
                        <a:pt x="50585" y="174494"/>
                      </a:lnTo>
                      <a:lnTo>
                        <a:pt x="50585" y="172212"/>
                      </a:lnTo>
                      <a:lnTo>
                        <a:pt x="49567" y="169816"/>
                      </a:lnTo>
                      <a:lnTo>
                        <a:pt x="49062" y="167477"/>
                      </a:lnTo>
                      <a:lnTo>
                        <a:pt x="49062" y="165187"/>
                      </a:lnTo>
                      <a:lnTo>
                        <a:pt x="46584" y="161756"/>
                      </a:lnTo>
                      <a:lnTo>
                        <a:pt x="41629" y="157176"/>
                      </a:lnTo>
                      <a:lnTo>
                        <a:pt x="37986" y="154348"/>
                      </a:lnTo>
                      <a:lnTo>
                        <a:pt x="35655" y="153272"/>
                      </a:lnTo>
                      <a:lnTo>
                        <a:pt x="32933" y="150982"/>
                      </a:lnTo>
                      <a:lnTo>
                        <a:pt x="29828" y="147469"/>
                      </a:lnTo>
                      <a:lnTo>
                        <a:pt x="28174" y="144780"/>
                      </a:lnTo>
                      <a:lnTo>
                        <a:pt x="27970" y="142914"/>
                      </a:lnTo>
                      <a:lnTo>
                        <a:pt x="29388" y="137942"/>
                      </a:lnTo>
                      <a:lnTo>
                        <a:pt x="33504" y="127095"/>
                      </a:lnTo>
                      <a:lnTo>
                        <a:pt x="33960" y="125807"/>
                      </a:lnTo>
                      <a:lnTo>
                        <a:pt x="34099" y="125343"/>
                      </a:lnTo>
                      <a:lnTo>
                        <a:pt x="33911" y="124870"/>
                      </a:lnTo>
                      <a:lnTo>
                        <a:pt x="33520" y="124430"/>
                      </a:lnTo>
                      <a:lnTo>
                        <a:pt x="31784" y="123151"/>
                      </a:lnTo>
                      <a:lnTo>
                        <a:pt x="28459" y="122059"/>
                      </a:lnTo>
                      <a:lnTo>
                        <a:pt x="25395" y="121447"/>
                      </a:lnTo>
                      <a:lnTo>
                        <a:pt x="22925" y="122751"/>
                      </a:lnTo>
                      <a:lnTo>
                        <a:pt x="20782" y="120127"/>
                      </a:lnTo>
                      <a:lnTo>
                        <a:pt x="18956" y="113575"/>
                      </a:lnTo>
                      <a:lnTo>
                        <a:pt x="14441" y="106647"/>
                      </a:lnTo>
                      <a:lnTo>
                        <a:pt x="7229" y="99353"/>
                      </a:lnTo>
                      <a:lnTo>
                        <a:pt x="3048" y="94398"/>
                      </a:lnTo>
                      <a:lnTo>
                        <a:pt x="1875" y="91774"/>
                      </a:lnTo>
                      <a:lnTo>
                        <a:pt x="856" y="87846"/>
                      </a:lnTo>
                      <a:lnTo>
                        <a:pt x="0" y="82597"/>
                      </a:lnTo>
                      <a:lnTo>
                        <a:pt x="41" y="78237"/>
                      </a:lnTo>
                      <a:lnTo>
                        <a:pt x="1475" y="73022"/>
                      </a:lnTo>
                      <a:lnTo>
                        <a:pt x="2747" y="72419"/>
                      </a:lnTo>
                      <a:lnTo>
                        <a:pt x="2999" y="70707"/>
                      </a:lnTo>
                      <a:lnTo>
                        <a:pt x="2665" y="67675"/>
                      </a:lnTo>
                      <a:lnTo>
                        <a:pt x="4034" y="65385"/>
                      </a:lnTo>
                      <a:lnTo>
                        <a:pt x="7107" y="63837"/>
                      </a:lnTo>
                      <a:lnTo>
                        <a:pt x="9902" y="60422"/>
                      </a:lnTo>
                      <a:lnTo>
                        <a:pt x="12437" y="55141"/>
                      </a:lnTo>
                      <a:lnTo>
                        <a:pt x="13578" y="51360"/>
                      </a:lnTo>
                      <a:lnTo>
                        <a:pt x="13333" y="49070"/>
                      </a:lnTo>
                      <a:lnTo>
                        <a:pt x="12404" y="46910"/>
                      </a:lnTo>
                      <a:lnTo>
                        <a:pt x="10790" y="44856"/>
                      </a:lnTo>
                      <a:lnTo>
                        <a:pt x="10399" y="42322"/>
                      </a:lnTo>
                      <a:lnTo>
                        <a:pt x="11247" y="39282"/>
                      </a:lnTo>
                      <a:lnTo>
                        <a:pt x="13961" y="37350"/>
                      </a:lnTo>
                      <a:lnTo>
                        <a:pt x="18541" y="36519"/>
                      </a:lnTo>
                      <a:lnTo>
                        <a:pt x="22689" y="34979"/>
                      </a:lnTo>
                      <a:lnTo>
                        <a:pt x="26413" y="32737"/>
                      </a:lnTo>
                      <a:lnTo>
                        <a:pt x="28622" y="30276"/>
                      </a:lnTo>
                      <a:lnTo>
                        <a:pt x="29323" y="27619"/>
                      </a:lnTo>
                      <a:lnTo>
                        <a:pt x="30390" y="25549"/>
                      </a:lnTo>
                      <a:lnTo>
                        <a:pt x="31841" y="24074"/>
                      </a:lnTo>
                      <a:lnTo>
                        <a:pt x="32860" y="21654"/>
                      </a:lnTo>
                      <a:lnTo>
                        <a:pt x="33463" y="18296"/>
                      </a:lnTo>
                      <a:lnTo>
                        <a:pt x="33536" y="15811"/>
                      </a:lnTo>
                      <a:lnTo>
                        <a:pt x="33088" y="14213"/>
                      </a:lnTo>
                      <a:lnTo>
                        <a:pt x="31458" y="12363"/>
                      </a:lnTo>
                      <a:lnTo>
                        <a:pt x="28646" y="10269"/>
                      </a:lnTo>
                      <a:lnTo>
                        <a:pt x="27057" y="8296"/>
                      </a:lnTo>
                      <a:lnTo>
                        <a:pt x="26699" y="6455"/>
                      </a:lnTo>
                      <a:lnTo>
                        <a:pt x="25223" y="4474"/>
                      </a:lnTo>
                      <a:lnTo>
                        <a:pt x="22615" y="2355"/>
                      </a:lnTo>
                      <a:lnTo>
                        <a:pt x="21108" y="0"/>
                      </a:lnTo>
                      <a:lnTo>
                        <a:pt x="32509" y="98"/>
                      </a:lnTo>
                      <a:lnTo>
                        <a:pt x="43674" y="179"/>
                      </a:lnTo>
                      <a:lnTo>
                        <a:pt x="54840" y="269"/>
                      </a:lnTo>
                      <a:lnTo>
                        <a:pt x="66013" y="350"/>
                      </a:lnTo>
                      <a:lnTo>
                        <a:pt x="77170" y="440"/>
                      </a:lnTo>
                      <a:lnTo>
                        <a:pt x="88343" y="530"/>
                      </a:lnTo>
                      <a:lnTo>
                        <a:pt x="99508" y="619"/>
                      </a:lnTo>
                      <a:lnTo>
                        <a:pt x="110681" y="701"/>
                      </a:lnTo>
                      <a:lnTo>
                        <a:pt x="109549" y="7001"/>
                      </a:lnTo>
                      <a:lnTo>
                        <a:pt x="108424" y="13300"/>
                      </a:lnTo>
                      <a:close/>
                    </a:path>
                  </a:pathLst>
                </a:custGeom>
                <a:solidFill>
                  <a:srgbClr val="D6D6D2"/>
                </a:solidFill>
                <a:ln w="6112" cap="rnd">
                  <a:solidFill>
                    <a:srgbClr val="FFFFFF"/>
                  </a:solidFill>
                  <a:prstDash val="solid"/>
                  <a:round/>
                </a:ln>
              </p:spPr>
              <p:txBody>
                <a:bodyPr rtlCol="0" anchor="ctr"/>
                <a:lstStyle/>
                <a:p>
                  <a:endParaRPr lang="en-US"/>
                </a:p>
              </p:txBody>
            </p:sp>
            <p:sp>
              <p:nvSpPr>
                <p:cNvPr id="460" name="Freeform: Shape 459">
                  <a:extLst>
                    <a:ext uri="{FF2B5EF4-FFF2-40B4-BE49-F238E27FC236}">
                      <a16:creationId xmlns:a16="http://schemas.microsoft.com/office/drawing/2014/main" id="{6389579A-A1DF-412F-900E-CA59B2D54AAC}"/>
                    </a:ext>
                  </a:extLst>
                </p:cNvPr>
                <p:cNvSpPr/>
                <p:nvPr/>
              </p:nvSpPr>
              <p:spPr>
                <a:xfrm>
                  <a:off x="3036761" y="2961264"/>
                  <a:ext cx="152571" cy="246276"/>
                </a:xfrm>
                <a:custGeom>
                  <a:avLst/>
                  <a:gdLst>
                    <a:gd name="connsiteX0" fmla="*/ 60715 w 152571"/>
                    <a:gd name="connsiteY0" fmla="*/ 80943 h 246276"/>
                    <a:gd name="connsiteX1" fmla="*/ 61050 w 152571"/>
                    <a:gd name="connsiteY1" fmla="*/ 80976 h 246276"/>
                    <a:gd name="connsiteX2" fmla="*/ 62598 w 152571"/>
                    <a:gd name="connsiteY2" fmla="*/ 80389 h 246276"/>
                    <a:gd name="connsiteX3" fmla="*/ 63006 w 152571"/>
                    <a:gd name="connsiteY3" fmla="*/ 80560 h 246276"/>
                    <a:gd name="connsiteX4" fmla="*/ 63772 w 152571"/>
                    <a:gd name="connsiteY4" fmla="*/ 81514 h 246276"/>
                    <a:gd name="connsiteX5" fmla="*/ 63935 w 152571"/>
                    <a:gd name="connsiteY5" fmla="*/ 82964 h 246276"/>
                    <a:gd name="connsiteX6" fmla="*/ 64489 w 152571"/>
                    <a:gd name="connsiteY6" fmla="*/ 83584 h 246276"/>
                    <a:gd name="connsiteX7" fmla="*/ 65450 w 152571"/>
                    <a:gd name="connsiteY7" fmla="*/ 83934 h 246276"/>
                    <a:gd name="connsiteX8" fmla="*/ 66543 w 152571"/>
                    <a:gd name="connsiteY8" fmla="*/ 84024 h 246276"/>
                    <a:gd name="connsiteX9" fmla="*/ 69965 w 152571"/>
                    <a:gd name="connsiteY9" fmla="*/ 83323 h 246276"/>
                    <a:gd name="connsiteX10" fmla="*/ 70707 w 152571"/>
                    <a:gd name="connsiteY10" fmla="*/ 83323 h 246276"/>
                    <a:gd name="connsiteX11" fmla="*/ 71057 w 152571"/>
                    <a:gd name="connsiteY11" fmla="*/ 83624 h 246276"/>
                    <a:gd name="connsiteX12" fmla="*/ 71221 w 152571"/>
                    <a:gd name="connsiteY12" fmla="*/ 84391 h 246276"/>
                    <a:gd name="connsiteX13" fmla="*/ 71172 w 152571"/>
                    <a:gd name="connsiteY13" fmla="*/ 85670 h 246276"/>
                    <a:gd name="connsiteX14" fmla="*/ 70829 w 152571"/>
                    <a:gd name="connsiteY14" fmla="*/ 87479 h 246276"/>
                    <a:gd name="connsiteX15" fmla="*/ 69811 w 152571"/>
                    <a:gd name="connsiteY15" fmla="*/ 89272 h 246276"/>
                    <a:gd name="connsiteX16" fmla="*/ 69982 w 152571"/>
                    <a:gd name="connsiteY16" fmla="*/ 90935 h 246276"/>
                    <a:gd name="connsiteX17" fmla="*/ 69175 w 152571"/>
                    <a:gd name="connsiteY17" fmla="*/ 94814 h 246276"/>
                    <a:gd name="connsiteX18" fmla="*/ 68393 w 152571"/>
                    <a:gd name="connsiteY18" fmla="*/ 97397 h 246276"/>
                    <a:gd name="connsiteX19" fmla="*/ 68335 w 152571"/>
                    <a:gd name="connsiteY19" fmla="*/ 99924 h 246276"/>
                    <a:gd name="connsiteX20" fmla="*/ 67374 w 152571"/>
                    <a:gd name="connsiteY20" fmla="*/ 101375 h 246276"/>
                    <a:gd name="connsiteX21" fmla="*/ 67920 w 152571"/>
                    <a:gd name="connsiteY21" fmla="*/ 103086 h 246276"/>
                    <a:gd name="connsiteX22" fmla="*/ 67545 w 152571"/>
                    <a:gd name="connsiteY22" fmla="*/ 105710 h 246276"/>
                    <a:gd name="connsiteX23" fmla="*/ 67879 w 152571"/>
                    <a:gd name="connsiteY23" fmla="*/ 106387 h 246276"/>
                    <a:gd name="connsiteX24" fmla="*/ 69093 w 152571"/>
                    <a:gd name="connsiteY24" fmla="*/ 107601 h 246276"/>
                    <a:gd name="connsiteX25" fmla="*/ 69566 w 152571"/>
                    <a:gd name="connsiteY25" fmla="*/ 110820 h 246276"/>
                    <a:gd name="connsiteX26" fmla="*/ 69362 w 152571"/>
                    <a:gd name="connsiteY26" fmla="*/ 111415 h 246276"/>
                    <a:gd name="connsiteX27" fmla="*/ 67195 w 152571"/>
                    <a:gd name="connsiteY27" fmla="*/ 112662 h 246276"/>
                    <a:gd name="connsiteX28" fmla="*/ 66453 w 152571"/>
                    <a:gd name="connsiteY28" fmla="*/ 113501 h 246276"/>
                    <a:gd name="connsiteX29" fmla="*/ 66176 w 152571"/>
                    <a:gd name="connsiteY29" fmla="*/ 114675 h 246276"/>
                    <a:gd name="connsiteX30" fmla="*/ 67113 w 152571"/>
                    <a:gd name="connsiteY30" fmla="*/ 118057 h 246276"/>
                    <a:gd name="connsiteX31" fmla="*/ 66208 w 152571"/>
                    <a:gd name="connsiteY31" fmla="*/ 119923 h 246276"/>
                    <a:gd name="connsiteX32" fmla="*/ 66086 w 152571"/>
                    <a:gd name="connsiteY32" fmla="*/ 121521 h 246276"/>
                    <a:gd name="connsiteX33" fmla="*/ 66282 w 152571"/>
                    <a:gd name="connsiteY33" fmla="*/ 121936 h 246276"/>
                    <a:gd name="connsiteX34" fmla="*/ 68287 w 152571"/>
                    <a:gd name="connsiteY34" fmla="*/ 122800 h 246276"/>
                    <a:gd name="connsiteX35" fmla="*/ 70715 w 152571"/>
                    <a:gd name="connsiteY35" fmla="*/ 124707 h 246276"/>
                    <a:gd name="connsiteX36" fmla="*/ 71498 w 152571"/>
                    <a:gd name="connsiteY36" fmla="*/ 125107 h 246276"/>
                    <a:gd name="connsiteX37" fmla="*/ 72027 w 152571"/>
                    <a:gd name="connsiteY37" fmla="*/ 125041 h 246276"/>
                    <a:gd name="connsiteX38" fmla="*/ 73054 w 152571"/>
                    <a:gd name="connsiteY38" fmla="*/ 124406 h 246276"/>
                    <a:gd name="connsiteX39" fmla="*/ 74195 w 152571"/>
                    <a:gd name="connsiteY39" fmla="*/ 123110 h 246276"/>
                    <a:gd name="connsiteX40" fmla="*/ 76518 w 152571"/>
                    <a:gd name="connsiteY40" fmla="*/ 121814 h 246276"/>
                    <a:gd name="connsiteX41" fmla="*/ 79256 w 152571"/>
                    <a:gd name="connsiteY41" fmla="*/ 119027 h 246276"/>
                    <a:gd name="connsiteX42" fmla="*/ 79395 w 152571"/>
                    <a:gd name="connsiteY42" fmla="*/ 118244 h 246276"/>
                    <a:gd name="connsiteX43" fmla="*/ 79615 w 152571"/>
                    <a:gd name="connsiteY43" fmla="*/ 117813 h 246276"/>
                    <a:gd name="connsiteX44" fmla="*/ 79957 w 152571"/>
                    <a:gd name="connsiteY44" fmla="*/ 117829 h 246276"/>
                    <a:gd name="connsiteX45" fmla="*/ 80837 w 152571"/>
                    <a:gd name="connsiteY45" fmla="*/ 118212 h 246276"/>
                    <a:gd name="connsiteX46" fmla="*/ 82565 w 152571"/>
                    <a:gd name="connsiteY46" fmla="*/ 119899 h 246276"/>
                    <a:gd name="connsiteX47" fmla="*/ 84056 w 152571"/>
                    <a:gd name="connsiteY47" fmla="*/ 120836 h 246276"/>
                    <a:gd name="connsiteX48" fmla="*/ 84317 w 152571"/>
                    <a:gd name="connsiteY48" fmla="*/ 121048 h 246276"/>
                    <a:gd name="connsiteX49" fmla="*/ 84456 w 152571"/>
                    <a:gd name="connsiteY49" fmla="*/ 121513 h 246276"/>
                    <a:gd name="connsiteX50" fmla="*/ 84382 w 152571"/>
                    <a:gd name="connsiteY50" fmla="*/ 123191 h 246276"/>
                    <a:gd name="connsiteX51" fmla="*/ 85214 w 152571"/>
                    <a:gd name="connsiteY51" fmla="*/ 124520 h 246276"/>
                    <a:gd name="connsiteX52" fmla="*/ 85458 w 152571"/>
                    <a:gd name="connsiteY52" fmla="*/ 126688 h 246276"/>
                    <a:gd name="connsiteX53" fmla="*/ 86306 w 152571"/>
                    <a:gd name="connsiteY53" fmla="*/ 128847 h 246276"/>
                    <a:gd name="connsiteX54" fmla="*/ 86925 w 152571"/>
                    <a:gd name="connsiteY54" fmla="*/ 131463 h 246276"/>
                    <a:gd name="connsiteX55" fmla="*/ 89166 w 152571"/>
                    <a:gd name="connsiteY55" fmla="*/ 134837 h 246276"/>
                    <a:gd name="connsiteX56" fmla="*/ 90389 w 152571"/>
                    <a:gd name="connsiteY56" fmla="*/ 137250 h 246276"/>
                    <a:gd name="connsiteX57" fmla="*/ 91725 w 152571"/>
                    <a:gd name="connsiteY57" fmla="*/ 138342 h 246276"/>
                    <a:gd name="connsiteX58" fmla="*/ 92532 w 152571"/>
                    <a:gd name="connsiteY58" fmla="*/ 139621 h 246276"/>
                    <a:gd name="connsiteX59" fmla="*/ 93127 w 152571"/>
                    <a:gd name="connsiteY59" fmla="*/ 141153 h 246276"/>
                    <a:gd name="connsiteX60" fmla="*/ 93347 w 152571"/>
                    <a:gd name="connsiteY60" fmla="*/ 142384 h 246276"/>
                    <a:gd name="connsiteX61" fmla="*/ 92573 w 152571"/>
                    <a:gd name="connsiteY61" fmla="*/ 144625 h 246276"/>
                    <a:gd name="connsiteX62" fmla="*/ 92785 w 152571"/>
                    <a:gd name="connsiteY62" fmla="*/ 145554 h 246276"/>
                    <a:gd name="connsiteX63" fmla="*/ 93494 w 152571"/>
                    <a:gd name="connsiteY63" fmla="*/ 146589 h 246276"/>
                    <a:gd name="connsiteX64" fmla="*/ 95808 w 152571"/>
                    <a:gd name="connsiteY64" fmla="*/ 148904 h 246276"/>
                    <a:gd name="connsiteX65" fmla="*/ 96265 w 152571"/>
                    <a:gd name="connsiteY65" fmla="*/ 149091 h 246276"/>
                    <a:gd name="connsiteX66" fmla="*/ 98400 w 152571"/>
                    <a:gd name="connsiteY66" fmla="*/ 148839 h 246276"/>
                    <a:gd name="connsiteX67" fmla="*/ 99565 w 152571"/>
                    <a:gd name="connsiteY67" fmla="*/ 149230 h 246276"/>
                    <a:gd name="connsiteX68" fmla="*/ 100722 w 152571"/>
                    <a:gd name="connsiteY68" fmla="*/ 150395 h 246276"/>
                    <a:gd name="connsiteX69" fmla="*/ 101904 w 152571"/>
                    <a:gd name="connsiteY69" fmla="*/ 152147 h 246276"/>
                    <a:gd name="connsiteX70" fmla="*/ 102662 w 152571"/>
                    <a:gd name="connsiteY70" fmla="*/ 153908 h 246276"/>
                    <a:gd name="connsiteX71" fmla="*/ 102866 w 152571"/>
                    <a:gd name="connsiteY71" fmla="*/ 156002 h 246276"/>
                    <a:gd name="connsiteX72" fmla="*/ 104056 w 152571"/>
                    <a:gd name="connsiteY72" fmla="*/ 158317 h 246276"/>
                    <a:gd name="connsiteX73" fmla="*/ 104219 w 152571"/>
                    <a:gd name="connsiteY73" fmla="*/ 160371 h 246276"/>
                    <a:gd name="connsiteX74" fmla="*/ 104952 w 152571"/>
                    <a:gd name="connsiteY74" fmla="*/ 161267 h 246276"/>
                    <a:gd name="connsiteX75" fmla="*/ 106435 w 152571"/>
                    <a:gd name="connsiteY75" fmla="*/ 162498 h 246276"/>
                    <a:gd name="connsiteX76" fmla="*/ 107837 w 152571"/>
                    <a:gd name="connsiteY76" fmla="*/ 163231 h 246276"/>
                    <a:gd name="connsiteX77" fmla="*/ 108391 w 152571"/>
                    <a:gd name="connsiteY77" fmla="*/ 163288 h 246276"/>
                    <a:gd name="connsiteX78" fmla="*/ 108791 w 152571"/>
                    <a:gd name="connsiteY78" fmla="*/ 162970 h 246276"/>
                    <a:gd name="connsiteX79" fmla="*/ 108921 w 152571"/>
                    <a:gd name="connsiteY79" fmla="*/ 161846 h 246276"/>
                    <a:gd name="connsiteX80" fmla="*/ 109492 w 152571"/>
                    <a:gd name="connsiteY80" fmla="*/ 160965 h 246276"/>
                    <a:gd name="connsiteX81" fmla="*/ 111260 w 152571"/>
                    <a:gd name="connsiteY81" fmla="*/ 159751 h 246276"/>
                    <a:gd name="connsiteX82" fmla="*/ 112939 w 152571"/>
                    <a:gd name="connsiteY82" fmla="*/ 159784 h 246276"/>
                    <a:gd name="connsiteX83" fmla="*/ 119271 w 152571"/>
                    <a:gd name="connsiteY83" fmla="*/ 160794 h 246276"/>
                    <a:gd name="connsiteX84" fmla="*/ 119711 w 152571"/>
                    <a:gd name="connsiteY84" fmla="*/ 160729 h 246276"/>
                    <a:gd name="connsiteX85" fmla="*/ 119988 w 152571"/>
                    <a:gd name="connsiteY85" fmla="*/ 160395 h 246276"/>
                    <a:gd name="connsiteX86" fmla="*/ 121081 w 152571"/>
                    <a:gd name="connsiteY86" fmla="*/ 158520 h 246276"/>
                    <a:gd name="connsiteX87" fmla="*/ 121944 w 152571"/>
                    <a:gd name="connsiteY87" fmla="*/ 157795 h 246276"/>
                    <a:gd name="connsiteX88" fmla="*/ 123281 w 152571"/>
                    <a:gd name="connsiteY88" fmla="*/ 157559 h 246276"/>
                    <a:gd name="connsiteX89" fmla="*/ 127177 w 152571"/>
                    <a:gd name="connsiteY89" fmla="*/ 158015 h 246276"/>
                    <a:gd name="connsiteX90" fmla="*/ 131692 w 152571"/>
                    <a:gd name="connsiteY90" fmla="*/ 157763 h 246276"/>
                    <a:gd name="connsiteX91" fmla="*/ 134047 w 152571"/>
                    <a:gd name="connsiteY91" fmla="*/ 158292 h 246276"/>
                    <a:gd name="connsiteX92" fmla="*/ 137470 w 152571"/>
                    <a:gd name="connsiteY92" fmla="*/ 157600 h 246276"/>
                    <a:gd name="connsiteX93" fmla="*/ 141422 w 152571"/>
                    <a:gd name="connsiteY93" fmla="*/ 158113 h 246276"/>
                    <a:gd name="connsiteX94" fmla="*/ 141928 w 152571"/>
                    <a:gd name="connsiteY94" fmla="*/ 157803 h 246276"/>
                    <a:gd name="connsiteX95" fmla="*/ 142050 w 152571"/>
                    <a:gd name="connsiteY95" fmla="*/ 157420 h 246276"/>
                    <a:gd name="connsiteX96" fmla="*/ 141691 w 152571"/>
                    <a:gd name="connsiteY96" fmla="*/ 156719 h 246276"/>
                    <a:gd name="connsiteX97" fmla="*/ 141634 w 152571"/>
                    <a:gd name="connsiteY97" fmla="*/ 155342 h 246276"/>
                    <a:gd name="connsiteX98" fmla="*/ 142433 w 152571"/>
                    <a:gd name="connsiteY98" fmla="*/ 153704 h 246276"/>
                    <a:gd name="connsiteX99" fmla="*/ 142702 w 152571"/>
                    <a:gd name="connsiteY99" fmla="*/ 152294 h 246276"/>
                    <a:gd name="connsiteX100" fmla="*/ 143509 w 152571"/>
                    <a:gd name="connsiteY100" fmla="*/ 151512 h 246276"/>
                    <a:gd name="connsiteX101" fmla="*/ 144576 w 152571"/>
                    <a:gd name="connsiteY101" fmla="*/ 151064 h 246276"/>
                    <a:gd name="connsiteX102" fmla="*/ 145448 w 152571"/>
                    <a:gd name="connsiteY102" fmla="*/ 151120 h 246276"/>
                    <a:gd name="connsiteX103" fmla="*/ 146271 w 152571"/>
                    <a:gd name="connsiteY103" fmla="*/ 151870 h 246276"/>
                    <a:gd name="connsiteX104" fmla="*/ 147241 w 152571"/>
                    <a:gd name="connsiteY104" fmla="*/ 153117 h 246276"/>
                    <a:gd name="connsiteX105" fmla="*/ 148920 w 152571"/>
                    <a:gd name="connsiteY105" fmla="*/ 156516 h 246276"/>
                    <a:gd name="connsiteX106" fmla="*/ 149825 w 152571"/>
                    <a:gd name="connsiteY106" fmla="*/ 157730 h 246276"/>
                    <a:gd name="connsiteX107" fmla="*/ 150909 w 152571"/>
                    <a:gd name="connsiteY107" fmla="*/ 158798 h 246276"/>
                    <a:gd name="connsiteX108" fmla="*/ 152539 w 152571"/>
                    <a:gd name="connsiteY108" fmla="*/ 159719 h 246276"/>
                    <a:gd name="connsiteX109" fmla="*/ 152547 w 152571"/>
                    <a:gd name="connsiteY109" fmla="*/ 165171 h 246276"/>
                    <a:gd name="connsiteX110" fmla="*/ 152547 w 152571"/>
                    <a:gd name="connsiteY110" fmla="*/ 170623 h 246276"/>
                    <a:gd name="connsiteX111" fmla="*/ 152547 w 152571"/>
                    <a:gd name="connsiteY111" fmla="*/ 176067 h 246276"/>
                    <a:gd name="connsiteX112" fmla="*/ 152547 w 152571"/>
                    <a:gd name="connsiteY112" fmla="*/ 181495 h 246276"/>
                    <a:gd name="connsiteX113" fmla="*/ 152547 w 152571"/>
                    <a:gd name="connsiteY113" fmla="*/ 186922 h 246276"/>
                    <a:gd name="connsiteX114" fmla="*/ 152547 w 152571"/>
                    <a:gd name="connsiteY114" fmla="*/ 192350 h 246276"/>
                    <a:gd name="connsiteX115" fmla="*/ 152555 w 152571"/>
                    <a:gd name="connsiteY115" fmla="*/ 197770 h 246276"/>
                    <a:gd name="connsiteX116" fmla="*/ 152555 w 152571"/>
                    <a:gd name="connsiteY116" fmla="*/ 203181 h 246276"/>
                    <a:gd name="connsiteX117" fmla="*/ 152555 w 152571"/>
                    <a:gd name="connsiteY117" fmla="*/ 208584 h 246276"/>
                    <a:gd name="connsiteX118" fmla="*/ 152555 w 152571"/>
                    <a:gd name="connsiteY118" fmla="*/ 213988 h 246276"/>
                    <a:gd name="connsiteX119" fmla="*/ 152563 w 152571"/>
                    <a:gd name="connsiteY119" fmla="*/ 219383 h 246276"/>
                    <a:gd name="connsiteX120" fmla="*/ 152563 w 152571"/>
                    <a:gd name="connsiteY120" fmla="*/ 224770 h 246276"/>
                    <a:gd name="connsiteX121" fmla="*/ 152563 w 152571"/>
                    <a:gd name="connsiteY121" fmla="*/ 230148 h 246276"/>
                    <a:gd name="connsiteX122" fmla="*/ 152563 w 152571"/>
                    <a:gd name="connsiteY122" fmla="*/ 235527 h 246276"/>
                    <a:gd name="connsiteX123" fmla="*/ 152571 w 152571"/>
                    <a:gd name="connsiteY123" fmla="*/ 240898 h 246276"/>
                    <a:gd name="connsiteX124" fmla="*/ 152571 w 152571"/>
                    <a:gd name="connsiteY124" fmla="*/ 246269 h 246276"/>
                    <a:gd name="connsiteX125" fmla="*/ 147934 w 152571"/>
                    <a:gd name="connsiteY125" fmla="*/ 246269 h 246276"/>
                    <a:gd name="connsiteX126" fmla="*/ 143289 w 152571"/>
                    <a:gd name="connsiteY126" fmla="*/ 246269 h 246276"/>
                    <a:gd name="connsiteX127" fmla="*/ 138651 w 152571"/>
                    <a:gd name="connsiteY127" fmla="*/ 246269 h 246276"/>
                    <a:gd name="connsiteX128" fmla="*/ 134014 w 152571"/>
                    <a:gd name="connsiteY128" fmla="*/ 246261 h 246276"/>
                    <a:gd name="connsiteX129" fmla="*/ 129385 w 152571"/>
                    <a:gd name="connsiteY129" fmla="*/ 246261 h 246276"/>
                    <a:gd name="connsiteX130" fmla="*/ 124740 w 152571"/>
                    <a:gd name="connsiteY130" fmla="*/ 246261 h 246276"/>
                    <a:gd name="connsiteX131" fmla="*/ 120103 w 152571"/>
                    <a:gd name="connsiteY131" fmla="*/ 246261 h 246276"/>
                    <a:gd name="connsiteX132" fmla="*/ 115465 w 152571"/>
                    <a:gd name="connsiteY132" fmla="*/ 246261 h 246276"/>
                    <a:gd name="connsiteX133" fmla="*/ 110820 w 152571"/>
                    <a:gd name="connsiteY133" fmla="*/ 246261 h 246276"/>
                    <a:gd name="connsiteX134" fmla="*/ 106183 w 152571"/>
                    <a:gd name="connsiteY134" fmla="*/ 246261 h 246276"/>
                    <a:gd name="connsiteX135" fmla="*/ 101546 w 152571"/>
                    <a:gd name="connsiteY135" fmla="*/ 246261 h 246276"/>
                    <a:gd name="connsiteX136" fmla="*/ 96908 w 152571"/>
                    <a:gd name="connsiteY136" fmla="*/ 246261 h 246276"/>
                    <a:gd name="connsiteX137" fmla="*/ 92271 w 152571"/>
                    <a:gd name="connsiteY137" fmla="*/ 246261 h 246276"/>
                    <a:gd name="connsiteX138" fmla="*/ 87634 w 152571"/>
                    <a:gd name="connsiteY138" fmla="*/ 246261 h 246276"/>
                    <a:gd name="connsiteX139" fmla="*/ 82997 w 152571"/>
                    <a:gd name="connsiteY139" fmla="*/ 246261 h 246276"/>
                    <a:gd name="connsiteX140" fmla="*/ 78352 w 152571"/>
                    <a:gd name="connsiteY140" fmla="*/ 246261 h 246276"/>
                    <a:gd name="connsiteX141" fmla="*/ 69134 w 152571"/>
                    <a:gd name="connsiteY141" fmla="*/ 246261 h 246276"/>
                    <a:gd name="connsiteX142" fmla="*/ 59917 w 152571"/>
                    <a:gd name="connsiteY142" fmla="*/ 246261 h 246276"/>
                    <a:gd name="connsiteX143" fmla="*/ 50691 w 152571"/>
                    <a:gd name="connsiteY143" fmla="*/ 246269 h 246276"/>
                    <a:gd name="connsiteX144" fmla="*/ 41474 w 152571"/>
                    <a:gd name="connsiteY144" fmla="*/ 246269 h 246276"/>
                    <a:gd name="connsiteX145" fmla="*/ 32257 w 152571"/>
                    <a:gd name="connsiteY145" fmla="*/ 246269 h 246276"/>
                    <a:gd name="connsiteX146" fmla="*/ 23031 w 152571"/>
                    <a:gd name="connsiteY146" fmla="*/ 246269 h 246276"/>
                    <a:gd name="connsiteX147" fmla="*/ 13806 w 152571"/>
                    <a:gd name="connsiteY147" fmla="*/ 246277 h 246276"/>
                    <a:gd name="connsiteX148" fmla="*/ 4596 w 152571"/>
                    <a:gd name="connsiteY148" fmla="*/ 246277 h 246276"/>
                    <a:gd name="connsiteX149" fmla="*/ 4580 w 152571"/>
                    <a:gd name="connsiteY149" fmla="*/ 238608 h 246276"/>
                    <a:gd name="connsiteX150" fmla="*/ 4572 w 152571"/>
                    <a:gd name="connsiteY150" fmla="*/ 230923 h 246276"/>
                    <a:gd name="connsiteX151" fmla="*/ 4556 w 152571"/>
                    <a:gd name="connsiteY151" fmla="*/ 223229 h 246276"/>
                    <a:gd name="connsiteX152" fmla="*/ 4548 w 152571"/>
                    <a:gd name="connsiteY152" fmla="*/ 215520 h 246276"/>
                    <a:gd name="connsiteX153" fmla="*/ 4531 w 152571"/>
                    <a:gd name="connsiteY153" fmla="*/ 207802 h 246276"/>
                    <a:gd name="connsiteX154" fmla="*/ 4523 w 152571"/>
                    <a:gd name="connsiteY154" fmla="*/ 200076 h 246276"/>
                    <a:gd name="connsiteX155" fmla="*/ 4515 w 152571"/>
                    <a:gd name="connsiteY155" fmla="*/ 192326 h 246276"/>
                    <a:gd name="connsiteX156" fmla="*/ 4507 w 152571"/>
                    <a:gd name="connsiteY156" fmla="*/ 183793 h 246276"/>
                    <a:gd name="connsiteX157" fmla="*/ 4499 w 152571"/>
                    <a:gd name="connsiteY157" fmla="*/ 183630 h 246276"/>
                    <a:gd name="connsiteX158" fmla="*/ 6055 w 152571"/>
                    <a:gd name="connsiteY158" fmla="*/ 178373 h 246276"/>
                    <a:gd name="connsiteX159" fmla="*/ 6398 w 152571"/>
                    <a:gd name="connsiteY159" fmla="*/ 175814 h 246276"/>
                    <a:gd name="connsiteX160" fmla="*/ 5982 w 152571"/>
                    <a:gd name="connsiteY160" fmla="*/ 174372 h 246276"/>
                    <a:gd name="connsiteX161" fmla="*/ 6251 w 152571"/>
                    <a:gd name="connsiteY161" fmla="*/ 172978 h 246276"/>
                    <a:gd name="connsiteX162" fmla="*/ 7204 w 152571"/>
                    <a:gd name="connsiteY162" fmla="*/ 171642 h 246276"/>
                    <a:gd name="connsiteX163" fmla="*/ 7172 w 152571"/>
                    <a:gd name="connsiteY163" fmla="*/ 170175 h 246276"/>
                    <a:gd name="connsiteX164" fmla="*/ 6161 w 152571"/>
                    <a:gd name="connsiteY164" fmla="*/ 168577 h 246276"/>
                    <a:gd name="connsiteX165" fmla="*/ 4287 w 152571"/>
                    <a:gd name="connsiteY165" fmla="*/ 167518 h 246276"/>
                    <a:gd name="connsiteX166" fmla="*/ 1540 w 152571"/>
                    <a:gd name="connsiteY166" fmla="*/ 167004 h 246276"/>
                    <a:gd name="connsiteX167" fmla="*/ 114 w 152571"/>
                    <a:gd name="connsiteY167" fmla="*/ 165138 h 246276"/>
                    <a:gd name="connsiteX168" fmla="*/ 0 w 152571"/>
                    <a:gd name="connsiteY168" fmla="*/ 161903 h 246276"/>
                    <a:gd name="connsiteX169" fmla="*/ 2054 w 152571"/>
                    <a:gd name="connsiteY169" fmla="*/ 156948 h 246276"/>
                    <a:gd name="connsiteX170" fmla="*/ 6267 w 152571"/>
                    <a:gd name="connsiteY170" fmla="*/ 150232 h 246276"/>
                    <a:gd name="connsiteX171" fmla="*/ 8574 w 152571"/>
                    <a:gd name="connsiteY171" fmla="*/ 145473 h 246276"/>
                    <a:gd name="connsiteX172" fmla="*/ 8981 w 152571"/>
                    <a:gd name="connsiteY172" fmla="*/ 142702 h 246276"/>
                    <a:gd name="connsiteX173" fmla="*/ 11524 w 152571"/>
                    <a:gd name="connsiteY173" fmla="*/ 136247 h 246276"/>
                    <a:gd name="connsiteX174" fmla="*/ 16185 w 152571"/>
                    <a:gd name="connsiteY174" fmla="*/ 126125 h 246276"/>
                    <a:gd name="connsiteX175" fmla="*/ 17978 w 152571"/>
                    <a:gd name="connsiteY175" fmla="*/ 119630 h 246276"/>
                    <a:gd name="connsiteX176" fmla="*/ 16886 w 152571"/>
                    <a:gd name="connsiteY176" fmla="*/ 116786 h 246276"/>
                    <a:gd name="connsiteX177" fmla="*/ 14507 w 152571"/>
                    <a:gd name="connsiteY177" fmla="*/ 114064 h 246276"/>
                    <a:gd name="connsiteX178" fmla="*/ 10839 w 152571"/>
                    <a:gd name="connsiteY178" fmla="*/ 111464 h 246276"/>
                    <a:gd name="connsiteX179" fmla="*/ 8247 w 152571"/>
                    <a:gd name="connsiteY179" fmla="*/ 108440 h 246276"/>
                    <a:gd name="connsiteX180" fmla="*/ 7571 w 152571"/>
                    <a:gd name="connsiteY180" fmla="*/ 106900 h 246276"/>
                    <a:gd name="connsiteX181" fmla="*/ 6740 w 152571"/>
                    <a:gd name="connsiteY181" fmla="*/ 104993 h 246276"/>
                    <a:gd name="connsiteX182" fmla="*/ 6300 w 152571"/>
                    <a:gd name="connsiteY182" fmla="*/ 102581 h 246276"/>
                    <a:gd name="connsiteX183" fmla="*/ 6935 w 152571"/>
                    <a:gd name="connsiteY183" fmla="*/ 101187 h 246276"/>
                    <a:gd name="connsiteX184" fmla="*/ 6422 w 152571"/>
                    <a:gd name="connsiteY184" fmla="*/ 98759 h 246276"/>
                    <a:gd name="connsiteX185" fmla="*/ 4743 w 152571"/>
                    <a:gd name="connsiteY185" fmla="*/ 95311 h 246276"/>
                    <a:gd name="connsiteX186" fmla="*/ 4034 w 152571"/>
                    <a:gd name="connsiteY186" fmla="*/ 92940 h 246276"/>
                    <a:gd name="connsiteX187" fmla="*/ 4197 w 152571"/>
                    <a:gd name="connsiteY187" fmla="*/ 92116 h 246276"/>
                    <a:gd name="connsiteX188" fmla="*/ 4385 w 152571"/>
                    <a:gd name="connsiteY188" fmla="*/ 91782 h 246276"/>
                    <a:gd name="connsiteX189" fmla="*/ 4360 w 152571"/>
                    <a:gd name="connsiteY189" fmla="*/ 86102 h 246276"/>
                    <a:gd name="connsiteX190" fmla="*/ 4344 w 152571"/>
                    <a:gd name="connsiteY190" fmla="*/ 80405 h 246276"/>
                    <a:gd name="connsiteX191" fmla="*/ 4319 w 152571"/>
                    <a:gd name="connsiteY191" fmla="*/ 74709 h 246276"/>
                    <a:gd name="connsiteX192" fmla="*/ 4295 w 152571"/>
                    <a:gd name="connsiteY192" fmla="*/ 69004 h 246276"/>
                    <a:gd name="connsiteX193" fmla="*/ 4279 w 152571"/>
                    <a:gd name="connsiteY193" fmla="*/ 63283 h 246276"/>
                    <a:gd name="connsiteX194" fmla="*/ 4262 w 152571"/>
                    <a:gd name="connsiteY194" fmla="*/ 57570 h 246276"/>
                    <a:gd name="connsiteX195" fmla="*/ 4238 w 152571"/>
                    <a:gd name="connsiteY195" fmla="*/ 51841 h 246276"/>
                    <a:gd name="connsiteX196" fmla="*/ 4222 w 152571"/>
                    <a:gd name="connsiteY196" fmla="*/ 46103 h 246276"/>
                    <a:gd name="connsiteX197" fmla="*/ 4197 w 152571"/>
                    <a:gd name="connsiteY197" fmla="*/ 40366 h 246276"/>
                    <a:gd name="connsiteX198" fmla="*/ 4181 w 152571"/>
                    <a:gd name="connsiteY198" fmla="*/ 34620 h 246276"/>
                    <a:gd name="connsiteX199" fmla="*/ 4156 w 152571"/>
                    <a:gd name="connsiteY199" fmla="*/ 28858 h 246276"/>
                    <a:gd name="connsiteX200" fmla="*/ 4140 w 152571"/>
                    <a:gd name="connsiteY200" fmla="*/ 23096 h 246276"/>
                    <a:gd name="connsiteX201" fmla="*/ 4116 w 152571"/>
                    <a:gd name="connsiteY201" fmla="*/ 17326 h 246276"/>
                    <a:gd name="connsiteX202" fmla="*/ 4099 w 152571"/>
                    <a:gd name="connsiteY202" fmla="*/ 11556 h 246276"/>
                    <a:gd name="connsiteX203" fmla="*/ 4083 w 152571"/>
                    <a:gd name="connsiteY203" fmla="*/ 5762 h 246276"/>
                    <a:gd name="connsiteX204" fmla="*/ 4034 w 152571"/>
                    <a:gd name="connsiteY204" fmla="*/ 0 h 246276"/>
                    <a:gd name="connsiteX205" fmla="*/ 12021 w 152571"/>
                    <a:gd name="connsiteY205" fmla="*/ 0 h 246276"/>
                    <a:gd name="connsiteX206" fmla="*/ 22599 w 152571"/>
                    <a:gd name="connsiteY206" fmla="*/ 0 h 246276"/>
                    <a:gd name="connsiteX207" fmla="*/ 28597 w 152571"/>
                    <a:gd name="connsiteY207" fmla="*/ 0 h 246276"/>
                    <a:gd name="connsiteX208" fmla="*/ 28606 w 152571"/>
                    <a:gd name="connsiteY208" fmla="*/ 8916 h 246276"/>
                    <a:gd name="connsiteX209" fmla="*/ 28597 w 152571"/>
                    <a:gd name="connsiteY209" fmla="*/ 17824 h 246276"/>
                    <a:gd name="connsiteX210" fmla="*/ 28589 w 152571"/>
                    <a:gd name="connsiteY210" fmla="*/ 26723 h 246276"/>
                    <a:gd name="connsiteX211" fmla="*/ 28589 w 152571"/>
                    <a:gd name="connsiteY211" fmla="*/ 35598 h 246276"/>
                    <a:gd name="connsiteX212" fmla="*/ 31262 w 152571"/>
                    <a:gd name="connsiteY212" fmla="*/ 39208 h 246276"/>
                    <a:gd name="connsiteX213" fmla="*/ 33226 w 152571"/>
                    <a:gd name="connsiteY213" fmla="*/ 41425 h 246276"/>
                    <a:gd name="connsiteX214" fmla="*/ 34490 w 152571"/>
                    <a:gd name="connsiteY214" fmla="*/ 43797 h 246276"/>
                    <a:gd name="connsiteX215" fmla="*/ 36413 w 152571"/>
                    <a:gd name="connsiteY215" fmla="*/ 46291 h 246276"/>
                    <a:gd name="connsiteX216" fmla="*/ 36788 w 152571"/>
                    <a:gd name="connsiteY216" fmla="*/ 47179 h 246276"/>
                    <a:gd name="connsiteX217" fmla="*/ 37472 w 152571"/>
                    <a:gd name="connsiteY217" fmla="*/ 49852 h 246276"/>
                    <a:gd name="connsiteX218" fmla="*/ 36975 w 152571"/>
                    <a:gd name="connsiteY218" fmla="*/ 51792 h 246276"/>
                    <a:gd name="connsiteX219" fmla="*/ 38002 w 152571"/>
                    <a:gd name="connsiteY219" fmla="*/ 53747 h 246276"/>
                    <a:gd name="connsiteX220" fmla="*/ 37823 w 152571"/>
                    <a:gd name="connsiteY220" fmla="*/ 54726 h 246276"/>
                    <a:gd name="connsiteX221" fmla="*/ 37049 w 152571"/>
                    <a:gd name="connsiteY221" fmla="*/ 55215 h 246276"/>
                    <a:gd name="connsiteX222" fmla="*/ 36886 w 152571"/>
                    <a:gd name="connsiteY222" fmla="*/ 55377 h 246276"/>
                    <a:gd name="connsiteX223" fmla="*/ 36918 w 152571"/>
                    <a:gd name="connsiteY223" fmla="*/ 55573 h 246276"/>
                    <a:gd name="connsiteX224" fmla="*/ 37187 w 152571"/>
                    <a:gd name="connsiteY224" fmla="*/ 55899 h 246276"/>
                    <a:gd name="connsiteX225" fmla="*/ 39893 w 152571"/>
                    <a:gd name="connsiteY225" fmla="*/ 57782 h 246276"/>
                    <a:gd name="connsiteX226" fmla="*/ 42558 w 152571"/>
                    <a:gd name="connsiteY226" fmla="*/ 60398 h 246276"/>
                    <a:gd name="connsiteX227" fmla="*/ 45940 w 152571"/>
                    <a:gd name="connsiteY227" fmla="*/ 62199 h 246276"/>
                    <a:gd name="connsiteX228" fmla="*/ 46999 w 152571"/>
                    <a:gd name="connsiteY228" fmla="*/ 63266 h 246276"/>
                    <a:gd name="connsiteX229" fmla="*/ 51474 w 152571"/>
                    <a:gd name="connsiteY229" fmla="*/ 68498 h 246276"/>
                    <a:gd name="connsiteX230" fmla="*/ 53780 w 152571"/>
                    <a:gd name="connsiteY230" fmla="*/ 71824 h 246276"/>
                    <a:gd name="connsiteX231" fmla="*/ 56209 w 152571"/>
                    <a:gd name="connsiteY231" fmla="*/ 74252 h 246276"/>
                    <a:gd name="connsiteX232" fmla="*/ 57415 w 152571"/>
                    <a:gd name="connsiteY232" fmla="*/ 77031 h 246276"/>
                    <a:gd name="connsiteX233" fmla="*/ 59917 w 152571"/>
                    <a:gd name="connsiteY233" fmla="*/ 79444 h 246276"/>
                    <a:gd name="connsiteX234" fmla="*/ 60544 w 152571"/>
                    <a:gd name="connsiteY234" fmla="*/ 80674 h 246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Lst>
                  <a:rect l="l" t="t" r="r" b="b"/>
                  <a:pathLst>
                    <a:path w="152571" h="246276">
                      <a:moveTo>
                        <a:pt x="60715" y="80943"/>
                      </a:moveTo>
                      <a:lnTo>
                        <a:pt x="61050" y="80976"/>
                      </a:lnTo>
                      <a:lnTo>
                        <a:pt x="62598" y="80389"/>
                      </a:lnTo>
                      <a:lnTo>
                        <a:pt x="63006" y="80560"/>
                      </a:lnTo>
                      <a:lnTo>
                        <a:pt x="63772" y="81514"/>
                      </a:lnTo>
                      <a:lnTo>
                        <a:pt x="63935" y="82964"/>
                      </a:lnTo>
                      <a:lnTo>
                        <a:pt x="64489" y="83584"/>
                      </a:lnTo>
                      <a:lnTo>
                        <a:pt x="65450" y="83934"/>
                      </a:lnTo>
                      <a:lnTo>
                        <a:pt x="66543" y="84024"/>
                      </a:lnTo>
                      <a:lnTo>
                        <a:pt x="69965" y="83323"/>
                      </a:lnTo>
                      <a:lnTo>
                        <a:pt x="70707" y="83323"/>
                      </a:lnTo>
                      <a:lnTo>
                        <a:pt x="71057" y="83624"/>
                      </a:lnTo>
                      <a:lnTo>
                        <a:pt x="71221" y="84391"/>
                      </a:lnTo>
                      <a:lnTo>
                        <a:pt x="71172" y="85670"/>
                      </a:lnTo>
                      <a:lnTo>
                        <a:pt x="70829" y="87479"/>
                      </a:lnTo>
                      <a:lnTo>
                        <a:pt x="69811" y="89272"/>
                      </a:lnTo>
                      <a:lnTo>
                        <a:pt x="69982" y="90935"/>
                      </a:lnTo>
                      <a:lnTo>
                        <a:pt x="69175" y="94814"/>
                      </a:lnTo>
                      <a:lnTo>
                        <a:pt x="68393" y="97397"/>
                      </a:lnTo>
                      <a:lnTo>
                        <a:pt x="68335" y="99924"/>
                      </a:lnTo>
                      <a:lnTo>
                        <a:pt x="67374" y="101375"/>
                      </a:lnTo>
                      <a:lnTo>
                        <a:pt x="67920" y="103086"/>
                      </a:lnTo>
                      <a:lnTo>
                        <a:pt x="67545" y="105710"/>
                      </a:lnTo>
                      <a:lnTo>
                        <a:pt x="67879" y="106387"/>
                      </a:lnTo>
                      <a:lnTo>
                        <a:pt x="69093" y="107601"/>
                      </a:lnTo>
                      <a:lnTo>
                        <a:pt x="69566" y="110820"/>
                      </a:lnTo>
                      <a:lnTo>
                        <a:pt x="69362" y="111415"/>
                      </a:lnTo>
                      <a:lnTo>
                        <a:pt x="67195" y="112662"/>
                      </a:lnTo>
                      <a:lnTo>
                        <a:pt x="66453" y="113501"/>
                      </a:lnTo>
                      <a:lnTo>
                        <a:pt x="66176" y="114675"/>
                      </a:lnTo>
                      <a:lnTo>
                        <a:pt x="67113" y="118057"/>
                      </a:lnTo>
                      <a:lnTo>
                        <a:pt x="66208" y="119923"/>
                      </a:lnTo>
                      <a:lnTo>
                        <a:pt x="66086" y="121521"/>
                      </a:lnTo>
                      <a:lnTo>
                        <a:pt x="66282" y="121936"/>
                      </a:lnTo>
                      <a:lnTo>
                        <a:pt x="68287" y="122800"/>
                      </a:lnTo>
                      <a:lnTo>
                        <a:pt x="70715" y="124707"/>
                      </a:lnTo>
                      <a:lnTo>
                        <a:pt x="71498" y="125107"/>
                      </a:lnTo>
                      <a:lnTo>
                        <a:pt x="72027" y="125041"/>
                      </a:lnTo>
                      <a:lnTo>
                        <a:pt x="73054" y="124406"/>
                      </a:lnTo>
                      <a:lnTo>
                        <a:pt x="74195" y="123110"/>
                      </a:lnTo>
                      <a:lnTo>
                        <a:pt x="76518" y="121814"/>
                      </a:lnTo>
                      <a:lnTo>
                        <a:pt x="79256" y="119027"/>
                      </a:lnTo>
                      <a:lnTo>
                        <a:pt x="79395" y="118244"/>
                      </a:lnTo>
                      <a:lnTo>
                        <a:pt x="79615" y="117813"/>
                      </a:lnTo>
                      <a:lnTo>
                        <a:pt x="79957" y="117829"/>
                      </a:lnTo>
                      <a:lnTo>
                        <a:pt x="80837" y="118212"/>
                      </a:lnTo>
                      <a:lnTo>
                        <a:pt x="82565" y="119899"/>
                      </a:lnTo>
                      <a:lnTo>
                        <a:pt x="84056" y="120836"/>
                      </a:lnTo>
                      <a:lnTo>
                        <a:pt x="84317" y="121048"/>
                      </a:lnTo>
                      <a:lnTo>
                        <a:pt x="84456" y="121513"/>
                      </a:lnTo>
                      <a:lnTo>
                        <a:pt x="84382" y="123191"/>
                      </a:lnTo>
                      <a:lnTo>
                        <a:pt x="85214" y="124520"/>
                      </a:lnTo>
                      <a:lnTo>
                        <a:pt x="85458" y="126688"/>
                      </a:lnTo>
                      <a:lnTo>
                        <a:pt x="86306" y="128847"/>
                      </a:lnTo>
                      <a:lnTo>
                        <a:pt x="86925" y="131463"/>
                      </a:lnTo>
                      <a:lnTo>
                        <a:pt x="89166" y="134837"/>
                      </a:lnTo>
                      <a:lnTo>
                        <a:pt x="90389" y="137250"/>
                      </a:lnTo>
                      <a:lnTo>
                        <a:pt x="91725" y="138342"/>
                      </a:lnTo>
                      <a:lnTo>
                        <a:pt x="92532" y="139621"/>
                      </a:lnTo>
                      <a:lnTo>
                        <a:pt x="93127" y="141153"/>
                      </a:lnTo>
                      <a:lnTo>
                        <a:pt x="93347" y="142384"/>
                      </a:lnTo>
                      <a:lnTo>
                        <a:pt x="92573" y="144625"/>
                      </a:lnTo>
                      <a:lnTo>
                        <a:pt x="92785" y="145554"/>
                      </a:lnTo>
                      <a:lnTo>
                        <a:pt x="93494" y="146589"/>
                      </a:lnTo>
                      <a:lnTo>
                        <a:pt x="95808" y="148904"/>
                      </a:lnTo>
                      <a:lnTo>
                        <a:pt x="96265" y="149091"/>
                      </a:lnTo>
                      <a:lnTo>
                        <a:pt x="98400" y="148839"/>
                      </a:lnTo>
                      <a:lnTo>
                        <a:pt x="99565" y="149230"/>
                      </a:lnTo>
                      <a:lnTo>
                        <a:pt x="100722" y="150395"/>
                      </a:lnTo>
                      <a:lnTo>
                        <a:pt x="101904" y="152147"/>
                      </a:lnTo>
                      <a:lnTo>
                        <a:pt x="102662" y="153908"/>
                      </a:lnTo>
                      <a:lnTo>
                        <a:pt x="102866" y="156002"/>
                      </a:lnTo>
                      <a:lnTo>
                        <a:pt x="104056" y="158317"/>
                      </a:lnTo>
                      <a:lnTo>
                        <a:pt x="104219" y="160371"/>
                      </a:lnTo>
                      <a:lnTo>
                        <a:pt x="104952" y="161267"/>
                      </a:lnTo>
                      <a:lnTo>
                        <a:pt x="106435" y="162498"/>
                      </a:lnTo>
                      <a:lnTo>
                        <a:pt x="107837" y="163231"/>
                      </a:lnTo>
                      <a:lnTo>
                        <a:pt x="108391" y="163288"/>
                      </a:lnTo>
                      <a:lnTo>
                        <a:pt x="108791" y="162970"/>
                      </a:lnTo>
                      <a:lnTo>
                        <a:pt x="108921" y="161846"/>
                      </a:lnTo>
                      <a:lnTo>
                        <a:pt x="109492" y="160965"/>
                      </a:lnTo>
                      <a:lnTo>
                        <a:pt x="111260" y="159751"/>
                      </a:lnTo>
                      <a:lnTo>
                        <a:pt x="112939" y="159784"/>
                      </a:lnTo>
                      <a:lnTo>
                        <a:pt x="119271" y="160794"/>
                      </a:lnTo>
                      <a:lnTo>
                        <a:pt x="119711" y="160729"/>
                      </a:lnTo>
                      <a:lnTo>
                        <a:pt x="119988" y="160395"/>
                      </a:lnTo>
                      <a:lnTo>
                        <a:pt x="121081" y="158520"/>
                      </a:lnTo>
                      <a:lnTo>
                        <a:pt x="121944" y="157795"/>
                      </a:lnTo>
                      <a:lnTo>
                        <a:pt x="123281" y="157559"/>
                      </a:lnTo>
                      <a:lnTo>
                        <a:pt x="127177" y="158015"/>
                      </a:lnTo>
                      <a:lnTo>
                        <a:pt x="131692" y="157763"/>
                      </a:lnTo>
                      <a:lnTo>
                        <a:pt x="134047" y="158292"/>
                      </a:lnTo>
                      <a:lnTo>
                        <a:pt x="137470" y="157600"/>
                      </a:lnTo>
                      <a:lnTo>
                        <a:pt x="141422" y="158113"/>
                      </a:lnTo>
                      <a:lnTo>
                        <a:pt x="141928" y="157803"/>
                      </a:lnTo>
                      <a:lnTo>
                        <a:pt x="142050" y="157420"/>
                      </a:lnTo>
                      <a:lnTo>
                        <a:pt x="141691" y="156719"/>
                      </a:lnTo>
                      <a:lnTo>
                        <a:pt x="141634" y="155342"/>
                      </a:lnTo>
                      <a:lnTo>
                        <a:pt x="142433" y="153704"/>
                      </a:lnTo>
                      <a:lnTo>
                        <a:pt x="142702" y="152294"/>
                      </a:lnTo>
                      <a:lnTo>
                        <a:pt x="143509" y="151512"/>
                      </a:lnTo>
                      <a:lnTo>
                        <a:pt x="144576" y="151064"/>
                      </a:lnTo>
                      <a:lnTo>
                        <a:pt x="145448" y="151120"/>
                      </a:lnTo>
                      <a:lnTo>
                        <a:pt x="146271" y="151870"/>
                      </a:lnTo>
                      <a:lnTo>
                        <a:pt x="147241" y="153117"/>
                      </a:lnTo>
                      <a:lnTo>
                        <a:pt x="148920" y="156516"/>
                      </a:lnTo>
                      <a:lnTo>
                        <a:pt x="149825" y="157730"/>
                      </a:lnTo>
                      <a:lnTo>
                        <a:pt x="150909" y="158798"/>
                      </a:lnTo>
                      <a:lnTo>
                        <a:pt x="152539" y="159719"/>
                      </a:lnTo>
                      <a:lnTo>
                        <a:pt x="152547" y="165171"/>
                      </a:lnTo>
                      <a:lnTo>
                        <a:pt x="152547" y="170623"/>
                      </a:lnTo>
                      <a:lnTo>
                        <a:pt x="152547" y="176067"/>
                      </a:lnTo>
                      <a:lnTo>
                        <a:pt x="152547" y="181495"/>
                      </a:lnTo>
                      <a:lnTo>
                        <a:pt x="152547" y="186922"/>
                      </a:lnTo>
                      <a:lnTo>
                        <a:pt x="152547" y="192350"/>
                      </a:lnTo>
                      <a:lnTo>
                        <a:pt x="152555" y="197770"/>
                      </a:lnTo>
                      <a:lnTo>
                        <a:pt x="152555" y="203181"/>
                      </a:lnTo>
                      <a:lnTo>
                        <a:pt x="152555" y="208584"/>
                      </a:lnTo>
                      <a:lnTo>
                        <a:pt x="152555" y="213988"/>
                      </a:lnTo>
                      <a:lnTo>
                        <a:pt x="152563" y="219383"/>
                      </a:lnTo>
                      <a:lnTo>
                        <a:pt x="152563" y="224770"/>
                      </a:lnTo>
                      <a:lnTo>
                        <a:pt x="152563" y="230148"/>
                      </a:lnTo>
                      <a:lnTo>
                        <a:pt x="152563" y="235527"/>
                      </a:lnTo>
                      <a:lnTo>
                        <a:pt x="152571" y="240898"/>
                      </a:lnTo>
                      <a:lnTo>
                        <a:pt x="152571" y="246269"/>
                      </a:lnTo>
                      <a:lnTo>
                        <a:pt x="147934" y="246269"/>
                      </a:lnTo>
                      <a:lnTo>
                        <a:pt x="143289" y="246269"/>
                      </a:lnTo>
                      <a:lnTo>
                        <a:pt x="138651" y="246269"/>
                      </a:lnTo>
                      <a:lnTo>
                        <a:pt x="134014" y="246261"/>
                      </a:lnTo>
                      <a:lnTo>
                        <a:pt x="129385" y="246261"/>
                      </a:lnTo>
                      <a:lnTo>
                        <a:pt x="124740" y="246261"/>
                      </a:lnTo>
                      <a:lnTo>
                        <a:pt x="120103" y="246261"/>
                      </a:lnTo>
                      <a:lnTo>
                        <a:pt x="115465" y="246261"/>
                      </a:lnTo>
                      <a:lnTo>
                        <a:pt x="110820" y="246261"/>
                      </a:lnTo>
                      <a:lnTo>
                        <a:pt x="106183" y="246261"/>
                      </a:lnTo>
                      <a:lnTo>
                        <a:pt x="101546" y="246261"/>
                      </a:lnTo>
                      <a:lnTo>
                        <a:pt x="96908" y="246261"/>
                      </a:lnTo>
                      <a:lnTo>
                        <a:pt x="92271" y="246261"/>
                      </a:lnTo>
                      <a:lnTo>
                        <a:pt x="87634" y="246261"/>
                      </a:lnTo>
                      <a:lnTo>
                        <a:pt x="82997" y="246261"/>
                      </a:lnTo>
                      <a:lnTo>
                        <a:pt x="78352" y="246261"/>
                      </a:lnTo>
                      <a:lnTo>
                        <a:pt x="69134" y="246261"/>
                      </a:lnTo>
                      <a:lnTo>
                        <a:pt x="59917" y="246261"/>
                      </a:lnTo>
                      <a:lnTo>
                        <a:pt x="50691" y="246269"/>
                      </a:lnTo>
                      <a:lnTo>
                        <a:pt x="41474" y="246269"/>
                      </a:lnTo>
                      <a:lnTo>
                        <a:pt x="32257" y="246269"/>
                      </a:lnTo>
                      <a:lnTo>
                        <a:pt x="23031" y="246269"/>
                      </a:lnTo>
                      <a:lnTo>
                        <a:pt x="13806" y="246277"/>
                      </a:lnTo>
                      <a:lnTo>
                        <a:pt x="4596" y="246277"/>
                      </a:lnTo>
                      <a:lnTo>
                        <a:pt x="4580" y="238608"/>
                      </a:lnTo>
                      <a:lnTo>
                        <a:pt x="4572" y="230923"/>
                      </a:lnTo>
                      <a:lnTo>
                        <a:pt x="4556" y="223229"/>
                      </a:lnTo>
                      <a:lnTo>
                        <a:pt x="4548" y="215520"/>
                      </a:lnTo>
                      <a:lnTo>
                        <a:pt x="4531" y="207802"/>
                      </a:lnTo>
                      <a:lnTo>
                        <a:pt x="4523" y="200076"/>
                      </a:lnTo>
                      <a:lnTo>
                        <a:pt x="4515" y="192326"/>
                      </a:lnTo>
                      <a:lnTo>
                        <a:pt x="4507" y="183793"/>
                      </a:lnTo>
                      <a:lnTo>
                        <a:pt x="4499" y="183630"/>
                      </a:lnTo>
                      <a:lnTo>
                        <a:pt x="6055" y="178373"/>
                      </a:lnTo>
                      <a:lnTo>
                        <a:pt x="6398" y="175814"/>
                      </a:lnTo>
                      <a:lnTo>
                        <a:pt x="5982" y="174372"/>
                      </a:lnTo>
                      <a:lnTo>
                        <a:pt x="6251" y="172978"/>
                      </a:lnTo>
                      <a:lnTo>
                        <a:pt x="7204" y="171642"/>
                      </a:lnTo>
                      <a:lnTo>
                        <a:pt x="7172" y="170175"/>
                      </a:lnTo>
                      <a:lnTo>
                        <a:pt x="6161" y="168577"/>
                      </a:lnTo>
                      <a:lnTo>
                        <a:pt x="4287" y="167518"/>
                      </a:lnTo>
                      <a:lnTo>
                        <a:pt x="1540" y="167004"/>
                      </a:lnTo>
                      <a:lnTo>
                        <a:pt x="114" y="165138"/>
                      </a:lnTo>
                      <a:lnTo>
                        <a:pt x="0" y="161903"/>
                      </a:lnTo>
                      <a:lnTo>
                        <a:pt x="2054" y="156948"/>
                      </a:lnTo>
                      <a:lnTo>
                        <a:pt x="6267" y="150232"/>
                      </a:lnTo>
                      <a:lnTo>
                        <a:pt x="8574" y="145473"/>
                      </a:lnTo>
                      <a:lnTo>
                        <a:pt x="8981" y="142702"/>
                      </a:lnTo>
                      <a:lnTo>
                        <a:pt x="11524" y="136247"/>
                      </a:lnTo>
                      <a:lnTo>
                        <a:pt x="16185" y="126125"/>
                      </a:lnTo>
                      <a:lnTo>
                        <a:pt x="17978" y="119630"/>
                      </a:lnTo>
                      <a:lnTo>
                        <a:pt x="16886" y="116786"/>
                      </a:lnTo>
                      <a:lnTo>
                        <a:pt x="14507" y="114064"/>
                      </a:lnTo>
                      <a:lnTo>
                        <a:pt x="10839" y="111464"/>
                      </a:lnTo>
                      <a:lnTo>
                        <a:pt x="8247" y="108440"/>
                      </a:lnTo>
                      <a:lnTo>
                        <a:pt x="7571" y="106900"/>
                      </a:lnTo>
                      <a:lnTo>
                        <a:pt x="6740" y="104993"/>
                      </a:lnTo>
                      <a:lnTo>
                        <a:pt x="6300" y="102581"/>
                      </a:lnTo>
                      <a:lnTo>
                        <a:pt x="6935" y="101187"/>
                      </a:lnTo>
                      <a:lnTo>
                        <a:pt x="6422" y="98759"/>
                      </a:lnTo>
                      <a:lnTo>
                        <a:pt x="4743" y="95311"/>
                      </a:lnTo>
                      <a:lnTo>
                        <a:pt x="4034" y="92940"/>
                      </a:lnTo>
                      <a:lnTo>
                        <a:pt x="4197" y="92116"/>
                      </a:lnTo>
                      <a:lnTo>
                        <a:pt x="4385" y="91782"/>
                      </a:lnTo>
                      <a:lnTo>
                        <a:pt x="4360" y="86102"/>
                      </a:lnTo>
                      <a:lnTo>
                        <a:pt x="4344" y="80405"/>
                      </a:lnTo>
                      <a:lnTo>
                        <a:pt x="4319" y="74709"/>
                      </a:lnTo>
                      <a:lnTo>
                        <a:pt x="4295" y="69004"/>
                      </a:lnTo>
                      <a:lnTo>
                        <a:pt x="4279" y="63283"/>
                      </a:lnTo>
                      <a:lnTo>
                        <a:pt x="4262" y="57570"/>
                      </a:lnTo>
                      <a:lnTo>
                        <a:pt x="4238" y="51841"/>
                      </a:lnTo>
                      <a:lnTo>
                        <a:pt x="4222" y="46103"/>
                      </a:lnTo>
                      <a:lnTo>
                        <a:pt x="4197" y="40366"/>
                      </a:lnTo>
                      <a:lnTo>
                        <a:pt x="4181" y="34620"/>
                      </a:lnTo>
                      <a:lnTo>
                        <a:pt x="4156" y="28858"/>
                      </a:lnTo>
                      <a:lnTo>
                        <a:pt x="4140" y="23096"/>
                      </a:lnTo>
                      <a:lnTo>
                        <a:pt x="4116" y="17326"/>
                      </a:lnTo>
                      <a:lnTo>
                        <a:pt x="4099" y="11556"/>
                      </a:lnTo>
                      <a:lnTo>
                        <a:pt x="4083" y="5762"/>
                      </a:lnTo>
                      <a:lnTo>
                        <a:pt x="4034" y="0"/>
                      </a:lnTo>
                      <a:lnTo>
                        <a:pt x="12021" y="0"/>
                      </a:lnTo>
                      <a:lnTo>
                        <a:pt x="22599" y="0"/>
                      </a:lnTo>
                      <a:lnTo>
                        <a:pt x="28597" y="0"/>
                      </a:lnTo>
                      <a:lnTo>
                        <a:pt x="28606" y="8916"/>
                      </a:lnTo>
                      <a:lnTo>
                        <a:pt x="28597" y="17824"/>
                      </a:lnTo>
                      <a:lnTo>
                        <a:pt x="28589" y="26723"/>
                      </a:lnTo>
                      <a:lnTo>
                        <a:pt x="28589" y="35598"/>
                      </a:lnTo>
                      <a:lnTo>
                        <a:pt x="31262" y="39208"/>
                      </a:lnTo>
                      <a:lnTo>
                        <a:pt x="33226" y="41425"/>
                      </a:lnTo>
                      <a:lnTo>
                        <a:pt x="34490" y="43797"/>
                      </a:lnTo>
                      <a:lnTo>
                        <a:pt x="36413" y="46291"/>
                      </a:lnTo>
                      <a:lnTo>
                        <a:pt x="36788" y="47179"/>
                      </a:lnTo>
                      <a:lnTo>
                        <a:pt x="37472" y="49852"/>
                      </a:lnTo>
                      <a:lnTo>
                        <a:pt x="36975" y="51792"/>
                      </a:lnTo>
                      <a:lnTo>
                        <a:pt x="38002" y="53747"/>
                      </a:lnTo>
                      <a:lnTo>
                        <a:pt x="37823" y="54726"/>
                      </a:lnTo>
                      <a:lnTo>
                        <a:pt x="37049" y="55215"/>
                      </a:lnTo>
                      <a:lnTo>
                        <a:pt x="36886" y="55377"/>
                      </a:lnTo>
                      <a:lnTo>
                        <a:pt x="36918" y="55573"/>
                      </a:lnTo>
                      <a:lnTo>
                        <a:pt x="37187" y="55899"/>
                      </a:lnTo>
                      <a:lnTo>
                        <a:pt x="39893" y="57782"/>
                      </a:lnTo>
                      <a:lnTo>
                        <a:pt x="42558" y="60398"/>
                      </a:lnTo>
                      <a:lnTo>
                        <a:pt x="45940" y="62199"/>
                      </a:lnTo>
                      <a:lnTo>
                        <a:pt x="46999" y="63266"/>
                      </a:lnTo>
                      <a:lnTo>
                        <a:pt x="51474" y="68498"/>
                      </a:lnTo>
                      <a:lnTo>
                        <a:pt x="53780" y="71824"/>
                      </a:lnTo>
                      <a:lnTo>
                        <a:pt x="56209" y="74252"/>
                      </a:lnTo>
                      <a:lnTo>
                        <a:pt x="57415" y="77031"/>
                      </a:lnTo>
                      <a:lnTo>
                        <a:pt x="59917" y="79444"/>
                      </a:lnTo>
                      <a:lnTo>
                        <a:pt x="60544" y="80674"/>
                      </a:lnTo>
                      <a:close/>
                    </a:path>
                  </a:pathLst>
                </a:custGeom>
                <a:solidFill>
                  <a:srgbClr val="D6D6D2"/>
                </a:solidFill>
                <a:ln w="6112" cap="rnd">
                  <a:solidFill>
                    <a:srgbClr val="FFFFFF"/>
                  </a:solidFill>
                  <a:prstDash val="solid"/>
                  <a:round/>
                </a:ln>
              </p:spPr>
              <p:txBody>
                <a:bodyPr rtlCol="0" anchor="ctr"/>
                <a:lstStyle/>
                <a:p>
                  <a:endParaRPr lang="en-US"/>
                </a:p>
              </p:txBody>
            </p:sp>
            <p:sp>
              <p:nvSpPr>
                <p:cNvPr id="461" name="Freeform: Shape 460">
                  <a:extLst>
                    <a:ext uri="{FF2B5EF4-FFF2-40B4-BE49-F238E27FC236}">
                      <a16:creationId xmlns:a16="http://schemas.microsoft.com/office/drawing/2014/main" id="{8CEBB779-E6F6-4712-AA61-939EEF6FD453}"/>
                    </a:ext>
                  </a:extLst>
                </p:cNvPr>
                <p:cNvSpPr/>
                <p:nvPr/>
              </p:nvSpPr>
              <p:spPr>
                <a:xfrm>
                  <a:off x="3547065" y="3155692"/>
                  <a:ext cx="160655" cy="107234"/>
                </a:xfrm>
                <a:custGeom>
                  <a:avLst/>
                  <a:gdLst>
                    <a:gd name="connsiteX0" fmla="*/ 134226 w 160655"/>
                    <a:gd name="connsiteY0" fmla="*/ 98049 h 107234"/>
                    <a:gd name="connsiteX1" fmla="*/ 131154 w 160655"/>
                    <a:gd name="connsiteY1" fmla="*/ 99598 h 107234"/>
                    <a:gd name="connsiteX2" fmla="*/ 129784 w 160655"/>
                    <a:gd name="connsiteY2" fmla="*/ 101888 h 107234"/>
                    <a:gd name="connsiteX3" fmla="*/ 130119 w 160655"/>
                    <a:gd name="connsiteY3" fmla="*/ 104920 h 107234"/>
                    <a:gd name="connsiteX4" fmla="*/ 129866 w 160655"/>
                    <a:gd name="connsiteY4" fmla="*/ 106631 h 107234"/>
                    <a:gd name="connsiteX5" fmla="*/ 128595 w 160655"/>
                    <a:gd name="connsiteY5" fmla="*/ 107234 h 107234"/>
                    <a:gd name="connsiteX6" fmla="*/ 126419 w 160655"/>
                    <a:gd name="connsiteY6" fmla="*/ 105441 h 107234"/>
                    <a:gd name="connsiteX7" fmla="*/ 126027 w 160655"/>
                    <a:gd name="connsiteY7" fmla="*/ 104186 h 107234"/>
                    <a:gd name="connsiteX8" fmla="*/ 124259 w 160655"/>
                    <a:gd name="connsiteY8" fmla="*/ 102907 h 107234"/>
                    <a:gd name="connsiteX9" fmla="*/ 123998 w 160655"/>
                    <a:gd name="connsiteY9" fmla="*/ 102092 h 107234"/>
                    <a:gd name="connsiteX10" fmla="*/ 122645 w 160655"/>
                    <a:gd name="connsiteY10" fmla="*/ 101374 h 107234"/>
                    <a:gd name="connsiteX11" fmla="*/ 121415 w 160655"/>
                    <a:gd name="connsiteY11" fmla="*/ 98897 h 107234"/>
                    <a:gd name="connsiteX12" fmla="*/ 115156 w 160655"/>
                    <a:gd name="connsiteY12" fmla="*/ 98946 h 107234"/>
                    <a:gd name="connsiteX13" fmla="*/ 108905 w 160655"/>
                    <a:gd name="connsiteY13" fmla="*/ 98995 h 107234"/>
                    <a:gd name="connsiteX14" fmla="*/ 102646 w 160655"/>
                    <a:gd name="connsiteY14" fmla="*/ 99044 h 107234"/>
                    <a:gd name="connsiteX15" fmla="*/ 96387 w 160655"/>
                    <a:gd name="connsiteY15" fmla="*/ 99093 h 107234"/>
                    <a:gd name="connsiteX16" fmla="*/ 90136 w 160655"/>
                    <a:gd name="connsiteY16" fmla="*/ 99141 h 107234"/>
                    <a:gd name="connsiteX17" fmla="*/ 83877 w 160655"/>
                    <a:gd name="connsiteY17" fmla="*/ 99199 h 107234"/>
                    <a:gd name="connsiteX18" fmla="*/ 77618 w 160655"/>
                    <a:gd name="connsiteY18" fmla="*/ 99239 h 107234"/>
                    <a:gd name="connsiteX19" fmla="*/ 71359 w 160655"/>
                    <a:gd name="connsiteY19" fmla="*/ 99288 h 107234"/>
                    <a:gd name="connsiteX20" fmla="*/ 65108 w 160655"/>
                    <a:gd name="connsiteY20" fmla="*/ 99345 h 107234"/>
                    <a:gd name="connsiteX21" fmla="*/ 58849 w 160655"/>
                    <a:gd name="connsiteY21" fmla="*/ 99386 h 107234"/>
                    <a:gd name="connsiteX22" fmla="*/ 52590 w 160655"/>
                    <a:gd name="connsiteY22" fmla="*/ 99443 h 107234"/>
                    <a:gd name="connsiteX23" fmla="*/ 46339 w 160655"/>
                    <a:gd name="connsiteY23" fmla="*/ 99492 h 107234"/>
                    <a:gd name="connsiteX24" fmla="*/ 40080 w 160655"/>
                    <a:gd name="connsiteY24" fmla="*/ 99541 h 107234"/>
                    <a:gd name="connsiteX25" fmla="*/ 33821 w 160655"/>
                    <a:gd name="connsiteY25" fmla="*/ 99582 h 107234"/>
                    <a:gd name="connsiteX26" fmla="*/ 27571 w 160655"/>
                    <a:gd name="connsiteY26" fmla="*/ 99639 h 107234"/>
                    <a:gd name="connsiteX27" fmla="*/ 21369 w 160655"/>
                    <a:gd name="connsiteY27" fmla="*/ 99671 h 107234"/>
                    <a:gd name="connsiteX28" fmla="*/ 19861 w 160655"/>
                    <a:gd name="connsiteY28" fmla="*/ 97145 h 107234"/>
                    <a:gd name="connsiteX29" fmla="*/ 19046 w 160655"/>
                    <a:gd name="connsiteY29" fmla="*/ 94798 h 107234"/>
                    <a:gd name="connsiteX30" fmla="*/ 19559 w 160655"/>
                    <a:gd name="connsiteY30" fmla="*/ 93681 h 107234"/>
                    <a:gd name="connsiteX31" fmla="*/ 19665 w 160655"/>
                    <a:gd name="connsiteY31" fmla="*/ 89875 h 107234"/>
                    <a:gd name="connsiteX32" fmla="*/ 19356 w 160655"/>
                    <a:gd name="connsiteY32" fmla="*/ 83364 h 107234"/>
                    <a:gd name="connsiteX33" fmla="*/ 18752 w 160655"/>
                    <a:gd name="connsiteY33" fmla="*/ 79696 h 107234"/>
                    <a:gd name="connsiteX34" fmla="*/ 17856 w 160655"/>
                    <a:gd name="connsiteY34" fmla="*/ 78873 h 107234"/>
                    <a:gd name="connsiteX35" fmla="*/ 17750 w 160655"/>
                    <a:gd name="connsiteY35" fmla="*/ 77732 h 107234"/>
                    <a:gd name="connsiteX36" fmla="*/ 18435 w 160655"/>
                    <a:gd name="connsiteY36" fmla="*/ 76282 h 107234"/>
                    <a:gd name="connsiteX37" fmla="*/ 18231 w 160655"/>
                    <a:gd name="connsiteY37" fmla="*/ 75303 h 107234"/>
                    <a:gd name="connsiteX38" fmla="*/ 17139 w 160655"/>
                    <a:gd name="connsiteY38" fmla="*/ 74798 h 107234"/>
                    <a:gd name="connsiteX39" fmla="*/ 16797 w 160655"/>
                    <a:gd name="connsiteY39" fmla="*/ 73551 h 107234"/>
                    <a:gd name="connsiteX40" fmla="*/ 17212 w 160655"/>
                    <a:gd name="connsiteY40" fmla="*/ 71563 h 107234"/>
                    <a:gd name="connsiteX41" fmla="*/ 16951 w 160655"/>
                    <a:gd name="connsiteY41" fmla="*/ 70348 h 107234"/>
                    <a:gd name="connsiteX42" fmla="*/ 16006 w 160655"/>
                    <a:gd name="connsiteY42" fmla="*/ 69908 h 107234"/>
                    <a:gd name="connsiteX43" fmla="*/ 15615 w 160655"/>
                    <a:gd name="connsiteY43" fmla="*/ 69232 h 107234"/>
                    <a:gd name="connsiteX44" fmla="*/ 15770 w 160655"/>
                    <a:gd name="connsiteY44" fmla="*/ 68311 h 107234"/>
                    <a:gd name="connsiteX45" fmla="*/ 15264 w 160655"/>
                    <a:gd name="connsiteY45" fmla="*/ 67716 h 107234"/>
                    <a:gd name="connsiteX46" fmla="*/ 14091 w 160655"/>
                    <a:gd name="connsiteY46" fmla="*/ 67447 h 107234"/>
                    <a:gd name="connsiteX47" fmla="*/ 13618 w 160655"/>
                    <a:gd name="connsiteY47" fmla="*/ 65206 h 107234"/>
                    <a:gd name="connsiteX48" fmla="*/ 13846 w 160655"/>
                    <a:gd name="connsiteY48" fmla="*/ 60984 h 107234"/>
                    <a:gd name="connsiteX49" fmla="*/ 13398 w 160655"/>
                    <a:gd name="connsiteY49" fmla="*/ 57993 h 107234"/>
                    <a:gd name="connsiteX50" fmla="*/ 12290 w 160655"/>
                    <a:gd name="connsiteY50" fmla="*/ 56249 h 107234"/>
                    <a:gd name="connsiteX51" fmla="*/ 11736 w 160655"/>
                    <a:gd name="connsiteY51" fmla="*/ 54603 h 107234"/>
                    <a:gd name="connsiteX52" fmla="*/ 11719 w 160655"/>
                    <a:gd name="connsiteY52" fmla="*/ 53063 h 107234"/>
                    <a:gd name="connsiteX53" fmla="*/ 10554 w 160655"/>
                    <a:gd name="connsiteY53" fmla="*/ 50626 h 107234"/>
                    <a:gd name="connsiteX54" fmla="*/ 8223 w 160655"/>
                    <a:gd name="connsiteY54" fmla="*/ 47301 h 107234"/>
                    <a:gd name="connsiteX55" fmla="*/ 6715 w 160655"/>
                    <a:gd name="connsiteY55" fmla="*/ 42925 h 107234"/>
                    <a:gd name="connsiteX56" fmla="*/ 6031 w 160655"/>
                    <a:gd name="connsiteY56" fmla="*/ 37497 h 107234"/>
                    <a:gd name="connsiteX57" fmla="*/ 4360 w 160655"/>
                    <a:gd name="connsiteY57" fmla="*/ 34457 h 107234"/>
                    <a:gd name="connsiteX58" fmla="*/ 3618 w 160655"/>
                    <a:gd name="connsiteY58" fmla="*/ 34278 h 107234"/>
                    <a:gd name="connsiteX59" fmla="*/ 2991 w 160655"/>
                    <a:gd name="connsiteY59" fmla="*/ 31442 h 107234"/>
                    <a:gd name="connsiteX60" fmla="*/ 2314 w 160655"/>
                    <a:gd name="connsiteY60" fmla="*/ 30178 h 107234"/>
                    <a:gd name="connsiteX61" fmla="*/ 2184 w 160655"/>
                    <a:gd name="connsiteY61" fmla="*/ 29200 h 107234"/>
                    <a:gd name="connsiteX62" fmla="*/ 122 w 160655"/>
                    <a:gd name="connsiteY62" fmla="*/ 26747 h 107234"/>
                    <a:gd name="connsiteX63" fmla="*/ 0 w 160655"/>
                    <a:gd name="connsiteY63" fmla="*/ 25794 h 107234"/>
                    <a:gd name="connsiteX64" fmla="*/ 269 w 160655"/>
                    <a:gd name="connsiteY64" fmla="*/ 24612 h 107234"/>
                    <a:gd name="connsiteX65" fmla="*/ 1597 w 160655"/>
                    <a:gd name="connsiteY65" fmla="*/ 22290 h 107234"/>
                    <a:gd name="connsiteX66" fmla="*/ 2820 w 160655"/>
                    <a:gd name="connsiteY66" fmla="*/ 18475 h 107234"/>
                    <a:gd name="connsiteX67" fmla="*/ 3097 w 160655"/>
                    <a:gd name="connsiteY67" fmla="*/ 15900 h 107234"/>
                    <a:gd name="connsiteX68" fmla="*/ 4075 w 160655"/>
                    <a:gd name="connsiteY68" fmla="*/ 13969 h 107234"/>
                    <a:gd name="connsiteX69" fmla="*/ 4107 w 160655"/>
                    <a:gd name="connsiteY69" fmla="*/ 12909 h 107234"/>
                    <a:gd name="connsiteX70" fmla="*/ 3936 w 160655"/>
                    <a:gd name="connsiteY70" fmla="*/ 11507 h 107234"/>
                    <a:gd name="connsiteX71" fmla="*/ 3390 w 160655"/>
                    <a:gd name="connsiteY71" fmla="*/ 10293 h 107234"/>
                    <a:gd name="connsiteX72" fmla="*/ 1777 w 160655"/>
                    <a:gd name="connsiteY72" fmla="*/ 9388 h 107234"/>
                    <a:gd name="connsiteX73" fmla="*/ 1573 w 160655"/>
                    <a:gd name="connsiteY73" fmla="*/ 8997 h 107234"/>
                    <a:gd name="connsiteX74" fmla="*/ 1418 w 160655"/>
                    <a:gd name="connsiteY74" fmla="*/ 7595 h 107234"/>
                    <a:gd name="connsiteX75" fmla="*/ 2095 w 160655"/>
                    <a:gd name="connsiteY75" fmla="*/ 6699 h 107234"/>
                    <a:gd name="connsiteX76" fmla="*/ 2282 w 160655"/>
                    <a:gd name="connsiteY76" fmla="*/ 5697 h 107234"/>
                    <a:gd name="connsiteX77" fmla="*/ 2111 w 160655"/>
                    <a:gd name="connsiteY77" fmla="*/ 4466 h 107234"/>
                    <a:gd name="connsiteX78" fmla="*/ 1125 w 160655"/>
                    <a:gd name="connsiteY78" fmla="*/ 2339 h 107234"/>
                    <a:gd name="connsiteX79" fmla="*/ 701 w 160655"/>
                    <a:gd name="connsiteY79" fmla="*/ 171 h 107234"/>
                    <a:gd name="connsiteX80" fmla="*/ 4295 w 160655"/>
                    <a:gd name="connsiteY80" fmla="*/ 41 h 107234"/>
                    <a:gd name="connsiteX81" fmla="*/ 12363 w 160655"/>
                    <a:gd name="connsiteY81" fmla="*/ 41 h 107234"/>
                    <a:gd name="connsiteX82" fmla="*/ 20431 w 160655"/>
                    <a:gd name="connsiteY82" fmla="*/ 41 h 107234"/>
                    <a:gd name="connsiteX83" fmla="*/ 28491 w 160655"/>
                    <a:gd name="connsiteY83" fmla="*/ 33 h 107234"/>
                    <a:gd name="connsiteX84" fmla="*/ 36560 w 160655"/>
                    <a:gd name="connsiteY84" fmla="*/ 33 h 107234"/>
                    <a:gd name="connsiteX85" fmla="*/ 44620 w 160655"/>
                    <a:gd name="connsiteY85" fmla="*/ 33 h 107234"/>
                    <a:gd name="connsiteX86" fmla="*/ 52696 w 160655"/>
                    <a:gd name="connsiteY86" fmla="*/ 33 h 107234"/>
                    <a:gd name="connsiteX87" fmla="*/ 60756 w 160655"/>
                    <a:gd name="connsiteY87" fmla="*/ 33 h 107234"/>
                    <a:gd name="connsiteX88" fmla="*/ 68825 w 160655"/>
                    <a:gd name="connsiteY88" fmla="*/ 24 h 107234"/>
                    <a:gd name="connsiteX89" fmla="*/ 76885 w 160655"/>
                    <a:gd name="connsiteY89" fmla="*/ 24 h 107234"/>
                    <a:gd name="connsiteX90" fmla="*/ 84961 w 160655"/>
                    <a:gd name="connsiteY90" fmla="*/ 24 h 107234"/>
                    <a:gd name="connsiteX91" fmla="*/ 93021 w 160655"/>
                    <a:gd name="connsiteY91" fmla="*/ 16 h 107234"/>
                    <a:gd name="connsiteX92" fmla="*/ 101089 w 160655"/>
                    <a:gd name="connsiteY92" fmla="*/ 16 h 107234"/>
                    <a:gd name="connsiteX93" fmla="*/ 109158 w 160655"/>
                    <a:gd name="connsiteY93" fmla="*/ 16 h 107234"/>
                    <a:gd name="connsiteX94" fmla="*/ 117218 w 160655"/>
                    <a:gd name="connsiteY94" fmla="*/ 8 h 107234"/>
                    <a:gd name="connsiteX95" fmla="*/ 125286 w 160655"/>
                    <a:gd name="connsiteY95" fmla="*/ 8 h 107234"/>
                    <a:gd name="connsiteX96" fmla="*/ 133476 w 160655"/>
                    <a:gd name="connsiteY96" fmla="*/ 0 h 107234"/>
                    <a:gd name="connsiteX97" fmla="*/ 133647 w 160655"/>
                    <a:gd name="connsiteY97" fmla="*/ 2160 h 107234"/>
                    <a:gd name="connsiteX98" fmla="*/ 134137 w 160655"/>
                    <a:gd name="connsiteY98" fmla="*/ 3716 h 107234"/>
                    <a:gd name="connsiteX99" fmla="*/ 135139 w 160655"/>
                    <a:gd name="connsiteY99" fmla="*/ 4979 h 107234"/>
                    <a:gd name="connsiteX100" fmla="*/ 136655 w 160655"/>
                    <a:gd name="connsiteY100" fmla="*/ 5941 h 107234"/>
                    <a:gd name="connsiteX101" fmla="*/ 136907 w 160655"/>
                    <a:gd name="connsiteY101" fmla="*/ 7775 h 107234"/>
                    <a:gd name="connsiteX102" fmla="*/ 135905 w 160655"/>
                    <a:gd name="connsiteY102" fmla="*/ 10497 h 107234"/>
                    <a:gd name="connsiteX103" fmla="*/ 135563 w 160655"/>
                    <a:gd name="connsiteY103" fmla="*/ 13863 h 107234"/>
                    <a:gd name="connsiteX104" fmla="*/ 135889 w 160655"/>
                    <a:gd name="connsiteY104" fmla="*/ 17881 h 107234"/>
                    <a:gd name="connsiteX105" fmla="*/ 136647 w 160655"/>
                    <a:gd name="connsiteY105" fmla="*/ 21491 h 107234"/>
                    <a:gd name="connsiteX106" fmla="*/ 137828 w 160655"/>
                    <a:gd name="connsiteY106" fmla="*/ 24710 h 107234"/>
                    <a:gd name="connsiteX107" fmla="*/ 140550 w 160655"/>
                    <a:gd name="connsiteY107" fmla="*/ 27065 h 107234"/>
                    <a:gd name="connsiteX108" fmla="*/ 144796 w 160655"/>
                    <a:gd name="connsiteY108" fmla="*/ 28565 h 107234"/>
                    <a:gd name="connsiteX109" fmla="*/ 147307 w 160655"/>
                    <a:gd name="connsiteY109" fmla="*/ 30855 h 107234"/>
                    <a:gd name="connsiteX110" fmla="*/ 148056 w 160655"/>
                    <a:gd name="connsiteY110" fmla="*/ 33952 h 107234"/>
                    <a:gd name="connsiteX111" fmla="*/ 148227 w 160655"/>
                    <a:gd name="connsiteY111" fmla="*/ 34213 h 107234"/>
                    <a:gd name="connsiteX112" fmla="*/ 149735 w 160655"/>
                    <a:gd name="connsiteY112" fmla="*/ 36568 h 107234"/>
                    <a:gd name="connsiteX113" fmla="*/ 152343 w 160655"/>
                    <a:gd name="connsiteY113" fmla="*/ 38687 h 107234"/>
                    <a:gd name="connsiteX114" fmla="*/ 153818 w 160655"/>
                    <a:gd name="connsiteY114" fmla="*/ 40667 h 107234"/>
                    <a:gd name="connsiteX115" fmla="*/ 154177 w 160655"/>
                    <a:gd name="connsiteY115" fmla="*/ 42509 h 107234"/>
                    <a:gd name="connsiteX116" fmla="*/ 155766 w 160655"/>
                    <a:gd name="connsiteY116" fmla="*/ 44481 h 107234"/>
                    <a:gd name="connsiteX117" fmla="*/ 158578 w 160655"/>
                    <a:gd name="connsiteY117" fmla="*/ 46576 h 107234"/>
                    <a:gd name="connsiteX118" fmla="*/ 160207 w 160655"/>
                    <a:gd name="connsiteY118" fmla="*/ 48426 h 107234"/>
                    <a:gd name="connsiteX119" fmla="*/ 160656 w 160655"/>
                    <a:gd name="connsiteY119" fmla="*/ 50023 h 107234"/>
                    <a:gd name="connsiteX120" fmla="*/ 160582 w 160655"/>
                    <a:gd name="connsiteY120" fmla="*/ 52509 h 107234"/>
                    <a:gd name="connsiteX121" fmla="*/ 159979 w 160655"/>
                    <a:gd name="connsiteY121" fmla="*/ 55866 h 107234"/>
                    <a:gd name="connsiteX122" fmla="*/ 158961 w 160655"/>
                    <a:gd name="connsiteY122" fmla="*/ 58287 h 107234"/>
                    <a:gd name="connsiteX123" fmla="*/ 157510 w 160655"/>
                    <a:gd name="connsiteY123" fmla="*/ 59762 h 107234"/>
                    <a:gd name="connsiteX124" fmla="*/ 156442 w 160655"/>
                    <a:gd name="connsiteY124" fmla="*/ 61832 h 107234"/>
                    <a:gd name="connsiteX125" fmla="*/ 155741 w 160655"/>
                    <a:gd name="connsiteY125" fmla="*/ 64489 h 107234"/>
                    <a:gd name="connsiteX126" fmla="*/ 153533 w 160655"/>
                    <a:gd name="connsiteY126" fmla="*/ 66950 h 107234"/>
                    <a:gd name="connsiteX127" fmla="*/ 149808 w 160655"/>
                    <a:gd name="connsiteY127" fmla="*/ 69191 h 107234"/>
                    <a:gd name="connsiteX128" fmla="*/ 145660 w 160655"/>
                    <a:gd name="connsiteY128" fmla="*/ 70732 h 107234"/>
                    <a:gd name="connsiteX129" fmla="*/ 141080 w 160655"/>
                    <a:gd name="connsiteY129" fmla="*/ 71563 h 107234"/>
                    <a:gd name="connsiteX130" fmla="*/ 138366 w 160655"/>
                    <a:gd name="connsiteY130" fmla="*/ 73494 h 107234"/>
                    <a:gd name="connsiteX131" fmla="*/ 137519 w 160655"/>
                    <a:gd name="connsiteY131" fmla="*/ 76534 h 107234"/>
                    <a:gd name="connsiteX132" fmla="*/ 137910 w 160655"/>
                    <a:gd name="connsiteY132" fmla="*/ 79069 h 107234"/>
                    <a:gd name="connsiteX133" fmla="*/ 139523 w 160655"/>
                    <a:gd name="connsiteY133" fmla="*/ 81122 h 107234"/>
                    <a:gd name="connsiteX134" fmla="*/ 140453 w 160655"/>
                    <a:gd name="connsiteY134" fmla="*/ 83282 h 107234"/>
                    <a:gd name="connsiteX135" fmla="*/ 140697 w 160655"/>
                    <a:gd name="connsiteY135" fmla="*/ 85572 h 107234"/>
                    <a:gd name="connsiteX136" fmla="*/ 139556 w 160655"/>
                    <a:gd name="connsiteY136" fmla="*/ 89354 h 107234"/>
                    <a:gd name="connsiteX137" fmla="*/ 137021 w 160655"/>
                    <a:gd name="connsiteY137" fmla="*/ 94635 h 107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60655" h="107234">
                      <a:moveTo>
                        <a:pt x="134226" y="98049"/>
                      </a:moveTo>
                      <a:lnTo>
                        <a:pt x="131154" y="99598"/>
                      </a:lnTo>
                      <a:lnTo>
                        <a:pt x="129784" y="101888"/>
                      </a:lnTo>
                      <a:lnTo>
                        <a:pt x="130119" y="104920"/>
                      </a:lnTo>
                      <a:lnTo>
                        <a:pt x="129866" y="106631"/>
                      </a:lnTo>
                      <a:lnTo>
                        <a:pt x="128595" y="107234"/>
                      </a:lnTo>
                      <a:lnTo>
                        <a:pt x="126419" y="105441"/>
                      </a:lnTo>
                      <a:lnTo>
                        <a:pt x="126027" y="104186"/>
                      </a:lnTo>
                      <a:lnTo>
                        <a:pt x="124259" y="102907"/>
                      </a:lnTo>
                      <a:lnTo>
                        <a:pt x="123998" y="102092"/>
                      </a:lnTo>
                      <a:lnTo>
                        <a:pt x="122645" y="101374"/>
                      </a:lnTo>
                      <a:lnTo>
                        <a:pt x="121415" y="98897"/>
                      </a:lnTo>
                      <a:lnTo>
                        <a:pt x="115156" y="98946"/>
                      </a:lnTo>
                      <a:lnTo>
                        <a:pt x="108905" y="98995"/>
                      </a:lnTo>
                      <a:lnTo>
                        <a:pt x="102646" y="99044"/>
                      </a:lnTo>
                      <a:lnTo>
                        <a:pt x="96387" y="99093"/>
                      </a:lnTo>
                      <a:lnTo>
                        <a:pt x="90136" y="99141"/>
                      </a:lnTo>
                      <a:lnTo>
                        <a:pt x="83877" y="99199"/>
                      </a:lnTo>
                      <a:lnTo>
                        <a:pt x="77618" y="99239"/>
                      </a:lnTo>
                      <a:lnTo>
                        <a:pt x="71359" y="99288"/>
                      </a:lnTo>
                      <a:lnTo>
                        <a:pt x="65108" y="99345"/>
                      </a:lnTo>
                      <a:lnTo>
                        <a:pt x="58849" y="99386"/>
                      </a:lnTo>
                      <a:lnTo>
                        <a:pt x="52590" y="99443"/>
                      </a:lnTo>
                      <a:lnTo>
                        <a:pt x="46339" y="99492"/>
                      </a:lnTo>
                      <a:lnTo>
                        <a:pt x="40080" y="99541"/>
                      </a:lnTo>
                      <a:lnTo>
                        <a:pt x="33821" y="99582"/>
                      </a:lnTo>
                      <a:lnTo>
                        <a:pt x="27571" y="99639"/>
                      </a:lnTo>
                      <a:lnTo>
                        <a:pt x="21369" y="99671"/>
                      </a:lnTo>
                      <a:lnTo>
                        <a:pt x="19861" y="97145"/>
                      </a:lnTo>
                      <a:lnTo>
                        <a:pt x="19046" y="94798"/>
                      </a:lnTo>
                      <a:lnTo>
                        <a:pt x="19559" y="93681"/>
                      </a:lnTo>
                      <a:lnTo>
                        <a:pt x="19665" y="89875"/>
                      </a:lnTo>
                      <a:lnTo>
                        <a:pt x="19356" y="83364"/>
                      </a:lnTo>
                      <a:lnTo>
                        <a:pt x="18752" y="79696"/>
                      </a:lnTo>
                      <a:lnTo>
                        <a:pt x="17856" y="78873"/>
                      </a:lnTo>
                      <a:lnTo>
                        <a:pt x="17750" y="77732"/>
                      </a:lnTo>
                      <a:lnTo>
                        <a:pt x="18435" y="76282"/>
                      </a:lnTo>
                      <a:lnTo>
                        <a:pt x="18231" y="75303"/>
                      </a:lnTo>
                      <a:lnTo>
                        <a:pt x="17139" y="74798"/>
                      </a:lnTo>
                      <a:lnTo>
                        <a:pt x="16797" y="73551"/>
                      </a:lnTo>
                      <a:lnTo>
                        <a:pt x="17212" y="71563"/>
                      </a:lnTo>
                      <a:lnTo>
                        <a:pt x="16951" y="70348"/>
                      </a:lnTo>
                      <a:lnTo>
                        <a:pt x="16006" y="69908"/>
                      </a:lnTo>
                      <a:lnTo>
                        <a:pt x="15615" y="69232"/>
                      </a:lnTo>
                      <a:lnTo>
                        <a:pt x="15770" y="68311"/>
                      </a:lnTo>
                      <a:lnTo>
                        <a:pt x="15264" y="67716"/>
                      </a:lnTo>
                      <a:lnTo>
                        <a:pt x="14091" y="67447"/>
                      </a:lnTo>
                      <a:lnTo>
                        <a:pt x="13618" y="65206"/>
                      </a:lnTo>
                      <a:lnTo>
                        <a:pt x="13846" y="60984"/>
                      </a:lnTo>
                      <a:lnTo>
                        <a:pt x="13398" y="57993"/>
                      </a:lnTo>
                      <a:lnTo>
                        <a:pt x="12290" y="56249"/>
                      </a:lnTo>
                      <a:lnTo>
                        <a:pt x="11736" y="54603"/>
                      </a:lnTo>
                      <a:lnTo>
                        <a:pt x="11719" y="53063"/>
                      </a:lnTo>
                      <a:lnTo>
                        <a:pt x="10554" y="50626"/>
                      </a:lnTo>
                      <a:lnTo>
                        <a:pt x="8223" y="47301"/>
                      </a:lnTo>
                      <a:lnTo>
                        <a:pt x="6715" y="42925"/>
                      </a:lnTo>
                      <a:lnTo>
                        <a:pt x="6031" y="37497"/>
                      </a:lnTo>
                      <a:lnTo>
                        <a:pt x="4360" y="34457"/>
                      </a:lnTo>
                      <a:lnTo>
                        <a:pt x="3618" y="34278"/>
                      </a:lnTo>
                      <a:lnTo>
                        <a:pt x="2991" y="31442"/>
                      </a:lnTo>
                      <a:lnTo>
                        <a:pt x="2314" y="30178"/>
                      </a:lnTo>
                      <a:lnTo>
                        <a:pt x="2184" y="29200"/>
                      </a:lnTo>
                      <a:lnTo>
                        <a:pt x="122" y="26747"/>
                      </a:lnTo>
                      <a:lnTo>
                        <a:pt x="0" y="25794"/>
                      </a:lnTo>
                      <a:lnTo>
                        <a:pt x="269" y="24612"/>
                      </a:lnTo>
                      <a:lnTo>
                        <a:pt x="1597" y="22290"/>
                      </a:lnTo>
                      <a:lnTo>
                        <a:pt x="2820" y="18475"/>
                      </a:lnTo>
                      <a:lnTo>
                        <a:pt x="3097" y="15900"/>
                      </a:lnTo>
                      <a:lnTo>
                        <a:pt x="4075" y="13969"/>
                      </a:lnTo>
                      <a:lnTo>
                        <a:pt x="4107" y="12909"/>
                      </a:lnTo>
                      <a:lnTo>
                        <a:pt x="3936" y="11507"/>
                      </a:lnTo>
                      <a:lnTo>
                        <a:pt x="3390" y="10293"/>
                      </a:lnTo>
                      <a:lnTo>
                        <a:pt x="1777" y="9388"/>
                      </a:lnTo>
                      <a:lnTo>
                        <a:pt x="1573" y="8997"/>
                      </a:lnTo>
                      <a:lnTo>
                        <a:pt x="1418" y="7595"/>
                      </a:lnTo>
                      <a:lnTo>
                        <a:pt x="2095" y="6699"/>
                      </a:lnTo>
                      <a:lnTo>
                        <a:pt x="2282" y="5697"/>
                      </a:lnTo>
                      <a:lnTo>
                        <a:pt x="2111" y="4466"/>
                      </a:lnTo>
                      <a:lnTo>
                        <a:pt x="1125" y="2339"/>
                      </a:lnTo>
                      <a:lnTo>
                        <a:pt x="701" y="171"/>
                      </a:lnTo>
                      <a:lnTo>
                        <a:pt x="4295" y="41"/>
                      </a:lnTo>
                      <a:lnTo>
                        <a:pt x="12363" y="41"/>
                      </a:lnTo>
                      <a:lnTo>
                        <a:pt x="20431" y="41"/>
                      </a:lnTo>
                      <a:lnTo>
                        <a:pt x="28491" y="33"/>
                      </a:lnTo>
                      <a:lnTo>
                        <a:pt x="36560" y="33"/>
                      </a:lnTo>
                      <a:lnTo>
                        <a:pt x="44620" y="33"/>
                      </a:lnTo>
                      <a:lnTo>
                        <a:pt x="52696" y="33"/>
                      </a:lnTo>
                      <a:lnTo>
                        <a:pt x="60756" y="33"/>
                      </a:lnTo>
                      <a:lnTo>
                        <a:pt x="68825" y="24"/>
                      </a:lnTo>
                      <a:lnTo>
                        <a:pt x="76885" y="24"/>
                      </a:lnTo>
                      <a:lnTo>
                        <a:pt x="84961" y="24"/>
                      </a:lnTo>
                      <a:lnTo>
                        <a:pt x="93021" y="16"/>
                      </a:lnTo>
                      <a:lnTo>
                        <a:pt x="101089" y="16"/>
                      </a:lnTo>
                      <a:lnTo>
                        <a:pt x="109158" y="16"/>
                      </a:lnTo>
                      <a:lnTo>
                        <a:pt x="117218" y="8"/>
                      </a:lnTo>
                      <a:lnTo>
                        <a:pt x="125286" y="8"/>
                      </a:lnTo>
                      <a:lnTo>
                        <a:pt x="133476" y="0"/>
                      </a:lnTo>
                      <a:lnTo>
                        <a:pt x="133647" y="2160"/>
                      </a:lnTo>
                      <a:lnTo>
                        <a:pt x="134137" y="3716"/>
                      </a:lnTo>
                      <a:lnTo>
                        <a:pt x="135139" y="4979"/>
                      </a:lnTo>
                      <a:lnTo>
                        <a:pt x="136655" y="5941"/>
                      </a:lnTo>
                      <a:lnTo>
                        <a:pt x="136907" y="7775"/>
                      </a:lnTo>
                      <a:lnTo>
                        <a:pt x="135905" y="10497"/>
                      </a:lnTo>
                      <a:lnTo>
                        <a:pt x="135563" y="13863"/>
                      </a:lnTo>
                      <a:lnTo>
                        <a:pt x="135889" y="17881"/>
                      </a:lnTo>
                      <a:lnTo>
                        <a:pt x="136647" y="21491"/>
                      </a:lnTo>
                      <a:lnTo>
                        <a:pt x="137828" y="24710"/>
                      </a:lnTo>
                      <a:lnTo>
                        <a:pt x="140550" y="27065"/>
                      </a:lnTo>
                      <a:lnTo>
                        <a:pt x="144796" y="28565"/>
                      </a:lnTo>
                      <a:lnTo>
                        <a:pt x="147307" y="30855"/>
                      </a:lnTo>
                      <a:lnTo>
                        <a:pt x="148056" y="33952"/>
                      </a:lnTo>
                      <a:lnTo>
                        <a:pt x="148227" y="34213"/>
                      </a:lnTo>
                      <a:lnTo>
                        <a:pt x="149735" y="36568"/>
                      </a:lnTo>
                      <a:lnTo>
                        <a:pt x="152343" y="38687"/>
                      </a:lnTo>
                      <a:lnTo>
                        <a:pt x="153818" y="40667"/>
                      </a:lnTo>
                      <a:lnTo>
                        <a:pt x="154177" y="42509"/>
                      </a:lnTo>
                      <a:lnTo>
                        <a:pt x="155766" y="44481"/>
                      </a:lnTo>
                      <a:lnTo>
                        <a:pt x="158578" y="46576"/>
                      </a:lnTo>
                      <a:lnTo>
                        <a:pt x="160207" y="48426"/>
                      </a:lnTo>
                      <a:lnTo>
                        <a:pt x="160656" y="50023"/>
                      </a:lnTo>
                      <a:lnTo>
                        <a:pt x="160582" y="52509"/>
                      </a:lnTo>
                      <a:lnTo>
                        <a:pt x="159979" y="55866"/>
                      </a:lnTo>
                      <a:lnTo>
                        <a:pt x="158961" y="58287"/>
                      </a:lnTo>
                      <a:lnTo>
                        <a:pt x="157510" y="59762"/>
                      </a:lnTo>
                      <a:lnTo>
                        <a:pt x="156442" y="61832"/>
                      </a:lnTo>
                      <a:lnTo>
                        <a:pt x="155741" y="64489"/>
                      </a:lnTo>
                      <a:lnTo>
                        <a:pt x="153533" y="66950"/>
                      </a:lnTo>
                      <a:lnTo>
                        <a:pt x="149808" y="69191"/>
                      </a:lnTo>
                      <a:lnTo>
                        <a:pt x="145660" y="70732"/>
                      </a:lnTo>
                      <a:lnTo>
                        <a:pt x="141080" y="71563"/>
                      </a:lnTo>
                      <a:lnTo>
                        <a:pt x="138366" y="73494"/>
                      </a:lnTo>
                      <a:lnTo>
                        <a:pt x="137519" y="76534"/>
                      </a:lnTo>
                      <a:lnTo>
                        <a:pt x="137910" y="79069"/>
                      </a:lnTo>
                      <a:lnTo>
                        <a:pt x="139523" y="81122"/>
                      </a:lnTo>
                      <a:lnTo>
                        <a:pt x="140453" y="83282"/>
                      </a:lnTo>
                      <a:lnTo>
                        <a:pt x="140697" y="85572"/>
                      </a:lnTo>
                      <a:lnTo>
                        <a:pt x="139556" y="89354"/>
                      </a:lnTo>
                      <a:lnTo>
                        <a:pt x="137021" y="94635"/>
                      </a:lnTo>
                      <a:close/>
                    </a:path>
                  </a:pathLst>
                </a:custGeom>
                <a:solidFill>
                  <a:srgbClr val="D6D6D2"/>
                </a:solidFill>
                <a:ln w="6112" cap="rnd">
                  <a:solidFill>
                    <a:srgbClr val="FFFFFF"/>
                  </a:solidFill>
                  <a:prstDash val="solid"/>
                  <a:round/>
                </a:ln>
              </p:spPr>
              <p:txBody>
                <a:bodyPr rtlCol="0" anchor="ctr"/>
                <a:lstStyle/>
                <a:p>
                  <a:endParaRPr lang="en-US"/>
                </a:p>
              </p:txBody>
            </p:sp>
            <p:sp>
              <p:nvSpPr>
                <p:cNvPr id="462" name="Freeform: Shape 461">
                  <a:extLst>
                    <a:ext uri="{FF2B5EF4-FFF2-40B4-BE49-F238E27FC236}">
                      <a16:creationId xmlns:a16="http://schemas.microsoft.com/office/drawing/2014/main" id="{CAE1631A-7DB0-44FE-8A0A-D1DE46CCAAD6}"/>
                    </a:ext>
                  </a:extLst>
                </p:cNvPr>
                <p:cNvSpPr/>
                <p:nvPr/>
              </p:nvSpPr>
              <p:spPr>
                <a:xfrm>
                  <a:off x="2073275" y="3911042"/>
                  <a:ext cx="30879" cy="40455"/>
                </a:xfrm>
                <a:custGeom>
                  <a:avLst/>
                  <a:gdLst>
                    <a:gd name="connsiteX0" fmla="*/ 11589 w 30879"/>
                    <a:gd name="connsiteY0" fmla="*/ 38980 h 40455"/>
                    <a:gd name="connsiteX1" fmla="*/ 10489 w 30879"/>
                    <a:gd name="connsiteY1" fmla="*/ 40455 h 40455"/>
                    <a:gd name="connsiteX2" fmla="*/ 9128 w 30879"/>
                    <a:gd name="connsiteY2" fmla="*/ 40341 h 40455"/>
                    <a:gd name="connsiteX3" fmla="*/ 4156 w 30879"/>
                    <a:gd name="connsiteY3" fmla="*/ 37171 h 40455"/>
                    <a:gd name="connsiteX4" fmla="*/ 3553 w 30879"/>
                    <a:gd name="connsiteY4" fmla="*/ 35476 h 40455"/>
                    <a:gd name="connsiteX5" fmla="*/ 3920 w 30879"/>
                    <a:gd name="connsiteY5" fmla="*/ 27563 h 40455"/>
                    <a:gd name="connsiteX6" fmla="*/ 2054 w 30879"/>
                    <a:gd name="connsiteY6" fmla="*/ 21149 h 40455"/>
                    <a:gd name="connsiteX7" fmla="*/ 0 w 30879"/>
                    <a:gd name="connsiteY7" fmla="*/ 16243 h 40455"/>
                    <a:gd name="connsiteX8" fmla="*/ 1500 w 30879"/>
                    <a:gd name="connsiteY8" fmla="*/ 13724 h 40455"/>
                    <a:gd name="connsiteX9" fmla="*/ 3472 w 30879"/>
                    <a:gd name="connsiteY9" fmla="*/ 11776 h 40455"/>
                    <a:gd name="connsiteX10" fmla="*/ 5672 w 30879"/>
                    <a:gd name="connsiteY10" fmla="*/ 8085 h 40455"/>
                    <a:gd name="connsiteX11" fmla="*/ 3879 w 30879"/>
                    <a:gd name="connsiteY11" fmla="*/ 3350 h 40455"/>
                    <a:gd name="connsiteX12" fmla="*/ 4336 w 30879"/>
                    <a:gd name="connsiteY12" fmla="*/ 497 h 40455"/>
                    <a:gd name="connsiteX13" fmla="*/ 5387 w 30879"/>
                    <a:gd name="connsiteY13" fmla="*/ 0 h 40455"/>
                    <a:gd name="connsiteX14" fmla="*/ 10586 w 30879"/>
                    <a:gd name="connsiteY14" fmla="*/ 3472 h 40455"/>
                    <a:gd name="connsiteX15" fmla="*/ 21091 w 30879"/>
                    <a:gd name="connsiteY15" fmla="*/ 8688 h 40455"/>
                    <a:gd name="connsiteX16" fmla="*/ 23887 w 30879"/>
                    <a:gd name="connsiteY16" fmla="*/ 12355 h 40455"/>
                    <a:gd name="connsiteX17" fmla="*/ 24384 w 30879"/>
                    <a:gd name="connsiteY17" fmla="*/ 16283 h 40455"/>
                    <a:gd name="connsiteX18" fmla="*/ 26291 w 30879"/>
                    <a:gd name="connsiteY18" fmla="*/ 16788 h 40455"/>
                    <a:gd name="connsiteX19" fmla="*/ 27196 w 30879"/>
                    <a:gd name="connsiteY19" fmla="*/ 19486 h 40455"/>
                    <a:gd name="connsiteX20" fmla="*/ 29950 w 30879"/>
                    <a:gd name="connsiteY20" fmla="*/ 21841 h 40455"/>
                    <a:gd name="connsiteX21" fmla="*/ 30879 w 30879"/>
                    <a:gd name="connsiteY21" fmla="*/ 23194 h 40455"/>
                    <a:gd name="connsiteX22" fmla="*/ 29730 w 30879"/>
                    <a:gd name="connsiteY22" fmla="*/ 25362 h 40455"/>
                    <a:gd name="connsiteX23" fmla="*/ 24686 w 30879"/>
                    <a:gd name="connsiteY23" fmla="*/ 29518 h 40455"/>
                    <a:gd name="connsiteX24" fmla="*/ 18337 w 30879"/>
                    <a:gd name="connsiteY24" fmla="*/ 31336 h 40455"/>
                    <a:gd name="connsiteX25" fmla="*/ 12738 w 30879"/>
                    <a:gd name="connsiteY25" fmla="*/ 35989 h 40455"/>
                    <a:gd name="connsiteX26" fmla="*/ 11589 w 30879"/>
                    <a:gd name="connsiteY26" fmla="*/ 38980 h 40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879" h="40455">
                      <a:moveTo>
                        <a:pt x="11589" y="38980"/>
                      </a:moveTo>
                      <a:lnTo>
                        <a:pt x="10489" y="40455"/>
                      </a:lnTo>
                      <a:lnTo>
                        <a:pt x="9128" y="40341"/>
                      </a:lnTo>
                      <a:lnTo>
                        <a:pt x="4156" y="37171"/>
                      </a:lnTo>
                      <a:lnTo>
                        <a:pt x="3553" y="35476"/>
                      </a:lnTo>
                      <a:lnTo>
                        <a:pt x="3920" y="27563"/>
                      </a:lnTo>
                      <a:lnTo>
                        <a:pt x="2054" y="21149"/>
                      </a:lnTo>
                      <a:lnTo>
                        <a:pt x="0" y="16243"/>
                      </a:lnTo>
                      <a:lnTo>
                        <a:pt x="1500" y="13724"/>
                      </a:lnTo>
                      <a:lnTo>
                        <a:pt x="3472" y="11776"/>
                      </a:lnTo>
                      <a:lnTo>
                        <a:pt x="5672" y="8085"/>
                      </a:lnTo>
                      <a:lnTo>
                        <a:pt x="3879" y="3350"/>
                      </a:lnTo>
                      <a:lnTo>
                        <a:pt x="4336" y="497"/>
                      </a:lnTo>
                      <a:lnTo>
                        <a:pt x="5387" y="0"/>
                      </a:lnTo>
                      <a:lnTo>
                        <a:pt x="10586" y="3472"/>
                      </a:lnTo>
                      <a:lnTo>
                        <a:pt x="21091" y="8688"/>
                      </a:lnTo>
                      <a:lnTo>
                        <a:pt x="23887" y="12355"/>
                      </a:lnTo>
                      <a:lnTo>
                        <a:pt x="24384" y="16283"/>
                      </a:lnTo>
                      <a:lnTo>
                        <a:pt x="26291" y="16788"/>
                      </a:lnTo>
                      <a:lnTo>
                        <a:pt x="27196" y="19486"/>
                      </a:lnTo>
                      <a:lnTo>
                        <a:pt x="29950" y="21841"/>
                      </a:lnTo>
                      <a:lnTo>
                        <a:pt x="30879" y="23194"/>
                      </a:lnTo>
                      <a:lnTo>
                        <a:pt x="29730" y="25362"/>
                      </a:lnTo>
                      <a:lnTo>
                        <a:pt x="24686" y="29518"/>
                      </a:lnTo>
                      <a:lnTo>
                        <a:pt x="18337" y="31336"/>
                      </a:lnTo>
                      <a:lnTo>
                        <a:pt x="12738" y="35989"/>
                      </a:lnTo>
                      <a:lnTo>
                        <a:pt x="11589" y="38980"/>
                      </a:lnTo>
                      <a:close/>
                    </a:path>
                  </a:pathLst>
                </a:custGeom>
                <a:solidFill>
                  <a:srgbClr val="D6D6D2"/>
                </a:solidFill>
                <a:ln w="8150" cap="flat">
                  <a:noFill/>
                  <a:prstDash val="solid"/>
                  <a:miter/>
                </a:ln>
              </p:spPr>
              <p:txBody>
                <a:bodyPr rtlCol="0" anchor="ctr"/>
                <a:lstStyle/>
                <a:p>
                  <a:endParaRPr lang="en-US"/>
                </a:p>
              </p:txBody>
            </p:sp>
            <p:sp>
              <p:nvSpPr>
                <p:cNvPr id="463" name="Freeform: Shape 462">
                  <a:extLst>
                    <a:ext uri="{FF2B5EF4-FFF2-40B4-BE49-F238E27FC236}">
                      <a16:creationId xmlns:a16="http://schemas.microsoft.com/office/drawing/2014/main" id="{27850E1B-A61C-468B-AFC8-D9423461802C}"/>
                    </a:ext>
                  </a:extLst>
                </p:cNvPr>
                <p:cNvSpPr/>
                <p:nvPr/>
              </p:nvSpPr>
              <p:spPr>
                <a:xfrm>
                  <a:off x="3819983" y="3442701"/>
                  <a:ext cx="117845" cy="150598"/>
                </a:xfrm>
                <a:custGeom>
                  <a:avLst/>
                  <a:gdLst>
                    <a:gd name="connsiteX0" fmla="*/ 62044 w 117845"/>
                    <a:gd name="connsiteY0" fmla="*/ 73 h 150598"/>
                    <a:gd name="connsiteX1" fmla="*/ 60830 w 117845"/>
                    <a:gd name="connsiteY1" fmla="*/ 2298 h 150598"/>
                    <a:gd name="connsiteX2" fmla="*/ 57203 w 117845"/>
                    <a:gd name="connsiteY2" fmla="*/ 6479 h 150598"/>
                    <a:gd name="connsiteX3" fmla="*/ 56233 w 117845"/>
                    <a:gd name="connsiteY3" fmla="*/ 9682 h 150598"/>
                    <a:gd name="connsiteX4" fmla="*/ 60927 w 117845"/>
                    <a:gd name="connsiteY4" fmla="*/ 13252 h 150598"/>
                    <a:gd name="connsiteX5" fmla="*/ 60944 w 117845"/>
                    <a:gd name="connsiteY5" fmla="*/ 13284 h 150598"/>
                    <a:gd name="connsiteX6" fmla="*/ 63747 w 117845"/>
                    <a:gd name="connsiteY6" fmla="*/ 16169 h 150598"/>
                    <a:gd name="connsiteX7" fmla="*/ 65662 w 117845"/>
                    <a:gd name="connsiteY7" fmla="*/ 17294 h 150598"/>
                    <a:gd name="connsiteX8" fmla="*/ 67618 w 117845"/>
                    <a:gd name="connsiteY8" fmla="*/ 17644 h 150598"/>
                    <a:gd name="connsiteX9" fmla="*/ 68833 w 117845"/>
                    <a:gd name="connsiteY9" fmla="*/ 18590 h 150598"/>
                    <a:gd name="connsiteX10" fmla="*/ 69550 w 117845"/>
                    <a:gd name="connsiteY10" fmla="*/ 20912 h 150598"/>
                    <a:gd name="connsiteX11" fmla="*/ 69550 w 117845"/>
                    <a:gd name="connsiteY11" fmla="*/ 20912 h 150598"/>
                    <a:gd name="connsiteX12" fmla="*/ 75238 w 117845"/>
                    <a:gd name="connsiteY12" fmla="*/ 32330 h 150598"/>
                    <a:gd name="connsiteX13" fmla="*/ 75238 w 117845"/>
                    <a:gd name="connsiteY13" fmla="*/ 32330 h 150598"/>
                    <a:gd name="connsiteX14" fmla="*/ 81122 w 117845"/>
                    <a:gd name="connsiteY14" fmla="*/ 38222 h 150598"/>
                    <a:gd name="connsiteX15" fmla="*/ 83494 w 117845"/>
                    <a:gd name="connsiteY15" fmla="*/ 41107 h 150598"/>
                    <a:gd name="connsiteX16" fmla="*/ 84692 w 117845"/>
                    <a:gd name="connsiteY16" fmla="*/ 43911 h 150598"/>
                    <a:gd name="connsiteX17" fmla="*/ 89720 w 117845"/>
                    <a:gd name="connsiteY17" fmla="*/ 48499 h 150598"/>
                    <a:gd name="connsiteX18" fmla="*/ 91440 w 117845"/>
                    <a:gd name="connsiteY18" fmla="*/ 50968 h 150598"/>
                    <a:gd name="connsiteX19" fmla="*/ 91530 w 117845"/>
                    <a:gd name="connsiteY19" fmla="*/ 52843 h 150598"/>
                    <a:gd name="connsiteX20" fmla="*/ 92124 w 117845"/>
                    <a:gd name="connsiteY20" fmla="*/ 54171 h 150598"/>
                    <a:gd name="connsiteX21" fmla="*/ 93233 w 117845"/>
                    <a:gd name="connsiteY21" fmla="*/ 54954 h 150598"/>
                    <a:gd name="connsiteX22" fmla="*/ 94292 w 117845"/>
                    <a:gd name="connsiteY22" fmla="*/ 56624 h 150598"/>
                    <a:gd name="connsiteX23" fmla="*/ 95311 w 117845"/>
                    <a:gd name="connsiteY23" fmla="*/ 59192 h 150598"/>
                    <a:gd name="connsiteX24" fmla="*/ 97324 w 117845"/>
                    <a:gd name="connsiteY24" fmla="*/ 61425 h 150598"/>
                    <a:gd name="connsiteX25" fmla="*/ 100323 w 117845"/>
                    <a:gd name="connsiteY25" fmla="*/ 63323 h 150598"/>
                    <a:gd name="connsiteX26" fmla="*/ 102524 w 117845"/>
                    <a:gd name="connsiteY26" fmla="*/ 67651 h 150598"/>
                    <a:gd name="connsiteX27" fmla="*/ 103909 w 117845"/>
                    <a:gd name="connsiteY27" fmla="*/ 74407 h 150598"/>
                    <a:gd name="connsiteX28" fmla="*/ 105319 w 117845"/>
                    <a:gd name="connsiteY28" fmla="*/ 78327 h 150598"/>
                    <a:gd name="connsiteX29" fmla="*/ 107470 w 117845"/>
                    <a:gd name="connsiteY29" fmla="*/ 79957 h 150598"/>
                    <a:gd name="connsiteX30" fmla="*/ 110413 w 117845"/>
                    <a:gd name="connsiteY30" fmla="*/ 85711 h 150598"/>
                    <a:gd name="connsiteX31" fmla="*/ 111374 w 117845"/>
                    <a:gd name="connsiteY31" fmla="*/ 89134 h 150598"/>
                    <a:gd name="connsiteX32" fmla="*/ 111325 w 117845"/>
                    <a:gd name="connsiteY32" fmla="*/ 92141 h 150598"/>
                    <a:gd name="connsiteX33" fmla="*/ 112817 w 117845"/>
                    <a:gd name="connsiteY33" fmla="*/ 94480 h 150598"/>
                    <a:gd name="connsiteX34" fmla="*/ 117845 w 117845"/>
                    <a:gd name="connsiteY34" fmla="*/ 97080 h 150598"/>
                    <a:gd name="connsiteX35" fmla="*/ 116574 w 117845"/>
                    <a:gd name="connsiteY35" fmla="*/ 99818 h 150598"/>
                    <a:gd name="connsiteX36" fmla="*/ 113542 w 117845"/>
                    <a:gd name="connsiteY36" fmla="*/ 101529 h 150598"/>
                    <a:gd name="connsiteX37" fmla="*/ 112613 w 117845"/>
                    <a:gd name="connsiteY37" fmla="*/ 101464 h 150598"/>
                    <a:gd name="connsiteX38" fmla="*/ 111863 w 117845"/>
                    <a:gd name="connsiteY38" fmla="*/ 101969 h 150598"/>
                    <a:gd name="connsiteX39" fmla="*/ 112303 w 117845"/>
                    <a:gd name="connsiteY39" fmla="*/ 103184 h 150598"/>
                    <a:gd name="connsiteX40" fmla="*/ 113053 w 117845"/>
                    <a:gd name="connsiteY40" fmla="*/ 104072 h 150598"/>
                    <a:gd name="connsiteX41" fmla="*/ 113037 w 117845"/>
                    <a:gd name="connsiteY41" fmla="*/ 104895 h 150598"/>
                    <a:gd name="connsiteX42" fmla="*/ 112230 w 117845"/>
                    <a:gd name="connsiteY42" fmla="*/ 106012 h 150598"/>
                    <a:gd name="connsiteX43" fmla="*/ 110657 w 117845"/>
                    <a:gd name="connsiteY43" fmla="*/ 106330 h 150598"/>
                    <a:gd name="connsiteX44" fmla="*/ 109769 w 117845"/>
                    <a:gd name="connsiteY44" fmla="*/ 107609 h 150598"/>
                    <a:gd name="connsiteX45" fmla="*/ 110054 w 117845"/>
                    <a:gd name="connsiteY45" fmla="*/ 108815 h 150598"/>
                    <a:gd name="connsiteX46" fmla="*/ 110576 w 117845"/>
                    <a:gd name="connsiteY46" fmla="*/ 109492 h 150598"/>
                    <a:gd name="connsiteX47" fmla="*/ 110461 w 117845"/>
                    <a:gd name="connsiteY47" fmla="*/ 110649 h 150598"/>
                    <a:gd name="connsiteX48" fmla="*/ 108668 w 117845"/>
                    <a:gd name="connsiteY48" fmla="*/ 111814 h 150598"/>
                    <a:gd name="connsiteX49" fmla="*/ 108245 w 117845"/>
                    <a:gd name="connsiteY49" fmla="*/ 112964 h 150598"/>
                    <a:gd name="connsiteX50" fmla="*/ 109133 w 117845"/>
                    <a:gd name="connsiteY50" fmla="*/ 113306 h 150598"/>
                    <a:gd name="connsiteX51" fmla="*/ 109818 w 117845"/>
                    <a:gd name="connsiteY51" fmla="*/ 112964 h 150598"/>
                    <a:gd name="connsiteX52" fmla="*/ 110323 w 117845"/>
                    <a:gd name="connsiteY52" fmla="*/ 113208 h 150598"/>
                    <a:gd name="connsiteX53" fmla="*/ 109247 w 117845"/>
                    <a:gd name="connsiteY53" fmla="*/ 115123 h 150598"/>
                    <a:gd name="connsiteX54" fmla="*/ 108277 w 117845"/>
                    <a:gd name="connsiteY54" fmla="*/ 116289 h 150598"/>
                    <a:gd name="connsiteX55" fmla="*/ 107356 w 117845"/>
                    <a:gd name="connsiteY55" fmla="*/ 118383 h 150598"/>
                    <a:gd name="connsiteX56" fmla="*/ 105229 w 117845"/>
                    <a:gd name="connsiteY56" fmla="*/ 118962 h 150598"/>
                    <a:gd name="connsiteX57" fmla="*/ 105303 w 117845"/>
                    <a:gd name="connsiteY57" fmla="*/ 119638 h 150598"/>
                    <a:gd name="connsiteX58" fmla="*/ 106509 w 117845"/>
                    <a:gd name="connsiteY58" fmla="*/ 120241 h 150598"/>
                    <a:gd name="connsiteX59" fmla="*/ 107519 w 117845"/>
                    <a:gd name="connsiteY59" fmla="*/ 121855 h 150598"/>
                    <a:gd name="connsiteX60" fmla="*/ 105620 w 117845"/>
                    <a:gd name="connsiteY60" fmla="*/ 124821 h 150598"/>
                    <a:gd name="connsiteX61" fmla="*/ 104439 w 117845"/>
                    <a:gd name="connsiteY61" fmla="*/ 124577 h 150598"/>
                    <a:gd name="connsiteX62" fmla="*/ 103713 w 117845"/>
                    <a:gd name="connsiteY62" fmla="*/ 123925 h 150598"/>
                    <a:gd name="connsiteX63" fmla="*/ 103257 w 117845"/>
                    <a:gd name="connsiteY63" fmla="*/ 126264 h 150598"/>
                    <a:gd name="connsiteX64" fmla="*/ 103428 w 117845"/>
                    <a:gd name="connsiteY64" fmla="*/ 127519 h 150598"/>
                    <a:gd name="connsiteX65" fmla="*/ 102972 w 117845"/>
                    <a:gd name="connsiteY65" fmla="*/ 130070 h 150598"/>
                    <a:gd name="connsiteX66" fmla="*/ 102246 w 117845"/>
                    <a:gd name="connsiteY66" fmla="*/ 133142 h 150598"/>
                    <a:gd name="connsiteX67" fmla="*/ 101758 w 117845"/>
                    <a:gd name="connsiteY67" fmla="*/ 134397 h 150598"/>
                    <a:gd name="connsiteX68" fmla="*/ 101863 w 117845"/>
                    <a:gd name="connsiteY68" fmla="*/ 136744 h 150598"/>
                    <a:gd name="connsiteX69" fmla="*/ 102173 w 117845"/>
                    <a:gd name="connsiteY69" fmla="*/ 139010 h 150598"/>
                    <a:gd name="connsiteX70" fmla="*/ 97968 w 117845"/>
                    <a:gd name="connsiteY70" fmla="*/ 138725 h 150598"/>
                    <a:gd name="connsiteX71" fmla="*/ 92834 w 117845"/>
                    <a:gd name="connsiteY71" fmla="*/ 136598 h 150598"/>
                    <a:gd name="connsiteX72" fmla="*/ 91464 w 117845"/>
                    <a:gd name="connsiteY72" fmla="*/ 136166 h 150598"/>
                    <a:gd name="connsiteX73" fmla="*/ 90935 w 117845"/>
                    <a:gd name="connsiteY73" fmla="*/ 136337 h 150598"/>
                    <a:gd name="connsiteX74" fmla="*/ 90291 w 117845"/>
                    <a:gd name="connsiteY74" fmla="*/ 137136 h 150598"/>
                    <a:gd name="connsiteX75" fmla="*/ 89549 w 117845"/>
                    <a:gd name="connsiteY75" fmla="*/ 137510 h 150598"/>
                    <a:gd name="connsiteX76" fmla="*/ 88922 w 117845"/>
                    <a:gd name="connsiteY76" fmla="*/ 138994 h 150598"/>
                    <a:gd name="connsiteX77" fmla="*/ 88848 w 117845"/>
                    <a:gd name="connsiteY77" fmla="*/ 141528 h 150598"/>
                    <a:gd name="connsiteX78" fmla="*/ 89329 w 117845"/>
                    <a:gd name="connsiteY78" fmla="*/ 144536 h 150598"/>
                    <a:gd name="connsiteX79" fmla="*/ 89133 w 117845"/>
                    <a:gd name="connsiteY79" fmla="*/ 147184 h 150598"/>
                    <a:gd name="connsiteX80" fmla="*/ 88343 w 117845"/>
                    <a:gd name="connsiteY80" fmla="*/ 149531 h 150598"/>
                    <a:gd name="connsiteX81" fmla="*/ 87096 w 117845"/>
                    <a:gd name="connsiteY81" fmla="*/ 150599 h 150598"/>
                    <a:gd name="connsiteX82" fmla="*/ 85841 w 117845"/>
                    <a:gd name="connsiteY82" fmla="*/ 150460 h 150598"/>
                    <a:gd name="connsiteX83" fmla="*/ 85059 w 117845"/>
                    <a:gd name="connsiteY83" fmla="*/ 149890 h 150598"/>
                    <a:gd name="connsiteX84" fmla="*/ 84765 w 117845"/>
                    <a:gd name="connsiteY84" fmla="*/ 148977 h 150598"/>
                    <a:gd name="connsiteX85" fmla="*/ 84602 w 117845"/>
                    <a:gd name="connsiteY85" fmla="*/ 147078 h 150598"/>
                    <a:gd name="connsiteX86" fmla="*/ 83950 w 117845"/>
                    <a:gd name="connsiteY86" fmla="*/ 145407 h 150598"/>
                    <a:gd name="connsiteX87" fmla="*/ 83926 w 117845"/>
                    <a:gd name="connsiteY87" fmla="*/ 144348 h 150598"/>
                    <a:gd name="connsiteX88" fmla="*/ 79973 w 117845"/>
                    <a:gd name="connsiteY88" fmla="*/ 144038 h 150598"/>
                    <a:gd name="connsiteX89" fmla="*/ 76021 w 117845"/>
                    <a:gd name="connsiteY89" fmla="*/ 143737 h 150598"/>
                    <a:gd name="connsiteX90" fmla="*/ 72068 w 117845"/>
                    <a:gd name="connsiteY90" fmla="*/ 143435 h 150598"/>
                    <a:gd name="connsiteX91" fmla="*/ 68115 w 117845"/>
                    <a:gd name="connsiteY91" fmla="*/ 143134 h 150598"/>
                    <a:gd name="connsiteX92" fmla="*/ 64163 w 117845"/>
                    <a:gd name="connsiteY92" fmla="*/ 142840 h 150598"/>
                    <a:gd name="connsiteX93" fmla="*/ 60210 w 117845"/>
                    <a:gd name="connsiteY93" fmla="*/ 142539 h 150598"/>
                    <a:gd name="connsiteX94" fmla="*/ 56257 w 117845"/>
                    <a:gd name="connsiteY94" fmla="*/ 142237 h 150598"/>
                    <a:gd name="connsiteX95" fmla="*/ 52305 w 117845"/>
                    <a:gd name="connsiteY95" fmla="*/ 141936 h 150598"/>
                    <a:gd name="connsiteX96" fmla="*/ 48352 w 117845"/>
                    <a:gd name="connsiteY96" fmla="*/ 141634 h 150598"/>
                    <a:gd name="connsiteX97" fmla="*/ 44400 w 117845"/>
                    <a:gd name="connsiteY97" fmla="*/ 141333 h 150598"/>
                    <a:gd name="connsiteX98" fmla="*/ 40447 w 117845"/>
                    <a:gd name="connsiteY98" fmla="*/ 141031 h 150598"/>
                    <a:gd name="connsiteX99" fmla="*/ 36494 w 117845"/>
                    <a:gd name="connsiteY99" fmla="*/ 140729 h 150598"/>
                    <a:gd name="connsiteX100" fmla="*/ 32542 w 117845"/>
                    <a:gd name="connsiteY100" fmla="*/ 140428 h 150598"/>
                    <a:gd name="connsiteX101" fmla="*/ 28589 w 117845"/>
                    <a:gd name="connsiteY101" fmla="*/ 140135 h 150598"/>
                    <a:gd name="connsiteX102" fmla="*/ 24636 w 117845"/>
                    <a:gd name="connsiteY102" fmla="*/ 139833 h 150598"/>
                    <a:gd name="connsiteX103" fmla="*/ 20684 w 117845"/>
                    <a:gd name="connsiteY103" fmla="*/ 139531 h 150598"/>
                    <a:gd name="connsiteX104" fmla="*/ 18361 w 117845"/>
                    <a:gd name="connsiteY104" fmla="*/ 139344 h 150598"/>
                    <a:gd name="connsiteX105" fmla="*/ 18288 w 117845"/>
                    <a:gd name="connsiteY105" fmla="*/ 138114 h 150598"/>
                    <a:gd name="connsiteX106" fmla="*/ 16324 w 117845"/>
                    <a:gd name="connsiteY106" fmla="*/ 132849 h 150598"/>
                    <a:gd name="connsiteX107" fmla="*/ 15305 w 117845"/>
                    <a:gd name="connsiteY107" fmla="*/ 130306 h 150598"/>
                    <a:gd name="connsiteX108" fmla="*/ 13814 w 117845"/>
                    <a:gd name="connsiteY108" fmla="*/ 126573 h 150598"/>
                    <a:gd name="connsiteX109" fmla="*/ 13186 w 117845"/>
                    <a:gd name="connsiteY109" fmla="*/ 120820 h 150598"/>
                    <a:gd name="connsiteX110" fmla="*/ 14124 w 117845"/>
                    <a:gd name="connsiteY110" fmla="*/ 111871 h 150598"/>
                    <a:gd name="connsiteX111" fmla="*/ 13822 w 117845"/>
                    <a:gd name="connsiteY111" fmla="*/ 109850 h 150598"/>
                    <a:gd name="connsiteX112" fmla="*/ 13822 w 117845"/>
                    <a:gd name="connsiteY112" fmla="*/ 109842 h 150598"/>
                    <a:gd name="connsiteX113" fmla="*/ 12396 w 117845"/>
                    <a:gd name="connsiteY113" fmla="*/ 105270 h 150598"/>
                    <a:gd name="connsiteX114" fmla="*/ 12412 w 117845"/>
                    <a:gd name="connsiteY114" fmla="*/ 101912 h 150598"/>
                    <a:gd name="connsiteX115" fmla="*/ 13895 w 117845"/>
                    <a:gd name="connsiteY115" fmla="*/ 96403 h 150598"/>
                    <a:gd name="connsiteX116" fmla="*/ 13895 w 117845"/>
                    <a:gd name="connsiteY116" fmla="*/ 96379 h 150598"/>
                    <a:gd name="connsiteX117" fmla="*/ 14637 w 117845"/>
                    <a:gd name="connsiteY117" fmla="*/ 93257 h 150598"/>
                    <a:gd name="connsiteX118" fmla="*/ 15664 w 117845"/>
                    <a:gd name="connsiteY118" fmla="*/ 91489 h 150598"/>
                    <a:gd name="connsiteX119" fmla="*/ 17237 w 117845"/>
                    <a:gd name="connsiteY119" fmla="*/ 90038 h 150598"/>
                    <a:gd name="connsiteX120" fmla="*/ 17432 w 117845"/>
                    <a:gd name="connsiteY120" fmla="*/ 88759 h 150598"/>
                    <a:gd name="connsiteX121" fmla="*/ 16267 w 117845"/>
                    <a:gd name="connsiteY121" fmla="*/ 87658 h 150598"/>
                    <a:gd name="connsiteX122" fmla="*/ 15835 w 117845"/>
                    <a:gd name="connsiteY122" fmla="*/ 86314 h 150598"/>
                    <a:gd name="connsiteX123" fmla="*/ 16145 w 117845"/>
                    <a:gd name="connsiteY123" fmla="*/ 84749 h 150598"/>
                    <a:gd name="connsiteX124" fmla="*/ 15118 w 117845"/>
                    <a:gd name="connsiteY124" fmla="*/ 80959 h 150598"/>
                    <a:gd name="connsiteX125" fmla="*/ 11613 w 117845"/>
                    <a:gd name="connsiteY125" fmla="*/ 71913 h 150598"/>
                    <a:gd name="connsiteX126" fmla="*/ 11124 w 117845"/>
                    <a:gd name="connsiteY126" fmla="*/ 68857 h 150598"/>
                    <a:gd name="connsiteX127" fmla="*/ 10513 w 117845"/>
                    <a:gd name="connsiteY127" fmla="*/ 66975 h 150598"/>
                    <a:gd name="connsiteX128" fmla="*/ 9861 w 117845"/>
                    <a:gd name="connsiteY128" fmla="*/ 62810 h 150598"/>
                    <a:gd name="connsiteX129" fmla="*/ 9201 w 117845"/>
                    <a:gd name="connsiteY129" fmla="*/ 58637 h 150598"/>
                    <a:gd name="connsiteX130" fmla="*/ 8541 w 117845"/>
                    <a:gd name="connsiteY130" fmla="*/ 54473 h 150598"/>
                    <a:gd name="connsiteX131" fmla="*/ 7889 w 117845"/>
                    <a:gd name="connsiteY131" fmla="*/ 50300 h 150598"/>
                    <a:gd name="connsiteX132" fmla="*/ 7229 w 117845"/>
                    <a:gd name="connsiteY132" fmla="*/ 46128 h 150598"/>
                    <a:gd name="connsiteX133" fmla="*/ 6569 w 117845"/>
                    <a:gd name="connsiteY133" fmla="*/ 41955 h 150598"/>
                    <a:gd name="connsiteX134" fmla="*/ 5909 w 117845"/>
                    <a:gd name="connsiteY134" fmla="*/ 37774 h 150598"/>
                    <a:gd name="connsiteX135" fmla="*/ 5256 w 117845"/>
                    <a:gd name="connsiteY135" fmla="*/ 33593 h 150598"/>
                    <a:gd name="connsiteX136" fmla="*/ 4596 w 117845"/>
                    <a:gd name="connsiteY136" fmla="*/ 29404 h 150598"/>
                    <a:gd name="connsiteX137" fmla="*/ 3936 w 117845"/>
                    <a:gd name="connsiteY137" fmla="*/ 25215 h 150598"/>
                    <a:gd name="connsiteX138" fmla="*/ 3276 w 117845"/>
                    <a:gd name="connsiteY138" fmla="*/ 21026 h 150598"/>
                    <a:gd name="connsiteX139" fmla="*/ 2624 w 117845"/>
                    <a:gd name="connsiteY139" fmla="*/ 16837 h 150598"/>
                    <a:gd name="connsiteX140" fmla="*/ 1972 w 117845"/>
                    <a:gd name="connsiteY140" fmla="*/ 12640 h 150598"/>
                    <a:gd name="connsiteX141" fmla="*/ 1312 w 117845"/>
                    <a:gd name="connsiteY141" fmla="*/ 8443 h 150598"/>
                    <a:gd name="connsiteX142" fmla="*/ 660 w 117845"/>
                    <a:gd name="connsiteY142" fmla="*/ 4238 h 150598"/>
                    <a:gd name="connsiteX143" fmla="*/ 0 w 117845"/>
                    <a:gd name="connsiteY143" fmla="*/ 33 h 150598"/>
                    <a:gd name="connsiteX144" fmla="*/ 8052 w 117845"/>
                    <a:gd name="connsiteY144" fmla="*/ 139 h 150598"/>
                    <a:gd name="connsiteX145" fmla="*/ 16112 w 117845"/>
                    <a:gd name="connsiteY145" fmla="*/ 244 h 150598"/>
                    <a:gd name="connsiteX146" fmla="*/ 24164 w 117845"/>
                    <a:gd name="connsiteY146" fmla="*/ 350 h 150598"/>
                    <a:gd name="connsiteX147" fmla="*/ 32216 w 117845"/>
                    <a:gd name="connsiteY147" fmla="*/ 456 h 150598"/>
                    <a:gd name="connsiteX148" fmla="*/ 39722 w 117845"/>
                    <a:gd name="connsiteY148" fmla="*/ 342 h 150598"/>
                    <a:gd name="connsiteX149" fmla="*/ 47220 w 117845"/>
                    <a:gd name="connsiteY149" fmla="*/ 228 h 150598"/>
                    <a:gd name="connsiteX150" fmla="*/ 54717 w 117845"/>
                    <a:gd name="connsiteY150" fmla="*/ 114 h 150598"/>
                    <a:gd name="connsiteX151" fmla="*/ 62215 w 117845"/>
                    <a:gd name="connsiteY151" fmla="*/ 0 h 150598"/>
                    <a:gd name="connsiteX152" fmla="*/ 62044 w 117845"/>
                    <a:gd name="connsiteY152" fmla="*/ 73 h 150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17845" h="150598">
                      <a:moveTo>
                        <a:pt x="62044" y="73"/>
                      </a:moveTo>
                      <a:lnTo>
                        <a:pt x="60830" y="2298"/>
                      </a:lnTo>
                      <a:lnTo>
                        <a:pt x="57203" y="6479"/>
                      </a:lnTo>
                      <a:lnTo>
                        <a:pt x="56233" y="9682"/>
                      </a:lnTo>
                      <a:lnTo>
                        <a:pt x="60927" y="13252"/>
                      </a:lnTo>
                      <a:lnTo>
                        <a:pt x="60944" y="13284"/>
                      </a:lnTo>
                      <a:lnTo>
                        <a:pt x="63747" y="16169"/>
                      </a:lnTo>
                      <a:lnTo>
                        <a:pt x="65662" y="17294"/>
                      </a:lnTo>
                      <a:lnTo>
                        <a:pt x="67618" y="17644"/>
                      </a:lnTo>
                      <a:lnTo>
                        <a:pt x="68833" y="18590"/>
                      </a:lnTo>
                      <a:lnTo>
                        <a:pt x="69550" y="20912"/>
                      </a:lnTo>
                      <a:lnTo>
                        <a:pt x="69550" y="20912"/>
                      </a:lnTo>
                      <a:lnTo>
                        <a:pt x="75238" y="32330"/>
                      </a:lnTo>
                      <a:lnTo>
                        <a:pt x="75238" y="32330"/>
                      </a:lnTo>
                      <a:lnTo>
                        <a:pt x="81122" y="38222"/>
                      </a:lnTo>
                      <a:lnTo>
                        <a:pt x="83494" y="41107"/>
                      </a:lnTo>
                      <a:lnTo>
                        <a:pt x="84692" y="43911"/>
                      </a:lnTo>
                      <a:lnTo>
                        <a:pt x="89720" y="48499"/>
                      </a:lnTo>
                      <a:lnTo>
                        <a:pt x="91440" y="50968"/>
                      </a:lnTo>
                      <a:lnTo>
                        <a:pt x="91530" y="52843"/>
                      </a:lnTo>
                      <a:lnTo>
                        <a:pt x="92124" y="54171"/>
                      </a:lnTo>
                      <a:lnTo>
                        <a:pt x="93233" y="54954"/>
                      </a:lnTo>
                      <a:lnTo>
                        <a:pt x="94292" y="56624"/>
                      </a:lnTo>
                      <a:lnTo>
                        <a:pt x="95311" y="59192"/>
                      </a:lnTo>
                      <a:lnTo>
                        <a:pt x="97324" y="61425"/>
                      </a:lnTo>
                      <a:lnTo>
                        <a:pt x="100323" y="63323"/>
                      </a:lnTo>
                      <a:lnTo>
                        <a:pt x="102524" y="67651"/>
                      </a:lnTo>
                      <a:lnTo>
                        <a:pt x="103909" y="74407"/>
                      </a:lnTo>
                      <a:lnTo>
                        <a:pt x="105319" y="78327"/>
                      </a:lnTo>
                      <a:lnTo>
                        <a:pt x="107470" y="79957"/>
                      </a:lnTo>
                      <a:lnTo>
                        <a:pt x="110413" y="85711"/>
                      </a:lnTo>
                      <a:lnTo>
                        <a:pt x="111374" y="89134"/>
                      </a:lnTo>
                      <a:lnTo>
                        <a:pt x="111325" y="92141"/>
                      </a:lnTo>
                      <a:lnTo>
                        <a:pt x="112817" y="94480"/>
                      </a:lnTo>
                      <a:lnTo>
                        <a:pt x="117845" y="97080"/>
                      </a:lnTo>
                      <a:lnTo>
                        <a:pt x="116574" y="99818"/>
                      </a:lnTo>
                      <a:lnTo>
                        <a:pt x="113542" y="101529"/>
                      </a:lnTo>
                      <a:lnTo>
                        <a:pt x="112613" y="101464"/>
                      </a:lnTo>
                      <a:lnTo>
                        <a:pt x="111863" y="101969"/>
                      </a:lnTo>
                      <a:lnTo>
                        <a:pt x="112303" y="103184"/>
                      </a:lnTo>
                      <a:lnTo>
                        <a:pt x="113053" y="104072"/>
                      </a:lnTo>
                      <a:lnTo>
                        <a:pt x="113037" y="104895"/>
                      </a:lnTo>
                      <a:lnTo>
                        <a:pt x="112230" y="106012"/>
                      </a:lnTo>
                      <a:lnTo>
                        <a:pt x="110657" y="106330"/>
                      </a:lnTo>
                      <a:lnTo>
                        <a:pt x="109769" y="107609"/>
                      </a:lnTo>
                      <a:lnTo>
                        <a:pt x="110054" y="108815"/>
                      </a:lnTo>
                      <a:lnTo>
                        <a:pt x="110576" y="109492"/>
                      </a:lnTo>
                      <a:lnTo>
                        <a:pt x="110461" y="110649"/>
                      </a:lnTo>
                      <a:lnTo>
                        <a:pt x="108668" y="111814"/>
                      </a:lnTo>
                      <a:lnTo>
                        <a:pt x="108245" y="112964"/>
                      </a:lnTo>
                      <a:lnTo>
                        <a:pt x="109133" y="113306"/>
                      </a:lnTo>
                      <a:lnTo>
                        <a:pt x="109818" y="112964"/>
                      </a:lnTo>
                      <a:lnTo>
                        <a:pt x="110323" y="113208"/>
                      </a:lnTo>
                      <a:lnTo>
                        <a:pt x="109247" y="115123"/>
                      </a:lnTo>
                      <a:lnTo>
                        <a:pt x="108277" y="116289"/>
                      </a:lnTo>
                      <a:lnTo>
                        <a:pt x="107356" y="118383"/>
                      </a:lnTo>
                      <a:lnTo>
                        <a:pt x="105229" y="118962"/>
                      </a:lnTo>
                      <a:lnTo>
                        <a:pt x="105303" y="119638"/>
                      </a:lnTo>
                      <a:lnTo>
                        <a:pt x="106509" y="120241"/>
                      </a:lnTo>
                      <a:lnTo>
                        <a:pt x="107519" y="121855"/>
                      </a:lnTo>
                      <a:lnTo>
                        <a:pt x="105620" y="124821"/>
                      </a:lnTo>
                      <a:lnTo>
                        <a:pt x="104439" y="124577"/>
                      </a:lnTo>
                      <a:lnTo>
                        <a:pt x="103713" y="123925"/>
                      </a:lnTo>
                      <a:lnTo>
                        <a:pt x="103257" y="126264"/>
                      </a:lnTo>
                      <a:lnTo>
                        <a:pt x="103428" y="127519"/>
                      </a:lnTo>
                      <a:lnTo>
                        <a:pt x="102972" y="130070"/>
                      </a:lnTo>
                      <a:lnTo>
                        <a:pt x="102246" y="133142"/>
                      </a:lnTo>
                      <a:lnTo>
                        <a:pt x="101758" y="134397"/>
                      </a:lnTo>
                      <a:lnTo>
                        <a:pt x="101863" y="136744"/>
                      </a:lnTo>
                      <a:lnTo>
                        <a:pt x="102173" y="139010"/>
                      </a:lnTo>
                      <a:lnTo>
                        <a:pt x="97968" y="138725"/>
                      </a:lnTo>
                      <a:lnTo>
                        <a:pt x="92834" y="136598"/>
                      </a:lnTo>
                      <a:lnTo>
                        <a:pt x="91464" y="136166"/>
                      </a:lnTo>
                      <a:lnTo>
                        <a:pt x="90935" y="136337"/>
                      </a:lnTo>
                      <a:lnTo>
                        <a:pt x="90291" y="137136"/>
                      </a:lnTo>
                      <a:lnTo>
                        <a:pt x="89549" y="137510"/>
                      </a:lnTo>
                      <a:lnTo>
                        <a:pt x="88922" y="138994"/>
                      </a:lnTo>
                      <a:lnTo>
                        <a:pt x="88848" y="141528"/>
                      </a:lnTo>
                      <a:lnTo>
                        <a:pt x="89329" y="144536"/>
                      </a:lnTo>
                      <a:lnTo>
                        <a:pt x="89133" y="147184"/>
                      </a:lnTo>
                      <a:lnTo>
                        <a:pt x="88343" y="149531"/>
                      </a:lnTo>
                      <a:lnTo>
                        <a:pt x="87096" y="150599"/>
                      </a:lnTo>
                      <a:lnTo>
                        <a:pt x="85841" y="150460"/>
                      </a:lnTo>
                      <a:lnTo>
                        <a:pt x="85059" y="149890"/>
                      </a:lnTo>
                      <a:lnTo>
                        <a:pt x="84765" y="148977"/>
                      </a:lnTo>
                      <a:lnTo>
                        <a:pt x="84602" y="147078"/>
                      </a:lnTo>
                      <a:lnTo>
                        <a:pt x="83950" y="145407"/>
                      </a:lnTo>
                      <a:lnTo>
                        <a:pt x="83926" y="144348"/>
                      </a:lnTo>
                      <a:lnTo>
                        <a:pt x="79973" y="144038"/>
                      </a:lnTo>
                      <a:lnTo>
                        <a:pt x="76021" y="143737"/>
                      </a:lnTo>
                      <a:lnTo>
                        <a:pt x="72068" y="143435"/>
                      </a:lnTo>
                      <a:lnTo>
                        <a:pt x="68115" y="143134"/>
                      </a:lnTo>
                      <a:lnTo>
                        <a:pt x="64163" y="142840"/>
                      </a:lnTo>
                      <a:lnTo>
                        <a:pt x="60210" y="142539"/>
                      </a:lnTo>
                      <a:lnTo>
                        <a:pt x="56257" y="142237"/>
                      </a:lnTo>
                      <a:lnTo>
                        <a:pt x="52305" y="141936"/>
                      </a:lnTo>
                      <a:lnTo>
                        <a:pt x="48352" y="141634"/>
                      </a:lnTo>
                      <a:lnTo>
                        <a:pt x="44400" y="141333"/>
                      </a:lnTo>
                      <a:lnTo>
                        <a:pt x="40447" y="141031"/>
                      </a:lnTo>
                      <a:lnTo>
                        <a:pt x="36494" y="140729"/>
                      </a:lnTo>
                      <a:lnTo>
                        <a:pt x="32542" y="140428"/>
                      </a:lnTo>
                      <a:lnTo>
                        <a:pt x="28589" y="140135"/>
                      </a:lnTo>
                      <a:lnTo>
                        <a:pt x="24636" y="139833"/>
                      </a:lnTo>
                      <a:lnTo>
                        <a:pt x="20684" y="139531"/>
                      </a:lnTo>
                      <a:lnTo>
                        <a:pt x="18361" y="139344"/>
                      </a:lnTo>
                      <a:lnTo>
                        <a:pt x="18288" y="138114"/>
                      </a:lnTo>
                      <a:lnTo>
                        <a:pt x="16324" y="132849"/>
                      </a:lnTo>
                      <a:lnTo>
                        <a:pt x="15305" y="130306"/>
                      </a:lnTo>
                      <a:lnTo>
                        <a:pt x="13814" y="126573"/>
                      </a:lnTo>
                      <a:lnTo>
                        <a:pt x="13186" y="120820"/>
                      </a:lnTo>
                      <a:lnTo>
                        <a:pt x="14124" y="111871"/>
                      </a:lnTo>
                      <a:lnTo>
                        <a:pt x="13822" y="109850"/>
                      </a:lnTo>
                      <a:lnTo>
                        <a:pt x="13822" y="109842"/>
                      </a:lnTo>
                      <a:lnTo>
                        <a:pt x="12396" y="105270"/>
                      </a:lnTo>
                      <a:lnTo>
                        <a:pt x="12412" y="101912"/>
                      </a:lnTo>
                      <a:lnTo>
                        <a:pt x="13895" y="96403"/>
                      </a:lnTo>
                      <a:lnTo>
                        <a:pt x="13895" y="96379"/>
                      </a:lnTo>
                      <a:lnTo>
                        <a:pt x="14637" y="93257"/>
                      </a:lnTo>
                      <a:lnTo>
                        <a:pt x="15664" y="91489"/>
                      </a:lnTo>
                      <a:lnTo>
                        <a:pt x="17237" y="90038"/>
                      </a:lnTo>
                      <a:lnTo>
                        <a:pt x="17432" y="88759"/>
                      </a:lnTo>
                      <a:lnTo>
                        <a:pt x="16267" y="87658"/>
                      </a:lnTo>
                      <a:lnTo>
                        <a:pt x="15835" y="86314"/>
                      </a:lnTo>
                      <a:lnTo>
                        <a:pt x="16145" y="84749"/>
                      </a:lnTo>
                      <a:lnTo>
                        <a:pt x="15118" y="80959"/>
                      </a:lnTo>
                      <a:lnTo>
                        <a:pt x="11613" y="71913"/>
                      </a:lnTo>
                      <a:lnTo>
                        <a:pt x="11124" y="68857"/>
                      </a:lnTo>
                      <a:lnTo>
                        <a:pt x="10513" y="66975"/>
                      </a:lnTo>
                      <a:lnTo>
                        <a:pt x="9861" y="62810"/>
                      </a:lnTo>
                      <a:lnTo>
                        <a:pt x="9201" y="58637"/>
                      </a:lnTo>
                      <a:lnTo>
                        <a:pt x="8541" y="54473"/>
                      </a:lnTo>
                      <a:lnTo>
                        <a:pt x="7889" y="50300"/>
                      </a:lnTo>
                      <a:lnTo>
                        <a:pt x="7229" y="46128"/>
                      </a:lnTo>
                      <a:lnTo>
                        <a:pt x="6569" y="41955"/>
                      </a:lnTo>
                      <a:lnTo>
                        <a:pt x="5909" y="37774"/>
                      </a:lnTo>
                      <a:lnTo>
                        <a:pt x="5256" y="33593"/>
                      </a:lnTo>
                      <a:lnTo>
                        <a:pt x="4596" y="29404"/>
                      </a:lnTo>
                      <a:lnTo>
                        <a:pt x="3936" y="25215"/>
                      </a:lnTo>
                      <a:lnTo>
                        <a:pt x="3276" y="21026"/>
                      </a:lnTo>
                      <a:lnTo>
                        <a:pt x="2624" y="16837"/>
                      </a:lnTo>
                      <a:lnTo>
                        <a:pt x="1972" y="12640"/>
                      </a:lnTo>
                      <a:lnTo>
                        <a:pt x="1312" y="8443"/>
                      </a:lnTo>
                      <a:lnTo>
                        <a:pt x="660" y="4238"/>
                      </a:lnTo>
                      <a:lnTo>
                        <a:pt x="0" y="33"/>
                      </a:lnTo>
                      <a:lnTo>
                        <a:pt x="8052" y="139"/>
                      </a:lnTo>
                      <a:lnTo>
                        <a:pt x="16112" y="244"/>
                      </a:lnTo>
                      <a:lnTo>
                        <a:pt x="24164" y="350"/>
                      </a:lnTo>
                      <a:lnTo>
                        <a:pt x="32216" y="456"/>
                      </a:lnTo>
                      <a:lnTo>
                        <a:pt x="39722" y="342"/>
                      </a:lnTo>
                      <a:lnTo>
                        <a:pt x="47220" y="228"/>
                      </a:lnTo>
                      <a:lnTo>
                        <a:pt x="54717" y="114"/>
                      </a:lnTo>
                      <a:lnTo>
                        <a:pt x="62215" y="0"/>
                      </a:lnTo>
                      <a:lnTo>
                        <a:pt x="62044" y="73"/>
                      </a:lnTo>
                      <a:close/>
                    </a:path>
                  </a:pathLst>
                </a:custGeom>
                <a:solidFill>
                  <a:srgbClr val="D6D6D2"/>
                </a:solidFill>
                <a:ln w="6112" cap="rnd">
                  <a:solidFill>
                    <a:srgbClr val="FFFFFF"/>
                  </a:solidFill>
                  <a:prstDash val="solid"/>
                  <a:round/>
                </a:ln>
              </p:spPr>
              <p:txBody>
                <a:bodyPr rtlCol="0" anchor="ctr"/>
                <a:lstStyle/>
                <a:p>
                  <a:endParaRPr lang="en-US"/>
                </a:p>
              </p:txBody>
            </p:sp>
            <p:sp>
              <p:nvSpPr>
                <p:cNvPr id="464" name="Freeform: Shape 463">
                  <a:extLst>
                    <a:ext uri="{FF2B5EF4-FFF2-40B4-BE49-F238E27FC236}">
                      <a16:creationId xmlns:a16="http://schemas.microsoft.com/office/drawing/2014/main" id="{4E037F8A-6AF0-48F7-9A24-25C05F2878D4}"/>
                    </a:ext>
                  </a:extLst>
                </p:cNvPr>
                <p:cNvSpPr/>
                <p:nvPr/>
              </p:nvSpPr>
              <p:spPr>
                <a:xfrm>
                  <a:off x="3770718" y="3572991"/>
                  <a:ext cx="187663" cy="186718"/>
                </a:xfrm>
                <a:custGeom>
                  <a:avLst/>
                  <a:gdLst>
                    <a:gd name="connsiteX0" fmla="*/ 129222 w 187663"/>
                    <a:gd name="connsiteY0" fmla="*/ 13765 h 186718"/>
                    <a:gd name="connsiteX1" fmla="*/ 133175 w 187663"/>
                    <a:gd name="connsiteY1" fmla="*/ 14075 h 186718"/>
                    <a:gd name="connsiteX2" fmla="*/ 133199 w 187663"/>
                    <a:gd name="connsiteY2" fmla="*/ 15134 h 186718"/>
                    <a:gd name="connsiteX3" fmla="*/ 133851 w 187663"/>
                    <a:gd name="connsiteY3" fmla="*/ 16805 h 186718"/>
                    <a:gd name="connsiteX4" fmla="*/ 134014 w 187663"/>
                    <a:gd name="connsiteY4" fmla="*/ 18703 h 186718"/>
                    <a:gd name="connsiteX5" fmla="*/ 134308 w 187663"/>
                    <a:gd name="connsiteY5" fmla="*/ 19616 h 186718"/>
                    <a:gd name="connsiteX6" fmla="*/ 135090 w 187663"/>
                    <a:gd name="connsiteY6" fmla="*/ 20187 h 186718"/>
                    <a:gd name="connsiteX7" fmla="*/ 136345 w 187663"/>
                    <a:gd name="connsiteY7" fmla="*/ 20325 h 186718"/>
                    <a:gd name="connsiteX8" fmla="*/ 137592 w 187663"/>
                    <a:gd name="connsiteY8" fmla="*/ 19258 h 186718"/>
                    <a:gd name="connsiteX9" fmla="*/ 138383 w 187663"/>
                    <a:gd name="connsiteY9" fmla="*/ 16911 h 186718"/>
                    <a:gd name="connsiteX10" fmla="*/ 138578 w 187663"/>
                    <a:gd name="connsiteY10" fmla="*/ 14262 h 186718"/>
                    <a:gd name="connsiteX11" fmla="*/ 138097 w 187663"/>
                    <a:gd name="connsiteY11" fmla="*/ 11255 h 186718"/>
                    <a:gd name="connsiteX12" fmla="*/ 138171 w 187663"/>
                    <a:gd name="connsiteY12" fmla="*/ 8720 h 186718"/>
                    <a:gd name="connsiteX13" fmla="*/ 138798 w 187663"/>
                    <a:gd name="connsiteY13" fmla="*/ 7237 h 186718"/>
                    <a:gd name="connsiteX14" fmla="*/ 139540 w 187663"/>
                    <a:gd name="connsiteY14" fmla="*/ 6862 h 186718"/>
                    <a:gd name="connsiteX15" fmla="*/ 140184 w 187663"/>
                    <a:gd name="connsiteY15" fmla="*/ 6063 h 186718"/>
                    <a:gd name="connsiteX16" fmla="*/ 140713 w 187663"/>
                    <a:gd name="connsiteY16" fmla="*/ 5892 h 186718"/>
                    <a:gd name="connsiteX17" fmla="*/ 142083 w 187663"/>
                    <a:gd name="connsiteY17" fmla="*/ 6324 h 186718"/>
                    <a:gd name="connsiteX18" fmla="*/ 147217 w 187663"/>
                    <a:gd name="connsiteY18" fmla="*/ 8451 h 186718"/>
                    <a:gd name="connsiteX19" fmla="*/ 151422 w 187663"/>
                    <a:gd name="connsiteY19" fmla="*/ 8736 h 186718"/>
                    <a:gd name="connsiteX20" fmla="*/ 152579 w 187663"/>
                    <a:gd name="connsiteY20" fmla="*/ 11654 h 186718"/>
                    <a:gd name="connsiteX21" fmla="*/ 154348 w 187663"/>
                    <a:gd name="connsiteY21" fmla="*/ 23577 h 186718"/>
                    <a:gd name="connsiteX22" fmla="*/ 155554 w 187663"/>
                    <a:gd name="connsiteY22" fmla="*/ 27717 h 186718"/>
                    <a:gd name="connsiteX23" fmla="*/ 157730 w 187663"/>
                    <a:gd name="connsiteY23" fmla="*/ 38858 h 186718"/>
                    <a:gd name="connsiteX24" fmla="*/ 161324 w 187663"/>
                    <a:gd name="connsiteY24" fmla="*/ 49648 h 186718"/>
                    <a:gd name="connsiteX25" fmla="*/ 166401 w 187663"/>
                    <a:gd name="connsiteY25" fmla="*/ 62663 h 186718"/>
                    <a:gd name="connsiteX26" fmla="*/ 174722 w 187663"/>
                    <a:gd name="connsiteY26" fmla="*/ 78408 h 186718"/>
                    <a:gd name="connsiteX27" fmla="*/ 175716 w 187663"/>
                    <a:gd name="connsiteY27" fmla="*/ 80650 h 186718"/>
                    <a:gd name="connsiteX28" fmla="*/ 174633 w 187663"/>
                    <a:gd name="connsiteY28" fmla="*/ 82549 h 186718"/>
                    <a:gd name="connsiteX29" fmla="*/ 174298 w 187663"/>
                    <a:gd name="connsiteY29" fmla="*/ 84513 h 186718"/>
                    <a:gd name="connsiteX30" fmla="*/ 174201 w 187663"/>
                    <a:gd name="connsiteY30" fmla="*/ 87479 h 186718"/>
                    <a:gd name="connsiteX31" fmla="*/ 174502 w 187663"/>
                    <a:gd name="connsiteY31" fmla="*/ 90364 h 186718"/>
                    <a:gd name="connsiteX32" fmla="*/ 175488 w 187663"/>
                    <a:gd name="connsiteY32" fmla="*/ 93885 h 186718"/>
                    <a:gd name="connsiteX33" fmla="*/ 177379 w 187663"/>
                    <a:gd name="connsiteY33" fmla="*/ 99272 h 186718"/>
                    <a:gd name="connsiteX34" fmla="*/ 176320 w 187663"/>
                    <a:gd name="connsiteY34" fmla="*/ 98204 h 186718"/>
                    <a:gd name="connsiteX35" fmla="*/ 173581 w 187663"/>
                    <a:gd name="connsiteY35" fmla="*/ 90470 h 186718"/>
                    <a:gd name="connsiteX36" fmla="*/ 173263 w 187663"/>
                    <a:gd name="connsiteY36" fmla="*/ 85923 h 186718"/>
                    <a:gd name="connsiteX37" fmla="*/ 173655 w 187663"/>
                    <a:gd name="connsiteY37" fmla="*/ 79468 h 186718"/>
                    <a:gd name="connsiteX38" fmla="*/ 173011 w 187663"/>
                    <a:gd name="connsiteY38" fmla="*/ 79631 h 186718"/>
                    <a:gd name="connsiteX39" fmla="*/ 172489 w 187663"/>
                    <a:gd name="connsiteY39" fmla="*/ 81725 h 186718"/>
                    <a:gd name="connsiteX40" fmla="*/ 172196 w 187663"/>
                    <a:gd name="connsiteY40" fmla="*/ 84187 h 186718"/>
                    <a:gd name="connsiteX41" fmla="*/ 171503 w 187663"/>
                    <a:gd name="connsiteY41" fmla="*/ 85140 h 186718"/>
                    <a:gd name="connsiteX42" fmla="*/ 170549 w 187663"/>
                    <a:gd name="connsiteY42" fmla="*/ 81375 h 186718"/>
                    <a:gd name="connsiteX43" fmla="*/ 170615 w 187663"/>
                    <a:gd name="connsiteY43" fmla="*/ 79680 h 186718"/>
                    <a:gd name="connsiteX44" fmla="*/ 171625 w 187663"/>
                    <a:gd name="connsiteY44" fmla="*/ 77691 h 186718"/>
                    <a:gd name="connsiteX45" fmla="*/ 171332 w 187663"/>
                    <a:gd name="connsiteY45" fmla="*/ 76982 h 186718"/>
                    <a:gd name="connsiteX46" fmla="*/ 169710 w 187663"/>
                    <a:gd name="connsiteY46" fmla="*/ 75964 h 186718"/>
                    <a:gd name="connsiteX47" fmla="*/ 169360 w 187663"/>
                    <a:gd name="connsiteY47" fmla="*/ 74366 h 186718"/>
                    <a:gd name="connsiteX48" fmla="*/ 169580 w 187663"/>
                    <a:gd name="connsiteY48" fmla="*/ 72785 h 186718"/>
                    <a:gd name="connsiteX49" fmla="*/ 168651 w 187663"/>
                    <a:gd name="connsiteY49" fmla="*/ 71938 h 186718"/>
                    <a:gd name="connsiteX50" fmla="*/ 167917 w 187663"/>
                    <a:gd name="connsiteY50" fmla="*/ 71970 h 186718"/>
                    <a:gd name="connsiteX51" fmla="*/ 168406 w 187663"/>
                    <a:gd name="connsiteY51" fmla="*/ 75866 h 186718"/>
                    <a:gd name="connsiteX52" fmla="*/ 169180 w 187663"/>
                    <a:gd name="connsiteY52" fmla="*/ 78254 h 186718"/>
                    <a:gd name="connsiteX53" fmla="*/ 170134 w 187663"/>
                    <a:gd name="connsiteY53" fmla="*/ 83983 h 186718"/>
                    <a:gd name="connsiteX54" fmla="*/ 171674 w 187663"/>
                    <a:gd name="connsiteY54" fmla="*/ 87446 h 186718"/>
                    <a:gd name="connsiteX55" fmla="*/ 172571 w 187663"/>
                    <a:gd name="connsiteY55" fmla="*/ 90348 h 186718"/>
                    <a:gd name="connsiteX56" fmla="*/ 183092 w 187663"/>
                    <a:gd name="connsiteY56" fmla="*/ 121276 h 186718"/>
                    <a:gd name="connsiteX57" fmla="*/ 185578 w 187663"/>
                    <a:gd name="connsiteY57" fmla="*/ 125204 h 186718"/>
                    <a:gd name="connsiteX58" fmla="*/ 186499 w 187663"/>
                    <a:gd name="connsiteY58" fmla="*/ 128024 h 186718"/>
                    <a:gd name="connsiteX59" fmla="*/ 187452 w 187663"/>
                    <a:gd name="connsiteY59" fmla="*/ 133924 h 186718"/>
                    <a:gd name="connsiteX60" fmla="*/ 187664 w 187663"/>
                    <a:gd name="connsiteY60" fmla="*/ 141487 h 186718"/>
                    <a:gd name="connsiteX61" fmla="*/ 185953 w 187663"/>
                    <a:gd name="connsiteY61" fmla="*/ 155285 h 186718"/>
                    <a:gd name="connsiteX62" fmla="*/ 185561 w 187663"/>
                    <a:gd name="connsiteY62" fmla="*/ 164682 h 186718"/>
                    <a:gd name="connsiteX63" fmla="*/ 185317 w 187663"/>
                    <a:gd name="connsiteY63" fmla="*/ 164396 h 186718"/>
                    <a:gd name="connsiteX64" fmla="*/ 185146 w 187663"/>
                    <a:gd name="connsiteY64" fmla="*/ 163402 h 186718"/>
                    <a:gd name="connsiteX65" fmla="*/ 184755 w 187663"/>
                    <a:gd name="connsiteY65" fmla="*/ 163272 h 186718"/>
                    <a:gd name="connsiteX66" fmla="*/ 183263 w 187663"/>
                    <a:gd name="connsiteY66" fmla="*/ 167566 h 186718"/>
                    <a:gd name="connsiteX67" fmla="*/ 181234 w 187663"/>
                    <a:gd name="connsiteY67" fmla="*/ 171454 h 186718"/>
                    <a:gd name="connsiteX68" fmla="*/ 180566 w 187663"/>
                    <a:gd name="connsiteY68" fmla="*/ 177477 h 186718"/>
                    <a:gd name="connsiteX69" fmla="*/ 179596 w 187663"/>
                    <a:gd name="connsiteY69" fmla="*/ 180492 h 186718"/>
                    <a:gd name="connsiteX70" fmla="*/ 176678 w 187663"/>
                    <a:gd name="connsiteY70" fmla="*/ 183687 h 186718"/>
                    <a:gd name="connsiteX71" fmla="*/ 174869 w 187663"/>
                    <a:gd name="connsiteY71" fmla="*/ 183605 h 186718"/>
                    <a:gd name="connsiteX72" fmla="*/ 170435 w 187663"/>
                    <a:gd name="connsiteY72" fmla="*/ 185993 h 186718"/>
                    <a:gd name="connsiteX73" fmla="*/ 167314 w 187663"/>
                    <a:gd name="connsiteY73" fmla="*/ 185374 h 186718"/>
                    <a:gd name="connsiteX74" fmla="*/ 163598 w 187663"/>
                    <a:gd name="connsiteY74" fmla="*/ 186718 h 186718"/>
                    <a:gd name="connsiteX75" fmla="*/ 161161 w 187663"/>
                    <a:gd name="connsiteY75" fmla="*/ 186572 h 186718"/>
                    <a:gd name="connsiteX76" fmla="*/ 159751 w 187663"/>
                    <a:gd name="connsiteY76" fmla="*/ 183727 h 186718"/>
                    <a:gd name="connsiteX77" fmla="*/ 159963 w 187663"/>
                    <a:gd name="connsiteY77" fmla="*/ 182456 h 186718"/>
                    <a:gd name="connsiteX78" fmla="*/ 160525 w 187663"/>
                    <a:gd name="connsiteY78" fmla="*/ 181177 h 186718"/>
                    <a:gd name="connsiteX79" fmla="*/ 161471 w 187663"/>
                    <a:gd name="connsiteY79" fmla="*/ 180875 h 186718"/>
                    <a:gd name="connsiteX80" fmla="*/ 164755 w 187663"/>
                    <a:gd name="connsiteY80" fmla="*/ 183858 h 186718"/>
                    <a:gd name="connsiteX81" fmla="*/ 165374 w 187663"/>
                    <a:gd name="connsiteY81" fmla="*/ 182603 h 186718"/>
                    <a:gd name="connsiteX82" fmla="*/ 164388 w 187663"/>
                    <a:gd name="connsiteY82" fmla="*/ 181111 h 186718"/>
                    <a:gd name="connsiteX83" fmla="*/ 162490 w 187663"/>
                    <a:gd name="connsiteY83" fmla="*/ 180280 h 186718"/>
                    <a:gd name="connsiteX84" fmla="*/ 161088 w 187663"/>
                    <a:gd name="connsiteY84" fmla="*/ 179359 h 186718"/>
                    <a:gd name="connsiteX85" fmla="*/ 158260 w 187663"/>
                    <a:gd name="connsiteY85" fmla="*/ 172562 h 186718"/>
                    <a:gd name="connsiteX86" fmla="*/ 155334 w 187663"/>
                    <a:gd name="connsiteY86" fmla="*/ 167884 h 186718"/>
                    <a:gd name="connsiteX87" fmla="*/ 154837 w 187663"/>
                    <a:gd name="connsiteY87" fmla="*/ 164763 h 186718"/>
                    <a:gd name="connsiteX88" fmla="*/ 149792 w 187663"/>
                    <a:gd name="connsiteY88" fmla="*/ 162856 h 186718"/>
                    <a:gd name="connsiteX89" fmla="*/ 146141 w 187663"/>
                    <a:gd name="connsiteY89" fmla="*/ 159971 h 186718"/>
                    <a:gd name="connsiteX90" fmla="*/ 143761 w 187663"/>
                    <a:gd name="connsiteY90" fmla="*/ 154837 h 186718"/>
                    <a:gd name="connsiteX91" fmla="*/ 142400 w 187663"/>
                    <a:gd name="connsiteY91" fmla="*/ 145717 h 186718"/>
                    <a:gd name="connsiteX92" fmla="*/ 140787 w 187663"/>
                    <a:gd name="connsiteY92" fmla="*/ 144690 h 186718"/>
                    <a:gd name="connsiteX93" fmla="*/ 140110 w 187663"/>
                    <a:gd name="connsiteY93" fmla="*/ 143981 h 186718"/>
                    <a:gd name="connsiteX94" fmla="*/ 141683 w 187663"/>
                    <a:gd name="connsiteY94" fmla="*/ 140591 h 186718"/>
                    <a:gd name="connsiteX95" fmla="*/ 143338 w 187663"/>
                    <a:gd name="connsiteY95" fmla="*/ 137747 h 186718"/>
                    <a:gd name="connsiteX96" fmla="*/ 142025 w 187663"/>
                    <a:gd name="connsiteY96" fmla="*/ 138456 h 186718"/>
                    <a:gd name="connsiteX97" fmla="*/ 141056 w 187663"/>
                    <a:gd name="connsiteY97" fmla="*/ 139507 h 186718"/>
                    <a:gd name="connsiteX98" fmla="*/ 139825 w 187663"/>
                    <a:gd name="connsiteY98" fmla="*/ 142017 h 186718"/>
                    <a:gd name="connsiteX99" fmla="*/ 138928 w 187663"/>
                    <a:gd name="connsiteY99" fmla="*/ 142400 h 186718"/>
                    <a:gd name="connsiteX100" fmla="*/ 138105 w 187663"/>
                    <a:gd name="connsiteY100" fmla="*/ 142017 h 186718"/>
                    <a:gd name="connsiteX101" fmla="*/ 137152 w 187663"/>
                    <a:gd name="connsiteY101" fmla="*/ 137209 h 186718"/>
                    <a:gd name="connsiteX102" fmla="*/ 137429 w 187663"/>
                    <a:gd name="connsiteY102" fmla="*/ 131284 h 186718"/>
                    <a:gd name="connsiteX103" fmla="*/ 138757 w 187663"/>
                    <a:gd name="connsiteY103" fmla="*/ 129067 h 186718"/>
                    <a:gd name="connsiteX104" fmla="*/ 136712 w 187663"/>
                    <a:gd name="connsiteY104" fmla="*/ 129010 h 186718"/>
                    <a:gd name="connsiteX105" fmla="*/ 134593 w 187663"/>
                    <a:gd name="connsiteY105" fmla="*/ 129858 h 186718"/>
                    <a:gd name="connsiteX106" fmla="*/ 134903 w 187663"/>
                    <a:gd name="connsiteY106" fmla="*/ 131830 h 186718"/>
                    <a:gd name="connsiteX107" fmla="*/ 134601 w 187663"/>
                    <a:gd name="connsiteY107" fmla="*/ 132914 h 186718"/>
                    <a:gd name="connsiteX108" fmla="*/ 133061 w 187663"/>
                    <a:gd name="connsiteY108" fmla="*/ 132637 h 186718"/>
                    <a:gd name="connsiteX109" fmla="*/ 131887 w 187663"/>
                    <a:gd name="connsiteY109" fmla="*/ 131936 h 186718"/>
                    <a:gd name="connsiteX110" fmla="*/ 130298 w 187663"/>
                    <a:gd name="connsiteY110" fmla="*/ 129882 h 186718"/>
                    <a:gd name="connsiteX111" fmla="*/ 128130 w 187663"/>
                    <a:gd name="connsiteY111" fmla="*/ 125954 h 186718"/>
                    <a:gd name="connsiteX112" fmla="*/ 123697 w 187663"/>
                    <a:gd name="connsiteY112" fmla="*/ 115139 h 186718"/>
                    <a:gd name="connsiteX113" fmla="*/ 122825 w 187663"/>
                    <a:gd name="connsiteY113" fmla="*/ 113607 h 186718"/>
                    <a:gd name="connsiteX114" fmla="*/ 121358 w 187663"/>
                    <a:gd name="connsiteY114" fmla="*/ 112010 h 186718"/>
                    <a:gd name="connsiteX115" fmla="*/ 122042 w 187663"/>
                    <a:gd name="connsiteY115" fmla="*/ 111513 h 186718"/>
                    <a:gd name="connsiteX116" fmla="*/ 123305 w 187663"/>
                    <a:gd name="connsiteY116" fmla="*/ 111219 h 186718"/>
                    <a:gd name="connsiteX117" fmla="*/ 126158 w 187663"/>
                    <a:gd name="connsiteY117" fmla="*/ 106337 h 186718"/>
                    <a:gd name="connsiteX118" fmla="*/ 128399 w 187663"/>
                    <a:gd name="connsiteY118" fmla="*/ 103387 h 186718"/>
                    <a:gd name="connsiteX119" fmla="*/ 129141 w 187663"/>
                    <a:gd name="connsiteY119" fmla="*/ 101350 h 186718"/>
                    <a:gd name="connsiteX120" fmla="*/ 129010 w 187663"/>
                    <a:gd name="connsiteY120" fmla="*/ 100478 h 186718"/>
                    <a:gd name="connsiteX121" fmla="*/ 128016 w 187663"/>
                    <a:gd name="connsiteY121" fmla="*/ 99215 h 186718"/>
                    <a:gd name="connsiteX122" fmla="*/ 126712 w 187663"/>
                    <a:gd name="connsiteY122" fmla="*/ 100323 h 186718"/>
                    <a:gd name="connsiteX123" fmla="*/ 126158 w 187663"/>
                    <a:gd name="connsiteY123" fmla="*/ 100005 h 186718"/>
                    <a:gd name="connsiteX124" fmla="*/ 124691 w 187663"/>
                    <a:gd name="connsiteY124" fmla="*/ 97446 h 186718"/>
                    <a:gd name="connsiteX125" fmla="*/ 123297 w 187663"/>
                    <a:gd name="connsiteY125" fmla="*/ 96721 h 186718"/>
                    <a:gd name="connsiteX126" fmla="*/ 122319 w 187663"/>
                    <a:gd name="connsiteY126" fmla="*/ 97275 h 186718"/>
                    <a:gd name="connsiteX127" fmla="*/ 123346 w 187663"/>
                    <a:gd name="connsiteY127" fmla="*/ 99370 h 186718"/>
                    <a:gd name="connsiteX128" fmla="*/ 124275 w 187663"/>
                    <a:gd name="connsiteY128" fmla="*/ 100152 h 186718"/>
                    <a:gd name="connsiteX129" fmla="*/ 123917 w 187663"/>
                    <a:gd name="connsiteY129" fmla="*/ 103208 h 186718"/>
                    <a:gd name="connsiteX130" fmla="*/ 123542 w 187663"/>
                    <a:gd name="connsiteY130" fmla="*/ 104202 h 186718"/>
                    <a:gd name="connsiteX131" fmla="*/ 122678 w 187663"/>
                    <a:gd name="connsiteY131" fmla="*/ 105074 h 186718"/>
                    <a:gd name="connsiteX132" fmla="*/ 121325 w 187663"/>
                    <a:gd name="connsiteY132" fmla="*/ 104610 h 186718"/>
                    <a:gd name="connsiteX133" fmla="*/ 120649 w 187663"/>
                    <a:gd name="connsiteY133" fmla="*/ 105368 h 186718"/>
                    <a:gd name="connsiteX134" fmla="*/ 119842 w 187663"/>
                    <a:gd name="connsiteY134" fmla="*/ 104569 h 186718"/>
                    <a:gd name="connsiteX135" fmla="*/ 119043 w 187663"/>
                    <a:gd name="connsiteY135" fmla="*/ 103224 h 186718"/>
                    <a:gd name="connsiteX136" fmla="*/ 118147 w 187663"/>
                    <a:gd name="connsiteY136" fmla="*/ 101016 h 186718"/>
                    <a:gd name="connsiteX137" fmla="*/ 120502 w 187663"/>
                    <a:gd name="connsiteY137" fmla="*/ 88588 h 186718"/>
                    <a:gd name="connsiteX138" fmla="*/ 122686 w 187663"/>
                    <a:gd name="connsiteY138" fmla="*/ 80658 h 186718"/>
                    <a:gd name="connsiteX139" fmla="*/ 122939 w 187663"/>
                    <a:gd name="connsiteY139" fmla="*/ 71595 h 186718"/>
                    <a:gd name="connsiteX140" fmla="*/ 123102 w 187663"/>
                    <a:gd name="connsiteY140" fmla="*/ 70259 h 186718"/>
                    <a:gd name="connsiteX141" fmla="*/ 122914 w 187663"/>
                    <a:gd name="connsiteY141" fmla="*/ 67846 h 186718"/>
                    <a:gd name="connsiteX142" fmla="*/ 119997 w 187663"/>
                    <a:gd name="connsiteY142" fmla="*/ 62606 h 186718"/>
                    <a:gd name="connsiteX143" fmla="*/ 107071 w 187663"/>
                    <a:gd name="connsiteY143" fmla="*/ 49803 h 186718"/>
                    <a:gd name="connsiteX144" fmla="*/ 97055 w 187663"/>
                    <a:gd name="connsiteY144" fmla="*/ 34612 h 186718"/>
                    <a:gd name="connsiteX145" fmla="*/ 88384 w 187663"/>
                    <a:gd name="connsiteY145" fmla="*/ 28907 h 186718"/>
                    <a:gd name="connsiteX146" fmla="*/ 81799 w 187663"/>
                    <a:gd name="connsiteY146" fmla="*/ 30162 h 186718"/>
                    <a:gd name="connsiteX147" fmla="*/ 80650 w 187663"/>
                    <a:gd name="connsiteY147" fmla="*/ 31311 h 186718"/>
                    <a:gd name="connsiteX148" fmla="*/ 80161 w 187663"/>
                    <a:gd name="connsiteY148" fmla="*/ 32811 h 186718"/>
                    <a:gd name="connsiteX149" fmla="*/ 80576 w 187663"/>
                    <a:gd name="connsiteY149" fmla="*/ 34506 h 186718"/>
                    <a:gd name="connsiteX150" fmla="*/ 79981 w 187663"/>
                    <a:gd name="connsiteY150" fmla="*/ 35207 h 186718"/>
                    <a:gd name="connsiteX151" fmla="*/ 78213 w 187663"/>
                    <a:gd name="connsiteY151" fmla="*/ 35117 h 186718"/>
                    <a:gd name="connsiteX152" fmla="*/ 75833 w 187663"/>
                    <a:gd name="connsiteY152" fmla="*/ 35508 h 186718"/>
                    <a:gd name="connsiteX153" fmla="*/ 69615 w 187663"/>
                    <a:gd name="connsiteY153" fmla="*/ 39510 h 186718"/>
                    <a:gd name="connsiteX154" fmla="*/ 67423 w 187663"/>
                    <a:gd name="connsiteY154" fmla="*/ 39363 h 186718"/>
                    <a:gd name="connsiteX155" fmla="*/ 65426 w 187663"/>
                    <a:gd name="connsiteY155" fmla="*/ 40390 h 186718"/>
                    <a:gd name="connsiteX156" fmla="*/ 63935 w 187663"/>
                    <a:gd name="connsiteY156" fmla="*/ 41172 h 186718"/>
                    <a:gd name="connsiteX157" fmla="*/ 60039 w 187663"/>
                    <a:gd name="connsiteY157" fmla="*/ 41596 h 186718"/>
                    <a:gd name="connsiteX158" fmla="*/ 56747 w 187663"/>
                    <a:gd name="connsiteY158" fmla="*/ 42484 h 186718"/>
                    <a:gd name="connsiteX159" fmla="*/ 55329 w 187663"/>
                    <a:gd name="connsiteY159" fmla="*/ 41995 h 186718"/>
                    <a:gd name="connsiteX160" fmla="*/ 54400 w 187663"/>
                    <a:gd name="connsiteY160" fmla="*/ 39673 h 186718"/>
                    <a:gd name="connsiteX161" fmla="*/ 54400 w 187663"/>
                    <a:gd name="connsiteY161" fmla="*/ 37277 h 186718"/>
                    <a:gd name="connsiteX162" fmla="*/ 55157 w 187663"/>
                    <a:gd name="connsiteY162" fmla="*/ 39110 h 186718"/>
                    <a:gd name="connsiteX163" fmla="*/ 56323 w 187663"/>
                    <a:gd name="connsiteY163" fmla="*/ 40553 h 186718"/>
                    <a:gd name="connsiteX164" fmla="*/ 56853 w 187663"/>
                    <a:gd name="connsiteY164" fmla="*/ 39982 h 186718"/>
                    <a:gd name="connsiteX165" fmla="*/ 57048 w 187663"/>
                    <a:gd name="connsiteY165" fmla="*/ 38711 h 186718"/>
                    <a:gd name="connsiteX166" fmla="*/ 55891 w 187663"/>
                    <a:gd name="connsiteY166" fmla="*/ 36209 h 186718"/>
                    <a:gd name="connsiteX167" fmla="*/ 52150 w 187663"/>
                    <a:gd name="connsiteY167" fmla="*/ 32998 h 186718"/>
                    <a:gd name="connsiteX168" fmla="*/ 47896 w 187663"/>
                    <a:gd name="connsiteY168" fmla="*/ 28304 h 186718"/>
                    <a:gd name="connsiteX169" fmla="*/ 49200 w 187663"/>
                    <a:gd name="connsiteY169" fmla="*/ 28467 h 186718"/>
                    <a:gd name="connsiteX170" fmla="*/ 49526 w 187663"/>
                    <a:gd name="connsiteY170" fmla="*/ 27456 h 186718"/>
                    <a:gd name="connsiteX171" fmla="*/ 48206 w 187663"/>
                    <a:gd name="connsiteY171" fmla="*/ 26136 h 186718"/>
                    <a:gd name="connsiteX172" fmla="*/ 48760 w 187663"/>
                    <a:gd name="connsiteY172" fmla="*/ 24612 h 186718"/>
                    <a:gd name="connsiteX173" fmla="*/ 49689 w 187663"/>
                    <a:gd name="connsiteY173" fmla="*/ 23007 h 186718"/>
                    <a:gd name="connsiteX174" fmla="*/ 47888 w 187663"/>
                    <a:gd name="connsiteY174" fmla="*/ 23243 h 186718"/>
                    <a:gd name="connsiteX175" fmla="*/ 46282 w 187663"/>
                    <a:gd name="connsiteY175" fmla="*/ 24368 h 186718"/>
                    <a:gd name="connsiteX176" fmla="*/ 46233 w 187663"/>
                    <a:gd name="connsiteY176" fmla="*/ 25745 h 186718"/>
                    <a:gd name="connsiteX177" fmla="*/ 45916 w 187663"/>
                    <a:gd name="connsiteY177" fmla="*/ 26853 h 186718"/>
                    <a:gd name="connsiteX178" fmla="*/ 45052 w 187663"/>
                    <a:gd name="connsiteY178" fmla="*/ 26690 h 186718"/>
                    <a:gd name="connsiteX179" fmla="*/ 43438 w 187663"/>
                    <a:gd name="connsiteY179" fmla="*/ 25329 h 186718"/>
                    <a:gd name="connsiteX180" fmla="*/ 35517 w 187663"/>
                    <a:gd name="connsiteY180" fmla="*/ 21540 h 186718"/>
                    <a:gd name="connsiteX181" fmla="*/ 28589 w 187663"/>
                    <a:gd name="connsiteY181" fmla="*/ 19396 h 186718"/>
                    <a:gd name="connsiteX182" fmla="*/ 33903 w 187663"/>
                    <a:gd name="connsiteY182" fmla="*/ 18435 h 186718"/>
                    <a:gd name="connsiteX183" fmla="*/ 36788 w 187663"/>
                    <a:gd name="connsiteY183" fmla="*/ 19184 h 186718"/>
                    <a:gd name="connsiteX184" fmla="*/ 36446 w 187663"/>
                    <a:gd name="connsiteY184" fmla="*/ 18035 h 186718"/>
                    <a:gd name="connsiteX185" fmla="*/ 35745 w 187663"/>
                    <a:gd name="connsiteY185" fmla="*/ 17310 h 186718"/>
                    <a:gd name="connsiteX186" fmla="*/ 33479 w 187663"/>
                    <a:gd name="connsiteY186" fmla="*/ 16381 h 186718"/>
                    <a:gd name="connsiteX187" fmla="*/ 30586 w 187663"/>
                    <a:gd name="connsiteY187" fmla="*/ 16731 h 186718"/>
                    <a:gd name="connsiteX188" fmla="*/ 28752 w 187663"/>
                    <a:gd name="connsiteY188" fmla="*/ 16299 h 186718"/>
                    <a:gd name="connsiteX189" fmla="*/ 26886 w 187663"/>
                    <a:gd name="connsiteY189" fmla="*/ 17212 h 186718"/>
                    <a:gd name="connsiteX190" fmla="*/ 24832 w 187663"/>
                    <a:gd name="connsiteY190" fmla="*/ 18581 h 186718"/>
                    <a:gd name="connsiteX191" fmla="*/ 23007 w 187663"/>
                    <a:gd name="connsiteY191" fmla="*/ 19282 h 186718"/>
                    <a:gd name="connsiteX192" fmla="*/ 15868 w 187663"/>
                    <a:gd name="connsiteY192" fmla="*/ 20260 h 186718"/>
                    <a:gd name="connsiteX193" fmla="*/ 10081 w 187663"/>
                    <a:gd name="connsiteY193" fmla="*/ 21320 h 186718"/>
                    <a:gd name="connsiteX194" fmla="*/ 11010 w 187663"/>
                    <a:gd name="connsiteY194" fmla="*/ 20203 h 186718"/>
                    <a:gd name="connsiteX195" fmla="*/ 12005 w 187663"/>
                    <a:gd name="connsiteY195" fmla="*/ 19478 h 186718"/>
                    <a:gd name="connsiteX196" fmla="*/ 15427 w 187663"/>
                    <a:gd name="connsiteY196" fmla="*/ 18386 h 186718"/>
                    <a:gd name="connsiteX197" fmla="*/ 15933 w 187663"/>
                    <a:gd name="connsiteY197" fmla="*/ 16096 h 186718"/>
                    <a:gd name="connsiteX198" fmla="*/ 15126 w 187663"/>
                    <a:gd name="connsiteY198" fmla="*/ 13895 h 186718"/>
                    <a:gd name="connsiteX199" fmla="*/ 14229 w 187663"/>
                    <a:gd name="connsiteY199" fmla="*/ 14417 h 186718"/>
                    <a:gd name="connsiteX200" fmla="*/ 13284 w 187663"/>
                    <a:gd name="connsiteY200" fmla="*/ 16136 h 186718"/>
                    <a:gd name="connsiteX201" fmla="*/ 12127 w 187663"/>
                    <a:gd name="connsiteY201" fmla="*/ 14897 h 186718"/>
                    <a:gd name="connsiteX202" fmla="*/ 10839 w 187663"/>
                    <a:gd name="connsiteY202" fmla="*/ 14906 h 186718"/>
                    <a:gd name="connsiteX203" fmla="*/ 10489 w 187663"/>
                    <a:gd name="connsiteY203" fmla="*/ 17636 h 186718"/>
                    <a:gd name="connsiteX204" fmla="*/ 8843 w 187663"/>
                    <a:gd name="connsiteY204" fmla="*/ 19470 h 186718"/>
                    <a:gd name="connsiteX205" fmla="*/ 8101 w 187663"/>
                    <a:gd name="connsiteY205" fmla="*/ 21320 h 186718"/>
                    <a:gd name="connsiteX206" fmla="*/ 3276 w 187663"/>
                    <a:gd name="connsiteY206" fmla="*/ 22762 h 186718"/>
                    <a:gd name="connsiteX207" fmla="*/ 2657 w 187663"/>
                    <a:gd name="connsiteY207" fmla="*/ 22281 h 186718"/>
                    <a:gd name="connsiteX208" fmla="*/ 4067 w 187663"/>
                    <a:gd name="connsiteY208" fmla="*/ 20529 h 186718"/>
                    <a:gd name="connsiteX209" fmla="*/ 3953 w 187663"/>
                    <a:gd name="connsiteY209" fmla="*/ 19551 h 186718"/>
                    <a:gd name="connsiteX210" fmla="*/ 2934 w 187663"/>
                    <a:gd name="connsiteY210" fmla="*/ 20089 h 186718"/>
                    <a:gd name="connsiteX211" fmla="*/ 3170 w 187663"/>
                    <a:gd name="connsiteY211" fmla="*/ 18989 h 186718"/>
                    <a:gd name="connsiteX212" fmla="*/ 4042 w 187663"/>
                    <a:gd name="connsiteY212" fmla="*/ 18003 h 186718"/>
                    <a:gd name="connsiteX213" fmla="*/ 4417 w 187663"/>
                    <a:gd name="connsiteY213" fmla="*/ 16862 h 186718"/>
                    <a:gd name="connsiteX214" fmla="*/ 4311 w 187663"/>
                    <a:gd name="connsiteY214" fmla="*/ 14669 h 186718"/>
                    <a:gd name="connsiteX215" fmla="*/ 4939 w 187663"/>
                    <a:gd name="connsiteY215" fmla="*/ 11597 h 186718"/>
                    <a:gd name="connsiteX216" fmla="*/ 4605 w 187663"/>
                    <a:gd name="connsiteY216" fmla="*/ 10627 h 186718"/>
                    <a:gd name="connsiteX217" fmla="*/ 1019 w 187663"/>
                    <a:gd name="connsiteY217" fmla="*/ 6634 h 186718"/>
                    <a:gd name="connsiteX218" fmla="*/ 155 w 187663"/>
                    <a:gd name="connsiteY218" fmla="*/ 4539 h 186718"/>
                    <a:gd name="connsiteX219" fmla="*/ 0 w 187663"/>
                    <a:gd name="connsiteY219" fmla="*/ 2322 h 186718"/>
                    <a:gd name="connsiteX220" fmla="*/ 342 w 187663"/>
                    <a:gd name="connsiteY220" fmla="*/ 24 h 186718"/>
                    <a:gd name="connsiteX221" fmla="*/ 8362 w 187663"/>
                    <a:gd name="connsiteY221" fmla="*/ 24 h 186718"/>
                    <a:gd name="connsiteX222" fmla="*/ 16381 w 187663"/>
                    <a:gd name="connsiteY222" fmla="*/ 24 h 186718"/>
                    <a:gd name="connsiteX223" fmla="*/ 24400 w 187663"/>
                    <a:gd name="connsiteY223" fmla="*/ 24 h 186718"/>
                    <a:gd name="connsiteX224" fmla="*/ 32420 w 187663"/>
                    <a:gd name="connsiteY224" fmla="*/ 24 h 186718"/>
                    <a:gd name="connsiteX225" fmla="*/ 40439 w 187663"/>
                    <a:gd name="connsiteY225" fmla="*/ 24 h 186718"/>
                    <a:gd name="connsiteX226" fmla="*/ 48458 w 187663"/>
                    <a:gd name="connsiteY226" fmla="*/ 24 h 186718"/>
                    <a:gd name="connsiteX227" fmla="*/ 56478 w 187663"/>
                    <a:gd name="connsiteY227" fmla="*/ 24 h 186718"/>
                    <a:gd name="connsiteX228" fmla="*/ 64481 w 187663"/>
                    <a:gd name="connsiteY228" fmla="*/ 0 h 186718"/>
                    <a:gd name="connsiteX229" fmla="*/ 65500 w 187663"/>
                    <a:gd name="connsiteY229" fmla="*/ 2543 h 186718"/>
                    <a:gd name="connsiteX230" fmla="*/ 67464 w 187663"/>
                    <a:gd name="connsiteY230" fmla="*/ 7807 h 186718"/>
                    <a:gd name="connsiteX231" fmla="*/ 67537 w 187663"/>
                    <a:gd name="connsiteY231" fmla="*/ 9038 h 186718"/>
                    <a:gd name="connsiteX232" fmla="*/ 69860 w 187663"/>
                    <a:gd name="connsiteY232" fmla="*/ 9225 h 186718"/>
                    <a:gd name="connsiteX233" fmla="*/ 73812 w 187663"/>
                    <a:gd name="connsiteY233" fmla="*/ 9527 h 186718"/>
                    <a:gd name="connsiteX234" fmla="*/ 77765 w 187663"/>
                    <a:gd name="connsiteY234" fmla="*/ 9829 h 186718"/>
                    <a:gd name="connsiteX235" fmla="*/ 81717 w 187663"/>
                    <a:gd name="connsiteY235" fmla="*/ 10122 h 186718"/>
                    <a:gd name="connsiteX236" fmla="*/ 85670 w 187663"/>
                    <a:gd name="connsiteY236" fmla="*/ 10423 h 186718"/>
                    <a:gd name="connsiteX237" fmla="*/ 89623 w 187663"/>
                    <a:gd name="connsiteY237" fmla="*/ 10725 h 186718"/>
                    <a:gd name="connsiteX238" fmla="*/ 93575 w 187663"/>
                    <a:gd name="connsiteY238" fmla="*/ 11027 h 186718"/>
                    <a:gd name="connsiteX239" fmla="*/ 97528 w 187663"/>
                    <a:gd name="connsiteY239" fmla="*/ 11328 h 186718"/>
                    <a:gd name="connsiteX240" fmla="*/ 101480 w 187663"/>
                    <a:gd name="connsiteY240" fmla="*/ 11629 h 186718"/>
                    <a:gd name="connsiteX241" fmla="*/ 105433 w 187663"/>
                    <a:gd name="connsiteY241" fmla="*/ 11931 h 186718"/>
                    <a:gd name="connsiteX242" fmla="*/ 109386 w 187663"/>
                    <a:gd name="connsiteY242" fmla="*/ 12233 h 186718"/>
                    <a:gd name="connsiteX243" fmla="*/ 113338 w 187663"/>
                    <a:gd name="connsiteY243" fmla="*/ 12534 h 186718"/>
                    <a:gd name="connsiteX244" fmla="*/ 117291 w 187663"/>
                    <a:gd name="connsiteY244" fmla="*/ 12827 h 186718"/>
                    <a:gd name="connsiteX245" fmla="*/ 121244 w 187663"/>
                    <a:gd name="connsiteY245" fmla="*/ 13129 h 186718"/>
                    <a:gd name="connsiteX246" fmla="*/ 125196 w 187663"/>
                    <a:gd name="connsiteY246" fmla="*/ 13431 h 186718"/>
                    <a:gd name="connsiteX247" fmla="*/ 129222 w 187663"/>
                    <a:gd name="connsiteY247" fmla="*/ 13765 h 186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187663" h="186718">
                      <a:moveTo>
                        <a:pt x="129222" y="13765"/>
                      </a:moveTo>
                      <a:lnTo>
                        <a:pt x="133175" y="14075"/>
                      </a:lnTo>
                      <a:lnTo>
                        <a:pt x="133199" y="15134"/>
                      </a:lnTo>
                      <a:lnTo>
                        <a:pt x="133851" y="16805"/>
                      </a:lnTo>
                      <a:lnTo>
                        <a:pt x="134014" y="18703"/>
                      </a:lnTo>
                      <a:lnTo>
                        <a:pt x="134308" y="19616"/>
                      </a:lnTo>
                      <a:lnTo>
                        <a:pt x="135090" y="20187"/>
                      </a:lnTo>
                      <a:lnTo>
                        <a:pt x="136345" y="20325"/>
                      </a:lnTo>
                      <a:lnTo>
                        <a:pt x="137592" y="19258"/>
                      </a:lnTo>
                      <a:lnTo>
                        <a:pt x="138383" y="16911"/>
                      </a:lnTo>
                      <a:lnTo>
                        <a:pt x="138578" y="14262"/>
                      </a:lnTo>
                      <a:lnTo>
                        <a:pt x="138097" y="11255"/>
                      </a:lnTo>
                      <a:lnTo>
                        <a:pt x="138171" y="8720"/>
                      </a:lnTo>
                      <a:lnTo>
                        <a:pt x="138798" y="7237"/>
                      </a:lnTo>
                      <a:lnTo>
                        <a:pt x="139540" y="6862"/>
                      </a:lnTo>
                      <a:lnTo>
                        <a:pt x="140184" y="6063"/>
                      </a:lnTo>
                      <a:lnTo>
                        <a:pt x="140713" y="5892"/>
                      </a:lnTo>
                      <a:lnTo>
                        <a:pt x="142083" y="6324"/>
                      </a:lnTo>
                      <a:lnTo>
                        <a:pt x="147217" y="8451"/>
                      </a:lnTo>
                      <a:lnTo>
                        <a:pt x="151422" y="8736"/>
                      </a:lnTo>
                      <a:lnTo>
                        <a:pt x="152579" y="11654"/>
                      </a:lnTo>
                      <a:lnTo>
                        <a:pt x="154348" y="23577"/>
                      </a:lnTo>
                      <a:lnTo>
                        <a:pt x="155554" y="27717"/>
                      </a:lnTo>
                      <a:lnTo>
                        <a:pt x="157730" y="38858"/>
                      </a:lnTo>
                      <a:lnTo>
                        <a:pt x="161324" y="49648"/>
                      </a:lnTo>
                      <a:lnTo>
                        <a:pt x="166401" y="62663"/>
                      </a:lnTo>
                      <a:lnTo>
                        <a:pt x="174722" y="78408"/>
                      </a:lnTo>
                      <a:lnTo>
                        <a:pt x="175716" y="80650"/>
                      </a:lnTo>
                      <a:lnTo>
                        <a:pt x="174633" y="82549"/>
                      </a:lnTo>
                      <a:lnTo>
                        <a:pt x="174298" y="84513"/>
                      </a:lnTo>
                      <a:lnTo>
                        <a:pt x="174201" y="87479"/>
                      </a:lnTo>
                      <a:lnTo>
                        <a:pt x="174502" y="90364"/>
                      </a:lnTo>
                      <a:lnTo>
                        <a:pt x="175488" y="93885"/>
                      </a:lnTo>
                      <a:lnTo>
                        <a:pt x="177379" y="99272"/>
                      </a:lnTo>
                      <a:lnTo>
                        <a:pt x="176320" y="98204"/>
                      </a:lnTo>
                      <a:lnTo>
                        <a:pt x="173581" y="90470"/>
                      </a:lnTo>
                      <a:lnTo>
                        <a:pt x="173263" y="85923"/>
                      </a:lnTo>
                      <a:lnTo>
                        <a:pt x="173655" y="79468"/>
                      </a:lnTo>
                      <a:lnTo>
                        <a:pt x="173011" y="79631"/>
                      </a:lnTo>
                      <a:lnTo>
                        <a:pt x="172489" y="81725"/>
                      </a:lnTo>
                      <a:lnTo>
                        <a:pt x="172196" y="84187"/>
                      </a:lnTo>
                      <a:lnTo>
                        <a:pt x="171503" y="85140"/>
                      </a:lnTo>
                      <a:lnTo>
                        <a:pt x="170549" y="81375"/>
                      </a:lnTo>
                      <a:lnTo>
                        <a:pt x="170615" y="79680"/>
                      </a:lnTo>
                      <a:lnTo>
                        <a:pt x="171625" y="77691"/>
                      </a:lnTo>
                      <a:lnTo>
                        <a:pt x="171332" y="76982"/>
                      </a:lnTo>
                      <a:lnTo>
                        <a:pt x="169710" y="75964"/>
                      </a:lnTo>
                      <a:lnTo>
                        <a:pt x="169360" y="74366"/>
                      </a:lnTo>
                      <a:lnTo>
                        <a:pt x="169580" y="72785"/>
                      </a:lnTo>
                      <a:lnTo>
                        <a:pt x="168651" y="71938"/>
                      </a:lnTo>
                      <a:lnTo>
                        <a:pt x="167917" y="71970"/>
                      </a:lnTo>
                      <a:lnTo>
                        <a:pt x="168406" y="75866"/>
                      </a:lnTo>
                      <a:lnTo>
                        <a:pt x="169180" y="78254"/>
                      </a:lnTo>
                      <a:lnTo>
                        <a:pt x="170134" y="83983"/>
                      </a:lnTo>
                      <a:lnTo>
                        <a:pt x="171674" y="87446"/>
                      </a:lnTo>
                      <a:lnTo>
                        <a:pt x="172571" y="90348"/>
                      </a:lnTo>
                      <a:lnTo>
                        <a:pt x="183092" y="121276"/>
                      </a:lnTo>
                      <a:lnTo>
                        <a:pt x="185578" y="125204"/>
                      </a:lnTo>
                      <a:lnTo>
                        <a:pt x="186499" y="128024"/>
                      </a:lnTo>
                      <a:lnTo>
                        <a:pt x="187452" y="133924"/>
                      </a:lnTo>
                      <a:lnTo>
                        <a:pt x="187664" y="141487"/>
                      </a:lnTo>
                      <a:lnTo>
                        <a:pt x="185953" y="155285"/>
                      </a:lnTo>
                      <a:lnTo>
                        <a:pt x="185561" y="164682"/>
                      </a:lnTo>
                      <a:lnTo>
                        <a:pt x="185317" y="164396"/>
                      </a:lnTo>
                      <a:lnTo>
                        <a:pt x="185146" y="163402"/>
                      </a:lnTo>
                      <a:lnTo>
                        <a:pt x="184755" y="163272"/>
                      </a:lnTo>
                      <a:lnTo>
                        <a:pt x="183263" y="167566"/>
                      </a:lnTo>
                      <a:lnTo>
                        <a:pt x="181234" y="171454"/>
                      </a:lnTo>
                      <a:lnTo>
                        <a:pt x="180566" y="177477"/>
                      </a:lnTo>
                      <a:lnTo>
                        <a:pt x="179596" y="180492"/>
                      </a:lnTo>
                      <a:lnTo>
                        <a:pt x="176678" y="183687"/>
                      </a:lnTo>
                      <a:lnTo>
                        <a:pt x="174869" y="183605"/>
                      </a:lnTo>
                      <a:lnTo>
                        <a:pt x="170435" y="185993"/>
                      </a:lnTo>
                      <a:lnTo>
                        <a:pt x="167314" y="185374"/>
                      </a:lnTo>
                      <a:lnTo>
                        <a:pt x="163598" y="186718"/>
                      </a:lnTo>
                      <a:lnTo>
                        <a:pt x="161161" y="186572"/>
                      </a:lnTo>
                      <a:lnTo>
                        <a:pt x="159751" y="183727"/>
                      </a:lnTo>
                      <a:lnTo>
                        <a:pt x="159963" y="182456"/>
                      </a:lnTo>
                      <a:lnTo>
                        <a:pt x="160525" y="181177"/>
                      </a:lnTo>
                      <a:lnTo>
                        <a:pt x="161471" y="180875"/>
                      </a:lnTo>
                      <a:lnTo>
                        <a:pt x="164755" y="183858"/>
                      </a:lnTo>
                      <a:lnTo>
                        <a:pt x="165374" y="182603"/>
                      </a:lnTo>
                      <a:lnTo>
                        <a:pt x="164388" y="181111"/>
                      </a:lnTo>
                      <a:lnTo>
                        <a:pt x="162490" y="180280"/>
                      </a:lnTo>
                      <a:lnTo>
                        <a:pt x="161088" y="179359"/>
                      </a:lnTo>
                      <a:lnTo>
                        <a:pt x="158260" y="172562"/>
                      </a:lnTo>
                      <a:lnTo>
                        <a:pt x="155334" y="167884"/>
                      </a:lnTo>
                      <a:lnTo>
                        <a:pt x="154837" y="164763"/>
                      </a:lnTo>
                      <a:lnTo>
                        <a:pt x="149792" y="162856"/>
                      </a:lnTo>
                      <a:lnTo>
                        <a:pt x="146141" y="159971"/>
                      </a:lnTo>
                      <a:lnTo>
                        <a:pt x="143761" y="154837"/>
                      </a:lnTo>
                      <a:lnTo>
                        <a:pt x="142400" y="145717"/>
                      </a:lnTo>
                      <a:lnTo>
                        <a:pt x="140787" y="144690"/>
                      </a:lnTo>
                      <a:lnTo>
                        <a:pt x="140110" y="143981"/>
                      </a:lnTo>
                      <a:lnTo>
                        <a:pt x="141683" y="140591"/>
                      </a:lnTo>
                      <a:lnTo>
                        <a:pt x="143338" y="137747"/>
                      </a:lnTo>
                      <a:lnTo>
                        <a:pt x="142025" y="138456"/>
                      </a:lnTo>
                      <a:lnTo>
                        <a:pt x="141056" y="139507"/>
                      </a:lnTo>
                      <a:lnTo>
                        <a:pt x="139825" y="142017"/>
                      </a:lnTo>
                      <a:lnTo>
                        <a:pt x="138928" y="142400"/>
                      </a:lnTo>
                      <a:lnTo>
                        <a:pt x="138105" y="142017"/>
                      </a:lnTo>
                      <a:lnTo>
                        <a:pt x="137152" y="137209"/>
                      </a:lnTo>
                      <a:lnTo>
                        <a:pt x="137429" y="131284"/>
                      </a:lnTo>
                      <a:lnTo>
                        <a:pt x="138757" y="129067"/>
                      </a:lnTo>
                      <a:lnTo>
                        <a:pt x="136712" y="129010"/>
                      </a:lnTo>
                      <a:lnTo>
                        <a:pt x="134593" y="129858"/>
                      </a:lnTo>
                      <a:lnTo>
                        <a:pt x="134903" y="131830"/>
                      </a:lnTo>
                      <a:lnTo>
                        <a:pt x="134601" y="132914"/>
                      </a:lnTo>
                      <a:lnTo>
                        <a:pt x="133061" y="132637"/>
                      </a:lnTo>
                      <a:lnTo>
                        <a:pt x="131887" y="131936"/>
                      </a:lnTo>
                      <a:lnTo>
                        <a:pt x="130298" y="129882"/>
                      </a:lnTo>
                      <a:lnTo>
                        <a:pt x="128130" y="125954"/>
                      </a:lnTo>
                      <a:lnTo>
                        <a:pt x="123697" y="115139"/>
                      </a:lnTo>
                      <a:lnTo>
                        <a:pt x="122825" y="113607"/>
                      </a:lnTo>
                      <a:lnTo>
                        <a:pt x="121358" y="112010"/>
                      </a:lnTo>
                      <a:lnTo>
                        <a:pt x="122042" y="111513"/>
                      </a:lnTo>
                      <a:lnTo>
                        <a:pt x="123305" y="111219"/>
                      </a:lnTo>
                      <a:lnTo>
                        <a:pt x="126158" y="106337"/>
                      </a:lnTo>
                      <a:lnTo>
                        <a:pt x="128399" y="103387"/>
                      </a:lnTo>
                      <a:lnTo>
                        <a:pt x="129141" y="101350"/>
                      </a:lnTo>
                      <a:lnTo>
                        <a:pt x="129010" y="100478"/>
                      </a:lnTo>
                      <a:lnTo>
                        <a:pt x="128016" y="99215"/>
                      </a:lnTo>
                      <a:lnTo>
                        <a:pt x="126712" y="100323"/>
                      </a:lnTo>
                      <a:lnTo>
                        <a:pt x="126158" y="100005"/>
                      </a:lnTo>
                      <a:lnTo>
                        <a:pt x="124691" y="97446"/>
                      </a:lnTo>
                      <a:lnTo>
                        <a:pt x="123297" y="96721"/>
                      </a:lnTo>
                      <a:lnTo>
                        <a:pt x="122319" y="97275"/>
                      </a:lnTo>
                      <a:lnTo>
                        <a:pt x="123346" y="99370"/>
                      </a:lnTo>
                      <a:lnTo>
                        <a:pt x="124275" y="100152"/>
                      </a:lnTo>
                      <a:lnTo>
                        <a:pt x="123917" y="103208"/>
                      </a:lnTo>
                      <a:lnTo>
                        <a:pt x="123542" y="104202"/>
                      </a:lnTo>
                      <a:lnTo>
                        <a:pt x="122678" y="105074"/>
                      </a:lnTo>
                      <a:lnTo>
                        <a:pt x="121325" y="104610"/>
                      </a:lnTo>
                      <a:lnTo>
                        <a:pt x="120649" y="105368"/>
                      </a:lnTo>
                      <a:lnTo>
                        <a:pt x="119842" y="104569"/>
                      </a:lnTo>
                      <a:lnTo>
                        <a:pt x="119043" y="103224"/>
                      </a:lnTo>
                      <a:lnTo>
                        <a:pt x="118147" y="101016"/>
                      </a:lnTo>
                      <a:lnTo>
                        <a:pt x="120502" y="88588"/>
                      </a:lnTo>
                      <a:lnTo>
                        <a:pt x="122686" y="80658"/>
                      </a:lnTo>
                      <a:lnTo>
                        <a:pt x="122939" y="71595"/>
                      </a:lnTo>
                      <a:lnTo>
                        <a:pt x="123102" y="70259"/>
                      </a:lnTo>
                      <a:lnTo>
                        <a:pt x="122914" y="67846"/>
                      </a:lnTo>
                      <a:lnTo>
                        <a:pt x="119997" y="62606"/>
                      </a:lnTo>
                      <a:lnTo>
                        <a:pt x="107071" y="49803"/>
                      </a:lnTo>
                      <a:lnTo>
                        <a:pt x="97055" y="34612"/>
                      </a:lnTo>
                      <a:lnTo>
                        <a:pt x="88384" y="28907"/>
                      </a:lnTo>
                      <a:lnTo>
                        <a:pt x="81799" y="30162"/>
                      </a:lnTo>
                      <a:lnTo>
                        <a:pt x="80650" y="31311"/>
                      </a:lnTo>
                      <a:lnTo>
                        <a:pt x="80161" y="32811"/>
                      </a:lnTo>
                      <a:lnTo>
                        <a:pt x="80576" y="34506"/>
                      </a:lnTo>
                      <a:lnTo>
                        <a:pt x="79981" y="35207"/>
                      </a:lnTo>
                      <a:lnTo>
                        <a:pt x="78213" y="35117"/>
                      </a:lnTo>
                      <a:lnTo>
                        <a:pt x="75833" y="35508"/>
                      </a:lnTo>
                      <a:lnTo>
                        <a:pt x="69615" y="39510"/>
                      </a:lnTo>
                      <a:lnTo>
                        <a:pt x="67423" y="39363"/>
                      </a:lnTo>
                      <a:lnTo>
                        <a:pt x="65426" y="40390"/>
                      </a:lnTo>
                      <a:lnTo>
                        <a:pt x="63935" y="41172"/>
                      </a:lnTo>
                      <a:lnTo>
                        <a:pt x="60039" y="41596"/>
                      </a:lnTo>
                      <a:lnTo>
                        <a:pt x="56747" y="42484"/>
                      </a:lnTo>
                      <a:lnTo>
                        <a:pt x="55329" y="41995"/>
                      </a:lnTo>
                      <a:lnTo>
                        <a:pt x="54400" y="39673"/>
                      </a:lnTo>
                      <a:lnTo>
                        <a:pt x="54400" y="37277"/>
                      </a:lnTo>
                      <a:lnTo>
                        <a:pt x="55157" y="39110"/>
                      </a:lnTo>
                      <a:lnTo>
                        <a:pt x="56323" y="40553"/>
                      </a:lnTo>
                      <a:lnTo>
                        <a:pt x="56853" y="39982"/>
                      </a:lnTo>
                      <a:lnTo>
                        <a:pt x="57048" y="38711"/>
                      </a:lnTo>
                      <a:lnTo>
                        <a:pt x="55891" y="36209"/>
                      </a:lnTo>
                      <a:lnTo>
                        <a:pt x="52150" y="32998"/>
                      </a:lnTo>
                      <a:lnTo>
                        <a:pt x="47896" y="28304"/>
                      </a:lnTo>
                      <a:lnTo>
                        <a:pt x="49200" y="28467"/>
                      </a:lnTo>
                      <a:lnTo>
                        <a:pt x="49526" y="27456"/>
                      </a:lnTo>
                      <a:lnTo>
                        <a:pt x="48206" y="26136"/>
                      </a:lnTo>
                      <a:lnTo>
                        <a:pt x="48760" y="24612"/>
                      </a:lnTo>
                      <a:lnTo>
                        <a:pt x="49689" y="23007"/>
                      </a:lnTo>
                      <a:lnTo>
                        <a:pt x="47888" y="23243"/>
                      </a:lnTo>
                      <a:lnTo>
                        <a:pt x="46282" y="24368"/>
                      </a:lnTo>
                      <a:lnTo>
                        <a:pt x="46233" y="25745"/>
                      </a:lnTo>
                      <a:lnTo>
                        <a:pt x="45916" y="26853"/>
                      </a:lnTo>
                      <a:lnTo>
                        <a:pt x="45052" y="26690"/>
                      </a:lnTo>
                      <a:lnTo>
                        <a:pt x="43438" y="25329"/>
                      </a:lnTo>
                      <a:lnTo>
                        <a:pt x="35517" y="21540"/>
                      </a:lnTo>
                      <a:lnTo>
                        <a:pt x="28589" y="19396"/>
                      </a:lnTo>
                      <a:lnTo>
                        <a:pt x="33903" y="18435"/>
                      </a:lnTo>
                      <a:lnTo>
                        <a:pt x="36788" y="19184"/>
                      </a:lnTo>
                      <a:lnTo>
                        <a:pt x="36446" y="18035"/>
                      </a:lnTo>
                      <a:lnTo>
                        <a:pt x="35745" y="17310"/>
                      </a:lnTo>
                      <a:lnTo>
                        <a:pt x="33479" y="16381"/>
                      </a:lnTo>
                      <a:lnTo>
                        <a:pt x="30586" y="16731"/>
                      </a:lnTo>
                      <a:lnTo>
                        <a:pt x="28752" y="16299"/>
                      </a:lnTo>
                      <a:lnTo>
                        <a:pt x="26886" y="17212"/>
                      </a:lnTo>
                      <a:lnTo>
                        <a:pt x="24832" y="18581"/>
                      </a:lnTo>
                      <a:lnTo>
                        <a:pt x="23007" y="19282"/>
                      </a:lnTo>
                      <a:lnTo>
                        <a:pt x="15868" y="20260"/>
                      </a:lnTo>
                      <a:lnTo>
                        <a:pt x="10081" y="21320"/>
                      </a:lnTo>
                      <a:lnTo>
                        <a:pt x="11010" y="20203"/>
                      </a:lnTo>
                      <a:lnTo>
                        <a:pt x="12005" y="19478"/>
                      </a:lnTo>
                      <a:lnTo>
                        <a:pt x="15427" y="18386"/>
                      </a:lnTo>
                      <a:lnTo>
                        <a:pt x="15933" y="16096"/>
                      </a:lnTo>
                      <a:lnTo>
                        <a:pt x="15126" y="13895"/>
                      </a:lnTo>
                      <a:lnTo>
                        <a:pt x="14229" y="14417"/>
                      </a:lnTo>
                      <a:lnTo>
                        <a:pt x="13284" y="16136"/>
                      </a:lnTo>
                      <a:lnTo>
                        <a:pt x="12127" y="14897"/>
                      </a:lnTo>
                      <a:lnTo>
                        <a:pt x="10839" y="14906"/>
                      </a:lnTo>
                      <a:lnTo>
                        <a:pt x="10489" y="17636"/>
                      </a:lnTo>
                      <a:lnTo>
                        <a:pt x="8843" y="19470"/>
                      </a:lnTo>
                      <a:lnTo>
                        <a:pt x="8101" y="21320"/>
                      </a:lnTo>
                      <a:lnTo>
                        <a:pt x="3276" y="22762"/>
                      </a:lnTo>
                      <a:lnTo>
                        <a:pt x="2657" y="22281"/>
                      </a:lnTo>
                      <a:lnTo>
                        <a:pt x="4067" y="20529"/>
                      </a:lnTo>
                      <a:lnTo>
                        <a:pt x="3953" y="19551"/>
                      </a:lnTo>
                      <a:lnTo>
                        <a:pt x="2934" y="20089"/>
                      </a:lnTo>
                      <a:lnTo>
                        <a:pt x="3170" y="18989"/>
                      </a:lnTo>
                      <a:lnTo>
                        <a:pt x="4042" y="18003"/>
                      </a:lnTo>
                      <a:lnTo>
                        <a:pt x="4417" y="16862"/>
                      </a:lnTo>
                      <a:lnTo>
                        <a:pt x="4311" y="14669"/>
                      </a:lnTo>
                      <a:lnTo>
                        <a:pt x="4939" y="11597"/>
                      </a:lnTo>
                      <a:lnTo>
                        <a:pt x="4605" y="10627"/>
                      </a:lnTo>
                      <a:lnTo>
                        <a:pt x="1019" y="6634"/>
                      </a:lnTo>
                      <a:lnTo>
                        <a:pt x="155" y="4539"/>
                      </a:lnTo>
                      <a:lnTo>
                        <a:pt x="0" y="2322"/>
                      </a:lnTo>
                      <a:lnTo>
                        <a:pt x="342" y="24"/>
                      </a:lnTo>
                      <a:lnTo>
                        <a:pt x="8362" y="24"/>
                      </a:lnTo>
                      <a:lnTo>
                        <a:pt x="16381" y="24"/>
                      </a:lnTo>
                      <a:lnTo>
                        <a:pt x="24400" y="24"/>
                      </a:lnTo>
                      <a:lnTo>
                        <a:pt x="32420" y="24"/>
                      </a:lnTo>
                      <a:lnTo>
                        <a:pt x="40439" y="24"/>
                      </a:lnTo>
                      <a:lnTo>
                        <a:pt x="48458" y="24"/>
                      </a:lnTo>
                      <a:lnTo>
                        <a:pt x="56478" y="24"/>
                      </a:lnTo>
                      <a:lnTo>
                        <a:pt x="64481" y="0"/>
                      </a:lnTo>
                      <a:lnTo>
                        <a:pt x="65500" y="2543"/>
                      </a:lnTo>
                      <a:lnTo>
                        <a:pt x="67464" y="7807"/>
                      </a:lnTo>
                      <a:lnTo>
                        <a:pt x="67537" y="9038"/>
                      </a:lnTo>
                      <a:lnTo>
                        <a:pt x="69860" y="9225"/>
                      </a:lnTo>
                      <a:lnTo>
                        <a:pt x="73812" y="9527"/>
                      </a:lnTo>
                      <a:lnTo>
                        <a:pt x="77765" y="9829"/>
                      </a:lnTo>
                      <a:lnTo>
                        <a:pt x="81717" y="10122"/>
                      </a:lnTo>
                      <a:lnTo>
                        <a:pt x="85670" y="10423"/>
                      </a:lnTo>
                      <a:lnTo>
                        <a:pt x="89623" y="10725"/>
                      </a:lnTo>
                      <a:lnTo>
                        <a:pt x="93575" y="11027"/>
                      </a:lnTo>
                      <a:lnTo>
                        <a:pt x="97528" y="11328"/>
                      </a:lnTo>
                      <a:lnTo>
                        <a:pt x="101480" y="11629"/>
                      </a:lnTo>
                      <a:lnTo>
                        <a:pt x="105433" y="11931"/>
                      </a:lnTo>
                      <a:lnTo>
                        <a:pt x="109386" y="12233"/>
                      </a:lnTo>
                      <a:lnTo>
                        <a:pt x="113338" y="12534"/>
                      </a:lnTo>
                      <a:lnTo>
                        <a:pt x="117291" y="12827"/>
                      </a:lnTo>
                      <a:lnTo>
                        <a:pt x="121244" y="13129"/>
                      </a:lnTo>
                      <a:lnTo>
                        <a:pt x="125196" y="13431"/>
                      </a:lnTo>
                      <a:lnTo>
                        <a:pt x="129222" y="13765"/>
                      </a:lnTo>
                      <a:close/>
                    </a:path>
                  </a:pathLst>
                </a:custGeom>
                <a:solidFill>
                  <a:srgbClr val="D6D6D2"/>
                </a:solidFill>
                <a:ln w="6112" cap="rnd">
                  <a:solidFill>
                    <a:srgbClr val="FFFFFF"/>
                  </a:solidFill>
                  <a:prstDash val="solid"/>
                  <a:round/>
                </a:ln>
              </p:spPr>
              <p:txBody>
                <a:bodyPr rtlCol="0" anchor="ctr"/>
                <a:lstStyle/>
                <a:p>
                  <a:endParaRPr lang="en-US"/>
                </a:p>
              </p:txBody>
            </p:sp>
            <p:sp>
              <p:nvSpPr>
                <p:cNvPr id="465" name="Freeform: Shape 464">
                  <a:extLst>
                    <a:ext uri="{FF2B5EF4-FFF2-40B4-BE49-F238E27FC236}">
                      <a16:creationId xmlns:a16="http://schemas.microsoft.com/office/drawing/2014/main" id="{58D93F54-0D7A-4CDA-A25A-6C0A6F3F18FC}"/>
                    </a:ext>
                  </a:extLst>
                </p:cNvPr>
                <p:cNvSpPr/>
                <p:nvPr/>
              </p:nvSpPr>
              <p:spPr>
                <a:xfrm>
                  <a:off x="4064002" y="3281116"/>
                  <a:ext cx="18565" cy="46828"/>
                </a:xfrm>
                <a:custGeom>
                  <a:avLst/>
                  <a:gdLst>
                    <a:gd name="connsiteX0" fmla="*/ 16275 w 18565"/>
                    <a:gd name="connsiteY0" fmla="*/ 40863 h 46828"/>
                    <a:gd name="connsiteX1" fmla="*/ 14816 w 18565"/>
                    <a:gd name="connsiteY1" fmla="*/ 42248 h 46828"/>
                    <a:gd name="connsiteX2" fmla="*/ 16715 w 18565"/>
                    <a:gd name="connsiteY2" fmla="*/ 41979 h 46828"/>
                    <a:gd name="connsiteX3" fmla="*/ 17652 w 18565"/>
                    <a:gd name="connsiteY3" fmla="*/ 42672 h 46828"/>
                    <a:gd name="connsiteX4" fmla="*/ 18565 w 18565"/>
                    <a:gd name="connsiteY4" fmla="*/ 45198 h 46828"/>
                    <a:gd name="connsiteX5" fmla="*/ 18524 w 18565"/>
                    <a:gd name="connsiteY5" fmla="*/ 46804 h 46828"/>
                    <a:gd name="connsiteX6" fmla="*/ 15868 w 18565"/>
                    <a:gd name="connsiteY6" fmla="*/ 46828 h 46828"/>
                    <a:gd name="connsiteX7" fmla="*/ 10375 w 18565"/>
                    <a:gd name="connsiteY7" fmla="*/ 46828 h 46828"/>
                    <a:gd name="connsiteX8" fmla="*/ 4882 w 18565"/>
                    <a:gd name="connsiteY8" fmla="*/ 46820 h 46828"/>
                    <a:gd name="connsiteX9" fmla="*/ 2380 w 18565"/>
                    <a:gd name="connsiteY9" fmla="*/ 46820 h 46828"/>
                    <a:gd name="connsiteX10" fmla="*/ 2323 w 18565"/>
                    <a:gd name="connsiteY10" fmla="*/ 46820 h 46828"/>
                    <a:gd name="connsiteX11" fmla="*/ 2266 w 18565"/>
                    <a:gd name="connsiteY11" fmla="*/ 46820 h 46828"/>
                    <a:gd name="connsiteX12" fmla="*/ 2209 w 18565"/>
                    <a:gd name="connsiteY12" fmla="*/ 46820 h 46828"/>
                    <a:gd name="connsiteX13" fmla="*/ 2152 w 18565"/>
                    <a:gd name="connsiteY13" fmla="*/ 46820 h 46828"/>
                    <a:gd name="connsiteX14" fmla="*/ 2095 w 18565"/>
                    <a:gd name="connsiteY14" fmla="*/ 46820 h 46828"/>
                    <a:gd name="connsiteX15" fmla="*/ 2037 w 18565"/>
                    <a:gd name="connsiteY15" fmla="*/ 46820 h 46828"/>
                    <a:gd name="connsiteX16" fmla="*/ 1980 w 18565"/>
                    <a:gd name="connsiteY16" fmla="*/ 46820 h 46828"/>
                    <a:gd name="connsiteX17" fmla="*/ 1924 w 18565"/>
                    <a:gd name="connsiteY17" fmla="*/ 46820 h 46828"/>
                    <a:gd name="connsiteX18" fmla="*/ 1679 w 18565"/>
                    <a:gd name="connsiteY18" fmla="*/ 41498 h 46828"/>
                    <a:gd name="connsiteX19" fmla="*/ 1443 w 18565"/>
                    <a:gd name="connsiteY19" fmla="*/ 36169 h 46828"/>
                    <a:gd name="connsiteX20" fmla="*/ 1198 w 18565"/>
                    <a:gd name="connsiteY20" fmla="*/ 30847 h 46828"/>
                    <a:gd name="connsiteX21" fmla="*/ 962 w 18565"/>
                    <a:gd name="connsiteY21" fmla="*/ 25509 h 46828"/>
                    <a:gd name="connsiteX22" fmla="*/ 717 w 18565"/>
                    <a:gd name="connsiteY22" fmla="*/ 20162 h 46828"/>
                    <a:gd name="connsiteX23" fmla="*/ 481 w 18565"/>
                    <a:gd name="connsiteY23" fmla="*/ 14808 h 46828"/>
                    <a:gd name="connsiteX24" fmla="*/ 237 w 18565"/>
                    <a:gd name="connsiteY24" fmla="*/ 9454 h 46828"/>
                    <a:gd name="connsiteX25" fmla="*/ 0 w 18565"/>
                    <a:gd name="connsiteY25" fmla="*/ 4099 h 46828"/>
                    <a:gd name="connsiteX26" fmla="*/ 1866 w 18565"/>
                    <a:gd name="connsiteY26" fmla="*/ 1369 h 46828"/>
                    <a:gd name="connsiteX27" fmla="*/ 2673 w 18565"/>
                    <a:gd name="connsiteY27" fmla="*/ 546 h 46828"/>
                    <a:gd name="connsiteX28" fmla="*/ 3724 w 18565"/>
                    <a:gd name="connsiteY28" fmla="*/ 130 h 46828"/>
                    <a:gd name="connsiteX29" fmla="*/ 6797 w 18565"/>
                    <a:gd name="connsiteY29" fmla="*/ 0 h 46828"/>
                    <a:gd name="connsiteX30" fmla="*/ 9014 w 18565"/>
                    <a:gd name="connsiteY30" fmla="*/ 953 h 46828"/>
                    <a:gd name="connsiteX31" fmla="*/ 7946 w 18565"/>
                    <a:gd name="connsiteY31" fmla="*/ 2119 h 46828"/>
                    <a:gd name="connsiteX32" fmla="*/ 7001 w 18565"/>
                    <a:gd name="connsiteY32" fmla="*/ 4262 h 46828"/>
                    <a:gd name="connsiteX33" fmla="*/ 4890 w 18565"/>
                    <a:gd name="connsiteY33" fmla="*/ 6862 h 46828"/>
                    <a:gd name="connsiteX34" fmla="*/ 5037 w 18565"/>
                    <a:gd name="connsiteY34" fmla="*/ 8598 h 46828"/>
                    <a:gd name="connsiteX35" fmla="*/ 5387 w 18565"/>
                    <a:gd name="connsiteY35" fmla="*/ 9829 h 46828"/>
                    <a:gd name="connsiteX36" fmla="*/ 5224 w 18565"/>
                    <a:gd name="connsiteY36" fmla="*/ 12396 h 46828"/>
                    <a:gd name="connsiteX37" fmla="*/ 6569 w 18565"/>
                    <a:gd name="connsiteY37" fmla="*/ 14906 h 46828"/>
                    <a:gd name="connsiteX38" fmla="*/ 9226 w 18565"/>
                    <a:gd name="connsiteY38" fmla="*/ 18997 h 46828"/>
                    <a:gd name="connsiteX39" fmla="*/ 9731 w 18565"/>
                    <a:gd name="connsiteY39" fmla="*/ 25370 h 46828"/>
                    <a:gd name="connsiteX40" fmla="*/ 11760 w 18565"/>
                    <a:gd name="connsiteY40" fmla="*/ 29616 h 46828"/>
                    <a:gd name="connsiteX41" fmla="*/ 14873 w 18565"/>
                    <a:gd name="connsiteY41" fmla="*/ 34579 h 46828"/>
                    <a:gd name="connsiteX42" fmla="*/ 17261 w 18565"/>
                    <a:gd name="connsiteY42" fmla="*/ 35981 h 46828"/>
                    <a:gd name="connsiteX43" fmla="*/ 17375 w 18565"/>
                    <a:gd name="connsiteY43" fmla="*/ 37823 h 4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8565" h="46828">
                      <a:moveTo>
                        <a:pt x="16275" y="40863"/>
                      </a:moveTo>
                      <a:lnTo>
                        <a:pt x="14816" y="42248"/>
                      </a:lnTo>
                      <a:lnTo>
                        <a:pt x="16715" y="41979"/>
                      </a:lnTo>
                      <a:lnTo>
                        <a:pt x="17652" y="42672"/>
                      </a:lnTo>
                      <a:lnTo>
                        <a:pt x="18565" y="45198"/>
                      </a:lnTo>
                      <a:lnTo>
                        <a:pt x="18524" y="46804"/>
                      </a:lnTo>
                      <a:lnTo>
                        <a:pt x="15868" y="46828"/>
                      </a:lnTo>
                      <a:lnTo>
                        <a:pt x="10375" y="46828"/>
                      </a:lnTo>
                      <a:lnTo>
                        <a:pt x="4882" y="46820"/>
                      </a:lnTo>
                      <a:lnTo>
                        <a:pt x="2380" y="46820"/>
                      </a:lnTo>
                      <a:lnTo>
                        <a:pt x="2323" y="46820"/>
                      </a:lnTo>
                      <a:lnTo>
                        <a:pt x="2266" y="46820"/>
                      </a:lnTo>
                      <a:lnTo>
                        <a:pt x="2209" y="46820"/>
                      </a:lnTo>
                      <a:lnTo>
                        <a:pt x="2152" y="46820"/>
                      </a:lnTo>
                      <a:lnTo>
                        <a:pt x="2095" y="46820"/>
                      </a:lnTo>
                      <a:lnTo>
                        <a:pt x="2037" y="46820"/>
                      </a:lnTo>
                      <a:lnTo>
                        <a:pt x="1980" y="46820"/>
                      </a:lnTo>
                      <a:lnTo>
                        <a:pt x="1924" y="46820"/>
                      </a:lnTo>
                      <a:lnTo>
                        <a:pt x="1679" y="41498"/>
                      </a:lnTo>
                      <a:lnTo>
                        <a:pt x="1443" y="36169"/>
                      </a:lnTo>
                      <a:lnTo>
                        <a:pt x="1198" y="30847"/>
                      </a:lnTo>
                      <a:lnTo>
                        <a:pt x="962" y="25509"/>
                      </a:lnTo>
                      <a:lnTo>
                        <a:pt x="717" y="20162"/>
                      </a:lnTo>
                      <a:lnTo>
                        <a:pt x="481" y="14808"/>
                      </a:lnTo>
                      <a:lnTo>
                        <a:pt x="237" y="9454"/>
                      </a:lnTo>
                      <a:lnTo>
                        <a:pt x="0" y="4099"/>
                      </a:lnTo>
                      <a:lnTo>
                        <a:pt x="1866" y="1369"/>
                      </a:lnTo>
                      <a:lnTo>
                        <a:pt x="2673" y="546"/>
                      </a:lnTo>
                      <a:lnTo>
                        <a:pt x="3724" y="130"/>
                      </a:lnTo>
                      <a:lnTo>
                        <a:pt x="6797" y="0"/>
                      </a:lnTo>
                      <a:lnTo>
                        <a:pt x="9014" y="953"/>
                      </a:lnTo>
                      <a:lnTo>
                        <a:pt x="7946" y="2119"/>
                      </a:lnTo>
                      <a:lnTo>
                        <a:pt x="7001" y="4262"/>
                      </a:lnTo>
                      <a:lnTo>
                        <a:pt x="4890" y="6862"/>
                      </a:lnTo>
                      <a:lnTo>
                        <a:pt x="5037" y="8598"/>
                      </a:lnTo>
                      <a:lnTo>
                        <a:pt x="5387" y="9829"/>
                      </a:lnTo>
                      <a:lnTo>
                        <a:pt x="5224" y="12396"/>
                      </a:lnTo>
                      <a:lnTo>
                        <a:pt x="6569" y="14906"/>
                      </a:lnTo>
                      <a:lnTo>
                        <a:pt x="9226" y="18997"/>
                      </a:lnTo>
                      <a:lnTo>
                        <a:pt x="9731" y="25370"/>
                      </a:lnTo>
                      <a:lnTo>
                        <a:pt x="11760" y="29616"/>
                      </a:lnTo>
                      <a:lnTo>
                        <a:pt x="14873" y="34579"/>
                      </a:lnTo>
                      <a:lnTo>
                        <a:pt x="17261" y="35981"/>
                      </a:lnTo>
                      <a:lnTo>
                        <a:pt x="17375" y="37823"/>
                      </a:lnTo>
                      <a:close/>
                    </a:path>
                  </a:pathLst>
                </a:custGeom>
                <a:solidFill>
                  <a:srgbClr val="D6D6D2"/>
                </a:solidFill>
                <a:ln w="8150" cap="flat">
                  <a:noFill/>
                  <a:prstDash val="solid"/>
                  <a:miter/>
                </a:ln>
              </p:spPr>
              <p:txBody>
                <a:bodyPr rtlCol="0" anchor="ctr"/>
                <a:lstStyle/>
                <a:p>
                  <a:endParaRPr lang="en-US"/>
                </a:p>
              </p:txBody>
            </p:sp>
            <p:sp>
              <p:nvSpPr>
                <p:cNvPr id="466" name="Freeform: Shape 465">
                  <a:extLst>
                    <a:ext uri="{FF2B5EF4-FFF2-40B4-BE49-F238E27FC236}">
                      <a16:creationId xmlns:a16="http://schemas.microsoft.com/office/drawing/2014/main" id="{E64C0F71-5C65-40AD-B88C-AF078541A424}"/>
                    </a:ext>
                  </a:extLst>
                </p:cNvPr>
                <p:cNvSpPr/>
                <p:nvPr/>
              </p:nvSpPr>
              <p:spPr>
                <a:xfrm>
                  <a:off x="4115126" y="3205650"/>
                  <a:ext cx="47806" cy="36429"/>
                </a:xfrm>
                <a:custGeom>
                  <a:avLst/>
                  <a:gdLst>
                    <a:gd name="connsiteX0" fmla="*/ 22713 w 47806"/>
                    <a:gd name="connsiteY0" fmla="*/ 734 h 36429"/>
                    <a:gd name="connsiteX1" fmla="*/ 22738 w 47806"/>
                    <a:gd name="connsiteY1" fmla="*/ 1638 h 36429"/>
                    <a:gd name="connsiteX2" fmla="*/ 23805 w 47806"/>
                    <a:gd name="connsiteY2" fmla="*/ 1524 h 36429"/>
                    <a:gd name="connsiteX3" fmla="*/ 23952 w 47806"/>
                    <a:gd name="connsiteY3" fmla="*/ 734 h 36429"/>
                    <a:gd name="connsiteX4" fmla="*/ 26919 w 47806"/>
                    <a:gd name="connsiteY4" fmla="*/ 791 h 36429"/>
                    <a:gd name="connsiteX5" fmla="*/ 29877 w 47806"/>
                    <a:gd name="connsiteY5" fmla="*/ 831 h 36429"/>
                    <a:gd name="connsiteX6" fmla="*/ 32843 w 47806"/>
                    <a:gd name="connsiteY6" fmla="*/ 880 h 36429"/>
                    <a:gd name="connsiteX7" fmla="*/ 35802 w 47806"/>
                    <a:gd name="connsiteY7" fmla="*/ 937 h 36429"/>
                    <a:gd name="connsiteX8" fmla="*/ 38768 w 47806"/>
                    <a:gd name="connsiteY8" fmla="*/ 986 h 36429"/>
                    <a:gd name="connsiteX9" fmla="*/ 41735 w 47806"/>
                    <a:gd name="connsiteY9" fmla="*/ 1035 h 36429"/>
                    <a:gd name="connsiteX10" fmla="*/ 44693 w 47806"/>
                    <a:gd name="connsiteY10" fmla="*/ 1084 h 36429"/>
                    <a:gd name="connsiteX11" fmla="*/ 47660 w 47806"/>
                    <a:gd name="connsiteY11" fmla="*/ 1133 h 36429"/>
                    <a:gd name="connsiteX12" fmla="*/ 47684 w 47806"/>
                    <a:gd name="connsiteY12" fmla="*/ 1500 h 36429"/>
                    <a:gd name="connsiteX13" fmla="*/ 47692 w 47806"/>
                    <a:gd name="connsiteY13" fmla="*/ 3341 h 36429"/>
                    <a:gd name="connsiteX14" fmla="*/ 47709 w 47806"/>
                    <a:gd name="connsiteY14" fmla="*/ 5933 h 36429"/>
                    <a:gd name="connsiteX15" fmla="*/ 47725 w 47806"/>
                    <a:gd name="connsiteY15" fmla="*/ 7799 h 36429"/>
                    <a:gd name="connsiteX16" fmla="*/ 47741 w 47806"/>
                    <a:gd name="connsiteY16" fmla="*/ 10383 h 36429"/>
                    <a:gd name="connsiteX17" fmla="*/ 47766 w 47806"/>
                    <a:gd name="connsiteY17" fmla="*/ 13317 h 36429"/>
                    <a:gd name="connsiteX18" fmla="*/ 47790 w 47806"/>
                    <a:gd name="connsiteY18" fmla="*/ 16014 h 36429"/>
                    <a:gd name="connsiteX19" fmla="*/ 47806 w 47806"/>
                    <a:gd name="connsiteY19" fmla="*/ 18378 h 36429"/>
                    <a:gd name="connsiteX20" fmla="*/ 47717 w 47806"/>
                    <a:gd name="connsiteY20" fmla="*/ 19771 h 36429"/>
                    <a:gd name="connsiteX21" fmla="*/ 47594 w 47806"/>
                    <a:gd name="connsiteY21" fmla="*/ 21907 h 36429"/>
                    <a:gd name="connsiteX22" fmla="*/ 46959 w 47806"/>
                    <a:gd name="connsiteY22" fmla="*/ 22730 h 36429"/>
                    <a:gd name="connsiteX23" fmla="*/ 46657 w 47806"/>
                    <a:gd name="connsiteY23" fmla="*/ 24686 h 36429"/>
                    <a:gd name="connsiteX24" fmla="*/ 44473 w 47806"/>
                    <a:gd name="connsiteY24" fmla="*/ 24490 h 36429"/>
                    <a:gd name="connsiteX25" fmla="*/ 40912 w 47806"/>
                    <a:gd name="connsiteY25" fmla="*/ 25003 h 36429"/>
                    <a:gd name="connsiteX26" fmla="*/ 36160 w 47806"/>
                    <a:gd name="connsiteY26" fmla="*/ 26185 h 36429"/>
                    <a:gd name="connsiteX27" fmla="*/ 33536 w 47806"/>
                    <a:gd name="connsiteY27" fmla="*/ 25484 h 36429"/>
                    <a:gd name="connsiteX28" fmla="*/ 30847 w 47806"/>
                    <a:gd name="connsiteY28" fmla="*/ 26723 h 36429"/>
                    <a:gd name="connsiteX29" fmla="*/ 21727 w 47806"/>
                    <a:gd name="connsiteY29" fmla="*/ 27065 h 36429"/>
                    <a:gd name="connsiteX30" fmla="*/ 19812 w 47806"/>
                    <a:gd name="connsiteY30" fmla="*/ 26405 h 36429"/>
                    <a:gd name="connsiteX31" fmla="*/ 17351 w 47806"/>
                    <a:gd name="connsiteY31" fmla="*/ 28752 h 36429"/>
                    <a:gd name="connsiteX32" fmla="*/ 13414 w 47806"/>
                    <a:gd name="connsiteY32" fmla="*/ 30146 h 36429"/>
                    <a:gd name="connsiteX33" fmla="*/ 3480 w 47806"/>
                    <a:gd name="connsiteY33" fmla="*/ 35403 h 36429"/>
                    <a:gd name="connsiteX34" fmla="*/ 2306 w 47806"/>
                    <a:gd name="connsiteY34" fmla="*/ 36429 h 36429"/>
                    <a:gd name="connsiteX35" fmla="*/ 1019 w 47806"/>
                    <a:gd name="connsiteY35" fmla="*/ 34286 h 36429"/>
                    <a:gd name="connsiteX36" fmla="*/ 0 w 47806"/>
                    <a:gd name="connsiteY36" fmla="*/ 32575 h 36429"/>
                    <a:gd name="connsiteX37" fmla="*/ 2021 w 47806"/>
                    <a:gd name="connsiteY37" fmla="*/ 31246 h 36429"/>
                    <a:gd name="connsiteX38" fmla="*/ 3553 w 47806"/>
                    <a:gd name="connsiteY38" fmla="*/ 30236 h 36429"/>
                    <a:gd name="connsiteX39" fmla="*/ 4996 w 47806"/>
                    <a:gd name="connsiteY39" fmla="*/ 29282 h 36429"/>
                    <a:gd name="connsiteX40" fmla="*/ 5933 w 47806"/>
                    <a:gd name="connsiteY40" fmla="*/ 28671 h 36429"/>
                    <a:gd name="connsiteX41" fmla="*/ 5183 w 47806"/>
                    <a:gd name="connsiteY41" fmla="*/ 27359 h 36429"/>
                    <a:gd name="connsiteX42" fmla="*/ 4425 w 47806"/>
                    <a:gd name="connsiteY42" fmla="*/ 26038 h 36429"/>
                    <a:gd name="connsiteX43" fmla="*/ 4629 w 47806"/>
                    <a:gd name="connsiteY43" fmla="*/ 22787 h 36429"/>
                    <a:gd name="connsiteX44" fmla="*/ 4825 w 47806"/>
                    <a:gd name="connsiteY44" fmla="*/ 19543 h 36429"/>
                    <a:gd name="connsiteX45" fmla="*/ 5028 w 47806"/>
                    <a:gd name="connsiteY45" fmla="*/ 16291 h 36429"/>
                    <a:gd name="connsiteX46" fmla="*/ 5224 w 47806"/>
                    <a:gd name="connsiteY46" fmla="*/ 13040 h 36429"/>
                    <a:gd name="connsiteX47" fmla="*/ 5420 w 47806"/>
                    <a:gd name="connsiteY47" fmla="*/ 9780 h 36429"/>
                    <a:gd name="connsiteX48" fmla="*/ 5615 w 47806"/>
                    <a:gd name="connsiteY48" fmla="*/ 6520 h 36429"/>
                    <a:gd name="connsiteX49" fmla="*/ 5819 w 47806"/>
                    <a:gd name="connsiteY49" fmla="*/ 3260 h 36429"/>
                    <a:gd name="connsiteX50" fmla="*/ 6023 w 47806"/>
                    <a:gd name="connsiteY50" fmla="*/ 0 h 36429"/>
                    <a:gd name="connsiteX51" fmla="*/ 8109 w 47806"/>
                    <a:gd name="connsiteY51" fmla="*/ 90 h 36429"/>
                    <a:gd name="connsiteX52" fmla="*/ 10187 w 47806"/>
                    <a:gd name="connsiteY52" fmla="*/ 188 h 36429"/>
                    <a:gd name="connsiteX53" fmla="*/ 12282 w 47806"/>
                    <a:gd name="connsiteY53" fmla="*/ 277 h 36429"/>
                    <a:gd name="connsiteX54" fmla="*/ 14368 w 47806"/>
                    <a:gd name="connsiteY54" fmla="*/ 367 h 36429"/>
                    <a:gd name="connsiteX55" fmla="*/ 16446 w 47806"/>
                    <a:gd name="connsiteY55" fmla="*/ 465 h 36429"/>
                    <a:gd name="connsiteX56" fmla="*/ 18532 w 47806"/>
                    <a:gd name="connsiteY56" fmla="*/ 554 h 36429"/>
                    <a:gd name="connsiteX57" fmla="*/ 20619 w 47806"/>
                    <a:gd name="connsiteY57" fmla="*/ 644 h 3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7806" h="36429">
                      <a:moveTo>
                        <a:pt x="22713" y="734"/>
                      </a:moveTo>
                      <a:lnTo>
                        <a:pt x="22738" y="1638"/>
                      </a:lnTo>
                      <a:lnTo>
                        <a:pt x="23805" y="1524"/>
                      </a:lnTo>
                      <a:lnTo>
                        <a:pt x="23952" y="734"/>
                      </a:lnTo>
                      <a:lnTo>
                        <a:pt x="26919" y="791"/>
                      </a:lnTo>
                      <a:lnTo>
                        <a:pt x="29877" y="831"/>
                      </a:lnTo>
                      <a:lnTo>
                        <a:pt x="32843" y="880"/>
                      </a:lnTo>
                      <a:lnTo>
                        <a:pt x="35802" y="937"/>
                      </a:lnTo>
                      <a:lnTo>
                        <a:pt x="38768" y="986"/>
                      </a:lnTo>
                      <a:lnTo>
                        <a:pt x="41735" y="1035"/>
                      </a:lnTo>
                      <a:lnTo>
                        <a:pt x="44693" y="1084"/>
                      </a:lnTo>
                      <a:lnTo>
                        <a:pt x="47660" y="1133"/>
                      </a:lnTo>
                      <a:lnTo>
                        <a:pt x="47684" y="1500"/>
                      </a:lnTo>
                      <a:lnTo>
                        <a:pt x="47692" y="3341"/>
                      </a:lnTo>
                      <a:lnTo>
                        <a:pt x="47709" y="5933"/>
                      </a:lnTo>
                      <a:lnTo>
                        <a:pt x="47725" y="7799"/>
                      </a:lnTo>
                      <a:lnTo>
                        <a:pt x="47741" y="10383"/>
                      </a:lnTo>
                      <a:lnTo>
                        <a:pt x="47766" y="13317"/>
                      </a:lnTo>
                      <a:lnTo>
                        <a:pt x="47790" y="16014"/>
                      </a:lnTo>
                      <a:lnTo>
                        <a:pt x="47806" y="18378"/>
                      </a:lnTo>
                      <a:lnTo>
                        <a:pt x="47717" y="19771"/>
                      </a:lnTo>
                      <a:lnTo>
                        <a:pt x="47594" y="21907"/>
                      </a:lnTo>
                      <a:lnTo>
                        <a:pt x="46959" y="22730"/>
                      </a:lnTo>
                      <a:lnTo>
                        <a:pt x="46657" y="24686"/>
                      </a:lnTo>
                      <a:lnTo>
                        <a:pt x="44473" y="24490"/>
                      </a:lnTo>
                      <a:lnTo>
                        <a:pt x="40912" y="25003"/>
                      </a:lnTo>
                      <a:lnTo>
                        <a:pt x="36160" y="26185"/>
                      </a:lnTo>
                      <a:lnTo>
                        <a:pt x="33536" y="25484"/>
                      </a:lnTo>
                      <a:lnTo>
                        <a:pt x="30847" y="26723"/>
                      </a:lnTo>
                      <a:lnTo>
                        <a:pt x="21727" y="27065"/>
                      </a:lnTo>
                      <a:lnTo>
                        <a:pt x="19812" y="26405"/>
                      </a:lnTo>
                      <a:lnTo>
                        <a:pt x="17351" y="28752"/>
                      </a:lnTo>
                      <a:lnTo>
                        <a:pt x="13414" y="30146"/>
                      </a:lnTo>
                      <a:lnTo>
                        <a:pt x="3480" y="35403"/>
                      </a:lnTo>
                      <a:lnTo>
                        <a:pt x="2306" y="36429"/>
                      </a:lnTo>
                      <a:lnTo>
                        <a:pt x="1019" y="34286"/>
                      </a:lnTo>
                      <a:lnTo>
                        <a:pt x="0" y="32575"/>
                      </a:lnTo>
                      <a:lnTo>
                        <a:pt x="2021" y="31246"/>
                      </a:lnTo>
                      <a:lnTo>
                        <a:pt x="3553" y="30236"/>
                      </a:lnTo>
                      <a:lnTo>
                        <a:pt x="4996" y="29282"/>
                      </a:lnTo>
                      <a:lnTo>
                        <a:pt x="5933" y="28671"/>
                      </a:lnTo>
                      <a:lnTo>
                        <a:pt x="5183" y="27359"/>
                      </a:lnTo>
                      <a:lnTo>
                        <a:pt x="4425" y="26038"/>
                      </a:lnTo>
                      <a:lnTo>
                        <a:pt x="4629" y="22787"/>
                      </a:lnTo>
                      <a:lnTo>
                        <a:pt x="4825" y="19543"/>
                      </a:lnTo>
                      <a:lnTo>
                        <a:pt x="5028" y="16291"/>
                      </a:lnTo>
                      <a:lnTo>
                        <a:pt x="5224" y="13040"/>
                      </a:lnTo>
                      <a:lnTo>
                        <a:pt x="5420" y="9780"/>
                      </a:lnTo>
                      <a:lnTo>
                        <a:pt x="5615" y="6520"/>
                      </a:lnTo>
                      <a:lnTo>
                        <a:pt x="5819" y="3260"/>
                      </a:lnTo>
                      <a:lnTo>
                        <a:pt x="6023" y="0"/>
                      </a:lnTo>
                      <a:lnTo>
                        <a:pt x="8109" y="90"/>
                      </a:lnTo>
                      <a:lnTo>
                        <a:pt x="10187" y="188"/>
                      </a:lnTo>
                      <a:lnTo>
                        <a:pt x="12282" y="277"/>
                      </a:lnTo>
                      <a:lnTo>
                        <a:pt x="14368" y="367"/>
                      </a:lnTo>
                      <a:lnTo>
                        <a:pt x="16446" y="465"/>
                      </a:lnTo>
                      <a:lnTo>
                        <a:pt x="18532" y="554"/>
                      </a:lnTo>
                      <a:lnTo>
                        <a:pt x="20619" y="644"/>
                      </a:lnTo>
                      <a:close/>
                    </a:path>
                  </a:pathLst>
                </a:custGeom>
                <a:solidFill>
                  <a:srgbClr val="D6D6D2"/>
                </a:solidFill>
                <a:ln w="8150" cap="flat">
                  <a:noFill/>
                  <a:prstDash val="solid"/>
                  <a:miter/>
                </a:ln>
              </p:spPr>
              <p:txBody>
                <a:bodyPr rtlCol="0" anchor="ctr"/>
                <a:lstStyle/>
                <a:p>
                  <a:endParaRPr lang="en-US"/>
                </a:p>
              </p:txBody>
            </p:sp>
            <p:sp>
              <p:nvSpPr>
                <p:cNvPr id="467" name="Freeform: Shape 466">
                  <a:extLst>
                    <a:ext uri="{FF2B5EF4-FFF2-40B4-BE49-F238E27FC236}">
                      <a16:creationId xmlns:a16="http://schemas.microsoft.com/office/drawing/2014/main" id="{95832A0F-E977-4937-B53E-62A01A9C4682}"/>
                    </a:ext>
                  </a:extLst>
                </p:cNvPr>
                <p:cNvSpPr/>
                <p:nvPr/>
              </p:nvSpPr>
              <p:spPr>
                <a:xfrm>
                  <a:off x="2858901" y="3207532"/>
                  <a:ext cx="254165" cy="315891"/>
                </a:xfrm>
                <a:custGeom>
                  <a:avLst/>
                  <a:gdLst>
                    <a:gd name="connsiteX0" fmla="*/ 3586 w 254165"/>
                    <a:gd name="connsiteY0" fmla="*/ 0 h 315891"/>
                    <a:gd name="connsiteX1" fmla="*/ 10350 w 254165"/>
                    <a:gd name="connsiteY1" fmla="*/ 0 h 315891"/>
                    <a:gd name="connsiteX2" fmla="*/ 16886 w 254165"/>
                    <a:gd name="connsiteY2" fmla="*/ 0 h 315891"/>
                    <a:gd name="connsiteX3" fmla="*/ 23422 w 254165"/>
                    <a:gd name="connsiteY3" fmla="*/ 0 h 315891"/>
                    <a:gd name="connsiteX4" fmla="*/ 29967 w 254165"/>
                    <a:gd name="connsiteY4" fmla="*/ 0 h 315891"/>
                    <a:gd name="connsiteX5" fmla="*/ 36503 w 254165"/>
                    <a:gd name="connsiteY5" fmla="*/ 0 h 315891"/>
                    <a:gd name="connsiteX6" fmla="*/ 43047 w 254165"/>
                    <a:gd name="connsiteY6" fmla="*/ 0 h 315891"/>
                    <a:gd name="connsiteX7" fmla="*/ 49583 w 254165"/>
                    <a:gd name="connsiteY7" fmla="*/ 0 h 315891"/>
                    <a:gd name="connsiteX8" fmla="*/ 56119 w 254165"/>
                    <a:gd name="connsiteY8" fmla="*/ 0 h 315891"/>
                    <a:gd name="connsiteX9" fmla="*/ 62655 w 254165"/>
                    <a:gd name="connsiteY9" fmla="*/ 0 h 315891"/>
                    <a:gd name="connsiteX10" fmla="*/ 69199 w 254165"/>
                    <a:gd name="connsiteY10" fmla="*/ 0 h 315891"/>
                    <a:gd name="connsiteX11" fmla="*/ 75744 w 254165"/>
                    <a:gd name="connsiteY11" fmla="*/ 0 h 315891"/>
                    <a:gd name="connsiteX12" fmla="*/ 82280 w 254165"/>
                    <a:gd name="connsiteY12" fmla="*/ 0 h 315891"/>
                    <a:gd name="connsiteX13" fmla="*/ 88824 w 254165"/>
                    <a:gd name="connsiteY13" fmla="*/ 0 h 315891"/>
                    <a:gd name="connsiteX14" fmla="*/ 95360 w 254165"/>
                    <a:gd name="connsiteY14" fmla="*/ 0 h 315891"/>
                    <a:gd name="connsiteX15" fmla="*/ 101904 w 254165"/>
                    <a:gd name="connsiteY15" fmla="*/ 0 h 315891"/>
                    <a:gd name="connsiteX16" fmla="*/ 108440 w 254165"/>
                    <a:gd name="connsiteY16" fmla="*/ 0 h 315891"/>
                    <a:gd name="connsiteX17" fmla="*/ 108440 w 254165"/>
                    <a:gd name="connsiteY17" fmla="*/ 6446 h 315891"/>
                    <a:gd name="connsiteX18" fmla="*/ 108440 w 254165"/>
                    <a:gd name="connsiteY18" fmla="*/ 12885 h 315891"/>
                    <a:gd name="connsiteX19" fmla="*/ 108440 w 254165"/>
                    <a:gd name="connsiteY19" fmla="*/ 19299 h 315891"/>
                    <a:gd name="connsiteX20" fmla="*/ 108440 w 254165"/>
                    <a:gd name="connsiteY20" fmla="*/ 25712 h 315891"/>
                    <a:gd name="connsiteX21" fmla="*/ 108440 w 254165"/>
                    <a:gd name="connsiteY21" fmla="*/ 32118 h 315891"/>
                    <a:gd name="connsiteX22" fmla="*/ 108440 w 254165"/>
                    <a:gd name="connsiteY22" fmla="*/ 38516 h 315891"/>
                    <a:gd name="connsiteX23" fmla="*/ 108440 w 254165"/>
                    <a:gd name="connsiteY23" fmla="*/ 44905 h 315891"/>
                    <a:gd name="connsiteX24" fmla="*/ 108440 w 254165"/>
                    <a:gd name="connsiteY24" fmla="*/ 51286 h 315891"/>
                    <a:gd name="connsiteX25" fmla="*/ 108440 w 254165"/>
                    <a:gd name="connsiteY25" fmla="*/ 57659 h 315891"/>
                    <a:gd name="connsiteX26" fmla="*/ 108440 w 254165"/>
                    <a:gd name="connsiteY26" fmla="*/ 64024 h 315891"/>
                    <a:gd name="connsiteX27" fmla="*/ 108440 w 254165"/>
                    <a:gd name="connsiteY27" fmla="*/ 70389 h 315891"/>
                    <a:gd name="connsiteX28" fmla="*/ 108440 w 254165"/>
                    <a:gd name="connsiteY28" fmla="*/ 76738 h 315891"/>
                    <a:gd name="connsiteX29" fmla="*/ 108440 w 254165"/>
                    <a:gd name="connsiteY29" fmla="*/ 83078 h 315891"/>
                    <a:gd name="connsiteX30" fmla="*/ 108440 w 254165"/>
                    <a:gd name="connsiteY30" fmla="*/ 89419 h 315891"/>
                    <a:gd name="connsiteX31" fmla="*/ 108440 w 254165"/>
                    <a:gd name="connsiteY31" fmla="*/ 95743 h 315891"/>
                    <a:gd name="connsiteX32" fmla="*/ 108440 w 254165"/>
                    <a:gd name="connsiteY32" fmla="*/ 102059 h 315891"/>
                    <a:gd name="connsiteX33" fmla="*/ 114251 w 254165"/>
                    <a:gd name="connsiteY33" fmla="*/ 107568 h 315891"/>
                    <a:gd name="connsiteX34" fmla="*/ 120062 w 254165"/>
                    <a:gd name="connsiteY34" fmla="*/ 113069 h 315891"/>
                    <a:gd name="connsiteX35" fmla="*/ 125864 w 254165"/>
                    <a:gd name="connsiteY35" fmla="*/ 118562 h 315891"/>
                    <a:gd name="connsiteX36" fmla="*/ 131675 w 254165"/>
                    <a:gd name="connsiteY36" fmla="*/ 124047 h 315891"/>
                    <a:gd name="connsiteX37" fmla="*/ 137486 w 254165"/>
                    <a:gd name="connsiteY37" fmla="*/ 129532 h 315891"/>
                    <a:gd name="connsiteX38" fmla="*/ 143297 w 254165"/>
                    <a:gd name="connsiteY38" fmla="*/ 135009 h 315891"/>
                    <a:gd name="connsiteX39" fmla="*/ 149108 w 254165"/>
                    <a:gd name="connsiteY39" fmla="*/ 140477 h 315891"/>
                    <a:gd name="connsiteX40" fmla="*/ 154918 w 254165"/>
                    <a:gd name="connsiteY40" fmla="*/ 145945 h 315891"/>
                    <a:gd name="connsiteX41" fmla="*/ 159466 w 254165"/>
                    <a:gd name="connsiteY41" fmla="*/ 150550 h 315891"/>
                    <a:gd name="connsiteX42" fmla="*/ 164013 w 254165"/>
                    <a:gd name="connsiteY42" fmla="*/ 155155 h 315891"/>
                    <a:gd name="connsiteX43" fmla="*/ 168561 w 254165"/>
                    <a:gd name="connsiteY43" fmla="*/ 159751 h 315891"/>
                    <a:gd name="connsiteX44" fmla="*/ 173108 w 254165"/>
                    <a:gd name="connsiteY44" fmla="*/ 164348 h 315891"/>
                    <a:gd name="connsiteX45" fmla="*/ 177664 w 254165"/>
                    <a:gd name="connsiteY45" fmla="*/ 168928 h 315891"/>
                    <a:gd name="connsiteX46" fmla="*/ 182212 w 254165"/>
                    <a:gd name="connsiteY46" fmla="*/ 173516 h 315891"/>
                    <a:gd name="connsiteX47" fmla="*/ 186759 w 254165"/>
                    <a:gd name="connsiteY47" fmla="*/ 178096 h 315891"/>
                    <a:gd name="connsiteX48" fmla="*/ 191307 w 254165"/>
                    <a:gd name="connsiteY48" fmla="*/ 182676 h 315891"/>
                    <a:gd name="connsiteX49" fmla="*/ 197598 w 254165"/>
                    <a:gd name="connsiteY49" fmla="*/ 189253 h 315891"/>
                    <a:gd name="connsiteX50" fmla="*/ 203898 w 254165"/>
                    <a:gd name="connsiteY50" fmla="*/ 195822 h 315891"/>
                    <a:gd name="connsiteX51" fmla="*/ 210198 w 254165"/>
                    <a:gd name="connsiteY51" fmla="*/ 202390 h 315891"/>
                    <a:gd name="connsiteX52" fmla="*/ 216498 w 254165"/>
                    <a:gd name="connsiteY52" fmla="*/ 208943 h 315891"/>
                    <a:gd name="connsiteX53" fmla="*/ 222797 w 254165"/>
                    <a:gd name="connsiteY53" fmla="*/ 215495 h 315891"/>
                    <a:gd name="connsiteX54" fmla="*/ 229089 w 254165"/>
                    <a:gd name="connsiteY54" fmla="*/ 222031 h 315891"/>
                    <a:gd name="connsiteX55" fmla="*/ 235381 w 254165"/>
                    <a:gd name="connsiteY55" fmla="*/ 228567 h 315891"/>
                    <a:gd name="connsiteX56" fmla="*/ 242120 w 254165"/>
                    <a:gd name="connsiteY56" fmla="*/ 235535 h 315891"/>
                    <a:gd name="connsiteX57" fmla="*/ 242112 w 254165"/>
                    <a:gd name="connsiteY57" fmla="*/ 238290 h 315891"/>
                    <a:gd name="connsiteX58" fmla="*/ 243433 w 254165"/>
                    <a:gd name="connsiteY58" fmla="*/ 241998 h 315891"/>
                    <a:gd name="connsiteX59" fmla="*/ 247385 w 254165"/>
                    <a:gd name="connsiteY59" fmla="*/ 248730 h 315891"/>
                    <a:gd name="connsiteX60" fmla="*/ 247866 w 254165"/>
                    <a:gd name="connsiteY60" fmla="*/ 250343 h 315891"/>
                    <a:gd name="connsiteX61" fmla="*/ 247915 w 254165"/>
                    <a:gd name="connsiteY61" fmla="*/ 250376 h 315891"/>
                    <a:gd name="connsiteX62" fmla="*/ 248062 w 254165"/>
                    <a:gd name="connsiteY62" fmla="*/ 252063 h 315891"/>
                    <a:gd name="connsiteX63" fmla="*/ 249618 w 254165"/>
                    <a:gd name="connsiteY63" fmla="*/ 253889 h 315891"/>
                    <a:gd name="connsiteX64" fmla="*/ 253326 w 254165"/>
                    <a:gd name="connsiteY64" fmla="*/ 256431 h 315891"/>
                    <a:gd name="connsiteX65" fmla="*/ 254166 w 254165"/>
                    <a:gd name="connsiteY65" fmla="*/ 257678 h 315891"/>
                    <a:gd name="connsiteX66" fmla="*/ 254166 w 254165"/>
                    <a:gd name="connsiteY66" fmla="*/ 257784 h 315891"/>
                    <a:gd name="connsiteX67" fmla="*/ 254158 w 254165"/>
                    <a:gd name="connsiteY67" fmla="*/ 258689 h 315891"/>
                    <a:gd name="connsiteX68" fmla="*/ 253220 w 254165"/>
                    <a:gd name="connsiteY68" fmla="*/ 259773 h 315891"/>
                    <a:gd name="connsiteX69" fmla="*/ 249105 w 254165"/>
                    <a:gd name="connsiteY69" fmla="*/ 263416 h 315891"/>
                    <a:gd name="connsiteX70" fmla="*/ 246896 w 254165"/>
                    <a:gd name="connsiteY70" fmla="*/ 266390 h 315891"/>
                    <a:gd name="connsiteX71" fmla="*/ 244647 w 254165"/>
                    <a:gd name="connsiteY71" fmla="*/ 271215 h 315891"/>
                    <a:gd name="connsiteX72" fmla="*/ 244989 w 254165"/>
                    <a:gd name="connsiteY72" fmla="*/ 275119 h 315891"/>
                    <a:gd name="connsiteX73" fmla="*/ 244891 w 254165"/>
                    <a:gd name="connsiteY73" fmla="*/ 278346 h 315891"/>
                    <a:gd name="connsiteX74" fmla="*/ 244337 w 254165"/>
                    <a:gd name="connsiteY74" fmla="*/ 280905 h 315891"/>
                    <a:gd name="connsiteX75" fmla="*/ 243490 w 254165"/>
                    <a:gd name="connsiteY75" fmla="*/ 283260 h 315891"/>
                    <a:gd name="connsiteX76" fmla="*/ 242332 w 254165"/>
                    <a:gd name="connsiteY76" fmla="*/ 285404 h 315891"/>
                    <a:gd name="connsiteX77" fmla="*/ 241126 w 254165"/>
                    <a:gd name="connsiteY77" fmla="*/ 286683 h 315891"/>
                    <a:gd name="connsiteX78" fmla="*/ 239871 w 254165"/>
                    <a:gd name="connsiteY78" fmla="*/ 287107 h 315891"/>
                    <a:gd name="connsiteX79" fmla="*/ 239431 w 254165"/>
                    <a:gd name="connsiteY79" fmla="*/ 289943 h 315891"/>
                    <a:gd name="connsiteX80" fmla="*/ 239798 w 254165"/>
                    <a:gd name="connsiteY80" fmla="*/ 295200 h 315891"/>
                    <a:gd name="connsiteX81" fmla="*/ 241191 w 254165"/>
                    <a:gd name="connsiteY81" fmla="*/ 298394 h 315891"/>
                    <a:gd name="connsiteX82" fmla="*/ 243612 w 254165"/>
                    <a:gd name="connsiteY82" fmla="*/ 299535 h 315891"/>
                    <a:gd name="connsiteX83" fmla="*/ 245095 w 254165"/>
                    <a:gd name="connsiteY83" fmla="*/ 301263 h 315891"/>
                    <a:gd name="connsiteX84" fmla="*/ 245641 w 254165"/>
                    <a:gd name="connsiteY84" fmla="*/ 303586 h 315891"/>
                    <a:gd name="connsiteX85" fmla="*/ 245429 w 254165"/>
                    <a:gd name="connsiteY85" fmla="*/ 305876 h 315891"/>
                    <a:gd name="connsiteX86" fmla="*/ 244468 w 254165"/>
                    <a:gd name="connsiteY86" fmla="*/ 308125 h 315891"/>
                    <a:gd name="connsiteX87" fmla="*/ 242838 w 254165"/>
                    <a:gd name="connsiteY87" fmla="*/ 309364 h 315891"/>
                    <a:gd name="connsiteX88" fmla="*/ 239398 w 254165"/>
                    <a:gd name="connsiteY88" fmla="*/ 309698 h 315891"/>
                    <a:gd name="connsiteX89" fmla="*/ 239398 w 254165"/>
                    <a:gd name="connsiteY89" fmla="*/ 309698 h 315891"/>
                    <a:gd name="connsiteX90" fmla="*/ 239301 w 254165"/>
                    <a:gd name="connsiteY90" fmla="*/ 310000 h 315891"/>
                    <a:gd name="connsiteX91" fmla="*/ 236473 w 254165"/>
                    <a:gd name="connsiteY91" fmla="*/ 310342 h 315891"/>
                    <a:gd name="connsiteX92" fmla="*/ 229374 w 254165"/>
                    <a:gd name="connsiteY92" fmla="*/ 311035 h 315891"/>
                    <a:gd name="connsiteX93" fmla="*/ 222276 w 254165"/>
                    <a:gd name="connsiteY93" fmla="*/ 311727 h 315891"/>
                    <a:gd name="connsiteX94" fmla="*/ 215177 w 254165"/>
                    <a:gd name="connsiteY94" fmla="*/ 312420 h 315891"/>
                    <a:gd name="connsiteX95" fmla="*/ 208079 w 254165"/>
                    <a:gd name="connsiteY95" fmla="*/ 313121 h 315891"/>
                    <a:gd name="connsiteX96" fmla="*/ 200981 w 254165"/>
                    <a:gd name="connsiteY96" fmla="*/ 313814 h 315891"/>
                    <a:gd name="connsiteX97" fmla="*/ 193882 w 254165"/>
                    <a:gd name="connsiteY97" fmla="*/ 314506 h 315891"/>
                    <a:gd name="connsiteX98" fmla="*/ 186784 w 254165"/>
                    <a:gd name="connsiteY98" fmla="*/ 315199 h 315891"/>
                    <a:gd name="connsiteX99" fmla="*/ 179685 w 254165"/>
                    <a:gd name="connsiteY99" fmla="*/ 315892 h 315891"/>
                    <a:gd name="connsiteX100" fmla="*/ 179628 w 254165"/>
                    <a:gd name="connsiteY100" fmla="*/ 315688 h 315891"/>
                    <a:gd name="connsiteX101" fmla="*/ 179457 w 254165"/>
                    <a:gd name="connsiteY101" fmla="*/ 312127 h 315891"/>
                    <a:gd name="connsiteX102" fmla="*/ 178308 w 254165"/>
                    <a:gd name="connsiteY102" fmla="*/ 310863 h 315891"/>
                    <a:gd name="connsiteX103" fmla="*/ 176825 w 254165"/>
                    <a:gd name="connsiteY103" fmla="*/ 311646 h 315891"/>
                    <a:gd name="connsiteX104" fmla="*/ 176148 w 254165"/>
                    <a:gd name="connsiteY104" fmla="*/ 307017 h 315891"/>
                    <a:gd name="connsiteX105" fmla="*/ 176515 w 254165"/>
                    <a:gd name="connsiteY105" fmla="*/ 304841 h 315891"/>
                    <a:gd name="connsiteX106" fmla="*/ 176344 w 254165"/>
                    <a:gd name="connsiteY106" fmla="*/ 302706 h 315891"/>
                    <a:gd name="connsiteX107" fmla="*/ 174958 w 254165"/>
                    <a:gd name="connsiteY107" fmla="*/ 297457 h 315891"/>
                    <a:gd name="connsiteX108" fmla="*/ 171275 w 254165"/>
                    <a:gd name="connsiteY108" fmla="*/ 291084 h 315891"/>
                    <a:gd name="connsiteX109" fmla="*/ 163313 w 254165"/>
                    <a:gd name="connsiteY109" fmla="*/ 283154 h 315891"/>
                    <a:gd name="connsiteX110" fmla="*/ 159254 w 254165"/>
                    <a:gd name="connsiteY110" fmla="*/ 280506 h 315891"/>
                    <a:gd name="connsiteX111" fmla="*/ 156067 w 254165"/>
                    <a:gd name="connsiteY111" fmla="*/ 277148 h 315891"/>
                    <a:gd name="connsiteX112" fmla="*/ 154046 w 254165"/>
                    <a:gd name="connsiteY112" fmla="*/ 276211 h 315891"/>
                    <a:gd name="connsiteX113" fmla="*/ 151504 w 254165"/>
                    <a:gd name="connsiteY113" fmla="*/ 275958 h 315891"/>
                    <a:gd name="connsiteX114" fmla="*/ 150762 w 254165"/>
                    <a:gd name="connsiteY114" fmla="*/ 277474 h 315891"/>
                    <a:gd name="connsiteX115" fmla="*/ 147877 w 254165"/>
                    <a:gd name="connsiteY115" fmla="*/ 276439 h 315891"/>
                    <a:gd name="connsiteX116" fmla="*/ 148309 w 254165"/>
                    <a:gd name="connsiteY116" fmla="*/ 272706 h 315891"/>
                    <a:gd name="connsiteX117" fmla="*/ 145497 w 254165"/>
                    <a:gd name="connsiteY117" fmla="*/ 267491 h 315891"/>
                    <a:gd name="connsiteX118" fmla="*/ 143199 w 254165"/>
                    <a:gd name="connsiteY118" fmla="*/ 266920 h 315891"/>
                    <a:gd name="connsiteX119" fmla="*/ 137421 w 254165"/>
                    <a:gd name="connsiteY119" fmla="*/ 267262 h 315891"/>
                    <a:gd name="connsiteX120" fmla="*/ 129687 w 254165"/>
                    <a:gd name="connsiteY120" fmla="*/ 264394 h 315891"/>
                    <a:gd name="connsiteX121" fmla="*/ 127405 w 254165"/>
                    <a:gd name="connsiteY121" fmla="*/ 262690 h 315891"/>
                    <a:gd name="connsiteX122" fmla="*/ 126614 w 254165"/>
                    <a:gd name="connsiteY122" fmla="*/ 259634 h 315891"/>
                    <a:gd name="connsiteX123" fmla="*/ 122996 w 254165"/>
                    <a:gd name="connsiteY123" fmla="*/ 256969 h 315891"/>
                    <a:gd name="connsiteX124" fmla="*/ 118228 w 254165"/>
                    <a:gd name="connsiteY124" fmla="*/ 254369 h 315891"/>
                    <a:gd name="connsiteX125" fmla="*/ 115571 w 254165"/>
                    <a:gd name="connsiteY125" fmla="*/ 254964 h 315891"/>
                    <a:gd name="connsiteX126" fmla="*/ 112100 w 254165"/>
                    <a:gd name="connsiteY126" fmla="*/ 254565 h 315891"/>
                    <a:gd name="connsiteX127" fmla="*/ 107145 w 254165"/>
                    <a:gd name="connsiteY127" fmla="*/ 252691 h 315891"/>
                    <a:gd name="connsiteX128" fmla="*/ 104260 w 254165"/>
                    <a:gd name="connsiteY128" fmla="*/ 252446 h 315891"/>
                    <a:gd name="connsiteX129" fmla="*/ 98636 w 254165"/>
                    <a:gd name="connsiteY129" fmla="*/ 253008 h 315891"/>
                    <a:gd name="connsiteX130" fmla="*/ 96534 w 254165"/>
                    <a:gd name="connsiteY130" fmla="*/ 252609 h 315891"/>
                    <a:gd name="connsiteX131" fmla="*/ 94586 w 254165"/>
                    <a:gd name="connsiteY131" fmla="*/ 250229 h 315891"/>
                    <a:gd name="connsiteX132" fmla="*/ 92483 w 254165"/>
                    <a:gd name="connsiteY132" fmla="*/ 249040 h 315891"/>
                    <a:gd name="connsiteX133" fmla="*/ 92931 w 254165"/>
                    <a:gd name="connsiteY133" fmla="*/ 246122 h 315891"/>
                    <a:gd name="connsiteX134" fmla="*/ 92663 w 254165"/>
                    <a:gd name="connsiteY134" fmla="*/ 243473 h 315891"/>
                    <a:gd name="connsiteX135" fmla="*/ 92980 w 254165"/>
                    <a:gd name="connsiteY135" fmla="*/ 241411 h 315891"/>
                    <a:gd name="connsiteX136" fmla="*/ 92035 w 254165"/>
                    <a:gd name="connsiteY136" fmla="*/ 236896 h 315891"/>
                    <a:gd name="connsiteX137" fmla="*/ 92768 w 254165"/>
                    <a:gd name="connsiteY137" fmla="*/ 232716 h 315891"/>
                    <a:gd name="connsiteX138" fmla="*/ 92133 w 254165"/>
                    <a:gd name="connsiteY138" fmla="*/ 231200 h 315891"/>
                    <a:gd name="connsiteX139" fmla="*/ 90943 w 254165"/>
                    <a:gd name="connsiteY139" fmla="*/ 230043 h 315891"/>
                    <a:gd name="connsiteX140" fmla="*/ 87210 w 254165"/>
                    <a:gd name="connsiteY140" fmla="*/ 228323 h 315891"/>
                    <a:gd name="connsiteX141" fmla="*/ 86526 w 254165"/>
                    <a:gd name="connsiteY141" fmla="*/ 226171 h 315891"/>
                    <a:gd name="connsiteX142" fmla="*/ 87137 w 254165"/>
                    <a:gd name="connsiteY142" fmla="*/ 223189 h 315891"/>
                    <a:gd name="connsiteX143" fmla="*/ 86159 w 254165"/>
                    <a:gd name="connsiteY143" fmla="*/ 221216 h 315891"/>
                    <a:gd name="connsiteX144" fmla="*/ 83103 w 254165"/>
                    <a:gd name="connsiteY144" fmla="*/ 219383 h 315891"/>
                    <a:gd name="connsiteX145" fmla="*/ 80242 w 254165"/>
                    <a:gd name="connsiteY145" fmla="*/ 215210 h 315891"/>
                    <a:gd name="connsiteX146" fmla="*/ 76624 w 254165"/>
                    <a:gd name="connsiteY146" fmla="*/ 212928 h 315891"/>
                    <a:gd name="connsiteX147" fmla="*/ 75132 w 254165"/>
                    <a:gd name="connsiteY147" fmla="*/ 209098 h 315891"/>
                    <a:gd name="connsiteX148" fmla="*/ 72908 w 254165"/>
                    <a:gd name="connsiteY148" fmla="*/ 206726 h 315891"/>
                    <a:gd name="connsiteX149" fmla="*/ 72133 w 254165"/>
                    <a:gd name="connsiteY149" fmla="*/ 204623 h 315891"/>
                    <a:gd name="connsiteX150" fmla="*/ 67186 w 254165"/>
                    <a:gd name="connsiteY150" fmla="*/ 197118 h 315891"/>
                    <a:gd name="connsiteX151" fmla="*/ 61905 w 254165"/>
                    <a:gd name="connsiteY151" fmla="*/ 191250 h 315891"/>
                    <a:gd name="connsiteX152" fmla="*/ 61090 w 254165"/>
                    <a:gd name="connsiteY152" fmla="*/ 187868 h 315891"/>
                    <a:gd name="connsiteX153" fmla="*/ 60879 w 254165"/>
                    <a:gd name="connsiteY153" fmla="*/ 183247 h 315891"/>
                    <a:gd name="connsiteX154" fmla="*/ 62949 w 254165"/>
                    <a:gd name="connsiteY154" fmla="*/ 180419 h 315891"/>
                    <a:gd name="connsiteX155" fmla="*/ 64065 w 254165"/>
                    <a:gd name="connsiteY155" fmla="*/ 177933 h 315891"/>
                    <a:gd name="connsiteX156" fmla="*/ 63951 w 254165"/>
                    <a:gd name="connsiteY156" fmla="*/ 175643 h 315891"/>
                    <a:gd name="connsiteX157" fmla="*/ 63633 w 254165"/>
                    <a:gd name="connsiteY157" fmla="*/ 173972 h 315891"/>
                    <a:gd name="connsiteX158" fmla="*/ 61816 w 254165"/>
                    <a:gd name="connsiteY158" fmla="*/ 171055 h 315891"/>
                    <a:gd name="connsiteX159" fmla="*/ 54791 w 254165"/>
                    <a:gd name="connsiteY159" fmla="*/ 169327 h 315891"/>
                    <a:gd name="connsiteX160" fmla="*/ 49061 w 254165"/>
                    <a:gd name="connsiteY160" fmla="*/ 162114 h 315891"/>
                    <a:gd name="connsiteX161" fmla="*/ 48727 w 254165"/>
                    <a:gd name="connsiteY161" fmla="*/ 156589 h 315891"/>
                    <a:gd name="connsiteX162" fmla="*/ 46478 w 254165"/>
                    <a:gd name="connsiteY162" fmla="*/ 150933 h 315891"/>
                    <a:gd name="connsiteX163" fmla="*/ 46445 w 254165"/>
                    <a:gd name="connsiteY163" fmla="*/ 147258 h 315891"/>
                    <a:gd name="connsiteX164" fmla="*/ 46103 w 254165"/>
                    <a:gd name="connsiteY164" fmla="*/ 143272 h 315891"/>
                    <a:gd name="connsiteX165" fmla="*/ 47798 w 254165"/>
                    <a:gd name="connsiteY165" fmla="*/ 142400 h 315891"/>
                    <a:gd name="connsiteX166" fmla="*/ 49330 w 254165"/>
                    <a:gd name="connsiteY166" fmla="*/ 142718 h 315891"/>
                    <a:gd name="connsiteX167" fmla="*/ 49167 w 254165"/>
                    <a:gd name="connsiteY167" fmla="*/ 144299 h 315891"/>
                    <a:gd name="connsiteX168" fmla="*/ 49681 w 254165"/>
                    <a:gd name="connsiteY168" fmla="*/ 147143 h 315891"/>
                    <a:gd name="connsiteX169" fmla="*/ 51474 w 254165"/>
                    <a:gd name="connsiteY169" fmla="*/ 149287 h 315891"/>
                    <a:gd name="connsiteX170" fmla="*/ 53177 w 254165"/>
                    <a:gd name="connsiteY170" fmla="*/ 150224 h 315891"/>
                    <a:gd name="connsiteX171" fmla="*/ 54725 w 254165"/>
                    <a:gd name="connsiteY171" fmla="*/ 152302 h 315891"/>
                    <a:gd name="connsiteX172" fmla="*/ 55891 w 254165"/>
                    <a:gd name="connsiteY172" fmla="*/ 152938 h 315891"/>
                    <a:gd name="connsiteX173" fmla="*/ 57097 w 254165"/>
                    <a:gd name="connsiteY173" fmla="*/ 153093 h 315891"/>
                    <a:gd name="connsiteX174" fmla="*/ 56445 w 254165"/>
                    <a:gd name="connsiteY174" fmla="*/ 151756 h 315891"/>
                    <a:gd name="connsiteX175" fmla="*/ 55761 w 254165"/>
                    <a:gd name="connsiteY175" fmla="*/ 150900 h 315891"/>
                    <a:gd name="connsiteX176" fmla="*/ 54921 w 254165"/>
                    <a:gd name="connsiteY176" fmla="*/ 148146 h 315891"/>
                    <a:gd name="connsiteX177" fmla="*/ 53332 w 254165"/>
                    <a:gd name="connsiteY177" fmla="*/ 144617 h 315891"/>
                    <a:gd name="connsiteX178" fmla="*/ 51498 w 254165"/>
                    <a:gd name="connsiteY178" fmla="*/ 142669 h 315891"/>
                    <a:gd name="connsiteX179" fmla="*/ 50569 w 254165"/>
                    <a:gd name="connsiteY179" fmla="*/ 139108 h 315891"/>
                    <a:gd name="connsiteX180" fmla="*/ 49770 w 254165"/>
                    <a:gd name="connsiteY180" fmla="*/ 138285 h 315891"/>
                    <a:gd name="connsiteX181" fmla="*/ 49273 w 254165"/>
                    <a:gd name="connsiteY181" fmla="*/ 136973 h 315891"/>
                    <a:gd name="connsiteX182" fmla="*/ 51042 w 254165"/>
                    <a:gd name="connsiteY182" fmla="*/ 135408 h 315891"/>
                    <a:gd name="connsiteX183" fmla="*/ 53446 w 254165"/>
                    <a:gd name="connsiteY183" fmla="*/ 134291 h 315891"/>
                    <a:gd name="connsiteX184" fmla="*/ 56673 w 254165"/>
                    <a:gd name="connsiteY184" fmla="*/ 133990 h 315891"/>
                    <a:gd name="connsiteX185" fmla="*/ 65842 w 254165"/>
                    <a:gd name="connsiteY185" fmla="*/ 134503 h 315891"/>
                    <a:gd name="connsiteX186" fmla="*/ 67798 w 254165"/>
                    <a:gd name="connsiteY186" fmla="*/ 133590 h 315891"/>
                    <a:gd name="connsiteX187" fmla="*/ 69411 w 254165"/>
                    <a:gd name="connsiteY187" fmla="*/ 133892 h 315891"/>
                    <a:gd name="connsiteX188" fmla="*/ 70593 w 254165"/>
                    <a:gd name="connsiteY188" fmla="*/ 133770 h 315891"/>
                    <a:gd name="connsiteX189" fmla="*/ 68099 w 254165"/>
                    <a:gd name="connsiteY189" fmla="*/ 132832 h 315891"/>
                    <a:gd name="connsiteX190" fmla="*/ 66697 w 254165"/>
                    <a:gd name="connsiteY190" fmla="*/ 133142 h 315891"/>
                    <a:gd name="connsiteX191" fmla="*/ 65051 w 254165"/>
                    <a:gd name="connsiteY191" fmla="*/ 132955 h 315891"/>
                    <a:gd name="connsiteX192" fmla="*/ 61775 w 254165"/>
                    <a:gd name="connsiteY192" fmla="*/ 133134 h 315891"/>
                    <a:gd name="connsiteX193" fmla="*/ 60447 w 254165"/>
                    <a:gd name="connsiteY193" fmla="*/ 132735 h 315891"/>
                    <a:gd name="connsiteX194" fmla="*/ 58988 w 254165"/>
                    <a:gd name="connsiteY194" fmla="*/ 131618 h 315891"/>
                    <a:gd name="connsiteX195" fmla="*/ 58034 w 254165"/>
                    <a:gd name="connsiteY195" fmla="*/ 131504 h 315891"/>
                    <a:gd name="connsiteX196" fmla="*/ 55003 w 254165"/>
                    <a:gd name="connsiteY196" fmla="*/ 133452 h 315891"/>
                    <a:gd name="connsiteX197" fmla="*/ 53650 w 254165"/>
                    <a:gd name="connsiteY197" fmla="*/ 133216 h 315891"/>
                    <a:gd name="connsiteX198" fmla="*/ 50455 w 254165"/>
                    <a:gd name="connsiteY198" fmla="*/ 131097 h 315891"/>
                    <a:gd name="connsiteX199" fmla="*/ 49061 w 254165"/>
                    <a:gd name="connsiteY199" fmla="*/ 130787 h 315891"/>
                    <a:gd name="connsiteX200" fmla="*/ 46820 w 254165"/>
                    <a:gd name="connsiteY200" fmla="*/ 131993 h 315891"/>
                    <a:gd name="connsiteX201" fmla="*/ 46551 w 254165"/>
                    <a:gd name="connsiteY201" fmla="*/ 137193 h 315891"/>
                    <a:gd name="connsiteX202" fmla="*/ 47236 w 254165"/>
                    <a:gd name="connsiteY202" fmla="*/ 141056 h 315891"/>
                    <a:gd name="connsiteX203" fmla="*/ 45891 w 254165"/>
                    <a:gd name="connsiteY203" fmla="*/ 141447 h 315891"/>
                    <a:gd name="connsiteX204" fmla="*/ 44335 w 254165"/>
                    <a:gd name="connsiteY204" fmla="*/ 139858 h 315891"/>
                    <a:gd name="connsiteX205" fmla="*/ 41947 w 254165"/>
                    <a:gd name="connsiteY205" fmla="*/ 138912 h 315891"/>
                    <a:gd name="connsiteX206" fmla="*/ 39966 w 254165"/>
                    <a:gd name="connsiteY206" fmla="*/ 137462 h 315891"/>
                    <a:gd name="connsiteX207" fmla="*/ 37179 w 254165"/>
                    <a:gd name="connsiteY207" fmla="*/ 134764 h 315891"/>
                    <a:gd name="connsiteX208" fmla="*/ 35712 w 254165"/>
                    <a:gd name="connsiteY208" fmla="*/ 133778 h 315891"/>
                    <a:gd name="connsiteX209" fmla="*/ 34050 w 254165"/>
                    <a:gd name="connsiteY209" fmla="*/ 136019 h 315891"/>
                    <a:gd name="connsiteX210" fmla="*/ 33984 w 254165"/>
                    <a:gd name="connsiteY210" fmla="*/ 134992 h 315891"/>
                    <a:gd name="connsiteX211" fmla="*/ 34816 w 254165"/>
                    <a:gd name="connsiteY211" fmla="*/ 132384 h 315891"/>
                    <a:gd name="connsiteX212" fmla="*/ 34579 w 254165"/>
                    <a:gd name="connsiteY212" fmla="*/ 128024 h 315891"/>
                    <a:gd name="connsiteX213" fmla="*/ 37081 w 254165"/>
                    <a:gd name="connsiteY213" fmla="*/ 131504 h 315891"/>
                    <a:gd name="connsiteX214" fmla="*/ 36307 w 254165"/>
                    <a:gd name="connsiteY214" fmla="*/ 129051 h 315891"/>
                    <a:gd name="connsiteX215" fmla="*/ 34359 w 254165"/>
                    <a:gd name="connsiteY215" fmla="*/ 126345 h 315891"/>
                    <a:gd name="connsiteX216" fmla="*/ 32884 w 254165"/>
                    <a:gd name="connsiteY216" fmla="*/ 125408 h 315891"/>
                    <a:gd name="connsiteX217" fmla="*/ 31026 w 254165"/>
                    <a:gd name="connsiteY217" fmla="*/ 120567 h 315891"/>
                    <a:gd name="connsiteX218" fmla="*/ 26837 w 254165"/>
                    <a:gd name="connsiteY218" fmla="*/ 117658 h 315891"/>
                    <a:gd name="connsiteX219" fmla="*/ 23488 w 254165"/>
                    <a:gd name="connsiteY219" fmla="*/ 112964 h 315891"/>
                    <a:gd name="connsiteX220" fmla="*/ 16642 w 254165"/>
                    <a:gd name="connsiteY220" fmla="*/ 105164 h 315891"/>
                    <a:gd name="connsiteX221" fmla="*/ 16177 w 254165"/>
                    <a:gd name="connsiteY221" fmla="*/ 98302 h 315891"/>
                    <a:gd name="connsiteX222" fmla="*/ 13675 w 254165"/>
                    <a:gd name="connsiteY222" fmla="*/ 89623 h 315891"/>
                    <a:gd name="connsiteX223" fmla="*/ 14735 w 254165"/>
                    <a:gd name="connsiteY223" fmla="*/ 84676 h 315891"/>
                    <a:gd name="connsiteX224" fmla="*/ 14588 w 254165"/>
                    <a:gd name="connsiteY224" fmla="*/ 81163 h 315891"/>
                    <a:gd name="connsiteX225" fmla="*/ 13366 w 254165"/>
                    <a:gd name="connsiteY225" fmla="*/ 75858 h 315891"/>
                    <a:gd name="connsiteX226" fmla="*/ 12086 w 254165"/>
                    <a:gd name="connsiteY226" fmla="*/ 72973 h 315891"/>
                    <a:gd name="connsiteX227" fmla="*/ 6528 w 254165"/>
                    <a:gd name="connsiteY227" fmla="*/ 65051 h 315891"/>
                    <a:gd name="connsiteX228" fmla="*/ 1182 w 254165"/>
                    <a:gd name="connsiteY228" fmla="*/ 59705 h 315891"/>
                    <a:gd name="connsiteX229" fmla="*/ 375 w 254165"/>
                    <a:gd name="connsiteY229" fmla="*/ 55655 h 315891"/>
                    <a:gd name="connsiteX230" fmla="*/ 0 w 254165"/>
                    <a:gd name="connsiteY230" fmla="*/ 51572 h 315891"/>
                    <a:gd name="connsiteX231" fmla="*/ 1174 w 254165"/>
                    <a:gd name="connsiteY231" fmla="*/ 47937 h 315891"/>
                    <a:gd name="connsiteX232" fmla="*/ 2184 w 254165"/>
                    <a:gd name="connsiteY232" fmla="*/ 44106 h 315891"/>
                    <a:gd name="connsiteX233" fmla="*/ 2926 w 254165"/>
                    <a:gd name="connsiteY233" fmla="*/ 43088 h 315891"/>
                    <a:gd name="connsiteX234" fmla="*/ 3211 w 254165"/>
                    <a:gd name="connsiteY234" fmla="*/ 43511 h 315891"/>
                    <a:gd name="connsiteX235" fmla="*/ 3007 w 254165"/>
                    <a:gd name="connsiteY235" fmla="*/ 44326 h 315891"/>
                    <a:gd name="connsiteX236" fmla="*/ 3765 w 254165"/>
                    <a:gd name="connsiteY236" fmla="*/ 44579 h 315891"/>
                    <a:gd name="connsiteX237" fmla="*/ 4050 w 254165"/>
                    <a:gd name="connsiteY237" fmla="*/ 42884 h 315891"/>
                    <a:gd name="connsiteX238" fmla="*/ 4499 w 254165"/>
                    <a:gd name="connsiteY238" fmla="*/ 42012 h 315891"/>
                    <a:gd name="connsiteX239" fmla="*/ 3700 w 254165"/>
                    <a:gd name="connsiteY239" fmla="*/ 41906 h 315891"/>
                    <a:gd name="connsiteX240" fmla="*/ 3790 w 254165"/>
                    <a:gd name="connsiteY240" fmla="*/ 41368 h 315891"/>
                    <a:gd name="connsiteX241" fmla="*/ 4262 w 254165"/>
                    <a:gd name="connsiteY241" fmla="*/ 40309 h 315891"/>
                    <a:gd name="connsiteX242" fmla="*/ 5925 w 254165"/>
                    <a:gd name="connsiteY242" fmla="*/ 35272 h 315891"/>
                    <a:gd name="connsiteX243" fmla="*/ 5754 w 254165"/>
                    <a:gd name="connsiteY243" fmla="*/ 28915 h 315891"/>
                    <a:gd name="connsiteX244" fmla="*/ 7530 w 254165"/>
                    <a:gd name="connsiteY244" fmla="*/ 21108 h 315891"/>
                    <a:gd name="connsiteX245" fmla="*/ 7449 w 254165"/>
                    <a:gd name="connsiteY245" fmla="*/ 18533 h 315891"/>
                    <a:gd name="connsiteX246" fmla="*/ 6316 w 254165"/>
                    <a:gd name="connsiteY246" fmla="*/ 12966 h 315891"/>
                    <a:gd name="connsiteX247" fmla="*/ 5183 w 254165"/>
                    <a:gd name="connsiteY247" fmla="*/ 9633 h 315891"/>
                    <a:gd name="connsiteX248" fmla="*/ 3162 w 254165"/>
                    <a:gd name="connsiteY248" fmla="*/ 7270 h 315891"/>
                    <a:gd name="connsiteX249" fmla="*/ 4050 w 254165"/>
                    <a:gd name="connsiteY249" fmla="*/ 3822 h 315891"/>
                    <a:gd name="connsiteX250" fmla="*/ 3977 w 254165"/>
                    <a:gd name="connsiteY250" fmla="*/ 522 h 315891"/>
                    <a:gd name="connsiteX251" fmla="*/ 3586 w 254165"/>
                    <a:gd name="connsiteY251" fmla="*/ 0 h 315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254165" h="315891">
                      <a:moveTo>
                        <a:pt x="3586" y="0"/>
                      </a:moveTo>
                      <a:lnTo>
                        <a:pt x="10350" y="0"/>
                      </a:lnTo>
                      <a:lnTo>
                        <a:pt x="16886" y="0"/>
                      </a:lnTo>
                      <a:lnTo>
                        <a:pt x="23422" y="0"/>
                      </a:lnTo>
                      <a:lnTo>
                        <a:pt x="29967" y="0"/>
                      </a:lnTo>
                      <a:lnTo>
                        <a:pt x="36503" y="0"/>
                      </a:lnTo>
                      <a:lnTo>
                        <a:pt x="43047" y="0"/>
                      </a:lnTo>
                      <a:lnTo>
                        <a:pt x="49583" y="0"/>
                      </a:lnTo>
                      <a:lnTo>
                        <a:pt x="56119" y="0"/>
                      </a:lnTo>
                      <a:lnTo>
                        <a:pt x="62655" y="0"/>
                      </a:lnTo>
                      <a:lnTo>
                        <a:pt x="69199" y="0"/>
                      </a:lnTo>
                      <a:lnTo>
                        <a:pt x="75744" y="0"/>
                      </a:lnTo>
                      <a:lnTo>
                        <a:pt x="82280" y="0"/>
                      </a:lnTo>
                      <a:lnTo>
                        <a:pt x="88824" y="0"/>
                      </a:lnTo>
                      <a:lnTo>
                        <a:pt x="95360" y="0"/>
                      </a:lnTo>
                      <a:lnTo>
                        <a:pt x="101904" y="0"/>
                      </a:lnTo>
                      <a:lnTo>
                        <a:pt x="108440" y="0"/>
                      </a:lnTo>
                      <a:lnTo>
                        <a:pt x="108440" y="6446"/>
                      </a:lnTo>
                      <a:lnTo>
                        <a:pt x="108440" y="12885"/>
                      </a:lnTo>
                      <a:lnTo>
                        <a:pt x="108440" y="19299"/>
                      </a:lnTo>
                      <a:lnTo>
                        <a:pt x="108440" y="25712"/>
                      </a:lnTo>
                      <a:lnTo>
                        <a:pt x="108440" y="32118"/>
                      </a:lnTo>
                      <a:lnTo>
                        <a:pt x="108440" y="38516"/>
                      </a:lnTo>
                      <a:lnTo>
                        <a:pt x="108440" y="44905"/>
                      </a:lnTo>
                      <a:lnTo>
                        <a:pt x="108440" y="51286"/>
                      </a:lnTo>
                      <a:lnTo>
                        <a:pt x="108440" y="57659"/>
                      </a:lnTo>
                      <a:lnTo>
                        <a:pt x="108440" y="64024"/>
                      </a:lnTo>
                      <a:lnTo>
                        <a:pt x="108440" y="70389"/>
                      </a:lnTo>
                      <a:lnTo>
                        <a:pt x="108440" y="76738"/>
                      </a:lnTo>
                      <a:lnTo>
                        <a:pt x="108440" y="83078"/>
                      </a:lnTo>
                      <a:lnTo>
                        <a:pt x="108440" y="89419"/>
                      </a:lnTo>
                      <a:lnTo>
                        <a:pt x="108440" y="95743"/>
                      </a:lnTo>
                      <a:lnTo>
                        <a:pt x="108440" y="102059"/>
                      </a:lnTo>
                      <a:lnTo>
                        <a:pt x="114251" y="107568"/>
                      </a:lnTo>
                      <a:lnTo>
                        <a:pt x="120062" y="113069"/>
                      </a:lnTo>
                      <a:lnTo>
                        <a:pt x="125864" y="118562"/>
                      </a:lnTo>
                      <a:lnTo>
                        <a:pt x="131675" y="124047"/>
                      </a:lnTo>
                      <a:lnTo>
                        <a:pt x="137486" y="129532"/>
                      </a:lnTo>
                      <a:lnTo>
                        <a:pt x="143297" y="135009"/>
                      </a:lnTo>
                      <a:lnTo>
                        <a:pt x="149108" y="140477"/>
                      </a:lnTo>
                      <a:lnTo>
                        <a:pt x="154918" y="145945"/>
                      </a:lnTo>
                      <a:lnTo>
                        <a:pt x="159466" y="150550"/>
                      </a:lnTo>
                      <a:lnTo>
                        <a:pt x="164013" y="155155"/>
                      </a:lnTo>
                      <a:lnTo>
                        <a:pt x="168561" y="159751"/>
                      </a:lnTo>
                      <a:lnTo>
                        <a:pt x="173108" y="164348"/>
                      </a:lnTo>
                      <a:lnTo>
                        <a:pt x="177664" y="168928"/>
                      </a:lnTo>
                      <a:lnTo>
                        <a:pt x="182212" y="173516"/>
                      </a:lnTo>
                      <a:lnTo>
                        <a:pt x="186759" y="178096"/>
                      </a:lnTo>
                      <a:lnTo>
                        <a:pt x="191307" y="182676"/>
                      </a:lnTo>
                      <a:lnTo>
                        <a:pt x="197598" y="189253"/>
                      </a:lnTo>
                      <a:lnTo>
                        <a:pt x="203898" y="195822"/>
                      </a:lnTo>
                      <a:lnTo>
                        <a:pt x="210198" y="202390"/>
                      </a:lnTo>
                      <a:lnTo>
                        <a:pt x="216498" y="208943"/>
                      </a:lnTo>
                      <a:lnTo>
                        <a:pt x="222797" y="215495"/>
                      </a:lnTo>
                      <a:lnTo>
                        <a:pt x="229089" y="222031"/>
                      </a:lnTo>
                      <a:lnTo>
                        <a:pt x="235381" y="228567"/>
                      </a:lnTo>
                      <a:lnTo>
                        <a:pt x="242120" y="235535"/>
                      </a:lnTo>
                      <a:lnTo>
                        <a:pt x="242112" y="238290"/>
                      </a:lnTo>
                      <a:lnTo>
                        <a:pt x="243433" y="241998"/>
                      </a:lnTo>
                      <a:lnTo>
                        <a:pt x="247385" y="248730"/>
                      </a:lnTo>
                      <a:lnTo>
                        <a:pt x="247866" y="250343"/>
                      </a:lnTo>
                      <a:lnTo>
                        <a:pt x="247915" y="250376"/>
                      </a:lnTo>
                      <a:lnTo>
                        <a:pt x="248062" y="252063"/>
                      </a:lnTo>
                      <a:lnTo>
                        <a:pt x="249618" y="253889"/>
                      </a:lnTo>
                      <a:lnTo>
                        <a:pt x="253326" y="256431"/>
                      </a:lnTo>
                      <a:lnTo>
                        <a:pt x="254166" y="257678"/>
                      </a:lnTo>
                      <a:lnTo>
                        <a:pt x="254166" y="257784"/>
                      </a:lnTo>
                      <a:lnTo>
                        <a:pt x="254158" y="258689"/>
                      </a:lnTo>
                      <a:lnTo>
                        <a:pt x="253220" y="259773"/>
                      </a:lnTo>
                      <a:lnTo>
                        <a:pt x="249105" y="263416"/>
                      </a:lnTo>
                      <a:lnTo>
                        <a:pt x="246896" y="266390"/>
                      </a:lnTo>
                      <a:lnTo>
                        <a:pt x="244647" y="271215"/>
                      </a:lnTo>
                      <a:lnTo>
                        <a:pt x="244989" y="275119"/>
                      </a:lnTo>
                      <a:lnTo>
                        <a:pt x="244891" y="278346"/>
                      </a:lnTo>
                      <a:lnTo>
                        <a:pt x="244337" y="280905"/>
                      </a:lnTo>
                      <a:lnTo>
                        <a:pt x="243490" y="283260"/>
                      </a:lnTo>
                      <a:lnTo>
                        <a:pt x="242332" y="285404"/>
                      </a:lnTo>
                      <a:lnTo>
                        <a:pt x="241126" y="286683"/>
                      </a:lnTo>
                      <a:lnTo>
                        <a:pt x="239871" y="287107"/>
                      </a:lnTo>
                      <a:lnTo>
                        <a:pt x="239431" y="289943"/>
                      </a:lnTo>
                      <a:lnTo>
                        <a:pt x="239798" y="295200"/>
                      </a:lnTo>
                      <a:lnTo>
                        <a:pt x="241191" y="298394"/>
                      </a:lnTo>
                      <a:lnTo>
                        <a:pt x="243612" y="299535"/>
                      </a:lnTo>
                      <a:lnTo>
                        <a:pt x="245095" y="301263"/>
                      </a:lnTo>
                      <a:lnTo>
                        <a:pt x="245641" y="303586"/>
                      </a:lnTo>
                      <a:lnTo>
                        <a:pt x="245429" y="305876"/>
                      </a:lnTo>
                      <a:lnTo>
                        <a:pt x="244468" y="308125"/>
                      </a:lnTo>
                      <a:lnTo>
                        <a:pt x="242838" y="309364"/>
                      </a:lnTo>
                      <a:lnTo>
                        <a:pt x="239398" y="309698"/>
                      </a:lnTo>
                      <a:lnTo>
                        <a:pt x="239398" y="309698"/>
                      </a:lnTo>
                      <a:lnTo>
                        <a:pt x="239301" y="310000"/>
                      </a:lnTo>
                      <a:lnTo>
                        <a:pt x="236473" y="310342"/>
                      </a:lnTo>
                      <a:lnTo>
                        <a:pt x="229374" y="311035"/>
                      </a:lnTo>
                      <a:lnTo>
                        <a:pt x="222276" y="311727"/>
                      </a:lnTo>
                      <a:lnTo>
                        <a:pt x="215177" y="312420"/>
                      </a:lnTo>
                      <a:lnTo>
                        <a:pt x="208079" y="313121"/>
                      </a:lnTo>
                      <a:lnTo>
                        <a:pt x="200981" y="313814"/>
                      </a:lnTo>
                      <a:lnTo>
                        <a:pt x="193882" y="314506"/>
                      </a:lnTo>
                      <a:lnTo>
                        <a:pt x="186784" y="315199"/>
                      </a:lnTo>
                      <a:lnTo>
                        <a:pt x="179685" y="315892"/>
                      </a:lnTo>
                      <a:lnTo>
                        <a:pt x="179628" y="315688"/>
                      </a:lnTo>
                      <a:lnTo>
                        <a:pt x="179457" y="312127"/>
                      </a:lnTo>
                      <a:lnTo>
                        <a:pt x="178308" y="310863"/>
                      </a:lnTo>
                      <a:lnTo>
                        <a:pt x="176825" y="311646"/>
                      </a:lnTo>
                      <a:lnTo>
                        <a:pt x="176148" y="307017"/>
                      </a:lnTo>
                      <a:lnTo>
                        <a:pt x="176515" y="304841"/>
                      </a:lnTo>
                      <a:lnTo>
                        <a:pt x="176344" y="302706"/>
                      </a:lnTo>
                      <a:lnTo>
                        <a:pt x="174958" y="297457"/>
                      </a:lnTo>
                      <a:lnTo>
                        <a:pt x="171275" y="291084"/>
                      </a:lnTo>
                      <a:lnTo>
                        <a:pt x="163313" y="283154"/>
                      </a:lnTo>
                      <a:lnTo>
                        <a:pt x="159254" y="280506"/>
                      </a:lnTo>
                      <a:lnTo>
                        <a:pt x="156067" y="277148"/>
                      </a:lnTo>
                      <a:lnTo>
                        <a:pt x="154046" y="276211"/>
                      </a:lnTo>
                      <a:lnTo>
                        <a:pt x="151504" y="275958"/>
                      </a:lnTo>
                      <a:lnTo>
                        <a:pt x="150762" y="277474"/>
                      </a:lnTo>
                      <a:lnTo>
                        <a:pt x="147877" y="276439"/>
                      </a:lnTo>
                      <a:lnTo>
                        <a:pt x="148309" y="272706"/>
                      </a:lnTo>
                      <a:lnTo>
                        <a:pt x="145497" y="267491"/>
                      </a:lnTo>
                      <a:lnTo>
                        <a:pt x="143199" y="266920"/>
                      </a:lnTo>
                      <a:lnTo>
                        <a:pt x="137421" y="267262"/>
                      </a:lnTo>
                      <a:lnTo>
                        <a:pt x="129687" y="264394"/>
                      </a:lnTo>
                      <a:lnTo>
                        <a:pt x="127405" y="262690"/>
                      </a:lnTo>
                      <a:lnTo>
                        <a:pt x="126614" y="259634"/>
                      </a:lnTo>
                      <a:lnTo>
                        <a:pt x="122996" y="256969"/>
                      </a:lnTo>
                      <a:lnTo>
                        <a:pt x="118228" y="254369"/>
                      </a:lnTo>
                      <a:lnTo>
                        <a:pt x="115571" y="254964"/>
                      </a:lnTo>
                      <a:lnTo>
                        <a:pt x="112100" y="254565"/>
                      </a:lnTo>
                      <a:lnTo>
                        <a:pt x="107145" y="252691"/>
                      </a:lnTo>
                      <a:lnTo>
                        <a:pt x="104260" y="252446"/>
                      </a:lnTo>
                      <a:lnTo>
                        <a:pt x="98636" y="253008"/>
                      </a:lnTo>
                      <a:lnTo>
                        <a:pt x="96534" y="252609"/>
                      </a:lnTo>
                      <a:lnTo>
                        <a:pt x="94586" y="250229"/>
                      </a:lnTo>
                      <a:lnTo>
                        <a:pt x="92483" y="249040"/>
                      </a:lnTo>
                      <a:lnTo>
                        <a:pt x="92931" y="246122"/>
                      </a:lnTo>
                      <a:lnTo>
                        <a:pt x="92663" y="243473"/>
                      </a:lnTo>
                      <a:lnTo>
                        <a:pt x="92980" y="241411"/>
                      </a:lnTo>
                      <a:lnTo>
                        <a:pt x="92035" y="236896"/>
                      </a:lnTo>
                      <a:lnTo>
                        <a:pt x="92768" y="232716"/>
                      </a:lnTo>
                      <a:lnTo>
                        <a:pt x="92133" y="231200"/>
                      </a:lnTo>
                      <a:lnTo>
                        <a:pt x="90943" y="230043"/>
                      </a:lnTo>
                      <a:lnTo>
                        <a:pt x="87210" y="228323"/>
                      </a:lnTo>
                      <a:lnTo>
                        <a:pt x="86526" y="226171"/>
                      </a:lnTo>
                      <a:lnTo>
                        <a:pt x="87137" y="223189"/>
                      </a:lnTo>
                      <a:lnTo>
                        <a:pt x="86159" y="221216"/>
                      </a:lnTo>
                      <a:lnTo>
                        <a:pt x="83103" y="219383"/>
                      </a:lnTo>
                      <a:lnTo>
                        <a:pt x="80242" y="215210"/>
                      </a:lnTo>
                      <a:lnTo>
                        <a:pt x="76624" y="212928"/>
                      </a:lnTo>
                      <a:lnTo>
                        <a:pt x="75132" y="209098"/>
                      </a:lnTo>
                      <a:lnTo>
                        <a:pt x="72908" y="206726"/>
                      </a:lnTo>
                      <a:lnTo>
                        <a:pt x="72133" y="204623"/>
                      </a:lnTo>
                      <a:lnTo>
                        <a:pt x="67186" y="197118"/>
                      </a:lnTo>
                      <a:lnTo>
                        <a:pt x="61905" y="191250"/>
                      </a:lnTo>
                      <a:lnTo>
                        <a:pt x="61090" y="187868"/>
                      </a:lnTo>
                      <a:lnTo>
                        <a:pt x="60879" y="183247"/>
                      </a:lnTo>
                      <a:lnTo>
                        <a:pt x="62949" y="180419"/>
                      </a:lnTo>
                      <a:lnTo>
                        <a:pt x="64065" y="177933"/>
                      </a:lnTo>
                      <a:lnTo>
                        <a:pt x="63951" y="175643"/>
                      </a:lnTo>
                      <a:lnTo>
                        <a:pt x="63633" y="173972"/>
                      </a:lnTo>
                      <a:lnTo>
                        <a:pt x="61816" y="171055"/>
                      </a:lnTo>
                      <a:lnTo>
                        <a:pt x="54791" y="169327"/>
                      </a:lnTo>
                      <a:lnTo>
                        <a:pt x="49061" y="162114"/>
                      </a:lnTo>
                      <a:lnTo>
                        <a:pt x="48727" y="156589"/>
                      </a:lnTo>
                      <a:lnTo>
                        <a:pt x="46478" y="150933"/>
                      </a:lnTo>
                      <a:lnTo>
                        <a:pt x="46445" y="147258"/>
                      </a:lnTo>
                      <a:lnTo>
                        <a:pt x="46103" y="143272"/>
                      </a:lnTo>
                      <a:lnTo>
                        <a:pt x="47798" y="142400"/>
                      </a:lnTo>
                      <a:lnTo>
                        <a:pt x="49330" y="142718"/>
                      </a:lnTo>
                      <a:lnTo>
                        <a:pt x="49167" y="144299"/>
                      </a:lnTo>
                      <a:lnTo>
                        <a:pt x="49681" y="147143"/>
                      </a:lnTo>
                      <a:lnTo>
                        <a:pt x="51474" y="149287"/>
                      </a:lnTo>
                      <a:lnTo>
                        <a:pt x="53177" y="150224"/>
                      </a:lnTo>
                      <a:lnTo>
                        <a:pt x="54725" y="152302"/>
                      </a:lnTo>
                      <a:lnTo>
                        <a:pt x="55891" y="152938"/>
                      </a:lnTo>
                      <a:lnTo>
                        <a:pt x="57097" y="153093"/>
                      </a:lnTo>
                      <a:lnTo>
                        <a:pt x="56445" y="151756"/>
                      </a:lnTo>
                      <a:lnTo>
                        <a:pt x="55761" y="150900"/>
                      </a:lnTo>
                      <a:lnTo>
                        <a:pt x="54921" y="148146"/>
                      </a:lnTo>
                      <a:lnTo>
                        <a:pt x="53332" y="144617"/>
                      </a:lnTo>
                      <a:lnTo>
                        <a:pt x="51498" y="142669"/>
                      </a:lnTo>
                      <a:lnTo>
                        <a:pt x="50569" y="139108"/>
                      </a:lnTo>
                      <a:lnTo>
                        <a:pt x="49770" y="138285"/>
                      </a:lnTo>
                      <a:lnTo>
                        <a:pt x="49273" y="136973"/>
                      </a:lnTo>
                      <a:lnTo>
                        <a:pt x="51042" y="135408"/>
                      </a:lnTo>
                      <a:lnTo>
                        <a:pt x="53446" y="134291"/>
                      </a:lnTo>
                      <a:lnTo>
                        <a:pt x="56673" y="133990"/>
                      </a:lnTo>
                      <a:lnTo>
                        <a:pt x="65842" y="134503"/>
                      </a:lnTo>
                      <a:lnTo>
                        <a:pt x="67798" y="133590"/>
                      </a:lnTo>
                      <a:lnTo>
                        <a:pt x="69411" y="133892"/>
                      </a:lnTo>
                      <a:lnTo>
                        <a:pt x="70593" y="133770"/>
                      </a:lnTo>
                      <a:lnTo>
                        <a:pt x="68099" y="132832"/>
                      </a:lnTo>
                      <a:lnTo>
                        <a:pt x="66697" y="133142"/>
                      </a:lnTo>
                      <a:lnTo>
                        <a:pt x="65051" y="132955"/>
                      </a:lnTo>
                      <a:lnTo>
                        <a:pt x="61775" y="133134"/>
                      </a:lnTo>
                      <a:lnTo>
                        <a:pt x="60447" y="132735"/>
                      </a:lnTo>
                      <a:lnTo>
                        <a:pt x="58988" y="131618"/>
                      </a:lnTo>
                      <a:lnTo>
                        <a:pt x="58034" y="131504"/>
                      </a:lnTo>
                      <a:lnTo>
                        <a:pt x="55003" y="133452"/>
                      </a:lnTo>
                      <a:lnTo>
                        <a:pt x="53650" y="133216"/>
                      </a:lnTo>
                      <a:lnTo>
                        <a:pt x="50455" y="131097"/>
                      </a:lnTo>
                      <a:lnTo>
                        <a:pt x="49061" y="130787"/>
                      </a:lnTo>
                      <a:lnTo>
                        <a:pt x="46820" y="131993"/>
                      </a:lnTo>
                      <a:lnTo>
                        <a:pt x="46551" y="137193"/>
                      </a:lnTo>
                      <a:lnTo>
                        <a:pt x="47236" y="141056"/>
                      </a:lnTo>
                      <a:lnTo>
                        <a:pt x="45891" y="141447"/>
                      </a:lnTo>
                      <a:lnTo>
                        <a:pt x="44335" y="139858"/>
                      </a:lnTo>
                      <a:lnTo>
                        <a:pt x="41947" y="138912"/>
                      </a:lnTo>
                      <a:lnTo>
                        <a:pt x="39966" y="137462"/>
                      </a:lnTo>
                      <a:lnTo>
                        <a:pt x="37179" y="134764"/>
                      </a:lnTo>
                      <a:lnTo>
                        <a:pt x="35712" y="133778"/>
                      </a:lnTo>
                      <a:lnTo>
                        <a:pt x="34050" y="136019"/>
                      </a:lnTo>
                      <a:lnTo>
                        <a:pt x="33984" y="134992"/>
                      </a:lnTo>
                      <a:lnTo>
                        <a:pt x="34816" y="132384"/>
                      </a:lnTo>
                      <a:lnTo>
                        <a:pt x="34579" y="128024"/>
                      </a:lnTo>
                      <a:lnTo>
                        <a:pt x="37081" y="131504"/>
                      </a:lnTo>
                      <a:lnTo>
                        <a:pt x="36307" y="129051"/>
                      </a:lnTo>
                      <a:lnTo>
                        <a:pt x="34359" y="126345"/>
                      </a:lnTo>
                      <a:lnTo>
                        <a:pt x="32884" y="125408"/>
                      </a:lnTo>
                      <a:lnTo>
                        <a:pt x="31026" y="120567"/>
                      </a:lnTo>
                      <a:lnTo>
                        <a:pt x="26837" y="117658"/>
                      </a:lnTo>
                      <a:lnTo>
                        <a:pt x="23488" y="112964"/>
                      </a:lnTo>
                      <a:lnTo>
                        <a:pt x="16642" y="105164"/>
                      </a:lnTo>
                      <a:lnTo>
                        <a:pt x="16177" y="98302"/>
                      </a:lnTo>
                      <a:lnTo>
                        <a:pt x="13675" y="89623"/>
                      </a:lnTo>
                      <a:lnTo>
                        <a:pt x="14735" y="84676"/>
                      </a:lnTo>
                      <a:lnTo>
                        <a:pt x="14588" y="81163"/>
                      </a:lnTo>
                      <a:lnTo>
                        <a:pt x="13366" y="75858"/>
                      </a:lnTo>
                      <a:lnTo>
                        <a:pt x="12086" y="72973"/>
                      </a:lnTo>
                      <a:lnTo>
                        <a:pt x="6528" y="65051"/>
                      </a:lnTo>
                      <a:lnTo>
                        <a:pt x="1182" y="59705"/>
                      </a:lnTo>
                      <a:lnTo>
                        <a:pt x="375" y="55655"/>
                      </a:lnTo>
                      <a:lnTo>
                        <a:pt x="0" y="51572"/>
                      </a:lnTo>
                      <a:lnTo>
                        <a:pt x="1174" y="47937"/>
                      </a:lnTo>
                      <a:lnTo>
                        <a:pt x="2184" y="44106"/>
                      </a:lnTo>
                      <a:lnTo>
                        <a:pt x="2926" y="43088"/>
                      </a:lnTo>
                      <a:lnTo>
                        <a:pt x="3211" y="43511"/>
                      </a:lnTo>
                      <a:lnTo>
                        <a:pt x="3007" y="44326"/>
                      </a:lnTo>
                      <a:lnTo>
                        <a:pt x="3765" y="44579"/>
                      </a:lnTo>
                      <a:lnTo>
                        <a:pt x="4050" y="42884"/>
                      </a:lnTo>
                      <a:lnTo>
                        <a:pt x="4499" y="42012"/>
                      </a:lnTo>
                      <a:lnTo>
                        <a:pt x="3700" y="41906"/>
                      </a:lnTo>
                      <a:lnTo>
                        <a:pt x="3790" y="41368"/>
                      </a:lnTo>
                      <a:lnTo>
                        <a:pt x="4262" y="40309"/>
                      </a:lnTo>
                      <a:lnTo>
                        <a:pt x="5925" y="35272"/>
                      </a:lnTo>
                      <a:lnTo>
                        <a:pt x="5754" y="28915"/>
                      </a:lnTo>
                      <a:lnTo>
                        <a:pt x="7530" y="21108"/>
                      </a:lnTo>
                      <a:lnTo>
                        <a:pt x="7449" y="18533"/>
                      </a:lnTo>
                      <a:lnTo>
                        <a:pt x="6316" y="12966"/>
                      </a:lnTo>
                      <a:lnTo>
                        <a:pt x="5183" y="9633"/>
                      </a:lnTo>
                      <a:lnTo>
                        <a:pt x="3162" y="7270"/>
                      </a:lnTo>
                      <a:lnTo>
                        <a:pt x="4050" y="3822"/>
                      </a:lnTo>
                      <a:lnTo>
                        <a:pt x="3977" y="522"/>
                      </a:lnTo>
                      <a:lnTo>
                        <a:pt x="3586" y="0"/>
                      </a:lnTo>
                      <a:close/>
                    </a:path>
                  </a:pathLst>
                </a:custGeom>
                <a:solidFill>
                  <a:srgbClr val="D6D6D2"/>
                </a:solidFill>
                <a:ln w="6112" cap="rnd">
                  <a:solidFill>
                    <a:srgbClr val="FFFFFF"/>
                  </a:solidFill>
                  <a:prstDash val="solid"/>
                  <a:round/>
                </a:ln>
              </p:spPr>
              <p:txBody>
                <a:bodyPr rtlCol="0" anchor="ctr"/>
                <a:lstStyle/>
                <a:p>
                  <a:endParaRPr lang="en-US"/>
                </a:p>
              </p:txBody>
            </p:sp>
            <p:sp>
              <p:nvSpPr>
                <p:cNvPr id="468" name="Freeform: Shape 467">
                  <a:extLst>
                    <a:ext uri="{FF2B5EF4-FFF2-40B4-BE49-F238E27FC236}">
                      <a16:creationId xmlns:a16="http://schemas.microsoft.com/office/drawing/2014/main" id="{3766F299-A8A1-4083-9574-DE96C7BF11E6}"/>
                    </a:ext>
                  </a:extLst>
                </p:cNvPr>
                <p:cNvSpPr/>
                <p:nvPr/>
              </p:nvSpPr>
              <p:spPr>
                <a:xfrm>
                  <a:off x="3095439" y="3376444"/>
                  <a:ext cx="143581" cy="186164"/>
                </a:xfrm>
                <a:custGeom>
                  <a:avLst/>
                  <a:gdLst>
                    <a:gd name="connsiteX0" fmla="*/ 143582 w 143581"/>
                    <a:gd name="connsiteY0" fmla="*/ 23675 h 186164"/>
                    <a:gd name="connsiteX1" fmla="*/ 143582 w 143581"/>
                    <a:gd name="connsiteY1" fmla="*/ 35411 h 186164"/>
                    <a:gd name="connsiteX2" fmla="*/ 143582 w 143581"/>
                    <a:gd name="connsiteY2" fmla="*/ 47130 h 186164"/>
                    <a:gd name="connsiteX3" fmla="*/ 143574 w 143581"/>
                    <a:gd name="connsiteY3" fmla="*/ 58825 h 186164"/>
                    <a:gd name="connsiteX4" fmla="*/ 143574 w 143581"/>
                    <a:gd name="connsiteY4" fmla="*/ 70495 h 186164"/>
                    <a:gd name="connsiteX5" fmla="*/ 143574 w 143581"/>
                    <a:gd name="connsiteY5" fmla="*/ 82149 h 186164"/>
                    <a:gd name="connsiteX6" fmla="*/ 143574 w 143581"/>
                    <a:gd name="connsiteY6" fmla="*/ 93771 h 186164"/>
                    <a:gd name="connsiteX7" fmla="*/ 143574 w 143581"/>
                    <a:gd name="connsiteY7" fmla="*/ 105384 h 186164"/>
                    <a:gd name="connsiteX8" fmla="*/ 143574 w 143581"/>
                    <a:gd name="connsiteY8" fmla="*/ 116965 h 186164"/>
                    <a:gd name="connsiteX9" fmla="*/ 143574 w 143581"/>
                    <a:gd name="connsiteY9" fmla="*/ 128530 h 186164"/>
                    <a:gd name="connsiteX10" fmla="*/ 143574 w 143581"/>
                    <a:gd name="connsiteY10" fmla="*/ 140070 h 186164"/>
                    <a:gd name="connsiteX11" fmla="*/ 143574 w 143581"/>
                    <a:gd name="connsiteY11" fmla="*/ 151593 h 186164"/>
                    <a:gd name="connsiteX12" fmla="*/ 143566 w 143581"/>
                    <a:gd name="connsiteY12" fmla="*/ 163084 h 186164"/>
                    <a:gd name="connsiteX13" fmla="*/ 143566 w 143581"/>
                    <a:gd name="connsiteY13" fmla="*/ 174567 h 186164"/>
                    <a:gd name="connsiteX14" fmla="*/ 143558 w 143581"/>
                    <a:gd name="connsiteY14" fmla="*/ 186050 h 186164"/>
                    <a:gd name="connsiteX15" fmla="*/ 137934 w 143581"/>
                    <a:gd name="connsiteY15" fmla="*/ 186058 h 186164"/>
                    <a:gd name="connsiteX16" fmla="*/ 129165 w 143581"/>
                    <a:gd name="connsiteY16" fmla="*/ 186083 h 186164"/>
                    <a:gd name="connsiteX17" fmla="*/ 120396 w 143581"/>
                    <a:gd name="connsiteY17" fmla="*/ 186099 h 186164"/>
                    <a:gd name="connsiteX18" fmla="*/ 111635 w 143581"/>
                    <a:gd name="connsiteY18" fmla="*/ 186124 h 186164"/>
                    <a:gd name="connsiteX19" fmla="*/ 102866 w 143581"/>
                    <a:gd name="connsiteY19" fmla="*/ 186148 h 186164"/>
                    <a:gd name="connsiteX20" fmla="*/ 94097 w 143581"/>
                    <a:gd name="connsiteY20" fmla="*/ 186164 h 186164"/>
                    <a:gd name="connsiteX21" fmla="*/ 82337 w 143581"/>
                    <a:gd name="connsiteY21" fmla="*/ 181389 h 186164"/>
                    <a:gd name="connsiteX22" fmla="*/ 70569 w 143581"/>
                    <a:gd name="connsiteY22" fmla="*/ 176605 h 186164"/>
                    <a:gd name="connsiteX23" fmla="*/ 58809 w 143581"/>
                    <a:gd name="connsiteY23" fmla="*/ 171805 h 186164"/>
                    <a:gd name="connsiteX24" fmla="*/ 47048 w 143581"/>
                    <a:gd name="connsiteY24" fmla="*/ 167021 h 186164"/>
                    <a:gd name="connsiteX25" fmla="*/ 35288 w 143581"/>
                    <a:gd name="connsiteY25" fmla="*/ 162220 h 186164"/>
                    <a:gd name="connsiteX26" fmla="*/ 23520 w 143581"/>
                    <a:gd name="connsiteY26" fmla="*/ 157428 h 186164"/>
                    <a:gd name="connsiteX27" fmla="*/ 11760 w 143581"/>
                    <a:gd name="connsiteY27" fmla="*/ 152620 h 186164"/>
                    <a:gd name="connsiteX28" fmla="*/ 0 w 143581"/>
                    <a:gd name="connsiteY28" fmla="*/ 147820 h 186164"/>
                    <a:gd name="connsiteX29" fmla="*/ 1190 w 143581"/>
                    <a:gd name="connsiteY29" fmla="*/ 145978 h 186164"/>
                    <a:gd name="connsiteX30" fmla="*/ 2755 w 143581"/>
                    <a:gd name="connsiteY30" fmla="*/ 141096 h 186164"/>
                    <a:gd name="connsiteX31" fmla="*/ 2852 w 143581"/>
                    <a:gd name="connsiteY31" fmla="*/ 140787 h 186164"/>
                    <a:gd name="connsiteX32" fmla="*/ 2852 w 143581"/>
                    <a:gd name="connsiteY32" fmla="*/ 140787 h 186164"/>
                    <a:gd name="connsiteX33" fmla="*/ 6292 w 143581"/>
                    <a:gd name="connsiteY33" fmla="*/ 140453 h 186164"/>
                    <a:gd name="connsiteX34" fmla="*/ 7922 w 143581"/>
                    <a:gd name="connsiteY34" fmla="*/ 139222 h 186164"/>
                    <a:gd name="connsiteX35" fmla="*/ 8891 w 143581"/>
                    <a:gd name="connsiteY35" fmla="*/ 136973 h 186164"/>
                    <a:gd name="connsiteX36" fmla="*/ 9103 w 143581"/>
                    <a:gd name="connsiteY36" fmla="*/ 134674 h 186164"/>
                    <a:gd name="connsiteX37" fmla="*/ 8557 w 143581"/>
                    <a:gd name="connsiteY37" fmla="*/ 132352 h 186164"/>
                    <a:gd name="connsiteX38" fmla="*/ 7074 w 143581"/>
                    <a:gd name="connsiteY38" fmla="*/ 130624 h 186164"/>
                    <a:gd name="connsiteX39" fmla="*/ 4662 w 143581"/>
                    <a:gd name="connsiteY39" fmla="*/ 129483 h 186164"/>
                    <a:gd name="connsiteX40" fmla="*/ 3260 w 143581"/>
                    <a:gd name="connsiteY40" fmla="*/ 126296 h 186164"/>
                    <a:gd name="connsiteX41" fmla="*/ 2893 w 143581"/>
                    <a:gd name="connsiteY41" fmla="*/ 121040 h 186164"/>
                    <a:gd name="connsiteX42" fmla="*/ 3325 w 143581"/>
                    <a:gd name="connsiteY42" fmla="*/ 118204 h 186164"/>
                    <a:gd name="connsiteX43" fmla="*/ 4580 w 143581"/>
                    <a:gd name="connsiteY43" fmla="*/ 117780 h 186164"/>
                    <a:gd name="connsiteX44" fmla="*/ 5786 w 143581"/>
                    <a:gd name="connsiteY44" fmla="*/ 116500 h 186164"/>
                    <a:gd name="connsiteX45" fmla="*/ 6944 w 143581"/>
                    <a:gd name="connsiteY45" fmla="*/ 114357 h 186164"/>
                    <a:gd name="connsiteX46" fmla="*/ 7791 w 143581"/>
                    <a:gd name="connsiteY46" fmla="*/ 112002 h 186164"/>
                    <a:gd name="connsiteX47" fmla="*/ 8353 w 143581"/>
                    <a:gd name="connsiteY47" fmla="*/ 109443 h 186164"/>
                    <a:gd name="connsiteX48" fmla="*/ 8451 w 143581"/>
                    <a:gd name="connsiteY48" fmla="*/ 106224 h 186164"/>
                    <a:gd name="connsiteX49" fmla="*/ 8109 w 143581"/>
                    <a:gd name="connsiteY49" fmla="*/ 102320 h 186164"/>
                    <a:gd name="connsiteX50" fmla="*/ 10358 w 143581"/>
                    <a:gd name="connsiteY50" fmla="*/ 97495 h 186164"/>
                    <a:gd name="connsiteX51" fmla="*/ 12567 w 143581"/>
                    <a:gd name="connsiteY51" fmla="*/ 94521 h 186164"/>
                    <a:gd name="connsiteX52" fmla="*/ 16682 w 143581"/>
                    <a:gd name="connsiteY52" fmla="*/ 90870 h 186164"/>
                    <a:gd name="connsiteX53" fmla="*/ 17620 w 143581"/>
                    <a:gd name="connsiteY53" fmla="*/ 89786 h 186164"/>
                    <a:gd name="connsiteX54" fmla="*/ 17628 w 143581"/>
                    <a:gd name="connsiteY54" fmla="*/ 88881 h 186164"/>
                    <a:gd name="connsiteX55" fmla="*/ 17628 w 143581"/>
                    <a:gd name="connsiteY55" fmla="*/ 88783 h 186164"/>
                    <a:gd name="connsiteX56" fmla="*/ 16797 w 143581"/>
                    <a:gd name="connsiteY56" fmla="*/ 87536 h 186164"/>
                    <a:gd name="connsiteX57" fmla="*/ 13088 w 143581"/>
                    <a:gd name="connsiteY57" fmla="*/ 84985 h 186164"/>
                    <a:gd name="connsiteX58" fmla="*/ 11532 w 143581"/>
                    <a:gd name="connsiteY58" fmla="*/ 83160 h 186164"/>
                    <a:gd name="connsiteX59" fmla="*/ 11385 w 143581"/>
                    <a:gd name="connsiteY59" fmla="*/ 81481 h 186164"/>
                    <a:gd name="connsiteX60" fmla="*/ 11336 w 143581"/>
                    <a:gd name="connsiteY60" fmla="*/ 81448 h 186164"/>
                    <a:gd name="connsiteX61" fmla="*/ 10855 w 143581"/>
                    <a:gd name="connsiteY61" fmla="*/ 79835 h 186164"/>
                    <a:gd name="connsiteX62" fmla="*/ 6903 w 143581"/>
                    <a:gd name="connsiteY62" fmla="*/ 73103 h 186164"/>
                    <a:gd name="connsiteX63" fmla="*/ 5583 w 143581"/>
                    <a:gd name="connsiteY63" fmla="*/ 69395 h 186164"/>
                    <a:gd name="connsiteX64" fmla="*/ 5591 w 143581"/>
                    <a:gd name="connsiteY64" fmla="*/ 66640 h 186164"/>
                    <a:gd name="connsiteX65" fmla="*/ 5591 w 143581"/>
                    <a:gd name="connsiteY65" fmla="*/ 66420 h 186164"/>
                    <a:gd name="connsiteX66" fmla="*/ 6072 w 143581"/>
                    <a:gd name="connsiteY66" fmla="*/ 54726 h 186164"/>
                    <a:gd name="connsiteX67" fmla="*/ 4645 w 143581"/>
                    <a:gd name="connsiteY67" fmla="*/ 50659 h 186164"/>
                    <a:gd name="connsiteX68" fmla="*/ 4311 w 143581"/>
                    <a:gd name="connsiteY68" fmla="*/ 48369 h 186164"/>
                    <a:gd name="connsiteX69" fmla="*/ 4727 w 143581"/>
                    <a:gd name="connsiteY69" fmla="*/ 45557 h 186164"/>
                    <a:gd name="connsiteX70" fmla="*/ 4605 w 143581"/>
                    <a:gd name="connsiteY70" fmla="*/ 43813 h 186164"/>
                    <a:gd name="connsiteX71" fmla="*/ 3936 w 143581"/>
                    <a:gd name="connsiteY71" fmla="*/ 42281 h 186164"/>
                    <a:gd name="connsiteX72" fmla="*/ 3773 w 143581"/>
                    <a:gd name="connsiteY72" fmla="*/ 39510 h 186164"/>
                    <a:gd name="connsiteX73" fmla="*/ 3692 w 143581"/>
                    <a:gd name="connsiteY73" fmla="*/ 36079 h 186164"/>
                    <a:gd name="connsiteX74" fmla="*/ 2567 w 143581"/>
                    <a:gd name="connsiteY74" fmla="*/ 33878 h 186164"/>
                    <a:gd name="connsiteX75" fmla="*/ 2339 w 143581"/>
                    <a:gd name="connsiteY75" fmla="*/ 32892 h 186164"/>
                    <a:gd name="connsiteX76" fmla="*/ 2983 w 143581"/>
                    <a:gd name="connsiteY76" fmla="*/ 30529 h 186164"/>
                    <a:gd name="connsiteX77" fmla="*/ 4140 w 143581"/>
                    <a:gd name="connsiteY77" fmla="*/ 29307 h 186164"/>
                    <a:gd name="connsiteX78" fmla="*/ 6031 w 143581"/>
                    <a:gd name="connsiteY78" fmla="*/ 28451 h 186164"/>
                    <a:gd name="connsiteX79" fmla="*/ 8199 w 143581"/>
                    <a:gd name="connsiteY79" fmla="*/ 28157 h 186164"/>
                    <a:gd name="connsiteX80" fmla="*/ 10660 w 143581"/>
                    <a:gd name="connsiteY80" fmla="*/ 28426 h 186164"/>
                    <a:gd name="connsiteX81" fmla="*/ 12510 w 143581"/>
                    <a:gd name="connsiteY81" fmla="*/ 29494 h 186164"/>
                    <a:gd name="connsiteX82" fmla="*/ 13749 w 143581"/>
                    <a:gd name="connsiteY82" fmla="*/ 31344 h 186164"/>
                    <a:gd name="connsiteX83" fmla="*/ 14979 w 143581"/>
                    <a:gd name="connsiteY83" fmla="*/ 32297 h 186164"/>
                    <a:gd name="connsiteX84" fmla="*/ 16194 w 143581"/>
                    <a:gd name="connsiteY84" fmla="*/ 32338 h 186164"/>
                    <a:gd name="connsiteX85" fmla="*/ 17766 w 143581"/>
                    <a:gd name="connsiteY85" fmla="*/ 30806 h 186164"/>
                    <a:gd name="connsiteX86" fmla="*/ 19193 w 143581"/>
                    <a:gd name="connsiteY86" fmla="*/ 27538 h 186164"/>
                    <a:gd name="connsiteX87" fmla="*/ 19673 w 143581"/>
                    <a:gd name="connsiteY87" fmla="*/ 27318 h 186164"/>
                    <a:gd name="connsiteX88" fmla="*/ 19714 w 143581"/>
                    <a:gd name="connsiteY88" fmla="*/ 13031 h 186164"/>
                    <a:gd name="connsiteX89" fmla="*/ 19739 w 143581"/>
                    <a:gd name="connsiteY89" fmla="*/ 0 h 186164"/>
                    <a:gd name="connsiteX90" fmla="*/ 27473 w 143581"/>
                    <a:gd name="connsiteY90" fmla="*/ 16 h 186164"/>
                    <a:gd name="connsiteX91" fmla="*/ 35215 w 143581"/>
                    <a:gd name="connsiteY91" fmla="*/ 24 h 186164"/>
                    <a:gd name="connsiteX92" fmla="*/ 42957 w 143581"/>
                    <a:gd name="connsiteY92" fmla="*/ 33 h 186164"/>
                    <a:gd name="connsiteX93" fmla="*/ 50700 w 143581"/>
                    <a:gd name="connsiteY93" fmla="*/ 33 h 186164"/>
                    <a:gd name="connsiteX94" fmla="*/ 58442 w 143581"/>
                    <a:gd name="connsiteY94" fmla="*/ 41 h 186164"/>
                    <a:gd name="connsiteX95" fmla="*/ 66176 w 143581"/>
                    <a:gd name="connsiteY95" fmla="*/ 49 h 186164"/>
                    <a:gd name="connsiteX96" fmla="*/ 73926 w 143581"/>
                    <a:gd name="connsiteY96" fmla="*/ 57 h 186164"/>
                    <a:gd name="connsiteX97" fmla="*/ 81660 w 143581"/>
                    <a:gd name="connsiteY97" fmla="*/ 65 h 186164"/>
                    <a:gd name="connsiteX98" fmla="*/ 89403 w 143581"/>
                    <a:gd name="connsiteY98" fmla="*/ 65 h 186164"/>
                    <a:gd name="connsiteX99" fmla="*/ 97145 w 143581"/>
                    <a:gd name="connsiteY99" fmla="*/ 73 h 186164"/>
                    <a:gd name="connsiteX100" fmla="*/ 104879 w 143581"/>
                    <a:gd name="connsiteY100" fmla="*/ 82 h 186164"/>
                    <a:gd name="connsiteX101" fmla="*/ 112629 w 143581"/>
                    <a:gd name="connsiteY101" fmla="*/ 90 h 186164"/>
                    <a:gd name="connsiteX102" fmla="*/ 120363 w 143581"/>
                    <a:gd name="connsiteY102" fmla="*/ 98 h 186164"/>
                    <a:gd name="connsiteX103" fmla="*/ 128106 w 143581"/>
                    <a:gd name="connsiteY103" fmla="*/ 106 h 186164"/>
                    <a:gd name="connsiteX104" fmla="*/ 135848 w 143581"/>
                    <a:gd name="connsiteY104" fmla="*/ 114 h 186164"/>
                    <a:gd name="connsiteX105" fmla="*/ 143582 w 143581"/>
                    <a:gd name="connsiteY105" fmla="*/ 122 h 186164"/>
                    <a:gd name="connsiteX106" fmla="*/ 143582 w 143581"/>
                    <a:gd name="connsiteY106" fmla="*/ 11907 h 186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43581" h="186164">
                      <a:moveTo>
                        <a:pt x="143582" y="23675"/>
                      </a:moveTo>
                      <a:lnTo>
                        <a:pt x="143582" y="35411"/>
                      </a:lnTo>
                      <a:lnTo>
                        <a:pt x="143582" y="47130"/>
                      </a:lnTo>
                      <a:lnTo>
                        <a:pt x="143574" y="58825"/>
                      </a:lnTo>
                      <a:lnTo>
                        <a:pt x="143574" y="70495"/>
                      </a:lnTo>
                      <a:lnTo>
                        <a:pt x="143574" y="82149"/>
                      </a:lnTo>
                      <a:lnTo>
                        <a:pt x="143574" y="93771"/>
                      </a:lnTo>
                      <a:lnTo>
                        <a:pt x="143574" y="105384"/>
                      </a:lnTo>
                      <a:lnTo>
                        <a:pt x="143574" y="116965"/>
                      </a:lnTo>
                      <a:lnTo>
                        <a:pt x="143574" y="128530"/>
                      </a:lnTo>
                      <a:lnTo>
                        <a:pt x="143574" y="140070"/>
                      </a:lnTo>
                      <a:lnTo>
                        <a:pt x="143574" y="151593"/>
                      </a:lnTo>
                      <a:lnTo>
                        <a:pt x="143566" y="163084"/>
                      </a:lnTo>
                      <a:lnTo>
                        <a:pt x="143566" y="174567"/>
                      </a:lnTo>
                      <a:lnTo>
                        <a:pt x="143558" y="186050"/>
                      </a:lnTo>
                      <a:lnTo>
                        <a:pt x="137934" y="186058"/>
                      </a:lnTo>
                      <a:lnTo>
                        <a:pt x="129165" y="186083"/>
                      </a:lnTo>
                      <a:lnTo>
                        <a:pt x="120396" y="186099"/>
                      </a:lnTo>
                      <a:lnTo>
                        <a:pt x="111635" y="186124"/>
                      </a:lnTo>
                      <a:lnTo>
                        <a:pt x="102866" y="186148"/>
                      </a:lnTo>
                      <a:lnTo>
                        <a:pt x="94097" y="186164"/>
                      </a:lnTo>
                      <a:lnTo>
                        <a:pt x="82337" y="181389"/>
                      </a:lnTo>
                      <a:lnTo>
                        <a:pt x="70569" y="176605"/>
                      </a:lnTo>
                      <a:lnTo>
                        <a:pt x="58809" y="171805"/>
                      </a:lnTo>
                      <a:lnTo>
                        <a:pt x="47048" y="167021"/>
                      </a:lnTo>
                      <a:lnTo>
                        <a:pt x="35288" y="162220"/>
                      </a:lnTo>
                      <a:lnTo>
                        <a:pt x="23520" y="157428"/>
                      </a:lnTo>
                      <a:lnTo>
                        <a:pt x="11760" y="152620"/>
                      </a:lnTo>
                      <a:lnTo>
                        <a:pt x="0" y="147820"/>
                      </a:lnTo>
                      <a:lnTo>
                        <a:pt x="1190" y="145978"/>
                      </a:lnTo>
                      <a:lnTo>
                        <a:pt x="2755" y="141096"/>
                      </a:lnTo>
                      <a:lnTo>
                        <a:pt x="2852" y="140787"/>
                      </a:lnTo>
                      <a:lnTo>
                        <a:pt x="2852" y="140787"/>
                      </a:lnTo>
                      <a:lnTo>
                        <a:pt x="6292" y="140453"/>
                      </a:lnTo>
                      <a:lnTo>
                        <a:pt x="7922" y="139222"/>
                      </a:lnTo>
                      <a:lnTo>
                        <a:pt x="8891" y="136973"/>
                      </a:lnTo>
                      <a:lnTo>
                        <a:pt x="9103" y="134674"/>
                      </a:lnTo>
                      <a:lnTo>
                        <a:pt x="8557" y="132352"/>
                      </a:lnTo>
                      <a:lnTo>
                        <a:pt x="7074" y="130624"/>
                      </a:lnTo>
                      <a:lnTo>
                        <a:pt x="4662" y="129483"/>
                      </a:lnTo>
                      <a:lnTo>
                        <a:pt x="3260" y="126296"/>
                      </a:lnTo>
                      <a:lnTo>
                        <a:pt x="2893" y="121040"/>
                      </a:lnTo>
                      <a:lnTo>
                        <a:pt x="3325" y="118204"/>
                      </a:lnTo>
                      <a:lnTo>
                        <a:pt x="4580" y="117780"/>
                      </a:lnTo>
                      <a:lnTo>
                        <a:pt x="5786" y="116500"/>
                      </a:lnTo>
                      <a:lnTo>
                        <a:pt x="6944" y="114357"/>
                      </a:lnTo>
                      <a:lnTo>
                        <a:pt x="7791" y="112002"/>
                      </a:lnTo>
                      <a:lnTo>
                        <a:pt x="8353" y="109443"/>
                      </a:lnTo>
                      <a:lnTo>
                        <a:pt x="8451" y="106224"/>
                      </a:lnTo>
                      <a:lnTo>
                        <a:pt x="8109" y="102320"/>
                      </a:lnTo>
                      <a:lnTo>
                        <a:pt x="10358" y="97495"/>
                      </a:lnTo>
                      <a:lnTo>
                        <a:pt x="12567" y="94521"/>
                      </a:lnTo>
                      <a:lnTo>
                        <a:pt x="16682" y="90870"/>
                      </a:lnTo>
                      <a:lnTo>
                        <a:pt x="17620" y="89786"/>
                      </a:lnTo>
                      <a:lnTo>
                        <a:pt x="17628" y="88881"/>
                      </a:lnTo>
                      <a:lnTo>
                        <a:pt x="17628" y="88783"/>
                      </a:lnTo>
                      <a:lnTo>
                        <a:pt x="16797" y="87536"/>
                      </a:lnTo>
                      <a:lnTo>
                        <a:pt x="13088" y="84985"/>
                      </a:lnTo>
                      <a:lnTo>
                        <a:pt x="11532" y="83160"/>
                      </a:lnTo>
                      <a:lnTo>
                        <a:pt x="11385" y="81481"/>
                      </a:lnTo>
                      <a:lnTo>
                        <a:pt x="11336" y="81448"/>
                      </a:lnTo>
                      <a:lnTo>
                        <a:pt x="10855" y="79835"/>
                      </a:lnTo>
                      <a:lnTo>
                        <a:pt x="6903" y="73103"/>
                      </a:lnTo>
                      <a:lnTo>
                        <a:pt x="5583" y="69395"/>
                      </a:lnTo>
                      <a:lnTo>
                        <a:pt x="5591" y="66640"/>
                      </a:lnTo>
                      <a:lnTo>
                        <a:pt x="5591" y="66420"/>
                      </a:lnTo>
                      <a:lnTo>
                        <a:pt x="6072" y="54726"/>
                      </a:lnTo>
                      <a:lnTo>
                        <a:pt x="4645" y="50659"/>
                      </a:lnTo>
                      <a:lnTo>
                        <a:pt x="4311" y="48369"/>
                      </a:lnTo>
                      <a:lnTo>
                        <a:pt x="4727" y="45557"/>
                      </a:lnTo>
                      <a:lnTo>
                        <a:pt x="4605" y="43813"/>
                      </a:lnTo>
                      <a:lnTo>
                        <a:pt x="3936" y="42281"/>
                      </a:lnTo>
                      <a:lnTo>
                        <a:pt x="3773" y="39510"/>
                      </a:lnTo>
                      <a:lnTo>
                        <a:pt x="3692" y="36079"/>
                      </a:lnTo>
                      <a:lnTo>
                        <a:pt x="2567" y="33878"/>
                      </a:lnTo>
                      <a:lnTo>
                        <a:pt x="2339" y="32892"/>
                      </a:lnTo>
                      <a:lnTo>
                        <a:pt x="2983" y="30529"/>
                      </a:lnTo>
                      <a:lnTo>
                        <a:pt x="4140" y="29307"/>
                      </a:lnTo>
                      <a:lnTo>
                        <a:pt x="6031" y="28451"/>
                      </a:lnTo>
                      <a:lnTo>
                        <a:pt x="8199" y="28157"/>
                      </a:lnTo>
                      <a:lnTo>
                        <a:pt x="10660" y="28426"/>
                      </a:lnTo>
                      <a:lnTo>
                        <a:pt x="12510" y="29494"/>
                      </a:lnTo>
                      <a:lnTo>
                        <a:pt x="13749" y="31344"/>
                      </a:lnTo>
                      <a:lnTo>
                        <a:pt x="14979" y="32297"/>
                      </a:lnTo>
                      <a:lnTo>
                        <a:pt x="16194" y="32338"/>
                      </a:lnTo>
                      <a:lnTo>
                        <a:pt x="17766" y="30806"/>
                      </a:lnTo>
                      <a:lnTo>
                        <a:pt x="19193" y="27538"/>
                      </a:lnTo>
                      <a:lnTo>
                        <a:pt x="19673" y="27318"/>
                      </a:lnTo>
                      <a:lnTo>
                        <a:pt x="19714" y="13031"/>
                      </a:lnTo>
                      <a:lnTo>
                        <a:pt x="19739" y="0"/>
                      </a:lnTo>
                      <a:lnTo>
                        <a:pt x="27473" y="16"/>
                      </a:lnTo>
                      <a:lnTo>
                        <a:pt x="35215" y="24"/>
                      </a:lnTo>
                      <a:lnTo>
                        <a:pt x="42957" y="33"/>
                      </a:lnTo>
                      <a:lnTo>
                        <a:pt x="50700" y="33"/>
                      </a:lnTo>
                      <a:lnTo>
                        <a:pt x="58442" y="41"/>
                      </a:lnTo>
                      <a:lnTo>
                        <a:pt x="66176" y="49"/>
                      </a:lnTo>
                      <a:lnTo>
                        <a:pt x="73926" y="57"/>
                      </a:lnTo>
                      <a:lnTo>
                        <a:pt x="81660" y="65"/>
                      </a:lnTo>
                      <a:lnTo>
                        <a:pt x="89403" y="65"/>
                      </a:lnTo>
                      <a:lnTo>
                        <a:pt x="97145" y="73"/>
                      </a:lnTo>
                      <a:lnTo>
                        <a:pt x="104879" y="82"/>
                      </a:lnTo>
                      <a:lnTo>
                        <a:pt x="112629" y="90"/>
                      </a:lnTo>
                      <a:lnTo>
                        <a:pt x="120363" y="98"/>
                      </a:lnTo>
                      <a:lnTo>
                        <a:pt x="128106" y="106"/>
                      </a:lnTo>
                      <a:lnTo>
                        <a:pt x="135848" y="114"/>
                      </a:lnTo>
                      <a:lnTo>
                        <a:pt x="143582" y="122"/>
                      </a:lnTo>
                      <a:lnTo>
                        <a:pt x="143582" y="11907"/>
                      </a:lnTo>
                      <a:close/>
                    </a:path>
                  </a:pathLst>
                </a:custGeom>
                <a:solidFill>
                  <a:srgbClr val="D6D6D2"/>
                </a:solidFill>
                <a:ln w="6112" cap="rnd">
                  <a:solidFill>
                    <a:srgbClr val="FFFFFF"/>
                  </a:solidFill>
                  <a:prstDash val="solid"/>
                  <a:round/>
                </a:ln>
              </p:spPr>
              <p:txBody>
                <a:bodyPr rtlCol="0" anchor="ctr"/>
                <a:lstStyle/>
                <a:p>
                  <a:endParaRPr lang="en-US"/>
                </a:p>
              </p:txBody>
            </p:sp>
            <p:sp>
              <p:nvSpPr>
                <p:cNvPr id="469" name="Freeform: Shape 468">
                  <a:extLst>
                    <a:ext uri="{FF2B5EF4-FFF2-40B4-BE49-F238E27FC236}">
                      <a16:creationId xmlns:a16="http://schemas.microsoft.com/office/drawing/2014/main" id="{74F7F1E6-A2DC-4F43-BC8C-B2A8A4CF5722}"/>
                    </a:ext>
                  </a:extLst>
                </p:cNvPr>
                <p:cNvSpPr/>
                <p:nvPr/>
              </p:nvSpPr>
              <p:spPr>
                <a:xfrm>
                  <a:off x="3596884" y="3393183"/>
                  <a:ext cx="122262" cy="114691"/>
                </a:xfrm>
                <a:custGeom>
                  <a:avLst/>
                  <a:gdLst>
                    <a:gd name="connsiteX0" fmla="*/ 107022 w 122262"/>
                    <a:gd name="connsiteY0" fmla="*/ 13317 h 114691"/>
                    <a:gd name="connsiteX1" fmla="*/ 105091 w 122262"/>
                    <a:gd name="connsiteY1" fmla="*/ 16846 h 114691"/>
                    <a:gd name="connsiteX2" fmla="*/ 109166 w 122262"/>
                    <a:gd name="connsiteY2" fmla="*/ 16764 h 114691"/>
                    <a:gd name="connsiteX3" fmla="*/ 113240 w 122262"/>
                    <a:gd name="connsiteY3" fmla="*/ 16699 h 114691"/>
                    <a:gd name="connsiteX4" fmla="*/ 117315 w 122262"/>
                    <a:gd name="connsiteY4" fmla="*/ 16626 h 114691"/>
                    <a:gd name="connsiteX5" fmla="*/ 121863 w 122262"/>
                    <a:gd name="connsiteY5" fmla="*/ 16552 h 114691"/>
                    <a:gd name="connsiteX6" fmla="*/ 121749 w 122262"/>
                    <a:gd name="connsiteY6" fmla="*/ 17163 h 114691"/>
                    <a:gd name="connsiteX7" fmla="*/ 122254 w 122262"/>
                    <a:gd name="connsiteY7" fmla="*/ 18467 h 114691"/>
                    <a:gd name="connsiteX8" fmla="*/ 122262 w 122262"/>
                    <a:gd name="connsiteY8" fmla="*/ 19217 h 114691"/>
                    <a:gd name="connsiteX9" fmla="*/ 121896 w 122262"/>
                    <a:gd name="connsiteY9" fmla="*/ 19682 h 114691"/>
                    <a:gd name="connsiteX10" fmla="*/ 121032 w 122262"/>
                    <a:gd name="connsiteY10" fmla="*/ 19959 h 114691"/>
                    <a:gd name="connsiteX11" fmla="*/ 120404 w 122262"/>
                    <a:gd name="connsiteY11" fmla="*/ 20285 h 114691"/>
                    <a:gd name="connsiteX12" fmla="*/ 120274 w 122262"/>
                    <a:gd name="connsiteY12" fmla="*/ 20831 h 114691"/>
                    <a:gd name="connsiteX13" fmla="*/ 120249 w 122262"/>
                    <a:gd name="connsiteY13" fmla="*/ 21083 h 114691"/>
                    <a:gd name="connsiteX14" fmla="*/ 120290 w 122262"/>
                    <a:gd name="connsiteY14" fmla="*/ 21719 h 114691"/>
                    <a:gd name="connsiteX15" fmla="*/ 120404 w 122262"/>
                    <a:gd name="connsiteY15" fmla="*/ 22290 h 114691"/>
                    <a:gd name="connsiteX16" fmla="*/ 120005 w 122262"/>
                    <a:gd name="connsiteY16" fmla="*/ 23023 h 114691"/>
                    <a:gd name="connsiteX17" fmla="*/ 117161 w 122262"/>
                    <a:gd name="connsiteY17" fmla="*/ 24857 h 114691"/>
                    <a:gd name="connsiteX18" fmla="*/ 115946 w 122262"/>
                    <a:gd name="connsiteY18" fmla="*/ 27212 h 114691"/>
                    <a:gd name="connsiteX19" fmla="*/ 116362 w 122262"/>
                    <a:gd name="connsiteY19" fmla="*/ 30097 h 114691"/>
                    <a:gd name="connsiteX20" fmla="*/ 115351 w 122262"/>
                    <a:gd name="connsiteY20" fmla="*/ 33023 h 114691"/>
                    <a:gd name="connsiteX21" fmla="*/ 112906 w 122262"/>
                    <a:gd name="connsiteY21" fmla="*/ 35965 h 114691"/>
                    <a:gd name="connsiteX22" fmla="*/ 111863 w 122262"/>
                    <a:gd name="connsiteY22" fmla="*/ 39257 h 114691"/>
                    <a:gd name="connsiteX23" fmla="*/ 112238 w 122262"/>
                    <a:gd name="connsiteY23" fmla="*/ 42900 h 114691"/>
                    <a:gd name="connsiteX24" fmla="*/ 111015 w 122262"/>
                    <a:gd name="connsiteY24" fmla="*/ 45850 h 114691"/>
                    <a:gd name="connsiteX25" fmla="*/ 108196 w 122262"/>
                    <a:gd name="connsiteY25" fmla="*/ 48083 h 114691"/>
                    <a:gd name="connsiteX26" fmla="*/ 107258 w 122262"/>
                    <a:gd name="connsiteY26" fmla="*/ 49461 h 114691"/>
                    <a:gd name="connsiteX27" fmla="*/ 107258 w 122262"/>
                    <a:gd name="connsiteY27" fmla="*/ 49575 h 114691"/>
                    <a:gd name="connsiteX28" fmla="*/ 107267 w 122262"/>
                    <a:gd name="connsiteY28" fmla="*/ 50594 h 114691"/>
                    <a:gd name="connsiteX29" fmla="*/ 107544 w 122262"/>
                    <a:gd name="connsiteY29" fmla="*/ 51409 h 114691"/>
                    <a:gd name="connsiteX30" fmla="*/ 106607 w 122262"/>
                    <a:gd name="connsiteY30" fmla="*/ 52924 h 114691"/>
                    <a:gd name="connsiteX31" fmla="*/ 104227 w 122262"/>
                    <a:gd name="connsiteY31" fmla="*/ 54489 h 114691"/>
                    <a:gd name="connsiteX32" fmla="*/ 102947 w 122262"/>
                    <a:gd name="connsiteY32" fmla="*/ 56013 h 114691"/>
                    <a:gd name="connsiteX33" fmla="*/ 102768 w 122262"/>
                    <a:gd name="connsiteY33" fmla="*/ 57505 h 114691"/>
                    <a:gd name="connsiteX34" fmla="*/ 102214 w 122262"/>
                    <a:gd name="connsiteY34" fmla="*/ 58222 h 114691"/>
                    <a:gd name="connsiteX35" fmla="*/ 101171 w 122262"/>
                    <a:gd name="connsiteY35" fmla="*/ 58548 h 114691"/>
                    <a:gd name="connsiteX36" fmla="*/ 100551 w 122262"/>
                    <a:gd name="connsiteY36" fmla="*/ 60756 h 114691"/>
                    <a:gd name="connsiteX37" fmla="*/ 100054 w 122262"/>
                    <a:gd name="connsiteY37" fmla="*/ 65923 h 114691"/>
                    <a:gd name="connsiteX38" fmla="*/ 98783 w 122262"/>
                    <a:gd name="connsiteY38" fmla="*/ 68865 h 114691"/>
                    <a:gd name="connsiteX39" fmla="*/ 96737 w 122262"/>
                    <a:gd name="connsiteY39" fmla="*/ 69599 h 114691"/>
                    <a:gd name="connsiteX40" fmla="*/ 95637 w 122262"/>
                    <a:gd name="connsiteY40" fmla="*/ 70748 h 114691"/>
                    <a:gd name="connsiteX41" fmla="*/ 95490 w 122262"/>
                    <a:gd name="connsiteY41" fmla="*/ 72337 h 114691"/>
                    <a:gd name="connsiteX42" fmla="*/ 94268 w 122262"/>
                    <a:gd name="connsiteY42" fmla="*/ 74163 h 114691"/>
                    <a:gd name="connsiteX43" fmla="*/ 91978 w 122262"/>
                    <a:gd name="connsiteY43" fmla="*/ 76249 h 114691"/>
                    <a:gd name="connsiteX44" fmla="*/ 91220 w 122262"/>
                    <a:gd name="connsiteY44" fmla="*/ 78221 h 114691"/>
                    <a:gd name="connsiteX45" fmla="*/ 92002 w 122262"/>
                    <a:gd name="connsiteY45" fmla="*/ 80096 h 114691"/>
                    <a:gd name="connsiteX46" fmla="*/ 91856 w 122262"/>
                    <a:gd name="connsiteY46" fmla="*/ 80845 h 114691"/>
                    <a:gd name="connsiteX47" fmla="*/ 91147 w 122262"/>
                    <a:gd name="connsiteY47" fmla="*/ 81457 h 114691"/>
                    <a:gd name="connsiteX48" fmla="*/ 88669 w 122262"/>
                    <a:gd name="connsiteY48" fmla="*/ 82337 h 114691"/>
                    <a:gd name="connsiteX49" fmla="*/ 88237 w 122262"/>
                    <a:gd name="connsiteY49" fmla="*/ 82785 h 114691"/>
                    <a:gd name="connsiteX50" fmla="*/ 88001 w 122262"/>
                    <a:gd name="connsiteY50" fmla="*/ 83274 h 114691"/>
                    <a:gd name="connsiteX51" fmla="*/ 88498 w 122262"/>
                    <a:gd name="connsiteY51" fmla="*/ 84228 h 114691"/>
                    <a:gd name="connsiteX52" fmla="*/ 88791 w 122262"/>
                    <a:gd name="connsiteY52" fmla="*/ 85662 h 114691"/>
                    <a:gd name="connsiteX53" fmla="*/ 88433 w 122262"/>
                    <a:gd name="connsiteY53" fmla="*/ 88074 h 114691"/>
                    <a:gd name="connsiteX54" fmla="*/ 87822 w 122262"/>
                    <a:gd name="connsiteY54" fmla="*/ 89085 h 114691"/>
                    <a:gd name="connsiteX55" fmla="*/ 87251 w 122262"/>
                    <a:gd name="connsiteY55" fmla="*/ 90038 h 114691"/>
                    <a:gd name="connsiteX56" fmla="*/ 85173 w 122262"/>
                    <a:gd name="connsiteY56" fmla="*/ 91742 h 114691"/>
                    <a:gd name="connsiteX57" fmla="*/ 84594 w 122262"/>
                    <a:gd name="connsiteY57" fmla="*/ 93037 h 114691"/>
                    <a:gd name="connsiteX58" fmla="*/ 85515 w 122262"/>
                    <a:gd name="connsiteY58" fmla="*/ 93966 h 114691"/>
                    <a:gd name="connsiteX59" fmla="*/ 85458 w 122262"/>
                    <a:gd name="connsiteY59" fmla="*/ 94969 h 114691"/>
                    <a:gd name="connsiteX60" fmla="*/ 84415 w 122262"/>
                    <a:gd name="connsiteY60" fmla="*/ 96053 h 114691"/>
                    <a:gd name="connsiteX61" fmla="*/ 84708 w 122262"/>
                    <a:gd name="connsiteY61" fmla="*/ 97243 h 114691"/>
                    <a:gd name="connsiteX62" fmla="*/ 84953 w 122262"/>
                    <a:gd name="connsiteY62" fmla="*/ 98049 h 114691"/>
                    <a:gd name="connsiteX63" fmla="*/ 85914 w 122262"/>
                    <a:gd name="connsiteY63" fmla="*/ 98767 h 114691"/>
                    <a:gd name="connsiteX64" fmla="*/ 86240 w 122262"/>
                    <a:gd name="connsiteY64" fmla="*/ 100788 h 114691"/>
                    <a:gd name="connsiteX65" fmla="*/ 85564 w 122262"/>
                    <a:gd name="connsiteY65" fmla="*/ 103363 h 114691"/>
                    <a:gd name="connsiteX66" fmla="*/ 85686 w 122262"/>
                    <a:gd name="connsiteY66" fmla="*/ 105490 h 114691"/>
                    <a:gd name="connsiteX67" fmla="*/ 86827 w 122262"/>
                    <a:gd name="connsiteY67" fmla="*/ 107234 h 114691"/>
                    <a:gd name="connsiteX68" fmla="*/ 87088 w 122262"/>
                    <a:gd name="connsiteY68" fmla="*/ 107984 h 114691"/>
                    <a:gd name="connsiteX69" fmla="*/ 85947 w 122262"/>
                    <a:gd name="connsiteY69" fmla="*/ 113762 h 114691"/>
                    <a:gd name="connsiteX70" fmla="*/ 86020 w 122262"/>
                    <a:gd name="connsiteY70" fmla="*/ 114569 h 114691"/>
                    <a:gd name="connsiteX71" fmla="*/ 81155 w 122262"/>
                    <a:gd name="connsiteY71" fmla="*/ 114585 h 114691"/>
                    <a:gd name="connsiteX72" fmla="*/ 76697 w 122262"/>
                    <a:gd name="connsiteY72" fmla="*/ 114593 h 114691"/>
                    <a:gd name="connsiteX73" fmla="*/ 72239 w 122262"/>
                    <a:gd name="connsiteY73" fmla="*/ 114610 h 114691"/>
                    <a:gd name="connsiteX74" fmla="*/ 67781 w 122262"/>
                    <a:gd name="connsiteY74" fmla="*/ 114610 h 114691"/>
                    <a:gd name="connsiteX75" fmla="*/ 63332 w 122262"/>
                    <a:gd name="connsiteY75" fmla="*/ 114618 h 114691"/>
                    <a:gd name="connsiteX76" fmla="*/ 58874 w 122262"/>
                    <a:gd name="connsiteY76" fmla="*/ 114626 h 114691"/>
                    <a:gd name="connsiteX77" fmla="*/ 54408 w 122262"/>
                    <a:gd name="connsiteY77" fmla="*/ 114634 h 114691"/>
                    <a:gd name="connsiteX78" fmla="*/ 49958 w 122262"/>
                    <a:gd name="connsiteY78" fmla="*/ 114642 h 114691"/>
                    <a:gd name="connsiteX79" fmla="*/ 45500 w 122262"/>
                    <a:gd name="connsiteY79" fmla="*/ 114642 h 114691"/>
                    <a:gd name="connsiteX80" fmla="*/ 41042 w 122262"/>
                    <a:gd name="connsiteY80" fmla="*/ 114651 h 114691"/>
                    <a:gd name="connsiteX81" fmla="*/ 36592 w 122262"/>
                    <a:gd name="connsiteY81" fmla="*/ 114659 h 114691"/>
                    <a:gd name="connsiteX82" fmla="*/ 32134 w 122262"/>
                    <a:gd name="connsiteY82" fmla="*/ 114667 h 114691"/>
                    <a:gd name="connsiteX83" fmla="*/ 27685 w 122262"/>
                    <a:gd name="connsiteY83" fmla="*/ 114675 h 114691"/>
                    <a:gd name="connsiteX84" fmla="*/ 23219 w 122262"/>
                    <a:gd name="connsiteY84" fmla="*/ 114683 h 114691"/>
                    <a:gd name="connsiteX85" fmla="*/ 18761 w 122262"/>
                    <a:gd name="connsiteY85" fmla="*/ 114691 h 114691"/>
                    <a:gd name="connsiteX86" fmla="*/ 14303 w 122262"/>
                    <a:gd name="connsiteY86" fmla="*/ 114691 h 114691"/>
                    <a:gd name="connsiteX87" fmla="*/ 14278 w 122262"/>
                    <a:gd name="connsiteY87" fmla="*/ 110274 h 114691"/>
                    <a:gd name="connsiteX88" fmla="*/ 14229 w 122262"/>
                    <a:gd name="connsiteY88" fmla="*/ 105857 h 114691"/>
                    <a:gd name="connsiteX89" fmla="*/ 14197 w 122262"/>
                    <a:gd name="connsiteY89" fmla="*/ 101432 h 114691"/>
                    <a:gd name="connsiteX90" fmla="*/ 14156 w 122262"/>
                    <a:gd name="connsiteY90" fmla="*/ 96998 h 114691"/>
                    <a:gd name="connsiteX91" fmla="*/ 12885 w 122262"/>
                    <a:gd name="connsiteY91" fmla="*/ 96257 h 114691"/>
                    <a:gd name="connsiteX92" fmla="*/ 10578 w 122262"/>
                    <a:gd name="connsiteY92" fmla="*/ 95874 h 114691"/>
                    <a:gd name="connsiteX93" fmla="*/ 9421 w 122262"/>
                    <a:gd name="connsiteY93" fmla="*/ 96126 h 114691"/>
                    <a:gd name="connsiteX94" fmla="*/ 8019 w 122262"/>
                    <a:gd name="connsiteY94" fmla="*/ 95922 h 114691"/>
                    <a:gd name="connsiteX95" fmla="*/ 7082 w 122262"/>
                    <a:gd name="connsiteY95" fmla="*/ 96656 h 114691"/>
                    <a:gd name="connsiteX96" fmla="*/ 6463 w 122262"/>
                    <a:gd name="connsiteY96" fmla="*/ 96786 h 114691"/>
                    <a:gd name="connsiteX97" fmla="*/ 5957 w 122262"/>
                    <a:gd name="connsiteY97" fmla="*/ 96623 h 114691"/>
                    <a:gd name="connsiteX98" fmla="*/ 5656 w 122262"/>
                    <a:gd name="connsiteY98" fmla="*/ 95988 h 114691"/>
                    <a:gd name="connsiteX99" fmla="*/ 4621 w 122262"/>
                    <a:gd name="connsiteY99" fmla="*/ 95523 h 114691"/>
                    <a:gd name="connsiteX100" fmla="*/ 3325 w 122262"/>
                    <a:gd name="connsiteY100" fmla="*/ 93926 h 114691"/>
                    <a:gd name="connsiteX101" fmla="*/ 3398 w 122262"/>
                    <a:gd name="connsiteY101" fmla="*/ 90381 h 114691"/>
                    <a:gd name="connsiteX102" fmla="*/ 3464 w 122262"/>
                    <a:gd name="connsiteY102" fmla="*/ 86827 h 114691"/>
                    <a:gd name="connsiteX103" fmla="*/ 3537 w 122262"/>
                    <a:gd name="connsiteY103" fmla="*/ 83274 h 114691"/>
                    <a:gd name="connsiteX104" fmla="*/ 3602 w 122262"/>
                    <a:gd name="connsiteY104" fmla="*/ 79713 h 114691"/>
                    <a:gd name="connsiteX105" fmla="*/ 3675 w 122262"/>
                    <a:gd name="connsiteY105" fmla="*/ 76151 h 114691"/>
                    <a:gd name="connsiteX106" fmla="*/ 3741 w 122262"/>
                    <a:gd name="connsiteY106" fmla="*/ 72590 h 114691"/>
                    <a:gd name="connsiteX107" fmla="*/ 3814 w 122262"/>
                    <a:gd name="connsiteY107" fmla="*/ 69028 h 114691"/>
                    <a:gd name="connsiteX108" fmla="*/ 3887 w 122262"/>
                    <a:gd name="connsiteY108" fmla="*/ 65459 h 114691"/>
                    <a:gd name="connsiteX109" fmla="*/ 3953 w 122262"/>
                    <a:gd name="connsiteY109" fmla="*/ 61889 h 114691"/>
                    <a:gd name="connsiteX110" fmla="*/ 4026 w 122262"/>
                    <a:gd name="connsiteY110" fmla="*/ 58320 h 114691"/>
                    <a:gd name="connsiteX111" fmla="*/ 4091 w 122262"/>
                    <a:gd name="connsiteY111" fmla="*/ 54742 h 114691"/>
                    <a:gd name="connsiteX112" fmla="*/ 4164 w 122262"/>
                    <a:gd name="connsiteY112" fmla="*/ 51164 h 114691"/>
                    <a:gd name="connsiteX113" fmla="*/ 4230 w 122262"/>
                    <a:gd name="connsiteY113" fmla="*/ 47595 h 114691"/>
                    <a:gd name="connsiteX114" fmla="*/ 4303 w 122262"/>
                    <a:gd name="connsiteY114" fmla="*/ 44017 h 114691"/>
                    <a:gd name="connsiteX115" fmla="*/ 4376 w 122262"/>
                    <a:gd name="connsiteY115" fmla="*/ 40431 h 114691"/>
                    <a:gd name="connsiteX116" fmla="*/ 4442 w 122262"/>
                    <a:gd name="connsiteY116" fmla="*/ 36845 h 114691"/>
                    <a:gd name="connsiteX117" fmla="*/ 3887 w 122262"/>
                    <a:gd name="connsiteY117" fmla="*/ 32248 h 114691"/>
                    <a:gd name="connsiteX118" fmla="*/ 3325 w 122262"/>
                    <a:gd name="connsiteY118" fmla="*/ 27652 h 114691"/>
                    <a:gd name="connsiteX119" fmla="*/ 2771 w 122262"/>
                    <a:gd name="connsiteY119" fmla="*/ 23056 h 114691"/>
                    <a:gd name="connsiteX120" fmla="*/ 2225 w 122262"/>
                    <a:gd name="connsiteY120" fmla="*/ 18451 h 114691"/>
                    <a:gd name="connsiteX121" fmla="*/ 1663 w 122262"/>
                    <a:gd name="connsiteY121" fmla="*/ 13846 h 114691"/>
                    <a:gd name="connsiteX122" fmla="*/ 1108 w 122262"/>
                    <a:gd name="connsiteY122" fmla="*/ 9234 h 114691"/>
                    <a:gd name="connsiteX123" fmla="*/ 554 w 122262"/>
                    <a:gd name="connsiteY123" fmla="*/ 4621 h 114691"/>
                    <a:gd name="connsiteX124" fmla="*/ 0 w 122262"/>
                    <a:gd name="connsiteY124" fmla="*/ 0 h 114691"/>
                    <a:gd name="connsiteX125" fmla="*/ 6903 w 122262"/>
                    <a:gd name="connsiteY125" fmla="*/ 0 h 114691"/>
                    <a:gd name="connsiteX126" fmla="*/ 13814 w 122262"/>
                    <a:gd name="connsiteY126" fmla="*/ 0 h 114691"/>
                    <a:gd name="connsiteX127" fmla="*/ 20717 w 122262"/>
                    <a:gd name="connsiteY127" fmla="*/ 0 h 114691"/>
                    <a:gd name="connsiteX128" fmla="*/ 27627 w 122262"/>
                    <a:gd name="connsiteY128" fmla="*/ 0 h 114691"/>
                    <a:gd name="connsiteX129" fmla="*/ 34530 w 122262"/>
                    <a:gd name="connsiteY129" fmla="*/ 0 h 114691"/>
                    <a:gd name="connsiteX130" fmla="*/ 41441 w 122262"/>
                    <a:gd name="connsiteY130" fmla="*/ 0 h 114691"/>
                    <a:gd name="connsiteX131" fmla="*/ 48352 w 122262"/>
                    <a:gd name="connsiteY131" fmla="*/ 0 h 114691"/>
                    <a:gd name="connsiteX132" fmla="*/ 55255 w 122262"/>
                    <a:gd name="connsiteY132" fmla="*/ 0 h 114691"/>
                    <a:gd name="connsiteX133" fmla="*/ 62166 w 122262"/>
                    <a:gd name="connsiteY133" fmla="*/ 0 h 114691"/>
                    <a:gd name="connsiteX134" fmla="*/ 69077 w 122262"/>
                    <a:gd name="connsiteY134" fmla="*/ 0 h 114691"/>
                    <a:gd name="connsiteX135" fmla="*/ 75980 w 122262"/>
                    <a:gd name="connsiteY135" fmla="*/ 0 h 114691"/>
                    <a:gd name="connsiteX136" fmla="*/ 82891 w 122262"/>
                    <a:gd name="connsiteY136" fmla="*/ 0 h 114691"/>
                    <a:gd name="connsiteX137" fmla="*/ 89802 w 122262"/>
                    <a:gd name="connsiteY137" fmla="*/ 0 h 114691"/>
                    <a:gd name="connsiteX138" fmla="*/ 96705 w 122262"/>
                    <a:gd name="connsiteY138" fmla="*/ 0 h 114691"/>
                    <a:gd name="connsiteX139" fmla="*/ 103607 w 122262"/>
                    <a:gd name="connsiteY139" fmla="*/ 0 h 114691"/>
                    <a:gd name="connsiteX140" fmla="*/ 110519 w 122262"/>
                    <a:gd name="connsiteY140" fmla="*/ 0 h 114691"/>
                    <a:gd name="connsiteX141" fmla="*/ 111611 w 122262"/>
                    <a:gd name="connsiteY141" fmla="*/ 2600 h 114691"/>
                    <a:gd name="connsiteX142" fmla="*/ 112695 w 122262"/>
                    <a:gd name="connsiteY142" fmla="*/ 4279 h 114691"/>
                    <a:gd name="connsiteX143" fmla="*/ 112882 w 122262"/>
                    <a:gd name="connsiteY143" fmla="*/ 5526 h 114691"/>
                    <a:gd name="connsiteX144" fmla="*/ 112662 w 122262"/>
                    <a:gd name="connsiteY144" fmla="*/ 6773 h 114691"/>
                    <a:gd name="connsiteX145" fmla="*/ 110836 w 122262"/>
                    <a:gd name="connsiteY145" fmla="*/ 9454 h 114691"/>
                    <a:gd name="connsiteX146" fmla="*/ 109182 w 122262"/>
                    <a:gd name="connsiteY146" fmla="*/ 10693 h 114691"/>
                    <a:gd name="connsiteX147" fmla="*/ 108277 w 122262"/>
                    <a:gd name="connsiteY147" fmla="*/ 12037 h 114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22262" h="114691">
                      <a:moveTo>
                        <a:pt x="107022" y="13317"/>
                      </a:moveTo>
                      <a:lnTo>
                        <a:pt x="105091" y="16846"/>
                      </a:lnTo>
                      <a:lnTo>
                        <a:pt x="109166" y="16764"/>
                      </a:lnTo>
                      <a:lnTo>
                        <a:pt x="113240" y="16699"/>
                      </a:lnTo>
                      <a:lnTo>
                        <a:pt x="117315" y="16626"/>
                      </a:lnTo>
                      <a:lnTo>
                        <a:pt x="121863" y="16552"/>
                      </a:lnTo>
                      <a:lnTo>
                        <a:pt x="121749" y="17163"/>
                      </a:lnTo>
                      <a:lnTo>
                        <a:pt x="122254" y="18467"/>
                      </a:lnTo>
                      <a:lnTo>
                        <a:pt x="122262" y="19217"/>
                      </a:lnTo>
                      <a:lnTo>
                        <a:pt x="121896" y="19682"/>
                      </a:lnTo>
                      <a:lnTo>
                        <a:pt x="121032" y="19959"/>
                      </a:lnTo>
                      <a:lnTo>
                        <a:pt x="120404" y="20285"/>
                      </a:lnTo>
                      <a:lnTo>
                        <a:pt x="120274" y="20831"/>
                      </a:lnTo>
                      <a:lnTo>
                        <a:pt x="120249" y="21083"/>
                      </a:lnTo>
                      <a:lnTo>
                        <a:pt x="120290" y="21719"/>
                      </a:lnTo>
                      <a:lnTo>
                        <a:pt x="120404" y="22290"/>
                      </a:lnTo>
                      <a:lnTo>
                        <a:pt x="120005" y="23023"/>
                      </a:lnTo>
                      <a:lnTo>
                        <a:pt x="117161" y="24857"/>
                      </a:lnTo>
                      <a:lnTo>
                        <a:pt x="115946" y="27212"/>
                      </a:lnTo>
                      <a:lnTo>
                        <a:pt x="116362" y="30097"/>
                      </a:lnTo>
                      <a:lnTo>
                        <a:pt x="115351" y="33023"/>
                      </a:lnTo>
                      <a:lnTo>
                        <a:pt x="112906" y="35965"/>
                      </a:lnTo>
                      <a:lnTo>
                        <a:pt x="111863" y="39257"/>
                      </a:lnTo>
                      <a:lnTo>
                        <a:pt x="112238" y="42900"/>
                      </a:lnTo>
                      <a:lnTo>
                        <a:pt x="111015" y="45850"/>
                      </a:lnTo>
                      <a:lnTo>
                        <a:pt x="108196" y="48083"/>
                      </a:lnTo>
                      <a:lnTo>
                        <a:pt x="107258" y="49461"/>
                      </a:lnTo>
                      <a:lnTo>
                        <a:pt x="107258" y="49575"/>
                      </a:lnTo>
                      <a:lnTo>
                        <a:pt x="107267" y="50594"/>
                      </a:lnTo>
                      <a:lnTo>
                        <a:pt x="107544" y="51409"/>
                      </a:lnTo>
                      <a:lnTo>
                        <a:pt x="106607" y="52924"/>
                      </a:lnTo>
                      <a:lnTo>
                        <a:pt x="104227" y="54489"/>
                      </a:lnTo>
                      <a:lnTo>
                        <a:pt x="102947" y="56013"/>
                      </a:lnTo>
                      <a:lnTo>
                        <a:pt x="102768" y="57505"/>
                      </a:lnTo>
                      <a:lnTo>
                        <a:pt x="102214" y="58222"/>
                      </a:lnTo>
                      <a:lnTo>
                        <a:pt x="101171" y="58548"/>
                      </a:lnTo>
                      <a:lnTo>
                        <a:pt x="100551" y="60756"/>
                      </a:lnTo>
                      <a:lnTo>
                        <a:pt x="100054" y="65923"/>
                      </a:lnTo>
                      <a:lnTo>
                        <a:pt x="98783" y="68865"/>
                      </a:lnTo>
                      <a:lnTo>
                        <a:pt x="96737" y="69599"/>
                      </a:lnTo>
                      <a:lnTo>
                        <a:pt x="95637" y="70748"/>
                      </a:lnTo>
                      <a:lnTo>
                        <a:pt x="95490" y="72337"/>
                      </a:lnTo>
                      <a:lnTo>
                        <a:pt x="94268" y="74163"/>
                      </a:lnTo>
                      <a:lnTo>
                        <a:pt x="91978" y="76249"/>
                      </a:lnTo>
                      <a:lnTo>
                        <a:pt x="91220" y="78221"/>
                      </a:lnTo>
                      <a:lnTo>
                        <a:pt x="92002" y="80096"/>
                      </a:lnTo>
                      <a:lnTo>
                        <a:pt x="91856" y="80845"/>
                      </a:lnTo>
                      <a:lnTo>
                        <a:pt x="91147" y="81457"/>
                      </a:lnTo>
                      <a:lnTo>
                        <a:pt x="88669" y="82337"/>
                      </a:lnTo>
                      <a:lnTo>
                        <a:pt x="88237" y="82785"/>
                      </a:lnTo>
                      <a:lnTo>
                        <a:pt x="88001" y="83274"/>
                      </a:lnTo>
                      <a:lnTo>
                        <a:pt x="88498" y="84228"/>
                      </a:lnTo>
                      <a:lnTo>
                        <a:pt x="88791" y="85662"/>
                      </a:lnTo>
                      <a:lnTo>
                        <a:pt x="88433" y="88074"/>
                      </a:lnTo>
                      <a:lnTo>
                        <a:pt x="87822" y="89085"/>
                      </a:lnTo>
                      <a:lnTo>
                        <a:pt x="87251" y="90038"/>
                      </a:lnTo>
                      <a:lnTo>
                        <a:pt x="85173" y="91742"/>
                      </a:lnTo>
                      <a:lnTo>
                        <a:pt x="84594" y="93037"/>
                      </a:lnTo>
                      <a:lnTo>
                        <a:pt x="85515" y="93966"/>
                      </a:lnTo>
                      <a:lnTo>
                        <a:pt x="85458" y="94969"/>
                      </a:lnTo>
                      <a:lnTo>
                        <a:pt x="84415" y="96053"/>
                      </a:lnTo>
                      <a:lnTo>
                        <a:pt x="84708" y="97243"/>
                      </a:lnTo>
                      <a:lnTo>
                        <a:pt x="84953" y="98049"/>
                      </a:lnTo>
                      <a:lnTo>
                        <a:pt x="85914" y="98767"/>
                      </a:lnTo>
                      <a:lnTo>
                        <a:pt x="86240" y="100788"/>
                      </a:lnTo>
                      <a:lnTo>
                        <a:pt x="85564" y="103363"/>
                      </a:lnTo>
                      <a:lnTo>
                        <a:pt x="85686" y="105490"/>
                      </a:lnTo>
                      <a:lnTo>
                        <a:pt x="86827" y="107234"/>
                      </a:lnTo>
                      <a:lnTo>
                        <a:pt x="87088" y="107984"/>
                      </a:lnTo>
                      <a:lnTo>
                        <a:pt x="85947" y="113762"/>
                      </a:lnTo>
                      <a:lnTo>
                        <a:pt x="86020" y="114569"/>
                      </a:lnTo>
                      <a:lnTo>
                        <a:pt x="81155" y="114585"/>
                      </a:lnTo>
                      <a:lnTo>
                        <a:pt x="76697" y="114593"/>
                      </a:lnTo>
                      <a:lnTo>
                        <a:pt x="72239" y="114610"/>
                      </a:lnTo>
                      <a:lnTo>
                        <a:pt x="67781" y="114610"/>
                      </a:lnTo>
                      <a:lnTo>
                        <a:pt x="63332" y="114618"/>
                      </a:lnTo>
                      <a:lnTo>
                        <a:pt x="58874" y="114626"/>
                      </a:lnTo>
                      <a:lnTo>
                        <a:pt x="54408" y="114634"/>
                      </a:lnTo>
                      <a:lnTo>
                        <a:pt x="49958" y="114642"/>
                      </a:lnTo>
                      <a:lnTo>
                        <a:pt x="45500" y="114642"/>
                      </a:lnTo>
                      <a:lnTo>
                        <a:pt x="41042" y="114651"/>
                      </a:lnTo>
                      <a:lnTo>
                        <a:pt x="36592" y="114659"/>
                      </a:lnTo>
                      <a:lnTo>
                        <a:pt x="32134" y="114667"/>
                      </a:lnTo>
                      <a:lnTo>
                        <a:pt x="27685" y="114675"/>
                      </a:lnTo>
                      <a:lnTo>
                        <a:pt x="23219" y="114683"/>
                      </a:lnTo>
                      <a:lnTo>
                        <a:pt x="18761" y="114691"/>
                      </a:lnTo>
                      <a:lnTo>
                        <a:pt x="14303" y="114691"/>
                      </a:lnTo>
                      <a:lnTo>
                        <a:pt x="14278" y="110274"/>
                      </a:lnTo>
                      <a:lnTo>
                        <a:pt x="14229" y="105857"/>
                      </a:lnTo>
                      <a:lnTo>
                        <a:pt x="14197" y="101432"/>
                      </a:lnTo>
                      <a:lnTo>
                        <a:pt x="14156" y="96998"/>
                      </a:lnTo>
                      <a:lnTo>
                        <a:pt x="12885" y="96257"/>
                      </a:lnTo>
                      <a:lnTo>
                        <a:pt x="10578" y="95874"/>
                      </a:lnTo>
                      <a:lnTo>
                        <a:pt x="9421" y="96126"/>
                      </a:lnTo>
                      <a:lnTo>
                        <a:pt x="8019" y="95922"/>
                      </a:lnTo>
                      <a:lnTo>
                        <a:pt x="7082" y="96656"/>
                      </a:lnTo>
                      <a:lnTo>
                        <a:pt x="6463" y="96786"/>
                      </a:lnTo>
                      <a:lnTo>
                        <a:pt x="5957" y="96623"/>
                      </a:lnTo>
                      <a:lnTo>
                        <a:pt x="5656" y="95988"/>
                      </a:lnTo>
                      <a:lnTo>
                        <a:pt x="4621" y="95523"/>
                      </a:lnTo>
                      <a:lnTo>
                        <a:pt x="3325" y="93926"/>
                      </a:lnTo>
                      <a:lnTo>
                        <a:pt x="3398" y="90381"/>
                      </a:lnTo>
                      <a:lnTo>
                        <a:pt x="3464" y="86827"/>
                      </a:lnTo>
                      <a:lnTo>
                        <a:pt x="3537" y="83274"/>
                      </a:lnTo>
                      <a:lnTo>
                        <a:pt x="3602" y="79713"/>
                      </a:lnTo>
                      <a:lnTo>
                        <a:pt x="3675" y="76151"/>
                      </a:lnTo>
                      <a:lnTo>
                        <a:pt x="3741" y="72590"/>
                      </a:lnTo>
                      <a:lnTo>
                        <a:pt x="3814" y="69028"/>
                      </a:lnTo>
                      <a:lnTo>
                        <a:pt x="3887" y="65459"/>
                      </a:lnTo>
                      <a:lnTo>
                        <a:pt x="3953" y="61889"/>
                      </a:lnTo>
                      <a:lnTo>
                        <a:pt x="4026" y="58320"/>
                      </a:lnTo>
                      <a:lnTo>
                        <a:pt x="4091" y="54742"/>
                      </a:lnTo>
                      <a:lnTo>
                        <a:pt x="4164" y="51164"/>
                      </a:lnTo>
                      <a:lnTo>
                        <a:pt x="4230" y="47595"/>
                      </a:lnTo>
                      <a:lnTo>
                        <a:pt x="4303" y="44017"/>
                      </a:lnTo>
                      <a:lnTo>
                        <a:pt x="4376" y="40431"/>
                      </a:lnTo>
                      <a:lnTo>
                        <a:pt x="4442" y="36845"/>
                      </a:lnTo>
                      <a:lnTo>
                        <a:pt x="3887" y="32248"/>
                      </a:lnTo>
                      <a:lnTo>
                        <a:pt x="3325" y="27652"/>
                      </a:lnTo>
                      <a:lnTo>
                        <a:pt x="2771" y="23056"/>
                      </a:lnTo>
                      <a:lnTo>
                        <a:pt x="2225" y="18451"/>
                      </a:lnTo>
                      <a:lnTo>
                        <a:pt x="1663" y="13846"/>
                      </a:lnTo>
                      <a:lnTo>
                        <a:pt x="1108" y="9234"/>
                      </a:lnTo>
                      <a:lnTo>
                        <a:pt x="554" y="4621"/>
                      </a:lnTo>
                      <a:lnTo>
                        <a:pt x="0" y="0"/>
                      </a:lnTo>
                      <a:lnTo>
                        <a:pt x="6903" y="0"/>
                      </a:lnTo>
                      <a:lnTo>
                        <a:pt x="13814" y="0"/>
                      </a:lnTo>
                      <a:lnTo>
                        <a:pt x="20717" y="0"/>
                      </a:lnTo>
                      <a:lnTo>
                        <a:pt x="27627" y="0"/>
                      </a:lnTo>
                      <a:lnTo>
                        <a:pt x="34530" y="0"/>
                      </a:lnTo>
                      <a:lnTo>
                        <a:pt x="41441" y="0"/>
                      </a:lnTo>
                      <a:lnTo>
                        <a:pt x="48352" y="0"/>
                      </a:lnTo>
                      <a:lnTo>
                        <a:pt x="55255" y="0"/>
                      </a:lnTo>
                      <a:lnTo>
                        <a:pt x="62166" y="0"/>
                      </a:lnTo>
                      <a:lnTo>
                        <a:pt x="69077" y="0"/>
                      </a:lnTo>
                      <a:lnTo>
                        <a:pt x="75980" y="0"/>
                      </a:lnTo>
                      <a:lnTo>
                        <a:pt x="82891" y="0"/>
                      </a:lnTo>
                      <a:lnTo>
                        <a:pt x="89802" y="0"/>
                      </a:lnTo>
                      <a:lnTo>
                        <a:pt x="96705" y="0"/>
                      </a:lnTo>
                      <a:lnTo>
                        <a:pt x="103607" y="0"/>
                      </a:lnTo>
                      <a:lnTo>
                        <a:pt x="110519" y="0"/>
                      </a:lnTo>
                      <a:lnTo>
                        <a:pt x="111611" y="2600"/>
                      </a:lnTo>
                      <a:lnTo>
                        <a:pt x="112695" y="4279"/>
                      </a:lnTo>
                      <a:lnTo>
                        <a:pt x="112882" y="5526"/>
                      </a:lnTo>
                      <a:lnTo>
                        <a:pt x="112662" y="6773"/>
                      </a:lnTo>
                      <a:lnTo>
                        <a:pt x="110836" y="9454"/>
                      </a:lnTo>
                      <a:lnTo>
                        <a:pt x="109182" y="10693"/>
                      </a:lnTo>
                      <a:lnTo>
                        <a:pt x="108277" y="12037"/>
                      </a:lnTo>
                      <a:close/>
                    </a:path>
                  </a:pathLst>
                </a:custGeom>
                <a:solidFill>
                  <a:srgbClr val="D6D6D2"/>
                </a:solidFill>
                <a:ln w="6112" cap="rnd">
                  <a:solidFill>
                    <a:srgbClr val="FFFFFF"/>
                  </a:solidFill>
                  <a:prstDash val="solid"/>
                  <a:round/>
                </a:ln>
              </p:spPr>
              <p:txBody>
                <a:bodyPr rtlCol="0" anchor="ctr"/>
                <a:lstStyle/>
                <a:p>
                  <a:endParaRPr lang="en-US"/>
                </a:p>
              </p:txBody>
            </p:sp>
            <p:sp>
              <p:nvSpPr>
                <p:cNvPr id="470" name="Freeform: Shape 469">
                  <a:extLst>
                    <a:ext uri="{FF2B5EF4-FFF2-40B4-BE49-F238E27FC236}">
                      <a16:creationId xmlns:a16="http://schemas.microsoft.com/office/drawing/2014/main" id="{5C6783C8-9C18-477C-B4CB-0934E1253659}"/>
                    </a:ext>
                  </a:extLst>
                </p:cNvPr>
                <p:cNvSpPr/>
                <p:nvPr/>
              </p:nvSpPr>
              <p:spPr>
                <a:xfrm>
                  <a:off x="3748982" y="3441976"/>
                  <a:ext cx="88424" cy="155855"/>
                </a:xfrm>
                <a:custGeom>
                  <a:avLst/>
                  <a:gdLst>
                    <a:gd name="connsiteX0" fmla="*/ 22811 w 88424"/>
                    <a:gd name="connsiteY0" fmla="*/ 137682 h 155855"/>
                    <a:gd name="connsiteX1" fmla="*/ 26397 w 88424"/>
                    <a:gd name="connsiteY1" fmla="*/ 141675 h 155855"/>
                    <a:gd name="connsiteX2" fmla="*/ 26731 w 88424"/>
                    <a:gd name="connsiteY2" fmla="*/ 142645 h 155855"/>
                    <a:gd name="connsiteX3" fmla="*/ 26104 w 88424"/>
                    <a:gd name="connsiteY3" fmla="*/ 145717 h 155855"/>
                    <a:gd name="connsiteX4" fmla="*/ 26210 w 88424"/>
                    <a:gd name="connsiteY4" fmla="*/ 147910 h 155855"/>
                    <a:gd name="connsiteX5" fmla="*/ 25835 w 88424"/>
                    <a:gd name="connsiteY5" fmla="*/ 149050 h 155855"/>
                    <a:gd name="connsiteX6" fmla="*/ 24963 w 88424"/>
                    <a:gd name="connsiteY6" fmla="*/ 150037 h 155855"/>
                    <a:gd name="connsiteX7" fmla="*/ 24726 w 88424"/>
                    <a:gd name="connsiteY7" fmla="*/ 151137 h 155855"/>
                    <a:gd name="connsiteX8" fmla="*/ 24140 w 88424"/>
                    <a:gd name="connsiteY8" fmla="*/ 151438 h 155855"/>
                    <a:gd name="connsiteX9" fmla="*/ 21434 w 88424"/>
                    <a:gd name="connsiteY9" fmla="*/ 154763 h 155855"/>
                    <a:gd name="connsiteX10" fmla="*/ 11923 w 88424"/>
                    <a:gd name="connsiteY10" fmla="*/ 155855 h 155855"/>
                    <a:gd name="connsiteX11" fmla="*/ 12437 w 88424"/>
                    <a:gd name="connsiteY11" fmla="*/ 155098 h 155855"/>
                    <a:gd name="connsiteX12" fmla="*/ 14450 w 88424"/>
                    <a:gd name="connsiteY12" fmla="*/ 154943 h 155855"/>
                    <a:gd name="connsiteX13" fmla="*/ 17269 w 88424"/>
                    <a:gd name="connsiteY13" fmla="*/ 153891 h 155855"/>
                    <a:gd name="connsiteX14" fmla="*/ 16699 w 88424"/>
                    <a:gd name="connsiteY14" fmla="*/ 152115 h 155855"/>
                    <a:gd name="connsiteX15" fmla="*/ 15615 w 88424"/>
                    <a:gd name="connsiteY15" fmla="*/ 150175 h 155855"/>
                    <a:gd name="connsiteX16" fmla="*/ 14604 w 88424"/>
                    <a:gd name="connsiteY16" fmla="*/ 149955 h 155855"/>
                    <a:gd name="connsiteX17" fmla="*/ 13944 w 88424"/>
                    <a:gd name="connsiteY17" fmla="*/ 148814 h 155855"/>
                    <a:gd name="connsiteX18" fmla="*/ 13977 w 88424"/>
                    <a:gd name="connsiteY18" fmla="*/ 145212 h 155855"/>
                    <a:gd name="connsiteX19" fmla="*/ 13333 w 88424"/>
                    <a:gd name="connsiteY19" fmla="*/ 143109 h 155855"/>
                    <a:gd name="connsiteX20" fmla="*/ 11785 w 88424"/>
                    <a:gd name="connsiteY20" fmla="*/ 140950 h 155855"/>
                    <a:gd name="connsiteX21" fmla="*/ 11263 w 88424"/>
                    <a:gd name="connsiteY21" fmla="*/ 141365 h 155855"/>
                    <a:gd name="connsiteX22" fmla="*/ 10122 w 88424"/>
                    <a:gd name="connsiteY22" fmla="*/ 145065 h 155855"/>
                    <a:gd name="connsiteX23" fmla="*/ 9168 w 88424"/>
                    <a:gd name="connsiteY23" fmla="*/ 149922 h 155855"/>
                    <a:gd name="connsiteX24" fmla="*/ 8704 w 88424"/>
                    <a:gd name="connsiteY24" fmla="*/ 151487 h 155855"/>
                    <a:gd name="connsiteX25" fmla="*/ 5884 w 88424"/>
                    <a:gd name="connsiteY25" fmla="*/ 151601 h 155855"/>
                    <a:gd name="connsiteX26" fmla="*/ 3382 w 88424"/>
                    <a:gd name="connsiteY26" fmla="*/ 151267 h 155855"/>
                    <a:gd name="connsiteX27" fmla="*/ 2152 w 88424"/>
                    <a:gd name="connsiteY27" fmla="*/ 151357 h 155855"/>
                    <a:gd name="connsiteX28" fmla="*/ 1826 w 88424"/>
                    <a:gd name="connsiteY28" fmla="*/ 144739 h 155855"/>
                    <a:gd name="connsiteX29" fmla="*/ 1565 w 88424"/>
                    <a:gd name="connsiteY29" fmla="*/ 138692 h 155855"/>
                    <a:gd name="connsiteX30" fmla="*/ 1304 w 88424"/>
                    <a:gd name="connsiteY30" fmla="*/ 132645 h 155855"/>
                    <a:gd name="connsiteX31" fmla="*/ 1043 w 88424"/>
                    <a:gd name="connsiteY31" fmla="*/ 126590 h 155855"/>
                    <a:gd name="connsiteX32" fmla="*/ 782 w 88424"/>
                    <a:gd name="connsiteY32" fmla="*/ 120526 h 155855"/>
                    <a:gd name="connsiteX33" fmla="*/ 522 w 88424"/>
                    <a:gd name="connsiteY33" fmla="*/ 114463 h 155855"/>
                    <a:gd name="connsiteX34" fmla="*/ 261 w 88424"/>
                    <a:gd name="connsiteY34" fmla="*/ 108391 h 155855"/>
                    <a:gd name="connsiteX35" fmla="*/ 0 w 88424"/>
                    <a:gd name="connsiteY35" fmla="*/ 102312 h 155855"/>
                    <a:gd name="connsiteX36" fmla="*/ 611 w 88424"/>
                    <a:gd name="connsiteY36" fmla="*/ 96330 h 155855"/>
                    <a:gd name="connsiteX37" fmla="*/ 1222 w 88424"/>
                    <a:gd name="connsiteY37" fmla="*/ 90340 h 155855"/>
                    <a:gd name="connsiteX38" fmla="*/ 1826 w 88424"/>
                    <a:gd name="connsiteY38" fmla="*/ 84350 h 155855"/>
                    <a:gd name="connsiteX39" fmla="*/ 2437 w 88424"/>
                    <a:gd name="connsiteY39" fmla="*/ 78343 h 155855"/>
                    <a:gd name="connsiteX40" fmla="*/ 3040 w 88424"/>
                    <a:gd name="connsiteY40" fmla="*/ 72345 h 155855"/>
                    <a:gd name="connsiteX41" fmla="*/ 3643 w 88424"/>
                    <a:gd name="connsiteY41" fmla="*/ 66331 h 155855"/>
                    <a:gd name="connsiteX42" fmla="*/ 4246 w 88424"/>
                    <a:gd name="connsiteY42" fmla="*/ 60308 h 155855"/>
                    <a:gd name="connsiteX43" fmla="*/ 4857 w 88424"/>
                    <a:gd name="connsiteY43" fmla="*/ 54285 h 155855"/>
                    <a:gd name="connsiteX44" fmla="*/ 5460 w 88424"/>
                    <a:gd name="connsiteY44" fmla="*/ 48255 h 155855"/>
                    <a:gd name="connsiteX45" fmla="*/ 6063 w 88424"/>
                    <a:gd name="connsiteY45" fmla="*/ 42216 h 155855"/>
                    <a:gd name="connsiteX46" fmla="*/ 6675 w 88424"/>
                    <a:gd name="connsiteY46" fmla="*/ 36177 h 155855"/>
                    <a:gd name="connsiteX47" fmla="*/ 7278 w 88424"/>
                    <a:gd name="connsiteY47" fmla="*/ 30130 h 155855"/>
                    <a:gd name="connsiteX48" fmla="*/ 7881 w 88424"/>
                    <a:gd name="connsiteY48" fmla="*/ 24074 h 155855"/>
                    <a:gd name="connsiteX49" fmla="*/ 8492 w 88424"/>
                    <a:gd name="connsiteY49" fmla="*/ 18011 h 155855"/>
                    <a:gd name="connsiteX50" fmla="*/ 9095 w 88424"/>
                    <a:gd name="connsiteY50" fmla="*/ 11948 h 155855"/>
                    <a:gd name="connsiteX51" fmla="*/ 9698 w 88424"/>
                    <a:gd name="connsiteY51" fmla="*/ 5876 h 155855"/>
                    <a:gd name="connsiteX52" fmla="*/ 9853 w 88424"/>
                    <a:gd name="connsiteY52" fmla="*/ 4344 h 155855"/>
                    <a:gd name="connsiteX53" fmla="*/ 9886 w 88424"/>
                    <a:gd name="connsiteY53" fmla="*/ 3814 h 155855"/>
                    <a:gd name="connsiteX54" fmla="*/ 9967 w 88424"/>
                    <a:gd name="connsiteY54" fmla="*/ 3032 h 155855"/>
                    <a:gd name="connsiteX55" fmla="*/ 7767 w 88424"/>
                    <a:gd name="connsiteY55" fmla="*/ 856 h 155855"/>
                    <a:gd name="connsiteX56" fmla="*/ 7335 w 88424"/>
                    <a:gd name="connsiteY56" fmla="*/ 432 h 155855"/>
                    <a:gd name="connsiteX57" fmla="*/ 7025 w 88424"/>
                    <a:gd name="connsiteY57" fmla="*/ 24 h 155855"/>
                    <a:gd name="connsiteX58" fmla="*/ 7343 w 88424"/>
                    <a:gd name="connsiteY58" fmla="*/ 0 h 155855"/>
                    <a:gd name="connsiteX59" fmla="*/ 11320 w 88424"/>
                    <a:gd name="connsiteY59" fmla="*/ 49 h 155855"/>
                    <a:gd name="connsiteX60" fmla="*/ 15297 w 88424"/>
                    <a:gd name="connsiteY60" fmla="*/ 98 h 155855"/>
                    <a:gd name="connsiteX61" fmla="*/ 19274 w 88424"/>
                    <a:gd name="connsiteY61" fmla="*/ 147 h 155855"/>
                    <a:gd name="connsiteX62" fmla="*/ 23251 w 88424"/>
                    <a:gd name="connsiteY62" fmla="*/ 196 h 155855"/>
                    <a:gd name="connsiteX63" fmla="*/ 27228 w 88424"/>
                    <a:gd name="connsiteY63" fmla="*/ 244 h 155855"/>
                    <a:gd name="connsiteX64" fmla="*/ 31213 w 88424"/>
                    <a:gd name="connsiteY64" fmla="*/ 293 h 155855"/>
                    <a:gd name="connsiteX65" fmla="*/ 35190 w 88424"/>
                    <a:gd name="connsiteY65" fmla="*/ 342 h 155855"/>
                    <a:gd name="connsiteX66" fmla="*/ 39168 w 88424"/>
                    <a:gd name="connsiteY66" fmla="*/ 399 h 155855"/>
                    <a:gd name="connsiteX67" fmla="*/ 43145 w 88424"/>
                    <a:gd name="connsiteY67" fmla="*/ 448 h 155855"/>
                    <a:gd name="connsiteX68" fmla="*/ 47122 w 88424"/>
                    <a:gd name="connsiteY68" fmla="*/ 497 h 155855"/>
                    <a:gd name="connsiteX69" fmla="*/ 51107 w 88424"/>
                    <a:gd name="connsiteY69" fmla="*/ 546 h 155855"/>
                    <a:gd name="connsiteX70" fmla="*/ 55084 w 88424"/>
                    <a:gd name="connsiteY70" fmla="*/ 595 h 155855"/>
                    <a:gd name="connsiteX71" fmla="*/ 59061 w 88424"/>
                    <a:gd name="connsiteY71" fmla="*/ 644 h 155855"/>
                    <a:gd name="connsiteX72" fmla="*/ 63038 w 88424"/>
                    <a:gd name="connsiteY72" fmla="*/ 693 h 155855"/>
                    <a:gd name="connsiteX73" fmla="*/ 67015 w 88424"/>
                    <a:gd name="connsiteY73" fmla="*/ 742 h 155855"/>
                    <a:gd name="connsiteX74" fmla="*/ 70992 w 88424"/>
                    <a:gd name="connsiteY74" fmla="*/ 791 h 155855"/>
                    <a:gd name="connsiteX75" fmla="*/ 71652 w 88424"/>
                    <a:gd name="connsiteY75" fmla="*/ 4996 h 155855"/>
                    <a:gd name="connsiteX76" fmla="*/ 72305 w 88424"/>
                    <a:gd name="connsiteY76" fmla="*/ 9201 h 155855"/>
                    <a:gd name="connsiteX77" fmla="*/ 72965 w 88424"/>
                    <a:gd name="connsiteY77" fmla="*/ 13398 h 155855"/>
                    <a:gd name="connsiteX78" fmla="*/ 73616 w 88424"/>
                    <a:gd name="connsiteY78" fmla="*/ 17595 h 155855"/>
                    <a:gd name="connsiteX79" fmla="*/ 74269 w 88424"/>
                    <a:gd name="connsiteY79" fmla="*/ 21784 h 155855"/>
                    <a:gd name="connsiteX80" fmla="*/ 74929 w 88424"/>
                    <a:gd name="connsiteY80" fmla="*/ 25973 h 155855"/>
                    <a:gd name="connsiteX81" fmla="*/ 75589 w 88424"/>
                    <a:gd name="connsiteY81" fmla="*/ 30162 h 155855"/>
                    <a:gd name="connsiteX82" fmla="*/ 76249 w 88424"/>
                    <a:gd name="connsiteY82" fmla="*/ 34351 h 155855"/>
                    <a:gd name="connsiteX83" fmla="*/ 76901 w 88424"/>
                    <a:gd name="connsiteY83" fmla="*/ 38532 h 155855"/>
                    <a:gd name="connsiteX84" fmla="*/ 77561 w 88424"/>
                    <a:gd name="connsiteY84" fmla="*/ 42713 h 155855"/>
                    <a:gd name="connsiteX85" fmla="*/ 78221 w 88424"/>
                    <a:gd name="connsiteY85" fmla="*/ 46885 h 155855"/>
                    <a:gd name="connsiteX86" fmla="*/ 78881 w 88424"/>
                    <a:gd name="connsiteY86" fmla="*/ 51058 h 155855"/>
                    <a:gd name="connsiteX87" fmla="*/ 79533 w 88424"/>
                    <a:gd name="connsiteY87" fmla="*/ 55231 h 155855"/>
                    <a:gd name="connsiteX88" fmla="*/ 80193 w 88424"/>
                    <a:gd name="connsiteY88" fmla="*/ 59395 h 155855"/>
                    <a:gd name="connsiteX89" fmla="*/ 80853 w 88424"/>
                    <a:gd name="connsiteY89" fmla="*/ 63568 h 155855"/>
                    <a:gd name="connsiteX90" fmla="*/ 81506 w 88424"/>
                    <a:gd name="connsiteY90" fmla="*/ 67732 h 155855"/>
                    <a:gd name="connsiteX91" fmla="*/ 82117 w 88424"/>
                    <a:gd name="connsiteY91" fmla="*/ 69615 h 155855"/>
                    <a:gd name="connsiteX92" fmla="*/ 82606 w 88424"/>
                    <a:gd name="connsiteY92" fmla="*/ 72671 h 155855"/>
                    <a:gd name="connsiteX93" fmla="*/ 86110 w 88424"/>
                    <a:gd name="connsiteY93" fmla="*/ 81717 h 155855"/>
                    <a:gd name="connsiteX94" fmla="*/ 87137 w 88424"/>
                    <a:gd name="connsiteY94" fmla="*/ 85507 h 155855"/>
                    <a:gd name="connsiteX95" fmla="*/ 86827 w 88424"/>
                    <a:gd name="connsiteY95" fmla="*/ 87072 h 155855"/>
                    <a:gd name="connsiteX96" fmla="*/ 87259 w 88424"/>
                    <a:gd name="connsiteY96" fmla="*/ 88416 h 155855"/>
                    <a:gd name="connsiteX97" fmla="*/ 88425 w 88424"/>
                    <a:gd name="connsiteY97" fmla="*/ 89517 h 155855"/>
                    <a:gd name="connsiteX98" fmla="*/ 88229 w 88424"/>
                    <a:gd name="connsiteY98" fmla="*/ 90796 h 155855"/>
                    <a:gd name="connsiteX99" fmla="*/ 86656 w 88424"/>
                    <a:gd name="connsiteY99" fmla="*/ 92247 h 155855"/>
                    <a:gd name="connsiteX100" fmla="*/ 85629 w 88424"/>
                    <a:gd name="connsiteY100" fmla="*/ 94015 h 155855"/>
                    <a:gd name="connsiteX101" fmla="*/ 84887 w 88424"/>
                    <a:gd name="connsiteY101" fmla="*/ 97137 h 155855"/>
                    <a:gd name="connsiteX102" fmla="*/ 84887 w 88424"/>
                    <a:gd name="connsiteY102" fmla="*/ 97161 h 155855"/>
                    <a:gd name="connsiteX103" fmla="*/ 83404 w 88424"/>
                    <a:gd name="connsiteY103" fmla="*/ 102670 h 155855"/>
                    <a:gd name="connsiteX104" fmla="*/ 83388 w 88424"/>
                    <a:gd name="connsiteY104" fmla="*/ 106028 h 155855"/>
                    <a:gd name="connsiteX105" fmla="*/ 84814 w 88424"/>
                    <a:gd name="connsiteY105" fmla="*/ 110600 h 155855"/>
                    <a:gd name="connsiteX106" fmla="*/ 84814 w 88424"/>
                    <a:gd name="connsiteY106" fmla="*/ 110608 h 155855"/>
                    <a:gd name="connsiteX107" fmla="*/ 85116 w 88424"/>
                    <a:gd name="connsiteY107" fmla="*/ 112629 h 155855"/>
                    <a:gd name="connsiteX108" fmla="*/ 84179 w 88424"/>
                    <a:gd name="connsiteY108" fmla="*/ 121578 h 155855"/>
                    <a:gd name="connsiteX109" fmla="*/ 84806 w 88424"/>
                    <a:gd name="connsiteY109" fmla="*/ 127331 h 155855"/>
                    <a:gd name="connsiteX110" fmla="*/ 86297 w 88424"/>
                    <a:gd name="connsiteY110" fmla="*/ 131064 h 155855"/>
                    <a:gd name="connsiteX111" fmla="*/ 78294 w 88424"/>
                    <a:gd name="connsiteY111" fmla="*/ 131088 h 155855"/>
                    <a:gd name="connsiteX112" fmla="*/ 70275 w 88424"/>
                    <a:gd name="connsiteY112" fmla="*/ 131088 h 155855"/>
                    <a:gd name="connsiteX113" fmla="*/ 62256 w 88424"/>
                    <a:gd name="connsiteY113" fmla="*/ 131088 h 155855"/>
                    <a:gd name="connsiteX114" fmla="*/ 54236 w 88424"/>
                    <a:gd name="connsiteY114" fmla="*/ 131088 h 155855"/>
                    <a:gd name="connsiteX115" fmla="*/ 46217 w 88424"/>
                    <a:gd name="connsiteY115" fmla="*/ 131088 h 155855"/>
                    <a:gd name="connsiteX116" fmla="*/ 38198 w 88424"/>
                    <a:gd name="connsiteY116" fmla="*/ 131088 h 155855"/>
                    <a:gd name="connsiteX117" fmla="*/ 30178 w 88424"/>
                    <a:gd name="connsiteY117" fmla="*/ 131088 h 155855"/>
                    <a:gd name="connsiteX118" fmla="*/ 22159 w 88424"/>
                    <a:gd name="connsiteY118" fmla="*/ 131088 h 155855"/>
                    <a:gd name="connsiteX119" fmla="*/ 21817 w 88424"/>
                    <a:gd name="connsiteY119" fmla="*/ 133387 h 155855"/>
                    <a:gd name="connsiteX120" fmla="*/ 21972 w 88424"/>
                    <a:gd name="connsiteY120" fmla="*/ 135603 h 155855"/>
                    <a:gd name="connsiteX121" fmla="*/ 22811 w 88424"/>
                    <a:gd name="connsiteY121" fmla="*/ 137682 h 155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88424" h="155855">
                      <a:moveTo>
                        <a:pt x="22811" y="137682"/>
                      </a:moveTo>
                      <a:lnTo>
                        <a:pt x="26397" y="141675"/>
                      </a:lnTo>
                      <a:lnTo>
                        <a:pt x="26731" y="142645"/>
                      </a:lnTo>
                      <a:lnTo>
                        <a:pt x="26104" y="145717"/>
                      </a:lnTo>
                      <a:lnTo>
                        <a:pt x="26210" y="147910"/>
                      </a:lnTo>
                      <a:lnTo>
                        <a:pt x="25835" y="149050"/>
                      </a:lnTo>
                      <a:lnTo>
                        <a:pt x="24963" y="150037"/>
                      </a:lnTo>
                      <a:lnTo>
                        <a:pt x="24726" y="151137"/>
                      </a:lnTo>
                      <a:lnTo>
                        <a:pt x="24140" y="151438"/>
                      </a:lnTo>
                      <a:lnTo>
                        <a:pt x="21434" y="154763"/>
                      </a:lnTo>
                      <a:lnTo>
                        <a:pt x="11923" y="155855"/>
                      </a:lnTo>
                      <a:lnTo>
                        <a:pt x="12437" y="155098"/>
                      </a:lnTo>
                      <a:lnTo>
                        <a:pt x="14450" y="154943"/>
                      </a:lnTo>
                      <a:lnTo>
                        <a:pt x="17269" y="153891"/>
                      </a:lnTo>
                      <a:lnTo>
                        <a:pt x="16699" y="152115"/>
                      </a:lnTo>
                      <a:lnTo>
                        <a:pt x="15615" y="150175"/>
                      </a:lnTo>
                      <a:lnTo>
                        <a:pt x="14604" y="149955"/>
                      </a:lnTo>
                      <a:lnTo>
                        <a:pt x="13944" y="148814"/>
                      </a:lnTo>
                      <a:lnTo>
                        <a:pt x="13977" y="145212"/>
                      </a:lnTo>
                      <a:lnTo>
                        <a:pt x="13333" y="143109"/>
                      </a:lnTo>
                      <a:lnTo>
                        <a:pt x="11785" y="140950"/>
                      </a:lnTo>
                      <a:lnTo>
                        <a:pt x="11263" y="141365"/>
                      </a:lnTo>
                      <a:lnTo>
                        <a:pt x="10122" y="145065"/>
                      </a:lnTo>
                      <a:lnTo>
                        <a:pt x="9168" y="149922"/>
                      </a:lnTo>
                      <a:lnTo>
                        <a:pt x="8704" y="151487"/>
                      </a:lnTo>
                      <a:lnTo>
                        <a:pt x="5884" y="151601"/>
                      </a:lnTo>
                      <a:lnTo>
                        <a:pt x="3382" y="151267"/>
                      </a:lnTo>
                      <a:lnTo>
                        <a:pt x="2152" y="151357"/>
                      </a:lnTo>
                      <a:lnTo>
                        <a:pt x="1826" y="144739"/>
                      </a:lnTo>
                      <a:lnTo>
                        <a:pt x="1565" y="138692"/>
                      </a:lnTo>
                      <a:lnTo>
                        <a:pt x="1304" y="132645"/>
                      </a:lnTo>
                      <a:lnTo>
                        <a:pt x="1043" y="126590"/>
                      </a:lnTo>
                      <a:lnTo>
                        <a:pt x="782" y="120526"/>
                      </a:lnTo>
                      <a:lnTo>
                        <a:pt x="522" y="114463"/>
                      </a:lnTo>
                      <a:lnTo>
                        <a:pt x="261" y="108391"/>
                      </a:lnTo>
                      <a:lnTo>
                        <a:pt x="0" y="102312"/>
                      </a:lnTo>
                      <a:lnTo>
                        <a:pt x="611" y="96330"/>
                      </a:lnTo>
                      <a:lnTo>
                        <a:pt x="1222" y="90340"/>
                      </a:lnTo>
                      <a:lnTo>
                        <a:pt x="1826" y="84350"/>
                      </a:lnTo>
                      <a:lnTo>
                        <a:pt x="2437" y="78343"/>
                      </a:lnTo>
                      <a:lnTo>
                        <a:pt x="3040" y="72345"/>
                      </a:lnTo>
                      <a:lnTo>
                        <a:pt x="3643" y="66331"/>
                      </a:lnTo>
                      <a:lnTo>
                        <a:pt x="4246" y="60308"/>
                      </a:lnTo>
                      <a:lnTo>
                        <a:pt x="4857" y="54285"/>
                      </a:lnTo>
                      <a:lnTo>
                        <a:pt x="5460" y="48255"/>
                      </a:lnTo>
                      <a:lnTo>
                        <a:pt x="6063" y="42216"/>
                      </a:lnTo>
                      <a:lnTo>
                        <a:pt x="6675" y="36177"/>
                      </a:lnTo>
                      <a:lnTo>
                        <a:pt x="7278" y="30130"/>
                      </a:lnTo>
                      <a:lnTo>
                        <a:pt x="7881" y="24074"/>
                      </a:lnTo>
                      <a:lnTo>
                        <a:pt x="8492" y="18011"/>
                      </a:lnTo>
                      <a:lnTo>
                        <a:pt x="9095" y="11948"/>
                      </a:lnTo>
                      <a:lnTo>
                        <a:pt x="9698" y="5876"/>
                      </a:lnTo>
                      <a:lnTo>
                        <a:pt x="9853" y="4344"/>
                      </a:lnTo>
                      <a:lnTo>
                        <a:pt x="9886" y="3814"/>
                      </a:lnTo>
                      <a:lnTo>
                        <a:pt x="9967" y="3032"/>
                      </a:lnTo>
                      <a:lnTo>
                        <a:pt x="7767" y="856"/>
                      </a:lnTo>
                      <a:lnTo>
                        <a:pt x="7335" y="432"/>
                      </a:lnTo>
                      <a:lnTo>
                        <a:pt x="7025" y="24"/>
                      </a:lnTo>
                      <a:lnTo>
                        <a:pt x="7343" y="0"/>
                      </a:lnTo>
                      <a:lnTo>
                        <a:pt x="11320" y="49"/>
                      </a:lnTo>
                      <a:lnTo>
                        <a:pt x="15297" y="98"/>
                      </a:lnTo>
                      <a:lnTo>
                        <a:pt x="19274" y="147"/>
                      </a:lnTo>
                      <a:lnTo>
                        <a:pt x="23251" y="196"/>
                      </a:lnTo>
                      <a:lnTo>
                        <a:pt x="27228" y="244"/>
                      </a:lnTo>
                      <a:lnTo>
                        <a:pt x="31213" y="293"/>
                      </a:lnTo>
                      <a:lnTo>
                        <a:pt x="35190" y="342"/>
                      </a:lnTo>
                      <a:lnTo>
                        <a:pt x="39168" y="399"/>
                      </a:lnTo>
                      <a:lnTo>
                        <a:pt x="43145" y="448"/>
                      </a:lnTo>
                      <a:lnTo>
                        <a:pt x="47122" y="497"/>
                      </a:lnTo>
                      <a:lnTo>
                        <a:pt x="51107" y="546"/>
                      </a:lnTo>
                      <a:lnTo>
                        <a:pt x="55084" y="595"/>
                      </a:lnTo>
                      <a:lnTo>
                        <a:pt x="59061" y="644"/>
                      </a:lnTo>
                      <a:lnTo>
                        <a:pt x="63038" y="693"/>
                      </a:lnTo>
                      <a:lnTo>
                        <a:pt x="67015" y="742"/>
                      </a:lnTo>
                      <a:lnTo>
                        <a:pt x="70992" y="791"/>
                      </a:lnTo>
                      <a:lnTo>
                        <a:pt x="71652" y="4996"/>
                      </a:lnTo>
                      <a:lnTo>
                        <a:pt x="72305" y="9201"/>
                      </a:lnTo>
                      <a:lnTo>
                        <a:pt x="72965" y="13398"/>
                      </a:lnTo>
                      <a:lnTo>
                        <a:pt x="73616" y="17595"/>
                      </a:lnTo>
                      <a:lnTo>
                        <a:pt x="74269" y="21784"/>
                      </a:lnTo>
                      <a:lnTo>
                        <a:pt x="74929" y="25973"/>
                      </a:lnTo>
                      <a:lnTo>
                        <a:pt x="75589" y="30162"/>
                      </a:lnTo>
                      <a:lnTo>
                        <a:pt x="76249" y="34351"/>
                      </a:lnTo>
                      <a:lnTo>
                        <a:pt x="76901" y="38532"/>
                      </a:lnTo>
                      <a:lnTo>
                        <a:pt x="77561" y="42713"/>
                      </a:lnTo>
                      <a:lnTo>
                        <a:pt x="78221" y="46885"/>
                      </a:lnTo>
                      <a:lnTo>
                        <a:pt x="78881" y="51058"/>
                      </a:lnTo>
                      <a:lnTo>
                        <a:pt x="79533" y="55231"/>
                      </a:lnTo>
                      <a:lnTo>
                        <a:pt x="80193" y="59395"/>
                      </a:lnTo>
                      <a:lnTo>
                        <a:pt x="80853" y="63568"/>
                      </a:lnTo>
                      <a:lnTo>
                        <a:pt x="81506" y="67732"/>
                      </a:lnTo>
                      <a:lnTo>
                        <a:pt x="82117" y="69615"/>
                      </a:lnTo>
                      <a:lnTo>
                        <a:pt x="82606" y="72671"/>
                      </a:lnTo>
                      <a:lnTo>
                        <a:pt x="86110" y="81717"/>
                      </a:lnTo>
                      <a:lnTo>
                        <a:pt x="87137" y="85507"/>
                      </a:lnTo>
                      <a:lnTo>
                        <a:pt x="86827" y="87072"/>
                      </a:lnTo>
                      <a:lnTo>
                        <a:pt x="87259" y="88416"/>
                      </a:lnTo>
                      <a:lnTo>
                        <a:pt x="88425" y="89517"/>
                      </a:lnTo>
                      <a:lnTo>
                        <a:pt x="88229" y="90796"/>
                      </a:lnTo>
                      <a:lnTo>
                        <a:pt x="86656" y="92247"/>
                      </a:lnTo>
                      <a:lnTo>
                        <a:pt x="85629" y="94015"/>
                      </a:lnTo>
                      <a:lnTo>
                        <a:pt x="84887" y="97137"/>
                      </a:lnTo>
                      <a:lnTo>
                        <a:pt x="84887" y="97161"/>
                      </a:lnTo>
                      <a:lnTo>
                        <a:pt x="83404" y="102670"/>
                      </a:lnTo>
                      <a:lnTo>
                        <a:pt x="83388" y="106028"/>
                      </a:lnTo>
                      <a:lnTo>
                        <a:pt x="84814" y="110600"/>
                      </a:lnTo>
                      <a:lnTo>
                        <a:pt x="84814" y="110608"/>
                      </a:lnTo>
                      <a:lnTo>
                        <a:pt x="85116" y="112629"/>
                      </a:lnTo>
                      <a:lnTo>
                        <a:pt x="84179" y="121578"/>
                      </a:lnTo>
                      <a:lnTo>
                        <a:pt x="84806" y="127331"/>
                      </a:lnTo>
                      <a:lnTo>
                        <a:pt x="86297" y="131064"/>
                      </a:lnTo>
                      <a:lnTo>
                        <a:pt x="78294" y="131088"/>
                      </a:lnTo>
                      <a:lnTo>
                        <a:pt x="70275" y="131088"/>
                      </a:lnTo>
                      <a:lnTo>
                        <a:pt x="62256" y="131088"/>
                      </a:lnTo>
                      <a:lnTo>
                        <a:pt x="54236" y="131088"/>
                      </a:lnTo>
                      <a:lnTo>
                        <a:pt x="46217" y="131088"/>
                      </a:lnTo>
                      <a:lnTo>
                        <a:pt x="38198" y="131088"/>
                      </a:lnTo>
                      <a:lnTo>
                        <a:pt x="30178" y="131088"/>
                      </a:lnTo>
                      <a:lnTo>
                        <a:pt x="22159" y="131088"/>
                      </a:lnTo>
                      <a:lnTo>
                        <a:pt x="21817" y="133387"/>
                      </a:lnTo>
                      <a:lnTo>
                        <a:pt x="21972" y="135603"/>
                      </a:lnTo>
                      <a:lnTo>
                        <a:pt x="22811" y="137682"/>
                      </a:lnTo>
                      <a:close/>
                    </a:path>
                  </a:pathLst>
                </a:custGeom>
                <a:solidFill>
                  <a:srgbClr val="D6D6D2"/>
                </a:solidFill>
                <a:ln w="6112" cap="rnd">
                  <a:solidFill>
                    <a:srgbClr val="FFFFFF"/>
                  </a:solidFill>
                  <a:prstDash val="solid"/>
                  <a:round/>
                </a:ln>
              </p:spPr>
              <p:txBody>
                <a:bodyPr rtlCol="0" anchor="ctr"/>
                <a:lstStyle/>
                <a:p>
                  <a:endParaRPr lang="en-US"/>
                </a:p>
              </p:txBody>
            </p:sp>
            <p:sp>
              <p:nvSpPr>
                <p:cNvPr id="471" name="Freeform: Shape 470">
                  <a:extLst>
                    <a:ext uri="{FF2B5EF4-FFF2-40B4-BE49-F238E27FC236}">
                      <a16:creationId xmlns:a16="http://schemas.microsoft.com/office/drawing/2014/main" id="{D2915E6A-635D-4298-9ED0-D5928F75414E}"/>
                    </a:ext>
                  </a:extLst>
                </p:cNvPr>
                <p:cNvSpPr/>
                <p:nvPr/>
              </p:nvSpPr>
              <p:spPr>
                <a:xfrm>
                  <a:off x="1595905" y="2058893"/>
                  <a:ext cx="1123106" cy="792545"/>
                </a:xfrm>
                <a:custGeom>
                  <a:avLst/>
                  <a:gdLst>
                    <a:gd name="connsiteX0" fmla="*/ 479221 w 1123106"/>
                    <a:gd name="connsiteY0" fmla="*/ 25615 h 792545"/>
                    <a:gd name="connsiteX1" fmla="*/ 481739 w 1123106"/>
                    <a:gd name="connsiteY1" fmla="*/ 25949 h 792545"/>
                    <a:gd name="connsiteX2" fmla="*/ 485814 w 1123106"/>
                    <a:gd name="connsiteY2" fmla="*/ 24922 h 792545"/>
                    <a:gd name="connsiteX3" fmla="*/ 489008 w 1123106"/>
                    <a:gd name="connsiteY3" fmla="*/ 23251 h 792545"/>
                    <a:gd name="connsiteX4" fmla="*/ 495610 w 1123106"/>
                    <a:gd name="connsiteY4" fmla="*/ 17799 h 792545"/>
                    <a:gd name="connsiteX5" fmla="*/ 497680 w 1123106"/>
                    <a:gd name="connsiteY5" fmla="*/ 14759 h 792545"/>
                    <a:gd name="connsiteX6" fmla="*/ 499236 w 1123106"/>
                    <a:gd name="connsiteY6" fmla="*/ 13993 h 792545"/>
                    <a:gd name="connsiteX7" fmla="*/ 504770 w 1123106"/>
                    <a:gd name="connsiteY7" fmla="*/ 14727 h 792545"/>
                    <a:gd name="connsiteX8" fmla="*/ 507908 w 1123106"/>
                    <a:gd name="connsiteY8" fmla="*/ 16291 h 792545"/>
                    <a:gd name="connsiteX9" fmla="*/ 511477 w 1123106"/>
                    <a:gd name="connsiteY9" fmla="*/ 19062 h 792545"/>
                    <a:gd name="connsiteX10" fmla="*/ 510173 w 1123106"/>
                    <a:gd name="connsiteY10" fmla="*/ 21743 h 792545"/>
                    <a:gd name="connsiteX11" fmla="*/ 508706 w 1123106"/>
                    <a:gd name="connsiteY11" fmla="*/ 23251 h 792545"/>
                    <a:gd name="connsiteX12" fmla="*/ 513335 w 1123106"/>
                    <a:gd name="connsiteY12" fmla="*/ 25337 h 792545"/>
                    <a:gd name="connsiteX13" fmla="*/ 518453 w 1123106"/>
                    <a:gd name="connsiteY13" fmla="*/ 25778 h 792545"/>
                    <a:gd name="connsiteX14" fmla="*/ 523343 w 1123106"/>
                    <a:gd name="connsiteY14" fmla="*/ 27456 h 792545"/>
                    <a:gd name="connsiteX15" fmla="*/ 530214 w 1123106"/>
                    <a:gd name="connsiteY15" fmla="*/ 24025 h 792545"/>
                    <a:gd name="connsiteX16" fmla="*/ 535592 w 1123106"/>
                    <a:gd name="connsiteY16" fmla="*/ 23292 h 792545"/>
                    <a:gd name="connsiteX17" fmla="*/ 540645 w 1123106"/>
                    <a:gd name="connsiteY17" fmla="*/ 23406 h 792545"/>
                    <a:gd name="connsiteX18" fmla="*/ 547214 w 1123106"/>
                    <a:gd name="connsiteY18" fmla="*/ 21532 h 792545"/>
                    <a:gd name="connsiteX19" fmla="*/ 558322 w 1123106"/>
                    <a:gd name="connsiteY19" fmla="*/ 24082 h 792545"/>
                    <a:gd name="connsiteX20" fmla="*/ 561158 w 1123106"/>
                    <a:gd name="connsiteY20" fmla="*/ 23414 h 792545"/>
                    <a:gd name="connsiteX21" fmla="*/ 565608 w 1123106"/>
                    <a:gd name="connsiteY21" fmla="*/ 23854 h 792545"/>
                    <a:gd name="connsiteX22" fmla="*/ 570343 w 1123106"/>
                    <a:gd name="connsiteY22" fmla="*/ 25395 h 792545"/>
                    <a:gd name="connsiteX23" fmla="*/ 572013 w 1123106"/>
                    <a:gd name="connsiteY23" fmla="*/ 27041 h 792545"/>
                    <a:gd name="connsiteX24" fmla="*/ 566952 w 1123106"/>
                    <a:gd name="connsiteY24" fmla="*/ 30513 h 792545"/>
                    <a:gd name="connsiteX25" fmla="*/ 566121 w 1123106"/>
                    <a:gd name="connsiteY25" fmla="*/ 34090 h 792545"/>
                    <a:gd name="connsiteX26" fmla="*/ 567890 w 1123106"/>
                    <a:gd name="connsiteY26" fmla="*/ 35590 h 792545"/>
                    <a:gd name="connsiteX27" fmla="*/ 571109 w 1123106"/>
                    <a:gd name="connsiteY27" fmla="*/ 35842 h 792545"/>
                    <a:gd name="connsiteX28" fmla="*/ 571516 w 1123106"/>
                    <a:gd name="connsiteY28" fmla="*/ 37929 h 792545"/>
                    <a:gd name="connsiteX29" fmla="*/ 573505 w 1123106"/>
                    <a:gd name="connsiteY29" fmla="*/ 38442 h 792545"/>
                    <a:gd name="connsiteX30" fmla="*/ 583521 w 1123106"/>
                    <a:gd name="connsiteY30" fmla="*/ 38287 h 792545"/>
                    <a:gd name="connsiteX31" fmla="*/ 582763 w 1123106"/>
                    <a:gd name="connsiteY31" fmla="*/ 39274 h 792545"/>
                    <a:gd name="connsiteX32" fmla="*/ 582266 w 1123106"/>
                    <a:gd name="connsiteY32" fmla="*/ 40472 h 792545"/>
                    <a:gd name="connsiteX33" fmla="*/ 579169 w 1123106"/>
                    <a:gd name="connsiteY33" fmla="*/ 43137 h 792545"/>
                    <a:gd name="connsiteX34" fmla="*/ 597017 w 1123106"/>
                    <a:gd name="connsiteY34" fmla="*/ 44628 h 792545"/>
                    <a:gd name="connsiteX35" fmla="*/ 599421 w 1123106"/>
                    <a:gd name="connsiteY35" fmla="*/ 43153 h 792545"/>
                    <a:gd name="connsiteX36" fmla="*/ 603113 w 1123106"/>
                    <a:gd name="connsiteY36" fmla="*/ 42574 h 792545"/>
                    <a:gd name="connsiteX37" fmla="*/ 610961 w 1123106"/>
                    <a:gd name="connsiteY37" fmla="*/ 40537 h 792545"/>
                    <a:gd name="connsiteX38" fmla="*/ 613919 w 1123106"/>
                    <a:gd name="connsiteY38" fmla="*/ 41417 h 792545"/>
                    <a:gd name="connsiteX39" fmla="*/ 617399 w 1123106"/>
                    <a:gd name="connsiteY39" fmla="*/ 43495 h 792545"/>
                    <a:gd name="connsiteX40" fmla="*/ 620610 w 1123106"/>
                    <a:gd name="connsiteY40" fmla="*/ 43927 h 792545"/>
                    <a:gd name="connsiteX41" fmla="*/ 623618 w 1123106"/>
                    <a:gd name="connsiteY41" fmla="*/ 43503 h 792545"/>
                    <a:gd name="connsiteX42" fmla="*/ 630626 w 1123106"/>
                    <a:gd name="connsiteY42" fmla="*/ 40545 h 792545"/>
                    <a:gd name="connsiteX43" fmla="*/ 638711 w 1123106"/>
                    <a:gd name="connsiteY43" fmla="*/ 40398 h 792545"/>
                    <a:gd name="connsiteX44" fmla="*/ 642020 w 1123106"/>
                    <a:gd name="connsiteY44" fmla="*/ 41368 h 792545"/>
                    <a:gd name="connsiteX45" fmla="*/ 645524 w 1123106"/>
                    <a:gd name="connsiteY45" fmla="*/ 40944 h 792545"/>
                    <a:gd name="connsiteX46" fmla="*/ 656053 w 1123106"/>
                    <a:gd name="connsiteY46" fmla="*/ 44343 h 792545"/>
                    <a:gd name="connsiteX47" fmla="*/ 659933 w 1123106"/>
                    <a:gd name="connsiteY47" fmla="*/ 44742 h 792545"/>
                    <a:gd name="connsiteX48" fmla="*/ 665124 w 1123106"/>
                    <a:gd name="connsiteY48" fmla="*/ 49151 h 792545"/>
                    <a:gd name="connsiteX49" fmla="*/ 667805 w 1123106"/>
                    <a:gd name="connsiteY49" fmla="*/ 49281 h 792545"/>
                    <a:gd name="connsiteX50" fmla="*/ 670845 w 1123106"/>
                    <a:gd name="connsiteY50" fmla="*/ 47407 h 792545"/>
                    <a:gd name="connsiteX51" fmla="*/ 673478 w 1123106"/>
                    <a:gd name="connsiteY51" fmla="*/ 47472 h 792545"/>
                    <a:gd name="connsiteX52" fmla="*/ 676045 w 1123106"/>
                    <a:gd name="connsiteY52" fmla="*/ 49257 h 792545"/>
                    <a:gd name="connsiteX53" fmla="*/ 680250 w 1123106"/>
                    <a:gd name="connsiteY53" fmla="*/ 49803 h 792545"/>
                    <a:gd name="connsiteX54" fmla="*/ 682206 w 1123106"/>
                    <a:gd name="connsiteY54" fmla="*/ 52631 h 792545"/>
                    <a:gd name="connsiteX55" fmla="*/ 684317 w 1123106"/>
                    <a:gd name="connsiteY55" fmla="*/ 53650 h 792545"/>
                    <a:gd name="connsiteX56" fmla="*/ 700250 w 1123106"/>
                    <a:gd name="connsiteY56" fmla="*/ 55744 h 792545"/>
                    <a:gd name="connsiteX57" fmla="*/ 708138 w 1123106"/>
                    <a:gd name="connsiteY57" fmla="*/ 54791 h 792545"/>
                    <a:gd name="connsiteX58" fmla="*/ 719638 w 1123106"/>
                    <a:gd name="connsiteY58" fmla="*/ 55043 h 792545"/>
                    <a:gd name="connsiteX59" fmla="*/ 725188 w 1123106"/>
                    <a:gd name="connsiteY59" fmla="*/ 56388 h 792545"/>
                    <a:gd name="connsiteX60" fmla="*/ 730998 w 1123106"/>
                    <a:gd name="connsiteY60" fmla="*/ 56217 h 792545"/>
                    <a:gd name="connsiteX61" fmla="*/ 740501 w 1123106"/>
                    <a:gd name="connsiteY61" fmla="*/ 61090 h 792545"/>
                    <a:gd name="connsiteX62" fmla="*/ 745546 w 1123106"/>
                    <a:gd name="connsiteY62" fmla="*/ 61848 h 792545"/>
                    <a:gd name="connsiteX63" fmla="*/ 746524 w 1123106"/>
                    <a:gd name="connsiteY63" fmla="*/ 62981 h 792545"/>
                    <a:gd name="connsiteX64" fmla="*/ 760867 w 1123106"/>
                    <a:gd name="connsiteY64" fmla="*/ 64171 h 792545"/>
                    <a:gd name="connsiteX65" fmla="*/ 765887 w 1123106"/>
                    <a:gd name="connsiteY65" fmla="*/ 61628 h 792545"/>
                    <a:gd name="connsiteX66" fmla="*/ 774632 w 1123106"/>
                    <a:gd name="connsiteY66" fmla="*/ 60952 h 792545"/>
                    <a:gd name="connsiteX67" fmla="*/ 782513 w 1123106"/>
                    <a:gd name="connsiteY67" fmla="*/ 58817 h 792545"/>
                    <a:gd name="connsiteX68" fmla="*/ 786979 w 1123106"/>
                    <a:gd name="connsiteY68" fmla="*/ 58833 h 792545"/>
                    <a:gd name="connsiteX69" fmla="*/ 792170 w 1123106"/>
                    <a:gd name="connsiteY69" fmla="*/ 59363 h 792545"/>
                    <a:gd name="connsiteX70" fmla="*/ 794175 w 1123106"/>
                    <a:gd name="connsiteY70" fmla="*/ 59110 h 792545"/>
                    <a:gd name="connsiteX71" fmla="*/ 795618 w 1123106"/>
                    <a:gd name="connsiteY71" fmla="*/ 58173 h 792545"/>
                    <a:gd name="connsiteX72" fmla="*/ 808282 w 1123106"/>
                    <a:gd name="connsiteY72" fmla="*/ 61856 h 792545"/>
                    <a:gd name="connsiteX73" fmla="*/ 815373 w 1123106"/>
                    <a:gd name="connsiteY73" fmla="*/ 66062 h 792545"/>
                    <a:gd name="connsiteX74" fmla="*/ 818470 w 1123106"/>
                    <a:gd name="connsiteY74" fmla="*/ 69167 h 792545"/>
                    <a:gd name="connsiteX75" fmla="*/ 833302 w 1123106"/>
                    <a:gd name="connsiteY75" fmla="*/ 73600 h 792545"/>
                    <a:gd name="connsiteX76" fmla="*/ 837589 w 1123106"/>
                    <a:gd name="connsiteY76" fmla="*/ 76078 h 792545"/>
                    <a:gd name="connsiteX77" fmla="*/ 840531 w 1123106"/>
                    <a:gd name="connsiteY77" fmla="*/ 78800 h 792545"/>
                    <a:gd name="connsiteX78" fmla="*/ 842242 w 1123106"/>
                    <a:gd name="connsiteY78" fmla="*/ 79093 h 792545"/>
                    <a:gd name="connsiteX79" fmla="*/ 843457 w 1123106"/>
                    <a:gd name="connsiteY79" fmla="*/ 78294 h 792545"/>
                    <a:gd name="connsiteX80" fmla="*/ 848632 w 1123106"/>
                    <a:gd name="connsiteY80" fmla="*/ 78531 h 792545"/>
                    <a:gd name="connsiteX81" fmla="*/ 850588 w 1123106"/>
                    <a:gd name="connsiteY81" fmla="*/ 78906 h 792545"/>
                    <a:gd name="connsiteX82" fmla="*/ 850588 w 1123106"/>
                    <a:gd name="connsiteY82" fmla="*/ 91864 h 792545"/>
                    <a:gd name="connsiteX83" fmla="*/ 850588 w 1123106"/>
                    <a:gd name="connsiteY83" fmla="*/ 104781 h 792545"/>
                    <a:gd name="connsiteX84" fmla="*/ 850588 w 1123106"/>
                    <a:gd name="connsiteY84" fmla="*/ 117650 h 792545"/>
                    <a:gd name="connsiteX85" fmla="*/ 850588 w 1123106"/>
                    <a:gd name="connsiteY85" fmla="*/ 130477 h 792545"/>
                    <a:gd name="connsiteX86" fmla="*/ 850588 w 1123106"/>
                    <a:gd name="connsiteY86" fmla="*/ 143256 h 792545"/>
                    <a:gd name="connsiteX87" fmla="*/ 850588 w 1123106"/>
                    <a:gd name="connsiteY87" fmla="*/ 155986 h 792545"/>
                    <a:gd name="connsiteX88" fmla="*/ 850588 w 1123106"/>
                    <a:gd name="connsiteY88" fmla="*/ 168675 h 792545"/>
                    <a:gd name="connsiteX89" fmla="*/ 850588 w 1123106"/>
                    <a:gd name="connsiteY89" fmla="*/ 181323 h 792545"/>
                    <a:gd name="connsiteX90" fmla="*/ 850588 w 1123106"/>
                    <a:gd name="connsiteY90" fmla="*/ 193923 h 792545"/>
                    <a:gd name="connsiteX91" fmla="*/ 850588 w 1123106"/>
                    <a:gd name="connsiteY91" fmla="*/ 206490 h 792545"/>
                    <a:gd name="connsiteX92" fmla="*/ 850588 w 1123106"/>
                    <a:gd name="connsiteY92" fmla="*/ 219008 h 792545"/>
                    <a:gd name="connsiteX93" fmla="*/ 850588 w 1123106"/>
                    <a:gd name="connsiteY93" fmla="*/ 231485 h 792545"/>
                    <a:gd name="connsiteX94" fmla="*/ 850588 w 1123106"/>
                    <a:gd name="connsiteY94" fmla="*/ 243921 h 792545"/>
                    <a:gd name="connsiteX95" fmla="*/ 850588 w 1123106"/>
                    <a:gd name="connsiteY95" fmla="*/ 256317 h 792545"/>
                    <a:gd name="connsiteX96" fmla="*/ 850588 w 1123106"/>
                    <a:gd name="connsiteY96" fmla="*/ 268672 h 792545"/>
                    <a:gd name="connsiteX97" fmla="*/ 850588 w 1123106"/>
                    <a:gd name="connsiteY97" fmla="*/ 280995 h 792545"/>
                    <a:gd name="connsiteX98" fmla="*/ 850588 w 1123106"/>
                    <a:gd name="connsiteY98" fmla="*/ 293268 h 792545"/>
                    <a:gd name="connsiteX99" fmla="*/ 850588 w 1123106"/>
                    <a:gd name="connsiteY99" fmla="*/ 305501 h 792545"/>
                    <a:gd name="connsiteX100" fmla="*/ 850588 w 1123106"/>
                    <a:gd name="connsiteY100" fmla="*/ 317701 h 792545"/>
                    <a:gd name="connsiteX101" fmla="*/ 850588 w 1123106"/>
                    <a:gd name="connsiteY101" fmla="*/ 329860 h 792545"/>
                    <a:gd name="connsiteX102" fmla="*/ 850588 w 1123106"/>
                    <a:gd name="connsiteY102" fmla="*/ 341995 h 792545"/>
                    <a:gd name="connsiteX103" fmla="*/ 850588 w 1123106"/>
                    <a:gd name="connsiteY103" fmla="*/ 354073 h 792545"/>
                    <a:gd name="connsiteX104" fmla="*/ 850588 w 1123106"/>
                    <a:gd name="connsiteY104" fmla="*/ 366119 h 792545"/>
                    <a:gd name="connsiteX105" fmla="*/ 850588 w 1123106"/>
                    <a:gd name="connsiteY105" fmla="*/ 378131 h 792545"/>
                    <a:gd name="connsiteX106" fmla="*/ 850588 w 1123106"/>
                    <a:gd name="connsiteY106" fmla="*/ 390095 h 792545"/>
                    <a:gd name="connsiteX107" fmla="*/ 850588 w 1123106"/>
                    <a:gd name="connsiteY107" fmla="*/ 402026 h 792545"/>
                    <a:gd name="connsiteX108" fmla="*/ 850588 w 1123106"/>
                    <a:gd name="connsiteY108" fmla="*/ 413917 h 792545"/>
                    <a:gd name="connsiteX109" fmla="*/ 850588 w 1123106"/>
                    <a:gd name="connsiteY109" fmla="*/ 425775 h 792545"/>
                    <a:gd name="connsiteX110" fmla="*/ 850588 w 1123106"/>
                    <a:gd name="connsiteY110" fmla="*/ 437600 h 792545"/>
                    <a:gd name="connsiteX111" fmla="*/ 850588 w 1123106"/>
                    <a:gd name="connsiteY111" fmla="*/ 449384 h 792545"/>
                    <a:gd name="connsiteX112" fmla="*/ 850588 w 1123106"/>
                    <a:gd name="connsiteY112" fmla="*/ 461136 h 792545"/>
                    <a:gd name="connsiteX113" fmla="*/ 850588 w 1123106"/>
                    <a:gd name="connsiteY113" fmla="*/ 472856 h 792545"/>
                    <a:gd name="connsiteX114" fmla="*/ 856529 w 1123106"/>
                    <a:gd name="connsiteY114" fmla="*/ 474502 h 792545"/>
                    <a:gd name="connsiteX115" fmla="*/ 862413 w 1123106"/>
                    <a:gd name="connsiteY115" fmla="*/ 476132 h 792545"/>
                    <a:gd name="connsiteX116" fmla="*/ 864214 w 1123106"/>
                    <a:gd name="connsiteY116" fmla="*/ 472872 h 792545"/>
                    <a:gd name="connsiteX117" fmla="*/ 870554 w 1123106"/>
                    <a:gd name="connsiteY117" fmla="*/ 475366 h 792545"/>
                    <a:gd name="connsiteX118" fmla="*/ 876104 w 1123106"/>
                    <a:gd name="connsiteY118" fmla="*/ 477542 h 792545"/>
                    <a:gd name="connsiteX119" fmla="*/ 879641 w 1123106"/>
                    <a:gd name="connsiteY119" fmla="*/ 474754 h 792545"/>
                    <a:gd name="connsiteX120" fmla="*/ 883472 w 1123106"/>
                    <a:gd name="connsiteY120" fmla="*/ 471739 h 792545"/>
                    <a:gd name="connsiteX121" fmla="*/ 888639 w 1123106"/>
                    <a:gd name="connsiteY121" fmla="*/ 471519 h 792545"/>
                    <a:gd name="connsiteX122" fmla="*/ 894425 w 1123106"/>
                    <a:gd name="connsiteY122" fmla="*/ 471283 h 792545"/>
                    <a:gd name="connsiteX123" fmla="*/ 898280 w 1123106"/>
                    <a:gd name="connsiteY123" fmla="*/ 471120 h 792545"/>
                    <a:gd name="connsiteX124" fmla="*/ 898280 w 1123106"/>
                    <a:gd name="connsiteY124" fmla="*/ 473695 h 792545"/>
                    <a:gd name="connsiteX125" fmla="*/ 896846 w 1123106"/>
                    <a:gd name="connsiteY125" fmla="*/ 477966 h 792545"/>
                    <a:gd name="connsiteX126" fmla="*/ 895656 w 1123106"/>
                    <a:gd name="connsiteY126" fmla="*/ 481527 h 792545"/>
                    <a:gd name="connsiteX127" fmla="*/ 898850 w 1123106"/>
                    <a:gd name="connsiteY127" fmla="*/ 484803 h 792545"/>
                    <a:gd name="connsiteX128" fmla="*/ 899176 w 1123106"/>
                    <a:gd name="connsiteY128" fmla="*/ 485137 h 792545"/>
                    <a:gd name="connsiteX129" fmla="*/ 903512 w 1123106"/>
                    <a:gd name="connsiteY129" fmla="*/ 487028 h 792545"/>
                    <a:gd name="connsiteX130" fmla="*/ 907562 w 1123106"/>
                    <a:gd name="connsiteY130" fmla="*/ 488805 h 792545"/>
                    <a:gd name="connsiteX131" fmla="*/ 909380 w 1123106"/>
                    <a:gd name="connsiteY131" fmla="*/ 493711 h 792545"/>
                    <a:gd name="connsiteX132" fmla="*/ 913813 w 1123106"/>
                    <a:gd name="connsiteY132" fmla="*/ 497484 h 792545"/>
                    <a:gd name="connsiteX133" fmla="*/ 917187 w 1123106"/>
                    <a:gd name="connsiteY133" fmla="*/ 500361 h 792545"/>
                    <a:gd name="connsiteX134" fmla="*/ 920415 w 1123106"/>
                    <a:gd name="connsiteY134" fmla="*/ 503107 h 792545"/>
                    <a:gd name="connsiteX135" fmla="*/ 925027 w 1123106"/>
                    <a:gd name="connsiteY135" fmla="*/ 507036 h 792545"/>
                    <a:gd name="connsiteX136" fmla="*/ 928271 w 1123106"/>
                    <a:gd name="connsiteY136" fmla="*/ 509782 h 792545"/>
                    <a:gd name="connsiteX137" fmla="*/ 932574 w 1123106"/>
                    <a:gd name="connsiteY137" fmla="*/ 513449 h 792545"/>
                    <a:gd name="connsiteX138" fmla="*/ 935133 w 1123106"/>
                    <a:gd name="connsiteY138" fmla="*/ 515625 h 792545"/>
                    <a:gd name="connsiteX139" fmla="*/ 936364 w 1123106"/>
                    <a:gd name="connsiteY139" fmla="*/ 519855 h 792545"/>
                    <a:gd name="connsiteX140" fmla="*/ 937847 w 1123106"/>
                    <a:gd name="connsiteY140" fmla="*/ 524924 h 792545"/>
                    <a:gd name="connsiteX141" fmla="*/ 936934 w 1123106"/>
                    <a:gd name="connsiteY141" fmla="*/ 527923 h 792545"/>
                    <a:gd name="connsiteX142" fmla="*/ 938971 w 1123106"/>
                    <a:gd name="connsiteY142" fmla="*/ 528412 h 792545"/>
                    <a:gd name="connsiteX143" fmla="*/ 942965 w 1123106"/>
                    <a:gd name="connsiteY143" fmla="*/ 525046 h 792545"/>
                    <a:gd name="connsiteX144" fmla="*/ 946714 w 1123106"/>
                    <a:gd name="connsiteY144" fmla="*/ 522968 h 792545"/>
                    <a:gd name="connsiteX145" fmla="*/ 951351 w 1123106"/>
                    <a:gd name="connsiteY145" fmla="*/ 520385 h 792545"/>
                    <a:gd name="connsiteX146" fmla="*/ 954472 w 1123106"/>
                    <a:gd name="connsiteY146" fmla="*/ 518649 h 792545"/>
                    <a:gd name="connsiteX147" fmla="*/ 960291 w 1123106"/>
                    <a:gd name="connsiteY147" fmla="*/ 518567 h 792545"/>
                    <a:gd name="connsiteX148" fmla="*/ 963070 w 1123106"/>
                    <a:gd name="connsiteY148" fmla="*/ 513506 h 792545"/>
                    <a:gd name="connsiteX149" fmla="*/ 963070 w 1123106"/>
                    <a:gd name="connsiteY149" fmla="*/ 506400 h 792545"/>
                    <a:gd name="connsiteX150" fmla="*/ 966012 w 1123106"/>
                    <a:gd name="connsiteY150" fmla="*/ 506522 h 792545"/>
                    <a:gd name="connsiteX151" fmla="*/ 967740 w 1123106"/>
                    <a:gd name="connsiteY151" fmla="*/ 505561 h 792545"/>
                    <a:gd name="connsiteX152" fmla="*/ 968506 w 1123106"/>
                    <a:gd name="connsiteY152" fmla="*/ 503466 h 792545"/>
                    <a:gd name="connsiteX153" fmla="*/ 966656 w 1123106"/>
                    <a:gd name="connsiteY153" fmla="*/ 500614 h 792545"/>
                    <a:gd name="connsiteX154" fmla="*/ 972231 w 1123106"/>
                    <a:gd name="connsiteY154" fmla="*/ 499277 h 792545"/>
                    <a:gd name="connsiteX155" fmla="*/ 976265 w 1123106"/>
                    <a:gd name="connsiteY155" fmla="*/ 498307 h 792545"/>
                    <a:gd name="connsiteX156" fmla="*/ 982018 w 1123106"/>
                    <a:gd name="connsiteY156" fmla="*/ 495675 h 792545"/>
                    <a:gd name="connsiteX157" fmla="*/ 987634 w 1123106"/>
                    <a:gd name="connsiteY157" fmla="*/ 493108 h 792545"/>
                    <a:gd name="connsiteX158" fmla="*/ 990315 w 1123106"/>
                    <a:gd name="connsiteY158" fmla="*/ 495096 h 792545"/>
                    <a:gd name="connsiteX159" fmla="*/ 992972 w 1123106"/>
                    <a:gd name="connsiteY159" fmla="*/ 497020 h 792545"/>
                    <a:gd name="connsiteX160" fmla="*/ 998171 w 1123106"/>
                    <a:gd name="connsiteY160" fmla="*/ 501640 h 792545"/>
                    <a:gd name="connsiteX161" fmla="*/ 998530 w 1123106"/>
                    <a:gd name="connsiteY161" fmla="*/ 502749 h 792545"/>
                    <a:gd name="connsiteX162" fmla="*/ 998179 w 1123106"/>
                    <a:gd name="connsiteY162" fmla="*/ 504925 h 792545"/>
                    <a:gd name="connsiteX163" fmla="*/ 997674 w 1123106"/>
                    <a:gd name="connsiteY163" fmla="*/ 507093 h 792545"/>
                    <a:gd name="connsiteX164" fmla="*/ 1000836 w 1123106"/>
                    <a:gd name="connsiteY164" fmla="*/ 513172 h 792545"/>
                    <a:gd name="connsiteX165" fmla="*/ 1001741 w 1123106"/>
                    <a:gd name="connsiteY165" fmla="*/ 513849 h 792545"/>
                    <a:gd name="connsiteX166" fmla="*/ 1004332 w 1123106"/>
                    <a:gd name="connsiteY166" fmla="*/ 514696 h 792545"/>
                    <a:gd name="connsiteX167" fmla="*/ 1007437 w 1123106"/>
                    <a:gd name="connsiteY167" fmla="*/ 516701 h 792545"/>
                    <a:gd name="connsiteX168" fmla="*/ 1008806 w 1123106"/>
                    <a:gd name="connsiteY168" fmla="*/ 518437 h 792545"/>
                    <a:gd name="connsiteX169" fmla="*/ 1013305 w 1123106"/>
                    <a:gd name="connsiteY169" fmla="*/ 521208 h 792545"/>
                    <a:gd name="connsiteX170" fmla="*/ 1014063 w 1123106"/>
                    <a:gd name="connsiteY170" fmla="*/ 522357 h 792545"/>
                    <a:gd name="connsiteX171" fmla="*/ 1014495 w 1123106"/>
                    <a:gd name="connsiteY171" fmla="*/ 524223 h 792545"/>
                    <a:gd name="connsiteX172" fmla="*/ 1015220 w 1123106"/>
                    <a:gd name="connsiteY172" fmla="*/ 525821 h 792545"/>
                    <a:gd name="connsiteX173" fmla="*/ 1016068 w 1123106"/>
                    <a:gd name="connsiteY173" fmla="*/ 526970 h 792545"/>
                    <a:gd name="connsiteX174" fmla="*/ 1016875 w 1123106"/>
                    <a:gd name="connsiteY174" fmla="*/ 528600 h 792545"/>
                    <a:gd name="connsiteX175" fmla="*/ 1018814 w 1123106"/>
                    <a:gd name="connsiteY175" fmla="*/ 530523 h 792545"/>
                    <a:gd name="connsiteX176" fmla="*/ 1022522 w 1123106"/>
                    <a:gd name="connsiteY176" fmla="*/ 532658 h 792545"/>
                    <a:gd name="connsiteX177" fmla="*/ 1025082 w 1123106"/>
                    <a:gd name="connsiteY177" fmla="*/ 534150 h 792545"/>
                    <a:gd name="connsiteX178" fmla="*/ 1028684 w 1123106"/>
                    <a:gd name="connsiteY178" fmla="*/ 536236 h 792545"/>
                    <a:gd name="connsiteX179" fmla="*/ 1032319 w 1123106"/>
                    <a:gd name="connsiteY179" fmla="*/ 540482 h 792545"/>
                    <a:gd name="connsiteX180" fmla="*/ 1035489 w 1123106"/>
                    <a:gd name="connsiteY180" fmla="*/ 544166 h 792545"/>
                    <a:gd name="connsiteX181" fmla="*/ 1039091 w 1123106"/>
                    <a:gd name="connsiteY181" fmla="*/ 547809 h 792545"/>
                    <a:gd name="connsiteX182" fmla="*/ 1038561 w 1123106"/>
                    <a:gd name="connsiteY182" fmla="*/ 550702 h 792545"/>
                    <a:gd name="connsiteX183" fmla="*/ 1042212 w 1123106"/>
                    <a:gd name="connsiteY183" fmla="*/ 555184 h 792545"/>
                    <a:gd name="connsiteX184" fmla="*/ 1046059 w 1123106"/>
                    <a:gd name="connsiteY184" fmla="*/ 560873 h 792545"/>
                    <a:gd name="connsiteX185" fmla="*/ 1049009 w 1123106"/>
                    <a:gd name="connsiteY185" fmla="*/ 565917 h 792545"/>
                    <a:gd name="connsiteX186" fmla="*/ 1051104 w 1123106"/>
                    <a:gd name="connsiteY186" fmla="*/ 568729 h 792545"/>
                    <a:gd name="connsiteX187" fmla="*/ 1053614 w 1123106"/>
                    <a:gd name="connsiteY187" fmla="*/ 572804 h 792545"/>
                    <a:gd name="connsiteX188" fmla="*/ 1056686 w 1123106"/>
                    <a:gd name="connsiteY188" fmla="*/ 577783 h 792545"/>
                    <a:gd name="connsiteX189" fmla="*/ 1060191 w 1123106"/>
                    <a:gd name="connsiteY189" fmla="*/ 583439 h 792545"/>
                    <a:gd name="connsiteX190" fmla="*/ 1062872 w 1123106"/>
                    <a:gd name="connsiteY190" fmla="*/ 587074 h 792545"/>
                    <a:gd name="connsiteX191" fmla="*/ 1066360 w 1123106"/>
                    <a:gd name="connsiteY191" fmla="*/ 592143 h 792545"/>
                    <a:gd name="connsiteX192" fmla="*/ 1068080 w 1123106"/>
                    <a:gd name="connsiteY192" fmla="*/ 595167 h 792545"/>
                    <a:gd name="connsiteX193" fmla="*/ 1066906 w 1123106"/>
                    <a:gd name="connsiteY193" fmla="*/ 597229 h 792545"/>
                    <a:gd name="connsiteX194" fmla="*/ 1065455 w 1123106"/>
                    <a:gd name="connsiteY194" fmla="*/ 599788 h 792545"/>
                    <a:gd name="connsiteX195" fmla="*/ 1069946 w 1123106"/>
                    <a:gd name="connsiteY195" fmla="*/ 600994 h 792545"/>
                    <a:gd name="connsiteX196" fmla="*/ 1073059 w 1123106"/>
                    <a:gd name="connsiteY196" fmla="*/ 601841 h 792545"/>
                    <a:gd name="connsiteX197" fmla="*/ 1072285 w 1123106"/>
                    <a:gd name="connsiteY197" fmla="*/ 604677 h 792545"/>
                    <a:gd name="connsiteX198" fmla="*/ 1071258 w 1123106"/>
                    <a:gd name="connsiteY198" fmla="*/ 608418 h 792545"/>
                    <a:gd name="connsiteX199" fmla="*/ 1074771 w 1123106"/>
                    <a:gd name="connsiteY199" fmla="*/ 609893 h 792545"/>
                    <a:gd name="connsiteX200" fmla="*/ 1077158 w 1123106"/>
                    <a:gd name="connsiteY200" fmla="*/ 610896 h 792545"/>
                    <a:gd name="connsiteX201" fmla="*/ 1076669 w 1123106"/>
                    <a:gd name="connsiteY201" fmla="*/ 612860 h 792545"/>
                    <a:gd name="connsiteX202" fmla="*/ 1077982 w 1123106"/>
                    <a:gd name="connsiteY202" fmla="*/ 615077 h 792545"/>
                    <a:gd name="connsiteX203" fmla="*/ 1078193 w 1123106"/>
                    <a:gd name="connsiteY203" fmla="*/ 618744 h 792545"/>
                    <a:gd name="connsiteX204" fmla="*/ 1082480 w 1123106"/>
                    <a:gd name="connsiteY204" fmla="*/ 618499 h 792545"/>
                    <a:gd name="connsiteX205" fmla="*/ 1084371 w 1123106"/>
                    <a:gd name="connsiteY205" fmla="*/ 618393 h 792545"/>
                    <a:gd name="connsiteX206" fmla="*/ 1086930 w 1123106"/>
                    <a:gd name="connsiteY206" fmla="*/ 620015 h 792545"/>
                    <a:gd name="connsiteX207" fmla="*/ 1090312 w 1123106"/>
                    <a:gd name="connsiteY207" fmla="*/ 622159 h 792545"/>
                    <a:gd name="connsiteX208" fmla="*/ 1093702 w 1123106"/>
                    <a:gd name="connsiteY208" fmla="*/ 624172 h 792545"/>
                    <a:gd name="connsiteX209" fmla="*/ 1096587 w 1123106"/>
                    <a:gd name="connsiteY209" fmla="*/ 625875 h 792545"/>
                    <a:gd name="connsiteX210" fmla="*/ 1100377 w 1123106"/>
                    <a:gd name="connsiteY210" fmla="*/ 626894 h 792545"/>
                    <a:gd name="connsiteX211" fmla="*/ 1105055 w 1123106"/>
                    <a:gd name="connsiteY211" fmla="*/ 628344 h 792545"/>
                    <a:gd name="connsiteX212" fmla="*/ 1107353 w 1123106"/>
                    <a:gd name="connsiteY212" fmla="*/ 631319 h 792545"/>
                    <a:gd name="connsiteX213" fmla="*/ 1111615 w 1123106"/>
                    <a:gd name="connsiteY213" fmla="*/ 632599 h 792545"/>
                    <a:gd name="connsiteX214" fmla="*/ 1113205 w 1123106"/>
                    <a:gd name="connsiteY214" fmla="*/ 636755 h 792545"/>
                    <a:gd name="connsiteX215" fmla="*/ 1118127 w 1123106"/>
                    <a:gd name="connsiteY215" fmla="*/ 638279 h 792545"/>
                    <a:gd name="connsiteX216" fmla="*/ 1121028 w 1123106"/>
                    <a:gd name="connsiteY216" fmla="*/ 637268 h 792545"/>
                    <a:gd name="connsiteX217" fmla="*/ 1122063 w 1123106"/>
                    <a:gd name="connsiteY217" fmla="*/ 638963 h 792545"/>
                    <a:gd name="connsiteX218" fmla="*/ 1122886 w 1123106"/>
                    <a:gd name="connsiteY218" fmla="*/ 640903 h 792545"/>
                    <a:gd name="connsiteX219" fmla="*/ 1123107 w 1123106"/>
                    <a:gd name="connsiteY219" fmla="*/ 643364 h 792545"/>
                    <a:gd name="connsiteX220" fmla="*/ 1122830 w 1123106"/>
                    <a:gd name="connsiteY220" fmla="*/ 645752 h 792545"/>
                    <a:gd name="connsiteX221" fmla="*/ 1121599 w 1123106"/>
                    <a:gd name="connsiteY221" fmla="*/ 647757 h 792545"/>
                    <a:gd name="connsiteX222" fmla="*/ 1120678 w 1123106"/>
                    <a:gd name="connsiteY222" fmla="*/ 649909 h 792545"/>
                    <a:gd name="connsiteX223" fmla="*/ 1120059 w 1123106"/>
                    <a:gd name="connsiteY223" fmla="*/ 652223 h 792545"/>
                    <a:gd name="connsiteX224" fmla="*/ 1119822 w 1123106"/>
                    <a:gd name="connsiteY224" fmla="*/ 654709 h 792545"/>
                    <a:gd name="connsiteX225" fmla="*/ 1119977 w 1123106"/>
                    <a:gd name="connsiteY225" fmla="*/ 657366 h 792545"/>
                    <a:gd name="connsiteX226" fmla="*/ 1120474 w 1123106"/>
                    <a:gd name="connsiteY226" fmla="*/ 659680 h 792545"/>
                    <a:gd name="connsiteX227" fmla="*/ 1121990 w 1123106"/>
                    <a:gd name="connsiteY227" fmla="*/ 663959 h 792545"/>
                    <a:gd name="connsiteX228" fmla="*/ 1122487 w 1123106"/>
                    <a:gd name="connsiteY228" fmla="*/ 666583 h 792545"/>
                    <a:gd name="connsiteX229" fmla="*/ 1122561 w 1123106"/>
                    <a:gd name="connsiteY229" fmla="*/ 668327 h 792545"/>
                    <a:gd name="connsiteX230" fmla="*/ 1119195 w 1123106"/>
                    <a:gd name="connsiteY230" fmla="*/ 674464 h 792545"/>
                    <a:gd name="connsiteX231" fmla="*/ 1118037 w 1123106"/>
                    <a:gd name="connsiteY231" fmla="*/ 677389 h 792545"/>
                    <a:gd name="connsiteX232" fmla="*/ 1118143 w 1123106"/>
                    <a:gd name="connsiteY232" fmla="*/ 678702 h 792545"/>
                    <a:gd name="connsiteX233" fmla="*/ 1115707 w 1123106"/>
                    <a:gd name="connsiteY233" fmla="*/ 681749 h 792545"/>
                    <a:gd name="connsiteX234" fmla="*/ 1111224 w 1123106"/>
                    <a:gd name="connsiteY234" fmla="*/ 685996 h 792545"/>
                    <a:gd name="connsiteX235" fmla="*/ 1109187 w 1123106"/>
                    <a:gd name="connsiteY235" fmla="*/ 688440 h 792545"/>
                    <a:gd name="connsiteX236" fmla="*/ 1108184 w 1123106"/>
                    <a:gd name="connsiteY236" fmla="*/ 687634 h 792545"/>
                    <a:gd name="connsiteX237" fmla="*/ 1102382 w 1123106"/>
                    <a:gd name="connsiteY237" fmla="*/ 686998 h 792545"/>
                    <a:gd name="connsiteX238" fmla="*/ 1100271 w 1123106"/>
                    <a:gd name="connsiteY238" fmla="*/ 681562 h 792545"/>
                    <a:gd name="connsiteX239" fmla="*/ 1099146 w 1123106"/>
                    <a:gd name="connsiteY239" fmla="*/ 677349 h 792545"/>
                    <a:gd name="connsiteX240" fmla="*/ 1097451 w 1123106"/>
                    <a:gd name="connsiteY240" fmla="*/ 673673 h 792545"/>
                    <a:gd name="connsiteX241" fmla="*/ 1097508 w 1123106"/>
                    <a:gd name="connsiteY241" fmla="*/ 672842 h 792545"/>
                    <a:gd name="connsiteX242" fmla="*/ 1099040 w 1123106"/>
                    <a:gd name="connsiteY242" fmla="*/ 670381 h 792545"/>
                    <a:gd name="connsiteX243" fmla="*/ 1104835 w 1123106"/>
                    <a:gd name="connsiteY243" fmla="*/ 668360 h 792545"/>
                    <a:gd name="connsiteX244" fmla="*/ 1104884 w 1123106"/>
                    <a:gd name="connsiteY244" fmla="*/ 667553 h 792545"/>
                    <a:gd name="connsiteX245" fmla="*/ 1102732 w 1123106"/>
                    <a:gd name="connsiteY245" fmla="*/ 667015 h 792545"/>
                    <a:gd name="connsiteX246" fmla="*/ 1102219 w 1123106"/>
                    <a:gd name="connsiteY246" fmla="*/ 666135 h 792545"/>
                    <a:gd name="connsiteX247" fmla="*/ 1101624 w 1123106"/>
                    <a:gd name="connsiteY247" fmla="*/ 662149 h 792545"/>
                    <a:gd name="connsiteX248" fmla="*/ 1101787 w 1123106"/>
                    <a:gd name="connsiteY248" fmla="*/ 658645 h 792545"/>
                    <a:gd name="connsiteX249" fmla="*/ 1101624 w 1123106"/>
                    <a:gd name="connsiteY249" fmla="*/ 656322 h 792545"/>
                    <a:gd name="connsiteX250" fmla="*/ 1100654 w 1123106"/>
                    <a:gd name="connsiteY250" fmla="*/ 651571 h 792545"/>
                    <a:gd name="connsiteX251" fmla="*/ 1099212 w 1123106"/>
                    <a:gd name="connsiteY251" fmla="*/ 648662 h 792545"/>
                    <a:gd name="connsiteX252" fmla="*/ 1095471 w 1123106"/>
                    <a:gd name="connsiteY252" fmla="*/ 642973 h 792545"/>
                    <a:gd name="connsiteX253" fmla="*/ 1095161 w 1123106"/>
                    <a:gd name="connsiteY253" fmla="*/ 641539 h 792545"/>
                    <a:gd name="connsiteX254" fmla="*/ 1096799 w 1123106"/>
                    <a:gd name="connsiteY254" fmla="*/ 639738 h 792545"/>
                    <a:gd name="connsiteX255" fmla="*/ 1097826 w 1123106"/>
                    <a:gd name="connsiteY255" fmla="*/ 638051 h 792545"/>
                    <a:gd name="connsiteX256" fmla="*/ 1091502 w 1123106"/>
                    <a:gd name="connsiteY256" fmla="*/ 640968 h 792545"/>
                    <a:gd name="connsiteX257" fmla="*/ 1082879 w 1123106"/>
                    <a:gd name="connsiteY257" fmla="*/ 644033 h 792545"/>
                    <a:gd name="connsiteX258" fmla="*/ 1079188 w 1123106"/>
                    <a:gd name="connsiteY258" fmla="*/ 646168 h 792545"/>
                    <a:gd name="connsiteX259" fmla="*/ 1078413 w 1123106"/>
                    <a:gd name="connsiteY259" fmla="*/ 647032 h 792545"/>
                    <a:gd name="connsiteX260" fmla="*/ 1078153 w 1123106"/>
                    <a:gd name="connsiteY260" fmla="*/ 647749 h 792545"/>
                    <a:gd name="connsiteX261" fmla="*/ 1078821 w 1123106"/>
                    <a:gd name="connsiteY261" fmla="*/ 649770 h 792545"/>
                    <a:gd name="connsiteX262" fmla="*/ 1078715 w 1123106"/>
                    <a:gd name="connsiteY262" fmla="*/ 650422 h 792545"/>
                    <a:gd name="connsiteX263" fmla="*/ 1077965 w 1123106"/>
                    <a:gd name="connsiteY263" fmla="*/ 651612 h 792545"/>
                    <a:gd name="connsiteX264" fmla="*/ 1077085 w 1123106"/>
                    <a:gd name="connsiteY264" fmla="*/ 654970 h 792545"/>
                    <a:gd name="connsiteX265" fmla="*/ 1075202 w 1123106"/>
                    <a:gd name="connsiteY265" fmla="*/ 658539 h 792545"/>
                    <a:gd name="connsiteX266" fmla="*/ 1074257 w 1123106"/>
                    <a:gd name="connsiteY266" fmla="*/ 659264 h 792545"/>
                    <a:gd name="connsiteX267" fmla="*/ 1070891 w 1123106"/>
                    <a:gd name="connsiteY267" fmla="*/ 657936 h 792545"/>
                    <a:gd name="connsiteX268" fmla="*/ 1069987 w 1123106"/>
                    <a:gd name="connsiteY268" fmla="*/ 656795 h 792545"/>
                    <a:gd name="connsiteX269" fmla="*/ 1068300 w 1123106"/>
                    <a:gd name="connsiteY269" fmla="*/ 652142 h 792545"/>
                    <a:gd name="connsiteX270" fmla="*/ 1068691 w 1123106"/>
                    <a:gd name="connsiteY270" fmla="*/ 650911 h 792545"/>
                    <a:gd name="connsiteX271" fmla="*/ 1069921 w 1123106"/>
                    <a:gd name="connsiteY271" fmla="*/ 649860 h 792545"/>
                    <a:gd name="connsiteX272" fmla="*/ 1071592 w 1123106"/>
                    <a:gd name="connsiteY272" fmla="*/ 647610 h 792545"/>
                    <a:gd name="connsiteX273" fmla="*/ 1073703 w 1123106"/>
                    <a:gd name="connsiteY273" fmla="*/ 644130 h 792545"/>
                    <a:gd name="connsiteX274" fmla="*/ 1077721 w 1123106"/>
                    <a:gd name="connsiteY274" fmla="*/ 635296 h 792545"/>
                    <a:gd name="connsiteX275" fmla="*/ 1080345 w 1123106"/>
                    <a:gd name="connsiteY275" fmla="*/ 635255 h 792545"/>
                    <a:gd name="connsiteX276" fmla="*/ 1084974 w 1123106"/>
                    <a:gd name="connsiteY276" fmla="*/ 633503 h 792545"/>
                    <a:gd name="connsiteX277" fmla="*/ 1077704 w 1123106"/>
                    <a:gd name="connsiteY277" fmla="*/ 632623 h 792545"/>
                    <a:gd name="connsiteX278" fmla="*/ 1076620 w 1123106"/>
                    <a:gd name="connsiteY278" fmla="*/ 632158 h 792545"/>
                    <a:gd name="connsiteX279" fmla="*/ 1075643 w 1123106"/>
                    <a:gd name="connsiteY279" fmla="*/ 630952 h 792545"/>
                    <a:gd name="connsiteX280" fmla="*/ 1074779 w 1123106"/>
                    <a:gd name="connsiteY280" fmla="*/ 628996 h 792545"/>
                    <a:gd name="connsiteX281" fmla="*/ 1073295 w 1123106"/>
                    <a:gd name="connsiteY281" fmla="*/ 626828 h 792545"/>
                    <a:gd name="connsiteX282" fmla="*/ 1070541 w 1123106"/>
                    <a:gd name="connsiteY282" fmla="*/ 626062 h 792545"/>
                    <a:gd name="connsiteX283" fmla="*/ 1069335 w 1123106"/>
                    <a:gd name="connsiteY283" fmla="*/ 625264 h 792545"/>
                    <a:gd name="connsiteX284" fmla="*/ 1067509 w 1123106"/>
                    <a:gd name="connsiteY284" fmla="*/ 622623 h 792545"/>
                    <a:gd name="connsiteX285" fmla="*/ 1066287 w 1123106"/>
                    <a:gd name="connsiteY285" fmla="*/ 621433 h 792545"/>
                    <a:gd name="connsiteX286" fmla="*/ 1065618 w 1123106"/>
                    <a:gd name="connsiteY286" fmla="*/ 619966 h 792545"/>
                    <a:gd name="connsiteX287" fmla="*/ 1065504 w 1123106"/>
                    <a:gd name="connsiteY287" fmla="*/ 618222 h 792545"/>
                    <a:gd name="connsiteX288" fmla="*/ 1064983 w 1123106"/>
                    <a:gd name="connsiteY288" fmla="*/ 617334 h 792545"/>
                    <a:gd name="connsiteX289" fmla="*/ 1063076 w 1123106"/>
                    <a:gd name="connsiteY289" fmla="*/ 617016 h 792545"/>
                    <a:gd name="connsiteX290" fmla="*/ 1062049 w 1123106"/>
                    <a:gd name="connsiteY290" fmla="*/ 616413 h 792545"/>
                    <a:gd name="connsiteX291" fmla="*/ 1061772 w 1123106"/>
                    <a:gd name="connsiteY291" fmla="*/ 611898 h 792545"/>
                    <a:gd name="connsiteX292" fmla="*/ 1057990 w 1123106"/>
                    <a:gd name="connsiteY292" fmla="*/ 610733 h 792545"/>
                    <a:gd name="connsiteX293" fmla="*/ 1056442 w 1123106"/>
                    <a:gd name="connsiteY293" fmla="*/ 609730 h 792545"/>
                    <a:gd name="connsiteX294" fmla="*/ 1053956 w 1123106"/>
                    <a:gd name="connsiteY294" fmla="*/ 606911 h 792545"/>
                    <a:gd name="connsiteX295" fmla="*/ 1053280 w 1123106"/>
                    <a:gd name="connsiteY295" fmla="*/ 605541 h 792545"/>
                    <a:gd name="connsiteX296" fmla="*/ 1053051 w 1123106"/>
                    <a:gd name="connsiteY296" fmla="*/ 604392 h 792545"/>
                    <a:gd name="connsiteX297" fmla="*/ 1053663 w 1123106"/>
                    <a:gd name="connsiteY297" fmla="*/ 601271 h 792545"/>
                    <a:gd name="connsiteX298" fmla="*/ 1053402 w 1123106"/>
                    <a:gd name="connsiteY298" fmla="*/ 600684 h 792545"/>
                    <a:gd name="connsiteX299" fmla="*/ 1051202 w 1123106"/>
                    <a:gd name="connsiteY299" fmla="*/ 601002 h 792545"/>
                    <a:gd name="connsiteX300" fmla="*/ 1037494 w 1123106"/>
                    <a:gd name="connsiteY300" fmla="*/ 596161 h 792545"/>
                    <a:gd name="connsiteX301" fmla="*/ 1038219 w 1123106"/>
                    <a:gd name="connsiteY301" fmla="*/ 589763 h 792545"/>
                    <a:gd name="connsiteX302" fmla="*/ 1035676 w 1123106"/>
                    <a:gd name="connsiteY302" fmla="*/ 581304 h 792545"/>
                    <a:gd name="connsiteX303" fmla="*/ 1032962 w 1123106"/>
                    <a:gd name="connsiteY303" fmla="*/ 577873 h 792545"/>
                    <a:gd name="connsiteX304" fmla="*/ 1033500 w 1123106"/>
                    <a:gd name="connsiteY304" fmla="*/ 576537 h 792545"/>
                    <a:gd name="connsiteX305" fmla="*/ 1034087 w 1123106"/>
                    <a:gd name="connsiteY305" fmla="*/ 575836 h 792545"/>
                    <a:gd name="connsiteX306" fmla="*/ 1035309 w 1123106"/>
                    <a:gd name="connsiteY306" fmla="*/ 575819 h 792545"/>
                    <a:gd name="connsiteX307" fmla="*/ 1040558 w 1123106"/>
                    <a:gd name="connsiteY307" fmla="*/ 578313 h 792545"/>
                    <a:gd name="connsiteX308" fmla="*/ 1045513 w 1123106"/>
                    <a:gd name="connsiteY308" fmla="*/ 581280 h 792545"/>
                    <a:gd name="connsiteX309" fmla="*/ 1046157 w 1123106"/>
                    <a:gd name="connsiteY309" fmla="*/ 580848 h 792545"/>
                    <a:gd name="connsiteX310" fmla="*/ 1038252 w 1123106"/>
                    <a:gd name="connsiteY310" fmla="*/ 574564 h 792545"/>
                    <a:gd name="connsiteX311" fmla="*/ 1036271 w 1123106"/>
                    <a:gd name="connsiteY311" fmla="*/ 572690 h 792545"/>
                    <a:gd name="connsiteX312" fmla="*/ 1035782 w 1123106"/>
                    <a:gd name="connsiteY312" fmla="*/ 570432 h 792545"/>
                    <a:gd name="connsiteX313" fmla="*/ 1035750 w 1123106"/>
                    <a:gd name="connsiteY313" fmla="*/ 569226 h 792545"/>
                    <a:gd name="connsiteX314" fmla="*/ 1036377 w 1123106"/>
                    <a:gd name="connsiteY314" fmla="*/ 568591 h 792545"/>
                    <a:gd name="connsiteX315" fmla="*/ 1043793 w 1123106"/>
                    <a:gd name="connsiteY315" fmla="*/ 569153 h 792545"/>
                    <a:gd name="connsiteX316" fmla="*/ 1044233 w 1123106"/>
                    <a:gd name="connsiteY316" fmla="*/ 568680 h 792545"/>
                    <a:gd name="connsiteX317" fmla="*/ 1036711 w 1123106"/>
                    <a:gd name="connsiteY317" fmla="*/ 566838 h 792545"/>
                    <a:gd name="connsiteX318" fmla="*/ 1035179 w 1123106"/>
                    <a:gd name="connsiteY318" fmla="*/ 566846 h 792545"/>
                    <a:gd name="connsiteX319" fmla="*/ 1033525 w 1123106"/>
                    <a:gd name="connsiteY319" fmla="*/ 569487 h 792545"/>
                    <a:gd name="connsiteX320" fmla="*/ 1032750 w 1123106"/>
                    <a:gd name="connsiteY320" fmla="*/ 570114 h 792545"/>
                    <a:gd name="connsiteX321" fmla="*/ 1031137 w 1123106"/>
                    <a:gd name="connsiteY321" fmla="*/ 569984 h 792545"/>
                    <a:gd name="connsiteX322" fmla="*/ 1030599 w 1123106"/>
                    <a:gd name="connsiteY322" fmla="*/ 569577 h 792545"/>
                    <a:gd name="connsiteX323" fmla="*/ 1028684 w 1123106"/>
                    <a:gd name="connsiteY323" fmla="*/ 566382 h 792545"/>
                    <a:gd name="connsiteX324" fmla="*/ 1026875 w 1123106"/>
                    <a:gd name="connsiteY324" fmla="*/ 564157 h 792545"/>
                    <a:gd name="connsiteX325" fmla="*/ 1023484 w 1123106"/>
                    <a:gd name="connsiteY325" fmla="*/ 561068 h 792545"/>
                    <a:gd name="connsiteX326" fmla="*/ 1022849 w 1123106"/>
                    <a:gd name="connsiteY326" fmla="*/ 558868 h 792545"/>
                    <a:gd name="connsiteX327" fmla="*/ 1022677 w 1123106"/>
                    <a:gd name="connsiteY327" fmla="*/ 555632 h 792545"/>
                    <a:gd name="connsiteX328" fmla="*/ 1023126 w 1123106"/>
                    <a:gd name="connsiteY328" fmla="*/ 552568 h 792545"/>
                    <a:gd name="connsiteX329" fmla="*/ 1025896 w 1123106"/>
                    <a:gd name="connsiteY329" fmla="*/ 545551 h 792545"/>
                    <a:gd name="connsiteX330" fmla="*/ 1027013 w 1123106"/>
                    <a:gd name="connsiteY330" fmla="*/ 544337 h 792545"/>
                    <a:gd name="connsiteX331" fmla="*/ 1027315 w 1123106"/>
                    <a:gd name="connsiteY331" fmla="*/ 543579 h 792545"/>
                    <a:gd name="connsiteX332" fmla="*/ 1026459 w 1123106"/>
                    <a:gd name="connsiteY332" fmla="*/ 543701 h 792545"/>
                    <a:gd name="connsiteX333" fmla="*/ 1025644 w 1123106"/>
                    <a:gd name="connsiteY333" fmla="*/ 544361 h 792545"/>
                    <a:gd name="connsiteX334" fmla="*/ 1023354 w 1123106"/>
                    <a:gd name="connsiteY334" fmla="*/ 547629 h 792545"/>
                    <a:gd name="connsiteX335" fmla="*/ 1020990 w 1123106"/>
                    <a:gd name="connsiteY335" fmla="*/ 552967 h 792545"/>
                    <a:gd name="connsiteX336" fmla="*/ 1019067 w 1123106"/>
                    <a:gd name="connsiteY336" fmla="*/ 554793 h 792545"/>
                    <a:gd name="connsiteX337" fmla="*/ 1017861 w 1123106"/>
                    <a:gd name="connsiteY337" fmla="*/ 554353 h 792545"/>
                    <a:gd name="connsiteX338" fmla="*/ 1016027 w 1123106"/>
                    <a:gd name="connsiteY338" fmla="*/ 552177 h 792545"/>
                    <a:gd name="connsiteX339" fmla="*/ 1012205 w 1123106"/>
                    <a:gd name="connsiteY339" fmla="*/ 549512 h 792545"/>
                    <a:gd name="connsiteX340" fmla="*/ 1007788 w 1123106"/>
                    <a:gd name="connsiteY340" fmla="*/ 548827 h 792545"/>
                    <a:gd name="connsiteX341" fmla="*/ 1004993 w 1123106"/>
                    <a:gd name="connsiteY341" fmla="*/ 546114 h 792545"/>
                    <a:gd name="connsiteX342" fmla="*/ 1000869 w 1123106"/>
                    <a:gd name="connsiteY342" fmla="*/ 538542 h 792545"/>
                    <a:gd name="connsiteX343" fmla="*/ 1000315 w 1123106"/>
                    <a:gd name="connsiteY343" fmla="*/ 534761 h 792545"/>
                    <a:gd name="connsiteX344" fmla="*/ 999785 w 1123106"/>
                    <a:gd name="connsiteY344" fmla="*/ 533840 h 792545"/>
                    <a:gd name="connsiteX345" fmla="*/ 997552 w 1123106"/>
                    <a:gd name="connsiteY345" fmla="*/ 532610 h 792545"/>
                    <a:gd name="connsiteX346" fmla="*/ 996175 w 1123106"/>
                    <a:gd name="connsiteY346" fmla="*/ 530792 h 792545"/>
                    <a:gd name="connsiteX347" fmla="*/ 994055 w 1123106"/>
                    <a:gd name="connsiteY347" fmla="*/ 521558 h 792545"/>
                    <a:gd name="connsiteX348" fmla="*/ 991260 w 1123106"/>
                    <a:gd name="connsiteY348" fmla="*/ 515120 h 792545"/>
                    <a:gd name="connsiteX349" fmla="*/ 990559 w 1123106"/>
                    <a:gd name="connsiteY349" fmla="*/ 511722 h 792545"/>
                    <a:gd name="connsiteX350" fmla="*/ 990796 w 1123106"/>
                    <a:gd name="connsiteY350" fmla="*/ 508348 h 792545"/>
                    <a:gd name="connsiteX351" fmla="*/ 990437 w 1123106"/>
                    <a:gd name="connsiteY351" fmla="*/ 507973 h 792545"/>
                    <a:gd name="connsiteX352" fmla="*/ 989467 w 1123106"/>
                    <a:gd name="connsiteY352" fmla="*/ 510597 h 792545"/>
                    <a:gd name="connsiteX353" fmla="*/ 989215 w 1123106"/>
                    <a:gd name="connsiteY353" fmla="*/ 511974 h 792545"/>
                    <a:gd name="connsiteX354" fmla="*/ 987446 w 1123106"/>
                    <a:gd name="connsiteY354" fmla="*/ 512357 h 792545"/>
                    <a:gd name="connsiteX355" fmla="*/ 989117 w 1123106"/>
                    <a:gd name="connsiteY355" fmla="*/ 515022 h 792545"/>
                    <a:gd name="connsiteX356" fmla="*/ 989532 w 1123106"/>
                    <a:gd name="connsiteY356" fmla="*/ 516359 h 792545"/>
                    <a:gd name="connsiteX357" fmla="*/ 988701 w 1123106"/>
                    <a:gd name="connsiteY357" fmla="*/ 516245 h 792545"/>
                    <a:gd name="connsiteX358" fmla="*/ 986998 w 1123106"/>
                    <a:gd name="connsiteY358" fmla="*/ 516579 h 792545"/>
                    <a:gd name="connsiteX359" fmla="*/ 989883 w 1123106"/>
                    <a:gd name="connsiteY359" fmla="*/ 521126 h 792545"/>
                    <a:gd name="connsiteX360" fmla="*/ 991170 w 1123106"/>
                    <a:gd name="connsiteY360" fmla="*/ 528151 h 792545"/>
                    <a:gd name="connsiteX361" fmla="*/ 993078 w 1123106"/>
                    <a:gd name="connsiteY361" fmla="*/ 533359 h 792545"/>
                    <a:gd name="connsiteX362" fmla="*/ 994316 w 1123106"/>
                    <a:gd name="connsiteY362" fmla="*/ 537573 h 792545"/>
                    <a:gd name="connsiteX363" fmla="*/ 994871 w 1123106"/>
                    <a:gd name="connsiteY363" fmla="*/ 540767 h 792545"/>
                    <a:gd name="connsiteX364" fmla="*/ 995677 w 1123106"/>
                    <a:gd name="connsiteY364" fmla="*/ 543823 h 792545"/>
                    <a:gd name="connsiteX365" fmla="*/ 997902 w 1123106"/>
                    <a:gd name="connsiteY365" fmla="*/ 550555 h 792545"/>
                    <a:gd name="connsiteX366" fmla="*/ 998212 w 1123106"/>
                    <a:gd name="connsiteY366" fmla="*/ 551900 h 792545"/>
                    <a:gd name="connsiteX367" fmla="*/ 997943 w 1123106"/>
                    <a:gd name="connsiteY367" fmla="*/ 552984 h 792545"/>
                    <a:gd name="connsiteX368" fmla="*/ 997210 w 1123106"/>
                    <a:gd name="connsiteY368" fmla="*/ 554288 h 792545"/>
                    <a:gd name="connsiteX369" fmla="*/ 995938 w 1123106"/>
                    <a:gd name="connsiteY369" fmla="*/ 554777 h 792545"/>
                    <a:gd name="connsiteX370" fmla="*/ 991937 w 1123106"/>
                    <a:gd name="connsiteY370" fmla="*/ 553897 h 792545"/>
                    <a:gd name="connsiteX371" fmla="*/ 990437 w 1123106"/>
                    <a:gd name="connsiteY371" fmla="*/ 552234 h 792545"/>
                    <a:gd name="connsiteX372" fmla="*/ 988286 w 1123106"/>
                    <a:gd name="connsiteY372" fmla="*/ 549178 h 792545"/>
                    <a:gd name="connsiteX373" fmla="*/ 985262 w 1123106"/>
                    <a:gd name="connsiteY373" fmla="*/ 547768 h 792545"/>
                    <a:gd name="connsiteX374" fmla="*/ 977781 w 1123106"/>
                    <a:gd name="connsiteY374" fmla="*/ 548461 h 792545"/>
                    <a:gd name="connsiteX375" fmla="*/ 977186 w 1123106"/>
                    <a:gd name="connsiteY375" fmla="*/ 548224 h 792545"/>
                    <a:gd name="connsiteX376" fmla="*/ 977210 w 1123106"/>
                    <a:gd name="connsiteY376" fmla="*/ 545722 h 792545"/>
                    <a:gd name="connsiteX377" fmla="*/ 978066 w 1123106"/>
                    <a:gd name="connsiteY377" fmla="*/ 541273 h 792545"/>
                    <a:gd name="connsiteX378" fmla="*/ 977381 w 1123106"/>
                    <a:gd name="connsiteY378" fmla="*/ 539472 h 792545"/>
                    <a:gd name="connsiteX379" fmla="*/ 973510 w 1123106"/>
                    <a:gd name="connsiteY379" fmla="*/ 532911 h 792545"/>
                    <a:gd name="connsiteX380" fmla="*/ 973567 w 1123106"/>
                    <a:gd name="connsiteY380" fmla="*/ 531631 h 792545"/>
                    <a:gd name="connsiteX381" fmla="*/ 978946 w 1123106"/>
                    <a:gd name="connsiteY381" fmla="*/ 528616 h 792545"/>
                    <a:gd name="connsiteX382" fmla="*/ 976338 w 1123106"/>
                    <a:gd name="connsiteY382" fmla="*/ 528388 h 792545"/>
                    <a:gd name="connsiteX383" fmla="*/ 974227 w 1123106"/>
                    <a:gd name="connsiteY383" fmla="*/ 529561 h 792545"/>
                    <a:gd name="connsiteX384" fmla="*/ 973412 w 1123106"/>
                    <a:gd name="connsiteY384" fmla="*/ 528803 h 792545"/>
                    <a:gd name="connsiteX385" fmla="*/ 972149 w 1123106"/>
                    <a:gd name="connsiteY385" fmla="*/ 524590 h 792545"/>
                    <a:gd name="connsiteX386" fmla="*/ 971326 w 1123106"/>
                    <a:gd name="connsiteY386" fmla="*/ 523017 h 792545"/>
                    <a:gd name="connsiteX387" fmla="*/ 970918 w 1123106"/>
                    <a:gd name="connsiteY387" fmla="*/ 522683 h 792545"/>
                    <a:gd name="connsiteX388" fmla="*/ 970682 w 1123106"/>
                    <a:gd name="connsiteY388" fmla="*/ 526685 h 792545"/>
                    <a:gd name="connsiteX389" fmla="*/ 971579 w 1123106"/>
                    <a:gd name="connsiteY389" fmla="*/ 528795 h 792545"/>
                    <a:gd name="connsiteX390" fmla="*/ 971701 w 1123106"/>
                    <a:gd name="connsiteY390" fmla="*/ 530018 h 792545"/>
                    <a:gd name="connsiteX391" fmla="*/ 971562 w 1123106"/>
                    <a:gd name="connsiteY391" fmla="*/ 531713 h 792545"/>
                    <a:gd name="connsiteX392" fmla="*/ 971000 w 1123106"/>
                    <a:gd name="connsiteY392" fmla="*/ 532927 h 792545"/>
                    <a:gd name="connsiteX393" fmla="*/ 970014 w 1123106"/>
                    <a:gd name="connsiteY393" fmla="*/ 533661 h 792545"/>
                    <a:gd name="connsiteX394" fmla="*/ 969028 w 1123106"/>
                    <a:gd name="connsiteY394" fmla="*/ 533848 h 792545"/>
                    <a:gd name="connsiteX395" fmla="*/ 967210 w 1123106"/>
                    <a:gd name="connsiteY395" fmla="*/ 533001 h 792545"/>
                    <a:gd name="connsiteX396" fmla="*/ 965197 w 1123106"/>
                    <a:gd name="connsiteY396" fmla="*/ 531403 h 792545"/>
                    <a:gd name="connsiteX397" fmla="*/ 963437 w 1123106"/>
                    <a:gd name="connsiteY397" fmla="*/ 530662 h 792545"/>
                    <a:gd name="connsiteX398" fmla="*/ 962777 w 1123106"/>
                    <a:gd name="connsiteY398" fmla="*/ 530018 h 792545"/>
                    <a:gd name="connsiteX399" fmla="*/ 961946 w 1123106"/>
                    <a:gd name="connsiteY399" fmla="*/ 528249 h 792545"/>
                    <a:gd name="connsiteX400" fmla="*/ 960585 w 1123106"/>
                    <a:gd name="connsiteY400" fmla="*/ 526921 h 792545"/>
                    <a:gd name="connsiteX401" fmla="*/ 954016 w 1123106"/>
                    <a:gd name="connsiteY401" fmla="*/ 525226 h 792545"/>
                    <a:gd name="connsiteX402" fmla="*/ 950096 w 1123106"/>
                    <a:gd name="connsiteY402" fmla="*/ 523229 h 792545"/>
                    <a:gd name="connsiteX403" fmla="*/ 949770 w 1123106"/>
                    <a:gd name="connsiteY403" fmla="*/ 523751 h 792545"/>
                    <a:gd name="connsiteX404" fmla="*/ 950992 w 1123106"/>
                    <a:gd name="connsiteY404" fmla="*/ 525894 h 792545"/>
                    <a:gd name="connsiteX405" fmla="*/ 951115 w 1123106"/>
                    <a:gd name="connsiteY405" fmla="*/ 527149 h 792545"/>
                    <a:gd name="connsiteX406" fmla="*/ 950120 w 1123106"/>
                    <a:gd name="connsiteY406" fmla="*/ 527532 h 792545"/>
                    <a:gd name="connsiteX407" fmla="*/ 948352 w 1123106"/>
                    <a:gd name="connsiteY407" fmla="*/ 529570 h 792545"/>
                    <a:gd name="connsiteX408" fmla="*/ 948865 w 1123106"/>
                    <a:gd name="connsiteY408" fmla="*/ 529847 h 792545"/>
                    <a:gd name="connsiteX409" fmla="*/ 950732 w 1123106"/>
                    <a:gd name="connsiteY409" fmla="*/ 529178 h 792545"/>
                    <a:gd name="connsiteX410" fmla="*/ 952818 w 1123106"/>
                    <a:gd name="connsiteY410" fmla="*/ 529260 h 792545"/>
                    <a:gd name="connsiteX411" fmla="*/ 956265 w 1123106"/>
                    <a:gd name="connsiteY411" fmla="*/ 530490 h 792545"/>
                    <a:gd name="connsiteX412" fmla="*/ 959395 w 1123106"/>
                    <a:gd name="connsiteY412" fmla="*/ 532104 h 792545"/>
                    <a:gd name="connsiteX413" fmla="*/ 960528 w 1123106"/>
                    <a:gd name="connsiteY413" fmla="*/ 533009 h 792545"/>
                    <a:gd name="connsiteX414" fmla="*/ 961000 w 1123106"/>
                    <a:gd name="connsiteY414" fmla="*/ 534345 h 792545"/>
                    <a:gd name="connsiteX415" fmla="*/ 961391 w 1123106"/>
                    <a:gd name="connsiteY415" fmla="*/ 534826 h 792545"/>
                    <a:gd name="connsiteX416" fmla="*/ 964448 w 1123106"/>
                    <a:gd name="connsiteY416" fmla="*/ 536383 h 792545"/>
                    <a:gd name="connsiteX417" fmla="*/ 964594 w 1123106"/>
                    <a:gd name="connsiteY417" fmla="*/ 537206 h 792545"/>
                    <a:gd name="connsiteX418" fmla="*/ 962614 w 1123106"/>
                    <a:gd name="connsiteY418" fmla="*/ 539659 h 792545"/>
                    <a:gd name="connsiteX419" fmla="*/ 966681 w 1123106"/>
                    <a:gd name="connsiteY419" fmla="*/ 539390 h 792545"/>
                    <a:gd name="connsiteX420" fmla="*/ 969044 w 1123106"/>
                    <a:gd name="connsiteY420" fmla="*/ 540262 h 792545"/>
                    <a:gd name="connsiteX421" fmla="*/ 972059 w 1123106"/>
                    <a:gd name="connsiteY421" fmla="*/ 544035 h 792545"/>
                    <a:gd name="connsiteX422" fmla="*/ 973086 w 1123106"/>
                    <a:gd name="connsiteY422" fmla="*/ 546146 h 792545"/>
                    <a:gd name="connsiteX423" fmla="*/ 973225 w 1123106"/>
                    <a:gd name="connsiteY423" fmla="*/ 548836 h 792545"/>
                    <a:gd name="connsiteX424" fmla="*/ 972597 w 1123106"/>
                    <a:gd name="connsiteY424" fmla="*/ 549634 h 792545"/>
                    <a:gd name="connsiteX425" fmla="*/ 971391 w 1123106"/>
                    <a:gd name="connsiteY425" fmla="*/ 550172 h 792545"/>
                    <a:gd name="connsiteX426" fmla="*/ 963135 w 1123106"/>
                    <a:gd name="connsiteY426" fmla="*/ 551052 h 792545"/>
                    <a:gd name="connsiteX427" fmla="*/ 960153 w 1123106"/>
                    <a:gd name="connsiteY427" fmla="*/ 554296 h 792545"/>
                    <a:gd name="connsiteX428" fmla="*/ 959541 w 1123106"/>
                    <a:gd name="connsiteY428" fmla="*/ 554337 h 792545"/>
                    <a:gd name="connsiteX429" fmla="*/ 957276 w 1123106"/>
                    <a:gd name="connsiteY429" fmla="*/ 553465 h 792545"/>
                    <a:gd name="connsiteX430" fmla="*/ 953152 w 1123106"/>
                    <a:gd name="connsiteY430" fmla="*/ 550873 h 792545"/>
                    <a:gd name="connsiteX431" fmla="*/ 948018 w 1123106"/>
                    <a:gd name="connsiteY431" fmla="*/ 548412 h 792545"/>
                    <a:gd name="connsiteX432" fmla="*/ 936315 w 1123106"/>
                    <a:gd name="connsiteY432" fmla="*/ 541101 h 792545"/>
                    <a:gd name="connsiteX433" fmla="*/ 935989 w 1123106"/>
                    <a:gd name="connsiteY433" fmla="*/ 540759 h 792545"/>
                    <a:gd name="connsiteX434" fmla="*/ 935793 w 1123106"/>
                    <a:gd name="connsiteY434" fmla="*/ 539341 h 792545"/>
                    <a:gd name="connsiteX435" fmla="*/ 934994 w 1123106"/>
                    <a:gd name="connsiteY435" fmla="*/ 538624 h 792545"/>
                    <a:gd name="connsiteX436" fmla="*/ 933405 w 1123106"/>
                    <a:gd name="connsiteY436" fmla="*/ 538005 h 792545"/>
                    <a:gd name="connsiteX437" fmla="*/ 931197 w 1123106"/>
                    <a:gd name="connsiteY437" fmla="*/ 536146 h 792545"/>
                    <a:gd name="connsiteX438" fmla="*/ 928377 w 1123106"/>
                    <a:gd name="connsiteY438" fmla="*/ 533058 h 792545"/>
                    <a:gd name="connsiteX439" fmla="*/ 926633 w 1123106"/>
                    <a:gd name="connsiteY439" fmla="*/ 530637 h 792545"/>
                    <a:gd name="connsiteX440" fmla="*/ 925973 w 1123106"/>
                    <a:gd name="connsiteY440" fmla="*/ 528893 h 792545"/>
                    <a:gd name="connsiteX441" fmla="*/ 924326 w 1123106"/>
                    <a:gd name="connsiteY441" fmla="*/ 526905 h 792545"/>
                    <a:gd name="connsiteX442" fmla="*/ 919029 w 1123106"/>
                    <a:gd name="connsiteY442" fmla="*/ 522740 h 792545"/>
                    <a:gd name="connsiteX443" fmla="*/ 916258 w 1123106"/>
                    <a:gd name="connsiteY443" fmla="*/ 521135 h 792545"/>
                    <a:gd name="connsiteX444" fmla="*/ 913805 w 1123106"/>
                    <a:gd name="connsiteY444" fmla="*/ 520238 h 792545"/>
                    <a:gd name="connsiteX445" fmla="*/ 911678 w 1123106"/>
                    <a:gd name="connsiteY445" fmla="*/ 520034 h 792545"/>
                    <a:gd name="connsiteX446" fmla="*/ 911108 w 1123106"/>
                    <a:gd name="connsiteY446" fmla="*/ 519480 h 792545"/>
                    <a:gd name="connsiteX447" fmla="*/ 912094 w 1123106"/>
                    <a:gd name="connsiteY447" fmla="*/ 518567 h 792545"/>
                    <a:gd name="connsiteX448" fmla="*/ 912240 w 1123106"/>
                    <a:gd name="connsiteY448" fmla="*/ 518030 h 792545"/>
                    <a:gd name="connsiteX449" fmla="*/ 907546 w 1123106"/>
                    <a:gd name="connsiteY449" fmla="*/ 517174 h 792545"/>
                    <a:gd name="connsiteX450" fmla="*/ 903080 w 1123106"/>
                    <a:gd name="connsiteY450" fmla="*/ 515218 h 792545"/>
                    <a:gd name="connsiteX451" fmla="*/ 891752 w 1123106"/>
                    <a:gd name="connsiteY451" fmla="*/ 509717 h 792545"/>
                    <a:gd name="connsiteX452" fmla="*/ 885900 w 1123106"/>
                    <a:gd name="connsiteY452" fmla="*/ 506269 h 792545"/>
                    <a:gd name="connsiteX453" fmla="*/ 882494 w 1123106"/>
                    <a:gd name="connsiteY453" fmla="*/ 504623 h 792545"/>
                    <a:gd name="connsiteX454" fmla="*/ 881035 w 1123106"/>
                    <a:gd name="connsiteY454" fmla="*/ 503694 h 792545"/>
                    <a:gd name="connsiteX455" fmla="*/ 880391 w 1123106"/>
                    <a:gd name="connsiteY455" fmla="*/ 502936 h 792545"/>
                    <a:gd name="connsiteX456" fmla="*/ 881214 w 1123106"/>
                    <a:gd name="connsiteY456" fmla="*/ 502154 h 792545"/>
                    <a:gd name="connsiteX457" fmla="*/ 883496 w 1123106"/>
                    <a:gd name="connsiteY457" fmla="*/ 501331 h 792545"/>
                    <a:gd name="connsiteX458" fmla="*/ 885045 w 1123106"/>
                    <a:gd name="connsiteY458" fmla="*/ 500394 h 792545"/>
                    <a:gd name="connsiteX459" fmla="*/ 887490 w 1123106"/>
                    <a:gd name="connsiteY459" fmla="*/ 496905 h 792545"/>
                    <a:gd name="connsiteX460" fmla="*/ 887669 w 1123106"/>
                    <a:gd name="connsiteY460" fmla="*/ 495781 h 792545"/>
                    <a:gd name="connsiteX461" fmla="*/ 886357 w 1123106"/>
                    <a:gd name="connsiteY461" fmla="*/ 493238 h 792545"/>
                    <a:gd name="connsiteX462" fmla="*/ 885770 w 1123106"/>
                    <a:gd name="connsiteY462" fmla="*/ 490924 h 792545"/>
                    <a:gd name="connsiteX463" fmla="*/ 885794 w 1123106"/>
                    <a:gd name="connsiteY463" fmla="*/ 489636 h 792545"/>
                    <a:gd name="connsiteX464" fmla="*/ 886096 w 1123106"/>
                    <a:gd name="connsiteY464" fmla="*/ 488365 h 792545"/>
                    <a:gd name="connsiteX465" fmla="*/ 886471 w 1123106"/>
                    <a:gd name="connsiteY465" fmla="*/ 487525 h 792545"/>
                    <a:gd name="connsiteX466" fmla="*/ 887506 w 1123106"/>
                    <a:gd name="connsiteY466" fmla="*/ 486718 h 792545"/>
                    <a:gd name="connsiteX467" fmla="*/ 888231 w 1123106"/>
                    <a:gd name="connsiteY467" fmla="*/ 486311 h 792545"/>
                    <a:gd name="connsiteX468" fmla="*/ 889128 w 1123106"/>
                    <a:gd name="connsiteY468" fmla="*/ 486588 h 792545"/>
                    <a:gd name="connsiteX469" fmla="*/ 892005 w 1123106"/>
                    <a:gd name="connsiteY469" fmla="*/ 489774 h 792545"/>
                    <a:gd name="connsiteX470" fmla="*/ 892404 w 1123106"/>
                    <a:gd name="connsiteY470" fmla="*/ 490940 h 792545"/>
                    <a:gd name="connsiteX471" fmla="*/ 892265 w 1123106"/>
                    <a:gd name="connsiteY471" fmla="*/ 495292 h 792545"/>
                    <a:gd name="connsiteX472" fmla="*/ 893097 w 1123106"/>
                    <a:gd name="connsiteY472" fmla="*/ 500377 h 792545"/>
                    <a:gd name="connsiteX473" fmla="*/ 893357 w 1123106"/>
                    <a:gd name="connsiteY473" fmla="*/ 500011 h 792545"/>
                    <a:gd name="connsiteX474" fmla="*/ 893626 w 1123106"/>
                    <a:gd name="connsiteY474" fmla="*/ 498324 h 792545"/>
                    <a:gd name="connsiteX475" fmla="*/ 893798 w 1123106"/>
                    <a:gd name="connsiteY475" fmla="*/ 495112 h 792545"/>
                    <a:gd name="connsiteX476" fmla="*/ 894124 w 1123106"/>
                    <a:gd name="connsiteY476" fmla="*/ 493564 h 792545"/>
                    <a:gd name="connsiteX477" fmla="*/ 894743 w 1123106"/>
                    <a:gd name="connsiteY477" fmla="*/ 492065 h 792545"/>
                    <a:gd name="connsiteX478" fmla="*/ 895786 w 1123106"/>
                    <a:gd name="connsiteY478" fmla="*/ 491266 h 792545"/>
                    <a:gd name="connsiteX479" fmla="*/ 899021 w 1123106"/>
                    <a:gd name="connsiteY479" fmla="*/ 491722 h 792545"/>
                    <a:gd name="connsiteX480" fmla="*/ 900521 w 1123106"/>
                    <a:gd name="connsiteY480" fmla="*/ 491453 h 792545"/>
                    <a:gd name="connsiteX481" fmla="*/ 894205 w 1123106"/>
                    <a:gd name="connsiteY481" fmla="*/ 489155 h 792545"/>
                    <a:gd name="connsiteX482" fmla="*/ 890244 w 1123106"/>
                    <a:gd name="connsiteY482" fmla="*/ 484836 h 792545"/>
                    <a:gd name="connsiteX483" fmla="*/ 889527 w 1123106"/>
                    <a:gd name="connsiteY483" fmla="*/ 484379 h 792545"/>
                    <a:gd name="connsiteX484" fmla="*/ 887359 w 1123106"/>
                    <a:gd name="connsiteY484" fmla="*/ 484184 h 792545"/>
                    <a:gd name="connsiteX485" fmla="*/ 885061 w 1123106"/>
                    <a:gd name="connsiteY485" fmla="*/ 485928 h 792545"/>
                    <a:gd name="connsiteX486" fmla="*/ 879144 w 1123106"/>
                    <a:gd name="connsiteY486" fmla="*/ 491624 h 792545"/>
                    <a:gd name="connsiteX487" fmla="*/ 877490 w 1123106"/>
                    <a:gd name="connsiteY487" fmla="*/ 492619 h 792545"/>
                    <a:gd name="connsiteX488" fmla="*/ 870049 w 1123106"/>
                    <a:gd name="connsiteY488" fmla="*/ 495773 h 792545"/>
                    <a:gd name="connsiteX489" fmla="*/ 865013 w 1123106"/>
                    <a:gd name="connsiteY489" fmla="*/ 496400 h 792545"/>
                    <a:gd name="connsiteX490" fmla="*/ 859349 w 1123106"/>
                    <a:gd name="connsiteY490" fmla="*/ 495911 h 792545"/>
                    <a:gd name="connsiteX491" fmla="*/ 854516 w 1123106"/>
                    <a:gd name="connsiteY491" fmla="*/ 494884 h 792545"/>
                    <a:gd name="connsiteX492" fmla="*/ 842389 w 1123106"/>
                    <a:gd name="connsiteY492" fmla="*/ 489913 h 792545"/>
                    <a:gd name="connsiteX493" fmla="*/ 840498 w 1123106"/>
                    <a:gd name="connsiteY493" fmla="*/ 488756 h 792545"/>
                    <a:gd name="connsiteX494" fmla="*/ 843318 w 1123106"/>
                    <a:gd name="connsiteY494" fmla="*/ 485675 h 792545"/>
                    <a:gd name="connsiteX495" fmla="*/ 843432 w 1123106"/>
                    <a:gd name="connsiteY495" fmla="*/ 484705 h 792545"/>
                    <a:gd name="connsiteX496" fmla="*/ 842446 w 1123106"/>
                    <a:gd name="connsiteY496" fmla="*/ 481568 h 792545"/>
                    <a:gd name="connsiteX497" fmla="*/ 841639 w 1123106"/>
                    <a:gd name="connsiteY497" fmla="*/ 480671 h 792545"/>
                    <a:gd name="connsiteX498" fmla="*/ 840482 w 1123106"/>
                    <a:gd name="connsiteY498" fmla="*/ 480174 h 792545"/>
                    <a:gd name="connsiteX499" fmla="*/ 840156 w 1123106"/>
                    <a:gd name="connsiteY499" fmla="*/ 480524 h 792545"/>
                    <a:gd name="connsiteX500" fmla="*/ 840148 w 1123106"/>
                    <a:gd name="connsiteY500" fmla="*/ 481462 h 792545"/>
                    <a:gd name="connsiteX501" fmla="*/ 840457 w 1123106"/>
                    <a:gd name="connsiteY501" fmla="*/ 483181 h 792545"/>
                    <a:gd name="connsiteX502" fmla="*/ 839528 w 1123106"/>
                    <a:gd name="connsiteY502" fmla="*/ 484094 h 792545"/>
                    <a:gd name="connsiteX503" fmla="*/ 837467 w 1123106"/>
                    <a:gd name="connsiteY503" fmla="*/ 485072 h 792545"/>
                    <a:gd name="connsiteX504" fmla="*/ 833995 w 1123106"/>
                    <a:gd name="connsiteY504" fmla="*/ 486074 h 792545"/>
                    <a:gd name="connsiteX505" fmla="*/ 823229 w 1123106"/>
                    <a:gd name="connsiteY505" fmla="*/ 483532 h 792545"/>
                    <a:gd name="connsiteX506" fmla="*/ 812211 w 1123106"/>
                    <a:gd name="connsiteY506" fmla="*/ 481429 h 792545"/>
                    <a:gd name="connsiteX507" fmla="*/ 802366 w 1123106"/>
                    <a:gd name="connsiteY507" fmla="*/ 480997 h 792545"/>
                    <a:gd name="connsiteX508" fmla="*/ 788462 w 1123106"/>
                    <a:gd name="connsiteY508" fmla="*/ 482676 h 792545"/>
                    <a:gd name="connsiteX509" fmla="*/ 781046 w 1123106"/>
                    <a:gd name="connsiteY509" fmla="*/ 484355 h 792545"/>
                    <a:gd name="connsiteX510" fmla="*/ 776718 w 1123106"/>
                    <a:gd name="connsiteY510" fmla="*/ 484526 h 792545"/>
                    <a:gd name="connsiteX511" fmla="*/ 772554 w 1123106"/>
                    <a:gd name="connsiteY511" fmla="*/ 484216 h 792545"/>
                    <a:gd name="connsiteX512" fmla="*/ 772212 w 1123106"/>
                    <a:gd name="connsiteY512" fmla="*/ 483043 h 792545"/>
                    <a:gd name="connsiteX513" fmla="*/ 774111 w 1123106"/>
                    <a:gd name="connsiteY513" fmla="*/ 482366 h 792545"/>
                    <a:gd name="connsiteX514" fmla="*/ 774005 w 1123106"/>
                    <a:gd name="connsiteY514" fmla="*/ 481519 h 792545"/>
                    <a:gd name="connsiteX515" fmla="*/ 771600 w 1123106"/>
                    <a:gd name="connsiteY515" fmla="*/ 478854 h 792545"/>
                    <a:gd name="connsiteX516" fmla="*/ 767949 w 1123106"/>
                    <a:gd name="connsiteY516" fmla="*/ 477248 h 792545"/>
                    <a:gd name="connsiteX517" fmla="*/ 763051 w 1123106"/>
                    <a:gd name="connsiteY517" fmla="*/ 476678 h 792545"/>
                    <a:gd name="connsiteX518" fmla="*/ 760248 w 1123106"/>
                    <a:gd name="connsiteY518" fmla="*/ 475895 h 792545"/>
                    <a:gd name="connsiteX519" fmla="*/ 759539 w 1123106"/>
                    <a:gd name="connsiteY519" fmla="*/ 474909 h 792545"/>
                    <a:gd name="connsiteX520" fmla="*/ 757803 w 1123106"/>
                    <a:gd name="connsiteY520" fmla="*/ 473972 h 792545"/>
                    <a:gd name="connsiteX521" fmla="*/ 755056 w 1123106"/>
                    <a:gd name="connsiteY521" fmla="*/ 473076 h 792545"/>
                    <a:gd name="connsiteX522" fmla="*/ 753842 w 1123106"/>
                    <a:gd name="connsiteY522" fmla="*/ 471470 h 792545"/>
                    <a:gd name="connsiteX523" fmla="*/ 754804 w 1123106"/>
                    <a:gd name="connsiteY523" fmla="*/ 466499 h 792545"/>
                    <a:gd name="connsiteX524" fmla="*/ 755749 w 1123106"/>
                    <a:gd name="connsiteY524" fmla="*/ 463516 h 792545"/>
                    <a:gd name="connsiteX525" fmla="*/ 756695 w 1123106"/>
                    <a:gd name="connsiteY525" fmla="*/ 461470 h 792545"/>
                    <a:gd name="connsiteX526" fmla="*/ 759058 w 1123106"/>
                    <a:gd name="connsiteY526" fmla="*/ 458072 h 792545"/>
                    <a:gd name="connsiteX527" fmla="*/ 758235 w 1123106"/>
                    <a:gd name="connsiteY527" fmla="*/ 458325 h 792545"/>
                    <a:gd name="connsiteX528" fmla="*/ 754804 w 1123106"/>
                    <a:gd name="connsiteY528" fmla="*/ 460818 h 792545"/>
                    <a:gd name="connsiteX529" fmla="*/ 751805 w 1123106"/>
                    <a:gd name="connsiteY529" fmla="*/ 463394 h 792545"/>
                    <a:gd name="connsiteX530" fmla="*/ 749026 w 1123106"/>
                    <a:gd name="connsiteY530" fmla="*/ 466727 h 792545"/>
                    <a:gd name="connsiteX531" fmla="*/ 747371 w 1123106"/>
                    <a:gd name="connsiteY531" fmla="*/ 468259 h 792545"/>
                    <a:gd name="connsiteX532" fmla="*/ 745244 w 1123106"/>
                    <a:gd name="connsiteY532" fmla="*/ 469669 h 792545"/>
                    <a:gd name="connsiteX533" fmla="*/ 741935 w 1123106"/>
                    <a:gd name="connsiteY533" fmla="*/ 469335 h 792545"/>
                    <a:gd name="connsiteX534" fmla="*/ 737437 w 1123106"/>
                    <a:gd name="connsiteY534" fmla="*/ 467240 h 792545"/>
                    <a:gd name="connsiteX535" fmla="*/ 733582 w 1123106"/>
                    <a:gd name="connsiteY535" fmla="*/ 466173 h 792545"/>
                    <a:gd name="connsiteX536" fmla="*/ 730371 w 1123106"/>
                    <a:gd name="connsiteY536" fmla="*/ 466108 h 792545"/>
                    <a:gd name="connsiteX537" fmla="*/ 729108 w 1123106"/>
                    <a:gd name="connsiteY537" fmla="*/ 465749 h 792545"/>
                    <a:gd name="connsiteX538" fmla="*/ 731292 w 1123106"/>
                    <a:gd name="connsiteY538" fmla="*/ 463883 h 792545"/>
                    <a:gd name="connsiteX539" fmla="*/ 732555 w 1123106"/>
                    <a:gd name="connsiteY539" fmla="*/ 462383 h 792545"/>
                    <a:gd name="connsiteX540" fmla="*/ 734275 w 1123106"/>
                    <a:gd name="connsiteY540" fmla="*/ 459971 h 792545"/>
                    <a:gd name="connsiteX541" fmla="*/ 734650 w 1123106"/>
                    <a:gd name="connsiteY541" fmla="*/ 458805 h 792545"/>
                    <a:gd name="connsiteX542" fmla="*/ 722889 w 1123106"/>
                    <a:gd name="connsiteY542" fmla="*/ 458414 h 792545"/>
                    <a:gd name="connsiteX543" fmla="*/ 722458 w 1123106"/>
                    <a:gd name="connsiteY543" fmla="*/ 457143 h 792545"/>
                    <a:gd name="connsiteX544" fmla="*/ 722441 w 1123106"/>
                    <a:gd name="connsiteY544" fmla="*/ 456206 h 792545"/>
                    <a:gd name="connsiteX545" fmla="*/ 722066 w 1123106"/>
                    <a:gd name="connsiteY545" fmla="*/ 455431 h 792545"/>
                    <a:gd name="connsiteX546" fmla="*/ 720363 w 1123106"/>
                    <a:gd name="connsiteY546" fmla="*/ 454861 h 792545"/>
                    <a:gd name="connsiteX547" fmla="*/ 717983 w 1123106"/>
                    <a:gd name="connsiteY547" fmla="*/ 455301 h 792545"/>
                    <a:gd name="connsiteX548" fmla="*/ 714120 w 1123106"/>
                    <a:gd name="connsiteY548" fmla="*/ 456809 h 792545"/>
                    <a:gd name="connsiteX549" fmla="*/ 712441 w 1123106"/>
                    <a:gd name="connsiteY549" fmla="*/ 455668 h 792545"/>
                    <a:gd name="connsiteX550" fmla="*/ 713036 w 1123106"/>
                    <a:gd name="connsiteY550" fmla="*/ 455024 h 792545"/>
                    <a:gd name="connsiteX551" fmla="*/ 714300 w 1123106"/>
                    <a:gd name="connsiteY551" fmla="*/ 454551 h 792545"/>
                    <a:gd name="connsiteX552" fmla="*/ 716867 w 1123106"/>
                    <a:gd name="connsiteY552" fmla="*/ 452375 h 792545"/>
                    <a:gd name="connsiteX553" fmla="*/ 713395 w 1123106"/>
                    <a:gd name="connsiteY553" fmla="*/ 451242 h 792545"/>
                    <a:gd name="connsiteX554" fmla="*/ 711618 w 1123106"/>
                    <a:gd name="connsiteY554" fmla="*/ 449955 h 792545"/>
                    <a:gd name="connsiteX555" fmla="*/ 710755 w 1123106"/>
                    <a:gd name="connsiteY555" fmla="*/ 448895 h 792545"/>
                    <a:gd name="connsiteX556" fmla="*/ 710820 w 1123106"/>
                    <a:gd name="connsiteY556" fmla="*/ 445057 h 792545"/>
                    <a:gd name="connsiteX557" fmla="*/ 711732 w 1123106"/>
                    <a:gd name="connsiteY557" fmla="*/ 442596 h 792545"/>
                    <a:gd name="connsiteX558" fmla="*/ 719524 w 1123106"/>
                    <a:gd name="connsiteY558" fmla="*/ 440216 h 792545"/>
                    <a:gd name="connsiteX559" fmla="*/ 717054 w 1123106"/>
                    <a:gd name="connsiteY559" fmla="*/ 439279 h 792545"/>
                    <a:gd name="connsiteX560" fmla="*/ 712132 w 1123106"/>
                    <a:gd name="connsiteY560" fmla="*/ 439597 h 792545"/>
                    <a:gd name="connsiteX561" fmla="*/ 708831 w 1123106"/>
                    <a:gd name="connsiteY561" fmla="*/ 441634 h 792545"/>
                    <a:gd name="connsiteX562" fmla="*/ 704911 w 1123106"/>
                    <a:gd name="connsiteY562" fmla="*/ 444560 h 792545"/>
                    <a:gd name="connsiteX563" fmla="*/ 702279 w 1123106"/>
                    <a:gd name="connsiteY563" fmla="*/ 445652 h 792545"/>
                    <a:gd name="connsiteX564" fmla="*/ 700934 w 1123106"/>
                    <a:gd name="connsiteY564" fmla="*/ 444910 h 792545"/>
                    <a:gd name="connsiteX565" fmla="*/ 699157 w 1123106"/>
                    <a:gd name="connsiteY565" fmla="*/ 444658 h 792545"/>
                    <a:gd name="connsiteX566" fmla="*/ 696949 w 1123106"/>
                    <a:gd name="connsiteY566" fmla="*/ 444886 h 792545"/>
                    <a:gd name="connsiteX567" fmla="*/ 695466 w 1123106"/>
                    <a:gd name="connsiteY567" fmla="*/ 445627 h 792545"/>
                    <a:gd name="connsiteX568" fmla="*/ 694708 w 1123106"/>
                    <a:gd name="connsiteY568" fmla="*/ 446899 h 792545"/>
                    <a:gd name="connsiteX569" fmla="*/ 693828 w 1123106"/>
                    <a:gd name="connsiteY569" fmla="*/ 447754 h 792545"/>
                    <a:gd name="connsiteX570" fmla="*/ 692825 w 1123106"/>
                    <a:gd name="connsiteY570" fmla="*/ 448203 h 792545"/>
                    <a:gd name="connsiteX571" fmla="*/ 692108 w 1123106"/>
                    <a:gd name="connsiteY571" fmla="*/ 448064 h 792545"/>
                    <a:gd name="connsiteX572" fmla="*/ 691048 w 1123106"/>
                    <a:gd name="connsiteY572" fmla="*/ 446760 h 792545"/>
                    <a:gd name="connsiteX573" fmla="*/ 688824 w 1123106"/>
                    <a:gd name="connsiteY573" fmla="*/ 445945 h 792545"/>
                    <a:gd name="connsiteX574" fmla="*/ 687732 w 1123106"/>
                    <a:gd name="connsiteY574" fmla="*/ 444959 h 792545"/>
                    <a:gd name="connsiteX575" fmla="*/ 687104 w 1123106"/>
                    <a:gd name="connsiteY575" fmla="*/ 445587 h 792545"/>
                    <a:gd name="connsiteX576" fmla="*/ 686338 w 1123106"/>
                    <a:gd name="connsiteY576" fmla="*/ 447453 h 792545"/>
                    <a:gd name="connsiteX577" fmla="*/ 685539 w 1123106"/>
                    <a:gd name="connsiteY577" fmla="*/ 448398 h 792545"/>
                    <a:gd name="connsiteX578" fmla="*/ 681766 w 1123106"/>
                    <a:gd name="connsiteY578" fmla="*/ 449376 h 792545"/>
                    <a:gd name="connsiteX579" fmla="*/ 679696 w 1123106"/>
                    <a:gd name="connsiteY579" fmla="*/ 449197 h 792545"/>
                    <a:gd name="connsiteX580" fmla="*/ 677226 w 1123106"/>
                    <a:gd name="connsiteY580" fmla="*/ 446842 h 792545"/>
                    <a:gd name="connsiteX581" fmla="*/ 676868 w 1123106"/>
                    <a:gd name="connsiteY581" fmla="*/ 446019 h 792545"/>
                    <a:gd name="connsiteX582" fmla="*/ 677707 w 1123106"/>
                    <a:gd name="connsiteY582" fmla="*/ 443981 h 792545"/>
                    <a:gd name="connsiteX583" fmla="*/ 683143 w 1123106"/>
                    <a:gd name="connsiteY583" fmla="*/ 435913 h 792545"/>
                    <a:gd name="connsiteX584" fmla="*/ 682605 w 1123106"/>
                    <a:gd name="connsiteY584" fmla="*/ 435962 h 792545"/>
                    <a:gd name="connsiteX585" fmla="*/ 680845 w 1123106"/>
                    <a:gd name="connsiteY585" fmla="*/ 437225 h 792545"/>
                    <a:gd name="connsiteX586" fmla="*/ 677341 w 1123106"/>
                    <a:gd name="connsiteY586" fmla="*/ 440452 h 792545"/>
                    <a:gd name="connsiteX587" fmla="*/ 675776 w 1123106"/>
                    <a:gd name="connsiteY587" fmla="*/ 441414 h 792545"/>
                    <a:gd name="connsiteX588" fmla="*/ 673086 w 1123106"/>
                    <a:gd name="connsiteY588" fmla="*/ 441536 h 792545"/>
                    <a:gd name="connsiteX589" fmla="*/ 671823 w 1123106"/>
                    <a:gd name="connsiteY589" fmla="*/ 441194 h 792545"/>
                    <a:gd name="connsiteX590" fmla="*/ 670307 w 1123106"/>
                    <a:gd name="connsiteY590" fmla="*/ 441455 h 792545"/>
                    <a:gd name="connsiteX591" fmla="*/ 668523 w 1123106"/>
                    <a:gd name="connsiteY591" fmla="*/ 442319 h 792545"/>
                    <a:gd name="connsiteX592" fmla="*/ 667357 w 1123106"/>
                    <a:gd name="connsiteY592" fmla="*/ 443264 h 792545"/>
                    <a:gd name="connsiteX593" fmla="*/ 666819 w 1123106"/>
                    <a:gd name="connsiteY593" fmla="*/ 444291 h 792545"/>
                    <a:gd name="connsiteX594" fmla="*/ 667186 w 1123106"/>
                    <a:gd name="connsiteY594" fmla="*/ 444462 h 792545"/>
                    <a:gd name="connsiteX595" fmla="*/ 669875 w 1123106"/>
                    <a:gd name="connsiteY595" fmla="*/ 443288 h 792545"/>
                    <a:gd name="connsiteX596" fmla="*/ 671399 w 1123106"/>
                    <a:gd name="connsiteY596" fmla="*/ 442971 h 792545"/>
                    <a:gd name="connsiteX597" fmla="*/ 671823 w 1123106"/>
                    <a:gd name="connsiteY597" fmla="*/ 443541 h 792545"/>
                    <a:gd name="connsiteX598" fmla="*/ 669721 w 1123106"/>
                    <a:gd name="connsiteY598" fmla="*/ 447168 h 792545"/>
                    <a:gd name="connsiteX599" fmla="*/ 668449 w 1123106"/>
                    <a:gd name="connsiteY599" fmla="*/ 450639 h 792545"/>
                    <a:gd name="connsiteX600" fmla="*/ 667235 w 1123106"/>
                    <a:gd name="connsiteY600" fmla="*/ 451511 h 792545"/>
                    <a:gd name="connsiteX601" fmla="*/ 665312 w 1123106"/>
                    <a:gd name="connsiteY601" fmla="*/ 451365 h 792545"/>
                    <a:gd name="connsiteX602" fmla="*/ 663201 w 1123106"/>
                    <a:gd name="connsiteY602" fmla="*/ 451707 h 792545"/>
                    <a:gd name="connsiteX603" fmla="*/ 663176 w 1123106"/>
                    <a:gd name="connsiteY603" fmla="*/ 452677 h 792545"/>
                    <a:gd name="connsiteX604" fmla="*/ 667113 w 1123106"/>
                    <a:gd name="connsiteY604" fmla="*/ 455448 h 792545"/>
                    <a:gd name="connsiteX605" fmla="*/ 668531 w 1123106"/>
                    <a:gd name="connsiteY605" fmla="*/ 455839 h 792545"/>
                    <a:gd name="connsiteX606" fmla="*/ 670356 w 1123106"/>
                    <a:gd name="connsiteY606" fmla="*/ 456825 h 792545"/>
                    <a:gd name="connsiteX607" fmla="*/ 670633 w 1123106"/>
                    <a:gd name="connsiteY607" fmla="*/ 457811 h 792545"/>
                    <a:gd name="connsiteX608" fmla="*/ 669949 w 1123106"/>
                    <a:gd name="connsiteY608" fmla="*/ 460460 h 792545"/>
                    <a:gd name="connsiteX609" fmla="*/ 669435 w 1123106"/>
                    <a:gd name="connsiteY609" fmla="*/ 461503 h 792545"/>
                    <a:gd name="connsiteX610" fmla="*/ 668604 w 1123106"/>
                    <a:gd name="connsiteY610" fmla="*/ 462041 h 792545"/>
                    <a:gd name="connsiteX611" fmla="*/ 665393 w 1123106"/>
                    <a:gd name="connsiteY611" fmla="*/ 461951 h 792545"/>
                    <a:gd name="connsiteX612" fmla="*/ 664366 w 1123106"/>
                    <a:gd name="connsiteY612" fmla="*/ 462228 h 792545"/>
                    <a:gd name="connsiteX613" fmla="*/ 662207 w 1123106"/>
                    <a:gd name="connsiteY613" fmla="*/ 463891 h 792545"/>
                    <a:gd name="connsiteX614" fmla="*/ 661123 w 1123106"/>
                    <a:gd name="connsiteY614" fmla="*/ 465268 h 792545"/>
                    <a:gd name="connsiteX615" fmla="*/ 661514 w 1123106"/>
                    <a:gd name="connsiteY615" fmla="*/ 465390 h 792545"/>
                    <a:gd name="connsiteX616" fmla="*/ 663380 w 1123106"/>
                    <a:gd name="connsiteY616" fmla="*/ 464250 h 792545"/>
                    <a:gd name="connsiteX617" fmla="*/ 666094 w 1123106"/>
                    <a:gd name="connsiteY617" fmla="*/ 463638 h 792545"/>
                    <a:gd name="connsiteX618" fmla="*/ 669655 w 1123106"/>
                    <a:gd name="connsiteY618" fmla="*/ 463557 h 792545"/>
                    <a:gd name="connsiteX619" fmla="*/ 672304 w 1123106"/>
                    <a:gd name="connsiteY619" fmla="*/ 462954 h 792545"/>
                    <a:gd name="connsiteX620" fmla="*/ 674048 w 1123106"/>
                    <a:gd name="connsiteY620" fmla="*/ 461829 h 792545"/>
                    <a:gd name="connsiteX621" fmla="*/ 675743 w 1123106"/>
                    <a:gd name="connsiteY621" fmla="*/ 462147 h 792545"/>
                    <a:gd name="connsiteX622" fmla="*/ 677398 w 1123106"/>
                    <a:gd name="connsiteY622" fmla="*/ 463907 h 792545"/>
                    <a:gd name="connsiteX623" fmla="*/ 677895 w 1123106"/>
                    <a:gd name="connsiteY623" fmla="*/ 465456 h 792545"/>
                    <a:gd name="connsiteX624" fmla="*/ 677226 w 1123106"/>
                    <a:gd name="connsiteY624" fmla="*/ 466776 h 792545"/>
                    <a:gd name="connsiteX625" fmla="*/ 675865 w 1123106"/>
                    <a:gd name="connsiteY625" fmla="*/ 467721 h 792545"/>
                    <a:gd name="connsiteX626" fmla="*/ 673804 w 1123106"/>
                    <a:gd name="connsiteY626" fmla="*/ 468292 h 792545"/>
                    <a:gd name="connsiteX627" fmla="*/ 672500 w 1123106"/>
                    <a:gd name="connsiteY627" fmla="*/ 469139 h 792545"/>
                    <a:gd name="connsiteX628" fmla="*/ 671962 w 1123106"/>
                    <a:gd name="connsiteY628" fmla="*/ 470264 h 792545"/>
                    <a:gd name="connsiteX629" fmla="*/ 671660 w 1123106"/>
                    <a:gd name="connsiteY629" fmla="*/ 471935 h 792545"/>
                    <a:gd name="connsiteX630" fmla="*/ 671587 w 1123106"/>
                    <a:gd name="connsiteY630" fmla="*/ 474151 h 792545"/>
                    <a:gd name="connsiteX631" fmla="*/ 672108 w 1123106"/>
                    <a:gd name="connsiteY631" fmla="*/ 478153 h 792545"/>
                    <a:gd name="connsiteX632" fmla="*/ 671709 w 1123106"/>
                    <a:gd name="connsiteY632" fmla="*/ 478691 h 792545"/>
                    <a:gd name="connsiteX633" fmla="*/ 670935 w 1123106"/>
                    <a:gd name="connsiteY633" fmla="*/ 478992 h 792545"/>
                    <a:gd name="connsiteX634" fmla="*/ 669786 w 1123106"/>
                    <a:gd name="connsiteY634" fmla="*/ 479041 h 792545"/>
                    <a:gd name="connsiteX635" fmla="*/ 668751 w 1123106"/>
                    <a:gd name="connsiteY635" fmla="*/ 479978 h 792545"/>
                    <a:gd name="connsiteX636" fmla="*/ 666330 w 1123106"/>
                    <a:gd name="connsiteY636" fmla="*/ 485284 h 792545"/>
                    <a:gd name="connsiteX637" fmla="*/ 665483 w 1123106"/>
                    <a:gd name="connsiteY637" fmla="*/ 485854 h 792545"/>
                    <a:gd name="connsiteX638" fmla="*/ 664464 w 1123106"/>
                    <a:gd name="connsiteY638" fmla="*/ 485292 h 792545"/>
                    <a:gd name="connsiteX639" fmla="*/ 663559 w 1123106"/>
                    <a:gd name="connsiteY639" fmla="*/ 485349 h 792545"/>
                    <a:gd name="connsiteX640" fmla="*/ 662777 w 1123106"/>
                    <a:gd name="connsiteY640" fmla="*/ 486042 h 792545"/>
                    <a:gd name="connsiteX641" fmla="*/ 661057 w 1123106"/>
                    <a:gd name="connsiteY641" fmla="*/ 486572 h 792545"/>
                    <a:gd name="connsiteX642" fmla="*/ 658392 w 1123106"/>
                    <a:gd name="connsiteY642" fmla="*/ 486930 h 792545"/>
                    <a:gd name="connsiteX643" fmla="*/ 656111 w 1123106"/>
                    <a:gd name="connsiteY643" fmla="*/ 486792 h 792545"/>
                    <a:gd name="connsiteX644" fmla="*/ 652109 w 1123106"/>
                    <a:gd name="connsiteY644" fmla="*/ 485643 h 792545"/>
                    <a:gd name="connsiteX645" fmla="*/ 650471 w 1123106"/>
                    <a:gd name="connsiteY645" fmla="*/ 484828 h 792545"/>
                    <a:gd name="connsiteX646" fmla="*/ 649191 w 1123106"/>
                    <a:gd name="connsiteY646" fmla="*/ 483499 h 792545"/>
                    <a:gd name="connsiteX647" fmla="*/ 645597 w 1123106"/>
                    <a:gd name="connsiteY647" fmla="*/ 484909 h 792545"/>
                    <a:gd name="connsiteX648" fmla="*/ 644644 w 1123106"/>
                    <a:gd name="connsiteY648" fmla="*/ 484298 h 792545"/>
                    <a:gd name="connsiteX649" fmla="*/ 642403 w 1123106"/>
                    <a:gd name="connsiteY649" fmla="*/ 480614 h 792545"/>
                    <a:gd name="connsiteX650" fmla="*/ 641922 w 1123106"/>
                    <a:gd name="connsiteY650" fmla="*/ 480834 h 792545"/>
                    <a:gd name="connsiteX651" fmla="*/ 641490 w 1123106"/>
                    <a:gd name="connsiteY651" fmla="*/ 484795 h 792545"/>
                    <a:gd name="connsiteX652" fmla="*/ 640814 w 1123106"/>
                    <a:gd name="connsiteY652" fmla="*/ 486180 h 792545"/>
                    <a:gd name="connsiteX653" fmla="*/ 638597 w 1123106"/>
                    <a:gd name="connsiteY653" fmla="*/ 489057 h 792545"/>
                    <a:gd name="connsiteX654" fmla="*/ 637382 w 1123106"/>
                    <a:gd name="connsiteY654" fmla="*/ 493988 h 792545"/>
                    <a:gd name="connsiteX655" fmla="*/ 637024 w 1123106"/>
                    <a:gd name="connsiteY655" fmla="*/ 494143 h 792545"/>
                    <a:gd name="connsiteX656" fmla="*/ 636608 w 1123106"/>
                    <a:gd name="connsiteY656" fmla="*/ 493425 h 792545"/>
                    <a:gd name="connsiteX657" fmla="*/ 635239 w 1123106"/>
                    <a:gd name="connsiteY657" fmla="*/ 489016 h 792545"/>
                    <a:gd name="connsiteX658" fmla="*/ 634522 w 1123106"/>
                    <a:gd name="connsiteY658" fmla="*/ 488047 h 792545"/>
                    <a:gd name="connsiteX659" fmla="*/ 632509 w 1123106"/>
                    <a:gd name="connsiteY659" fmla="*/ 490598 h 792545"/>
                    <a:gd name="connsiteX660" fmla="*/ 632289 w 1123106"/>
                    <a:gd name="connsiteY660" fmla="*/ 491510 h 792545"/>
                    <a:gd name="connsiteX661" fmla="*/ 632810 w 1123106"/>
                    <a:gd name="connsiteY661" fmla="*/ 494787 h 792545"/>
                    <a:gd name="connsiteX662" fmla="*/ 632346 w 1123106"/>
                    <a:gd name="connsiteY662" fmla="*/ 495284 h 792545"/>
                    <a:gd name="connsiteX663" fmla="*/ 628287 w 1123106"/>
                    <a:gd name="connsiteY663" fmla="*/ 493515 h 792545"/>
                    <a:gd name="connsiteX664" fmla="*/ 627285 w 1123106"/>
                    <a:gd name="connsiteY664" fmla="*/ 493425 h 792545"/>
                    <a:gd name="connsiteX665" fmla="*/ 627024 w 1123106"/>
                    <a:gd name="connsiteY665" fmla="*/ 493727 h 792545"/>
                    <a:gd name="connsiteX666" fmla="*/ 628410 w 1123106"/>
                    <a:gd name="connsiteY666" fmla="*/ 496278 h 792545"/>
                    <a:gd name="connsiteX667" fmla="*/ 628247 w 1123106"/>
                    <a:gd name="connsiteY667" fmla="*/ 497183 h 792545"/>
                    <a:gd name="connsiteX668" fmla="*/ 622501 w 1123106"/>
                    <a:gd name="connsiteY668" fmla="*/ 502105 h 792545"/>
                    <a:gd name="connsiteX669" fmla="*/ 621002 w 1123106"/>
                    <a:gd name="connsiteY669" fmla="*/ 501926 h 792545"/>
                    <a:gd name="connsiteX670" fmla="*/ 620064 w 1123106"/>
                    <a:gd name="connsiteY670" fmla="*/ 501437 h 792545"/>
                    <a:gd name="connsiteX671" fmla="*/ 619029 w 1123106"/>
                    <a:gd name="connsiteY671" fmla="*/ 501510 h 792545"/>
                    <a:gd name="connsiteX672" fmla="*/ 615378 w 1123106"/>
                    <a:gd name="connsiteY672" fmla="*/ 503336 h 792545"/>
                    <a:gd name="connsiteX673" fmla="*/ 614368 w 1123106"/>
                    <a:gd name="connsiteY673" fmla="*/ 503262 h 792545"/>
                    <a:gd name="connsiteX674" fmla="*/ 612990 w 1123106"/>
                    <a:gd name="connsiteY674" fmla="*/ 502178 h 792545"/>
                    <a:gd name="connsiteX675" fmla="*/ 612346 w 1123106"/>
                    <a:gd name="connsiteY675" fmla="*/ 502219 h 792545"/>
                    <a:gd name="connsiteX676" fmla="*/ 612004 w 1123106"/>
                    <a:gd name="connsiteY676" fmla="*/ 503352 h 792545"/>
                    <a:gd name="connsiteX677" fmla="*/ 611963 w 1123106"/>
                    <a:gd name="connsiteY677" fmla="*/ 505552 h 792545"/>
                    <a:gd name="connsiteX678" fmla="*/ 610611 w 1123106"/>
                    <a:gd name="connsiteY678" fmla="*/ 507639 h 792545"/>
                    <a:gd name="connsiteX679" fmla="*/ 606259 w 1123106"/>
                    <a:gd name="connsiteY679" fmla="*/ 511021 h 792545"/>
                    <a:gd name="connsiteX680" fmla="*/ 605101 w 1123106"/>
                    <a:gd name="connsiteY680" fmla="*/ 512569 h 792545"/>
                    <a:gd name="connsiteX681" fmla="*/ 604229 w 1123106"/>
                    <a:gd name="connsiteY681" fmla="*/ 514696 h 792545"/>
                    <a:gd name="connsiteX682" fmla="*/ 603577 w 1123106"/>
                    <a:gd name="connsiteY682" fmla="*/ 514900 h 792545"/>
                    <a:gd name="connsiteX683" fmla="*/ 601027 w 1123106"/>
                    <a:gd name="connsiteY683" fmla="*/ 513531 h 792545"/>
                    <a:gd name="connsiteX684" fmla="*/ 598068 w 1123106"/>
                    <a:gd name="connsiteY684" fmla="*/ 512651 h 792545"/>
                    <a:gd name="connsiteX685" fmla="*/ 597661 w 1123106"/>
                    <a:gd name="connsiteY685" fmla="*/ 513091 h 792545"/>
                    <a:gd name="connsiteX686" fmla="*/ 598557 w 1123106"/>
                    <a:gd name="connsiteY686" fmla="*/ 514395 h 792545"/>
                    <a:gd name="connsiteX687" fmla="*/ 598370 w 1123106"/>
                    <a:gd name="connsiteY687" fmla="*/ 515185 h 792545"/>
                    <a:gd name="connsiteX688" fmla="*/ 597090 w 1123106"/>
                    <a:gd name="connsiteY688" fmla="*/ 515487 h 792545"/>
                    <a:gd name="connsiteX689" fmla="*/ 595477 w 1123106"/>
                    <a:gd name="connsiteY689" fmla="*/ 515373 h 792545"/>
                    <a:gd name="connsiteX690" fmla="*/ 593521 w 1123106"/>
                    <a:gd name="connsiteY690" fmla="*/ 514843 h 792545"/>
                    <a:gd name="connsiteX691" fmla="*/ 590782 w 1123106"/>
                    <a:gd name="connsiteY691" fmla="*/ 515446 h 792545"/>
                    <a:gd name="connsiteX692" fmla="*/ 587245 w 1123106"/>
                    <a:gd name="connsiteY692" fmla="*/ 517158 h 792545"/>
                    <a:gd name="connsiteX693" fmla="*/ 584303 w 1123106"/>
                    <a:gd name="connsiteY693" fmla="*/ 517109 h 792545"/>
                    <a:gd name="connsiteX694" fmla="*/ 580196 w 1123106"/>
                    <a:gd name="connsiteY694" fmla="*/ 514281 h 792545"/>
                    <a:gd name="connsiteX695" fmla="*/ 579055 w 1123106"/>
                    <a:gd name="connsiteY695" fmla="*/ 514069 h 792545"/>
                    <a:gd name="connsiteX696" fmla="*/ 578696 w 1123106"/>
                    <a:gd name="connsiteY696" fmla="*/ 513278 h 792545"/>
                    <a:gd name="connsiteX697" fmla="*/ 579495 w 1123106"/>
                    <a:gd name="connsiteY697" fmla="*/ 510996 h 792545"/>
                    <a:gd name="connsiteX698" fmla="*/ 580668 w 1123106"/>
                    <a:gd name="connsiteY698" fmla="*/ 509269 h 792545"/>
                    <a:gd name="connsiteX699" fmla="*/ 581524 w 1123106"/>
                    <a:gd name="connsiteY699" fmla="*/ 508478 h 792545"/>
                    <a:gd name="connsiteX700" fmla="*/ 585428 w 1123106"/>
                    <a:gd name="connsiteY700" fmla="*/ 506261 h 792545"/>
                    <a:gd name="connsiteX701" fmla="*/ 589886 w 1123106"/>
                    <a:gd name="connsiteY701" fmla="*/ 505446 h 792545"/>
                    <a:gd name="connsiteX702" fmla="*/ 592689 w 1123106"/>
                    <a:gd name="connsiteY702" fmla="*/ 504110 h 792545"/>
                    <a:gd name="connsiteX703" fmla="*/ 596096 w 1123106"/>
                    <a:gd name="connsiteY703" fmla="*/ 501355 h 792545"/>
                    <a:gd name="connsiteX704" fmla="*/ 597905 w 1123106"/>
                    <a:gd name="connsiteY704" fmla="*/ 499285 h 792545"/>
                    <a:gd name="connsiteX705" fmla="*/ 601450 w 1123106"/>
                    <a:gd name="connsiteY705" fmla="*/ 493947 h 792545"/>
                    <a:gd name="connsiteX706" fmla="*/ 601181 w 1123106"/>
                    <a:gd name="connsiteY706" fmla="*/ 493531 h 792545"/>
                    <a:gd name="connsiteX707" fmla="*/ 600383 w 1123106"/>
                    <a:gd name="connsiteY707" fmla="*/ 493246 h 792545"/>
                    <a:gd name="connsiteX708" fmla="*/ 592592 w 1123106"/>
                    <a:gd name="connsiteY708" fmla="*/ 498307 h 792545"/>
                    <a:gd name="connsiteX709" fmla="*/ 591442 w 1123106"/>
                    <a:gd name="connsiteY709" fmla="*/ 498780 h 792545"/>
                    <a:gd name="connsiteX710" fmla="*/ 589894 w 1123106"/>
                    <a:gd name="connsiteY710" fmla="*/ 498747 h 792545"/>
                    <a:gd name="connsiteX711" fmla="*/ 583659 w 1123106"/>
                    <a:gd name="connsiteY711" fmla="*/ 496808 h 792545"/>
                    <a:gd name="connsiteX712" fmla="*/ 582339 w 1123106"/>
                    <a:gd name="connsiteY712" fmla="*/ 495968 h 792545"/>
                    <a:gd name="connsiteX713" fmla="*/ 581443 w 1123106"/>
                    <a:gd name="connsiteY713" fmla="*/ 493531 h 792545"/>
                    <a:gd name="connsiteX714" fmla="*/ 583170 w 1123106"/>
                    <a:gd name="connsiteY714" fmla="*/ 487998 h 792545"/>
                    <a:gd name="connsiteX715" fmla="*/ 584377 w 1123106"/>
                    <a:gd name="connsiteY715" fmla="*/ 485317 h 792545"/>
                    <a:gd name="connsiteX716" fmla="*/ 587425 w 1123106"/>
                    <a:gd name="connsiteY716" fmla="*/ 481168 h 792545"/>
                    <a:gd name="connsiteX717" fmla="*/ 591402 w 1123106"/>
                    <a:gd name="connsiteY717" fmla="*/ 476751 h 792545"/>
                    <a:gd name="connsiteX718" fmla="*/ 592779 w 1123106"/>
                    <a:gd name="connsiteY718" fmla="*/ 473874 h 792545"/>
                    <a:gd name="connsiteX719" fmla="*/ 594849 w 1123106"/>
                    <a:gd name="connsiteY719" fmla="*/ 466181 h 792545"/>
                    <a:gd name="connsiteX720" fmla="*/ 594727 w 1123106"/>
                    <a:gd name="connsiteY720" fmla="*/ 462685 h 792545"/>
                    <a:gd name="connsiteX721" fmla="*/ 593798 w 1123106"/>
                    <a:gd name="connsiteY721" fmla="*/ 458414 h 792545"/>
                    <a:gd name="connsiteX722" fmla="*/ 593765 w 1123106"/>
                    <a:gd name="connsiteY722" fmla="*/ 455880 h 792545"/>
                    <a:gd name="connsiteX723" fmla="*/ 594621 w 1123106"/>
                    <a:gd name="connsiteY723" fmla="*/ 455073 h 792545"/>
                    <a:gd name="connsiteX724" fmla="*/ 603749 w 1123106"/>
                    <a:gd name="connsiteY724" fmla="*/ 451120 h 792545"/>
                    <a:gd name="connsiteX725" fmla="*/ 608068 w 1123106"/>
                    <a:gd name="connsiteY725" fmla="*/ 448154 h 792545"/>
                    <a:gd name="connsiteX726" fmla="*/ 616454 w 1123106"/>
                    <a:gd name="connsiteY726" fmla="*/ 443769 h 792545"/>
                    <a:gd name="connsiteX727" fmla="*/ 618736 w 1123106"/>
                    <a:gd name="connsiteY727" fmla="*/ 443802 h 792545"/>
                    <a:gd name="connsiteX728" fmla="*/ 620415 w 1123106"/>
                    <a:gd name="connsiteY728" fmla="*/ 445310 h 792545"/>
                    <a:gd name="connsiteX729" fmla="*/ 622371 w 1123106"/>
                    <a:gd name="connsiteY729" fmla="*/ 446524 h 792545"/>
                    <a:gd name="connsiteX730" fmla="*/ 624596 w 1123106"/>
                    <a:gd name="connsiteY730" fmla="*/ 447420 h 792545"/>
                    <a:gd name="connsiteX731" fmla="*/ 627456 w 1123106"/>
                    <a:gd name="connsiteY731" fmla="*/ 447331 h 792545"/>
                    <a:gd name="connsiteX732" fmla="*/ 630961 w 1123106"/>
                    <a:gd name="connsiteY732" fmla="*/ 446239 h 792545"/>
                    <a:gd name="connsiteX733" fmla="*/ 636510 w 1123106"/>
                    <a:gd name="connsiteY733" fmla="*/ 446646 h 792545"/>
                    <a:gd name="connsiteX734" fmla="*/ 647912 w 1123106"/>
                    <a:gd name="connsiteY734" fmla="*/ 449531 h 792545"/>
                    <a:gd name="connsiteX735" fmla="*/ 650332 w 1123106"/>
                    <a:gd name="connsiteY735" fmla="*/ 449694 h 792545"/>
                    <a:gd name="connsiteX736" fmla="*/ 650422 w 1123106"/>
                    <a:gd name="connsiteY736" fmla="*/ 449335 h 792545"/>
                    <a:gd name="connsiteX737" fmla="*/ 648662 w 1123106"/>
                    <a:gd name="connsiteY737" fmla="*/ 447314 h 792545"/>
                    <a:gd name="connsiteX738" fmla="*/ 640805 w 1123106"/>
                    <a:gd name="connsiteY738" fmla="*/ 446141 h 792545"/>
                    <a:gd name="connsiteX739" fmla="*/ 637497 w 1123106"/>
                    <a:gd name="connsiteY739" fmla="*/ 444967 h 792545"/>
                    <a:gd name="connsiteX740" fmla="*/ 628190 w 1123106"/>
                    <a:gd name="connsiteY740" fmla="*/ 439808 h 792545"/>
                    <a:gd name="connsiteX741" fmla="*/ 626071 w 1123106"/>
                    <a:gd name="connsiteY741" fmla="*/ 437812 h 792545"/>
                    <a:gd name="connsiteX742" fmla="*/ 626926 w 1123106"/>
                    <a:gd name="connsiteY742" fmla="*/ 436883 h 792545"/>
                    <a:gd name="connsiteX743" fmla="*/ 629208 w 1123106"/>
                    <a:gd name="connsiteY743" fmla="*/ 436117 h 792545"/>
                    <a:gd name="connsiteX744" fmla="*/ 629991 w 1123106"/>
                    <a:gd name="connsiteY744" fmla="*/ 435367 h 792545"/>
                    <a:gd name="connsiteX745" fmla="*/ 630317 w 1123106"/>
                    <a:gd name="connsiteY745" fmla="*/ 434071 h 792545"/>
                    <a:gd name="connsiteX746" fmla="*/ 631629 w 1123106"/>
                    <a:gd name="connsiteY746" fmla="*/ 432303 h 792545"/>
                    <a:gd name="connsiteX747" fmla="*/ 633919 w 1123106"/>
                    <a:gd name="connsiteY747" fmla="*/ 430045 h 792545"/>
                    <a:gd name="connsiteX748" fmla="*/ 637415 w 1123106"/>
                    <a:gd name="connsiteY748" fmla="*/ 427861 h 792545"/>
                    <a:gd name="connsiteX749" fmla="*/ 644033 w 1123106"/>
                    <a:gd name="connsiteY749" fmla="*/ 424617 h 792545"/>
                    <a:gd name="connsiteX750" fmla="*/ 641441 w 1123106"/>
                    <a:gd name="connsiteY750" fmla="*/ 424479 h 792545"/>
                    <a:gd name="connsiteX751" fmla="*/ 636682 w 1123106"/>
                    <a:gd name="connsiteY751" fmla="*/ 425082 h 792545"/>
                    <a:gd name="connsiteX752" fmla="*/ 634954 w 1123106"/>
                    <a:gd name="connsiteY752" fmla="*/ 425709 h 792545"/>
                    <a:gd name="connsiteX753" fmla="*/ 631767 w 1123106"/>
                    <a:gd name="connsiteY753" fmla="*/ 428032 h 792545"/>
                    <a:gd name="connsiteX754" fmla="*/ 630529 w 1123106"/>
                    <a:gd name="connsiteY754" fmla="*/ 429670 h 792545"/>
                    <a:gd name="connsiteX755" fmla="*/ 628752 w 1123106"/>
                    <a:gd name="connsiteY755" fmla="*/ 432857 h 792545"/>
                    <a:gd name="connsiteX756" fmla="*/ 627994 w 1123106"/>
                    <a:gd name="connsiteY756" fmla="*/ 433452 h 792545"/>
                    <a:gd name="connsiteX757" fmla="*/ 624693 w 1123106"/>
                    <a:gd name="connsiteY757" fmla="*/ 433924 h 792545"/>
                    <a:gd name="connsiteX758" fmla="*/ 615696 w 1123106"/>
                    <a:gd name="connsiteY758" fmla="*/ 434242 h 792545"/>
                    <a:gd name="connsiteX759" fmla="*/ 614172 w 1123106"/>
                    <a:gd name="connsiteY759" fmla="*/ 432612 h 792545"/>
                    <a:gd name="connsiteX760" fmla="*/ 613324 w 1123106"/>
                    <a:gd name="connsiteY760" fmla="*/ 432351 h 792545"/>
                    <a:gd name="connsiteX761" fmla="*/ 612208 w 1123106"/>
                    <a:gd name="connsiteY761" fmla="*/ 432580 h 792545"/>
                    <a:gd name="connsiteX762" fmla="*/ 603944 w 1123106"/>
                    <a:gd name="connsiteY762" fmla="*/ 436736 h 792545"/>
                    <a:gd name="connsiteX763" fmla="*/ 600978 w 1123106"/>
                    <a:gd name="connsiteY763" fmla="*/ 438855 h 792545"/>
                    <a:gd name="connsiteX764" fmla="*/ 598867 w 1123106"/>
                    <a:gd name="connsiteY764" fmla="*/ 441275 h 792545"/>
                    <a:gd name="connsiteX765" fmla="*/ 595599 w 1123106"/>
                    <a:gd name="connsiteY765" fmla="*/ 443044 h 792545"/>
                    <a:gd name="connsiteX766" fmla="*/ 591182 w 1123106"/>
                    <a:gd name="connsiteY766" fmla="*/ 444169 h 792545"/>
                    <a:gd name="connsiteX767" fmla="*/ 587873 w 1123106"/>
                    <a:gd name="connsiteY767" fmla="*/ 445554 h 792545"/>
                    <a:gd name="connsiteX768" fmla="*/ 584393 w 1123106"/>
                    <a:gd name="connsiteY768" fmla="*/ 448325 h 792545"/>
                    <a:gd name="connsiteX769" fmla="*/ 583203 w 1123106"/>
                    <a:gd name="connsiteY769" fmla="*/ 450460 h 792545"/>
                    <a:gd name="connsiteX770" fmla="*/ 583138 w 1123106"/>
                    <a:gd name="connsiteY770" fmla="*/ 451454 h 792545"/>
                    <a:gd name="connsiteX771" fmla="*/ 583977 w 1123106"/>
                    <a:gd name="connsiteY771" fmla="*/ 454608 h 792545"/>
                    <a:gd name="connsiteX772" fmla="*/ 583122 w 1123106"/>
                    <a:gd name="connsiteY772" fmla="*/ 455195 h 792545"/>
                    <a:gd name="connsiteX773" fmla="*/ 581109 w 1123106"/>
                    <a:gd name="connsiteY773" fmla="*/ 455448 h 792545"/>
                    <a:gd name="connsiteX774" fmla="*/ 577881 w 1123106"/>
                    <a:gd name="connsiteY774" fmla="*/ 457526 h 792545"/>
                    <a:gd name="connsiteX775" fmla="*/ 571076 w 1123106"/>
                    <a:gd name="connsiteY775" fmla="*/ 463720 h 792545"/>
                    <a:gd name="connsiteX776" fmla="*/ 570188 w 1123106"/>
                    <a:gd name="connsiteY776" fmla="*/ 465953 h 792545"/>
                    <a:gd name="connsiteX777" fmla="*/ 570221 w 1123106"/>
                    <a:gd name="connsiteY777" fmla="*/ 466727 h 792545"/>
                    <a:gd name="connsiteX778" fmla="*/ 571337 w 1123106"/>
                    <a:gd name="connsiteY778" fmla="*/ 468479 h 792545"/>
                    <a:gd name="connsiteX779" fmla="*/ 570563 w 1123106"/>
                    <a:gd name="connsiteY779" fmla="*/ 469620 h 792545"/>
                    <a:gd name="connsiteX780" fmla="*/ 568648 w 1123106"/>
                    <a:gd name="connsiteY780" fmla="*/ 471405 h 792545"/>
                    <a:gd name="connsiteX781" fmla="*/ 564385 w 1123106"/>
                    <a:gd name="connsiteY781" fmla="*/ 474249 h 792545"/>
                    <a:gd name="connsiteX782" fmla="*/ 561582 w 1123106"/>
                    <a:gd name="connsiteY782" fmla="*/ 475333 h 792545"/>
                    <a:gd name="connsiteX783" fmla="*/ 559756 w 1123106"/>
                    <a:gd name="connsiteY783" fmla="*/ 475382 h 792545"/>
                    <a:gd name="connsiteX784" fmla="*/ 558004 w 1123106"/>
                    <a:gd name="connsiteY784" fmla="*/ 474983 h 792545"/>
                    <a:gd name="connsiteX785" fmla="*/ 554891 w 1123106"/>
                    <a:gd name="connsiteY785" fmla="*/ 473157 h 792545"/>
                    <a:gd name="connsiteX786" fmla="*/ 552364 w 1123106"/>
                    <a:gd name="connsiteY786" fmla="*/ 473043 h 792545"/>
                    <a:gd name="connsiteX787" fmla="*/ 552210 w 1123106"/>
                    <a:gd name="connsiteY787" fmla="*/ 473296 h 792545"/>
                    <a:gd name="connsiteX788" fmla="*/ 555632 w 1123106"/>
                    <a:gd name="connsiteY788" fmla="*/ 475252 h 792545"/>
                    <a:gd name="connsiteX789" fmla="*/ 559121 w 1123106"/>
                    <a:gd name="connsiteY789" fmla="*/ 477770 h 792545"/>
                    <a:gd name="connsiteX790" fmla="*/ 561297 w 1123106"/>
                    <a:gd name="connsiteY790" fmla="*/ 479856 h 792545"/>
                    <a:gd name="connsiteX791" fmla="*/ 562152 w 1123106"/>
                    <a:gd name="connsiteY791" fmla="*/ 481511 h 792545"/>
                    <a:gd name="connsiteX792" fmla="*/ 562193 w 1123106"/>
                    <a:gd name="connsiteY792" fmla="*/ 483214 h 792545"/>
                    <a:gd name="connsiteX793" fmla="*/ 561411 w 1123106"/>
                    <a:gd name="connsiteY793" fmla="*/ 484966 h 792545"/>
                    <a:gd name="connsiteX794" fmla="*/ 558941 w 1123106"/>
                    <a:gd name="connsiteY794" fmla="*/ 488014 h 792545"/>
                    <a:gd name="connsiteX795" fmla="*/ 556529 w 1123106"/>
                    <a:gd name="connsiteY795" fmla="*/ 488927 h 792545"/>
                    <a:gd name="connsiteX796" fmla="*/ 550343 w 1123106"/>
                    <a:gd name="connsiteY796" fmla="*/ 489840 h 792545"/>
                    <a:gd name="connsiteX797" fmla="*/ 548355 w 1123106"/>
                    <a:gd name="connsiteY797" fmla="*/ 490565 h 792545"/>
                    <a:gd name="connsiteX798" fmla="*/ 547735 w 1123106"/>
                    <a:gd name="connsiteY798" fmla="*/ 491127 h 792545"/>
                    <a:gd name="connsiteX799" fmla="*/ 551981 w 1123106"/>
                    <a:gd name="connsiteY799" fmla="*/ 492415 h 792545"/>
                    <a:gd name="connsiteX800" fmla="*/ 552364 w 1123106"/>
                    <a:gd name="connsiteY800" fmla="*/ 493075 h 792545"/>
                    <a:gd name="connsiteX801" fmla="*/ 551778 w 1123106"/>
                    <a:gd name="connsiteY801" fmla="*/ 495618 h 792545"/>
                    <a:gd name="connsiteX802" fmla="*/ 550653 w 1123106"/>
                    <a:gd name="connsiteY802" fmla="*/ 496457 h 792545"/>
                    <a:gd name="connsiteX803" fmla="*/ 547116 w 1123106"/>
                    <a:gd name="connsiteY803" fmla="*/ 497981 h 792545"/>
                    <a:gd name="connsiteX804" fmla="*/ 543946 w 1123106"/>
                    <a:gd name="connsiteY804" fmla="*/ 498421 h 792545"/>
                    <a:gd name="connsiteX805" fmla="*/ 543465 w 1123106"/>
                    <a:gd name="connsiteY805" fmla="*/ 498136 h 792545"/>
                    <a:gd name="connsiteX806" fmla="*/ 544052 w 1123106"/>
                    <a:gd name="connsiteY806" fmla="*/ 496131 h 792545"/>
                    <a:gd name="connsiteX807" fmla="*/ 543881 w 1123106"/>
                    <a:gd name="connsiteY807" fmla="*/ 495634 h 792545"/>
                    <a:gd name="connsiteX808" fmla="*/ 542691 w 1123106"/>
                    <a:gd name="connsiteY808" fmla="*/ 495218 h 792545"/>
                    <a:gd name="connsiteX809" fmla="*/ 540996 w 1123106"/>
                    <a:gd name="connsiteY809" fmla="*/ 495985 h 792545"/>
                    <a:gd name="connsiteX810" fmla="*/ 536782 w 1123106"/>
                    <a:gd name="connsiteY810" fmla="*/ 498927 h 792545"/>
                    <a:gd name="connsiteX811" fmla="*/ 536334 w 1123106"/>
                    <a:gd name="connsiteY811" fmla="*/ 499416 h 792545"/>
                    <a:gd name="connsiteX812" fmla="*/ 537850 w 1123106"/>
                    <a:gd name="connsiteY812" fmla="*/ 500198 h 792545"/>
                    <a:gd name="connsiteX813" fmla="*/ 537524 w 1123106"/>
                    <a:gd name="connsiteY813" fmla="*/ 500858 h 792545"/>
                    <a:gd name="connsiteX814" fmla="*/ 535242 w 1123106"/>
                    <a:gd name="connsiteY814" fmla="*/ 502977 h 792545"/>
                    <a:gd name="connsiteX815" fmla="*/ 534297 w 1123106"/>
                    <a:gd name="connsiteY815" fmla="*/ 504379 h 792545"/>
                    <a:gd name="connsiteX816" fmla="*/ 532764 w 1123106"/>
                    <a:gd name="connsiteY816" fmla="*/ 505813 h 792545"/>
                    <a:gd name="connsiteX817" fmla="*/ 525967 w 1123106"/>
                    <a:gd name="connsiteY817" fmla="*/ 510198 h 792545"/>
                    <a:gd name="connsiteX818" fmla="*/ 526481 w 1123106"/>
                    <a:gd name="connsiteY818" fmla="*/ 511265 h 792545"/>
                    <a:gd name="connsiteX819" fmla="*/ 524712 w 1123106"/>
                    <a:gd name="connsiteY819" fmla="*/ 515079 h 792545"/>
                    <a:gd name="connsiteX820" fmla="*/ 523726 w 1123106"/>
                    <a:gd name="connsiteY820" fmla="*/ 518429 h 792545"/>
                    <a:gd name="connsiteX821" fmla="*/ 524924 w 1123106"/>
                    <a:gd name="connsiteY821" fmla="*/ 519847 h 792545"/>
                    <a:gd name="connsiteX822" fmla="*/ 530637 w 1123106"/>
                    <a:gd name="connsiteY822" fmla="*/ 521501 h 792545"/>
                    <a:gd name="connsiteX823" fmla="*/ 533408 w 1123106"/>
                    <a:gd name="connsiteY823" fmla="*/ 521893 h 792545"/>
                    <a:gd name="connsiteX824" fmla="*/ 536668 w 1123106"/>
                    <a:gd name="connsiteY824" fmla="*/ 523050 h 792545"/>
                    <a:gd name="connsiteX825" fmla="*/ 542577 w 1123106"/>
                    <a:gd name="connsiteY825" fmla="*/ 526163 h 792545"/>
                    <a:gd name="connsiteX826" fmla="*/ 544541 w 1123106"/>
                    <a:gd name="connsiteY826" fmla="*/ 528200 h 792545"/>
                    <a:gd name="connsiteX827" fmla="*/ 544842 w 1123106"/>
                    <a:gd name="connsiteY827" fmla="*/ 529154 h 792545"/>
                    <a:gd name="connsiteX828" fmla="*/ 544655 w 1123106"/>
                    <a:gd name="connsiteY828" fmla="*/ 530197 h 792545"/>
                    <a:gd name="connsiteX829" fmla="*/ 543946 w 1123106"/>
                    <a:gd name="connsiteY829" fmla="*/ 531607 h 792545"/>
                    <a:gd name="connsiteX830" fmla="*/ 542096 w 1123106"/>
                    <a:gd name="connsiteY830" fmla="*/ 534264 h 792545"/>
                    <a:gd name="connsiteX831" fmla="*/ 537638 w 1123106"/>
                    <a:gd name="connsiteY831" fmla="*/ 538200 h 792545"/>
                    <a:gd name="connsiteX832" fmla="*/ 535617 w 1123106"/>
                    <a:gd name="connsiteY832" fmla="*/ 539317 h 792545"/>
                    <a:gd name="connsiteX833" fmla="*/ 532569 w 1123106"/>
                    <a:gd name="connsiteY833" fmla="*/ 540189 h 792545"/>
                    <a:gd name="connsiteX834" fmla="*/ 531566 w 1123106"/>
                    <a:gd name="connsiteY834" fmla="*/ 540824 h 792545"/>
                    <a:gd name="connsiteX835" fmla="*/ 527646 w 1123106"/>
                    <a:gd name="connsiteY835" fmla="*/ 544557 h 792545"/>
                    <a:gd name="connsiteX836" fmla="*/ 526595 w 1123106"/>
                    <a:gd name="connsiteY836" fmla="*/ 546578 h 792545"/>
                    <a:gd name="connsiteX837" fmla="*/ 526766 w 1123106"/>
                    <a:gd name="connsiteY837" fmla="*/ 548330 h 792545"/>
                    <a:gd name="connsiteX838" fmla="*/ 526016 w 1123106"/>
                    <a:gd name="connsiteY838" fmla="*/ 549553 h 792545"/>
                    <a:gd name="connsiteX839" fmla="*/ 520980 w 1123106"/>
                    <a:gd name="connsiteY839" fmla="*/ 551965 h 792545"/>
                    <a:gd name="connsiteX840" fmla="*/ 521159 w 1123106"/>
                    <a:gd name="connsiteY840" fmla="*/ 552397 h 792545"/>
                    <a:gd name="connsiteX841" fmla="*/ 522993 w 1123106"/>
                    <a:gd name="connsiteY841" fmla="*/ 552584 h 792545"/>
                    <a:gd name="connsiteX842" fmla="*/ 522316 w 1123106"/>
                    <a:gd name="connsiteY842" fmla="*/ 554711 h 792545"/>
                    <a:gd name="connsiteX843" fmla="*/ 522023 w 1123106"/>
                    <a:gd name="connsiteY843" fmla="*/ 557654 h 792545"/>
                    <a:gd name="connsiteX844" fmla="*/ 521151 w 1123106"/>
                    <a:gd name="connsiteY844" fmla="*/ 558159 h 792545"/>
                    <a:gd name="connsiteX845" fmla="*/ 518005 w 1123106"/>
                    <a:gd name="connsiteY845" fmla="*/ 558143 h 792545"/>
                    <a:gd name="connsiteX846" fmla="*/ 514004 w 1123106"/>
                    <a:gd name="connsiteY846" fmla="*/ 559284 h 792545"/>
                    <a:gd name="connsiteX847" fmla="*/ 513718 w 1123106"/>
                    <a:gd name="connsiteY847" fmla="*/ 559609 h 792545"/>
                    <a:gd name="connsiteX848" fmla="*/ 513645 w 1123106"/>
                    <a:gd name="connsiteY848" fmla="*/ 561728 h 792545"/>
                    <a:gd name="connsiteX849" fmla="*/ 503181 w 1123106"/>
                    <a:gd name="connsiteY849" fmla="*/ 563277 h 792545"/>
                    <a:gd name="connsiteX850" fmla="*/ 500891 w 1123106"/>
                    <a:gd name="connsiteY850" fmla="*/ 567295 h 792545"/>
                    <a:gd name="connsiteX851" fmla="*/ 499701 w 1123106"/>
                    <a:gd name="connsiteY851" fmla="*/ 568525 h 792545"/>
                    <a:gd name="connsiteX852" fmla="*/ 495593 w 1123106"/>
                    <a:gd name="connsiteY852" fmla="*/ 571443 h 792545"/>
                    <a:gd name="connsiteX853" fmla="*/ 493083 w 1123106"/>
                    <a:gd name="connsiteY853" fmla="*/ 572617 h 792545"/>
                    <a:gd name="connsiteX854" fmla="*/ 490215 w 1123106"/>
                    <a:gd name="connsiteY854" fmla="*/ 573325 h 792545"/>
                    <a:gd name="connsiteX855" fmla="*/ 488707 w 1123106"/>
                    <a:gd name="connsiteY855" fmla="*/ 574320 h 792545"/>
                    <a:gd name="connsiteX856" fmla="*/ 488568 w 1123106"/>
                    <a:gd name="connsiteY856" fmla="*/ 575591 h 792545"/>
                    <a:gd name="connsiteX857" fmla="*/ 487753 w 1123106"/>
                    <a:gd name="connsiteY857" fmla="*/ 576683 h 792545"/>
                    <a:gd name="connsiteX858" fmla="*/ 485268 w 1123106"/>
                    <a:gd name="connsiteY858" fmla="*/ 578492 h 792545"/>
                    <a:gd name="connsiteX859" fmla="*/ 484053 w 1123106"/>
                    <a:gd name="connsiteY859" fmla="*/ 580766 h 792545"/>
                    <a:gd name="connsiteX860" fmla="*/ 483165 w 1123106"/>
                    <a:gd name="connsiteY860" fmla="*/ 581117 h 792545"/>
                    <a:gd name="connsiteX861" fmla="*/ 478544 w 1123106"/>
                    <a:gd name="connsiteY861" fmla="*/ 581663 h 792545"/>
                    <a:gd name="connsiteX862" fmla="*/ 477623 w 1123106"/>
                    <a:gd name="connsiteY862" fmla="*/ 582380 h 792545"/>
                    <a:gd name="connsiteX863" fmla="*/ 477175 w 1123106"/>
                    <a:gd name="connsiteY863" fmla="*/ 585452 h 792545"/>
                    <a:gd name="connsiteX864" fmla="*/ 476319 w 1123106"/>
                    <a:gd name="connsiteY864" fmla="*/ 585550 h 792545"/>
                    <a:gd name="connsiteX865" fmla="*/ 474681 w 1123106"/>
                    <a:gd name="connsiteY865" fmla="*/ 584841 h 792545"/>
                    <a:gd name="connsiteX866" fmla="*/ 472546 w 1123106"/>
                    <a:gd name="connsiteY866" fmla="*/ 585395 h 792545"/>
                    <a:gd name="connsiteX867" fmla="*/ 467738 w 1123106"/>
                    <a:gd name="connsiteY867" fmla="*/ 588867 h 792545"/>
                    <a:gd name="connsiteX868" fmla="*/ 466686 w 1123106"/>
                    <a:gd name="connsiteY868" fmla="*/ 590114 h 792545"/>
                    <a:gd name="connsiteX869" fmla="*/ 466800 w 1123106"/>
                    <a:gd name="connsiteY869" fmla="*/ 590782 h 792545"/>
                    <a:gd name="connsiteX870" fmla="*/ 467550 w 1123106"/>
                    <a:gd name="connsiteY870" fmla="*/ 591450 h 792545"/>
                    <a:gd name="connsiteX871" fmla="*/ 468691 w 1123106"/>
                    <a:gd name="connsiteY871" fmla="*/ 593512 h 792545"/>
                    <a:gd name="connsiteX872" fmla="*/ 468618 w 1123106"/>
                    <a:gd name="connsiteY872" fmla="*/ 594898 h 792545"/>
                    <a:gd name="connsiteX873" fmla="*/ 466760 w 1123106"/>
                    <a:gd name="connsiteY873" fmla="*/ 598769 h 792545"/>
                    <a:gd name="connsiteX874" fmla="*/ 466108 w 1123106"/>
                    <a:gd name="connsiteY874" fmla="*/ 599364 h 792545"/>
                    <a:gd name="connsiteX875" fmla="*/ 463866 w 1123106"/>
                    <a:gd name="connsiteY875" fmla="*/ 600326 h 792545"/>
                    <a:gd name="connsiteX876" fmla="*/ 462946 w 1123106"/>
                    <a:gd name="connsiteY876" fmla="*/ 602461 h 792545"/>
                    <a:gd name="connsiteX877" fmla="*/ 460876 w 1123106"/>
                    <a:gd name="connsiteY877" fmla="*/ 602224 h 792545"/>
                    <a:gd name="connsiteX878" fmla="*/ 459205 w 1123106"/>
                    <a:gd name="connsiteY878" fmla="*/ 602624 h 792545"/>
                    <a:gd name="connsiteX879" fmla="*/ 458113 w 1123106"/>
                    <a:gd name="connsiteY879" fmla="*/ 604050 h 792545"/>
                    <a:gd name="connsiteX880" fmla="*/ 456923 w 1123106"/>
                    <a:gd name="connsiteY880" fmla="*/ 604881 h 792545"/>
                    <a:gd name="connsiteX881" fmla="*/ 455635 w 1123106"/>
                    <a:gd name="connsiteY881" fmla="*/ 605093 h 792545"/>
                    <a:gd name="connsiteX882" fmla="*/ 454030 w 1123106"/>
                    <a:gd name="connsiteY882" fmla="*/ 606226 h 792545"/>
                    <a:gd name="connsiteX883" fmla="*/ 452082 w 1123106"/>
                    <a:gd name="connsiteY883" fmla="*/ 608263 h 792545"/>
                    <a:gd name="connsiteX884" fmla="*/ 450289 w 1123106"/>
                    <a:gd name="connsiteY884" fmla="*/ 609567 h 792545"/>
                    <a:gd name="connsiteX885" fmla="*/ 448635 w 1123106"/>
                    <a:gd name="connsiteY885" fmla="*/ 610130 h 792545"/>
                    <a:gd name="connsiteX886" fmla="*/ 447029 w 1123106"/>
                    <a:gd name="connsiteY886" fmla="*/ 610268 h 792545"/>
                    <a:gd name="connsiteX887" fmla="*/ 445464 w 1123106"/>
                    <a:gd name="connsiteY887" fmla="*/ 609991 h 792545"/>
                    <a:gd name="connsiteX888" fmla="*/ 444063 w 1123106"/>
                    <a:gd name="connsiteY888" fmla="*/ 610219 h 792545"/>
                    <a:gd name="connsiteX889" fmla="*/ 442816 w 1123106"/>
                    <a:gd name="connsiteY889" fmla="*/ 610977 h 792545"/>
                    <a:gd name="connsiteX890" fmla="*/ 441601 w 1123106"/>
                    <a:gd name="connsiteY890" fmla="*/ 612159 h 792545"/>
                    <a:gd name="connsiteX891" fmla="*/ 440632 w 1123106"/>
                    <a:gd name="connsiteY891" fmla="*/ 615509 h 792545"/>
                    <a:gd name="connsiteX892" fmla="*/ 439401 w 1123106"/>
                    <a:gd name="connsiteY892" fmla="*/ 617008 h 792545"/>
                    <a:gd name="connsiteX893" fmla="*/ 438627 w 1123106"/>
                    <a:gd name="connsiteY893" fmla="*/ 617261 h 792545"/>
                    <a:gd name="connsiteX894" fmla="*/ 437038 w 1123106"/>
                    <a:gd name="connsiteY894" fmla="*/ 617041 h 792545"/>
                    <a:gd name="connsiteX895" fmla="*/ 434633 w 1123106"/>
                    <a:gd name="connsiteY895" fmla="*/ 616340 h 792545"/>
                    <a:gd name="connsiteX896" fmla="*/ 432197 w 1123106"/>
                    <a:gd name="connsiteY896" fmla="*/ 616584 h 792545"/>
                    <a:gd name="connsiteX897" fmla="*/ 428260 w 1123106"/>
                    <a:gd name="connsiteY897" fmla="*/ 618638 h 792545"/>
                    <a:gd name="connsiteX898" fmla="*/ 427013 w 1123106"/>
                    <a:gd name="connsiteY898" fmla="*/ 620186 h 792545"/>
                    <a:gd name="connsiteX899" fmla="*/ 429499 w 1123106"/>
                    <a:gd name="connsiteY899" fmla="*/ 620529 h 792545"/>
                    <a:gd name="connsiteX900" fmla="*/ 430722 w 1123106"/>
                    <a:gd name="connsiteY900" fmla="*/ 620977 h 792545"/>
                    <a:gd name="connsiteX901" fmla="*/ 430689 w 1123106"/>
                    <a:gd name="connsiteY901" fmla="*/ 621409 h 792545"/>
                    <a:gd name="connsiteX902" fmla="*/ 429401 w 1123106"/>
                    <a:gd name="connsiteY902" fmla="*/ 621833 h 792545"/>
                    <a:gd name="connsiteX903" fmla="*/ 427201 w 1123106"/>
                    <a:gd name="connsiteY903" fmla="*/ 621792 h 792545"/>
                    <a:gd name="connsiteX904" fmla="*/ 425872 w 1123106"/>
                    <a:gd name="connsiteY904" fmla="*/ 622151 h 792545"/>
                    <a:gd name="connsiteX905" fmla="*/ 424259 w 1123106"/>
                    <a:gd name="connsiteY905" fmla="*/ 623031 h 792545"/>
                    <a:gd name="connsiteX906" fmla="*/ 420217 w 1123106"/>
                    <a:gd name="connsiteY906" fmla="*/ 623984 h 792545"/>
                    <a:gd name="connsiteX907" fmla="*/ 418684 w 1123106"/>
                    <a:gd name="connsiteY907" fmla="*/ 624661 h 792545"/>
                    <a:gd name="connsiteX908" fmla="*/ 415628 w 1123106"/>
                    <a:gd name="connsiteY908" fmla="*/ 628532 h 792545"/>
                    <a:gd name="connsiteX909" fmla="*/ 415261 w 1123106"/>
                    <a:gd name="connsiteY909" fmla="*/ 629412 h 792545"/>
                    <a:gd name="connsiteX910" fmla="*/ 415653 w 1123106"/>
                    <a:gd name="connsiteY910" fmla="*/ 629599 h 792545"/>
                    <a:gd name="connsiteX911" fmla="*/ 417364 w 1123106"/>
                    <a:gd name="connsiteY911" fmla="*/ 629192 h 792545"/>
                    <a:gd name="connsiteX912" fmla="*/ 419377 w 1123106"/>
                    <a:gd name="connsiteY912" fmla="*/ 629836 h 792545"/>
                    <a:gd name="connsiteX913" fmla="*/ 420420 w 1123106"/>
                    <a:gd name="connsiteY913" fmla="*/ 630651 h 792545"/>
                    <a:gd name="connsiteX914" fmla="*/ 421097 w 1123106"/>
                    <a:gd name="connsiteY914" fmla="*/ 631661 h 792545"/>
                    <a:gd name="connsiteX915" fmla="*/ 421732 w 1123106"/>
                    <a:gd name="connsiteY915" fmla="*/ 633601 h 792545"/>
                    <a:gd name="connsiteX916" fmla="*/ 422124 w 1123106"/>
                    <a:gd name="connsiteY916" fmla="*/ 633886 h 792545"/>
                    <a:gd name="connsiteX917" fmla="*/ 418244 w 1123106"/>
                    <a:gd name="connsiteY917" fmla="*/ 637154 h 792545"/>
                    <a:gd name="connsiteX918" fmla="*/ 417144 w 1123106"/>
                    <a:gd name="connsiteY918" fmla="*/ 638532 h 792545"/>
                    <a:gd name="connsiteX919" fmla="*/ 416435 w 1123106"/>
                    <a:gd name="connsiteY919" fmla="*/ 639045 h 792545"/>
                    <a:gd name="connsiteX920" fmla="*/ 415971 w 1123106"/>
                    <a:gd name="connsiteY920" fmla="*/ 638654 h 792545"/>
                    <a:gd name="connsiteX921" fmla="*/ 415490 w 1123106"/>
                    <a:gd name="connsiteY921" fmla="*/ 635019 h 792545"/>
                    <a:gd name="connsiteX922" fmla="*/ 415196 w 1123106"/>
                    <a:gd name="connsiteY922" fmla="*/ 634400 h 792545"/>
                    <a:gd name="connsiteX923" fmla="*/ 414292 w 1123106"/>
                    <a:gd name="connsiteY923" fmla="*/ 634342 h 792545"/>
                    <a:gd name="connsiteX924" fmla="*/ 413403 w 1123106"/>
                    <a:gd name="connsiteY924" fmla="*/ 635483 h 792545"/>
                    <a:gd name="connsiteX925" fmla="*/ 411472 w 1123106"/>
                    <a:gd name="connsiteY925" fmla="*/ 639778 h 792545"/>
                    <a:gd name="connsiteX926" fmla="*/ 409361 w 1123106"/>
                    <a:gd name="connsiteY926" fmla="*/ 641938 h 792545"/>
                    <a:gd name="connsiteX927" fmla="*/ 393494 w 1123106"/>
                    <a:gd name="connsiteY927" fmla="*/ 647464 h 792545"/>
                    <a:gd name="connsiteX928" fmla="*/ 391171 w 1123106"/>
                    <a:gd name="connsiteY928" fmla="*/ 648727 h 792545"/>
                    <a:gd name="connsiteX929" fmla="*/ 390723 w 1123106"/>
                    <a:gd name="connsiteY929" fmla="*/ 651082 h 792545"/>
                    <a:gd name="connsiteX930" fmla="*/ 390063 w 1123106"/>
                    <a:gd name="connsiteY930" fmla="*/ 653119 h 792545"/>
                    <a:gd name="connsiteX931" fmla="*/ 389011 w 1123106"/>
                    <a:gd name="connsiteY931" fmla="*/ 654741 h 792545"/>
                    <a:gd name="connsiteX932" fmla="*/ 387789 w 1123106"/>
                    <a:gd name="connsiteY932" fmla="*/ 655768 h 792545"/>
                    <a:gd name="connsiteX933" fmla="*/ 387520 w 1123106"/>
                    <a:gd name="connsiteY933" fmla="*/ 655035 h 792545"/>
                    <a:gd name="connsiteX934" fmla="*/ 387642 w 1123106"/>
                    <a:gd name="connsiteY934" fmla="*/ 649297 h 792545"/>
                    <a:gd name="connsiteX935" fmla="*/ 387316 w 1123106"/>
                    <a:gd name="connsiteY935" fmla="*/ 648156 h 792545"/>
                    <a:gd name="connsiteX936" fmla="*/ 385719 w 1123106"/>
                    <a:gd name="connsiteY936" fmla="*/ 647423 h 792545"/>
                    <a:gd name="connsiteX937" fmla="*/ 385018 w 1123106"/>
                    <a:gd name="connsiteY937" fmla="*/ 647521 h 792545"/>
                    <a:gd name="connsiteX938" fmla="*/ 384048 w 1123106"/>
                    <a:gd name="connsiteY938" fmla="*/ 647847 h 792545"/>
                    <a:gd name="connsiteX939" fmla="*/ 382459 w 1123106"/>
                    <a:gd name="connsiteY939" fmla="*/ 649085 h 792545"/>
                    <a:gd name="connsiteX940" fmla="*/ 381489 w 1123106"/>
                    <a:gd name="connsiteY940" fmla="*/ 649395 h 792545"/>
                    <a:gd name="connsiteX941" fmla="*/ 380283 w 1123106"/>
                    <a:gd name="connsiteY941" fmla="*/ 649297 h 792545"/>
                    <a:gd name="connsiteX942" fmla="*/ 378221 w 1123106"/>
                    <a:gd name="connsiteY942" fmla="*/ 650520 h 792545"/>
                    <a:gd name="connsiteX943" fmla="*/ 373307 w 1123106"/>
                    <a:gd name="connsiteY943" fmla="*/ 654440 h 792545"/>
                    <a:gd name="connsiteX944" fmla="*/ 370096 w 1123106"/>
                    <a:gd name="connsiteY944" fmla="*/ 655410 h 792545"/>
                    <a:gd name="connsiteX945" fmla="*/ 369248 w 1123106"/>
                    <a:gd name="connsiteY945" fmla="*/ 656225 h 792545"/>
                    <a:gd name="connsiteX946" fmla="*/ 367879 w 1123106"/>
                    <a:gd name="connsiteY946" fmla="*/ 658368 h 792545"/>
                    <a:gd name="connsiteX947" fmla="*/ 366966 w 1123106"/>
                    <a:gd name="connsiteY947" fmla="*/ 659159 h 792545"/>
                    <a:gd name="connsiteX948" fmla="*/ 365621 w 1123106"/>
                    <a:gd name="connsiteY948" fmla="*/ 659224 h 792545"/>
                    <a:gd name="connsiteX949" fmla="*/ 363845 w 1123106"/>
                    <a:gd name="connsiteY949" fmla="*/ 658580 h 792545"/>
                    <a:gd name="connsiteX950" fmla="*/ 362410 w 1123106"/>
                    <a:gd name="connsiteY950" fmla="*/ 659036 h 792545"/>
                    <a:gd name="connsiteX951" fmla="*/ 361327 w 1123106"/>
                    <a:gd name="connsiteY951" fmla="*/ 660593 h 792545"/>
                    <a:gd name="connsiteX952" fmla="*/ 360226 w 1123106"/>
                    <a:gd name="connsiteY952" fmla="*/ 661204 h 792545"/>
                    <a:gd name="connsiteX953" fmla="*/ 357105 w 1123106"/>
                    <a:gd name="connsiteY953" fmla="*/ 660055 h 792545"/>
                    <a:gd name="connsiteX954" fmla="*/ 355736 w 1123106"/>
                    <a:gd name="connsiteY954" fmla="*/ 660845 h 792545"/>
                    <a:gd name="connsiteX955" fmla="*/ 353951 w 1123106"/>
                    <a:gd name="connsiteY955" fmla="*/ 662858 h 792545"/>
                    <a:gd name="connsiteX956" fmla="*/ 352085 w 1123106"/>
                    <a:gd name="connsiteY956" fmla="*/ 664187 h 792545"/>
                    <a:gd name="connsiteX957" fmla="*/ 350137 w 1123106"/>
                    <a:gd name="connsiteY957" fmla="*/ 664831 h 792545"/>
                    <a:gd name="connsiteX958" fmla="*/ 345076 w 1123106"/>
                    <a:gd name="connsiteY958" fmla="*/ 665507 h 792545"/>
                    <a:gd name="connsiteX959" fmla="*/ 343039 w 1123106"/>
                    <a:gd name="connsiteY959" fmla="*/ 665075 h 792545"/>
                    <a:gd name="connsiteX960" fmla="*/ 342623 w 1123106"/>
                    <a:gd name="connsiteY960" fmla="*/ 664497 h 792545"/>
                    <a:gd name="connsiteX961" fmla="*/ 342721 w 1123106"/>
                    <a:gd name="connsiteY961" fmla="*/ 661938 h 792545"/>
                    <a:gd name="connsiteX962" fmla="*/ 343536 w 1123106"/>
                    <a:gd name="connsiteY962" fmla="*/ 660088 h 792545"/>
                    <a:gd name="connsiteX963" fmla="*/ 344294 w 1123106"/>
                    <a:gd name="connsiteY963" fmla="*/ 659215 h 792545"/>
                    <a:gd name="connsiteX964" fmla="*/ 345304 w 1123106"/>
                    <a:gd name="connsiteY964" fmla="*/ 658441 h 792545"/>
                    <a:gd name="connsiteX965" fmla="*/ 346779 w 1123106"/>
                    <a:gd name="connsiteY965" fmla="*/ 658360 h 792545"/>
                    <a:gd name="connsiteX966" fmla="*/ 349534 w 1123106"/>
                    <a:gd name="connsiteY966" fmla="*/ 658938 h 792545"/>
                    <a:gd name="connsiteX967" fmla="*/ 349216 w 1123106"/>
                    <a:gd name="connsiteY967" fmla="*/ 658311 h 792545"/>
                    <a:gd name="connsiteX968" fmla="*/ 348214 w 1123106"/>
                    <a:gd name="connsiteY968" fmla="*/ 657577 h 792545"/>
                    <a:gd name="connsiteX969" fmla="*/ 345671 w 1123106"/>
                    <a:gd name="connsiteY969" fmla="*/ 656306 h 792545"/>
                    <a:gd name="connsiteX970" fmla="*/ 343161 w 1123106"/>
                    <a:gd name="connsiteY970" fmla="*/ 655654 h 792545"/>
                    <a:gd name="connsiteX971" fmla="*/ 341718 w 1123106"/>
                    <a:gd name="connsiteY971" fmla="*/ 656070 h 792545"/>
                    <a:gd name="connsiteX972" fmla="*/ 339689 w 1123106"/>
                    <a:gd name="connsiteY972" fmla="*/ 657048 h 792545"/>
                    <a:gd name="connsiteX973" fmla="*/ 338312 w 1123106"/>
                    <a:gd name="connsiteY973" fmla="*/ 658172 h 792545"/>
                    <a:gd name="connsiteX974" fmla="*/ 337586 w 1123106"/>
                    <a:gd name="connsiteY974" fmla="*/ 659452 h 792545"/>
                    <a:gd name="connsiteX975" fmla="*/ 336674 w 1123106"/>
                    <a:gd name="connsiteY975" fmla="*/ 663616 h 792545"/>
                    <a:gd name="connsiteX976" fmla="*/ 336152 w 1123106"/>
                    <a:gd name="connsiteY976" fmla="*/ 664757 h 792545"/>
                    <a:gd name="connsiteX977" fmla="*/ 330235 w 1123106"/>
                    <a:gd name="connsiteY977" fmla="*/ 672100 h 792545"/>
                    <a:gd name="connsiteX978" fmla="*/ 327904 w 1123106"/>
                    <a:gd name="connsiteY978" fmla="*/ 674358 h 792545"/>
                    <a:gd name="connsiteX979" fmla="*/ 325614 w 1123106"/>
                    <a:gd name="connsiteY979" fmla="*/ 674187 h 792545"/>
                    <a:gd name="connsiteX980" fmla="*/ 324498 w 1123106"/>
                    <a:gd name="connsiteY980" fmla="*/ 675042 h 792545"/>
                    <a:gd name="connsiteX981" fmla="*/ 322933 w 1123106"/>
                    <a:gd name="connsiteY981" fmla="*/ 676884 h 792545"/>
                    <a:gd name="connsiteX982" fmla="*/ 321491 w 1123106"/>
                    <a:gd name="connsiteY982" fmla="*/ 677748 h 792545"/>
                    <a:gd name="connsiteX983" fmla="*/ 320162 w 1123106"/>
                    <a:gd name="connsiteY983" fmla="*/ 677667 h 792545"/>
                    <a:gd name="connsiteX984" fmla="*/ 319135 w 1123106"/>
                    <a:gd name="connsiteY984" fmla="*/ 677324 h 792545"/>
                    <a:gd name="connsiteX985" fmla="*/ 318402 w 1123106"/>
                    <a:gd name="connsiteY985" fmla="*/ 676705 h 792545"/>
                    <a:gd name="connsiteX986" fmla="*/ 318532 w 1123106"/>
                    <a:gd name="connsiteY986" fmla="*/ 676134 h 792545"/>
                    <a:gd name="connsiteX987" fmla="*/ 319518 w 1123106"/>
                    <a:gd name="connsiteY987" fmla="*/ 675605 h 792545"/>
                    <a:gd name="connsiteX988" fmla="*/ 319168 w 1123106"/>
                    <a:gd name="connsiteY988" fmla="*/ 674130 h 792545"/>
                    <a:gd name="connsiteX989" fmla="*/ 317473 w 1123106"/>
                    <a:gd name="connsiteY989" fmla="*/ 671725 h 792545"/>
                    <a:gd name="connsiteX990" fmla="*/ 316316 w 1123106"/>
                    <a:gd name="connsiteY990" fmla="*/ 670421 h 792545"/>
                    <a:gd name="connsiteX991" fmla="*/ 314123 w 1123106"/>
                    <a:gd name="connsiteY991" fmla="*/ 670267 h 792545"/>
                    <a:gd name="connsiteX992" fmla="*/ 313781 w 1123106"/>
                    <a:gd name="connsiteY992" fmla="*/ 671359 h 792545"/>
                    <a:gd name="connsiteX993" fmla="*/ 314523 w 1123106"/>
                    <a:gd name="connsiteY993" fmla="*/ 676941 h 792545"/>
                    <a:gd name="connsiteX994" fmla="*/ 314409 w 1123106"/>
                    <a:gd name="connsiteY994" fmla="*/ 678204 h 792545"/>
                    <a:gd name="connsiteX995" fmla="*/ 313031 w 1123106"/>
                    <a:gd name="connsiteY995" fmla="*/ 679794 h 792545"/>
                    <a:gd name="connsiteX996" fmla="*/ 309437 w 1123106"/>
                    <a:gd name="connsiteY996" fmla="*/ 681562 h 792545"/>
                    <a:gd name="connsiteX997" fmla="*/ 308304 w 1123106"/>
                    <a:gd name="connsiteY997" fmla="*/ 681391 h 792545"/>
                    <a:gd name="connsiteX998" fmla="*/ 305061 w 1123106"/>
                    <a:gd name="connsiteY998" fmla="*/ 677895 h 792545"/>
                    <a:gd name="connsiteX999" fmla="*/ 301997 w 1123106"/>
                    <a:gd name="connsiteY999" fmla="*/ 677202 h 792545"/>
                    <a:gd name="connsiteX1000" fmla="*/ 301793 w 1123106"/>
                    <a:gd name="connsiteY1000" fmla="*/ 678343 h 792545"/>
                    <a:gd name="connsiteX1001" fmla="*/ 302477 w 1123106"/>
                    <a:gd name="connsiteY1001" fmla="*/ 680666 h 792545"/>
                    <a:gd name="connsiteX1002" fmla="*/ 301711 w 1123106"/>
                    <a:gd name="connsiteY1002" fmla="*/ 682842 h 792545"/>
                    <a:gd name="connsiteX1003" fmla="*/ 299495 w 1123106"/>
                    <a:gd name="connsiteY1003" fmla="*/ 684863 h 792545"/>
                    <a:gd name="connsiteX1004" fmla="*/ 297799 w 1123106"/>
                    <a:gd name="connsiteY1004" fmla="*/ 685841 h 792545"/>
                    <a:gd name="connsiteX1005" fmla="*/ 296642 w 1123106"/>
                    <a:gd name="connsiteY1005" fmla="*/ 685784 h 792545"/>
                    <a:gd name="connsiteX1006" fmla="*/ 296577 w 1123106"/>
                    <a:gd name="connsiteY1006" fmla="*/ 684366 h 792545"/>
                    <a:gd name="connsiteX1007" fmla="*/ 297604 w 1123106"/>
                    <a:gd name="connsiteY1007" fmla="*/ 681595 h 792545"/>
                    <a:gd name="connsiteX1008" fmla="*/ 297873 w 1123106"/>
                    <a:gd name="connsiteY1008" fmla="*/ 679288 h 792545"/>
                    <a:gd name="connsiteX1009" fmla="*/ 297367 w 1123106"/>
                    <a:gd name="connsiteY1009" fmla="*/ 677438 h 792545"/>
                    <a:gd name="connsiteX1010" fmla="*/ 297416 w 1123106"/>
                    <a:gd name="connsiteY1010" fmla="*/ 676012 h 792545"/>
                    <a:gd name="connsiteX1011" fmla="*/ 298036 w 1123106"/>
                    <a:gd name="connsiteY1011" fmla="*/ 675026 h 792545"/>
                    <a:gd name="connsiteX1012" fmla="*/ 302111 w 1123106"/>
                    <a:gd name="connsiteY1012" fmla="*/ 672279 h 792545"/>
                    <a:gd name="connsiteX1013" fmla="*/ 303830 w 1123106"/>
                    <a:gd name="connsiteY1013" fmla="*/ 671872 h 792545"/>
                    <a:gd name="connsiteX1014" fmla="*/ 304743 w 1123106"/>
                    <a:gd name="connsiteY1014" fmla="*/ 672548 h 792545"/>
                    <a:gd name="connsiteX1015" fmla="*/ 305892 w 1123106"/>
                    <a:gd name="connsiteY1015" fmla="*/ 672663 h 792545"/>
                    <a:gd name="connsiteX1016" fmla="*/ 307261 w 1123106"/>
                    <a:gd name="connsiteY1016" fmla="*/ 672214 h 792545"/>
                    <a:gd name="connsiteX1017" fmla="*/ 308125 w 1123106"/>
                    <a:gd name="connsiteY1017" fmla="*/ 671334 h 792545"/>
                    <a:gd name="connsiteX1018" fmla="*/ 308484 w 1123106"/>
                    <a:gd name="connsiteY1018" fmla="*/ 670022 h 792545"/>
                    <a:gd name="connsiteX1019" fmla="*/ 310244 w 1123106"/>
                    <a:gd name="connsiteY1019" fmla="*/ 668335 h 792545"/>
                    <a:gd name="connsiteX1020" fmla="*/ 313406 w 1123106"/>
                    <a:gd name="connsiteY1020" fmla="*/ 666290 h 792545"/>
                    <a:gd name="connsiteX1021" fmla="*/ 317016 w 1123106"/>
                    <a:gd name="connsiteY1021" fmla="*/ 662500 h 792545"/>
                    <a:gd name="connsiteX1022" fmla="*/ 321091 w 1123106"/>
                    <a:gd name="connsiteY1022" fmla="*/ 656966 h 792545"/>
                    <a:gd name="connsiteX1023" fmla="*/ 325859 w 1123106"/>
                    <a:gd name="connsiteY1023" fmla="*/ 652190 h 792545"/>
                    <a:gd name="connsiteX1024" fmla="*/ 331319 w 1123106"/>
                    <a:gd name="connsiteY1024" fmla="*/ 648181 h 792545"/>
                    <a:gd name="connsiteX1025" fmla="*/ 337260 w 1123106"/>
                    <a:gd name="connsiteY1025" fmla="*/ 644994 h 792545"/>
                    <a:gd name="connsiteX1026" fmla="*/ 349208 w 1123106"/>
                    <a:gd name="connsiteY1026" fmla="*/ 640602 h 792545"/>
                    <a:gd name="connsiteX1027" fmla="*/ 350129 w 1123106"/>
                    <a:gd name="connsiteY1027" fmla="*/ 640871 h 792545"/>
                    <a:gd name="connsiteX1028" fmla="*/ 349037 w 1123106"/>
                    <a:gd name="connsiteY1028" fmla="*/ 642297 h 792545"/>
                    <a:gd name="connsiteX1029" fmla="*/ 349787 w 1123106"/>
                    <a:gd name="connsiteY1029" fmla="*/ 643177 h 792545"/>
                    <a:gd name="connsiteX1030" fmla="*/ 350960 w 1123106"/>
                    <a:gd name="connsiteY1030" fmla="*/ 643291 h 792545"/>
                    <a:gd name="connsiteX1031" fmla="*/ 355345 w 1123106"/>
                    <a:gd name="connsiteY1031" fmla="*/ 642590 h 792545"/>
                    <a:gd name="connsiteX1032" fmla="*/ 357072 w 1123106"/>
                    <a:gd name="connsiteY1032" fmla="*/ 641669 h 792545"/>
                    <a:gd name="connsiteX1033" fmla="*/ 357586 w 1123106"/>
                    <a:gd name="connsiteY1033" fmla="*/ 642558 h 792545"/>
                    <a:gd name="connsiteX1034" fmla="*/ 356975 w 1123106"/>
                    <a:gd name="connsiteY1034" fmla="*/ 643674 h 792545"/>
                    <a:gd name="connsiteX1035" fmla="*/ 354350 w 1123106"/>
                    <a:gd name="connsiteY1035" fmla="*/ 644807 h 792545"/>
                    <a:gd name="connsiteX1036" fmla="*/ 354424 w 1123106"/>
                    <a:gd name="connsiteY1036" fmla="*/ 645752 h 792545"/>
                    <a:gd name="connsiteX1037" fmla="*/ 358238 w 1123106"/>
                    <a:gd name="connsiteY1037" fmla="*/ 650169 h 792545"/>
                    <a:gd name="connsiteX1038" fmla="*/ 359444 w 1123106"/>
                    <a:gd name="connsiteY1038" fmla="*/ 650846 h 792545"/>
                    <a:gd name="connsiteX1039" fmla="*/ 360446 w 1123106"/>
                    <a:gd name="connsiteY1039" fmla="*/ 650756 h 792545"/>
                    <a:gd name="connsiteX1040" fmla="*/ 360870 w 1123106"/>
                    <a:gd name="connsiteY1040" fmla="*/ 650186 h 792545"/>
                    <a:gd name="connsiteX1041" fmla="*/ 360552 w 1123106"/>
                    <a:gd name="connsiteY1041" fmla="*/ 647007 h 792545"/>
                    <a:gd name="connsiteX1042" fmla="*/ 361840 w 1123106"/>
                    <a:gd name="connsiteY1042" fmla="*/ 646396 h 792545"/>
                    <a:gd name="connsiteX1043" fmla="*/ 364489 w 1123106"/>
                    <a:gd name="connsiteY1043" fmla="*/ 646249 h 792545"/>
                    <a:gd name="connsiteX1044" fmla="*/ 366208 w 1123106"/>
                    <a:gd name="connsiteY1044" fmla="*/ 646665 h 792545"/>
                    <a:gd name="connsiteX1045" fmla="*/ 367007 w 1123106"/>
                    <a:gd name="connsiteY1045" fmla="*/ 647643 h 792545"/>
                    <a:gd name="connsiteX1046" fmla="*/ 368523 w 1123106"/>
                    <a:gd name="connsiteY1046" fmla="*/ 648458 h 792545"/>
                    <a:gd name="connsiteX1047" fmla="*/ 370739 w 1123106"/>
                    <a:gd name="connsiteY1047" fmla="*/ 649102 h 792545"/>
                    <a:gd name="connsiteX1048" fmla="*/ 372125 w 1123106"/>
                    <a:gd name="connsiteY1048" fmla="*/ 648906 h 792545"/>
                    <a:gd name="connsiteX1049" fmla="*/ 372655 w 1123106"/>
                    <a:gd name="connsiteY1049" fmla="*/ 647863 h 792545"/>
                    <a:gd name="connsiteX1050" fmla="*/ 371701 w 1123106"/>
                    <a:gd name="connsiteY1050" fmla="*/ 646624 h 792545"/>
                    <a:gd name="connsiteX1051" fmla="*/ 367455 w 1123106"/>
                    <a:gd name="connsiteY1051" fmla="*/ 643910 h 792545"/>
                    <a:gd name="connsiteX1052" fmla="*/ 366273 w 1123106"/>
                    <a:gd name="connsiteY1052" fmla="*/ 642769 h 792545"/>
                    <a:gd name="connsiteX1053" fmla="*/ 365988 w 1123106"/>
                    <a:gd name="connsiteY1053" fmla="*/ 641188 h 792545"/>
                    <a:gd name="connsiteX1054" fmla="*/ 366591 w 1123106"/>
                    <a:gd name="connsiteY1054" fmla="*/ 639151 h 792545"/>
                    <a:gd name="connsiteX1055" fmla="*/ 367928 w 1123106"/>
                    <a:gd name="connsiteY1055" fmla="*/ 636135 h 792545"/>
                    <a:gd name="connsiteX1056" fmla="*/ 369998 w 1123106"/>
                    <a:gd name="connsiteY1056" fmla="*/ 632134 h 792545"/>
                    <a:gd name="connsiteX1057" fmla="*/ 371872 w 1123106"/>
                    <a:gd name="connsiteY1057" fmla="*/ 629339 h 792545"/>
                    <a:gd name="connsiteX1058" fmla="*/ 375662 w 1123106"/>
                    <a:gd name="connsiteY1058" fmla="*/ 626176 h 792545"/>
                    <a:gd name="connsiteX1059" fmla="*/ 378213 w 1123106"/>
                    <a:gd name="connsiteY1059" fmla="*/ 624604 h 792545"/>
                    <a:gd name="connsiteX1060" fmla="*/ 384692 w 1123106"/>
                    <a:gd name="connsiteY1060" fmla="*/ 619803 h 792545"/>
                    <a:gd name="connsiteX1061" fmla="*/ 397145 w 1123106"/>
                    <a:gd name="connsiteY1061" fmla="*/ 614889 h 792545"/>
                    <a:gd name="connsiteX1062" fmla="*/ 400217 w 1123106"/>
                    <a:gd name="connsiteY1062" fmla="*/ 611735 h 792545"/>
                    <a:gd name="connsiteX1063" fmla="*/ 404398 w 1123106"/>
                    <a:gd name="connsiteY1063" fmla="*/ 608255 h 792545"/>
                    <a:gd name="connsiteX1064" fmla="*/ 406199 w 1123106"/>
                    <a:gd name="connsiteY1064" fmla="*/ 607408 h 792545"/>
                    <a:gd name="connsiteX1065" fmla="*/ 406199 w 1123106"/>
                    <a:gd name="connsiteY1065" fmla="*/ 608752 h 792545"/>
                    <a:gd name="connsiteX1066" fmla="*/ 406769 w 1123106"/>
                    <a:gd name="connsiteY1066" fmla="*/ 609959 h 792545"/>
                    <a:gd name="connsiteX1067" fmla="*/ 409565 w 1123106"/>
                    <a:gd name="connsiteY1067" fmla="*/ 610757 h 792545"/>
                    <a:gd name="connsiteX1068" fmla="*/ 411382 w 1123106"/>
                    <a:gd name="connsiteY1068" fmla="*/ 611034 h 792545"/>
                    <a:gd name="connsiteX1069" fmla="*/ 412222 w 1123106"/>
                    <a:gd name="connsiteY1069" fmla="*/ 610790 h 792545"/>
                    <a:gd name="connsiteX1070" fmla="*/ 412450 w 1123106"/>
                    <a:gd name="connsiteY1070" fmla="*/ 609510 h 792545"/>
                    <a:gd name="connsiteX1071" fmla="*/ 412075 w 1123106"/>
                    <a:gd name="connsiteY1071" fmla="*/ 607196 h 792545"/>
                    <a:gd name="connsiteX1072" fmla="*/ 411977 w 1123106"/>
                    <a:gd name="connsiteY1072" fmla="*/ 605012 h 792545"/>
                    <a:gd name="connsiteX1073" fmla="*/ 412165 w 1123106"/>
                    <a:gd name="connsiteY1073" fmla="*/ 602950 h 792545"/>
                    <a:gd name="connsiteX1074" fmla="*/ 412572 w 1123106"/>
                    <a:gd name="connsiteY1074" fmla="*/ 601320 h 792545"/>
                    <a:gd name="connsiteX1075" fmla="*/ 414438 w 1123106"/>
                    <a:gd name="connsiteY1075" fmla="*/ 598427 h 792545"/>
                    <a:gd name="connsiteX1076" fmla="*/ 417209 w 1123106"/>
                    <a:gd name="connsiteY1076" fmla="*/ 595126 h 792545"/>
                    <a:gd name="connsiteX1077" fmla="*/ 420999 w 1123106"/>
                    <a:gd name="connsiteY1077" fmla="*/ 591288 h 792545"/>
                    <a:gd name="connsiteX1078" fmla="*/ 423395 w 1123106"/>
                    <a:gd name="connsiteY1078" fmla="*/ 589543 h 792545"/>
                    <a:gd name="connsiteX1079" fmla="*/ 425644 w 1123106"/>
                    <a:gd name="connsiteY1079" fmla="*/ 588614 h 792545"/>
                    <a:gd name="connsiteX1080" fmla="*/ 427828 w 1123106"/>
                    <a:gd name="connsiteY1080" fmla="*/ 586935 h 792545"/>
                    <a:gd name="connsiteX1081" fmla="*/ 431585 w 1123106"/>
                    <a:gd name="connsiteY1081" fmla="*/ 582975 h 792545"/>
                    <a:gd name="connsiteX1082" fmla="*/ 432783 w 1123106"/>
                    <a:gd name="connsiteY1082" fmla="*/ 582323 h 792545"/>
                    <a:gd name="connsiteX1083" fmla="*/ 435473 w 1123106"/>
                    <a:gd name="connsiteY1083" fmla="*/ 581540 h 792545"/>
                    <a:gd name="connsiteX1084" fmla="*/ 436459 w 1123106"/>
                    <a:gd name="connsiteY1084" fmla="*/ 581883 h 792545"/>
                    <a:gd name="connsiteX1085" fmla="*/ 437038 w 1123106"/>
                    <a:gd name="connsiteY1085" fmla="*/ 582885 h 792545"/>
                    <a:gd name="connsiteX1086" fmla="*/ 437747 w 1123106"/>
                    <a:gd name="connsiteY1086" fmla="*/ 583505 h 792545"/>
                    <a:gd name="connsiteX1087" fmla="*/ 440477 w 1123106"/>
                    <a:gd name="connsiteY1087" fmla="*/ 584059 h 792545"/>
                    <a:gd name="connsiteX1088" fmla="*/ 442294 w 1123106"/>
                    <a:gd name="connsiteY1088" fmla="*/ 583178 h 792545"/>
                    <a:gd name="connsiteX1089" fmla="*/ 441993 w 1123106"/>
                    <a:gd name="connsiteY1089" fmla="*/ 582706 h 792545"/>
                    <a:gd name="connsiteX1090" fmla="*/ 440518 w 1123106"/>
                    <a:gd name="connsiteY1090" fmla="*/ 582404 h 792545"/>
                    <a:gd name="connsiteX1091" fmla="*/ 439572 w 1123106"/>
                    <a:gd name="connsiteY1091" fmla="*/ 581826 h 792545"/>
                    <a:gd name="connsiteX1092" fmla="*/ 438684 w 1123106"/>
                    <a:gd name="connsiteY1092" fmla="*/ 579454 h 792545"/>
                    <a:gd name="connsiteX1093" fmla="*/ 436866 w 1123106"/>
                    <a:gd name="connsiteY1093" fmla="*/ 578028 h 792545"/>
                    <a:gd name="connsiteX1094" fmla="*/ 436459 w 1123106"/>
                    <a:gd name="connsiteY1094" fmla="*/ 576422 h 792545"/>
                    <a:gd name="connsiteX1095" fmla="*/ 436793 w 1123106"/>
                    <a:gd name="connsiteY1095" fmla="*/ 573904 h 792545"/>
                    <a:gd name="connsiteX1096" fmla="*/ 438350 w 1123106"/>
                    <a:gd name="connsiteY1096" fmla="*/ 567987 h 792545"/>
                    <a:gd name="connsiteX1097" fmla="*/ 438602 w 1123106"/>
                    <a:gd name="connsiteY1097" fmla="*/ 561900 h 792545"/>
                    <a:gd name="connsiteX1098" fmla="*/ 439988 w 1123106"/>
                    <a:gd name="connsiteY1098" fmla="*/ 558411 h 792545"/>
                    <a:gd name="connsiteX1099" fmla="*/ 442775 w 1123106"/>
                    <a:gd name="connsiteY1099" fmla="*/ 557148 h 792545"/>
                    <a:gd name="connsiteX1100" fmla="*/ 448952 w 1123106"/>
                    <a:gd name="connsiteY1100" fmla="*/ 556284 h 792545"/>
                    <a:gd name="connsiteX1101" fmla="*/ 445342 w 1123106"/>
                    <a:gd name="connsiteY1101" fmla="*/ 554703 h 792545"/>
                    <a:gd name="connsiteX1102" fmla="*/ 443989 w 1123106"/>
                    <a:gd name="connsiteY1102" fmla="*/ 554695 h 792545"/>
                    <a:gd name="connsiteX1103" fmla="*/ 441642 w 1123106"/>
                    <a:gd name="connsiteY1103" fmla="*/ 553954 h 792545"/>
                    <a:gd name="connsiteX1104" fmla="*/ 440754 w 1123106"/>
                    <a:gd name="connsiteY1104" fmla="*/ 550139 h 792545"/>
                    <a:gd name="connsiteX1105" fmla="*/ 440770 w 1123106"/>
                    <a:gd name="connsiteY1105" fmla="*/ 547377 h 792545"/>
                    <a:gd name="connsiteX1106" fmla="*/ 442327 w 1123106"/>
                    <a:gd name="connsiteY1106" fmla="*/ 544158 h 792545"/>
                    <a:gd name="connsiteX1107" fmla="*/ 448080 w 1123106"/>
                    <a:gd name="connsiteY1107" fmla="*/ 538730 h 792545"/>
                    <a:gd name="connsiteX1108" fmla="*/ 454388 w 1123106"/>
                    <a:gd name="connsiteY1108" fmla="*/ 534981 h 792545"/>
                    <a:gd name="connsiteX1109" fmla="*/ 453533 w 1123106"/>
                    <a:gd name="connsiteY1109" fmla="*/ 534663 h 792545"/>
                    <a:gd name="connsiteX1110" fmla="*/ 452750 w 1123106"/>
                    <a:gd name="connsiteY1110" fmla="*/ 533547 h 792545"/>
                    <a:gd name="connsiteX1111" fmla="*/ 455660 w 1123106"/>
                    <a:gd name="connsiteY1111" fmla="*/ 526000 h 792545"/>
                    <a:gd name="connsiteX1112" fmla="*/ 458496 w 1123106"/>
                    <a:gd name="connsiteY1112" fmla="*/ 519244 h 792545"/>
                    <a:gd name="connsiteX1113" fmla="*/ 454665 w 1123106"/>
                    <a:gd name="connsiteY1113" fmla="*/ 524998 h 792545"/>
                    <a:gd name="connsiteX1114" fmla="*/ 450240 w 1123106"/>
                    <a:gd name="connsiteY1114" fmla="*/ 529398 h 792545"/>
                    <a:gd name="connsiteX1115" fmla="*/ 437249 w 1123106"/>
                    <a:gd name="connsiteY1115" fmla="*/ 534492 h 792545"/>
                    <a:gd name="connsiteX1116" fmla="*/ 428415 w 1123106"/>
                    <a:gd name="connsiteY1116" fmla="*/ 538754 h 792545"/>
                    <a:gd name="connsiteX1117" fmla="*/ 424218 w 1123106"/>
                    <a:gd name="connsiteY1117" fmla="*/ 539773 h 792545"/>
                    <a:gd name="connsiteX1118" fmla="*/ 421447 w 1123106"/>
                    <a:gd name="connsiteY1118" fmla="*/ 538689 h 792545"/>
                    <a:gd name="connsiteX1119" fmla="*/ 419296 w 1123106"/>
                    <a:gd name="connsiteY1119" fmla="*/ 534598 h 792545"/>
                    <a:gd name="connsiteX1120" fmla="*/ 418057 w 1123106"/>
                    <a:gd name="connsiteY1120" fmla="*/ 533139 h 792545"/>
                    <a:gd name="connsiteX1121" fmla="*/ 416476 w 1123106"/>
                    <a:gd name="connsiteY1121" fmla="*/ 530458 h 792545"/>
                    <a:gd name="connsiteX1122" fmla="*/ 417144 w 1123106"/>
                    <a:gd name="connsiteY1122" fmla="*/ 526986 h 792545"/>
                    <a:gd name="connsiteX1123" fmla="*/ 418399 w 1123106"/>
                    <a:gd name="connsiteY1123" fmla="*/ 524582 h 792545"/>
                    <a:gd name="connsiteX1124" fmla="*/ 421154 w 1123106"/>
                    <a:gd name="connsiteY1124" fmla="*/ 524191 h 792545"/>
                    <a:gd name="connsiteX1125" fmla="*/ 424259 w 1123106"/>
                    <a:gd name="connsiteY1125" fmla="*/ 525356 h 792545"/>
                    <a:gd name="connsiteX1126" fmla="*/ 426956 w 1123106"/>
                    <a:gd name="connsiteY1126" fmla="*/ 525454 h 792545"/>
                    <a:gd name="connsiteX1127" fmla="*/ 423476 w 1123106"/>
                    <a:gd name="connsiteY1127" fmla="*/ 523074 h 792545"/>
                    <a:gd name="connsiteX1128" fmla="*/ 418464 w 1123106"/>
                    <a:gd name="connsiteY1128" fmla="*/ 521004 h 792545"/>
                    <a:gd name="connsiteX1129" fmla="*/ 416199 w 1123106"/>
                    <a:gd name="connsiteY1129" fmla="*/ 521681 h 792545"/>
                    <a:gd name="connsiteX1130" fmla="*/ 414463 w 1123106"/>
                    <a:gd name="connsiteY1130" fmla="*/ 525038 h 792545"/>
                    <a:gd name="connsiteX1131" fmla="*/ 412140 w 1123106"/>
                    <a:gd name="connsiteY1131" fmla="*/ 527353 h 792545"/>
                    <a:gd name="connsiteX1132" fmla="*/ 410095 w 1123106"/>
                    <a:gd name="connsiteY1132" fmla="*/ 526530 h 792545"/>
                    <a:gd name="connsiteX1133" fmla="*/ 408880 w 1123106"/>
                    <a:gd name="connsiteY1133" fmla="*/ 525601 h 792545"/>
                    <a:gd name="connsiteX1134" fmla="*/ 409728 w 1123106"/>
                    <a:gd name="connsiteY1134" fmla="*/ 528412 h 792545"/>
                    <a:gd name="connsiteX1135" fmla="*/ 408188 w 1123106"/>
                    <a:gd name="connsiteY1135" fmla="*/ 532699 h 792545"/>
                    <a:gd name="connsiteX1136" fmla="*/ 407609 w 1123106"/>
                    <a:gd name="connsiteY1136" fmla="*/ 535666 h 792545"/>
                    <a:gd name="connsiteX1137" fmla="*/ 409817 w 1123106"/>
                    <a:gd name="connsiteY1137" fmla="*/ 543473 h 792545"/>
                    <a:gd name="connsiteX1138" fmla="*/ 409410 w 1123106"/>
                    <a:gd name="connsiteY1138" fmla="*/ 546594 h 792545"/>
                    <a:gd name="connsiteX1139" fmla="*/ 405384 w 1123106"/>
                    <a:gd name="connsiteY1139" fmla="*/ 548021 h 792545"/>
                    <a:gd name="connsiteX1140" fmla="*/ 402116 w 1123106"/>
                    <a:gd name="connsiteY1140" fmla="*/ 545462 h 792545"/>
                    <a:gd name="connsiteX1141" fmla="*/ 395286 w 1123106"/>
                    <a:gd name="connsiteY1141" fmla="*/ 535568 h 792545"/>
                    <a:gd name="connsiteX1142" fmla="*/ 392907 w 1123106"/>
                    <a:gd name="connsiteY1142" fmla="*/ 532740 h 792545"/>
                    <a:gd name="connsiteX1143" fmla="*/ 387544 w 1123106"/>
                    <a:gd name="connsiteY1143" fmla="*/ 528078 h 792545"/>
                    <a:gd name="connsiteX1144" fmla="*/ 385784 w 1123106"/>
                    <a:gd name="connsiteY1144" fmla="*/ 528746 h 792545"/>
                    <a:gd name="connsiteX1145" fmla="*/ 383535 w 1123106"/>
                    <a:gd name="connsiteY1145" fmla="*/ 531053 h 792545"/>
                    <a:gd name="connsiteX1146" fmla="*/ 381350 w 1123106"/>
                    <a:gd name="connsiteY1146" fmla="*/ 531689 h 792545"/>
                    <a:gd name="connsiteX1147" fmla="*/ 375589 w 1123106"/>
                    <a:gd name="connsiteY1147" fmla="*/ 528290 h 792545"/>
                    <a:gd name="connsiteX1148" fmla="*/ 372907 w 1123106"/>
                    <a:gd name="connsiteY1148" fmla="*/ 525707 h 792545"/>
                    <a:gd name="connsiteX1149" fmla="*/ 370365 w 1123106"/>
                    <a:gd name="connsiteY1149" fmla="*/ 522561 h 792545"/>
                    <a:gd name="connsiteX1150" fmla="*/ 366477 w 1123106"/>
                    <a:gd name="connsiteY1150" fmla="*/ 524289 h 792545"/>
                    <a:gd name="connsiteX1151" fmla="*/ 363079 w 1123106"/>
                    <a:gd name="connsiteY1151" fmla="*/ 526359 h 792545"/>
                    <a:gd name="connsiteX1152" fmla="*/ 359102 w 1123106"/>
                    <a:gd name="connsiteY1152" fmla="*/ 529651 h 792545"/>
                    <a:gd name="connsiteX1153" fmla="*/ 356445 w 1123106"/>
                    <a:gd name="connsiteY1153" fmla="*/ 529619 h 792545"/>
                    <a:gd name="connsiteX1154" fmla="*/ 349216 w 1123106"/>
                    <a:gd name="connsiteY1154" fmla="*/ 532438 h 792545"/>
                    <a:gd name="connsiteX1155" fmla="*/ 348450 w 1123106"/>
                    <a:gd name="connsiteY1155" fmla="*/ 532504 h 792545"/>
                    <a:gd name="connsiteX1156" fmla="*/ 347431 w 1123106"/>
                    <a:gd name="connsiteY1156" fmla="*/ 534019 h 792545"/>
                    <a:gd name="connsiteX1157" fmla="*/ 346437 w 1123106"/>
                    <a:gd name="connsiteY1157" fmla="*/ 534696 h 792545"/>
                    <a:gd name="connsiteX1158" fmla="*/ 345606 w 1123106"/>
                    <a:gd name="connsiteY1158" fmla="*/ 537622 h 792545"/>
                    <a:gd name="connsiteX1159" fmla="*/ 335834 w 1123106"/>
                    <a:gd name="connsiteY1159" fmla="*/ 539887 h 792545"/>
                    <a:gd name="connsiteX1160" fmla="*/ 326169 w 1123106"/>
                    <a:gd name="connsiteY1160" fmla="*/ 538616 h 792545"/>
                    <a:gd name="connsiteX1161" fmla="*/ 329551 w 1123106"/>
                    <a:gd name="connsiteY1161" fmla="*/ 537010 h 792545"/>
                    <a:gd name="connsiteX1162" fmla="*/ 333324 w 1123106"/>
                    <a:gd name="connsiteY1162" fmla="*/ 535747 h 792545"/>
                    <a:gd name="connsiteX1163" fmla="*/ 336592 w 1123106"/>
                    <a:gd name="connsiteY1163" fmla="*/ 532699 h 792545"/>
                    <a:gd name="connsiteX1164" fmla="*/ 335199 w 1123106"/>
                    <a:gd name="connsiteY1164" fmla="*/ 528624 h 792545"/>
                    <a:gd name="connsiteX1165" fmla="*/ 334962 w 1123106"/>
                    <a:gd name="connsiteY1165" fmla="*/ 526546 h 792545"/>
                    <a:gd name="connsiteX1166" fmla="*/ 335003 w 1123106"/>
                    <a:gd name="connsiteY1166" fmla="*/ 523922 h 792545"/>
                    <a:gd name="connsiteX1167" fmla="*/ 338581 w 1123106"/>
                    <a:gd name="connsiteY1167" fmla="*/ 520230 h 792545"/>
                    <a:gd name="connsiteX1168" fmla="*/ 334856 w 1123106"/>
                    <a:gd name="connsiteY1168" fmla="*/ 520238 h 792545"/>
                    <a:gd name="connsiteX1169" fmla="*/ 332477 w 1123106"/>
                    <a:gd name="connsiteY1169" fmla="*/ 521558 h 792545"/>
                    <a:gd name="connsiteX1170" fmla="*/ 330235 w 1123106"/>
                    <a:gd name="connsiteY1170" fmla="*/ 518787 h 792545"/>
                    <a:gd name="connsiteX1171" fmla="*/ 329192 w 1123106"/>
                    <a:gd name="connsiteY1171" fmla="*/ 513335 h 792545"/>
                    <a:gd name="connsiteX1172" fmla="*/ 331751 w 1123106"/>
                    <a:gd name="connsiteY1172" fmla="*/ 510100 h 792545"/>
                    <a:gd name="connsiteX1173" fmla="*/ 332941 w 1123106"/>
                    <a:gd name="connsiteY1173" fmla="*/ 507606 h 792545"/>
                    <a:gd name="connsiteX1174" fmla="*/ 333952 w 1123106"/>
                    <a:gd name="connsiteY1174" fmla="*/ 504183 h 792545"/>
                    <a:gd name="connsiteX1175" fmla="*/ 334025 w 1123106"/>
                    <a:gd name="connsiteY1175" fmla="*/ 501241 h 792545"/>
                    <a:gd name="connsiteX1176" fmla="*/ 332045 w 1123106"/>
                    <a:gd name="connsiteY1176" fmla="*/ 496245 h 792545"/>
                    <a:gd name="connsiteX1177" fmla="*/ 326348 w 1123106"/>
                    <a:gd name="connsiteY1177" fmla="*/ 485651 h 792545"/>
                    <a:gd name="connsiteX1178" fmla="*/ 323764 w 1123106"/>
                    <a:gd name="connsiteY1178" fmla="*/ 477729 h 792545"/>
                    <a:gd name="connsiteX1179" fmla="*/ 319323 w 1123106"/>
                    <a:gd name="connsiteY1179" fmla="*/ 473499 h 792545"/>
                    <a:gd name="connsiteX1180" fmla="*/ 322640 w 1123106"/>
                    <a:gd name="connsiteY1180" fmla="*/ 466564 h 792545"/>
                    <a:gd name="connsiteX1181" fmla="*/ 326340 w 1123106"/>
                    <a:gd name="connsiteY1181" fmla="*/ 460248 h 792545"/>
                    <a:gd name="connsiteX1182" fmla="*/ 331107 w 1123106"/>
                    <a:gd name="connsiteY1182" fmla="*/ 457420 h 792545"/>
                    <a:gd name="connsiteX1183" fmla="*/ 330724 w 1123106"/>
                    <a:gd name="connsiteY1183" fmla="*/ 456996 h 792545"/>
                    <a:gd name="connsiteX1184" fmla="*/ 328084 w 1123106"/>
                    <a:gd name="connsiteY1184" fmla="*/ 457013 h 792545"/>
                    <a:gd name="connsiteX1185" fmla="*/ 326356 w 1123106"/>
                    <a:gd name="connsiteY1185" fmla="*/ 457387 h 792545"/>
                    <a:gd name="connsiteX1186" fmla="*/ 324824 w 1123106"/>
                    <a:gd name="connsiteY1186" fmla="*/ 459449 h 792545"/>
                    <a:gd name="connsiteX1187" fmla="*/ 323210 w 1123106"/>
                    <a:gd name="connsiteY1187" fmla="*/ 461022 h 792545"/>
                    <a:gd name="connsiteX1188" fmla="*/ 318157 w 1123106"/>
                    <a:gd name="connsiteY1188" fmla="*/ 469066 h 792545"/>
                    <a:gd name="connsiteX1189" fmla="*/ 314914 w 1123106"/>
                    <a:gd name="connsiteY1189" fmla="*/ 472978 h 792545"/>
                    <a:gd name="connsiteX1190" fmla="*/ 312795 w 1123106"/>
                    <a:gd name="connsiteY1190" fmla="*/ 474094 h 792545"/>
                    <a:gd name="connsiteX1191" fmla="*/ 316202 w 1123106"/>
                    <a:gd name="connsiteY1191" fmla="*/ 475618 h 792545"/>
                    <a:gd name="connsiteX1192" fmla="*/ 316715 w 1123106"/>
                    <a:gd name="connsiteY1192" fmla="*/ 476898 h 792545"/>
                    <a:gd name="connsiteX1193" fmla="*/ 317375 w 1123106"/>
                    <a:gd name="connsiteY1193" fmla="*/ 479799 h 792545"/>
                    <a:gd name="connsiteX1194" fmla="*/ 316511 w 1123106"/>
                    <a:gd name="connsiteY1194" fmla="*/ 483320 h 792545"/>
                    <a:gd name="connsiteX1195" fmla="*/ 315639 w 1123106"/>
                    <a:gd name="connsiteY1195" fmla="*/ 485268 h 792545"/>
                    <a:gd name="connsiteX1196" fmla="*/ 311629 w 1123106"/>
                    <a:gd name="connsiteY1196" fmla="*/ 485105 h 792545"/>
                    <a:gd name="connsiteX1197" fmla="*/ 308027 w 1123106"/>
                    <a:gd name="connsiteY1197" fmla="*/ 487933 h 792545"/>
                    <a:gd name="connsiteX1198" fmla="*/ 299560 w 1123106"/>
                    <a:gd name="connsiteY1198" fmla="*/ 491005 h 792545"/>
                    <a:gd name="connsiteX1199" fmla="*/ 288126 w 1123106"/>
                    <a:gd name="connsiteY1199" fmla="*/ 492765 h 792545"/>
                    <a:gd name="connsiteX1200" fmla="*/ 282510 w 1123106"/>
                    <a:gd name="connsiteY1200" fmla="*/ 492553 h 792545"/>
                    <a:gd name="connsiteX1201" fmla="*/ 276659 w 1123106"/>
                    <a:gd name="connsiteY1201" fmla="*/ 488976 h 792545"/>
                    <a:gd name="connsiteX1202" fmla="*/ 276692 w 1123106"/>
                    <a:gd name="connsiteY1202" fmla="*/ 486898 h 792545"/>
                    <a:gd name="connsiteX1203" fmla="*/ 276928 w 1123106"/>
                    <a:gd name="connsiteY1203" fmla="*/ 485088 h 792545"/>
                    <a:gd name="connsiteX1204" fmla="*/ 268526 w 1123106"/>
                    <a:gd name="connsiteY1204" fmla="*/ 478895 h 792545"/>
                    <a:gd name="connsiteX1205" fmla="*/ 263774 w 1123106"/>
                    <a:gd name="connsiteY1205" fmla="*/ 472709 h 792545"/>
                    <a:gd name="connsiteX1206" fmla="*/ 260360 w 1123106"/>
                    <a:gd name="connsiteY1206" fmla="*/ 472570 h 792545"/>
                    <a:gd name="connsiteX1207" fmla="*/ 257344 w 1123106"/>
                    <a:gd name="connsiteY1207" fmla="*/ 470924 h 792545"/>
                    <a:gd name="connsiteX1208" fmla="*/ 253840 w 1123106"/>
                    <a:gd name="connsiteY1208" fmla="*/ 468357 h 792545"/>
                    <a:gd name="connsiteX1209" fmla="*/ 254149 w 1123106"/>
                    <a:gd name="connsiteY1209" fmla="*/ 466287 h 792545"/>
                    <a:gd name="connsiteX1210" fmla="*/ 254704 w 1123106"/>
                    <a:gd name="connsiteY1210" fmla="*/ 464828 h 792545"/>
                    <a:gd name="connsiteX1211" fmla="*/ 252552 w 1123106"/>
                    <a:gd name="connsiteY1211" fmla="*/ 463809 h 792545"/>
                    <a:gd name="connsiteX1212" fmla="*/ 249789 w 1123106"/>
                    <a:gd name="connsiteY1212" fmla="*/ 463915 h 792545"/>
                    <a:gd name="connsiteX1213" fmla="*/ 246578 w 1123106"/>
                    <a:gd name="connsiteY1213" fmla="*/ 463206 h 792545"/>
                    <a:gd name="connsiteX1214" fmla="*/ 254956 w 1123106"/>
                    <a:gd name="connsiteY1214" fmla="*/ 455220 h 792545"/>
                    <a:gd name="connsiteX1215" fmla="*/ 257841 w 1123106"/>
                    <a:gd name="connsiteY1215" fmla="*/ 449865 h 792545"/>
                    <a:gd name="connsiteX1216" fmla="*/ 260188 w 1123106"/>
                    <a:gd name="connsiteY1216" fmla="*/ 449099 h 792545"/>
                    <a:gd name="connsiteX1217" fmla="*/ 263236 w 1123106"/>
                    <a:gd name="connsiteY1217" fmla="*/ 449930 h 792545"/>
                    <a:gd name="connsiteX1218" fmla="*/ 267442 w 1123106"/>
                    <a:gd name="connsiteY1218" fmla="*/ 452041 h 792545"/>
                    <a:gd name="connsiteX1219" fmla="*/ 270987 w 1123106"/>
                    <a:gd name="connsiteY1219" fmla="*/ 452970 h 792545"/>
                    <a:gd name="connsiteX1220" fmla="*/ 272266 w 1123106"/>
                    <a:gd name="connsiteY1220" fmla="*/ 453964 h 792545"/>
                    <a:gd name="connsiteX1221" fmla="*/ 273578 w 1123106"/>
                    <a:gd name="connsiteY1221" fmla="*/ 455831 h 792545"/>
                    <a:gd name="connsiteX1222" fmla="*/ 272193 w 1123106"/>
                    <a:gd name="connsiteY1222" fmla="*/ 458968 h 792545"/>
                    <a:gd name="connsiteX1223" fmla="*/ 270930 w 1123106"/>
                    <a:gd name="connsiteY1223" fmla="*/ 461177 h 792545"/>
                    <a:gd name="connsiteX1224" fmla="*/ 272486 w 1123106"/>
                    <a:gd name="connsiteY1224" fmla="*/ 460574 h 792545"/>
                    <a:gd name="connsiteX1225" fmla="*/ 276895 w 1123106"/>
                    <a:gd name="connsiteY1225" fmla="*/ 457176 h 792545"/>
                    <a:gd name="connsiteX1226" fmla="*/ 280180 w 1123106"/>
                    <a:gd name="connsiteY1226" fmla="*/ 454176 h 792545"/>
                    <a:gd name="connsiteX1227" fmla="*/ 281753 w 1123106"/>
                    <a:gd name="connsiteY1227" fmla="*/ 454494 h 792545"/>
                    <a:gd name="connsiteX1228" fmla="*/ 282771 w 1123106"/>
                    <a:gd name="connsiteY1228" fmla="*/ 455016 h 792545"/>
                    <a:gd name="connsiteX1229" fmla="*/ 284597 w 1123106"/>
                    <a:gd name="connsiteY1229" fmla="*/ 458105 h 792545"/>
                    <a:gd name="connsiteX1230" fmla="*/ 286862 w 1123106"/>
                    <a:gd name="connsiteY1230" fmla="*/ 461250 h 792545"/>
                    <a:gd name="connsiteX1231" fmla="*/ 291850 w 1123106"/>
                    <a:gd name="connsiteY1231" fmla="*/ 458251 h 792545"/>
                    <a:gd name="connsiteX1232" fmla="*/ 294523 w 1123106"/>
                    <a:gd name="connsiteY1232" fmla="*/ 454519 h 792545"/>
                    <a:gd name="connsiteX1233" fmla="*/ 292274 w 1123106"/>
                    <a:gd name="connsiteY1233" fmla="*/ 452881 h 792545"/>
                    <a:gd name="connsiteX1234" fmla="*/ 289519 w 1123106"/>
                    <a:gd name="connsiteY1234" fmla="*/ 451911 h 792545"/>
                    <a:gd name="connsiteX1235" fmla="*/ 282494 w 1123106"/>
                    <a:gd name="connsiteY1235" fmla="*/ 450639 h 792545"/>
                    <a:gd name="connsiteX1236" fmla="*/ 284206 w 1123106"/>
                    <a:gd name="connsiteY1236" fmla="*/ 449564 h 792545"/>
                    <a:gd name="connsiteX1237" fmla="*/ 288721 w 1123106"/>
                    <a:gd name="connsiteY1237" fmla="*/ 449686 h 792545"/>
                    <a:gd name="connsiteX1238" fmla="*/ 290416 w 1123106"/>
                    <a:gd name="connsiteY1238" fmla="*/ 448659 h 792545"/>
                    <a:gd name="connsiteX1239" fmla="*/ 288631 w 1123106"/>
                    <a:gd name="connsiteY1239" fmla="*/ 447233 h 792545"/>
                    <a:gd name="connsiteX1240" fmla="*/ 286398 w 1123106"/>
                    <a:gd name="connsiteY1240" fmla="*/ 445962 h 792545"/>
                    <a:gd name="connsiteX1241" fmla="*/ 280302 w 1123106"/>
                    <a:gd name="connsiteY1241" fmla="*/ 450199 h 792545"/>
                    <a:gd name="connsiteX1242" fmla="*/ 269218 w 1123106"/>
                    <a:gd name="connsiteY1242" fmla="*/ 449987 h 792545"/>
                    <a:gd name="connsiteX1243" fmla="*/ 261468 w 1123106"/>
                    <a:gd name="connsiteY1243" fmla="*/ 447518 h 792545"/>
                    <a:gd name="connsiteX1244" fmla="*/ 253726 w 1123106"/>
                    <a:gd name="connsiteY1244" fmla="*/ 447942 h 792545"/>
                    <a:gd name="connsiteX1245" fmla="*/ 252503 w 1123106"/>
                    <a:gd name="connsiteY1245" fmla="*/ 447453 h 792545"/>
                    <a:gd name="connsiteX1246" fmla="*/ 250995 w 1123106"/>
                    <a:gd name="connsiteY1246" fmla="*/ 446124 h 792545"/>
                    <a:gd name="connsiteX1247" fmla="*/ 255356 w 1123106"/>
                    <a:gd name="connsiteY1247" fmla="*/ 442979 h 792545"/>
                    <a:gd name="connsiteX1248" fmla="*/ 258436 w 1123106"/>
                    <a:gd name="connsiteY1248" fmla="*/ 441243 h 792545"/>
                    <a:gd name="connsiteX1249" fmla="*/ 258599 w 1123106"/>
                    <a:gd name="connsiteY1249" fmla="*/ 440232 h 792545"/>
                    <a:gd name="connsiteX1250" fmla="*/ 256806 w 1123106"/>
                    <a:gd name="connsiteY1250" fmla="*/ 440102 h 792545"/>
                    <a:gd name="connsiteX1251" fmla="*/ 253432 w 1123106"/>
                    <a:gd name="connsiteY1251" fmla="*/ 440933 h 792545"/>
                    <a:gd name="connsiteX1252" fmla="*/ 251933 w 1123106"/>
                    <a:gd name="connsiteY1252" fmla="*/ 439482 h 792545"/>
                    <a:gd name="connsiteX1253" fmla="*/ 252177 w 1123106"/>
                    <a:gd name="connsiteY1253" fmla="*/ 436964 h 792545"/>
                    <a:gd name="connsiteX1254" fmla="*/ 251623 w 1123106"/>
                    <a:gd name="connsiteY1254" fmla="*/ 437192 h 792545"/>
                    <a:gd name="connsiteX1255" fmla="*/ 250295 w 1123106"/>
                    <a:gd name="connsiteY1255" fmla="*/ 438562 h 792545"/>
                    <a:gd name="connsiteX1256" fmla="*/ 248412 w 1123106"/>
                    <a:gd name="connsiteY1256" fmla="*/ 437885 h 792545"/>
                    <a:gd name="connsiteX1257" fmla="*/ 246798 w 1123106"/>
                    <a:gd name="connsiteY1257" fmla="*/ 436752 h 792545"/>
                    <a:gd name="connsiteX1258" fmla="*/ 247646 w 1123106"/>
                    <a:gd name="connsiteY1258" fmla="*/ 435538 h 792545"/>
                    <a:gd name="connsiteX1259" fmla="*/ 249308 w 1123106"/>
                    <a:gd name="connsiteY1259" fmla="*/ 433875 h 792545"/>
                    <a:gd name="connsiteX1260" fmla="*/ 248575 w 1123106"/>
                    <a:gd name="connsiteY1260" fmla="*/ 433631 h 792545"/>
                    <a:gd name="connsiteX1261" fmla="*/ 247084 w 1123106"/>
                    <a:gd name="connsiteY1261" fmla="*/ 433981 h 792545"/>
                    <a:gd name="connsiteX1262" fmla="*/ 245633 w 1123106"/>
                    <a:gd name="connsiteY1262" fmla="*/ 436157 h 792545"/>
                    <a:gd name="connsiteX1263" fmla="*/ 245951 w 1123106"/>
                    <a:gd name="connsiteY1263" fmla="*/ 437910 h 792545"/>
                    <a:gd name="connsiteX1264" fmla="*/ 245910 w 1123106"/>
                    <a:gd name="connsiteY1264" fmla="*/ 440436 h 792545"/>
                    <a:gd name="connsiteX1265" fmla="*/ 243441 w 1123106"/>
                    <a:gd name="connsiteY1265" fmla="*/ 440892 h 792545"/>
                    <a:gd name="connsiteX1266" fmla="*/ 241322 w 1123106"/>
                    <a:gd name="connsiteY1266" fmla="*/ 440591 h 792545"/>
                    <a:gd name="connsiteX1267" fmla="*/ 239790 w 1123106"/>
                    <a:gd name="connsiteY1267" fmla="*/ 438056 h 792545"/>
                    <a:gd name="connsiteX1268" fmla="*/ 238209 w 1123106"/>
                    <a:gd name="connsiteY1268" fmla="*/ 432604 h 792545"/>
                    <a:gd name="connsiteX1269" fmla="*/ 233930 w 1123106"/>
                    <a:gd name="connsiteY1269" fmla="*/ 431162 h 792545"/>
                    <a:gd name="connsiteX1270" fmla="*/ 232887 w 1123106"/>
                    <a:gd name="connsiteY1270" fmla="*/ 428407 h 792545"/>
                    <a:gd name="connsiteX1271" fmla="*/ 235592 w 1123106"/>
                    <a:gd name="connsiteY1271" fmla="*/ 424862 h 792545"/>
                    <a:gd name="connsiteX1272" fmla="*/ 234394 w 1123106"/>
                    <a:gd name="connsiteY1272" fmla="*/ 423036 h 792545"/>
                    <a:gd name="connsiteX1273" fmla="*/ 231518 w 1123106"/>
                    <a:gd name="connsiteY1273" fmla="*/ 422441 h 792545"/>
                    <a:gd name="connsiteX1274" fmla="*/ 228225 w 1123106"/>
                    <a:gd name="connsiteY1274" fmla="*/ 424234 h 792545"/>
                    <a:gd name="connsiteX1275" fmla="*/ 226766 w 1123106"/>
                    <a:gd name="connsiteY1275" fmla="*/ 422645 h 792545"/>
                    <a:gd name="connsiteX1276" fmla="*/ 226497 w 1123106"/>
                    <a:gd name="connsiteY1276" fmla="*/ 420901 h 792545"/>
                    <a:gd name="connsiteX1277" fmla="*/ 226383 w 1123106"/>
                    <a:gd name="connsiteY1277" fmla="*/ 418391 h 792545"/>
                    <a:gd name="connsiteX1278" fmla="*/ 227296 w 1123106"/>
                    <a:gd name="connsiteY1278" fmla="*/ 418130 h 792545"/>
                    <a:gd name="connsiteX1279" fmla="*/ 228062 w 1123106"/>
                    <a:gd name="connsiteY1279" fmla="*/ 418627 h 792545"/>
                    <a:gd name="connsiteX1280" fmla="*/ 234655 w 1123106"/>
                    <a:gd name="connsiteY1280" fmla="*/ 417242 h 792545"/>
                    <a:gd name="connsiteX1281" fmla="*/ 235291 w 1123106"/>
                    <a:gd name="connsiteY1281" fmla="*/ 416565 h 792545"/>
                    <a:gd name="connsiteX1282" fmla="*/ 230059 w 1123106"/>
                    <a:gd name="connsiteY1282" fmla="*/ 414446 h 792545"/>
                    <a:gd name="connsiteX1283" fmla="*/ 228592 w 1123106"/>
                    <a:gd name="connsiteY1283" fmla="*/ 412222 h 792545"/>
                    <a:gd name="connsiteX1284" fmla="*/ 230768 w 1123106"/>
                    <a:gd name="connsiteY1284" fmla="*/ 410950 h 792545"/>
                    <a:gd name="connsiteX1285" fmla="*/ 234672 w 1123106"/>
                    <a:gd name="connsiteY1285" fmla="*/ 410844 h 792545"/>
                    <a:gd name="connsiteX1286" fmla="*/ 240148 w 1123106"/>
                    <a:gd name="connsiteY1286" fmla="*/ 409516 h 792545"/>
                    <a:gd name="connsiteX1287" fmla="*/ 237842 w 1123106"/>
                    <a:gd name="connsiteY1287" fmla="*/ 407152 h 792545"/>
                    <a:gd name="connsiteX1288" fmla="*/ 237361 w 1123106"/>
                    <a:gd name="connsiteY1288" fmla="*/ 405848 h 792545"/>
                    <a:gd name="connsiteX1289" fmla="*/ 236896 w 1123106"/>
                    <a:gd name="connsiteY1289" fmla="*/ 403713 h 792545"/>
                    <a:gd name="connsiteX1290" fmla="*/ 237801 w 1123106"/>
                    <a:gd name="connsiteY1290" fmla="*/ 400095 h 792545"/>
                    <a:gd name="connsiteX1291" fmla="*/ 244247 w 1123106"/>
                    <a:gd name="connsiteY1291" fmla="*/ 391782 h 792545"/>
                    <a:gd name="connsiteX1292" fmla="*/ 250523 w 1123106"/>
                    <a:gd name="connsiteY1292" fmla="*/ 384847 h 792545"/>
                    <a:gd name="connsiteX1293" fmla="*/ 252479 w 1123106"/>
                    <a:gd name="connsiteY1293" fmla="*/ 383241 h 792545"/>
                    <a:gd name="connsiteX1294" fmla="*/ 255356 w 1123106"/>
                    <a:gd name="connsiteY1294" fmla="*/ 382377 h 792545"/>
                    <a:gd name="connsiteX1295" fmla="*/ 258029 w 1123106"/>
                    <a:gd name="connsiteY1295" fmla="*/ 383046 h 792545"/>
                    <a:gd name="connsiteX1296" fmla="*/ 260824 w 1123106"/>
                    <a:gd name="connsiteY1296" fmla="*/ 384537 h 792545"/>
                    <a:gd name="connsiteX1297" fmla="*/ 261354 w 1123106"/>
                    <a:gd name="connsiteY1297" fmla="*/ 383901 h 792545"/>
                    <a:gd name="connsiteX1298" fmla="*/ 260408 w 1123106"/>
                    <a:gd name="connsiteY1298" fmla="*/ 383290 h 792545"/>
                    <a:gd name="connsiteX1299" fmla="*/ 259210 w 1123106"/>
                    <a:gd name="connsiteY1299" fmla="*/ 380446 h 792545"/>
                    <a:gd name="connsiteX1300" fmla="*/ 263090 w 1123106"/>
                    <a:gd name="connsiteY1300" fmla="*/ 379321 h 792545"/>
                    <a:gd name="connsiteX1301" fmla="*/ 265363 w 1123106"/>
                    <a:gd name="connsiteY1301" fmla="*/ 376110 h 792545"/>
                    <a:gd name="connsiteX1302" fmla="*/ 265535 w 1123106"/>
                    <a:gd name="connsiteY1302" fmla="*/ 375173 h 792545"/>
                    <a:gd name="connsiteX1303" fmla="*/ 263065 w 1123106"/>
                    <a:gd name="connsiteY1303" fmla="*/ 376518 h 792545"/>
                    <a:gd name="connsiteX1304" fmla="*/ 260498 w 1123106"/>
                    <a:gd name="connsiteY1304" fmla="*/ 378710 h 792545"/>
                    <a:gd name="connsiteX1305" fmla="*/ 259846 w 1123106"/>
                    <a:gd name="connsiteY1305" fmla="*/ 376501 h 792545"/>
                    <a:gd name="connsiteX1306" fmla="*/ 259178 w 1123106"/>
                    <a:gd name="connsiteY1306" fmla="*/ 371408 h 792545"/>
                    <a:gd name="connsiteX1307" fmla="*/ 260319 w 1123106"/>
                    <a:gd name="connsiteY1307" fmla="*/ 366599 h 792545"/>
                    <a:gd name="connsiteX1308" fmla="*/ 261199 w 1123106"/>
                    <a:gd name="connsiteY1308" fmla="*/ 364440 h 792545"/>
                    <a:gd name="connsiteX1309" fmla="*/ 263350 w 1123106"/>
                    <a:gd name="connsiteY1309" fmla="*/ 362386 h 792545"/>
                    <a:gd name="connsiteX1310" fmla="*/ 269536 w 1123106"/>
                    <a:gd name="connsiteY1310" fmla="*/ 361563 h 792545"/>
                    <a:gd name="connsiteX1311" fmla="*/ 270620 w 1123106"/>
                    <a:gd name="connsiteY1311" fmla="*/ 361979 h 792545"/>
                    <a:gd name="connsiteX1312" fmla="*/ 270848 w 1123106"/>
                    <a:gd name="connsiteY1312" fmla="*/ 361009 h 792545"/>
                    <a:gd name="connsiteX1313" fmla="*/ 267124 w 1123106"/>
                    <a:gd name="connsiteY1313" fmla="*/ 357969 h 792545"/>
                    <a:gd name="connsiteX1314" fmla="*/ 268656 w 1123106"/>
                    <a:gd name="connsiteY1314" fmla="*/ 355597 h 792545"/>
                    <a:gd name="connsiteX1315" fmla="*/ 270009 w 1123106"/>
                    <a:gd name="connsiteY1315" fmla="*/ 354367 h 792545"/>
                    <a:gd name="connsiteX1316" fmla="*/ 277482 w 1123106"/>
                    <a:gd name="connsiteY1316" fmla="*/ 352443 h 792545"/>
                    <a:gd name="connsiteX1317" fmla="*/ 281573 w 1123106"/>
                    <a:gd name="connsiteY1317" fmla="*/ 353038 h 792545"/>
                    <a:gd name="connsiteX1318" fmla="*/ 286699 w 1123106"/>
                    <a:gd name="connsiteY1318" fmla="*/ 355279 h 792545"/>
                    <a:gd name="connsiteX1319" fmla="*/ 289674 w 1123106"/>
                    <a:gd name="connsiteY1319" fmla="*/ 358075 h 792545"/>
                    <a:gd name="connsiteX1320" fmla="*/ 289242 w 1123106"/>
                    <a:gd name="connsiteY1320" fmla="*/ 359501 h 792545"/>
                    <a:gd name="connsiteX1321" fmla="*/ 288501 w 1123106"/>
                    <a:gd name="connsiteY1321" fmla="*/ 360332 h 792545"/>
                    <a:gd name="connsiteX1322" fmla="*/ 286960 w 1123106"/>
                    <a:gd name="connsiteY1322" fmla="*/ 361269 h 792545"/>
                    <a:gd name="connsiteX1323" fmla="*/ 286382 w 1123106"/>
                    <a:gd name="connsiteY1323" fmla="*/ 361987 h 792545"/>
                    <a:gd name="connsiteX1324" fmla="*/ 286659 w 1123106"/>
                    <a:gd name="connsiteY1324" fmla="*/ 362557 h 792545"/>
                    <a:gd name="connsiteX1325" fmla="*/ 288859 w 1123106"/>
                    <a:gd name="connsiteY1325" fmla="*/ 360895 h 792545"/>
                    <a:gd name="connsiteX1326" fmla="*/ 292453 w 1123106"/>
                    <a:gd name="connsiteY1326" fmla="*/ 358873 h 792545"/>
                    <a:gd name="connsiteX1327" fmla="*/ 294466 w 1123106"/>
                    <a:gd name="connsiteY1327" fmla="*/ 359745 h 792545"/>
                    <a:gd name="connsiteX1328" fmla="*/ 296064 w 1123106"/>
                    <a:gd name="connsiteY1328" fmla="*/ 361343 h 792545"/>
                    <a:gd name="connsiteX1329" fmla="*/ 297816 w 1123106"/>
                    <a:gd name="connsiteY1329" fmla="*/ 361318 h 792545"/>
                    <a:gd name="connsiteX1330" fmla="*/ 303423 w 1123106"/>
                    <a:gd name="connsiteY1330" fmla="*/ 359949 h 792545"/>
                    <a:gd name="connsiteX1331" fmla="*/ 306259 w 1123106"/>
                    <a:gd name="connsiteY1331" fmla="*/ 358490 h 792545"/>
                    <a:gd name="connsiteX1332" fmla="*/ 309731 w 1123106"/>
                    <a:gd name="connsiteY1332" fmla="*/ 354717 h 792545"/>
                    <a:gd name="connsiteX1333" fmla="*/ 314352 w 1123106"/>
                    <a:gd name="connsiteY1333" fmla="*/ 352272 h 792545"/>
                    <a:gd name="connsiteX1334" fmla="*/ 320839 w 1123106"/>
                    <a:gd name="connsiteY1334" fmla="*/ 344554 h 792545"/>
                    <a:gd name="connsiteX1335" fmla="*/ 322746 w 1123106"/>
                    <a:gd name="connsiteY1335" fmla="*/ 341376 h 792545"/>
                    <a:gd name="connsiteX1336" fmla="*/ 324962 w 1123106"/>
                    <a:gd name="connsiteY1336" fmla="*/ 340895 h 792545"/>
                    <a:gd name="connsiteX1337" fmla="*/ 326967 w 1123106"/>
                    <a:gd name="connsiteY1337" fmla="*/ 341180 h 792545"/>
                    <a:gd name="connsiteX1338" fmla="*/ 328361 w 1123106"/>
                    <a:gd name="connsiteY1338" fmla="*/ 343780 h 792545"/>
                    <a:gd name="connsiteX1339" fmla="*/ 330398 w 1123106"/>
                    <a:gd name="connsiteY1339" fmla="*/ 344538 h 792545"/>
                    <a:gd name="connsiteX1340" fmla="*/ 342020 w 1123106"/>
                    <a:gd name="connsiteY1340" fmla="*/ 343902 h 792545"/>
                    <a:gd name="connsiteX1341" fmla="*/ 347961 w 1123106"/>
                    <a:gd name="connsiteY1341" fmla="*/ 342712 h 792545"/>
                    <a:gd name="connsiteX1342" fmla="*/ 352085 w 1123106"/>
                    <a:gd name="connsiteY1342" fmla="*/ 340194 h 792545"/>
                    <a:gd name="connsiteX1343" fmla="*/ 356372 w 1123106"/>
                    <a:gd name="connsiteY1343" fmla="*/ 335940 h 792545"/>
                    <a:gd name="connsiteX1344" fmla="*/ 358857 w 1123106"/>
                    <a:gd name="connsiteY1344" fmla="*/ 333080 h 792545"/>
                    <a:gd name="connsiteX1345" fmla="*/ 360047 w 1123106"/>
                    <a:gd name="connsiteY1345" fmla="*/ 329355 h 792545"/>
                    <a:gd name="connsiteX1346" fmla="*/ 358515 w 1123106"/>
                    <a:gd name="connsiteY1346" fmla="*/ 324539 h 792545"/>
                    <a:gd name="connsiteX1347" fmla="*/ 356942 w 1123106"/>
                    <a:gd name="connsiteY1347" fmla="*/ 320529 h 792545"/>
                    <a:gd name="connsiteX1348" fmla="*/ 354872 w 1123106"/>
                    <a:gd name="connsiteY1348" fmla="*/ 311352 h 792545"/>
                    <a:gd name="connsiteX1349" fmla="*/ 349102 w 1123106"/>
                    <a:gd name="connsiteY1349" fmla="*/ 305281 h 792545"/>
                    <a:gd name="connsiteX1350" fmla="*/ 345003 w 1123106"/>
                    <a:gd name="connsiteY1350" fmla="*/ 303472 h 792545"/>
                    <a:gd name="connsiteX1351" fmla="*/ 342395 w 1123106"/>
                    <a:gd name="connsiteY1351" fmla="*/ 303724 h 792545"/>
                    <a:gd name="connsiteX1352" fmla="*/ 344285 w 1123106"/>
                    <a:gd name="connsiteY1352" fmla="*/ 299845 h 792545"/>
                    <a:gd name="connsiteX1353" fmla="*/ 349778 w 1123106"/>
                    <a:gd name="connsiteY1353" fmla="*/ 300261 h 792545"/>
                    <a:gd name="connsiteX1354" fmla="*/ 353356 w 1123106"/>
                    <a:gd name="connsiteY1354" fmla="*/ 299503 h 792545"/>
                    <a:gd name="connsiteX1355" fmla="*/ 356257 w 1123106"/>
                    <a:gd name="connsiteY1355" fmla="*/ 297636 h 792545"/>
                    <a:gd name="connsiteX1356" fmla="*/ 357203 w 1123106"/>
                    <a:gd name="connsiteY1356" fmla="*/ 296218 h 792545"/>
                    <a:gd name="connsiteX1357" fmla="*/ 358637 w 1123106"/>
                    <a:gd name="connsiteY1357" fmla="*/ 293325 h 792545"/>
                    <a:gd name="connsiteX1358" fmla="*/ 358140 w 1123106"/>
                    <a:gd name="connsiteY1358" fmla="*/ 290236 h 792545"/>
                    <a:gd name="connsiteX1359" fmla="*/ 357374 w 1123106"/>
                    <a:gd name="connsiteY1359" fmla="*/ 288558 h 792545"/>
                    <a:gd name="connsiteX1360" fmla="*/ 355369 w 1123106"/>
                    <a:gd name="connsiteY1360" fmla="*/ 286708 h 792545"/>
                    <a:gd name="connsiteX1361" fmla="*/ 352998 w 1123106"/>
                    <a:gd name="connsiteY1361" fmla="*/ 283994 h 792545"/>
                    <a:gd name="connsiteX1362" fmla="*/ 351335 w 1123106"/>
                    <a:gd name="connsiteY1362" fmla="*/ 283097 h 792545"/>
                    <a:gd name="connsiteX1363" fmla="*/ 349933 w 1123106"/>
                    <a:gd name="connsiteY1363" fmla="*/ 283154 h 792545"/>
                    <a:gd name="connsiteX1364" fmla="*/ 342998 w 1123106"/>
                    <a:gd name="connsiteY1364" fmla="*/ 288582 h 792545"/>
                    <a:gd name="connsiteX1365" fmla="*/ 338841 w 1123106"/>
                    <a:gd name="connsiteY1365" fmla="*/ 288680 h 792545"/>
                    <a:gd name="connsiteX1366" fmla="*/ 335736 w 1123106"/>
                    <a:gd name="connsiteY1366" fmla="*/ 287677 h 792545"/>
                    <a:gd name="connsiteX1367" fmla="*/ 333031 w 1123106"/>
                    <a:gd name="connsiteY1367" fmla="*/ 290766 h 792545"/>
                    <a:gd name="connsiteX1368" fmla="*/ 325492 w 1123106"/>
                    <a:gd name="connsiteY1368" fmla="*/ 293480 h 792545"/>
                    <a:gd name="connsiteX1369" fmla="*/ 321466 w 1123106"/>
                    <a:gd name="connsiteY1369" fmla="*/ 296210 h 792545"/>
                    <a:gd name="connsiteX1370" fmla="*/ 313993 w 1123106"/>
                    <a:gd name="connsiteY1370" fmla="*/ 302999 h 792545"/>
                    <a:gd name="connsiteX1371" fmla="*/ 312127 w 1123106"/>
                    <a:gd name="connsiteY1371" fmla="*/ 306063 h 792545"/>
                    <a:gd name="connsiteX1372" fmla="*/ 309747 w 1123106"/>
                    <a:gd name="connsiteY1372" fmla="*/ 306202 h 792545"/>
                    <a:gd name="connsiteX1373" fmla="*/ 308027 w 1123106"/>
                    <a:gd name="connsiteY1373" fmla="*/ 300252 h 792545"/>
                    <a:gd name="connsiteX1374" fmla="*/ 299902 w 1123106"/>
                    <a:gd name="connsiteY1374" fmla="*/ 294580 h 792545"/>
                    <a:gd name="connsiteX1375" fmla="*/ 297449 w 1123106"/>
                    <a:gd name="connsiteY1375" fmla="*/ 296512 h 792545"/>
                    <a:gd name="connsiteX1376" fmla="*/ 298802 w 1123106"/>
                    <a:gd name="connsiteY1376" fmla="*/ 298296 h 792545"/>
                    <a:gd name="connsiteX1377" fmla="*/ 300644 w 1123106"/>
                    <a:gd name="connsiteY1377" fmla="*/ 299560 h 792545"/>
                    <a:gd name="connsiteX1378" fmla="*/ 303675 w 1123106"/>
                    <a:gd name="connsiteY1378" fmla="*/ 300114 h 792545"/>
                    <a:gd name="connsiteX1379" fmla="*/ 302371 w 1123106"/>
                    <a:gd name="connsiteY1379" fmla="*/ 301833 h 792545"/>
                    <a:gd name="connsiteX1380" fmla="*/ 301377 w 1123106"/>
                    <a:gd name="connsiteY1380" fmla="*/ 304132 h 792545"/>
                    <a:gd name="connsiteX1381" fmla="*/ 298329 w 1123106"/>
                    <a:gd name="connsiteY1381" fmla="*/ 301980 h 792545"/>
                    <a:gd name="connsiteX1382" fmla="*/ 292893 w 1123106"/>
                    <a:gd name="connsiteY1382" fmla="*/ 298859 h 792545"/>
                    <a:gd name="connsiteX1383" fmla="*/ 287262 w 1123106"/>
                    <a:gd name="connsiteY1383" fmla="*/ 297245 h 792545"/>
                    <a:gd name="connsiteX1384" fmla="*/ 272609 w 1123106"/>
                    <a:gd name="connsiteY1384" fmla="*/ 297424 h 792545"/>
                    <a:gd name="connsiteX1385" fmla="*/ 262984 w 1123106"/>
                    <a:gd name="connsiteY1385" fmla="*/ 300635 h 792545"/>
                    <a:gd name="connsiteX1386" fmla="*/ 262104 w 1123106"/>
                    <a:gd name="connsiteY1386" fmla="*/ 299975 h 792545"/>
                    <a:gd name="connsiteX1387" fmla="*/ 261174 w 1123106"/>
                    <a:gd name="connsiteY1387" fmla="*/ 299706 h 792545"/>
                    <a:gd name="connsiteX1388" fmla="*/ 259577 w 1123106"/>
                    <a:gd name="connsiteY1388" fmla="*/ 300472 h 792545"/>
                    <a:gd name="connsiteX1389" fmla="*/ 258884 w 1123106"/>
                    <a:gd name="connsiteY1389" fmla="*/ 301776 h 792545"/>
                    <a:gd name="connsiteX1390" fmla="*/ 257841 w 1123106"/>
                    <a:gd name="connsiteY1390" fmla="*/ 302591 h 792545"/>
                    <a:gd name="connsiteX1391" fmla="*/ 255869 w 1123106"/>
                    <a:gd name="connsiteY1391" fmla="*/ 302893 h 792545"/>
                    <a:gd name="connsiteX1392" fmla="*/ 251925 w 1123106"/>
                    <a:gd name="connsiteY1392" fmla="*/ 302404 h 792545"/>
                    <a:gd name="connsiteX1393" fmla="*/ 244280 w 1123106"/>
                    <a:gd name="connsiteY1393" fmla="*/ 300407 h 792545"/>
                    <a:gd name="connsiteX1394" fmla="*/ 227003 w 1123106"/>
                    <a:gd name="connsiteY1394" fmla="*/ 297482 h 792545"/>
                    <a:gd name="connsiteX1395" fmla="*/ 222471 w 1123106"/>
                    <a:gd name="connsiteY1395" fmla="*/ 295689 h 792545"/>
                    <a:gd name="connsiteX1396" fmla="*/ 218600 w 1123106"/>
                    <a:gd name="connsiteY1396" fmla="*/ 291394 h 792545"/>
                    <a:gd name="connsiteX1397" fmla="*/ 218682 w 1123106"/>
                    <a:gd name="connsiteY1397" fmla="*/ 288476 h 792545"/>
                    <a:gd name="connsiteX1398" fmla="*/ 220401 w 1123106"/>
                    <a:gd name="connsiteY1398" fmla="*/ 287245 h 792545"/>
                    <a:gd name="connsiteX1399" fmla="*/ 220230 w 1123106"/>
                    <a:gd name="connsiteY1399" fmla="*/ 283056 h 792545"/>
                    <a:gd name="connsiteX1400" fmla="*/ 216873 w 1123106"/>
                    <a:gd name="connsiteY1400" fmla="*/ 281948 h 792545"/>
                    <a:gd name="connsiteX1401" fmla="*/ 210027 w 1123106"/>
                    <a:gd name="connsiteY1401" fmla="*/ 275925 h 792545"/>
                    <a:gd name="connsiteX1402" fmla="*/ 207508 w 1123106"/>
                    <a:gd name="connsiteY1402" fmla="*/ 273366 h 792545"/>
                    <a:gd name="connsiteX1403" fmla="*/ 208055 w 1123106"/>
                    <a:gd name="connsiteY1403" fmla="*/ 273073 h 792545"/>
                    <a:gd name="connsiteX1404" fmla="*/ 209285 w 1123106"/>
                    <a:gd name="connsiteY1404" fmla="*/ 273774 h 792545"/>
                    <a:gd name="connsiteX1405" fmla="*/ 211624 w 1123106"/>
                    <a:gd name="connsiteY1405" fmla="*/ 274296 h 792545"/>
                    <a:gd name="connsiteX1406" fmla="*/ 217370 w 1123106"/>
                    <a:gd name="connsiteY1406" fmla="*/ 273448 h 792545"/>
                    <a:gd name="connsiteX1407" fmla="*/ 219342 w 1123106"/>
                    <a:gd name="connsiteY1407" fmla="*/ 269544 h 792545"/>
                    <a:gd name="connsiteX1408" fmla="*/ 223604 w 1123106"/>
                    <a:gd name="connsiteY1408" fmla="*/ 268428 h 792545"/>
                    <a:gd name="connsiteX1409" fmla="*/ 227524 w 1123106"/>
                    <a:gd name="connsiteY1409" fmla="*/ 268982 h 792545"/>
                    <a:gd name="connsiteX1410" fmla="*/ 226644 w 1123106"/>
                    <a:gd name="connsiteY1410" fmla="*/ 267922 h 792545"/>
                    <a:gd name="connsiteX1411" fmla="*/ 225642 w 1123106"/>
                    <a:gd name="connsiteY1411" fmla="*/ 267083 h 792545"/>
                    <a:gd name="connsiteX1412" fmla="*/ 215422 w 1123106"/>
                    <a:gd name="connsiteY1412" fmla="*/ 265094 h 792545"/>
                    <a:gd name="connsiteX1413" fmla="*/ 214036 w 1123106"/>
                    <a:gd name="connsiteY1413" fmla="*/ 265706 h 792545"/>
                    <a:gd name="connsiteX1414" fmla="*/ 195716 w 1123106"/>
                    <a:gd name="connsiteY1414" fmla="*/ 262161 h 792545"/>
                    <a:gd name="connsiteX1415" fmla="*/ 181250 w 1123106"/>
                    <a:gd name="connsiteY1415" fmla="*/ 255991 h 792545"/>
                    <a:gd name="connsiteX1416" fmla="*/ 180060 w 1123106"/>
                    <a:gd name="connsiteY1416" fmla="*/ 254818 h 792545"/>
                    <a:gd name="connsiteX1417" fmla="*/ 178732 w 1123106"/>
                    <a:gd name="connsiteY1417" fmla="*/ 252177 h 792545"/>
                    <a:gd name="connsiteX1418" fmla="*/ 180688 w 1123106"/>
                    <a:gd name="connsiteY1418" fmla="*/ 249577 h 792545"/>
                    <a:gd name="connsiteX1419" fmla="*/ 182652 w 1123106"/>
                    <a:gd name="connsiteY1419" fmla="*/ 248347 h 792545"/>
                    <a:gd name="connsiteX1420" fmla="*/ 182741 w 1123106"/>
                    <a:gd name="connsiteY1420" fmla="*/ 249773 h 792545"/>
                    <a:gd name="connsiteX1421" fmla="*/ 183051 w 1123106"/>
                    <a:gd name="connsiteY1421" fmla="*/ 251183 h 792545"/>
                    <a:gd name="connsiteX1422" fmla="*/ 191348 w 1123106"/>
                    <a:gd name="connsiteY1422" fmla="*/ 247915 h 792545"/>
                    <a:gd name="connsiteX1423" fmla="*/ 195683 w 1123106"/>
                    <a:gd name="connsiteY1423" fmla="*/ 243620 h 792545"/>
                    <a:gd name="connsiteX1424" fmla="*/ 203898 w 1123106"/>
                    <a:gd name="connsiteY1424" fmla="*/ 242862 h 792545"/>
                    <a:gd name="connsiteX1425" fmla="*/ 205805 w 1123106"/>
                    <a:gd name="connsiteY1425" fmla="*/ 241680 h 792545"/>
                    <a:gd name="connsiteX1426" fmla="*/ 208348 w 1123106"/>
                    <a:gd name="connsiteY1426" fmla="*/ 239374 h 792545"/>
                    <a:gd name="connsiteX1427" fmla="*/ 211991 w 1123106"/>
                    <a:gd name="connsiteY1427" fmla="*/ 235429 h 792545"/>
                    <a:gd name="connsiteX1428" fmla="*/ 217133 w 1123106"/>
                    <a:gd name="connsiteY1428" fmla="*/ 233351 h 792545"/>
                    <a:gd name="connsiteX1429" fmla="*/ 220638 w 1123106"/>
                    <a:gd name="connsiteY1429" fmla="*/ 231485 h 792545"/>
                    <a:gd name="connsiteX1430" fmla="*/ 225210 w 1123106"/>
                    <a:gd name="connsiteY1430" fmla="*/ 230385 h 792545"/>
                    <a:gd name="connsiteX1431" fmla="*/ 229105 w 1123106"/>
                    <a:gd name="connsiteY1431" fmla="*/ 232218 h 792545"/>
                    <a:gd name="connsiteX1432" fmla="*/ 230303 w 1123106"/>
                    <a:gd name="connsiteY1432" fmla="*/ 232471 h 792545"/>
                    <a:gd name="connsiteX1433" fmla="*/ 237377 w 1123106"/>
                    <a:gd name="connsiteY1433" fmla="*/ 232846 h 792545"/>
                    <a:gd name="connsiteX1434" fmla="*/ 239708 w 1123106"/>
                    <a:gd name="connsiteY1434" fmla="*/ 232047 h 792545"/>
                    <a:gd name="connsiteX1435" fmla="*/ 240702 w 1123106"/>
                    <a:gd name="connsiteY1435" fmla="*/ 231452 h 792545"/>
                    <a:gd name="connsiteX1436" fmla="*/ 241436 w 1123106"/>
                    <a:gd name="connsiteY1436" fmla="*/ 230515 h 792545"/>
                    <a:gd name="connsiteX1437" fmla="*/ 234484 w 1123106"/>
                    <a:gd name="connsiteY1437" fmla="*/ 227190 h 792545"/>
                    <a:gd name="connsiteX1438" fmla="*/ 235185 w 1123106"/>
                    <a:gd name="connsiteY1438" fmla="*/ 225332 h 792545"/>
                    <a:gd name="connsiteX1439" fmla="*/ 236073 w 1123106"/>
                    <a:gd name="connsiteY1439" fmla="*/ 224028 h 792545"/>
                    <a:gd name="connsiteX1440" fmla="*/ 244182 w 1123106"/>
                    <a:gd name="connsiteY1440" fmla="*/ 220141 h 792545"/>
                    <a:gd name="connsiteX1441" fmla="*/ 250409 w 1123106"/>
                    <a:gd name="connsiteY1441" fmla="*/ 218853 h 792545"/>
                    <a:gd name="connsiteX1442" fmla="*/ 253742 w 1123106"/>
                    <a:gd name="connsiteY1442" fmla="*/ 218943 h 792545"/>
                    <a:gd name="connsiteX1443" fmla="*/ 263408 w 1123106"/>
                    <a:gd name="connsiteY1443" fmla="*/ 213930 h 792545"/>
                    <a:gd name="connsiteX1444" fmla="*/ 268713 w 1123106"/>
                    <a:gd name="connsiteY1444" fmla="*/ 212496 h 792545"/>
                    <a:gd name="connsiteX1445" fmla="*/ 278688 w 1123106"/>
                    <a:gd name="connsiteY1445" fmla="*/ 211534 h 792545"/>
                    <a:gd name="connsiteX1446" fmla="*/ 286887 w 1123106"/>
                    <a:gd name="connsiteY1446" fmla="*/ 211290 h 792545"/>
                    <a:gd name="connsiteX1447" fmla="*/ 289104 w 1123106"/>
                    <a:gd name="connsiteY1447" fmla="*/ 213083 h 792545"/>
                    <a:gd name="connsiteX1448" fmla="*/ 284703 w 1123106"/>
                    <a:gd name="connsiteY1448" fmla="*/ 212708 h 792545"/>
                    <a:gd name="connsiteX1449" fmla="*/ 282763 w 1123106"/>
                    <a:gd name="connsiteY1449" fmla="*/ 213034 h 792545"/>
                    <a:gd name="connsiteX1450" fmla="*/ 284149 w 1123106"/>
                    <a:gd name="connsiteY1450" fmla="*/ 213645 h 792545"/>
                    <a:gd name="connsiteX1451" fmla="*/ 285705 w 1123106"/>
                    <a:gd name="connsiteY1451" fmla="*/ 214949 h 792545"/>
                    <a:gd name="connsiteX1452" fmla="*/ 285249 w 1123106"/>
                    <a:gd name="connsiteY1452" fmla="*/ 216595 h 792545"/>
                    <a:gd name="connsiteX1453" fmla="*/ 282543 w 1123106"/>
                    <a:gd name="connsiteY1453" fmla="*/ 221493 h 792545"/>
                    <a:gd name="connsiteX1454" fmla="*/ 282763 w 1123106"/>
                    <a:gd name="connsiteY1454" fmla="*/ 225397 h 792545"/>
                    <a:gd name="connsiteX1455" fmla="*/ 281003 w 1123106"/>
                    <a:gd name="connsiteY1455" fmla="*/ 226668 h 792545"/>
                    <a:gd name="connsiteX1456" fmla="*/ 279300 w 1123106"/>
                    <a:gd name="connsiteY1456" fmla="*/ 228445 h 792545"/>
                    <a:gd name="connsiteX1457" fmla="*/ 287694 w 1123106"/>
                    <a:gd name="connsiteY1457" fmla="*/ 234060 h 792545"/>
                    <a:gd name="connsiteX1458" fmla="*/ 300684 w 1123106"/>
                    <a:gd name="connsiteY1458" fmla="*/ 234419 h 792545"/>
                    <a:gd name="connsiteX1459" fmla="*/ 307758 w 1123106"/>
                    <a:gd name="connsiteY1459" fmla="*/ 233400 h 792545"/>
                    <a:gd name="connsiteX1460" fmla="*/ 311841 w 1123106"/>
                    <a:gd name="connsiteY1460" fmla="*/ 235079 h 792545"/>
                    <a:gd name="connsiteX1461" fmla="*/ 315191 w 1123106"/>
                    <a:gd name="connsiteY1461" fmla="*/ 235462 h 792545"/>
                    <a:gd name="connsiteX1462" fmla="*/ 324433 w 1123106"/>
                    <a:gd name="connsiteY1462" fmla="*/ 234598 h 792545"/>
                    <a:gd name="connsiteX1463" fmla="*/ 331393 w 1123106"/>
                    <a:gd name="connsiteY1463" fmla="*/ 235796 h 792545"/>
                    <a:gd name="connsiteX1464" fmla="*/ 334302 w 1123106"/>
                    <a:gd name="connsiteY1464" fmla="*/ 235340 h 792545"/>
                    <a:gd name="connsiteX1465" fmla="*/ 340740 w 1123106"/>
                    <a:gd name="connsiteY1465" fmla="*/ 226946 h 792545"/>
                    <a:gd name="connsiteX1466" fmla="*/ 343259 w 1123106"/>
                    <a:gd name="connsiteY1466" fmla="*/ 225625 h 792545"/>
                    <a:gd name="connsiteX1467" fmla="*/ 345997 w 1123106"/>
                    <a:gd name="connsiteY1467" fmla="*/ 227084 h 792545"/>
                    <a:gd name="connsiteX1468" fmla="*/ 349566 w 1123106"/>
                    <a:gd name="connsiteY1468" fmla="*/ 228274 h 792545"/>
                    <a:gd name="connsiteX1469" fmla="*/ 351848 w 1123106"/>
                    <a:gd name="connsiteY1469" fmla="*/ 227418 h 792545"/>
                    <a:gd name="connsiteX1470" fmla="*/ 353707 w 1123106"/>
                    <a:gd name="connsiteY1470" fmla="*/ 229586 h 792545"/>
                    <a:gd name="connsiteX1471" fmla="*/ 352835 w 1123106"/>
                    <a:gd name="connsiteY1471" fmla="*/ 225071 h 792545"/>
                    <a:gd name="connsiteX1472" fmla="*/ 351579 w 1123106"/>
                    <a:gd name="connsiteY1472" fmla="*/ 223376 h 792545"/>
                    <a:gd name="connsiteX1473" fmla="*/ 341058 w 1123106"/>
                    <a:gd name="connsiteY1473" fmla="*/ 220271 h 792545"/>
                    <a:gd name="connsiteX1474" fmla="*/ 334017 w 1123106"/>
                    <a:gd name="connsiteY1474" fmla="*/ 221819 h 792545"/>
                    <a:gd name="connsiteX1475" fmla="*/ 331816 w 1123106"/>
                    <a:gd name="connsiteY1475" fmla="*/ 220059 h 792545"/>
                    <a:gd name="connsiteX1476" fmla="*/ 332542 w 1123106"/>
                    <a:gd name="connsiteY1476" fmla="*/ 216587 h 792545"/>
                    <a:gd name="connsiteX1477" fmla="*/ 325011 w 1123106"/>
                    <a:gd name="connsiteY1477" fmla="*/ 208014 h 792545"/>
                    <a:gd name="connsiteX1478" fmla="*/ 321874 w 1123106"/>
                    <a:gd name="connsiteY1478" fmla="*/ 206278 h 792545"/>
                    <a:gd name="connsiteX1479" fmla="*/ 318157 w 1123106"/>
                    <a:gd name="connsiteY1479" fmla="*/ 206188 h 792545"/>
                    <a:gd name="connsiteX1480" fmla="*/ 316275 w 1123106"/>
                    <a:gd name="connsiteY1480" fmla="*/ 203205 h 792545"/>
                    <a:gd name="connsiteX1481" fmla="*/ 314694 w 1123106"/>
                    <a:gd name="connsiteY1481" fmla="*/ 199367 h 792545"/>
                    <a:gd name="connsiteX1482" fmla="*/ 317897 w 1123106"/>
                    <a:gd name="connsiteY1482" fmla="*/ 197802 h 792545"/>
                    <a:gd name="connsiteX1483" fmla="*/ 320790 w 1123106"/>
                    <a:gd name="connsiteY1483" fmla="*/ 197093 h 792545"/>
                    <a:gd name="connsiteX1484" fmla="*/ 323471 w 1123106"/>
                    <a:gd name="connsiteY1484" fmla="*/ 198332 h 792545"/>
                    <a:gd name="connsiteX1485" fmla="*/ 326503 w 1123106"/>
                    <a:gd name="connsiteY1485" fmla="*/ 203377 h 792545"/>
                    <a:gd name="connsiteX1486" fmla="*/ 329323 w 1123106"/>
                    <a:gd name="connsiteY1486" fmla="*/ 204118 h 792545"/>
                    <a:gd name="connsiteX1487" fmla="*/ 328499 w 1123106"/>
                    <a:gd name="connsiteY1487" fmla="*/ 209130 h 792545"/>
                    <a:gd name="connsiteX1488" fmla="*/ 332004 w 1123106"/>
                    <a:gd name="connsiteY1488" fmla="*/ 213743 h 792545"/>
                    <a:gd name="connsiteX1489" fmla="*/ 339909 w 1123106"/>
                    <a:gd name="connsiteY1489" fmla="*/ 218038 h 792545"/>
                    <a:gd name="connsiteX1490" fmla="*/ 346233 w 1123106"/>
                    <a:gd name="connsiteY1490" fmla="*/ 216457 h 792545"/>
                    <a:gd name="connsiteX1491" fmla="*/ 350699 w 1123106"/>
                    <a:gd name="connsiteY1491" fmla="*/ 216506 h 792545"/>
                    <a:gd name="connsiteX1492" fmla="*/ 353372 w 1123106"/>
                    <a:gd name="connsiteY1492" fmla="*/ 217402 h 792545"/>
                    <a:gd name="connsiteX1493" fmla="*/ 359909 w 1123106"/>
                    <a:gd name="connsiteY1493" fmla="*/ 221249 h 792545"/>
                    <a:gd name="connsiteX1494" fmla="*/ 363234 w 1123106"/>
                    <a:gd name="connsiteY1494" fmla="*/ 221730 h 792545"/>
                    <a:gd name="connsiteX1495" fmla="*/ 373616 w 1123106"/>
                    <a:gd name="connsiteY1495" fmla="*/ 219717 h 792545"/>
                    <a:gd name="connsiteX1496" fmla="*/ 373722 w 1123106"/>
                    <a:gd name="connsiteY1496" fmla="*/ 215935 h 792545"/>
                    <a:gd name="connsiteX1497" fmla="*/ 372850 w 1123106"/>
                    <a:gd name="connsiteY1497" fmla="*/ 213197 h 792545"/>
                    <a:gd name="connsiteX1498" fmla="*/ 370413 w 1123106"/>
                    <a:gd name="connsiteY1498" fmla="*/ 211477 h 792545"/>
                    <a:gd name="connsiteX1499" fmla="*/ 363397 w 1123106"/>
                    <a:gd name="connsiteY1499" fmla="*/ 211803 h 792545"/>
                    <a:gd name="connsiteX1500" fmla="*/ 357936 w 1123106"/>
                    <a:gd name="connsiteY1500" fmla="*/ 208984 h 792545"/>
                    <a:gd name="connsiteX1501" fmla="*/ 353291 w 1123106"/>
                    <a:gd name="connsiteY1501" fmla="*/ 209758 h 792545"/>
                    <a:gd name="connsiteX1502" fmla="*/ 344693 w 1123106"/>
                    <a:gd name="connsiteY1502" fmla="*/ 214085 h 792545"/>
                    <a:gd name="connsiteX1503" fmla="*/ 340390 w 1123106"/>
                    <a:gd name="connsiteY1503" fmla="*/ 212382 h 792545"/>
                    <a:gd name="connsiteX1504" fmla="*/ 337684 w 1123106"/>
                    <a:gd name="connsiteY1504" fmla="*/ 210067 h 792545"/>
                    <a:gd name="connsiteX1505" fmla="*/ 333324 w 1123106"/>
                    <a:gd name="connsiteY1505" fmla="*/ 207712 h 792545"/>
                    <a:gd name="connsiteX1506" fmla="*/ 332778 w 1123106"/>
                    <a:gd name="connsiteY1506" fmla="*/ 203271 h 792545"/>
                    <a:gd name="connsiteX1507" fmla="*/ 336429 w 1123106"/>
                    <a:gd name="connsiteY1507" fmla="*/ 198161 h 792545"/>
                    <a:gd name="connsiteX1508" fmla="*/ 339143 w 1123106"/>
                    <a:gd name="connsiteY1508" fmla="*/ 195732 h 792545"/>
                    <a:gd name="connsiteX1509" fmla="*/ 336714 w 1123106"/>
                    <a:gd name="connsiteY1509" fmla="*/ 193955 h 792545"/>
                    <a:gd name="connsiteX1510" fmla="*/ 330627 w 1123106"/>
                    <a:gd name="connsiteY1510" fmla="*/ 192709 h 792545"/>
                    <a:gd name="connsiteX1511" fmla="*/ 320056 w 1123106"/>
                    <a:gd name="connsiteY1511" fmla="*/ 193980 h 792545"/>
                    <a:gd name="connsiteX1512" fmla="*/ 319559 w 1123106"/>
                    <a:gd name="connsiteY1512" fmla="*/ 192244 h 792545"/>
                    <a:gd name="connsiteX1513" fmla="*/ 319616 w 1123106"/>
                    <a:gd name="connsiteY1513" fmla="*/ 190361 h 792545"/>
                    <a:gd name="connsiteX1514" fmla="*/ 315305 w 1123106"/>
                    <a:gd name="connsiteY1514" fmla="*/ 194053 h 792545"/>
                    <a:gd name="connsiteX1515" fmla="*/ 310888 w 1123106"/>
                    <a:gd name="connsiteY1515" fmla="*/ 193271 h 792545"/>
                    <a:gd name="connsiteX1516" fmla="*/ 304914 w 1123106"/>
                    <a:gd name="connsiteY1516" fmla="*/ 193670 h 792545"/>
                    <a:gd name="connsiteX1517" fmla="*/ 291769 w 1123106"/>
                    <a:gd name="connsiteY1517" fmla="*/ 190427 h 792545"/>
                    <a:gd name="connsiteX1518" fmla="*/ 287091 w 1123106"/>
                    <a:gd name="connsiteY1518" fmla="*/ 186417 h 792545"/>
                    <a:gd name="connsiteX1519" fmla="*/ 285127 w 1123106"/>
                    <a:gd name="connsiteY1519" fmla="*/ 183157 h 792545"/>
                    <a:gd name="connsiteX1520" fmla="*/ 281581 w 1123106"/>
                    <a:gd name="connsiteY1520" fmla="*/ 174225 h 792545"/>
                    <a:gd name="connsiteX1521" fmla="*/ 277050 w 1123106"/>
                    <a:gd name="connsiteY1521" fmla="*/ 168626 h 792545"/>
                    <a:gd name="connsiteX1522" fmla="*/ 245780 w 1123106"/>
                    <a:gd name="connsiteY1522" fmla="*/ 149548 h 792545"/>
                    <a:gd name="connsiteX1523" fmla="*/ 231550 w 1123106"/>
                    <a:gd name="connsiteY1523" fmla="*/ 144731 h 792545"/>
                    <a:gd name="connsiteX1524" fmla="*/ 224696 w 1123106"/>
                    <a:gd name="connsiteY1524" fmla="*/ 139409 h 792545"/>
                    <a:gd name="connsiteX1525" fmla="*/ 220401 w 1123106"/>
                    <a:gd name="connsiteY1525" fmla="*/ 138089 h 792545"/>
                    <a:gd name="connsiteX1526" fmla="*/ 216302 w 1123106"/>
                    <a:gd name="connsiteY1526" fmla="*/ 137559 h 792545"/>
                    <a:gd name="connsiteX1527" fmla="*/ 211054 w 1123106"/>
                    <a:gd name="connsiteY1527" fmla="*/ 135840 h 792545"/>
                    <a:gd name="connsiteX1528" fmla="*/ 214582 w 1123106"/>
                    <a:gd name="connsiteY1528" fmla="*/ 133721 h 792545"/>
                    <a:gd name="connsiteX1529" fmla="*/ 217011 w 1123106"/>
                    <a:gd name="connsiteY1529" fmla="*/ 133004 h 792545"/>
                    <a:gd name="connsiteX1530" fmla="*/ 214485 w 1123106"/>
                    <a:gd name="connsiteY1530" fmla="*/ 135212 h 792545"/>
                    <a:gd name="connsiteX1531" fmla="*/ 216400 w 1123106"/>
                    <a:gd name="connsiteY1531" fmla="*/ 135775 h 792545"/>
                    <a:gd name="connsiteX1532" fmla="*/ 219464 w 1123106"/>
                    <a:gd name="connsiteY1532" fmla="*/ 134503 h 792545"/>
                    <a:gd name="connsiteX1533" fmla="*/ 221110 w 1123106"/>
                    <a:gd name="connsiteY1533" fmla="*/ 132971 h 792545"/>
                    <a:gd name="connsiteX1534" fmla="*/ 223531 w 1123106"/>
                    <a:gd name="connsiteY1534" fmla="*/ 126484 h 792545"/>
                    <a:gd name="connsiteX1535" fmla="*/ 226033 w 1123106"/>
                    <a:gd name="connsiteY1535" fmla="*/ 116639 h 792545"/>
                    <a:gd name="connsiteX1536" fmla="*/ 225356 w 1123106"/>
                    <a:gd name="connsiteY1536" fmla="*/ 112760 h 792545"/>
                    <a:gd name="connsiteX1537" fmla="*/ 242707 w 1123106"/>
                    <a:gd name="connsiteY1537" fmla="*/ 113542 h 792545"/>
                    <a:gd name="connsiteX1538" fmla="*/ 254255 w 1123106"/>
                    <a:gd name="connsiteY1538" fmla="*/ 112890 h 792545"/>
                    <a:gd name="connsiteX1539" fmla="*/ 258086 w 1123106"/>
                    <a:gd name="connsiteY1539" fmla="*/ 112002 h 792545"/>
                    <a:gd name="connsiteX1540" fmla="*/ 272649 w 1123106"/>
                    <a:gd name="connsiteY1540" fmla="*/ 110510 h 792545"/>
                    <a:gd name="connsiteX1541" fmla="*/ 276423 w 1123106"/>
                    <a:gd name="connsiteY1541" fmla="*/ 109426 h 792545"/>
                    <a:gd name="connsiteX1542" fmla="*/ 283423 w 1123106"/>
                    <a:gd name="connsiteY1542" fmla="*/ 106093 h 792545"/>
                    <a:gd name="connsiteX1543" fmla="*/ 291663 w 1123106"/>
                    <a:gd name="connsiteY1543" fmla="*/ 100209 h 792545"/>
                    <a:gd name="connsiteX1544" fmla="*/ 298737 w 1123106"/>
                    <a:gd name="connsiteY1544" fmla="*/ 92459 h 792545"/>
                    <a:gd name="connsiteX1545" fmla="*/ 299861 w 1123106"/>
                    <a:gd name="connsiteY1545" fmla="*/ 90372 h 792545"/>
                    <a:gd name="connsiteX1546" fmla="*/ 300310 w 1123106"/>
                    <a:gd name="connsiteY1546" fmla="*/ 90902 h 792545"/>
                    <a:gd name="connsiteX1547" fmla="*/ 300945 w 1123106"/>
                    <a:gd name="connsiteY1547" fmla="*/ 90576 h 792545"/>
                    <a:gd name="connsiteX1548" fmla="*/ 301695 w 1123106"/>
                    <a:gd name="connsiteY1548" fmla="*/ 87634 h 792545"/>
                    <a:gd name="connsiteX1549" fmla="*/ 302624 w 1123106"/>
                    <a:gd name="connsiteY1549" fmla="*/ 80699 h 792545"/>
                    <a:gd name="connsiteX1550" fmla="*/ 306137 w 1123106"/>
                    <a:gd name="connsiteY1550" fmla="*/ 74146 h 792545"/>
                    <a:gd name="connsiteX1551" fmla="*/ 321059 w 1123106"/>
                    <a:gd name="connsiteY1551" fmla="*/ 59175 h 792545"/>
                    <a:gd name="connsiteX1552" fmla="*/ 327986 w 1123106"/>
                    <a:gd name="connsiteY1552" fmla="*/ 53226 h 792545"/>
                    <a:gd name="connsiteX1553" fmla="*/ 330301 w 1123106"/>
                    <a:gd name="connsiteY1553" fmla="*/ 50512 h 792545"/>
                    <a:gd name="connsiteX1554" fmla="*/ 332705 w 1123106"/>
                    <a:gd name="connsiteY1554" fmla="*/ 48540 h 792545"/>
                    <a:gd name="connsiteX1555" fmla="*/ 334400 w 1123106"/>
                    <a:gd name="connsiteY1555" fmla="*/ 50414 h 792545"/>
                    <a:gd name="connsiteX1556" fmla="*/ 335215 w 1123106"/>
                    <a:gd name="connsiteY1556" fmla="*/ 50968 h 792545"/>
                    <a:gd name="connsiteX1557" fmla="*/ 335679 w 1123106"/>
                    <a:gd name="connsiteY1557" fmla="*/ 51849 h 792545"/>
                    <a:gd name="connsiteX1558" fmla="*/ 334261 w 1123106"/>
                    <a:gd name="connsiteY1558" fmla="*/ 52272 h 792545"/>
                    <a:gd name="connsiteX1559" fmla="*/ 331939 w 1123106"/>
                    <a:gd name="connsiteY1559" fmla="*/ 54188 h 792545"/>
                    <a:gd name="connsiteX1560" fmla="*/ 328703 w 1123106"/>
                    <a:gd name="connsiteY1560" fmla="*/ 55475 h 792545"/>
                    <a:gd name="connsiteX1561" fmla="*/ 327921 w 1123106"/>
                    <a:gd name="connsiteY1561" fmla="*/ 56135 h 792545"/>
                    <a:gd name="connsiteX1562" fmla="*/ 329820 w 1123106"/>
                    <a:gd name="connsiteY1562" fmla="*/ 55989 h 792545"/>
                    <a:gd name="connsiteX1563" fmla="*/ 335500 w 1123106"/>
                    <a:gd name="connsiteY1563" fmla="*/ 54587 h 792545"/>
                    <a:gd name="connsiteX1564" fmla="*/ 338711 w 1123106"/>
                    <a:gd name="connsiteY1564" fmla="*/ 52892 h 792545"/>
                    <a:gd name="connsiteX1565" fmla="*/ 354652 w 1123106"/>
                    <a:gd name="connsiteY1565" fmla="*/ 49754 h 792545"/>
                    <a:gd name="connsiteX1566" fmla="*/ 363299 w 1123106"/>
                    <a:gd name="connsiteY1566" fmla="*/ 44555 h 792545"/>
                    <a:gd name="connsiteX1567" fmla="*/ 363641 w 1123106"/>
                    <a:gd name="connsiteY1567" fmla="*/ 43389 h 792545"/>
                    <a:gd name="connsiteX1568" fmla="*/ 376461 w 1123106"/>
                    <a:gd name="connsiteY1568" fmla="*/ 36894 h 792545"/>
                    <a:gd name="connsiteX1569" fmla="*/ 378237 w 1123106"/>
                    <a:gd name="connsiteY1569" fmla="*/ 37138 h 792545"/>
                    <a:gd name="connsiteX1570" fmla="*/ 380275 w 1123106"/>
                    <a:gd name="connsiteY1570" fmla="*/ 37929 h 792545"/>
                    <a:gd name="connsiteX1571" fmla="*/ 376721 w 1123106"/>
                    <a:gd name="connsiteY1571" fmla="*/ 42216 h 792545"/>
                    <a:gd name="connsiteX1572" fmla="*/ 379223 w 1123106"/>
                    <a:gd name="connsiteY1572" fmla="*/ 43340 h 792545"/>
                    <a:gd name="connsiteX1573" fmla="*/ 377007 w 1123106"/>
                    <a:gd name="connsiteY1573" fmla="*/ 48458 h 792545"/>
                    <a:gd name="connsiteX1574" fmla="*/ 381652 w 1123106"/>
                    <a:gd name="connsiteY1574" fmla="*/ 48532 h 792545"/>
                    <a:gd name="connsiteX1575" fmla="*/ 382695 w 1123106"/>
                    <a:gd name="connsiteY1575" fmla="*/ 50895 h 792545"/>
                    <a:gd name="connsiteX1576" fmla="*/ 382956 w 1123106"/>
                    <a:gd name="connsiteY1576" fmla="*/ 48866 h 792545"/>
                    <a:gd name="connsiteX1577" fmla="*/ 382899 w 1123106"/>
                    <a:gd name="connsiteY1577" fmla="*/ 45948 h 792545"/>
                    <a:gd name="connsiteX1578" fmla="*/ 383266 w 1123106"/>
                    <a:gd name="connsiteY1578" fmla="*/ 43088 h 792545"/>
                    <a:gd name="connsiteX1579" fmla="*/ 383950 w 1123106"/>
                    <a:gd name="connsiteY1579" fmla="*/ 41107 h 792545"/>
                    <a:gd name="connsiteX1580" fmla="*/ 387210 w 1123106"/>
                    <a:gd name="connsiteY1580" fmla="*/ 41996 h 792545"/>
                    <a:gd name="connsiteX1581" fmla="*/ 394561 w 1123106"/>
                    <a:gd name="connsiteY1581" fmla="*/ 39877 h 792545"/>
                    <a:gd name="connsiteX1582" fmla="*/ 385645 w 1123106"/>
                    <a:gd name="connsiteY1582" fmla="*/ 39608 h 792545"/>
                    <a:gd name="connsiteX1583" fmla="*/ 380299 w 1123106"/>
                    <a:gd name="connsiteY1583" fmla="*/ 34954 h 792545"/>
                    <a:gd name="connsiteX1584" fmla="*/ 377333 w 1123106"/>
                    <a:gd name="connsiteY1584" fmla="*/ 34922 h 792545"/>
                    <a:gd name="connsiteX1585" fmla="*/ 387267 w 1123106"/>
                    <a:gd name="connsiteY1585" fmla="*/ 28084 h 792545"/>
                    <a:gd name="connsiteX1586" fmla="*/ 396354 w 1123106"/>
                    <a:gd name="connsiteY1586" fmla="*/ 23952 h 792545"/>
                    <a:gd name="connsiteX1587" fmla="*/ 398408 w 1123106"/>
                    <a:gd name="connsiteY1587" fmla="*/ 24034 h 792545"/>
                    <a:gd name="connsiteX1588" fmla="*/ 399402 w 1123106"/>
                    <a:gd name="connsiteY1588" fmla="*/ 24800 h 792545"/>
                    <a:gd name="connsiteX1589" fmla="*/ 399614 w 1123106"/>
                    <a:gd name="connsiteY1589" fmla="*/ 26055 h 792545"/>
                    <a:gd name="connsiteX1590" fmla="*/ 397650 w 1123106"/>
                    <a:gd name="connsiteY1590" fmla="*/ 26870 h 792545"/>
                    <a:gd name="connsiteX1591" fmla="*/ 395727 w 1123106"/>
                    <a:gd name="connsiteY1591" fmla="*/ 28345 h 792545"/>
                    <a:gd name="connsiteX1592" fmla="*/ 396607 w 1123106"/>
                    <a:gd name="connsiteY1592" fmla="*/ 29632 h 792545"/>
                    <a:gd name="connsiteX1593" fmla="*/ 397919 w 1123106"/>
                    <a:gd name="connsiteY1593" fmla="*/ 29812 h 792545"/>
                    <a:gd name="connsiteX1594" fmla="*/ 402287 w 1123106"/>
                    <a:gd name="connsiteY1594" fmla="*/ 28744 h 792545"/>
                    <a:gd name="connsiteX1595" fmla="*/ 404243 w 1123106"/>
                    <a:gd name="connsiteY1595" fmla="*/ 27416 h 792545"/>
                    <a:gd name="connsiteX1596" fmla="*/ 413550 w 1123106"/>
                    <a:gd name="connsiteY1596" fmla="*/ 27530 h 792545"/>
                    <a:gd name="connsiteX1597" fmla="*/ 416280 w 1123106"/>
                    <a:gd name="connsiteY1597" fmla="*/ 26584 h 792545"/>
                    <a:gd name="connsiteX1598" fmla="*/ 416940 w 1123106"/>
                    <a:gd name="connsiteY1598" fmla="*/ 25639 h 792545"/>
                    <a:gd name="connsiteX1599" fmla="*/ 428994 w 1123106"/>
                    <a:gd name="connsiteY1599" fmla="*/ 25452 h 792545"/>
                    <a:gd name="connsiteX1600" fmla="*/ 431202 w 1123106"/>
                    <a:gd name="connsiteY1600" fmla="*/ 24775 h 792545"/>
                    <a:gd name="connsiteX1601" fmla="*/ 438733 w 1123106"/>
                    <a:gd name="connsiteY1601" fmla="*/ 21116 h 792545"/>
                    <a:gd name="connsiteX1602" fmla="*/ 445693 w 1123106"/>
                    <a:gd name="connsiteY1602" fmla="*/ 16682 h 792545"/>
                    <a:gd name="connsiteX1603" fmla="*/ 448904 w 1123106"/>
                    <a:gd name="connsiteY1603" fmla="*/ 14254 h 792545"/>
                    <a:gd name="connsiteX1604" fmla="*/ 454405 w 1123106"/>
                    <a:gd name="connsiteY1604" fmla="*/ 8068 h 792545"/>
                    <a:gd name="connsiteX1605" fmla="*/ 459123 w 1123106"/>
                    <a:gd name="connsiteY1605" fmla="*/ 4034 h 792545"/>
                    <a:gd name="connsiteX1606" fmla="*/ 466890 w 1123106"/>
                    <a:gd name="connsiteY1606" fmla="*/ 0 h 792545"/>
                    <a:gd name="connsiteX1607" fmla="*/ 468756 w 1123106"/>
                    <a:gd name="connsiteY1607" fmla="*/ 505 h 792545"/>
                    <a:gd name="connsiteX1608" fmla="*/ 466238 w 1123106"/>
                    <a:gd name="connsiteY1608" fmla="*/ 1304 h 792545"/>
                    <a:gd name="connsiteX1609" fmla="*/ 464486 w 1123106"/>
                    <a:gd name="connsiteY1609" fmla="*/ 3007 h 792545"/>
                    <a:gd name="connsiteX1610" fmla="*/ 466898 w 1123106"/>
                    <a:gd name="connsiteY1610" fmla="*/ 5273 h 792545"/>
                    <a:gd name="connsiteX1611" fmla="*/ 483247 w 1123106"/>
                    <a:gd name="connsiteY1611" fmla="*/ 9951 h 792545"/>
                    <a:gd name="connsiteX1612" fmla="*/ 487346 w 1123106"/>
                    <a:gd name="connsiteY1612" fmla="*/ 10203 h 792545"/>
                    <a:gd name="connsiteX1613" fmla="*/ 488992 w 1123106"/>
                    <a:gd name="connsiteY1613" fmla="*/ 12999 h 792545"/>
                    <a:gd name="connsiteX1614" fmla="*/ 487623 w 1123106"/>
                    <a:gd name="connsiteY1614" fmla="*/ 15688 h 792545"/>
                    <a:gd name="connsiteX1615" fmla="*/ 483410 w 1123106"/>
                    <a:gd name="connsiteY1615" fmla="*/ 18687 h 792545"/>
                    <a:gd name="connsiteX1616" fmla="*/ 474918 w 1123106"/>
                    <a:gd name="connsiteY1616" fmla="*/ 21735 h 792545"/>
                    <a:gd name="connsiteX1617" fmla="*/ 477509 w 1123106"/>
                    <a:gd name="connsiteY1617" fmla="*/ 22893 h 792545"/>
                    <a:gd name="connsiteX1618" fmla="*/ 479221 w 1123106"/>
                    <a:gd name="connsiteY1618" fmla="*/ 25615 h 792545"/>
                    <a:gd name="connsiteX1619" fmla="*/ 95050 w 1123106"/>
                    <a:gd name="connsiteY1619" fmla="*/ 336796 h 792545"/>
                    <a:gd name="connsiteX1620" fmla="*/ 95425 w 1123106"/>
                    <a:gd name="connsiteY1620" fmla="*/ 337806 h 792545"/>
                    <a:gd name="connsiteX1621" fmla="*/ 98017 w 1123106"/>
                    <a:gd name="connsiteY1621" fmla="*/ 337643 h 792545"/>
                    <a:gd name="connsiteX1622" fmla="*/ 101652 w 1123106"/>
                    <a:gd name="connsiteY1622" fmla="*/ 338075 h 792545"/>
                    <a:gd name="connsiteX1623" fmla="*/ 105669 w 1123106"/>
                    <a:gd name="connsiteY1623" fmla="*/ 339053 h 792545"/>
                    <a:gd name="connsiteX1624" fmla="*/ 109647 w 1123106"/>
                    <a:gd name="connsiteY1624" fmla="*/ 338703 h 792545"/>
                    <a:gd name="connsiteX1625" fmla="*/ 114659 w 1123106"/>
                    <a:gd name="connsiteY1625" fmla="*/ 335598 h 792545"/>
                    <a:gd name="connsiteX1626" fmla="*/ 117658 w 1123106"/>
                    <a:gd name="connsiteY1626" fmla="*/ 334783 h 792545"/>
                    <a:gd name="connsiteX1627" fmla="*/ 120665 w 1123106"/>
                    <a:gd name="connsiteY1627" fmla="*/ 334359 h 792545"/>
                    <a:gd name="connsiteX1628" fmla="*/ 123917 w 1123106"/>
                    <a:gd name="connsiteY1628" fmla="*/ 335109 h 792545"/>
                    <a:gd name="connsiteX1629" fmla="*/ 127095 w 1123106"/>
                    <a:gd name="connsiteY1629" fmla="*/ 336755 h 792545"/>
                    <a:gd name="connsiteX1630" fmla="*/ 128318 w 1123106"/>
                    <a:gd name="connsiteY1630" fmla="*/ 337725 h 792545"/>
                    <a:gd name="connsiteX1631" fmla="*/ 129296 w 1123106"/>
                    <a:gd name="connsiteY1631" fmla="*/ 339420 h 792545"/>
                    <a:gd name="connsiteX1632" fmla="*/ 129947 w 1123106"/>
                    <a:gd name="connsiteY1632" fmla="*/ 341474 h 792545"/>
                    <a:gd name="connsiteX1633" fmla="*/ 130917 w 1123106"/>
                    <a:gd name="connsiteY1633" fmla="*/ 342949 h 792545"/>
                    <a:gd name="connsiteX1634" fmla="*/ 136867 w 1123106"/>
                    <a:gd name="connsiteY1634" fmla="*/ 344758 h 792545"/>
                    <a:gd name="connsiteX1635" fmla="*/ 140673 w 1123106"/>
                    <a:gd name="connsiteY1635" fmla="*/ 345483 h 792545"/>
                    <a:gd name="connsiteX1636" fmla="*/ 141593 w 1123106"/>
                    <a:gd name="connsiteY1636" fmla="*/ 346478 h 792545"/>
                    <a:gd name="connsiteX1637" fmla="*/ 142400 w 1123106"/>
                    <a:gd name="connsiteY1637" fmla="*/ 347839 h 792545"/>
                    <a:gd name="connsiteX1638" fmla="*/ 145546 w 1123106"/>
                    <a:gd name="connsiteY1638" fmla="*/ 348874 h 792545"/>
                    <a:gd name="connsiteX1639" fmla="*/ 148839 w 1123106"/>
                    <a:gd name="connsiteY1639" fmla="*/ 348499 h 792545"/>
                    <a:gd name="connsiteX1640" fmla="*/ 150672 w 1123106"/>
                    <a:gd name="connsiteY1640" fmla="*/ 348866 h 792545"/>
                    <a:gd name="connsiteX1641" fmla="*/ 156255 w 1123106"/>
                    <a:gd name="connsiteY1641" fmla="*/ 348923 h 792545"/>
                    <a:gd name="connsiteX1642" fmla="*/ 163207 w 1123106"/>
                    <a:gd name="connsiteY1642" fmla="*/ 350438 h 792545"/>
                    <a:gd name="connsiteX1643" fmla="*/ 162082 w 1123106"/>
                    <a:gd name="connsiteY1643" fmla="*/ 354440 h 792545"/>
                    <a:gd name="connsiteX1644" fmla="*/ 159824 w 1123106"/>
                    <a:gd name="connsiteY1644" fmla="*/ 356192 h 792545"/>
                    <a:gd name="connsiteX1645" fmla="*/ 153459 w 1123106"/>
                    <a:gd name="connsiteY1645" fmla="*/ 355630 h 792545"/>
                    <a:gd name="connsiteX1646" fmla="*/ 147119 w 1123106"/>
                    <a:gd name="connsiteY1646" fmla="*/ 356200 h 792545"/>
                    <a:gd name="connsiteX1647" fmla="*/ 144487 w 1123106"/>
                    <a:gd name="connsiteY1647" fmla="*/ 358246 h 792545"/>
                    <a:gd name="connsiteX1648" fmla="*/ 142286 w 1123106"/>
                    <a:gd name="connsiteY1648" fmla="*/ 360846 h 792545"/>
                    <a:gd name="connsiteX1649" fmla="*/ 141993 w 1123106"/>
                    <a:gd name="connsiteY1649" fmla="*/ 363388 h 792545"/>
                    <a:gd name="connsiteX1650" fmla="*/ 140713 w 1123106"/>
                    <a:gd name="connsiteY1650" fmla="*/ 364554 h 792545"/>
                    <a:gd name="connsiteX1651" fmla="*/ 139385 w 1123106"/>
                    <a:gd name="connsiteY1651" fmla="*/ 365059 h 792545"/>
                    <a:gd name="connsiteX1652" fmla="*/ 138309 w 1123106"/>
                    <a:gd name="connsiteY1652" fmla="*/ 363657 h 792545"/>
                    <a:gd name="connsiteX1653" fmla="*/ 136875 w 1123106"/>
                    <a:gd name="connsiteY1653" fmla="*/ 359387 h 792545"/>
                    <a:gd name="connsiteX1654" fmla="*/ 135864 w 1123106"/>
                    <a:gd name="connsiteY1654" fmla="*/ 358205 h 792545"/>
                    <a:gd name="connsiteX1655" fmla="*/ 134756 w 1123106"/>
                    <a:gd name="connsiteY1655" fmla="*/ 357464 h 792545"/>
                    <a:gd name="connsiteX1656" fmla="*/ 131651 w 1123106"/>
                    <a:gd name="connsiteY1656" fmla="*/ 356119 h 792545"/>
                    <a:gd name="connsiteX1657" fmla="*/ 128505 w 1123106"/>
                    <a:gd name="connsiteY1657" fmla="*/ 355263 h 792545"/>
                    <a:gd name="connsiteX1658" fmla="*/ 126663 w 1123106"/>
                    <a:gd name="connsiteY1658" fmla="*/ 355157 h 792545"/>
                    <a:gd name="connsiteX1659" fmla="*/ 125335 w 1123106"/>
                    <a:gd name="connsiteY1659" fmla="*/ 353674 h 792545"/>
                    <a:gd name="connsiteX1660" fmla="*/ 124601 w 1123106"/>
                    <a:gd name="connsiteY1660" fmla="*/ 351531 h 792545"/>
                    <a:gd name="connsiteX1661" fmla="*/ 123346 w 1123106"/>
                    <a:gd name="connsiteY1661" fmla="*/ 350422 h 792545"/>
                    <a:gd name="connsiteX1662" fmla="*/ 120852 w 1123106"/>
                    <a:gd name="connsiteY1662" fmla="*/ 348849 h 792545"/>
                    <a:gd name="connsiteX1663" fmla="*/ 118302 w 1123106"/>
                    <a:gd name="connsiteY1663" fmla="*/ 347611 h 792545"/>
                    <a:gd name="connsiteX1664" fmla="*/ 110331 w 1123106"/>
                    <a:gd name="connsiteY1664" fmla="*/ 344913 h 792545"/>
                    <a:gd name="connsiteX1665" fmla="*/ 107707 w 1123106"/>
                    <a:gd name="connsiteY1665" fmla="*/ 344563 h 792545"/>
                    <a:gd name="connsiteX1666" fmla="*/ 105050 w 1123106"/>
                    <a:gd name="connsiteY1666" fmla="*/ 344856 h 792545"/>
                    <a:gd name="connsiteX1667" fmla="*/ 102198 w 1123106"/>
                    <a:gd name="connsiteY1667" fmla="*/ 346087 h 792545"/>
                    <a:gd name="connsiteX1668" fmla="*/ 99443 w 1123106"/>
                    <a:gd name="connsiteY1668" fmla="*/ 347904 h 792545"/>
                    <a:gd name="connsiteX1669" fmla="*/ 96615 w 1123106"/>
                    <a:gd name="connsiteY1669" fmla="*/ 349265 h 792545"/>
                    <a:gd name="connsiteX1670" fmla="*/ 93689 w 1123106"/>
                    <a:gd name="connsiteY1670" fmla="*/ 349558 h 792545"/>
                    <a:gd name="connsiteX1671" fmla="*/ 90894 w 1123106"/>
                    <a:gd name="connsiteY1671" fmla="*/ 348768 h 792545"/>
                    <a:gd name="connsiteX1672" fmla="*/ 88270 w 1123106"/>
                    <a:gd name="connsiteY1672" fmla="*/ 346991 h 792545"/>
                    <a:gd name="connsiteX1673" fmla="*/ 86950 w 1123106"/>
                    <a:gd name="connsiteY1673" fmla="*/ 345720 h 792545"/>
                    <a:gd name="connsiteX1674" fmla="*/ 86249 w 1123106"/>
                    <a:gd name="connsiteY1674" fmla="*/ 343552 h 792545"/>
                    <a:gd name="connsiteX1675" fmla="*/ 86289 w 1123106"/>
                    <a:gd name="connsiteY1675" fmla="*/ 341368 h 792545"/>
                    <a:gd name="connsiteX1676" fmla="*/ 86640 w 1123106"/>
                    <a:gd name="connsiteY1676" fmla="*/ 339273 h 792545"/>
                    <a:gd name="connsiteX1677" fmla="*/ 88058 w 1123106"/>
                    <a:gd name="connsiteY1677" fmla="*/ 334188 h 792545"/>
                    <a:gd name="connsiteX1678" fmla="*/ 90535 w 1123106"/>
                    <a:gd name="connsiteY1678" fmla="*/ 333194 h 792545"/>
                    <a:gd name="connsiteX1679" fmla="*/ 95050 w 1123106"/>
                    <a:gd name="connsiteY1679" fmla="*/ 336796 h 792545"/>
                    <a:gd name="connsiteX1680" fmla="*/ 227190 w 1123106"/>
                    <a:gd name="connsiteY1680" fmla="*/ 469522 h 792545"/>
                    <a:gd name="connsiteX1681" fmla="*/ 229472 w 1123106"/>
                    <a:gd name="connsiteY1681" fmla="*/ 471511 h 792545"/>
                    <a:gd name="connsiteX1682" fmla="*/ 230678 w 1123106"/>
                    <a:gd name="connsiteY1682" fmla="*/ 471625 h 792545"/>
                    <a:gd name="connsiteX1683" fmla="*/ 234500 w 1123106"/>
                    <a:gd name="connsiteY1683" fmla="*/ 471022 h 792545"/>
                    <a:gd name="connsiteX1684" fmla="*/ 235902 w 1123106"/>
                    <a:gd name="connsiteY1684" fmla="*/ 471446 h 792545"/>
                    <a:gd name="connsiteX1685" fmla="*/ 237263 w 1123106"/>
                    <a:gd name="connsiteY1685" fmla="*/ 472293 h 792545"/>
                    <a:gd name="connsiteX1686" fmla="*/ 238103 w 1123106"/>
                    <a:gd name="connsiteY1686" fmla="*/ 473605 h 792545"/>
                    <a:gd name="connsiteX1687" fmla="*/ 238266 w 1123106"/>
                    <a:gd name="connsiteY1687" fmla="*/ 475904 h 792545"/>
                    <a:gd name="connsiteX1688" fmla="*/ 237646 w 1123106"/>
                    <a:gd name="connsiteY1688" fmla="*/ 477949 h 792545"/>
                    <a:gd name="connsiteX1689" fmla="*/ 237826 w 1123106"/>
                    <a:gd name="connsiteY1689" fmla="*/ 480842 h 792545"/>
                    <a:gd name="connsiteX1690" fmla="*/ 237687 w 1123106"/>
                    <a:gd name="connsiteY1690" fmla="*/ 482089 h 792545"/>
                    <a:gd name="connsiteX1691" fmla="*/ 239716 w 1123106"/>
                    <a:gd name="connsiteY1691" fmla="*/ 483727 h 792545"/>
                    <a:gd name="connsiteX1692" fmla="*/ 240352 w 1123106"/>
                    <a:gd name="connsiteY1692" fmla="*/ 485944 h 792545"/>
                    <a:gd name="connsiteX1693" fmla="*/ 240678 w 1123106"/>
                    <a:gd name="connsiteY1693" fmla="*/ 488324 h 792545"/>
                    <a:gd name="connsiteX1694" fmla="*/ 236277 w 1123106"/>
                    <a:gd name="connsiteY1694" fmla="*/ 489114 h 792545"/>
                    <a:gd name="connsiteX1695" fmla="*/ 231876 w 1123106"/>
                    <a:gd name="connsiteY1695" fmla="*/ 489237 h 792545"/>
                    <a:gd name="connsiteX1696" fmla="*/ 228078 w 1123106"/>
                    <a:gd name="connsiteY1696" fmla="*/ 490850 h 792545"/>
                    <a:gd name="connsiteX1697" fmla="*/ 227296 w 1123106"/>
                    <a:gd name="connsiteY1697" fmla="*/ 492040 h 792545"/>
                    <a:gd name="connsiteX1698" fmla="*/ 227907 w 1123106"/>
                    <a:gd name="connsiteY1698" fmla="*/ 493800 h 792545"/>
                    <a:gd name="connsiteX1699" fmla="*/ 226864 w 1123106"/>
                    <a:gd name="connsiteY1699" fmla="*/ 494257 h 792545"/>
                    <a:gd name="connsiteX1700" fmla="*/ 225902 w 1123106"/>
                    <a:gd name="connsiteY1700" fmla="*/ 493866 h 792545"/>
                    <a:gd name="connsiteX1701" fmla="*/ 224061 w 1123106"/>
                    <a:gd name="connsiteY1701" fmla="*/ 492228 h 792545"/>
                    <a:gd name="connsiteX1702" fmla="*/ 222039 w 1123106"/>
                    <a:gd name="connsiteY1702" fmla="*/ 491453 h 792545"/>
                    <a:gd name="connsiteX1703" fmla="*/ 214982 w 1123106"/>
                    <a:gd name="connsiteY1703" fmla="*/ 490247 h 792545"/>
                    <a:gd name="connsiteX1704" fmla="*/ 206115 w 1123106"/>
                    <a:gd name="connsiteY1704" fmla="*/ 485496 h 792545"/>
                    <a:gd name="connsiteX1705" fmla="*/ 202301 w 1123106"/>
                    <a:gd name="connsiteY1705" fmla="*/ 484510 h 792545"/>
                    <a:gd name="connsiteX1706" fmla="*/ 198422 w 1123106"/>
                    <a:gd name="connsiteY1706" fmla="*/ 481030 h 792545"/>
                    <a:gd name="connsiteX1707" fmla="*/ 194917 w 1123106"/>
                    <a:gd name="connsiteY1707" fmla="*/ 476596 h 792545"/>
                    <a:gd name="connsiteX1708" fmla="*/ 197199 w 1123106"/>
                    <a:gd name="connsiteY1708" fmla="*/ 475887 h 792545"/>
                    <a:gd name="connsiteX1709" fmla="*/ 199497 w 1123106"/>
                    <a:gd name="connsiteY1709" fmla="*/ 475529 h 792545"/>
                    <a:gd name="connsiteX1710" fmla="*/ 209799 w 1123106"/>
                    <a:gd name="connsiteY1710" fmla="*/ 476189 h 792545"/>
                    <a:gd name="connsiteX1711" fmla="*/ 211086 w 1123106"/>
                    <a:gd name="connsiteY1711" fmla="*/ 473010 h 792545"/>
                    <a:gd name="connsiteX1712" fmla="*/ 212415 w 1123106"/>
                    <a:gd name="connsiteY1712" fmla="*/ 472212 h 792545"/>
                    <a:gd name="connsiteX1713" fmla="*/ 215683 w 1123106"/>
                    <a:gd name="connsiteY1713" fmla="*/ 471315 h 792545"/>
                    <a:gd name="connsiteX1714" fmla="*/ 218739 w 1123106"/>
                    <a:gd name="connsiteY1714" fmla="*/ 469547 h 792545"/>
                    <a:gd name="connsiteX1715" fmla="*/ 220116 w 1123106"/>
                    <a:gd name="connsiteY1715" fmla="*/ 469596 h 792545"/>
                    <a:gd name="connsiteX1716" fmla="*/ 221518 w 1123106"/>
                    <a:gd name="connsiteY1716" fmla="*/ 470272 h 792545"/>
                    <a:gd name="connsiteX1717" fmla="*/ 224419 w 1123106"/>
                    <a:gd name="connsiteY1717" fmla="*/ 469221 h 792545"/>
                    <a:gd name="connsiteX1718" fmla="*/ 225951 w 1123106"/>
                    <a:gd name="connsiteY1718" fmla="*/ 469001 h 792545"/>
                    <a:gd name="connsiteX1719" fmla="*/ 227190 w 1123106"/>
                    <a:gd name="connsiteY1719" fmla="*/ 469522 h 792545"/>
                    <a:gd name="connsiteX1720" fmla="*/ 567441 w 1123106"/>
                    <a:gd name="connsiteY1720" fmla="*/ 549789 h 792545"/>
                    <a:gd name="connsiteX1721" fmla="*/ 568338 w 1123106"/>
                    <a:gd name="connsiteY1721" fmla="*/ 550115 h 792545"/>
                    <a:gd name="connsiteX1722" fmla="*/ 569275 w 1123106"/>
                    <a:gd name="connsiteY1722" fmla="*/ 547776 h 792545"/>
                    <a:gd name="connsiteX1723" fmla="*/ 569935 w 1123106"/>
                    <a:gd name="connsiteY1723" fmla="*/ 547703 h 792545"/>
                    <a:gd name="connsiteX1724" fmla="*/ 572869 w 1123106"/>
                    <a:gd name="connsiteY1724" fmla="*/ 549683 h 792545"/>
                    <a:gd name="connsiteX1725" fmla="*/ 574670 w 1123106"/>
                    <a:gd name="connsiteY1725" fmla="*/ 549243 h 792545"/>
                    <a:gd name="connsiteX1726" fmla="*/ 575828 w 1123106"/>
                    <a:gd name="connsiteY1726" fmla="*/ 551672 h 792545"/>
                    <a:gd name="connsiteX1727" fmla="*/ 576871 w 1123106"/>
                    <a:gd name="connsiteY1727" fmla="*/ 551892 h 792545"/>
                    <a:gd name="connsiteX1728" fmla="*/ 577832 w 1123106"/>
                    <a:gd name="connsiteY1728" fmla="*/ 551598 h 792545"/>
                    <a:gd name="connsiteX1729" fmla="*/ 578411 w 1123106"/>
                    <a:gd name="connsiteY1729" fmla="*/ 551761 h 792545"/>
                    <a:gd name="connsiteX1730" fmla="*/ 578207 w 1123106"/>
                    <a:gd name="connsiteY1730" fmla="*/ 554328 h 792545"/>
                    <a:gd name="connsiteX1731" fmla="*/ 576064 w 1123106"/>
                    <a:gd name="connsiteY1731" fmla="*/ 556936 h 792545"/>
                    <a:gd name="connsiteX1732" fmla="*/ 575070 w 1123106"/>
                    <a:gd name="connsiteY1732" fmla="*/ 557597 h 792545"/>
                    <a:gd name="connsiteX1733" fmla="*/ 573676 w 1123106"/>
                    <a:gd name="connsiteY1733" fmla="*/ 556928 h 792545"/>
                    <a:gd name="connsiteX1734" fmla="*/ 573154 w 1123106"/>
                    <a:gd name="connsiteY1734" fmla="*/ 556667 h 792545"/>
                    <a:gd name="connsiteX1735" fmla="*/ 572234 w 1123106"/>
                    <a:gd name="connsiteY1735" fmla="*/ 555518 h 792545"/>
                    <a:gd name="connsiteX1736" fmla="*/ 571533 w 1123106"/>
                    <a:gd name="connsiteY1736" fmla="*/ 554068 h 792545"/>
                    <a:gd name="connsiteX1737" fmla="*/ 571117 w 1123106"/>
                    <a:gd name="connsiteY1737" fmla="*/ 554043 h 792545"/>
                    <a:gd name="connsiteX1738" fmla="*/ 569479 w 1123106"/>
                    <a:gd name="connsiteY1738" fmla="*/ 555755 h 792545"/>
                    <a:gd name="connsiteX1739" fmla="*/ 569520 w 1123106"/>
                    <a:gd name="connsiteY1739" fmla="*/ 556602 h 792545"/>
                    <a:gd name="connsiteX1740" fmla="*/ 570196 w 1123106"/>
                    <a:gd name="connsiteY1740" fmla="*/ 557866 h 792545"/>
                    <a:gd name="connsiteX1741" fmla="*/ 570098 w 1123106"/>
                    <a:gd name="connsiteY1741" fmla="*/ 558656 h 792545"/>
                    <a:gd name="connsiteX1742" fmla="*/ 568322 w 1123106"/>
                    <a:gd name="connsiteY1742" fmla="*/ 559031 h 792545"/>
                    <a:gd name="connsiteX1743" fmla="*/ 566569 w 1123106"/>
                    <a:gd name="connsiteY1743" fmla="*/ 558835 h 792545"/>
                    <a:gd name="connsiteX1744" fmla="*/ 564434 w 1123106"/>
                    <a:gd name="connsiteY1744" fmla="*/ 559944 h 792545"/>
                    <a:gd name="connsiteX1745" fmla="*/ 563921 w 1123106"/>
                    <a:gd name="connsiteY1745" fmla="*/ 559259 h 792545"/>
                    <a:gd name="connsiteX1746" fmla="*/ 563595 w 1123106"/>
                    <a:gd name="connsiteY1746" fmla="*/ 557311 h 792545"/>
                    <a:gd name="connsiteX1747" fmla="*/ 562927 w 1123106"/>
                    <a:gd name="connsiteY1747" fmla="*/ 557539 h 792545"/>
                    <a:gd name="connsiteX1748" fmla="*/ 561916 w 1123106"/>
                    <a:gd name="connsiteY1748" fmla="*/ 559919 h 792545"/>
                    <a:gd name="connsiteX1749" fmla="*/ 560816 w 1123106"/>
                    <a:gd name="connsiteY1749" fmla="*/ 561427 h 792545"/>
                    <a:gd name="connsiteX1750" fmla="*/ 558811 w 1123106"/>
                    <a:gd name="connsiteY1750" fmla="*/ 562674 h 792545"/>
                    <a:gd name="connsiteX1751" fmla="*/ 558371 w 1123106"/>
                    <a:gd name="connsiteY1751" fmla="*/ 563285 h 792545"/>
                    <a:gd name="connsiteX1752" fmla="*/ 556904 w 1123106"/>
                    <a:gd name="connsiteY1752" fmla="*/ 563358 h 792545"/>
                    <a:gd name="connsiteX1753" fmla="*/ 554728 w 1123106"/>
                    <a:gd name="connsiteY1753" fmla="*/ 564149 h 792545"/>
                    <a:gd name="connsiteX1754" fmla="*/ 553375 w 1123106"/>
                    <a:gd name="connsiteY1754" fmla="*/ 564018 h 792545"/>
                    <a:gd name="connsiteX1755" fmla="*/ 545372 w 1123106"/>
                    <a:gd name="connsiteY1755" fmla="*/ 561435 h 792545"/>
                    <a:gd name="connsiteX1756" fmla="*/ 543489 w 1123106"/>
                    <a:gd name="connsiteY1756" fmla="*/ 560490 h 792545"/>
                    <a:gd name="connsiteX1757" fmla="*/ 550074 w 1123106"/>
                    <a:gd name="connsiteY1757" fmla="*/ 554557 h 792545"/>
                    <a:gd name="connsiteX1758" fmla="*/ 553538 w 1123106"/>
                    <a:gd name="connsiteY1758" fmla="*/ 552267 h 792545"/>
                    <a:gd name="connsiteX1759" fmla="*/ 555543 w 1123106"/>
                    <a:gd name="connsiteY1759" fmla="*/ 552397 h 792545"/>
                    <a:gd name="connsiteX1760" fmla="*/ 557548 w 1123106"/>
                    <a:gd name="connsiteY1760" fmla="*/ 553106 h 792545"/>
                    <a:gd name="connsiteX1761" fmla="*/ 558607 w 1123106"/>
                    <a:gd name="connsiteY1761" fmla="*/ 552992 h 792545"/>
                    <a:gd name="connsiteX1762" fmla="*/ 558681 w 1123106"/>
                    <a:gd name="connsiteY1762" fmla="*/ 550368 h 792545"/>
                    <a:gd name="connsiteX1763" fmla="*/ 556814 w 1123106"/>
                    <a:gd name="connsiteY1763" fmla="*/ 548404 h 792545"/>
                    <a:gd name="connsiteX1764" fmla="*/ 556888 w 1123106"/>
                    <a:gd name="connsiteY1764" fmla="*/ 547580 h 792545"/>
                    <a:gd name="connsiteX1765" fmla="*/ 561011 w 1123106"/>
                    <a:gd name="connsiteY1765" fmla="*/ 546244 h 792545"/>
                    <a:gd name="connsiteX1766" fmla="*/ 562560 w 1123106"/>
                    <a:gd name="connsiteY1766" fmla="*/ 546431 h 792545"/>
                    <a:gd name="connsiteX1767" fmla="*/ 564263 w 1123106"/>
                    <a:gd name="connsiteY1767" fmla="*/ 547124 h 792545"/>
                    <a:gd name="connsiteX1768" fmla="*/ 565877 w 1123106"/>
                    <a:gd name="connsiteY1768" fmla="*/ 548249 h 792545"/>
                    <a:gd name="connsiteX1769" fmla="*/ 567441 w 1123106"/>
                    <a:gd name="connsiteY1769" fmla="*/ 549789 h 792545"/>
                    <a:gd name="connsiteX1770" fmla="*/ 1007348 w 1123106"/>
                    <a:gd name="connsiteY1770" fmla="*/ 557580 h 792545"/>
                    <a:gd name="connsiteX1771" fmla="*/ 1013648 w 1123106"/>
                    <a:gd name="connsiteY1771" fmla="*/ 558477 h 792545"/>
                    <a:gd name="connsiteX1772" fmla="*/ 1018260 w 1123106"/>
                    <a:gd name="connsiteY1772" fmla="*/ 558281 h 792545"/>
                    <a:gd name="connsiteX1773" fmla="*/ 1022482 w 1123106"/>
                    <a:gd name="connsiteY1773" fmla="*/ 564133 h 792545"/>
                    <a:gd name="connsiteX1774" fmla="*/ 1025073 w 1123106"/>
                    <a:gd name="connsiteY1774" fmla="*/ 568859 h 792545"/>
                    <a:gd name="connsiteX1775" fmla="*/ 1026606 w 1123106"/>
                    <a:gd name="connsiteY1775" fmla="*/ 572160 h 792545"/>
                    <a:gd name="connsiteX1776" fmla="*/ 1027461 w 1123106"/>
                    <a:gd name="connsiteY1776" fmla="*/ 575347 h 792545"/>
                    <a:gd name="connsiteX1777" fmla="*/ 1028618 w 1123106"/>
                    <a:gd name="connsiteY1777" fmla="*/ 578427 h 792545"/>
                    <a:gd name="connsiteX1778" fmla="*/ 1028513 w 1123106"/>
                    <a:gd name="connsiteY1778" fmla="*/ 578859 h 792545"/>
                    <a:gd name="connsiteX1779" fmla="*/ 1026076 w 1123106"/>
                    <a:gd name="connsiteY1779" fmla="*/ 576789 h 792545"/>
                    <a:gd name="connsiteX1780" fmla="*/ 1024324 w 1123106"/>
                    <a:gd name="connsiteY1780" fmla="*/ 572584 h 792545"/>
                    <a:gd name="connsiteX1781" fmla="*/ 1023435 w 1123106"/>
                    <a:gd name="connsiteY1781" fmla="*/ 570938 h 792545"/>
                    <a:gd name="connsiteX1782" fmla="*/ 1022555 w 1123106"/>
                    <a:gd name="connsiteY1782" fmla="*/ 570188 h 792545"/>
                    <a:gd name="connsiteX1783" fmla="*/ 1021626 w 1123106"/>
                    <a:gd name="connsiteY1783" fmla="*/ 568631 h 792545"/>
                    <a:gd name="connsiteX1784" fmla="*/ 1019825 w 1123106"/>
                    <a:gd name="connsiteY1784" fmla="*/ 564613 h 792545"/>
                    <a:gd name="connsiteX1785" fmla="*/ 1019752 w 1123106"/>
                    <a:gd name="connsiteY1785" fmla="*/ 563481 h 792545"/>
                    <a:gd name="connsiteX1786" fmla="*/ 1018945 w 1123106"/>
                    <a:gd name="connsiteY1786" fmla="*/ 562429 h 792545"/>
                    <a:gd name="connsiteX1787" fmla="*/ 1018024 w 1123106"/>
                    <a:gd name="connsiteY1787" fmla="*/ 561989 h 792545"/>
                    <a:gd name="connsiteX1788" fmla="*/ 1016973 w 1123106"/>
                    <a:gd name="connsiteY1788" fmla="*/ 562160 h 792545"/>
                    <a:gd name="connsiteX1789" fmla="*/ 1016614 w 1123106"/>
                    <a:gd name="connsiteY1789" fmla="*/ 562568 h 792545"/>
                    <a:gd name="connsiteX1790" fmla="*/ 1016769 w 1123106"/>
                    <a:gd name="connsiteY1790" fmla="*/ 565347 h 792545"/>
                    <a:gd name="connsiteX1791" fmla="*/ 1017600 w 1123106"/>
                    <a:gd name="connsiteY1791" fmla="*/ 568436 h 792545"/>
                    <a:gd name="connsiteX1792" fmla="*/ 1022148 w 1123106"/>
                    <a:gd name="connsiteY1792" fmla="*/ 575167 h 792545"/>
                    <a:gd name="connsiteX1793" fmla="*/ 1025188 w 1123106"/>
                    <a:gd name="connsiteY1793" fmla="*/ 578990 h 792545"/>
                    <a:gd name="connsiteX1794" fmla="*/ 1025791 w 1123106"/>
                    <a:gd name="connsiteY1794" fmla="*/ 580261 h 792545"/>
                    <a:gd name="connsiteX1795" fmla="*/ 1026190 w 1123106"/>
                    <a:gd name="connsiteY1795" fmla="*/ 583749 h 792545"/>
                    <a:gd name="connsiteX1796" fmla="*/ 1024878 w 1123106"/>
                    <a:gd name="connsiteY1796" fmla="*/ 585338 h 792545"/>
                    <a:gd name="connsiteX1797" fmla="*/ 1026491 w 1123106"/>
                    <a:gd name="connsiteY1797" fmla="*/ 588557 h 792545"/>
                    <a:gd name="connsiteX1798" fmla="*/ 1026434 w 1123106"/>
                    <a:gd name="connsiteY1798" fmla="*/ 589185 h 792545"/>
                    <a:gd name="connsiteX1799" fmla="*/ 1026084 w 1123106"/>
                    <a:gd name="connsiteY1799" fmla="*/ 589796 h 792545"/>
                    <a:gd name="connsiteX1800" fmla="*/ 1021756 w 1123106"/>
                    <a:gd name="connsiteY1800" fmla="*/ 591222 h 792545"/>
                    <a:gd name="connsiteX1801" fmla="*/ 1017788 w 1123106"/>
                    <a:gd name="connsiteY1801" fmla="*/ 597172 h 792545"/>
                    <a:gd name="connsiteX1802" fmla="*/ 1013444 w 1123106"/>
                    <a:gd name="connsiteY1802" fmla="*/ 600660 h 792545"/>
                    <a:gd name="connsiteX1803" fmla="*/ 1011439 w 1123106"/>
                    <a:gd name="connsiteY1803" fmla="*/ 601214 h 792545"/>
                    <a:gd name="connsiteX1804" fmla="*/ 1010477 w 1123106"/>
                    <a:gd name="connsiteY1804" fmla="*/ 600635 h 792545"/>
                    <a:gd name="connsiteX1805" fmla="*/ 1009564 w 1123106"/>
                    <a:gd name="connsiteY1805" fmla="*/ 599299 h 792545"/>
                    <a:gd name="connsiteX1806" fmla="*/ 1009035 w 1123106"/>
                    <a:gd name="connsiteY1806" fmla="*/ 597522 h 792545"/>
                    <a:gd name="connsiteX1807" fmla="*/ 1008872 w 1123106"/>
                    <a:gd name="connsiteY1807" fmla="*/ 595281 h 792545"/>
                    <a:gd name="connsiteX1808" fmla="*/ 1009956 w 1123106"/>
                    <a:gd name="connsiteY1808" fmla="*/ 593879 h 792545"/>
                    <a:gd name="connsiteX1809" fmla="*/ 1012099 w 1123106"/>
                    <a:gd name="connsiteY1809" fmla="*/ 586552 h 792545"/>
                    <a:gd name="connsiteX1810" fmla="*/ 1012164 w 1123106"/>
                    <a:gd name="connsiteY1810" fmla="*/ 584140 h 792545"/>
                    <a:gd name="connsiteX1811" fmla="*/ 1009483 w 1123106"/>
                    <a:gd name="connsiteY1811" fmla="*/ 580799 h 792545"/>
                    <a:gd name="connsiteX1812" fmla="*/ 1007869 w 1123106"/>
                    <a:gd name="connsiteY1812" fmla="*/ 578061 h 792545"/>
                    <a:gd name="connsiteX1813" fmla="*/ 1006997 w 1123106"/>
                    <a:gd name="connsiteY1813" fmla="*/ 574246 h 792545"/>
                    <a:gd name="connsiteX1814" fmla="*/ 1005538 w 1123106"/>
                    <a:gd name="connsiteY1814" fmla="*/ 564116 h 792545"/>
                    <a:gd name="connsiteX1815" fmla="*/ 1004862 w 1123106"/>
                    <a:gd name="connsiteY1815" fmla="*/ 560881 h 792545"/>
                    <a:gd name="connsiteX1816" fmla="*/ 1003900 w 1123106"/>
                    <a:gd name="connsiteY1816" fmla="*/ 558175 h 792545"/>
                    <a:gd name="connsiteX1817" fmla="*/ 1002662 w 1123106"/>
                    <a:gd name="connsiteY1817" fmla="*/ 556007 h 792545"/>
                    <a:gd name="connsiteX1818" fmla="*/ 1001724 w 1123106"/>
                    <a:gd name="connsiteY1818" fmla="*/ 553628 h 792545"/>
                    <a:gd name="connsiteX1819" fmla="*/ 1001097 w 1123106"/>
                    <a:gd name="connsiteY1819" fmla="*/ 551028 h 792545"/>
                    <a:gd name="connsiteX1820" fmla="*/ 1001333 w 1123106"/>
                    <a:gd name="connsiteY1820" fmla="*/ 550017 h 792545"/>
                    <a:gd name="connsiteX1821" fmla="*/ 1003477 w 1123106"/>
                    <a:gd name="connsiteY1821" fmla="*/ 551378 h 792545"/>
                    <a:gd name="connsiteX1822" fmla="*/ 1006044 w 1123106"/>
                    <a:gd name="connsiteY1822" fmla="*/ 555111 h 792545"/>
                    <a:gd name="connsiteX1823" fmla="*/ 1007348 w 1123106"/>
                    <a:gd name="connsiteY1823" fmla="*/ 557580 h 792545"/>
                    <a:gd name="connsiteX1824" fmla="*/ 981309 w 1123106"/>
                    <a:gd name="connsiteY1824" fmla="*/ 554337 h 792545"/>
                    <a:gd name="connsiteX1825" fmla="*/ 984846 w 1123106"/>
                    <a:gd name="connsiteY1825" fmla="*/ 558167 h 792545"/>
                    <a:gd name="connsiteX1826" fmla="*/ 984879 w 1123106"/>
                    <a:gd name="connsiteY1826" fmla="*/ 559039 h 792545"/>
                    <a:gd name="connsiteX1827" fmla="*/ 984162 w 1123106"/>
                    <a:gd name="connsiteY1827" fmla="*/ 561663 h 792545"/>
                    <a:gd name="connsiteX1828" fmla="*/ 982230 w 1123106"/>
                    <a:gd name="connsiteY1828" fmla="*/ 562405 h 792545"/>
                    <a:gd name="connsiteX1829" fmla="*/ 982776 w 1123106"/>
                    <a:gd name="connsiteY1829" fmla="*/ 563440 h 792545"/>
                    <a:gd name="connsiteX1830" fmla="*/ 984211 w 1123106"/>
                    <a:gd name="connsiteY1830" fmla="*/ 564230 h 792545"/>
                    <a:gd name="connsiteX1831" fmla="*/ 985229 w 1123106"/>
                    <a:gd name="connsiteY1831" fmla="*/ 563578 h 792545"/>
                    <a:gd name="connsiteX1832" fmla="*/ 988970 w 1123106"/>
                    <a:gd name="connsiteY1832" fmla="*/ 559903 h 792545"/>
                    <a:gd name="connsiteX1833" fmla="*/ 990127 w 1123106"/>
                    <a:gd name="connsiteY1833" fmla="*/ 559129 h 792545"/>
                    <a:gd name="connsiteX1834" fmla="*/ 990820 w 1123106"/>
                    <a:gd name="connsiteY1834" fmla="*/ 559055 h 792545"/>
                    <a:gd name="connsiteX1835" fmla="*/ 995376 w 1123106"/>
                    <a:gd name="connsiteY1835" fmla="*/ 560164 h 792545"/>
                    <a:gd name="connsiteX1836" fmla="*/ 999361 w 1123106"/>
                    <a:gd name="connsiteY1836" fmla="*/ 561916 h 792545"/>
                    <a:gd name="connsiteX1837" fmla="*/ 1000543 w 1123106"/>
                    <a:gd name="connsiteY1837" fmla="*/ 563318 h 792545"/>
                    <a:gd name="connsiteX1838" fmla="*/ 1001203 w 1123106"/>
                    <a:gd name="connsiteY1838" fmla="*/ 565771 h 792545"/>
                    <a:gd name="connsiteX1839" fmla="*/ 1000152 w 1123106"/>
                    <a:gd name="connsiteY1839" fmla="*/ 571060 h 792545"/>
                    <a:gd name="connsiteX1840" fmla="*/ 996875 w 1123106"/>
                    <a:gd name="connsiteY1840" fmla="*/ 571989 h 792545"/>
                    <a:gd name="connsiteX1841" fmla="*/ 995335 w 1123106"/>
                    <a:gd name="connsiteY1841" fmla="*/ 571891 h 792545"/>
                    <a:gd name="connsiteX1842" fmla="*/ 993689 w 1123106"/>
                    <a:gd name="connsiteY1842" fmla="*/ 571125 h 792545"/>
                    <a:gd name="connsiteX1843" fmla="*/ 991024 w 1123106"/>
                    <a:gd name="connsiteY1843" fmla="*/ 572967 h 792545"/>
                    <a:gd name="connsiteX1844" fmla="*/ 993232 w 1123106"/>
                    <a:gd name="connsiteY1844" fmla="*/ 574377 h 792545"/>
                    <a:gd name="connsiteX1845" fmla="*/ 999948 w 1123106"/>
                    <a:gd name="connsiteY1845" fmla="*/ 574703 h 792545"/>
                    <a:gd name="connsiteX1846" fmla="*/ 1001985 w 1123106"/>
                    <a:gd name="connsiteY1846" fmla="*/ 577678 h 792545"/>
                    <a:gd name="connsiteX1847" fmla="*/ 1002572 w 1123106"/>
                    <a:gd name="connsiteY1847" fmla="*/ 579968 h 792545"/>
                    <a:gd name="connsiteX1848" fmla="*/ 1001121 w 1123106"/>
                    <a:gd name="connsiteY1848" fmla="*/ 584181 h 792545"/>
                    <a:gd name="connsiteX1849" fmla="*/ 997315 w 1123106"/>
                    <a:gd name="connsiteY1849" fmla="*/ 583016 h 792545"/>
                    <a:gd name="connsiteX1850" fmla="*/ 993958 w 1123106"/>
                    <a:gd name="connsiteY1850" fmla="*/ 580571 h 792545"/>
                    <a:gd name="connsiteX1851" fmla="*/ 987071 w 1123106"/>
                    <a:gd name="connsiteY1851" fmla="*/ 577115 h 792545"/>
                    <a:gd name="connsiteX1852" fmla="*/ 985425 w 1123106"/>
                    <a:gd name="connsiteY1852" fmla="*/ 576952 h 792545"/>
                    <a:gd name="connsiteX1853" fmla="*/ 984325 w 1123106"/>
                    <a:gd name="connsiteY1853" fmla="*/ 577572 h 792545"/>
                    <a:gd name="connsiteX1854" fmla="*/ 984023 w 1123106"/>
                    <a:gd name="connsiteY1854" fmla="*/ 579666 h 792545"/>
                    <a:gd name="connsiteX1855" fmla="*/ 984097 w 1123106"/>
                    <a:gd name="connsiteY1855" fmla="*/ 584205 h 792545"/>
                    <a:gd name="connsiteX1856" fmla="*/ 982255 w 1123106"/>
                    <a:gd name="connsiteY1856" fmla="*/ 586561 h 792545"/>
                    <a:gd name="connsiteX1857" fmla="*/ 976827 w 1123106"/>
                    <a:gd name="connsiteY1857" fmla="*/ 585526 h 792545"/>
                    <a:gd name="connsiteX1858" fmla="*/ 974700 w 1123106"/>
                    <a:gd name="connsiteY1858" fmla="*/ 582087 h 792545"/>
                    <a:gd name="connsiteX1859" fmla="*/ 972711 w 1123106"/>
                    <a:gd name="connsiteY1859" fmla="*/ 576651 h 792545"/>
                    <a:gd name="connsiteX1860" fmla="*/ 965230 w 1123106"/>
                    <a:gd name="connsiteY1860" fmla="*/ 570188 h 792545"/>
                    <a:gd name="connsiteX1861" fmla="*/ 963201 w 1123106"/>
                    <a:gd name="connsiteY1861" fmla="*/ 568892 h 792545"/>
                    <a:gd name="connsiteX1862" fmla="*/ 960503 w 1123106"/>
                    <a:gd name="connsiteY1862" fmla="*/ 565021 h 792545"/>
                    <a:gd name="connsiteX1863" fmla="*/ 961587 w 1123106"/>
                    <a:gd name="connsiteY1863" fmla="*/ 561957 h 792545"/>
                    <a:gd name="connsiteX1864" fmla="*/ 961905 w 1123106"/>
                    <a:gd name="connsiteY1864" fmla="*/ 560172 h 792545"/>
                    <a:gd name="connsiteX1865" fmla="*/ 963347 w 1123106"/>
                    <a:gd name="connsiteY1865" fmla="*/ 559707 h 792545"/>
                    <a:gd name="connsiteX1866" fmla="*/ 965450 w 1123106"/>
                    <a:gd name="connsiteY1866" fmla="*/ 558330 h 792545"/>
                    <a:gd name="connsiteX1867" fmla="*/ 966632 w 1123106"/>
                    <a:gd name="connsiteY1867" fmla="*/ 555355 h 792545"/>
                    <a:gd name="connsiteX1868" fmla="*/ 968522 w 1123106"/>
                    <a:gd name="connsiteY1868" fmla="*/ 557760 h 792545"/>
                    <a:gd name="connsiteX1869" fmla="*/ 971057 w 1123106"/>
                    <a:gd name="connsiteY1869" fmla="*/ 560066 h 792545"/>
                    <a:gd name="connsiteX1870" fmla="*/ 971090 w 1123106"/>
                    <a:gd name="connsiteY1870" fmla="*/ 557890 h 792545"/>
                    <a:gd name="connsiteX1871" fmla="*/ 972279 w 1123106"/>
                    <a:gd name="connsiteY1871" fmla="*/ 556162 h 792545"/>
                    <a:gd name="connsiteX1872" fmla="*/ 974757 w 1123106"/>
                    <a:gd name="connsiteY1872" fmla="*/ 556219 h 792545"/>
                    <a:gd name="connsiteX1873" fmla="*/ 975922 w 1123106"/>
                    <a:gd name="connsiteY1873" fmla="*/ 555861 h 792545"/>
                    <a:gd name="connsiteX1874" fmla="*/ 977552 w 1123106"/>
                    <a:gd name="connsiteY1874" fmla="*/ 554239 h 792545"/>
                    <a:gd name="connsiteX1875" fmla="*/ 979899 w 1123106"/>
                    <a:gd name="connsiteY1875" fmla="*/ 553399 h 792545"/>
                    <a:gd name="connsiteX1876" fmla="*/ 981309 w 1123106"/>
                    <a:gd name="connsiteY1876" fmla="*/ 554337 h 792545"/>
                    <a:gd name="connsiteX1877" fmla="*/ 555510 w 1123106"/>
                    <a:gd name="connsiteY1877" fmla="*/ 570799 h 792545"/>
                    <a:gd name="connsiteX1878" fmla="*/ 555690 w 1123106"/>
                    <a:gd name="connsiteY1878" fmla="*/ 572951 h 792545"/>
                    <a:gd name="connsiteX1879" fmla="*/ 556700 w 1123106"/>
                    <a:gd name="connsiteY1879" fmla="*/ 572682 h 792545"/>
                    <a:gd name="connsiteX1880" fmla="*/ 560514 w 1123106"/>
                    <a:gd name="connsiteY1880" fmla="*/ 570473 h 792545"/>
                    <a:gd name="connsiteX1881" fmla="*/ 562503 w 1123106"/>
                    <a:gd name="connsiteY1881" fmla="*/ 569821 h 792545"/>
                    <a:gd name="connsiteX1882" fmla="*/ 565094 w 1123106"/>
                    <a:gd name="connsiteY1882" fmla="*/ 569723 h 792545"/>
                    <a:gd name="connsiteX1883" fmla="*/ 567148 w 1123106"/>
                    <a:gd name="connsiteY1883" fmla="*/ 570726 h 792545"/>
                    <a:gd name="connsiteX1884" fmla="*/ 567564 w 1123106"/>
                    <a:gd name="connsiteY1884" fmla="*/ 571500 h 792545"/>
                    <a:gd name="connsiteX1885" fmla="*/ 567384 w 1123106"/>
                    <a:gd name="connsiteY1885" fmla="*/ 572421 h 792545"/>
                    <a:gd name="connsiteX1886" fmla="*/ 565738 w 1123106"/>
                    <a:gd name="connsiteY1886" fmla="*/ 574287 h 792545"/>
                    <a:gd name="connsiteX1887" fmla="*/ 565812 w 1123106"/>
                    <a:gd name="connsiteY1887" fmla="*/ 575501 h 792545"/>
                    <a:gd name="connsiteX1888" fmla="*/ 567572 w 1123106"/>
                    <a:gd name="connsiteY1888" fmla="*/ 577734 h 792545"/>
                    <a:gd name="connsiteX1889" fmla="*/ 571916 w 1123106"/>
                    <a:gd name="connsiteY1889" fmla="*/ 578949 h 792545"/>
                    <a:gd name="connsiteX1890" fmla="*/ 572437 w 1123106"/>
                    <a:gd name="connsiteY1890" fmla="*/ 579625 h 792545"/>
                    <a:gd name="connsiteX1891" fmla="*/ 572413 w 1123106"/>
                    <a:gd name="connsiteY1891" fmla="*/ 580432 h 792545"/>
                    <a:gd name="connsiteX1892" fmla="*/ 569430 w 1123106"/>
                    <a:gd name="connsiteY1892" fmla="*/ 584124 h 792545"/>
                    <a:gd name="connsiteX1893" fmla="*/ 568330 w 1123106"/>
                    <a:gd name="connsiteY1893" fmla="*/ 584980 h 792545"/>
                    <a:gd name="connsiteX1894" fmla="*/ 567547 w 1123106"/>
                    <a:gd name="connsiteY1894" fmla="*/ 585183 h 792545"/>
                    <a:gd name="connsiteX1895" fmla="*/ 562120 w 1123106"/>
                    <a:gd name="connsiteY1895" fmla="*/ 584523 h 792545"/>
                    <a:gd name="connsiteX1896" fmla="*/ 557157 w 1123106"/>
                    <a:gd name="connsiteY1896" fmla="*/ 583317 h 792545"/>
                    <a:gd name="connsiteX1897" fmla="*/ 555144 w 1123106"/>
                    <a:gd name="connsiteY1897" fmla="*/ 583113 h 792545"/>
                    <a:gd name="connsiteX1898" fmla="*/ 554434 w 1123106"/>
                    <a:gd name="connsiteY1898" fmla="*/ 583513 h 792545"/>
                    <a:gd name="connsiteX1899" fmla="*/ 553033 w 1123106"/>
                    <a:gd name="connsiteY1899" fmla="*/ 584645 h 792545"/>
                    <a:gd name="connsiteX1900" fmla="*/ 554035 w 1123106"/>
                    <a:gd name="connsiteY1900" fmla="*/ 584980 h 792545"/>
                    <a:gd name="connsiteX1901" fmla="*/ 558387 w 1123106"/>
                    <a:gd name="connsiteY1901" fmla="*/ 585249 h 792545"/>
                    <a:gd name="connsiteX1902" fmla="*/ 559919 w 1123106"/>
                    <a:gd name="connsiteY1902" fmla="*/ 586911 h 792545"/>
                    <a:gd name="connsiteX1903" fmla="*/ 560596 w 1123106"/>
                    <a:gd name="connsiteY1903" fmla="*/ 588125 h 792545"/>
                    <a:gd name="connsiteX1904" fmla="*/ 560930 w 1123106"/>
                    <a:gd name="connsiteY1904" fmla="*/ 589462 h 792545"/>
                    <a:gd name="connsiteX1905" fmla="*/ 560066 w 1123106"/>
                    <a:gd name="connsiteY1905" fmla="*/ 590016 h 792545"/>
                    <a:gd name="connsiteX1906" fmla="*/ 558200 w 1123106"/>
                    <a:gd name="connsiteY1906" fmla="*/ 590415 h 792545"/>
                    <a:gd name="connsiteX1907" fmla="*/ 555975 w 1123106"/>
                    <a:gd name="connsiteY1907" fmla="*/ 590415 h 792545"/>
                    <a:gd name="connsiteX1908" fmla="*/ 553220 w 1123106"/>
                    <a:gd name="connsiteY1908" fmla="*/ 591923 h 792545"/>
                    <a:gd name="connsiteX1909" fmla="*/ 551696 w 1123106"/>
                    <a:gd name="connsiteY1909" fmla="*/ 593643 h 792545"/>
                    <a:gd name="connsiteX1910" fmla="*/ 546171 w 1123106"/>
                    <a:gd name="connsiteY1910" fmla="*/ 594083 h 792545"/>
                    <a:gd name="connsiteX1911" fmla="*/ 541974 w 1123106"/>
                    <a:gd name="connsiteY1911" fmla="*/ 596381 h 792545"/>
                    <a:gd name="connsiteX1912" fmla="*/ 540490 w 1123106"/>
                    <a:gd name="connsiteY1912" fmla="*/ 597522 h 792545"/>
                    <a:gd name="connsiteX1913" fmla="*/ 539969 w 1123106"/>
                    <a:gd name="connsiteY1913" fmla="*/ 598875 h 792545"/>
                    <a:gd name="connsiteX1914" fmla="*/ 538380 w 1123106"/>
                    <a:gd name="connsiteY1914" fmla="*/ 599861 h 792545"/>
                    <a:gd name="connsiteX1915" fmla="*/ 534802 w 1123106"/>
                    <a:gd name="connsiteY1915" fmla="*/ 600847 h 792545"/>
                    <a:gd name="connsiteX1916" fmla="*/ 536937 w 1123106"/>
                    <a:gd name="connsiteY1916" fmla="*/ 601727 h 792545"/>
                    <a:gd name="connsiteX1917" fmla="*/ 537271 w 1123106"/>
                    <a:gd name="connsiteY1917" fmla="*/ 602477 h 792545"/>
                    <a:gd name="connsiteX1918" fmla="*/ 537312 w 1123106"/>
                    <a:gd name="connsiteY1918" fmla="*/ 603512 h 792545"/>
                    <a:gd name="connsiteX1919" fmla="*/ 537019 w 1123106"/>
                    <a:gd name="connsiteY1919" fmla="*/ 604392 h 792545"/>
                    <a:gd name="connsiteX1920" fmla="*/ 534199 w 1123106"/>
                    <a:gd name="connsiteY1920" fmla="*/ 608361 h 792545"/>
                    <a:gd name="connsiteX1921" fmla="*/ 528852 w 1123106"/>
                    <a:gd name="connsiteY1921" fmla="*/ 611621 h 792545"/>
                    <a:gd name="connsiteX1922" fmla="*/ 527500 w 1123106"/>
                    <a:gd name="connsiteY1922" fmla="*/ 611474 h 792545"/>
                    <a:gd name="connsiteX1923" fmla="*/ 526913 w 1123106"/>
                    <a:gd name="connsiteY1923" fmla="*/ 611067 h 792545"/>
                    <a:gd name="connsiteX1924" fmla="*/ 526432 w 1123106"/>
                    <a:gd name="connsiteY1924" fmla="*/ 610448 h 792545"/>
                    <a:gd name="connsiteX1925" fmla="*/ 526416 w 1123106"/>
                    <a:gd name="connsiteY1925" fmla="*/ 609828 h 792545"/>
                    <a:gd name="connsiteX1926" fmla="*/ 533302 w 1123106"/>
                    <a:gd name="connsiteY1926" fmla="*/ 603276 h 792545"/>
                    <a:gd name="connsiteX1927" fmla="*/ 533033 w 1123106"/>
                    <a:gd name="connsiteY1927" fmla="*/ 602958 h 792545"/>
                    <a:gd name="connsiteX1928" fmla="*/ 531159 w 1123106"/>
                    <a:gd name="connsiteY1928" fmla="*/ 602746 h 792545"/>
                    <a:gd name="connsiteX1929" fmla="*/ 528192 w 1123106"/>
                    <a:gd name="connsiteY1929" fmla="*/ 600945 h 792545"/>
                    <a:gd name="connsiteX1930" fmla="*/ 526106 w 1123106"/>
                    <a:gd name="connsiteY1930" fmla="*/ 602102 h 792545"/>
                    <a:gd name="connsiteX1931" fmla="*/ 525625 w 1123106"/>
                    <a:gd name="connsiteY1931" fmla="*/ 602061 h 792545"/>
                    <a:gd name="connsiteX1932" fmla="*/ 526188 w 1123106"/>
                    <a:gd name="connsiteY1932" fmla="*/ 600513 h 792545"/>
                    <a:gd name="connsiteX1933" fmla="*/ 527549 w 1123106"/>
                    <a:gd name="connsiteY1933" fmla="*/ 598679 h 792545"/>
                    <a:gd name="connsiteX1934" fmla="*/ 527312 w 1123106"/>
                    <a:gd name="connsiteY1934" fmla="*/ 598158 h 792545"/>
                    <a:gd name="connsiteX1935" fmla="*/ 526562 w 1123106"/>
                    <a:gd name="connsiteY1935" fmla="*/ 597701 h 792545"/>
                    <a:gd name="connsiteX1936" fmla="*/ 524835 w 1123106"/>
                    <a:gd name="connsiteY1936" fmla="*/ 597424 h 792545"/>
                    <a:gd name="connsiteX1937" fmla="*/ 522137 w 1123106"/>
                    <a:gd name="connsiteY1937" fmla="*/ 597335 h 792545"/>
                    <a:gd name="connsiteX1938" fmla="*/ 520132 w 1123106"/>
                    <a:gd name="connsiteY1938" fmla="*/ 597775 h 792545"/>
                    <a:gd name="connsiteX1939" fmla="*/ 518828 w 1123106"/>
                    <a:gd name="connsiteY1939" fmla="*/ 598728 h 792545"/>
                    <a:gd name="connsiteX1940" fmla="*/ 518722 w 1123106"/>
                    <a:gd name="connsiteY1940" fmla="*/ 599136 h 792545"/>
                    <a:gd name="connsiteX1941" fmla="*/ 521485 w 1123106"/>
                    <a:gd name="connsiteY1941" fmla="*/ 599022 h 792545"/>
                    <a:gd name="connsiteX1942" fmla="*/ 522235 w 1123106"/>
                    <a:gd name="connsiteY1942" fmla="*/ 599519 h 792545"/>
                    <a:gd name="connsiteX1943" fmla="*/ 522985 w 1123106"/>
                    <a:gd name="connsiteY1943" fmla="*/ 600431 h 792545"/>
                    <a:gd name="connsiteX1944" fmla="*/ 523441 w 1123106"/>
                    <a:gd name="connsiteY1944" fmla="*/ 601491 h 792545"/>
                    <a:gd name="connsiteX1945" fmla="*/ 523604 w 1123106"/>
                    <a:gd name="connsiteY1945" fmla="*/ 602681 h 792545"/>
                    <a:gd name="connsiteX1946" fmla="*/ 523025 w 1123106"/>
                    <a:gd name="connsiteY1946" fmla="*/ 604262 h 792545"/>
                    <a:gd name="connsiteX1947" fmla="*/ 521705 w 1123106"/>
                    <a:gd name="connsiteY1947" fmla="*/ 606283 h 792545"/>
                    <a:gd name="connsiteX1948" fmla="*/ 519766 w 1123106"/>
                    <a:gd name="connsiteY1948" fmla="*/ 605924 h 792545"/>
                    <a:gd name="connsiteX1949" fmla="*/ 515805 w 1123106"/>
                    <a:gd name="connsiteY1949" fmla="*/ 601442 h 792545"/>
                    <a:gd name="connsiteX1950" fmla="*/ 514053 w 1123106"/>
                    <a:gd name="connsiteY1950" fmla="*/ 594873 h 792545"/>
                    <a:gd name="connsiteX1951" fmla="*/ 510662 w 1123106"/>
                    <a:gd name="connsiteY1951" fmla="*/ 589845 h 792545"/>
                    <a:gd name="connsiteX1952" fmla="*/ 510507 w 1123106"/>
                    <a:gd name="connsiteY1952" fmla="*/ 588647 h 792545"/>
                    <a:gd name="connsiteX1953" fmla="*/ 511477 w 1123106"/>
                    <a:gd name="connsiteY1953" fmla="*/ 585542 h 792545"/>
                    <a:gd name="connsiteX1954" fmla="*/ 514900 w 1123106"/>
                    <a:gd name="connsiteY1954" fmla="*/ 581125 h 792545"/>
                    <a:gd name="connsiteX1955" fmla="*/ 518584 w 1123106"/>
                    <a:gd name="connsiteY1955" fmla="*/ 579919 h 792545"/>
                    <a:gd name="connsiteX1956" fmla="*/ 521200 w 1123106"/>
                    <a:gd name="connsiteY1956" fmla="*/ 578061 h 792545"/>
                    <a:gd name="connsiteX1957" fmla="*/ 523726 w 1123106"/>
                    <a:gd name="connsiteY1957" fmla="*/ 577498 h 792545"/>
                    <a:gd name="connsiteX1958" fmla="*/ 525291 w 1123106"/>
                    <a:gd name="connsiteY1958" fmla="*/ 577555 h 792545"/>
                    <a:gd name="connsiteX1959" fmla="*/ 527434 w 1123106"/>
                    <a:gd name="connsiteY1959" fmla="*/ 578338 h 792545"/>
                    <a:gd name="connsiteX1960" fmla="*/ 528298 w 1123106"/>
                    <a:gd name="connsiteY1960" fmla="*/ 580033 h 792545"/>
                    <a:gd name="connsiteX1961" fmla="*/ 527785 w 1123106"/>
                    <a:gd name="connsiteY1961" fmla="*/ 580831 h 792545"/>
                    <a:gd name="connsiteX1962" fmla="*/ 527980 w 1123106"/>
                    <a:gd name="connsiteY1962" fmla="*/ 581247 h 792545"/>
                    <a:gd name="connsiteX1963" fmla="*/ 529488 w 1123106"/>
                    <a:gd name="connsiteY1963" fmla="*/ 582266 h 792545"/>
                    <a:gd name="connsiteX1964" fmla="*/ 531110 w 1123106"/>
                    <a:gd name="connsiteY1964" fmla="*/ 585811 h 792545"/>
                    <a:gd name="connsiteX1965" fmla="*/ 533001 w 1123106"/>
                    <a:gd name="connsiteY1965" fmla="*/ 588957 h 792545"/>
                    <a:gd name="connsiteX1966" fmla="*/ 534264 w 1123106"/>
                    <a:gd name="connsiteY1966" fmla="*/ 590236 h 792545"/>
                    <a:gd name="connsiteX1967" fmla="*/ 535926 w 1123106"/>
                    <a:gd name="connsiteY1967" fmla="*/ 591027 h 792545"/>
                    <a:gd name="connsiteX1968" fmla="*/ 534207 w 1123106"/>
                    <a:gd name="connsiteY1968" fmla="*/ 588631 h 792545"/>
                    <a:gd name="connsiteX1969" fmla="*/ 533188 w 1123106"/>
                    <a:gd name="connsiteY1969" fmla="*/ 585648 h 792545"/>
                    <a:gd name="connsiteX1970" fmla="*/ 532683 w 1123106"/>
                    <a:gd name="connsiteY1970" fmla="*/ 579715 h 792545"/>
                    <a:gd name="connsiteX1971" fmla="*/ 532194 w 1123106"/>
                    <a:gd name="connsiteY1971" fmla="*/ 578142 h 792545"/>
                    <a:gd name="connsiteX1972" fmla="*/ 533156 w 1123106"/>
                    <a:gd name="connsiteY1972" fmla="*/ 577726 h 792545"/>
                    <a:gd name="connsiteX1973" fmla="*/ 535869 w 1123106"/>
                    <a:gd name="connsiteY1973" fmla="*/ 577955 h 792545"/>
                    <a:gd name="connsiteX1974" fmla="*/ 535796 w 1123106"/>
                    <a:gd name="connsiteY1974" fmla="*/ 577074 h 792545"/>
                    <a:gd name="connsiteX1975" fmla="*/ 532936 w 1123106"/>
                    <a:gd name="connsiteY1975" fmla="*/ 575078 h 792545"/>
                    <a:gd name="connsiteX1976" fmla="*/ 531175 w 1123106"/>
                    <a:gd name="connsiteY1976" fmla="*/ 573415 h 792545"/>
                    <a:gd name="connsiteX1977" fmla="*/ 530515 w 1123106"/>
                    <a:gd name="connsiteY1977" fmla="*/ 572103 h 792545"/>
                    <a:gd name="connsiteX1978" fmla="*/ 530556 w 1123106"/>
                    <a:gd name="connsiteY1978" fmla="*/ 570962 h 792545"/>
                    <a:gd name="connsiteX1979" fmla="*/ 532112 w 1123106"/>
                    <a:gd name="connsiteY1979" fmla="*/ 569291 h 792545"/>
                    <a:gd name="connsiteX1980" fmla="*/ 532993 w 1123106"/>
                    <a:gd name="connsiteY1980" fmla="*/ 568810 h 792545"/>
                    <a:gd name="connsiteX1981" fmla="*/ 533905 w 1123106"/>
                    <a:gd name="connsiteY1981" fmla="*/ 568607 h 792545"/>
                    <a:gd name="connsiteX1982" fmla="*/ 535723 w 1123106"/>
                    <a:gd name="connsiteY1982" fmla="*/ 568957 h 792545"/>
                    <a:gd name="connsiteX1983" fmla="*/ 536546 w 1123106"/>
                    <a:gd name="connsiteY1983" fmla="*/ 569479 h 792545"/>
                    <a:gd name="connsiteX1984" fmla="*/ 538885 w 1123106"/>
                    <a:gd name="connsiteY1984" fmla="*/ 573260 h 792545"/>
                    <a:gd name="connsiteX1985" fmla="*/ 539977 w 1123106"/>
                    <a:gd name="connsiteY1985" fmla="*/ 574442 h 792545"/>
                    <a:gd name="connsiteX1986" fmla="*/ 540882 w 1123106"/>
                    <a:gd name="connsiteY1986" fmla="*/ 574442 h 792545"/>
                    <a:gd name="connsiteX1987" fmla="*/ 541729 w 1123106"/>
                    <a:gd name="connsiteY1987" fmla="*/ 573815 h 792545"/>
                    <a:gd name="connsiteX1988" fmla="*/ 542503 w 1123106"/>
                    <a:gd name="connsiteY1988" fmla="*/ 572559 h 792545"/>
                    <a:gd name="connsiteX1989" fmla="*/ 543310 w 1123106"/>
                    <a:gd name="connsiteY1989" fmla="*/ 571810 h 792545"/>
                    <a:gd name="connsiteX1990" fmla="*/ 544141 w 1123106"/>
                    <a:gd name="connsiteY1990" fmla="*/ 571565 h 792545"/>
                    <a:gd name="connsiteX1991" fmla="*/ 546733 w 1123106"/>
                    <a:gd name="connsiteY1991" fmla="*/ 572119 h 792545"/>
                    <a:gd name="connsiteX1992" fmla="*/ 547597 w 1123106"/>
                    <a:gd name="connsiteY1992" fmla="*/ 571916 h 792545"/>
                    <a:gd name="connsiteX1993" fmla="*/ 548021 w 1123106"/>
                    <a:gd name="connsiteY1993" fmla="*/ 570970 h 792545"/>
                    <a:gd name="connsiteX1994" fmla="*/ 548004 w 1123106"/>
                    <a:gd name="connsiteY1994" fmla="*/ 569283 h 792545"/>
                    <a:gd name="connsiteX1995" fmla="*/ 548648 w 1123106"/>
                    <a:gd name="connsiteY1995" fmla="*/ 568672 h 792545"/>
                    <a:gd name="connsiteX1996" fmla="*/ 548811 w 1123106"/>
                    <a:gd name="connsiteY1996" fmla="*/ 567425 h 792545"/>
                    <a:gd name="connsiteX1997" fmla="*/ 547393 w 1123106"/>
                    <a:gd name="connsiteY1997" fmla="*/ 565583 h 792545"/>
                    <a:gd name="connsiteX1998" fmla="*/ 549023 w 1123106"/>
                    <a:gd name="connsiteY1998" fmla="*/ 565029 h 792545"/>
                    <a:gd name="connsiteX1999" fmla="*/ 554410 w 1123106"/>
                    <a:gd name="connsiteY1999" fmla="*/ 566431 h 792545"/>
                    <a:gd name="connsiteX2000" fmla="*/ 556716 w 1123106"/>
                    <a:gd name="connsiteY2000" fmla="*/ 567963 h 792545"/>
                    <a:gd name="connsiteX2001" fmla="*/ 555510 w 1123106"/>
                    <a:gd name="connsiteY2001" fmla="*/ 570799 h 792545"/>
                    <a:gd name="connsiteX2002" fmla="*/ 1000168 w 1123106"/>
                    <a:gd name="connsiteY2002" fmla="*/ 589218 h 792545"/>
                    <a:gd name="connsiteX2003" fmla="*/ 1002270 w 1123106"/>
                    <a:gd name="connsiteY2003" fmla="*/ 593480 h 792545"/>
                    <a:gd name="connsiteX2004" fmla="*/ 1003803 w 1123106"/>
                    <a:gd name="connsiteY2004" fmla="*/ 596780 h 792545"/>
                    <a:gd name="connsiteX2005" fmla="*/ 1005164 w 1123106"/>
                    <a:gd name="connsiteY2005" fmla="*/ 600758 h 792545"/>
                    <a:gd name="connsiteX2006" fmla="*/ 1007437 w 1123106"/>
                    <a:gd name="connsiteY2006" fmla="*/ 608964 h 792545"/>
                    <a:gd name="connsiteX2007" fmla="*/ 1008497 w 1123106"/>
                    <a:gd name="connsiteY2007" fmla="*/ 612061 h 792545"/>
                    <a:gd name="connsiteX2008" fmla="*/ 1008831 w 1123106"/>
                    <a:gd name="connsiteY2008" fmla="*/ 613756 h 792545"/>
                    <a:gd name="connsiteX2009" fmla="*/ 1009084 w 1123106"/>
                    <a:gd name="connsiteY2009" fmla="*/ 618198 h 792545"/>
                    <a:gd name="connsiteX2010" fmla="*/ 1008741 w 1123106"/>
                    <a:gd name="connsiteY2010" fmla="*/ 619151 h 792545"/>
                    <a:gd name="connsiteX2011" fmla="*/ 1008057 w 1123106"/>
                    <a:gd name="connsiteY2011" fmla="*/ 620024 h 792545"/>
                    <a:gd name="connsiteX2012" fmla="*/ 1007926 w 1123106"/>
                    <a:gd name="connsiteY2012" fmla="*/ 621287 h 792545"/>
                    <a:gd name="connsiteX2013" fmla="*/ 1008554 w 1123106"/>
                    <a:gd name="connsiteY2013" fmla="*/ 624669 h 792545"/>
                    <a:gd name="connsiteX2014" fmla="*/ 1008595 w 1123106"/>
                    <a:gd name="connsiteY2014" fmla="*/ 629795 h 792545"/>
                    <a:gd name="connsiteX2015" fmla="*/ 1008000 w 1123106"/>
                    <a:gd name="connsiteY2015" fmla="*/ 632680 h 792545"/>
                    <a:gd name="connsiteX2016" fmla="*/ 1007307 w 1123106"/>
                    <a:gd name="connsiteY2016" fmla="*/ 633120 h 792545"/>
                    <a:gd name="connsiteX2017" fmla="*/ 1005612 w 1123106"/>
                    <a:gd name="connsiteY2017" fmla="*/ 632167 h 792545"/>
                    <a:gd name="connsiteX2018" fmla="*/ 1004218 w 1123106"/>
                    <a:gd name="connsiteY2018" fmla="*/ 630602 h 792545"/>
                    <a:gd name="connsiteX2019" fmla="*/ 1003191 w 1123106"/>
                    <a:gd name="connsiteY2019" fmla="*/ 628972 h 792545"/>
                    <a:gd name="connsiteX2020" fmla="*/ 1000657 w 1123106"/>
                    <a:gd name="connsiteY2020" fmla="*/ 623837 h 792545"/>
                    <a:gd name="connsiteX2021" fmla="*/ 999907 w 1123106"/>
                    <a:gd name="connsiteY2021" fmla="*/ 621450 h 792545"/>
                    <a:gd name="connsiteX2022" fmla="*/ 999858 w 1123106"/>
                    <a:gd name="connsiteY2022" fmla="*/ 619730 h 792545"/>
                    <a:gd name="connsiteX2023" fmla="*/ 1000257 w 1123106"/>
                    <a:gd name="connsiteY2023" fmla="*/ 618475 h 792545"/>
                    <a:gd name="connsiteX2024" fmla="*/ 1001089 w 1123106"/>
                    <a:gd name="connsiteY2024" fmla="*/ 617693 h 792545"/>
                    <a:gd name="connsiteX2025" fmla="*/ 1002523 w 1123106"/>
                    <a:gd name="connsiteY2025" fmla="*/ 615598 h 792545"/>
                    <a:gd name="connsiteX2026" fmla="*/ 1002319 w 1123106"/>
                    <a:gd name="connsiteY2026" fmla="*/ 615264 h 792545"/>
                    <a:gd name="connsiteX2027" fmla="*/ 1001227 w 1123106"/>
                    <a:gd name="connsiteY2027" fmla="*/ 615737 h 792545"/>
                    <a:gd name="connsiteX2028" fmla="*/ 998994 w 1123106"/>
                    <a:gd name="connsiteY2028" fmla="*/ 615998 h 792545"/>
                    <a:gd name="connsiteX2029" fmla="*/ 997022 w 1123106"/>
                    <a:gd name="connsiteY2029" fmla="*/ 614343 h 792545"/>
                    <a:gd name="connsiteX2030" fmla="*/ 995490 w 1123106"/>
                    <a:gd name="connsiteY2030" fmla="*/ 613479 h 792545"/>
                    <a:gd name="connsiteX2031" fmla="*/ 995800 w 1123106"/>
                    <a:gd name="connsiteY2031" fmla="*/ 610496 h 792545"/>
                    <a:gd name="connsiteX2032" fmla="*/ 995392 w 1123106"/>
                    <a:gd name="connsiteY2032" fmla="*/ 609649 h 792545"/>
                    <a:gd name="connsiteX2033" fmla="*/ 992368 w 1123106"/>
                    <a:gd name="connsiteY2033" fmla="*/ 610570 h 792545"/>
                    <a:gd name="connsiteX2034" fmla="*/ 991236 w 1123106"/>
                    <a:gd name="connsiteY2034" fmla="*/ 609738 h 792545"/>
                    <a:gd name="connsiteX2035" fmla="*/ 990983 w 1123106"/>
                    <a:gd name="connsiteY2035" fmla="*/ 608622 h 792545"/>
                    <a:gd name="connsiteX2036" fmla="*/ 991040 w 1123106"/>
                    <a:gd name="connsiteY2036" fmla="*/ 606943 h 792545"/>
                    <a:gd name="connsiteX2037" fmla="*/ 991619 w 1123106"/>
                    <a:gd name="connsiteY2037" fmla="*/ 605484 h 792545"/>
                    <a:gd name="connsiteX2038" fmla="*/ 994488 w 1123106"/>
                    <a:gd name="connsiteY2038" fmla="*/ 601776 h 792545"/>
                    <a:gd name="connsiteX2039" fmla="*/ 994202 w 1123106"/>
                    <a:gd name="connsiteY2039" fmla="*/ 601092 h 792545"/>
                    <a:gd name="connsiteX2040" fmla="*/ 992809 w 1123106"/>
                    <a:gd name="connsiteY2040" fmla="*/ 600945 h 792545"/>
                    <a:gd name="connsiteX2041" fmla="*/ 990967 w 1123106"/>
                    <a:gd name="connsiteY2041" fmla="*/ 599682 h 792545"/>
                    <a:gd name="connsiteX2042" fmla="*/ 990127 w 1123106"/>
                    <a:gd name="connsiteY2042" fmla="*/ 595525 h 792545"/>
                    <a:gd name="connsiteX2043" fmla="*/ 988155 w 1123106"/>
                    <a:gd name="connsiteY2043" fmla="*/ 593162 h 792545"/>
                    <a:gd name="connsiteX2044" fmla="*/ 986990 w 1123106"/>
                    <a:gd name="connsiteY2044" fmla="*/ 593382 h 792545"/>
                    <a:gd name="connsiteX2045" fmla="*/ 984333 w 1123106"/>
                    <a:gd name="connsiteY2045" fmla="*/ 600065 h 792545"/>
                    <a:gd name="connsiteX2046" fmla="*/ 983021 w 1123106"/>
                    <a:gd name="connsiteY2046" fmla="*/ 601532 h 792545"/>
                    <a:gd name="connsiteX2047" fmla="*/ 979288 w 1123106"/>
                    <a:gd name="connsiteY2047" fmla="*/ 602469 h 792545"/>
                    <a:gd name="connsiteX2048" fmla="*/ 980054 w 1123106"/>
                    <a:gd name="connsiteY2048" fmla="*/ 600603 h 792545"/>
                    <a:gd name="connsiteX2049" fmla="*/ 980397 w 1123106"/>
                    <a:gd name="connsiteY2049" fmla="*/ 598940 h 792545"/>
                    <a:gd name="connsiteX2050" fmla="*/ 979068 w 1123106"/>
                    <a:gd name="connsiteY2050" fmla="*/ 593887 h 792545"/>
                    <a:gd name="connsiteX2051" fmla="*/ 979027 w 1123106"/>
                    <a:gd name="connsiteY2051" fmla="*/ 591948 h 792545"/>
                    <a:gd name="connsiteX2052" fmla="*/ 979916 w 1123106"/>
                    <a:gd name="connsiteY2052" fmla="*/ 590521 h 792545"/>
                    <a:gd name="connsiteX2053" fmla="*/ 982548 w 1123106"/>
                    <a:gd name="connsiteY2053" fmla="*/ 589926 h 792545"/>
                    <a:gd name="connsiteX2054" fmla="*/ 983950 w 1123106"/>
                    <a:gd name="connsiteY2054" fmla="*/ 589079 h 792545"/>
                    <a:gd name="connsiteX2055" fmla="*/ 985042 w 1123106"/>
                    <a:gd name="connsiteY2055" fmla="*/ 587693 h 792545"/>
                    <a:gd name="connsiteX2056" fmla="*/ 985311 w 1123106"/>
                    <a:gd name="connsiteY2056" fmla="*/ 586341 h 792545"/>
                    <a:gd name="connsiteX2057" fmla="*/ 987348 w 1123106"/>
                    <a:gd name="connsiteY2057" fmla="*/ 582771 h 792545"/>
                    <a:gd name="connsiteX2058" fmla="*/ 988302 w 1123106"/>
                    <a:gd name="connsiteY2058" fmla="*/ 582070 h 792545"/>
                    <a:gd name="connsiteX2059" fmla="*/ 990845 w 1123106"/>
                    <a:gd name="connsiteY2059" fmla="*/ 582119 h 792545"/>
                    <a:gd name="connsiteX2060" fmla="*/ 996191 w 1123106"/>
                    <a:gd name="connsiteY2060" fmla="*/ 586072 h 792545"/>
                    <a:gd name="connsiteX2061" fmla="*/ 997813 w 1123106"/>
                    <a:gd name="connsiteY2061" fmla="*/ 586650 h 792545"/>
                    <a:gd name="connsiteX2062" fmla="*/ 1000168 w 1123106"/>
                    <a:gd name="connsiteY2062" fmla="*/ 589218 h 792545"/>
                    <a:gd name="connsiteX2063" fmla="*/ 1039947 w 1123106"/>
                    <a:gd name="connsiteY2063" fmla="*/ 602730 h 792545"/>
                    <a:gd name="connsiteX2064" fmla="*/ 1041593 w 1123106"/>
                    <a:gd name="connsiteY2064" fmla="*/ 603944 h 792545"/>
                    <a:gd name="connsiteX2065" fmla="*/ 1042489 w 1123106"/>
                    <a:gd name="connsiteY2065" fmla="*/ 602673 h 792545"/>
                    <a:gd name="connsiteX2066" fmla="*/ 1044160 w 1123106"/>
                    <a:gd name="connsiteY2066" fmla="*/ 602730 h 792545"/>
                    <a:gd name="connsiteX2067" fmla="*/ 1047265 w 1123106"/>
                    <a:gd name="connsiteY2067" fmla="*/ 603863 h 792545"/>
                    <a:gd name="connsiteX2068" fmla="*/ 1049115 w 1123106"/>
                    <a:gd name="connsiteY2068" fmla="*/ 605558 h 792545"/>
                    <a:gd name="connsiteX2069" fmla="*/ 1050158 w 1123106"/>
                    <a:gd name="connsiteY2069" fmla="*/ 607505 h 792545"/>
                    <a:gd name="connsiteX2070" fmla="*/ 1050248 w 1123106"/>
                    <a:gd name="connsiteY2070" fmla="*/ 608655 h 792545"/>
                    <a:gd name="connsiteX2071" fmla="*/ 1049930 w 1123106"/>
                    <a:gd name="connsiteY2071" fmla="*/ 611279 h 792545"/>
                    <a:gd name="connsiteX2072" fmla="*/ 1050158 w 1123106"/>
                    <a:gd name="connsiteY2072" fmla="*/ 613976 h 792545"/>
                    <a:gd name="connsiteX2073" fmla="*/ 1050028 w 1123106"/>
                    <a:gd name="connsiteY2073" fmla="*/ 615362 h 792545"/>
                    <a:gd name="connsiteX2074" fmla="*/ 1049612 w 1123106"/>
                    <a:gd name="connsiteY2074" fmla="*/ 616519 h 792545"/>
                    <a:gd name="connsiteX2075" fmla="*/ 1048911 w 1123106"/>
                    <a:gd name="connsiteY2075" fmla="*/ 617424 h 792545"/>
                    <a:gd name="connsiteX2076" fmla="*/ 1048145 w 1123106"/>
                    <a:gd name="connsiteY2076" fmla="*/ 617546 h 792545"/>
                    <a:gd name="connsiteX2077" fmla="*/ 1045733 w 1123106"/>
                    <a:gd name="connsiteY2077" fmla="*/ 615126 h 792545"/>
                    <a:gd name="connsiteX2078" fmla="*/ 1042970 w 1123106"/>
                    <a:gd name="connsiteY2078" fmla="*/ 610773 h 792545"/>
                    <a:gd name="connsiteX2079" fmla="*/ 1040859 w 1123106"/>
                    <a:gd name="connsiteY2079" fmla="*/ 609445 h 792545"/>
                    <a:gd name="connsiteX2080" fmla="*/ 1040778 w 1123106"/>
                    <a:gd name="connsiteY2080" fmla="*/ 609893 h 792545"/>
                    <a:gd name="connsiteX2081" fmla="*/ 1041357 w 1123106"/>
                    <a:gd name="connsiteY2081" fmla="*/ 611140 h 792545"/>
                    <a:gd name="connsiteX2082" fmla="*/ 1043076 w 1123106"/>
                    <a:gd name="connsiteY2082" fmla="*/ 613479 h 792545"/>
                    <a:gd name="connsiteX2083" fmla="*/ 1043386 w 1123106"/>
                    <a:gd name="connsiteY2083" fmla="*/ 614889 h 792545"/>
                    <a:gd name="connsiteX2084" fmla="*/ 1044592 w 1123106"/>
                    <a:gd name="connsiteY2084" fmla="*/ 616609 h 792545"/>
                    <a:gd name="connsiteX2085" fmla="*/ 1045138 w 1123106"/>
                    <a:gd name="connsiteY2085" fmla="*/ 617905 h 792545"/>
                    <a:gd name="connsiteX2086" fmla="*/ 1045448 w 1123106"/>
                    <a:gd name="connsiteY2086" fmla="*/ 619616 h 792545"/>
                    <a:gd name="connsiteX2087" fmla="*/ 1045431 w 1123106"/>
                    <a:gd name="connsiteY2087" fmla="*/ 621107 h 792545"/>
                    <a:gd name="connsiteX2088" fmla="*/ 1045097 w 1123106"/>
                    <a:gd name="connsiteY2088" fmla="*/ 622387 h 792545"/>
                    <a:gd name="connsiteX2089" fmla="*/ 1044535 w 1123106"/>
                    <a:gd name="connsiteY2089" fmla="*/ 623202 h 792545"/>
                    <a:gd name="connsiteX2090" fmla="*/ 1043744 w 1123106"/>
                    <a:gd name="connsiteY2090" fmla="*/ 623560 h 792545"/>
                    <a:gd name="connsiteX2091" fmla="*/ 1039531 w 1123106"/>
                    <a:gd name="connsiteY2091" fmla="*/ 623202 h 792545"/>
                    <a:gd name="connsiteX2092" fmla="*/ 1037013 w 1123106"/>
                    <a:gd name="connsiteY2092" fmla="*/ 624049 h 792545"/>
                    <a:gd name="connsiteX2093" fmla="*/ 1034071 w 1123106"/>
                    <a:gd name="connsiteY2093" fmla="*/ 623569 h 792545"/>
                    <a:gd name="connsiteX2094" fmla="*/ 1033362 w 1123106"/>
                    <a:gd name="connsiteY2094" fmla="*/ 622794 h 792545"/>
                    <a:gd name="connsiteX2095" fmla="*/ 1032922 w 1123106"/>
                    <a:gd name="connsiteY2095" fmla="*/ 621539 h 792545"/>
                    <a:gd name="connsiteX2096" fmla="*/ 1032702 w 1123106"/>
                    <a:gd name="connsiteY2096" fmla="*/ 618467 h 792545"/>
                    <a:gd name="connsiteX2097" fmla="*/ 1031960 w 1123106"/>
                    <a:gd name="connsiteY2097" fmla="*/ 614066 h 792545"/>
                    <a:gd name="connsiteX2098" fmla="*/ 1032131 w 1123106"/>
                    <a:gd name="connsiteY2098" fmla="*/ 610684 h 792545"/>
                    <a:gd name="connsiteX2099" fmla="*/ 1030232 w 1123106"/>
                    <a:gd name="connsiteY2099" fmla="*/ 607628 h 792545"/>
                    <a:gd name="connsiteX2100" fmla="*/ 1028610 w 1123106"/>
                    <a:gd name="connsiteY2100" fmla="*/ 605778 h 792545"/>
                    <a:gd name="connsiteX2101" fmla="*/ 1026271 w 1123106"/>
                    <a:gd name="connsiteY2101" fmla="*/ 604123 h 792545"/>
                    <a:gd name="connsiteX2102" fmla="*/ 1024739 w 1123106"/>
                    <a:gd name="connsiteY2102" fmla="*/ 602469 h 792545"/>
                    <a:gd name="connsiteX2103" fmla="*/ 1025163 w 1123106"/>
                    <a:gd name="connsiteY2103" fmla="*/ 601165 h 792545"/>
                    <a:gd name="connsiteX2104" fmla="*/ 1027551 w 1123106"/>
                    <a:gd name="connsiteY2104" fmla="*/ 600171 h 792545"/>
                    <a:gd name="connsiteX2105" fmla="*/ 1031471 w 1123106"/>
                    <a:gd name="connsiteY2105" fmla="*/ 600407 h 792545"/>
                    <a:gd name="connsiteX2106" fmla="*/ 1039947 w 1123106"/>
                    <a:gd name="connsiteY2106" fmla="*/ 602730 h 792545"/>
                    <a:gd name="connsiteX2107" fmla="*/ 1024478 w 1123106"/>
                    <a:gd name="connsiteY2107" fmla="*/ 608867 h 792545"/>
                    <a:gd name="connsiteX2108" fmla="*/ 1026084 w 1123106"/>
                    <a:gd name="connsiteY2108" fmla="*/ 611548 h 792545"/>
                    <a:gd name="connsiteX2109" fmla="*/ 1028415 w 1123106"/>
                    <a:gd name="connsiteY2109" fmla="*/ 611336 h 792545"/>
                    <a:gd name="connsiteX2110" fmla="*/ 1029727 w 1123106"/>
                    <a:gd name="connsiteY2110" fmla="*/ 613365 h 792545"/>
                    <a:gd name="connsiteX2111" fmla="*/ 1030713 w 1123106"/>
                    <a:gd name="connsiteY2111" fmla="*/ 616389 h 792545"/>
                    <a:gd name="connsiteX2112" fmla="*/ 1029996 w 1123106"/>
                    <a:gd name="connsiteY2112" fmla="*/ 618337 h 792545"/>
                    <a:gd name="connsiteX2113" fmla="*/ 1028961 w 1123106"/>
                    <a:gd name="connsiteY2113" fmla="*/ 617905 h 792545"/>
                    <a:gd name="connsiteX2114" fmla="*/ 1027812 w 1123106"/>
                    <a:gd name="connsiteY2114" fmla="*/ 619029 h 792545"/>
                    <a:gd name="connsiteX2115" fmla="*/ 1027111 w 1123106"/>
                    <a:gd name="connsiteY2115" fmla="*/ 622762 h 792545"/>
                    <a:gd name="connsiteX2116" fmla="*/ 1027437 w 1123106"/>
                    <a:gd name="connsiteY2116" fmla="*/ 626494 h 792545"/>
                    <a:gd name="connsiteX2117" fmla="*/ 1027095 w 1123106"/>
                    <a:gd name="connsiteY2117" fmla="*/ 630219 h 792545"/>
                    <a:gd name="connsiteX2118" fmla="*/ 1025750 w 1123106"/>
                    <a:gd name="connsiteY2118" fmla="*/ 634008 h 792545"/>
                    <a:gd name="connsiteX2119" fmla="*/ 1025473 w 1123106"/>
                    <a:gd name="connsiteY2119" fmla="*/ 636543 h 792545"/>
                    <a:gd name="connsiteX2120" fmla="*/ 1024951 w 1123106"/>
                    <a:gd name="connsiteY2120" fmla="*/ 637301 h 792545"/>
                    <a:gd name="connsiteX2121" fmla="*/ 1024373 w 1123106"/>
                    <a:gd name="connsiteY2121" fmla="*/ 637562 h 792545"/>
                    <a:gd name="connsiteX2122" fmla="*/ 1023631 w 1123106"/>
                    <a:gd name="connsiteY2122" fmla="*/ 636877 h 792545"/>
                    <a:gd name="connsiteX2123" fmla="*/ 1022555 w 1123106"/>
                    <a:gd name="connsiteY2123" fmla="*/ 636339 h 792545"/>
                    <a:gd name="connsiteX2124" fmla="*/ 1021194 w 1123106"/>
                    <a:gd name="connsiteY2124" fmla="*/ 638483 h 792545"/>
                    <a:gd name="connsiteX2125" fmla="*/ 1019532 w 1123106"/>
                    <a:gd name="connsiteY2125" fmla="*/ 638491 h 792545"/>
                    <a:gd name="connsiteX2126" fmla="*/ 1018154 w 1123106"/>
                    <a:gd name="connsiteY2126" fmla="*/ 633634 h 792545"/>
                    <a:gd name="connsiteX2127" fmla="*/ 1019377 w 1123106"/>
                    <a:gd name="connsiteY2127" fmla="*/ 625541 h 792545"/>
                    <a:gd name="connsiteX2128" fmla="*/ 1022131 w 1123106"/>
                    <a:gd name="connsiteY2128" fmla="*/ 623886 h 792545"/>
                    <a:gd name="connsiteX2129" fmla="*/ 1020493 w 1123106"/>
                    <a:gd name="connsiteY2129" fmla="*/ 621678 h 792545"/>
                    <a:gd name="connsiteX2130" fmla="*/ 1017022 w 1123106"/>
                    <a:gd name="connsiteY2130" fmla="*/ 619111 h 792545"/>
                    <a:gd name="connsiteX2131" fmla="*/ 1017315 w 1123106"/>
                    <a:gd name="connsiteY2131" fmla="*/ 617676 h 792545"/>
                    <a:gd name="connsiteX2132" fmla="*/ 1014691 w 1123106"/>
                    <a:gd name="connsiteY2132" fmla="*/ 613544 h 792545"/>
                    <a:gd name="connsiteX2133" fmla="*/ 1014536 w 1123106"/>
                    <a:gd name="connsiteY2133" fmla="*/ 612558 h 792545"/>
                    <a:gd name="connsiteX2134" fmla="*/ 1014960 w 1123106"/>
                    <a:gd name="connsiteY2134" fmla="*/ 609111 h 792545"/>
                    <a:gd name="connsiteX2135" fmla="*/ 1017413 w 1123106"/>
                    <a:gd name="connsiteY2135" fmla="*/ 606030 h 792545"/>
                    <a:gd name="connsiteX2136" fmla="*/ 1020664 w 1123106"/>
                    <a:gd name="connsiteY2136" fmla="*/ 605484 h 792545"/>
                    <a:gd name="connsiteX2137" fmla="*/ 1022930 w 1123106"/>
                    <a:gd name="connsiteY2137" fmla="*/ 606805 h 792545"/>
                    <a:gd name="connsiteX2138" fmla="*/ 1024201 w 1123106"/>
                    <a:gd name="connsiteY2138" fmla="*/ 607929 h 792545"/>
                    <a:gd name="connsiteX2139" fmla="*/ 1024478 w 1123106"/>
                    <a:gd name="connsiteY2139" fmla="*/ 608867 h 792545"/>
                    <a:gd name="connsiteX2140" fmla="*/ 1071038 w 1123106"/>
                    <a:gd name="connsiteY2140" fmla="*/ 637244 h 792545"/>
                    <a:gd name="connsiteX2141" fmla="*/ 1070533 w 1123106"/>
                    <a:gd name="connsiteY2141" fmla="*/ 643625 h 792545"/>
                    <a:gd name="connsiteX2142" fmla="*/ 1069547 w 1123106"/>
                    <a:gd name="connsiteY2142" fmla="*/ 643266 h 792545"/>
                    <a:gd name="connsiteX2143" fmla="*/ 1068609 w 1123106"/>
                    <a:gd name="connsiteY2143" fmla="*/ 643250 h 792545"/>
                    <a:gd name="connsiteX2144" fmla="*/ 1066694 w 1123106"/>
                    <a:gd name="connsiteY2144" fmla="*/ 644155 h 792545"/>
                    <a:gd name="connsiteX2145" fmla="*/ 1064681 w 1123106"/>
                    <a:gd name="connsiteY2145" fmla="*/ 643764 h 792545"/>
                    <a:gd name="connsiteX2146" fmla="*/ 1063744 w 1123106"/>
                    <a:gd name="connsiteY2146" fmla="*/ 643055 h 792545"/>
                    <a:gd name="connsiteX2147" fmla="*/ 1063393 w 1123106"/>
                    <a:gd name="connsiteY2147" fmla="*/ 642240 h 792545"/>
                    <a:gd name="connsiteX2148" fmla="*/ 1063752 w 1123106"/>
                    <a:gd name="connsiteY2148" fmla="*/ 640341 h 792545"/>
                    <a:gd name="connsiteX2149" fmla="*/ 1062627 w 1123106"/>
                    <a:gd name="connsiteY2149" fmla="*/ 639289 h 792545"/>
                    <a:gd name="connsiteX2150" fmla="*/ 1058870 w 1123106"/>
                    <a:gd name="connsiteY2150" fmla="*/ 638906 h 792545"/>
                    <a:gd name="connsiteX2151" fmla="*/ 1057460 w 1123106"/>
                    <a:gd name="connsiteY2151" fmla="*/ 638450 h 792545"/>
                    <a:gd name="connsiteX2152" fmla="*/ 1056678 w 1123106"/>
                    <a:gd name="connsiteY2152" fmla="*/ 636453 h 792545"/>
                    <a:gd name="connsiteX2153" fmla="*/ 1056491 w 1123106"/>
                    <a:gd name="connsiteY2153" fmla="*/ 633837 h 792545"/>
                    <a:gd name="connsiteX2154" fmla="*/ 1057086 w 1123106"/>
                    <a:gd name="connsiteY2154" fmla="*/ 632851 h 792545"/>
                    <a:gd name="connsiteX2155" fmla="*/ 1058985 w 1123106"/>
                    <a:gd name="connsiteY2155" fmla="*/ 632158 h 792545"/>
                    <a:gd name="connsiteX2156" fmla="*/ 1060468 w 1123106"/>
                    <a:gd name="connsiteY2156" fmla="*/ 628980 h 792545"/>
                    <a:gd name="connsiteX2157" fmla="*/ 1061291 w 1123106"/>
                    <a:gd name="connsiteY2157" fmla="*/ 628548 h 792545"/>
                    <a:gd name="connsiteX2158" fmla="*/ 1064420 w 1123106"/>
                    <a:gd name="connsiteY2158" fmla="*/ 622248 h 792545"/>
                    <a:gd name="connsiteX2159" fmla="*/ 1065993 w 1123106"/>
                    <a:gd name="connsiteY2159" fmla="*/ 622680 h 792545"/>
                    <a:gd name="connsiteX2160" fmla="*/ 1068740 w 1123106"/>
                    <a:gd name="connsiteY2160" fmla="*/ 626527 h 792545"/>
                    <a:gd name="connsiteX2161" fmla="*/ 1072187 w 1123106"/>
                    <a:gd name="connsiteY2161" fmla="*/ 632061 h 792545"/>
                    <a:gd name="connsiteX2162" fmla="*/ 1071038 w 1123106"/>
                    <a:gd name="connsiteY2162" fmla="*/ 637244 h 792545"/>
                    <a:gd name="connsiteX2163" fmla="*/ 1034983 w 1123106"/>
                    <a:gd name="connsiteY2163" fmla="*/ 628401 h 792545"/>
                    <a:gd name="connsiteX2164" fmla="*/ 1039678 w 1123106"/>
                    <a:gd name="connsiteY2164" fmla="*/ 629233 h 792545"/>
                    <a:gd name="connsiteX2165" fmla="*/ 1043989 w 1123106"/>
                    <a:gd name="connsiteY2165" fmla="*/ 629151 h 792545"/>
                    <a:gd name="connsiteX2166" fmla="*/ 1045456 w 1123106"/>
                    <a:gd name="connsiteY2166" fmla="*/ 630740 h 792545"/>
                    <a:gd name="connsiteX2167" fmla="*/ 1046434 w 1123106"/>
                    <a:gd name="connsiteY2167" fmla="*/ 632419 h 792545"/>
                    <a:gd name="connsiteX2168" fmla="*/ 1046996 w 1123106"/>
                    <a:gd name="connsiteY2168" fmla="*/ 633984 h 792545"/>
                    <a:gd name="connsiteX2169" fmla="*/ 1047151 w 1123106"/>
                    <a:gd name="connsiteY2169" fmla="*/ 635459 h 792545"/>
                    <a:gd name="connsiteX2170" fmla="*/ 1047037 w 1123106"/>
                    <a:gd name="connsiteY2170" fmla="*/ 636502 h 792545"/>
                    <a:gd name="connsiteX2171" fmla="*/ 1046515 w 1123106"/>
                    <a:gd name="connsiteY2171" fmla="*/ 637619 h 792545"/>
                    <a:gd name="connsiteX2172" fmla="*/ 1046629 w 1123106"/>
                    <a:gd name="connsiteY2172" fmla="*/ 637994 h 792545"/>
                    <a:gd name="connsiteX2173" fmla="*/ 1055040 w 1123106"/>
                    <a:gd name="connsiteY2173" fmla="*/ 641645 h 792545"/>
                    <a:gd name="connsiteX2174" fmla="*/ 1059009 w 1123106"/>
                    <a:gd name="connsiteY2174" fmla="*/ 645483 h 792545"/>
                    <a:gd name="connsiteX2175" fmla="*/ 1060590 w 1123106"/>
                    <a:gd name="connsiteY2175" fmla="*/ 647504 h 792545"/>
                    <a:gd name="connsiteX2176" fmla="*/ 1061503 w 1123106"/>
                    <a:gd name="connsiteY2176" fmla="*/ 649200 h 792545"/>
                    <a:gd name="connsiteX2177" fmla="*/ 1063165 w 1123106"/>
                    <a:gd name="connsiteY2177" fmla="*/ 653462 h 792545"/>
                    <a:gd name="connsiteX2178" fmla="*/ 1066670 w 1123106"/>
                    <a:gd name="connsiteY2178" fmla="*/ 658392 h 792545"/>
                    <a:gd name="connsiteX2179" fmla="*/ 1068503 w 1123106"/>
                    <a:gd name="connsiteY2179" fmla="*/ 659900 h 792545"/>
                    <a:gd name="connsiteX2180" fmla="*/ 1069555 w 1123106"/>
                    <a:gd name="connsiteY2180" fmla="*/ 661359 h 792545"/>
                    <a:gd name="connsiteX2181" fmla="*/ 1068968 w 1123106"/>
                    <a:gd name="connsiteY2181" fmla="*/ 661416 h 792545"/>
                    <a:gd name="connsiteX2182" fmla="*/ 1066499 w 1123106"/>
                    <a:gd name="connsiteY2182" fmla="*/ 660340 h 792545"/>
                    <a:gd name="connsiteX2183" fmla="*/ 1061152 w 1123106"/>
                    <a:gd name="connsiteY2183" fmla="*/ 657031 h 792545"/>
                    <a:gd name="connsiteX2184" fmla="*/ 1060720 w 1123106"/>
                    <a:gd name="connsiteY2184" fmla="*/ 657162 h 792545"/>
                    <a:gd name="connsiteX2185" fmla="*/ 1060231 w 1123106"/>
                    <a:gd name="connsiteY2185" fmla="*/ 658947 h 792545"/>
                    <a:gd name="connsiteX2186" fmla="*/ 1059400 w 1123106"/>
                    <a:gd name="connsiteY2186" fmla="*/ 660519 h 792545"/>
                    <a:gd name="connsiteX2187" fmla="*/ 1058170 w 1123106"/>
                    <a:gd name="connsiteY2187" fmla="*/ 661652 h 792545"/>
                    <a:gd name="connsiteX2188" fmla="*/ 1059156 w 1123106"/>
                    <a:gd name="connsiteY2188" fmla="*/ 661986 h 792545"/>
                    <a:gd name="connsiteX2189" fmla="*/ 1063467 w 1123106"/>
                    <a:gd name="connsiteY2189" fmla="*/ 661286 h 792545"/>
                    <a:gd name="connsiteX2190" fmla="*/ 1067085 w 1123106"/>
                    <a:gd name="connsiteY2190" fmla="*/ 664505 h 792545"/>
                    <a:gd name="connsiteX2191" fmla="*/ 1068487 w 1123106"/>
                    <a:gd name="connsiteY2191" fmla="*/ 665083 h 792545"/>
                    <a:gd name="connsiteX2192" fmla="*/ 1069856 w 1123106"/>
                    <a:gd name="connsiteY2192" fmla="*/ 667390 h 792545"/>
                    <a:gd name="connsiteX2193" fmla="*/ 1069897 w 1123106"/>
                    <a:gd name="connsiteY2193" fmla="*/ 668270 h 792545"/>
                    <a:gd name="connsiteX2194" fmla="*/ 1069106 w 1123106"/>
                    <a:gd name="connsiteY2194" fmla="*/ 669981 h 792545"/>
                    <a:gd name="connsiteX2195" fmla="*/ 1068495 w 1123106"/>
                    <a:gd name="connsiteY2195" fmla="*/ 670674 h 792545"/>
                    <a:gd name="connsiteX2196" fmla="*/ 1068699 w 1123106"/>
                    <a:gd name="connsiteY2196" fmla="*/ 671139 h 792545"/>
                    <a:gd name="connsiteX2197" fmla="*/ 1069710 w 1123106"/>
                    <a:gd name="connsiteY2197" fmla="*/ 671391 h 792545"/>
                    <a:gd name="connsiteX2198" fmla="*/ 1073695 w 1123106"/>
                    <a:gd name="connsiteY2198" fmla="*/ 670902 h 792545"/>
                    <a:gd name="connsiteX2199" fmla="*/ 1074412 w 1123106"/>
                    <a:gd name="connsiteY2199" fmla="*/ 671750 h 792545"/>
                    <a:gd name="connsiteX2200" fmla="*/ 1073817 w 1123106"/>
                    <a:gd name="connsiteY2200" fmla="*/ 678400 h 792545"/>
                    <a:gd name="connsiteX2201" fmla="*/ 1074379 w 1123106"/>
                    <a:gd name="connsiteY2201" fmla="*/ 680853 h 792545"/>
                    <a:gd name="connsiteX2202" fmla="*/ 1074371 w 1123106"/>
                    <a:gd name="connsiteY2202" fmla="*/ 681970 h 792545"/>
                    <a:gd name="connsiteX2203" fmla="*/ 1073907 w 1123106"/>
                    <a:gd name="connsiteY2203" fmla="*/ 683436 h 792545"/>
                    <a:gd name="connsiteX2204" fmla="*/ 1073890 w 1123106"/>
                    <a:gd name="connsiteY2204" fmla="*/ 684683 h 792545"/>
                    <a:gd name="connsiteX2205" fmla="*/ 1074249 w 1123106"/>
                    <a:gd name="connsiteY2205" fmla="*/ 685963 h 792545"/>
                    <a:gd name="connsiteX2206" fmla="*/ 1074298 w 1123106"/>
                    <a:gd name="connsiteY2206" fmla="*/ 687112 h 792545"/>
                    <a:gd name="connsiteX2207" fmla="*/ 1073279 w 1123106"/>
                    <a:gd name="connsiteY2207" fmla="*/ 690095 h 792545"/>
                    <a:gd name="connsiteX2208" fmla="*/ 1072211 w 1123106"/>
                    <a:gd name="connsiteY2208" fmla="*/ 690592 h 792545"/>
                    <a:gd name="connsiteX2209" fmla="*/ 1070492 w 1123106"/>
                    <a:gd name="connsiteY2209" fmla="*/ 690608 h 792545"/>
                    <a:gd name="connsiteX2210" fmla="*/ 1069131 w 1123106"/>
                    <a:gd name="connsiteY2210" fmla="*/ 689761 h 792545"/>
                    <a:gd name="connsiteX2211" fmla="*/ 1067224 w 1123106"/>
                    <a:gd name="connsiteY2211" fmla="*/ 687194 h 792545"/>
                    <a:gd name="connsiteX2212" fmla="*/ 1065358 w 1123106"/>
                    <a:gd name="connsiteY2212" fmla="*/ 683208 h 792545"/>
                    <a:gd name="connsiteX2213" fmla="*/ 1064649 w 1123106"/>
                    <a:gd name="connsiteY2213" fmla="*/ 682638 h 792545"/>
                    <a:gd name="connsiteX2214" fmla="*/ 1062204 w 1123106"/>
                    <a:gd name="connsiteY2214" fmla="*/ 682043 h 792545"/>
                    <a:gd name="connsiteX2215" fmla="*/ 1061763 w 1123106"/>
                    <a:gd name="connsiteY2215" fmla="*/ 681562 h 792545"/>
                    <a:gd name="connsiteX2216" fmla="*/ 1060199 w 1123106"/>
                    <a:gd name="connsiteY2216" fmla="*/ 681481 h 792545"/>
                    <a:gd name="connsiteX2217" fmla="*/ 1059099 w 1123106"/>
                    <a:gd name="connsiteY2217" fmla="*/ 679843 h 792545"/>
                    <a:gd name="connsiteX2218" fmla="*/ 1059229 w 1123106"/>
                    <a:gd name="connsiteY2218" fmla="*/ 677683 h 792545"/>
                    <a:gd name="connsiteX2219" fmla="*/ 1058275 w 1123106"/>
                    <a:gd name="connsiteY2219" fmla="*/ 675482 h 792545"/>
                    <a:gd name="connsiteX2220" fmla="*/ 1058389 w 1123106"/>
                    <a:gd name="connsiteY2220" fmla="*/ 674496 h 792545"/>
                    <a:gd name="connsiteX2221" fmla="*/ 1057322 w 1123106"/>
                    <a:gd name="connsiteY2221" fmla="*/ 674089 h 792545"/>
                    <a:gd name="connsiteX2222" fmla="*/ 1056425 w 1123106"/>
                    <a:gd name="connsiteY2222" fmla="*/ 674708 h 792545"/>
                    <a:gd name="connsiteX2223" fmla="*/ 1056890 w 1123106"/>
                    <a:gd name="connsiteY2223" fmla="*/ 676860 h 792545"/>
                    <a:gd name="connsiteX2224" fmla="*/ 1056360 w 1123106"/>
                    <a:gd name="connsiteY2224" fmla="*/ 678530 h 792545"/>
                    <a:gd name="connsiteX2225" fmla="*/ 1054429 w 1123106"/>
                    <a:gd name="connsiteY2225" fmla="*/ 677829 h 792545"/>
                    <a:gd name="connsiteX2226" fmla="*/ 1051202 w 1123106"/>
                    <a:gd name="connsiteY2226" fmla="*/ 672500 h 792545"/>
                    <a:gd name="connsiteX2227" fmla="*/ 1047526 w 1123106"/>
                    <a:gd name="connsiteY2227" fmla="*/ 668213 h 792545"/>
                    <a:gd name="connsiteX2228" fmla="*/ 1046092 w 1123106"/>
                    <a:gd name="connsiteY2228" fmla="*/ 667194 h 792545"/>
                    <a:gd name="connsiteX2229" fmla="*/ 1046475 w 1123106"/>
                    <a:gd name="connsiteY2229" fmla="*/ 665955 h 792545"/>
                    <a:gd name="connsiteX2230" fmla="*/ 1048284 w 1123106"/>
                    <a:gd name="connsiteY2230" fmla="*/ 665295 h 792545"/>
                    <a:gd name="connsiteX2231" fmla="*/ 1049759 w 1123106"/>
                    <a:gd name="connsiteY2231" fmla="*/ 665344 h 792545"/>
                    <a:gd name="connsiteX2232" fmla="*/ 1050052 w 1123106"/>
                    <a:gd name="connsiteY2232" fmla="*/ 664603 h 792545"/>
                    <a:gd name="connsiteX2233" fmla="*/ 1046988 w 1123106"/>
                    <a:gd name="connsiteY2233" fmla="*/ 660454 h 792545"/>
                    <a:gd name="connsiteX2234" fmla="*/ 1047086 w 1123106"/>
                    <a:gd name="connsiteY2234" fmla="*/ 659273 h 792545"/>
                    <a:gd name="connsiteX2235" fmla="*/ 1048202 w 1123106"/>
                    <a:gd name="connsiteY2235" fmla="*/ 657178 h 792545"/>
                    <a:gd name="connsiteX2236" fmla="*/ 1046809 w 1123106"/>
                    <a:gd name="connsiteY2236" fmla="*/ 656306 h 792545"/>
                    <a:gd name="connsiteX2237" fmla="*/ 1042986 w 1123106"/>
                    <a:gd name="connsiteY2237" fmla="*/ 656966 h 792545"/>
                    <a:gd name="connsiteX2238" fmla="*/ 1041634 w 1123106"/>
                    <a:gd name="connsiteY2238" fmla="*/ 656526 h 792545"/>
                    <a:gd name="connsiteX2239" fmla="*/ 1040525 w 1123106"/>
                    <a:gd name="connsiteY2239" fmla="*/ 654847 h 792545"/>
                    <a:gd name="connsiteX2240" fmla="*/ 1039873 w 1123106"/>
                    <a:gd name="connsiteY2240" fmla="*/ 653388 h 792545"/>
                    <a:gd name="connsiteX2241" fmla="*/ 1036565 w 1123106"/>
                    <a:gd name="connsiteY2241" fmla="*/ 653119 h 792545"/>
                    <a:gd name="connsiteX2242" fmla="*/ 1035309 w 1123106"/>
                    <a:gd name="connsiteY2242" fmla="*/ 653299 h 792545"/>
                    <a:gd name="connsiteX2243" fmla="*/ 1033150 w 1123106"/>
                    <a:gd name="connsiteY2243" fmla="*/ 651090 h 792545"/>
                    <a:gd name="connsiteX2244" fmla="*/ 1032164 w 1123106"/>
                    <a:gd name="connsiteY2244" fmla="*/ 649697 h 792545"/>
                    <a:gd name="connsiteX2245" fmla="*/ 1032547 w 1123106"/>
                    <a:gd name="connsiteY2245" fmla="*/ 648979 h 792545"/>
                    <a:gd name="connsiteX2246" fmla="*/ 1034543 w 1123106"/>
                    <a:gd name="connsiteY2246" fmla="*/ 647724 h 792545"/>
                    <a:gd name="connsiteX2247" fmla="*/ 1035709 w 1123106"/>
                    <a:gd name="connsiteY2247" fmla="*/ 647896 h 792545"/>
                    <a:gd name="connsiteX2248" fmla="*/ 1037950 w 1123106"/>
                    <a:gd name="connsiteY2248" fmla="*/ 649240 h 792545"/>
                    <a:gd name="connsiteX2249" fmla="*/ 1038814 w 1123106"/>
                    <a:gd name="connsiteY2249" fmla="*/ 649191 h 792545"/>
                    <a:gd name="connsiteX2250" fmla="*/ 1041031 w 1123106"/>
                    <a:gd name="connsiteY2250" fmla="*/ 647407 h 792545"/>
                    <a:gd name="connsiteX2251" fmla="*/ 1041373 w 1123106"/>
                    <a:gd name="connsiteY2251" fmla="*/ 645809 h 792545"/>
                    <a:gd name="connsiteX2252" fmla="*/ 1043035 w 1123106"/>
                    <a:gd name="connsiteY2252" fmla="*/ 644489 h 792545"/>
                    <a:gd name="connsiteX2253" fmla="*/ 1042766 w 1123106"/>
                    <a:gd name="connsiteY2253" fmla="*/ 643104 h 792545"/>
                    <a:gd name="connsiteX2254" fmla="*/ 1041846 w 1123106"/>
                    <a:gd name="connsiteY2254" fmla="*/ 640732 h 792545"/>
                    <a:gd name="connsiteX2255" fmla="*/ 1039808 w 1123106"/>
                    <a:gd name="connsiteY2255" fmla="*/ 640064 h 792545"/>
                    <a:gd name="connsiteX2256" fmla="*/ 1035660 w 1123106"/>
                    <a:gd name="connsiteY2256" fmla="*/ 641474 h 792545"/>
                    <a:gd name="connsiteX2257" fmla="*/ 1032050 w 1123106"/>
                    <a:gd name="connsiteY2257" fmla="*/ 643641 h 792545"/>
                    <a:gd name="connsiteX2258" fmla="*/ 1030599 w 1123106"/>
                    <a:gd name="connsiteY2258" fmla="*/ 642794 h 792545"/>
                    <a:gd name="connsiteX2259" fmla="*/ 1030281 w 1123106"/>
                    <a:gd name="connsiteY2259" fmla="*/ 641465 h 792545"/>
                    <a:gd name="connsiteX2260" fmla="*/ 1034152 w 1123106"/>
                    <a:gd name="connsiteY2260" fmla="*/ 637855 h 792545"/>
                    <a:gd name="connsiteX2261" fmla="*/ 1035847 w 1123106"/>
                    <a:gd name="connsiteY2261" fmla="*/ 635850 h 792545"/>
                    <a:gd name="connsiteX2262" fmla="*/ 1035513 w 1123106"/>
                    <a:gd name="connsiteY2262" fmla="*/ 634660 h 792545"/>
                    <a:gd name="connsiteX2263" fmla="*/ 1034266 w 1123106"/>
                    <a:gd name="connsiteY2263" fmla="*/ 633128 h 792545"/>
                    <a:gd name="connsiteX2264" fmla="*/ 1034160 w 1123106"/>
                    <a:gd name="connsiteY2264" fmla="*/ 629282 h 792545"/>
                    <a:gd name="connsiteX2265" fmla="*/ 1034983 w 1123106"/>
                    <a:gd name="connsiteY2265" fmla="*/ 628401 h 792545"/>
                    <a:gd name="connsiteX2266" fmla="*/ 1099146 w 1123106"/>
                    <a:gd name="connsiteY2266" fmla="*/ 661017 h 792545"/>
                    <a:gd name="connsiteX2267" fmla="*/ 1098282 w 1123106"/>
                    <a:gd name="connsiteY2267" fmla="*/ 665222 h 792545"/>
                    <a:gd name="connsiteX2268" fmla="*/ 1096579 w 1123106"/>
                    <a:gd name="connsiteY2268" fmla="*/ 669517 h 792545"/>
                    <a:gd name="connsiteX2269" fmla="*/ 1093971 w 1123106"/>
                    <a:gd name="connsiteY2269" fmla="*/ 671815 h 792545"/>
                    <a:gd name="connsiteX2270" fmla="*/ 1092129 w 1123106"/>
                    <a:gd name="connsiteY2270" fmla="*/ 671310 h 792545"/>
                    <a:gd name="connsiteX2271" fmla="*/ 1090785 w 1123106"/>
                    <a:gd name="connsiteY2271" fmla="*/ 669443 h 792545"/>
                    <a:gd name="connsiteX2272" fmla="*/ 1089530 w 1123106"/>
                    <a:gd name="connsiteY2272" fmla="*/ 669549 h 792545"/>
                    <a:gd name="connsiteX2273" fmla="*/ 1088193 w 1123106"/>
                    <a:gd name="connsiteY2273" fmla="*/ 669166 h 792545"/>
                    <a:gd name="connsiteX2274" fmla="*/ 1087443 w 1123106"/>
                    <a:gd name="connsiteY2274" fmla="*/ 667626 h 792545"/>
                    <a:gd name="connsiteX2275" fmla="*/ 1088160 w 1123106"/>
                    <a:gd name="connsiteY2275" fmla="*/ 665638 h 792545"/>
                    <a:gd name="connsiteX2276" fmla="*/ 1087525 w 1123106"/>
                    <a:gd name="connsiteY2276" fmla="*/ 664097 h 792545"/>
                    <a:gd name="connsiteX2277" fmla="*/ 1086857 w 1123106"/>
                    <a:gd name="connsiteY2277" fmla="*/ 665450 h 792545"/>
                    <a:gd name="connsiteX2278" fmla="*/ 1085683 w 1123106"/>
                    <a:gd name="connsiteY2278" fmla="*/ 666689 h 792545"/>
                    <a:gd name="connsiteX2279" fmla="*/ 1082716 w 1123106"/>
                    <a:gd name="connsiteY2279" fmla="*/ 668294 h 792545"/>
                    <a:gd name="connsiteX2280" fmla="*/ 1080679 w 1123106"/>
                    <a:gd name="connsiteY2280" fmla="*/ 671375 h 792545"/>
                    <a:gd name="connsiteX2281" fmla="*/ 1079717 w 1123106"/>
                    <a:gd name="connsiteY2281" fmla="*/ 673372 h 792545"/>
                    <a:gd name="connsiteX2282" fmla="*/ 1078511 w 1123106"/>
                    <a:gd name="connsiteY2282" fmla="*/ 671188 h 792545"/>
                    <a:gd name="connsiteX2283" fmla="*/ 1077737 w 1123106"/>
                    <a:gd name="connsiteY2283" fmla="*/ 666012 h 792545"/>
                    <a:gd name="connsiteX2284" fmla="*/ 1077639 w 1123106"/>
                    <a:gd name="connsiteY2284" fmla="*/ 663820 h 792545"/>
                    <a:gd name="connsiteX2285" fmla="*/ 1079791 w 1123106"/>
                    <a:gd name="connsiteY2285" fmla="*/ 660495 h 792545"/>
                    <a:gd name="connsiteX2286" fmla="*/ 1082562 w 1123106"/>
                    <a:gd name="connsiteY2286" fmla="*/ 657341 h 792545"/>
                    <a:gd name="connsiteX2287" fmla="*/ 1083124 w 1123106"/>
                    <a:gd name="connsiteY2287" fmla="*/ 647920 h 792545"/>
                    <a:gd name="connsiteX2288" fmla="*/ 1091950 w 1123106"/>
                    <a:gd name="connsiteY2288" fmla="*/ 643177 h 792545"/>
                    <a:gd name="connsiteX2289" fmla="*/ 1092765 w 1123106"/>
                    <a:gd name="connsiteY2289" fmla="*/ 643421 h 792545"/>
                    <a:gd name="connsiteX2290" fmla="*/ 1095634 w 1123106"/>
                    <a:gd name="connsiteY2290" fmla="*/ 646967 h 792545"/>
                    <a:gd name="connsiteX2291" fmla="*/ 1098682 w 1123106"/>
                    <a:gd name="connsiteY2291" fmla="*/ 651913 h 792545"/>
                    <a:gd name="connsiteX2292" fmla="*/ 1099472 w 1123106"/>
                    <a:gd name="connsiteY2292" fmla="*/ 654138 h 792545"/>
                    <a:gd name="connsiteX2293" fmla="*/ 1099489 w 1123106"/>
                    <a:gd name="connsiteY2293" fmla="*/ 658026 h 792545"/>
                    <a:gd name="connsiteX2294" fmla="*/ 1099146 w 1123106"/>
                    <a:gd name="connsiteY2294" fmla="*/ 661017 h 792545"/>
                    <a:gd name="connsiteX2295" fmla="*/ 1052432 w 1123106"/>
                    <a:gd name="connsiteY2295" fmla="*/ 683689 h 792545"/>
                    <a:gd name="connsiteX2296" fmla="*/ 1053051 w 1123106"/>
                    <a:gd name="connsiteY2296" fmla="*/ 684194 h 792545"/>
                    <a:gd name="connsiteX2297" fmla="*/ 1053671 w 1123106"/>
                    <a:gd name="connsiteY2297" fmla="*/ 683836 h 792545"/>
                    <a:gd name="connsiteX2298" fmla="*/ 1054673 w 1123106"/>
                    <a:gd name="connsiteY2298" fmla="*/ 682475 h 792545"/>
                    <a:gd name="connsiteX2299" fmla="*/ 1056458 w 1123106"/>
                    <a:gd name="connsiteY2299" fmla="*/ 682752 h 792545"/>
                    <a:gd name="connsiteX2300" fmla="*/ 1057737 w 1123106"/>
                    <a:gd name="connsiteY2300" fmla="*/ 683208 h 792545"/>
                    <a:gd name="connsiteX2301" fmla="*/ 1058528 w 1123106"/>
                    <a:gd name="connsiteY2301" fmla="*/ 683763 h 792545"/>
                    <a:gd name="connsiteX2302" fmla="*/ 1058112 w 1123106"/>
                    <a:gd name="connsiteY2302" fmla="*/ 685735 h 792545"/>
                    <a:gd name="connsiteX2303" fmla="*/ 1057786 w 1123106"/>
                    <a:gd name="connsiteY2303" fmla="*/ 688946 h 792545"/>
                    <a:gd name="connsiteX2304" fmla="*/ 1057053 w 1123106"/>
                    <a:gd name="connsiteY2304" fmla="*/ 690079 h 792545"/>
                    <a:gd name="connsiteX2305" fmla="*/ 1056336 w 1123106"/>
                    <a:gd name="connsiteY2305" fmla="*/ 691676 h 792545"/>
                    <a:gd name="connsiteX2306" fmla="*/ 1053818 w 1123106"/>
                    <a:gd name="connsiteY2306" fmla="*/ 690731 h 792545"/>
                    <a:gd name="connsiteX2307" fmla="*/ 1051780 w 1123106"/>
                    <a:gd name="connsiteY2307" fmla="*/ 688701 h 792545"/>
                    <a:gd name="connsiteX2308" fmla="*/ 1048814 w 1123106"/>
                    <a:gd name="connsiteY2308" fmla="*/ 685197 h 792545"/>
                    <a:gd name="connsiteX2309" fmla="*/ 1047167 w 1123106"/>
                    <a:gd name="connsiteY2309" fmla="*/ 682670 h 792545"/>
                    <a:gd name="connsiteX2310" fmla="*/ 1047045 w 1123106"/>
                    <a:gd name="connsiteY2310" fmla="*/ 681603 h 792545"/>
                    <a:gd name="connsiteX2311" fmla="*/ 1046002 w 1123106"/>
                    <a:gd name="connsiteY2311" fmla="*/ 680829 h 792545"/>
                    <a:gd name="connsiteX2312" fmla="*/ 1043965 w 1123106"/>
                    <a:gd name="connsiteY2312" fmla="*/ 676460 h 792545"/>
                    <a:gd name="connsiteX2313" fmla="*/ 1042807 w 1123106"/>
                    <a:gd name="connsiteY2313" fmla="*/ 673005 h 792545"/>
                    <a:gd name="connsiteX2314" fmla="*/ 1040982 w 1123106"/>
                    <a:gd name="connsiteY2314" fmla="*/ 672614 h 792545"/>
                    <a:gd name="connsiteX2315" fmla="*/ 1038675 w 1123106"/>
                    <a:gd name="connsiteY2315" fmla="*/ 671652 h 792545"/>
                    <a:gd name="connsiteX2316" fmla="*/ 1037787 w 1123106"/>
                    <a:gd name="connsiteY2316" fmla="*/ 669769 h 792545"/>
                    <a:gd name="connsiteX2317" fmla="*/ 1038398 w 1123106"/>
                    <a:gd name="connsiteY2317" fmla="*/ 668107 h 792545"/>
                    <a:gd name="connsiteX2318" fmla="*/ 1041683 w 1123106"/>
                    <a:gd name="connsiteY2318" fmla="*/ 667267 h 792545"/>
                    <a:gd name="connsiteX2319" fmla="*/ 1046621 w 1123106"/>
                    <a:gd name="connsiteY2319" fmla="*/ 671538 h 792545"/>
                    <a:gd name="connsiteX2320" fmla="*/ 1047371 w 1123106"/>
                    <a:gd name="connsiteY2320" fmla="*/ 673347 h 792545"/>
                    <a:gd name="connsiteX2321" fmla="*/ 1049140 w 1123106"/>
                    <a:gd name="connsiteY2321" fmla="*/ 675474 h 792545"/>
                    <a:gd name="connsiteX2322" fmla="*/ 1049474 w 1123106"/>
                    <a:gd name="connsiteY2322" fmla="*/ 678424 h 792545"/>
                    <a:gd name="connsiteX2323" fmla="*/ 1050378 w 1123106"/>
                    <a:gd name="connsiteY2323" fmla="*/ 679582 h 792545"/>
                    <a:gd name="connsiteX2324" fmla="*/ 1052432 w 1123106"/>
                    <a:gd name="connsiteY2324" fmla="*/ 683689 h 792545"/>
                    <a:gd name="connsiteX2325" fmla="*/ 293146 w 1123106"/>
                    <a:gd name="connsiteY2325" fmla="*/ 680405 h 792545"/>
                    <a:gd name="connsiteX2326" fmla="*/ 295558 w 1123106"/>
                    <a:gd name="connsiteY2326" fmla="*/ 686688 h 792545"/>
                    <a:gd name="connsiteX2327" fmla="*/ 296601 w 1123106"/>
                    <a:gd name="connsiteY2327" fmla="*/ 687919 h 792545"/>
                    <a:gd name="connsiteX2328" fmla="*/ 298142 w 1123106"/>
                    <a:gd name="connsiteY2328" fmla="*/ 688587 h 792545"/>
                    <a:gd name="connsiteX2329" fmla="*/ 300310 w 1123106"/>
                    <a:gd name="connsiteY2329" fmla="*/ 689264 h 792545"/>
                    <a:gd name="connsiteX2330" fmla="*/ 301597 w 1123106"/>
                    <a:gd name="connsiteY2330" fmla="*/ 690193 h 792545"/>
                    <a:gd name="connsiteX2331" fmla="*/ 302738 w 1123106"/>
                    <a:gd name="connsiteY2331" fmla="*/ 691603 h 792545"/>
                    <a:gd name="connsiteX2332" fmla="*/ 302885 w 1123106"/>
                    <a:gd name="connsiteY2332" fmla="*/ 692246 h 792545"/>
                    <a:gd name="connsiteX2333" fmla="*/ 296072 w 1123106"/>
                    <a:gd name="connsiteY2333" fmla="*/ 689720 h 792545"/>
                    <a:gd name="connsiteX2334" fmla="*/ 291785 w 1123106"/>
                    <a:gd name="connsiteY2334" fmla="*/ 693412 h 792545"/>
                    <a:gd name="connsiteX2335" fmla="*/ 290489 w 1123106"/>
                    <a:gd name="connsiteY2335" fmla="*/ 693893 h 792545"/>
                    <a:gd name="connsiteX2336" fmla="*/ 278330 w 1123106"/>
                    <a:gd name="connsiteY2336" fmla="*/ 694064 h 792545"/>
                    <a:gd name="connsiteX2337" fmla="*/ 275901 w 1123106"/>
                    <a:gd name="connsiteY2337" fmla="*/ 694748 h 792545"/>
                    <a:gd name="connsiteX2338" fmla="*/ 274336 w 1123106"/>
                    <a:gd name="connsiteY2338" fmla="*/ 695946 h 792545"/>
                    <a:gd name="connsiteX2339" fmla="*/ 271557 w 1123106"/>
                    <a:gd name="connsiteY2339" fmla="*/ 699320 h 792545"/>
                    <a:gd name="connsiteX2340" fmla="*/ 270147 w 1123106"/>
                    <a:gd name="connsiteY2340" fmla="*/ 700632 h 792545"/>
                    <a:gd name="connsiteX2341" fmla="*/ 268656 w 1123106"/>
                    <a:gd name="connsiteY2341" fmla="*/ 701415 h 792545"/>
                    <a:gd name="connsiteX2342" fmla="*/ 265502 w 1123106"/>
                    <a:gd name="connsiteY2342" fmla="*/ 702279 h 792545"/>
                    <a:gd name="connsiteX2343" fmla="*/ 261712 w 1123106"/>
                    <a:gd name="connsiteY2343" fmla="*/ 702165 h 792545"/>
                    <a:gd name="connsiteX2344" fmla="*/ 259732 w 1123106"/>
                    <a:gd name="connsiteY2344" fmla="*/ 701716 h 792545"/>
                    <a:gd name="connsiteX2345" fmla="*/ 258673 w 1123106"/>
                    <a:gd name="connsiteY2345" fmla="*/ 700119 h 792545"/>
                    <a:gd name="connsiteX2346" fmla="*/ 257735 w 1123106"/>
                    <a:gd name="connsiteY2346" fmla="*/ 696957 h 792545"/>
                    <a:gd name="connsiteX2347" fmla="*/ 257743 w 1123106"/>
                    <a:gd name="connsiteY2347" fmla="*/ 696085 h 792545"/>
                    <a:gd name="connsiteX2348" fmla="*/ 258135 w 1123106"/>
                    <a:gd name="connsiteY2348" fmla="*/ 694569 h 792545"/>
                    <a:gd name="connsiteX2349" fmla="*/ 261517 w 1123106"/>
                    <a:gd name="connsiteY2349" fmla="*/ 692483 h 792545"/>
                    <a:gd name="connsiteX2350" fmla="*/ 262641 w 1123106"/>
                    <a:gd name="connsiteY2350" fmla="*/ 691374 h 792545"/>
                    <a:gd name="connsiteX2351" fmla="*/ 267018 w 1123106"/>
                    <a:gd name="connsiteY2351" fmla="*/ 684203 h 792545"/>
                    <a:gd name="connsiteX2352" fmla="*/ 268281 w 1123106"/>
                    <a:gd name="connsiteY2352" fmla="*/ 683217 h 792545"/>
                    <a:gd name="connsiteX2353" fmla="*/ 269626 w 1123106"/>
                    <a:gd name="connsiteY2353" fmla="*/ 682972 h 792545"/>
                    <a:gd name="connsiteX2354" fmla="*/ 273358 w 1123106"/>
                    <a:gd name="connsiteY2354" fmla="*/ 683477 h 792545"/>
                    <a:gd name="connsiteX2355" fmla="*/ 276553 w 1123106"/>
                    <a:gd name="connsiteY2355" fmla="*/ 681383 h 792545"/>
                    <a:gd name="connsiteX2356" fmla="*/ 283423 w 1123106"/>
                    <a:gd name="connsiteY2356" fmla="*/ 678188 h 792545"/>
                    <a:gd name="connsiteX2357" fmla="*/ 284931 w 1123106"/>
                    <a:gd name="connsiteY2357" fmla="*/ 677813 h 792545"/>
                    <a:gd name="connsiteX2358" fmla="*/ 289886 w 1123106"/>
                    <a:gd name="connsiteY2358" fmla="*/ 677748 h 792545"/>
                    <a:gd name="connsiteX2359" fmla="*/ 291239 w 1123106"/>
                    <a:gd name="connsiteY2359" fmla="*/ 678245 h 792545"/>
                    <a:gd name="connsiteX2360" fmla="*/ 292282 w 1123106"/>
                    <a:gd name="connsiteY2360" fmla="*/ 679142 h 792545"/>
                    <a:gd name="connsiteX2361" fmla="*/ 293146 w 1123106"/>
                    <a:gd name="connsiteY2361" fmla="*/ 680405 h 792545"/>
                    <a:gd name="connsiteX2362" fmla="*/ 215283 w 1123106"/>
                    <a:gd name="connsiteY2362" fmla="*/ 721292 h 792545"/>
                    <a:gd name="connsiteX2363" fmla="*/ 216351 w 1123106"/>
                    <a:gd name="connsiteY2363" fmla="*/ 723077 h 792545"/>
                    <a:gd name="connsiteX2364" fmla="*/ 218209 w 1123106"/>
                    <a:gd name="connsiteY2364" fmla="*/ 721944 h 792545"/>
                    <a:gd name="connsiteX2365" fmla="*/ 219570 w 1123106"/>
                    <a:gd name="connsiteY2365" fmla="*/ 720396 h 792545"/>
                    <a:gd name="connsiteX2366" fmla="*/ 220630 w 1123106"/>
                    <a:gd name="connsiteY2366" fmla="*/ 718383 h 792545"/>
                    <a:gd name="connsiteX2367" fmla="*/ 221314 w 1123106"/>
                    <a:gd name="connsiteY2367" fmla="*/ 717592 h 792545"/>
                    <a:gd name="connsiteX2368" fmla="*/ 222227 w 1123106"/>
                    <a:gd name="connsiteY2368" fmla="*/ 718651 h 792545"/>
                    <a:gd name="connsiteX2369" fmla="*/ 224827 w 1123106"/>
                    <a:gd name="connsiteY2369" fmla="*/ 720094 h 792545"/>
                    <a:gd name="connsiteX2370" fmla="*/ 222634 w 1123106"/>
                    <a:gd name="connsiteY2370" fmla="*/ 722303 h 792545"/>
                    <a:gd name="connsiteX2371" fmla="*/ 218421 w 1123106"/>
                    <a:gd name="connsiteY2371" fmla="*/ 725628 h 792545"/>
                    <a:gd name="connsiteX2372" fmla="*/ 217011 w 1123106"/>
                    <a:gd name="connsiteY2372" fmla="*/ 727844 h 792545"/>
                    <a:gd name="connsiteX2373" fmla="*/ 216921 w 1123106"/>
                    <a:gd name="connsiteY2373" fmla="*/ 728814 h 792545"/>
                    <a:gd name="connsiteX2374" fmla="*/ 220996 w 1123106"/>
                    <a:gd name="connsiteY2374" fmla="*/ 728073 h 792545"/>
                    <a:gd name="connsiteX2375" fmla="*/ 222137 w 1123106"/>
                    <a:gd name="connsiteY2375" fmla="*/ 728179 h 792545"/>
                    <a:gd name="connsiteX2376" fmla="*/ 222871 w 1123106"/>
                    <a:gd name="connsiteY2376" fmla="*/ 728937 h 792545"/>
                    <a:gd name="connsiteX2377" fmla="*/ 221746 w 1123106"/>
                    <a:gd name="connsiteY2377" fmla="*/ 729841 h 792545"/>
                    <a:gd name="connsiteX2378" fmla="*/ 219521 w 1123106"/>
                    <a:gd name="connsiteY2378" fmla="*/ 730648 h 792545"/>
                    <a:gd name="connsiteX2379" fmla="*/ 217590 w 1123106"/>
                    <a:gd name="connsiteY2379" fmla="*/ 732237 h 792545"/>
                    <a:gd name="connsiteX2380" fmla="*/ 213124 w 1123106"/>
                    <a:gd name="connsiteY2380" fmla="*/ 734975 h 792545"/>
                    <a:gd name="connsiteX2381" fmla="*/ 211429 w 1123106"/>
                    <a:gd name="connsiteY2381" fmla="*/ 737249 h 792545"/>
                    <a:gd name="connsiteX2382" fmla="*/ 209432 w 1123106"/>
                    <a:gd name="connsiteY2382" fmla="*/ 738113 h 792545"/>
                    <a:gd name="connsiteX2383" fmla="*/ 206710 w 1123106"/>
                    <a:gd name="connsiteY2383" fmla="*/ 738325 h 792545"/>
                    <a:gd name="connsiteX2384" fmla="*/ 201926 w 1123106"/>
                    <a:gd name="connsiteY2384" fmla="*/ 739808 h 792545"/>
                    <a:gd name="connsiteX2385" fmla="*/ 199025 w 1123106"/>
                    <a:gd name="connsiteY2385" fmla="*/ 741202 h 792545"/>
                    <a:gd name="connsiteX2386" fmla="*/ 198291 w 1123106"/>
                    <a:gd name="connsiteY2386" fmla="*/ 741952 h 792545"/>
                    <a:gd name="connsiteX2387" fmla="*/ 197378 w 1123106"/>
                    <a:gd name="connsiteY2387" fmla="*/ 742310 h 792545"/>
                    <a:gd name="connsiteX2388" fmla="*/ 196286 w 1123106"/>
                    <a:gd name="connsiteY2388" fmla="*/ 742269 h 792545"/>
                    <a:gd name="connsiteX2389" fmla="*/ 195105 w 1123106"/>
                    <a:gd name="connsiteY2389" fmla="*/ 742881 h 792545"/>
                    <a:gd name="connsiteX2390" fmla="*/ 193833 w 1123106"/>
                    <a:gd name="connsiteY2390" fmla="*/ 744144 h 792545"/>
                    <a:gd name="connsiteX2391" fmla="*/ 192774 w 1123106"/>
                    <a:gd name="connsiteY2391" fmla="*/ 744739 h 792545"/>
                    <a:gd name="connsiteX2392" fmla="*/ 191046 w 1123106"/>
                    <a:gd name="connsiteY2392" fmla="*/ 744869 h 792545"/>
                    <a:gd name="connsiteX2393" fmla="*/ 190141 w 1123106"/>
                    <a:gd name="connsiteY2393" fmla="*/ 745366 h 792545"/>
                    <a:gd name="connsiteX2394" fmla="*/ 189131 w 1123106"/>
                    <a:gd name="connsiteY2394" fmla="*/ 745350 h 792545"/>
                    <a:gd name="connsiteX2395" fmla="*/ 186368 w 1123106"/>
                    <a:gd name="connsiteY2395" fmla="*/ 743842 h 792545"/>
                    <a:gd name="connsiteX2396" fmla="*/ 185675 w 1123106"/>
                    <a:gd name="connsiteY2396" fmla="*/ 742962 h 792545"/>
                    <a:gd name="connsiteX2397" fmla="*/ 188128 w 1123106"/>
                    <a:gd name="connsiteY2397" fmla="*/ 741194 h 792545"/>
                    <a:gd name="connsiteX2398" fmla="*/ 189897 w 1123106"/>
                    <a:gd name="connsiteY2398" fmla="*/ 740607 h 792545"/>
                    <a:gd name="connsiteX2399" fmla="*/ 192595 w 1123106"/>
                    <a:gd name="connsiteY2399" fmla="*/ 740338 h 792545"/>
                    <a:gd name="connsiteX2400" fmla="*/ 195235 w 1123106"/>
                    <a:gd name="connsiteY2400" fmla="*/ 738700 h 792545"/>
                    <a:gd name="connsiteX2401" fmla="*/ 200679 w 1123106"/>
                    <a:gd name="connsiteY2401" fmla="*/ 736532 h 792545"/>
                    <a:gd name="connsiteX2402" fmla="*/ 202366 w 1123106"/>
                    <a:gd name="connsiteY2402" fmla="*/ 735350 h 792545"/>
                    <a:gd name="connsiteX2403" fmla="*/ 203450 w 1123106"/>
                    <a:gd name="connsiteY2403" fmla="*/ 731235 h 792545"/>
                    <a:gd name="connsiteX2404" fmla="*/ 204689 w 1123106"/>
                    <a:gd name="connsiteY2404" fmla="*/ 730534 h 792545"/>
                    <a:gd name="connsiteX2405" fmla="*/ 205349 w 1123106"/>
                    <a:gd name="connsiteY2405" fmla="*/ 728888 h 792545"/>
                    <a:gd name="connsiteX2406" fmla="*/ 208372 w 1123106"/>
                    <a:gd name="connsiteY2406" fmla="*/ 728937 h 792545"/>
                    <a:gd name="connsiteX2407" fmla="*/ 209758 w 1123106"/>
                    <a:gd name="connsiteY2407" fmla="*/ 730778 h 792545"/>
                    <a:gd name="connsiteX2408" fmla="*/ 210239 w 1123106"/>
                    <a:gd name="connsiteY2408" fmla="*/ 731031 h 792545"/>
                    <a:gd name="connsiteX2409" fmla="*/ 210483 w 1123106"/>
                    <a:gd name="connsiteY2409" fmla="*/ 730852 h 792545"/>
                    <a:gd name="connsiteX2410" fmla="*/ 210622 w 1123106"/>
                    <a:gd name="connsiteY2410" fmla="*/ 729377 h 792545"/>
                    <a:gd name="connsiteX2411" fmla="*/ 212162 w 1123106"/>
                    <a:gd name="connsiteY2411" fmla="*/ 728342 h 792545"/>
                    <a:gd name="connsiteX2412" fmla="*/ 211274 w 1123106"/>
                    <a:gd name="connsiteY2412" fmla="*/ 727584 h 792545"/>
                    <a:gd name="connsiteX2413" fmla="*/ 208486 w 1123106"/>
                    <a:gd name="connsiteY2413" fmla="*/ 726622 h 792545"/>
                    <a:gd name="connsiteX2414" fmla="*/ 206416 w 1123106"/>
                    <a:gd name="connsiteY2414" fmla="*/ 726174 h 792545"/>
                    <a:gd name="connsiteX2415" fmla="*/ 205064 w 1123106"/>
                    <a:gd name="connsiteY2415" fmla="*/ 726231 h 792545"/>
                    <a:gd name="connsiteX2416" fmla="*/ 203963 w 1123106"/>
                    <a:gd name="connsiteY2416" fmla="*/ 725693 h 792545"/>
                    <a:gd name="connsiteX2417" fmla="*/ 203116 w 1123106"/>
                    <a:gd name="connsiteY2417" fmla="*/ 724568 h 792545"/>
                    <a:gd name="connsiteX2418" fmla="*/ 202733 w 1123106"/>
                    <a:gd name="connsiteY2418" fmla="*/ 723444 h 792545"/>
                    <a:gd name="connsiteX2419" fmla="*/ 202806 w 1123106"/>
                    <a:gd name="connsiteY2419" fmla="*/ 722335 h 792545"/>
                    <a:gd name="connsiteX2420" fmla="*/ 203499 w 1123106"/>
                    <a:gd name="connsiteY2420" fmla="*/ 721096 h 792545"/>
                    <a:gd name="connsiteX2421" fmla="*/ 204795 w 1123106"/>
                    <a:gd name="connsiteY2421" fmla="*/ 719719 h 792545"/>
                    <a:gd name="connsiteX2422" fmla="*/ 206286 w 1123106"/>
                    <a:gd name="connsiteY2422" fmla="*/ 718937 h 792545"/>
                    <a:gd name="connsiteX2423" fmla="*/ 209497 w 1123106"/>
                    <a:gd name="connsiteY2423" fmla="*/ 718366 h 792545"/>
                    <a:gd name="connsiteX2424" fmla="*/ 212341 w 1123106"/>
                    <a:gd name="connsiteY2424" fmla="*/ 717454 h 792545"/>
                    <a:gd name="connsiteX2425" fmla="*/ 213849 w 1123106"/>
                    <a:gd name="connsiteY2425" fmla="*/ 717307 h 792545"/>
                    <a:gd name="connsiteX2426" fmla="*/ 214990 w 1123106"/>
                    <a:gd name="connsiteY2426" fmla="*/ 717698 h 792545"/>
                    <a:gd name="connsiteX2427" fmla="*/ 215283 w 1123106"/>
                    <a:gd name="connsiteY2427" fmla="*/ 721292 h 792545"/>
                    <a:gd name="connsiteX2428" fmla="*/ 181829 w 1123106"/>
                    <a:gd name="connsiteY2428" fmla="*/ 742180 h 792545"/>
                    <a:gd name="connsiteX2429" fmla="*/ 174233 w 1123106"/>
                    <a:gd name="connsiteY2429" fmla="*/ 746189 h 792545"/>
                    <a:gd name="connsiteX2430" fmla="*/ 171764 w 1123106"/>
                    <a:gd name="connsiteY2430" fmla="*/ 749123 h 792545"/>
                    <a:gd name="connsiteX2431" fmla="*/ 169881 w 1123106"/>
                    <a:gd name="connsiteY2431" fmla="*/ 751943 h 792545"/>
                    <a:gd name="connsiteX2432" fmla="*/ 168398 w 1123106"/>
                    <a:gd name="connsiteY2432" fmla="*/ 753483 h 792545"/>
                    <a:gd name="connsiteX2433" fmla="*/ 167322 w 1123106"/>
                    <a:gd name="connsiteY2433" fmla="*/ 753752 h 792545"/>
                    <a:gd name="connsiteX2434" fmla="*/ 166124 w 1123106"/>
                    <a:gd name="connsiteY2434" fmla="*/ 754502 h 792545"/>
                    <a:gd name="connsiteX2435" fmla="*/ 163614 w 1123106"/>
                    <a:gd name="connsiteY2435" fmla="*/ 756474 h 792545"/>
                    <a:gd name="connsiteX2436" fmla="*/ 162563 w 1123106"/>
                    <a:gd name="connsiteY2436" fmla="*/ 756711 h 792545"/>
                    <a:gd name="connsiteX2437" fmla="*/ 154503 w 1123106"/>
                    <a:gd name="connsiteY2437" fmla="*/ 761307 h 792545"/>
                    <a:gd name="connsiteX2438" fmla="*/ 153940 w 1123106"/>
                    <a:gd name="connsiteY2438" fmla="*/ 761381 h 792545"/>
                    <a:gd name="connsiteX2439" fmla="*/ 154331 w 1123106"/>
                    <a:gd name="connsiteY2439" fmla="*/ 760183 h 792545"/>
                    <a:gd name="connsiteX2440" fmla="*/ 156793 w 1123106"/>
                    <a:gd name="connsiteY2440" fmla="*/ 758487 h 792545"/>
                    <a:gd name="connsiteX2441" fmla="*/ 158398 w 1123106"/>
                    <a:gd name="connsiteY2441" fmla="*/ 756931 h 792545"/>
                    <a:gd name="connsiteX2442" fmla="*/ 160207 w 1123106"/>
                    <a:gd name="connsiteY2442" fmla="*/ 754372 h 792545"/>
                    <a:gd name="connsiteX2443" fmla="*/ 161202 w 1123106"/>
                    <a:gd name="connsiteY2443" fmla="*/ 753426 h 792545"/>
                    <a:gd name="connsiteX2444" fmla="*/ 161528 w 1123106"/>
                    <a:gd name="connsiteY2444" fmla="*/ 752139 h 792545"/>
                    <a:gd name="connsiteX2445" fmla="*/ 161658 w 1123106"/>
                    <a:gd name="connsiteY2445" fmla="*/ 749539 h 792545"/>
                    <a:gd name="connsiteX2446" fmla="*/ 162106 w 1123106"/>
                    <a:gd name="connsiteY2446" fmla="*/ 748553 h 792545"/>
                    <a:gd name="connsiteX2447" fmla="*/ 163834 w 1123106"/>
                    <a:gd name="connsiteY2447" fmla="*/ 746597 h 792545"/>
                    <a:gd name="connsiteX2448" fmla="*/ 165097 w 1123106"/>
                    <a:gd name="connsiteY2448" fmla="*/ 745529 h 792545"/>
                    <a:gd name="connsiteX2449" fmla="*/ 166752 w 1123106"/>
                    <a:gd name="connsiteY2449" fmla="*/ 745163 h 792545"/>
                    <a:gd name="connsiteX2450" fmla="*/ 170118 w 1123106"/>
                    <a:gd name="connsiteY2450" fmla="*/ 745497 h 792545"/>
                    <a:gd name="connsiteX2451" fmla="*/ 171511 w 1123106"/>
                    <a:gd name="connsiteY2451" fmla="*/ 744503 h 792545"/>
                    <a:gd name="connsiteX2452" fmla="*/ 171943 w 1123106"/>
                    <a:gd name="connsiteY2452" fmla="*/ 743753 h 792545"/>
                    <a:gd name="connsiteX2453" fmla="*/ 171095 w 1123106"/>
                    <a:gd name="connsiteY2453" fmla="*/ 743060 h 792545"/>
                    <a:gd name="connsiteX2454" fmla="*/ 170900 w 1123106"/>
                    <a:gd name="connsiteY2454" fmla="*/ 741870 h 792545"/>
                    <a:gd name="connsiteX2455" fmla="*/ 171120 w 1123106"/>
                    <a:gd name="connsiteY2455" fmla="*/ 739808 h 792545"/>
                    <a:gd name="connsiteX2456" fmla="*/ 172090 w 1123106"/>
                    <a:gd name="connsiteY2456" fmla="*/ 737975 h 792545"/>
                    <a:gd name="connsiteX2457" fmla="*/ 173817 w 1123106"/>
                    <a:gd name="connsiteY2457" fmla="*/ 736377 h 792545"/>
                    <a:gd name="connsiteX2458" fmla="*/ 176165 w 1123106"/>
                    <a:gd name="connsiteY2458" fmla="*/ 735130 h 792545"/>
                    <a:gd name="connsiteX2459" fmla="*/ 179131 w 1123106"/>
                    <a:gd name="connsiteY2459" fmla="*/ 734242 h 792545"/>
                    <a:gd name="connsiteX2460" fmla="*/ 181299 w 1123106"/>
                    <a:gd name="connsiteY2460" fmla="*/ 734201 h 792545"/>
                    <a:gd name="connsiteX2461" fmla="*/ 185211 w 1123106"/>
                    <a:gd name="connsiteY2461" fmla="*/ 736084 h 792545"/>
                    <a:gd name="connsiteX2462" fmla="*/ 185789 w 1123106"/>
                    <a:gd name="connsiteY2462" fmla="*/ 736948 h 792545"/>
                    <a:gd name="connsiteX2463" fmla="*/ 184836 w 1123106"/>
                    <a:gd name="connsiteY2463" fmla="*/ 738838 h 792545"/>
                    <a:gd name="connsiteX2464" fmla="*/ 184282 w 1123106"/>
                    <a:gd name="connsiteY2464" fmla="*/ 740615 h 792545"/>
                    <a:gd name="connsiteX2465" fmla="*/ 181829 w 1123106"/>
                    <a:gd name="connsiteY2465" fmla="*/ 742180 h 792545"/>
                    <a:gd name="connsiteX2466" fmla="*/ 15330 w 1123106"/>
                    <a:gd name="connsiteY2466" fmla="*/ 791021 h 792545"/>
                    <a:gd name="connsiteX2467" fmla="*/ 2029 w 1123106"/>
                    <a:gd name="connsiteY2467" fmla="*/ 792545 h 792545"/>
                    <a:gd name="connsiteX2468" fmla="*/ 0 w 1123106"/>
                    <a:gd name="connsiteY2468" fmla="*/ 791494 h 792545"/>
                    <a:gd name="connsiteX2469" fmla="*/ 2021 w 1123106"/>
                    <a:gd name="connsiteY2469" fmla="*/ 790907 h 792545"/>
                    <a:gd name="connsiteX2470" fmla="*/ 4417 w 1123106"/>
                    <a:gd name="connsiteY2470" fmla="*/ 790573 h 792545"/>
                    <a:gd name="connsiteX2471" fmla="*/ 9421 w 1123106"/>
                    <a:gd name="connsiteY2471" fmla="*/ 788829 h 792545"/>
                    <a:gd name="connsiteX2472" fmla="*/ 15574 w 1123106"/>
                    <a:gd name="connsiteY2472" fmla="*/ 787313 h 792545"/>
                    <a:gd name="connsiteX2473" fmla="*/ 20366 w 1123106"/>
                    <a:gd name="connsiteY2473" fmla="*/ 785487 h 792545"/>
                    <a:gd name="connsiteX2474" fmla="*/ 24539 w 1123106"/>
                    <a:gd name="connsiteY2474" fmla="*/ 784298 h 792545"/>
                    <a:gd name="connsiteX2475" fmla="*/ 25712 w 1123106"/>
                    <a:gd name="connsiteY2475" fmla="*/ 782334 h 792545"/>
                    <a:gd name="connsiteX2476" fmla="*/ 22045 w 1123106"/>
                    <a:gd name="connsiteY2476" fmla="*/ 781331 h 792545"/>
                    <a:gd name="connsiteX2477" fmla="*/ 21328 w 1123106"/>
                    <a:gd name="connsiteY2477" fmla="*/ 780541 h 792545"/>
                    <a:gd name="connsiteX2478" fmla="*/ 23064 w 1123106"/>
                    <a:gd name="connsiteY2478" fmla="*/ 779628 h 792545"/>
                    <a:gd name="connsiteX2479" fmla="*/ 24514 w 1123106"/>
                    <a:gd name="connsiteY2479" fmla="*/ 778291 h 792545"/>
                    <a:gd name="connsiteX2480" fmla="*/ 27937 w 1123106"/>
                    <a:gd name="connsiteY2480" fmla="*/ 776718 h 792545"/>
                    <a:gd name="connsiteX2481" fmla="*/ 30993 w 1123106"/>
                    <a:gd name="connsiteY2481" fmla="*/ 778691 h 792545"/>
                    <a:gd name="connsiteX2482" fmla="*/ 31670 w 1123106"/>
                    <a:gd name="connsiteY2482" fmla="*/ 780003 h 792545"/>
                    <a:gd name="connsiteX2483" fmla="*/ 31376 w 1123106"/>
                    <a:gd name="connsiteY2483" fmla="*/ 781567 h 792545"/>
                    <a:gd name="connsiteX2484" fmla="*/ 30765 w 1123106"/>
                    <a:gd name="connsiteY2484" fmla="*/ 783189 h 792545"/>
                    <a:gd name="connsiteX2485" fmla="*/ 28076 w 1123106"/>
                    <a:gd name="connsiteY2485" fmla="*/ 784029 h 792545"/>
                    <a:gd name="connsiteX2486" fmla="*/ 27676 w 1123106"/>
                    <a:gd name="connsiteY2486" fmla="*/ 784884 h 792545"/>
                    <a:gd name="connsiteX2487" fmla="*/ 29127 w 1123106"/>
                    <a:gd name="connsiteY2487" fmla="*/ 787297 h 792545"/>
                    <a:gd name="connsiteX2488" fmla="*/ 23602 w 1123106"/>
                    <a:gd name="connsiteY2488" fmla="*/ 789432 h 792545"/>
                    <a:gd name="connsiteX2489" fmla="*/ 15330 w 1123106"/>
                    <a:gd name="connsiteY2489" fmla="*/ 791021 h 79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Lst>
                  <a:rect l="l" t="t" r="r" b="b"/>
                  <a:pathLst>
                    <a:path w="1123106" h="792545">
                      <a:moveTo>
                        <a:pt x="479221" y="25615"/>
                      </a:moveTo>
                      <a:lnTo>
                        <a:pt x="481739" y="25949"/>
                      </a:lnTo>
                      <a:lnTo>
                        <a:pt x="485814" y="24922"/>
                      </a:lnTo>
                      <a:lnTo>
                        <a:pt x="489008" y="23251"/>
                      </a:lnTo>
                      <a:lnTo>
                        <a:pt x="495610" y="17799"/>
                      </a:lnTo>
                      <a:lnTo>
                        <a:pt x="497680" y="14759"/>
                      </a:lnTo>
                      <a:lnTo>
                        <a:pt x="499236" y="13993"/>
                      </a:lnTo>
                      <a:lnTo>
                        <a:pt x="504770" y="14727"/>
                      </a:lnTo>
                      <a:lnTo>
                        <a:pt x="507908" y="16291"/>
                      </a:lnTo>
                      <a:lnTo>
                        <a:pt x="511477" y="19062"/>
                      </a:lnTo>
                      <a:lnTo>
                        <a:pt x="510173" y="21743"/>
                      </a:lnTo>
                      <a:lnTo>
                        <a:pt x="508706" y="23251"/>
                      </a:lnTo>
                      <a:lnTo>
                        <a:pt x="513335" y="25337"/>
                      </a:lnTo>
                      <a:lnTo>
                        <a:pt x="518453" y="25778"/>
                      </a:lnTo>
                      <a:lnTo>
                        <a:pt x="523343" y="27456"/>
                      </a:lnTo>
                      <a:lnTo>
                        <a:pt x="530214" y="24025"/>
                      </a:lnTo>
                      <a:lnTo>
                        <a:pt x="535592" y="23292"/>
                      </a:lnTo>
                      <a:lnTo>
                        <a:pt x="540645" y="23406"/>
                      </a:lnTo>
                      <a:lnTo>
                        <a:pt x="547214" y="21532"/>
                      </a:lnTo>
                      <a:lnTo>
                        <a:pt x="558322" y="24082"/>
                      </a:lnTo>
                      <a:lnTo>
                        <a:pt x="561158" y="23414"/>
                      </a:lnTo>
                      <a:lnTo>
                        <a:pt x="565608" y="23854"/>
                      </a:lnTo>
                      <a:lnTo>
                        <a:pt x="570343" y="25395"/>
                      </a:lnTo>
                      <a:lnTo>
                        <a:pt x="572013" y="27041"/>
                      </a:lnTo>
                      <a:lnTo>
                        <a:pt x="566952" y="30513"/>
                      </a:lnTo>
                      <a:lnTo>
                        <a:pt x="566121" y="34090"/>
                      </a:lnTo>
                      <a:lnTo>
                        <a:pt x="567890" y="35590"/>
                      </a:lnTo>
                      <a:lnTo>
                        <a:pt x="571109" y="35842"/>
                      </a:lnTo>
                      <a:lnTo>
                        <a:pt x="571516" y="37929"/>
                      </a:lnTo>
                      <a:lnTo>
                        <a:pt x="573505" y="38442"/>
                      </a:lnTo>
                      <a:lnTo>
                        <a:pt x="583521" y="38287"/>
                      </a:lnTo>
                      <a:lnTo>
                        <a:pt x="582763" y="39274"/>
                      </a:lnTo>
                      <a:lnTo>
                        <a:pt x="582266" y="40472"/>
                      </a:lnTo>
                      <a:lnTo>
                        <a:pt x="579169" y="43137"/>
                      </a:lnTo>
                      <a:lnTo>
                        <a:pt x="597017" y="44628"/>
                      </a:lnTo>
                      <a:lnTo>
                        <a:pt x="599421" y="43153"/>
                      </a:lnTo>
                      <a:lnTo>
                        <a:pt x="603113" y="42574"/>
                      </a:lnTo>
                      <a:lnTo>
                        <a:pt x="610961" y="40537"/>
                      </a:lnTo>
                      <a:lnTo>
                        <a:pt x="613919" y="41417"/>
                      </a:lnTo>
                      <a:lnTo>
                        <a:pt x="617399" y="43495"/>
                      </a:lnTo>
                      <a:lnTo>
                        <a:pt x="620610" y="43927"/>
                      </a:lnTo>
                      <a:lnTo>
                        <a:pt x="623618" y="43503"/>
                      </a:lnTo>
                      <a:lnTo>
                        <a:pt x="630626" y="40545"/>
                      </a:lnTo>
                      <a:lnTo>
                        <a:pt x="638711" y="40398"/>
                      </a:lnTo>
                      <a:lnTo>
                        <a:pt x="642020" y="41368"/>
                      </a:lnTo>
                      <a:lnTo>
                        <a:pt x="645524" y="40944"/>
                      </a:lnTo>
                      <a:lnTo>
                        <a:pt x="656053" y="44343"/>
                      </a:lnTo>
                      <a:lnTo>
                        <a:pt x="659933" y="44742"/>
                      </a:lnTo>
                      <a:lnTo>
                        <a:pt x="665124" y="49151"/>
                      </a:lnTo>
                      <a:lnTo>
                        <a:pt x="667805" y="49281"/>
                      </a:lnTo>
                      <a:lnTo>
                        <a:pt x="670845" y="47407"/>
                      </a:lnTo>
                      <a:lnTo>
                        <a:pt x="673478" y="47472"/>
                      </a:lnTo>
                      <a:lnTo>
                        <a:pt x="676045" y="49257"/>
                      </a:lnTo>
                      <a:lnTo>
                        <a:pt x="680250" y="49803"/>
                      </a:lnTo>
                      <a:lnTo>
                        <a:pt x="682206" y="52631"/>
                      </a:lnTo>
                      <a:lnTo>
                        <a:pt x="684317" y="53650"/>
                      </a:lnTo>
                      <a:lnTo>
                        <a:pt x="700250" y="55744"/>
                      </a:lnTo>
                      <a:lnTo>
                        <a:pt x="708138" y="54791"/>
                      </a:lnTo>
                      <a:lnTo>
                        <a:pt x="719638" y="55043"/>
                      </a:lnTo>
                      <a:lnTo>
                        <a:pt x="725188" y="56388"/>
                      </a:lnTo>
                      <a:lnTo>
                        <a:pt x="730998" y="56217"/>
                      </a:lnTo>
                      <a:lnTo>
                        <a:pt x="740501" y="61090"/>
                      </a:lnTo>
                      <a:lnTo>
                        <a:pt x="745546" y="61848"/>
                      </a:lnTo>
                      <a:lnTo>
                        <a:pt x="746524" y="62981"/>
                      </a:lnTo>
                      <a:lnTo>
                        <a:pt x="760867" y="64171"/>
                      </a:lnTo>
                      <a:lnTo>
                        <a:pt x="765887" y="61628"/>
                      </a:lnTo>
                      <a:lnTo>
                        <a:pt x="774632" y="60952"/>
                      </a:lnTo>
                      <a:lnTo>
                        <a:pt x="782513" y="58817"/>
                      </a:lnTo>
                      <a:lnTo>
                        <a:pt x="786979" y="58833"/>
                      </a:lnTo>
                      <a:lnTo>
                        <a:pt x="792170" y="59363"/>
                      </a:lnTo>
                      <a:lnTo>
                        <a:pt x="794175" y="59110"/>
                      </a:lnTo>
                      <a:lnTo>
                        <a:pt x="795618" y="58173"/>
                      </a:lnTo>
                      <a:lnTo>
                        <a:pt x="808282" y="61856"/>
                      </a:lnTo>
                      <a:lnTo>
                        <a:pt x="815373" y="66062"/>
                      </a:lnTo>
                      <a:lnTo>
                        <a:pt x="818470" y="69167"/>
                      </a:lnTo>
                      <a:lnTo>
                        <a:pt x="833302" y="73600"/>
                      </a:lnTo>
                      <a:lnTo>
                        <a:pt x="837589" y="76078"/>
                      </a:lnTo>
                      <a:lnTo>
                        <a:pt x="840531" y="78800"/>
                      </a:lnTo>
                      <a:lnTo>
                        <a:pt x="842242" y="79093"/>
                      </a:lnTo>
                      <a:lnTo>
                        <a:pt x="843457" y="78294"/>
                      </a:lnTo>
                      <a:lnTo>
                        <a:pt x="848632" y="78531"/>
                      </a:lnTo>
                      <a:lnTo>
                        <a:pt x="850588" y="78906"/>
                      </a:lnTo>
                      <a:lnTo>
                        <a:pt x="850588" y="91864"/>
                      </a:lnTo>
                      <a:lnTo>
                        <a:pt x="850588" y="104781"/>
                      </a:lnTo>
                      <a:lnTo>
                        <a:pt x="850588" y="117650"/>
                      </a:lnTo>
                      <a:lnTo>
                        <a:pt x="850588" y="130477"/>
                      </a:lnTo>
                      <a:lnTo>
                        <a:pt x="850588" y="143256"/>
                      </a:lnTo>
                      <a:lnTo>
                        <a:pt x="850588" y="155986"/>
                      </a:lnTo>
                      <a:lnTo>
                        <a:pt x="850588" y="168675"/>
                      </a:lnTo>
                      <a:lnTo>
                        <a:pt x="850588" y="181323"/>
                      </a:lnTo>
                      <a:lnTo>
                        <a:pt x="850588" y="193923"/>
                      </a:lnTo>
                      <a:lnTo>
                        <a:pt x="850588" y="206490"/>
                      </a:lnTo>
                      <a:lnTo>
                        <a:pt x="850588" y="219008"/>
                      </a:lnTo>
                      <a:lnTo>
                        <a:pt x="850588" y="231485"/>
                      </a:lnTo>
                      <a:lnTo>
                        <a:pt x="850588" y="243921"/>
                      </a:lnTo>
                      <a:lnTo>
                        <a:pt x="850588" y="256317"/>
                      </a:lnTo>
                      <a:lnTo>
                        <a:pt x="850588" y="268672"/>
                      </a:lnTo>
                      <a:lnTo>
                        <a:pt x="850588" y="280995"/>
                      </a:lnTo>
                      <a:lnTo>
                        <a:pt x="850588" y="293268"/>
                      </a:lnTo>
                      <a:lnTo>
                        <a:pt x="850588" y="305501"/>
                      </a:lnTo>
                      <a:lnTo>
                        <a:pt x="850588" y="317701"/>
                      </a:lnTo>
                      <a:lnTo>
                        <a:pt x="850588" y="329860"/>
                      </a:lnTo>
                      <a:lnTo>
                        <a:pt x="850588" y="341995"/>
                      </a:lnTo>
                      <a:lnTo>
                        <a:pt x="850588" y="354073"/>
                      </a:lnTo>
                      <a:lnTo>
                        <a:pt x="850588" y="366119"/>
                      </a:lnTo>
                      <a:lnTo>
                        <a:pt x="850588" y="378131"/>
                      </a:lnTo>
                      <a:lnTo>
                        <a:pt x="850588" y="390095"/>
                      </a:lnTo>
                      <a:lnTo>
                        <a:pt x="850588" y="402026"/>
                      </a:lnTo>
                      <a:lnTo>
                        <a:pt x="850588" y="413917"/>
                      </a:lnTo>
                      <a:lnTo>
                        <a:pt x="850588" y="425775"/>
                      </a:lnTo>
                      <a:lnTo>
                        <a:pt x="850588" y="437600"/>
                      </a:lnTo>
                      <a:lnTo>
                        <a:pt x="850588" y="449384"/>
                      </a:lnTo>
                      <a:lnTo>
                        <a:pt x="850588" y="461136"/>
                      </a:lnTo>
                      <a:lnTo>
                        <a:pt x="850588" y="472856"/>
                      </a:lnTo>
                      <a:lnTo>
                        <a:pt x="856529" y="474502"/>
                      </a:lnTo>
                      <a:lnTo>
                        <a:pt x="862413" y="476132"/>
                      </a:lnTo>
                      <a:lnTo>
                        <a:pt x="864214" y="472872"/>
                      </a:lnTo>
                      <a:lnTo>
                        <a:pt x="870554" y="475366"/>
                      </a:lnTo>
                      <a:lnTo>
                        <a:pt x="876104" y="477542"/>
                      </a:lnTo>
                      <a:lnTo>
                        <a:pt x="879641" y="474754"/>
                      </a:lnTo>
                      <a:lnTo>
                        <a:pt x="883472" y="471739"/>
                      </a:lnTo>
                      <a:lnTo>
                        <a:pt x="888639" y="471519"/>
                      </a:lnTo>
                      <a:lnTo>
                        <a:pt x="894425" y="471283"/>
                      </a:lnTo>
                      <a:lnTo>
                        <a:pt x="898280" y="471120"/>
                      </a:lnTo>
                      <a:lnTo>
                        <a:pt x="898280" y="473695"/>
                      </a:lnTo>
                      <a:lnTo>
                        <a:pt x="896846" y="477966"/>
                      </a:lnTo>
                      <a:lnTo>
                        <a:pt x="895656" y="481527"/>
                      </a:lnTo>
                      <a:lnTo>
                        <a:pt x="898850" y="484803"/>
                      </a:lnTo>
                      <a:lnTo>
                        <a:pt x="899176" y="485137"/>
                      </a:lnTo>
                      <a:lnTo>
                        <a:pt x="903512" y="487028"/>
                      </a:lnTo>
                      <a:lnTo>
                        <a:pt x="907562" y="488805"/>
                      </a:lnTo>
                      <a:lnTo>
                        <a:pt x="909380" y="493711"/>
                      </a:lnTo>
                      <a:lnTo>
                        <a:pt x="913813" y="497484"/>
                      </a:lnTo>
                      <a:lnTo>
                        <a:pt x="917187" y="500361"/>
                      </a:lnTo>
                      <a:lnTo>
                        <a:pt x="920415" y="503107"/>
                      </a:lnTo>
                      <a:lnTo>
                        <a:pt x="925027" y="507036"/>
                      </a:lnTo>
                      <a:lnTo>
                        <a:pt x="928271" y="509782"/>
                      </a:lnTo>
                      <a:lnTo>
                        <a:pt x="932574" y="513449"/>
                      </a:lnTo>
                      <a:lnTo>
                        <a:pt x="935133" y="515625"/>
                      </a:lnTo>
                      <a:lnTo>
                        <a:pt x="936364" y="519855"/>
                      </a:lnTo>
                      <a:lnTo>
                        <a:pt x="937847" y="524924"/>
                      </a:lnTo>
                      <a:lnTo>
                        <a:pt x="936934" y="527923"/>
                      </a:lnTo>
                      <a:lnTo>
                        <a:pt x="938971" y="528412"/>
                      </a:lnTo>
                      <a:lnTo>
                        <a:pt x="942965" y="525046"/>
                      </a:lnTo>
                      <a:lnTo>
                        <a:pt x="946714" y="522968"/>
                      </a:lnTo>
                      <a:lnTo>
                        <a:pt x="951351" y="520385"/>
                      </a:lnTo>
                      <a:lnTo>
                        <a:pt x="954472" y="518649"/>
                      </a:lnTo>
                      <a:lnTo>
                        <a:pt x="960291" y="518567"/>
                      </a:lnTo>
                      <a:lnTo>
                        <a:pt x="963070" y="513506"/>
                      </a:lnTo>
                      <a:lnTo>
                        <a:pt x="963070" y="506400"/>
                      </a:lnTo>
                      <a:lnTo>
                        <a:pt x="966012" y="506522"/>
                      </a:lnTo>
                      <a:lnTo>
                        <a:pt x="967740" y="505561"/>
                      </a:lnTo>
                      <a:lnTo>
                        <a:pt x="968506" y="503466"/>
                      </a:lnTo>
                      <a:lnTo>
                        <a:pt x="966656" y="500614"/>
                      </a:lnTo>
                      <a:lnTo>
                        <a:pt x="972231" y="499277"/>
                      </a:lnTo>
                      <a:lnTo>
                        <a:pt x="976265" y="498307"/>
                      </a:lnTo>
                      <a:lnTo>
                        <a:pt x="982018" y="495675"/>
                      </a:lnTo>
                      <a:lnTo>
                        <a:pt x="987634" y="493108"/>
                      </a:lnTo>
                      <a:lnTo>
                        <a:pt x="990315" y="495096"/>
                      </a:lnTo>
                      <a:lnTo>
                        <a:pt x="992972" y="497020"/>
                      </a:lnTo>
                      <a:lnTo>
                        <a:pt x="998171" y="501640"/>
                      </a:lnTo>
                      <a:lnTo>
                        <a:pt x="998530" y="502749"/>
                      </a:lnTo>
                      <a:lnTo>
                        <a:pt x="998179" y="504925"/>
                      </a:lnTo>
                      <a:lnTo>
                        <a:pt x="997674" y="507093"/>
                      </a:lnTo>
                      <a:lnTo>
                        <a:pt x="1000836" y="513172"/>
                      </a:lnTo>
                      <a:lnTo>
                        <a:pt x="1001741" y="513849"/>
                      </a:lnTo>
                      <a:lnTo>
                        <a:pt x="1004332" y="514696"/>
                      </a:lnTo>
                      <a:lnTo>
                        <a:pt x="1007437" y="516701"/>
                      </a:lnTo>
                      <a:lnTo>
                        <a:pt x="1008806" y="518437"/>
                      </a:lnTo>
                      <a:lnTo>
                        <a:pt x="1013305" y="521208"/>
                      </a:lnTo>
                      <a:lnTo>
                        <a:pt x="1014063" y="522357"/>
                      </a:lnTo>
                      <a:lnTo>
                        <a:pt x="1014495" y="524223"/>
                      </a:lnTo>
                      <a:lnTo>
                        <a:pt x="1015220" y="525821"/>
                      </a:lnTo>
                      <a:lnTo>
                        <a:pt x="1016068" y="526970"/>
                      </a:lnTo>
                      <a:lnTo>
                        <a:pt x="1016875" y="528600"/>
                      </a:lnTo>
                      <a:lnTo>
                        <a:pt x="1018814" y="530523"/>
                      </a:lnTo>
                      <a:lnTo>
                        <a:pt x="1022522" y="532658"/>
                      </a:lnTo>
                      <a:lnTo>
                        <a:pt x="1025082" y="534150"/>
                      </a:lnTo>
                      <a:lnTo>
                        <a:pt x="1028684" y="536236"/>
                      </a:lnTo>
                      <a:lnTo>
                        <a:pt x="1032319" y="540482"/>
                      </a:lnTo>
                      <a:lnTo>
                        <a:pt x="1035489" y="544166"/>
                      </a:lnTo>
                      <a:lnTo>
                        <a:pt x="1039091" y="547809"/>
                      </a:lnTo>
                      <a:lnTo>
                        <a:pt x="1038561" y="550702"/>
                      </a:lnTo>
                      <a:lnTo>
                        <a:pt x="1042212" y="555184"/>
                      </a:lnTo>
                      <a:lnTo>
                        <a:pt x="1046059" y="560873"/>
                      </a:lnTo>
                      <a:lnTo>
                        <a:pt x="1049009" y="565917"/>
                      </a:lnTo>
                      <a:lnTo>
                        <a:pt x="1051104" y="568729"/>
                      </a:lnTo>
                      <a:lnTo>
                        <a:pt x="1053614" y="572804"/>
                      </a:lnTo>
                      <a:lnTo>
                        <a:pt x="1056686" y="577783"/>
                      </a:lnTo>
                      <a:lnTo>
                        <a:pt x="1060191" y="583439"/>
                      </a:lnTo>
                      <a:lnTo>
                        <a:pt x="1062872" y="587074"/>
                      </a:lnTo>
                      <a:lnTo>
                        <a:pt x="1066360" y="592143"/>
                      </a:lnTo>
                      <a:lnTo>
                        <a:pt x="1068080" y="595167"/>
                      </a:lnTo>
                      <a:lnTo>
                        <a:pt x="1066906" y="597229"/>
                      </a:lnTo>
                      <a:lnTo>
                        <a:pt x="1065455" y="599788"/>
                      </a:lnTo>
                      <a:lnTo>
                        <a:pt x="1069946" y="600994"/>
                      </a:lnTo>
                      <a:lnTo>
                        <a:pt x="1073059" y="601841"/>
                      </a:lnTo>
                      <a:lnTo>
                        <a:pt x="1072285" y="604677"/>
                      </a:lnTo>
                      <a:lnTo>
                        <a:pt x="1071258" y="608418"/>
                      </a:lnTo>
                      <a:lnTo>
                        <a:pt x="1074771" y="609893"/>
                      </a:lnTo>
                      <a:lnTo>
                        <a:pt x="1077158" y="610896"/>
                      </a:lnTo>
                      <a:lnTo>
                        <a:pt x="1076669" y="612860"/>
                      </a:lnTo>
                      <a:lnTo>
                        <a:pt x="1077982" y="615077"/>
                      </a:lnTo>
                      <a:lnTo>
                        <a:pt x="1078193" y="618744"/>
                      </a:lnTo>
                      <a:lnTo>
                        <a:pt x="1082480" y="618499"/>
                      </a:lnTo>
                      <a:lnTo>
                        <a:pt x="1084371" y="618393"/>
                      </a:lnTo>
                      <a:lnTo>
                        <a:pt x="1086930" y="620015"/>
                      </a:lnTo>
                      <a:lnTo>
                        <a:pt x="1090312" y="622159"/>
                      </a:lnTo>
                      <a:lnTo>
                        <a:pt x="1093702" y="624172"/>
                      </a:lnTo>
                      <a:lnTo>
                        <a:pt x="1096587" y="625875"/>
                      </a:lnTo>
                      <a:lnTo>
                        <a:pt x="1100377" y="626894"/>
                      </a:lnTo>
                      <a:lnTo>
                        <a:pt x="1105055" y="628344"/>
                      </a:lnTo>
                      <a:lnTo>
                        <a:pt x="1107353" y="631319"/>
                      </a:lnTo>
                      <a:lnTo>
                        <a:pt x="1111615" y="632599"/>
                      </a:lnTo>
                      <a:lnTo>
                        <a:pt x="1113205" y="636755"/>
                      </a:lnTo>
                      <a:lnTo>
                        <a:pt x="1118127" y="638279"/>
                      </a:lnTo>
                      <a:lnTo>
                        <a:pt x="1121028" y="637268"/>
                      </a:lnTo>
                      <a:lnTo>
                        <a:pt x="1122063" y="638963"/>
                      </a:lnTo>
                      <a:lnTo>
                        <a:pt x="1122886" y="640903"/>
                      </a:lnTo>
                      <a:lnTo>
                        <a:pt x="1123107" y="643364"/>
                      </a:lnTo>
                      <a:lnTo>
                        <a:pt x="1122830" y="645752"/>
                      </a:lnTo>
                      <a:lnTo>
                        <a:pt x="1121599" y="647757"/>
                      </a:lnTo>
                      <a:lnTo>
                        <a:pt x="1120678" y="649909"/>
                      </a:lnTo>
                      <a:lnTo>
                        <a:pt x="1120059" y="652223"/>
                      </a:lnTo>
                      <a:lnTo>
                        <a:pt x="1119822" y="654709"/>
                      </a:lnTo>
                      <a:lnTo>
                        <a:pt x="1119977" y="657366"/>
                      </a:lnTo>
                      <a:lnTo>
                        <a:pt x="1120474" y="659680"/>
                      </a:lnTo>
                      <a:lnTo>
                        <a:pt x="1121990" y="663959"/>
                      </a:lnTo>
                      <a:lnTo>
                        <a:pt x="1122487" y="666583"/>
                      </a:lnTo>
                      <a:lnTo>
                        <a:pt x="1122561" y="668327"/>
                      </a:lnTo>
                      <a:lnTo>
                        <a:pt x="1119195" y="674464"/>
                      </a:lnTo>
                      <a:lnTo>
                        <a:pt x="1118037" y="677389"/>
                      </a:lnTo>
                      <a:lnTo>
                        <a:pt x="1118143" y="678702"/>
                      </a:lnTo>
                      <a:lnTo>
                        <a:pt x="1115707" y="681749"/>
                      </a:lnTo>
                      <a:lnTo>
                        <a:pt x="1111224" y="685996"/>
                      </a:lnTo>
                      <a:lnTo>
                        <a:pt x="1109187" y="688440"/>
                      </a:lnTo>
                      <a:lnTo>
                        <a:pt x="1108184" y="687634"/>
                      </a:lnTo>
                      <a:lnTo>
                        <a:pt x="1102382" y="686998"/>
                      </a:lnTo>
                      <a:lnTo>
                        <a:pt x="1100271" y="681562"/>
                      </a:lnTo>
                      <a:lnTo>
                        <a:pt x="1099146" y="677349"/>
                      </a:lnTo>
                      <a:lnTo>
                        <a:pt x="1097451" y="673673"/>
                      </a:lnTo>
                      <a:lnTo>
                        <a:pt x="1097508" y="672842"/>
                      </a:lnTo>
                      <a:lnTo>
                        <a:pt x="1099040" y="670381"/>
                      </a:lnTo>
                      <a:lnTo>
                        <a:pt x="1104835" y="668360"/>
                      </a:lnTo>
                      <a:lnTo>
                        <a:pt x="1104884" y="667553"/>
                      </a:lnTo>
                      <a:lnTo>
                        <a:pt x="1102732" y="667015"/>
                      </a:lnTo>
                      <a:lnTo>
                        <a:pt x="1102219" y="666135"/>
                      </a:lnTo>
                      <a:lnTo>
                        <a:pt x="1101624" y="662149"/>
                      </a:lnTo>
                      <a:lnTo>
                        <a:pt x="1101787" y="658645"/>
                      </a:lnTo>
                      <a:lnTo>
                        <a:pt x="1101624" y="656322"/>
                      </a:lnTo>
                      <a:lnTo>
                        <a:pt x="1100654" y="651571"/>
                      </a:lnTo>
                      <a:lnTo>
                        <a:pt x="1099212" y="648662"/>
                      </a:lnTo>
                      <a:lnTo>
                        <a:pt x="1095471" y="642973"/>
                      </a:lnTo>
                      <a:lnTo>
                        <a:pt x="1095161" y="641539"/>
                      </a:lnTo>
                      <a:lnTo>
                        <a:pt x="1096799" y="639738"/>
                      </a:lnTo>
                      <a:lnTo>
                        <a:pt x="1097826" y="638051"/>
                      </a:lnTo>
                      <a:lnTo>
                        <a:pt x="1091502" y="640968"/>
                      </a:lnTo>
                      <a:lnTo>
                        <a:pt x="1082879" y="644033"/>
                      </a:lnTo>
                      <a:lnTo>
                        <a:pt x="1079188" y="646168"/>
                      </a:lnTo>
                      <a:lnTo>
                        <a:pt x="1078413" y="647032"/>
                      </a:lnTo>
                      <a:lnTo>
                        <a:pt x="1078153" y="647749"/>
                      </a:lnTo>
                      <a:lnTo>
                        <a:pt x="1078821" y="649770"/>
                      </a:lnTo>
                      <a:lnTo>
                        <a:pt x="1078715" y="650422"/>
                      </a:lnTo>
                      <a:lnTo>
                        <a:pt x="1077965" y="651612"/>
                      </a:lnTo>
                      <a:lnTo>
                        <a:pt x="1077085" y="654970"/>
                      </a:lnTo>
                      <a:lnTo>
                        <a:pt x="1075202" y="658539"/>
                      </a:lnTo>
                      <a:lnTo>
                        <a:pt x="1074257" y="659264"/>
                      </a:lnTo>
                      <a:lnTo>
                        <a:pt x="1070891" y="657936"/>
                      </a:lnTo>
                      <a:lnTo>
                        <a:pt x="1069987" y="656795"/>
                      </a:lnTo>
                      <a:lnTo>
                        <a:pt x="1068300" y="652142"/>
                      </a:lnTo>
                      <a:lnTo>
                        <a:pt x="1068691" y="650911"/>
                      </a:lnTo>
                      <a:lnTo>
                        <a:pt x="1069921" y="649860"/>
                      </a:lnTo>
                      <a:lnTo>
                        <a:pt x="1071592" y="647610"/>
                      </a:lnTo>
                      <a:lnTo>
                        <a:pt x="1073703" y="644130"/>
                      </a:lnTo>
                      <a:lnTo>
                        <a:pt x="1077721" y="635296"/>
                      </a:lnTo>
                      <a:lnTo>
                        <a:pt x="1080345" y="635255"/>
                      </a:lnTo>
                      <a:lnTo>
                        <a:pt x="1084974" y="633503"/>
                      </a:lnTo>
                      <a:lnTo>
                        <a:pt x="1077704" y="632623"/>
                      </a:lnTo>
                      <a:lnTo>
                        <a:pt x="1076620" y="632158"/>
                      </a:lnTo>
                      <a:lnTo>
                        <a:pt x="1075643" y="630952"/>
                      </a:lnTo>
                      <a:lnTo>
                        <a:pt x="1074779" y="628996"/>
                      </a:lnTo>
                      <a:lnTo>
                        <a:pt x="1073295" y="626828"/>
                      </a:lnTo>
                      <a:lnTo>
                        <a:pt x="1070541" y="626062"/>
                      </a:lnTo>
                      <a:lnTo>
                        <a:pt x="1069335" y="625264"/>
                      </a:lnTo>
                      <a:lnTo>
                        <a:pt x="1067509" y="622623"/>
                      </a:lnTo>
                      <a:lnTo>
                        <a:pt x="1066287" y="621433"/>
                      </a:lnTo>
                      <a:lnTo>
                        <a:pt x="1065618" y="619966"/>
                      </a:lnTo>
                      <a:lnTo>
                        <a:pt x="1065504" y="618222"/>
                      </a:lnTo>
                      <a:lnTo>
                        <a:pt x="1064983" y="617334"/>
                      </a:lnTo>
                      <a:lnTo>
                        <a:pt x="1063076" y="617016"/>
                      </a:lnTo>
                      <a:lnTo>
                        <a:pt x="1062049" y="616413"/>
                      </a:lnTo>
                      <a:lnTo>
                        <a:pt x="1061772" y="611898"/>
                      </a:lnTo>
                      <a:lnTo>
                        <a:pt x="1057990" y="610733"/>
                      </a:lnTo>
                      <a:lnTo>
                        <a:pt x="1056442" y="609730"/>
                      </a:lnTo>
                      <a:lnTo>
                        <a:pt x="1053956" y="606911"/>
                      </a:lnTo>
                      <a:lnTo>
                        <a:pt x="1053280" y="605541"/>
                      </a:lnTo>
                      <a:lnTo>
                        <a:pt x="1053051" y="604392"/>
                      </a:lnTo>
                      <a:lnTo>
                        <a:pt x="1053663" y="601271"/>
                      </a:lnTo>
                      <a:lnTo>
                        <a:pt x="1053402" y="600684"/>
                      </a:lnTo>
                      <a:lnTo>
                        <a:pt x="1051202" y="601002"/>
                      </a:lnTo>
                      <a:lnTo>
                        <a:pt x="1037494" y="596161"/>
                      </a:lnTo>
                      <a:lnTo>
                        <a:pt x="1038219" y="589763"/>
                      </a:lnTo>
                      <a:lnTo>
                        <a:pt x="1035676" y="581304"/>
                      </a:lnTo>
                      <a:lnTo>
                        <a:pt x="1032962" y="577873"/>
                      </a:lnTo>
                      <a:lnTo>
                        <a:pt x="1033500" y="576537"/>
                      </a:lnTo>
                      <a:lnTo>
                        <a:pt x="1034087" y="575836"/>
                      </a:lnTo>
                      <a:lnTo>
                        <a:pt x="1035309" y="575819"/>
                      </a:lnTo>
                      <a:lnTo>
                        <a:pt x="1040558" y="578313"/>
                      </a:lnTo>
                      <a:lnTo>
                        <a:pt x="1045513" y="581280"/>
                      </a:lnTo>
                      <a:lnTo>
                        <a:pt x="1046157" y="580848"/>
                      </a:lnTo>
                      <a:lnTo>
                        <a:pt x="1038252" y="574564"/>
                      </a:lnTo>
                      <a:lnTo>
                        <a:pt x="1036271" y="572690"/>
                      </a:lnTo>
                      <a:lnTo>
                        <a:pt x="1035782" y="570432"/>
                      </a:lnTo>
                      <a:lnTo>
                        <a:pt x="1035750" y="569226"/>
                      </a:lnTo>
                      <a:lnTo>
                        <a:pt x="1036377" y="568591"/>
                      </a:lnTo>
                      <a:lnTo>
                        <a:pt x="1043793" y="569153"/>
                      </a:lnTo>
                      <a:lnTo>
                        <a:pt x="1044233" y="568680"/>
                      </a:lnTo>
                      <a:lnTo>
                        <a:pt x="1036711" y="566838"/>
                      </a:lnTo>
                      <a:lnTo>
                        <a:pt x="1035179" y="566846"/>
                      </a:lnTo>
                      <a:lnTo>
                        <a:pt x="1033525" y="569487"/>
                      </a:lnTo>
                      <a:lnTo>
                        <a:pt x="1032750" y="570114"/>
                      </a:lnTo>
                      <a:lnTo>
                        <a:pt x="1031137" y="569984"/>
                      </a:lnTo>
                      <a:lnTo>
                        <a:pt x="1030599" y="569577"/>
                      </a:lnTo>
                      <a:lnTo>
                        <a:pt x="1028684" y="566382"/>
                      </a:lnTo>
                      <a:lnTo>
                        <a:pt x="1026875" y="564157"/>
                      </a:lnTo>
                      <a:lnTo>
                        <a:pt x="1023484" y="561068"/>
                      </a:lnTo>
                      <a:lnTo>
                        <a:pt x="1022849" y="558868"/>
                      </a:lnTo>
                      <a:lnTo>
                        <a:pt x="1022677" y="555632"/>
                      </a:lnTo>
                      <a:lnTo>
                        <a:pt x="1023126" y="552568"/>
                      </a:lnTo>
                      <a:lnTo>
                        <a:pt x="1025896" y="545551"/>
                      </a:lnTo>
                      <a:lnTo>
                        <a:pt x="1027013" y="544337"/>
                      </a:lnTo>
                      <a:lnTo>
                        <a:pt x="1027315" y="543579"/>
                      </a:lnTo>
                      <a:lnTo>
                        <a:pt x="1026459" y="543701"/>
                      </a:lnTo>
                      <a:lnTo>
                        <a:pt x="1025644" y="544361"/>
                      </a:lnTo>
                      <a:lnTo>
                        <a:pt x="1023354" y="547629"/>
                      </a:lnTo>
                      <a:lnTo>
                        <a:pt x="1020990" y="552967"/>
                      </a:lnTo>
                      <a:lnTo>
                        <a:pt x="1019067" y="554793"/>
                      </a:lnTo>
                      <a:lnTo>
                        <a:pt x="1017861" y="554353"/>
                      </a:lnTo>
                      <a:lnTo>
                        <a:pt x="1016027" y="552177"/>
                      </a:lnTo>
                      <a:lnTo>
                        <a:pt x="1012205" y="549512"/>
                      </a:lnTo>
                      <a:lnTo>
                        <a:pt x="1007788" y="548827"/>
                      </a:lnTo>
                      <a:lnTo>
                        <a:pt x="1004993" y="546114"/>
                      </a:lnTo>
                      <a:lnTo>
                        <a:pt x="1000869" y="538542"/>
                      </a:lnTo>
                      <a:lnTo>
                        <a:pt x="1000315" y="534761"/>
                      </a:lnTo>
                      <a:lnTo>
                        <a:pt x="999785" y="533840"/>
                      </a:lnTo>
                      <a:lnTo>
                        <a:pt x="997552" y="532610"/>
                      </a:lnTo>
                      <a:lnTo>
                        <a:pt x="996175" y="530792"/>
                      </a:lnTo>
                      <a:lnTo>
                        <a:pt x="994055" y="521558"/>
                      </a:lnTo>
                      <a:lnTo>
                        <a:pt x="991260" y="515120"/>
                      </a:lnTo>
                      <a:lnTo>
                        <a:pt x="990559" y="511722"/>
                      </a:lnTo>
                      <a:lnTo>
                        <a:pt x="990796" y="508348"/>
                      </a:lnTo>
                      <a:lnTo>
                        <a:pt x="990437" y="507973"/>
                      </a:lnTo>
                      <a:lnTo>
                        <a:pt x="989467" y="510597"/>
                      </a:lnTo>
                      <a:lnTo>
                        <a:pt x="989215" y="511974"/>
                      </a:lnTo>
                      <a:lnTo>
                        <a:pt x="987446" y="512357"/>
                      </a:lnTo>
                      <a:lnTo>
                        <a:pt x="989117" y="515022"/>
                      </a:lnTo>
                      <a:lnTo>
                        <a:pt x="989532" y="516359"/>
                      </a:lnTo>
                      <a:lnTo>
                        <a:pt x="988701" y="516245"/>
                      </a:lnTo>
                      <a:lnTo>
                        <a:pt x="986998" y="516579"/>
                      </a:lnTo>
                      <a:lnTo>
                        <a:pt x="989883" y="521126"/>
                      </a:lnTo>
                      <a:lnTo>
                        <a:pt x="991170" y="528151"/>
                      </a:lnTo>
                      <a:lnTo>
                        <a:pt x="993078" y="533359"/>
                      </a:lnTo>
                      <a:lnTo>
                        <a:pt x="994316" y="537573"/>
                      </a:lnTo>
                      <a:lnTo>
                        <a:pt x="994871" y="540767"/>
                      </a:lnTo>
                      <a:lnTo>
                        <a:pt x="995677" y="543823"/>
                      </a:lnTo>
                      <a:lnTo>
                        <a:pt x="997902" y="550555"/>
                      </a:lnTo>
                      <a:lnTo>
                        <a:pt x="998212" y="551900"/>
                      </a:lnTo>
                      <a:lnTo>
                        <a:pt x="997943" y="552984"/>
                      </a:lnTo>
                      <a:lnTo>
                        <a:pt x="997210" y="554288"/>
                      </a:lnTo>
                      <a:lnTo>
                        <a:pt x="995938" y="554777"/>
                      </a:lnTo>
                      <a:lnTo>
                        <a:pt x="991937" y="553897"/>
                      </a:lnTo>
                      <a:lnTo>
                        <a:pt x="990437" y="552234"/>
                      </a:lnTo>
                      <a:lnTo>
                        <a:pt x="988286" y="549178"/>
                      </a:lnTo>
                      <a:lnTo>
                        <a:pt x="985262" y="547768"/>
                      </a:lnTo>
                      <a:lnTo>
                        <a:pt x="977781" y="548461"/>
                      </a:lnTo>
                      <a:lnTo>
                        <a:pt x="977186" y="548224"/>
                      </a:lnTo>
                      <a:lnTo>
                        <a:pt x="977210" y="545722"/>
                      </a:lnTo>
                      <a:lnTo>
                        <a:pt x="978066" y="541273"/>
                      </a:lnTo>
                      <a:lnTo>
                        <a:pt x="977381" y="539472"/>
                      </a:lnTo>
                      <a:lnTo>
                        <a:pt x="973510" y="532911"/>
                      </a:lnTo>
                      <a:lnTo>
                        <a:pt x="973567" y="531631"/>
                      </a:lnTo>
                      <a:lnTo>
                        <a:pt x="978946" y="528616"/>
                      </a:lnTo>
                      <a:lnTo>
                        <a:pt x="976338" y="528388"/>
                      </a:lnTo>
                      <a:lnTo>
                        <a:pt x="974227" y="529561"/>
                      </a:lnTo>
                      <a:lnTo>
                        <a:pt x="973412" y="528803"/>
                      </a:lnTo>
                      <a:lnTo>
                        <a:pt x="972149" y="524590"/>
                      </a:lnTo>
                      <a:lnTo>
                        <a:pt x="971326" y="523017"/>
                      </a:lnTo>
                      <a:lnTo>
                        <a:pt x="970918" y="522683"/>
                      </a:lnTo>
                      <a:lnTo>
                        <a:pt x="970682" y="526685"/>
                      </a:lnTo>
                      <a:lnTo>
                        <a:pt x="971579" y="528795"/>
                      </a:lnTo>
                      <a:lnTo>
                        <a:pt x="971701" y="530018"/>
                      </a:lnTo>
                      <a:lnTo>
                        <a:pt x="971562" y="531713"/>
                      </a:lnTo>
                      <a:lnTo>
                        <a:pt x="971000" y="532927"/>
                      </a:lnTo>
                      <a:lnTo>
                        <a:pt x="970014" y="533661"/>
                      </a:lnTo>
                      <a:lnTo>
                        <a:pt x="969028" y="533848"/>
                      </a:lnTo>
                      <a:lnTo>
                        <a:pt x="967210" y="533001"/>
                      </a:lnTo>
                      <a:lnTo>
                        <a:pt x="965197" y="531403"/>
                      </a:lnTo>
                      <a:lnTo>
                        <a:pt x="963437" y="530662"/>
                      </a:lnTo>
                      <a:lnTo>
                        <a:pt x="962777" y="530018"/>
                      </a:lnTo>
                      <a:lnTo>
                        <a:pt x="961946" y="528249"/>
                      </a:lnTo>
                      <a:lnTo>
                        <a:pt x="960585" y="526921"/>
                      </a:lnTo>
                      <a:lnTo>
                        <a:pt x="954016" y="525226"/>
                      </a:lnTo>
                      <a:lnTo>
                        <a:pt x="950096" y="523229"/>
                      </a:lnTo>
                      <a:lnTo>
                        <a:pt x="949770" y="523751"/>
                      </a:lnTo>
                      <a:lnTo>
                        <a:pt x="950992" y="525894"/>
                      </a:lnTo>
                      <a:lnTo>
                        <a:pt x="951115" y="527149"/>
                      </a:lnTo>
                      <a:lnTo>
                        <a:pt x="950120" y="527532"/>
                      </a:lnTo>
                      <a:lnTo>
                        <a:pt x="948352" y="529570"/>
                      </a:lnTo>
                      <a:lnTo>
                        <a:pt x="948865" y="529847"/>
                      </a:lnTo>
                      <a:lnTo>
                        <a:pt x="950732" y="529178"/>
                      </a:lnTo>
                      <a:lnTo>
                        <a:pt x="952818" y="529260"/>
                      </a:lnTo>
                      <a:lnTo>
                        <a:pt x="956265" y="530490"/>
                      </a:lnTo>
                      <a:lnTo>
                        <a:pt x="959395" y="532104"/>
                      </a:lnTo>
                      <a:lnTo>
                        <a:pt x="960528" y="533009"/>
                      </a:lnTo>
                      <a:lnTo>
                        <a:pt x="961000" y="534345"/>
                      </a:lnTo>
                      <a:lnTo>
                        <a:pt x="961391" y="534826"/>
                      </a:lnTo>
                      <a:lnTo>
                        <a:pt x="964448" y="536383"/>
                      </a:lnTo>
                      <a:lnTo>
                        <a:pt x="964594" y="537206"/>
                      </a:lnTo>
                      <a:lnTo>
                        <a:pt x="962614" y="539659"/>
                      </a:lnTo>
                      <a:lnTo>
                        <a:pt x="966681" y="539390"/>
                      </a:lnTo>
                      <a:lnTo>
                        <a:pt x="969044" y="540262"/>
                      </a:lnTo>
                      <a:lnTo>
                        <a:pt x="972059" y="544035"/>
                      </a:lnTo>
                      <a:lnTo>
                        <a:pt x="973086" y="546146"/>
                      </a:lnTo>
                      <a:lnTo>
                        <a:pt x="973225" y="548836"/>
                      </a:lnTo>
                      <a:lnTo>
                        <a:pt x="972597" y="549634"/>
                      </a:lnTo>
                      <a:lnTo>
                        <a:pt x="971391" y="550172"/>
                      </a:lnTo>
                      <a:lnTo>
                        <a:pt x="963135" y="551052"/>
                      </a:lnTo>
                      <a:lnTo>
                        <a:pt x="960153" y="554296"/>
                      </a:lnTo>
                      <a:lnTo>
                        <a:pt x="959541" y="554337"/>
                      </a:lnTo>
                      <a:lnTo>
                        <a:pt x="957276" y="553465"/>
                      </a:lnTo>
                      <a:lnTo>
                        <a:pt x="953152" y="550873"/>
                      </a:lnTo>
                      <a:lnTo>
                        <a:pt x="948018" y="548412"/>
                      </a:lnTo>
                      <a:lnTo>
                        <a:pt x="936315" y="541101"/>
                      </a:lnTo>
                      <a:lnTo>
                        <a:pt x="935989" y="540759"/>
                      </a:lnTo>
                      <a:lnTo>
                        <a:pt x="935793" y="539341"/>
                      </a:lnTo>
                      <a:lnTo>
                        <a:pt x="934994" y="538624"/>
                      </a:lnTo>
                      <a:lnTo>
                        <a:pt x="933405" y="538005"/>
                      </a:lnTo>
                      <a:lnTo>
                        <a:pt x="931197" y="536146"/>
                      </a:lnTo>
                      <a:lnTo>
                        <a:pt x="928377" y="533058"/>
                      </a:lnTo>
                      <a:lnTo>
                        <a:pt x="926633" y="530637"/>
                      </a:lnTo>
                      <a:lnTo>
                        <a:pt x="925973" y="528893"/>
                      </a:lnTo>
                      <a:lnTo>
                        <a:pt x="924326" y="526905"/>
                      </a:lnTo>
                      <a:lnTo>
                        <a:pt x="919029" y="522740"/>
                      </a:lnTo>
                      <a:lnTo>
                        <a:pt x="916258" y="521135"/>
                      </a:lnTo>
                      <a:lnTo>
                        <a:pt x="913805" y="520238"/>
                      </a:lnTo>
                      <a:lnTo>
                        <a:pt x="911678" y="520034"/>
                      </a:lnTo>
                      <a:lnTo>
                        <a:pt x="911108" y="519480"/>
                      </a:lnTo>
                      <a:lnTo>
                        <a:pt x="912094" y="518567"/>
                      </a:lnTo>
                      <a:lnTo>
                        <a:pt x="912240" y="518030"/>
                      </a:lnTo>
                      <a:lnTo>
                        <a:pt x="907546" y="517174"/>
                      </a:lnTo>
                      <a:lnTo>
                        <a:pt x="903080" y="515218"/>
                      </a:lnTo>
                      <a:lnTo>
                        <a:pt x="891752" y="509717"/>
                      </a:lnTo>
                      <a:lnTo>
                        <a:pt x="885900" y="506269"/>
                      </a:lnTo>
                      <a:lnTo>
                        <a:pt x="882494" y="504623"/>
                      </a:lnTo>
                      <a:lnTo>
                        <a:pt x="881035" y="503694"/>
                      </a:lnTo>
                      <a:lnTo>
                        <a:pt x="880391" y="502936"/>
                      </a:lnTo>
                      <a:lnTo>
                        <a:pt x="881214" y="502154"/>
                      </a:lnTo>
                      <a:lnTo>
                        <a:pt x="883496" y="501331"/>
                      </a:lnTo>
                      <a:lnTo>
                        <a:pt x="885045" y="500394"/>
                      </a:lnTo>
                      <a:lnTo>
                        <a:pt x="887490" y="496905"/>
                      </a:lnTo>
                      <a:lnTo>
                        <a:pt x="887669" y="495781"/>
                      </a:lnTo>
                      <a:lnTo>
                        <a:pt x="886357" y="493238"/>
                      </a:lnTo>
                      <a:lnTo>
                        <a:pt x="885770" y="490924"/>
                      </a:lnTo>
                      <a:lnTo>
                        <a:pt x="885794" y="489636"/>
                      </a:lnTo>
                      <a:lnTo>
                        <a:pt x="886096" y="488365"/>
                      </a:lnTo>
                      <a:lnTo>
                        <a:pt x="886471" y="487525"/>
                      </a:lnTo>
                      <a:lnTo>
                        <a:pt x="887506" y="486718"/>
                      </a:lnTo>
                      <a:lnTo>
                        <a:pt x="888231" y="486311"/>
                      </a:lnTo>
                      <a:lnTo>
                        <a:pt x="889128" y="486588"/>
                      </a:lnTo>
                      <a:lnTo>
                        <a:pt x="892005" y="489774"/>
                      </a:lnTo>
                      <a:lnTo>
                        <a:pt x="892404" y="490940"/>
                      </a:lnTo>
                      <a:lnTo>
                        <a:pt x="892265" y="495292"/>
                      </a:lnTo>
                      <a:lnTo>
                        <a:pt x="893097" y="500377"/>
                      </a:lnTo>
                      <a:lnTo>
                        <a:pt x="893357" y="500011"/>
                      </a:lnTo>
                      <a:lnTo>
                        <a:pt x="893626" y="498324"/>
                      </a:lnTo>
                      <a:lnTo>
                        <a:pt x="893798" y="495112"/>
                      </a:lnTo>
                      <a:lnTo>
                        <a:pt x="894124" y="493564"/>
                      </a:lnTo>
                      <a:lnTo>
                        <a:pt x="894743" y="492065"/>
                      </a:lnTo>
                      <a:lnTo>
                        <a:pt x="895786" y="491266"/>
                      </a:lnTo>
                      <a:lnTo>
                        <a:pt x="899021" y="491722"/>
                      </a:lnTo>
                      <a:lnTo>
                        <a:pt x="900521" y="491453"/>
                      </a:lnTo>
                      <a:lnTo>
                        <a:pt x="894205" y="489155"/>
                      </a:lnTo>
                      <a:lnTo>
                        <a:pt x="890244" y="484836"/>
                      </a:lnTo>
                      <a:lnTo>
                        <a:pt x="889527" y="484379"/>
                      </a:lnTo>
                      <a:lnTo>
                        <a:pt x="887359" y="484184"/>
                      </a:lnTo>
                      <a:lnTo>
                        <a:pt x="885061" y="485928"/>
                      </a:lnTo>
                      <a:lnTo>
                        <a:pt x="879144" y="491624"/>
                      </a:lnTo>
                      <a:lnTo>
                        <a:pt x="877490" y="492619"/>
                      </a:lnTo>
                      <a:lnTo>
                        <a:pt x="870049" y="495773"/>
                      </a:lnTo>
                      <a:lnTo>
                        <a:pt x="865013" y="496400"/>
                      </a:lnTo>
                      <a:lnTo>
                        <a:pt x="859349" y="495911"/>
                      </a:lnTo>
                      <a:lnTo>
                        <a:pt x="854516" y="494884"/>
                      </a:lnTo>
                      <a:lnTo>
                        <a:pt x="842389" y="489913"/>
                      </a:lnTo>
                      <a:lnTo>
                        <a:pt x="840498" y="488756"/>
                      </a:lnTo>
                      <a:lnTo>
                        <a:pt x="843318" y="485675"/>
                      </a:lnTo>
                      <a:lnTo>
                        <a:pt x="843432" y="484705"/>
                      </a:lnTo>
                      <a:lnTo>
                        <a:pt x="842446" y="481568"/>
                      </a:lnTo>
                      <a:lnTo>
                        <a:pt x="841639" y="480671"/>
                      </a:lnTo>
                      <a:lnTo>
                        <a:pt x="840482" y="480174"/>
                      </a:lnTo>
                      <a:lnTo>
                        <a:pt x="840156" y="480524"/>
                      </a:lnTo>
                      <a:lnTo>
                        <a:pt x="840148" y="481462"/>
                      </a:lnTo>
                      <a:lnTo>
                        <a:pt x="840457" y="483181"/>
                      </a:lnTo>
                      <a:lnTo>
                        <a:pt x="839528" y="484094"/>
                      </a:lnTo>
                      <a:lnTo>
                        <a:pt x="837467" y="485072"/>
                      </a:lnTo>
                      <a:lnTo>
                        <a:pt x="833995" y="486074"/>
                      </a:lnTo>
                      <a:lnTo>
                        <a:pt x="823229" y="483532"/>
                      </a:lnTo>
                      <a:lnTo>
                        <a:pt x="812211" y="481429"/>
                      </a:lnTo>
                      <a:lnTo>
                        <a:pt x="802366" y="480997"/>
                      </a:lnTo>
                      <a:lnTo>
                        <a:pt x="788462" y="482676"/>
                      </a:lnTo>
                      <a:lnTo>
                        <a:pt x="781046" y="484355"/>
                      </a:lnTo>
                      <a:lnTo>
                        <a:pt x="776718" y="484526"/>
                      </a:lnTo>
                      <a:lnTo>
                        <a:pt x="772554" y="484216"/>
                      </a:lnTo>
                      <a:lnTo>
                        <a:pt x="772212" y="483043"/>
                      </a:lnTo>
                      <a:lnTo>
                        <a:pt x="774111" y="482366"/>
                      </a:lnTo>
                      <a:lnTo>
                        <a:pt x="774005" y="481519"/>
                      </a:lnTo>
                      <a:lnTo>
                        <a:pt x="771600" y="478854"/>
                      </a:lnTo>
                      <a:lnTo>
                        <a:pt x="767949" y="477248"/>
                      </a:lnTo>
                      <a:lnTo>
                        <a:pt x="763051" y="476678"/>
                      </a:lnTo>
                      <a:lnTo>
                        <a:pt x="760248" y="475895"/>
                      </a:lnTo>
                      <a:lnTo>
                        <a:pt x="759539" y="474909"/>
                      </a:lnTo>
                      <a:lnTo>
                        <a:pt x="757803" y="473972"/>
                      </a:lnTo>
                      <a:lnTo>
                        <a:pt x="755056" y="473076"/>
                      </a:lnTo>
                      <a:lnTo>
                        <a:pt x="753842" y="471470"/>
                      </a:lnTo>
                      <a:lnTo>
                        <a:pt x="754804" y="466499"/>
                      </a:lnTo>
                      <a:lnTo>
                        <a:pt x="755749" y="463516"/>
                      </a:lnTo>
                      <a:lnTo>
                        <a:pt x="756695" y="461470"/>
                      </a:lnTo>
                      <a:lnTo>
                        <a:pt x="759058" y="458072"/>
                      </a:lnTo>
                      <a:lnTo>
                        <a:pt x="758235" y="458325"/>
                      </a:lnTo>
                      <a:lnTo>
                        <a:pt x="754804" y="460818"/>
                      </a:lnTo>
                      <a:lnTo>
                        <a:pt x="751805" y="463394"/>
                      </a:lnTo>
                      <a:lnTo>
                        <a:pt x="749026" y="466727"/>
                      </a:lnTo>
                      <a:lnTo>
                        <a:pt x="747371" y="468259"/>
                      </a:lnTo>
                      <a:lnTo>
                        <a:pt x="745244" y="469669"/>
                      </a:lnTo>
                      <a:lnTo>
                        <a:pt x="741935" y="469335"/>
                      </a:lnTo>
                      <a:lnTo>
                        <a:pt x="737437" y="467240"/>
                      </a:lnTo>
                      <a:lnTo>
                        <a:pt x="733582" y="466173"/>
                      </a:lnTo>
                      <a:lnTo>
                        <a:pt x="730371" y="466108"/>
                      </a:lnTo>
                      <a:lnTo>
                        <a:pt x="729108" y="465749"/>
                      </a:lnTo>
                      <a:lnTo>
                        <a:pt x="731292" y="463883"/>
                      </a:lnTo>
                      <a:lnTo>
                        <a:pt x="732555" y="462383"/>
                      </a:lnTo>
                      <a:lnTo>
                        <a:pt x="734275" y="459971"/>
                      </a:lnTo>
                      <a:lnTo>
                        <a:pt x="734650" y="458805"/>
                      </a:lnTo>
                      <a:lnTo>
                        <a:pt x="722889" y="458414"/>
                      </a:lnTo>
                      <a:lnTo>
                        <a:pt x="722458" y="457143"/>
                      </a:lnTo>
                      <a:lnTo>
                        <a:pt x="722441" y="456206"/>
                      </a:lnTo>
                      <a:lnTo>
                        <a:pt x="722066" y="455431"/>
                      </a:lnTo>
                      <a:lnTo>
                        <a:pt x="720363" y="454861"/>
                      </a:lnTo>
                      <a:lnTo>
                        <a:pt x="717983" y="455301"/>
                      </a:lnTo>
                      <a:lnTo>
                        <a:pt x="714120" y="456809"/>
                      </a:lnTo>
                      <a:lnTo>
                        <a:pt x="712441" y="455668"/>
                      </a:lnTo>
                      <a:lnTo>
                        <a:pt x="713036" y="455024"/>
                      </a:lnTo>
                      <a:lnTo>
                        <a:pt x="714300" y="454551"/>
                      </a:lnTo>
                      <a:lnTo>
                        <a:pt x="716867" y="452375"/>
                      </a:lnTo>
                      <a:lnTo>
                        <a:pt x="713395" y="451242"/>
                      </a:lnTo>
                      <a:lnTo>
                        <a:pt x="711618" y="449955"/>
                      </a:lnTo>
                      <a:lnTo>
                        <a:pt x="710755" y="448895"/>
                      </a:lnTo>
                      <a:lnTo>
                        <a:pt x="710820" y="445057"/>
                      </a:lnTo>
                      <a:lnTo>
                        <a:pt x="711732" y="442596"/>
                      </a:lnTo>
                      <a:lnTo>
                        <a:pt x="719524" y="440216"/>
                      </a:lnTo>
                      <a:lnTo>
                        <a:pt x="717054" y="439279"/>
                      </a:lnTo>
                      <a:lnTo>
                        <a:pt x="712132" y="439597"/>
                      </a:lnTo>
                      <a:lnTo>
                        <a:pt x="708831" y="441634"/>
                      </a:lnTo>
                      <a:lnTo>
                        <a:pt x="704911" y="444560"/>
                      </a:lnTo>
                      <a:lnTo>
                        <a:pt x="702279" y="445652"/>
                      </a:lnTo>
                      <a:lnTo>
                        <a:pt x="700934" y="444910"/>
                      </a:lnTo>
                      <a:lnTo>
                        <a:pt x="699157" y="444658"/>
                      </a:lnTo>
                      <a:lnTo>
                        <a:pt x="696949" y="444886"/>
                      </a:lnTo>
                      <a:lnTo>
                        <a:pt x="695466" y="445627"/>
                      </a:lnTo>
                      <a:lnTo>
                        <a:pt x="694708" y="446899"/>
                      </a:lnTo>
                      <a:lnTo>
                        <a:pt x="693828" y="447754"/>
                      </a:lnTo>
                      <a:lnTo>
                        <a:pt x="692825" y="448203"/>
                      </a:lnTo>
                      <a:lnTo>
                        <a:pt x="692108" y="448064"/>
                      </a:lnTo>
                      <a:lnTo>
                        <a:pt x="691048" y="446760"/>
                      </a:lnTo>
                      <a:lnTo>
                        <a:pt x="688824" y="445945"/>
                      </a:lnTo>
                      <a:lnTo>
                        <a:pt x="687732" y="444959"/>
                      </a:lnTo>
                      <a:lnTo>
                        <a:pt x="687104" y="445587"/>
                      </a:lnTo>
                      <a:lnTo>
                        <a:pt x="686338" y="447453"/>
                      </a:lnTo>
                      <a:lnTo>
                        <a:pt x="685539" y="448398"/>
                      </a:lnTo>
                      <a:lnTo>
                        <a:pt x="681766" y="449376"/>
                      </a:lnTo>
                      <a:lnTo>
                        <a:pt x="679696" y="449197"/>
                      </a:lnTo>
                      <a:lnTo>
                        <a:pt x="677226" y="446842"/>
                      </a:lnTo>
                      <a:lnTo>
                        <a:pt x="676868" y="446019"/>
                      </a:lnTo>
                      <a:lnTo>
                        <a:pt x="677707" y="443981"/>
                      </a:lnTo>
                      <a:lnTo>
                        <a:pt x="683143" y="435913"/>
                      </a:lnTo>
                      <a:lnTo>
                        <a:pt x="682605" y="435962"/>
                      </a:lnTo>
                      <a:lnTo>
                        <a:pt x="680845" y="437225"/>
                      </a:lnTo>
                      <a:lnTo>
                        <a:pt x="677341" y="440452"/>
                      </a:lnTo>
                      <a:lnTo>
                        <a:pt x="675776" y="441414"/>
                      </a:lnTo>
                      <a:lnTo>
                        <a:pt x="673086" y="441536"/>
                      </a:lnTo>
                      <a:lnTo>
                        <a:pt x="671823" y="441194"/>
                      </a:lnTo>
                      <a:lnTo>
                        <a:pt x="670307" y="441455"/>
                      </a:lnTo>
                      <a:lnTo>
                        <a:pt x="668523" y="442319"/>
                      </a:lnTo>
                      <a:lnTo>
                        <a:pt x="667357" y="443264"/>
                      </a:lnTo>
                      <a:lnTo>
                        <a:pt x="666819" y="444291"/>
                      </a:lnTo>
                      <a:lnTo>
                        <a:pt x="667186" y="444462"/>
                      </a:lnTo>
                      <a:lnTo>
                        <a:pt x="669875" y="443288"/>
                      </a:lnTo>
                      <a:lnTo>
                        <a:pt x="671399" y="442971"/>
                      </a:lnTo>
                      <a:lnTo>
                        <a:pt x="671823" y="443541"/>
                      </a:lnTo>
                      <a:lnTo>
                        <a:pt x="669721" y="447168"/>
                      </a:lnTo>
                      <a:lnTo>
                        <a:pt x="668449" y="450639"/>
                      </a:lnTo>
                      <a:lnTo>
                        <a:pt x="667235" y="451511"/>
                      </a:lnTo>
                      <a:lnTo>
                        <a:pt x="665312" y="451365"/>
                      </a:lnTo>
                      <a:lnTo>
                        <a:pt x="663201" y="451707"/>
                      </a:lnTo>
                      <a:lnTo>
                        <a:pt x="663176" y="452677"/>
                      </a:lnTo>
                      <a:lnTo>
                        <a:pt x="667113" y="455448"/>
                      </a:lnTo>
                      <a:lnTo>
                        <a:pt x="668531" y="455839"/>
                      </a:lnTo>
                      <a:lnTo>
                        <a:pt x="670356" y="456825"/>
                      </a:lnTo>
                      <a:lnTo>
                        <a:pt x="670633" y="457811"/>
                      </a:lnTo>
                      <a:lnTo>
                        <a:pt x="669949" y="460460"/>
                      </a:lnTo>
                      <a:lnTo>
                        <a:pt x="669435" y="461503"/>
                      </a:lnTo>
                      <a:lnTo>
                        <a:pt x="668604" y="462041"/>
                      </a:lnTo>
                      <a:lnTo>
                        <a:pt x="665393" y="461951"/>
                      </a:lnTo>
                      <a:lnTo>
                        <a:pt x="664366" y="462228"/>
                      </a:lnTo>
                      <a:lnTo>
                        <a:pt x="662207" y="463891"/>
                      </a:lnTo>
                      <a:lnTo>
                        <a:pt x="661123" y="465268"/>
                      </a:lnTo>
                      <a:lnTo>
                        <a:pt x="661514" y="465390"/>
                      </a:lnTo>
                      <a:lnTo>
                        <a:pt x="663380" y="464250"/>
                      </a:lnTo>
                      <a:lnTo>
                        <a:pt x="666094" y="463638"/>
                      </a:lnTo>
                      <a:lnTo>
                        <a:pt x="669655" y="463557"/>
                      </a:lnTo>
                      <a:lnTo>
                        <a:pt x="672304" y="462954"/>
                      </a:lnTo>
                      <a:lnTo>
                        <a:pt x="674048" y="461829"/>
                      </a:lnTo>
                      <a:lnTo>
                        <a:pt x="675743" y="462147"/>
                      </a:lnTo>
                      <a:lnTo>
                        <a:pt x="677398" y="463907"/>
                      </a:lnTo>
                      <a:lnTo>
                        <a:pt x="677895" y="465456"/>
                      </a:lnTo>
                      <a:lnTo>
                        <a:pt x="677226" y="466776"/>
                      </a:lnTo>
                      <a:lnTo>
                        <a:pt x="675865" y="467721"/>
                      </a:lnTo>
                      <a:lnTo>
                        <a:pt x="673804" y="468292"/>
                      </a:lnTo>
                      <a:lnTo>
                        <a:pt x="672500" y="469139"/>
                      </a:lnTo>
                      <a:lnTo>
                        <a:pt x="671962" y="470264"/>
                      </a:lnTo>
                      <a:lnTo>
                        <a:pt x="671660" y="471935"/>
                      </a:lnTo>
                      <a:lnTo>
                        <a:pt x="671587" y="474151"/>
                      </a:lnTo>
                      <a:lnTo>
                        <a:pt x="672108" y="478153"/>
                      </a:lnTo>
                      <a:lnTo>
                        <a:pt x="671709" y="478691"/>
                      </a:lnTo>
                      <a:lnTo>
                        <a:pt x="670935" y="478992"/>
                      </a:lnTo>
                      <a:lnTo>
                        <a:pt x="669786" y="479041"/>
                      </a:lnTo>
                      <a:lnTo>
                        <a:pt x="668751" y="479978"/>
                      </a:lnTo>
                      <a:lnTo>
                        <a:pt x="666330" y="485284"/>
                      </a:lnTo>
                      <a:lnTo>
                        <a:pt x="665483" y="485854"/>
                      </a:lnTo>
                      <a:lnTo>
                        <a:pt x="664464" y="485292"/>
                      </a:lnTo>
                      <a:lnTo>
                        <a:pt x="663559" y="485349"/>
                      </a:lnTo>
                      <a:lnTo>
                        <a:pt x="662777" y="486042"/>
                      </a:lnTo>
                      <a:lnTo>
                        <a:pt x="661057" y="486572"/>
                      </a:lnTo>
                      <a:lnTo>
                        <a:pt x="658392" y="486930"/>
                      </a:lnTo>
                      <a:lnTo>
                        <a:pt x="656111" y="486792"/>
                      </a:lnTo>
                      <a:lnTo>
                        <a:pt x="652109" y="485643"/>
                      </a:lnTo>
                      <a:lnTo>
                        <a:pt x="650471" y="484828"/>
                      </a:lnTo>
                      <a:lnTo>
                        <a:pt x="649191" y="483499"/>
                      </a:lnTo>
                      <a:lnTo>
                        <a:pt x="645597" y="484909"/>
                      </a:lnTo>
                      <a:lnTo>
                        <a:pt x="644644" y="484298"/>
                      </a:lnTo>
                      <a:lnTo>
                        <a:pt x="642403" y="480614"/>
                      </a:lnTo>
                      <a:lnTo>
                        <a:pt x="641922" y="480834"/>
                      </a:lnTo>
                      <a:lnTo>
                        <a:pt x="641490" y="484795"/>
                      </a:lnTo>
                      <a:lnTo>
                        <a:pt x="640814" y="486180"/>
                      </a:lnTo>
                      <a:lnTo>
                        <a:pt x="638597" y="489057"/>
                      </a:lnTo>
                      <a:lnTo>
                        <a:pt x="637382" y="493988"/>
                      </a:lnTo>
                      <a:lnTo>
                        <a:pt x="637024" y="494143"/>
                      </a:lnTo>
                      <a:lnTo>
                        <a:pt x="636608" y="493425"/>
                      </a:lnTo>
                      <a:lnTo>
                        <a:pt x="635239" y="489016"/>
                      </a:lnTo>
                      <a:lnTo>
                        <a:pt x="634522" y="488047"/>
                      </a:lnTo>
                      <a:lnTo>
                        <a:pt x="632509" y="490598"/>
                      </a:lnTo>
                      <a:lnTo>
                        <a:pt x="632289" y="491510"/>
                      </a:lnTo>
                      <a:lnTo>
                        <a:pt x="632810" y="494787"/>
                      </a:lnTo>
                      <a:lnTo>
                        <a:pt x="632346" y="495284"/>
                      </a:lnTo>
                      <a:lnTo>
                        <a:pt x="628287" y="493515"/>
                      </a:lnTo>
                      <a:lnTo>
                        <a:pt x="627285" y="493425"/>
                      </a:lnTo>
                      <a:lnTo>
                        <a:pt x="627024" y="493727"/>
                      </a:lnTo>
                      <a:lnTo>
                        <a:pt x="628410" y="496278"/>
                      </a:lnTo>
                      <a:lnTo>
                        <a:pt x="628247" y="497183"/>
                      </a:lnTo>
                      <a:lnTo>
                        <a:pt x="622501" y="502105"/>
                      </a:lnTo>
                      <a:lnTo>
                        <a:pt x="621002" y="501926"/>
                      </a:lnTo>
                      <a:lnTo>
                        <a:pt x="620064" y="501437"/>
                      </a:lnTo>
                      <a:lnTo>
                        <a:pt x="619029" y="501510"/>
                      </a:lnTo>
                      <a:lnTo>
                        <a:pt x="615378" y="503336"/>
                      </a:lnTo>
                      <a:lnTo>
                        <a:pt x="614368" y="503262"/>
                      </a:lnTo>
                      <a:lnTo>
                        <a:pt x="612990" y="502178"/>
                      </a:lnTo>
                      <a:lnTo>
                        <a:pt x="612346" y="502219"/>
                      </a:lnTo>
                      <a:lnTo>
                        <a:pt x="612004" y="503352"/>
                      </a:lnTo>
                      <a:lnTo>
                        <a:pt x="611963" y="505552"/>
                      </a:lnTo>
                      <a:lnTo>
                        <a:pt x="610611" y="507639"/>
                      </a:lnTo>
                      <a:lnTo>
                        <a:pt x="606259" y="511021"/>
                      </a:lnTo>
                      <a:lnTo>
                        <a:pt x="605101" y="512569"/>
                      </a:lnTo>
                      <a:lnTo>
                        <a:pt x="604229" y="514696"/>
                      </a:lnTo>
                      <a:lnTo>
                        <a:pt x="603577" y="514900"/>
                      </a:lnTo>
                      <a:lnTo>
                        <a:pt x="601027" y="513531"/>
                      </a:lnTo>
                      <a:lnTo>
                        <a:pt x="598068" y="512651"/>
                      </a:lnTo>
                      <a:lnTo>
                        <a:pt x="597661" y="513091"/>
                      </a:lnTo>
                      <a:lnTo>
                        <a:pt x="598557" y="514395"/>
                      </a:lnTo>
                      <a:lnTo>
                        <a:pt x="598370" y="515185"/>
                      </a:lnTo>
                      <a:lnTo>
                        <a:pt x="597090" y="515487"/>
                      </a:lnTo>
                      <a:lnTo>
                        <a:pt x="595477" y="515373"/>
                      </a:lnTo>
                      <a:lnTo>
                        <a:pt x="593521" y="514843"/>
                      </a:lnTo>
                      <a:lnTo>
                        <a:pt x="590782" y="515446"/>
                      </a:lnTo>
                      <a:lnTo>
                        <a:pt x="587245" y="517158"/>
                      </a:lnTo>
                      <a:lnTo>
                        <a:pt x="584303" y="517109"/>
                      </a:lnTo>
                      <a:lnTo>
                        <a:pt x="580196" y="514281"/>
                      </a:lnTo>
                      <a:lnTo>
                        <a:pt x="579055" y="514069"/>
                      </a:lnTo>
                      <a:lnTo>
                        <a:pt x="578696" y="513278"/>
                      </a:lnTo>
                      <a:lnTo>
                        <a:pt x="579495" y="510996"/>
                      </a:lnTo>
                      <a:lnTo>
                        <a:pt x="580668" y="509269"/>
                      </a:lnTo>
                      <a:lnTo>
                        <a:pt x="581524" y="508478"/>
                      </a:lnTo>
                      <a:lnTo>
                        <a:pt x="585428" y="506261"/>
                      </a:lnTo>
                      <a:lnTo>
                        <a:pt x="589886" y="505446"/>
                      </a:lnTo>
                      <a:lnTo>
                        <a:pt x="592689" y="504110"/>
                      </a:lnTo>
                      <a:lnTo>
                        <a:pt x="596096" y="501355"/>
                      </a:lnTo>
                      <a:lnTo>
                        <a:pt x="597905" y="499285"/>
                      </a:lnTo>
                      <a:lnTo>
                        <a:pt x="601450" y="493947"/>
                      </a:lnTo>
                      <a:lnTo>
                        <a:pt x="601181" y="493531"/>
                      </a:lnTo>
                      <a:lnTo>
                        <a:pt x="600383" y="493246"/>
                      </a:lnTo>
                      <a:lnTo>
                        <a:pt x="592592" y="498307"/>
                      </a:lnTo>
                      <a:lnTo>
                        <a:pt x="591442" y="498780"/>
                      </a:lnTo>
                      <a:lnTo>
                        <a:pt x="589894" y="498747"/>
                      </a:lnTo>
                      <a:lnTo>
                        <a:pt x="583659" y="496808"/>
                      </a:lnTo>
                      <a:lnTo>
                        <a:pt x="582339" y="495968"/>
                      </a:lnTo>
                      <a:lnTo>
                        <a:pt x="581443" y="493531"/>
                      </a:lnTo>
                      <a:lnTo>
                        <a:pt x="583170" y="487998"/>
                      </a:lnTo>
                      <a:lnTo>
                        <a:pt x="584377" y="485317"/>
                      </a:lnTo>
                      <a:lnTo>
                        <a:pt x="587425" y="481168"/>
                      </a:lnTo>
                      <a:lnTo>
                        <a:pt x="591402" y="476751"/>
                      </a:lnTo>
                      <a:lnTo>
                        <a:pt x="592779" y="473874"/>
                      </a:lnTo>
                      <a:lnTo>
                        <a:pt x="594849" y="466181"/>
                      </a:lnTo>
                      <a:lnTo>
                        <a:pt x="594727" y="462685"/>
                      </a:lnTo>
                      <a:lnTo>
                        <a:pt x="593798" y="458414"/>
                      </a:lnTo>
                      <a:lnTo>
                        <a:pt x="593765" y="455880"/>
                      </a:lnTo>
                      <a:lnTo>
                        <a:pt x="594621" y="455073"/>
                      </a:lnTo>
                      <a:lnTo>
                        <a:pt x="603749" y="451120"/>
                      </a:lnTo>
                      <a:lnTo>
                        <a:pt x="608068" y="448154"/>
                      </a:lnTo>
                      <a:lnTo>
                        <a:pt x="616454" y="443769"/>
                      </a:lnTo>
                      <a:lnTo>
                        <a:pt x="618736" y="443802"/>
                      </a:lnTo>
                      <a:lnTo>
                        <a:pt x="620415" y="445310"/>
                      </a:lnTo>
                      <a:lnTo>
                        <a:pt x="622371" y="446524"/>
                      </a:lnTo>
                      <a:lnTo>
                        <a:pt x="624596" y="447420"/>
                      </a:lnTo>
                      <a:lnTo>
                        <a:pt x="627456" y="447331"/>
                      </a:lnTo>
                      <a:lnTo>
                        <a:pt x="630961" y="446239"/>
                      </a:lnTo>
                      <a:lnTo>
                        <a:pt x="636510" y="446646"/>
                      </a:lnTo>
                      <a:lnTo>
                        <a:pt x="647912" y="449531"/>
                      </a:lnTo>
                      <a:lnTo>
                        <a:pt x="650332" y="449694"/>
                      </a:lnTo>
                      <a:lnTo>
                        <a:pt x="650422" y="449335"/>
                      </a:lnTo>
                      <a:lnTo>
                        <a:pt x="648662" y="447314"/>
                      </a:lnTo>
                      <a:lnTo>
                        <a:pt x="640805" y="446141"/>
                      </a:lnTo>
                      <a:lnTo>
                        <a:pt x="637497" y="444967"/>
                      </a:lnTo>
                      <a:lnTo>
                        <a:pt x="628190" y="439808"/>
                      </a:lnTo>
                      <a:lnTo>
                        <a:pt x="626071" y="437812"/>
                      </a:lnTo>
                      <a:lnTo>
                        <a:pt x="626926" y="436883"/>
                      </a:lnTo>
                      <a:lnTo>
                        <a:pt x="629208" y="436117"/>
                      </a:lnTo>
                      <a:lnTo>
                        <a:pt x="629991" y="435367"/>
                      </a:lnTo>
                      <a:lnTo>
                        <a:pt x="630317" y="434071"/>
                      </a:lnTo>
                      <a:lnTo>
                        <a:pt x="631629" y="432303"/>
                      </a:lnTo>
                      <a:lnTo>
                        <a:pt x="633919" y="430045"/>
                      </a:lnTo>
                      <a:lnTo>
                        <a:pt x="637415" y="427861"/>
                      </a:lnTo>
                      <a:lnTo>
                        <a:pt x="644033" y="424617"/>
                      </a:lnTo>
                      <a:lnTo>
                        <a:pt x="641441" y="424479"/>
                      </a:lnTo>
                      <a:lnTo>
                        <a:pt x="636682" y="425082"/>
                      </a:lnTo>
                      <a:lnTo>
                        <a:pt x="634954" y="425709"/>
                      </a:lnTo>
                      <a:lnTo>
                        <a:pt x="631767" y="428032"/>
                      </a:lnTo>
                      <a:lnTo>
                        <a:pt x="630529" y="429670"/>
                      </a:lnTo>
                      <a:lnTo>
                        <a:pt x="628752" y="432857"/>
                      </a:lnTo>
                      <a:lnTo>
                        <a:pt x="627994" y="433452"/>
                      </a:lnTo>
                      <a:lnTo>
                        <a:pt x="624693" y="433924"/>
                      </a:lnTo>
                      <a:lnTo>
                        <a:pt x="615696" y="434242"/>
                      </a:lnTo>
                      <a:lnTo>
                        <a:pt x="614172" y="432612"/>
                      </a:lnTo>
                      <a:lnTo>
                        <a:pt x="613324" y="432351"/>
                      </a:lnTo>
                      <a:lnTo>
                        <a:pt x="612208" y="432580"/>
                      </a:lnTo>
                      <a:lnTo>
                        <a:pt x="603944" y="436736"/>
                      </a:lnTo>
                      <a:lnTo>
                        <a:pt x="600978" y="438855"/>
                      </a:lnTo>
                      <a:lnTo>
                        <a:pt x="598867" y="441275"/>
                      </a:lnTo>
                      <a:lnTo>
                        <a:pt x="595599" y="443044"/>
                      </a:lnTo>
                      <a:lnTo>
                        <a:pt x="591182" y="444169"/>
                      </a:lnTo>
                      <a:lnTo>
                        <a:pt x="587873" y="445554"/>
                      </a:lnTo>
                      <a:lnTo>
                        <a:pt x="584393" y="448325"/>
                      </a:lnTo>
                      <a:lnTo>
                        <a:pt x="583203" y="450460"/>
                      </a:lnTo>
                      <a:lnTo>
                        <a:pt x="583138" y="451454"/>
                      </a:lnTo>
                      <a:lnTo>
                        <a:pt x="583977" y="454608"/>
                      </a:lnTo>
                      <a:lnTo>
                        <a:pt x="583122" y="455195"/>
                      </a:lnTo>
                      <a:lnTo>
                        <a:pt x="581109" y="455448"/>
                      </a:lnTo>
                      <a:lnTo>
                        <a:pt x="577881" y="457526"/>
                      </a:lnTo>
                      <a:lnTo>
                        <a:pt x="571076" y="463720"/>
                      </a:lnTo>
                      <a:lnTo>
                        <a:pt x="570188" y="465953"/>
                      </a:lnTo>
                      <a:lnTo>
                        <a:pt x="570221" y="466727"/>
                      </a:lnTo>
                      <a:lnTo>
                        <a:pt x="571337" y="468479"/>
                      </a:lnTo>
                      <a:lnTo>
                        <a:pt x="570563" y="469620"/>
                      </a:lnTo>
                      <a:lnTo>
                        <a:pt x="568648" y="471405"/>
                      </a:lnTo>
                      <a:lnTo>
                        <a:pt x="564385" y="474249"/>
                      </a:lnTo>
                      <a:lnTo>
                        <a:pt x="561582" y="475333"/>
                      </a:lnTo>
                      <a:lnTo>
                        <a:pt x="559756" y="475382"/>
                      </a:lnTo>
                      <a:lnTo>
                        <a:pt x="558004" y="474983"/>
                      </a:lnTo>
                      <a:lnTo>
                        <a:pt x="554891" y="473157"/>
                      </a:lnTo>
                      <a:lnTo>
                        <a:pt x="552364" y="473043"/>
                      </a:lnTo>
                      <a:lnTo>
                        <a:pt x="552210" y="473296"/>
                      </a:lnTo>
                      <a:lnTo>
                        <a:pt x="555632" y="475252"/>
                      </a:lnTo>
                      <a:lnTo>
                        <a:pt x="559121" y="477770"/>
                      </a:lnTo>
                      <a:lnTo>
                        <a:pt x="561297" y="479856"/>
                      </a:lnTo>
                      <a:lnTo>
                        <a:pt x="562152" y="481511"/>
                      </a:lnTo>
                      <a:lnTo>
                        <a:pt x="562193" y="483214"/>
                      </a:lnTo>
                      <a:lnTo>
                        <a:pt x="561411" y="484966"/>
                      </a:lnTo>
                      <a:lnTo>
                        <a:pt x="558941" y="488014"/>
                      </a:lnTo>
                      <a:lnTo>
                        <a:pt x="556529" y="488927"/>
                      </a:lnTo>
                      <a:lnTo>
                        <a:pt x="550343" y="489840"/>
                      </a:lnTo>
                      <a:lnTo>
                        <a:pt x="548355" y="490565"/>
                      </a:lnTo>
                      <a:lnTo>
                        <a:pt x="547735" y="491127"/>
                      </a:lnTo>
                      <a:lnTo>
                        <a:pt x="551981" y="492415"/>
                      </a:lnTo>
                      <a:lnTo>
                        <a:pt x="552364" y="493075"/>
                      </a:lnTo>
                      <a:lnTo>
                        <a:pt x="551778" y="495618"/>
                      </a:lnTo>
                      <a:lnTo>
                        <a:pt x="550653" y="496457"/>
                      </a:lnTo>
                      <a:lnTo>
                        <a:pt x="547116" y="497981"/>
                      </a:lnTo>
                      <a:lnTo>
                        <a:pt x="543946" y="498421"/>
                      </a:lnTo>
                      <a:lnTo>
                        <a:pt x="543465" y="498136"/>
                      </a:lnTo>
                      <a:lnTo>
                        <a:pt x="544052" y="496131"/>
                      </a:lnTo>
                      <a:lnTo>
                        <a:pt x="543881" y="495634"/>
                      </a:lnTo>
                      <a:lnTo>
                        <a:pt x="542691" y="495218"/>
                      </a:lnTo>
                      <a:lnTo>
                        <a:pt x="540996" y="495985"/>
                      </a:lnTo>
                      <a:lnTo>
                        <a:pt x="536782" y="498927"/>
                      </a:lnTo>
                      <a:lnTo>
                        <a:pt x="536334" y="499416"/>
                      </a:lnTo>
                      <a:lnTo>
                        <a:pt x="537850" y="500198"/>
                      </a:lnTo>
                      <a:lnTo>
                        <a:pt x="537524" y="500858"/>
                      </a:lnTo>
                      <a:lnTo>
                        <a:pt x="535242" y="502977"/>
                      </a:lnTo>
                      <a:lnTo>
                        <a:pt x="534297" y="504379"/>
                      </a:lnTo>
                      <a:lnTo>
                        <a:pt x="532764" y="505813"/>
                      </a:lnTo>
                      <a:lnTo>
                        <a:pt x="525967" y="510198"/>
                      </a:lnTo>
                      <a:lnTo>
                        <a:pt x="526481" y="511265"/>
                      </a:lnTo>
                      <a:lnTo>
                        <a:pt x="524712" y="515079"/>
                      </a:lnTo>
                      <a:lnTo>
                        <a:pt x="523726" y="518429"/>
                      </a:lnTo>
                      <a:lnTo>
                        <a:pt x="524924" y="519847"/>
                      </a:lnTo>
                      <a:lnTo>
                        <a:pt x="530637" y="521501"/>
                      </a:lnTo>
                      <a:lnTo>
                        <a:pt x="533408" y="521893"/>
                      </a:lnTo>
                      <a:lnTo>
                        <a:pt x="536668" y="523050"/>
                      </a:lnTo>
                      <a:lnTo>
                        <a:pt x="542577" y="526163"/>
                      </a:lnTo>
                      <a:lnTo>
                        <a:pt x="544541" y="528200"/>
                      </a:lnTo>
                      <a:lnTo>
                        <a:pt x="544842" y="529154"/>
                      </a:lnTo>
                      <a:lnTo>
                        <a:pt x="544655" y="530197"/>
                      </a:lnTo>
                      <a:lnTo>
                        <a:pt x="543946" y="531607"/>
                      </a:lnTo>
                      <a:lnTo>
                        <a:pt x="542096" y="534264"/>
                      </a:lnTo>
                      <a:lnTo>
                        <a:pt x="537638" y="538200"/>
                      </a:lnTo>
                      <a:lnTo>
                        <a:pt x="535617" y="539317"/>
                      </a:lnTo>
                      <a:lnTo>
                        <a:pt x="532569" y="540189"/>
                      </a:lnTo>
                      <a:lnTo>
                        <a:pt x="531566" y="540824"/>
                      </a:lnTo>
                      <a:lnTo>
                        <a:pt x="527646" y="544557"/>
                      </a:lnTo>
                      <a:lnTo>
                        <a:pt x="526595" y="546578"/>
                      </a:lnTo>
                      <a:lnTo>
                        <a:pt x="526766" y="548330"/>
                      </a:lnTo>
                      <a:lnTo>
                        <a:pt x="526016" y="549553"/>
                      </a:lnTo>
                      <a:lnTo>
                        <a:pt x="520980" y="551965"/>
                      </a:lnTo>
                      <a:lnTo>
                        <a:pt x="521159" y="552397"/>
                      </a:lnTo>
                      <a:lnTo>
                        <a:pt x="522993" y="552584"/>
                      </a:lnTo>
                      <a:lnTo>
                        <a:pt x="522316" y="554711"/>
                      </a:lnTo>
                      <a:lnTo>
                        <a:pt x="522023" y="557654"/>
                      </a:lnTo>
                      <a:lnTo>
                        <a:pt x="521151" y="558159"/>
                      </a:lnTo>
                      <a:lnTo>
                        <a:pt x="518005" y="558143"/>
                      </a:lnTo>
                      <a:lnTo>
                        <a:pt x="514004" y="559284"/>
                      </a:lnTo>
                      <a:lnTo>
                        <a:pt x="513718" y="559609"/>
                      </a:lnTo>
                      <a:lnTo>
                        <a:pt x="513645" y="561728"/>
                      </a:lnTo>
                      <a:lnTo>
                        <a:pt x="503181" y="563277"/>
                      </a:lnTo>
                      <a:lnTo>
                        <a:pt x="500891" y="567295"/>
                      </a:lnTo>
                      <a:lnTo>
                        <a:pt x="499701" y="568525"/>
                      </a:lnTo>
                      <a:lnTo>
                        <a:pt x="495593" y="571443"/>
                      </a:lnTo>
                      <a:lnTo>
                        <a:pt x="493083" y="572617"/>
                      </a:lnTo>
                      <a:lnTo>
                        <a:pt x="490215" y="573325"/>
                      </a:lnTo>
                      <a:lnTo>
                        <a:pt x="488707" y="574320"/>
                      </a:lnTo>
                      <a:lnTo>
                        <a:pt x="488568" y="575591"/>
                      </a:lnTo>
                      <a:lnTo>
                        <a:pt x="487753" y="576683"/>
                      </a:lnTo>
                      <a:lnTo>
                        <a:pt x="485268" y="578492"/>
                      </a:lnTo>
                      <a:lnTo>
                        <a:pt x="484053" y="580766"/>
                      </a:lnTo>
                      <a:lnTo>
                        <a:pt x="483165" y="581117"/>
                      </a:lnTo>
                      <a:lnTo>
                        <a:pt x="478544" y="581663"/>
                      </a:lnTo>
                      <a:lnTo>
                        <a:pt x="477623" y="582380"/>
                      </a:lnTo>
                      <a:lnTo>
                        <a:pt x="477175" y="585452"/>
                      </a:lnTo>
                      <a:lnTo>
                        <a:pt x="476319" y="585550"/>
                      </a:lnTo>
                      <a:lnTo>
                        <a:pt x="474681" y="584841"/>
                      </a:lnTo>
                      <a:lnTo>
                        <a:pt x="472546" y="585395"/>
                      </a:lnTo>
                      <a:lnTo>
                        <a:pt x="467738" y="588867"/>
                      </a:lnTo>
                      <a:lnTo>
                        <a:pt x="466686" y="590114"/>
                      </a:lnTo>
                      <a:lnTo>
                        <a:pt x="466800" y="590782"/>
                      </a:lnTo>
                      <a:lnTo>
                        <a:pt x="467550" y="591450"/>
                      </a:lnTo>
                      <a:lnTo>
                        <a:pt x="468691" y="593512"/>
                      </a:lnTo>
                      <a:lnTo>
                        <a:pt x="468618" y="594898"/>
                      </a:lnTo>
                      <a:lnTo>
                        <a:pt x="466760" y="598769"/>
                      </a:lnTo>
                      <a:lnTo>
                        <a:pt x="466108" y="599364"/>
                      </a:lnTo>
                      <a:lnTo>
                        <a:pt x="463866" y="600326"/>
                      </a:lnTo>
                      <a:lnTo>
                        <a:pt x="462946" y="602461"/>
                      </a:lnTo>
                      <a:lnTo>
                        <a:pt x="460876" y="602224"/>
                      </a:lnTo>
                      <a:lnTo>
                        <a:pt x="459205" y="602624"/>
                      </a:lnTo>
                      <a:lnTo>
                        <a:pt x="458113" y="604050"/>
                      </a:lnTo>
                      <a:lnTo>
                        <a:pt x="456923" y="604881"/>
                      </a:lnTo>
                      <a:lnTo>
                        <a:pt x="455635" y="605093"/>
                      </a:lnTo>
                      <a:lnTo>
                        <a:pt x="454030" y="606226"/>
                      </a:lnTo>
                      <a:lnTo>
                        <a:pt x="452082" y="608263"/>
                      </a:lnTo>
                      <a:lnTo>
                        <a:pt x="450289" y="609567"/>
                      </a:lnTo>
                      <a:lnTo>
                        <a:pt x="448635" y="610130"/>
                      </a:lnTo>
                      <a:lnTo>
                        <a:pt x="447029" y="610268"/>
                      </a:lnTo>
                      <a:lnTo>
                        <a:pt x="445464" y="609991"/>
                      </a:lnTo>
                      <a:lnTo>
                        <a:pt x="444063" y="610219"/>
                      </a:lnTo>
                      <a:lnTo>
                        <a:pt x="442816" y="610977"/>
                      </a:lnTo>
                      <a:lnTo>
                        <a:pt x="441601" y="612159"/>
                      </a:lnTo>
                      <a:lnTo>
                        <a:pt x="440632" y="615509"/>
                      </a:lnTo>
                      <a:lnTo>
                        <a:pt x="439401" y="617008"/>
                      </a:lnTo>
                      <a:lnTo>
                        <a:pt x="438627" y="617261"/>
                      </a:lnTo>
                      <a:lnTo>
                        <a:pt x="437038" y="617041"/>
                      </a:lnTo>
                      <a:lnTo>
                        <a:pt x="434633" y="616340"/>
                      </a:lnTo>
                      <a:lnTo>
                        <a:pt x="432197" y="616584"/>
                      </a:lnTo>
                      <a:lnTo>
                        <a:pt x="428260" y="618638"/>
                      </a:lnTo>
                      <a:lnTo>
                        <a:pt x="427013" y="620186"/>
                      </a:lnTo>
                      <a:lnTo>
                        <a:pt x="429499" y="620529"/>
                      </a:lnTo>
                      <a:lnTo>
                        <a:pt x="430722" y="620977"/>
                      </a:lnTo>
                      <a:lnTo>
                        <a:pt x="430689" y="621409"/>
                      </a:lnTo>
                      <a:lnTo>
                        <a:pt x="429401" y="621833"/>
                      </a:lnTo>
                      <a:lnTo>
                        <a:pt x="427201" y="621792"/>
                      </a:lnTo>
                      <a:lnTo>
                        <a:pt x="425872" y="622151"/>
                      </a:lnTo>
                      <a:lnTo>
                        <a:pt x="424259" y="623031"/>
                      </a:lnTo>
                      <a:lnTo>
                        <a:pt x="420217" y="623984"/>
                      </a:lnTo>
                      <a:lnTo>
                        <a:pt x="418684" y="624661"/>
                      </a:lnTo>
                      <a:lnTo>
                        <a:pt x="415628" y="628532"/>
                      </a:lnTo>
                      <a:lnTo>
                        <a:pt x="415261" y="629412"/>
                      </a:lnTo>
                      <a:lnTo>
                        <a:pt x="415653" y="629599"/>
                      </a:lnTo>
                      <a:lnTo>
                        <a:pt x="417364" y="629192"/>
                      </a:lnTo>
                      <a:lnTo>
                        <a:pt x="419377" y="629836"/>
                      </a:lnTo>
                      <a:lnTo>
                        <a:pt x="420420" y="630651"/>
                      </a:lnTo>
                      <a:lnTo>
                        <a:pt x="421097" y="631661"/>
                      </a:lnTo>
                      <a:lnTo>
                        <a:pt x="421732" y="633601"/>
                      </a:lnTo>
                      <a:lnTo>
                        <a:pt x="422124" y="633886"/>
                      </a:lnTo>
                      <a:lnTo>
                        <a:pt x="418244" y="637154"/>
                      </a:lnTo>
                      <a:lnTo>
                        <a:pt x="417144" y="638532"/>
                      </a:lnTo>
                      <a:lnTo>
                        <a:pt x="416435" y="639045"/>
                      </a:lnTo>
                      <a:lnTo>
                        <a:pt x="415971" y="638654"/>
                      </a:lnTo>
                      <a:lnTo>
                        <a:pt x="415490" y="635019"/>
                      </a:lnTo>
                      <a:lnTo>
                        <a:pt x="415196" y="634400"/>
                      </a:lnTo>
                      <a:lnTo>
                        <a:pt x="414292" y="634342"/>
                      </a:lnTo>
                      <a:lnTo>
                        <a:pt x="413403" y="635483"/>
                      </a:lnTo>
                      <a:lnTo>
                        <a:pt x="411472" y="639778"/>
                      </a:lnTo>
                      <a:lnTo>
                        <a:pt x="409361" y="641938"/>
                      </a:lnTo>
                      <a:lnTo>
                        <a:pt x="393494" y="647464"/>
                      </a:lnTo>
                      <a:lnTo>
                        <a:pt x="391171" y="648727"/>
                      </a:lnTo>
                      <a:lnTo>
                        <a:pt x="390723" y="651082"/>
                      </a:lnTo>
                      <a:lnTo>
                        <a:pt x="390063" y="653119"/>
                      </a:lnTo>
                      <a:lnTo>
                        <a:pt x="389011" y="654741"/>
                      </a:lnTo>
                      <a:lnTo>
                        <a:pt x="387789" y="655768"/>
                      </a:lnTo>
                      <a:lnTo>
                        <a:pt x="387520" y="655035"/>
                      </a:lnTo>
                      <a:lnTo>
                        <a:pt x="387642" y="649297"/>
                      </a:lnTo>
                      <a:lnTo>
                        <a:pt x="387316" y="648156"/>
                      </a:lnTo>
                      <a:lnTo>
                        <a:pt x="385719" y="647423"/>
                      </a:lnTo>
                      <a:lnTo>
                        <a:pt x="385018" y="647521"/>
                      </a:lnTo>
                      <a:lnTo>
                        <a:pt x="384048" y="647847"/>
                      </a:lnTo>
                      <a:lnTo>
                        <a:pt x="382459" y="649085"/>
                      </a:lnTo>
                      <a:lnTo>
                        <a:pt x="381489" y="649395"/>
                      </a:lnTo>
                      <a:lnTo>
                        <a:pt x="380283" y="649297"/>
                      </a:lnTo>
                      <a:lnTo>
                        <a:pt x="378221" y="650520"/>
                      </a:lnTo>
                      <a:lnTo>
                        <a:pt x="373307" y="654440"/>
                      </a:lnTo>
                      <a:lnTo>
                        <a:pt x="370096" y="655410"/>
                      </a:lnTo>
                      <a:lnTo>
                        <a:pt x="369248" y="656225"/>
                      </a:lnTo>
                      <a:lnTo>
                        <a:pt x="367879" y="658368"/>
                      </a:lnTo>
                      <a:lnTo>
                        <a:pt x="366966" y="659159"/>
                      </a:lnTo>
                      <a:lnTo>
                        <a:pt x="365621" y="659224"/>
                      </a:lnTo>
                      <a:lnTo>
                        <a:pt x="363845" y="658580"/>
                      </a:lnTo>
                      <a:lnTo>
                        <a:pt x="362410" y="659036"/>
                      </a:lnTo>
                      <a:lnTo>
                        <a:pt x="361327" y="660593"/>
                      </a:lnTo>
                      <a:lnTo>
                        <a:pt x="360226" y="661204"/>
                      </a:lnTo>
                      <a:lnTo>
                        <a:pt x="357105" y="660055"/>
                      </a:lnTo>
                      <a:lnTo>
                        <a:pt x="355736" y="660845"/>
                      </a:lnTo>
                      <a:lnTo>
                        <a:pt x="353951" y="662858"/>
                      </a:lnTo>
                      <a:lnTo>
                        <a:pt x="352085" y="664187"/>
                      </a:lnTo>
                      <a:lnTo>
                        <a:pt x="350137" y="664831"/>
                      </a:lnTo>
                      <a:lnTo>
                        <a:pt x="345076" y="665507"/>
                      </a:lnTo>
                      <a:lnTo>
                        <a:pt x="343039" y="665075"/>
                      </a:lnTo>
                      <a:lnTo>
                        <a:pt x="342623" y="664497"/>
                      </a:lnTo>
                      <a:lnTo>
                        <a:pt x="342721" y="661938"/>
                      </a:lnTo>
                      <a:lnTo>
                        <a:pt x="343536" y="660088"/>
                      </a:lnTo>
                      <a:lnTo>
                        <a:pt x="344294" y="659215"/>
                      </a:lnTo>
                      <a:lnTo>
                        <a:pt x="345304" y="658441"/>
                      </a:lnTo>
                      <a:lnTo>
                        <a:pt x="346779" y="658360"/>
                      </a:lnTo>
                      <a:lnTo>
                        <a:pt x="349534" y="658938"/>
                      </a:lnTo>
                      <a:lnTo>
                        <a:pt x="349216" y="658311"/>
                      </a:lnTo>
                      <a:lnTo>
                        <a:pt x="348214" y="657577"/>
                      </a:lnTo>
                      <a:lnTo>
                        <a:pt x="345671" y="656306"/>
                      </a:lnTo>
                      <a:lnTo>
                        <a:pt x="343161" y="655654"/>
                      </a:lnTo>
                      <a:lnTo>
                        <a:pt x="341718" y="656070"/>
                      </a:lnTo>
                      <a:lnTo>
                        <a:pt x="339689" y="657048"/>
                      </a:lnTo>
                      <a:lnTo>
                        <a:pt x="338312" y="658172"/>
                      </a:lnTo>
                      <a:lnTo>
                        <a:pt x="337586" y="659452"/>
                      </a:lnTo>
                      <a:lnTo>
                        <a:pt x="336674" y="663616"/>
                      </a:lnTo>
                      <a:lnTo>
                        <a:pt x="336152" y="664757"/>
                      </a:lnTo>
                      <a:lnTo>
                        <a:pt x="330235" y="672100"/>
                      </a:lnTo>
                      <a:lnTo>
                        <a:pt x="327904" y="674358"/>
                      </a:lnTo>
                      <a:lnTo>
                        <a:pt x="325614" y="674187"/>
                      </a:lnTo>
                      <a:lnTo>
                        <a:pt x="324498" y="675042"/>
                      </a:lnTo>
                      <a:lnTo>
                        <a:pt x="322933" y="676884"/>
                      </a:lnTo>
                      <a:lnTo>
                        <a:pt x="321491" y="677748"/>
                      </a:lnTo>
                      <a:lnTo>
                        <a:pt x="320162" y="677667"/>
                      </a:lnTo>
                      <a:lnTo>
                        <a:pt x="319135" y="677324"/>
                      </a:lnTo>
                      <a:lnTo>
                        <a:pt x="318402" y="676705"/>
                      </a:lnTo>
                      <a:lnTo>
                        <a:pt x="318532" y="676134"/>
                      </a:lnTo>
                      <a:lnTo>
                        <a:pt x="319518" y="675605"/>
                      </a:lnTo>
                      <a:lnTo>
                        <a:pt x="319168" y="674130"/>
                      </a:lnTo>
                      <a:lnTo>
                        <a:pt x="317473" y="671725"/>
                      </a:lnTo>
                      <a:lnTo>
                        <a:pt x="316316" y="670421"/>
                      </a:lnTo>
                      <a:lnTo>
                        <a:pt x="314123" y="670267"/>
                      </a:lnTo>
                      <a:lnTo>
                        <a:pt x="313781" y="671359"/>
                      </a:lnTo>
                      <a:lnTo>
                        <a:pt x="314523" y="676941"/>
                      </a:lnTo>
                      <a:lnTo>
                        <a:pt x="314409" y="678204"/>
                      </a:lnTo>
                      <a:lnTo>
                        <a:pt x="313031" y="679794"/>
                      </a:lnTo>
                      <a:lnTo>
                        <a:pt x="309437" y="681562"/>
                      </a:lnTo>
                      <a:lnTo>
                        <a:pt x="308304" y="681391"/>
                      </a:lnTo>
                      <a:lnTo>
                        <a:pt x="305061" y="677895"/>
                      </a:lnTo>
                      <a:lnTo>
                        <a:pt x="301997" y="677202"/>
                      </a:lnTo>
                      <a:lnTo>
                        <a:pt x="301793" y="678343"/>
                      </a:lnTo>
                      <a:lnTo>
                        <a:pt x="302477" y="680666"/>
                      </a:lnTo>
                      <a:lnTo>
                        <a:pt x="301711" y="682842"/>
                      </a:lnTo>
                      <a:lnTo>
                        <a:pt x="299495" y="684863"/>
                      </a:lnTo>
                      <a:lnTo>
                        <a:pt x="297799" y="685841"/>
                      </a:lnTo>
                      <a:lnTo>
                        <a:pt x="296642" y="685784"/>
                      </a:lnTo>
                      <a:lnTo>
                        <a:pt x="296577" y="684366"/>
                      </a:lnTo>
                      <a:lnTo>
                        <a:pt x="297604" y="681595"/>
                      </a:lnTo>
                      <a:lnTo>
                        <a:pt x="297873" y="679288"/>
                      </a:lnTo>
                      <a:lnTo>
                        <a:pt x="297367" y="677438"/>
                      </a:lnTo>
                      <a:lnTo>
                        <a:pt x="297416" y="676012"/>
                      </a:lnTo>
                      <a:lnTo>
                        <a:pt x="298036" y="675026"/>
                      </a:lnTo>
                      <a:lnTo>
                        <a:pt x="302111" y="672279"/>
                      </a:lnTo>
                      <a:lnTo>
                        <a:pt x="303830" y="671872"/>
                      </a:lnTo>
                      <a:lnTo>
                        <a:pt x="304743" y="672548"/>
                      </a:lnTo>
                      <a:lnTo>
                        <a:pt x="305892" y="672663"/>
                      </a:lnTo>
                      <a:lnTo>
                        <a:pt x="307261" y="672214"/>
                      </a:lnTo>
                      <a:lnTo>
                        <a:pt x="308125" y="671334"/>
                      </a:lnTo>
                      <a:lnTo>
                        <a:pt x="308484" y="670022"/>
                      </a:lnTo>
                      <a:lnTo>
                        <a:pt x="310244" y="668335"/>
                      </a:lnTo>
                      <a:lnTo>
                        <a:pt x="313406" y="666290"/>
                      </a:lnTo>
                      <a:lnTo>
                        <a:pt x="317016" y="662500"/>
                      </a:lnTo>
                      <a:lnTo>
                        <a:pt x="321091" y="656966"/>
                      </a:lnTo>
                      <a:lnTo>
                        <a:pt x="325859" y="652190"/>
                      </a:lnTo>
                      <a:lnTo>
                        <a:pt x="331319" y="648181"/>
                      </a:lnTo>
                      <a:lnTo>
                        <a:pt x="337260" y="644994"/>
                      </a:lnTo>
                      <a:lnTo>
                        <a:pt x="349208" y="640602"/>
                      </a:lnTo>
                      <a:lnTo>
                        <a:pt x="350129" y="640871"/>
                      </a:lnTo>
                      <a:lnTo>
                        <a:pt x="349037" y="642297"/>
                      </a:lnTo>
                      <a:lnTo>
                        <a:pt x="349787" y="643177"/>
                      </a:lnTo>
                      <a:lnTo>
                        <a:pt x="350960" y="643291"/>
                      </a:lnTo>
                      <a:lnTo>
                        <a:pt x="355345" y="642590"/>
                      </a:lnTo>
                      <a:lnTo>
                        <a:pt x="357072" y="641669"/>
                      </a:lnTo>
                      <a:lnTo>
                        <a:pt x="357586" y="642558"/>
                      </a:lnTo>
                      <a:lnTo>
                        <a:pt x="356975" y="643674"/>
                      </a:lnTo>
                      <a:lnTo>
                        <a:pt x="354350" y="644807"/>
                      </a:lnTo>
                      <a:lnTo>
                        <a:pt x="354424" y="645752"/>
                      </a:lnTo>
                      <a:lnTo>
                        <a:pt x="358238" y="650169"/>
                      </a:lnTo>
                      <a:lnTo>
                        <a:pt x="359444" y="650846"/>
                      </a:lnTo>
                      <a:lnTo>
                        <a:pt x="360446" y="650756"/>
                      </a:lnTo>
                      <a:lnTo>
                        <a:pt x="360870" y="650186"/>
                      </a:lnTo>
                      <a:lnTo>
                        <a:pt x="360552" y="647007"/>
                      </a:lnTo>
                      <a:lnTo>
                        <a:pt x="361840" y="646396"/>
                      </a:lnTo>
                      <a:lnTo>
                        <a:pt x="364489" y="646249"/>
                      </a:lnTo>
                      <a:lnTo>
                        <a:pt x="366208" y="646665"/>
                      </a:lnTo>
                      <a:lnTo>
                        <a:pt x="367007" y="647643"/>
                      </a:lnTo>
                      <a:lnTo>
                        <a:pt x="368523" y="648458"/>
                      </a:lnTo>
                      <a:lnTo>
                        <a:pt x="370739" y="649102"/>
                      </a:lnTo>
                      <a:lnTo>
                        <a:pt x="372125" y="648906"/>
                      </a:lnTo>
                      <a:lnTo>
                        <a:pt x="372655" y="647863"/>
                      </a:lnTo>
                      <a:lnTo>
                        <a:pt x="371701" y="646624"/>
                      </a:lnTo>
                      <a:lnTo>
                        <a:pt x="367455" y="643910"/>
                      </a:lnTo>
                      <a:lnTo>
                        <a:pt x="366273" y="642769"/>
                      </a:lnTo>
                      <a:lnTo>
                        <a:pt x="365988" y="641188"/>
                      </a:lnTo>
                      <a:lnTo>
                        <a:pt x="366591" y="639151"/>
                      </a:lnTo>
                      <a:lnTo>
                        <a:pt x="367928" y="636135"/>
                      </a:lnTo>
                      <a:lnTo>
                        <a:pt x="369998" y="632134"/>
                      </a:lnTo>
                      <a:lnTo>
                        <a:pt x="371872" y="629339"/>
                      </a:lnTo>
                      <a:lnTo>
                        <a:pt x="375662" y="626176"/>
                      </a:lnTo>
                      <a:lnTo>
                        <a:pt x="378213" y="624604"/>
                      </a:lnTo>
                      <a:lnTo>
                        <a:pt x="384692" y="619803"/>
                      </a:lnTo>
                      <a:lnTo>
                        <a:pt x="397145" y="614889"/>
                      </a:lnTo>
                      <a:lnTo>
                        <a:pt x="400217" y="611735"/>
                      </a:lnTo>
                      <a:lnTo>
                        <a:pt x="404398" y="608255"/>
                      </a:lnTo>
                      <a:lnTo>
                        <a:pt x="406199" y="607408"/>
                      </a:lnTo>
                      <a:lnTo>
                        <a:pt x="406199" y="608752"/>
                      </a:lnTo>
                      <a:lnTo>
                        <a:pt x="406769" y="609959"/>
                      </a:lnTo>
                      <a:lnTo>
                        <a:pt x="409565" y="610757"/>
                      </a:lnTo>
                      <a:lnTo>
                        <a:pt x="411382" y="611034"/>
                      </a:lnTo>
                      <a:lnTo>
                        <a:pt x="412222" y="610790"/>
                      </a:lnTo>
                      <a:lnTo>
                        <a:pt x="412450" y="609510"/>
                      </a:lnTo>
                      <a:lnTo>
                        <a:pt x="412075" y="607196"/>
                      </a:lnTo>
                      <a:lnTo>
                        <a:pt x="411977" y="605012"/>
                      </a:lnTo>
                      <a:lnTo>
                        <a:pt x="412165" y="602950"/>
                      </a:lnTo>
                      <a:lnTo>
                        <a:pt x="412572" y="601320"/>
                      </a:lnTo>
                      <a:lnTo>
                        <a:pt x="414438" y="598427"/>
                      </a:lnTo>
                      <a:lnTo>
                        <a:pt x="417209" y="595126"/>
                      </a:lnTo>
                      <a:lnTo>
                        <a:pt x="420999" y="591288"/>
                      </a:lnTo>
                      <a:lnTo>
                        <a:pt x="423395" y="589543"/>
                      </a:lnTo>
                      <a:lnTo>
                        <a:pt x="425644" y="588614"/>
                      </a:lnTo>
                      <a:lnTo>
                        <a:pt x="427828" y="586935"/>
                      </a:lnTo>
                      <a:lnTo>
                        <a:pt x="431585" y="582975"/>
                      </a:lnTo>
                      <a:lnTo>
                        <a:pt x="432783" y="582323"/>
                      </a:lnTo>
                      <a:lnTo>
                        <a:pt x="435473" y="581540"/>
                      </a:lnTo>
                      <a:lnTo>
                        <a:pt x="436459" y="581883"/>
                      </a:lnTo>
                      <a:lnTo>
                        <a:pt x="437038" y="582885"/>
                      </a:lnTo>
                      <a:lnTo>
                        <a:pt x="437747" y="583505"/>
                      </a:lnTo>
                      <a:lnTo>
                        <a:pt x="440477" y="584059"/>
                      </a:lnTo>
                      <a:lnTo>
                        <a:pt x="442294" y="583178"/>
                      </a:lnTo>
                      <a:lnTo>
                        <a:pt x="441993" y="582706"/>
                      </a:lnTo>
                      <a:lnTo>
                        <a:pt x="440518" y="582404"/>
                      </a:lnTo>
                      <a:lnTo>
                        <a:pt x="439572" y="581826"/>
                      </a:lnTo>
                      <a:lnTo>
                        <a:pt x="438684" y="579454"/>
                      </a:lnTo>
                      <a:lnTo>
                        <a:pt x="436866" y="578028"/>
                      </a:lnTo>
                      <a:lnTo>
                        <a:pt x="436459" y="576422"/>
                      </a:lnTo>
                      <a:lnTo>
                        <a:pt x="436793" y="573904"/>
                      </a:lnTo>
                      <a:lnTo>
                        <a:pt x="438350" y="567987"/>
                      </a:lnTo>
                      <a:lnTo>
                        <a:pt x="438602" y="561900"/>
                      </a:lnTo>
                      <a:lnTo>
                        <a:pt x="439988" y="558411"/>
                      </a:lnTo>
                      <a:lnTo>
                        <a:pt x="442775" y="557148"/>
                      </a:lnTo>
                      <a:lnTo>
                        <a:pt x="448952" y="556284"/>
                      </a:lnTo>
                      <a:lnTo>
                        <a:pt x="445342" y="554703"/>
                      </a:lnTo>
                      <a:lnTo>
                        <a:pt x="443989" y="554695"/>
                      </a:lnTo>
                      <a:lnTo>
                        <a:pt x="441642" y="553954"/>
                      </a:lnTo>
                      <a:lnTo>
                        <a:pt x="440754" y="550139"/>
                      </a:lnTo>
                      <a:lnTo>
                        <a:pt x="440770" y="547377"/>
                      </a:lnTo>
                      <a:lnTo>
                        <a:pt x="442327" y="544158"/>
                      </a:lnTo>
                      <a:lnTo>
                        <a:pt x="448080" y="538730"/>
                      </a:lnTo>
                      <a:lnTo>
                        <a:pt x="454388" y="534981"/>
                      </a:lnTo>
                      <a:lnTo>
                        <a:pt x="453533" y="534663"/>
                      </a:lnTo>
                      <a:lnTo>
                        <a:pt x="452750" y="533547"/>
                      </a:lnTo>
                      <a:lnTo>
                        <a:pt x="455660" y="526000"/>
                      </a:lnTo>
                      <a:lnTo>
                        <a:pt x="458496" y="519244"/>
                      </a:lnTo>
                      <a:lnTo>
                        <a:pt x="454665" y="524998"/>
                      </a:lnTo>
                      <a:lnTo>
                        <a:pt x="450240" y="529398"/>
                      </a:lnTo>
                      <a:lnTo>
                        <a:pt x="437249" y="534492"/>
                      </a:lnTo>
                      <a:lnTo>
                        <a:pt x="428415" y="538754"/>
                      </a:lnTo>
                      <a:lnTo>
                        <a:pt x="424218" y="539773"/>
                      </a:lnTo>
                      <a:lnTo>
                        <a:pt x="421447" y="538689"/>
                      </a:lnTo>
                      <a:lnTo>
                        <a:pt x="419296" y="534598"/>
                      </a:lnTo>
                      <a:lnTo>
                        <a:pt x="418057" y="533139"/>
                      </a:lnTo>
                      <a:lnTo>
                        <a:pt x="416476" y="530458"/>
                      </a:lnTo>
                      <a:lnTo>
                        <a:pt x="417144" y="526986"/>
                      </a:lnTo>
                      <a:lnTo>
                        <a:pt x="418399" y="524582"/>
                      </a:lnTo>
                      <a:lnTo>
                        <a:pt x="421154" y="524191"/>
                      </a:lnTo>
                      <a:lnTo>
                        <a:pt x="424259" y="525356"/>
                      </a:lnTo>
                      <a:lnTo>
                        <a:pt x="426956" y="525454"/>
                      </a:lnTo>
                      <a:lnTo>
                        <a:pt x="423476" y="523074"/>
                      </a:lnTo>
                      <a:lnTo>
                        <a:pt x="418464" y="521004"/>
                      </a:lnTo>
                      <a:lnTo>
                        <a:pt x="416199" y="521681"/>
                      </a:lnTo>
                      <a:lnTo>
                        <a:pt x="414463" y="525038"/>
                      </a:lnTo>
                      <a:lnTo>
                        <a:pt x="412140" y="527353"/>
                      </a:lnTo>
                      <a:lnTo>
                        <a:pt x="410095" y="526530"/>
                      </a:lnTo>
                      <a:lnTo>
                        <a:pt x="408880" y="525601"/>
                      </a:lnTo>
                      <a:lnTo>
                        <a:pt x="409728" y="528412"/>
                      </a:lnTo>
                      <a:lnTo>
                        <a:pt x="408188" y="532699"/>
                      </a:lnTo>
                      <a:lnTo>
                        <a:pt x="407609" y="535666"/>
                      </a:lnTo>
                      <a:lnTo>
                        <a:pt x="409817" y="543473"/>
                      </a:lnTo>
                      <a:lnTo>
                        <a:pt x="409410" y="546594"/>
                      </a:lnTo>
                      <a:lnTo>
                        <a:pt x="405384" y="548021"/>
                      </a:lnTo>
                      <a:lnTo>
                        <a:pt x="402116" y="545462"/>
                      </a:lnTo>
                      <a:lnTo>
                        <a:pt x="395286" y="535568"/>
                      </a:lnTo>
                      <a:lnTo>
                        <a:pt x="392907" y="532740"/>
                      </a:lnTo>
                      <a:lnTo>
                        <a:pt x="387544" y="528078"/>
                      </a:lnTo>
                      <a:lnTo>
                        <a:pt x="385784" y="528746"/>
                      </a:lnTo>
                      <a:lnTo>
                        <a:pt x="383535" y="531053"/>
                      </a:lnTo>
                      <a:lnTo>
                        <a:pt x="381350" y="531689"/>
                      </a:lnTo>
                      <a:lnTo>
                        <a:pt x="375589" y="528290"/>
                      </a:lnTo>
                      <a:lnTo>
                        <a:pt x="372907" y="525707"/>
                      </a:lnTo>
                      <a:lnTo>
                        <a:pt x="370365" y="522561"/>
                      </a:lnTo>
                      <a:lnTo>
                        <a:pt x="366477" y="524289"/>
                      </a:lnTo>
                      <a:lnTo>
                        <a:pt x="363079" y="526359"/>
                      </a:lnTo>
                      <a:lnTo>
                        <a:pt x="359102" y="529651"/>
                      </a:lnTo>
                      <a:lnTo>
                        <a:pt x="356445" y="529619"/>
                      </a:lnTo>
                      <a:lnTo>
                        <a:pt x="349216" y="532438"/>
                      </a:lnTo>
                      <a:lnTo>
                        <a:pt x="348450" y="532504"/>
                      </a:lnTo>
                      <a:lnTo>
                        <a:pt x="347431" y="534019"/>
                      </a:lnTo>
                      <a:lnTo>
                        <a:pt x="346437" y="534696"/>
                      </a:lnTo>
                      <a:lnTo>
                        <a:pt x="345606" y="537622"/>
                      </a:lnTo>
                      <a:lnTo>
                        <a:pt x="335834" y="539887"/>
                      </a:lnTo>
                      <a:lnTo>
                        <a:pt x="326169" y="538616"/>
                      </a:lnTo>
                      <a:lnTo>
                        <a:pt x="329551" y="537010"/>
                      </a:lnTo>
                      <a:lnTo>
                        <a:pt x="333324" y="535747"/>
                      </a:lnTo>
                      <a:lnTo>
                        <a:pt x="336592" y="532699"/>
                      </a:lnTo>
                      <a:lnTo>
                        <a:pt x="335199" y="528624"/>
                      </a:lnTo>
                      <a:lnTo>
                        <a:pt x="334962" y="526546"/>
                      </a:lnTo>
                      <a:lnTo>
                        <a:pt x="335003" y="523922"/>
                      </a:lnTo>
                      <a:lnTo>
                        <a:pt x="338581" y="520230"/>
                      </a:lnTo>
                      <a:lnTo>
                        <a:pt x="334856" y="520238"/>
                      </a:lnTo>
                      <a:lnTo>
                        <a:pt x="332477" y="521558"/>
                      </a:lnTo>
                      <a:lnTo>
                        <a:pt x="330235" y="518787"/>
                      </a:lnTo>
                      <a:lnTo>
                        <a:pt x="329192" y="513335"/>
                      </a:lnTo>
                      <a:lnTo>
                        <a:pt x="331751" y="510100"/>
                      </a:lnTo>
                      <a:lnTo>
                        <a:pt x="332941" y="507606"/>
                      </a:lnTo>
                      <a:lnTo>
                        <a:pt x="333952" y="504183"/>
                      </a:lnTo>
                      <a:lnTo>
                        <a:pt x="334025" y="501241"/>
                      </a:lnTo>
                      <a:lnTo>
                        <a:pt x="332045" y="496245"/>
                      </a:lnTo>
                      <a:lnTo>
                        <a:pt x="326348" y="485651"/>
                      </a:lnTo>
                      <a:lnTo>
                        <a:pt x="323764" y="477729"/>
                      </a:lnTo>
                      <a:lnTo>
                        <a:pt x="319323" y="473499"/>
                      </a:lnTo>
                      <a:lnTo>
                        <a:pt x="322640" y="466564"/>
                      </a:lnTo>
                      <a:lnTo>
                        <a:pt x="326340" y="460248"/>
                      </a:lnTo>
                      <a:lnTo>
                        <a:pt x="331107" y="457420"/>
                      </a:lnTo>
                      <a:lnTo>
                        <a:pt x="330724" y="456996"/>
                      </a:lnTo>
                      <a:lnTo>
                        <a:pt x="328084" y="457013"/>
                      </a:lnTo>
                      <a:lnTo>
                        <a:pt x="326356" y="457387"/>
                      </a:lnTo>
                      <a:lnTo>
                        <a:pt x="324824" y="459449"/>
                      </a:lnTo>
                      <a:lnTo>
                        <a:pt x="323210" y="461022"/>
                      </a:lnTo>
                      <a:lnTo>
                        <a:pt x="318157" y="469066"/>
                      </a:lnTo>
                      <a:lnTo>
                        <a:pt x="314914" y="472978"/>
                      </a:lnTo>
                      <a:lnTo>
                        <a:pt x="312795" y="474094"/>
                      </a:lnTo>
                      <a:lnTo>
                        <a:pt x="316202" y="475618"/>
                      </a:lnTo>
                      <a:lnTo>
                        <a:pt x="316715" y="476898"/>
                      </a:lnTo>
                      <a:lnTo>
                        <a:pt x="317375" y="479799"/>
                      </a:lnTo>
                      <a:lnTo>
                        <a:pt x="316511" y="483320"/>
                      </a:lnTo>
                      <a:lnTo>
                        <a:pt x="315639" y="485268"/>
                      </a:lnTo>
                      <a:lnTo>
                        <a:pt x="311629" y="485105"/>
                      </a:lnTo>
                      <a:lnTo>
                        <a:pt x="308027" y="487933"/>
                      </a:lnTo>
                      <a:lnTo>
                        <a:pt x="299560" y="491005"/>
                      </a:lnTo>
                      <a:lnTo>
                        <a:pt x="288126" y="492765"/>
                      </a:lnTo>
                      <a:lnTo>
                        <a:pt x="282510" y="492553"/>
                      </a:lnTo>
                      <a:lnTo>
                        <a:pt x="276659" y="488976"/>
                      </a:lnTo>
                      <a:lnTo>
                        <a:pt x="276692" y="486898"/>
                      </a:lnTo>
                      <a:lnTo>
                        <a:pt x="276928" y="485088"/>
                      </a:lnTo>
                      <a:lnTo>
                        <a:pt x="268526" y="478895"/>
                      </a:lnTo>
                      <a:lnTo>
                        <a:pt x="263774" y="472709"/>
                      </a:lnTo>
                      <a:lnTo>
                        <a:pt x="260360" y="472570"/>
                      </a:lnTo>
                      <a:lnTo>
                        <a:pt x="257344" y="470924"/>
                      </a:lnTo>
                      <a:lnTo>
                        <a:pt x="253840" y="468357"/>
                      </a:lnTo>
                      <a:lnTo>
                        <a:pt x="254149" y="466287"/>
                      </a:lnTo>
                      <a:lnTo>
                        <a:pt x="254704" y="464828"/>
                      </a:lnTo>
                      <a:lnTo>
                        <a:pt x="252552" y="463809"/>
                      </a:lnTo>
                      <a:lnTo>
                        <a:pt x="249789" y="463915"/>
                      </a:lnTo>
                      <a:lnTo>
                        <a:pt x="246578" y="463206"/>
                      </a:lnTo>
                      <a:lnTo>
                        <a:pt x="254956" y="455220"/>
                      </a:lnTo>
                      <a:lnTo>
                        <a:pt x="257841" y="449865"/>
                      </a:lnTo>
                      <a:lnTo>
                        <a:pt x="260188" y="449099"/>
                      </a:lnTo>
                      <a:lnTo>
                        <a:pt x="263236" y="449930"/>
                      </a:lnTo>
                      <a:lnTo>
                        <a:pt x="267442" y="452041"/>
                      </a:lnTo>
                      <a:lnTo>
                        <a:pt x="270987" y="452970"/>
                      </a:lnTo>
                      <a:lnTo>
                        <a:pt x="272266" y="453964"/>
                      </a:lnTo>
                      <a:lnTo>
                        <a:pt x="273578" y="455831"/>
                      </a:lnTo>
                      <a:lnTo>
                        <a:pt x="272193" y="458968"/>
                      </a:lnTo>
                      <a:lnTo>
                        <a:pt x="270930" y="461177"/>
                      </a:lnTo>
                      <a:lnTo>
                        <a:pt x="272486" y="460574"/>
                      </a:lnTo>
                      <a:lnTo>
                        <a:pt x="276895" y="457176"/>
                      </a:lnTo>
                      <a:lnTo>
                        <a:pt x="280180" y="454176"/>
                      </a:lnTo>
                      <a:lnTo>
                        <a:pt x="281753" y="454494"/>
                      </a:lnTo>
                      <a:lnTo>
                        <a:pt x="282771" y="455016"/>
                      </a:lnTo>
                      <a:lnTo>
                        <a:pt x="284597" y="458105"/>
                      </a:lnTo>
                      <a:lnTo>
                        <a:pt x="286862" y="461250"/>
                      </a:lnTo>
                      <a:lnTo>
                        <a:pt x="291850" y="458251"/>
                      </a:lnTo>
                      <a:lnTo>
                        <a:pt x="294523" y="454519"/>
                      </a:lnTo>
                      <a:lnTo>
                        <a:pt x="292274" y="452881"/>
                      </a:lnTo>
                      <a:lnTo>
                        <a:pt x="289519" y="451911"/>
                      </a:lnTo>
                      <a:lnTo>
                        <a:pt x="282494" y="450639"/>
                      </a:lnTo>
                      <a:lnTo>
                        <a:pt x="284206" y="449564"/>
                      </a:lnTo>
                      <a:lnTo>
                        <a:pt x="288721" y="449686"/>
                      </a:lnTo>
                      <a:lnTo>
                        <a:pt x="290416" y="448659"/>
                      </a:lnTo>
                      <a:lnTo>
                        <a:pt x="288631" y="447233"/>
                      </a:lnTo>
                      <a:lnTo>
                        <a:pt x="286398" y="445962"/>
                      </a:lnTo>
                      <a:lnTo>
                        <a:pt x="280302" y="450199"/>
                      </a:lnTo>
                      <a:lnTo>
                        <a:pt x="269218" y="449987"/>
                      </a:lnTo>
                      <a:lnTo>
                        <a:pt x="261468" y="447518"/>
                      </a:lnTo>
                      <a:lnTo>
                        <a:pt x="253726" y="447942"/>
                      </a:lnTo>
                      <a:lnTo>
                        <a:pt x="252503" y="447453"/>
                      </a:lnTo>
                      <a:lnTo>
                        <a:pt x="250995" y="446124"/>
                      </a:lnTo>
                      <a:lnTo>
                        <a:pt x="255356" y="442979"/>
                      </a:lnTo>
                      <a:lnTo>
                        <a:pt x="258436" y="441243"/>
                      </a:lnTo>
                      <a:lnTo>
                        <a:pt x="258599" y="440232"/>
                      </a:lnTo>
                      <a:lnTo>
                        <a:pt x="256806" y="440102"/>
                      </a:lnTo>
                      <a:lnTo>
                        <a:pt x="253432" y="440933"/>
                      </a:lnTo>
                      <a:lnTo>
                        <a:pt x="251933" y="439482"/>
                      </a:lnTo>
                      <a:lnTo>
                        <a:pt x="252177" y="436964"/>
                      </a:lnTo>
                      <a:lnTo>
                        <a:pt x="251623" y="437192"/>
                      </a:lnTo>
                      <a:lnTo>
                        <a:pt x="250295" y="438562"/>
                      </a:lnTo>
                      <a:lnTo>
                        <a:pt x="248412" y="437885"/>
                      </a:lnTo>
                      <a:lnTo>
                        <a:pt x="246798" y="436752"/>
                      </a:lnTo>
                      <a:lnTo>
                        <a:pt x="247646" y="435538"/>
                      </a:lnTo>
                      <a:lnTo>
                        <a:pt x="249308" y="433875"/>
                      </a:lnTo>
                      <a:lnTo>
                        <a:pt x="248575" y="433631"/>
                      </a:lnTo>
                      <a:lnTo>
                        <a:pt x="247084" y="433981"/>
                      </a:lnTo>
                      <a:lnTo>
                        <a:pt x="245633" y="436157"/>
                      </a:lnTo>
                      <a:lnTo>
                        <a:pt x="245951" y="437910"/>
                      </a:lnTo>
                      <a:lnTo>
                        <a:pt x="245910" y="440436"/>
                      </a:lnTo>
                      <a:lnTo>
                        <a:pt x="243441" y="440892"/>
                      </a:lnTo>
                      <a:lnTo>
                        <a:pt x="241322" y="440591"/>
                      </a:lnTo>
                      <a:lnTo>
                        <a:pt x="239790" y="438056"/>
                      </a:lnTo>
                      <a:lnTo>
                        <a:pt x="238209" y="432604"/>
                      </a:lnTo>
                      <a:lnTo>
                        <a:pt x="233930" y="431162"/>
                      </a:lnTo>
                      <a:lnTo>
                        <a:pt x="232887" y="428407"/>
                      </a:lnTo>
                      <a:lnTo>
                        <a:pt x="235592" y="424862"/>
                      </a:lnTo>
                      <a:lnTo>
                        <a:pt x="234394" y="423036"/>
                      </a:lnTo>
                      <a:lnTo>
                        <a:pt x="231518" y="422441"/>
                      </a:lnTo>
                      <a:lnTo>
                        <a:pt x="228225" y="424234"/>
                      </a:lnTo>
                      <a:lnTo>
                        <a:pt x="226766" y="422645"/>
                      </a:lnTo>
                      <a:lnTo>
                        <a:pt x="226497" y="420901"/>
                      </a:lnTo>
                      <a:lnTo>
                        <a:pt x="226383" y="418391"/>
                      </a:lnTo>
                      <a:lnTo>
                        <a:pt x="227296" y="418130"/>
                      </a:lnTo>
                      <a:lnTo>
                        <a:pt x="228062" y="418627"/>
                      </a:lnTo>
                      <a:lnTo>
                        <a:pt x="234655" y="417242"/>
                      </a:lnTo>
                      <a:lnTo>
                        <a:pt x="235291" y="416565"/>
                      </a:lnTo>
                      <a:lnTo>
                        <a:pt x="230059" y="414446"/>
                      </a:lnTo>
                      <a:lnTo>
                        <a:pt x="228592" y="412222"/>
                      </a:lnTo>
                      <a:lnTo>
                        <a:pt x="230768" y="410950"/>
                      </a:lnTo>
                      <a:lnTo>
                        <a:pt x="234672" y="410844"/>
                      </a:lnTo>
                      <a:lnTo>
                        <a:pt x="240148" y="409516"/>
                      </a:lnTo>
                      <a:lnTo>
                        <a:pt x="237842" y="407152"/>
                      </a:lnTo>
                      <a:lnTo>
                        <a:pt x="237361" y="405848"/>
                      </a:lnTo>
                      <a:lnTo>
                        <a:pt x="236896" y="403713"/>
                      </a:lnTo>
                      <a:lnTo>
                        <a:pt x="237801" y="400095"/>
                      </a:lnTo>
                      <a:lnTo>
                        <a:pt x="244247" y="391782"/>
                      </a:lnTo>
                      <a:lnTo>
                        <a:pt x="250523" y="384847"/>
                      </a:lnTo>
                      <a:lnTo>
                        <a:pt x="252479" y="383241"/>
                      </a:lnTo>
                      <a:lnTo>
                        <a:pt x="255356" y="382377"/>
                      </a:lnTo>
                      <a:lnTo>
                        <a:pt x="258029" y="383046"/>
                      </a:lnTo>
                      <a:lnTo>
                        <a:pt x="260824" y="384537"/>
                      </a:lnTo>
                      <a:lnTo>
                        <a:pt x="261354" y="383901"/>
                      </a:lnTo>
                      <a:lnTo>
                        <a:pt x="260408" y="383290"/>
                      </a:lnTo>
                      <a:lnTo>
                        <a:pt x="259210" y="380446"/>
                      </a:lnTo>
                      <a:lnTo>
                        <a:pt x="263090" y="379321"/>
                      </a:lnTo>
                      <a:lnTo>
                        <a:pt x="265363" y="376110"/>
                      </a:lnTo>
                      <a:lnTo>
                        <a:pt x="265535" y="375173"/>
                      </a:lnTo>
                      <a:lnTo>
                        <a:pt x="263065" y="376518"/>
                      </a:lnTo>
                      <a:lnTo>
                        <a:pt x="260498" y="378710"/>
                      </a:lnTo>
                      <a:lnTo>
                        <a:pt x="259846" y="376501"/>
                      </a:lnTo>
                      <a:lnTo>
                        <a:pt x="259178" y="371408"/>
                      </a:lnTo>
                      <a:lnTo>
                        <a:pt x="260319" y="366599"/>
                      </a:lnTo>
                      <a:lnTo>
                        <a:pt x="261199" y="364440"/>
                      </a:lnTo>
                      <a:lnTo>
                        <a:pt x="263350" y="362386"/>
                      </a:lnTo>
                      <a:lnTo>
                        <a:pt x="269536" y="361563"/>
                      </a:lnTo>
                      <a:lnTo>
                        <a:pt x="270620" y="361979"/>
                      </a:lnTo>
                      <a:lnTo>
                        <a:pt x="270848" y="361009"/>
                      </a:lnTo>
                      <a:lnTo>
                        <a:pt x="267124" y="357969"/>
                      </a:lnTo>
                      <a:lnTo>
                        <a:pt x="268656" y="355597"/>
                      </a:lnTo>
                      <a:lnTo>
                        <a:pt x="270009" y="354367"/>
                      </a:lnTo>
                      <a:lnTo>
                        <a:pt x="277482" y="352443"/>
                      </a:lnTo>
                      <a:lnTo>
                        <a:pt x="281573" y="353038"/>
                      </a:lnTo>
                      <a:lnTo>
                        <a:pt x="286699" y="355279"/>
                      </a:lnTo>
                      <a:lnTo>
                        <a:pt x="289674" y="358075"/>
                      </a:lnTo>
                      <a:lnTo>
                        <a:pt x="289242" y="359501"/>
                      </a:lnTo>
                      <a:lnTo>
                        <a:pt x="288501" y="360332"/>
                      </a:lnTo>
                      <a:lnTo>
                        <a:pt x="286960" y="361269"/>
                      </a:lnTo>
                      <a:lnTo>
                        <a:pt x="286382" y="361987"/>
                      </a:lnTo>
                      <a:lnTo>
                        <a:pt x="286659" y="362557"/>
                      </a:lnTo>
                      <a:lnTo>
                        <a:pt x="288859" y="360895"/>
                      </a:lnTo>
                      <a:lnTo>
                        <a:pt x="292453" y="358873"/>
                      </a:lnTo>
                      <a:lnTo>
                        <a:pt x="294466" y="359745"/>
                      </a:lnTo>
                      <a:lnTo>
                        <a:pt x="296064" y="361343"/>
                      </a:lnTo>
                      <a:lnTo>
                        <a:pt x="297816" y="361318"/>
                      </a:lnTo>
                      <a:lnTo>
                        <a:pt x="303423" y="359949"/>
                      </a:lnTo>
                      <a:lnTo>
                        <a:pt x="306259" y="358490"/>
                      </a:lnTo>
                      <a:lnTo>
                        <a:pt x="309731" y="354717"/>
                      </a:lnTo>
                      <a:lnTo>
                        <a:pt x="314352" y="352272"/>
                      </a:lnTo>
                      <a:lnTo>
                        <a:pt x="320839" y="344554"/>
                      </a:lnTo>
                      <a:lnTo>
                        <a:pt x="322746" y="341376"/>
                      </a:lnTo>
                      <a:lnTo>
                        <a:pt x="324962" y="340895"/>
                      </a:lnTo>
                      <a:lnTo>
                        <a:pt x="326967" y="341180"/>
                      </a:lnTo>
                      <a:lnTo>
                        <a:pt x="328361" y="343780"/>
                      </a:lnTo>
                      <a:lnTo>
                        <a:pt x="330398" y="344538"/>
                      </a:lnTo>
                      <a:lnTo>
                        <a:pt x="342020" y="343902"/>
                      </a:lnTo>
                      <a:lnTo>
                        <a:pt x="347961" y="342712"/>
                      </a:lnTo>
                      <a:lnTo>
                        <a:pt x="352085" y="340194"/>
                      </a:lnTo>
                      <a:lnTo>
                        <a:pt x="356372" y="335940"/>
                      </a:lnTo>
                      <a:lnTo>
                        <a:pt x="358857" y="333080"/>
                      </a:lnTo>
                      <a:lnTo>
                        <a:pt x="360047" y="329355"/>
                      </a:lnTo>
                      <a:lnTo>
                        <a:pt x="358515" y="324539"/>
                      </a:lnTo>
                      <a:lnTo>
                        <a:pt x="356942" y="320529"/>
                      </a:lnTo>
                      <a:lnTo>
                        <a:pt x="354872" y="311352"/>
                      </a:lnTo>
                      <a:lnTo>
                        <a:pt x="349102" y="305281"/>
                      </a:lnTo>
                      <a:lnTo>
                        <a:pt x="345003" y="303472"/>
                      </a:lnTo>
                      <a:lnTo>
                        <a:pt x="342395" y="303724"/>
                      </a:lnTo>
                      <a:lnTo>
                        <a:pt x="344285" y="299845"/>
                      </a:lnTo>
                      <a:lnTo>
                        <a:pt x="349778" y="300261"/>
                      </a:lnTo>
                      <a:lnTo>
                        <a:pt x="353356" y="299503"/>
                      </a:lnTo>
                      <a:lnTo>
                        <a:pt x="356257" y="297636"/>
                      </a:lnTo>
                      <a:lnTo>
                        <a:pt x="357203" y="296218"/>
                      </a:lnTo>
                      <a:lnTo>
                        <a:pt x="358637" y="293325"/>
                      </a:lnTo>
                      <a:lnTo>
                        <a:pt x="358140" y="290236"/>
                      </a:lnTo>
                      <a:lnTo>
                        <a:pt x="357374" y="288558"/>
                      </a:lnTo>
                      <a:lnTo>
                        <a:pt x="355369" y="286708"/>
                      </a:lnTo>
                      <a:lnTo>
                        <a:pt x="352998" y="283994"/>
                      </a:lnTo>
                      <a:lnTo>
                        <a:pt x="351335" y="283097"/>
                      </a:lnTo>
                      <a:lnTo>
                        <a:pt x="349933" y="283154"/>
                      </a:lnTo>
                      <a:lnTo>
                        <a:pt x="342998" y="288582"/>
                      </a:lnTo>
                      <a:lnTo>
                        <a:pt x="338841" y="288680"/>
                      </a:lnTo>
                      <a:lnTo>
                        <a:pt x="335736" y="287677"/>
                      </a:lnTo>
                      <a:lnTo>
                        <a:pt x="333031" y="290766"/>
                      </a:lnTo>
                      <a:lnTo>
                        <a:pt x="325492" y="293480"/>
                      </a:lnTo>
                      <a:lnTo>
                        <a:pt x="321466" y="296210"/>
                      </a:lnTo>
                      <a:lnTo>
                        <a:pt x="313993" y="302999"/>
                      </a:lnTo>
                      <a:lnTo>
                        <a:pt x="312127" y="306063"/>
                      </a:lnTo>
                      <a:lnTo>
                        <a:pt x="309747" y="306202"/>
                      </a:lnTo>
                      <a:lnTo>
                        <a:pt x="308027" y="300252"/>
                      </a:lnTo>
                      <a:lnTo>
                        <a:pt x="299902" y="294580"/>
                      </a:lnTo>
                      <a:lnTo>
                        <a:pt x="297449" y="296512"/>
                      </a:lnTo>
                      <a:lnTo>
                        <a:pt x="298802" y="298296"/>
                      </a:lnTo>
                      <a:lnTo>
                        <a:pt x="300644" y="299560"/>
                      </a:lnTo>
                      <a:lnTo>
                        <a:pt x="303675" y="300114"/>
                      </a:lnTo>
                      <a:lnTo>
                        <a:pt x="302371" y="301833"/>
                      </a:lnTo>
                      <a:lnTo>
                        <a:pt x="301377" y="304132"/>
                      </a:lnTo>
                      <a:lnTo>
                        <a:pt x="298329" y="301980"/>
                      </a:lnTo>
                      <a:lnTo>
                        <a:pt x="292893" y="298859"/>
                      </a:lnTo>
                      <a:lnTo>
                        <a:pt x="287262" y="297245"/>
                      </a:lnTo>
                      <a:lnTo>
                        <a:pt x="272609" y="297424"/>
                      </a:lnTo>
                      <a:lnTo>
                        <a:pt x="262984" y="300635"/>
                      </a:lnTo>
                      <a:lnTo>
                        <a:pt x="262104" y="299975"/>
                      </a:lnTo>
                      <a:lnTo>
                        <a:pt x="261174" y="299706"/>
                      </a:lnTo>
                      <a:lnTo>
                        <a:pt x="259577" y="300472"/>
                      </a:lnTo>
                      <a:lnTo>
                        <a:pt x="258884" y="301776"/>
                      </a:lnTo>
                      <a:lnTo>
                        <a:pt x="257841" y="302591"/>
                      </a:lnTo>
                      <a:lnTo>
                        <a:pt x="255869" y="302893"/>
                      </a:lnTo>
                      <a:lnTo>
                        <a:pt x="251925" y="302404"/>
                      </a:lnTo>
                      <a:lnTo>
                        <a:pt x="244280" y="300407"/>
                      </a:lnTo>
                      <a:lnTo>
                        <a:pt x="227003" y="297482"/>
                      </a:lnTo>
                      <a:lnTo>
                        <a:pt x="222471" y="295689"/>
                      </a:lnTo>
                      <a:lnTo>
                        <a:pt x="218600" y="291394"/>
                      </a:lnTo>
                      <a:lnTo>
                        <a:pt x="218682" y="288476"/>
                      </a:lnTo>
                      <a:lnTo>
                        <a:pt x="220401" y="287245"/>
                      </a:lnTo>
                      <a:lnTo>
                        <a:pt x="220230" y="283056"/>
                      </a:lnTo>
                      <a:lnTo>
                        <a:pt x="216873" y="281948"/>
                      </a:lnTo>
                      <a:lnTo>
                        <a:pt x="210027" y="275925"/>
                      </a:lnTo>
                      <a:lnTo>
                        <a:pt x="207508" y="273366"/>
                      </a:lnTo>
                      <a:lnTo>
                        <a:pt x="208055" y="273073"/>
                      </a:lnTo>
                      <a:lnTo>
                        <a:pt x="209285" y="273774"/>
                      </a:lnTo>
                      <a:lnTo>
                        <a:pt x="211624" y="274296"/>
                      </a:lnTo>
                      <a:lnTo>
                        <a:pt x="217370" y="273448"/>
                      </a:lnTo>
                      <a:lnTo>
                        <a:pt x="219342" y="269544"/>
                      </a:lnTo>
                      <a:lnTo>
                        <a:pt x="223604" y="268428"/>
                      </a:lnTo>
                      <a:lnTo>
                        <a:pt x="227524" y="268982"/>
                      </a:lnTo>
                      <a:lnTo>
                        <a:pt x="226644" y="267922"/>
                      </a:lnTo>
                      <a:lnTo>
                        <a:pt x="225642" y="267083"/>
                      </a:lnTo>
                      <a:lnTo>
                        <a:pt x="215422" y="265094"/>
                      </a:lnTo>
                      <a:lnTo>
                        <a:pt x="214036" y="265706"/>
                      </a:lnTo>
                      <a:lnTo>
                        <a:pt x="195716" y="262161"/>
                      </a:lnTo>
                      <a:lnTo>
                        <a:pt x="181250" y="255991"/>
                      </a:lnTo>
                      <a:lnTo>
                        <a:pt x="180060" y="254818"/>
                      </a:lnTo>
                      <a:lnTo>
                        <a:pt x="178732" y="252177"/>
                      </a:lnTo>
                      <a:lnTo>
                        <a:pt x="180688" y="249577"/>
                      </a:lnTo>
                      <a:lnTo>
                        <a:pt x="182652" y="248347"/>
                      </a:lnTo>
                      <a:lnTo>
                        <a:pt x="182741" y="249773"/>
                      </a:lnTo>
                      <a:lnTo>
                        <a:pt x="183051" y="251183"/>
                      </a:lnTo>
                      <a:lnTo>
                        <a:pt x="191348" y="247915"/>
                      </a:lnTo>
                      <a:lnTo>
                        <a:pt x="195683" y="243620"/>
                      </a:lnTo>
                      <a:lnTo>
                        <a:pt x="203898" y="242862"/>
                      </a:lnTo>
                      <a:lnTo>
                        <a:pt x="205805" y="241680"/>
                      </a:lnTo>
                      <a:lnTo>
                        <a:pt x="208348" y="239374"/>
                      </a:lnTo>
                      <a:lnTo>
                        <a:pt x="211991" y="235429"/>
                      </a:lnTo>
                      <a:lnTo>
                        <a:pt x="217133" y="233351"/>
                      </a:lnTo>
                      <a:lnTo>
                        <a:pt x="220638" y="231485"/>
                      </a:lnTo>
                      <a:lnTo>
                        <a:pt x="225210" y="230385"/>
                      </a:lnTo>
                      <a:lnTo>
                        <a:pt x="229105" y="232218"/>
                      </a:lnTo>
                      <a:lnTo>
                        <a:pt x="230303" y="232471"/>
                      </a:lnTo>
                      <a:lnTo>
                        <a:pt x="237377" y="232846"/>
                      </a:lnTo>
                      <a:lnTo>
                        <a:pt x="239708" y="232047"/>
                      </a:lnTo>
                      <a:lnTo>
                        <a:pt x="240702" y="231452"/>
                      </a:lnTo>
                      <a:lnTo>
                        <a:pt x="241436" y="230515"/>
                      </a:lnTo>
                      <a:lnTo>
                        <a:pt x="234484" y="227190"/>
                      </a:lnTo>
                      <a:lnTo>
                        <a:pt x="235185" y="225332"/>
                      </a:lnTo>
                      <a:lnTo>
                        <a:pt x="236073" y="224028"/>
                      </a:lnTo>
                      <a:lnTo>
                        <a:pt x="244182" y="220141"/>
                      </a:lnTo>
                      <a:lnTo>
                        <a:pt x="250409" y="218853"/>
                      </a:lnTo>
                      <a:lnTo>
                        <a:pt x="253742" y="218943"/>
                      </a:lnTo>
                      <a:lnTo>
                        <a:pt x="263408" y="213930"/>
                      </a:lnTo>
                      <a:lnTo>
                        <a:pt x="268713" y="212496"/>
                      </a:lnTo>
                      <a:lnTo>
                        <a:pt x="278688" y="211534"/>
                      </a:lnTo>
                      <a:lnTo>
                        <a:pt x="286887" y="211290"/>
                      </a:lnTo>
                      <a:lnTo>
                        <a:pt x="289104" y="213083"/>
                      </a:lnTo>
                      <a:lnTo>
                        <a:pt x="284703" y="212708"/>
                      </a:lnTo>
                      <a:lnTo>
                        <a:pt x="282763" y="213034"/>
                      </a:lnTo>
                      <a:lnTo>
                        <a:pt x="284149" y="213645"/>
                      </a:lnTo>
                      <a:lnTo>
                        <a:pt x="285705" y="214949"/>
                      </a:lnTo>
                      <a:lnTo>
                        <a:pt x="285249" y="216595"/>
                      </a:lnTo>
                      <a:lnTo>
                        <a:pt x="282543" y="221493"/>
                      </a:lnTo>
                      <a:lnTo>
                        <a:pt x="282763" y="225397"/>
                      </a:lnTo>
                      <a:lnTo>
                        <a:pt x="281003" y="226668"/>
                      </a:lnTo>
                      <a:lnTo>
                        <a:pt x="279300" y="228445"/>
                      </a:lnTo>
                      <a:lnTo>
                        <a:pt x="287694" y="234060"/>
                      </a:lnTo>
                      <a:lnTo>
                        <a:pt x="300684" y="234419"/>
                      </a:lnTo>
                      <a:lnTo>
                        <a:pt x="307758" y="233400"/>
                      </a:lnTo>
                      <a:lnTo>
                        <a:pt x="311841" y="235079"/>
                      </a:lnTo>
                      <a:lnTo>
                        <a:pt x="315191" y="235462"/>
                      </a:lnTo>
                      <a:lnTo>
                        <a:pt x="324433" y="234598"/>
                      </a:lnTo>
                      <a:lnTo>
                        <a:pt x="331393" y="235796"/>
                      </a:lnTo>
                      <a:lnTo>
                        <a:pt x="334302" y="235340"/>
                      </a:lnTo>
                      <a:lnTo>
                        <a:pt x="340740" y="226946"/>
                      </a:lnTo>
                      <a:lnTo>
                        <a:pt x="343259" y="225625"/>
                      </a:lnTo>
                      <a:lnTo>
                        <a:pt x="345997" y="227084"/>
                      </a:lnTo>
                      <a:lnTo>
                        <a:pt x="349566" y="228274"/>
                      </a:lnTo>
                      <a:lnTo>
                        <a:pt x="351848" y="227418"/>
                      </a:lnTo>
                      <a:lnTo>
                        <a:pt x="353707" y="229586"/>
                      </a:lnTo>
                      <a:lnTo>
                        <a:pt x="352835" y="225071"/>
                      </a:lnTo>
                      <a:lnTo>
                        <a:pt x="351579" y="223376"/>
                      </a:lnTo>
                      <a:lnTo>
                        <a:pt x="341058" y="220271"/>
                      </a:lnTo>
                      <a:lnTo>
                        <a:pt x="334017" y="221819"/>
                      </a:lnTo>
                      <a:lnTo>
                        <a:pt x="331816" y="220059"/>
                      </a:lnTo>
                      <a:lnTo>
                        <a:pt x="332542" y="216587"/>
                      </a:lnTo>
                      <a:lnTo>
                        <a:pt x="325011" y="208014"/>
                      </a:lnTo>
                      <a:lnTo>
                        <a:pt x="321874" y="206278"/>
                      </a:lnTo>
                      <a:lnTo>
                        <a:pt x="318157" y="206188"/>
                      </a:lnTo>
                      <a:lnTo>
                        <a:pt x="316275" y="203205"/>
                      </a:lnTo>
                      <a:lnTo>
                        <a:pt x="314694" y="199367"/>
                      </a:lnTo>
                      <a:lnTo>
                        <a:pt x="317897" y="197802"/>
                      </a:lnTo>
                      <a:lnTo>
                        <a:pt x="320790" y="197093"/>
                      </a:lnTo>
                      <a:lnTo>
                        <a:pt x="323471" y="198332"/>
                      </a:lnTo>
                      <a:lnTo>
                        <a:pt x="326503" y="203377"/>
                      </a:lnTo>
                      <a:lnTo>
                        <a:pt x="329323" y="204118"/>
                      </a:lnTo>
                      <a:lnTo>
                        <a:pt x="328499" y="209130"/>
                      </a:lnTo>
                      <a:lnTo>
                        <a:pt x="332004" y="213743"/>
                      </a:lnTo>
                      <a:lnTo>
                        <a:pt x="339909" y="218038"/>
                      </a:lnTo>
                      <a:lnTo>
                        <a:pt x="346233" y="216457"/>
                      </a:lnTo>
                      <a:lnTo>
                        <a:pt x="350699" y="216506"/>
                      </a:lnTo>
                      <a:lnTo>
                        <a:pt x="353372" y="217402"/>
                      </a:lnTo>
                      <a:lnTo>
                        <a:pt x="359909" y="221249"/>
                      </a:lnTo>
                      <a:lnTo>
                        <a:pt x="363234" y="221730"/>
                      </a:lnTo>
                      <a:lnTo>
                        <a:pt x="373616" y="219717"/>
                      </a:lnTo>
                      <a:lnTo>
                        <a:pt x="373722" y="215935"/>
                      </a:lnTo>
                      <a:lnTo>
                        <a:pt x="372850" y="213197"/>
                      </a:lnTo>
                      <a:lnTo>
                        <a:pt x="370413" y="211477"/>
                      </a:lnTo>
                      <a:lnTo>
                        <a:pt x="363397" y="211803"/>
                      </a:lnTo>
                      <a:lnTo>
                        <a:pt x="357936" y="208984"/>
                      </a:lnTo>
                      <a:lnTo>
                        <a:pt x="353291" y="209758"/>
                      </a:lnTo>
                      <a:lnTo>
                        <a:pt x="344693" y="214085"/>
                      </a:lnTo>
                      <a:lnTo>
                        <a:pt x="340390" y="212382"/>
                      </a:lnTo>
                      <a:lnTo>
                        <a:pt x="337684" y="210067"/>
                      </a:lnTo>
                      <a:lnTo>
                        <a:pt x="333324" y="207712"/>
                      </a:lnTo>
                      <a:lnTo>
                        <a:pt x="332778" y="203271"/>
                      </a:lnTo>
                      <a:lnTo>
                        <a:pt x="336429" y="198161"/>
                      </a:lnTo>
                      <a:lnTo>
                        <a:pt x="339143" y="195732"/>
                      </a:lnTo>
                      <a:lnTo>
                        <a:pt x="336714" y="193955"/>
                      </a:lnTo>
                      <a:lnTo>
                        <a:pt x="330627" y="192709"/>
                      </a:lnTo>
                      <a:lnTo>
                        <a:pt x="320056" y="193980"/>
                      </a:lnTo>
                      <a:lnTo>
                        <a:pt x="319559" y="192244"/>
                      </a:lnTo>
                      <a:lnTo>
                        <a:pt x="319616" y="190361"/>
                      </a:lnTo>
                      <a:lnTo>
                        <a:pt x="315305" y="194053"/>
                      </a:lnTo>
                      <a:lnTo>
                        <a:pt x="310888" y="193271"/>
                      </a:lnTo>
                      <a:lnTo>
                        <a:pt x="304914" y="193670"/>
                      </a:lnTo>
                      <a:lnTo>
                        <a:pt x="291769" y="190427"/>
                      </a:lnTo>
                      <a:lnTo>
                        <a:pt x="287091" y="186417"/>
                      </a:lnTo>
                      <a:lnTo>
                        <a:pt x="285127" y="183157"/>
                      </a:lnTo>
                      <a:lnTo>
                        <a:pt x="281581" y="174225"/>
                      </a:lnTo>
                      <a:lnTo>
                        <a:pt x="277050" y="168626"/>
                      </a:lnTo>
                      <a:lnTo>
                        <a:pt x="245780" y="149548"/>
                      </a:lnTo>
                      <a:lnTo>
                        <a:pt x="231550" y="144731"/>
                      </a:lnTo>
                      <a:lnTo>
                        <a:pt x="224696" y="139409"/>
                      </a:lnTo>
                      <a:lnTo>
                        <a:pt x="220401" y="138089"/>
                      </a:lnTo>
                      <a:lnTo>
                        <a:pt x="216302" y="137559"/>
                      </a:lnTo>
                      <a:lnTo>
                        <a:pt x="211054" y="135840"/>
                      </a:lnTo>
                      <a:lnTo>
                        <a:pt x="214582" y="133721"/>
                      </a:lnTo>
                      <a:lnTo>
                        <a:pt x="217011" y="133004"/>
                      </a:lnTo>
                      <a:lnTo>
                        <a:pt x="214485" y="135212"/>
                      </a:lnTo>
                      <a:lnTo>
                        <a:pt x="216400" y="135775"/>
                      </a:lnTo>
                      <a:lnTo>
                        <a:pt x="219464" y="134503"/>
                      </a:lnTo>
                      <a:lnTo>
                        <a:pt x="221110" y="132971"/>
                      </a:lnTo>
                      <a:lnTo>
                        <a:pt x="223531" y="126484"/>
                      </a:lnTo>
                      <a:lnTo>
                        <a:pt x="226033" y="116639"/>
                      </a:lnTo>
                      <a:lnTo>
                        <a:pt x="225356" y="112760"/>
                      </a:lnTo>
                      <a:lnTo>
                        <a:pt x="242707" y="113542"/>
                      </a:lnTo>
                      <a:lnTo>
                        <a:pt x="254255" y="112890"/>
                      </a:lnTo>
                      <a:lnTo>
                        <a:pt x="258086" y="112002"/>
                      </a:lnTo>
                      <a:lnTo>
                        <a:pt x="272649" y="110510"/>
                      </a:lnTo>
                      <a:lnTo>
                        <a:pt x="276423" y="109426"/>
                      </a:lnTo>
                      <a:lnTo>
                        <a:pt x="283423" y="106093"/>
                      </a:lnTo>
                      <a:lnTo>
                        <a:pt x="291663" y="100209"/>
                      </a:lnTo>
                      <a:lnTo>
                        <a:pt x="298737" y="92459"/>
                      </a:lnTo>
                      <a:lnTo>
                        <a:pt x="299861" y="90372"/>
                      </a:lnTo>
                      <a:lnTo>
                        <a:pt x="300310" y="90902"/>
                      </a:lnTo>
                      <a:lnTo>
                        <a:pt x="300945" y="90576"/>
                      </a:lnTo>
                      <a:lnTo>
                        <a:pt x="301695" y="87634"/>
                      </a:lnTo>
                      <a:lnTo>
                        <a:pt x="302624" y="80699"/>
                      </a:lnTo>
                      <a:lnTo>
                        <a:pt x="306137" y="74146"/>
                      </a:lnTo>
                      <a:lnTo>
                        <a:pt x="321059" y="59175"/>
                      </a:lnTo>
                      <a:lnTo>
                        <a:pt x="327986" y="53226"/>
                      </a:lnTo>
                      <a:lnTo>
                        <a:pt x="330301" y="50512"/>
                      </a:lnTo>
                      <a:lnTo>
                        <a:pt x="332705" y="48540"/>
                      </a:lnTo>
                      <a:lnTo>
                        <a:pt x="334400" y="50414"/>
                      </a:lnTo>
                      <a:lnTo>
                        <a:pt x="335215" y="50968"/>
                      </a:lnTo>
                      <a:lnTo>
                        <a:pt x="335679" y="51849"/>
                      </a:lnTo>
                      <a:lnTo>
                        <a:pt x="334261" y="52272"/>
                      </a:lnTo>
                      <a:lnTo>
                        <a:pt x="331939" y="54188"/>
                      </a:lnTo>
                      <a:lnTo>
                        <a:pt x="328703" y="55475"/>
                      </a:lnTo>
                      <a:lnTo>
                        <a:pt x="327921" y="56135"/>
                      </a:lnTo>
                      <a:lnTo>
                        <a:pt x="329820" y="55989"/>
                      </a:lnTo>
                      <a:lnTo>
                        <a:pt x="335500" y="54587"/>
                      </a:lnTo>
                      <a:lnTo>
                        <a:pt x="338711" y="52892"/>
                      </a:lnTo>
                      <a:lnTo>
                        <a:pt x="354652" y="49754"/>
                      </a:lnTo>
                      <a:lnTo>
                        <a:pt x="363299" y="44555"/>
                      </a:lnTo>
                      <a:lnTo>
                        <a:pt x="363641" y="43389"/>
                      </a:lnTo>
                      <a:lnTo>
                        <a:pt x="376461" y="36894"/>
                      </a:lnTo>
                      <a:lnTo>
                        <a:pt x="378237" y="37138"/>
                      </a:lnTo>
                      <a:lnTo>
                        <a:pt x="380275" y="37929"/>
                      </a:lnTo>
                      <a:lnTo>
                        <a:pt x="376721" y="42216"/>
                      </a:lnTo>
                      <a:lnTo>
                        <a:pt x="379223" y="43340"/>
                      </a:lnTo>
                      <a:lnTo>
                        <a:pt x="377007" y="48458"/>
                      </a:lnTo>
                      <a:lnTo>
                        <a:pt x="381652" y="48532"/>
                      </a:lnTo>
                      <a:lnTo>
                        <a:pt x="382695" y="50895"/>
                      </a:lnTo>
                      <a:lnTo>
                        <a:pt x="382956" y="48866"/>
                      </a:lnTo>
                      <a:lnTo>
                        <a:pt x="382899" y="45948"/>
                      </a:lnTo>
                      <a:lnTo>
                        <a:pt x="383266" y="43088"/>
                      </a:lnTo>
                      <a:lnTo>
                        <a:pt x="383950" y="41107"/>
                      </a:lnTo>
                      <a:lnTo>
                        <a:pt x="387210" y="41996"/>
                      </a:lnTo>
                      <a:lnTo>
                        <a:pt x="394561" y="39877"/>
                      </a:lnTo>
                      <a:lnTo>
                        <a:pt x="385645" y="39608"/>
                      </a:lnTo>
                      <a:lnTo>
                        <a:pt x="380299" y="34954"/>
                      </a:lnTo>
                      <a:lnTo>
                        <a:pt x="377333" y="34922"/>
                      </a:lnTo>
                      <a:lnTo>
                        <a:pt x="387267" y="28084"/>
                      </a:lnTo>
                      <a:lnTo>
                        <a:pt x="396354" y="23952"/>
                      </a:lnTo>
                      <a:lnTo>
                        <a:pt x="398408" y="24034"/>
                      </a:lnTo>
                      <a:lnTo>
                        <a:pt x="399402" y="24800"/>
                      </a:lnTo>
                      <a:lnTo>
                        <a:pt x="399614" y="26055"/>
                      </a:lnTo>
                      <a:lnTo>
                        <a:pt x="397650" y="26870"/>
                      </a:lnTo>
                      <a:lnTo>
                        <a:pt x="395727" y="28345"/>
                      </a:lnTo>
                      <a:lnTo>
                        <a:pt x="396607" y="29632"/>
                      </a:lnTo>
                      <a:lnTo>
                        <a:pt x="397919" y="29812"/>
                      </a:lnTo>
                      <a:lnTo>
                        <a:pt x="402287" y="28744"/>
                      </a:lnTo>
                      <a:lnTo>
                        <a:pt x="404243" y="27416"/>
                      </a:lnTo>
                      <a:lnTo>
                        <a:pt x="413550" y="27530"/>
                      </a:lnTo>
                      <a:lnTo>
                        <a:pt x="416280" y="26584"/>
                      </a:lnTo>
                      <a:lnTo>
                        <a:pt x="416940" y="25639"/>
                      </a:lnTo>
                      <a:lnTo>
                        <a:pt x="428994" y="25452"/>
                      </a:lnTo>
                      <a:lnTo>
                        <a:pt x="431202" y="24775"/>
                      </a:lnTo>
                      <a:lnTo>
                        <a:pt x="438733" y="21116"/>
                      </a:lnTo>
                      <a:lnTo>
                        <a:pt x="445693" y="16682"/>
                      </a:lnTo>
                      <a:lnTo>
                        <a:pt x="448904" y="14254"/>
                      </a:lnTo>
                      <a:lnTo>
                        <a:pt x="454405" y="8068"/>
                      </a:lnTo>
                      <a:lnTo>
                        <a:pt x="459123" y="4034"/>
                      </a:lnTo>
                      <a:lnTo>
                        <a:pt x="466890" y="0"/>
                      </a:lnTo>
                      <a:lnTo>
                        <a:pt x="468756" y="505"/>
                      </a:lnTo>
                      <a:lnTo>
                        <a:pt x="466238" y="1304"/>
                      </a:lnTo>
                      <a:lnTo>
                        <a:pt x="464486" y="3007"/>
                      </a:lnTo>
                      <a:lnTo>
                        <a:pt x="466898" y="5273"/>
                      </a:lnTo>
                      <a:lnTo>
                        <a:pt x="483247" y="9951"/>
                      </a:lnTo>
                      <a:lnTo>
                        <a:pt x="487346" y="10203"/>
                      </a:lnTo>
                      <a:lnTo>
                        <a:pt x="488992" y="12999"/>
                      </a:lnTo>
                      <a:lnTo>
                        <a:pt x="487623" y="15688"/>
                      </a:lnTo>
                      <a:lnTo>
                        <a:pt x="483410" y="18687"/>
                      </a:lnTo>
                      <a:lnTo>
                        <a:pt x="474918" y="21735"/>
                      </a:lnTo>
                      <a:lnTo>
                        <a:pt x="477509" y="22893"/>
                      </a:lnTo>
                      <a:lnTo>
                        <a:pt x="479221" y="25615"/>
                      </a:lnTo>
                      <a:close/>
                      <a:moveTo>
                        <a:pt x="95050" y="336796"/>
                      </a:moveTo>
                      <a:lnTo>
                        <a:pt x="95425" y="337806"/>
                      </a:lnTo>
                      <a:lnTo>
                        <a:pt x="98017" y="337643"/>
                      </a:lnTo>
                      <a:lnTo>
                        <a:pt x="101652" y="338075"/>
                      </a:lnTo>
                      <a:lnTo>
                        <a:pt x="105669" y="339053"/>
                      </a:lnTo>
                      <a:lnTo>
                        <a:pt x="109647" y="338703"/>
                      </a:lnTo>
                      <a:lnTo>
                        <a:pt x="114659" y="335598"/>
                      </a:lnTo>
                      <a:lnTo>
                        <a:pt x="117658" y="334783"/>
                      </a:lnTo>
                      <a:lnTo>
                        <a:pt x="120665" y="334359"/>
                      </a:lnTo>
                      <a:lnTo>
                        <a:pt x="123917" y="335109"/>
                      </a:lnTo>
                      <a:lnTo>
                        <a:pt x="127095" y="336755"/>
                      </a:lnTo>
                      <a:lnTo>
                        <a:pt x="128318" y="337725"/>
                      </a:lnTo>
                      <a:lnTo>
                        <a:pt x="129296" y="339420"/>
                      </a:lnTo>
                      <a:lnTo>
                        <a:pt x="129947" y="341474"/>
                      </a:lnTo>
                      <a:lnTo>
                        <a:pt x="130917" y="342949"/>
                      </a:lnTo>
                      <a:lnTo>
                        <a:pt x="136867" y="344758"/>
                      </a:lnTo>
                      <a:lnTo>
                        <a:pt x="140673" y="345483"/>
                      </a:lnTo>
                      <a:lnTo>
                        <a:pt x="141593" y="346478"/>
                      </a:lnTo>
                      <a:lnTo>
                        <a:pt x="142400" y="347839"/>
                      </a:lnTo>
                      <a:lnTo>
                        <a:pt x="145546" y="348874"/>
                      </a:lnTo>
                      <a:lnTo>
                        <a:pt x="148839" y="348499"/>
                      </a:lnTo>
                      <a:lnTo>
                        <a:pt x="150672" y="348866"/>
                      </a:lnTo>
                      <a:lnTo>
                        <a:pt x="156255" y="348923"/>
                      </a:lnTo>
                      <a:lnTo>
                        <a:pt x="163207" y="350438"/>
                      </a:lnTo>
                      <a:lnTo>
                        <a:pt x="162082" y="354440"/>
                      </a:lnTo>
                      <a:lnTo>
                        <a:pt x="159824" y="356192"/>
                      </a:lnTo>
                      <a:lnTo>
                        <a:pt x="153459" y="355630"/>
                      </a:lnTo>
                      <a:lnTo>
                        <a:pt x="147119" y="356200"/>
                      </a:lnTo>
                      <a:lnTo>
                        <a:pt x="144487" y="358246"/>
                      </a:lnTo>
                      <a:lnTo>
                        <a:pt x="142286" y="360846"/>
                      </a:lnTo>
                      <a:lnTo>
                        <a:pt x="141993" y="363388"/>
                      </a:lnTo>
                      <a:lnTo>
                        <a:pt x="140713" y="364554"/>
                      </a:lnTo>
                      <a:lnTo>
                        <a:pt x="139385" y="365059"/>
                      </a:lnTo>
                      <a:lnTo>
                        <a:pt x="138309" y="363657"/>
                      </a:lnTo>
                      <a:lnTo>
                        <a:pt x="136875" y="359387"/>
                      </a:lnTo>
                      <a:lnTo>
                        <a:pt x="135864" y="358205"/>
                      </a:lnTo>
                      <a:lnTo>
                        <a:pt x="134756" y="357464"/>
                      </a:lnTo>
                      <a:lnTo>
                        <a:pt x="131651" y="356119"/>
                      </a:lnTo>
                      <a:lnTo>
                        <a:pt x="128505" y="355263"/>
                      </a:lnTo>
                      <a:lnTo>
                        <a:pt x="126663" y="355157"/>
                      </a:lnTo>
                      <a:lnTo>
                        <a:pt x="125335" y="353674"/>
                      </a:lnTo>
                      <a:lnTo>
                        <a:pt x="124601" y="351531"/>
                      </a:lnTo>
                      <a:lnTo>
                        <a:pt x="123346" y="350422"/>
                      </a:lnTo>
                      <a:lnTo>
                        <a:pt x="120852" y="348849"/>
                      </a:lnTo>
                      <a:lnTo>
                        <a:pt x="118302" y="347611"/>
                      </a:lnTo>
                      <a:lnTo>
                        <a:pt x="110331" y="344913"/>
                      </a:lnTo>
                      <a:lnTo>
                        <a:pt x="107707" y="344563"/>
                      </a:lnTo>
                      <a:lnTo>
                        <a:pt x="105050" y="344856"/>
                      </a:lnTo>
                      <a:lnTo>
                        <a:pt x="102198" y="346087"/>
                      </a:lnTo>
                      <a:lnTo>
                        <a:pt x="99443" y="347904"/>
                      </a:lnTo>
                      <a:lnTo>
                        <a:pt x="96615" y="349265"/>
                      </a:lnTo>
                      <a:lnTo>
                        <a:pt x="93689" y="349558"/>
                      </a:lnTo>
                      <a:lnTo>
                        <a:pt x="90894" y="348768"/>
                      </a:lnTo>
                      <a:lnTo>
                        <a:pt x="88270" y="346991"/>
                      </a:lnTo>
                      <a:lnTo>
                        <a:pt x="86950" y="345720"/>
                      </a:lnTo>
                      <a:lnTo>
                        <a:pt x="86249" y="343552"/>
                      </a:lnTo>
                      <a:lnTo>
                        <a:pt x="86289" y="341368"/>
                      </a:lnTo>
                      <a:lnTo>
                        <a:pt x="86640" y="339273"/>
                      </a:lnTo>
                      <a:lnTo>
                        <a:pt x="88058" y="334188"/>
                      </a:lnTo>
                      <a:lnTo>
                        <a:pt x="90535" y="333194"/>
                      </a:lnTo>
                      <a:lnTo>
                        <a:pt x="95050" y="336796"/>
                      </a:lnTo>
                      <a:close/>
                      <a:moveTo>
                        <a:pt x="227190" y="469522"/>
                      </a:moveTo>
                      <a:lnTo>
                        <a:pt x="229472" y="471511"/>
                      </a:lnTo>
                      <a:lnTo>
                        <a:pt x="230678" y="471625"/>
                      </a:lnTo>
                      <a:lnTo>
                        <a:pt x="234500" y="471022"/>
                      </a:lnTo>
                      <a:lnTo>
                        <a:pt x="235902" y="471446"/>
                      </a:lnTo>
                      <a:lnTo>
                        <a:pt x="237263" y="472293"/>
                      </a:lnTo>
                      <a:lnTo>
                        <a:pt x="238103" y="473605"/>
                      </a:lnTo>
                      <a:lnTo>
                        <a:pt x="238266" y="475904"/>
                      </a:lnTo>
                      <a:lnTo>
                        <a:pt x="237646" y="477949"/>
                      </a:lnTo>
                      <a:lnTo>
                        <a:pt x="237826" y="480842"/>
                      </a:lnTo>
                      <a:lnTo>
                        <a:pt x="237687" y="482089"/>
                      </a:lnTo>
                      <a:lnTo>
                        <a:pt x="239716" y="483727"/>
                      </a:lnTo>
                      <a:lnTo>
                        <a:pt x="240352" y="485944"/>
                      </a:lnTo>
                      <a:lnTo>
                        <a:pt x="240678" y="488324"/>
                      </a:lnTo>
                      <a:lnTo>
                        <a:pt x="236277" y="489114"/>
                      </a:lnTo>
                      <a:lnTo>
                        <a:pt x="231876" y="489237"/>
                      </a:lnTo>
                      <a:lnTo>
                        <a:pt x="228078" y="490850"/>
                      </a:lnTo>
                      <a:lnTo>
                        <a:pt x="227296" y="492040"/>
                      </a:lnTo>
                      <a:lnTo>
                        <a:pt x="227907" y="493800"/>
                      </a:lnTo>
                      <a:lnTo>
                        <a:pt x="226864" y="494257"/>
                      </a:lnTo>
                      <a:lnTo>
                        <a:pt x="225902" y="493866"/>
                      </a:lnTo>
                      <a:lnTo>
                        <a:pt x="224061" y="492228"/>
                      </a:lnTo>
                      <a:lnTo>
                        <a:pt x="222039" y="491453"/>
                      </a:lnTo>
                      <a:lnTo>
                        <a:pt x="214982" y="490247"/>
                      </a:lnTo>
                      <a:lnTo>
                        <a:pt x="206115" y="485496"/>
                      </a:lnTo>
                      <a:lnTo>
                        <a:pt x="202301" y="484510"/>
                      </a:lnTo>
                      <a:lnTo>
                        <a:pt x="198422" y="481030"/>
                      </a:lnTo>
                      <a:lnTo>
                        <a:pt x="194917" y="476596"/>
                      </a:lnTo>
                      <a:lnTo>
                        <a:pt x="197199" y="475887"/>
                      </a:lnTo>
                      <a:lnTo>
                        <a:pt x="199497" y="475529"/>
                      </a:lnTo>
                      <a:lnTo>
                        <a:pt x="209799" y="476189"/>
                      </a:lnTo>
                      <a:lnTo>
                        <a:pt x="211086" y="473010"/>
                      </a:lnTo>
                      <a:lnTo>
                        <a:pt x="212415" y="472212"/>
                      </a:lnTo>
                      <a:lnTo>
                        <a:pt x="215683" y="471315"/>
                      </a:lnTo>
                      <a:lnTo>
                        <a:pt x="218739" y="469547"/>
                      </a:lnTo>
                      <a:lnTo>
                        <a:pt x="220116" y="469596"/>
                      </a:lnTo>
                      <a:lnTo>
                        <a:pt x="221518" y="470272"/>
                      </a:lnTo>
                      <a:lnTo>
                        <a:pt x="224419" y="469221"/>
                      </a:lnTo>
                      <a:lnTo>
                        <a:pt x="225951" y="469001"/>
                      </a:lnTo>
                      <a:lnTo>
                        <a:pt x="227190" y="469522"/>
                      </a:lnTo>
                      <a:close/>
                      <a:moveTo>
                        <a:pt x="567441" y="549789"/>
                      </a:moveTo>
                      <a:lnTo>
                        <a:pt x="568338" y="550115"/>
                      </a:lnTo>
                      <a:lnTo>
                        <a:pt x="569275" y="547776"/>
                      </a:lnTo>
                      <a:lnTo>
                        <a:pt x="569935" y="547703"/>
                      </a:lnTo>
                      <a:lnTo>
                        <a:pt x="572869" y="549683"/>
                      </a:lnTo>
                      <a:lnTo>
                        <a:pt x="574670" y="549243"/>
                      </a:lnTo>
                      <a:lnTo>
                        <a:pt x="575828" y="551672"/>
                      </a:lnTo>
                      <a:lnTo>
                        <a:pt x="576871" y="551892"/>
                      </a:lnTo>
                      <a:lnTo>
                        <a:pt x="577832" y="551598"/>
                      </a:lnTo>
                      <a:lnTo>
                        <a:pt x="578411" y="551761"/>
                      </a:lnTo>
                      <a:lnTo>
                        <a:pt x="578207" y="554328"/>
                      </a:lnTo>
                      <a:lnTo>
                        <a:pt x="576064" y="556936"/>
                      </a:lnTo>
                      <a:lnTo>
                        <a:pt x="575070" y="557597"/>
                      </a:lnTo>
                      <a:lnTo>
                        <a:pt x="573676" y="556928"/>
                      </a:lnTo>
                      <a:lnTo>
                        <a:pt x="573154" y="556667"/>
                      </a:lnTo>
                      <a:lnTo>
                        <a:pt x="572234" y="555518"/>
                      </a:lnTo>
                      <a:lnTo>
                        <a:pt x="571533" y="554068"/>
                      </a:lnTo>
                      <a:lnTo>
                        <a:pt x="571117" y="554043"/>
                      </a:lnTo>
                      <a:lnTo>
                        <a:pt x="569479" y="555755"/>
                      </a:lnTo>
                      <a:lnTo>
                        <a:pt x="569520" y="556602"/>
                      </a:lnTo>
                      <a:lnTo>
                        <a:pt x="570196" y="557866"/>
                      </a:lnTo>
                      <a:lnTo>
                        <a:pt x="570098" y="558656"/>
                      </a:lnTo>
                      <a:lnTo>
                        <a:pt x="568322" y="559031"/>
                      </a:lnTo>
                      <a:lnTo>
                        <a:pt x="566569" y="558835"/>
                      </a:lnTo>
                      <a:lnTo>
                        <a:pt x="564434" y="559944"/>
                      </a:lnTo>
                      <a:lnTo>
                        <a:pt x="563921" y="559259"/>
                      </a:lnTo>
                      <a:lnTo>
                        <a:pt x="563595" y="557311"/>
                      </a:lnTo>
                      <a:lnTo>
                        <a:pt x="562927" y="557539"/>
                      </a:lnTo>
                      <a:lnTo>
                        <a:pt x="561916" y="559919"/>
                      </a:lnTo>
                      <a:lnTo>
                        <a:pt x="560816" y="561427"/>
                      </a:lnTo>
                      <a:lnTo>
                        <a:pt x="558811" y="562674"/>
                      </a:lnTo>
                      <a:lnTo>
                        <a:pt x="558371" y="563285"/>
                      </a:lnTo>
                      <a:lnTo>
                        <a:pt x="556904" y="563358"/>
                      </a:lnTo>
                      <a:lnTo>
                        <a:pt x="554728" y="564149"/>
                      </a:lnTo>
                      <a:lnTo>
                        <a:pt x="553375" y="564018"/>
                      </a:lnTo>
                      <a:lnTo>
                        <a:pt x="545372" y="561435"/>
                      </a:lnTo>
                      <a:lnTo>
                        <a:pt x="543489" y="560490"/>
                      </a:lnTo>
                      <a:lnTo>
                        <a:pt x="550074" y="554557"/>
                      </a:lnTo>
                      <a:lnTo>
                        <a:pt x="553538" y="552267"/>
                      </a:lnTo>
                      <a:lnTo>
                        <a:pt x="555543" y="552397"/>
                      </a:lnTo>
                      <a:lnTo>
                        <a:pt x="557548" y="553106"/>
                      </a:lnTo>
                      <a:lnTo>
                        <a:pt x="558607" y="552992"/>
                      </a:lnTo>
                      <a:lnTo>
                        <a:pt x="558681" y="550368"/>
                      </a:lnTo>
                      <a:lnTo>
                        <a:pt x="556814" y="548404"/>
                      </a:lnTo>
                      <a:lnTo>
                        <a:pt x="556888" y="547580"/>
                      </a:lnTo>
                      <a:lnTo>
                        <a:pt x="561011" y="546244"/>
                      </a:lnTo>
                      <a:lnTo>
                        <a:pt x="562560" y="546431"/>
                      </a:lnTo>
                      <a:lnTo>
                        <a:pt x="564263" y="547124"/>
                      </a:lnTo>
                      <a:lnTo>
                        <a:pt x="565877" y="548249"/>
                      </a:lnTo>
                      <a:lnTo>
                        <a:pt x="567441" y="549789"/>
                      </a:lnTo>
                      <a:close/>
                      <a:moveTo>
                        <a:pt x="1007348" y="557580"/>
                      </a:moveTo>
                      <a:lnTo>
                        <a:pt x="1013648" y="558477"/>
                      </a:lnTo>
                      <a:lnTo>
                        <a:pt x="1018260" y="558281"/>
                      </a:lnTo>
                      <a:lnTo>
                        <a:pt x="1022482" y="564133"/>
                      </a:lnTo>
                      <a:lnTo>
                        <a:pt x="1025073" y="568859"/>
                      </a:lnTo>
                      <a:lnTo>
                        <a:pt x="1026606" y="572160"/>
                      </a:lnTo>
                      <a:lnTo>
                        <a:pt x="1027461" y="575347"/>
                      </a:lnTo>
                      <a:lnTo>
                        <a:pt x="1028618" y="578427"/>
                      </a:lnTo>
                      <a:lnTo>
                        <a:pt x="1028513" y="578859"/>
                      </a:lnTo>
                      <a:lnTo>
                        <a:pt x="1026076" y="576789"/>
                      </a:lnTo>
                      <a:lnTo>
                        <a:pt x="1024324" y="572584"/>
                      </a:lnTo>
                      <a:lnTo>
                        <a:pt x="1023435" y="570938"/>
                      </a:lnTo>
                      <a:lnTo>
                        <a:pt x="1022555" y="570188"/>
                      </a:lnTo>
                      <a:lnTo>
                        <a:pt x="1021626" y="568631"/>
                      </a:lnTo>
                      <a:lnTo>
                        <a:pt x="1019825" y="564613"/>
                      </a:lnTo>
                      <a:lnTo>
                        <a:pt x="1019752" y="563481"/>
                      </a:lnTo>
                      <a:lnTo>
                        <a:pt x="1018945" y="562429"/>
                      </a:lnTo>
                      <a:lnTo>
                        <a:pt x="1018024" y="561989"/>
                      </a:lnTo>
                      <a:lnTo>
                        <a:pt x="1016973" y="562160"/>
                      </a:lnTo>
                      <a:lnTo>
                        <a:pt x="1016614" y="562568"/>
                      </a:lnTo>
                      <a:lnTo>
                        <a:pt x="1016769" y="565347"/>
                      </a:lnTo>
                      <a:lnTo>
                        <a:pt x="1017600" y="568436"/>
                      </a:lnTo>
                      <a:lnTo>
                        <a:pt x="1022148" y="575167"/>
                      </a:lnTo>
                      <a:lnTo>
                        <a:pt x="1025188" y="578990"/>
                      </a:lnTo>
                      <a:lnTo>
                        <a:pt x="1025791" y="580261"/>
                      </a:lnTo>
                      <a:lnTo>
                        <a:pt x="1026190" y="583749"/>
                      </a:lnTo>
                      <a:lnTo>
                        <a:pt x="1024878" y="585338"/>
                      </a:lnTo>
                      <a:lnTo>
                        <a:pt x="1026491" y="588557"/>
                      </a:lnTo>
                      <a:lnTo>
                        <a:pt x="1026434" y="589185"/>
                      </a:lnTo>
                      <a:lnTo>
                        <a:pt x="1026084" y="589796"/>
                      </a:lnTo>
                      <a:lnTo>
                        <a:pt x="1021756" y="591222"/>
                      </a:lnTo>
                      <a:lnTo>
                        <a:pt x="1017788" y="597172"/>
                      </a:lnTo>
                      <a:lnTo>
                        <a:pt x="1013444" y="600660"/>
                      </a:lnTo>
                      <a:lnTo>
                        <a:pt x="1011439" y="601214"/>
                      </a:lnTo>
                      <a:lnTo>
                        <a:pt x="1010477" y="600635"/>
                      </a:lnTo>
                      <a:lnTo>
                        <a:pt x="1009564" y="599299"/>
                      </a:lnTo>
                      <a:lnTo>
                        <a:pt x="1009035" y="597522"/>
                      </a:lnTo>
                      <a:lnTo>
                        <a:pt x="1008872" y="595281"/>
                      </a:lnTo>
                      <a:lnTo>
                        <a:pt x="1009956" y="593879"/>
                      </a:lnTo>
                      <a:lnTo>
                        <a:pt x="1012099" y="586552"/>
                      </a:lnTo>
                      <a:lnTo>
                        <a:pt x="1012164" y="584140"/>
                      </a:lnTo>
                      <a:lnTo>
                        <a:pt x="1009483" y="580799"/>
                      </a:lnTo>
                      <a:lnTo>
                        <a:pt x="1007869" y="578061"/>
                      </a:lnTo>
                      <a:lnTo>
                        <a:pt x="1006997" y="574246"/>
                      </a:lnTo>
                      <a:lnTo>
                        <a:pt x="1005538" y="564116"/>
                      </a:lnTo>
                      <a:lnTo>
                        <a:pt x="1004862" y="560881"/>
                      </a:lnTo>
                      <a:lnTo>
                        <a:pt x="1003900" y="558175"/>
                      </a:lnTo>
                      <a:lnTo>
                        <a:pt x="1002662" y="556007"/>
                      </a:lnTo>
                      <a:lnTo>
                        <a:pt x="1001724" y="553628"/>
                      </a:lnTo>
                      <a:lnTo>
                        <a:pt x="1001097" y="551028"/>
                      </a:lnTo>
                      <a:lnTo>
                        <a:pt x="1001333" y="550017"/>
                      </a:lnTo>
                      <a:lnTo>
                        <a:pt x="1003477" y="551378"/>
                      </a:lnTo>
                      <a:lnTo>
                        <a:pt x="1006044" y="555111"/>
                      </a:lnTo>
                      <a:lnTo>
                        <a:pt x="1007348" y="557580"/>
                      </a:lnTo>
                      <a:close/>
                      <a:moveTo>
                        <a:pt x="981309" y="554337"/>
                      </a:moveTo>
                      <a:lnTo>
                        <a:pt x="984846" y="558167"/>
                      </a:lnTo>
                      <a:lnTo>
                        <a:pt x="984879" y="559039"/>
                      </a:lnTo>
                      <a:lnTo>
                        <a:pt x="984162" y="561663"/>
                      </a:lnTo>
                      <a:lnTo>
                        <a:pt x="982230" y="562405"/>
                      </a:lnTo>
                      <a:lnTo>
                        <a:pt x="982776" y="563440"/>
                      </a:lnTo>
                      <a:lnTo>
                        <a:pt x="984211" y="564230"/>
                      </a:lnTo>
                      <a:lnTo>
                        <a:pt x="985229" y="563578"/>
                      </a:lnTo>
                      <a:lnTo>
                        <a:pt x="988970" y="559903"/>
                      </a:lnTo>
                      <a:lnTo>
                        <a:pt x="990127" y="559129"/>
                      </a:lnTo>
                      <a:lnTo>
                        <a:pt x="990820" y="559055"/>
                      </a:lnTo>
                      <a:lnTo>
                        <a:pt x="995376" y="560164"/>
                      </a:lnTo>
                      <a:lnTo>
                        <a:pt x="999361" y="561916"/>
                      </a:lnTo>
                      <a:lnTo>
                        <a:pt x="1000543" y="563318"/>
                      </a:lnTo>
                      <a:lnTo>
                        <a:pt x="1001203" y="565771"/>
                      </a:lnTo>
                      <a:lnTo>
                        <a:pt x="1000152" y="571060"/>
                      </a:lnTo>
                      <a:lnTo>
                        <a:pt x="996875" y="571989"/>
                      </a:lnTo>
                      <a:lnTo>
                        <a:pt x="995335" y="571891"/>
                      </a:lnTo>
                      <a:lnTo>
                        <a:pt x="993689" y="571125"/>
                      </a:lnTo>
                      <a:lnTo>
                        <a:pt x="991024" y="572967"/>
                      </a:lnTo>
                      <a:lnTo>
                        <a:pt x="993232" y="574377"/>
                      </a:lnTo>
                      <a:lnTo>
                        <a:pt x="999948" y="574703"/>
                      </a:lnTo>
                      <a:lnTo>
                        <a:pt x="1001985" y="577678"/>
                      </a:lnTo>
                      <a:lnTo>
                        <a:pt x="1002572" y="579968"/>
                      </a:lnTo>
                      <a:lnTo>
                        <a:pt x="1001121" y="584181"/>
                      </a:lnTo>
                      <a:lnTo>
                        <a:pt x="997315" y="583016"/>
                      </a:lnTo>
                      <a:lnTo>
                        <a:pt x="993958" y="580571"/>
                      </a:lnTo>
                      <a:lnTo>
                        <a:pt x="987071" y="577115"/>
                      </a:lnTo>
                      <a:lnTo>
                        <a:pt x="985425" y="576952"/>
                      </a:lnTo>
                      <a:lnTo>
                        <a:pt x="984325" y="577572"/>
                      </a:lnTo>
                      <a:lnTo>
                        <a:pt x="984023" y="579666"/>
                      </a:lnTo>
                      <a:lnTo>
                        <a:pt x="984097" y="584205"/>
                      </a:lnTo>
                      <a:lnTo>
                        <a:pt x="982255" y="586561"/>
                      </a:lnTo>
                      <a:lnTo>
                        <a:pt x="976827" y="585526"/>
                      </a:lnTo>
                      <a:lnTo>
                        <a:pt x="974700" y="582087"/>
                      </a:lnTo>
                      <a:lnTo>
                        <a:pt x="972711" y="576651"/>
                      </a:lnTo>
                      <a:lnTo>
                        <a:pt x="965230" y="570188"/>
                      </a:lnTo>
                      <a:lnTo>
                        <a:pt x="963201" y="568892"/>
                      </a:lnTo>
                      <a:lnTo>
                        <a:pt x="960503" y="565021"/>
                      </a:lnTo>
                      <a:lnTo>
                        <a:pt x="961587" y="561957"/>
                      </a:lnTo>
                      <a:lnTo>
                        <a:pt x="961905" y="560172"/>
                      </a:lnTo>
                      <a:lnTo>
                        <a:pt x="963347" y="559707"/>
                      </a:lnTo>
                      <a:lnTo>
                        <a:pt x="965450" y="558330"/>
                      </a:lnTo>
                      <a:lnTo>
                        <a:pt x="966632" y="555355"/>
                      </a:lnTo>
                      <a:lnTo>
                        <a:pt x="968522" y="557760"/>
                      </a:lnTo>
                      <a:lnTo>
                        <a:pt x="971057" y="560066"/>
                      </a:lnTo>
                      <a:lnTo>
                        <a:pt x="971090" y="557890"/>
                      </a:lnTo>
                      <a:lnTo>
                        <a:pt x="972279" y="556162"/>
                      </a:lnTo>
                      <a:lnTo>
                        <a:pt x="974757" y="556219"/>
                      </a:lnTo>
                      <a:lnTo>
                        <a:pt x="975922" y="555861"/>
                      </a:lnTo>
                      <a:lnTo>
                        <a:pt x="977552" y="554239"/>
                      </a:lnTo>
                      <a:lnTo>
                        <a:pt x="979899" y="553399"/>
                      </a:lnTo>
                      <a:lnTo>
                        <a:pt x="981309" y="554337"/>
                      </a:lnTo>
                      <a:close/>
                      <a:moveTo>
                        <a:pt x="555510" y="570799"/>
                      </a:moveTo>
                      <a:lnTo>
                        <a:pt x="555690" y="572951"/>
                      </a:lnTo>
                      <a:lnTo>
                        <a:pt x="556700" y="572682"/>
                      </a:lnTo>
                      <a:lnTo>
                        <a:pt x="560514" y="570473"/>
                      </a:lnTo>
                      <a:lnTo>
                        <a:pt x="562503" y="569821"/>
                      </a:lnTo>
                      <a:lnTo>
                        <a:pt x="565094" y="569723"/>
                      </a:lnTo>
                      <a:lnTo>
                        <a:pt x="567148" y="570726"/>
                      </a:lnTo>
                      <a:lnTo>
                        <a:pt x="567564" y="571500"/>
                      </a:lnTo>
                      <a:lnTo>
                        <a:pt x="567384" y="572421"/>
                      </a:lnTo>
                      <a:lnTo>
                        <a:pt x="565738" y="574287"/>
                      </a:lnTo>
                      <a:lnTo>
                        <a:pt x="565812" y="575501"/>
                      </a:lnTo>
                      <a:lnTo>
                        <a:pt x="567572" y="577734"/>
                      </a:lnTo>
                      <a:lnTo>
                        <a:pt x="571916" y="578949"/>
                      </a:lnTo>
                      <a:lnTo>
                        <a:pt x="572437" y="579625"/>
                      </a:lnTo>
                      <a:lnTo>
                        <a:pt x="572413" y="580432"/>
                      </a:lnTo>
                      <a:lnTo>
                        <a:pt x="569430" y="584124"/>
                      </a:lnTo>
                      <a:lnTo>
                        <a:pt x="568330" y="584980"/>
                      </a:lnTo>
                      <a:lnTo>
                        <a:pt x="567547" y="585183"/>
                      </a:lnTo>
                      <a:lnTo>
                        <a:pt x="562120" y="584523"/>
                      </a:lnTo>
                      <a:lnTo>
                        <a:pt x="557157" y="583317"/>
                      </a:lnTo>
                      <a:lnTo>
                        <a:pt x="555144" y="583113"/>
                      </a:lnTo>
                      <a:lnTo>
                        <a:pt x="554434" y="583513"/>
                      </a:lnTo>
                      <a:lnTo>
                        <a:pt x="553033" y="584645"/>
                      </a:lnTo>
                      <a:lnTo>
                        <a:pt x="554035" y="584980"/>
                      </a:lnTo>
                      <a:lnTo>
                        <a:pt x="558387" y="585249"/>
                      </a:lnTo>
                      <a:lnTo>
                        <a:pt x="559919" y="586911"/>
                      </a:lnTo>
                      <a:lnTo>
                        <a:pt x="560596" y="588125"/>
                      </a:lnTo>
                      <a:lnTo>
                        <a:pt x="560930" y="589462"/>
                      </a:lnTo>
                      <a:lnTo>
                        <a:pt x="560066" y="590016"/>
                      </a:lnTo>
                      <a:lnTo>
                        <a:pt x="558200" y="590415"/>
                      </a:lnTo>
                      <a:lnTo>
                        <a:pt x="555975" y="590415"/>
                      </a:lnTo>
                      <a:lnTo>
                        <a:pt x="553220" y="591923"/>
                      </a:lnTo>
                      <a:lnTo>
                        <a:pt x="551696" y="593643"/>
                      </a:lnTo>
                      <a:lnTo>
                        <a:pt x="546171" y="594083"/>
                      </a:lnTo>
                      <a:lnTo>
                        <a:pt x="541974" y="596381"/>
                      </a:lnTo>
                      <a:lnTo>
                        <a:pt x="540490" y="597522"/>
                      </a:lnTo>
                      <a:lnTo>
                        <a:pt x="539969" y="598875"/>
                      </a:lnTo>
                      <a:lnTo>
                        <a:pt x="538380" y="599861"/>
                      </a:lnTo>
                      <a:lnTo>
                        <a:pt x="534802" y="600847"/>
                      </a:lnTo>
                      <a:lnTo>
                        <a:pt x="536937" y="601727"/>
                      </a:lnTo>
                      <a:lnTo>
                        <a:pt x="537271" y="602477"/>
                      </a:lnTo>
                      <a:lnTo>
                        <a:pt x="537312" y="603512"/>
                      </a:lnTo>
                      <a:lnTo>
                        <a:pt x="537019" y="604392"/>
                      </a:lnTo>
                      <a:lnTo>
                        <a:pt x="534199" y="608361"/>
                      </a:lnTo>
                      <a:lnTo>
                        <a:pt x="528852" y="611621"/>
                      </a:lnTo>
                      <a:lnTo>
                        <a:pt x="527500" y="611474"/>
                      </a:lnTo>
                      <a:lnTo>
                        <a:pt x="526913" y="611067"/>
                      </a:lnTo>
                      <a:lnTo>
                        <a:pt x="526432" y="610448"/>
                      </a:lnTo>
                      <a:lnTo>
                        <a:pt x="526416" y="609828"/>
                      </a:lnTo>
                      <a:lnTo>
                        <a:pt x="533302" y="603276"/>
                      </a:lnTo>
                      <a:lnTo>
                        <a:pt x="533033" y="602958"/>
                      </a:lnTo>
                      <a:lnTo>
                        <a:pt x="531159" y="602746"/>
                      </a:lnTo>
                      <a:lnTo>
                        <a:pt x="528192" y="600945"/>
                      </a:lnTo>
                      <a:lnTo>
                        <a:pt x="526106" y="602102"/>
                      </a:lnTo>
                      <a:lnTo>
                        <a:pt x="525625" y="602061"/>
                      </a:lnTo>
                      <a:lnTo>
                        <a:pt x="526188" y="600513"/>
                      </a:lnTo>
                      <a:lnTo>
                        <a:pt x="527549" y="598679"/>
                      </a:lnTo>
                      <a:lnTo>
                        <a:pt x="527312" y="598158"/>
                      </a:lnTo>
                      <a:lnTo>
                        <a:pt x="526562" y="597701"/>
                      </a:lnTo>
                      <a:lnTo>
                        <a:pt x="524835" y="597424"/>
                      </a:lnTo>
                      <a:lnTo>
                        <a:pt x="522137" y="597335"/>
                      </a:lnTo>
                      <a:lnTo>
                        <a:pt x="520132" y="597775"/>
                      </a:lnTo>
                      <a:lnTo>
                        <a:pt x="518828" y="598728"/>
                      </a:lnTo>
                      <a:lnTo>
                        <a:pt x="518722" y="599136"/>
                      </a:lnTo>
                      <a:lnTo>
                        <a:pt x="521485" y="599022"/>
                      </a:lnTo>
                      <a:lnTo>
                        <a:pt x="522235" y="599519"/>
                      </a:lnTo>
                      <a:lnTo>
                        <a:pt x="522985" y="600431"/>
                      </a:lnTo>
                      <a:lnTo>
                        <a:pt x="523441" y="601491"/>
                      </a:lnTo>
                      <a:lnTo>
                        <a:pt x="523604" y="602681"/>
                      </a:lnTo>
                      <a:lnTo>
                        <a:pt x="523025" y="604262"/>
                      </a:lnTo>
                      <a:lnTo>
                        <a:pt x="521705" y="606283"/>
                      </a:lnTo>
                      <a:lnTo>
                        <a:pt x="519766" y="605924"/>
                      </a:lnTo>
                      <a:lnTo>
                        <a:pt x="515805" y="601442"/>
                      </a:lnTo>
                      <a:lnTo>
                        <a:pt x="514053" y="594873"/>
                      </a:lnTo>
                      <a:lnTo>
                        <a:pt x="510662" y="589845"/>
                      </a:lnTo>
                      <a:lnTo>
                        <a:pt x="510507" y="588647"/>
                      </a:lnTo>
                      <a:lnTo>
                        <a:pt x="511477" y="585542"/>
                      </a:lnTo>
                      <a:lnTo>
                        <a:pt x="514900" y="581125"/>
                      </a:lnTo>
                      <a:lnTo>
                        <a:pt x="518584" y="579919"/>
                      </a:lnTo>
                      <a:lnTo>
                        <a:pt x="521200" y="578061"/>
                      </a:lnTo>
                      <a:lnTo>
                        <a:pt x="523726" y="577498"/>
                      </a:lnTo>
                      <a:lnTo>
                        <a:pt x="525291" y="577555"/>
                      </a:lnTo>
                      <a:lnTo>
                        <a:pt x="527434" y="578338"/>
                      </a:lnTo>
                      <a:lnTo>
                        <a:pt x="528298" y="580033"/>
                      </a:lnTo>
                      <a:lnTo>
                        <a:pt x="527785" y="580831"/>
                      </a:lnTo>
                      <a:lnTo>
                        <a:pt x="527980" y="581247"/>
                      </a:lnTo>
                      <a:lnTo>
                        <a:pt x="529488" y="582266"/>
                      </a:lnTo>
                      <a:lnTo>
                        <a:pt x="531110" y="585811"/>
                      </a:lnTo>
                      <a:lnTo>
                        <a:pt x="533001" y="588957"/>
                      </a:lnTo>
                      <a:lnTo>
                        <a:pt x="534264" y="590236"/>
                      </a:lnTo>
                      <a:lnTo>
                        <a:pt x="535926" y="591027"/>
                      </a:lnTo>
                      <a:lnTo>
                        <a:pt x="534207" y="588631"/>
                      </a:lnTo>
                      <a:lnTo>
                        <a:pt x="533188" y="585648"/>
                      </a:lnTo>
                      <a:lnTo>
                        <a:pt x="532683" y="579715"/>
                      </a:lnTo>
                      <a:lnTo>
                        <a:pt x="532194" y="578142"/>
                      </a:lnTo>
                      <a:lnTo>
                        <a:pt x="533156" y="577726"/>
                      </a:lnTo>
                      <a:lnTo>
                        <a:pt x="535869" y="577955"/>
                      </a:lnTo>
                      <a:lnTo>
                        <a:pt x="535796" y="577074"/>
                      </a:lnTo>
                      <a:lnTo>
                        <a:pt x="532936" y="575078"/>
                      </a:lnTo>
                      <a:lnTo>
                        <a:pt x="531175" y="573415"/>
                      </a:lnTo>
                      <a:lnTo>
                        <a:pt x="530515" y="572103"/>
                      </a:lnTo>
                      <a:lnTo>
                        <a:pt x="530556" y="570962"/>
                      </a:lnTo>
                      <a:lnTo>
                        <a:pt x="532112" y="569291"/>
                      </a:lnTo>
                      <a:lnTo>
                        <a:pt x="532993" y="568810"/>
                      </a:lnTo>
                      <a:lnTo>
                        <a:pt x="533905" y="568607"/>
                      </a:lnTo>
                      <a:lnTo>
                        <a:pt x="535723" y="568957"/>
                      </a:lnTo>
                      <a:lnTo>
                        <a:pt x="536546" y="569479"/>
                      </a:lnTo>
                      <a:lnTo>
                        <a:pt x="538885" y="573260"/>
                      </a:lnTo>
                      <a:lnTo>
                        <a:pt x="539977" y="574442"/>
                      </a:lnTo>
                      <a:lnTo>
                        <a:pt x="540882" y="574442"/>
                      </a:lnTo>
                      <a:lnTo>
                        <a:pt x="541729" y="573815"/>
                      </a:lnTo>
                      <a:lnTo>
                        <a:pt x="542503" y="572559"/>
                      </a:lnTo>
                      <a:lnTo>
                        <a:pt x="543310" y="571810"/>
                      </a:lnTo>
                      <a:lnTo>
                        <a:pt x="544141" y="571565"/>
                      </a:lnTo>
                      <a:lnTo>
                        <a:pt x="546733" y="572119"/>
                      </a:lnTo>
                      <a:lnTo>
                        <a:pt x="547597" y="571916"/>
                      </a:lnTo>
                      <a:lnTo>
                        <a:pt x="548021" y="570970"/>
                      </a:lnTo>
                      <a:lnTo>
                        <a:pt x="548004" y="569283"/>
                      </a:lnTo>
                      <a:lnTo>
                        <a:pt x="548648" y="568672"/>
                      </a:lnTo>
                      <a:lnTo>
                        <a:pt x="548811" y="567425"/>
                      </a:lnTo>
                      <a:lnTo>
                        <a:pt x="547393" y="565583"/>
                      </a:lnTo>
                      <a:lnTo>
                        <a:pt x="549023" y="565029"/>
                      </a:lnTo>
                      <a:lnTo>
                        <a:pt x="554410" y="566431"/>
                      </a:lnTo>
                      <a:lnTo>
                        <a:pt x="556716" y="567963"/>
                      </a:lnTo>
                      <a:lnTo>
                        <a:pt x="555510" y="570799"/>
                      </a:lnTo>
                      <a:close/>
                      <a:moveTo>
                        <a:pt x="1000168" y="589218"/>
                      </a:moveTo>
                      <a:lnTo>
                        <a:pt x="1002270" y="593480"/>
                      </a:lnTo>
                      <a:lnTo>
                        <a:pt x="1003803" y="596780"/>
                      </a:lnTo>
                      <a:lnTo>
                        <a:pt x="1005164" y="600758"/>
                      </a:lnTo>
                      <a:lnTo>
                        <a:pt x="1007437" y="608964"/>
                      </a:lnTo>
                      <a:lnTo>
                        <a:pt x="1008497" y="612061"/>
                      </a:lnTo>
                      <a:lnTo>
                        <a:pt x="1008831" y="613756"/>
                      </a:lnTo>
                      <a:lnTo>
                        <a:pt x="1009084" y="618198"/>
                      </a:lnTo>
                      <a:lnTo>
                        <a:pt x="1008741" y="619151"/>
                      </a:lnTo>
                      <a:lnTo>
                        <a:pt x="1008057" y="620024"/>
                      </a:lnTo>
                      <a:lnTo>
                        <a:pt x="1007926" y="621287"/>
                      </a:lnTo>
                      <a:lnTo>
                        <a:pt x="1008554" y="624669"/>
                      </a:lnTo>
                      <a:lnTo>
                        <a:pt x="1008595" y="629795"/>
                      </a:lnTo>
                      <a:lnTo>
                        <a:pt x="1008000" y="632680"/>
                      </a:lnTo>
                      <a:lnTo>
                        <a:pt x="1007307" y="633120"/>
                      </a:lnTo>
                      <a:lnTo>
                        <a:pt x="1005612" y="632167"/>
                      </a:lnTo>
                      <a:lnTo>
                        <a:pt x="1004218" y="630602"/>
                      </a:lnTo>
                      <a:lnTo>
                        <a:pt x="1003191" y="628972"/>
                      </a:lnTo>
                      <a:lnTo>
                        <a:pt x="1000657" y="623837"/>
                      </a:lnTo>
                      <a:lnTo>
                        <a:pt x="999907" y="621450"/>
                      </a:lnTo>
                      <a:lnTo>
                        <a:pt x="999858" y="619730"/>
                      </a:lnTo>
                      <a:lnTo>
                        <a:pt x="1000257" y="618475"/>
                      </a:lnTo>
                      <a:lnTo>
                        <a:pt x="1001089" y="617693"/>
                      </a:lnTo>
                      <a:lnTo>
                        <a:pt x="1002523" y="615598"/>
                      </a:lnTo>
                      <a:lnTo>
                        <a:pt x="1002319" y="615264"/>
                      </a:lnTo>
                      <a:lnTo>
                        <a:pt x="1001227" y="615737"/>
                      </a:lnTo>
                      <a:lnTo>
                        <a:pt x="998994" y="615998"/>
                      </a:lnTo>
                      <a:lnTo>
                        <a:pt x="997022" y="614343"/>
                      </a:lnTo>
                      <a:lnTo>
                        <a:pt x="995490" y="613479"/>
                      </a:lnTo>
                      <a:lnTo>
                        <a:pt x="995800" y="610496"/>
                      </a:lnTo>
                      <a:lnTo>
                        <a:pt x="995392" y="609649"/>
                      </a:lnTo>
                      <a:lnTo>
                        <a:pt x="992368" y="610570"/>
                      </a:lnTo>
                      <a:lnTo>
                        <a:pt x="991236" y="609738"/>
                      </a:lnTo>
                      <a:lnTo>
                        <a:pt x="990983" y="608622"/>
                      </a:lnTo>
                      <a:lnTo>
                        <a:pt x="991040" y="606943"/>
                      </a:lnTo>
                      <a:lnTo>
                        <a:pt x="991619" y="605484"/>
                      </a:lnTo>
                      <a:lnTo>
                        <a:pt x="994488" y="601776"/>
                      </a:lnTo>
                      <a:lnTo>
                        <a:pt x="994202" y="601092"/>
                      </a:lnTo>
                      <a:lnTo>
                        <a:pt x="992809" y="600945"/>
                      </a:lnTo>
                      <a:lnTo>
                        <a:pt x="990967" y="599682"/>
                      </a:lnTo>
                      <a:lnTo>
                        <a:pt x="990127" y="595525"/>
                      </a:lnTo>
                      <a:lnTo>
                        <a:pt x="988155" y="593162"/>
                      </a:lnTo>
                      <a:lnTo>
                        <a:pt x="986990" y="593382"/>
                      </a:lnTo>
                      <a:lnTo>
                        <a:pt x="984333" y="600065"/>
                      </a:lnTo>
                      <a:lnTo>
                        <a:pt x="983021" y="601532"/>
                      </a:lnTo>
                      <a:lnTo>
                        <a:pt x="979288" y="602469"/>
                      </a:lnTo>
                      <a:lnTo>
                        <a:pt x="980054" y="600603"/>
                      </a:lnTo>
                      <a:lnTo>
                        <a:pt x="980397" y="598940"/>
                      </a:lnTo>
                      <a:lnTo>
                        <a:pt x="979068" y="593887"/>
                      </a:lnTo>
                      <a:lnTo>
                        <a:pt x="979027" y="591948"/>
                      </a:lnTo>
                      <a:lnTo>
                        <a:pt x="979916" y="590521"/>
                      </a:lnTo>
                      <a:lnTo>
                        <a:pt x="982548" y="589926"/>
                      </a:lnTo>
                      <a:lnTo>
                        <a:pt x="983950" y="589079"/>
                      </a:lnTo>
                      <a:lnTo>
                        <a:pt x="985042" y="587693"/>
                      </a:lnTo>
                      <a:lnTo>
                        <a:pt x="985311" y="586341"/>
                      </a:lnTo>
                      <a:lnTo>
                        <a:pt x="987348" y="582771"/>
                      </a:lnTo>
                      <a:lnTo>
                        <a:pt x="988302" y="582070"/>
                      </a:lnTo>
                      <a:lnTo>
                        <a:pt x="990845" y="582119"/>
                      </a:lnTo>
                      <a:lnTo>
                        <a:pt x="996191" y="586072"/>
                      </a:lnTo>
                      <a:lnTo>
                        <a:pt x="997813" y="586650"/>
                      </a:lnTo>
                      <a:lnTo>
                        <a:pt x="1000168" y="589218"/>
                      </a:lnTo>
                      <a:close/>
                      <a:moveTo>
                        <a:pt x="1039947" y="602730"/>
                      </a:moveTo>
                      <a:lnTo>
                        <a:pt x="1041593" y="603944"/>
                      </a:lnTo>
                      <a:lnTo>
                        <a:pt x="1042489" y="602673"/>
                      </a:lnTo>
                      <a:lnTo>
                        <a:pt x="1044160" y="602730"/>
                      </a:lnTo>
                      <a:lnTo>
                        <a:pt x="1047265" y="603863"/>
                      </a:lnTo>
                      <a:lnTo>
                        <a:pt x="1049115" y="605558"/>
                      </a:lnTo>
                      <a:lnTo>
                        <a:pt x="1050158" y="607505"/>
                      </a:lnTo>
                      <a:lnTo>
                        <a:pt x="1050248" y="608655"/>
                      </a:lnTo>
                      <a:lnTo>
                        <a:pt x="1049930" y="611279"/>
                      </a:lnTo>
                      <a:lnTo>
                        <a:pt x="1050158" y="613976"/>
                      </a:lnTo>
                      <a:lnTo>
                        <a:pt x="1050028" y="615362"/>
                      </a:lnTo>
                      <a:lnTo>
                        <a:pt x="1049612" y="616519"/>
                      </a:lnTo>
                      <a:lnTo>
                        <a:pt x="1048911" y="617424"/>
                      </a:lnTo>
                      <a:lnTo>
                        <a:pt x="1048145" y="617546"/>
                      </a:lnTo>
                      <a:lnTo>
                        <a:pt x="1045733" y="615126"/>
                      </a:lnTo>
                      <a:lnTo>
                        <a:pt x="1042970" y="610773"/>
                      </a:lnTo>
                      <a:lnTo>
                        <a:pt x="1040859" y="609445"/>
                      </a:lnTo>
                      <a:lnTo>
                        <a:pt x="1040778" y="609893"/>
                      </a:lnTo>
                      <a:lnTo>
                        <a:pt x="1041357" y="611140"/>
                      </a:lnTo>
                      <a:lnTo>
                        <a:pt x="1043076" y="613479"/>
                      </a:lnTo>
                      <a:lnTo>
                        <a:pt x="1043386" y="614889"/>
                      </a:lnTo>
                      <a:lnTo>
                        <a:pt x="1044592" y="616609"/>
                      </a:lnTo>
                      <a:lnTo>
                        <a:pt x="1045138" y="617905"/>
                      </a:lnTo>
                      <a:lnTo>
                        <a:pt x="1045448" y="619616"/>
                      </a:lnTo>
                      <a:lnTo>
                        <a:pt x="1045431" y="621107"/>
                      </a:lnTo>
                      <a:lnTo>
                        <a:pt x="1045097" y="622387"/>
                      </a:lnTo>
                      <a:lnTo>
                        <a:pt x="1044535" y="623202"/>
                      </a:lnTo>
                      <a:lnTo>
                        <a:pt x="1043744" y="623560"/>
                      </a:lnTo>
                      <a:lnTo>
                        <a:pt x="1039531" y="623202"/>
                      </a:lnTo>
                      <a:lnTo>
                        <a:pt x="1037013" y="624049"/>
                      </a:lnTo>
                      <a:lnTo>
                        <a:pt x="1034071" y="623569"/>
                      </a:lnTo>
                      <a:lnTo>
                        <a:pt x="1033362" y="622794"/>
                      </a:lnTo>
                      <a:lnTo>
                        <a:pt x="1032922" y="621539"/>
                      </a:lnTo>
                      <a:lnTo>
                        <a:pt x="1032702" y="618467"/>
                      </a:lnTo>
                      <a:lnTo>
                        <a:pt x="1031960" y="614066"/>
                      </a:lnTo>
                      <a:lnTo>
                        <a:pt x="1032131" y="610684"/>
                      </a:lnTo>
                      <a:lnTo>
                        <a:pt x="1030232" y="607628"/>
                      </a:lnTo>
                      <a:lnTo>
                        <a:pt x="1028610" y="605778"/>
                      </a:lnTo>
                      <a:lnTo>
                        <a:pt x="1026271" y="604123"/>
                      </a:lnTo>
                      <a:lnTo>
                        <a:pt x="1024739" y="602469"/>
                      </a:lnTo>
                      <a:lnTo>
                        <a:pt x="1025163" y="601165"/>
                      </a:lnTo>
                      <a:lnTo>
                        <a:pt x="1027551" y="600171"/>
                      </a:lnTo>
                      <a:lnTo>
                        <a:pt x="1031471" y="600407"/>
                      </a:lnTo>
                      <a:lnTo>
                        <a:pt x="1039947" y="602730"/>
                      </a:lnTo>
                      <a:close/>
                      <a:moveTo>
                        <a:pt x="1024478" y="608867"/>
                      </a:moveTo>
                      <a:lnTo>
                        <a:pt x="1026084" y="611548"/>
                      </a:lnTo>
                      <a:lnTo>
                        <a:pt x="1028415" y="611336"/>
                      </a:lnTo>
                      <a:lnTo>
                        <a:pt x="1029727" y="613365"/>
                      </a:lnTo>
                      <a:lnTo>
                        <a:pt x="1030713" y="616389"/>
                      </a:lnTo>
                      <a:lnTo>
                        <a:pt x="1029996" y="618337"/>
                      </a:lnTo>
                      <a:lnTo>
                        <a:pt x="1028961" y="617905"/>
                      </a:lnTo>
                      <a:lnTo>
                        <a:pt x="1027812" y="619029"/>
                      </a:lnTo>
                      <a:lnTo>
                        <a:pt x="1027111" y="622762"/>
                      </a:lnTo>
                      <a:lnTo>
                        <a:pt x="1027437" y="626494"/>
                      </a:lnTo>
                      <a:lnTo>
                        <a:pt x="1027095" y="630219"/>
                      </a:lnTo>
                      <a:lnTo>
                        <a:pt x="1025750" y="634008"/>
                      </a:lnTo>
                      <a:lnTo>
                        <a:pt x="1025473" y="636543"/>
                      </a:lnTo>
                      <a:lnTo>
                        <a:pt x="1024951" y="637301"/>
                      </a:lnTo>
                      <a:lnTo>
                        <a:pt x="1024373" y="637562"/>
                      </a:lnTo>
                      <a:lnTo>
                        <a:pt x="1023631" y="636877"/>
                      </a:lnTo>
                      <a:lnTo>
                        <a:pt x="1022555" y="636339"/>
                      </a:lnTo>
                      <a:lnTo>
                        <a:pt x="1021194" y="638483"/>
                      </a:lnTo>
                      <a:lnTo>
                        <a:pt x="1019532" y="638491"/>
                      </a:lnTo>
                      <a:lnTo>
                        <a:pt x="1018154" y="633634"/>
                      </a:lnTo>
                      <a:lnTo>
                        <a:pt x="1019377" y="625541"/>
                      </a:lnTo>
                      <a:lnTo>
                        <a:pt x="1022131" y="623886"/>
                      </a:lnTo>
                      <a:lnTo>
                        <a:pt x="1020493" y="621678"/>
                      </a:lnTo>
                      <a:lnTo>
                        <a:pt x="1017022" y="619111"/>
                      </a:lnTo>
                      <a:lnTo>
                        <a:pt x="1017315" y="617676"/>
                      </a:lnTo>
                      <a:lnTo>
                        <a:pt x="1014691" y="613544"/>
                      </a:lnTo>
                      <a:lnTo>
                        <a:pt x="1014536" y="612558"/>
                      </a:lnTo>
                      <a:lnTo>
                        <a:pt x="1014960" y="609111"/>
                      </a:lnTo>
                      <a:lnTo>
                        <a:pt x="1017413" y="606030"/>
                      </a:lnTo>
                      <a:lnTo>
                        <a:pt x="1020664" y="605484"/>
                      </a:lnTo>
                      <a:lnTo>
                        <a:pt x="1022930" y="606805"/>
                      </a:lnTo>
                      <a:lnTo>
                        <a:pt x="1024201" y="607929"/>
                      </a:lnTo>
                      <a:lnTo>
                        <a:pt x="1024478" y="608867"/>
                      </a:lnTo>
                      <a:close/>
                      <a:moveTo>
                        <a:pt x="1071038" y="637244"/>
                      </a:moveTo>
                      <a:lnTo>
                        <a:pt x="1070533" y="643625"/>
                      </a:lnTo>
                      <a:lnTo>
                        <a:pt x="1069547" y="643266"/>
                      </a:lnTo>
                      <a:lnTo>
                        <a:pt x="1068609" y="643250"/>
                      </a:lnTo>
                      <a:lnTo>
                        <a:pt x="1066694" y="644155"/>
                      </a:lnTo>
                      <a:lnTo>
                        <a:pt x="1064681" y="643764"/>
                      </a:lnTo>
                      <a:lnTo>
                        <a:pt x="1063744" y="643055"/>
                      </a:lnTo>
                      <a:lnTo>
                        <a:pt x="1063393" y="642240"/>
                      </a:lnTo>
                      <a:lnTo>
                        <a:pt x="1063752" y="640341"/>
                      </a:lnTo>
                      <a:lnTo>
                        <a:pt x="1062627" y="639289"/>
                      </a:lnTo>
                      <a:lnTo>
                        <a:pt x="1058870" y="638906"/>
                      </a:lnTo>
                      <a:lnTo>
                        <a:pt x="1057460" y="638450"/>
                      </a:lnTo>
                      <a:lnTo>
                        <a:pt x="1056678" y="636453"/>
                      </a:lnTo>
                      <a:lnTo>
                        <a:pt x="1056491" y="633837"/>
                      </a:lnTo>
                      <a:lnTo>
                        <a:pt x="1057086" y="632851"/>
                      </a:lnTo>
                      <a:lnTo>
                        <a:pt x="1058985" y="632158"/>
                      </a:lnTo>
                      <a:lnTo>
                        <a:pt x="1060468" y="628980"/>
                      </a:lnTo>
                      <a:lnTo>
                        <a:pt x="1061291" y="628548"/>
                      </a:lnTo>
                      <a:lnTo>
                        <a:pt x="1064420" y="622248"/>
                      </a:lnTo>
                      <a:lnTo>
                        <a:pt x="1065993" y="622680"/>
                      </a:lnTo>
                      <a:lnTo>
                        <a:pt x="1068740" y="626527"/>
                      </a:lnTo>
                      <a:lnTo>
                        <a:pt x="1072187" y="632061"/>
                      </a:lnTo>
                      <a:lnTo>
                        <a:pt x="1071038" y="637244"/>
                      </a:lnTo>
                      <a:close/>
                      <a:moveTo>
                        <a:pt x="1034983" y="628401"/>
                      </a:moveTo>
                      <a:lnTo>
                        <a:pt x="1039678" y="629233"/>
                      </a:lnTo>
                      <a:lnTo>
                        <a:pt x="1043989" y="629151"/>
                      </a:lnTo>
                      <a:lnTo>
                        <a:pt x="1045456" y="630740"/>
                      </a:lnTo>
                      <a:lnTo>
                        <a:pt x="1046434" y="632419"/>
                      </a:lnTo>
                      <a:lnTo>
                        <a:pt x="1046996" y="633984"/>
                      </a:lnTo>
                      <a:lnTo>
                        <a:pt x="1047151" y="635459"/>
                      </a:lnTo>
                      <a:lnTo>
                        <a:pt x="1047037" y="636502"/>
                      </a:lnTo>
                      <a:lnTo>
                        <a:pt x="1046515" y="637619"/>
                      </a:lnTo>
                      <a:lnTo>
                        <a:pt x="1046629" y="637994"/>
                      </a:lnTo>
                      <a:lnTo>
                        <a:pt x="1055040" y="641645"/>
                      </a:lnTo>
                      <a:lnTo>
                        <a:pt x="1059009" y="645483"/>
                      </a:lnTo>
                      <a:lnTo>
                        <a:pt x="1060590" y="647504"/>
                      </a:lnTo>
                      <a:lnTo>
                        <a:pt x="1061503" y="649200"/>
                      </a:lnTo>
                      <a:lnTo>
                        <a:pt x="1063165" y="653462"/>
                      </a:lnTo>
                      <a:lnTo>
                        <a:pt x="1066670" y="658392"/>
                      </a:lnTo>
                      <a:lnTo>
                        <a:pt x="1068503" y="659900"/>
                      </a:lnTo>
                      <a:lnTo>
                        <a:pt x="1069555" y="661359"/>
                      </a:lnTo>
                      <a:lnTo>
                        <a:pt x="1068968" y="661416"/>
                      </a:lnTo>
                      <a:lnTo>
                        <a:pt x="1066499" y="660340"/>
                      </a:lnTo>
                      <a:lnTo>
                        <a:pt x="1061152" y="657031"/>
                      </a:lnTo>
                      <a:lnTo>
                        <a:pt x="1060720" y="657162"/>
                      </a:lnTo>
                      <a:lnTo>
                        <a:pt x="1060231" y="658947"/>
                      </a:lnTo>
                      <a:lnTo>
                        <a:pt x="1059400" y="660519"/>
                      </a:lnTo>
                      <a:lnTo>
                        <a:pt x="1058170" y="661652"/>
                      </a:lnTo>
                      <a:lnTo>
                        <a:pt x="1059156" y="661986"/>
                      </a:lnTo>
                      <a:lnTo>
                        <a:pt x="1063467" y="661286"/>
                      </a:lnTo>
                      <a:lnTo>
                        <a:pt x="1067085" y="664505"/>
                      </a:lnTo>
                      <a:lnTo>
                        <a:pt x="1068487" y="665083"/>
                      </a:lnTo>
                      <a:lnTo>
                        <a:pt x="1069856" y="667390"/>
                      </a:lnTo>
                      <a:lnTo>
                        <a:pt x="1069897" y="668270"/>
                      </a:lnTo>
                      <a:lnTo>
                        <a:pt x="1069106" y="669981"/>
                      </a:lnTo>
                      <a:lnTo>
                        <a:pt x="1068495" y="670674"/>
                      </a:lnTo>
                      <a:lnTo>
                        <a:pt x="1068699" y="671139"/>
                      </a:lnTo>
                      <a:lnTo>
                        <a:pt x="1069710" y="671391"/>
                      </a:lnTo>
                      <a:lnTo>
                        <a:pt x="1073695" y="670902"/>
                      </a:lnTo>
                      <a:lnTo>
                        <a:pt x="1074412" y="671750"/>
                      </a:lnTo>
                      <a:lnTo>
                        <a:pt x="1073817" y="678400"/>
                      </a:lnTo>
                      <a:lnTo>
                        <a:pt x="1074379" y="680853"/>
                      </a:lnTo>
                      <a:lnTo>
                        <a:pt x="1074371" y="681970"/>
                      </a:lnTo>
                      <a:lnTo>
                        <a:pt x="1073907" y="683436"/>
                      </a:lnTo>
                      <a:lnTo>
                        <a:pt x="1073890" y="684683"/>
                      </a:lnTo>
                      <a:lnTo>
                        <a:pt x="1074249" y="685963"/>
                      </a:lnTo>
                      <a:lnTo>
                        <a:pt x="1074298" y="687112"/>
                      </a:lnTo>
                      <a:lnTo>
                        <a:pt x="1073279" y="690095"/>
                      </a:lnTo>
                      <a:lnTo>
                        <a:pt x="1072211" y="690592"/>
                      </a:lnTo>
                      <a:lnTo>
                        <a:pt x="1070492" y="690608"/>
                      </a:lnTo>
                      <a:lnTo>
                        <a:pt x="1069131" y="689761"/>
                      </a:lnTo>
                      <a:lnTo>
                        <a:pt x="1067224" y="687194"/>
                      </a:lnTo>
                      <a:lnTo>
                        <a:pt x="1065358" y="683208"/>
                      </a:lnTo>
                      <a:lnTo>
                        <a:pt x="1064649" y="682638"/>
                      </a:lnTo>
                      <a:lnTo>
                        <a:pt x="1062204" y="682043"/>
                      </a:lnTo>
                      <a:lnTo>
                        <a:pt x="1061763" y="681562"/>
                      </a:lnTo>
                      <a:lnTo>
                        <a:pt x="1060199" y="681481"/>
                      </a:lnTo>
                      <a:lnTo>
                        <a:pt x="1059099" y="679843"/>
                      </a:lnTo>
                      <a:lnTo>
                        <a:pt x="1059229" y="677683"/>
                      </a:lnTo>
                      <a:lnTo>
                        <a:pt x="1058275" y="675482"/>
                      </a:lnTo>
                      <a:lnTo>
                        <a:pt x="1058389" y="674496"/>
                      </a:lnTo>
                      <a:lnTo>
                        <a:pt x="1057322" y="674089"/>
                      </a:lnTo>
                      <a:lnTo>
                        <a:pt x="1056425" y="674708"/>
                      </a:lnTo>
                      <a:lnTo>
                        <a:pt x="1056890" y="676860"/>
                      </a:lnTo>
                      <a:lnTo>
                        <a:pt x="1056360" y="678530"/>
                      </a:lnTo>
                      <a:lnTo>
                        <a:pt x="1054429" y="677829"/>
                      </a:lnTo>
                      <a:lnTo>
                        <a:pt x="1051202" y="672500"/>
                      </a:lnTo>
                      <a:lnTo>
                        <a:pt x="1047526" y="668213"/>
                      </a:lnTo>
                      <a:lnTo>
                        <a:pt x="1046092" y="667194"/>
                      </a:lnTo>
                      <a:lnTo>
                        <a:pt x="1046475" y="665955"/>
                      </a:lnTo>
                      <a:lnTo>
                        <a:pt x="1048284" y="665295"/>
                      </a:lnTo>
                      <a:lnTo>
                        <a:pt x="1049759" y="665344"/>
                      </a:lnTo>
                      <a:lnTo>
                        <a:pt x="1050052" y="664603"/>
                      </a:lnTo>
                      <a:lnTo>
                        <a:pt x="1046988" y="660454"/>
                      </a:lnTo>
                      <a:lnTo>
                        <a:pt x="1047086" y="659273"/>
                      </a:lnTo>
                      <a:lnTo>
                        <a:pt x="1048202" y="657178"/>
                      </a:lnTo>
                      <a:lnTo>
                        <a:pt x="1046809" y="656306"/>
                      </a:lnTo>
                      <a:lnTo>
                        <a:pt x="1042986" y="656966"/>
                      </a:lnTo>
                      <a:lnTo>
                        <a:pt x="1041634" y="656526"/>
                      </a:lnTo>
                      <a:lnTo>
                        <a:pt x="1040525" y="654847"/>
                      </a:lnTo>
                      <a:lnTo>
                        <a:pt x="1039873" y="653388"/>
                      </a:lnTo>
                      <a:lnTo>
                        <a:pt x="1036565" y="653119"/>
                      </a:lnTo>
                      <a:lnTo>
                        <a:pt x="1035309" y="653299"/>
                      </a:lnTo>
                      <a:lnTo>
                        <a:pt x="1033150" y="651090"/>
                      </a:lnTo>
                      <a:lnTo>
                        <a:pt x="1032164" y="649697"/>
                      </a:lnTo>
                      <a:lnTo>
                        <a:pt x="1032547" y="648979"/>
                      </a:lnTo>
                      <a:lnTo>
                        <a:pt x="1034543" y="647724"/>
                      </a:lnTo>
                      <a:lnTo>
                        <a:pt x="1035709" y="647896"/>
                      </a:lnTo>
                      <a:lnTo>
                        <a:pt x="1037950" y="649240"/>
                      </a:lnTo>
                      <a:lnTo>
                        <a:pt x="1038814" y="649191"/>
                      </a:lnTo>
                      <a:lnTo>
                        <a:pt x="1041031" y="647407"/>
                      </a:lnTo>
                      <a:lnTo>
                        <a:pt x="1041373" y="645809"/>
                      </a:lnTo>
                      <a:lnTo>
                        <a:pt x="1043035" y="644489"/>
                      </a:lnTo>
                      <a:lnTo>
                        <a:pt x="1042766" y="643104"/>
                      </a:lnTo>
                      <a:lnTo>
                        <a:pt x="1041846" y="640732"/>
                      </a:lnTo>
                      <a:lnTo>
                        <a:pt x="1039808" y="640064"/>
                      </a:lnTo>
                      <a:lnTo>
                        <a:pt x="1035660" y="641474"/>
                      </a:lnTo>
                      <a:lnTo>
                        <a:pt x="1032050" y="643641"/>
                      </a:lnTo>
                      <a:lnTo>
                        <a:pt x="1030599" y="642794"/>
                      </a:lnTo>
                      <a:lnTo>
                        <a:pt x="1030281" y="641465"/>
                      </a:lnTo>
                      <a:lnTo>
                        <a:pt x="1034152" y="637855"/>
                      </a:lnTo>
                      <a:lnTo>
                        <a:pt x="1035847" y="635850"/>
                      </a:lnTo>
                      <a:lnTo>
                        <a:pt x="1035513" y="634660"/>
                      </a:lnTo>
                      <a:lnTo>
                        <a:pt x="1034266" y="633128"/>
                      </a:lnTo>
                      <a:lnTo>
                        <a:pt x="1034160" y="629282"/>
                      </a:lnTo>
                      <a:lnTo>
                        <a:pt x="1034983" y="628401"/>
                      </a:lnTo>
                      <a:close/>
                      <a:moveTo>
                        <a:pt x="1099146" y="661017"/>
                      </a:moveTo>
                      <a:lnTo>
                        <a:pt x="1098282" y="665222"/>
                      </a:lnTo>
                      <a:lnTo>
                        <a:pt x="1096579" y="669517"/>
                      </a:lnTo>
                      <a:lnTo>
                        <a:pt x="1093971" y="671815"/>
                      </a:lnTo>
                      <a:lnTo>
                        <a:pt x="1092129" y="671310"/>
                      </a:lnTo>
                      <a:lnTo>
                        <a:pt x="1090785" y="669443"/>
                      </a:lnTo>
                      <a:lnTo>
                        <a:pt x="1089530" y="669549"/>
                      </a:lnTo>
                      <a:lnTo>
                        <a:pt x="1088193" y="669166"/>
                      </a:lnTo>
                      <a:lnTo>
                        <a:pt x="1087443" y="667626"/>
                      </a:lnTo>
                      <a:lnTo>
                        <a:pt x="1088160" y="665638"/>
                      </a:lnTo>
                      <a:lnTo>
                        <a:pt x="1087525" y="664097"/>
                      </a:lnTo>
                      <a:lnTo>
                        <a:pt x="1086857" y="665450"/>
                      </a:lnTo>
                      <a:lnTo>
                        <a:pt x="1085683" y="666689"/>
                      </a:lnTo>
                      <a:lnTo>
                        <a:pt x="1082716" y="668294"/>
                      </a:lnTo>
                      <a:lnTo>
                        <a:pt x="1080679" y="671375"/>
                      </a:lnTo>
                      <a:lnTo>
                        <a:pt x="1079717" y="673372"/>
                      </a:lnTo>
                      <a:lnTo>
                        <a:pt x="1078511" y="671188"/>
                      </a:lnTo>
                      <a:lnTo>
                        <a:pt x="1077737" y="666012"/>
                      </a:lnTo>
                      <a:lnTo>
                        <a:pt x="1077639" y="663820"/>
                      </a:lnTo>
                      <a:lnTo>
                        <a:pt x="1079791" y="660495"/>
                      </a:lnTo>
                      <a:lnTo>
                        <a:pt x="1082562" y="657341"/>
                      </a:lnTo>
                      <a:lnTo>
                        <a:pt x="1083124" y="647920"/>
                      </a:lnTo>
                      <a:lnTo>
                        <a:pt x="1091950" y="643177"/>
                      </a:lnTo>
                      <a:lnTo>
                        <a:pt x="1092765" y="643421"/>
                      </a:lnTo>
                      <a:lnTo>
                        <a:pt x="1095634" y="646967"/>
                      </a:lnTo>
                      <a:lnTo>
                        <a:pt x="1098682" y="651913"/>
                      </a:lnTo>
                      <a:lnTo>
                        <a:pt x="1099472" y="654138"/>
                      </a:lnTo>
                      <a:lnTo>
                        <a:pt x="1099489" y="658026"/>
                      </a:lnTo>
                      <a:lnTo>
                        <a:pt x="1099146" y="661017"/>
                      </a:lnTo>
                      <a:close/>
                      <a:moveTo>
                        <a:pt x="1052432" y="683689"/>
                      </a:moveTo>
                      <a:lnTo>
                        <a:pt x="1053051" y="684194"/>
                      </a:lnTo>
                      <a:lnTo>
                        <a:pt x="1053671" y="683836"/>
                      </a:lnTo>
                      <a:lnTo>
                        <a:pt x="1054673" y="682475"/>
                      </a:lnTo>
                      <a:lnTo>
                        <a:pt x="1056458" y="682752"/>
                      </a:lnTo>
                      <a:lnTo>
                        <a:pt x="1057737" y="683208"/>
                      </a:lnTo>
                      <a:lnTo>
                        <a:pt x="1058528" y="683763"/>
                      </a:lnTo>
                      <a:lnTo>
                        <a:pt x="1058112" y="685735"/>
                      </a:lnTo>
                      <a:lnTo>
                        <a:pt x="1057786" y="688946"/>
                      </a:lnTo>
                      <a:lnTo>
                        <a:pt x="1057053" y="690079"/>
                      </a:lnTo>
                      <a:lnTo>
                        <a:pt x="1056336" y="691676"/>
                      </a:lnTo>
                      <a:lnTo>
                        <a:pt x="1053818" y="690731"/>
                      </a:lnTo>
                      <a:lnTo>
                        <a:pt x="1051780" y="688701"/>
                      </a:lnTo>
                      <a:lnTo>
                        <a:pt x="1048814" y="685197"/>
                      </a:lnTo>
                      <a:lnTo>
                        <a:pt x="1047167" y="682670"/>
                      </a:lnTo>
                      <a:lnTo>
                        <a:pt x="1047045" y="681603"/>
                      </a:lnTo>
                      <a:lnTo>
                        <a:pt x="1046002" y="680829"/>
                      </a:lnTo>
                      <a:lnTo>
                        <a:pt x="1043965" y="676460"/>
                      </a:lnTo>
                      <a:lnTo>
                        <a:pt x="1042807" y="673005"/>
                      </a:lnTo>
                      <a:lnTo>
                        <a:pt x="1040982" y="672614"/>
                      </a:lnTo>
                      <a:lnTo>
                        <a:pt x="1038675" y="671652"/>
                      </a:lnTo>
                      <a:lnTo>
                        <a:pt x="1037787" y="669769"/>
                      </a:lnTo>
                      <a:lnTo>
                        <a:pt x="1038398" y="668107"/>
                      </a:lnTo>
                      <a:lnTo>
                        <a:pt x="1041683" y="667267"/>
                      </a:lnTo>
                      <a:lnTo>
                        <a:pt x="1046621" y="671538"/>
                      </a:lnTo>
                      <a:lnTo>
                        <a:pt x="1047371" y="673347"/>
                      </a:lnTo>
                      <a:lnTo>
                        <a:pt x="1049140" y="675474"/>
                      </a:lnTo>
                      <a:lnTo>
                        <a:pt x="1049474" y="678424"/>
                      </a:lnTo>
                      <a:lnTo>
                        <a:pt x="1050378" y="679582"/>
                      </a:lnTo>
                      <a:lnTo>
                        <a:pt x="1052432" y="683689"/>
                      </a:lnTo>
                      <a:close/>
                      <a:moveTo>
                        <a:pt x="293146" y="680405"/>
                      </a:moveTo>
                      <a:lnTo>
                        <a:pt x="295558" y="686688"/>
                      </a:lnTo>
                      <a:lnTo>
                        <a:pt x="296601" y="687919"/>
                      </a:lnTo>
                      <a:lnTo>
                        <a:pt x="298142" y="688587"/>
                      </a:lnTo>
                      <a:lnTo>
                        <a:pt x="300310" y="689264"/>
                      </a:lnTo>
                      <a:lnTo>
                        <a:pt x="301597" y="690193"/>
                      </a:lnTo>
                      <a:lnTo>
                        <a:pt x="302738" y="691603"/>
                      </a:lnTo>
                      <a:lnTo>
                        <a:pt x="302885" y="692246"/>
                      </a:lnTo>
                      <a:lnTo>
                        <a:pt x="296072" y="689720"/>
                      </a:lnTo>
                      <a:lnTo>
                        <a:pt x="291785" y="693412"/>
                      </a:lnTo>
                      <a:lnTo>
                        <a:pt x="290489" y="693893"/>
                      </a:lnTo>
                      <a:lnTo>
                        <a:pt x="278330" y="694064"/>
                      </a:lnTo>
                      <a:lnTo>
                        <a:pt x="275901" y="694748"/>
                      </a:lnTo>
                      <a:lnTo>
                        <a:pt x="274336" y="695946"/>
                      </a:lnTo>
                      <a:lnTo>
                        <a:pt x="271557" y="699320"/>
                      </a:lnTo>
                      <a:lnTo>
                        <a:pt x="270147" y="700632"/>
                      </a:lnTo>
                      <a:lnTo>
                        <a:pt x="268656" y="701415"/>
                      </a:lnTo>
                      <a:lnTo>
                        <a:pt x="265502" y="702279"/>
                      </a:lnTo>
                      <a:lnTo>
                        <a:pt x="261712" y="702165"/>
                      </a:lnTo>
                      <a:lnTo>
                        <a:pt x="259732" y="701716"/>
                      </a:lnTo>
                      <a:lnTo>
                        <a:pt x="258673" y="700119"/>
                      </a:lnTo>
                      <a:lnTo>
                        <a:pt x="257735" y="696957"/>
                      </a:lnTo>
                      <a:lnTo>
                        <a:pt x="257743" y="696085"/>
                      </a:lnTo>
                      <a:lnTo>
                        <a:pt x="258135" y="694569"/>
                      </a:lnTo>
                      <a:lnTo>
                        <a:pt x="261517" y="692483"/>
                      </a:lnTo>
                      <a:lnTo>
                        <a:pt x="262641" y="691374"/>
                      </a:lnTo>
                      <a:lnTo>
                        <a:pt x="267018" y="684203"/>
                      </a:lnTo>
                      <a:lnTo>
                        <a:pt x="268281" y="683217"/>
                      </a:lnTo>
                      <a:lnTo>
                        <a:pt x="269626" y="682972"/>
                      </a:lnTo>
                      <a:lnTo>
                        <a:pt x="273358" y="683477"/>
                      </a:lnTo>
                      <a:lnTo>
                        <a:pt x="276553" y="681383"/>
                      </a:lnTo>
                      <a:lnTo>
                        <a:pt x="283423" y="678188"/>
                      </a:lnTo>
                      <a:lnTo>
                        <a:pt x="284931" y="677813"/>
                      </a:lnTo>
                      <a:lnTo>
                        <a:pt x="289886" y="677748"/>
                      </a:lnTo>
                      <a:lnTo>
                        <a:pt x="291239" y="678245"/>
                      </a:lnTo>
                      <a:lnTo>
                        <a:pt x="292282" y="679142"/>
                      </a:lnTo>
                      <a:lnTo>
                        <a:pt x="293146" y="680405"/>
                      </a:lnTo>
                      <a:close/>
                      <a:moveTo>
                        <a:pt x="215283" y="721292"/>
                      </a:moveTo>
                      <a:lnTo>
                        <a:pt x="216351" y="723077"/>
                      </a:lnTo>
                      <a:lnTo>
                        <a:pt x="218209" y="721944"/>
                      </a:lnTo>
                      <a:lnTo>
                        <a:pt x="219570" y="720396"/>
                      </a:lnTo>
                      <a:lnTo>
                        <a:pt x="220630" y="718383"/>
                      </a:lnTo>
                      <a:lnTo>
                        <a:pt x="221314" y="717592"/>
                      </a:lnTo>
                      <a:lnTo>
                        <a:pt x="222227" y="718651"/>
                      </a:lnTo>
                      <a:lnTo>
                        <a:pt x="224827" y="720094"/>
                      </a:lnTo>
                      <a:lnTo>
                        <a:pt x="222634" y="722303"/>
                      </a:lnTo>
                      <a:lnTo>
                        <a:pt x="218421" y="725628"/>
                      </a:lnTo>
                      <a:lnTo>
                        <a:pt x="217011" y="727844"/>
                      </a:lnTo>
                      <a:lnTo>
                        <a:pt x="216921" y="728814"/>
                      </a:lnTo>
                      <a:lnTo>
                        <a:pt x="220996" y="728073"/>
                      </a:lnTo>
                      <a:lnTo>
                        <a:pt x="222137" y="728179"/>
                      </a:lnTo>
                      <a:lnTo>
                        <a:pt x="222871" y="728937"/>
                      </a:lnTo>
                      <a:lnTo>
                        <a:pt x="221746" y="729841"/>
                      </a:lnTo>
                      <a:lnTo>
                        <a:pt x="219521" y="730648"/>
                      </a:lnTo>
                      <a:lnTo>
                        <a:pt x="217590" y="732237"/>
                      </a:lnTo>
                      <a:lnTo>
                        <a:pt x="213124" y="734975"/>
                      </a:lnTo>
                      <a:lnTo>
                        <a:pt x="211429" y="737249"/>
                      </a:lnTo>
                      <a:lnTo>
                        <a:pt x="209432" y="738113"/>
                      </a:lnTo>
                      <a:lnTo>
                        <a:pt x="206710" y="738325"/>
                      </a:lnTo>
                      <a:lnTo>
                        <a:pt x="201926" y="739808"/>
                      </a:lnTo>
                      <a:lnTo>
                        <a:pt x="199025" y="741202"/>
                      </a:lnTo>
                      <a:lnTo>
                        <a:pt x="198291" y="741952"/>
                      </a:lnTo>
                      <a:lnTo>
                        <a:pt x="197378" y="742310"/>
                      </a:lnTo>
                      <a:lnTo>
                        <a:pt x="196286" y="742269"/>
                      </a:lnTo>
                      <a:lnTo>
                        <a:pt x="195105" y="742881"/>
                      </a:lnTo>
                      <a:lnTo>
                        <a:pt x="193833" y="744144"/>
                      </a:lnTo>
                      <a:lnTo>
                        <a:pt x="192774" y="744739"/>
                      </a:lnTo>
                      <a:lnTo>
                        <a:pt x="191046" y="744869"/>
                      </a:lnTo>
                      <a:lnTo>
                        <a:pt x="190141" y="745366"/>
                      </a:lnTo>
                      <a:lnTo>
                        <a:pt x="189131" y="745350"/>
                      </a:lnTo>
                      <a:lnTo>
                        <a:pt x="186368" y="743842"/>
                      </a:lnTo>
                      <a:lnTo>
                        <a:pt x="185675" y="742962"/>
                      </a:lnTo>
                      <a:lnTo>
                        <a:pt x="188128" y="741194"/>
                      </a:lnTo>
                      <a:lnTo>
                        <a:pt x="189897" y="740607"/>
                      </a:lnTo>
                      <a:lnTo>
                        <a:pt x="192595" y="740338"/>
                      </a:lnTo>
                      <a:lnTo>
                        <a:pt x="195235" y="738700"/>
                      </a:lnTo>
                      <a:lnTo>
                        <a:pt x="200679" y="736532"/>
                      </a:lnTo>
                      <a:lnTo>
                        <a:pt x="202366" y="735350"/>
                      </a:lnTo>
                      <a:lnTo>
                        <a:pt x="203450" y="731235"/>
                      </a:lnTo>
                      <a:lnTo>
                        <a:pt x="204689" y="730534"/>
                      </a:lnTo>
                      <a:lnTo>
                        <a:pt x="205349" y="728888"/>
                      </a:lnTo>
                      <a:lnTo>
                        <a:pt x="208372" y="728937"/>
                      </a:lnTo>
                      <a:lnTo>
                        <a:pt x="209758" y="730778"/>
                      </a:lnTo>
                      <a:lnTo>
                        <a:pt x="210239" y="731031"/>
                      </a:lnTo>
                      <a:lnTo>
                        <a:pt x="210483" y="730852"/>
                      </a:lnTo>
                      <a:lnTo>
                        <a:pt x="210622" y="729377"/>
                      </a:lnTo>
                      <a:lnTo>
                        <a:pt x="212162" y="728342"/>
                      </a:lnTo>
                      <a:lnTo>
                        <a:pt x="211274" y="727584"/>
                      </a:lnTo>
                      <a:lnTo>
                        <a:pt x="208486" y="726622"/>
                      </a:lnTo>
                      <a:lnTo>
                        <a:pt x="206416" y="726174"/>
                      </a:lnTo>
                      <a:lnTo>
                        <a:pt x="205064" y="726231"/>
                      </a:lnTo>
                      <a:lnTo>
                        <a:pt x="203963" y="725693"/>
                      </a:lnTo>
                      <a:lnTo>
                        <a:pt x="203116" y="724568"/>
                      </a:lnTo>
                      <a:lnTo>
                        <a:pt x="202733" y="723444"/>
                      </a:lnTo>
                      <a:lnTo>
                        <a:pt x="202806" y="722335"/>
                      </a:lnTo>
                      <a:lnTo>
                        <a:pt x="203499" y="721096"/>
                      </a:lnTo>
                      <a:lnTo>
                        <a:pt x="204795" y="719719"/>
                      </a:lnTo>
                      <a:lnTo>
                        <a:pt x="206286" y="718937"/>
                      </a:lnTo>
                      <a:lnTo>
                        <a:pt x="209497" y="718366"/>
                      </a:lnTo>
                      <a:lnTo>
                        <a:pt x="212341" y="717454"/>
                      </a:lnTo>
                      <a:lnTo>
                        <a:pt x="213849" y="717307"/>
                      </a:lnTo>
                      <a:lnTo>
                        <a:pt x="214990" y="717698"/>
                      </a:lnTo>
                      <a:lnTo>
                        <a:pt x="215283" y="721292"/>
                      </a:lnTo>
                      <a:close/>
                      <a:moveTo>
                        <a:pt x="181829" y="742180"/>
                      </a:moveTo>
                      <a:lnTo>
                        <a:pt x="174233" y="746189"/>
                      </a:lnTo>
                      <a:lnTo>
                        <a:pt x="171764" y="749123"/>
                      </a:lnTo>
                      <a:lnTo>
                        <a:pt x="169881" y="751943"/>
                      </a:lnTo>
                      <a:lnTo>
                        <a:pt x="168398" y="753483"/>
                      </a:lnTo>
                      <a:lnTo>
                        <a:pt x="167322" y="753752"/>
                      </a:lnTo>
                      <a:lnTo>
                        <a:pt x="166124" y="754502"/>
                      </a:lnTo>
                      <a:lnTo>
                        <a:pt x="163614" y="756474"/>
                      </a:lnTo>
                      <a:lnTo>
                        <a:pt x="162563" y="756711"/>
                      </a:lnTo>
                      <a:lnTo>
                        <a:pt x="154503" y="761307"/>
                      </a:lnTo>
                      <a:lnTo>
                        <a:pt x="153940" y="761381"/>
                      </a:lnTo>
                      <a:lnTo>
                        <a:pt x="154331" y="760183"/>
                      </a:lnTo>
                      <a:lnTo>
                        <a:pt x="156793" y="758487"/>
                      </a:lnTo>
                      <a:lnTo>
                        <a:pt x="158398" y="756931"/>
                      </a:lnTo>
                      <a:lnTo>
                        <a:pt x="160207" y="754372"/>
                      </a:lnTo>
                      <a:lnTo>
                        <a:pt x="161202" y="753426"/>
                      </a:lnTo>
                      <a:lnTo>
                        <a:pt x="161528" y="752139"/>
                      </a:lnTo>
                      <a:lnTo>
                        <a:pt x="161658" y="749539"/>
                      </a:lnTo>
                      <a:lnTo>
                        <a:pt x="162106" y="748553"/>
                      </a:lnTo>
                      <a:lnTo>
                        <a:pt x="163834" y="746597"/>
                      </a:lnTo>
                      <a:lnTo>
                        <a:pt x="165097" y="745529"/>
                      </a:lnTo>
                      <a:lnTo>
                        <a:pt x="166752" y="745163"/>
                      </a:lnTo>
                      <a:lnTo>
                        <a:pt x="170118" y="745497"/>
                      </a:lnTo>
                      <a:lnTo>
                        <a:pt x="171511" y="744503"/>
                      </a:lnTo>
                      <a:lnTo>
                        <a:pt x="171943" y="743753"/>
                      </a:lnTo>
                      <a:lnTo>
                        <a:pt x="171095" y="743060"/>
                      </a:lnTo>
                      <a:lnTo>
                        <a:pt x="170900" y="741870"/>
                      </a:lnTo>
                      <a:lnTo>
                        <a:pt x="171120" y="739808"/>
                      </a:lnTo>
                      <a:lnTo>
                        <a:pt x="172090" y="737975"/>
                      </a:lnTo>
                      <a:lnTo>
                        <a:pt x="173817" y="736377"/>
                      </a:lnTo>
                      <a:lnTo>
                        <a:pt x="176165" y="735130"/>
                      </a:lnTo>
                      <a:lnTo>
                        <a:pt x="179131" y="734242"/>
                      </a:lnTo>
                      <a:lnTo>
                        <a:pt x="181299" y="734201"/>
                      </a:lnTo>
                      <a:lnTo>
                        <a:pt x="185211" y="736084"/>
                      </a:lnTo>
                      <a:lnTo>
                        <a:pt x="185789" y="736948"/>
                      </a:lnTo>
                      <a:lnTo>
                        <a:pt x="184836" y="738838"/>
                      </a:lnTo>
                      <a:lnTo>
                        <a:pt x="184282" y="740615"/>
                      </a:lnTo>
                      <a:lnTo>
                        <a:pt x="181829" y="742180"/>
                      </a:lnTo>
                      <a:close/>
                      <a:moveTo>
                        <a:pt x="15330" y="791021"/>
                      </a:moveTo>
                      <a:lnTo>
                        <a:pt x="2029" y="792545"/>
                      </a:lnTo>
                      <a:lnTo>
                        <a:pt x="0" y="791494"/>
                      </a:lnTo>
                      <a:lnTo>
                        <a:pt x="2021" y="790907"/>
                      </a:lnTo>
                      <a:lnTo>
                        <a:pt x="4417" y="790573"/>
                      </a:lnTo>
                      <a:lnTo>
                        <a:pt x="9421" y="788829"/>
                      </a:lnTo>
                      <a:lnTo>
                        <a:pt x="15574" y="787313"/>
                      </a:lnTo>
                      <a:lnTo>
                        <a:pt x="20366" y="785487"/>
                      </a:lnTo>
                      <a:lnTo>
                        <a:pt x="24539" y="784298"/>
                      </a:lnTo>
                      <a:lnTo>
                        <a:pt x="25712" y="782334"/>
                      </a:lnTo>
                      <a:lnTo>
                        <a:pt x="22045" y="781331"/>
                      </a:lnTo>
                      <a:lnTo>
                        <a:pt x="21328" y="780541"/>
                      </a:lnTo>
                      <a:lnTo>
                        <a:pt x="23064" y="779628"/>
                      </a:lnTo>
                      <a:lnTo>
                        <a:pt x="24514" y="778291"/>
                      </a:lnTo>
                      <a:lnTo>
                        <a:pt x="27937" y="776718"/>
                      </a:lnTo>
                      <a:lnTo>
                        <a:pt x="30993" y="778691"/>
                      </a:lnTo>
                      <a:lnTo>
                        <a:pt x="31670" y="780003"/>
                      </a:lnTo>
                      <a:lnTo>
                        <a:pt x="31376" y="781567"/>
                      </a:lnTo>
                      <a:lnTo>
                        <a:pt x="30765" y="783189"/>
                      </a:lnTo>
                      <a:lnTo>
                        <a:pt x="28076" y="784029"/>
                      </a:lnTo>
                      <a:lnTo>
                        <a:pt x="27676" y="784884"/>
                      </a:lnTo>
                      <a:lnTo>
                        <a:pt x="29127" y="787297"/>
                      </a:lnTo>
                      <a:lnTo>
                        <a:pt x="23602" y="789432"/>
                      </a:lnTo>
                      <a:lnTo>
                        <a:pt x="15330" y="791021"/>
                      </a:lnTo>
                      <a:close/>
                    </a:path>
                  </a:pathLst>
                </a:custGeom>
                <a:solidFill>
                  <a:srgbClr val="D6D6D2"/>
                </a:solidFill>
                <a:ln w="6112" cap="rnd">
                  <a:solidFill>
                    <a:srgbClr val="FFFFFF"/>
                  </a:solidFill>
                  <a:prstDash val="solid"/>
                  <a:round/>
                </a:ln>
              </p:spPr>
              <p:txBody>
                <a:bodyPr rtlCol="0" anchor="ctr"/>
                <a:lstStyle/>
                <a:p>
                  <a:endParaRPr lang="en-US"/>
                </a:p>
              </p:txBody>
            </p:sp>
            <p:sp>
              <p:nvSpPr>
                <p:cNvPr id="472" name="Freeform: Shape 471">
                  <a:extLst>
                    <a:ext uri="{FF2B5EF4-FFF2-40B4-BE49-F238E27FC236}">
                      <a16:creationId xmlns:a16="http://schemas.microsoft.com/office/drawing/2014/main" id="{796BCD02-07F2-4281-968C-48D6AC3DCEC3}"/>
                    </a:ext>
                  </a:extLst>
                </p:cNvPr>
                <p:cNvSpPr/>
                <p:nvPr/>
              </p:nvSpPr>
              <p:spPr>
                <a:xfrm>
                  <a:off x="2446476" y="2137815"/>
                  <a:ext cx="426173" cy="405921"/>
                </a:xfrm>
                <a:custGeom>
                  <a:avLst/>
                  <a:gdLst>
                    <a:gd name="connsiteX0" fmla="*/ 3504 w 426173"/>
                    <a:gd name="connsiteY0" fmla="*/ 685 h 405921"/>
                    <a:gd name="connsiteX1" fmla="*/ 14784 w 426173"/>
                    <a:gd name="connsiteY1" fmla="*/ 2143 h 405921"/>
                    <a:gd name="connsiteX2" fmla="*/ 25419 w 426173"/>
                    <a:gd name="connsiteY2" fmla="*/ 1288 h 405921"/>
                    <a:gd name="connsiteX3" fmla="*/ 45133 w 426173"/>
                    <a:gd name="connsiteY3" fmla="*/ 5998 h 405921"/>
                    <a:gd name="connsiteX4" fmla="*/ 57325 w 426173"/>
                    <a:gd name="connsiteY4" fmla="*/ 14808 h 405921"/>
                    <a:gd name="connsiteX5" fmla="*/ 67219 w 426173"/>
                    <a:gd name="connsiteY5" fmla="*/ 19127 h 405921"/>
                    <a:gd name="connsiteX6" fmla="*/ 71253 w 426173"/>
                    <a:gd name="connsiteY6" fmla="*/ 22094 h 405921"/>
                    <a:gd name="connsiteX7" fmla="*/ 77675 w 426173"/>
                    <a:gd name="connsiteY7" fmla="*/ 24702 h 405921"/>
                    <a:gd name="connsiteX8" fmla="*/ 92793 w 426173"/>
                    <a:gd name="connsiteY8" fmla="*/ 30382 h 405921"/>
                    <a:gd name="connsiteX9" fmla="*/ 97495 w 426173"/>
                    <a:gd name="connsiteY9" fmla="*/ 30969 h 405921"/>
                    <a:gd name="connsiteX10" fmla="*/ 106256 w 426173"/>
                    <a:gd name="connsiteY10" fmla="*/ 33683 h 405921"/>
                    <a:gd name="connsiteX11" fmla="*/ 111676 w 426173"/>
                    <a:gd name="connsiteY11" fmla="*/ 33324 h 405921"/>
                    <a:gd name="connsiteX12" fmla="*/ 113037 w 426173"/>
                    <a:gd name="connsiteY12" fmla="*/ 33422 h 405921"/>
                    <a:gd name="connsiteX13" fmla="*/ 113004 w 426173"/>
                    <a:gd name="connsiteY13" fmla="*/ 45516 h 405921"/>
                    <a:gd name="connsiteX14" fmla="*/ 113004 w 426173"/>
                    <a:gd name="connsiteY14" fmla="*/ 58271 h 405921"/>
                    <a:gd name="connsiteX15" fmla="*/ 113004 w 426173"/>
                    <a:gd name="connsiteY15" fmla="*/ 70976 h 405921"/>
                    <a:gd name="connsiteX16" fmla="*/ 113004 w 426173"/>
                    <a:gd name="connsiteY16" fmla="*/ 83641 h 405921"/>
                    <a:gd name="connsiteX17" fmla="*/ 113281 w 426173"/>
                    <a:gd name="connsiteY17" fmla="*/ 85556 h 405921"/>
                    <a:gd name="connsiteX18" fmla="*/ 114121 w 426173"/>
                    <a:gd name="connsiteY18" fmla="*/ 87137 h 405921"/>
                    <a:gd name="connsiteX19" fmla="*/ 117495 w 426173"/>
                    <a:gd name="connsiteY19" fmla="*/ 89305 h 405921"/>
                    <a:gd name="connsiteX20" fmla="*/ 118277 w 426173"/>
                    <a:gd name="connsiteY20" fmla="*/ 89989 h 405921"/>
                    <a:gd name="connsiteX21" fmla="*/ 118905 w 426173"/>
                    <a:gd name="connsiteY21" fmla="*/ 91000 h 405921"/>
                    <a:gd name="connsiteX22" fmla="*/ 119858 w 426173"/>
                    <a:gd name="connsiteY22" fmla="*/ 93714 h 405921"/>
                    <a:gd name="connsiteX23" fmla="*/ 119646 w 426173"/>
                    <a:gd name="connsiteY23" fmla="*/ 96493 h 405921"/>
                    <a:gd name="connsiteX24" fmla="*/ 119654 w 426173"/>
                    <a:gd name="connsiteY24" fmla="*/ 97675 h 405921"/>
                    <a:gd name="connsiteX25" fmla="*/ 120127 w 426173"/>
                    <a:gd name="connsiteY25" fmla="*/ 98921 h 405921"/>
                    <a:gd name="connsiteX26" fmla="*/ 120559 w 426173"/>
                    <a:gd name="connsiteY26" fmla="*/ 99720 h 405921"/>
                    <a:gd name="connsiteX27" fmla="*/ 120869 w 426173"/>
                    <a:gd name="connsiteY27" fmla="*/ 100633 h 405921"/>
                    <a:gd name="connsiteX28" fmla="*/ 121447 w 426173"/>
                    <a:gd name="connsiteY28" fmla="*/ 102793 h 405921"/>
                    <a:gd name="connsiteX29" fmla="*/ 121382 w 426173"/>
                    <a:gd name="connsiteY29" fmla="*/ 103502 h 405921"/>
                    <a:gd name="connsiteX30" fmla="*/ 120331 w 426173"/>
                    <a:gd name="connsiteY30" fmla="*/ 106142 h 405921"/>
                    <a:gd name="connsiteX31" fmla="*/ 118644 w 426173"/>
                    <a:gd name="connsiteY31" fmla="*/ 108098 h 405921"/>
                    <a:gd name="connsiteX32" fmla="*/ 118579 w 426173"/>
                    <a:gd name="connsiteY32" fmla="*/ 108872 h 405921"/>
                    <a:gd name="connsiteX33" fmla="*/ 118497 w 426173"/>
                    <a:gd name="connsiteY33" fmla="*/ 110087 h 405921"/>
                    <a:gd name="connsiteX34" fmla="*/ 118505 w 426173"/>
                    <a:gd name="connsiteY34" fmla="*/ 112100 h 405921"/>
                    <a:gd name="connsiteX35" fmla="*/ 119214 w 426173"/>
                    <a:gd name="connsiteY35" fmla="*/ 114349 h 405921"/>
                    <a:gd name="connsiteX36" fmla="*/ 119842 w 426173"/>
                    <a:gd name="connsiteY36" fmla="*/ 115253 h 405921"/>
                    <a:gd name="connsiteX37" fmla="*/ 120918 w 426173"/>
                    <a:gd name="connsiteY37" fmla="*/ 115702 h 405921"/>
                    <a:gd name="connsiteX38" fmla="*/ 128032 w 426173"/>
                    <a:gd name="connsiteY38" fmla="*/ 115702 h 405921"/>
                    <a:gd name="connsiteX39" fmla="*/ 135147 w 426173"/>
                    <a:gd name="connsiteY39" fmla="*/ 115702 h 405921"/>
                    <a:gd name="connsiteX40" fmla="*/ 142262 w 426173"/>
                    <a:gd name="connsiteY40" fmla="*/ 115710 h 405921"/>
                    <a:gd name="connsiteX41" fmla="*/ 149385 w 426173"/>
                    <a:gd name="connsiteY41" fmla="*/ 115710 h 405921"/>
                    <a:gd name="connsiteX42" fmla="*/ 156499 w 426173"/>
                    <a:gd name="connsiteY42" fmla="*/ 115710 h 405921"/>
                    <a:gd name="connsiteX43" fmla="*/ 163614 w 426173"/>
                    <a:gd name="connsiteY43" fmla="*/ 115710 h 405921"/>
                    <a:gd name="connsiteX44" fmla="*/ 170729 w 426173"/>
                    <a:gd name="connsiteY44" fmla="*/ 115710 h 405921"/>
                    <a:gd name="connsiteX45" fmla="*/ 172269 w 426173"/>
                    <a:gd name="connsiteY45" fmla="*/ 115710 h 405921"/>
                    <a:gd name="connsiteX46" fmla="*/ 172326 w 426173"/>
                    <a:gd name="connsiteY46" fmla="*/ 117071 h 405921"/>
                    <a:gd name="connsiteX47" fmla="*/ 172872 w 426173"/>
                    <a:gd name="connsiteY47" fmla="*/ 118302 h 405921"/>
                    <a:gd name="connsiteX48" fmla="*/ 175537 w 426173"/>
                    <a:gd name="connsiteY48" fmla="*/ 120070 h 405921"/>
                    <a:gd name="connsiteX49" fmla="*/ 177428 w 426173"/>
                    <a:gd name="connsiteY49" fmla="*/ 121847 h 405921"/>
                    <a:gd name="connsiteX50" fmla="*/ 178748 w 426173"/>
                    <a:gd name="connsiteY50" fmla="*/ 123697 h 405921"/>
                    <a:gd name="connsiteX51" fmla="*/ 179033 w 426173"/>
                    <a:gd name="connsiteY51" fmla="*/ 125123 h 405921"/>
                    <a:gd name="connsiteX52" fmla="*/ 178667 w 426173"/>
                    <a:gd name="connsiteY52" fmla="*/ 126541 h 405921"/>
                    <a:gd name="connsiteX53" fmla="*/ 178455 w 426173"/>
                    <a:gd name="connsiteY53" fmla="*/ 127364 h 405921"/>
                    <a:gd name="connsiteX54" fmla="*/ 178626 w 426173"/>
                    <a:gd name="connsiteY54" fmla="*/ 128317 h 405921"/>
                    <a:gd name="connsiteX55" fmla="*/ 179327 w 426173"/>
                    <a:gd name="connsiteY55" fmla="*/ 129467 h 405921"/>
                    <a:gd name="connsiteX56" fmla="*/ 179376 w 426173"/>
                    <a:gd name="connsiteY56" fmla="*/ 130110 h 405921"/>
                    <a:gd name="connsiteX57" fmla="*/ 179490 w 426173"/>
                    <a:gd name="connsiteY57" fmla="*/ 130893 h 405921"/>
                    <a:gd name="connsiteX58" fmla="*/ 180435 w 426173"/>
                    <a:gd name="connsiteY58" fmla="*/ 131740 h 405921"/>
                    <a:gd name="connsiteX59" fmla="*/ 182269 w 426173"/>
                    <a:gd name="connsiteY59" fmla="*/ 133680 h 405921"/>
                    <a:gd name="connsiteX60" fmla="*/ 182676 w 426173"/>
                    <a:gd name="connsiteY60" fmla="*/ 134552 h 405921"/>
                    <a:gd name="connsiteX61" fmla="*/ 182334 w 426173"/>
                    <a:gd name="connsiteY61" fmla="*/ 135815 h 405921"/>
                    <a:gd name="connsiteX62" fmla="*/ 182106 w 426173"/>
                    <a:gd name="connsiteY62" fmla="*/ 136973 h 405921"/>
                    <a:gd name="connsiteX63" fmla="*/ 182261 w 426173"/>
                    <a:gd name="connsiteY63" fmla="*/ 138545 h 405921"/>
                    <a:gd name="connsiteX64" fmla="*/ 182220 w 426173"/>
                    <a:gd name="connsiteY64" fmla="*/ 139385 h 405921"/>
                    <a:gd name="connsiteX65" fmla="*/ 181715 w 426173"/>
                    <a:gd name="connsiteY65" fmla="*/ 139686 h 405921"/>
                    <a:gd name="connsiteX66" fmla="*/ 180932 w 426173"/>
                    <a:gd name="connsiteY66" fmla="*/ 139752 h 405921"/>
                    <a:gd name="connsiteX67" fmla="*/ 180101 w 426173"/>
                    <a:gd name="connsiteY67" fmla="*/ 139939 h 405921"/>
                    <a:gd name="connsiteX68" fmla="*/ 179596 w 426173"/>
                    <a:gd name="connsiteY68" fmla="*/ 140958 h 405921"/>
                    <a:gd name="connsiteX69" fmla="*/ 178838 w 426173"/>
                    <a:gd name="connsiteY69" fmla="*/ 143859 h 405921"/>
                    <a:gd name="connsiteX70" fmla="*/ 178585 w 426173"/>
                    <a:gd name="connsiteY70" fmla="*/ 144821 h 405921"/>
                    <a:gd name="connsiteX71" fmla="*/ 178838 w 426173"/>
                    <a:gd name="connsiteY71" fmla="*/ 145725 h 405921"/>
                    <a:gd name="connsiteX72" fmla="*/ 179588 w 426173"/>
                    <a:gd name="connsiteY72" fmla="*/ 145758 h 405921"/>
                    <a:gd name="connsiteX73" fmla="*/ 182277 w 426173"/>
                    <a:gd name="connsiteY73" fmla="*/ 145897 h 405921"/>
                    <a:gd name="connsiteX74" fmla="*/ 183247 w 426173"/>
                    <a:gd name="connsiteY74" fmla="*/ 146108 h 405921"/>
                    <a:gd name="connsiteX75" fmla="*/ 183964 w 426173"/>
                    <a:gd name="connsiteY75" fmla="*/ 146540 h 405921"/>
                    <a:gd name="connsiteX76" fmla="*/ 184257 w 426173"/>
                    <a:gd name="connsiteY76" fmla="*/ 148097 h 405921"/>
                    <a:gd name="connsiteX77" fmla="*/ 184363 w 426173"/>
                    <a:gd name="connsiteY77" fmla="*/ 149816 h 405921"/>
                    <a:gd name="connsiteX78" fmla="*/ 184322 w 426173"/>
                    <a:gd name="connsiteY78" fmla="*/ 151161 h 405921"/>
                    <a:gd name="connsiteX79" fmla="*/ 183703 w 426173"/>
                    <a:gd name="connsiteY79" fmla="*/ 152310 h 405921"/>
                    <a:gd name="connsiteX80" fmla="*/ 182065 w 426173"/>
                    <a:gd name="connsiteY80" fmla="*/ 153948 h 405921"/>
                    <a:gd name="connsiteX81" fmla="*/ 181633 w 426173"/>
                    <a:gd name="connsiteY81" fmla="*/ 154625 h 405921"/>
                    <a:gd name="connsiteX82" fmla="*/ 181666 w 426173"/>
                    <a:gd name="connsiteY82" fmla="*/ 155538 h 405921"/>
                    <a:gd name="connsiteX83" fmla="*/ 182415 w 426173"/>
                    <a:gd name="connsiteY83" fmla="*/ 156589 h 405921"/>
                    <a:gd name="connsiteX84" fmla="*/ 182953 w 426173"/>
                    <a:gd name="connsiteY84" fmla="*/ 158251 h 405921"/>
                    <a:gd name="connsiteX85" fmla="*/ 183002 w 426173"/>
                    <a:gd name="connsiteY85" fmla="*/ 159767 h 405921"/>
                    <a:gd name="connsiteX86" fmla="*/ 183817 w 426173"/>
                    <a:gd name="connsiteY86" fmla="*/ 160281 h 405921"/>
                    <a:gd name="connsiteX87" fmla="*/ 186034 w 426173"/>
                    <a:gd name="connsiteY87" fmla="*/ 160582 h 405921"/>
                    <a:gd name="connsiteX88" fmla="*/ 188202 w 426173"/>
                    <a:gd name="connsiteY88" fmla="*/ 160558 h 405921"/>
                    <a:gd name="connsiteX89" fmla="*/ 192749 w 426173"/>
                    <a:gd name="connsiteY89" fmla="*/ 158431 h 405921"/>
                    <a:gd name="connsiteX90" fmla="*/ 197403 w 426173"/>
                    <a:gd name="connsiteY90" fmla="*/ 157518 h 405921"/>
                    <a:gd name="connsiteX91" fmla="*/ 199970 w 426173"/>
                    <a:gd name="connsiteY91" fmla="*/ 157477 h 405921"/>
                    <a:gd name="connsiteX92" fmla="*/ 200467 w 426173"/>
                    <a:gd name="connsiteY92" fmla="*/ 157950 h 405921"/>
                    <a:gd name="connsiteX93" fmla="*/ 200508 w 426173"/>
                    <a:gd name="connsiteY93" fmla="*/ 158618 h 405921"/>
                    <a:gd name="connsiteX94" fmla="*/ 199937 w 426173"/>
                    <a:gd name="connsiteY94" fmla="*/ 159702 h 405921"/>
                    <a:gd name="connsiteX95" fmla="*/ 199237 w 426173"/>
                    <a:gd name="connsiteY95" fmla="*/ 161520 h 405921"/>
                    <a:gd name="connsiteX96" fmla="*/ 199725 w 426173"/>
                    <a:gd name="connsiteY96" fmla="*/ 162237 h 405921"/>
                    <a:gd name="connsiteX97" fmla="*/ 200858 w 426173"/>
                    <a:gd name="connsiteY97" fmla="*/ 162375 h 405921"/>
                    <a:gd name="connsiteX98" fmla="*/ 202871 w 426173"/>
                    <a:gd name="connsiteY98" fmla="*/ 161764 h 405921"/>
                    <a:gd name="connsiteX99" fmla="*/ 204240 w 426173"/>
                    <a:gd name="connsiteY99" fmla="*/ 159914 h 405921"/>
                    <a:gd name="connsiteX100" fmla="*/ 205544 w 426173"/>
                    <a:gd name="connsiteY100" fmla="*/ 158789 h 405921"/>
                    <a:gd name="connsiteX101" fmla="*/ 208006 w 426173"/>
                    <a:gd name="connsiteY101" fmla="*/ 157445 h 405921"/>
                    <a:gd name="connsiteX102" fmla="*/ 208927 w 426173"/>
                    <a:gd name="connsiteY102" fmla="*/ 157681 h 405921"/>
                    <a:gd name="connsiteX103" fmla="*/ 211257 w 426173"/>
                    <a:gd name="connsiteY103" fmla="*/ 159164 h 405921"/>
                    <a:gd name="connsiteX104" fmla="*/ 214045 w 426173"/>
                    <a:gd name="connsiteY104" fmla="*/ 158969 h 405921"/>
                    <a:gd name="connsiteX105" fmla="*/ 214737 w 426173"/>
                    <a:gd name="connsiteY105" fmla="*/ 159596 h 405921"/>
                    <a:gd name="connsiteX106" fmla="*/ 214786 w 426173"/>
                    <a:gd name="connsiteY106" fmla="*/ 160607 h 405921"/>
                    <a:gd name="connsiteX107" fmla="*/ 209864 w 426173"/>
                    <a:gd name="connsiteY107" fmla="*/ 163549 h 405921"/>
                    <a:gd name="connsiteX108" fmla="*/ 209473 w 426173"/>
                    <a:gd name="connsiteY108" fmla="*/ 164788 h 405921"/>
                    <a:gd name="connsiteX109" fmla="*/ 210011 w 426173"/>
                    <a:gd name="connsiteY109" fmla="*/ 165766 h 405921"/>
                    <a:gd name="connsiteX110" fmla="*/ 211102 w 426173"/>
                    <a:gd name="connsiteY110" fmla="*/ 166377 h 405921"/>
                    <a:gd name="connsiteX111" fmla="*/ 213865 w 426173"/>
                    <a:gd name="connsiteY111" fmla="*/ 168618 h 405921"/>
                    <a:gd name="connsiteX112" fmla="*/ 215911 w 426173"/>
                    <a:gd name="connsiteY112" fmla="*/ 170761 h 405921"/>
                    <a:gd name="connsiteX113" fmla="*/ 218372 w 426173"/>
                    <a:gd name="connsiteY113" fmla="*/ 174518 h 405921"/>
                    <a:gd name="connsiteX114" fmla="*/ 218405 w 426173"/>
                    <a:gd name="connsiteY114" fmla="*/ 175790 h 405921"/>
                    <a:gd name="connsiteX115" fmla="*/ 216595 w 426173"/>
                    <a:gd name="connsiteY115" fmla="*/ 178324 h 405921"/>
                    <a:gd name="connsiteX116" fmla="*/ 214656 w 426173"/>
                    <a:gd name="connsiteY116" fmla="*/ 182318 h 405921"/>
                    <a:gd name="connsiteX117" fmla="*/ 209799 w 426173"/>
                    <a:gd name="connsiteY117" fmla="*/ 186661 h 405921"/>
                    <a:gd name="connsiteX118" fmla="*/ 209187 w 426173"/>
                    <a:gd name="connsiteY118" fmla="*/ 188373 h 405921"/>
                    <a:gd name="connsiteX119" fmla="*/ 208429 w 426173"/>
                    <a:gd name="connsiteY119" fmla="*/ 189221 h 405921"/>
                    <a:gd name="connsiteX120" fmla="*/ 204322 w 426173"/>
                    <a:gd name="connsiteY120" fmla="*/ 191551 h 405921"/>
                    <a:gd name="connsiteX121" fmla="*/ 204053 w 426173"/>
                    <a:gd name="connsiteY121" fmla="*/ 192464 h 405921"/>
                    <a:gd name="connsiteX122" fmla="*/ 204183 w 426173"/>
                    <a:gd name="connsiteY122" fmla="*/ 193246 h 405921"/>
                    <a:gd name="connsiteX123" fmla="*/ 204583 w 426173"/>
                    <a:gd name="connsiteY123" fmla="*/ 193735 h 405921"/>
                    <a:gd name="connsiteX124" fmla="*/ 205667 w 426173"/>
                    <a:gd name="connsiteY124" fmla="*/ 193988 h 405921"/>
                    <a:gd name="connsiteX125" fmla="*/ 208103 w 426173"/>
                    <a:gd name="connsiteY125" fmla="*/ 193393 h 405921"/>
                    <a:gd name="connsiteX126" fmla="*/ 208861 w 426173"/>
                    <a:gd name="connsiteY126" fmla="*/ 193255 h 405921"/>
                    <a:gd name="connsiteX127" fmla="*/ 209839 w 426173"/>
                    <a:gd name="connsiteY127" fmla="*/ 193866 h 405921"/>
                    <a:gd name="connsiteX128" fmla="*/ 209880 w 426173"/>
                    <a:gd name="connsiteY128" fmla="*/ 196433 h 405921"/>
                    <a:gd name="connsiteX129" fmla="*/ 210434 w 426173"/>
                    <a:gd name="connsiteY129" fmla="*/ 197069 h 405921"/>
                    <a:gd name="connsiteX130" fmla="*/ 213776 w 426173"/>
                    <a:gd name="connsiteY130" fmla="*/ 197875 h 405921"/>
                    <a:gd name="connsiteX131" fmla="*/ 214485 w 426173"/>
                    <a:gd name="connsiteY131" fmla="*/ 198625 h 405921"/>
                    <a:gd name="connsiteX132" fmla="*/ 214460 w 426173"/>
                    <a:gd name="connsiteY132" fmla="*/ 199416 h 405921"/>
                    <a:gd name="connsiteX133" fmla="*/ 213784 w 426173"/>
                    <a:gd name="connsiteY133" fmla="*/ 200125 h 405921"/>
                    <a:gd name="connsiteX134" fmla="*/ 211298 w 426173"/>
                    <a:gd name="connsiteY134" fmla="*/ 202284 h 405921"/>
                    <a:gd name="connsiteX135" fmla="*/ 210907 w 426173"/>
                    <a:gd name="connsiteY135" fmla="*/ 202822 h 405921"/>
                    <a:gd name="connsiteX136" fmla="*/ 210899 w 426173"/>
                    <a:gd name="connsiteY136" fmla="*/ 204705 h 405921"/>
                    <a:gd name="connsiteX137" fmla="*/ 210719 w 426173"/>
                    <a:gd name="connsiteY137" fmla="*/ 205919 h 405921"/>
                    <a:gd name="connsiteX138" fmla="*/ 208755 w 426173"/>
                    <a:gd name="connsiteY138" fmla="*/ 207680 h 405921"/>
                    <a:gd name="connsiteX139" fmla="*/ 208324 w 426173"/>
                    <a:gd name="connsiteY139" fmla="*/ 208348 h 405921"/>
                    <a:gd name="connsiteX140" fmla="*/ 208364 w 426173"/>
                    <a:gd name="connsiteY140" fmla="*/ 209081 h 405921"/>
                    <a:gd name="connsiteX141" fmla="*/ 208649 w 426173"/>
                    <a:gd name="connsiteY141" fmla="*/ 209684 h 405921"/>
                    <a:gd name="connsiteX142" fmla="*/ 209505 w 426173"/>
                    <a:gd name="connsiteY142" fmla="*/ 210271 h 405921"/>
                    <a:gd name="connsiteX143" fmla="*/ 213270 w 426173"/>
                    <a:gd name="connsiteY143" fmla="*/ 210394 h 405921"/>
                    <a:gd name="connsiteX144" fmla="*/ 215283 w 426173"/>
                    <a:gd name="connsiteY144" fmla="*/ 211013 h 405921"/>
                    <a:gd name="connsiteX145" fmla="*/ 220597 w 426173"/>
                    <a:gd name="connsiteY145" fmla="*/ 213556 h 405921"/>
                    <a:gd name="connsiteX146" fmla="*/ 221934 w 426173"/>
                    <a:gd name="connsiteY146" fmla="*/ 214313 h 405921"/>
                    <a:gd name="connsiteX147" fmla="*/ 225878 w 426173"/>
                    <a:gd name="connsiteY147" fmla="*/ 218804 h 405921"/>
                    <a:gd name="connsiteX148" fmla="*/ 229374 w 426173"/>
                    <a:gd name="connsiteY148" fmla="*/ 220149 h 405921"/>
                    <a:gd name="connsiteX149" fmla="*/ 229953 w 426173"/>
                    <a:gd name="connsiteY149" fmla="*/ 220621 h 405921"/>
                    <a:gd name="connsiteX150" fmla="*/ 230279 w 426173"/>
                    <a:gd name="connsiteY150" fmla="*/ 221404 h 405921"/>
                    <a:gd name="connsiteX151" fmla="*/ 229920 w 426173"/>
                    <a:gd name="connsiteY151" fmla="*/ 222512 h 405921"/>
                    <a:gd name="connsiteX152" fmla="*/ 228429 w 426173"/>
                    <a:gd name="connsiteY152" fmla="*/ 225136 h 405921"/>
                    <a:gd name="connsiteX153" fmla="*/ 228119 w 426173"/>
                    <a:gd name="connsiteY153" fmla="*/ 225943 h 405921"/>
                    <a:gd name="connsiteX154" fmla="*/ 228266 w 426173"/>
                    <a:gd name="connsiteY154" fmla="*/ 226726 h 405921"/>
                    <a:gd name="connsiteX155" fmla="*/ 229089 w 426173"/>
                    <a:gd name="connsiteY155" fmla="*/ 227035 h 405921"/>
                    <a:gd name="connsiteX156" fmla="*/ 233506 w 426173"/>
                    <a:gd name="connsiteY156" fmla="*/ 227043 h 405921"/>
                    <a:gd name="connsiteX157" fmla="*/ 235323 w 426173"/>
                    <a:gd name="connsiteY157" fmla="*/ 226489 h 405921"/>
                    <a:gd name="connsiteX158" fmla="*/ 236888 w 426173"/>
                    <a:gd name="connsiteY158" fmla="*/ 225552 h 405921"/>
                    <a:gd name="connsiteX159" fmla="*/ 238135 w 426173"/>
                    <a:gd name="connsiteY159" fmla="*/ 224069 h 405921"/>
                    <a:gd name="connsiteX160" fmla="*/ 239138 w 426173"/>
                    <a:gd name="connsiteY160" fmla="*/ 223767 h 405921"/>
                    <a:gd name="connsiteX161" fmla="*/ 241460 w 426173"/>
                    <a:gd name="connsiteY161" fmla="*/ 224248 h 405921"/>
                    <a:gd name="connsiteX162" fmla="*/ 245388 w 426173"/>
                    <a:gd name="connsiteY162" fmla="*/ 226180 h 405921"/>
                    <a:gd name="connsiteX163" fmla="*/ 247491 w 426173"/>
                    <a:gd name="connsiteY163" fmla="*/ 229374 h 405921"/>
                    <a:gd name="connsiteX164" fmla="*/ 247385 w 426173"/>
                    <a:gd name="connsiteY164" fmla="*/ 230466 h 405921"/>
                    <a:gd name="connsiteX165" fmla="*/ 247736 w 426173"/>
                    <a:gd name="connsiteY165" fmla="*/ 231526 h 405921"/>
                    <a:gd name="connsiteX166" fmla="*/ 248485 w 426173"/>
                    <a:gd name="connsiteY166" fmla="*/ 232088 h 405921"/>
                    <a:gd name="connsiteX167" fmla="*/ 249749 w 426173"/>
                    <a:gd name="connsiteY167" fmla="*/ 233767 h 405921"/>
                    <a:gd name="connsiteX168" fmla="*/ 250189 w 426173"/>
                    <a:gd name="connsiteY168" fmla="*/ 234883 h 405921"/>
                    <a:gd name="connsiteX169" fmla="*/ 250197 w 426173"/>
                    <a:gd name="connsiteY169" fmla="*/ 235918 h 405921"/>
                    <a:gd name="connsiteX170" fmla="*/ 249488 w 426173"/>
                    <a:gd name="connsiteY170" fmla="*/ 237043 h 405921"/>
                    <a:gd name="connsiteX171" fmla="*/ 249781 w 426173"/>
                    <a:gd name="connsiteY171" fmla="*/ 237679 h 405921"/>
                    <a:gd name="connsiteX172" fmla="*/ 251207 w 426173"/>
                    <a:gd name="connsiteY172" fmla="*/ 239545 h 405921"/>
                    <a:gd name="connsiteX173" fmla="*/ 251843 w 426173"/>
                    <a:gd name="connsiteY173" fmla="*/ 240873 h 405921"/>
                    <a:gd name="connsiteX174" fmla="*/ 253204 w 426173"/>
                    <a:gd name="connsiteY174" fmla="*/ 241640 h 405921"/>
                    <a:gd name="connsiteX175" fmla="*/ 254052 w 426173"/>
                    <a:gd name="connsiteY175" fmla="*/ 243196 h 405921"/>
                    <a:gd name="connsiteX176" fmla="*/ 256464 w 426173"/>
                    <a:gd name="connsiteY176" fmla="*/ 244965 h 405921"/>
                    <a:gd name="connsiteX177" fmla="*/ 260131 w 426173"/>
                    <a:gd name="connsiteY177" fmla="*/ 246228 h 405921"/>
                    <a:gd name="connsiteX178" fmla="*/ 263831 w 426173"/>
                    <a:gd name="connsiteY178" fmla="*/ 249129 h 405921"/>
                    <a:gd name="connsiteX179" fmla="*/ 265844 w 426173"/>
                    <a:gd name="connsiteY179" fmla="*/ 250286 h 405921"/>
                    <a:gd name="connsiteX180" fmla="*/ 269389 w 426173"/>
                    <a:gd name="connsiteY180" fmla="*/ 250898 h 405921"/>
                    <a:gd name="connsiteX181" fmla="*/ 269927 w 426173"/>
                    <a:gd name="connsiteY181" fmla="*/ 251501 h 405921"/>
                    <a:gd name="connsiteX182" fmla="*/ 269854 w 426173"/>
                    <a:gd name="connsiteY182" fmla="*/ 252340 h 405921"/>
                    <a:gd name="connsiteX183" fmla="*/ 269251 w 426173"/>
                    <a:gd name="connsiteY183" fmla="*/ 252805 h 405921"/>
                    <a:gd name="connsiteX184" fmla="*/ 266415 w 426173"/>
                    <a:gd name="connsiteY184" fmla="*/ 253823 h 405921"/>
                    <a:gd name="connsiteX185" fmla="*/ 265445 w 426173"/>
                    <a:gd name="connsiteY185" fmla="*/ 254500 h 405921"/>
                    <a:gd name="connsiteX186" fmla="*/ 265347 w 426173"/>
                    <a:gd name="connsiteY186" fmla="*/ 255217 h 405921"/>
                    <a:gd name="connsiteX187" fmla="*/ 265779 w 426173"/>
                    <a:gd name="connsiteY187" fmla="*/ 255950 h 405921"/>
                    <a:gd name="connsiteX188" fmla="*/ 266806 w 426173"/>
                    <a:gd name="connsiteY188" fmla="*/ 256276 h 405921"/>
                    <a:gd name="connsiteX189" fmla="*/ 269332 w 426173"/>
                    <a:gd name="connsiteY189" fmla="*/ 255470 h 405921"/>
                    <a:gd name="connsiteX190" fmla="*/ 270107 w 426173"/>
                    <a:gd name="connsiteY190" fmla="*/ 255576 h 405921"/>
                    <a:gd name="connsiteX191" fmla="*/ 270433 w 426173"/>
                    <a:gd name="connsiteY191" fmla="*/ 256244 h 405921"/>
                    <a:gd name="connsiteX192" fmla="*/ 270824 w 426173"/>
                    <a:gd name="connsiteY192" fmla="*/ 257442 h 405921"/>
                    <a:gd name="connsiteX193" fmla="*/ 271288 w 426173"/>
                    <a:gd name="connsiteY193" fmla="*/ 258045 h 405921"/>
                    <a:gd name="connsiteX194" fmla="*/ 273448 w 426173"/>
                    <a:gd name="connsiteY194" fmla="*/ 258884 h 405921"/>
                    <a:gd name="connsiteX195" fmla="*/ 274206 w 426173"/>
                    <a:gd name="connsiteY195" fmla="*/ 260091 h 405921"/>
                    <a:gd name="connsiteX196" fmla="*/ 275632 w 426173"/>
                    <a:gd name="connsiteY196" fmla="*/ 261394 h 405921"/>
                    <a:gd name="connsiteX197" fmla="*/ 276447 w 426173"/>
                    <a:gd name="connsiteY197" fmla="*/ 262764 h 405921"/>
                    <a:gd name="connsiteX198" fmla="*/ 276700 w 426173"/>
                    <a:gd name="connsiteY198" fmla="*/ 264255 h 405921"/>
                    <a:gd name="connsiteX199" fmla="*/ 275200 w 426173"/>
                    <a:gd name="connsiteY199" fmla="*/ 267572 h 405921"/>
                    <a:gd name="connsiteX200" fmla="*/ 274133 w 426173"/>
                    <a:gd name="connsiteY200" fmla="*/ 268811 h 405921"/>
                    <a:gd name="connsiteX201" fmla="*/ 270335 w 426173"/>
                    <a:gd name="connsiteY201" fmla="*/ 271166 h 405921"/>
                    <a:gd name="connsiteX202" fmla="*/ 269389 w 426173"/>
                    <a:gd name="connsiteY202" fmla="*/ 272217 h 405921"/>
                    <a:gd name="connsiteX203" fmla="*/ 269544 w 426173"/>
                    <a:gd name="connsiteY203" fmla="*/ 272910 h 405921"/>
                    <a:gd name="connsiteX204" fmla="*/ 271378 w 426173"/>
                    <a:gd name="connsiteY204" fmla="*/ 273546 h 405921"/>
                    <a:gd name="connsiteX205" fmla="*/ 273391 w 426173"/>
                    <a:gd name="connsiteY205" fmla="*/ 275412 h 405921"/>
                    <a:gd name="connsiteX206" fmla="*/ 275200 w 426173"/>
                    <a:gd name="connsiteY206" fmla="*/ 276586 h 405921"/>
                    <a:gd name="connsiteX207" fmla="*/ 276072 w 426173"/>
                    <a:gd name="connsiteY207" fmla="*/ 277841 h 405921"/>
                    <a:gd name="connsiteX208" fmla="*/ 277132 w 426173"/>
                    <a:gd name="connsiteY208" fmla="*/ 280530 h 405921"/>
                    <a:gd name="connsiteX209" fmla="*/ 279438 w 426173"/>
                    <a:gd name="connsiteY209" fmla="*/ 281418 h 405921"/>
                    <a:gd name="connsiteX210" fmla="*/ 282038 w 426173"/>
                    <a:gd name="connsiteY210" fmla="*/ 281500 h 405921"/>
                    <a:gd name="connsiteX211" fmla="*/ 282486 w 426173"/>
                    <a:gd name="connsiteY211" fmla="*/ 281899 h 405921"/>
                    <a:gd name="connsiteX212" fmla="*/ 282339 w 426173"/>
                    <a:gd name="connsiteY212" fmla="*/ 282779 h 405921"/>
                    <a:gd name="connsiteX213" fmla="*/ 279943 w 426173"/>
                    <a:gd name="connsiteY213" fmla="*/ 287164 h 405921"/>
                    <a:gd name="connsiteX214" fmla="*/ 279935 w 426173"/>
                    <a:gd name="connsiteY214" fmla="*/ 288647 h 405921"/>
                    <a:gd name="connsiteX215" fmla="*/ 279585 w 426173"/>
                    <a:gd name="connsiteY215" fmla="*/ 289870 h 405921"/>
                    <a:gd name="connsiteX216" fmla="*/ 279837 w 426173"/>
                    <a:gd name="connsiteY216" fmla="*/ 291239 h 405921"/>
                    <a:gd name="connsiteX217" fmla="*/ 281337 w 426173"/>
                    <a:gd name="connsiteY217" fmla="*/ 293504 h 405921"/>
                    <a:gd name="connsiteX218" fmla="*/ 281736 w 426173"/>
                    <a:gd name="connsiteY218" fmla="*/ 294328 h 405921"/>
                    <a:gd name="connsiteX219" fmla="*/ 281891 w 426173"/>
                    <a:gd name="connsiteY219" fmla="*/ 295485 h 405921"/>
                    <a:gd name="connsiteX220" fmla="*/ 282290 w 426173"/>
                    <a:gd name="connsiteY220" fmla="*/ 296145 h 405921"/>
                    <a:gd name="connsiteX221" fmla="*/ 284173 w 426173"/>
                    <a:gd name="connsiteY221" fmla="*/ 297139 h 405921"/>
                    <a:gd name="connsiteX222" fmla="*/ 284638 w 426173"/>
                    <a:gd name="connsiteY222" fmla="*/ 297734 h 405921"/>
                    <a:gd name="connsiteX223" fmla="*/ 285396 w 426173"/>
                    <a:gd name="connsiteY223" fmla="*/ 299967 h 405921"/>
                    <a:gd name="connsiteX224" fmla="*/ 285510 w 426173"/>
                    <a:gd name="connsiteY224" fmla="*/ 300807 h 405921"/>
                    <a:gd name="connsiteX225" fmla="*/ 286528 w 426173"/>
                    <a:gd name="connsiteY225" fmla="*/ 301565 h 405921"/>
                    <a:gd name="connsiteX226" fmla="*/ 292429 w 426173"/>
                    <a:gd name="connsiteY226" fmla="*/ 304295 h 405921"/>
                    <a:gd name="connsiteX227" fmla="*/ 292967 w 426173"/>
                    <a:gd name="connsiteY227" fmla="*/ 305240 h 405921"/>
                    <a:gd name="connsiteX228" fmla="*/ 292714 w 426173"/>
                    <a:gd name="connsiteY228" fmla="*/ 306071 h 405921"/>
                    <a:gd name="connsiteX229" fmla="*/ 290538 w 426173"/>
                    <a:gd name="connsiteY229" fmla="*/ 307261 h 405921"/>
                    <a:gd name="connsiteX230" fmla="*/ 290310 w 426173"/>
                    <a:gd name="connsiteY230" fmla="*/ 307905 h 405921"/>
                    <a:gd name="connsiteX231" fmla="*/ 290375 w 426173"/>
                    <a:gd name="connsiteY231" fmla="*/ 308484 h 405921"/>
                    <a:gd name="connsiteX232" fmla="*/ 291483 w 426173"/>
                    <a:gd name="connsiteY232" fmla="*/ 309413 h 405921"/>
                    <a:gd name="connsiteX233" fmla="*/ 291728 w 426173"/>
                    <a:gd name="connsiteY233" fmla="*/ 310032 h 405921"/>
                    <a:gd name="connsiteX234" fmla="*/ 290440 w 426173"/>
                    <a:gd name="connsiteY234" fmla="*/ 312118 h 405921"/>
                    <a:gd name="connsiteX235" fmla="*/ 290383 w 426173"/>
                    <a:gd name="connsiteY235" fmla="*/ 313268 h 405921"/>
                    <a:gd name="connsiteX236" fmla="*/ 291606 w 426173"/>
                    <a:gd name="connsiteY236" fmla="*/ 315639 h 405921"/>
                    <a:gd name="connsiteX237" fmla="*/ 291883 w 426173"/>
                    <a:gd name="connsiteY237" fmla="*/ 316316 h 405921"/>
                    <a:gd name="connsiteX238" fmla="*/ 291720 w 426173"/>
                    <a:gd name="connsiteY238" fmla="*/ 317049 h 405921"/>
                    <a:gd name="connsiteX239" fmla="*/ 291174 w 426173"/>
                    <a:gd name="connsiteY239" fmla="*/ 317791 h 405921"/>
                    <a:gd name="connsiteX240" fmla="*/ 290994 w 426173"/>
                    <a:gd name="connsiteY240" fmla="*/ 318508 h 405921"/>
                    <a:gd name="connsiteX241" fmla="*/ 291337 w 426173"/>
                    <a:gd name="connsiteY241" fmla="*/ 319054 h 405921"/>
                    <a:gd name="connsiteX242" fmla="*/ 292478 w 426173"/>
                    <a:gd name="connsiteY242" fmla="*/ 319747 h 405921"/>
                    <a:gd name="connsiteX243" fmla="*/ 294279 w 426173"/>
                    <a:gd name="connsiteY243" fmla="*/ 320170 h 405921"/>
                    <a:gd name="connsiteX244" fmla="*/ 297319 w 426173"/>
                    <a:gd name="connsiteY244" fmla="*/ 319918 h 405921"/>
                    <a:gd name="connsiteX245" fmla="*/ 299951 w 426173"/>
                    <a:gd name="connsiteY245" fmla="*/ 320431 h 405921"/>
                    <a:gd name="connsiteX246" fmla="*/ 300636 w 426173"/>
                    <a:gd name="connsiteY246" fmla="*/ 320757 h 405921"/>
                    <a:gd name="connsiteX247" fmla="*/ 301597 w 426173"/>
                    <a:gd name="connsiteY247" fmla="*/ 322306 h 405921"/>
                    <a:gd name="connsiteX248" fmla="*/ 302274 w 426173"/>
                    <a:gd name="connsiteY248" fmla="*/ 322681 h 405921"/>
                    <a:gd name="connsiteX249" fmla="*/ 303227 w 426173"/>
                    <a:gd name="connsiteY249" fmla="*/ 322469 h 405921"/>
                    <a:gd name="connsiteX250" fmla="*/ 305631 w 426173"/>
                    <a:gd name="connsiteY250" fmla="*/ 320700 h 405921"/>
                    <a:gd name="connsiteX251" fmla="*/ 307180 w 426173"/>
                    <a:gd name="connsiteY251" fmla="*/ 320301 h 405921"/>
                    <a:gd name="connsiteX252" fmla="*/ 308541 w 426173"/>
                    <a:gd name="connsiteY252" fmla="*/ 320521 h 405921"/>
                    <a:gd name="connsiteX253" fmla="*/ 312526 w 426173"/>
                    <a:gd name="connsiteY253" fmla="*/ 323911 h 405921"/>
                    <a:gd name="connsiteX254" fmla="*/ 313365 w 426173"/>
                    <a:gd name="connsiteY254" fmla="*/ 325655 h 405921"/>
                    <a:gd name="connsiteX255" fmla="*/ 316038 w 426173"/>
                    <a:gd name="connsiteY255" fmla="*/ 328230 h 405921"/>
                    <a:gd name="connsiteX256" fmla="*/ 316690 w 426173"/>
                    <a:gd name="connsiteY256" fmla="*/ 330023 h 405921"/>
                    <a:gd name="connsiteX257" fmla="*/ 317326 w 426173"/>
                    <a:gd name="connsiteY257" fmla="*/ 330773 h 405921"/>
                    <a:gd name="connsiteX258" fmla="*/ 320121 w 426173"/>
                    <a:gd name="connsiteY258" fmla="*/ 331751 h 405921"/>
                    <a:gd name="connsiteX259" fmla="*/ 321295 w 426173"/>
                    <a:gd name="connsiteY259" fmla="*/ 332884 h 405921"/>
                    <a:gd name="connsiteX260" fmla="*/ 321971 w 426173"/>
                    <a:gd name="connsiteY260" fmla="*/ 334261 h 405921"/>
                    <a:gd name="connsiteX261" fmla="*/ 322615 w 426173"/>
                    <a:gd name="connsiteY261" fmla="*/ 337032 h 405921"/>
                    <a:gd name="connsiteX262" fmla="*/ 327236 w 426173"/>
                    <a:gd name="connsiteY262" fmla="*/ 340789 h 405921"/>
                    <a:gd name="connsiteX263" fmla="*/ 329575 w 426173"/>
                    <a:gd name="connsiteY263" fmla="*/ 342028 h 405921"/>
                    <a:gd name="connsiteX264" fmla="*/ 330977 w 426173"/>
                    <a:gd name="connsiteY264" fmla="*/ 343495 h 405921"/>
                    <a:gd name="connsiteX265" fmla="*/ 332167 w 426173"/>
                    <a:gd name="connsiteY265" fmla="*/ 344277 h 405921"/>
                    <a:gd name="connsiteX266" fmla="*/ 335647 w 426173"/>
                    <a:gd name="connsiteY266" fmla="*/ 345182 h 405921"/>
                    <a:gd name="connsiteX267" fmla="*/ 339836 w 426173"/>
                    <a:gd name="connsiteY267" fmla="*/ 345117 h 405921"/>
                    <a:gd name="connsiteX268" fmla="*/ 341572 w 426173"/>
                    <a:gd name="connsiteY268" fmla="*/ 345834 h 405921"/>
                    <a:gd name="connsiteX269" fmla="*/ 343128 w 426173"/>
                    <a:gd name="connsiteY269" fmla="*/ 347048 h 405921"/>
                    <a:gd name="connsiteX270" fmla="*/ 344383 w 426173"/>
                    <a:gd name="connsiteY270" fmla="*/ 349493 h 405921"/>
                    <a:gd name="connsiteX271" fmla="*/ 345467 w 426173"/>
                    <a:gd name="connsiteY271" fmla="*/ 350895 h 405921"/>
                    <a:gd name="connsiteX272" fmla="*/ 346730 w 426173"/>
                    <a:gd name="connsiteY272" fmla="*/ 356266 h 405921"/>
                    <a:gd name="connsiteX273" fmla="*/ 346893 w 426173"/>
                    <a:gd name="connsiteY273" fmla="*/ 357838 h 405921"/>
                    <a:gd name="connsiteX274" fmla="*/ 346592 w 426173"/>
                    <a:gd name="connsiteY274" fmla="*/ 360723 h 405921"/>
                    <a:gd name="connsiteX275" fmla="*/ 345223 w 426173"/>
                    <a:gd name="connsiteY275" fmla="*/ 362044 h 405921"/>
                    <a:gd name="connsiteX276" fmla="*/ 344872 w 426173"/>
                    <a:gd name="connsiteY276" fmla="*/ 362533 h 405921"/>
                    <a:gd name="connsiteX277" fmla="*/ 344962 w 426173"/>
                    <a:gd name="connsiteY277" fmla="*/ 362981 h 405921"/>
                    <a:gd name="connsiteX278" fmla="*/ 345915 w 426173"/>
                    <a:gd name="connsiteY278" fmla="*/ 363763 h 405921"/>
                    <a:gd name="connsiteX279" fmla="*/ 348165 w 426173"/>
                    <a:gd name="connsiteY279" fmla="*/ 363266 h 405921"/>
                    <a:gd name="connsiteX280" fmla="*/ 348654 w 426173"/>
                    <a:gd name="connsiteY280" fmla="*/ 363714 h 405921"/>
                    <a:gd name="connsiteX281" fmla="*/ 349534 w 426173"/>
                    <a:gd name="connsiteY281" fmla="*/ 367838 h 405921"/>
                    <a:gd name="connsiteX282" fmla="*/ 349306 w 426173"/>
                    <a:gd name="connsiteY282" fmla="*/ 370495 h 405921"/>
                    <a:gd name="connsiteX283" fmla="*/ 349461 w 426173"/>
                    <a:gd name="connsiteY283" fmla="*/ 371489 h 405921"/>
                    <a:gd name="connsiteX284" fmla="*/ 350047 w 426173"/>
                    <a:gd name="connsiteY284" fmla="*/ 372549 h 405921"/>
                    <a:gd name="connsiteX285" fmla="*/ 350007 w 426173"/>
                    <a:gd name="connsiteY285" fmla="*/ 374065 h 405921"/>
                    <a:gd name="connsiteX286" fmla="*/ 350756 w 426173"/>
                    <a:gd name="connsiteY286" fmla="*/ 375116 h 405921"/>
                    <a:gd name="connsiteX287" fmla="*/ 351425 w 426173"/>
                    <a:gd name="connsiteY287" fmla="*/ 375328 h 405921"/>
                    <a:gd name="connsiteX288" fmla="*/ 353038 w 426173"/>
                    <a:gd name="connsiteY288" fmla="*/ 374896 h 405921"/>
                    <a:gd name="connsiteX289" fmla="*/ 355581 w 426173"/>
                    <a:gd name="connsiteY289" fmla="*/ 375401 h 405921"/>
                    <a:gd name="connsiteX290" fmla="*/ 359175 w 426173"/>
                    <a:gd name="connsiteY290" fmla="*/ 373869 h 405921"/>
                    <a:gd name="connsiteX291" fmla="*/ 363380 w 426173"/>
                    <a:gd name="connsiteY291" fmla="*/ 374668 h 405921"/>
                    <a:gd name="connsiteX292" fmla="*/ 364709 w 426173"/>
                    <a:gd name="connsiteY292" fmla="*/ 374496 h 405921"/>
                    <a:gd name="connsiteX293" fmla="*/ 365744 w 426173"/>
                    <a:gd name="connsiteY293" fmla="*/ 374130 h 405921"/>
                    <a:gd name="connsiteX294" fmla="*/ 366249 w 426173"/>
                    <a:gd name="connsiteY294" fmla="*/ 373519 h 405921"/>
                    <a:gd name="connsiteX295" fmla="*/ 366249 w 426173"/>
                    <a:gd name="connsiteY295" fmla="*/ 372125 h 405921"/>
                    <a:gd name="connsiteX296" fmla="*/ 366542 w 426173"/>
                    <a:gd name="connsiteY296" fmla="*/ 371628 h 405921"/>
                    <a:gd name="connsiteX297" fmla="*/ 368058 w 426173"/>
                    <a:gd name="connsiteY297" fmla="*/ 371220 h 405921"/>
                    <a:gd name="connsiteX298" fmla="*/ 369224 w 426173"/>
                    <a:gd name="connsiteY298" fmla="*/ 371326 h 405921"/>
                    <a:gd name="connsiteX299" fmla="*/ 369623 w 426173"/>
                    <a:gd name="connsiteY299" fmla="*/ 372712 h 405921"/>
                    <a:gd name="connsiteX300" fmla="*/ 370471 w 426173"/>
                    <a:gd name="connsiteY300" fmla="*/ 373225 h 405921"/>
                    <a:gd name="connsiteX301" fmla="*/ 371978 w 426173"/>
                    <a:gd name="connsiteY301" fmla="*/ 373519 h 405921"/>
                    <a:gd name="connsiteX302" fmla="*/ 373127 w 426173"/>
                    <a:gd name="connsiteY302" fmla="*/ 371253 h 405921"/>
                    <a:gd name="connsiteX303" fmla="*/ 373771 w 426173"/>
                    <a:gd name="connsiteY303" fmla="*/ 370544 h 405921"/>
                    <a:gd name="connsiteX304" fmla="*/ 374570 w 426173"/>
                    <a:gd name="connsiteY304" fmla="*/ 370242 h 405921"/>
                    <a:gd name="connsiteX305" fmla="*/ 375450 w 426173"/>
                    <a:gd name="connsiteY305" fmla="*/ 370250 h 405921"/>
                    <a:gd name="connsiteX306" fmla="*/ 379337 w 426173"/>
                    <a:gd name="connsiteY306" fmla="*/ 372247 h 405921"/>
                    <a:gd name="connsiteX307" fmla="*/ 387487 w 426173"/>
                    <a:gd name="connsiteY307" fmla="*/ 374211 h 405921"/>
                    <a:gd name="connsiteX308" fmla="*/ 388881 w 426173"/>
                    <a:gd name="connsiteY308" fmla="*/ 374187 h 405921"/>
                    <a:gd name="connsiteX309" fmla="*/ 391179 w 426173"/>
                    <a:gd name="connsiteY309" fmla="*/ 372826 h 405921"/>
                    <a:gd name="connsiteX310" fmla="*/ 393119 w 426173"/>
                    <a:gd name="connsiteY310" fmla="*/ 372100 h 405921"/>
                    <a:gd name="connsiteX311" fmla="*/ 399842 w 426173"/>
                    <a:gd name="connsiteY311" fmla="*/ 371457 h 405921"/>
                    <a:gd name="connsiteX312" fmla="*/ 400364 w 426173"/>
                    <a:gd name="connsiteY312" fmla="*/ 368881 h 405921"/>
                    <a:gd name="connsiteX313" fmla="*/ 400918 w 426173"/>
                    <a:gd name="connsiteY313" fmla="*/ 367911 h 405921"/>
                    <a:gd name="connsiteX314" fmla="*/ 401676 w 426173"/>
                    <a:gd name="connsiteY314" fmla="*/ 367398 h 405921"/>
                    <a:gd name="connsiteX315" fmla="*/ 406411 w 426173"/>
                    <a:gd name="connsiteY315" fmla="*/ 367414 h 405921"/>
                    <a:gd name="connsiteX316" fmla="*/ 407234 w 426173"/>
                    <a:gd name="connsiteY316" fmla="*/ 367732 h 405921"/>
                    <a:gd name="connsiteX317" fmla="*/ 409125 w 426173"/>
                    <a:gd name="connsiteY317" fmla="*/ 372989 h 405921"/>
                    <a:gd name="connsiteX318" fmla="*/ 409157 w 426173"/>
                    <a:gd name="connsiteY318" fmla="*/ 374350 h 405921"/>
                    <a:gd name="connsiteX319" fmla="*/ 406525 w 426173"/>
                    <a:gd name="connsiteY319" fmla="*/ 377862 h 405921"/>
                    <a:gd name="connsiteX320" fmla="*/ 406525 w 426173"/>
                    <a:gd name="connsiteY320" fmla="*/ 378620 h 405921"/>
                    <a:gd name="connsiteX321" fmla="*/ 406818 w 426173"/>
                    <a:gd name="connsiteY321" fmla="*/ 379435 h 405921"/>
                    <a:gd name="connsiteX322" fmla="*/ 410046 w 426173"/>
                    <a:gd name="connsiteY322" fmla="*/ 383249 h 405921"/>
                    <a:gd name="connsiteX323" fmla="*/ 411692 w 426173"/>
                    <a:gd name="connsiteY323" fmla="*/ 386183 h 405921"/>
                    <a:gd name="connsiteX324" fmla="*/ 415506 w 426173"/>
                    <a:gd name="connsiteY324" fmla="*/ 387014 h 405921"/>
                    <a:gd name="connsiteX325" fmla="*/ 416093 w 426173"/>
                    <a:gd name="connsiteY325" fmla="*/ 387846 h 405921"/>
                    <a:gd name="connsiteX326" fmla="*/ 416614 w 426173"/>
                    <a:gd name="connsiteY326" fmla="*/ 391847 h 405921"/>
                    <a:gd name="connsiteX327" fmla="*/ 417103 w 426173"/>
                    <a:gd name="connsiteY327" fmla="*/ 393135 h 405921"/>
                    <a:gd name="connsiteX328" fmla="*/ 419124 w 426173"/>
                    <a:gd name="connsiteY328" fmla="*/ 396965 h 405921"/>
                    <a:gd name="connsiteX329" fmla="*/ 421749 w 426173"/>
                    <a:gd name="connsiteY329" fmla="*/ 400910 h 405921"/>
                    <a:gd name="connsiteX330" fmla="*/ 421879 w 426173"/>
                    <a:gd name="connsiteY330" fmla="*/ 402002 h 405921"/>
                    <a:gd name="connsiteX331" fmla="*/ 421366 w 426173"/>
                    <a:gd name="connsiteY331" fmla="*/ 403567 h 405921"/>
                    <a:gd name="connsiteX332" fmla="*/ 421423 w 426173"/>
                    <a:gd name="connsiteY332" fmla="*/ 404121 h 405921"/>
                    <a:gd name="connsiteX333" fmla="*/ 421846 w 426173"/>
                    <a:gd name="connsiteY333" fmla="*/ 404349 h 405921"/>
                    <a:gd name="connsiteX334" fmla="*/ 424683 w 426173"/>
                    <a:gd name="connsiteY334" fmla="*/ 404382 h 405921"/>
                    <a:gd name="connsiteX335" fmla="*/ 425612 w 426173"/>
                    <a:gd name="connsiteY335" fmla="*/ 405156 h 405921"/>
                    <a:gd name="connsiteX336" fmla="*/ 426174 w 426173"/>
                    <a:gd name="connsiteY336" fmla="*/ 405922 h 405921"/>
                    <a:gd name="connsiteX337" fmla="*/ 402572 w 426173"/>
                    <a:gd name="connsiteY337" fmla="*/ 405922 h 405921"/>
                    <a:gd name="connsiteX338" fmla="*/ 378963 w 426173"/>
                    <a:gd name="connsiteY338" fmla="*/ 405922 h 405921"/>
                    <a:gd name="connsiteX339" fmla="*/ 355361 w 426173"/>
                    <a:gd name="connsiteY339" fmla="*/ 405922 h 405921"/>
                    <a:gd name="connsiteX340" fmla="*/ 331759 w 426173"/>
                    <a:gd name="connsiteY340" fmla="*/ 405922 h 405921"/>
                    <a:gd name="connsiteX341" fmla="*/ 308133 w 426173"/>
                    <a:gd name="connsiteY341" fmla="*/ 405922 h 405921"/>
                    <a:gd name="connsiteX342" fmla="*/ 284532 w 426173"/>
                    <a:gd name="connsiteY342" fmla="*/ 405922 h 405921"/>
                    <a:gd name="connsiteX343" fmla="*/ 260930 w 426173"/>
                    <a:gd name="connsiteY343" fmla="*/ 405922 h 405921"/>
                    <a:gd name="connsiteX344" fmla="*/ 237328 w 426173"/>
                    <a:gd name="connsiteY344" fmla="*/ 405922 h 405921"/>
                    <a:gd name="connsiteX345" fmla="*/ 213727 w 426173"/>
                    <a:gd name="connsiteY345" fmla="*/ 405922 h 405921"/>
                    <a:gd name="connsiteX346" fmla="*/ 190125 w 426173"/>
                    <a:gd name="connsiteY346" fmla="*/ 405922 h 405921"/>
                    <a:gd name="connsiteX347" fmla="*/ 166515 w 426173"/>
                    <a:gd name="connsiteY347" fmla="*/ 405922 h 405921"/>
                    <a:gd name="connsiteX348" fmla="*/ 142914 w 426173"/>
                    <a:gd name="connsiteY348" fmla="*/ 405922 h 405921"/>
                    <a:gd name="connsiteX349" fmla="*/ 119304 w 426173"/>
                    <a:gd name="connsiteY349" fmla="*/ 405922 h 405921"/>
                    <a:gd name="connsiteX350" fmla="*/ 95702 w 426173"/>
                    <a:gd name="connsiteY350" fmla="*/ 405922 h 405921"/>
                    <a:gd name="connsiteX351" fmla="*/ 72101 w 426173"/>
                    <a:gd name="connsiteY351" fmla="*/ 405922 h 405921"/>
                    <a:gd name="connsiteX352" fmla="*/ 48263 w 426173"/>
                    <a:gd name="connsiteY352" fmla="*/ 405906 h 405921"/>
                    <a:gd name="connsiteX353" fmla="*/ 45068 w 426173"/>
                    <a:gd name="connsiteY353" fmla="*/ 402629 h 405921"/>
                    <a:gd name="connsiteX354" fmla="*/ 46258 w 426173"/>
                    <a:gd name="connsiteY354" fmla="*/ 399068 h 405921"/>
                    <a:gd name="connsiteX355" fmla="*/ 47692 w 426173"/>
                    <a:gd name="connsiteY355" fmla="*/ 394797 h 405921"/>
                    <a:gd name="connsiteX356" fmla="*/ 47692 w 426173"/>
                    <a:gd name="connsiteY356" fmla="*/ 392222 h 405921"/>
                    <a:gd name="connsiteX357" fmla="*/ 43837 w 426173"/>
                    <a:gd name="connsiteY357" fmla="*/ 392385 h 405921"/>
                    <a:gd name="connsiteX358" fmla="*/ 38051 w 426173"/>
                    <a:gd name="connsiteY358" fmla="*/ 392621 h 405921"/>
                    <a:gd name="connsiteX359" fmla="*/ 32884 w 426173"/>
                    <a:gd name="connsiteY359" fmla="*/ 392842 h 405921"/>
                    <a:gd name="connsiteX360" fmla="*/ 29054 w 426173"/>
                    <a:gd name="connsiteY360" fmla="*/ 395857 h 405921"/>
                    <a:gd name="connsiteX361" fmla="*/ 25517 w 426173"/>
                    <a:gd name="connsiteY361" fmla="*/ 398644 h 405921"/>
                    <a:gd name="connsiteX362" fmla="*/ 19967 w 426173"/>
                    <a:gd name="connsiteY362" fmla="*/ 396468 h 405921"/>
                    <a:gd name="connsiteX363" fmla="*/ 13626 w 426173"/>
                    <a:gd name="connsiteY363" fmla="*/ 393974 h 405921"/>
                    <a:gd name="connsiteX364" fmla="*/ 11825 w 426173"/>
                    <a:gd name="connsiteY364" fmla="*/ 397234 h 405921"/>
                    <a:gd name="connsiteX365" fmla="*/ 5941 w 426173"/>
                    <a:gd name="connsiteY365" fmla="*/ 395604 h 405921"/>
                    <a:gd name="connsiteX366" fmla="*/ 0 w 426173"/>
                    <a:gd name="connsiteY366" fmla="*/ 393958 h 405921"/>
                    <a:gd name="connsiteX367" fmla="*/ 0 w 426173"/>
                    <a:gd name="connsiteY367" fmla="*/ 382239 h 405921"/>
                    <a:gd name="connsiteX368" fmla="*/ 0 w 426173"/>
                    <a:gd name="connsiteY368" fmla="*/ 370487 h 405921"/>
                    <a:gd name="connsiteX369" fmla="*/ 0 w 426173"/>
                    <a:gd name="connsiteY369" fmla="*/ 358702 h 405921"/>
                    <a:gd name="connsiteX370" fmla="*/ 0 w 426173"/>
                    <a:gd name="connsiteY370" fmla="*/ 346877 h 405921"/>
                    <a:gd name="connsiteX371" fmla="*/ 0 w 426173"/>
                    <a:gd name="connsiteY371" fmla="*/ 335019 h 405921"/>
                    <a:gd name="connsiteX372" fmla="*/ 0 w 426173"/>
                    <a:gd name="connsiteY372" fmla="*/ 323129 h 405921"/>
                    <a:gd name="connsiteX373" fmla="*/ 0 w 426173"/>
                    <a:gd name="connsiteY373" fmla="*/ 311198 h 405921"/>
                    <a:gd name="connsiteX374" fmla="*/ 0 w 426173"/>
                    <a:gd name="connsiteY374" fmla="*/ 299234 h 405921"/>
                    <a:gd name="connsiteX375" fmla="*/ 0 w 426173"/>
                    <a:gd name="connsiteY375" fmla="*/ 287221 h 405921"/>
                    <a:gd name="connsiteX376" fmla="*/ 0 w 426173"/>
                    <a:gd name="connsiteY376" fmla="*/ 275176 h 405921"/>
                    <a:gd name="connsiteX377" fmla="*/ 0 w 426173"/>
                    <a:gd name="connsiteY377" fmla="*/ 263073 h 405921"/>
                    <a:gd name="connsiteX378" fmla="*/ 0 w 426173"/>
                    <a:gd name="connsiteY378" fmla="*/ 250955 h 405921"/>
                    <a:gd name="connsiteX379" fmla="*/ 0 w 426173"/>
                    <a:gd name="connsiteY379" fmla="*/ 238795 h 405921"/>
                    <a:gd name="connsiteX380" fmla="*/ 0 w 426173"/>
                    <a:gd name="connsiteY380" fmla="*/ 226595 h 405921"/>
                    <a:gd name="connsiteX381" fmla="*/ 0 w 426173"/>
                    <a:gd name="connsiteY381" fmla="*/ 214362 h 405921"/>
                    <a:gd name="connsiteX382" fmla="*/ 0 w 426173"/>
                    <a:gd name="connsiteY382" fmla="*/ 202089 h 405921"/>
                    <a:gd name="connsiteX383" fmla="*/ 0 w 426173"/>
                    <a:gd name="connsiteY383" fmla="*/ 189766 h 405921"/>
                    <a:gd name="connsiteX384" fmla="*/ 0 w 426173"/>
                    <a:gd name="connsiteY384" fmla="*/ 177412 h 405921"/>
                    <a:gd name="connsiteX385" fmla="*/ 0 w 426173"/>
                    <a:gd name="connsiteY385" fmla="*/ 165016 h 405921"/>
                    <a:gd name="connsiteX386" fmla="*/ 0 w 426173"/>
                    <a:gd name="connsiteY386" fmla="*/ 152579 h 405921"/>
                    <a:gd name="connsiteX387" fmla="*/ 0 w 426173"/>
                    <a:gd name="connsiteY387" fmla="*/ 140102 h 405921"/>
                    <a:gd name="connsiteX388" fmla="*/ 0 w 426173"/>
                    <a:gd name="connsiteY388" fmla="*/ 127584 h 405921"/>
                    <a:gd name="connsiteX389" fmla="*/ 0 w 426173"/>
                    <a:gd name="connsiteY389" fmla="*/ 115017 h 405921"/>
                    <a:gd name="connsiteX390" fmla="*/ 0 w 426173"/>
                    <a:gd name="connsiteY390" fmla="*/ 102418 h 405921"/>
                    <a:gd name="connsiteX391" fmla="*/ 0 w 426173"/>
                    <a:gd name="connsiteY391" fmla="*/ 89769 h 405921"/>
                    <a:gd name="connsiteX392" fmla="*/ 0 w 426173"/>
                    <a:gd name="connsiteY392" fmla="*/ 77080 h 405921"/>
                    <a:gd name="connsiteX393" fmla="*/ 0 w 426173"/>
                    <a:gd name="connsiteY393" fmla="*/ 64350 h 405921"/>
                    <a:gd name="connsiteX394" fmla="*/ 0 w 426173"/>
                    <a:gd name="connsiteY394" fmla="*/ 51571 h 405921"/>
                    <a:gd name="connsiteX395" fmla="*/ 0 w 426173"/>
                    <a:gd name="connsiteY395" fmla="*/ 38744 h 405921"/>
                    <a:gd name="connsiteX396" fmla="*/ 0 w 426173"/>
                    <a:gd name="connsiteY396" fmla="*/ 25875 h 405921"/>
                    <a:gd name="connsiteX397" fmla="*/ 0 w 426173"/>
                    <a:gd name="connsiteY397" fmla="*/ 12958 h 405921"/>
                    <a:gd name="connsiteX398" fmla="*/ 0 w 426173"/>
                    <a:gd name="connsiteY398" fmla="*/ 0 h 405921"/>
                    <a:gd name="connsiteX399" fmla="*/ 3504 w 426173"/>
                    <a:gd name="connsiteY399" fmla="*/ 685 h 40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Lst>
                  <a:rect l="l" t="t" r="r" b="b"/>
                  <a:pathLst>
                    <a:path w="426173" h="405921">
                      <a:moveTo>
                        <a:pt x="3504" y="685"/>
                      </a:moveTo>
                      <a:lnTo>
                        <a:pt x="14784" y="2143"/>
                      </a:lnTo>
                      <a:lnTo>
                        <a:pt x="25419" y="1288"/>
                      </a:lnTo>
                      <a:lnTo>
                        <a:pt x="45133" y="5998"/>
                      </a:lnTo>
                      <a:lnTo>
                        <a:pt x="57325" y="14808"/>
                      </a:lnTo>
                      <a:lnTo>
                        <a:pt x="67219" y="19127"/>
                      </a:lnTo>
                      <a:lnTo>
                        <a:pt x="71253" y="22094"/>
                      </a:lnTo>
                      <a:lnTo>
                        <a:pt x="77675" y="24702"/>
                      </a:lnTo>
                      <a:lnTo>
                        <a:pt x="92793" y="30382"/>
                      </a:lnTo>
                      <a:lnTo>
                        <a:pt x="97495" y="30969"/>
                      </a:lnTo>
                      <a:lnTo>
                        <a:pt x="106256" y="33683"/>
                      </a:lnTo>
                      <a:lnTo>
                        <a:pt x="111676" y="33324"/>
                      </a:lnTo>
                      <a:lnTo>
                        <a:pt x="113037" y="33422"/>
                      </a:lnTo>
                      <a:lnTo>
                        <a:pt x="113004" y="45516"/>
                      </a:lnTo>
                      <a:lnTo>
                        <a:pt x="113004" y="58271"/>
                      </a:lnTo>
                      <a:lnTo>
                        <a:pt x="113004" y="70976"/>
                      </a:lnTo>
                      <a:lnTo>
                        <a:pt x="113004" y="83641"/>
                      </a:lnTo>
                      <a:lnTo>
                        <a:pt x="113281" y="85556"/>
                      </a:lnTo>
                      <a:lnTo>
                        <a:pt x="114121" y="87137"/>
                      </a:lnTo>
                      <a:lnTo>
                        <a:pt x="117495" y="89305"/>
                      </a:lnTo>
                      <a:lnTo>
                        <a:pt x="118277" y="89989"/>
                      </a:lnTo>
                      <a:lnTo>
                        <a:pt x="118905" y="91000"/>
                      </a:lnTo>
                      <a:lnTo>
                        <a:pt x="119858" y="93714"/>
                      </a:lnTo>
                      <a:lnTo>
                        <a:pt x="119646" y="96493"/>
                      </a:lnTo>
                      <a:lnTo>
                        <a:pt x="119654" y="97675"/>
                      </a:lnTo>
                      <a:lnTo>
                        <a:pt x="120127" y="98921"/>
                      </a:lnTo>
                      <a:lnTo>
                        <a:pt x="120559" y="99720"/>
                      </a:lnTo>
                      <a:lnTo>
                        <a:pt x="120869" y="100633"/>
                      </a:lnTo>
                      <a:lnTo>
                        <a:pt x="121447" y="102793"/>
                      </a:lnTo>
                      <a:lnTo>
                        <a:pt x="121382" y="103502"/>
                      </a:lnTo>
                      <a:lnTo>
                        <a:pt x="120331" y="106142"/>
                      </a:lnTo>
                      <a:lnTo>
                        <a:pt x="118644" y="108098"/>
                      </a:lnTo>
                      <a:lnTo>
                        <a:pt x="118579" y="108872"/>
                      </a:lnTo>
                      <a:lnTo>
                        <a:pt x="118497" y="110087"/>
                      </a:lnTo>
                      <a:lnTo>
                        <a:pt x="118505" y="112100"/>
                      </a:lnTo>
                      <a:lnTo>
                        <a:pt x="119214" y="114349"/>
                      </a:lnTo>
                      <a:lnTo>
                        <a:pt x="119842" y="115253"/>
                      </a:lnTo>
                      <a:lnTo>
                        <a:pt x="120918" y="115702"/>
                      </a:lnTo>
                      <a:lnTo>
                        <a:pt x="128032" y="115702"/>
                      </a:lnTo>
                      <a:lnTo>
                        <a:pt x="135147" y="115702"/>
                      </a:lnTo>
                      <a:lnTo>
                        <a:pt x="142262" y="115710"/>
                      </a:lnTo>
                      <a:lnTo>
                        <a:pt x="149385" y="115710"/>
                      </a:lnTo>
                      <a:lnTo>
                        <a:pt x="156499" y="115710"/>
                      </a:lnTo>
                      <a:lnTo>
                        <a:pt x="163614" y="115710"/>
                      </a:lnTo>
                      <a:lnTo>
                        <a:pt x="170729" y="115710"/>
                      </a:lnTo>
                      <a:lnTo>
                        <a:pt x="172269" y="115710"/>
                      </a:lnTo>
                      <a:lnTo>
                        <a:pt x="172326" y="117071"/>
                      </a:lnTo>
                      <a:lnTo>
                        <a:pt x="172872" y="118302"/>
                      </a:lnTo>
                      <a:lnTo>
                        <a:pt x="175537" y="120070"/>
                      </a:lnTo>
                      <a:lnTo>
                        <a:pt x="177428" y="121847"/>
                      </a:lnTo>
                      <a:lnTo>
                        <a:pt x="178748" y="123697"/>
                      </a:lnTo>
                      <a:lnTo>
                        <a:pt x="179033" y="125123"/>
                      </a:lnTo>
                      <a:lnTo>
                        <a:pt x="178667" y="126541"/>
                      </a:lnTo>
                      <a:lnTo>
                        <a:pt x="178455" y="127364"/>
                      </a:lnTo>
                      <a:lnTo>
                        <a:pt x="178626" y="128317"/>
                      </a:lnTo>
                      <a:lnTo>
                        <a:pt x="179327" y="129467"/>
                      </a:lnTo>
                      <a:lnTo>
                        <a:pt x="179376" y="130110"/>
                      </a:lnTo>
                      <a:lnTo>
                        <a:pt x="179490" y="130893"/>
                      </a:lnTo>
                      <a:lnTo>
                        <a:pt x="180435" y="131740"/>
                      </a:lnTo>
                      <a:lnTo>
                        <a:pt x="182269" y="133680"/>
                      </a:lnTo>
                      <a:lnTo>
                        <a:pt x="182676" y="134552"/>
                      </a:lnTo>
                      <a:lnTo>
                        <a:pt x="182334" y="135815"/>
                      </a:lnTo>
                      <a:lnTo>
                        <a:pt x="182106" y="136973"/>
                      </a:lnTo>
                      <a:lnTo>
                        <a:pt x="182261" y="138545"/>
                      </a:lnTo>
                      <a:lnTo>
                        <a:pt x="182220" y="139385"/>
                      </a:lnTo>
                      <a:lnTo>
                        <a:pt x="181715" y="139686"/>
                      </a:lnTo>
                      <a:lnTo>
                        <a:pt x="180932" y="139752"/>
                      </a:lnTo>
                      <a:lnTo>
                        <a:pt x="180101" y="139939"/>
                      </a:lnTo>
                      <a:lnTo>
                        <a:pt x="179596" y="140958"/>
                      </a:lnTo>
                      <a:lnTo>
                        <a:pt x="178838" y="143859"/>
                      </a:lnTo>
                      <a:lnTo>
                        <a:pt x="178585" y="144821"/>
                      </a:lnTo>
                      <a:lnTo>
                        <a:pt x="178838" y="145725"/>
                      </a:lnTo>
                      <a:lnTo>
                        <a:pt x="179588" y="145758"/>
                      </a:lnTo>
                      <a:lnTo>
                        <a:pt x="182277" y="145897"/>
                      </a:lnTo>
                      <a:lnTo>
                        <a:pt x="183247" y="146108"/>
                      </a:lnTo>
                      <a:lnTo>
                        <a:pt x="183964" y="146540"/>
                      </a:lnTo>
                      <a:lnTo>
                        <a:pt x="184257" y="148097"/>
                      </a:lnTo>
                      <a:lnTo>
                        <a:pt x="184363" y="149816"/>
                      </a:lnTo>
                      <a:lnTo>
                        <a:pt x="184322" y="151161"/>
                      </a:lnTo>
                      <a:lnTo>
                        <a:pt x="183703" y="152310"/>
                      </a:lnTo>
                      <a:lnTo>
                        <a:pt x="182065" y="153948"/>
                      </a:lnTo>
                      <a:lnTo>
                        <a:pt x="181633" y="154625"/>
                      </a:lnTo>
                      <a:lnTo>
                        <a:pt x="181666" y="155538"/>
                      </a:lnTo>
                      <a:lnTo>
                        <a:pt x="182415" y="156589"/>
                      </a:lnTo>
                      <a:lnTo>
                        <a:pt x="182953" y="158251"/>
                      </a:lnTo>
                      <a:lnTo>
                        <a:pt x="183002" y="159767"/>
                      </a:lnTo>
                      <a:lnTo>
                        <a:pt x="183817" y="160281"/>
                      </a:lnTo>
                      <a:lnTo>
                        <a:pt x="186034" y="160582"/>
                      </a:lnTo>
                      <a:lnTo>
                        <a:pt x="188202" y="160558"/>
                      </a:lnTo>
                      <a:lnTo>
                        <a:pt x="192749" y="158431"/>
                      </a:lnTo>
                      <a:lnTo>
                        <a:pt x="197403" y="157518"/>
                      </a:lnTo>
                      <a:lnTo>
                        <a:pt x="199970" y="157477"/>
                      </a:lnTo>
                      <a:lnTo>
                        <a:pt x="200467" y="157950"/>
                      </a:lnTo>
                      <a:lnTo>
                        <a:pt x="200508" y="158618"/>
                      </a:lnTo>
                      <a:lnTo>
                        <a:pt x="199937" y="159702"/>
                      </a:lnTo>
                      <a:lnTo>
                        <a:pt x="199237" y="161520"/>
                      </a:lnTo>
                      <a:lnTo>
                        <a:pt x="199725" y="162237"/>
                      </a:lnTo>
                      <a:lnTo>
                        <a:pt x="200858" y="162375"/>
                      </a:lnTo>
                      <a:lnTo>
                        <a:pt x="202871" y="161764"/>
                      </a:lnTo>
                      <a:lnTo>
                        <a:pt x="204240" y="159914"/>
                      </a:lnTo>
                      <a:lnTo>
                        <a:pt x="205544" y="158789"/>
                      </a:lnTo>
                      <a:lnTo>
                        <a:pt x="208006" y="157445"/>
                      </a:lnTo>
                      <a:lnTo>
                        <a:pt x="208927" y="157681"/>
                      </a:lnTo>
                      <a:lnTo>
                        <a:pt x="211257" y="159164"/>
                      </a:lnTo>
                      <a:lnTo>
                        <a:pt x="214045" y="158969"/>
                      </a:lnTo>
                      <a:lnTo>
                        <a:pt x="214737" y="159596"/>
                      </a:lnTo>
                      <a:lnTo>
                        <a:pt x="214786" y="160607"/>
                      </a:lnTo>
                      <a:lnTo>
                        <a:pt x="209864" y="163549"/>
                      </a:lnTo>
                      <a:lnTo>
                        <a:pt x="209473" y="164788"/>
                      </a:lnTo>
                      <a:lnTo>
                        <a:pt x="210011" y="165766"/>
                      </a:lnTo>
                      <a:lnTo>
                        <a:pt x="211102" y="166377"/>
                      </a:lnTo>
                      <a:lnTo>
                        <a:pt x="213865" y="168618"/>
                      </a:lnTo>
                      <a:lnTo>
                        <a:pt x="215911" y="170761"/>
                      </a:lnTo>
                      <a:lnTo>
                        <a:pt x="218372" y="174518"/>
                      </a:lnTo>
                      <a:lnTo>
                        <a:pt x="218405" y="175790"/>
                      </a:lnTo>
                      <a:lnTo>
                        <a:pt x="216595" y="178324"/>
                      </a:lnTo>
                      <a:lnTo>
                        <a:pt x="214656" y="182318"/>
                      </a:lnTo>
                      <a:lnTo>
                        <a:pt x="209799" y="186661"/>
                      </a:lnTo>
                      <a:lnTo>
                        <a:pt x="209187" y="188373"/>
                      </a:lnTo>
                      <a:lnTo>
                        <a:pt x="208429" y="189221"/>
                      </a:lnTo>
                      <a:lnTo>
                        <a:pt x="204322" y="191551"/>
                      </a:lnTo>
                      <a:lnTo>
                        <a:pt x="204053" y="192464"/>
                      </a:lnTo>
                      <a:lnTo>
                        <a:pt x="204183" y="193246"/>
                      </a:lnTo>
                      <a:lnTo>
                        <a:pt x="204583" y="193735"/>
                      </a:lnTo>
                      <a:lnTo>
                        <a:pt x="205667" y="193988"/>
                      </a:lnTo>
                      <a:lnTo>
                        <a:pt x="208103" y="193393"/>
                      </a:lnTo>
                      <a:lnTo>
                        <a:pt x="208861" y="193255"/>
                      </a:lnTo>
                      <a:lnTo>
                        <a:pt x="209839" y="193866"/>
                      </a:lnTo>
                      <a:lnTo>
                        <a:pt x="209880" y="196433"/>
                      </a:lnTo>
                      <a:lnTo>
                        <a:pt x="210434" y="197069"/>
                      </a:lnTo>
                      <a:lnTo>
                        <a:pt x="213776" y="197875"/>
                      </a:lnTo>
                      <a:lnTo>
                        <a:pt x="214485" y="198625"/>
                      </a:lnTo>
                      <a:lnTo>
                        <a:pt x="214460" y="199416"/>
                      </a:lnTo>
                      <a:lnTo>
                        <a:pt x="213784" y="200125"/>
                      </a:lnTo>
                      <a:lnTo>
                        <a:pt x="211298" y="202284"/>
                      </a:lnTo>
                      <a:lnTo>
                        <a:pt x="210907" y="202822"/>
                      </a:lnTo>
                      <a:lnTo>
                        <a:pt x="210899" y="204705"/>
                      </a:lnTo>
                      <a:lnTo>
                        <a:pt x="210719" y="205919"/>
                      </a:lnTo>
                      <a:lnTo>
                        <a:pt x="208755" y="207680"/>
                      </a:lnTo>
                      <a:lnTo>
                        <a:pt x="208324" y="208348"/>
                      </a:lnTo>
                      <a:lnTo>
                        <a:pt x="208364" y="209081"/>
                      </a:lnTo>
                      <a:lnTo>
                        <a:pt x="208649" y="209684"/>
                      </a:lnTo>
                      <a:lnTo>
                        <a:pt x="209505" y="210271"/>
                      </a:lnTo>
                      <a:lnTo>
                        <a:pt x="213270" y="210394"/>
                      </a:lnTo>
                      <a:lnTo>
                        <a:pt x="215283" y="211013"/>
                      </a:lnTo>
                      <a:lnTo>
                        <a:pt x="220597" y="213556"/>
                      </a:lnTo>
                      <a:lnTo>
                        <a:pt x="221934" y="214313"/>
                      </a:lnTo>
                      <a:lnTo>
                        <a:pt x="225878" y="218804"/>
                      </a:lnTo>
                      <a:lnTo>
                        <a:pt x="229374" y="220149"/>
                      </a:lnTo>
                      <a:lnTo>
                        <a:pt x="229953" y="220621"/>
                      </a:lnTo>
                      <a:lnTo>
                        <a:pt x="230279" y="221404"/>
                      </a:lnTo>
                      <a:lnTo>
                        <a:pt x="229920" y="222512"/>
                      </a:lnTo>
                      <a:lnTo>
                        <a:pt x="228429" y="225136"/>
                      </a:lnTo>
                      <a:lnTo>
                        <a:pt x="228119" y="225943"/>
                      </a:lnTo>
                      <a:lnTo>
                        <a:pt x="228266" y="226726"/>
                      </a:lnTo>
                      <a:lnTo>
                        <a:pt x="229089" y="227035"/>
                      </a:lnTo>
                      <a:lnTo>
                        <a:pt x="233506" y="227043"/>
                      </a:lnTo>
                      <a:lnTo>
                        <a:pt x="235323" y="226489"/>
                      </a:lnTo>
                      <a:lnTo>
                        <a:pt x="236888" y="225552"/>
                      </a:lnTo>
                      <a:lnTo>
                        <a:pt x="238135" y="224069"/>
                      </a:lnTo>
                      <a:lnTo>
                        <a:pt x="239138" y="223767"/>
                      </a:lnTo>
                      <a:lnTo>
                        <a:pt x="241460" y="224248"/>
                      </a:lnTo>
                      <a:lnTo>
                        <a:pt x="245388" y="226180"/>
                      </a:lnTo>
                      <a:lnTo>
                        <a:pt x="247491" y="229374"/>
                      </a:lnTo>
                      <a:lnTo>
                        <a:pt x="247385" y="230466"/>
                      </a:lnTo>
                      <a:lnTo>
                        <a:pt x="247736" y="231526"/>
                      </a:lnTo>
                      <a:lnTo>
                        <a:pt x="248485" y="232088"/>
                      </a:lnTo>
                      <a:lnTo>
                        <a:pt x="249749" y="233767"/>
                      </a:lnTo>
                      <a:lnTo>
                        <a:pt x="250189" y="234883"/>
                      </a:lnTo>
                      <a:lnTo>
                        <a:pt x="250197" y="235918"/>
                      </a:lnTo>
                      <a:lnTo>
                        <a:pt x="249488" y="237043"/>
                      </a:lnTo>
                      <a:lnTo>
                        <a:pt x="249781" y="237679"/>
                      </a:lnTo>
                      <a:lnTo>
                        <a:pt x="251207" y="239545"/>
                      </a:lnTo>
                      <a:lnTo>
                        <a:pt x="251843" y="240873"/>
                      </a:lnTo>
                      <a:lnTo>
                        <a:pt x="253204" y="241640"/>
                      </a:lnTo>
                      <a:lnTo>
                        <a:pt x="254052" y="243196"/>
                      </a:lnTo>
                      <a:lnTo>
                        <a:pt x="256464" y="244965"/>
                      </a:lnTo>
                      <a:lnTo>
                        <a:pt x="260131" y="246228"/>
                      </a:lnTo>
                      <a:lnTo>
                        <a:pt x="263831" y="249129"/>
                      </a:lnTo>
                      <a:lnTo>
                        <a:pt x="265844" y="250286"/>
                      </a:lnTo>
                      <a:lnTo>
                        <a:pt x="269389" y="250898"/>
                      </a:lnTo>
                      <a:lnTo>
                        <a:pt x="269927" y="251501"/>
                      </a:lnTo>
                      <a:lnTo>
                        <a:pt x="269854" y="252340"/>
                      </a:lnTo>
                      <a:lnTo>
                        <a:pt x="269251" y="252805"/>
                      </a:lnTo>
                      <a:lnTo>
                        <a:pt x="266415" y="253823"/>
                      </a:lnTo>
                      <a:lnTo>
                        <a:pt x="265445" y="254500"/>
                      </a:lnTo>
                      <a:lnTo>
                        <a:pt x="265347" y="255217"/>
                      </a:lnTo>
                      <a:lnTo>
                        <a:pt x="265779" y="255950"/>
                      </a:lnTo>
                      <a:lnTo>
                        <a:pt x="266806" y="256276"/>
                      </a:lnTo>
                      <a:lnTo>
                        <a:pt x="269332" y="255470"/>
                      </a:lnTo>
                      <a:lnTo>
                        <a:pt x="270107" y="255576"/>
                      </a:lnTo>
                      <a:lnTo>
                        <a:pt x="270433" y="256244"/>
                      </a:lnTo>
                      <a:lnTo>
                        <a:pt x="270824" y="257442"/>
                      </a:lnTo>
                      <a:lnTo>
                        <a:pt x="271288" y="258045"/>
                      </a:lnTo>
                      <a:lnTo>
                        <a:pt x="273448" y="258884"/>
                      </a:lnTo>
                      <a:lnTo>
                        <a:pt x="274206" y="260091"/>
                      </a:lnTo>
                      <a:lnTo>
                        <a:pt x="275632" y="261394"/>
                      </a:lnTo>
                      <a:lnTo>
                        <a:pt x="276447" y="262764"/>
                      </a:lnTo>
                      <a:lnTo>
                        <a:pt x="276700" y="264255"/>
                      </a:lnTo>
                      <a:lnTo>
                        <a:pt x="275200" y="267572"/>
                      </a:lnTo>
                      <a:lnTo>
                        <a:pt x="274133" y="268811"/>
                      </a:lnTo>
                      <a:lnTo>
                        <a:pt x="270335" y="271166"/>
                      </a:lnTo>
                      <a:lnTo>
                        <a:pt x="269389" y="272217"/>
                      </a:lnTo>
                      <a:lnTo>
                        <a:pt x="269544" y="272910"/>
                      </a:lnTo>
                      <a:lnTo>
                        <a:pt x="271378" y="273546"/>
                      </a:lnTo>
                      <a:lnTo>
                        <a:pt x="273391" y="275412"/>
                      </a:lnTo>
                      <a:lnTo>
                        <a:pt x="275200" y="276586"/>
                      </a:lnTo>
                      <a:lnTo>
                        <a:pt x="276072" y="277841"/>
                      </a:lnTo>
                      <a:lnTo>
                        <a:pt x="277132" y="280530"/>
                      </a:lnTo>
                      <a:lnTo>
                        <a:pt x="279438" y="281418"/>
                      </a:lnTo>
                      <a:lnTo>
                        <a:pt x="282038" y="281500"/>
                      </a:lnTo>
                      <a:lnTo>
                        <a:pt x="282486" y="281899"/>
                      </a:lnTo>
                      <a:lnTo>
                        <a:pt x="282339" y="282779"/>
                      </a:lnTo>
                      <a:lnTo>
                        <a:pt x="279943" y="287164"/>
                      </a:lnTo>
                      <a:lnTo>
                        <a:pt x="279935" y="288647"/>
                      </a:lnTo>
                      <a:lnTo>
                        <a:pt x="279585" y="289870"/>
                      </a:lnTo>
                      <a:lnTo>
                        <a:pt x="279837" y="291239"/>
                      </a:lnTo>
                      <a:lnTo>
                        <a:pt x="281337" y="293504"/>
                      </a:lnTo>
                      <a:lnTo>
                        <a:pt x="281736" y="294328"/>
                      </a:lnTo>
                      <a:lnTo>
                        <a:pt x="281891" y="295485"/>
                      </a:lnTo>
                      <a:lnTo>
                        <a:pt x="282290" y="296145"/>
                      </a:lnTo>
                      <a:lnTo>
                        <a:pt x="284173" y="297139"/>
                      </a:lnTo>
                      <a:lnTo>
                        <a:pt x="284638" y="297734"/>
                      </a:lnTo>
                      <a:lnTo>
                        <a:pt x="285396" y="299967"/>
                      </a:lnTo>
                      <a:lnTo>
                        <a:pt x="285510" y="300807"/>
                      </a:lnTo>
                      <a:lnTo>
                        <a:pt x="286528" y="301565"/>
                      </a:lnTo>
                      <a:lnTo>
                        <a:pt x="292429" y="304295"/>
                      </a:lnTo>
                      <a:lnTo>
                        <a:pt x="292967" y="305240"/>
                      </a:lnTo>
                      <a:lnTo>
                        <a:pt x="292714" y="306071"/>
                      </a:lnTo>
                      <a:lnTo>
                        <a:pt x="290538" y="307261"/>
                      </a:lnTo>
                      <a:lnTo>
                        <a:pt x="290310" y="307905"/>
                      </a:lnTo>
                      <a:lnTo>
                        <a:pt x="290375" y="308484"/>
                      </a:lnTo>
                      <a:lnTo>
                        <a:pt x="291483" y="309413"/>
                      </a:lnTo>
                      <a:lnTo>
                        <a:pt x="291728" y="310032"/>
                      </a:lnTo>
                      <a:lnTo>
                        <a:pt x="290440" y="312118"/>
                      </a:lnTo>
                      <a:lnTo>
                        <a:pt x="290383" y="313268"/>
                      </a:lnTo>
                      <a:lnTo>
                        <a:pt x="291606" y="315639"/>
                      </a:lnTo>
                      <a:lnTo>
                        <a:pt x="291883" y="316316"/>
                      </a:lnTo>
                      <a:lnTo>
                        <a:pt x="291720" y="317049"/>
                      </a:lnTo>
                      <a:lnTo>
                        <a:pt x="291174" y="317791"/>
                      </a:lnTo>
                      <a:lnTo>
                        <a:pt x="290994" y="318508"/>
                      </a:lnTo>
                      <a:lnTo>
                        <a:pt x="291337" y="319054"/>
                      </a:lnTo>
                      <a:lnTo>
                        <a:pt x="292478" y="319747"/>
                      </a:lnTo>
                      <a:lnTo>
                        <a:pt x="294279" y="320170"/>
                      </a:lnTo>
                      <a:lnTo>
                        <a:pt x="297319" y="319918"/>
                      </a:lnTo>
                      <a:lnTo>
                        <a:pt x="299951" y="320431"/>
                      </a:lnTo>
                      <a:lnTo>
                        <a:pt x="300636" y="320757"/>
                      </a:lnTo>
                      <a:lnTo>
                        <a:pt x="301597" y="322306"/>
                      </a:lnTo>
                      <a:lnTo>
                        <a:pt x="302274" y="322681"/>
                      </a:lnTo>
                      <a:lnTo>
                        <a:pt x="303227" y="322469"/>
                      </a:lnTo>
                      <a:lnTo>
                        <a:pt x="305631" y="320700"/>
                      </a:lnTo>
                      <a:lnTo>
                        <a:pt x="307180" y="320301"/>
                      </a:lnTo>
                      <a:lnTo>
                        <a:pt x="308541" y="320521"/>
                      </a:lnTo>
                      <a:lnTo>
                        <a:pt x="312526" y="323911"/>
                      </a:lnTo>
                      <a:lnTo>
                        <a:pt x="313365" y="325655"/>
                      </a:lnTo>
                      <a:lnTo>
                        <a:pt x="316038" y="328230"/>
                      </a:lnTo>
                      <a:lnTo>
                        <a:pt x="316690" y="330023"/>
                      </a:lnTo>
                      <a:lnTo>
                        <a:pt x="317326" y="330773"/>
                      </a:lnTo>
                      <a:lnTo>
                        <a:pt x="320121" y="331751"/>
                      </a:lnTo>
                      <a:lnTo>
                        <a:pt x="321295" y="332884"/>
                      </a:lnTo>
                      <a:lnTo>
                        <a:pt x="321971" y="334261"/>
                      </a:lnTo>
                      <a:lnTo>
                        <a:pt x="322615" y="337032"/>
                      </a:lnTo>
                      <a:lnTo>
                        <a:pt x="327236" y="340789"/>
                      </a:lnTo>
                      <a:lnTo>
                        <a:pt x="329575" y="342028"/>
                      </a:lnTo>
                      <a:lnTo>
                        <a:pt x="330977" y="343495"/>
                      </a:lnTo>
                      <a:lnTo>
                        <a:pt x="332167" y="344277"/>
                      </a:lnTo>
                      <a:lnTo>
                        <a:pt x="335647" y="345182"/>
                      </a:lnTo>
                      <a:lnTo>
                        <a:pt x="339836" y="345117"/>
                      </a:lnTo>
                      <a:lnTo>
                        <a:pt x="341572" y="345834"/>
                      </a:lnTo>
                      <a:lnTo>
                        <a:pt x="343128" y="347048"/>
                      </a:lnTo>
                      <a:lnTo>
                        <a:pt x="344383" y="349493"/>
                      </a:lnTo>
                      <a:lnTo>
                        <a:pt x="345467" y="350895"/>
                      </a:lnTo>
                      <a:lnTo>
                        <a:pt x="346730" y="356266"/>
                      </a:lnTo>
                      <a:lnTo>
                        <a:pt x="346893" y="357838"/>
                      </a:lnTo>
                      <a:lnTo>
                        <a:pt x="346592" y="360723"/>
                      </a:lnTo>
                      <a:lnTo>
                        <a:pt x="345223" y="362044"/>
                      </a:lnTo>
                      <a:lnTo>
                        <a:pt x="344872" y="362533"/>
                      </a:lnTo>
                      <a:lnTo>
                        <a:pt x="344962" y="362981"/>
                      </a:lnTo>
                      <a:lnTo>
                        <a:pt x="345915" y="363763"/>
                      </a:lnTo>
                      <a:lnTo>
                        <a:pt x="348165" y="363266"/>
                      </a:lnTo>
                      <a:lnTo>
                        <a:pt x="348654" y="363714"/>
                      </a:lnTo>
                      <a:lnTo>
                        <a:pt x="349534" y="367838"/>
                      </a:lnTo>
                      <a:lnTo>
                        <a:pt x="349306" y="370495"/>
                      </a:lnTo>
                      <a:lnTo>
                        <a:pt x="349461" y="371489"/>
                      </a:lnTo>
                      <a:lnTo>
                        <a:pt x="350047" y="372549"/>
                      </a:lnTo>
                      <a:lnTo>
                        <a:pt x="350007" y="374065"/>
                      </a:lnTo>
                      <a:lnTo>
                        <a:pt x="350756" y="375116"/>
                      </a:lnTo>
                      <a:lnTo>
                        <a:pt x="351425" y="375328"/>
                      </a:lnTo>
                      <a:lnTo>
                        <a:pt x="353038" y="374896"/>
                      </a:lnTo>
                      <a:lnTo>
                        <a:pt x="355581" y="375401"/>
                      </a:lnTo>
                      <a:lnTo>
                        <a:pt x="359175" y="373869"/>
                      </a:lnTo>
                      <a:lnTo>
                        <a:pt x="363380" y="374668"/>
                      </a:lnTo>
                      <a:lnTo>
                        <a:pt x="364709" y="374496"/>
                      </a:lnTo>
                      <a:lnTo>
                        <a:pt x="365744" y="374130"/>
                      </a:lnTo>
                      <a:lnTo>
                        <a:pt x="366249" y="373519"/>
                      </a:lnTo>
                      <a:lnTo>
                        <a:pt x="366249" y="372125"/>
                      </a:lnTo>
                      <a:lnTo>
                        <a:pt x="366542" y="371628"/>
                      </a:lnTo>
                      <a:lnTo>
                        <a:pt x="368058" y="371220"/>
                      </a:lnTo>
                      <a:lnTo>
                        <a:pt x="369224" y="371326"/>
                      </a:lnTo>
                      <a:lnTo>
                        <a:pt x="369623" y="372712"/>
                      </a:lnTo>
                      <a:lnTo>
                        <a:pt x="370471" y="373225"/>
                      </a:lnTo>
                      <a:lnTo>
                        <a:pt x="371978" y="373519"/>
                      </a:lnTo>
                      <a:lnTo>
                        <a:pt x="373127" y="371253"/>
                      </a:lnTo>
                      <a:lnTo>
                        <a:pt x="373771" y="370544"/>
                      </a:lnTo>
                      <a:lnTo>
                        <a:pt x="374570" y="370242"/>
                      </a:lnTo>
                      <a:lnTo>
                        <a:pt x="375450" y="370250"/>
                      </a:lnTo>
                      <a:lnTo>
                        <a:pt x="379337" y="372247"/>
                      </a:lnTo>
                      <a:lnTo>
                        <a:pt x="387487" y="374211"/>
                      </a:lnTo>
                      <a:lnTo>
                        <a:pt x="388881" y="374187"/>
                      </a:lnTo>
                      <a:lnTo>
                        <a:pt x="391179" y="372826"/>
                      </a:lnTo>
                      <a:lnTo>
                        <a:pt x="393119" y="372100"/>
                      </a:lnTo>
                      <a:lnTo>
                        <a:pt x="399842" y="371457"/>
                      </a:lnTo>
                      <a:lnTo>
                        <a:pt x="400364" y="368881"/>
                      </a:lnTo>
                      <a:lnTo>
                        <a:pt x="400918" y="367911"/>
                      </a:lnTo>
                      <a:lnTo>
                        <a:pt x="401676" y="367398"/>
                      </a:lnTo>
                      <a:lnTo>
                        <a:pt x="406411" y="367414"/>
                      </a:lnTo>
                      <a:lnTo>
                        <a:pt x="407234" y="367732"/>
                      </a:lnTo>
                      <a:lnTo>
                        <a:pt x="409125" y="372989"/>
                      </a:lnTo>
                      <a:lnTo>
                        <a:pt x="409157" y="374350"/>
                      </a:lnTo>
                      <a:lnTo>
                        <a:pt x="406525" y="377862"/>
                      </a:lnTo>
                      <a:lnTo>
                        <a:pt x="406525" y="378620"/>
                      </a:lnTo>
                      <a:lnTo>
                        <a:pt x="406818" y="379435"/>
                      </a:lnTo>
                      <a:lnTo>
                        <a:pt x="410046" y="383249"/>
                      </a:lnTo>
                      <a:lnTo>
                        <a:pt x="411692" y="386183"/>
                      </a:lnTo>
                      <a:lnTo>
                        <a:pt x="415506" y="387014"/>
                      </a:lnTo>
                      <a:lnTo>
                        <a:pt x="416093" y="387846"/>
                      </a:lnTo>
                      <a:lnTo>
                        <a:pt x="416614" y="391847"/>
                      </a:lnTo>
                      <a:lnTo>
                        <a:pt x="417103" y="393135"/>
                      </a:lnTo>
                      <a:lnTo>
                        <a:pt x="419124" y="396965"/>
                      </a:lnTo>
                      <a:lnTo>
                        <a:pt x="421749" y="400910"/>
                      </a:lnTo>
                      <a:lnTo>
                        <a:pt x="421879" y="402002"/>
                      </a:lnTo>
                      <a:lnTo>
                        <a:pt x="421366" y="403567"/>
                      </a:lnTo>
                      <a:lnTo>
                        <a:pt x="421423" y="404121"/>
                      </a:lnTo>
                      <a:lnTo>
                        <a:pt x="421846" y="404349"/>
                      </a:lnTo>
                      <a:lnTo>
                        <a:pt x="424683" y="404382"/>
                      </a:lnTo>
                      <a:lnTo>
                        <a:pt x="425612" y="405156"/>
                      </a:lnTo>
                      <a:lnTo>
                        <a:pt x="426174" y="405922"/>
                      </a:lnTo>
                      <a:lnTo>
                        <a:pt x="402572" y="405922"/>
                      </a:lnTo>
                      <a:lnTo>
                        <a:pt x="378963" y="405922"/>
                      </a:lnTo>
                      <a:lnTo>
                        <a:pt x="355361" y="405922"/>
                      </a:lnTo>
                      <a:lnTo>
                        <a:pt x="331759" y="405922"/>
                      </a:lnTo>
                      <a:lnTo>
                        <a:pt x="308133" y="405922"/>
                      </a:lnTo>
                      <a:lnTo>
                        <a:pt x="284532" y="405922"/>
                      </a:lnTo>
                      <a:lnTo>
                        <a:pt x="260930" y="405922"/>
                      </a:lnTo>
                      <a:lnTo>
                        <a:pt x="237328" y="405922"/>
                      </a:lnTo>
                      <a:lnTo>
                        <a:pt x="213727" y="405922"/>
                      </a:lnTo>
                      <a:lnTo>
                        <a:pt x="190125" y="405922"/>
                      </a:lnTo>
                      <a:lnTo>
                        <a:pt x="166515" y="405922"/>
                      </a:lnTo>
                      <a:lnTo>
                        <a:pt x="142914" y="405922"/>
                      </a:lnTo>
                      <a:lnTo>
                        <a:pt x="119304" y="405922"/>
                      </a:lnTo>
                      <a:lnTo>
                        <a:pt x="95702" y="405922"/>
                      </a:lnTo>
                      <a:lnTo>
                        <a:pt x="72101" y="405922"/>
                      </a:lnTo>
                      <a:lnTo>
                        <a:pt x="48263" y="405906"/>
                      </a:lnTo>
                      <a:lnTo>
                        <a:pt x="45068" y="402629"/>
                      </a:lnTo>
                      <a:lnTo>
                        <a:pt x="46258" y="399068"/>
                      </a:lnTo>
                      <a:lnTo>
                        <a:pt x="47692" y="394797"/>
                      </a:lnTo>
                      <a:lnTo>
                        <a:pt x="47692" y="392222"/>
                      </a:lnTo>
                      <a:lnTo>
                        <a:pt x="43837" y="392385"/>
                      </a:lnTo>
                      <a:lnTo>
                        <a:pt x="38051" y="392621"/>
                      </a:lnTo>
                      <a:lnTo>
                        <a:pt x="32884" y="392842"/>
                      </a:lnTo>
                      <a:lnTo>
                        <a:pt x="29054" y="395857"/>
                      </a:lnTo>
                      <a:lnTo>
                        <a:pt x="25517" y="398644"/>
                      </a:lnTo>
                      <a:lnTo>
                        <a:pt x="19967" y="396468"/>
                      </a:lnTo>
                      <a:lnTo>
                        <a:pt x="13626" y="393974"/>
                      </a:lnTo>
                      <a:lnTo>
                        <a:pt x="11825" y="397234"/>
                      </a:lnTo>
                      <a:lnTo>
                        <a:pt x="5941" y="395604"/>
                      </a:lnTo>
                      <a:lnTo>
                        <a:pt x="0" y="393958"/>
                      </a:lnTo>
                      <a:lnTo>
                        <a:pt x="0" y="382239"/>
                      </a:lnTo>
                      <a:lnTo>
                        <a:pt x="0" y="370487"/>
                      </a:lnTo>
                      <a:lnTo>
                        <a:pt x="0" y="358702"/>
                      </a:lnTo>
                      <a:lnTo>
                        <a:pt x="0" y="346877"/>
                      </a:lnTo>
                      <a:lnTo>
                        <a:pt x="0" y="335019"/>
                      </a:lnTo>
                      <a:lnTo>
                        <a:pt x="0" y="323129"/>
                      </a:lnTo>
                      <a:lnTo>
                        <a:pt x="0" y="311198"/>
                      </a:lnTo>
                      <a:lnTo>
                        <a:pt x="0" y="299234"/>
                      </a:lnTo>
                      <a:lnTo>
                        <a:pt x="0" y="287221"/>
                      </a:lnTo>
                      <a:lnTo>
                        <a:pt x="0" y="275176"/>
                      </a:lnTo>
                      <a:lnTo>
                        <a:pt x="0" y="263073"/>
                      </a:lnTo>
                      <a:lnTo>
                        <a:pt x="0" y="250955"/>
                      </a:lnTo>
                      <a:lnTo>
                        <a:pt x="0" y="238795"/>
                      </a:lnTo>
                      <a:lnTo>
                        <a:pt x="0" y="226595"/>
                      </a:lnTo>
                      <a:lnTo>
                        <a:pt x="0" y="214362"/>
                      </a:lnTo>
                      <a:lnTo>
                        <a:pt x="0" y="202089"/>
                      </a:lnTo>
                      <a:lnTo>
                        <a:pt x="0" y="189766"/>
                      </a:lnTo>
                      <a:lnTo>
                        <a:pt x="0" y="177412"/>
                      </a:lnTo>
                      <a:lnTo>
                        <a:pt x="0" y="165016"/>
                      </a:lnTo>
                      <a:lnTo>
                        <a:pt x="0" y="152579"/>
                      </a:lnTo>
                      <a:lnTo>
                        <a:pt x="0" y="140102"/>
                      </a:lnTo>
                      <a:lnTo>
                        <a:pt x="0" y="127584"/>
                      </a:lnTo>
                      <a:lnTo>
                        <a:pt x="0" y="115017"/>
                      </a:lnTo>
                      <a:lnTo>
                        <a:pt x="0" y="102418"/>
                      </a:lnTo>
                      <a:lnTo>
                        <a:pt x="0" y="89769"/>
                      </a:lnTo>
                      <a:lnTo>
                        <a:pt x="0" y="77080"/>
                      </a:lnTo>
                      <a:lnTo>
                        <a:pt x="0" y="64350"/>
                      </a:lnTo>
                      <a:lnTo>
                        <a:pt x="0" y="51571"/>
                      </a:lnTo>
                      <a:lnTo>
                        <a:pt x="0" y="38744"/>
                      </a:lnTo>
                      <a:lnTo>
                        <a:pt x="0" y="25875"/>
                      </a:lnTo>
                      <a:lnTo>
                        <a:pt x="0" y="12958"/>
                      </a:lnTo>
                      <a:lnTo>
                        <a:pt x="0" y="0"/>
                      </a:lnTo>
                      <a:lnTo>
                        <a:pt x="3504" y="685"/>
                      </a:lnTo>
                      <a:close/>
                    </a:path>
                  </a:pathLst>
                </a:custGeom>
                <a:solidFill>
                  <a:srgbClr val="D6D6D2"/>
                </a:solidFill>
                <a:ln w="6112" cap="rnd">
                  <a:solidFill>
                    <a:srgbClr val="FFFFFF"/>
                  </a:solidFill>
                  <a:prstDash val="solid"/>
                  <a:round/>
                </a:ln>
              </p:spPr>
              <p:txBody>
                <a:bodyPr rtlCol="0" anchor="ctr"/>
                <a:lstStyle/>
                <a:p>
                  <a:endParaRPr lang="en-US"/>
                </a:p>
              </p:txBody>
            </p:sp>
            <p:sp>
              <p:nvSpPr>
                <p:cNvPr id="473" name="Freeform: Shape 472">
                  <a:extLst>
                    <a:ext uri="{FF2B5EF4-FFF2-40B4-BE49-F238E27FC236}">
                      <a16:creationId xmlns:a16="http://schemas.microsoft.com/office/drawing/2014/main" id="{3DB8DA16-38D1-4B5E-9FEC-173FC49AFCE9}"/>
                    </a:ext>
                  </a:extLst>
                </p:cNvPr>
                <p:cNvSpPr/>
                <p:nvPr/>
              </p:nvSpPr>
              <p:spPr>
                <a:xfrm>
                  <a:off x="3966556" y="2439608"/>
                  <a:ext cx="560807" cy="663706"/>
                </a:xfrm>
                <a:custGeom>
                  <a:avLst/>
                  <a:gdLst>
                    <a:gd name="connsiteX0" fmla="*/ 50366 w 560807"/>
                    <a:gd name="connsiteY0" fmla="*/ 622028 h 663706"/>
                    <a:gd name="connsiteX1" fmla="*/ 31075 w 560807"/>
                    <a:gd name="connsiteY1" fmla="*/ 617774 h 663706"/>
                    <a:gd name="connsiteX2" fmla="*/ 23121 w 560807"/>
                    <a:gd name="connsiteY2" fmla="*/ 614710 h 663706"/>
                    <a:gd name="connsiteX3" fmla="*/ 20097 w 560807"/>
                    <a:gd name="connsiteY3" fmla="*/ 611417 h 663706"/>
                    <a:gd name="connsiteX4" fmla="*/ 17335 w 560807"/>
                    <a:gd name="connsiteY4" fmla="*/ 607155 h 663706"/>
                    <a:gd name="connsiteX5" fmla="*/ 13594 w 560807"/>
                    <a:gd name="connsiteY5" fmla="*/ 599315 h 663706"/>
                    <a:gd name="connsiteX6" fmla="*/ 8647 w 560807"/>
                    <a:gd name="connsiteY6" fmla="*/ 592388 h 663706"/>
                    <a:gd name="connsiteX7" fmla="*/ 6911 w 560807"/>
                    <a:gd name="connsiteY7" fmla="*/ 588403 h 663706"/>
                    <a:gd name="connsiteX8" fmla="*/ 6740 w 560807"/>
                    <a:gd name="connsiteY8" fmla="*/ 585061 h 663706"/>
                    <a:gd name="connsiteX9" fmla="*/ 5811 w 560807"/>
                    <a:gd name="connsiteY9" fmla="*/ 581809 h 663706"/>
                    <a:gd name="connsiteX10" fmla="*/ 4140 w 560807"/>
                    <a:gd name="connsiteY10" fmla="*/ 578647 h 663706"/>
                    <a:gd name="connsiteX11" fmla="*/ 3830 w 560807"/>
                    <a:gd name="connsiteY11" fmla="*/ 575942 h 663706"/>
                    <a:gd name="connsiteX12" fmla="*/ 4971 w 560807"/>
                    <a:gd name="connsiteY12" fmla="*/ 573513 h 663706"/>
                    <a:gd name="connsiteX13" fmla="*/ 4980 w 560807"/>
                    <a:gd name="connsiteY13" fmla="*/ 573317 h 663706"/>
                    <a:gd name="connsiteX14" fmla="*/ 4971 w 560807"/>
                    <a:gd name="connsiteY14" fmla="*/ 563179 h 663706"/>
                    <a:gd name="connsiteX15" fmla="*/ 4955 w 560807"/>
                    <a:gd name="connsiteY15" fmla="*/ 554500 h 663706"/>
                    <a:gd name="connsiteX16" fmla="*/ 4947 w 560807"/>
                    <a:gd name="connsiteY16" fmla="*/ 545812 h 663706"/>
                    <a:gd name="connsiteX17" fmla="*/ 4931 w 560807"/>
                    <a:gd name="connsiteY17" fmla="*/ 537100 h 663706"/>
                    <a:gd name="connsiteX18" fmla="*/ 4922 w 560807"/>
                    <a:gd name="connsiteY18" fmla="*/ 528380 h 663706"/>
                    <a:gd name="connsiteX19" fmla="*/ 4914 w 560807"/>
                    <a:gd name="connsiteY19" fmla="*/ 519635 h 663706"/>
                    <a:gd name="connsiteX20" fmla="*/ 4906 w 560807"/>
                    <a:gd name="connsiteY20" fmla="*/ 510882 h 663706"/>
                    <a:gd name="connsiteX21" fmla="*/ 4890 w 560807"/>
                    <a:gd name="connsiteY21" fmla="*/ 502105 h 663706"/>
                    <a:gd name="connsiteX22" fmla="*/ 4882 w 560807"/>
                    <a:gd name="connsiteY22" fmla="*/ 493311 h 663706"/>
                    <a:gd name="connsiteX23" fmla="*/ 4874 w 560807"/>
                    <a:gd name="connsiteY23" fmla="*/ 484502 h 663706"/>
                    <a:gd name="connsiteX24" fmla="*/ 4866 w 560807"/>
                    <a:gd name="connsiteY24" fmla="*/ 475675 h 663706"/>
                    <a:gd name="connsiteX25" fmla="*/ 4857 w 560807"/>
                    <a:gd name="connsiteY25" fmla="*/ 466825 h 663706"/>
                    <a:gd name="connsiteX26" fmla="*/ 4849 w 560807"/>
                    <a:gd name="connsiteY26" fmla="*/ 457966 h 663706"/>
                    <a:gd name="connsiteX27" fmla="*/ 4841 w 560807"/>
                    <a:gd name="connsiteY27" fmla="*/ 451495 h 663706"/>
                    <a:gd name="connsiteX28" fmla="*/ 6414 w 560807"/>
                    <a:gd name="connsiteY28" fmla="*/ 453076 h 663706"/>
                    <a:gd name="connsiteX29" fmla="*/ 9095 w 560807"/>
                    <a:gd name="connsiteY29" fmla="*/ 457216 h 663706"/>
                    <a:gd name="connsiteX30" fmla="*/ 8280 w 560807"/>
                    <a:gd name="connsiteY30" fmla="*/ 454584 h 663706"/>
                    <a:gd name="connsiteX31" fmla="*/ 6495 w 560807"/>
                    <a:gd name="connsiteY31" fmla="*/ 451544 h 663706"/>
                    <a:gd name="connsiteX32" fmla="*/ 4808 w 560807"/>
                    <a:gd name="connsiteY32" fmla="*/ 449751 h 663706"/>
                    <a:gd name="connsiteX33" fmla="*/ 4808 w 560807"/>
                    <a:gd name="connsiteY33" fmla="*/ 440200 h 663706"/>
                    <a:gd name="connsiteX34" fmla="*/ 4784 w 560807"/>
                    <a:gd name="connsiteY34" fmla="*/ 428448 h 663706"/>
                    <a:gd name="connsiteX35" fmla="*/ 5371 w 560807"/>
                    <a:gd name="connsiteY35" fmla="*/ 427510 h 663706"/>
                    <a:gd name="connsiteX36" fmla="*/ 9315 w 560807"/>
                    <a:gd name="connsiteY36" fmla="*/ 425359 h 663706"/>
                    <a:gd name="connsiteX37" fmla="*/ 10342 w 560807"/>
                    <a:gd name="connsiteY37" fmla="*/ 425555 h 663706"/>
                    <a:gd name="connsiteX38" fmla="*/ 11157 w 560807"/>
                    <a:gd name="connsiteY38" fmla="*/ 428171 h 663706"/>
                    <a:gd name="connsiteX39" fmla="*/ 12102 w 560807"/>
                    <a:gd name="connsiteY39" fmla="*/ 428708 h 663706"/>
                    <a:gd name="connsiteX40" fmla="*/ 13920 w 560807"/>
                    <a:gd name="connsiteY40" fmla="*/ 429116 h 663706"/>
                    <a:gd name="connsiteX41" fmla="*/ 15452 w 560807"/>
                    <a:gd name="connsiteY41" fmla="*/ 430021 h 663706"/>
                    <a:gd name="connsiteX42" fmla="*/ 16699 w 560807"/>
                    <a:gd name="connsiteY42" fmla="*/ 431422 h 663706"/>
                    <a:gd name="connsiteX43" fmla="*/ 17579 w 560807"/>
                    <a:gd name="connsiteY43" fmla="*/ 432840 h 663706"/>
                    <a:gd name="connsiteX44" fmla="*/ 18092 w 560807"/>
                    <a:gd name="connsiteY44" fmla="*/ 434283 h 663706"/>
                    <a:gd name="connsiteX45" fmla="*/ 19266 w 560807"/>
                    <a:gd name="connsiteY45" fmla="*/ 438969 h 663706"/>
                    <a:gd name="connsiteX46" fmla="*/ 20114 w 560807"/>
                    <a:gd name="connsiteY46" fmla="*/ 441137 h 663706"/>
                    <a:gd name="connsiteX47" fmla="*/ 20252 w 560807"/>
                    <a:gd name="connsiteY47" fmla="*/ 438505 h 663706"/>
                    <a:gd name="connsiteX48" fmla="*/ 21230 w 560807"/>
                    <a:gd name="connsiteY48" fmla="*/ 434364 h 663706"/>
                    <a:gd name="connsiteX49" fmla="*/ 21988 w 560807"/>
                    <a:gd name="connsiteY49" fmla="*/ 432669 h 663706"/>
                    <a:gd name="connsiteX50" fmla="*/ 24368 w 560807"/>
                    <a:gd name="connsiteY50" fmla="*/ 430176 h 663706"/>
                    <a:gd name="connsiteX51" fmla="*/ 24246 w 560807"/>
                    <a:gd name="connsiteY51" fmla="*/ 429100 h 663706"/>
                    <a:gd name="connsiteX52" fmla="*/ 23251 w 560807"/>
                    <a:gd name="connsiteY52" fmla="*/ 427657 h 663706"/>
                    <a:gd name="connsiteX53" fmla="*/ 18256 w 560807"/>
                    <a:gd name="connsiteY53" fmla="*/ 421447 h 663706"/>
                    <a:gd name="connsiteX54" fmla="*/ 18166 w 560807"/>
                    <a:gd name="connsiteY54" fmla="*/ 419939 h 663706"/>
                    <a:gd name="connsiteX55" fmla="*/ 19494 w 560807"/>
                    <a:gd name="connsiteY55" fmla="*/ 419043 h 663706"/>
                    <a:gd name="connsiteX56" fmla="*/ 20407 w 560807"/>
                    <a:gd name="connsiteY56" fmla="*/ 417331 h 663706"/>
                    <a:gd name="connsiteX57" fmla="*/ 20896 w 560807"/>
                    <a:gd name="connsiteY57" fmla="*/ 414797 h 663706"/>
                    <a:gd name="connsiteX58" fmla="*/ 21964 w 560807"/>
                    <a:gd name="connsiteY58" fmla="*/ 412955 h 663706"/>
                    <a:gd name="connsiteX59" fmla="*/ 25093 w 560807"/>
                    <a:gd name="connsiteY59" fmla="*/ 410372 h 663706"/>
                    <a:gd name="connsiteX60" fmla="*/ 27782 w 560807"/>
                    <a:gd name="connsiteY60" fmla="*/ 406411 h 663706"/>
                    <a:gd name="connsiteX61" fmla="*/ 29168 w 560807"/>
                    <a:gd name="connsiteY61" fmla="*/ 403673 h 663706"/>
                    <a:gd name="connsiteX62" fmla="*/ 30309 w 560807"/>
                    <a:gd name="connsiteY62" fmla="*/ 402230 h 663706"/>
                    <a:gd name="connsiteX63" fmla="*/ 31385 w 560807"/>
                    <a:gd name="connsiteY63" fmla="*/ 401888 h 663706"/>
                    <a:gd name="connsiteX64" fmla="*/ 29779 w 560807"/>
                    <a:gd name="connsiteY64" fmla="*/ 400779 h 663706"/>
                    <a:gd name="connsiteX65" fmla="*/ 29453 w 560807"/>
                    <a:gd name="connsiteY65" fmla="*/ 400062 h 663706"/>
                    <a:gd name="connsiteX66" fmla="*/ 29380 w 560807"/>
                    <a:gd name="connsiteY66" fmla="*/ 396778 h 663706"/>
                    <a:gd name="connsiteX67" fmla="*/ 28687 w 560807"/>
                    <a:gd name="connsiteY67" fmla="*/ 393322 h 663706"/>
                    <a:gd name="connsiteX68" fmla="*/ 27611 w 560807"/>
                    <a:gd name="connsiteY68" fmla="*/ 391717 h 663706"/>
                    <a:gd name="connsiteX69" fmla="*/ 24555 w 560807"/>
                    <a:gd name="connsiteY69" fmla="*/ 388270 h 663706"/>
                    <a:gd name="connsiteX70" fmla="*/ 24050 w 560807"/>
                    <a:gd name="connsiteY70" fmla="*/ 387243 h 663706"/>
                    <a:gd name="connsiteX71" fmla="*/ 23520 w 560807"/>
                    <a:gd name="connsiteY71" fmla="*/ 383339 h 663706"/>
                    <a:gd name="connsiteX72" fmla="*/ 23822 w 560807"/>
                    <a:gd name="connsiteY72" fmla="*/ 381383 h 663706"/>
                    <a:gd name="connsiteX73" fmla="*/ 24612 w 560807"/>
                    <a:gd name="connsiteY73" fmla="*/ 379737 h 663706"/>
                    <a:gd name="connsiteX74" fmla="*/ 24156 w 560807"/>
                    <a:gd name="connsiteY74" fmla="*/ 378148 h 663706"/>
                    <a:gd name="connsiteX75" fmla="*/ 21320 w 560807"/>
                    <a:gd name="connsiteY75" fmla="*/ 375263 h 663706"/>
                    <a:gd name="connsiteX76" fmla="*/ 20220 w 560807"/>
                    <a:gd name="connsiteY76" fmla="*/ 372744 h 663706"/>
                    <a:gd name="connsiteX77" fmla="*/ 19013 w 560807"/>
                    <a:gd name="connsiteY77" fmla="*/ 366656 h 663706"/>
                    <a:gd name="connsiteX78" fmla="*/ 17905 w 560807"/>
                    <a:gd name="connsiteY78" fmla="*/ 358996 h 663706"/>
                    <a:gd name="connsiteX79" fmla="*/ 16634 w 560807"/>
                    <a:gd name="connsiteY79" fmla="*/ 353364 h 663706"/>
                    <a:gd name="connsiteX80" fmla="*/ 15216 w 560807"/>
                    <a:gd name="connsiteY80" fmla="*/ 349754 h 663706"/>
                    <a:gd name="connsiteX81" fmla="*/ 14898 w 560807"/>
                    <a:gd name="connsiteY81" fmla="*/ 347472 h 663706"/>
                    <a:gd name="connsiteX82" fmla="*/ 15680 w 560807"/>
                    <a:gd name="connsiteY82" fmla="*/ 346527 h 663706"/>
                    <a:gd name="connsiteX83" fmla="*/ 16699 w 560807"/>
                    <a:gd name="connsiteY83" fmla="*/ 343674 h 663706"/>
                    <a:gd name="connsiteX84" fmla="*/ 17620 w 560807"/>
                    <a:gd name="connsiteY84" fmla="*/ 342973 h 663706"/>
                    <a:gd name="connsiteX85" fmla="*/ 19046 w 560807"/>
                    <a:gd name="connsiteY85" fmla="*/ 343161 h 663706"/>
                    <a:gd name="connsiteX86" fmla="*/ 19079 w 560807"/>
                    <a:gd name="connsiteY86" fmla="*/ 342843 h 663706"/>
                    <a:gd name="connsiteX87" fmla="*/ 16911 w 560807"/>
                    <a:gd name="connsiteY87" fmla="*/ 341303 h 663706"/>
                    <a:gd name="connsiteX88" fmla="*/ 15843 w 560807"/>
                    <a:gd name="connsiteY88" fmla="*/ 339363 h 663706"/>
                    <a:gd name="connsiteX89" fmla="*/ 15884 w 560807"/>
                    <a:gd name="connsiteY89" fmla="*/ 338646 h 663706"/>
                    <a:gd name="connsiteX90" fmla="*/ 17799 w 560807"/>
                    <a:gd name="connsiteY90" fmla="*/ 336722 h 663706"/>
                    <a:gd name="connsiteX91" fmla="*/ 17457 w 560807"/>
                    <a:gd name="connsiteY91" fmla="*/ 335899 h 663706"/>
                    <a:gd name="connsiteX92" fmla="*/ 16039 w 560807"/>
                    <a:gd name="connsiteY92" fmla="*/ 334848 h 663706"/>
                    <a:gd name="connsiteX93" fmla="*/ 11711 w 560807"/>
                    <a:gd name="connsiteY93" fmla="*/ 333080 h 663706"/>
                    <a:gd name="connsiteX94" fmla="*/ 13276 w 560807"/>
                    <a:gd name="connsiteY94" fmla="*/ 332395 h 663706"/>
                    <a:gd name="connsiteX95" fmla="*/ 14270 w 560807"/>
                    <a:gd name="connsiteY95" fmla="*/ 330871 h 663706"/>
                    <a:gd name="connsiteX96" fmla="*/ 14075 w 560807"/>
                    <a:gd name="connsiteY96" fmla="*/ 330423 h 663706"/>
                    <a:gd name="connsiteX97" fmla="*/ 12363 w 560807"/>
                    <a:gd name="connsiteY97" fmla="*/ 329795 h 663706"/>
                    <a:gd name="connsiteX98" fmla="*/ 10383 w 560807"/>
                    <a:gd name="connsiteY98" fmla="*/ 328622 h 663706"/>
                    <a:gd name="connsiteX99" fmla="*/ 8883 w 560807"/>
                    <a:gd name="connsiteY99" fmla="*/ 326861 h 663706"/>
                    <a:gd name="connsiteX100" fmla="*/ 7033 w 560807"/>
                    <a:gd name="connsiteY100" fmla="*/ 324090 h 663706"/>
                    <a:gd name="connsiteX101" fmla="*/ 5909 w 560807"/>
                    <a:gd name="connsiteY101" fmla="*/ 321890 h 663706"/>
                    <a:gd name="connsiteX102" fmla="*/ 4800 w 560807"/>
                    <a:gd name="connsiteY102" fmla="*/ 318231 h 663706"/>
                    <a:gd name="connsiteX103" fmla="*/ 2877 w 560807"/>
                    <a:gd name="connsiteY103" fmla="*/ 314058 h 663706"/>
                    <a:gd name="connsiteX104" fmla="*/ 2037 w 560807"/>
                    <a:gd name="connsiteY104" fmla="*/ 313015 h 663706"/>
                    <a:gd name="connsiteX105" fmla="*/ 1076 w 560807"/>
                    <a:gd name="connsiteY105" fmla="*/ 312347 h 663706"/>
                    <a:gd name="connsiteX106" fmla="*/ 0 w 560807"/>
                    <a:gd name="connsiteY106" fmla="*/ 312037 h 663706"/>
                    <a:gd name="connsiteX107" fmla="*/ 41 w 560807"/>
                    <a:gd name="connsiteY107" fmla="*/ 311393 h 663706"/>
                    <a:gd name="connsiteX108" fmla="*/ 1206 w 560807"/>
                    <a:gd name="connsiteY108" fmla="*/ 310423 h 663706"/>
                    <a:gd name="connsiteX109" fmla="*/ 19967 w 560807"/>
                    <a:gd name="connsiteY109" fmla="*/ 303431 h 663706"/>
                    <a:gd name="connsiteX110" fmla="*/ 21524 w 560807"/>
                    <a:gd name="connsiteY110" fmla="*/ 302428 h 663706"/>
                    <a:gd name="connsiteX111" fmla="*/ 30733 w 560807"/>
                    <a:gd name="connsiteY111" fmla="*/ 298500 h 663706"/>
                    <a:gd name="connsiteX112" fmla="*/ 34979 w 560807"/>
                    <a:gd name="connsiteY112" fmla="*/ 296316 h 663706"/>
                    <a:gd name="connsiteX113" fmla="*/ 39314 w 560807"/>
                    <a:gd name="connsiteY113" fmla="*/ 293162 h 663706"/>
                    <a:gd name="connsiteX114" fmla="*/ 45215 w 560807"/>
                    <a:gd name="connsiteY114" fmla="*/ 289919 h 663706"/>
                    <a:gd name="connsiteX115" fmla="*/ 48092 w 560807"/>
                    <a:gd name="connsiteY115" fmla="*/ 287824 h 663706"/>
                    <a:gd name="connsiteX116" fmla="*/ 49909 w 560807"/>
                    <a:gd name="connsiteY116" fmla="*/ 285803 h 663706"/>
                    <a:gd name="connsiteX117" fmla="*/ 59265 w 560807"/>
                    <a:gd name="connsiteY117" fmla="*/ 277727 h 663706"/>
                    <a:gd name="connsiteX118" fmla="*/ 63226 w 560807"/>
                    <a:gd name="connsiteY118" fmla="*/ 273603 h 663706"/>
                    <a:gd name="connsiteX119" fmla="*/ 65524 w 560807"/>
                    <a:gd name="connsiteY119" fmla="*/ 270041 h 663706"/>
                    <a:gd name="connsiteX120" fmla="*/ 68857 w 560807"/>
                    <a:gd name="connsiteY120" fmla="*/ 265787 h 663706"/>
                    <a:gd name="connsiteX121" fmla="*/ 73234 w 560807"/>
                    <a:gd name="connsiteY121" fmla="*/ 260824 h 663706"/>
                    <a:gd name="connsiteX122" fmla="*/ 75988 w 560807"/>
                    <a:gd name="connsiteY122" fmla="*/ 256578 h 663706"/>
                    <a:gd name="connsiteX123" fmla="*/ 77145 w 560807"/>
                    <a:gd name="connsiteY123" fmla="*/ 253025 h 663706"/>
                    <a:gd name="connsiteX124" fmla="*/ 78572 w 560807"/>
                    <a:gd name="connsiteY124" fmla="*/ 246896 h 663706"/>
                    <a:gd name="connsiteX125" fmla="*/ 78979 w 560807"/>
                    <a:gd name="connsiteY125" fmla="*/ 241452 h 663706"/>
                    <a:gd name="connsiteX126" fmla="*/ 79232 w 560807"/>
                    <a:gd name="connsiteY126" fmla="*/ 233465 h 663706"/>
                    <a:gd name="connsiteX127" fmla="*/ 79085 w 560807"/>
                    <a:gd name="connsiteY127" fmla="*/ 226318 h 663706"/>
                    <a:gd name="connsiteX128" fmla="*/ 77911 w 560807"/>
                    <a:gd name="connsiteY128" fmla="*/ 215104 h 663706"/>
                    <a:gd name="connsiteX129" fmla="*/ 77211 w 560807"/>
                    <a:gd name="connsiteY129" fmla="*/ 211559 h 663706"/>
                    <a:gd name="connsiteX130" fmla="*/ 75874 w 560807"/>
                    <a:gd name="connsiteY130" fmla="*/ 207345 h 663706"/>
                    <a:gd name="connsiteX131" fmla="*/ 72622 w 560807"/>
                    <a:gd name="connsiteY131" fmla="*/ 198853 h 663706"/>
                    <a:gd name="connsiteX132" fmla="*/ 72044 w 560807"/>
                    <a:gd name="connsiteY132" fmla="*/ 196547 h 663706"/>
                    <a:gd name="connsiteX133" fmla="*/ 70023 w 560807"/>
                    <a:gd name="connsiteY133" fmla="*/ 192643 h 663706"/>
                    <a:gd name="connsiteX134" fmla="*/ 63430 w 560807"/>
                    <a:gd name="connsiteY134" fmla="*/ 182448 h 663706"/>
                    <a:gd name="connsiteX135" fmla="*/ 55190 w 560807"/>
                    <a:gd name="connsiteY135" fmla="*/ 175529 h 663706"/>
                    <a:gd name="connsiteX136" fmla="*/ 53625 w 560807"/>
                    <a:gd name="connsiteY136" fmla="*/ 173793 h 663706"/>
                    <a:gd name="connsiteX137" fmla="*/ 50357 w 560807"/>
                    <a:gd name="connsiteY137" fmla="*/ 171756 h 663706"/>
                    <a:gd name="connsiteX138" fmla="*/ 45394 w 560807"/>
                    <a:gd name="connsiteY138" fmla="*/ 169417 h 663706"/>
                    <a:gd name="connsiteX139" fmla="*/ 42183 w 560807"/>
                    <a:gd name="connsiteY139" fmla="*/ 167518 h 663706"/>
                    <a:gd name="connsiteX140" fmla="*/ 33797 w 560807"/>
                    <a:gd name="connsiteY140" fmla="*/ 160387 h 663706"/>
                    <a:gd name="connsiteX141" fmla="*/ 31034 w 560807"/>
                    <a:gd name="connsiteY141" fmla="*/ 159531 h 663706"/>
                    <a:gd name="connsiteX142" fmla="*/ 29975 w 560807"/>
                    <a:gd name="connsiteY142" fmla="*/ 157689 h 663706"/>
                    <a:gd name="connsiteX143" fmla="*/ 29746 w 560807"/>
                    <a:gd name="connsiteY143" fmla="*/ 156377 h 663706"/>
                    <a:gd name="connsiteX144" fmla="*/ 30064 w 560807"/>
                    <a:gd name="connsiteY144" fmla="*/ 152954 h 663706"/>
                    <a:gd name="connsiteX145" fmla="*/ 30554 w 560807"/>
                    <a:gd name="connsiteY145" fmla="*/ 150583 h 663706"/>
                    <a:gd name="connsiteX146" fmla="*/ 31148 w 560807"/>
                    <a:gd name="connsiteY146" fmla="*/ 148839 h 663706"/>
                    <a:gd name="connsiteX147" fmla="*/ 31841 w 560807"/>
                    <a:gd name="connsiteY147" fmla="*/ 147714 h 663706"/>
                    <a:gd name="connsiteX148" fmla="*/ 36454 w 560807"/>
                    <a:gd name="connsiteY148" fmla="*/ 142449 h 663706"/>
                    <a:gd name="connsiteX149" fmla="*/ 39037 w 560807"/>
                    <a:gd name="connsiteY149" fmla="*/ 138228 h 663706"/>
                    <a:gd name="connsiteX150" fmla="*/ 40830 w 560807"/>
                    <a:gd name="connsiteY150" fmla="*/ 135913 h 663706"/>
                    <a:gd name="connsiteX151" fmla="*/ 42819 w 560807"/>
                    <a:gd name="connsiteY151" fmla="*/ 134112 h 663706"/>
                    <a:gd name="connsiteX152" fmla="*/ 46413 w 560807"/>
                    <a:gd name="connsiteY152" fmla="*/ 131757 h 663706"/>
                    <a:gd name="connsiteX153" fmla="*/ 48450 w 560807"/>
                    <a:gd name="connsiteY153" fmla="*/ 128782 h 663706"/>
                    <a:gd name="connsiteX154" fmla="*/ 47986 w 560807"/>
                    <a:gd name="connsiteY154" fmla="*/ 127576 h 663706"/>
                    <a:gd name="connsiteX155" fmla="*/ 46364 w 560807"/>
                    <a:gd name="connsiteY155" fmla="*/ 126256 h 663706"/>
                    <a:gd name="connsiteX156" fmla="*/ 46005 w 560807"/>
                    <a:gd name="connsiteY156" fmla="*/ 124976 h 663706"/>
                    <a:gd name="connsiteX157" fmla="*/ 48735 w 560807"/>
                    <a:gd name="connsiteY157" fmla="*/ 121708 h 663706"/>
                    <a:gd name="connsiteX158" fmla="*/ 49119 w 560807"/>
                    <a:gd name="connsiteY158" fmla="*/ 120795 h 663706"/>
                    <a:gd name="connsiteX159" fmla="*/ 48776 w 560807"/>
                    <a:gd name="connsiteY159" fmla="*/ 117723 h 663706"/>
                    <a:gd name="connsiteX160" fmla="*/ 49306 w 560807"/>
                    <a:gd name="connsiteY160" fmla="*/ 117030 h 663706"/>
                    <a:gd name="connsiteX161" fmla="*/ 52680 w 560807"/>
                    <a:gd name="connsiteY161" fmla="*/ 116851 h 663706"/>
                    <a:gd name="connsiteX162" fmla="*/ 57480 w 560807"/>
                    <a:gd name="connsiteY162" fmla="*/ 121276 h 663706"/>
                    <a:gd name="connsiteX163" fmla="*/ 58662 w 560807"/>
                    <a:gd name="connsiteY163" fmla="*/ 120885 h 663706"/>
                    <a:gd name="connsiteX164" fmla="*/ 57130 w 560807"/>
                    <a:gd name="connsiteY164" fmla="*/ 119663 h 663706"/>
                    <a:gd name="connsiteX165" fmla="*/ 55288 w 560807"/>
                    <a:gd name="connsiteY165" fmla="*/ 116680 h 663706"/>
                    <a:gd name="connsiteX166" fmla="*/ 55549 w 560807"/>
                    <a:gd name="connsiteY166" fmla="*/ 115449 h 663706"/>
                    <a:gd name="connsiteX167" fmla="*/ 59094 w 560807"/>
                    <a:gd name="connsiteY167" fmla="*/ 112222 h 663706"/>
                    <a:gd name="connsiteX168" fmla="*/ 59192 w 560807"/>
                    <a:gd name="connsiteY168" fmla="*/ 110755 h 663706"/>
                    <a:gd name="connsiteX169" fmla="*/ 58181 w 560807"/>
                    <a:gd name="connsiteY169" fmla="*/ 108717 h 663706"/>
                    <a:gd name="connsiteX170" fmla="*/ 58067 w 560807"/>
                    <a:gd name="connsiteY170" fmla="*/ 107096 h 663706"/>
                    <a:gd name="connsiteX171" fmla="*/ 60137 w 560807"/>
                    <a:gd name="connsiteY171" fmla="*/ 103225 h 663706"/>
                    <a:gd name="connsiteX172" fmla="*/ 59583 w 560807"/>
                    <a:gd name="connsiteY172" fmla="*/ 102401 h 663706"/>
                    <a:gd name="connsiteX173" fmla="*/ 53747 w 560807"/>
                    <a:gd name="connsiteY173" fmla="*/ 101652 h 663706"/>
                    <a:gd name="connsiteX174" fmla="*/ 52786 w 560807"/>
                    <a:gd name="connsiteY174" fmla="*/ 100576 h 663706"/>
                    <a:gd name="connsiteX175" fmla="*/ 53128 w 560807"/>
                    <a:gd name="connsiteY175" fmla="*/ 100062 h 663706"/>
                    <a:gd name="connsiteX176" fmla="*/ 55875 w 560807"/>
                    <a:gd name="connsiteY176" fmla="*/ 98758 h 663706"/>
                    <a:gd name="connsiteX177" fmla="*/ 56087 w 560807"/>
                    <a:gd name="connsiteY177" fmla="*/ 98270 h 663706"/>
                    <a:gd name="connsiteX178" fmla="*/ 51229 w 560807"/>
                    <a:gd name="connsiteY178" fmla="*/ 89598 h 663706"/>
                    <a:gd name="connsiteX179" fmla="*/ 50414 w 560807"/>
                    <a:gd name="connsiteY179" fmla="*/ 87007 h 663706"/>
                    <a:gd name="connsiteX180" fmla="*/ 52476 w 560807"/>
                    <a:gd name="connsiteY180" fmla="*/ 83820 h 663706"/>
                    <a:gd name="connsiteX181" fmla="*/ 54823 w 560807"/>
                    <a:gd name="connsiteY181" fmla="*/ 82369 h 663706"/>
                    <a:gd name="connsiteX182" fmla="*/ 54530 w 560807"/>
                    <a:gd name="connsiteY182" fmla="*/ 81546 h 663706"/>
                    <a:gd name="connsiteX183" fmla="*/ 51457 w 560807"/>
                    <a:gd name="connsiteY183" fmla="*/ 81391 h 663706"/>
                    <a:gd name="connsiteX184" fmla="*/ 49591 w 560807"/>
                    <a:gd name="connsiteY184" fmla="*/ 80959 h 663706"/>
                    <a:gd name="connsiteX185" fmla="*/ 47709 w 560807"/>
                    <a:gd name="connsiteY185" fmla="*/ 78466 h 663706"/>
                    <a:gd name="connsiteX186" fmla="*/ 48442 w 560807"/>
                    <a:gd name="connsiteY186" fmla="*/ 76893 h 663706"/>
                    <a:gd name="connsiteX187" fmla="*/ 49110 w 560807"/>
                    <a:gd name="connsiteY187" fmla="*/ 76176 h 663706"/>
                    <a:gd name="connsiteX188" fmla="*/ 50936 w 560807"/>
                    <a:gd name="connsiteY188" fmla="*/ 72443 h 663706"/>
                    <a:gd name="connsiteX189" fmla="*/ 52696 w 560807"/>
                    <a:gd name="connsiteY189" fmla="*/ 71677 h 663706"/>
                    <a:gd name="connsiteX190" fmla="*/ 52362 w 560807"/>
                    <a:gd name="connsiteY190" fmla="*/ 71009 h 663706"/>
                    <a:gd name="connsiteX191" fmla="*/ 45704 w 560807"/>
                    <a:gd name="connsiteY191" fmla="*/ 72590 h 663706"/>
                    <a:gd name="connsiteX192" fmla="*/ 42566 w 560807"/>
                    <a:gd name="connsiteY192" fmla="*/ 71286 h 663706"/>
                    <a:gd name="connsiteX193" fmla="*/ 39485 w 560807"/>
                    <a:gd name="connsiteY193" fmla="*/ 71628 h 663706"/>
                    <a:gd name="connsiteX194" fmla="*/ 38019 w 560807"/>
                    <a:gd name="connsiteY194" fmla="*/ 71245 h 663706"/>
                    <a:gd name="connsiteX195" fmla="*/ 38557 w 560807"/>
                    <a:gd name="connsiteY195" fmla="*/ 69908 h 663706"/>
                    <a:gd name="connsiteX196" fmla="*/ 44155 w 560807"/>
                    <a:gd name="connsiteY196" fmla="*/ 63845 h 663706"/>
                    <a:gd name="connsiteX197" fmla="*/ 46731 w 560807"/>
                    <a:gd name="connsiteY197" fmla="*/ 60569 h 663706"/>
                    <a:gd name="connsiteX198" fmla="*/ 48344 w 560807"/>
                    <a:gd name="connsiteY198" fmla="*/ 57602 h 663706"/>
                    <a:gd name="connsiteX199" fmla="*/ 49192 w 560807"/>
                    <a:gd name="connsiteY199" fmla="*/ 55622 h 663706"/>
                    <a:gd name="connsiteX200" fmla="*/ 49290 w 560807"/>
                    <a:gd name="connsiteY200" fmla="*/ 54644 h 663706"/>
                    <a:gd name="connsiteX201" fmla="*/ 48727 w 560807"/>
                    <a:gd name="connsiteY201" fmla="*/ 48075 h 663706"/>
                    <a:gd name="connsiteX202" fmla="*/ 49062 w 560807"/>
                    <a:gd name="connsiteY202" fmla="*/ 46274 h 663706"/>
                    <a:gd name="connsiteX203" fmla="*/ 51229 w 560807"/>
                    <a:gd name="connsiteY203" fmla="*/ 44595 h 663706"/>
                    <a:gd name="connsiteX204" fmla="*/ 54563 w 560807"/>
                    <a:gd name="connsiteY204" fmla="*/ 41450 h 663706"/>
                    <a:gd name="connsiteX205" fmla="*/ 49999 w 560807"/>
                    <a:gd name="connsiteY205" fmla="*/ 38597 h 663706"/>
                    <a:gd name="connsiteX206" fmla="*/ 47130 w 560807"/>
                    <a:gd name="connsiteY206" fmla="*/ 35826 h 663706"/>
                    <a:gd name="connsiteX207" fmla="*/ 45239 w 560807"/>
                    <a:gd name="connsiteY207" fmla="*/ 34449 h 663706"/>
                    <a:gd name="connsiteX208" fmla="*/ 43813 w 560807"/>
                    <a:gd name="connsiteY208" fmla="*/ 33096 h 663706"/>
                    <a:gd name="connsiteX209" fmla="*/ 41979 w 560807"/>
                    <a:gd name="connsiteY209" fmla="*/ 30244 h 663706"/>
                    <a:gd name="connsiteX210" fmla="*/ 40586 w 560807"/>
                    <a:gd name="connsiteY210" fmla="*/ 26519 h 663706"/>
                    <a:gd name="connsiteX211" fmla="*/ 39111 w 560807"/>
                    <a:gd name="connsiteY211" fmla="*/ 19021 h 663706"/>
                    <a:gd name="connsiteX212" fmla="*/ 38866 w 560807"/>
                    <a:gd name="connsiteY212" fmla="*/ 14881 h 663706"/>
                    <a:gd name="connsiteX213" fmla="*/ 39208 w 560807"/>
                    <a:gd name="connsiteY213" fmla="*/ 11882 h 663706"/>
                    <a:gd name="connsiteX214" fmla="*/ 39828 w 560807"/>
                    <a:gd name="connsiteY214" fmla="*/ 10415 h 663706"/>
                    <a:gd name="connsiteX215" fmla="*/ 40838 w 560807"/>
                    <a:gd name="connsiteY215" fmla="*/ 8891 h 663706"/>
                    <a:gd name="connsiteX216" fmla="*/ 45011 w 560807"/>
                    <a:gd name="connsiteY216" fmla="*/ 5982 h 663706"/>
                    <a:gd name="connsiteX217" fmla="*/ 52346 w 560807"/>
                    <a:gd name="connsiteY217" fmla="*/ 1687 h 663706"/>
                    <a:gd name="connsiteX218" fmla="*/ 58091 w 560807"/>
                    <a:gd name="connsiteY218" fmla="*/ 0 h 663706"/>
                    <a:gd name="connsiteX219" fmla="*/ 62239 w 560807"/>
                    <a:gd name="connsiteY219" fmla="*/ 929 h 663706"/>
                    <a:gd name="connsiteX220" fmla="*/ 70324 w 560807"/>
                    <a:gd name="connsiteY220" fmla="*/ 1940 h 663706"/>
                    <a:gd name="connsiteX221" fmla="*/ 76844 w 560807"/>
                    <a:gd name="connsiteY221" fmla="*/ 4385 h 663706"/>
                    <a:gd name="connsiteX222" fmla="*/ 96672 w 560807"/>
                    <a:gd name="connsiteY222" fmla="*/ 10513 h 663706"/>
                    <a:gd name="connsiteX223" fmla="*/ 100177 w 560807"/>
                    <a:gd name="connsiteY223" fmla="*/ 13219 h 663706"/>
                    <a:gd name="connsiteX224" fmla="*/ 96860 w 560807"/>
                    <a:gd name="connsiteY224" fmla="*/ 15517 h 663706"/>
                    <a:gd name="connsiteX225" fmla="*/ 97340 w 560807"/>
                    <a:gd name="connsiteY225" fmla="*/ 16079 h 663706"/>
                    <a:gd name="connsiteX226" fmla="*/ 104806 w 560807"/>
                    <a:gd name="connsiteY226" fmla="*/ 11711 h 663706"/>
                    <a:gd name="connsiteX227" fmla="*/ 106778 w 560807"/>
                    <a:gd name="connsiteY227" fmla="*/ 10864 h 663706"/>
                    <a:gd name="connsiteX228" fmla="*/ 108465 w 560807"/>
                    <a:gd name="connsiteY228" fmla="*/ 10660 h 663706"/>
                    <a:gd name="connsiteX229" fmla="*/ 114096 w 560807"/>
                    <a:gd name="connsiteY229" fmla="*/ 12355 h 663706"/>
                    <a:gd name="connsiteX230" fmla="*/ 116362 w 560807"/>
                    <a:gd name="connsiteY230" fmla="*/ 12608 h 663706"/>
                    <a:gd name="connsiteX231" fmla="*/ 119222 w 560807"/>
                    <a:gd name="connsiteY231" fmla="*/ 14018 h 663706"/>
                    <a:gd name="connsiteX232" fmla="*/ 126044 w 560807"/>
                    <a:gd name="connsiteY232" fmla="*/ 18687 h 663706"/>
                    <a:gd name="connsiteX233" fmla="*/ 126533 w 560807"/>
                    <a:gd name="connsiteY233" fmla="*/ 18304 h 663706"/>
                    <a:gd name="connsiteX234" fmla="*/ 124626 w 560807"/>
                    <a:gd name="connsiteY234" fmla="*/ 15925 h 663706"/>
                    <a:gd name="connsiteX235" fmla="*/ 125718 w 560807"/>
                    <a:gd name="connsiteY235" fmla="*/ 14784 h 663706"/>
                    <a:gd name="connsiteX236" fmla="*/ 131089 w 560807"/>
                    <a:gd name="connsiteY236" fmla="*/ 12306 h 663706"/>
                    <a:gd name="connsiteX237" fmla="*/ 136639 w 560807"/>
                    <a:gd name="connsiteY237" fmla="*/ 10277 h 663706"/>
                    <a:gd name="connsiteX238" fmla="*/ 140575 w 560807"/>
                    <a:gd name="connsiteY238" fmla="*/ 8288 h 663706"/>
                    <a:gd name="connsiteX239" fmla="*/ 144764 w 560807"/>
                    <a:gd name="connsiteY239" fmla="*/ 5656 h 663706"/>
                    <a:gd name="connsiteX240" fmla="*/ 147592 w 560807"/>
                    <a:gd name="connsiteY240" fmla="*/ 4246 h 663706"/>
                    <a:gd name="connsiteX241" fmla="*/ 149050 w 560807"/>
                    <a:gd name="connsiteY241" fmla="*/ 4075 h 663706"/>
                    <a:gd name="connsiteX242" fmla="*/ 150909 w 560807"/>
                    <a:gd name="connsiteY242" fmla="*/ 4849 h 663706"/>
                    <a:gd name="connsiteX243" fmla="*/ 155913 w 560807"/>
                    <a:gd name="connsiteY243" fmla="*/ 8337 h 663706"/>
                    <a:gd name="connsiteX244" fmla="*/ 159123 w 560807"/>
                    <a:gd name="connsiteY244" fmla="*/ 10130 h 663706"/>
                    <a:gd name="connsiteX245" fmla="*/ 161699 w 560807"/>
                    <a:gd name="connsiteY245" fmla="*/ 12005 h 663706"/>
                    <a:gd name="connsiteX246" fmla="*/ 165309 w 560807"/>
                    <a:gd name="connsiteY246" fmla="*/ 15313 h 663706"/>
                    <a:gd name="connsiteX247" fmla="*/ 166727 w 560807"/>
                    <a:gd name="connsiteY247" fmla="*/ 16039 h 663706"/>
                    <a:gd name="connsiteX248" fmla="*/ 169466 w 560807"/>
                    <a:gd name="connsiteY248" fmla="*/ 18280 h 663706"/>
                    <a:gd name="connsiteX249" fmla="*/ 173108 w 560807"/>
                    <a:gd name="connsiteY249" fmla="*/ 18052 h 663706"/>
                    <a:gd name="connsiteX250" fmla="*/ 174298 w 560807"/>
                    <a:gd name="connsiteY250" fmla="*/ 18321 h 663706"/>
                    <a:gd name="connsiteX251" fmla="*/ 174698 w 560807"/>
                    <a:gd name="connsiteY251" fmla="*/ 18753 h 663706"/>
                    <a:gd name="connsiteX252" fmla="*/ 175309 w 560807"/>
                    <a:gd name="connsiteY252" fmla="*/ 20277 h 663706"/>
                    <a:gd name="connsiteX253" fmla="*/ 175635 w 560807"/>
                    <a:gd name="connsiteY253" fmla="*/ 21246 h 663706"/>
                    <a:gd name="connsiteX254" fmla="*/ 175659 w 560807"/>
                    <a:gd name="connsiteY254" fmla="*/ 22290 h 663706"/>
                    <a:gd name="connsiteX255" fmla="*/ 174820 w 560807"/>
                    <a:gd name="connsiteY255" fmla="*/ 25223 h 663706"/>
                    <a:gd name="connsiteX256" fmla="*/ 172196 w 560807"/>
                    <a:gd name="connsiteY256" fmla="*/ 29893 h 663706"/>
                    <a:gd name="connsiteX257" fmla="*/ 173296 w 560807"/>
                    <a:gd name="connsiteY257" fmla="*/ 29967 h 663706"/>
                    <a:gd name="connsiteX258" fmla="*/ 174950 w 560807"/>
                    <a:gd name="connsiteY258" fmla="*/ 28964 h 663706"/>
                    <a:gd name="connsiteX259" fmla="*/ 177102 w 560807"/>
                    <a:gd name="connsiteY259" fmla="*/ 27179 h 663706"/>
                    <a:gd name="connsiteX260" fmla="*/ 178797 w 560807"/>
                    <a:gd name="connsiteY260" fmla="*/ 26544 h 663706"/>
                    <a:gd name="connsiteX261" fmla="*/ 182391 w 560807"/>
                    <a:gd name="connsiteY261" fmla="*/ 27970 h 663706"/>
                    <a:gd name="connsiteX262" fmla="*/ 185724 w 560807"/>
                    <a:gd name="connsiteY262" fmla="*/ 30252 h 663706"/>
                    <a:gd name="connsiteX263" fmla="*/ 186906 w 560807"/>
                    <a:gd name="connsiteY263" fmla="*/ 31466 h 663706"/>
                    <a:gd name="connsiteX264" fmla="*/ 188210 w 560807"/>
                    <a:gd name="connsiteY264" fmla="*/ 33438 h 663706"/>
                    <a:gd name="connsiteX265" fmla="*/ 189318 w 560807"/>
                    <a:gd name="connsiteY265" fmla="*/ 34457 h 663706"/>
                    <a:gd name="connsiteX266" fmla="*/ 190345 w 560807"/>
                    <a:gd name="connsiteY266" fmla="*/ 36405 h 663706"/>
                    <a:gd name="connsiteX267" fmla="*/ 190272 w 560807"/>
                    <a:gd name="connsiteY267" fmla="*/ 37032 h 663706"/>
                    <a:gd name="connsiteX268" fmla="*/ 189310 w 560807"/>
                    <a:gd name="connsiteY268" fmla="*/ 37978 h 663706"/>
                    <a:gd name="connsiteX269" fmla="*/ 185219 w 560807"/>
                    <a:gd name="connsiteY269" fmla="*/ 39575 h 663706"/>
                    <a:gd name="connsiteX270" fmla="*/ 185993 w 560807"/>
                    <a:gd name="connsiteY270" fmla="*/ 40178 h 663706"/>
                    <a:gd name="connsiteX271" fmla="*/ 190777 w 560807"/>
                    <a:gd name="connsiteY271" fmla="*/ 39176 h 663706"/>
                    <a:gd name="connsiteX272" fmla="*/ 192236 w 560807"/>
                    <a:gd name="connsiteY272" fmla="*/ 38190 h 663706"/>
                    <a:gd name="connsiteX273" fmla="*/ 193279 w 560807"/>
                    <a:gd name="connsiteY273" fmla="*/ 36535 h 663706"/>
                    <a:gd name="connsiteX274" fmla="*/ 194673 w 560807"/>
                    <a:gd name="connsiteY274" fmla="*/ 36071 h 663706"/>
                    <a:gd name="connsiteX275" fmla="*/ 200321 w 560807"/>
                    <a:gd name="connsiteY275" fmla="*/ 38964 h 663706"/>
                    <a:gd name="connsiteX276" fmla="*/ 201152 w 560807"/>
                    <a:gd name="connsiteY276" fmla="*/ 39974 h 663706"/>
                    <a:gd name="connsiteX277" fmla="*/ 200793 w 560807"/>
                    <a:gd name="connsiteY277" fmla="*/ 40765 h 663706"/>
                    <a:gd name="connsiteX278" fmla="*/ 199880 w 560807"/>
                    <a:gd name="connsiteY278" fmla="*/ 41653 h 663706"/>
                    <a:gd name="connsiteX279" fmla="*/ 197419 w 560807"/>
                    <a:gd name="connsiteY279" fmla="*/ 42639 h 663706"/>
                    <a:gd name="connsiteX280" fmla="*/ 195300 w 560807"/>
                    <a:gd name="connsiteY280" fmla="*/ 45101 h 663706"/>
                    <a:gd name="connsiteX281" fmla="*/ 194966 w 560807"/>
                    <a:gd name="connsiteY281" fmla="*/ 46160 h 663706"/>
                    <a:gd name="connsiteX282" fmla="*/ 196474 w 560807"/>
                    <a:gd name="connsiteY282" fmla="*/ 46910 h 663706"/>
                    <a:gd name="connsiteX283" fmla="*/ 200149 w 560807"/>
                    <a:gd name="connsiteY283" fmla="*/ 47236 h 663706"/>
                    <a:gd name="connsiteX284" fmla="*/ 200125 w 560807"/>
                    <a:gd name="connsiteY284" fmla="*/ 47823 h 663706"/>
                    <a:gd name="connsiteX285" fmla="*/ 197957 w 560807"/>
                    <a:gd name="connsiteY285" fmla="*/ 48996 h 663706"/>
                    <a:gd name="connsiteX286" fmla="*/ 197680 w 560807"/>
                    <a:gd name="connsiteY286" fmla="*/ 50406 h 663706"/>
                    <a:gd name="connsiteX287" fmla="*/ 202439 w 560807"/>
                    <a:gd name="connsiteY287" fmla="*/ 55418 h 663706"/>
                    <a:gd name="connsiteX288" fmla="*/ 205634 w 560807"/>
                    <a:gd name="connsiteY288" fmla="*/ 57610 h 663706"/>
                    <a:gd name="connsiteX289" fmla="*/ 207476 w 560807"/>
                    <a:gd name="connsiteY289" fmla="*/ 58010 h 663706"/>
                    <a:gd name="connsiteX290" fmla="*/ 211771 w 560807"/>
                    <a:gd name="connsiteY290" fmla="*/ 58116 h 663706"/>
                    <a:gd name="connsiteX291" fmla="*/ 215251 w 560807"/>
                    <a:gd name="connsiteY291" fmla="*/ 58963 h 663706"/>
                    <a:gd name="connsiteX292" fmla="*/ 222985 w 560807"/>
                    <a:gd name="connsiteY292" fmla="*/ 61808 h 663706"/>
                    <a:gd name="connsiteX293" fmla="*/ 227508 w 560807"/>
                    <a:gd name="connsiteY293" fmla="*/ 62321 h 663706"/>
                    <a:gd name="connsiteX294" fmla="*/ 231412 w 560807"/>
                    <a:gd name="connsiteY294" fmla="*/ 61457 h 663706"/>
                    <a:gd name="connsiteX295" fmla="*/ 233995 w 560807"/>
                    <a:gd name="connsiteY295" fmla="*/ 61270 h 663706"/>
                    <a:gd name="connsiteX296" fmla="*/ 236285 w 560807"/>
                    <a:gd name="connsiteY296" fmla="*/ 62402 h 663706"/>
                    <a:gd name="connsiteX297" fmla="*/ 237011 w 560807"/>
                    <a:gd name="connsiteY297" fmla="*/ 63209 h 663706"/>
                    <a:gd name="connsiteX298" fmla="*/ 237353 w 560807"/>
                    <a:gd name="connsiteY298" fmla="*/ 64799 h 663706"/>
                    <a:gd name="connsiteX299" fmla="*/ 237304 w 560807"/>
                    <a:gd name="connsiteY299" fmla="*/ 67186 h 663706"/>
                    <a:gd name="connsiteX300" fmla="*/ 238559 w 560807"/>
                    <a:gd name="connsiteY300" fmla="*/ 68857 h 663706"/>
                    <a:gd name="connsiteX301" fmla="*/ 241110 w 560807"/>
                    <a:gd name="connsiteY301" fmla="*/ 69811 h 663706"/>
                    <a:gd name="connsiteX302" fmla="*/ 243172 w 560807"/>
                    <a:gd name="connsiteY302" fmla="*/ 69664 h 663706"/>
                    <a:gd name="connsiteX303" fmla="*/ 245878 w 560807"/>
                    <a:gd name="connsiteY303" fmla="*/ 67789 h 663706"/>
                    <a:gd name="connsiteX304" fmla="*/ 248151 w 560807"/>
                    <a:gd name="connsiteY304" fmla="*/ 67463 h 663706"/>
                    <a:gd name="connsiteX305" fmla="*/ 248917 w 560807"/>
                    <a:gd name="connsiteY305" fmla="*/ 66062 h 663706"/>
                    <a:gd name="connsiteX306" fmla="*/ 249594 w 560807"/>
                    <a:gd name="connsiteY306" fmla="*/ 63454 h 663706"/>
                    <a:gd name="connsiteX307" fmla="*/ 250262 w 560807"/>
                    <a:gd name="connsiteY307" fmla="*/ 62028 h 663706"/>
                    <a:gd name="connsiteX308" fmla="*/ 251916 w 560807"/>
                    <a:gd name="connsiteY308" fmla="*/ 61620 h 663706"/>
                    <a:gd name="connsiteX309" fmla="*/ 253253 w 560807"/>
                    <a:gd name="connsiteY309" fmla="*/ 62394 h 663706"/>
                    <a:gd name="connsiteX310" fmla="*/ 254027 w 560807"/>
                    <a:gd name="connsiteY310" fmla="*/ 63584 h 663706"/>
                    <a:gd name="connsiteX311" fmla="*/ 255462 w 560807"/>
                    <a:gd name="connsiteY311" fmla="*/ 67154 h 663706"/>
                    <a:gd name="connsiteX312" fmla="*/ 255853 w 560807"/>
                    <a:gd name="connsiteY312" fmla="*/ 68743 h 663706"/>
                    <a:gd name="connsiteX313" fmla="*/ 255698 w 560807"/>
                    <a:gd name="connsiteY313" fmla="*/ 70202 h 663706"/>
                    <a:gd name="connsiteX314" fmla="*/ 254989 w 560807"/>
                    <a:gd name="connsiteY314" fmla="*/ 71506 h 663706"/>
                    <a:gd name="connsiteX315" fmla="*/ 253587 w 560807"/>
                    <a:gd name="connsiteY315" fmla="*/ 72907 h 663706"/>
                    <a:gd name="connsiteX316" fmla="*/ 251501 w 560807"/>
                    <a:gd name="connsiteY316" fmla="*/ 74391 h 663706"/>
                    <a:gd name="connsiteX317" fmla="*/ 249855 w 560807"/>
                    <a:gd name="connsiteY317" fmla="*/ 76518 h 663706"/>
                    <a:gd name="connsiteX318" fmla="*/ 247842 w 560807"/>
                    <a:gd name="connsiteY318" fmla="*/ 81432 h 663706"/>
                    <a:gd name="connsiteX319" fmla="*/ 247100 w 560807"/>
                    <a:gd name="connsiteY319" fmla="*/ 84651 h 663706"/>
                    <a:gd name="connsiteX320" fmla="*/ 246896 w 560807"/>
                    <a:gd name="connsiteY320" fmla="*/ 86542 h 663706"/>
                    <a:gd name="connsiteX321" fmla="*/ 246986 w 560807"/>
                    <a:gd name="connsiteY321" fmla="*/ 88612 h 663706"/>
                    <a:gd name="connsiteX322" fmla="*/ 247369 w 560807"/>
                    <a:gd name="connsiteY322" fmla="*/ 90861 h 663706"/>
                    <a:gd name="connsiteX323" fmla="*/ 248159 w 560807"/>
                    <a:gd name="connsiteY323" fmla="*/ 92728 h 663706"/>
                    <a:gd name="connsiteX324" fmla="*/ 250026 w 560807"/>
                    <a:gd name="connsiteY324" fmla="*/ 95352 h 663706"/>
                    <a:gd name="connsiteX325" fmla="*/ 250132 w 560807"/>
                    <a:gd name="connsiteY325" fmla="*/ 96216 h 663706"/>
                    <a:gd name="connsiteX326" fmla="*/ 250270 w 560807"/>
                    <a:gd name="connsiteY326" fmla="*/ 98343 h 663706"/>
                    <a:gd name="connsiteX327" fmla="*/ 250099 w 560807"/>
                    <a:gd name="connsiteY327" fmla="*/ 99280 h 663706"/>
                    <a:gd name="connsiteX328" fmla="*/ 249015 w 560807"/>
                    <a:gd name="connsiteY328" fmla="*/ 101130 h 663706"/>
                    <a:gd name="connsiteX329" fmla="*/ 245992 w 560807"/>
                    <a:gd name="connsiteY329" fmla="*/ 102972 h 663706"/>
                    <a:gd name="connsiteX330" fmla="*/ 241843 w 560807"/>
                    <a:gd name="connsiteY330" fmla="*/ 103453 h 663706"/>
                    <a:gd name="connsiteX331" fmla="*/ 228290 w 560807"/>
                    <a:gd name="connsiteY331" fmla="*/ 103551 h 663706"/>
                    <a:gd name="connsiteX332" fmla="*/ 224680 w 560807"/>
                    <a:gd name="connsiteY332" fmla="*/ 103110 h 663706"/>
                    <a:gd name="connsiteX333" fmla="*/ 225544 w 560807"/>
                    <a:gd name="connsiteY333" fmla="*/ 104789 h 663706"/>
                    <a:gd name="connsiteX334" fmla="*/ 229342 w 560807"/>
                    <a:gd name="connsiteY334" fmla="*/ 105327 h 663706"/>
                    <a:gd name="connsiteX335" fmla="*/ 232805 w 560807"/>
                    <a:gd name="connsiteY335" fmla="*/ 105311 h 663706"/>
                    <a:gd name="connsiteX336" fmla="*/ 245731 w 560807"/>
                    <a:gd name="connsiteY336" fmla="*/ 106362 h 663706"/>
                    <a:gd name="connsiteX337" fmla="*/ 247516 w 560807"/>
                    <a:gd name="connsiteY337" fmla="*/ 107438 h 663706"/>
                    <a:gd name="connsiteX338" fmla="*/ 249015 w 560807"/>
                    <a:gd name="connsiteY338" fmla="*/ 109320 h 663706"/>
                    <a:gd name="connsiteX339" fmla="*/ 250083 w 560807"/>
                    <a:gd name="connsiteY339" fmla="*/ 111268 h 663706"/>
                    <a:gd name="connsiteX340" fmla="*/ 251142 w 560807"/>
                    <a:gd name="connsiteY340" fmla="*/ 115229 h 663706"/>
                    <a:gd name="connsiteX341" fmla="*/ 251338 w 560807"/>
                    <a:gd name="connsiteY341" fmla="*/ 117103 h 663706"/>
                    <a:gd name="connsiteX342" fmla="*/ 250775 w 560807"/>
                    <a:gd name="connsiteY342" fmla="*/ 119190 h 663706"/>
                    <a:gd name="connsiteX343" fmla="*/ 249439 w 560807"/>
                    <a:gd name="connsiteY343" fmla="*/ 121480 h 663706"/>
                    <a:gd name="connsiteX344" fmla="*/ 248542 w 560807"/>
                    <a:gd name="connsiteY344" fmla="*/ 124528 h 663706"/>
                    <a:gd name="connsiteX345" fmla="*/ 248086 w 560807"/>
                    <a:gd name="connsiteY345" fmla="*/ 128334 h 663706"/>
                    <a:gd name="connsiteX346" fmla="*/ 248803 w 560807"/>
                    <a:gd name="connsiteY346" fmla="*/ 130347 h 663706"/>
                    <a:gd name="connsiteX347" fmla="*/ 255796 w 560807"/>
                    <a:gd name="connsiteY347" fmla="*/ 130510 h 663706"/>
                    <a:gd name="connsiteX348" fmla="*/ 257181 w 560807"/>
                    <a:gd name="connsiteY348" fmla="*/ 131879 h 663706"/>
                    <a:gd name="connsiteX349" fmla="*/ 257018 w 560807"/>
                    <a:gd name="connsiteY349" fmla="*/ 132898 h 663706"/>
                    <a:gd name="connsiteX350" fmla="*/ 254541 w 560807"/>
                    <a:gd name="connsiteY350" fmla="*/ 136753 h 663706"/>
                    <a:gd name="connsiteX351" fmla="*/ 254304 w 560807"/>
                    <a:gd name="connsiteY351" fmla="*/ 137845 h 663706"/>
                    <a:gd name="connsiteX352" fmla="*/ 255437 w 560807"/>
                    <a:gd name="connsiteY352" fmla="*/ 140436 h 663706"/>
                    <a:gd name="connsiteX353" fmla="*/ 255282 w 560807"/>
                    <a:gd name="connsiteY353" fmla="*/ 141170 h 663706"/>
                    <a:gd name="connsiteX354" fmla="*/ 254598 w 560807"/>
                    <a:gd name="connsiteY354" fmla="*/ 141928 h 663706"/>
                    <a:gd name="connsiteX355" fmla="*/ 253937 w 560807"/>
                    <a:gd name="connsiteY355" fmla="*/ 143875 h 663706"/>
                    <a:gd name="connsiteX356" fmla="*/ 253310 w 560807"/>
                    <a:gd name="connsiteY356" fmla="*/ 147013 h 663706"/>
                    <a:gd name="connsiteX357" fmla="*/ 252520 w 560807"/>
                    <a:gd name="connsiteY357" fmla="*/ 149042 h 663706"/>
                    <a:gd name="connsiteX358" fmla="*/ 250621 w 560807"/>
                    <a:gd name="connsiteY358" fmla="*/ 150607 h 663706"/>
                    <a:gd name="connsiteX359" fmla="*/ 249618 w 560807"/>
                    <a:gd name="connsiteY359" fmla="*/ 150949 h 663706"/>
                    <a:gd name="connsiteX360" fmla="*/ 248909 w 560807"/>
                    <a:gd name="connsiteY360" fmla="*/ 150542 h 663706"/>
                    <a:gd name="connsiteX361" fmla="*/ 247035 w 560807"/>
                    <a:gd name="connsiteY361" fmla="*/ 146263 h 663706"/>
                    <a:gd name="connsiteX362" fmla="*/ 246261 w 560807"/>
                    <a:gd name="connsiteY362" fmla="*/ 145636 h 663706"/>
                    <a:gd name="connsiteX363" fmla="*/ 245527 w 560807"/>
                    <a:gd name="connsiteY363" fmla="*/ 146027 h 663706"/>
                    <a:gd name="connsiteX364" fmla="*/ 245160 w 560807"/>
                    <a:gd name="connsiteY364" fmla="*/ 146695 h 663706"/>
                    <a:gd name="connsiteX365" fmla="*/ 245160 w 560807"/>
                    <a:gd name="connsiteY365" fmla="*/ 147616 h 663706"/>
                    <a:gd name="connsiteX366" fmla="*/ 244834 w 560807"/>
                    <a:gd name="connsiteY366" fmla="*/ 148578 h 663706"/>
                    <a:gd name="connsiteX367" fmla="*/ 244191 w 560807"/>
                    <a:gd name="connsiteY367" fmla="*/ 149564 h 663706"/>
                    <a:gd name="connsiteX368" fmla="*/ 241428 w 560807"/>
                    <a:gd name="connsiteY368" fmla="*/ 151129 h 663706"/>
                    <a:gd name="connsiteX369" fmla="*/ 236945 w 560807"/>
                    <a:gd name="connsiteY369" fmla="*/ 152188 h 663706"/>
                    <a:gd name="connsiteX370" fmla="*/ 237084 w 560807"/>
                    <a:gd name="connsiteY370" fmla="*/ 153329 h 663706"/>
                    <a:gd name="connsiteX371" fmla="*/ 240091 w 560807"/>
                    <a:gd name="connsiteY371" fmla="*/ 153940 h 663706"/>
                    <a:gd name="connsiteX372" fmla="*/ 243922 w 560807"/>
                    <a:gd name="connsiteY372" fmla="*/ 155839 h 663706"/>
                    <a:gd name="connsiteX373" fmla="*/ 246122 w 560807"/>
                    <a:gd name="connsiteY373" fmla="*/ 156141 h 663706"/>
                    <a:gd name="connsiteX374" fmla="*/ 249578 w 560807"/>
                    <a:gd name="connsiteY374" fmla="*/ 154600 h 663706"/>
                    <a:gd name="connsiteX375" fmla="*/ 256236 w 560807"/>
                    <a:gd name="connsiteY375" fmla="*/ 149776 h 663706"/>
                    <a:gd name="connsiteX376" fmla="*/ 258982 w 560807"/>
                    <a:gd name="connsiteY376" fmla="*/ 148464 h 663706"/>
                    <a:gd name="connsiteX377" fmla="*/ 261403 w 560807"/>
                    <a:gd name="connsiteY377" fmla="*/ 147958 h 663706"/>
                    <a:gd name="connsiteX378" fmla="*/ 264125 w 560807"/>
                    <a:gd name="connsiteY378" fmla="*/ 147893 h 663706"/>
                    <a:gd name="connsiteX379" fmla="*/ 267156 w 560807"/>
                    <a:gd name="connsiteY379" fmla="*/ 148268 h 663706"/>
                    <a:gd name="connsiteX380" fmla="*/ 273187 w 560807"/>
                    <a:gd name="connsiteY380" fmla="*/ 147649 h 663706"/>
                    <a:gd name="connsiteX381" fmla="*/ 274703 w 560807"/>
                    <a:gd name="connsiteY381" fmla="*/ 148105 h 663706"/>
                    <a:gd name="connsiteX382" fmla="*/ 276545 w 560807"/>
                    <a:gd name="connsiteY382" fmla="*/ 149173 h 663706"/>
                    <a:gd name="connsiteX383" fmla="*/ 278729 w 560807"/>
                    <a:gd name="connsiteY383" fmla="*/ 150852 h 663706"/>
                    <a:gd name="connsiteX384" fmla="*/ 280237 w 560807"/>
                    <a:gd name="connsiteY384" fmla="*/ 152465 h 663706"/>
                    <a:gd name="connsiteX385" fmla="*/ 281060 w 560807"/>
                    <a:gd name="connsiteY385" fmla="*/ 154005 h 663706"/>
                    <a:gd name="connsiteX386" fmla="*/ 282421 w 560807"/>
                    <a:gd name="connsiteY386" fmla="*/ 159841 h 663706"/>
                    <a:gd name="connsiteX387" fmla="*/ 284247 w 560807"/>
                    <a:gd name="connsiteY387" fmla="*/ 161373 h 663706"/>
                    <a:gd name="connsiteX388" fmla="*/ 284687 w 560807"/>
                    <a:gd name="connsiteY388" fmla="*/ 162489 h 663706"/>
                    <a:gd name="connsiteX389" fmla="*/ 284833 w 560807"/>
                    <a:gd name="connsiteY389" fmla="*/ 164201 h 663706"/>
                    <a:gd name="connsiteX390" fmla="*/ 284727 w 560807"/>
                    <a:gd name="connsiteY390" fmla="*/ 167559 h 663706"/>
                    <a:gd name="connsiteX391" fmla="*/ 282714 w 560807"/>
                    <a:gd name="connsiteY391" fmla="*/ 174331 h 663706"/>
                    <a:gd name="connsiteX392" fmla="*/ 281679 w 560807"/>
                    <a:gd name="connsiteY392" fmla="*/ 176825 h 663706"/>
                    <a:gd name="connsiteX393" fmla="*/ 278908 w 560807"/>
                    <a:gd name="connsiteY393" fmla="*/ 180231 h 663706"/>
                    <a:gd name="connsiteX394" fmla="*/ 275722 w 560807"/>
                    <a:gd name="connsiteY394" fmla="*/ 181772 h 663706"/>
                    <a:gd name="connsiteX395" fmla="*/ 270041 w 560807"/>
                    <a:gd name="connsiteY395" fmla="*/ 183222 h 663706"/>
                    <a:gd name="connsiteX396" fmla="*/ 267075 w 560807"/>
                    <a:gd name="connsiteY396" fmla="*/ 184437 h 663706"/>
                    <a:gd name="connsiteX397" fmla="*/ 264842 w 560807"/>
                    <a:gd name="connsiteY397" fmla="*/ 186107 h 663706"/>
                    <a:gd name="connsiteX398" fmla="*/ 264712 w 560807"/>
                    <a:gd name="connsiteY398" fmla="*/ 187028 h 663706"/>
                    <a:gd name="connsiteX399" fmla="*/ 271158 w 560807"/>
                    <a:gd name="connsiteY399" fmla="*/ 184160 h 663706"/>
                    <a:gd name="connsiteX400" fmla="*/ 278248 w 560807"/>
                    <a:gd name="connsiteY400" fmla="*/ 182758 h 663706"/>
                    <a:gd name="connsiteX401" fmla="*/ 280269 w 560807"/>
                    <a:gd name="connsiteY401" fmla="*/ 181193 h 663706"/>
                    <a:gd name="connsiteX402" fmla="*/ 281801 w 560807"/>
                    <a:gd name="connsiteY402" fmla="*/ 179661 h 663706"/>
                    <a:gd name="connsiteX403" fmla="*/ 283350 w 560807"/>
                    <a:gd name="connsiteY403" fmla="*/ 176254 h 663706"/>
                    <a:gd name="connsiteX404" fmla="*/ 286170 w 560807"/>
                    <a:gd name="connsiteY404" fmla="*/ 167428 h 663706"/>
                    <a:gd name="connsiteX405" fmla="*/ 287775 w 560807"/>
                    <a:gd name="connsiteY405" fmla="*/ 164649 h 663706"/>
                    <a:gd name="connsiteX406" fmla="*/ 290008 w 560807"/>
                    <a:gd name="connsiteY406" fmla="*/ 164176 h 663706"/>
                    <a:gd name="connsiteX407" fmla="*/ 290994 w 560807"/>
                    <a:gd name="connsiteY407" fmla="*/ 165122 h 663706"/>
                    <a:gd name="connsiteX408" fmla="*/ 293309 w 560807"/>
                    <a:gd name="connsiteY408" fmla="*/ 170305 h 663706"/>
                    <a:gd name="connsiteX409" fmla="*/ 293301 w 560807"/>
                    <a:gd name="connsiteY409" fmla="*/ 171625 h 663706"/>
                    <a:gd name="connsiteX410" fmla="*/ 292722 w 560807"/>
                    <a:gd name="connsiteY410" fmla="*/ 172750 h 663706"/>
                    <a:gd name="connsiteX411" fmla="*/ 288949 w 560807"/>
                    <a:gd name="connsiteY411" fmla="*/ 177778 h 663706"/>
                    <a:gd name="connsiteX412" fmla="*/ 290310 w 560807"/>
                    <a:gd name="connsiteY412" fmla="*/ 177273 h 663706"/>
                    <a:gd name="connsiteX413" fmla="*/ 294108 w 560807"/>
                    <a:gd name="connsiteY413" fmla="*/ 172538 h 663706"/>
                    <a:gd name="connsiteX414" fmla="*/ 294923 w 560807"/>
                    <a:gd name="connsiteY414" fmla="*/ 171063 h 663706"/>
                    <a:gd name="connsiteX415" fmla="*/ 295371 w 560807"/>
                    <a:gd name="connsiteY415" fmla="*/ 168895 h 663706"/>
                    <a:gd name="connsiteX416" fmla="*/ 296593 w 560807"/>
                    <a:gd name="connsiteY416" fmla="*/ 167363 h 663706"/>
                    <a:gd name="connsiteX417" fmla="*/ 297066 w 560807"/>
                    <a:gd name="connsiteY417" fmla="*/ 168113 h 663706"/>
                    <a:gd name="connsiteX418" fmla="*/ 298248 w 560807"/>
                    <a:gd name="connsiteY418" fmla="*/ 173671 h 663706"/>
                    <a:gd name="connsiteX419" fmla="*/ 298280 w 560807"/>
                    <a:gd name="connsiteY419" fmla="*/ 177737 h 663706"/>
                    <a:gd name="connsiteX420" fmla="*/ 298468 w 560807"/>
                    <a:gd name="connsiteY420" fmla="*/ 179033 h 663706"/>
                    <a:gd name="connsiteX421" fmla="*/ 298044 w 560807"/>
                    <a:gd name="connsiteY421" fmla="*/ 182880 h 663706"/>
                    <a:gd name="connsiteX422" fmla="*/ 298525 w 560807"/>
                    <a:gd name="connsiteY422" fmla="*/ 183573 h 663706"/>
                    <a:gd name="connsiteX423" fmla="*/ 299666 w 560807"/>
                    <a:gd name="connsiteY423" fmla="*/ 180240 h 663706"/>
                    <a:gd name="connsiteX424" fmla="*/ 300041 w 560807"/>
                    <a:gd name="connsiteY424" fmla="*/ 177729 h 663706"/>
                    <a:gd name="connsiteX425" fmla="*/ 300554 w 560807"/>
                    <a:gd name="connsiteY425" fmla="*/ 175928 h 663706"/>
                    <a:gd name="connsiteX426" fmla="*/ 301222 w 560807"/>
                    <a:gd name="connsiteY426" fmla="*/ 174861 h 663706"/>
                    <a:gd name="connsiteX427" fmla="*/ 305868 w 560807"/>
                    <a:gd name="connsiteY427" fmla="*/ 171462 h 663706"/>
                    <a:gd name="connsiteX428" fmla="*/ 311303 w 560807"/>
                    <a:gd name="connsiteY428" fmla="*/ 168699 h 663706"/>
                    <a:gd name="connsiteX429" fmla="*/ 314865 w 560807"/>
                    <a:gd name="connsiteY429" fmla="*/ 166246 h 663706"/>
                    <a:gd name="connsiteX430" fmla="*/ 317815 w 560807"/>
                    <a:gd name="connsiteY430" fmla="*/ 165065 h 663706"/>
                    <a:gd name="connsiteX431" fmla="*/ 322232 w 560807"/>
                    <a:gd name="connsiteY431" fmla="*/ 163964 h 663706"/>
                    <a:gd name="connsiteX432" fmla="*/ 325068 w 560807"/>
                    <a:gd name="connsiteY432" fmla="*/ 161683 h 663706"/>
                    <a:gd name="connsiteX433" fmla="*/ 326315 w 560807"/>
                    <a:gd name="connsiteY433" fmla="*/ 158227 h 663706"/>
                    <a:gd name="connsiteX434" fmla="*/ 327375 w 560807"/>
                    <a:gd name="connsiteY434" fmla="*/ 155839 h 663706"/>
                    <a:gd name="connsiteX435" fmla="*/ 328247 w 560807"/>
                    <a:gd name="connsiteY435" fmla="*/ 154519 h 663706"/>
                    <a:gd name="connsiteX436" fmla="*/ 331156 w 560807"/>
                    <a:gd name="connsiteY436" fmla="*/ 152139 h 663706"/>
                    <a:gd name="connsiteX437" fmla="*/ 332737 w 560807"/>
                    <a:gd name="connsiteY437" fmla="*/ 152009 h 663706"/>
                    <a:gd name="connsiteX438" fmla="*/ 334253 w 560807"/>
                    <a:gd name="connsiteY438" fmla="*/ 152889 h 663706"/>
                    <a:gd name="connsiteX439" fmla="*/ 335973 w 560807"/>
                    <a:gd name="connsiteY439" fmla="*/ 154666 h 663706"/>
                    <a:gd name="connsiteX440" fmla="*/ 337888 w 560807"/>
                    <a:gd name="connsiteY440" fmla="*/ 157347 h 663706"/>
                    <a:gd name="connsiteX441" fmla="*/ 339037 w 560807"/>
                    <a:gd name="connsiteY441" fmla="*/ 159449 h 663706"/>
                    <a:gd name="connsiteX442" fmla="*/ 339420 w 560807"/>
                    <a:gd name="connsiteY442" fmla="*/ 160982 h 663706"/>
                    <a:gd name="connsiteX443" fmla="*/ 339730 w 560807"/>
                    <a:gd name="connsiteY443" fmla="*/ 166336 h 663706"/>
                    <a:gd name="connsiteX444" fmla="*/ 340088 w 560807"/>
                    <a:gd name="connsiteY444" fmla="*/ 166312 h 663706"/>
                    <a:gd name="connsiteX445" fmla="*/ 341857 w 560807"/>
                    <a:gd name="connsiteY445" fmla="*/ 162229 h 663706"/>
                    <a:gd name="connsiteX446" fmla="*/ 342061 w 560807"/>
                    <a:gd name="connsiteY446" fmla="*/ 160778 h 663706"/>
                    <a:gd name="connsiteX447" fmla="*/ 341930 w 560807"/>
                    <a:gd name="connsiteY447" fmla="*/ 159246 h 663706"/>
                    <a:gd name="connsiteX448" fmla="*/ 341392 w 560807"/>
                    <a:gd name="connsiteY448" fmla="*/ 157714 h 663706"/>
                    <a:gd name="connsiteX449" fmla="*/ 339616 w 560807"/>
                    <a:gd name="connsiteY449" fmla="*/ 154364 h 663706"/>
                    <a:gd name="connsiteX450" fmla="*/ 338923 w 560807"/>
                    <a:gd name="connsiteY450" fmla="*/ 152270 h 663706"/>
                    <a:gd name="connsiteX451" fmla="*/ 339078 w 560807"/>
                    <a:gd name="connsiteY451" fmla="*/ 150974 h 663706"/>
                    <a:gd name="connsiteX452" fmla="*/ 340960 w 560807"/>
                    <a:gd name="connsiteY452" fmla="*/ 150248 h 663706"/>
                    <a:gd name="connsiteX453" fmla="*/ 343740 w 560807"/>
                    <a:gd name="connsiteY453" fmla="*/ 149955 h 663706"/>
                    <a:gd name="connsiteX454" fmla="*/ 344212 w 560807"/>
                    <a:gd name="connsiteY454" fmla="*/ 149409 h 663706"/>
                    <a:gd name="connsiteX455" fmla="*/ 342158 w 560807"/>
                    <a:gd name="connsiteY455" fmla="*/ 148024 h 663706"/>
                    <a:gd name="connsiteX456" fmla="*/ 342102 w 560807"/>
                    <a:gd name="connsiteY456" fmla="*/ 147274 h 663706"/>
                    <a:gd name="connsiteX457" fmla="*/ 344066 w 560807"/>
                    <a:gd name="connsiteY457" fmla="*/ 144813 h 663706"/>
                    <a:gd name="connsiteX458" fmla="*/ 345223 w 560807"/>
                    <a:gd name="connsiteY458" fmla="*/ 144674 h 663706"/>
                    <a:gd name="connsiteX459" fmla="*/ 347488 w 560807"/>
                    <a:gd name="connsiteY459" fmla="*/ 145065 h 663706"/>
                    <a:gd name="connsiteX460" fmla="*/ 347032 w 560807"/>
                    <a:gd name="connsiteY460" fmla="*/ 143802 h 663706"/>
                    <a:gd name="connsiteX461" fmla="*/ 347057 w 560807"/>
                    <a:gd name="connsiteY461" fmla="*/ 142963 h 663706"/>
                    <a:gd name="connsiteX462" fmla="*/ 347692 w 560807"/>
                    <a:gd name="connsiteY462" fmla="*/ 142637 h 663706"/>
                    <a:gd name="connsiteX463" fmla="*/ 351449 w 560807"/>
                    <a:gd name="connsiteY463" fmla="*/ 143443 h 663706"/>
                    <a:gd name="connsiteX464" fmla="*/ 351881 w 560807"/>
                    <a:gd name="connsiteY464" fmla="*/ 142474 h 663706"/>
                    <a:gd name="connsiteX465" fmla="*/ 355108 w 560807"/>
                    <a:gd name="connsiteY465" fmla="*/ 142384 h 663706"/>
                    <a:gd name="connsiteX466" fmla="*/ 355426 w 560807"/>
                    <a:gd name="connsiteY466" fmla="*/ 141520 h 663706"/>
                    <a:gd name="connsiteX467" fmla="*/ 352639 w 560807"/>
                    <a:gd name="connsiteY467" fmla="*/ 140298 h 663706"/>
                    <a:gd name="connsiteX468" fmla="*/ 349909 w 560807"/>
                    <a:gd name="connsiteY468" fmla="*/ 139532 h 663706"/>
                    <a:gd name="connsiteX469" fmla="*/ 349069 w 560807"/>
                    <a:gd name="connsiteY469" fmla="*/ 138855 h 663706"/>
                    <a:gd name="connsiteX470" fmla="*/ 348426 w 560807"/>
                    <a:gd name="connsiteY470" fmla="*/ 137861 h 663706"/>
                    <a:gd name="connsiteX471" fmla="*/ 347578 w 560807"/>
                    <a:gd name="connsiteY471" fmla="*/ 135465 h 663706"/>
                    <a:gd name="connsiteX472" fmla="*/ 347782 w 560807"/>
                    <a:gd name="connsiteY472" fmla="*/ 134829 h 663706"/>
                    <a:gd name="connsiteX473" fmla="*/ 348556 w 560807"/>
                    <a:gd name="connsiteY473" fmla="*/ 134821 h 663706"/>
                    <a:gd name="connsiteX474" fmla="*/ 349884 w 560807"/>
                    <a:gd name="connsiteY474" fmla="*/ 135481 h 663706"/>
                    <a:gd name="connsiteX475" fmla="*/ 350602 w 560807"/>
                    <a:gd name="connsiteY475" fmla="*/ 134218 h 663706"/>
                    <a:gd name="connsiteX476" fmla="*/ 351416 w 560807"/>
                    <a:gd name="connsiteY476" fmla="*/ 131260 h 663706"/>
                    <a:gd name="connsiteX477" fmla="*/ 352223 w 560807"/>
                    <a:gd name="connsiteY477" fmla="*/ 130037 h 663706"/>
                    <a:gd name="connsiteX478" fmla="*/ 354733 w 560807"/>
                    <a:gd name="connsiteY478" fmla="*/ 131447 h 663706"/>
                    <a:gd name="connsiteX479" fmla="*/ 354848 w 560807"/>
                    <a:gd name="connsiteY479" fmla="*/ 130844 h 663706"/>
                    <a:gd name="connsiteX480" fmla="*/ 352810 w 560807"/>
                    <a:gd name="connsiteY480" fmla="*/ 126182 h 663706"/>
                    <a:gd name="connsiteX481" fmla="*/ 353161 w 560807"/>
                    <a:gd name="connsiteY481" fmla="*/ 125286 h 663706"/>
                    <a:gd name="connsiteX482" fmla="*/ 356274 w 560807"/>
                    <a:gd name="connsiteY482" fmla="*/ 124944 h 663706"/>
                    <a:gd name="connsiteX483" fmla="*/ 358156 w 560807"/>
                    <a:gd name="connsiteY483" fmla="*/ 125522 h 663706"/>
                    <a:gd name="connsiteX484" fmla="*/ 363095 w 560807"/>
                    <a:gd name="connsiteY484" fmla="*/ 128945 h 663706"/>
                    <a:gd name="connsiteX485" fmla="*/ 363991 w 560807"/>
                    <a:gd name="connsiteY485" fmla="*/ 128562 h 663706"/>
                    <a:gd name="connsiteX486" fmla="*/ 363234 w 560807"/>
                    <a:gd name="connsiteY486" fmla="*/ 127625 h 663706"/>
                    <a:gd name="connsiteX487" fmla="*/ 360699 w 560807"/>
                    <a:gd name="connsiteY487" fmla="*/ 125604 h 663706"/>
                    <a:gd name="connsiteX488" fmla="*/ 358409 w 560807"/>
                    <a:gd name="connsiteY488" fmla="*/ 124283 h 663706"/>
                    <a:gd name="connsiteX489" fmla="*/ 356371 w 560807"/>
                    <a:gd name="connsiteY489" fmla="*/ 123664 h 663706"/>
                    <a:gd name="connsiteX490" fmla="*/ 354839 w 560807"/>
                    <a:gd name="connsiteY490" fmla="*/ 122539 h 663706"/>
                    <a:gd name="connsiteX491" fmla="*/ 353152 w 560807"/>
                    <a:gd name="connsiteY491" fmla="*/ 119467 h 663706"/>
                    <a:gd name="connsiteX492" fmla="*/ 352875 w 560807"/>
                    <a:gd name="connsiteY492" fmla="*/ 118196 h 663706"/>
                    <a:gd name="connsiteX493" fmla="*/ 353014 w 560807"/>
                    <a:gd name="connsiteY493" fmla="*/ 116541 h 663706"/>
                    <a:gd name="connsiteX494" fmla="*/ 354196 w 560807"/>
                    <a:gd name="connsiteY494" fmla="*/ 113110 h 663706"/>
                    <a:gd name="connsiteX495" fmla="*/ 354872 w 560807"/>
                    <a:gd name="connsiteY495" fmla="*/ 112369 h 663706"/>
                    <a:gd name="connsiteX496" fmla="*/ 356070 w 560807"/>
                    <a:gd name="connsiteY496" fmla="*/ 111814 h 663706"/>
                    <a:gd name="connsiteX497" fmla="*/ 357781 w 560807"/>
                    <a:gd name="connsiteY497" fmla="*/ 111456 h 663706"/>
                    <a:gd name="connsiteX498" fmla="*/ 359680 w 560807"/>
                    <a:gd name="connsiteY498" fmla="*/ 111798 h 663706"/>
                    <a:gd name="connsiteX499" fmla="*/ 363592 w 560807"/>
                    <a:gd name="connsiteY499" fmla="*/ 114056 h 663706"/>
                    <a:gd name="connsiteX500" fmla="*/ 364244 w 560807"/>
                    <a:gd name="connsiteY500" fmla="*/ 113346 h 663706"/>
                    <a:gd name="connsiteX501" fmla="*/ 362133 w 560807"/>
                    <a:gd name="connsiteY501" fmla="*/ 112116 h 663706"/>
                    <a:gd name="connsiteX502" fmla="*/ 360993 w 560807"/>
                    <a:gd name="connsiteY502" fmla="*/ 110975 h 663706"/>
                    <a:gd name="connsiteX503" fmla="*/ 360438 w 560807"/>
                    <a:gd name="connsiteY503" fmla="*/ 109524 h 663706"/>
                    <a:gd name="connsiteX504" fmla="*/ 360675 w 560807"/>
                    <a:gd name="connsiteY504" fmla="*/ 107870 h 663706"/>
                    <a:gd name="connsiteX505" fmla="*/ 362337 w 560807"/>
                    <a:gd name="connsiteY505" fmla="*/ 104471 h 663706"/>
                    <a:gd name="connsiteX506" fmla="*/ 363120 w 560807"/>
                    <a:gd name="connsiteY506" fmla="*/ 101725 h 663706"/>
                    <a:gd name="connsiteX507" fmla="*/ 366648 w 560807"/>
                    <a:gd name="connsiteY507" fmla="*/ 94138 h 663706"/>
                    <a:gd name="connsiteX508" fmla="*/ 367683 w 560807"/>
                    <a:gd name="connsiteY508" fmla="*/ 92760 h 663706"/>
                    <a:gd name="connsiteX509" fmla="*/ 368784 w 560807"/>
                    <a:gd name="connsiteY509" fmla="*/ 91880 h 663706"/>
                    <a:gd name="connsiteX510" fmla="*/ 369468 w 560807"/>
                    <a:gd name="connsiteY510" fmla="*/ 90967 h 663706"/>
                    <a:gd name="connsiteX511" fmla="*/ 372231 w 560807"/>
                    <a:gd name="connsiteY511" fmla="*/ 90772 h 663706"/>
                    <a:gd name="connsiteX512" fmla="*/ 374505 w 560807"/>
                    <a:gd name="connsiteY512" fmla="*/ 91978 h 663706"/>
                    <a:gd name="connsiteX513" fmla="*/ 369509 w 560807"/>
                    <a:gd name="connsiteY513" fmla="*/ 93518 h 663706"/>
                    <a:gd name="connsiteX514" fmla="*/ 368743 w 560807"/>
                    <a:gd name="connsiteY514" fmla="*/ 94195 h 663706"/>
                    <a:gd name="connsiteX515" fmla="*/ 368743 w 560807"/>
                    <a:gd name="connsiteY515" fmla="*/ 94700 h 663706"/>
                    <a:gd name="connsiteX516" fmla="*/ 370169 w 560807"/>
                    <a:gd name="connsiteY516" fmla="*/ 96379 h 663706"/>
                    <a:gd name="connsiteX517" fmla="*/ 373755 w 560807"/>
                    <a:gd name="connsiteY517" fmla="*/ 97764 h 663706"/>
                    <a:gd name="connsiteX518" fmla="*/ 374309 w 560807"/>
                    <a:gd name="connsiteY518" fmla="*/ 98571 h 663706"/>
                    <a:gd name="connsiteX519" fmla="*/ 373625 w 560807"/>
                    <a:gd name="connsiteY519" fmla="*/ 99818 h 663706"/>
                    <a:gd name="connsiteX520" fmla="*/ 372117 w 560807"/>
                    <a:gd name="connsiteY520" fmla="*/ 100576 h 663706"/>
                    <a:gd name="connsiteX521" fmla="*/ 370340 w 560807"/>
                    <a:gd name="connsiteY521" fmla="*/ 101668 h 663706"/>
                    <a:gd name="connsiteX522" fmla="*/ 367912 w 560807"/>
                    <a:gd name="connsiteY522" fmla="*/ 102230 h 663706"/>
                    <a:gd name="connsiteX523" fmla="*/ 367741 w 560807"/>
                    <a:gd name="connsiteY523" fmla="*/ 102801 h 663706"/>
                    <a:gd name="connsiteX524" fmla="*/ 368213 w 560807"/>
                    <a:gd name="connsiteY524" fmla="*/ 103860 h 663706"/>
                    <a:gd name="connsiteX525" fmla="*/ 369061 w 560807"/>
                    <a:gd name="connsiteY525" fmla="*/ 104773 h 663706"/>
                    <a:gd name="connsiteX526" fmla="*/ 372826 w 560807"/>
                    <a:gd name="connsiteY526" fmla="*/ 106484 h 663706"/>
                    <a:gd name="connsiteX527" fmla="*/ 373258 w 560807"/>
                    <a:gd name="connsiteY527" fmla="*/ 106892 h 663706"/>
                    <a:gd name="connsiteX528" fmla="*/ 373347 w 560807"/>
                    <a:gd name="connsiteY528" fmla="*/ 107340 h 663706"/>
                    <a:gd name="connsiteX529" fmla="*/ 373250 w 560807"/>
                    <a:gd name="connsiteY529" fmla="*/ 107976 h 663706"/>
                    <a:gd name="connsiteX530" fmla="*/ 370854 w 560807"/>
                    <a:gd name="connsiteY530" fmla="*/ 109630 h 663706"/>
                    <a:gd name="connsiteX531" fmla="*/ 370137 w 560807"/>
                    <a:gd name="connsiteY531" fmla="*/ 111562 h 663706"/>
                    <a:gd name="connsiteX532" fmla="*/ 369460 w 560807"/>
                    <a:gd name="connsiteY532" fmla="*/ 122515 h 663706"/>
                    <a:gd name="connsiteX533" fmla="*/ 370520 w 560807"/>
                    <a:gd name="connsiteY533" fmla="*/ 124577 h 663706"/>
                    <a:gd name="connsiteX534" fmla="*/ 372027 w 560807"/>
                    <a:gd name="connsiteY534" fmla="*/ 125449 h 663706"/>
                    <a:gd name="connsiteX535" fmla="*/ 378718 w 560807"/>
                    <a:gd name="connsiteY535" fmla="*/ 123004 h 663706"/>
                    <a:gd name="connsiteX536" fmla="*/ 380193 w 560807"/>
                    <a:gd name="connsiteY536" fmla="*/ 123526 h 663706"/>
                    <a:gd name="connsiteX537" fmla="*/ 380364 w 560807"/>
                    <a:gd name="connsiteY537" fmla="*/ 125107 h 663706"/>
                    <a:gd name="connsiteX538" fmla="*/ 379191 w 560807"/>
                    <a:gd name="connsiteY538" fmla="*/ 125848 h 663706"/>
                    <a:gd name="connsiteX539" fmla="*/ 377251 w 560807"/>
                    <a:gd name="connsiteY539" fmla="*/ 128081 h 663706"/>
                    <a:gd name="connsiteX540" fmla="*/ 376868 w 560807"/>
                    <a:gd name="connsiteY540" fmla="*/ 129776 h 663706"/>
                    <a:gd name="connsiteX541" fmla="*/ 376852 w 560807"/>
                    <a:gd name="connsiteY541" fmla="*/ 134927 h 663706"/>
                    <a:gd name="connsiteX542" fmla="*/ 377194 w 560807"/>
                    <a:gd name="connsiteY542" fmla="*/ 137307 h 663706"/>
                    <a:gd name="connsiteX543" fmla="*/ 377879 w 560807"/>
                    <a:gd name="connsiteY543" fmla="*/ 139271 h 663706"/>
                    <a:gd name="connsiteX544" fmla="*/ 378775 w 560807"/>
                    <a:gd name="connsiteY544" fmla="*/ 140265 h 663706"/>
                    <a:gd name="connsiteX545" fmla="*/ 381489 w 560807"/>
                    <a:gd name="connsiteY545" fmla="*/ 142139 h 663706"/>
                    <a:gd name="connsiteX546" fmla="*/ 381685 w 560807"/>
                    <a:gd name="connsiteY546" fmla="*/ 143077 h 663706"/>
                    <a:gd name="connsiteX547" fmla="*/ 380845 w 560807"/>
                    <a:gd name="connsiteY547" fmla="*/ 143786 h 663706"/>
                    <a:gd name="connsiteX548" fmla="*/ 379973 w 560807"/>
                    <a:gd name="connsiteY548" fmla="*/ 143924 h 663706"/>
                    <a:gd name="connsiteX549" fmla="*/ 370634 w 560807"/>
                    <a:gd name="connsiteY549" fmla="*/ 141936 h 663706"/>
                    <a:gd name="connsiteX550" fmla="*/ 369851 w 560807"/>
                    <a:gd name="connsiteY550" fmla="*/ 142270 h 663706"/>
                    <a:gd name="connsiteX551" fmla="*/ 369077 w 560807"/>
                    <a:gd name="connsiteY551" fmla="*/ 143069 h 663706"/>
                    <a:gd name="connsiteX552" fmla="*/ 368621 w 560807"/>
                    <a:gd name="connsiteY552" fmla="*/ 144511 h 663706"/>
                    <a:gd name="connsiteX553" fmla="*/ 368694 w 560807"/>
                    <a:gd name="connsiteY553" fmla="*/ 145872 h 663706"/>
                    <a:gd name="connsiteX554" fmla="*/ 369680 w 560807"/>
                    <a:gd name="connsiteY554" fmla="*/ 146654 h 663706"/>
                    <a:gd name="connsiteX555" fmla="*/ 374415 w 560807"/>
                    <a:gd name="connsiteY555" fmla="*/ 147363 h 663706"/>
                    <a:gd name="connsiteX556" fmla="*/ 382443 w 560807"/>
                    <a:gd name="connsiteY556" fmla="*/ 149156 h 663706"/>
                    <a:gd name="connsiteX557" fmla="*/ 383901 w 560807"/>
                    <a:gd name="connsiteY557" fmla="*/ 152318 h 663706"/>
                    <a:gd name="connsiteX558" fmla="*/ 384985 w 560807"/>
                    <a:gd name="connsiteY558" fmla="*/ 152995 h 663706"/>
                    <a:gd name="connsiteX559" fmla="*/ 385890 w 560807"/>
                    <a:gd name="connsiteY559" fmla="*/ 152930 h 663706"/>
                    <a:gd name="connsiteX560" fmla="*/ 389973 w 560807"/>
                    <a:gd name="connsiteY560" fmla="*/ 151332 h 663706"/>
                    <a:gd name="connsiteX561" fmla="*/ 396509 w 560807"/>
                    <a:gd name="connsiteY561" fmla="*/ 149336 h 663706"/>
                    <a:gd name="connsiteX562" fmla="*/ 398033 w 560807"/>
                    <a:gd name="connsiteY562" fmla="*/ 149654 h 663706"/>
                    <a:gd name="connsiteX563" fmla="*/ 399875 w 560807"/>
                    <a:gd name="connsiteY563" fmla="*/ 150599 h 663706"/>
                    <a:gd name="connsiteX564" fmla="*/ 401277 w 560807"/>
                    <a:gd name="connsiteY564" fmla="*/ 151813 h 663706"/>
                    <a:gd name="connsiteX565" fmla="*/ 402051 w 560807"/>
                    <a:gd name="connsiteY565" fmla="*/ 152930 h 663706"/>
                    <a:gd name="connsiteX566" fmla="*/ 402230 w 560807"/>
                    <a:gd name="connsiteY566" fmla="*/ 153606 h 663706"/>
                    <a:gd name="connsiteX567" fmla="*/ 402002 w 560807"/>
                    <a:gd name="connsiteY567" fmla="*/ 154005 h 663706"/>
                    <a:gd name="connsiteX568" fmla="*/ 400828 w 560807"/>
                    <a:gd name="connsiteY568" fmla="*/ 154470 h 663706"/>
                    <a:gd name="connsiteX569" fmla="*/ 390723 w 560807"/>
                    <a:gd name="connsiteY569" fmla="*/ 156336 h 663706"/>
                    <a:gd name="connsiteX570" fmla="*/ 388962 w 560807"/>
                    <a:gd name="connsiteY570" fmla="*/ 157045 h 663706"/>
                    <a:gd name="connsiteX571" fmla="*/ 387984 w 560807"/>
                    <a:gd name="connsiteY571" fmla="*/ 158015 h 663706"/>
                    <a:gd name="connsiteX572" fmla="*/ 387634 w 560807"/>
                    <a:gd name="connsiteY572" fmla="*/ 158822 h 663706"/>
                    <a:gd name="connsiteX573" fmla="*/ 387618 w 560807"/>
                    <a:gd name="connsiteY573" fmla="*/ 159678 h 663706"/>
                    <a:gd name="connsiteX574" fmla="*/ 388196 w 560807"/>
                    <a:gd name="connsiteY574" fmla="*/ 161430 h 663706"/>
                    <a:gd name="connsiteX575" fmla="*/ 388783 w 560807"/>
                    <a:gd name="connsiteY575" fmla="*/ 161829 h 663706"/>
                    <a:gd name="connsiteX576" fmla="*/ 392662 w 560807"/>
                    <a:gd name="connsiteY576" fmla="*/ 161414 h 663706"/>
                    <a:gd name="connsiteX577" fmla="*/ 393689 w 560807"/>
                    <a:gd name="connsiteY577" fmla="*/ 163386 h 663706"/>
                    <a:gd name="connsiteX578" fmla="*/ 393779 w 560807"/>
                    <a:gd name="connsiteY578" fmla="*/ 164274 h 663706"/>
                    <a:gd name="connsiteX579" fmla="*/ 393502 w 560807"/>
                    <a:gd name="connsiteY579" fmla="*/ 165171 h 663706"/>
                    <a:gd name="connsiteX580" fmla="*/ 389174 w 560807"/>
                    <a:gd name="connsiteY580" fmla="*/ 167567 h 663706"/>
                    <a:gd name="connsiteX581" fmla="*/ 387308 w 560807"/>
                    <a:gd name="connsiteY581" fmla="*/ 169123 h 663706"/>
                    <a:gd name="connsiteX582" fmla="*/ 380519 w 560807"/>
                    <a:gd name="connsiteY582" fmla="*/ 176572 h 663706"/>
                    <a:gd name="connsiteX583" fmla="*/ 379949 w 560807"/>
                    <a:gd name="connsiteY583" fmla="*/ 177558 h 663706"/>
                    <a:gd name="connsiteX584" fmla="*/ 379802 w 560807"/>
                    <a:gd name="connsiteY584" fmla="*/ 178455 h 663706"/>
                    <a:gd name="connsiteX585" fmla="*/ 380136 w 560807"/>
                    <a:gd name="connsiteY585" fmla="*/ 179343 h 663706"/>
                    <a:gd name="connsiteX586" fmla="*/ 384113 w 560807"/>
                    <a:gd name="connsiteY586" fmla="*/ 182521 h 663706"/>
                    <a:gd name="connsiteX587" fmla="*/ 386420 w 560807"/>
                    <a:gd name="connsiteY587" fmla="*/ 188079 h 663706"/>
                    <a:gd name="connsiteX588" fmla="*/ 387781 w 560807"/>
                    <a:gd name="connsiteY588" fmla="*/ 190541 h 663706"/>
                    <a:gd name="connsiteX589" fmla="*/ 388604 w 560807"/>
                    <a:gd name="connsiteY589" fmla="*/ 191608 h 663706"/>
                    <a:gd name="connsiteX590" fmla="*/ 390079 w 560807"/>
                    <a:gd name="connsiteY590" fmla="*/ 190916 h 663706"/>
                    <a:gd name="connsiteX591" fmla="*/ 390690 w 560807"/>
                    <a:gd name="connsiteY591" fmla="*/ 190965 h 663706"/>
                    <a:gd name="connsiteX592" fmla="*/ 391676 w 560807"/>
                    <a:gd name="connsiteY592" fmla="*/ 191682 h 663706"/>
                    <a:gd name="connsiteX593" fmla="*/ 392907 w 560807"/>
                    <a:gd name="connsiteY593" fmla="*/ 193719 h 663706"/>
                    <a:gd name="connsiteX594" fmla="*/ 393657 w 560807"/>
                    <a:gd name="connsiteY594" fmla="*/ 194404 h 663706"/>
                    <a:gd name="connsiteX595" fmla="*/ 394855 w 560807"/>
                    <a:gd name="connsiteY595" fmla="*/ 194697 h 663706"/>
                    <a:gd name="connsiteX596" fmla="*/ 396786 w 560807"/>
                    <a:gd name="connsiteY596" fmla="*/ 195088 h 663706"/>
                    <a:gd name="connsiteX597" fmla="*/ 399215 w 560807"/>
                    <a:gd name="connsiteY597" fmla="*/ 193898 h 663706"/>
                    <a:gd name="connsiteX598" fmla="*/ 399622 w 560807"/>
                    <a:gd name="connsiteY598" fmla="*/ 194021 h 663706"/>
                    <a:gd name="connsiteX599" fmla="*/ 399696 w 560807"/>
                    <a:gd name="connsiteY599" fmla="*/ 195219 h 663706"/>
                    <a:gd name="connsiteX600" fmla="*/ 399288 w 560807"/>
                    <a:gd name="connsiteY600" fmla="*/ 196123 h 663706"/>
                    <a:gd name="connsiteX601" fmla="*/ 396085 w 560807"/>
                    <a:gd name="connsiteY601" fmla="*/ 199563 h 663706"/>
                    <a:gd name="connsiteX602" fmla="*/ 395718 w 560807"/>
                    <a:gd name="connsiteY602" fmla="*/ 200655 h 663706"/>
                    <a:gd name="connsiteX603" fmla="*/ 395645 w 560807"/>
                    <a:gd name="connsiteY603" fmla="*/ 202211 h 663706"/>
                    <a:gd name="connsiteX604" fmla="*/ 396134 w 560807"/>
                    <a:gd name="connsiteY604" fmla="*/ 206783 h 663706"/>
                    <a:gd name="connsiteX605" fmla="*/ 394700 w 560807"/>
                    <a:gd name="connsiteY605" fmla="*/ 209774 h 663706"/>
                    <a:gd name="connsiteX606" fmla="*/ 394871 w 560807"/>
                    <a:gd name="connsiteY606" fmla="*/ 211323 h 663706"/>
                    <a:gd name="connsiteX607" fmla="*/ 395694 w 560807"/>
                    <a:gd name="connsiteY607" fmla="*/ 212806 h 663706"/>
                    <a:gd name="connsiteX608" fmla="*/ 395743 w 560807"/>
                    <a:gd name="connsiteY608" fmla="*/ 213319 h 663706"/>
                    <a:gd name="connsiteX609" fmla="*/ 394903 w 560807"/>
                    <a:gd name="connsiteY609" fmla="*/ 217117 h 663706"/>
                    <a:gd name="connsiteX610" fmla="*/ 393812 w 560807"/>
                    <a:gd name="connsiteY610" fmla="*/ 218926 h 663706"/>
                    <a:gd name="connsiteX611" fmla="*/ 392809 w 560807"/>
                    <a:gd name="connsiteY611" fmla="*/ 221257 h 663706"/>
                    <a:gd name="connsiteX612" fmla="*/ 392133 w 560807"/>
                    <a:gd name="connsiteY612" fmla="*/ 226432 h 663706"/>
                    <a:gd name="connsiteX613" fmla="*/ 390967 w 560807"/>
                    <a:gd name="connsiteY613" fmla="*/ 227435 h 663706"/>
                    <a:gd name="connsiteX614" fmla="*/ 389647 w 560807"/>
                    <a:gd name="connsiteY614" fmla="*/ 229097 h 663706"/>
                    <a:gd name="connsiteX615" fmla="*/ 388979 w 560807"/>
                    <a:gd name="connsiteY615" fmla="*/ 230393 h 663706"/>
                    <a:gd name="connsiteX616" fmla="*/ 387235 w 560807"/>
                    <a:gd name="connsiteY616" fmla="*/ 232300 h 663706"/>
                    <a:gd name="connsiteX617" fmla="*/ 386868 w 560807"/>
                    <a:gd name="connsiteY617" fmla="*/ 233474 h 663706"/>
                    <a:gd name="connsiteX618" fmla="*/ 386958 w 560807"/>
                    <a:gd name="connsiteY618" fmla="*/ 234117 h 663706"/>
                    <a:gd name="connsiteX619" fmla="*/ 390853 w 560807"/>
                    <a:gd name="connsiteY619" fmla="*/ 240450 h 663706"/>
                    <a:gd name="connsiteX620" fmla="*/ 391587 w 560807"/>
                    <a:gd name="connsiteY620" fmla="*/ 242438 h 663706"/>
                    <a:gd name="connsiteX621" fmla="*/ 390853 w 560807"/>
                    <a:gd name="connsiteY621" fmla="*/ 243848 h 663706"/>
                    <a:gd name="connsiteX622" fmla="*/ 388433 w 560807"/>
                    <a:gd name="connsiteY622" fmla="*/ 244199 h 663706"/>
                    <a:gd name="connsiteX623" fmla="*/ 386363 w 560807"/>
                    <a:gd name="connsiteY623" fmla="*/ 245560 h 663706"/>
                    <a:gd name="connsiteX624" fmla="*/ 386794 w 560807"/>
                    <a:gd name="connsiteY624" fmla="*/ 247882 h 663706"/>
                    <a:gd name="connsiteX625" fmla="*/ 386721 w 560807"/>
                    <a:gd name="connsiteY625" fmla="*/ 249235 h 663706"/>
                    <a:gd name="connsiteX626" fmla="*/ 386884 w 560807"/>
                    <a:gd name="connsiteY626" fmla="*/ 249643 h 663706"/>
                    <a:gd name="connsiteX627" fmla="*/ 387667 w 560807"/>
                    <a:gd name="connsiteY627" fmla="*/ 250156 h 663706"/>
                    <a:gd name="connsiteX628" fmla="*/ 391904 w 560807"/>
                    <a:gd name="connsiteY628" fmla="*/ 251941 h 663706"/>
                    <a:gd name="connsiteX629" fmla="*/ 392238 w 560807"/>
                    <a:gd name="connsiteY629" fmla="*/ 252585 h 663706"/>
                    <a:gd name="connsiteX630" fmla="*/ 389949 w 560807"/>
                    <a:gd name="connsiteY630" fmla="*/ 255193 h 663706"/>
                    <a:gd name="connsiteX631" fmla="*/ 389639 w 560807"/>
                    <a:gd name="connsiteY631" fmla="*/ 257002 h 663706"/>
                    <a:gd name="connsiteX632" fmla="*/ 390519 w 560807"/>
                    <a:gd name="connsiteY632" fmla="*/ 257108 h 663706"/>
                    <a:gd name="connsiteX633" fmla="*/ 392565 w 560807"/>
                    <a:gd name="connsiteY633" fmla="*/ 257352 h 663706"/>
                    <a:gd name="connsiteX634" fmla="*/ 393795 w 560807"/>
                    <a:gd name="connsiteY634" fmla="*/ 258314 h 663706"/>
                    <a:gd name="connsiteX635" fmla="*/ 400185 w 560807"/>
                    <a:gd name="connsiteY635" fmla="*/ 259765 h 663706"/>
                    <a:gd name="connsiteX636" fmla="*/ 400682 w 560807"/>
                    <a:gd name="connsiteY636" fmla="*/ 261036 h 663706"/>
                    <a:gd name="connsiteX637" fmla="*/ 399989 w 560807"/>
                    <a:gd name="connsiteY637" fmla="*/ 261663 h 663706"/>
                    <a:gd name="connsiteX638" fmla="*/ 398139 w 560807"/>
                    <a:gd name="connsiteY638" fmla="*/ 262756 h 663706"/>
                    <a:gd name="connsiteX639" fmla="*/ 397210 w 560807"/>
                    <a:gd name="connsiteY639" fmla="*/ 263701 h 663706"/>
                    <a:gd name="connsiteX640" fmla="*/ 396965 w 560807"/>
                    <a:gd name="connsiteY640" fmla="*/ 265233 h 663706"/>
                    <a:gd name="connsiteX641" fmla="*/ 397161 w 560807"/>
                    <a:gd name="connsiteY641" fmla="*/ 266089 h 663706"/>
                    <a:gd name="connsiteX642" fmla="*/ 401529 w 560807"/>
                    <a:gd name="connsiteY642" fmla="*/ 272038 h 663706"/>
                    <a:gd name="connsiteX643" fmla="*/ 404235 w 560807"/>
                    <a:gd name="connsiteY643" fmla="*/ 276235 h 663706"/>
                    <a:gd name="connsiteX644" fmla="*/ 405523 w 560807"/>
                    <a:gd name="connsiteY644" fmla="*/ 277433 h 663706"/>
                    <a:gd name="connsiteX645" fmla="*/ 406982 w 560807"/>
                    <a:gd name="connsiteY645" fmla="*/ 278297 h 663706"/>
                    <a:gd name="connsiteX646" fmla="*/ 410706 w 560807"/>
                    <a:gd name="connsiteY646" fmla="*/ 279389 h 663706"/>
                    <a:gd name="connsiteX647" fmla="*/ 410787 w 560807"/>
                    <a:gd name="connsiteY647" fmla="*/ 280522 h 663706"/>
                    <a:gd name="connsiteX648" fmla="*/ 410584 w 560807"/>
                    <a:gd name="connsiteY648" fmla="*/ 282193 h 663706"/>
                    <a:gd name="connsiteX649" fmla="*/ 410779 w 560807"/>
                    <a:gd name="connsiteY649" fmla="*/ 283562 h 663706"/>
                    <a:gd name="connsiteX650" fmla="*/ 411765 w 560807"/>
                    <a:gd name="connsiteY650" fmla="*/ 286031 h 663706"/>
                    <a:gd name="connsiteX651" fmla="*/ 410535 w 560807"/>
                    <a:gd name="connsiteY651" fmla="*/ 287270 h 663706"/>
                    <a:gd name="connsiteX652" fmla="*/ 403893 w 560807"/>
                    <a:gd name="connsiteY652" fmla="*/ 290986 h 663706"/>
                    <a:gd name="connsiteX653" fmla="*/ 401863 w 560807"/>
                    <a:gd name="connsiteY653" fmla="*/ 292600 h 663706"/>
                    <a:gd name="connsiteX654" fmla="*/ 401293 w 560807"/>
                    <a:gd name="connsiteY654" fmla="*/ 293627 h 663706"/>
                    <a:gd name="connsiteX655" fmla="*/ 400869 w 560807"/>
                    <a:gd name="connsiteY655" fmla="*/ 295689 h 663706"/>
                    <a:gd name="connsiteX656" fmla="*/ 402630 w 560807"/>
                    <a:gd name="connsiteY656" fmla="*/ 299462 h 663706"/>
                    <a:gd name="connsiteX657" fmla="*/ 402736 w 560807"/>
                    <a:gd name="connsiteY657" fmla="*/ 300432 h 663706"/>
                    <a:gd name="connsiteX658" fmla="*/ 402352 w 560807"/>
                    <a:gd name="connsiteY658" fmla="*/ 302111 h 663706"/>
                    <a:gd name="connsiteX659" fmla="*/ 400413 w 560807"/>
                    <a:gd name="connsiteY659" fmla="*/ 307489 h 663706"/>
                    <a:gd name="connsiteX660" fmla="*/ 398220 w 560807"/>
                    <a:gd name="connsiteY660" fmla="*/ 312501 h 663706"/>
                    <a:gd name="connsiteX661" fmla="*/ 397210 w 560807"/>
                    <a:gd name="connsiteY661" fmla="*/ 313602 h 663706"/>
                    <a:gd name="connsiteX662" fmla="*/ 395906 w 560807"/>
                    <a:gd name="connsiteY662" fmla="*/ 313724 h 663706"/>
                    <a:gd name="connsiteX663" fmla="*/ 391970 w 560807"/>
                    <a:gd name="connsiteY663" fmla="*/ 312893 h 663706"/>
                    <a:gd name="connsiteX664" fmla="*/ 381277 w 560807"/>
                    <a:gd name="connsiteY664" fmla="*/ 309396 h 663706"/>
                    <a:gd name="connsiteX665" fmla="*/ 369517 w 560807"/>
                    <a:gd name="connsiteY665" fmla="*/ 309111 h 663706"/>
                    <a:gd name="connsiteX666" fmla="*/ 361905 w 560807"/>
                    <a:gd name="connsiteY666" fmla="*/ 309665 h 663706"/>
                    <a:gd name="connsiteX667" fmla="*/ 348165 w 560807"/>
                    <a:gd name="connsiteY667" fmla="*/ 308687 h 663706"/>
                    <a:gd name="connsiteX668" fmla="*/ 346535 w 560807"/>
                    <a:gd name="connsiteY668" fmla="*/ 307783 h 663706"/>
                    <a:gd name="connsiteX669" fmla="*/ 345166 w 560807"/>
                    <a:gd name="connsiteY669" fmla="*/ 306406 h 663706"/>
                    <a:gd name="connsiteX670" fmla="*/ 343397 w 560807"/>
                    <a:gd name="connsiteY670" fmla="*/ 302860 h 663706"/>
                    <a:gd name="connsiteX671" fmla="*/ 343014 w 560807"/>
                    <a:gd name="connsiteY671" fmla="*/ 302518 h 663706"/>
                    <a:gd name="connsiteX672" fmla="*/ 338075 w 560807"/>
                    <a:gd name="connsiteY672" fmla="*/ 301206 h 663706"/>
                    <a:gd name="connsiteX673" fmla="*/ 336242 w 560807"/>
                    <a:gd name="connsiteY673" fmla="*/ 300212 h 663706"/>
                    <a:gd name="connsiteX674" fmla="*/ 334180 w 560807"/>
                    <a:gd name="connsiteY674" fmla="*/ 298663 h 663706"/>
                    <a:gd name="connsiteX675" fmla="*/ 324799 w 560807"/>
                    <a:gd name="connsiteY675" fmla="*/ 289234 h 663706"/>
                    <a:gd name="connsiteX676" fmla="*/ 321931 w 560807"/>
                    <a:gd name="connsiteY676" fmla="*/ 286830 h 663706"/>
                    <a:gd name="connsiteX677" fmla="*/ 320920 w 560807"/>
                    <a:gd name="connsiteY677" fmla="*/ 286479 h 663706"/>
                    <a:gd name="connsiteX678" fmla="*/ 320285 w 560807"/>
                    <a:gd name="connsiteY678" fmla="*/ 287131 h 663706"/>
                    <a:gd name="connsiteX679" fmla="*/ 320342 w 560807"/>
                    <a:gd name="connsiteY679" fmla="*/ 287791 h 663706"/>
                    <a:gd name="connsiteX680" fmla="*/ 322135 w 560807"/>
                    <a:gd name="connsiteY680" fmla="*/ 290864 h 663706"/>
                    <a:gd name="connsiteX681" fmla="*/ 322281 w 560807"/>
                    <a:gd name="connsiteY681" fmla="*/ 291654 h 663706"/>
                    <a:gd name="connsiteX682" fmla="*/ 321580 w 560807"/>
                    <a:gd name="connsiteY682" fmla="*/ 294075 h 663706"/>
                    <a:gd name="connsiteX683" fmla="*/ 322941 w 560807"/>
                    <a:gd name="connsiteY683" fmla="*/ 299063 h 663706"/>
                    <a:gd name="connsiteX684" fmla="*/ 322501 w 560807"/>
                    <a:gd name="connsiteY684" fmla="*/ 300953 h 663706"/>
                    <a:gd name="connsiteX685" fmla="*/ 323838 w 560807"/>
                    <a:gd name="connsiteY685" fmla="*/ 304816 h 663706"/>
                    <a:gd name="connsiteX686" fmla="*/ 323984 w 560807"/>
                    <a:gd name="connsiteY686" fmla="*/ 306650 h 663706"/>
                    <a:gd name="connsiteX687" fmla="*/ 322159 w 560807"/>
                    <a:gd name="connsiteY687" fmla="*/ 308565 h 663706"/>
                    <a:gd name="connsiteX688" fmla="*/ 318622 w 560807"/>
                    <a:gd name="connsiteY688" fmla="*/ 307318 h 663706"/>
                    <a:gd name="connsiteX689" fmla="*/ 311190 w 560807"/>
                    <a:gd name="connsiteY689" fmla="*/ 301369 h 663706"/>
                    <a:gd name="connsiteX690" fmla="*/ 307832 w 560807"/>
                    <a:gd name="connsiteY690" fmla="*/ 296569 h 663706"/>
                    <a:gd name="connsiteX691" fmla="*/ 306919 w 560807"/>
                    <a:gd name="connsiteY691" fmla="*/ 296153 h 663706"/>
                    <a:gd name="connsiteX692" fmla="*/ 305199 w 560807"/>
                    <a:gd name="connsiteY692" fmla="*/ 296259 h 663706"/>
                    <a:gd name="connsiteX693" fmla="*/ 304751 w 560807"/>
                    <a:gd name="connsiteY693" fmla="*/ 296756 h 663706"/>
                    <a:gd name="connsiteX694" fmla="*/ 304482 w 560807"/>
                    <a:gd name="connsiteY694" fmla="*/ 297620 h 663706"/>
                    <a:gd name="connsiteX695" fmla="*/ 305012 w 560807"/>
                    <a:gd name="connsiteY695" fmla="*/ 299617 h 663706"/>
                    <a:gd name="connsiteX696" fmla="*/ 306096 w 560807"/>
                    <a:gd name="connsiteY696" fmla="*/ 302151 h 663706"/>
                    <a:gd name="connsiteX697" fmla="*/ 308133 w 560807"/>
                    <a:gd name="connsiteY697" fmla="*/ 305631 h 663706"/>
                    <a:gd name="connsiteX698" fmla="*/ 310252 w 560807"/>
                    <a:gd name="connsiteY698" fmla="*/ 310440 h 663706"/>
                    <a:gd name="connsiteX699" fmla="*/ 310383 w 560807"/>
                    <a:gd name="connsiteY699" fmla="*/ 311092 h 663706"/>
                    <a:gd name="connsiteX700" fmla="*/ 311679 w 560807"/>
                    <a:gd name="connsiteY700" fmla="*/ 312192 h 663706"/>
                    <a:gd name="connsiteX701" fmla="*/ 311597 w 560807"/>
                    <a:gd name="connsiteY701" fmla="*/ 313569 h 663706"/>
                    <a:gd name="connsiteX702" fmla="*/ 309462 w 560807"/>
                    <a:gd name="connsiteY702" fmla="*/ 314751 h 663706"/>
                    <a:gd name="connsiteX703" fmla="*/ 308239 w 560807"/>
                    <a:gd name="connsiteY703" fmla="*/ 317294 h 663706"/>
                    <a:gd name="connsiteX704" fmla="*/ 307514 w 560807"/>
                    <a:gd name="connsiteY704" fmla="*/ 317342 h 663706"/>
                    <a:gd name="connsiteX705" fmla="*/ 302013 w 560807"/>
                    <a:gd name="connsiteY705" fmla="*/ 315248 h 663706"/>
                    <a:gd name="connsiteX706" fmla="*/ 300970 w 560807"/>
                    <a:gd name="connsiteY706" fmla="*/ 315525 h 663706"/>
                    <a:gd name="connsiteX707" fmla="*/ 300399 w 560807"/>
                    <a:gd name="connsiteY707" fmla="*/ 316006 h 663706"/>
                    <a:gd name="connsiteX708" fmla="*/ 299935 w 560807"/>
                    <a:gd name="connsiteY708" fmla="*/ 317758 h 663706"/>
                    <a:gd name="connsiteX709" fmla="*/ 300196 w 560807"/>
                    <a:gd name="connsiteY709" fmla="*/ 319836 h 663706"/>
                    <a:gd name="connsiteX710" fmla="*/ 300880 w 560807"/>
                    <a:gd name="connsiteY710" fmla="*/ 322102 h 663706"/>
                    <a:gd name="connsiteX711" fmla="*/ 302534 w 560807"/>
                    <a:gd name="connsiteY711" fmla="*/ 326266 h 663706"/>
                    <a:gd name="connsiteX712" fmla="*/ 302714 w 560807"/>
                    <a:gd name="connsiteY712" fmla="*/ 327359 h 663706"/>
                    <a:gd name="connsiteX713" fmla="*/ 302632 w 560807"/>
                    <a:gd name="connsiteY713" fmla="*/ 327986 h 663706"/>
                    <a:gd name="connsiteX714" fmla="*/ 298427 w 560807"/>
                    <a:gd name="connsiteY714" fmla="*/ 331564 h 663706"/>
                    <a:gd name="connsiteX715" fmla="*/ 297172 w 560807"/>
                    <a:gd name="connsiteY715" fmla="*/ 333137 h 663706"/>
                    <a:gd name="connsiteX716" fmla="*/ 296430 w 560807"/>
                    <a:gd name="connsiteY716" fmla="*/ 334612 h 663706"/>
                    <a:gd name="connsiteX717" fmla="*/ 296536 w 560807"/>
                    <a:gd name="connsiteY717" fmla="*/ 335630 h 663706"/>
                    <a:gd name="connsiteX718" fmla="*/ 302160 w 560807"/>
                    <a:gd name="connsiteY718" fmla="*/ 342949 h 663706"/>
                    <a:gd name="connsiteX719" fmla="*/ 303635 w 560807"/>
                    <a:gd name="connsiteY719" fmla="*/ 344563 h 663706"/>
                    <a:gd name="connsiteX720" fmla="*/ 304010 w 560807"/>
                    <a:gd name="connsiteY720" fmla="*/ 347048 h 663706"/>
                    <a:gd name="connsiteX721" fmla="*/ 303488 w 560807"/>
                    <a:gd name="connsiteY721" fmla="*/ 350626 h 663706"/>
                    <a:gd name="connsiteX722" fmla="*/ 303570 w 560807"/>
                    <a:gd name="connsiteY722" fmla="*/ 351449 h 663706"/>
                    <a:gd name="connsiteX723" fmla="*/ 303977 w 560807"/>
                    <a:gd name="connsiteY723" fmla="*/ 351905 h 663706"/>
                    <a:gd name="connsiteX724" fmla="*/ 311222 w 560807"/>
                    <a:gd name="connsiteY724" fmla="*/ 354090 h 663706"/>
                    <a:gd name="connsiteX725" fmla="*/ 312127 w 560807"/>
                    <a:gd name="connsiteY725" fmla="*/ 355597 h 663706"/>
                    <a:gd name="connsiteX726" fmla="*/ 313431 w 560807"/>
                    <a:gd name="connsiteY726" fmla="*/ 358808 h 663706"/>
                    <a:gd name="connsiteX727" fmla="*/ 314670 w 560807"/>
                    <a:gd name="connsiteY727" fmla="*/ 359721 h 663706"/>
                    <a:gd name="connsiteX728" fmla="*/ 315802 w 560807"/>
                    <a:gd name="connsiteY728" fmla="*/ 360063 h 663706"/>
                    <a:gd name="connsiteX729" fmla="*/ 316691 w 560807"/>
                    <a:gd name="connsiteY729" fmla="*/ 361147 h 663706"/>
                    <a:gd name="connsiteX730" fmla="*/ 316853 w 560807"/>
                    <a:gd name="connsiteY730" fmla="*/ 362133 h 663706"/>
                    <a:gd name="connsiteX731" fmla="*/ 316177 w 560807"/>
                    <a:gd name="connsiteY731" fmla="*/ 367594 h 663706"/>
                    <a:gd name="connsiteX732" fmla="*/ 316055 w 560807"/>
                    <a:gd name="connsiteY732" fmla="*/ 371709 h 663706"/>
                    <a:gd name="connsiteX733" fmla="*/ 314621 w 560807"/>
                    <a:gd name="connsiteY733" fmla="*/ 375157 h 663706"/>
                    <a:gd name="connsiteX734" fmla="*/ 313985 w 560807"/>
                    <a:gd name="connsiteY734" fmla="*/ 377422 h 663706"/>
                    <a:gd name="connsiteX735" fmla="*/ 313585 w 560807"/>
                    <a:gd name="connsiteY735" fmla="*/ 380690 h 663706"/>
                    <a:gd name="connsiteX736" fmla="*/ 313626 w 560807"/>
                    <a:gd name="connsiteY736" fmla="*/ 383592 h 663706"/>
                    <a:gd name="connsiteX737" fmla="*/ 314580 w 560807"/>
                    <a:gd name="connsiteY737" fmla="*/ 384871 h 663706"/>
                    <a:gd name="connsiteX738" fmla="*/ 316528 w 560807"/>
                    <a:gd name="connsiteY738" fmla="*/ 385702 h 663706"/>
                    <a:gd name="connsiteX739" fmla="*/ 317856 w 560807"/>
                    <a:gd name="connsiteY739" fmla="*/ 385865 h 663706"/>
                    <a:gd name="connsiteX740" fmla="*/ 318891 w 560807"/>
                    <a:gd name="connsiteY740" fmla="*/ 385694 h 663706"/>
                    <a:gd name="connsiteX741" fmla="*/ 319910 w 560807"/>
                    <a:gd name="connsiteY741" fmla="*/ 386143 h 663706"/>
                    <a:gd name="connsiteX742" fmla="*/ 323039 w 560807"/>
                    <a:gd name="connsiteY742" fmla="*/ 384627 h 663706"/>
                    <a:gd name="connsiteX743" fmla="*/ 323463 w 560807"/>
                    <a:gd name="connsiteY743" fmla="*/ 383812 h 663706"/>
                    <a:gd name="connsiteX744" fmla="*/ 324457 w 560807"/>
                    <a:gd name="connsiteY744" fmla="*/ 377789 h 663706"/>
                    <a:gd name="connsiteX745" fmla="*/ 324857 w 560807"/>
                    <a:gd name="connsiteY745" fmla="*/ 376990 h 663706"/>
                    <a:gd name="connsiteX746" fmla="*/ 327196 w 560807"/>
                    <a:gd name="connsiteY746" fmla="*/ 375980 h 663706"/>
                    <a:gd name="connsiteX747" fmla="*/ 327970 w 560807"/>
                    <a:gd name="connsiteY747" fmla="*/ 374244 h 663706"/>
                    <a:gd name="connsiteX748" fmla="*/ 328508 w 560807"/>
                    <a:gd name="connsiteY748" fmla="*/ 373739 h 663706"/>
                    <a:gd name="connsiteX749" fmla="*/ 329502 w 560807"/>
                    <a:gd name="connsiteY749" fmla="*/ 374032 h 663706"/>
                    <a:gd name="connsiteX750" fmla="*/ 330447 w 560807"/>
                    <a:gd name="connsiteY750" fmla="*/ 374741 h 663706"/>
                    <a:gd name="connsiteX751" fmla="*/ 331971 w 560807"/>
                    <a:gd name="connsiteY751" fmla="*/ 376909 h 663706"/>
                    <a:gd name="connsiteX752" fmla="*/ 332664 w 560807"/>
                    <a:gd name="connsiteY752" fmla="*/ 378286 h 663706"/>
                    <a:gd name="connsiteX753" fmla="*/ 332411 w 560807"/>
                    <a:gd name="connsiteY753" fmla="*/ 379631 h 663706"/>
                    <a:gd name="connsiteX754" fmla="*/ 331645 w 560807"/>
                    <a:gd name="connsiteY754" fmla="*/ 380405 h 663706"/>
                    <a:gd name="connsiteX755" fmla="*/ 331262 w 560807"/>
                    <a:gd name="connsiteY755" fmla="*/ 381668 h 663706"/>
                    <a:gd name="connsiteX756" fmla="*/ 331026 w 560807"/>
                    <a:gd name="connsiteY756" fmla="*/ 384089 h 663706"/>
                    <a:gd name="connsiteX757" fmla="*/ 329779 w 560807"/>
                    <a:gd name="connsiteY757" fmla="*/ 386061 h 663706"/>
                    <a:gd name="connsiteX758" fmla="*/ 329543 w 560807"/>
                    <a:gd name="connsiteY758" fmla="*/ 387096 h 663706"/>
                    <a:gd name="connsiteX759" fmla="*/ 330333 w 560807"/>
                    <a:gd name="connsiteY759" fmla="*/ 396142 h 663706"/>
                    <a:gd name="connsiteX760" fmla="*/ 330154 w 560807"/>
                    <a:gd name="connsiteY760" fmla="*/ 396892 h 663706"/>
                    <a:gd name="connsiteX761" fmla="*/ 328622 w 560807"/>
                    <a:gd name="connsiteY761" fmla="*/ 398986 h 663706"/>
                    <a:gd name="connsiteX762" fmla="*/ 328646 w 560807"/>
                    <a:gd name="connsiteY762" fmla="*/ 400722 h 663706"/>
                    <a:gd name="connsiteX763" fmla="*/ 329217 w 560807"/>
                    <a:gd name="connsiteY763" fmla="*/ 403151 h 663706"/>
                    <a:gd name="connsiteX764" fmla="*/ 330007 w 560807"/>
                    <a:gd name="connsiteY764" fmla="*/ 404830 h 663706"/>
                    <a:gd name="connsiteX765" fmla="*/ 330708 w 560807"/>
                    <a:gd name="connsiteY765" fmla="*/ 405539 h 663706"/>
                    <a:gd name="connsiteX766" fmla="*/ 331539 w 560807"/>
                    <a:gd name="connsiteY766" fmla="*/ 405897 h 663706"/>
                    <a:gd name="connsiteX767" fmla="*/ 332004 w 560807"/>
                    <a:gd name="connsiteY767" fmla="*/ 404651 h 663706"/>
                    <a:gd name="connsiteX768" fmla="*/ 332770 w 560807"/>
                    <a:gd name="connsiteY768" fmla="*/ 400714 h 663706"/>
                    <a:gd name="connsiteX769" fmla="*/ 333178 w 560807"/>
                    <a:gd name="connsiteY769" fmla="*/ 400486 h 663706"/>
                    <a:gd name="connsiteX770" fmla="*/ 336421 w 560807"/>
                    <a:gd name="connsiteY770" fmla="*/ 403118 h 663706"/>
                    <a:gd name="connsiteX771" fmla="*/ 337709 w 560807"/>
                    <a:gd name="connsiteY771" fmla="*/ 403876 h 663706"/>
                    <a:gd name="connsiteX772" fmla="*/ 339225 w 560807"/>
                    <a:gd name="connsiteY772" fmla="*/ 407593 h 663706"/>
                    <a:gd name="connsiteX773" fmla="*/ 340634 w 560807"/>
                    <a:gd name="connsiteY773" fmla="*/ 408652 h 663706"/>
                    <a:gd name="connsiteX774" fmla="*/ 343014 w 560807"/>
                    <a:gd name="connsiteY774" fmla="*/ 409630 h 663706"/>
                    <a:gd name="connsiteX775" fmla="*/ 344400 w 560807"/>
                    <a:gd name="connsiteY775" fmla="*/ 409703 h 663706"/>
                    <a:gd name="connsiteX776" fmla="*/ 344921 w 560807"/>
                    <a:gd name="connsiteY776" fmla="*/ 409280 h 663706"/>
                    <a:gd name="connsiteX777" fmla="*/ 345549 w 560807"/>
                    <a:gd name="connsiteY777" fmla="*/ 407788 h 663706"/>
                    <a:gd name="connsiteX778" fmla="*/ 347782 w 560807"/>
                    <a:gd name="connsiteY778" fmla="*/ 408171 h 663706"/>
                    <a:gd name="connsiteX779" fmla="*/ 349257 w 560807"/>
                    <a:gd name="connsiteY779" fmla="*/ 408937 h 663706"/>
                    <a:gd name="connsiteX780" fmla="*/ 350300 w 560807"/>
                    <a:gd name="connsiteY780" fmla="*/ 408929 h 663706"/>
                    <a:gd name="connsiteX781" fmla="*/ 351229 w 560807"/>
                    <a:gd name="connsiteY781" fmla="*/ 408163 h 663706"/>
                    <a:gd name="connsiteX782" fmla="*/ 353144 w 560807"/>
                    <a:gd name="connsiteY782" fmla="*/ 404365 h 663706"/>
                    <a:gd name="connsiteX783" fmla="*/ 353690 w 560807"/>
                    <a:gd name="connsiteY783" fmla="*/ 404121 h 663706"/>
                    <a:gd name="connsiteX784" fmla="*/ 355035 w 560807"/>
                    <a:gd name="connsiteY784" fmla="*/ 404121 h 663706"/>
                    <a:gd name="connsiteX785" fmla="*/ 358254 w 560807"/>
                    <a:gd name="connsiteY785" fmla="*/ 404781 h 663706"/>
                    <a:gd name="connsiteX786" fmla="*/ 361506 w 560807"/>
                    <a:gd name="connsiteY786" fmla="*/ 405922 h 663706"/>
                    <a:gd name="connsiteX787" fmla="*/ 364008 w 560807"/>
                    <a:gd name="connsiteY787" fmla="*/ 407446 h 663706"/>
                    <a:gd name="connsiteX788" fmla="*/ 366591 w 560807"/>
                    <a:gd name="connsiteY788" fmla="*/ 409614 h 663706"/>
                    <a:gd name="connsiteX789" fmla="*/ 370748 w 560807"/>
                    <a:gd name="connsiteY789" fmla="*/ 415164 h 663706"/>
                    <a:gd name="connsiteX790" fmla="*/ 373388 w 560807"/>
                    <a:gd name="connsiteY790" fmla="*/ 417266 h 663706"/>
                    <a:gd name="connsiteX791" fmla="*/ 374171 w 560807"/>
                    <a:gd name="connsiteY791" fmla="*/ 418122 h 663706"/>
                    <a:gd name="connsiteX792" fmla="*/ 373869 w 560807"/>
                    <a:gd name="connsiteY792" fmla="*/ 419410 h 663706"/>
                    <a:gd name="connsiteX793" fmla="*/ 372532 w 560807"/>
                    <a:gd name="connsiteY793" fmla="*/ 420437 h 663706"/>
                    <a:gd name="connsiteX794" fmla="*/ 372296 w 560807"/>
                    <a:gd name="connsiteY794" fmla="*/ 421080 h 663706"/>
                    <a:gd name="connsiteX795" fmla="*/ 372419 w 560807"/>
                    <a:gd name="connsiteY795" fmla="*/ 422009 h 663706"/>
                    <a:gd name="connsiteX796" fmla="*/ 374888 w 560807"/>
                    <a:gd name="connsiteY796" fmla="*/ 426443 h 663706"/>
                    <a:gd name="connsiteX797" fmla="*/ 377162 w 560807"/>
                    <a:gd name="connsiteY797" fmla="*/ 426125 h 663706"/>
                    <a:gd name="connsiteX798" fmla="*/ 382508 w 560807"/>
                    <a:gd name="connsiteY798" fmla="*/ 421700 h 663706"/>
                    <a:gd name="connsiteX799" fmla="*/ 382540 w 560807"/>
                    <a:gd name="connsiteY799" fmla="*/ 420208 h 663706"/>
                    <a:gd name="connsiteX800" fmla="*/ 381636 w 560807"/>
                    <a:gd name="connsiteY800" fmla="*/ 418644 h 663706"/>
                    <a:gd name="connsiteX801" fmla="*/ 381424 w 560807"/>
                    <a:gd name="connsiteY801" fmla="*/ 417519 h 663706"/>
                    <a:gd name="connsiteX802" fmla="*/ 381750 w 560807"/>
                    <a:gd name="connsiteY802" fmla="*/ 414267 h 663706"/>
                    <a:gd name="connsiteX803" fmla="*/ 383005 w 560807"/>
                    <a:gd name="connsiteY803" fmla="*/ 408579 h 663706"/>
                    <a:gd name="connsiteX804" fmla="*/ 383282 w 560807"/>
                    <a:gd name="connsiteY804" fmla="*/ 407976 h 663706"/>
                    <a:gd name="connsiteX805" fmla="*/ 385760 w 560807"/>
                    <a:gd name="connsiteY805" fmla="*/ 406174 h 663706"/>
                    <a:gd name="connsiteX806" fmla="*/ 386477 w 560807"/>
                    <a:gd name="connsiteY806" fmla="*/ 404740 h 663706"/>
                    <a:gd name="connsiteX807" fmla="*/ 387161 w 560807"/>
                    <a:gd name="connsiteY807" fmla="*/ 397617 h 663706"/>
                    <a:gd name="connsiteX808" fmla="*/ 385165 w 560807"/>
                    <a:gd name="connsiteY808" fmla="*/ 391073 h 663706"/>
                    <a:gd name="connsiteX809" fmla="*/ 385067 w 560807"/>
                    <a:gd name="connsiteY809" fmla="*/ 388392 h 663706"/>
                    <a:gd name="connsiteX810" fmla="*/ 385287 w 560807"/>
                    <a:gd name="connsiteY810" fmla="*/ 381334 h 663706"/>
                    <a:gd name="connsiteX811" fmla="*/ 386257 w 560807"/>
                    <a:gd name="connsiteY811" fmla="*/ 379883 h 663706"/>
                    <a:gd name="connsiteX812" fmla="*/ 389517 w 560807"/>
                    <a:gd name="connsiteY812" fmla="*/ 378979 h 663706"/>
                    <a:gd name="connsiteX813" fmla="*/ 390364 w 560807"/>
                    <a:gd name="connsiteY813" fmla="*/ 378351 h 663706"/>
                    <a:gd name="connsiteX814" fmla="*/ 391750 w 560807"/>
                    <a:gd name="connsiteY814" fmla="*/ 371986 h 663706"/>
                    <a:gd name="connsiteX815" fmla="*/ 392059 w 560807"/>
                    <a:gd name="connsiteY815" fmla="*/ 371563 h 663706"/>
                    <a:gd name="connsiteX816" fmla="*/ 394692 w 560807"/>
                    <a:gd name="connsiteY816" fmla="*/ 370544 h 663706"/>
                    <a:gd name="connsiteX817" fmla="*/ 396582 w 560807"/>
                    <a:gd name="connsiteY817" fmla="*/ 370365 h 663706"/>
                    <a:gd name="connsiteX818" fmla="*/ 397846 w 560807"/>
                    <a:gd name="connsiteY818" fmla="*/ 370682 h 663706"/>
                    <a:gd name="connsiteX819" fmla="*/ 399467 w 560807"/>
                    <a:gd name="connsiteY819" fmla="*/ 373144 h 663706"/>
                    <a:gd name="connsiteX820" fmla="*/ 400747 w 560807"/>
                    <a:gd name="connsiteY820" fmla="*/ 375784 h 663706"/>
                    <a:gd name="connsiteX821" fmla="*/ 400894 w 560807"/>
                    <a:gd name="connsiteY821" fmla="*/ 376705 h 663706"/>
                    <a:gd name="connsiteX822" fmla="*/ 400445 w 560807"/>
                    <a:gd name="connsiteY822" fmla="*/ 380959 h 663706"/>
                    <a:gd name="connsiteX823" fmla="*/ 400527 w 560807"/>
                    <a:gd name="connsiteY823" fmla="*/ 382035 h 663706"/>
                    <a:gd name="connsiteX824" fmla="*/ 400861 w 560807"/>
                    <a:gd name="connsiteY824" fmla="*/ 382883 h 663706"/>
                    <a:gd name="connsiteX825" fmla="*/ 404349 w 560807"/>
                    <a:gd name="connsiteY825" fmla="*/ 386069 h 663706"/>
                    <a:gd name="connsiteX826" fmla="*/ 404023 w 560807"/>
                    <a:gd name="connsiteY826" fmla="*/ 386778 h 663706"/>
                    <a:gd name="connsiteX827" fmla="*/ 401545 w 560807"/>
                    <a:gd name="connsiteY827" fmla="*/ 387569 h 663706"/>
                    <a:gd name="connsiteX828" fmla="*/ 394406 w 560807"/>
                    <a:gd name="connsiteY828" fmla="*/ 388962 h 663706"/>
                    <a:gd name="connsiteX829" fmla="*/ 392222 w 560807"/>
                    <a:gd name="connsiteY829" fmla="*/ 389785 h 663706"/>
                    <a:gd name="connsiteX830" fmla="*/ 390812 w 560807"/>
                    <a:gd name="connsiteY830" fmla="*/ 390666 h 663706"/>
                    <a:gd name="connsiteX831" fmla="*/ 389272 w 560807"/>
                    <a:gd name="connsiteY831" fmla="*/ 392165 h 663706"/>
                    <a:gd name="connsiteX832" fmla="*/ 388237 w 560807"/>
                    <a:gd name="connsiteY832" fmla="*/ 393665 h 663706"/>
                    <a:gd name="connsiteX833" fmla="*/ 388066 w 560807"/>
                    <a:gd name="connsiteY833" fmla="*/ 394382 h 663706"/>
                    <a:gd name="connsiteX834" fmla="*/ 388180 w 560807"/>
                    <a:gd name="connsiteY834" fmla="*/ 394683 h 663706"/>
                    <a:gd name="connsiteX835" fmla="*/ 390918 w 560807"/>
                    <a:gd name="connsiteY835" fmla="*/ 395759 h 663706"/>
                    <a:gd name="connsiteX836" fmla="*/ 391122 w 560807"/>
                    <a:gd name="connsiteY836" fmla="*/ 396158 h 663706"/>
                    <a:gd name="connsiteX837" fmla="*/ 391301 w 560807"/>
                    <a:gd name="connsiteY837" fmla="*/ 397536 h 663706"/>
                    <a:gd name="connsiteX838" fmla="*/ 392581 w 560807"/>
                    <a:gd name="connsiteY838" fmla="*/ 398872 h 663706"/>
                    <a:gd name="connsiteX839" fmla="*/ 395515 w 560807"/>
                    <a:gd name="connsiteY839" fmla="*/ 400633 h 663706"/>
                    <a:gd name="connsiteX840" fmla="*/ 397544 w 560807"/>
                    <a:gd name="connsiteY840" fmla="*/ 406557 h 663706"/>
                    <a:gd name="connsiteX841" fmla="*/ 397927 w 560807"/>
                    <a:gd name="connsiteY841" fmla="*/ 408188 h 663706"/>
                    <a:gd name="connsiteX842" fmla="*/ 398017 w 560807"/>
                    <a:gd name="connsiteY842" fmla="*/ 409443 h 663706"/>
                    <a:gd name="connsiteX843" fmla="*/ 397039 w 560807"/>
                    <a:gd name="connsiteY843" fmla="*/ 409883 h 663706"/>
                    <a:gd name="connsiteX844" fmla="*/ 395018 w 560807"/>
                    <a:gd name="connsiteY844" fmla="*/ 409801 h 663706"/>
                    <a:gd name="connsiteX845" fmla="*/ 394846 w 560807"/>
                    <a:gd name="connsiteY845" fmla="*/ 410046 h 663706"/>
                    <a:gd name="connsiteX846" fmla="*/ 395067 w 560807"/>
                    <a:gd name="connsiteY846" fmla="*/ 410918 h 663706"/>
                    <a:gd name="connsiteX847" fmla="*/ 395727 w 560807"/>
                    <a:gd name="connsiteY847" fmla="*/ 411284 h 663706"/>
                    <a:gd name="connsiteX848" fmla="*/ 399459 w 560807"/>
                    <a:gd name="connsiteY848" fmla="*/ 411643 h 663706"/>
                    <a:gd name="connsiteX849" fmla="*/ 409540 w 560807"/>
                    <a:gd name="connsiteY849" fmla="*/ 411635 h 663706"/>
                    <a:gd name="connsiteX850" fmla="*/ 419622 w 560807"/>
                    <a:gd name="connsiteY850" fmla="*/ 411635 h 663706"/>
                    <a:gd name="connsiteX851" fmla="*/ 429711 w 560807"/>
                    <a:gd name="connsiteY851" fmla="*/ 411635 h 663706"/>
                    <a:gd name="connsiteX852" fmla="*/ 439792 w 560807"/>
                    <a:gd name="connsiteY852" fmla="*/ 411635 h 663706"/>
                    <a:gd name="connsiteX853" fmla="*/ 449874 w 560807"/>
                    <a:gd name="connsiteY853" fmla="*/ 411635 h 663706"/>
                    <a:gd name="connsiteX854" fmla="*/ 459955 w 560807"/>
                    <a:gd name="connsiteY854" fmla="*/ 411635 h 663706"/>
                    <a:gd name="connsiteX855" fmla="*/ 470036 w 560807"/>
                    <a:gd name="connsiteY855" fmla="*/ 411635 h 663706"/>
                    <a:gd name="connsiteX856" fmla="*/ 480117 w 560807"/>
                    <a:gd name="connsiteY856" fmla="*/ 411635 h 663706"/>
                    <a:gd name="connsiteX857" fmla="*/ 490198 w 560807"/>
                    <a:gd name="connsiteY857" fmla="*/ 411635 h 663706"/>
                    <a:gd name="connsiteX858" fmla="*/ 500280 w 560807"/>
                    <a:gd name="connsiteY858" fmla="*/ 411635 h 663706"/>
                    <a:gd name="connsiteX859" fmla="*/ 510361 w 560807"/>
                    <a:gd name="connsiteY859" fmla="*/ 411635 h 663706"/>
                    <a:gd name="connsiteX860" fmla="*/ 520450 w 560807"/>
                    <a:gd name="connsiteY860" fmla="*/ 411635 h 663706"/>
                    <a:gd name="connsiteX861" fmla="*/ 530532 w 560807"/>
                    <a:gd name="connsiteY861" fmla="*/ 411635 h 663706"/>
                    <a:gd name="connsiteX862" fmla="*/ 540621 w 560807"/>
                    <a:gd name="connsiteY862" fmla="*/ 411635 h 663706"/>
                    <a:gd name="connsiteX863" fmla="*/ 550702 w 560807"/>
                    <a:gd name="connsiteY863" fmla="*/ 411635 h 663706"/>
                    <a:gd name="connsiteX864" fmla="*/ 560791 w 560807"/>
                    <a:gd name="connsiteY864" fmla="*/ 411635 h 663706"/>
                    <a:gd name="connsiteX865" fmla="*/ 560791 w 560807"/>
                    <a:gd name="connsiteY865" fmla="*/ 422384 h 663706"/>
                    <a:gd name="connsiteX866" fmla="*/ 560808 w 560807"/>
                    <a:gd name="connsiteY866" fmla="*/ 432254 h 663706"/>
                    <a:gd name="connsiteX867" fmla="*/ 555877 w 560807"/>
                    <a:gd name="connsiteY867" fmla="*/ 430966 h 663706"/>
                    <a:gd name="connsiteX868" fmla="*/ 551851 w 560807"/>
                    <a:gd name="connsiteY868" fmla="*/ 431308 h 663706"/>
                    <a:gd name="connsiteX869" fmla="*/ 544207 w 560807"/>
                    <a:gd name="connsiteY869" fmla="*/ 432898 h 663706"/>
                    <a:gd name="connsiteX870" fmla="*/ 542120 w 560807"/>
                    <a:gd name="connsiteY870" fmla="*/ 433875 h 663706"/>
                    <a:gd name="connsiteX871" fmla="*/ 537931 w 560807"/>
                    <a:gd name="connsiteY871" fmla="*/ 436728 h 663706"/>
                    <a:gd name="connsiteX872" fmla="*/ 536277 w 560807"/>
                    <a:gd name="connsiteY872" fmla="*/ 437135 h 663706"/>
                    <a:gd name="connsiteX873" fmla="*/ 531786 w 560807"/>
                    <a:gd name="connsiteY873" fmla="*/ 437714 h 663706"/>
                    <a:gd name="connsiteX874" fmla="*/ 527524 w 560807"/>
                    <a:gd name="connsiteY874" fmla="*/ 437315 h 663706"/>
                    <a:gd name="connsiteX875" fmla="*/ 525829 w 560807"/>
                    <a:gd name="connsiteY875" fmla="*/ 437714 h 663706"/>
                    <a:gd name="connsiteX876" fmla="*/ 523775 w 560807"/>
                    <a:gd name="connsiteY876" fmla="*/ 439108 h 663706"/>
                    <a:gd name="connsiteX877" fmla="*/ 523246 w 560807"/>
                    <a:gd name="connsiteY877" fmla="*/ 439849 h 663706"/>
                    <a:gd name="connsiteX878" fmla="*/ 522683 w 560807"/>
                    <a:gd name="connsiteY878" fmla="*/ 442253 h 663706"/>
                    <a:gd name="connsiteX879" fmla="*/ 512333 w 560807"/>
                    <a:gd name="connsiteY879" fmla="*/ 453003 h 663706"/>
                    <a:gd name="connsiteX880" fmla="*/ 509595 w 560807"/>
                    <a:gd name="connsiteY880" fmla="*/ 456646 h 663706"/>
                    <a:gd name="connsiteX881" fmla="*/ 504322 w 560807"/>
                    <a:gd name="connsiteY881" fmla="*/ 460476 h 663706"/>
                    <a:gd name="connsiteX882" fmla="*/ 498527 w 560807"/>
                    <a:gd name="connsiteY882" fmla="*/ 467192 h 663706"/>
                    <a:gd name="connsiteX883" fmla="*/ 493483 w 560807"/>
                    <a:gd name="connsiteY883" fmla="*/ 469889 h 663706"/>
                    <a:gd name="connsiteX884" fmla="*/ 491722 w 560807"/>
                    <a:gd name="connsiteY884" fmla="*/ 473622 h 663706"/>
                    <a:gd name="connsiteX885" fmla="*/ 486914 w 560807"/>
                    <a:gd name="connsiteY885" fmla="*/ 475871 h 663706"/>
                    <a:gd name="connsiteX886" fmla="*/ 478039 w 560807"/>
                    <a:gd name="connsiteY886" fmla="*/ 476450 h 663706"/>
                    <a:gd name="connsiteX887" fmla="*/ 473817 w 560807"/>
                    <a:gd name="connsiteY887" fmla="*/ 477102 h 663706"/>
                    <a:gd name="connsiteX888" fmla="*/ 468879 w 560807"/>
                    <a:gd name="connsiteY888" fmla="*/ 476058 h 663706"/>
                    <a:gd name="connsiteX889" fmla="*/ 465187 w 560807"/>
                    <a:gd name="connsiteY889" fmla="*/ 477680 h 663706"/>
                    <a:gd name="connsiteX890" fmla="*/ 459621 w 560807"/>
                    <a:gd name="connsiteY890" fmla="*/ 478186 h 663706"/>
                    <a:gd name="connsiteX891" fmla="*/ 456915 w 560807"/>
                    <a:gd name="connsiteY891" fmla="*/ 477802 h 663706"/>
                    <a:gd name="connsiteX892" fmla="*/ 446125 w 560807"/>
                    <a:gd name="connsiteY892" fmla="*/ 481380 h 663706"/>
                    <a:gd name="connsiteX893" fmla="*/ 443386 w 560807"/>
                    <a:gd name="connsiteY893" fmla="*/ 477982 h 663706"/>
                    <a:gd name="connsiteX894" fmla="*/ 441300 w 560807"/>
                    <a:gd name="connsiteY894" fmla="*/ 476670 h 663706"/>
                    <a:gd name="connsiteX895" fmla="*/ 435204 w 560807"/>
                    <a:gd name="connsiteY895" fmla="*/ 476450 h 663706"/>
                    <a:gd name="connsiteX896" fmla="*/ 430330 w 560807"/>
                    <a:gd name="connsiteY896" fmla="*/ 475056 h 663706"/>
                    <a:gd name="connsiteX897" fmla="*/ 425881 w 560807"/>
                    <a:gd name="connsiteY897" fmla="*/ 474795 h 663706"/>
                    <a:gd name="connsiteX898" fmla="*/ 421553 w 560807"/>
                    <a:gd name="connsiteY898" fmla="*/ 474168 h 663706"/>
                    <a:gd name="connsiteX899" fmla="*/ 418709 w 560807"/>
                    <a:gd name="connsiteY899" fmla="*/ 474168 h 663706"/>
                    <a:gd name="connsiteX900" fmla="*/ 415742 w 560807"/>
                    <a:gd name="connsiteY900" fmla="*/ 474534 h 663706"/>
                    <a:gd name="connsiteX901" fmla="*/ 411130 w 560807"/>
                    <a:gd name="connsiteY901" fmla="*/ 474453 h 663706"/>
                    <a:gd name="connsiteX902" fmla="*/ 408579 w 560807"/>
                    <a:gd name="connsiteY902" fmla="*/ 476327 h 663706"/>
                    <a:gd name="connsiteX903" fmla="*/ 399940 w 560807"/>
                    <a:gd name="connsiteY903" fmla="*/ 475757 h 663706"/>
                    <a:gd name="connsiteX904" fmla="*/ 396305 w 560807"/>
                    <a:gd name="connsiteY904" fmla="*/ 474062 h 663706"/>
                    <a:gd name="connsiteX905" fmla="*/ 393314 w 560807"/>
                    <a:gd name="connsiteY905" fmla="*/ 473703 h 663706"/>
                    <a:gd name="connsiteX906" fmla="*/ 389296 w 560807"/>
                    <a:gd name="connsiteY906" fmla="*/ 474078 h 663706"/>
                    <a:gd name="connsiteX907" fmla="*/ 385458 w 560807"/>
                    <a:gd name="connsiteY907" fmla="*/ 475341 h 663706"/>
                    <a:gd name="connsiteX908" fmla="*/ 377064 w 560807"/>
                    <a:gd name="connsiteY908" fmla="*/ 473899 h 663706"/>
                    <a:gd name="connsiteX909" fmla="*/ 368156 w 560807"/>
                    <a:gd name="connsiteY909" fmla="*/ 475113 h 663706"/>
                    <a:gd name="connsiteX910" fmla="*/ 360389 w 560807"/>
                    <a:gd name="connsiteY910" fmla="*/ 474290 h 663706"/>
                    <a:gd name="connsiteX911" fmla="*/ 358213 w 560807"/>
                    <a:gd name="connsiteY911" fmla="*/ 473475 h 663706"/>
                    <a:gd name="connsiteX912" fmla="*/ 345972 w 560807"/>
                    <a:gd name="connsiteY912" fmla="*/ 475700 h 663706"/>
                    <a:gd name="connsiteX913" fmla="*/ 341181 w 560807"/>
                    <a:gd name="connsiteY913" fmla="*/ 474428 h 663706"/>
                    <a:gd name="connsiteX914" fmla="*/ 336967 w 560807"/>
                    <a:gd name="connsiteY914" fmla="*/ 477827 h 663706"/>
                    <a:gd name="connsiteX915" fmla="*/ 334074 w 560807"/>
                    <a:gd name="connsiteY915" fmla="*/ 477118 h 663706"/>
                    <a:gd name="connsiteX916" fmla="*/ 330936 w 560807"/>
                    <a:gd name="connsiteY916" fmla="*/ 477623 h 663706"/>
                    <a:gd name="connsiteX917" fmla="*/ 329893 w 560807"/>
                    <a:gd name="connsiteY917" fmla="*/ 476971 h 663706"/>
                    <a:gd name="connsiteX918" fmla="*/ 327799 w 560807"/>
                    <a:gd name="connsiteY918" fmla="*/ 477428 h 663706"/>
                    <a:gd name="connsiteX919" fmla="*/ 326446 w 560807"/>
                    <a:gd name="connsiteY919" fmla="*/ 479286 h 663706"/>
                    <a:gd name="connsiteX920" fmla="*/ 324669 w 560807"/>
                    <a:gd name="connsiteY920" fmla="*/ 479498 h 663706"/>
                    <a:gd name="connsiteX921" fmla="*/ 321719 w 560807"/>
                    <a:gd name="connsiteY921" fmla="*/ 482774 h 663706"/>
                    <a:gd name="connsiteX922" fmla="*/ 316748 w 560807"/>
                    <a:gd name="connsiteY922" fmla="*/ 485390 h 663706"/>
                    <a:gd name="connsiteX923" fmla="*/ 309478 w 560807"/>
                    <a:gd name="connsiteY923" fmla="*/ 499652 h 663706"/>
                    <a:gd name="connsiteX924" fmla="*/ 308794 w 560807"/>
                    <a:gd name="connsiteY924" fmla="*/ 505120 h 663706"/>
                    <a:gd name="connsiteX925" fmla="*/ 306063 w 560807"/>
                    <a:gd name="connsiteY925" fmla="*/ 508845 h 663706"/>
                    <a:gd name="connsiteX926" fmla="*/ 303651 w 560807"/>
                    <a:gd name="connsiteY926" fmla="*/ 509350 h 663706"/>
                    <a:gd name="connsiteX927" fmla="*/ 301671 w 560807"/>
                    <a:gd name="connsiteY927" fmla="*/ 509440 h 663706"/>
                    <a:gd name="connsiteX928" fmla="*/ 289104 w 560807"/>
                    <a:gd name="connsiteY928" fmla="*/ 512170 h 663706"/>
                    <a:gd name="connsiteX929" fmla="*/ 283505 w 560807"/>
                    <a:gd name="connsiteY929" fmla="*/ 514338 h 663706"/>
                    <a:gd name="connsiteX930" fmla="*/ 285029 w 560807"/>
                    <a:gd name="connsiteY930" fmla="*/ 516057 h 663706"/>
                    <a:gd name="connsiteX931" fmla="*/ 283195 w 560807"/>
                    <a:gd name="connsiteY931" fmla="*/ 517337 h 663706"/>
                    <a:gd name="connsiteX932" fmla="*/ 280220 w 560807"/>
                    <a:gd name="connsiteY932" fmla="*/ 517867 h 663706"/>
                    <a:gd name="connsiteX933" fmla="*/ 277010 w 560807"/>
                    <a:gd name="connsiteY933" fmla="*/ 519440 h 663706"/>
                    <a:gd name="connsiteX934" fmla="*/ 274923 w 560807"/>
                    <a:gd name="connsiteY934" fmla="*/ 521208 h 663706"/>
                    <a:gd name="connsiteX935" fmla="*/ 273904 w 560807"/>
                    <a:gd name="connsiteY935" fmla="*/ 523653 h 663706"/>
                    <a:gd name="connsiteX936" fmla="*/ 267458 w 560807"/>
                    <a:gd name="connsiteY936" fmla="*/ 527646 h 663706"/>
                    <a:gd name="connsiteX937" fmla="*/ 259976 w 560807"/>
                    <a:gd name="connsiteY937" fmla="*/ 536855 h 663706"/>
                    <a:gd name="connsiteX938" fmla="*/ 256399 w 560807"/>
                    <a:gd name="connsiteY938" fmla="*/ 543603 h 663706"/>
                    <a:gd name="connsiteX939" fmla="*/ 252055 w 560807"/>
                    <a:gd name="connsiteY939" fmla="*/ 548477 h 663706"/>
                    <a:gd name="connsiteX940" fmla="*/ 248991 w 560807"/>
                    <a:gd name="connsiteY940" fmla="*/ 550335 h 663706"/>
                    <a:gd name="connsiteX941" fmla="*/ 246806 w 560807"/>
                    <a:gd name="connsiteY941" fmla="*/ 550629 h 663706"/>
                    <a:gd name="connsiteX942" fmla="*/ 244582 w 560807"/>
                    <a:gd name="connsiteY942" fmla="*/ 550042 h 663706"/>
                    <a:gd name="connsiteX943" fmla="*/ 240874 w 560807"/>
                    <a:gd name="connsiteY943" fmla="*/ 547760 h 663706"/>
                    <a:gd name="connsiteX944" fmla="*/ 238160 w 560807"/>
                    <a:gd name="connsiteY944" fmla="*/ 547507 h 663706"/>
                    <a:gd name="connsiteX945" fmla="*/ 231387 w 560807"/>
                    <a:gd name="connsiteY945" fmla="*/ 544329 h 663706"/>
                    <a:gd name="connsiteX946" fmla="*/ 215650 w 560807"/>
                    <a:gd name="connsiteY946" fmla="*/ 541118 h 663706"/>
                    <a:gd name="connsiteX947" fmla="*/ 218022 w 560807"/>
                    <a:gd name="connsiteY947" fmla="*/ 542316 h 663706"/>
                    <a:gd name="connsiteX948" fmla="*/ 220108 w 560807"/>
                    <a:gd name="connsiteY948" fmla="*/ 544296 h 663706"/>
                    <a:gd name="connsiteX949" fmla="*/ 224264 w 560807"/>
                    <a:gd name="connsiteY949" fmla="*/ 544802 h 663706"/>
                    <a:gd name="connsiteX950" fmla="*/ 228494 w 560807"/>
                    <a:gd name="connsiteY950" fmla="*/ 544761 h 663706"/>
                    <a:gd name="connsiteX951" fmla="*/ 237304 w 560807"/>
                    <a:gd name="connsiteY951" fmla="*/ 548746 h 663706"/>
                    <a:gd name="connsiteX952" fmla="*/ 241632 w 560807"/>
                    <a:gd name="connsiteY952" fmla="*/ 550099 h 663706"/>
                    <a:gd name="connsiteX953" fmla="*/ 244248 w 560807"/>
                    <a:gd name="connsiteY953" fmla="*/ 551305 h 663706"/>
                    <a:gd name="connsiteX954" fmla="*/ 246497 w 560807"/>
                    <a:gd name="connsiteY954" fmla="*/ 553970 h 663706"/>
                    <a:gd name="connsiteX955" fmla="*/ 244891 w 560807"/>
                    <a:gd name="connsiteY955" fmla="*/ 559194 h 663706"/>
                    <a:gd name="connsiteX956" fmla="*/ 243261 w 560807"/>
                    <a:gd name="connsiteY956" fmla="*/ 563505 h 663706"/>
                    <a:gd name="connsiteX957" fmla="*/ 241053 w 560807"/>
                    <a:gd name="connsiteY957" fmla="*/ 566814 h 663706"/>
                    <a:gd name="connsiteX958" fmla="*/ 233474 w 560807"/>
                    <a:gd name="connsiteY958" fmla="*/ 575290 h 663706"/>
                    <a:gd name="connsiteX959" fmla="*/ 229806 w 560807"/>
                    <a:gd name="connsiteY959" fmla="*/ 578134 h 663706"/>
                    <a:gd name="connsiteX960" fmla="*/ 223409 w 560807"/>
                    <a:gd name="connsiteY960" fmla="*/ 588248 h 663706"/>
                    <a:gd name="connsiteX961" fmla="*/ 216791 w 560807"/>
                    <a:gd name="connsiteY961" fmla="*/ 592991 h 663706"/>
                    <a:gd name="connsiteX962" fmla="*/ 213246 w 560807"/>
                    <a:gd name="connsiteY962" fmla="*/ 595900 h 663706"/>
                    <a:gd name="connsiteX963" fmla="*/ 209481 w 560807"/>
                    <a:gd name="connsiteY963" fmla="*/ 600489 h 663706"/>
                    <a:gd name="connsiteX964" fmla="*/ 200630 w 560807"/>
                    <a:gd name="connsiteY964" fmla="*/ 603952 h 663706"/>
                    <a:gd name="connsiteX965" fmla="*/ 197346 w 560807"/>
                    <a:gd name="connsiteY965" fmla="*/ 604832 h 663706"/>
                    <a:gd name="connsiteX966" fmla="*/ 194306 w 560807"/>
                    <a:gd name="connsiteY966" fmla="*/ 604360 h 663706"/>
                    <a:gd name="connsiteX967" fmla="*/ 190614 w 560807"/>
                    <a:gd name="connsiteY967" fmla="*/ 607180 h 663706"/>
                    <a:gd name="connsiteX968" fmla="*/ 186246 w 560807"/>
                    <a:gd name="connsiteY968" fmla="*/ 608907 h 663706"/>
                    <a:gd name="connsiteX969" fmla="*/ 184958 w 560807"/>
                    <a:gd name="connsiteY969" fmla="*/ 611523 h 663706"/>
                    <a:gd name="connsiteX970" fmla="*/ 174453 w 560807"/>
                    <a:gd name="connsiteY970" fmla="*/ 618532 h 663706"/>
                    <a:gd name="connsiteX971" fmla="*/ 170419 w 560807"/>
                    <a:gd name="connsiteY971" fmla="*/ 619420 h 663706"/>
                    <a:gd name="connsiteX972" fmla="*/ 166996 w 560807"/>
                    <a:gd name="connsiteY972" fmla="*/ 621279 h 663706"/>
                    <a:gd name="connsiteX973" fmla="*/ 165977 w 560807"/>
                    <a:gd name="connsiteY973" fmla="*/ 624449 h 663706"/>
                    <a:gd name="connsiteX974" fmla="*/ 162913 w 560807"/>
                    <a:gd name="connsiteY974" fmla="*/ 626348 h 663706"/>
                    <a:gd name="connsiteX975" fmla="*/ 162066 w 560807"/>
                    <a:gd name="connsiteY975" fmla="*/ 627815 h 663706"/>
                    <a:gd name="connsiteX976" fmla="*/ 159490 w 560807"/>
                    <a:gd name="connsiteY976" fmla="*/ 632232 h 663706"/>
                    <a:gd name="connsiteX977" fmla="*/ 154706 w 560807"/>
                    <a:gd name="connsiteY977" fmla="*/ 637945 h 663706"/>
                    <a:gd name="connsiteX978" fmla="*/ 148871 w 560807"/>
                    <a:gd name="connsiteY978" fmla="*/ 638898 h 663706"/>
                    <a:gd name="connsiteX979" fmla="*/ 146736 w 560807"/>
                    <a:gd name="connsiteY979" fmla="*/ 640879 h 663706"/>
                    <a:gd name="connsiteX980" fmla="*/ 144267 w 560807"/>
                    <a:gd name="connsiteY980" fmla="*/ 644081 h 663706"/>
                    <a:gd name="connsiteX981" fmla="*/ 140787 w 560807"/>
                    <a:gd name="connsiteY981" fmla="*/ 646274 h 663706"/>
                    <a:gd name="connsiteX982" fmla="*/ 133908 w 560807"/>
                    <a:gd name="connsiteY982" fmla="*/ 645255 h 663706"/>
                    <a:gd name="connsiteX983" fmla="*/ 135579 w 560807"/>
                    <a:gd name="connsiteY983" fmla="*/ 646592 h 663706"/>
                    <a:gd name="connsiteX984" fmla="*/ 141732 w 560807"/>
                    <a:gd name="connsiteY984" fmla="*/ 648686 h 663706"/>
                    <a:gd name="connsiteX985" fmla="*/ 142376 w 560807"/>
                    <a:gd name="connsiteY985" fmla="*/ 651783 h 663706"/>
                    <a:gd name="connsiteX986" fmla="*/ 139295 w 560807"/>
                    <a:gd name="connsiteY986" fmla="*/ 652525 h 663706"/>
                    <a:gd name="connsiteX987" fmla="*/ 133281 w 560807"/>
                    <a:gd name="connsiteY987" fmla="*/ 656379 h 663706"/>
                    <a:gd name="connsiteX988" fmla="*/ 131488 w 560807"/>
                    <a:gd name="connsiteY988" fmla="*/ 654456 h 663706"/>
                    <a:gd name="connsiteX989" fmla="*/ 129874 w 560807"/>
                    <a:gd name="connsiteY989" fmla="*/ 652745 h 663706"/>
                    <a:gd name="connsiteX990" fmla="*/ 130493 w 560807"/>
                    <a:gd name="connsiteY990" fmla="*/ 650088 h 663706"/>
                    <a:gd name="connsiteX991" fmla="*/ 131439 w 560807"/>
                    <a:gd name="connsiteY991" fmla="*/ 646029 h 663706"/>
                    <a:gd name="connsiteX992" fmla="*/ 131895 w 560807"/>
                    <a:gd name="connsiteY992" fmla="*/ 643959 h 663706"/>
                    <a:gd name="connsiteX993" fmla="*/ 127413 w 560807"/>
                    <a:gd name="connsiteY993" fmla="*/ 641686 h 663706"/>
                    <a:gd name="connsiteX994" fmla="*/ 123941 w 560807"/>
                    <a:gd name="connsiteY994" fmla="*/ 641009 h 663706"/>
                    <a:gd name="connsiteX995" fmla="*/ 120298 w 560807"/>
                    <a:gd name="connsiteY995" fmla="*/ 641335 h 663706"/>
                    <a:gd name="connsiteX996" fmla="*/ 112784 w 560807"/>
                    <a:gd name="connsiteY996" fmla="*/ 643690 h 663706"/>
                    <a:gd name="connsiteX997" fmla="*/ 101399 w 560807"/>
                    <a:gd name="connsiteY997" fmla="*/ 648075 h 663706"/>
                    <a:gd name="connsiteX998" fmla="*/ 94504 w 560807"/>
                    <a:gd name="connsiteY998" fmla="*/ 649142 h 663706"/>
                    <a:gd name="connsiteX999" fmla="*/ 92108 w 560807"/>
                    <a:gd name="connsiteY999" fmla="*/ 646918 h 663706"/>
                    <a:gd name="connsiteX1000" fmla="*/ 89077 w 560807"/>
                    <a:gd name="connsiteY1000" fmla="*/ 646168 h 663706"/>
                    <a:gd name="connsiteX1001" fmla="*/ 85425 w 560807"/>
                    <a:gd name="connsiteY1001" fmla="*/ 646901 h 663706"/>
                    <a:gd name="connsiteX1002" fmla="*/ 81864 w 560807"/>
                    <a:gd name="connsiteY1002" fmla="*/ 646461 h 663706"/>
                    <a:gd name="connsiteX1003" fmla="*/ 78400 w 560807"/>
                    <a:gd name="connsiteY1003" fmla="*/ 644856 h 663706"/>
                    <a:gd name="connsiteX1004" fmla="*/ 75581 w 560807"/>
                    <a:gd name="connsiteY1004" fmla="*/ 641311 h 663706"/>
                    <a:gd name="connsiteX1005" fmla="*/ 73421 w 560807"/>
                    <a:gd name="connsiteY1005" fmla="*/ 635842 h 663706"/>
                    <a:gd name="connsiteX1006" fmla="*/ 71685 w 560807"/>
                    <a:gd name="connsiteY1006" fmla="*/ 632957 h 663706"/>
                    <a:gd name="connsiteX1007" fmla="*/ 70495 w 560807"/>
                    <a:gd name="connsiteY1007" fmla="*/ 632680 h 663706"/>
                    <a:gd name="connsiteX1008" fmla="*/ 70031 w 560807"/>
                    <a:gd name="connsiteY1008" fmla="*/ 632582 h 663706"/>
                    <a:gd name="connsiteX1009" fmla="*/ 69476 w 560807"/>
                    <a:gd name="connsiteY1009" fmla="*/ 633088 h 663706"/>
                    <a:gd name="connsiteX1010" fmla="*/ 69159 w 560807"/>
                    <a:gd name="connsiteY1010" fmla="*/ 635076 h 663706"/>
                    <a:gd name="connsiteX1011" fmla="*/ 68776 w 560807"/>
                    <a:gd name="connsiteY1011" fmla="*/ 635728 h 663706"/>
                    <a:gd name="connsiteX1012" fmla="*/ 67887 w 560807"/>
                    <a:gd name="connsiteY1012" fmla="*/ 635834 h 663706"/>
                    <a:gd name="connsiteX1013" fmla="*/ 66543 w 560807"/>
                    <a:gd name="connsiteY1013" fmla="*/ 635500 h 663706"/>
                    <a:gd name="connsiteX1014" fmla="*/ 64815 w 560807"/>
                    <a:gd name="connsiteY1014" fmla="*/ 634620 h 663706"/>
                    <a:gd name="connsiteX1015" fmla="*/ 61531 w 560807"/>
                    <a:gd name="connsiteY1015" fmla="*/ 632118 h 663706"/>
                    <a:gd name="connsiteX1016" fmla="*/ 60699 w 560807"/>
                    <a:gd name="connsiteY1016" fmla="*/ 631205 h 663706"/>
                    <a:gd name="connsiteX1017" fmla="*/ 60316 w 560807"/>
                    <a:gd name="connsiteY1017" fmla="*/ 630056 h 663706"/>
                    <a:gd name="connsiteX1018" fmla="*/ 60063 w 560807"/>
                    <a:gd name="connsiteY1018" fmla="*/ 629534 h 663706"/>
                    <a:gd name="connsiteX1019" fmla="*/ 58116 w 560807"/>
                    <a:gd name="connsiteY1019" fmla="*/ 626494 h 663706"/>
                    <a:gd name="connsiteX1020" fmla="*/ 58075 w 560807"/>
                    <a:gd name="connsiteY1020" fmla="*/ 626462 h 663706"/>
                    <a:gd name="connsiteX1021" fmla="*/ 50366 w 560807"/>
                    <a:gd name="connsiteY1021" fmla="*/ 622028 h 663706"/>
                    <a:gd name="connsiteX1022" fmla="*/ 444266 w 560807"/>
                    <a:gd name="connsiteY1022" fmla="*/ 518013 h 663706"/>
                    <a:gd name="connsiteX1023" fmla="*/ 433892 w 560807"/>
                    <a:gd name="connsiteY1023" fmla="*/ 518551 h 663706"/>
                    <a:gd name="connsiteX1024" fmla="*/ 425628 w 560807"/>
                    <a:gd name="connsiteY1024" fmla="*/ 516318 h 663706"/>
                    <a:gd name="connsiteX1025" fmla="*/ 419508 w 560807"/>
                    <a:gd name="connsiteY1025" fmla="*/ 515242 h 663706"/>
                    <a:gd name="connsiteX1026" fmla="*/ 413501 w 560807"/>
                    <a:gd name="connsiteY1026" fmla="*/ 513278 h 663706"/>
                    <a:gd name="connsiteX1027" fmla="*/ 400494 w 560807"/>
                    <a:gd name="connsiteY1027" fmla="*/ 506954 h 663706"/>
                    <a:gd name="connsiteX1028" fmla="*/ 399003 w 560807"/>
                    <a:gd name="connsiteY1028" fmla="*/ 504754 h 663706"/>
                    <a:gd name="connsiteX1029" fmla="*/ 397756 w 560807"/>
                    <a:gd name="connsiteY1029" fmla="*/ 502048 h 663706"/>
                    <a:gd name="connsiteX1030" fmla="*/ 395262 w 560807"/>
                    <a:gd name="connsiteY1030" fmla="*/ 499595 h 663706"/>
                    <a:gd name="connsiteX1031" fmla="*/ 392573 w 560807"/>
                    <a:gd name="connsiteY1031" fmla="*/ 497566 h 663706"/>
                    <a:gd name="connsiteX1032" fmla="*/ 378808 w 560807"/>
                    <a:gd name="connsiteY1032" fmla="*/ 491372 h 663706"/>
                    <a:gd name="connsiteX1033" fmla="*/ 377683 w 560807"/>
                    <a:gd name="connsiteY1033" fmla="*/ 489220 h 663706"/>
                    <a:gd name="connsiteX1034" fmla="*/ 380470 w 560807"/>
                    <a:gd name="connsiteY1034" fmla="*/ 487802 h 663706"/>
                    <a:gd name="connsiteX1035" fmla="*/ 383673 w 560807"/>
                    <a:gd name="connsiteY1035" fmla="*/ 487126 h 663706"/>
                    <a:gd name="connsiteX1036" fmla="*/ 386460 w 560807"/>
                    <a:gd name="connsiteY1036" fmla="*/ 487224 h 663706"/>
                    <a:gd name="connsiteX1037" fmla="*/ 395670 w 560807"/>
                    <a:gd name="connsiteY1037" fmla="*/ 489644 h 663706"/>
                    <a:gd name="connsiteX1038" fmla="*/ 407283 w 560807"/>
                    <a:gd name="connsiteY1038" fmla="*/ 491771 h 663706"/>
                    <a:gd name="connsiteX1039" fmla="*/ 412320 w 560807"/>
                    <a:gd name="connsiteY1039" fmla="*/ 493385 h 663706"/>
                    <a:gd name="connsiteX1040" fmla="*/ 418032 w 560807"/>
                    <a:gd name="connsiteY1040" fmla="*/ 495822 h 663706"/>
                    <a:gd name="connsiteX1041" fmla="*/ 423615 w 560807"/>
                    <a:gd name="connsiteY1041" fmla="*/ 498788 h 663706"/>
                    <a:gd name="connsiteX1042" fmla="*/ 436027 w 560807"/>
                    <a:gd name="connsiteY1042" fmla="*/ 506661 h 663706"/>
                    <a:gd name="connsiteX1043" fmla="*/ 438252 w 560807"/>
                    <a:gd name="connsiteY1043" fmla="*/ 507288 h 663706"/>
                    <a:gd name="connsiteX1044" fmla="*/ 443859 w 560807"/>
                    <a:gd name="connsiteY1044" fmla="*/ 511135 h 663706"/>
                    <a:gd name="connsiteX1045" fmla="*/ 445880 w 560807"/>
                    <a:gd name="connsiteY1045" fmla="*/ 514028 h 663706"/>
                    <a:gd name="connsiteX1046" fmla="*/ 446866 w 560807"/>
                    <a:gd name="connsiteY1046" fmla="*/ 516375 h 663706"/>
                    <a:gd name="connsiteX1047" fmla="*/ 445644 w 560807"/>
                    <a:gd name="connsiteY1047" fmla="*/ 517573 h 663706"/>
                    <a:gd name="connsiteX1048" fmla="*/ 444266 w 560807"/>
                    <a:gd name="connsiteY1048" fmla="*/ 518013 h 663706"/>
                    <a:gd name="connsiteX1049" fmla="*/ 384366 w 560807"/>
                    <a:gd name="connsiteY1049" fmla="*/ 525976 h 663706"/>
                    <a:gd name="connsiteX1050" fmla="*/ 384545 w 560807"/>
                    <a:gd name="connsiteY1050" fmla="*/ 528412 h 663706"/>
                    <a:gd name="connsiteX1051" fmla="*/ 380527 w 560807"/>
                    <a:gd name="connsiteY1051" fmla="*/ 527231 h 663706"/>
                    <a:gd name="connsiteX1052" fmla="*/ 376974 w 560807"/>
                    <a:gd name="connsiteY1052" fmla="*/ 527149 h 663706"/>
                    <a:gd name="connsiteX1053" fmla="*/ 379435 w 560807"/>
                    <a:gd name="connsiteY1053" fmla="*/ 528502 h 663706"/>
                    <a:gd name="connsiteX1054" fmla="*/ 383616 w 560807"/>
                    <a:gd name="connsiteY1054" fmla="*/ 532561 h 663706"/>
                    <a:gd name="connsiteX1055" fmla="*/ 383429 w 560807"/>
                    <a:gd name="connsiteY1055" fmla="*/ 537646 h 663706"/>
                    <a:gd name="connsiteX1056" fmla="*/ 381073 w 560807"/>
                    <a:gd name="connsiteY1056" fmla="*/ 542226 h 663706"/>
                    <a:gd name="connsiteX1057" fmla="*/ 374016 w 560807"/>
                    <a:gd name="connsiteY1057" fmla="*/ 544484 h 663706"/>
                    <a:gd name="connsiteX1058" fmla="*/ 372215 w 560807"/>
                    <a:gd name="connsiteY1058" fmla="*/ 546277 h 663706"/>
                    <a:gd name="connsiteX1059" fmla="*/ 370756 w 560807"/>
                    <a:gd name="connsiteY1059" fmla="*/ 549243 h 663706"/>
                    <a:gd name="connsiteX1060" fmla="*/ 369330 w 560807"/>
                    <a:gd name="connsiteY1060" fmla="*/ 550376 h 663706"/>
                    <a:gd name="connsiteX1061" fmla="*/ 365915 w 560807"/>
                    <a:gd name="connsiteY1061" fmla="*/ 551696 h 663706"/>
                    <a:gd name="connsiteX1062" fmla="*/ 364024 w 560807"/>
                    <a:gd name="connsiteY1062" fmla="*/ 553611 h 663706"/>
                    <a:gd name="connsiteX1063" fmla="*/ 358482 w 560807"/>
                    <a:gd name="connsiteY1063" fmla="*/ 556667 h 663706"/>
                    <a:gd name="connsiteX1064" fmla="*/ 355988 w 560807"/>
                    <a:gd name="connsiteY1064" fmla="*/ 557026 h 663706"/>
                    <a:gd name="connsiteX1065" fmla="*/ 353112 w 560807"/>
                    <a:gd name="connsiteY1065" fmla="*/ 556293 h 663706"/>
                    <a:gd name="connsiteX1066" fmla="*/ 346193 w 560807"/>
                    <a:gd name="connsiteY1066" fmla="*/ 553416 h 663706"/>
                    <a:gd name="connsiteX1067" fmla="*/ 341930 w 560807"/>
                    <a:gd name="connsiteY1067" fmla="*/ 550645 h 663706"/>
                    <a:gd name="connsiteX1068" fmla="*/ 339803 w 560807"/>
                    <a:gd name="connsiteY1068" fmla="*/ 552153 h 663706"/>
                    <a:gd name="connsiteX1069" fmla="*/ 338051 w 560807"/>
                    <a:gd name="connsiteY1069" fmla="*/ 553734 h 663706"/>
                    <a:gd name="connsiteX1070" fmla="*/ 333944 w 560807"/>
                    <a:gd name="connsiteY1070" fmla="*/ 553212 h 663706"/>
                    <a:gd name="connsiteX1071" fmla="*/ 332069 w 560807"/>
                    <a:gd name="connsiteY1071" fmla="*/ 553905 h 663706"/>
                    <a:gd name="connsiteX1072" fmla="*/ 328980 w 560807"/>
                    <a:gd name="connsiteY1072" fmla="*/ 553122 h 663706"/>
                    <a:gd name="connsiteX1073" fmla="*/ 322648 w 560807"/>
                    <a:gd name="connsiteY1073" fmla="*/ 556610 h 663706"/>
                    <a:gd name="connsiteX1074" fmla="*/ 319217 w 560807"/>
                    <a:gd name="connsiteY1074" fmla="*/ 557499 h 663706"/>
                    <a:gd name="connsiteX1075" fmla="*/ 317171 w 560807"/>
                    <a:gd name="connsiteY1075" fmla="*/ 558729 h 663706"/>
                    <a:gd name="connsiteX1076" fmla="*/ 316511 w 560807"/>
                    <a:gd name="connsiteY1076" fmla="*/ 561028 h 663706"/>
                    <a:gd name="connsiteX1077" fmla="*/ 313887 w 560807"/>
                    <a:gd name="connsiteY1077" fmla="*/ 560343 h 663706"/>
                    <a:gd name="connsiteX1078" fmla="*/ 310676 w 560807"/>
                    <a:gd name="connsiteY1078" fmla="*/ 561215 h 663706"/>
                    <a:gd name="connsiteX1079" fmla="*/ 307701 w 560807"/>
                    <a:gd name="connsiteY1079" fmla="*/ 561459 h 663706"/>
                    <a:gd name="connsiteX1080" fmla="*/ 306267 w 560807"/>
                    <a:gd name="connsiteY1080" fmla="*/ 562625 h 663706"/>
                    <a:gd name="connsiteX1081" fmla="*/ 300953 w 560807"/>
                    <a:gd name="connsiteY1081" fmla="*/ 559577 h 663706"/>
                    <a:gd name="connsiteX1082" fmla="*/ 300204 w 560807"/>
                    <a:gd name="connsiteY1082" fmla="*/ 558534 h 663706"/>
                    <a:gd name="connsiteX1083" fmla="*/ 300122 w 560807"/>
                    <a:gd name="connsiteY1083" fmla="*/ 557466 h 663706"/>
                    <a:gd name="connsiteX1084" fmla="*/ 296984 w 560807"/>
                    <a:gd name="connsiteY1084" fmla="*/ 557466 h 663706"/>
                    <a:gd name="connsiteX1085" fmla="*/ 292665 w 560807"/>
                    <a:gd name="connsiteY1085" fmla="*/ 557466 h 663706"/>
                    <a:gd name="connsiteX1086" fmla="*/ 289943 w 560807"/>
                    <a:gd name="connsiteY1086" fmla="*/ 557466 h 663706"/>
                    <a:gd name="connsiteX1087" fmla="*/ 287702 w 560807"/>
                    <a:gd name="connsiteY1087" fmla="*/ 557466 h 663706"/>
                    <a:gd name="connsiteX1088" fmla="*/ 287702 w 560807"/>
                    <a:gd name="connsiteY1088" fmla="*/ 559944 h 663706"/>
                    <a:gd name="connsiteX1089" fmla="*/ 284255 w 560807"/>
                    <a:gd name="connsiteY1089" fmla="*/ 559944 h 663706"/>
                    <a:gd name="connsiteX1090" fmla="*/ 281141 w 560807"/>
                    <a:gd name="connsiteY1090" fmla="*/ 559944 h 663706"/>
                    <a:gd name="connsiteX1091" fmla="*/ 281133 w 560807"/>
                    <a:gd name="connsiteY1091" fmla="*/ 563204 h 663706"/>
                    <a:gd name="connsiteX1092" fmla="*/ 281125 w 560807"/>
                    <a:gd name="connsiteY1092" fmla="*/ 565828 h 663706"/>
                    <a:gd name="connsiteX1093" fmla="*/ 281117 w 560807"/>
                    <a:gd name="connsiteY1093" fmla="*/ 568452 h 663706"/>
                    <a:gd name="connsiteX1094" fmla="*/ 281109 w 560807"/>
                    <a:gd name="connsiteY1094" fmla="*/ 572128 h 663706"/>
                    <a:gd name="connsiteX1095" fmla="*/ 280758 w 560807"/>
                    <a:gd name="connsiteY1095" fmla="*/ 573057 h 663706"/>
                    <a:gd name="connsiteX1096" fmla="*/ 279870 w 560807"/>
                    <a:gd name="connsiteY1096" fmla="*/ 574304 h 663706"/>
                    <a:gd name="connsiteX1097" fmla="*/ 278224 w 560807"/>
                    <a:gd name="connsiteY1097" fmla="*/ 576015 h 663706"/>
                    <a:gd name="connsiteX1098" fmla="*/ 274940 w 560807"/>
                    <a:gd name="connsiteY1098" fmla="*/ 578150 h 663706"/>
                    <a:gd name="connsiteX1099" fmla="*/ 264394 w 560807"/>
                    <a:gd name="connsiteY1099" fmla="*/ 582649 h 663706"/>
                    <a:gd name="connsiteX1100" fmla="*/ 264125 w 560807"/>
                    <a:gd name="connsiteY1100" fmla="*/ 581100 h 663706"/>
                    <a:gd name="connsiteX1101" fmla="*/ 264475 w 560807"/>
                    <a:gd name="connsiteY1101" fmla="*/ 577946 h 663706"/>
                    <a:gd name="connsiteX1102" fmla="*/ 262095 w 560807"/>
                    <a:gd name="connsiteY1102" fmla="*/ 577294 h 663706"/>
                    <a:gd name="connsiteX1103" fmla="*/ 259699 w 560807"/>
                    <a:gd name="connsiteY1103" fmla="*/ 576634 h 663706"/>
                    <a:gd name="connsiteX1104" fmla="*/ 258232 w 560807"/>
                    <a:gd name="connsiteY1104" fmla="*/ 578818 h 663706"/>
                    <a:gd name="connsiteX1105" fmla="*/ 256814 w 560807"/>
                    <a:gd name="connsiteY1105" fmla="*/ 580660 h 663706"/>
                    <a:gd name="connsiteX1106" fmla="*/ 254019 w 560807"/>
                    <a:gd name="connsiteY1106" fmla="*/ 584654 h 663706"/>
                    <a:gd name="connsiteX1107" fmla="*/ 250091 w 560807"/>
                    <a:gd name="connsiteY1107" fmla="*/ 590261 h 663706"/>
                    <a:gd name="connsiteX1108" fmla="*/ 247915 w 560807"/>
                    <a:gd name="connsiteY1108" fmla="*/ 593349 h 663706"/>
                    <a:gd name="connsiteX1109" fmla="*/ 244085 w 560807"/>
                    <a:gd name="connsiteY1109" fmla="*/ 598761 h 663706"/>
                    <a:gd name="connsiteX1110" fmla="*/ 240711 w 560807"/>
                    <a:gd name="connsiteY1110" fmla="*/ 603512 h 663706"/>
                    <a:gd name="connsiteX1111" fmla="*/ 239953 w 560807"/>
                    <a:gd name="connsiteY1111" fmla="*/ 608402 h 663706"/>
                    <a:gd name="connsiteX1112" fmla="*/ 239235 w 560807"/>
                    <a:gd name="connsiteY1112" fmla="*/ 613023 h 663706"/>
                    <a:gd name="connsiteX1113" fmla="*/ 236440 w 560807"/>
                    <a:gd name="connsiteY1113" fmla="*/ 616544 h 663706"/>
                    <a:gd name="connsiteX1114" fmla="*/ 234745 w 560807"/>
                    <a:gd name="connsiteY1114" fmla="*/ 619763 h 663706"/>
                    <a:gd name="connsiteX1115" fmla="*/ 233987 w 560807"/>
                    <a:gd name="connsiteY1115" fmla="*/ 623332 h 663706"/>
                    <a:gd name="connsiteX1116" fmla="*/ 233351 w 560807"/>
                    <a:gd name="connsiteY1116" fmla="*/ 626608 h 663706"/>
                    <a:gd name="connsiteX1117" fmla="*/ 233303 w 560807"/>
                    <a:gd name="connsiteY1117" fmla="*/ 629347 h 663706"/>
                    <a:gd name="connsiteX1118" fmla="*/ 233783 w 560807"/>
                    <a:gd name="connsiteY1118" fmla="*/ 630781 h 663706"/>
                    <a:gd name="connsiteX1119" fmla="*/ 233555 w 560807"/>
                    <a:gd name="connsiteY1119" fmla="*/ 631955 h 663706"/>
                    <a:gd name="connsiteX1120" fmla="*/ 232634 w 560807"/>
                    <a:gd name="connsiteY1120" fmla="*/ 633308 h 663706"/>
                    <a:gd name="connsiteX1121" fmla="*/ 230784 w 560807"/>
                    <a:gd name="connsiteY1121" fmla="*/ 635638 h 663706"/>
                    <a:gd name="connsiteX1122" fmla="*/ 230450 w 560807"/>
                    <a:gd name="connsiteY1122" fmla="*/ 637888 h 663706"/>
                    <a:gd name="connsiteX1123" fmla="*/ 229325 w 560807"/>
                    <a:gd name="connsiteY1123" fmla="*/ 638988 h 663706"/>
                    <a:gd name="connsiteX1124" fmla="*/ 226098 w 560807"/>
                    <a:gd name="connsiteY1124" fmla="*/ 641205 h 663706"/>
                    <a:gd name="connsiteX1125" fmla="*/ 223474 w 560807"/>
                    <a:gd name="connsiteY1125" fmla="*/ 644464 h 663706"/>
                    <a:gd name="connsiteX1126" fmla="*/ 223343 w 560807"/>
                    <a:gd name="connsiteY1126" fmla="*/ 646315 h 663706"/>
                    <a:gd name="connsiteX1127" fmla="*/ 223726 w 560807"/>
                    <a:gd name="connsiteY1127" fmla="*/ 647847 h 663706"/>
                    <a:gd name="connsiteX1128" fmla="*/ 223784 w 560807"/>
                    <a:gd name="connsiteY1128" fmla="*/ 648792 h 663706"/>
                    <a:gd name="connsiteX1129" fmla="*/ 223262 w 560807"/>
                    <a:gd name="connsiteY1129" fmla="*/ 649460 h 663706"/>
                    <a:gd name="connsiteX1130" fmla="*/ 222211 w 560807"/>
                    <a:gd name="connsiteY1130" fmla="*/ 649420 h 663706"/>
                    <a:gd name="connsiteX1131" fmla="*/ 221070 w 560807"/>
                    <a:gd name="connsiteY1131" fmla="*/ 649631 h 663706"/>
                    <a:gd name="connsiteX1132" fmla="*/ 220116 w 560807"/>
                    <a:gd name="connsiteY1132" fmla="*/ 650984 h 663706"/>
                    <a:gd name="connsiteX1133" fmla="*/ 220141 w 560807"/>
                    <a:gd name="connsiteY1133" fmla="*/ 652940 h 663706"/>
                    <a:gd name="connsiteX1134" fmla="*/ 219440 w 560807"/>
                    <a:gd name="connsiteY1134" fmla="*/ 654342 h 663706"/>
                    <a:gd name="connsiteX1135" fmla="*/ 218625 w 560807"/>
                    <a:gd name="connsiteY1135" fmla="*/ 654635 h 663706"/>
                    <a:gd name="connsiteX1136" fmla="*/ 217924 w 560807"/>
                    <a:gd name="connsiteY1136" fmla="*/ 653641 h 663706"/>
                    <a:gd name="connsiteX1137" fmla="*/ 217084 w 560807"/>
                    <a:gd name="connsiteY1137" fmla="*/ 652150 h 663706"/>
                    <a:gd name="connsiteX1138" fmla="*/ 216098 w 560807"/>
                    <a:gd name="connsiteY1138" fmla="*/ 652003 h 663706"/>
                    <a:gd name="connsiteX1139" fmla="*/ 214599 w 560807"/>
                    <a:gd name="connsiteY1139" fmla="*/ 652997 h 663706"/>
                    <a:gd name="connsiteX1140" fmla="*/ 213996 w 560807"/>
                    <a:gd name="connsiteY1140" fmla="*/ 653527 h 663706"/>
                    <a:gd name="connsiteX1141" fmla="*/ 212757 w 560807"/>
                    <a:gd name="connsiteY1141" fmla="*/ 654627 h 663706"/>
                    <a:gd name="connsiteX1142" fmla="*/ 211094 w 560807"/>
                    <a:gd name="connsiteY1142" fmla="*/ 654717 h 663706"/>
                    <a:gd name="connsiteX1143" fmla="*/ 207981 w 560807"/>
                    <a:gd name="connsiteY1143" fmla="*/ 653674 h 663706"/>
                    <a:gd name="connsiteX1144" fmla="*/ 205707 w 560807"/>
                    <a:gd name="connsiteY1144" fmla="*/ 656828 h 663706"/>
                    <a:gd name="connsiteX1145" fmla="*/ 203263 w 560807"/>
                    <a:gd name="connsiteY1145" fmla="*/ 663592 h 663706"/>
                    <a:gd name="connsiteX1146" fmla="*/ 192945 w 560807"/>
                    <a:gd name="connsiteY1146" fmla="*/ 663608 h 663706"/>
                    <a:gd name="connsiteX1147" fmla="*/ 182619 w 560807"/>
                    <a:gd name="connsiteY1147" fmla="*/ 663625 h 663706"/>
                    <a:gd name="connsiteX1148" fmla="*/ 172302 w 560807"/>
                    <a:gd name="connsiteY1148" fmla="*/ 663633 h 663706"/>
                    <a:gd name="connsiteX1149" fmla="*/ 161984 w 560807"/>
                    <a:gd name="connsiteY1149" fmla="*/ 663649 h 663706"/>
                    <a:gd name="connsiteX1150" fmla="*/ 157763 w 560807"/>
                    <a:gd name="connsiteY1150" fmla="*/ 663657 h 663706"/>
                    <a:gd name="connsiteX1151" fmla="*/ 151658 w 560807"/>
                    <a:gd name="connsiteY1151" fmla="*/ 663673 h 663706"/>
                    <a:gd name="connsiteX1152" fmla="*/ 141341 w 560807"/>
                    <a:gd name="connsiteY1152" fmla="*/ 663682 h 663706"/>
                    <a:gd name="connsiteX1153" fmla="*/ 131015 w 560807"/>
                    <a:gd name="connsiteY1153" fmla="*/ 663698 h 663706"/>
                    <a:gd name="connsiteX1154" fmla="*/ 125237 w 560807"/>
                    <a:gd name="connsiteY1154" fmla="*/ 663706 h 663706"/>
                    <a:gd name="connsiteX1155" fmla="*/ 124104 w 560807"/>
                    <a:gd name="connsiteY1155" fmla="*/ 663706 h 663706"/>
                    <a:gd name="connsiteX1156" fmla="*/ 127641 w 560807"/>
                    <a:gd name="connsiteY1156" fmla="*/ 662386 h 663706"/>
                    <a:gd name="connsiteX1157" fmla="*/ 135009 w 560807"/>
                    <a:gd name="connsiteY1157" fmla="*/ 657227 h 663706"/>
                    <a:gd name="connsiteX1158" fmla="*/ 140444 w 560807"/>
                    <a:gd name="connsiteY1158" fmla="*/ 655361 h 663706"/>
                    <a:gd name="connsiteX1159" fmla="*/ 147518 w 560807"/>
                    <a:gd name="connsiteY1159" fmla="*/ 649949 h 663706"/>
                    <a:gd name="connsiteX1160" fmla="*/ 152636 w 560807"/>
                    <a:gd name="connsiteY1160" fmla="*/ 648906 h 663706"/>
                    <a:gd name="connsiteX1161" fmla="*/ 153614 w 560807"/>
                    <a:gd name="connsiteY1161" fmla="*/ 647716 h 663706"/>
                    <a:gd name="connsiteX1162" fmla="*/ 154470 w 560807"/>
                    <a:gd name="connsiteY1162" fmla="*/ 643218 h 663706"/>
                    <a:gd name="connsiteX1163" fmla="*/ 154943 w 560807"/>
                    <a:gd name="connsiteY1163" fmla="*/ 641612 h 663706"/>
                    <a:gd name="connsiteX1164" fmla="*/ 157339 w 560807"/>
                    <a:gd name="connsiteY1164" fmla="*/ 637187 h 663706"/>
                    <a:gd name="connsiteX1165" fmla="*/ 160208 w 560807"/>
                    <a:gd name="connsiteY1165" fmla="*/ 633454 h 663706"/>
                    <a:gd name="connsiteX1166" fmla="*/ 162530 w 560807"/>
                    <a:gd name="connsiteY1166" fmla="*/ 628287 h 663706"/>
                    <a:gd name="connsiteX1167" fmla="*/ 166736 w 560807"/>
                    <a:gd name="connsiteY1167" fmla="*/ 624979 h 663706"/>
                    <a:gd name="connsiteX1168" fmla="*/ 173100 w 560807"/>
                    <a:gd name="connsiteY1168" fmla="*/ 622208 h 663706"/>
                    <a:gd name="connsiteX1169" fmla="*/ 178984 w 560807"/>
                    <a:gd name="connsiteY1169" fmla="*/ 616161 h 663706"/>
                    <a:gd name="connsiteX1170" fmla="*/ 182212 w 560807"/>
                    <a:gd name="connsiteY1170" fmla="*/ 614311 h 663706"/>
                    <a:gd name="connsiteX1171" fmla="*/ 185333 w 560807"/>
                    <a:gd name="connsiteY1171" fmla="*/ 612990 h 663706"/>
                    <a:gd name="connsiteX1172" fmla="*/ 186653 w 560807"/>
                    <a:gd name="connsiteY1172" fmla="*/ 610521 h 663706"/>
                    <a:gd name="connsiteX1173" fmla="*/ 188585 w 560807"/>
                    <a:gd name="connsiteY1173" fmla="*/ 609111 h 663706"/>
                    <a:gd name="connsiteX1174" fmla="*/ 193752 w 560807"/>
                    <a:gd name="connsiteY1174" fmla="*/ 606250 h 663706"/>
                    <a:gd name="connsiteX1175" fmla="*/ 199449 w 560807"/>
                    <a:gd name="connsiteY1175" fmla="*/ 605476 h 663706"/>
                    <a:gd name="connsiteX1176" fmla="*/ 205202 w 560807"/>
                    <a:gd name="connsiteY1176" fmla="*/ 603097 h 663706"/>
                    <a:gd name="connsiteX1177" fmla="*/ 209619 w 560807"/>
                    <a:gd name="connsiteY1177" fmla="*/ 601833 h 663706"/>
                    <a:gd name="connsiteX1178" fmla="*/ 212325 w 560807"/>
                    <a:gd name="connsiteY1178" fmla="*/ 599600 h 663706"/>
                    <a:gd name="connsiteX1179" fmla="*/ 216261 w 560807"/>
                    <a:gd name="connsiteY1179" fmla="*/ 598427 h 663706"/>
                    <a:gd name="connsiteX1180" fmla="*/ 228013 w 560807"/>
                    <a:gd name="connsiteY1180" fmla="*/ 592013 h 663706"/>
                    <a:gd name="connsiteX1181" fmla="*/ 231273 w 560807"/>
                    <a:gd name="connsiteY1181" fmla="*/ 589006 h 663706"/>
                    <a:gd name="connsiteX1182" fmla="*/ 235495 w 560807"/>
                    <a:gd name="connsiteY1182" fmla="*/ 582844 h 663706"/>
                    <a:gd name="connsiteX1183" fmla="*/ 239170 w 560807"/>
                    <a:gd name="connsiteY1183" fmla="*/ 579707 h 663706"/>
                    <a:gd name="connsiteX1184" fmla="*/ 240474 w 560807"/>
                    <a:gd name="connsiteY1184" fmla="*/ 576365 h 663706"/>
                    <a:gd name="connsiteX1185" fmla="*/ 245804 w 560807"/>
                    <a:gd name="connsiteY1185" fmla="*/ 570930 h 663706"/>
                    <a:gd name="connsiteX1186" fmla="*/ 251289 w 560807"/>
                    <a:gd name="connsiteY1186" fmla="*/ 563766 h 663706"/>
                    <a:gd name="connsiteX1187" fmla="*/ 254011 w 560807"/>
                    <a:gd name="connsiteY1187" fmla="*/ 558615 h 663706"/>
                    <a:gd name="connsiteX1188" fmla="*/ 258094 w 560807"/>
                    <a:gd name="connsiteY1188" fmla="*/ 555755 h 663706"/>
                    <a:gd name="connsiteX1189" fmla="*/ 266016 w 560807"/>
                    <a:gd name="connsiteY1189" fmla="*/ 547564 h 663706"/>
                    <a:gd name="connsiteX1190" fmla="*/ 270262 w 560807"/>
                    <a:gd name="connsiteY1190" fmla="*/ 544288 h 663706"/>
                    <a:gd name="connsiteX1191" fmla="*/ 271989 w 560807"/>
                    <a:gd name="connsiteY1191" fmla="*/ 543913 h 663706"/>
                    <a:gd name="connsiteX1192" fmla="*/ 276806 w 560807"/>
                    <a:gd name="connsiteY1192" fmla="*/ 541004 h 663706"/>
                    <a:gd name="connsiteX1193" fmla="*/ 279797 w 560807"/>
                    <a:gd name="connsiteY1193" fmla="*/ 537964 h 663706"/>
                    <a:gd name="connsiteX1194" fmla="*/ 284589 w 560807"/>
                    <a:gd name="connsiteY1194" fmla="*/ 534908 h 663706"/>
                    <a:gd name="connsiteX1195" fmla="*/ 293244 w 560807"/>
                    <a:gd name="connsiteY1195" fmla="*/ 531142 h 663706"/>
                    <a:gd name="connsiteX1196" fmla="*/ 301385 w 560807"/>
                    <a:gd name="connsiteY1196" fmla="*/ 526628 h 663706"/>
                    <a:gd name="connsiteX1197" fmla="*/ 312379 w 560807"/>
                    <a:gd name="connsiteY1197" fmla="*/ 522716 h 663706"/>
                    <a:gd name="connsiteX1198" fmla="*/ 325264 w 560807"/>
                    <a:gd name="connsiteY1198" fmla="*/ 516856 h 663706"/>
                    <a:gd name="connsiteX1199" fmla="*/ 335679 w 560807"/>
                    <a:gd name="connsiteY1199" fmla="*/ 513710 h 663706"/>
                    <a:gd name="connsiteX1200" fmla="*/ 343006 w 560807"/>
                    <a:gd name="connsiteY1200" fmla="*/ 513254 h 663706"/>
                    <a:gd name="connsiteX1201" fmla="*/ 351922 w 560807"/>
                    <a:gd name="connsiteY1201" fmla="*/ 511787 h 663706"/>
                    <a:gd name="connsiteX1202" fmla="*/ 355076 w 560807"/>
                    <a:gd name="connsiteY1202" fmla="*/ 511925 h 663706"/>
                    <a:gd name="connsiteX1203" fmla="*/ 368963 w 560807"/>
                    <a:gd name="connsiteY1203" fmla="*/ 514476 h 663706"/>
                    <a:gd name="connsiteX1204" fmla="*/ 375621 w 560807"/>
                    <a:gd name="connsiteY1204" fmla="*/ 517622 h 663706"/>
                    <a:gd name="connsiteX1205" fmla="*/ 383209 w 560807"/>
                    <a:gd name="connsiteY1205" fmla="*/ 524240 h 663706"/>
                    <a:gd name="connsiteX1206" fmla="*/ 384366 w 560807"/>
                    <a:gd name="connsiteY1206" fmla="*/ 525976 h 66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Lst>
                  <a:rect l="l" t="t" r="r" b="b"/>
                  <a:pathLst>
                    <a:path w="560807" h="663706">
                      <a:moveTo>
                        <a:pt x="50366" y="622028"/>
                      </a:moveTo>
                      <a:lnTo>
                        <a:pt x="31075" y="617774"/>
                      </a:lnTo>
                      <a:lnTo>
                        <a:pt x="23121" y="614710"/>
                      </a:lnTo>
                      <a:lnTo>
                        <a:pt x="20097" y="611417"/>
                      </a:lnTo>
                      <a:lnTo>
                        <a:pt x="17335" y="607155"/>
                      </a:lnTo>
                      <a:lnTo>
                        <a:pt x="13594" y="599315"/>
                      </a:lnTo>
                      <a:lnTo>
                        <a:pt x="8647" y="592388"/>
                      </a:lnTo>
                      <a:lnTo>
                        <a:pt x="6911" y="588403"/>
                      </a:lnTo>
                      <a:lnTo>
                        <a:pt x="6740" y="585061"/>
                      </a:lnTo>
                      <a:lnTo>
                        <a:pt x="5811" y="581809"/>
                      </a:lnTo>
                      <a:lnTo>
                        <a:pt x="4140" y="578647"/>
                      </a:lnTo>
                      <a:lnTo>
                        <a:pt x="3830" y="575942"/>
                      </a:lnTo>
                      <a:lnTo>
                        <a:pt x="4971" y="573513"/>
                      </a:lnTo>
                      <a:lnTo>
                        <a:pt x="4980" y="573317"/>
                      </a:lnTo>
                      <a:lnTo>
                        <a:pt x="4971" y="563179"/>
                      </a:lnTo>
                      <a:lnTo>
                        <a:pt x="4955" y="554500"/>
                      </a:lnTo>
                      <a:lnTo>
                        <a:pt x="4947" y="545812"/>
                      </a:lnTo>
                      <a:lnTo>
                        <a:pt x="4931" y="537100"/>
                      </a:lnTo>
                      <a:lnTo>
                        <a:pt x="4922" y="528380"/>
                      </a:lnTo>
                      <a:lnTo>
                        <a:pt x="4914" y="519635"/>
                      </a:lnTo>
                      <a:lnTo>
                        <a:pt x="4906" y="510882"/>
                      </a:lnTo>
                      <a:lnTo>
                        <a:pt x="4890" y="502105"/>
                      </a:lnTo>
                      <a:lnTo>
                        <a:pt x="4882" y="493311"/>
                      </a:lnTo>
                      <a:lnTo>
                        <a:pt x="4874" y="484502"/>
                      </a:lnTo>
                      <a:lnTo>
                        <a:pt x="4866" y="475675"/>
                      </a:lnTo>
                      <a:lnTo>
                        <a:pt x="4857" y="466825"/>
                      </a:lnTo>
                      <a:lnTo>
                        <a:pt x="4849" y="457966"/>
                      </a:lnTo>
                      <a:lnTo>
                        <a:pt x="4841" y="451495"/>
                      </a:lnTo>
                      <a:lnTo>
                        <a:pt x="6414" y="453076"/>
                      </a:lnTo>
                      <a:lnTo>
                        <a:pt x="9095" y="457216"/>
                      </a:lnTo>
                      <a:lnTo>
                        <a:pt x="8280" y="454584"/>
                      </a:lnTo>
                      <a:lnTo>
                        <a:pt x="6495" y="451544"/>
                      </a:lnTo>
                      <a:lnTo>
                        <a:pt x="4808" y="449751"/>
                      </a:lnTo>
                      <a:lnTo>
                        <a:pt x="4808" y="440200"/>
                      </a:lnTo>
                      <a:lnTo>
                        <a:pt x="4784" y="428448"/>
                      </a:lnTo>
                      <a:lnTo>
                        <a:pt x="5371" y="427510"/>
                      </a:lnTo>
                      <a:lnTo>
                        <a:pt x="9315" y="425359"/>
                      </a:lnTo>
                      <a:lnTo>
                        <a:pt x="10342" y="425555"/>
                      </a:lnTo>
                      <a:lnTo>
                        <a:pt x="11157" y="428171"/>
                      </a:lnTo>
                      <a:lnTo>
                        <a:pt x="12102" y="428708"/>
                      </a:lnTo>
                      <a:lnTo>
                        <a:pt x="13920" y="429116"/>
                      </a:lnTo>
                      <a:lnTo>
                        <a:pt x="15452" y="430021"/>
                      </a:lnTo>
                      <a:lnTo>
                        <a:pt x="16699" y="431422"/>
                      </a:lnTo>
                      <a:lnTo>
                        <a:pt x="17579" y="432840"/>
                      </a:lnTo>
                      <a:lnTo>
                        <a:pt x="18092" y="434283"/>
                      </a:lnTo>
                      <a:lnTo>
                        <a:pt x="19266" y="438969"/>
                      </a:lnTo>
                      <a:lnTo>
                        <a:pt x="20114" y="441137"/>
                      </a:lnTo>
                      <a:lnTo>
                        <a:pt x="20252" y="438505"/>
                      </a:lnTo>
                      <a:lnTo>
                        <a:pt x="21230" y="434364"/>
                      </a:lnTo>
                      <a:lnTo>
                        <a:pt x="21988" y="432669"/>
                      </a:lnTo>
                      <a:lnTo>
                        <a:pt x="24368" y="430176"/>
                      </a:lnTo>
                      <a:lnTo>
                        <a:pt x="24246" y="429100"/>
                      </a:lnTo>
                      <a:lnTo>
                        <a:pt x="23251" y="427657"/>
                      </a:lnTo>
                      <a:lnTo>
                        <a:pt x="18256" y="421447"/>
                      </a:lnTo>
                      <a:lnTo>
                        <a:pt x="18166" y="419939"/>
                      </a:lnTo>
                      <a:lnTo>
                        <a:pt x="19494" y="419043"/>
                      </a:lnTo>
                      <a:lnTo>
                        <a:pt x="20407" y="417331"/>
                      </a:lnTo>
                      <a:lnTo>
                        <a:pt x="20896" y="414797"/>
                      </a:lnTo>
                      <a:lnTo>
                        <a:pt x="21964" y="412955"/>
                      </a:lnTo>
                      <a:lnTo>
                        <a:pt x="25093" y="410372"/>
                      </a:lnTo>
                      <a:lnTo>
                        <a:pt x="27782" y="406411"/>
                      </a:lnTo>
                      <a:lnTo>
                        <a:pt x="29168" y="403673"/>
                      </a:lnTo>
                      <a:lnTo>
                        <a:pt x="30309" y="402230"/>
                      </a:lnTo>
                      <a:lnTo>
                        <a:pt x="31385" y="401888"/>
                      </a:lnTo>
                      <a:lnTo>
                        <a:pt x="29779" y="400779"/>
                      </a:lnTo>
                      <a:lnTo>
                        <a:pt x="29453" y="400062"/>
                      </a:lnTo>
                      <a:lnTo>
                        <a:pt x="29380" y="396778"/>
                      </a:lnTo>
                      <a:lnTo>
                        <a:pt x="28687" y="393322"/>
                      </a:lnTo>
                      <a:lnTo>
                        <a:pt x="27611" y="391717"/>
                      </a:lnTo>
                      <a:lnTo>
                        <a:pt x="24555" y="388270"/>
                      </a:lnTo>
                      <a:lnTo>
                        <a:pt x="24050" y="387243"/>
                      </a:lnTo>
                      <a:lnTo>
                        <a:pt x="23520" y="383339"/>
                      </a:lnTo>
                      <a:lnTo>
                        <a:pt x="23822" y="381383"/>
                      </a:lnTo>
                      <a:lnTo>
                        <a:pt x="24612" y="379737"/>
                      </a:lnTo>
                      <a:lnTo>
                        <a:pt x="24156" y="378148"/>
                      </a:lnTo>
                      <a:lnTo>
                        <a:pt x="21320" y="375263"/>
                      </a:lnTo>
                      <a:lnTo>
                        <a:pt x="20220" y="372744"/>
                      </a:lnTo>
                      <a:lnTo>
                        <a:pt x="19013" y="366656"/>
                      </a:lnTo>
                      <a:lnTo>
                        <a:pt x="17905" y="358996"/>
                      </a:lnTo>
                      <a:lnTo>
                        <a:pt x="16634" y="353364"/>
                      </a:lnTo>
                      <a:lnTo>
                        <a:pt x="15216" y="349754"/>
                      </a:lnTo>
                      <a:lnTo>
                        <a:pt x="14898" y="347472"/>
                      </a:lnTo>
                      <a:lnTo>
                        <a:pt x="15680" y="346527"/>
                      </a:lnTo>
                      <a:lnTo>
                        <a:pt x="16699" y="343674"/>
                      </a:lnTo>
                      <a:lnTo>
                        <a:pt x="17620" y="342973"/>
                      </a:lnTo>
                      <a:lnTo>
                        <a:pt x="19046" y="343161"/>
                      </a:lnTo>
                      <a:lnTo>
                        <a:pt x="19079" y="342843"/>
                      </a:lnTo>
                      <a:lnTo>
                        <a:pt x="16911" y="341303"/>
                      </a:lnTo>
                      <a:lnTo>
                        <a:pt x="15843" y="339363"/>
                      </a:lnTo>
                      <a:lnTo>
                        <a:pt x="15884" y="338646"/>
                      </a:lnTo>
                      <a:lnTo>
                        <a:pt x="17799" y="336722"/>
                      </a:lnTo>
                      <a:lnTo>
                        <a:pt x="17457" y="335899"/>
                      </a:lnTo>
                      <a:lnTo>
                        <a:pt x="16039" y="334848"/>
                      </a:lnTo>
                      <a:lnTo>
                        <a:pt x="11711" y="333080"/>
                      </a:lnTo>
                      <a:lnTo>
                        <a:pt x="13276" y="332395"/>
                      </a:lnTo>
                      <a:lnTo>
                        <a:pt x="14270" y="330871"/>
                      </a:lnTo>
                      <a:lnTo>
                        <a:pt x="14075" y="330423"/>
                      </a:lnTo>
                      <a:lnTo>
                        <a:pt x="12363" y="329795"/>
                      </a:lnTo>
                      <a:lnTo>
                        <a:pt x="10383" y="328622"/>
                      </a:lnTo>
                      <a:lnTo>
                        <a:pt x="8883" y="326861"/>
                      </a:lnTo>
                      <a:lnTo>
                        <a:pt x="7033" y="324090"/>
                      </a:lnTo>
                      <a:lnTo>
                        <a:pt x="5909" y="321890"/>
                      </a:lnTo>
                      <a:lnTo>
                        <a:pt x="4800" y="318231"/>
                      </a:lnTo>
                      <a:lnTo>
                        <a:pt x="2877" y="314058"/>
                      </a:lnTo>
                      <a:lnTo>
                        <a:pt x="2037" y="313015"/>
                      </a:lnTo>
                      <a:lnTo>
                        <a:pt x="1076" y="312347"/>
                      </a:lnTo>
                      <a:lnTo>
                        <a:pt x="0" y="312037"/>
                      </a:lnTo>
                      <a:lnTo>
                        <a:pt x="41" y="311393"/>
                      </a:lnTo>
                      <a:lnTo>
                        <a:pt x="1206" y="310423"/>
                      </a:lnTo>
                      <a:lnTo>
                        <a:pt x="19967" y="303431"/>
                      </a:lnTo>
                      <a:lnTo>
                        <a:pt x="21524" y="302428"/>
                      </a:lnTo>
                      <a:lnTo>
                        <a:pt x="30733" y="298500"/>
                      </a:lnTo>
                      <a:lnTo>
                        <a:pt x="34979" y="296316"/>
                      </a:lnTo>
                      <a:lnTo>
                        <a:pt x="39314" y="293162"/>
                      </a:lnTo>
                      <a:lnTo>
                        <a:pt x="45215" y="289919"/>
                      </a:lnTo>
                      <a:lnTo>
                        <a:pt x="48092" y="287824"/>
                      </a:lnTo>
                      <a:lnTo>
                        <a:pt x="49909" y="285803"/>
                      </a:lnTo>
                      <a:lnTo>
                        <a:pt x="59265" y="277727"/>
                      </a:lnTo>
                      <a:lnTo>
                        <a:pt x="63226" y="273603"/>
                      </a:lnTo>
                      <a:lnTo>
                        <a:pt x="65524" y="270041"/>
                      </a:lnTo>
                      <a:lnTo>
                        <a:pt x="68857" y="265787"/>
                      </a:lnTo>
                      <a:lnTo>
                        <a:pt x="73234" y="260824"/>
                      </a:lnTo>
                      <a:lnTo>
                        <a:pt x="75988" y="256578"/>
                      </a:lnTo>
                      <a:lnTo>
                        <a:pt x="77145" y="253025"/>
                      </a:lnTo>
                      <a:lnTo>
                        <a:pt x="78572" y="246896"/>
                      </a:lnTo>
                      <a:lnTo>
                        <a:pt x="78979" y="241452"/>
                      </a:lnTo>
                      <a:lnTo>
                        <a:pt x="79232" y="233465"/>
                      </a:lnTo>
                      <a:lnTo>
                        <a:pt x="79085" y="226318"/>
                      </a:lnTo>
                      <a:lnTo>
                        <a:pt x="77911" y="215104"/>
                      </a:lnTo>
                      <a:lnTo>
                        <a:pt x="77211" y="211559"/>
                      </a:lnTo>
                      <a:lnTo>
                        <a:pt x="75874" y="207345"/>
                      </a:lnTo>
                      <a:lnTo>
                        <a:pt x="72622" y="198853"/>
                      </a:lnTo>
                      <a:lnTo>
                        <a:pt x="72044" y="196547"/>
                      </a:lnTo>
                      <a:lnTo>
                        <a:pt x="70023" y="192643"/>
                      </a:lnTo>
                      <a:lnTo>
                        <a:pt x="63430" y="182448"/>
                      </a:lnTo>
                      <a:lnTo>
                        <a:pt x="55190" y="175529"/>
                      </a:lnTo>
                      <a:lnTo>
                        <a:pt x="53625" y="173793"/>
                      </a:lnTo>
                      <a:lnTo>
                        <a:pt x="50357" y="171756"/>
                      </a:lnTo>
                      <a:lnTo>
                        <a:pt x="45394" y="169417"/>
                      </a:lnTo>
                      <a:lnTo>
                        <a:pt x="42183" y="167518"/>
                      </a:lnTo>
                      <a:lnTo>
                        <a:pt x="33797" y="160387"/>
                      </a:lnTo>
                      <a:lnTo>
                        <a:pt x="31034" y="159531"/>
                      </a:lnTo>
                      <a:lnTo>
                        <a:pt x="29975" y="157689"/>
                      </a:lnTo>
                      <a:lnTo>
                        <a:pt x="29746" y="156377"/>
                      </a:lnTo>
                      <a:lnTo>
                        <a:pt x="30064" y="152954"/>
                      </a:lnTo>
                      <a:lnTo>
                        <a:pt x="30554" y="150583"/>
                      </a:lnTo>
                      <a:lnTo>
                        <a:pt x="31148" y="148839"/>
                      </a:lnTo>
                      <a:lnTo>
                        <a:pt x="31841" y="147714"/>
                      </a:lnTo>
                      <a:lnTo>
                        <a:pt x="36454" y="142449"/>
                      </a:lnTo>
                      <a:lnTo>
                        <a:pt x="39037" y="138228"/>
                      </a:lnTo>
                      <a:lnTo>
                        <a:pt x="40830" y="135913"/>
                      </a:lnTo>
                      <a:lnTo>
                        <a:pt x="42819" y="134112"/>
                      </a:lnTo>
                      <a:lnTo>
                        <a:pt x="46413" y="131757"/>
                      </a:lnTo>
                      <a:lnTo>
                        <a:pt x="48450" y="128782"/>
                      </a:lnTo>
                      <a:lnTo>
                        <a:pt x="47986" y="127576"/>
                      </a:lnTo>
                      <a:lnTo>
                        <a:pt x="46364" y="126256"/>
                      </a:lnTo>
                      <a:lnTo>
                        <a:pt x="46005" y="124976"/>
                      </a:lnTo>
                      <a:lnTo>
                        <a:pt x="48735" y="121708"/>
                      </a:lnTo>
                      <a:lnTo>
                        <a:pt x="49119" y="120795"/>
                      </a:lnTo>
                      <a:lnTo>
                        <a:pt x="48776" y="117723"/>
                      </a:lnTo>
                      <a:lnTo>
                        <a:pt x="49306" y="117030"/>
                      </a:lnTo>
                      <a:lnTo>
                        <a:pt x="52680" y="116851"/>
                      </a:lnTo>
                      <a:lnTo>
                        <a:pt x="57480" y="121276"/>
                      </a:lnTo>
                      <a:lnTo>
                        <a:pt x="58662" y="120885"/>
                      </a:lnTo>
                      <a:lnTo>
                        <a:pt x="57130" y="119663"/>
                      </a:lnTo>
                      <a:lnTo>
                        <a:pt x="55288" y="116680"/>
                      </a:lnTo>
                      <a:lnTo>
                        <a:pt x="55549" y="115449"/>
                      </a:lnTo>
                      <a:lnTo>
                        <a:pt x="59094" y="112222"/>
                      </a:lnTo>
                      <a:lnTo>
                        <a:pt x="59192" y="110755"/>
                      </a:lnTo>
                      <a:lnTo>
                        <a:pt x="58181" y="108717"/>
                      </a:lnTo>
                      <a:lnTo>
                        <a:pt x="58067" y="107096"/>
                      </a:lnTo>
                      <a:lnTo>
                        <a:pt x="60137" y="103225"/>
                      </a:lnTo>
                      <a:lnTo>
                        <a:pt x="59583" y="102401"/>
                      </a:lnTo>
                      <a:lnTo>
                        <a:pt x="53747" y="101652"/>
                      </a:lnTo>
                      <a:lnTo>
                        <a:pt x="52786" y="100576"/>
                      </a:lnTo>
                      <a:lnTo>
                        <a:pt x="53128" y="100062"/>
                      </a:lnTo>
                      <a:lnTo>
                        <a:pt x="55875" y="98758"/>
                      </a:lnTo>
                      <a:lnTo>
                        <a:pt x="56087" y="98270"/>
                      </a:lnTo>
                      <a:lnTo>
                        <a:pt x="51229" y="89598"/>
                      </a:lnTo>
                      <a:lnTo>
                        <a:pt x="50414" y="87007"/>
                      </a:lnTo>
                      <a:lnTo>
                        <a:pt x="52476" y="83820"/>
                      </a:lnTo>
                      <a:lnTo>
                        <a:pt x="54823" y="82369"/>
                      </a:lnTo>
                      <a:lnTo>
                        <a:pt x="54530" y="81546"/>
                      </a:lnTo>
                      <a:lnTo>
                        <a:pt x="51457" y="81391"/>
                      </a:lnTo>
                      <a:lnTo>
                        <a:pt x="49591" y="80959"/>
                      </a:lnTo>
                      <a:lnTo>
                        <a:pt x="47709" y="78466"/>
                      </a:lnTo>
                      <a:lnTo>
                        <a:pt x="48442" y="76893"/>
                      </a:lnTo>
                      <a:lnTo>
                        <a:pt x="49110" y="76176"/>
                      </a:lnTo>
                      <a:lnTo>
                        <a:pt x="50936" y="72443"/>
                      </a:lnTo>
                      <a:lnTo>
                        <a:pt x="52696" y="71677"/>
                      </a:lnTo>
                      <a:lnTo>
                        <a:pt x="52362" y="71009"/>
                      </a:lnTo>
                      <a:lnTo>
                        <a:pt x="45704" y="72590"/>
                      </a:lnTo>
                      <a:lnTo>
                        <a:pt x="42566" y="71286"/>
                      </a:lnTo>
                      <a:lnTo>
                        <a:pt x="39485" y="71628"/>
                      </a:lnTo>
                      <a:lnTo>
                        <a:pt x="38019" y="71245"/>
                      </a:lnTo>
                      <a:lnTo>
                        <a:pt x="38557" y="69908"/>
                      </a:lnTo>
                      <a:lnTo>
                        <a:pt x="44155" y="63845"/>
                      </a:lnTo>
                      <a:lnTo>
                        <a:pt x="46731" y="60569"/>
                      </a:lnTo>
                      <a:lnTo>
                        <a:pt x="48344" y="57602"/>
                      </a:lnTo>
                      <a:lnTo>
                        <a:pt x="49192" y="55622"/>
                      </a:lnTo>
                      <a:lnTo>
                        <a:pt x="49290" y="54644"/>
                      </a:lnTo>
                      <a:lnTo>
                        <a:pt x="48727" y="48075"/>
                      </a:lnTo>
                      <a:lnTo>
                        <a:pt x="49062" y="46274"/>
                      </a:lnTo>
                      <a:lnTo>
                        <a:pt x="51229" y="44595"/>
                      </a:lnTo>
                      <a:lnTo>
                        <a:pt x="54563" y="41450"/>
                      </a:lnTo>
                      <a:lnTo>
                        <a:pt x="49999" y="38597"/>
                      </a:lnTo>
                      <a:lnTo>
                        <a:pt x="47130" y="35826"/>
                      </a:lnTo>
                      <a:lnTo>
                        <a:pt x="45239" y="34449"/>
                      </a:lnTo>
                      <a:lnTo>
                        <a:pt x="43813" y="33096"/>
                      </a:lnTo>
                      <a:lnTo>
                        <a:pt x="41979" y="30244"/>
                      </a:lnTo>
                      <a:lnTo>
                        <a:pt x="40586" y="26519"/>
                      </a:lnTo>
                      <a:lnTo>
                        <a:pt x="39111" y="19021"/>
                      </a:lnTo>
                      <a:lnTo>
                        <a:pt x="38866" y="14881"/>
                      </a:lnTo>
                      <a:lnTo>
                        <a:pt x="39208" y="11882"/>
                      </a:lnTo>
                      <a:lnTo>
                        <a:pt x="39828" y="10415"/>
                      </a:lnTo>
                      <a:lnTo>
                        <a:pt x="40838" y="8891"/>
                      </a:lnTo>
                      <a:lnTo>
                        <a:pt x="45011" y="5982"/>
                      </a:lnTo>
                      <a:lnTo>
                        <a:pt x="52346" y="1687"/>
                      </a:lnTo>
                      <a:lnTo>
                        <a:pt x="58091" y="0"/>
                      </a:lnTo>
                      <a:lnTo>
                        <a:pt x="62239" y="929"/>
                      </a:lnTo>
                      <a:lnTo>
                        <a:pt x="70324" y="1940"/>
                      </a:lnTo>
                      <a:lnTo>
                        <a:pt x="76844" y="4385"/>
                      </a:lnTo>
                      <a:lnTo>
                        <a:pt x="96672" y="10513"/>
                      </a:lnTo>
                      <a:lnTo>
                        <a:pt x="100177" y="13219"/>
                      </a:lnTo>
                      <a:lnTo>
                        <a:pt x="96860" y="15517"/>
                      </a:lnTo>
                      <a:lnTo>
                        <a:pt x="97340" y="16079"/>
                      </a:lnTo>
                      <a:lnTo>
                        <a:pt x="104806" y="11711"/>
                      </a:lnTo>
                      <a:lnTo>
                        <a:pt x="106778" y="10864"/>
                      </a:lnTo>
                      <a:lnTo>
                        <a:pt x="108465" y="10660"/>
                      </a:lnTo>
                      <a:lnTo>
                        <a:pt x="114096" y="12355"/>
                      </a:lnTo>
                      <a:lnTo>
                        <a:pt x="116362" y="12608"/>
                      </a:lnTo>
                      <a:lnTo>
                        <a:pt x="119222" y="14018"/>
                      </a:lnTo>
                      <a:lnTo>
                        <a:pt x="126044" y="18687"/>
                      </a:lnTo>
                      <a:lnTo>
                        <a:pt x="126533" y="18304"/>
                      </a:lnTo>
                      <a:lnTo>
                        <a:pt x="124626" y="15925"/>
                      </a:lnTo>
                      <a:lnTo>
                        <a:pt x="125718" y="14784"/>
                      </a:lnTo>
                      <a:lnTo>
                        <a:pt x="131089" y="12306"/>
                      </a:lnTo>
                      <a:lnTo>
                        <a:pt x="136639" y="10277"/>
                      </a:lnTo>
                      <a:lnTo>
                        <a:pt x="140575" y="8288"/>
                      </a:lnTo>
                      <a:lnTo>
                        <a:pt x="144764" y="5656"/>
                      </a:lnTo>
                      <a:lnTo>
                        <a:pt x="147592" y="4246"/>
                      </a:lnTo>
                      <a:lnTo>
                        <a:pt x="149050" y="4075"/>
                      </a:lnTo>
                      <a:lnTo>
                        <a:pt x="150909" y="4849"/>
                      </a:lnTo>
                      <a:lnTo>
                        <a:pt x="155913" y="8337"/>
                      </a:lnTo>
                      <a:lnTo>
                        <a:pt x="159123" y="10130"/>
                      </a:lnTo>
                      <a:lnTo>
                        <a:pt x="161699" y="12005"/>
                      </a:lnTo>
                      <a:lnTo>
                        <a:pt x="165309" y="15313"/>
                      </a:lnTo>
                      <a:lnTo>
                        <a:pt x="166727" y="16039"/>
                      </a:lnTo>
                      <a:lnTo>
                        <a:pt x="169466" y="18280"/>
                      </a:lnTo>
                      <a:lnTo>
                        <a:pt x="173108" y="18052"/>
                      </a:lnTo>
                      <a:lnTo>
                        <a:pt x="174298" y="18321"/>
                      </a:lnTo>
                      <a:lnTo>
                        <a:pt x="174698" y="18753"/>
                      </a:lnTo>
                      <a:lnTo>
                        <a:pt x="175309" y="20277"/>
                      </a:lnTo>
                      <a:lnTo>
                        <a:pt x="175635" y="21246"/>
                      </a:lnTo>
                      <a:lnTo>
                        <a:pt x="175659" y="22290"/>
                      </a:lnTo>
                      <a:lnTo>
                        <a:pt x="174820" y="25223"/>
                      </a:lnTo>
                      <a:lnTo>
                        <a:pt x="172196" y="29893"/>
                      </a:lnTo>
                      <a:lnTo>
                        <a:pt x="173296" y="29967"/>
                      </a:lnTo>
                      <a:lnTo>
                        <a:pt x="174950" y="28964"/>
                      </a:lnTo>
                      <a:lnTo>
                        <a:pt x="177102" y="27179"/>
                      </a:lnTo>
                      <a:lnTo>
                        <a:pt x="178797" y="26544"/>
                      </a:lnTo>
                      <a:lnTo>
                        <a:pt x="182391" y="27970"/>
                      </a:lnTo>
                      <a:lnTo>
                        <a:pt x="185724" y="30252"/>
                      </a:lnTo>
                      <a:lnTo>
                        <a:pt x="186906" y="31466"/>
                      </a:lnTo>
                      <a:lnTo>
                        <a:pt x="188210" y="33438"/>
                      </a:lnTo>
                      <a:lnTo>
                        <a:pt x="189318" y="34457"/>
                      </a:lnTo>
                      <a:lnTo>
                        <a:pt x="190345" y="36405"/>
                      </a:lnTo>
                      <a:lnTo>
                        <a:pt x="190272" y="37032"/>
                      </a:lnTo>
                      <a:lnTo>
                        <a:pt x="189310" y="37978"/>
                      </a:lnTo>
                      <a:lnTo>
                        <a:pt x="185219" y="39575"/>
                      </a:lnTo>
                      <a:lnTo>
                        <a:pt x="185993" y="40178"/>
                      </a:lnTo>
                      <a:lnTo>
                        <a:pt x="190777" y="39176"/>
                      </a:lnTo>
                      <a:lnTo>
                        <a:pt x="192236" y="38190"/>
                      </a:lnTo>
                      <a:lnTo>
                        <a:pt x="193279" y="36535"/>
                      </a:lnTo>
                      <a:lnTo>
                        <a:pt x="194673" y="36071"/>
                      </a:lnTo>
                      <a:lnTo>
                        <a:pt x="200321" y="38964"/>
                      </a:lnTo>
                      <a:lnTo>
                        <a:pt x="201152" y="39974"/>
                      </a:lnTo>
                      <a:lnTo>
                        <a:pt x="200793" y="40765"/>
                      </a:lnTo>
                      <a:lnTo>
                        <a:pt x="199880" y="41653"/>
                      </a:lnTo>
                      <a:lnTo>
                        <a:pt x="197419" y="42639"/>
                      </a:lnTo>
                      <a:lnTo>
                        <a:pt x="195300" y="45101"/>
                      </a:lnTo>
                      <a:lnTo>
                        <a:pt x="194966" y="46160"/>
                      </a:lnTo>
                      <a:lnTo>
                        <a:pt x="196474" y="46910"/>
                      </a:lnTo>
                      <a:lnTo>
                        <a:pt x="200149" y="47236"/>
                      </a:lnTo>
                      <a:lnTo>
                        <a:pt x="200125" y="47823"/>
                      </a:lnTo>
                      <a:lnTo>
                        <a:pt x="197957" y="48996"/>
                      </a:lnTo>
                      <a:lnTo>
                        <a:pt x="197680" y="50406"/>
                      </a:lnTo>
                      <a:lnTo>
                        <a:pt x="202439" y="55418"/>
                      </a:lnTo>
                      <a:lnTo>
                        <a:pt x="205634" y="57610"/>
                      </a:lnTo>
                      <a:lnTo>
                        <a:pt x="207476" y="58010"/>
                      </a:lnTo>
                      <a:lnTo>
                        <a:pt x="211771" y="58116"/>
                      </a:lnTo>
                      <a:lnTo>
                        <a:pt x="215251" y="58963"/>
                      </a:lnTo>
                      <a:lnTo>
                        <a:pt x="222985" y="61808"/>
                      </a:lnTo>
                      <a:lnTo>
                        <a:pt x="227508" y="62321"/>
                      </a:lnTo>
                      <a:lnTo>
                        <a:pt x="231412" y="61457"/>
                      </a:lnTo>
                      <a:lnTo>
                        <a:pt x="233995" y="61270"/>
                      </a:lnTo>
                      <a:lnTo>
                        <a:pt x="236285" y="62402"/>
                      </a:lnTo>
                      <a:lnTo>
                        <a:pt x="237011" y="63209"/>
                      </a:lnTo>
                      <a:lnTo>
                        <a:pt x="237353" y="64799"/>
                      </a:lnTo>
                      <a:lnTo>
                        <a:pt x="237304" y="67186"/>
                      </a:lnTo>
                      <a:lnTo>
                        <a:pt x="238559" y="68857"/>
                      </a:lnTo>
                      <a:lnTo>
                        <a:pt x="241110" y="69811"/>
                      </a:lnTo>
                      <a:lnTo>
                        <a:pt x="243172" y="69664"/>
                      </a:lnTo>
                      <a:lnTo>
                        <a:pt x="245878" y="67789"/>
                      </a:lnTo>
                      <a:lnTo>
                        <a:pt x="248151" y="67463"/>
                      </a:lnTo>
                      <a:lnTo>
                        <a:pt x="248917" y="66062"/>
                      </a:lnTo>
                      <a:lnTo>
                        <a:pt x="249594" y="63454"/>
                      </a:lnTo>
                      <a:lnTo>
                        <a:pt x="250262" y="62028"/>
                      </a:lnTo>
                      <a:lnTo>
                        <a:pt x="251916" y="61620"/>
                      </a:lnTo>
                      <a:lnTo>
                        <a:pt x="253253" y="62394"/>
                      </a:lnTo>
                      <a:lnTo>
                        <a:pt x="254027" y="63584"/>
                      </a:lnTo>
                      <a:lnTo>
                        <a:pt x="255462" y="67154"/>
                      </a:lnTo>
                      <a:lnTo>
                        <a:pt x="255853" y="68743"/>
                      </a:lnTo>
                      <a:lnTo>
                        <a:pt x="255698" y="70202"/>
                      </a:lnTo>
                      <a:lnTo>
                        <a:pt x="254989" y="71506"/>
                      </a:lnTo>
                      <a:lnTo>
                        <a:pt x="253587" y="72907"/>
                      </a:lnTo>
                      <a:lnTo>
                        <a:pt x="251501" y="74391"/>
                      </a:lnTo>
                      <a:lnTo>
                        <a:pt x="249855" y="76518"/>
                      </a:lnTo>
                      <a:lnTo>
                        <a:pt x="247842" y="81432"/>
                      </a:lnTo>
                      <a:lnTo>
                        <a:pt x="247100" y="84651"/>
                      </a:lnTo>
                      <a:lnTo>
                        <a:pt x="246896" y="86542"/>
                      </a:lnTo>
                      <a:lnTo>
                        <a:pt x="246986" y="88612"/>
                      </a:lnTo>
                      <a:lnTo>
                        <a:pt x="247369" y="90861"/>
                      </a:lnTo>
                      <a:lnTo>
                        <a:pt x="248159" y="92728"/>
                      </a:lnTo>
                      <a:lnTo>
                        <a:pt x="250026" y="95352"/>
                      </a:lnTo>
                      <a:lnTo>
                        <a:pt x="250132" y="96216"/>
                      </a:lnTo>
                      <a:lnTo>
                        <a:pt x="250270" y="98343"/>
                      </a:lnTo>
                      <a:lnTo>
                        <a:pt x="250099" y="99280"/>
                      </a:lnTo>
                      <a:lnTo>
                        <a:pt x="249015" y="101130"/>
                      </a:lnTo>
                      <a:lnTo>
                        <a:pt x="245992" y="102972"/>
                      </a:lnTo>
                      <a:lnTo>
                        <a:pt x="241843" y="103453"/>
                      </a:lnTo>
                      <a:lnTo>
                        <a:pt x="228290" y="103551"/>
                      </a:lnTo>
                      <a:lnTo>
                        <a:pt x="224680" y="103110"/>
                      </a:lnTo>
                      <a:lnTo>
                        <a:pt x="225544" y="104789"/>
                      </a:lnTo>
                      <a:lnTo>
                        <a:pt x="229342" y="105327"/>
                      </a:lnTo>
                      <a:lnTo>
                        <a:pt x="232805" y="105311"/>
                      </a:lnTo>
                      <a:lnTo>
                        <a:pt x="245731" y="106362"/>
                      </a:lnTo>
                      <a:lnTo>
                        <a:pt x="247516" y="107438"/>
                      </a:lnTo>
                      <a:lnTo>
                        <a:pt x="249015" y="109320"/>
                      </a:lnTo>
                      <a:lnTo>
                        <a:pt x="250083" y="111268"/>
                      </a:lnTo>
                      <a:lnTo>
                        <a:pt x="251142" y="115229"/>
                      </a:lnTo>
                      <a:lnTo>
                        <a:pt x="251338" y="117103"/>
                      </a:lnTo>
                      <a:lnTo>
                        <a:pt x="250775" y="119190"/>
                      </a:lnTo>
                      <a:lnTo>
                        <a:pt x="249439" y="121480"/>
                      </a:lnTo>
                      <a:lnTo>
                        <a:pt x="248542" y="124528"/>
                      </a:lnTo>
                      <a:lnTo>
                        <a:pt x="248086" y="128334"/>
                      </a:lnTo>
                      <a:lnTo>
                        <a:pt x="248803" y="130347"/>
                      </a:lnTo>
                      <a:lnTo>
                        <a:pt x="255796" y="130510"/>
                      </a:lnTo>
                      <a:lnTo>
                        <a:pt x="257181" y="131879"/>
                      </a:lnTo>
                      <a:lnTo>
                        <a:pt x="257018" y="132898"/>
                      </a:lnTo>
                      <a:lnTo>
                        <a:pt x="254541" y="136753"/>
                      </a:lnTo>
                      <a:lnTo>
                        <a:pt x="254304" y="137845"/>
                      </a:lnTo>
                      <a:lnTo>
                        <a:pt x="255437" y="140436"/>
                      </a:lnTo>
                      <a:lnTo>
                        <a:pt x="255282" y="141170"/>
                      </a:lnTo>
                      <a:lnTo>
                        <a:pt x="254598" y="141928"/>
                      </a:lnTo>
                      <a:lnTo>
                        <a:pt x="253937" y="143875"/>
                      </a:lnTo>
                      <a:lnTo>
                        <a:pt x="253310" y="147013"/>
                      </a:lnTo>
                      <a:lnTo>
                        <a:pt x="252520" y="149042"/>
                      </a:lnTo>
                      <a:lnTo>
                        <a:pt x="250621" y="150607"/>
                      </a:lnTo>
                      <a:lnTo>
                        <a:pt x="249618" y="150949"/>
                      </a:lnTo>
                      <a:lnTo>
                        <a:pt x="248909" y="150542"/>
                      </a:lnTo>
                      <a:lnTo>
                        <a:pt x="247035" y="146263"/>
                      </a:lnTo>
                      <a:lnTo>
                        <a:pt x="246261" y="145636"/>
                      </a:lnTo>
                      <a:lnTo>
                        <a:pt x="245527" y="146027"/>
                      </a:lnTo>
                      <a:lnTo>
                        <a:pt x="245160" y="146695"/>
                      </a:lnTo>
                      <a:lnTo>
                        <a:pt x="245160" y="147616"/>
                      </a:lnTo>
                      <a:lnTo>
                        <a:pt x="244834" y="148578"/>
                      </a:lnTo>
                      <a:lnTo>
                        <a:pt x="244191" y="149564"/>
                      </a:lnTo>
                      <a:lnTo>
                        <a:pt x="241428" y="151129"/>
                      </a:lnTo>
                      <a:lnTo>
                        <a:pt x="236945" y="152188"/>
                      </a:lnTo>
                      <a:lnTo>
                        <a:pt x="237084" y="153329"/>
                      </a:lnTo>
                      <a:lnTo>
                        <a:pt x="240091" y="153940"/>
                      </a:lnTo>
                      <a:lnTo>
                        <a:pt x="243922" y="155839"/>
                      </a:lnTo>
                      <a:lnTo>
                        <a:pt x="246122" y="156141"/>
                      </a:lnTo>
                      <a:lnTo>
                        <a:pt x="249578" y="154600"/>
                      </a:lnTo>
                      <a:lnTo>
                        <a:pt x="256236" y="149776"/>
                      </a:lnTo>
                      <a:lnTo>
                        <a:pt x="258982" y="148464"/>
                      </a:lnTo>
                      <a:lnTo>
                        <a:pt x="261403" y="147958"/>
                      </a:lnTo>
                      <a:lnTo>
                        <a:pt x="264125" y="147893"/>
                      </a:lnTo>
                      <a:lnTo>
                        <a:pt x="267156" y="148268"/>
                      </a:lnTo>
                      <a:lnTo>
                        <a:pt x="273187" y="147649"/>
                      </a:lnTo>
                      <a:lnTo>
                        <a:pt x="274703" y="148105"/>
                      </a:lnTo>
                      <a:lnTo>
                        <a:pt x="276545" y="149173"/>
                      </a:lnTo>
                      <a:lnTo>
                        <a:pt x="278729" y="150852"/>
                      </a:lnTo>
                      <a:lnTo>
                        <a:pt x="280237" y="152465"/>
                      </a:lnTo>
                      <a:lnTo>
                        <a:pt x="281060" y="154005"/>
                      </a:lnTo>
                      <a:lnTo>
                        <a:pt x="282421" y="159841"/>
                      </a:lnTo>
                      <a:lnTo>
                        <a:pt x="284247" y="161373"/>
                      </a:lnTo>
                      <a:lnTo>
                        <a:pt x="284687" y="162489"/>
                      </a:lnTo>
                      <a:lnTo>
                        <a:pt x="284833" y="164201"/>
                      </a:lnTo>
                      <a:lnTo>
                        <a:pt x="284727" y="167559"/>
                      </a:lnTo>
                      <a:lnTo>
                        <a:pt x="282714" y="174331"/>
                      </a:lnTo>
                      <a:lnTo>
                        <a:pt x="281679" y="176825"/>
                      </a:lnTo>
                      <a:lnTo>
                        <a:pt x="278908" y="180231"/>
                      </a:lnTo>
                      <a:lnTo>
                        <a:pt x="275722" y="181772"/>
                      </a:lnTo>
                      <a:lnTo>
                        <a:pt x="270041" y="183222"/>
                      </a:lnTo>
                      <a:lnTo>
                        <a:pt x="267075" y="184437"/>
                      </a:lnTo>
                      <a:lnTo>
                        <a:pt x="264842" y="186107"/>
                      </a:lnTo>
                      <a:lnTo>
                        <a:pt x="264712" y="187028"/>
                      </a:lnTo>
                      <a:lnTo>
                        <a:pt x="271158" y="184160"/>
                      </a:lnTo>
                      <a:lnTo>
                        <a:pt x="278248" y="182758"/>
                      </a:lnTo>
                      <a:lnTo>
                        <a:pt x="280269" y="181193"/>
                      </a:lnTo>
                      <a:lnTo>
                        <a:pt x="281801" y="179661"/>
                      </a:lnTo>
                      <a:lnTo>
                        <a:pt x="283350" y="176254"/>
                      </a:lnTo>
                      <a:lnTo>
                        <a:pt x="286170" y="167428"/>
                      </a:lnTo>
                      <a:lnTo>
                        <a:pt x="287775" y="164649"/>
                      </a:lnTo>
                      <a:lnTo>
                        <a:pt x="290008" y="164176"/>
                      </a:lnTo>
                      <a:lnTo>
                        <a:pt x="290994" y="165122"/>
                      </a:lnTo>
                      <a:lnTo>
                        <a:pt x="293309" y="170305"/>
                      </a:lnTo>
                      <a:lnTo>
                        <a:pt x="293301" y="171625"/>
                      </a:lnTo>
                      <a:lnTo>
                        <a:pt x="292722" y="172750"/>
                      </a:lnTo>
                      <a:lnTo>
                        <a:pt x="288949" y="177778"/>
                      </a:lnTo>
                      <a:lnTo>
                        <a:pt x="290310" y="177273"/>
                      </a:lnTo>
                      <a:lnTo>
                        <a:pt x="294108" y="172538"/>
                      </a:lnTo>
                      <a:lnTo>
                        <a:pt x="294923" y="171063"/>
                      </a:lnTo>
                      <a:lnTo>
                        <a:pt x="295371" y="168895"/>
                      </a:lnTo>
                      <a:lnTo>
                        <a:pt x="296593" y="167363"/>
                      </a:lnTo>
                      <a:lnTo>
                        <a:pt x="297066" y="168113"/>
                      </a:lnTo>
                      <a:lnTo>
                        <a:pt x="298248" y="173671"/>
                      </a:lnTo>
                      <a:lnTo>
                        <a:pt x="298280" y="177737"/>
                      </a:lnTo>
                      <a:lnTo>
                        <a:pt x="298468" y="179033"/>
                      </a:lnTo>
                      <a:lnTo>
                        <a:pt x="298044" y="182880"/>
                      </a:lnTo>
                      <a:lnTo>
                        <a:pt x="298525" y="183573"/>
                      </a:lnTo>
                      <a:lnTo>
                        <a:pt x="299666" y="180240"/>
                      </a:lnTo>
                      <a:lnTo>
                        <a:pt x="300041" y="177729"/>
                      </a:lnTo>
                      <a:lnTo>
                        <a:pt x="300554" y="175928"/>
                      </a:lnTo>
                      <a:lnTo>
                        <a:pt x="301222" y="174861"/>
                      </a:lnTo>
                      <a:lnTo>
                        <a:pt x="305868" y="171462"/>
                      </a:lnTo>
                      <a:lnTo>
                        <a:pt x="311303" y="168699"/>
                      </a:lnTo>
                      <a:lnTo>
                        <a:pt x="314865" y="166246"/>
                      </a:lnTo>
                      <a:lnTo>
                        <a:pt x="317815" y="165065"/>
                      </a:lnTo>
                      <a:lnTo>
                        <a:pt x="322232" y="163964"/>
                      </a:lnTo>
                      <a:lnTo>
                        <a:pt x="325068" y="161683"/>
                      </a:lnTo>
                      <a:lnTo>
                        <a:pt x="326315" y="158227"/>
                      </a:lnTo>
                      <a:lnTo>
                        <a:pt x="327375" y="155839"/>
                      </a:lnTo>
                      <a:lnTo>
                        <a:pt x="328247" y="154519"/>
                      </a:lnTo>
                      <a:lnTo>
                        <a:pt x="331156" y="152139"/>
                      </a:lnTo>
                      <a:lnTo>
                        <a:pt x="332737" y="152009"/>
                      </a:lnTo>
                      <a:lnTo>
                        <a:pt x="334253" y="152889"/>
                      </a:lnTo>
                      <a:lnTo>
                        <a:pt x="335973" y="154666"/>
                      </a:lnTo>
                      <a:lnTo>
                        <a:pt x="337888" y="157347"/>
                      </a:lnTo>
                      <a:lnTo>
                        <a:pt x="339037" y="159449"/>
                      </a:lnTo>
                      <a:lnTo>
                        <a:pt x="339420" y="160982"/>
                      </a:lnTo>
                      <a:lnTo>
                        <a:pt x="339730" y="166336"/>
                      </a:lnTo>
                      <a:lnTo>
                        <a:pt x="340088" y="166312"/>
                      </a:lnTo>
                      <a:lnTo>
                        <a:pt x="341857" y="162229"/>
                      </a:lnTo>
                      <a:lnTo>
                        <a:pt x="342061" y="160778"/>
                      </a:lnTo>
                      <a:lnTo>
                        <a:pt x="341930" y="159246"/>
                      </a:lnTo>
                      <a:lnTo>
                        <a:pt x="341392" y="157714"/>
                      </a:lnTo>
                      <a:lnTo>
                        <a:pt x="339616" y="154364"/>
                      </a:lnTo>
                      <a:lnTo>
                        <a:pt x="338923" y="152270"/>
                      </a:lnTo>
                      <a:lnTo>
                        <a:pt x="339078" y="150974"/>
                      </a:lnTo>
                      <a:lnTo>
                        <a:pt x="340960" y="150248"/>
                      </a:lnTo>
                      <a:lnTo>
                        <a:pt x="343740" y="149955"/>
                      </a:lnTo>
                      <a:lnTo>
                        <a:pt x="344212" y="149409"/>
                      </a:lnTo>
                      <a:lnTo>
                        <a:pt x="342158" y="148024"/>
                      </a:lnTo>
                      <a:lnTo>
                        <a:pt x="342102" y="147274"/>
                      </a:lnTo>
                      <a:lnTo>
                        <a:pt x="344066" y="144813"/>
                      </a:lnTo>
                      <a:lnTo>
                        <a:pt x="345223" y="144674"/>
                      </a:lnTo>
                      <a:lnTo>
                        <a:pt x="347488" y="145065"/>
                      </a:lnTo>
                      <a:lnTo>
                        <a:pt x="347032" y="143802"/>
                      </a:lnTo>
                      <a:lnTo>
                        <a:pt x="347057" y="142963"/>
                      </a:lnTo>
                      <a:lnTo>
                        <a:pt x="347692" y="142637"/>
                      </a:lnTo>
                      <a:lnTo>
                        <a:pt x="351449" y="143443"/>
                      </a:lnTo>
                      <a:lnTo>
                        <a:pt x="351881" y="142474"/>
                      </a:lnTo>
                      <a:lnTo>
                        <a:pt x="355108" y="142384"/>
                      </a:lnTo>
                      <a:lnTo>
                        <a:pt x="355426" y="141520"/>
                      </a:lnTo>
                      <a:lnTo>
                        <a:pt x="352639" y="140298"/>
                      </a:lnTo>
                      <a:lnTo>
                        <a:pt x="349909" y="139532"/>
                      </a:lnTo>
                      <a:lnTo>
                        <a:pt x="349069" y="138855"/>
                      </a:lnTo>
                      <a:lnTo>
                        <a:pt x="348426" y="137861"/>
                      </a:lnTo>
                      <a:lnTo>
                        <a:pt x="347578" y="135465"/>
                      </a:lnTo>
                      <a:lnTo>
                        <a:pt x="347782" y="134829"/>
                      </a:lnTo>
                      <a:lnTo>
                        <a:pt x="348556" y="134821"/>
                      </a:lnTo>
                      <a:lnTo>
                        <a:pt x="349884" y="135481"/>
                      </a:lnTo>
                      <a:lnTo>
                        <a:pt x="350602" y="134218"/>
                      </a:lnTo>
                      <a:lnTo>
                        <a:pt x="351416" y="131260"/>
                      </a:lnTo>
                      <a:lnTo>
                        <a:pt x="352223" y="130037"/>
                      </a:lnTo>
                      <a:lnTo>
                        <a:pt x="354733" y="131447"/>
                      </a:lnTo>
                      <a:lnTo>
                        <a:pt x="354848" y="130844"/>
                      </a:lnTo>
                      <a:lnTo>
                        <a:pt x="352810" y="126182"/>
                      </a:lnTo>
                      <a:lnTo>
                        <a:pt x="353161" y="125286"/>
                      </a:lnTo>
                      <a:lnTo>
                        <a:pt x="356274" y="124944"/>
                      </a:lnTo>
                      <a:lnTo>
                        <a:pt x="358156" y="125522"/>
                      </a:lnTo>
                      <a:lnTo>
                        <a:pt x="363095" y="128945"/>
                      </a:lnTo>
                      <a:lnTo>
                        <a:pt x="363991" y="128562"/>
                      </a:lnTo>
                      <a:lnTo>
                        <a:pt x="363234" y="127625"/>
                      </a:lnTo>
                      <a:lnTo>
                        <a:pt x="360699" y="125604"/>
                      </a:lnTo>
                      <a:lnTo>
                        <a:pt x="358409" y="124283"/>
                      </a:lnTo>
                      <a:lnTo>
                        <a:pt x="356371" y="123664"/>
                      </a:lnTo>
                      <a:lnTo>
                        <a:pt x="354839" y="122539"/>
                      </a:lnTo>
                      <a:lnTo>
                        <a:pt x="353152" y="119467"/>
                      </a:lnTo>
                      <a:lnTo>
                        <a:pt x="352875" y="118196"/>
                      </a:lnTo>
                      <a:lnTo>
                        <a:pt x="353014" y="116541"/>
                      </a:lnTo>
                      <a:lnTo>
                        <a:pt x="354196" y="113110"/>
                      </a:lnTo>
                      <a:lnTo>
                        <a:pt x="354872" y="112369"/>
                      </a:lnTo>
                      <a:lnTo>
                        <a:pt x="356070" y="111814"/>
                      </a:lnTo>
                      <a:lnTo>
                        <a:pt x="357781" y="111456"/>
                      </a:lnTo>
                      <a:lnTo>
                        <a:pt x="359680" y="111798"/>
                      </a:lnTo>
                      <a:lnTo>
                        <a:pt x="363592" y="114056"/>
                      </a:lnTo>
                      <a:lnTo>
                        <a:pt x="364244" y="113346"/>
                      </a:lnTo>
                      <a:lnTo>
                        <a:pt x="362133" y="112116"/>
                      </a:lnTo>
                      <a:lnTo>
                        <a:pt x="360993" y="110975"/>
                      </a:lnTo>
                      <a:lnTo>
                        <a:pt x="360438" y="109524"/>
                      </a:lnTo>
                      <a:lnTo>
                        <a:pt x="360675" y="107870"/>
                      </a:lnTo>
                      <a:lnTo>
                        <a:pt x="362337" y="104471"/>
                      </a:lnTo>
                      <a:lnTo>
                        <a:pt x="363120" y="101725"/>
                      </a:lnTo>
                      <a:lnTo>
                        <a:pt x="366648" y="94138"/>
                      </a:lnTo>
                      <a:lnTo>
                        <a:pt x="367683" y="92760"/>
                      </a:lnTo>
                      <a:lnTo>
                        <a:pt x="368784" y="91880"/>
                      </a:lnTo>
                      <a:lnTo>
                        <a:pt x="369468" y="90967"/>
                      </a:lnTo>
                      <a:lnTo>
                        <a:pt x="372231" y="90772"/>
                      </a:lnTo>
                      <a:lnTo>
                        <a:pt x="374505" y="91978"/>
                      </a:lnTo>
                      <a:lnTo>
                        <a:pt x="369509" y="93518"/>
                      </a:lnTo>
                      <a:lnTo>
                        <a:pt x="368743" y="94195"/>
                      </a:lnTo>
                      <a:lnTo>
                        <a:pt x="368743" y="94700"/>
                      </a:lnTo>
                      <a:lnTo>
                        <a:pt x="370169" y="96379"/>
                      </a:lnTo>
                      <a:lnTo>
                        <a:pt x="373755" y="97764"/>
                      </a:lnTo>
                      <a:lnTo>
                        <a:pt x="374309" y="98571"/>
                      </a:lnTo>
                      <a:lnTo>
                        <a:pt x="373625" y="99818"/>
                      </a:lnTo>
                      <a:lnTo>
                        <a:pt x="372117" y="100576"/>
                      </a:lnTo>
                      <a:lnTo>
                        <a:pt x="370340" y="101668"/>
                      </a:lnTo>
                      <a:lnTo>
                        <a:pt x="367912" y="102230"/>
                      </a:lnTo>
                      <a:lnTo>
                        <a:pt x="367741" y="102801"/>
                      </a:lnTo>
                      <a:lnTo>
                        <a:pt x="368213" y="103860"/>
                      </a:lnTo>
                      <a:lnTo>
                        <a:pt x="369061" y="104773"/>
                      </a:lnTo>
                      <a:lnTo>
                        <a:pt x="372826" y="106484"/>
                      </a:lnTo>
                      <a:lnTo>
                        <a:pt x="373258" y="106892"/>
                      </a:lnTo>
                      <a:lnTo>
                        <a:pt x="373347" y="107340"/>
                      </a:lnTo>
                      <a:lnTo>
                        <a:pt x="373250" y="107976"/>
                      </a:lnTo>
                      <a:lnTo>
                        <a:pt x="370854" y="109630"/>
                      </a:lnTo>
                      <a:lnTo>
                        <a:pt x="370137" y="111562"/>
                      </a:lnTo>
                      <a:lnTo>
                        <a:pt x="369460" y="122515"/>
                      </a:lnTo>
                      <a:lnTo>
                        <a:pt x="370520" y="124577"/>
                      </a:lnTo>
                      <a:lnTo>
                        <a:pt x="372027" y="125449"/>
                      </a:lnTo>
                      <a:lnTo>
                        <a:pt x="378718" y="123004"/>
                      </a:lnTo>
                      <a:lnTo>
                        <a:pt x="380193" y="123526"/>
                      </a:lnTo>
                      <a:lnTo>
                        <a:pt x="380364" y="125107"/>
                      </a:lnTo>
                      <a:lnTo>
                        <a:pt x="379191" y="125848"/>
                      </a:lnTo>
                      <a:lnTo>
                        <a:pt x="377251" y="128081"/>
                      </a:lnTo>
                      <a:lnTo>
                        <a:pt x="376868" y="129776"/>
                      </a:lnTo>
                      <a:lnTo>
                        <a:pt x="376852" y="134927"/>
                      </a:lnTo>
                      <a:lnTo>
                        <a:pt x="377194" y="137307"/>
                      </a:lnTo>
                      <a:lnTo>
                        <a:pt x="377879" y="139271"/>
                      </a:lnTo>
                      <a:lnTo>
                        <a:pt x="378775" y="140265"/>
                      </a:lnTo>
                      <a:lnTo>
                        <a:pt x="381489" y="142139"/>
                      </a:lnTo>
                      <a:lnTo>
                        <a:pt x="381685" y="143077"/>
                      </a:lnTo>
                      <a:lnTo>
                        <a:pt x="380845" y="143786"/>
                      </a:lnTo>
                      <a:lnTo>
                        <a:pt x="379973" y="143924"/>
                      </a:lnTo>
                      <a:lnTo>
                        <a:pt x="370634" y="141936"/>
                      </a:lnTo>
                      <a:lnTo>
                        <a:pt x="369851" y="142270"/>
                      </a:lnTo>
                      <a:lnTo>
                        <a:pt x="369077" y="143069"/>
                      </a:lnTo>
                      <a:lnTo>
                        <a:pt x="368621" y="144511"/>
                      </a:lnTo>
                      <a:lnTo>
                        <a:pt x="368694" y="145872"/>
                      </a:lnTo>
                      <a:lnTo>
                        <a:pt x="369680" y="146654"/>
                      </a:lnTo>
                      <a:lnTo>
                        <a:pt x="374415" y="147363"/>
                      </a:lnTo>
                      <a:lnTo>
                        <a:pt x="382443" y="149156"/>
                      </a:lnTo>
                      <a:lnTo>
                        <a:pt x="383901" y="152318"/>
                      </a:lnTo>
                      <a:lnTo>
                        <a:pt x="384985" y="152995"/>
                      </a:lnTo>
                      <a:lnTo>
                        <a:pt x="385890" y="152930"/>
                      </a:lnTo>
                      <a:lnTo>
                        <a:pt x="389973" y="151332"/>
                      </a:lnTo>
                      <a:lnTo>
                        <a:pt x="396509" y="149336"/>
                      </a:lnTo>
                      <a:lnTo>
                        <a:pt x="398033" y="149654"/>
                      </a:lnTo>
                      <a:lnTo>
                        <a:pt x="399875" y="150599"/>
                      </a:lnTo>
                      <a:lnTo>
                        <a:pt x="401277" y="151813"/>
                      </a:lnTo>
                      <a:lnTo>
                        <a:pt x="402051" y="152930"/>
                      </a:lnTo>
                      <a:lnTo>
                        <a:pt x="402230" y="153606"/>
                      </a:lnTo>
                      <a:lnTo>
                        <a:pt x="402002" y="154005"/>
                      </a:lnTo>
                      <a:lnTo>
                        <a:pt x="400828" y="154470"/>
                      </a:lnTo>
                      <a:lnTo>
                        <a:pt x="390723" y="156336"/>
                      </a:lnTo>
                      <a:lnTo>
                        <a:pt x="388962" y="157045"/>
                      </a:lnTo>
                      <a:lnTo>
                        <a:pt x="387984" y="158015"/>
                      </a:lnTo>
                      <a:lnTo>
                        <a:pt x="387634" y="158822"/>
                      </a:lnTo>
                      <a:lnTo>
                        <a:pt x="387618" y="159678"/>
                      </a:lnTo>
                      <a:lnTo>
                        <a:pt x="388196" y="161430"/>
                      </a:lnTo>
                      <a:lnTo>
                        <a:pt x="388783" y="161829"/>
                      </a:lnTo>
                      <a:lnTo>
                        <a:pt x="392662" y="161414"/>
                      </a:lnTo>
                      <a:lnTo>
                        <a:pt x="393689" y="163386"/>
                      </a:lnTo>
                      <a:lnTo>
                        <a:pt x="393779" y="164274"/>
                      </a:lnTo>
                      <a:lnTo>
                        <a:pt x="393502" y="165171"/>
                      </a:lnTo>
                      <a:lnTo>
                        <a:pt x="389174" y="167567"/>
                      </a:lnTo>
                      <a:lnTo>
                        <a:pt x="387308" y="169123"/>
                      </a:lnTo>
                      <a:lnTo>
                        <a:pt x="380519" y="176572"/>
                      </a:lnTo>
                      <a:lnTo>
                        <a:pt x="379949" y="177558"/>
                      </a:lnTo>
                      <a:lnTo>
                        <a:pt x="379802" y="178455"/>
                      </a:lnTo>
                      <a:lnTo>
                        <a:pt x="380136" y="179343"/>
                      </a:lnTo>
                      <a:lnTo>
                        <a:pt x="384113" y="182521"/>
                      </a:lnTo>
                      <a:lnTo>
                        <a:pt x="386420" y="188079"/>
                      </a:lnTo>
                      <a:lnTo>
                        <a:pt x="387781" y="190541"/>
                      </a:lnTo>
                      <a:lnTo>
                        <a:pt x="388604" y="191608"/>
                      </a:lnTo>
                      <a:lnTo>
                        <a:pt x="390079" y="190916"/>
                      </a:lnTo>
                      <a:lnTo>
                        <a:pt x="390690" y="190965"/>
                      </a:lnTo>
                      <a:lnTo>
                        <a:pt x="391676" y="191682"/>
                      </a:lnTo>
                      <a:lnTo>
                        <a:pt x="392907" y="193719"/>
                      </a:lnTo>
                      <a:lnTo>
                        <a:pt x="393657" y="194404"/>
                      </a:lnTo>
                      <a:lnTo>
                        <a:pt x="394855" y="194697"/>
                      </a:lnTo>
                      <a:lnTo>
                        <a:pt x="396786" y="195088"/>
                      </a:lnTo>
                      <a:lnTo>
                        <a:pt x="399215" y="193898"/>
                      </a:lnTo>
                      <a:lnTo>
                        <a:pt x="399622" y="194021"/>
                      </a:lnTo>
                      <a:lnTo>
                        <a:pt x="399696" y="195219"/>
                      </a:lnTo>
                      <a:lnTo>
                        <a:pt x="399288" y="196123"/>
                      </a:lnTo>
                      <a:lnTo>
                        <a:pt x="396085" y="199563"/>
                      </a:lnTo>
                      <a:lnTo>
                        <a:pt x="395718" y="200655"/>
                      </a:lnTo>
                      <a:lnTo>
                        <a:pt x="395645" y="202211"/>
                      </a:lnTo>
                      <a:lnTo>
                        <a:pt x="396134" y="206783"/>
                      </a:lnTo>
                      <a:lnTo>
                        <a:pt x="394700" y="209774"/>
                      </a:lnTo>
                      <a:lnTo>
                        <a:pt x="394871" y="211323"/>
                      </a:lnTo>
                      <a:lnTo>
                        <a:pt x="395694" y="212806"/>
                      </a:lnTo>
                      <a:lnTo>
                        <a:pt x="395743" y="213319"/>
                      </a:lnTo>
                      <a:lnTo>
                        <a:pt x="394903" y="217117"/>
                      </a:lnTo>
                      <a:lnTo>
                        <a:pt x="393812" y="218926"/>
                      </a:lnTo>
                      <a:lnTo>
                        <a:pt x="392809" y="221257"/>
                      </a:lnTo>
                      <a:lnTo>
                        <a:pt x="392133" y="226432"/>
                      </a:lnTo>
                      <a:lnTo>
                        <a:pt x="390967" y="227435"/>
                      </a:lnTo>
                      <a:lnTo>
                        <a:pt x="389647" y="229097"/>
                      </a:lnTo>
                      <a:lnTo>
                        <a:pt x="388979" y="230393"/>
                      </a:lnTo>
                      <a:lnTo>
                        <a:pt x="387235" y="232300"/>
                      </a:lnTo>
                      <a:lnTo>
                        <a:pt x="386868" y="233474"/>
                      </a:lnTo>
                      <a:lnTo>
                        <a:pt x="386958" y="234117"/>
                      </a:lnTo>
                      <a:lnTo>
                        <a:pt x="390853" y="240450"/>
                      </a:lnTo>
                      <a:lnTo>
                        <a:pt x="391587" y="242438"/>
                      </a:lnTo>
                      <a:lnTo>
                        <a:pt x="390853" y="243848"/>
                      </a:lnTo>
                      <a:lnTo>
                        <a:pt x="388433" y="244199"/>
                      </a:lnTo>
                      <a:lnTo>
                        <a:pt x="386363" y="245560"/>
                      </a:lnTo>
                      <a:lnTo>
                        <a:pt x="386794" y="247882"/>
                      </a:lnTo>
                      <a:lnTo>
                        <a:pt x="386721" y="249235"/>
                      </a:lnTo>
                      <a:lnTo>
                        <a:pt x="386884" y="249643"/>
                      </a:lnTo>
                      <a:lnTo>
                        <a:pt x="387667" y="250156"/>
                      </a:lnTo>
                      <a:lnTo>
                        <a:pt x="391904" y="251941"/>
                      </a:lnTo>
                      <a:lnTo>
                        <a:pt x="392238" y="252585"/>
                      </a:lnTo>
                      <a:lnTo>
                        <a:pt x="389949" y="255193"/>
                      </a:lnTo>
                      <a:lnTo>
                        <a:pt x="389639" y="257002"/>
                      </a:lnTo>
                      <a:lnTo>
                        <a:pt x="390519" y="257108"/>
                      </a:lnTo>
                      <a:lnTo>
                        <a:pt x="392565" y="257352"/>
                      </a:lnTo>
                      <a:lnTo>
                        <a:pt x="393795" y="258314"/>
                      </a:lnTo>
                      <a:lnTo>
                        <a:pt x="400185" y="259765"/>
                      </a:lnTo>
                      <a:lnTo>
                        <a:pt x="400682" y="261036"/>
                      </a:lnTo>
                      <a:lnTo>
                        <a:pt x="399989" y="261663"/>
                      </a:lnTo>
                      <a:lnTo>
                        <a:pt x="398139" y="262756"/>
                      </a:lnTo>
                      <a:lnTo>
                        <a:pt x="397210" y="263701"/>
                      </a:lnTo>
                      <a:lnTo>
                        <a:pt x="396965" y="265233"/>
                      </a:lnTo>
                      <a:lnTo>
                        <a:pt x="397161" y="266089"/>
                      </a:lnTo>
                      <a:lnTo>
                        <a:pt x="401529" y="272038"/>
                      </a:lnTo>
                      <a:lnTo>
                        <a:pt x="404235" y="276235"/>
                      </a:lnTo>
                      <a:lnTo>
                        <a:pt x="405523" y="277433"/>
                      </a:lnTo>
                      <a:lnTo>
                        <a:pt x="406982" y="278297"/>
                      </a:lnTo>
                      <a:lnTo>
                        <a:pt x="410706" y="279389"/>
                      </a:lnTo>
                      <a:lnTo>
                        <a:pt x="410787" y="280522"/>
                      </a:lnTo>
                      <a:lnTo>
                        <a:pt x="410584" y="282193"/>
                      </a:lnTo>
                      <a:lnTo>
                        <a:pt x="410779" y="283562"/>
                      </a:lnTo>
                      <a:lnTo>
                        <a:pt x="411765" y="286031"/>
                      </a:lnTo>
                      <a:lnTo>
                        <a:pt x="410535" y="287270"/>
                      </a:lnTo>
                      <a:lnTo>
                        <a:pt x="403893" y="290986"/>
                      </a:lnTo>
                      <a:lnTo>
                        <a:pt x="401863" y="292600"/>
                      </a:lnTo>
                      <a:lnTo>
                        <a:pt x="401293" y="293627"/>
                      </a:lnTo>
                      <a:lnTo>
                        <a:pt x="400869" y="295689"/>
                      </a:lnTo>
                      <a:lnTo>
                        <a:pt x="402630" y="299462"/>
                      </a:lnTo>
                      <a:lnTo>
                        <a:pt x="402736" y="300432"/>
                      </a:lnTo>
                      <a:lnTo>
                        <a:pt x="402352" y="302111"/>
                      </a:lnTo>
                      <a:lnTo>
                        <a:pt x="400413" y="307489"/>
                      </a:lnTo>
                      <a:lnTo>
                        <a:pt x="398220" y="312501"/>
                      </a:lnTo>
                      <a:lnTo>
                        <a:pt x="397210" y="313602"/>
                      </a:lnTo>
                      <a:lnTo>
                        <a:pt x="395906" y="313724"/>
                      </a:lnTo>
                      <a:lnTo>
                        <a:pt x="391970" y="312893"/>
                      </a:lnTo>
                      <a:lnTo>
                        <a:pt x="381277" y="309396"/>
                      </a:lnTo>
                      <a:lnTo>
                        <a:pt x="369517" y="309111"/>
                      </a:lnTo>
                      <a:lnTo>
                        <a:pt x="361905" y="309665"/>
                      </a:lnTo>
                      <a:lnTo>
                        <a:pt x="348165" y="308687"/>
                      </a:lnTo>
                      <a:lnTo>
                        <a:pt x="346535" y="307783"/>
                      </a:lnTo>
                      <a:lnTo>
                        <a:pt x="345166" y="306406"/>
                      </a:lnTo>
                      <a:lnTo>
                        <a:pt x="343397" y="302860"/>
                      </a:lnTo>
                      <a:lnTo>
                        <a:pt x="343014" y="302518"/>
                      </a:lnTo>
                      <a:lnTo>
                        <a:pt x="338075" y="301206"/>
                      </a:lnTo>
                      <a:lnTo>
                        <a:pt x="336242" y="300212"/>
                      </a:lnTo>
                      <a:lnTo>
                        <a:pt x="334180" y="298663"/>
                      </a:lnTo>
                      <a:lnTo>
                        <a:pt x="324799" y="289234"/>
                      </a:lnTo>
                      <a:lnTo>
                        <a:pt x="321931" y="286830"/>
                      </a:lnTo>
                      <a:lnTo>
                        <a:pt x="320920" y="286479"/>
                      </a:lnTo>
                      <a:lnTo>
                        <a:pt x="320285" y="287131"/>
                      </a:lnTo>
                      <a:lnTo>
                        <a:pt x="320342" y="287791"/>
                      </a:lnTo>
                      <a:lnTo>
                        <a:pt x="322135" y="290864"/>
                      </a:lnTo>
                      <a:lnTo>
                        <a:pt x="322281" y="291654"/>
                      </a:lnTo>
                      <a:lnTo>
                        <a:pt x="321580" y="294075"/>
                      </a:lnTo>
                      <a:lnTo>
                        <a:pt x="322941" y="299063"/>
                      </a:lnTo>
                      <a:lnTo>
                        <a:pt x="322501" y="300953"/>
                      </a:lnTo>
                      <a:lnTo>
                        <a:pt x="323838" y="304816"/>
                      </a:lnTo>
                      <a:lnTo>
                        <a:pt x="323984" y="306650"/>
                      </a:lnTo>
                      <a:lnTo>
                        <a:pt x="322159" y="308565"/>
                      </a:lnTo>
                      <a:lnTo>
                        <a:pt x="318622" y="307318"/>
                      </a:lnTo>
                      <a:lnTo>
                        <a:pt x="311190" y="301369"/>
                      </a:lnTo>
                      <a:lnTo>
                        <a:pt x="307832" y="296569"/>
                      </a:lnTo>
                      <a:lnTo>
                        <a:pt x="306919" y="296153"/>
                      </a:lnTo>
                      <a:lnTo>
                        <a:pt x="305199" y="296259"/>
                      </a:lnTo>
                      <a:lnTo>
                        <a:pt x="304751" y="296756"/>
                      </a:lnTo>
                      <a:lnTo>
                        <a:pt x="304482" y="297620"/>
                      </a:lnTo>
                      <a:lnTo>
                        <a:pt x="305012" y="299617"/>
                      </a:lnTo>
                      <a:lnTo>
                        <a:pt x="306096" y="302151"/>
                      </a:lnTo>
                      <a:lnTo>
                        <a:pt x="308133" y="305631"/>
                      </a:lnTo>
                      <a:lnTo>
                        <a:pt x="310252" y="310440"/>
                      </a:lnTo>
                      <a:lnTo>
                        <a:pt x="310383" y="311092"/>
                      </a:lnTo>
                      <a:lnTo>
                        <a:pt x="311679" y="312192"/>
                      </a:lnTo>
                      <a:lnTo>
                        <a:pt x="311597" y="313569"/>
                      </a:lnTo>
                      <a:lnTo>
                        <a:pt x="309462" y="314751"/>
                      </a:lnTo>
                      <a:lnTo>
                        <a:pt x="308239" y="317294"/>
                      </a:lnTo>
                      <a:lnTo>
                        <a:pt x="307514" y="317342"/>
                      </a:lnTo>
                      <a:lnTo>
                        <a:pt x="302013" y="315248"/>
                      </a:lnTo>
                      <a:lnTo>
                        <a:pt x="300970" y="315525"/>
                      </a:lnTo>
                      <a:lnTo>
                        <a:pt x="300399" y="316006"/>
                      </a:lnTo>
                      <a:lnTo>
                        <a:pt x="299935" y="317758"/>
                      </a:lnTo>
                      <a:lnTo>
                        <a:pt x="300196" y="319836"/>
                      </a:lnTo>
                      <a:lnTo>
                        <a:pt x="300880" y="322102"/>
                      </a:lnTo>
                      <a:lnTo>
                        <a:pt x="302534" y="326266"/>
                      </a:lnTo>
                      <a:lnTo>
                        <a:pt x="302714" y="327359"/>
                      </a:lnTo>
                      <a:lnTo>
                        <a:pt x="302632" y="327986"/>
                      </a:lnTo>
                      <a:lnTo>
                        <a:pt x="298427" y="331564"/>
                      </a:lnTo>
                      <a:lnTo>
                        <a:pt x="297172" y="333137"/>
                      </a:lnTo>
                      <a:lnTo>
                        <a:pt x="296430" y="334612"/>
                      </a:lnTo>
                      <a:lnTo>
                        <a:pt x="296536" y="335630"/>
                      </a:lnTo>
                      <a:lnTo>
                        <a:pt x="302160" y="342949"/>
                      </a:lnTo>
                      <a:lnTo>
                        <a:pt x="303635" y="344563"/>
                      </a:lnTo>
                      <a:lnTo>
                        <a:pt x="304010" y="347048"/>
                      </a:lnTo>
                      <a:lnTo>
                        <a:pt x="303488" y="350626"/>
                      </a:lnTo>
                      <a:lnTo>
                        <a:pt x="303570" y="351449"/>
                      </a:lnTo>
                      <a:lnTo>
                        <a:pt x="303977" y="351905"/>
                      </a:lnTo>
                      <a:lnTo>
                        <a:pt x="311222" y="354090"/>
                      </a:lnTo>
                      <a:lnTo>
                        <a:pt x="312127" y="355597"/>
                      </a:lnTo>
                      <a:lnTo>
                        <a:pt x="313431" y="358808"/>
                      </a:lnTo>
                      <a:lnTo>
                        <a:pt x="314670" y="359721"/>
                      </a:lnTo>
                      <a:lnTo>
                        <a:pt x="315802" y="360063"/>
                      </a:lnTo>
                      <a:lnTo>
                        <a:pt x="316691" y="361147"/>
                      </a:lnTo>
                      <a:lnTo>
                        <a:pt x="316853" y="362133"/>
                      </a:lnTo>
                      <a:lnTo>
                        <a:pt x="316177" y="367594"/>
                      </a:lnTo>
                      <a:lnTo>
                        <a:pt x="316055" y="371709"/>
                      </a:lnTo>
                      <a:lnTo>
                        <a:pt x="314621" y="375157"/>
                      </a:lnTo>
                      <a:lnTo>
                        <a:pt x="313985" y="377422"/>
                      </a:lnTo>
                      <a:lnTo>
                        <a:pt x="313585" y="380690"/>
                      </a:lnTo>
                      <a:lnTo>
                        <a:pt x="313626" y="383592"/>
                      </a:lnTo>
                      <a:lnTo>
                        <a:pt x="314580" y="384871"/>
                      </a:lnTo>
                      <a:lnTo>
                        <a:pt x="316528" y="385702"/>
                      </a:lnTo>
                      <a:lnTo>
                        <a:pt x="317856" y="385865"/>
                      </a:lnTo>
                      <a:lnTo>
                        <a:pt x="318891" y="385694"/>
                      </a:lnTo>
                      <a:lnTo>
                        <a:pt x="319910" y="386143"/>
                      </a:lnTo>
                      <a:lnTo>
                        <a:pt x="323039" y="384627"/>
                      </a:lnTo>
                      <a:lnTo>
                        <a:pt x="323463" y="383812"/>
                      </a:lnTo>
                      <a:lnTo>
                        <a:pt x="324457" y="377789"/>
                      </a:lnTo>
                      <a:lnTo>
                        <a:pt x="324857" y="376990"/>
                      </a:lnTo>
                      <a:lnTo>
                        <a:pt x="327196" y="375980"/>
                      </a:lnTo>
                      <a:lnTo>
                        <a:pt x="327970" y="374244"/>
                      </a:lnTo>
                      <a:lnTo>
                        <a:pt x="328508" y="373739"/>
                      </a:lnTo>
                      <a:lnTo>
                        <a:pt x="329502" y="374032"/>
                      </a:lnTo>
                      <a:lnTo>
                        <a:pt x="330447" y="374741"/>
                      </a:lnTo>
                      <a:lnTo>
                        <a:pt x="331971" y="376909"/>
                      </a:lnTo>
                      <a:lnTo>
                        <a:pt x="332664" y="378286"/>
                      </a:lnTo>
                      <a:lnTo>
                        <a:pt x="332411" y="379631"/>
                      </a:lnTo>
                      <a:lnTo>
                        <a:pt x="331645" y="380405"/>
                      </a:lnTo>
                      <a:lnTo>
                        <a:pt x="331262" y="381668"/>
                      </a:lnTo>
                      <a:lnTo>
                        <a:pt x="331026" y="384089"/>
                      </a:lnTo>
                      <a:lnTo>
                        <a:pt x="329779" y="386061"/>
                      </a:lnTo>
                      <a:lnTo>
                        <a:pt x="329543" y="387096"/>
                      </a:lnTo>
                      <a:lnTo>
                        <a:pt x="330333" y="396142"/>
                      </a:lnTo>
                      <a:lnTo>
                        <a:pt x="330154" y="396892"/>
                      </a:lnTo>
                      <a:lnTo>
                        <a:pt x="328622" y="398986"/>
                      </a:lnTo>
                      <a:lnTo>
                        <a:pt x="328646" y="400722"/>
                      </a:lnTo>
                      <a:lnTo>
                        <a:pt x="329217" y="403151"/>
                      </a:lnTo>
                      <a:lnTo>
                        <a:pt x="330007" y="404830"/>
                      </a:lnTo>
                      <a:lnTo>
                        <a:pt x="330708" y="405539"/>
                      </a:lnTo>
                      <a:lnTo>
                        <a:pt x="331539" y="405897"/>
                      </a:lnTo>
                      <a:lnTo>
                        <a:pt x="332004" y="404651"/>
                      </a:lnTo>
                      <a:lnTo>
                        <a:pt x="332770" y="400714"/>
                      </a:lnTo>
                      <a:lnTo>
                        <a:pt x="333178" y="400486"/>
                      </a:lnTo>
                      <a:lnTo>
                        <a:pt x="336421" y="403118"/>
                      </a:lnTo>
                      <a:lnTo>
                        <a:pt x="337709" y="403876"/>
                      </a:lnTo>
                      <a:lnTo>
                        <a:pt x="339225" y="407593"/>
                      </a:lnTo>
                      <a:lnTo>
                        <a:pt x="340634" y="408652"/>
                      </a:lnTo>
                      <a:lnTo>
                        <a:pt x="343014" y="409630"/>
                      </a:lnTo>
                      <a:lnTo>
                        <a:pt x="344400" y="409703"/>
                      </a:lnTo>
                      <a:lnTo>
                        <a:pt x="344921" y="409280"/>
                      </a:lnTo>
                      <a:lnTo>
                        <a:pt x="345549" y="407788"/>
                      </a:lnTo>
                      <a:lnTo>
                        <a:pt x="347782" y="408171"/>
                      </a:lnTo>
                      <a:lnTo>
                        <a:pt x="349257" y="408937"/>
                      </a:lnTo>
                      <a:lnTo>
                        <a:pt x="350300" y="408929"/>
                      </a:lnTo>
                      <a:lnTo>
                        <a:pt x="351229" y="408163"/>
                      </a:lnTo>
                      <a:lnTo>
                        <a:pt x="353144" y="404365"/>
                      </a:lnTo>
                      <a:lnTo>
                        <a:pt x="353690" y="404121"/>
                      </a:lnTo>
                      <a:lnTo>
                        <a:pt x="355035" y="404121"/>
                      </a:lnTo>
                      <a:lnTo>
                        <a:pt x="358254" y="404781"/>
                      </a:lnTo>
                      <a:lnTo>
                        <a:pt x="361506" y="405922"/>
                      </a:lnTo>
                      <a:lnTo>
                        <a:pt x="364008" y="407446"/>
                      </a:lnTo>
                      <a:lnTo>
                        <a:pt x="366591" y="409614"/>
                      </a:lnTo>
                      <a:lnTo>
                        <a:pt x="370748" y="415164"/>
                      </a:lnTo>
                      <a:lnTo>
                        <a:pt x="373388" y="417266"/>
                      </a:lnTo>
                      <a:lnTo>
                        <a:pt x="374171" y="418122"/>
                      </a:lnTo>
                      <a:lnTo>
                        <a:pt x="373869" y="419410"/>
                      </a:lnTo>
                      <a:lnTo>
                        <a:pt x="372532" y="420437"/>
                      </a:lnTo>
                      <a:lnTo>
                        <a:pt x="372296" y="421080"/>
                      </a:lnTo>
                      <a:lnTo>
                        <a:pt x="372419" y="422009"/>
                      </a:lnTo>
                      <a:lnTo>
                        <a:pt x="374888" y="426443"/>
                      </a:lnTo>
                      <a:lnTo>
                        <a:pt x="377162" y="426125"/>
                      </a:lnTo>
                      <a:lnTo>
                        <a:pt x="382508" y="421700"/>
                      </a:lnTo>
                      <a:lnTo>
                        <a:pt x="382540" y="420208"/>
                      </a:lnTo>
                      <a:lnTo>
                        <a:pt x="381636" y="418644"/>
                      </a:lnTo>
                      <a:lnTo>
                        <a:pt x="381424" y="417519"/>
                      </a:lnTo>
                      <a:lnTo>
                        <a:pt x="381750" y="414267"/>
                      </a:lnTo>
                      <a:lnTo>
                        <a:pt x="383005" y="408579"/>
                      </a:lnTo>
                      <a:lnTo>
                        <a:pt x="383282" y="407976"/>
                      </a:lnTo>
                      <a:lnTo>
                        <a:pt x="385760" y="406174"/>
                      </a:lnTo>
                      <a:lnTo>
                        <a:pt x="386477" y="404740"/>
                      </a:lnTo>
                      <a:lnTo>
                        <a:pt x="387161" y="397617"/>
                      </a:lnTo>
                      <a:lnTo>
                        <a:pt x="385165" y="391073"/>
                      </a:lnTo>
                      <a:lnTo>
                        <a:pt x="385067" y="388392"/>
                      </a:lnTo>
                      <a:lnTo>
                        <a:pt x="385287" y="381334"/>
                      </a:lnTo>
                      <a:lnTo>
                        <a:pt x="386257" y="379883"/>
                      </a:lnTo>
                      <a:lnTo>
                        <a:pt x="389517" y="378979"/>
                      </a:lnTo>
                      <a:lnTo>
                        <a:pt x="390364" y="378351"/>
                      </a:lnTo>
                      <a:lnTo>
                        <a:pt x="391750" y="371986"/>
                      </a:lnTo>
                      <a:lnTo>
                        <a:pt x="392059" y="371563"/>
                      </a:lnTo>
                      <a:lnTo>
                        <a:pt x="394692" y="370544"/>
                      </a:lnTo>
                      <a:lnTo>
                        <a:pt x="396582" y="370365"/>
                      </a:lnTo>
                      <a:lnTo>
                        <a:pt x="397846" y="370682"/>
                      </a:lnTo>
                      <a:lnTo>
                        <a:pt x="399467" y="373144"/>
                      </a:lnTo>
                      <a:lnTo>
                        <a:pt x="400747" y="375784"/>
                      </a:lnTo>
                      <a:lnTo>
                        <a:pt x="400894" y="376705"/>
                      </a:lnTo>
                      <a:lnTo>
                        <a:pt x="400445" y="380959"/>
                      </a:lnTo>
                      <a:lnTo>
                        <a:pt x="400527" y="382035"/>
                      </a:lnTo>
                      <a:lnTo>
                        <a:pt x="400861" y="382883"/>
                      </a:lnTo>
                      <a:lnTo>
                        <a:pt x="404349" y="386069"/>
                      </a:lnTo>
                      <a:lnTo>
                        <a:pt x="404023" y="386778"/>
                      </a:lnTo>
                      <a:lnTo>
                        <a:pt x="401545" y="387569"/>
                      </a:lnTo>
                      <a:lnTo>
                        <a:pt x="394406" y="388962"/>
                      </a:lnTo>
                      <a:lnTo>
                        <a:pt x="392222" y="389785"/>
                      </a:lnTo>
                      <a:lnTo>
                        <a:pt x="390812" y="390666"/>
                      </a:lnTo>
                      <a:lnTo>
                        <a:pt x="389272" y="392165"/>
                      </a:lnTo>
                      <a:lnTo>
                        <a:pt x="388237" y="393665"/>
                      </a:lnTo>
                      <a:lnTo>
                        <a:pt x="388066" y="394382"/>
                      </a:lnTo>
                      <a:lnTo>
                        <a:pt x="388180" y="394683"/>
                      </a:lnTo>
                      <a:lnTo>
                        <a:pt x="390918" y="395759"/>
                      </a:lnTo>
                      <a:lnTo>
                        <a:pt x="391122" y="396158"/>
                      </a:lnTo>
                      <a:lnTo>
                        <a:pt x="391301" y="397536"/>
                      </a:lnTo>
                      <a:lnTo>
                        <a:pt x="392581" y="398872"/>
                      </a:lnTo>
                      <a:lnTo>
                        <a:pt x="395515" y="400633"/>
                      </a:lnTo>
                      <a:lnTo>
                        <a:pt x="397544" y="406557"/>
                      </a:lnTo>
                      <a:lnTo>
                        <a:pt x="397927" y="408188"/>
                      </a:lnTo>
                      <a:lnTo>
                        <a:pt x="398017" y="409443"/>
                      </a:lnTo>
                      <a:lnTo>
                        <a:pt x="397039" y="409883"/>
                      </a:lnTo>
                      <a:lnTo>
                        <a:pt x="395018" y="409801"/>
                      </a:lnTo>
                      <a:lnTo>
                        <a:pt x="394846" y="410046"/>
                      </a:lnTo>
                      <a:lnTo>
                        <a:pt x="395067" y="410918"/>
                      </a:lnTo>
                      <a:lnTo>
                        <a:pt x="395727" y="411284"/>
                      </a:lnTo>
                      <a:lnTo>
                        <a:pt x="399459" y="411643"/>
                      </a:lnTo>
                      <a:lnTo>
                        <a:pt x="409540" y="411635"/>
                      </a:lnTo>
                      <a:lnTo>
                        <a:pt x="419622" y="411635"/>
                      </a:lnTo>
                      <a:lnTo>
                        <a:pt x="429711" y="411635"/>
                      </a:lnTo>
                      <a:lnTo>
                        <a:pt x="439792" y="411635"/>
                      </a:lnTo>
                      <a:lnTo>
                        <a:pt x="449874" y="411635"/>
                      </a:lnTo>
                      <a:lnTo>
                        <a:pt x="459955" y="411635"/>
                      </a:lnTo>
                      <a:lnTo>
                        <a:pt x="470036" y="411635"/>
                      </a:lnTo>
                      <a:lnTo>
                        <a:pt x="480117" y="411635"/>
                      </a:lnTo>
                      <a:lnTo>
                        <a:pt x="490198" y="411635"/>
                      </a:lnTo>
                      <a:lnTo>
                        <a:pt x="500280" y="411635"/>
                      </a:lnTo>
                      <a:lnTo>
                        <a:pt x="510361" y="411635"/>
                      </a:lnTo>
                      <a:lnTo>
                        <a:pt x="520450" y="411635"/>
                      </a:lnTo>
                      <a:lnTo>
                        <a:pt x="530532" y="411635"/>
                      </a:lnTo>
                      <a:lnTo>
                        <a:pt x="540621" y="411635"/>
                      </a:lnTo>
                      <a:lnTo>
                        <a:pt x="550702" y="411635"/>
                      </a:lnTo>
                      <a:lnTo>
                        <a:pt x="560791" y="411635"/>
                      </a:lnTo>
                      <a:lnTo>
                        <a:pt x="560791" y="422384"/>
                      </a:lnTo>
                      <a:lnTo>
                        <a:pt x="560808" y="432254"/>
                      </a:lnTo>
                      <a:lnTo>
                        <a:pt x="555877" y="430966"/>
                      </a:lnTo>
                      <a:lnTo>
                        <a:pt x="551851" y="431308"/>
                      </a:lnTo>
                      <a:lnTo>
                        <a:pt x="544207" y="432898"/>
                      </a:lnTo>
                      <a:lnTo>
                        <a:pt x="542120" y="433875"/>
                      </a:lnTo>
                      <a:lnTo>
                        <a:pt x="537931" y="436728"/>
                      </a:lnTo>
                      <a:lnTo>
                        <a:pt x="536277" y="437135"/>
                      </a:lnTo>
                      <a:lnTo>
                        <a:pt x="531786" y="437714"/>
                      </a:lnTo>
                      <a:lnTo>
                        <a:pt x="527524" y="437315"/>
                      </a:lnTo>
                      <a:lnTo>
                        <a:pt x="525829" y="437714"/>
                      </a:lnTo>
                      <a:lnTo>
                        <a:pt x="523775" y="439108"/>
                      </a:lnTo>
                      <a:lnTo>
                        <a:pt x="523246" y="439849"/>
                      </a:lnTo>
                      <a:lnTo>
                        <a:pt x="522683" y="442253"/>
                      </a:lnTo>
                      <a:lnTo>
                        <a:pt x="512333" y="453003"/>
                      </a:lnTo>
                      <a:lnTo>
                        <a:pt x="509595" y="456646"/>
                      </a:lnTo>
                      <a:lnTo>
                        <a:pt x="504322" y="460476"/>
                      </a:lnTo>
                      <a:lnTo>
                        <a:pt x="498527" y="467192"/>
                      </a:lnTo>
                      <a:lnTo>
                        <a:pt x="493483" y="469889"/>
                      </a:lnTo>
                      <a:lnTo>
                        <a:pt x="491722" y="473622"/>
                      </a:lnTo>
                      <a:lnTo>
                        <a:pt x="486914" y="475871"/>
                      </a:lnTo>
                      <a:lnTo>
                        <a:pt x="478039" y="476450"/>
                      </a:lnTo>
                      <a:lnTo>
                        <a:pt x="473817" y="477102"/>
                      </a:lnTo>
                      <a:lnTo>
                        <a:pt x="468879" y="476058"/>
                      </a:lnTo>
                      <a:lnTo>
                        <a:pt x="465187" y="477680"/>
                      </a:lnTo>
                      <a:lnTo>
                        <a:pt x="459621" y="478186"/>
                      </a:lnTo>
                      <a:lnTo>
                        <a:pt x="456915" y="477802"/>
                      </a:lnTo>
                      <a:lnTo>
                        <a:pt x="446125" y="481380"/>
                      </a:lnTo>
                      <a:lnTo>
                        <a:pt x="443386" y="477982"/>
                      </a:lnTo>
                      <a:lnTo>
                        <a:pt x="441300" y="476670"/>
                      </a:lnTo>
                      <a:lnTo>
                        <a:pt x="435204" y="476450"/>
                      </a:lnTo>
                      <a:lnTo>
                        <a:pt x="430330" y="475056"/>
                      </a:lnTo>
                      <a:lnTo>
                        <a:pt x="425881" y="474795"/>
                      </a:lnTo>
                      <a:lnTo>
                        <a:pt x="421553" y="474168"/>
                      </a:lnTo>
                      <a:lnTo>
                        <a:pt x="418709" y="474168"/>
                      </a:lnTo>
                      <a:lnTo>
                        <a:pt x="415742" y="474534"/>
                      </a:lnTo>
                      <a:lnTo>
                        <a:pt x="411130" y="474453"/>
                      </a:lnTo>
                      <a:lnTo>
                        <a:pt x="408579" y="476327"/>
                      </a:lnTo>
                      <a:lnTo>
                        <a:pt x="399940" y="475757"/>
                      </a:lnTo>
                      <a:lnTo>
                        <a:pt x="396305" y="474062"/>
                      </a:lnTo>
                      <a:lnTo>
                        <a:pt x="393314" y="473703"/>
                      </a:lnTo>
                      <a:lnTo>
                        <a:pt x="389296" y="474078"/>
                      </a:lnTo>
                      <a:lnTo>
                        <a:pt x="385458" y="475341"/>
                      </a:lnTo>
                      <a:lnTo>
                        <a:pt x="377064" y="473899"/>
                      </a:lnTo>
                      <a:lnTo>
                        <a:pt x="368156" y="475113"/>
                      </a:lnTo>
                      <a:lnTo>
                        <a:pt x="360389" y="474290"/>
                      </a:lnTo>
                      <a:lnTo>
                        <a:pt x="358213" y="473475"/>
                      </a:lnTo>
                      <a:lnTo>
                        <a:pt x="345972" y="475700"/>
                      </a:lnTo>
                      <a:lnTo>
                        <a:pt x="341181" y="474428"/>
                      </a:lnTo>
                      <a:lnTo>
                        <a:pt x="336967" y="477827"/>
                      </a:lnTo>
                      <a:lnTo>
                        <a:pt x="334074" y="477118"/>
                      </a:lnTo>
                      <a:lnTo>
                        <a:pt x="330936" y="477623"/>
                      </a:lnTo>
                      <a:lnTo>
                        <a:pt x="329893" y="476971"/>
                      </a:lnTo>
                      <a:lnTo>
                        <a:pt x="327799" y="477428"/>
                      </a:lnTo>
                      <a:lnTo>
                        <a:pt x="326446" y="479286"/>
                      </a:lnTo>
                      <a:lnTo>
                        <a:pt x="324669" y="479498"/>
                      </a:lnTo>
                      <a:lnTo>
                        <a:pt x="321719" y="482774"/>
                      </a:lnTo>
                      <a:lnTo>
                        <a:pt x="316748" y="485390"/>
                      </a:lnTo>
                      <a:lnTo>
                        <a:pt x="309478" y="499652"/>
                      </a:lnTo>
                      <a:lnTo>
                        <a:pt x="308794" y="505120"/>
                      </a:lnTo>
                      <a:lnTo>
                        <a:pt x="306063" y="508845"/>
                      </a:lnTo>
                      <a:lnTo>
                        <a:pt x="303651" y="509350"/>
                      </a:lnTo>
                      <a:lnTo>
                        <a:pt x="301671" y="509440"/>
                      </a:lnTo>
                      <a:lnTo>
                        <a:pt x="289104" y="512170"/>
                      </a:lnTo>
                      <a:lnTo>
                        <a:pt x="283505" y="514338"/>
                      </a:lnTo>
                      <a:lnTo>
                        <a:pt x="285029" y="516057"/>
                      </a:lnTo>
                      <a:lnTo>
                        <a:pt x="283195" y="517337"/>
                      </a:lnTo>
                      <a:lnTo>
                        <a:pt x="280220" y="517867"/>
                      </a:lnTo>
                      <a:lnTo>
                        <a:pt x="277010" y="519440"/>
                      </a:lnTo>
                      <a:lnTo>
                        <a:pt x="274923" y="521208"/>
                      </a:lnTo>
                      <a:lnTo>
                        <a:pt x="273904" y="523653"/>
                      </a:lnTo>
                      <a:lnTo>
                        <a:pt x="267458" y="527646"/>
                      </a:lnTo>
                      <a:lnTo>
                        <a:pt x="259976" y="536855"/>
                      </a:lnTo>
                      <a:lnTo>
                        <a:pt x="256399" y="543603"/>
                      </a:lnTo>
                      <a:lnTo>
                        <a:pt x="252055" y="548477"/>
                      </a:lnTo>
                      <a:lnTo>
                        <a:pt x="248991" y="550335"/>
                      </a:lnTo>
                      <a:lnTo>
                        <a:pt x="246806" y="550629"/>
                      </a:lnTo>
                      <a:lnTo>
                        <a:pt x="244582" y="550042"/>
                      </a:lnTo>
                      <a:lnTo>
                        <a:pt x="240874" y="547760"/>
                      </a:lnTo>
                      <a:lnTo>
                        <a:pt x="238160" y="547507"/>
                      </a:lnTo>
                      <a:lnTo>
                        <a:pt x="231387" y="544329"/>
                      </a:lnTo>
                      <a:lnTo>
                        <a:pt x="215650" y="541118"/>
                      </a:lnTo>
                      <a:lnTo>
                        <a:pt x="218022" y="542316"/>
                      </a:lnTo>
                      <a:lnTo>
                        <a:pt x="220108" y="544296"/>
                      </a:lnTo>
                      <a:lnTo>
                        <a:pt x="224264" y="544802"/>
                      </a:lnTo>
                      <a:lnTo>
                        <a:pt x="228494" y="544761"/>
                      </a:lnTo>
                      <a:lnTo>
                        <a:pt x="237304" y="548746"/>
                      </a:lnTo>
                      <a:lnTo>
                        <a:pt x="241632" y="550099"/>
                      </a:lnTo>
                      <a:lnTo>
                        <a:pt x="244248" y="551305"/>
                      </a:lnTo>
                      <a:lnTo>
                        <a:pt x="246497" y="553970"/>
                      </a:lnTo>
                      <a:lnTo>
                        <a:pt x="244891" y="559194"/>
                      </a:lnTo>
                      <a:lnTo>
                        <a:pt x="243261" y="563505"/>
                      </a:lnTo>
                      <a:lnTo>
                        <a:pt x="241053" y="566814"/>
                      </a:lnTo>
                      <a:lnTo>
                        <a:pt x="233474" y="575290"/>
                      </a:lnTo>
                      <a:lnTo>
                        <a:pt x="229806" y="578134"/>
                      </a:lnTo>
                      <a:lnTo>
                        <a:pt x="223409" y="588248"/>
                      </a:lnTo>
                      <a:lnTo>
                        <a:pt x="216791" y="592991"/>
                      </a:lnTo>
                      <a:lnTo>
                        <a:pt x="213246" y="595900"/>
                      </a:lnTo>
                      <a:lnTo>
                        <a:pt x="209481" y="600489"/>
                      </a:lnTo>
                      <a:lnTo>
                        <a:pt x="200630" y="603952"/>
                      </a:lnTo>
                      <a:lnTo>
                        <a:pt x="197346" y="604832"/>
                      </a:lnTo>
                      <a:lnTo>
                        <a:pt x="194306" y="604360"/>
                      </a:lnTo>
                      <a:lnTo>
                        <a:pt x="190614" y="607180"/>
                      </a:lnTo>
                      <a:lnTo>
                        <a:pt x="186246" y="608907"/>
                      </a:lnTo>
                      <a:lnTo>
                        <a:pt x="184958" y="611523"/>
                      </a:lnTo>
                      <a:lnTo>
                        <a:pt x="174453" y="618532"/>
                      </a:lnTo>
                      <a:lnTo>
                        <a:pt x="170419" y="619420"/>
                      </a:lnTo>
                      <a:lnTo>
                        <a:pt x="166996" y="621279"/>
                      </a:lnTo>
                      <a:lnTo>
                        <a:pt x="165977" y="624449"/>
                      </a:lnTo>
                      <a:lnTo>
                        <a:pt x="162913" y="626348"/>
                      </a:lnTo>
                      <a:lnTo>
                        <a:pt x="162066" y="627815"/>
                      </a:lnTo>
                      <a:lnTo>
                        <a:pt x="159490" y="632232"/>
                      </a:lnTo>
                      <a:lnTo>
                        <a:pt x="154706" y="637945"/>
                      </a:lnTo>
                      <a:lnTo>
                        <a:pt x="148871" y="638898"/>
                      </a:lnTo>
                      <a:lnTo>
                        <a:pt x="146736" y="640879"/>
                      </a:lnTo>
                      <a:lnTo>
                        <a:pt x="144267" y="644081"/>
                      </a:lnTo>
                      <a:lnTo>
                        <a:pt x="140787" y="646274"/>
                      </a:lnTo>
                      <a:lnTo>
                        <a:pt x="133908" y="645255"/>
                      </a:lnTo>
                      <a:lnTo>
                        <a:pt x="135579" y="646592"/>
                      </a:lnTo>
                      <a:lnTo>
                        <a:pt x="141732" y="648686"/>
                      </a:lnTo>
                      <a:lnTo>
                        <a:pt x="142376" y="651783"/>
                      </a:lnTo>
                      <a:lnTo>
                        <a:pt x="139295" y="652525"/>
                      </a:lnTo>
                      <a:lnTo>
                        <a:pt x="133281" y="656379"/>
                      </a:lnTo>
                      <a:lnTo>
                        <a:pt x="131488" y="654456"/>
                      </a:lnTo>
                      <a:lnTo>
                        <a:pt x="129874" y="652745"/>
                      </a:lnTo>
                      <a:lnTo>
                        <a:pt x="130493" y="650088"/>
                      </a:lnTo>
                      <a:lnTo>
                        <a:pt x="131439" y="646029"/>
                      </a:lnTo>
                      <a:lnTo>
                        <a:pt x="131895" y="643959"/>
                      </a:lnTo>
                      <a:lnTo>
                        <a:pt x="127413" y="641686"/>
                      </a:lnTo>
                      <a:lnTo>
                        <a:pt x="123941" y="641009"/>
                      </a:lnTo>
                      <a:lnTo>
                        <a:pt x="120298" y="641335"/>
                      </a:lnTo>
                      <a:lnTo>
                        <a:pt x="112784" y="643690"/>
                      </a:lnTo>
                      <a:lnTo>
                        <a:pt x="101399" y="648075"/>
                      </a:lnTo>
                      <a:lnTo>
                        <a:pt x="94504" y="649142"/>
                      </a:lnTo>
                      <a:lnTo>
                        <a:pt x="92108" y="646918"/>
                      </a:lnTo>
                      <a:lnTo>
                        <a:pt x="89077" y="646168"/>
                      </a:lnTo>
                      <a:lnTo>
                        <a:pt x="85425" y="646901"/>
                      </a:lnTo>
                      <a:lnTo>
                        <a:pt x="81864" y="646461"/>
                      </a:lnTo>
                      <a:lnTo>
                        <a:pt x="78400" y="644856"/>
                      </a:lnTo>
                      <a:lnTo>
                        <a:pt x="75581" y="641311"/>
                      </a:lnTo>
                      <a:lnTo>
                        <a:pt x="73421" y="635842"/>
                      </a:lnTo>
                      <a:lnTo>
                        <a:pt x="71685" y="632957"/>
                      </a:lnTo>
                      <a:lnTo>
                        <a:pt x="70495" y="632680"/>
                      </a:lnTo>
                      <a:lnTo>
                        <a:pt x="70031" y="632582"/>
                      </a:lnTo>
                      <a:lnTo>
                        <a:pt x="69476" y="633088"/>
                      </a:lnTo>
                      <a:lnTo>
                        <a:pt x="69159" y="635076"/>
                      </a:lnTo>
                      <a:lnTo>
                        <a:pt x="68776" y="635728"/>
                      </a:lnTo>
                      <a:lnTo>
                        <a:pt x="67887" y="635834"/>
                      </a:lnTo>
                      <a:lnTo>
                        <a:pt x="66543" y="635500"/>
                      </a:lnTo>
                      <a:lnTo>
                        <a:pt x="64815" y="634620"/>
                      </a:lnTo>
                      <a:lnTo>
                        <a:pt x="61531" y="632118"/>
                      </a:lnTo>
                      <a:lnTo>
                        <a:pt x="60699" y="631205"/>
                      </a:lnTo>
                      <a:lnTo>
                        <a:pt x="60316" y="630056"/>
                      </a:lnTo>
                      <a:lnTo>
                        <a:pt x="60063" y="629534"/>
                      </a:lnTo>
                      <a:lnTo>
                        <a:pt x="58116" y="626494"/>
                      </a:lnTo>
                      <a:lnTo>
                        <a:pt x="58075" y="626462"/>
                      </a:lnTo>
                      <a:lnTo>
                        <a:pt x="50366" y="622028"/>
                      </a:lnTo>
                      <a:close/>
                      <a:moveTo>
                        <a:pt x="444266" y="518013"/>
                      </a:moveTo>
                      <a:lnTo>
                        <a:pt x="433892" y="518551"/>
                      </a:lnTo>
                      <a:lnTo>
                        <a:pt x="425628" y="516318"/>
                      </a:lnTo>
                      <a:lnTo>
                        <a:pt x="419508" y="515242"/>
                      </a:lnTo>
                      <a:lnTo>
                        <a:pt x="413501" y="513278"/>
                      </a:lnTo>
                      <a:lnTo>
                        <a:pt x="400494" y="506954"/>
                      </a:lnTo>
                      <a:lnTo>
                        <a:pt x="399003" y="504754"/>
                      </a:lnTo>
                      <a:lnTo>
                        <a:pt x="397756" y="502048"/>
                      </a:lnTo>
                      <a:lnTo>
                        <a:pt x="395262" y="499595"/>
                      </a:lnTo>
                      <a:lnTo>
                        <a:pt x="392573" y="497566"/>
                      </a:lnTo>
                      <a:lnTo>
                        <a:pt x="378808" y="491372"/>
                      </a:lnTo>
                      <a:lnTo>
                        <a:pt x="377683" y="489220"/>
                      </a:lnTo>
                      <a:lnTo>
                        <a:pt x="380470" y="487802"/>
                      </a:lnTo>
                      <a:lnTo>
                        <a:pt x="383673" y="487126"/>
                      </a:lnTo>
                      <a:lnTo>
                        <a:pt x="386460" y="487224"/>
                      </a:lnTo>
                      <a:lnTo>
                        <a:pt x="395670" y="489644"/>
                      </a:lnTo>
                      <a:lnTo>
                        <a:pt x="407283" y="491771"/>
                      </a:lnTo>
                      <a:lnTo>
                        <a:pt x="412320" y="493385"/>
                      </a:lnTo>
                      <a:lnTo>
                        <a:pt x="418032" y="495822"/>
                      </a:lnTo>
                      <a:lnTo>
                        <a:pt x="423615" y="498788"/>
                      </a:lnTo>
                      <a:lnTo>
                        <a:pt x="436027" y="506661"/>
                      </a:lnTo>
                      <a:lnTo>
                        <a:pt x="438252" y="507288"/>
                      </a:lnTo>
                      <a:lnTo>
                        <a:pt x="443859" y="511135"/>
                      </a:lnTo>
                      <a:lnTo>
                        <a:pt x="445880" y="514028"/>
                      </a:lnTo>
                      <a:lnTo>
                        <a:pt x="446866" y="516375"/>
                      </a:lnTo>
                      <a:lnTo>
                        <a:pt x="445644" y="517573"/>
                      </a:lnTo>
                      <a:lnTo>
                        <a:pt x="444266" y="518013"/>
                      </a:lnTo>
                      <a:close/>
                      <a:moveTo>
                        <a:pt x="384366" y="525976"/>
                      </a:moveTo>
                      <a:lnTo>
                        <a:pt x="384545" y="528412"/>
                      </a:lnTo>
                      <a:lnTo>
                        <a:pt x="380527" y="527231"/>
                      </a:lnTo>
                      <a:lnTo>
                        <a:pt x="376974" y="527149"/>
                      </a:lnTo>
                      <a:lnTo>
                        <a:pt x="379435" y="528502"/>
                      </a:lnTo>
                      <a:lnTo>
                        <a:pt x="383616" y="532561"/>
                      </a:lnTo>
                      <a:lnTo>
                        <a:pt x="383429" y="537646"/>
                      </a:lnTo>
                      <a:lnTo>
                        <a:pt x="381073" y="542226"/>
                      </a:lnTo>
                      <a:lnTo>
                        <a:pt x="374016" y="544484"/>
                      </a:lnTo>
                      <a:lnTo>
                        <a:pt x="372215" y="546277"/>
                      </a:lnTo>
                      <a:lnTo>
                        <a:pt x="370756" y="549243"/>
                      </a:lnTo>
                      <a:lnTo>
                        <a:pt x="369330" y="550376"/>
                      </a:lnTo>
                      <a:lnTo>
                        <a:pt x="365915" y="551696"/>
                      </a:lnTo>
                      <a:lnTo>
                        <a:pt x="364024" y="553611"/>
                      </a:lnTo>
                      <a:lnTo>
                        <a:pt x="358482" y="556667"/>
                      </a:lnTo>
                      <a:lnTo>
                        <a:pt x="355988" y="557026"/>
                      </a:lnTo>
                      <a:lnTo>
                        <a:pt x="353112" y="556293"/>
                      </a:lnTo>
                      <a:lnTo>
                        <a:pt x="346193" y="553416"/>
                      </a:lnTo>
                      <a:lnTo>
                        <a:pt x="341930" y="550645"/>
                      </a:lnTo>
                      <a:lnTo>
                        <a:pt x="339803" y="552153"/>
                      </a:lnTo>
                      <a:lnTo>
                        <a:pt x="338051" y="553734"/>
                      </a:lnTo>
                      <a:lnTo>
                        <a:pt x="333944" y="553212"/>
                      </a:lnTo>
                      <a:lnTo>
                        <a:pt x="332069" y="553905"/>
                      </a:lnTo>
                      <a:lnTo>
                        <a:pt x="328980" y="553122"/>
                      </a:lnTo>
                      <a:lnTo>
                        <a:pt x="322648" y="556610"/>
                      </a:lnTo>
                      <a:lnTo>
                        <a:pt x="319217" y="557499"/>
                      </a:lnTo>
                      <a:lnTo>
                        <a:pt x="317171" y="558729"/>
                      </a:lnTo>
                      <a:lnTo>
                        <a:pt x="316511" y="561028"/>
                      </a:lnTo>
                      <a:lnTo>
                        <a:pt x="313887" y="560343"/>
                      </a:lnTo>
                      <a:lnTo>
                        <a:pt x="310676" y="561215"/>
                      </a:lnTo>
                      <a:lnTo>
                        <a:pt x="307701" y="561459"/>
                      </a:lnTo>
                      <a:lnTo>
                        <a:pt x="306267" y="562625"/>
                      </a:lnTo>
                      <a:lnTo>
                        <a:pt x="300953" y="559577"/>
                      </a:lnTo>
                      <a:lnTo>
                        <a:pt x="300204" y="558534"/>
                      </a:lnTo>
                      <a:lnTo>
                        <a:pt x="300122" y="557466"/>
                      </a:lnTo>
                      <a:lnTo>
                        <a:pt x="296984" y="557466"/>
                      </a:lnTo>
                      <a:lnTo>
                        <a:pt x="292665" y="557466"/>
                      </a:lnTo>
                      <a:lnTo>
                        <a:pt x="289943" y="557466"/>
                      </a:lnTo>
                      <a:lnTo>
                        <a:pt x="287702" y="557466"/>
                      </a:lnTo>
                      <a:lnTo>
                        <a:pt x="287702" y="559944"/>
                      </a:lnTo>
                      <a:lnTo>
                        <a:pt x="284255" y="559944"/>
                      </a:lnTo>
                      <a:lnTo>
                        <a:pt x="281141" y="559944"/>
                      </a:lnTo>
                      <a:lnTo>
                        <a:pt x="281133" y="563204"/>
                      </a:lnTo>
                      <a:lnTo>
                        <a:pt x="281125" y="565828"/>
                      </a:lnTo>
                      <a:lnTo>
                        <a:pt x="281117" y="568452"/>
                      </a:lnTo>
                      <a:lnTo>
                        <a:pt x="281109" y="572128"/>
                      </a:lnTo>
                      <a:lnTo>
                        <a:pt x="280758" y="573057"/>
                      </a:lnTo>
                      <a:lnTo>
                        <a:pt x="279870" y="574304"/>
                      </a:lnTo>
                      <a:lnTo>
                        <a:pt x="278224" y="576015"/>
                      </a:lnTo>
                      <a:lnTo>
                        <a:pt x="274940" y="578150"/>
                      </a:lnTo>
                      <a:lnTo>
                        <a:pt x="264394" y="582649"/>
                      </a:lnTo>
                      <a:lnTo>
                        <a:pt x="264125" y="581100"/>
                      </a:lnTo>
                      <a:lnTo>
                        <a:pt x="264475" y="577946"/>
                      </a:lnTo>
                      <a:lnTo>
                        <a:pt x="262095" y="577294"/>
                      </a:lnTo>
                      <a:lnTo>
                        <a:pt x="259699" y="576634"/>
                      </a:lnTo>
                      <a:lnTo>
                        <a:pt x="258232" y="578818"/>
                      </a:lnTo>
                      <a:lnTo>
                        <a:pt x="256814" y="580660"/>
                      </a:lnTo>
                      <a:lnTo>
                        <a:pt x="254019" y="584654"/>
                      </a:lnTo>
                      <a:lnTo>
                        <a:pt x="250091" y="590261"/>
                      </a:lnTo>
                      <a:lnTo>
                        <a:pt x="247915" y="593349"/>
                      </a:lnTo>
                      <a:lnTo>
                        <a:pt x="244085" y="598761"/>
                      </a:lnTo>
                      <a:lnTo>
                        <a:pt x="240711" y="603512"/>
                      </a:lnTo>
                      <a:lnTo>
                        <a:pt x="239953" y="608402"/>
                      </a:lnTo>
                      <a:lnTo>
                        <a:pt x="239235" y="613023"/>
                      </a:lnTo>
                      <a:lnTo>
                        <a:pt x="236440" y="616544"/>
                      </a:lnTo>
                      <a:lnTo>
                        <a:pt x="234745" y="619763"/>
                      </a:lnTo>
                      <a:lnTo>
                        <a:pt x="233987" y="623332"/>
                      </a:lnTo>
                      <a:lnTo>
                        <a:pt x="233351" y="626608"/>
                      </a:lnTo>
                      <a:lnTo>
                        <a:pt x="233303" y="629347"/>
                      </a:lnTo>
                      <a:lnTo>
                        <a:pt x="233783" y="630781"/>
                      </a:lnTo>
                      <a:lnTo>
                        <a:pt x="233555" y="631955"/>
                      </a:lnTo>
                      <a:lnTo>
                        <a:pt x="232634" y="633308"/>
                      </a:lnTo>
                      <a:lnTo>
                        <a:pt x="230784" y="635638"/>
                      </a:lnTo>
                      <a:lnTo>
                        <a:pt x="230450" y="637888"/>
                      </a:lnTo>
                      <a:lnTo>
                        <a:pt x="229325" y="638988"/>
                      </a:lnTo>
                      <a:lnTo>
                        <a:pt x="226098" y="641205"/>
                      </a:lnTo>
                      <a:lnTo>
                        <a:pt x="223474" y="644464"/>
                      </a:lnTo>
                      <a:lnTo>
                        <a:pt x="223343" y="646315"/>
                      </a:lnTo>
                      <a:lnTo>
                        <a:pt x="223726" y="647847"/>
                      </a:lnTo>
                      <a:lnTo>
                        <a:pt x="223784" y="648792"/>
                      </a:lnTo>
                      <a:lnTo>
                        <a:pt x="223262" y="649460"/>
                      </a:lnTo>
                      <a:lnTo>
                        <a:pt x="222211" y="649420"/>
                      </a:lnTo>
                      <a:lnTo>
                        <a:pt x="221070" y="649631"/>
                      </a:lnTo>
                      <a:lnTo>
                        <a:pt x="220116" y="650984"/>
                      </a:lnTo>
                      <a:lnTo>
                        <a:pt x="220141" y="652940"/>
                      </a:lnTo>
                      <a:lnTo>
                        <a:pt x="219440" y="654342"/>
                      </a:lnTo>
                      <a:lnTo>
                        <a:pt x="218625" y="654635"/>
                      </a:lnTo>
                      <a:lnTo>
                        <a:pt x="217924" y="653641"/>
                      </a:lnTo>
                      <a:lnTo>
                        <a:pt x="217084" y="652150"/>
                      </a:lnTo>
                      <a:lnTo>
                        <a:pt x="216098" y="652003"/>
                      </a:lnTo>
                      <a:lnTo>
                        <a:pt x="214599" y="652997"/>
                      </a:lnTo>
                      <a:lnTo>
                        <a:pt x="213996" y="653527"/>
                      </a:lnTo>
                      <a:lnTo>
                        <a:pt x="212757" y="654627"/>
                      </a:lnTo>
                      <a:lnTo>
                        <a:pt x="211094" y="654717"/>
                      </a:lnTo>
                      <a:lnTo>
                        <a:pt x="207981" y="653674"/>
                      </a:lnTo>
                      <a:lnTo>
                        <a:pt x="205707" y="656828"/>
                      </a:lnTo>
                      <a:lnTo>
                        <a:pt x="203263" y="663592"/>
                      </a:lnTo>
                      <a:lnTo>
                        <a:pt x="192945" y="663608"/>
                      </a:lnTo>
                      <a:lnTo>
                        <a:pt x="182619" y="663625"/>
                      </a:lnTo>
                      <a:lnTo>
                        <a:pt x="172302" y="663633"/>
                      </a:lnTo>
                      <a:lnTo>
                        <a:pt x="161984" y="663649"/>
                      </a:lnTo>
                      <a:lnTo>
                        <a:pt x="157763" y="663657"/>
                      </a:lnTo>
                      <a:lnTo>
                        <a:pt x="151658" y="663673"/>
                      </a:lnTo>
                      <a:lnTo>
                        <a:pt x="141341" y="663682"/>
                      </a:lnTo>
                      <a:lnTo>
                        <a:pt x="131015" y="663698"/>
                      </a:lnTo>
                      <a:lnTo>
                        <a:pt x="125237" y="663706"/>
                      </a:lnTo>
                      <a:lnTo>
                        <a:pt x="124104" y="663706"/>
                      </a:lnTo>
                      <a:lnTo>
                        <a:pt x="127641" y="662386"/>
                      </a:lnTo>
                      <a:lnTo>
                        <a:pt x="135009" y="657227"/>
                      </a:lnTo>
                      <a:lnTo>
                        <a:pt x="140444" y="655361"/>
                      </a:lnTo>
                      <a:lnTo>
                        <a:pt x="147518" y="649949"/>
                      </a:lnTo>
                      <a:lnTo>
                        <a:pt x="152636" y="648906"/>
                      </a:lnTo>
                      <a:lnTo>
                        <a:pt x="153614" y="647716"/>
                      </a:lnTo>
                      <a:lnTo>
                        <a:pt x="154470" y="643218"/>
                      </a:lnTo>
                      <a:lnTo>
                        <a:pt x="154943" y="641612"/>
                      </a:lnTo>
                      <a:lnTo>
                        <a:pt x="157339" y="637187"/>
                      </a:lnTo>
                      <a:lnTo>
                        <a:pt x="160208" y="633454"/>
                      </a:lnTo>
                      <a:lnTo>
                        <a:pt x="162530" y="628287"/>
                      </a:lnTo>
                      <a:lnTo>
                        <a:pt x="166736" y="624979"/>
                      </a:lnTo>
                      <a:lnTo>
                        <a:pt x="173100" y="622208"/>
                      </a:lnTo>
                      <a:lnTo>
                        <a:pt x="178984" y="616161"/>
                      </a:lnTo>
                      <a:lnTo>
                        <a:pt x="182212" y="614311"/>
                      </a:lnTo>
                      <a:lnTo>
                        <a:pt x="185333" y="612990"/>
                      </a:lnTo>
                      <a:lnTo>
                        <a:pt x="186653" y="610521"/>
                      </a:lnTo>
                      <a:lnTo>
                        <a:pt x="188585" y="609111"/>
                      </a:lnTo>
                      <a:lnTo>
                        <a:pt x="193752" y="606250"/>
                      </a:lnTo>
                      <a:lnTo>
                        <a:pt x="199449" y="605476"/>
                      </a:lnTo>
                      <a:lnTo>
                        <a:pt x="205202" y="603097"/>
                      </a:lnTo>
                      <a:lnTo>
                        <a:pt x="209619" y="601833"/>
                      </a:lnTo>
                      <a:lnTo>
                        <a:pt x="212325" y="599600"/>
                      </a:lnTo>
                      <a:lnTo>
                        <a:pt x="216261" y="598427"/>
                      </a:lnTo>
                      <a:lnTo>
                        <a:pt x="228013" y="592013"/>
                      </a:lnTo>
                      <a:lnTo>
                        <a:pt x="231273" y="589006"/>
                      </a:lnTo>
                      <a:lnTo>
                        <a:pt x="235495" y="582844"/>
                      </a:lnTo>
                      <a:lnTo>
                        <a:pt x="239170" y="579707"/>
                      </a:lnTo>
                      <a:lnTo>
                        <a:pt x="240474" y="576365"/>
                      </a:lnTo>
                      <a:lnTo>
                        <a:pt x="245804" y="570930"/>
                      </a:lnTo>
                      <a:lnTo>
                        <a:pt x="251289" y="563766"/>
                      </a:lnTo>
                      <a:lnTo>
                        <a:pt x="254011" y="558615"/>
                      </a:lnTo>
                      <a:lnTo>
                        <a:pt x="258094" y="555755"/>
                      </a:lnTo>
                      <a:lnTo>
                        <a:pt x="266016" y="547564"/>
                      </a:lnTo>
                      <a:lnTo>
                        <a:pt x="270262" y="544288"/>
                      </a:lnTo>
                      <a:lnTo>
                        <a:pt x="271989" y="543913"/>
                      </a:lnTo>
                      <a:lnTo>
                        <a:pt x="276806" y="541004"/>
                      </a:lnTo>
                      <a:lnTo>
                        <a:pt x="279797" y="537964"/>
                      </a:lnTo>
                      <a:lnTo>
                        <a:pt x="284589" y="534908"/>
                      </a:lnTo>
                      <a:lnTo>
                        <a:pt x="293244" y="531142"/>
                      </a:lnTo>
                      <a:lnTo>
                        <a:pt x="301385" y="526628"/>
                      </a:lnTo>
                      <a:lnTo>
                        <a:pt x="312379" y="522716"/>
                      </a:lnTo>
                      <a:lnTo>
                        <a:pt x="325264" y="516856"/>
                      </a:lnTo>
                      <a:lnTo>
                        <a:pt x="335679" y="513710"/>
                      </a:lnTo>
                      <a:lnTo>
                        <a:pt x="343006" y="513254"/>
                      </a:lnTo>
                      <a:lnTo>
                        <a:pt x="351922" y="511787"/>
                      </a:lnTo>
                      <a:lnTo>
                        <a:pt x="355076" y="511925"/>
                      </a:lnTo>
                      <a:lnTo>
                        <a:pt x="368963" y="514476"/>
                      </a:lnTo>
                      <a:lnTo>
                        <a:pt x="375621" y="517622"/>
                      </a:lnTo>
                      <a:lnTo>
                        <a:pt x="383209" y="524240"/>
                      </a:lnTo>
                      <a:lnTo>
                        <a:pt x="384366" y="525976"/>
                      </a:lnTo>
                      <a:close/>
                    </a:path>
                  </a:pathLst>
                </a:custGeom>
                <a:solidFill>
                  <a:srgbClr val="D6D6D2"/>
                </a:solidFill>
                <a:ln w="6112" cap="rnd">
                  <a:solidFill>
                    <a:srgbClr val="FFFFFF"/>
                  </a:solidFill>
                  <a:prstDash val="solid"/>
                  <a:round/>
                </a:ln>
              </p:spPr>
              <p:txBody>
                <a:bodyPr rtlCol="0" anchor="ctr"/>
                <a:lstStyle/>
                <a:p>
                  <a:endParaRPr lang="en-US"/>
                </a:p>
              </p:txBody>
            </p:sp>
            <p:sp>
              <p:nvSpPr>
                <p:cNvPr id="474" name="Freeform: Shape 473">
                  <a:extLst>
                    <a:ext uri="{FF2B5EF4-FFF2-40B4-BE49-F238E27FC236}">
                      <a16:creationId xmlns:a16="http://schemas.microsoft.com/office/drawing/2014/main" id="{CE040240-377C-4766-B8BA-27DF740E2BBD}"/>
                    </a:ext>
                  </a:extLst>
                </p:cNvPr>
                <p:cNvSpPr/>
                <p:nvPr/>
              </p:nvSpPr>
              <p:spPr>
                <a:xfrm>
                  <a:off x="4346284" y="3030577"/>
                  <a:ext cx="59012" cy="38825"/>
                </a:xfrm>
                <a:custGeom>
                  <a:avLst/>
                  <a:gdLst>
                    <a:gd name="connsiteX0" fmla="*/ 14678 w 59012"/>
                    <a:gd name="connsiteY0" fmla="*/ 21075 h 38825"/>
                    <a:gd name="connsiteX1" fmla="*/ 15354 w 59012"/>
                    <a:gd name="connsiteY1" fmla="*/ 21572 h 38825"/>
                    <a:gd name="connsiteX2" fmla="*/ 16520 w 59012"/>
                    <a:gd name="connsiteY2" fmla="*/ 20651 h 38825"/>
                    <a:gd name="connsiteX3" fmla="*/ 17897 w 59012"/>
                    <a:gd name="connsiteY3" fmla="*/ 17758 h 38825"/>
                    <a:gd name="connsiteX4" fmla="*/ 21548 w 59012"/>
                    <a:gd name="connsiteY4" fmla="*/ 18516 h 38825"/>
                    <a:gd name="connsiteX5" fmla="*/ 23479 w 59012"/>
                    <a:gd name="connsiteY5" fmla="*/ 19812 h 38825"/>
                    <a:gd name="connsiteX6" fmla="*/ 24555 w 59012"/>
                    <a:gd name="connsiteY6" fmla="*/ 19535 h 38825"/>
                    <a:gd name="connsiteX7" fmla="*/ 25655 w 59012"/>
                    <a:gd name="connsiteY7" fmla="*/ 19665 h 38825"/>
                    <a:gd name="connsiteX8" fmla="*/ 27709 w 59012"/>
                    <a:gd name="connsiteY8" fmla="*/ 21369 h 38825"/>
                    <a:gd name="connsiteX9" fmla="*/ 31597 w 59012"/>
                    <a:gd name="connsiteY9" fmla="*/ 22713 h 38825"/>
                    <a:gd name="connsiteX10" fmla="*/ 35696 w 59012"/>
                    <a:gd name="connsiteY10" fmla="*/ 22518 h 38825"/>
                    <a:gd name="connsiteX11" fmla="*/ 41947 w 59012"/>
                    <a:gd name="connsiteY11" fmla="*/ 21719 h 38825"/>
                    <a:gd name="connsiteX12" fmla="*/ 42688 w 59012"/>
                    <a:gd name="connsiteY12" fmla="*/ 21393 h 38825"/>
                    <a:gd name="connsiteX13" fmla="*/ 49110 w 59012"/>
                    <a:gd name="connsiteY13" fmla="*/ 20733 h 38825"/>
                    <a:gd name="connsiteX14" fmla="*/ 55549 w 59012"/>
                    <a:gd name="connsiteY14" fmla="*/ 20415 h 38825"/>
                    <a:gd name="connsiteX15" fmla="*/ 57765 w 59012"/>
                    <a:gd name="connsiteY15" fmla="*/ 21173 h 38825"/>
                    <a:gd name="connsiteX16" fmla="*/ 58589 w 59012"/>
                    <a:gd name="connsiteY16" fmla="*/ 21882 h 38825"/>
                    <a:gd name="connsiteX17" fmla="*/ 59012 w 59012"/>
                    <a:gd name="connsiteY17" fmla="*/ 22738 h 38825"/>
                    <a:gd name="connsiteX18" fmla="*/ 55345 w 59012"/>
                    <a:gd name="connsiteY18" fmla="*/ 25085 h 38825"/>
                    <a:gd name="connsiteX19" fmla="*/ 51670 w 59012"/>
                    <a:gd name="connsiteY19" fmla="*/ 27815 h 38825"/>
                    <a:gd name="connsiteX20" fmla="*/ 46560 w 59012"/>
                    <a:gd name="connsiteY20" fmla="*/ 30488 h 38825"/>
                    <a:gd name="connsiteX21" fmla="*/ 45916 w 59012"/>
                    <a:gd name="connsiteY21" fmla="*/ 31792 h 38825"/>
                    <a:gd name="connsiteX22" fmla="*/ 46233 w 59012"/>
                    <a:gd name="connsiteY22" fmla="*/ 34196 h 38825"/>
                    <a:gd name="connsiteX23" fmla="*/ 46128 w 59012"/>
                    <a:gd name="connsiteY23" fmla="*/ 36649 h 38825"/>
                    <a:gd name="connsiteX24" fmla="*/ 47138 w 59012"/>
                    <a:gd name="connsiteY24" fmla="*/ 36853 h 38825"/>
                    <a:gd name="connsiteX25" fmla="*/ 47749 w 59012"/>
                    <a:gd name="connsiteY25" fmla="*/ 37668 h 38825"/>
                    <a:gd name="connsiteX26" fmla="*/ 46421 w 59012"/>
                    <a:gd name="connsiteY26" fmla="*/ 38459 h 38825"/>
                    <a:gd name="connsiteX27" fmla="*/ 41172 w 59012"/>
                    <a:gd name="connsiteY27" fmla="*/ 38825 h 38825"/>
                    <a:gd name="connsiteX28" fmla="*/ 39640 w 59012"/>
                    <a:gd name="connsiteY28" fmla="*/ 38605 h 38825"/>
                    <a:gd name="connsiteX29" fmla="*/ 37815 w 59012"/>
                    <a:gd name="connsiteY29" fmla="*/ 37611 h 38825"/>
                    <a:gd name="connsiteX30" fmla="*/ 37196 w 59012"/>
                    <a:gd name="connsiteY30" fmla="*/ 35248 h 38825"/>
                    <a:gd name="connsiteX31" fmla="*/ 34930 w 59012"/>
                    <a:gd name="connsiteY31" fmla="*/ 35590 h 38825"/>
                    <a:gd name="connsiteX32" fmla="*/ 34253 w 59012"/>
                    <a:gd name="connsiteY32" fmla="*/ 35305 h 38825"/>
                    <a:gd name="connsiteX33" fmla="*/ 37415 w 59012"/>
                    <a:gd name="connsiteY33" fmla="*/ 33284 h 38825"/>
                    <a:gd name="connsiteX34" fmla="*/ 35981 w 59012"/>
                    <a:gd name="connsiteY34" fmla="*/ 30757 h 38825"/>
                    <a:gd name="connsiteX35" fmla="*/ 34425 w 59012"/>
                    <a:gd name="connsiteY35" fmla="*/ 30945 h 38825"/>
                    <a:gd name="connsiteX36" fmla="*/ 33406 w 59012"/>
                    <a:gd name="connsiteY36" fmla="*/ 29738 h 38825"/>
                    <a:gd name="connsiteX37" fmla="*/ 33496 w 59012"/>
                    <a:gd name="connsiteY37" fmla="*/ 28117 h 38825"/>
                    <a:gd name="connsiteX38" fmla="*/ 34922 w 59012"/>
                    <a:gd name="connsiteY38" fmla="*/ 27318 h 38825"/>
                    <a:gd name="connsiteX39" fmla="*/ 35337 w 59012"/>
                    <a:gd name="connsiteY39" fmla="*/ 26462 h 38825"/>
                    <a:gd name="connsiteX40" fmla="*/ 33390 w 59012"/>
                    <a:gd name="connsiteY40" fmla="*/ 27212 h 38825"/>
                    <a:gd name="connsiteX41" fmla="*/ 31898 w 59012"/>
                    <a:gd name="connsiteY41" fmla="*/ 28720 h 38825"/>
                    <a:gd name="connsiteX42" fmla="*/ 29967 w 59012"/>
                    <a:gd name="connsiteY42" fmla="*/ 29282 h 38825"/>
                    <a:gd name="connsiteX43" fmla="*/ 28084 w 59012"/>
                    <a:gd name="connsiteY43" fmla="*/ 30594 h 38825"/>
                    <a:gd name="connsiteX44" fmla="*/ 31010 w 59012"/>
                    <a:gd name="connsiteY44" fmla="*/ 30993 h 38825"/>
                    <a:gd name="connsiteX45" fmla="*/ 29502 w 59012"/>
                    <a:gd name="connsiteY45" fmla="*/ 32004 h 38825"/>
                    <a:gd name="connsiteX46" fmla="*/ 27937 w 59012"/>
                    <a:gd name="connsiteY46" fmla="*/ 32240 h 38825"/>
                    <a:gd name="connsiteX47" fmla="*/ 20692 w 59012"/>
                    <a:gd name="connsiteY47" fmla="*/ 30260 h 38825"/>
                    <a:gd name="connsiteX48" fmla="*/ 18907 w 59012"/>
                    <a:gd name="connsiteY48" fmla="*/ 29510 h 38825"/>
                    <a:gd name="connsiteX49" fmla="*/ 16658 w 59012"/>
                    <a:gd name="connsiteY49" fmla="*/ 27432 h 38825"/>
                    <a:gd name="connsiteX50" fmla="*/ 14947 w 59012"/>
                    <a:gd name="connsiteY50" fmla="*/ 24669 h 38825"/>
                    <a:gd name="connsiteX51" fmla="*/ 15876 w 59012"/>
                    <a:gd name="connsiteY51" fmla="*/ 24555 h 38825"/>
                    <a:gd name="connsiteX52" fmla="*/ 16186 w 59012"/>
                    <a:gd name="connsiteY52" fmla="*/ 24058 h 38825"/>
                    <a:gd name="connsiteX53" fmla="*/ 15990 w 59012"/>
                    <a:gd name="connsiteY53" fmla="*/ 23585 h 38825"/>
                    <a:gd name="connsiteX54" fmla="*/ 13463 w 59012"/>
                    <a:gd name="connsiteY54" fmla="*/ 23210 h 38825"/>
                    <a:gd name="connsiteX55" fmla="*/ 9511 w 59012"/>
                    <a:gd name="connsiteY55" fmla="*/ 23333 h 38825"/>
                    <a:gd name="connsiteX56" fmla="*/ 7245 w 59012"/>
                    <a:gd name="connsiteY56" fmla="*/ 22599 h 38825"/>
                    <a:gd name="connsiteX57" fmla="*/ 7359 w 59012"/>
                    <a:gd name="connsiteY57" fmla="*/ 17758 h 38825"/>
                    <a:gd name="connsiteX58" fmla="*/ 6626 w 59012"/>
                    <a:gd name="connsiteY58" fmla="*/ 16414 h 38825"/>
                    <a:gd name="connsiteX59" fmla="*/ 4156 w 59012"/>
                    <a:gd name="connsiteY59" fmla="*/ 15297 h 38825"/>
                    <a:gd name="connsiteX60" fmla="*/ 375 w 59012"/>
                    <a:gd name="connsiteY60" fmla="*/ 14963 h 38825"/>
                    <a:gd name="connsiteX61" fmla="*/ 0 w 59012"/>
                    <a:gd name="connsiteY61" fmla="*/ 13154 h 38825"/>
                    <a:gd name="connsiteX62" fmla="*/ 1206 w 59012"/>
                    <a:gd name="connsiteY62" fmla="*/ 10399 h 38825"/>
                    <a:gd name="connsiteX63" fmla="*/ 3056 w 59012"/>
                    <a:gd name="connsiteY63" fmla="*/ 8036 h 38825"/>
                    <a:gd name="connsiteX64" fmla="*/ 4466 w 59012"/>
                    <a:gd name="connsiteY64" fmla="*/ 5705 h 38825"/>
                    <a:gd name="connsiteX65" fmla="*/ 6112 w 59012"/>
                    <a:gd name="connsiteY65" fmla="*/ 3798 h 38825"/>
                    <a:gd name="connsiteX66" fmla="*/ 10155 w 59012"/>
                    <a:gd name="connsiteY66" fmla="*/ 0 h 38825"/>
                    <a:gd name="connsiteX67" fmla="*/ 10065 w 59012"/>
                    <a:gd name="connsiteY67" fmla="*/ 2844 h 38825"/>
                    <a:gd name="connsiteX68" fmla="*/ 10456 w 59012"/>
                    <a:gd name="connsiteY68" fmla="*/ 5289 h 38825"/>
                    <a:gd name="connsiteX69" fmla="*/ 7824 w 59012"/>
                    <a:gd name="connsiteY69" fmla="*/ 10179 h 38825"/>
                    <a:gd name="connsiteX70" fmla="*/ 12404 w 59012"/>
                    <a:gd name="connsiteY70" fmla="*/ 15020 h 38825"/>
                    <a:gd name="connsiteX71" fmla="*/ 12991 w 59012"/>
                    <a:gd name="connsiteY71" fmla="*/ 16096 h 38825"/>
                    <a:gd name="connsiteX72" fmla="*/ 13382 w 59012"/>
                    <a:gd name="connsiteY72" fmla="*/ 17392 h 38825"/>
                    <a:gd name="connsiteX73" fmla="*/ 13089 w 59012"/>
                    <a:gd name="connsiteY73" fmla="*/ 18581 h 38825"/>
                    <a:gd name="connsiteX74" fmla="*/ 12347 w 59012"/>
                    <a:gd name="connsiteY74" fmla="*/ 19649 h 38825"/>
                    <a:gd name="connsiteX75" fmla="*/ 14132 w 59012"/>
                    <a:gd name="connsiteY75" fmla="*/ 20179 h 38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59012" h="38825">
                      <a:moveTo>
                        <a:pt x="14678" y="21075"/>
                      </a:moveTo>
                      <a:lnTo>
                        <a:pt x="15354" y="21572"/>
                      </a:lnTo>
                      <a:lnTo>
                        <a:pt x="16520" y="20651"/>
                      </a:lnTo>
                      <a:lnTo>
                        <a:pt x="17897" y="17758"/>
                      </a:lnTo>
                      <a:lnTo>
                        <a:pt x="21548" y="18516"/>
                      </a:lnTo>
                      <a:lnTo>
                        <a:pt x="23479" y="19812"/>
                      </a:lnTo>
                      <a:lnTo>
                        <a:pt x="24555" y="19535"/>
                      </a:lnTo>
                      <a:lnTo>
                        <a:pt x="25655" y="19665"/>
                      </a:lnTo>
                      <a:lnTo>
                        <a:pt x="27709" y="21369"/>
                      </a:lnTo>
                      <a:lnTo>
                        <a:pt x="31597" y="22713"/>
                      </a:lnTo>
                      <a:lnTo>
                        <a:pt x="35696" y="22518"/>
                      </a:lnTo>
                      <a:lnTo>
                        <a:pt x="41947" y="21719"/>
                      </a:lnTo>
                      <a:lnTo>
                        <a:pt x="42688" y="21393"/>
                      </a:lnTo>
                      <a:lnTo>
                        <a:pt x="49110" y="20733"/>
                      </a:lnTo>
                      <a:lnTo>
                        <a:pt x="55549" y="20415"/>
                      </a:lnTo>
                      <a:lnTo>
                        <a:pt x="57765" y="21173"/>
                      </a:lnTo>
                      <a:lnTo>
                        <a:pt x="58589" y="21882"/>
                      </a:lnTo>
                      <a:lnTo>
                        <a:pt x="59012" y="22738"/>
                      </a:lnTo>
                      <a:lnTo>
                        <a:pt x="55345" y="25085"/>
                      </a:lnTo>
                      <a:lnTo>
                        <a:pt x="51670" y="27815"/>
                      </a:lnTo>
                      <a:lnTo>
                        <a:pt x="46560" y="30488"/>
                      </a:lnTo>
                      <a:lnTo>
                        <a:pt x="45916" y="31792"/>
                      </a:lnTo>
                      <a:lnTo>
                        <a:pt x="46233" y="34196"/>
                      </a:lnTo>
                      <a:lnTo>
                        <a:pt x="46128" y="36649"/>
                      </a:lnTo>
                      <a:lnTo>
                        <a:pt x="47138" y="36853"/>
                      </a:lnTo>
                      <a:lnTo>
                        <a:pt x="47749" y="37668"/>
                      </a:lnTo>
                      <a:lnTo>
                        <a:pt x="46421" y="38459"/>
                      </a:lnTo>
                      <a:lnTo>
                        <a:pt x="41172" y="38825"/>
                      </a:lnTo>
                      <a:lnTo>
                        <a:pt x="39640" y="38605"/>
                      </a:lnTo>
                      <a:lnTo>
                        <a:pt x="37815" y="37611"/>
                      </a:lnTo>
                      <a:lnTo>
                        <a:pt x="37196" y="35248"/>
                      </a:lnTo>
                      <a:lnTo>
                        <a:pt x="34930" y="35590"/>
                      </a:lnTo>
                      <a:lnTo>
                        <a:pt x="34253" y="35305"/>
                      </a:lnTo>
                      <a:lnTo>
                        <a:pt x="37415" y="33284"/>
                      </a:lnTo>
                      <a:lnTo>
                        <a:pt x="35981" y="30757"/>
                      </a:lnTo>
                      <a:lnTo>
                        <a:pt x="34425" y="30945"/>
                      </a:lnTo>
                      <a:lnTo>
                        <a:pt x="33406" y="29738"/>
                      </a:lnTo>
                      <a:lnTo>
                        <a:pt x="33496" y="28117"/>
                      </a:lnTo>
                      <a:lnTo>
                        <a:pt x="34922" y="27318"/>
                      </a:lnTo>
                      <a:lnTo>
                        <a:pt x="35337" y="26462"/>
                      </a:lnTo>
                      <a:lnTo>
                        <a:pt x="33390" y="27212"/>
                      </a:lnTo>
                      <a:lnTo>
                        <a:pt x="31898" y="28720"/>
                      </a:lnTo>
                      <a:lnTo>
                        <a:pt x="29967" y="29282"/>
                      </a:lnTo>
                      <a:lnTo>
                        <a:pt x="28084" y="30594"/>
                      </a:lnTo>
                      <a:lnTo>
                        <a:pt x="31010" y="30993"/>
                      </a:lnTo>
                      <a:lnTo>
                        <a:pt x="29502" y="32004"/>
                      </a:lnTo>
                      <a:lnTo>
                        <a:pt x="27937" y="32240"/>
                      </a:lnTo>
                      <a:lnTo>
                        <a:pt x="20692" y="30260"/>
                      </a:lnTo>
                      <a:lnTo>
                        <a:pt x="18907" y="29510"/>
                      </a:lnTo>
                      <a:lnTo>
                        <a:pt x="16658" y="27432"/>
                      </a:lnTo>
                      <a:lnTo>
                        <a:pt x="14947" y="24669"/>
                      </a:lnTo>
                      <a:lnTo>
                        <a:pt x="15876" y="24555"/>
                      </a:lnTo>
                      <a:lnTo>
                        <a:pt x="16186" y="24058"/>
                      </a:lnTo>
                      <a:lnTo>
                        <a:pt x="15990" y="23585"/>
                      </a:lnTo>
                      <a:lnTo>
                        <a:pt x="13463" y="23210"/>
                      </a:lnTo>
                      <a:lnTo>
                        <a:pt x="9511" y="23333"/>
                      </a:lnTo>
                      <a:lnTo>
                        <a:pt x="7245" y="22599"/>
                      </a:lnTo>
                      <a:lnTo>
                        <a:pt x="7359" y="17758"/>
                      </a:lnTo>
                      <a:lnTo>
                        <a:pt x="6626" y="16414"/>
                      </a:lnTo>
                      <a:lnTo>
                        <a:pt x="4156" y="15297"/>
                      </a:lnTo>
                      <a:lnTo>
                        <a:pt x="375" y="14963"/>
                      </a:lnTo>
                      <a:lnTo>
                        <a:pt x="0" y="13154"/>
                      </a:lnTo>
                      <a:lnTo>
                        <a:pt x="1206" y="10399"/>
                      </a:lnTo>
                      <a:lnTo>
                        <a:pt x="3056" y="8036"/>
                      </a:lnTo>
                      <a:lnTo>
                        <a:pt x="4466" y="5705"/>
                      </a:lnTo>
                      <a:lnTo>
                        <a:pt x="6112" y="3798"/>
                      </a:lnTo>
                      <a:lnTo>
                        <a:pt x="10155" y="0"/>
                      </a:lnTo>
                      <a:lnTo>
                        <a:pt x="10065" y="2844"/>
                      </a:lnTo>
                      <a:lnTo>
                        <a:pt x="10456" y="5289"/>
                      </a:lnTo>
                      <a:lnTo>
                        <a:pt x="7824" y="10179"/>
                      </a:lnTo>
                      <a:lnTo>
                        <a:pt x="12404" y="15020"/>
                      </a:lnTo>
                      <a:lnTo>
                        <a:pt x="12991" y="16096"/>
                      </a:lnTo>
                      <a:lnTo>
                        <a:pt x="13382" y="17392"/>
                      </a:lnTo>
                      <a:lnTo>
                        <a:pt x="13089" y="18581"/>
                      </a:lnTo>
                      <a:lnTo>
                        <a:pt x="12347" y="19649"/>
                      </a:lnTo>
                      <a:lnTo>
                        <a:pt x="14132" y="20179"/>
                      </a:lnTo>
                      <a:close/>
                    </a:path>
                  </a:pathLst>
                </a:custGeom>
                <a:solidFill>
                  <a:srgbClr val="D6D6D2"/>
                </a:solidFill>
                <a:ln w="8150" cap="flat">
                  <a:noFill/>
                  <a:prstDash val="solid"/>
                  <a:miter/>
                </a:ln>
              </p:spPr>
              <p:txBody>
                <a:bodyPr rtlCol="0" anchor="ctr"/>
                <a:lstStyle/>
                <a:p>
                  <a:endParaRPr lang="en-US"/>
                </a:p>
              </p:txBody>
            </p:sp>
            <p:sp>
              <p:nvSpPr>
                <p:cNvPr id="475" name="Freeform: Shape 474">
                  <a:extLst>
                    <a:ext uri="{FF2B5EF4-FFF2-40B4-BE49-F238E27FC236}">
                      <a16:creationId xmlns:a16="http://schemas.microsoft.com/office/drawing/2014/main" id="{908D33DD-6433-484A-BFC5-1737233B9624}"/>
                    </a:ext>
                  </a:extLst>
                </p:cNvPr>
                <p:cNvSpPr/>
                <p:nvPr/>
              </p:nvSpPr>
              <p:spPr>
                <a:xfrm>
                  <a:off x="3583429" y="2667515"/>
                  <a:ext cx="516309" cy="551182"/>
                </a:xfrm>
                <a:custGeom>
                  <a:avLst/>
                  <a:gdLst>
                    <a:gd name="connsiteX0" fmla="*/ 44220 w 516309"/>
                    <a:gd name="connsiteY0" fmla="*/ 307351 h 551182"/>
                    <a:gd name="connsiteX1" fmla="*/ 42093 w 516309"/>
                    <a:gd name="connsiteY1" fmla="*/ 309347 h 551182"/>
                    <a:gd name="connsiteX2" fmla="*/ 39591 w 516309"/>
                    <a:gd name="connsiteY2" fmla="*/ 310220 h 551182"/>
                    <a:gd name="connsiteX3" fmla="*/ 36030 w 516309"/>
                    <a:gd name="connsiteY3" fmla="*/ 310635 h 551182"/>
                    <a:gd name="connsiteX4" fmla="*/ 33650 w 516309"/>
                    <a:gd name="connsiteY4" fmla="*/ 309788 h 551182"/>
                    <a:gd name="connsiteX5" fmla="*/ 32460 w 516309"/>
                    <a:gd name="connsiteY5" fmla="*/ 307685 h 551182"/>
                    <a:gd name="connsiteX6" fmla="*/ 27408 w 516309"/>
                    <a:gd name="connsiteY6" fmla="*/ 305819 h 551182"/>
                    <a:gd name="connsiteX7" fmla="*/ 18500 w 516309"/>
                    <a:gd name="connsiteY7" fmla="*/ 304189 h 551182"/>
                    <a:gd name="connsiteX8" fmla="*/ 13374 w 516309"/>
                    <a:gd name="connsiteY8" fmla="*/ 302803 h 551182"/>
                    <a:gd name="connsiteX9" fmla="*/ 12021 w 516309"/>
                    <a:gd name="connsiteY9" fmla="*/ 301654 h 551182"/>
                    <a:gd name="connsiteX10" fmla="*/ 11287 w 516309"/>
                    <a:gd name="connsiteY10" fmla="*/ 300424 h 551182"/>
                    <a:gd name="connsiteX11" fmla="*/ 11100 w 516309"/>
                    <a:gd name="connsiteY11" fmla="*/ 298451 h 551182"/>
                    <a:gd name="connsiteX12" fmla="*/ 11100 w 516309"/>
                    <a:gd name="connsiteY12" fmla="*/ 298435 h 551182"/>
                    <a:gd name="connsiteX13" fmla="*/ 8851 w 516309"/>
                    <a:gd name="connsiteY13" fmla="*/ 293398 h 551182"/>
                    <a:gd name="connsiteX14" fmla="*/ 7881 w 516309"/>
                    <a:gd name="connsiteY14" fmla="*/ 289193 h 551182"/>
                    <a:gd name="connsiteX15" fmla="*/ 7441 w 516309"/>
                    <a:gd name="connsiteY15" fmla="*/ 284140 h 551182"/>
                    <a:gd name="connsiteX16" fmla="*/ 7595 w 516309"/>
                    <a:gd name="connsiteY16" fmla="*/ 282478 h 551182"/>
                    <a:gd name="connsiteX17" fmla="*/ 7090 w 516309"/>
                    <a:gd name="connsiteY17" fmla="*/ 281948 h 551182"/>
                    <a:gd name="connsiteX18" fmla="*/ 5485 w 516309"/>
                    <a:gd name="connsiteY18" fmla="*/ 280856 h 551182"/>
                    <a:gd name="connsiteX19" fmla="*/ 130 w 516309"/>
                    <a:gd name="connsiteY19" fmla="*/ 280114 h 551182"/>
                    <a:gd name="connsiteX20" fmla="*/ 0 w 516309"/>
                    <a:gd name="connsiteY20" fmla="*/ 264402 h 551182"/>
                    <a:gd name="connsiteX21" fmla="*/ 24 w 516309"/>
                    <a:gd name="connsiteY21" fmla="*/ 248673 h 551182"/>
                    <a:gd name="connsiteX22" fmla="*/ 49 w 516309"/>
                    <a:gd name="connsiteY22" fmla="*/ 232887 h 551182"/>
                    <a:gd name="connsiteX23" fmla="*/ 65 w 516309"/>
                    <a:gd name="connsiteY23" fmla="*/ 217044 h 551182"/>
                    <a:gd name="connsiteX24" fmla="*/ 90 w 516309"/>
                    <a:gd name="connsiteY24" fmla="*/ 201152 h 551182"/>
                    <a:gd name="connsiteX25" fmla="*/ 114 w 516309"/>
                    <a:gd name="connsiteY25" fmla="*/ 185195 h 551182"/>
                    <a:gd name="connsiteX26" fmla="*/ 130 w 516309"/>
                    <a:gd name="connsiteY26" fmla="*/ 169188 h 551182"/>
                    <a:gd name="connsiteX27" fmla="*/ 155 w 516309"/>
                    <a:gd name="connsiteY27" fmla="*/ 153117 h 551182"/>
                    <a:gd name="connsiteX28" fmla="*/ 9665 w 516309"/>
                    <a:gd name="connsiteY28" fmla="*/ 144470 h 551182"/>
                    <a:gd name="connsiteX29" fmla="*/ 19176 w 516309"/>
                    <a:gd name="connsiteY29" fmla="*/ 135807 h 551182"/>
                    <a:gd name="connsiteX30" fmla="*/ 28687 w 516309"/>
                    <a:gd name="connsiteY30" fmla="*/ 127128 h 551182"/>
                    <a:gd name="connsiteX31" fmla="*/ 38198 w 516309"/>
                    <a:gd name="connsiteY31" fmla="*/ 118432 h 551182"/>
                    <a:gd name="connsiteX32" fmla="*/ 44522 w 516309"/>
                    <a:gd name="connsiteY32" fmla="*/ 111537 h 551182"/>
                    <a:gd name="connsiteX33" fmla="*/ 50838 w 516309"/>
                    <a:gd name="connsiteY33" fmla="*/ 104618 h 551182"/>
                    <a:gd name="connsiteX34" fmla="*/ 57170 w 516309"/>
                    <a:gd name="connsiteY34" fmla="*/ 97699 h 551182"/>
                    <a:gd name="connsiteX35" fmla="*/ 63486 w 516309"/>
                    <a:gd name="connsiteY35" fmla="*/ 90764 h 551182"/>
                    <a:gd name="connsiteX36" fmla="*/ 71066 w 516309"/>
                    <a:gd name="connsiteY36" fmla="*/ 82842 h 551182"/>
                    <a:gd name="connsiteX37" fmla="*/ 78645 w 516309"/>
                    <a:gd name="connsiteY37" fmla="*/ 74896 h 551182"/>
                    <a:gd name="connsiteX38" fmla="*/ 86224 w 516309"/>
                    <a:gd name="connsiteY38" fmla="*/ 66942 h 551182"/>
                    <a:gd name="connsiteX39" fmla="*/ 93795 w 516309"/>
                    <a:gd name="connsiteY39" fmla="*/ 58963 h 551182"/>
                    <a:gd name="connsiteX40" fmla="*/ 102458 w 516309"/>
                    <a:gd name="connsiteY40" fmla="*/ 50373 h 551182"/>
                    <a:gd name="connsiteX41" fmla="*/ 111130 w 516309"/>
                    <a:gd name="connsiteY41" fmla="*/ 41767 h 551182"/>
                    <a:gd name="connsiteX42" fmla="*/ 119793 w 516309"/>
                    <a:gd name="connsiteY42" fmla="*/ 33153 h 551182"/>
                    <a:gd name="connsiteX43" fmla="*/ 128464 w 516309"/>
                    <a:gd name="connsiteY43" fmla="*/ 24514 h 551182"/>
                    <a:gd name="connsiteX44" fmla="*/ 134870 w 516309"/>
                    <a:gd name="connsiteY44" fmla="*/ 18369 h 551182"/>
                    <a:gd name="connsiteX45" fmla="*/ 141284 w 516309"/>
                    <a:gd name="connsiteY45" fmla="*/ 12216 h 551182"/>
                    <a:gd name="connsiteX46" fmla="*/ 147697 w 516309"/>
                    <a:gd name="connsiteY46" fmla="*/ 6055 h 551182"/>
                    <a:gd name="connsiteX47" fmla="*/ 154062 w 516309"/>
                    <a:gd name="connsiteY47" fmla="*/ 0 h 551182"/>
                    <a:gd name="connsiteX48" fmla="*/ 157086 w 516309"/>
                    <a:gd name="connsiteY48" fmla="*/ 1434 h 551182"/>
                    <a:gd name="connsiteX49" fmla="*/ 160721 w 516309"/>
                    <a:gd name="connsiteY49" fmla="*/ 4890 h 551182"/>
                    <a:gd name="connsiteX50" fmla="*/ 166499 w 516309"/>
                    <a:gd name="connsiteY50" fmla="*/ 9380 h 551182"/>
                    <a:gd name="connsiteX51" fmla="*/ 170859 w 516309"/>
                    <a:gd name="connsiteY51" fmla="*/ 12200 h 551182"/>
                    <a:gd name="connsiteX52" fmla="*/ 175724 w 516309"/>
                    <a:gd name="connsiteY52" fmla="*/ 14841 h 551182"/>
                    <a:gd name="connsiteX53" fmla="*/ 180614 w 516309"/>
                    <a:gd name="connsiteY53" fmla="*/ 19690 h 551182"/>
                    <a:gd name="connsiteX54" fmla="*/ 188487 w 516309"/>
                    <a:gd name="connsiteY54" fmla="*/ 30659 h 551182"/>
                    <a:gd name="connsiteX55" fmla="*/ 190427 w 516309"/>
                    <a:gd name="connsiteY55" fmla="*/ 32012 h 551182"/>
                    <a:gd name="connsiteX56" fmla="*/ 195284 w 516309"/>
                    <a:gd name="connsiteY56" fmla="*/ 33797 h 551182"/>
                    <a:gd name="connsiteX57" fmla="*/ 204395 w 516309"/>
                    <a:gd name="connsiteY57" fmla="*/ 36111 h 551182"/>
                    <a:gd name="connsiteX58" fmla="*/ 217850 w 516309"/>
                    <a:gd name="connsiteY58" fmla="*/ 41531 h 551182"/>
                    <a:gd name="connsiteX59" fmla="*/ 223759 w 516309"/>
                    <a:gd name="connsiteY59" fmla="*/ 43658 h 551182"/>
                    <a:gd name="connsiteX60" fmla="*/ 227581 w 516309"/>
                    <a:gd name="connsiteY60" fmla="*/ 44506 h 551182"/>
                    <a:gd name="connsiteX61" fmla="*/ 231403 w 516309"/>
                    <a:gd name="connsiteY61" fmla="*/ 45997 h 551182"/>
                    <a:gd name="connsiteX62" fmla="*/ 235218 w 516309"/>
                    <a:gd name="connsiteY62" fmla="*/ 48132 h 551182"/>
                    <a:gd name="connsiteX63" fmla="*/ 238127 w 516309"/>
                    <a:gd name="connsiteY63" fmla="*/ 50463 h 551182"/>
                    <a:gd name="connsiteX64" fmla="*/ 240132 w 516309"/>
                    <a:gd name="connsiteY64" fmla="*/ 52981 h 551182"/>
                    <a:gd name="connsiteX65" fmla="*/ 241900 w 516309"/>
                    <a:gd name="connsiteY65" fmla="*/ 54636 h 551182"/>
                    <a:gd name="connsiteX66" fmla="*/ 244981 w 516309"/>
                    <a:gd name="connsiteY66" fmla="*/ 56461 h 551182"/>
                    <a:gd name="connsiteX67" fmla="*/ 246586 w 516309"/>
                    <a:gd name="connsiteY67" fmla="*/ 57773 h 551182"/>
                    <a:gd name="connsiteX68" fmla="*/ 246741 w 516309"/>
                    <a:gd name="connsiteY68" fmla="*/ 59738 h 551182"/>
                    <a:gd name="connsiteX69" fmla="*/ 243017 w 516309"/>
                    <a:gd name="connsiteY69" fmla="*/ 67439 h 551182"/>
                    <a:gd name="connsiteX70" fmla="*/ 242935 w 516309"/>
                    <a:gd name="connsiteY70" fmla="*/ 68058 h 551182"/>
                    <a:gd name="connsiteX71" fmla="*/ 246701 w 516309"/>
                    <a:gd name="connsiteY71" fmla="*/ 62525 h 551182"/>
                    <a:gd name="connsiteX72" fmla="*/ 248795 w 516309"/>
                    <a:gd name="connsiteY72" fmla="*/ 60927 h 551182"/>
                    <a:gd name="connsiteX73" fmla="*/ 250482 w 516309"/>
                    <a:gd name="connsiteY73" fmla="*/ 60186 h 551182"/>
                    <a:gd name="connsiteX74" fmla="*/ 253978 w 516309"/>
                    <a:gd name="connsiteY74" fmla="*/ 60275 h 551182"/>
                    <a:gd name="connsiteX75" fmla="*/ 259284 w 516309"/>
                    <a:gd name="connsiteY75" fmla="*/ 61188 h 551182"/>
                    <a:gd name="connsiteX76" fmla="*/ 263937 w 516309"/>
                    <a:gd name="connsiteY76" fmla="*/ 61196 h 551182"/>
                    <a:gd name="connsiteX77" fmla="*/ 267947 w 516309"/>
                    <a:gd name="connsiteY77" fmla="*/ 60300 h 551182"/>
                    <a:gd name="connsiteX78" fmla="*/ 271353 w 516309"/>
                    <a:gd name="connsiteY78" fmla="*/ 59892 h 551182"/>
                    <a:gd name="connsiteX79" fmla="*/ 274165 w 516309"/>
                    <a:gd name="connsiteY79" fmla="*/ 59974 h 551182"/>
                    <a:gd name="connsiteX80" fmla="*/ 276211 w 516309"/>
                    <a:gd name="connsiteY80" fmla="*/ 59713 h 551182"/>
                    <a:gd name="connsiteX81" fmla="*/ 277482 w 516309"/>
                    <a:gd name="connsiteY81" fmla="*/ 59086 h 551182"/>
                    <a:gd name="connsiteX82" fmla="*/ 279006 w 516309"/>
                    <a:gd name="connsiteY82" fmla="*/ 59069 h 551182"/>
                    <a:gd name="connsiteX83" fmla="*/ 285029 w 516309"/>
                    <a:gd name="connsiteY83" fmla="*/ 60984 h 551182"/>
                    <a:gd name="connsiteX84" fmla="*/ 287465 w 516309"/>
                    <a:gd name="connsiteY84" fmla="*/ 61082 h 551182"/>
                    <a:gd name="connsiteX85" fmla="*/ 296275 w 516309"/>
                    <a:gd name="connsiteY85" fmla="*/ 62883 h 551182"/>
                    <a:gd name="connsiteX86" fmla="*/ 301931 w 516309"/>
                    <a:gd name="connsiteY86" fmla="*/ 62239 h 551182"/>
                    <a:gd name="connsiteX87" fmla="*/ 302909 w 516309"/>
                    <a:gd name="connsiteY87" fmla="*/ 62598 h 551182"/>
                    <a:gd name="connsiteX88" fmla="*/ 304873 w 516309"/>
                    <a:gd name="connsiteY88" fmla="*/ 64945 h 551182"/>
                    <a:gd name="connsiteX89" fmla="*/ 306536 w 516309"/>
                    <a:gd name="connsiteY89" fmla="*/ 65124 h 551182"/>
                    <a:gd name="connsiteX90" fmla="*/ 309348 w 516309"/>
                    <a:gd name="connsiteY90" fmla="*/ 64766 h 551182"/>
                    <a:gd name="connsiteX91" fmla="*/ 312078 w 516309"/>
                    <a:gd name="connsiteY91" fmla="*/ 65402 h 551182"/>
                    <a:gd name="connsiteX92" fmla="*/ 316650 w 516309"/>
                    <a:gd name="connsiteY92" fmla="*/ 68482 h 551182"/>
                    <a:gd name="connsiteX93" fmla="*/ 318752 w 516309"/>
                    <a:gd name="connsiteY93" fmla="*/ 71139 h 551182"/>
                    <a:gd name="connsiteX94" fmla="*/ 320782 w 516309"/>
                    <a:gd name="connsiteY94" fmla="*/ 76542 h 551182"/>
                    <a:gd name="connsiteX95" fmla="*/ 320961 w 516309"/>
                    <a:gd name="connsiteY95" fmla="*/ 78156 h 551182"/>
                    <a:gd name="connsiteX96" fmla="*/ 317212 w 516309"/>
                    <a:gd name="connsiteY96" fmla="*/ 90674 h 551182"/>
                    <a:gd name="connsiteX97" fmla="*/ 316030 w 516309"/>
                    <a:gd name="connsiteY97" fmla="*/ 95499 h 551182"/>
                    <a:gd name="connsiteX98" fmla="*/ 315876 w 516309"/>
                    <a:gd name="connsiteY98" fmla="*/ 99712 h 551182"/>
                    <a:gd name="connsiteX99" fmla="*/ 316617 w 516309"/>
                    <a:gd name="connsiteY99" fmla="*/ 102132 h 551182"/>
                    <a:gd name="connsiteX100" fmla="*/ 319853 w 516309"/>
                    <a:gd name="connsiteY100" fmla="*/ 106183 h 551182"/>
                    <a:gd name="connsiteX101" fmla="*/ 320439 w 516309"/>
                    <a:gd name="connsiteY101" fmla="*/ 107251 h 551182"/>
                    <a:gd name="connsiteX102" fmla="*/ 322354 w 516309"/>
                    <a:gd name="connsiteY102" fmla="*/ 113240 h 551182"/>
                    <a:gd name="connsiteX103" fmla="*/ 322876 w 516309"/>
                    <a:gd name="connsiteY103" fmla="*/ 115800 h 551182"/>
                    <a:gd name="connsiteX104" fmla="*/ 322664 w 516309"/>
                    <a:gd name="connsiteY104" fmla="*/ 118742 h 551182"/>
                    <a:gd name="connsiteX105" fmla="*/ 321662 w 516309"/>
                    <a:gd name="connsiteY105" fmla="*/ 123574 h 551182"/>
                    <a:gd name="connsiteX106" fmla="*/ 321914 w 516309"/>
                    <a:gd name="connsiteY106" fmla="*/ 127266 h 551182"/>
                    <a:gd name="connsiteX107" fmla="*/ 322762 w 516309"/>
                    <a:gd name="connsiteY107" fmla="*/ 132832 h 551182"/>
                    <a:gd name="connsiteX108" fmla="*/ 322436 w 516309"/>
                    <a:gd name="connsiteY108" fmla="*/ 136589 h 551182"/>
                    <a:gd name="connsiteX109" fmla="*/ 320944 w 516309"/>
                    <a:gd name="connsiteY109" fmla="*/ 138562 h 551182"/>
                    <a:gd name="connsiteX110" fmla="*/ 319934 w 516309"/>
                    <a:gd name="connsiteY110" fmla="*/ 140493 h 551182"/>
                    <a:gd name="connsiteX111" fmla="*/ 319144 w 516309"/>
                    <a:gd name="connsiteY111" fmla="*/ 143998 h 551182"/>
                    <a:gd name="connsiteX112" fmla="*/ 319144 w 516309"/>
                    <a:gd name="connsiteY112" fmla="*/ 145326 h 551182"/>
                    <a:gd name="connsiteX113" fmla="*/ 319918 w 516309"/>
                    <a:gd name="connsiteY113" fmla="*/ 147926 h 551182"/>
                    <a:gd name="connsiteX114" fmla="*/ 321352 w 516309"/>
                    <a:gd name="connsiteY114" fmla="*/ 149393 h 551182"/>
                    <a:gd name="connsiteX115" fmla="*/ 323699 w 516309"/>
                    <a:gd name="connsiteY115" fmla="*/ 151055 h 551182"/>
                    <a:gd name="connsiteX116" fmla="*/ 325883 w 516309"/>
                    <a:gd name="connsiteY116" fmla="*/ 153508 h 551182"/>
                    <a:gd name="connsiteX117" fmla="*/ 329868 w 516309"/>
                    <a:gd name="connsiteY117" fmla="*/ 159482 h 551182"/>
                    <a:gd name="connsiteX118" fmla="*/ 332770 w 516309"/>
                    <a:gd name="connsiteY118" fmla="*/ 162750 h 551182"/>
                    <a:gd name="connsiteX119" fmla="*/ 336315 w 516309"/>
                    <a:gd name="connsiteY119" fmla="*/ 167624 h 551182"/>
                    <a:gd name="connsiteX120" fmla="*/ 336999 w 516309"/>
                    <a:gd name="connsiteY120" fmla="*/ 170052 h 551182"/>
                    <a:gd name="connsiteX121" fmla="*/ 336013 w 516309"/>
                    <a:gd name="connsiteY121" fmla="*/ 171666 h 551182"/>
                    <a:gd name="connsiteX122" fmla="*/ 334775 w 516309"/>
                    <a:gd name="connsiteY122" fmla="*/ 172783 h 551182"/>
                    <a:gd name="connsiteX123" fmla="*/ 331922 w 516309"/>
                    <a:gd name="connsiteY123" fmla="*/ 174274 h 551182"/>
                    <a:gd name="connsiteX124" fmla="*/ 330643 w 516309"/>
                    <a:gd name="connsiteY124" fmla="*/ 175366 h 551182"/>
                    <a:gd name="connsiteX125" fmla="*/ 330977 w 516309"/>
                    <a:gd name="connsiteY125" fmla="*/ 175635 h 551182"/>
                    <a:gd name="connsiteX126" fmla="*/ 335109 w 516309"/>
                    <a:gd name="connsiteY126" fmla="*/ 174820 h 551182"/>
                    <a:gd name="connsiteX127" fmla="*/ 337554 w 516309"/>
                    <a:gd name="connsiteY127" fmla="*/ 174901 h 551182"/>
                    <a:gd name="connsiteX128" fmla="*/ 339624 w 516309"/>
                    <a:gd name="connsiteY128" fmla="*/ 176099 h 551182"/>
                    <a:gd name="connsiteX129" fmla="*/ 341311 w 516309"/>
                    <a:gd name="connsiteY129" fmla="*/ 178414 h 551182"/>
                    <a:gd name="connsiteX130" fmla="*/ 344114 w 516309"/>
                    <a:gd name="connsiteY130" fmla="*/ 180370 h 551182"/>
                    <a:gd name="connsiteX131" fmla="*/ 348034 w 516309"/>
                    <a:gd name="connsiteY131" fmla="*/ 182000 h 551182"/>
                    <a:gd name="connsiteX132" fmla="*/ 351962 w 516309"/>
                    <a:gd name="connsiteY132" fmla="*/ 184714 h 551182"/>
                    <a:gd name="connsiteX133" fmla="*/ 358491 w 516309"/>
                    <a:gd name="connsiteY133" fmla="*/ 191152 h 551182"/>
                    <a:gd name="connsiteX134" fmla="*/ 359672 w 516309"/>
                    <a:gd name="connsiteY134" fmla="*/ 192627 h 551182"/>
                    <a:gd name="connsiteX135" fmla="*/ 361400 w 516309"/>
                    <a:gd name="connsiteY135" fmla="*/ 196001 h 551182"/>
                    <a:gd name="connsiteX136" fmla="*/ 363690 w 516309"/>
                    <a:gd name="connsiteY136" fmla="*/ 201249 h 551182"/>
                    <a:gd name="connsiteX137" fmla="*/ 364888 w 516309"/>
                    <a:gd name="connsiteY137" fmla="*/ 204672 h 551182"/>
                    <a:gd name="connsiteX138" fmla="*/ 364994 w 516309"/>
                    <a:gd name="connsiteY138" fmla="*/ 206278 h 551182"/>
                    <a:gd name="connsiteX139" fmla="*/ 363698 w 516309"/>
                    <a:gd name="connsiteY139" fmla="*/ 207900 h 551182"/>
                    <a:gd name="connsiteX140" fmla="*/ 359305 w 516309"/>
                    <a:gd name="connsiteY140" fmla="*/ 210842 h 551182"/>
                    <a:gd name="connsiteX141" fmla="*/ 354880 w 516309"/>
                    <a:gd name="connsiteY141" fmla="*/ 215984 h 551182"/>
                    <a:gd name="connsiteX142" fmla="*/ 356266 w 516309"/>
                    <a:gd name="connsiteY142" fmla="*/ 215732 h 551182"/>
                    <a:gd name="connsiteX143" fmla="*/ 359191 w 516309"/>
                    <a:gd name="connsiteY143" fmla="*/ 213564 h 551182"/>
                    <a:gd name="connsiteX144" fmla="*/ 364122 w 516309"/>
                    <a:gd name="connsiteY144" fmla="*/ 209277 h 551182"/>
                    <a:gd name="connsiteX145" fmla="*/ 366860 w 516309"/>
                    <a:gd name="connsiteY145" fmla="*/ 208438 h 551182"/>
                    <a:gd name="connsiteX146" fmla="*/ 369403 w 516309"/>
                    <a:gd name="connsiteY146" fmla="*/ 208943 h 551182"/>
                    <a:gd name="connsiteX147" fmla="*/ 373421 w 516309"/>
                    <a:gd name="connsiteY147" fmla="*/ 210173 h 551182"/>
                    <a:gd name="connsiteX148" fmla="*/ 376974 w 516309"/>
                    <a:gd name="connsiteY148" fmla="*/ 211934 h 551182"/>
                    <a:gd name="connsiteX149" fmla="*/ 380055 w 516309"/>
                    <a:gd name="connsiteY149" fmla="*/ 214208 h 551182"/>
                    <a:gd name="connsiteX150" fmla="*/ 384635 w 516309"/>
                    <a:gd name="connsiteY150" fmla="*/ 220295 h 551182"/>
                    <a:gd name="connsiteX151" fmla="*/ 387903 w 516309"/>
                    <a:gd name="connsiteY151" fmla="*/ 223572 h 551182"/>
                    <a:gd name="connsiteX152" fmla="*/ 387911 w 516309"/>
                    <a:gd name="connsiteY152" fmla="*/ 230042 h 551182"/>
                    <a:gd name="connsiteX153" fmla="*/ 387919 w 516309"/>
                    <a:gd name="connsiteY153" fmla="*/ 238901 h 551182"/>
                    <a:gd name="connsiteX154" fmla="*/ 387927 w 516309"/>
                    <a:gd name="connsiteY154" fmla="*/ 247752 h 551182"/>
                    <a:gd name="connsiteX155" fmla="*/ 387935 w 516309"/>
                    <a:gd name="connsiteY155" fmla="*/ 256578 h 551182"/>
                    <a:gd name="connsiteX156" fmla="*/ 387944 w 516309"/>
                    <a:gd name="connsiteY156" fmla="*/ 265388 h 551182"/>
                    <a:gd name="connsiteX157" fmla="*/ 387952 w 516309"/>
                    <a:gd name="connsiteY157" fmla="*/ 274181 h 551182"/>
                    <a:gd name="connsiteX158" fmla="*/ 387968 w 516309"/>
                    <a:gd name="connsiteY158" fmla="*/ 282959 h 551182"/>
                    <a:gd name="connsiteX159" fmla="*/ 387976 w 516309"/>
                    <a:gd name="connsiteY159" fmla="*/ 291711 h 551182"/>
                    <a:gd name="connsiteX160" fmla="*/ 387984 w 516309"/>
                    <a:gd name="connsiteY160" fmla="*/ 300456 h 551182"/>
                    <a:gd name="connsiteX161" fmla="*/ 387993 w 516309"/>
                    <a:gd name="connsiteY161" fmla="*/ 309176 h 551182"/>
                    <a:gd name="connsiteX162" fmla="*/ 388009 w 516309"/>
                    <a:gd name="connsiteY162" fmla="*/ 317888 h 551182"/>
                    <a:gd name="connsiteX163" fmla="*/ 388017 w 516309"/>
                    <a:gd name="connsiteY163" fmla="*/ 326576 h 551182"/>
                    <a:gd name="connsiteX164" fmla="*/ 388033 w 516309"/>
                    <a:gd name="connsiteY164" fmla="*/ 335255 h 551182"/>
                    <a:gd name="connsiteX165" fmla="*/ 388041 w 516309"/>
                    <a:gd name="connsiteY165" fmla="*/ 345394 h 551182"/>
                    <a:gd name="connsiteX166" fmla="*/ 388033 w 516309"/>
                    <a:gd name="connsiteY166" fmla="*/ 345589 h 551182"/>
                    <a:gd name="connsiteX167" fmla="*/ 386892 w 516309"/>
                    <a:gd name="connsiteY167" fmla="*/ 348018 h 551182"/>
                    <a:gd name="connsiteX168" fmla="*/ 387202 w 516309"/>
                    <a:gd name="connsiteY168" fmla="*/ 350724 h 551182"/>
                    <a:gd name="connsiteX169" fmla="*/ 388873 w 516309"/>
                    <a:gd name="connsiteY169" fmla="*/ 353886 h 551182"/>
                    <a:gd name="connsiteX170" fmla="*/ 389802 w 516309"/>
                    <a:gd name="connsiteY170" fmla="*/ 357137 h 551182"/>
                    <a:gd name="connsiteX171" fmla="*/ 389973 w 516309"/>
                    <a:gd name="connsiteY171" fmla="*/ 360479 h 551182"/>
                    <a:gd name="connsiteX172" fmla="*/ 391709 w 516309"/>
                    <a:gd name="connsiteY172" fmla="*/ 364464 h 551182"/>
                    <a:gd name="connsiteX173" fmla="*/ 396656 w 516309"/>
                    <a:gd name="connsiteY173" fmla="*/ 371391 h 551182"/>
                    <a:gd name="connsiteX174" fmla="*/ 400396 w 516309"/>
                    <a:gd name="connsiteY174" fmla="*/ 379231 h 551182"/>
                    <a:gd name="connsiteX175" fmla="*/ 403159 w 516309"/>
                    <a:gd name="connsiteY175" fmla="*/ 383494 h 551182"/>
                    <a:gd name="connsiteX176" fmla="*/ 406183 w 516309"/>
                    <a:gd name="connsiteY176" fmla="*/ 386786 h 551182"/>
                    <a:gd name="connsiteX177" fmla="*/ 414137 w 516309"/>
                    <a:gd name="connsiteY177" fmla="*/ 389851 h 551182"/>
                    <a:gd name="connsiteX178" fmla="*/ 433427 w 516309"/>
                    <a:gd name="connsiteY178" fmla="*/ 394105 h 551182"/>
                    <a:gd name="connsiteX179" fmla="*/ 441104 w 516309"/>
                    <a:gd name="connsiteY179" fmla="*/ 398457 h 551182"/>
                    <a:gd name="connsiteX180" fmla="*/ 441145 w 516309"/>
                    <a:gd name="connsiteY180" fmla="*/ 398489 h 551182"/>
                    <a:gd name="connsiteX181" fmla="*/ 443093 w 516309"/>
                    <a:gd name="connsiteY181" fmla="*/ 401529 h 551182"/>
                    <a:gd name="connsiteX182" fmla="*/ 443345 w 516309"/>
                    <a:gd name="connsiteY182" fmla="*/ 402051 h 551182"/>
                    <a:gd name="connsiteX183" fmla="*/ 443728 w 516309"/>
                    <a:gd name="connsiteY183" fmla="*/ 403200 h 551182"/>
                    <a:gd name="connsiteX184" fmla="*/ 444560 w 516309"/>
                    <a:gd name="connsiteY184" fmla="*/ 404113 h 551182"/>
                    <a:gd name="connsiteX185" fmla="*/ 447844 w 516309"/>
                    <a:gd name="connsiteY185" fmla="*/ 406615 h 551182"/>
                    <a:gd name="connsiteX186" fmla="*/ 449572 w 516309"/>
                    <a:gd name="connsiteY186" fmla="*/ 407495 h 551182"/>
                    <a:gd name="connsiteX187" fmla="*/ 450917 w 516309"/>
                    <a:gd name="connsiteY187" fmla="*/ 407829 h 551182"/>
                    <a:gd name="connsiteX188" fmla="*/ 451805 w 516309"/>
                    <a:gd name="connsiteY188" fmla="*/ 407723 h 551182"/>
                    <a:gd name="connsiteX189" fmla="*/ 452188 w 516309"/>
                    <a:gd name="connsiteY189" fmla="*/ 407071 h 551182"/>
                    <a:gd name="connsiteX190" fmla="*/ 452506 w 516309"/>
                    <a:gd name="connsiteY190" fmla="*/ 405082 h 551182"/>
                    <a:gd name="connsiteX191" fmla="*/ 453060 w 516309"/>
                    <a:gd name="connsiteY191" fmla="*/ 404577 h 551182"/>
                    <a:gd name="connsiteX192" fmla="*/ 453524 w 516309"/>
                    <a:gd name="connsiteY192" fmla="*/ 404675 h 551182"/>
                    <a:gd name="connsiteX193" fmla="*/ 454714 w 516309"/>
                    <a:gd name="connsiteY193" fmla="*/ 404952 h 551182"/>
                    <a:gd name="connsiteX194" fmla="*/ 456450 w 516309"/>
                    <a:gd name="connsiteY194" fmla="*/ 407837 h 551182"/>
                    <a:gd name="connsiteX195" fmla="*/ 458610 w 516309"/>
                    <a:gd name="connsiteY195" fmla="*/ 413305 h 551182"/>
                    <a:gd name="connsiteX196" fmla="*/ 461430 w 516309"/>
                    <a:gd name="connsiteY196" fmla="*/ 416851 h 551182"/>
                    <a:gd name="connsiteX197" fmla="*/ 464893 w 516309"/>
                    <a:gd name="connsiteY197" fmla="*/ 418456 h 551182"/>
                    <a:gd name="connsiteX198" fmla="*/ 468455 w 516309"/>
                    <a:gd name="connsiteY198" fmla="*/ 418896 h 551182"/>
                    <a:gd name="connsiteX199" fmla="*/ 472106 w 516309"/>
                    <a:gd name="connsiteY199" fmla="*/ 418163 h 551182"/>
                    <a:gd name="connsiteX200" fmla="*/ 475138 w 516309"/>
                    <a:gd name="connsiteY200" fmla="*/ 418912 h 551182"/>
                    <a:gd name="connsiteX201" fmla="*/ 477534 w 516309"/>
                    <a:gd name="connsiteY201" fmla="*/ 421137 h 551182"/>
                    <a:gd name="connsiteX202" fmla="*/ 484428 w 516309"/>
                    <a:gd name="connsiteY202" fmla="*/ 420070 h 551182"/>
                    <a:gd name="connsiteX203" fmla="*/ 495813 w 516309"/>
                    <a:gd name="connsiteY203" fmla="*/ 415685 h 551182"/>
                    <a:gd name="connsiteX204" fmla="*/ 503328 w 516309"/>
                    <a:gd name="connsiteY204" fmla="*/ 413330 h 551182"/>
                    <a:gd name="connsiteX205" fmla="*/ 506970 w 516309"/>
                    <a:gd name="connsiteY205" fmla="*/ 413004 h 551182"/>
                    <a:gd name="connsiteX206" fmla="*/ 510442 w 516309"/>
                    <a:gd name="connsiteY206" fmla="*/ 413680 h 551182"/>
                    <a:gd name="connsiteX207" fmla="*/ 514924 w 516309"/>
                    <a:gd name="connsiteY207" fmla="*/ 415954 h 551182"/>
                    <a:gd name="connsiteX208" fmla="*/ 514468 w 516309"/>
                    <a:gd name="connsiteY208" fmla="*/ 418024 h 551182"/>
                    <a:gd name="connsiteX209" fmla="*/ 513523 w 516309"/>
                    <a:gd name="connsiteY209" fmla="*/ 422083 h 551182"/>
                    <a:gd name="connsiteX210" fmla="*/ 512903 w 516309"/>
                    <a:gd name="connsiteY210" fmla="*/ 424740 h 551182"/>
                    <a:gd name="connsiteX211" fmla="*/ 514517 w 516309"/>
                    <a:gd name="connsiteY211" fmla="*/ 426451 h 551182"/>
                    <a:gd name="connsiteX212" fmla="*/ 516310 w 516309"/>
                    <a:gd name="connsiteY212" fmla="*/ 428374 h 551182"/>
                    <a:gd name="connsiteX213" fmla="*/ 515870 w 516309"/>
                    <a:gd name="connsiteY213" fmla="*/ 428651 h 551182"/>
                    <a:gd name="connsiteX214" fmla="*/ 507174 w 516309"/>
                    <a:gd name="connsiteY214" fmla="*/ 435766 h 551182"/>
                    <a:gd name="connsiteX215" fmla="*/ 505846 w 516309"/>
                    <a:gd name="connsiteY215" fmla="*/ 435937 h 551182"/>
                    <a:gd name="connsiteX216" fmla="*/ 503507 w 516309"/>
                    <a:gd name="connsiteY216" fmla="*/ 435766 h 551182"/>
                    <a:gd name="connsiteX217" fmla="*/ 500051 w 516309"/>
                    <a:gd name="connsiteY217" fmla="*/ 436956 h 551182"/>
                    <a:gd name="connsiteX218" fmla="*/ 495504 w 516309"/>
                    <a:gd name="connsiteY218" fmla="*/ 439434 h 551182"/>
                    <a:gd name="connsiteX219" fmla="*/ 490003 w 516309"/>
                    <a:gd name="connsiteY219" fmla="*/ 443883 h 551182"/>
                    <a:gd name="connsiteX220" fmla="*/ 480313 w 516309"/>
                    <a:gd name="connsiteY220" fmla="*/ 453516 h 551182"/>
                    <a:gd name="connsiteX221" fmla="*/ 479636 w 516309"/>
                    <a:gd name="connsiteY221" fmla="*/ 454527 h 551182"/>
                    <a:gd name="connsiteX222" fmla="*/ 478234 w 516309"/>
                    <a:gd name="connsiteY222" fmla="*/ 456312 h 551182"/>
                    <a:gd name="connsiteX223" fmla="*/ 474657 w 516309"/>
                    <a:gd name="connsiteY223" fmla="*/ 458211 h 551182"/>
                    <a:gd name="connsiteX224" fmla="*/ 471413 w 516309"/>
                    <a:gd name="connsiteY224" fmla="*/ 460256 h 551182"/>
                    <a:gd name="connsiteX225" fmla="*/ 470557 w 516309"/>
                    <a:gd name="connsiteY225" fmla="*/ 462408 h 551182"/>
                    <a:gd name="connsiteX226" fmla="*/ 469001 w 516309"/>
                    <a:gd name="connsiteY226" fmla="*/ 463394 h 551182"/>
                    <a:gd name="connsiteX227" fmla="*/ 463638 w 516309"/>
                    <a:gd name="connsiteY227" fmla="*/ 468854 h 551182"/>
                    <a:gd name="connsiteX228" fmla="*/ 460623 w 516309"/>
                    <a:gd name="connsiteY228" fmla="*/ 473491 h 551182"/>
                    <a:gd name="connsiteX229" fmla="*/ 457893 w 516309"/>
                    <a:gd name="connsiteY229" fmla="*/ 478348 h 551182"/>
                    <a:gd name="connsiteX230" fmla="*/ 454828 w 516309"/>
                    <a:gd name="connsiteY230" fmla="*/ 483776 h 551182"/>
                    <a:gd name="connsiteX231" fmla="*/ 448545 w 516309"/>
                    <a:gd name="connsiteY231" fmla="*/ 483841 h 551182"/>
                    <a:gd name="connsiteX232" fmla="*/ 443753 w 516309"/>
                    <a:gd name="connsiteY232" fmla="*/ 483817 h 551182"/>
                    <a:gd name="connsiteX233" fmla="*/ 435570 w 516309"/>
                    <a:gd name="connsiteY233" fmla="*/ 483776 h 551182"/>
                    <a:gd name="connsiteX234" fmla="*/ 428562 w 516309"/>
                    <a:gd name="connsiteY234" fmla="*/ 483752 h 551182"/>
                    <a:gd name="connsiteX235" fmla="*/ 420241 w 516309"/>
                    <a:gd name="connsiteY235" fmla="*/ 483711 h 551182"/>
                    <a:gd name="connsiteX236" fmla="*/ 414210 w 516309"/>
                    <a:gd name="connsiteY236" fmla="*/ 483687 h 551182"/>
                    <a:gd name="connsiteX237" fmla="*/ 407707 w 516309"/>
                    <a:gd name="connsiteY237" fmla="*/ 483907 h 551182"/>
                    <a:gd name="connsiteX238" fmla="*/ 404610 w 516309"/>
                    <a:gd name="connsiteY238" fmla="*/ 485349 h 551182"/>
                    <a:gd name="connsiteX239" fmla="*/ 400714 w 516309"/>
                    <a:gd name="connsiteY239" fmla="*/ 487297 h 551182"/>
                    <a:gd name="connsiteX240" fmla="*/ 396509 w 516309"/>
                    <a:gd name="connsiteY240" fmla="*/ 489400 h 551182"/>
                    <a:gd name="connsiteX241" fmla="*/ 398709 w 516309"/>
                    <a:gd name="connsiteY241" fmla="*/ 494094 h 551182"/>
                    <a:gd name="connsiteX242" fmla="*/ 399304 w 516309"/>
                    <a:gd name="connsiteY242" fmla="*/ 495944 h 551182"/>
                    <a:gd name="connsiteX243" fmla="*/ 399133 w 516309"/>
                    <a:gd name="connsiteY243" fmla="*/ 501893 h 551182"/>
                    <a:gd name="connsiteX244" fmla="*/ 399573 w 516309"/>
                    <a:gd name="connsiteY244" fmla="*/ 502545 h 551182"/>
                    <a:gd name="connsiteX245" fmla="*/ 400046 w 516309"/>
                    <a:gd name="connsiteY245" fmla="*/ 503425 h 551182"/>
                    <a:gd name="connsiteX246" fmla="*/ 400119 w 516309"/>
                    <a:gd name="connsiteY246" fmla="*/ 504957 h 551182"/>
                    <a:gd name="connsiteX247" fmla="*/ 400478 w 516309"/>
                    <a:gd name="connsiteY247" fmla="*/ 505658 h 551182"/>
                    <a:gd name="connsiteX248" fmla="*/ 401244 w 516309"/>
                    <a:gd name="connsiteY248" fmla="*/ 506221 h 551182"/>
                    <a:gd name="connsiteX249" fmla="*/ 402108 w 516309"/>
                    <a:gd name="connsiteY249" fmla="*/ 506897 h 551182"/>
                    <a:gd name="connsiteX250" fmla="*/ 402727 w 516309"/>
                    <a:gd name="connsiteY250" fmla="*/ 507794 h 551182"/>
                    <a:gd name="connsiteX251" fmla="*/ 402874 w 516309"/>
                    <a:gd name="connsiteY251" fmla="*/ 508698 h 551182"/>
                    <a:gd name="connsiteX252" fmla="*/ 402279 w 516309"/>
                    <a:gd name="connsiteY252" fmla="*/ 510263 h 551182"/>
                    <a:gd name="connsiteX253" fmla="*/ 399858 w 516309"/>
                    <a:gd name="connsiteY253" fmla="*/ 512390 h 551182"/>
                    <a:gd name="connsiteX254" fmla="*/ 396460 w 516309"/>
                    <a:gd name="connsiteY254" fmla="*/ 514248 h 551182"/>
                    <a:gd name="connsiteX255" fmla="*/ 389704 w 516309"/>
                    <a:gd name="connsiteY255" fmla="*/ 517598 h 551182"/>
                    <a:gd name="connsiteX256" fmla="*/ 381872 w 516309"/>
                    <a:gd name="connsiteY256" fmla="*/ 521477 h 551182"/>
                    <a:gd name="connsiteX257" fmla="*/ 375083 w 516309"/>
                    <a:gd name="connsiteY257" fmla="*/ 524835 h 551182"/>
                    <a:gd name="connsiteX258" fmla="*/ 369827 w 516309"/>
                    <a:gd name="connsiteY258" fmla="*/ 527434 h 551182"/>
                    <a:gd name="connsiteX259" fmla="*/ 363054 w 516309"/>
                    <a:gd name="connsiteY259" fmla="*/ 528869 h 551182"/>
                    <a:gd name="connsiteX260" fmla="*/ 359036 w 516309"/>
                    <a:gd name="connsiteY260" fmla="*/ 529716 h 551182"/>
                    <a:gd name="connsiteX261" fmla="*/ 350463 w 516309"/>
                    <a:gd name="connsiteY261" fmla="*/ 531534 h 551182"/>
                    <a:gd name="connsiteX262" fmla="*/ 344277 w 516309"/>
                    <a:gd name="connsiteY262" fmla="*/ 532829 h 551182"/>
                    <a:gd name="connsiteX263" fmla="*/ 338581 w 516309"/>
                    <a:gd name="connsiteY263" fmla="*/ 536464 h 551182"/>
                    <a:gd name="connsiteX264" fmla="*/ 332289 w 516309"/>
                    <a:gd name="connsiteY264" fmla="*/ 540474 h 551182"/>
                    <a:gd name="connsiteX265" fmla="*/ 327000 w 516309"/>
                    <a:gd name="connsiteY265" fmla="*/ 543848 h 551182"/>
                    <a:gd name="connsiteX266" fmla="*/ 321067 w 516309"/>
                    <a:gd name="connsiteY266" fmla="*/ 547621 h 551182"/>
                    <a:gd name="connsiteX267" fmla="*/ 315468 w 516309"/>
                    <a:gd name="connsiteY267" fmla="*/ 551183 h 551182"/>
                    <a:gd name="connsiteX268" fmla="*/ 309242 w 516309"/>
                    <a:gd name="connsiteY268" fmla="*/ 551175 h 551182"/>
                    <a:gd name="connsiteX269" fmla="*/ 304873 w 516309"/>
                    <a:gd name="connsiteY269" fmla="*/ 548501 h 551182"/>
                    <a:gd name="connsiteX270" fmla="*/ 300807 w 516309"/>
                    <a:gd name="connsiteY270" fmla="*/ 545763 h 551182"/>
                    <a:gd name="connsiteX271" fmla="*/ 298533 w 516309"/>
                    <a:gd name="connsiteY271" fmla="*/ 541745 h 551182"/>
                    <a:gd name="connsiteX272" fmla="*/ 298028 w 516309"/>
                    <a:gd name="connsiteY272" fmla="*/ 540857 h 551182"/>
                    <a:gd name="connsiteX273" fmla="*/ 297840 w 516309"/>
                    <a:gd name="connsiteY273" fmla="*/ 535152 h 551182"/>
                    <a:gd name="connsiteX274" fmla="*/ 298843 w 516309"/>
                    <a:gd name="connsiteY274" fmla="*/ 531411 h 551182"/>
                    <a:gd name="connsiteX275" fmla="*/ 299747 w 516309"/>
                    <a:gd name="connsiteY275" fmla="*/ 529700 h 551182"/>
                    <a:gd name="connsiteX276" fmla="*/ 301467 w 516309"/>
                    <a:gd name="connsiteY276" fmla="*/ 528616 h 551182"/>
                    <a:gd name="connsiteX277" fmla="*/ 304841 w 516309"/>
                    <a:gd name="connsiteY277" fmla="*/ 526774 h 551182"/>
                    <a:gd name="connsiteX278" fmla="*/ 307905 w 516309"/>
                    <a:gd name="connsiteY278" fmla="*/ 523042 h 551182"/>
                    <a:gd name="connsiteX279" fmla="*/ 310366 w 516309"/>
                    <a:gd name="connsiteY279" fmla="*/ 520809 h 551182"/>
                    <a:gd name="connsiteX280" fmla="*/ 312836 w 516309"/>
                    <a:gd name="connsiteY280" fmla="*/ 518510 h 551182"/>
                    <a:gd name="connsiteX281" fmla="*/ 314245 w 516309"/>
                    <a:gd name="connsiteY281" fmla="*/ 514550 h 551182"/>
                    <a:gd name="connsiteX282" fmla="*/ 316014 w 516309"/>
                    <a:gd name="connsiteY282" fmla="*/ 504949 h 551182"/>
                    <a:gd name="connsiteX283" fmla="*/ 316242 w 516309"/>
                    <a:gd name="connsiteY283" fmla="*/ 503042 h 551182"/>
                    <a:gd name="connsiteX284" fmla="*/ 318801 w 516309"/>
                    <a:gd name="connsiteY284" fmla="*/ 496433 h 551182"/>
                    <a:gd name="connsiteX285" fmla="*/ 321645 w 516309"/>
                    <a:gd name="connsiteY285" fmla="*/ 489122 h 551182"/>
                    <a:gd name="connsiteX286" fmla="*/ 322949 w 516309"/>
                    <a:gd name="connsiteY286" fmla="*/ 485773 h 551182"/>
                    <a:gd name="connsiteX287" fmla="*/ 321491 w 516309"/>
                    <a:gd name="connsiteY287" fmla="*/ 477036 h 551182"/>
                    <a:gd name="connsiteX288" fmla="*/ 320399 w 516309"/>
                    <a:gd name="connsiteY288" fmla="*/ 470313 h 551182"/>
                    <a:gd name="connsiteX289" fmla="*/ 319396 w 516309"/>
                    <a:gd name="connsiteY289" fmla="*/ 464160 h 551182"/>
                    <a:gd name="connsiteX290" fmla="*/ 318263 w 516309"/>
                    <a:gd name="connsiteY290" fmla="*/ 457200 h 551182"/>
                    <a:gd name="connsiteX291" fmla="*/ 317236 w 516309"/>
                    <a:gd name="connsiteY291" fmla="*/ 450859 h 551182"/>
                    <a:gd name="connsiteX292" fmla="*/ 316267 w 516309"/>
                    <a:gd name="connsiteY292" fmla="*/ 444878 h 551182"/>
                    <a:gd name="connsiteX293" fmla="*/ 315297 w 516309"/>
                    <a:gd name="connsiteY293" fmla="*/ 438863 h 551182"/>
                    <a:gd name="connsiteX294" fmla="*/ 314335 w 516309"/>
                    <a:gd name="connsiteY294" fmla="*/ 432963 h 551182"/>
                    <a:gd name="connsiteX295" fmla="*/ 313585 w 516309"/>
                    <a:gd name="connsiteY295" fmla="*/ 428725 h 551182"/>
                    <a:gd name="connsiteX296" fmla="*/ 312705 w 516309"/>
                    <a:gd name="connsiteY296" fmla="*/ 423696 h 551182"/>
                    <a:gd name="connsiteX297" fmla="*/ 307514 w 516309"/>
                    <a:gd name="connsiteY297" fmla="*/ 420159 h 551182"/>
                    <a:gd name="connsiteX298" fmla="*/ 303578 w 516309"/>
                    <a:gd name="connsiteY298" fmla="*/ 417690 h 551182"/>
                    <a:gd name="connsiteX299" fmla="*/ 297131 w 516309"/>
                    <a:gd name="connsiteY299" fmla="*/ 413640 h 551182"/>
                    <a:gd name="connsiteX300" fmla="*/ 291720 w 516309"/>
                    <a:gd name="connsiteY300" fmla="*/ 410249 h 551182"/>
                    <a:gd name="connsiteX301" fmla="*/ 286870 w 516309"/>
                    <a:gd name="connsiteY301" fmla="*/ 407144 h 551182"/>
                    <a:gd name="connsiteX302" fmla="*/ 289927 w 516309"/>
                    <a:gd name="connsiteY302" fmla="*/ 400877 h 551182"/>
                    <a:gd name="connsiteX303" fmla="*/ 289658 w 516309"/>
                    <a:gd name="connsiteY303" fmla="*/ 399850 h 551182"/>
                    <a:gd name="connsiteX304" fmla="*/ 288549 w 516309"/>
                    <a:gd name="connsiteY304" fmla="*/ 398620 h 551182"/>
                    <a:gd name="connsiteX305" fmla="*/ 286292 w 516309"/>
                    <a:gd name="connsiteY305" fmla="*/ 396558 h 551182"/>
                    <a:gd name="connsiteX306" fmla="*/ 284964 w 516309"/>
                    <a:gd name="connsiteY306" fmla="*/ 396354 h 551182"/>
                    <a:gd name="connsiteX307" fmla="*/ 282633 w 516309"/>
                    <a:gd name="connsiteY307" fmla="*/ 396843 h 551182"/>
                    <a:gd name="connsiteX308" fmla="*/ 278916 w 516309"/>
                    <a:gd name="connsiteY308" fmla="*/ 398123 h 551182"/>
                    <a:gd name="connsiteX309" fmla="*/ 277311 w 516309"/>
                    <a:gd name="connsiteY309" fmla="*/ 397691 h 551182"/>
                    <a:gd name="connsiteX310" fmla="*/ 276031 w 516309"/>
                    <a:gd name="connsiteY310" fmla="*/ 395498 h 551182"/>
                    <a:gd name="connsiteX311" fmla="*/ 274565 w 516309"/>
                    <a:gd name="connsiteY311" fmla="*/ 392679 h 551182"/>
                    <a:gd name="connsiteX312" fmla="*/ 274084 w 516309"/>
                    <a:gd name="connsiteY312" fmla="*/ 390478 h 551182"/>
                    <a:gd name="connsiteX313" fmla="*/ 273896 w 516309"/>
                    <a:gd name="connsiteY313" fmla="*/ 387569 h 551182"/>
                    <a:gd name="connsiteX314" fmla="*/ 273024 w 516309"/>
                    <a:gd name="connsiteY314" fmla="*/ 384944 h 551182"/>
                    <a:gd name="connsiteX315" fmla="*/ 273570 w 516309"/>
                    <a:gd name="connsiteY315" fmla="*/ 383567 h 551182"/>
                    <a:gd name="connsiteX316" fmla="*/ 273693 w 516309"/>
                    <a:gd name="connsiteY316" fmla="*/ 382883 h 551182"/>
                    <a:gd name="connsiteX317" fmla="*/ 273644 w 516309"/>
                    <a:gd name="connsiteY317" fmla="*/ 382027 h 551182"/>
                    <a:gd name="connsiteX318" fmla="*/ 273040 w 516309"/>
                    <a:gd name="connsiteY318" fmla="*/ 381473 h 551182"/>
                    <a:gd name="connsiteX319" fmla="*/ 271981 w 516309"/>
                    <a:gd name="connsiteY319" fmla="*/ 381236 h 551182"/>
                    <a:gd name="connsiteX320" fmla="*/ 268403 w 516309"/>
                    <a:gd name="connsiteY320" fmla="*/ 382337 h 551182"/>
                    <a:gd name="connsiteX321" fmla="*/ 266790 w 516309"/>
                    <a:gd name="connsiteY321" fmla="*/ 382434 h 551182"/>
                    <a:gd name="connsiteX322" fmla="*/ 265828 w 516309"/>
                    <a:gd name="connsiteY322" fmla="*/ 383054 h 551182"/>
                    <a:gd name="connsiteX323" fmla="*/ 264304 w 516309"/>
                    <a:gd name="connsiteY323" fmla="*/ 384341 h 551182"/>
                    <a:gd name="connsiteX324" fmla="*/ 262812 w 516309"/>
                    <a:gd name="connsiteY324" fmla="*/ 384504 h 551182"/>
                    <a:gd name="connsiteX325" fmla="*/ 260229 w 516309"/>
                    <a:gd name="connsiteY325" fmla="*/ 381456 h 551182"/>
                    <a:gd name="connsiteX326" fmla="*/ 257409 w 516309"/>
                    <a:gd name="connsiteY326" fmla="*/ 378115 h 551182"/>
                    <a:gd name="connsiteX327" fmla="*/ 256228 w 516309"/>
                    <a:gd name="connsiteY327" fmla="*/ 373510 h 551182"/>
                    <a:gd name="connsiteX328" fmla="*/ 255013 w 516309"/>
                    <a:gd name="connsiteY328" fmla="*/ 368783 h 551182"/>
                    <a:gd name="connsiteX329" fmla="*/ 250205 w 516309"/>
                    <a:gd name="connsiteY329" fmla="*/ 365939 h 551182"/>
                    <a:gd name="connsiteX330" fmla="*/ 245388 w 516309"/>
                    <a:gd name="connsiteY330" fmla="*/ 363087 h 551182"/>
                    <a:gd name="connsiteX331" fmla="*/ 240580 w 516309"/>
                    <a:gd name="connsiteY331" fmla="*/ 360226 h 551182"/>
                    <a:gd name="connsiteX332" fmla="*/ 235764 w 516309"/>
                    <a:gd name="connsiteY332" fmla="*/ 357382 h 551182"/>
                    <a:gd name="connsiteX333" fmla="*/ 230955 w 516309"/>
                    <a:gd name="connsiteY333" fmla="*/ 354521 h 551182"/>
                    <a:gd name="connsiteX334" fmla="*/ 226139 w 516309"/>
                    <a:gd name="connsiteY334" fmla="*/ 351669 h 551182"/>
                    <a:gd name="connsiteX335" fmla="*/ 221322 w 516309"/>
                    <a:gd name="connsiteY335" fmla="*/ 348809 h 551182"/>
                    <a:gd name="connsiteX336" fmla="*/ 216514 w 516309"/>
                    <a:gd name="connsiteY336" fmla="*/ 345948 h 551182"/>
                    <a:gd name="connsiteX337" fmla="*/ 214843 w 516309"/>
                    <a:gd name="connsiteY337" fmla="*/ 345003 h 551182"/>
                    <a:gd name="connsiteX338" fmla="*/ 210467 w 516309"/>
                    <a:gd name="connsiteY338" fmla="*/ 342501 h 551182"/>
                    <a:gd name="connsiteX339" fmla="*/ 204281 w 516309"/>
                    <a:gd name="connsiteY339" fmla="*/ 338964 h 551182"/>
                    <a:gd name="connsiteX340" fmla="*/ 197175 w 516309"/>
                    <a:gd name="connsiteY340" fmla="*/ 334905 h 551182"/>
                    <a:gd name="connsiteX341" fmla="*/ 190076 w 516309"/>
                    <a:gd name="connsiteY341" fmla="*/ 330846 h 551182"/>
                    <a:gd name="connsiteX342" fmla="*/ 183882 w 516309"/>
                    <a:gd name="connsiteY342" fmla="*/ 327301 h 551182"/>
                    <a:gd name="connsiteX343" fmla="*/ 179498 w 516309"/>
                    <a:gd name="connsiteY343" fmla="*/ 324791 h 551182"/>
                    <a:gd name="connsiteX344" fmla="*/ 177835 w 516309"/>
                    <a:gd name="connsiteY344" fmla="*/ 323838 h 551182"/>
                    <a:gd name="connsiteX345" fmla="*/ 173540 w 516309"/>
                    <a:gd name="connsiteY345" fmla="*/ 321376 h 551182"/>
                    <a:gd name="connsiteX346" fmla="*/ 168145 w 516309"/>
                    <a:gd name="connsiteY346" fmla="*/ 318589 h 551182"/>
                    <a:gd name="connsiteX347" fmla="*/ 162359 w 516309"/>
                    <a:gd name="connsiteY347" fmla="*/ 319991 h 551182"/>
                    <a:gd name="connsiteX348" fmla="*/ 155236 w 516309"/>
                    <a:gd name="connsiteY348" fmla="*/ 323887 h 551182"/>
                    <a:gd name="connsiteX349" fmla="*/ 151169 w 516309"/>
                    <a:gd name="connsiteY349" fmla="*/ 326112 h 551182"/>
                    <a:gd name="connsiteX350" fmla="*/ 148113 w 516309"/>
                    <a:gd name="connsiteY350" fmla="*/ 327774 h 551182"/>
                    <a:gd name="connsiteX351" fmla="*/ 145945 w 516309"/>
                    <a:gd name="connsiteY351" fmla="*/ 328760 h 551182"/>
                    <a:gd name="connsiteX352" fmla="*/ 141414 w 516309"/>
                    <a:gd name="connsiteY352" fmla="*/ 329616 h 551182"/>
                    <a:gd name="connsiteX353" fmla="*/ 140355 w 516309"/>
                    <a:gd name="connsiteY353" fmla="*/ 329559 h 551182"/>
                    <a:gd name="connsiteX354" fmla="*/ 139059 w 516309"/>
                    <a:gd name="connsiteY354" fmla="*/ 329486 h 551182"/>
                    <a:gd name="connsiteX355" fmla="*/ 133484 w 516309"/>
                    <a:gd name="connsiteY355" fmla="*/ 328939 h 551182"/>
                    <a:gd name="connsiteX356" fmla="*/ 130371 w 516309"/>
                    <a:gd name="connsiteY356" fmla="*/ 329648 h 551182"/>
                    <a:gd name="connsiteX357" fmla="*/ 128073 w 516309"/>
                    <a:gd name="connsiteY357" fmla="*/ 328939 h 551182"/>
                    <a:gd name="connsiteX358" fmla="*/ 126924 w 516309"/>
                    <a:gd name="connsiteY358" fmla="*/ 326674 h 551182"/>
                    <a:gd name="connsiteX359" fmla="*/ 125644 w 516309"/>
                    <a:gd name="connsiteY359" fmla="*/ 325248 h 551182"/>
                    <a:gd name="connsiteX360" fmla="*/ 119980 w 516309"/>
                    <a:gd name="connsiteY360" fmla="*/ 325924 h 551182"/>
                    <a:gd name="connsiteX361" fmla="*/ 112866 w 516309"/>
                    <a:gd name="connsiteY361" fmla="*/ 325443 h 551182"/>
                    <a:gd name="connsiteX362" fmla="*/ 109467 w 516309"/>
                    <a:gd name="connsiteY362" fmla="*/ 325729 h 551182"/>
                    <a:gd name="connsiteX363" fmla="*/ 108155 w 516309"/>
                    <a:gd name="connsiteY363" fmla="*/ 324775 h 551182"/>
                    <a:gd name="connsiteX364" fmla="*/ 107087 w 516309"/>
                    <a:gd name="connsiteY364" fmla="*/ 322289 h 551182"/>
                    <a:gd name="connsiteX365" fmla="*/ 105213 w 516309"/>
                    <a:gd name="connsiteY365" fmla="*/ 321972 h 551182"/>
                    <a:gd name="connsiteX366" fmla="*/ 102043 w 516309"/>
                    <a:gd name="connsiteY366" fmla="*/ 322526 h 551182"/>
                    <a:gd name="connsiteX367" fmla="*/ 97650 w 516309"/>
                    <a:gd name="connsiteY367" fmla="*/ 325729 h 551182"/>
                    <a:gd name="connsiteX368" fmla="*/ 93518 w 516309"/>
                    <a:gd name="connsiteY368" fmla="*/ 327383 h 551182"/>
                    <a:gd name="connsiteX369" fmla="*/ 90266 w 516309"/>
                    <a:gd name="connsiteY369" fmla="*/ 327391 h 551182"/>
                    <a:gd name="connsiteX370" fmla="*/ 87063 w 516309"/>
                    <a:gd name="connsiteY370" fmla="*/ 325729 h 551182"/>
                    <a:gd name="connsiteX371" fmla="*/ 81831 w 516309"/>
                    <a:gd name="connsiteY371" fmla="*/ 322387 h 551182"/>
                    <a:gd name="connsiteX372" fmla="*/ 78197 w 516309"/>
                    <a:gd name="connsiteY372" fmla="*/ 318638 h 551182"/>
                    <a:gd name="connsiteX373" fmla="*/ 74065 w 516309"/>
                    <a:gd name="connsiteY373" fmla="*/ 317326 h 551182"/>
                    <a:gd name="connsiteX374" fmla="*/ 70919 w 516309"/>
                    <a:gd name="connsiteY374" fmla="*/ 317668 h 551182"/>
                    <a:gd name="connsiteX375" fmla="*/ 69688 w 516309"/>
                    <a:gd name="connsiteY375" fmla="*/ 319551 h 551182"/>
                    <a:gd name="connsiteX376" fmla="*/ 68050 w 516309"/>
                    <a:gd name="connsiteY376" fmla="*/ 319551 h 551182"/>
                    <a:gd name="connsiteX377" fmla="*/ 66901 w 516309"/>
                    <a:gd name="connsiteY377" fmla="*/ 316340 h 551182"/>
                    <a:gd name="connsiteX378" fmla="*/ 65915 w 516309"/>
                    <a:gd name="connsiteY378" fmla="*/ 313838 h 551182"/>
                    <a:gd name="connsiteX379" fmla="*/ 63870 w 516309"/>
                    <a:gd name="connsiteY379" fmla="*/ 312762 h 551182"/>
                    <a:gd name="connsiteX380" fmla="*/ 60161 w 516309"/>
                    <a:gd name="connsiteY380" fmla="*/ 310358 h 551182"/>
                    <a:gd name="connsiteX381" fmla="*/ 57578 w 516309"/>
                    <a:gd name="connsiteY381" fmla="*/ 309062 h 551182"/>
                    <a:gd name="connsiteX382" fmla="*/ 53625 w 516309"/>
                    <a:gd name="connsiteY382" fmla="*/ 307481 h 551182"/>
                    <a:gd name="connsiteX383" fmla="*/ 52256 w 516309"/>
                    <a:gd name="connsiteY383" fmla="*/ 307188 h 551182"/>
                    <a:gd name="connsiteX384" fmla="*/ 49689 w 516309"/>
                    <a:gd name="connsiteY384" fmla="*/ 306992 h 551182"/>
                    <a:gd name="connsiteX385" fmla="*/ 47146 w 516309"/>
                    <a:gd name="connsiteY385" fmla="*/ 306862 h 551182"/>
                    <a:gd name="connsiteX386" fmla="*/ 44220 w 516309"/>
                    <a:gd name="connsiteY386" fmla="*/ 307351 h 551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Lst>
                  <a:rect l="l" t="t" r="r" b="b"/>
                  <a:pathLst>
                    <a:path w="516309" h="551182">
                      <a:moveTo>
                        <a:pt x="44220" y="307351"/>
                      </a:moveTo>
                      <a:lnTo>
                        <a:pt x="42093" y="309347"/>
                      </a:lnTo>
                      <a:lnTo>
                        <a:pt x="39591" y="310220"/>
                      </a:lnTo>
                      <a:lnTo>
                        <a:pt x="36030" y="310635"/>
                      </a:lnTo>
                      <a:lnTo>
                        <a:pt x="33650" y="309788"/>
                      </a:lnTo>
                      <a:lnTo>
                        <a:pt x="32460" y="307685"/>
                      </a:lnTo>
                      <a:lnTo>
                        <a:pt x="27408" y="305819"/>
                      </a:lnTo>
                      <a:lnTo>
                        <a:pt x="18500" y="304189"/>
                      </a:lnTo>
                      <a:lnTo>
                        <a:pt x="13374" y="302803"/>
                      </a:lnTo>
                      <a:lnTo>
                        <a:pt x="12021" y="301654"/>
                      </a:lnTo>
                      <a:lnTo>
                        <a:pt x="11287" y="300424"/>
                      </a:lnTo>
                      <a:lnTo>
                        <a:pt x="11100" y="298451"/>
                      </a:lnTo>
                      <a:lnTo>
                        <a:pt x="11100" y="298435"/>
                      </a:lnTo>
                      <a:lnTo>
                        <a:pt x="8851" y="293398"/>
                      </a:lnTo>
                      <a:lnTo>
                        <a:pt x="7881" y="289193"/>
                      </a:lnTo>
                      <a:lnTo>
                        <a:pt x="7441" y="284140"/>
                      </a:lnTo>
                      <a:lnTo>
                        <a:pt x="7595" y="282478"/>
                      </a:lnTo>
                      <a:lnTo>
                        <a:pt x="7090" y="281948"/>
                      </a:lnTo>
                      <a:lnTo>
                        <a:pt x="5485" y="280856"/>
                      </a:lnTo>
                      <a:lnTo>
                        <a:pt x="130" y="280114"/>
                      </a:lnTo>
                      <a:lnTo>
                        <a:pt x="0" y="264402"/>
                      </a:lnTo>
                      <a:lnTo>
                        <a:pt x="24" y="248673"/>
                      </a:lnTo>
                      <a:lnTo>
                        <a:pt x="49" y="232887"/>
                      </a:lnTo>
                      <a:lnTo>
                        <a:pt x="65" y="217044"/>
                      </a:lnTo>
                      <a:lnTo>
                        <a:pt x="90" y="201152"/>
                      </a:lnTo>
                      <a:lnTo>
                        <a:pt x="114" y="185195"/>
                      </a:lnTo>
                      <a:lnTo>
                        <a:pt x="130" y="169188"/>
                      </a:lnTo>
                      <a:lnTo>
                        <a:pt x="155" y="153117"/>
                      </a:lnTo>
                      <a:lnTo>
                        <a:pt x="9665" y="144470"/>
                      </a:lnTo>
                      <a:lnTo>
                        <a:pt x="19176" y="135807"/>
                      </a:lnTo>
                      <a:lnTo>
                        <a:pt x="28687" y="127128"/>
                      </a:lnTo>
                      <a:lnTo>
                        <a:pt x="38198" y="118432"/>
                      </a:lnTo>
                      <a:lnTo>
                        <a:pt x="44522" y="111537"/>
                      </a:lnTo>
                      <a:lnTo>
                        <a:pt x="50838" y="104618"/>
                      </a:lnTo>
                      <a:lnTo>
                        <a:pt x="57170" y="97699"/>
                      </a:lnTo>
                      <a:lnTo>
                        <a:pt x="63486" y="90764"/>
                      </a:lnTo>
                      <a:lnTo>
                        <a:pt x="71066" y="82842"/>
                      </a:lnTo>
                      <a:lnTo>
                        <a:pt x="78645" y="74896"/>
                      </a:lnTo>
                      <a:lnTo>
                        <a:pt x="86224" y="66942"/>
                      </a:lnTo>
                      <a:lnTo>
                        <a:pt x="93795" y="58963"/>
                      </a:lnTo>
                      <a:lnTo>
                        <a:pt x="102458" y="50373"/>
                      </a:lnTo>
                      <a:lnTo>
                        <a:pt x="111130" y="41767"/>
                      </a:lnTo>
                      <a:lnTo>
                        <a:pt x="119793" y="33153"/>
                      </a:lnTo>
                      <a:lnTo>
                        <a:pt x="128464" y="24514"/>
                      </a:lnTo>
                      <a:lnTo>
                        <a:pt x="134870" y="18369"/>
                      </a:lnTo>
                      <a:lnTo>
                        <a:pt x="141284" y="12216"/>
                      </a:lnTo>
                      <a:lnTo>
                        <a:pt x="147697" y="6055"/>
                      </a:lnTo>
                      <a:lnTo>
                        <a:pt x="154062" y="0"/>
                      </a:lnTo>
                      <a:lnTo>
                        <a:pt x="157086" y="1434"/>
                      </a:lnTo>
                      <a:lnTo>
                        <a:pt x="160721" y="4890"/>
                      </a:lnTo>
                      <a:lnTo>
                        <a:pt x="166499" y="9380"/>
                      </a:lnTo>
                      <a:lnTo>
                        <a:pt x="170859" y="12200"/>
                      </a:lnTo>
                      <a:lnTo>
                        <a:pt x="175724" y="14841"/>
                      </a:lnTo>
                      <a:lnTo>
                        <a:pt x="180614" y="19690"/>
                      </a:lnTo>
                      <a:lnTo>
                        <a:pt x="188487" y="30659"/>
                      </a:lnTo>
                      <a:lnTo>
                        <a:pt x="190427" y="32012"/>
                      </a:lnTo>
                      <a:lnTo>
                        <a:pt x="195284" y="33797"/>
                      </a:lnTo>
                      <a:lnTo>
                        <a:pt x="204395" y="36111"/>
                      </a:lnTo>
                      <a:lnTo>
                        <a:pt x="217850" y="41531"/>
                      </a:lnTo>
                      <a:lnTo>
                        <a:pt x="223759" y="43658"/>
                      </a:lnTo>
                      <a:lnTo>
                        <a:pt x="227581" y="44506"/>
                      </a:lnTo>
                      <a:lnTo>
                        <a:pt x="231403" y="45997"/>
                      </a:lnTo>
                      <a:lnTo>
                        <a:pt x="235218" y="48132"/>
                      </a:lnTo>
                      <a:lnTo>
                        <a:pt x="238127" y="50463"/>
                      </a:lnTo>
                      <a:lnTo>
                        <a:pt x="240132" y="52981"/>
                      </a:lnTo>
                      <a:lnTo>
                        <a:pt x="241900" y="54636"/>
                      </a:lnTo>
                      <a:lnTo>
                        <a:pt x="244981" y="56461"/>
                      </a:lnTo>
                      <a:lnTo>
                        <a:pt x="246586" y="57773"/>
                      </a:lnTo>
                      <a:lnTo>
                        <a:pt x="246741" y="59738"/>
                      </a:lnTo>
                      <a:lnTo>
                        <a:pt x="243017" y="67439"/>
                      </a:lnTo>
                      <a:lnTo>
                        <a:pt x="242935" y="68058"/>
                      </a:lnTo>
                      <a:lnTo>
                        <a:pt x="246701" y="62525"/>
                      </a:lnTo>
                      <a:lnTo>
                        <a:pt x="248795" y="60927"/>
                      </a:lnTo>
                      <a:lnTo>
                        <a:pt x="250482" y="60186"/>
                      </a:lnTo>
                      <a:lnTo>
                        <a:pt x="253978" y="60275"/>
                      </a:lnTo>
                      <a:lnTo>
                        <a:pt x="259284" y="61188"/>
                      </a:lnTo>
                      <a:lnTo>
                        <a:pt x="263937" y="61196"/>
                      </a:lnTo>
                      <a:lnTo>
                        <a:pt x="267947" y="60300"/>
                      </a:lnTo>
                      <a:lnTo>
                        <a:pt x="271353" y="59892"/>
                      </a:lnTo>
                      <a:lnTo>
                        <a:pt x="274165" y="59974"/>
                      </a:lnTo>
                      <a:lnTo>
                        <a:pt x="276211" y="59713"/>
                      </a:lnTo>
                      <a:lnTo>
                        <a:pt x="277482" y="59086"/>
                      </a:lnTo>
                      <a:lnTo>
                        <a:pt x="279006" y="59069"/>
                      </a:lnTo>
                      <a:lnTo>
                        <a:pt x="285029" y="60984"/>
                      </a:lnTo>
                      <a:lnTo>
                        <a:pt x="287465" y="61082"/>
                      </a:lnTo>
                      <a:lnTo>
                        <a:pt x="296275" y="62883"/>
                      </a:lnTo>
                      <a:lnTo>
                        <a:pt x="301931" y="62239"/>
                      </a:lnTo>
                      <a:lnTo>
                        <a:pt x="302909" y="62598"/>
                      </a:lnTo>
                      <a:lnTo>
                        <a:pt x="304873" y="64945"/>
                      </a:lnTo>
                      <a:lnTo>
                        <a:pt x="306536" y="65124"/>
                      </a:lnTo>
                      <a:lnTo>
                        <a:pt x="309348" y="64766"/>
                      </a:lnTo>
                      <a:lnTo>
                        <a:pt x="312078" y="65402"/>
                      </a:lnTo>
                      <a:lnTo>
                        <a:pt x="316650" y="68482"/>
                      </a:lnTo>
                      <a:lnTo>
                        <a:pt x="318752" y="71139"/>
                      </a:lnTo>
                      <a:lnTo>
                        <a:pt x="320782" y="76542"/>
                      </a:lnTo>
                      <a:lnTo>
                        <a:pt x="320961" y="78156"/>
                      </a:lnTo>
                      <a:lnTo>
                        <a:pt x="317212" y="90674"/>
                      </a:lnTo>
                      <a:lnTo>
                        <a:pt x="316030" y="95499"/>
                      </a:lnTo>
                      <a:lnTo>
                        <a:pt x="315876" y="99712"/>
                      </a:lnTo>
                      <a:lnTo>
                        <a:pt x="316617" y="102132"/>
                      </a:lnTo>
                      <a:lnTo>
                        <a:pt x="319853" y="106183"/>
                      </a:lnTo>
                      <a:lnTo>
                        <a:pt x="320439" y="107251"/>
                      </a:lnTo>
                      <a:lnTo>
                        <a:pt x="322354" y="113240"/>
                      </a:lnTo>
                      <a:lnTo>
                        <a:pt x="322876" y="115800"/>
                      </a:lnTo>
                      <a:lnTo>
                        <a:pt x="322664" y="118742"/>
                      </a:lnTo>
                      <a:lnTo>
                        <a:pt x="321662" y="123574"/>
                      </a:lnTo>
                      <a:lnTo>
                        <a:pt x="321914" y="127266"/>
                      </a:lnTo>
                      <a:lnTo>
                        <a:pt x="322762" y="132832"/>
                      </a:lnTo>
                      <a:lnTo>
                        <a:pt x="322436" y="136589"/>
                      </a:lnTo>
                      <a:lnTo>
                        <a:pt x="320944" y="138562"/>
                      </a:lnTo>
                      <a:lnTo>
                        <a:pt x="319934" y="140493"/>
                      </a:lnTo>
                      <a:lnTo>
                        <a:pt x="319144" y="143998"/>
                      </a:lnTo>
                      <a:lnTo>
                        <a:pt x="319144" y="145326"/>
                      </a:lnTo>
                      <a:lnTo>
                        <a:pt x="319918" y="147926"/>
                      </a:lnTo>
                      <a:lnTo>
                        <a:pt x="321352" y="149393"/>
                      </a:lnTo>
                      <a:lnTo>
                        <a:pt x="323699" y="151055"/>
                      </a:lnTo>
                      <a:lnTo>
                        <a:pt x="325883" y="153508"/>
                      </a:lnTo>
                      <a:lnTo>
                        <a:pt x="329868" y="159482"/>
                      </a:lnTo>
                      <a:lnTo>
                        <a:pt x="332770" y="162750"/>
                      </a:lnTo>
                      <a:lnTo>
                        <a:pt x="336315" y="167624"/>
                      </a:lnTo>
                      <a:lnTo>
                        <a:pt x="336999" y="170052"/>
                      </a:lnTo>
                      <a:lnTo>
                        <a:pt x="336013" y="171666"/>
                      </a:lnTo>
                      <a:lnTo>
                        <a:pt x="334775" y="172783"/>
                      </a:lnTo>
                      <a:lnTo>
                        <a:pt x="331922" y="174274"/>
                      </a:lnTo>
                      <a:lnTo>
                        <a:pt x="330643" y="175366"/>
                      </a:lnTo>
                      <a:lnTo>
                        <a:pt x="330977" y="175635"/>
                      </a:lnTo>
                      <a:lnTo>
                        <a:pt x="335109" y="174820"/>
                      </a:lnTo>
                      <a:lnTo>
                        <a:pt x="337554" y="174901"/>
                      </a:lnTo>
                      <a:lnTo>
                        <a:pt x="339624" y="176099"/>
                      </a:lnTo>
                      <a:lnTo>
                        <a:pt x="341311" y="178414"/>
                      </a:lnTo>
                      <a:lnTo>
                        <a:pt x="344114" y="180370"/>
                      </a:lnTo>
                      <a:lnTo>
                        <a:pt x="348034" y="182000"/>
                      </a:lnTo>
                      <a:lnTo>
                        <a:pt x="351962" y="184714"/>
                      </a:lnTo>
                      <a:lnTo>
                        <a:pt x="358491" y="191152"/>
                      </a:lnTo>
                      <a:lnTo>
                        <a:pt x="359672" y="192627"/>
                      </a:lnTo>
                      <a:lnTo>
                        <a:pt x="361400" y="196001"/>
                      </a:lnTo>
                      <a:lnTo>
                        <a:pt x="363690" y="201249"/>
                      </a:lnTo>
                      <a:lnTo>
                        <a:pt x="364888" y="204672"/>
                      </a:lnTo>
                      <a:lnTo>
                        <a:pt x="364994" y="206278"/>
                      </a:lnTo>
                      <a:lnTo>
                        <a:pt x="363698" y="207900"/>
                      </a:lnTo>
                      <a:lnTo>
                        <a:pt x="359305" y="210842"/>
                      </a:lnTo>
                      <a:lnTo>
                        <a:pt x="354880" y="215984"/>
                      </a:lnTo>
                      <a:lnTo>
                        <a:pt x="356266" y="215732"/>
                      </a:lnTo>
                      <a:lnTo>
                        <a:pt x="359191" y="213564"/>
                      </a:lnTo>
                      <a:lnTo>
                        <a:pt x="364122" y="209277"/>
                      </a:lnTo>
                      <a:lnTo>
                        <a:pt x="366860" y="208438"/>
                      </a:lnTo>
                      <a:lnTo>
                        <a:pt x="369403" y="208943"/>
                      </a:lnTo>
                      <a:lnTo>
                        <a:pt x="373421" y="210173"/>
                      </a:lnTo>
                      <a:lnTo>
                        <a:pt x="376974" y="211934"/>
                      </a:lnTo>
                      <a:lnTo>
                        <a:pt x="380055" y="214208"/>
                      </a:lnTo>
                      <a:lnTo>
                        <a:pt x="384635" y="220295"/>
                      </a:lnTo>
                      <a:lnTo>
                        <a:pt x="387903" y="223572"/>
                      </a:lnTo>
                      <a:lnTo>
                        <a:pt x="387911" y="230042"/>
                      </a:lnTo>
                      <a:lnTo>
                        <a:pt x="387919" y="238901"/>
                      </a:lnTo>
                      <a:lnTo>
                        <a:pt x="387927" y="247752"/>
                      </a:lnTo>
                      <a:lnTo>
                        <a:pt x="387935" y="256578"/>
                      </a:lnTo>
                      <a:lnTo>
                        <a:pt x="387944" y="265388"/>
                      </a:lnTo>
                      <a:lnTo>
                        <a:pt x="387952" y="274181"/>
                      </a:lnTo>
                      <a:lnTo>
                        <a:pt x="387968" y="282959"/>
                      </a:lnTo>
                      <a:lnTo>
                        <a:pt x="387976" y="291711"/>
                      </a:lnTo>
                      <a:lnTo>
                        <a:pt x="387984" y="300456"/>
                      </a:lnTo>
                      <a:lnTo>
                        <a:pt x="387993" y="309176"/>
                      </a:lnTo>
                      <a:lnTo>
                        <a:pt x="388009" y="317888"/>
                      </a:lnTo>
                      <a:lnTo>
                        <a:pt x="388017" y="326576"/>
                      </a:lnTo>
                      <a:lnTo>
                        <a:pt x="388033" y="335255"/>
                      </a:lnTo>
                      <a:lnTo>
                        <a:pt x="388041" y="345394"/>
                      </a:lnTo>
                      <a:lnTo>
                        <a:pt x="388033" y="345589"/>
                      </a:lnTo>
                      <a:lnTo>
                        <a:pt x="386892" y="348018"/>
                      </a:lnTo>
                      <a:lnTo>
                        <a:pt x="387202" y="350724"/>
                      </a:lnTo>
                      <a:lnTo>
                        <a:pt x="388873" y="353886"/>
                      </a:lnTo>
                      <a:lnTo>
                        <a:pt x="389802" y="357137"/>
                      </a:lnTo>
                      <a:lnTo>
                        <a:pt x="389973" y="360479"/>
                      </a:lnTo>
                      <a:lnTo>
                        <a:pt x="391709" y="364464"/>
                      </a:lnTo>
                      <a:lnTo>
                        <a:pt x="396656" y="371391"/>
                      </a:lnTo>
                      <a:lnTo>
                        <a:pt x="400396" y="379231"/>
                      </a:lnTo>
                      <a:lnTo>
                        <a:pt x="403159" y="383494"/>
                      </a:lnTo>
                      <a:lnTo>
                        <a:pt x="406183" y="386786"/>
                      </a:lnTo>
                      <a:lnTo>
                        <a:pt x="414137" y="389851"/>
                      </a:lnTo>
                      <a:lnTo>
                        <a:pt x="433427" y="394105"/>
                      </a:lnTo>
                      <a:lnTo>
                        <a:pt x="441104" y="398457"/>
                      </a:lnTo>
                      <a:lnTo>
                        <a:pt x="441145" y="398489"/>
                      </a:lnTo>
                      <a:lnTo>
                        <a:pt x="443093" y="401529"/>
                      </a:lnTo>
                      <a:lnTo>
                        <a:pt x="443345" y="402051"/>
                      </a:lnTo>
                      <a:lnTo>
                        <a:pt x="443728" y="403200"/>
                      </a:lnTo>
                      <a:lnTo>
                        <a:pt x="444560" y="404113"/>
                      </a:lnTo>
                      <a:lnTo>
                        <a:pt x="447844" y="406615"/>
                      </a:lnTo>
                      <a:lnTo>
                        <a:pt x="449572" y="407495"/>
                      </a:lnTo>
                      <a:lnTo>
                        <a:pt x="450917" y="407829"/>
                      </a:lnTo>
                      <a:lnTo>
                        <a:pt x="451805" y="407723"/>
                      </a:lnTo>
                      <a:lnTo>
                        <a:pt x="452188" y="407071"/>
                      </a:lnTo>
                      <a:lnTo>
                        <a:pt x="452506" y="405082"/>
                      </a:lnTo>
                      <a:lnTo>
                        <a:pt x="453060" y="404577"/>
                      </a:lnTo>
                      <a:lnTo>
                        <a:pt x="453524" y="404675"/>
                      </a:lnTo>
                      <a:lnTo>
                        <a:pt x="454714" y="404952"/>
                      </a:lnTo>
                      <a:lnTo>
                        <a:pt x="456450" y="407837"/>
                      </a:lnTo>
                      <a:lnTo>
                        <a:pt x="458610" y="413305"/>
                      </a:lnTo>
                      <a:lnTo>
                        <a:pt x="461430" y="416851"/>
                      </a:lnTo>
                      <a:lnTo>
                        <a:pt x="464893" y="418456"/>
                      </a:lnTo>
                      <a:lnTo>
                        <a:pt x="468455" y="418896"/>
                      </a:lnTo>
                      <a:lnTo>
                        <a:pt x="472106" y="418163"/>
                      </a:lnTo>
                      <a:lnTo>
                        <a:pt x="475138" y="418912"/>
                      </a:lnTo>
                      <a:lnTo>
                        <a:pt x="477534" y="421137"/>
                      </a:lnTo>
                      <a:lnTo>
                        <a:pt x="484428" y="420070"/>
                      </a:lnTo>
                      <a:lnTo>
                        <a:pt x="495813" y="415685"/>
                      </a:lnTo>
                      <a:lnTo>
                        <a:pt x="503328" y="413330"/>
                      </a:lnTo>
                      <a:lnTo>
                        <a:pt x="506970" y="413004"/>
                      </a:lnTo>
                      <a:lnTo>
                        <a:pt x="510442" y="413680"/>
                      </a:lnTo>
                      <a:lnTo>
                        <a:pt x="514924" y="415954"/>
                      </a:lnTo>
                      <a:lnTo>
                        <a:pt x="514468" y="418024"/>
                      </a:lnTo>
                      <a:lnTo>
                        <a:pt x="513523" y="422083"/>
                      </a:lnTo>
                      <a:lnTo>
                        <a:pt x="512903" y="424740"/>
                      </a:lnTo>
                      <a:lnTo>
                        <a:pt x="514517" y="426451"/>
                      </a:lnTo>
                      <a:lnTo>
                        <a:pt x="516310" y="428374"/>
                      </a:lnTo>
                      <a:lnTo>
                        <a:pt x="515870" y="428651"/>
                      </a:lnTo>
                      <a:lnTo>
                        <a:pt x="507174" y="435766"/>
                      </a:lnTo>
                      <a:lnTo>
                        <a:pt x="505846" y="435937"/>
                      </a:lnTo>
                      <a:lnTo>
                        <a:pt x="503507" y="435766"/>
                      </a:lnTo>
                      <a:lnTo>
                        <a:pt x="500051" y="436956"/>
                      </a:lnTo>
                      <a:lnTo>
                        <a:pt x="495504" y="439434"/>
                      </a:lnTo>
                      <a:lnTo>
                        <a:pt x="490003" y="443883"/>
                      </a:lnTo>
                      <a:lnTo>
                        <a:pt x="480313" y="453516"/>
                      </a:lnTo>
                      <a:lnTo>
                        <a:pt x="479636" y="454527"/>
                      </a:lnTo>
                      <a:lnTo>
                        <a:pt x="478234" y="456312"/>
                      </a:lnTo>
                      <a:lnTo>
                        <a:pt x="474657" y="458211"/>
                      </a:lnTo>
                      <a:lnTo>
                        <a:pt x="471413" y="460256"/>
                      </a:lnTo>
                      <a:lnTo>
                        <a:pt x="470557" y="462408"/>
                      </a:lnTo>
                      <a:lnTo>
                        <a:pt x="469001" y="463394"/>
                      </a:lnTo>
                      <a:lnTo>
                        <a:pt x="463638" y="468854"/>
                      </a:lnTo>
                      <a:lnTo>
                        <a:pt x="460623" y="473491"/>
                      </a:lnTo>
                      <a:lnTo>
                        <a:pt x="457893" y="478348"/>
                      </a:lnTo>
                      <a:lnTo>
                        <a:pt x="454828" y="483776"/>
                      </a:lnTo>
                      <a:lnTo>
                        <a:pt x="448545" y="483841"/>
                      </a:lnTo>
                      <a:lnTo>
                        <a:pt x="443753" y="483817"/>
                      </a:lnTo>
                      <a:lnTo>
                        <a:pt x="435570" y="483776"/>
                      </a:lnTo>
                      <a:lnTo>
                        <a:pt x="428562" y="483752"/>
                      </a:lnTo>
                      <a:lnTo>
                        <a:pt x="420241" y="483711"/>
                      </a:lnTo>
                      <a:lnTo>
                        <a:pt x="414210" y="483687"/>
                      </a:lnTo>
                      <a:lnTo>
                        <a:pt x="407707" y="483907"/>
                      </a:lnTo>
                      <a:lnTo>
                        <a:pt x="404610" y="485349"/>
                      </a:lnTo>
                      <a:lnTo>
                        <a:pt x="400714" y="487297"/>
                      </a:lnTo>
                      <a:lnTo>
                        <a:pt x="396509" y="489400"/>
                      </a:lnTo>
                      <a:lnTo>
                        <a:pt x="398709" y="494094"/>
                      </a:lnTo>
                      <a:lnTo>
                        <a:pt x="399304" y="495944"/>
                      </a:lnTo>
                      <a:lnTo>
                        <a:pt x="399133" y="501893"/>
                      </a:lnTo>
                      <a:lnTo>
                        <a:pt x="399573" y="502545"/>
                      </a:lnTo>
                      <a:lnTo>
                        <a:pt x="400046" y="503425"/>
                      </a:lnTo>
                      <a:lnTo>
                        <a:pt x="400119" y="504957"/>
                      </a:lnTo>
                      <a:lnTo>
                        <a:pt x="400478" y="505658"/>
                      </a:lnTo>
                      <a:lnTo>
                        <a:pt x="401244" y="506221"/>
                      </a:lnTo>
                      <a:lnTo>
                        <a:pt x="402108" y="506897"/>
                      </a:lnTo>
                      <a:lnTo>
                        <a:pt x="402727" y="507794"/>
                      </a:lnTo>
                      <a:lnTo>
                        <a:pt x="402874" y="508698"/>
                      </a:lnTo>
                      <a:lnTo>
                        <a:pt x="402279" y="510263"/>
                      </a:lnTo>
                      <a:lnTo>
                        <a:pt x="399858" y="512390"/>
                      </a:lnTo>
                      <a:lnTo>
                        <a:pt x="396460" y="514248"/>
                      </a:lnTo>
                      <a:lnTo>
                        <a:pt x="389704" y="517598"/>
                      </a:lnTo>
                      <a:lnTo>
                        <a:pt x="381872" y="521477"/>
                      </a:lnTo>
                      <a:lnTo>
                        <a:pt x="375083" y="524835"/>
                      </a:lnTo>
                      <a:lnTo>
                        <a:pt x="369827" y="527434"/>
                      </a:lnTo>
                      <a:lnTo>
                        <a:pt x="363054" y="528869"/>
                      </a:lnTo>
                      <a:lnTo>
                        <a:pt x="359036" y="529716"/>
                      </a:lnTo>
                      <a:lnTo>
                        <a:pt x="350463" y="531534"/>
                      </a:lnTo>
                      <a:lnTo>
                        <a:pt x="344277" y="532829"/>
                      </a:lnTo>
                      <a:lnTo>
                        <a:pt x="338581" y="536464"/>
                      </a:lnTo>
                      <a:lnTo>
                        <a:pt x="332289" y="540474"/>
                      </a:lnTo>
                      <a:lnTo>
                        <a:pt x="327000" y="543848"/>
                      </a:lnTo>
                      <a:lnTo>
                        <a:pt x="321067" y="547621"/>
                      </a:lnTo>
                      <a:lnTo>
                        <a:pt x="315468" y="551183"/>
                      </a:lnTo>
                      <a:lnTo>
                        <a:pt x="309242" y="551175"/>
                      </a:lnTo>
                      <a:lnTo>
                        <a:pt x="304873" y="548501"/>
                      </a:lnTo>
                      <a:lnTo>
                        <a:pt x="300807" y="545763"/>
                      </a:lnTo>
                      <a:lnTo>
                        <a:pt x="298533" y="541745"/>
                      </a:lnTo>
                      <a:lnTo>
                        <a:pt x="298028" y="540857"/>
                      </a:lnTo>
                      <a:lnTo>
                        <a:pt x="297840" y="535152"/>
                      </a:lnTo>
                      <a:lnTo>
                        <a:pt x="298843" y="531411"/>
                      </a:lnTo>
                      <a:lnTo>
                        <a:pt x="299747" y="529700"/>
                      </a:lnTo>
                      <a:lnTo>
                        <a:pt x="301467" y="528616"/>
                      </a:lnTo>
                      <a:lnTo>
                        <a:pt x="304841" y="526774"/>
                      </a:lnTo>
                      <a:lnTo>
                        <a:pt x="307905" y="523042"/>
                      </a:lnTo>
                      <a:lnTo>
                        <a:pt x="310366" y="520809"/>
                      </a:lnTo>
                      <a:lnTo>
                        <a:pt x="312836" y="518510"/>
                      </a:lnTo>
                      <a:lnTo>
                        <a:pt x="314245" y="514550"/>
                      </a:lnTo>
                      <a:lnTo>
                        <a:pt x="316014" y="504949"/>
                      </a:lnTo>
                      <a:lnTo>
                        <a:pt x="316242" y="503042"/>
                      </a:lnTo>
                      <a:lnTo>
                        <a:pt x="318801" y="496433"/>
                      </a:lnTo>
                      <a:lnTo>
                        <a:pt x="321645" y="489122"/>
                      </a:lnTo>
                      <a:lnTo>
                        <a:pt x="322949" y="485773"/>
                      </a:lnTo>
                      <a:lnTo>
                        <a:pt x="321491" y="477036"/>
                      </a:lnTo>
                      <a:lnTo>
                        <a:pt x="320399" y="470313"/>
                      </a:lnTo>
                      <a:lnTo>
                        <a:pt x="319396" y="464160"/>
                      </a:lnTo>
                      <a:lnTo>
                        <a:pt x="318263" y="457200"/>
                      </a:lnTo>
                      <a:lnTo>
                        <a:pt x="317236" y="450859"/>
                      </a:lnTo>
                      <a:lnTo>
                        <a:pt x="316267" y="444878"/>
                      </a:lnTo>
                      <a:lnTo>
                        <a:pt x="315297" y="438863"/>
                      </a:lnTo>
                      <a:lnTo>
                        <a:pt x="314335" y="432963"/>
                      </a:lnTo>
                      <a:lnTo>
                        <a:pt x="313585" y="428725"/>
                      </a:lnTo>
                      <a:lnTo>
                        <a:pt x="312705" y="423696"/>
                      </a:lnTo>
                      <a:lnTo>
                        <a:pt x="307514" y="420159"/>
                      </a:lnTo>
                      <a:lnTo>
                        <a:pt x="303578" y="417690"/>
                      </a:lnTo>
                      <a:lnTo>
                        <a:pt x="297131" y="413640"/>
                      </a:lnTo>
                      <a:lnTo>
                        <a:pt x="291720" y="410249"/>
                      </a:lnTo>
                      <a:lnTo>
                        <a:pt x="286870" y="407144"/>
                      </a:lnTo>
                      <a:lnTo>
                        <a:pt x="289927" y="400877"/>
                      </a:lnTo>
                      <a:lnTo>
                        <a:pt x="289658" y="399850"/>
                      </a:lnTo>
                      <a:lnTo>
                        <a:pt x="288549" y="398620"/>
                      </a:lnTo>
                      <a:lnTo>
                        <a:pt x="286292" y="396558"/>
                      </a:lnTo>
                      <a:lnTo>
                        <a:pt x="284964" y="396354"/>
                      </a:lnTo>
                      <a:lnTo>
                        <a:pt x="282633" y="396843"/>
                      </a:lnTo>
                      <a:lnTo>
                        <a:pt x="278916" y="398123"/>
                      </a:lnTo>
                      <a:lnTo>
                        <a:pt x="277311" y="397691"/>
                      </a:lnTo>
                      <a:lnTo>
                        <a:pt x="276031" y="395498"/>
                      </a:lnTo>
                      <a:lnTo>
                        <a:pt x="274565" y="392679"/>
                      </a:lnTo>
                      <a:lnTo>
                        <a:pt x="274084" y="390478"/>
                      </a:lnTo>
                      <a:lnTo>
                        <a:pt x="273896" y="387569"/>
                      </a:lnTo>
                      <a:lnTo>
                        <a:pt x="273024" y="384944"/>
                      </a:lnTo>
                      <a:lnTo>
                        <a:pt x="273570" y="383567"/>
                      </a:lnTo>
                      <a:lnTo>
                        <a:pt x="273693" y="382883"/>
                      </a:lnTo>
                      <a:lnTo>
                        <a:pt x="273644" y="382027"/>
                      </a:lnTo>
                      <a:lnTo>
                        <a:pt x="273040" y="381473"/>
                      </a:lnTo>
                      <a:lnTo>
                        <a:pt x="271981" y="381236"/>
                      </a:lnTo>
                      <a:lnTo>
                        <a:pt x="268403" y="382337"/>
                      </a:lnTo>
                      <a:lnTo>
                        <a:pt x="266790" y="382434"/>
                      </a:lnTo>
                      <a:lnTo>
                        <a:pt x="265828" y="383054"/>
                      </a:lnTo>
                      <a:lnTo>
                        <a:pt x="264304" y="384341"/>
                      </a:lnTo>
                      <a:lnTo>
                        <a:pt x="262812" y="384504"/>
                      </a:lnTo>
                      <a:lnTo>
                        <a:pt x="260229" y="381456"/>
                      </a:lnTo>
                      <a:lnTo>
                        <a:pt x="257409" y="378115"/>
                      </a:lnTo>
                      <a:lnTo>
                        <a:pt x="256228" y="373510"/>
                      </a:lnTo>
                      <a:lnTo>
                        <a:pt x="255013" y="368783"/>
                      </a:lnTo>
                      <a:lnTo>
                        <a:pt x="250205" y="365939"/>
                      </a:lnTo>
                      <a:lnTo>
                        <a:pt x="245388" y="363087"/>
                      </a:lnTo>
                      <a:lnTo>
                        <a:pt x="240580" y="360226"/>
                      </a:lnTo>
                      <a:lnTo>
                        <a:pt x="235764" y="357382"/>
                      </a:lnTo>
                      <a:lnTo>
                        <a:pt x="230955" y="354521"/>
                      </a:lnTo>
                      <a:lnTo>
                        <a:pt x="226139" y="351669"/>
                      </a:lnTo>
                      <a:lnTo>
                        <a:pt x="221322" y="348809"/>
                      </a:lnTo>
                      <a:lnTo>
                        <a:pt x="216514" y="345948"/>
                      </a:lnTo>
                      <a:lnTo>
                        <a:pt x="214843" y="345003"/>
                      </a:lnTo>
                      <a:lnTo>
                        <a:pt x="210467" y="342501"/>
                      </a:lnTo>
                      <a:lnTo>
                        <a:pt x="204281" y="338964"/>
                      </a:lnTo>
                      <a:lnTo>
                        <a:pt x="197175" y="334905"/>
                      </a:lnTo>
                      <a:lnTo>
                        <a:pt x="190076" y="330846"/>
                      </a:lnTo>
                      <a:lnTo>
                        <a:pt x="183882" y="327301"/>
                      </a:lnTo>
                      <a:lnTo>
                        <a:pt x="179498" y="324791"/>
                      </a:lnTo>
                      <a:lnTo>
                        <a:pt x="177835" y="323838"/>
                      </a:lnTo>
                      <a:lnTo>
                        <a:pt x="173540" y="321376"/>
                      </a:lnTo>
                      <a:lnTo>
                        <a:pt x="168145" y="318589"/>
                      </a:lnTo>
                      <a:lnTo>
                        <a:pt x="162359" y="319991"/>
                      </a:lnTo>
                      <a:lnTo>
                        <a:pt x="155236" y="323887"/>
                      </a:lnTo>
                      <a:lnTo>
                        <a:pt x="151169" y="326112"/>
                      </a:lnTo>
                      <a:lnTo>
                        <a:pt x="148113" y="327774"/>
                      </a:lnTo>
                      <a:lnTo>
                        <a:pt x="145945" y="328760"/>
                      </a:lnTo>
                      <a:lnTo>
                        <a:pt x="141414" y="329616"/>
                      </a:lnTo>
                      <a:lnTo>
                        <a:pt x="140355" y="329559"/>
                      </a:lnTo>
                      <a:lnTo>
                        <a:pt x="139059" y="329486"/>
                      </a:lnTo>
                      <a:lnTo>
                        <a:pt x="133484" y="328939"/>
                      </a:lnTo>
                      <a:lnTo>
                        <a:pt x="130371" y="329648"/>
                      </a:lnTo>
                      <a:lnTo>
                        <a:pt x="128073" y="328939"/>
                      </a:lnTo>
                      <a:lnTo>
                        <a:pt x="126924" y="326674"/>
                      </a:lnTo>
                      <a:lnTo>
                        <a:pt x="125644" y="325248"/>
                      </a:lnTo>
                      <a:lnTo>
                        <a:pt x="119980" y="325924"/>
                      </a:lnTo>
                      <a:lnTo>
                        <a:pt x="112866" y="325443"/>
                      </a:lnTo>
                      <a:lnTo>
                        <a:pt x="109467" y="325729"/>
                      </a:lnTo>
                      <a:lnTo>
                        <a:pt x="108155" y="324775"/>
                      </a:lnTo>
                      <a:lnTo>
                        <a:pt x="107087" y="322289"/>
                      </a:lnTo>
                      <a:lnTo>
                        <a:pt x="105213" y="321972"/>
                      </a:lnTo>
                      <a:lnTo>
                        <a:pt x="102043" y="322526"/>
                      </a:lnTo>
                      <a:lnTo>
                        <a:pt x="97650" y="325729"/>
                      </a:lnTo>
                      <a:lnTo>
                        <a:pt x="93518" y="327383"/>
                      </a:lnTo>
                      <a:lnTo>
                        <a:pt x="90266" y="327391"/>
                      </a:lnTo>
                      <a:lnTo>
                        <a:pt x="87063" y="325729"/>
                      </a:lnTo>
                      <a:lnTo>
                        <a:pt x="81831" y="322387"/>
                      </a:lnTo>
                      <a:lnTo>
                        <a:pt x="78197" y="318638"/>
                      </a:lnTo>
                      <a:lnTo>
                        <a:pt x="74065" y="317326"/>
                      </a:lnTo>
                      <a:lnTo>
                        <a:pt x="70919" y="317668"/>
                      </a:lnTo>
                      <a:lnTo>
                        <a:pt x="69688" y="319551"/>
                      </a:lnTo>
                      <a:lnTo>
                        <a:pt x="68050" y="319551"/>
                      </a:lnTo>
                      <a:lnTo>
                        <a:pt x="66901" y="316340"/>
                      </a:lnTo>
                      <a:lnTo>
                        <a:pt x="65915" y="313838"/>
                      </a:lnTo>
                      <a:lnTo>
                        <a:pt x="63870" y="312762"/>
                      </a:lnTo>
                      <a:lnTo>
                        <a:pt x="60161" y="310358"/>
                      </a:lnTo>
                      <a:lnTo>
                        <a:pt x="57578" y="309062"/>
                      </a:lnTo>
                      <a:lnTo>
                        <a:pt x="53625" y="307481"/>
                      </a:lnTo>
                      <a:lnTo>
                        <a:pt x="52256" y="307188"/>
                      </a:lnTo>
                      <a:lnTo>
                        <a:pt x="49689" y="306992"/>
                      </a:lnTo>
                      <a:lnTo>
                        <a:pt x="47146" y="306862"/>
                      </a:lnTo>
                      <a:lnTo>
                        <a:pt x="44220" y="307351"/>
                      </a:lnTo>
                      <a:close/>
                    </a:path>
                  </a:pathLst>
                </a:custGeom>
                <a:solidFill>
                  <a:srgbClr val="D6D6D2"/>
                </a:solidFill>
                <a:ln w="6112" cap="rnd">
                  <a:solidFill>
                    <a:srgbClr val="FFFFFF"/>
                  </a:solidFill>
                  <a:prstDash val="solid"/>
                  <a:round/>
                </a:ln>
              </p:spPr>
              <p:txBody>
                <a:bodyPr rtlCol="0" anchor="ctr"/>
                <a:lstStyle/>
                <a:p>
                  <a:endParaRPr lang="en-US"/>
                </a:p>
              </p:txBody>
            </p:sp>
            <p:grpSp>
              <p:nvGrpSpPr>
                <p:cNvPr id="476" name="Graphic 7">
                  <a:extLst>
                    <a:ext uri="{FF2B5EF4-FFF2-40B4-BE49-F238E27FC236}">
                      <a16:creationId xmlns:a16="http://schemas.microsoft.com/office/drawing/2014/main" id="{4A649B9F-FC67-4F3B-BA5E-8258B9D3154C}"/>
                    </a:ext>
                  </a:extLst>
                </p:cNvPr>
                <p:cNvGrpSpPr/>
                <p:nvPr/>
              </p:nvGrpSpPr>
              <p:grpSpPr>
                <a:xfrm>
                  <a:off x="2950447" y="1483025"/>
                  <a:ext cx="1475101" cy="1340899"/>
                  <a:chOff x="2950447" y="1483025"/>
                  <a:chExt cx="1475101" cy="1340899"/>
                </a:xfrm>
                <a:solidFill>
                  <a:srgbClr val="D6D6D2"/>
                </a:solidFill>
              </p:grpSpPr>
              <p:sp>
                <p:nvSpPr>
                  <p:cNvPr id="499" name="Freeform: Shape 498">
                    <a:extLst>
                      <a:ext uri="{FF2B5EF4-FFF2-40B4-BE49-F238E27FC236}">
                        <a16:creationId xmlns:a16="http://schemas.microsoft.com/office/drawing/2014/main" id="{0EDA1313-2EB7-47EE-B15B-D89D8423BD4A}"/>
                      </a:ext>
                    </a:extLst>
                  </p:cNvPr>
                  <p:cNvSpPr/>
                  <p:nvPr/>
                </p:nvSpPr>
                <p:spPr>
                  <a:xfrm>
                    <a:off x="3786830" y="2197088"/>
                    <a:ext cx="14318" cy="24872"/>
                  </a:xfrm>
                  <a:custGeom>
                    <a:avLst/>
                    <a:gdLst>
                      <a:gd name="connsiteX0" fmla="*/ 9038 w 14318"/>
                      <a:gd name="connsiteY0" fmla="*/ 24832 h 24872"/>
                      <a:gd name="connsiteX1" fmla="*/ 7978 w 14318"/>
                      <a:gd name="connsiteY1" fmla="*/ 24873 h 24872"/>
                      <a:gd name="connsiteX2" fmla="*/ 6291 w 14318"/>
                      <a:gd name="connsiteY2" fmla="*/ 24213 h 24872"/>
                      <a:gd name="connsiteX3" fmla="*/ 2445 w 14318"/>
                      <a:gd name="connsiteY3" fmla="*/ 21589 h 24872"/>
                      <a:gd name="connsiteX4" fmla="*/ 1671 w 14318"/>
                      <a:gd name="connsiteY4" fmla="*/ 20456 h 24872"/>
                      <a:gd name="connsiteX5" fmla="*/ 1271 w 14318"/>
                      <a:gd name="connsiteY5" fmla="*/ 19127 h 24872"/>
                      <a:gd name="connsiteX6" fmla="*/ 1271 w 14318"/>
                      <a:gd name="connsiteY6" fmla="*/ 17612 h 24872"/>
                      <a:gd name="connsiteX7" fmla="*/ 1614 w 14318"/>
                      <a:gd name="connsiteY7" fmla="*/ 16039 h 24872"/>
                      <a:gd name="connsiteX8" fmla="*/ 2795 w 14318"/>
                      <a:gd name="connsiteY8" fmla="*/ 12901 h 24872"/>
                      <a:gd name="connsiteX9" fmla="*/ 546 w 14318"/>
                      <a:gd name="connsiteY9" fmla="*/ 10399 h 24872"/>
                      <a:gd name="connsiteX10" fmla="*/ 0 w 14318"/>
                      <a:gd name="connsiteY10" fmla="*/ 8973 h 24872"/>
                      <a:gd name="connsiteX11" fmla="*/ 261 w 14318"/>
                      <a:gd name="connsiteY11" fmla="*/ 8166 h 24872"/>
                      <a:gd name="connsiteX12" fmla="*/ 1516 w 14318"/>
                      <a:gd name="connsiteY12" fmla="*/ 6243 h 24872"/>
                      <a:gd name="connsiteX13" fmla="*/ 1858 w 14318"/>
                      <a:gd name="connsiteY13" fmla="*/ 5028 h 24872"/>
                      <a:gd name="connsiteX14" fmla="*/ 3121 w 14318"/>
                      <a:gd name="connsiteY14" fmla="*/ 3325 h 24872"/>
                      <a:gd name="connsiteX15" fmla="*/ 6389 w 14318"/>
                      <a:gd name="connsiteY15" fmla="*/ 0 h 24872"/>
                      <a:gd name="connsiteX16" fmla="*/ 9674 w 14318"/>
                      <a:gd name="connsiteY16" fmla="*/ 782 h 24872"/>
                      <a:gd name="connsiteX17" fmla="*/ 12591 w 14318"/>
                      <a:gd name="connsiteY17" fmla="*/ 3504 h 24872"/>
                      <a:gd name="connsiteX18" fmla="*/ 13357 w 14318"/>
                      <a:gd name="connsiteY18" fmla="*/ 5338 h 24872"/>
                      <a:gd name="connsiteX19" fmla="*/ 13137 w 14318"/>
                      <a:gd name="connsiteY19" fmla="*/ 7294 h 24872"/>
                      <a:gd name="connsiteX20" fmla="*/ 13390 w 14318"/>
                      <a:gd name="connsiteY20" fmla="*/ 10122 h 24872"/>
                      <a:gd name="connsiteX21" fmla="*/ 14124 w 14318"/>
                      <a:gd name="connsiteY21" fmla="*/ 13822 h 24872"/>
                      <a:gd name="connsiteX22" fmla="*/ 14319 w 14318"/>
                      <a:gd name="connsiteY22" fmla="*/ 16511 h 24872"/>
                      <a:gd name="connsiteX23" fmla="*/ 13969 w 14318"/>
                      <a:gd name="connsiteY23" fmla="*/ 18174 h 24872"/>
                      <a:gd name="connsiteX24" fmla="*/ 12722 w 14318"/>
                      <a:gd name="connsiteY24" fmla="*/ 21303 h 24872"/>
                      <a:gd name="connsiteX25" fmla="*/ 11662 w 14318"/>
                      <a:gd name="connsiteY25" fmla="*/ 22754 h 24872"/>
                      <a:gd name="connsiteX26" fmla="*/ 10260 w 14318"/>
                      <a:gd name="connsiteY26" fmla="*/ 24123 h 24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318" h="24872">
                        <a:moveTo>
                          <a:pt x="9038" y="24832"/>
                        </a:moveTo>
                        <a:lnTo>
                          <a:pt x="7978" y="24873"/>
                        </a:lnTo>
                        <a:lnTo>
                          <a:pt x="6291" y="24213"/>
                        </a:lnTo>
                        <a:lnTo>
                          <a:pt x="2445" y="21589"/>
                        </a:lnTo>
                        <a:lnTo>
                          <a:pt x="1671" y="20456"/>
                        </a:lnTo>
                        <a:lnTo>
                          <a:pt x="1271" y="19127"/>
                        </a:lnTo>
                        <a:lnTo>
                          <a:pt x="1271" y="17612"/>
                        </a:lnTo>
                        <a:lnTo>
                          <a:pt x="1614" y="16039"/>
                        </a:lnTo>
                        <a:lnTo>
                          <a:pt x="2795" y="12901"/>
                        </a:lnTo>
                        <a:lnTo>
                          <a:pt x="546" y="10399"/>
                        </a:lnTo>
                        <a:lnTo>
                          <a:pt x="0" y="8973"/>
                        </a:lnTo>
                        <a:lnTo>
                          <a:pt x="261" y="8166"/>
                        </a:lnTo>
                        <a:lnTo>
                          <a:pt x="1516" y="6243"/>
                        </a:lnTo>
                        <a:lnTo>
                          <a:pt x="1858" y="5028"/>
                        </a:lnTo>
                        <a:lnTo>
                          <a:pt x="3121" y="3325"/>
                        </a:lnTo>
                        <a:lnTo>
                          <a:pt x="6389" y="0"/>
                        </a:lnTo>
                        <a:lnTo>
                          <a:pt x="9674" y="782"/>
                        </a:lnTo>
                        <a:lnTo>
                          <a:pt x="12591" y="3504"/>
                        </a:lnTo>
                        <a:lnTo>
                          <a:pt x="13357" y="5338"/>
                        </a:lnTo>
                        <a:lnTo>
                          <a:pt x="13137" y="7294"/>
                        </a:lnTo>
                        <a:lnTo>
                          <a:pt x="13390" y="10122"/>
                        </a:lnTo>
                        <a:lnTo>
                          <a:pt x="14124" y="13822"/>
                        </a:lnTo>
                        <a:lnTo>
                          <a:pt x="14319" y="16511"/>
                        </a:lnTo>
                        <a:lnTo>
                          <a:pt x="13969" y="18174"/>
                        </a:lnTo>
                        <a:lnTo>
                          <a:pt x="12722" y="21303"/>
                        </a:lnTo>
                        <a:lnTo>
                          <a:pt x="11662" y="22754"/>
                        </a:lnTo>
                        <a:lnTo>
                          <a:pt x="10260" y="24123"/>
                        </a:lnTo>
                        <a:close/>
                      </a:path>
                    </a:pathLst>
                  </a:custGeom>
                  <a:solidFill>
                    <a:srgbClr val="D6D6D2"/>
                  </a:solidFill>
                  <a:ln w="6112" cap="rnd">
                    <a:solidFill>
                      <a:srgbClr val="FFFFFF"/>
                    </a:solidFill>
                    <a:prstDash val="solid"/>
                    <a:round/>
                  </a:ln>
                </p:spPr>
                <p:txBody>
                  <a:bodyPr rtlCol="0" anchor="ctr"/>
                  <a:lstStyle/>
                  <a:p>
                    <a:endParaRPr lang="en-US"/>
                  </a:p>
                </p:txBody>
              </p:sp>
              <p:sp>
                <p:nvSpPr>
                  <p:cNvPr id="500" name="Freeform: Shape 499">
                    <a:extLst>
                      <a:ext uri="{FF2B5EF4-FFF2-40B4-BE49-F238E27FC236}">
                        <a16:creationId xmlns:a16="http://schemas.microsoft.com/office/drawing/2014/main" id="{6BD67AEE-947B-417A-8F77-A906995C8DCD}"/>
                      </a:ext>
                    </a:extLst>
                  </p:cNvPr>
                  <p:cNvSpPr/>
                  <p:nvPr/>
                </p:nvSpPr>
                <p:spPr>
                  <a:xfrm>
                    <a:off x="4089674" y="2206354"/>
                    <a:ext cx="33511" cy="13544"/>
                  </a:xfrm>
                  <a:custGeom>
                    <a:avLst/>
                    <a:gdLst>
                      <a:gd name="connsiteX0" fmla="*/ 27970 w 33511"/>
                      <a:gd name="connsiteY0" fmla="*/ 13480 h 13544"/>
                      <a:gd name="connsiteX1" fmla="*/ 15884 w 33511"/>
                      <a:gd name="connsiteY1" fmla="*/ 13545 h 13544"/>
                      <a:gd name="connsiteX2" fmla="*/ 9315 w 33511"/>
                      <a:gd name="connsiteY2" fmla="*/ 13235 h 13544"/>
                      <a:gd name="connsiteX3" fmla="*/ 6667 w 33511"/>
                      <a:gd name="connsiteY3" fmla="*/ 12567 h 13544"/>
                      <a:gd name="connsiteX4" fmla="*/ 4368 w 33511"/>
                      <a:gd name="connsiteY4" fmla="*/ 11532 h 13544"/>
                      <a:gd name="connsiteX5" fmla="*/ 1760 w 33511"/>
                      <a:gd name="connsiteY5" fmla="*/ 8182 h 13544"/>
                      <a:gd name="connsiteX6" fmla="*/ 90 w 33511"/>
                      <a:gd name="connsiteY6" fmla="*/ 4735 h 13544"/>
                      <a:gd name="connsiteX7" fmla="*/ 0 w 33511"/>
                      <a:gd name="connsiteY7" fmla="*/ 3268 h 13544"/>
                      <a:gd name="connsiteX8" fmla="*/ 448 w 33511"/>
                      <a:gd name="connsiteY8" fmla="*/ 1956 h 13544"/>
                      <a:gd name="connsiteX9" fmla="*/ 1060 w 33511"/>
                      <a:gd name="connsiteY9" fmla="*/ 1149 h 13544"/>
                      <a:gd name="connsiteX10" fmla="*/ 9177 w 33511"/>
                      <a:gd name="connsiteY10" fmla="*/ 0 h 13544"/>
                      <a:gd name="connsiteX11" fmla="*/ 15827 w 33511"/>
                      <a:gd name="connsiteY11" fmla="*/ 1434 h 13544"/>
                      <a:gd name="connsiteX12" fmla="*/ 21548 w 33511"/>
                      <a:gd name="connsiteY12" fmla="*/ 3121 h 13544"/>
                      <a:gd name="connsiteX13" fmla="*/ 28907 w 33511"/>
                      <a:gd name="connsiteY13" fmla="*/ 3407 h 13544"/>
                      <a:gd name="connsiteX14" fmla="*/ 31148 w 33511"/>
                      <a:gd name="connsiteY14" fmla="*/ 4050 h 13544"/>
                      <a:gd name="connsiteX15" fmla="*/ 32004 w 33511"/>
                      <a:gd name="connsiteY15" fmla="*/ 4515 h 13544"/>
                      <a:gd name="connsiteX16" fmla="*/ 32599 w 33511"/>
                      <a:gd name="connsiteY16" fmla="*/ 5387 h 13544"/>
                      <a:gd name="connsiteX17" fmla="*/ 33430 w 33511"/>
                      <a:gd name="connsiteY17" fmla="*/ 9356 h 13544"/>
                      <a:gd name="connsiteX18" fmla="*/ 33512 w 33511"/>
                      <a:gd name="connsiteY18" fmla="*/ 11475 h 13544"/>
                      <a:gd name="connsiteX19" fmla="*/ 33292 w 33511"/>
                      <a:gd name="connsiteY19" fmla="*/ 13080 h 1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511" h="13544">
                        <a:moveTo>
                          <a:pt x="27970" y="13480"/>
                        </a:moveTo>
                        <a:lnTo>
                          <a:pt x="15884" y="13545"/>
                        </a:lnTo>
                        <a:lnTo>
                          <a:pt x="9315" y="13235"/>
                        </a:lnTo>
                        <a:lnTo>
                          <a:pt x="6667" y="12567"/>
                        </a:lnTo>
                        <a:lnTo>
                          <a:pt x="4368" y="11532"/>
                        </a:lnTo>
                        <a:lnTo>
                          <a:pt x="1760" y="8182"/>
                        </a:lnTo>
                        <a:lnTo>
                          <a:pt x="90" y="4735"/>
                        </a:lnTo>
                        <a:lnTo>
                          <a:pt x="0" y="3268"/>
                        </a:lnTo>
                        <a:lnTo>
                          <a:pt x="448" y="1956"/>
                        </a:lnTo>
                        <a:lnTo>
                          <a:pt x="1060" y="1149"/>
                        </a:lnTo>
                        <a:lnTo>
                          <a:pt x="9177" y="0"/>
                        </a:lnTo>
                        <a:lnTo>
                          <a:pt x="15827" y="1434"/>
                        </a:lnTo>
                        <a:lnTo>
                          <a:pt x="21548" y="3121"/>
                        </a:lnTo>
                        <a:lnTo>
                          <a:pt x="28907" y="3407"/>
                        </a:lnTo>
                        <a:lnTo>
                          <a:pt x="31148" y="4050"/>
                        </a:lnTo>
                        <a:lnTo>
                          <a:pt x="32004" y="4515"/>
                        </a:lnTo>
                        <a:lnTo>
                          <a:pt x="32599" y="5387"/>
                        </a:lnTo>
                        <a:lnTo>
                          <a:pt x="33430" y="9356"/>
                        </a:lnTo>
                        <a:lnTo>
                          <a:pt x="33512" y="11475"/>
                        </a:lnTo>
                        <a:lnTo>
                          <a:pt x="33292" y="13080"/>
                        </a:lnTo>
                        <a:close/>
                      </a:path>
                    </a:pathLst>
                  </a:custGeom>
                  <a:solidFill>
                    <a:srgbClr val="D6D6D2"/>
                  </a:solidFill>
                  <a:ln w="8150" cap="flat">
                    <a:noFill/>
                    <a:prstDash val="solid"/>
                    <a:miter/>
                  </a:ln>
                </p:spPr>
                <p:txBody>
                  <a:bodyPr rtlCol="0" anchor="ctr"/>
                  <a:lstStyle/>
                  <a:p>
                    <a:endParaRPr lang="en-US"/>
                  </a:p>
                </p:txBody>
              </p:sp>
              <p:sp>
                <p:nvSpPr>
                  <p:cNvPr id="501" name="Freeform: Shape 500">
                    <a:extLst>
                      <a:ext uri="{FF2B5EF4-FFF2-40B4-BE49-F238E27FC236}">
                        <a16:creationId xmlns:a16="http://schemas.microsoft.com/office/drawing/2014/main" id="{DC668EA1-A0FF-41C1-8E85-A206ED4A8DB1}"/>
                      </a:ext>
                    </a:extLst>
                  </p:cNvPr>
                  <p:cNvSpPr/>
                  <p:nvPr/>
                </p:nvSpPr>
                <p:spPr>
                  <a:xfrm>
                    <a:off x="3848654" y="2290965"/>
                    <a:ext cx="30594" cy="21295"/>
                  </a:xfrm>
                  <a:custGeom>
                    <a:avLst/>
                    <a:gdLst>
                      <a:gd name="connsiteX0" fmla="*/ 18386 w 30594"/>
                      <a:gd name="connsiteY0" fmla="*/ 14229 h 21295"/>
                      <a:gd name="connsiteX1" fmla="*/ 21572 w 30594"/>
                      <a:gd name="connsiteY1" fmla="*/ 15884 h 21295"/>
                      <a:gd name="connsiteX2" fmla="*/ 24742 w 30594"/>
                      <a:gd name="connsiteY2" fmla="*/ 16837 h 21295"/>
                      <a:gd name="connsiteX3" fmla="*/ 29861 w 30594"/>
                      <a:gd name="connsiteY3" fmla="*/ 17343 h 21295"/>
                      <a:gd name="connsiteX4" fmla="*/ 30594 w 30594"/>
                      <a:gd name="connsiteY4" fmla="*/ 17693 h 21295"/>
                      <a:gd name="connsiteX5" fmla="*/ 30586 w 30594"/>
                      <a:gd name="connsiteY5" fmla="*/ 18475 h 21295"/>
                      <a:gd name="connsiteX6" fmla="*/ 29852 w 30594"/>
                      <a:gd name="connsiteY6" fmla="*/ 19690 h 21295"/>
                      <a:gd name="connsiteX7" fmla="*/ 28141 w 30594"/>
                      <a:gd name="connsiteY7" fmla="*/ 21255 h 21295"/>
                      <a:gd name="connsiteX8" fmla="*/ 26927 w 30594"/>
                      <a:gd name="connsiteY8" fmla="*/ 21295 h 21295"/>
                      <a:gd name="connsiteX9" fmla="*/ 24099 w 30594"/>
                      <a:gd name="connsiteY9" fmla="*/ 20203 h 21295"/>
                      <a:gd name="connsiteX10" fmla="*/ 23072 w 30594"/>
                      <a:gd name="connsiteY10" fmla="*/ 19633 h 21295"/>
                      <a:gd name="connsiteX11" fmla="*/ 21923 w 30594"/>
                      <a:gd name="connsiteY11" fmla="*/ 18386 h 21295"/>
                      <a:gd name="connsiteX12" fmla="*/ 21344 w 30594"/>
                      <a:gd name="connsiteY12" fmla="*/ 18272 h 21295"/>
                      <a:gd name="connsiteX13" fmla="*/ 20602 w 30594"/>
                      <a:gd name="connsiteY13" fmla="*/ 18687 h 21295"/>
                      <a:gd name="connsiteX14" fmla="*/ 20407 w 30594"/>
                      <a:gd name="connsiteY14" fmla="*/ 19242 h 21295"/>
                      <a:gd name="connsiteX15" fmla="*/ 20749 w 30594"/>
                      <a:gd name="connsiteY15" fmla="*/ 19926 h 21295"/>
                      <a:gd name="connsiteX16" fmla="*/ 20276 w 30594"/>
                      <a:gd name="connsiteY16" fmla="*/ 20114 h 21295"/>
                      <a:gd name="connsiteX17" fmla="*/ 16854 w 30594"/>
                      <a:gd name="connsiteY17" fmla="*/ 19649 h 21295"/>
                      <a:gd name="connsiteX18" fmla="*/ 16316 w 30594"/>
                      <a:gd name="connsiteY18" fmla="*/ 19250 h 21295"/>
                      <a:gd name="connsiteX19" fmla="*/ 16593 w 30594"/>
                      <a:gd name="connsiteY19" fmla="*/ 17905 h 21295"/>
                      <a:gd name="connsiteX20" fmla="*/ 18981 w 30594"/>
                      <a:gd name="connsiteY20" fmla="*/ 15941 h 21295"/>
                      <a:gd name="connsiteX21" fmla="*/ 16878 w 30594"/>
                      <a:gd name="connsiteY21" fmla="*/ 15346 h 21295"/>
                      <a:gd name="connsiteX22" fmla="*/ 16210 w 30594"/>
                      <a:gd name="connsiteY22" fmla="*/ 14612 h 21295"/>
                      <a:gd name="connsiteX23" fmla="*/ 13097 w 30594"/>
                      <a:gd name="connsiteY23" fmla="*/ 15851 h 21295"/>
                      <a:gd name="connsiteX24" fmla="*/ 11377 w 30594"/>
                      <a:gd name="connsiteY24" fmla="*/ 16145 h 21295"/>
                      <a:gd name="connsiteX25" fmla="*/ 8655 w 30594"/>
                      <a:gd name="connsiteY25" fmla="*/ 15281 h 21295"/>
                      <a:gd name="connsiteX26" fmla="*/ 8370 w 30594"/>
                      <a:gd name="connsiteY26" fmla="*/ 10790 h 21295"/>
                      <a:gd name="connsiteX27" fmla="*/ 8036 w 30594"/>
                      <a:gd name="connsiteY27" fmla="*/ 9152 h 21295"/>
                      <a:gd name="connsiteX28" fmla="*/ 6797 w 30594"/>
                      <a:gd name="connsiteY28" fmla="*/ 8044 h 21295"/>
                      <a:gd name="connsiteX29" fmla="*/ 6055 w 30594"/>
                      <a:gd name="connsiteY29" fmla="*/ 6862 h 21295"/>
                      <a:gd name="connsiteX30" fmla="*/ 4865 w 30594"/>
                      <a:gd name="connsiteY30" fmla="*/ 5982 h 21295"/>
                      <a:gd name="connsiteX31" fmla="*/ 2412 w 30594"/>
                      <a:gd name="connsiteY31" fmla="*/ 5077 h 21295"/>
                      <a:gd name="connsiteX32" fmla="*/ 407 w 30594"/>
                      <a:gd name="connsiteY32" fmla="*/ 2836 h 21295"/>
                      <a:gd name="connsiteX33" fmla="*/ 0 w 30594"/>
                      <a:gd name="connsiteY33" fmla="*/ 1817 h 21295"/>
                      <a:gd name="connsiteX34" fmla="*/ 269 w 30594"/>
                      <a:gd name="connsiteY34" fmla="*/ 1059 h 21295"/>
                      <a:gd name="connsiteX35" fmla="*/ 1491 w 30594"/>
                      <a:gd name="connsiteY35" fmla="*/ 0 h 21295"/>
                      <a:gd name="connsiteX36" fmla="*/ 8549 w 30594"/>
                      <a:gd name="connsiteY36" fmla="*/ 2274 h 21295"/>
                      <a:gd name="connsiteX37" fmla="*/ 12820 w 30594"/>
                      <a:gd name="connsiteY37" fmla="*/ 4409 h 21295"/>
                      <a:gd name="connsiteX38" fmla="*/ 16870 w 30594"/>
                      <a:gd name="connsiteY38" fmla="*/ 7033 h 21295"/>
                      <a:gd name="connsiteX39" fmla="*/ 18989 w 30594"/>
                      <a:gd name="connsiteY39" fmla="*/ 8981 h 21295"/>
                      <a:gd name="connsiteX40" fmla="*/ 19184 w 30594"/>
                      <a:gd name="connsiteY40" fmla="*/ 10244 h 21295"/>
                      <a:gd name="connsiteX41" fmla="*/ 18655 w 30594"/>
                      <a:gd name="connsiteY41" fmla="*/ 11507 h 21295"/>
                      <a:gd name="connsiteX42" fmla="*/ 17408 w 30594"/>
                      <a:gd name="connsiteY42" fmla="*/ 12762 h 21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0594" h="21295">
                        <a:moveTo>
                          <a:pt x="18386" y="14229"/>
                        </a:moveTo>
                        <a:lnTo>
                          <a:pt x="21572" y="15884"/>
                        </a:lnTo>
                        <a:lnTo>
                          <a:pt x="24742" y="16837"/>
                        </a:lnTo>
                        <a:lnTo>
                          <a:pt x="29861" y="17343"/>
                        </a:lnTo>
                        <a:lnTo>
                          <a:pt x="30594" y="17693"/>
                        </a:lnTo>
                        <a:lnTo>
                          <a:pt x="30586" y="18475"/>
                        </a:lnTo>
                        <a:lnTo>
                          <a:pt x="29852" y="19690"/>
                        </a:lnTo>
                        <a:lnTo>
                          <a:pt x="28141" y="21255"/>
                        </a:lnTo>
                        <a:lnTo>
                          <a:pt x="26927" y="21295"/>
                        </a:lnTo>
                        <a:lnTo>
                          <a:pt x="24099" y="20203"/>
                        </a:lnTo>
                        <a:lnTo>
                          <a:pt x="23072" y="19633"/>
                        </a:lnTo>
                        <a:lnTo>
                          <a:pt x="21923" y="18386"/>
                        </a:lnTo>
                        <a:lnTo>
                          <a:pt x="21344" y="18272"/>
                        </a:lnTo>
                        <a:lnTo>
                          <a:pt x="20602" y="18687"/>
                        </a:lnTo>
                        <a:lnTo>
                          <a:pt x="20407" y="19242"/>
                        </a:lnTo>
                        <a:lnTo>
                          <a:pt x="20749" y="19926"/>
                        </a:lnTo>
                        <a:lnTo>
                          <a:pt x="20276" y="20114"/>
                        </a:lnTo>
                        <a:lnTo>
                          <a:pt x="16854" y="19649"/>
                        </a:lnTo>
                        <a:lnTo>
                          <a:pt x="16316" y="19250"/>
                        </a:lnTo>
                        <a:lnTo>
                          <a:pt x="16593" y="17905"/>
                        </a:lnTo>
                        <a:lnTo>
                          <a:pt x="18981" y="15941"/>
                        </a:lnTo>
                        <a:lnTo>
                          <a:pt x="16878" y="15346"/>
                        </a:lnTo>
                        <a:lnTo>
                          <a:pt x="16210" y="14612"/>
                        </a:lnTo>
                        <a:lnTo>
                          <a:pt x="13097" y="15851"/>
                        </a:lnTo>
                        <a:lnTo>
                          <a:pt x="11377" y="16145"/>
                        </a:lnTo>
                        <a:lnTo>
                          <a:pt x="8655" y="15281"/>
                        </a:lnTo>
                        <a:lnTo>
                          <a:pt x="8370" y="10790"/>
                        </a:lnTo>
                        <a:lnTo>
                          <a:pt x="8036" y="9152"/>
                        </a:lnTo>
                        <a:lnTo>
                          <a:pt x="6797" y="8044"/>
                        </a:lnTo>
                        <a:lnTo>
                          <a:pt x="6055" y="6862"/>
                        </a:lnTo>
                        <a:lnTo>
                          <a:pt x="4865" y="5982"/>
                        </a:lnTo>
                        <a:lnTo>
                          <a:pt x="2412" y="5077"/>
                        </a:lnTo>
                        <a:lnTo>
                          <a:pt x="407" y="2836"/>
                        </a:lnTo>
                        <a:lnTo>
                          <a:pt x="0" y="1817"/>
                        </a:lnTo>
                        <a:lnTo>
                          <a:pt x="269" y="1059"/>
                        </a:lnTo>
                        <a:lnTo>
                          <a:pt x="1491" y="0"/>
                        </a:lnTo>
                        <a:lnTo>
                          <a:pt x="8549" y="2274"/>
                        </a:lnTo>
                        <a:lnTo>
                          <a:pt x="12820" y="4409"/>
                        </a:lnTo>
                        <a:lnTo>
                          <a:pt x="16870" y="7033"/>
                        </a:lnTo>
                        <a:lnTo>
                          <a:pt x="18989" y="8981"/>
                        </a:lnTo>
                        <a:lnTo>
                          <a:pt x="19184" y="10244"/>
                        </a:lnTo>
                        <a:lnTo>
                          <a:pt x="18655" y="11507"/>
                        </a:lnTo>
                        <a:lnTo>
                          <a:pt x="17408" y="12762"/>
                        </a:lnTo>
                        <a:close/>
                      </a:path>
                    </a:pathLst>
                  </a:custGeom>
                  <a:solidFill>
                    <a:srgbClr val="D6D6D2"/>
                  </a:solidFill>
                  <a:ln w="6112" cap="rnd">
                    <a:solidFill>
                      <a:srgbClr val="FFFFFF"/>
                    </a:solidFill>
                    <a:prstDash val="solid"/>
                    <a:round/>
                  </a:ln>
                </p:spPr>
                <p:txBody>
                  <a:bodyPr rtlCol="0" anchor="ctr"/>
                  <a:lstStyle/>
                  <a:p>
                    <a:endParaRPr lang="en-US"/>
                  </a:p>
                </p:txBody>
              </p:sp>
              <p:sp>
                <p:nvSpPr>
                  <p:cNvPr id="502" name="Freeform: Shape 501">
                    <a:extLst>
                      <a:ext uri="{FF2B5EF4-FFF2-40B4-BE49-F238E27FC236}">
                        <a16:creationId xmlns:a16="http://schemas.microsoft.com/office/drawing/2014/main" id="{8FE715DC-8C12-4B0C-AF92-424C0B41D788}"/>
                      </a:ext>
                    </a:extLst>
                  </p:cNvPr>
                  <p:cNvSpPr/>
                  <p:nvPr/>
                </p:nvSpPr>
                <p:spPr>
                  <a:xfrm>
                    <a:off x="3831083" y="2295455"/>
                    <a:ext cx="14221" cy="19616"/>
                  </a:xfrm>
                  <a:custGeom>
                    <a:avLst/>
                    <a:gdLst>
                      <a:gd name="connsiteX0" fmla="*/ 12420 w 14221"/>
                      <a:gd name="connsiteY0" fmla="*/ 19136 h 19616"/>
                      <a:gd name="connsiteX1" fmla="*/ 11124 w 14221"/>
                      <a:gd name="connsiteY1" fmla="*/ 19616 h 19616"/>
                      <a:gd name="connsiteX2" fmla="*/ 9739 w 14221"/>
                      <a:gd name="connsiteY2" fmla="*/ 19347 h 19616"/>
                      <a:gd name="connsiteX3" fmla="*/ 8565 w 14221"/>
                      <a:gd name="connsiteY3" fmla="*/ 18125 h 19616"/>
                      <a:gd name="connsiteX4" fmla="*/ 7604 w 14221"/>
                      <a:gd name="connsiteY4" fmla="*/ 15941 h 19616"/>
                      <a:gd name="connsiteX5" fmla="*/ 6063 w 14221"/>
                      <a:gd name="connsiteY5" fmla="*/ 14303 h 19616"/>
                      <a:gd name="connsiteX6" fmla="*/ 2567 w 14221"/>
                      <a:gd name="connsiteY6" fmla="*/ 12257 h 19616"/>
                      <a:gd name="connsiteX7" fmla="*/ 1964 w 14221"/>
                      <a:gd name="connsiteY7" fmla="*/ 11450 h 19616"/>
                      <a:gd name="connsiteX8" fmla="*/ 978 w 14221"/>
                      <a:gd name="connsiteY8" fmla="*/ 8712 h 19616"/>
                      <a:gd name="connsiteX9" fmla="*/ 782 w 14221"/>
                      <a:gd name="connsiteY9" fmla="*/ 5966 h 19616"/>
                      <a:gd name="connsiteX10" fmla="*/ 33 w 14221"/>
                      <a:gd name="connsiteY10" fmla="*/ 3480 h 19616"/>
                      <a:gd name="connsiteX11" fmla="*/ 0 w 14221"/>
                      <a:gd name="connsiteY11" fmla="*/ 2266 h 19616"/>
                      <a:gd name="connsiteX12" fmla="*/ 644 w 14221"/>
                      <a:gd name="connsiteY12" fmla="*/ 432 h 19616"/>
                      <a:gd name="connsiteX13" fmla="*/ 3578 w 14221"/>
                      <a:gd name="connsiteY13" fmla="*/ 0 h 19616"/>
                      <a:gd name="connsiteX14" fmla="*/ 5876 w 14221"/>
                      <a:gd name="connsiteY14" fmla="*/ 725 h 19616"/>
                      <a:gd name="connsiteX15" fmla="*/ 6349 w 14221"/>
                      <a:gd name="connsiteY15" fmla="*/ 1222 h 19616"/>
                      <a:gd name="connsiteX16" fmla="*/ 7098 w 14221"/>
                      <a:gd name="connsiteY16" fmla="*/ 2282 h 19616"/>
                      <a:gd name="connsiteX17" fmla="*/ 7596 w 14221"/>
                      <a:gd name="connsiteY17" fmla="*/ 3578 h 19616"/>
                      <a:gd name="connsiteX18" fmla="*/ 10374 w 14221"/>
                      <a:gd name="connsiteY18" fmla="*/ 7090 h 19616"/>
                      <a:gd name="connsiteX19" fmla="*/ 12004 w 14221"/>
                      <a:gd name="connsiteY19" fmla="*/ 9886 h 19616"/>
                      <a:gd name="connsiteX20" fmla="*/ 14213 w 14221"/>
                      <a:gd name="connsiteY20" fmla="*/ 15647 h 19616"/>
                      <a:gd name="connsiteX21" fmla="*/ 14221 w 14221"/>
                      <a:gd name="connsiteY21" fmla="*/ 16748 h 19616"/>
                      <a:gd name="connsiteX22" fmla="*/ 13626 w 14221"/>
                      <a:gd name="connsiteY22" fmla="*/ 17905 h 19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221" h="19616">
                        <a:moveTo>
                          <a:pt x="12420" y="19136"/>
                        </a:moveTo>
                        <a:lnTo>
                          <a:pt x="11124" y="19616"/>
                        </a:lnTo>
                        <a:lnTo>
                          <a:pt x="9739" y="19347"/>
                        </a:lnTo>
                        <a:lnTo>
                          <a:pt x="8565" y="18125"/>
                        </a:lnTo>
                        <a:lnTo>
                          <a:pt x="7604" y="15941"/>
                        </a:lnTo>
                        <a:lnTo>
                          <a:pt x="6063" y="14303"/>
                        </a:lnTo>
                        <a:lnTo>
                          <a:pt x="2567" y="12257"/>
                        </a:lnTo>
                        <a:lnTo>
                          <a:pt x="1964" y="11450"/>
                        </a:lnTo>
                        <a:lnTo>
                          <a:pt x="978" y="8712"/>
                        </a:lnTo>
                        <a:lnTo>
                          <a:pt x="782" y="5966"/>
                        </a:lnTo>
                        <a:lnTo>
                          <a:pt x="33" y="3480"/>
                        </a:lnTo>
                        <a:lnTo>
                          <a:pt x="0" y="2266"/>
                        </a:lnTo>
                        <a:lnTo>
                          <a:pt x="644" y="432"/>
                        </a:lnTo>
                        <a:lnTo>
                          <a:pt x="3578" y="0"/>
                        </a:lnTo>
                        <a:lnTo>
                          <a:pt x="5876" y="725"/>
                        </a:lnTo>
                        <a:lnTo>
                          <a:pt x="6349" y="1222"/>
                        </a:lnTo>
                        <a:lnTo>
                          <a:pt x="7098" y="2282"/>
                        </a:lnTo>
                        <a:lnTo>
                          <a:pt x="7596" y="3578"/>
                        </a:lnTo>
                        <a:lnTo>
                          <a:pt x="10374" y="7090"/>
                        </a:lnTo>
                        <a:lnTo>
                          <a:pt x="12004" y="9886"/>
                        </a:lnTo>
                        <a:lnTo>
                          <a:pt x="14213" y="15647"/>
                        </a:lnTo>
                        <a:lnTo>
                          <a:pt x="14221" y="16748"/>
                        </a:lnTo>
                        <a:lnTo>
                          <a:pt x="13626" y="17905"/>
                        </a:lnTo>
                        <a:close/>
                      </a:path>
                    </a:pathLst>
                  </a:custGeom>
                  <a:solidFill>
                    <a:srgbClr val="D6D6D2"/>
                  </a:solidFill>
                  <a:ln w="6112" cap="rnd">
                    <a:solidFill>
                      <a:srgbClr val="FFFFFF"/>
                    </a:solidFill>
                    <a:prstDash val="solid"/>
                    <a:round/>
                  </a:ln>
                </p:spPr>
                <p:txBody>
                  <a:bodyPr rtlCol="0" anchor="ctr"/>
                  <a:lstStyle/>
                  <a:p>
                    <a:endParaRPr lang="en-US"/>
                  </a:p>
                </p:txBody>
              </p:sp>
              <p:sp>
                <p:nvSpPr>
                  <p:cNvPr id="503" name="Freeform: Shape 502">
                    <a:extLst>
                      <a:ext uri="{FF2B5EF4-FFF2-40B4-BE49-F238E27FC236}">
                        <a16:creationId xmlns:a16="http://schemas.microsoft.com/office/drawing/2014/main" id="{669970DE-7C6B-4073-AEE0-A70C5DB59EB6}"/>
                      </a:ext>
                    </a:extLst>
                  </p:cNvPr>
                  <p:cNvSpPr/>
                  <p:nvPr/>
                </p:nvSpPr>
                <p:spPr>
                  <a:xfrm>
                    <a:off x="3781027" y="2300003"/>
                    <a:ext cx="171934" cy="117201"/>
                  </a:xfrm>
                  <a:custGeom>
                    <a:avLst/>
                    <a:gdLst>
                      <a:gd name="connsiteX0" fmla="*/ 56404 w 171934"/>
                      <a:gd name="connsiteY0" fmla="*/ 27872 h 117201"/>
                      <a:gd name="connsiteX1" fmla="*/ 57260 w 171934"/>
                      <a:gd name="connsiteY1" fmla="*/ 28377 h 117201"/>
                      <a:gd name="connsiteX2" fmla="*/ 58327 w 171934"/>
                      <a:gd name="connsiteY2" fmla="*/ 28084 h 117201"/>
                      <a:gd name="connsiteX3" fmla="*/ 60080 w 171934"/>
                      <a:gd name="connsiteY3" fmla="*/ 25998 h 117201"/>
                      <a:gd name="connsiteX4" fmla="*/ 64016 w 171934"/>
                      <a:gd name="connsiteY4" fmla="*/ 19999 h 117201"/>
                      <a:gd name="connsiteX5" fmla="*/ 65124 w 171934"/>
                      <a:gd name="connsiteY5" fmla="*/ 19429 h 117201"/>
                      <a:gd name="connsiteX6" fmla="*/ 66779 w 171934"/>
                      <a:gd name="connsiteY6" fmla="*/ 19527 h 117201"/>
                      <a:gd name="connsiteX7" fmla="*/ 72606 w 171934"/>
                      <a:gd name="connsiteY7" fmla="*/ 23382 h 117201"/>
                      <a:gd name="connsiteX8" fmla="*/ 74749 w 171934"/>
                      <a:gd name="connsiteY8" fmla="*/ 25533 h 117201"/>
                      <a:gd name="connsiteX9" fmla="*/ 75907 w 171934"/>
                      <a:gd name="connsiteY9" fmla="*/ 28524 h 117201"/>
                      <a:gd name="connsiteX10" fmla="*/ 77105 w 171934"/>
                      <a:gd name="connsiteY10" fmla="*/ 29698 h 117201"/>
                      <a:gd name="connsiteX11" fmla="*/ 81693 w 171934"/>
                      <a:gd name="connsiteY11" fmla="*/ 31238 h 117201"/>
                      <a:gd name="connsiteX12" fmla="*/ 86094 w 171934"/>
                      <a:gd name="connsiteY12" fmla="*/ 31751 h 117201"/>
                      <a:gd name="connsiteX13" fmla="*/ 91839 w 171934"/>
                      <a:gd name="connsiteY13" fmla="*/ 33324 h 117201"/>
                      <a:gd name="connsiteX14" fmla="*/ 93917 w 171934"/>
                      <a:gd name="connsiteY14" fmla="*/ 34490 h 117201"/>
                      <a:gd name="connsiteX15" fmla="*/ 98498 w 171934"/>
                      <a:gd name="connsiteY15" fmla="*/ 40219 h 117201"/>
                      <a:gd name="connsiteX16" fmla="*/ 99027 w 171934"/>
                      <a:gd name="connsiteY16" fmla="*/ 40569 h 117201"/>
                      <a:gd name="connsiteX17" fmla="*/ 104243 w 171934"/>
                      <a:gd name="connsiteY17" fmla="*/ 42900 h 117201"/>
                      <a:gd name="connsiteX18" fmla="*/ 112254 w 171934"/>
                      <a:gd name="connsiteY18" fmla="*/ 48108 h 117201"/>
                      <a:gd name="connsiteX19" fmla="*/ 114292 w 171934"/>
                      <a:gd name="connsiteY19" fmla="*/ 48874 h 117201"/>
                      <a:gd name="connsiteX20" fmla="*/ 122075 w 171934"/>
                      <a:gd name="connsiteY20" fmla="*/ 50594 h 117201"/>
                      <a:gd name="connsiteX21" fmla="*/ 124878 w 171934"/>
                      <a:gd name="connsiteY21" fmla="*/ 51865 h 117201"/>
                      <a:gd name="connsiteX22" fmla="*/ 127576 w 171934"/>
                      <a:gd name="connsiteY22" fmla="*/ 53813 h 117201"/>
                      <a:gd name="connsiteX23" fmla="*/ 130583 w 171934"/>
                      <a:gd name="connsiteY23" fmla="*/ 57366 h 117201"/>
                      <a:gd name="connsiteX24" fmla="*/ 134096 w 171934"/>
                      <a:gd name="connsiteY24" fmla="*/ 62957 h 117201"/>
                      <a:gd name="connsiteX25" fmla="*/ 136850 w 171934"/>
                      <a:gd name="connsiteY25" fmla="*/ 71864 h 117201"/>
                      <a:gd name="connsiteX26" fmla="*/ 137070 w 171934"/>
                      <a:gd name="connsiteY26" fmla="*/ 73625 h 117201"/>
                      <a:gd name="connsiteX27" fmla="*/ 136728 w 171934"/>
                      <a:gd name="connsiteY27" fmla="*/ 74660 h 117201"/>
                      <a:gd name="connsiteX28" fmla="*/ 135734 w 171934"/>
                      <a:gd name="connsiteY28" fmla="*/ 75776 h 117201"/>
                      <a:gd name="connsiteX29" fmla="*/ 131235 w 171934"/>
                      <a:gd name="connsiteY29" fmla="*/ 79427 h 117201"/>
                      <a:gd name="connsiteX30" fmla="*/ 131618 w 171934"/>
                      <a:gd name="connsiteY30" fmla="*/ 80039 h 117201"/>
                      <a:gd name="connsiteX31" fmla="*/ 135856 w 171934"/>
                      <a:gd name="connsiteY31" fmla="*/ 79818 h 117201"/>
                      <a:gd name="connsiteX32" fmla="*/ 145293 w 171934"/>
                      <a:gd name="connsiteY32" fmla="*/ 77569 h 117201"/>
                      <a:gd name="connsiteX33" fmla="*/ 151039 w 171934"/>
                      <a:gd name="connsiteY33" fmla="*/ 79183 h 117201"/>
                      <a:gd name="connsiteX34" fmla="*/ 153036 w 171934"/>
                      <a:gd name="connsiteY34" fmla="*/ 79435 h 117201"/>
                      <a:gd name="connsiteX35" fmla="*/ 153492 w 171934"/>
                      <a:gd name="connsiteY35" fmla="*/ 79346 h 117201"/>
                      <a:gd name="connsiteX36" fmla="*/ 155578 w 171934"/>
                      <a:gd name="connsiteY36" fmla="*/ 76542 h 117201"/>
                      <a:gd name="connsiteX37" fmla="*/ 157860 w 171934"/>
                      <a:gd name="connsiteY37" fmla="*/ 76982 h 117201"/>
                      <a:gd name="connsiteX38" fmla="*/ 161202 w 171934"/>
                      <a:gd name="connsiteY38" fmla="*/ 79696 h 117201"/>
                      <a:gd name="connsiteX39" fmla="*/ 163353 w 171934"/>
                      <a:gd name="connsiteY39" fmla="*/ 81888 h 117201"/>
                      <a:gd name="connsiteX40" fmla="*/ 164315 w 171934"/>
                      <a:gd name="connsiteY40" fmla="*/ 83559 h 117201"/>
                      <a:gd name="connsiteX41" fmla="*/ 164054 w 171934"/>
                      <a:gd name="connsiteY41" fmla="*/ 84505 h 117201"/>
                      <a:gd name="connsiteX42" fmla="*/ 161845 w 171934"/>
                      <a:gd name="connsiteY42" fmla="*/ 84831 h 117201"/>
                      <a:gd name="connsiteX43" fmla="*/ 167241 w 171934"/>
                      <a:gd name="connsiteY43" fmla="*/ 86428 h 117201"/>
                      <a:gd name="connsiteX44" fmla="*/ 171935 w 171934"/>
                      <a:gd name="connsiteY44" fmla="*/ 88962 h 117201"/>
                      <a:gd name="connsiteX45" fmla="*/ 170932 w 171934"/>
                      <a:gd name="connsiteY45" fmla="*/ 90617 h 117201"/>
                      <a:gd name="connsiteX46" fmla="*/ 165920 w 171934"/>
                      <a:gd name="connsiteY46" fmla="*/ 94284 h 117201"/>
                      <a:gd name="connsiteX47" fmla="*/ 160761 w 171934"/>
                      <a:gd name="connsiteY47" fmla="*/ 97495 h 117201"/>
                      <a:gd name="connsiteX48" fmla="*/ 154772 w 171934"/>
                      <a:gd name="connsiteY48" fmla="*/ 102304 h 117201"/>
                      <a:gd name="connsiteX49" fmla="*/ 153272 w 171934"/>
                      <a:gd name="connsiteY49" fmla="*/ 103045 h 117201"/>
                      <a:gd name="connsiteX50" fmla="*/ 152465 w 171934"/>
                      <a:gd name="connsiteY50" fmla="*/ 103078 h 117201"/>
                      <a:gd name="connsiteX51" fmla="*/ 149164 w 171934"/>
                      <a:gd name="connsiteY51" fmla="*/ 102181 h 117201"/>
                      <a:gd name="connsiteX52" fmla="*/ 144397 w 171934"/>
                      <a:gd name="connsiteY52" fmla="*/ 99908 h 117201"/>
                      <a:gd name="connsiteX53" fmla="*/ 129727 w 171934"/>
                      <a:gd name="connsiteY53" fmla="*/ 94675 h 117201"/>
                      <a:gd name="connsiteX54" fmla="*/ 125196 w 171934"/>
                      <a:gd name="connsiteY54" fmla="*/ 93559 h 117201"/>
                      <a:gd name="connsiteX55" fmla="*/ 119443 w 171934"/>
                      <a:gd name="connsiteY55" fmla="*/ 92915 h 117201"/>
                      <a:gd name="connsiteX56" fmla="*/ 118603 w 171934"/>
                      <a:gd name="connsiteY56" fmla="*/ 91684 h 117201"/>
                      <a:gd name="connsiteX57" fmla="*/ 117234 w 171934"/>
                      <a:gd name="connsiteY57" fmla="*/ 83763 h 117201"/>
                      <a:gd name="connsiteX58" fmla="*/ 114642 w 171934"/>
                      <a:gd name="connsiteY58" fmla="*/ 82361 h 117201"/>
                      <a:gd name="connsiteX59" fmla="*/ 105759 w 171934"/>
                      <a:gd name="connsiteY59" fmla="*/ 80707 h 117201"/>
                      <a:gd name="connsiteX60" fmla="*/ 103167 w 171934"/>
                      <a:gd name="connsiteY60" fmla="*/ 79761 h 117201"/>
                      <a:gd name="connsiteX61" fmla="*/ 103053 w 171934"/>
                      <a:gd name="connsiteY61" fmla="*/ 78172 h 117201"/>
                      <a:gd name="connsiteX62" fmla="*/ 103616 w 171934"/>
                      <a:gd name="connsiteY62" fmla="*/ 75434 h 117201"/>
                      <a:gd name="connsiteX63" fmla="*/ 102401 w 171934"/>
                      <a:gd name="connsiteY63" fmla="*/ 74097 h 117201"/>
                      <a:gd name="connsiteX64" fmla="*/ 99410 w 171934"/>
                      <a:gd name="connsiteY64" fmla="*/ 74163 h 117201"/>
                      <a:gd name="connsiteX65" fmla="*/ 96476 w 171934"/>
                      <a:gd name="connsiteY65" fmla="*/ 74733 h 117201"/>
                      <a:gd name="connsiteX66" fmla="*/ 91758 w 171934"/>
                      <a:gd name="connsiteY66" fmla="*/ 76599 h 117201"/>
                      <a:gd name="connsiteX67" fmla="*/ 89541 w 171934"/>
                      <a:gd name="connsiteY67" fmla="*/ 78311 h 117201"/>
                      <a:gd name="connsiteX68" fmla="*/ 88710 w 171934"/>
                      <a:gd name="connsiteY68" fmla="*/ 80169 h 117201"/>
                      <a:gd name="connsiteX69" fmla="*/ 88188 w 171934"/>
                      <a:gd name="connsiteY69" fmla="*/ 84146 h 117201"/>
                      <a:gd name="connsiteX70" fmla="*/ 87601 w 171934"/>
                      <a:gd name="connsiteY70" fmla="*/ 86029 h 117201"/>
                      <a:gd name="connsiteX71" fmla="*/ 85947 w 171934"/>
                      <a:gd name="connsiteY71" fmla="*/ 88490 h 117201"/>
                      <a:gd name="connsiteX72" fmla="*/ 78661 w 171934"/>
                      <a:gd name="connsiteY72" fmla="*/ 94863 h 117201"/>
                      <a:gd name="connsiteX73" fmla="*/ 75703 w 171934"/>
                      <a:gd name="connsiteY73" fmla="*/ 96770 h 117201"/>
                      <a:gd name="connsiteX74" fmla="*/ 72753 w 171934"/>
                      <a:gd name="connsiteY74" fmla="*/ 97316 h 117201"/>
                      <a:gd name="connsiteX75" fmla="*/ 71579 w 171934"/>
                      <a:gd name="connsiteY75" fmla="*/ 97935 h 117201"/>
                      <a:gd name="connsiteX76" fmla="*/ 69599 w 171934"/>
                      <a:gd name="connsiteY76" fmla="*/ 100282 h 117201"/>
                      <a:gd name="connsiteX77" fmla="*/ 66657 w 171934"/>
                      <a:gd name="connsiteY77" fmla="*/ 106036 h 117201"/>
                      <a:gd name="connsiteX78" fmla="*/ 65459 w 171934"/>
                      <a:gd name="connsiteY78" fmla="*/ 107691 h 117201"/>
                      <a:gd name="connsiteX79" fmla="*/ 63519 w 171934"/>
                      <a:gd name="connsiteY79" fmla="*/ 109378 h 117201"/>
                      <a:gd name="connsiteX80" fmla="*/ 59477 w 171934"/>
                      <a:gd name="connsiteY80" fmla="*/ 111945 h 117201"/>
                      <a:gd name="connsiteX81" fmla="*/ 55369 w 171934"/>
                      <a:gd name="connsiteY81" fmla="*/ 113998 h 117201"/>
                      <a:gd name="connsiteX82" fmla="*/ 48499 w 171934"/>
                      <a:gd name="connsiteY82" fmla="*/ 116386 h 117201"/>
                      <a:gd name="connsiteX83" fmla="*/ 44669 w 171934"/>
                      <a:gd name="connsiteY83" fmla="*/ 117201 h 117201"/>
                      <a:gd name="connsiteX84" fmla="*/ 42118 w 171934"/>
                      <a:gd name="connsiteY84" fmla="*/ 116403 h 117201"/>
                      <a:gd name="connsiteX85" fmla="*/ 40366 w 171934"/>
                      <a:gd name="connsiteY85" fmla="*/ 110959 h 117201"/>
                      <a:gd name="connsiteX86" fmla="*/ 36698 w 171934"/>
                      <a:gd name="connsiteY86" fmla="*/ 94944 h 117201"/>
                      <a:gd name="connsiteX87" fmla="*/ 36087 w 171934"/>
                      <a:gd name="connsiteY87" fmla="*/ 93852 h 117201"/>
                      <a:gd name="connsiteX88" fmla="*/ 35337 w 171934"/>
                      <a:gd name="connsiteY88" fmla="*/ 93184 h 117201"/>
                      <a:gd name="connsiteX89" fmla="*/ 34449 w 171934"/>
                      <a:gd name="connsiteY89" fmla="*/ 92915 h 117201"/>
                      <a:gd name="connsiteX90" fmla="*/ 22126 w 171934"/>
                      <a:gd name="connsiteY90" fmla="*/ 94985 h 117201"/>
                      <a:gd name="connsiteX91" fmla="*/ 15329 w 171934"/>
                      <a:gd name="connsiteY91" fmla="*/ 94765 h 117201"/>
                      <a:gd name="connsiteX92" fmla="*/ 8598 w 171934"/>
                      <a:gd name="connsiteY92" fmla="*/ 98359 h 117201"/>
                      <a:gd name="connsiteX93" fmla="*/ 6903 w 171934"/>
                      <a:gd name="connsiteY93" fmla="*/ 98628 h 117201"/>
                      <a:gd name="connsiteX94" fmla="*/ 3488 w 171934"/>
                      <a:gd name="connsiteY94" fmla="*/ 98506 h 117201"/>
                      <a:gd name="connsiteX95" fmla="*/ 1035 w 171934"/>
                      <a:gd name="connsiteY95" fmla="*/ 97943 h 117201"/>
                      <a:gd name="connsiteX96" fmla="*/ 416 w 171934"/>
                      <a:gd name="connsiteY96" fmla="*/ 97544 h 117201"/>
                      <a:gd name="connsiteX97" fmla="*/ 0 w 171934"/>
                      <a:gd name="connsiteY97" fmla="*/ 95979 h 117201"/>
                      <a:gd name="connsiteX98" fmla="*/ 114 w 171934"/>
                      <a:gd name="connsiteY98" fmla="*/ 94341 h 117201"/>
                      <a:gd name="connsiteX99" fmla="*/ 978 w 171934"/>
                      <a:gd name="connsiteY99" fmla="*/ 92573 h 117201"/>
                      <a:gd name="connsiteX100" fmla="*/ 4018 w 171934"/>
                      <a:gd name="connsiteY100" fmla="*/ 87781 h 117201"/>
                      <a:gd name="connsiteX101" fmla="*/ 6487 w 171934"/>
                      <a:gd name="connsiteY101" fmla="*/ 84814 h 117201"/>
                      <a:gd name="connsiteX102" fmla="*/ 7628 w 171934"/>
                      <a:gd name="connsiteY102" fmla="*/ 83901 h 117201"/>
                      <a:gd name="connsiteX103" fmla="*/ 19144 w 171934"/>
                      <a:gd name="connsiteY103" fmla="*/ 78580 h 117201"/>
                      <a:gd name="connsiteX104" fmla="*/ 21955 w 171934"/>
                      <a:gd name="connsiteY104" fmla="*/ 76827 h 117201"/>
                      <a:gd name="connsiteX105" fmla="*/ 23357 w 171934"/>
                      <a:gd name="connsiteY105" fmla="*/ 75026 h 117201"/>
                      <a:gd name="connsiteX106" fmla="*/ 23357 w 171934"/>
                      <a:gd name="connsiteY106" fmla="*/ 73176 h 117201"/>
                      <a:gd name="connsiteX107" fmla="*/ 22811 w 171934"/>
                      <a:gd name="connsiteY107" fmla="*/ 70805 h 117201"/>
                      <a:gd name="connsiteX108" fmla="*/ 20814 w 171934"/>
                      <a:gd name="connsiteY108" fmla="*/ 65027 h 117201"/>
                      <a:gd name="connsiteX109" fmla="*/ 20309 w 171934"/>
                      <a:gd name="connsiteY109" fmla="*/ 59729 h 117201"/>
                      <a:gd name="connsiteX110" fmla="*/ 20325 w 171934"/>
                      <a:gd name="connsiteY110" fmla="*/ 57105 h 117201"/>
                      <a:gd name="connsiteX111" fmla="*/ 21083 w 171934"/>
                      <a:gd name="connsiteY111" fmla="*/ 53055 h 117201"/>
                      <a:gd name="connsiteX112" fmla="*/ 23960 w 171934"/>
                      <a:gd name="connsiteY112" fmla="*/ 43234 h 117201"/>
                      <a:gd name="connsiteX113" fmla="*/ 24938 w 171934"/>
                      <a:gd name="connsiteY113" fmla="*/ 38434 h 117201"/>
                      <a:gd name="connsiteX114" fmla="*/ 26772 w 171934"/>
                      <a:gd name="connsiteY114" fmla="*/ 21263 h 117201"/>
                      <a:gd name="connsiteX115" fmla="*/ 27758 w 171934"/>
                      <a:gd name="connsiteY115" fmla="*/ 16332 h 117201"/>
                      <a:gd name="connsiteX116" fmla="*/ 29184 w 171934"/>
                      <a:gd name="connsiteY116" fmla="*/ 11817 h 117201"/>
                      <a:gd name="connsiteX117" fmla="*/ 30561 w 171934"/>
                      <a:gd name="connsiteY117" fmla="*/ 9103 h 117201"/>
                      <a:gd name="connsiteX118" fmla="*/ 34221 w 171934"/>
                      <a:gd name="connsiteY118" fmla="*/ 3692 h 117201"/>
                      <a:gd name="connsiteX119" fmla="*/ 37073 w 171934"/>
                      <a:gd name="connsiteY119" fmla="*/ 1516 h 117201"/>
                      <a:gd name="connsiteX120" fmla="*/ 40651 w 171934"/>
                      <a:gd name="connsiteY120" fmla="*/ 0 h 117201"/>
                      <a:gd name="connsiteX121" fmla="*/ 41433 w 171934"/>
                      <a:gd name="connsiteY121" fmla="*/ 179 h 117201"/>
                      <a:gd name="connsiteX122" fmla="*/ 42118 w 171934"/>
                      <a:gd name="connsiteY122" fmla="*/ 815 h 117201"/>
                      <a:gd name="connsiteX123" fmla="*/ 43438 w 171934"/>
                      <a:gd name="connsiteY123" fmla="*/ 3105 h 117201"/>
                      <a:gd name="connsiteX124" fmla="*/ 48434 w 171934"/>
                      <a:gd name="connsiteY124" fmla="*/ 5240 h 117201"/>
                      <a:gd name="connsiteX125" fmla="*/ 50039 w 171934"/>
                      <a:gd name="connsiteY125" fmla="*/ 7302 h 117201"/>
                      <a:gd name="connsiteX126" fmla="*/ 51180 w 171934"/>
                      <a:gd name="connsiteY126" fmla="*/ 9584 h 117201"/>
                      <a:gd name="connsiteX127" fmla="*/ 51791 w 171934"/>
                      <a:gd name="connsiteY127" fmla="*/ 12567 h 117201"/>
                      <a:gd name="connsiteX128" fmla="*/ 51180 w 171934"/>
                      <a:gd name="connsiteY128" fmla="*/ 13863 h 117201"/>
                      <a:gd name="connsiteX129" fmla="*/ 48801 w 171934"/>
                      <a:gd name="connsiteY129" fmla="*/ 15827 h 117201"/>
                      <a:gd name="connsiteX130" fmla="*/ 48385 w 171934"/>
                      <a:gd name="connsiteY130" fmla="*/ 16658 h 117201"/>
                      <a:gd name="connsiteX131" fmla="*/ 48466 w 171934"/>
                      <a:gd name="connsiteY131" fmla="*/ 17334 h 117201"/>
                      <a:gd name="connsiteX132" fmla="*/ 53022 w 171934"/>
                      <a:gd name="connsiteY132" fmla="*/ 20415 h 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171934" h="117201">
                        <a:moveTo>
                          <a:pt x="56404" y="27872"/>
                        </a:moveTo>
                        <a:lnTo>
                          <a:pt x="57260" y="28377"/>
                        </a:lnTo>
                        <a:lnTo>
                          <a:pt x="58327" y="28084"/>
                        </a:lnTo>
                        <a:lnTo>
                          <a:pt x="60080" y="25998"/>
                        </a:lnTo>
                        <a:lnTo>
                          <a:pt x="64016" y="19999"/>
                        </a:lnTo>
                        <a:lnTo>
                          <a:pt x="65124" y="19429"/>
                        </a:lnTo>
                        <a:lnTo>
                          <a:pt x="66779" y="19527"/>
                        </a:lnTo>
                        <a:lnTo>
                          <a:pt x="72606" y="23382"/>
                        </a:lnTo>
                        <a:lnTo>
                          <a:pt x="74749" y="25533"/>
                        </a:lnTo>
                        <a:lnTo>
                          <a:pt x="75907" y="28524"/>
                        </a:lnTo>
                        <a:lnTo>
                          <a:pt x="77105" y="29698"/>
                        </a:lnTo>
                        <a:lnTo>
                          <a:pt x="81693" y="31238"/>
                        </a:lnTo>
                        <a:lnTo>
                          <a:pt x="86094" y="31751"/>
                        </a:lnTo>
                        <a:lnTo>
                          <a:pt x="91839" y="33324"/>
                        </a:lnTo>
                        <a:lnTo>
                          <a:pt x="93917" y="34490"/>
                        </a:lnTo>
                        <a:lnTo>
                          <a:pt x="98498" y="40219"/>
                        </a:lnTo>
                        <a:lnTo>
                          <a:pt x="99027" y="40569"/>
                        </a:lnTo>
                        <a:lnTo>
                          <a:pt x="104243" y="42900"/>
                        </a:lnTo>
                        <a:lnTo>
                          <a:pt x="112254" y="48108"/>
                        </a:lnTo>
                        <a:lnTo>
                          <a:pt x="114292" y="48874"/>
                        </a:lnTo>
                        <a:lnTo>
                          <a:pt x="122075" y="50594"/>
                        </a:lnTo>
                        <a:lnTo>
                          <a:pt x="124878" y="51865"/>
                        </a:lnTo>
                        <a:lnTo>
                          <a:pt x="127576" y="53813"/>
                        </a:lnTo>
                        <a:lnTo>
                          <a:pt x="130583" y="57366"/>
                        </a:lnTo>
                        <a:lnTo>
                          <a:pt x="134096" y="62957"/>
                        </a:lnTo>
                        <a:lnTo>
                          <a:pt x="136850" y="71864"/>
                        </a:lnTo>
                        <a:lnTo>
                          <a:pt x="137070" y="73625"/>
                        </a:lnTo>
                        <a:lnTo>
                          <a:pt x="136728" y="74660"/>
                        </a:lnTo>
                        <a:lnTo>
                          <a:pt x="135734" y="75776"/>
                        </a:lnTo>
                        <a:lnTo>
                          <a:pt x="131235" y="79427"/>
                        </a:lnTo>
                        <a:lnTo>
                          <a:pt x="131618" y="80039"/>
                        </a:lnTo>
                        <a:lnTo>
                          <a:pt x="135856" y="79818"/>
                        </a:lnTo>
                        <a:lnTo>
                          <a:pt x="145293" y="77569"/>
                        </a:lnTo>
                        <a:lnTo>
                          <a:pt x="151039" y="79183"/>
                        </a:lnTo>
                        <a:lnTo>
                          <a:pt x="153036" y="79435"/>
                        </a:lnTo>
                        <a:lnTo>
                          <a:pt x="153492" y="79346"/>
                        </a:lnTo>
                        <a:lnTo>
                          <a:pt x="155578" y="76542"/>
                        </a:lnTo>
                        <a:lnTo>
                          <a:pt x="157860" y="76982"/>
                        </a:lnTo>
                        <a:lnTo>
                          <a:pt x="161202" y="79696"/>
                        </a:lnTo>
                        <a:lnTo>
                          <a:pt x="163353" y="81888"/>
                        </a:lnTo>
                        <a:lnTo>
                          <a:pt x="164315" y="83559"/>
                        </a:lnTo>
                        <a:lnTo>
                          <a:pt x="164054" y="84505"/>
                        </a:lnTo>
                        <a:lnTo>
                          <a:pt x="161845" y="84831"/>
                        </a:lnTo>
                        <a:lnTo>
                          <a:pt x="167241" y="86428"/>
                        </a:lnTo>
                        <a:lnTo>
                          <a:pt x="171935" y="88962"/>
                        </a:lnTo>
                        <a:lnTo>
                          <a:pt x="170932" y="90617"/>
                        </a:lnTo>
                        <a:lnTo>
                          <a:pt x="165920" y="94284"/>
                        </a:lnTo>
                        <a:lnTo>
                          <a:pt x="160761" y="97495"/>
                        </a:lnTo>
                        <a:lnTo>
                          <a:pt x="154772" y="102304"/>
                        </a:lnTo>
                        <a:lnTo>
                          <a:pt x="153272" y="103045"/>
                        </a:lnTo>
                        <a:lnTo>
                          <a:pt x="152465" y="103078"/>
                        </a:lnTo>
                        <a:lnTo>
                          <a:pt x="149164" y="102181"/>
                        </a:lnTo>
                        <a:lnTo>
                          <a:pt x="144397" y="99908"/>
                        </a:lnTo>
                        <a:lnTo>
                          <a:pt x="129727" y="94675"/>
                        </a:lnTo>
                        <a:lnTo>
                          <a:pt x="125196" y="93559"/>
                        </a:lnTo>
                        <a:lnTo>
                          <a:pt x="119443" y="92915"/>
                        </a:lnTo>
                        <a:lnTo>
                          <a:pt x="118603" y="91684"/>
                        </a:lnTo>
                        <a:lnTo>
                          <a:pt x="117234" y="83763"/>
                        </a:lnTo>
                        <a:lnTo>
                          <a:pt x="114642" y="82361"/>
                        </a:lnTo>
                        <a:lnTo>
                          <a:pt x="105759" y="80707"/>
                        </a:lnTo>
                        <a:lnTo>
                          <a:pt x="103167" y="79761"/>
                        </a:lnTo>
                        <a:lnTo>
                          <a:pt x="103053" y="78172"/>
                        </a:lnTo>
                        <a:lnTo>
                          <a:pt x="103616" y="75434"/>
                        </a:lnTo>
                        <a:lnTo>
                          <a:pt x="102401" y="74097"/>
                        </a:lnTo>
                        <a:lnTo>
                          <a:pt x="99410" y="74163"/>
                        </a:lnTo>
                        <a:lnTo>
                          <a:pt x="96476" y="74733"/>
                        </a:lnTo>
                        <a:lnTo>
                          <a:pt x="91758" y="76599"/>
                        </a:lnTo>
                        <a:lnTo>
                          <a:pt x="89541" y="78311"/>
                        </a:lnTo>
                        <a:lnTo>
                          <a:pt x="88710" y="80169"/>
                        </a:lnTo>
                        <a:lnTo>
                          <a:pt x="88188" y="84146"/>
                        </a:lnTo>
                        <a:lnTo>
                          <a:pt x="87601" y="86029"/>
                        </a:lnTo>
                        <a:lnTo>
                          <a:pt x="85947" y="88490"/>
                        </a:lnTo>
                        <a:lnTo>
                          <a:pt x="78661" y="94863"/>
                        </a:lnTo>
                        <a:lnTo>
                          <a:pt x="75703" y="96770"/>
                        </a:lnTo>
                        <a:lnTo>
                          <a:pt x="72753" y="97316"/>
                        </a:lnTo>
                        <a:lnTo>
                          <a:pt x="71579" y="97935"/>
                        </a:lnTo>
                        <a:lnTo>
                          <a:pt x="69599" y="100282"/>
                        </a:lnTo>
                        <a:lnTo>
                          <a:pt x="66657" y="106036"/>
                        </a:lnTo>
                        <a:lnTo>
                          <a:pt x="65459" y="107691"/>
                        </a:lnTo>
                        <a:lnTo>
                          <a:pt x="63519" y="109378"/>
                        </a:lnTo>
                        <a:lnTo>
                          <a:pt x="59477" y="111945"/>
                        </a:lnTo>
                        <a:lnTo>
                          <a:pt x="55369" y="113998"/>
                        </a:lnTo>
                        <a:lnTo>
                          <a:pt x="48499" y="116386"/>
                        </a:lnTo>
                        <a:lnTo>
                          <a:pt x="44669" y="117201"/>
                        </a:lnTo>
                        <a:lnTo>
                          <a:pt x="42118" y="116403"/>
                        </a:lnTo>
                        <a:lnTo>
                          <a:pt x="40366" y="110959"/>
                        </a:lnTo>
                        <a:lnTo>
                          <a:pt x="36698" y="94944"/>
                        </a:lnTo>
                        <a:lnTo>
                          <a:pt x="36087" y="93852"/>
                        </a:lnTo>
                        <a:lnTo>
                          <a:pt x="35337" y="93184"/>
                        </a:lnTo>
                        <a:lnTo>
                          <a:pt x="34449" y="92915"/>
                        </a:lnTo>
                        <a:lnTo>
                          <a:pt x="22126" y="94985"/>
                        </a:lnTo>
                        <a:lnTo>
                          <a:pt x="15329" y="94765"/>
                        </a:lnTo>
                        <a:lnTo>
                          <a:pt x="8598" y="98359"/>
                        </a:lnTo>
                        <a:lnTo>
                          <a:pt x="6903" y="98628"/>
                        </a:lnTo>
                        <a:lnTo>
                          <a:pt x="3488" y="98506"/>
                        </a:lnTo>
                        <a:lnTo>
                          <a:pt x="1035" y="97943"/>
                        </a:lnTo>
                        <a:lnTo>
                          <a:pt x="416" y="97544"/>
                        </a:lnTo>
                        <a:lnTo>
                          <a:pt x="0" y="95979"/>
                        </a:lnTo>
                        <a:lnTo>
                          <a:pt x="114" y="94341"/>
                        </a:lnTo>
                        <a:lnTo>
                          <a:pt x="978" y="92573"/>
                        </a:lnTo>
                        <a:lnTo>
                          <a:pt x="4018" y="87781"/>
                        </a:lnTo>
                        <a:lnTo>
                          <a:pt x="6487" y="84814"/>
                        </a:lnTo>
                        <a:lnTo>
                          <a:pt x="7628" y="83901"/>
                        </a:lnTo>
                        <a:lnTo>
                          <a:pt x="19144" y="78580"/>
                        </a:lnTo>
                        <a:lnTo>
                          <a:pt x="21955" y="76827"/>
                        </a:lnTo>
                        <a:lnTo>
                          <a:pt x="23357" y="75026"/>
                        </a:lnTo>
                        <a:lnTo>
                          <a:pt x="23357" y="73176"/>
                        </a:lnTo>
                        <a:lnTo>
                          <a:pt x="22811" y="70805"/>
                        </a:lnTo>
                        <a:lnTo>
                          <a:pt x="20814" y="65027"/>
                        </a:lnTo>
                        <a:lnTo>
                          <a:pt x="20309" y="59729"/>
                        </a:lnTo>
                        <a:lnTo>
                          <a:pt x="20325" y="57105"/>
                        </a:lnTo>
                        <a:lnTo>
                          <a:pt x="21083" y="53055"/>
                        </a:lnTo>
                        <a:lnTo>
                          <a:pt x="23960" y="43234"/>
                        </a:lnTo>
                        <a:lnTo>
                          <a:pt x="24938" y="38434"/>
                        </a:lnTo>
                        <a:lnTo>
                          <a:pt x="26772" y="21263"/>
                        </a:lnTo>
                        <a:lnTo>
                          <a:pt x="27758" y="16332"/>
                        </a:lnTo>
                        <a:lnTo>
                          <a:pt x="29184" y="11817"/>
                        </a:lnTo>
                        <a:lnTo>
                          <a:pt x="30561" y="9103"/>
                        </a:lnTo>
                        <a:lnTo>
                          <a:pt x="34221" y="3692"/>
                        </a:lnTo>
                        <a:lnTo>
                          <a:pt x="37073" y="1516"/>
                        </a:lnTo>
                        <a:lnTo>
                          <a:pt x="40651" y="0"/>
                        </a:lnTo>
                        <a:lnTo>
                          <a:pt x="41433" y="179"/>
                        </a:lnTo>
                        <a:lnTo>
                          <a:pt x="42118" y="815"/>
                        </a:lnTo>
                        <a:lnTo>
                          <a:pt x="43438" y="3105"/>
                        </a:lnTo>
                        <a:lnTo>
                          <a:pt x="48434" y="5240"/>
                        </a:lnTo>
                        <a:lnTo>
                          <a:pt x="50039" y="7302"/>
                        </a:lnTo>
                        <a:lnTo>
                          <a:pt x="51180" y="9584"/>
                        </a:lnTo>
                        <a:lnTo>
                          <a:pt x="51791" y="12567"/>
                        </a:lnTo>
                        <a:lnTo>
                          <a:pt x="51180" y="13863"/>
                        </a:lnTo>
                        <a:lnTo>
                          <a:pt x="48801" y="15827"/>
                        </a:lnTo>
                        <a:lnTo>
                          <a:pt x="48385" y="16658"/>
                        </a:lnTo>
                        <a:lnTo>
                          <a:pt x="48466" y="17334"/>
                        </a:lnTo>
                        <a:lnTo>
                          <a:pt x="53022" y="20415"/>
                        </a:lnTo>
                        <a:close/>
                      </a:path>
                    </a:pathLst>
                  </a:custGeom>
                  <a:solidFill>
                    <a:srgbClr val="D6D6D2"/>
                  </a:solidFill>
                  <a:ln w="8150" cap="flat">
                    <a:noFill/>
                    <a:prstDash val="solid"/>
                    <a:miter/>
                  </a:ln>
                </p:spPr>
                <p:txBody>
                  <a:bodyPr rtlCol="0" anchor="ctr"/>
                  <a:lstStyle/>
                  <a:p>
                    <a:endParaRPr lang="en-US"/>
                  </a:p>
                </p:txBody>
              </p:sp>
              <p:sp>
                <p:nvSpPr>
                  <p:cNvPr id="504" name="Freeform: Shape 503">
                    <a:extLst>
                      <a:ext uri="{FF2B5EF4-FFF2-40B4-BE49-F238E27FC236}">
                        <a16:creationId xmlns:a16="http://schemas.microsoft.com/office/drawing/2014/main" id="{BD7F4B32-1AB8-4AAD-BCE4-0FECDA9A6A15}"/>
                      </a:ext>
                    </a:extLst>
                  </p:cNvPr>
                  <p:cNvSpPr/>
                  <p:nvPr/>
                </p:nvSpPr>
                <p:spPr>
                  <a:xfrm>
                    <a:off x="3995740" y="2401923"/>
                    <a:ext cx="25036" cy="15500"/>
                  </a:xfrm>
                  <a:custGeom>
                    <a:avLst/>
                    <a:gdLst>
                      <a:gd name="connsiteX0" fmla="*/ 16373 w 25036"/>
                      <a:gd name="connsiteY0" fmla="*/ 782 h 15500"/>
                      <a:gd name="connsiteX1" fmla="*/ 18476 w 25036"/>
                      <a:gd name="connsiteY1" fmla="*/ 2551 h 15500"/>
                      <a:gd name="connsiteX2" fmla="*/ 20660 w 25036"/>
                      <a:gd name="connsiteY2" fmla="*/ 2429 h 15500"/>
                      <a:gd name="connsiteX3" fmla="*/ 21882 w 25036"/>
                      <a:gd name="connsiteY3" fmla="*/ 3871 h 15500"/>
                      <a:gd name="connsiteX4" fmla="*/ 24759 w 25036"/>
                      <a:gd name="connsiteY4" fmla="*/ 8370 h 15500"/>
                      <a:gd name="connsiteX5" fmla="*/ 25036 w 25036"/>
                      <a:gd name="connsiteY5" fmla="*/ 9120 h 15500"/>
                      <a:gd name="connsiteX6" fmla="*/ 24906 w 25036"/>
                      <a:gd name="connsiteY6" fmla="*/ 10578 h 15500"/>
                      <a:gd name="connsiteX7" fmla="*/ 23382 w 25036"/>
                      <a:gd name="connsiteY7" fmla="*/ 12445 h 15500"/>
                      <a:gd name="connsiteX8" fmla="*/ 21801 w 25036"/>
                      <a:gd name="connsiteY8" fmla="*/ 13423 h 15500"/>
                      <a:gd name="connsiteX9" fmla="*/ 18484 w 25036"/>
                      <a:gd name="connsiteY9" fmla="*/ 14873 h 15500"/>
                      <a:gd name="connsiteX10" fmla="*/ 14743 w 25036"/>
                      <a:gd name="connsiteY10" fmla="*/ 15501 h 15500"/>
                      <a:gd name="connsiteX11" fmla="*/ 12706 w 25036"/>
                      <a:gd name="connsiteY11" fmla="*/ 14490 h 15500"/>
                      <a:gd name="connsiteX12" fmla="*/ 6968 w 25036"/>
                      <a:gd name="connsiteY12" fmla="*/ 10326 h 15500"/>
                      <a:gd name="connsiteX13" fmla="*/ 1687 w 25036"/>
                      <a:gd name="connsiteY13" fmla="*/ 5444 h 15500"/>
                      <a:gd name="connsiteX14" fmla="*/ 0 w 25036"/>
                      <a:gd name="connsiteY14" fmla="*/ 2722 h 15500"/>
                      <a:gd name="connsiteX15" fmla="*/ 725 w 25036"/>
                      <a:gd name="connsiteY15" fmla="*/ 1589 h 15500"/>
                      <a:gd name="connsiteX16" fmla="*/ 2958 w 25036"/>
                      <a:gd name="connsiteY16" fmla="*/ 807 h 15500"/>
                      <a:gd name="connsiteX17" fmla="*/ 7490 w 25036"/>
                      <a:gd name="connsiteY17" fmla="*/ 0 h 15500"/>
                      <a:gd name="connsiteX18" fmla="*/ 14955 w 25036"/>
                      <a:gd name="connsiteY18" fmla="*/ 432 h 1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5036" h="15500">
                        <a:moveTo>
                          <a:pt x="16373" y="782"/>
                        </a:moveTo>
                        <a:lnTo>
                          <a:pt x="18476" y="2551"/>
                        </a:lnTo>
                        <a:lnTo>
                          <a:pt x="20660" y="2429"/>
                        </a:lnTo>
                        <a:lnTo>
                          <a:pt x="21882" y="3871"/>
                        </a:lnTo>
                        <a:lnTo>
                          <a:pt x="24759" y="8370"/>
                        </a:lnTo>
                        <a:lnTo>
                          <a:pt x="25036" y="9120"/>
                        </a:lnTo>
                        <a:lnTo>
                          <a:pt x="24906" y="10578"/>
                        </a:lnTo>
                        <a:lnTo>
                          <a:pt x="23382" y="12445"/>
                        </a:lnTo>
                        <a:lnTo>
                          <a:pt x="21801" y="13423"/>
                        </a:lnTo>
                        <a:lnTo>
                          <a:pt x="18484" y="14873"/>
                        </a:lnTo>
                        <a:lnTo>
                          <a:pt x="14743" y="15501"/>
                        </a:lnTo>
                        <a:lnTo>
                          <a:pt x="12706" y="14490"/>
                        </a:lnTo>
                        <a:lnTo>
                          <a:pt x="6968" y="10326"/>
                        </a:lnTo>
                        <a:lnTo>
                          <a:pt x="1687" y="5444"/>
                        </a:lnTo>
                        <a:lnTo>
                          <a:pt x="0" y="2722"/>
                        </a:lnTo>
                        <a:lnTo>
                          <a:pt x="725" y="1589"/>
                        </a:lnTo>
                        <a:lnTo>
                          <a:pt x="2958" y="807"/>
                        </a:lnTo>
                        <a:lnTo>
                          <a:pt x="7490" y="0"/>
                        </a:lnTo>
                        <a:lnTo>
                          <a:pt x="14955" y="432"/>
                        </a:lnTo>
                        <a:close/>
                      </a:path>
                    </a:pathLst>
                  </a:custGeom>
                  <a:solidFill>
                    <a:srgbClr val="D6D6D2"/>
                  </a:solidFill>
                  <a:ln w="6112" cap="rnd">
                    <a:solidFill>
                      <a:srgbClr val="FFFFFF"/>
                    </a:solidFill>
                    <a:prstDash val="solid"/>
                    <a:round/>
                  </a:ln>
                </p:spPr>
                <p:txBody>
                  <a:bodyPr rtlCol="0" anchor="ctr"/>
                  <a:lstStyle/>
                  <a:p>
                    <a:endParaRPr lang="en-US"/>
                  </a:p>
                </p:txBody>
              </p:sp>
              <p:sp>
                <p:nvSpPr>
                  <p:cNvPr id="505" name="Freeform: Shape 504">
                    <a:extLst>
                      <a:ext uri="{FF2B5EF4-FFF2-40B4-BE49-F238E27FC236}">
                        <a16:creationId xmlns:a16="http://schemas.microsoft.com/office/drawing/2014/main" id="{542E30D7-364D-41E1-A76C-39E4547BDDC0}"/>
                      </a:ext>
                    </a:extLst>
                  </p:cNvPr>
                  <p:cNvSpPr/>
                  <p:nvPr/>
                </p:nvSpPr>
                <p:spPr>
                  <a:xfrm>
                    <a:off x="3862410" y="2423055"/>
                    <a:ext cx="48702" cy="33503"/>
                  </a:xfrm>
                  <a:custGeom>
                    <a:avLst/>
                    <a:gdLst>
                      <a:gd name="connsiteX0" fmla="*/ 47423 w 48702"/>
                      <a:gd name="connsiteY0" fmla="*/ 970 h 33503"/>
                      <a:gd name="connsiteX1" fmla="*/ 48409 w 48702"/>
                      <a:gd name="connsiteY1" fmla="*/ 2119 h 33503"/>
                      <a:gd name="connsiteX2" fmla="*/ 48703 w 48702"/>
                      <a:gd name="connsiteY2" fmla="*/ 3855 h 33503"/>
                      <a:gd name="connsiteX3" fmla="*/ 48312 w 48702"/>
                      <a:gd name="connsiteY3" fmla="*/ 6177 h 33503"/>
                      <a:gd name="connsiteX4" fmla="*/ 47676 w 48702"/>
                      <a:gd name="connsiteY4" fmla="*/ 8280 h 33503"/>
                      <a:gd name="connsiteX5" fmla="*/ 46788 w 48702"/>
                      <a:gd name="connsiteY5" fmla="*/ 10179 h 33503"/>
                      <a:gd name="connsiteX6" fmla="*/ 44612 w 48702"/>
                      <a:gd name="connsiteY6" fmla="*/ 13374 h 33503"/>
                      <a:gd name="connsiteX7" fmla="*/ 37807 w 48702"/>
                      <a:gd name="connsiteY7" fmla="*/ 18834 h 33503"/>
                      <a:gd name="connsiteX8" fmla="*/ 35256 w 48702"/>
                      <a:gd name="connsiteY8" fmla="*/ 21800 h 33503"/>
                      <a:gd name="connsiteX9" fmla="*/ 33341 w 48702"/>
                      <a:gd name="connsiteY9" fmla="*/ 23577 h 33503"/>
                      <a:gd name="connsiteX10" fmla="*/ 22241 w 48702"/>
                      <a:gd name="connsiteY10" fmla="*/ 31482 h 33503"/>
                      <a:gd name="connsiteX11" fmla="*/ 20863 w 48702"/>
                      <a:gd name="connsiteY11" fmla="*/ 31865 h 33503"/>
                      <a:gd name="connsiteX12" fmla="*/ 19413 w 48702"/>
                      <a:gd name="connsiteY12" fmla="*/ 31719 h 33503"/>
                      <a:gd name="connsiteX13" fmla="*/ 16365 w 48702"/>
                      <a:gd name="connsiteY13" fmla="*/ 30537 h 33503"/>
                      <a:gd name="connsiteX14" fmla="*/ 13284 w 48702"/>
                      <a:gd name="connsiteY14" fmla="*/ 30325 h 33503"/>
                      <a:gd name="connsiteX15" fmla="*/ 5297 w 48702"/>
                      <a:gd name="connsiteY15" fmla="*/ 33504 h 33503"/>
                      <a:gd name="connsiteX16" fmla="*/ 4914 w 48702"/>
                      <a:gd name="connsiteY16" fmla="*/ 32966 h 33503"/>
                      <a:gd name="connsiteX17" fmla="*/ 4556 w 48702"/>
                      <a:gd name="connsiteY17" fmla="*/ 29551 h 33503"/>
                      <a:gd name="connsiteX18" fmla="*/ 3757 w 48702"/>
                      <a:gd name="connsiteY18" fmla="*/ 27652 h 33503"/>
                      <a:gd name="connsiteX19" fmla="*/ 228 w 48702"/>
                      <a:gd name="connsiteY19" fmla="*/ 23610 h 33503"/>
                      <a:gd name="connsiteX20" fmla="*/ 0 w 48702"/>
                      <a:gd name="connsiteY20" fmla="*/ 22664 h 33503"/>
                      <a:gd name="connsiteX21" fmla="*/ 49 w 48702"/>
                      <a:gd name="connsiteY21" fmla="*/ 21491 h 33503"/>
                      <a:gd name="connsiteX22" fmla="*/ 326 w 48702"/>
                      <a:gd name="connsiteY22" fmla="*/ 20578 h 33503"/>
                      <a:gd name="connsiteX23" fmla="*/ 4295 w 48702"/>
                      <a:gd name="connsiteY23" fmla="*/ 16797 h 33503"/>
                      <a:gd name="connsiteX24" fmla="*/ 13292 w 48702"/>
                      <a:gd name="connsiteY24" fmla="*/ 2991 h 33503"/>
                      <a:gd name="connsiteX25" fmla="*/ 15452 w 48702"/>
                      <a:gd name="connsiteY25" fmla="*/ 2298 h 33503"/>
                      <a:gd name="connsiteX26" fmla="*/ 19877 w 48702"/>
                      <a:gd name="connsiteY26" fmla="*/ 3847 h 33503"/>
                      <a:gd name="connsiteX27" fmla="*/ 21980 w 48702"/>
                      <a:gd name="connsiteY27" fmla="*/ 4344 h 33503"/>
                      <a:gd name="connsiteX28" fmla="*/ 23479 w 48702"/>
                      <a:gd name="connsiteY28" fmla="*/ 4270 h 33503"/>
                      <a:gd name="connsiteX29" fmla="*/ 29918 w 48702"/>
                      <a:gd name="connsiteY29" fmla="*/ 1361 h 33503"/>
                      <a:gd name="connsiteX30" fmla="*/ 36038 w 48702"/>
                      <a:gd name="connsiteY30" fmla="*/ 1711 h 33503"/>
                      <a:gd name="connsiteX31" fmla="*/ 41612 w 48702"/>
                      <a:gd name="connsiteY31" fmla="*/ 16 h 33503"/>
                      <a:gd name="connsiteX32" fmla="*/ 44229 w 48702"/>
                      <a:gd name="connsiteY32" fmla="*/ 0 h 33503"/>
                      <a:gd name="connsiteX33" fmla="*/ 46250 w 48702"/>
                      <a:gd name="connsiteY33" fmla="*/ 293 h 33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8702" h="33503">
                        <a:moveTo>
                          <a:pt x="47423" y="970"/>
                        </a:moveTo>
                        <a:lnTo>
                          <a:pt x="48409" y="2119"/>
                        </a:lnTo>
                        <a:lnTo>
                          <a:pt x="48703" y="3855"/>
                        </a:lnTo>
                        <a:lnTo>
                          <a:pt x="48312" y="6177"/>
                        </a:lnTo>
                        <a:lnTo>
                          <a:pt x="47676" y="8280"/>
                        </a:lnTo>
                        <a:lnTo>
                          <a:pt x="46788" y="10179"/>
                        </a:lnTo>
                        <a:lnTo>
                          <a:pt x="44612" y="13374"/>
                        </a:lnTo>
                        <a:lnTo>
                          <a:pt x="37807" y="18834"/>
                        </a:lnTo>
                        <a:lnTo>
                          <a:pt x="35256" y="21800"/>
                        </a:lnTo>
                        <a:lnTo>
                          <a:pt x="33341" y="23577"/>
                        </a:lnTo>
                        <a:lnTo>
                          <a:pt x="22241" y="31482"/>
                        </a:lnTo>
                        <a:lnTo>
                          <a:pt x="20863" y="31865"/>
                        </a:lnTo>
                        <a:lnTo>
                          <a:pt x="19413" y="31719"/>
                        </a:lnTo>
                        <a:lnTo>
                          <a:pt x="16365" y="30537"/>
                        </a:lnTo>
                        <a:lnTo>
                          <a:pt x="13284" y="30325"/>
                        </a:lnTo>
                        <a:lnTo>
                          <a:pt x="5297" y="33504"/>
                        </a:lnTo>
                        <a:lnTo>
                          <a:pt x="4914" y="32966"/>
                        </a:lnTo>
                        <a:lnTo>
                          <a:pt x="4556" y="29551"/>
                        </a:lnTo>
                        <a:lnTo>
                          <a:pt x="3757" y="27652"/>
                        </a:lnTo>
                        <a:lnTo>
                          <a:pt x="228" y="23610"/>
                        </a:lnTo>
                        <a:lnTo>
                          <a:pt x="0" y="22664"/>
                        </a:lnTo>
                        <a:lnTo>
                          <a:pt x="49" y="21491"/>
                        </a:lnTo>
                        <a:lnTo>
                          <a:pt x="326" y="20578"/>
                        </a:lnTo>
                        <a:lnTo>
                          <a:pt x="4295" y="16797"/>
                        </a:lnTo>
                        <a:lnTo>
                          <a:pt x="13292" y="2991"/>
                        </a:lnTo>
                        <a:lnTo>
                          <a:pt x="15452" y="2298"/>
                        </a:lnTo>
                        <a:lnTo>
                          <a:pt x="19877" y="3847"/>
                        </a:lnTo>
                        <a:lnTo>
                          <a:pt x="21980" y="4344"/>
                        </a:lnTo>
                        <a:lnTo>
                          <a:pt x="23479" y="4270"/>
                        </a:lnTo>
                        <a:lnTo>
                          <a:pt x="29918" y="1361"/>
                        </a:lnTo>
                        <a:lnTo>
                          <a:pt x="36038" y="1711"/>
                        </a:lnTo>
                        <a:lnTo>
                          <a:pt x="41612" y="16"/>
                        </a:lnTo>
                        <a:lnTo>
                          <a:pt x="44229" y="0"/>
                        </a:lnTo>
                        <a:lnTo>
                          <a:pt x="46250" y="293"/>
                        </a:lnTo>
                        <a:close/>
                      </a:path>
                    </a:pathLst>
                  </a:custGeom>
                  <a:solidFill>
                    <a:srgbClr val="D6D6D2"/>
                  </a:solidFill>
                  <a:ln w="8150" cap="flat">
                    <a:noFill/>
                    <a:prstDash val="solid"/>
                    <a:miter/>
                  </a:ln>
                </p:spPr>
                <p:txBody>
                  <a:bodyPr rtlCol="0" anchor="ctr"/>
                  <a:lstStyle/>
                  <a:p>
                    <a:endParaRPr lang="en-US"/>
                  </a:p>
                </p:txBody>
              </p:sp>
              <p:sp>
                <p:nvSpPr>
                  <p:cNvPr id="506" name="Freeform: Shape 505">
                    <a:extLst>
                      <a:ext uri="{FF2B5EF4-FFF2-40B4-BE49-F238E27FC236}">
                        <a16:creationId xmlns:a16="http://schemas.microsoft.com/office/drawing/2014/main" id="{DB404EA2-754F-4BB2-9E55-A85AA01C8393}"/>
                      </a:ext>
                    </a:extLst>
                  </p:cNvPr>
                  <p:cNvSpPr/>
                  <p:nvPr/>
                </p:nvSpPr>
                <p:spPr>
                  <a:xfrm>
                    <a:off x="4177210" y="2427155"/>
                    <a:ext cx="23593" cy="13675"/>
                  </a:xfrm>
                  <a:custGeom>
                    <a:avLst/>
                    <a:gdLst>
                      <a:gd name="connsiteX0" fmla="*/ 21906 w 23593"/>
                      <a:gd name="connsiteY0" fmla="*/ 13520 h 13675"/>
                      <a:gd name="connsiteX1" fmla="*/ 20179 w 23593"/>
                      <a:gd name="connsiteY1" fmla="*/ 13675 h 13675"/>
                      <a:gd name="connsiteX2" fmla="*/ 16829 w 23593"/>
                      <a:gd name="connsiteY2" fmla="*/ 13374 h 13675"/>
                      <a:gd name="connsiteX3" fmla="*/ 13235 w 23593"/>
                      <a:gd name="connsiteY3" fmla="*/ 12518 h 13675"/>
                      <a:gd name="connsiteX4" fmla="*/ 11255 w 23593"/>
                      <a:gd name="connsiteY4" fmla="*/ 11548 h 13675"/>
                      <a:gd name="connsiteX5" fmla="*/ 9494 w 23593"/>
                      <a:gd name="connsiteY5" fmla="*/ 9446 h 13675"/>
                      <a:gd name="connsiteX6" fmla="*/ 9152 w 23593"/>
                      <a:gd name="connsiteY6" fmla="*/ 7139 h 13675"/>
                      <a:gd name="connsiteX7" fmla="*/ 5802 w 23593"/>
                      <a:gd name="connsiteY7" fmla="*/ 3716 h 13675"/>
                      <a:gd name="connsiteX8" fmla="*/ 2062 w 23593"/>
                      <a:gd name="connsiteY8" fmla="*/ 2551 h 13675"/>
                      <a:gd name="connsiteX9" fmla="*/ 0 w 23593"/>
                      <a:gd name="connsiteY9" fmla="*/ 171 h 13675"/>
                      <a:gd name="connsiteX10" fmla="*/ 2111 w 23593"/>
                      <a:gd name="connsiteY10" fmla="*/ 0 h 13675"/>
                      <a:gd name="connsiteX11" fmla="*/ 5126 w 23593"/>
                      <a:gd name="connsiteY11" fmla="*/ 522 h 13675"/>
                      <a:gd name="connsiteX12" fmla="*/ 9559 w 23593"/>
                      <a:gd name="connsiteY12" fmla="*/ 1565 h 13675"/>
                      <a:gd name="connsiteX13" fmla="*/ 13537 w 23593"/>
                      <a:gd name="connsiteY13" fmla="*/ 2918 h 13675"/>
                      <a:gd name="connsiteX14" fmla="*/ 19282 w 23593"/>
                      <a:gd name="connsiteY14" fmla="*/ 5925 h 13675"/>
                      <a:gd name="connsiteX15" fmla="*/ 21165 w 23593"/>
                      <a:gd name="connsiteY15" fmla="*/ 8712 h 13675"/>
                      <a:gd name="connsiteX16" fmla="*/ 23031 w 23593"/>
                      <a:gd name="connsiteY16" fmla="*/ 10758 h 13675"/>
                      <a:gd name="connsiteX17" fmla="*/ 23593 w 23593"/>
                      <a:gd name="connsiteY17" fmla="*/ 12314 h 13675"/>
                      <a:gd name="connsiteX18" fmla="*/ 23104 w 23593"/>
                      <a:gd name="connsiteY18" fmla="*/ 12991 h 13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593" h="13675">
                        <a:moveTo>
                          <a:pt x="21906" y="13520"/>
                        </a:moveTo>
                        <a:lnTo>
                          <a:pt x="20179" y="13675"/>
                        </a:lnTo>
                        <a:lnTo>
                          <a:pt x="16829" y="13374"/>
                        </a:lnTo>
                        <a:lnTo>
                          <a:pt x="13235" y="12518"/>
                        </a:lnTo>
                        <a:lnTo>
                          <a:pt x="11255" y="11548"/>
                        </a:lnTo>
                        <a:lnTo>
                          <a:pt x="9494" y="9446"/>
                        </a:lnTo>
                        <a:lnTo>
                          <a:pt x="9152" y="7139"/>
                        </a:lnTo>
                        <a:lnTo>
                          <a:pt x="5802" y="3716"/>
                        </a:lnTo>
                        <a:lnTo>
                          <a:pt x="2062" y="2551"/>
                        </a:lnTo>
                        <a:lnTo>
                          <a:pt x="0" y="171"/>
                        </a:lnTo>
                        <a:lnTo>
                          <a:pt x="2111" y="0"/>
                        </a:lnTo>
                        <a:lnTo>
                          <a:pt x="5126" y="522"/>
                        </a:lnTo>
                        <a:lnTo>
                          <a:pt x="9559" y="1565"/>
                        </a:lnTo>
                        <a:lnTo>
                          <a:pt x="13537" y="2918"/>
                        </a:lnTo>
                        <a:lnTo>
                          <a:pt x="19282" y="5925"/>
                        </a:lnTo>
                        <a:lnTo>
                          <a:pt x="21165" y="8712"/>
                        </a:lnTo>
                        <a:lnTo>
                          <a:pt x="23031" y="10758"/>
                        </a:lnTo>
                        <a:lnTo>
                          <a:pt x="23593" y="12314"/>
                        </a:lnTo>
                        <a:lnTo>
                          <a:pt x="23104" y="12991"/>
                        </a:lnTo>
                        <a:close/>
                      </a:path>
                    </a:pathLst>
                  </a:custGeom>
                  <a:solidFill>
                    <a:srgbClr val="D6D6D2"/>
                  </a:solidFill>
                  <a:ln w="6112" cap="rnd">
                    <a:solidFill>
                      <a:srgbClr val="FFFFFF"/>
                    </a:solidFill>
                    <a:prstDash val="solid"/>
                    <a:round/>
                  </a:ln>
                </p:spPr>
                <p:txBody>
                  <a:bodyPr rtlCol="0" anchor="ctr"/>
                  <a:lstStyle/>
                  <a:p>
                    <a:endParaRPr lang="en-US"/>
                  </a:p>
                </p:txBody>
              </p:sp>
              <p:sp>
                <p:nvSpPr>
                  <p:cNvPr id="507" name="Freeform: Shape 506">
                    <a:extLst>
                      <a:ext uri="{FF2B5EF4-FFF2-40B4-BE49-F238E27FC236}">
                        <a16:creationId xmlns:a16="http://schemas.microsoft.com/office/drawing/2014/main" id="{5157DD41-FDB5-4C1B-887F-E54C819B9BA6}"/>
                      </a:ext>
                    </a:extLst>
                  </p:cNvPr>
                  <p:cNvSpPr/>
                  <p:nvPr/>
                </p:nvSpPr>
                <p:spPr>
                  <a:xfrm>
                    <a:off x="3952506" y="2446225"/>
                    <a:ext cx="25003" cy="33356"/>
                  </a:xfrm>
                  <a:custGeom>
                    <a:avLst/>
                    <a:gdLst>
                      <a:gd name="connsiteX0" fmla="*/ 18223 w 25003"/>
                      <a:gd name="connsiteY0" fmla="*/ 57 h 33356"/>
                      <a:gd name="connsiteX1" fmla="*/ 20179 w 25003"/>
                      <a:gd name="connsiteY1" fmla="*/ 1174 h 33356"/>
                      <a:gd name="connsiteX2" fmla="*/ 23406 w 25003"/>
                      <a:gd name="connsiteY2" fmla="*/ 4882 h 33356"/>
                      <a:gd name="connsiteX3" fmla="*/ 24637 w 25003"/>
                      <a:gd name="connsiteY3" fmla="*/ 6772 h 33356"/>
                      <a:gd name="connsiteX4" fmla="*/ 25003 w 25003"/>
                      <a:gd name="connsiteY4" fmla="*/ 9283 h 33356"/>
                      <a:gd name="connsiteX5" fmla="*/ 24148 w 25003"/>
                      <a:gd name="connsiteY5" fmla="*/ 12656 h 33356"/>
                      <a:gd name="connsiteX6" fmla="*/ 23716 w 25003"/>
                      <a:gd name="connsiteY6" fmla="*/ 15810 h 33356"/>
                      <a:gd name="connsiteX7" fmla="*/ 22518 w 25003"/>
                      <a:gd name="connsiteY7" fmla="*/ 18182 h 33356"/>
                      <a:gd name="connsiteX8" fmla="*/ 20285 w 25003"/>
                      <a:gd name="connsiteY8" fmla="*/ 21189 h 33356"/>
                      <a:gd name="connsiteX9" fmla="*/ 18304 w 25003"/>
                      <a:gd name="connsiteY9" fmla="*/ 24694 h 33356"/>
                      <a:gd name="connsiteX10" fmla="*/ 16585 w 25003"/>
                      <a:gd name="connsiteY10" fmla="*/ 28687 h 33356"/>
                      <a:gd name="connsiteX11" fmla="*/ 15159 w 25003"/>
                      <a:gd name="connsiteY11" fmla="*/ 31336 h 33356"/>
                      <a:gd name="connsiteX12" fmla="*/ 14034 w 25003"/>
                      <a:gd name="connsiteY12" fmla="*/ 32623 h 33356"/>
                      <a:gd name="connsiteX13" fmla="*/ 12812 w 25003"/>
                      <a:gd name="connsiteY13" fmla="*/ 33300 h 33356"/>
                      <a:gd name="connsiteX14" fmla="*/ 11499 w 25003"/>
                      <a:gd name="connsiteY14" fmla="*/ 33357 h 33356"/>
                      <a:gd name="connsiteX15" fmla="*/ 9511 w 25003"/>
                      <a:gd name="connsiteY15" fmla="*/ 31914 h 33356"/>
                      <a:gd name="connsiteX16" fmla="*/ 6838 w 25003"/>
                      <a:gd name="connsiteY16" fmla="*/ 28972 h 33356"/>
                      <a:gd name="connsiteX17" fmla="*/ 4670 w 25003"/>
                      <a:gd name="connsiteY17" fmla="*/ 27171 h 33356"/>
                      <a:gd name="connsiteX18" fmla="*/ 1858 w 25003"/>
                      <a:gd name="connsiteY18" fmla="*/ 25941 h 33356"/>
                      <a:gd name="connsiteX19" fmla="*/ 367 w 25003"/>
                      <a:gd name="connsiteY19" fmla="*/ 24278 h 33356"/>
                      <a:gd name="connsiteX20" fmla="*/ 98 w 25003"/>
                      <a:gd name="connsiteY20" fmla="*/ 22632 h 33356"/>
                      <a:gd name="connsiteX21" fmla="*/ 0 w 25003"/>
                      <a:gd name="connsiteY21" fmla="*/ 17310 h 33356"/>
                      <a:gd name="connsiteX22" fmla="*/ 114 w 25003"/>
                      <a:gd name="connsiteY22" fmla="*/ 14645 h 33356"/>
                      <a:gd name="connsiteX23" fmla="*/ 489 w 25003"/>
                      <a:gd name="connsiteY23" fmla="*/ 12428 h 33356"/>
                      <a:gd name="connsiteX24" fmla="*/ 1125 w 25003"/>
                      <a:gd name="connsiteY24" fmla="*/ 10652 h 33356"/>
                      <a:gd name="connsiteX25" fmla="*/ 2518 w 25003"/>
                      <a:gd name="connsiteY25" fmla="*/ 8190 h 33356"/>
                      <a:gd name="connsiteX26" fmla="*/ 6406 w 25003"/>
                      <a:gd name="connsiteY26" fmla="*/ 2869 h 33356"/>
                      <a:gd name="connsiteX27" fmla="*/ 8761 w 25003"/>
                      <a:gd name="connsiteY27" fmla="*/ 831 h 33356"/>
                      <a:gd name="connsiteX28" fmla="*/ 10212 w 25003"/>
                      <a:gd name="connsiteY28" fmla="*/ 359 h 33356"/>
                      <a:gd name="connsiteX29" fmla="*/ 14075 w 25003"/>
                      <a:gd name="connsiteY29" fmla="*/ 742 h 33356"/>
                      <a:gd name="connsiteX30" fmla="*/ 15639 w 25003"/>
                      <a:gd name="connsiteY30" fmla="*/ 611 h 33356"/>
                      <a:gd name="connsiteX31" fmla="*/ 16919 w 25003"/>
                      <a:gd name="connsiteY31" fmla="*/ 0 h 3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003" h="33356">
                        <a:moveTo>
                          <a:pt x="18223" y="57"/>
                        </a:moveTo>
                        <a:lnTo>
                          <a:pt x="20179" y="1174"/>
                        </a:lnTo>
                        <a:lnTo>
                          <a:pt x="23406" y="4882"/>
                        </a:lnTo>
                        <a:lnTo>
                          <a:pt x="24637" y="6772"/>
                        </a:lnTo>
                        <a:lnTo>
                          <a:pt x="25003" y="9283"/>
                        </a:lnTo>
                        <a:lnTo>
                          <a:pt x="24148" y="12656"/>
                        </a:lnTo>
                        <a:lnTo>
                          <a:pt x="23716" y="15810"/>
                        </a:lnTo>
                        <a:lnTo>
                          <a:pt x="22518" y="18182"/>
                        </a:lnTo>
                        <a:lnTo>
                          <a:pt x="20285" y="21189"/>
                        </a:lnTo>
                        <a:lnTo>
                          <a:pt x="18304" y="24694"/>
                        </a:lnTo>
                        <a:lnTo>
                          <a:pt x="16585" y="28687"/>
                        </a:lnTo>
                        <a:lnTo>
                          <a:pt x="15159" y="31336"/>
                        </a:lnTo>
                        <a:lnTo>
                          <a:pt x="14034" y="32623"/>
                        </a:lnTo>
                        <a:lnTo>
                          <a:pt x="12812" y="33300"/>
                        </a:lnTo>
                        <a:lnTo>
                          <a:pt x="11499" y="33357"/>
                        </a:lnTo>
                        <a:lnTo>
                          <a:pt x="9511" y="31914"/>
                        </a:lnTo>
                        <a:lnTo>
                          <a:pt x="6838" y="28972"/>
                        </a:lnTo>
                        <a:lnTo>
                          <a:pt x="4670" y="27171"/>
                        </a:lnTo>
                        <a:lnTo>
                          <a:pt x="1858" y="25941"/>
                        </a:lnTo>
                        <a:lnTo>
                          <a:pt x="367" y="24278"/>
                        </a:lnTo>
                        <a:lnTo>
                          <a:pt x="98" y="22632"/>
                        </a:lnTo>
                        <a:lnTo>
                          <a:pt x="0" y="17310"/>
                        </a:lnTo>
                        <a:lnTo>
                          <a:pt x="114" y="14645"/>
                        </a:lnTo>
                        <a:lnTo>
                          <a:pt x="489" y="12428"/>
                        </a:lnTo>
                        <a:lnTo>
                          <a:pt x="1125" y="10652"/>
                        </a:lnTo>
                        <a:lnTo>
                          <a:pt x="2518" y="8190"/>
                        </a:lnTo>
                        <a:lnTo>
                          <a:pt x="6406" y="2869"/>
                        </a:lnTo>
                        <a:lnTo>
                          <a:pt x="8761" y="831"/>
                        </a:lnTo>
                        <a:lnTo>
                          <a:pt x="10212" y="359"/>
                        </a:lnTo>
                        <a:lnTo>
                          <a:pt x="14075" y="742"/>
                        </a:lnTo>
                        <a:lnTo>
                          <a:pt x="15639" y="611"/>
                        </a:lnTo>
                        <a:lnTo>
                          <a:pt x="16919" y="0"/>
                        </a:lnTo>
                        <a:close/>
                      </a:path>
                    </a:pathLst>
                  </a:custGeom>
                  <a:solidFill>
                    <a:srgbClr val="D6D6D2"/>
                  </a:solidFill>
                  <a:ln w="8150" cap="flat">
                    <a:noFill/>
                    <a:prstDash val="solid"/>
                    <a:miter/>
                  </a:ln>
                </p:spPr>
                <p:txBody>
                  <a:bodyPr rtlCol="0" anchor="ctr"/>
                  <a:lstStyle/>
                  <a:p>
                    <a:endParaRPr lang="en-US"/>
                  </a:p>
                </p:txBody>
              </p:sp>
              <p:sp>
                <p:nvSpPr>
                  <p:cNvPr id="508" name="Freeform: Shape 507">
                    <a:extLst>
                      <a:ext uri="{FF2B5EF4-FFF2-40B4-BE49-F238E27FC236}">
                        <a16:creationId xmlns:a16="http://schemas.microsoft.com/office/drawing/2014/main" id="{B06A93F2-05FF-4E51-AC2B-40EB20B0862A}"/>
                      </a:ext>
                    </a:extLst>
                  </p:cNvPr>
                  <p:cNvSpPr/>
                  <p:nvPr/>
                </p:nvSpPr>
                <p:spPr>
                  <a:xfrm>
                    <a:off x="4320768" y="2475882"/>
                    <a:ext cx="18915" cy="13430"/>
                  </a:xfrm>
                  <a:custGeom>
                    <a:avLst/>
                    <a:gdLst>
                      <a:gd name="connsiteX0" fmla="*/ 14873 w 18915"/>
                      <a:gd name="connsiteY0" fmla="*/ 12958 h 13430"/>
                      <a:gd name="connsiteX1" fmla="*/ 14262 w 18915"/>
                      <a:gd name="connsiteY1" fmla="*/ 13431 h 13430"/>
                      <a:gd name="connsiteX2" fmla="*/ 13700 w 18915"/>
                      <a:gd name="connsiteY2" fmla="*/ 13325 h 13430"/>
                      <a:gd name="connsiteX3" fmla="*/ 11850 w 18915"/>
                      <a:gd name="connsiteY3" fmla="*/ 11165 h 13430"/>
                      <a:gd name="connsiteX4" fmla="*/ 9364 w 18915"/>
                      <a:gd name="connsiteY4" fmla="*/ 10285 h 13430"/>
                      <a:gd name="connsiteX5" fmla="*/ 8443 w 18915"/>
                      <a:gd name="connsiteY5" fmla="*/ 9446 h 13430"/>
                      <a:gd name="connsiteX6" fmla="*/ 945 w 18915"/>
                      <a:gd name="connsiteY6" fmla="*/ 4988 h 13430"/>
                      <a:gd name="connsiteX7" fmla="*/ 130 w 18915"/>
                      <a:gd name="connsiteY7" fmla="*/ 3032 h 13430"/>
                      <a:gd name="connsiteX8" fmla="*/ 0 w 18915"/>
                      <a:gd name="connsiteY8" fmla="*/ 1475 h 13430"/>
                      <a:gd name="connsiteX9" fmla="*/ 2494 w 18915"/>
                      <a:gd name="connsiteY9" fmla="*/ 709 h 13430"/>
                      <a:gd name="connsiteX10" fmla="*/ 7498 w 18915"/>
                      <a:gd name="connsiteY10" fmla="*/ 0 h 13430"/>
                      <a:gd name="connsiteX11" fmla="*/ 11842 w 18915"/>
                      <a:gd name="connsiteY11" fmla="*/ 24 h 13430"/>
                      <a:gd name="connsiteX12" fmla="*/ 15933 w 18915"/>
                      <a:gd name="connsiteY12" fmla="*/ 953 h 13430"/>
                      <a:gd name="connsiteX13" fmla="*/ 16756 w 18915"/>
                      <a:gd name="connsiteY13" fmla="*/ 1948 h 13430"/>
                      <a:gd name="connsiteX14" fmla="*/ 18915 w 18915"/>
                      <a:gd name="connsiteY14" fmla="*/ 3765 h 13430"/>
                      <a:gd name="connsiteX15" fmla="*/ 18378 w 18915"/>
                      <a:gd name="connsiteY15" fmla="*/ 5941 h 13430"/>
                      <a:gd name="connsiteX16" fmla="*/ 18247 w 18915"/>
                      <a:gd name="connsiteY16" fmla="*/ 8696 h 13430"/>
                      <a:gd name="connsiteX17" fmla="*/ 17351 w 18915"/>
                      <a:gd name="connsiteY17" fmla="*/ 10032 h 13430"/>
                      <a:gd name="connsiteX18" fmla="*/ 15982 w 18915"/>
                      <a:gd name="connsiteY18" fmla="*/ 11051 h 13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915" h="13430">
                        <a:moveTo>
                          <a:pt x="14873" y="12958"/>
                        </a:moveTo>
                        <a:lnTo>
                          <a:pt x="14262" y="13431"/>
                        </a:lnTo>
                        <a:lnTo>
                          <a:pt x="13700" y="13325"/>
                        </a:lnTo>
                        <a:lnTo>
                          <a:pt x="11850" y="11165"/>
                        </a:lnTo>
                        <a:lnTo>
                          <a:pt x="9364" y="10285"/>
                        </a:lnTo>
                        <a:lnTo>
                          <a:pt x="8443" y="9446"/>
                        </a:lnTo>
                        <a:lnTo>
                          <a:pt x="945" y="4988"/>
                        </a:lnTo>
                        <a:lnTo>
                          <a:pt x="130" y="3032"/>
                        </a:lnTo>
                        <a:lnTo>
                          <a:pt x="0" y="1475"/>
                        </a:lnTo>
                        <a:lnTo>
                          <a:pt x="2494" y="709"/>
                        </a:lnTo>
                        <a:lnTo>
                          <a:pt x="7498" y="0"/>
                        </a:lnTo>
                        <a:lnTo>
                          <a:pt x="11842" y="24"/>
                        </a:lnTo>
                        <a:lnTo>
                          <a:pt x="15933" y="953"/>
                        </a:lnTo>
                        <a:lnTo>
                          <a:pt x="16756" y="1948"/>
                        </a:lnTo>
                        <a:lnTo>
                          <a:pt x="18915" y="3765"/>
                        </a:lnTo>
                        <a:lnTo>
                          <a:pt x="18378" y="5941"/>
                        </a:lnTo>
                        <a:lnTo>
                          <a:pt x="18247" y="8696"/>
                        </a:lnTo>
                        <a:lnTo>
                          <a:pt x="17351" y="10032"/>
                        </a:lnTo>
                        <a:lnTo>
                          <a:pt x="15982" y="11051"/>
                        </a:lnTo>
                        <a:close/>
                      </a:path>
                    </a:pathLst>
                  </a:custGeom>
                  <a:solidFill>
                    <a:srgbClr val="D6D6D2"/>
                  </a:solidFill>
                  <a:ln w="6112" cap="rnd">
                    <a:solidFill>
                      <a:srgbClr val="FFFFFF"/>
                    </a:solidFill>
                    <a:prstDash val="solid"/>
                    <a:round/>
                  </a:ln>
                </p:spPr>
                <p:txBody>
                  <a:bodyPr rtlCol="0" anchor="ctr"/>
                  <a:lstStyle/>
                  <a:p>
                    <a:endParaRPr lang="en-US"/>
                  </a:p>
                </p:txBody>
              </p:sp>
              <p:sp>
                <p:nvSpPr>
                  <p:cNvPr id="509" name="Freeform: Shape 508">
                    <a:extLst>
                      <a:ext uri="{FF2B5EF4-FFF2-40B4-BE49-F238E27FC236}">
                        <a16:creationId xmlns:a16="http://schemas.microsoft.com/office/drawing/2014/main" id="{72FBA87E-2A1A-467D-8C3C-9B032578E85C}"/>
                      </a:ext>
                    </a:extLst>
                  </p:cNvPr>
                  <p:cNvSpPr/>
                  <p:nvPr/>
                </p:nvSpPr>
                <p:spPr>
                  <a:xfrm>
                    <a:off x="3959237" y="2677213"/>
                    <a:ext cx="27326" cy="30536"/>
                  </a:xfrm>
                  <a:custGeom>
                    <a:avLst/>
                    <a:gdLst>
                      <a:gd name="connsiteX0" fmla="*/ 26609 w 27326"/>
                      <a:gd name="connsiteY0" fmla="*/ 12893 h 30536"/>
                      <a:gd name="connsiteX1" fmla="*/ 24563 w 27326"/>
                      <a:gd name="connsiteY1" fmla="*/ 16788 h 30536"/>
                      <a:gd name="connsiteX2" fmla="*/ 22933 w 27326"/>
                      <a:gd name="connsiteY2" fmla="*/ 20521 h 30536"/>
                      <a:gd name="connsiteX3" fmla="*/ 20659 w 27326"/>
                      <a:gd name="connsiteY3" fmla="*/ 27538 h 30536"/>
                      <a:gd name="connsiteX4" fmla="*/ 19364 w 27326"/>
                      <a:gd name="connsiteY4" fmla="*/ 27790 h 30536"/>
                      <a:gd name="connsiteX5" fmla="*/ 18223 w 27326"/>
                      <a:gd name="connsiteY5" fmla="*/ 26103 h 30536"/>
                      <a:gd name="connsiteX6" fmla="*/ 21483 w 27326"/>
                      <a:gd name="connsiteY6" fmla="*/ 17889 h 30536"/>
                      <a:gd name="connsiteX7" fmla="*/ 21638 w 27326"/>
                      <a:gd name="connsiteY7" fmla="*/ 16968 h 30536"/>
                      <a:gd name="connsiteX8" fmla="*/ 21483 w 27326"/>
                      <a:gd name="connsiteY8" fmla="*/ 16185 h 30536"/>
                      <a:gd name="connsiteX9" fmla="*/ 20496 w 27326"/>
                      <a:gd name="connsiteY9" fmla="*/ 14971 h 30536"/>
                      <a:gd name="connsiteX10" fmla="*/ 19519 w 27326"/>
                      <a:gd name="connsiteY10" fmla="*/ 16365 h 30536"/>
                      <a:gd name="connsiteX11" fmla="*/ 14906 w 27326"/>
                      <a:gd name="connsiteY11" fmla="*/ 25631 h 30536"/>
                      <a:gd name="connsiteX12" fmla="*/ 13724 w 27326"/>
                      <a:gd name="connsiteY12" fmla="*/ 27114 h 30536"/>
                      <a:gd name="connsiteX13" fmla="*/ 12738 w 27326"/>
                      <a:gd name="connsiteY13" fmla="*/ 27937 h 30536"/>
                      <a:gd name="connsiteX14" fmla="*/ 11948 w 27326"/>
                      <a:gd name="connsiteY14" fmla="*/ 28092 h 30536"/>
                      <a:gd name="connsiteX15" fmla="*/ 9991 w 27326"/>
                      <a:gd name="connsiteY15" fmla="*/ 27896 h 30536"/>
                      <a:gd name="connsiteX16" fmla="*/ 6047 w 27326"/>
                      <a:gd name="connsiteY16" fmla="*/ 30537 h 30536"/>
                      <a:gd name="connsiteX17" fmla="*/ 12673 w 27326"/>
                      <a:gd name="connsiteY17" fmla="*/ 19551 h 30536"/>
                      <a:gd name="connsiteX18" fmla="*/ 12738 w 27326"/>
                      <a:gd name="connsiteY18" fmla="*/ 18704 h 30536"/>
                      <a:gd name="connsiteX19" fmla="*/ 11499 w 27326"/>
                      <a:gd name="connsiteY19" fmla="*/ 18198 h 30536"/>
                      <a:gd name="connsiteX20" fmla="*/ 11010 w 27326"/>
                      <a:gd name="connsiteY20" fmla="*/ 18484 h 30536"/>
                      <a:gd name="connsiteX21" fmla="*/ 5640 w 27326"/>
                      <a:gd name="connsiteY21" fmla="*/ 25403 h 30536"/>
                      <a:gd name="connsiteX22" fmla="*/ 2575 w 27326"/>
                      <a:gd name="connsiteY22" fmla="*/ 28084 h 30536"/>
                      <a:gd name="connsiteX23" fmla="*/ 513 w 27326"/>
                      <a:gd name="connsiteY23" fmla="*/ 27261 h 30536"/>
                      <a:gd name="connsiteX24" fmla="*/ 0 w 27326"/>
                      <a:gd name="connsiteY24" fmla="*/ 26536 h 30536"/>
                      <a:gd name="connsiteX25" fmla="*/ 187 w 27326"/>
                      <a:gd name="connsiteY25" fmla="*/ 25737 h 30536"/>
                      <a:gd name="connsiteX26" fmla="*/ 5419 w 27326"/>
                      <a:gd name="connsiteY26" fmla="*/ 18736 h 30536"/>
                      <a:gd name="connsiteX27" fmla="*/ 10220 w 27326"/>
                      <a:gd name="connsiteY27" fmla="*/ 13724 h 30536"/>
                      <a:gd name="connsiteX28" fmla="*/ 12233 w 27326"/>
                      <a:gd name="connsiteY28" fmla="*/ 10570 h 30536"/>
                      <a:gd name="connsiteX29" fmla="*/ 13056 w 27326"/>
                      <a:gd name="connsiteY29" fmla="*/ 7587 h 30536"/>
                      <a:gd name="connsiteX30" fmla="*/ 13406 w 27326"/>
                      <a:gd name="connsiteY30" fmla="*/ 5411 h 30536"/>
                      <a:gd name="connsiteX31" fmla="*/ 13382 w 27326"/>
                      <a:gd name="connsiteY31" fmla="*/ 3007 h 30536"/>
                      <a:gd name="connsiteX32" fmla="*/ 13634 w 27326"/>
                      <a:gd name="connsiteY32" fmla="*/ 2347 h 30536"/>
                      <a:gd name="connsiteX33" fmla="*/ 13912 w 27326"/>
                      <a:gd name="connsiteY33" fmla="*/ 2469 h 30536"/>
                      <a:gd name="connsiteX34" fmla="*/ 14221 w 27326"/>
                      <a:gd name="connsiteY34" fmla="*/ 3374 h 30536"/>
                      <a:gd name="connsiteX35" fmla="*/ 14303 w 27326"/>
                      <a:gd name="connsiteY35" fmla="*/ 5908 h 30536"/>
                      <a:gd name="connsiteX36" fmla="*/ 13203 w 27326"/>
                      <a:gd name="connsiteY36" fmla="*/ 11092 h 30536"/>
                      <a:gd name="connsiteX37" fmla="*/ 12322 w 27326"/>
                      <a:gd name="connsiteY37" fmla="*/ 13643 h 30536"/>
                      <a:gd name="connsiteX38" fmla="*/ 11263 w 27326"/>
                      <a:gd name="connsiteY38" fmla="*/ 15745 h 30536"/>
                      <a:gd name="connsiteX39" fmla="*/ 11711 w 27326"/>
                      <a:gd name="connsiteY39" fmla="*/ 16210 h 30536"/>
                      <a:gd name="connsiteX40" fmla="*/ 13642 w 27326"/>
                      <a:gd name="connsiteY40" fmla="*/ 15012 h 30536"/>
                      <a:gd name="connsiteX41" fmla="*/ 15281 w 27326"/>
                      <a:gd name="connsiteY41" fmla="*/ 12493 h 30536"/>
                      <a:gd name="connsiteX42" fmla="*/ 16601 w 27326"/>
                      <a:gd name="connsiteY42" fmla="*/ 8647 h 30536"/>
                      <a:gd name="connsiteX43" fmla="*/ 17440 w 27326"/>
                      <a:gd name="connsiteY43" fmla="*/ 5305 h 30536"/>
                      <a:gd name="connsiteX44" fmla="*/ 18264 w 27326"/>
                      <a:gd name="connsiteY44" fmla="*/ 0 h 30536"/>
                      <a:gd name="connsiteX45" fmla="*/ 18532 w 27326"/>
                      <a:gd name="connsiteY45" fmla="*/ 187 h 30536"/>
                      <a:gd name="connsiteX46" fmla="*/ 18915 w 27326"/>
                      <a:gd name="connsiteY46" fmla="*/ 1247 h 30536"/>
                      <a:gd name="connsiteX47" fmla="*/ 19796 w 27326"/>
                      <a:gd name="connsiteY47" fmla="*/ 1997 h 30536"/>
                      <a:gd name="connsiteX48" fmla="*/ 21165 w 27326"/>
                      <a:gd name="connsiteY48" fmla="*/ 2429 h 30536"/>
                      <a:gd name="connsiteX49" fmla="*/ 21947 w 27326"/>
                      <a:gd name="connsiteY49" fmla="*/ 3105 h 30536"/>
                      <a:gd name="connsiteX50" fmla="*/ 22526 w 27326"/>
                      <a:gd name="connsiteY50" fmla="*/ 4890 h 30536"/>
                      <a:gd name="connsiteX51" fmla="*/ 23088 w 27326"/>
                      <a:gd name="connsiteY51" fmla="*/ 5664 h 30536"/>
                      <a:gd name="connsiteX52" fmla="*/ 25134 w 27326"/>
                      <a:gd name="connsiteY52" fmla="*/ 6332 h 30536"/>
                      <a:gd name="connsiteX53" fmla="*/ 25932 w 27326"/>
                      <a:gd name="connsiteY53" fmla="*/ 6895 h 30536"/>
                      <a:gd name="connsiteX54" fmla="*/ 26487 w 27326"/>
                      <a:gd name="connsiteY54" fmla="*/ 8842 h 30536"/>
                      <a:gd name="connsiteX55" fmla="*/ 26446 w 27326"/>
                      <a:gd name="connsiteY55" fmla="*/ 9853 h 30536"/>
                      <a:gd name="connsiteX56" fmla="*/ 26715 w 27326"/>
                      <a:gd name="connsiteY56" fmla="*/ 10513 h 30536"/>
                      <a:gd name="connsiteX57" fmla="*/ 27326 w 27326"/>
                      <a:gd name="connsiteY57" fmla="*/ 10806 h 30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7326" h="30536">
                        <a:moveTo>
                          <a:pt x="26609" y="12893"/>
                        </a:moveTo>
                        <a:lnTo>
                          <a:pt x="24563" y="16788"/>
                        </a:lnTo>
                        <a:lnTo>
                          <a:pt x="22933" y="20521"/>
                        </a:lnTo>
                        <a:lnTo>
                          <a:pt x="20659" y="27538"/>
                        </a:lnTo>
                        <a:lnTo>
                          <a:pt x="19364" y="27790"/>
                        </a:lnTo>
                        <a:lnTo>
                          <a:pt x="18223" y="26103"/>
                        </a:lnTo>
                        <a:lnTo>
                          <a:pt x="21483" y="17889"/>
                        </a:lnTo>
                        <a:lnTo>
                          <a:pt x="21638" y="16968"/>
                        </a:lnTo>
                        <a:lnTo>
                          <a:pt x="21483" y="16185"/>
                        </a:lnTo>
                        <a:lnTo>
                          <a:pt x="20496" y="14971"/>
                        </a:lnTo>
                        <a:lnTo>
                          <a:pt x="19519" y="16365"/>
                        </a:lnTo>
                        <a:lnTo>
                          <a:pt x="14906" y="25631"/>
                        </a:lnTo>
                        <a:lnTo>
                          <a:pt x="13724" y="27114"/>
                        </a:lnTo>
                        <a:lnTo>
                          <a:pt x="12738" y="27937"/>
                        </a:lnTo>
                        <a:lnTo>
                          <a:pt x="11948" y="28092"/>
                        </a:lnTo>
                        <a:lnTo>
                          <a:pt x="9991" y="27896"/>
                        </a:lnTo>
                        <a:lnTo>
                          <a:pt x="6047" y="30537"/>
                        </a:lnTo>
                        <a:lnTo>
                          <a:pt x="12673" y="19551"/>
                        </a:lnTo>
                        <a:lnTo>
                          <a:pt x="12738" y="18704"/>
                        </a:lnTo>
                        <a:lnTo>
                          <a:pt x="11499" y="18198"/>
                        </a:lnTo>
                        <a:lnTo>
                          <a:pt x="11010" y="18484"/>
                        </a:lnTo>
                        <a:lnTo>
                          <a:pt x="5640" y="25403"/>
                        </a:lnTo>
                        <a:lnTo>
                          <a:pt x="2575" y="28084"/>
                        </a:lnTo>
                        <a:lnTo>
                          <a:pt x="513" y="27261"/>
                        </a:lnTo>
                        <a:lnTo>
                          <a:pt x="0" y="26536"/>
                        </a:lnTo>
                        <a:lnTo>
                          <a:pt x="187" y="25737"/>
                        </a:lnTo>
                        <a:lnTo>
                          <a:pt x="5419" y="18736"/>
                        </a:lnTo>
                        <a:lnTo>
                          <a:pt x="10220" y="13724"/>
                        </a:lnTo>
                        <a:lnTo>
                          <a:pt x="12233" y="10570"/>
                        </a:lnTo>
                        <a:lnTo>
                          <a:pt x="13056" y="7587"/>
                        </a:lnTo>
                        <a:lnTo>
                          <a:pt x="13406" y="5411"/>
                        </a:lnTo>
                        <a:lnTo>
                          <a:pt x="13382" y="3007"/>
                        </a:lnTo>
                        <a:lnTo>
                          <a:pt x="13634" y="2347"/>
                        </a:lnTo>
                        <a:lnTo>
                          <a:pt x="13912" y="2469"/>
                        </a:lnTo>
                        <a:lnTo>
                          <a:pt x="14221" y="3374"/>
                        </a:lnTo>
                        <a:lnTo>
                          <a:pt x="14303" y="5908"/>
                        </a:lnTo>
                        <a:lnTo>
                          <a:pt x="13203" y="11092"/>
                        </a:lnTo>
                        <a:lnTo>
                          <a:pt x="12322" y="13643"/>
                        </a:lnTo>
                        <a:lnTo>
                          <a:pt x="11263" y="15745"/>
                        </a:lnTo>
                        <a:lnTo>
                          <a:pt x="11711" y="16210"/>
                        </a:lnTo>
                        <a:lnTo>
                          <a:pt x="13642" y="15012"/>
                        </a:lnTo>
                        <a:lnTo>
                          <a:pt x="15281" y="12493"/>
                        </a:lnTo>
                        <a:lnTo>
                          <a:pt x="16601" y="8647"/>
                        </a:lnTo>
                        <a:lnTo>
                          <a:pt x="17440" y="5305"/>
                        </a:lnTo>
                        <a:lnTo>
                          <a:pt x="18264" y="0"/>
                        </a:lnTo>
                        <a:lnTo>
                          <a:pt x="18532" y="187"/>
                        </a:lnTo>
                        <a:lnTo>
                          <a:pt x="18915" y="1247"/>
                        </a:lnTo>
                        <a:lnTo>
                          <a:pt x="19796" y="1997"/>
                        </a:lnTo>
                        <a:lnTo>
                          <a:pt x="21165" y="2429"/>
                        </a:lnTo>
                        <a:lnTo>
                          <a:pt x="21947" y="3105"/>
                        </a:lnTo>
                        <a:lnTo>
                          <a:pt x="22526" y="4890"/>
                        </a:lnTo>
                        <a:lnTo>
                          <a:pt x="23088" y="5664"/>
                        </a:lnTo>
                        <a:lnTo>
                          <a:pt x="25134" y="6332"/>
                        </a:lnTo>
                        <a:lnTo>
                          <a:pt x="25932" y="6895"/>
                        </a:lnTo>
                        <a:lnTo>
                          <a:pt x="26487" y="8842"/>
                        </a:lnTo>
                        <a:lnTo>
                          <a:pt x="26446" y="9853"/>
                        </a:lnTo>
                        <a:lnTo>
                          <a:pt x="26715" y="10513"/>
                        </a:lnTo>
                        <a:lnTo>
                          <a:pt x="27326" y="10806"/>
                        </a:lnTo>
                        <a:close/>
                      </a:path>
                    </a:pathLst>
                  </a:custGeom>
                  <a:solidFill>
                    <a:srgbClr val="D6D6D2"/>
                  </a:solidFill>
                  <a:ln w="6112" cap="rnd">
                    <a:solidFill>
                      <a:srgbClr val="FFFFFF"/>
                    </a:solidFill>
                    <a:prstDash val="solid"/>
                    <a:round/>
                  </a:ln>
                </p:spPr>
                <p:txBody>
                  <a:bodyPr rtlCol="0" anchor="ctr"/>
                  <a:lstStyle/>
                  <a:p>
                    <a:endParaRPr lang="en-US"/>
                  </a:p>
                </p:txBody>
              </p:sp>
              <p:sp>
                <p:nvSpPr>
                  <p:cNvPr id="510" name="Freeform: Shape 509">
                    <a:extLst>
                      <a:ext uri="{FF2B5EF4-FFF2-40B4-BE49-F238E27FC236}">
                        <a16:creationId xmlns:a16="http://schemas.microsoft.com/office/drawing/2014/main" id="{0427FF58-E82F-4B62-8544-9EFD62969253}"/>
                      </a:ext>
                    </a:extLst>
                  </p:cNvPr>
                  <p:cNvSpPr/>
                  <p:nvPr/>
                </p:nvSpPr>
                <p:spPr>
                  <a:xfrm>
                    <a:off x="3908872" y="2805596"/>
                    <a:ext cx="32981" cy="18328"/>
                  </a:xfrm>
                  <a:custGeom>
                    <a:avLst/>
                    <a:gdLst>
                      <a:gd name="connsiteX0" fmla="*/ 32428 w 32981"/>
                      <a:gd name="connsiteY0" fmla="*/ 17832 h 18328"/>
                      <a:gd name="connsiteX1" fmla="*/ 30676 w 32981"/>
                      <a:gd name="connsiteY1" fmla="*/ 18329 h 18328"/>
                      <a:gd name="connsiteX2" fmla="*/ 25533 w 32981"/>
                      <a:gd name="connsiteY2" fmla="*/ 17334 h 18328"/>
                      <a:gd name="connsiteX3" fmla="*/ 23382 w 32981"/>
                      <a:gd name="connsiteY3" fmla="*/ 16617 h 18328"/>
                      <a:gd name="connsiteX4" fmla="*/ 17041 w 32981"/>
                      <a:gd name="connsiteY4" fmla="*/ 13928 h 18328"/>
                      <a:gd name="connsiteX5" fmla="*/ 4963 w 32981"/>
                      <a:gd name="connsiteY5" fmla="*/ 9967 h 18328"/>
                      <a:gd name="connsiteX6" fmla="*/ 848 w 32981"/>
                      <a:gd name="connsiteY6" fmla="*/ 8003 h 18328"/>
                      <a:gd name="connsiteX7" fmla="*/ 0 w 32981"/>
                      <a:gd name="connsiteY7" fmla="*/ 6528 h 18328"/>
                      <a:gd name="connsiteX8" fmla="*/ 2184 w 32981"/>
                      <a:gd name="connsiteY8" fmla="*/ 3455 h 18328"/>
                      <a:gd name="connsiteX9" fmla="*/ 3415 w 32981"/>
                      <a:gd name="connsiteY9" fmla="*/ 2200 h 18328"/>
                      <a:gd name="connsiteX10" fmla="*/ 4760 w 32981"/>
                      <a:gd name="connsiteY10" fmla="*/ 1426 h 18328"/>
                      <a:gd name="connsiteX11" fmla="*/ 17449 w 32981"/>
                      <a:gd name="connsiteY11" fmla="*/ 0 h 18328"/>
                      <a:gd name="connsiteX12" fmla="*/ 22412 w 32981"/>
                      <a:gd name="connsiteY12" fmla="*/ 693 h 18328"/>
                      <a:gd name="connsiteX13" fmla="*/ 28247 w 32981"/>
                      <a:gd name="connsiteY13" fmla="*/ 7009 h 18328"/>
                      <a:gd name="connsiteX14" fmla="*/ 31597 w 32981"/>
                      <a:gd name="connsiteY14" fmla="*/ 11263 h 18328"/>
                      <a:gd name="connsiteX15" fmla="*/ 32958 w 32981"/>
                      <a:gd name="connsiteY15" fmla="*/ 14686 h 18328"/>
                      <a:gd name="connsiteX16" fmla="*/ 32982 w 32981"/>
                      <a:gd name="connsiteY16" fmla="*/ 16340 h 1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981" h="18328">
                        <a:moveTo>
                          <a:pt x="32428" y="17832"/>
                        </a:moveTo>
                        <a:lnTo>
                          <a:pt x="30676" y="18329"/>
                        </a:lnTo>
                        <a:lnTo>
                          <a:pt x="25533" y="17334"/>
                        </a:lnTo>
                        <a:lnTo>
                          <a:pt x="23382" y="16617"/>
                        </a:lnTo>
                        <a:lnTo>
                          <a:pt x="17041" y="13928"/>
                        </a:lnTo>
                        <a:lnTo>
                          <a:pt x="4963" y="9967"/>
                        </a:lnTo>
                        <a:lnTo>
                          <a:pt x="848" y="8003"/>
                        </a:lnTo>
                        <a:lnTo>
                          <a:pt x="0" y="6528"/>
                        </a:lnTo>
                        <a:lnTo>
                          <a:pt x="2184" y="3455"/>
                        </a:lnTo>
                        <a:lnTo>
                          <a:pt x="3415" y="2200"/>
                        </a:lnTo>
                        <a:lnTo>
                          <a:pt x="4760" y="1426"/>
                        </a:lnTo>
                        <a:lnTo>
                          <a:pt x="17449" y="0"/>
                        </a:lnTo>
                        <a:lnTo>
                          <a:pt x="22412" y="693"/>
                        </a:lnTo>
                        <a:lnTo>
                          <a:pt x="28247" y="7009"/>
                        </a:lnTo>
                        <a:lnTo>
                          <a:pt x="31597" y="11263"/>
                        </a:lnTo>
                        <a:lnTo>
                          <a:pt x="32958" y="14686"/>
                        </a:lnTo>
                        <a:lnTo>
                          <a:pt x="32982" y="16340"/>
                        </a:lnTo>
                        <a:close/>
                      </a:path>
                    </a:pathLst>
                  </a:custGeom>
                  <a:solidFill>
                    <a:srgbClr val="D6D6D2"/>
                  </a:solidFill>
                  <a:ln w="6112" cap="rnd">
                    <a:solidFill>
                      <a:srgbClr val="FFFFFF"/>
                    </a:solidFill>
                    <a:prstDash val="solid"/>
                    <a:round/>
                  </a:ln>
                </p:spPr>
                <p:txBody>
                  <a:bodyPr rtlCol="0" anchor="ctr"/>
                  <a:lstStyle/>
                  <a:p>
                    <a:endParaRPr lang="en-US"/>
                  </a:p>
                </p:txBody>
              </p:sp>
              <p:sp>
                <p:nvSpPr>
                  <p:cNvPr id="511" name="Freeform: Shape 510">
                    <a:extLst>
                      <a:ext uri="{FF2B5EF4-FFF2-40B4-BE49-F238E27FC236}">
                        <a16:creationId xmlns:a16="http://schemas.microsoft.com/office/drawing/2014/main" id="{7A9A7BD3-6FAF-4CAA-9C15-E27B96718161}"/>
                      </a:ext>
                    </a:extLst>
                  </p:cNvPr>
                  <p:cNvSpPr/>
                  <p:nvPr/>
                </p:nvSpPr>
                <p:spPr>
                  <a:xfrm>
                    <a:off x="3669653" y="1483025"/>
                    <a:ext cx="755895" cy="352704"/>
                  </a:xfrm>
                  <a:custGeom>
                    <a:avLst/>
                    <a:gdLst>
                      <a:gd name="connsiteX0" fmla="*/ 550498 w 755895"/>
                      <a:gd name="connsiteY0" fmla="*/ 5305 h 352704"/>
                      <a:gd name="connsiteX1" fmla="*/ 570726 w 755895"/>
                      <a:gd name="connsiteY1" fmla="*/ 6275 h 352704"/>
                      <a:gd name="connsiteX2" fmla="*/ 577278 w 755895"/>
                      <a:gd name="connsiteY2" fmla="*/ 5925 h 352704"/>
                      <a:gd name="connsiteX3" fmla="*/ 584776 w 755895"/>
                      <a:gd name="connsiteY3" fmla="*/ 8272 h 352704"/>
                      <a:gd name="connsiteX4" fmla="*/ 589291 w 755895"/>
                      <a:gd name="connsiteY4" fmla="*/ 8549 h 352704"/>
                      <a:gd name="connsiteX5" fmla="*/ 596740 w 755895"/>
                      <a:gd name="connsiteY5" fmla="*/ 8109 h 352704"/>
                      <a:gd name="connsiteX6" fmla="*/ 602159 w 755895"/>
                      <a:gd name="connsiteY6" fmla="*/ 8663 h 352704"/>
                      <a:gd name="connsiteX7" fmla="*/ 622355 w 755895"/>
                      <a:gd name="connsiteY7" fmla="*/ 9185 h 352704"/>
                      <a:gd name="connsiteX8" fmla="*/ 626543 w 755895"/>
                      <a:gd name="connsiteY8" fmla="*/ 10098 h 352704"/>
                      <a:gd name="connsiteX9" fmla="*/ 626495 w 755895"/>
                      <a:gd name="connsiteY9" fmla="*/ 11206 h 352704"/>
                      <a:gd name="connsiteX10" fmla="*/ 622143 w 755895"/>
                      <a:gd name="connsiteY10" fmla="*/ 13594 h 352704"/>
                      <a:gd name="connsiteX11" fmla="*/ 616283 w 755895"/>
                      <a:gd name="connsiteY11" fmla="*/ 15900 h 352704"/>
                      <a:gd name="connsiteX12" fmla="*/ 578558 w 755895"/>
                      <a:gd name="connsiteY12" fmla="*/ 23406 h 352704"/>
                      <a:gd name="connsiteX13" fmla="*/ 575779 w 755895"/>
                      <a:gd name="connsiteY13" fmla="*/ 24653 h 352704"/>
                      <a:gd name="connsiteX14" fmla="*/ 583138 w 755895"/>
                      <a:gd name="connsiteY14" fmla="*/ 25052 h 352704"/>
                      <a:gd name="connsiteX15" fmla="*/ 593977 w 755895"/>
                      <a:gd name="connsiteY15" fmla="*/ 24702 h 352704"/>
                      <a:gd name="connsiteX16" fmla="*/ 602371 w 755895"/>
                      <a:gd name="connsiteY16" fmla="*/ 23871 h 352704"/>
                      <a:gd name="connsiteX17" fmla="*/ 612281 w 755895"/>
                      <a:gd name="connsiteY17" fmla="*/ 21320 h 352704"/>
                      <a:gd name="connsiteX18" fmla="*/ 615558 w 755895"/>
                      <a:gd name="connsiteY18" fmla="*/ 21181 h 352704"/>
                      <a:gd name="connsiteX19" fmla="*/ 621849 w 755895"/>
                      <a:gd name="connsiteY19" fmla="*/ 19942 h 352704"/>
                      <a:gd name="connsiteX20" fmla="*/ 634041 w 755895"/>
                      <a:gd name="connsiteY20" fmla="*/ 16479 h 352704"/>
                      <a:gd name="connsiteX21" fmla="*/ 643788 w 755895"/>
                      <a:gd name="connsiteY21" fmla="*/ 14604 h 352704"/>
                      <a:gd name="connsiteX22" fmla="*/ 648197 w 755895"/>
                      <a:gd name="connsiteY22" fmla="*/ 15436 h 352704"/>
                      <a:gd name="connsiteX23" fmla="*/ 651913 w 755895"/>
                      <a:gd name="connsiteY23" fmla="*/ 16740 h 352704"/>
                      <a:gd name="connsiteX24" fmla="*/ 654416 w 755895"/>
                      <a:gd name="connsiteY24" fmla="*/ 16886 h 352704"/>
                      <a:gd name="connsiteX25" fmla="*/ 655711 w 755895"/>
                      <a:gd name="connsiteY25" fmla="*/ 15876 h 352704"/>
                      <a:gd name="connsiteX26" fmla="*/ 657806 w 755895"/>
                      <a:gd name="connsiteY26" fmla="*/ 13121 h 352704"/>
                      <a:gd name="connsiteX27" fmla="*/ 659028 w 755895"/>
                      <a:gd name="connsiteY27" fmla="*/ 12127 h 352704"/>
                      <a:gd name="connsiteX28" fmla="*/ 662231 w 755895"/>
                      <a:gd name="connsiteY28" fmla="*/ 11418 h 352704"/>
                      <a:gd name="connsiteX29" fmla="*/ 664187 w 755895"/>
                      <a:gd name="connsiteY29" fmla="*/ 11499 h 352704"/>
                      <a:gd name="connsiteX30" fmla="*/ 667365 w 755895"/>
                      <a:gd name="connsiteY30" fmla="*/ 12795 h 352704"/>
                      <a:gd name="connsiteX31" fmla="*/ 670886 w 755895"/>
                      <a:gd name="connsiteY31" fmla="*/ 15876 h 352704"/>
                      <a:gd name="connsiteX32" fmla="*/ 674130 w 755895"/>
                      <a:gd name="connsiteY32" fmla="*/ 18011 h 352704"/>
                      <a:gd name="connsiteX33" fmla="*/ 675882 w 755895"/>
                      <a:gd name="connsiteY33" fmla="*/ 18052 h 352704"/>
                      <a:gd name="connsiteX34" fmla="*/ 683306 w 755895"/>
                      <a:gd name="connsiteY34" fmla="*/ 15623 h 352704"/>
                      <a:gd name="connsiteX35" fmla="*/ 687039 w 755895"/>
                      <a:gd name="connsiteY35" fmla="*/ 15313 h 352704"/>
                      <a:gd name="connsiteX36" fmla="*/ 695539 w 755895"/>
                      <a:gd name="connsiteY36" fmla="*/ 16194 h 352704"/>
                      <a:gd name="connsiteX37" fmla="*/ 699068 w 755895"/>
                      <a:gd name="connsiteY37" fmla="*/ 17261 h 352704"/>
                      <a:gd name="connsiteX38" fmla="*/ 699704 w 755895"/>
                      <a:gd name="connsiteY38" fmla="*/ 18394 h 352704"/>
                      <a:gd name="connsiteX39" fmla="*/ 697438 w 755895"/>
                      <a:gd name="connsiteY39" fmla="*/ 19592 h 352704"/>
                      <a:gd name="connsiteX40" fmla="*/ 696044 w 755895"/>
                      <a:gd name="connsiteY40" fmla="*/ 20619 h 352704"/>
                      <a:gd name="connsiteX41" fmla="*/ 695498 w 755895"/>
                      <a:gd name="connsiteY41" fmla="*/ 21491 h 352704"/>
                      <a:gd name="connsiteX42" fmla="*/ 696737 w 755895"/>
                      <a:gd name="connsiteY42" fmla="*/ 22493 h 352704"/>
                      <a:gd name="connsiteX43" fmla="*/ 701871 w 755895"/>
                      <a:gd name="connsiteY43" fmla="*/ 24645 h 352704"/>
                      <a:gd name="connsiteX44" fmla="*/ 709320 w 755895"/>
                      <a:gd name="connsiteY44" fmla="*/ 29331 h 352704"/>
                      <a:gd name="connsiteX45" fmla="*/ 709279 w 755895"/>
                      <a:gd name="connsiteY45" fmla="*/ 31050 h 352704"/>
                      <a:gd name="connsiteX46" fmla="*/ 705213 w 755895"/>
                      <a:gd name="connsiteY46" fmla="*/ 34547 h 352704"/>
                      <a:gd name="connsiteX47" fmla="*/ 705311 w 755895"/>
                      <a:gd name="connsiteY47" fmla="*/ 35427 h 352704"/>
                      <a:gd name="connsiteX48" fmla="*/ 724454 w 755895"/>
                      <a:gd name="connsiteY48" fmla="*/ 31751 h 352704"/>
                      <a:gd name="connsiteX49" fmla="*/ 743753 w 755895"/>
                      <a:gd name="connsiteY49" fmla="*/ 33398 h 352704"/>
                      <a:gd name="connsiteX50" fmla="*/ 749205 w 755895"/>
                      <a:gd name="connsiteY50" fmla="*/ 34514 h 352704"/>
                      <a:gd name="connsiteX51" fmla="*/ 751308 w 755895"/>
                      <a:gd name="connsiteY51" fmla="*/ 35867 h 352704"/>
                      <a:gd name="connsiteX52" fmla="*/ 753541 w 755895"/>
                      <a:gd name="connsiteY52" fmla="*/ 38100 h 352704"/>
                      <a:gd name="connsiteX53" fmla="*/ 755896 w 755895"/>
                      <a:gd name="connsiteY53" fmla="*/ 41197 h 352704"/>
                      <a:gd name="connsiteX54" fmla="*/ 754258 w 755895"/>
                      <a:gd name="connsiteY54" fmla="*/ 44424 h 352704"/>
                      <a:gd name="connsiteX55" fmla="*/ 745782 w 755895"/>
                      <a:gd name="connsiteY55" fmla="*/ 49461 h 352704"/>
                      <a:gd name="connsiteX56" fmla="*/ 737013 w 755895"/>
                      <a:gd name="connsiteY56" fmla="*/ 53373 h 352704"/>
                      <a:gd name="connsiteX57" fmla="*/ 731854 w 755895"/>
                      <a:gd name="connsiteY57" fmla="*/ 56885 h 352704"/>
                      <a:gd name="connsiteX58" fmla="*/ 723916 w 755895"/>
                      <a:gd name="connsiteY58" fmla="*/ 58817 h 352704"/>
                      <a:gd name="connsiteX59" fmla="*/ 696745 w 755895"/>
                      <a:gd name="connsiteY59" fmla="*/ 67284 h 352704"/>
                      <a:gd name="connsiteX60" fmla="*/ 683461 w 755895"/>
                      <a:gd name="connsiteY60" fmla="*/ 70006 h 352704"/>
                      <a:gd name="connsiteX61" fmla="*/ 675825 w 755895"/>
                      <a:gd name="connsiteY61" fmla="*/ 72671 h 352704"/>
                      <a:gd name="connsiteX62" fmla="*/ 672394 w 755895"/>
                      <a:gd name="connsiteY62" fmla="*/ 73144 h 352704"/>
                      <a:gd name="connsiteX63" fmla="*/ 656217 w 755895"/>
                      <a:gd name="connsiteY63" fmla="*/ 72630 h 352704"/>
                      <a:gd name="connsiteX64" fmla="*/ 651930 w 755895"/>
                      <a:gd name="connsiteY64" fmla="*/ 74097 h 352704"/>
                      <a:gd name="connsiteX65" fmla="*/ 649534 w 755895"/>
                      <a:gd name="connsiteY65" fmla="*/ 76575 h 352704"/>
                      <a:gd name="connsiteX66" fmla="*/ 644440 w 755895"/>
                      <a:gd name="connsiteY66" fmla="*/ 77757 h 352704"/>
                      <a:gd name="connsiteX67" fmla="*/ 636910 w 755895"/>
                      <a:gd name="connsiteY67" fmla="*/ 78596 h 352704"/>
                      <a:gd name="connsiteX68" fmla="*/ 621507 w 755895"/>
                      <a:gd name="connsiteY68" fmla="*/ 79281 h 352704"/>
                      <a:gd name="connsiteX69" fmla="*/ 618051 w 755895"/>
                      <a:gd name="connsiteY69" fmla="*/ 82060 h 352704"/>
                      <a:gd name="connsiteX70" fmla="*/ 617171 w 755895"/>
                      <a:gd name="connsiteY70" fmla="*/ 83950 h 352704"/>
                      <a:gd name="connsiteX71" fmla="*/ 615672 w 755895"/>
                      <a:gd name="connsiteY71" fmla="*/ 85417 h 352704"/>
                      <a:gd name="connsiteX72" fmla="*/ 614359 w 755895"/>
                      <a:gd name="connsiteY72" fmla="*/ 86126 h 352704"/>
                      <a:gd name="connsiteX73" fmla="*/ 570351 w 755895"/>
                      <a:gd name="connsiteY73" fmla="*/ 96118 h 352704"/>
                      <a:gd name="connsiteX74" fmla="*/ 569536 w 755895"/>
                      <a:gd name="connsiteY74" fmla="*/ 97789 h 352704"/>
                      <a:gd name="connsiteX75" fmla="*/ 573969 w 755895"/>
                      <a:gd name="connsiteY75" fmla="*/ 98473 h 352704"/>
                      <a:gd name="connsiteX76" fmla="*/ 579544 w 755895"/>
                      <a:gd name="connsiteY76" fmla="*/ 97789 h 352704"/>
                      <a:gd name="connsiteX77" fmla="*/ 643584 w 755895"/>
                      <a:gd name="connsiteY77" fmla="*/ 85654 h 352704"/>
                      <a:gd name="connsiteX78" fmla="*/ 655882 w 755895"/>
                      <a:gd name="connsiteY78" fmla="*/ 84847 h 352704"/>
                      <a:gd name="connsiteX79" fmla="*/ 667284 w 755895"/>
                      <a:gd name="connsiteY79" fmla="*/ 85727 h 352704"/>
                      <a:gd name="connsiteX80" fmla="*/ 665980 w 755895"/>
                      <a:gd name="connsiteY80" fmla="*/ 88555 h 352704"/>
                      <a:gd name="connsiteX81" fmla="*/ 649827 w 755895"/>
                      <a:gd name="connsiteY81" fmla="*/ 96558 h 352704"/>
                      <a:gd name="connsiteX82" fmla="*/ 629274 w 755895"/>
                      <a:gd name="connsiteY82" fmla="*/ 103762 h 352704"/>
                      <a:gd name="connsiteX83" fmla="*/ 618997 w 755895"/>
                      <a:gd name="connsiteY83" fmla="*/ 109215 h 352704"/>
                      <a:gd name="connsiteX84" fmla="*/ 593015 w 755895"/>
                      <a:gd name="connsiteY84" fmla="*/ 118603 h 352704"/>
                      <a:gd name="connsiteX85" fmla="*/ 571785 w 755895"/>
                      <a:gd name="connsiteY85" fmla="*/ 127934 h 352704"/>
                      <a:gd name="connsiteX86" fmla="*/ 563627 w 755895"/>
                      <a:gd name="connsiteY86" fmla="*/ 132661 h 352704"/>
                      <a:gd name="connsiteX87" fmla="*/ 552699 w 755895"/>
                      <a:gd name="connsiteY87" fmla="*/ 141096 h 352704"/>
                      <a:gd name="connsiteX88" fmla="*/ 548966 w 755895"/>
                      <a:gd name="connsiteY88" fmla="*/ 143126 h 352704"/>
                      <a:gd name="connsiteX89" fmla="*/ 544427 w 755895"/>
                      <a:gd name="connsiteY89" fmla="*/ 143965 h 352704"/>
                      <a:gd name="connsiteX90" fmla="*/ 539072 w 755895"/>
                      <a:gd name="connsiteY90" fmla="*/ 143615 h 352704"/>
                      <a:gd name="connsiteX91" fmla="*/ 534264 w 755895"/>
                      <a:gd name="connsiteY91" fmla="*/ 142384 h 352704"/>
                      <a:gd name="connsiteX92" fmla="*/ 527826 w 755895"/>
                      <a:gd name="connsiteY92" fmla="*/ 139238 h 352704"/>
                      <a:gd name="connsiteX93" fmla="*/ 521974 w 755895"/>
                      <a:gd name="connsiteY93" fmla="*/ 135717 h 352704"/>
                      <a:gd name="connsiteX94" fmla="*/ 520140 w 755895"/>
                      <a:gd name="connsiteY94" fmla="*/ 135090 h 352704"/>
                      <a:gd name="connsiteX95" fmla="*/ 521257 w 755895"/>
                      <a:gd name="connsiteY95" fmla="*/ 136842 h 352704"/>
                      <a:gd name="connsiteX96" fmla="*/ 532544 w 755895"/>
                      <a:gd name="connsiteY96" fmla="*/ 148537 h 352704"/>
                      <a:gd name="connsiteX97" fmla="*/ 531249 w 755895"/>
                      <a:gd name="connsiteY97" fmla="*/ 150795 h 352704"/>
                      <a:gd name="connsiteX98" fmla="*/ 510532 w 755895"/>
                      <a:gd name="connsiteY98" fmla="*/ 153182 h 352704"/>
                      <a:gd name="connsiteX99" fmla="*/ 501355 w 755895"/>
                      <a:gd name="connsiteY99" fmla="*/ 155285 h 352704"/>
                      <a:gd name="connsiteX100" fmla="*/ 496629 w 755895"/>
                      <a:gd name="connsiteY100" fmla="*/ 155790 h 352704"/>
                      <a:gd name="connsiteX101" fmla="*/ 493279 w 755895"/>
                      <a:gd name="connsiteY101" fmla="*/ 155415 h 352704"/>
                      <a:gd name="connsiteX102" fmla="*/ 490011 w 755895"/>
                      <a:gd name="connsiteY102" fmla="*/ 155635 h 352704"/>
                      <a:gd name="connsiteX103" fmla="*/ 486824 w 755895"/>
                      <a:gd name="connsiteY103" fmla="*/ 156442 h 352704"/>
                      <a:gd name="connsiteX104" fmla="*/ 486653 w 755895"/>
                      <a:gd name="connsiteY104" fmla="*/ 157347 h 352704"/>
                      <a:gd name="connsiteX105" fmla="*/ 489481 w 755895"/>
                      <a:gd name="connsiteY105" fmla="*/ 158333 h 352704"/>
                      <a:gd name="connsiteX106" fmla="*/ 497737 w 755895"/>
                      <a:gd name="connsiteY106" fmla="*/ 159099 h 352704"/>
                      <a:gd name="connsiteX107" fmla="*/ 516066 w 755895"/>
                      <a:gd name="connsiteY107" fmla="*/ 156491 h 352704"/>
                      <a:gd name="connsiteX108" fmla="*/ 519000 w 755895"/>
                      <a:gd name="connsiteY108" fmla="*/ 156679 h 352704"/>
                      <a:gd name="connsiteX109" fmla="*/ 523726 w 755895"/>
                      <a:gd name="connsiteY109" fmla="*/ 157950 h 352704"/>
                      <a:gd name="connsiteX110" fmla="*/ 523955 w 755895"/>
                      <a:gd name="connsiteY110" fmla="*/ 159115 h 352704"/>
                      <a:gd name="connsiteX111" fmla="*/ 519032 w 755895"/>
                      <a:gd name="connsiteY111" fmla="*/ 162824 h 352704"/>
                      <a:gd name="connsiteX112" fmla="*/ 504191 w 755895"/>
                      <a:gd name="connsiteY112" fmla="*/ 167257 h 352704"/>
                      <a:gd name="connsiteX113" fmla="*/ 506131 w 755895"/>
                      <a:gd name="connsiteY113" fmla="*/ 167510 h 352704"/>
                      <a:gd name="connsiteX114" fmla="*/ 510377 w 755895"/>
                      <a:gd name="connsiteY114" fmla="*/ 169082 h 352704"/>
                      <a:gd name="connsiteX115" fmla="*/ 510287 w 755895"/>
                      <a:gd name="connsiteY115" fmla="*/ 170492 h 352704"/>
                      <a:gd name="connsiteX116" fmla="*/ 505609 w 755895"/>
                      <a:gd name="connsiteY116" fmla="*/ 173809 h 352704"/>
                      <a:gd name="connsiteX117" fmla="*/ 503401 w 755895"/>
                      <a:gd name="connsiteY117" fmla="*/ 174869 h 352704"/>
                      <a:gd name="connsiteX118" fmla="*/ 489090 w 755895"/>
                      <a:gd name="connsiteY118" fmla="*/ 177958 h 352704"/>
                      <a:gd name="connsiteX119" fmla="*/ 482872 w 755895"/>
                      <a:gd name="connsiteY119" fmla="*/ 178675 h 352704"/>
                      <a:gd name="connsiteX120" fmla="*/ 477387 w 755895"/>
                      <a:gd name="connsiteY120" fmla="*/ 178292 h 352704"/>
                      <a:gd name="connsiteX121" fmla="*/ 452294 w 755895"/>
                      <a:gd name="connsiteY121" fmla="*/ 171544 h 352704"/>
                      <a:gd name="connsiteX122" fmla="*/ 443443 w 755895"/>
                      <a:gd name="connsiteY122" fmla="*/ 170566 h 352704"/>
                      <a:gd name="connsiteX123" fmla="*/ 435033 w 755895"/>
                      <a:gd name="connsiteY123" fmla="*/ 168862 h 352704"/>
                      <a:gd name="connsiteX124" fmla="*/ 428831 w 755895"/>
                      <a:gd name="connsiteY124" fmla="*/ 169156 h 352704"/>
                      <a:gd name="connsiteX125" fmla="*/ 422238 w 755895"/>
                      <a:gd name="connsiteY125" fmla="*/ 171136 h 352704"/>
                      <a:gd name="connsiteX126" fmla="*/ 425196 w 755895"/>
                      <a:gd name="connsiteY126" fmla="*/ 172130 h 352704"/>
                      <a:gd name="connsiteX127" fmla="*/ 437347 w 755895"/>
                      <a:gd name="connsiteY127" fmla="*/ 174029 h 352704"/>
                      <a:gd name="connsiteX128" fmla="*/ 447486 w 755895"/>
                      <a:gd name="connsiteY128" fmla="*/ 174396 h 352704"/>
                      <a:gd name="connsiteX129" fmla="*/ 451699 w 755895"/>
                      <a:gd name="connsiteY129" fmla="*/ 175138 h 352704"/>
                      <a:gd name="connsiteX130" fmla="*/ 453345 w 755895"/>
                      <a:gd name="connsiteY130" fmla="*/ 176377 h 352704"/>
                      <a:gd name="connsiteX131" fmla="*/ 457722 w 755895"/>
                      <a:gd name="connsiteY131" fmla="*/ 180851 h 352704"/>
                      <a:gd name="connsiteX132" fmla="*/ 458422 w 755895"/>
                      <a:gd name="connsiteY132" fmla="*/ 183255 h 352704"/>
                      <a:gd name="connsiteX133" fmla="*/ 457453 w 755895"/>
                      <a:gd name="connsiteY133" fmla="*/ 185496 h 352704"/>
                      <a:gd name="connsiteX134" fmla="*/ 456132 w 755895"/>
                      <a:gd name="connsiteY134" fmla="*/ 187061 h 352704"/>
                      <a:gd name="connsiteX135" fmla="*/ 454445 w 755895"/>
                      <a:gd name="connsiteY135" fmla="*/ 187957 h 352704"/>
                      <a:gd name="connsiteX136" fmla="*/ 451854 w 755895"/>
                      <a:gd name="connsiteY136" fmla="*/ 188397 h 352704"/>
                      <a:gd name="connsiteX137" fmla="*/ 441928 w 755895"/>
                      <a:gd name="connsiteY137" fmla="*/ 188080 h 352704"/>
                      <a:gd name="connsiteX138" fmla="*/ 438227 w 755895"/>
                      <a:gd name="connsiteY138" fmla="*/ 188634 h 352704"/>
                      <a:gd name="connsiteX139" fmla="*/ 433932 w 755895"/>
                      <a:gd name="connsiteY139" fmla="*/ 189938 h 352704"/>
                      <a:gd name="connsiteX140" fmla="*/ 428537 w 755895"/>
                      <a:gd name="connsiteY140" fmla="*/ 190500 h 352704"/>
                      <a:gd name="connsiteX141" fmla="*/ 418823 w 755895"/>
                      <a:gd name="connsiteY141" fmla="*/ 190239 h 352704"/>
                      <a:gd name="connsiteX142" fmla="*/ 407373 w 755895"/>
                      <a:gd name="connsiteY142" fmla="*/ 192146 h 352704"/>
                      <a:gd name="connsiteX143" fmla="*/ 401317 w 755895"/>
                      <a:gd name="connsiteY143" fmla="*/ 192489 h 352704"/>
                      <a:gd name="connsiteX144" fmla="*/ 394610 w 755895"/>
                      <a:gd name="connsiteY144" fmla="*/ 191641 h 352704"/>
                      <a:gd name="connsiteX145" fmla="*/ 387349 w 755895"/>
                      <a:gd name="connsiteY145" fmla="*/ 189506 h 352704"/>
                      <a:gd name="connsiteX146" fmla="*/ 379680 w 755895"/>
                      <a:gd name="connsiteY146" fmla="*/ 188438 h 352704"/>
                      <a:gd name="connsiteX147" fmla="*/ 366714 w 755895"/>
                      <a:gd name="connsiteY147" fmla="*/ 187533 h 352704"/>
                      <a:gd name="connsiteX148" fmla="*/ 367797 w 755895"/>
                      <a:gd name="connsiteY148" fmla="*/ 188748 h 352704"/>
                      <a:gd name="connsiteX149" fmla="*/ 372361 w 755895"/>
                      <a:gd name="connsiteY149" fmla="*/ 189261 h 352704"/>
                      <a:gd name="connsiteX150" fmla="*/ 381668 w 755895"/>
                      <a:gd name="connsiteY150" fmla="*/ 192521 h 352704"/>
                      <a:gd name="connsiteX151" fmla="*/ 386118 w 755895"/>
                      <a:gd name="connsiteY151" fmla="*/ 196946 h 352704"/>
                      <a:gd name="connsiteX152" fmla="*/ 390307 w 755895"/>
                      <a:gd name="connsiteY152" fmla="*/ 197688 h 352704"/>
                      <a:gd name="connsiteX153" fmla="*/ 398856 w 755895"/>
                      <a:gd name="connsiteY153" fmla="*/ 201323 h 352704"/>
                      <a:gd name="connsiteX154" fmla="*/ 405034 w 755895"/>
                      <a:gd name="connsiteY154" fmla="*/ 201877 h 352704"/>
                      <a:gd name="connsiteX155" fmla="*/ 411488 w 755895"/>
                      <a:gd name="connsiteY155" fmla="*/ 203116 h 352704"/>
                      <a:gd name="connsiteX156" fmla="*/ 420567 w 755895"/>
                      <a:gd name="connsiteY156" fmla="*/ 201527 h 352704"/>
                      <a:gd name="connsiteX157" fmla="*/ 426679 w 755895"/>
                      <a:gd name="connsiteY157" fmla="*/ 201828 h 352704"/>
                      <a:gd name="connsiteX158" fmla="*/ 425408 w 755895"/>
                      <a:gd name="connsiteY158" fmla="*/ 210728 h 352704"/>
                      <a:gd name="connsiteX159" fmla="*/ 422710 w 755895"/>
                      <a:gd name="connsiteY159" fmla="*/ 211591 h 352704"/>
                      <a:gd name="connsiteX160" fmla="*/ 408025 w 755895"/>
                      <a:gd name="connsiteY160" fmla="*/ 211591 h 352704"/>
                      <a:gd name="connsiteX161" fmla="*/ 401049 w 755895"/>
                      <a:gd name="connsiteY161" fmla="*/ 210304 h 352704"/>
                      <a:gd name="connsiteX162" fmla="*/ 397960 w 755895"/>
                      <a:gd name="connsiteY162" fmla="*/ 208967 h 352704"/>
                      <a:gd name="connsiteX163" fmla="*/ 391195 w 755895"/>
                      <a:gd name="connsiteY163" fmla="*/ 207460 h 352704"/>
                      <a:gd name="connsiteX164" fmla="*/ 385100 w 755895"/>
                      <a:gd name="connsiteY164" fmla="*/ 208332 h 352704"/>
                      <a:gd name="connsiteX165" fmla="*/ 379574 w 755895"/>
                      <a:gd name="connsiteY165" fmla="*/ 208144 h 352704"/>
                      <a:gd name="connsiteX166" fmla="*/ 375825 w 755895"/>
                      <a:gd name="connsiteY166" fmla="*/ 209024 h 352704"/>
                      <a:gd name="connsiteX167" fmla="*/ 369876 w 755895"/>
                      <a:gd name="connsiteY167" fmla="*/ 209000 h 352704"/>
                      <a:gd name="connsiteX168" fmla="*/ 354334 w 755895"/>
                      <a:gd name="connsiteY168" fmla="*/ 210499 h 352704"/>
                      <a:gd name="connsiteX169" fmla="*/ 346119 w 755895"/>
                      <a:gd name="connsiteY169" fmla="*/ 210524 h 352704"/>
                      <a:gd name="connsiteX170" fmla="*/ 340048 w 755895"/>
                      <a:gd name="connsiteY170" fmla="*/ 209546 h 352704"/>
                      <a:gd name="connsiteX171" fmla="*/ 332998 w 755895"/>
                      <a:gd name="connsiteY171" fmla="*/ 209253 h 352704"/>
                      <a:gd name="connsiteX172" fmla="*/ 324971 w 755895"/>
                      <a:gd name="connsiteY172" fmla="*/ 209603 h 352704"/>
                      <a:gd name="connsiteX173" fmla="*/ 325533 w 755895"/>
                      <a:gd name="connsiteY173" fmla="*/ 210646 h 352704"/>
                      <a:gd name="connsiteX174" fmla="*/ 328940 w 755895"/>
                      <a:gd name="connsiteY174" fmla="*/ 210948 h 352704"/>
                      <a:gd name="connsiteX175" fmla="*/ 333895 w 755895"/>
                      <a:gd name="connsiteY175" fmla="*/ 212618 h 352704"/>
                      <a:gd name="connsiteX176" fmla="*/ 338483 w 755895"/>
                      <a:gd name="connsiteY176" fmla="*/ 215202 h 352704"/>
                      <a:gd name="connsiteX177" fmla="*/ 342313 w 755895"/>
                      <a:gd name="connsiteY177" fmla="*/ 216286 h 352704"/>
                      <a:gd name="connsiteX178" fmla="*/ 346885 w 755895"/>
                      <a:gd name="connsiteY178" fmla="*/ 215666 h 352704"/>
                      <a:gd name="connsiteX179" fmla="*/ 351547 w 755895"/>
                      <a:gd name="connsiteY179" fmla="*/ 214460 h 352704"/>
                      <a:gd name="connsiteX180" fmla="*/ 368547 w 755895"/>
                      <a:gd name="connsiteY180" fmla="*/ 212488 h 352704"/>
                      <a:gd name="connsiteX181" fmla="*/ 376004 w 755895"/>
                      <a:gd name="connsiteY181" fmla="*/ 212162 h 352704"/>
                      <a:gd name="connsiteX182" fmla="*/ 382654 w 755895"/>
                      <a:gd name="connsiteY182" fmla="*/ 213034 h 352704"/>
                      <a:gd name="connsiteX183" fmla="*/ 387088 w 755895"/>
                      <a:gd name="connsiteY183" fmla="*/ 214126 h 352704"/>
                      <a:gd name="connsiteX184" fmla="*/ 390177 w 755895"/>
                      <a:gd name="connsiteY184" fmla="*/ 215446 h 352704"/>
                      <a:gd name="connsiteX185" fmla="*/ 394089 w 755895"/>
                      <a:gd name="connsiteY185" fmla="*/ 218926 h 352704"/>
                      <a:gd name="connsiteX186" fmla="*/ 403885 w 755895"/>
                      <a:gd name="connsiteY186" fmla="*/ 219350 h 352704"/>
                      <a:gd name="connsiteX187" fmla="*/ 411366 w 755895"/>
                      <a:gd name="connsiteY187" fmla="*/ 220507 h 352704"/>
                      <a:gd name="connsiteX188" fmla="*/ 423273 w 755895"/>
                      <a:gd name="connsiteY188" fmla="*/ 225544 h 352704"/>
                      <a:gd name="connsiteX189" fmla="*/ 426549 w 755895"/>
                      <a:gd name="connsiteY189" fmla="*/ 225927 h 352704"/>
                      <a:gd name="connsiteX190" fmla="*/ 427869 w 755895"/>
                      <a:gd name="connsiteY190" fmla="*/ 227223 h 352704"/>
                      <a:gd name="connsiteX191" fmla="*/ 425335 w 755895"/>
                      <a:gd name="connsiteY191" fmla="*/ 230474 h 352704"/>
                      <a:gd name="connsiteX192" fmla="*/ 425049 w 755895"/>
                      <a:gd name="connsiteY192" fmla="*/ 232430 h 352704"/>
                      <a:gd name="connsiteX193" fmla="*/ 416818 w 755895"/>
                      <a:gd name="connsiteY193" fmla="*/ 236196 h 352704"/>
                      <a:gd name="connsiteX194" fmla="*/ 403974 w 755895"/>
                      <a:gd name="connsiteY194" fmla="*/ 237296 h 352704"/>
                      <a:gd name="connsiteX195" fmla="*/ 389851 w 755895"/>
                      <a:gd name="connsiteY195" fmla="*/ 236945 h 352704"/>
                      <a:gd name="connsiteX196" fmla="*/ 379745 w 755895"/>
                      <a:gd name="connsiteY196" fmla="*/ 237377 h 352704"/>
                      <a:gd name="connsiteX197" fmla="*/ 378686 w 755895"/>
                      <a:gd name="connsiteY197" fmla="*/ 237866 h 352704"/>
                      <a:gd name="connsiteX198" fmla="*/ 385621 w 755895"/>
                      <a:gd name="connsiteY198" fmla="*/ 238852 h 352704"/>
                      <a:gd name="connsiteX199" fmla="*/ 401700 w 755895"/>
                      <a:gd name="connsiteY199" fmla="*/ 243245 h 352704"/>
                      <a:gd name="connsiteX200" fmla="*/ 407927 w 755895"/>
                      <a:gd name="connsiteY200" fmla="*/ 245633 h 352704"/>
                      <a:gd name="connsiteX201" fmla="*/ 409011 w 755895"/>
                      <a:gd name="connsiteY201" fmla="*/ 247027 h 352704"/>
                      <a:gd name="connsiteX202" fmla="*/ 400144 w 755895"/>
                      <a:gd name="connsiteY202" fmla="*/ 252332 h 352704"/>
                      <a:gd name="connsiteX203" fmla="*/ 392328 w 755895"/>
                      <a:gd name="connsiteY203" fmla="*/ 262821 h 352704"/>
                      <a:gd name="connsiteX204" fmla="*/ 389761 w 755895"/>
                      <a:gd name="connsiteY204" fmla="*/ 263652 h 352704"/>
                      <a:gd name="connsiteX205" fmla="*/ 387080 w 755895"/>
                      <a:gd name="connsiteY205" fmla="*/ 263945 h 352704"/>
                      <a:gd name="connsiteX206" fmla="*/ 380185 w 755895"/>
                      <a:gd name="connsiteY206" fmla="*/ 263750 h 352704"/>
                      <a:gd name="connsiteX207" fmla="*/ 371440 w 755895"/>
                      <a:gd name="connsiteY207" fmla="*/ 266390 h 352704"/>
                      <a:gd name="connsiteX208" fmla="*/ 364847 w 755895"/>
                      <a:gd name="connsiteY208" fmla="*/ 266912 h 352704"/>
                      <a:gd name="connsiteX209" fmla="*/ 352892 w 755895"/>
                      <a:gd name="connsiteY209" fmla="*/ 265926 h 352704"/>
                      <a:gd name="connsiteX210" fmla="*/ 339086 w 755895"/>
                      <a:gd name="connsiteY210" fmla="*/ 265991 h 352704"/>
                      <a:gd name="connsiteX211" fmla="*/ 338002 w 755895"/>
                      <a:gd name="connsiteY211" fmla="*/ 267686 h 352704"/>
                      <a:gd name="connsiteX212" fmla="*/ 337309 w 755895"/>
                      <a:gd name="connsiteY212" fmla="*/ 270930 h 352704"/>
                      <a:gd name="connsiteX213" fmla="*/ 337391 w 755895"/>
                      <a:gd name="connsiteY213" fmla="*/ 275811 h 352704"/>
                      <a:gd name="connsiteX214" fmla="*/ 338230 w 755895"/>
                      <a:gd name="connsiteY214" fmla="*/ 282323 h 352704"/>
                      <a:gd name="connsiteX215" fmla="*/ 337513 w 755895"/>
                      <a:gd name="connsiteY215" fmla="*/ 287066 h 352704"/>
                      <a:gd name="connsiteX216" fmla="*/ 335231 w 755895"/>
                      <a:gd name="connsiteY216" fmla="*/ 290073 h 352704"/>
                      <a:gd name="connsiteX217" fmla="*/ 332363 w 755895"/>
                      <a:gd name="connsiteY217" fmla="*/ 292282 h 352704"/>
                      <a:gd name="connsiteX218" fmla="*/ 327163 w 755895"/>
                      <a:gd name="connsiteY218" fmla="*/ 294425 h 352704"/>
                      <a:gd name="connsiteX219" fmla="*/ 321833 w 755895"/>
                      <a:gd name="connsiteY219" fmla="*/ 295770 h 352704"/>
                      <a:gd name="connsiteX220" fmla="*/ 317832 w 755895"/>
                      <a:gd name="connsiteY220" fmla="*/ 296243 h 352704"/>
                      <a:gd name="connsiteX221" fmla="*/ 311181 w 755895"/>
                      <a:gd name="connsiteY221" fmla="*/ 296316 h 352704"/>
                      <a:gd name="connsiteX222" fmla="*/ 292119 w 755895"/>
                      <a:gd name="connsiteY222" fmla="*/ 297865 h 352704"/>
                      <a:gd name="connsiteX223" fmla="*/ 282804 w 755895"/>
                      <a:gd name="connsiteY223" fmla="*/ 297759 h 352704"/>
                      <a:gd name="connsiteX224" fmla="*/ 275583 w 755895"/>
                      <a:gd name="connsiteY224" fmla="*/ 297107 h 352704"/>
                      <a:gd name="connsiteX225" fmla="*/ 268102 w 755895"/>
                      <a:gd name="connsiteY225" fmla="*/ 294963 h 352704"/>
                      <a:gd name="connsiteX226" fmla="*/ 255649 w 755895"/>
                      <a:gd name="connsiteY226" fmla="*/ 288884 h 352704"/>
                      <a:gd name="connsiteX227" fmla="*/ 252112 w 755895"/>
                      <a:gd name="connsiteY227" fmla="*/ 287539 h 352704"/>
                      <a:gd name="connsiteX228" fmla="*/ 248648 w 755895"/>
                      <a:gd name="connsiteY228" fmla="*/ 286756 h 352704"/>
                      <a:gd name="connsiteX229" fmla="*/ 248779 w 755895"/>
                      <a:gd name="connsiteY229" fmla="*/ 288069 h 352704"/>
                      <a:gd name="connsiteX230" fmla="*/ 252503 w 755895"/>
                      <a:gd name="connsiteY230" fmla="*/ 291459 h 352704"/>
                      <a:gd name="connsiteX231" fmla="*/ 255608 w 755895"/>
                      <a:gd name="connsiteY231" fmla="*/ 293651 h 352704"/>
                      <a:gd name="connsiteX232" fmla="*/ 258102 w 755895"/>
                      <a:gd name="connsiteY232" fmla="*/ 294637 h 352704"/>
                      <a:gd name="connsiteX233" fmla="*/ 257515 w 755895"/>
                      <a:gd name="connsiteY233" fmla="*/ 295672 h 352704"/>
                      <a:gd name="connsiteX234" fmla="*/ 252022 w 755895"/>
                      <a:gd name="connsiteY234" fmla="*/ 297302 h 352704"/>
                      <a:gd name="connsiteX235" fmla="*/ 245959 w 755895"/>
                      <a:gd name="connsiteY235" fmla="*/ 298036 h 352704"/>
                      <a:gd name="connsiteX236" fmla="*/ 238787 w 755895"/>
                      <a:gd name="connsiteY236" fmla="*/ 298011 h 352704"/>
                      <a:gd name="connsiteX237" fmla="*/ 238559 w 755895"/>
                      <a:gd name="connsiteY237" fmla="*/ 298639 h 352704"/>
                      <a:gd name="connsiteX238" fmla="*/ 240988 w 755895"/>
                      <a:gd name="connsiteY238" fmla="*/ 300399 h 352704"/>
                      <a:gd name="connsiteX239" fmla="*/ 244150 w 755895"/>
                      <a:gd name="connsiteY239" fmla="*/ 302054 h 352704"/>
                      <a:gd name="connsiteX240" fmla="*/ 246236 w 755895"/>
                      <a:gd name="connsiteY240" fmla="*/ 302551 h 352704"/>
                      <a:gd name="connsiteX241" fmla="*/ 251737 w 755895"/>
                      <a:gd name="connsiteY241" fmla="*/ 302037 h 352704"/>
                      <a:gd name="connsiteX242" fmla="*/ 258110 w 755895"/>
                      <a:gd name="connsiteY242" fmla="*/ 299951 h 352704"/>
                      <a:gd name="connsiteX243" fmla="*/ 262087 w 755895"/>
                      <a:gd name="connsiteY243" fmla="*/ 299332 h 352704"/>
                      <a:gd name="connsiteX244" fmla="*/ 269992 w 755895"/>
                      <a:gd name="connsiteY244" fmla="*/ 299829 h 352704"/>
                      <a:gd name="connsiteX245" fmla="*/ 273122 w 755895"/>
                      <a:gd name="connsiteY245" fmla="*/ 300570 h 352704"/>
                      <a:gd name="connsiteX246" fmla="*/ 282991 w 755895"/>
                      <a:gd name="connsiteY246" fmla="*/ 305142 h 352704"/>
                      <a:gd name="connsiteX247" fmla="*/ 284369 w 755895"/>
                      <a:gd name="connsiteY247" fmla="*/ 305362 h 352704"/>
                      <a:gd name="connsiteX248" fmla="*/ 291687 w 755895"/>
                      <a:gd name="connsiteY248" fmla="*/ 303056 h 352704"/>
                      <a:gd name="connsiteX249" fmla="*/ 302266 w 755895"/>
                      <a:gd name="connsiteY249" fmla="*/ 302934 h 352704"/>
                      <a:gd name="connsiteX250" fmla="*/ 306145 w 755895"/>
                      <a:gd name="connsiteY250" fmla="*/ 304784 h 352704"/>
                      <a:gd name="connsiteX251" fmla="*/ 307628 w 755895"/>
                      <a:gd name="connsiteY251" fmla="*/ 308370 h 352704"/>
                      <a:gd name="connsiteX252" fmla="*/ 307807 w 755895"/>
                      <a:gd name="connsiteY252" fmla="*/ 311279 h 352704"/>
                      <a:gd name="connsiteX253" fmla="*/ 306691 w 755895"/>
                      <a:gd name="connsiteY253" fmla="*/ 313496 h 352704"/>
                      <a:gd name="connsiteX254" fmla="*/ 309120 w 755895"/>
                      <a:gd name="connsiteY254" fmla="*/ 315655 h 352704"/>
                      <a:gd name="connsiteX255" fmla="*/ 315109 w 755895"/>
                      <a:gd name="connsiteY255" fmla="*/ 317766 h 352704"/>
                      <a:gd name="connsiteX256" fmla="*/ 319763 w 755895"/>
                      <a:gd name="connsiteY256" fmla="*/ 318223 h 352704"/>
                      <a:gd name="connsiteX257" fmla="*/ 323072 w 755895"/>
                      <a:gd name="connsiteY257" fmla="*/ 317025 h 352704"/>
                      <a:gd name="connsiteX258" fmla="*/ 328092 w 755895"/>
                      <a:gd name="connsiteY258" fmla="*/ 314131 h 352704"/>
                      <a:gd name="connsiteX259" fmla="*/ 330219 w 755895"/>
                      <a:gd name="connsiteY259" fmla="*/ 313447 h 352704"/>
                      <a:gd name="connsiteX260" fmla="*/ 332232 w 755895"/>
                      <a:gd name="connsiteY260" fmla="*/ 313602 h 352704"/>
                      <a:gd name="connsiteX261" fmla="*/ 335305 w 755895"/>
                      <a:gd name="connsiteY261" fmla="*/ 315712 h 352704"/>
                      <a:gd name="connsiteX262" fmla="*/ 339436 w 755895"/>
                      <a:gd name="connsiteY262" fmla="*/ 319763 h 352704"/>
                      <a:gd name="connsiteX263" fmla="*/ 339811 w 755895"/>
                      <a:gd name="connsiteY263" fmla="*/ 324490 h 352704"/>
                      <a:gd name="connsiteX264" fmla="*/ 336454 w 755895"/>
                      <a:gd name="connsiteY264" fmla="*/ 329893 h 352704"/>
                      <a:gd name="connsiteX265" fmla="*/ 332346 w 755895"/>
                      <a:gd name="connsiteY265" fmla="*/ 333430 h 352704"/>
                      <a:gd name="connsiteX266" fmla="*/ 316226 w 755895"/>
                      <a:gd name="connsiteY266" fmla="*/ 339265 h 352704"/>
                      <a:gd name="connsiteX267" fmla="*/ 311352 w 755895"/>
                      <a:gd name="connsiteY267" fmla="*/ 341555 h 352704"/>
                      <a:gd name="connsiteX268" fmla="*/ 307506 w 755895"/>
                      <a:gd name="connsiteY268" fmla="*/ 343935 h 352704"/>
                      <a:gd name="connsiteX269" fmla="*/ 301923 w 755895"/>
                      <a:gd name="connsiteY269" fmla="*/ 346078 h 352704"/>
                      <a:gd name="connsiteX270" fmla="*/ 290946 w 755895"/>
                      <a:gd name="connsiteY270" fmla="*/ 348939 h 352704"/>
                      <a:gd name="connsiteX271" fmla="*/ 285167 w 755895"/>
                      <a:gd name="connsiteY271" fmla="*/ 349485 h 352704"/>
                      <a:gd name="connsiteX272" fmla="*/ 272674 w 755895"/>
                      <a:gd name="connsiteY272" fmla="*/ 352557 h 352704"/>
                      <a:gd name="connsiteX273" fmla="*/ 269960 w 755895"/>
                      <a:gd name="connsiteY273" fmla="*/ 352704 h 352704"/>
                      <a:gd name="connsiteX274" fmla="*/ 265918 w 755895"/>
                      <a:gd name="connsiteY274" fmla="*/ 352207 h 352704"/>
                      <a:gd name="connsiteX275" fmla="*/ 265078 w 755895"/>
                      <a:gd name="connsiteY275" fmla="*/ 350707 h 352704"/>
                      <a:gd name="connsiteX276" fmla="*/ 266105 w 755895"/>
                      <a:gd name="connsiteY276" fmla="*/ 348026 h 352704"/>
                      <a:gd name="connsiteX277" fmla="*/ 267442 w 755895"/>
                      <a:gd name="connsiteY277" fmla="*/ 345532 h 352704"/>
                      <a:gd name="connsiteX278" fmla="*/ 269088 w 755895"/>
                      <a:gd name="connsiteY278" fmla="*/ 343234 h 352704"/>
                      <a:gd name="connsiteX279" fmla="*/ 269153 w 755895"/>
                      <a:gd name="connsiteY279" fmla="*/ 341319 h 352704"/>
                      <a:gd name="connsiteX280" fmla="*/ 265624 w 755895"/>
                      <a:gd name="connsiteY280" fmla="*/ 338344 h 352704"/>
                      <a:gd name="connsiteX281" fmla="*/ 263147 w 755895"/>
                      <a:gd name="connsiteY281" fmla="*/ 336967 h 352704"/>
                      <a:gd name="connsiteX282" fmla="*/ 260759 w 755895"/>
                      <a:gd name="connsiteY282" fmla="*/ 336274 h 352704"/>
                      <a:gd name="connsiteX283" fmla="*/ 255942 w 755895"/>
                      <a:gd name="connsiteY283" fmla="*/ 336682 h 352704"/>
                      <a:gd name="connsiteX284" fmla="*/ 253229 w 755895"/>
                      <a:gd name="connsiteY284" fmla="*/ 337497 h 352704"/>
                      <a:gd name="connsiteX285" fmla="*/ 250311 w 755895"/>
                      <a:gd name="connsiteY285" fmla="*/ 337643 h 352704"/>
                      <a:gd name="connsiteX286" fmla="*/ 247206 w 755895"/>
                      <a:gd name="connsiteY286" fmla="*/ 337138 h 352704"/>
                      <a:gd name="connsiteX287" fmla="*/ 244582 w 755895"/>
                      <a:gd name="connsiteY287" fmla="*/ 335875 h 352704"/>
                      <a:gd name="connsiteX288" fmla="*/ 239341 w 755895"/>
                      <a:gd name="connsiteY288" fmla="*/ 330602 h 352704"/>
                      <a:gd name="connsiteX289" fmla="*/ 237369 w 755895"/>
                      <a:gd name="connsiteY289" fmla="*/ 329926 h 352704"/>
                      <a:gd name="connsiteX290" fmla="*/ 234786 w 755895"/>
                      <a:gd name="connsiteY290" fmla="*/ 330097 h 352704"/>
                      <a:gd name="connsiteX291" fmla="*/ 232471 w 755895"/>
                      <a:gd name="connsiteY291" fmla="*/ 329339 h 352704"/>
                      <a:gd name="connsiteX292" fmla="*/ 230434 w 755895"/>
                      <a:gd name="connsiteY292" fmla="*/ 327660 h 352704"/>
                      <a:gd name="connsiteX293" fmla="*/ 227052 w 755895"/>
                      <a:gd name="connsiteY293" fmla="*/ 326030 h 352704"/>
                      <a:gd name="connsiteX294" fmla="*/ 227956 w 755895"/>
                      <a:gd name="connsiteY294" fmla="*/ 327277 h 352704"/>
                      <a:gd name="connsiteX295" fmla="*/ 231338 w 755895"/>
                      <a:gd name="connsiteY295" fmla="*/ 330284 h 352704"/>
                      <a:gd name="connsiteX296" fmla="*/ 233694 w 755895"/>
                      <a:gd name="connsiteY296" fmla="*/ 333267 h 352704"/>
                      <a:gd name="connsiteX297" fmla="*/ 235022 w 755895"/>
                      <a:gd name="connsiteY297" fmla="*/ 336217 h 352704"/>
                      <a:gd name="connsiteX298" fmla="*/ 234411 w 755895"/>
                      <a:gd name="connsiteY298" fmla="*/ 338548 h 352704"/>
                      <a:gd name="connsiteX299" fmla="*/ 205740 w 755895"/>
                      <a:gd name="connsiteY299" fmla="*/ 339836 h 352704"/>
                      <a:gd name="connsiteX300" fmla="*/ 193418 w 755895"/>
                      <a:gd name="connsiteY300" fmla="*/ 339167 h 352704"/>
                      <a:gd name="connsiteX301" fmla="*/ 190924 w 755895"/>
                      <a:gd name="connsiteY301" fmla="*/ 337138 h 352704"/>
                      <a:gd name="connsiteX302" fmla="*/ 185040 w 755895"/>
                      <a:gd name="connsiteY302" fmla="*/ 328369 h 352704"/>
                      <a:gd name="connsiteX303" fmla="*/ 183760 w 755895"/>
                      <a:gd name="connsiteY303" fmla="*/ 343845 h 352704"/>
                      <a:gd name="connsiteX304" fmla="*/ 162278 w 755895"/>
                      <a:gd name="connsiteY304" fmla="*/ 346364 h 352704"/>
                      <a:gd name="connsiteX305" fmla="*/ 157265 w 755895"/>
                      <a:gd name="connsiteY305" fmla="*/ 345940 h 352704"/>
                      <a:gd name="connsiteX306" fmla="*/ 148904 w 755895"/>
                      <a:gd name="connsiteY306" fmla="*/ 344204 h 352704"/>
                      <a:gd name="connsiteX307" fmla="*/ 138114 w 755895"/>
                      <a:gd name="connsiteY307" fmla="*/ 340056 h 352704"/>
                      <a:gd name="connsiteX308" fmla="*/ 133631 w 755895"/>
                      <a:gd name="connsiteY308" fmla="*/ 337285 h 352704"/>
                      <a:gd name="connsiteX309" fmla="*/ 131879 w 755895"/>
                      <a:gd name="connsiteY309" fmla="*/ 334530 h 352704"/>
                      <a:gd name="connsiteX310" fmla="*/ 130583 w 755895"/>
                      <a:gd name="connsiteY310" fmla="*/ 333014 h 352704"/>
                      <a:gd name="connsiteX311" fmla="*/ 129736 w 755895"/>
                      <a:gd name="connsiteY311" fmla="*/ 332770 h 352704"/>
                      <a:gd name="connsiteX312" fmla="*/ 127046 w 755895"/>
                      <a:gd name="connsiteY312" fmla="*/ 336087 h 352704"/>
                      <a:gd name="connsiteX313" fmla="*/ 124112 w 755895"/>
                      <a:gd name="connsiteY313" fmla="*/ 342876 h 352704"/>
                      <a:gd name="connsiteX314" fmla="*/ 116737 w 755895"/>
                      <a:gd name="connsiteY314" fmla="*/ 341123 h 352704"/>
                      <a:gd name="connsiteX315" fmla="*/ 107397 w 755895"/>
                      <a:gd name="connsiteY315" fmla="*/ 339412 h 352704"/>
                      <a:gd name="connsiteX316" fmla="*/ 104031 w 755895"/>
                      <a:gd name="connsiteY316" fmla="*/ 332721 h 352704"/>
                      <a:gd name="connsiteX317" fmla="*/ 103844 w 755895"/>
                      <a:gd name="connsiteY317" fmla="*/ 342403 h 352704"/>
                      <a:gd name="connsiteX318" fmla="*/ 88791 w 755895"/>
                      <a:gd name="connsiteY318" fmla="*/ 341123 h 352704"/>
                      <a:gd name="connsiteX319" fmla="*/ 81555 w 755895"/>
                      <a:gd name="connsiteY319" fmla="*/ 341482 h 352704"/>
                      <a:gd name="connsiteX320" fmla="*/ 79427 w 755895"/>
                      <a:gd name="connsiteY320" fmla="*/ 332998 h 352704"/>
                      <a:gd name="connsiteX321" fmla="*/ 79077 w 755895"/>
                      <a:gd name="connsiteY321" fmla="*/ 323618 h 352704"/>
                      <a:gd name="connsiteX322" fmla="*/ 76151 w 755895"/>
                      <a:gd name="connsiteY322" fmla="*/ 329551 h 352704"/>
                      <a:gd name="connsiteX323" fmla="*/ 77422 w 755895"/>
                      <a:gd name="connsiteY323" fmla="*/ 334604 h 352704"/>
                      <a:gd name="connsiteX324" fmla="*/ 77838 w 755895"/>
                      <a:gd name="connsiteY324" fmla="*/ 340732 h 352704"/>
                      <a:gd name="connsiteX325" fmla="*/ 71441 w 755895"/>
                      <a:gd name="connsiteY325" fmla="*/ 338988 h 352704"/>
                      <a:gd name="connsiteX326" fmla="*/ 57407 w 755895"/>
                      <a:gd name="connsiteY326" fmla="*/ 338132 h 352704"/>
                      <a:gd name="connsiteX327" fmla="*/ 52436 w 755895"/>
                      <a:gd name="connsiteY327" fmla="*/ 337285 h 352704"/>
                      <a:gd name="connsiteX328" fmla="*/ 53079 w 755895"/>
                      <a:gd name="connsiteY328" fmla="*/ 329135 h 352704"/>
                      <a:gd name="connsiteX329" fmla="*/ 54180 w 755895"/>
                      <a:gd name="connsiteY329" fmla="*/ 320994 h 352704"/>
                      <a:gd name="connsiteX330" fmla="*/ 72264 w 755895"/>
                      <a:gd name="connsiteY330" fmla="*/ 312860 h 352704"/>
                      <a:gd name="connsiteX331" fmla="*/ 77586 w 755895"/>
                      <a:gd name="connsiteY331" fmla="*/ 309005 h 352704"/>
                      <a:gd name="connsiteX332" fmla="*/ 81506 w 755895"/>
                      <a:gd name="connsiteY332" fmla="*/ 307449 h 352704"/>
                      <a:gd name="connsiteX333" fmla="*/ 87707 w 755895"/>
                      <a:gd name="connsiteY333" fmla="*/ 306463 h 352704"/>
                      <a:gd name="connsiteX334" fmla="*/ 95637 w 755895"/>
                      <a:gd name="connsiteY334" fmla="*/ 305859 h 352704"/>
                      <a:gd name="connsiteX335" fmla="*/ 101040 w 755895"/>
                      <a:gd name="connsiteY335" fmla="*/ 306324 h 352704"/>
                      <a:gd name="connsiteX336" fmla="*/ 107210 w 755895"/>
                      <a:gd name="connsiteY336" fmla="*/ 305876 h 352704"/>
                      <a:gd name="connsiteX337" fmla="*/ 114577 w 755895"/>
                      <a:gd name="connsiteY337" fmla="*/ 304417 h 352704"/>
                      <a:gd name="connsiteX338" fmla="*/ 119842 w 755895"/>
                      <a:gd name="connsiteY338" fmla="*/ 303993 h 352704"/>
                      <a:gd name="connsiteX339" fmla="*/ 120836 w 755895"/>
                      <a:gd name="connsiteY339" fmla="*/ 303480 h 352704"/>
                      <a:gd name="connsiteX340" fmla="*/ 119312 w 755895"/>
                      <a:gd name="connsiteY340" fmla="*/ 302730 h 352704"/>
                      <a:gd name="connsiteX341" fmla="*/ 113681 w 755895"/>
                      <a:gd name="connsiteY341" fmla="*/ 297457 h 352704"/>
                      <a:gd name="connsiteX342" fmla="*/ 111651 w 755895"/>
                      <a:gd name="connsiteY342" fmla="*/ 296267 h 352704"/>
                      <a:gd name="connsiteX343" fmla="*/ 109598 w 755895"/>
                      <a:gd name="connsiteY343" fmla="*/ 295729 h 352704"/>
                      <a:gd name="connsiteX344" fmla="*/ 105523 w 755895"/>
                      <a:gd name="connsiteY344" fmla="*/ 295493 h 352704"/>
                      <a:gd name="connsiteX345" fmla="*/ 101562 w 755895"/>
                      <a:gd name="connsiteY345" fmla="*/ 293187 h 352704"/>
                      <a:gd name="connsiteX346" fmla="*/ 99280 w 755895"/>
                      <a:gd name="connsiteY346" fmla="*/ 291141 h 352704"/>
                      <a:gd name="connsiteX347" fmla="*/ 96827 w 755895"/>
                      <a:gd name="connsiteY347" fmla="*/ 288362 h 352704"/>
                      <a:gd name="connsiteX348" fmla="*/ 92915 w 755895"/>
                      <a:gd name="connsiteY348" fmla="*/ 283089 h 352704"/>
                      <a:gd name="connsiteX349" fmla="*/ 89028 w 755895"/>
                      <a:gd name="connsiteY349" fmla="*/ 277205 h 352704"/>
                      <a:gd name="connsiteX350" fmla="*/ 90959 w 755895"/>
                      <a:gd name="connsiteY350" fmla="*/ 273961 h 352704"/>
                      <a:gd name="connsiteX351" fmla="*/ 97398 w 755895"/>
                      <a:gd name="connsiteY351" fmla="*/ 271419 h 352704"/>
                      <a:gd name="connsiteX352" fmla="*/ 103860 w 755895"/>
                      <a:gd name="connsiteY352" fmla="*/ 269650 h 352704"/>
                      <a:gd name="connsiteX353" fmla="*/ 110323 w 755895"/>
                      <a:gd name="connsiteY353" fmla="*/ 268664 h 352704"/>
                      <a:gd name="connsiteX354" fmla="*/ 115735 w 755895"/>
                      <a:gd name="connsiteY354" fmla="*/ 268648 h 352704"/>
                      <a:gd name="connsiteX355" fmla="*/ 122254 w 755895"/>
                      <a:gd name="connsiteY355" fmla="*/ 270058 h 352704"/>
                      <a:gd name="connsiteX356" fmla="*/ 131431 w 755895"/>
                      <a:gd name="connsiteY356" fmla="*/ 272780 h 352704"/>
                      <a:gd name="connsiteX357" fmla="*/ 136696 w 755895"/>
                      <a:gd name="connsiteY357" fmla="*/ 275868 h 352704"/>
                      <a:gd name="connsiteX358" fmla="*/ 143297 w 755895"/>
                      <a:gd name="connsiteY358" fmla="*/ 282396 h 352704"/>
                      <a:gd name="connsiteX359" fmla="*/ 147649 w 755895"/>
                      <a:gd name="connsiteY359" fmla="*/ 287580 h 352704"/>
                      <a:gd name="connsiteX360" fmla="*/ 151186 w 755895"/>
                      <a:gd name="connsiteY360" fmla="*/ 289919 h 352704"/>
                      <a:gd name="connsiteX361" fmla="*/ 167004 w 755895"/>
                      <a:gd name="connsiteY361" fmla="*/ 294156 h 352704"/>
                      <a:gd name="connsiteX362" fmla="*/ 172269 w 755895"/>
                      <a:gd name="connsiteY362" fmla="*/ 294841 h 352704"/>
                      <a:gd name="connsiteX363" fmla="*/ 178512 w 755895"/>
                      <a:gd name="connsiteY363" fmla="*/ 294499 h 352704"/>
                      <a:gd name="connsiteX364" fmla="*/ 191242 w 755895"/>
                      <a:gd name="connsiteY364" fmla="*/ 293390 h 352704"/>
                      <a:gd name="connsiteX365" fmla="*/ 197501 w 755895"/>
                      <a:gd name="connsiteY365" fmla="*/ 292225 h 352704"/>
                      <a:gd name="connsiteX366" fmla="*/ 200304 w 755895"/>
                      <a:gd name="connsiteY366" fmla="*/ 290848 h 352704"/>
                      <a:gd name="connsiteX367" fmla="*/ 201755 w 755895"/>
                      <a:gd name="connsiteY367" fmla="*/ 288859 h 352704"/>
                      <a:gd name="connsiteX368" fmla="*/ 203548 w 755895"/>
                      <a:gd name="connsiteY368" fmla="*/ 287335 h 352704"/>
                      <a:gd name="connsiteX369" fmla="*/ 209179 w 755895"/>
                      <a:gd name="connsiteY369" fmla="*/ 283839 h 352704"/>
                      <a:gd name="connsiteX370" fmla="*/ 217802 w 755895"/>
                      <a:gd name="connsiteY370" fmla="*/ 276537 h 352704"/>
                      <a:gd name="connsiteX371" fmla="*/ 222569 w 755895"/>
                      <a:gd name="connsiteY371" fmla="*/ 270767 h 352704"/>
                      <a:gd name="connsiteX372" fmla="*/ 223702 w 755895"/>
                      <a:gd name="connsiteY372" fmla="*/ 268819 h 352704"/>
                      <a:gd name="connsiteX373" fmla="*/ 224656 w 755895"/>
                      <a:gd name="connsiteY373" fmla="*/ 266464 h 352704"/>
                      <a:gd name="connsiteX374" fmla="*/ 225422 w 755895"/>
                      <a:gd name="connsiteY374" fmla="*/ 263701 h 352704"/>
                      <a:gd name="connsiteX375" fmla="*/ 222740 w 755895"/>
                      <a:gd name="connsiteY375" fmla="*/ 265176 h 352704"/>
                      <a:gd name="connsiteX376" fmla="*/ 207851 w 755895"/>
                      <a:gd name="connsiteY376" fmla="*/ 279446 h 352704"/>
                      <a:gd name="connsiteX377" fmla="*/ 204762 w 755895"/>
                      <a:gd name="connsiteY377" fmla="*/ 282030 h 352704"/>
                      <a:gd name="connsiteX378" fmla="*/ 196058 w 755895"/>
                      <a:gd name="connsiteY378" fmla="*/ 286406 h 352704"/>
                      <a:gd name="connsiteX379" fmla="*/ 192366 w 755895"/>
                      <a:gd name="connsiteY379" fmla="*/ 287107 h 352704"/>
                      <a:gd name="connsiteX380" fmla="*/ 186425 w 755895"/>
                      <a:gd name="connsiteY380" fmla="*/ 286895 h 352704"/>
                      <a:gd name="connsiteX381" fmla="*/ 178536 w 755895"/>
                      <a:gd name="connsiteY381" fmla="*/ 284955 h 352704"/>
                      <a:gd name="connsiteX382" fmla="*/ 169245 w 755895"/>
                      <a:gd name="connsiteY382" fmla="*/ 288036 h 352704"/>
                      <a:gd name="connsiteX383" fmla="*/ 163606 w 755895"/>
                      <a:gd name="connsiteY383" fmla="*/ 287245 h 352704"/>
                      <a:gd name="connsiteX384" fmla="*/ 158602 w 755895"/>
                      <a:gd name="connsiteY384" fmla="*/ 285102 h 352704"/>
                      <a:gd name="connsiteX385" fmla="*/ 158537 w 755895"/>
                      <a:gd name="connsiteY385" fmla="*/ 274996 h 352704"/>
                      <a:gd name="connsiteX386" fmla="*/ 152204 w 755895"/>
                      <a:gd name="connsiteY386" fmla="*/ 266896 h 352704"/>
                      <a:gd name="connsiteX387" fmla="*/ 159205 w 755895"/>
                      <a:gd name="connsiteY387" fmla="*/ 262788 h 352704"/>
                      <a:gd name="connsiteX388" fmla="*/ 165000 w 755895"/>
                      <a:gd name="connsiteY388" fmla="*/ 260237 h 352704"/>
                      <a:gd name="connsiteX389" fmla="*/ 175325 w 755895"/>
                      <a:gd name="connsiteY389" fmla="*/ 253595 h 352704"/>
                      <a:gd name="connsiteX390" fmla="*/ 177583 w 755895"/>
                      <a:gd name="connsiteY390" fmla="*/ 253522 h 352704"/>
                      <a:gd name="connsiteX391" fmla="*/ 185064 w 755895"/>
                      <a:gd name="connsiteY391" fmla="*/ 254573 h 352704"/>
                      <a:gd name="connsiteX392" fmla="*/ 180957 w 755895"/>
                      <a:gd name="connsiteY392" fmla="*/ 253065 h 352704"/>
                      <a:gd name="connsiteX393" fmla="*/ 176947 w 755895"/>
                      <a:gd name="connsiteY393" fmla="*/ 250824 h 352704"/>
                      <a:gd name="connsiteX394" fmla="*/ 168007 w 755895"/>
                      <a:gd name="connsiteY394" fmla="*/ 251411 h 352704"/>
                      <a:gd name="connsiteX395" fmla="*/ 171161 w 755895"/>
                      <a:gd name="connsiteY395" fmla="*/ 237059 h 352704"/>
                      <a:gd name="connsiteX396" fmla="*/ 165179 w 755895"/>
                      <a:gd name="connsiteY396" fmla="*/ 247784 h 352704"/>
                      <a:gd name="connsiteX397" fmla="*/ 159083 w 755895"/>
                      <a:gd name="connsiteY397" fmla="*/ 253408 h 352704"/>
                      <a:gd name="connsiteX398" fmla="*/ 155391 w 755895"/>
                      <a:gd name="connsiteY398" fmla="*/ 256244 h 352704"/>
                      <a:gd name="connsiteX399" fmla="*/ 151251 w 755895"/>
                      <a:gd name="connsiteY399" fmla="*/ 257874 h 352704"/>
                      <a:gd name="connsiteX400" fmla="*/ 135587 w 755895"/>
                      <a:gd name="connsiteY400" fmla="*/ 259276 h 352704"/>
                      <a:gd name="connsiteX401" fmla="*/ 139426 w 755895"/>
                      <a:gd name="connsiteY401" fmla="*/ 254035 h 352704"/>
                      <a:gd name="connsiteX402" fmla="*/ 142963 w 755895"/>
                      <a:gd name="connsiteY402" fmla="*/ 246269 h 352704"/>
                      <a:gd name="connsiteX403" fmla="*/ 139222 w 755895"/>
                      <a:gd name="connsiteY403" fmla="*/ 249170 h 352704"/>
                      <a:gd name="connsiteX404" fmla="*/ 130388 w 755895"/>
                      <a:gd name="connsiteY404" fmla="*/ 253522 h 352704"/>
                      <a:gd name="connsiteX405" fmla="*/ 123778 w 755895"/>
                      <a:gd name="connsiteY405" fmla="*/ 255820 h 352704"/>
                      <a:gd name="connsiteX406" fmla="*/ 118334 w 755895"/>
                      <a:gd name="connsiteY406" fmla="*/ 257010 h 352704"/>
                      <a:gd name="connsiteX407" fmla="*/ 107764 w 755895"/>
                      <a:gd name="connsiteY407" fmla="*/ 256725 h 352704"/>
                      <a:gd name="connsiteX408" fmla="*/ 102499 w 755895"/>
                      <a:gd name="connsiteY408" fmla="*/ 254541 h 352704"/>
                      <a:gd name="connsiteX409" fmla="*/ 103999 w 755895"/>
                      <a:gd name="connsiteY409" fmla="*/ 249186 h 352704"/>
                      <a:gd name="connsiteX410" fmla="*/ 103999 w 755895"/>
                      <a:gd name="connsiteY410" fmla="*/ 242569 h 352704"/>
                      <a:gd name="connsiteX411" fmla="*/ 107218 w 755895"/>
                      <a:gd name="connsiteY411" fmla="*/ 239504 h 352704"/>
                      <a:gd name="connsiteX412" fmla="*/ 112108 w 755895"/>
                      <a:gd name="connsiteY412" fmla="*/ 235560 h 352704"/>
                      <a:gd name="connsiteX413" fmla="*/ 117348 w 755895"/>
                      <a:gd name="connsiteY413" fmla="*/ 230246 h 352704"/>
                      <a:gd name="connsiteX414" fmla="*/ 120942 w 755895"/>
                      <a:gd name="connsiteY414" fmla="*/ 224704 h 352704"/>
                      <a:gd name="connsiteX415" fmla="*/ 134984 w 755895"/>
                      <a:gd name="connsiteY415" fmla="*/ 222243 h 352704"/>
                      <a:gd name="connsiteX416" fmla="*/ 148651 w 755895"/>
                      <a:gd name="connsiteY416" fmla="*/ 221233 h 352704"/>
                      <a:gd name="connsiteX417" fmla="*/ 160085 w 755895"/>
                      <a:gd name="connsiteY417" fmla="*/ 218315 h 352704"/>
                      <a:gd name="connsiteX418" fmla="*/ 165692 w 755895"/>
                      <a:gd name="connsiteY418" fmla="*/ 217793 h 352704"/>
                      <a:gd name="connsiteX419" fmla="*/ 171063 w 755895"/>
                      <a:gd name="connsiteY419" fmla="*/ 219187 h 352704"/>
                      <a:gd name="connsiteX420" fmla="*/ 192872 w 755895"/>
                      <a:gd name="connsiteY420" fmla="*/ 221461 h 352704"/>
                      <a:gd name="connsiteX421" fmla="*/ 201820 w 755895"/>
                      <a:gd name="connsiteY421" fmla="*/ 223205 h 352704"/>
                      <a:gd name="connsiteX422" fmla="*/ 205748 w 755895"/>
                      <a:gd name="connsiteY422" fmla="*/ 224460 h 352704"/>
                      <a:gd name="connsiteX423" fmla="*/ 208658 w 755895"/>
                      <a:gd name="connsiteY423" fmla="*/ 224908 h 352704"/>
                      <a:gd name="connsiteX424" fmla="*/ 211730 w 755895"/>
                      <a:gd name="connsiteY424" fmla="*/ 223034 h 352704"/>
                      <a:gd name="connsiteX425" fmla="*/ 215642 w 755895"/>
                      <a:gd name="connsiteY425" fmla="*/ 221216 h 352704"/>
                      <a:gd name="connsiteX426" fmla="*/ 229228 w 755895"/>
                      <a:gd name="connsiteY426" fmla="*/ 221396 h 352704"/>
                      <a:gd name="connsiteX427" fmla="*/ 232985 w 755895"/>
                      <a:gd name="connsiteY427" fmla="*/ 221061 h 352704"/>
                      <a:gd name="connsiteX428" fmla="*/ 236448 w 755895"/>
                      <a:gd name="connsiteY428" fmla="*/ 220214 h 352704"/>
                      <a:gd name="connsiteX429" fmla="*/ 240662 w 755895"/>
                      <a:gd name="connsiteY429" fmla="*/ 218494 h 352704"/>
                      <a:gd name="connsiteX430" fmla="*/ 245625 w 755895"/>
                      <a:gd name="connsiteY430" fmla="*/ 215886 h 352704"/>
                      <a:gd name="connsiteX431" fmla="*/ 246391 w 755895"/>
                      <a:gd name="connsiteY431" fmla="*/ 214607 h 352704"/>
                      <a:gd name="connsiteX432" fmla="*/ 242944 w 755895"/>
                      <a:gd name="connsiteY432" fmla="*/ 214648 h 352704"/>
                      <a:gd name="connsiteX433" fmla="*/ 239488 w 755895"/>
                      <a:gd name="connsiteY433" fmla="*/ 215300 h 352704"/>
                      <a:gd name="connsiteX434" fmla="*/ 234305 w 755895"/>
                      <a:gd name="connsiteY434" fmla="*/ 217199 h 352704"/>
                      <a:gd name="connsiteX435" fmla="*/ 229309 w 755895"/>
                      <a:gd name="connsiteY435" fmla="*/ 218217 h 352704"/>
                      <a:gd name="connsiteX436" fmla="*/ 224224 w 755895"/>
                      <a:gd name="connsiteY436" fmla="*/ 218022 h 352704"/>
                      <a:gd name="connsiteX437" fmla="*/ 213939 w 755895"/>
                      <a:gd name="connsiteY437" fmla="*/ 216424 h 352704"/>
                      <a:gd name="connsiteX438" fmla="*/ 196075 w 755895"/>
                      <a:gd name="connsiteY438" fmla="*/ 216139 h 352704"/>
                      <a:gd name="connsiteX439" fmla="*/ 186971 w 755895"/>
                      <a:gd name="connsiteY439" fmla="*/ 215406 h 352704"/>
                      <a:gd name="connsiteX440" fmla="*/ 182750 w 755895"/>
                      <a:gd name="connsiteY440" fmla="*/ 214623 h 352704"/>
                      <a:gd name="connsiteX441" fmla="*/ 180370 w 755895"/>
                      <a:gd name="connsiteY441" fmla="*/ 213556 h 352704"/>
                      <a:gd name="connsiteX442" fmla="*/ 178284 w 755895"/>
                      <a:gd name="connsiteY442" fmla="*/ 211950 h 352704"/>
                      <a:gd name="connsiteX443" fmla="*/ 176507 w 755895"/>
                      <a:gd name="connsiteY443" fmla="*/ 209790 h 352704"/>
                      <a:gd name="connsiteX444" fmla="*/ 177436 w 755895"/>
                      <a:gd name="connsiteY444" fmla="*/ 208291 h 352704"/>
                      <a:gd name="connsiteX445" fmla="*/ 181079 w 755895"/>
                      <a:gd name="connsiteY445" fmla="*/ 207419 h 352704"/>
                      <a:gd name="connsiteX446" fmla="*/ 184217 w 755895"/>
                      <a:gd name="connsiteY446" fmla="*/ 207240 h 352704"/>
                      <a:gd name="connsiteX447" fmla="*/ 189269 w 755895"/>
                      <a:gd name="connsiteY447" fmla="*/ 208413 h 352704"/>
                      <a:gd name="connsiteX448" fmla="*/ 194942 w 755895"/>
                      <a:gd name="connsiteY448" fmla="*/ 210426 h 352704"/>
                      <a:gd name="connsiteX449" fmla="*/ 201103 w 755895"/>
                      <a:gd name="connsiteY449" fmla="*/ 210687 h 352704"/>
                      <a:gd name="connsiteX450" fmla="*/ 198968 w 755895"/>
                      <a:gd name="connsiteY450" fmla="*/ 208853 h 352704"/>
                      <a:gd name="connsiteX451" fmla="*/ 191128 w 755895"/>
                      <a:gd name="connsiteY451" fmla="*/ 205170 h 352704"/>
                      <a:gd name="connsiteX452" fmla="*/ 185692 w 755895"/>
                      <a:gd name="connsiteY452" fmla="*/ 202048 h 352704"/>
                      <a:gd name="connsiteX453" fmla="*/ 181136 w 755895"/>
                      <a:gd name="connsiteY453" fmla="*/ 198201 h 352704"/>
                      <a:gd name="connsiteX454" fmla="*/ 177624 w 755895"/>
                      <a:gd name="connsiteY454" fmla="*/ 194387 h 352704"/>
                      <a:gd name="connsiteX455" fmla="*/ 169849 w 755895"/>
                      <a:gd name="connsiteY455" fmla="*/ 188422 h 352704"/>
                      <a:gd name="connsiteX456" fmla="*/ 163565 w 755895"/>
                      <a:gd name="connsiteY456" fmla="*/ 182464 h 352704"/>
                      <a:gd name="connsiteX457" fmla="*/ 159123 w 755895"/>
                      <a:gd name="connsiteY457" fmla="*/ 179824 h 352704"/>
                      <a:gd name="connsiteX458" fmla="*/ 154446 w 755895"/>
                      <a:gd name="connsiteY458" fmla="*/ 178520 h 352704"/>
                      <a:gd name="connsiteX459" fmla="*/ 140200 w 755895"/>
                      <a:gd name="connsiteY459" fmla="*/ 176890 h 352704"/>
                      <a:gd name="connsiteX460" fmla="*/ 137347 w 755895"/>
                      <a:gd name="connsiteY460" fmla="*/ 175830 h 352704"/>
                      <a:gd name="connsiteX461" fmla="*/ 130551 w 755895"/>
                      <a:gd name="connsiteY461" fmla="*/ 170623 h 352704"/>
                      <a:gd name="connsiteX462" fmla="*/ 128725 w 755895"/>
                      <a:gd name="connsiteY462" fmla="*/ 161805 h 352704"/>
                      <a:gd name="connsiteX463" fmla="*/ 125742 w 755895"/>
                      <a:gd name="connsiteY463" fmla="*/ 156426 h 352704"/>
                      <a:gd name="connsiteX464" fmla="*/ 128619 w 755895"/>
                      <a:gd name="connsiteY464" fmla="*/ 149539 h 352704"/>
                      <a:gd name="connsiteX465" fmla="*/ 133362 w 755895"/>
                      <a:gd name="connsiteY465" fmla="*/ 146402 h 352704"/>
                      <a:gd name="connsiteX466" fmla="*/ 161829 w 755895"/>
                      <a:gd name="connsiteY466" fmla="*/ 148839 h 352704"/>
                      <a:gd name="connsiteX467" fmla="*/ 173834 w 755895"/>
                      <a:gd name="connsiteY467" fmla="*/ 148480 h 352704"/>
                      <a:gd name="connsiteX468" fmla="*/ 189188 w 755895"/>
                      <a:gd name="connsiteY468" fmla="*/ 149344 h 352704"/>
                      <a:gd name="connsiteX469" fmla="*/ 197444 w 755895"/>
                      <a:gd name="connsiteY469" fmla="*/ 151039 h 352704"/>
                      <a:gd name="connsiteX470" fmla="*/ 206865 w 755895"/>
                      <a:gd name="connsiteY470" fmla="*/ 155228 h 352704"/>
                      <a:gd name="connsiteX471" fmla="*/ 215283 w 755895"/>
                      <a:gd name="connsiteY471" fmla="*/ 159947 h 352704"/>
                      <a:gd name="connsiteX472" fmla="*/ 223384 w 755895"/>
                      <a:gd name="connsiteY472" fmla="*/ 163109 h 352704"/>
                      <a:gd name="connsiteX473" fmla="*/ 230841 w 755895"/>
                      <a:gd name="connsiteY473" fmla="*/ 167412 h 352704"/>
                      <a:gd name="connsiteX474" fmla="*/ 238983 w 755895"/>
                      <a:gd name="connsiteY474" fmla="*/ 173801 h 352704"/>
                      <a:gd name="connsiteX475" fmla="*/ 243767 w 755895"/>
                      <a:gd name="connsiteY475" fmla="*/ 176865 h 352704"/>
                      <a:gd name="connsiteX476" fmla="*/ 247923 w 755895"/>
                      <a:gd name="connsiteY476" fmla="*/ 178732 h 352704"/>
                      <a:gd name="connsiteX477" fmla="*/ 253506 w 755895"/>
                      <a:gd name="connsiteY477" fmla="*/ 180329 h 352704"/>
                      <a:gd name="connsiteX478" fmla="*/ 264043 w 755895"/>
                      <a:gd name="connsiteY478" fmla="*/ 182358 h 352704"/>
                      <a:gd name="connsiteX479" fmla="*/ 273236 w 755895"/>
                      <a:gd name="connsiteY479" fmla="*/ 183027 h 352704"/>
                      <a:gd name="connsiteX480" fmla="*/ 277996 w 755895"/>
                      <a:gd name="connsiteY480" fmla="*/ 182766 h 352704"/>
                      <a:gd name="connsiteX481" fmla="*/ 283081 w 755895"/>
                      <a:gd name="connsiteY481" fmla="*/ 181299 h 352704"/>
                      <a:gd name="connsiteX482" fmla="*/ 286708 w 755895"/>
                      <a:gd name="connsiteY482" fmla="*/ 179555 h 352704"/>
                      <a:gd name="connsiteX483" fmla="*/ 282666 w 755895"/>
                      <a:gd name="connsiteY483" fmla="*/ 179074 h 352704"/>
                      <a:gd name="connsiteX484" fmla="*/ 272087 w 755895"/>
                      <a:gd name="connsiteY484" fmla="*/ 179278 h 352704"/>
                      <a:gd name="connsiteX485" fmla="*/ 264744 w 755895"/>
                      <a:gd name="connsiteY485" fmla="*/ 178357 h 352704"/>
                      <a:gd name="connsiteX486" fmla="*/ 260555 w 755895"/>
                      <a:gd name="connsiteY486" fmla="*/ 176311 h 352704"/>
                      <a:gd name="connsiteX487" fmla="*/ 256097 w 755895"/>
                      <a:gd name="connsiteY487" fmla="*/ 173549 h 352704"/>
                      <a:gd name="connsiteX488" fmla="*/ 249007 w 755895"/>
                      <a:gd name="connsiteY488" fmla="*/ 168333 h 352704"/>
                      <a:gd name="connsiteX489" fmla="*/ 243661 w 755895"/>
                      <a:gd name="connsiteY489" fmla="*/ 164918 h 352704"/>
                      <a:gd name="connsiteX490" fmla="*/ 231950 w 755895"/>
                      <a:gd name="connsiteY490" fmla="*/ 159352 h 352704"/>
                      <a:gd name="connsiteX491" fmla="*/ 223295 w 755895"/>
                      <a:gd name="connsiteY491" fmla="*/ 153802 h 352704"/>
                      <a:gd name="connsiteX492" fmla="*/ 216351 w 755895"/>
                      <a:gd name="connsiteY492" fmla="*/ 148529 h 352704"/>
                      <a:gd name="connsiteX493" fmla="*/ 215707 w 755895"/>
                      <a:gd name="connsiteY493" fmla="*/ 146231 h 352704"/>
                      <a:gd name="connsiteX494" fmla="*/ 220727 w 755895"/>
                      <a:gd name="connsiteY494" fmla="*/ 144641 h 352704"/>
                      <a:gd name="connsiteX495" fmla="*/ 226897 w 755895"/>
                      <a:gd name="connsiteY495" fmla="*/ 143525 h 352704"/>
                      <a:gd name="connsiteX496" fmla="*/ 265502 w 755895"/>
                      <a:gd name="connsiteY496" fmla="*/ 139939 h 352704"/>
                      <a:gd name="connsiteX497" fmla="*/ 288525 w 755895"/>
                      <a:gd name="connsiteY497" fmla="*/ 135660 h 352704"/>
                      <a:gd name="connsiteX498" fmla="*/ 297873 w 755895"/>
                      <a:gd name="connsiteY498" fmla="*/ 130689 h 352704"/>
                      <a:gd name="connsiteX499" fmla="*/ 298989 w 755895"/>
                      <a:gd name="connsiteY499" fmla="*/ 129524 h 352704"/>
                      <a:gd name="connsiteX500" fmla="*/ 329828 w 755895"/>
                      <a:gd name="connsiteY500" fmla="*/ 122482 h 352704"/>
                      <a:gd name="connsiteX501" fmla="*/ 351620 w 755895"/>
                      <a:gd name="connsiteY501" fmla="*/ 119883 h 352704"/>
                      <a:gd name="connsiteX502" fmla="*/ 360006 w 755895"/>
                      <a:gd name="connsiteY502" fmla="*/ 119459 h 352704"/>
                      <a:gd name="connsiteX503" fmla="*/ 367602 w 755895"/>
                      <a:gd name="connsiteY503" fmla="*/ 118334 h 352704"/>
                      <a:gd name="connsiteX504" fmla="*/ 367912 w 755895"/>
                      <a:gd name="connsiteY504" fmla="*/ 117650 h 352704"/>
                      <a:gd name="connsiteX505" fmla="*/ 361261 w 755895"/>
                      <a:gd name="connsiteY505" fmla="*/ 116696 h 352704"/>
                      <a:gd name="connsiteX506" fmla="*/ 354546 w 755895"/>
                      <a:gd name="connsiteY506" fmla="*/ 116231 h 352704"/>
                      <a:gd name="connsiteX507" fmla="*/ 339306 w 755895"/>
                      <a:gd name="connsiteY507" fmla="*/ 116264 h 352704"/>
                      <a:gd name="connsiteX508" fmla="*/ 325737 w 755895"/>
                      <a:gd name="connsiteY508" fmla="*/ 115408 h 352704"/>
                      <a:gd name="connsiteX509" fmla="*/ 321637 w 755895"/>
                      <a:gd name="connsiteY509" fmla="*/ 113835 h 352704"/>
                      <a:gd name="connsiteX510" fmla="*/ 322493 w 755895"/>
                      <a:gd name="connsiteY510" fmla="*/ 111285 h 352704"/>
                      <a:gd name="connsiteX511" fmla="*/ 323797 w 755895"/>
                      <a:gd name="connsiteY511" fmla="*/ 109084 h 352704"/>
                      <a:gd name="connsiteX512" fmla="*/ 327896 w 755895"/>
                      <a:gd name="connsiteY512" fmla="*/ 105409 h 352704"/>
                      <a:gd name="connsiteX513" fmla="*/ 332289 w 755895"/>
                      <a:gd name="connsiteY513" fmla="*/ 102646 h 352704"/>
                      <a:gd name="connsiteX514" fmla="*/ 350903 w 755895"/>
                      <a:gd name="connsiteY514" fmla="*/ 94675 h 352704"/>
                      <a:gd name="connsiteX515" fmla="*/ 363437 w 755895"/>
                      <a:gd name="connsiteY515" fmla="*/ 91310 h 352704"/>
                      <a:gd name="connsiteX516" fmla="*/ 367048 w 755895"/>
                      <a:gd name="connsiteY516" fmla="*/ 88987 h 352704"/>
                      <a:gd name="connsiteX517" fmla="*/ 340088 w 755895"/>
                      <a:gd name="connsiteY517" fmla="*/ 94170 h 352704"/>
                      <a:gd name="connsiteX518" fmla="*/ 330667 w 755895"/>
                      <a:gd name="connsiteY518" fmla="*/ 97903 h 352704"/>
                      <a:gd name="connsiteX519" fmla="*/ 321197 w 755895"/>
                      <a:gd name="connsiteY519" fmla="*/ 103518 h 352704"/>
                      <a:gd name="connsiteX520" fmla="*/ 316299 w 755895"/>
                      <a:gd name="connsiteY520" fmla="*/ 105156 h 352704"/>
                      <a:gd name="connsiteX521" fmla="*/ 312803 w 755895"/>
                      <a:gd name="connsiteY521" fmla="*/ 104724 h 352704"/>
                      <a:gd name="connsiteX522" fmla="*/ 309674 w 755895"/>
                      <a:gd name="connsiteY522" fmla="*/ 105246 h 352704"/>
                      <a:gd name="connsiteX523" fmla="*/ 306927 w 755895"/>
                      <a:gd name="connsiteY523" fmla="*/ 106729 h 352704"/>
                      <a:gd name="connsiteX524" fmla="*/ 304629 w 755895"/>
                      <a:gd name="connsiteY524" fmla="*/ 109426 h 352704"/>
                      <a:gd name="connsiteX525" fmla="*/ 302763 w 755895"/>
                      <a:gd name="connsiteY525" fmla="*/ 113355 h 352704"/>
                      <a:gd name="connsiteX526" fmla="*/ 301068 w 755895"/>
                      <a:gd name="connsiteY526" fmla="*/ 116036 h 352704"/>
                      <a:gd name="connsiteX527" fmla="*/ 299552 w 755895"/>
                      <a:gd name="connsiteY527" fmla="*/ 117454 h 352704"/>
                      <a:gd name="connsiteX528" fmla="*/ 295713 w 755895"/>
                      <a:gd name="connsiteY528" fmla="*/ 119516 h 352704"/>
                      <a:gd name="connsiteX529" fmla="*/ 286479 w 755895"/>
                      <a:gd name="connsiteY529" fmla="*/ 123534 h 352704"/>
                      <a:gd name="connsiteX530" fmla="*/ 264818 w 755895"/>
                      <a:gd name="connsiteY530" fmla="*/ 129157 h 352704"/>
                      <a:gd name="connsiteX531" fmla="*/ 257523 w 755895"/>
                      <a:gd name="connsiteY531" fmla="*/ 130591 h 352704"/>
                      <a:gd name="connsiteX532" fmla="*/ 251289 w 755895"/>
                      <a:gd name="connsiteY532" fmla="*/ 130811 h 352704"/>
                      <a:gd name="connsiteX533" fmla="*/ 231053 w 755895"/>
                      <a:gd name="connsiteY533" fmla="*/ 133973 h 352704"/>
                      <a:gd name="connsiteX534" fmla="*/ 224990 w 755895"/>
                      <a:gd name="connsiteY534" fmla="*/ 134104 h 352704"/>
                      <a:gd name="connsiteX535" fmla="*/ 218258 w 755895"/>
                      <a:gd name="connsiteY535" fmla="*/ 133142 h 352704"/>
                      <a:gd name="connsiteX536" fmla="*/ 221135 w 755895"/>
                      <a:gd name="connsiteY536" fmla="*/ 130404 h 352704"/>
                      <a:gd name="connsiteX537" fmla="*/ 231844 w 755895"/>
                      <a:gd name="connsiteY537" fmla="*/ 125359 h 352704"/>
                      <a:gd name="connsiteX538" fmla="*/ 234680 w 755895"/>
                      <a:gd name="connsiteY538" fmla="*/ 123110 h 352704"/>
                      <a:gd name="connsiteX539" fmla="*/ 227826 w 755895"/>
                      <a:gd name="connsiteY539" fmla="*/ 123599 h 352704"/>
                      <a:gd name="connsiteX540" fmla="*/ 220842 w 755895"/>
                      <a:gd name="connsiteY540" fmla="*/ 124976 h 352704"/>
                      <a:gd name="connsiteX541" fmla="*/ 205430 w 755895"/>
                      <a:gd name="connsiteY541" fmla="*/ 126117 h 352704"/>
                      <a:gd name="connsiteX542" fmla="*/ 199334 w 755895"/>
                      <a:gd name="connsiteY542" fmla="*/ 128171 h 352704"/>
                      <a:gd name="connsiteX543" fmla="*/ 193426 w 755895"/>
                      <a:gd name="connsiteY543" fmla="*/ 131903 h 352704"/>
                      <a:gd name="connsiteX544" fmla="*/ 188699 w 755895"/>
                      <a:gd name="connsiteY544" fmla="*/ 134234 h 352704"/>
                      <a:gd name="connsiteX545" fmla="*/ 185138 w 755895"/>
                      <a:gd name="connsiteY545" fmla="*/ 135188 h 352704"/>
                      <a:gd name="connsiteX546" fmla="*/ 180223 w 755895"/>
                      <a:gd name="connsiteY546" fmla="*/ 135758 h 352704"/>
                      <a:gd name="connsiteX547" fmla="*/ 162163 w 755895"/>
                      <a:gd name="connsiteY547" fmla="*/ 136043 h 352704"/>
                      <a:gd name="connsiteX548" fmla="*/ 158162 w 755895"/>
                      <a:gd name="connsiteY548" fmla="*/ 135791 h 352704"/>
                      <a:gd name="connsiteX549" fmla="*/ 147771 w 755895"/>
                      <a:gd name="connsiteY549" fmla="*/ 132955 h 352704"/>
                      <a:gd name="connsiteX550" fmla="*/ 138570 w 755895"/>
                      <a:gd name="connsiteY550" fmla="*/ 133941 h 352704"/>
                      <a:gd name="connsiteX551" fmla="*/ 134772 w 755895"/>
                      <a:gd name="connsiteY551" fmla="*/ 133745 h 352704"/>
                      <a:gd name="connsiteX552" fmla="*/ 127796 w 755895"/>
                      <a:gd name="connsiteY552" fmla="*/ 131740 h 352704"/>
                      <a:gd name="connsiteX553" fmla="*/ 125718 w 755895"/>
                      <a:gd name="connsiteY553" fmla="*/ 130436 h 352704"/>
                      <a:gd name="connsiteX554" fmla="*/ 126019 w 755895"/>
                      <a:gd name="connsiteY554" fmla="*/ 128692 h 352704"/>
                      <a:gd name="connsiteX555" fmla="*/ 130054 w 755895"/>
                      <a:gd name="connsiteY555" fmla="*/ 125392 h 352704"/>
                      <a:gd name="connsiteX556" fmla="*/ 134731 w 755895"/>
                      <a:gd name="connsiteY556" fmla="*/ 122213 h 352704"/>
                      <a:gd name="connsiteX557" fmla="*/ 149931 w 755895"/>
                      <a:gd name="connsiteY557" fmla="*/ 115237 h 352704"/>
                      <a:gd name="connsiteX558" fmla="*/ 159678 w 755895"/>
                      <a:gd name="connsiteY558" fmla="*/ 111961 h 352704"/>
                      <a:gd name="connsiteX559" fmla="*/ 173728 w 755895"/>
                      <a:gd name="connsiteY559" fmla="*/ 109141 h 352704"/>
                      <a:gd name="connsiteX560" fmla="*/ 206734 w 755895"/>
                      <a:gd name="connsiteY560" fmla="*/ 105987 h 352704"/>
                      <a:gd name="connsiteX561" fmla="*/ 208226 w 755895"/>
                      <a:gd name="connsiteY561" fmla="*/ 103665 h 352704"/>
                      <a:gd name="connsiteX562" fmla="*/ 174828 w 755895"/>
                      <a:gd name="connsiteY562" fmla="*/ 106264 h 352704"/>
                      <a:gd name="connsiteX563" fmla="*/ 146418 w 755895"/>
                      <a:gd name="connsiteY563" fmla="*/ 109516 h 352704"/>
                      <a:gd name="connsiteX564" fmla="*/ 141805 w 755895"/>
                      <a:gd name="connsiteY564" fmla="*/ 110722 h 352704"/>
                      <a:gd name="connsiteX565" fmla="*/ 135196 w 755895"/>
                      <a:gd name="connsiteY565" fmla="*/ 113925 h 352704"/>
                      <a:gd name="connsiteX566" fmla="*/ 114194 w 755895"/>
                      <a:gd name="connsiteY566" fmla="*/ 125481 h 352704"/>
                      <a:gd name="connsiteX567" fmla="*/ 107992 w 755895"/>
                      <a:gd name="connsiteY567" fmla="*/ 128399 h 352704"/>
                      <a:gd name="connsiteX568" fmla="*/ 98530 w 755895"/>
                      <a:gd name="connsiteY568" fmla="*/ 129092 h 352704"/>
                      <a:gd name="connsiteX569" fmla="*/ 91285 w 755895"/>
                      <a:gd name="connsiteY569" fmla="*/ 128114 h 352704"/>
                      <a:gd name="connsiteX570" fmla="*/ 85621 w 755895"/>
                      <a:gd name="connsiteY570" fmla="*/ 126639 h 352704"/>
                      <a:gd name="connsiteX571" fmla="*/ 75874 w 755895"/>
                      <a:gd name="connsiteY571" fmla="*/ 123224 h 352704"/>
                      <a:gd name="connsiteX572" fmla="*/ 68523 w 755895"/>
                      <a:gd name="connsiteY572" fmla="*/ 121390 h 352704"/>
                      <a:gd name="connsiteX573" fmla="*/ 65043 w 755895"/>
                      <a:gd name="connsiteY573" fmla="*/ 120152 h 352704"/>
                      <a:gd name="connsiteX574" fmla="*/ 62989 w 755895"/>
                      <a:gd name="connsiteY574" fmla="*/ 118905 h 352704"/>
                      <a:gd name="connsiteX575" fmla="*/ 61319 w 755895"/>
                      <a:gd name="connsiteY575" fmla="*/ 117446 h 352704"/>
                      <a:gd name="connsiteX576" fmla="*/ 60039 w 755895"/>
                      <a:gd name="connsiteY576" fmla="*/ 115775 h 352704"/>
                      <a:gd name="connsiteX577" fmla="*/ 62435 w 755895"/>
                      <a:gd name="connsiteY577" fmla="*/ 114373 h 352704"/>
                      <a:gd name="connsiteX578" fmla="*/ 81131 w 755895"/>
                      <a:gd name="connsiteY578" fmla="*/ 111358 h 352704"/>
                      <a:gd name="connsiteX579" fmla="*/ 106541 w 755895"/>
                      <a:gd name="connsiteY579" fmla="*/ 111937 h 352704"/>
                      <a:gd name="connsiteX580" fmla="*/ 117935 w 755895"/>
                      <a:gd name="connsiteY580" fmla="*/ 111309 h 352704"/>
                      <a:gd name="connsiteX581" fmla="*/ 129157 w 755895"/>
                      <a:gd name="connsiteY581" fmla="*/ 109492 h 352704"/>
                      <a:gd name="connsiteX582" fmla="*/ 145701 w 755895"/>
                      <a:gd name="connsiteY582" fmla="*/ 104928 h 352704"/>
                      <a:gd name="connsiteX583" fmla="*/ 163720 w 755895"/>
                      <a:gd name="connsiteY583" fmla="*/ 98530 h 352704"/>
                      <a:gd name="connsiteX584" fmla="*/ 167241 w 755895"/>
                      <a:gd name="connsiteY584" fmla="*/ 96485 h 352704"/>
                      <a:gd name="connsiteX585" fmla="*/ 160672 w 755895"/>
                      <a:gd name="connsiteY585" fmla="*/ 96036 h 352704"/>
                      <a:gd name="connsiteX586" fmla="*/ 155798 w 755895"/>
                      <a:gd name="connsiteY586" fmla="*/ 96534 h 352704"/>
                      <a:gd name="connsiteX587" fmla="*/ 144079 w 755895"/>
                      <a:gd name="connsiteY587" fmla="*/ 98824 h 352704"/>
                      <a:gd name="connsiteX588" fmla="*/ 125539 w 755895"/>
                      <a:gd name="connsiteY588" fmla="*/ 104977 h 352704"/>
                      <a:gd name="connsiteX589" fmla="*/ 109353 w 755895"/>
                      <a:gd name="connsiteY589" fmla="*/ 107153 h 352704"/>
                      <a:gd name="connsiteX590" fmla="*/ 69379 w 755895"/>
                      <a:gd name="connsiteY590" fmla="*/ 108302 h 352704"/>
                      <a:gd name="connsiteX591" fmla="*/ 56698 w 755895"/>
                      <a:gd name="connsiteY591" fmla="*/ 110021 h 352704"/>
                      <a:gd name="connsiteX592" fmla="*/ 51123 w 755895"/>
                      <a:gd name="connsiteY592" fmla="*/ 109663 h 352704"/>
                      <a:gd name="connsiteX593" fmla="*/ 46926 w 755895"/>
                      <a:gd name="connsiteY593" fmla="*/ 107984 h 352704"/>
                      <a:gd name="connsiteX594" fmla="*/ 42248 w 755895"/>
                      <a:gd name="connsiteY594" fmla="*/ 104879 h 352704"/>
                      <a:gd name="connsiteX595" fmla="*/ 43080 w 755895"/>
                      <a:gd name="connsiteY595" fmla="*/ 102385 h 352704"/>
                      <a:gd name="connsiteX596" fmla="*/ 52598 w 755895"/>
                      <a:gd name="connsiteY596" fmla="*/ 99590 h 352704"/>
                      <a:gd name="connsiteX597" fmla="*/ 60063 w 755895"/>
                      <a:gd name="connsiteY597" fmla="*/ 98938 h 352704"/>
                      <a:gd name="connsiteX598" fmla="*/ 61400 w 755895"/>
                      <a:gd name="connsiteY598" fmla="*/ 98367 h 352704"/>
                      <a:gd name="connsiteX599" fmla="*/ 50806 w 755895"/>
                      <a:gd name="connsiteY599" fmla="*/ 95662 h 352704"/>
                      <a:gd name="connsiteX600" fmla="*/ 49860 w 755895"/>
                      <a:gd name="connsiteY600" fmla="*/ 94284 h 352704"/>
                      <a:gd name="connsiteX601" fmla="*/ 55981 w 755895"/>
                      <a:gd name="connsiteY601" fmla="*/ 91220 h 352704"/>
                      <a:gd name="connsiteX602" fmla="*/ 69248 w 755895"/>
                      <a:gd name="connsiteY602" fmla="*/ 86705 h 352704"/>
                      <a:gd name="connsiteX603" fmla="*/ 75956 w 755895"/>
                      <a:gd name="connsiteY603" fmla="*/ 85279 h 352704"/>
                      <a:gd name="connsiteX604" fmla="*/ 88237 w 755895"/>
                      <a:gd name="connsiteY604" fmla="*/ 84374 h 352704"/>
                      <a:gd name="connsiteX605" fmla="*/ 100886 w 755895"/>
                      <a:gd name="connsiteY605" fmla="*/ 84863 h 352704"/>
                      <a:gd name="connsiteX606" fmla="*/ 101374 w 755895"/>
                      <a:gd name="connsiteY606" fmla="*/ 84007 h 352704"/>
                      <a:gd name="connsiteX607" fmla="*/ 88865 w 755895"/>
                      <a:gd name="connsiteY607" fmla="*/ 82296 h 352704"/>
                      <a:gd name="connsiteX608" fmla="*/ 79501 w 755895"/>
                      <a:gd name="connsiteY608" fmla="*/ 81978 h 352704"/>
                      <a:gd name="connsiteX609" fmla="*/ 67113 w 755895"/>
                      <a:gd name="connsiteY609" fmla="*/ 83192 h 352704"/>
                      <a:gd name="connsiteX610" fmla="*/ 34245 w 755895"/>
                      <a:gd name="connsiteY610" fmla="*/ 90503 h 352704"/>
                      <a:gd name="connsiteX611" fmla="*/ 31442 w 755895"/>
                      <a:gd name="connsiteY611" fmla="*/ 90291 h 352704"/>
                      <a:gd name="connsiteX612" fmla="*/ 26666 w 755895"/>
                      <a:gd name="connsiteY612" fmla="*/ 89028 h 352704"/>
                      <a:gd name="connsiteX613" fmla="*/ 28035 w 755895"/>
                      <a:gd name="connsiteY613" fmla="*/ 87218 h 352704"/>
                      <a:gd name="connsiteX614" fmla="*/ 45614 w 755895"/>
                      <a:gd name="connsiteY614" fmla="*/ 79525 h 352704"/>
                      <a:gd name="connsiteX615" fmla="*/ 46201 w 755895"/>
                      <a:gd name="connsiteY615" fmla="*/ 78311 h 352704"/>
                      <a:gd name="connsiteX616" fmla="*/ 33569 w 755895"/>
                      <a:gd name="connsiteY616" fmla="*/ 78482 h 352704"/>
                      <a:gd name="connsiteX617" fmla="*/ 29852 w 755895"/>
                      <a:gd name="connsiteY617" fmla="*/ 78115 h 352704"/>
                      <a:gd name="connsiteX618" fmla="*/ 26242 w 755895"/>
                      <a:gd name="connsiteY618" fmla="*/ 77211 h 352704"/>
                      <a:gd name="connsiteX619" fmla="*/ 21092 w 755895"/>
                      <a:gd name="connsiteY619" fmla="*/ 78017 h 352704"/>
                      <a:gd name="connsiteX620" fmla="*/ 14417 w 755895"/>
                      <a:gd name="connsiteY620" fmla="*/ 80552 h 352704"/>
                      <a:gd name="connsiteX621" fmla="*/ 9715 w 755895"/>
                      <a:gd name="connsiteY621" fmla="*/ 81636 h 352704"/>
                      <a:gd name="connsiteX622" fmla="*/ 6976 w 755895"/>
                      <a:gd name="connsiteY622" fmla="*/ 81269 h 352704"/>
                      <a:gd name="connsiteX623" fmla="*/ 0 w 755895"/>
                      <a:gd name="connsiteY623" fmla="*/ 78262 h 352704"/>
                      <a:gd name="connsiteX624" fmla="*/ 913 w 755895"/>
                      <a:gd name="connsiteY624" fmla="*/ 75744 h 352704"/>
                      <a:gd name="connsiteX625" fmla="*/ 6455 w 755895"/>
                      <a:gd name="connsiteY625" fmla="*/ 72590 h 352704"/>
                      <a:gd name="connsiteX626" fmla="*/ 11524 w 755895"/>
                      <a:gd name="connsiteY626" fmla="*/ 70316 h 352704"/>
                      <a:gd name="connsiteX627" fmla="*/ 18410 w 755895"/>
                      <a:gd name="connsiteY627" fmla="*/ 68230 h 352704"/>
                      <a:gd name="connsiteX628" fmla="*/ 29616 w 755895"/>
                      <a:gd name="connsiteY628" fmla="*/ 65622 h 352704"/>
                      <a:gd name="connsiteX629" fmla="*/ 37725 w 755895"/>
                      <a:gd name="connsiteY629" fmla="*/ 64733 h 352704"/>
                      <a:gd name="connsiteX630" fmla="*/ 50871 w 755895"/>
                      <a:gd name="connsiteY630" fmla="*/ 64709 h 352704"/>
                      <a:gd name="connsiteX631" fmla="*/ 57130 w 755895"/>
                      <a:gd name="connsiteY631" fmla="*/ 63543 h 352704"/>
                      <a:gd name="connsiteX632" fmla="*/ 62696 w 755895"/>
                      <a:gd name="connsiteY632" fmla="*/ 61514 h 352704"/>
                      <a:gd name="connsiteX633" fmla="*/ 69672 w 755895"/>
                      <a:gd name="connsiteY633" fmla="*/ 58230 h 352704"/>
                      <a:gd name="connsiteX634" fmla="*/ 77325 w 755895"/>
                      <a:gd name="connsiteY634" fmla="*/ 55956 h 352704"/>
                      <a:gd name="connsiteX635" fmla="*/ 89810 w 755895"/>
                      <a:gd name="connsiteY635" fmla="*/ 54098 h 352704"/>
                      <a:gd name="connsiteX636" fmla="*/ 100331 w 755895"/>
                      <a:gd name="connsiteY636" fmla="*/ 54693 h 352704"/>
                      <a:gd name="connsiteX637" fmla="*/ 106150 w 755895"/>
                      <a:gd name="connsiteY637" fmla="*/ 56323 h 352704"/>
                      <a:gd name="connsiteX638" fmla="*/ 110771 w 755895"/>
                      <a:gd name="connsiteY638" fmla="*/ 59167 h 352704"/>
                      <a:gd name="connsiteX639" fmla="*/ 115726 w 755895"/>
                      <a:gd name="connsiteY639" fmla="*/ 61343 h 352704"/>
                      <a:gd name="connsiteX640" fmla="*/ 116199 w 755895"/>
                      <a:gd name="connsiteY640" fmla="*/ 59583 h 352704"/>
                      <a:gd name="connsiteX641" fmla="*/ 120298 w 755895"/>
                      <a:gd name="connsiteY641" fmla="*/ 57415 h 352704"/>
                      <a:gd name="connsiteX642" fmla="*/ 125441 w 755895"/>
                      <a:gd name="connsiteY642" fmla="*/ 56486 h 352704"/>
                      <a:gd name="connsiteX643" fmla="*/ 131618 w 755895"/>
                      <a:gd name="connsiteY643" fmla="*/ 56795 h 352704"/>
                      <a:gd name="connsiteX644" fmla="*/ 137054 w 755895"/>
                      <a:gd name="connsiteY644" fmla="*/ 57831 h 352704"/>
                      <a:gd name="connsiteX645" fmla="*/ 144087 w 755895"/>
                      <a:gd name="connsiteY645" fmla="*/ 60447 h 352704"/>
                      <a:gd name="connsiteX646" fmla="*/ 149768 w 755895"/>
                      <a:gd name="connsiteY646" fmla="*/ 61628 h 352704"/>
                      <a:gd name="connsiteX647" fmla="*/ 152441 w 755895"/>
                      <a:gd name="connsiteY647" fmla="*/ 61555 h 352704"/>
                      <a:gd name="connsiteX648" fmla="*/ 155790 w 755895"/>
                      <a:gd name="connsiteY648" fmla="*/ 60104 h 352704"/>
                      <a:gd name="connsiteX649" fmla="*/ 164673 w 755895"/>
                      <a:gd name="connsiteY649" fmla="*/ 60072 h 352704"/>
                      <a:gd name="connsiteX650" fmla="*/ 164486 w 755895"/>
                      <a:gd name="connsiteY650" fmla="*/ 59452 h 352704"/>
                      <a:gd name="connsiteX651" fmla="*/ 161585 w 755895"/>
                      <a:gd name="connsiteY651" fmla="*/ 57936 h 352704"/>
                      <a:gd name="connsiteX652" fmla="*/ 158080 w 755895"/>
                      <a:gd name="connsiteY652" fmla="*/ 56861 h 352704"/>
                      <a:gd name="connsiteX653" fmla="*/ 126582 w 755895"/>
                      <a:gd name="connsiteY653" fmla="*/ 49314 h 352704"/>
                      <a:gd name="connsiteX654" fmla="*/ 125710 w 755895"/>
                      <a:gd name="connsiteY654" fmla="*/ 47668 h 352704"/>
                      <a:gd name="connsiteX655" fmla="*/ 136329 w 755895"/>
                      <a:gd name="connsiteY655" fmla="*/ 46111 h 352704"/>
                      <a:gd name="connsiteX656" fmla="*/ 142963 w 755895"/>
                      <a:gd name="connsiteY656" fmla="*/ 44253 h 352704"/>
                      <a:gd name="connsiteX657" fmla="*/ 146084 w 755895"/>
                      <a:gd name="connsiteY657" fmla="*/ 43805 h 352704"/>
                      <a:gd name="connsiteX658" fmla="*/ 153859 w 755895"/>
                      <a:gd name="connsiteY658" fmla="*/ 39860 h 352704"/>
                      <a:gd name="connsiteX659" fmla="*/ 158936 w 755895"/>
                      <a:gd name="connsiteY659" fmla="*/ 37807 h 352704"/>
                      <a:gd name="connsiteX660" fmla="*/ 168349 w 755895"/>
                      <a:gd name="connsiteY660" fmla="*/ 35468 h 352704"/>
                      <a:gd name="connsiteX661" fmla="*/ 172114 w 755895"/>
                      <a:gd name="connsiteY661" fmla="*/ 36103 h 352704"/>
                      <a:gd name="connsiteX662" fmla="*/ 176865 w 755895"/>
                      <a:gd name="connsiteY662" fmla="*/ 38165 h 352704"/>
                      <a:gd name="connsiteX663" fmla="*/ 181454 w 755895"/>
                      <a:gd name="connsiteY663" fmla="*/ 39461 h 352704"/>
                      <a:gd name="connsiteX664" fmla="*/ 194966 w 755895"/>
                      <a:gd name="connsiteY664" fmla="*/ 40692 h 352704"/>
                      <a:gd name="connsiteX665" fmla="*/ 200736 w 755895"/>
                      <a:gd name="connsiteY665" fmla="*/ 41971 h 352704"/>
                      <a:gd name="connsiteX666" fmla="*/ 211029 w 755895"/>
                      <a:gd name="connsiteY666" fmla="*/ 49314 h 352704"/>
                      <a:gd name="connsiteX667" fmla="*/ 215137 w 755895"/>
                      <a:gd name="connsiteY667" fmla="*/ 51718 h 352704"/>
                      <a:gd name="connsiteX668" fmla="*/ 220988 w 755895"/>
                      <a:gd name="connsiteY668" fmla="*/ 54171 h 352704"/>
                      <a:gd name="connsiteX669" fmla="*/ 224476 w 755895"/>
                      <a:gd name="connsiteY669" fmla="*/ 55100 h 352704"/>
                      <a:gd name="connsiteX670" fmla="*/ 231363 w 755895"/>
                      <a:gd name="connsiteY670" fmla="*/ 55703 h 352704"/>
                      <a:gd name="connsiteX671" fmla="*/ 232072 w 755895"/>
                      <a:gd name="connsiteY671" fmla="*/ 54310 h 352704"/>
                      <a:gd name="connsiteX672" fmla="*/ 223898 w 755895"/>
                      <a:gd name="connsiteY672" fmla="*/ 50838 h 352704"/>
                      <a:gd name="connsiteX673" fmla="*/ 221656 w 755895"/>
                      <a:gd name="connsiteY673" fmla="*/ 48825 h 352704"/>
                      <a:gd name="connsiteX674" fmla="*/ 222618 w 755895"/>
                      <a:gd name="connsiteY674" fmla="*/ 47130 h 352704"/>
                      <a:gd name="connsiteX675" fmla="*/ 224354 w 755895"/>
                      <a:gd name="connsiteY675" fmla="*/ 46233 h 352704"/>
                      <a:gd name="connsiteX676" fmla="*/ 226881 w 755895"/>
                      <a:gd name="connsiteY676" fmla="*/ 46144 h 352704"/>
                      <a:gd name="connsiteX677" fmla="*/ 233335 w 755895"/>
                      <a:gd name="connsiteY677" fmla="*/ 47676 h 352704"/>
                      <a:gd name="connsiteX678" fmla="*/ 250498 w 755895"/>
                      <a:gd name="connsiteY678" fmla="*/ 52827 h 352704"/>
                      <a:gd name="connsiteX679" fmla="*/ 276154 w 755895"/>
                      <a:gd name="connsiteY679" fmla="*/ 58923 h 352704"/>
                      <a:gd name="connsiteX680" fmla="*/ 285991 w 755895"/>
                      <a:gd name="connsiteY680" fmla="*/ 60349 h 352704"/>
                      <a:gd name="connsiteX681" fmla="*/ 292062 w 755895"/>
                      <a:gd name="connsiteY681" fmla="*/ 62525 h 352704"/>
                      <a:gd name="connsiteX682" fmla="*/ 297596 w 755895"/>
                      <a:gd name="connsiteY682" fmla="*/ 65165 h 352704"/>
                      <a:gd name="connsiteX683" fmla="*/ 303048 w 755895"/>
                      <a:gd name="connsiteY683" fmla="*/ 66991 h 352704"/>
                      <a:gd name="connsiteX684" fmla="*/ 304059 w 755895"/>
                      <a:gd name="connsiteY684" fmla="*/ 66812 h 352704"/>
                      <a:gd name="connsiteX685" fmla="*/ 298989 w 755895"/>
                      <a:gd name="connsiteY685" fmla="*/ 62720 h 352704"/>
                      <a:gd name="connsiteX686" fmla="*/ 286577 w 755895"/>
                      <a:gd name="connsiteY686" fmla="*/ 57684 h 352704"/>
                      <a:gd name="connsiteX687" fmla="*/ 253375 w 755895"/>
                      <a:gd name="connsiteY687" fmla="*/ 49045 h 352704"/>
                      <a:gd name="connsiteX688" fmla="*/ 240246 w 755895"/>
                      <a:gd name="connsiteY688" fmla="*/ 44514 h 352704"/>
                      <a:gd name="connsiteX689" fmla="*/ 233897 w 755895"/>
                      <a:gd name="connsiteY689" fmla="*/ 41450 h 352704"/>
                      <a:gd name="connsiteX690" fmla="*/ 229089 w 755895"/>
                      <a:gd name="connsiteY690" fmla="*/ 38344 h 352704"/>
                      <a:gd name="connsiteX691" fmla="*/ 228999 w 755895"/>
                      <a:gd name="connsiteY691" fmla="*/ 36649 h 352704"/>
                      <a:gd name="connsiteX692" fmla="*/ 233523 w 755895"/>
                      <a:gd name="connsiteY692" fmla="*/ 34661 h 352704"/>
                      <a:gd name="connsiteX693" fmla="*/ 239619 w 755895"/>
                      <a:gd name="connsiteY693" fmla="*/ 33080 h 352704"/>
                      <a:gd name="connsiteX694" fmla="*/ 247189 w 755895"/>
                      <a:gd name="connsiteY694" fmla="*/ 32452 h 352704"/>
                      <a:gd name="connsiteX695" fmla="*/ 248102 w 755895"/>
                      <a:gd name="connsiteY695" fmla="*/ 31792 h 352704"/>
                      <a:gd name="connsiteX696" fmla="*/ 241216 w 755895"/>
                      <a:gd name="connsiteY696" fmla="*/ 29437 h 352704"/>
                      <a:gd name="connsiteX697" fmla="*/ 237149 w 755895"/>
                      <a:gd name="connsiteY697" fmla="*/ 27391 h 352704"/>
                      <a:gd name="connsiteX698" fmla="*/ 237296 w 755895"/>
                      <a:gd name="connsiteY698" fmla="*/ 25973 h 352704"/>
                      <a:gd name="connsiteX699" fmla="*/ 245511 w 755895"/>
                      <a:gd name="connsiteY699" fmla="*/ 24881 h 352704"/>
                      <a:gd name="connsiteX700" fmla="*/ 250612 w 755895"/>
                      <a:gd name="connsiteY700" fmla="*/ 25207 h 352704"/>
                      <a:gd name="connsiteX701" fmla="*/ 260311 w 755895"/>
                      <a:gd name="connsiteY701" fmla="*/ 27774 h 352704"/>
                      <a:gd name="connsiteX702" fmla="*/ 268403 w 755895"/>
                      <a:gd name="connsiteY702" fmla="*/ 28997 h 352704"/>
                      <a:gd name="connsiteX703" fmla="*/ 269715 w 755895"/>
                      <a:gd name="connsiteY703" fmla="*/ 28206 h 352704"/>
                      <a:gd name="connsiteX704" fmla="*/ 261362 w 755895"/>
                      <a:gd name="connsiteY704" fmla="*/ 21352 h 352704"/>
                      <a:gd name="connsiteX705" fmla="*/ 260572 w 755895"/>
                      <a:gd name="connsiteY705" fmla="*/ 19804 h 352704"/>
                      <a:gd name="connsiteX706" fmla="*/ 261810 w 755895"/>
                      <a:gd name="connsiteY706" fmla="*/ 18899 h 352704"/>
                      <a:gd name="connsiteX707" fmla="*/ 264744 w 755895"/>
                      <a:gd name="connsiteY707" fmla="*/ 17978 h 352704"/>
                      <a:gd name="connsiteX708" fmla="*/ 273497 w 755895"/>
                      <a:gd name="connsiteY708" fmla="*/ 18508 h 352704"/>
                      <a:gd name="connsiteX709" fmla="*/ 287914 w 755895"/>
                      <a:gd name="connsiteY709" fmla="*/ 21849 h 352704"/>
                      <a:gd name="connsiteX710" fmla="*/ 313724 w 755895"/>
                      <a:gd name="connsiteY710" fmla="*/ 23528 h 352704"/>
                      <a:gd name="connsiteX711" fmla="*/ 320831 w 755895"/>
                      <a:gd name="connsiteY711" fmla="*/ 23276 h 352704"/>
                      <a:gd name="connsiteX712" fmla="*/ 319763 w 755895"/>
                      <a:gd name="connsiteY712" fmla="*/ 22510 h 352704"/>
                      <a:gd name="connsiteX713" fmla="*/ 309454 w 755895"/>
                      <a:gd name="connsiteY713" fmla="*/ 20440 h 352704"/>
                      <a:gd name="connsiteX714" fmla="*/ 298680 w 755895"/>
                      <a:gd name="connsiteY714" fmla="*/ 17660 h 352704"/>
                      <a:gd name="connsiteX715" fmla="*/ 293920 w 755895"/>
                      <a:gd name="connsiteY715" fmla="*/ 15982 h 352704"/>
                      <a:gd name="connsiteX716" fmla="*/ 290432 w 755895"/>
                      <a:gd name="connsiteY716" fmla="*/ 13724 h 352704"/>
                      <a:gd name="connsiteX717" fmla="*/ 286292 w 755895"/>
                      <a:gd name="connsiteY717" fmla="*/ 11842 h 352704"/>
                      <a:gd name="connsiteX718" fmla="*/ 285950 w 755895"/>
                      <a:gd name="connsiteY718" fmla="*/ 10945 h 352704"/>
                      <a:gd name="connsiteX719" fmla="*/ 292616 w 755895"/>
                      <a:gd name="connsiteY719" fmla="*/ 9486 h 352704"/>
                      <a:gd name="connsiteX720" fmla="*/ 310122 w 755895"/>
                      <a:gd name="connsiteY720" fmla="*/ 9772 h 352704"/>
                      <a:gd name="connsiteX721" fmla="*/ 326381 w 755895"/>
                      <a:gd name="connsiteY721" fmla="*/ 12013 h 352704"/>
                      <a:gd name="connsiteX722" fmla="*/ 340178 w 755895"/>
                      <a:gd name="connsiteY722" fmla="*/ 11198 h 352704"/>
                      <a:gd name="connsiteX723" fmla="*/ 348874 w 755895"/>
                      <a:gd name="connsiteY723" fmla="*/ 11752 h 352704"/>
                      <a:gd name="connsiteX724" fmla="*/ 352305 w 755895"/>
                      <a:gd name="connsiteY724" fmla="*/ 12428 h 352704"/>
                      <a:gd name="connsiteX725" fmla="*/ 358605 w 755895"/>
                      <a:gd name="connsiteY725" fmla="*/ 14881 h 352704"/>
                      <a:gd name="connsiteX726" fmla="*/ 378555 w 755895"/>
                      <a:gd name="connsiteY726" fmla="*/ 23724 h 352704"/>
                      <a:gd name="connsiteX727" fmla="*/ 380682 w 755895"/>
                      <a:gd name="connsiteY727" fmla="*/ 25134 h 352704"/>
                      <a:gd name="connsiteX728" fmla="*/ 382956 w 755895"/>
                      <a:gd name="connsiteY728" fmla="*/ 27269 h 352704"/>
                      <a:gd name="connsiteX729" fmla="*/ 385368 w 755895"/>
                      <a:gd name="connsiteY729" fmla="*/ 30146 h 352704"/>
                      <a:gd name="connsiteX730" fmla="*/ 388775 w 755895"/>
                      <a:gd name="connsiteY730" fmla="*/ 30928 h 352704"/>
                      <a:gd name="connsiteX731" fmla="*/ 395344 w 755895"/>
                      <a:gd name="connsiteY731" fmla="*/ 28948 h 352704"/>
                      <a:gd name="connsiteX732" fmla="*/ 399777 w 755895"/>
                      <a:gd name="connsiteY732" fmla="*/ 27033 h 352704"/>
                      <a:gd name="connsiteX733" fmla="*/ 397862 w 755895"/>
                      <a:gd name="connsiteY733" fmla="*/ 25183 h 352704"/>
                      <a:gd name="connsiteX734" fmla="*/ 386843 w 755895"/>
                      <a:gd name="connsiteY734" fmla="*/ 20929 h 352704"/>
                      <a:gd name="connsiteX735" fmla="*/ 384341 w 755895"/>
                      <a:gd name="connsiteY735" fmla="*/ 19103 h 352704"/>
                      <a:gd name="connsiteX736" fmla="*/ 378832 w 755895"/>
                      <a:gd name="connsiteY736" fmla="*/ 16022 h 352704"/>
                      <a:gd name="connsiteX737" fmla="*/ 366477 w 755895"/>
                      <a:gd name="connsiteY737" fmla="*/ 10505 h 352704"/>
                      <a:gd name="connsiteX738" fmla="*/ 363185 w 755895"/>
                      <a:gd name="connsiteY738" fmla="*/ 7938 h 352704"/>
                      <a:gd name="connsiteX739" fmla="*/ 361107 w 755895"/>
                      <a:gd name="connsiteY739" fmla="*/ 5746 h 352704"/>
                      <a:gd name="connsiteX740" fmla="*/ 395335 w 755895"/>
                      <a:gd name="connsiteY740" fmla="*/ 3684 h 352704"/>
                      <a:gd name="connsiteX741" fmla="*/ 428334 w 755895"/>
                      <a:gd name="connsiteY741" fmla="*/ 5509 h 352704"/>
                      <a:gd name="connsiteX742" fmla="*/ 433713 w 755895"/>
                      <a:gd name="connsiteY742" fmla="*/ 6789 h 352704"/>
                      <a:gd name="connsiteX743" fmla="*/ 437225 w 755895"/>
                      <a:gd name="connsiteY743" fmla="*/ 8590 h 352704"/>
                      <a:gd name="connsiteX744" fmla="*/ 440680 w 755895"/>
                      <a:gd name="connsiteY744" fmla="*/ 11320 h 352704"/>
                      <a:gd name="connsiteX745" fmla="*/ 445970 w 755895"/>
                      <a:gd name="connsiteY745" fmla="*/ 14099 h 352704"/>
                      <a:gd name="connsiteX746" fmla="*/ 456662 w 755895"/>
                      <a:gd name="connsiteY746" fmla="*/ 18369 h 352704"/>
                      <a:gd name="connsiteX747" fmla="*/ 471878 w 755895"/>
                      <a:gd name="connsiteY747" fmla="*/ 21026 h 352704"/>
                      <a:gd name="connsiteX748" fmla="*/ 468968 w 755895"/>
                      <a:gd name="connsiteY748" fmla="*/ 19217 h 352704"/>
                      <a:gd name="connsiteX749" fmla="*/ 457591 w 755895"/>
                      <a:gd name="connsiteY749" fmla="*/ 14515 h 352704"/>
                      <a:gd name="connsiteX750" fmla="*/ 452449 w 755895"/>
                      <a:gd name="connsiteY750" fmla="*/ 11287 h 352704"/>
                      <a:gd name="connsiteX751" fmla="*/ 452481 w 755895"/>
                      <a:gd name="connsiteY751" fmla="*/ 9095 h 352704"/>
                      <a:gd name="connsiteX752" fmla="*/ 453394 w 755895"/>
                      <a:gd name="connsiteY752" fmla="*/ 7424 h 352704"/>
                      <a:gd name="connsiteX753" fmla="*/ 455203 w 755895"/>
                      <a:gd name="connsiteY753" fmla="*/ 6275 h 352704"/>
                      <a:gd name="connsiteX754" fmla="*/ 468080 w 755895"/>
                      <a:gd name="connsiteY754" fmla="*/ 1866 h 352704"/>
                      <a:gd name="connsiteX755" fmla="*/ 486498 w 755895"/>
                      <a:gd name="connsiteY755" fmla="*/ 538 h 352704"/>
                      <a:gd name="connsiteX756" fmla="*/ 488625 w 755895"/>
                      <a:gd name="connsiteY756" fmla="*/ 782 h 352704"/>
                      <a:gd name="connsiteX757" fmla="*/ 502945 w 755895"/>
                      <a:gd name="connsiteY757" fmla="*/ 7547 h 352704"/>
                      <a:gd name="connsiteX758" fmla="*/ 509741 w 755895"/>
                      <a:gd name="connsiteY758" fmla="*/ 10309 h 352704"/>
                      <a:gd name="connsiteX759" fmla="*/ 514493 w 755895"/>
                      <a:gd name="connsiteY759" fmla="*/ 11418 h 352704"/>
                      <a:gd name="connsiteX760" fmla="*/ 514680 w 755895"/>
                      <a:gd name="connsiteY760" fmla="*/ 10937 h 352704"/>
                      <a:gd name="connsiteX761" fmla="*/ 508103 w 755895"/>
                      <a:gd name="connsiteY761" fmla="*/ 7832 h 352704"/>
                      <a:gd name="connsiteX762" fmla="*/ 503034 w 755895"/>
                      <a:gd name="connsiteY762" fmla="*/ 6137 h 352704"/>
                      <a:gd name="connsiteX763" fmla="*/ 502513 w 755895"/>
                      <a:gd name="connsiteY763" fmla="*/ 5077 h 352704"/>
                      <a:gd name="connsiteX764" fmla="*/ 510915 w 755895"/>
                      <a:gd name="connsiteY764" fmla="*/ 1785 h 352704"/>
                      <a:gd name="connsiteX765" fmla="*/ 516229 w 755895"/>
                      <a:gd name="connsiteY765" fmla="*/ 962 h 352704"/>
                      <a:gd name="connsiteX766" fmla="*/ 538567 w 755895"/>
                      <a:gd name="connsiteY766" fmla="*/ 0 h 352704"/>
                      <a:gd name="connsiteX767" fmla="*/ 541102 w 755895"/>
                      <a:gd name="connsiteY767" fmla="*/ 350 h 352704"/>
                      <a:gd name="connsiteX768" fmla="*/ 543220 w 755895"/>
                      <a:gd name="connsiteY768" fmla="*/ 1263 h 352704"/>
                      <a:gd name="connsiteX769" fmla="*/ 548502 w 755895"/>
                      <a:gd name="connsiteY769" fmla="*/ 4874 h 352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Lst>
                    <a:rect l="l" t="t" r="r" b="b"/>
                    <a:pathLst>
                      <a:path w="755895" h="352704">
                        <a:moveTo>
                          <a:pt x="550498" y="5305"/>
                        </a:moveTo>
                        <a:lnTo>
                          <a:pt x="570726" y="6275"/>
                        </a:lnTo>
                        <a:lnTo>
                          <a:pt x="577278" y="5925"/>
                        </a:lnTo>
                        <a:lnTo>
                          <a:pt x="584776" y="8272"/>
                        </a:lnTo>
                        <a:lnTo>
                          <a:pt x="589291" y="8549"/>
                        </a:lnTo>
                        <a:lnTo>
                          <a:pt x="596740" y="8109"/>
                        </a:lnTo>
                        <a:lnTo>
                          <a:pt x="602159" y="8663"/>
                        </a:lnTo>
                        <a:lnTo>
                          <a:pt x="622355" y="9185"/>
                        </a:lnTo>
                        <a:lnTo>
                          <a:pt x="626543" y="10098"/>
                        </a:lnTo>
                        <a:lnTo>
                          <a:pt x="626495" y="11206"/>
                        </a:lnTo>
                        <a:lnTo>
                          <a:pt x="622143" y="13594"/>
                        </a:lnTo>
                        <a:lnTo>
                          <a:pt x="616283" y="15900"/>
                        </a:lnTo>
                        <a:lnTo>
                          <a:pt x="578558" y="23406"/>
                        </a:lnTo>
                        <a:lnTo>
                          <a:pt x="575779" y="24653"/>
                        </a:lnTo>
                        <a:lnTo>
                          <a:pt x="583138" y="25052"/>
                        </a:lnTo>
                        <a:lnTo>
                          <a:pt x="593977" y="24702"/>
                        </a:lnTo>
                        <a:lnTo>
                          <a:pt x="602371" y="23871"/>
                        </a:lnTo>
                        <a:lnTo>
                          <a:pt x="612281" y="21320"/>
                        </a:lnTo>
                        <a:lnTo>
                          <a:pt x="615558" y="21181"/>
                        </a:lnTo>
                        <a:lnTo>
                          <a:pt x="621849" y="19942"/>
                        </a:lnTo>
                        <a:lnTo>
                          <a:pt x="634041" y="16479"/>
                        </a:lnTo>
                        <a:lnTo>
                          <a:pt x="643788" y="14604"/>
                        </a:lnTo>
                        <a:lnTo>
                          <a:pt x="648197" y="15436"/>
                        </a:lnTo>
                        <a:lnTo>
                          <a:pt x="651913" y="16740"/>
                        </a:lnTo>
                        <a:lnTo>
                          <a:pt x="654416" y="16886"/>
                        </a:lnTo>
                        <a:lnTo>
                          <a:pt x="655711" y="15876"/>
                        </a:lnTo>
                        <a:lnTo>
                          <a:pt x="657806" y="13121"/>
                        </a:lnTo>
                        <a:lnTo>
                          <a:pt x="659028" y="12127"/>
                        </a:lnTo>
                        <a:lnTo>
                          <a:pt x="662231" y="11418"/>
                        </a:lnTo>
                        <a:lnTo>
                          <a:pt x="664187" y="11499"/>
                        </a:lnTo>
                        <a:lnTo>
                          <a:pt x="667365" y="12795"/>
                        </a:lnTo>
                        <a:lnTo>
                          <a:pt x="670886" y="15876"/>
                        </a:lnTo>
                        <a:lnTo>
                          <a:pt x="674130" y="18011"/>
                        </a:lnTo>
                        <a:lnTo>
                          <a:pt x="675882" y="18052"/>
                        </a:lnTo>
                        <a:lnTo>
                          <a:pt x="683306" y="15623"/>
                        </a:lnTo>
                        <a:lnTo>
                          <a:pt x="687039" y="15313"/>
                        </a:lnTo>
                        <a:lnTo>
                          <a:pt x="695539" y="16194"/>
                        </a:lnTo>
                        <a:lnTo>
                          <a:pt x="699068" y="17261"/>
                        </a:lnTo>
                        <a:lnTo>
                          <a:pt x="699704" y="18394"/>
                        </a:lnTo>
                        <a:lnTo>
                          <a:pt x="697438" y="19592"/>
                        </a:lnTo>
                        <a:lnTo>
                          <a:pt x="696044" y="20619"/>
                        </a:lnTo>
                        <a:lnTo>
                          <a:pt x="695498" y="21491"/>
                        </a:lnTo>
                        <a:lnTo>
                          <a:pt x="696737" y="22493"/>
                        </a:lnTo>
                        <a:lnTo>
                          <a:pt x="701871" y="24645"/>
                        </a:lnTo>
                        <a:lnTo>
                          <a:pt x="709320" y="29331"/>
                        </a:lnTo>
                        <a:lnTo>
                          <a:pt x="709279" y="31050"/>
                        </a:lnTo>
                        <a:lnTo>
                          <a:pt x="705213" y="34547"/>
                        </a:lnTo>
                        <a:lnTo>
                          <a:pt x="705311" y="35427"/>
                        </a:lnTo>
                        <a:lnTo>
                          <a:pt x="724454" y="31751"/>
                        </a:lnTo>
                        <a:lnTo>
                          <a:pt x="743753" y="33398"/>
                        </a:lnTo>
                        <a:lnTo>
                          <a:pt x="749205" y="34514"/>
                        </a:lnTo>
                        <a:lnTo>
                          <a:pt x="751308" y="35867"/>
                        </a:lnTo>
                        <a:lnTo>
                          <a:pt x="753541" y="38100"/>
                        </a:lnTo>
                        <a:lnTo>
                          <a:pt x="755896" y="41197"/>
                        </a:lnTo>
                        <a:lnTo>
                          <a:pt x="754258" y="44424"/>
                        </a:lnTo>
                        <a:lnTo>
                          <a:pt x="745782" y="49461"/>
                        </a:lnTo>
                        <a:lnTo>
                          <a:pt x="737013" y="53373"/>
                        </a:lnTo>
                        <a:lnTo>
                          <a:pt x="731854" y="56885"/>
                        </a:lnTo>
                        <a:lnTo>
                          <a:pt x="723916" y="58817"/>
                        </a:lnTo>
                        <a:lnTo>
                          <a:pt x="696745" y="67284"/>
                        </a:lnTo>
                        <a:lnTo>
                          <a:pt x="683461" y="70006"/>
                        </a:lnTo>
                        <a:lnTo>
                          <a:pt x="675825" y="72671"/>
                        </a:lnTo>
                        <a:lnTo>
                          <a:pt x="672394" y="73144"/>
                        </a:lnTo>
                        <a:lnTo>
                          <a:pt x="656217" y="72630"/>
                        </a:lnTo>
                        <a:lnTo>
                          <a:pt x="651930" y="74097"/>
                        </a:lnTo>
                        <a:lnTo>
                          <a:pt x="649534" y="76575"/>
                        </a:lnTo>
                        <a:lnTo>
                          <a:pt x="644440" y="77757"/>
                        </a:lnTo>
                        <a:lnTo>
                          <a:pt x="636910" y="78596"/>
                        </a:lnTo>
                        <a:lnTo>
                          <a:pt x="621507" y="79281"/>
                        </a:lnTo>
                        <a:lnTo>
                          <a:pt x="618051" y="82060"/>
                        </a:lnTo>
                        <a:lnTo>
                          <a:pt x="617171" y="83950"/>
                        </a:lnTo>
                        <a:lnTo>
                          <a:pt x="615672" y="85417"/>
                        </a:lnTo>
                        <a:lnTo>
                          <a:pt x="614359" y="86126"/>
                        </a:lnTo>
                        <a:lnTo>
                          <a:pt x="570351" y="96118"/>
                        </a:lnTo>
                        <a:lnTo>
                          <a:pt x="569536" y="97789"/>
                        </a:lnTo>
                        <a:lnTo>
                          <a:pt x="573969" y="98473"/>
                        </a:lnTo>
                        <a:lnTo>
                          <a:pt x="579544" y="97789"/>
                        </a:lnTo>
                        <a:lnTo>
                          <a:pt x="643584" y="85654"/>
                        </a:lnTo>
                        <a:lnTo>
                          <a:pt x="655882" y="84847"/>
                        </a:lnTo>
                        <a:lnTo>
                          <a:pt x="667284" y="85727"/>
                        </a:lnTo>
                        <a:lnTo>
                          <a:pt x="665980" y="88555"/>
                        </a:lnTo>
                        <a:lnTo>
                          <a:pt x="649827" y="96558"/>
                        </a:lnTo>
                        <a:lnTo>
                          <a:pt x="629274" y="103762"/>
                        </a:lnTo>
                        <a:lnTo>
                          <a:pt x="618997" y="109215"/>
                        </a:lnTo>
                        <a:lnTo>
                          <a:pt x="593015" y="118603"/>
                        </a:lnTo>
                        <a:lnTo>
                          <a:pt x="571785" y="127934"/>
                        </a:lnTo>
                        <a:lnTo>
                          <a:pt x="563627" y="132661"/>
                        </a:lnTo>
                        <a:lnTo>
                          <a:pt x="552699" y="141096"/>
                        </a:lnTo>
                        <a:lnTo>
                          <a:pt x="548966" y="143126"/>
                        </a:lnTo>
                        <a:lnTo>
                          <a:pt x="544427" y="143965"/>
                        </a:lnTo>
                        <a:lnTo>
                          <a:pt x="539072" y="143615"/>
                        </a:lnTo>
                        <a:lnTo>
                          <a:pt x="534264" y="142384"/>
                        </a:lnTo>
                        <a:lnTo>
                          <a:pt x="527826" y="139238"/>
                        </a:lnTo>
                        <a:lnTo>
                          <a:pt x="521974" y="135717"/>
                        </a:lnTo>
                        <a:lnTo>
                          <a:pt x="520140" y="135090"/>
                        </a:lnTo>
                        <a:lnTo>
                          <a:pt x="521257" y="136842"/>
                        </a:lnTo>
                        <a:lnTo>
                          <a:pt x="532544" y="148537"/>
                        </a:lnTo>
                        <a:lnTo>
                          <a:pt x="531249" y="150795"/>
                        </a:lnTo>
                        <a:lnTo>
                          <a:pt x="510532" y="153182"/>
                        </a:lnTo>
                        <a:lnTo>
                          <a:pt x="501355" y="155285"/>
                        </a:lnTo>
                        <a:lnTo>
                          <a:pt x="496629" y="155790"/>
                        </a:lnTo>
                        <a:lnTo>
                          <a:pt x="493279" y="155415"/>
                        </a:lnTo>
                        <a:lnTo>
                          <a:pt x="490011" y="155635"/>
                        </a:lnTo>
                        <a:lnTo>
                          <a:pt x="486824" y="156442"/>
                        </a:lnTo>
                        <a:lnTo>
                          <a:pt x="486653" y="157347"/>
                        </a:lnTo>
                        <a:lnTo>
                          <a:pt x="489481" y="158333"/>
                        </a:lnTo>
                        <a:lnTo>
                          <a:pt x="497737" y="159099"/>
                        </a:lnTo>
                        <a:lnTo>
                          <a:pt x="516066" y="156491"/>
                        </a:lnTo>
                        <a:lnTo>
                          <a:pt x="519000" y="156679"/>
                        </a:lnTo>
                        <a:lnTo>
                          <a:pt x="523726" y="157950"/>
                        </a:lnTo>
                        <a:lnTo>
                          <a:pt x="523955" y="159115"/>
                        </a:lnTo>
                        <a:lnTo>
                          <a:pt x="519032" y="162824"/>
                        </a:lnTo>
                        <a:lnTo>
                          <a:pt x="504191" y="167257"/>
                        </a:lnTo>
                        <a:lnTo>
                          <a:pt x="506131" y="167510"/>
                        </a:lnTo>
                        <a:lnTo>
                          <a:pt x="510377" y="169082"/>
                        </a:lnTo>
                        <a:lnTo>
                          <a:pt x="510287" y="170492"/>
                        </a:lnTo>
                        <a:lnTo>
                          <a:pt x="505609" y="173809"/>
                        </a:lnTo>
                        <a:lnTo>
                          <a:pt x="503401" y="174869"/>
                        </a:lnTo>
                        <a:lnTo>
                          <a:pt x="489090" y="177958"/>
                        </a:lnTo>
                        <a:lnTo>
                          <a:pt x="482872" y="178675"/>
                        </a:lnTo>
                        <a:lnTo>
                          <a:pt x="477387" y="178292"/>
                        </a:lnTo>
                        <a:lnTo>
                          <a:pt x="452294" y="171544"/>
                        </a:lnTo>
                        <a:lnTo>
                          <a:pt x="443443" y="170566"/>
                        </a:lnTo>
                        <a:lnTo>
                          <a:pt x="435033" y="168862"/>
                        </a:lnTo>
                        <a:lnTo>
                          <a:pt x="428831" y="169156"/>
                        </a:lnTo>
                        <a:lnTo>
                          <a:pt x="422238" y="171136"/>
                        </a:lnTo>
                        <a:lnTo>
                          <a:pt x="425196" y="172130"/>
                        </a:lnTo>
                        <a:lnTo>
                          <a:pt x="437347" y="174029"/>
                        </a:lnTo>
                        <a:lnTo>
                          <a:pt x="447486" y="174396"/>
                        </a:lnTo>
                        <a:lnTo>
                          <a:pt x="451699" y="175138"/>
                        </a:lnTo>
                        <a:lnTo>
                          <a:pt x="453345" y="176377"/>
                        </a:lnTo>
                        <a:lnTo>
                          <a:pt x="457722" y="180851"/>
                        </a:lnTo>
                        <a:lnTo>
                          <a:pt x="458422" y="183255"/>
                        </a:lnTo>
                        <a:lnTo>
                          <a:pt x="457453" y="185496"/>
                        </a:lnTo>
                        <a:lnTo>
                          <a:pt x="456132" y="187061"/>
                        </a:lnTo>
                        <a:lnTo>
                          <a:pt x="454445" y="187957"/>
                        </a:lnTo>
                        <a:lnTo>
                          <a:pt x="451854" y="188397"/>
                        </a:lnTo>
                        <a:lnTo>
                          <a:pt x="441928" y="188080"/>
                        </a:lnTo>
                        <a:lnTo>
                          <a:pt x="438227" y="188634"/>
                        </a:lnTo>
                        <a:lnTo>
                          <a:pt x="433932" y="189938"/>
                        </a:lnTo>
                        <a:lnTo>
                          <a:pt x="428537" y="190500"/>
                        </a:lnTo>
                        <a:lnTo>
                          <a:pt x="418823" y="190239"/>
                        </a:lnTo>
                        <a:lnTo>
                          <a:pt x="407373" y="192146"/>
                        </a:lnTo>
                        <a:lnTo>
                          <a:pt x="401317" y="192489"/>
                        </a:lnTo>
                        <a:lnTo>
                          <a:pt x="394610" y="191641"/>
                        </a:lnTo>
                        <a:lnTo>
                          <a:pt x="387349" y="189506"/>
                        </a:lnTo>
                        <a:lnTo>
                          <a:pt x="379680" y="188438"/>
                        </a:lnTo>
                        <a:lnTo>
                          <a:pt x="366714" y="187533"/>
                        </a:lnTo>
                        <a:lnTo>
                          <a:pt x="367797" y="188748"/>
                        </a:lnTo>
                        <a:lnTo>
                          <a:pt x="372361" y="189261"/>
                        </a:lnTo>
                        <a:lnTo>
                          <a:pt x="381668" y="192521"/>
                        </a:lnTo>
                        <a:lnTo>
                          <a:pt x="386118" y="196946"/>
                        </a:lnTo>
                        <a:lnTo>
                          <a:pt x="390307" y="197688"/>
                        </a:lnTo>
                        <a:lnTo>
                          <a:pt x="398856" y="201323"/>
                        </a:lnTo>
                        <a:lnTo>
                          <a:pt x="405034" y="201877"/>
                        </a:lnTo>
                        <a:lnTo>
                          <a:pt x="411488" y="203116"/>
                        </a:lnTo>
                        <a:lnTo>
                          <a:pt x="420567" y="201527"/>
                        </a:lnTo>
                        <a:lnTo>
                          <a:pt x="426679" y="201828"/>
                        </a:lnTo>
                        <a:lnTo>
                          <a:pt x="425408" y="210728"/>
                        </a:lnTo>
                        <a:lnTo>
                          <a:pt x="422710" y="211591"/>
                        </a:lnTo>
                        <a:lnTo>
                          <a:pt x="408025" y="211591"/>
                        </a:lnTo>
                        <a:lnTo>
                          <a:pt x="401049" y="210304"/>
                        </a:lnTo>
                        <a:lnTo>
                          <a:pt x="397960" y="208967"/>
                        </a:lnTo>
                        <a:lnTo>
                          <a:pt x="391195" y="207460"/>
                        </a:lnTo>
                        <a:lnTo>
                          <a:pt x="385100" y="208332"/>
                        </a:lnTo>
                        <a:lnTo>
                          <a:pt x="379574" y="208144"/>
                        </a:lnTo>
                        <a:lnTo>
                          <a:pt x="375825" y="209024"/>
                        </a:lnTo>
                        <a:lnTo>
                          <a:pt x="369876" y="209000"/>
                        </a:lnTo>
                        <a:lnTo>
                          <a:pt x="354334" y="210499"/>
                        </a:lnTo>
                        <a:lnTo>
                          <a:pt x="346119" y="210524"/>
                        </a:lnTo>
                        <a:lnTo>
                          <a:pt x="340048" y="209546"/>
                        </a:lnTo>
                        <a:lnTo>
                          <a:pt x="332998" y="209253"/>
                        </a:lnTo>
                        <a:lnTo>
                          <a:pt x="324971" y="209603"/>
                        </a:lnTo>
                        <a:lnTo>
                          <a:pt x="325533" y="210646"/>
                        </a:lnTo>
                        <a:lnTo>
                          <a:pt x="328940" y="210948"/>
                        </a:lnTo>
                        <a:lnTo>
                          <a:pt x="333895" y="212618"/>
                        </a:lnTo>
                        <a:lnTo>
                          <a:pt x="338483" y="215202"/>
                        </a:lnTo>
                        <a:lnTo>
                          <a:pt x="342313" y="216286"/>
                        </a:lnTo>
                        <a:lnTo>
                          <a:pt x="346885" y="215666"/>
                        </a:lnTo>
                        <a:lnTo>
                          <a:pt x="351547" y="214460"/>
                        </a:lnTo>
                        <a:lnTo>
                          <a:pt x="368547" y="212488"/>
                        </a:lnTo>
                        <a:lnTo>
                          <a:pt x="376004" y="212162"/>
                        </a:lnTo>
                        <a:lnTo>
                          <a:pt x="382654" y="213034"/>
                        </a:lnTo>
                        <a:lnTo>
                          <a:pt x="387088" y="214126"/>
                        </a:lnTo>
                        <a:lnTo>
                          <a:pt x="390177" y="215446"/>
                        </a:lnTo>
                        <a:lnTo>
                          <a:pt x="394089" y="218926"/>
                        </a:lnTo>
                        <a:lnTo>
                          <a:pt x="403885" y="219350"/>
                        </a:lnTo>
                        <a:lnTo>
                          <a:pt x="411366" y="220507"/>
                        </a:lnTo>
                        <a:lnTo>
                          <a:pt x="423273" y="225544"/>
                        </a:lnTo>
                        <a:lnTo>
                          <a:pt x="426549" y="225927"/>
                        </a:lnTo>
                        <a:lnTo>
                          <a:pt x="427869" y="227223"/>
                        </a:lnTo>
                        <a:lnTo>
                          <a:pt x="425335" y="230474"/>
                        </a:lnTo>
                        <a:lnTo>
                          <a:pt x="425049" y="232430"/>
                        </a:lnTo>
                        <a:lnTo>
                          <a:pt x="416818" y="236196"/>
                        </a:lnTo>
                        <a:lnTo>
                          <a:pt x="403974" y="237296"/>
                        </a:lnTo>
                        <a:lnTo>
                          <a:pt x="389851" y="236945"/>
                        </a:lnTo>
                        <a:lnTo>
                          <a:pt x="379745" y="237377"/>
                        </a:lnTo>
                        <a:lnTo>
                          <a:pt x="378686" y="237866"/>
                        </a:lnTo>
                        <a:lnTo>
                          <a:pt x="385621" y="238852"/>
                        </a:lnTo>
                        <a:lnTo>
                          <a:pt x="401700" y="243245"/>
                        </a:lnTo>
                        <a:lnTo>
                          <a:pt x="407927" y="245633"/>
                        </a:lnTo>
                        <a:lnTo>
                          <a:pt x="409011" y="247027"/>
                        </a:lnTo>
                        <a:lnTo>
                          <a:pt x="400144" y="252332"/>
                        </a:lnTo>
                        <a:lnTo>
                          <a:pt x="392328" y="262821"/>
                        </a:lnTo>
                        <a:lnTo>
                          <a:pt x="389761" y="263652"/>
                        </a:lnTo>
                        <a:lnTo>
                          <a:pt x="387080" y="263945"/>
                        </a:lnTo>
                        <a:lnTo>
                          <a:pt x="380185" y="263750"/>
                        </a:lnTo>
                        <a:lnTo>
                          <a:pt x="371440" y="266390"/>
                        </a:lnTo>
                        <a:lnTo>
                          <a:pt x="364847" y="266912"/>
                        </a:lnTo>
                        <a:lnTo>
                          <a:pt x="352892" y="265926"/>
                        </a:lnTo>
                        <a:lnTo>
                          <a:pt x="339086" y="265991"/>
                        </a:lnTo>
                        <a:lnTo>
                          <a:pt x="338002" y="267686"/>
                        </a:lnTo>
                        <a:lnTo>
                          <a:pt x="337309" y="270930"/>
                        </a:lnTo>
                        <a:lnTo>
                          <a:pt x="337391" y="275811"/>
                        </a:lnTo>
                        <a:lnTo>
                          <a:pt x="338230" y="282323"/>
                        </a:lnTo>
                        <a:lnTo>
                          <a:pt x="337513" y="287066"/>
                        </a:lnTo>
                        <a:lnTo>
                          <a:pt x="335231" y="290073"/>
                        </a:lnTo>
                        <a:lnTo>
                          <a:pt x="332363" y="292282"/>
                        </a:lnTo>
                        <a:lnTo>
                          <a:pt x="327163" y="294425"/>
                        </a:lnTo>
                        <a:lnTo>
                          <a:pt x="321833" y="295770"/>
                        </a:lnTo>
                        <a:lnTo>
                          <a:pt x="317832" y="296243"/>
                        </a:lnTo>
                        <a:lnTo>
                          <a:pt x="311181" y="296316"/>
                        </a:lnTo>
                        <a:lnTo>
                          <a:pt x="292119" y="297865"/>
                        </a:lnTo>
                        <a:lnTo>
                          <a:pt x="282804" y="297759"/>
                        </a:lnTo>
                        <a:lnTo>
                          <a:pt x="275583" y="297107"/>
                        </a:lnTo>
                        <a:lnTo>
                          <a:pt x="268102" y="294963"/>
                        </a:lnTo>
                        <a:lnTo>
                          <a:pt x="255649" y="288884"/>
                        </a:lnTo>
                        <a:lnTo>
                          <a:pt x="252112" y="287539"/>
                        </a:lnTo>
                        <a:lnTo>
                          <a:pt x="248648" y="286756"/>
                        </a:lnTo>
                        <a:lnTo>
                          <a:pt x="248779" y="288069"/>
                        </a:lnTo>
                        <a:lnTo>
                          <a:pt x="252503" y="291459"/>
                        </a:lnTo>
                        <a:lnTo>
                          <a:pt x="255608" y="293651"/>
                        </a:lnTo>
                        <a:lnTo>
                          <a:pt x="258102" y="294637"/>
                        </a:lnTo>
                        <a:lnTo>
                          <a:pt x="257515" y="295672"/>
                        </a:lnTo>
                        <a:lnTo>
                          <a:pt x="252022" y="297302"/>
                        </a:lnTo>
                        <a:lnTo>
                          <a:pt x="245959" y="298036"/>
                        </a:lnTo>
                        <a:lnTo>
                          <a:pt x="238787" y="298011"/>
                        </a:lnTo>
                        <a:lnTo>
                          <a:pt x="238559" y="298639"/>
                        </a:lnTo>
                        <a:lnTo>
                          <a:pt x="240988" y="300399"/>
                        </a:lnTo>
                        <a:lnTo>
                          <a:pt x="244150" y="302054"/>
                        </a:lnTo>
                        <a:lnTo>
                          <a:pt x="246236" y="302551"/>
                        </a:lnTo>
                        <a:lnTo>
                          <a:pt x="251737" y="302037"/>
                        </a:lnTo>
                        <a:lnTo>
                          <a:pt x="258110" y="299951"/>
                        </a:lnTo>
                        <a:lnTo>
                          <a:pt x="262087" y="299332"/>
                        </a:lnTo>
                        <a:lnTo>
                          <a:pt x="269992" y="299829"/>
                        </a:lnTo>
                        <a:lnTo>
                          <a:pt x="273122" y="300570"/>
                        </a:lnTo>
                        <a:lnTo>
                          <a:pt x="282991" y="305142"/>
                        </a:lnTo>
                        <a:lnTo>
                          <a:pt x="284369" y="305362"/>
                        </a:lnTo>
                        <a:lnTo>
                          <a:pt x="291687" y="303056"/>
                        </a:lnTo>
                        <a:lnTo>
                          <a:pt x="302266" y="302934"/>
                        </a:lnTo>
                        <a:lnTo>
                          <a:pt x="306145" y="304784"/>
                        </a:lnTo>
                        <a:lnTo>
                          <a:pt x="307628" y="308370"/>
                        </a:lnTo>
                        <a:lnTo>
                          <a:pt x="307807" y="311279"/>
                        </a:lnTo>
                        <a:lnTo>
                          <a:pt x="306691" y="313496"/>
                        </a:lnTo>
                        <a:lnTo>
                          <a:pt x="309120" y="315655"/>
                        </a:lnTo>
                        <a:lnTo>
                          <a:pt x="315109" y="317766"/>
                        </a:lnTo>
                        <a:lnTo>
                          <a:pt x="319763" y="318223"/>
                        </a:lnTo>
                        <a:lnTo>
                          <a:pt x="323072" y="317025"/>
                        </a:lnTo>
                        <a:lnTo>
                          <a:pt x="328092" y="314131"/>
                        </a:lnTo>
                        <a:lnTo>
                          <a:pt x="330219" y="313447"/>
                        </a:lnTo>
                        <a:lnTo>
                          <a:pt x="332232" y="313602"/>
                        </a:lnTo>
                        <a:lnTo>
                          <a:pt x="335305" y="315712"/>
                        </a:lnTo>
                        <a:lnTo>
                          <a:pt x="339436" y="319763"/>
                        </a:lnTo>
                        <a:lnTo>
                          <a:pt x="339811" y="324490"/>
                        </a:lnTo>
                        <a:lnTo>
                          <a:pt x="336454" y="329893"/>
                        </a:lnTo>
                        <a:lnTo>
                          <a:pt x="332346" y="333430"/>
                        </a:lnTo>
                        <a:lnTo>
                          <a:pt x="316226" y="339265"/>
                        </a:lnTo>
                        <a:lnTo>
                          <a:pt x="311352" y="341555"/>
                        </a:lnTo>
                        <a:lnTo>
                          <a:pt x="307506" y="343935"/>
                        </a:lnTo>
                        <a:lnTo>
                          <a:pt x="301923" y="346078"/>
                        </a:lnTo>
                        <a:lnTo>
                          <a:pt x="290946" y="348939"/>
                        </a:lnTo>
                        <a:lnTo>
                          <a:pt x="285167" y="349485"/>
                        </a:lnTo>
                        <a:lnTo>
                          <a:pt x="272674" y="352557"/>
                        </a:lnTo>
                        <a:lnTo>
                          <a:pt x="269960" y="352704"/>
                        </a:lnTo>
                        <a:lnTo>
                          <a:pt x="265918" y="352207"/>
                        </a:lnTo>
                        <a:lnTo>
                          <a:pt x="265078" y="350707"/>
                        </a:lnTo>
                        <a:lnTo>
                          <a:pt x="266105" y="348026"/>
                        </a:lnTo>
                        <a:lnTo>
                          <a:pt x="267442" y="345532"/>
                        </a:lnTo>
                        <a:lnTo>
                          <a:pt x="269088" y="343234"/>
                        </a:lnTo>
                        <a:lnTo>
                          <a:pt x="269153" y="341319"/>
                        </a:lnTo>
                        <a:lnTo>
                          <a:pt x="265624" y="338344"/>
                        </a:lnTo>
                        <a:lnTo>
                          <a:pt x="263147" y="336967"/>
                        </a:lnTo>
                        <a:lnTo>
                          <a:pt x="260759" y="336274"/>
                        </a:lnTo>
                        <a:lnTo>
                          <a:pt x="255942" y="336682"/>
                        </a:lnTo>
                        <a:lnTo>
                          <a:pt x="253229" y="337497"/>
                        </a:lnTo>
                        <a:lnTo>
                          <a:pt x="250311" y="337643"/>
                        </a:lnTo>
                        <a:lnTo>
                          <a:pt x="247206" y="337138"/>
                        </a:lnTo>
                        <a:lnTo>
                          <a:pt x="244582" y="335875"/>
                        </a:lnTo>
                        <a:lnTo>
                          <a:pt x="239341" y="330602"/>
                        </a:lnTo>
                        <a:lnTo>
                          <a:pt x="237369" y="329926"/>
                        </a:lnTo>
                        <a:lnTo>
                          <a:pt x="234786" y="330097"/>
                        </a:lnTo>
                        <a:lnTo>
                          <a:pt x="232471" y="329339"/>
                        </a:lnTo>
                        <a:lnTo>
                          <a:pt x="230434" y="327660"/>
                        </a:lnTo>
                        <a:lnTo>
                          <a:pt x="227052" y="326030"/>
                        </a:lnTo>
                        <a:lnTo>
                          <a:pt x="227956" y="327277"/>
                        </a:lnTo>
                        <a:lnTo>
                          <a:pt x="231338" y="330284"/>
                        </a:lnTo>
                        <a:lnTo>
                          <a:pt x="233694" y="333267"/>
                        </a:lnTo>
                        <a:lnTo>
                          <a:pt x="235022" y="336217"/>
                        </a:lnTo>
                        <a:lnTo>
                          <a:pt x="234411" y="338548"/>
                        </a:lnTo>
                        <a:lnTo>
                          <a:pt x="205740" y="339836"/>
                        </a:lnTo>
                        <a:lnTo>
                          <a:pt x="193418" y="339167"/>
                        </a:lnTo>
                        <a:lnTo>
                          <a:pt x="190924" y="337138"/>
                        </a:lnTo>
                        <a:lnTo>
                          <a:pt x="185040" y="328369"/>
                        </a:lnTo>
                        <a:lnTo>
                          <a:pt x="183760" y="343845"/>
                        </a:lnTo>
                        <a:lnTo>
                          <a:pt x="162278" y="346364"/>
                        </a:lnTo>
                        <a:lnTo>
                          <a:pt x="157265" y="345940"/>
                        </a:lnTo>
                        <a:lnTo>
                          <a:pt x="148904" y="344204"/>
                        </a:lnTo>
                        <a:lnTo>
                          <a:pt x="138114" y="340056"/>
                        </a:lnTo>
                        <a:lnTo>
                          <a:pt x="133631" y="337285"/>
                        </a:lnTo>
                        <a:lnTo>
                          <a:pt x="131879" y="334530"/>
                        </a:lnTo>
                        <a:lnTo>
                          <a:pt x="130583" y="333014"/>
                        </a:lnTo>
                        <a:lnTo>
                          <a:pt x="129736" y="332770"/>
                        </a:lnTo>
                        <a:lnTo>
                          <a:pt x="127046" y="336087"/>
                        </a:lnTo>
                        <a:lnTo>
                          <a:pt x="124112" y="342876"/>
                        </a:lnTo>
                        <a:lnTo>
                          <a:pt x="116737" y="341123"/>
                        </a:lnTo>
                        <a:lnTo>
                          <a:pt x="107397" y="339412"/>
                        </a:lnTo>
                        <a:lnTo>
                          <a:pt x="104031" y="332721"/>
                        </a:lnTo>
                        <a:lnTo>
                          <a:pt x="103844" y="342403"/>
                        </a:lnTo>
                        <a:lnTo>
                          <a:pt x="88791" y="341123"/>
                        </a:lnTo>
                        <a:lnTo>
                          <a:pt x="81555" y="341482"/>
                        </a:lnTo>
                        <a:lnTo>
                          <a:pt x="79427" y="332998"/>
                        </a:lnTo>
                        <a:lnTo>
                          <a:pt x="79077" y="323618"/>
                        </a:lnTo>
                        <a:lnTo>
                          <a:pt x="76151" y="329551"/>
                        </a:lnTo>
                        <a:lnTo>
                          <a:pt x="77422" y="334604"/>
                        </a:lnTo>
                        <a:lnTo>
                          <a:pt x="77838" y="340732"/>
                        </a:lnTo>
                        <a:lnTo>
                          <a:pt x="71441" y="338988"/>
                        </a:lnTo>
                        <a:lnTo>
                          <a:pt x="57407" y="338132"/>
                        </a:lnTo>
                        <a:lnTo>
                          <a:pt x="52436" y="337285"/>
                        </a:lnTo>
                        <a:lnTo>
                          <a:pt x="53079" y="329135"/>
                        </a:lnTo>
                        <a:lnTo>
                          <a:pt x="54180" y="320994"/>
                        </a:lnTo>
                        <a:lnTo>
                          <a:pt x="72264" y="312860"/>
                        </a:lnTo>
                        <a:lnTo>
                          <a:pt x="77586" y="309005"/>
                        </a:lnTo>
                        <a:lnTo>
                          <a:pt x="81506" y="307449"/>
                        </a:lnTo>
                        <a:lnTo>
                          <a:pt x="87707" y="306463"/>
                        </a:lnTo>
                        <a:lnTo>
                          <a:pt x="95637" y="305859"/>
                        </a:lnTo>
                        <a:lnTo>
                          <a:pt x="101040" y="306324"/>
                        </a:lnTo>
                        <a:lnTo>
                          <a:pt x="107210" y="305876"/>
                        </a:lnTo>
                        <a:lnTo>
                          <a:pt x="114577" y="304417"/>
                        </a:lnTo>
                        <a:lnTo>
                          <a:pt x="119842" y="303993"/>
                        </a:lnTo>
                        <a:lnTo>
                          <a:pt x="120836" y="303480"/>
                        </a:lnTo>
                        <a:lnTo>
                          <a:pt x="119312" y="302730"/>
                        </a:lnTo>
                        <a:lnTo>
                          <a:pt x="113681" y="297457"/>
                        </a:lnTo>
                        <a:lnTo>
                          <a:pt x="111651" y="296267"/>
                        </a:lnTo>
                        <a:lnTo>
                          <a:pt x="109598" y="295729"/>
                        </a:lnTo>
                        <a:lnTo>
                          <a:pt x="105523" y="295493"/>
                        </a:lnTo>
                        <a:lnTo>
                          <a:pt x="101562" y="293187"/>
                        </a:lnTo>
                        <a:lnTo>
                          <a:pt x="99280" y="291141"/>
                        </a:lnTo>
                        <a:lnTo>
                          <a:pt x="96827" y="288362"/>
                        </a:lnTo>
                        <a:lnTo>
                          <a:pt x="92915" y="283089"/>
                        </a:lnTo>
                        <a:lnTo>
                          <a:pt x="89028" y="277205"/>
                        </a:lnTo>
                        <a:lnTo>
                          <a:pt x="90959" y="273961"/>
                        </a:lnTo>
                        <a:lnTo>
                          <a:pt x="97398" y="271419"/>
                        </a:lnTo>
                        <a:lnTo>
                          <a:pt x="103860" y="269650"/>
                        </a:lnTo>
                        <a:lnTo>
                          <a:pt x="110323" y="268664"/>
                        </a:lnTo>
                        <a:lnTo>
                          <a:pt x="115735" y="268648"/>
                        </a:lnTo>
                        <a:lnTo>
                          <a:pt x="122254" y="270058"/>
                        </a:lnTo>
                        <a:lnTo>
                          <a:pt x="131431" y="272780"/>
                        </a:lnTo>
                        <a:lnTo>
                          <a:pt x="136696" y="275868"/>
                        </a:lnTo>
                        <a:lnTo>
                          <a:pt x="143297" y="282396"/>
                        </a:lnTo>
                        <a:lnTo>
                          <a:pt x="147649" y="287580"/>
                        </a:lnTo>
                        <a:lnTo>
                          <a:pt x="151186" y="289919"/>
                        </a:lnTo>
                        <a:lnTo>
                          <a:pt x="167004" y="294156"/>
                        </a:lnTo>
                        <a:lnTo>
                          <a:pt x="172269" y="294841"/>
                        </a:lnTo>
                        <a:lnTo>
                          <a:pt x="178512" y="294499"/>
                        </a:lnTo>
                        <a:lnTo>
                          <a:pt x="191242" y="293390"/>
                        </a:lnTo>
                        <a:lnTo>
                          <a:pt x="197501" y="292225"/>
                        </a:lnTo>
                        <a:lnTo>
                          <a:pt x="200304" y="290848"/>
                        </a:lnTo>
                        <a:lnTo>
                          <a:pt x="201755" y="288859"/>
                        </a:lnTo>
                        <a:lnTo>
                          <a:pt x="203548" y="287335"/>
                        </a:lnTo>
                        <a:lnTo>
                          <a:pt x="209179" y="283839"/>
                        </a:lnTo>
                        <a:lnTo>
                          <a:pt x="217802" y="276537"/>
                        </a:lnTo>
                        <a:lnTo>
                          <a:pt x="222569" y="270767"/>
                        </a:lnTo>
                        <a:lnTo>
                          <a:pt x="223702" y="268819"/>
                        </a:lnTo>
                        <a:lnTo>
                          <a:pt x="224656" y="266464"/>
                        </a:lnTo>
                        <a:lnTo>
                          <a:pt x="225422" y="263701"/>
                        </a:lnTo>
                        <a:lnTo>
                          <a:pt x="222740" y="265176"/>
                        </a:lnTo>
                        <a:lnTo>
                          <a:pt x="207851" y="279446"/>
                        </a:lnTo>
                        <a:lnTo>
                          <a:pt x="204762" y="282030"/>
                        </a:lnTo>
                        <a:lnTo>
                          <a:pt x="196058" y="286406"/>
                        </a:lnTo>
                        <a:lnTo>
                          <a:pt x="192366" y="287107"/>
                        </a:lnTo>
                        <a:lnTo>
                          <a:pt x="186425" y="286895"/>
                        </a:lnTo>
                        <a:lnTo>
                          <a:pt x="178536" y="284955"/>
                        </a:lnTo>
                        <a:lnTo>
                          <a:pt x="169245" y="288036"/>
                        </a:lnTo>
                        <a:lnTo>
                          <a:pt x="163606" y="287245"/>
                        </a:lnTo>
                        <a:lnTo>
                          <a:pt x="158602" y="285102"/>
                        </a:lnTo>
                        <a:lnTo>
                          <a:pt x="158537" y="274996"/>
                        </a:lnTo>
                        <a:lnTo>
                          <a:pt x="152204" y="266896"/>
                        </a:lnTo>
                        <a:lnTo>
                          <a:pt x="159205" y="262788"/>
                        </a:lnTo>
                        <a:lnTo>
                          <a:pt x="165000" y="260237"/>
                        </a:lnTo>
                        <a:lnTo>
                          <a:pt x="175325" y="253595"/>
                        </a:lnTo>
                        <a:lnTo>
                          <a:pt x="177583" y="253522"/>
                        </a:lnTo>
                        <a:lnTo>
                          <a:pt x="185064" y="254573"/>
                        </a:lnTo>
                        <a:lnTo>
                          <a:pt x="180957" y="253065"/>
                        </a:lnTo>
                        <a:lnTo>
                          <a:pt x="176947" y="250824"/>
                        </a:lnTo>
                        <a:lnTo>
                          <a:pt x="168007" y="251411"/>
                        </a:lnTo>
                        <a:lnTo>
                          <a:pt x="171161" y="237059"/>
                        </a:lnTo>
                        <a:lnTo>
                          <a:pt x="165179" y="247784"/>
                        </a:lnTo>
                        <a:lnTo>
                          <a:pt x="159083" y="253408"/>
                        </a:lnTo>
                        <a:lnTo>
                          <a:pt x="155391" y="256244"/>
                        </a:lnTo>
                        <a:lnTo>
                          <a:pt x="151251" y="257874"/>
                        </a:lnTo>
                        <a:lnTo>
                          <a:pt x="135587" y="259276"/>
                        </a:lnTo>
                        <a:lnTo>
                          <a:pt x="139426" y="254035"/>
                        </a:lnTo>
                        <a:lnTo>
                          <a:pt x="142963" y="246269"/>
                        </a:lnTo>
                        <a:lnTo>
                          <a:pt x="139222" y="249170"/>
                        </a:lnTo>
                        <a:lnTo>
                          <a:pt x="130388" y="253522"/>
                        </a:lnTo>
                        <a:lnTo>
                          <a:pt x="123778" y="255820"/>
                        </a:lnTo>
                        <a:lnTo>
                          <a:pt x="118334" y="257010"/>
                        </a:lnTo>
                        <a:lnTo>
                          <a:pt x="107764" y="256725"/>
                        </a:lnTo>
                        <a:lnTo>
                          <a:pt x="102499" y="254541"/>
                        </a:lnTo>
                        <a:lnTo>
                          <a:pt x="103999" y="249186"/>
                        </a:lnTo>
                        <a:lnTo>
                          <a:pt x="103999" y="242569"/>
                        </a:lnTo>
                        <a:lnTo>
                          <a:pt x="107218" y="239504"/>
                        </a:lnTo>
                        <a:lnTo>
                          <a:pt x="112108" y="235560"/>
                        </a:lnTo>
                        <a:lnTo>
                          <a:pt x="117348" y="230246"/>
                        </a:lnTo>
                        <a:lnTo>
                          <a:pt x="120942" y="224704"/>
                        </a:lnTo>
                        <a:lnTo>
                          <a:pt x="134984" y="222243"/>
                        </a:lnTo>
                        <a:lnTo>
                          <a:pt x="148651" y="221233"/>
                        </a:lnTo>
                        <a:lnTo>
                          <a:pt x="160085" y="218315"/>
                        </a:lnTo>
                        <a:lnTo>
                          <a:pt x="165692" y="217793"/>
                        </a:lnTo>
                        <a:lnTo>
                          <a:pt x="171063" y="219187"/>
                        </a:lnTo>
                        <a:lnTo>
                          <a:pt x="192872" y="221461"/>
                        </a:lnTo>
                        <a:lnTo>
                          <a:pt x="201820" y="223205"/>
                        </a:lnTo>
                        <a:lnTo>
                          <a:pt x="205748" y="224460"/>
                        </a:lnTo>
                        <a:lnTo>
                          <a:pt x="208658" y="224908"/>
                        </a:lnTo>
                        <a:lnTo>
                          <a:pt x="211730" y="223034"/>
                        </a:lnTo>
                        <a:lnTo>
                          <a:pt x="215642" y="221216"/>
                        </a:lnTo>
                        <a:lnTo>
                          <a:pt x="229228" y="221396"/>
                        </a:lnTo>
                        <a:lnTo>
                          <a:pt x="232985" y="221061"/>
                        </a:lnTo>
                        <a:lnTo>
                          <a:pt x="236448" y="220214"/>
                        </a:lnTo>
                        <a:lnTo>
                          <a:pt x="240662" y="218494"/>
                        </a:lnTo>
                        <a:lnTo>
                          <a:pt x="245625" y="215886"/>
                        </a:lnTo>
                        <a:lnTo>
                          <a:pt x="246391" y="214607"/>
                        </a:lnTo>
                        <a:lnTo>
                          <a:pt x="242944" y="214648"/>
                        </a:lnTo>
                        <a:lnTo>
                          <a:pt x="239488" y="215300"/>
                        </a:lnTo>
                        <a:lnTo>
                          <a:pt x="234305" y="217199"/>
                        </a:lnTo>
                        <a:lnTo>
                          <a:pt x="229309" y="218217"/>
                        </a:lnTo>
                        <a:lnTo>
                          <a:pt x="224224" y="218022"/>
                        </a:lnTo>
                        <a:lnTo>
                          <a:pt x="213939" y="216424"/>
                        </a:lnTo>
                        <a:lnTo>
                          <a:pt x="196075" y="216139"/>
                        </a:lnTo>
                        <a:lnTo>
                          <a:pt x="186971" y="215406"/>
                        </a:lnTo>
                        <a:lnTo>
                          <a:pt x="182750" y="214623"/>
                        </a:lnTo>
                        <a:lnTo>
                          <a:pt x="180370" y="213556"/>
                        </a:lnTo>
                        <a:lnTo>
                          <a:pt x="178284" y="211950"/>
                        </a:lnTo>
                        <a:lnTo>
                          <a:pt x="176507" y="209790"/>
                        </a:lnTo>
                        <a:lnTo>
                          <a:pt x="177436" y="208291"/>
                        </a:lnTo>
                        <a:lnTo>
                          <a:pt x="181079" y="207419"/>
                        </a:lnTo>
                        <a:lnTo>
                          <a:pt x="184217" y="207240"/>
                        </a:lnTo>
                        <a:lnTo>
                          <a:pt x="189269" y="208413"/>
                        </a:lnTo>
                        <a:lnTo>
                          <a:pt x="194942" y="210426"/>
                        </a:lnTo>
                        <a:lnTo>
                          <a:pt x="201103" y="210687"/>
                        </a:lnTo>
                        <a:lnTo>
                          <a:pt x="198968" y="208853"/>
                        </a:lnTo>
                        <a:lnTo>
                          <a:pt x="191128" y="205170"/>
                        </a:lnTo>
                        <a:lnTo>
                          <a:pt x="185692" y="202048"/>
                        </a:lnTo>
                        <a:lnTo>
                          <a:pt x="181136" y="198201"/>
                        </a:lnTo>
                        <a:lnTo>
                          <a:pt x="177624" y="194387"/>
                        </a:lnTo>
                        <a:lnTo>
                          <a:pt x="169849" y="188422"/>
                        </a:lnTo>
                        <a:lnTo>
                          <a:pt x="163565" y="182464"/>
                        </a:lnTo>
                        <a:lnTo>
                          <a:pt x="159123" y="179824"/>
                        </a:lnTo>
                        <a:lnTo>
                          <a:pt x="154446" y="178520"/>
                        </a:lnTo>
                        <a:lnTo>
                          <a:pt x="140200" y="176890"/>
                        </a:lnTo>
                        <a:lnTo>
                          <a:pt x="137347" y="175830"/>
                        </a:lnTo>
                        <a:lnTo>
                          <a:pt x="130551" y="170623"/>
                        </a:lnTo>
                        <a:lnTo>
                          <a:pt x="128725" y="161805"/>
                        </a:lnTo>
                        <a:lnTo>
                          <a:pt x="125742" y="156426"/>
                        </a:lnTo>
                        <a:lnTo>
                          <a:pt x="128619" y="149539"/>
                        </a:lnTo>
                        <a:lnTo>
                          <a:pt x="133362" y="146402"/>
                        </a:lnTo>
                        <a:lnTo>
                          <a:pt x="161829" y="148839"/>
                        </a:lnTo>
                        <a:lnTo>
                          <a:pt x="173834" y="148480"/>
                        </a:lnTo>
                        <a:lnTo>
                          <a:pt x="189188" y="149344"/>
                        </a:lnTo>
                        <a:lnTo>
                          <a:pt x="197444" y="151039"/>
                        </a:lnTo>
                        <a:lnTo>
                          <a:pt x="206865" y="155228"/>
                        </a:lnTo>
                        <a:lnTo>
                          <a:pt x="215283" y="159947"/>
                        </a:lnTo>
                        <a:lnTo>
                          <a:pt x="223384" y="163109"/>
                        </a:lnTo>
                        <a:lnTo>
                          <a:pt x="230841" y="167412"/>
                        </a:lnTo>
                        <a:lnTo>
                          <a:pt x="238983" y="173801"/>
                        </a:lnTo>
                        <a:lnTo>
                          <a:pt x="243767" y="176865"/>
                        </a:lnTo>
                        <a:lnTo>
                          <a:pt x="247923" y="178732"/>
                        </a:lnTo>
                        <a:lnTo>
                          <a:pt x="253506" y="180329"/>
                        </a:lnTo>
                        <a:lnTo>
                          <a:pt x="264043" y="182358"/>
                        </a:lnTo>
                        <a:lnTo>
                          <a:pt x="273236" y="183027"/>
                        </a:lnTo>
                        <a:lnTo>
                          <a:pt x="277996" y="182766"/>
                        </a:lnTo>
                        <a:lnTo>
                          <a:pt x="283081" y="181299"/>
                        </a:lnTo>
                        <a:lnTo>
                          <a:pt x="286708" y="179555"/>
                        </a:lnTo>
                        <a:lnTo>
                          <a:pt x="282666" y="179074"/>
                        </a:lnTo>
                        <a:lnTo>
                          <a:pt x="272087" y="179278"/>
                        </a:lnTo>
                        <a:lnTo>
                          <a:pt x="264744" y="178357"/>
                        </a:lnTo>
                        <a:lnTo>
                          <a:pt x="260555" y="176311"/>
                        </a:lnTo>
                        <a:lnTo>
                          <a:pt x="256097" y="173549"/>
                        </a:lnTo>
                        <a:lnTo>
                          <a:pt x="249007" y="168333"/>
                        </a:lnTo>
                        <a:lnTo>
                          <a:pt x="243661" y="164918"/>
                        </a:lnTo>
                        <a:lnTo>
                          <a:pt x="231950" y="159352"/>
                        </a:lnTo>
                        <a:lnTo>
                          <a:pt x="223295" y="153802"/>
                        </a:lnTo>
                        <a:lnTo>
                          <a:pt x="216351" y="148529"/>
                        </a:lnTo>
                        <a:lnTo>
                          <a:pt x="215707" y="146231"/>
                        </a:lnTo>
                        <a:lnTo>
                          <a:pt x="220727" y="144641"/>
                        </a:lnTo>
                        <a:lnTo>
                          <a:pt x="226897" y="143525"/>
                        </a:lnTo>
                        <a:lnTo>
                          <a:pt x="265502" y="139939"/>
                        </a:lnTo>
                        <a:lnTo>
                          <a:pt x="288525" y="135660"/>
                        </a:lnTo>
                        <a:lnTo>
                          <a:pt x="297873" y="130689"/>
                        </a:lnTo>
                        <a:lnTo>
                          <a:pt x="298989" y="129524"/>
                        </a:lnTo>
                        <a:lnTo>
                          <a:pt x="329828" y="122482"/>
                        </a:lnTo>
                        <a:lnTo>
                          <a:pt x="351620" y="119883"/>
                        </a:lnTo>
                        <a:lnTo>
                          <a:pt x="360006" y="119459"/>
                        </a:lnTo>
                        <a:lnTo>
                          <a:pt x="367602" y="118334"/>
                        </a:lnTo>
                        <a:lnTo>
                          <a:pt x="367912" y="117650"/>
                        </a:lnTo>
                        <a:lnTo>
                          <a:pt x="361261" y="116696"/>
                        </a:lnTo>
                        <a:lnTo>
                          <a:pt x="354546" y="116231"/>
                        </a:lnTo>
                        <a:lnTo>
                          <a:pt x="339306" y="116264"/>
                        </a:lnTo>
                        <a:lnTo>
                          <a:pt x="325737" y="115408"/>
                        </a:lnTo>
                        <a:lnTo>
                          <a:pt x="321637" y="113835"/>
                        </a:lnTo>
                        <a:lnTo>
                          <a:pt x="322493" y="111285"/>
                        </a:lnTo>
                        <a:lnTo>
                          <a:pt x="323797" y="109084"/>
                        </a:lnTo>
                        <a:lnTo>
                          <a:pt x="327896" y="105409"/>
                        </a:lnTo>
                        <a:lnTo>
                          <a:pt x="332289" y="102646"/>
                        </a:lnTo>
                        <a:lnTo>
                          <a:pt x="350903" y="94675"/>
                        </a:lnTo>
                        <a:lnTo>
                          <a:pt x="363437" y="91310"/>
                        </a:lnTo>
                        <a:lnTo>
                          <a:pt x="367048" y="88987"/>
                        </a:lnTo>
                        <a:lnTo>
                          <a:pt x="340088" y="94170"/>
                        </a:lnTo>
                        <a:lnTo>
                          <a:pt x="330667" y="97903"/>
                        </a:lnTo>
                        <a:lnTo>
                          <a:pt x="321197" y="103518"/>
                        </a:lnTo>
                        <a:lnTo>
                          <a:pt x="316299" y="105156"/>
                        </a:lnTo>
                        <a:lnTo>
                          <a:pt x="312803" y="104724"/>
                        </a:lnTo>
                        <a:lnTo>
                          <a:pt x="309674" y="105246"/>
                        </a:lnTo>
                        <a:lnTo>
                          <a:pt x="306927" y="106729"/>
                        </a:lnTo>
                        <a:lnTo>
                          <a:pt x="304629" y="109426"/>
                        </a:lnTo>
                        <a:lnTo>
                          <a:pt x="302763" y="113355"/>
                        </a:lnTo>
                        <a:lnTo>
                          <a:pt x="301068" y="116036"/>
                        </a:lnTo>
                        <a:lnTo>
                          <a:pt x="299552" y="117454"/>
                        </a:lnTo>
                        <a:lnTo>
                          <a:pt x="295713" y="119516"/>
                        </a:lnTo>
                        <a:lnTo>
                          <a:pt x="286479" y="123534"/>
                        </a:lnTo>
                        <a:lnTo>
                          <a:pt x="264818" y="129157"/>
                        </a:lnTo>
                        <a:lnTo>
                          <a:pt x="257523" y="130591"/>
                        </a:lnTo>
                        <a:lnTo>
                          <a:pt x="251289" y="130811"/>
                        </a:lnTo>
                        <a:lnTo>
                          <a:pt x="231053" y="133973"/>
                        </a:lnTo>
                        <a:lnTo>
                          <a:pt x="224990" y="134104"/>
                        </a:lnTo>
                        <a:lnTo>
                          <a:pt x="218258" y="133142"/>
                        </a:lnTo>
                        <a:lnTo>
                          <a:pt x="221135" y="130404"/>
                        </a:lnTo>
                        <a:lnTo>
                          <a:pt x="231844" y="125359"/>
                        </a:lnTo>
                        <a:lnTo>
                          <a:pt x="234680" y="123110"/>
                        </a:lnTo>
                        <a:lnTo>
                          <a:pt x="227826" y="123599"/>
                        </a:lnTo>
                        <a:lnTo>
                          <a:pt x="220842" y="124976"/>
                        </a:lnTo>
                        <a:lnTo>
                          <a:pt x="205430" y="126117"/>
                        </a:lnTo>
                        <a:lnTo>
                          <a:pt x="199334" y="128171"/>
                        </a:lnTo>
                        <a:lnTo>
                          <a:pt x="193426" y="131903"/>
                        </a:lnTo>
                        <a:lnTo>
                          <a:pt x="188699" y="134234"/>
                        </a:lnTo>
                        <a:lnTo>
                          <a:pt x="185138" y="135188"/>
                        </a:lnTo>
                        <a:lnTo>
                          <a:pt x="180223" y="135758"/>
                        </a:lnTo>
                        <a:lnTo>
                          <a:pt x="162163" y="136043"/>
                        </a:lnTo>
                        <a:lnTo>
                          <a:pt x="158162" y="135791"/>
                        </a:lnTo>
                        <a:lnTo>
                          <a:pt x="147771" y="132955"/>
                        </a:lnTo>
                        <a:lnTo>
                          <a:pt x="138570" y="133941"/>
                        </a:lnTo>
                        <a:lnTo>
                          <a:pt x="134772" y="133745"/>
                        </a:lnTo>
                        <a:lnTo>
                          <a:pt x="127796" y="131740"/>
                        </a:lnTo>
                        <a:lnTo>
                          <a:pt x="125718" y="130436"/>
                        </a:lnTo>
                        <a:lnTo>
                          <a:pt x="126019" y="128692"/>
                        </a:lnTo>
                        <a:lnTo>
                          <a:pt x="130054" y="125392"/>
                        </a:lnTo>
                        <a:lnTo>
                          <a:pt x="134731" y="122213"/>
                        </a:lnTo>
                        <a:lnTo>
                          <a:pt x="149931" y="115237"/>
                        </a:lnTo>
                        <a:lnTo>
                          <a:pt x="159678" y="111961"/>
                        </a:lnTo>
                        <a:lnTo>
                          <a:pt x="173728" y="109141"/>
                        </a:lnTo>
                        <a:lnTo>
                          <a:pt x="206734" y="105987"/>
                        </a:lnTo>
                        <a:lnTo>
                          <a:pt x="208226" y="103665"/>
                        </a:lnTo>
                        <a:lnTo>
                          <a:pt x="174828" y="106264"/>
                        </a:lnTo>
                        <a:lnTo>
                          <a:pt x="146418" y="109516"/>
                        </a:lnTo>
                        <a:lnTo>
                          <a:pt x="141805" y="110722"/>
                        </a:lnTo>
                        <a:lnTo>
                          <a:pt x="135196" y="113925"/>
                        </a:lnTo>
                        <a:lnTo>
                          <a:pt x="114194" y="125481"/>
                        </a:lnTo>
                        <a:lnTo>
                          <a:pt x="107992" y="128399"/>
                        </a:lnTo>
                        <a:lnTo>
                          <a:pt x="98530" y="129092"/>
                        </a:lnTo>
                        <a:lnTo>
                          <a:pt x="91285" y="128114"/>
                        </a:lnTo>
                        <a:lnTo>
                          <a:pt x="85621" y="126639"/>
                        </a:lnTo>
                        <a:lnTo>
                          <a:pt x="75874" y="123224"/>
                        </a:lnTo>
                        <a:lnTo>
                          <a:pt x="68523" y="121390"/>
                        </a:lnTo>
                        <a:lnTo>
                          <a:pt x="65043" y="120152"/>
                        </a:lnTo>
                        <a:lnTo>
                          <a:pt x="62989" y="118905"/>
                        </a:lnTo>
                        <a:lnTo>
                          <a:pt x="61319" y="117446"/>
                        </a:lnTo>
                        <a:lnTo>
                          <a:pt x="60039" y="115775"/>
                        </a:lnTo>
                        <a:lnTo>
                          <a:pt x="62435" y="114373"/>
                        </a:lnTo>
                        <a:lnTo>
                          <a:pt x="81131" y="111358"/>
                        </a:lnTo>
                        <a:lnTo>
                          <a:pt x="106541" y="111937"/>
                        </a:lnTo>
                        <a:lnTo>
                          <a:pt x="117935" y="111309"/>
                        </a:lnTo>
                        <a:lnTo>
                          <a:pt x="129157" y="109492"/>
                        </a:lnTo>
                        <a:lnTo>
                          <a:pt x="145701" y="104928"/>
                        </a:lnTo>
                        <a:lnTo>
                          <a:pt x="163720" y="98530"/>
                        </a:lnTo>
                        <a:lnTo>
                          <a:pt x="167241" y="96485"/>
                        </a:lnTo>
                        <a:lnTo>
                          <a:pt x="160672" y="96036"/>
                        </a:lnTo>
                        <a:lnTo>
                          <a:pt x="155798" y="96534"/>
                        </a:lnTo>
                        <a:lnTo>
                          <a:pt x="144079" y="98824"/>
                        </a:lnTo>
                        <a:lnTo>
                          <a:pt x="125539" y="104977"/>
                        </a:lnTo>
                        <a:lnTo>
                          <a:pt x="109353" y="107153"/>
                        </a:lnTo>
                        <a:lnTo>
                          <a:pt x="69379" y="108302"/>
                        </a:lnTo>
                        <a:lnTo>
                          <a:pt x="56698" y="110021"/>
                        </a:lnTo>
                        <a:lnTo>
                          <a:pt x="51123" y="109663"/>
                        </a:lnTo>
                        <a:lnTo>
                          <a:pt x="46926" y="107984"/>
                        </a:lnTo>
                        <a:lnTo>
                          <a:pt x="42248" y="104879"/>
                        </a:lnTo>
                        <a:lnTo>
                          <a:pt x="43080" y="102385"/>
                        </a:lnTo>
                        <a:lnTo>
                          <a:pt x="52598" y="99590"/>
                        </a:lnTo>
                        <a:lnTo>
                          <a:pt x="60063" y="98938"/>
                        </a:lnTo>
                        <a:lnTo>
                          <a:pt x="61400" y="98367"/>
                        </a:lnTo>
                        <a:lnTo>
                          <a:pt x="50806" y="95662"/>
                        </a:lnTo>
                        <a:lnTo>
                          <a:pt x="49860" y="94284"/>
                        </a:lnTo>
                        <a:lnTo>
                          <a:pt x="55981" y="91220"/>
                        </a:lnTo>
                        <a:lnTo>
                          <a:pt x="69248" y="86705"/>
                        </a:lnTo>
                        <a:lnTo>
                          <a:pt x="75956" y="85279"/>
                        </a:lnTo>
                        <a:lnTo>
                          <a:pt x="88237" y="84374"/>
                        </a:lnTo>
                        <a:lnTo>
                          <a:pt x="100886" y="84863"/>
                        </a:lnTo>
                        <a:lnTo>
                          <a:pt x="101374" y="84007"/>
                        </a:lnTo>
                        <a:lnTo>
                          <a:pt x="88865" y="82296"/>
                        </a:lnTo>
                        <a:lnTo>
                          <a:pt x="79501" y="81978"/>
                        </a:lnTo>
                        <a:lnTo>
                          <a:pt x="67113" y="83192"/>
                        </a:lnTo>
                        <a:lnTo>
                          <a:pt x="34245" y="90503"/>
                        </a:lnTo>
                        <a:lnTo>
                          <a:pt x="31442" y="90291"/>
                        </a:lnTo>
                        <a:lnTo>
                          <a:pt x="26666" y="89028"/>
                        </a:lnTo>
                        <a:lnTo>
                          <a:pt x="28035" y="87218"/>
                        </a:lnTo>
                        <a:lnTo>
                          <a:pt x="45614" y="79525"/>
                        </a:lnTo>
                        <a:lnTo>
                          <a:pt x="46201" y="78311"/>
                        </a:lnTo>
                        <a:lnTo>
                          <a:pt x="33569" y="78482"/>
                        </a:lnTo>
                        <a:lnTo>
                          <a:pt x="29852" y="78115"/>
                        </a:lnTo>
                        <a:lnTo>
                          <a:pt x="26242" y="77211"/>
                        </a:lnTo>
                        <a:lnTo>
                          <a:pt x="21092" y="78017"/>
                        </a:lnTo>
                        <a:lnTo>
                          <a:pt x="14417" y="80552"/>
                        </a:lnTo>
                        <a:lnTo>
                          <a:pt x="9715" y="81636"/>
                        </a:lnTo>
                        <a:lnTo>
                          <a:pt x="6976" y="81269"/>
                        </a:lnTo>
                        <a:lnTo>
                          <a:pt x="0" y="78262"/>
                        </a:lnTo>
                        <a:lnTo>
                          <a:pt x="913" y="75744"/>
                        </a:lnTo>
                        <a:lnTo>
                          <a:pt x="6455" y="72590"/>
                        </a:lnTo>
                        <a:lnTo>
                          <a:pt x="11524" y="70316"/>
                        </a:lnTo>
                        <a:lnTo>
                          <a:pt x="18410" y="68230"/>
                        </a:lnTo>
                        <a:lnTo>
                          <a:pt x="29616" y="65622"/>
                        </a:lnTo>
                        <a:lnTo>
                          <a:pt x="37725" y="64733"/>
                        </a:lnTo>
                        <a:lnTo>
                          <a:pt x="50871" y="64709"/>
                        </a:lnTo>
                        <a:lnTo>
                          <a:pt x="57130" y="63543"/>
                        </a:lnTo>
                        <a:lnTo>
                          <a:pt x="62696" y="61514"/>
                        </a:lnTo>
                        <a:lnTo>
                          <a:pt x="69672" y="58230"/>
                        </a:lnTo>
                        <a:lnTo>
                          <a:pt x="77325" y="55956"/>
                        </a:lnTo>
                        <a:lnTo>
                          <a:pt x="89810" y="54098"/>
                        </a:lnTo>
                        <a:lnTo>
                          <a:pt x="100331" y="54693"/>
                        </a:lnTo>
                        <a:lnTo>
                          <a:pt x="106150" y="56323"/>
                        </a:lnTo>
                        <a:lnTo>
                          <a:pt x="110771" y="59167"/>
                        </a:lnTo>
                        <a:lnTo>
                          <a:pt x="115726" y="61343"/>
                        </a:lnTo>
                        <a:lnTo>
                          <a:pt x="116199" y="59583"/>
                        </a:lnTo>
                        <a:lnTo>
                          <a:pt x="120298" y="57415"/>
                        </a:lnTo>
                        <a:lnTo>
                          <a:pt x="125441" y="56486"/>
                        </a:lnTo>
                        <a:lnTo>
                          <a:pt x="131618" y="56795"/>
                        </a:lnTo>
                        <a:lnTo>
                          <a:pt x="137054" y="57831"/>
                        </a:lnTo>
                        <a:lnTo>
                          <a:pt x="144087" y="60447"/>
                        </a:lnTo>
                        <a:lnTo>
                          <a:pt x="149768" y="61628"/>
                        </a:lnTo>
                        <a:lnTo>
                          <a:pt x="152441" y="61555"/>
                        </a:lnTo>
                        <a:lnTo>
                          <a:pt x="155790" y="60104"/>
                        </a:lnTo>
                        <a:lnTo>
                          <a:pt x="164673" y="60072"/>
                        </a:lnTo>
                        <a:lnTo>
                          <a:pt x="164486" y="59452"/>
                        </a:lnTo>
                        <a:lnTo>
                          <a:pt x="161585" y="57936"/>
                        </a:lnTo>
                        <a:lnTo>
                          <a:pt x="158080" y="56861"/>
                        </a:lnTo>
                        <a:lnTo>
                          <a:pt x="126582" y="49314"/>
                        </a:lnTo>
                        <a:lnTo>
                          <a:pt x="125710" y="47668"/>
                        </a:lnTo>
                        <a:lnTo>
                          <a:pt x="136329" y="46111"/>
                        </a:lnTo>
                        <a:lnTo>
                          <a:pt x="142963" y="44253"/>
                        </a:lnTo>
                        <a:lnTo>
                          <a:pt x="146084" y="43805"/>
                        </a:lnTo>
                        <a:lnTo>
                          <a:pt x="153859" y="39860"/>
                        </a:lnTo>
                        <a:lnTo>
                          <a:pt x="158936" y="37807"/>
                        </a:lnTo>
                        <a:lnTo>
                          <a:pt x="168349" y="35468"/>
                        </a:lnTo>
                        <a:lnTo>
                          <a:pt x="172114" y="36103"/>
                        </a:lnTo>
                        <a:lnTo>
                          <a:pt x="176865" y="38165"/>
                        </a:lnTo>
                        <a:lnTo>
                          <a:pt x="181454" y="39461"/>
                        </a:lnTo>
                        <a:lnTo>
                          <a:pt x="194966" y="40692"/>
                        </a:lnTo>
                        <a:lnTo>
                          <a:pt x="200736" y="41971"/>
                        </a:lnTo>
                        <a:lnTo>
                          <a:pt x="211029" y="49314"/>
                        </a:lnTo>
                        <a:lnTo>
                          <a:pt x="215137" y="51718"/>
                        </a:lnTo>
                        <a:lnTo>
                          <a:pt x="220988" y="54171"/>
                        </a:lnTo>
                        <a:lnTo>
                          <a:pt x="224476" y="55100"/>
                        </a:lnTo>
                        <a:lnTo>
                          <a:pt x="231363" y="55703"/>
                        </a:lnTo>
                        <a:lnTo>
                          <a:pt x="232072" y="54310"/>
                        </a:lnTo>
                        <a:lnTo>
                          <a:pt x="223898" y="50838"/>
                        </a:lnTo>
                        <a:lnTo>
                          <a:pt x="221656" y="48825"/>
                        </a:lnTo>
                        <a:lnTo>
                          <a:pt x="222618" y="47130"/>
                        </a:lnTo>
                        <a:lnTo>
                          <a:pt x="224354" y="46233"/>
                        </a:lnTo>
                        <a:lnTo>
                          <a:pt x="226881" y="46144"/>
                        </a:lnTo>
                        <a:lnTo>
                          <a:pt x="233335" y="47676"/>
                        </a:lnTo>
                        <a:lnTo>
                          <a:pt x="250498" y="52827"/>
                        </a:lnTo>
                        <a:lnTo>
                          <a:pt x="276154" y="58923"/>
                        </a:lnTo>
                        <a:lnTo>
                          <a:pt x="285991" y="60349"/>
                        </a:lnTo>
                        <a:lnTo>
                          <a:pt x="292062" y="62525"/>
                        </a:lnTo>
                        <a:lnTo>
                          <a:pt x="297596" y="65165"/>
                        </a:lnTo>
                        <a:lnTo>
                          <a:pt x="303048" y="66991"/>
                        </a:lnTo>
                        <a:lnTo>
                          <a:pt x="304059" y="66812"/>
                        </a:lnTo>
                        <a:lnTo>
                          <a:pt x="298989" y="62720"/>
                        </a:lnTo>
                        <a:lnTo>
                          <a:pt x="286577" y="57684"/>
                        </a:lnTo>
                        <a:lnTo>
                          <a:pt x="253375" y="49045"/>
                        </a:lnTo>
                        <a:lnTo>
                          <a:pt x="240246" y="44514"/>
                        </a:lnTo>
                        <a:lnTo>
                          <a:pt x="233897" y="41450"/>
                        </a:lnTo>
                        <a:lnTo>
                          <a:pt x="229089" y="38344"/>
                        </a:lnTo>
                        <a:lnTo>
                          <a:pt x="228999" y="36649"/>
                        </a:lnTo>
                        <a:lnTo>
                          <a:pt x="233523" y="34661"/>
                        </a:lnTo>
                        <a:lnTo>
                          <a:pt x="239619" y="33080"/>
                        </a:lnTo>
                        <a:lnTo>
                          <a:pt x="247189" y="32452"/>
                        </a:lnTo>
                        <a:lnTo>
                          <a:pt x="248102" y="31792"/>
                        </a:lnTo>
                        <a:lnTo>
                          <a:pt x="241216" y="29437"/>
                        </a:lnTo>
                        <a:lnTo>
                          <a:pt x="237149" y="27391"/>
                        </a:lnTo>
                        <a:lnTo>
                          <a:pt x="237296" y="25973"/>
                        </a:lnTo>
                        <a:lnTo>
                          <a:pt x="245511" y="24881"/>
                        </a:lnTo>
                        <a:lnTo>
                          <a:pt x="250612" y="25207"/>
                        </a:lnTo>
                        <a:lnTo>
                          <a:pt x="260311" y="27774"/>
                        </a:lnTo>
                        <a:lnTo>
                          <a:pt x="268403" y="28997"/>
                        </a:lnTo>
                        <a:lnTo>
                          <a:pt x="269715" y="28206"/>
                        </a:lnTo>
                        <a:lnTo>
                          <a:pt x="261362" y="21352"/>
                        </a:lnTo>
                        <a:lnTo>
                          <a:pt x="260572" y="19804"/>
                        </a:lnTo>
                        <a:lnTo>
                          <a:pt x="261810" y="18899"/>
                        </a:lnTo>
                        <a:lnTo>
                          <a:pt x="264744" y="17978"/>
                        </a:lnTo>
                        <a:lnTo>
                          <a:pt x="273497" y="18508"/>
                        </a:lnTo>
                        <a:lnTo>
                          <a:pt x="287914" y="21849"/>
                        </a:lnTo>
                        <a:lnTo>
                          <a:pt x="313724" y="23528"/>
                        </a:lnTo>
                        <a:lnTo>
                          <a:pt x="320831" y="23276"/>
                        </a:lnTo>
                        <a:lnTo>
                          <a:pt x="319763" y="22510"/>
                        </a:lnTo>
                        <a:lnTo>
                          <a:pt x="309454" y="20440"/>
                        </a:lnTo>
                        <a:lnTo>
                          <a:pt x="298680" y="17660"/>
                        </a:lnTo>
                        <a:lnTo>
                          <a:pt x="293920" y="15982"/>
                        </a:lnTo>
                        <a:lnTo>
                          <a:pt x="290432" y="13724"/>
                        </a:lnTo>
                        <a:lnTo>
                          <a:pt x="286292" y="11842"/>
                        </a:lnTo>
                        <a:lnTo>
                          <a:pt x="285950" y="10945"/>
                        </a:lnTo>
                        <a:lnTo>
                          <a:pt x="292616" y="9486"/>
                        </a:lnTo>
                        <a:lnTo>
                          <a:pt x="310122" y="9772"/>
                        </a:lnTo>
                        <a:lnTo>
                          <a:pt x="326381" y="12013"/>
                        </a:lnTo>
                        <a:lnTo>
                          <a:pt x="340178" y="11198"/>
                        </a:lnTo>
                        <a:lnTo>
                          <a:pt x="348874" y="11752"/>
                        </a:lnTo>
                        <a:lnTo>
                          <a:pt x="352305" y="12428"/>
                        </a:lnTo>
                        <a:lnTo>
                          <a:pt x="358605" y="14881"/>
                        </a:lnTo>
                        <a:lnTo>
                          <a:pt x="378555" y="23724"/>
                        </a:lnTo>
                        <a:lnTo>
                          <a:pt x="380682" y="25134"/>
                        </a:lnTo>
                        <a:lnTo>
                          <a:pt x="382956" y="27269"/>
                        </a:lnTo>
                        <a:lnTo>
                          <a:pt x="385368" y="30146"/>
                        </a:lnTo>
                        <a:lnTo>
                          <a:pt x="388775" y="30928"/>
                        </a:lnTo>
                        <a:lnTo>
                          <a:pt x="395344" y="28948"/>
                        </a:lnTo>
                        <a:lnTo>
                          <a:pt x="399777" y="27033"/>
                        </a:lnTo>
                        <a:lnTo>
                          <a:pt x="397862" y="25183"/>
                        </a:lnTo>
                        <a:lnTo>
                          <a:pt x="386843" y="20929"/>
                        </a:lnTo>
                        <a:lnTo>
                          <a:pt x="384341" y="19103"/>
                        </a:lnTo>
                        <a:lnTo>
                          <a:pt x="378832" y="16022"/>
                        </a:lnTo>
                        <a:lnTo>
                          <a:pt x="366477" y="10505"/>
                        </a:lnTo>
                        <a:lnTo>
                          <a:pt x="363185" y="7938"/>
                        </a:lnTo>
                        <a:lnTo>
                          <a:pt x="361107" y="5746"/>
                        </a:lnTo>
                        <a:lnTo>
                          <a:pt x="395335" y="3684"/>
                        </a:lnTo>
                        <a:lnTo>
                          <a:pt x="428334" y="5509"/>
                        </a:lnTo>
                        <a:lnTo>
                          <a:pt x="433713" y="6789"/>
                        </a:lnTo>
                        <a:lnTo>
                          <a:pt x="437225" y="8590"/>
                        </a:lnTo>
                        <a:lnTo>
                          <a:pt x="440680" y="11320"/>
                        </a:lnTo>
                        <a:lnTo>
                          <a:pt x="445970" y="14099"/>
                        </a:lnTo>
                        <a:lnTo>
                          <a:pt x="456662" y="18369"/>
                        </a:lnTo>
                        <a:lnTo>
                          <a:pt x="471878" y="21026"/>
                        </a:lnTo>
                        <a:lnTo>
                          <a:pt x="468968" y="19217"/>
                        </a:lnTo>
                        <a:lnTo>
                          <a:pt x="457591" y="14515"/>
                        </a:lnTo>
                        <a:lnTo>
                          <a:pt x="452449" y="11287"/>
                        </a:lnTo>
                        <a:lnTo>
                          <a:pt x="452481" y="9095"/>
                        </a:lnTo>
                        <a:lnTo>
                          <a:pt x="453394" y="7424"/>
                        </a:lnTo>
                        <a:lnTo>
                          <a:pt x="455203" y="6275"/>
                        </a:lnTo>
                        <a:lnTo>
                          <a:pt x="468080" y="1866"/>
                        </a:lnTo>
                        <a:lnTo>
                          <a:pt x="486498" y="538"/>
                        </a:lnTo>
                        <a:lnTo>
                          <a:pt x="488625" y="782"/>
                        </a:lnTo>
                        <a:lnTo>
                          <a:pt x="502945" y="7547"/>
                        </a:lnTo>
                        <a:lnTo>
                          <a:pt x="509741" y="10309"/>
                        </a:lnTo>
                        <a:lnTo>
                          <a:pt x="514493" y="11418"/>
                        </a:lnTo>
                        <a:lnTo>
                          <a:pt x="514680" y="10937"/>
                        </a:lnTo>
                        <a:lnTo>
                          <a:pt x="508103" y="7832"/>
                        </a:lnTo>
                        <a:lnTo>
                          <a:pt x="503034" y="6137"/>
                        </a:lnTo>
                        <a:lnTo>
                          <a:pt x="502513" y="5077"/>
                        </a:lnTo>
                        <a:lnTo>
                          <a:pt x="510915" y="1785"/>
                        </a:lnTo>
                        <a:lnTo>
                          <a:pt x="516229" y="962"/>
                        </a:lnTo>
                        <a:lnTo>
                          <a:pt x="538567" y="0"/>
                        </a:lnTo>
                        <a:lnTo>
                          <a:pt x="541102" y="350"/>
                        </a:lnTo>
                        <a:lnTo>
                          <a:pt x="543220" y="1263"/>
                        </a:lnTo>
                        <a:lnTo>
                          <a:pt x="548502" y="4874"/>
                        </a:lnTo>
                        <a:close/>
                      </a:path>
                    </a:pathLst>
                  </a:custGeom>
                  <a:solidFill>
                    <a:srgbClr val="D6D6D2"/>
                  </a:solidFill>
                  <a:ln w="8150" cap="flat">
                    <a:noFill/>
                    <a:prstDash val="solid"/>
                    <a:miter/>
                  </a:ln>
                </p:spPr>
                <p:txBody>
                  <a:bodyPr rtlCol="0" anchor="ctr"/>
                  <a:lstStyle/>
                  <a:p>
                    <a:endParaRPr lang="en-US"/>
                  </a:p>
                </p:txBody>
              </p:sp>
              <p:sp>
                <p:nvSpPr>
                  <p:cNvPr id="512" name="Freeform: Shape 511">
                    <a:extLst>
                      <a:ext uri="{FF2B5EF4-FFF2-40B4-BE49-F238E27FC236}">
                        <a16:creationId xmlns:a16="http://schemas.microsoft.com/office/drawing/2014/main" id="{494F0699-29B1-4530-96A9-BE43E62F1506}"/>
                      </a:ext>
                    </a:extLst>
                  </p:cNvPr>
                  <p:cNvSpPr/>
                  <p:nvPr/>
                </p:nvSpPr>
                <p:spPr>
                  <a:xfrm>
                    <a:off x="3543438" y="1575443"/>
                    <a:ext cx="290953" cy="163451"/>
                  </a:xfrm>
                  <a:custGeom>
                    <a:avLst/>
                    <a:gdLst>
                      <a:gd name="connsiteX0" fmla="*/ 121227 w 290953"/>
                      <a:gd name="connsiteY0" fmla="*/ 12029 h 163451"/>
                      <a:gd name="connsiteX1" fmla="*/ 124463 w 290953"/>
                      <a:gd name="connsiteY1" fmla="*/ 16373 h 163451"/>
                      <a:gd name="connsiteX2" fmla="*/ 136427 w 290953"/>
                      <a:gd name="connsiteY2" fmla="*/ 26674 h 163451"/>
                      <a:gd name="connsiteX3" fmla="*/ 141846 w 290953"/>
                      <a:gd name="connsiteY3" fmla="*/ 30407 h 163451"/>
                      <a:gd name="connsiteX4" fmla="*/ 151047 w 290953"/>
                      <a:gd name="connsiteY4" fmla="*/ 35052 h 163451"/>
                      <a:gd name="connsiteX5" fmla="*/ 152196 w 290953"/>
                      <a:gd name="connsiteY5" fmla="*/ 36723 h 163451"/>
                      <a:gd name="connsiteX6" fmla="*/ 152302 w 290953"/>
                      <a:gd name="connsiteY6" fmla="*/ 37424 h 163451"/>
                      <a:gd name="connsiteX7" fmla="*/ 152041 w 290953"/>
                      <a:gd name="connsiteY7" fmla="*/ 39893 h 163451"/>
                      <a:gd name="connsiteX8" fmla="*/ 154665 w 290953"/>
                      <a:gd name="connsiteY8" fmla="*/ 40806 h 163451"/>
                      <a:gd name="connsiteX9" fmla="*/ 162595 w 290953"/>
                      <a:gd name="connsiteY9" fmla="*/ 42232 h 163451"/>
                      <a:gd name="connsiteX10" fmla="*/ 171413 w 290953"/>
                      <a:gd name="connsiteY10" fmla="*/ 44791 h 163451"/>
                      <a:gd name="connsiteX11" fmla="*/ 173002 w 290953"/>
                      <a:gd name="connsiteY11" fmla="*/ 44644 h 163451"/>
                      <a:gd name="connsiteX12" fmla="*/ 176075 w 290953"/>
                      <a:gd name="connsiteY12" fmla="*/ 43137 h 163451"/>
                      <a:gd name="connsiteX13" fmla="*/ 179775 w 290953"/>
                      <a:gd name="connsiteY13" fmla="*/ 42713 h 163451"/>
                      <a:gd name="connsiteX14" fmla="*/ 184632 w 290953"/>
                      <a:gd name="connsiteY14" fmla="*/ 43088 h 163451"/>
                      <a:gd name="connsiteX15" fmla="*/ 186947 w 290953"/>
                      <a:gd name="connsiteY15" fmla="*/ 44163 h 163451"/>
                      <a:gd name="connsiteX16" fmla="*/ 188650 w 290953"/>
                      <a:gd name="connsiteY16" fmla="*/ 45761 h 163451"/>
                      <a:gd name="connsiteX17" fmla="*/ 189359 w 290953"/>
                      <a:gd name="connsiteY17" fmla="*/ 46902 h 163451"/>
                      <a:gd name="connsiteX18" fmla="*/ 189465 w 290953"/>
                      <a:gd name="connsiteY18" fmla="*/ 47782 h 163451"/>
                      <a:gd name="connsiteX19" fmla="*/ 187721 w 290953"/>
                      <a:gd name="connsiteY19" fmla="*/ 49493 h 163451"/>
                      <a:gd name="connsiteX20" fmla="*/ 187917 w 290953"/>
                      <a:gd name="connsiteY20" fmla="*/ 50153 h 163451"/>
                      <a:gd name="connsiteX21" fmla="*/ 188951 w 290953"/>
                      <a:gd name="connsiteY21" fmla="*/ 50952 h 163451"/>
                      <a:gd name="connsiteX22" fmla="*/ 189139 w 290953"/>
                      <a:gd name="connsiteY22" fmla="*/ 51889 h 163451"/>
                      <a:gd name="connsiteX23" fmla="*/ 187395 w 290953"/>
                      <a:gd name="connsiteY23" fmla="*/ 55524 h 163451"/>
                      <a:gd name="connsiteX24" fmla="*/ 187868 w 290953"/>
                      <a:gd name="connsiteY24" fmla="*/ 56861 h 163451"/>
                      <a:gd name="connsiteX25" fmla="*/ 192317 w 290953"/>
                      <a:gd name="connsiteY25" fmla="*/ 60178 h 163451"/>
                      <a:gd name="connsiteX26" fmla="*/ 196327 w 290953"/>
                      <a:gd name="connsiteY26" fmla="*/ 61824 h 163451"/>
                      <a:gd name="connsiteX27" fmla="*/ 204257 w 290953"/>
                      <a:gd name="connsiteY27" fmla="*/ 63617 h 163451"/>
                      <a:gd name="connsiteX28" fmla="*/ 209424 w 290953"/>
                      <a:gd name="connsiteY28" fmla="*/ 63486 h 163451"/>
                      <a:gd name="connsiteX29" fmla="*/ 212635 w 290953"/>
                      <a:gd name="connsiteY29" fmla="*/ 64627 h 163451"/>
                      <a:gd name="connsiteX30" fmla="*/ 212716 w 290953"/>
                      <a:gd name="connsiteY30" fmla="*/ 63926 h 163451"/>
                      <a:gd name="connsiteX31" fmla="*/ 211257 w 290953"/>
                      <a:gd name="connsiteY31" fmla="*/ 61808 h 163451"/>
                      <a:gd name="connsiteX32" fmla="*/ 208152 w 290953"/>
                      <a:gd name="connsiteY32" fmla="*/ 58817 h 163451"/>
                      <a:gd name="connsiteX33" fmla="*/ 202399 w 290953"/>
                      <a:gd name="connsiteY33" fmla="*/ 57260 h 163451"/>
                      <a:gd name="connsiteX34" fmla="*/ 201559 w 290953"/>
                      <a:gd name="connsiteY34" fmla="*/ 55508 h 163451"/>
                      <a:gd name="connsiteX35" fmla="*/ 201135 w 290953"/>
                      <a:gd name="connsiteY35" fmla="*/ 52501 h 163451"/>
                      <a:gd name="connsiteX36" fmla="*/ 201624 w 290953"/>
                      <a:gd name="connsiteY36" fmla="*/ 50528 h 163451"/>
                      <a:gd name="connsiteX37" fmla="*/ 204575 w 290953"/>
                      <a:gd name="connsiteY37" fmla="*/ 48923 h 163451"/>
                      <a:gd name="connsiteX38" fmla="*/ 207068 w 290953"/>
                      <a:gd name="connsiteY38" fmla="*/ 48409 h 163451"/>
                      <a:gd name="connsiteX39" fmla="*/ 214484 w 290953"/>
                      <a:gd name="connsiteY39" fmla="*/ 48336 h 163451"/>
                      <a:gd name="connsiteX40" fmla="*/ 218584 w 290953"/>
                      <a:gd name="connsiteY40" fmla="*/ 49045 h 163451"/>
                      <a:gd name="connsiteX41" fmla="*/ 225650 w 290953"/>
                      <a:gd name="connsiteY41" fmla="*/ 51278 h 163451"/>
                      <a:gd name="connsiteX42" fmla="*/ 226383 w 290953"/>
                      <a:gd name="connsiteY42" fmla="*/ 52501 h 163451"/>
                      <a:gd name="connsiteX43" fmla="*/ 226766 w 290953"/>
                      <a:gd name="connsiteY43" fmla="*/ 54897 h 163451"/>
                      <a:gd name="connsiteX44" fmla="*/ 227060 w 290953"/>
                      <a:gd name="connsiteY44" fmla="*/ 59713 h 163451"/>
                      <a:gd name="connsiteX45" fmla="*/ 226880 w 290953"/>
                      <a:gd name="connsiteY45" fmla="*/ 60748 h 163451"/>
                      <a:gd name="connsiteX46" fmla="*/ 220842 w 290953"/>
                      <a:gd name="connsiteY46" fmla="*/ 63478 h 163451"/>
                      <a:gd name="connsiteX47" fmla="*/ 219521 w 290953"/>
                      <a:gd name="connsiteY47" fmla="*/ 65328 h 163451"/>
                      <a:gd name="connsiteX48" fmla="*/ 221045 w 290953"/>
                      <a:gd name="connsiteY48" fmla="*/ 65850 h 163451"/>
                      <a:gd name="connsiteX49" fmla="*/ 226245 w 290953"/>
                      <a:gd name="connsiteY49" fmla="*/ 66265 h 163451"/>
                      <a:gd name="connsiteX50" fmla="*/ 234248 w 290953"/>
                      <a:gd name="connsiteY50" fmla="*/ 67944 h 163451"/>
                      <a:gd name="connsiteX51" fmla="*/ 237377 w 290953"/>
                      <a:gd name="connsiteY51" fmla="*/ 68107 h 163451"/>
                      <a:gd name="connsiteX52" fmla="*/ 240507 w 290953"/>
                      <a:gd name="connsiteY52" fmla="*/ 72003 h 163451"/>
                      <a:gd name="connsiteX53" fmla="*/ 242960 w 290953"/>
                      <a:gd name="connsiteY53" fmla="*/ 75711 h 163451"/>
                      <a:gd name="connsiteX54" fmla="*/ 241159 w 290953"/>
                      <a:gd name="connsiteY54" fmla="*/ 80234 h 163451"/>
                      <a:gd name="connsiteX55" fmla="*/ 238820 w 290953"/>
                      <a:gd name="connsiteY55" fmla="*/ 87487 h 163451"/>
                      <a:gd name="connsiteX56" fmla="*/ 236929 w 290953"/>
                      <a:gd name="connsiteY56" fmla="*/ 89150 h 163451"/>
                      <a:gd name="connsiteX57" fmla="*/ 235071 w 290953"/>
                      <a:gd name="connsiteY57" fmla="*/ 91676 h 163451"/>
                      <a:gd name="connsiteX58" fmla="*/ 236367 w 290953"/>
                      <a:gd name="connsiteY58" fmla="*/ 92133 h 163451"/>
                      <a:gd name="connsiteX59" fmla="*/ 244247 w 290953"/>
                      <a:gd name="connsiteY59" fmla="*/ 91122 h 163451"/>
                      <a:gd name="connsiteX60" fmla="*/ 245845 w 290953"/>
                      <a:gd name="connsiteY60" fmla="*/ 90780 h 163451"/>
                      <a:gd name="connsiteX61" fmla="*/ 251110 w 290953"/>
                      <a:gd name="connsiteY61" fmla="*/ 88319 h 163451"/>
                      <a:gd name="connsiteX62" fmla="*/ 258835 w 290953"/>
                      <a:gd name="connsiteY62" fmla="*/ 88897 h 163451"/>
                      <a:gd name="connsiteX63" fmla="*/ 261435 w 290953"/>
                      <a:gd name="connsiteY63" fmla="*/ 89533 h 163451"/>
                      <a:gd name="connsiteX64" fmla="*/ 262723 w 290953"/>
                      <a:gd name="connsiteY64" fmla="*/ 90397 h 163451"/>
                      <a:gd name="connsiteX65" fmla="*/ 265078 w 290953"/>
                      <a:gd name="connsiteY65" fmla="*/ 93135 h 163451"/>
                      <a:gd name="connsiteX66" fmla="*/ 267026 w 290953"/>
                      <a:gd name="connsiteY66" fmla="*/ 96770 h 163451"/>
                      <a:gd name="connsiteX67" fmla="*/ 268460 w 290953"/>
                      <a:gd name="connsiteY67" fmla="*/ 96444 h 163451"/>
                      <a:gd name="connsiteX68" fmla="*/ 272062 w 290953"/>
                      <a:gd name="connsiteY68" fmla="*/ 92035 h 163451"/>
                      <a:gd name="connsiteX69" fmla="*/ 273375 w 290953"/>
                      <a:gd name="connsiteY69" fmla="*/ 90943 h 163451"/>
                      <a:gd name="connsiteX70" fmla="*/ 275168 w 290953"/>
                      <a:gd name="connsiteY70" fmla="*/ 89892 h 163451"/>
                      <a:gd name="connsiteX71" fmla="*/ 275934 w 290953"/>
                      <a:gd name="connsiteY71" fmla="*/ 90087 h 163451"/>
                      <a:gd name="connsiteX72" fmla="*/ 279568 w 290953"/>
                      <a:gd name="connsiteY72" fmla="*/ 94195 h 163451"/>
                      <a:gd name="connsiteX73" fmla="*/ 287645 w 290953"/>
                      <a:gd name="connsiteY73" fmla="*/ 101440 h 163451"/>
                      <a:gd name="connsiteX74" fmla="*/ 290424 w 290953"/>
                      <a:gd name="connsiteY74" fmla="*/ 104423 h 163451"/>
                      <a:gd name="connsiteX75" fmla="*/ 290954 w 290953"/>
                      <a:gd name="connsiteY75" fmla="*/ 106623 h 163451"/>
                      <a:gd name="connsiteX76" fmla="*/ 287498 w 290953"/>
                      <a:gd name="connsiteY76" fmla="*/ 109190 h 163451"/>
                      <a:gd name="connsiteX77" fmla="*/ 284809 w 290953"/>
                      <a:gd name="connsiteY77" fmla="*/ 110478 h 163451"/>
                      <a:gd name="connsiteX78" fmla="*/ 264923 w 290953"/>
                      <a:gd name="connsiteY78" fmla="*/ 115930 h 163451"/>
                      <a:gd name="connsiteX79" fmla="*/ 256024 w 290953"/>
                      <a:gd name="connsiteY79" fmla="*/ 119019 h 163451"/>
                      <a:gd name="connsiteX80" fmla="*/ 251582 w 290953"/>
                      <a:gd name="connsiteY80" fmla="*/ 121407 h 163451"/>
                      <a:gd name="connsiteX81" fmla="*/ 249317 w 290953"/>
                      <a:gd name="connsiteY81" fmla="*/ 122197 h 163451"/>
                      <a:gd name="connsiteX82" fmla="*/ 244541 w 290953"/>
                      <a:gd name="connsiteY82" fmla="*/ 121830 h 163451"/>
                      <a:gd name="connsiteX83" fmla="*/ 243457 w 290953"/>
                      <a:gd name="connsiteY83" fmla="*/ 122222 h 163451"/>
                      <a:gd name="connsiteX84" fmla="*/ 241982 w 290953"/>
                      <a:gd name="connsiteY84" fmla="*/ 126052 h 163451"/>
                      <a:gd name="connsiteX85" fmla="*/ 240409 w 290953"/>
                      <a:gd name="connsiteY85" fmla="*/ 127690 h 163451"/>
                      <a:gd name="connsiteX86" fmla="*/ 236277 w 290953"/>
                      <a:gd name="connsiteY86" fmla="*/ 130339 h 163451"/>
                      <a:gd name="connsiteX87" fmla="*/ 230523 w 290953"/>
                      <a:gd name="connsiteY87" fmla="*/ 135114 h 163451"/>
                      <a:gd name="connsiteX88" fmla="*/ 227084 w 290953"/>
                      <a:gd name="connsiteY88" fmla="*/ 137209 h 163451"/>
                      <a:gd name="connsiteX89" fmla="*/ 221029 w 290953"/>
                      <a:gd name="connsiteY89" fmla="*/ 135677 h 163451"/>
                      <a:gd name="connsiteX90" fmla="*/ 219521 w 290953"/>
                      <a:gd name="connsiteY90" fmla="*/ 133444 h 163451"/>
                      <a:gd name="connsiteX91" fmla="*/ 218682 w 290953"/>
                      <a:gd name="connsiteY91" fmla="*/ 128423 h 163451"/>
                      <a:gd name="connsiteX92" fmla="*/ 218568 w 290953"/>
                      <a:gd name="connsiteY92" fmla="*/ 126337 h 163451"/>
                      <a:gd name="connsiteX93" fmla="*/ 218755 w 290953"/>
                      <a:gd name="connsiteY93" fmla="*/ 125245 h 163451"/>
                      <a:gd name="connsiteX94" fmla="*/ 219513 w 290953"/>
                      <a:gd name="connsiteY94" fmla="*/ 123444 h 163451"/>
                      <a:gd name="connsiteX95" fmla="*/ 222137 w 290953"/>
                      <a:gd name="connsiteY95" fmla="*/ 119133 h 163451"/>
                      <a:gd name="connsiteX96" fmla="*/ 221819 w 290953"/>
                      <a:gd name="connsiteY96" fmla="*/ 118685 h 163451"/>
                      <a:gd name="connsiteX97" fmla="*/ 220613 w 290953"/>
                      <a:gd name="connsiteY97" fmla="*/ 119043 h 163451"/>
                      <a:gd name="connsiteX98" fmla="*/ 216595 w 290953"/>
                      <a:gd name="connsiteY98" fmla="*/ 121195 h 163451"/>
                      <a:gd name="connsiteX99" fmla="*/ 215014 w 290953"/>
                      <a:gd name="connsiteY99" fmla="*/ 122336 h 163451"/>
                      <a:gd name="connsiteX100" fmla="*/ 213531 w 290953"/>
                      <a:gd name="connsiteY100" fmla="*/ 124308 h 163451"/>
                      <a:gd name="connsiteX101" fmla="*/ 212871 w 290953"/>
                      <a:gd name="connsiteY101" fmla="*/ 127625 h 163451"/>
                      <a:gd name="connsiteX102" fmla="*/ 213458 w 290953"/>
                      <a:gd name="connsiteY102" fmla="*/ 133737 h 163451"/>
                      <a:gd name="connsiteX103" fmla="*/ 212887 w 290953"/>
                      <a:gd name="connsiteY103" fmla="*/ 136198 h 163451"/>
                      <a:gd name="connsiteX104" fmla="*/ 211298 w 290953"/>
                      <a:gd name="connsiteY104" fmla="*/ 137421 h 163451"/>
                      <a:gd name="connsiteX105" fmla="*/ 211942 w 290953"/>
                      <a:gd name="connsiteY105" fmla="*/ 138366 h 163451"/>
                      <a:gd name="connsiteX106" fmla="*/ 216677 w 290953"/>
                      <a:gd name="connsiteY106" fmla="*/ 139678 h 163451"/>
                      <a:gd name="connsiteX107" fmla="*/ 217516 w 290953"/>
                      <a:gd name="connsiteY107" fmla="*/ 140241 h 163451"/>
                      <a:gd name="connsiteX108" fmla="*/ 218038 w 290953"/>
                      <a:gd name="connsiteY108" fmla="*/ 141284 h 163451"/>
                      <a:gd name="connsiteX109" fmla="*/ 218250 w 290953"/>
                      <a:gd name="connsiteY109" fmla="*/ 142783 h 163451"/>
                      <a:gd name="connsiteX110" fmla="*/ 218013 w 290953"/>
                      <a:gd name="connsiteY110" fmla="*/ 144169 h 163451"/>
                      <a:gd name="connsiteX111" fmla="*/ 216595 w 290953"/>
                      <a:gd name="connsiteY111" fmla="*/ 146296 h 163451"/>
                      <a:gd name="connsiteX112" fmla="*/ 213930 w 290953"/>
                      <a:gd name="connsiteY112" fmla="*/ 147152 h 163451"/>
                      <a:gd name="connsiteX113" fmla="*/ 210532 w 290953"/>
                      <a:gd name="connsiteY113" fmla="*/ 146190 h 163451"/>
                      <a:gd name="connsiteX114" fmla="*/ 203189 w 290953"/>
                      <a:gd name="connsiteY114" fmla="*/ 140925 h 163451"/>
                      <a:gd name="connsiteX115" fmla="*/ 200003 w 290953"/>
                      <a:gd name="connsiteY115" fmla="*/ 141219 h 163451"/>
                      <a:gd name="connsiteX116" fmla="*/ 199196 w 290953"/>
                      <a:gd name="connsiteY116" fmla="*/ 141822 h 163451"/>
                      <a:gd name="connsiteX117" fmla="*/ 199880 w 290953"/>
                      <a:gd name="connsiteY117" fmla="*/ 143704 h 163451"/>
                      <a:gd name="connsiteX118" fmla="*/ 202138 w 290953"/>
                      <a:gd name="connsiteY118" fmla="*/ 147909 h 163451"/>
                      <a:gd name="connsiteX119" fmla="*/ 202553 w 290953"/>
                      <a:gd name="connsiteY119" fmla="*/ 151398 h 163451"/>
                      <a:gd name="connsiteX120" fmla="*/ 201510 w 290953"/>
                      <a:gd name="connsiteY120" fmla="*/ 154315 h 163451"/>
                      <a:gd name="connsiteX121" fmla="*/ 199416 w 290953"/>
                      <a:gd name="connsiteY121" fmla="*/ 158887 h 163451"/>
                      <a:gd name="connsiteX122" fmla="*/ 197973 w 290953"/>
                      <a:gd name="connsiteY122" fmla="*/ 161332 h 163451"/>
                      <a:gd name="connsiteX123" fmla="*/ 197191 w 290953"/>
                      <a:gd name="connsiteY123" fmla="*/ 161666 h 163451"/>
                      <a:gd name="connsiteX124" fmla="*/ 193548 w 290953"/>
                      <a:gd name="connsiteY124" fmla="*/ 161740 h 163451"/>
                      <a:gd name="connsiteX125" fmla="*/ 190419 w 290953"/>
                      <a:gd name="connsiteY125" fmla="*/ 160501 h 163451"/>
                      <a:gd name="connsiteX126" fmla="*/ 181136 w 290953"/>
                      <a:gd name="connsiteY126" fmla="*/ 152490 h 163451"/>
                      <a:gd name="connsiteX127" fmla="*/ 176540 w 290953"/>
                      <a:gd name="connsiteY127" fmla="*/ 149067 h 163451"/>
                      <a:gd name="connsiteX128" fmla="*/ 169816 w 290953"/>
                      <a:gd name="connsiteY128" fmla="*/ 142376 h 163451"/>
                      <a:gd name="connsiteX129" fmla="*/ 168096 w 290953"/>
                      <a:gd name="connsiteY129" fmla="*/ 140982 h 163451"/>
                      <a:gd name="connsiteX130" fmla="*/ 167069 w 290953"/>
                      <a:gd name="connsiteY130" fmla="*/ 140681 h 163451"/>
                      <a:gd name="connsiteX131" fmla="*/ 166091 w 290953"/>
                      <a:gd name="connsiteY131" fmla="*/ 143566 h 163451"/>
                      <a:gd name="connsiteX132" fmla="*/ 167958 w 290953"/>
                      <a:gd name="connsiteY132" fmla="*/ 146231 h 163451"/>
                      <a:gd name="connsiteX133" fmla="*/ 174013 w 290953"/>
                      <a:gd name="connsiteY133" fmla="*/ 152490 h 163451"/>
                      <a:gd name="connsiteX134" fmla="*/ 177623 w 290953"/>
                      <a:gd name="connsiteY134" fmla="*/ 157037 h 163451"/>
                      <a:gd name="connsiteX135" fmla="*/ 180215 w 290953"/>
                      <a:gd name="connsiteY135" fmla="*/ 160794 h 163451"/>
                      <a:gd name="connsiteX136" fmla="*/ 180639 w 290953"/>
                      <a:gd name="connsiteY136" fmla="*/ 162359 h 163451"/>
                      <a:gd name="connsiteX137" fmla="*/ 179750 w 290953"/>
                      <a:gd name="connsiteY137" fmla="*/ 162970 h 163451"/>
                      <a:gd name="connsiteX138" fmla="*/ 178414 w 290953"/>
                      <a:gd name="connsiteY138" fmla="*/ 162620 h 163451"/>
                      <a:gd name="connsiteX139" fmla="*/ 176645 w 290953"/>
                      <a:gd name="connsiteY139" fmla="*/ 161316 h 163451"/>
                      <a:gd name="connsiteX140" fmla="*/ 171136 w 290953"/>
                      <a:gd name="connsiteY140" fmla="*/ 159091 h 163451"/>
                      <a:gd name="connsiteX141" fmla="*/ 168854 w 290953"/>
                      <a:gd name="connsiteY141" fmla="*/ 157852 h 163451"/>
                      <a:gd name="connsiteX142" fmla="*/ 167355 w 290953"/>
                      <a:gd name="connsiteY142" fmla="*/ 156426 h 163451"/>
                      <a:gd name="connsiteX143" fmla="*/ 164608 w 290953"/>
                      <a:gd name="connsiteY143" fmla="*/ 155334 h 163451"/>
                      <a:gd name="connsiteX144" fmla="*/ 160615 w 290953"/>
                      <a:gd name="connsiteY144" fmla="*/ 154592 h 163451"/>
                      <a:gd name="connsiteX145" fmla="*/ 156605 w 290953"/>
                      <a:gd name="connsiteY145" fmla="*/ 154454 h 163451"/>
                      <a:gd name="connsiteX146" fmla="*/ 152571 w 290953"/>
                      <a:gd name="connsiteY146" fmla="*/ 154910 h 163451"/>
                      <a:gd name="connsiteX147" fmla="*/ 151805 w 290953"/>
                      <a:gd name="connsiteY147" fmla="*/ 155603 h 163451"/>
                      <a:gd name="connsiteX148" fmla="*/ 156352 w 290953"/>
                      <a:gd name="connsiteY148" fmla="*/ 157559 h 163451"/>
                      <a:gd name="connsiteX149" fmla="*/ 157934 w 290953"/>
                      <a:gd name="connsiteY149" fmla="*/ 158651 h 163451"/>
                      <a:gd name="connsiteX150" fmla="*/ 159115 w 290953"/>
                      <a:gd name="connsiteY150" fmla="*/ 160028 h 163451"/>
                      <a:gd name="connsiteX151" fmla="*/ 159881 w 290953"/>
                      <a:gd name="connsiteY151" fmla="*/ 161715 h 163451"/>
                      <a:gd name="connsiteX152" fmla="*/ 158390 w 290953"/>
                      <a:gd name="connsiteY152" fmla="*/ 162791 h 163451"/>
                      <a:gd name="connsiteX153" fmla="*/ 152750 w 290953"/>
                      <a:gd name="connsiteY153" fmla="*/ 163451 h 163451"/>
                      <a:gd name="connsiteX154" fmla="*/ 145220 w 290953"/>
                      <a:gd name="connsiteY154" fmla="*/ 163035 h 163451"/>
                      <a:gd name="connsiteX155" fmla="*/ 133028 w 290953"/>
                      <a:gd name="connsiteY155" fmla="*/ 161560 h 163451"/>
                      <a:gd name="connsiteX156" fmla="*/ 120885 w 290953"/>
                      <a:gd name="connsiteY156" fmla="*/ 159132 h 163451"/>
                      <a:gd name="connsiteX157" fmla="*/ 109671 w 290953"/>
                      <a:gd name="connsiteY157" fmla="*/ 155350 h 163451"/>
                      <a:gd name="connsiteX158" fmla="*/ 101562 w 290953"/>
                      <a:gd name="connsiteY158" fmla="*/ 151552 h 163451"/>
                      <a:gd name="connsiteX159" fmla="*/ 98351 w 290953"/>
                      <a:gd name="connsiteY159" fmla="*/ 149523 h 163451"/>
                      <a:gd name="connsiteX160" fmla="*/ 97348 w 290953"/>
                      <a:gd name="connsiteY160" fmla="*/ 148015 h 163451"/>
                      <a:gd name="connsiteX161" fmla="*/ 100388 w 290953"/>
                      <a:gd name="connsiteY161" fmla="*/ 146687 h 163451"/>
                      <a:gd name="connsiteX162" fmla="*/ 111024 w 290953"/>
                      <a:gd name="connsiteY162" fmla="*/ 144984 h 163451"/>
                      <a:gd name="connsiteX163" fmla="*/ 121684 w 290953"/>
                      <a:gd name="connsiteY163" fmla="*/ 143892 h 163451"/>
                      <a:gd name="connsiteX164" fmla="*/ 119997 w 290953"/>
                      <a:gd name="connsiteY164" fmla="*/ 142930 h 163451"/>
                      <a:gd name="connsiteX165" fmla="*/ 100641 w 290953"/>
                      <a:gd name="connsiteY165" fmla="*/ 140770 h 163451"/>
                      <a:gd name="connsiteX166" fmla="*/ 94260 w 290953"/>
                      <a:gd name="connsiteY166" fmla="*/ 140379 h 163451"/>
                      <a:gd name="connsiteX167" fmla="*/ 90869 w 290953"/>
                      <a:gd name="connsiteY167" fmla="*/ 140941 h 163451"/>
                      <a:gd name="connsiteX168" fmla="*/ 86966 w 290953"/>
                      <a:gd name="connsiteY168" fmla="*/ 140607 h 163451"/>
                      <a:gd name="connsiteX169" fmla="*/ 83918 w 290953"/>
                      <a:gd name="connsiteY169" fmla="*/ 138888 h 163451"/>
                      <a:gd name="connsiteX170" fmla="*/ 79892 w 290953"/>
                      <a:gd name="connsiteY170" fmla="*/ 135628 h 163451"/>
                      <a:gd name="connsiteX171" fmla="*/ 77846 w 290953"/>
                      <a:gd name="connsiteY171" fmla="*/ 133468 h 163451"/>
                      <a:gd name="connsiteX172" fmla="*/ 78123 w 290953"/>
                      <a:gd name="connsiteY172" fmla="*/ 132621 h 163451"/>
                      <a:gd name="connsiteX173" fmla="*/ 79656 w 290953"/>
                      <a:gd name="connsiteY173" fmla="*/ 132148 h 163451"/>
                      <a:gd name="connsiteX174" fmla="*/ 88416 w 290953"/>
                      <a:gd name="connsiteY174" fmla="*/ 132547 h 163451"/>
                      <a:gd name="connsiteX175" fmla="*/ 89623 w 290953"/>
                      <a:gd name="connsiteY175" fmla="*/ 132229 h 163451"/>
                      <a:gd name="connsiteX176" fmla="*/ 85238 w 290953"/>
                      <a:gd name="connsiteY176" fmla="*/ 130599 h 163451"/>
                      <a:gd name="connsiteX177" fmla="*/ 71204 w 290953"/>
                      <a:gd name="connsiteY177" fmla="*/ 127380 h 163451"/>
                      <a:gd name="connsiteX178" fmla="*/ 65939 w 290953"/>
                      <a:gd name="connsiteY178" fmla="*/ 124544 h 163451"/>
                      <a:gd name="connsiteX179" fmla="*/ 64970 w 290953"/>
                      <a:gd name="connsiteY179" fmla="*/ 123428 h 163451"/>
                      <a:gd name="connsiteX180" fmla="*/ 64570 w 290953"/>
                      <a:gd name="connsiteY180" fmla="*/ 122336 h 163451"/>
                      <a:gd name="connsiteX181" fmla="*/ 64741 w 290953"/>
                      <a:gd name="connsiteY181" fmla="*/ 121260 h 163451"/>
                      <a:gd name="connsiteX182" fmla="*/ 70014 w 290953"/>
                      <a:gd name="connsiteY182" fmla="*/ 119092 h 163451"/>
                      <a:gd name="connsiteX183" fmla="*/ 86289 w 290953"/>
                      <a:gd name="connsiteY183" fmla="*/ 113941 h 163451"/>
                      <a:gd name="connsiteX184" fmla="*/ 91880 w 290953"/>
                      <a:gd name="connsiteY184" fmla="*/ 113151 h 163451"/>
                      <a:gd name="connsiteX185" fmla="*/ 97511 w 290953"/>
                      <a:gd name="connsiteY185" fmla="*/ 113086 h 163451"/>
                      <a:gd name="connsiteX186" fmla="*/ 101423 w 290953"/>
                      <a:gd name="connsiteY186" fmla="*/ 111611 h 163451"/>
                      <a:gd name="connsiteX187" fmla="*/ 104806 w 290953"/>
                      <a:gd name="connsiteY187" fmla="*/ 106729 h 163451"/>
                      <a:gd name="connsiteX188" fmla="*/ 121675 w 290953"/>
                      <a:gd name="connsiteY188" fmla="*/ 104969 h 163451"/>
                      <a:gd name="connsiteX189" fmla="*/ 134658 w 290953"/>
                      <a:gd name="connsiteY189" fmla="*/ 102776 h 163451"/>
                      <a:gd name="connsiteX190" fmla="*/ 135742 w 290953"/>
                      <a:gd name="connsiteY190" fmla="*/ 102173 h 163451"/>
                      <a:gd name="connsiteX191" fmla="*/ 126003 w 290953"/>
                      <a:gd name="connsiteY191" fmla="*/ 102581 h 163451"/>
                      <a:gd name="connsiteX192" fmla="*/ 112230 w 290953"/>
                      <a:gd name="connsiteY192" fmla="*/ 102141 h 163451"/>
                      <a:gd name="connsiteX193" fmla="*/ 106362 w 290953"/>
                      <a:gd name="connsiteY193" fmla="*/ 98807 h 163451"/>
                      <a:gd name="connsiteX194" fmla="*/ 102393 w 290953"/>
                      <a:gd name="connsiteY194" fmla="*/ 98245 h 163451"/>
                      <a:gd name="connsiteX195" fmla="*/ 98000 w 290953"/>
                      <a:gd name="connsiteY195" fmla="*/ 98269 h 163451"/>
                      <a:gd name="connsiteX196" fmla="*/ 92882 w 290953"/>
                      <a:gd name="connsiteY196" fmla="*/ 99304 h 163451"/>
                      <a:gd name="connsiteX197" fmla="*/ 84130 w 290953"/>
                      <a:gd name="connsiteY197" fmla="*/ 102410 h 163451"/>
                      <a:gd name="connsiteX198" fmla="*/ 79933 w 290953"/>
                      <a:gd name="connsiteY198" fmla="*/ 103119 h 163451"/>
                      <a:gd name="connsiteX199" fmla="*/ 70438 w 290953"/>
                      <a:gd name="connsiteY199" fmla="*/ 106321 h 163451"/>
                      <a:gd name="connsiteX200" fmla="*/ 67789 w 290953"/>
                      <a:gd name="connsiteY200" fmla="*/ 106085 h 163451"/>
                      <a:gd name="connsiteX201" fmla="*/ 66461 w 290953"/>
                      <a:gd name="connsiteY201" fmla="*/ 105710 h 163451"/>
                      <a:gd name="connsiteX202" fmla="*/ 66062 w 290953"/>
                      <a:gd name="connsiteY202" fmla="*/ 105083 h 163451"/>
                      <a:gd name="connsiteX203" fmla="*/ 67781 w 290953"/>
                      <a:gd name="connsiteY203" fmla="*/ 102964 h 163451"/>
                      <a:gd name="connsiteX204" fmla="*/ 70275 w 290953"/>
                      <a:gd name="connsiteY204" fmla="*/ 101513 h 163451"/>
                      <a:gd name="connsiteX205" fmla="*/ 69762 w 290953"/>
                      <a:gd name="connsiteY205" fmla="*/ 101024 h 163451"/>
                      <a:gd name="connsiteX206" fmla="*/ 66045 w 290953"/>
                      <a:gd name="connsiteY206" fmla="*/ 100714 h 163451"/>
                      <a:gd name="connsiteX207" fmla="*/ 61734 w 290953"/>
                      <a:gd name="connsiteY207" fmla="*/ 100780 h 163451"/>
                      <a:gd name="connsiteX208" fmla="*/ 58743 w 290953"/>
                      <a:gd name="connsiteY208" fmla="*/ 101277 h 163451"/>
                      <a:gd name="connsiteX209" fmla="*/ 47798 w 290953"/>
                      <a:gd name="connsiteY209" fmla="*/ 104080 h 163451"/>
                      <a:gd name="connsiteX210" fmla="*/ 42892 w 290953"/>
                      <a:gd name="connsiteY210" fmla="*/ 106167 h 163451"/>
                      <a:gd name="connsiteX211" fmla="*/ 41417 w 290953"/>
                      <a:gd name="connsiteY211" fmla="*/ 106354 h 163451"/>
                      <a:gd name="connsiteX212" fmla="*/ 36128 w 290953"/>
                      <a:gd name="connsiteY212" fmla="*/ 103086 h 163451"/>
                      <a:gd name="connsiteX213" fmla="*/ 27676 w 290953"/>
                      <a:gd name="connsiteY213" fmla="*/ 101277 h 163451"/>
                      <a:gd name="connsiteX214" fmla="*/ 25802 w 290953"/>
                      <a:gd name="connsiteY214" fmla="*/ 99875 h 163451"/>
                      <a:gd name="connsiteX215" fmla="*/ 27530 w 290953"/>
                      <a:gd name="connsiteY215" fmla="*/ 94349 h 163451"/>
                      <a:gd name="connsiteX216" fmla="*/ 29999 w 290953"/>
                      <a:gd name="connsiteY216" fmla="*/ 93208 h 163451"/>
                      <a:gd name="connsiteX217" fmla="*/ 36478 w 290953"/>
                      <a:gd name="connsiteY217" fmla="*/ 92279 h 163451"/>
                      <a:gd name="connsiteX218" fmla="*/ 55891 w 290953"/>
                      <a:gd name="connsiteY218" fmla="*/ 87251 h 163451"/>
                      <a:gd name="connsiteX219" fmla="*/ 56983 w 290953"/>
                      <a:gd name="connsiteY219" fmla="*/ 86289 h 163451"/>
                      <a:gd name="connsiteX220" fmla="*/ 58808 w 290953"/>
                      <a:gd name="connsiteY220" fmla="*/ 83738 h 163451"/>
                      <a:gd name="connsiteX221" fmla="*/ 54367 w 290953"/>
                      <a:gd name="connsiteY221" fmla="*/ 84285 h 163451"/>
                      <a:gd name="connsiteX222" fmla="*/ 44644 w 290953"/>
                      <a:gd name="connsiteY222" fmla="*/ 86746 h 163451"/>
                      <a:gd name="connsiteX223" fmla="*/ 36609 w 290953"/>
                      <a:gd name="connsiteY223" fmla="*/ 87968 h 163451"/>
                      <a:gd name="connsiteX224" fmla="*/ 30268 w 290953"/>
                      <a:gd name="connsiteY224" fmla="*/ 87960 h 163451"/>
                      <a:gd name="connsiteX225" fmla="*/ 25639 w 290953"/>
                      <a:gd name="connsiteY225" fmla="*/ 87610 h 163451"/>
                      <a:gd name="connsiteX226" fmla="*/ 22713 w 290953"/>
                      <a:gd name="connsiteY226" fmla="*/ 86917 h 163451"/>
                      <a:gd name="connsiteX227" fmla="*/ 19184 w 290953"/>
                      <a:gd name="connsiteY227" fmla="*/ 85352 h 163451"/>
                      <a:gd name="connsiteX228" fmla="*/ 7701 w 290953"/>
                      <a:gd name="connsiteY228" fmla="*/ 78091 h 163451"/>
                      <a:gd name="connsiteX229" fmla="*/ 4564 w 290953"/>
                      <a:gd name="connsiteY229" fmla="*/ 74562 h 163451"/>
                      <a:gd name="connsiteX230" fmla="*/ 4124 w 290953"/>
                      <a:gd name="connsiteY230" fmla="*/ 71457 h 163451"/>
                      <a:gd name="connsiteX231" fmla="*/ 3325 w 290953"/>
                      <a:gd name="connsiteY231" fmla="*/ 69085 h 163451"/>
                      <a:gd name="connsiteX232" fmla="*/ 0 w 290953"/>
                      <a:gd name="connsiteY232" fmla="*/ 63380 h 163451"/>
                      <a:gd name="connsiteX233" fmla="*/ 24588 w 290953"/>
                      <a:gd name="connsiteY233" fmla="*/ 66934 h 163451"/>
                      <a:gd name="connsiteX234" fmla="*/ 34204 w 290953"/>
                      <a:gd name="connsiteY234" fmla="*/ 67602 h 163451"/>
                      <a:gd name="connsiteX235" fmla="*/ 52761 w 290953"/>
                      <a:gd name="connsiteY235" fmla="*/ 67830 h 163451"/>
                      <a:gd name="connsiteX236" fmla="*/ 53625 w 290953"/>
                      <a:gd name="connsiteY236" fmla="*/ 67480 h 163451"/>
                      <a:gd name="connsiteX237" fmla="*/ 53902 w 290953"/>
                      <a:gd name="connsiteY237" fmla="*/ 66559 h 163451"/>
                      <a:gd name="connsiteX238" fmla="*/ 53584 w 290953"/>
                      <a:gd name="connsiteY238" fmla="*/ 65059 h 163451"/>
                      <a:gd name="connsiteX239" fmla="*/ 53723 w 290953"/>
                      <a:gd name="connsiteY239" fmla="*/ 63902 h 163451"/>
                      <a:gd name="connsiteX240" fmla="*/ 54326 w 290953"/>
                      <a:gd name="connsiteY240" fmla="*/ 63095 h 163451"/>
                      <a:gd name="connsiteX241" fmla="*/ 61229 w 290953"/>
                      <a:gd name="connsiteY241" fmla="*/ 61041 h 163451"/>
                      <a:gd name="connsiteX242" fmla="*/ 62272 w 290953"/>
                      <a:gd name="connsiteY242" fmla="*/ 60357 h 163451"/>
                      <a:gd name="connsiteX243" fmla="*/ 54147 w 290953"/>
                      <a:gd name="connsiteY243" fmla="*/ 60023 h 163451"/>
                      <a:gd name="connsiteX244" fmla="*/ 39208 w 290953"/>
                      <a:gd name="connsiteY244" fmla="*/ 63454 h 163451"/>
                      <a:gd name="connsiteX245" fmla="*/ 33935 w 290953"/>
                      <a:gd name="connsiteY245" fmla="*/ 63429 h 163451"/>
                      <a:gd name="connsiteX246" fmla="*/ 27945 w 290953"/>
                      <a:gd name="connsiteY246" fmla="*/ 58515 h 163451"/>
                      <a:gd name="connsiteX247" fmla="*/ 21556 w 290953"/>
                      <a:gd name="connsiteY247" fmla="*/ 59371 h 163451"/>
                      <a:gd name="connsiteX248" fmla="*/ 18541 w 290953"/>
                      <a:gd name="connsiteY248" fmla="*/ 58988 h 163451"/>
                      <a:gd name="connsiteX249" fmla="*/ 13838 w 290953"/>
                      <a:gd name="connsiteY249" fmla="*/ 57749 h 163451"/>
                      <a:gd name="connsiteX250" fmla="*/ 11532 w 290953"/>
                      <a:gd name="connsiteY250" fmla="*/ 56673 h 163451"/>
                      <a:gd name="connsiteX251" fmla="*/ 10032 w 290953"/>
                      <a:gd name="connsiteY251" fmla="*/ 55329 h 163451"/>
                      <a:gd name="connsiteX252" fmla="*/ 9397 w 290953"/>
                      <a:gd name="connsiteY252" fmla="*/ 54212 h 163451"/>
                      <a:gd name="connsiteX253" fmla="*/ 9625 w 290953"/>
                      <a:gd name="connsiteY253" fmla="*/ 53291 h 163451"/>
                      <a:gd name="connsiteX254" fmla="*/ 10880 w 290953"/>
                      <a:gd name="connsiteY254" fmla="*/ 52272 h 163451"/>
                      <a:gd name="connsiteX255" fmla="*/ 16397 w 290953"/>
                      <a:gd name="connsiteY255" fmla="*/ 50854 h 163451"/>
                      <a:gd name="connsiteX256" fmla="*/ 18883 w 290953"/>
                      <a:gd name="connsiteY256" fmla="*/ 50716 h 163451"/>
                      <a:gd name="connsiteX257" fmla="*/ 25443 w 290953"/>
                      <a:gd name="connsiteY257" fmla="*/ 51629 h 163451"/>
                      <a:gd name="connsiteX258" fmla="*/ 30366 w 290953"/>
                      <a:gd name="connsiteY258" fmla="*/ 51555 h 163451"/>
                      <a:gd name="connsiteX259" fmla="*/ 28736 w 290953"/>
                      <a:gd name="connsiteY259" fmla="*/ 50039 h 163451"/>
                      <a:gd name="connsiteX260" fmla="*/ 21629 w 290953"/>
                      <a:gd name="connsiteY260" fmla="*/ 46209 h 163451"/>
                      <a:gd name="connsiteX261" fmla="*/ 15411 w 290953"/>
                      <a:gd name="connsiteY261" fmla="*/ 41963 h 163451"/>
                      <a:gd name="connsiteX262" fmla="*/ 15884 w 290953"/>
                      <a:gd name="connsiteY262" fmla="*/ 34865 h 163451"/>
                      <a:gd name="connsiteX263" fmla="*/ 20986 w 290953"/>
                      <a:gd name="connsiteY263" fmla="*/ 33357 h 163451"/>
                      <a:gd name="connsiteX264" fmla="*/ 26275 w 290953"/>
                      <a:gd name="connsiteY264" fmla="*/ 33112 h 163451"/>
                      <a:gd name="connsiteX265" fmla="*/ 31442 w 290953"/>
                      <a:gd name="connsiteY265" fmla="*/ 34905 h 163451"/>
                      <a:gd name="connsiteX266" fmla="*/ 38377 w 290953"/>
                      <a:gd name="connsiteY266" fmla="*/ 35150 h 163451"/>
                      <a:gd name="connsiteX267" fmla="*/ 43340 w 290953"/>
                      <a:gd name="connsiteY267" fmla="*/ 37187 h 163451"/>
                      <a:gd name="connsiteX268" fmla="*/ 46641 w 290953"/>
                      <a:gd name="connsiteY268" fmla="*/ 41066 h 163451"/>
                      <a:gd name="connsiteX269" fmla="*/ 50561 w 290953"/>
                      <a:gd name="connsiteY269" fmla="*/ 41001 h 163451"/>
                      <a:gd name="connsiteX270" fmla="*/ 56738 w 290953"/>
                      <a:gd name="connsiteY270" fmla="*/ 41727 h 163451"/>
                      <a:gd name="connsiteX271" fmla="*/ 70568 w 290953"/>
                      <a:gd name="connsiteY271" fmla="*/ 41678 h 163451"/>
                      <a:gd name="connsiteX272" fmla="*/ 68067 w 290953"/>
                      <a:gd name="connsiteY272" fmla="*/ 40284 h 163451"/>
                      <a:gd name="connsiteX273" fmla="*/ 63772 w 290953"/>
                      <a:gd name="connsiteY273" fmla="*/ 39070 h 163451"/>
                      <a:gd name="connsiteX274" fmla="*/ 53992 w 290953"/>
                      <a:gd name="connsiteY274" fmla="*/ 37481 h 163451"/>
                      <a:gd name="connsiteX275" fmla="*/ 49224 w 290953"/>
                      <a:gd name="connsiteY275" fmla="*/ 31776 h 163451"/>
                      <a:gd name="connsiteX276" fmla="*/ 39119 w 290953"/>
                      <a:gd name="connsiteY276" fmla="*/ 28826 h 163451"/>
                      <a:gd name="connsiteX277" fmla="*/ 31213 w 290953"/>
                      <a:gd name="connsiteY277" fmla="*/ 27285 h 163451"/>
                      <a:gd name="connsiteX278" fmla="*/ 31344 w 290953"/>
                      <a:gd name="connsiteY278" fmla="*/ 25989 h 163451"/>
                      <a:gd name="connsiteX279" fmla="*/ 37285 w 290953"/>
                      <a:gd name="connsiteY279" fmla="*/ 18883 h 163451"/>
                      <a:gd name="connsiteX280" fmla="*/ 44457 w 290953"/>
                      <a:gd name="connsiteY280" fmla="*/ 16348 h 163451"/>
                      <a:gd name="connsiteX281" fmla="*/ 55899 w 290953"/>
                      <a:gd name="connsiteY281" fmla="*/ 17302 h 163451"/>
                      <a:gd name="connsiteX282" fmla="*/ 63413 w 290953"/>
                      <a:gd name="connsiteY282" fmla="*/ 15957 h 163451"/>
                      <a:gd name="connsiteX283" fmla="*/ 73095 w 290953"/>
                      <a:gd name="connsiteY283" fmla="*/ 13439 h 163451"/>
                      <a:gd name="connsiteX284" fmla="*/ 82573 w 290953"/>
                      <a:gd name="connsiteY284" fmla="*/ 14604 h 163451"/>
                      <a:gd name="connsiteX285" fmla="*/ 85026 w 290953"/>
                      <a:gd name="connsiteY285" fmla="*/ 14498 h 163451"/>
                      <a:gd name="connsiteX286" fmla="*/ 86469 w 290953"/>
                      <a:gd name="connsiteY286" fmla="*/ 13724 h 163451"/>
                      <a:gd name="connsiteX287" fmla="*/ 87740 w 290953"/>
                      <a:gd name="connsiteY287" fmla="*/ 12241 h 163451"/>
                      <a:gd name="connsiteX288" fmla="*/ 87740 w 290953"/>
                      <a:gd name="connsiteY288" fmla="*/ 10880 h 163451"/>
                      <a:gd name="connsiteX289" fmla="*/ 86493 w 290953"/>
                      <a:gd name="connsiteY289" fmla="*/ 9625 h 163451"/>
                      <a:gd name="connsiteX290" fmla="*/ 83494 w 290953"/>
                      <a:gd name="connsiteY290" fmla="*/ 8076 h 163451"/>
                      <a:gd name="connsiteX291" fmla="*/ 71400 w 290953"/>
                      <a:gd name="connsiteY291" fmla="*/ 7856 h 163451"/>
                      <a:gd name="connsiteX292" fmla="*/ 66045 w 290953"/>
                      <a:gd name="connsiteY292" fmla="*/ 7245 h 163451"/>
                      <a:gd name="connsiteX293" fmla="*/ 63959 w 290953"/>
                      <a:gd name="connsiteY293" fmla="*/ 6422 h 163451"/>
                      <a:gd name="connsiteX294" fmla="*/ 63356 w 290953"/>
                      <a:gd name="connsiteY294" fmla="*/ 5167 h 163451"/>
                      <a:gd name="connsiteX295" fmla="*/ 63038 w 290953"/>
                      <a:gd name="connsiteY295" fmla="*/ 3887 h 163451"/>
                      <a:gd name="connsiteX296" fmla="*/ 62997 w 290953"/>
                      <a:gd name="connsiteY296" fmla="*/ 2567 h 163451"/>
                      <a:gd name="connsiteX297" fmla="*/ 63323 w 290953"/>
                      <a:gd name="connsiteY297" fmla="*/ 1760 h 163451"/>
                      <a:gd name="connsiteX298" fmla="*/ 64334 w 290953"/>
                      <a:gd name="connsiteY298" fmla="*/ 1304 h 163451"/>
                      <a:gd name="connsiteX299" fmla="*/ 67292 w 290953"/>
                      <a:gd name="connsiteY299" fmla="*/ 791 h 163451"/>
                      <a:gd name="connsiteX300" fmla="*/ 78580 w 290953"/>
                      <a:gd name="connsiteY300" fmla="*/ 717 h 163451"/>
                      <a:gd name="connsiteX301" fmla="*/ 85328 w 290953"/>
                      <a:gd name="connsiteY301" fmla="*/ 0 h 163451"/>
                      <a:gd name="connsiteX302" fmla="*/ 92720 w 290953"/>
                      <a:gd name="connsiteY302" fmla="*/ 945 h 163451"/>
                      <a:gd name="connsiteX303" fmla="*/ 108147 w 290953"/>
                      <a:gd name="connsiteY303" fmla="*/ 4482 h 163451"/>
                      <a:gd name="connsiteX304" fmla="*/ 113135 w 290953"/>
                      <a:gd name="connsiteY304" fmla="*/ 6283 h 163451"/>
                      <a:gd name="connsiteX305" fmla="*/ 118440 w 290953"/>
                      <a:gd name="connsiteY305" fmla="*/ 9299 h 163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Lst>
                    <a:rect l="l" t="t" r="r" b="b"/>
                    <a:pathLst>
                      <a:path w="290953" h="163451">
                        <a:moveTo>
                          <a:pt x="121227" y="12029"/>
                        </a:moveTo>
                        <a:lnTo>
                          <a:pt x="124463" y="16373"/>
                        </a:lnTo>
                        <a:lnTo>
                          <a:pt x="136427" y="26674"/>
                        </a:lnTo>
                        <a:lnTo>
                          <a:pt x="141846" y="30407"/>
                        </a:lnTo>
                        <a:lnTo>
                          <a:pt x="151047" y="35052"/>
                        </a:lnTo>
                        <a:lnTo>
                          <a:pt x="152196" y="36723"/>
                        </a:lnTo>
                        <a:lnTo>
                          <a:pt x="152302" y="37424"/>
                        </a:lnTo>
                        <a:lnTo>
                          <a:pt x="152041" y="39893"/>
                        </a:lnTo>
                        <a:lnTo>
                          <a:pt x="154665" y="40806"/>
                        </a:lnTo>
                        <a:lnTo>
                          <a:pt x="162595" y="42232"/>
                        </a:lnTo>
                        <a:lnTo>
                          <a:pt x="171413" y="44791"/>
                        </a:lnTo>
                        <a:lnTo>
                          <a:pt x="173002" y="44644"/>
                        </a:lnTo>
                        <a:lnTo>
                          <a:pt x="176075" y="43137"/>
                        </a:lnTo>
                        <a:lnTo>
                          <a:pt x="179775" y="42713"/>
                        </a:lnTo>
                        <a:lnTo>
                          <a:pt x="184632" y="43088"/>
                        </a:lnTo>
                        <a:lnTo>
                          <a:pt x="186947" y="44163"/>
                        </a:lnTo>
                        <a:lnTo>
                          <a:pt x="188650" y="45761"/>
                        </a:lnTo>
                        <a:lnTo>
                          <a:pt x="189359" y="46902"/>
                        </a:lnTo>
                        <a:lnTo>
                          <a:pt x="189465" y="47782"/>
                        </a:lnTo>
                        <a:lnTo>
                          <a:pt x="187721" y="49493"/>
                        </a:lnTo>
                        <a:lnTo>
                          <a:pt x="187917" y="50153"/>
                        </a:lnTo>
                        <a:lnTo>
                          <a:pt x="188951" y="50952"/>
                        </a:lnTo>
                        <a:lnTo>
                          <a:pt x="189139" y="51889"/>
                        </a:lnTo>
                        <a:lnTo>
                          <a:pt x="187395" y="55524"/>
                        </a:lnTo>
                        <a:lnTo>
                          <a:pt x="187868" y="56861"/>
                        </a:lnTo>
                        <a:lnTo>
                          <a:pt x="192317" y="60178"/>
                        </a:lnTo>
                        <a:lnTo>
                          <a:pt x="196327" y="61824"/>
                        </a:lnTo>
                        <a:lnTo>
                          <a:pt x="204257" y="63617"/>
                        </a:lnTo>
                        <a:lnTo>
                          <a:pt x="209424" y="63486"/>
                        </a:lnTo>
                        <a:lnTo>
                          <a:pt x="212635" y="64627"/>
                        </a:lnTo>
                        <a:lnTo>
                          <a:pt x="212716" y="63926"/>
                        </a:lnTo>
                        <a:lnTo>
                          <a:pt x="211257" y="61808"/>
                        </a:lnTo>
                        <a:lnTo>
                          <a:pt x="208152" y="58817"/>
                        </a:lnTo>
                        <a:lnTo>
                          <a:pt x="202399" y="57260"/>
                        </a:lnTo>
                        <a:lnTo>
                          <a:pt x="201559" y="55508"/>
                        </a:lnTo>
                        <a:lnTo>
                          <a:pt x="201135" y="52501"/>
                        </a:lnTo>
                        <a:lnTo>
                          <a:pt x="201624" y="50528"/>
                        </a:lnTo>
                        <a:lnTo>
                          <a:pt x="204575" y="48923"/>
                        </a:lnTo>
                        <a:lnTo>
                          <a:pt x="207068" y="48409"/>
                        </a:lnTo>
                        <a:lnTo>
                          <a:pt x="214484" y="48336"/>
                        </a:lnTo>
                        <a:lnTo>
                          <a:pt x="218584" y="49045"/>
                        </a:lnTo>
                        <a:lnTo>
                          <a:pt x="225650" y="51278"/>
                        </a:lnTo>
                        <a:lnTo>
                          <a:pt x="226383" y="52501"/>
                        </a:lnTo>
                        <a:lnTo>
                          <a:pt x="226766" y="54897"/>
                        </a:lnTo>
                        <a:lnTo>
                          <a:pt x="227060" y="59713"/>
                        </a:lnTo>
                        <a:lnTo>
                          <a:pt x="226880" y="60748"/>
                        </a:lnTo>
                        <a:lnTo>
                          <a:pt x="220842" y="63478"/>
                        </a:lnTo>
                        <a:lnTo>
                          <a:pt x="219521" y="65328"/>
                        </a:lnTo>
                        <a:lnTo>
                          <a:pt x="221045" y="65850"/>
                        </a:lnTo>
                        <a:lnTo>
                          <a:pt x="226245" y="66265"/>
                        </a:lnTo>
                        <a:lnTo>
                          <a:pt x="234248" y="67944"/>
                        </a:lnTo>
                        <a:lnTo>
                          <a:pt x="237377" y="68107"/>
                        </a:lnTo>
                        <a:lnTo>
                          <a:pt x="240507" y="72003"/>
                        </a:lnTo>
                        <a:lnTo>
                          <a:pt x="242960" y="75711"/>
                        </a:lnTo>
                        <a:lnTo>
                          <a:pt x="241159" y="80234"/>
                        </a:lnTo>
                        <a:lnTo>
                          <a:pt x="238820" y="87487"/>
                        </a:lnTo>
                        <a:lnTo>
                          <a:pt x="236929" y="89150"/>
                        </a:lnTo>
                        <a:lnTo>
                          <a:pt x="235071" y="91676"/>
                        </a:lnTo>
                        <a:lnTo>
                          <a:pt x="236367" y="92133"/>
                        </a:lnTo>
                        <a:lnTo>
                          <a:pt x="244247" y="91122"/>
                        </a:lnTo>
                        <a:lnTo>
                          <a:pt x="245845" y="90780"/>
                        </a:lnTo>
                        <a:lnTo>
                          <a:pt x="251110" y="88319"/>
                        </a:lnTo>
                        <a:lnTo>
                          <a:pt x="258835" y="88897"/>
                        </a:lnTo>
                        <a:lnTo>
                          <a:pt x="261435" y="89533"/>
                        </a:lnTo>
                        <a:lnTo>
                          <a:pt x="262723" y="90397"/>
                        </a:lnTo>
                        <a:lnTo>
                          <a:pt x="265078" y="93135"/>
                        </a:lnTo>
                        <a:lnTo>
                          <a:pt x="267026" y="96770"/>
                        </a:lnTo>
                        <a:lnTo>
                          <a:pt x="268460" y="96444"/>
                        </a:lnTo>
                        <a:lnTo>
                          <a:pt x="272062" y="92035"/>
                        </a:lnTo>
                        <a:lnTo>
                          <a:pt x="273375" y="90943"/>
                        </a:lnTo>
                        <a:lnTo>
                          <a:pt x="275168" y="89892"/>
                        </a:lnTo>
                        <a:lnTo>
                          <a:pt x="275934" y="90087"/>
                        </a:lnTo>
                        <a:lnTo>
                          <a:pt x="279568" y="94195"/>
                        </a:lnTo>
                        <a:lnTo>
                          <a:pt x="287645" y="101440"/>
                        </a:lnTo>
                        <a:lnTo>
                          <a:pt x="290424" y="104423"/>
                        </a:lnTo>
                        <a:lnTo>
                          <a:pt x="290954" y="106623"/>
                        </a:lnTo>
                        <a:lnTo>
                          <a:pt x="287498" y="109190"/>
                        </a:lnTo>
                        <a:lnTo>
                          <a:pt x="284809" y="110478"/>
                        </a:lnTo>
                        <a:lnTo>
                          <a:pt x="264923" y="115930"/>
                        </a:lnTo>
                        <a:lnTo>
                          <a:pt x="256024" y="119019"/>
                        </a:lnTo>
                        <a:lnTo>
                          <a:pt x="251582" y="121407"/>
                        </a:lnTo>
                        <a:lnTo>
                          <a:pt x="249317" y="122197"/>
                        </a:lnTo>
                        <a:lnTo>
                          <a:pt x="244541" y="121830"/>
                        </a:lnTo>
                        <a:lnTo>
                          <a:pt x="243457" y="122222"/>
                        </a:lnTo>
                        <a:lnTo>
                          <a:pt x="241982" y="126052"/>
                        </a:lnTo>
                        <a:lnTo>
                          <a:pt x="240409" y="127690"/>
                        </a:lnTo>
                        <a:lnTo>
                          <a:pt x="236277" y="130339"/>
                        </a:lnTo>
                        <a:lnTo>
                          <a:pt x="230523" y="135114"/>
                        </a:lnTo>
                        <a:lnTo>
                          <a:pt x="227084" y="137209"/>
                        </a:lnTo>
                        <a:lnTo>
                          <a:pt x="221029" y="135677"/>
                        </a:lnTo>
                        <a:lnTo>
                          <a:pt x="219521" y="133444"/>
                        </a:lnTo>
                        <a:lnTo>
                          <a:pt x="218682" y="128423"/>
                        </a:lnTo>
                        <a:lnTo>
                          <a:pt x="218568" y="126337"/>
                        </a:lnTo>
                        <a:lnTo>
                          <a:pt x="218755" y="125245"/>
                        </a:lnTo>
                        <a:lnTo>
                          <a:pt x="219513" y="123444"/>
                        </a:lnTo>
                        <a:lnTo>
                          <a:pt x="222137" y="119133"/>
                        </a:lnTo>
                        <a:lnTo>
                          <a:pt x="221819" y="118685"/>
                        </a:lnTo>
                        <a:lnTo>
                          <a:pt x="220613" y="119043"/>
                        </a:lnTo>
                        <a:lnTo>
                          <a:pt x="216595" y="121195"/>
                        </a:lnTo>
                        <a:lnTo>
                          <a:pt x="215014" y="122336"/>
                        </a:lnTo>
                        <a:lnTo>
                          <a:pt x="213531" y="124308"/>
                        </a:lnTo>
                        <a:lnTo>
                          <a:pt x="212871" y="127625"/>
                        </a:lnTo>
                        <a:lnTo>
                          <a:pt x="213458" y="133737"/>
                        </a:lnTo>
                        <a:lnTo>
                          <a:pt x="212887" y="136198"/>
                        </a:lnTo>
                        <a:lnTo>
                          <a:pt x="211298" y="137421"/>
                        </a:lnTo>
                        <a:lnTo>
                          <a:pt x="211942" y="138366"/>
                        </a:lnTo>
                        <a:lnTo>
                          <a:pt x="216677" y="139678"/>
                        </a:lnTo>
                        <a:lnTo>
                          <a:pt x="217516" y="140241"/>
                        </a:lnTo>
                        <a:lnTo>
                          <a:pt x="218038" y="141284"/>
                        </a:lnTo>
                        <a:lnTo>
                          <a:pt x="218250" y="142783"/>
                        </a:lnTo>
                        <a:lnTo>
                          <a:pt x="218013" y="144169"/>
                        </a:lnTo>
                        <a:lnTo>
                          <a:pt x="216595" y="146296"/>
                        </a:lnTo>
                        <a:lnTo>
                          <a:pt x="213930" y="147152"/>
                        </a:lnTo>
                        <a:lnTo>
                          <a:pt x="210532" y="146190"/>
                        </a:lnTo>
                        <a:lnTo>
                          <a:pt x="203189" y="140925"/>
                        </a:lnTo>
                        <a:lnTo>
                          <a:pt x="200003" y="141219"/>
                        </a:lnTo>
                        <a:lnTo>
                          <a:pt x="199196" y="141822"/>
                        </a:lnTo>
                        <a:lnTo>
                          <a:pt x="199880" y="143704"/>
                        </a:lnTo>
                        <a:lnTo>
                          <a:pt x="202138" y="147909"/>
                        </a:lnTo>
                        <a:lnTo>
                          <a:pt x="202553" y="151398"/>
                        </a:lnTo>
                        <a:lnTo>
                          <a:pt x="201510" y="154315"/>
                        </a:lnTo>
                        <a:lnTo>
                          <a:pt x="199416" y="158887"/>
                        </a:lnTo>
                        <a:lnTo>
                          <a:pt x="197973" y="161332"/>
                        </a:lnTo>
                        <a:lnTo>
                          <a:pt x="197191" y="161666"/>
                        </a:lnTo>
                        <a:lnTo>
                          <a:pt x="193548" y="161740"/>
                        </a:lnTo>
                        <a:lnTo>
                          <a:pt x="190419" y="160501"/>
                        </a:lnTo>
                        <a:lnTo>
                          <a:pt x="181136" y="152490"/>
                        </a:lnTo>
                        <a:lnTo>
                          <a:pt x="176540" y="149067"/>
                        </a:lnTo>
                        <a:lnTo>
                          <a:pt x="169816" y="142376"/>
                        </a:lnTo>
                        <a:lnTo>
                          <a:pt x="168096" y="140982"/>
                        </a:lnTo>
                        <a:lnTo>
                          <a:pt x="167069" y="140681"/>
                        </a:lnTo>
                        <a:lnTo>
                          <a:pt x="166091" y="143566"/>
                        </a:lnTo>
                        <a:lnTo>
                          <a:pt x="167958" y="146231"/>
                        </a:lnTo>
                        <a:lnTo>
                          <a:pt x="174013" y="152490"/>
                        </a:lnTo>
                        <a:lnTo>
                          <a:pt x="177623" y="157037"/>
                        </a:lnTo>
                        <a:lnTo>
                          <a:pt x="180215" y="160794"/>
                        </a:lnTo>
                        <a:lnTo>
                          <a:pt x="180639" y="162359"/>
                        </a:lnTo>
                        <a:lnTo>
                          <a:pt x="179750" y="162970"/>
                        </a:lnTo>
                        <a:lnTo>
                          <a:pt x="178414" y="162620"/>
                        </a:lnTo>
                        <a:lnTo>
                          <a:pt x="176645" y="161316"/>
                        </a:lnTo>
                        <a:lnTo>
                          <a:pt x="171136" y="159091"/>
                        </a:lnTo>
                        <a:lnTo>
                          <a:pt x="168854" y="157852"/>
                        </a:lnTo>
                        <a:lnTo>
                          <a:pt x="167355" y="156426"/>
                        </a:lnTo>
                        <a:lnTo>
                          <a:pt x="164608" y="155334"/>
                        </a:lnTo>
                        <a:lnTo>
                          <a:pt x="160615" y="154592"/>
                        </a:lnTo>
                        <a:lnTo>
                          <a:pt x="156605" y="154454"/>
                        </a:lnTo>
                        <a:lnTo>
                          <a:pt x="152571" y="154910"/>
                        </a:lnTo>
                        <a:lnTo>
                          <a:pt x="151805" y="155603"/>
                        </a:lnTo>
                        <a:lnTo>
                          <a:pt x="156352" y="157559"/>
                        </a:lnTo>
                        <a:lnTo>
                          <a:pt x="157934" y="158651"/>
                        </a:lnTo>
                        <a:lnTo>
                          <a:pt x="159115" y="160028"/>
                        </a:lnTo>
                        <a:lnTo>
                          <a:pt x="159881" y="161715"/>
                        </a:lnTo>
                        <a:lnTo>
                          <a:pt x="158390" y="162791"/>
                        </a:lnTo>
                        <a:lnTo>
                          <a:pt x="152750" y="163451"/>
                        </a:lnTo>
                        <a:lnTo>
                          <a:pt x="145220" y="163035"/>
                        </a:lnTo>
                        <a:lnTo>
                          <a:pt x="133028" y="161560"/>
                        </a:lnTo>
                        <a:lnTo>
                          <a:pt x="120885" y="159132"/>
                        </a:lnTo>
                        <a:lnTo>
                          <a:pt x="109671" y="155350"/>
                        </a:lnTo>
                        <a:lnTo>
                          <a:pt x="101562" y="151552"/>
                        </a:lnTo>
                        <a:lnTo>
                          <a:pt x="98351" y="149523"/>
                        </a:lnTo>
                        <a:lnTo>
                          <a:pt x="97348" y="148015"/>
                        </a:lnTo>
                        <a:lnTo>
                          <a:pt x="100388" y="146687"/>
                        </a:lnTo>
                        <a:lnTo>
                          <a:pt x="111024" y="144984"/>
                        </a:lnTo>
                        <a:lnTo>
                          <a:pt x="121684" y="143892"/>
                        </a:lnTo>
                        <a:lnTo>
                          <a:pt x="119997" y="142930"/>
                        </a:lnTo>
                        <a:lnTo>
                          <a:pt x="100641" y="140770"/>
                        </a:lnTo>
                        <a:lnTo>
                          <a:pt x="94260" y="140379"/>
                        </a:lnTo>
                        <a:lnTo>
                          <a:pt x="90869" y="140941"/>
                        </a:lnTo>
                        <a:lnTo>
                          <a:pt x="86966" y="140607"/>
                        </a:lnTo>
                        <a:lnTo>
                          <a:pt x="83918" y="138888"/>
                        </a:lnTo>
                        <a:lnTo>
                          <a:pt x="79892" y="135628"/>
                        </a:lnTo>
                        <a:lnTo>
                          <a:pt x="77846" y="133468"/>
                        </a:lnTo>
                        <a:lnTo>
                          <a:pt x="78123" y="132621"/>
                        </a:lnTo>
                        <a:lnTo>
                          <a:pt x="79656" y="132148"/>
                        </a:lnTo>
                        <a:lnTo>
                          <a:pt x="88416" y="132547"/>
                        </a:lnTo>
                        <a:lnTo>
                          <a:pt x="89623" y="132229"/>
                        </a:lnTo>
                        <a:lnTo>
                          <a:pt x="85238" y="130599"/>
                        </a:lnTo>
                        <a:lnTo>
                          <a:pt x="71204" y="127380"/>
                        </a:lnTo>
                        <a:lnTo>
                          <a:pt x="65939" y="124544"/>
                        </a:lnTo>
                        <a:lnTo>
                          <a:pt x="64970" y="123428"/>
                        </a:lnTo>
                        <a:lnTo>
                          <a:pt x="64570" y="122336"/>
                        </a:lnTo>
                        <a:lnTo>
                          <a:pt x="64741" y="121260"/>
                        </a:lnTo>
                        <a:lnTo>
                          <a:pt x="70014" y="119092"/>
                        </a:lnTo>
                        <a:lnTo>
                          <a:pt x="86289" y="113941"/>
                        </a:lnTo>
                        <a:lnTo>
                          <a:pt x="91880" y="113151"/>
                        </a:lnTo>
                        <a:lnTo>
                          <a:pt x="97511" y="113086"/>
                        </a:lnTo>
                        <a:lnTo>
                          <a:pt x="101423" y="111611"/>
                        </a:lnTo>
                        <a:lnTo>
                          <a:pt x="104806" y="106729"/>
                        </a:lnTo>
                        <a:lnTo>
                          <a:pt x="121675" y="104969"/>
                        </a:lnTo>
                        <a:lnTo>
                          <a:pt x="134658" y="102776"/>
                        </a:lnTo>
                        <a:lnTo>
                          <a:pt x="135742" y="102173"/>
                        </a:lnTo>
                        <a:lnTo>
                          <a:pt x="126003" y="102581"/>
                        </a:lnTo>
                        <a:lnTo>
                          <a:pt x="112230" y="102141"/>
                        </a:lnTo>
                        <a:lnTo>
                          <a:pt x="106362" y="98807"/>
                        </a:lnTo>
                        <a:lnTo>
                          <a:pt x="102393" y="98245"/>
                        </a:lnTo>
                        <a:lnTo>
                          <a:pt x="98000" y="98269"/>
                        </a:lnTo>
                        <a:lnTo>
                          <a:pt x="92882" y="99304"/>
                        </a:lnTo>
                        <a:lnTo>
                          <a:pt x="84130" y="102410"/>
                        </a:lnTo>
                        <a:lnTo>
                          <a:pt x="79933" y="103119"/>
                        </a:lnTo>
                        <a:lnTo>
                          <a:pt x="70438" y="106321"/>
                        </a:lnTo>
                        <a:lnTo>
                          <a:pt x="67789" y="106085"/>
                        </a:lnTo>
                        <a:lnTo>
                          <a:pt x="66461" y="105710"/>
                        </a:lnTo>
                        <a:lnTo>
                          <a:pt x="66062" y="105083"/>
                        </a:lnTo>
                        <a:lnTo>
                          <a:pt x="67781" y="102964"/>
                        </a:lnTo>
                        <a:lnTo>
                          <a:pt x="70275" y="101513"/>
                        </a:lnTo>
                        <a:lnTo>
                          <a:pt x="69762" y="101024"/>
                        </a:lnTo>
                        <a:lnTo>
                          <a:pt x="66045" y="100714"/>
                        </a:lnTo>
                        <a:lnTo>
                          <a:pt x="61734" y="100780"/>
                        </a:lnTo>
                        <a:lnTo>
                          <a:pt x="58743" y="101277"/>
                        </a:lnTo>
                        <a:lnTo>
                          <a:pt x="47798" y="104080"/>
                        </a:lnTo>
                        <a:lnTo>
                          <a:pt x="42892" y="106167"/>
                        </a:lnTo>
                        <a:lnTo>
                          <a:pt x="41417" y="106354"/>
                        </a:lnTo>
                        <a:lnTo>
                          <a:pt x="36128" y="103086"/>
                        </a:lnTo>
                        <a:lnTo>
                          <a:pt x="27676" y="101277"/>
                        </a:lnTo>
                        <a:lnTo>
                          <a:pt x="25802" y="99875"/>
                        </a:lnTo>
                        <a:lnTo>
                          <a:pt x="27530" y="94349"/>
                        </a:lnTo>
                        <a:lnTo>
                          <a:pt x="29999" y="93208"/>
                        </a:lnTo>
                        <a:lnTo>
                          <a:pt x="36478" y="92279"/>
                        </a:lnTo>
                        <a:lnTo>
                          <a:pt x="55891" y="87251"/>
                        </a:lnTo>
                        <a:lnTo>
                          <a:pt x="56983" y="86289"/>
                        </a:lnTo>
                        <a:lnTo>
                          <a:pt x="58808" y="83738"/>
                        </a:lnTo>
                        <a:lnTo>
                          <a:pt x="54367" y="84285"/>
                        </a:lnTo>
                        <a:lnTo>
                          <a:pt x="44644" y="86746"/>
                        </a:lnTo>
                        <a:lnTo>
                          <a:pt x="36609" y="87968"/>
                        </a:lnTo>
                        <a:lnTo>
                          <a:pt x="30268" y="87960"/>
                        </a:lnTo>
                        <a:lnTo>
                          <a:pt x="25639" y="87610"/>
                        </a:lnTo>
                        <a:lnTo>
                          <a:pt x="22713" y="86917"/>
                        </a:lnTo>
                        <a:lnTo>
                          <a:pt x="19184" y="85352"/>
                        </a:lnTo>
                        <a:lnTo>
                          <a:pt x="7701" y="78091"/>
                        </a:lnTo>
                        <a:lnTo>
                          <a:pt x="4564" y="74562"/>
                        </a:lnTo>
                        <a:lnTo>
                          <a:pt x="4124" y="71457"/>
                        </a:lnTo>
                        <a:lnTo>
                          <a:pt x="3325" y="69085"/>
                        </a:lnTo>
                        <a:lnTo>
                          <a:pt x="0" y="63380"/>
                        </a:lnTo>
                        <a:lnTo>
                          <a:pt x="24588" y="66934"/>
                        </a:lnTo>
                        <a:lnTo>
                          <a:pt x="34204" y="67602"/>
                        </a:lnTo>
                        <a:lnTo>
                          <a:pt x="52761" y="67830"/>
                        </a:lnTo>
                        <a:lnTo>
                          <a:pt x="53625" y="67480"/>
                        </a:lnTo>
                        <a:lnTo>
                          <a:pt x="53902" y="66559"/>
                        </a:lnTo>
                        <a:lnTo>
                          <a:pt x="53584" y="65059"/>
                        </a:lnTo>
                        <a:lnTo>
                          <a:pt x="53723" y="63902"/>
                        </a:lnTo>
                        <a:lnTo>
                          <a:pt x="54326" y="63095"/>
                        </a:lnTo>
                        <a:lnTo>
                          <a:pt x="61229" y="61041"/>
                        </a:lnTo>
                        <a:lnTo>
                          <a:pt x="62272" y="60357"/>
                        </a:lnTo>
                        <a:lnTo>
                          <a:pt x="54147" y="60023"/>
                        </a:lnTo>
                        <a:lnTo>
                          <a:pt x="39208" y="63454"/>
                        </a:lnTo>
                        <a:lnTo>
                          <a:pt x="33935" y="63429"/>
                        </a:lnTo>
                        <a:lnTo>
                          <a:pt x="27945" y="58515"/>
                        </a:lnTo>
                        <a:lnTo>
                          <a:pt x="21556" y="59371"/>
                        </a:lnTo>
                        <a:lnTo>
                          <a:pt x="18541" y="58988"/>
                        </a:lnTo>
                        <a:lnTo>
                          <a:pt x="13838" y="57749"/>
                        </a:lnTo>
                        <a:lnTo>
                          <a:pt x="11532" y="56673"/>
                        </a:lnTo>
                        <a:lnTo>
                          <a:pt x="10032" y="55329"/>
                        </a:lnTo>
                        <a:lnTo>
                          <a:pt x="9397" y="54212"/>
                        </a:lnTo>
                        <a:lnTo>
                          <a:pt x="9625" y="53291"/>
                        </a:lnTo>
                        <a:lnTo>
                          <a:pt x="10880" y="52272"/>
                        </a:lnTo>
                        <a:lnTo>
                          <a:pt x="16397" y="50854"/>
                        </a:lnTo>
                        <a:lnTo>
                          <a:pt x="18883" y="50716"/>
                        </a:lnTo>
                        <a:lnTo>
                          <a:pt x="25443" y="51629"/>
                        </a:lnTo>
                        <a:lnTo>
                          <a:pt x="30366" y="51555"/>
                        </a:lnTo>
                        <a:lnTo>
                          <a:pt x="28736" y="50039"/>
                        </a:lnTo>
                        <a:lnTo>
                          <a:pt x="21629" y="46209"/>
                        </a:lnTo>
                        <a:lnTo>
                          <a:pt x="15411" y="41963"/>
                        </a:lnTo>
                        <a:lnTo>
                          <a:pt x="15884" y="34865"/>
                        </a:lnTo>
                        <a:lnTo>
                          <a:pt x="20986" y="33357"/>
                        </a:lnTo>
                        <a:lnTo>
                          <a:pt x="26275" y="33112"/>
                        </a:lnTo>
                        <a:lnTo>
                          <a:pt x="31442" y="34905"/>
                        </a:lnTo>
                        <a:lnTo>
                          <a:pt x="38377" y="35150"/>
                        </a:lnTo>
                        <a:lnTo>
                          <a:pt x="43340" y="37187"/>
                        </a:lnTo>
                        <a:lnTo>
                          <a:pt x="46641" y="41066"/>
                        </a:lnTo>
                        <a:lnTo>
                          <a:pt x="50561" y="41001"/>
                        </a:lnTo>
                        <a:lnTo>
                          <a:pt x="56738" y="41727"/>
                        </a:lnTo>
                        <a:lnTo>
                          <a:pt x="70568" y="41678"/>
                        </a:lnTo>
                        <a:lnTo>
                          <a:pt x="68067" y="40284"/>
                        </a:lnTo>
                        <a:lnTo>
                          <a:pt x="63772" y="39070"/>
                        </a:lnTo>
                        <a:lnTo>
                          <a:pt x="53992" y="37481"/>
                        </a:lnTo>
                        <a:lnTo>
                          <a:pt x="49224" y="31776"/>
                        </a:lnTo>
                        <a:lnTo>
                          <a:pt x="39119" y="28826"/>
                        </a:lnTo>
                        <a:lnTo>
                          <a:pt x="31213" y="27285"/>
                        </a:lnTo>
                        <a:lnTo>
                          <a:pt x="31344" y="25989"/>
                        </a:lnTo>
                        <a:lnTo>
                          <a:pt x="37285" y="18883"/>
                        </a:lnTo>
                        <a:lnTo>
                          <a:pt x="44457" y="16348"/>
                        </a:lnTo>
                        <a:lnTo>
                          <a:pt x="55899" y="17302"/>
                        </a:lnTo>
                        <a:lnTo>
                          <a:pt x="63413" y="15957"/>
                        </a:lnTo>
                        <a:lnTo>
                          <a:pt x="73095" y="13439"/>
                        </a:lnTo>
                        <a:lnTo>
                          <a:pt x="82573" y="14604"/>
                        </a:lnTo>
                        <a:lnTo>
                          <a:pt x="85026" y="14498"/>
                        </a:lnTo>
                        <a:lnTo>
                          <a:pt x="86469" y="13724"/>
                        </a:lnTo>
                        <a:lnTo>
                          <a:pt x="87740" y="12241"/>
                        </a:lnTo>
                        <a:lnTo>
                          <a:pt x="87740" y="10880"/>
                        </a:lnTo>
                        <a:lnTo>
                          <a:pt x="86493" y="9625"/>
                        </a:lnTo>
                        <a:lnTo>
                          <a:pt x="83494" y="8076"/>
                        </a:lnTo>
                        <a:lnTo>
                          <a:pt x="71400" y="7856"/>
                        </a:lnTo>
                        <a:lnTo>
                          <a:pt x="66045" y="7245"/>
                        </a:lnTo>
                        <a:lnTo>
                          <a:pt x="63959" y="6422"/>
                        </a:lnTo>
                        <a:lnTo>
                          <a:pt x="63356" y="5167"/>
                        </a:lnTo>
                        <a:lnTo>
                          <a:pt x="63038" y="3887"/>
                        </a:lnTo>
                        <a:lnTo>
                          <a:pt x="62997" y="2567"/>
                        </a:lnTo>
                        <a:lnTo>
                          <a:pt x="63323" y="1760"/>
                        </a:lnTo>
                        <a:lnTo>
                          <a:pt x="64334" y="1304"/>
                        </a:lnTo>
                        <a:lnTo>
                          <a:pt x="67292" y="791"/>
                        </a:lnTo>
                        <a:lnTo>
                          <a:pt x="78580" y="717"/>
                        </a:lnTo>
                        <a:lnTo>
                          <a:pt x="85328" y="0"/>
                        </a:lnTo>
                        <a:lnTo>
                          <a:pt x="92720" y="945"/>
                        </a:lnTo>
                        <a:lnTo>
                          <a:pt x="108147" y="4482"/>
                        </a:lnTo>
                        <a:lnTo>
                          <a:pt x="113135" y="6283"/>
                        </a:lnTo>
                        <a:lnTo>
                          <a:pt x="118440" y="9299"/>
                        </a:lnTo>
                        <a:close/>
                      </a:path>
                    </a:pathLst>
                  </a:custGeom>
                  <a:solidFill>
                    <a:srgbClr val="D6D6D2"/>
                  </a:solidFill>
                  <a:ln w="8150" cap="flat">
                    <a:noFill/>
                    <a:prstDash val="solid"/>
                    <a:miter/>
                  </a:ln>
                </p:spPr>
                <p:txBody>
                  <a:bodyPr rtlCol="0" anchor="ctr"/>
                  <a:lstStyle/>
                  <a:p>
                    <a:endParaRPr lang="en-US"/>
                  </a:p>
                </p:txBody>
              </p:sp>
              <p:sp>
                <p:nvSpPr>
                  <p:cNvPr id="513" name="Freeform: Shape 512">
                    <a:extLst>
                      <a:ext uri="{FF2B5EF4-FFF2-40B4-BE49-F238E27FC236}">
                        <a16:creationId xmlns:a16="http://schemas.microsoft.com/office/drawing/2014/main" id="{CA42811D-432A-4B5A-8DAF-35F0B2E9B76D}"/>
                      </a:ext>
                    </a:extLst>
                  </p:cNvPr>
                  <p:cNvSpPr/>
                  <p:nvPr/>
                </p:nvSpPr>
                <p:spPr>
                  <a:xfrm>
                    <a:off x="3460278" y="1638399"/>
                    <a:ext cx="33658" cy="21409"/>
                  </a:xfrm>
                  <a:custGeom>
                    <a:avLst/>
                    <a:gdLst>
                      <a:gd name="connsiteX0" fmla="*/ 33088 w 33658"/>
                      <a:gd name="connsiteY0" fmla="*/ 8329 h 21409"/>
                      <a:gd name="connsiteX1" fmla="*/ 33658 w 33658"/>
                      <a:gd name="connsiteY1" fmla="*/ 14963 h 21409"/>
                      <a:gd name="connsiteX2" fmla="*/ 33145 w 33658"/>
                      <a:gd name="connsiteY2" fmla="*/ 18296 h 21409"/>
                      <a:gd name="connsiteX3" fmla="*/ 31882 w 33658"/>
                      <a:gd name="connsiteY3" fmla="*/ 20749 h 21409"/>
                      <a:gd name="connsiteX4" fmla="*/ 30773 w 33658"/>
                      <a:gd name="connsiteY4" fmla="*/ 21328 h 21409"/>
                      <a:gd name="connsiteX5" fmla="*/ 29282 w 33658"/>
                      <a:gd name="connsiteY5" fmla="*/ 21409 h 21409"/>
                      <a:gd name="connsiteX6" fmla="*/ 22510 w 33658"/>
                      <a:gd name="connsiteY6" fmla="*/ 19486 h 21409"/>
                      <a:gd name="connsiteX7" fmla="*/ 20439 w 33658"/>
                      <a:gd name="connsiteY7" fmla="*/ 18361 h 21409"/>
                      <a:gd name="connsiteX8" fmla="*/ 20334 w 33658"/>
                      <a:gd name="connsiteY8" fmla="*/ 17408 h 21409"/>
                      <a:gd name="connsiteX9" fmla="*/ 19665 w 33658"/>
                      <a:gd name="connsiteY9" fmla="*/ 15533 h 21409"/>
                      <a:gd name="connsiteX10" fmla="*/ 15134 w 33658"/>
                      <a:gd name="connsiteY10" fmla="*/ 13113 h 21409"/>
                      <a:gd name="connsiteX11" fmla="*/ 6658 w 33658"/>
                      <a:gd name="connsiteY11" fmla="*/ 13504 h 21409"/>
                      <a:gd name="connsiteX12" fmla="*/ 3130 w 33658"/>
                      <a:gd name="connsiteY12" fmla="*/ 13276 h 21409"/>
                      <a:gd name="connsiteX13" fmla="*/ 1711 w 33658"/>
                      <a:gd name="connsiteY13" fmla="*/ 12551 h 21409"/>
                      <a:gd name="connsiteX14" fmla="*/ 831 w 33658"/>
                      <a:gd name="connsiteY14" fmla="*/ 11507 h 21409"/>
                      <a:gd name="connsiteX15" fmla="*/ 0 w 33658"/>
                      <a:gd name="connsiteY15" fmla="*/ 7294 h 21409"/>
                      <a:gd name="connsiteX16" fmla="*/ 139 w 33658"/>
                      <a:gd name="connsiteY16" fmla="*/ 5803 h 21409"/>
                      <a:gd name="connsiteX17" fmla="*/ 1174 w 33658"/>
                      <a:gd name="connsiteY17" fmla="*/ 3219 h 21409"/>
                      <a:gd name="connsiteX18" fmla="*/ 1809 w 33658"/>
                      <a:gd name="connsiteY18" fmla="*/ 2592 h 21409"/>
                      <a:gd name="connsiteX19" fmla="*/ 8019 w 33658"/>
                      <a:gd name="connsiteY19" fmla="*/ 204 h 21409"/>
                      <a:gd name="connsiteX20" fmla="*/ 9788 w 33658"/>
                      <a:gd name="connsiteY20" fmla="*/ 0 h 21409"/>
                      <a:gd name="connsiteX21" fmla="*/ 17392 w 33658"/>
                      <a:gd name="connsiteY21" fmla="*/ 905 h 21409"/>
                      <a:gd name="connsiteX22" fmla="*/ 24131 w 33658"/>
                      <a:gd name="connsiteY22" fmla="*/ 1019 h 21409"/>
                      <a:gd name="connsiteX23" fmla="*/ 27514 w 33658"/>
                      <a:gd name="connsiteY23" fmla="*/ 1687 h 21409"/>
                      <a:gd name="connsiteX24" fmla="*/ 30537 w 33658"/>
                      <a:gd name="connsiteY24" fmla="*/ 3187 h 21409"/>
                      <a:gd name="connsiteX25" fmla="*/ 32314 w 33658"/>
                      <a:gd name="connsiteY25" fmla="*/ 5452 h 21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3658" h="21409">
                        <a:moveTo>
                          <a:pt x="33088" y="8329"/>
                        </a:moveTo>
                        <a:lnTo>
                          <a:pt x="33658" y="14963"/>
                        </a:lnTo>
                        <a:lnTo>
                          <a:pt x="33145" y="18296"/>
                        </a:lnTo>
                        <a:lnTo>
                          <a:pt x="31882" y="20749"/>
                        </a:lnTo>
                        <a:lnTo>
                          <a:pt x="30773" y="21328"/>
                        </a:lnTo>
                        <a:lnTo>
                          <a:pt x="29282" y="21409"/>
                        </a:lnTo>
                        <a:lnTo>
                          <a:pt x="22510" y="19486"/>
                        </a:lnTo>
                        <a:lnTo>
                          <a:pt x="20439" y="18361"/>
                        </a:lnTo>
                        <a:lnTo>
                          <a:pt x="20334" y="17408"/>
                        </a:lnTo>
                        <a:lnTo>
                          <a:pt x="19665" y="15533"/>
                        </a:lnTo>
                        <a:lnTo>
                          <a:pt x="15134" y="13113"/>
                        </a:lnTo>
                        <a:lnTo>
                          <a:pt x="6658" y="13504"/>
                        </a:lnTo>
                        <a:lnTo>
                          <a:pt x="3130" y="13276"/>
                        </a:lnTo>
                        <a:lnTo>
                          <a:pt x="1711" y="12551"/>
                        </a:lnTo>
                        <a:lnTo>
                          <a:pt x="831" y="11507"/>
                        </a:lnTo>
                        <a:lnTo>
                          <a:pt x="0" y="7294"/>
                        </a:lnTo>
                        <a:lnTo>
                          <a:pt x="139" y="5803"/>
                        </a:lnTo>
                        <a:lnTo>
                          <a:pt x="1174" y="3219"/>
                        </a:lnTo>
                        <a:lnTo>
                          <a:pt x="1809" y="2592"/>
                        </a:lnTo>
                        <a:lnTo>
                          <a:pt x="8019" y="204"/>
                        </a:lnTo>
                        <a:lnTo>
                          <a:pt x="9788" y="0"/>
                        </a:lnTo>
                        <a:lnTo>
                          <a:pt x="17392" y="905"/>
                        </a:lnTo>
                        <a:lnTo>
                          <a:pt x="24131" y="1019"/>
                        </a:lnTo>
                        <a:lnTo>
                          <a:pt x="27514" y="1687"/>
                        </a:lnTo>
                        <a:lnTo>
                          <a:pt x="30537" y="3187"/>
                        </a:lnTo>
                        <a:lnTo>
                          <a:pt x="32314" y="5452"/>
                        </a:lnTo>
                        <a:close/>
                      </a:path>
                    </a:pathLst>
                  </a:custGeom>
                  <a:solidFill>
                    <a:srgbClr val="D6D6D2"/>
                  </a:solidFill>
                  <a:ln w="8150" cap="flat">
                    <a:noFill/>
                    <a:prstDash val="solid"/>
                    <a:miter/>
                  </a:ln>
                </p:spPr>
                <p:txBody>
                  <a:bodyPr rtlCol="0" anchor="ctr"/>
                  <a:lstStyle/>
                  <a:p>
                    <a:endParaRPr lang="en-US"/>
                  </a:p>
                </p:txBody>
              </p:sp>
              <p:sp>
                <p:nvSpPr>
                  <p:cNvPr id="514" name="Freeform: Shape 513">
                    <a:extLst>
                      <a:ext uri="{FF2B5EF4-FFF2-40B4-BE49-F238E27FC236}">
                        <a16:creationId xmlns:a16="http://schemas.microsoft.com/office/drawing/2014/main" id="{A06EFCF0-6FB9-4EFC-B742-710018FB71CC}"/>
                      </a:ext>
                    </a:extLst>
                  </p:cNvPr>
                  <p:cNvSpPr/>
                  <p:nvPr/>
                </p:nvSpPr>
                <p:spPr>
                  <a:xfrm>
                    <a:off x="3325001" y="1678667"/>
                    <a:ext cx="163214" cy="77878"/>
                  </a:xfrm>
                  <a:custGeom>
                    <a:avLst/>
                    <a:gdLst>
                      <a:gd name="connsiteX0" fmla="*/ 53430 w 163214"/>
                      <a:gd name="connsiteY0" fmla="*/ 1826 h 77878"/>
                      <a:gd name="connsiteX1" fmla="*/ 59240 w 163214"/>
                      <a:gd name="connsiteY1" fmla="*/ 2861 h 77878"/>
                      <a:gd name="connsiteX2" fmla="*/ 66119 w 163214"/>
                      <a:gd name="connsiteY2" fmla="*/ 6104 h 77878"/>
                      <a:gd name="connsiteX3" fmla="*/ 72614 w 163214"/>
                      <a:gd name="connsiteY3" fmla="*/ 12966 h 77878"/>
                      <a:gd name="connsiteX4" fmla="*/ 72948 w 163214"/>
                      <a:gd name="connsiteY4" fmla="*/ 13838 h 77878"/>
                      <a:gd name="connsiteX5" fmla="*/ 72981 w 163214"/>
                      <a:gd name="connsiteY5" fmla="*/ 14979 h 77878"/>
                      <a:gd name="connsiteX6" fmla="*/ 72720 w 163214"/>
                      <a:gd name="connsiteY6" fmla="*/ 16373 h 77878"/>
                      <a:gd name="connsiteX7" fmla="*/ 71856 w 163214"/>
                      <a:gd name="connsiteY7" fmla="*/ 18198 h 77878"/>
                      <a:gd name="connsiteX8" fmla="*/ 70683 w 163214"/>
                      <a:gd name="connsiteY8" fmla="*/ 19282 h 77878"/>
                      <a:gd name="connsiteX9" fmla="*/ 74024 w 163214"/>
                      <a:gd name="connsiteY9" fmla="*/ 20603 h 77878"/>
                      <a:gd name="connsiteX10" fmla="*/ 74399 w 163214"/>
                      <a:gd name="connsiteY10" fmla="*/ 21255 h 77878"/>
                      <a:gd name="connsiteX11" fmla="*/ 74097 w 163214"/>
                      <a:gd name="connsiteY11" fmla="*/ 22713 h 77878"/>
                      <a:gd name="connsiteX12" fmla="*/ 74505 w 163214"/>
                      <a:gd name="connsiteY12" fmla="*/ 23805 h 77878"/>
                      <a:gd name="connsiteX13" fmla="*/ 76534 w 163214"/>
                      <a:gd name="connsiteY13" fmla="*/ 22738 h 77878"/>
                      <a:gd name="connsiteX14" fmla="*/ 78262 w 163214"/>
                      <a:gd name="connsiteY14" fmla="*/ 21100 h 77878"/>
                      <a:gd name="connsiteX15" fmla="*/ 78694 w 163214"/>
                      <a:gd name="connsiteY15" fmla="*/ 20048 h 77878"/>
                      <a:gd name="connsiteX16" fmla="*/ 79044 w 163214"/>
                      <a:gd name="connsiteY16" fmla="*/ 17229 h 77878"/>
                      <a:gd name="connsiteX17" fmla="*/ 84122 w 163214"/>
                      <a:gd name="connsiteY17" fmla="*/ 15810 h 77878"/>
                      <a:gd name="connsiteX18" fmla="*/ 89451 w 163214"/>
                      <a:gd name="connsiteY18" fmla="*/ 13757 h 77878"/>
                      <a:gd name="connsiteX19" fmla="*/ 91953 w 163214"/>
                      <a:gd name="connsiteY19" fmla="*/ 13292 h 77878"/>
                      <a:gd name="connsiteX20" fmla="*/ 96151 w 163214"/>
                      <a:gd name="connsiteY20" fmla="*/ 13773 h 77878"/>
                      <a:gd name="connsiteX21" fmla="*/ 106183 w 163214"/>
                      <a:gd name="connsiteY21" fmla="*/ 18638 h 77878"/>
                      <a:gd name="connsiteX22" fmla="*/ 110013 w 163214"/>
                      <a:gd name="connsiteY22" fmla="*/ 19103 h 77878"/>
                      <a:gd name="connsiteX23" fmla="*/ 111407 w 163214"/>
                      <a:gd name="connsiteY23" fmla="*/ 19673 h 77878"/>
                      <a:gd name="connsiteX24" fmla="*/ 112678 w 163214"/>
                      <a:gd name="connsiteY24" fmla="*/ 20806 h 77878"/>
                      <a:gd name="connsiteX25" fmla="*/ 112768 w 163214"/>
                      <a:gd name="connsiteY25" fmla="*/ 22029 h 77878"/>
                      <a:gd name="connsiteX26" fmla="*/ 110722 w 163214"/>
                      <a:gd name="connsiteY26" fmla="*/ 24865 h 77878"/>
                      <a:gd name="connsiteX27" fmla="*/ 109940 w 163214"/>
                      <a:gd name="connsiteY27" fmla="*/ 26584 h 77878"/>
                      <a:gd name="connsiteX28" fmla="*/ 110421 w 163214"/>
                      <a:gd name="connsiteY28" fmla="*/ 27701 h 77878"/>
                      <a:gd name="connsiteX29" fmla="*/ 115661 w 163214"/>
                      <a:gd name="connsiteY29" fmla="*/ 28646 h 77878"/>
                      <a:gd name="connsiteX30" fmla="*/ 127600 w 163214"/>
                      <a:gd name="connsiteY30" fmla="*/ 26764 h 77878"/>
                      <a:gd name="connsiteX31" fmla="*/ 138040 w 163214"/>
                      <a:gd name="connsiteY31" fmla="*/ 31360 h 77878"/>
                      <a:gd name="connsiteX32" fmla="*/ 143810 w 163214"/>
                      <a:gd name="connsiteY32" fmla="*/ 36812 h 77878"/>
                      <a:gd name="connsiteX33" fmla="*/ 148089 w 163214"/>
                      <a:gd name="connsiteY33" fmla="*/ 38646 h 77878"/>
                      <a:gd name="connsiteX34" fmla="*/ 148765 w 163214"/>
                      <a:gd name="connsiteY34" fmla="*/ 39640 h 77878"/>
                      <a:gd name="connsiteX35" fmla="*/ 147551 w 163214"/>
                      <a:gd name="connsiteY35" fmla="*/ 40561 h 77878"/>
                      <a:gd name="connsiteX36" fmla="*/ 146337 w 163214"/>
                      <a:gd name="connsiteY36" fmla="*/ 43120 h 77878"/>
                      <a:gd name="connsiteX37" fmla="*/ 142906 w 163214"/>
                      <a:gd name="connsiteY37" fmla="*/ 45019 h 77878"/>
                      <a:gd name="connsiteX38" fmla="*/ 142180 w 163214"/>
                      <a:gd name="connsiteY38" fmla="*/ 45883 h 77878"/>
                      <a:gd name="connsiteX39" fmla="*/ 144006 w 163214"/>
                      <a:gd name="connsiteY39" fmla="*/ 48132 h 77878"/>
                      <a:gd name="connsiteX40" fmla="*/ 144136 w 163214"/>
                      <a:gd name="connsiteY40" fmla="*/ 49550 h 77878"/>
                      <a:gd name="connsiteX41" fmla="*/ 143900 w 163214"/>
                      <a:gd name="connsiteY41" fmla="*/ 51514 h 77878"/>
                      <a:gd name="connsiteX42" fmla="*/ 144568 w 163214"/>
                      <a:gd name="connsiteY42" fmla="*/ 52615 h 77878"/>
                      <a:gd name="connsiteX43" fmla="*/ 149254 w 163214"/>
                      <a:gd name="connsiteY43" fmla="*/ 53788 h 77878"/>
                      <a:gd name="connsiteX44" fmla="*/ 159939 w 163214"/>
                      <a:gd name="connsiteY44" fmla="*/ 61840 h 77878"/>
                      <a:gd name="connsiteX45" fmla="*/ 161886 w 163214"/>
                      <a:gd name="connsiteY45" fmla="*/ 64081 h 77878"/>
                      <a:gd name="connsiteX46" fmla="*/ 163084 w 163214"/>
                      <a:gd name="connsiteY46" fmla="*/ 66869 h 77878"/>
                      <a:gd name="connsiteX47" fmla="*/ 163215 w 163214"/>
                      <a:gd name="connsiteY47" fmla="*/ 67822 h 77878"/>
                      <a:gd name="connsiteX48" fmla="*/ 161691 w 163214"/>
                      <a:gd name="connsiteY48" fmla="*/ 69371 h 77878"/>
                      <a:gd name="connsiteX49" fmla="*/ 160020 w 163214"/>
                      <a:gd name="connsiteY49" fmla="*/ 73755 h 77878"/>
                      <a:gd name="connsiteX50" fmla="*/ 159083 w 163214"/>
                      <a:gd name="connsiteY50" fmla="*/ 74749 h 77878"/>
                      <a:gd name="connsiteX51" fmla="*/ 154739 w 163214"/>
                      <a:gd name="connsiteY51" fmla="*/ 75605 h 77878"/>
                      <a:gd name="connsiteX52" fmla="*/ 146858 w 163214"/>
                      <a:gd name="connsiteY52" fmla="*/ 76379 h 77878"/>
                      <a:gd name="connsiteX53" fmla="*/ 139491 w 163214"/>
                      <a:gd name="connsiteY53" fmla="*/ 77879 h 77878"/>
                      <a:gd name="connsiteX54" fmla="*/ 131586 w 163214"/>
                      <a:gd name="connsiteY54" fmla="*/ 75947 h 77878"/>
                      <a:gd name="connsiteX55" fmla="*/ 123868 w 163214"/>
                      <a:gd name="connsiteY55" fmla="*/ 73022 h 77878"/>
                      <a:gd name="connsiteX56" fmla="*/ 121529 w 163214"/>
                      <a:gd name="connsiteY56" fmla="*/ 71106 h 77878"/>
                      <a:gd name="connsiteX57" fmla="*/ 119605 w 163214"/>
                      <a:gd name="connsiteY57" fmla="*/ 68776 h 77878"/>
                      <a:gd name="connsiteX58" fmla="*/ 119100 w 163214"/>
                      <a:gd name="connsiteY58" fmla="*/ 67863 h 77878"/>
                      <a:gd name="connsiteX59" fmla="*/ 118326 w 163214"/>
                      <a:gd name="connsiteY59" fmla="*/ 64114 h 77878"/>
                      <a:gd name="connsiteX60" fmla="*/ 117910 w 163214"/>
                      <a:gd name="connsiteY60" fmla="*/ 63315 h 77878"/>
                      <a:gd name="connsiteX61" fmla="*/ 114651 w 163214"/>
                      <a:gd name="connsiteY61" fmla="*/ 61213 h 77878"/>
                      <a:gd name="connsiteX62" fmla="*/ 111765 w 163214"/>
                      <a:gd name="connsiteY62" fmla="*/ 58042 h 77878"/>
                      <a:gd name="connsiteX63" fmla="*/ 106207 w 163214"/>
                      <a:gd name="connsiteY63" fmla="*/ 57773 h 77878"/>
                      <a:gd name="connsiteX64" fmla="*/ 93029 w 163214"/>
                      <a:gd name="connsiteY64" fmla="*/ 54554 h 77878"/>
                      <a:gd name="connsiteX65" fmla="*/ 87390 w 163214"/>
                      <a:gd name="connsiteY65" fmla="*/ 53780 h 77878"/>
                      <a:gd name="connsiteX66" fmla="*/ 81750 w 163214"/>
                      <a:gd name="connsiteY66" fmla="*/ 54008 h 77878"/>
                      <a:gd name="connsiteX67" fmla="*/ 73747 w 163214"/>
                      <a:gd name="connsiteY67" fmla="*/ 55304 h 77878"/>
                      <a:gd name="connsiteX68" fmla="*/ 72239 w 163214"/>
                      <a:gd name="connsiteY68" fmla="*/ 54962 h 77878"/>
                      <a:gd name="connsiteX69" fmla="*/ 70870 w 163214"/>
                      <a:gd name="connsiteY69" fmla="*/ 53992 h 77878"/>
                      <a:gd name="connsiteX70" fmla="*/ 69648 w 163214"/>
                      <a:gd name="connsiteY70" fmla="*/ 52419 h 77878"/>
                      <a:gd name="connsiteX71" fmla="*/ 69346 w 163214"/>
                      <a:gd name="connsiteY71" fmla="*/ 51262 h 77878"/>
                      <a:gd name="connsiteX72" fmla="*/ 70658 w 163214"/>
                      <a:gd name="connsiteY72" fmla="*/ 49224 h 77878"/>
                      <a:gd name="connsiteX73" fmla="*/ 47195 w 163214"/>
                      <a:gd name="connsiteY73" fmla="*/ 51783 h 77878"/>
                      <a:gd name="connsiteX74" fmla="*/ 40520 w 163214"/>
                      <a:gd name="connsiteY74" fmla="*/ 54750 h 77878"/>
                      <a:gd name="connsiteX75" fmla="*/ 31156 w 163214"/>
                      <a:gd name="connsiteY75" fmla="*/ 54285 h 77878"/>
                      <a:gd name="connsiteX76" fmla="*/ 26479 w 163214"/>
                      <a:gd name="connsiteY76" fmla="*/ 53030 h 77878"/>
                      <a:gd name="connsiteX77" fmla="*/ 20260 w 163214"/>
                      <a:gd name="connsiteY77" fmla="*/ 50194 h 77878"/>
                      <a:gd name="connsiteX78" fmla="*/ 17383 w 163214"/>
                      <a:gd name="connsiteY78" fmla="*/ 47725 h 77878"/>
                      <a:gd name="connsiteX79" fmla="*/ 14751 w 163214"/>
                      <a:gd name="connsiteY79" fmla="*/ 44392 h 77878"/>
                      <a:gd name="connsiteX80" fmla="*/ 14507 w 163214"/>
                      <a:gd name="connsiteY80" fmla="*/ 41865 h 77878"/>
                      <a:gd name="connsiteX81" fmla="*/ 16634 w 163214"/>
                      <a:gd name="connsiteY81" fmla="*/ 40170 h 77878"/>
                      <a:gd name="connsiteX82" fmla="*/ 18850 w 163214"/>
                      <a:gd name="connsiteY82" fmla="*/ 39151 h 77878"/>
                      <a:gd name="connsiteX83" fmla="*/ 21165 w 163214"/>
                      <a:gd name="connsiteY83" fmla="*/ 38825 h 77878"/>
                      <a:gd name="connsiteX84" fmla="*/ 33887 w 163214"/>
                      <a:gd name="connsiteY84" fmla="*/ 40814 h 77878"/>
                      <a:gd name="connsiteX85" fmla="*/ 45044 w 163214"/>
                      <a:gd name="connsiteY85" fmla="*/ 41816 h 77878"/>
                      <a:gd name="connsiteX86" fmla="*/ 49844 w 163214"/>
                      <a:gd name="connsiteY86" fmla="*/ 40806 h 77878"/>
                      <a:gd name="connsiteX87" fmla="*/ 52028 w 163214"/>
                      <a:gd name="connsiteY87" fmla="*/ 38100 h 77878"/>
                      <a:gd name="connsiteX88" fmla="*/ 49412 w 163214"/>
                      <a:gd name="connsiteY88" fmla="*/ 36641 h 77878"/>
                      <a:gd name="connsiteX89" fmla="*/ 38679 w 163214"/>
                      <a:gd name="connsiteY89" fmla="*/ 36054 h 77878"/>
                      <a:gd name="connsiteX90" fmla="*/ 40969 w 163214"/>
                      <a:gd name="connsiteY90" fmla="*/ 34620 h 77878"/>
                      <a:gd name="connsiteX91" fmla="*/ 50039 w 163214"/>
                      <a:gd name="connsiteY91" fmla="*/ 33161 h 77878"/>
                      <a:gd name="connsiteX92" fmla="*/ 54774 w 163214"/>
                      <a:gd name="connsiteY92" fmla="*/ 30977 h 77878"/>
                      <a:gd name="connsiteX93" fmla="*/ 53870 w 163214"/>
                      <a:gd name="connsiteY93" fmla="*/ 30203 h 77878"/>
                      <a:gd name="connsiteX94" fmla="*/ 51140 w 163214"/>
                      <a:gd name="connsiteY94" fmla="*/ 29331 h 77878"/>
                      <a:gd name="connsiteX95" fmla="*/ 38980 w 163214"/>
                      <a:gd name="connsiteY95" fmla="*/ 29584 h 77878"/>
                      <a:gd name="connsiteX96" fmla="*/ 34604 w 163214"/>
                      <a:gd name="connsiteY96" fmla="*/ 28720 h 77878"/>
                      <a:gd name="connsiteX97" fmla="*/ 34367 w 163214"/>
                      <a:gd name="connsiteY97" fmla="*/ 28002 h 77878"/>
                      <a:gd name="connsiteX98" fmla="*/ 35354 w 163214"/>
                      <a:gd name="connsiteY98" fmla="*/ 27090 h 77878"/>
                      <a:gd name="connsiteX99" fmla="*/ 42281 w 163214"/>
                      <a:gd name="connsiteY99" fmla="*/ 22632 h 77878"/>
                      <a:gd name="connsiteX100" fmla="*/ 41996 w 163214"/>
                      <a:gd name="connsiteY100" fmla="*/ 21825 h 77878"/>
                      <a:gd name="connsiteX101" fmla="*/ 39013 w 163214"/>
                      <a:gd name="connsiteY101" fmla="*/ 20366 h 77878"/>
                      <a:gd name="connsiteX102" fmla="*/ 36397 w 163214"/>
                      <a:gd name="connsiteY102" fmla="*/ 18459 h 77878"/>
                      <a:gd name="connsiteX103" fmla="*/ 35427 w 163214"/>
                      <a:gd name="connsiteY103" fmla="*/ 18247 h 77878"/>
                      <a:gd name="connsiteX104" fmla="*/ 29404 w 163214"/>
                      <a:gd name="connsiteY104" fmla="*/ 19942 h 77878"/>
                      <a:gd name="connsiteX105" fmla="*/ 20937 w 163214"/>
                      <a:gd name="connsiteY105" fmla="*/ 26478 h 77878"/>
                      <a:gd name="connsiteX106" fmla="*/ 18924 w 163214"/>
                      <a:gd name="connsiteY106" fmla="*/ 27432 h 77878"/>
                      <a:gd name="connsiteX107" fmla="*/ 16984 w 163214"/>
                      <a:gd name="connsiteY107" fmla="*/ 27375 h 77878"/>
                      <a:gd name="connsiteX108" fmla="*/ 15134 w 163214"/>
                      <a:gd name="connsiteY108" fmla="*/ 26324 h 77878"/>
                      <a:gd name="connsiteX109" fmla="*/ 15142 w 163214"/>
                      <a:gd name="connsiteY109" fmla="*/ 24954 h 77878"/>
                      <a:gd name="connsiteX110" fmla="*/ 17033 w 163214"/>
                      <a:gd name="connsiteY110" fmla="*/ 23259 h 77878"/>
                      <a:gd name="connsiteX111" fmla="*/ 20961 w 163214"/>
                      <a:gd name="connsiteY111" fmla="*/ 18190 h 77878"/>
                      <a:gd name="connsiteX112" fmla="*/ 20668 w 163214"/>
                      <a:gd name="connsiteY112" fmla="*/ 16373 h 77878"/>
                      <a:gd name="connsiteX113" fmla="*/ 16837 w 163214"/>
                      <a:gd name="connsiteY113" fmla="*/ 15175 h 77878"/>
                      <a:gd name="connsiteX114" fmla="*/ 6732 w 163214"/>
                      <a:gd name="connsiteY114" fmla="*/ 16071 h 77878"/>
                      <a:gd name="connsiteX115" fmla="*/ 1108 w 163214"/>
                      <a:gd name="connsiteY115" fmla="*/ 16104 h 77878"/>
                      <a:gd name="connsiteX116" fmla="*/ 236 w 163214"/>
                      <a:gd name="connsiteY116" fmla="*/ 14670 h 77878"/>
                      <a:gd name="connsiteX117" fmla="*/ 0 w 163214"/>
                      <a:gd name="connsiteY117" fmla="*/ 11996 h 77878"/>
                      <a:gd name="connsiteX118" fmla="*/ 228 w 163214"/>
                      <a:gd name="connsiteY118" fmla="*/ 9478 h 77878"/>
                      <a:gd name="connsiteX119" fmla="*/ 1630 w 163214"/>
                      <a:gd name="connsiteY119" fmla="*/ 5526 h 77878"/>
                      <a:gd name="connsiteX120" fmla="*/ 3586 w 163214"/>
                      <a:gd name="connsiteY120" fmla="*/ 2510 h 77878"/>
                      <a:gd name="connsiteX121" fmla="*/ 4776 w 163214"/>
                      <a:gd name="connsiteY121" fmla="*/ 1443 h 77878"/>
                      <a:gd name="connsiteX122" fmla="*/ 18182 w 163214"/>
                      <a:gd name="connsiteY122" fmla="*/ 2070 h 77878"/>
                      <a:gd name="connsiteX123" fmla="*/ 40072 w 163214"/>
                      <a:gd name="connsiteY123" fmla="*/ 187 h 77878"/>
                      <a:gd name="connsiteX124" fmla="*/ 46470 w 163214"/>
                      <a:gd name="connsiteY124" fmla="*/ 0 h 77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163214" h="77878">
                        <a:moveTo>
                          <a:pt x="53430" y="1826"/>
                        </a:moveTo>
                        <a:lnTo>
                          <a:pt x="59240" y="2861"/>
                        </a:lnTo>
                        <a:lnTo>
                          <a:pt x="66119" y="6104"/>
                        </a:lnTo>
                        <a:lnTo>
                          <a:pt x="72614" y="12966"/>
                        </a:lnTo>
                        <a:lnTo>
                          <a:pt x="72948" y="13838"/>
                        </a:lnTo>
                        <a:lnTo>
                          <a:pt x="72981" y="14979"/>
                        </a:lnTo>
                        <a:lnTo>
                          <a:pt x="72720" y="16373"/>
                        </a:lnTo>
                        <a:lnTo>
                          <a:pt x="71856" y="18198"/>
                        </a:lnTo>
                        <a:lnTo>
                          <a:pt x="70683" y="19282"/>
                        </a:lnTo>
                        <a:lnTo>
                          <a:pt x="74024" y="20603"/>
                        </a:lnTo>
                        <a:lnTo>
                          <a:pt x="74399" y="21255"/>
                        </a:lnTo>
                        <a:lnTo>
                          <a:pt x="74097" y="22713"/>
                        </a:lnTo>
                        <a:lnTo>
                          <a:pt x="74505" y="23805"/>
                        </a:lnTo>
                        <a:lnTo>
                          <a:pt x="76534" y="22738"/>
                        </a:lnTo>
                        <a:lnTo>
                          <a:pt x="78262" y="21100"/>
                        </a:lnTo>
                        <a:lnTo>
                          <a:pt x="78694" y="20048"/>
                        </a:lnTo>
                        <a:lnTo>
                          <a:pt x="79044" y="17229"/>
                        </a:lnTo>
                        <a:lnTo>
                          <a:pt x="84122" y="15810"/>
                        </a:lnTo>
                        <a:lnTo>
                          <a:pt x="89451" y="13757"/>
                        </a:lnTo>
                        <a:lnTo>
                          <a:pt x="91953" y="13292"/>
                        </a:lnTo>
                        <a:lnTo>
                          <a:pt x="96151" y="13773"/>
                        </a:lnTo>
                        <a:lnTo>
                          <a:pt x="106183" y="18638"/>
                        </a:lnTo>
                        <a:lnTo>
                          <a:pt x="110013" y="19103"/>
                        </a:lnTo>
                        <a:lnTo>
                          <a:pt x="111407" y="19673"/>
                        </a:lnTo>
                        <a:lnTo>
                          <a:pt x="112678" y="20806"/>
                        </a:lnTo>
                        <a:lnTo>
                          <a:pt x="112768" y="22029"/>
                        </a:lnTo>
                        <a:lnTo>
                          <a:pt x="110722" y="24865"/>
                        </a:lnTo>
                        <a:lnTo>
                          <a:pt x="109940" y="26584"/>
                        </a:lnTo>
                        <a:lnTo>
                          <a:pt x="110421" y="27701"/>
                        </a:lnTo>
                        <a:lnTo>
                          <a:pt x="115661" y="28646"/>
                        </a:lnTo>
                        <a:lnTo>
                          <a:pt x="127600" y="26764"/>
                        </a:lnTo>
                        <a:lnTo>
                          <a:pt x="138040" y="31360"/>
                        </a:lnTo>
                        <a:lnTo>
                          <a:pt x="143810" y="36812"/>
                        </a:lnTo>
                        <a:lnTo>
                          <a:pt x="148089" y="38646"/>
                        </a:lnTo>
                        <a:lnTo>
                          <a:pt x="148765" y="39640"/>
                        </a:lnTo>
                        <a:lnTo>
                          <a:pt x="147551" y="40561"/>
                        </a:lnTo>
                        <a:lnTo>
                          <a:pt x="146337" y="43120"/>
                        </a:lnTo>
                        <a:lnTo>
                          <a:pt x="142906" y="45019"/>
                        </a:lnTo>
                        <a:lnTo>
                          <a:pt x="142180" y="45883"/>
                        </a:lnTo>
                        <a:lnTo>
                          <a:pt x="144006" y="48132"/>
                        </a:lnTo>
                        <a:lnTo>
                          <a:pt x="144136" y="49550"/>
                        </a:lnTo>
                        <a:lnTo>
                          <a:pt x="143900" y="51514"/>
                        </a:lnTo>
                        <a:lnTo>
                          <a:pt x="144568" y="52615"/>
                        </a:lnTo>
                        <a:lnTo>
                          <a:pt x="149254" y="53788"/>
                        </a:lnTo>
                        <a:lnTo>
                          <a:pt x="159939" y="61840"/>
                        </a:lnTo>
                        <a:lnTo>
                          <a:pt x="161886" y="64081"/>
                        </a:lnTo>
                        <a:lnTo>
                          <a:pt x="163084" y="66869"/>
                        </a:lnTo>
                        <a:lnTo>
                          <a:pt x="163215" y="67822"/>
                        </a:lnTo>
                        <a:lnTo>
                          <a:pt x="161691" y="69371"/>
                        </a:lnTo>
                        <a:lnTo>
                          <a:pt x="160020" y="73755"/>
                        </a:lnTo>
                        <a:lnTo>
                          <a:pt x="159083" y="74749"/>
                        </a:lnTo>
                        <a:lnTo>
                          <a:pt x="154739" y="75605"/>
                        </a:lnTo>
                        <a:lnTo>
                          <a:pt x="146858" y="76379"/>
                        </a:lnTo>
                        <a:lnTo>
                          <a:pt x="139491" y="77879"/>
                        </a:lnTo>
                        <a:lnTo>
                          <a:pt x="131586" y="75947"/>
                        </a:lnTo>
                        <a:lnTo>
                          <a:pt x="123868" y="73022"/>
                        </a:lnTo>
                        <a:lnTo>
                          <a:pt x="121529" y="71106"/>
                        </a:lnTo>
                        <a:lnTo>
                          <a:pt x="119605" y="68776"/>
                        </a:lnTo>
                        <a:lnTo>
                          <a:pt x="119100" y="67863"/>
                        </a:lnTo>
                        <a:lnTo>
                          <a:pt x="118326" y="64114"/>
                        </a:lnTo>
                        <a:lnTo>
                          <a:pt x="117910" y="63315"/>
                        </a:lnTo>
                        <a:lnTo>
                          <a:pt x="114651" y="61213"/>
                        </a:lnTo>
                        <a:lnTo>
                          <a:pt x="111765" y="58042"/>
                        </a:lnTo>
                        <a:lnTo>
                          <a:pt x="106207" y="57773"/>
                        </a:lnTo>
                        <a:lnTo>
                          <a:pt x="93029" y="54554"/>
                        </a:lnTo>
                        <a:lnTo>
                          <a:pt x="87390" y="53780"/>
                        </a:lnTo>
                        <a:lnTo>
                          <a:pt x="81750" y="54008"/>
                        </a:lnTo>
                        <a:lnTo>
                          <a:pt x="73747" y="55304"/>
                        </a:lnTo>
                        <a:lnTo>
                          <a:pt x="72239" y="54962"/>
                        </a:lnTo>
                        <a:lnTo>
                          <a:pt x="70870" y="53992"/>
                        </a:lnTo>
                        <a:lnTo>
                          <a:pt x="69648" y="52419"/>
                        </a:lnTo>
                        <a:lnTo>
                          <a:pt x="69346" y="51262"/>
                        </a:lnTo>
                        <a:lnTo>
                          <a:pt x="70658" y="49224"/>
                        </a:lnTo>
                        <a:lnTo>
                          <a:pt x="47195" y="51783"/>
                        </a:lnTo>
                        <a:lnTo>
                          <a:pt x="40520" y="54750"/>
                        </a:lnTo>
                        <a:lnTo>
                          <a:pt x="31156" y="54285"/>
                        </a:lnTo>
                        <a:lnTo>
                          <a:pt x="26479" y="53030"/>
                        </a:lnTo>
                        <a:lnTo>
                          <a:pt x="20260" y="50194"/>
                        </a:lnTo>
                        <a:lnTo>
                          <a:pt x="17383" y="47725"/>
                        </a:lnTo>
                        <a:lnTo>
                          <a:pt x="14751" y="44392"/>
                        </a:lnTo>
                        <a:lnTo>
                          <a:pt x="14507" y="41865"/>
                        </a:lnTo>
                        <a:lnTo>
                          <a:pt x="16634" y="40170"/>
                        </a:lnTo>
                        <a:lnTo>
                          <a:pt x="18850" y="39151"/>
                        </a:lnTo>
                        <a:lnTo>
                          <a:pt x="21165" y="38825"/>
                        </a:lnTo>
                        <a:lnTo>
                          <a:pt x="33887" y="40814"/>
                        </a:lnTo>
                        <a:lnTo>
                          <a:pt x="45044" y="41816"/>
                        </a:lnTo>
                        <a:lnTo>
                          <a:pt x="49844" y="40806"/>
                        </a:lnTo>
                        <a:lnTo>
                          <a:pt x="52028" y="38100"/>
                        </a:lnTo>
                        <a:lnTo>
                          <a:pt x="49412" y="36641"/>
                        </a:lnTo>
                        <a:lnTo>
                          <a:pt x="38679" y="36054"/>
                        </a:lnTo>
                        <a:lnTo>
                          <a:pt x="40969" y="34620"/>
                        </a:lnTo>
                        <a:lnTo>
                          <a:pt x="50039" y="33161"/>
                        </a:lnTo>
                        <a:lnTo>
                          <a:pt x="54774" y="30977"/>
                        </a:lnTo>
                        <a:lnTo>
                          <a:pt x="53870" y="30203"/>
                        </a:lnTo>
                        <a:lnTo>
                          <a:pt x="51140" y="29331"/>
                        </a:lnTo>
                        <a:lnTo>
                          <a:pt x="38980" y="29584"/>
                        </a:lnTo>
                        <a:lnTo>
                          <a:pt x="34604" y="28720"/>
                        </a:lnTo>
                        <a:lnTo>
                          <a:pt x="34367" y="28002"/>
                        </a:lnTo>
                        <a:lnTo>
                          <a:pt x="35354" y="27090"/>
                        </a:lnTo>
                        <a:lnTo>
                          <a:pt x="42281" y="22632"/>
                        </a:lnTo>
                        <a:lnTo>
                          <a:pt x="41996" y="21825"/>
                        </a:lnTo>
                        <a:lnTo>
                          <a:pt x="39013" y="20366"/>
                        </a:lnTo>
                        <a:lnTo>
                          <a:pt x="36397" y="18459"/>
                        </a:lnTo>
                        <a:lnTo>
                          <a:pt x="35427" y="18247"/>
                        </a:lnTo>
                        <a:lnTo>
                          <a:pt x="29404" y="19942"/>
                        </a:lnTo>
                        <a:lnTo>
                          <a:pt x="20937" y="26478"/>
                        </a:lnTo>
                        <a:lnTo>
                          <a:pt x="18924" y="27432"/>
                        </a:lnTo>
                        <a:lnTo>
                          <a:pt x="16984" y="27375"/>
                        </a:lnTo>
                        <a:lnTo>
                          <a:pt x="15134" y="26324"/>
                        </a:lnTo>
                        <a:lnTo>
                          <a:pt x="15142" y="24954"/>
                        </a:lnTo>
                        <a:lnTo>
                          <a:pt x="17033" y="23259"/>
                        </a:lnTo>
                        <a:lnTo>
                          <a:pt x="20961" y="18190"/>
                        </a:lnTo>
                        <a:lnTo>
                          <a:pt x="20668" y="16373"/>
                        </a:lnTo>
                        <a:lnTo>
                          <a:pt x="16837" y="15175"/>
                        </a:lnTo>
                        <a:lnTo>
                          <a:pt x="6732" y="16071"/>
                        </a:lnTo>
                        <a:lnTo>
                          <a:pt x="1108" y="16104"/>
                        </a:lnTo>
                        <a:lnTo>
                          <a:pt x="236" y="14670"/>
                        </a:lnTo>
                        <a:lnTo>
                          <a:pt x="0" y="11996"/>
                        </a:lnTo>
                        <a:lnTo>
                          <a:pt x="228" y="9478"/>
                        </a:lnTo>
                        <a:lnTo>
                          <a:pt x="1630" y="5526"/>
                        </a:lnTo>
                        <a:lnTo>
                          <a:pt x="3586" y="2510"/>
                        </a:lnTo>
                        <a:lnTo>
                          <a:pt x="4776" y="1443"/>
                        </a:lnTo>
                        <a:lnTo>
                          <a:pt x="18182" y="2070"/>
                        </a:lnTo>
                        <a:lnTo>
                          <a:pt x="40072" y="187"/>
                        </a:lnTo>
                        <a:lnTo>
                          <a:pt x="46470" y="0"/>
                        </a:lnTo>
                        <a:close/>
                      </a:path>
                    </a:pathLst>
                  </a:custGeom>
                  <a:solidFill>
                    <a:srgbClr val="D6D6D2"/>
                  </a:solidFill>
                  <a:ln w="8150" cap="flat">
                    <a:noFill/>
                    <a:prstDash val="solid"/>
                    <a:miter/>
                  </a:ln>
                </p:spPr>
                <p:txBody>
                  <a:bodyPr rtlCol="0" anchor="ctr"/>
                  <a:lstStyle/>
                  <a:p>
                    <a:endParaRPr lang="en-US"/>
                  </a:p>
                </p:txBody>
              </p:sp>
              <p:sp>
                <p:nvSpPr>
                  <p:cNvPr id="515" name="Freeform: Shape 514">
                    <a:extLst>
                      <a:ext uri="{FF2B5EF4-FFF2-40B4-BE49-F238E27FC236}">
                        <a16:creationId xmlns:a16="http://schemas.microsoft.com/office/drawing/2014/main" id="{2912E0C8-8922-4F23-BF01-65B154100B42}"/>
                      </a:ext>
                    </a:extLst>
                  </p:cNvPr>
                  <p:cNvSpPr/>
                  <p:nvPr/>
                </p:nvSpPr>
                <p:spPr>
                  <a:xfrm>
                    <a:off x="3504556" y="1706181"/>
                    <a:ext cx="85653" cy="49754"/>
                  </a:xfrm>
                  <a:custGeom>
                    <a:avLst/>
                    <a:gdLst>
                      <a:gd name="connsiteX0" fmla="*/ 52981 w 85653"/>
                      <a:gd name="connsiteY0" fmla="*/ 13716 h 49754"/>
                      <a:gd name="connsiteX1" fmla="*/ 58841 w 85653"/>
                      <a:gd name="connsiteY1" fmla="*/ 15028 h 49754"/>
                      <a:gd name="connsiteX2" fmla="*/ 68939 w 85653"/>
                      <a:gd name="connsiteY2" fmla="*/ 14449 h 49754"/>
                      <a:gd name="connsiteX3" fmla="*/ 72622 w 85653"/>
                      <a:gd name="connsiteY3" fmla="*/ 15395 h 49754"/>
                      <a:gd name="connsiteX4" fmla="*/ 82084 w 85653"/>
                      <a:gd name="connsiteY4" fmla="*/ 18769 h 49754"/>
                      <a:gd name="connsiteX5" fmla="*/ 84961 w 85653"/>
                      <a:gd name="connsiteY5" fmla="*/ 20741 h 49754"/>
                      <a:gd name="connsiteX6" fmla="*/ 85646 w 85653"/>
                      <a:gd name="connsiteY6" fmla="*/ 22241 h 49754"/>
                      <a:gd name="connsiteX7" fmla="*/ 85654 w 85653"/>
                      <a:gd name="connsiteY7" fmla="*/ 22999 h 49754"/>
                      <a:gd name="connsiteX8" fmla="*/ 82516 w 85653"/>
                      <a:gd name="connsiteY8" fmla="*/ 24628 h 49754"/>
                      <a:gd name="connsiteX9" fmla="*/ 76216 w 85653"/>
                      <a:gd name="connsiteY9" fmla="*/ 27106 h 49754"/>
                      <a:gd name="connsiteX10" fmla="*/ 74692 w 85653"/>
                      <a:gd name="connsiteY10" fmla="*/ 28980 h 49754"/>
                      <a:gd name="connsiteX11" fmla="*/ 80308 w 85653"/>
                      <a:gd name="connsiteY11" fmla="*/ 31319 h 49754"/>
                      <a:gd name="connsiteX12" fmla="*/ 83160 w 85653"/>
                      <a:gd name="connsiteY12" fmla="*/ 33398 h 49754"/>
                      <a:gd name="connsiteX13" fmla="*/ 84448 w 85653"/>
                      <a:gd name="connsiteY13" fmla="*/ 34881 h 49754"/>
                      <a:gd name="connsiteX14" fmla="*/ 84488 w 85653"/>
                      <a:gd name="connsiteY14" fmla="*/ 36405 h 49754"/>
                      <a:gd name="connsiteX15" fmla="*/ 80699 w 85653"/>
                      <a:gd name="connsiteY15" fmla="*/ 40520 h 49754"/>
                      <a:gd name="connsiteX16" fmla="*/ 77920 w 85653"/>
                      <a:gd name="connsiteY16" fmla="*/ 41727 h 49754"/>
                      <a:gd name="connsiteX17" fmla="*/ 73674 w 85653"/>
                      <a:gd name="connsiteY17" fmla="*/ 41596 h 49754"/>
                      <a:gd name="connsiteX18" fmla="*/ 71653 w 85653"/>
                      <a:gd name="connsiteY18" fmla="*/ 41971 h 49754"/>
                      <a:gd name="connsiteX19" fmla="*/ 66217 w 85653"/>
                      <a:gd name="connsiteY19" fmla="*/ 43903 h 49754"/>
                      <a:gd name="connsiteX20" fmla="*/ 57765 w 85653"/>
                      <a:gd name="connsiteY20" fmla="*/ 45728 h 49754"/>
                      <a:gd name="connsiteX21" fmla="*/ 46225 w 85653"/>
                      <a:gd name="connsiteY21" fmla="*/ 46486 h 49754"/>
                      <a:gd name="connsiteX22" fmla="*/ 43104 w 85653"/>
                      <a:gd name="connsiteY22" fmla="*/ 47619 h 49754"/>
                      <a:gd name="connsiteX23" fmla="*/ 37367 w 85653"/>
                      <a:gd name="connsiteY23" fmla="*/ 49469 h 49754"/>
                      <a:gd name="connsiteX24" fmla="*/ 33512 w 85653"/>
                      <a:gd name="connsiteY24" fmla="*/ 49754 h 49754"/>
                      <a:gd name="connsiteX25" fmla="*/ 32248 w 85653"/>
                      <a:gd name="connsiteY25" fmla="*/ 48695 h 49754"/>
                      <a:gd name="connsiteX26" fmla="*/ 31670 w 85653"/>
                      <a:gd name="connsiteY26" fmla="*/ 47130 h 49754"/>
                      <a:gd name="connsiteX27" fmla="*/ 31963 w 85653"/>
                      <a:gd name="connsiteY27" fmla="*/ 46054 h 49754"/>
                      <a:gd name="connsiteX28" fmla="*/ 32778 w 85653"/>
                      <a:gd name="connsiteY28" fmla="*/ 44701 h 49754"/>
                      <a:gd name="connsiteX29" fmla="*/ 30945 w 85653"/>
                      <a:gd name="connsiteY29" fmla="*/ 43446 h 49754"/>
                      <a:gd name="connsiteX30" fmla="*/ 22673 w 85653"/>
                      <a:gd name="connsiteY30" fmla="*/ 41034 h 49754"/>
                      <a:gd name="connsiteX31" fmla="*/ 17856 w 85653"/>
                      <a:gd name="connsiteY31" fmla="*/ 37668 h 49754"/>
                      <a:gd name="connsiteX32" fmla="*/ 17172 w 85653"/>
                      <a:gd name="connsiteY32" fmla="*/ 36600 h 49754"/>
                      <a:gd name="connsiteX33" fmla="*/ 16927 w 85653"/>
                      <a:gd name="connsiteY33" fmla="*/ 35655 h 49754"/>
                      <a:gd name="connsiteX34" fmla="*/ 27636 w 85653"/>
                      <a:gd name="connsiteY34" fmla="*/ 35036 h 49754"/>
                      <a:gd name="connsiteX35" fmla="*/ 32240 w 85653"/>
                      <a:gd name="connsiteY35" fmla="*/ 34351 h 49754"/>
                      <a:gd name="connsiteX36" fmla="*/ 34286 w 85653"/>
                      <a:gd name="connsiteY36" fmla="*/ 33259 h 49754"/>
                      <a:gd name="connsiteX37" fmla="*/ 34628 w 85653"/>
                      <a:gd name="connsiteY37" fmla="*/ 32615 h 49754"/>
                      <a:gd name="connsiteX38" fmla="*/ 32575 w 85653"/>
                      <a:gd name="connsiteY38" fmla="*/ 32346 h 49754"/>
                      <a:gd name="connsiteX39" fmla="*/ 25240 w 85653"/>
                      <a:gd name="connsiteY39" fmla="*/ 30064 h 49754"/>
                      <a:gd name="connsiteX40" fmla="*/ 12942 w 85653"/>
                      <a:gd name="connsiteY40" fmla="*/ 28695 h 49754"/>
                      <a:gd name="connsiteX41" fmla="*/ 12355 w 85653"/>
                      <a:gd name="connsiteY41" fmla="*/ 27122 h 49754"/>
                      <a:gd name="connsiteX42" fmla="*/ 7221 w 85653"/>
                      <a:gd name="connsiteY42" fmla="*/ 23952 h 49754"/>
                      <a:gd name="connsiteX43" fmla="*/ 6732 w 85653"/>
                      <a:gd name="connsiteY43" fmla="*/ 20953 h 49754"/>
                      <a:gd name="connsiteX44" fmla="*/ 5615 w 85653"/>
                      <a:gd name="connsiteY44" fmla="*/ 20122 h 49754"/>
                      <a:gd name="connsiteX45" fmla="*/ 2127 w 85653"/>
                      <a:gd name="connsiteY45" fmla="*/ 18801 h 49754"/>
                      <a:gd name="connsiteX46" fmla="*/ 1614 w 85653"/>
                      <a:gd name="connsiteY46" fmla="*/ 18378 h 49754"/>
                      <a:gd name="connsiteX47" fmla="*/ 579 w 85653"/>
                      <a:gd name="connsiteY47" fmla="*/ 16430 h 49754"/>
                      <a:gd name="connsiteX48" fmla="*/ 424 w 85653"/>
                      <a:gd name="connsiteY48" fmla="*/ 15370 h 49754"/>
                      <a:gd name="connsiteX49" fmla="*/ 628 w 85653"/>
                      <a:gd name="connsiteY49" fmla="*/ 14401 h 49754"/>
                      <a:gd name="connsiteX50" fmla="*/ 6960 w 85653"/>
                      <a:gd name="connsiteY50" fmla="*/ 12363 h 49754"/>
                      <a:gd name="connsiteX51" fmla="*/ 6072 w 85653"/>
                      <a:gd name="connsiteY51" fmla="*/ 10945 h 49754"/>
                      <a:gd name="connsiteX52" fmla="*/ 1263 w 85653"/>
                      <a:gd name="connsiteY52" fmla="*/ 5664 h 49754"/>
                      <a:gd name="connsiteX53" fmla="*/ 0 w 85653"/>
                      <a:gd name="connsiteY53" fmla="*/ 2714 h 49754"/>
                      <a:gd name="connsiteX54" fmla="*/ 204 w 85653"/>
                      <a:gd name="connsiteY54" fmla="*/ 1597 h 49754"/>
                      <a:gd name="connsiteX55" fmla="*/ 3187 w 85653"/>
                      <a:gd name="connsiteY55" fmla="*/ 41 h 49754"/>
                      <a:gd name="connsiteX56" fmla="*/ 7392 w 85653"/>
                      <a:gd name="connsiteY56" fmla="*/ 0 h 49754"/>
                      <a:gd name="connsiteX57" fmla="*/ 18475 w 85653"/>
                      <a:gd name="connsiteY57" fmla="*/ 481 h 49754"/>
                      <a:gd name="connsiteX58" fmla="*/ 23773 w 85653"/>
                      <a:gd name="connsiteY58" fmla="*/ 1133 h 49754"/>
                      <a:gd name="connsiteX59" fmla="*/ 29054 w 85653"/>
                      <a:gd name="connsiteY59" fmla="*/ 2388 h 49754"/>
                      <a:gd name="connsiteX60" fmla="*/ 34848 w 85653"/>
                      <a:gd name="connsiteY60" fmla="*/ 4262 h 49754"/>
                      <a:gd name="connsiteX61" fmla="*/ 43495 w 85653"/>
                      <a:gd name="connsiteY61" fmla="*/ 5925 h 49754"/>
                      <a:gd name="connsiteX62" fmla="*/ 46266 w 85653"/>
                      <a:gd name="connsiteY62" fmla="*/ 7025 h 49754"/>
                      <a:gd name="connsiteX63" fmla="*/ 51482 w 85653"/>
                      <a:gd name="connsiteY63" fmla="*/ 10513 h 49754"/>
                      <a:gd name="connsiteX64" fmla="*/ 52036 w 85653"/>
                      <a:gd name="connsiteY64" fmla="*/ 11622 h 49754"/>
                      <a:gd name="connsiteX65" fmla="*/ 51694 w 85653"/>
                      <a:gd name="connsiteY65" fmla="*/ 12730 h 49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85653" h="49754">
                        <a:moveTo>
                          <a:pt x="52981" y="13716"/>
                        </a:moveTo>
                        <a:lnTo>
                          <a:pt x="58841" y="15028"/>
                        </a:lnTo>
                        <a:lnTo>
                          <a:pt x="68939" y="14449"/>
                        </a:lnTo>
                        <a:lnTo>
                          <a:pt x="72622" y="15395"/>
                        </a:lnTo>
                        <a:lnTo>
                          <a:pt x="82084" y="18769"/>
                        </a:lnTo>
                        <a:lnTo>
                          <a:pt x="84961" y="20741"/>
                        </a:lnTo>
                        <a:lnTo>
                          <a:pt x="85646" y="22241"/>
                        </a:lnTo>
                        <a:lnTo>
                          <a:pt x="85654" y="22999"/>
                        </a:lnTo>
                        <a:lnTo>
                          <a:pt x="82516" y="24628"/>
                        </a:lnTo>
                        <a:lnTo>
                          <a:pt x="76216" y="27106"/>
                        </a:lnTo>
                        <a:lnTo>
                          <a:pt x="74692" y="28980"/>
                        </a:lnTo>
                        <a:lnTo>
                          <a:pt x="80308" y="31319"/>
                        </a:lnTo>
                        <a:lnTo>
                          <a:pt x="83160" y="33398"/>
                        </a:lnTo>
                        <a:lnTo>
                          <a:pt x="84448" y="34881"/>
                        </a:lnTo>
                        <a:lnTo>
                          <a:pt x="84488" y="36405"/>
                        </a:lnTo>
                        <a:lnTo>
                          <a:pt x="80699" y="40520"/>
                        </a:lnTo>
                        <a:lnTo>
                          <a:pt x="77920" y="41727"/>
                        </a:lnTo>
                        <a:lnTo>
                          <a:pt x="73674" y="41596"/>
                        </a:lnTo>
                        <a:lnTo>
                          <a:pt x="71653" y="41971"/>
                        </a:lnTo>
                        <a:lnTo>
                          <a:pt x="66217" y="43903"/>
                        </a:lnTo>
                        <a:lnTo>
                          <a:pt x="57765" y="45728"/>
                        </a:lnTo>
                        <a:lnTo>
                          <a:pt x="46225" y="46486"/>
                        </a:lnTo>
                        <a:lnTo>
                          <a:pt x="43104" y="47619"/>
                        </a:lnTo>
                        <a:lnTo>
                          <a:pt x="37367" y="49469"/>
                        </a:lnTo>
                        <a:lnTo>
                          <a:pt x="33512" y="49754"/>
                        </a:lnTo>
                        <a:lnTo>
                          <a:pt x="32248" y="48695"/>
                        </a:lnTo>
                        <a:lnTo>
                          <a:pt x="31670" y="47130"/>
                        </a:lnTo>
                        <a:lnTo>
                          <a:pt x="31963" y="46054"/>
                        </a:lnTo>
                        <a:lnTo>
                          <a:pt x="32778" y="44701"/>
                        </a:lnTo>
                        <a:lnTo>
                          <a:pt x="30945" y="43446"/>
                        </a:lnTo>
                        <a:lnTo>
                          <a:pt x="22673" y="41034"/>
                        </a:lnTo>
                        <a:lnTo>
                          <a:pt x="17856" y="37668"/>
                        </a:lnTo>
                        <a:lnTo>
                          <a:pt x="17172" y="36600"/>
                        </a:lnTo>
                        <a:lnTo>
                          <a:pt x="16927" y="35655"/>
                        </a:lnTo>
                        <a:lnTo>
                          <a:pt x="27636" y="35036"/>
                        </a:lnTo>
                        <a:lnTo>
                          <a:pt x="32240" y="34351"/>
                        </a:lnTo>
                        <a:lnTo>
                          <a:pt x="34286" y="33259"/>
                        </a:lnTo>
                        <a:lnTo>
                          <a:pt x="34628" y="32615"/>
                        </a:lnTo>
                        <a:lnTo>
                          <a:pt x="32575" y="32346"/>
                        </a:lnTo>
                        <a:lnTo>
                          <a:pt x="25240" y="30064"/>
                        </a:lnTo>
                        <a:lnTo>
                          <a:pt x="12942" y="28695"/>
                        </a:lnTo>
                        <a:lnTo>
                          <a:pt x="12355" y="27122"/>
                        </a:lnTo>
                        <a:lnTo>
                          <a:pt x="7221" y="23952"/>
                        </a:lnTo>
                        <a:lnTo>
                          <a:pt x="6732" y="20953"/>
                        </a:lnTo>
                        <a:lnTo>
                          <a:pt x="5615" y="20122"/>
                        </a:lnTo>
                        <a:lnTo>
                          <a:pt x="2127" y="18801"/>
                        </a:lnTo>
                        <a:lnTo>
                          <a:pt x="1614" y="18378"/>
                        </a:lnTo>
                        <a:lnTo>
                          <a:pt x="579" y="16430"/>
                        </a:lnTo>
                        <a:lnTo>
                          <a:pt x="424" y="15370"/>
                        </a:lnTo>
                        <a:lnTo>
                          <a:pt x="628" y="14401"/>
                        </a:lnTo>
                        <a:lnTo>
                          <a:pt x="6960" y="12363"/>
                        </a:lnTo>
                        <a:lnTo>
                          <a:pt x="6072" y="10945"/>
                        </a:lnTo>
                        <a:lnTo>
                          <a:pt x="1263" y="5664"/>
                        </a:lnTo>
                        <a:lnTo>
                          <a:pt x="0" y="2714"/>
                        </a:lnTo>
                        <a:lnTo>
                          <a:pt x="204" y="1597"/>
                        </a:lnTo>
                        <a:lnTo>
                          <a:pt x="3187" y="41"/>
                        </a:lnTo>
                        <a:lnTo>
                          <a:pt x="7392" y="0"/>
                        </a:lnTo>
                        <a:lnTo>
                          <a:pt x="18475" y="481"/>
                        </a:lnTo>
                        <a:lnTo>
                          <a:pt x="23773" y="1133"/>
                        </a:lnTo>
                        <a:lnTo>
                          <a:pt x="29054" y="2388"/>
                        </a:lnTo>
                        <a:lnTo>
                          <a:pt x="34848" y="4262"/>
                        </a:lnTo>
                        <a:lnTo>
                          <a:pt x="43495" y="5925"/>
                        </a:lnTo>
                        <a:lnTo>
                          <a:pt x="46266" y="7025"/>
                        </a:lnTo>
                        <a:lnTo>
                          <a:pt x="51482" y="10513"/>
                        </a:lnTo>
                        <a:lnTo>
                          <a:pt x="52036" y="11622"/>
                        </a:lnTo>
                        <a:lnTo>
                          <a:pt x="51694" y="12730"/>
                        </a:lnTo>
                        <a:close/>
                      </a:path>
                    </a:pathLst>
                  </a:custGeom>
                  <a:solidFill>
                    <a:srgbClr val="D6D6D2"/>
                  </a:solidFill>
                  <a:ln w="8150" cap="flat">
                    <a:noFill/>
                    <a:prstDash val="solid"/>
                    <a:miter/>
                  </a:ln>
                </p:spPr>
                <p:txBody>
                  <a:bodyPr rtlCol="0" anchor="ctr"/>
                  <a:lstStyle/>
                  <a:p>
                    <a:endParaRPr lang="en-US"/>
                  </a:p>
                </p:txBody>
              </p:sp>
              <p:sp>
                <p:nvSpPr>
                  <p:cNvPr id="516" name="Freeform: Shape 515">
                    <a:extLst>
                      <a:ext uri="{FF2B5EF4-FFF2-40B4-BE49-F238E27FC236}">
                        <a16:creationId xmlns:a16="http://schemas.microsoft.com/office/drawing/2014/main" id="{EA7B8267-3619-4110-B6DB-EE24B84793DB}"/>
                      </a:ext>
                    </a:extLst>
                  </p:cNvPr>
                  <p:cNvSpPr/>
                  <p:nvPr/>
                </p:nvSpPr>
                <p:spPr>
                  <a:xfrm>
                    <a:off x="3215273" y="1712122"/>
                    <a:ext cx="16576" cy="19119"/>
                  </a:xfrm>
                  <a:custGeom>
                    <a:avLst/>
                    <a:gdLst>
                      <a:gd name="connsiteX0" fmla="*/ 4670 w 16576"/>
                      <a:gd name="connsiteY0" fmla="*/ 1817 h 19119"/>
                      <a:gd name="connsiteX1" fmla="*/ 9014 w 16576"/>
                      <a:gd name="connsiteY1" fmla="*/ 4735 h 19119"/>
                      <a:gd name="connsiteX2" fmla="*/ 10497 w 16576"/>
                      <a:gd name="connsiteY2" fmla="*/ 4686 h 19119"/>
                      <a:gd name="connsiteX3" fmla="*/ 12404 w 16576"/>
                      <a:gd name="connsiteY3" fmla="*/ 5224 h 19119"/>
                      <a:gd name="connsiteX4" fmla="*/ 13317 w 16576"/>
                      <a:gd name="connsiteY4" fmla="*/ 5982 h 19119"/>
                      <a:gd name="connsiteX5" fmla="*/ 15925 w 16576"/>
                      <a:gd name="connsiteY5" fmla="*/ 9698 h 19119"/>
                      <a:gd name="connsiteX6" fmla="*/ 16430 w 16576"/>
                      <a:gd name="connsiteY6" fmla="*/ 11532 h 19119"/>
                      <a:gd name="connsiteX7" fmla="*/ 16577 w 16576"/>
                      <a:gd name="connsiteY7" fmla="*/ 13903 h 19119"/>
                      <a:gd name="connsiteX8" fmla="*/ 16177 w 16576"/>
                      <a:gd name="connsiteY8" fmla="*/ 15892 h 19119"/>
                      <a:gd name="connsiteX9" fmla="*/ 15224 w 16576"/>
                      <a:gd name="connsiteY9" fmla="*/ 17489 h 19119"/>
                      <a:gd name="connsiteX10" fmla="*/ 12893 w 16576"/>
                      <a:gd name="connsiteY10" fmla="*/ 18492 h 19119"/>
                      <a:gd name="connsiteX11" fmla="*/ 7327 w 16576"/>
                      <a:gd name="connsiteY11" fmla="*/ 19119 h 19119"/>
                      <a:gd name="connsiteX12" fmla="*/ 16 w 16576"/>
                      <a:gd name="connsiteY12" fmla="*/ 18231 h 19119"/>
                      <a:gd name="connsiteX13" fmla="*/ 0 w 16576"/>
                      <a:gd name="connsiteY13" fmla="*/ 0 h 19119"/>
                      <a:gd name="connsiteX14" fmla="*/ 1573 w 16576"/>
                      <a:gd name="connsiteY14" fmla="*/ 416 h 19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576" h="19119">
                        <a:moveTo>
                          <a:pt x="4670" y="1817"/>
                        </a:moveTo>
                        <a:lnTo>
                          <a:pt x="9014" y="4735"/>
                        </a:lnTo>
                        <a:lnTo>
                          <a:pt x="10497" y="4686"/>
                        </a:lnTo>
                        <a:lnTo>
                          <a:pt x="12404" y="5224"/>
                        </a:lnTo>
                        <a:lnTo>
                          <a:pt x="13317" y="5982"/>
                        </a:lnTo>
                        <a:lnTo>
                          <a:pt x="15925" y="9698"/>
                        </a:lnTo>
                        <a:lnTo>
                          <a:pt x="16430" y="11532"/>
                        </a:lnTo>
                        <a:lnTo>
                          <a:pt x="16577" y="13903"/>
                        </a:lnTo>
                        <a:lnTo>
                          <a:pt x="16177" y="15892"/>
                        </a:lnTo>
                        <a:lnTo>
                          <a:pt x="15224" y="17489"/>
                        </a:lnTo>
                        <a:lnTo>
                          <a:pt x="12893" y="18492"/>
                        </a:lnTo>
                        <a:lnTo>
                          <a:pt x="7327" y="19119"/>
                        </a:lnTo>
                        <a:lnTo>
                          <a:pt x="16" y="18231"/>
                        </a:lnTo>
                        <a:lnTo>
                          <a:pt x="0" y="0"/>
                        </a:lnTo>
                        <a:lnTo>
                          <a:pt x="1573" y="416"/>
                        </a:lnTo>
                        <a:close/>
                      </a:path>
                    </a:pathLst>
                  </a:custGeom>
                  <a:solidFill>
                    <a:srgbClr val="D6D6D2"/>
                  </a:solidFill>
                  <a:ln w="6112" cap="rnd">
                    <a:solidFill>
                      <a:srgbClr val="FFFFFF"/>
                    </a:solidFill>
                    <a:prstDash val="solid"/>
                    <a:round/>
                  </a:ln>
                </p:spPr>
                <p:txBody>
                  <a:bodyPr rtlCol="0" anchor="ctr"/>
                  <a:lstStyle/>
                  <a:p>
                    <a:endParaRPr lang="en-US"/>
                  </a:p>
                </p:txBody>
              </p:sp>
              <p:sp>
                <p:nvSpPr>
                  <p:cNvPr id="517" name="Freeform: Shape 516">
                    <a:extLst>
                      <a:ext uri="{FF2B5EF4-FFF2-40B4-BE49-F238E27FC236}">
                        <a16:creationId xmlns:a16="http://schemas.microsoft.com/office/drawing/2014/main" id="{D1D9D7EC-583E-4777-ACA9-115D854A8BA6}"/>
                      </a:ext>
                    </a:extLst>
                  </p:cNvPr>
                  <p:cNvSpPr/>
                  <p:nvPr/>
                </p:nvSpPr>
                <p:spPr>
                  <a:xfrm>
                    <a:off x="3402016" y="1751306"/>
                    <a:ext cx="36535" cy="10496"/>
                  </a:xfrm>
                  <a:custGeom>
                    <a:avLst/>
                    <a:gdLst>
                      <a:gd name="connsiteX0" fmla="*/ 19380 w 36535"/>
                      <a:gd name="connsiteY0" fmla="*/ 10032 h 10496"/>
                      <a:gd name="connsiteX1" fmla="*/ 15974 w 36535"/>
                      <a:gd name="connsiteY1" fmla="*/ 10497 h 10496"/>
                      <a:gd name="connsiteX2" fmla="*/ 9804 w 36535"/>
                      <a:gd name="connsiteY2" fmla="*/ 10252 h 10496"/>
                      <a:gd name="connsiteX3" fmla="*/ 2412 w 36535"/>
                      <a:gd name="connsiteY3" fmla="*/ 8476 h 10496"/>
                      <a:gd name="connsiteX4" fmla="*/ 416 w 36535"/>
                      <a:gd name="connsiteY4" fmla="*/ 6406 h 10496"/>
                      <a:gd name="connsiteX5" fmla="*/ 0 w 36535"/>
                      <a:gd name="connsiteY5" fmla="*/ 3113 h 10496"/>
                      <a:gd name="connsiteX6" fmla="*/ 90 w 36535"/>
                      <a:gd name="connsiteY6" fmla="*/ 1296 h 10496"/>
                      <a:gd name="connsiteX7" fmla="*/ 676 w 36535"/>
                      <a:gd name="connsiteY7" fmla="*/ 937 h 10496"/>
                      <a:gd name="connsiteX8" fmla="*/ 5257 w 36535"/>
                      <a:gd name="connsiteY8" fmla="*/ 505 h 10496"/>
                      <a:gd name="connsiteX9" fmla="*/ 13822 w 36535"/>
                      <a:gd name="connsiteY9" fmla="*/ 0 h 10496"/>
                      <a:gd name="connsiteX10" fmla="*/ 20725 w 36535"/>
                      <a:gd name="connsiteY10" fmla="*/ 375 h 10496"/>
                      <a:gd name="connsiteX11" fmla="*/ 28597 w 36535"/>
                      <a:gd name="connsiteY11" fmla="*/ 2249 h 10496"/>
                      <a:gd name="connsiteX12" fmla="*/ 31792 w 36535"/>
                      <a:gd name="connsiteY12" fmla="*/ 3455 h 10496"/>
                      <a:gd name="connsiteX13" fmla="*/ 33422 w 36535"/>
                      <a:gd name="connsiteY13" fmla="*/ 4303 h 10496"/>
                      <a:gd name="connsiteX14" fmla="*/ 35443 w 36535"/>
                      <a:gd name="connsiteY14" fmla="*/ 6031 h 10496"/>
                      <a:gd name="connsiteX15" fmla="*/ 36103 w 36535"/>
                      <a:gd name="connsiteY15" fmla="*/ 6781 h 10496"/>
                      <a:gd name="connsiteX16" fmla="*/ 36535 w 36535"/>
                      <a:gd name="connsiteY16" fmla="*/ 8133 h 10496"/>
                      <a:gd name="connsiteX17" fmla="*/ 26723 w 36535"/>
                      <a:gd name="connsiteY17" fmla="*/ 8435 h 10496"/>
                      <a:gd name="connsiteX18" fmla="*/ 22086 w 36535"/>
                      <a:gd name="connsiteY18" fmla="*/ 8965 h 10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535" h="10496">
                        <a:moveTo>
                          <a:pt x="19380" y="10032"/>
                        </a:moveTo>
                        <a:lnTo>
                          <a:pt x="15974" y="10497"/>
                        </a:lnTo>
                        <a:lnTo>
                          <a:pt x="9804" y="10252"/>
                        </a:lnTo>
                        <a:lnTo>
                          <a:pt x="2412" y="8476"/>
                        </a:lnTo>
                        <a:lnTo>
                          <a:pt x="416" y="6406"/>
                        </a:lnTo>
                        <a:lnTo>
                          <a:pt x="0" y="3113"/>
                        </a:lnTo>
                        <a:lnTo>
                          <a:pt x="90" y="1296"/>
                        </a:lnTo>
                        <a:lnTo>
                          <a:pt x="676" y="937"/>
                        </a:lnTo>
                        <a:lnTo>
                          <a:pt x="5257" y="505"/>
                        </a:lnTo>
                        <a:lnTo>
                          <a:pt x="13822" y="0"/>
                        </a:lnTo>
                        <a:lnTo>
                          <a:pt x="20725" y="375"/>
                        </a:lnTo>
                        <a:lnTo>
                          <a:pt x="28597" y="2249"/>
                        </a:lnTo>
                        <a:lnTo>
                          <a:pt x="31792" y="3455"/>
                        </a:lnTo>
                        <a:lnTo>
                          <a:pt x="33422" y="4303"/>
                        </a:lnTo>
                        <a:lnTo>
                          <a:pt x="35443" y="6031"/>
                        </a:lnTo>
                        <a:lnTo>
                          <a:pt x="36103" y="6781"/>
                        </a:lnTo>
                        <a:lnTo>
                          <a:pt x="36535" y="8133"/>
                        </a:lnTo>
                        <a:lnTo>
                          <a:pt x="26723" y="8435"/>
                        </a:lnTo>
                        <a:lnTo>
                          <a:pt x="22086" y="8965"/>
                        </a:lnTo>
                        <a:close/>
                      </a:path>
                    </a:pathLst>
                  </a:custGeom>
                  <a:solidFill>
                    <a:srgbClr val="D6D6D2"/>
                  </a:solidFill>
                  <a:ln w="8150" cap="flat">
                    <a:noFill/>
                    <a:prstDash val="solid"/>
                    <a:miter/>
                  </a:ln>
                </p:spPr>
                <p:txBody>
                  <a:bodyPr rtlCol="0" anchor="ctr"/>
                  <a:lstStyle/>
                  <a:p>
                    <a:endParaRPr lang="en-US"/>
                  </a:p>
                </p:txBody>
              </p:sp>
              <p:sp>
                <p:nvSpPr>
                  <p:cNvPr id="518" name="Freeform: Shape 517">
                    <a:extLst>
                      <a:ext uri="{FF2B5EF4-FFF2-40B4-BE49-F238E27FC236}">
                        <a16:creationId xmlns:a16="http://schemas.microsoft.com/office/drawing/2014/main" id="{849C78D3-B81B-4823-80CD-E89F709EDD3A}"/>
                      </a:ext>
                    </a:extLst>
                  </p:cNvPr>
                  <p:cNvSpPr/>
                  <p:nvPr/>
                </p:nvSpPr>
                <p:spPr>
                  <a:xfrm>
                    <a:off x="3555752" y="1756627"/>
                    <a:ext cx="78074" cy="16755"/>
                  </a:xfrm>
                  <a:custGeom>
                    <a:avLst/>
                    <a:gdLst>
                      <a:gd name="connsiteX0" fmla="*/ 19649 w 78074"/>
                      <a:gd name="connsiteY0" fmla="*/ 0 h 16755"/>
                      <a:gd name="connsiteX1" fmla="*/ 25884 w 78074"/>
                      <a:gd name="connsiteY1" fmla="*/ 1891 h 16755"/>
                      <a:gd name="connsiteX2" fmla="*/ 32656 w 78074"/>
                      <a:gd name="connsiteY2" fmla="*/ 888 h 16755"/>
                      <a:gd name="connsiteX3" fmla="*/ 39926 w 78074"/>
                      <a:gd name="connsiteY3" fmla="*/ 774 h 16755"/>
                      <a:gd name="connsiteX4" fmla="*/ 56103 w 78074"/>
                      <a:gd name="connsiteY4" fmla="*/ 1589 h 16755"/>
                      <a:gd name="connsiteX5" fmla="*/ 66803 w 78074"/>
                      <a:gd name="connsiteY5" fmla="*/ 1051 h 16755"/>
                      <a:gd name="connsiteX6" fmla="*/ 69582 w 78074"/>
                      <a:gd name="connsiteY6" fmla="*/ 1369 h 16755"/>
                      <a:gd name="connsiteX7" fmla="*/ 73804 w 78074"/>
                      <a:gd name="connsiteY7" fmla="*/ 2583 h 16755"/>
                      <a:gd name="connsiteX8" fmla="*/ 76037 w 78074"/>
                      <a:gd name="connsiteY8" fmla="*/ 4042 h 16755"/>
                      <a:gd name="connsiteX9" fmla="*/ 78074 w 78074"/>
                      <a:gd name="connsiteY9" fmla="*/ 6512 h 16755"/>
                      <a:gd name="connsiteX10" fmla="*/ 72859 w 78074"/>
                      <a:gd name="connsiteY10" fmla="*/ 8019 h 16755"/>
                      <a:gd name="connsiteX11" fmla="*/ 68384 w 78074"/>
                      <a:gd name="connsiteY11" fmla="*/ 15672 h 16755"/>
                      <a:gd name="connsiteX12" fmla="*/ 67773 w 78074"/>
                      <a:gd name="connsiteY12" fmla="*/ 16047 h 16755"/>
                      <a:gd name="connsiteX13" fmla="*/ 62908 w 78074"/>
                      <a:gd name="connsiteY13" fmla="*/ 16153 h 16755"/>
                      <a:gd name="connsiteX14" fmla="*/ 60528 w 78074"/>
                      <a:gd name="connsiteY14" fmla="*/ 16756 h 16755"/>
                      <a:gd name="connsiteX15" fmla="*/ 46323 w 78074"/>
                      <a:gd name="connsiteY15" fmla="*/ 15672 h 16755"/>
                      <a:gd name="connsiteX16" fmla="*/ 7180 w 78074"/>
                      <a:gd name="connsiteY16" fmla="*/ 15191 h 16755"/>
                      <a:gd name="connsiteX17" fmla="*/ 5469 w 78074"/>
                      <a:gd name="connsiteY17" fmla="*/ 14229 h 16755"/>
                      <a:gd name="connsiteX18" fmla="*/ 318 w 78074"/>
                      <a:gd name="connsiteY18" fmla="*/ 9755 h 16755"/>
                      <a:gd name="connsiteX19" fmla="*/ 0 w 78074"/>
                      <a:gd name="connsiteY19" fmla="*/ 7970 h 16755"/>
                      <a:gd name="connsiteX20" fmla="*/ 929 w 78074"/>
                      <a:gd name="connsiteY20" fmla="*/ 5900 h 16755"/>
                      <a:gd name="connsiteX21" fmla="*/ 2029 w 78074"/>
                      <a:gd name="connsiteY21" fmla="*/ 4523 h 16755"/>
                      <a:gd name="connsiteX22" fmla="*/ 3317 w 78074"/>
                      <a:gd name="connsiteY22" fmla="*/ 3839 h 16755"/>
                      <a:gd name="connsiteX23" fmla="*/ 14694 w 78074"/>
                      <a:gd name="connsiteY23" fmla="*/ 489 h 1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074" h="16755">
                        <a:moveTo>
                          <a:pt x="19649" y="0"/>
                        </a:moveTo>
                        <a:lnTo>
                          <a:pt x="25884" y="1891"/>
                        </a:lnTo>
                        <a:lnTo>
                          <a:pt x="32656" y="888"/>
                        </a:lnTo>
                        <a:lnTo>
                          <a:pt x="39926" y="774"/>
                        </a:lnTo>
                        <a:lnTo>
                          <a:pt x="56103" y="1589"/>
                        </a:lnTo>
                        <a:lnTo>
                          <a:pt x="66803" y="1051"/>
                        </a:lnTo>
                        <a:lnTo>
                          <a:pt x="69582" y="1369"/>
                        </a:lnTo>
                        <a:lnTo>
                          <a:pt x="73804" y="2583"/>
                        </a:lnTo>
                        <a:lnTo>
                          <a:pt x="76037" y="4042"/>
                        </a:lnTo>
                        <a:lnTo>
                          <a:pt x="78074" y="6512"/>
                        </a:lnTo>
                        <a:lnTo>
                          <a:pt x="72859" y="8019"/>
                        </a:lnTo>
                        <a:lnTo>
                          <a:pt x="68384" y="15672"/>
                        </a:lnTo>
                        <a:lnTo>
                          <a:pt x="67773" y="16047"/>
                        </a:lnTo>
                        <a:lnTo>
                          <a:pt x="62908" y="16153"/>
                        </a:lnTo>
                        <a:lnTo>
                          <a:pt x="60528" y="16756"/>
                        </a:lnTo>
                        <a:lnTo>
                          <a:pt x="46323" y="15672"/>
                        </a:lnTo>
                        <a:lnTo>
                          <a:pt x="7180" y="15191"/>
                        </a:lnTo>
                        <a:lnTo>
                          <a:pt x="5469" y="14229"/>
                        </a:lnTo>
                        <a:lnTo>
                          <a:pt x="318" y="9755"/>
                        </a:lnTo>
                        <a:lnTo>
                          <a:pt x="0" y="7970"/>
                        </a:lnTo>
                        <a:lnTo>
                          <a:pt x="929" y="5900"/>
                        </a:lnTo>
                        <a:lnTo>
                          <a:pt x="2029" y="4523"/>
                        </a:lnTo>
                        <a:lnTo>
                          <a:pt x="3317" y="3839"/>
                        </a:lnTo>
                        <a:lnTo>
                          <a:pt x="14694" y="489"/>
                        </a:lnTo>
                        <a:close/>
                      </a:path>
                    </a:pathLst>
                  </a:custGeom>
                  <a:solidFill>
                    <a:srgbClr val="D6D6D2"/>
                  </a:solidFill>
                  <a:ln w="8150" cap="flat">
                    <a:noFill/>
                    <a:prstDash val="solid"/>
                    <a:miter/>
                  </a:ln>
                </p:spPr>
                <p:txBody>
                  <a:bodyPr rtlCol="0" anchor="ctr"/>
                  <a:lstStyle/>
                  <a:p>
                    <a:endParaRPr lang="en-US"/>
                  </a:p>
                </p:txBody>
              </p:sp>
              <p:sp>
                <p:nvSpPr>
                  <p:cNvPr id="519" name="Freeform: Shape 518">
                    <a:extLst>
                      <a:ext uri="{FF2B5EF4-FFF2-40B4-BE49-F238E27FC236}">
                        <a16:creationId xmlns:a16="http://schemas.microsoft.com/office/drawing/2014/main" id="{C0335C31-5C66-4E9F-990A-D7F778B58D62}"/>
                      </a:ext>
                    </a:extLst>
                  </p:cNvPr>
                  <p:cNvSpPr/>
                  <p:nvPr/>
                </p:nvSpPr>
                <p:spPr>
                  <a:xfrm>
                    <a:off x="3312947" y="1758486"/>
                    <a:ext cx="39990" cy="31009"/>
                  </a:xfrm>
                  <a:custGeom>
                    <a:avLst/>
                    <a:gdLst>
                      <a:gd name="connsiteX0" fmla="*/ 37407 w 39990"/>
                      <a:gd name="connsiteY0" fmla="*/ 30138 h 31009"/>
                      <a:gd name="connsiteX1" fmla="*/ 33601 w 39990"/>
                      <a:gd name="connsiteY1" fmla="*/ 31010 h 31009"/>
                      <a:gd name="connsiteX2" fmla="*/ 26063 w 39990"/>
                      <a:gd name="connsiteY2" fmla="*/ 29021 h 31009"/>
                      <a:gd name="connsiteX3" fmla="*/ 21116 w 39990"/>
                      <a:gd name="connsiteY3" fmla="*/ 28157 h 31009"/>
                      <a:gd name="connsiteX4" fmla="*/ 17017 w 39990"/>
                      <a:gd name="connsiteY4" fmla="*/ 24620 h 31009"/>
                      <a:gd name="connsiteX5" fmla="*/ 12648 w 39990"/>
                      <a:gd name="connsiteY5" fmla="*/ 19796 h 31009"/>
                      <a:gd name="connsiteX6" fmla="*/ 9209 w 39990"/>
                      <a:gd name="connsiteY6" fmla="*/ 14449 h 31009"/>
                      <a:gd name="connsiteX7" fmla="*/ 7913 w 39990"/>
                      <a:gd name="connsiteY7" fmla="*/ 11304 h 31009"/>
                      <a:gd name="connsiteX8" fmla="*/ 5411 w 39990"/>
                      <a:gd name="connsiteY8" fmla="*/ 9421 h 31009"/>
                      <a:gd name="connsiteX9" fmla="*/ 4539 w 39990"/>
                      <a:gd name="connsiteY9" fmla="*/ 6308 h 31009"/>
                      <a:gd name="connsiteX10" fmla="*/ 0 w 39990"/>
                      <a:gd name="connsiteY10" fmla="*/ 1434 h 31009"/>
                      <a:gd name="connsiteX11" fmla="*/ 758 w 39990"/>
                      <a:gd name="connsiteY11" fmla="*/ 725 h 31009"/>
                      <a:gd name="connsiteX12" fmla="*/ 5037 w 39990"/>
                      <a:gd name="connsiteY12" fmla="*/ 0 h 31009"/>
                      <a:gd name="connsiteX13" fmla="*/ 11866 w 39990"/>
                      <a:gd name="connsiteY13" fmla="*/ 913 h 31009"/>
                      <a:gd name="connsiteX14" fmla="*/ 15134 w 39990"/>
                      <a:gd name="connsiteY14" fmla="*/ 2641 h 31009"/>
                      <a:gd name="connsiteX15" fmla="*/ 19258 w 39990"/>
                      <a:gd name="connsiteY15" fmla="*/ 5542 h 31009"/>
                      <a:gd name="connsiteX16" fmla="*/ 24612 w 39990"/>
                      <a:gd name="connsiteY16" fmla="*/ 10171 h 31009"/>
                      <a:gd name="connsiteX17" fmla="*/ 26267 w 39990"/>
                      <a:gd name="connsiteY17" fmla="*/ 12216 h 31009"/>
                      <a:gd name="connsiteX18" fmla="*/ 26584 w 39990"/>
                      <a:gd name="connsiteY18" fmla="*/ 15028 h 31009"/>
                      <a:gd name="connsiteX19" fmla="*/ 27554 w 39990"/>
                      <a:gd name="connsiteY19" fmla="*/ 16544 h 31009"/>
                      <a:gd name="connsiteX20" fmla="*/ 32143 w 39990"/>
                      <a:gd name="connsiteY20" fmla="*/ 16813 h 31009"/>
                      <a:gd name="connsiteX21" fmla="*/ 37798 w 39990"/>
                      <a:gd name="connsiteY21" fmla="*/ 20521 h 31009"/>
                      <a:gd name="connsiteX22" fmla="*/ 38825 w 39990"/>
                      <a:gd name="connsiteY22" fmla="*/ 21964 h 31009"/>
                      <a:gd name="connsiteX23" fmla="*/ 39991 w 39990"/>
                      <a:gd name="connsiteY23" fmla="*/ 24881 h 31009"/>
                      <a:gd name="connsiteX24" fmla="*/ 39917 w 39990"/>
                      <a:gd name="connsiteY24" fmla="*/ 26258 h 31009"/>
                      <a:gd name="connsiteX25" fmla="*/ 39013 w 39990"/>
                      <a:gd name="connsiteY25" fmla="*/ 29127 h 3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990" h="31009">
                        <a:moveTo>
                          <a:pt x="37407" y="30138"/>
                        </a:moveTo>
                        <a:lnTo>
                          <a:pt x="33601" y="31010"/>
                        </a:lnTo>
                        <a:lnTo>
                          <a:pt x="26063" y="29021"/>
                        </a:lnTo>
                        <a:lnTo>
                          <a:pt x="21116" y="28157"/>
                        </a:lnTo>
                        <a:lnTo>
                          <a:pt x="17017" y="24620"/>
                        </a:lnTo>
                        <a:lnTo>
                          <a:pt x="12648" y="19796"/>
                        </a:lnTo>
                        <a:lnTo>
                          <a:pt x="9209" y="14449"/>
                        </a:lnTo>
                        <a:lnTo>
                          <a:pt x="7913" y="11304"/>
                        </a:lnTo>
                        <a:lnTo>
                          <a:pt x="5411" y="9421"/>
                        </a:lnTo>
                        <a:lnTo>
                          <a:pt x="4539" y="6308"/>
                        </a:lnTo>
                        <a:lnTo>
                          <a:pt x="0" y="1434"/>
                        </a:lnTo>
                        <a:lnTo>
                          <a:pt x="758" y="725"/>
                        </a:lnTo>
                        <a:lnTo>
                          <a:pt x="5037" y="0"/>
                        </a:lnTo>
                        <a:lnTo>
                          <a:pt x="11866" y="913"/>
                        </a:lnTo>
                        <a:lnTo>
                          <a:pt x="15134" y="2641"/>
                        </a:lnTo>
                        <a:lnTo>
                          <a:pt x="19258" y="5542"/>
                        </a:lnTo>
                        <a:lnTo>
                          <a:pt x="24612" y="10171"/>
                        </a:lnTo>
                        <a:lnTo>
                          <a:pt x="26267" y="12216"/>
                        </a:lnTo>
                        <a:lnTo>
                          <a:pt x="26584" y="15028"/>
                        </a:lnTo>
                        <a:lnTo>
                          <a:pt x="27554" y="16544"/>
                        </a:lnTo>
                        <a:lnTo>
                          <a:pt x="32143" y="16813"/>
                        </a:lnTo>
                        <a:lnTo>
                          <a:pt x="37798" y="20521"/>
                        </a:lnTo>
                        <a:lnTo>
                          <a:pt x="38825" y="21964"/>
                        </a:lnTo>
                        <a:lnTo>
                          <a:pt x="39991" y="24881"/>
                        </a:lnTo>
                        <a:lnTo>
                          <a:pt x="39917" y="26258"/>
                        </a:lnTo>
                        <a:lnTo>
                          <a:pt x="39013" y="29127"/>
                        </a:lnTo>
                        <a:close/>
                      </a:path>
                    </a:pathLst>
                  </a:custGeom>
                  <a:solidFill>
                    <a:srgbClr val="D6D6D2"/>
                  </a:solidFill>
                  <a:ln w="8150" cap="flat">
                    <a:noFill/>
                    <a:prstDash val="solid"/>
                    <a:miter/>
                  </a:ln>
                </p:spPr>
                <p:txBody>
                  <a:bodyPr rtlCol="0" anchor="ctr"/>
                  <a:lstStyle/>
                  <a:p>
                    <a:endParaRPr lang="en-US"/>
                  </a:p>
                </p:txBody>
              </p:sp>
              <p:sp>
                <p:nvSpPr>
                  <p:cNvPr id="520" name="Freeform: Shape 519">
                    <a:extLst>
                      <a:ext uri="{FF2B5EF4-FFF2-40B4-BE49-F238E27FC236}">
                        <a16:creationId xmlns:a16="http://schemas.microsoft.com/office/drawing/2014/main" id="{9A388E89-22CA-46F1-A6DA-BCF56A847541}"/>
                      </a:ext>
                    </a:extLst>
                  </p:cNvPr>
                  <p:cNvSpPr/>
                  <p:nvPr/>
                </p:nvSpPr>
                <p:spPr>
                  <a:xfrm>
                    <a:off x="3682032" y="1763400"/>
                    <a:ext cx="36975" cy="21857"/>
                  </a:xfrm>
                  <a:custGeom>
                    <a:avLst/>
                    <a:gdLst>
                      <a:gd name="connsiteX0" fmla="*/ 33528 w 36975"/>
                      <a:gd name="connsiteY0" fmla="*/ 19054 h 21857"/>
                      <a:gd name="connsiteX1" fmla="*/ 27041 w 36975"/>
                      <a:gd name="connsiteY1" fmla="*/ 21858 h 21857"/>
                      <a:gd name="connsiteX2" fmla="*/ 23732 w 36975"/>
                      <a:gd name="connsiteY2" fmla="*/ 21760 h 21857"/>
                      <a:gd name="connsiteX3" fmla="*/ 4759 w 36975"/>
                      <a:gd name="connsiteY3" fmla="*/ 16014 h 21857"/>
                      <a:gd name="connsiteX4" fmla="*/ 937 w 36975"/>
                      <a:gd name="connsiteY4" fmla="*/ 13178 h 21857"/>
                      <a:gd name="connsiteX5" fmla="*/ 212 w 36975"/>
                      <a:gd name="connsiteY5" fmla="*/ 11263 h 21857"/>
                      <a:gd name="connsiteX6" fmla="*/ 0 w 36975"/>
                      <a:gd name="connsiteY6" fmla="*/ 8541 h 21857"/>
                      <a:gd name="connsiteX7" fmla="*/ 65 w 36975"/>
                      <a:gd name="connsiteY7" fmla="*/ 4816 h 21857"/>
                      <a:gd name="connsiteX8" fmla="*/ 880 w 36975"/>
                      <a:gd name="connsiteY8" fmla="*/ 2306 h 21857"/>
                      <a:gd name="connsiteX9" fmla="*/ 1882 w 36975"/>
                      <a:gd name="connsiteY9" fmla="*/ 1443 h 21857"/>
                      <a:gd name="connsiteX10" fmla="*/ 4116 w 36975"/>
                      <a:gd name="connsiteY10" fmla="*/ 546 h 21857"/>
                      <a:gd name="connsiteX11" fmla="*/ 8500 w 36975"/>
                      <a:gd name="connsiteY11" fmla="*/ 0 h 21857"/>
                      <a:gd name="connsiteX12" fmla="*/ 12657 w 36975"/>
                      <a:gd name="connsiteY12" fmla="*/ 310 h 21857"/>
                      <a:gd name="connsiteX13" fmla="*/ 18907 w 36975"/>
                      <a:gd name="connsiteY13" fmla="*/ 1304 h 21857"/>
                      <a:gd name="connsiteX14" fmla="*/ 25126 w 36975"/>
                      <a:gd name="connsiteY14" fmla="*/ 2966 h 21857"/>
                      <a:gd name="connsiteX15" fmla="*/ 33389 w 36975"/>
                      <a:gd name="connsiteY15" fmla="*/ 8060 h 21857"/>
                      <a:gd name="connsiteX16" fmla="*/ 36348 w 36975"/>
                      <a:gd name="connsiteY16" fmla="*/ 10481 h 21857"/>
                      <a:gd name="connsiteX17" fmla="*/ 36975 w 36975"/>
                      <a:gd name="connsiteY17" fmla="*/ 13626 h 21857"/>
                      <a:gd name="connsiteX18" fmla="*/ 36967 w 36975"/>
                      <a:gd name="connsiteY18" fmla="*/ 15558 h 21857"/>
                      <a:gd name="connsiteX19" fmla="*/ 36535 w 36975"/>
                      <a:gd name="connsiteY19" fmla="*/ 16951 h 21857"/>
                      <a:gd name="connsiteX20" fmla="*/ 35671 w 36975"/>
                      <a:gd name="connsiteY20" fmla="*/ 17832 h 21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975" h="21857">
                        <a:moveTo>
                          <a:pt x="33528" y="19054"/>
                        </a:moveTo>
                        <a:lnTo>
                          <a:pt x="27041" y="21858"/>
                        </a:lnTo>
                        <a:lnTo>
                          <a:pt x="23732" y="21760"/>
                        </a:lnTo>
                        <a:lnTo>
                          <a:pt x="4759" y="16014"/>
                        </a:lnTo>
                        <a:lnTo>
                          <a:pt x="937" y="13178"/>
                        </a:lnTo>
                        <a:lnTo>
                          <a:pt x="212" y="11263"/>
                        </a:lnTo>
                        <a:lnTo>
                          <a:pt x="0" y="8541"/>
                        </a:lnTo>
                        <a:lnTo>
                          <a:pt x="65" y="4816"/>
                        </a:lnTo>
                        <a:lnTo>
                          <a:pt x="880" y="2306"/>
                        </a:lnTo>
                        <a:lnTo>
                          <a:pt x="1882" y="1443"/>
                        </a:lnTo>
                        <a:lnTo>
                          <a:pt x="4116" y="546"/>
                        </a:lnTo>
                        <a:lnTo>
                          <a:pt x="8500" y="0"/>
                        </a:lnTo>
                        <a:lnTo>
                          <a:pt x="12657" y="310"/>
                        </a:lnTo>
                        <a:lnTo>
                          <a:pt x="18907" y="1304"/>
                        </a:lnTo>
                        <a:lnTo>
                          <a:pt x="25126" y="2966"/>
                        </a:lnTo>
                        <a:lnTo>
                          <a:pt x="33389" y="8060"/>
                        </a:lnTo>
                        <a:lnTo>
                          <a:pt x="36348" y="10481"/>
                        </a:lnTo>
                        <a:lnTo>
                          <a:pt x="36975" y="13626"/>
                        </a:lnTo>
                        <a:lnTo>
                          <a:pt x="36967" y="15558"/>
                        </a:lnTo>
                        <a:lnTo>
                          <a:pt x="36535" y="16951"/>
                        </a:lnTo>
                        <a:lnTo>
                          <a:pt x="35671" y="17832"/>
                        </a:lnTo>
                        <a:close/>
                      </a:path>
                    </a:pathLst>
                  </a:custGeom>
                  <a:solidFill>
                    <a:srgbClr val="D6D6D2"/>
                  </a:solidFill>
                  <a:ln w="8150" cap="flat">
                    <a:noFill/>
                    <a:prstDash val="solid"/>
                    <a:miter/>
                  </a:ln>
                </p:spPr>
                <p:txBody>
                  <a:bodyPr rtlCol="0" anchor="ctr"/>
                  <a:lstStyle/>
                  <a:p>
                    <a:endParaRPr lang="en-US"/>
                  </a:p>
                </p:txBody>
              </p:sp>
              <p:sp>
                <p:nvSpPr>
                  <p:cNvPr id="521" name="Freeform: Shape 520">
                    <a:extLst>
                      <a:ext uri="{FF2B5EF4-FFF2-40B4-BE49-F238E27FC236}">
                        <a16:creationId xmlns:a16="http://schemas.microsoft.com/office/drawing/2014/main" id="{3C1E32D6-4E1F-4280-B8D9-A9F1A1A866AE}"/>
                      </a:ext>
                    </a:extLst>
                  </p:cNvPr>
                  <p:cNvSpPr/>
                  <p:nvPr/>
                </p:nvSpPr>
                <p:spPr>
                  <a:xfrm>
                    <a:off x="3540341" y="1792323"/>
                    <a:ext cx="433956" cy="124772"/>
                  </a:xfrm>
                  <a:custGeom>
                    <a:avLst/>
                    <a:gdLst>
                      <a:gd name="connsiteX0" fmla="*/ 64562 w 433956"/>
                      <a:gd name="connsiteY0" fmla="*/ 7506 h 124772"/>
                      <a:gd name="connsiteX1" fmla="*/ 69199 w 433956"/>
                      <a:gd name="connsiteY1" fmla="*/ 7938 h 124772"/>
                      <a:gd name="connsiteX2" fmla="*/ 73168 w 433956"/>
                      <a:gd name="connsiteY2" fmla="*/ 7286 h 124772"/>
                      <a:gd name="connsiteX3" fmla="*/ 76567 w 433956"/>
                      <a:gd name="connsiteY3" fmla="*/ 7424 h 124772"/>
                      <a:gd name="connsiteX4" fmla="*/ 81587 w 433956"/>
                      <a:gd name="connsiteY4" fmla="*/ 9397 h 124772"/>
                      <a:gd name="connsiteX5" fmla="*/ 86240 w 433956"/>
                      <a:gd name="connsiteY5" fmla="*/ 12404 h 124772"/>
                      <a:gd name="connsiteX6" fmla="*/ 89818 w 433956"/>
                      <a:gd name="connsiteY6" fmla="*/ 13773 h 124772"/>
                      <a:gd name="connsiteX7" fmla="*/ 90976 w 433956"/>
                      <a:gd name="connsiteY7" fmla="*/ 14449 h 124772"/>
                      <a:gd name="connsiteX8" fmla="*/ 91424 w 433956"/>
                      <a:gd name="connsiteY8" fmla="*/ 15207 h 124772"/>
                      <a:gd name="connsiteX9" fmla="*/ 91986 w 433956"/>
                      <a:gd name="connsiteY9" fmla="*/ 17481 h 124772"/>
                      <a:gd name="connsiteX10" fmla="*/ 91970 w 433956"/>
                      <a:gd name="connsiteY10" fmla="*/ 18533 h 124772"/>
                      <a:gd name="connsiteX11" fmla="*/ 91701 w 433956"/>
                      <a:gd name="connsiteY11" fmla="*/ 19372 h 124772"/>
                      <a:gd name="connsiteX12" fmla="*/ 90136 w 433956"/>
                      <a:gd name="connsiteY12" fmla="*/ 21442 h 124772"/>
                      <a:gd name="connsiteX13" fmla="*/ 88824 w 433956"/>
                      <a:gd name="connsiteY13" fmla="*/ 24017 h 124772"/>
                      <a:gd name="connsiteX14" fmla="*/ 86110 w 433956"/>
                      <a:gd name="connsiteY14" fmla="*/ 26275 h 124772"/>
                      <a:gd name="connsiteX15" fmla="*/ 84659 w 433956"/>
                      <a:gd name="connsiteY15" fmla="*/ 27978 h 124772"/>
                      <a:gd name="connsiteX16" fmla="*/ 83413 w 433956"/>
                      <a:gd name="connsiteY16" fmla="*/ 30130 h 124772"/>
                      <a:gd name="connsiteX17" fmla="*/ 86216 w 433956"/>
                      <a:gd name="connsiteY17" fmla="*/ 28842 h 124772"/>
                      <a:gd name="connsiteX18" fmla="*/ 96794 w 433956"/>
                      <a:gd name="connsiteY18" fmla="*/ 21743 h 124772"/>
                      <a:gd name="connsiteX19" fmla="*/ 103713 w 433956"/>
                      <a:gd name="connsiteY19" fmla="*/ 22591 h 124772"/>
                      <a:gd name="connsiteX20" fmla="*/ 114113 w 433956"/>
                      <a:gd name="connsiteY20" fmla="*/ 21955 h 124772"/>
                      <a:gd name="connsiteX21" fmla="*/ 126696 w 433956"/>
                      <a:gd name="connsiteY21" fmla="*/ 19046 h 124772"/>
                      <a:gd name="connsiteX22" fmla="*/ 132678 w 433956"/>
                      <a:gd name="connsiteY22" fmla="*/ 18598 h 124772"/>
                      <a:gd name="connsiteX23" fmla="*/ 138717 w 433956"/>
                      <a:gd name="connsiteY23" fmla="*/ 18801 h 124772"/>
                      <a:gd name="connsiteX24" fmla="*/ 143199 w 433956"/>
                      <a:gd name="connsiteY24" fmla="*/ 19731 h 124772"/>
                      <a:gd name="connsiteX25" fmla="*/ 152767 w 433956"/>
                      <a:gd name="connsiteY25" fmla="*/ 23642 h 124772"/>
                      <a:gd name="connsiteX26" fmla="*/ 156084 w 433956"/>
                      <a:gd name="connsiteY26" fmla="*/ 25501 h 124772"/>
                      <a:gd name="connsiteX27" fmla="*/ 157331 w 433956"/>
                      <a:gd name="connsiteY27" fmla="*/ 26821 h 124772"/>
                      <a:gd name="connsiteX28" fmla="*/ 157624 w 433956"/>
                      <a:gd name="connsiteY28" fmla="*/ 27799 h 124772"/>
                      <a:gd name="connsiteX29" fmla="*/ 155668 w 433956"/>
                      <a:gd name="connsiteY29" fmla="*/ 29306 h 124772"/>
                      <a:gd name="connsiteX30" fmla="*/ 149653 w 433956"/>
                      <a:gd name="connsiteY30" fmla="*/ 28386 h 124772"/>
                      <a:gd name="connsiteX31" fmla="*/ 139760 w 433956"/>
                      <a:gd name="connsiteY31" fmla="*/ 27587 h 124772"/>
                      <a:gd name="connsiteX32" fmla="*/ 137950 w 433956"/>
                      <a:gd name="connsiteY32" fmla="*/ 27082 h 124772"/>
                      <a:gd name="connsiteX33" fmla="*/ 136410 w 433956"/>
                      <a:gd name="connsiteY33" fmla="*/ 27114 h 124772"/>
                      <a:gd name="connsiteX34" fmla="*/ 135285 w 433956"/>
                      <a:gd name="connsiteY34" fmla="*/ 27668 h 124772"/>
                      <a:gd name="connsiteX35" fmla="*/ 135986 w 433956"/>
                      <a:gd name="connsiteY35" fmla="*/ 29738 h 124772"/>
                      <a:gd name="connsiteX36" fmla="*/ 137999 w 433956"/>
                      <a:gd name="connsiteY36" fmla="*/ 30187 h 124772"/>
                      <a:gd name="connsiteX37" fmla="*/ 149882 w 433956"/>
                      <a:gd name="connsiteY37" fmla="*/ 30635 h 124772"/>
                      <a:gd name="connsiteX38" fmla="*/ 188829 w 433956"/>
                      <a:gd name="connsiteY38" fmla="*/ 37212 h 124772"/>
                      <a:gd name="connsiteX39" fmla="*/ 190451 w 433956"/>
                      <a:gd name="connsiteY39" fmla="*/ 39306 h 124772"/>
                      <a:gd name="connsiteX40" fmla="*/ 190019 w 433956"/>
                      <a:gd name="connsiteY40" fmla="*/ 40235 h 124772"/>
                      <a:gd name="connsiteX41" fmla="*/ 188642 w 433956"/>
                      <a:gd name="connsiteY41" fmla="*/ 41270 h 124772"/>
                      <a:gd name="connsiteX42" fmla="*/ 185798 w 433956"/>
                      <a:gd name="connsiteY42" fmla="*/ 42648 h 124772"/>
                      <a:gd name="connsiteX43" fmla="*/ 163345 w 433956"/>
                      <a:gd name="connsiteY43" fmla="*/ 44155 h 124772"/>
                      <a:gd name="connsiteX44" fmla="*/ 150566 w 433956"/>
                      <a:gd name="connsiteY44" fmla="*/ 42819 h 124772"/>
                      <a:gd name="connsiteX45" fmla="*/ 139825 w 433956"/>
                      <a:gd name="connsiteY45" fmla="*/ 40675 h 124772"/>
                      <a:gd name="connsiteX46" fmla="*/ 136182 w 433956"/>
                      <a:gd name="connsiteY46" fmla="*/ 41148 h 124772"/>
                      <a:gd name="connsiteX47" fmla="*/ 139352 w 433956"/>
                      <a:gd name="connsiteY47" fmla="*/ 44066 h 124772"/>
                      <a:gd name="connsiteX48" fmla="*/ 145791 w 433956"/>
                      <a:gd name="connsiteY48" fmla="*/ 44946 h 124772"/>
                      <a:gd name="connsiteX49" fmla="*/ 151186 w 433956"/>
                      <a:gd name="connsiteY49" fmla="*/ 46674 h 124772"/>
                      <a:gd name="connsiteX50" fmla="*/ 153419 w 433956"/>
                      <a:gd name="connsiteY50" fmla="*/ 48108 h 124772"/>
                      <a:gd name="connsiteX51" fmla="*/ 164853 w 433956"/>
                      <a:gd name="connsiteY51" fmla="*/ 49200 h 124772"/>
                      <a:gd name="connsiteX52" fmla="*/ 166719 w 433956"/>
                      <a:gd name="connsiteY52" fmla="*/ 50316 h 124772"/>
                      <a:gd name="connsiteX53" fmla="*/ 170272 w 433956"/>
                      <a:gd name="connsiteY53" fmla="*/ 53185 h 124772"/>
                      <a:gd name="connsiteX54" fmla="*/ 173255 w 433956"/>
                      <a:gd name="connsiteY54" fmla="*/ 53405 h 124772"/>
                      <a:gd name="connsiteX55" fmla="*/ 176205 w 433956"/>
                      <a:gd name="connsiteY55" fmla="*/ 55402 h 124772"/>
                      <a:gd name="connsiteX56" fmla="*/ 178642 w 433956"/>
                      <a:gd name="connsiteY56" fmla="*/ 58825 h 124772"/>
                      <a:gd name="connsiteX57" fmla="*/ 179767 w 433956"/>
                      <a:gd name="connsiteY57" fmla="*/ 59289 h 124772"/>
                      <a:gd name="connsiteX58" fmla="*/ 183206 w 433956"/>
                      <a:gd name="connsiteY58" fmla="*/ 58670 h 124772"/>
                      <a:gd name="connsiteX59" fmla="*/ 189009 w 433956"/>
                      <a:gd name="connsiteY59" fmla="*/ 61645 h 124772"/>
                      <a:gd name="connsiteX60" fmla="*/ 190810 w 433956"/>
                      <a:gd name="connsiteY60" fmla="*/ 63234 h 124772"/>
                      <a:gd name="connsiteX61" fmla="*/ 190818 w 433956"/>
                      <a:gd name="connsiteY61" fmla="*/ 64432 h 124772"/>
                      <a:gd name="connsiteX62" fmla="*/ 189522 w 433956"/>
                      <a:gd name="connsiteY62" fmla="*/ 66290 h 124772"/>
                      <a:gd name="connsiteX63" fmla="*/ 186930 w 433956"/>
                      <a:gd name="connsiteY63" fmla="*/ 68816 h 124772"/>
                      <a:gd name="connsiteX64" fmla="*/ 180370 w 433956"/>
                      <a:gd name="connsiteY64" fmla="*/ 71791 h 124772"/>
                      <a:gd name="connsiteX65" fmla="*/ 179865 w 433956"/>
                      <a:gd name="connsiteY65" fmla="*/ 72696 h 124772"/>
                      <a:gd name="connsiteX66" fmla="*/ 187525 w 433956"/>
                      <a:gd name="connsiteY66" fmla="*/ 72345 h 124772"/>
                      <a:gd name="connsiteX67" fmla="*/ 188935 w 433956"/>
                      <a:gd name="connsiteY67" fmla="*/ 72728 h 124772"/>
                      <a:gd name="connsiteX68" fmla="*/ 197957 w 433956"/>
                      <a:gd name="connsiteY68" fmla="*/ 78009 h 124772"/>
                      <a:gd name="connsiteX69" fmla="*/ 199139 w 433956"/>
                      <a:gd name="connsiteY69" fmla="*/ 78107 h 124772"/>
                      <a:gd name="connsiteX70" fmla="*/ 199880 w 433956"/>
                      <a:gd name="connsiteY70" fmla="*/ 77553 h 124772"/>
                      <a:gd name="connsiteX71" fmla="*/ 200744 w 433956"/>
                      <a:gd name="connsiteY71" fmla="*/ 75687 h 124772"/>
                      <a:gd name="connsiteX72" fmla="*/ 200361 w 433956"/>
                      <a:gd name="connsiteY72" fmla="*/ 73959 h 124772"/>
                      <a:gd name="connsiteX73" fmla="*/ 199261 w 433956"/>
                      <a:gd name="connsiteY73" fmla="*/ 71555 h 124772"/>
                      <a:gd name="connsiteX74" fmla="*/ 199554 w 433956"/>
                      <a:gd name="connsiteY74" fmla="*/ 69827 h 124772"/>
                      <a:gd name="connsiteX75" fmla="*/ 201249 w 433956"/>
                      <a:gd name="connsiteY75" fmla="*/ 68735 h 124772"/>
                      <a:gd name="connsiteX76" fmla="*/ 202961 w 433956"/>
                      <a:gd name="connsiteY76" fmla="*/ 68205 h 124772"/>
                      <a:gd name="connsiteX77" fmla="*/ 204689 w 433956"/>
                      <a:gd name="connsiteY77" fmla="*/ 68213 h 124772"/>
                      <a:gd name="connsiteX78" fmla="*/ 206579 w 433956"/>
                      <a:gd name="connsiteY78" fmla="*/ 68849 h 124772"/>
                      <a:gd name="connsiteX79" fmla="*/ 215699 w 433956"/>
                      <a:gd name="connsiteY79" fmla="*/ 75238 h 124772"/>
                      <a:gd name="connsiteX80" fmla="*/ 227386 w 433956"/>
                      <a:gd name="connsiteY80" fmla="*/ 72182 h 124772"/>
                      <a:gd name="connsiteX81" fmla="*/ 229529 w 433956"/>
                      <a:gd name="connsiteY81" fmla="*/ 73551 h 124772"/>
                      <a:gd name="connsiteX82" fmla="*/ 231289 w 433956"/>
                      <a:gd name="connsiteY82" fmla="*/ 76110 h 124772"/>
                      <a:gd name="connsiteX83" fmla="*/ 232121 w 433956"/>
                      <a:gd name="connsiteY83" fmla="*/ 76534 h 124772"/>
                      <a:gd name="connsiteX84" fmla="*/ 236448 w 433956"/>
                      <a:gd name="connsiteY84" fmla="*/ 71432 h 124772"/>
                      <a:gd name="connsiteX85" fmla="*/ 239121 w 433956"/>
                      <a:gd name="connsiteY85" fmla="*/ 70161 h 124772"/>
                      <a:gd name="connsiteX86" fmla="*/ 250099 w 433956"/>
                      <a:gd name="connsiteY86" fmla="*/ 76216 h 124772"/>
                      <a:gd name="connsiteX87" fmla="*/ 256782 w 433956"/>
                      <a:gd name="connsiteY87" fmla="*/ 77561 h 124772"/>
                      <a:gd name="connsiteX88" fmla="*/ 259471 w 433956"/>
                      <a:gd name="connsiteY88" fmla="*/ 78857 h 124772"/>
                      <a:gd name="connsiteX89" fmla="*/ 264426 w 433956"/>
                      <a:gd name="connsiteY89" fmla="*/ 80283 h 124772"/>
                      <a:gd name="connsiteX90" fmla="*/ 271492 w 433956"/>
                      <a:gd name="connsiteY90" fmla="*/ 80829 h 124772"/>
                      <a:gd name="connsiteX91" fmla="*/ 272666 w 433956"/>
                      <a:gd name="connsiteY91" fmla="*/ 78588 h 124772"/>
                      <a:gd name="connsiteX92" fmla="*/ 268591 w 433956"/>
                      <a:gd name="connsiteY92" fmla="*/ 75703 h 124772"/>
                      <a:gd name="connsiteX93" fmla="*/ 270962 w 433956"/>
                      <a:gd name="connsiteY93" fmla="*/ 74423 h 124772"/>
                      <a:gd name="connsiteX94" fmla="*/ 280685 w 433956"/>
                      <a:gd name="connsiteY94" fmla="*/ 71987 h 124772"/>
                      <a:gd name="connsiteX95" fmla="*/ 285860 w 433956"/>
                      <a:gd name="connsiteY95" fmla="*/ 72329 h 124772"/>
                      <a:gd name="connsiteX96" fmla="*/ 295428 w 433956"/>
                      <a:gd name="connsiteY96" fmla="*/ 68857 h 124772"/>
                      <a:gd name="connsiteX97" fmla="*/ 301288 w 433956"/>
                      <a:gd name="connsiteY97" fmla="*/ 68393 h 124772"/>
                      <a:gd name="connsiteX98" fmla="*/ 304898 w 433956"/>
                      <a:gd name="connsiteY98" fmla="*/ 68450 h 124772"/>
                      <a:gd name="connsiteX99" fmla="*/ 316731 w 433956"/>
                      <a:gd name="connsiteY99" fmla="*/ 63209 h 124772"/>
                      <a:gd name="connsiteX100" fmla="*/ 319543 w 433956"/>
                      <a:gd name="connsiteY100" fmla="*/ 62370 h 124772"/>
                      <a:gd name="connsiteX101" fmla="*/ 321589 w 433956"/>
                      <a:gd name="connsiteY101" fmla="*/ 60495 h 124772"/>
                      <a:gd name="connsiteX102" fmla="*/ 326234 w 433956"/>
                      <a:gd name="connsiteY102" fmla="*/ 60789 h 124772"/>
                      <a:gd name="connsiteX103" fmla="*/ 338817 w 433956"/>
                      <a:gd name="connsiteY103" fmla="*/ 63772 h 124772"/>
                      <a:gd name="connsiteX104" fmla="*/ 342387 w 433956"/>
                      <a:gd name="connsiteY104" fmla="*/ 63503 h 124772"/>
                      <a:gd name="connsiteX105" fmla="*/ 355776 w 433956"/>
                      <a:gd name="connsiteY105" fmla="*/ 60536 h 124772"/>
                      <a:gd name="connsiteX106" fmla="*/ 360724 w 433956"/>
                      <a:gd name="connsiteY106" fmla="*/ 59811 h 124772"/>
                      <a:gd name="connsiteX107" fmla="*/ 365695 w 433956"/>
                      <a:gd name="connsiteY107" fmla="*/ 59917 h 124772"/>
                      <a:gd name="connsiteX108" fmla="*/ 378245 w 433956"/>
                      <a:gd name="connsiteY108" fmla="*/ 61661 h 124772"/>
                      <a:gd name="connsiteX109" fmla="*/ 387642 w 433956"/>
                      <a:gd name="connsiteY109" fmla="*/ 63527 h 124772"/>
                      <a:gd name="connsiteX110" fmla="*/ 390560 w 433956"/>
                      <a:gd name="connsiteY110" fmla="*/ 64513 h 124772"/>
                      <a:gd name="connsiteX111" fmla="*/ 389525 w 433956"/>
                      <a:gd name="connsiteY111" fmla="*/ 66966 h 124772"/>
                      <a:gd name="connsiteX112" fmla="*/ 390005 w 433956"/>
                      <a:gd name="connsiteY112" fmla="*/ 67692 h 124772"/>
                      <a:gd name="connsiteX113" fmla="*/ 391220 w 433956"/>
                      <a:gd name="connsiteY113" fmla="*/ 68230 h 124772"/>
                      <a:gd name="connsiteX114" fmla="*/ 394284 w 433956"/>
                      <a:gd name="connsiteY114" fmla="*/ 68947 h 124772"/>
                      <a:gd name="connsiteX115" fmla="*/ 406011 w 433956"/>
                      <a:gd name="connsiteY115" fmla="*/ 68996 h 124772"/>
                      <a:gd name="connsiteX116" fmla="*/ 411121 w 433956"/>
                      <a:gd name="connsiteY116" fmla="*/ 69623 h 124772"/>
                      <a:gd name="connsiteX117" fmla="*/ 415180 w 433956"/>
                      <a:gd name="connsiteY117" fmla="*/ 71921 h 124772"/>
                      <a:gd name="connsiteX118" fmla="*/ 416150 w 433956"/>
                      <a:gd name="connsiteY118" fmla="*/ 72834 h 124772"/>
                      <a:gd name="connsiteX119" fmla="*/ 415987 w 433956"/>
                      <a:gd name="connsiteY119" fmla="*/ 73788 h 124772"/>
                      <a:gd name="connsiteX120" fmla="*/ 412002 w 433956"/>
                      <a:gd name="connsiteY120" fmla="*/ 76273 h 124772"/>
                      <a:gd name="connsiteX121" fmla="*/ 412646 w 433956"/>
                      <a:gd name="connsiteY121" fmla="*/ 76795 h 124772"/>
                      <a:gd name="connsiteX122" fmla="*/ 416639 w 433956"/>
                      <a:gd name="connsiteY122" fmla="*/ 77365 h 124772"/>
                      <a:gd name="connsiteX123" fmla="*/ 425612 w 433956"/>
                      <a:gd name="connsiteY123" fmla="*/ 77651 h 124772"/>
                      <a:gd name="connsiteX124" fmla="*/ 427535 w 433956"/>
                      <a:gd name="connsiteY124" fmla="*/ 78221 h 124772"/>
                      <a:gd name="connsiteX125" fmla="*/ 429385 w 433956"/>
                      <a:gd name="connsiteY125" fmla="*/ 81318 h 124772"/>
                      <a:gd name="connsiteX126" fmla="*/ 431316 w 433956"/>
                      <a:gd name="connsiteY126" fmla="*/ 85597 h 124772"/>
                      <a:gd name="connsiteX127" fmla="*/ 431284 w 433956"/>
                      <a:gd name="connsiteY127" fmla="*/ 87292 h 124772"/>
                      <a:gd name="connsiteX128" fmla="*/ 428171 w 433956"/>
                      <a:gd name="connsiteY128" fmla="*/ 90177 h 124772"/>
                      <a:gd name="connsiteX129" fmla="*/ 419679 w 433956"/>
                      <a:gd name="connsiteY129" fmla="*/ 94023 h 124772"/>
                      <a:gd name="connsiteX130" fmla="*/ 410241 w 433956"/>
                      <a:gd name="connsiteY130" fmla="*/ 97218 h 124772"/>
                      <a:gd name="connsiteX131" fmla="*/ 409630 w 433956"/>
                      <a:gd name="connsiteY131" fmla="*/ 98041 h 124772"/>
                      <a:gd name="connsiteX132" fmla="*/ 412646 w 433956"/>
                      <a:gd name="connsiteY132" fmla="*/ 99565 h 124772"/>
                      <a:gd name="connsiteX133" fmla="*/ 415759 w 433956"/>
                      <a:gd name="connsiteY133" fmla="*/ 100234 h 124772"/>
                      <a:gd name="connsiteX134" fmla="*/ 418203 w 433956"/>
                      <a:gd name="connsiteY134" fmla="*/ 100103 h 124772"/>
                      <a:gd name="connsiteX135" fmla="*/ 425726 w 433956"/>
                      <a:gd name="connsiteY135" fmla="*/ 98653 h 124772"/>
                      <a:gd name="connsiteX136" fmla="*/ 427437 w 433956"/>
                      <a:gd name="connsiteY136" fmla="*/ 98685 h 124772"/>
                      <a:gd name="connsiteX137" fmla="*/ 430893 w 433956"/>
                      <a:gd name="connsiteY137" fmla="*/ 100160 h 124772"/>
                      <a:gd name="connsiteX138" fmla="*/ 432490 w 433956"/>
                      <a:gd name="connsiteY138" fmla="*/ 101627 h 124772"/>
                      <a:gd name="connsiteX139" fmla="*/ 433957 w 433956"/>
                      <a:gd name="connsiteY139" fmla="*/ 103591 h 124772"/>
                      <a:gd name="connsiteX140" fmla="*/ 431308 w 433956"/>
                      <a:gd name="connsiteY140" fmla="*/ 105368 h 124772"/>
                      <a:gd name="connsiteX141" fmla="*/ 420477 w 433956"/>
                      <a:gd name="connsiteY141" fmla="*/ 107576 h 124772"/>
                      <a:gd name="connsiteX142" fmla="*/ 414088 w 433956"/>
                      <a:gd name="connsiteY142" fmla="*/ 104667 h 124772"/>
                      <a:gd name="connsiteX143" fmla="*/ 411936 w 433956"/>
                      <a:gd name="connsiteY143" fmla="*/ 104031 h 124772"/>
                      <a:gd name="connsiteX144" fmla="*/ 410478 w 433956"/>
                      <a:gd name="connsiteY144" fmla="*/ 104284 h 124772"/>
                      <a:gd name="connsiteX145" fmla="*/ 411309 w 433956"/>
                      <a:gd name="connsiteY145" fmla="*/ 105555 h 124772"/>
                      <a:gd name="connsiteX146" fmla="*/ 414398 w 433956"/>
                      <a:gd name="connsiteY146" fmla="*/ 107862 h 124772"/>
                      <a:gd name="connsiteX147" fmla="*/ 415416 w 433956"/>
                      <a:gd name="connsiteY147" fmla="*/ 109378 h 124772"/>
                      <a:gd name="connsiteX148" fmla="*/ 414340 w 433956"/>
                      <a:gd name="connsiteY148" fmla="*/ 110111 h 124772"/>
                      <a:gd name="connsiteX149" fmla="*/ 413835 w 433956"/>
                      <a:gd name="connsiteY149" fmla="*/ 111570 h 124772"/>
                      <a:gd name="connsiteX150" fmla="*/ 413892 w 433956"/>
                      <a:gd name="connsiteY150" fmla="*/ 113738 h 124772"/>
                      <a:gd name="connsiteX151" fmla="*/ 413640 w 433956"/>
                      <a:gd name="connsiteY151" fmla="*/ 115946 h 124772"/>
                      <a:gd name="connsiteX152" fmla="*/ 412588 w 433956"/>
                      <a:gd name="connsiteY152" fmla="*/ 119377 h 124772"/>
                      <a:gd name="connsiteX153" fmla="*/ 412222 w 433956"/>
                      <a:gd name="connsiteY153" fmla="*/ 119524 h 124772"/>
                      <a:gd name="connsiteX154" fmla="*/ 388693 w 433956"/>
                      <a:gd name="connsiteY154" fmla="*/ 120225 h 124772"/>
                      <a:gd name="connsiteX155" fmla="*/ 385865 w 433956"/>
                      <a:gd name="connsiteY155" fmla="*/ 120844 h 124772"/>
                      <a:gd name="connsiteX156" fmla="*/ 379248 w 433956"/>
                      <a:gd name="connsiteY156" fmla="*/ 123265 h 124772"/>
                      <a:gd name="connsiteX157" fmla="*/ 374244 w 433956"/>
                      <a:gd name="connsiteY157" fmla="*/ 124479 h 124772"/>
                      <a:gd name="connsiteX158" fmla="*/ 370984 w 433956"/>
                      <a:gd name="connsiteY158" fmla="*/ 124666 h 124772"/>
                      <a:gd name="connsiteX159" fmla="*/ 367797 w 433956"/>
                      <a:gd name="connsiteY159" fmla="*/ 124218 h 124772"/>
                      <a:gd name="connsiteX160" fmla="*/ 359216 w 433956"/>
                      <a:gd name="connsiteY160" fmla="*/ 121716 h 124772"/>
                      <a:gd name="connsiteX161" fmla="*/ 353495 w 433956"/>
                      <a:gd name="connsiteY161" fmla="*/ 122181 h 124772"/>
                      <a:gd name="connsiteX162" fmla="*/ 351253 w 433956"/>
                      <a:gd name="connsiteY162" fmla="*/ 121944 h 124772"/>
                      <a:gd name="connsiteX163" fmla="*/ 346404 w 433956"/>
                      <a:gd name="connsiteY163" fmla="*/ 120274 h 124772"/>
                      <a:gd name="connsiteX164" fmla="*/ 345231 w 433956"/>
                      <a:gd name="connsiteY164" fmla="*/ 119426 h 124772"/>
                      <a:gd name="connsiteX165" fmla="*/ 343275 w 433956"/>
                      <a:gd name="connsiteY165" fmla="*/ 117242 h 124772"/>
                      <a:gd name="connsiteX166" fmla="*/ 341800 w 433956"/>
                      <a:gd name="connsiteY166" fmla="*/ 114235 h 124772"/>
                      <a:gd name="connsiteX167" fmla="*/ 341914 w 433956"/>
                      <a:gd name="connsiteY167" fmla="*/ 112385 h 124772"/>
                      <a:gd name="connsiteX168" fmla="*/ 342533 w 433956"/>
                      <a:gd name="connsiteY168" fmla="*/ 109728 h 124772"/>
                      <a:gd name="connsiteX169" fmla="*/ 342158 w 433956"/>
                      <a:gd name="connsiteY169" fmla="*/ 108383 h 124772"/>
                      <a:gd name="connsiteX170" fmla="*/ 340773 w 433956"/>
                      <a:gd name="connsiteY170" fmla="*/ 108375 h 124772"/>
                      <a:gd name="connsiteX171" fmla="*/ 339241 w 433956"/>
                      <a:gd name="connsiteY171" fmla="*/ 107829 h 124772"/>
                      <a:gd name="connsiteX172" fmla="*/ 334604 w 433956"/>
                      <a:gd name="connsiteY172" fmla="*/ 105148 h 124772"/>
                      <a:gd name="connsiteX173" fmla="*/ 331751 w 433956"/>
                      <a:gd name="connsiteY173" fmla="*/ 104349 h 124772"/>
                      <a:gd name="connsiteX174" fmla="*/ 331221 w 433956"/>
                      <a:gd name="connsiteY174" fmla="*/ 104797 h 124772"/>
                      <a:gd name="connsiteX175" fmla="*/ 332061 w 433956"/>
                      <a:gd name="connsiteY175" fmla="*/ 106884 h 124772"/>
                      <a:gd name="connsiteX176" fmla="*/ 332615 w 433956"/>
                      <a:gd name="connsiteY176" fmla="*/ 107552 h 124772"/>
                      <a:gd name="connsiteX177" fmla="*/ 335663 w 433956"/>
                      <a:gd name="connsiteY177" fmla="*/ 109084 h 124772"/>
                      <a:gd name="connsiteX178" fmla="*/ 336234 w 433956"/>
                      <a:gd name="connsiteY178" fmla="*/ 110845 h 124772"/>
                      <a:gd name="connsiteX179" fmla="*/ 334938 w 433956"/>
                      <a:gd name="connsiteY179" fmla="*/ 115319 h 124772"/>
                      <a:gd name="connsiteX180" fmla="*/ 334481 w 433956"/>
                      <a:gd name="connsiteY180" fmla="*/ 116044 h 124772"/>
                      <a:gd name="connsiteX181" fmla="*/ 331507 w 433956"/>
                      <a:gd name="connsiteY181" fmla="*/ 119320 h 124772"/>
                      <a:gd name="connsiteX182" fmla="*/ 329274 w 433956"/>
                      <a:gd name="connsiteY182" fmla="*/ 120257 h 124772"/>
                      <a:gd name="connsiteX183" fmla="*/ 323170 w 433956"/>
                      <a:gd name="connsiteY183" fmla="*/ 120331 h 124772"/>
                      <a:gd name="connsiteX184" fmla="*/ 313814 w 433956"/>
                      <a:gd name="connsiteY184" fmla="*/ 122653 h 124772"/>
                      <a:gd name="connsiteX185" fmla="*/ 309348 w 433956"/>
                      <a:gd name="connsiteY185" fmla="*/ 122988 h 124772"/>
                      <a:gd name="connsiteX186" fmla="*/ 303349 w 433956"/>
                      <a:gd name="connsiteY186" fmla="*/ 122450 h 124772"/>
                      <a:gd name="connsiteX187" fmla="*/ 299601 w 433956"/>
                      <a:gd name="connsiteY187" fmla="*/ 121390 h 124772"/>
                      <a:gd name="connsiteX188" fmla="*/ 297172 w 433956"/>
                      <a:gd name="connsiteY188" fmla="*/ 120176 h 124772"/>
                      <a:gd name="connsiteX189" fmla="*/ 294808 w 433956"/>
                      <a:gd name="connsiteY189" fmla="*/ 118448 h 124772"/>
                      <a:gd name="connsiteX190" fmla="*/ 293570 w 433956"/>
                      <a:gd name="connsiteY190" fmla="*/ 118318 h 124772"/>
                      <a:gd name="connsiteX191" fmla="*/ 292942 w 433956"/>
                      <a:gd name="connsiteY191" fmla="*/ 122067 h 124772"/>
                      <a:gd name="connsiteX192" fmla="*/ 291785 w 433956"/>
                      <a:gd name="connsiteY192" fmla="*/ 122556 h 124772"/>
                      <a:gd name="connsiteX193" fmla="*/ 289780 w 433956"/>
                      <a:gd name="connsiteY193" fmla="*/ 122490 h 124772"/>
                      <a:gd name="connsiteX194" fmla="*/ 286683 w 433956"/>
                      <a:gd name="connsiteY194" fmla="*/ 121333 h 124772"/>
                      <a:gd name="connsiteX195" fmla="*/ 284124 w 433956"/>
                      <a:gd name="connsiteY195" fmla="*/ 118619 h 124772"/>
                      <a:gd name="connsiteX196" fmla="*/ 283325 w 433956"/>
                      <a:gd name="connsiteY196" fmla="*/ 118636 h 124772"/>
                      <a:gd name="connsiteX197" fmla="*/ 282975 w 433956"/>
                      <a:gd name="connsiteY197" fmla="*/ 120209 h 124772"/>
                      <a:gd name="connsiteX198" fmla="*/ 282404 w 433956"/>
                      <a:gd name="connsiteY198" fmla="*/ 121244 h 124772"/>
                      <a:gd name="connsiteX199" fmla="*/ 281614 w 433956"/>
                      <a:gd name="connsiteY199" fmla="*/ 121733 h 124772"/>
                      <a:gd name="connsiteX200" fmla="*/ 275053 w 433956"/>
                      <a:gd name="connsiteY200" fmla="*/ 123428 h 124772"/>
                      <a:gd name="connsiteX201" fmla="*/ 271394 w 433956"/>
                      <a:gd name="connsiteY201" fmla="*/ 123436 h 124772"/>
                      <a:gd name="connsiteX202" fmla="*/ 267572 w 433956"/>
                      <a:gd name="connsiteY202" fmla="*/ 121496 h 124772"/>
                      <a:gd name="connsiteX203" fmla="*/ 265062 w 433956"/>
                      <a:gd name="connsiteY203" fmla="*/ 121692 h 124772"/>
                      <a:gd name="connsiteX204" fmla="*/ 261851 w 433956"/>
                      <a:gd name="connsiteY204" fmla="*/ 122735 h 124772"/>
                      <a:gd name="connsiteX205" fmla="*/ 254035 w 433956"/>
                      <a:gd name="connsiteY205" fmla="*/ 120763 h 124772"/>
                      <a:gd name="connsiteX206" fmla="*/ 252169 w 433956"/>
                      <a:gd name="connsiteY206" fmla="*/ 120681 h 124772"/>
                      <a:gd name="connsiteX207" fmla="*/ 253766 w 433956"/>
                      <a:gd name="connsiteY207" fmla="*/ 123884 h 124772"/>
                      <a:gd name="connsiteX208" fmla="*/ 251191 w 433956"/>
                      <a:gd name="connsiteY208" fmla="*/ 124381 h 124772"/>
                      <a:gd name="connsiteX209" fmla="*/ 245625 w 433956"/>
                      <a:gd name="connsiteY209" fmla="*/ 124308 h 124772"/>
                      <a:gd name="connsiteX210" fmla="*/ 236473 w 433956"/>
                      <a:gd name="connsiteY210" fmla="*/ 123273 h 124772"/>
                      <a:gd name="connsiteX211" fmla="*/ 230792 w 433956"/>
                      <a:gd name="connsiteY211" fmla="*/ 124772 h 124772"/>
                      <a:gd name="connsiteX212" fmla="*/ 220540 w 433956"/>
                      <a:gd name="connsiteY212" fmla="*/ 123876 h 124772"/>
                      <a:gd name="connsiteX213" fmla="*/ 210198 w 433956"/>
                      <a:gd name="connsiteY213" fmla="*/ 123648 h 124772"/>
                      <a:gd name="connsiteX214" fmla="*/ 208274 w 433956"/>
                      <a:gd name="connsiteY214" fmla="*/ 122914 h 124772"/>
                      <a:gd name="connsiteX215" fmla="*/ 206905 w 433956"/>
                      <a:gd name="connsiteY215" fmla="*/ 121415 h 124772"/>
                      <a:gd name="connsiteX216" fmla="*/ 206857 w 433956"/>
                      <a:gd name="connsiteY216" fmla="*/ 120086 h 124772"/>
                      <a:gd name="connsiteX217" fmla="*/ 207354 w 433956"/>
                      <a:gd name="connsiteY217" fmla="*/ 118228 h 124772"/>
                      <a:gd name="connsiteX218" fmla="*/ 208869 w 433956"/>
                      <a:gd name="connsiteY218" fmla="*/ 115482 h 124772"/>
                      <a:gd name="connsiteX219" fmla="*/ 211396 w 433956"/>
                      <a:gd name="connsiteY219" fmla="*/ 111822 h 124772"/>
                      <a:gd name="connsiteX220" fmla="*/ 212268 w 433956"/>
                      <a:gd name="connsiteY220" fmla="*/ 109899 h 124772"/>
                      <a:gd name="connsiteX221" fmla="*/ 209994 w 433956"/>
                      <a:gd name="connsiteY221" fmla="*/ 108995 h 124772"/>
                      <a:gd name="connsiteX222" fmla="*/ 208584 w 433956"/>
                      <a:gd name="connsiteY222" fmla="*/ 107797 h 124772"/>
                      <a:gd name="connsiteX223" fmla="*/ 207427 w 433956"/>
                      <a:gd name="connsiteY223" fmla="*/ 107666 h 124772"/>
                      <a:gd name="connsiteX224" fmla="*/ 203776 w 433956"/>
                      <a:gd name="connsiteY224" fmla="*/ 109076 h 124772"/>
                      <a:gd name="connsiteX225" fmla="*/ 201396 w 433956"/>
                      <a:gd name="connsiteY225" fmla="*/ 113192 h 124772"/>
                      <a:gd name="connsiteX226" fmla="*/ 199579 w 433956"/>
                      <a:gd name="connsiteY226" fmla="*/ 114381 h 124772"/>
                      <a:gd name="connsiteX227" fmla="*/ 198780 w 433956"/>
                      <a:gd name="connsiteY227" fmla="*/ 113387 h 124772"/>
                      <a:gd name="connsiteX228" fmla="*/ 198177 w 433956"/>
                      <a:gd name="connsiteY228" fmla="*/ 110885 h 124772"/>
                      <a:gd name="connsiteX229" fmla="*/ 197370 w 433956"/>
                      <a:gd name="connsiteY229" fmla="*/ 109671 h 124772"/>
                      <a:gd name="connsiteX230" fmla="*/ 196376 w 433956"/>
                      <a:gd name="connsiteY230" fmla="*/ 109736 h 124772"/>
                      <a:gd name="connsiteX231" fmla="*/ 195398 w 433956"/>
                      <a:gd name="connsiteY231" fmla="*/ 110396 h 124772"/>
                      <a:gd name="connsiteX232" fmla="*/ 194453 w 433956"/>
                      <a:gd name="connsiteY232" fmla="*/ 111676 h 124772"/>
                      <a:gd name="connsiteX233" fmla="*/ 193026 w 433956"/>
                      <a:gd name="connsiteY233" fmla="*/ 112124 h 124772"/>
                      <a:gd name="connsiteX234" fmla="*/ 191128 w 433956"/>
                      <a:gd name="connsiteY234" fmla="*/ 111782 h 124772"/>
                      <a:gd name="connsiteX235" fmla="*/ 190451 w 433956"/>
                      <a:gd name="connsiteY235" fmla="*/ 112401 h 124772"/>
                      <a:gd name="connsiteX236" fmla="*/ 191005 w 433956"/>
                      <a:gd name="connsiteY236" fmla="*/ 113990 h 124772"/>
                      <a:gd name="connsiteX237" fmla="*/ 191201 w 433956"/>
                      <a:gd name="connsiteY237" fmla="*/ 115482 h 124772"/>
                      <a:gd name="connsiteX238" fmla="*/ 191030 w 433956"/>
                      <a:gd name="connsiteY238" fmla="*/ 116867 h 124772"/>
                      <a:gd name="connsiteX239" fmla="*/ 189392 w 433956"/>
                      <a:gd name="connsiteY239" fmla="*/ 118212 h 124772"/>
                      <a:gd name="connsiteX240" fmla="*/ 184730 w 433956"/>
                      <a:gd name="connsiteY240" fmla="*/ 120160 h 124772"/>
                      <a:gd name="connsiteX241" fmla="*/ 182032 w 433956"/>
                      <a:gd name="connsiteY241" fmla="*/ 120787 h 124772"/>
                      <a:gd name="connsiteX242" fmla="*/ 174942 w 433956"/>
                      <a:gd name="connsiteY242" fmla="*/ 121081 h 124772"/>
                      <a:gd name="connsiteX243" fmla="*/ 170704 w 433956"/>
                      <a:gd name="connsiteY243" fmla="*/ 120494 h 124772"/>
                      <a:gd name="connsiteX244" fmla="*/ 162114 w 433956"/>
                      <a:gd name="connsiteY244" fmla="*/ 118155 h 124772"/>
                      <a:gd name="connsiteX245" fmla="*/ 157363 w 433956"/>
                      <a:gd name="connsiteY245" fmla="*/ 118049 h 124772"/>
                      <a:gd name="connsiteX246" fmla="*/ 151642 w 433956"/>
                      <a:gd name="connsiteY246" fmla="*/ 114104 h 124772"/>
                      <a:gd name="connsiteX247" fmla="*/ 147103 w 433956"/>
                      <a:gd name="connsiteY247" fmla="*/ 113200 h 124772"/>
                      <a:gd name="connsiteX248" fmla="*/ 147339 w 433956"/>
                      <a:gd name="connsiteY248" fmla="*/ 111774 h 124772"/>
                      <a:gd name="connsiteX249" fmla="*/ 149319 w 433956"/>
                      <a:gd name="connsiteY249" fmla="*/ 109125 h 124772"/>
                      <a:gd name="connsiteX250" fmla="*/ 149254 w 433956"/>
                      <a:gd name="connsiteY250" fmla="*/ 108334 h 124772"/>
                      <a:gd name="connsiteX251" fmla="*/ 143060 w 433956"/>
                      <a:gd name="connsiteY251" fmla="*/ 112189 h 124772"/>
                      <a:gd name="connsiteX252" fmla="*/ 142221 w 433956"/>
                      <a:gd name="connsiteY252" fmla="*/ 113428 h 124772"/>
                      <a:gd name="connsiteX253" fmla="*/ 142946 w 433956"/>
                      <a:gd name="connsiteY253" fmla="*/ 116289 h 124772"/>
                      <a:gd name="connsiteX254" fmla="*/ 142123 w 433956"/>
                      <a:gd name="connsiteY254" fmla="*/ 116492 h 124772"/>
                      <a:gd name="connsiteX255" fmla="*/ 137861 w 433956"/>
                      <a:gd name="connsiteY255" fmla="*/ 115465 h 124772"/>
                      <a:gd name="connsiteX256" fmla="*/ 133672 w 433956"/>
                      <a:gd name="connsiteY256" fmla="*/ 116248 h 124772"/>
                      <a:gd name="connsiteX257" fmla="*/ 132661 w 433956"/>
                      <a:gd name="connsiteY257" fmla="*/ 116011 h 124772"/>
                      <a:gd name="connsiteX258" fmla="*/ 129768 w 433956"/>
                      <a:gd name="connsiteY258" fmla="*/ 113950 h 124772"/>
                      <a:gd name="connsiteX259" fmla="*/ 124675 w 433956"/>
                      <a:gd name="connsiteY259" fmla="*/ 111847 h 124772"/>
                      <a:gd name="connsiteX260" fmla="*/ 122433 w 433956"/>
                      <a:gd name="connsiteY260" fmla="*/ 109492 h 124772"/>
                      <a:gd name="connsiteX261" fmla="*/ 118937 w 433956"/>
                      <a:gd name="connsiteY261" fmla="*/ 102124 h 124772"/>
                      <a:gd name="connsiteX262" fmla="*/ 117160 w 433956"/>
                      <a:gd name="connsiteY262" fmla="*/ 97243 h 124772"/>
                      <a:gd name="connsiteX263" fmla="*/ 117381 w 433956"/>
                      <a:gd name="connsiteY263" fmla="*/ 96240 h 124772"/>
                      <a:gd name="connsiteX264" fmla="*/ 119972 w 433956"/>
                      <a:gd name="connsiteY264" fmla="*/ 94863 h 124772"/>
                      <a:gd name="connsiteX265" fmla="*/ 119581 w 433956"/>
                      <a:gd name="connsiteY265" fmla="*/ 93787 h 124772"/>
                      <a:gd name="connsiteX266" fmla="*/ 116345 w 433956"/>
                      <a:gd name="connsiteY266" fmla="*/ 91041 h 124772"/>
                      <a:gd name="connsiteX267" fmla="*/ 112858 w 433956"/>
                      <a:gd name="connsiteY267" fmla="*/ 88718 h 124772"/>
                      <a:gd name="connsiteX268" fmla="*/ 111822 w 433956"/>
                      <a:gd name="connsiteY268" fmla="*/ 87121 h 124772"/>
                      <a:gd name="connsiteX269" fmla="*/ 111358 w 433956"/>
                      <a:gd name="connsiteY269" fmla="*/ 85499 h 124772"/>
                      <a:gd name="connsiteX270" fmla="*/ 110885 w 433956"/>
                      <a:gd name="connsiteY270" fmla="*/ 83152 h 124772"/>
                      <a:gd name="connsiteX271" fmla="*/ 110869 w 433956"/>
                      <a:gd name="connsiteY271" fmla="*/ 81416 h 124772"/>
                      <a:gd name="connsiteX272" fmla="*/ 111284 w 433956"/>
                      <a:gd name="connsiteY272" fmla="*/ 80291 h 124772"/>
                      <a:gd name="connsiteX273" fmla="*/ 113281 w 433956"/>
                      <a:gd name="connsiteY273" fmla="*/ 76795 h 124772"/>
                      <a:gd name="connsiteX274" fmla="*/ 118733 w 433956"/>
                      <a:gd name="connsiteY274" fmla="*/ 70503 h 124772"/>
                      <a:gd name="connsiteX275" fmla="*/ 119475 w 433956"/>
                      <a:gd name="connsiteY275" fmla="*/ 69362 h 124772"/>
                      <a:gd name="connsiteX276" fmla="*/ 119768 w 433956"/>
                      <a:gd name="connsiteY276" fmla="*/ 68238 h 124772"/>
                      <a:gd name="connsiteX277" fmla="*/ 119019 w 433956"/>
                      <a:gd name="connsiteY277" fmla="*/ 64904 h 124772"/>
                      <a:gd name="connsiteX278" fmla="*/ 117959 w 433956"/>
                      <a:gd name="connsiteY278" fmla="*/ 61563 h 124772"/>
                      <a:gd name="connsiteX279" fmla="*/ 116892 w 433956"/>
                      <a:gd name="connsiteY279" fmla="*/ 59167 h 124772"/>
                      <a:gd name="connsiteX280" fmla="*/ 113876 w 433956"/>
                      <a:gd name="connsiteY280" fmla="*/ 55866 h 124772"/>
                      <a:gd name="connsiteX281" fmla="*/ 109728 w 433956"/>
                      <a:gd name="connsiteY281" fmla="*/ 52435 h 124772"/>
                      <a:gd name="connsiteX282" fmla="*/ 103901 w 433956"/>
                      <a:gd name="connsiteY282" fmla="*/ 46258 h 124772"/>
                      <a:gd name="connsiteX283" fmla="*/ 99573 w 433956"/>
                      <a:gd name="connsiteY283" fmla="*/ 41450 h 124772"/>
                      <a:gd name="connsiteX284" fmla="*/ 94407 w 433956"/>
                      <a:gd name="connsiteY284" fmla="*/ 34677 h 124772"/>
                      <a:gd name="connsiteX285" fmla="*/ 91904 w 433956"/>
                      <a:gd name="connsiteY285" fmla="*/ 34098 h 124772"/>
                      <a:gd name="connsiteX286" fmla="*/ 89019 w 433956"/>
                      <a:gd name="connsiteY286" fmla="*/ 34400 h 124772"/>
                      <a:gd name="connsiteX287" fmla="*/ 82793 w 433956"/>
                      <a:gd name="connsiteY287" fmla="*/ 36731 h 124772"/>
                      <a:gd name="connsiteX288" fmla="*/ 80690 w 433956"/>
                      <a:gd name="connsiteY288" fmla="*/ 37847 h 124772"/>
                      <a:gd name="connsiteX289" fmla="*/ 80177 w 433956"/>
                      <a:gd name="connsiteY289" fmla="*/ 38589 h 124772"/>
                      <a:gd name="connsiteX290" fmla="*/ 75540 w 433956"/>
                      <a:gd name="connsiteY290" fmla="*/ 38760 h 124772"/>
                      <a:gd name="connsiteX291" fmla="*/ 62386 w 433956"/>
                      <a:gd name="connsiteY291" fmla="*/ 38141 h 124772"/>
                      <a:gd name="connsiteX292" fmla="*/ 57358 w 433956"/>
                      <a:gd name="connsiteY292" fmla="*/ 37432 h 124772"/>
                      <a:gd name="connsiteX293" fmla="*/ 53601 w 433956"/>
                      <a:gd name="connsiteY293" fmla="*/ 37611 h 124772"/>
                      <a:gd name="connsiteX294" fmla="*/ 47154 w 433956"/>
                      <a:gd name="connsiteY294" fmla="*/ 39331 h 124772"/>
                      <a:gd name="connsiteX295" fmla="*/ 40276 w 433956"/>
                      <a:gd name="connsiteY295" fmla="*/ 39013 h 124772"/>
                      <a:gd name="connsiteX296" fmla="*/ 35973 w 433956"/>
                      <a:gd name="connsiteY296" fmla="*/ 34237 h 124772"/>
                      <a:gd name="connsiteX297" fmla="*/ 26201 w 433956"/>
                      <a:gd name="connsiteY297" fmla="*/ 31654 h 124772"/>
                      <a:gd name="connsiteX298" fmla="*/ 23284 w 433956"/>
                      <a:gd name="connsiteY298" fmla="*/ 30219 h 124772"/>
                      <a:gd name="connsiteX299" fmla="*/ 21287 w 433956"/>
                      <a:gd name="connsiteY299" fmla="*/ 28239 h 124772"/>
                      <a:gd name="connsiteX300" fmla="*/ 21947 w 433956"/>
                      <a:gd name="connsiteY300" fmla="*/ 26943 h 124772"/>
                      <a:gd name="connsiteX301" fmla="*/ 27513 w 433956"/>
                      <a:gd name="connsiteY301" fmla="*/ 25786 h 124772"/>
                      <a:gd name="connsiteX302" fmla="*/ 29820 w 433956"/>
                      <a:gd name="connsiteY302" fmla="*/ 24506 h 124772"/>
                      <a:gd name="connsiteX303" fmla="*/ 30928 w 433956"/>
                      <a:gd name="connsiteY303" fmla="*/ 23479 h 124772"/>
                      <a:gd name="connsiteX304" fmla="*/ 25419 w 433956"/>
                      <a:gd name="connsiteY304" fmla="*/ 24368 h 124772"/>
                      <a:gd name="connsiteX305" fmla="*/ 22982 w 433956"/>
                      <a:gd name="connsiteY305" fmla="*/ 24213 h 124772"/>
                      <a:gd name="connsiteX306" fmla="*/ 6406 w 433956"/>
                      <a:gd name="connsiteY306" fmla="*/ 17726 h 124772"/>
                      <a:gd name="connsiteX307" fmla="*/ 1296 w 433956"/>
                      <a:gd name="connsiteY307" fmla="*/ 16577 h 124772"/>
                      <a:gd name="connsiteX308" fmla="*/ 424 w 433956"/>
                      <a:gd name="connsiteY308" fmla="*/ 16006 h 124772"/>
                      <a:gd name="connsiteX309" fmla="*/ 0 w 433956"/>
                      <a:gd name="connsiteY309" fmla="*/ 15240 h 124772"/>
                      <a:gd name="connsiteX310" fmla="*/ 8 w 433956"/>
                      <a:gd name="connsiteY310" fmla="*/ 14295 h 124772"/>
                      <a:gd name="connsiteX311" fmla="*/ 489 w 433956"/>
                      <a:gd name="connsiteY311" fmla="*/ 12860 h 124772"/>
                      <a:gd name="connsiteX312" fmla="*/ 5420 w 433956"/>
                      <a:gd name="connsiteY312" fmla="*/ 14670 h 124772"/>
                      <a:gd name="connsiteX313" fmla="*/ 7628 w 433956"/>
                      <a:gd name="connsiteY313" fmla="*/ 14808 h 124772"/>
                      <a:gd name="connsiteX314" fmla="*/ 11075 w 433956"/>
                      <a:gd name="connsiteY314" fmla="*/ 14262 h 124772"/>
                      <a:gd name="connsiteX315" fmla="*/ 12306 w 433956"/>
                      <a:gd name="connsiteY315" fmla="*/ 13129 h 124772"/>
                      <a:gd name="connsiteX316" fmla="*/ 11532 w 433956"/>
                      <a:gd name="connsiteY316" fmla="*/ 12477 h 124772"/>
                      <a:gd name="connsiteX317" fmla="*/ 5876 w 433956"/>
                      <a:gd name="connsiteY317" fmla="*/ 10309 h 124772"/>
                      <a:gd name="connsiteX318" fmla="*/ 3146 w 433956"/>
                      <a:gd name="connsiteY318" fmla="*/ 8663 h 124772"/>
                      <a:gd name="connsiteX319" fmla="*/ 2095 w 433956"/>
                      <a:gd name="connsiteY319" fmla="*/ 7465 h 124772"/>
                      <a:gd name="connsiteX320" fmla="*/ 3178 w 433956"/>
                      <a:gd name="connsiteY320" fmla="*/ 5762 h 124772"/>
                      <a:gd name="connsiteX321" fmla="*/ 3464 w 433956"/>
                      <a:gd name="connsiteY321" fmla="*/ 4613 h 124772"/>
                      <a:gd name="connsiteX322" fmla="*/ 5281 w 433956"/>
                      <a:gd name="connsiteY322" fmla="*/ 3969 h 124772"/>
                      <a:gd name="connsiteX323" fmla="*/ 8630 w 433956"/>
                      <a:gd name="connsiteY323" fmla="*/ 3822 h 124772"/>
                      <a:gd name="connsiteX324" fmla="*/ 12917 w 433956"/>
                      <a:gd name="connsiteY324" fmla="*/ 3007 h 124772"/>
                      <a:gd name="connsiteX325" fmla="*/ 20749 w 433956"/>
                      <a:gd name="connsiteY325" fmla="*/ 791 h 124772"/>
                      <a:gd name="connsiteX326" fmla="*/ 26006 w 433956"/>
                      <a:gd name="connsiteY326" fmla="*/ 0 h 124772"/>
                      <a:gd name="connsiteX327" fmla="*/ 31238 w 433956"/>
                      <a:gd name="connsiteY327" fmla="*/ 114 h 124772"/>
                      <a:gd name="connsiteX328" fmla="*/ 43935 w 433956"/>
                      <a:gd name="connsiteY328" fmla="*/ 2388 h 124772"/>
                      <a:gd name="connsiteX329" fmla="*/ 56592 w 433956"/>
                      <a:gd name="connsiteY329" fmla="*/ 5273 h 12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Lst>
                    <a:rect l="l" t="t" r="r" b="b"/>
                    <a:pathLst>
                      <a:path w="433956" h="124772">
                        <a:moveTo>
                          <a:pt x="64562" y="7506"/>
                        </a:moveTo>
                        <a:lnTo>
                          <a:pt x="69199" y="7938"/>
                        </a:lnTo>
                        <a:lnTo>
                          <a:pt x="73168" y="7286"/>
                        </a:lnTo>
                        <a:lnTo>
                          <a:pt x="76567" y="7424"/>
                        </a:lnTo>
                        <a:lnTo>
                          <a:pt x="81587" y="9397"/>
                        </a:lnTo>
                        <a:lnTo>
                          <a:pt x="86240" y="12404"/>
                        </a:lnTo>
                        <a:lnTo>
                          <a:pt x="89818" y="13773"/>
                        </a:lnTo>
                        <a:lnTo>
                          <a:pt x="90976" y="14449"/>
                        </a:lnTo>
                        <a:lnTo>
                          <a:pt x="91424" y="15207"/>
                        </a:lnTo>
                        <a:lnTo>
                          <a:pt x="91986" y="17481"/>
                        </a:lnTo>
                        <a:lnTo>
                          <a:pt x="91970" y="18533"/>
                        </a:lnTo>
                        <a:lnTo>
                          <a:pt x="91701" y="19372"/>
                        </a:lnTo>
                        <a:lnTo>
                          <a:pt x="90136" y="21442"/>
                        </a:lnTo>
                        <a:lnTo>
                          <a:pt x="88824" y="24017"/>
                        </a:lnTo>
                        <a:lnTo>
                          <a:pt x="86110" y="26275"/>
                        </a:lnTo>
                        <a:lnTo>
                          <a:pt x="84659" y="27978"/>
                        </a:lnTo>
                        <a:lnTo>
                          <a:pt x="83413" y="30130"/>
                        </a:lnTo>
                        <a:lnTo>
                          <a:pt x="86216" y="28842"/>
                        </a:lnTo>
                        <a:lnTo>
                          <a:pt x="96794" y="21743"/>
                        </a:lnTo>
                        <a:lnTo>
                          <a:pt x="103713" y="22591"/>
                        </a:lnTo>
                        <a:lnTo>
                          <a:pt x="114113" y="21955"/>
                        </a:lnTo>
                        <a:lnTo>
                          <a:pt x="126696" y="19046"/>
                        </a:lnTo>
                        <a:lnTo>
                          <a:pt x="132678" y="18598"/>
                        </a:lnTo>
                        <a:lnTo>
                          <a:pt x="138717" y="18801"/>
                        </a:lnTo>
                        <a:lnTo>
                          <a:pt x="143199" y="19731"/>
                        </a:lnTo>
                        <a:lnTo>
                          <a:pt x="152767" y="23642"/>
                        </a:lnTo>
                        <a:lnTo>
                          <a:pt x="156084" y="25501"/>
                        </a:lnTo>
                        <a:lnTo>
                          <a:pt x="157331" y="26821"/>
                        </a:lnTo>
                        <a:lnTo>
                          <a:pt x="157624" y="27799"/>
                        </a:lnTo>
                        <a:lnTo>
                          <a:pt x="155668" y="29306"/>
                        </a:lnTo>
                        <a:lnTo>
                          <a:pt x="149653" y="28386"/>
                        </a:lnTo>
                        <a:lnTo>
                          <a:pt x="139760" y="27587"/>
                        </a:lnTo>
                        <a:lnTo>
                          <a:pt x="137950" y="27082"/>
                        </a:lnTo>
                        <a:lnTo>
                          <a:pt x="136410" y="27114"/>
                        </a:lnTo>
                        <a:lnTo>
                          <a:pt x="135285" y="27668"/>
                        </a:lnTo>
                        <a:lnTo>
                          <a:pt x="135986" y="29738"/>
                        </a:lnTo>
                        <a:lnTo>
                          <a:pt x="137999" y="30187"/>
                        </a:lnTo>
                        <a:lnTo>
                          <a:pt x="149882" y="30635"/>
                        </a:lnTo>
                        <a:lnTo>
                          <a:pt x="188829" y="37212"/>
                        </a:lnTo>
                        <a:lnTo>
                          <a:pt x="190451" y="39306"/>
                        </a:lnTo>
                        <a:lnTo>
                          <a:pt x="190019" y="40235"/>
                        </a:lnTo>
                        <a:lnTo>
                          <a:pt x="188642" y="41270"/>
                        </a:lnTo>
                        <a:lnTo>
                          <a:pt x="185798" y="42648"/>
                        </a:lnTo>
                        <a:lnTo>
                          <a:pt x="163345" y="44155"/>
                        </a:lnTo>
                        <a:lnTo>
                          <a:pt x="150566" y="42819"/>
                        </a:lnTo>
                        <a:lnTo>
                          <a:pt x="139825" y="40675"/>
                        </a:lnTo>
                        <a:lnTo>
                          <a:pt x="136182" y="41148"/>
                        </a:lnTo>
                        <a:lnTo>
                          <a:pt x="139352" y="44066"/>
                        </a:lnTo>
                        <a:lnTo>
                          <a:pt x="145791" y="44946"/>
                        </a:lnTo>
                        <a:lnTo>
                          <a:pt x="151186" y="46674"/>
                        </a:lnTo>
                        <a:lnTo>
                          <a:pt x="153419" y="48108"/>
                        </a:lnTo>
                        <a:lnTo>
                          <a:pt x="164853" y="49200"/>
                        </a:lnTo>
                        <a:lnTo>
                          <a:pt x="166719" y="50316"/>
                        </a:lnTo>
                        <a:lnTo>
                          <a:pt x="170272" y="53185"/>
                        </a:lnTo>
                        <a:lnTo>
                          <a:pt x="173255" y="53405"/>
                        </a:lnTo>
                        <a:lnTo>
                          <a:pt x="176205" y="55402"/>
                        </a:lnTo>
                        <a:lnTo>
                          <a:pt x="178642" y="58825"/>
                        </a:lnTo>
                        <a:lnTo>
                          <a:pt x="179767" y="59289"/>
                        </a:lnTo>
                        <a:lnTo>
                          <a:pt x="183206" y="58670"/>
                        </a:lnTo>
                        <a:lnTo>
                          <a:pt x="189009" y="61645"/>
                        </a:lnTo>
                        <a:lnTo>
                          <a:pt x="190810" y="63234"/>
                        </a:lnTo>
                        <a:lnTo>
                          <a:pt x="190818" y="64432"/>
                        </a:lnTo>
                        <a:lnTo>
                          <a:pt x="189522" y="66290"/>
                        </a:lnTo>
                        <a:lnTo>
                          <a:pt x="186930" y="68816"/>
                        </a:lnTo>
                        <a:lnTo>
                          <a:pt x="180370" y="71791"/>
                        </a:lnTo>
                        <a:lnTo>
                          <a:pt x="179865" y="72696"/>
                        </a:lnTo>
                        <a:lnTo>
                          <a:pt x="187525" y="72345"/>
                        </a:lnTo>
                        <a:lnTo>
                          <a:pt x="188935" y="72728"/>
                        </a:lnTo>
                        <a:lnTo>
                          <a:pt x="197957" y="78009"/>
                        </a:lnTo>
                        <a:lnTo>
                          <a:pt x="199139" y="78107"/>
                        </a:lnTo>
                        <a:lnTo>
                          <a:pt x="199880" y="77553"/>
                        </a:lnTo>
                        <a:lnTo>
                          <a:pt x="200744" y="75687"/>
                        </a:lnTo>
                        <a:lnTo>
                          <a:pt x="200361" y="73959"/>
                        </a:lnTo>
                        <a:lnTo>
                          <a:pt x="199261" y="71555"/>
                        </a:lnTo>
                        <a:lnTo>
                          <a:pt x="199554" y="69827"/>
                        </a:lnTo>
                        <a:lnTo>
                          <a:pt x="201249" y="68735"/>
                        </a:lnTo>
                        <a:lnTo>
                          <a:pt x="202961" y="68205"/>
                        </a:lnTo>
                        <a:lnTo>
                          <a:pt x="204689" y="68213"/>
                        </a:lnTo>
                        <a:lnTo>
                          <a:pt x="206579" y="68849"/>
                        </a:lnTo>
                        <a:lnTo>
                          <a:pt x="215699" y="75238"/>
                        </a:lnTo>
                        <a:lnTo>
                          <a:pt x="227386" y="72182"/>
                        </a:lnTo>
                        <a:lnTo>
                          <a:pt x="229529" y="73551"/>
                        </a:lnTo>
                        <a:lnTo>
                          <a:pt x="231289" y="76110"/>
                        </a:lnTo>
                        <a:lnTo>
                          <a:pt x="232121" y="76534"/>
                        </a:lnTo>
                        <a:lnTo>
                          <a:pt x="236448" y="71432"/>
                        </a:lnTo>
                        <a:lnTo>
                          <a:pt x="239121" y="70161"/>
                        </a:lnTo>
                        <a:lnTo>
                          <a:pt x="250099" y="76216"/>
                        </a:lnTo>
                        <a:lnTo>
                          <a:pt x="256782" y="77561"/>
                        </a:lnTo>
                        <a:lnTo>
                          <a:pt x="259471" y="78857"/>
                        </a:lnTo>
                        <a:lnTo>
                          <a:pt x="264426" y="80283"/>
                        </a:lnTo>
                        <a:lnTo>
                          <a:pt x="271492" y="80829"/>
                        </a:lnTo>
                        <a:lnTo>
                          <a:pt x="272666" y="78588"/>
                        </a:lnTo>
                        <a:lnTo>
                          <a:pt x="268591" y="75703"/>
                        </a:lnTo>
                        <a:lnTo>
                          <a:pt x="270962" y="74423"/>
                        </a:lnTo>
                        <a:lnTo>
                          <a:pt x="280685" y="71987"/>
                        </a:lnTo>
                        <a:lnTo>
                          <a:pt x="285860" y="72329"/>
                        </a:lnTo>
                        <a:lnTo>
                          <a:pt x="295428" y="68857"/>
                        </a:lnTo>
                        <a:lnTo>
                          <a:pt x="301288" y="68393"/>
                        </a:lnTo>
                        <a:lnTo>
                          <a:pt x="304898" y="68450"/>
                        </a:lnTo>
                        <a:lnTo>
                          <a:pt x="316731" y="63209"/>
                        </a:lnTo>
                        <a:lnTo>
                          <a:pt x="319543" y="62370"/>
                        </a:lnTo>
                        <a:lnTo>
                          <a:pt x="321589" y="60495"/>
                        </a:lnTo>
                        <a:lnTo>
                          <a:pt x="326234" y="60789"/>
                        </a:lnTo>
                        <a:lnTo>
                          <a:pt x="338817" y="63772"/>
                        </a:lnTo>
                        <a:lnTo>
                          <a:pt x="342387" y="63503"/>
                        </a:lnTo>
                        <a:lnTo>
                          <a:pt x="355776" y="60536"/>
                        </a:lnTo>
                        <a:lnTo>
                          <a:pt x="360724" y="59811"/>
                        </a:lnTo>
                        <a:lnTo>
                          <a:pt x="365695" y="59917"/>
                        </a:lnTo>
                        <a:lnTo>
                          <a:pt x="378245" y="61661"/>
                        </a:lnTo>
                        <a:lnTo>
                          <a:pt x="387642" y="63527"/>
                        </a:lnTo>
                        <a:lnTo>
                          <a:pt x="390560" y="64513"/>
                        </a:lnTo>
                        <a:lnTo>
                          <a:pt x="389525" y="66966"/>
                        </a:lnTo>
                        <a:lnTo>
                          <a:pt x="390005" y="67692"/>
                        </a:lnTo>
                        <a:lnTo>
                          <a:pt x="391220" y="68230"/>
                        </a:lnTo>
                        <a:lnTo>
                          <a:pt x="394284" y="68947"/>
                        </a:lnTo>
                        <a:lnTo>
                          <a:pt x="406011" y="68996"/>
                        </a:lnTo>
                        <a:lnTo>
                          <a:pt x="411121" y="69623"/>
                        </a:lnTo>
                        <a:lnTo>
                          <a:pt x="415180" y="71921"/>
                        </a:lnTo>
                        <a:lnTo>
                          <a:pt x="416150" y="72834"/>
                        </a:lnTo>
                        <a:lnTo>
                          <a:pt x="415987" y="73788"/>
                        </a:lnTo>
                        <a:lnTo>
                          <a:pt x="412002" y="76273"/>
                        </a:lnTo>
                        <a:lnTo>
                          <a:pt x="412646" y="76795"/>
                        </a:lnTo>
                        <a:lnTo>
                          <a:pt x="416639" y="77365"/>
                        </a:lnTo>
                        <a:lnTo>
                          <a:pt x="425612" y="77651"/>
                        </a:lnTo>
                        <a:lnTo>
                          <a:pt x="427535" y="78221"/>
                        </a:lnTo>
                        <a:lnTo>
                          <a:pt x="429385" y="81318"/>
                        </a:lnTo>
                        <a:lnTo>
                          <a:pt x="431316" y="85597"/>
                        </a:lnTo>
                        <a:lnTo>
                          <a:pt x="431284" y="87292"/>
                        </a:lnTo>
                        <a:lnTo>
                          <a:pt x="428171" y="90177"/>
                        </a:lnTo>
                        <a:lnTo>
                          <a:pt x="419679" y="94023"/>
                        </a:lnTo>
                        <a:lnTo>
                          <a:pt x="410241" y="97218"/>
                        </a:lnTo>
                        <a:lnTo>
                          <a:pt x="409630" y="98041"/>
                        </a:lnTo>
                        <a:lnTo>
                          <a:pt x="412646" y="99565"/>
                        </a:lnTo>
                        <a:lnTo>
                          <a:pt x="415759" y="100234"/>
                        </a:lnTo>
                        <a:lnTo>
                          <a:pt x="418203" y="100103"/>
                        </a:lnTo>
                        <a:lnTo>
                          <a:pt x="425726" y="98653"/>
                        </a:lnTo>
                        <a:lnTo>
                          <a:pt x="427437" y="98685"/>
                        </a:lnTo>
                        <a:lnTo>
                          <a:pt x="430893" y="100160"/>
                        </a:lnTo>
                        <a:lnTo>
                          <a:pt x="432490" y="101627"/>
                        </a:lnTo>
                        <a:lnTo>
                          <a:pt x="433957" y="103591"/>
                        </a:lnTo>
                        <a:lnTo>
                          <a:pt x="431308" y="105368"/>
                        </a:lnTo>
                        <a:lnTo>
                          <a:pt x="420477" y="107576"/>
                        </a:lnTo>
                        <a:lnTo>
                          <a:pt x="414088" y="104667"/>
                        </a:lnTo>
                        <a:lnTo>
                          <a:pt x="411936" y="104031"/>
                        </a:lnTo>
                        <a:lnTo>
                          <a:pt x="410478" y="104284"/>
                        </a:lnTo>
                        <a:lnTo>
                          <a:pt x="411309" y="105555"/>
                        </a:lnTo>
                        <a:lnTo>
                          <a:pt x="414398" y="107862"/>
                        </a:lnTo>
                        <a:lnTo>
                          <a:pt x="415416" y="109378"/>
                        </a:lnTo>
                        <a:lnTo>
                          <a:pt x="414340" y="110111"/>
                        </a:lnTo>
                        <a:lnTo>
                          <a:pt x="413835" y="111570"/>
                        </a:lnTo>
                        <a:lnTo>
                          <a:pt x="413892" y="113738"/>
                        </a:lnTo>
                        <a:lnTo>
                          <a:pt x="413640" y="115946"/>
                        </a:lnTo>
                        <a:lnTo>
                          <a:pt x="412588" y="119377"/>
                        </a:lnTo>
                        <a:lnTo>
                          <a:pt x="412222" y="119524"/>
                        </a:lnTo>
                        <a:lnTo>
                          <a:pt x="388693" y="120225"/>
                        </a:lnTo>
                        <a:lnTo>
                          <a:pt x="385865" y="120844"/>
                        </a:lnTo>
                        <a:lnTo>
                          <a:pt x="379248" y="123265"/>
                        </a:lnTo>
                        <a:lnTo>
                          <a:pt x="374244" y="124479"/>
                        </a:lnTo>
                        <a:lnTo>
                          <a:pt x="370984" y="124666"/>
                        </a:lnTo>
                        <a:lnTo>
                          <a:pt x="367797" y="124218"/>
                        </a:lnTo>
                        <a:lnTo>
                          <a:pt x="359216" y="121716"/>
                        </a:lnTo>
                        <a:lnTo>
                          <a:pt x="353495" y="122181"/>
                        </a:lnTo>
                        <a:lnTo>
                          <a:pt x="351253" y="121944"/>
                        </a:lnTo>
                        <a:lnTo>
                          <a:pt x="346404" y="120274"/>
                        </a:lnTo>
                        <a:lnTo>
                          <a:pt x="345231" y="119426"/>
                        </a:lnTo>
                        <a:lnTo>
                          <a:pt x="343275" y="117242"/>
                        </a:lnTo>
                        <a:lnTo>
                          <a:pt x="341800" y="114235"/>
                        </a:lnTo>
                        <a:lnTo>
                          <a:pt x="341914" y="112385"/>
                        </a:lnTo>
                        <a:lnTo>
                          <a:pt x="342533" y="109728"/>
                        </a:lnTo>
                        <a:lnTo>
                          <a:pt x="342158" y="108383"/>
                        </a:lnTo>
                        <a:lnTo>
                          <a:pt x="340773" y="108375"/>
                        </a:lnTo>
                        <a:lnTo>
                          <a:pt x="339241" y="107829"/>
                        </a:lnTo>
                        <a:lnTo>
                          <a:pt x="334604" y="105148"/>
                        </a:lnTo>
                        <a:lnTo>
                          <a:pt x="331751" y="104349"/>
                        </a:lnTo>
                        <a:lnTo>
                          <a:pt x="331221" y="104797"/>
                        </a:lnTo>
                        <a:lnTo>
                          <a:pt x="332061" y="106884"/>
                        </a:lnTo>
                        <a:lnTo>
                          <a:pt x="332615" y="107552"/>
                        </a:lnTo>
                        <a:lnTo>
                          <a:pt x="335663" y="109084"/>
                        </a:lnTo>
                        <a:lnTo>
                          <a:pt x="336234" y="110845"/>
                        </a:lnTo>
                        <a:lnTo>
                          <a:pt x="334938" y="115319"/>
                        </a:lnTo>
                        <a:lnTo>
                          <a:pt x="334481" y="116044"/>
                        </a:lnTo>
                        <a:lnTo>
                          <a:pt x="331507" y="119320"/>
                        </a:lnTo>
                        <a:lnTo>
                          <a:pt x="329274" y="120257"/>
                        </a:lnTo>
                        <a:lnTo>
                          <a:pt x="323170" y="120331"/>
                        </a:lnTo>
                        <a:lnTo>
                          <a:pt x="313814" y="122653"/>
                        </a:lnTo>
                        <a:lnTo>
                          <a:pt x="309348" y="122988"/>
                        </a:lnTo>
                        <a:lnTo>
                          <a:pt x="303349" y="122450"/>
                        </a:lnTo>
                        <a:lnTo>
                          <a:pt x="299601" y="121390"/>
                        </a:lnTo>
                        <a:lnTo>
                          <a:pt x="297172" y="120176"/>
                        </a:lnTo>
                        <a:lnTo>
                          <a:pt x="294808" y="118448"/>
                        </a:lnTo>
                        <a:lnTo>
                          <a:pt x="293570" y="118318"/>
                        </a:lnTo>
                        <a:lnTo>
                          <a:pt x="292942" y="122067"/>
                        </a:lnTo>
                        <a:lnTo>
                          <a:pt x="291785" y="122556"/>
                        </a:lnTo>
                        <a:lnTo>
                          <a:pt x="289780" y="122490"/>
                        </a:lnTo>
                        <a:lnTo>
                          <a:pt x="286683" y="121333"/>
                        </a:lnTo>
                        <a:lnTo>
                          <a:pt x="284124" y="118619"/>
                        </a:lnTo>
                        <a:lnTo>
                          <a:pt x="283325" y="118636"/>
                        </a:lnTo>
                        <a:lnTo>
                          <a:pt x="282975" y="120209"/>
                        </a:lnTo>
                        <a:lnTo>
                          <a:pt x="282404" y="121244"/>
                        </a:lnTo>
                        <a:lnTo>
                          <a:pt x="281614" y="121733"/>
                        </a:lnTo>
                        <a:lnTo>
                          <a:pt x="275053" y="123428"/>
                        </a:lnTo>
                        <a:lnTo>
                          <a:pt x="271394" y="123436"/>
                        </a:lnTo>
                        <a:lnTo>
                          <a:pt x="267572" y="121496"/>
                        </a:lnTo>
                        <a:lnTo>
                          <a:pt x="265062" y="121692"/>
                        </a:lnTo>
                        <a:lnTo>
                          <a:pt x="261851" y="122735"/>
                        </a:lnTo>
                        <a:lnTo>
                          <a:pt x="254035" y="120763"/>
                        </a:lnTo>
                        <a:lnTo>
                          <a:pt x="252169" y="120681"/>
                        </a:lnTo>
                        <a:lnTo>
                          <a:pt x="253766" y="123884"/>
                        </a:lnTo>
                        <a:lnTo>
                          <a:pt x="251191" y="124381"/>
                        </a:lnTo>
                        <a:lnTo>
                          <a:pt x="245625" y="124308"/>
                        </a:lnTo>
                        <a:lnTo>
                          <a:pt x="236473" y="123273"/>
                        </a:lnTo>
                        <a:lnTo>
                          <a:pt x="230792" y="124772"/>
                        </a:lnTo>
                        <a:lnTo>
                          <a:pt x="220540" y="123876"/>
                        </a:lnTo>
                        <a:lnTo>
                          <a:pt x="210198" y="123648"/>
                        </a:lnTo>
                        <a:lnTo>
                          <a:pt x="208274" y="122914"/>
                        </a:lnTo>
                        <a:lnTo>
                          <a:pt x="206905" y="121415"/>
                        </a:lnTo>
                        <a:lnTo>
                          <a:pt x="206857" y="120086"/>
                        </a:lnTo>
                        <a:lnTo>
                          <a:pt x="207354" y="118228"/>
                        </a:lnTo>
                        <a:lnTo>
                          <a:pt x="208869" y="115482"/>
                        </a:lnTo>
                        <a:lnTo>
                          <a:pt x="211396" y="111822"/>
                        </a:lnTo>
                        <a:lnTo>
                          <a:pt x="212268" y="109899"/>
                        </a:lnTo>
                        <a:lnTo>
                          <a:pt x="209994" y="108995"/>
                        </a:lnTo>
                        <a:lnTo>
                          <a:pt x="208584" y="107797"/>
                        </a:lnTo>
                        <a:lnTo>
                          <a:pt x="207427" y="107666"/>
                        </a:lnTo>
                        <a:lnTo>
                          <a:pt x="203776" y="109076"/>
                        </a:lnTo>
                        <a:lnTo>
                          <a:pt x="201396" y="113192"/>
                        </a:lnTo>
                        <a:lnTo>
                          <a:pt x="199579" y="114381"/>
                        </a:lnTo>
                        <a:lnTo>
                          <a:pt x="198780" y="113387"/>
                        </a:lnTo>
                        <a:lnTo>
                          <a:pt x="198177" y="110885"/>
                        </a:lnTo>
                        <a:lnTo>
                          <a:pt x="197370" y="109671"/>
                        </a:lnTo>
                        <a:lnTo>
                          <a:pt x="196376" y="109736"/>
                        </a:lnTo>
                        <a:lnTo>
                          <a:pt x="195398" y="110396"/>
                        </a:lnTo>
                        <a:lnTo>
                          <a:pt x="194453" y="111676"/>
                        </a:lnTo>
                        <a:lnTo>
                          <a:pt x="193026" y="112124"/>
                        </a:lnTo>
                        <a:lnTo>
                          <a:pt x="191128" y="111782"/>
                        </a:lnTo>
                        <a:lnTo>
                          <a:pt x="190451" y="112401"/>
                        </a:lnTo>
                        <a:lnTo>
                          <a:pt x="191005" y="113990"/>
                        </a:lnTo>
                        <a:lnTo>
                          <a:pt x="191201" y="115482"/>
                        </a:lnTo>
                        <a:lnTo>
                          <a:pt x="191030" y="116867"/>
                        </a:lnTo>
                        <a:lnTo>
                          <a:pt x="189392" y="118212"/>
                        </a:lnTo>
                        <a:lnTo>
                          <a:pt x="184730" y="120160"/>
                        </a:lnTo>
                        <a:lnTo>
                          <a:pt x="182032" y="120787"/>
                        </a:lnTo>
                        <a:lnTo>
                          <a:pt x="174942" y="121081"/>
                        </a:lnTo>
                        <a:lnTo>
                          <a:pt x="170704" y="120494"/>
                        </a:lnTo>
                        <a:lnTo>
                          <a:pt x="162114" y="118155"/>
                        </a:lnTo>
                        <a:lnTo>
                          <a:pt x="157363" y="118049"/>
                        </a:lnTo>
                        <a:lnTo>
                          <a:pt x="151642" y="114104"/>
                        </a:lnTo>
                        <a:lnTo>
                          <a:pt x="147103" y="113200"/>
                        </a:lnTo>
                        <a:lnTo>
                          <a:pt x="147339" y="111774"/>
                        </a:lnTo>
                        <a:lnTo>
                          <a:pt x="149319" y="109125"/>
                        </a:lnTo>
                        <a:lnTo>
                          <a:pt x="149254" y="108334"/>
                        </a:lnTo>
                        <a:lnTo>
                          <a:pt x="143060" y="112189"/>
                        </a:lnTo>
                        <a:lnTo>
                          <a:pt x="142221" y="113428"/>
                        </a:lnTo>
                        <a:lnTo>
                          <a:pt x="142946" y="116289"/>
                        </a:lnTo>
                        <a:lnTo>
                          <a:pt x="142123" y="116492"/>
                        </a:lnTo>
                        <a:lnTo>
                          <a:pt x="137861" y="115465"/>
                        </a:lnTo>
                        <a:lnTo>
                          <a:pt x="133672" y="116248"/>
                        </a:lnTo>
                        <a:lnTo>
                          <a:pt x="132661" y="116011"/>
                        </a:lnTo>
                        <a:lnTo>
                          <a:pt x="129768" y="113950"/>
                        </a:lnTo>
                        <a:lnTo>
                          <a:pt x="124675" y="111847"/>
                        </a:lnTo>
                        <a:lnTo>
                          <a:pt x="122433" y="109492"/>
                        </a:lnTo>
                        <a:lnTo>
                          <a:pt x="118937" y="102124"/>
                        </a:lnTo>
                        <a:lnTo>
                          <a:pt x="117160" y="97243"/>
                        </a:lnTo>
                        <a:lnTo>
                          <a:pt x="117381" y="96240"/>
                        </a:lnTo>
                        <a:lnTo>
                          <a:pt x="119972" y="94863"/>
                        </a:lnTo>
                        <a:lnTo>
                          <a:pt x="119581" y="93787"/>
                        </a:lnTo>
                        <a:lnTo>
                          <a:pt x="116345" y="91041"/>
                        </a:lnTo>
                        <a:lnTo>
                          <a:pt x="112858" y="88718"/>
                        </a:lnTo>
                        <a:lnTo>
                          <a:pt x="111822" y="87121"/>
                        </a:lnTo>
                        <a:lnTo>
                          <a:pt x="111358" y="85499"/>
                        </a:lnTo>
                        <a:lnTo>
                          <a:pt x="110885" y="83152"/>
                        </a:lnTo>
                        <a:lnTo>
                          <a:pt x="110869" y="81416"/>
                        </a:lnTo>
                        <a:lnTo>
                          <a:pt x="111284" y="80291"/>
                        </a:lnTo>
                        <a:lnTo>
                          <a:pt x="113281" y="76795"/>
                        </a:lnTo>
                        <a:lnTo>
                          <a:pt x="118733" y="70503"/>
                        </a:lnTo>
                        <a:lnTo>
                          <a:pt x="119475" y="69362"/>
                        </a:lnTo>
                        <a:lnTo>
                          <a:pt x="119768" y="68238"/>
                        </a:lnTo>
                        <a:lnTo>
                          <a:pt x="119019" y="64904"/>
                        </a:lnTo>
                        <a:lnTo>
                          <a:pt x="117959" y="61563"/>
                        </a:lnTo>
                        <a:lnTo>
                          <a:pt x="116892" y="59167"/>
                        </a:lnTo>
                        <a:lnTo>
                          <a:pt x="113876" y="55866"/>
                        </a:lnTo>
                        <a:lnTo>
                          <a:pt x="109728" y="52435"/>
                        </a:lnTo>
                        <a:lnTo>
                          <a:pt x="103901" y="46258"/>
                        </a:lnTo>
                        <a:lnTo>
                          <a:pt x="99573" y="41450"/>
                        </a:lnTo>
                        <a:lnTo>
                          <a:pt x="94407" y="34677"/>
                        </a:lnTo>
                        <a:lnTo>
                          <a:pt x="91904" y="34098"/>
                        </a:lnTo>
                        <a:lnTo>
                          <a:pt x="89019" y="34400"/>
                        </a:lnTo>
                        <a:lnTo>
                          <a:pt x="82793" y="36731"/>
                        </a:lnTo>
                        <a:lnTo>
                          <a:pt x="80690" y="37847"/>
                        </a:lnTo>
                        <a:lnTo>
                          <a:pt x="80177" y="38589"/>
                        </a:lnTo>
                        <a:lnTo>
                          <a:pt x="75540" y="38760"/>
                        </a:lnTo>
                        <a:lnTo>
                          <a:pt x="62386" y="38141"/>
                        </a:lnTo>
                        <a:lnTo>
                          <a:pt x="57358" y="37432"/>
                        </a:lnTo>
                        <a:lnTo>
                          <a:pt x="53601" y="37611"/>
                        </a:lnTo>
                        <a:lnTo>
                          <a:pt x="47154" y="39331"/>
                        </a:lnTo>
                        <a:lnTo>
                          <a:pt x="40276" y="39013"/>
                        </a:lnTo>
                        <a:lnTo>
                          <a:pt x="35973" y="34237"/>
                        </a:lnTo>
                        <a:lnTo>
                          <a:pt x="26201" y="31654"/>
                        </a:lnTo>
                        <a:lnTo>
                          <a:pt x="23284" y="30219"/>
                        </a:lnTo>
                        <a:lnTo>
                          <a:pt x="21287" y="28239"/>
                        </a:lnTo>
                        <a:lnTo>
                          <a:pt x="21947" y="26943"/>
                        </a:lnTo>
                        <a:lnTo>
                          <a:pt x="27513" y="25786"/>
                        </a:lnTo>
                        <a:lnTo>
                          <a:pt x="29820" y="24506"/>
                        </a:lnTo>
                        <a:lnTo>
                          <a:pt x="30928" y="23479"/>
                        </a:lnTo>
                        <a:lnTo>
                          <a:pt x="25419" y="24368"/>
                        </a:lnTo>
                        <a:lnTo>
                          <a:pt x="22982" y="24213"/>
                        </a:lnTo>
                        <a:lnTo>
                          <a:pt x="6406" y="17726"/>
                        </a:lnTo>
                        <a:lnTo>
                          <a:pt x="1296" y="16577"/>
                        </a:lnTo>
                        <a:lnTo>
                          <a:pt x="424" y="16006"/>
                        </a:lnTo>
                        <a:lnTo>
                          <a:pt x="0" y="15240"/>
                        </a:lnTo>
                        <a:lnTo>
                          <a:pt x="8" y="14295"/>
                        </a:lnTo>
                        <a:lnTo>
                          <a:pt x="489" y="12860"/>
                        </a:lnTo>
                        <a:lnTo>
                          <a:pt x="5420" y="14670"/>
                        </a:lnTo>
                        <a:lnTo>
                          <a:pt x="7628" y="14808"/>
                        </a:lnTo>
                        <a:lnTo>
                          <a:pt x="11075" y="14262"/>
                        </a:lnTo>
                        <a:lnTo>
                          <a:pt x="12306" y="13129"/>
                        </a:lnTo>
                        <a:lnTo>
                          <a:pt x="11532" y="12477"/>
                        </a:lnTo>
                        <a:lnTo>
                          <a:pt x="5876" y="10309"/>
                        </a:lnTo>
                        <a:lnTo>
                          <a:pt x="3146" y="8663"/>
                        </a:lnTo>
                        <a:lnTo>
                          <a:pt x="2095" y="7465"/>
                        </a:lnTo>
                        <a:lnTo>
                          <a:pt x="3178" y="5762"/>
                        </a:lnTo>
                        <a:lnTo>
                          <a:pt x="3464" y="4613"/>
                        </a:lnTo>
                        <a:lnTo>
                          <a:pt x="5281" y="3969"/>
                        </a:lnTo>
                        <a:lnTo>
                          <a:pt x="8630" y="3822"/>
                        </a:lnTo>
                        <a:lnTo>
                          <a:pt x="12917" y="3007"/>
                        </a:lnTo>
                        <a:lnTo>
                          <a:pt x="20749" y="791"/>
                        </a:lnTo>
                        <a:lnTo>
                          <a:pt x="26006" y="0"/>
                        </a:lnTo>
                        <a:lnTo>
                          <a:pt x="31238" y="114"/>
                        </a:lnTo>
                        <a:lnTo>
                          <a:pt x="43935" y="2388"/>
                        </a:lnTo>
                        <a:lnTo>
                          <a:pt x="56592" y="5273"/>
                        </a:lnTo>
                        <a:close/>
                      </a:path>
                    </a:pathLst>
                  </a:custGeom>
                  <a:solidFill>
                    <a:srgbClr val="D6D6D2"/>
                  </a:solidFill>
                  <a:ln w="8150" cap="flat">
                    <a:noFill/>
                    <a:prstDash val="solid"/>
                    <a:miter/>
                  </a:ln>
                </p:spPr>
                <p:txBody>
                  <a:bodyPr rtlCol="0" anchor="ctr"/>
                  <a:lstStyle/>
                  <a:p>
                    <a:endParaRPr lang="en-US"/>
                  </a:p>
                </p:txBody>
              </p:sp>
              <p:sp>
                <p:nvSpPr>
                  <p:cNvPr id="522" name="Freeform: Shape 521">
                    <a:extLst>
                      <a:ext uri="{FF2B5EF4-FFF2-40B4-BE49-F238E27FC236}">
                        <a16:creationId xmlns:a16="http://schemas.microsoft.com/office/drawing/2014/main" id="{B73D349F-3F12-450D-87FE-134CB5F7FC3A}"/>
                      </a:ext>
                    </a:extLst>
                  </p:cNvPr>
                  <p:cNvSpPr/>
                  <p:nvPr/>
                </p:nvSpPr>
                <p:spPr>
                  <a:xfrm>
                    <a:off x="3697476" y="1803513"/>
                    <a:ext cx="21531" cy="17008"/>
                  </a:xfrm>
                  <a:custGeom>
                    <a:avLst/>
                    <a:gdLst>
                      <a:gd name="connsiteX0" fmla="*/ 20733 w 21531"/>
                      <a:gd name="connsiteY0" fmla="*/ 16039 h 17008"/>
                      <a:gd name="connsiteX1" fmla="*/ 19568 w 21531"/>
                      <a:gd name="connsiteY1" fmla="*/ 16707 h 17008"/>
                      <a:gd name="connsiteX2" fmla="*/ 15835 w 21531"/>
                      <a:gd name="connsiteY2" fmla="*/ 16365 h 17008"/>
                      <a:gd name="connsiteX3" fmla="*/ 14588 w 21531"/>
                      <a:gd name="connsiteY3" fmla="*/ 17008 h 17008"/>
                      <a:gd name="connsiteX4" fmla="*/ 12608 w 21531"/>
                      <a:gd name="connsiteY4" fmla="*/ 16642 h 17008"/>
                      <a:gd name="connsiteX5" fmla="*/ 9869 w 21531"/>
                      <a:gd name="connsiteY5" fmla="*/ 15256 h 17008"/>
                      <a:gd name="connsiteX6" fmla="*/ 6675 w 21531"/>
                      <a:gd name="connsiteY6" fmla="*/ 12534 h 17008"/>
                      <a:gd name="connsiteX7" fmla="*/ 3015 w 21531"/>
                      <a:gd name="connsiteY7" fmla="*/ 8492 h 17008"/>
                      <a:gd name="connsiteX8" fmla="*/ 155 w 21531"/>
                      <a:gd name="connsiteY8" fmla="*/ 4996 h 17008"/>
                      <a:gd name="connsiteX9" fmla="*/ 0 w 21531"/>
                      <a:gd name="connsiteY9" fmla="*/ 4034 h 17008"/>
                      <a:gd name="connsiteX10" fmla="*/ 937 w 21531"/>
                      <a:gd name="connsiteY10" fmla="*/ 2404 h 17008"/>
                      <a:gd name="connsiteX11" fmla="*/ 3798 w 21531"/>
                      <a:gd name="connsiteY11" fmla="*/ 1312 h 17008"/>
                      <a:gd name="connsiteX12" fmla="*/ 10570 w 21531"/>
                      <a:gd name="connsiteY12" fmla="*/ 0 h 17008"/>
                      <a:gd name="connsiteX13" fmla="*/ 15224 w 21531"/>
                      <a:gd name="connsiteY13" fmla="*/ 41 h 17008"/>
                      <a:gd name="connsiteX14" fmla="*/ 19543 w 21531"/>
                      <a:gd name="connsiteY14" fmla="*/ 2681 h 17008"/>
                      <a:gd name="connsiteX15" fmla="*/ 20766 w 21531"/>
                      <a:gd name="connsiteY15" fmla="*/ 3594 h 17008"/>
                      <a:gd name="connsiteX16" fmla="*/ 21507 w 21531"/>
                      <a:gd name="connsiteY16" fmla="*/ 4678 h 17008"/>
                      <a:gd name="connsiteX17" fmla="*/ 21532 w 21531"/>
                      <a:gd name="connsiteY17" fmla="*/ 5713 h 17008"/>
                      <a:gd name="connsiteX18" fmla="*/ 21173 w 21531"/>
                      <a:gd name="connsiteY18" fmla="*/ 6626 h 17008"/>
                      <a:gd name="connsiteX19" fmla="*/ 19225 w 21531"/>
                      <a:gd name="connsiteY19" fmla="*/ 8647 h 17008"/>
                      <a:gd name="connsiteX20" fmla="*/ 18362 w 21531"/>
                      <a:gd name="connsiteY20" fmla="*/ 10057 h 17008"/>
                      <a:gd name="connsiteX21" fmla="*/ 18369 w 21531"/>
                      <a:gd name="connsiteY21" fmla="*/ 11442 h 17008"/>
                      <a:gd name="connsiteX22" fmla="*/ 18793 w 21531"/>
                      <a:gd name="connsiteY22" fmla="*/ 13439 h 17008"/>
                      <a:gd name="connsiteX23" fmla="*/ 19576 w 21531"/>
                      <a:gd name="connsiteY23" fmla="*/ 14759 h 17008"/>
                      <a:gd name="connsiteX24" fmla="*/ 20733 w 21531"/>
                      <a:gd name="connsiteY24" fmla="*/ 15387 h 1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531" h="17008">
                        <a:moveTo>
                          <a:pt x="20733" y="16039"/>
                        </a:moveTo>
                        <a:lnTo>
                          <a:pt x="19568" y="16707"/>
                        </a:lnTo>
                        <a:lnTo>
                          <a:pt x="15835" y="16365"/>
                        </a:lnTo>
                        <a:lnTo>
                          <a:pt x="14588" y="17008"/>
                        </a:lnTo>
                        <a:lnTo>
                          <a:pt x="12608" y="16642"/>
                        </a:lnTo>
                        <a:lnTo>
                          <a:pt x="9869" y="15256"/>
                        </a:lnTo>
                        <a:lnTo>
                          <a:pt x="6675" y="12534"/>
                        </a:lnTo>
                        <a:lnTo>
                          <a:pt x="3015" y="8492"/>
                        </a:lnTo>
                        <a:lnTo>
                          <a:pt x="155" y="4996"/>
                        </a:lnTo>
                        <a:lnTo>
                          <a:pt x="0" y="4034"/>
                        </a:lnTo>
                        <a:lnTo>
                          <a:pt x="937" y="2404"/>
                        </a:lnTo>
                        <a:lnTo>
                          <a:pt x="3798" y="1312"/>
                        </a:lnTo>
                        <a:lnTo>
                          <a:pt x="10570" y="0"/>
                        </a:lnTo>
                        <a:lnTo>
                          <a:pt x="15224" y="41"/>
                        </a:lnTo>
                        <a:lnTo>
                          <a:pt x="19543" y="2681"/>
                        </a:lnTo>
                        <a:lnTo>
                          <a:pt x="20766" y="3594"/>
                        </a:lnTo>
                        <a:lnTo>
                          <a:pt x="21507" y="4678"/>
                        </a:lnTo>
                        <a:lnTo>
                          <a:pt x="21532" y="5713"/>
                        </a:lnTo>
                        <a:lnTo>
                          <a:pt x="21173" y="6626"/>
                        </a:lnTo>
                        <a:lnTo>
                          <a:pt x="19225" y="8647"/>
                        </a:lnTo>
                        <a:lnTo>
                          <a:pt x="18362" y="10057"/>
                        </a:lnTo>
                        <a:lnTo>
                          <a:pt x="18369" y="11442"/>
                        </a:lnTo>
                        <a:lnTo>
                          <a:pt x="18793" y="13439"/>
                        </a:lnTo>
                        <a:lnTo>
                          <a:pt x="19576" y="14759"/>
                        </a:lnTo>
                        <a:lnTo>
                          <a:pt x="20733" y="15387"/>
                        </a:lnTo>
                        <a:close/>
                      </a:path>
                    </a:pathLst>
                  </a:custGeom>
                  <a:solidFill>
                    <a:srgbClr val="D6D6D2"/>
                  </a:solidFill>
                  <a:ln w="8150" cap="flat">
                    <a:noFill/>
                    <a:prstDash val="solid"/>
                    <a:miter/>
                  </a:ln>
                </p:spPr>
                <p:txBody>
                  <a:bodyPr rtlCol="0" anchor="ctr"/>
                  <a:lstStyle/>
                  <a:p>
                    <a:endParaRPr lang="en-US"/>
                  </a:p>
                </p:txBody>
              </p:sp>
              <p:sp>
                <p:nvSpPr>
                  <p:cNvPr id="523" name="Freeform: Shape 522">
                    <a:extLst>
                      <a:ext uri="{FF2B5EF4-FFF2-40B4-BE49-F238E27FC236}">
                        <a16:creationId xmlns:a16="http://schemas.microsoft.com/office/drawing/2014/main" id="{59CBA02E-5E00-4035-93BA-0041BA4A9AF2}"/>
                      </a:ext>
                    </a:extLst>
                  </p:cNvPr>
                  <p:cNvSpPr/>
                  <p:nvPr/>
                </p:nvSpPr>
                <p:spPr>
                  <a:xfrm>
                    <a:off x="3215297" y="1804287"/>
                    <a:ext cx="112172" cy="94789"/>
                  </a:xfrm>
                  <a:custGeom>
                    <a:avLst/>
                    <a:gdLst>
                      <a:gd name="connsiteX0" fmla="*/ 42436 w 112172"/>
                      <a:gd name="connsiteY0" fmla="*/ 37065 h 94789"/>
                      <a:gd name="connsiteX1" fmla="*/ 45565 w 112172"/>
                      <a:gd name="connsiteY1" fmla="*/ 37204 h 94789"/>
                      <a:gd name="connsiteX2" fmla="*/ 49224 w 112172"/>
                      <a:gd name="connsiteY2" fmla="*/ 36666 h 94789"/>
                      <a:gd name="connsiteX3" fmla="*/ 53348 w 112172"/>
                      <a:gd name="connsiteY3" fmla="*/ 37032 h 94789"/>
                      <a:gd name="connsiteX4" fmla="*/ 55223 w 112172"/>
                      <a:gd name="connsiteY4" fmla="*/ 38116 h 94789"/>
                      <a:gd name="connsiteX5" fmla="*/ 56543 w 112172"/>
                      <a:gd name="connsiteY5" fmla="*/ 40040 h 94789"/>
                      <a:gd name="connsiteX6" fmla="*/ 56600 w 112172"/>
                      <a:gd name="connsiteY6" fmla="*/ 41075 h 94789"/>
                      <a:gd name="connsiteX7" fmla="*/ 56339 w 112172"/>
                      <a:gd name="connsiteY7" fmla="*/ 41955 h 94789"/>
                      <a:gd name="connsiteX8" fmla="*/ 55760 w 112172"/>
                      <a:gd name="connsiteY8" fmla="*/ 42696 h 94789"/>
                      <a:gd name="connsiteX9" fmla="*/ 50422 w 112172"/>
                      <a:gd name="connsiteY9" fmla="*/ 47546 h 94789"/>
                      <a:gd name="connsiteX10" fmla="*/ 49175 w 112172"/>
                      <a:gd name="connsiteY10" fmla="*/ 49216 h 94789"/>
                      <a:gd name="connsiteX11" fmla="*/ 50903 w 112172"/>
                      <a:gd name="connsiteY11" fmla="*/ 49624 h 94789"/>
                      <a:gd name="connsiteX12" fmla="*/ 51735 w 112172"/>
                      <a:gd name="connsiteY12" fmla="*/ 49347 h 94789"/>
                      <a:gd name="connsiteX13" fmla="*/ 57064 w 112172"/>
                      <a:gd name="connsiteY13" fmla="*/ 45712 h 94789"/>
                      <a:gd name="connsiteX14" fmla="*/ 61074 w 112172"/>
                      <a:gd name="connsiteY14" fmla="*/ 44587 h 94789"/>
                      <a:gd name="connsiteX15" fmla="*/ 64114 w 112172"/>
                      <a:gd name="connsiteY15" fmla="*/ 44318 h 94789"/>
                      <a:gd name="connsiteX16" fmla="*/ 69126 w 112172"/>
                      <a:gd name="connsiteY16" fmla="*/ 45044 h 94789"/>
                      <a:gd name="connsiteX17" fmla="*/ 71123 w 112172"/>
                      <a:gd name="connsiteY17" fmla="*/ 45671 h 94789"/>
                      <a:gd name="connsiteX18" fmla="*/ 72492 w 112172"/>
                      <a:gd name="connsiteY18" fmla="*/ 46413 h 94789"/>
                      <a:gd name="connsiteX19" fmla="*/ 73242 w 112172"/>
                      <a:gd name="connsiteY19" fmla="*/ 47268 h 94789"/>
                      <a:gd name="connsiteX20" fmla="*/ 75214 w 112172"/>
                      <a:gd name="connsiteY20" fmla="*/ 50740 h 94789"/>
                      <a:gd name="connsiteX21" fmla="*/ 76632 w 112172"/>
                      <a:gd name="connsiteY21" fmla="*/ 55231 h 94789"/>
                      <a:gd name="connsiteX22" fmla="*/ 76868 w 112172"/>
                      <a:gd name="connsiteY22" fmla="*/ 54766 h 94789"/>
                      <a:gd name="connsiteX23" fmla="*/ 76901 w 112172"/>
                      <a:gd name="connsiteY23" fmla="*/ 52256 h 94789"/>
                      <a:gd name="connsiteX24" fmla="*/ 77178 w 112172"/>
                      <a:gd name="connsiteY24" fmla="*/ 50292 h 94789"/>
                      <a:gd name="connsiteX25" fmla="*/ 82100 w 112172"/>
                      <a:gd name="connsiteY25" fmla="*/ 48972 h 94789"/>
                      <a:gd name="connsiteX26" fmla="*/ 82231 w 112172"/>
                      <a:gd name="connsiteY26" fmla="*/ 48532 h 94789"/>
                      <a:gd name="connsiteX27" fmla="*/ 80454 w 112172"/>
                      <a:gd name="connsiteY27" fmla="*/ 47448 h 94789"/>
                      <a:gd name="connsiteX28" fmla="*/ 78955 w 112172"/>
                      <a:gd name="connsiteY28" fmla="*/ 45965 h 94789"/>
                      <a:gd name="connsiteX29" fmla="*/ 77911 w 112172"/>
                      <a:gd name="connsiteY29" fmla="*/ 43185 h 94789"/>
                      <a:gd name="connsiteX30" fmla="*/ 78319 w 112172"/>
                      <a:gd name="connsiteY30" fmla="*/ 42150 h 94789"/>
                      <a:gd name="connsiteX31" fmla="*/ 79354 w 112172"/>
                      <a:gd name="connsiteY31" fmla="*/ 41042 h 94789"/>
                      <a:gd name="connsiteX32" fmla="*/ 82500 w 112172"/>
                      <a:gd name="connsiteY32" fmla="*/ 38671 h 94789"/>
                      <a:gd name="connsiteX33" fmla="*/ 86183 w 112172"/>
                      <a:gd name="connsiteY33" fmla="*/ 37261 h 94789"/>
                      <a:gd name="connsiteX34" fmla="*/ 89451 w 112172"/>
                      <a:gd name="connsiteY34" fmla="*/ 36918 h 94789"/>
                      <a:gd name="connsiteX35" fmla="*/ 101652 w 112172"/>
                      <a:gd name="connsiteY35" fmla="*/ 39380 h 94789"/>
                      <a:gd name="connsiteX36" fmla="*/ 106452 w 112172"/>
                      <a:gd name="connsiteY36" fmla="*/ 41409 h 94789"/>
                      <a:gd name="connsiteX37" fmla="*/ 108400 w 112172"/>
                      <a:gd name="connsiteY37" fmla="*/ 42452 h 94789"/>
                      <a:gd name="connsiteX38" fmla="*/ 109109 w 112172"/>
                      <a:gd name="connsiteY38" fmla="*/ 43194 h 94789"/>
                      <a:gd name="connsiteX39" fmla="*/ 110127 w 112172"/>
                      <a:gd name="connsiteY39" fmla="*/ 45573 h 94789"/>
                      <a:gd name="connsiteX40" fmla="*/ 112173 w 112172"/>
                      <a:gd name="connsiteY40" fmla="*/ 52060 h 94789"/>
                      <a:gd name="connsiteX41" fmla="*/ 112157 w 112172"/>
                      <a:gd name="connsiteY41" fmla="*/ 54139 h 94789"/>
                      <a:gd name="connsiteX42" fmla="*/ 111211 w 112172"/>
                      <a:gd name="connsiteY42" fmla="*/ 57496 h 94789"/>
                      <a:gd name="connsiteX43" fmla="*/ 107267 w 112172"/>
                      <a:gd name="connsiteY43" fmla="*/ 63780 h 94789"/>
                      <a:gd name="connsiteX44" fmla="*/ 106664 w 112172"/>
                      <a:gd name="connsiteY44" fmla="*/ 68034 h 94789"/>
                      <a:gd name="connsiteX45" fmla="*/ 102703 w 112172"/>
                      <a:gd name="connsiteY45" fmla="*/ 78588 h 94789"/>
                      <a:gd name="connsiteX46" fmla="*/ 99989 w 112172"/>
                      <a:gd name="connsiteY46" fmla="*/ 81448 h 94789"/>
                      <a:gd name="connsiteX47" fmla="*/ 96990 w 112172"/>
                      <a:gd name="connsiteY47" fmla="*/ 83453 h 94789"/>
                      <a:gd name="connsiteX48" fmla="*/ 84700 w 112172"/>
                      <a:gd name="connsiteY48" fmla="*/ 86966 h 94789"/>
                      <a:gd name="connsiteX49" fmla="*/ 75458 w 112172"/>
                      <a:gd name="connsiteY49" fmla="*/ 90552 h 94789"/>
                      <a:gd name="connsiteX50" fmla="*/ 73111 w 112172"/>
                      <a:gd name="connsiteY50" fmla="*/ 91122 h 94789"/>
                      <a:gd name="connsiteX51" fmla="*/ 70683 w 112172"/>
                      <a:gd name="connsiteY51" fmla="*/ 91171 h 94789"/>
                      <a:gd name="connsiteX52" fmla="*/ 63030 w 112172"/>
                      <a:gd name="connsiteY52" fmla="*/ 89981 h 94789"/>
                      <a:gd name="connsiteX53" fmla="*/ 54147 w 112172"/>
                      <a:gd name="connsiteY53" fmla="*/ 87699 h 94789"/>
                      <a:gd name="connsiteX54" fmla="*/ 49102 w 112172"/>
                      <a:gd name="connsiteY54" fmla="*/ 88351 h 94789"/>
                      <a:gd name="connsiteX55" fmla="*/ 44066 w 112172"/>
                      <a:gd name="connsiteY55" fmla="*/ 89989 h 94789"/>
                      <a:gd name="connsiteX56" fmla="*/ 40903 w 112172"/>
                      <a:gd name="connsiteY56" fmla="*/ 90438 h 94789"/>
                      <a:gd name="connsiteX57" fmla="*/ 37921 w 112172"/>
                      <a:gd name="connsiteY57" fmla="*/ 90218 h 94789"/>
                      <a:gd name="connsiteX58" fmla="*/ 34946 w 112172"/>
                      <a:gd name="connsiteY58" fmla="*/ 89623 h 94789"/>
                      <a:gd name="connsiteX59" fmla="*/ 31050 w 112172"/>
                      <a:gd name="connsiteY59" fmla="*/ 88090 h 94789"/>
                      <a:gd name="connsiteX60" fmla="*/ 33064 w 112172"/>
                      <a:gd name="connsiteY60" fmla="*/ 87381 h 94789"/>
                      <a:gd name="connsiteX61" fmla="*/ 33984 w 112172"/>
                      <a:gd name="connsiteY61" fmla="*/ 86599 h 94789"/>
                      <a:gd name="connsiteX62" fmla="*/ 33169 w 112172"/>
                      <a:gd name="connsiteY62" fmla="*/ 85792 h 94789"/>
                      <a:gd name="connsiteX63" fmla="*/ 29070 w 112172"/>
                      <a:gd name="connsiteY63" fmla="*/ 84619 h 94789"/>
                      <a:gd name="connsiteX64" fmla="*/ 24824 w 112172"/>
                      <a:gd name="connsiteY64" fmla="*/ 87218 h 94789"/>
                      <a:gd name="connsiteX65" fmla="*/ 12404 w 112172"/>
                      <a:gd name="connsiteY65" fmla="*/ 93274 h 94789"/>
                      <a:gd name="connsiteX66" fmla="*/ 16 w 112172"/>
                      <a:gd name="connsiteY66" fmla="*/ 94790 h 94789"/>
                      <a:gd name="connsiteX67" fmla="*/ 33 w 112172"/>
                      <a:gd name="connsiteY67" fmla="*/ 93054 h 94789"/>
                      <a:gd name="connsiteX68" fmla="*/ 24 w 112172"/>
                      <a:gd name="connsiteY68" fmla="*/ 67170 h 94789"/>
                      <a:gd name="connsiteX69" fmla="*/ 24 w 112172"/>
                      <a:gd name="connsiteY69" fmla="*/ 61971 h 94789"/>
                      <a:gd name="connsiteX70" fmla="*/ 22746 w 112172"/>
                      <a:gd name="connsiteY70" fmla="*/ 63527 h 94789"/>
                      <a:gd name="connsiteX71" fmla="*/ 24759 w 112172"/>
                      <a:gd name="connsiteY71" fmla="*/ 63120 h 94789"/>
                      <a:gd name="connsiteX72" fmla="*/ 26193 w 112172"/>
                      <a:gd name="connsiteY72" fmla="*/ 61840 h 94789"/>
                      <a:gd name="connsiteX73" fmla="*/ 27057 w 112172"/>
                      <a:gd name="connsiteY73" fmla="*/ 59672 h 94789"/>
                      <a:gd name="connsiteX74" fmla="*/ 27383 w 112172"/>
                      <a:gd name="connsiteY74" fmla="*/ 57896 h 94789"/>
                      <a:gd name="connsiteX75" fmla="*/ 26919 w 112172"/>
                      <a:gd name="connsiteY75" fmla="*/ 55459 h 94789"/>
                      <a:gd name="connsiteX76" fmla="*/ 26258 w 112172"/>
                      <a:gd name="connsiteY76" fmla="*/ 54302 h 94789"/>
                      <a:gd name="connsiteX77" fmla="*/ 5142 w 112172"/>
                      <a:gd name="connsiteY77" fmla="*/ 46421 h 94789"/>
                      <a:gd name="connsiteX78" fmla="*/ 3293 w 112172"/>
                      <a:gd name="connsiteY78" fmla="*/ 43243 h 94789"/>
                      <a:gd name="connsiteX79" fmla="*/ 13610 w 112172"/>
                      <a:gd name="connsiteY79" fmla="*/ 38793 h 94789"/>
                      <a:gd name="connsiteX80" fmla="*/ 14352 w 112172"/>
                      <a:gd name="connsiteY80" fmla="*/ 37766 h 94789"/>
                      <a:gd name="connsiteX81" fmla="*/ 14547 w 112172"/>
                      <a:gd name="connsiteY81" fmla="*/ 36356 h 94789"/>
                      <a:gd name="connsiteX82" fmla="*/ 14205 w 112172"/>
                      <a:gd name="connsiteY82" fmla="*/ 34555 h 94789"/>
                      <a:gd name="connsiteX83" fmla="*/ 12811 w 112172"/>
                      <a:gd name="connsiteY83" fmla="*/ 32835 h 94789"/>
                      <a:gd name="connsiteX84" fmla="*/ 7270 w 112172"/>
                      <a:gd name="connsiteY84" fmla="*/ 29559 h 94789"/>
                      <a:gd name="connsiteX85" fmla="*/ 2372 w 112172"/>
                      <a:gd name="connsiteY85" fmla="*/ 29070 h 94789"/>
                      <a:gd name="connsiteX86" fmla="*/ 16 w 112172"/>
                      <a:gd name="connsiteY86" fmla="*/ 28027 h 94789"/>
                      <a:gd name="connsiteX87" fmla="*/ 0 w 112172"/>
                      <a:gd name="connsiteY87" fmla="*/ 16617 h 94789"/>
                      <a:gd name="connsiteX88" fmla="*/ 546 w 112172"/>
                      <a:gd name="connsiteY88" fmla="*/ 16365 h 94789"/>
                      <a:gd name="connsiteX89" fmla="*/ 3439 w 112172"/>
                      <a:gd name="connsiteY89" fmla="*/ 14547 h 94789"/>
                      <a:gd name="connsiteX90" fmla="*/ 12363 w 112172"/>
                      <a:gd name="connsiteY90" fmla="*/ 6308 h 94789"/>
                      <a:gd name="connsiteX91" fmla="*/ 16487 w 112172"/>
                      <a:gd name="connsiteY91" fmla="*/ 2983 h 94789"/>
                      <a:gd name="connsiteX92" fmla="*/ 19437 w 112172"/>
                      <a:gd name="connsiteY92" fmla="*/ 1426 h 94789"/>
                      <a:gd name="connsiteX93" fmla="*/ 22453 w 112172"/>
                      <a:gd name="connsiteY93" fmla="*/ 456 h 94789"/>
                      <a:gd name="connsiteX94" fmla="*/ 29062 w 112172"/>
                      <a:gd name="connsiteY94" fmla="*/ 0 h 94789"/>
                      <a:gd name="connsiteX95" fmla="*/ 35948 w 112172"/>
                      <a:gd name="connsiteY95" fmla="*/ 3081 h 94789"/>
                      <a:gd name="connsiteX96" fmla="*/ 37473 w 112172"/>
                      <a:gd name="connsiteY96" fmla="*/ 3260 h 94789"/>
                      <a:gd name="connsiteX97" fmla="*/ 38108 w 112172"/>
                      <a:gd name="connsiteY97" fmla="*/ 4075 h 94789"/>
                      <a:gd name="connsiteX98" fmla="*/ 37839 w 112172"/>
                      <a:gd name="connsiteY98" fmla="*/ 5501 h 94789"/>
                      <a:gd name="connsiteX99" fmla="*/ 36975 w 112172"/>
                      <a:gd name="connsiteY99" fmla="*/ 6870 h 94789"/>
                      <a:gd name="connsiteX100" fmla="*/ 34514 w 112172"/>
                      <a:gd name="connsiteY100" fmla="*/ 9323 h 94789"/>
                      <a:gd name="connsiteX101" fmla="*/ 33936 w 112172"/>
                      <a:gd name="connsiteY101" fmla="*/ 10358 h 94789"/>
                      <a:gd name="connsiteX102" fmla="*/ 34123 w 112172"/>
                      <a:gd name="connsiteY102" fmla="*/ 11410 h 94789"/>
                      <a:gd name="connsiteX103" fmla="*/ 35810 w 112172"/>
                      <a:gd name="connsiteY103" fmla="*/ 13871 h 94789"/>
                      <a:gd name="connsiteX104" fmla="*/ 36323 w 112172"/>
                      <a:gd name="connsiteY104" fmla="*/ 15476 h 94789"/>
                      <a:gd name="connsiteX105" fmla="*/ 36698 w 112172"/>
                      <a:gd name="connsiteY105" fmla="*/ 18190 h 94789"/>
                      <a:gd name="connsiteX106" fmla="*/ 36975 w 112172"/>
                      <a:gd name="connsiteY106" fmla="*/ 18590 h 94789"/>
                      <a:gd name="connsiteX107" fmla="*/ 41115 w 112172"/>
                      <a:gd name="connsiteY107" fmla="*/ 20880 h 94789"/>
                      <a:gd name="connsiteX108" fmla="*/ 44889 w 112172"/>
                      <a:gd name="connsiteY108" fmla="*/ 23871 h 94789"/>
                      <a:gd name="connsiteX109" fmla="*/ 46633 w 112172"/>
                      <a:gd name="connsiteY109" fmla="*/ 28549 h 94789"/>
                      <a:gd name="connsiteX110" fmla="*/ 45272 w 112172"/>
                      <a:gd name="connsiteY110" fmla="*/ 30154 h 94789"/>
                      <a:gd name="connsiteX111" fmla="*/ 42102 w 112172"/>
                      <a:gd name="connsiteY111" fmla="*/ 32387 h 94789"/>
                      <a:gd name="connsiteX112" fmla="*/ 40219 w 112172"/>
                      <a:gd name="connsiteY112" fmla="*/ 34229 h 94789"/>
                      <a:gd name="connsiteX113" fmla="*/ 39616 w 112172"/>
                      <a:gd name="connsiteY113" fmla="*/ 35712 h 94789"/>
                      <a:gd name="connsiteX114" fmla="*/ 40097 w 112172"/>
                      <a:gd name="connsiteY114" fmla="*/ 36609 h 9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12172" h="94789">
                        <a:moveTo>
                          <a:pt x="42436" y="37065"/>
                        </a:moveTo>
                        <a:lnTo>
                          <a:pt x="45565" y="37204"/>
                        </a:lnTo>
                        <a:lnTo>
                          <a:pt x="49224" y="36666"/>
                        </a:lnTo>
                        <a:lnTo>
                          <a:pt x="53348" y="37032"/>
                        </a:lnTo>
                        <a:lnTo>
                          <a:pt x="55223" y="38116"/>
                        </a:lnTo>
                        <a:lnTo>
                          <a:pt x="56543" y="40040"/>
                        </a:lnTo>
                        <a:lnTo>
                          <a:pt x="56600" y="41075"/>
                        </a:lnTo>
                        <a:lnTo>
                          <a:pt x="56339" y="41955"/>
                        </a:lnTo>
                        <a:lnTo>
                          <a:pt x="55760" y="42696"/>
                        </a:lnTo>
                        <a:lnTo>
                          <a:pt x="50422" y="47546"/>
                        </a:lnTo>
                        <a:lnTo>
                          <a:pt x="49175" y="49216"/>
                        </a:lnTo>
                        <a:lnTo>
                          <a:pt x="50903" y="49624"/>
                        </a:lnTo>
                        <a:lnTo>
                          <a:pt x="51735" y="49347"/>
                        </a:lnTo>
                        <a:lnTo>
                          <a:pt x="57064" y="45712"/>
                        </a:lnTo>
                        <a:lnTo>
                          <a:pt x="61074" y="44587"/>
                        </a:lnTo>
                        <a:lnTo>
                          <a:pt x="64114" y="44318"/>
                        </a:lnTo>
                        <a:lnTo>
                          <a:pt x="69126" y="45044"/>
                        </a:lnTo>
                        <a:lnTo>
                          <a:pt x="71123" y="45671"/>
                        </a:lnTo>
                        <a:lnTo>
                          <a:pt x="72492" y="46413"/>
                        </a:lnTo>
                        <a:lnTo>
                          <a:pt x="73242" y="47268"/>
                        </a:lnTo>
                        <a:lnTo>
                          <a:pt x="75214" y="50740"/>
                        </a:lnTo>
                        <a:lnTo>
                          <a:pt x="76632" y="55231"/>
                        </a:lnTo>
                        <a:lnTo>
                          <a:pt x="76868" y="54766"/>
                        </a:lnTo>
                        <a:lnTo>
                          <a:pt x="76901" y="52256"/>
                        </a:lnTo>
                        <a:lnTo>
                          <a:pt x="77178" y="50292"/>
                        </a:lnTo>
                        <a:lnTo>
                          <a:pt x="82100" y="48972"/>
                        </a:lnTo>
                        <a:lnTo>
                          <a:pt x="82231" y="48532"/>
                        </a:lnTo>
                        <a:lnTo>
                          <a:pt x="80454" y="47448"/>
                        </a:lnTo>
                        <a:lnTo>
                          <a:pt x="78955" y="45965"/>
                        </a:lnTo>
                        <a:lnTo>
                          <a:pt x="77911" y="43185"/>
                        </a:lnTo>
                        <a:lnTo>
                          <a:pt x="78319" y="42150"/>
                        </a:lnTo>
                        <a:lnTo>
                          <a:pt x="79354" y="41042"/>
                        </a:lnTo>
                        <a:lnTo>
                          <a:pt x="82500" y="38671"/>
                        </a:lnTo>
                        <a:lnTo>
                          <a:pt x="86183" y="37261"/>
                        </a:lnTo>
                        <a:lnTo>
                          <a:pt x="89451" y="36918"/>
                        </a:lnTo>
                        <a:lnTo>
                          <a:pt x="101652" y="39380"/>
                        </a:lnTo>
                        <a:lnTo>
                          <a:pt x="106452" y="41409"/>
                        </a:lnTo>
                        <a:lnTo>
                          <a:pt x="108400" y="42452"/>
                        </a:lnTo>
                        <a:lnTo>
                          <a:pt x="109109" y="43194"/>
                        </a:lnTo>
                        <a:lnTo>
                          <a:pt x="110127" y="45573"/>
                        </a:lnTo>
                        <a:lnTo>
                          <a:pt x="112173" y="52060"/>
                        </a:lnTo>
                        <a:lnTo>
                          <a:pt x="112157" y="54139"/>
                        </a:lnTo>
                        <a:lnTo>
                          <a:pt x="111211" y="57496"/>
                        </a:lnTo>
                        <a:lnTo>
                          <a:pt x="107267" y="63780"/>
                        </a:lnTo>
                        <a:lnTo>
                          <a:pt x="106664" y="68034"/>
                        </a:lnTo>
                        <a:lnTo>
                          <a:pt x="102703" y="78588"/>
                        </a:lnTo>
                        <a:lnTo>
                          <a:pt x="99989" y="81448"/>
                        </a:lnTo>
                        <a:lnTo>
                          <a:pt x="96990" y="83453"/>
                        </a:lnTo>
                        <a:lnTo>
                          <a:pt x="84700" y="86966"/>
                        </a:lnTo>
                        <a:lnTo>
                          <a:pt x="75458" y="90552"/>
                        </a:lnTo>
                        <a:lnTo>
                          <a:pt x="73111" y="91122"/>
                        </a:lnTo>
                        <a:lnTo>
                          <a:pt x="70683" y="91171"/>
                        </a:lnTo>
                        <a:lnTo>
                          <a:pt x="63030" y="89981"/>
                        </a:lnTo>
                        <a:lnTo>
                          <a:pt x="54147" y="87699"/>
                        </a:lnTo>
                        <a:lnTo>
                          <a:pt x="49102" y="88351"/>
                        </a:lnTo>
                        <a:lnTo>
                          <a:pt x="44066" y="89989"/>
                        </a:lnTo>
                        <a:lnTo>
                          <a:pt x="40903" y="90438"/>
                        </a:lnTo>
                        <a:lnTo>
                          <a:pt x="37921" y="90218"/>
                        </a:lnTo>
                        <a:lnTo>
                          <a:pt x="34946" y="89623"/>
                        </a:lnTo>
                        <a:lnTo>
                          <a:pt x="31050" y="88090"/>
                        </a:lnTo>
                        <a:lnTo>
                          <a:pt x="33064" y="87381"/>
                        </a:lnTo>
                        <a:lnTo>
                          <a:pt x="33984" y="86599"/>
                        </a:lnTo>
                        <a:lnTo>
                          <a:pt x="33169" y="85792"/>
                        </a:lnTo>
                        <a:lnTo>
                          <a:pt x="29070" y="84619"/>
                        </a:lnTo>
                        <a:lnTo>
                          <a:pt x="24824" y="87218"/>
                        </a:lnTo>
                        <a:lnTo>
                          <a:pt x="12404" y="93274"/>
                        </a:lnTo>
                        <a:lnTo>
                          <a:pt x="16" y="94790"/>
                        </a:lnTo>
                        <a:lnTo>
                          <a:pt x="33" y="93054"/>
                        </a:lnTo>
                        <a:lnTo>
                          <a:pt x="24" y="67170"/>
                        </a:lnTo>
                        <a:lnTo>
                          <a:pt x="24" y="61971"/>
                        </a:lnTo>
                        <a:lnTo>
                          <a:pt x="22746" y="63527"/>
                        </a:lnTo>
                        <a:lnTo>
                          <a:pt x="24759" y="63120"/>
                        </a:lnTo>
                        <a:lnTo>
                          <a:pt x="26193" y="61840"/>
                        </a:lnTo>
                        <a:lnTo>
                          <a:pt x="27057" y="59672"/>
                        </a:lnTo>
                        <a:lnTo>
                          <a:pt x="27383" y="57896"/>
                        </a:lnTo>
                        <a:lnTo>
                          <a:pt x="26919" y="55459"/>
                        </a:lnTo>
                        <a:lnTo>
                          <a:pt x="26258" y="54302"/>
                        </a:lnTo>
                        <a:lnTo>
                          <a:pt x="5142" y="46421"/>
                        </a:lnTo>
                        <a:lnTo>
                          <a:pt x="3293" y="43243"/>
                        </a:lnTo>
                        <a:lnTo>
                          <a:pt x="13610" y="38793"/>
                        </a:lnTo>
                        <a:lnTo>
                          <a:pt x="14352" y="37766"/>
                        </a:lnTo>
                        <a:lnTo>
                          <a:pt x="14547" y="36356"/>
                        </a:lnTo>
                        <a:lnTo>
                          <a:pt x="14205" y="34555"/>
                        </a:lnTo>
                        <a:lnTo>
                          <a:pt x="12811" y="32835"/>
                        </a:lnTo>
                        <a:lnTo>
                          <a:pt x="7270" y="29559"/>
                        </a:lnTo>
                        <a:lnTo>
                          <a:pt x="2372" y="29070"/>
                        </a:lnTo>
                        <a:lnTo>
                          <a:pt x="16" y="28027"/>
                        </a:lnTo>
                        <a:lnTo>
                          <a:pt x="0" y="16617"/>
                        </a:lnTo>
                        <a:lnTo>
                          <a:pt x="546" y="16365"/>
                        </a:lnTo>
                        <a:lnTo>
                          <a:pt x="3439" y="14547"/>
                        </a:lnTo>
                        <a:lnTo>
                          <a:pt x="12363" y="6308"/>
                        </a:lnTo>
                        <a:lnTo>
                          <a:pt x="16487" y="2983"/>
                        </a:lnTo>
                        <a:lnTo>
                          <a:pt x="19437" y="1426"/>
                        </a:lnTo>
                        <a:lnTo>
                          <a:pt x="22453" y="456"/>
                        </a:lnTo>
                        <a:lnTo>
                          <a:pt x="29062" y="0"/>
                        </a:lnTo>
                        <a:lnTo>
                          <a:pt x="35948" y="3081"/>
                        </a:lnTo>
                        <a:lnTo>
                          <a:pt x="37473" y="3260"/>
                        </a:lnTo>
                        <a:lnTo>
                          <a:pt x="38108" y="4075"/>
                        </a:lnTo>
                        <a:lnTo>
                          <a:pt x="37839" y="5501"/>
                        </a:lnTo>
                        <a:lnTo>
                          <a:pt x="36975" y="6870"/>
                        </a:lnTo>
                        <a:lnTo>
                          <a:pt x="34514" y="9323"/>
                        </a:lnTo>
                        <a:lnTo>
                          <a:pt x="33936" y="10358"/>
                        </a:lnTo>
                        <a:lnTo>
                          <a:pt x="34123" y="11410"/>
                        </a:lnTo>
                        <a:lnTo>
                          <a:pt x="35810" y="13871"/>
                        </a:lnTo>
                        <a:lnTo>
                          <a:pt x="36323" y="15476"/>
                        </a:lnTo>
                        <a:lnTo>
                          <a:pt x="36698" y="18190"/>
                        </a:lnTo>
                        <a:lnTo>
                          <a:pt x="36975" y="18590"/>
                        </a:lnTo>
                        <a:lnTo>
                          <a:pt x="41115" y="20880"/>
                        </a:lnTo>
                        <a:lnTo>
                          <a:pt x="44889" y="23871"/>
                        </a:lnTo>
                        <a:lnTo>
                          <a:pt x="46633" y="28549"/>
                        </a:lnTo>
                        <a:lnTo>
                          <a:pt x="45272" y="30154"/>
                        </a:lnTo>
                        <a:lnTo>
                          <a:pt x="42102" y="32387"/>
                        </a:lnTo>
                        <a:lnTo>
                          <a:pt x="40219" y="34229"/>
                        </a:lnTo>
                        <a:lnTo>
                          <a:pt x="39616" y="35712"/>
                        </a:lnTo>
                        <a:lnTo>
                          <a:pt x="40097" y="36609"/>
                        </a:lnTo>
                        <a:close/>
                      </a:path>
                    </a:pathLst>
                  </a:custGeom>
                  <a:solidFill>
                    <a:srgbClr val="D6D6D2"/>
                  </a:solidFill>
                  <a:ln w="6112" cap="rnd">
                    <a:solidFill>
                      <a:srgbClr val="FFFFFF"/>
                    </a:solidFill>
                    <a:prstDash val="solid"/>
                    <a:round/>
                  </a:ln>
                </p:spPr>
                <p:txBody>
                  <a:bodyPr rtlCol="0" anchor="ctr"/>
                  <a:lstStyle/>
                  <a:p>
                    <a:endParaRPr lang="en-US"/>
                  </a:p>
                </p:txBody>
              </p:sp>
              <p:sp>
                <p:nvSpPr>
                  <p:cNvPr id="524" name="Freeform: Shape 523">
                    <a:extLst>
                      <a:ext uri="{FF2B5EF4-FFF2-40B4-BE49-F238E27FC236}">
                        <a16:creationId xmlns:a16="http://schemas.microsoft.com/office/drawing/2014/main" id="{D7DD7F69-626B-4B99-B4F0-A4AE9AA859E7}"/>
                      </a:ext>
                    </a:extLst>
                  </p:cNvPr>
                  <p:cNvSpPr/>
                  <p:nvPr/>
                </p:nvSpPr>
                <p:spPr>
                  <a:xfrm>
                    <a:off x="3394021" y="1810497"/>
                    <a:ext cx="135456" cy="82271"/>
                  </a:xfrm>
                  <a:custGeom>
                    <a:avLst/>
                    <a:gdLst>
                      <a:gd name="connsiteX0" fmla="*/ 126402 w 135456"/>
                      <a:gd name="connsiteY0" fmla="*/ 11051 h 82271"/>
                      <a:gd name="connsiteX1" fmla="*/ 126679 w 135456"/>
                      <a:gd name="connsiteY1" fmla="*/ 13211 h 82271"/>
                      <a:gd name="connsiteX2" fmla="*/ 126378 w 135456"/>
                      <a:gd name="connsiteY2" fmla="*/ 14881 h 82271"/>
                      <a:gd name="connsiteX3" fmla="*/ 125506 w 135456"/>
                      <a:gd name="connsiteY3" fmla="*/ 16055 h 82271"/>
                      <a:gd name="connsiteX4" fmla="*/ 125473 w 135456"/>
                      <a:gd name="connsiteY4" fmla="*/ 17408 h 82271"/>
                      <a:gd name="connsiteX5" fmla="*/ 126264 w 135456"/>
                      <a:gd name="connsiteY5" fmla="*/ 18932 h 82271"/>
                      <a:gd name="connsiteX6" fmla="*/ 129573 w 135456"/>
                      <a:gd name="connsiteY6" fmla="*/ 22787 h 82271"/>
                      <a:gd name="connsiteX7" fmla="*/ 130624 w 135456"/>
                      <a:gd name="connsiteY7" fmla="*/ 24840 h 82271"/>
                      <a:gd name="connsiteX8" fmla="*/ 130787 w 135456"/>
                      <a:gd name="connsiteY8" fmla="*/ 26919 h 82271"/>
                      <a:gd name="connsiteX9" fmla="*/ 130616 w 135456"/>
                      <a:gd name="connsiteY9" fmla="*/ 28328 h 82271"/>
                      <a:gd name="connsiteX10" fmla="*/ 128570 w 135456"/>
                      <a:gd name="connsiteY10" fmla="*/ 31067 h 82271"/>
                      <a:gd name="connsiteX11" fmla="*/ 127666 w 135456"/>
                      <a:gd name="connsiteY11" fmla="*/ 34612 h 82271"/>
                      <a:gd name="connsiteX12" fmla="*/ 127617 w 135456"/>
                      <a:gd name="connsiteY12" fmla="*/ 36495 h 82271"/>
                      <a:gd name="connsiteX13" fmla="*/ 128831 w 135456"/>
                      <a:gd name="connsiteY13" fmla="*/ 39420 h 82271"/>
                      <a:gd name="connsiteX14" fmla="*/ 128864 w 135456"/>
                      <a:gd name="connsiteY14" fmla="*/ 40789 h 82271"/>
                      <a:gd name="connsiteX15" fmla="*/ 126574 w 135456"/>
                      <a:gd name="connsiteY15" fmla="*/ 43112 h 82271"/>
                      <a:gd name="connsiteX16" fmla="*/ 121700 w 135456"/>
                      <a:gd name="connsiteY16" fmla="*/ 45150 h 82271"/>
                      <a:gd name="connsiteX17" fmla="*/ 122393 w 135456"/>
                      <a:gd name="connsiteY17" fmla="*/ 46217 h 82271"/>
                      <a:gd name="connsiteX18" fmla="*/ 132890 w 135456"/>
                      <a:gd name="connsiteY18" fmla="*/ 48776 h 82271"/>
                      <a:gd name="connsiteX19" fmla="*/ 133680 w 135456"/>
                      <a:gd name="connsiteY19" fmla="*/ 49363 h 82271"/>
                      <a:gd name="connsiteX20" fmla="*/ 133631 w 135456"/>
                      <a:gd name="connsiteY20" fmla="*/ 55133 h 82271"/>
                      <a:gd name="connsiteX21" fmla="*/ 135457 w 135456"/>
                      <a:gd name="connsiteY21" fmla="*/ 61473 h 82271"/>
                      <a:gd name="connsiteX22" fmla="*/ 134780 w 135456"/>
                      <a:gd name="connsiteY22" fmla="*/ 61596 h 82271"/>
                      <a:gd name="connsiteX23" fmla="*/ 132254 w 135456"/>
                      <a:gd name="connsiteY23" fmla="*/ 59615 h 82271"/>
                      <a:gd name="connsiteX24" fmla="*/ 127584 w 135456"/>
                      <a:gd name="connsiteY24" fmla="*/ 57260 h 82271"/>
                      <a:gd name="connsiteX25" fmla="*/ 122010 w 135456"/>
                      <a:gd name="connsiteY25" fmla="*/ 61645 h 82271"/>
                      <a:gd name="connsiteX26" fmla="*/ 122645 w 135456"/>
                      <a:gd name="connsiteY26" fmla="*/ 69093 h 82271"/>
                      <a:gd name="connsiteX27" fmla="*/ 126305 w 135456"/>
                      <a:gd name="connsiteY27" fmla="*/ 72410 h 82271"/>
                      <a:gd name="connsiteX28" fmla="*/ 127421 w 135456"/>
                      <a:gd name="connsiteY28" fmla="*/ 74301 h 82271"/>
                      <a:gd name="connsiteX29" fmla="*/ 127063 w 135456"/>
                      <a:gd name="connsiteY29" fmla="*/ 75434 h 82271"/>
                      <a:gd name="connsiteX30" fmla="*/ 123966 w 135456"/>
                      <a:gd name="connsiteY30" fmla="*/ 75939 h 82271"/>
                      <a:gd name="connsiteX31" fmla="*/ 122890 w 135456"/>
                      <a:gd name="connsiteY31" fmla="*/ 75703 h 82271"/>
                      <a:gd name="connsiteX32" fmla="*/ 119703 w 135456"/>
                      <a:gd name="connsiteY32" fmla="*/ 74203 h 82271"/>
                      <a:gd name="connsiteX33" fmla="*/ 117861 w 135456"/>
                      <a:gd name="connsiteY33" fmla="*/ 71930 h 82271"/>
                      <a:gd name="connsiteX34" fmla="*/ 117283 w 135456"/>
                      <a:gd name="connsiteY34" fmla="*/ 72011 h 82271"/>
                      <a:gd name="connsiteX35" fmla="*/ 116712 w 135456"/>
                      <a:gd name="connsiteY35" fmla="*/ 73095 h 82271"/>
                      <a:gd name="connsiteX36" fmla="*/ 117087 w 135456"/>
                      <a:gd name="connsiteY36" fmla="*/ 74220 h 82271"/>
                      <a:gd name="connsiteX37" fmla="*/ 119239 w 135456"/>
                      <a:gd name="connsiteY37" fmla="*/ 76233 h 82271"/>
                      <a:gd name="connsiteX38" fmla="*/ 120143 w 135456"/>
                      <a:gd name="connsiteY38" fmla="*/ 78637 h 82271"/>
                      <a:gd name="connsiteX39" fmla="*/ 119190 w 135456"/>
                      <a:gd name="connsiteY39" fmla="*/ 79321 h 82271"/>
                      <a:gd name="connsiteX40" fmla="*/ 115987 w 135456"/>
                      <a:gd name="connsiteY40" fmla="*/ 79933 h 82271"/>
                      <a:gd name="connsiteX41" fmla="*/ 111668 w 135456"/>
                      <a:gd name="connsiteY41" fmla="*/ 79965 h 82271"/>
                      <a:gd name="connsiteX42" fmla="*/ 104887 w 135456"/>
                      <a:gd name="connsiteY42" fmla="*/ 81057 h 82271"/>
                      <a:gd name="connsiteX43" fmla="*/ 101538 w 135456"/>
                      <a:gd name="connsiteY43" fmla="*/ 81212 h 82271"/>
                      <a:gd name="connsiteX44" fmla="*/ 98286 w 135456"/>
                      <a:gd name="connsiteY44" fmla="*/ 80633 h 82271"/>
                      <a:gd name="connsiteX45" fmla="*/ 93934 w 135456"/>
                      <a:gd name="connsiteY45" fmla="*/ 80495 h 82271"/>
                      <a:gd name="connsiteX46" fmla="*/ 90324 w 135456"/>
                      <a:gd name="connsiteY46" fmla="*/ 80739 h 82271"/>
                      <a:gd name="connsiteX47" fmla="*/ 88107 w 135456"/>
                      <a:gd name="connsiteY47" fmla="*/ 80275 h 82271"/>
                      <a:gd name="connsiteX48" fmla="*/ 86094 w 135456"/>
                      <a:gd name="connsiteY48" fmla="*/ 79142 h 82271"/>
                      <a:gd name="connsiteX49" fmla="*/ 83755 w 135456"/>
                      <a:gd name="connsiteY49" fmla="*/ 79419 h 82271"/>
                      <a:gd name="connsiteX50" fmla="*/ 78637 w 135456"/>
                      <a:gd name="connsiteY50" fmla="*/ 82272 h 82271"/>
                      <a:gd name="connsiteX51" fmla="*/ 70707 w 135456"/>
                      <a:gd name="connsiteY51" fmla="*/ 81367 h 82271"/>
                      <a:gd name="connsiteX52" fmla="*/ 63568 w 135456"/>
                      <a:gd name="connsiteY52" fmla="*/ 81131 h 82271"/>
                      <a:gd name="connsiteX53" fmla="*/ 62134 w 135456"/>
                      <a:gd name="connsiteY53" fmla="*/ 80177 h 82271"/>
                      <a:gd name="connsiteX54" fmla="*/ 60536 w 135456"/>
                      <a:gd name="connsiteY54" fmla="*/ 78319 h 82271"/>
                      <a:gd name="connsiteX55" fmla="*/ 57390 w 135456"/>
                      <a:gd name="connsiteY55" fmla="*/ 72524 h 82271"/>
                      <a:gd name="connsiteX56" fmla="*/ 57985 w 135456"/>
                      <a:gd name="connsiteY56" fmla="*/ 71066 h 82271"/>
                      <a:gd name="connsiteX57" fmla="*/ 65614 w 135456"/>
                      <a:gd name="connsiteY57" fmla="*/ 70267 h 82271"/>
                      <a:gd name="connsiteX58" fmla="*/ 65768 w 135456"/>
                      <a:gd name="connsiteY58" fmla="*/ 69762 h 82271"/>
                      <a:gd name="connsiteX59" fmla="*/ 60349 w 135456"/>
                      <a:gd name="connsiteY59" fmla="*/ 67700 h 82271"/>
                      <a:gd name="connsiteX60" fmla="*/ 54131 w 135456"/>
                      <a:gd name="connsiteY60" fmla="*/ 66176 h 82271"/>
                      <a:gd name="connsiteX61" fmla="*/ 51254 w 135456"/>
                      <a:gd name="connsiteY61" fmla="*/ 64970 h 82271"/>
                      <a:gd name="connsiteX62" fmla="*/ 51914 w 135456"/>
                      <a:gd name="connsiteY62" fmla="*/ 62688 h 82271"/>
                      <a:gd name="connsiteX63" fmla="*/ 51726 w 135456"/>
                      <a:gd name="connsiteY63" fmla="*/ 62109 h 82271"/>
                      <a:gd name="connsiteX64" fmla="*/ 62451 w 135456"/>
                      <a:gd name="connsiteY64" fmla="*/ 59501 h 82271"/>
                      <a:gd name="connsiteX65" fmla="*/ 70243 w 135456"/>
                      <a:gd name="connsiteY65" fmla="*/ 54351 h 82271"/>
                      <a:gd name="connsiteX66" fmla="*/ 75084 w 135456"/>
                      <a:gd name="connsiteY66" fmla="*/ 52256 h 82271"/>
                      <a:gd name="connsiteX67" fmla="*/ 75434 w 135456"/>
                      <a:gd name="connsiteY67" fmla="*/ 51237 h 82271"/>
                      <a:gd name="connsiteX68" fmla="*/ 79525 w 135456"/>
                      <a:gd name="connsiteY68" fmla="*/ 50186 h 82271"/>
                      <a:gd name="connsiteX69" fmla="*/ 88987 w 135456"/>
                      <a:gd name="connsiteY69" fmla="*/ 49550 h 82271"/>
                      <a:gd name="connsiteX70" fmla="*/ 89354 w 135456"/>
                      <a:gd name="connsiteY70" fmla="*/ 48124 h 82271"/>
                      <a:gd name="connsiteX71" fmla="*/ 71481 w 135456"/>
                      <a:gd name="connsiteY71" fmla="*/ 48939 h 82271"/>
                      <a:gd name="connsiteX72" fmla="*/ 47016 w 135456"/>
                      <a:gd name="connsiteY72" fmla="*/ 51857 h 82271"/>
                      <a:gd name="connsiteX73" fmla="*/ 39445 w 135456"/>
                      <a:gd name="connsiteY73" fmla="*/ 53299 h 82271"/>
                      <a:gd name="connsiteX74" fmla="*/ 33137 w 135456"/>
                      <a:gd name="connsiteY74" fmla="*/ 52468 h 82271"/>
                      <a:gd name="connsiteX75" fmla="*/ 6349 w 135456"/>
                      <a:gd name="connsiteY75" fmla="*/ 56983 h 82271"/>
                      <a:gd name="connsiteX76" fmla="*/ 5208 w 135456"/>
                      <a:gd name="connsiteY76" fmla="*/ 56975 h 82271"/>
                      <a:gd name="connsiteX77" fmla="*/ 2412 w 135456"/>
                      <a:gd name="connsiteY77" fmla="*/ 55549 h 82271"/>
                      <a:gd name="connsiteX78" fmla="*/ 0 w 135456"/>
                      <a:gd name="connsiteY78" fmla="*/ 52851 h 82271"/>
                      <a:gd name="connsiteX79" fmla="*/ 1728 w 135456"/>
                      <a:gd name="connsiteY79" fmla="*/ 50977 h 82271"/>
                      <a:gd name="connsiteX80" fmla="*/ 9592 w 135456"/>
                      <a:gd name="connsiteY80" fmla="*/ 47423 h 82271"/>
                      <a:gd name="connsiteX81" fmla="*/ 13529 w 135456"/>
                      <a:gd name="connsiteY81" fmla="*/ 44310 h 82271"/>
                      <a:gd name="connsiteX82" fmla="*/ 13064 w 135456"/>
                      <a:gd name="connsiteY82" fmla="*/ 42623 h 82271"/>
                      <a:gd name="connsiteX83" fmla="*/ 16185 w 135456"/>
                      <a:gd name="connsiteY83" fmla="*/ 39624 h 82271"/>
                      <a:gd name="connsiteX84" fmla="*/ 21198 w 135456"/>
                      <a:gd name="connsiteY84" fmla="*/ 39208 h 82271"/>
                      <a:gd name="connsiteX85" fmla="*/ 29714 w 135456"/>
                      <a:gd name="connsiteY85" fmla="*/ 41661 h 82271"/>
                      <a:gd name="connsiteX86" fmla="*/ 34131 w 135456"/>
                      <a:gd name="connsiteY86" fmla="*/ 44106 h 82271"/>
                      <a:gd name="connsiteX87" fmla="*/ 38092 w 135456"/>
                      <a:gd name="connsiteY87" fmla="*/ 45247 h 82271"/>
                      <a:gd name="connsiteX88" fmla="*/ 41613 w 135456"/>
                      <a:gd name="connsiteY88" fmla="*/ 45019 h 82271"/>
                      <a:gd name="connsiteX89" fmla="*/ 45256 w 135456"/>
                      <a:gd name="connsiteY89" fmla="*/ 43316 h 82271"/>
                      <a:gd name="connsiteX90" fmla="*/ 44335 w 135456"/>
                      <a:gd name="connsiteY90" fmla="*/ 43120 h 82271"/>
                      <a:gd name="connsiteX91" fmla="*/ 38165 w 135456"/>
                      <a:gd name="connsiteY91" fmla="*/ 44025 h 82271"/>
                      <a:gd name="connsiteX92" fmla="*/ 37432 w 135456"/>
                      <a:gd name="connsiteY92" fmla="*/ 43764 h 82271"/>
                      <a:gd name="connsiteX93" fmla="*/ 34286 w 135456"/>
                      <a:gd name="connsiteY93" fmla="*/ 41034 h 82271"/>
                      <a:gd name="connsiteX94" fmla="*/ 32917 w 135456"/>
                      <a:gd name="connsiteY94" fmla="*/ 39298 h 82271"/>
                      <a:gd name="connsiteX95" fmla="*/ 32029 w 135456"/>
                      <a:gd name="connsiteY95" fmla="*/ 37554 h 82271"/>
                      <a:gd name="connsiteX96" fmla="*/ 31988 w 135456"/>
                      <a:gd name="connsiteY96" fmla="*/ 36332 h 82271"/>
                      <a:gd name="connsiteX97" fmla="*/ 33887 w 135456"/>
                      <a:gd name="connsiteY97" fmla="*/ 33993 h 82271"/>
                      <a:gd name="connsiteX98" fmla="*/ 26804 w 135456"/>
                      <a:gd name="connsiteY98" fmla="*/ 33226 h 82271"/>
                      <a:gd name="connsiteX99" fmla="*/ 24156 w 135456"/>
                      <a:gd name="connsiteY99" fmla="*/ 31613 h 82271"/>
                      <a:gd name="connsiteX100" fmla="*/ 22950 w 135456"/>
                      <a:gd name="connsiteY100" fmla="*/ 29600 h 82271"/>
                      <a:gd name="connsiteX101" fmla="*/ 23219 w 135456"/>
                      <a:gd name="connsiteY101" fmla="*/ 28728 h 82271"/>
                      <a:gd name="connsiteX102" fmla="*/ 25452 w 135456"/>
                      <a:gd name="connsiteY102" fmla="*/ 26364 h 82271"/>
                      <a:gd name="connsiteX103" fmla="*/ 31458 w 135456"/>
                      <a:gd name="connsiteY103" fmla="*/ 23121 h 82271"/>
                      <a:gd name="connsiteX104" fmla="*/ 30765 w 135456"/>
                      <a:gd name="connsiteY104" fmla="*/ 22216 h 82271"/>
                      <a:gd name="connsiteX105" fmla="*/ 22012 w 135456"/>
                      <a:gd name="connsiteY105" fmla="*/ 22290 h 82271"/>
                      <a:gd name="connsiteX106" fmla="*/ 20089 w 135456"/>
                      <a:gd name="connsiteY106" fmla="*/ 21866 h 82271"/>
                      <a:gd name="connsiteX107" fmla="*/ 16357 w 135456"/>
                      <a:gd name="connsiteY107" fmla="*/ 19853 h 82271"/>
                      <a:gd name="connsiteX108" fmla="*/ 17180 w 135456"/>
                      <a:gd name="connsiteY108" fmla="*/ 17603 h 82271"/>
                      <a:gd name="connsiteX109" fmla="*/ 20668 w 135456"/>
                      <a:gd name="connsiteY109" fmla="*/ 14311 h 82271"/>
                      <a:gd name="connsiteX110" fmla="*/ 23284 w 135456"/>
                      <a:gd name="connsiteY110" fmla="*/ 12379 h 82271"/>
                      <a:gd name="connsiteX111" fmla="*/ 25052 w 135456"/>
                      <a:gd name="connsiteY111" fmla="*/ 11785 h 82271"/>
                      <a:gd name="connsiteX112" fmla="*/ 27783 w 135456"/>
                      <a:gd name="connsiteY112" fmla="*/ 11793 h 82271"/>
                      <a:gd name="connsiteX113" fmla="*/ 34286 w 135456"/>
                      <a:gd name="connsiteY113" fmla="*/ 13064 h 82271"/>
                      <a:gd name="connsiteX114" fmla="*/ 36152 w 135456"/>
                      <a:gd name="connsiteY114" fmla="*/ 13765 h 82271"/>
                      <a:gd name="connsiteX115" fmla="*/ 41132 w 135456"/>
                      <a:gd name="connsiteY115" fmla="*/ 16927 h 82271"/>
                      <a:gd name="connsiteX116" fmla="*/ 42403 w 135456"/>
                      <a:gd name="connsiteY116" fmla="*/ 18728 h 82271"/>
                      <a:gd name="connsiteX117" fmla="*/ 42248 w 135456"/>
                      <a:gd name="connsiteY117" fmla="*/ 20472 h 82271"/>
                      <a:gd name="connsiteX118" fmla="*/ 43194 w 135456"/>
                      <a:gd name="connsiteY118" fmla="*/ 21752 h 82271"/>
                      <a:gd name="connsiteX119" fmla="*/ 47057 w 135456"/>
                      <a:gd name="connsiteY119" fmla="*/ 23610 h 82271"/>
                      <a:gd name="connsiteX120" fmla="*/ 63666 w 135456"/>
                      <a:gd name="connsiteY120" fmla="*/ 33243 h 82271"/>
                      <a:gd name="connsiteX121" fmla="*/ 66755 w 135456"/>
                      <a:gd name="connsiteY121" fmla="*/ 35517 h 82271"/>
                      <a:gd name="connsiteX122" fmla="*/ 68890 w 135456"/>
                      <a:gd name="connsiteY122" fmla="*/ 36519 h 82271"/>
                      <a:gd name="connsiteX123" fmla="*/ 72720 w 135456"/>
                      <a:gd name="connsiteY123" fmla="*/ 37261 h 82271"/>
                      <a:gd name="connsiteX124" fmla="*/ 74969 w 135456"/>
                      <a:gd name="connsiteY124" fmla="*/ 37106 h 82271"/>
                      <a:gd name="connsiteX125" fmla="*/ 76787 w 135456"/>
                      <a:gd name="connsiteY125" fmla="*/ 36429 h 82271"/>
                      <a:gd name="connsiteX126" fmla="*/ 77097 w 135456"/>
                      <a:gd name="connsiteY126" fmla="*/ 35549 h 82271"/>
                      <a:gd name="connsiteX127" fmla="*/ 69917 w 135456"/>
                      <a:gd name="connsiteY127" fmla="*/ 32183 h 82271"/>
                      <a:gd name="connsiteX128" fmla="*/ 68115 w 135456"/>
                      <a:gd name="connsiteY128" fmla="*/ 30390 h 82271"/>
                      <a:gd name="connsiteX129" fmla="*/ 66583 w 135456"/>
                      <a:gd name="connsiteY129" fmla="*/ 27954 h 82271"/>
                      <a:gd name="connsiteX130" fmla="*/ 67252 w 135456"/>
                      <a:gd name="connsiteY130" fmla="*/ 27163 h 82271"/>
                      <a:gd name="connsiteX131" fmla="*/ 69338 w 135456"/>
                      <a:gd name="connsiteY131" fmla="*/ 26886 h 82271"/>
                      <a:gd name="connsiteX132" fmla="*/ 74586 w 135456"/>
                      <a:gd name="connsiteY132" fmla="*/ 27212 h 82271"/>
                      <a:gd name="connsiteX133" fmla="*/ 80764 w 135456"/>
                      <a:gd name="connsiteY133" fmla="*/ 26544 h 82271"/>
                      <a:gd name="connsiteX134" fmla="*/ 73918 w 135456"/>
                      <a:gd name="connsiteY134" fmla="*/ 25517 h 82271"/>
                      <a:gd name="connsiteX135" fmla="*/ 69444 w 135456"/>
                      <a:gd name="connsiteY135" fmla="*/ 24156 h 82271"/>
                      <a:gd name="connsiteX136" fmla="*/ 64856 w 135456"/>
                      <a:gd name="connsiteY136" fmla="*/ 24091 h 82271"/>
                      <a:gd name="connsiteX137" fmla="*/ 59110 w 135456"/>
                      <a:gd name="connsiteY137" fmla="*/ 21898 h 82271"/>
                      <a:gd name="connsiteX138" fmla="*/ 59102 w 135456"/>
                      <a:gd name="connsiteY138" fmla="*/ 21214 h 82271"/>
                      <a:gd name="connsiteX139" fmla="*/ 60512 w 135456"/>
                      <a:gd name="connsiteY139" fmla="*/ 20505 h 82271"/>
                      <a:gd name="connsiteX140" fmla="*/ 68327 w 135456"/>
                      <a:gd name="connsiteY140" fmla="*/ 19535 h 82271"/>
                      <a:gd name="connsiteX141" fmla="*/ 69802 w 135456"/>
                      <a:gd name="connsiteY141" fmla="*/ 19119 h 82271"/>
                      <a:gd name="connsiteX142" fmla="*/ 69933 w 135456"/>
                      <a:gd name="connsiteY142" fmla="*/ 18508 h 82271"/>
                      <a:gd name="connsiteX143" fmla="*/ 67349 w 135456"/>
                      <a:gd name="connsiteY143" fmla="*/ 17041 h 82271"/>
                      <a:gd name="connsiteX144" fmla="*/ 65051 w 135456"/>
                      <a:gd name="connsiteY144" fmla="*/ 16242 h 82271"/>
                      <a:gd name="connsiteX145" fmla="*/ 53242 w 135456"/>
                      <a:gd name="connsiteY145" fmla="*/ 14466 h 82271"/>
                      <a:gd name="connsiteX146" fmla="*/ 49053 w 135456"/>
                      <a:gd name="connsiteY146" fmla="*/ 12477 h 82271"/>
                      <a:gd name="connsiteX147" fmla="*/ 47717 w 135456"/>
                      <a:gd name="connsiteY147" fmla="*/ 11532 h 82271"/>
                      <a:gd name="connsiteX148" fmla="*/ 47293 w 135456"/>
                      <a:gd name="connsiteY148" fmla="*/ 10603 h 82271"/>
                      <a:gd name="connsiteX149" fmla="*/ 48809 w 135456"/>
                      <a:gd name="connsiteY149" fmla="*/ 8264 h 82271"/>
                      <a:gd name="connsiteX150" fmla="*/ 55157 w 135456"/>
                      <a:gd name="connsiteY150" fmla="*/ 5305 h 82271"/>
                      <a:gd name="connsiteX151" fmla="*/ 59762 w 135456"/>
                      <a:gd name="connsiteY151" fmla="*/ 3904 h 82271"/>
                      <a:gd name="connsiteX152" fmla="*/ 67675 w 135456"/>
                      <a:gd name="connsiteY152" fmla="*/ 2869 h 82271"/>
                      <a:gd name="connsiteX153" fmla="*/ 74000 w 135456"/>
                      <a:gd name="connsiteY153" fmla="*/ 2991 h 82271"/>
                      <a:gd name="connsiteX154" fmla="*/ 77594 w 135456"/>
                      <a:gd name="connsiteY154" fmla="*/ 3390 h 82271"/>
                      <a:gd name="connsiteX155" fmla="*/ 86012 w 135456"/>
                      <a:gd name="connsiteY155" fmla="*/ 8386 h 82271"/>
                      <a:gd name="connsiteX156" fmla="*/ 89981 w 135456"/>
                      <a:gd name="connsiteY156" fmla="*/ 11662 h 82271"/>
                      <a:gd name="connsiteX157" fmla="*/ 96909 w 135456"/>
                      <a:gd name="connsiteY157" fmla="*/ 11092 h 82271"/>
                      <a:gd name="connsiteX158" fmla="*/ 94904 w 135456"/>
                      <a:gd name="connsiteY158" fmla="*/ 7644 h 82271"/>
                      <a:gd name="connsiteX159" fmla="*/ 93600 w 135456"/>
                      <a:gd name="connsiteY159" fmla="*/ 3855 h 82271"/>
                      <a:gd name="connsiteX160" fmla="*/ 95654 w 135456"/>
                      <a:gd name="connsiteY160" fmla="*/ 2453 h 82271"/>
                      <a:gd name="connsiteX161" fmla="*/ 101358 w 135456"/>
                      <a:gd name="connsiteY161" fmla="*/ 0 h 82271"/>
                      <a:gd name="connsiteX162" fmla="*/ 105906 w 135456"/>
                      <a:gd name="connsiteY162" fmla="*/ 1288 h 82271"/>
                      <a:gd name="connsiteX163" fmla="*/ 111823 w 135456"/>
                      <a:gd name="connsiteY163" fmla="*/ 4621 h 82271"/>
                      <a:gd name="connsiteX164" fmla="*/ 113127 w 135456"/>
                      <a:gd name="connsiteY164" fmla="*/ 5762 h 82271"/>
                      <a:gd name="connsiteX165" fmla="*/ 119793 w 135456"/>
                      <a:gd name="connsiteY165" fmla="*/ 7816 h 82271"/>
                      <a:gd name="connsiteX166" fmla="*/ 123738 w 135456"/>
                      <a:gd name="connsiteY166" fmla="*/ 8508 h 82271"/>
                      <a:gd name="connsiteX167" fmla="*/ 125791 w 135456"/>
                      <a:gd name="connsiteY167" fmla="*/ 9609 h 82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35456" h="82271">
                        <a:moveTo>
                          <a:pt x="126402" y="11051"/>
                        </a:moveTo>
                        <a:lnTo>
                          <a:pt x="126679" y="13211"/>
                        </a:lnTo>
                        <a:lnTo>
                          <a:pt x="126378" y="14881"/>
                        </a:lnTo>
                        <a:lnTo>
                          <a:pt x="125506" y="16055"/>
                        </a:lnTo>
                        <a:lnTo>
                          <a:pt x="125473" y="17408"/>
                        </a:lnTo>
                        <a:lnTo>
                          <a:pt x="126264" y="18932"/>
                        </a:lnTo>
                        <a:lnTo>
                          <a:pt x="129573" y="22787"/>
                        </a:lnTo>
                        <a:lnTo>
                          <a:pt x="130624" y="24840"/>
                        </a:lnTo>
                        <a:lnTo>
                          <a:pt x="130787" y="26919"/>
                        </a:lnTo>
                        <a:lnTo>
                          <a:pt x="130616" y="28328"/>
                        </a:lnTo>
                        <a:lnTo>
                          <a:pt x="128570" y="31067"/>
                        </a:lnTo>
                        <a:lnTo>
                          <a:pt x="127666" y="34612"/>
                        </a:lnTo>
                        <a:lnTo>
                          <a:pt x="127617" y="36495"/>
                        </a:lnTo>
                        <a:lnTo>
                          <a:pt x="128831" y="39420"/>
                        </a:lnTo>
                        <a:lnTo>
                          <a:pt x="128864" y="40789"/>
                        </a:lnTo>
                        <a:lnTo>
                          <a:pt x="126574" y="43112"/>
                        </a:lnTo>
                        <a:lnTo>
                          <a:pt x="121700" y="45150"/>
                        </a:lnTo>
                        <a:lnTo>
                          <a:pt x="122393" y="46217"/>
                        </a:lnTo>
                        <a:lnTo>
                          <a:pt x="132890" y="48776"/>
                        </a:lnTo>
                        <a:lnTo>
                          <a:pt x="133680" y="49363"/>
                        </a:lnTo>
                        <a:lnTo>
                          <a:pt x="133631" y="55133"/>
                        </a:lnTo>
                        <a:lnTo>
                          <a:pt x="135457" y="61473"/>
                        </a:lnTo>
                        <a:lnTo>
                          <a:pt x="134780" y="61596"/>
                        </a:lnTo>
                        <a:lnTo>
                          <a:pt x="132254" y="59615"/>
                        </a:lnTo>
                        <a:lnTo>
                          <a:pt x="127584" y="57260"/>
                        </a:lnTo>
                        <a:lnTo>
                          <a:pt x="122010" y="61645"/>
                        </a:lnTo>
                        <a:lnTo>
                          <a:pt x="122645" y="69093"/>
                        </a:lnTo>
                        <a:lnTo>
                          <a:pt x="126305" y="72410"/>
                        </a:lnTo>
                        <a:lnTo>
                          <a:pt x="127421" y="74301"/>
                        </a:lnTo>
                        <a:lnTo>
                          <a:pt x="127063" y="75434"/>
                        </a:lnTo>
                        <a:lnTo>
                          <a:pt x="123966" y="75939"/>
                        </a:lnTo>
                        <a:lnTo>
                          <a:pt x="122890" y="75703"/>
                        </a:lnTo>
                        <a:lnTo>
                          <a:pt x="119703" y="74203"/>
                        </a:lnTo>
                        <a:lnTo>
                          <a:pt x="117861" y="71930"/>
                        </a:lnTo>
                        <a:lnTo>
                          <a:pt x="117283" y="72011"/>
                        </a:lnTo>
                        <a:lnTo>
                          <a:pt x="116712" y="73095"/>
                        </a:lnTo>
                        <a:lnTo>
                          <a:pt x="117087" y="74220"/>
                        </a:lnTo>
                        <a:lnTo>
                          <a:pt x="119239" y="76233"/>
                        </a:lnTo>
                        <a:lnTo>
                          <a:pt x="120143" y="78637"/>
                        </a:lnTo>
                        <a:lnTo>
                          <a:pt x="119190" y="79321"/>
                        </a:lnTo>
                        <a:lnTo>
                          <a:pt x="115987" y="79933"/>
                        </a:lnTo>
                        <a:lnTo>
                          <a:pt x="111668" y="79965"/>
                        </a:lnTo>
                        <a:lnTo>
                          <a:pt x="104887" y="81057"/>
                        </a:lnTo>
                        <a:lnTo>
                          <a:pt x="101538" y="81212"/>
                        </a:lnTo>
                        <a:lnTo>
                          <a:pt x="98286" y="80633"/>
                        </a:lnTo>
                        <a:lnTo>
                          <a:pt x="93934" y="80495"/>
                        </a:lnTo>
                        <a:lnTo>
                          <a:pt x="90324" y="80739"/>
                        </a:lnTo>
                        <a:lnTo>
                          <a:pt x="88107" y="80275"/>
                        </a:lnTo>
                        <a:lnTo>
                          <a:pt x="86094" y="79142"/>
                        </a:lnTo>
                        <a:lnTo>
                          <a:pt x="83755" y="79419"/>
                        </a:lnTo>
                        <a:lnTo>
                          <a:pt x="78637" y="82272"/>
                        </a:lnTo>
                        <a:lnTo>
                          <a:pt x="70707" y="81367"/>
                        </a:lnTo>
                        <a:lnTo>
                          <a:pt x="63568" y="81131"/>
                        </a:lnTo>
                        <a:lnTo>
                          <a:pt x="62134" y="80177"/>
                        </a:lnTo>
                        <a:lnTo>
                          <a:pt x="60536" y="78319"/>
                        </a:lnTo>
                        <a:lnTo>
                          <a:pt x="57390" y="72524"/>
                        </a:lnTo>
                        <a:lnTo>
                          <a:pt x="57985" y="71066"/>
                        </a:lnTo>
                        <a:lnTo>
                          <a:pt x="65614" y="70267"/>
                        </a:lnTo>
                        <a:lnTo>
                          <a:pt x="65768" y="69762"/>
                        </a:lnTo>
                        <a:lnTo>
                          <a:pt x="60349" y="67700"/>
                        </a:lnTo>
                        <a:lnTo>
                          <a:pt x="54131" y="66176"/>
                        </a:lnTo>
                        <a:lnTo>
                          <a:pt x="51254" y="64970"/>
                        </a:lnTo>
                        <a:lnTo>
                          <a:pt x="51914" y="62688"/>
                        </a:lnTo>
                        <a:lnTo>
                          <a:pt x="51726" y="62109"/>
                        </a:lnTo>
                        <a:lnTo>
                          <a:pt x="62451" y="59501"/>
                        </a:lnTo>
                        <a:lnTo>
                          <a:pt x="70243" y="54351"/>
                        </a:lnTo>
                        <a:lnTo>
                          <a:pt x="75084" y="52256"/>
                        </a:lnTo>
                        <a:lnTo>
                          <a:pt x="75434" y="51237"/>
                        </a:lnTo>
                        <a:lnTo>
                          <a:pt x="79525" y="50186"/>
                        </a:lnTo>
                        <a:lnTo>
                          <a:pt x="88987" y="49550"/>
                        </a:lnTo>
                        <a:lnTo>
                          <a:pt x="89354" y="48124"/>
                        </a:lnTo>
                        <a:lnTo>
                          <a:pt x="71481" y="48939"/>
                        </a:lnTo>
                        <a:lnTo>
                          <a:pt x="47016" y="51857"/>
                        </a:lnTo>
                        <a:lnTo>
                          <a:pt x="39445" y="53299"/>
                        </a:lnTo>
                        <a:lnTo>
                          <a:pt x="33137" y="52468"/>
                        </a:lnTo>
                        <a:lnTo>
                          <a:pt x="6349" y="56983"/>
                        </a:lnTo>
                        <a:lnTo>
                          <a:pt x="5208" y="56975"/>
                        </a:lnTo>
                        <a:lnTo>
                          <a:pt x="2412" y="55549"/>
                        </a:lnTo>
                        <a:lnTo>
                          <a:pt x="0" y="52851"/>
                        </a:lnTo>
                        <a:lnTo>
                          <a:pt x="1728" y="50977"/>
                        </a:lnTo>
                        <a:lnTo>
                          <a:pt x="9592" y="47423"/>
                        </a:lnTo>
                        <a:lnTo>
                          <a:pt x="13529" y="44310"/>
                        </a:lnTo>
                        <a:lnTo>
                          <a:pt x="13064" y="42623"/>
                        </a:lnTo>
                        <a:lnTo>
                          <a:pt x="16185" y="39624"/>
                        </a:lnTo>
                        <a:lnTo>
                          <a:pt x="21198" y="39208"/>
                        </a:lnTo>
                        <a:lnTo>
                          <a:pt x="29714" y="41661"/>
                        </a:lnTo>
                        <a:lnTo>
                          <a:pt x="34131" y="44106"/>
                        </a:lnTo>
                        <a:lnTo>
                          <a:pt x="38092" y="45247"/>
                        </a:lnTo>
                        <a:lnTo>
                          <a:pt x="41613" y="45019"/>
                        </a:lnTo>
                        <a:lnTo>
                          <a:pt x="45256" y="43316"/>
                        </a:lnTo>
                        <a:lnTo>
                          <a:pt x="44335" y="43120"/>
                        </a:lnTo>
                        <a:lnTo>
                          <a:pt x="38165" y="44025"/>
                        </a:lnTo>
                        <a:lnTo>
                          <a:pt x="37432" y="43764"/>
                        </a:lnTo>
                        <a:lnTo>
                          <a:pt x="34286" y="41034"/>
                        </a:lnTo>
                        <a:lnTo>
                          <a:pt x="32917" y="39298"/>
                        </a:lnTo>
                        <a:lnTo>
                          <a:pt x="32029" y="37554"/>
                        </a:lnTo>
                        <a:lnTo>
                          <a:pt x="31988" y="36332"/>
                        </a:lnTo>
                        <a:lnTo>
                          <a:pt x="33887" y="33993"/>
                        </a:lnTo>
                        <a:lnTo>
                          <a:pt x="26804" y="33226"/>
                        </a:lnTo>
                        <a:lnTo>
                          <a:pt x="24156" y="31613"/>
                        </a:lnTo>
                        <a:lnTo>
                          <a:pt x="22950" y="29600"/>
                        </a:lnTo>
                        <a:lnTo>
                          <a:pt x="23219" y="28728"/>
                        </a:lnTo>
                        <a:lnTo>
                          <a:pt x="25452" y="26364"/>
                        </a:lnTo>
                        <a:lnTo>
                          <a:pt x="31458" y="23121"/>
                        </a:lnTo>
                        <a:lnTo>
                          <a:pt x="30765" y="22216"/>
                        </a:lnTo>
                        <a:lnTo>
                          <a:pt x="22012" y="22290"/>
                        </a:lnTo>
                        <a:lnTo>
                          <a:pt x="20089" y="21866"/>
                        </a:lnTo>
                        <a:lnTo>
                          <a:pt x="16357" y="19853"/>
                        </a:lnTo>
                        <a:lnTo>
                          <a:pt x="17180" y="17603"/>
                        </a:lnTo>
                        <a:lnTo>
                          <a:pt x="20668" y="14311"/>
                        </a:lnTo>
                        <a:lnTo>
                          <a:pt x="23284" y="12379"/>
                        </a:lnTo>
                        <a:lnTo>
                          <a:pt x="25052" y="11785"/>
                        </a:lnTo>
                        <a:lnTo>
                          <a:pt x="27783" y="11793"/>
                        </a:lnTo>
                        <a:lnTo>
                          <a:pt x="34286" y="13064"/>
                        </a:lnTo>
                        <a:lnTo>
                          <a:pt x="36152" y="13765"/>
                        </a:lnTo>
                        <a:lnTo>
                          <a:pt x="41132" y="16927"/>
                        </a:lnTo>
                        <a:lnTo>
                          <a:pt x="42403" y="18728"/>
                        </a:lnTo>
                        <a:lnTo>
                          <a:pt x="42248" y="20472"/>
                        </a:lnTo>
                        <a:lnTo>
                          <a:pt x="43194" y="21752"/>
                        </a:lnTo>
                        <a:lnTo>
                          <a:pt x="47057" y="23610"/>
                        </a:lnTo>
                        <a:lnTo>
                          <a:pt x="63666" y="33243"/>
                        </a:lnTo>
                        <a:lnTo>
                          <a:pt x="66755" y="35517"/>
                        </a:lnTo>
                        <a:lnTo>
                          <a:pt x="68890" y="36519"/>
                        </a:lnTo>
                        <a:lnTo>
                          <a:pt x="72720" y="37261"/>
                        </a:lnTo>
                        <a:lnTo>
                          <a:pt x="74969" y="37106"/>
                        </a:lnTo>
                        <a:lnTo>
                          <a:pt x="76787" y="36429"/>
                        </a:lnTo>
                        <a:lnTo>
                          <a:pt x="77097" y="35549"/>
                        </a:lnTo>
                        <a:lnTo>
                          <a:pt x="69917" y="32183"/>
                        </a:lnTo>
                        <a:lnTo>
                          <a:pt x="68115" y="30390"/>
                        </a:lnTo>
                        <a:lnTo>
                          <a:pt x="66583" y="27954"/>
                        </a:lnTo>
                        <a:lnTo>
                          <a:pt x="67252" y="27163"/>
                        </a:lnTo>
                        <a:lnTo>
                          <a:pt x="69338" y="26886"/>
                        </a:lnTo>
                        <a:lnTo>
                          <a:pt x="74586" y="27212"/>
                        </a:lnTo>
                        <a:lnTo>
                          <a:pt x="80764" y="26544"/>
                        </a:lnTo>
                        <a:lnTo>
                          <a:pt x="73918" y="25517"/>
                        </a:lnTo>
                        <a:lnTo>
                          <a:pt x="69444" y="24156"/>
                        </a:lnTo>
                        <a:lnTo>
                          <a:pt x="64856" y="24091"/>
                        </a:lnTo>
                        <a:lnTo>
                          <a:pt x="59110" y="21898"/>
                        </a:lnTo>
                        <a:lnTo>
                          <a:pt x="59102" y="21214"/>
                        </a:lnTo>
                        <a:lnTo>
                          <a:pt x="60512" y="20505"/>
                        </a:lnTo>
                        <a:lnTo>
                          <a:pt x="68327" y="19535"/>
                        </a:lnTo>
                        <a:lnTo>
                          <a:pt x="69802" y="19119"/>
                        </a:lnTo>
                        <a:lnTo>
                          <a:pt x="69933" y="18508"/>
                        </a:lnTo>
                        <a:lnTo>
                          <a:pt x="67349" y="17041"/>
                        </a:lnTo>
                        <a:lnTo>
                          <a:pt x="65051" y="16242"/>
                        </a:lnTo>
                        <a:lnTo>
                          <a:pt x="53242" y="14466"/>
                        </a:lnTo>
                        <a:lnTo>
                          <a:pt x="49053" y="12477"/>
                        </a:lnTo>
                        <a:lnTo>
                          <a:pt x="47717" y="11532"/>
                        </a:lnTo>
                        <a:lnTo>
                          <a:pt x="47293" y="10603"/>
                        </a:lnTo>
                        <a:lnTo>
                          <a:pt x="48809" y="8264"/>
                        </a:lnTo>
                        <a:lnTo>
                          <a:pt x="55157" y="5305"/>
                        </a:lnTo>
                        <a:lnTo>
                          <a:pt x="59762" y="3904"/>
                        </a:lnTo>
                        <a:lnTo>
                          <a:pt x="67675" y="2869"/>
                        </a:lnTo>
                        <a:lnTo>
                          <a:pt x="74000" y="2991"/>
                        </a:lnTo>
                        <a:lnTo>
                          <a:pt x="77594" y="3390"/>
                        </a:lnTo>
                        <a:lnTo>
                          <a:pt x="86012" y="8386"/>
                        </a:lnTo>
                        <a:lnTo>
                          <a:pt x="89981" y="11662"/>
                        </a:lnTo>
                        <a:lnTo>
                          <a:pt x="96909" y="11092"/>
                        </a:lnTo>
                        <a:lnTo>
                          <a:pt x="94904" y="7644"/>
                        </a:lnTo>
                        <a:lnTo>
                          <a:pt x="93600" y="3855"/>
                        </a:lnTo>
                        <a:lnTo>
                          <a:pt x="95654" y="2453"/>
                        </a:lnTo>
                        <a:lnTo>
                          <a:pt x="101358" y="0"/>
                        </a:lnTo>
                        <a:lnTo>
                          <a:pt x="105906" y="1288"/>
                        </a:lnTo>
                        <a:lnTo>
                          <a:pt x="111823" y="4621"/>
                        </a:lnTo>
                        <a:lnTo>
                          <a:pt x="113127" y="5762"/>
                        </a:lnTo>
                        <a:lnTo>
                          <a:pt x="119793" y="7816"/>
                        </a:lnTo>
                        <a:lnTo>
                          <a:pt x="123738" y="8508"/>
                        </a:lnTo>
                        <a:lnTo>
                          <a:pt x="125791" y="9609"/>
                        </a:lnTo>
                        <a:close/>
                      </a:path>
                    </a:pathLst>
                  </a:custGeom>
                  <a:solidFill>
                    <a:srgbClr val="D6D6D2"/>
                  </a:solidFill>
                  <a:ln w="8150" cap="flat">
                    <a:noFill/>
                    <a:prstDash val="solid"/>
                    <a:miter/>
                  </a:ln>
                </p:spPr>
                <p:txBody>
                  <a:bodyPr rtlCol="0" anchor="ctr"/>
                  <a:lstStyle/>
                  <a:p>
                    <a:endParaRPr lang="en-US"/>
                  </a:p>
                </p:txBody>
              </p:sp>
              <p:sp>
                <p:nvSpPr>
                  <p:cNvPr id="525" name="Freeform: Shape 524">
                    <a:extLst>
                      <a:ext uri="{FF2B5EF4-FFF2-40B4-BE49-F238E27FC236}">
                        <a16:creationId xmlns:a16="http://schemas.microsoft.com/office/drawing/2014/main" id="{EF77F003-B415-474B-AEC7-E4D9F4431BFD}"/>
                      </a:ext>
                    </a:extLst>
                  </p:cNvPr>
                  <p:cNvSpPr/>
                  <p:nvPr/>
                </p:nvSpPr>
                <p:spPr>
                  <a:xfrm>
                    <a:off x="3349238" y="1811842"/>
                    <a:ext cx="38923" cy="16503"/>
                  </a:xfrm>
                  <a:custGeom>
                    <a:avLst/>
                    <a:gdLst>
                      <a:gd name="connsiteX0" fmla="*/ 14392 w 38923"/>
                      <a:gd name="connsiteY0" fmla="*/ 4034 h 16503"/>
                      <a:gd name="connsiteX1" fmla="*/ 15615 w 38923"/>
                      <a:gd name="connsiteY1" fmla="*/ 4303 h 16503"/>
                      <a:gd name="connsiteX2" fmla="*/ 19396 w 38923"/>
                      <a:gd name="connsiteY2" fmla="*/ 3341 h 16503"/>
                      <a:gd name="connsiteX3" fmla="*/ 21833 w 38923"/>
                      <a:gd name="connsiteY3" fmla="*/ 3162 h 16503"/>
                      <a:gd name="connsiteX4" fmla="*/ 24555 w 38923"/>
                      <a:gd name="connsiteY4" fmla="*/ 4988 h 16503"/>
                      <a:gd name="connsiteX5" fmla="*/ 25256 w 38923"/>
                      <a:gd name="connsiteY5" fmla="*/ 6186 h 16503"/>
                      <a:gd name="connsiteX6" fmla="*/ 35044 w 38923"/>
                      <a:gd name="connsiteY6" fmla="*/ 9168 h 16503"/>
                      <a:gd name="connsiteX7" fmla="*/ 38483 w 38923"/>
                      <a:gd name="connsiteY7" fmla="*/ 10505 h 16503"/>
                      <a:gd name="connsiteX8" fmla="*/ 38923 w 38923"/>
                      <a:gd name="connsiteY8" fmla="*/ 11393 h 16503"/>
                      <a:gd name="connsiteX9" fmla="*/ 37701 w 38923"/>
                      <a:gd name="connsiteY9" fmla="*/ 12673 h 16503"/>
                      <a:gd name="connsiteX10" fmla="*/ 34807 w 38923"/>
                      <a:gd name="connsiteY10" fmla="*/ 14335 h 16503"/>
                      <a:gd name="connsiteX11" fmla="*/ 32037 w 38923"/>
                      <a:gd name="connsiteY11" fmla="*/ 15468 h 16503"/>
                      <a:gd name="connsiteX12" fmla="*/ 28043 w 38923"/>
                      <a:gd name="connsiteY12" fmla="*/ 16365 h 16503"/>
                      <a:gd name="connsiteX13" fmla="*/ 8248 w 38923"/>
                      <a:gd name="connsiteY13" fmla="*/ 16503 h 16503"/>
                      <a:gd name="connsiteX14" fmla="*/ 6088 w 38923"/>
                      <a:gd name="connsiteY14" fmla="*/ 16096 h 16503"/>
                      <a:gd name="connsiteX15" fmla="*/ 4849 w 38923"/>
                      <a:gd name="connsiteY15" fmla="*/ 14621 h 16503"/>
                      <a:gd name="connsiteX16" fmla="*/ 2396 w 38923"/>
                      <a:gd name="connsiteY16" fmla="*/ 9095 h 16503"/>
                      <a:gd name="connsiteX17" fmla="*/ 652 w 38923"/>
                      <a:gd name="connsiteY17" fmla="*/ 6120 h 16503"/>
                      <a:gd name="connsiteX18" fmla="*/ 0 w 38923"/>
                      <a:gd name="connsiteY18" fmla="*/ 4059 h 16503"/>
                      <a:gd name="connsiteX19" fmla="*/ 432 w 38923"/>
                      <a:gd name="connsiteY19" fmla="*/ 2901 h 16503"/>
                      <a:gd name="connsiteX20" fmla="*/ 2543 w 38923"/>
                      <a:gd name="connsiteY20" fmla="*/ 1736 h 16503"/>
                      <a:gd name="connsiteX21" fmla="*/ 9869 w 38923"/>
                      <a:gd name="connsiteY21" fmla="*/ 0 h 16503"/>
                      <a:gd name="connsiteX22" fmla="*/ 13113 w 38923"/>
                      <a:gd name="connsiteY22" fmla="*/ 0 h 16503"/>
                      <a:gd name="connsiteX23" fmla="*/ 15142 w 38923"/>
                      <a:gd name="connsiteY23" fmla="*/ 440 h 16503"/>
                      <a:gd name="connsiteX24" fmla="*/ 15974 w 38923"/>
                      <a:gd name="connsiteY24" fmla="*/ 1328 h 16503"/>
                      <a:gd name="connsiteX25" fmla="*/ 15721 w 38923"/>
                      <a:gd name="connsiteY25" fmla="*/ 2526 h 16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923" h="16503">
                        <a:moveTo>
                          <a:pt x="14392" y="4034"/>
                        </a:moveTo>
                        <a:lnTo>
                          <a:pt x="15615" y="4303"/>
                        </a:lnTo>
                        <a:lnTo>
                          <a:pt x="19396" y="3341"/>
                        </a:lnTo>
                        <a:lnTo>
                          <a:pt x="21833" y="3162"/>
                        </a:lnTo>
                        <a:lnTo>
                          <a:pt x="24555" y="4988"/>
                        </a:lnTo>
                        <a:lnTo>
                          <a:pt x="25256" y="6186"/>
                        </a:lnTo>
                        <a:lnTo>
                          <a:pt x="35044" y="9168"/>
                        </a:lnTo>
                        <a:lnTo>
                          <a:pt x="38483" y="10505"/>
                        </a:lnTo>
                        <a:lnTo>
                          <a:pt x="38923" y="11393"/>
                        </a:lnTo>
                        <a:lnTo>
                          <a:pt x="37701" y="12673"/>
                        </a:lnTo>
                        <a:lnTo>
                          <a:pt x="34807" y="14335"/>
                        </a:lnTo>
                        <a:lnTo>
                          <a:pt x="32037" y="15468"/>
                        </a:lnTo>
                        <a:lnTo>
                          <a:pt x="28043" y="16365"/>
                        </a:lnTo>
                        <a:lnTo>
                          <a:pt x="8248" y="16503"/>
                        </a:lnTo>
                        <a:lnTo>
                          <a:pt x="6088" y="16096"/>
                        </a:lnTo>
                        <a:lnTo>
                          <a:pt x="4849" y="14621"/>
                        </a:lnTo>
                        <a:lnTo>
                          <a:pt x="2396" y="9095"/>
                        </a:lnTo>
                        <a:lnTo>
                          <a:pt x="652" y="6120"/>
                        </a:lnTo>
                        <a:lnTo>
                          <a:pt x="0" y="4059"/>
                        </a:lnTo>
                        <a:lnTo>
                          <a:pt x="432" y="2901"/>
                        </a:lnTo>
                        <a:lnTo>
                          <a:pt x="2543" y="1736"/>
                        </a:lnTo>
                        <a:lnTo>
                          <a:pt x="9869" y="0"/>
                        </a:lnTo>
                        <a:lnTo>
                          <a:pt x="13113" y="0"/>
                        </a:lnTo>
                        <a:lnTo>
                          <a:pt x="15142" y="440"/>
                        </a:lnTo>
                        <a:lnTo>
                          <a:pt x="15974" y="1328"/>
                        </a:lnTo>
                        <a:lnTo>
                          <a:pt x="15721" y="2526"/>
                        </a:lnTo>
                        <a:close/>
                      </a:path>
                    </a:pathLst>
                  </a:custGeom>
                  <a:solidFill>
                    <a:srgbClr val="D6D6D2"/>
                  </a:solidFill>
                  <a:ln w="8150" cap="flat">
                    <a:noFill/>
                    <a:prstDash val="solid"/>
                    <a:miter/>
                  </a:ln>
                </p:spPr>
                <p:txBody>
                  <a:bodyPr rtlCol="0" anchor="ctr"/>
                  <a:lstStyle/>
                  <a:p>
                    <a:endParaRPr lang="en-US"/>
                  </a:p>
                </p:txBody>
              </p:sp>
              <p:sp>
                <p:nvSpPr>
                  <p:cNvPr id="526" name="Freeform: Shape 525">
                    <a:extLst>
                      <a:ext uri="{FF2B5EF4-FFF2-40B4-BE49-F238E27FC236}">
                        <a16:creationId xmlns:a16="http://schemas.microsoft.com/office/drawing/2014/main" id="{540041A2-B5D4-40DD-B307-EBAB49123292}"/>
                      </a:ext>
                    </a:extLst>
                  </p:cNvPr>
                  <p:cNvSpPr/>
                  <p:nvPr/>
                </p:nvSpPr>
                <p:spPr>
                  <a:xfrm>
                    <a:off x="3354120" y="1829054"/>
                    <a:ext cx="59476" cy="26437"/>
                  </a:xfrm>
                  <a:custGeom>
                    <a:avLst/>
                    <a:gdLst>
                      <a:gd name="connsiteX0" fmla="*/ 54041 w 59476"/>
                      <a:gd name="connsiteY0" fmla="*/ 14327 h 26437"/>
                      <a:gd name="connsiteX1" fmla="*/ 59232 w 59476"/>
                      <a:gd name="connsiteY1" fmla="*/ 17302 h 26437"/>
                      <a:gd name="connsiteX2" fmla="*/ 59477 w 59476"/>
                      <a:gd name="connsiteY2" fmla="*/ 17970 h 26437"/>
                      <a:gd name="connsiteX3" fmla="*/ 58499 w 59476"/>
                      <a:gd name="connsiteY3" fmla="*/ 18533 h 26437"/>
                      <a:gd name="connsiteX4" fmla="*/ 51792 w 59476"/>
                      <a:gd name="connsiteY4" fmla="*/ 20097 h 26437"/>
                      <a:gd name="connsiteX5" fmla="*/ 49175 w 59476"/>
                      <a:gd name="connsiteY5" fmla="*/ 21352 h 26437"/>
                      <a:gd name="connsiteX6" fmla="*/ 46999 w 59476"/>
                      <a:gd name="connsiteY6" fmla="*/ 24270 h 26437"/>
                      <a:gd name="connsiteX7" fmla="*/ 45304 w 59476"/>
                      <a:gd name="connsiteY7" fmla="*/ 25631 h 26437"/>
                      <a:gd name="connsiteX8" fmla="*/ 36274 w 59476"/>
                      <a:gd name="connsiteY8" fmla="*/ 26438 h 26437"/>
                      <a:gd name="connsiteX9" fmla="*/ 27073 w 59476"/>
                      <a:gd name="connsiteY9" fmla="*/ 26397 h 26437"/>
                      <a:gd name="connsiteX10" fmla="*/ 28809 w 59476"/>
                      <a:gd name="connsiteY10" fmla="*/ 23577 h 26437"/>
                      <a:gd name="connsiteX11" fmla="*/ 33846 w 59476"/>
                      <a:gd name="connsiteY11" fmla="*/ 18964 h 26437"/>
                      <a:gd name="connsiteX12" fmla="*/ 29877 w 59476"/>
                      <a:gd name="connsiteY12" fmla="*/ 17049 h 26437"/>
                      <a:gd name="connsiteX13" fmla="*/ 15786 w 59476"/>
                      <a:gd name="connsiteY13" fmla="*/ 20236 h 26437"/>
                      <a:gd name="connsiteX14" fmla="*/ 10440 w 59476"/>
                      <a:gd name="connsiteY14" fmla="*/ 18280 h 26437"/>
                      <a:gd name="connsiteX15" fmla="*/ 15020 w 59476"/>
                      <a:gd name="connsiteY15" fmla="*/ 13268 h 26437"/>
                      <a:gd name="connsiteX16" fmla="*/ 10456 w 59476"/>
                      <a:gd name="connsiteY16" fmla="*/ 12803 h 26437"/>
                      <a:gd name="connsiteX17" fmla="*/ 4059 w 59476"/>
                      <a:gd name="connsiteY17" fmla="*/ 12787 h 26437"/>
                      <a:gd name="connsiteX18" fmla="*/ 0 w 59476"/>
                      <a:gd name="connsiteY18" fmla="*/ 9820 h 26437"/>
                      <a:gd name="connsiteX19" fmla="*/ 1377 w 59476"/>
                      <a:gd name="connsiteY19" fmla="*/ 6243 h 26437"/>
                      <a:gd name="connsiteX20" fmla="*/ 9772 w 59476"/>
                      <a:gd name="connsiteY20" fmla="*/ 4279 h 26437"/>
                      <a:gd name="connsiteX21" fmla="*/ 20708 w 59476"/>
                      <a:gd name="connsiteY21" fmla="*/ 2575 h 26437"/>
                      <a:gd name="connsiteX22" fmla="*/ 32436 w 59476"/>
                      <a:gd name="connsiteY22" fmla="*/ 0 h 26437"/>
                      <a:gd name="connsiteX23" fmla="*/ 41621 w 59476"/>
                      <a:gd name="connsiteY23" fmla="*/ 220 h 26437"/>
                      <a:gd name="connsiteX24" fmla="*/ 45190 w 59476"/>
                      <a:gd name="connsiteY24" fmla="*/ 1443 h 26437"/>
                      <a:gd name="connsiteX25" fmla="*/ 46380 w 59476"/>
                      <a:gd name="connsiteY25" fmla="*/ 5566 h 26437"/>
                      <a:gd name="connsiteX26" fmla="*/ 47529 w 59476"/>
                      <a:gd name="connsiteY26" fmla="*/ 10464 h 26437"/>
                      <a:gd name="connsiteX27" fmla="*/ 49119 w 59476"/>
                      <a:gd name="connsiteY27" fmla="*/ 10880 h 26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476" h="26437">
                        <a:moveTo>
                          <a:pt x="54041" y="14327"/>
                        </a:moveTo>
                        <a:lnTo>
                          <a:pt x="59232" y="17302"/>
                        </a:lnTo>
                        <a:lnTo>
                          <a:pt x="59477" y="17970"/>
                        </a:lnTo>
                        <a:lnTo>
                          <a:pt x="58499" y="18533"/>
                        </a:lnTo>
                        <a:lnTo>
                          <a:pt x="51792" y="20097"/>
                        </a:lnTo>
                        <a:lnTo>
                          <a:pt x="49175" y="21352"/>
                        </a:lnTo>
                        <a:lnTo>
                          <a:pt x="46999" y="24270"/>
                        </a:lnTo>
                        <a:lnTo>
                          <a:pt x="45304" y="25631"/>
                        </a:lnTo>
                        <a:lnTo>
                          <a:pt x="36274" y="26438"/>
                        </a:lnTo>
                        <a:lnTo>
                          <a:pt x="27073" y="26397"/>
                        </a:lnTo>
                        <a:lnTo>
                          <a:pt x="28809" y="23577"/>
                        </a:lnTo>
                        <a:lnTo>
                          <a:pt x="33846" y="18964"/>
                        </a:lnTo>
                        <a:lnTo>
                          <a:pt x="29877" y="17049"/>
                        </a:lnTo>
                        <a:lnTo>
                          <a:pt x="15786" y="20236"/>
                        </a:lnTo>
                        <a:lnTo>
                          <a:pt x="10440" y="18280"/>
                        </a:lnTo>
                        <a:lnTo>
                          <a:pt x="15020" y="13268"/>
                        </a:lnTo>
                        <a:lnTo>
                          <a:pt x="10456" y="12803"/>
                        </a:lnTo>
                        <a:lnTo>
                          <a:pt x="4059" y="12787"/>
                        </a:lnTo>
                        <a:lnTo>
                          <a:pt x="0" y="9820"/>
                        </a:lnTo>
                        <a:lnTo>
                          <a:pt x="1377" y="6243"/>
                        </a:lnTo>
                        <a:lnTo>
                          <a:pt x="9772" y="4279"/>
                        </a:lnTo>
                        <a:lnTo>
                          <a:pt x="20708" y="2575"/>
                        </a:lnTo>
                        <a:lnTo>
                          <a:pt x="32436" y="0"/>
                        </a:lnTo>
                        <a:lnTo>
                          <a:pt x="41621" y="220"/>
                        </a:lnTo>
                        <a:lnTo>
                          <a:pt x="45190" y="1443"/>
                        </a:lnTo>
                        <a:lnTo>
                          <a:pt x="46380" y="5566"/>
                        </a:lnTo>
                        <a:lnTo>
                          <a:pt x="47529" y="10464"/>
                        </a:lnTo>
                        <a:lnTo>
                          <a:pt x="49119" y="10880"/>
                        </a:lnTo>
                        <a:close/>
                      </a:path>
                    </a:pathLst>
                  </a:custGeom>
                  <a:solidFill>
                    <a:srgbClr val="D6D6D2"/>
                  </a:solidFill>
                  <a:ln w="8150" cap="flat">
                    <a:noFill/>
                    <a:prstDash val="solid"/>
                    <a:miter/>
                  </a:ln>
                </p:spPr>
                <p:txBody>
                  <a:bodyPr rtlCol="0" anchor="ctr"/>
                  <a:lstStyle/>
                  <a:p>
                    <a:endParaRPr lang="en-US"/>
                  </a:p>
                </p:txBody>
              </p:sp>
              <p:sp>
                <p:nvSpPr>
                  <p:cNvPr id="527" name="Freeform: Shape 526">
                    <a:extLst>
                      <a:ext uri="{FF2B5EF4-FFF2-40B4-BE49-F238E27FC236}">
                        <a16:creationId xmlns:a16="http://schemas.microsoft.com/office/drawing/2014/main" id="{50E86078-B35C-4F10-87E3-144F40817CD7}"/>
                      </a:ext>
                    </a:extLst>
                  </p:cNvPr>
                  <p:cNvSpPr/>
                  <p:nvPr/>
                </p:nvSpPr>
                <p:spPr>
                  <a:xfrm>
                    <a:off x="3966923" y="1837065"/>
                    <a:ext cx="21172" cy="15435"/>
                  </a:xfrm>
                  <a:custGeom>
                    <a:avLst/>
                    <a:gdLst>
                      <a:gd name="connsiteX0" fmla="*/ 15762 w 21172"/>
                      <a:gd name="connsiteY0" fmla="*/ 10619 h 15435"/>
                      <a:gd name="connsiteX1" fmla="*/ 16047 w 21172"/>
                      <a:gd name="connsiteY1" fmla="*/ 13447 h 15435"/>
                      <a:gd name="connsiteX2" fmla="*/ 14238 w 21172"/>
                      <a:gd name="connsiteY2" fmla="*/ 13317 h 15435"/>
                      <a:gd name="connsiteX3" fmla="*/ 8508 w 21172"/>
                      <a:gd name="connsiteY3" fmla="*/ 15167 h 15435"/>
                      <a:gd name="connsiteX4" fmla="*/ 3822 w 21172"/>
                      <a:gd name="connsiteY4" fmla="*/ 15436 h 15435"/>
                      <a:gd name="connsiteX5" fmla="*/ 1491 w 21172"/>
                      <a:gd name="connsiteY5" fmla="*/ 14604 h 15435"/>
                      <a:gd name="connsiteX6" fmla="*/ 0 w 21172"/>
                      <a:gd name="connsiteY6" fmla="*/ 12665 h 15435"/>
                      <a:gd name="connsiteX7" fmla="*/ 3659 w 21172"/>
                      <a:gd name="connsiteY7" fmla="*/ 9046 h 15435"/>
                      <a:gd name="connsiteX8" fmla="*/ 7864 w 21172"/>
                      <a:gd name="connsiteY8" fmla="*/ 6512 h 15435"/>
                      <a:gd name="connsiteX9" fmla="*/ 12909 w 21172"/>
                      <a:gd name="connsiteY9" fmla="*/ 2583 h 15435"/>
                      <a:gd name="connsiteX10" fmla="*/ 17098 w 21172"/>
                      <a:gd name="connsiteY10" fmla="*/ 0 h 15435"/>
                      <a:gd name="connsiteX11" fmla="*/ 19168 w 21172"/>
                      <a:gd name="connsiteY11" fmla="*/ 538 h 15435"/>
                      <a:gd name="connsiteX12" fmla="*/ 21173 w 21172"/>
                      <a:gd name="connsiteY12" fmla="*/ 1915 h 15435"/>
                      <a:gd name="connsiteX13" fmla="*/ 18655 w 21172"/>
                      <a:gd name="connsiteY13" fmla="*/ 5811 h 15435"/>
                      <a:gd name="connsiteX14" fmla="*/ 15925 w 21172"/>
                      <a:gd name="connsiteY14" fmla="*/ 7750 h 15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172" h="15435">
                        <a:moveTo>
                          <a:pt x="15762" y="10619"/>
                        </a:moveTo>
                        <a:lnTo>
                          <a:pt x="16047" y="13447"/>
                        </a:lnTo>
                        <a:lnTo>
                          <a:pt x="14238" y="13317"/>
                        </a:lnTo>
                        <a:lnTo>
                          <a:pt x="8508" y="15167"/>
                        </a:lnTo>
                        <a:lnTo>
                          <a:pt x="3822" y="15436"/>
                        </a:lnTo>
                        <a:lnTo>
                          <a:pt x="1491" y="14604"/>
                        </a:lnTo>
                        <a:lnTo>
                          <a:pt x="0" y="12665"/>
                        </a:lnTo>
                        <a:lnTo>
                          <a:pt x="3659" y="9046"/>
                        </a:lnTo>
                        <a:lnTo>
                          <a:pt x="7864" y="6512"/>
                        </a:lnTo>
                        <a:lnTo>
                          <a:pt x="12909" y="2583"/>
                        </a:lnTo>
                        <a:lnTo>
                          <a:pt x="17098" y="0"/>
                        </a:lnTo>
                        <a:lnTo>
                          <a:pt x="19168" y="538"/>
                        </a:lnTo>
                        <a:lnTo>
                          <a:pt x="21173" y="1915"/>
                        </a:lnTo>
                        <a:lnTo>
                          <a:pt x="18655" y="5811"/>
                        </a:lnTo>
                        <a:lnTo>
                          <a:pt x="15925" y="7750"/>
                        </a:lnTo>
                        <a:close/>
                      </a:path>
                    </a:pathLst>
                  </a:custGeom>
                  <a:solidFill>
                    <a:srgbClr val="D6D6D2"/>
                  </a:solidFill>
                  <a:ln w="8150" cap="flat">
                    <a:noFill/>
                    <a:prstDash val="solid"/>
                    <a:miter/>
                  </a:ln>
                </p:spPr>
                <p:txBody>
                  <a:bodyPr rtlCol="0" anchor="ctr"/>
                  <a:lstStyle/>
                  <a:p>
                    <a:endParaRPr lang="en-US"/>
                  </a:p>
                </p:txBody>
              </p:sp>
              <p:sp>
                <p:nvSpPr>
                  <p:cNvPr id="528" name="Freeform: Shape 527">
                    <a:extLst>
                      <a:ext uri="{FF2B5EF4-FFF2-40B4-BE49-F238E27FC236}">
                        <a16:creationId xmlns:a16="http://schemas.microsoft.com/office/drawing/2014/main" id="{5B764D20-C533-4EB0-8A74-54F3C486AB64}"/>
                      </a:ext>
                    </a:extLst>
                  </p:cNvPr>
                  <p:cNvSpPr/>
                  <p:nvPr/>
                </p:nvSpPr>
                <p:spPr>
                  <a:xfrm>
                    <a:off x="3537301" y="1860716"/>
                    <a:ext cx="26307" cy="13675"/>
                  </a:xfrm>
                  <a:custGeom>
                    <a:avLst/>
                    <a:gdLst>
                      <a:gd name="connsiteX0" fmla="*/ 23365 w 26307"/>
                      <a:gd name="connsiteY0" fmla="*/ 6927 h 13675"/>
                      <a:gd name="connsiteX1" fmla="*/ 21434 w 26307"/>
                      <a:gd name="connsiteY1" fmla="*/ 8500 h 13675"/>
                      <a:gd name="connsiteX2" fmla="*/ 19445 w 26307"/>
                      <a:gd name="connsiteY2" fmla="*/ 8614 h 13675"/>
                      <a:gd name="connsiteX3" fmla="*/ 16764 w 26307"/>
                      <a:gd name="connsiteY3" fmla="*/ 7131 h 13675"/>
                      <a:gd name="connsiteX4" fmla="*/ 13863 w 26307"/>
                      <a:gd name="connsiteY4" fmla="*/ 7693 h 13675"/>
                      <a:gd name="connsiteX5" fmla="*/ 9886 w 26307"/>
                      <a:gd name="connsiteY5" fmla="*/ 10709 h 13675"/>
                      <a:gd name="connsiteX6" fmla="*/ 8476 w 26307"/>
                      <a:gd name="connsiteY6" fmla="*/ 12477 h 13675"/>
                      <a:gd name="connsiteX7" fmla="*/ 7384 w 26307"/>
                      <a:gd name="connsiteY7" fmla="*/ 13121 h 13675"/>
                      <a:gd name="connsiteX8" fmla="*/ 4059 w 26307"/>
                      <a:gd name="connsiteY8" fmla="*/ 13675 h 13675"/>
                      <a:gd name="connsiteX9" fmla="*/ 2608 w 26307"/>
                      <a:gd name="connsiteY9" fmla="*/ 13170 h 13675"/>
                      <a:gd name="connsiteX10" fmla="*/ 1263 w 26307"/>
                      <a:gd name="connsiteY10" fmla="*/ 11597 h 13675"/>
                      <a:gd name="connsiteX11" fmla="*/ 0 w 26307"/>
                      <a:gd name="connsiteY11" fmla="*/ 8940 h 13675"/>
                      <a:gd name="connsiteX12" fmla="*/ 937 w 26307"/>
                      <a:gd name="connsiteY12" fmla="*/ 6944 h 13675"/>
                      <a:gd name="connsiteX13" fmla="*/ 4075 w 26307"/>
                      <a:gd name="connsiteY13" fmla="*/ 5599 h 13675"/>
                      <a:gd name="connsiteX14" fmla="*/ 12347 w 26307"/>
                      <a:gd name="connsiteY14" fmla="*/ 3407 h 13675"/>
                      <a:gd name="connsiteX15" fmla="*/ 14702 w 26307"/>
                      <a:gd name="connsiteY15" fmla="*/ 2314 h 13675"/>
                      <a:gd name="connsiteX16" fmla="*/ 14963 w 26307"/>
                      <a:gd name="connsiteY16" fmla="*/ 1149 h 13675"/>
                      <a:gd name="connsiteX17" fmla="*/ 15460 w 26307"/>
                      <a:gd name="connsiteY17" fmla="*/ 383 h 13675"/>
                      <a:gd name="connsiteX18" fmla="*/ 16185 w 26307"/>
                      <a:gd name="connsiteY18" fmla="*/ 0 h 13675"/>
                      <a:gd name="connsiteX19" fmla="*/ 21711 w 26307"/>
                      <a:gd name="connsiteY19" fmla="*/ 1972 h 13675"/>
                      <a:gd name="connsiteX20" fmla="*/ 24319 w 26307"/>
                      <a:gd name="connsiteY20" fmla="*/ 3301 h 13675"/>
                      <a:gd name="connsiteX21" fmla="*/ 26307 w 26307"/>
                      <a:gd name="connsiteY21" fmla="*/ 4808 h 13675"/>
                      <a:gd name="connsiteX22" fmla="*/ 26087 w 26307"/>
                      <a:gd name="connsiteY22" fmla="*/ 5411 h 13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307" h="13675">
                        <a:moveTo>
                          <a:pt x="23365" y="6927"/>
                        </a:moveTo>
                        <a:lnTo>
                          <a:pt x="21434" y="8500"/>
                        </a:lnTo>
                        <a:lnTo>
                          <a:pt x="19445" y="8614"/>
                        </a:lnTo>
                        <a:lnTo>
                          <a:pt x="16764" y="7131"/>
                        </a:lnTo>
                        <a:lnTo>
                          <a:pt x="13863" y="7693"/>
                        </a:lnTo>
                        <a:lnTo>
                          <a:pt x="9886" y="10709"/>
                        </a:lnTo>
                        <a:lnTo>
                          <a:pt x="8476" y="12477"/>
                        </a:lnTo>
                        <a:lnTo>
                          <a:pt x="7384" y="13121"/>
                        </a:lnTo>
                        <a:lnTo>
                          <a:pt x="4059" y="13675"/>
                        </a:lnTo>
                        <a:lnTo>
                          <a:pt x="2608" y="13170"/>
                        </a:lnTo>
                        <a:lnTo>
                          <a:pt x="1263" y="11597"/>
                        </a:lnTo>
                        <a:lnTo>
                          <a:pt x="0" y="8940"/>
                        </a:lnTo>
                        <a:lnTo>
                          <a:pt x="937" y="6944"/>
                        </a:lnTo>
                        <a:lnTo>
                          <a:pt x="4075" y="5599"/>
                        </a:lnTo>
                        <a:lnTo>
                          <a:pt x="12347" y="3407"/>
                        </a:lnTo>
                        <a:lnTo>
                          <a:pt x="14702" y="2314"/>
                        </a:lnTo>
                        <a:lnTo>
                          <a:pt x="14963" y="1149"/>
                        </a:lnTo>
                        <a:lnTo>
                          <a:pt x="15460" y="383"/>
                        </a:lnTo>
                        <a:lnTo>
                          <a:pt x="16185" y="0"/>
                        </a:lnTo>
                        <a:lnTo>
                          <a:pt x="21711" y="1972"/>
                        </a:lnTo>
                        <a:lnTo>
                          <a:pt x="24319" y="3301"/>
                        </a:lnTo>
                        <a:lnTo>
                          <a:pt x="26307" y="4808"/>
                        </a:lnTo>
                        <a:lnTo>
                          <a:pt x="26087" y="5411"/>
                        </a:lnTo>
                        <a:close/>
                      </a:path>
                    </a:pathLst>
                  </a:custGeom>
                  <a:solidFill>
                    <a:srgbClr val="D6D6D2"/>
                  </a:solidFill>
                  <a:ln w="8150" cap="flat">
                    <a:noFill/>
                    <a:prstDash val="solid"/>
                    <a:miter/>
                  </a:ln>
                </p:spPr>
                <p:txBody>
                  <a:bodyPr rtlCol="0" anchor="ctr"/>
                  <a:lstStyle/>
                  <a:p>
                    <a:endParaRPr lang="en-US"/>
                  </a:p>
                </p:txBody>
              </p:sp>
              <p:sp>
                <p:nvSpPr>
                  <p:cNvPr id="529" name="Freeform: Shape 528">
                    <a:extLst>
                      <a:ext uri="{FF2B5EF4-FFF2-40B4-BE49-F238E27FC236}">
                        <a16:creationId xmlns:a16="http://schemas.microsoft.com/office/drawing/2014/main" id="{FE50BEB3-B8C0-45E5-A17B-AFB6F926B8B6}"/>
                      </a:ext>
                    </a:extLst>
                  </p:cNvPr>
                  <p:cNvSpPr/>
                  <p:nvPr/>
                </p:nvSpPr>
                <p:spPr>
                  <a:xfrm>
                    <a:off x="3547741" y="1861898"/>
                    <a:ext cx="77781" cy="47333"/>
                  </a:xfrm>
                  <a:custGeom>
                    <a:avLst/>
                    <a:gdLst>
                      <a:gd name="connsiteX0" fmla="*/ 75825 w 77781"/>
                      <a:gd name="connsiteY0" fmla="*/ 28769 h 47333"/>
                      <a:gd name="connsiteX1" fmla="*/ 77414 w 77781"/>
                      <a:gd name="connsiteY1" fmla="*/ 32379 h 47333"/>
                      <a:gd name="connsiteX2" fmla="*/ 77700 w 77781"/>
                      <a:gd name="connsiteY2" fmla="*/ 33838 h 47333"/>
                      <a:gd name="connsiteX3" fmla="*/ 77781 w 77781"/>
                      <a:gd name="connsiteY3" fmla="*/ 36910 h 47333"/>
                      <a:gd name="connsiteX4" fmla="*/ 77105 w 77781"/>
                      <a:gd name="connsiteY4" fmla="*/ 40920 h 47333"/>
                      <a:gd name="connsiteX5" fmla="*/ 76648 w 77781"/>
                      <a:gd name="connsiteY5" fmla="*/ 41661 h 47333"/>
                      <a:gd name="connsiteX6" fmla="*/ 75996 w 77781"/>
                      <a:gd name="connsiteY6" fmla="*/ 42004 h 47333"/>
                      <a:gd name="connsiteX7" fmla="*/ 75678 w 77781"/>
                      <a:gd name="connsiteY7" fmla="*/ 43039 h 47333"/>
                      <a:gd name="connsiteX8" fmla="*/ 75703 w 77781"/>
                      <a:gd name="connsiteY8" fmla="*/ 44758 h 47333"/>
                      <a:gd name="connsiteX9" fmla="*/ 75067 w 77781"/>
                      <a:gd name="connsiteY9" fmla="*/ 45810 h 47333"/>
                      <a:gd name="connsiteX10" fmla="*/ 73747 w 77781"/>
                      <a:gd name="connsiteY10" fmla="*/ 46185 h 47333"/>
                      <a:gd name="connsiteX11" fmla="*/ 64856 w 77781"/>
                      <a:gd name="connsiteY11" fmla="*/ 46983 h 47333"/>
                      <a:gd name="connsiteX12" fmla="*/ 59363 w 77781"/>
                      <a:gd name="connsiteY12" fmla="*/ 46820 h 47333"/>
                      <a:gd name="connsiteX13" fmla="*/ 51213 w 77781"/>
                      <a:gd name="connsiteY13" fmla="*/ 47334 h 47333"/>
                      <a:gd name="connsiteX14" fmla="*/ 47179 w 77781"/>
                      <a:gd name="connsiteY14" fmla="*/ 47081 h 47333"/>
                      <a:gd name="connsiteX15" fmla="*/ 44538 w 77781"/>
                      <a:gd name="connsiteY15" fmla="*/ 46233 h 47333"/>
                      <a:gd name="connsiteX16" fmla="*/ 40700 w 77781"/>
                      <a:gd name="connsiteY16" fmla="*/ 44343 h 47333"/>
                      <a:gd name="connsiteX17" fmla="*/ 32574 w 77781"/>
                      <a:gd name="connsiteY17" fmla="*/ 39877 h 47333"/>
                      <a:gd name="connsiteX18" fmla="*/ 28483 w 77781"/>
                      <a:gd name="connsiteY18" fmla="*/ 39722 h 47333"/>
                      <a:gd name="connsiteX19" fmla="*/ 18206 w 77781"/>
                      <a:gd name="connsiteY19" fmla="*/ 38149 h 47333"/>
                      <a:gd name="connsiteX20" fmla="*/ 12534 w 77781"/>
                      <a:gd name="connsiteY20" fmla="*/ 33300 h 47333"/>
                      <a:gd name="connsiteX21" fmla="*/ 10366 w 77781"/>
                      <a:gd name="connsiteY21" fmla="*/ 32436 h 47333"/>
                      <a:gd name="connsiteX22" fmla="*/ 8174 w 77781"/>
                      <a:gd name="connsiteY22" fmla="*/ 33887 h 47333"/>
                      <a:gd name="connsiteX23" fmla="*/ 7571 w 77781"/>
                      <a:gd name="connsiteY23" fmla="*/ 33552 h 47333"/>
                      <a:gd name="connsiteX24" fmla="*/ 6976 w 77781"/>
                      <a:gd name="connsiteY24" fmla="*/ 32583 h 47333"/>
                      <a:gd name="connsiteX25" fmla="*/ 6365 w 77781"/>
                      <a:gd name="connsiteY25" fmla="*/ 30961 h 47333"/>
                      <a:gd name="connsiteX26" fmla="*/ 5289 w 77781"/>
                      <a:gd name="connsiteY26" fmla="*/ 30121 h 47333"/>
                      <a:gd name="connsiteX27" fmla="*/ 986 w 77781"/>
                      <a:gd name="connsiteY27" fmla="*/ 30553 h 47333"/>
                      <a:gd name="connsiteX28" fmla="*/ 212 w 77781"/>
                      <a:gd name="connsiteY28" fmla="*/ 30007 h 47333"/>
                      <a:gd name="connsiteX29" fmla="*/ 0 w 77781"/>
                      <a:gd name="connsiteY29" fmla="*/ 28589 h 47333"/>
                      <a:gd name="connsiteX30" fmla="*/ 65 w 77781"/>
                      <a:gd name="connsiteY30" fmla="*/ 27342 h 47333"/>
                      <a:gd name="connsiteX31" fmla="*/ 839 w 77781"/>
                      <a:gd name="connsiteY31" fmla="*/ 25395 h 47333"/>
                      <a:gd name="connsiteX32" fmla="*/ 5371 w 77781"/>
                      <a:gd name="connsiteY32" fmla="*/ 20032 h 47333"/>
                      <a:gd name="connsiteX33" fmla="*/ 7620 w 77781"/>
                      <a:gd name="connsiteY33" fmla="*/ 19649 h 47333"/>
                      <a:gd name="connsiteX34" fmla="*/ 10399 w 77781"/>
                      <a:gd name="connsiteY34" fmla="*/ 18655 h 47333"/>
                      <a:gd name="connsiteX35" fmla="*/ 11931 w 77781"/>
                      <a:gd name="connsiteY35" fmla="*/ 15753 h 47333"/>
                      <a:gd name="connsiteX36" fmla="*/ 11776 w 77781"/>
                      <a:gd name="connsiteY36" fmla="*/ 13015 h 47333"/>
                      <a:gd name="connsiteX37" fmla="*/ 15998 w 77781"/>
                      <a:gd name="connsiteY37" fmla="*/ 8924 h 47333"/>
                      <a:gd name="connsiteX38" fmla="*/ 18516 w 77781"/>
                      <a:gd name="connsiteY38" fmla="*/ 7718 h 47333"/>
                      <a:gd name="connsiteX39" fmla="*/ 23031 w 77781"/>
                      <a:gd name="connsiteY39" fmla="*/ 4857 h 47333"/>
                      <a:gd name="connsiteX40" fmla="*/ 38450 w 77781"/>
                      <a:gd name="connsiteY40" fmla="*/ 391 h 47333"/>
                      <a:gd name="connsiteX41" fmla="*/ 42696 w 77781"/>
                      <a:gd name="connsiteY41" fmla="*/ 0 h 47333"/>
                      <a:gd name="connsiteX42" fmla="*/ 48393 w 77781"/>
                      <a:gd name="connsiteY42" fmla="*/ 334 h 47333"/>
                      <a:gd name="connsiteX43" fmla="*/ 53878 w 77781"/>
                      <a:gd name="connsiteY43" fmla="*/ 1760 h 47333"/>
                      <a:gd name="connsiteX44" fmla="*/ 58108 w 77781"/>
                      <a:gd name="connsiteY44" fmla="*/ 4124 h 47333"/>
                      <a:gd name="connsiteX45" fmla="*/ 66730 w 77781"/>
                      <a:gd name="connsiteY45" fmla="*/ 9943 h 47333"/>
                      <a:gd name="connsiteX46" fmla="*/ 70650 w 77781"/>
                      <a:gd name="connsiteY46" fmla="*/ 13455 h 47333"/>
                      <a:gd name="connsiteX47" fmla="*/ 72736 w 77781"/>
                      <a:gd name="connsiteY47" fmla="*/ 17066 h 47333"/>
                      <a:gd name="connsiteX48" fmla="*/ 74619 w 77781"/>
                      <a:gd name="connsiteY48" fmla="*/ 19127 h 47333"/>
                      <a:gd name="connsiteX49" fmla="*/ 76933 w 77781"/>
                      <a:gd name="connsiteY49" fmla="*/ 23577 h 47333"/>
                      <a:gd name="connsiteX50" fmla="*/ 76086 w 77781"/>
                      <a:gd name="connsiteY50" fmla="*/ 25321 h 47333"/>
                      <a:gd name="connsiteX51" fmla="*/ 75597 w 77781"/>
                      <a:gd name="connsiteY51" fmla="*/ 27668 h 4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7781" h="47333">
                        <a:moveTo>
                          <a:pt x="75825" y="28769"/>
                        </a:moveTo>
                        <a:lnTo>
                          <a:pt x="77414" y="32379"/>
                        </a:lnTo>
                        <a:lnTo>
                          <a:pt x="77700" y="33838"/>
                        </a:lnTo>
                        <a:lnTo>
                          <a:pt x="77781" y="36910"/>
                        </a:lnTo>
                        <a:lnTo>
                          <a:pt x="77105" y="40920"/>
                        </a:lnTo>
                        <a:lnTo>
                          <a:pt x="76648" y="41661"/>
                        </a:lnTo>
                        <a:lnTo>
                          <a:pt x="75996" y="42004"/>
                        </a:lnTo>
                        <a:lnTo>
                          <a:pt x="75678" y="43039"/>
                        </a:lnTo>
                        <a:lnTo>
                          <a:pt x="75703" y="44758"/>
                        </a:lnTo>
                        <a:lnTo>
                          <a:pt x="75067" y="45810"/>
                        </a:lnTo>
                        <a:lnTo>
                          <a:pt x="73747" y="46185"/>
                        </a:lnTo>
                        <a:lnTo>
                          <a:pt x="64856" y="46983"/>
                        </a:lnTo>
                        <a:lnTo>
                          <a:pt x="59363" y="46820"/>
                        </a:lnTo>
                        <a:lnTo>
                          <a:pt x="51213" y="47334"/>
                        </a:lnTo>
                        <a:lnTo>
                          <a:pt x="47179" y="47081"/>
                        </a:lnTo>
                        <a:lnTo>
                          <a:pt x="44538" y="46233"/>
                        </a:lnTo>
                        <a:lnTo>
                          <a:pt x="40700" y="44343"/>
                        </a:lnTo>
                        <a:lnTo>
                          <a:pt x="32574" y="39877"/>
                        </a:lnTo>
                        <a:lnTo>
                          <a:pt x="28483" y="39722"/>
                        </a:lnTo>
                        <a:lnTo>
                          <a:pt x="18206" y="38149"/>
                        </a:lnTo>
                        <a:lnTo>
                          <a:pt x="12534" y="33300"/>
                        </a:lnTo>
                        <a:lnTo>
                          <a:pt x="10366" y="32436"/>
                        </a:lnTo>
                        <a:lnTo>
                          <a:pt x="8174" y="33887"/>
                        </a:lnTo>
                        <a:lnTo>
                          <a:pt x="7571" y="33552"/>
                        </a:lnTo>
                        <a:lnTo>
                          <a:pt x="6976" y="32583"/>
                        </a:lnTo>
                        <a:lnTo>
                          <a:pt x="6365" y="30961"/>
                        </a:lnTo>
                        <a:lnTo>
                          <a:pt x="5289" y="30121"/>
                        </a:lnTo>
                        <a:lnTo>
                          <a:pt x="986" y="30553"/>
                        </a:lnTo>
                        <a:lnTo>
                          <a:pt x="212" y="30007"/>
                        </a:lnTo>
                        <a:lnTo>
                          <a:pt x="0" y="28589"/>
                        </a:lnTo>
                        <a:lnTo>
                          <a:pt x="65" y="27342"/>
                        </a:lnTo>
                        <a:lnTo>
                          <a:pt x="839" y="25395"/>
                        </a:lnTo>
                        <a:lnTo>
                          <a:pt x="5371" y="20032"/>
                        </a:lnTo>
                        <a:lnTo>
                          <a:pt x="7620" y="19649"/>
                        </a:lnTo>
                        <a:lnTo>
                          <a:pt x="10399" y="18655"/>
                        </a:lnTo>
                        <a:lnTo>
                          <a:pt x="11931" y="15753"/>
                        </a:lnTo>
                        <a:lnTo>
                          <a:pt x="11776" y="13015"/>
                        </a:lnTo>
                        <a:lnTo>
                          <a:pt x="15998" y="8924"/>
                        </a:lnTo>
                        <a:lnTo>
                          <a:pt x="18516" y="7718"/>
                        </a:lnTo>
                        <a:lnTo>
                          <a:pt x="23031" y="4857"/>
                        </a:lnTo>
                        <a:lnTo>
                          <a:pt x="38450" y="391"/>
                        </a:lnTo>
                        <a:lnTo>
                          <a:pt x="42696" y="0"/>
                        </a:lnTo>
                        <a:lnTo>
                          <a:pt x="48393" y="334"/>
                        </a:lnTo>
                        <a:lnTo>
                          <a:pt x="53878" y="1760"/>
                        </a:lnTo>
                        <a:lnTo>
                          <a:pt x="58108" y="4124"/>
                        </a:lnTo>
                        <a:lnTo>
                          <a:pt x="66730" y="9943"/>
                        </a:lnTo>
                        <a:lnTo>
                          <a:pt x="70650" y="13455"/>
                        </a:lnTo>
                        <a:lnTo>
                          <a:pt x="72736" y="17066"/>
                        </a:lnTo>
                        <a:lnTo>
                          <a:pt x="74619" y="19127"/>
                        </a:lnTo>
                        <a:lnTo>
                          <a:pt x="76933" y="23577"/>
                        </a:lnTo>
                        <a:lnTo>
                          <a:pt x="76086" y="25321"/>
                        </a:lnTo>
                        <a:lnTo>
                          <a:pt x="75597" y="27668"/>
                        </a:lnTo>
                        <a:close/>
                      </a:path>
                    </a:pathLst>
                  </a:custGeom>
                  <a:solidFill>
                    <a:srgbClr val="D6D6D2"/>
                  </a:solidFill>
                  <a:ln w="8150" cap="flat">
                    <a:noFill/>
                    <a:prstDash val="solid"/>
                    <a:miter/>
                  </a:ln>
                </p:spPr>
                <p:txBody>
                  <a:bodyPr rtlCol="0" anchor="ctr"/>
                  <a:lstStyle/>
                  <a:p>
                    <a:endParaRPr lang="en-US"/>
                  </a:p>
                </p:txBody>
              </p:sp>
              <p:sp>
                <p:nvSpPr>
                  <p:cNvPr id="530" name="Freeform: Shape 529">
                    <a:extLst>
                      <a:ext uri="{FF2B5EF4-FFF2-40B4-BE49-F238E27FC236}">
                        <a16:creationId xmlns:a16="http://schemas.microsoft.com/office/drawing/2014/main" id="{42DE839D-8F18-4C5F-80E0-24599634B168}"/>
                      </a:ext>
                    </a:extLst>
                  </p:cNvPr>
                  <p:cNvSpPr/>
                  <p:nvPr/>
                </p:nvSpPr>
                <p:spPr>
                  <a:xfrm>
                    <a:off x="3342189" y="1871482"/>
                    <a:ext cx="30879" cy="19037"/>
                  </a:xfrm>
                  <a:custGeom>
                    <a:avLst/>
                    <a:gdLst>
                      <a:gd name="connsiteX0" fmla="*/ 19030 w 30879"/>
                      <a:gd name="connsiteY0" fmla="*/ 18785 h 19037"/>
                      <a:gd name="connsiteX1" fmla="*/ 14352 w 30879"/>
                      <a:gd name="connsiteY1" fmla="*/ 19038 h 19037"/>
                      <a:gd name="connsiteX2" fmla="*/ 6275 w 30879"/>
                      <a:gd name="connsiteY2" fmla="*/ 17595 h 19037"/>
                      <a:gd name="connsiteX3" fmla="*/ 1467 w 30879"/>
                      <a:gd name="connsiteY3" fmla="*/ 14816 h 19037"/>
                      <a:gd name="connsiteX4" fmla="*/ 0 w 30879"/>
                      <a:gd name="connsiteY4" fmla="*/ 13480 h 19037"/>
                      <a:gd name="connsiteX5" fmla="*/ 139 w 30879"/>
                      <a:gd name="connsiteY5" fmla="*/ 12868 h 19037"/>
                      <a:gd name="connsiteX6" fmla="*/ 970 w 30879"/>
                      <a:gd name="connsiteY6" fmla="*/ 12274 h 19037"/>
                      <a:gd name="connsiteX7" fmla="*/ 2127 w 30879"/>
                      <a:gd name="connsiteY7" fmla="*/ 10456 h 19037"/>
                      <a:gd name="connsiteX8" fmla="*/ 4882 w 30879"/>
                      <a:gd name="connsiteY8" fmla="*/ 5224 h 19037"/>
                      <a:gd name="connsiteX9" fmla="*/ 5917 w 30879"/>
                      <a:gd name="connsiteY9" fmla="*/ 3830 h 19037"/>
                      <a:gd name="connsiteX10" fmla="*/ 10244 w 30879"/>
                      <a:gd name="connsiteY10" fmla="*/ 815 h 19037"/>
                      <a:gd name="connsiteX11" fmla="*/ 13414 w 30879"/>
                      <a:gd name="connsiteY11" fmla="*/ 0 h 19037"/>
                      <a:gd name="connsiteX12" fmla="*/ 20154 w 30879"/>
                      <a:gd name="connsiteY12" fmla="*/ 261 h 19037"/>
                      <a:gd name="connsiteX13" fmla="*/ 24066 w 30879"/>
                      <a:gd name="connsiteY13" fmla="*/ 1826 h 19037"/>
                      <a:gd name="connsiteX14" fmla="*/ 25696 w 30879"/>
                      <a:gd name="connsiteY14" fmla="*/ 2828 h 19037"/>
                      <a:gd name="connsiteX15" fmla="*/ 26870 w 30879"/>
                      <a:gd name="connsiteY15" fmla="*/ 4034 h 19037"/>
                      <a:gd name="connsiteX16" fmla="*/ 28011 w 30879"/>
                      <a:gd name="connsiteY16" fmla="*/ 6740 h 19037"/>
                      <a:gd name="connsiteX17" fmla="*/ 28288 w 30879"/>
                      <a:gd name="connsiteY17" fmla="*/ 8484 h 19037"/>
                      <a:gd name="connsiteX18" fmla="*/ 30260 w 30879"/>
                      <a:gd name="connsiteY18" fmla="*/ 10472 h 19037"/>
                      <a:gd name="connsiteX19" fmla="*/ 30847 w 30879"/>
                      <a:gd name="connsiteY19" fmla="*/ 11622 h 19037"/>
                      <a:gd name="connsiteX20" fmla="*/ 30879 w 30879"/>
                      <a:gd name="connsiteY20" fmla="*/ 12746 h 19037"/>
                      <a:gd name="connsiteX21" fmla="*/ 30333 w 30879"/>
                      <a:gd name="connsiteY21" fmla="*/ 13895 h 19037"/>
                      <a:gd name="connsiteX22" fmla="*/ 29200 w 30879"/>
                      <a:gd name="connsiteY22" fmla="*/ 15044 h 19037"/>
                      <a:gd name="connsiteX23" fmla="*/ 26625 w 30879"/>
                      <a:gd name="connsiteY23" fmla="*/ 16715 h 19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879" h="19037">
                        <a:moveTo>
                          <a:pt x="19030" y="18785"/>
                        </a:moveTo>
                        <a:lnTo>
                          <a:pt x="14352" y="19038"/>
                        </a:lnTo>
                        <a:lnTo>
                          <a:pt x="6275" y="17595"/>
                        </a:lnTo>
                        <a:lnTo>
                          <a:pt x="1467" y="14816"/>
                        </a:lnTo>
                        <a:lnTo>
                          <a:pt x="0" y="13480"/>
                        </a:lnTo>
                        <a:lnTo>
                          <a:pt x="139" y="12868"/>
                        </a:lnTo>
                        <a:lnTo>
                          <a:pt x="970" y="12274"/>
                        </a:lnTo>
                        <a:lnTo>
                          <a:pt x="2127" y="10456"/>
                        </a:lnTo>
                        <a:lnTo>
                          <a:pt x="4882" y="5224"/>
                        </a:lnTo>
                        <a:lnTo>
                          <a:pt x="5917" y="3830"/>
                        </a:lnTo>
                        <a:lnTo>
                          <a:pt x="10244" y="815"/>
                        </a:lnTo>
                        <a:lnTo>
                          <a:pt x="13414" y="0"/>
                        </a:lnTo>
                        <a:lnTo>
                          <a:pt x="20154" y="261"/>
                        </a:lnTo>
                        <a:lnTo>
                          <a:pt x="24066" y="1826"/>
                        </a:lnTo>
                        <a:lnTo>
                          <a:pt x="25696" y="2828"/>
                        </a:lnTo>
                        <a:lnTo>
                          <a:pt x="26870" y="4034"/>
                        </a:lnTo>
                        <a:lnTo>
                          <a:pt x="28011" y="6740"/>
                        </a:lnTo>
                        <a:lnTo>
                          <a:pt x="28288" y="8484"/>
                        </a:lnTo>
                        <a:lnTo>
                          <a:pt x="30260" y="10472"/>
                        </a:lnTo>
                        <a:lnTo>
                          <a:pt x="30847" y="11622"/>
                        </a:lnTo>
                        <a:lnTo>
                          <a:pt x="30879" y="12746"/>
                        </a:lnTo>
                        <a:lnTo>
                          <a:pt x="30333" y="13895"/>
                        </a:lnTo>
                        <a:lnTo>
                          <a:pt x="29200" y="15044"/>
                        </a:lnTo>
                        <a:lnTo>
                          <a:pt x="26625" y="16715"/>
                        </a:lnTo>
                        <a:close/>
                      </a:path>
                    </a:pathLst>
                  </a:custGeom>
                  <a:solidFill>
                    <a:srgbClr val="D6D6D2"/>
                  </a:solidFill>
                  <a:ln w="8150" cap="flat">
                    <a:noFill/>
                    <a:prstDash val="solid"/>
                    <a:miter/>
                  </a:ln>
                </p:spPr>
                <p:txBody>
                  <a:bodyPr rtlCol="0" anchor="ctr"/>
                  <a:lstStyle/>
                  <a:p>
                    <a:endParaRPr lang="en-US"/>
                  </a:p>
                </p:txBody>
              </p:sp>
              <p:sp>
                <p:nvSpPr>
                  <p:cNvPr id="531" name="Freeform: Shape 530">
                    <a:extLst>
                      <a:ext uri="{FF2B5EF4-FFF2-40B4-BE49-F238E27FC236}">
                        <a16:creationId xmlns:a16="http://schemas.microsoft.com/office/drawing/2014/main" id="{294B708E-EEA6-40D3-BCA9-E7746804893F}"/>
                      </a:ext>
                    </a:extLst>
                  </p:cNvPr>
                  <p:cNvSpPr/>
                  <p:nvPr/>
                </p:nvSpPr>
                <p:spPr>
                  <a:xfrm>
                    <a:off x="3571343" y="1930844"/>
                    <a:ext cx="131292" cy="101040"/>
                  </a:xfrm>
                  <a:custGeom>
                    <a:avLst/>
                    <a:gdLst>
                      <a:gd name="connsiteX0" fmla="*/ 61433 w 131292"/>
                      <a:gd name="connsiteY0" fmla="*/ 831 h 101040"/>
                      <a:gd name="connsiteX1" fmla="*/ 71188 w 131292"/>
                      <a:gd name="connsiteY1" fmla="*/ 3056 h 101040"/>
                      <a:gd name="connsiteX2" fmla="*/ 75923 w 131292"/>
                      <a:gd name="connsiteY2" fmla="*/ 4515 h 101040"/>
                      <a:gd name="connsiteX3" fmla="*/ 78254 w 131292"/>
                      <a:gd name="connsiteY3" fmla="*/ 5493 h 101040"/>
                      <a:gd name="connsiteX4" fmla="*/ 82695 w 131292"/>
                      <a:gd name="connsiteY4" fmla="*/ 8753 h 101040"/>
                      <a:gd name="connsiteX5" fmla="*/ 84953 w 131292"/>
                      <a:gd name="connsiteY5" fmla="*/ 9690 h 101040"/>
                      <a:gd name="connsiteX6" fmla="*/ 93600 w 131292"/>
                      <a:gd name="connsiteY6" fmla="*/ 7799 h 101040"/>
                      <a:gd name="connsiteX7" fmla="*/ 99638 w 131292"/>
                      <a:gd name="connsiteY7" fmla="*/ 7098 h 101040"/>
                      <a:gd name="connsiteX8" fmla="*/ 113102 w 131292"/>
                      <a:gd name="connsiteY8" fmla="*/ 7970 h 101040"/>
                      <a:gd name="connsiteX9" fmla="*/ 124520 w 131292"/>
                      <a:gd name="connsiteY9" fmla="*/ 10660 h 101040"/>
                      <a:gd name="connsiteX10" fmla="*/ 128725 w 131292"/>
                      <a:gd name="connsiteY10" fmla="*/ 12697 h 101040"/>
                      <a:gd name="connsiteX11" fmla="*/ 131292 w 131292"/>
                      <a:gd name="connsiteY11" fmla="*/ 14555 h 101040"/>
                      <a:gd name="connsiteX12" fmla="*/ 130624 w 131292"/>
                      <a:gd name="connsiteY12" fmla="*/ 16617 h 101040"/>
                      <a:gd name="connsiteX13" fmla="*/ 128521 w 131292"/>
                      <a:gd name="connsiteY13" fmla="*/ 19934 h 101040"/>
                      <a:gd name="connsiteX14" fmla="*/ 126060 w 131292"/>
                      <a:gd name="connsiteY14" fmla="*/ 23088 h 101040"/>
                      <a:gd name="connsiteX15" fmla="*/ 121121 w 131292"/>
                      <a:gd name="connsiteY15" fmla="*/ 28035 h 101040"/>
                      <a:gd name="connsiteX16" fmla="*/ 116924 w 131292"/>
                      <a:gd name="connsiteY16" fmla="*/ 30504 h 101040"/>
                      <a:gd name="connsiteX17" fmla="*/ 115897 w 131292"/>
                      <a:gd name="connsiteY17" fmla="*/ 31686 h 101040"/>
                      <a:gd name="connsiteX18" fmla="*/ 115229 w 131292"/>
                      <a:gd name="connsiteY18" fmla="*/ 33332 h 101040"/>
                      <a:gd name="connsiteX19" fmla="*/ 113607 w 131292"/>
                      <a:gd name="connsiteY19" fmla="*/ 35728 h 101040"/>
                      <a:gd name="connsiteX20" fmla="*/ 109100 w 131292"/>
                      <a:gd name="connsiteY20" fmla="*/ 40920 h 101040"/>
                      <a:gd name="connsiteX21" fmla="*/ 107902 w 131292"/>
                      <a:gd name="connsiteY21" fmla="*/ 41808 h 101040"/>
                      <a:gd name="connsiteX22" fmla="*/ 101546 w 131292"/>
                      <a:gd name="connsiteY22" fmla="*/ 44082 h 101040"/>
                      <a:gd name="connsiteX23" fmla="*/ 103722 w 131292"/>
                      <a:gd name="connsiteY23" fmla="*/ 45092 h 101040"/>
                      <a:gd name="connsiteX24" fmla="*/ 104716 w 131292"/>
                      <a:gd name="connsiteY24" fmla="*/ 45997 h 101040"/>
                      <a:gd name="connsiteX25" fmla="*/ 103877 w 131292"/>
                      <a:gd name="connsiteY25" fmla="*/ 48295 h 101040"/>
                      <a:gd name="connsiteX26" fmla="*/ 99883 w 131292"/>
                      <a:gd name="connsiteY26" fmla="*/ 53837 h 101040"/>
                      <a:gd name="connsiteX27" fmla="*/ 95727 w 131292"/>
                      <a:gd name="connsiteY27" fmla="*/ 58955 h 101040"/>
                      <a:gd name="connsiteX28" fmla="*/ 92825 w 131292"/>
                      <a:gd name="connsiteY28" fmla="*/ 62011 h 101040"/>
                      <a:gd name="connsiteX29" fmla="*/ 87553 w 131292"/>
                      <a:gd name="connsiteY29" fmla="*/ 66420 h 101040"/>
                      <a:gd name="connsiteX30" fmla="*/ 84651 w 131292"/>
                      <a:gd name="connsiteY30" fmla="*/ 67667 h 101040"/>
                      <a:gd name="connsiteX31" fmla="*/ 80756 w 131292"/>
                      <a:gd name="connsiteY31" fmla="*/ 68058 h 101040"/>
                      <a:gd name="connsiteX32" fmla="*/ 57227 w 131292"/>
                      <a:gd name="connsiteY32" fmla="*/ 64204 h 101040"/>
                      <a:gd name="connsiteX33" fmla="*/ 51327 w 131292"/>
                      <a:gd name="connsiteY33" fmla="*/ 64269 h 101040"/>
                      <a:gd name="connsiteX34" fmla="*/ 35631 w 131292"/>
                      <a:gd name="connsiteY34" fmla="*/ 66282 h 101040"/>
                      <a:gd name="connsiteX35" fmla="*/ 37114 w 131292"/>
                      <a:gd name="connsiteY35" fmla="*/ 67268 h 101040"/>
                      <a:gd name="connsiteX36" fmla="*/ 42859 w 131292"/>
                      <a:gd name="connsiteY36" fmla="*/ 68751 h 101040"/>
                      <a:gd name="connsiteX37" fmla="*/ 46567 w 131292"/>
                      <a:gd name="connsiteY37" fmla="*/ 70373 h 101040"/>
                      <a:gd name="connsiteX38" fmla="*/ 51482 w 131292"/>
                      <a:gd name="connsiteY38" fmla="*/ 75434 h 101040"/>
                      <a:gd name="connsiteX39" fmla="*/ 52126 w 131292"/>
                      <a:gd name="connsiteY39" fmla="*/ 76681 h 101040"/>
                      <a:gd name="connsiteX40" fmla="*/ 52435 w 131292"/>
                      <a:gd name="connsiteY40" fmla="*/ 78156 h 101040"/>
                      <a:gd name="connsiteX41" fmla="*/ 52248 w 131292"/>
                      <a:gd name="connsiteY41" fmla="*/ 81025 h 101040"/>
                      <a:gd name="connsiteX42" fmla="*/ 51906 w 131292"/>
                      <a:gd name="connsiteY42" fmla="*/ 81758 h 101040"/>
                      <a:gd name="connsiteX43" fmla="*/ 44082 w 131292"/>
                      <a:gd name="connsiteY43" fmla="*/ 89500 h 101040"/>
                      <a:gd name="connsiteX44" fmla="*/ 41555 w 131292"/>
                      <a:gd name="connsiteY44" fmla="*/ 95124 h 101040"/>
                      <a:gd name="connsiteX45" fmla="*/ 39942 w 131292"/>
                      <a:gd name="connsiteY45" fmla="*/ 99753 h 101040"/>
                      <a:gd name="connsiteX46" fmla="*/ 37310 w 131292"/>
                      <a:gd name="connsiteY46" fmla="*/ 101040 h 101040"/>
                      <a:gd name="connsiteX47" fmla="*/ 28540 w 131292"/>
                      <a:gd name="connsiteY47" fmla="*/ 99076 h 101040"/>
                      <a:gd name="connsiteX48" fmla="*/ 25712 w 131292"/>
                      <a:gd name="connsiteY48" fmla="*/ 99133 h 101040"/>
                      <a:gd name="connsiteX49" fmla="*/ 15876 w 131292"/>
                      <a:gd name="connsiteY49" fmla="*/ 100486 h 101040"/>
                      <a:gd name="connsiteX50" fmla="*/ 11287 w 131292"/>
                      <a:gd name="connsiteY50" fmla="*/ 99810 h 101040"/>
                      <a:gd name="connsiteX51" fmla="*/ 11939 w 131292"/>
                      <a:gd name="connsiteY51" fmla="*/ 92825 h 101040"/>
                      <a:gd name="connsiteX52" fmla="*/ 11296 w 131292"/>
                      <a:gd name="connsiteY52" fmla="*/ 85263 h 101040"/>
                      <a:gd name="connsiteX53" fmla="*/ 9845 w 131292"/>
                      <a:gd name="connsiteY53" fmla="*/ 78034 h 101040"/>
                      <a:gd name="connsiteX54" fmla="*/ 2486 w 131292"/>
                      <a:gd name="connsiteY54" fmla="*/ 65141 h 101040"/>
                      <a:gd name="connsiteX55" fmla="*/ 1679 w 131292"/>
                      <a:gd name="connsiteY55" fmla="*/ 62851 h 101040"/>
                      <a:gd name="connsiteX56" fmla="*/ 1133 w 131292"/>
                      <a:gd name="connsiteY56" fmla="*/ 60381 h 101040"/>
                      <a:gd name="connsiteX57" fmla="*/ 864 w 131292"/>
                      <a:gd name="connsiteY57" fmla="*/ 57733 h 101040"/>
                      <a:gd name="connsiteX58" fmla="*/ 888 w 131292"/>
                      <a:gd name="connsiteY58" fmla="*/ 55084 h 101040"/>
                      <a:gd name="connsiteX59" fmla="*/ 1402 w 131292"/>
                      <a:gd name="connsiteY59" fmla="*/ 49689 h 101040"/>
                      <a:gd name="connsiteX60" fmla="*/ 1459 w 131292"/>
                      <a:gd name="connsiteY60" fmla="*/ 46959 h 101040"/>
                      <a:gd name="connsiteX61" fmla="*/ 1092 w 131292"/>
                      <a:gd name="connsiteY61" fmla="*/ 39820 h 101040"/>
                      <a:gd name="connsiteX62" fmla="*/ 98 w 131292"/>
                      <a:gd name="connsiteY62" fmla="*/ 29119 h 101040"/>
                      <a:gd name="connsiteX63" fmla="*/ 0 w 131292"/>
                      <a:gd name="connsiteY63" fmla="*/ 25329 h 101040"/>
                      <a:gd name="connsiteX64" fmla="*/ 73 w 131292"/>
                      <a:gd name="connsiteY64" fmla="*/ 23822 h 101040"/>
                      <a:gd name="connsiteX65" fmla="*/ 375 w 131292"/>
                      <a:gd name="connsiteY65" fmla="*/ 22664 h 101040"/>
                      <a:gd name="connsiteX66" fmla="*/ 1948 w 131292"/>
                      <a:gd name="connsiteY66" fmla="*/ 21140 h 101040"/>
                      <a:gd name="connsiteX67" fmla="*/ 4979 w 131292"/>
                      <a:gd name="connsiteY67" fmla="*/ 20040 h 101040"/>
                      <a:gd name="connsiteX68" fmla="*/ 6504 w 131292"/>
                      <a:gd name="connsiteY68" fmla="*/ 19877 h 101040"/>
                      <a:gd name="connsiteX69" fmla="*/ 16169 w 131292"/>
                      <a:gd name="connsiteY69" fmla="*/ 23121 h 101040"/>
                      <a:gd name="connsiteX70" fmla="*/ 20619 w 131292"/>
                      <a:gd name="connsiteY70" fmla="*/ 24205 h 101040"/>
                      <a:gd name="connsiteX71" fmla="*/ 23569 w 131292"/>
                      <a:gd name="connsiteY71" fmla="*/ 24164 h 101040"/>
                      <a:gd name="connsiteX72" fmla="*/ 23732 w 131292"/>
                      <a:gd name="connsiteY72" fmla="*/ 23797 h 101040"/>
                      <a:gd name="connsiteX73" fmla="*/ 21100 w 131292"/>
                      <a:gd name="connsiteY73" fmla="*/ 23104 h 101040"/>
                      <a:gd name="connsiteX74" fmla="*/ 18630 w 131292"/>
                      <a:gd name="connsiteY74" fmla="*/ 21703 h 101040"/>
                      <a:gd name="connsiteX75" fmla="*/ 14596 w 131292"/>
                      <a:gd name="connsiteY75" fmla="*/ 17538 h 101040"/>
                      <a:gd name="connsiteX76" fmla="*/ 12746 w 131292"/>
                      <a:gd name="connsiteY76" fmla="*/ 13969 h 101040"/>
                      <a:gd name="connsiteX77" fmla="*/ 12371 w 131292"/>
                      <a:gd name="connsiteY77" fmla="*/ 12795 h 101040"/>
                      <a:gd name="connsiteX78" fmla="*/ 12290 w 131292"/>
                      <a:gd name="connsiteY78" fmla="*/ 11548 h 101040"/>
                      <a:gd name="connsiteX79" fmla="*/ 12477 w 131292"/>
                      <a:gd name="connsiteY79" fmla="*/ 10261 h 101040"/>
                      <a:gd name="connsiteX80" fmla="*/ 13064 w 131292"/>
                      <a:gd name="connsiteY80" fmla="*/ 9103 h 101040"/>
                      <a:gd name="connsiteX81" fmla="*/ 15085 w 131292"/>
                      <a:gd name="connsiteY81" fmla="*/ 7278 h 101040"/>
                      <a:gd name="connsiteX82" fmla="*/ 16731 w 131292"/>
                      <a:gd name="connsiteY82" fmla="*/ 6455 h 101040"/>
                      <a:gd name="connsiteX83" fmla="*/ 22795 w 131292"/>
                      <a:gd name="connsiteY83" fmla="*/ 4360 h 101040"/>
                      <a:gd name="connsiteX84" fmla="*/ 28907 w 131292"/>
                      <a:gd name="connsiteY84" fmla="*/ 3089 h 101040"/>
                      <a:gd name="connsiteX85" fmla="*/ 42387 w 131292"/>
                      <a:gd name="connsiteY85" fmla="*/ 2217 h 101040"/>
                      <a:gd name="connsiteX86" fmla="*/ 46217 w 131292"/>
                      <a:gd name="connsiteY86" fmla="*/ 2844 h 101040"/>
                      <a:gd name="connsiteX87" fmla="*/ 52060 w 131292"/>
                      <a:gd name="connsiteY87" fmla="*/ 546 h 101040"/>
                      <a:gd name="connsiteX88" fmla="*/ 55500 w 131292"/>
                      <a:gd name="connsiteY88" fmla="*/ 0 h 101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31292" h="101040">
                        <a:moveTo>
                          <a:pt x="61433" y="831"/>
                        </a:moveTo>
                        <a:lnTo>
                          <a:pt x="71188" y="3056"/>
                        </a:lnTo>
                        <a:lnTo>
                          <a:pt x="75923" y="4515"/>
                        </a:lnTo>
                        <a:lnTo>
                          <a:pt x="78254" y="5493"/>
                        </a:lnTo>
                        <a:lnTo>
                          <a:pt x="82695" y="8753"/>
                        </a:lnTo>
                        <a:lnTo>
                          <a:pt x="84953" y="9690"/>
                        </a:lnTo>
                        <a:lnTo>
                          <a:pt x="93600" y="7799"/>
                        </a:lnTo>
                        <a:lnTo>
                          <a:pt x="99638" y="7098"/>
                        </a:lnTo>
                        <a:lnTo>
                          <a:pt x="113102" y="7970"/>
                        </a:lnTo>
                        <a:lnTo>
                          <a:pt x="124520" y="10660"/>
                        </a:lnTo>
                        <a:lnTo>
                          <a:pt x="128725" y="12697"/>
                        </a:lnTo>
                        <a:lnTo>
                          <a:pt x="131292" y="14555"/>
                        </a:lnTo>
                        <a:lnTo>
                          <a:pt x="130624" y="16617"/>
                        </a:lnTo>
                        <a:lnTo>
                          <a:pt x="128521" y="19934"/>
                        </a:lnTo>
                        <a:lnTo>
                          <a:pt x="126060" y="23088"/>
                        </a:lnTo>
                        <a:lnTo>
                          <a:pt x="121121" y="28035"/>
                        </a:lnTo>
                        <a:lnTo>
                          <a:pt x="116924" y="30504"/>
                        </a:lnTo>
                        <a:lnTo>
                          <a:pt x="115897" y="31686"/>
                        </a:lnTo>
                        <a:lnTo>
                          <a:pt x="115229" y="33332"/>
                        </a:lnTo>
                        <a:lnTo>
                          <a:pt x="113607" y="35728"/>
                        </a:lnTo>
                        <a:lnTo>
                          <a:pt x="109100" y="40920"/>
                        </a:lnTo>
                        <a:lnTo>
                          <a:pt x="107902" y="41808"/>
                        </a:lnTo>
                        <a:lnTo>
                          <a:pt x="101546" y="44082"/>
                        </a:lnTo>
                        <a:lnTo>
                          <a:pt x="103722" y="45092"/>
                        </a:lnTo>
                        <a:lnTo>
                          <a:pt x="104716" y="45997"/>
                        </a:lnTo>
                        <a:lnTo>
                          <a:pt x="103877" y="48295"/>
                        </a:lnTo>
                        <a:lnTo>
                          <a:pt x="99883" y="53837"/>
                        </a:lnTo>
                        <a:lnTo>
                          <a:pt x="95727" y="58955"/>
                        </a:lnTo>
                        <a:lnTo>
                          <a:pt x="92825" y="62011"/>
                        </a:lnTo>
                        <a:lnTo>
                          <a:pt x="87553" y="66420"/>
                        </a:lnTo>
                        <a:lnTo>
                          <a:pt x="84651" y="67667"/>
                        </a:lnTo>
                        <a:lnTo>
                          <a:pt x="80756" y="68058"/>
                        </a:lnTo>
                        <a:lnTo>
                          <a:pt x="57227" y="64204"/>
                        </a:lnTo>
                        <a:lnTo>
                          <a:pt x="51327" y="64269"/>
                        </a:lnTo>
                        <a:lnTo>
                          <a:pt x="35631" y="66282"/>
                        </a:lnTo>
                        <a:lnTo>
                          <a:pt x="37114" y="67268"/>
                        </a:lnTo>
                        <a:lnTo>
                          <a:pt x="42859" y="68751"/>
                        </a:lnTo>
                        <a:lnTo>
                          <a:pt x="46567" y="70373"/>
                        </a:lnTo>
                        <a:lnTo>
                          <a:pt x="51482" y="75434"/>
                        </a:lnTo>
                        <a:lnTo>
                          <a:pt x="52126" y="76681"/>
                        </a:lnTo>
                        <a:lnTo>
                          <a:pt x="52435" y="78156"/>
                        </a:lnTo>
                        <a:lnTo>
                          <a:pt x="52248" y="81025"/>
                        </a:lnTo>
                        <a:lnTo>
                          <a:pt x="51906" y="81758"/>
                        </a:lnTo>
                        <a:lnTo>
                          <a:pt x="44082" y="89500"/>
                        </a:lnTo>
                        <a:lnTo>
                          <a:pt x="41555" y="95124"/>
                        </a:lnTo>
                        <a:lnTo>
                          <a:pt x="39942" y="99753"/>
                        </a:lnTo>
                        <a:lnTo>
                          <a:pt x="37310" y="101040"/>
                        </a:lnTo>
                        <a:lnTo>
                          <a:pt x="28540" y="99076"/>
                        </a:lnTo>
                        <a:lnTo>
                          <a:pt x="25712" y="99133"/>
                        </a:lnTo>
                        <a:lnTo>
                          <a:pt x="15876" y="100486"/>
                        </a:lnTo>
                        <a:lnTo>
                          <a:pt x="11287" y="99810"/>
                        </a:lnTo>
                        <a:lnTo>
                          <a:pt x="11939" y="92825"/>
                        </a:lnTo>
                        <a:lnTo>
                          <a:pt x="11296" y="85263"/>
                        </a:lnTo>
                        <a:lnTo>
                          <a:pt x="9845" y="78034"/>
                        </a:lnTo>
                        <a:lnTo>
                          <a:pt x="2486" y="65141"/>
                        </a:lnTo>
                        <a:lnTo>
                          <a:pt x="1679" y="62851"/>
                        </a:lnTo>
                        <a:lnTo>
                          <a:pt x="1133" y="60381"/>
                        </a:lnTo>
                        <a:lnTo>
                          <a:pt x="864" y="57733"/>
                        </a:lnTo>
                        <a:lnTo>
                          <a:pt x="888" y="55084"/>
                        </a:lnTo>
                        <a:lnTo>
                          <a:pt x="1402" y="49689"/>
                        </a:lnTo>
                        <a:lnTo>
                          <a:pt x="1459" y="46959"/>
                        </a:lnTo>
                        <a:lnTo>
                          <a:pt x="1092" y="39820"/>
                        </a:lnTo>
                        <a:lnTo>
                          <a:pt x="98" y="29119"/>
                        </a:lnTo>
                        <a:lnTo>
                          <a:pt x="0" y="25329"/>
                        </a:lnTo>
                        <a:lnTo>
                          <a:pt x="73" y="23822"/>
                        </a:lnTo>
                        <a:lnTo>
                          <a:pt x="375" y="22664"/>
                        </a:lnTo>
                        <a:lnTo>
                          <a:pt x="1948" y="21140"/>
                        </a:lnTo>
                        <a:lnTo>
                          <a:pt x="4979" y="20040"/>
                        </a:lnTo>
                        <a:lnTo>
                          <a:pt x="6504" y="19877"/>
                        </a:lnTo>
                        <a:lnTo>
                          <a:pt x="16169" y="23121"/>
                        </a:lnTo>
                        <a:lnTo>
                          <a:pt x="20619" y="24205"/>
                        </a:lnTo>
                        <a:lnTo>
                          <a:pt x="23569" y="24164"/>
                        </a:lnTo>
                        <a:lnTo>
                          <a:pt x="23732" y="23797"/>
                        </a:lnTo>
                        <a:lnTo>
                          <a:pt x="21100" y="23104"/>
                        </a:lnTo>
                        <a:lnTo>
                          <a:pt x="18630" y="21703"/>
                        </a:lnTo>
                        <a:lnTo>
                          <a:pt x="14596" y="17538"/>
                        </a:lnTo>
                        <a:lnTo>
                          <a:pt x="12746" y="13969"/>
                        </a:lnTo>
                        <a:lnTo>
                          <a:pt x="12371" y="12795"/>
                        </a:lnTo>
                        <a:lnTo>
                          <a:pt x="12290" y="11548"/>
                        </a:lnTo>
                        <a:lnTo>
                          <a:pt x="12477" y="10261"/>
                        </a:lnTo>
                        <a:lnTo>
                          <a:pt x="13064" y="9103"/>
                        </a:lnTo>
                        <a:lnTo>
                          <a:pt x="15085" y="7278"/>
                        </a:lnTo>
                        <a:lnTo>
                          <a:pt x="16731" y="6455"/>
                        </a:lnTo>
                        <a:lnTo>
                          <a:pt x="22795" y="4360"/>
                        </a:lnTo>
                        <a:lnTo>
                          <a:pt x="28907" y="3089"/>
                        </a:lnTo>
                        <a:lnTo>
                          <a:pt x="42387" y="2217"/>
                        </a:lnTo>
                        <a:lnTo>
                          <a:pt x="46217" y="2844"/>
                        </a:lnTo>
                        <a:lnTo>
                          <a:pt x="52060" y="546"/>
                        </a:lnTo>
                        <a:lnTo>
                          <a:pt x="55500" y="0"/>
                        </a:lnTo>
                        <a:close/>
                      </a:path>
                    </a:pathLst>
                  </a:custGeom>
                  <a:solidFill>
                    <a:srgbClr val="D6D6D2"/>
                  </a:solidFill>
                  <a:ln w="6112" cap="rnd">
                    <a:solidFill>
                      <a:srgbClr val="FFFFFF"/>
                    </a:solidFill>
                    <a:prstDash val="solid"/>
                    <a:round/>
                  </a:ln>
                </p:spPr>
                <p:txBody>
                  <a:bodyPr rtlCol="0" anchor="ctr"/>
                  <a:lstStyle/>
                  <a:p>
                    <a:endParaRPr lang="en-US"/>
                  </a:p>
                </p:txBody>
              </p:sp>
              <p:sp>
                <p:nvSpPr>
                  <p:cNvPr id="532" name="Freeform: Shape 531">
                    <a:extLst>
                      <a:ext uri="{FF2B5EF4-FFF2-40B4-BE49-F238E27FC236}">
                        <a16:creationId xmlns:a16="http://schemas.microsoft.com/office/drawing/2014/main" id="{45132CF8-30C3-41DC-BFA6-16395C408D83}"/>
                      </a:ext>
                    </a:extLst>
                  </p:cNvPr>
                  <p:cNvSpPr/>
                  <p:nvPr/>
                </p:nvSpPr>
                <p:spPr>
                  <a:xfrm>
                    <a:off x="3477865" y="1933860"/>
                    <a:ext cx="43592" cy="14196"/>
                  </a:xfrm>
                  <a:custGeom>
                    <a:avLst/>
                    <a:gdLst>
                      <a:gd name="connsiteX0" fmla="*/ 28434 w 43592"/>
                      <a:gd name="connsiteY0" fmla="*/ 11548 h 14196"/>
                      <a:gd name="connsiteX1" fmla="*/ 21295 w 43592"/>
                      <a:gd name="connsiteY1" fmla="*/ 12534 h 14196"/>
                      <a:gd name="connsiteX2" fmla="*/ 18003 w 43592"/>
                      <a:gd name="connsiteY2" fmla="*/ 12119 h 14196"/>
                      <a:gd name="connsiteX3" fmla="*/ 16259 w 43592"/>
                      <a:gd name="connsiteY3" fmla="*/ 13406 h 14196"/>
                      <a:gd name="connsiteX4" fmla="*/ 14890 w 43592"/>
                      <a:gd name="connsiteY4" fmla="*/ 13961 h 14196"/>
                      <a:gd name="connsiteX5" fmla="*/ 10986 w 43592"/>
                      <a:gd name="connsiteY5" fmla="*/ 14197 h 14196"/>
                      <a:gd name="connsiteX6" fmla="*/ 2942 w 43592"/>
                      <a:gd name="connsiteY6" fmla="*/ 11858 h 14196"/>
                      <a:gd name="connsiteX7" fmla="*/ 791 w 43592"/>
                      <a:gd name="connsiteY7" fmla="*/ 11043 h 14196"/>
                      <a:gd name="connsiteX8" fmla="*/ 0 w 43592"/>
                      <a:gd name="connsiteY8" fmla="*/ 10293 h 14196"/>
                      <a:gd name="connsiteX9" fmla="*/ 326 w 43592"/>
                      <a:gd name="connsiteY9" fmla="*/ 9560 h 14196"/>
                      <a:gd name="connsiteX10" fmla="*/ 1768 w 43592"/>
                      <a:gd name="connsiteY10" fmla="*/ 8867 h 14196"/>
                      <a:gd name="connsiteX11" fmla="*/ 7938 w 43592"/>
                      <a:gd name="connsiteY11" fmla="*/ 7816 h 14196"/>
                      <a:gd name="connsiteX12" fmla="*/ 10220 w 43592"/>
                      <a:gd name="connsiteY12" fmla="*/ 7033 h 14196"/>
                      <a:gd name="connsiteX13" fmla="*/ 11165 w 43592"/>
                      <a:gd name="connsiteY13" fmla="*/ 5933 h 14196"/>
                      <a:gd name="connsiteX14" fmla="*/ 12714 w 43592"/>
                      <a:gd name="connsiteY14" fmla="*/ 5061 h 14196"/>
                      <a:gd name="connsiteX15" fmla="*/ 14849 w 43592"/>
                      <a:gd name="connsiteY15" fmla="*/ 4393 h 14196"/>
                      <a:gd name="connsiteX16" fmla="*/ 20627 w 43592"/>
                      <a:gd name="connsiteY16" fmla="*/ 3765 h 14196"/>
                      <a:gd name="connsiteX17" fmla="*/ 33626 w 43592"/>
                      <a:gd name="connsiteY17" fmla="*/ 465 h 14196"/>
                      <a:gd name="connsiteX18" fmla="*/ 40088 w 43592"/>
                      <a:gd name="connsiteY18" fmla="*/ 0 h 14196"/>
                      <a:gd name="connsiteX19" fmla="*/ 42631 w 43592"/>
                      <a:gd name="connsiteY19" fmla="*/ 277 h 14196"/>
                      <a:gd name="connsiteX20" fmla="*/ 43389 w 43592"/>
                      <a:gd name="connsiteY20" fmla="*/ 1149 h 14196"/>
                      <a:gd name="connsiteX21" fmla="*/ 43593 w 43592"/>
                      <a:gd name="connsiteY21" fmla="*/ 2021 h 14196"/>
                      <a:gd name="connsiteX22" fmla="*/ 43242 w 43592"/>
                      <a:gd name="connsiteY22" fmla="*/ 2893 h 14196"/>
                      <a:gd name="connsiteX23" fmla="*/ 41221 w 43592"/>
                      <a:gd name="connsiteY23" fmla="*/ 5126 h 14196"/>
                      <a:gd name="connsiteX24" fmla="*/ 38589 w 43592"/>
                      <a:gd name="connsiteY24" fmla="*/ 6862 h 14196"/>
                      <a:gd name="connsiteX25" fmla="*/ 31499 w 43592"/>
                      <a:gd name="connsiteY25" fmla="*/ 10603 h 1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3592" h="14196">
                        <a:moveTo>
                          <a:pt x="28434" y="11548"/>
                        </a:moveTo>
                        <a:lnTo>
                          <a:pt x="21295" y="12534"/>
                        </a:lnTo>
                        <a:lnTo>
                          <a:pt x="18003" y="12119"/>
                        </a:lnTo>
                        <a:lnTo>
                          <a:pt x="16259" y="13406"/>
                        </a:lnTo>
                        <a:lnTo>
                          <a:pt x="14890" y="13961"/>
                        </a:lnTo>
                        <a:lnTo>
                          <a:pt x="10986" y="14197"/>
                        </a:lnTo>
                        <a:lnTo>
                          <a:pt x="2942" y="11858"/>
                        </a:lnTo>
                        <a:lnTo>
                          <a:pt x="791" y="11043"/>
                        </a:lnTo>
                        <a:lnTo>
                          <a:pt x="0" y="10293"/>
                        </a:lnTo>
                        <a:lnTo>
                          <a:pt x="326" y="9560"/>
                        </a:lnTo>
                        <a:lnTo>
                          <a:pt x="1768" y="8867"/>
                        </a:lnTo>
                        <a:lnTo>
                          <a:pt x="7938" y="7816"/>
                        </a:lnTo>
                        <a:lnTo>
                          <a:pt x="10220" y="7033"/>
                        </a:lnTo>
                        <a:lnTo>
                          <a:pt x="11165" y="5933"/>
                        </a:lnTo>
                        <a:lnTo>
                          <a:pt x="12714" y="5061"/>
                        </a:lnTo>
                        <a:lnTo>
                          <a:pt x="14849" y="4393"/>
                        </a:lnTo>
                        <a:lnTo>
                          <a:pt x="20627" y="3765"/>
                        </a:lnTo>
                        <a:lnTo>
                          <a:pt x="33626" y="465"/>
                        </a:lnTo>
                        <a:lnTo>
                          <a:pt x="40088" y="0"/>
                        </a:lnTo>
                        <a:lnTo>
                          <a:pt x="42631" y="277"/>
                        </a:lnTo>
                        <a:lnTo>
                          <a:pt x="43389" y="1149"/>
                        </a:lnTo>
                        <a:lnTo>
                          <a:pt x="43593" y="2021"/>
                        </a:lnTo>
                        <a:lnTo>
                          <a:pt x="43242" y="2893"/>
                        </a:lnTo>
                        <a:lnTo>
                          <a:pt x="41221" y="5126"/>
                        </a:lnTo>
                        <a:lnTo>
                          <a:pt x="38589" y="6862"/>
                        </a:lnTo>
                        <a:lnTo>
                          <a:pt x="31499" y="10603"/>
                        </a:lnTo>
                        <a:close/>
                      </a:path>
                    </a:pathLst>
                  </a:custGeom>
                  <a:solidFill>
                    <a:srgbClr val="D6D6D2"/>
                  </a:solidFill>
                  <a:ln w="6112" cap="rnd">
                    <a:solidFill>
                      <a:srgbClr val="FFFFFF"/>
                    </a:solidFill>
                    <a:prstDash val="solid"/>
                    <a:round/>
                  </a:ln>
                </p:spPr>
                <p:txBody>
                  <a:bodyPr rtlCol="0" anchor="ctr"/>
                  <a:lstStyle/>
                  <a:p>
                    <a:endParaRPr lang="en-US"/>
                  </a:p>
                </p:txBody>
              </p:sp>
              <p:sp>
                <p:nvSpPr>
                  <p:cNvPr id="533" name="Freeform: Shape 532">
                    <a:extLst>
                      <a:ext uri="{FF2B5EF4-FFF2-40B4-BE49-F238E27FC236}">
                        <a16:creationId xmlns:a16="http://schemas.microsoft.com/office/drawing/2014/main" id="{ED8C45DA-1F23-42D4-92C8-6215EA2FDA89}"/>
                      </a:ext>
                    </a:extLst>
                  </p:cNvPr>
                  <p:cNvSpPr/>
                  <p:nvPr/>
                </p:nvSpPr>
                <p:spPr>
                  <a:xfrm>
                    <a:off x="3396099" y="1941789"/>
                    <a:ext cx="155594" cy="121911"/>
                  </a:xfrm>
                  <a:custGeom>
                    <a:avLst/>
                    <a:gdLst>
                      <a:gd name="connsiteX0" fmla="*/ 67260 w 155594"/>
                      <a:gd name="connsiteY0" fmla="*/ 0 h 121911"/>
                      <a:gd name="connsiteX1" fmla="*/ 88188 w 155594"/>
                      <a:gd name="connsiteY1" fmla="*/ 10032 h 121911"/>
                      <a:gd name="connsiteX2" fmla="*/ 91122 w 155594"/>
                      <a:gd name="connsiteY2" fmla="*/ 9209 h 121911"/>
                      <a:gd name="connsiteX3" fmla="*/ 97446 w 155594"/>
                      <a:gd name="connsiteY3" fmla="*/ 8679 h 121911"/>
                      <a:gd name="connsiteX4" fmla="*/ 104031 w 155594"/>
                      <a:gd name="connsiteY4" fmla="*/ 7204 h 121911"/>
                      <a:gd name="connsiteX5" fmla="*/ 113143 w 155594"/>
                      <a:gd name="connsiteY5" fmla="*/ 5974 h 121911"/>
                      <a:gd name="connsiteX6" fmla="*/ 118701 w 155594"/>
                      <a:gd name="connsiteY6" fmla="*/ 3749 h 121911"/>
                      <a:gd name="connsiteX7" fmla="*/ 121072 w 155594"/>
                      <a:gd name="connsiteY7" fmla="*/ 3113 h 121911"/>
                      <a:gd name="connsiteX8" fmla="*/ 125090 w 155594"/>
                      <a:gd name="connsiteY8" fmla="*/ 2722 h 121911"/>
                      <a:gd name="connsiteX9" fmla="*/ 127282 w 155594"/>
                      <a:gd name="connsiteY9" fmla="*/ 2722 h 121911"/>
                      <a:gd name="connsiteX10" fmla="*/ 133599 w 155594"/>
                      <a:gd name="connsiteY10" fmla="*/ 3928 h 121911"/>
                      <a:gd name="connsiteX11" fmla="*/ 136133 w 155594"/>
                      <a:gd name="connsiteY11" fmla="*/ 4776 h 121911"/>
                      <a:gd name="connsiteX12" fmla="*/ 137486 w 155594"/>
                      <a:gd name="connsiteY12" fmla="*/ 5672 h 121911"/>
                      <a:gd name="connsiteX13" fmla="*/ 138937 w 155594"/>
                      <a:gd name="connsiteY13" fmla="*/ 7286 h 121911"/>
                      <a:gd name="connsiteX14" fmla="*/ 141430 w 155594"/>
                      <a:gd name="connsiteY14" fmla="*/ 11222 h 121911"/>
                      <a:gd name="connsiteX15" fmla="*/ 141797 w 155594"/>
                      <a:gd name="connsiteY15" fmla="*/ 12681 h 121911"/>
                      <a:gd name="connsiteX16" fmla="*/ 141667 w 155594"/>
                      <a:gd name="connsiteY16" fmla="*/ 13080 h 121911"/>
                      <a:gd name="connsiteX17" fmla="*/ 139360 w 155594"/>
                      <a:gd name="connsiteY17" fmla="*/ 15493 h 121911"/>
                      <a:gd name="connsiteX18" fmla="*/ 137828 w 155594"/>
                      <a:gd name="connsiteY18" fmla="*/ 16552 h 121911"/>
                      <a:gd name="connsiteX19" fmla="*/ 134658 w 155594"/>
                      <a:gd name="connsiteY19" fmla="*/ 17555 h 121911"/>
                      <a:gd name="connsiteX20" fmla="*/ 131920 w 155594"/>
                      <a:gd name="connsiteY20" fmla="*/ 17856 h 121911"/>
                      <a:gd name="connsiteX21" fmla="*/ 129564 w 155594"/>
                      <a:gd name="connsiteY21" fmla="*/ 19608 h 121911"/>
                      <a:gd name="connsiteX22" fmla="*/ 126908 w 155594"/>
                      <a:gd name="connsiteY22" fmla="*/ 19144 h 121911"/>
                      <a:gd name="connsiteX23" fmla="*/ 126191 w 155594"/>
                      <a:gd name="connsiteY23" fmla="*/ 20741 h 121911"/>
                      <a:gd name="connsiteX24" fmla="*/ 126468 w 155594"/>
                      <a:gd name="connsiteY24" fmla="*/ 21719 h 121911"/>
                      <a:gd name="connsiteX25" fmla="*/ 127177 w 155594"/>
                      <a:gd name="connsiteY25" fmla="*/ 22200 h 121911"/>
                      <a:gd name="connsiteX26" fmla="*/ 128521 w 155594"/>
                      <a:gd name="connsiteY26" fmla="*/ 22078 h 121911"/>
                      <a:gd name="connsiteX27" fmla="*/ 130045 w 155594"/>
                      <a:gd name="connsiteY27" fmla="*/ 21393 h 121911"/>
                      <a:gd name="connsiteX28" fmla="*/ 133020 w 155594"/>
                      <a:gd name="connsiteY28" fmla="*/ 21735 h 121911"/>
                      <a:gd name="connsiteX29" fmla="*/ 134593 w 155594"/>
                      <a:gd name="connsiteY29" fmla="*/ 22787 h 121911"/>
                      <a:gd name="connsiteX30" fmla="*/ 135995 w 155594"/>
                      <a:gd name="connsiteY30" fmla="*/ 24514 h 121911"/>
                      <a:gd name="connsiteX31" fmla="*/ 134951 w 155594"/>
                      <a:gd name="connsiteY31" fmla="*/ 26120 h 121911"/>
                      <a:gd name="connsiteX32" fmla="*/ 129703 w 155594"/>
                      <a:gd name="connsiteY32" fmla="*/ 28337 h 121911"/>
                      <a:gd name="connsiteX33" fmla="*/ 121969 w 155594"/>
                      <a:gd name="connsiteY33" fmla="*/ 30847 h 121911"/>
                      <a:gd name="connsiteX34" fmla="*/ 112548 w 155594"/>
                      <a:gd name="connsiteY34" fmla="*/ 38719 h 121911"/>
                      <a:gd name="connsiteX35" fmla="*/ 107593 w 155594"/>
                      <a:gd name="connsiteY35" fmla="*/ 42020 h 121911"/>
                      <a:gd name="connsiteX36" fmla="*/ 106574 w 155594"/>
                      <a:gd name="connsiteY36" fmla="*/ 43047 h 121911"/>
                      <a:gd name="connsiteX37" fmla="*/ 106077 w 155594"/>
                      <a:gd name="connsiteY37" fmla="*/ 44082 h 121911"/>
                      <a:gd name="connsiteX38" fmla="*/ 106224 w 155594"/>
                      <a:gd name="connsiteY38" fmla="*/ 46030 h 121911"/>
                      <a:gd name="connsiteX39" fmla="*/ 106444 w 155594"/>
                      <a:gd name="connsiteY39" fmla="*/ 46820 h 121911"/>
                      <a:gd name="connsiteX40" fmla="*/ 107813 w 155594"/>
                      <a:gd name="connsiteY40" fmla="*/ 47138 h 121911"/>
                      <a:gd name="connsiteX41" fmla="*/ 112426 w 155594"/>
                      <a:gd name="connsiteY41" fmla="*/ 44408 h 121911"/>
                      <a:gd name="connsiteX42" fmla="*/ 115392 w 155594"/>
                      <a:gd name="connsiteY42" fmla="*/ 43145 h 121911"/>
                      <a:gd name="connsiteX43" fmla="*/ 118416 w 155594"/>
                      <a:gd name="connsiteY43" fmla="*/ 42444 h 121911"/>
                      <a:gd name="connsiteX44" fmla="*/ 123737 w 155594"/>
                      <a:gd name="connsiteY44" fmla="*/ 42395 h 121911"/>
                      <a:gd name="connsiteX45" fmla="*/ 125930 w 155594"/>
                      <a:gd name="connsiteY45" fmla="*/ 42802 h 121911"/>
                      <a:gd name="connsiteX46" fmla="*/ 129915 w 155594"/>
                      <a:gd name="connsiteY46" fmla="*/ 44457 h 121911"/>
                      <a:gd name="connsiteX47" fmla="*/ 133566 w 155594"/>
                      <a:gd name="connsiteY47" fmla="*/ 46967 h 121911"/>
                      <a:gd name="connsiteX48" fmla="*/ 134373 w 155594"/>
                      <a:gd name="connsiteY48" fmla="*/ 47888 h 121911"/>
                      <a:gd name="connsiteX49" fmla="*/ 134022 w 155594"/>
                      <a:gd name="connsiteY49" fmla="*/ 48801 h 121911"/>
                      <a:gd name="connsiteX50" fmla="*/ 132507 w 155594"/>
                      <a:gd name="connsiteY50" fmla="*/ 49738 h 121911"/>
                      <a:gd name="connsiteX51" fmla="*/ 132344 w 155594"/>
                      <a:gd name="connsiteY51" fmla="*/ 50341 h 121911"/>
                      <a:gd name="connsiteX52" fmla="*/ 135815 w 155594"/>
                      <a:gd name="connsiteY52" fmla="*/ 51612 h 121911"/>
                      <a:gd name="connsiteX53" fmla="*/ 139654 w 155594"/>
                      <a:gd name="connsiteY53" fmla="*/ 55060 h 121911"/>
                      <a:gd name="connsiteX54" fmla="*/ 139907 w 155594"/>
                      <a:gd name="connsiteY54" fmla="*/ 57154 h 121911"/>
                      <a:gd name="connsiteX55" fmla="*/ 138228 w 155594"/>
                      <a:gd name="connsiteY55" fmla="*/ 59216 h 121911"/>
                      <a:gd name="connsiteX56" fmla="*/ 137771 w 155594"/>
                      <a:gd name="connsiteY56" fmla="*/ 60601 h 121911"/>
                      <a:gd name="connsiteX57" fmla="*/ 138529 w 155594"/>
                      <a:gd name="connsiteY57" fmla="*/ 61302 h 121911"/>
                      <a:gd name="connsiteX58" fmla="*/ 140420 w 155594"/>
                      <a:gd name="connsiteY58" fmla="*/ 60887 h 121911"/>
                      <a:gd name="connsiteX59" fmla="*/ 144959 w 155594"/>
                      <a:gd name="connsiteY59" fmla="*/ 58564 h 121911"/>
                      <a:gd name="connsiteX60" fmla="*/ 149866 w 155594"/>
                      <a:gd name="connsiteY60" fmla="*/ 57358 h 121911"/>
                      <a:gd name="connsiteX61" fmla="*/ 151830 w 155594"/>
                      <a:gd name="connsiteY61" fmla="*/ 57496 h 121911"/>
                      <a:gd name="connsiteX62" fmla="*/ 153068 w 155594"/>
                      <a:gd name="connsiteY62" fmla="*/ 58026 h 121911"/>
                      <a:gd name="connsiteX63" fmla="*/ 154380 w 155594"/>
                      <a:gd name="connsiteY63" fmla="*/ 61196 h 121911"/>
                      <a:gd name="connsiteX64" fmla="*/ 155464 w 155594"/>
                      <a:gd name="connsiteY64" fmla="*/ 64766 h 121911"/>
                      <a:gd name="connsiteX65" fmla="*/ 155595 w 155594"/>
                      <a:gd name="connsiteY65" fmla="*/ 67765 h 121911"/>
                      <a:gd name="connsiteX66" fmla="*/ 154788 w 155594"/>
                      <a:gd name="connsiteY66" fmla="*/ 70202 h 121911"/>
                      <a:gd name="connsiteX67" fmla="*/ 153614 w 155594"/>
                      <a:gd name="connsiteY67" fmla="*/ 72093 h 121911"/>
                      <a:gd name="connsiteX68" fmla="*/ 150680 w 155594"/>
                      <a:gd name="connsiteY68" fmla="*/ 74448 h 121911"/>
                      <a:gd name="connsiteX69" fmla="*/ 148024 w 155594"/>
                      <a:gd name="connsiteY69" fmla="*/ 75336 h 121911"/>
                      <a:gd name="connsiteX70" fmla="*/ 146638 w 155594"/>
                      <a:gd name="connsiteY70" fmla="*/ 75352 h 121911"/>
                      <a:gd name="connsiteX71" fmla="*/ 146777 w 155594"/>
                      <a:gd name="connsiteY71" fmla="*/ 75744 h 121911"/>
                      <a:gd name="connsiteX72" fmla="*/ 149931 w 155594"/>
                      <a:gd name="connsiteY72" fmla="*/ 77700 h 121911"/>
                      <a:gd name="connsiteX73" fmla="*/ 151243 w 155594"/>
                      <a:gd name="connsiteY73" fmla="*/ 79256 h 121911"/>
                      <a:gd name="connsiteX74" fmla="*/ 151813 w 155594"/>
                      <a:gd name="connsiteY74" fmla="*/ 80764 h 121911"/>
                      <a:gd name="connsiteX75" fmla="*/ 151618 w 155594"/>
                      <a:gd name="connsiteY75" fmla="*/ 82214 h 121911"/>
                      <a:gd name="connsiteX76" fmla="*/ 151186 w 155594"/>
                      <a:gd name="connsiteY76" fmla="*/ 83445 h 121911"/>
                      <a:gd name="connsiteX77" fmla="*/ 147502 w 155594"/>
                      <a:gd name="connsiteY77" fmla="*/ 88025 h 121911"/>
                      <a:gd name="connsiteX78" fmla="*/ 147706 w 155594"/>
                      <a:gd name="connsiteY78" fmla="*/ 88677 h 121911"/>
                      <a:gd name="connsiteX79" fmla="*/ 148725 w 155594"/>
                      <a:gd name="connsiteY79" fmla="*/ 88971 h 121911"/>
                      <a:gd name="connsiteX80" fmla="*/ 151023 w 155594"/>
                      <a:gd name="connsiteY80" fmla="*/ 91603 h 121911"/>
                      <a:gd name="connsiteX81" fmla="*/ 151300 w 155594"/>
                      <a:gd name="connsiteY81" fmla="*/ 97715 h 121911"/>
                      <a:gd name="connsiteX82" fmla="*/ 143036 w 155594"/>
                      <a:gd name="connsiteY82" fmla="*/ 99630 h 121911"/>
                      <a:gd name="connsiteX83" fmla="*/ 141096 w 155594"/>
                      <a:gd name="connsiteY83" fmla="*/ 101049 h 121911"/>
                      <a:gd name="connsiteX84" fmla="*/ 138814 w 155594"/>
                      <a:gd name="connsiteY84" fmla="*/ 103330 h 121911"/>
                      <a:gd name="connsiteX85" fmla="*/ 136198 w 155594"/>
                      <a:gd name="connsiteY85" fmla="*/ 105034 h 121911"/>
                      <a:gd name="connsiteX86" fmla="*/ 130265 w 155594"/>
                      <a:gd name="connsiteY86" fmla="*/ 106819 h 121911"/>
                      <a:gd name="connsiteX87" fmla="*/ 127274 w 155594"/>
                      <a:gd name="connsiteY87" fmla="*/ 107022 h 121911"/>
                      <a:gd name="connsiteX88" fmla="*/ 112409 w 155594"/>
                      <a:gd name="connsiteY88" fmla="*/ 105531 h 121911"/>
                      <a:gd name="connsiteX89" fmla="*/ 110902 w 155594"/>
                      <a:gd name="connsiteY89" fmla="*/ 104667 h 121911"/>
                      <a:gd name="connsiteX90" fmla="*/ 109867 w 155594"/>
                      <a:gd name="connsiteY90" fmla="*/ 103110 h 121911"/>
                      <a:gd name="connsiteX91" fmla="*/ 109296 w 155594"/>
                      <a:gd name="connsiteY91" fmla="*/ 100877 h 121911"/>
                      <a:gd name="connsiteX92" fmla="*/ 109133 w 155594"/>
                      <a:gd name="connsiteY92" fmla="*/ 99125 h 121911"/>
                      <a:gd name="connsiteX93" fmla="*/ 109402 w 155594"/>
                      <a:gd name="connsiteY93" fmla="*/ 97846 h 121911"/>
                      <a:gd name="connsiteX94" fmla="*/ 109321 w 155594"/>
                      <a:gd name="connsiteY94" fmla="*/ 97088 h 121911"/>
                      <a:gd name="connsiteX95" fmla="*/ 108905 w 155594"/>
                      <a:gd name="connsiteY95" fmla="*/ 96876 h 121911"/>
                      <a:gd name="connsiteX96" fmla="*/ 107259 w 155594"/>
                      <a:gd name="connsiteY96" fmla="*/ 98155 h 121911"/>
                      <a:gd name="connsiteX97" fmla="*/ 105531 w 155594"/>
                      <a:gd name="connsiteY97" fmla="*/ 100494 h 121911"/>
                      <a:gd name="connsiteX98" fmla="*/ 106468 w 155594"/>
                      <a:gd name="connsiteY98" fmla="*/ 103070 h 121911"/>
                      <a:gd name="connsiteX99" fmla="*/ 111171 w 155594"/>
                      <a:gd name="connsiteY99" fmla="*/ 110241 h 121911"/>
                      <a:gd name="connsiteX100" fmla="*/ 112059 w 155594"/>
                      <a:gd name="connsiteY100" fmla="*/ 113330 h 121911"/>
                      <a:gd name="connsiteX101" fmla="*/ 112189 w 155594"/>
                      <a:gd name="connsiteY101" fmla="*/ 114626 h 121911"/>
                      <a:gd name="connsiteX102" fmla="*/ 111977 w 155594"/>
                      <a:gd name="connsiteY102" fmla="*/ 115612 h 121911"/>
                      <a:gd name="connsiteX103" fmla="*/ 106688 w 155594"/>
                      <a:gd name="connsiteY103" fmla="*/ 119793 h 121911"/>
                      <a:gd name="connsiteX104" fmla="*/ 103616 w 155594"/>
                      <a:gd name="connsiteY104" fmla="*/ 121203 h 121911"/>
                      <a:gd name="connsiteX105" fmla="*/ 100470 w 155594"/>
                      <a:gd name="connsiteY105" fmla="*/ 121912 h 121911"/>
                      <a:gd name="connsiteX106" fmla="*/ 97471 w 155594"/>
                      <a:gd name="connsiteY106" fmla="*/ 121382 h 121911"/>
                      <a:gd name="connsiteX107" fmla="*/ 94610 w 155594"/>
                      <a:gd name="connsiteY107" fmla="*/ 119630 h 121911"/>
                      <a:gd name="connsiteX108" fmla="*/ 92451 w 155594"/>
                      <a:gd name="connsiteY108" fmla="*/ 118848 h 121911"/>
                      <a:gd name="connsiteX109" fmla="*/ 87960 w 155594"/>
                      <a:gd name="connsiteY109" fmla="*/ 118962 h 121911"/>
                      <a:gd name="connsiteX110" fmla="*/ 86558 w 155594"/>
                      <a:gd name="connsiteY110" fmla="*/ 118057 h 121911"/>
                      <a:gd name="connsiteX111" fmla="*/ 85254 w 155594"/>
                      <a:gd name="connsiteY111" fmla="*/ 116370 h 121911"/>
                      <a:gd name="connsiteX112" fmla="*/ 82092 w 155594"/>
                      <a:gd name="connsiteY112" fmla="*/ 110323 h 121911"/>
                      <a:gd name="connsiteX113" fmla="*/ 77683 w 155594"/>
                      <a:gd name="connsiteY113" fmla="*/ 106028 h 121911"/>
                      <a:gd name="connsiteX114" fmla="*/ 73877 w 155594"/>
                      <a:gd name="connsiteY114" fmla="*/ 101212 h 121911"/>
                      <a:gd name="connsiteX115" fmla="*/ 64228 w 155594"/>
                      <a:gd name="connsiteY115" fmla="*/ 94170 h 121911"/>
                      <a:gd name="connsiteX116" fmla="*/ 59224 w 155594"/>
                      <a:gd name="connsiteY116" fmla="*/ 89949 h 121911"/>
                      <a:gd name="connsiteX117" fmla="*/ 52566 w 155594"/>
                      <a:gd name="connsiteY117" fmla="*/ 83152 h 121911"/>
                      <a:gd name="connsiteX118" fmla="*/ 49779 w 155594"/>
                      <a:gd name="connsiteY118" fmla="*/ 81611 h 121911"/>
                      <a:gd name="connsiteX119" fmla="*/ 47464 w 155594"/>
                      <a:gd name="connsiteY119" fmla="*/ 80992 h 121911"/>
                      <a:gd name="connsiteX120" fmla="*/ 42908 w 155594"/>
                      <a:gd name="connsiteY120" fmla="*/ 80503 h 121911"/>
                      <a:gd name="connsiteX121" fmla="*/ 41849 w 155594"/>
                      <a:gd name="connsiteY121" fmla="*/ 79656 h 121911"/>
                      <a:gd name="connsiteX122" fmla="*/ 40195 w 155594"/>
                      <a:gd name="connsiteY122" fmla="*/ 77341 h 121911"/>
                      <a:gd name="connsiteX123" fmla="*/ 37326 w 155594"/>
                      <a:gd name="connsiteY123" fmla="*/ 75597 h 121911"/>
                      <a:gd name="connsiteX124" fmla="*/ 36291 w 155594"/>
                      <a:gd name="connsiteY124" fmla="*/ 75377 h 121911"/>
                      <a:gd name="connsiteX125" fmla="*/ 34596 w 155594"/>
                      <a:gd name="connsiteY125" fmla="*/ 75784 h 121911"/>
                      <a:gd name="connsiteX126" fmla="*/ 30138 w 155594"/>
                      <a:gd name="connsiteY126" fmla="*/ 77390 h 121911"/>
                      <a:gd name="connsiteX127" fmla="*/ 24547 w 155594"/>
                      <a:gd name="connsiteY127" fmla="*/ 75687 h 121911"/>
                      <a:gd name="connsiteX128" fmla="*/ 23292 w 155594"/>
                      <a:gd name="connsiteY128" fmla="*/ 74497 h 121911"/>
                      <a:gd name="connsiteX129" fmla="*/ 22550 w 155594"/>
                      <a:gd name="connsiteY129" fmla="*/ 72467 h 121911"/>
                      <a:gd name="connsiteX130" fmla="*/ 21849 w 155594"/>
                      <a:gd name="connsiteY130" fmla="*/ 71351 h 121911"/>
                      <a:gd name="connsiteX131" fmla="*/ 19951 w 155594"/>
                      <a:gd name="connsiteY131" fmla="*/ 70357 h 121911"/>
                      <a:gd name="connsiteX132" fmla="*/ 18353 w 155594"/>
                      <a:gd name="connsiteY132" fmla="*/ 67822 h 121911"/>
                      <a:gd name="connsiteX133" fmla="*/ 7726 w 155594"/>
                      <a:gd name="connsiteY133" fmla="*/ 62818 h 121911"/>
                      <a:gd name="connsiteX134" fmla="*/ 1402 w 155594"/>
                      <a:gd name="connsiteY134" fmla="*/ 57064 h 121911"/>
                      <a:gd name="connsiteX135" fmla="*/ 122 w 155594"/>
                      <a:gd name="connsiteY135" fmla="*/ 54986 h 121911"/>
                      <a:gd name="connsiteX136" fmla="*/ 0 w 155594"/>
                      <a:gd name="connsiteY136" fmla="*/ 54139 h 121911"/>
                      <a:gd name="connsiteX137" fmla="*/ 652 w 155594"/>
                      <a:gd name="connsiteY137" fmla="*/ 51368 h 121911"/>
                      <a:gd name="connsiteX138" fmla="*/ 2111 w 155594"/>
                      <a:gd name="connsiteY138" fmla="*/ 48222 h 121911"/>
                      <a:gd name="connsiteX139" fmla="*/ 4034 w 155594"/>
                      <a:gd name="connsiteY139" fmla="*/ 45092 h 121911"/>
                      <a:gd name="connsiteX140" fmla="*/ 5208 w 155594"/>
                      <a:gd name="connsiteY140" fmla="*/ 43813 h 121911"/>
                      <a:gd name="connsiteX141" fmla="*/ 9364 w 155594"/>
                      <a:gd name="connsiteY141" fmla="*/ 41115 h 121911"/>
                      <a:gd name="connsiteX142" fmla="*/ 12640 w 155594"/>
                      <a:gd name="connsiteY142" fmla="*/ 40504 h 121911"/>
                      <a:gd name="connsiteX143" fmla="*/ 17212 w 155594"/>
                      <a:gd name="connsiteY143" fmla="*/ 40846 h 121911"/>
                      <a:gd name="connsiteX144" fmla="*/ 19625 w 155594"/>
                      <a:gd name="connsiteY144" fmla="*/ 41450 h 121911"/>
                      <a:gd name="connsiteX145" fmla="*/ 21784 w 155594"/>
                      <a:gd name="connsiteY145" fmla="*/ 43251 h 121911"/>
                      <a:gd name="connsiteX146" fmla="*/ 22705 w 155594"/>
                      <a:gd name="connsiteY146" fmla="*/ 45329 h 121911"/>
                      <a:gd name="connsiteX147" fmla="*/ 23789 w 155594"/>
                      <a:gd name="connsiteY147" fmla="*/ 46731 h 121911"/>
                      <a:gd name="connsiteX148" fmla="*/ 27179 w 155594"/>
                      <a:gd name="connsiteY148" fmla="*/ 48271 h 121911"/>
                      <a:gd name="connsiteX149" fmla="*/ 29021 w 155594"/>
                      <a:gd name="connsiteY149" fmla="*/ 49510 h 121911"/>
                      <a:gd name="connsiteX150" fmla="*/ 31727 w 155594"/>
                      <a:gd name="connsiteY150" fmla="*/ 52370 h 121911"/>
                      <a:gd name="connsiteX151" fmla="*/ 33805 w 155594"/>
                      <a:gd name="connsiteY151" fmla="*/ 55826 h 121911"/>
                      <a:gd name="connsiteX152" fmla="*/ 35728 w 155594"/>
                      <a:gd name="connsiteY152" fmla="*/ 56958 h 121911"/>
                      <a:gd name="connsiteX153" fmla="*/ 40333 w 155594"/>
                      <a:gd name="connsiteY153" fmla="*/ 57350 h 121911"/>
                      <a:gd name="connsiteX154" fmla="*/ 45076 w 155594"/>
                      <a:gd name="connsiteY154" fmla="*/ 56771 h 121911"/>
                      <a:gd name="connsiteX155" fmla="*/ 55280 w 155594"/>
                      <a:gd name="connsiteY155" fmla="*/ 54595 h 121911"/>
                      <a:gd name="connsiteX156" fmla="*/ 55695 w 155594"/>
                      <a:gd name="connsiteY156" fmla="*/ 54326 h 121911"/>
                      <a:gd name="connsiteX157" fmla="*/ 56323 w 155594"/>
                      <a:gd name="connsiteY157" fmla="*/ 53030 h 121911"/>
                      <a:gd name="connsiteX158" fmla="*/ 57488 w 155594"/>
                      <a:gd name="connsiteY158" fmla="*/ 45158 h 121911"/>
                      <a:gd name="connsiteX159" fmla="*/ 58189 w 155594"/>
                      <a:gd name="connsiteY159" fmla="*/ 45125 h 121911"/>
                      <a:gd name="connsiteX160" fmla="*/ 61653 w 155594"/>
                      <a:gd name="connsiteY160" fmla="*/ 48768 h 121911"/>
                      <a:gd name="connsiteX161" fmla="*/ 62631 w 155594"/>
                      <a:gd name="connsiteY161" fmla="*/ 49175 h 121911"/>
                      <a:gd name="connsiteX162" fmla="*/ 64130 w 155594"/>
                      <a:gd name="connsiteY162" fmla="*/ 48401 h 121911"/>
                      <a:gd name="connsiteX163" fmla="*/ 65010 w 155594"/>
                      <a:gd name="connsiteY163" fmla="*/ 46641 h 121911"/>
                      <a:gd name="connsiteX164" fmla="*/ 64905 w 155594"/>
                      <a:gd name="connsiteY164" fmla="*/ 45801 h 121911"/>
                      <a:gd name="connsiteX165" fmla="*/ 62729 w 155594"/>
                      <a:gd name="connsiteY165" fmla="*/ 41523 h 121911"/>
                      <a:gd name="connsiteX166" fmla="*/ 61449 w 155594"/>
                      <a:gd name="connsiteY166" fmla="*/ 39665 h 121911"/>
                      <a:gd name="connsiteX167" fmla="*/ 60292 w 155594"/>
                      <a:gd name="connsiteY167" fmla="*/ 38516 h 121911"/>
                      <a:gd name="connsiteX168" fmla="*/ 59012 w 155594"/>
                      <a:gd name="connsiteY168" fmla="*/ 38133 h 121911"/>
                      <a:gd name="connsiteX169" fmla="*/ 56241 w 155594"/>
                      <a:gd name="connsiteY169" fmla="*/ 38507 h 121911"/>
                      <a:gd name="connsiteX170" fmla="*/ 54122 w 155594"/>
                      <a:gd name="connsiteY170" fmla="*/ 37676 h 121911"/>
                      <a:gd name="connsiteX171" fmla="*/ 53658 w 155594"/>
                      <a:gd name="connsiteY171" fmla="*/ 36503 h 121911"/>
                      <a:gd name="connsiteX172" fmla="*/ 54000 w 155594"/>
                      <a:gd name="connsiteY172" fmla="*/ 34913 h 121911"/>
                      <a:gd name="connsiteX173" fmla="*/ 55166 w 155594"/>
                      <a:gd name="connsiteY173" fmla="*/ 33235 h 121911"/>
                      <a:gd name="connsiteX174" fmla="*/ 56421 w 155594"/>
                      <a:gd name="connsiteY174" fmla="*/ 32273 h 121911"/>
                      <a:gd name="connsiteX175" fmla="*/ 58857 w 155594"/>
                      <a:gd name="connsiteY175" fmla="*/ 31784 h 121911"/>
                      <a:gd name="connsiteX176" fmla="*/ 61702 w 155594"/>
                      <a:gd name="connsiteY176" fmla="*/ 32273 h 121911"/>
                      <a:gd name="connsiteX177" fmla="*/ 65646 w 155594"/>
                      <a:gd name="connsiteY177" fmla="*/ 34294 h 121911"/>
                      <a:gd name="connsiteX178" fmla="*/ 68140 w 155594"/>
                      <a:gd name="connsiteY178" fmla="*/ 34742 h 121911"/>
                      <a:gd name="connsiteX179" fmla="*/ 71636 w 155594"/>
                      <a:gd name="connsiteY179" fmla="*/ 34164 h 121911"/>
                      <a:gd name="connsiteX180" fmla="*/ 67154 w 155594"/>
                      <a:gd name="connsiteY180" fmla="*/ 32974 h 121911"/>
                      <a:gd name="connsiteX181" fmla="*/ 60903 w 155594"/>
                      <a:gd name="connsiteY181" fmla="*/ 28296 h 121911"/>
                      <a:gd name="connsiteX182" fmla="*/ 58222 w 155594"/>
                      <a:gd name="connsiteY182" fmla="*/ 27416 h 121911"/>
                      <a:gd name="connsiteX183" fmla="*/ 54954 w 155594"/>
                      <a:gd name="connsiteY183" fmla="*/ 29421 h 121911"/>
                      <a:gd name="connsiteX184" fmla="*/ 52745 w 155594"/>
                      <a:gd name="connsiteY184" fmla="*/ 30187 h 121911"/>
                      <a:gd name="connsiteX185" fmla="*/ 48564 w 155594"/>
                      <a:gd name="connsiteY185" fmla="*/ 31165 h 121911"/>
                      <a:gd name="connsiteX186" fmla="*/ 45247 w 155594"/>
                      <a:gd name="connsiteY186" fmla="*/ 31303 h 121911"/>
                      <a:gd name="connsiteX187" fmla="*/ 31319 w 155594"/>
                      <a:gd name="connsiteY187" fmla="*/ 24066 h 121911"/>
                      <a:gd name="connsiteX188" fmla="*/ 30545 w 155594"/>
                      <a:gd name="connsiteY188" fmla="*/ 23373 h 121911"/>
                      <a:gd name="connsiteX189" fmla="*/ 29526 w 155594"/>
                      <a:gd name="connsiteY189" fmla="*/ 21491 h 121911"/>
                      <a:gd name="connsiteX190" fmla="*/ 29641 w 155594"/>
                      <a:gd name="connsiteY190" fmla="*/ 20611 h 121911"/>
                      <a:gd name="connsiteX191" fmla="*/ 31018 w 155594"/>
                      <a:gd name="connsiteY191" fmla="*/ 19266 h 121911"/>
                      <a:gd name="connsiteX192" fmla="*/ 34490 w 155594"/>
                      <a:gd name="connsiteY192" fmla="*/ 17489 h 121911"/>
                      <a:gd name="connsiteX193" fmla="*/ 39648 w 155594"/>
                      <a:gd name="connsiteY193" fmla="*/ 16373 h 121911"/>
                      <a:gd name="connsiteX194" fmla="*/ 43104 w 155594"/>
                      <a:gd name="connsiteY194" fmla="*/ 16202 h 121911"/>
                      <a:gd name="connsiteX195" fmla="*/ 46119 w 155594"/>
                      <a:gd name="connsiteY195" fmla="*/ 17522 h 121911"/>
                      <a:gd name="connsiteX196" fmla="*/ 50520 w 155594"/>
                      <a:gd name="connsiteY196" fmla="*/ 21116 h 121911"/>
                      <a:gd name="connsiteX197" fmla="*/ 54367 w 155594"/>
                      <a:gd name="connsiteY197" fmla="*/ 23210 h 121911"/>
                      <a:gd name="connsiteX198" fmla="*/ 54677 w 155594"/>
                      <a:gd name="connsiteY198" fmla="*/ 22461 h 121911"/>
                      <a:gd name="connsiteX199" fmla="*/ 54000 w 155594"/>
                      <a:gd name="connsiteY199" fmla="*/ 20399 h 121911"/>
                      <a:gd name="connsiteX200" fmla="*/ 52248 w 155594"/>
                      <a:gd name="connsiteY200" fmla="*/ 17326 h 121911"/>
                      <a:gd name="connsiteX201" fmla="*/ 50985 w 155594"/>
                      <a:gd name="connsiteY201" fmla="*/ 16495 h 121911"/>
                      <a:gd name="connsiteX202" fmla="*/ 47896 w 155594"/>
                      <a:gd name="connsiteY202" fmla="*/ 15574 h 121911"/>
                      <a:gd name="connsiteX203" fmla="*/ 45027 w 155594"/>
                      <a:gd name="connsiteY203" fmla="*/ 13472 h 121911"/>
                      <a:gd name="connsiteX204" fmla="*/ 43674 w 155594"/>
                      <a:gd name="connsiteY204" fmla="*/ 11907 h 121911"/>
                      <a:gd name="connsiteX205" fmla="*/ 42957 w 155594"/>
                      <a:gd name="connsiteY205" fmla="*/ 10236 h 121911"/>
                      <a:gd name="connsiteX206" fmla="*/ 42876 w 155594"/>
                      <a:gd name="connsiteY206" fmla="*/ 8451 h 121911"/>
                      <a:gd name="connsiteX207" fmla="*/ 43422 w 155594"/>
                      <a:gd name="connsiteY207" fmla="*/ 7237 h 121911"/>
                      <a:gd name="connsiteX208" fmla="*/ 44604 w 155594"/>
                      <a:gd name="connsiteY208" fmla="*/ 6577 h 121911"/>
                      <a:gd name="connsiteX209" fmla="*/ 55312 w 155594"/>
                      <a:gd name="connsiteY209" fmla="*/ 4792 h 121911"/>
                      <a:gd name="connsiteX210" fmla="*/ 62786 w 155594"/>
                      <a:gd name="connsiteY210" fmla="*/ 6772 h 121911"/>
                      <a:gd name="connsiteX211" fmla="*/ 67529 w 155594"/>
                      <a:gd name="connsiteY211" fmla="*/ 7058 h 121911"/>
                      <a:gd name="connsiteX212" fmla="*/ 69493 w 155594"/>
                      <a:gd name="connsiteY212" fmla="*/ 4629 h 121911"/>
                      <a:gd name="connsiteX213" fmla="*/ 68808 w 155594"/>
                      <a:gd name="connsiteY213" fmla="*/ 4156 h 121911"/>
                      <a:gd name="connsiteX214" fmla="*/ 66306 w 155594"/>
                      <a:gd name="connsiteY214" fmla="*/ 4776 h 121911"/>
                      <a:gd name="connsiteX215" fmla="*/ 63486 w 155594"/>
                      <a:gd name="connsiteY215" fmla="*/ 4759 h 121911"/>
                      <a:gd name="connsiteX216" fmla="*/ 61734 w 155594"/>
                      <a:gd name="connsiteY216" fmla="*/ 3431 h 121911"/>
                      <a:gd name="connsiteX217" fmla="*/ 61677 w 155594"/>
                      <a:gd name="connsiteY217" fmla="*/ 2657 h 121911"/>
                      <a:gd name="connsiteX218" fmla="*/ 63870 w 155594"/>
                      <a:gd name="connsiteY218" fmla="*/ 799 h 12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Lst>
                    <a:rect l="l" t="t" r="r" b="b"/>
                    <a:pathLst>
                      <a:path w="155594" h="121911">
                        <a:moveTo>
                          <a:pt x="67260" y="0"/>
                        </a:moveTo>
                        <a:lnTo>
                          <a:pt x="88188" y="10032"/>
                        </a:lnTo>
                        <a:lnTo>
                          <a:pt x="91122" y="9209"/>
                        </a:lnTo>
                        <a:lnTo>
                          <a:pt x="97446" y="8679"/>
                        </a:lnTo>
                        <a:lnTo>
                          <a:pt x="104031" y="7204"/>
                        </a:lnTo>
                        <a:lnTo>
                          <a:pt x="113143" y="5974"/>
                        </a:lnTo>
                        <a:lnTo>
                          <a:pt x="118701" y="3749"/>
                        </a:lnTo>
                        <a:lnTo>
                          <a:pt x="121072" y="3113"/>
                        </a:lnTo>
                        <a:lnTo>
                          <a:pt x="125090" y="2722"/>
                        </a:lnTo>
                        <a:lnTo>
                          <a:pt x="127282" y="2722"/>
                        </a:lnTo>
                        <a:lnTo>
                          <a:pt x="133599" y="3928"/>
                        </a:lnTo>
                        <a:lnTo>
                          <a:pt x="136133" y="4776"/>
                        </a:lnTo>
                        <a:lnTo>
                          <a:pt x="137486" y="5672"/>
                        </a:lnTo>
                        <a:lnTo>
                          <a:pt x="138937" y="7286"/>
                        </a:lnTo>
                        <a:lnTo>
                          <a:pt x="141430" y="11222"/>
                        </a:lnTo>
                        <a:lnTo>
                          <a:pt x="141797" y="12681"/>
                        </a:lnTo>
                        <a:lnTo>
                          <a:pt x="141667" y="13080"/>
                        </a:lnTo>
                        <a:lnTo>
                          <a:pt x="139360" y="15493"/>
                        </a:lnTo>
                        <a:lnTo>
                          <a:pt x="137828" y="16552"/>
                        </a:lnTo>
                        <a:lnTo>
                          <a:pt x="134658" y="17555"/>
                        </a:lnTo>
                        <a:lnTo>
                          <a:pt x="131920" y="17856"/>
                        </a:lnTo>
                        <a:lnTo>
                          <a:pt x="129564" y="19608"/>
                        </a:lnTo>
                        <a:lnTo>
                          <a:pt x="126908" y="19144"/>
                        </a:lnTo>
                        <a:lnTo>
                          <a:pt x="126191" y="20741"/>
                        </a:lnTo>
                        <a:lnTo>
                          <a:pt x="126468" y="21719"/>
                        </a:lnTo>
                        <a:lnTo>
                          <a:pt x="127177" y="22200"/>
                        </a:lnTo>
                        <a:lnTo>
                          <a:pt x="128521" y="22078"/>
                        </a:lnTo>
                        <a:lnTo>
                          <a:pt x="130045" y="21393"/>
                        </a:lnTo>
                        <a:lnTo>
                          <a:pt x="133020" y="21735"/>
                        </a:lnTo>
                        <a:lnTo>
                          <a:pt x="134593" y="22787"/>
                        </a:lnTo>
                        <a:lnTo>
                          <a:pt x="135995" y="24514"/>
                        </a:lnTo>
                        <a:lnTo>
                          <a:pt x="134951" y="26120"/>
                        </a:lnTo>
                        <a:lnTo>
                          <a:pt x="129703" y="28337"/>
                        </a:lnTo>
                        <a:lnTo>
                          <a:pt x="121969" y="30847"/>
                        </a:lnTo>
                        <a:lnTo>
                          <a:pt x="112548" y="38719"/>
                        </a:lnTo>
                        <a:lnTo>
                          <a:pt x="107593" y="42020"/>
                        </a:lnTo>
                        <a:lnTo>
                          <a:pt x="106574" y="43047"/>
                        </a:lnTo>
                        <a:lnTo>
                          <a:pt x="106077" y="44082"/>
                        </a:lnTo>
                        <a:lnTo>
                          <a:pt x="106224" y="46030"/>
                        </a:lnTo>
                        <a:lnTo>
                          <a:pt x="106444" y="46820"/>
                        </a:lnTo>
                        <a:lnTo>
                          <a:pt x="107813" y="47138"/>
                        </a:lnTo>
                        <a:lnTo>
                          <a:pt x="112426" y="44408"/>
                        </a:lnTo>
                        <a:lnTo>
                          <a:pt x="115392" y="43145"/>
                        </a:lnTo>
                        <a:lnTo>
                          <a:pt x="118416" y="42444"/>
                        </a:lnTo>
                        <a:lnTo>
                          <a:pt x="123737" y="42395"/>
                        </a:lnTo>
                        <a:lnTo>
                          <a:pt x="125930" y="42802"/>
                        </a:lnTo>
                        <a:lnTo>
                          <a:pt x="129915" y="44457"/>
                        </a:lnTo>
                        <a:lnTo>
                          <a:pt x="133566" y="46967"/>
                        </a:lnTo>
                        <a:lnTo>
                          <a:pt x="134373" y="47888"/>
                        </a:lnTo>
                        <a:lnTo>
                          <a:pt x="134022" y="48801"/>
                        </a:lnTo>
                        <a:lnTo>
                          <a:pt x="132507" y="49738"/>
                        </a:lnTo>
                        <a:lnTo>
                          <a:pt x="132344" y="50341"/>
                        </a:lnTo>
                        <a:lnTo>
                          <a:pt x="135815" y="51612"/>
                        </a:lnTo>
                        <a:lnTo>
                          <a:pt x="139654" y="55060"/>
                        </a:lnTo>
                        <a:lnTo>
                          <a:pt x="139907" y="57154"/>
                        </a:lnTo>
                        <a:lnTo>
                          <a:pt x="138228" y="59216"/>
                        </a:lnTo>
                        <a:lnTo>
                          <a:pt x="137771" y="60601"/>
                        </a:lnTo>
                        <a:lnTo>
                          <a:pt x="138529" y="61302"/>
                        </a:lnTo>
                        <a:lnTo>
                          <a:pt x="140420" y="60887"/>
                        </a:lnTo>
                        <a:lnTo>
                          <a:pt x="144959" y="58564"/>
                        </a:lnTo>
                        <a:lnTo>
                          <a:pt x="149866" y="57358"/>
                        </a:lnTo>
                        <a:lnTo>
                          <a:pt x="151830" y="57496"/>
                        </a:lnTo>
                        <a:lnTo>
                          <a:pt x="153068" y="58026"/>
                        </a:lnTo>
                        <a:lnTo>
                          <a:pt x="154380" y="61196"/>
                        </a:lnTo>
                        <a:lnTo>
                          <a:pt x="155464" y="64766"/>
                        </a:lnTo>
                        <a:lnTo>
                          <a:pt x="155595" y="67765"/>
                        </a:lnTo>
                        <a:lnTo>
                          <a:pt x="154788" y="70202"/>
                        </a:lnTo>
                        <a:lnTo>
                          <a:pt x="153614" y="72093"/>
                        </a:lnTo>
                        <a:lnTo>
                          <a:pt x="150680" y="74448"/>
                        </a:lnTo>
                        <a:lnTo>
                          <a:pt x="148024" y="75336"/>
                        </a:lnTo>
                        <a:lnTo>
                          <a:pt x="146638" y="75352"/>
                        </a:lnTo>
                        <a:lnTo>
                          <a:pt x="146777" y="75744"/>
                        </a:lnTo>
                        <a:lnTo>
                          <a:pt x="149931" y="77700"/>
                        </a:lnTo>
                        <a:lnTo>
                          <a:pt x="151243" y="79256"/>
                        </a:lnTo>
                        <a:lnTo>
                          <a:pt x="151813" y="80764"/>
                        </a:lnTo>
                        <a:lnTo>
                          <a:pt x="151618" y="82214"/>
                        </a:lnTo>
                        <a:lnTo>
                          <a:pt x="151186" y="83445"/>
                        </a:lnTo>
                        <a:lnTo>
                          <a:pt x="147502" y="88025"/>
                        </a:lnTo>
                        <a:lnTo>
                          <a:pt x="147706" y="88677"/>
                        </a:lnTo>
                        <a:lnTo>
                          <a:pt x="148725" y="88971"/>
                        </a:lnTo>
                        <a:lnTo>
                          <a:pt x="151023" y="91603"/>
                        </a:lnTo>
                        <a:lnTo>
                          <a:pt x="151300" y="97715"/>
                        </a:lnTo>
                        <a:lnTo>
                          <a:pt x="143036" y="99630"/>
                        </a:lnTo>
                        <a:lnTo>
                          <a:pt x="141096" y="101049"/>
                        </a:lnTo>
                        <a:lnTo>
                          <a:pt x="138814" y="103330"/>
                        </a:lnTo>
                        <a:lnTo>
                          <a:pt x="136198" y="105034"/>
                        </a:lnTo>
                        <a:lnTo>
                          <a:pt x="130265" y="106819"/>
                        </a:lnTo>
                        <a:lnTo>
                          <a:pt x="127274" y="107022"/>
                        </a:lnTo>
                        <a:lnTo>
                          <a:pt x="112409" y="105531"/>
                        </a:lnTo>
                        <a:lnTo>
                          <a:pt x="110902" y="104667"/>
                        </a:lnTo>
                        <a:lnTo>
                          <a:pt x="109867" y="103110"/>
                        </a:lnTo>
                        <a:lnTo>
                          <a:pt x="109296" y="100877"/>
                        </a:lnTo>
                        <a:lnTo>
                          <a:pt x="109133" y="99125"/>
                        </a:lnTo>
                        <a:lnTo>
                          <a:pt x="109402" y="97846"/>
                        </a:lnTo>
                        <a:lnTo>
                          <a:pt x="109321" y="97088"/>
                        </a:lnTo>
                        <a:lnTo>
                          <a:pt x="108905" y="96876"/>
                        </a:lnTo>
                        <a:lnTo>
                          <a:pt x="107259" y="98155"/>
                        </a:lnTo>
                        <a:lnTo>
                          <a:pt x="105531" y="100494"/>
                        </a:lnTo>
                        <a:lnTo>
                          <a:pt x="106468" y="103070"/>
                        </a:lnTo>
                        <a:lnTo>
                          <a:pt x="111171" y="110241"/>
                        </a:lnTo>
                        <a:lnTo>
                          <a:pt x="112059" y="113330"/>
                        </a:lnTo>
                        <a:lnTo>
                          <a:pt x="112189" y="114626"/>
                        </a:lnTo>
                        <a:lnTo>
                          <a:pt x="111977" y="115612"/>
                        </a:lnTo>
                        <a:lnTo>
                          <a:pt x="106688" y="119793"/>
                        </a:lnTo>
                        <a:lnTo>
                          <a:pt x="103616" y="121203"/>
                        </a:lnTo>
                        <a:lnTo>
                          <a:pt x="100470" y="121912"/>
                        </a:lnTo>
                        <a:lnTo>
                          <a:pt x="97471" y="121382"/>
                        </a:lnTo>
                        <a:lnTo>
                          <a:pt x="94610" y="119630"/>
                        </a:lnTo>
                        <a:lnTo>
                          <a:pt x="92451" y="118848"/>
                        </a:lnTo>
                        <a:lnTo>
                          <a:pt x="87960" y="118962"/>
                        </a:lnTo>
                        <a:lnTo>
                          <a:pt x="86558" y="118057"/>
                        </a:lnTo>
                        <a:lnTo>
                          <a:pt x="85254" y="116370"/>
                        </a:lnTo>
                        <a:lnTo>
                          <a:pt x="82092" y="110323"/>
                        </a:lnTo>
                        <a:lnTo>
                          <a:pt x="77683" y="106028"/>
                        </a:lnTo>
                        <a:lnTo>
                          <a:pt x="73877" y="101212"/>
                        </a:lnTo>
                        <a:lnTo>
                          <a:pt x="64228" y="94170"/>
                        </a:lnTo>
                        <a:lnTo>
                          <a:pt x="59224" y="89949"/>
                        </a:lnTo>
                        <a:lnTo>
                          <a:pt x="52566" y="83152"/>
                        </a:lnTo>
                        <a:lnTo>
                          <a:pt x="49779" y="81611"/>
                        </a:lnTo>
                        <a:lnTo>
                          <a:pt x="47464" y="80992"/>
                        </a:lnTo>
                        <a:lnTo>
                          <a:pt x="42908" y="80503"/>
                        </a:lnTo>
                        <a:lnTo>
                          <a:pt x="41849" y="79656"/>
                        </a:lnTo>
                        <a:lnTo>
                          <a:pt x="40195" y="77341"/>
                        </a:lnTo>
                        <a:lnTo>
                          <a:pt x="37326" y="75597"/>
                        </a:lnTo>
                        <a:lnTo>
                          <a:pt x="36291" y="75377"/>
                        </a:lnTo>
                        <a:lnTo>
                          <a:pt x="34596" y="75784"/>
                        </a:lnTo>
                        <a:lnTo>
                          <a:pt x="30138" y="77390"/>
                        </a:lnTo>
                        <a:lnTo>
                          <a:pt x="24547" y="75687"/>
                        </a:lnTo>
                        <a:lnTo>
                          <a:pt x="23292" y="74497"/>
                        </a:lnTo>
                        <a:lnTo>
                          <a:pt x="22550" y="72467"/>
                        </a:lnTo>
                        <a:lnTo>
                          <a:pt x="21849" y="71351"/>
                        </a:lnTo>
                        <a:lnTo>
                          <a:pt x="19951" y="70357"/>
                        </a:lnTo>
                        <a:lnTo>
                          <a:pt x="18353" y="67822"/>
                        </a:lnTo>
                        <a:lnTo>
                          <a:pt x="7726" y="62818"/>
                        </a:lnTo>
                        <a:lnTo>
                          <a:pt x="1402" y="57064"/>
                        </a:lnTo>
                        <a:lnTo>
                          <a:pt x="122" y="54986"/>
                        </a:lnTo>
                        <a:lnTo>
                          <a:pt x="0" y="54139"/>
                        </a:lnTo>
                        <a:lnTo>
                          <a:pt x="652" y="51368"/>
                        </a:lnTo>
                        <a:lnTo>
                          <a:pt x="2111" y="48222"/>
                        </a:lnTo>
                        <a:lnTo>
                          <a:pt x="4034" y="45092"/>
                        </a:lnTo>
                        <a:lnTo>
                          <a:pt x="5208" y="43813"/>
                        </a:lnTo>
                        <a:lnTo>
                          <a:pt x="9364" y="41115"/>
                        </a:lnTo>
                        <a:lnTo>
                          <a:pt x="12640" y="40504"/>
                        </a:lnTo>
                        <a:lnTo>
                          <a:pt x="17212" y="40846"/>
                        </a:lnTo>
                        <a:lnTo>
                          <a:pt x="19625" y="41450"/>
                        </a:lnTo>
                        <a:lnTo>
                          <a:pt x="21784" y="43251"/>
                        </a:lnTo>
                        <a:lnTo>
                          <a:pt x="22705" y="45329"/>
                        </a:lnTo>
                        <a:lnTo>
                          <a:pt x="23789" y="46731"/>
                        </a:lnTo>
                        <a:lnTo>
                          <a:pt x="27179" y="48271"/>
                        </a:lnTo>
                        <a:lnTo>
                          <a:pt x="29021" y="49510"/>
                        </a:lnTo>
                        <a:lnTo>
                          <a:pt x="31727" y="52370"/>
                        </a:lnTo>
                        <a:lnTo>
                          <a:pt x="33805" y="55826"/>
                        </a:lnTo>
                        <a:lnTo>
                          <a:pt x="35728" y="56958"/>
                        </a:lnTo>
                        <a:lnTo>
                          <a:pt x="40333" y="57350"/>
                        </a:lnTo>
                        <a:lnTo>
                          <a:pt x="45076" y="56771"/>
                        </a:lnTo>
                        <a:lnTo>
                          <a:pt x="55280" y="54595"/>
                        </a:lnTo>
                        <a:lnTo>
                          <a:pt x="55695" y="54326"/>
                        </a:lnTo>
                        <a:lnTo>
                          <a:pt x="56323" y="53030"/>
                        </a:lnTo>
                        <a:lnTo>
                          <a:pt x="57488" y="45158"/>
                        </a:lnTo>
                        <a:lnTo>
                          <a:pt x="58189" y="45125"/>
                        </a:lnTo>
                        <a:lnTo>
                          <a:pt x="61653" y="48768"/>
                        </a:lnTo>
                        <a:lnTo>
                          <a:pt x="62631" y="49175"/>
                        </a:lnTo>
                        <a:lnTo>
                          <a:pt x="64130" y="48401"/>
                        </a:lnTo>
                        <a:lnTo>
                          <a:pt x="65010" y="46641"/>
                        </a:lnTo>
                        <a:lnTo>
                          <a:pt x="64905" y="45801"/>
                        </a:lnTo>
                        <a:lnTo>
                          <a:pt x="62729" y="41523"/>
                        </a:lnTo>
                        <a:lnTo>
                          <a:pt x="61449" y="39665"/>
                        </a:lnTo>
                        <a:lnTo>
                          <a:pt x="60292" y="38516"/>
                        </a:lnTo>
                        <a:lnTo>
                          <a:pt x="59012" y="38133"/>
                        </a:lnTo>
                        <a:lnTo>
                          <a:pt x="56241" y="38507"/>
                        </a:lnTo>
                        <a:lnTo>
                          <a:pt x="54122" y="37676"/>
                        </a:lnTo>
                        <a:lnTo>
                          <a:pt x="53658" y="36503"/>
                        </a:lnTo>
                        <a:lnTo>
                          <a:pt x="54000" y="34913"/>
                        </a:lnTo>
                        <a:lnTo>
                          <a:pt x="55166" y="33235"/>
                        </a:lnTo>
                        <a:lnTo>
                          <a:pt x="56421" y="32273"/>
                        </a:lnTo>
                        <a:lnTo>
                          <a:pt x="58857" y="31784"/>
                        </a:lnTo>
                        <a:lnTo>
                          <a:pt x="61702" y="32273"/>
                        </a:lnTo>
                        <a:lnTo>
                          <a:pt x="65646" y="34294"/>
                        </a:lnTo>
                        <a:lnTo>
                          <a:pt x="68140" y="34742"/>
                        </a:lnTo>
                        <a:lnTo>
                          <a:pt x="71636" y="34164"/>
                        </a:lnTo>
                        <a:lnTo>
                          <a:pt x="67154" y="32974"/>
                        </a:lnTo>
                        <a:lnTo>
                          <a:pt x="60903" y="28296"/>
                        </a:lnTo>
                        <a:lnTo>
                          <a:pt x="58222" y="27416"/>
                        </a:lnTo>
                        <a:lnTo>
                          <a:pt x="54954" y="29421"/>
                        </a:lnTo>
                        <a:lnTo>
                          <a:pt x="52745" y="30187"/>
                        </a:lnTo>
                        <a:lnTo>
                          <a:pt x="48564" y="31165"/>
                        </a:lnTo>
                        <a:lnTo>
                          <a:pt x="45247" y="31303"/>
                        </a:lnTo>
                        <a:lnTo>
                          <a:pt x="31319" y="24066"/>
                        </a:lnTo>
                        <a:lnTo>
                          <a:pt x="30545" y="23373"/>
                        </a:lnTo>
                        <a:lnTo>
                          <a:pt x="29526" y="21491"/>
                        </a:lnTo>
                        <a:lnTo>
                          <a:pt x="29641" y="20611"/>
                        </a:lnTo>
                        <a:lnTo>
                          <a:pt x="31018" y="19266"/>
                        </a:lnTo>
                        <a:lnTo>
                          <a:pt x="34490" y="17489"/>
                        </a:lnTo>
                        <a:lnTo>
                          <a:pt x="39648" y="16373"/>
                        </a:lnTo>
                        <a:lnTo>
                          <a:pt x="43104" y="16202"/>
                        </a:lnTo>
                        <a:lnTo>
                          <a:pt x="46119" y="17522"/>
                        </a:lnTo>
                        <a:lnTo>
                          <a:pt x="50520" y="21116"/>
                        </a:lnTo>
                        <a:lnTo>
                          <a:pt x="54367" y="23210"/>
                        </a:lnTo>
                        <a:lnTo>
                          <a:pt x="54677" y="22461"/>
                        </a:lnTo>
                        <a:lnTo>
                          <a:pt x="54000" y="20399"/>
                        </a:lnTo>
                        <a:lnTo>
                          <a:pt x="52248" y="17326"/>
                        </a:lnTo>
                        <a:lnTo>
                          <a:pt x="50985" y="16495"/>
                        </a:lnTo>
                        <a:lnTo>
                          <a:pt x="47896" y="15574"/>
                        </a:lnTo>
                        <a:lnTo>
                          <a:pt x="45027" y="13472"/>
                        </a:lnTo>
                        <a:lnTo>
                          <a:pt x="43674" y="11907"/>
                        </a:lnTo>
                        <a:lnTo>
                          <a:pt x="42957" y="10236"/>
                        </a:lnTo>
                        <a:lnTo>
                          <a:pt x="42876" y="8451"/>
                        </a:lnTo>
                        <a:lnTo>
                          <a:pt x="43422" y="7237"/>
                        </a:lnTo>
                        <a:lnTo>
                          <a:pt x="44604" y="6577"/>
                        </a:lnTo>
                        <a:lnTo>
                          <a:pt x="55312" y="4792"/>
                        </a:lnTo>
                        <a:lnTo>
                          <a:pt x="62786" y="6772"/>
                        </a:lnTo>
                        <a:lnTo>
                          <a:pt x="67529" y="7058"/>
                        </a:lnTo>
                        <a:lnTo>
                          <a:pt x="69493" y="4629"/>
                        </a:lnTo>
                        <a:lnTo>
                          <a:pt x="68808" y="4156"/>
                        </a:lnTo>
                        <a:lnTo>
                          <a:pt x="66306" y="4776"/>
                        </a:lnTo>
                        <a:lnTo>
                          <a:pt x="63486" y="4759"/>
                        </a:lnTo>
                        <a:lnTo>
                          <a:pt x="61734" y="3431"/>
                        </a:lnTo>
                        <a:lnTo>
                          <a:pt x="61677" y="2657"/>
                        </a:lnTo>
                        <a:lnTo>
                          <a:pt x="63870" y="799"/>
                        </a:lnTo>
                        <a:close/>
                      </a:path>
                    </a:pathLst>
                  </a:custGeom>
                  <a:solidFill>
                    <a:srgbClr val="D6D6D2"/>
                  </a:solidFill>
                  <a:ln w="6112" cap="rnd">
                    <a:solidFill>
                      <a:srgbClr val="FFFFFF"/>
                    </a:solidFill>
                    <a:prstDash val="solid"/>
                    <a:round/>
                  </a:ln>
                </p:spPr>
                <p:txBody>
                  <a:bodyPr rtlCol="0" anchor="ctr"/>
                  <a:lstStyle/>
                  <a:p>
                    <a:endParaRPr lang="en-US"/>
                  </a:p>
                </p:txBody>
              </p:sp>
              <p:sp>
                <p:nvSpPr>
                  <p:cNvPr id="534" name="Freeform: Shape 533">
                    <a:extLst>
                      <a:ext uri="{FF2B5EF4-FFF2-40B4-BE49-F238E27FC236}">
                        <a16:creationId xmlns:a16="http://schemas.microsoft.com/office/drawing/2014/main" id="{A572137E-0BD6-47C8-A7E3-532812816A74}"/>
                      </a:ext>
                    </a:extLst>
                  </p:cNvPr>
                  <p:cNvSpPr/>
                  <p:nvPr/>
                </p:nvSpPr>
                <p:spPr>
                  <a:xfrm>
                    <a:off x="3710801" y="1946052"/>
                    <a:ext cx="712457" cy="522414"/>
                  </a:xfrm>
                  <a:custGeom>
                    <a:avLst/>
                    <a:gdLst>
                      <a:gd name="connsiteX0" fmla="*/ 85214 w 712457"/>
                      <a:gd name="connsiteY0" fmla="*/ 130836 h 522414"/>
                      <a:gd name="connsiteX1" fmla="*/ 86200 w 712457"/>
                      <a:gd name="connsiteY1" fmla="*/ 131830 h 522414"/>
                      <a:gd name="connsiteX2" fmla="*/ 91872 w 712457"/>
                      <a:gd name="connsiteY2" fmla="*/ 130559 h 522414"/>
                      <a:gd name="connsiteX3" fmla="*/ 96680 w 712457"/>
                      <a:gd name="connsiteY3" fmla="*/ 129100 h 522414"/>
                      <a:gd name="connsiteX4" fmla="*/ 104186 w 712457"/>
                      <a:gd name="connsiteY4" fmla="*/ 125628 h 522414"/>
                      <a:gd name="connsiteX5" fmla="*/ 108668 w 712457"/>
                      <a:gd name="connsiteY5" fmla="*/ 124422 h 522414"/>
                      <a:gd name="connsiteX6" fmla="*/ 122287 w 712457"/>
                      <a:gd name="connsiteY6" fmla="*/ 124446 h 522414"/>
                      <a:gd name="connsiteX7" fmla="*/ 124593 w 712457"/>
                      <a:gd name="connsiteY7" fmla="*/ 125107 h 522414"/>
                      <a:gd name="connsiteX8" fmla="*/ 123574 w 712457"/>
                      <a:gd name="connsiteY8" fmla="*/ 127177 h 522414"/>
                      <a:gd name="connsiteX9" fmla="*/ 123004 w 712457"/>
                      <a:gd name="connsiteY9" fmla="*/ 127763 h 522414"/>
                      <a:gd name="connsiteX10" fmla="*/ 123460 w 712457"/>
                      <a:gd name="connsiteY10" fmla="*/ 128668 h 522414"/>
                      <a:gd name="connsiteX11" fmla="*/ 124919 w 712457"/>
                      <a:gd name="connsiteY11" fmla="*/ 129882 h 522414"/>
                      <a:gd name="connsiteX12" fmla="*/ 127853 w 712457"/>
                      <a:gd name="connsiteY12" fmla="*/ 131243 h 522414"/>
                      <a:gd name="connsiteX13" fmla="*/ 129010 w 712457"/>
                      <a:gd name="connsiteY13" fmla="*/ 130029 h 522414"/>
                      <a:gd name="connsiteX14" fmla="*/ 129858 w 712457"/>
                      <a:gd name="connsiteY14" fmla="*/ 127103 h 522414"/>
                      <a:gd name="connsiteX15" fmla="*/ 131863 w 712457"/>
                      <a:gd name="connsiteY15" fmla="*/ 115082 h 522414"/>
                      <a:gd name="connsiteX16" fmla="*/ 132718 w 712457"/>
                      <a:gd name="connsiteY16" fmla="*/ 111448 h 522414"/>
                      <a:gd name="connsiteX17" fmla="*/ 133118 w 712457"/>
                      <a:gd name="connsiteY17" fmla="*/ 108000 h 522414"/>
                      <a:gd name="connsiteX18" fmla="*/ 133069 w 712457"/>
                      <a:gd name="connsiteY18" fmla="*/ 104740 h 522414"/>
                      <a:gd name="connsiteX19" fmla="*/ 132091 w 712457"/>
                      <a:gd name="connsiteY19" fmla="*/ 102679 h 522414"/>
                      <a:gd name="connsiteX20" fmla="*/ 128603 w 712457"/>
                      <a:gd name="connsiteY20" fmla="*/ 101448 h 522414"/>
                      <a:gd name="connsiteX21" fmla="*/ 123835 w 712457"/>
                      <a:gd name="connsiteY21" fmla="*/ 101660 h 522414"/>
                      <a:gd name="connsiteX22" fmla="*/ 121390 w 712457"/>
                      <a:gd name="connsiteY22" fmla="*/ 101326 h 522414"/>
                      <a:gd name="connsiteX23" fmla="*/ 118424 w 712457"/>
                      <a:gd name="connsiteY23" fmla="*/ 100682 h 522414"/>
                      <a:gd name="connsiteX24" fmla="*/ 116223 w 712457"/>
                      <a:gd name="connsiteY24" fmla="*/ 99679 h 522414"/>
                      <a:gd name="connsiteX25" fmla="*/ 114797 w 712457"/>
                      <a:gd name="connsiteY25" fmla="*/ 98327 h 522414"/>
                      <a:gd name="connsiteX26" fmla="*/ 111945 w 712457"/>
                      <a:gd name="connsiteY26" fmla="*/ 94243 h 522414"/>
                      <a:gd name="connsiteX27" fmla="*/ 109850 w 712457"/>
                      <a:gd name="connsiteY27" fmla="*/ 91970 h 522414"/>
                      <a:gd name="connsiteX28" fmla="*/ 104463 w 712457"/>
                      <a:gd name="connsiteY28" fmla="*/ 87854 h 522414"/>
                      <a:gd name="connsiteX29" fmla="*/ 102026 w 712457"/>
                      <a:gd name="connsiteY29" fmla="*/ 86477 h 522414"/>
                      <a:gd name="connsiteX30" fmla="*/ 103257 w 712457"/>
                      <a:gd name="connsiteY30" fmla="*/ 84855 h 522414"/>
                      <a:gd name="connsiteX31" fmla="*/ 108147 w 712457"/>
                      <a:gd name="connsiteY31" fmla="*/ 82989 h 522414"/>
                      <a:gd name="connsiteX32" fmla="*/ 111097 w 712457"/>
                      <a:gd name="connsiteY32" fmla="*/ 81212 h 522414"/>
                      <a:gd name="connsiteX33" fmla="*/ 114569 w 712457"/>
                      <a:gd name="connsiteY33" fmla="*/ 76021 h 522414"/>
                      <a:gd name="connsiteX34" fmla="*/ 116655 w 712457"/>
                      <a:gd name="connsiteY34" fmla="*/ 75189 h 522414"/>
                      <a:gd name="connsiteX35" fmla="*/ 124169 w 712457"/>
                      <a:gd name="connsiteY35" fmla="*/ 75874 h 522414"/>
                      <a:gd name="connsiteX36" fmla="*/ 134340 w 712457"/>
                      <a:gd name="connsiteY36" fmla="*/ 79941 h 522414"/>
                      <a:gd name="connsiteX37" fmla="*/ 140721 w 712457"/>
                      <a:gd name="connsiteY37" fmla="*/ 83461 h 522414"/>
                      <a:gd name="connsiteX38" fmla="*/ 142400 w 712457"/>
                      <a:gd name="connsiteY38" fmla="*/ 83828 h 522414"/>
                      <a:gd name="connsiteX39" fmla="*/ 142433 w 712457"/>
                      <a:gd name="connsiteY39" fmla="*/ 83184 h 522414"/>
                      <a:gd name="connsiteX40" fmla="*/ 140819 w 712457"/>
                      <a:gd name="connsiteY40" fmla="*/ 81538 h 522414"/>
                      <a:gd name="connsiteX41" fmla="*/ 133493 w 712457"/>
                      <a:gd name="connsiteY41" fmla="*/ 77186 h 522414"/>
                      <a:gd name="connsiteX42" fmla="*/ 130151 w 712457"/>
                      <a:gd name="connsiteY42" fmla="*/ 74008 h 522414"/>
                      <a:gd name="connsiteX43" fmla="*/ 128554 w 712457"/>
                      <a:gd name="connsiteY43" fmla="*/ 71742 h 522414"/>
                      <a:gd name="connsiteX44" fmla="*/ 129320 w 712457"/>
                      <a:gd name="connsiteY44" fmla="*/ 70764 h 522414"/>
                      <a:gd name="connsiteX45" fmla="*/ 133452 w 712457"/>
                      <a:gd name="connsiteY45" fmla="*/ 69762 h 522414"/>
                      <a:gd name="connsiteX46" fmla="*/ 133990 w 712457"/>
                      <a:gd name="connsiteY46" fmla="*/ 68596 h 522414"/>
                      <a:gd name="connsiteX47" fmla="*/ 128374 w 712457"/>
                      <a:gd name="connsiteY47" fmla="*/ 67235 h 522414"/>
                      <a:gd name="connsiteX48" fmla="*/ 125522 w 712457"/>
                      <a:gd name="connsiteY48" fmla="*/ 67260 h 522414"/>
                      <a:gd name="connsiteX49" fmla="*/ 123232 w 712457"/>
                      <a:gd name="connsiteY49" fmla="*/ 68238 h 522414"/>
                      <a:gd name="connsiteX50" fmla="*/ 120763 w 712457"/>
                      <a:gd name="connsiteY50" fmla="*/ 68303 h 522414"/>
                      <a:gd name="connsiteX51" fmla="*/ 116174 w 712457"/>
                      <a:gd name="connsiteY51" fmla="*/ 66526 h 522414"/>
                      <a:gd name="connsiteX52" fmla="*/ 114936 w 712457"/>
                      <a:gd name="connsiteY52" fmla="*/ 65499 h 522414"/>
                      <a:gd name="connsiteX53" fmla="*/ 112287 w 712457"/>
                      <a:gd name="connsiteY53" fmla="*/ 62427 h 522414"/>
                      <a:gd name="connsiteX54" fmla="*/ 110910 w 712457"/>
                      <a:gd name="connsiteY54" fmla="*/ 59754 h 522414"/>
                      <a:gd name="connsiteX55" fmla="*/ 109369 w 712457"/>
                      <a:gd name="connsiteY55" fmla="*/ 58099 h 522414"/>
                      <a:gd name="connsiteX56" fmla="*/ 108815 w 712457"/>
                      <a:gd name="connsiteY56" fmla="*/ 56779 h 522414"/>
                      <a:gd name="connsiteX57" fmla="*/ 108522 w 712457"/>
                      <a:gd name="connsiteY57" fmla="*/ 52672 h 522414"/>
                      <a:gd name="connsiteX58" fmla="*/ 108652 w 712457"/>
                      <a:gd name="connsiteY58" fmla="*/ 50259 h 522414"/>
                      <a:gd name="connsiteX59" fmla="*/ 109272 w 712457"/>
                      <a:gd name="connsiteY59" fmla="*/ 48198 h 522414"/>
                      <a:gd name="connsiteX60" fmla="*/ 110388 w 712457"/>
                      <a:gd name="connsiteY60" fmla="*/ 46478 h 522414"/>
                      <a:gd name="connsiteX61" fmla="*/ 113355 w 712457"/>
                      <a:gd name="connsiteY61" fmla="*/ 43291 h 522414"/>
                      <a:gd name="connsiteX62" fmla="*/ 115025 w 712457"/>
                      <a:gd name="connsiteY62" fmla="*/ 42370 h 522414"/>
                      <a:gd name="connsiteX63" fmla="*/ 118139 w 712457"/>
                      <a:gd name="connsiteY63" fmla="*/ 41955 h 522414"/>
                      <a:gd name="connsiteX64" fmla="*/ 124895 w 712457"/>
                      <a:gd name="connsiteY64" fmla="*/ 43536 h 522414"/>
                      <a:gd name="connsiteX65" fmla="*/ 143077 w 712457"/>
                      <a:gd name="connsiteY65" fmla="*/ 49224 h 522414"/>
                      <a:gd name="connsiteX66" fmla="*/ 142636 w 712457"/>
                      <a:gd name="connsiteY66" fmla="*/ 47399 h 522414"/>
                      <a:gd name="connsiteX67" fmla="*/ 122303 w 712457"/>
                      <a:gd name="connsiteY67" fmla="*/ 39706 h 522414"/>
                      <a:gd name="connsiteX68" fmla="*/ 115115 w 712457"/>
                      <a:gd name="connsiteY68" fmla="*/ 37725 h 522414"/>
                      <a:gd name="connsiteX69" fmla="*/ 113355 w 712457"/>
                      <a:gd name="connsiteY69" fmla="*/ 34938 h 522414"/>
                      <a:gd name="connsiteX70" fmla="*/ 124177 w 712457"/>
                      <a:gd name="connsiteY70" fmla="*/ 24245 h 522414"/>
                      <a:gd name="connsiteX71" fmla="*/ 134161 w 712457"/>
                      <a:gd name="connsiteY71" fmla="*/ 21735 h 522414"/>
                      <a:gd name="connsiteX72" fmla="*/ 139116 w 712457"/>
                      <a:gd name="connsiteY72" fmla="*/ 18622 h 522414"/>
                      <a:gd name="connsiteX73" fmla="*/ 147233 w 712457"/>
                      <a:gd name="connsiteY73" fmla="*/ 18484 h 522414"/>
                      <a:gd name="connsiteX74" fmla="*/ 154853 w 712457"/>
                      <a:gd name="connsiteY74" fmla="*/ 20464 h 522414"/>
                      <a:gd name="connsiteX75" fmla="*/ 154983 w 712457"/>
                      <a:gd name="connsiteY75" fmla="*/ 19918 h 522414"/>
                      <a:gd name="connsiteX76" fmla="*/ 151544 w 712457"/>
                      <a:gd name="connsiteY76" fmla="*/ 16202 h 522414"/>
                      <a:gd name="connsiteX77" fmla="*/ 151821 w 712457"/>
                      <a:gd name="connsiteY77" fmla="*/ 15264 h 522414"/>
                      <a:gd name="connsiteX78" fmla="*/ 156141 w 712457"/>
                      <a:gd name="connsiteY78" fmla="*/ 13048 h 522414"/>
                      <a:gd name="connsiteX79" fmla="*/ 164062 w 712457"/>
                      <a:gd name="connsiteY79" fmla="*/ 10448 h 522414"/>
                      <a:gd name="connsiteX80" fmla="*/ 173736 w 712457"/>
                      <a:gd name="connsiteY80" fmla="*/ 8370 h 522414"/>
                      <a:gd name="connsiteX81" fmla="*/ 175651 w 712457"/>
                      <a:gd name="connsiteY81" fmla="*/ 7286 h 522414"/>
                      <a:gd name="connsiteX82" fmla="*/ 178129 w 712457"/>
                      <a:gd name="connsiteY82" fmla="*/ 6528 h 522414"/>
                      <a:gd name="connsiteX83" fmla="*/ 182684 w 712457"/>
                      <a:gd name="connsiteY83" fmla="*/ 5868 h 522414"/>
                      <a:gd name="connsiteX84" fmla="*/ 194013 w 712457"/>
                      <a:gd name="connsiteY84" fmla="*/ 5550 h 522414"/>
                      <a:gd name="connsiteX85" fmla="*/ 200385 w 712457"/>
                      <a:gd name="connsiteY85" fmla="*/ 5860 h 522414"/>
                      <a:gd name="connsiteX86" fmla="*/ 208829 w 712457"/>
                      <a:gd name="connsiteY86" fmla="*/ 7433 h 522414"/>
                      <a:gd name="connsiteX87" fmla="*/ 213776 w 712457"/>
                      <a:gd name="connsiteY87" fmla="*/ 10309 h 522414"/>
                      <a:gd name="connsiteX88" fmla="*/ 215316 w 712457"/>
                      <a:gd name="connsiteY88" fmla="*/ 12029 h 522414"/>
                      <a:gd name="connsiteX89" fmla="*/ 217932 w 712457"/>
                      <a:gd name="connsiteY89" fmla="*/ 17538 h 522414"/>
                      <a:gd name="connsiteX90" fmla="*/ 220084 w 712457"/>
                      <a:gd name="connsiteY90" fmla="*/ 25256 h 522414"/>
                      <a:gd name="connsiteX91" fmla="*/ 223221 w 712457"/>
                      <a:gd name="connsiteY91" fmla="*/ 28451 h 522414"/>
                      <a:gd name="connsiteX92" fmla="*/ 228266 w 712457"/>
                      <a:gd name="connsiteY92" fmla="*/ 30219 h 522414"/>
                      <a:gd name="connsiteX93" fmla="*/ 231754 w 712457"/>
                      <a:gd name="connsiteY93" fmla="*/ 32134 h 522414"/>
                      <a:gd name="connsiteX94" fmla="*/ 233677 w 712457"/>
                      <a:gd name="connsiteY94" fmla="*/ 34213 h 522414"/>
                      <a:gd name="connsiteX95" fmla="*/ 234191 w 712457"/>
                      <a:gd name="connsiteY95" fmla="*/ 36821 h 522414"/>
                      <a:gd name="connsiteX96" fmla="*/ 233294 w 712457"/>
                      <a:gd name="connsiteY96" fmla="*/ 39966 h 522414"/>
                      <a:gd name="connsiteX97" fmla="*/ 233963 w 712457"/>
                      <a:gd name="connsiteY97" fmla="*/ 43169 h 522414"/>
                      <a:gd name="connsiteX98" fmla="*/ 236220 w 712457"/>
                      <a:gd name="connsiteY98" fmla="*/ 46470 h 522414"/>
                      <a:gd name="connsiteX99" fmla="*/ 237964 w 712457"/>
                      <a:gd name="connsiteY99" fmla="*/ 48328 h 522414"/>
                      <a:gd name="connsiteX100" fmla="*/ 241770 w 712457"/>
                      <a:gd name="connsiteY100" fmla="*/ 50455 h 522414"/>
                      <a:gd name="connsiteX101" fmla="*/ 241827 w 712457"/>
                      <a:gd name="connsiteY101" fmla="*/ 51596 h 522414"/>
                      <a:gd name="connsiteX102" fmla="*/ 240645 w 712457"/>
                      <a:gd name="connsiteY102" fmla="*/ 52900 h 522414"/>
                      <a:gd name="connsiteX103" fmla="*/ 238119 w 712457"/>
                      <a:gd name="connsiteY103" fmla="*/ 54677 h 522414"/>
                      <a:gd name="connsiteX104" fmla="*/ 231901 w 712457"/>
                      <a:gd name="connsiteY104" fmla="*/ 60227 h 522414"/>
                      <a:gd name="connsiteX105" fmla="*/ 223881 w 712457"/>
                      <a:gd name="connsiteY105" fmla="*/ 66314 h 522414"/>
                      <a:gd name="connsiteX106" fmla="*/ 218160 w 712457"/>
                      <a:gd name="connsiteY106" fmla="*/ 71579 h 522414"/>
                      <a:gd name="connsiteX107" fmla="*/ 217875 w 712457"/>
                      <a:gd name="connsiteY107" fmla="*/ 73128 h 522414"/>
                      <a:gd name="connsiteX108" fmla="*/ 229782 w 712457"/>
                      <a:gd name="connsiteY108" fmla="*/ 64888 h 522414"/>
                      <a:gd name="connsiteX109" fmla="*/ 233482 w 712457"/>
                      <a:gd name="connsiteY109" fmla="*/ 65182 h 522414"/>
                      <a:gd name="connsiteX110" fmla="*/ 233653 w 712457"/>
                      <a:gd name="connsiteY110" fmla="*/ 66331 h 522414"/>
                      <a:gd name="connsiteX111" fmla="*/ 231224 w 712457"/>
                      <a:gd name="connsiteY111" fmla="*/ 70348 h 522414"/>
                      <a:gd name="connsiteX112" fmla="*/ 228274 w 712457"/>
                      <a:gd name="connsiteY112" fmla="*/ 73934 h 522414"/>
                      <a:gd name="connsiteX113" fmla="*/ 225307 w 712457"/>
                      <a:gd name="connsiteY113" fmla="*/ 76233 h 522414"/>
                      <a:gd name="connsiteX114" fmla="*/ 225845 w 712457"/>
                      <a:gd name="connsiteY114" fmla="*/ 77105 h 522414"/>
                      <a:gd name="connsiteX115" fmla="*/ 231493 w 712457"/>
                      <a:gd name="connsiteY115" fmla="*/ 81131 h 522414"/>
                      <a:gd name="connsiteX116" fmla="*/ 230458 w 712457"/>
                      <a:gd name="connsiteY116" fmla="*/ 81791 h 522414"/>
                      <a:gd name="connsiteX117" fmla="*/ 227736 w 712457"/>
                      <a:gd name="connsiteY117" fmla="*/ 81457 h 522414"/>
                      <a:gd name="connsiteX118" fmla="*/ 226611 w 712457"/>
                      <a:gd name="connsiteY118" fmla="*/ 81823 h 522414"/>
                      <a:gd name="connsiteX119" fmla="*/ 225805 w 712457"/>
                      <a:gd name="connsiteY119" fmla="*/ 82557 h 522414"/>
                      <a:gd name="connsiteX120" fmla="*/ 225299 w 712457"/>
                      <a:gd name="connsiteY120" fmla="*/ 83649 h 522414"/>
                      <a:gd name="connsiteX121" fmla="*/ 225267 w 712457"/>
                      <a:gd name="connsiteY121" fmla="*/ 85214 h 522414"/>
                      <a:gd name="connsiteX122" fmla="*/ 225699 w 712457"/>
                      <a:gd name="connsiteY122" fmla="*/ 87202 h 522414"/>
                      <a:gd name="connsiteX123" fmla="*/ 225658 w 712457"/>
                      <a:gd name="connsiteY123" fmla="*/ 88694 h 522414"/>
                      <a:gd name="connsiteX124" fmla="*/ 225136 w 712457"/>
                      <a:gd name="connsiteY124" fmla="*/ 89680 h 522414"/>
                      <a:gd name="connsiteX125" fmla="*/ 225699 w 712457"/>
                      <a:gd name="connsiteY125" fmla="*/ 90087 h 522414"/>
                      <a:gd name="connsiteX126" fmla="*/ 227353 w 712457"/>
                      <a:gd name="connsiteY126" fmla="*/ 89908 h 522414"/>
                      <a:gd name="connsiteX127" fmla="*/ 228747 w 712457"/>
                      <a:gd name="connsiteY127" fmla="*/ 89101 h 522414"/>
                      <a:gd name="connsiteX128" fmla="*/ 231151 w 712457"/>
                      <a:gd name="connsiteY128" fmla="*/ 86403 h 522414"/>
                      <a:gd name="connsiteX129" fmla="*/ 239072 w 712457"/>
                      <a:gd name="connsiteY129" fmla="*/ 79052 h 522414"/>
                      <a:gd name="connsiteX130" fmla="*/ 244133 w 712457"/>
                      <a:gd name="connsiteY130" fmla="*/ 76306 h 522414"/>
                      <a:gd name="connsiteX131" fmla="*/ 245763 w 712457"/>
                      <a:gd name="connsiteY131" fmla="*/ 76061 h 522414"/>
                      <a:gd name="connsiteX132" fmla="*/ 250425 w 712457"/>
                      <a:gd name="connsiteY132" fmla="*/ 77846 h 522414"/>
                      <a:gd name="connsiteX133" fmla="*/ 251509 w 712457"/>
                      <a:gd name="connsiteY133" fmla="*/ 77748 h 522414"/>
                      <a:gd name="connsiteX134" fmla="*/ 246391 w 712457"/>
                      <a:gd name="connsiteY134" fmla="*/ 72076 h 522414"/>
                      <a:gd name="connsiteX135" fmla="*/ 245951 w 712457"/>
                      <a:gd name="connsiteY135" fmla="*/ 70642 h 522414"/>
                      <a:gd name="connsiteX136" fmla="*/ 246986 w 712457"/>
                      <a:gd name="connsiteY136" fmla="*/ 68523 h 522414"/>
                      <a:gd name="connsiteX137" fmla="*/ 247613 w 712457"/>
                      <a:gd name="connsiteY137" fmla="*/ 67790 h 522414"/>
                      <a:gd name="connsiteX138" fmla="*/ 250466 w 712457"/>
                      <a:gd name="connsiteY138" fmla="*/ 66217 h 522414"/>
                      <a:gd name="connsiteX139" fmla="*/ 252829 w 712457"/>
                      <a:gd name="connsiteY139" fmla="*/ 65393 h 522414"/>
                      <a:gd name="connsiteX140" fmla="*/ 254158 w 712457"/>
                      <a:gd name="connsiteY140" fmla="*/ 65736 h 522414"/>
                      <a:gd name="connsiteX141" fmla="*/ 256252 w 712457"/>
                      <a:gd name="connsiteY141" fmla="*/ 68629 h 522414"/>
                      <a:gd name="connsiteX142" fmla="*/ 257238 w 712457"/>
                      <a:gd name="connsiteY142" fmla="*/ 70642 h 522414"/>
                      <a:gd name="connsiteX143" fmla="*/ 258974 w 712457"/>
                      <a:gd name="connsiteY143" fmla="*/ 71441 h 522414"/>
                      <a:gd name="connsiteX144" fmla="*/ 262853 w 712457"/>
                      <a:gd name="connsiteY144" fmla="*/ 70406 h 522414"/>
                      <a:gd name="connsiteX145" fmla="*/ 265429 w 712457"/>
                      <a:gd name="connsiteY145" fmla="*/ 67944 h 522414"/>
                      <a:gd name="connsiteX146" fmla="*/ 268632 w 712457"/>
                      <a:gd name="connsiteY146" fmla="*/ 69550 h 522414"/>
                      <a:gd name="connsiteX147" fmla="*/ 273440 w 712457"/>
                      <a:gd name="connsiteY147" fmla="*/ 73405 h 522414"/>
                      <a:gd name="connsiteX148" fmla="*/ 273000 w 712457"/>
                      <a:gd name="connsiteY148" fmla="*/ 77235 h 522414"/>
                      <a:gd name="connsiteX149" fmla="*/ 273008 w 712457"/>
                      <a:gd name="connsiteY149" fmla="*/ 81090 h 522414"/>
                      <a:gd name="connsiteX150" fmla="*/ 273252 w 712457"/>
                      <a:gd name="connsiteY150" fmla="*/ 83893 h 522414"/>
                      <a:gd name="connsiteX151" fmla="*/ 279006 w 712457"/>
                      <a:gd name="connsiteY151" fmla="*/ 89044 h 522414"/>
                      <a:gd name="connsiteX152" fmla="*/ 283007 w 712457"/>
                      <a:gd name="connsiteY152" fmla="*/ 91301 h 522414"/>
                      <a:gd name="connsiteX153" fmla="*/ 283741 w 712457"/>
                      <a:gd name="connsiteY153" fmla="*/ 91326 h 522414"/>
                      <a:gd name="connsiteX154" fmla="*/ 283643 w 712457"/>
                      <a:gd name="connsiteY154" fmla="*/ 90544 h 522414"/>
                      <a:gd name="connsiteX155" fmla="*/ 282812 w 712457"/>
                      <a:gd name="connsiteY155" fmla="*/ 88840 h 522414"/>
                      <a:gd name="connsiteX156" fmla="*/ 280612 w 712457"/>
                      <a:gd name="connsiteY156" fmla="*/ 87129 h 522414"/>
                      <a:gd name="connsiteX157" fmla="*/ 278639 w 712457"/>
                      <a:gd name="connsiteY157" fmla="*/ 84480 h 522414"/>
                      <a:gd name="connsiteX158" fmla="*/ 276855 w 712457"/>
                      <a:gd name="connsiteY158" fmla="*/ 81245 h 522414"/>
                      <a:gd name="connsiteX159" fmla="*/ 277914 w 712457"/>
                      <a:gd name="connsiteY159" fmla="*/ 73698 h 522414"/>
                      <a:gd name="connsiteX160" fmla="*/ 280905 w 712457"/>
                      <a:gd name="connsiteY160" fmla="*/ 69762 h 522414"/>
                      <a:gd name="connsiteX161" fmla="*/ 283806 w 712457"/>
                      <a:gd name="connsiteY161" fmla="*/ 70772 h 522414"/>
                      <a:gd name="connsiteX162" fmla="*/ 287620 w 712457"/>
                      <a:gd name="connsiteY162" fmla="*/ 73038 h 522414"/>
                      <a:gd name="connsiteX163" fmla="*/ 290628 w 712457"/>
                      <a:gd name="connsiteY163" fmla="*/ 73258 h 522414"/>
                      <a:gd name="connsiteX164" fmla="*/ 295363 w 712457"/>
                      <a:gd name="connsiteY164" fmla="*/ 73013 h 522414"/>
                      <a:gd name="connsiteX165" fmla="*/ 305044 w 712457"/>
                      <a:gd name="connsiteY165" fmla="*/ 77618 h 522414"/>
                      <a:gd name="connsiteX166" fmla="*/ 310244 w 712457"/>
                      <a:gd name="connsiteY166" fmla="*/ 77724 h 522414"/>
                      <a:gd name="connsiteX167" fmla="*/ 309771 w 712457"/>
                      <a:gd name="connsiteY167" fmla="*/ 75841 h 522414"/>
                      <a:gd name="connsiteX168" fmla="*/ 305827 w 712457"/>
                      <a:gd name="connsiteY168" fmla="*/ 74937 h 522414"/>
                      <a:gd name="connsiteX169" fmla="*/ 300081 w 712457"/>
                      <a:gd name="connsiteY169" fmla="*/ 72402 h 522414"/>
                      <a:gd name="connsiteX170" fmla="*/ 291125 w 712457"/>
                      <a:gd name="connsiteY170" fmla="*/ 69371 h 522414"/>
                      <a:gd name="connsiteX171" fmla="*/ 287017 w 712457"/>
                      <a:gd name="connsiteY171" fmla="*/ 65899 h 522414"/>
                      <a:gd name="connsiteX172" fmla="*/ 286243 w 712457"/>
                      <a:gd name="connsiteY172" fmla="*/ 64269 h 522414"/>
                      <a:gd name="connsiteX173" fmla="*/ 286357 w 712457"/>
                      <a:gd name="connsiteY173" fmla="*/ 62517 h 522414"/>
                      <a:gd name="connsiteX174" fmla="*/ 286871 w 712457"/>
                      <a:gd name="connsiteY174" fmla="*/ 60968 h 522414"/>
                      <a:gd name="connsiteX175" fmla="*/ 287775 w 712457"/>
                      <a:gd name="connsiteY175" fmla="*/ 59623 h 522414"/>
                      <a:gd name="connsiteX176" fmla="*/ 289568 w 712457"/>
                      <a:gd name="connsiteY176" fmla="*/ 58303 h 522414"/>
                      <a:gd name="connsiteX177" fmla="*/ 298223 w 712457"/>
                      <a:gd name="connsiteY177" fmla="*/ 54277 h 522414"/>
                      <a:gd name="connsiteX178" fmla="*/ 304376 w 712457"/>
                      <a:gd name="connsiteY178" fmla="*/ 52558 h 522414"/>
                      <a:gd name="connsiteX179" fmla="*/ 308997 w 712457"/>
                      <a:gd name="connsiteY179" fmla="*/ 52003 h 522414"/>
                      <a:gd name="connsiteX180" fmla="*/ 316715 w 712457"/>
                      <a:gd name="connsiteY180" fmla="*/ 52044 h 522414"/>
                      <a:gd name="connsiteX181" fmla="*/ 325696 w 712457"/>
                      <a:gd name="connsiteY181" fmla="*/ 52745 h 522414"/>
                      <a:gd name="connsiteX182" fmla="*/ 330553 w 712457"/>
                      <a:gd name="connsiteY182" fmla="*/ 53927 h 522414"/>
                      <a:gd name="connsiteX183" fmla="*/ 336120 w 712457"/>
                      <a:gd name="connsiteY183" fmla="*/ 56779 h 522414"/>
                      <a:gd name="connsiteX184" fmla="*/ 343177 w 712457"/>
                      <a:gd name="connsiteY184" fmla="*/ 59599 h 522414"/>
                      <a:gd name="connsiteX185" fmla="*/ 345687 w 712457"/>
                      <a:gd name="connsiteY185" fmla="*/ 60088 h 522414"/>
                      <a:gd name="connsiteX186" fmla="*/ 348629 w 712457"/>
                      <a:gd name="connsiteY186" fmla="*/ 60031 h 522414"/>
                      <a:gd name="connsiteX187" fmla="*/ 351995 w 712457"/>
                      <a:gd name="connsiteY187" fmla="*/ 59395 h 522414"/>
                      <a:gd name="connsiteX188" fmla="*/ 355190 w 712457"/>
                      <a:gd name="connsiteY188" fmla="*/ 59623 h 522414"/>
                      <a:gd name="connsiteX189" fmla="*/ 365361 w 712457"/>
                      <a:gd name="connsiteY189" fmla="*/ 63804 h 522414"/>
                      <a:gd name="connsiteX190" fmla="*/ 368050 w 712457"/>
                      <a:gd name="connsiteY190" fmla="*/ 65948 h 522414"/>
                      <a:gd name="connsiteX191" fmla="*/ 369680 w 712457"/>
                      <a:gd name="connsiteY191" fmla="*/ 68547 h 522414"/>
                      <a:gd name="connsiteX192" fmla="*/ 370886 w 712457"/>
                      <a:gd name="connsiteY192" fmla="*/ 71066 h 522414"/>
                      <a:gd name="connsiteX193" fmla="*/ 371669 w 712457"/>
                      <a:gd name="connsiteY193" fmla="*/ 73511 h 522414"/>
                      <a:gd name="connsiteX194" fmla="*/ 371351 w 712457"/>
                      <a:gd name="connsiteY194" fmla="*/ 75499 h 522414"/>
                      <a:gd name="connsiteX195" fmla="*/ 362883 w 712457"/>
                      <a:gd name="connsiteY195" fmla="*/ 84040 h 522414"/>
                      <a:gd name="connsiteX196" fmla="*/ 359191 w 712457"/>
                      <a:gd name="connsiteY196" fmla="*/ 85499 h 522414"/>
                      <a:gd name="connsiteX197" fmla="*/ 356763 w 712457"/>
                      <a:gd name="connsiteY197" fmla="*/ 88734 h 522414"/>
                      <a:gd name="connsiteX198" fmla="*/ 353128 w 712457"/>
                      <a:gd name="connsiteY198" fmla="*/ 94863 h 522414"/>
                      <a:gd name="connsiteX199" fmla="*/ 350056 w 712457"/>
                      <a:gd name="connsiteY199" fmla="*/ 98131 h 522414"/>
                      <a:gd name="connsiteX200" fmla="*/ 349770 w 712457"/>
                      <a:gd name="connsiteY200" fmla="*/ 98775 h 522414"/>
                      <a:gd name="connsiteX201" fmla="*/ 350414 w 712457"/>
                      <a:gd name="connsiteY201" fmla="*/ 98938 h 522414"/>
                      <a:gd name="connsiteX202" fmla="*/ 352272 w 712457"/>
                      <a:gd name="connsiteY202" fmla="*/ 97463 h 522414"/>
                      <a:gd name="connsiteX203" fmla="*/ 355459 w 712457"/>
                      <a:gd name="connsiteY203" fmla="*/ 93241 h 522414"/>
                      <a:gd name="connsiteX204" fmla="*/ 357781 w 712457"/>
                      <a:gd name="connsiteY204" fmla="*/ 89590 h 522414"/>
                      <a:gd name="connsiteX205" fmla="*/ 362036 w 712457"/>
                      <a:gd name="connsiteY205" fmla="*/ 86583 h 522414"/>
                      <a:gd name="connsiteX206" fmla="*/ 368996 w 712457"/>
                      <a:gd name="connsiteY206" fmla="*/ 82981 h 522414"/>
                      <a:gd name="connsiteX207" fmla="*/ 375059 w 712457"/>
                      <a:gd name="connsiteY207" fmla="*/ 81261 h 522414"/>
                      <a:gd name="connsiteX208" fmla="*/ 380226 w 712457"/>
                      <a:gd name="connsiteY208" fmla="*/ 81424 h 522414"/>
                      <a:gd name="connsiteX209" fmla="*/ 384570 w 712457"/>
                      <a:gd name="connsiteY209" fmla="*/ 81946 h 522414"/>
                      <a:gd name="connsiteX210" fmla="*/ 388098 w 712457"/>
                      <a:gd name="connsiteY210" fmla="*/ 82818 h 522414"/>
                      <a:gd name="connsiteX211" fmla="*/ 390193 w 712457"/>
                      <a:gd name="connsiteY211" fmla="*/ 83551 h 522414"/>
                      <a:gd name="connsiteX212" fmla="*/ 390853 w 712457"/>
                      <a:gd name="connsiteY212" fmla="*/ 84138 h 522414"/>
                      <a:gd name="connsiteX213" fmla="*/ 392263 w 712457"/>
                      <a:gd name="connsiteY213" fmla="*/ 86844 h 522414"/>
                      <a:gd name="connsiteX214" fmla="*/ 392189 w 712457"/>
                      <a:gd name="connsiteY214" fmla="*/ 88669 h 522414"/>
                      <a:gd name="connsiteX215" fmla="*/ 391301 w 712457"/>
                      <a:gd name="connsiteY215" fmla="*/ 90723 h 522414"/>
                      <a:gd name="connsiteX216" fmla="*/ 389631 w 712457"/>
                      <a:gd name="connsiteY216" fmla="*/ 93046 h 522414"/>
                      <a:gd name="connsiteX217" fmla="*/ 382051 w 712457"/>
                      <a:gd name="connsiteY217" fmla="*/ 95629 h 522414"/>
                      <a:gd name="connsiteX218" fmla="*/ 377895 w 712457"/>
                      <a:gd name="connsiteY218" fmla="*/ 97650 h 522414"/>
                      <a:gd name="connsiteX219" fmla="*/ 375312 w 712457"/>
                      <a:gd name="connsiteY219" fmla="*/ 98400 h 522414"/>
                      <a:gd name="connsiteX220" fmla="*/ 367586 w 712457"/>
                      <a:gd name="connsiteY220" fmla="*/ 99142 h 522414"/>
                      <a:gd name="connsiteX221" fmla="*/ 367920 w 712457"/>
                      <a:gd name="connsiteY221" fmla="*/ 99948 h 522414"/>
                      <a:gd name="connsiteX222" fmla="*/ 373665 w 712457"/>
                      <a:gd name="connsiteY222" fmla="*/ 101040 h 522414"/>
                      <a:gd name="connsiteX223" fmla="*/ 380079 w 712457"/>
                      <a:gd name="connsiteY223" fmla="*/ 100674 h 522414"/>
                      <a:gd name="connsiteX224" fmla="*/ 379916 w 712457"/>
                      <a:gd name="connsiteY224" fmla="*/ 101978 h 522414"/>
                      <a:gd name="connsiteX225" fmla="*/ 376901 w 712457"/>
                      <a:gd name="connsiteY225" fmla="*/ 105433 h 522414"/>
                      <a:gd name="connsiteX226" fmla="*/ 375931 w 712457"/>
                      <a:gd name="connsiteY226" fmla="*/ 108449 h 522414"/>
                      <a:gd name="connsiteX227" fmla="*/ 376762 w 712457"/>
                      <a:gd name="connsiteY227" fmla="*/ 110902 h 522414"/>
                      <a:gd name="connsiteX228" fmla="*/ 376607 w 712457"/>
                      <a:gd name="connsiteY228" fmla="*/ 112906 h 522414"/>
                      <a:gd name="connsiteX229" fmla="*/ 374366 w 712457"/>
                      <a:gd name="connsiteY229" fmla="*/ 117103 h 522414"/>
                      <a:gd name="connsiteX230" fmla="*/ 371783 w 712457"/>
                      <a:gd name="connsiteY230" fmla="*/ 120885 h 522414"/>
                      <a:gd name="connsiteX231" fmla="*/ 372753 w 712457"/>
                      <a:gd name="connsiteY231" fmla="*/ 121455 h 522414"/>
                      <a:gd name="connsiteX232" fmla="*/ 378637 w 712457"/>
                      <a:gd name="connsiteY232" fmla="*/ 116011 h 522414"/>
                      <a:gd name="connsiteX233" fmla="*/ 380218 w 712457"/>
                      <a:gd name="connsiteY233" fmla="*/ 110054 h 522414"/>
                      <a:gd name="connsiteX234" fmla="*/ 382589 w 712457"/>
                      <a:gd name="connsiteY234" fmla="*/ 104806 h 522414"/>
                      <a:gd name="connsiteX235" fmla="*/ 385352 w 712457"/>
                      <a:gd name="connsiteY235" fmla="*/ 101912 h 522414"/>
                      <a:gd name="connsiteX236" fmla="*/ 387438 w 712457"/>
                      <a:gd name="connsiteY236" fmla="*/ 100812 h 522414"/>
                      <a:gd name="connsiteX237" fmla="*/ 394015 w 712457"/>
                      <a:gd name="connsiteY237" fmla="*/ 100364 h 522414"/>
                      <a:gd name="connsiteX238" fmla="*/ 397658 w 712457"/>
                      <a:gd name="connsiteY238" fmla="*/ 97300 h 522414"/>
                      <a:gd name="connsiteX239" fmla="*/ 400771 w 712457"/>
                      <a:gd name="connsiteY239" fmla="*/ 96322 h 522414"/>
                      <a:gd name="connsiteX240" fmla="*/ 402075 w 712457"/>
                      <a:gd name="connsiteY240" fmla="*/ 96305 h 522414"/>
                      <a:gd name="connsiteX241" fmla="*/ 404724 w 712457"/>
                      <a:gd name="connsiteY241" fmla="*/ 97446 h 522414"/>
                      <a:gd name="connsiteX242" fmla="*/ 404561 w 712457"/>
                      <a:gd name="connsiteY242" fmla="*/ 98653 h 522414"/>
                      <a:gd name="connsiteX243" fmla="*/ 400722 w 712457"/>
                      <a:gd name="connsiteY243" fmla="*/ 104145 h 522414"/>
                      <a:gd name="connsiteX244" fmla="*/ 392572 w 712457"/>
                      <a:gd name="connsiteY244" fmla="*/ 113012 h 522414"/>
                      <a:gd name="connsiteX245" fmla="*/ 395890 w 712457"/>
                      <a:gd name="connsiteY245" fmla="*/ 112010 h 522414"/>
                      <a:gd name="connsiteX246" fmla="*/ 398139 w 712457"/>
                      <a:gd name="connsiteY246" fmla="*/ 109899 h 522414"/>
                      <a:gd name="connsiteX247" fmla="*/ 401162 w 712457"/>
                      <a:gd name="connsiteY247" fmla="*/ 107797 h 522414"/>
                      <a:gd name="connsiteX248" fmla="*/ 404585 w 712457"/>
                      <a:gd name="connsiteY248" fmla="*/ 104675 h 522414"/>
                      <a:gd name="connsiteX249" fmla="*/ 406843 w 712457"/>
                      <a:gd name="connsiteY249" fmla="*/ 107503 h 522414"/>
                      <a:gd name="connsiteX250" fmla="*/ 410323 w 712457"/>
                      <a:gd name="connsiteY250" fmla="*/ 109606 h 522414"/>
                      <a:gd name="connsiteX251" fmla="*/ 412401 w 712457"/>
                      <a:gd name="connsiteY251" fmla="*/ 114414 h 522414"/>
                      <a:gd name="connsiteX252" fmla="*/ 415758 w 712457"/>
                      <a:gd name="connsiteY252" fmla="*/ 116720 h 522414"/>
                      <a:gd name="connsiteX253" fmla="*/ 417788 w 712457"/>
                      <a:gd name="connsiteY253" fmla="*/ 118522 h 522414"/>
                      <a:gd name="connsiteX254" fmla="*/ 417494 w 712457"/>
                      <a:gd name="connsiteY254" fmla="*/ 115482 h 522414"/>
                      <a:gd name="connsiteX255" fmla="*/ 414561 w 712457"/>
                      <a:gd name="connsiteY255" fmla="*/ 109369 h 522414"/>
                      <a:gd name="connsiteX256" fmla="*/ 415359 w 712457"/>
                      <a:gd name="connsiteY256" fmla="*/ 106941 h 522414"/>
                      <a:gd name="connsiteX257" fmla="*/ 417625 w 712457"/>
                      <a:gd name="connsiteY257" fmla="*/ 105710 h 522414"/>
                      <a:gd name="connsiteX258" fmla="*/ 424699 w 712457"/>
                      <a:gd name="connsiteY258" fmla="*/ 100568 h 522414"/>
                      <a:gd name="connsiteX259" fmla="*/ 429621 w 712457"/>
                      <a:gd name="connsiteY259" fmla="*/ 102287 h 522414"/>
                      <a:gd name="connsiteX260" fmla="*/ 432669 w 712457"/>
                      <a:gd name="connsiteY260" fmla="*/ 103803 h 522414"/>
                      <a:gd name="connsiteX261" fmla="*/ 434185 w 712457"/>
                      <a:gd name="connsiteY261" fmla="*/ 103404 h 522414"/>
                      <a:gd name="connsiteX262" fmla="*/ 438024 w 712457"/>
                      <a:gd name="connsiteY262" fmla="*/ 103616 h 522414"/>
                      <a:gd name="connsiteX263" fmla="*/ 444177 w 712457"/>
                      <a:gd name="connsiteY263" fmla="*/ 104439 h 522414"/>
                      <a:gd name="connsiteX264" fmla="*/ 450159 w 712457"/>
                      <a:gd name="connsiteY264" fmla="*/ 105881 h 522414"/>
                      <a:gd name="connsiteX265" fmla="*/ 455978 w 712457"/>
                      <a:gd name="connsiteY265" fmla="*/ 107927 h 522414"/>
                      <a:gd name="connsiteX266" fmla="*/ 460460 w 712457"/>
                      <a:gd name="connsiteY266" fmla="*/ 110315 h 522414"/>
                      <a:gd name="connsiteX267" fmla="*/ 463606 w 712457"/>
                      <a:gd name="connsiteY267" fmla="*/ 113053 h 522414"/>
                      <a:gd name="connsiteX268" fmla="*/ 465513 w 712457"/>
                      <a:gd name="connsiteY268" fmla="*/ 114944 h 522414"/>
                      <a:gd name="connsiteX269" fmla="*/ 466181 w 712457"/>
                      <a:gd name="connsiteY269" fmla="*/ 115987 h 522414"/>
                      <a:gd name="connsiteX270" fmla="*/ 467240 w 712457"/>
                      <a:gd name="connsiteY270" fmla="*/ 118701 h 522414"/>
                      <a:gd name="connsiteX271" fmla="*/ 466425 w 712457"/>
                      <a:gd name="connsiteY271" fmla="*/ 120518 h 522414"/>
                      <a:gd name="connsiteX272" fmla="*/ 462033 w 712457"/>
                      <a:gd name="connsiteY272" fmla="*/ 124675 h 522414"/>
                      <a:gd name="connsiteX273" fmla="*/ 459596 w 712457"/>
                      <a:gd name="connsiteY273" fmla="*/ 126574 h 522414"/>
                      <a:gd name="connsiteX274" fmla="*/ 457159 w 712457"/>
                      <a:gd name="connsiteY274" fmla="*/ 127413 h 522414"/>
                      <a:gd name="connsiteX275" fmla="*/ 450631 w 712457"/>
                      <a:gd name="connsiteY275" fmla="*/ 126582 h 522414"/>
                      <a:gd name="connsiteX276" fmla="*/ 448610 w 712457"/>
                      <a:gd name="connsiteY276" fmla="*/ 127062 h 522414"/>
                      <a:gd name="connsiteX277" fmla="*/ 446475 w 712457"/>
                      <a:gd name="connsiteY277" fmla="*/ 128366 h 522414"/>
                      <a:gd name="connsiteX278" fmla="*/ 439686 w 712457"/>
                      <a:gd name="connsiteY278" fmla="*/ 134079 h 522414"/>
                      <a:gd name="connsiteX279" fmla="*/ 435921 w 712457"/>
                      <a:gd name="connsiteY279" fmla="*/ 136549 h 522414"/>
                      <a:gd name="connsiteX280" fmla="*/ 432237 w 712457"/>
                      <a:gd name="connsiteY280" fmla="*/ 138130 h 522414"/>
                      <a:gd name="connsiteX281" fmla="*/ 431374 w 712457"/>
                      <a:gd name="connsiteY281" fmla="*/ 138953 h 522414"/>
                      <a:gd name="connsiteX282" fmla="*/ 439311 w 712457"/>
                      <a:gd name="connsiteY282" fmla="*/ 138871 h 522414"/>
                      <a:gd name="connsiteX283" fmla="*/ 441512 w 712457"/>
                      <a:gd name="connsiteY283" fmla="*/ 137176 h 522414"/>
                      <a:gd name="connsiteX284" fmla="*/ 443345 w 712457"/>
                      <a:gd name="connsiteY284" fmla="*/ 133998 h 522414"/>
                      <a:gd name="connsiteX285" fmla="*/ 446842 w 712457"/>
                      <a:gd name="connsiteY285" fmla="*/ 130714 h 522414"/>
                      <a:gd name="connsiteX286" fmla="*/ 453451 w 712457"/>
                      <a:gd name="connsiteY286" fmla="*/ 129206 h 522414"/>
                      <a:gd name="connsiteX287" fmla="*/ 462677 w 712457"/>
                      <a:gd name="connsiteY287" fmla="*/ 132441 h 522414"/>
                      <a:gd name="connsiteX288" fmla="*/ 467249 w 712457"/>
                      <a:gd name="connsiteY288" fmla="*/ 132319 h 522414"/>
                      <a:gd name="connsiteX289" fmla="*/ 470745 w 712457"/>
                      <a:gd name="connsiteY289" fmla="*/ 129067 h 522414"/>
                      <a:gd name="connsiteX290" fmla="*/ 474640 w 712457"/>
                      <a:gd name="connsiteY290" fmla="*/ 126842 h 522414"/>
                      <a:gd name="connsiteX291" fmla="*/ 476181 w 712457"/>
                      <a:gd name="connsiteY291" fmla="*/ 126402 h 522414"/>
                      <a:gd name="connsiteX292" fmla="*/ 477012 w 712457"/>
                      <a:gd name="connsiteY292" fmla="*/ 126647 h 522414"/>
                      <a:gd name="connsiteX293" fmla="*/ 479987 w 712457"/>
                      <a:gd name="connsiteY293" fmla="*/ 128961 h 522414"/>
                      <a:gd name="connsiteX294" fmla="*/ 480883 w 712457"/>
                      <a:gd name="connsiteY294" fmla="*/ 131023 h 522414"/>
                      <a:gd name="connsiteX295" fmla="*/ 480818 w 712457"/>
                      <a:gd name="connsiteY295" fmla="*/ 135726 h 522414"/>
                      <a:gd name="connsiteX296" fmla="*/ 480419 w 712457"/>
                      <a:gd name="connsiteY296" fmla="*/ 137144 h 522414"/>
                      <a:gd name="connsiteX297" fmla="*/ 477778 w 712457"/>
                      <a:gd name="connsiteY297" fmla="*/ 140697 h 522414"/>
                      <a:gd name="connsiteX298" fmla="*/ 471332 w 712457"/>
                      <a:gd name="connsiteY298" fmla="*/ 146011 h 522414"/>
                      <a:gd name="connsiteX299" fmla="*/ 467110 w 712457"/>
                      <a:gd name="connsiteY299" fmla="*/ 148007 h 522414"/>
                      <a:gd name="connsiteX300" fmla="*/ 462432 w 712457"/>
                      <a:gd name="connsiteY300" fmla="*/ 149075 h 522414"/>
                      <a:gd name="connsiteX301" fmla="*/ 457339 w 712457"/>
                      <a:gd name="connsiteY301" fmla="*/ 150876 h 522414"/>
                      <a:gd name="connsiteX302" fmla="*/ 455537 w 712457"/>
                      <a:gd name="connsiteY302" fmla="*/ 152335 h 522414"/>
                      <a:gd name="connsiteX303" fmla="*/ 453777 w 712457"/>
                      <a:gd name="connsiteY303" fmla="*/ 154389 h 522414"/>
                      <a:gd name="connsiteX304" fmla="*/ 452025 w 712457"/>
                      <a:gd name="connsiteY304" fmla="*/ 155758 h 522414"/>
                      <a:gd name="connsiteX305" fmla="*/ 449792 w 712457"/>
                      <a:gd name="connsiteY305" fmla="*/ 156907 h 522414"/>
                      <a:gd name="connsiteX306" fmla="*/ 452710 w 712457"/>
                      <a:gd name="connsiteY306" fmla="*/ 158586 h 522414"/>
                      <a:gd name="connsiteX307" fmla="*/ 453834 w 712457"/>
                      <a:gd name="connsiteY307" fmla="*/ 158537 h 522414"/>
                      <a:gd name="connsiteX308" fmla="*/ 454910 w 712457"/>
                      <a:gd name="connsiteY308" fmla="*/ 157534 h 522414"/>
                      <a:gd name="connsiteX309" fmla="*/ 457852 w 712457"/>
                      <a:gd name="connsiteY309" fmla="*/ 153582 h 522414"/>
                      <a:gd name="connsiteX310" fmla="*/ 460044 w 712457"/>
                      <a:gd name="connsiteY310" fmla="*/ 151862 h 522414"/>
                      <a:gd name="connsiteX311" fmla="*/ 461283 w 712457"/>
                      <a:gd name="connsiteY311" fmla="*/ 151487 h 522414"/>
                      <a:gd name="connsiteX312" fmla="*/ 462563 w 712457"/>
                      <a:gd name="connsiteY312" fmla="*/ 151658 h 522414"/>
                      <a:gd name="connsiteX313" fmla="*/ 463810 w 712457"/>
                      <a:gd name="connsiteY313" fmla="*/ 152433 h 522414"/>
                      <a:gd name="connsiteX314" fmla="*/ 465024 w 712457"/>
                      <a:gd name="connsiteY314" fmla="*/ 153818 h 522414"/>
                      <a:gd name="connsiteX315" fmla="*/ 464934 w 712457"/>
                      <a:gd name="connsiteY315" fmla="*/ 157192 h 522414"/>
                      <a:gd name="connsiteX316" fmla="*/ 461210 w 712457"/>
                      <a:gd name="connsiteY316" fmla="*/ 170509 h 522414"/>
                      <a:gd name="connsiteX317" fmla="*/ 461821 w 712457"/>
                      <a:gd name="connsiteY317" fmla="*/ 170468 h 522414"/>
                      <a:gd name="connsiteX318" fmla="*/ 464103 w 712457"/>
                      <a:gd name="connsiteY318" fmla="*/ 166858 h 522414"/>
                      <a:gd name="connsiteX319" fmla="*/ 470745 w 712457"/>
                      <a:gd name="connsiteY319" fmla="*/ 152979 h 522414"/>
                      <a:gd name="connsiteX320" fmla="*/ 472367 w 712457"/>
                      <a:gd name="connsiteY320" fmla="*/ 150191 h 522414"/>
                      <a:gd name="connsiteX321" fmla="*/ 475578 w 712457"/>
                      <a:gd name="connsiteY321" fmla="*/ 147380 h 522414"/>
                      <a:gd name="connsiteX322" fmla="*/ 482758 w 712457"/>
                      <a:gd name="connsiteY322" fmla="*/ 143126 h 522414"/>
                      <a:gd name="connsiteX323" fmla="*/ 488307 w 712457"/>
                      <a:gd name="connsiteY323" fmla="*/ 140893 h 522414"/>
                      <a:gd name="connsiteX324" fmla="*/ 494567 w 712457"/>
                      <a:gd name="connsiteY324" fmla="*/ 139010 h 522414"/>
                      <a:gd name="connsiteX325" fmla="*/ 497916 w 712457"/>
                      <a:gd name="connsiteY325" fmla="*/ 138309 h 522414"/>
                      <a:gd name="connsiteX326" fmla="*/ 501738 w 712457"/>
                      <a:gd name="connsiteY326" fmla="*/ 138782 h 522414"/>
                      <a:gd name="connsiteX327" fmla="*/ 504224 w 712457"/>
                      <a:gd name="connsiteY327" fmla="*/ 140974 h 522414"/>
                      <a:gd name="connsiteX328" fmla="*/ 507582 w 712457"/>
                      <a:gd name="connsiteY328" fmla="*/ 141373 h 522414"/>
                      <a:gd name="connsiteX329" fmla="*/ 511665 w 712457"/>
                      <a:gd name="connsiteY329" fmla="*/ 140827 h 522414"/>
                      <a:gd name="connsiteX330" fmla="*/ 514305 w 712457"/>
                      <a:gd name="connsiteY330" fmla="*/ 141088 h 522414"/>
                      <a:gd name="connsiteX331" fmla="*/ 517288 w 712457"/>
                      <a:gd name="connsiteY331" fmla="*/ 141952 h 522414"/>
                      <a:gd name="connsiteX332" fmla="*/ 519839 w 712457"/>
                      <a:gd name="connsiteY332" fmla="*/ 143574 h 522414"/>
                      <a:gd name="connsiteX333" fmla="*/ 524183 w 712457"/>
                      <a:gd name="connsiteY333" fmla="*/ 145432 h 522414"/>
                      <a:gd name="connsiteX334" fmla="*/ 533979 w 712457"/>
                      <a:gd name="connsiteY334" fmla="*/ 148879 h 522414"/>
                      <a:gd name="connsiteX335" fmla="*/ 535201 w 712457"/>
                      <a:gd name="connsiteY335" fmla="*/ 149605 h 522414"/>
                      <a:gd name="connsiteX336" fmla="*/ 536334 w 712457"/>
                      <a:gd name="connsiteY336" fmla="*/ 150917 h 522414"/>
                      <a:gd name="connsiteX337" fmla="*/ 537393 w 712457"/>
                      <a:gd name="connsiteY337" fmla="*/ 152808 h 522414"/>
                      <a:gd name="connsiteX338" fmla="*/ 537255 w 712457"/>
                      <a:gd name="connsiteY338" fmla="*/ 154674 h 522414"/>
                      <a:gd name="connsiteX339" fmla="*/ 535943 w 712457"/>
                      <a:gd name="connsiteY339" fmla="*/ 156532 h 522414"/>
                      <a:gd name="connsiteX340" fmla="*/ 534305 w 712457"/>
                      <a:gd name="connsiteY340" fmla="*/ 157657 h 522414"/>
                      <a:gd name="connsiteX341" fmla="*/ 532349 w 712457"/>
                      <a:gd name="connsiteY341" fmla="*/ 158064 h 522414"/>
                      <a:gd name="connsiteX342" fmla="*/ 530328 w 712457"/>
                      <a:gd name="connsiteY342" fmla="*/ 159075 h 522414"/>
                      <a:gd name="connsiteX343" fmla="*/ 526587 w 712457"/>
                      <a:gd name="connsiteY343" fmla="*/ 161715 h 522414"/>
                      <a:gd name="connsiteX344" fmla="*/ 525373 w 712457"/>
                      <a:gd name="connsiteY344" fmla="*/ 162155 h 522414"/>
                      <a:gd name="connsiteX345" fmla="*/ 519505 w 712457"/>
                      <a:gd name="connsiteY345" fmla="*/ 163288 h 522414"/>
                      <a:gd name="connsiteX346" fmla="*/ 514061 w 712457"/>
                      <a:gd name="connsiteY346" fmla="*/ 163842 h 522414"/>
                      <a:gd name="connsiteX347" fmla="*/ 510670 w 712457"/>
                      <a:gd name="connsiteY347" fmla="*/ 164902 h 522414"/>
                      <a:gd name="connsiteX348" fmla="*/ 504134 w 712457"/>
                      <a:gd name="connsiteY348" fmla="*/ 167754 h 522414"/>
                      <a:gd name="connsiteX349" fmla="*/ 495145 w 712457"/>
                      <a:gd name="connsiteY349" fmla="*/ 173043 h 522414"/>
                      <a:gd name="connsiteX350" fmla="*/ 495243 w 712457"/>
                      <a:gd name="connsiteY350" fmla="*/ 174307 h 522414"/>
                      <a:gd name="connsiteX351" fmla="*/ 498821 w 712457"/>
                      <a:gd name="connsiteY351" fmla="*/ 174910 h 522414"/>
                      <a:gd name="connsiteX352" fmla="*/ 501738 w 712457"/>
                      <a:gd name="connsiteY352" fmla="*/ 174119 h 522414"/>
                      <a:gd name="connsiteX353" fmla="*/ 505732 w 712457"/>
                      <a:gd name="connsiteY353" fmla="*/ 170468 h 522414"/>
                      <a:gd name="connsiteX354" fmla="*/ 509497 w 712457"/>
                      <a:gd name="connsiteY354" fmla="*/ 169066 h 522414"/>
                      <a:gd name="connsiteX355" fmla="*/ 515365 w 712457"/>
                      <a:gd name="connsiteY355" fmla="*/ 167942 h 522414"/>
                      <a:gd name="connsiteX356" fmla="*/ 523490 w 712457"/>
                      <a:gd name="connsiteY356" fmla="*/ 166964 h 522414"/>
                      <a:gd name="connsiteX357" fmla="*/ 526970 w 712457"/>
                      <a:gd name="connsiteY357" fmla="*/ 167127 h 522414"/>
                      <a:gd name="connsiteX358" fmla="*/ 527597 w 712457"/>
                      <a:gd name="connsiteY358" fmla="*/ 167314 h 522414"/>
                      <a:gd name="connsiteX359" fmla="*/ 528054 w 712457"/>
                      <a:gd name="connsiteY359" fmla="*/ 168178 h 522414"/>
                      <a:gd name="connsiteX360" fmla="*/ 528339 w 712457"/>
                      <a:gd name="connsiteY360" fmla="*/ 169710 h 522414"/>
                      <a:gd name="connsiteX361" fmla="*/ 527003 w 712457"/>
                      <a:gd name="connsiteY361" fmla="*/ 171699 h 522414"/>
                      <a:gd name="connsiteX362" fmla="*/ 525462 w 712457"/>
                      <a:gd name="connsiteY362" fmla="*/ 172652 h 522414"/>
                      <a:gd name="connsiteX363" fmla="*/ 521265 w 712457"/>
                      <a:gd name="connsiteY363" fmla="*/ 177151 h 522414"/>
                      <a:gd name="connsiteX364" fmla="*/ 524028 w 712457"/>
                      <a:gd name="connsiteY364" fmla="*/ 178316 h 522414"/>
                      <a:gd name="connsiteX365" fmla="*/ 527826 w 712457"/>
                      <a:gd name="connsiteY365" fmla="*/ 178821 h 522414"/>
                      <a:gd name="connsiteX366" fmla="*/ 529985 w 712457"/>
                      <a:gd name="connsiteY366" fmla="*/ 177615 h 522414"/>
                      <a:gd name="connsiteX367" fmla="*/ 531949 w 712457"/>
                      <a:gd name="connsiteY367" fmla="*/ 174852 h 522414"/>
                      <a:gd name="connsiteX368" fmla="*/ 534134 w 712457"/>
                      <a:gd name="connsiteY368" fmla="*/ 173320 h 522414"/>
                      <a:gd name="connsiteX369" fmla="*/ 536570 w 712457"/>
                      <a:gd name="connsiteY369" fmla="*/ 173011 h 522414"/>
                      <a:gd name="connsiteX370" fmla="*/ 538705 w 712457"/>
                      <a:gd name="connsiteY370" fmla="*/ 172310 h 522414"/>
                      <a:gd name="connsiteX371" fmla="*/ 540556 w 712457"/>
                      <a:gd name="connsiteY371" fmla="*/ 171201 h 522414"/>
                      <a:gd name="connsiteX372" fmla="*/ 541053 w 712457"/>
                      <a:gd name="connsiteY372" fmla="*/ 170476 h 522414"/>
                      <a:gd name="connsiteX373" fmla="*/ 538371 w 712457"/>
                      <a:gd name="connsiteY373" fmla="*/ 169042 h 522414"/>
                      <a:gd name="connsiteX374" fmla="*/ 538159 w 712457"/>
                      <a:gd name="connsiteY374" fmla="*/ 168170 h 522414"/>
                      <a:gd name="connsiteX375" fmla="*/ 539252 w 712457"/>
                      <a:gd name="connsiteY375" fmla="*/ 166018 h 522414"/>
                      <a:gd name="connsiteX376" fmla="*/ 541224 w 712457"/>
                      <a:gd name="connsiteY376" fmla="*/ 163630 h 522414"/>
                      <a:gd name="connsiteX377" fmla="*/ 543286 w 712457"/>
                      <a:gd name="connsiteY377" fmla="*/ 162147 h 522414"/>
                      <a:gd name="connsiteX378" fmla="*/ 544810 w 712457"/>
                      <a:gd name="connsiteY378" fmla="*/ 162025 h 522414"/>
                      <a:gd name="connsiteX379" fmla="*/ 549863 w 712457"/>
                      <a:gd name="connsiteY379" fmla="*/ 163614 h 522414"/>
                      <a:gd name="connsiteX380" fmla="*/ 553318 w 712457"/>
                      <a:gd name="connsiteY380" fmla="*/ 166393 h 522414"/>
                      <a:gd name="connsiteX381" fmla="*/ 562055 w 712457"/>
                      <a:gd name="connsiteY381" fmla="*/ 174681 h 522414"/>
                      <a:gd name="connsiteX382" fmla="*/ 563179 w 712457"/>
                      <a:gd name="connsiteY382" fmla="*/ 176279 h 522414"/>
                      <a:gd name="connsiteX383" fmla="*/ 566219 w 712457"/>
                      <a:gd name="connsiteY383" fmla="*/ 182424 h 522414"/>
                      <a:gd name="connsiteX384" fmla="*/ 566798 w 712457"/>
                      <a:gd name="connsiteY384" fmla="*/ 185146 h 522414"/>
                      <a:gd name="connsiteX385" fmla="*/ 566300 w 712457"/>
                      <a:gd name="connsiteY385" fmla="*/ 187053 h 522414"/>
                      <a:gd name="connsiteX386" fmla="*/ 565583 w 712457"/>
                      <a:gd name="connsiteY386" fmla="*/ 188202 h 522414"/>
                      <a:gd name="connsiteX387" fmla="*/ 564646 w 712457"/>
                      <a:gd name="connsiteY387" fmla="*/ 188626 h 522414"/>
                      <a:gd name="connsiteX388" fmla="*/ 562723 w 712457"/>
                      <a:gd name="connsiteY388" fmla="*/ 188642 h 522414"/>
                      <a:gd name="connsiteX389" fmla="*/ 551085 w 712457"/>
                      <a:gd name="connsiteY389" fmla="*/ 186132 h 522414"/>
                      <a:gd name="connsiteX390" fmla="*/ 545771 w 712457"/>
                      <a:gd name="connsiteY390" fmla="*/ 186450 h 522414"/>
                      <a:gd name="connsiteX391" fmla="*/ 543449 w 712457"/>
                      <a:gd name="connsiteY391" fmla="*/ 187159 h 522414"/>
                      <a:gd name="connsiteX392" fmla="*/ 541574 w 712457"/>
                      <a:gd name="connsiteY392" fmla="*/ 188210 h 522414"/>
                      <a:gd name="connsiteX393" fmla="*/ 540124 w 712457"/>
                      <a:gd name="connsiteY393" fmla="*/ 189538 h 522414"/>
                      <a:gd name="connsiteX394" fmla="*/ 539089 w 712457"/>
                      <a:gd name="connsiteY394" fmla="*/ 191144 h 522414"/>
                      <a:gd name="connsiteX395" fmla="*/ 537043 w 712457"/>
                      <a:gd name="connsiteY395" fmla="*/ 192048 h 522414"/>
                      <a:gd name="connsiteX396" fmla="*/ 529659 w 712457"/>
                      <a:gd name="connsiteY396" fmla="*/ 192081 h 522414"/>
                      <a:gd name="connsiteX397" fmla="*/ 525511 w 712457"/>
                      <a:gd name="connsiteY397" fmla="*/ 192978 h 522414"/>
                      <a:gd name="connsiteX398" fmla="*/ 518388 w 712457"/>
                      <a:gd name="connsiteY398" fmla="*/ 195145 h 522414"/>
                      <a:gd name="connsiteX399" fmla="*/ 515829 w 712457"/>
                      <a:gd name="connsiteY399" fmla="*/ 196343 h 522414"/>
                      <a:gd name="connsiteX400" fmla="*/ 515259 w 712457"/>
                      <a:gd name="connsiteY400" fmla="*/ 197933 h 522414"/>
                      <a:gd name="connsiteX401" fmla="*/ 519611 w 712457"/>
                      <a:gd name="connsiteY401" fmla="*/ 197647 h 522414"/>
                      <a:gd name="connsiteX402" fmla="*/ 526799 w 712457"/>
                      <a:gd name="connsiteY402" fmla="*/ 195602 h 522414"/>
                      <a:gd name="connsiteX403" fmla="*/ 533555 w 712457"/>
                      <a:gd name="connsiteY403" fmla="*/ 195023 h 522414"/>
                      <a:gd name="connsiteX404" fmla="*/ 544834 w 712457"/>
                      <a:gd name="connsiteY404" fmla="*/ 199522 h 522414"/>
                      <a:gd name="connsiteX405" fmla="*/ 548550 w 712457"/>
                      <a:gd name="connsiteY405" fmla="*/ 200223 h 522414"/>
                      <a:gd name="connsiteX406" fmla="*/ 550620 w 712457"/>
                      <a:gd name="connsiteY406" fmla="*/ 199571 h 522414"/>
                      <a:gd name="connsiteX407" fmla="*/ 553106 w 712457"/>
                      <a:gd name="connsiteY407" fmla="*/ 199375 h 522414"/>
                      <a:gd name="connsiteX408" fmla="*/ 562128 w 712457"/>
                      <a:gd name="connsiteY408" fmla="*/ 199677 h 522414"/>
                      <a:gd name="connsiteX409" fmla="*/ 565200 w 712457"/>
                      <a:gd name="connsiteY409" fmla="*/ 200223 h 522414"/>
                      <a:gd name="connsiteX410" fmla="*/ 569772 w 712457"/>
                      <a:gd name="connsiteY410" fmla="*/ 201950 h 522414"/>
                      <a:gd name="connsiteX411" fmla="*/ 576765 w 712457"/>
                      <a:gd name="connsiteY411" fmla="*/ 205691 h 522414"/>
                      <a:gd name="connsiteX412" fmla="*/ 578101 w 712457"/>
                      <a:gd name="connsiteY412" fmla="*/ 206783 h 522414"/>
                      <a:gd name="connsiteX413" fmla="*/ 578884 w 712457"/>
                      <a:gd name="connsiteY413" fmla="*/ 207940 h 522414"/>
                      <a:gd name="connsiteX414" fmla="*/ 579112 w 712457"/>
                      <a:gd name="connsiteY414" fmla="*/ 209155 h 522414"/>
                      <a:gd name="connsiteX415" fmla="*/ 579030 w 712457"/>
                      <a:gd name="connsiteY415" fmla="*/ 212129 h 522414"/>
                      <a:gd name="connsiteX416" fmla="*/ 578338 w 712457"/>
                      <a:gd name="connsiteY416" fmla="*/ 213132 h 522414"/>
                      <a:gd name="connsiteX417" fmla="*/ 575966 w 712457"/>
                      <a:gd name="connsiteY417" fmla="*/ 213816 h 522414"/>
                      <a:gd name="connsiteX418" fmla="*/ 565917 w 712457"/>
                      <a:gd name="connsiteY418" fmla="*/ 213034 h 522414"/>
                      <a:gd name="connsiteX419" fmla="*/ 562853 w 712457"/>
                      <a:gd name="connsiteY419" fmla="*/ 212415 h 522414"/>
                      <a:gd name="connsiteX420" fmla="*/ 559080 w 712457"/>
                      <a:gd name="connsiteY420" fmla="*/ 213189 h 522414"/>
                      <a:gd name="connsiteX421" fmla="*/ 556016 w 712457"/>
                      <a:gd name="connsiteY421" fmla="*/ 212912 h 522414"/>
                      <a:gd name="connsiteX422" fmla="*/ 552104 w 712457"/>
                      <a:gd name="connsiteY422" fmla="*/ 211722 h 522414"/>
                      <a:gd name="connsiteX423" fmla="*/ 547801 w 712457"/>
                      <a:gd name="connsiteY423" fmla="*/ 209611 h 522414"/>
                      <a:gd name="connsiteX424" fmla="*/ 541354 w 712457"/>
                      <a:gd name="connsiteY424" fmla="*/ 211616 h 522414"/>
                      <a:gd name="connsiteX425" fmla="*/ 536204 w 712457"/>
                      <a:gd name="connsiteY425" fmla="*/ 210312 h 522414"/>
                      <a:gd name="connsiteX426" fmla="*/ 530922 w 712457"/>
                      <a:gd name="connsiteY426" fmla="*/ 211461 h 522414"/>
                      <a:gd name="connsiteX427" fmla="*/ 520466 w 712457"/>
                      <a:gd name="connsiteY427" fmla="*/ 216237 h 522414"/>
                      <a:gd name="connsiteX428" fmla="*/ 521632 w 712457"/>
                      <a:gd name="connsiteY428" fmla="*/ 217060 h 522414"/>
                      <a:gd name="connsiteX429" fmla="*/ 535967 w 712457"/>
                      <a:gd name="connsiteY429" fmla="*/ 212969 h 522414"/>
                      <a:gd name="connsiteX430" fmla="*/ 538738 w 712457"/>
                      <a:gd name="connsiteY430" fmla="*/ 213213 h 522414"/>
                      <a:gd name="connsiteX431" fmla="*/ 543269 w 712457"/>
                      <a:gd name="connsiteY431" fmla="*/ 214713 h 522414"/>
                      <a:gd name="connsiteX432" fmla="*/ 550425 w 712457"/>
                      <a:gd name="connsiteY432" fmla="*/ 217647 h 522414"/>
                      <a:gd name="connsiteX433" fmla="*/ 552430 w 712457"/>
                      <a:gd name="connsiteY433" fmla="*/ 218853 h 522414"/>
                      <a:gd name="connsiteX434" fmla="*/ 552446 w 712457"/>
                      <a:gd name="connsiteY434" fmla="*/ 223474 h 522414"/>
                      <a:gd name="connsiteX435" fmla="*/ 551354 w 712457"/>
                      <a:gd name="connsiteY435" fmla="*/ 226579 h 522414"/>
                      <a:gd name="connsiteX436" fmla="*/ 549170 w 712457"/>
                      <a:gd name="connsiteY436" fmla="*/ 230067 h 522414"/>
                      <a:gd name="connsiteX437" fmla="*/ 545885 w 712457"/>
                      <a:gd name="connsiteY437" fmla="*/ 229602 h 522414"/>
                      <a:gd name="connsiteX438" fmla="*/ 538233 w 712457"/>
                      <a:gd name="connsiteY438" fmla="*/ 227426 h 522414"/>
                      <a:gd name="connsiteX439" fmla="*/ 535103 w 712457"/>
                      <a:gd name="connsiteY439" fmla="*/ 227133 h 522414"/>
                      <a:gd name="connsiteX440" fmla="*/ 532813 w 712457"/>
                      <a:gd name="connsiteY440" fmla="*/ 227483 h 522414"/>
                      <a:gd name="connsiteX441" fmla="*/ 529741 w 712457"/>
                      <a:gd name="connsiteY441" fmla="*/ 228869 h 522414"/>
                      <a:gd name="connsiteX442" fmla="*/ 528282 w 712457"/>
                      <a:gd name="connsiteY442" fmla="*/ 228910 h 522414"/>
                      <a:gd name="connsiteX443" fmla="*/ 516041 w 712457"/>
                      <a:gd name="connsiteY443" fmla="*/ 226163 h 522414"/>
                      <a:gd name="connsiteX444" fmla="*/ 513295 w 712457"/>
                      <a:gd name="connsiteY444" fmla="*/ 226033 h 522414"/>
                      <a:gd name="connsiteX445" fmla="*/ 512969 w 712457"/>
                      <a:gd name="connsiteY445" fmla="*/ 226310 h 522414"/>
                      <a:gd name="connsiteX446" fmla="*/ 513555 w 712457"/>
                      <a:gd name="connsiteY446" fmla="*/ 226856 h 522414"/>
                      <a:gd name="connsiteX447" fmla="*/ 524663 w 712457"/>
                      <a:gd name="connsiteY447" fmla="*/ 231126 h 522414"/>
                      <a:gd name="connsiteX448" fmla="*/ 532862 w 712457"/>
                      <a:gd name="connsiteY448" fmla="*/ 231591 h 522414"/>
                      <a:gd name="connsiteX449" fmla="*/ 538013 w 712457"/>
                      <a:gd name="connsiteY449" fmla="*/ 232333 h 522414"/>
                      <a:gd name="connsiteX450" fmla="*/ 541053 w 712457"/>
                      <a:gd name="connsiteY450" fmla="*/ 233628 h 522414"/>
                      <a:gd name="connsiteX451" fmla="*/ 542495 w 712457"/>
                      <a:gd name="connsiteY451" fmla="*/ 234590 h 522414"/>
                      <a:gd name="connsiteX452" fmla="*/ 542601 w 712457"/>
                      <a:gd name="connsiteY452" fmla="*/ 237442 h 522414"/>
                      <a:gd name="connsiteX453" fmla="*/ 545331 w 712457"/>
                      <a:gd name="connsiteY453" fmla="*/ 240311 h 522414"/>
                      <a:gd name="connsiteX454" fmla="*/ 547801 w 712457"/>
                      <a:gd name="connsiteY454" fmla="*/ 241477 h 522414"/>
                      <a:gd name="connsiteX455" fmla="*/ 549374 w 712457"/>
                      <a:gd name="connsiteY455" fmla="*/ 241534 h 522414"/>
                      <a:gd name="connsiteX456" fmla="*/ 552071 w 712457"/>
                      <a:gd name="connsiteY456" fmla="*/ 240474 h 522414"/>
                      <a:gd name="connsiteX457" fmla="*/ 554809 w 712457"/>
                      <a:gd name="connsiteY457" fmla="*/ 240311 h 522414"/>
                      <a:gd name="connsiteX458" fmla="*/ 557018 w 712457"/>
                      <a:gd name="connsiteY458" fmla="*/ 241045 h 522414"/>
                      <a:gd name="connsiteX459" fmla="*/ 559781 w 712457"/>
                      <a:gd name="connsiteY459" fmla="*/ 242634 h 522414"/>
                      <a:gd name="connsiteX460" fmla="*/ 563122 w 712457"/>
                      <a:gd name="connsiteY460" fmla="*/ 243074 h 522414"/>
                      <a:gd name="connsiteX461" fmla="*/ 566056 w 712457"/>
                      <a:gd name="connsiteY461" fmla="*/ 244027 h 522414"/>
                      <a:gd name="connsiteX462" fmla="*/ 568314 w 712457"/>
                      <a:gd name="connsiteY462" fmla="*/ 244223 h 522414"/>
                      <a:gd name="connsiteX463" fmla="*/ 574695 w 712457"/>
                      <a:gd name="connsiteY463" fmla="*/ 243775 h 522414"/>
                      <a:gd name="connsiteX464" fmla="*/ 577457 w 712457"/>
                      <a:gd name="connsiteY464" fmla="*/ 244386 h 522414"/>
                      <a:gd name="connsiteX465" fmla="*/ 578166 w 712457"/>
                      <a:gd name="connsiteY465" fmla="*/ 244908 h 522414"/>
                      <a:gd name="connsiteX466" fmla="*/ 576968 w 712457"/>
                      <a:gd name="connsiteY466" fmla="*/ 245829 h 522414"/>
                      <a:gd name="connsiteX467" fmla="*/ 571141 w 712457"/>
                      <a:gd name="connsiteY467" fmla="*/ 248037 h 522414"/>
                      <a:gd name="connsiteX468" fmla="*/ 570261 w 712457"/>
                      <a:gd name="connsiteY468" fmla="*/ 250148 h 522414"/>
                      <a:gd name="connsiteX469" fmla="*/ 573554 w 712457"/>
                      <a:gd name="connsiteY469" fmla="*/ 252886 h 522414"/>
                      <a:gd name="connsiteX470" fmla="*/ 575273 w 712457"/>
                      <a:gd name="connsiteY470" fmla="*/ 254973 h 522414"/>
                      <a:gd name="connsiteX471" fmla="*/ 575184 w 712457"/>
                      <a:gd name="connsiteY471" fmla="*/ 256529 h 522414"/>
                      <a:gd name="connsiteX472" fmla="*/ 573432 w 712457"/>
                      <a:gd name="connsiteY472" fmla="*/ 260091 h 522414"/>
                      <a:gd name="connsiteX473" fmla="*/ 572983 w 712457"/>
                      <a:gd name="connsiteY473" fmla="*/ 261517 h 522414"/>
                      <a:gd name="connsiteX474" fmla="*/ 573570 w 712457"/>
                      <a:gd name="connsiteY474" fmla="*/ 261631 h 522414"/>
                      <a:gd name="connsiteX475" fmla="*/ 577800 w 712457"/>
                      <a:gd name="connsiteY475" fmla="*/ 258754 h 522414"/>
                      <a:gd name="connsiteX476" fmla="*/ 578460 w 712457"/>
                      <a:gd name="connsiteY476" fmla="*/ 259121 h 522414"/>
                      <a:gd name="connsiteX477" fmla="*/ 578900 w 712457"/>
                      <a:gd name="connsiteY477" fmla="*/ 263106 h 522414"/>
                      <a:gd name="connsiteX478" fmla="*/ 579446 w 712457"/>
                      <a:gd name="connsiteY478" fmla="*/ 262878 h 522414"/>
                      <a:gd name="connsiteX479" fmla="*/ 580864 w 712457"/>
                      <a:gd name="connsiteY479" fmla="*/ 259585 h 522414"/>
                      <a:gd name="connsiteX480" fmla="*/ 580228 w 712457"/>
                      <a:gd name="connsiteY480" fmla="*/ 255193 h 522414"/>
                      <a:gd name="connsiteX481" fmla="*/ 582714 w 712457"/>
                      <a:gd name="connsiteY481" fmla="*/ 253457 h 522414"/>
                      <a:gd name="connsiteX482" fmla="*/ 590611 w 712457"/>
                      <a:gd name="connsiteY482" fmla="*/ 252145 h 522414"/>
                      <a:gd name="connsiteX483" fmla="*/ 589275 w 712457"/>
                      <a:gd name="connsiteY483" fmla="*/ 259031 h 522414"/>
                      <a:gd name="connsiteX484" fmla="*/ 589063 w 712457"/>
                      <a:gd name="connsiteY484" fmla="*/ 262601 h 522414"/>
                      <a:gd name="connsiteX485" fmla="*/ 585615 w 712457"/>
                      <a:gd name="connsiteY485" fmla="*/ 268550 h 522414"/>
                      <a:gd name="connsiteX486" fmla="*/ 582738 w 712457"/>
                      <a:gd name="connsiteY486" fmla="*/ 270457 h 522414"/>
                      <a:gd name="connsiteX487" fmla="*/ 582828 w 712457"/>
                      <a:gd name="connsiteY487" fmla="*/ 270856 h 522414"/>
                      <a:gd name="connsiteX488" fmla="*/ 584865 w 712457"/>
                      <a:gd name="connsiteY488" fmla="*/ 271614 h 522414"/>
                      <a:gd name="connsiteX489" fmla="*/ 586145 w 712457"/>
                      <a:gd name="connsiteY489" fmla="*/ 271688 h 522414"/>
                      <a:gd name="connsiteX490" fmla="*/ 587376 w 712457"/>
                      <a:gd name="connsiteY490" fmla="*/ 270767 h 522414"/>
                      <a:gd name="connsiteX491" fmla="*/ 590293 w 712457"/>
                      <a:gd name="connsiteY491" fmla="*/ 266178 h 522414"/>
                      <a:gd name="connsiteX492" fmla="*/ 596234 w 712457"/>
                      <a:gd name="connsiteY492" fmla="*/ 261386 h 522414"/>
                      <a:gd name="connsiteX493" fmla="*/ 597310 w 712457"/>
                      <a:gd name="connsiteY493" fmla="*/ 261289 h 522414"/>
                      <a:gd name="connsiteX494" fmla="*/ 597269 w 712457"/>
                      <a:gd name="connsiteY494" fmla="*/ 263016 h 522414"/>
                      <a:gd name="connsiteX495" fmla="*/ 596503 w 712457"/>
                      <a:gd name="connsiteY495" fmla="*/ 266227 h 522414"/>
                      <a:gd name="connsiteX496" fmla="*/ 599242 w 712457"/>
                      <a:gd name="connsiteY496" fmla="*/ 267735 h 522414"/>
                      <a:gd name="connsiteX497" fmla="*/ 601858 w 712457"/>
                      <a:gd name="connsiteY497" fmla="*/ 266244 h 522414"/>
                      <a:gd name="connsiteX498" fmla="*/ 603276 w 712457"/>
                      <a:gd name="connsiteY498" fmla="*/ 264956 h 522414"/>
                      <a:gd name="connsiteX499" fmla="*/ 606560 w 712457"/>
                      <a:gd name="connsiteY499" fmla="*/ 265152 h 522414"/>
                      <a:gd name="connsiteX500" fmla="*/ 608051 w 712457"/>
                      <a:gd name="connsiteY500" fmla="*/ 265763 h 522414"/>
                      <a:gd name="connsiteX501" fmla="*/ 608500 w 712457"/>
                      <a:gd name="connsiteY501" fmla="*/ 267181 h 522414"/>
                      <a:gd name="connsiteX502" fmla="*/ 606992 w 712457"/>
                      <a:gd name="connsiteY502" fmla="*/ 273114 h 522414"/>
                      <a:gd name="connsiteX503" fmla="*/ 607269 w 712457"/>
                      <a:gd name="connsiteY503" fmla="*/ 274573 h 522414"/>
                      <a:gd name="connsiteX504" fmla="*/ 610725 w 712457"/>
                      <a:gd name="connsiteY504" fmla="*/ 278517 h 522414"/>
                      <a:gd name="connsiteX505" fmla="*/ 611083 w 712457"/>
                      <a:gd name="connsiteY505" fmla="*/ 278281 h 522414"/>
                      <a:gd name="connsiteX506" fmla="*/ 610423 w 712457"/>
                      <a:gd name="connsiteY506" fmla="*/ 276382 h 522414"/>
                      <a:gd name="connsiteX507" fmla="*/ 609714 w 712457"/>
                      <a:gd name="connsiteY507" fmla="*/ 271671 h 522414"/>
                      <a:gd name="connsiteX508" fmla="*/ 610382 w 712457"/>
                      <a:gd name="connsiteY508" fmla="*/ 269634 h 522414"/>
                      <a:gd name="connsiteX509" fmla="*/ 613235 w 712457"/>
                      <a:gd name="connsiteY509" fmla="*/ 267010 h 522414"/>
                      <a:gd name="connsiteX510" fmla="*/ 619086 w 712457"/>
                      <a:gd name="connsiteY510" fmla="*/ 263228 h 522414"/>
                      <a:gd name="connsiteX511" fmla="*/ 621254 w 712457"/>
                      <a:gd name="connsiteY511" fmla="*/ 262487 h 522414"/>
                      <a:gd name="connsiteX512" fmla="*/ 622615 w 712457"/>
                      <a:gd name="connsiteY512" fmla="*/ 263000 h 522414"/>
                      <a:gd name="connsiteX513" fmla="*/ 624759 w 712457"/>
                      <a:gd name="connsiteY513" fmla="*/ 264817 h 522414"/>
                      <a:gd name="connsiteX514" fmla="*/ 624090 w 712457"/>
                      <a:gd name="connsiteY514" fmla="*/ 265893 h 522414"/>
                      <a:gd name="connsiteX515" fmla="*/ 621768 w 712457"/>
                      <a:gd name="connsiteY515" fmla="*/ 267034 h 522414"/>
                      <a:gd name="connsiteX516" fmla="*/ 620040 w 712457"/>
                      <a:gd name="connsiteY516" fmla="*/ 269088 h 522414"/>
                      <a:gd name="connsiteX517" fmla="*/ 618907 w 712457"/>
                      <a:gd name="connsiteY517" fmla="*/ 272046 h 522414"/>
                      <a:gd name="connsiteX518" fmla="*/ 620154 w 712457"/>
                      <a:gd name="connsiteY518" fmla="*/ 273619 h 522414"/>
                      <a:gd name="connsiteX519" fmla="*/ 624897 w 712457"/>
                      <a:gd name="connsiteY519" fmla="*/ 273766 h 522414"/>
                      <a:gd name="connsiteX520" fmla="*/ 629665 w 712457"/>
                      <a:gd name="connsiteY520" fmla="*/ 271329 h 522414"/>
                      <a:gd name="connsiteX521" fmla="*/ 632403 w 712457"/>
                      <a:gd name="connsiteY521" fmla="*/ 272527 h 522414"/>
                      <a:gd name="connsiteX522" fmla="*/ 635655 w 712457"/>
                      <a:gd name="connsiteY522" fmla="*/ 275689 h 522414"/>
                      <a:gd name="connsiteX523" fmla="*/ 641612 w 712457"/>
                      <a:gd name="connsiteY523" fmla="*/ 280766 h 522414"/>
                      <a:gd name="connsiteX524" fmla="*/ 645002 w 712457"/>
                      <a:gd name="connsiteY524" fmla="*/ 279381 h 522414"/>
                      <a:gd name="connsiteX525" fmla="*/ 649200 w 712457"/>
                      <a:gd name="connsiteY525" fmla="*/ 283236 h 522414"/>
                      <a:gd name="connsiteX526" fmla="*/ 643560 w 712457"/>
                      <a:gd name="connsiteY526" fmla="*/ 286284 h 522414"/>
                      <a:gd name="connsiteX527" fmla="*/ 645280 w 712457"/>
                      <a:gd name="connsiteY527" fmla="*/ 292698 h 522414"/>
                      <a:gd name="connsiteX528" fmla="*/ 637961 w 712457"/>
                      <a:gd name="connsiteY528" fmla="*/ 292429 h 522414"/>
                      <a:gd name="connsiteX529" fmla="*/ 633845 w 712457"/>
                      <a:gd name="connsiteY529" fmla="*/ 292942 h 522414"/>
                      <a:gd name="connsiteX530" fmla="*/ 631091 w 712457"/>
                      <a:gd name="connsiteY530" fmla="*/ 292364 h 522414"/>
                      <a:gd name="connsiteX531" fmla="*/ 628124 w 712457"/>
                      <a:gd name="connsiteY531" fmla="*/ 292559 h 522414"/>
                      <a:gd name="connsiteX532" fmla="*/ 630871 w 712457"/>
                      <a:gd name="connsiteY532" fmla="*/ 294075 h 522414"/>
                      <a:gd name="connsiteX533" fmla="*/ 636160 w 712457"/>
                      <a:gd name="connsiteY533" fmla="*/ 294702 h 522414"/>
                      <a:gd name="connsiteX534" fmla="*/ 636649 w 712457"/>
                      <a:gd name="connsiteY534" fmla="*/ 296642 h 522414"/>
                      <a:gd name="connsiteX535" fmla="*/ 640805 w 712457"/>
                      <a:gd name="connsiteY535" fmla="*/ 296593 h 522414"/>
                      <a:gd name="connsiteX536" fmla="*/ 643910 w 712457"/>
                      <a:gd name="connsiteY536" fmla="*/ 296218 h 522414"/>
                      <a:gd name="connsiteX537" fmla="*/ 649542 w 712457"/>
                      <a:gd name="connsiteY537" fmla="*/ 296292 h 522414"/>
                      <a:gd name="connsiteX538" fmla="*/ 649843 w 712457"/>
                      <a:gd name="connsiteY538" fmla="*/ 294067 h 522414"/>
                      <a:gd name="connsiteX539" fmla="*/ 653511 w 712457"/>
                      <a:gd name="connsiteY539" fmla="*/ 292795 h 522414"/>
                      <a:gd name="connsiteX540" fmla="*/ 655605 w 712457"/>
                      <a:gd name="connsiteY540" fmla="*/ 291402 h 522414"/>
                      <a:gd name="connsiteX541" fmla="*/ 657357 w 712457"/>
                      <a:gd name="connsiteY541" fmla="*/ 292217 h 522414"/>
                      <a:gd name="connsiteX542" fmla="*/ 662451 w 712457"/>
                      <a:gd name="connsiteY542" fmla="*/ 293178 h 522414"/>
                      <a:gd name="connsiteX543" fmla="*/ 669289 w 712457"/>
                      <a:gd name="connsiteY543" fmla="*/ 297555 h 522414"/>
                      <a:gd name="connsiteX544" fmla="*/ 666273 w 712457"/>
                      <a:gd name="connsiteY544" fmla="*/ 300163 h 522414"/>
                      <a:gd name="connsiteX545" fmla="*/ 665458 w 712457"/>
                      <a:gd name="connsiteY545" fmla="*/ 302640 h 522414"/>
                      <a:gd name="connsiteX546" fmla="*/ 664440 w 712457"/>
                      <a:gd name="connsiteY546" fmla="*/ 304735 h 522414"/>
                      <a:gd name="connsiteX547" fmla="*/ 663877 w 712457"/>
                      <a:gd name="connsiteY547" fmla="*/ 306626 h 522414"/>
                      <a:gd name="connsiteX548" fmla="*/ 662679 w 712457"/>
                      <a:gd name="connsiteY548" fmla="*/ 307921 h 522414"/>
                      <a:gd name="connsiteX549" fmla="*/ 652883 w 712457"/>
                      <a:gd name="connsiteY549" fmla="*/ 315329 h 522414"/>
                      <a:gd name="connsiteX550" fmla="*/ 654505 w 712457"/>
                      <a:gd name="connsiteY550" fmla="*/ 315395 h 522414"/>
                      <a:gd name="connsiteX551" fmla="*/ 658645 w 712457"/>
                      <a:gd name="connsiteY551" fmla="*/ 313602 h 522414"/>
                      <a:gd name="connsiteX552" fmla="*/ 666721 w 712457"/>
                      <a:gd name="connsiteY552" fmla="*/ 310945 h 522414"/>
                      <a:gd name="connsiteX553" fmla="*/ 671220 w 712457"/>
                      <a:gd name="connsiteY553" fmla="*/ 309869 h 522414"/>
                      <a:gd name="connsiteX554" fmla="*/ 674423 w 712457"/>
                      <a:gd name="connsiteY554" fmla="*/ 310578 h 522414"/>
                      <a:gd name="connsiteX555" fmla="*/ 676037 w 712457"/>
                      <a:gd name="connsiteY555" fmla="*/ 310611 h 522414"/>
                      <a:gd name="connsiteX556" fmla="*/ 677471 w 712457"/>
                      <a:gd name="connsiteY556" fmla="*/ 309665 h 522414"/>
                      <a:gd name="connsiteX557" fmla="*/ 680136 w 712457"/>
                      <a:gd name="connsiteY557" fmla="*/ 310757 h 522414"/>
                      <a:gd name="connsiteX558" fmla="*/ 685670 w 712457"/>
                      <a:gd name="connsiteY558" fmla="*/ 311760 h 522414"/>
                      <a:gd name="connsiteX559" fmla="*/ 692018 w 712457"/>
                      <a:gd name="connsiteY559" fmla="*/ 305672 h 522414"/>
                      <a:gd name="connsiteX560" fmla="*/ 695865 w 712457"/>
                      <a:gd name="connsiteY560" fmla="*/ 306870 h 522414"/>
                      <a:gd name="connsiteX561" fmla="*/ 699443 w 712457"/>
                      <a:gd name="connsiteY561" fmla="*/ 310627 h 522414"/>
                      <a:gd name="connsiteX562" fmla="*/ 707128 w 712457"/>
                      <a:gd name="connsiteY562" fmla="*/ 317204 h 522414"/>
                      <a:gd name="connsiteX563" fmla="*/ 711121 w 712457"/>
                      <a:gd name="connsiteY563" fmla="*/ 321042 h 522414"/>
                      <a:gd name="connsiteX564" fmla="*/ 712458 w 712457"/>
                      <a:gd name="connsiteY564" fmla="*/ 322778 h 522414"/>
                      <a:gd name="connsiteX565" fmla="*/ 712270 w 712457"/>
                      <a:gd name="connsiteY565" fmla="*/ 324490 h 522414"/>
                      <a:gd name="connsiteX566" fmla="*/ 708652 w 712457"/>
                      <a:gd name="connsiteY566" fmla="*/ 326299 h 522414"/>
                      <a:gd name="connsiteX567" fmla="*/ 706794 w 712457"/>
                      <a:gd name="connsiteY567" fmla="*/ 326666 h 522414"/>
                      <a:gd name="connsiteX568" fmla="*/ 701928 w 712457"/>
                      <a:gd name="connsiteY568" fmla="*/ 323243 h 522414"/>
                      <a:gd name="connsiteX569" fmla="*/ 697454 w 712457"/>
                      <a:gd name="connsiteY569" fmla="*/ 321523 h 522414"/>
                      <a:gd name="connsiteX570" fmla="*/ 694732 w 712457"/>
                      <a:gd name="connsiteY570" fmla="*/ 321703 h 522414"/>
                      <a:gd name="connsiteX571" fmla="*/ 692026 w 712457"/>
                      <a:gd name="connsiteY571" fmla="*/ 323023 h 522414"/>
                      <a:gd name="connsiteX572" fmla="*/ 692874 w 712457"/>
                      <a:gd name="connsiteY572" fmla="*/ 323756 h 522414"/>
                      <a:gd name="connsiteX573" fmla="*/ 703705 w 712457"/>
                      <a:gd name="connsiteY573" fmla="*/ 329021 h 522414"/>
                      <a:gd name="connsiteX574" fmla="*/ 705596 w 712457"/>
                      <a:gd name="connsiteY574" fmla="*/ 332892 h 522414"/>
                      <a:gd name="connsiteX575" fmla="*/ 705726 w 712457"/>
                      <a:gd name="connsiteY575" fmla="*/ 334587 h 522414"/>
                      <a:gd name="connsiteX576" fmla="*/ 698497 w 712457"/>
                      <a:gd name="connsiteY576" fmla="*/ 337154 h 522414"/>
                      <a:gd name="connsiteX577" fmla="*/ 696166 w 712457"/>
                      <a:gd name="connsiteY577" fmla="*/ 337309 h 522414"/>
                      <a:gd name="connsiteX578" fmla="*/ 691154 w 712457"/>
                      <a:gd name="connsiteY578" fmla="*/ 336079 h 522414"/>
                      <a:gd name="connsiteX579" fmla="*/ 688220 w 712457"/>
                      <a:gd name="connsiteY579" fmla="*/ 333789 h 522414"/>
                      <a:gd name="connsiteX580" fmla="*/ 685800 w 712457"/>
                      <a:gd name="connsiteY580" fmla="*/ 332965 h 522414"/>
                      <a:gd name="connsiteX581" fmla="*/ 682442 w 712457"/>
                      <a:gd name="connsiteY581" fmla="*/ 332697 h 522414"/>
                      <a:gd name="connsiteX582" fmla="*/ 681366 w 712457"/>
                      <a:gd name="connsiteY582" fmla="*/ 333137 h 522414"/>
                      <a:gd name="connsiteX583" fmla="*/ 685026 w 712457"/>
                      <a:gd name="connsiteY583" fmla="*/ 337016 h 522414"/>
                      <a:gd name="connsiteX584" fmla="*/ 684675 w 712457"/>
                      <a:gd name="connsiteY584" fmla="*/ 338189 h 522414"/>
                      <a:gd name="connsiteX585" fmla="*/ 682785 w 712457"/>
                      <a:gd name="connsiteY585" fmla="*/ 338947 h 522414"/>
                      <a:gd name="connsiteX586" fmla="*/ 681855 w 712457"/>
                      <a:gd name="connsiteY586" fmla="*/ 340822 h 522414"/>
                      <a:gd name="connsiteX587" fmla="*/ 689084 w 712457"/>
                      <a:gd name="connsiteY587" fmla="*/ 344196 h 522414"/>
                      <a:gd name="connsiteX588" fmla="*/ 694496 w 712457"/>
                      <a:gd name="connsiteY588" fmla="*/ 347619 h 522414"/>
                      <a:gd name="connsiteX589" fmla="*/ 695294 w 712457"/>
                      <a:gd name="connsiteY589" fmla="*/ 348996 h 522414"/>
                      <a:gd name="connsiteX590" fmla="*/ 691652 w 712457"/>
                      <a:gd name="connsiteY590" fmla="*/ 350015 h 522414"/>
                      <a:gd name="connsiteX591" fmla="*/ 689027 w 712457"/>
                      <a:gd name="connsiteY591" fmla="*/ 350251 h 522414"/>
                      <a:gd name="connsiteX592" fmla="*/ 683485 w 712457"/>
                      <a:gd name="connsiteY592" fmla="*/ 349754 h 522414"/>
                      <a:gd name="connsiteX593" fmla="*/ 680446 w 712457"/>
                      <a:gd name="connsiteY593" fmla="*/ 349037 h 522414"/>
                      <a:gd name="connsiteX594" fmla="*/ 679606 w 712457"/>
                      <a:gd name="connsiteY594" fmla="*/ 349803 h 522414"/>
                      <a:gd name="connsiteX595" fmla="*/ 682752 w 712457"/>
                      <a:gd name="connsiteY595" fmla="*/ 351596 h 522414"/>
                      <a:gd name="connsiteX596" fmla="*/ 683966 w 712457"/>
                      <a:gd name="connsiteY596" fmla="*/ 352810 h 522414"/>
                      <a:gd name="connsiteX597" fmla="*/ 684912 w 712457"/>
                      <a:gd name="connsiteY597" fmla="*/ 354497 h 522414"/>
                      <a:gd name="connsiteX598" fmla="*/ 685466 w 712457"/>
                      <a:gd name="connsiteY598" fmla="*/ 356094 h 522414"/>
                      <a:gd name="connsiteX599" fmla="*/ 685612 w 712457"/>
                      <a:gd name="connsiteY599" fmla="*/ 357586 h 522414"/>
                      <a:gd name="connsiteX600" fmla="*/ 683046 w 712457"/>
                      <a:gd name="connsiteY600" fmla="*/ 358800 h 522414"/>
                      <a:gd name="connsiteX601" fmla="*/ 679957 w 712457"/>
                      <a:gd name="connsiteY601" fmla="*/ 362239 h 522414"/>
                      <a:gd name="connsiteX602" fmla="*/ 678742 w 712457"/>
                      <a:gd name="connsiteY602" fmla="*/ 365793 h 522414"/>
                      <a:gd name="connsiteX603" fmla="*/ 675947 w 712457"/>
                      <a:gd name="connsiteY603" fmla="*/ 366127 h 522414"/>
                      <a:gd name="connsiteX604" fmla="*/ 674814 w 712457"/>
                      <a:gd name="connsiteY604" fmla="*/ 365458 h 522414"/>
                      <a:gd name="connsiteX605" fmla="*/ 671057 w 712457"/>
                      <a:gd name="connsiteY605" fmla="*/ 366542 h 522414"/>
                      <a:gd name="connsiteX606" fmla="*/ 666102 w 712457"/>
                      <a:gd name="connsiteY606" fmla="*/ 365051 h 522414"/>
                      <a:gd name="connsiteX607" fmla="*/ 664317 w 712457"/>
                      <a:gd name="connsiteY607" fmla="*/ 363429 h 522414"/>
                      <a:gd name="connsiteX608" fmla="*/ 658906 w 712457"/>
                      <a:gd name="connsiteY608" fmla="*/ 356746 h 522414"/>
                      <a:gd name="connsiteX609" fmla="*/ 658767 w 712457"/>
                      <a:gd name="connsiteY609" fmla="*/ 357496 h 522414"/>
                      <a:gd name="connsiteX610" fmla="*/ 660120 w 712457"/>
                      <a:gd name="connsiteY610" fmla="*/ 360878 h 522414"/>
                      <a:gd name="connsiteX611" fmla="*/ 659843 w 712457"/>
                      <a:gd name="connsiteY611" fmla="*/ 362875 h 522414"/>
                      <a:gd name="connsiteX612" fmla="*/ 654122 w 712457"/>
                      <a:gd name="connsiteY612" fmla="*/ 364334 h 522414"/>
                      <a:gd name="connsiteX613" fmla="*/ 654138 w 712457"/>
                      <a:gd name="connsiteY613" fmla="*/ 364896 h 522414"/>
                      <a:gd name="connsiteX614" fmla="*/ 657659 w 712457"/>
                      <a:gd name="connsiteY614" fmla="*/ 365956 h 522414"/>
                      <a:gd name="connsiteX615" fmla="*/ 661913 w 712457"/>
                      <a:gd name="connsiteY615" fmla="*/ 366771 h 522414"/>
                      <a:gd name="connsiteX616" fmla="*/ 661253 w 712457"/>
                      <a:gd name="connsiteY616" fmla="*/ 369884 h 522414"/>
                      <a:gd name="connsiteX617" fmla="*/ 661269 w 712457"/>
                      <a:gd name="connsiteY617" fmla="*/ 383135 h 522414"/>
                      <a:gd name="connsiteX618" fmla="*/ 660324 w 712457"/>
                      <a:gd name="connsiteY618" fmla="*/ 387829 h 522414"/>
                      <a:gd name="connsiteX619" fmla="*/ 658238 w 712457"/>
                      <a:gd name="connsiteY619" fmla="*/ 391929 h 522414"/>
                      <a:gd name="connsiteX620" fmla="*/ 655247 w 712457"/>
                      <a:gd name="connsiteY620" fmla="*/ 395849 h 522414"/>
                      <a:gd name="connsiteX621" fmla="*/ 652003 w 712457"/>
                      <a:gd name="connsiteY621" fmla="*/ 393282 h 522414"/>
                      <a:gd name="connsiteX622" fmla="*/ 650707 w 712457"/>
                      <a:gd name="connsiteY622" fmla="*/ 390657 h 522414"/>
                      <a:gd name="connsiteX623" fmla="*/ 649623 w 712457"/>
                      <a:gd name="connsiteY623" fmla="*/ 389313 h 522414"/>
                      <a:gd name="connsiteX624" fmla="*/ 648075 w 712457"/>
                      <a:gd name="connsiteY624" fmla="*/ 388221 h 522414"/>
                      <a:gd name="connsiteX625" fmla="*/ 646078 w 712457"/>
                      <a:gd name="connsiteY625" fmla="*/ 387699 h 522414"/>
                      <a:gd name="connsiteX626" fmla="*/ 643959 w 712457"/>
                      <a:gd name="connsiteY626" fmla="*/ 387683 h 522414"/>
                      <a:gd name="connsiteX627" fmla="*/ 641718 w 712457"/>
                      <a:gd name="connsiteY627" fmla="*/ 390038 h 522414"/>
                      <a:gd name="connsiteX628" fmla="*/ 639273 w 712457"/>
                      <a:gd name="connsiteY628" fmla="*/ 388009 h 522414"/>
                      <a:gd name="connsiteX629" fmla="*/ 636910 w 712457"/>
                      <a:gd name="connsiteY629" fmla="*/ 385556 h 522414"/>
                      <a:gd name="connsiteX630" fmla="*/ 637798 w 712457"/>
                      <a:gd name="connsiteY630" fmla="*/ 379134 h 522414"/>
                      <a:gd name="connsiteX631" fmla="*/ 638800 w 712457"/>
                      <a:gd name="connsiteY631" fmla="*/ 375915 h 522414"/>
                      <a:gd name="connsiteX632" fmla="*/ 638401 w 712457"/>
                      <a:gd name="connsiteY632" fmla="*/ 375939 h 522414"/>
                      <a:gd name="connsiteX633" fmla="*/ 637057 w 712457"/>
                      <a:gd name="connsiteY633" fmla="*/ 377463 h 522414"/>
                      <a:gd name="connsiteX634" fmla="*/ 633829 w 712457"/>
                      <a:gd name="connsiteY634" fmla="*/ 382165 h 522414"/>
                      <a:gd name="connsiteX635" fmla="*/ 631718 w 712457"/>
                      <a:gd name="connsiteY635" fmla="*/ 387911 h 522414"/>
                      <a:gd name="connsiteX636" fmla="*/ 628980 w 712457"/>
                      <a:gd name="connsiteY636" fmla="*/ 385702 h 522414"/>
                      <a:gd name="connsiteX637" fmla="*/ 626511 w 712457"/>
                      <a:gd name="connsiteY637" fmla="*/ 382956 h 522414"/>
                      <a:gd name="connsiteX638" fmla="*/ 624482 w 712457"/>
                      <a:gd name="connsiteY638" fmla="*/ 380185 h 522414"/>
                      <a:gd name="connsiteX639" fmla="*/ 621189 w 712457"/>
                      <a:gd name="connsiteY639" fmla="*/ 376998 h 522414"/>
                      <a:gd name="connsiteX640" fmla="*/ 617986 w 712457"/>
                      <a:gd name="connsiteY640" fmla="*/ 373250 h 522414"/>
                      <a:gd name="connsiteX641" fmla="*/ 616324 w 712457"/>
                      <a:gd name="connsiteY641" fmla="*/ 368824 h 522414"/>
                      <a:gd name="connsiteX642" fmla="*/ 615549 w 712457"/>
                      <a:gd name="connsiteY642" fmla="*/ 367920 h 522414"/>
                      <a:gd name="connsiteX643" fmla="*/ 613683 w 712457"/>
                      <a:gd name="connsiteY643" fmla="*/ 364228 h 522414"/>
                      <a:gd name="connsiteX644" fmla="*/ 612958 w 712457"/>
                      <a:gd name="connsiteY644" fmla="*/ 363177 h 522414"/>
                      <a:gd name="connsiteX645" fmla="*/ 612306 w 712457"/>
                      <a:gd name="connsiteY645" fmla="*/ 362826 h 522414"/>
                      <a:gd name="connsiteX646" fmla="*/ 610717 w 712457"/>
                      <a:gd name="connsiteY646" fmla="*/ 360528 h 522414"/>
                      <a:gd name="connsiteX647" fmla="*/ 611303 w 712457"/>
                      <a:gd name="connsiteY647" fmla="*/ 358059 h 522414"/>
                      <a:gd name="connsiteX648" fmla="*/ 613813 w 712457"/>
                      <a:gd name="connsiteY648" fmla="*/ 355149 h 522414"/>
                      <a:gd name="connsiteX649" fmla="*/ 616095 w 712457"/>
                      <a:gd name="connsiteY649" fmla="*/ 353055 h 522414"/>
                      <a:gd name="connsiteX650" fmla="*/ 619885 w 712457"/>
                      <a:gd name="connsiteY650" fmla="*/ 350985 h 522414"/>
                      <a:gd name="connsiteX651" fmla="*/ 624310 w 712457"/>
                      <a:gd name="connsiteY651" fmla="*/ 349819 h 522414"/>
                      <a:gd name="connsiteX652" fmla="*/ 626323 w 712457"/>
                      <a:gd name="connsiteY652" fmla="*/ 347154 h 522414"/>
                      <a:gd name="connsiteX653" fmla="*/ 628793 w 712457"/>
                      <a:gd name="connsiteY653" fmla="*/ 342281 h 522414"/>
                      <a:gd name="connsiteX654" fmla="*/ 631490 w 712457"/>
                      <a:gd name="connsiteY654" fmla="*/ 338890 h 522414"/>
                      <a:gd name="connsiteX655" fmla="*/ 634440 w 712457"/>
                      <a:gd name="connsiteY655" fmla="*/ 336967 h 522414"/>
                      <a:gd name="connsiteX656" fmla="*/ 632973 w 712457"/>
                      <a:gd name="connsiteY656" fmla="*/ 336608 h 522414"/>
                      <a:gd name="connsiteX657" fmla="*/ 629233 w 712457"/>
                      <a:gd name="connsiteY657" fmla="*/ 338255 h 522414"/>
                      <a:gd name="connsiteX658" fmla="*/ 626600 w 712457"/>
                      <a:gd name="connsiteY658" fmla="*/ 340651 h 522414"/>
                      <a:gd name="connsiteX659" fmla="*/ 623479 w 712457"/>
                      <a:gd name="connsiteY659" fmla="*/ 344644 h 522414"/>
                      <a:gd name="connsiteX660" fmla="*/ 620570 w 712457"/>
                      <a:gd name="connsiteY660" fmla="*/ 347187 h 522414"/>
                      <a:gd name="connsiteX661" fmla="*/ 613105 w 712457"/>
                      <a:gd name="connsiteY661" fmla="*/ 350137 h 522414"/>
                      <a:gd name="connsiteX662" fmla="*/ 610374 w 712457"/>
                      <a:gd name="connsiteY662" fmla="*/ 350724 h 522414"/>
                      <a:gd name="connsiteX663" fmla="*/ 607196 w 712457"/>
                      <a:gd name="connsiteY663" fmla="*/ 351042 h 522414"/>
                      <a:gd name="connsiteX664" fmla="*/ 600203 w 712457"/>
                      <a:gd name="connsiteY664" fmla="*/ 350626 h 522414"/>
                      <a:gd name="connsiteX665" fmla="*/ 598582 w 712457"/>
                      <a:gd name="connsiteY665" fmla="*/ 349632 h 522414"/>
                      <a:gd name="connsiteX666" fmla="*/ 599421 w 712457"/>
                      <a:gd name="connsiteY666" fmla="*/ 346820 h 522414"/>
                      <a:gd name="connsiteX667" fmla="*/ 604409 w 712457"/>
                      <a:gd name="connsiteY667" fmla="*/ 341767 h 522414"/>
                      <a:gd name="connsiteX668" fmla="*/ 603610 w 712457"/>
                      <a:gd name="connsiteY668" fmla="*/ 341417 h 522414"/>
                      <a:gd name="connsiteX669" fmla="*/ 601858 w 712457"/>
                      <a:gd name="connsiteY669" fmla="*/ 343202 h 522414"/>
                      <a:gd name="connsiteX670" fmla="*/ 599454 w 712457"/>
                      <a:gd name="connsiteY670" fmla="*/ 344432 h 522414"/>
                      <a:gd name="connsiteX671" fmla="*/ 597367 w 712457"/>
                      <a:gd name="connsiteY671" fmla="*/ 345060 h 522414"/>
                      <a:gd name="connsiteX672" fmla="*/ 594295 w 712457"/>
                      <a:gd name="connsiteY672" fmla="*/ 344840 h 522414"/>
                      <a:gd name="connsiteX673" fmla="*/ 590701 w 712457"/>
                      <a:gd name="connsiteY673" fmla="*/ 341694 h 522414"/>
                      <a:gd name="connsiteX674" fmla="*/ 589006 w 712457"/>
                      <a:gd name="connsiteY674" fmla="*/ 340732 h 522414"/>
                      <a:gd name="connsiteX675" fmla="*/ 585485 w 712457"/>
                      <a:gd name="connsiteY675" fmla="*/ 339648 h 522414"/>
                      <a:gd name="connsiteX676" fmla="*/ 584051 w 712457"/>
                      <a:gd name="connsiteY676" fmla="*/ 338564 h 522414"/>
                      <a:gd name="connsiteX677" fmla="*/ 578207 w 712457"/>
                      <a:gd name="connsiteY677" fmla="*/ 330838 h 522414"/>
                      <a:gd name="connsiteX678" fmla="*/ 577034 w 712457"/>
                      <a:gd name="connsiteY678" fmla="*/ 328785 h 522414"/>
                      <a:gd name="connsiteX679" fmla="*/ 576349 w 712457"/>
                      <a:gd name="connsiteY679" fmla="*/ 326764 h 522414"/>
                      <a:gd name="connsiteX680" fmla="*/ 574475 w 712457"/>
                      <a:gd name="connsiteY680" fmla="*/ 325068 h 522414"/>
                      <a:gd name="connsiteX681" fmla="*/ 571418 w 712457"/>
                      <a:gd name="connsiteY681" fmla="*/ 323691 h 522414"/>
                      <a:gd name="connsiteX682" fmla="*/ 570709 w 712457"/>
                      <a:gd name="connsiteY682" fmla="*/ 323919 h 522414"/>
                      <a:gd name="connsiteX683" fmla="*/ 571810 w 712457"/>
                      <a:gd name="connsiteY683" fmla="*/ 325639 h 522414"/>
                      <a:gd name="connsiteX684" fmla="*/ 571850 w 712457"/>
                      <a:gd name="connsiteY684" fmla="*/ 327138 h 522414"/>
                      <a:gd name="connsiteX685" fmla="*/ 569169 w 712457"/>
                      <a:gd name="connsiteY685" fmla="*/ 328059 h 522414"/>
                      <a:gd name="connsiteX686" fmla="*/ 566374 w 712457"/>
                      <a:gd name="connsiteY686" fmla="*/ 327733 h 522414"/>
                      <a:gd name="connsiteX687" fmla="*/ 563456 w 712457"/>
                      <a:gd name="connsiteY687" fmla="*/ 326169 h 522414"/>
                      <a:gd name="connsiteX688" fmla="*/ 563195 w 712457"/>
                      <a:gd name="connsiteY688" fmla="*/ 328279 h 522414"/>
                      <a:gd name="connsiteX689" fmla="*/ 566317 w 712457"/>
                      <a:gd name="connsiteY689" fmla="*/ 332028 h 522414"/>
                      <a:gd name="connsiteX690" fmla="*/ 566374 w 712457"/>
                      <a:gd name="connsiteY690" fmla="*/ 336780 h 522414"/>
                      <a:gd name="connsiteX691" fmla="*/ 565485 w 712457"/>
                      <a:gd name="connsiteY691" fmla="*/ 337260 h 522414"/>
                      <a:gd name="connsiteX692" fmla="*/ 563359 w 712457"/>
                      <a:gd name="connsiteY692" fmla="*/ 337537 h 522414"/>
                      <a:gd name="connsiteX693" fmla="*/ 561924 w 712457"/>
                      <a:gd name="connsiteY693" fmla="*/ 336959 h 522414"/>
                      <a:gd name="connsiteX694" fmla="*/ 557197 w 712457"/>
                      <a:gd name="connsiteY694" fmla="*/ 333414 h 522414"/>
                      <a:gd name="connsiteX695" fmla="*/ 552707 w 712457"/>
                      <a:gd name="connsiteY695" fmla="*/ 330944 h 522414"/>
                      <a:gd name="connsiteX696" fmla="*/ 549536 w 712457"/>
                      <a:gd name="connsiteY696" fmla="*/ 329567 h 522414"/>
                      <a:gd name="connsiteX697" fmla="*/ 549170 w 712457"/>
                      <a:gd name="connsiteY697" fmla="*/ 330545 h 522414"/>
                      <a:gd name="connsiteX698" fmla="*/ 551223 w 712457"/>
                      <a:gd name="connsiteY698" fmla="*/ 334824 h 522414"/>
                      <a:gd name="connsiteX699" fmla="*/ 553603 w 712457"/>
                      <a:gd name="connsiteY699" fmla="*/ 339045 h 522414"/>
                      <a:gd name="connsiteX700" fmla="*/ 557507 w 712457"/>
                      <a:gd name="connsiteY700" fmla="*/ 342517 h 522414"/>
                      <a:gd name="connsiteX701" fmla="*/ 563717 w 712457"/>
                      <a:gd name="connsiteY701" fmla="*/ 346649 h 522414"/>
                      <a:gd name="connsiteX702" fmla="*/ 566537 w 712457"/>
                      <a:gd name="connsiteY702" fmla="*/ 349037 h 522414"/>
                      <a:gd name="connsiteX703" fmla="*/ 564312 w 712457"/>
                      <a:gd name="connsiteY703" fmla="*/ 352386 h 522414"/>
                      <a:gd name="connsiteX704" fmla="*/ 562389 w 712457"/>
                      <a:gd name="connsiteY704" fmla="*/ 353487 h 522414"/>
                      <a:gd name="connsiteX705" fmla="*/ 561191 w 712457"/>
                      <a:gd name="connsiteY705" fmla="*/ 353821 h 522414"/>
                      <a:gd name="connsiteX706" fmla="*/ 557417 w 712457"/>
                      <a:gd name="connsiteY706" fmla="*/ 353829 h 522414"/>
                      <a:gd name="connsiteX707" fmla="*/ 550539 w 712457"/>
                      <a:gd name="connsiteY707" fmla="*/ 351971 h 522414"/>
                      <a:gd name="connsiteX708" fmla="*/ 547311 w 712457"/>
                      <a:gd name="connsiteY708" fmla="*/ 349909 h 522414"/>
                      <a:gd name="connsiteX709" fmla="*/ 542626 w 712457"/>
                      <a:gd name="connsiteY709" fmla="*/ 344962 h 522414"/>
                      <a:gd name="connsiteX710" fmla="*/ 534867 w 712457"/>
                      <a:gd name="connsiteY710" fmla="*/ 339868 h 522414"/>
                      <a:gd name="connsiteX711" fmla="*/ 533180 w 712457"/>
                      <a:gd name="connsiteY711" fmla="*/ 339893 h 522414"/>
                      <a:gd name="connsiteX712" fmla="*/ 527703 w 712457"/>
                      <a:gd name="connsiteY712" fmla="*/ 341963 h 522414"/>
                      <a:gd name="connsiteX713" fmla="*/ 528559 w 712457"/>
                      <a:gd name="connsiteY713" fmla="*/ 342297 h 522414"/>
                      <a:gd name="connsiteX714" fmla="*/ 532096 w 712457"/>
                      <a:gd name="connsiteY714" fmla="*/ 342452 h 522414"/>
                      <a:gd name="connsiteX715" fmla="*/ 534696 w 712457"/>
                      <a:gd name="connsiteY715" fmla="*/ 343120 h 522414"/>
                      <a:gd name="connsiteX716" fmla="*/ 540890 w 712457"/>
                      <a:gd name="connsiteY716" fmla="*/ 347138 h 522414"/>
                      <a:gd name="connsiteX717" fmla="*/ 541354 w 712457"/>
                      <a:gd name="connsiteY717" fmla="*/ 348833 h 522414"/>
                      <a:gd name="connsiteX718" fmla="*/ 539806 w 712457"/>
                      <a:gd name="connsiteY718" fmla="*/ 350724 h 522414"/>
                      <a:gd name="connsiteX719" fmla="*/ 539903 w 712457"/>
                      <a:gd name="connsiteY719" fmla="*/ 353112 h 522414"/>
                      <a:gd name="connsiteX720" fmla="*/ 541648 w 712457"/>
                      <a:gd name="connsiteY720" fmla="*/ 355980 h 522414"/>
                      <a:gd name="connsiteX721" fmla="*/ 543424 w 712457"/>
                      <a:gd name="connsiteY721" fmla="*/ 357822 h 522414"/>
                      <a:gd name="connsiteX722" fmla="*/ 547067 w 712457"/>
                      <a:gd name="connsiteY722" fmla="*/ 359110 h 522414"/>
                      <a:gd name="connsiteX723" fmla="*/ 548901 w 712457"/>
                      <a:gd name="connsiteY723" fmla="*/ 359281 h 522414"/>
                      <a:gd name="connsiteX724" fmla="*/ 549594 w 712457"/>
                      <a:gd name="connsiteY724" fmla="*/ 360120 h 522414"/>
                      <a:gd name="connsiteX725" fmla="*/ 547409 w 712457"/>
                      <a:gd name="connsiteY725" fmla="*/ 366510 h 522414"/>
                      <a:gd name="connsiteX726" fmla="*/ 547222 w 712457"/>
                      <a:gd name="connsiteY726" fmla="*/ 368246 h 522414"/>
                      <a:gd name="connsiteX727" fmla="*/ 547841 w 712457"/>
                      <a:gd name="connsiteY727" fmla="*/ 368963 h 522414"/>
                      <a:gd name="connsiteX728" fmla="*/ 548608 w 712457"/>
                      <a:gd name="connsiteY728" fmla="*/ 369028 h 522414"/>
                      <a:gd name="connsiteX729" fmla="*/ 553293 w 712457"/>
                      <a:gd name="connsiteY729" fmla="*/ 366404 h 522414"/>
                      <a:gd name="connsiteX730" fmla="*/ 555250 w 712457"/>
                      <a:gd name="connsiteY730" fmla="*/ 365768 h 522414"/>
                      <a:gd name="connsiteX731" fmla="*/ 556953 w 712457"/>
                      <a:gd name="connsiteY731" fmla="*/ 365638 h 522414"/>
                      <a:gd name="connsiteX732" fmla="*/ 558917 w 712457"/>
                      <a:gd name="connsiteY732" fmla="*/ 366371 h 522414"/>
                      <a:gd name="connsiteX733" fmla="*/ 561166 w 712457"/>
                      <a:gd name="connsiteY733" fmla="*/ 367969 h 522414"/>
                      <a:gd name="connsiteX734" fmla="*/ 562486 w 712457"/>
                      <a:gd name="connsiteY734" fmla="*/ 369623 h 522414"/>
                      <a:gd name="connsiteX735" fmla="*/ 562886 w 712457"/>
                      <a:gd name="connsiteY735" fmla="*/ 371326 h 522414"/>
                      <a:gd name="connsiteX736" fmla="*/ 563554 w 712457"/>
                      <a:gd name="connsiteY736" fmla="*/ 372443 h 522414"/>
                      <a:gd name="connsiteX737" fmla="*/ 568150 w 712457"/>
                      <a:gd name="connsiteY737" fmla="*/ 374236 h 522414"/>
                      <a:gd name="connsiteX738" fmla="*/ 567727 w 712457"/>
                      <a:gd name="connsiteY738" fmla="*/ 375075 h 522414"/>
                      <a:gd name="connsiteX739" fmla="*/ 562992 w 712457"/>
                      <a:gd name="connsiteY739" fmla="*/ 377773 h 522414"/>
                      <a:gd name="connsiteX740" fmla="*/ 562731 w 712457"/>
                      <a:gd name="connsiteY740" fmla="*/ 378205 h 522414"/>
                      <a:gd name="connsiteX741" fmla="*/ 563676 w 712457"/>
                      <a:gd name="connsiteY741" fmla="*/ 378400 h 522414"/>
                      <a:gd name="connsiteX742" fmla="*/ 566667 w 712457"/>
                      <a:gd name="connsiteY742" fmla="*/ 380014 h 522414"/>
                      <a:gd name="connsiteX743" fmla="*/ 569430 w 712457"/>
                      <a:gd name="connsiteY743" fmla="*/ 382532 h 522414"/>
                      <a:gd name="connsiteX744" fmla="*/ 571109 w 712457"/>
                      <a:gd name="connsiteY744" fmla="*/ 385531 h 522414"/>
                      <a:gd name="connsiteX745" fmla="*/ 571451 w 712457"/>
                      <a:gd name="connsiteY745" fmla="*/ 387006 h 522414"/>
                      <a:gd name="connsiteX746" fmla="*/ 571435 w 712457"/>
                      <a:gd name="connsiteY746" fmla="*/ 388408 h 522414"/>
                      <a:gd name="connsiteX747" fmla="*/ 571810 w 712457"/>
                      <a:gd name="connsiteY747" fmla="*/ 389248 h 522414"/>
                      <a:gd name="connsiteX748" fmla="*/ 573269 w 712457"/>
                      <a:gd name="connsiteY748" fmla="*/ 389394 h 522414"/>
                      <a:gd name="connsiteX749" fmla="*/ 573871 w 712457"/>
                      <a:gd name="connsiteY749" fmla="*/ 388856 h 522414"/>
                      <a:gd name="connsiteX750" fmla="*/ 574532 w 712457"/>
                      <a:gd name="connsiteY750" fmla="*/ 388962 h 522414"/>
                      <a:gd name="connsiteX751" fmla="*/ 575273 w 712457"/>
                      <a:gd name="connsiteY751" fmla="*/ 389696 h 522414"/>
                      <a:gd name="connsiteX752" fmla="*/ 576047 w 712457"/>
                      <a:gd name="connsiteY752" fmla="*/ 391994 h 522414"/>
                      <a:gd name="connsiteX753" fmla="*/ 577710 w 712457"/>
                      <a:gd name="connsiteY753" fmla="*/ 398701 h 522414"/>
                      <a:gd name="connsiteX754" fmla="*/ 578582 w 712457"/>
                      <a:gd name="connsiteY754" fmla="*/ 400592 h 522414"/>
                      <a:gd name="connsiteX755" fmla="*/ 579087 w 712457"/>
                      <a:gd name="connsiteY755" fmla="*/ 400657 h 522414"/>
                      <a:gd name="connsiteX756" fmla="*/ 579348 w 712457"/>
                      <a:gd name="connsiteY756" fmla="*/ 393925 h 522414"/>
                      <a:gd name="connsiteX757" fmla="*/ 580114 w 712457"/>
                      <a:gd name="connsiteY757" fmla="*/ 392809 h 522414"/>
                      <a:gd name="connsiteX758" fmla="*/ 583040 w 712457"/>
                      <a:gd name="connsiteY758" fmla="*/ 393999 h 522414"/>
                      <a:gd name="connsiteX759" fmla="*/ 587319 w 712457"/>
                      <a:gd name="connsiteY759" fmla="*/ 396623 h 522414"/>
                      <a:gd name="connsiteX760" fmla="*/ 590334 w 712457"/>
                      <a:gd name="connsiteY760" fmla="*/ 398954 h 522414"/>
                      <a:gd name="connsiteX761" fmla="*/ 590685 w 712457"/>
                      <a:gd name="connsiteY761" fmla="*/ 400046 h 522414"/>
                      <a:gd name="connsiteX762" fmla="*/ 588394 w 712457"/>
                      <a:gd name="connsiteY762" fmla="*/ 402165 h 522414"/>
                      <a:gd name="connsiteX763" fmla="*/ 588883 w 712457"/>
                      <a:gd name="connsiteY763" fmla="*/ 403102 h 522414"/>
                      <a:gd name="connsiteX764" fmla="*/ 590554 w 712457"/>
                      <a:gd name="connsiteY764" fmla="*/ 404488 h 522414"/>
                      <a:gd name="connsiteX765" fmla="*/ 592094 w 712457"/>
                      <a:gd name="connsiteY765" fmla="*/ 403958 h 522414"/>
                      <a:gd name="connsiteX766" fmla="*/ 593211 w 712457"/>
                      <a:gd name="connsiteY766" fmla="*/ 401603 h 522414"/>
                      <a:gd name="connsiteX767" fmla="*/ 595134 w 712457"/>
                      <a:gd name="connsiteY767" fmla="*/ 399280 h 522414"/>
                      <a:gd name="connsiteX768" fmla="*/ 597400 w 712457"/>
                      <a:gd name="connsiteY768" fmla="*/ 397625 h 522414"/>
                      <a:gd name="connsiteX769" fmla="*/ 601630 w 712457"/>
                      <a:gd name="connsiteY769" fmla="*/ 398978 h 522414"/>
                      <a:gd name="connsiteX770" fmla="*/ 605142 w 712457"/>
                      <a:gd name="connsiteY770" fmla="*/ 402458 h 522414"/>
                      <a:gd name="connsiteX771" fmla="*/ 605672 w 712457"/>
                      <a:gd name="connsiteY771" fmla="*/ 403648 h 522414"/>
                      <a:gd name="connsiteX772" fmla="*/ 607954 w 712457"/>
                      <a:gd name="connsiteY772" fmla="*/ 405156 h 522414"/>
                      <a:gd name="connsiteX773" fmla="*/ 609967 w 712457"/>
                      <a:gd name="connsiteY773" fmla="*/ 404316 h 522414"/>
                      <a:gd name="connsiteX774" fmla="*/ 613862 w 712457"/>
                      <a:gd name="connsiteY774" fmla="*/ 408302 h 522414"/>
                      <a:gd name="connsiteX775" fmla="*/ 612020 w 712457"/>
                      <a:gd name="connsiteY775" fmla="*/ 410103 h 522414"/>
                      <a:gd name="connsiteX776" fmla="*/ 607962 w 712457"/>
                      <a:gd name="connsiteY776" fmla="*/ 412719 h 522414"/>
                      <a:gd name="connsiteX777" fmla="*/ 607555 w 712457"/>
                      <a:gd name="connsiteY777" fmla="*/ 413607 h 522414"/>
                      <a:gd name="connsiteX778" fmla="*/ 608532 w 712457"/>
                      <a:gd name="connsiteY778" fmla="*/ 413403 h 522414"/>
                      <a:gd name="connsiteX779" fmla="*/ 616250 w 712457"/>
                      <a:gd name="connsiteY779" fmla="*/ 413403 h 522414"/>
                      <a:gd name="connsiteX780" fmla="*/ 618337 w 712457"/>
                      <a:gd name="connsiteY780" fmla="*/ 414446 h 522414"/>
                      <a:gd name="connsiteX781" fmla="*/ 618826 w 712457"/>
                      <a:gd name="connsiteY781" fmla="*/ 416459 h 522414"/>
                      <a:gd name="connsiteX782" fmla="*/ 615394 w 712457"/>
                      <a:gd name="connsiteY782" fmla="*/ 422034 h 522414"/>
                      <a:gd name="connsiteX783" fmla="*/ 612257 w 712457"/>
                      <a:gd name="connsiteY783" fmla="*/ 421537 h 522414"/>
                      <a:gd name="connsiteX784" fmla="*/ 608092 w 712457"/>
                      <a:gd name="connsiteY784" fmla="*/ 421406 h 522414"/>
                      <a:gd name="connsiteX785" fmla="*/ 605957 w 712457"/>
                      <a:gd name="connsiteY785" fmla="*/ 421708 h 522414"/>
                      <a:gd name="connsiteX786" fmla="*/ 606291 w 712457"/>
                      <a:gd name="connsiteY786" fmla="*/ 422425 h 522414"/>
                      <a:gd name="connsiteX787" fmla="*/ 612053 w 712457"/>
                      <a:gd name="connsiteY787" fmla="*/ 424992 h 522414"/>
                      <a:gd name="connsiteX788" fmla="*/ 613683 w 712457"/>
                      <a:gd name="connsiteY788" fmla="*/ 427111 h 522414"/>
                      <a:gd name="connsiteX789" fmla="*/ 615900 w 712457"/>
                      <a:gd name="connsiteY789" fmla="*/ 429271 h 522414"/>
                      <a:gd name="connsiteX790" fmla="*/ 616975 w 712457"/>
                      <a:gd name="connsiteY790" fmla="*/ 431056 h 522414"/>
                      <a:gd name="connsiteX791" fmla="*/ 616943 w 712457"/>
                      <a:gd name="connsiteY791" fmla="*/ 431871 h 522414"/>
                      <a:gd name="connsiteX792" fmla="*/ 616030 w 712457"/>
                      <a:gd name="connsiteY792" fmla="*/ 433093 h 522414"/>
                      <a:gd name="connsiteX793" fmla="*/ 616470 w 712457"/>
                      <a:gd name="connsiteY793" fmla="*/ 433509 h 522414"/>
                      <a:gd name="connsiteX794" fmla="*/ 620423 w 712457"/>
                      <a:gd name="connsiteY794" fmla="*/ 434307 h 522414"/>
                      <a:gd name="connsiteX795" fmla="*/ 622868 w 712457"/>
                      <a:gd name="connsiteY795" fmla="*/ 433590 h 522414"/>
                      <a:gd name="connsiteX796" fmla="*/ 625940 w 712457"/>
                      <a:gd name="connsiteY796" fmla="*/ 433313 h 522414"/>
                      <a:gd name="connsiteX797" fmla="*/ 628654 w 712457"/>
                      <a:gd name="connsiteY797" fmla="*/ 433517 h 522414"/>
                      <a:gd name="connsiteX798" fmla="*/ 628874 w 712457"/>
                      <a:gd name="connsiteY798" fmla="*/ 434283 h 522414"/>
                      <a:gd name="connsiteX799" fmla="*/ 628467 w 712457"/>
                      <a:gd name="connsiteY799" fmla="*/ 436304 h 522414"/>
                      <a:gd name="connsiteX800" fmla="*/ 625687 w 712457"/>
                      <a:gd name="connsiteY800" fmla="*/ 438179 h 522414"/>
                      <a:gd name="connsiteX801" fmla="*/ 626429 w 712457"/>
                      <a:gd name="connsiteY801" fmla="*/ 438619 h 522414"/>
                      <a:gd name="connsiteX802" fmla="*/ 629689 w 712457"/>
                      <a:gd name="connsiteY802" fmla="*/ 438081 h 522414"/>
                      <a:gd name="connsiteX803" fmla="*/ 631189 w 712457"/>
                      <a:gd name="connsiteY803" fmla="*/ 438953 h 522414"/>
                      <a:gd name="connsiteX804" fmla="*/ 633120 w 712457"/>
                      <a:gd name="connsiteY804" fmla="*/ 443402 h 522414"/>
                      <a:gd name="connsiteX805" fmla="*/ 635288 w 712457"/>
                      <a:gd name="connsiteY805" fmla="*/ 446882 h 522414"/>
                      <a:gd name="connsiteX806" fmla="*/ 633528 w 712457"/>
                      <a:gd name="connsiteY806" fmla="*/ 447681 h 522414"/>
                      <a:gd name="connsiteX807" fmla="*/ 631555 w 712457"/>
                      <a:gd name="connsiteY807" fmla="*/ 447991 h 522414"/>
                      <a:gd name="connsiteX808" fmla="*/ 631832 w 712457"/>
                      <a:gd name="connsiteY808" fmla="*/ 452432 h 522414"/>
                      <a:gd name="connsiteX809" fmla="*/ 633120 w 712457"/>
                      <a:gd name="connsiteY809" fmla="*/ 456980 h 522414"/>
                      <a:gd name="connsiteX810" fmla="*/ 633128 w 712457"/>
                      <a:gd name="connsiteY810" fmla="*/ 461332 h 522414"/>
                      <a:gd name="connsiteX811" fmla="*/ 632729 w 712457"/>
                      <a:gd name="connsiteY811" fmla="*/ 465195 h 522414"/>
                      <a:gd name="connsiteX812" fmla="*/ 630928 w 712457"/>
                      <a:gd name="connsiteY812" fmla="*/ 466059 h 522414"/>
                      <a:gd name="connsiteX813" fmla="*/ 628996 w 712457"/>
                      <a:gd name="connsiteY813" fmla="*/ 465961 h 522414"/>
                      <a:gd name="connsiteX814" fmla="*/ 628239 w 712457"/>
                      <a:gd name="connsiteY814" fmla="*/ 464991 h 522414"/>
                      <a:gd name="connsiteX815" fmla="*/ 623504 w 712457"/>
                      <a:gd name="connsiteY815" fmla="*/ 453418 h 522414"/>
                      <a:gd name="connsiteX816" fmla="*/ 622338 w 712457"/>
                      <a:gd name="connsiteY816" fmla="*/ 451316 h 522414"/>
                      <a:gd name="connsiteX817" fmla="*/ 620936 w 712457"/>
                      <a:gd name="connsiteY817" fmla="*/ 449499 h 522414"/>
                      <a:gd name="connsiteX818" fmla="*/ 615916 w 712457"/>
                      <a:gd name="connsiteY818" fmla="*/ 444478 h 522414"/>
                      <a:gd name="connsiteX819" fmla="*/ 616120 w 712457"/>
                      <a:gd name="connsiteY819" fmla="*/ 445293 h 522414"/>
                      <a:gd name="connsiteX820" fmla="*/ 617367 w 712457"/>
                      <a:gd name="connsiteY820" fmla="*/ 447600 h 522414"/>
                      <a:gd name="connsiteX821" fmla="*/ 618467 w 712457"/>
                      <a:gd name="connsiteY821" fmla="*/ 451047 h 522414"/>
                      <a:gd name="connsiteX822" fmla="*/ 619901 w 712457"/>
                      <a:gd name="connsiteY822" fmla="*/ 457909 h 522414"/>
                      <a:gd name="connsiteX823" fmla="*/ 620561 w 712457"/>
                      <a:gd name="connsiteY823" fmla="*/ 462326 h 522414"/>
                      <a:gd name="connsiteX824" fmla="*/ 620268 w 712457"/>
                      <a:gd name="connsiteY824" fmla="*/ 464005 h 522414"/>
                      <a:gd name="connsiteX825" fmla="*/ 619241 w 712457"/>
                      <a:gd name="connsiteY825" fmla="*/ 464413 h 522414"/>
                      <a:gd name="connsiteX826" fmla="*/ 618972 w 712457"/>
                      <a:gd name="connsiteY826" fmla="*/ 465211 h 522414"/>
                      <a:gd name="connsiteX827" fmla="*/ 619461 w 712457"/>
                      <a:gd name="connsiteY827" fmla="*/ 466401 h 522414"/>
                      <a:gd name="connsiteX828" fmla="*/ 623292 w 712457"/>
                      <a:gd name="connsiteY828" fmla="*/ 470908 h 522414"/>
                      <a:gd name="connsiteX829" fmla="*/ 625142 w 712457"/>
                      <a:gd name="connsiteY829" fmla="*/ 473614 h 522414"/>
                      <a:gd name="connsiteX830" fmla="*/ 626454 w 712457"/>
                      <a:gd name="connsiteY830" fmla="*/ 476417 h 522414"/>
                      <a:gd name="connsiteX831" fmla="*/ 627668 w 712457"/>
                      <a:gd name="connsiteY831" fmla="*/ 478316 h 522414"/>
                      <a:gd name="connsiteX832" fmla="*/ 628809 w 712457"/>
                      <a:gd name="connsiteY832" fmla="*/ 479294 h 522414"/>
                      <a:gd name="connsiteX833" fmla="*/ 628532 w 712457"/>
                      <a:gd name="connsiteY833" fmla="*/ 480101 h 522414"/>
                      <a:gd name="connsiteX834" fmla="*/ 626837 w 712457"/>
                      <a:gd name="connsiteY834" fmla="*/ 480728 h 522414"/>
                      <a:gd name="connsiteX835" fmla="*/ 623944 w 712457"/>
                      <a:gd name="connsiteY835" fmla="*/ 481030 h 522414"/>
                      <a:gd name="connsiteX836" fmla="*/ 622591 w 712457"/>
                      <a:gd name="connsiteY836" fmla="*/ 480647 h 522414"/>
                      <a:gd name="connsiteX837" fmla="*/ 617383 w 712457"/>
                      <a:gd name="connsiteY837" fmla="*/ 478047 h 522414"/>
                      <a:gd name="connsiteX838" fmla="*/ 616650 w 712457"/>
                      <a:gd name="connsiteY838" fmla="*/ 478854 h 522414"/>
                      <a:gd name="connsiteX839" fmla="*/ 619526 w 712457"/>
                      <a:gd name="connsiteY839" fmla="*/ 488356 h 522414"/>
                      <a:gd name="connsiteX840" fmla="*/ 619437 w 712457"/>
                      <a:gd name="connsiteY840" fmla="*/ 490630 h 522414"/>
                      <a:gd name="connsiteX841" fmla="*/ 617986 w 712457"/>
                      <a:gd name="connsiteY841" fmla="*/ 491437 h 522414"/>
                      <a:gd name="connsiteX842" fmla="*/ 616209 w 712457"/>
                      <a:gd name="connsiteY842" fmla="*/ 490492 h 522414"/>
                      <a:gd name="connsiteX843" fmla="*/ 614090 w 712457"/>
                      <a:gd name="connsiteY843" fmla="*/ 487794 h 522414"/>
                      <a:gd name="connsiteX844" fmla="*/ 610847 w 712457"/>
                      <a:gd name="connsiteY844" fmla="*/ 484795 h 522414"/>
                      <a:gd name="connsiteX845" fmla="*/ 606487 w 712457"/>
                      <a:gd name="connsiteY845" fmla="*/ 481478 h 522414"/>
                      <a:gd name="connsiteX846" fmla="*/ 602314 w 712457"/>
                      <a:gd name="connsiteY846" fmla="*/ 478878 h 522414"/>
                      <a:gd name="connsiteX847" fmla="*/ 601344 w 712457"/>
                      <a:gd name="connsiteY847" fmla="*/ 478952 h 522414"/>
                      <a:gd name="connsiteX848" fmla="*/ 600701 w 712457"/>
                      <a:gd name="connsiteY848" fmla="*/ 479718 h 522414"/>
                      <a:gd name="connsiteX849" fmla="*/ 600008 w 712457"/>
                      <a:gd name="connsiteY849" fmla="*/ 479848 h 522414"/>
                      <a:gd name="connsiteX850" fmla="*/ 599250 w 712457"/>
                      <a:gd name="connsiteY850" fmla="*/ 479326 h 522414"/>
                      <a:gd name="connsiteX851" fmla="*/ 597856 w 712457"/>
                      <a:gd name="connsiteY851" fmla="*/ 477387 h 522414"/>
                      <a:gd name="connsiteX852" fmla="*/ 596406 w 712457"/>
                      <a:gd name="connsiteY852" fmla="*/ 476050 h 522414"/>
                      <a:gd name="connsiteX853" fmla="*/ 590326 w 712457"/>
                      <a:gd name="connsiteY853" fmla="*/ 471666 h 522414"/>
                      <a:gd name="connsiteX854" fmla="*/ 589698 w 712457"/>
                      <a:gd name="connsiteY854" fmla="*/ 471625 h 522414"/>
                      <a:gd name="connsiteX855" fmla="*/ 590277 w 712457"/>
                      <a:gd name="connsiteY855" fmla="*/ 472945 h 522414"/>
                      <a:gd name="connsiteX856" fmla="*/ 590896 w 712457"/>
                      <a:gd name="connsiteY856" fmla="*/ 475830 h 522414"/>
                      <a:gd name="connsiteX857" fmla="*/ 590204 w 712457"/>
                      <a:gd name="connsiteY857" fmla="*/ 476450 h 522414"/>
                      <a:gd name="connsiteX858" fmla="*/ 588622 w 712457"/>
                      <a:gd name="connsiteY858" fmla="*/ 476221 h 522414"/>
                      <a:gd name="connsiteX859" fmla="*/ 585599 w 712457"/>
                      <a:gd name="connsiteY859" fmla="*/ 474966 h 522414"/>
                      <a:gd name="connsiteX860" fmla="*/ 583570 w 712457"/>
                      <a:gd name="connsiteY860" fmla="*/ 472081 h 522414"/>
                      <a:gd name="connsiteX861" fmla="*/ 580986 w 712457"/>
                      <a:gd name="connsiteY861" fmla="*/ 467061 h 522414"/>
                      <a:gd name="connsiteX862" fmla="*/ 579633 w 712457"/>
                      <a:gd name="connsiteY862" fmla="*/ 465170 h 522414"/>
                      <a:gd name="connsiteX863" fmla="*/ 579519 w 712457"/>
                      <a:gd name="connsiteY863" fmla="*/ 466393 h 522414"/>
                      <a:gd name="connsiteX864" fmla="*/ 580228 w 712457"/>
                      <a:gd name="connsiteY864" fmla="*/ 471177 h 522414"/>
                      <a:gd name="connsiteX865" fmla="*/ 580090 w 712457"/>
                      <a:gd name="connsiteY865" fmla="*/ 472782 h 522414"/>
                      <a:gd name="connsiteX866" fmla="*/ 578582 w 712457"/>
                      <a:gd name="connsiteY866" fmla="*/ 473214 h 522414"/>
                      <a:gd name="connsiteX867" fmla="*/ 577938 w 712457"/>
                      <a:gd name="connsiteY867" fmla="*/ 472774 h 522414"/>
                      <a:gd name="connsiteX868" fmla="*/ 577311 w 712457"/>
                      <a:gd name="connsiteY868" fmla="*/ 471503 h 522414"/>
                      <a:gd name="connsiteX869" fmla="*/ 576700 w 712457"/>
                      <a:gd name="connsiteY869" fmla="*/ 469400 h 522414"/>
                      <a:gd name="connsiteX870" fmla="*/ 575257 w 712457"/>
                      <a:gd name="connsiteY870" fmla="*/ 467786 h 522414"/>
                      <a:gd name="connsiteX871" fmla="*/ 572983 w 712457"/>
                      <a:gd name="connsiteY871" fmla="*/ 466703 h 522414"/>
                      <a:gd name="connsiteX872" fmla="*/ 571704 w 712457"/>
                      <a:gd name="connsiteY872" fmla="*/ 465545 h 522414"/>
                      <a:gd name="connsiteX873" fmla="*/ 571076 w 712457"/>
                      <a:gd name="connsiteY873" fmla="*/ 463492 h 522414"/>
                      <a:gd name="connsiteX874" fmla="*/ 570628 w 712457"/>
                      <a:gd name="connsiteY874" fmla="*/ 463027 h 522414"/>
                      <a:gd name="connsiteX875" fmla="*/ 566618 w 712457"/>
                      <a:gd name="connsiteY875" fmla="*/ 463500 h 522414"/>
                      <a:gd name="connsiteX876" fmla="*/ 564605 w 712457"/>
                      <a:gd name="connsiteY876" fmla="*/ 462025 h 522414"/>
                      <a:gd name="connsiteX877" fmla="*/ 558803 w 712457"/>
                      <a:gd name="connsiteY877" fmla="*/ 456206 h 522414"/>
                      <a:gd name="connsiteX878" fmla="*/ 553481 w 712457"/>
                      <a:gd name="connsiteY878" fmla="*/ 449890 h 522414"/>
                      <a:gd name="connsiteX879" fmla="*/ 550140 w 712457"/>
                      <a:gd name="connsiteY879" fmla="*/ 446540 h 522414"/>
                      <a:gd name="connsiteX880" fmla="*/ 548925 w 712457"/>
                      <a:gd name="connsiteY880" fmla="*/ 445750 h 522414"/>
                      <a:gd name="connsiteX881" fmla="*/ 550702 w 712457"/>
                      <a:gd name="connsiteY881" fmla="*/ 449841 h 522414"/>
                      <a:gd name="connsiteX882" fmla="*/ 552658 w 712457"/>
                      <a:gd name="connsiteY882" fmla="*/ 455880 h 522414"/>
                      <a:gd name="connsiteX883" fmla="*/ 553155 w 712457"/>
                      <a:gd name="connsiteY883" fmla="*/ 458634 h 522414"/>
                      <a:gd name="connsiteX884" fmla="*/ 552259 w 712457"/>
                      <a:gd name="connsiteY884" fmla="*/ 458757 h 522414"/>
                      <a:gd name="connsiteX885" fmla="*/ 550295 w 712457"/>
                      <a:gd name="connsiteY885" fmla="*/ 457542 h 522414"/>
                      <a:gd name="connsiteX886" fmla="*/ 540238 w 712457"/>
                      <a:gd name="connsiteY886" fmla="*/ 449759 h 522414"/>
                      <a:gd name="connsiteX887" fmla="*/ 534028 w 712457"/>
                      <a:gd name="connsiteY887" fmla="*/ 446092 h 522414"/>
                      <a:gd name="connsiteX888" fmla="*/ 530580 w 712457"/>
                      <a:gd name="connsiteY888" fmla="*/ 445440 h 522414"/>
                      <a:gd name="connsiteX889" fmla="*/ 524973 w 712457"/>
                      <a:gd name="connsiteY889" fmla="*/ 444992 h 522414"/>
                      <a:gd name="connsiteX890" fmla="*/ 523677 w 712457"/>
                      <a:gd name="connsiteY890" fmla="*/ 447013 h 522414"/>
                      <a:gd name="connsiteX891" fmla="*/ 526701 w 712457"/>
                      <a:gd name="connsiteY891" fmla="*/ 451495 h 522414"/>
                      <a:gd name="connsiteX892" fmla="*/ 529643 w 712457"/>
                      <a:gd name="connsiteY892" fmla="*/ 454869 h 522414"/>
                      <a:gd name="connsiteX893" fmla="*/ 532504 w 712457"/>
                      <a:gd name="connsiteY893" fmla="*/ 457135 h 522414"/>
                      <a:gd name="connsiteX894" fmla="*/ 537002 w 712457"/>
                      <a:gd name="connsiteY894" fmla="*/ 461552 h 522414"/>
                      <a:gd name="connsiteX895" fmla="*/ 541118 w 712457"/>
                      <a:gd name="connsiteY895" fmla="*/ 467232 h 522414"/>
                      <a:gd name="connsiteX896" fmla="*/ 542772 w 712457"/>
                      <a:gd name="connsiteY896" fmla="*/ 468976 h 522414"/>
                      <a:gd name="connsiteX897" fmla="*/ 548371 w 712457"/>
                      <a:gd name="connsiteY897" fmla="*/ 471397 h 522414"/>
                      <a:gd name="connsiteX898" fmla="*/ 551297 w 712457"/>
                      <a:gd name="connsiteY898" fmla="*/ 472041 h 522414"/>
                      <a:gd name="connsiteX899" fmla="*/ 554312 w 712457"/>
                      <a:gd name="connsiteY899" fmla="*/ 472228 h 522414"/>
                      <a:gd name="connsiteX900" fmla="*/ 554581 w 712457"/>
                      <a:gd name="connsiteY900" fmla="*/ 473092 h 522414"/>
                      <a:gd name="connsiteX901" fmla="*/ 553131 w 712457"/>
                      <a:gd name="connsiteY901" fmla="*/ 474697 h 522414"/>
                      <a:gd name="connsiteX902" fmla="*/ 552804 w 712457"/>
                      <a:gd name="connsiteY902" fmla="*/ 475692 h 522414"/>
                      <a:gd name="connsiteX903" fmla="*/ 559463 w 712457"/>
                      <a:gd name="connsiteY903" fmla="*/ 478210 h 522414"/>
                      <a:gd name="connsiteX904" fmla="*/ 561981 w 712457"/>
                      <a:gd name="connsiteY904" fmla="*/ 479620 h 522414"/>
                      <a:gd name="connsiteX905" fmla="*/ 564418 w 712457"/>
                      <a:gd name="connsiteY905" fmla="*/ 481951 h 522414"/>
                      <a:gd name="connsiteX906" fmla="*/ 565803 w 712457"/>
                      <a:gd name="connsiteY906" fmla="*/ 482521 h 522414"/>
                      <a:gd name="connsiteX907" fmla="*/ 571582 w 712457"/>
                      <a:gd name="connsiteY907" fmla="*/ 488381 h 522414"/>
                      <a:gd name="connsiteX908" fmla="*/ 573024 w 712457"/>
                      <a:gd name="connsiteY908" fmla="*/ 489318 h 522414"/>
                      <a:gd name="connsiteX909" fmla="*/ 578166 w 712457"/>
                      <a:gd name="connsiteY909" fmla="*/ 491217 h 522414"/>
                      <a:gd name="connsiteX910" fmla="*/ 579878 w 712457"/>
                      <a:gd name="connsiteY910" fmla="*/ 492431 h 522414"/>
                      <a:gd name="connsiteX911" fmla="*/ 582722 w 712457"/>
                      <a:gd name="connsiteY911" fmla="*/ 496213 h 522414"/>
                      <a:gd name="connsiteX912" fmla="*/ 584499 w 712457"/>
                      <a:gd name="connsiteY912" fmla="*/ 498128 h 522414"/>
                      <a:gd name="connsiteX913" fmla="*/ 587017 w 712457"/>
                      <a:gd name="connsiteY913" fmla="*/ 502684 h 522414"/>
                      <a:gd name="connsiteX914" fmla="*/ 588900 w 712457"/>
                      <a:gd name="connsiteY914" fmla="*/ 504697 h 522414"/>
                      <a:gd name="connsiteX915" fmla="*/ 593521 w 712457"/>
                      <a:gd name="connsiteY915" fmla="*/ 506995 h 522414"/>
                      <a:gd name="connsiteX916" fmla="*/ 595493 w 712457"/>
                      <a:gd name="connsiteY916" fmla="*/ 507655 h 522414"/>
                      <a:gd name="connsiteX917" fmla="*/ 596365 w 712457"/>
                      <a:gd name="connsiteY917" fmla="*/ 508527 h 522414"/>
                      <a:gd name="connsiteX918" fmla="*/ 595770 w 712457"/>
                      <a:gd name="connsiteY918" fmla="*/ 510589 h 522414"/>
                      <a:gd name="connsiteX919" fmla="*/ 595208 w 712457"/>
                      <a:gd name="connsiteY919" fmla="*/ 511445 h 522414"/>
                      <a:gd name="connsiteX920" fmla="*/ 592583 w 712457"/>
                      <a:gd name="connsiteY920" fmla="*/ 512871 h 522414"/>
                      <a:gd name="connsiteX921" fmla="*/ 592991 w 712457"/>
                      <a:gd name="connsiteY921" fmla="*/ 514851 h 522414"/>
                      <a:gd name="connsiteX922" fmla="*/ 594482 w 712457"/>
                      <a:gd name="connsiteY922" fmla="*/ 518372 h 522414"/>
                      <a:gd name="connsiteX923" fmla="*/ 594417 w 712457"/>
                      <a:gd name="connsiteY923" fmla="*/ 520556 h 522414"/>
                      <a:gd name="connsiteX924" fmla="*/ 592803 w 712457"/>
                      <a:gd name="connsiteY924" fmla="*/ 521404 h 522414"/>
                      <a:gd name="connsiteX925" fmla="*/ 589519 w 712457"/>
                      <a:gd name="connsiteY925" fmla="*/ 522414 h 522414"/>
                      <a:gd name="connsiteX926" fmla="*/ 587848 w 712457"/>
                      <a:gd name="connsiteY926" fmla="*/ 522324 h 522414"/>
                      <a:gd name="connsiteX927" fmla="*/ 585346 w 712457"/>
                      <a:gd name="connsiteY927" fmla="*/ 521501 h 522414"/>
                      <a:gd name="connsiteX928" fmla="*/ 582201 w 712457"/>
                      <a:gd name="connsiteY928" fmla="*/ 520075 h 522414"/>
                      <a:gd name="connsiteX929" fmla="*/ 575958 w 712457"/>
                      <a:gd name="connsiteY929" fmla="*/ 516530 h 522414"/>
                      <a:gd name="connsiteX930" fmla="*/ 566586 w 712457"/>
                      <a:gd name="connsiteY930" fmla="*/ 514085 h 522414"/>
                      <a:gd name="connsiteX931" fmla="*/ 563089 w 712457"/>
                      <a:gd name="connsiteY931" fmla="*/ 512765 h 522414"/>
                      <a:gd name="connsiteX932" fmla="*/ 561924 w 712457"/>
                      <a:gd name="connsiteY932" fmla="*/ 511575 h 522414"/>
                      <a:gd name="connsiteX933" fmla="*/ 560164 w 712457"/>
                      <a:gd name="connsiteY933" fmla="*/ 510874 h 522414"/>
                      <a:gd name="connsiteX934" fmla="*/ 536888 w 712457"/>
                      <a:gd name="connsiteY934" fmla="*/ 507459 h 522414"/>
                      <a:gd name="connsiteX935" fmla="*/ 532984 w 712457"/>
                      <a:gd name="connsiteY935" fmla="*/ 506620 h 522414"/>
                      <a:gd name="connsiteX936" fmla="*/ 530564 w 712457"/>
                      <a:gd name="connsiteY936" fmla="*/ 505569 h 522414"/>
                      <a:gd name="connsiteX937" fmla="*/ 528307 w 712457"/>
                      <a:gd name="connsiteY937" fmla="*/ 504028 h 522414"/>
                      <a:gd name="connsiteX938" fmla="*/ 519423 w 712457"/>
                      <a:gd name="connsiteY938" fmla="*/ 500499 h 522414"/>
                      <a:gd name="connsiteX939" fmla="*/ 518356 w 712457"/>
                      <a:gd name="connsiteY939" fmla="*/ 499733 h 522414"/>
                      <a:gd name="connsiteX940" fmla="*/ 512390 w 712457"/>
                      <a:gd name="connsiteY940" fmla="*/ 493678 h 522414"/>
                      <a:gd name="connsiteX941" fmla="*/ 507948 w 712457"/>
                      <a:gd name="connsiteY941" fmla="*/ 486588 h 522414"/>
                      <a:gd name="connsiteX942" fmla="*/ 506473 w 712457"/>
                      <a:gd name="connsiteY942" fmla="*/ 485634 h 522414"/>
                      <a:gd name="connsiteX943" fmla="*/ 501641 w 712457"/>
                      <a:gd name="connsiteY943" fmla="*/ 484705 h 522414"/>
                      <a:gd name="connsiteX944" fmla="*/ 497606 w 712457"/>
                      <a:gd name="connsiteY944" fmla="*/ 485284 h 522414"/>
                      <a:gd name="connsiteX945" fmla="*/ 494909 w 712457"/>
                      <a:gd name="connsiteY945" fmla="*/ 486074 h 522414"/>
                      <a:gd name="connsiteX946" fmla="*/ 490810 w 712457"/>
                      <a:gd name="connsiteY946" fmla="*/ 485814 h 522414"/>
                      <a:gd name="connsiteX947" fmla="*/ 488136 w 712457"/>
                      <a:gd name="connsiteY947" fmla="*/ 484656 h 522414"/>
                      <a:gd name="connsiteX948" fmla="*/ 482497 w 712457"/>
                      <a:gd name="connsiteY948" fmla="*/ 481470 h 522414"/>
                      <a:gd name="connsiteX949" fmla="*/ 476792 w 712457"/>
                      <a:gd name="connsiteY949" fmla="*/ 479775 h 522414"/>
                      <a:gd name="connsiteX950" fmla="*/ 471813 w 712457"/>
                      <a:gd name="connsiteY950" fmla="*/ 476979 h 522414"/>
                      <a:gd name="connsiteX951" fmla="*/ 469245 w 712457"/>
                      <a:gd name="connsiteY951" fmla="*/ 475993 h 522414"/>
                      <a:gd name="connsiteX952" fmla="*/ 469482 w 712457"/>
                      <a:gd name="connsiteY952" fmla="*/ 475276 h 522414"/>
                      <a:gd name="connsiteX953" fmla="*/ 473206 w 712457"/>
                      <a:gd name="connsiteY953" fmla="*/ 471112 h 522414"/>
                      <a:gd name="connsiteX954" fmla="*/ 472049 w 712457"/>
                      <a:gd name="connsiteY954" fmla="*/ 471169 h 522414"/>
                      <a:gd name="connsiteX955" fmla="*/ 465578 w 712457"/>
                      <a:gd name="connsiteY955" fmla="*/ 474331 h 522414"/>
                      <a:gd name="connsiteX956" fmla="*/ 463255 w 712457"/>
                      <a:gd name="connsiteY956" fmla="*/ 473361 h 522414"/>
                      <a:gd name="connsiteX957" fmla="*/ 459433 w 712457"/>
                      <a:gd name="connsiteY957" fmla="*/ 470875 h 522414"/>
                      <a:gd name="connsiteX958" fmla="*/ 456564 w 712457"/>
                      <a:gd name="connsiteY958" fmla="*/ 468365 h 522414"/>
                      <a:gd name="connsiteX959" fmla="*/ 450656 w 712457"/>
                      <a:gd name="connsiteY959" fmla="*/ 461430 h 522414"/>
                      <a:gd name="connsiteX960" fmla="*/ 447257 w 712457"/>
                      <a:gd name="connsiteY960" fmla="*/ 458911 h 522414"/>
                      <a:gd name="connsiteX961" fmla="*/ 447730 w 712457"/>
                      <a:gd name="connsiteY961" fmla="*/ 458341 h 522414"/>
                      <a:gd name="connsiteX962" fmla="*/ 451544 w 712457"/>
                      <a:gd name="connsiteY962" fmla="*/ 458105 h 522414"/>
                      <a:gd name="connsiteX963" fmla="*/ 454592 w 712457"/>
                      <a:gd name="connsiteY963" fmla="*/ 458325 h 522414"/>
                      <a:gd name="connsiteX964" fmla="*/ 456638 w 712457"/>
                      <a:gd name="connsiteY964" fmla="*/ 457746 h 522414"/>
                      <a:gd name="connsiteX965" fmla="*/ 460566 w 712457"/>
                      <a:gd name="connsiteY965" fmla="*/ 454926 h 522414"/>
                      <a:gd name="connsiteX966" fmla="*/ 462261 w 712457"/>
                      <a:gd name="connsiteY966" fmla="*/ 453158 h 522414"/>
                      <a:gd name="connsiteX967" fmla="*/ 462424 w 712457"/>
                      <a:gd name="connsiteY967" fmla="*/ 452115 h 522414"/>
                      <a:gd name="connsiteX968" fmla="*/ 459132 w 712457"/>
                      <a:gd name="connsiteY968" fmla="*/ 451846 h 522414"/>
                      <a:gd name="connsiteX969" fmla="*/ 458431 w 712457"/>
                      <a:gd name="connsiteY969" fmla="*/ 451340 h 522414"/>
                      <a:gd name="connsiteX970" fmla="*/ 457836 w 712457"/>
                      <a:gd name="connsiteY970" fmla="*/ 450183 h 522414"/>
                      <a:gd name="connsiteX971" fmla="*/ 456320 w 712457"/>
                      <a:gd name="connsiteY971" fmla="*/ 448700 h 522414"/>
                      <a:gd name="connsiteX972" fmla="*/ 453883 w 712457"/>
                      <a:gd name="connsiteY972" fmla="*/ 446891 h 522414"/>
                      <a:gd name="connsiteX973" fmla="*/ 451096 w 712457"/>
                      <a:gd name="connsiteY973" fmla="*/ 446108 h 522414"/>
                      <a:gd name="connsiteX974" fmla="*/ 441528 w 712457"/>
                      <a:gd name="connsiteY974" fmla="*/ 446776 h 522414"/>
                      <a:gd name="connsiteX975" fmla="*/ 439865 w 712457"/>
                      <a:gd name="connsiteY975" fmla="*/ 445986 h 522414"/>
                      <a:gd name="connsiteX976" fmla="*/ 439906 w 712457"/>
                      <a:gd name="connsiteY976" fmla="*/ 444780 h 522414"/>
                      <a:gd name="connsiteX977" fmla="*/ 441773 w 712457"/>
                      <a:gd name="connsiteY977" fmla="*/ 441389 h 522414"/>
                      <a:gd name="connsiteX978" fmla="*/ 442791 w 712457"/>
                      <a:gd name="connsiteY978" fmla="*/ 440020 h 522414"/>
                      <a:gd name="connsiteX979" fmla="*/ 443117 w 712457"/>
                      <a:gd name="connsiteY979" fmla="*/ 439254 h 522414"/>
                      <a:gd name="connsiteX980" fmla="*/ 442742 w 712457"/>
                      <a:gd name="connsiteY980" fmla="*/ 439108 h 522414"/>
                      <a:gd name="connsiteX981" fmla="*/ 441447 w 712457"/>
                      <a:gd name="connsiteY981" fmla="*/ 439197 h 522414"/>
                      <a:gd name="connsiteX982" fmla="*/ 435897 w 712457"/>
                      <a:gd name="connsiteY982" fmla="*/ 442245 h 522414"/>
                      <a:gd name="connsiteX983" fmla="*/ 434699 w 712457"/>
                      <a:gd name="connsiteY983" fmla="*/ 442017 h 522414"/>
                      <a:gd name="connsiteX984" fmla="*/ 432531 w 712457"/>
                      <a:gd name="connsiteY984" fmla="*/ 438806 h 522414"/>
                      <a:gd name="connsiteX985" fmla="*/ 431211 w 712457"/>
                      <a:gd name="connsiteY985" fmla="*/ 435131 h 522414"/>
                      <a:gd name="connsiteX986" fmla="*/ 430249 w 712457"/>
                      <a:gd name="connsiteY986" fmla="*/ 433843 h 522414"/>
                      <a:gd name="connsiteX987" fmla="*/ 428969 w 712457"/>
                      <a:gd name="connsiteY987" fmla="*/ 433411 h 522414"/>
                      <a:gd name="connsiteX988" fmla="*/ 424414 w 712457"/>
                      <a:gd name="connsiteY988" fmla="*/ 429792 h 522414"/>
                      <a:gd name="connsiteX989" fmla="*/ 417943 w 712457"/>
                      <a:gd name="connsiteY989" fmla="*/ 422930 h 522414"/>
                      <a:gd name="connsiteX990" fmla="*/ 415555 w 712457"/>
                      <a:gd name="connsiteY990" fmla="*/ 420771 h 522414"/>
                      <a:gd name="connsiteX991" fmla="*/ 412906 w 712457"/>
                      <a:gd name="connsiteY991" fmla="*/ 418839 h 522414"/>
                      <a:gd name="connsiteX992" fmla="*/ 410991 w 712457"/>
                      <a:gd name="connsiteY992" fmla="*/ 418024 h 522414"/>
                      <a:gd name="connsiteX993" fmla="*/ 411260 w 712457"/>
                      <a:gd name="connsiteY993" fmla="*/ 417006 h 522414"/>
                      <a:gd name="connsiteX994" fmla="*/ 415359 w 712457"/>
                      <a:gd name="connsiteY994" fmla="*/ 411284 h 522414"/>
                      <a:gd name="connsiteX995" fmla="*/ 415539 w 712457"/>
                      <a:gd name="connsiteY995" fmla="*/ 410355 h 522414"/>
                      <a:gd name="connsiteX996" fmla="*/ 412018 w 712457"/>
                      <a:gd name="connsiteY996" fmla="*/ 410706 h 522414"/>
                      <a:gd name="connsiteX997" fmla="*/ 406712 w 712457"/>
                      <a:gd name="connsiteY997" fmla="*/ 409516 h 522414"/>
                      <a:gd name="connsiteX998" fmla="*/ 404194 w 712457"/>
                      <a:gd name="connsiteY998" fmla="*/ 410942 h 522414"/>
                      <a:gd name="connsiteX999" fmla="*/ 402597 w 712457"/>
                      <a:gd name="connsiteY999" fmla="*/ 411032 h 522414"/>
                      <a:gd name="connsiteX1000" fmla="*/ 400739 w 712457"/>
                      <a:gd name="connsiteY1000" fmla="*/ 410233 h 522414"/>
                      <a:gd name="connsiteX1001" fmla="*/ 399687 w 712457"/>
                      <a:gd name="connsiteY1001" fmla="*/ 410535 h 522414"/>
                      <a:gd name="connsiteX1002" fmla="*/ 398693 w 712457"/>
                      <a:gd name="connsiteY1002" fmla="*/ 415237 h 522414"/>
                      <a:gd name="connsiteX1003" fmla="*/ 397927 w 712457"/>
                      <a:gd name="connsiteY1003" fmla="*/ 416419 h 522414"/>
                      <a:gd name="connsiteX1004" fmla="*/ 396827 w 712457"/>
                      <a:gd name="connsiteY1004" fmla="*/ 417046 h 522414"/>
                      <a:gd name="connsiteX1005" fmla="*/ 395857 w 712457"/>
                      <a:gd name="connsiteY1005" fmla="*/ 416965 h 522414"/>
                      <a:gd name="connsiteX1006" fmla="*/ 395018 w 712457"/>
                      <a:gd name="connsiteY1006" fmla="*/ 416166 h 522414"/>
                      <a:gd name="connsiteX1007" fmla="*/ 395034 w 712457"/>
                      <a:gd name="connsiteY1007" fmla="*/ 415066 h 522414"/>
                      <a:gd name="connsiteX1008" fmla="*/ 394227 w 712457"/>
                      <a:gd name="connsiteY1008" fmla="*/ 409296 h 522414"/>
                      <a:gd name="connsiteX1009" fmla="*/ 392377 w 712457"/>
                      <a:gd name="connsiteY1009" fmla="*/ 408440 h 522414"/>
                      <a:gd name="connsiteX1010" fmla="*/ 387153 w 712457"/>
                      <a:gd name="connsiteY1010" fmla="*/ 408212 h 522414"/>
                      <a:gd name="connsiteX1011" fmla="*/ 386020 w 712457"/>
                      <a:gd name="connsiteY1011" fmla="*/ 407747 h 522414"/>
                      <a:gd name="connsiteX1012" fmla="*/ 384749 w 712457"/>
                      <a:gd name="connsiteY1012" fmla="*/ 406680 h 522414"/>
                      <a:gd name="connsiteX1013" fmla="*/ 383665 w 712457"/>
                      <a:gd name="connsiteY1013" fmla="*/ 404699 h 522414"/>
                      <a:gd name="connsiteX1014" fmla="*/ 382760 w 712457"/>
                      <a:gd name="connsiteY1014" fmla="*/ 401814 h 522414"/>
                      <a:gd name="connsiteX1015" fmla="*/ 381725 w 712457"/>
                      <a:gd name="connsiteY1015" fmla="*/ 400217 h 522414"/>
                      <a:gd name="connsiteX1016" fmla="*/ 380560 w 712457"/>
                      <a:gd name="connsiteY1016" fmla="*/ 399940 h 522414"/>
                      <a:gd name="connsiteX1017" fmla="*/ 379623 w 712457"/>
                      <a:gd name="connsiteY1017" fmla="*/ 400168 h 522414"/>
                      <a:gd name="connsiteX1018" fmla="*/ 378914 w 712457"/>
                      <a:gd name="connsiteY1018" fmla="*/ 400918 h 522414"/>
                      <a:gd name="connsiteX1019" fmla="*/ 377284 w 712457"/>
                      <a:gd name="connsiteY1019" fmla="*/ 401382 h 522414"/>
                      <a:gd name="connsiteX1020" fmla="*/ 374733 w 712457"/>
                      <a:gd name="connsiteY1020" fmla="*/ 401570 h 522414"/>
                      <a:gd name="connsiteX1021" fmla="*/ 374659 w 712457"/>
                      <a:gd name="connsiteY1021" fmla="*/ 402678 h 522414"/>
                      <a:gd name="connsiteX1022" fmla="*/ 377047 w 712457"/>
                      <a:gd name="connsiteY1022" fmla="*/ 404724 h 522414"/>
                      <a:gd name="connsiteX1023" fmla="*/ 379354 w 712457"/>
                      <a:gd name="connsiteY1023" fmla="*/ 407633 h 522414"/>
                      <a:gd name="connsiteX1024" fmla="*/ 381587 w 712457"/>
                      <a:gd name="connsiteY1024" fmla="*/ 411415 h 522414"/>
                      <a:gd name="connsiteX1025" fmla="*/ 380234 w 712457"/>
                      <a:gd name="connsiteY1025" fmla="*/ 413941 h 522414"/>
                      <a:gd name="connsiteX1026" fmla="*/ 375287 w 712457"/>
                      <a:gd name="connsiteY1026" fmla="*/ 415245 h 522414"/>
                      <a:gd name="connsiteX1027" fmla="*/ 370992 w 712457"/>
                      <a:gd name="connsiteY1027" fmla="*/ 415620 h 522414"/>
                      <a:gd name="connsiteX1028" fmla="*/ 367325 w 712457"/>
                      <a:gd name="connsiteY1028" fmla="*/ 415082 h 522414"/>
                      <a:gd name="connsiteX1029" fmla="*/ 364513 w 712457"/>
                      <a:gd name="connsiteY1029" fmla="*/ 414210 h 522414"/>
                      <a:gd name="connsiteX1030" fmla="*/ 360561 w 712457"/>
                      <a:gd name="connsiteY1030" fmla="*/ 412099 h 522414"/>
                      <a:gd name="connsiteX1031" fmla="*/ 354921 w 712457"/>
                      <a:gd name="connsiteY1031" fmla="*/ 412784 h 522414"/>
                      <a:gd name="connsiteX1032" fmla="*/ 353641 w 712457"/>
                      <a:gd name="connsiteY1032" fmla="*/ 418326 h 522414"/>
                      <a:gd name="connsiteX1033" fmla="*/ 352443 w 712457"/>
                      <a:gd name="connsiteY1033" fmla="*/ 418635 h 522414"/>
                      <a:gd name="connsiteX1034" fmla="*/ 347065 w 712457"/>
                      <a:gd name="connsiteY1034" fmla="*/ 418489 h 522414"/>
                      <a:gd name="connsiteX1035" fmla="*/ 344929 w 712457"/>
                      <a:gd name="connsiteY1035" fmla="*/ 418978 h 522414"/>
                      <a:gd name="connsiteX1036" fmla="*/ 337766 w 712457"/>
                      <a:gd name="connsiteY1036" fmla="*/ 422042 h 522414"/>
                      <a:gd name="connsiteX1037" fmla="*/ 335582 w 712457"/>
                      <a:gd name="connsiteY1037" fmla="*/ 422466 h 522414"/>
                      <a:gd name="connsiteX1038" fmla="*/ 333935 w 712457"/>
                      <a:gd name="connsiteY1038" fmla="*/ 422099 h 522414"/>
                      <a:gd name="connsiteX1039" fmla="*/ 332314 w 712457"/>
                      <a:gd name="connsiteY1039" fmla="*/ 422841 h 522414"/>
                      <a:gd name="connsiteX1040" fmla="*/ 329909 w 712457"/>
                      <a:gd name="connsiteY1040" fmla="*/ 424593 h 522414"/>
                      <a:gd name="connsiteX1041" fmla="*/ 326617 w 712457"/>
                      <a:gd name="connsiteY1041" fmla="*/ 424772 h 522414"/>
                      <a:gd name="connsiteX1042" fmla="*/ 322469 w 712457"/>
                      <a:gd name="connsiteY1042" fmla="*/ 423387 h 522414"/>
                      <a:gd name="connsiteX1043" fmla="*/ 318948 w 712457"/>
                      <a:gd name="connsiteY1043" fmla="*/ 422792 h 522414"/>
                      <a:gd name="connsiteX1044" fmla="*/ 316047 w 712457"/>
                      <a:gd name="connsiteY1044" fmla="*/ 422987 h 522414"/>
                      <a:gd name="connsiteX1045" fmla="*/ 313064 w 712457"/>
                      <a:gd name="connsiteY1045" fmla="*/ 422172 h 522414"/>
                      <a:gd name="connsiteX1046" fmla="*/ 309991 w 712457"/>
                      <a:gd name="connsiteY1046" fmla="*/ 420339 h 522414"/>
                      <a:gd name="connsiteX1047" fmla="*/ 307481 w 712457"/>
                      <a:gd name="connsiteY1047" fmla="*/ 419516 h 522414"/>
                      <a:gd name="connsiteX1048" fmla="*/ 304189 w 712457"/>
                      <a:gd name="connsiteY1048" fmla="*/ 419654 h 522414"/>
                      <a:gd name="connsiteX1049" fmla="*/ 303431 w 712457"/>
                      <a:gd name="connsiteY1049" fmla="*/ 419369 h 522414"/>
                      <a:gd name="connsiteX1050" fmla="*/ 298631 w 712457"/>
                      <a:gd name="connsiteY1050" fmla="*/ 415441 h 522414"/>
                      <a:gd name="connsiteX1051" fmla="*/ 297131 w 712457"/>
                      <a:gd name="connsiteY1051" fmla="*/ 413835 h 522414"/>
                      <a:gd name="connsiteX1052" fmla="*/ 293920 w 712457"/>
                      <a:gd name="connsiteY1052" fmla="*/ 408880 h 522414"/>
                      <a:gd name="connsiteX1053" fmla="*/ 293350 w 712457"/>
                      <a:gd name="connsiteY1053" fmla="*/ 406908 h 522414"/>
                      <a:gd name="connsiteX1054" fmla="*/ 293268 w 712457"/>
                      <a:gd name="connsiteY1054" fmla="*/ 404805 h 522414"/>
                      <a:gd name="connsiteX1055" fmla="*/ 293545 w 712457"/>
                      <a:gd name="connsiteY1055" fmla="*/ 403249 h 522414"/>
                      <a:gd name="connsiteX1056" fmla="*/ 294662 w 712457"/>
                      <a:gd name="connsiteY1056" fmla="*/ 400902 h 522414"/>
                      <a:gd name="connsiteX1057" fmla="*/ 295884 w 712457"/>
                      <a:gd name="connsiteY1057" fmla="*/ 395376 h 522414"/>
                      <a:gd name="connsiteX1058" fmla="*/ 296887 w 712457"/>
                      <a:gd name="connsiteY1058" fmla="*/ 393542 h 522414"/>
                      <a:gd name="connsiteX1059" fmla="*/ 298386 w 712457"/>
                      <a:gd name="connsiteY1059" fmla="*/ 391864 h 522414"/>
                      <a:gd name="connsiteX1060" fmla="*/ 301320 w 712457"/>
                      <a:gd name="connsiteY1060" fmla="*/ 389753 h 522414"/>
                      <a:gd name="connsiteX1061" fmla="*/ 311955 w 712457"/>
                      <a:gd name="connsiteY1061" fmla="*/ 386012 h 522414"/>
                      <a:gd name="connsiteX1062" fmla="*/ 314099 w 712457"/>
                      <a:gd name="connsiteY1062" fmla="*/ 384545 h 522414"/>
                      <a:gd name="connsiteX1063" fmla="*/ 314025 w 712457"/>
                      <a:gd name="connsiteY1063" fmla="*/ 383559 h 522414"/>
                      <a:gd name="connsiteX1064" fmla="*/ 311605 w 712457"/>
                      <a:gd name="connsiteY1064" fmla="*/ 378979 h 522414"/>
                      <a:gd name="connsiteX1065" fmla="*/ 311630 w 712457"/>
                      <a:gd name="connsiteY1065" fmla="*/ 377805 h 522414"/>
                      <a:gd name="connsiteX1066" fmla="*/ 312444 w 712457"/>
                      <a:gd name="connsiteY1066" fmla="*/ 377129 h 522414"/>
                      <a:gd name="connsiteX1067" fmla="*/ 314172 w 712457"/>
                      <a:gd name="connsiteY1067" fmla="*/ 374448 h 522414"/>
                      <a:gd name="connsiteX1068" fmla="*/ 314955 w 712457"/>
                      <a:gd name="connsiteY1068" fmla="*/ 373698 h 522414"/>
                      <a:gd name="connsiteX1069" fmla="*/ 316821 w 712457"/>
                      <a:gd name="connsiteY1069" fmla="*/ 373290 h 522414"/>
                      <a:gd name="connsiteX1070" fmla="*/ 320716 w 712457"/>
                      <a:gd name="connsiteY1070" fmla="*/ 374643 h 522414"/>
                      <a:gd name="connsiteX1071" fmla="*/ 324082 w 712457"/>
                      <a:gd name="connsiteY1071" fmla="*/ 375189 h 522414"/>
                      <a:gd name="connsiteX1072" fmla="*/ 328540 w 712457"/>
                      <a:gd name="connsiteY1072" fmla="*/ 375360 h 522414"/>
                      <a:gd name="connsiteX1073" fmla="*/ 335908 w 712457"/>
                      <a:gd name="connsiteY1073" fmla="*/ 377227 h 522414"/>
                      <a:gd name="connsiteX1074" fmla="*/ 346193 w 712457"/>
                      <a:gd name="connsiteY1074" fmla="*/ 380788 h 522414"/>
                      <a:gd name="connsiteX1075" fmla="*/ 352117 w 712457"/>
                      <a:gd name="connsiteY1075" fmla="*/ 383249 h 522414"/>
                      <a:gd name="connsiteX1076" fmla="*/ 356583 w 712457"/>
                      <a:gd name="connsiteY1076" fmla="*/ 386884 h 522414"/>
                      <a:gd name="connsiteX1077" fmla="*/ 359762 w 712457"/>
                      <a:gd name="connsiteY1077" fmla="*/ 390462 h 522414"/>
                      <a:gd name="connsiteX1078" fmla="*/ 360218 w 712457"/>
                      <a:gd name="connsiteY1078" fmla="*/ 392271 h 522414"/>
                      <a:gd name="connsiteX1079" fmla="*/ 358743 w 712457"/>
                      <a:gd name="connsiteY1079" fmla="*/ 395050 h 522414"/>
                      <a:gd name="connsiteX1080" fmla="*/ 358002 w 712457"/>
                      <a:gd name="connsiteY1080" fmla="*/ 395865 h 522414"/>
                      <a:gd name="connsiteX1081" fmla="*/ 358050 w 712457"/>
                      <a:gd name="connsiteY1081" fmla="*/ 396819 h 522414"/>
                      <a:gd name="connsiteX1082" fmla="*/ 358874 w 712457"/>
                      <a:gd name="connsiteY1082" fmla="*/ 397903 h 522414"/>
                      <a:gd name="connsiteX1083" fmla="*/ 361449 w 712457"/>
                      <a:gd name="connsiteY1083" fmla="*/ 399484 h 522414"/>
                      <a:gd name="connsiteX1084" fmla="*/ 362060 w 712457"/>
                      <a:gd name="connsiteY1084" fmla="*/ 398881 h 522414"/>
                      <a:gd name="connsiteX1085" fmla="*/ 361865 w 712457"/>
                      <a:gd name="connsiteY1085" fmla="*/ 396998 h 522414"/>
                      <a:gd name="connsiteX1086" fmla="*/ 362394 w 712457"/>
                      <a:gd name="connsiteY1086" fmla="*/ 395409 h 522414"/>
                      <a:gd name="connsiteX1087" fmla="*/ 363657 w 712457"/>
                      <a:gd name="connsiteY1087" fmla="*/ 394121 h 522414"/>
                      <a:gd name="connsiteX1088" fmla="*/ 363804 w 712457"/>
                      <a:gd name="connsiteY1088" fmla="*/ 392450 h 522414"/>
                      <a:gd name="connsiteX1089" fmla="*/ 362818 w 712457"/>
                      <a:gd name="connsiteY1089" fmla="*/ 390397 h 522414"/>
                      <a:gd name="connsiteX1090" fmla="*/ 361604 w 712457"/>
                      <a:gd name="connsiteY1090" fmla="*/ 388620 h 522414"/>
                      <a:gd name="connsiteX1091" fmla="*/ 360145 w 712457"/>
                      <a:gd name="connsiteY1091" fmla="*/ 387129 h 522414"/>
                      <a:gd name="connsiteX1092" fmla="*/ 353486 w 712457"/>
                      <a:gd name="connsiteY1092" fmla="*/ 381986 h 522414"/>
                      <a:gd name="connsiteX1093" fmla="*/ 352851 w 712457"/>
                      <a:gd name="connsiteY1093" fmla="*/ 380275 h 522414"/>
                      <a:gd name="connsiteX1094" fmla="*/ 355084 w 712457"/>
                      <a:gd name="connsiteY1094" fmla="*/ 379509 h 522414"/>
                      <a:gd name="connsiteX1095" fmla="*/ 364807 w 712457"/>
                      <a:gd name="connsiteY1095" fmla="*/ 381236 h 522414"/>
                      <a:gd name="connsiteX1096" fmla="*/ 368531 w 712457"/>
                      <a:gd name="connsiteY1096" fmla="*/ 380845 h 522414"/>
                      <a:gd name="connsiteX1097" fmla="*/ 369949 w 712457"/>
                      <a:gd name="connsiteY1097" fmla="*/ 378848 h 522414"/>
                      <a:gd name="connsiteX1098" fmla="*/ 371481 w 712457"/>
                      <a:gd name="connsiteY1098" fmla="*/ 377471 h 522414"/>
                      <a:gd name="connsiteX1099" fmla="*/ 373111 w 712457"/>
                      <a:gd name="connsiteY1099" fmla="*/ 376738 h 522414"/>
                      <a:gd name="connsiteX1100" fmla="*/ 376387 w 712457"/>
                      <a:gd name="connsiteY1100" fmla="*/ 376404 h 522414"/>
                      <a:gd name="connsiteX1101" fmla="*/ 380959 w 712457"/>
                      <a:gd name="connsiteY1101" fmla="*/ 377349 h 522414"/>
                      <a:gd name="connsiteX1102" fmla="*/ 383209 w 712457"/>
                      <a:gd name="connsiteY1102" fmla="*/ 377487 h 522414"/>
                      <a:gd name="connsiteX1103" fmla="*/ 385189 w 712457"/>
                      <a:gd name="connsiteY1103" fmla="*/ 377145 h 522414"/>
                      <a:gd name="connsiteX1104" fmla="*/ 387772 w 712457"/>
                      <a:gd name="connsiteY1104" fmla="*/ 376053 h 522414"/>
                      <a:gd name="connsiteX1105" fmla="*/ 391587 w 712457"/>
                      <a:gd name="connsiteY1105" fmla="*/ 372394 h 522414"/>
                      <a:gd name="connsiteX1106" fmla="*/ 394023 w 712457"/>
                      <a:gd name="connsiteY1106" fmla="*/ 371571 h 522414"/>
                      <a:gd name="connsiteX1107" fmla="*/ 397715 w 712457"/>
                      <a:gd name="connsiteY1107" fmla="*/ 371000 h 522414"/>
                      <a:gd name="connsiteX1108" fmla="*/ 400486 w 712457"/>
                      <a:gd name="connsiteY1108" fmla="*/ 370919 h 522414"/>
                      <a:gd name="connsiteX1109" fmla="*/ 405514 w 712457"/>
                      <a:gd name="connsiteY1109" fmla="*/ 372378 h 522414"/>
                      <a:gd name="connsiteX1110" fmla="*/ 408603 w 712457"/>
                      <a:gd name="connsiteY1110" fmla="*/ 372337 h 522414"/>
                      <a:gd name="connsiteX1111" fmla="*/ 408359 w 712457"/>
                      <a:gd name="connsiteY1111" fmla="*/ 369900 h 522414"/>
                      <a:gd name="connsiteX1112" fmla="*/ 406305 w 712457"/>
                      <a:gd name="connsiteY1112" fmla="*/ 365222 h 522414"/>
                      <a:gd name="connsiteX1113" fmla="*/ 403754 w 712457"/>
                      <a:gd name="connsiteY1113" fmla="*/ 360414 h 522414"/>
                      <a:gd name="connsiteX1114" fmla="*/ 401774 w 712457"/>
                      <a:gd name="connsiteY1114" fmla="*/ 358776 h 522414"/>
                      <a:gd name="connsiteX1115" fmla="*/ 396639 w 712457"/>
                      <a:gd name="connsiteY1115" fmla="*/ 355720 h 522414"/>
                      <a:gd name="connsiteX1116" fmla="*/ 390608 w 712457"/>
                      <a:gd name="connsiteY1116" fmla="*/ 349949 h 522414"/>
                      <a:gd name="connsiteX1117" fmla="*/ 387512 w 712457"/>
                      <a:gd name="connsiteY1117" fmla="*/ 346364 h 522414"/>
                      <a:gd name="connsiteX1118" fmla="*/ 386697 w 712457"/>
                      <a:gd name="connsiteY1118" fmla="*/ 344571 h 522414"/>
                      <a:gd name="connsiteX1119" fmla="*/ 387137 w 712457"/>
                      <a:gd name="connsiteY1119" fmla="*/ 343373 h 522414"/>
                      <a:gd name="connsiteX1120" fmla="*/ 388164 w 712457"/>
                      <a:gd name="connsiteY1120" fmla="*/ 341621 h 522414"/>
                      <a:gd name="connsiteX1121" fmla="*/ 399101 w 712457"/>
                      <a:gd name="connsiteY1121" fmla="*/ 335223 h 522414"/>
                      <a:gd name="connsiteX1122" fmla="*/ 407780 w 712457"/>
                      <a:gd name="connsiteY1122" fmla="*/ 328858 h 522414"/>
                      <a:gd name="connsiteX1123" fmla="*/ 411578 w 712457"/>
                      <a:gd name="connsiteY1123" fmla="*/ 325590 h 522414"/>
                      <a:gd name="connsiteX1124" fmla="*/ 413403 w 712457"/>
                      <a:gd name="connsiteY1124" fmla="*/ 323316 h 522414"/>
                      <a:gd name="connsiteX1125" fmla="*/ 415302 w 712457"/>
                      <a:gd name="connsiteY1125" fmla="*/ 321654 h 522414"/>
                      <a:gd name="connsiteX1126" fmla="*/ 417274 w 712457"/>
                      <a:gd name="connsiteY1126" fmla="*/ 320610 h 522414"/>
                      <a:gd name="connsiteX1127" fmla="*/ 421439 w 712457"/>
                      <a:gd name="connsiteY1127" fmla="*/ 319372 h 522414"/>
                      <a:gd name="connsiteX1128" fmla="*/ 422629 w 712457"/>
                      <a:gd name="connsiteY1128" fmla="*/ 317774 h 522414"/>
                      <a:gd name="connsiteX1129" fmla="*/ 422890 w 712457"/>
                      <a:gd name="connsiteY1129" fmla="*/ 315061 h 522414"/>
                      <a:gd name="connsiteX1130" fmla="*/ 423582 w 712457"/>
                      <a:gd name="connsiteY1130" fmla="*/ 312713 h 522414"/>
                      <a:gd name="connsiteX1131" fmla="*/ 427502 w 712457"/>
                      <a:gd name="connsiteY1131" fmla="*/ 306365 h 522414"/>
                      <a:gd name="connsiteX1132" fmla="*/ 430502 w 712457"/>
                      <a:gd name="connsiteY1132" fmla="*/ 304653 h 522414"/>
                      <a:gd name="connsiteX1133" fmla="*/ 435033 w 712457"/>
                      <a:gd name="connsiteY1133" fmla="*/ 303455 h 522414"/>
                      <a:gd name="connsiteX1134" fmla="*/ 438016 w 712457"/>
                      <a:gd name="connsiteY1134" fmla="*/ 301931 h 522414"/>
                      <a:gd name="connsiteX1135" fmla="*/ 441610 w 712457"/>
                      <a:gd name="connsiteY1135" fmla="*/ 296715 h 522414"/>
                      <a:gd name="connsiteX1136" fmla="*/ 441259 w 712457"/>
                      <a:gd name="connsiteY1136" fmla="*/ 295420 h 522414"/>
                      <a:gd name="connsiteX1137" fmla="*/ 439605 w 712457"/>
                      <a:gd name="connsiteY1137" fmla="*/ 294434 h 522414"/>
                      <a:gd name="connsiteX1138" fmla="*/ 438309 w 712457"/>
                      <a:gd name="connsiteY1138" fmla="*/ 292942 h 522414"/>
                      <a:gd name="connsiteX1139" fmla="*/ 432767 w 712457"/>
                      <a:gd name="connsiteY1139" fmla="*/ 279218 h 522414"/>
                      <a:gd name="connsiteX1140" fmla="*/ 429083 w 712457"/>
                      <a:gd name="connsiteY1140" fmla="*/ 272584 h 522414"/>
                      <a:gd name="connsiteX1141" fmla="*/ 424650 w 712457"/>
                      <a:gd name="connsiteY1141" fmla="*/ 266782 h 522414"/>
                      <a:gd name="connsiteX1142" fmla="*/ 420689 w 712457"/>
                      <a:gd name="connsiteY1142" fmla="*/ 259716 h 522414"/>
                      <a:gd name="connsiteX1143" fmla="*/ 414120 w 712457"/>
                      <a:gd name="connsiteY1143" fmla="*/ 252740 h 522414"/>
                      <a:gd name="connsiteX1144" fmla="*/ 414047 w 712457"/>
                      <a:gd name="connsiteY1144" fmla="*/ 250898 h 522414"/>
                      <a:gd name="connsiteX1145" fmla="*/ 415204 w 712457"/>
                      <a:gd name="connsiteY1145" fmla="*/ 248795 h 522414"/>
                      <a:gd name="connsiteX1146" fmla="*/ 414650 w 712457"/>
                      <a:gd name="connsiteY1146" fmla="*/ 248322 h 522414"/>
                      <a:gd name="connsiteX1147" fmla="*/ 407870 w 712457"/>
                      <a:gd name="connsiteY1147" fmla="*/ 251387 h 522414"/>
                      <a:gd name="connsiteX1148" fmla="*/ 406280 w 712457"/>
                      <a:gd name="connsiteY1148" fmla="*/ 251525 h 522414"/>
                      <a:gd name="connsiteX1149" fmla="*/ 403672 w 712457"/>
                      <a:gd name="connsiteY1149" fmla="*/ 250197 h 522414"/>
                      <a:gd name="connsiteX1150" fmla="*/ 401912 w 712457"/>
                      <a:gd name="connsiteY1150" fmla="*/ 248534 h 522414"/>
                      <a:gd name="connsiteX1151" fmla="*/ 400453 w 712457"/>
                      <a:gd name="connsiteY1151" fmla="*/ 245633 h 522414"/>
                      <a:gd name="connsiteX1152" fmla="*/ 400600 w 712457"/>
                      <a:gd name="connsiteY1152" fmla="*/ 244109 h 522414"/>
                      <a:gd name="connsiteX1153" fmla="*/ 401570 w 712457"/>
                      <a:gd name="connsiteY1153" fmla="*/ 242658 h 522414"/>
                      <a:gd name="connsiteX1154" fmla="*/ 402858 w 712457"/>
                      <a:gd name="connsiteY1154" fmla="*/ 239113 h 522414"/>
                      <a:gd name="connsiteX1155" fmla="*/ 402906 w 712457"/>
                      <a:gd name="connsiteY1155" fmla="*/ 237304 h 522414"/>
                      <a:gd name="connsiteX1156" fmla="*/ 402458 w 712457"/>
                      <a:gd name="connsiteY1156" fmla="*/ 235576 h 522414"/>
                      <a:gd name="connsiteX1157" fmla="*/ 401872 w 712457"/>
                      <a:gd name="connsiteY1157" fmla="*/ 234378 h 522414"/>
                      <a:gd name="connsiteX1158" fmla="*/ 401146 w 712457"/>
                      <a:gd name="connsiteY1158" fmla="*/ 233702 h 522414"/>
                      <a:gd name="connsiteX1159" fmla="*/ 399068 w 712457"/>
                      <a:gd name="connsiteY1159" fmla="*/ 233278 h 522414"/>
                      <a:gd name="connsiteX1160" fmla="*/ 395653 w 712457"/>
                      <a:gd name="connsiteY1160" fmla="*/ 233107 h 522414"/>
                      <a:gd name="connsiteX1161" fmla="*/ 394537 w 712457"/>
                      <a:gd name="connsiteY1161" fmla="*/ 233726 h 522414"/>
                      <a:gd name="connsiteX1162" fmla="*/ 398302 w 712457"/>
                      <a:gd name="connsiteY1162" fmla="*/ 239081 h 522414"/>
                      <a:gd name="connsiteX1163" fmla="*/ 397723 w 712457"/>
                      <a:gd name="connsiteY1163" fmla="*/ 240401 h 522414"/>
                      <a:gd name="connsiteX1164" fmla="*/ 392923 w 712457"/>
                      <a:gd name="connsiteY1164" fmla="*/ 240979 h 522414"/>
                      <a:gd name="connsiteX1165" fmla="*/ 390763 w 712457"/>
                      <a:gd name="connsiteY1165" fmla="*/ 240727 h 522414"/>
                      <a:gd name="connsiteX1166" fmla="*/ 388783 w 712457"/>
                      <a:gd name="connsiteY1166" fmla="*/ 240075 h 522414"/>
                      <a:gd name="connsiteX1167" fmla="*/ 386982 w 712457"/>
                      <a:gd name="connsiteY1167" fmla="*/ 239032 h 522414"/>
                      <a:gd name="connsiteX1168" fmla="*/ 381391 w 712457"/>
                      <a:gd name="connsiteY1168" fmla="*/ 233433 h 522414"/>
                      <a:gd name="connsiteX1169" fmla="*/ 380201 w 712457"/>
                      <a:gd name="connsiteY1169" fmla="*/ 231314 h 522414"/>
                      <a:gd name="connsiteX1170" fmla="*/ 380576 w 712457"/>
                      <a:gd name="connsiteY1170" fmla="*/ 229790 h 522414"/>
                      <a:gd name="connsiteX1171" fmla="*/ 380103 w 712457"/>
                      <a:gd name="connsiteY1171" fmla="*/ 228999 h 522414"/>
                      <a:gd name="connsiteX1172" fmla="*/ 378963 w 712457"/>
                      <a:gd name="connsiteY1172" fmla="*/ 229513 h 522414"/>
                      <a:gd name="connsiteX1173" fmla="*/ 377414 w 712457"/>
                      <a:gd name="connsiteY1173" fmla="*/ 229537 h 522414"/>
                      <a:gd name="connsiteX1174" fmla="*/ 375312 w 712457"/>
                      <a:gd name="connsiteY1174" fmla="*/ 229007 h 522414"/>
                      <a:gd name="connsiteX1175" fmla="*/ 374880 w 712457"/>
                      <a:gd name="connsiteY1175" fmla="*/ 228347 h 522414"/>
                      <a:gd name="connsiteX1176" fmla="*/ 378800 w 712457"/>
                      <a:gd name="connsiteY1176" fmla="*/ 225307 h 522414"/>
                      <a:gd name="connsiteX1177" fmla="*/ 379028 w 712457"/>
                      <a:gd name="connsiteY1177" fmla="*/ 224370 h 522414"/>
                      <a:gd name="connsiteX1178" fmla="*/ 377219 w 712457"/>
                      <a:gd name="connsiteY1178" fmla="*/ 223376 h 522414"/>
                      <a:gd name="connsiteX1179" fmla="*/ 374521 w 712457"/>
                      <a:gd name="connsiteY1179" fmla="*/ 223172 h 522414"/>
                      <a:gd name="connsiteX1180" fmla="*/ 373796 w 712457"/>
                      <a:gd name="connsiteY1180" fmla="*/ 222276 h 522414"/>
                      <a:gd name="connsiteX1181" fmla="*/ 374708 w 712457"/>
                      <a:gd name="connsiteY1181" fmla="*/ 221314 h 522414"/>
                      <a:gd name="connsiteX1182" fmla="*/ 378376 w 712457"/>
                      <a:gd name="connsiteY1182" fmla="*/ 219652 h 522414"/>
                      <a:gd name="connsiteX1183" fmla="*/ 379688 w 712457"/>
                      <a:gd name="connsiteY1183" fmla="*/ 218551 h 522414"/>
                      <a:gd name="connsiteX1184" fmla="*/ 377479 w 712457"/>
                      <a:gd name="connsiteY1184" fmla="*/ 217728 h 522414"/>
                      <a:gd name="connsiteX1185" fmla="*/ 376265 w 712457"/>
                      <a:gd name="connsiteY1185" fmla="*/ 217655 h 522414"/>
                      <a:gd name="connsiteX1186" fmla="*/ 373787 w 712457"/>
                      <a:gd name="connsiteY1186" fmla="*/ 219480 h 522414"/>
                      <a:gd name="connsiteX1187" fmla="*/ 370071 w 712457"/>
                      <a:gd name="connsiteY1187" fmla="*/ 223172 h 522414"/>
                      <a:gd name="connsiteX1188" fmla="*/ 367365 w 712457"/>
                      <a:gd name="connsiteY1188" fmla="*/ 224550 h 522414"/>
                      <a:gd name="connsiteX1189" fmla="*/ 363665 w 712457"/>
                      <a:gd name="connsiteY1189" fmla="*/ 222838 h 522414"/>
                      <a:gd name="connsiteX1190" fmla="*/ 361327 w 712457"/>
                      <a:gd name="connsiteY1190" fmla="*/ 222268 h 522414"/>
                      <a:gd name="connsiteX1191" fmla="*/ 359697 w 712457"/>
                      <a:gd name="connsiteY1191" fmla="*/ 222643 h 522414"/>
                      <a:gd name="connsiteX1192" fmla="*/ 357203 w 712457"/>
                      <a:gd name="connsiteY1192" fmla="*/ 225503 h 522414"/>
                      <a:gd name="connsiteX1193" fmla="*/ 351767 w 712457"/>
                      <a:gd name="connsiteY1193" fmla="*/ 227598 h 522414"/>
                      <a:gd name="connsiteX1194" fmla="*/ 342036 w 712457"/>
                      <a:gd name="connsiteY1194" fmla="*/ 232528 h 522414"/>
                      <a:gd name="connsiteX1195" fmla="*/ 337855 w 712457"/>
                      <a:gd name="connsiteY1195" fmla="*/ 234101 h 522414"/>
                      <a:gd name="connsiteX1196" fmla="*/ 333340 w 712457"/>
                      <a:gd name="connsiteY1196" fmla="*/ 233808 h 522414"/>
                      <a:gd name="connsiteX1197" fmla="*/ 332493 w 712457"/>
                      <a:gd name="connsiteY1197" fmla="*/ 232822 h 522414"/>
                      <a:gd name="connsiteX1198" fmla="*/ 332566 w 712457"/>
                      <a:gd name="connsiteY1198" fmla="*/ 231126 h 522414"/>
                      <a:gd name="connsiteX1199" fmla="*/ 332884 w 712457"/>
                      <a:gd name="connsiteY1199" fmla="*/ 229733 h 522414"/>
                      <a:gd name="connsiteX1200" fmla="*/ 333430 w 712457"/>
                      <a:gd name="connsiteY1200" fmla="*/ 228649 h 522414"/>
                      <a:gd name="connsiteX1201" fmla="*/ 333609 w 712457"/>
                      <a:gd name="connsiteY1201" fmla="*/ 227312 h 522414"/>
                      <a:gd name="connsiteX1202" fmla="*/ 333283 w 712457"/>
                      <a:gd name="connsiteY1202" fmla="*/ 221689 h 522414"/>
                      <a:gd name="connsiteX1203" fmla="*/ 334033 w 712457"/>
                      <a:gd name="connsiteY1203" fmla="*/ 220141 h 522414"/>
                      <a:gd name="connsiteX1204" fmla="*/ 335573 w 712457"/>
                      <a:gd name="connsiteY1204" fmla="*/ 219220 h 522414"/>
                      <a:gd name="connsiteX1205" fmla="*/ 338409 w 712457"/>
                      <a:gd name="connsiteY1205" fmla="*/ 218250 h 522414"/>
                      <a:gd name="connsiteX1206" fmla="*/ 345646 w 712457"/>
                      <a:gd name="connsiteY1206" fmla="*/ 219399 h 522414"/>
                      <a:gd name="connsiteX1207" fmla="*/ 349004 w 712457"/>
                      <a:gd name="connsiteY1207" fmla="*/ 219203 h 522414"/>
                      <a:gd name="connsiteX1208" fmla="*/ 351367 w 712457"/>
                      <a:gd name="connsiteY1208" fmla="*/ 217899 h 522414"/>
                      <a:gd name="connsiteX1209" fmla="*/ 353723 w 712457"/>
                      <a:gd name="connsiteY1209" fmla="*/ 216017 h 522414"/>
                      <a:gd name="connsiteX1210" fmla="*/ 356086 w 712457"/>
                      <a:gd name="connsiteY1210" fmla="*/ 213556 h 522414"/>
                      <a:gd name="connsiteX1211" fmla="*/ 356592 w 712457"/>
                      <a:gd name="connsiteY1211" fmla="*/ 211184 h 522414"/>
                      <a:gd name="connsiteX1212" fmla="*/ 354081 w 712457"/>
                      <a:gd name="connsiteY1212" fmla="*/ 207337 h 522414"/>
                      <a:gd name="connsiteX1213" fmla="*/ 353136 w 712457"/>
                      <a:gd name="connsiteY1213" fmla="*/ 206482 h 522414"/>
                      <a:gd name="connsiteX1214" fmla="*/ 346706 w 712457"/>
                      <a:gd name="connsiteY1214" fmla="*/ 203491 h 522414"/>
                      <a:gd name="connsiteX1215" fmla="*/ 343153 w 712457"/>
                      <a:gd name="connsiteY1215" fmla="*/ 202399 h 522414"/>
                      <a:gd name="connsiteX1216" fmla="*/ 340015 w 712457"/>
                      <a:gd name="connsiteY1216" fmla="*/ 201926 h 522414"/>
                      <a:gd name="connsiteX1217" fmla="*/ 337741 w 712457"/>
                      <a:gd name="connsiteY1217" fmla="*/ 201062 h 522414"/>
                      <a:gd name="connsiteX1218" fmla="*/ 336323 w 712457"/>
                      <a:gd name="connsiteY1218" fmla="*/ 199807 h 522414"/>
                      <a:gd name="connsiteX1219" fmla="*/ 334946 w 712457"/>
                      <a:gd name="connsiteY1219" fmla="*/ 197721 h 522414"/>
                      <a:gd name="connsiteX1220" fmla="*/ 334840 w 712457"/>
                      <a:gd name="connsiteY1220" fmla="*/ 196294 h 522414"/>
                      <a:gd name="connsiteX1221" fmla="*/ 335052 w 712457"/>
                      <a:gd name="connsiteY1221" fmla="*/ 194412 h 522414"/>
                      <a:gd name="connsiteX1222" fmla="*/ 336364 w 712457"/>
                      <a:gd name="connsiteY1222" fmla="*/ 193132 h 522414"/>
                      <a:gd name="connsiteX1223" fmla="*/ 342126 w 712457"/>
                      <a:gd name="connsiteY1223" fmla="*/ 191641 h 522414"/>
                      <a:gd name="connsiteX1224" fmla="*/ 342044 w 712457"/>
                      <a:gd name="connsiteY1224" fmla="*/ 191258 h 522414"/>
                      <a:gd name="connsiteX1225" fmla="*/ 337350 w 712457"/>
                      <a:gd name="connsiteY1225" fmla="*/ 190166 h 522414"/>
                      <a:gd name="connsiteX1226" fmla="*/ 335125 w 712457"/>
                      <a:gd name="connsiteY1226" fmla="*/ 190288 h 522414"/>
                      <a:gd name="connsiteX1227" fmla="*/ 333218 w 712457"/>
                      <a:gd name="connsiteY1227" fmla="*/ 191511 h 522414"/>
                      <a:gd name="connsiteX1228" fmla="*/ 330830 w 712457"/>
                      <a:gd name="connsiteY1228" fmla="*/ 194404 h 522414"/>
                      <a:gd name="connsiteX1229" fmla="*/ 329445 w 712457"/>
                      <a:gd name="connsiteY1229" fmla="*/ 195219 h 522414"/>
                      <a:gd name="connsiteX1230" fmla="*/ 325150 w 712457"/>
                      <a:gd name="connsiteY1230" fmla="*/ 193524 h 522414"/>
                      <a:gd name="connsiteX1231" fmla="*/ 322566 w 712457"/>
                      <a:gd name="connsiteY1231" fmla="*/ 193263 h 522414"/>
                      <a:gd name="connsiteX1232" fmla="*/ 320822 w 712457"/>
                      <a:gd name="connsiteY1232" fmla="*/ 192456 h 522414"/>
                      <a:gd name="connsiteX1233" fmla="*/ 319861 w 712457"/>
                      <a:gd name="connsiteY1233" fmla="*/ 191674 h 522414"/>
                      <a:gd name="connsiteX1234" fmla="*/ 320448 w 712457"/>
                      <a:gd name="connsiteY1234" fmla="*/ 190875 h 522414"/>
                      <a:gd name="connsiteX1235" fmla="*/ 322591 w 712457"/>
                      <a:gd name="connsiteY1235" fmla="*/ 190060 h 522414"/>
                      <a:gd name="connsiteX1236" fmla="*/ 326315 w 712457"/>
                      <a:gd name="connsiteY1236" fmla="*/ 187566 h 522414"/>
                      <a:gd name="connsiteX1237" fmla="*/ 326560 w 712457"/>
                      <a:gd name="connsiteY1237" fmla="*/ 186221 h 522414"/>
                      <a:gd name="connsiteX1238" fmla="*/ 323993 w 712457"/>
                      <a:gd name="connsiteY1238" fmla="*/ 184021 h 522414"/>
                      <a:gd name="connsiteX1239" fmla="*/ 322656 w 712457"/>
                      <a:gd name="connsiteY1239" fmla="*/ 183516 h 522414"/>
                      <a:gd name="connsiteX1240" fmla="*/ 317285 w 712457"/>
                      <a:gd name="connsiteY1240" fmla="*/ 182684 h 522414"/>
                      <a:gd name="connsiteX1241" fmla="*/ 310790 w 712457"/>
                      <a:gd name="connsiteY1241" fmla="*/ 183508 h 522414"/>
                      <a:gd name="connsiteX1242" fmla="*/ 308378 w 712457"/>
                      <a:gd name="connsiteY1242" fmla="*/ 183092 h 522414"/>
                      <a:gd name="connsiteX1243" fmla="*/ 307302 w 712457"/>
                      <a:gd name="connsiteY1243" fmla="*/ 180647 h 522414"/>
                      <a:gd name="connsiteX1244" fmla="*/ 306609 w 712457"/>
                      <a:gd name="connsiteY1244" fmla="*/ 177746 h 522414"/>
                      <a:gd name="connsiteX1245" fmla="*/ 306316 w 712457"/>
                      <a:gd name="connsiteY1245" fmla="*/ 174355 h 522414"/>
                      <a:gd name="connsiteX1246" fmla="*/ 305150 w 712457"/>
                      <a:gd name="connsiteY1246" fmla="*/ 168585 h 522414"/>
                      <a:gd name="connsiteX1247" fmla="*/ 303855 w 712457"/>
                      <a:gd name="connsiteY1247" fmla="*/ 165554 h 522414"/>
                      <a:gd name="connsiteX1248" fmla="*/ 302159 w 712457"/>
                      <a:gd name="connsiteY1248" fmla="*/ 165171 h 522414"/>
                      <a:gd name="connsiteX1249" fmla="*/ 294368 w 712457"/>
                      <a:gd name="connsiteY1249" fmla="*/ 166418 h 522414"/>
                      <a:gd name="connsiteX1250" fmla="*/ 292510 w 712457"/>
                      <a:gd name="connsiteY1250" fmla="*/ 166434 h 522414"/>
                      <a:gd name="connsiteX1251" fmla="*/ 291239 w 712457"/>
                      <a:gd name="connsiteY1251" fmla="*/ 165969 h 522414"/>
                      <a:gd name="connsiteX1252" fmla="*/ 286080 w 712457"/>
                      <a:gd name="connsiteY1252" fmla="*/ 162106 h 522414"/>
                      <a:gd name="connsiteX1253" fmla="*/ 283994 w 712457"/>
                      <a:gd name="connsiteY1253" fmla="*/ 160729 h 522414"/>
                      <a:gd name="connsiteX1254" fmla="*/ 282836 w 712457"/>
                      <a:gd name="connsiteY1254" fmla="*/ 160411 h 522414"/>
                      <a:gd name="connsiteX1255" fmla="*/ 279088 w 712457"/>
                      <a:gd name="connsiteY1255" fmla="*/ 156287 h 522414"/>
                      <a:gd name="connsiteX1256" fmla="*/ 277645 w 712457"/>
                      <a:gd name="connsiteY1256" fmla="*/ 155489 h 522414"/>
                      <a:gd name="connsiteX1257" fmla="*/ 275934 w 712457"/>
                      <a:gd name="connsiteY1257" fmla="*/ 153459 h 522414"/>
                      <a:gd name="connsiteX1258" fmla="*/ 273953 w 712457"/>
                      <a:gd name="connsiteY1258" fmla="*/ 150183 h 522414"/>
                      <a:gd name="connsiteX1259" fmla="*/ 271810 w 712457"/>
                      <a:gd name="connsiteY1259" fmla="*/ 149181 h 522414"/>
                      <a:gd name="connsiteX1260" fmla="*/ 269487 w 712457"/>
                      <a:gd name="connsiteY1260" fmla="*/ 150452 h 522414"/>
                      <a:gd name="connsiteX1261" fmla="*/ 267173 w 712457"/>
                      <a:gd name="connsiteY1261" fmla="*/ 152278 h 522414"/>
                      <a:gd name="connsiteX1262" fmla="*/ 264850 w 712457"/>
                      <a:gd name="connsiteY1262" fmla="*/ 154649 h 522414"/>
                      <a:gd name="connsiteX1263" fmla="*/ 263595 w 712457"/>
                      <a:gd name="connsiteY1263" fmla="*/ 156646 h 522414"/>
                      <a:gd name="connsiteX1264" fmla="*/ 263399 w 712457"/>
                      <a:gd name="connsiteY1264" fmla="*/ 158284 h 522414"/>
                      <a:gd name="connsiteX1265" fmla="*/ 264834 w 712457"/>
                      <a:gd name="connsiteY1265" fmla="*/ 159564 h 522414"/>
                      <a:gd name="connsiteX1266" fmla="*/ 273016 w 712457"/>
                      <a:gd name="connsiteY1266" fmla="*/ 161666 h 522414"/>
                      <a:gd name="connsiteX1267" fmla="*/ 275094 w 712457"/>
                      <a:gd name="connsiteY1267" fmla="*/ 163084 h 522414"/>
                      <a:gd name="connsiteX1268" fmla="*/ 276855 w 712457"/>
                      <a:gd name="connsiteY1268" fmla="*/ 165399 h 522414"/>
                      <a:gd name="connsiteX1269" fmla="*/ 278167 w 712457"/>
                      <a:gd name="connsiteY1269" fmla="*/ 168235 h 522414"/>
                      <a:gd name="connsiteX1270" fmla="*/ 279031 w 712457"/>
                      <a:gd name="connsiteY1270" fmla="*/ 171585 h 522414"/>
                      <a:gd name="connsiteX1271" fmla="*/ 278957 w 712457"/>
                      <a:gd name="connsiteY1271" fmla="*/ 174086 h 522414"/>
                      <a:gd name="connsiteX1272" fmla="*/ 277947 w 712457"/>
                      <a:gd name="connsiteY1272" fmla="*/ 175749 h 522414"/>
                      <a:gd name="connsiteX1273" fmla="*/ 276186 w 712457"/>
                      <a:gd name="connsiteY1273" fmla="*/ 177216 h 522414"/>
                      <a:gd name="connsiteX1274" fmla="*/ 271150 w 712457"/>
                      <a:gd name="connsiteY1274" fmla="*/ 179547 h 522414"/>
                      <a:gd name="connsiteX1275" fmla="*/ 265926 w 712457"/>
                      <a:gd name="connsiteY1275" fmla="*/ 180900 h 522414"/>
                      <a:gd name="connsiteX1276" fmla="*/ 260661 w 712457"/>
                      <a:gd name="connsiteY1276" fmla="*/ 181226 h 522414"/>
                      <a:gd name="connsiteX1277" fmla="*/ 258175 w 712457"/>
                      <a:gd name="connsiteY1277" fmla="*/ 180908 h 522414"/>
                      <a:gd name="connsiteX1278" fmla="*/ 244631 w 712457"/>
                      <a:gd name="connsiteY1278" fmla="*/ 176393 h 522414"/>
                      <a:gd name="connsiteX1279" fmla="*/ 242186 w 712457"/>
                      <a:gd name="connsiteY1279" fmla="*/ 176352 h 522414"/>
                      <a:gd name="connsiteX1280" fmla="*/ 239056 w 712457"/>
                      <a:gd name="connsiteY1280" fmla="*/ 175749 h 522414"/>
                      <a:gd name="connsiteX1281" fmla="*/ 232023 w 712457"/>
                      <a:gd name="connsiteY1281" fmla="*/ 173883 h 522414"/>
                      <a:gd name="connsiteX1282" fmla="*/ 228168 w 712457"/>
                      <a:gd name="connsiteY1282" fmla="*/ 173679 h 522414"/>
                      <a:gd name="connsiteX1283" fmla="*/ 221404 w 712457"/>
                      <a:gd name="connsiteY1283" fmla="*/ 172139 h 522414"/>
                      <a:gd name="connsiteX1284" fmla="*/ 209970 w 712457"/>
                      <a:gd name="connsiteY1284" fmla="*/ 171250 h 522414"/>
                      <a:gd name="connsiteX1285" fmla="*/ 207671 w 712457"/>
                      <a:gd name="connsiteY1285" fmla="*/ 171984 h 522414"/>
                      <a:gd name="connsiteX1286" fmla="*/ 210719 w 712457"/>
                      <a:gd name="connsiteY1286" fmla="*/ 174070 h 522414"/>
                      <a:gd name="connsiteX1287" fmla="*/ 213384 w 712457"/>
                      <a:gd name="connsiteY1287" fmla="*/ 175113 h 522414"/>
                      <a:gd name="connsiteX1288" fmla="*/ 215674 w 712457"/>
                      <a:gd name="connsiteY1288" fmla="*/ 175130 h 522414"/>
                      <a:gd name="connsiteX1289" fmla="*/ 218959 w 712457"/>
                      <a:gd name="connsiteY1289" fmla="*/ 176980 h 522414"/>
                      <a:gd name="connsiteX1290" fmla="*/ 223254 w 712457"/>
                      <a:gd name="connsiteY1290" fmla="*/ 180671 h 522414"/>
                      <a:gd name="connsiteX1291" fmla="*/ 225707 w 712457"/>
                      <a:gd name="connsiteY1291" fmla="*/ 182872 h 522414"/>
                      <a:gd name="connsiteX1292" fmla="*/ 227744 w 712457"/>
                      <a:gd name="connsiteY1292" fmla="*/ 185496 h 522414"/>
                      <a:gd name="connsiteX1293" fmla="*/ 227810 w 712457"/>
                      <a:gd name="connsiteY1293" fmla="*/ 186401 h 522414"/>
                      <a:gd name="connsiteX1294" fmla="*/ 225788 w 712457"/>
                      <a:gd name="connsiteY1294" fmla="*/ 188194 h 522414"/>
                      <a:gd name="connsiteX1295" fmla="*/ 209839 w 712457"/>
                      <a:gd name="connsiteY1295" fmla="*/ 178764 h 522414"/>
                      <a:gd name="connsiteX1296" fmla="*/ 200092 w 712457"/>
                      <a:gd name="connsiteY1296" fmla="*/ 182057 h 522414"/>
                      <a:gd name="connsiteX1297" fmla="*/ 195602 w 712457"/>
                      <a:gd name="connsiteY1297" fmla="*/ 183287 h 522414"/>
                      <a:gd name="connsiteX1298" fmla="*/ 191755 w 712457"/>
                      <a:gd name="connsiteY1298" fmla="*/ 183483 h 522414"/>
                      <a:gd name="connsiteX1299" fmla="*/ 186947 w 712457"/>
                      <a:gd name="connsiteY1299" fmla="*/ 182187 h 522414"/>
                      <a:gd name="connsiteX1300" fmla="*/ 176091 w 712457"/>
                      <a:gd name="connsiteY1300" fmla="*/ 177632 h 522414"/>
                      <a:gd name="connsiteX1301" fmla="*/ 171984 w 712457"/>
                      <a:gd name="connsiteY1301" fmla="*/ 176042 h 522414"/>
                      <a:gd name="connsiteX1302" fmla="*/ 170517 w 712457"/>
                      <a:gd name="connsiteY1302" fmla="*/ 175806 h 522414"/>
                      <a:gd name="connsiteX1303" fmla="*/ 161079 w 712457"/>
                      <a:gd name="connsiteY1303" fmla="*/ 177778 h 522414"/>
                      <a:gd name="connsiteX1304" fmla="*/ 152930 w 712457"/>
                      <a:gd name="connsiteY1304" fmla="*/ 177876 h 522414"/>
                      <a:gd name="connsiteX1305" fmla="*/ 136492 w 712457"/>
                      <a:gd name="connsiteY1305" fmla="*/ 175977 h 522414"/>
                      <a:gd name="connsiteX1306" fmla="*/ 130461 w 712457"/>
                      <a:gd name="connsiteY1306" fmla="*/ 174714 h 522414"/>
                      <a:gd name="connsiteX1307" fmla="*/ 128872 w 712457"/>
                      <a:gd name="connsiteY1307" fmla="*/ 173386 h 522414"/>
                      <a:gd name="connsiteX1308" fmla="*/ 126883 w 712457"/>
                      <a:gd name="connsiteY1308" fmla="*/ 172725 h 522414"/>
                      <a:gd name="connsiteX1309" fmla="*/ 123330 w 712457"/>
                      <a:gd name="connsiteY1309" fmla="*/ 172725 h 522414"/>
                      <a:gd name="connsiteX1310" fmla="*/ 113909 w 712457"/>
                      <a:gd name="connsiteY1310" fmla="*/ 171242 h 522414"/>
                      <a:gd name="connsiteX1311" fmla="*/ 105294 w 712457"/>
                      <a:gd name="connsiteY1311" fmla="*/ 174567 h 522414"/>
                      <a:gd name="connsiteX1312" fmla="*/ 94920 w 712457"/>
                      <a:gd name="connsiteY1312" fmla="*/ 171519 h 522414"/>
                      <a:gd name="connsiteX1313" fmla="*/ 91847 w 712457"/>
                      <a:gd name="connsiteY1313" fmla="*/ 169718 h 522414"/>
                      <a:gd name="connsiteX1314" fmla="*/ 90869 w 712457"/>
                      <a:gd name="connsiteY1314" fmla="*/ 168488 h 522414"/>
                      <a:gd name="connsiteX1315" fmla="*/ 87846 w 712457"/>
                      <a:gd name="connsiteY1315" fmla="*/ 163312 h 522414"/>
                      <a:gd name="connsiteX1316" fmla="*/ 87439 w 712457"/>
                      <a:gd name="connsiteY1316" fmla="*/ 160550 h 522414"/>
                      <a:gd name="connsiteX1317" fmla="*/ 88294 w 712457"/>
                      <a:gd name="connsiteY1317" fmla="*/ 158040 h 522414"/>
                      <a:gd name="connsiteX1318" fmla="*/ 89142 w 712457"/>
                      <a:gd name="connsiteY1318" fmla="*/ 156328 h 522414"/>
                      <a:gd name="connsiteX1319" fmla="*/ 89989 w 712457"/>
                      <a:gd name="connsiteY1319" fmla="*/ 155391 h 522414"/>
                      <a:gd name="connsiteX1320" fmla="*/ 84350 w 712457"/>
                      <a:gd name="connsiteY1320" fmla="*/ 158268 h 522414"/>
                      <a:gd name="connsiteX1321" fmla="*/ 82369 w 712457"/>
                      <a:gd name="connsiteY1321" fmla="*/ 158740 h 522414"/>
                      <a:gd name="connsiteX1322" fmla="*/ 79761 w 712457"/>
                      <a:gd name="connsiteY1322" fmla="*/ 158846 h 522414"/>
                      <a:gd name="connsiteX1323" fmla="*/ 71995 w 712457"/>
                      <a:gd name="connsiteY1323" fmla="*/ 157779 h 522414"/>
                      <a:gd name="connsiteX1324" fmla="*/ 70764 w 712457"/>
                      <a:gd name="connsiteY1324" fmla="*/ 158325 h 522414"/>
                      <a:gd name="connsiteX1325" fmla="*/ 71163 w 712457"/>
                      <a:gd name="connsiteY1325" fmla="*/ 159335 h 522414"/>
                      <a:gd name="connsiteX1326" fmla="*/ 73201 w 712457"/>
                      <a:gd name="connsiteY1326" fmla="*/ 160794 h 522414"/>
                      <a:gd name="connsiteX1327" fmla="*/ 73462 w 712457"/>
                      <a:gd name="connsiteY1327" fmla="*/ 161674 h 522414"/>
                      <a:gd name="connsiteX1328" fmla="*/ 69134 w 712457"/>
                      <a:gd name="connsiteY1328" fmla="*/ 162367 h 522414"/>
                      <a:gd name="connsiteX1329" fmla="*/ 62566 w 712457"/>
                      <a:gd name="connsiteY1329" fmla="*/ 161650 h 522414"/>
                      <a:gd name="connsiteX1330" fmla="*/ 59713 w 712457"/>
                      <a:gd name="connsiteY1330" fmla="*/ 161960 h 522414"/>
                      <a:gd name="connsiteX1331" fmla="*/ 58409 w 712457"/>
                      <a:gd name="connsiteY1331" fmla="*/ 162359 h 522414"/>
                      <a:gd name="connsiteX1332" fmla="*/ 55451 w 712457"/>
                      <a:gd name="connsiteY1332" fmla="*/ 164674 h 522414"/>
                      <a:gd name="connsiteX1333" fmla="*/ 54245 w 712457"/>
                      <a:gd name="connsiteY1333" fmla="*/ 165187 h 522414"/>
                      <a:gd name="connsiteX1334" fmla="*/ 52696 w 712457"/>
                      <a:gd name="connsiteY1334" fmla="*/ 164959 h 522414"/>
                      <a:gd name="connsiteX1335" fmla="*/ 45810 w 712457"/>
                      <a:gd name="connsiteY1335" fmla="*/ 159727 h 522414"/>
                      <a:gd name="connsiteX1336" fmla="*/ 40260 w 712457"/>
                      <a:gd name="connsiteY1336" fmla="*/ 156418 h 522414"/>
                      <a:gd name="connsiteX1337" fmla="*/ 33789 w 712457"/>
                      <a:gd name="connsiteY1337" fmla="*/ 155146 h 522414"/>
                      <a:gd name="connsiteX1338" fmla="*/ 30814 w 712457"/>
                      <a:gd name="connsiteY1338" fmla="*/ 154079 h 522414"/>
                      <a:gd name="connsiteX1339" fmla="*/ 29192 w 712457"/>
                      <a:gd name="connsiteY1339" fmla="*/ 152808 h 522414"/>
                      <a:gd name="connsiteX1340" fmla="*/ 20260 w 712457"/>
                      <a:gd name="connsiteY1340" fmla="*/ 142156 h 522414"/>
                      <a:gd name="connsiteX1341" fmla="*/ 19046 w 712457"/>
                      <a:gd name="connsiteY1341" fmla="*/ 139866 h 522414"/>
                      <a:gd name="connsiteX1342" fmla="*/ 16210 w 712457"/>
                      <a:gd name="connsiteY1342" fmla="*/ 131496 h 522414"/>
                      <a:gd name="connsiteX1343" fmla="*/ 15264 w 712457"/>
                      <a:gd name="connsiteY1343" fmla="*/ 129703 h 522414"/>
                      <a:gd name="connsiteX1344" fmla="*/ 14115 w 712457"/>
                      <a:gd name="connsiteY1344" fmla="*/ 128529 h 522414"/>
                      <a:gd name="connsiteX1345" fmla="*/ 16356 w 712457"/>
                      <a:gd name="connsiteY1345" fmla="*/ 128285 h 522414"/>
                      <a:gd name="connsiteX1346" fmla="*/ 24808 w 712457"/>
                      <a:gd name="connsiteY1346" fmla="*/ 129304 h 522414"/>
                      <a:gd name="connsiteX1347" fmla="*/ 32974 w 712457"/>
                      <a:gd name="connsiteY1347" fmla="*/ 129255 h 522414"/>
                      <a:gd name="connsiteX1348" fmla="*/ 37407 w 712457"/>
                      <a:gd name="connsiteY1348" fmla="*/ 129939 h 522414"/>
                      <a:gd name="connsiteX1349" fmla="*/ 42566 w 712457"/>
                      <a:gd name="connsiteY1349" fmla="*/ 132034 h 522414"/>
                      <a:gd name="connsiteX1350" fmla="*/ 49273 w 712457"/>
                      <a:gd name="connsiteY1350" fmla="*/ 133517 h 522414"/>
                      <a:gd name="connsiteX1351" fmla="*/ 54074 w 712457"/>
                      <a:gd name="connsiteY1351" fmla="*/ 133827 h 522414"/>
                      <a:gd name="connsiteX1352" fmla="*/ 61775 w 712457"/>
                      <a:gd name="connsiteY1352" fmla="*/ 133273 h 522414"/>
                      <a:gd name="connsiteX1353" fmla="*/ 70528 w 712457"/>
                      <a:gd name="connsiteY1353" fmla="*/ 131879 h 522414"/>
                      <a:gd name="connsiteX1354" fmla="*/ 71555 w 712457"/>
                      <a:gd name="connsiteY1354" fmla="*/ 130795 h 522414"/>
                      <a:gd name="connsiteX1355" fmla="*/ 65891 w 712457"/>
                      <a:gd name="connsiteY1355" fmla="*/ 128929 h 522414"/>
                      <a:gd name="connsiteX1356" fmla="*/ 60838 w 712457"/>
                      <a:gd name="connsiteY1356" fmla="*/ 126459 h 522414"/>
                      <a:gd name="connsiteX1357" fmla="*/ 56176 w 712457"/>
                      <a:gd name="connsiteY1357" fmla="*/ 123248 h 522414"/>
                      <a:gd name="connsiteX1358" fmla="*/ 53389 w 712457"/>
                      <a:gd name="connsiteY1358" fmla="*/ 121887 h 522414"/>
                      <a:gd name="connsiteX1359" fmla="*/ 48727 w 712457"/>
                      <a:gd name="connsiteY1359" fmla="*/ 121040 h 522414"/>
                      <a:gd name="connsiteX1360" fmla="*/ 35606 w 712457"/>
                      <a:gd name="connsiteY1360" fmla="*/ 120445 h 522414"/>
                      <a:gd name="connsiteX1361" fmla="*/ 23463 w 712457"/>
                      <a:gd name="connsiteY1361" fmla="*/ 118293 h 522414"/>
                      <a:gd name="connsiteX1362" fmla="*/ 15069 w 712457"/>
                      <a:gd name="connsiteY1362" fmla="*/ 115376 h 522414"/>
                      <a:gd name="connsiteX1363" fmla="*/ 8231 w 712457"/>
                      <a:gd name="connsiteY1363" fmla="*/ 112140 h 522414"/>
                      <a:gd name="connsiteX1364" fmla="*/ 5452 w 712457"/>
                      <a:gd name="connsiteY1364" fmla="*/ 110372 h 522414"/>
                      <a:gd name="connsiteX1365" fmla="*/ 4450 w 712457"/>
                      <a:gd name="connsiteY1365" fmla="*/ 109011 h 522414"/>
                      <a:gd name="connsiteX1366" fmla="*/ 3390 w 712457"/>
                      <a:gd name="connsiteY1366" fmla="*/ 104765 h 522414"/>
                      <a:gd name="connsiteX1367" fmla="*/ 2266 w 712457"/>
                      <a:gd name="connsiteY1367" fmla="*/ 97609 h 522414"/>
                      <a:gd name="connsiteX1368" fmla="*/ 1190 w 712457"/>
                      <a:gd name="connsiteY1368" fmla="*/ 92809 h 522414"/>
                      <a:gd name="connsiteX1369" fmla="*/ 139 w 712457"/>
                      <a:gd name="connsiteY1369" fmla="*/ 90348 h 522414"/>
                      <a:gd name="connsiteX1370" fmla="*/ 0 w 712457"/>
                      <a:gd name="connsiteY1370" fmla="*/ 88213 h 522414"/>
                      <a:gd name="connsiteX1371" fmla="*/ 2323 w 712457"/>
                      <a:gd name="connsiteY1371" fmla="*/ 83616 h 522414"/>
                      <a:gd name="connsiteX1372" fmla="*/ 8965 w 712457"/>
                      <a:gd name="connsiteY1372" fmla="*/ 78629 h 522414"/>
                      <a:gd name="connsiteX1373" fmla="*/ 9128 w 712457"/>
                      <a:gd name="connsiteY1373" fmla="*/ 77846 h 522414"/>
                      <a:gd name="connsiteX1374" fmla="*/ 7808 w 712457"/>
                      <a:gd name="connsiteY1374" fmla="*/ 77610 h 522414"/>
                      <a:gd name="connsiteX1375" fmla="*/ 5020 w 712457"/>
                      <a:gd name="connsiteY1375" fmla="*/ 76347 h 522414"/>
                      <a:gd name="connsiteX1376" fmla="*/ 4132 w 712457"/>
                      <a:gd name="connsiteY1376" fmla="*/ 74489 h 522414"/>
                      <a:gd name="connsiteX1377" fmla="*/ 3773 w 712457"/>
                      <a:gd name="connsiteY1377" fmla="*/ 71538 h 522414"/>
                      <a:gd name="connsiteX1378" fmla="*/ 3749 w 712457"/>
                      <a:gd name="connsiteY1378" fmla="*/ 69028 h 522414"/>
                      <a:gd name="connsiteX1379" fmla="*/ 4058 w 712457"/>
                      <a:gd name="connsiteY1379" fmla="*/ 66974 h 522414"/>
                      <a:gd name="connsiteX1380" fmla="*/ 5167 w 712457"/>
                      <a:gd name="connsiteY1380" fmla="*/ 64399 h 522414"/>
                      <a:gd name="connsiteX1381" fmla="*/ 8027 w 712457"/>
                      <a:gd name="connsiteY1381" fmla="*/ 59786 h 522414"/>
                      <a:gd name="connsiteX1382" fmla="*/ 12119 w 712457"/>
                      <a:gd name="connsiteY1382" fmla="*/ 54171 h 522414"/>
                      <a:gd name="connsiteX1383" fmla="*/ 16552 w 712457"/>
                      <a:gd name="connsiteY1383" fmla="*/ 48882 h 522414"/>
                      <a:gd name="connsiteX1384" fmla="*/ 17318 w 712457"/>
                      <a:gd name="connsiteY1384" fmla="*/ 47163 h 522414"/>
                      <a:gd name="connsiteX1385" fmla="*/ 17701 w 712457"/>
                      <a:gd name="connsiteY1385" fmla="*/ 42468 h 522414"/>
                      <a:gd name="connsiteX1386" fmla="*/ 18296 w 712457"/>
                      <a:gd name="connsiteY1386" fmla="*/ 39045 h 522414"/>
                      <a:gd name="connsiteX1387" fmla="*/ 18891 w 712457"/>
                      <a:gd name="connsiteY1387" fmla="*/ 36633 h 522414"/>
                      <a:gd name="connsiteX1388" fmla="*/ 19836 w 712457"/>
                      <a:gd name="connsiteY1388" fmla="*/ 34816 h 522414"/>
                      <a:gd name="connsiteX1389" fmla="*/ 22583 w 712457"/>
                      <a:gd name="connsiteY1389" fmla="*/ 31385 h 522414"/>
                      <a:gd name="connsiteX1390" fmla="*/ 26006 w 712457"/>
                      <a:gd name="connsiteY1390" fmla="*/ 28108 h 522414"/>
                      <a:gd name="connsiteX1391" fmla="*/ 31352 w 712457"/>
                      <a:gd name="connsiteY1391" fmla="*/ 25321 h 522414"/>
                      <a:gd name="connsiteX1392" fmla="*/ 31808 w 712457"/>
                      <a:gd name="connsiteY1392" fmla="*/ 24294 h 522414"/>
                      <a:gd name="connsiteX1393" fmla="*/ 31882 w 712457"/>
                      <a:gd name="connsiteY1393" fmla="*/ 22868 h 522414"/>
                      <a:gd name="connsiteX1394" fmla="*/ 32192 w 712457"/>
                      <a:gd name="connsiteY1394" fmla="*/ 21792 h 522414"/>
                      <a:gd name="connsiteX1395" fmla="*/ 32737 w 712457"/>
                      <a:gd name="connsiteY1395" fmla="*/ 21092 h 522414"/>
                      <a:gd name="connsiteX1396" fmla="*/ 46013 w 712457"/>
                      <a:gd name="connsiteY1396" fmla="*/ 12143 h 522414"/>
                      <a:gd name="connsiteX1397" fmla="*/ 52052 w 712457"/>
                      <a:gd name="connsiteY1397" fmla="*/ 8492 h 522414"/>
                      <a:gd name="connsiteX1398" fmla="*/ 57178 w 712457"/>
                      <a:gd name="connsiteY1398" fmla="*/ 6169 h 522414"/>
                      <a:gd name="connsiteX1399" fmla="*/ 63315 w 712457"/>
                      <a:gd name="connsiteY1399" fmla="*/ 4466 h 522414"/>
                      <a:gd name="connsiteX1400" fmla="*/ 80764 w 712457"/>
                      <a:gd name="connsiteY1400" fmla="*/ 978 h 522414"/>
                      <a:gd name="connsiteX1401" fmla="*/ 89753 w 712457"/>
                      <a:gd name="connsiteY1401" fmla="*/ 0 h 522414"/>
                      <a:gd name="connsiteX1402" fmla="*/ 101057 w 712457"/>
                      <a:gd name="connsiteY1402" fmla="*/ 220 h 522414"/>
                      <a:gd name="connsiteX1403" fmla="*/ 121896 w 712457"/>
                      <a:gd name="connsiteY1403" fmla="*/ 2192 h 522414"/>
                      <a:gd name="connsiteX1404" fmla="*/ 124406 w 712457"/>
                      <a:gd name="connsiteY1404" fmla="*/ 3570 h 522414"/>
                      <a:gd name="connsiteX1405" fmla="*/ 125041 w 712457"/>
                      <a:gd name="connsiteY1405" fmla="*/ 4262 h 522414"/>
                      <a:gd name="connsiteX1406" fmla="*/ 125954 w 712457"/>
                      <a:gd name="connsiteY1406" fmla="*/ 6235 h 522414"/>
                      <a:gd name="connsiteX1407" fmla="*/ 125270 w 712457"/>
                      <a:gd name="connsiteY1407" fmla="*/ 7490 h 522414"/>
                      <a:gd name="connsiteX1408" fmla="*/ 119573 w 712457"/>
                      <a:gd name="connsiteY1408" fmla="*/ 11752 h 522414"/>
                      <a:gd name="connsiteX1409" fmla="*/ 112401 w 712457"/>
                      <a:gd name="connsiteY1409" fmla="*/ 15297 h 522414"/>
                      <a:gd name="connsiteX1410" fmla="*/ 107723 w 712457"/>
                      <a:gd name="connsiteY1410" fmla="*/ 18378 h 522414"/>
                      <a:gd name="connsiteX1411" fmla="*/ 99826 w 712457"/>
                      <a:gd name="connsiteY1411" fmla="*/ 25313 h 522414"/>
                      <a:gd name="connsiteX1412" fmla="*/ 97691 w 712457"/>
                      <a:gd name="connsiteY1412" fmla="*/ 27750 h 522414"/>
                      <a:gd name="connsiteX1413" fmla="*/ 87895 w 712457"/>
                      <a:gd name="connsiteY1413" fmla="*/ 41670 h 522414"/>
                      <a:gd name="connsiteX1414" fmla="*/ 85580 w 712457"/>
                      <a:gd name="connsiteY1414" fmla="*/ 43968 h 522414"/>
                      <a:gd name="connsiteX1415" fmla="*/ 84219 w 712457"/>
                      <a:gd name="connsiteY1415" fmla="*/ 45810 h 522414"/>
                      <a:gd name="connsiteX1416" fmla="*/ 83266 w 712457"/>
                      <a:gd name="connsiteY1416" fmla="*/ 50814 h 522414"/>
                      <a:gd name="connsiteX1417" fmla="*/ 83559 w 712457"/>
                      <a:gd name="connsiteY1417" fmla="*/ 52590 h 522414"/>
                      <a:gd name="connsiteX1418" fmla="*/ 85083 w 712457"/>
                      <a:gd name="connsiteY1418" fmla="*/ 55492 h 522414"/>
                      <a:gd name="connsiteX1419" fmla="*/ 90397 w 712457"/>
                      <a:gd name="connsiteY1419" fmla="*/ 61783 h 522414"/>
                      <a:gd name="connsiteX1420" fmla="*/ 91831 w 712457"/>
                      <a:gd name="connsiteY1420" fmla="*/ 64717 h 522414"/>
                      <a:gd name="connsiteX1421" fmla="*/ 91799 w 712457"/>
                      <a:gd name="connsiteY1421" fmla="*/ 67423 h 522414"/>
                      <a:gd name="connsiteX1422" fmla="*/ 91204 w 712457"/>
                      <a:gd name="connsiteY1422" fmla="*/ 73853 h 522414"/>
                      <a:gd name="connsiteX1423" fmla="*/ 91130 w 712457"/>
                      <a:gd name="connsiteY1423" fmla="*/ 77096 h 522414"/>
                      <a:gd name="connsiteX1424" fmla="*/ 91367 w 712457"/>
                      <a:gd name="connsiteY1424" fmla="*/ 80226 h 522414"/>
                      <a:gd name="connsiteX1425" fmla="*/ 92467 w 712457"/>
                      <a:gd name="connsiteY1425" fmla="*/ 84692 h 522414"/>
                      <a:gd name="connsiteX1426" fmla="*/ 94415 w 712457"/>
                      <a:gd name="connsiteY1426" fmla="*/ 90478 h 522414"/>
                      <a:gd name="connsiteX1427" fmla="*/ 98938 w 712457"/>
                      <a:gd name="connsiteY1427" fmla="*/ 96330 h 522414"/>
                      <a:gd name="connsiteX1428" fmla="*/ 106036 w 712457"/>
                      <a:gd name="connsiteY1428" fmla="*/ 102230 h 522414"/>
                      <a:gd name="connsiteX1429" fmla="*/ 111317 w 712457"/>
                      <a:gd name="connsiteY1429" fmla="*/ 106142 h 522414"/>
                      <a:gd name="connsiteX1430" fmla="*/ 116517 w 712457"/>
                      <a:gd name="connsiteY1430" fmla="*/ 109019 h 522414"/>
                      <a:gd name="connsiteX1431" fmla="*/ 122678 w 712457"/>
                      <a:gd name="connsiteY1431" fmla="*/ 113273 h 522414"/>
                      <a:gd name="connsiteX1432" fmla="*/ 124055 w 712457"/>
                      <a:gd name="connsiteY1432" fmla="*/ 115327 h 522414"/>
                      <a:gd name="connsiteX1433" fmla="*/ 121227 w 712457"/>
                      <a:gd name="connsiteY1433" fmla="*/ 117584 h 522414"/>
                      <a:gd name="connsiteX1434" fmla="*/ 114577 w 712457"/>
                      <a:gd name="connsiteY1434" fmla="*/ 121064 h 522414"/>
                      <a:gd name="connsiteX1435" fmla="*/ 105857 w 712457"/>
                      <a:gd name="connsiteY1435" fmla="*/ 122556 h 522414"/>
                      <a:gd name="connsiteX1436" fmla="*/ 101187 w 712457"/>
                      <a:gd name="connsiteY1436" fmla="*/ 123957 h 522414"/>
                      <a:gd name="connsiteX1437" fmla="*/ 95385 w 712457"/>
                      <a:gd name="connsiteY1437" fmla="*/ 126981 h 522414"/>
                      <a:gd name="connsiteX1438" fmla="*/ 88099 w 712457"/>
                      <a:gd name="connsiteY1438" fmla="*/ 129385 h 522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Lst>
                    <a:rect l="l" t="t" r="r" b="b"/>
                    <a:pathLst>
                      <a:path w="712457" h="522414">
                        <a:moveTo>
                          <a:pt x="85214" y="130836"/>
                        </a:moveTo>
                        <a:lnTo>
                          <a:pt x="86200" y="131830"/>
                        </a:lnTo>
                        <a:lnTo>
                          <a:pt x="91872" y="130559"/>
                        </a:lnTo>
                        <a:lnTo>
                          <a:pt x="96680" y="129100"/>
                        </a:lnTo>
                        <a:lnTo>
                          <a:pt x="104186" y="125628"/>
                        </a:lnTo>
                        <a:lnTo>
                          <a:pt x="108668" y="124422"/>
                        </a:lnTo>
                        <a:lnTo>
                          <a:pt x="122287" y="124446"/>
                        </a:lnTo>
                        <a:lnTo>
                          <a:pt x="124593" y="125107"/>
                        </a:lnTo>
                        <a:lnTo>
                          <a:pt x="123574" y="127177"/>
                        </a:lnTo>
                        <a:lnTo>
                          <a:pt x="123004" y="127763"/>
                        </a:lnTo>
                        <a:lnTo>
                          <a:pt x="123460" y="128668"/>
                        </a:lnTo>
                        <a:lnTo>
                          <a:pt x="124919" y="129882"/>
                        </a:lnTo>
                        <a:lnTo>
                          <a:pt x="127853" y="131243"/>
                        </a:lnTo>
                        <a:lnTo>
                          <a:pt x="129010" y="130029"/>
                        </a:lnTo>
                        <a:lnTo>
                          <a:pt x="129858" y="127103"/>
                        </a:lnTo>
                        <a:lnTo>
                          <a:pt x="131863" y="115082"/>
                        </a:lnTo>
                        <a:lnTo>
                          <a:pt x="132718" y="111448"/>
                        </a:lnTo>
                        <a:lnTo>
                          <a:pt x="133118" y="108000"/>
                        </a:lnTo>
                        <a:lnTo>
                          <a:pt x="133069" y="104740"/>
                        </a:lnTo>
                        <a:lnTo>
                          <a:pt x="132091" y="102679"/>
                        </a:lnTo>
                        <a:lnTo>
                          <a:pt x="128603" y="101448"/>
                        </a:lnTo>
                        <a:lnTo>
                          <a:pt x="123835" y="101660"/>
                        </a:lnTo>
                        <a:lnTo>
                          <a:pt x="121390" y="101326"/>
                        </a:lnTo>
                        <a:lnTo>
                          <a:pt x="118424" y="100682"/>
                        </a:lnTo>
                        <a:lnTo>
                          <a:pt x="116223" y="99679"/>
                        </a:lnTo>
                        <a:lnTo>
                          <a:pt x="114797" y="98327"/>
                        </a:lnTo>
                        <a:lnTo>
                          <a:pt x="111945" y="94243"/>
                        </a:lnTo>
                        <a:lnTo>
                          <a:pt x="109850" y="91970"/>
                        </a:lnTo>
                        <a:lnTo>
                          <a:pt x="104463" y="87854"/>
                        </a:lnTo>
                        <a:lnTo>
                          <a:pt x="102026" y="86477"/>
                        </a:lnTo>
                        <a:lnTo>
                          <a:pt x="103257" y="84855"/>
                        </a:lnTo>
                        <a:lnTo>
                          <a:pt x="108147" y="82989"/>
                        </a:lnTo>
                        <a:lnTo>
                          <a:pt x="111097" y="81212"/>
                        </a:lnTo>
                        <a:lnTo>
                          <a:pt x="114569" y="76021"/>
                        </a:lnTo>
                        <a:lnTo>
                          <a:pt x="116655" y="75189"/>
                        </a:lnTo>
                        <a:lnTo>
                          <a:pt x="124169" y="75874"/>
                        </a:lnTo>
                        <a:lnTo>
                          <a:pt x="134340" y="79941"/>
                        </a:lnTo>
                        <a:lnTo>
                          <a:pt x="140721" y="83461"/>
                        </a:lnTo>
                        <a:lnTo>
                          <a:pt x="142400" y="83828"/>
                        </a:lnTo>
                        <a:lnTo>
                          <a:pt x="142433" y="83184"/>
                        </a:lnTo>
                        <a:lnTo>
                          <a:pt x="140819" y="81538"/>
                        </a:lnTo>
                        <a:lnTo>
                          <a:pt x="133493" y="77186"/>
                        </a:lnTo>
                        <a:lnTo>
                          <a:pt x="130151" y="74008"/>
                        </a:lnTo>
                        <a:lnTo>
                          <a:pt x="128554" y="71742"/>
                        </a:lnTo>
                        <a:lnTo>
                          <a:pt x="129320" y="70764"/>
                        </a:lnTo>
                        <a:lnTo>
                          <a:pt x="133452" y="69762"/>
                        </a:lnTo>
                        <a:lnTo>
                          <a:pt x="133990" y="68596"/>
                        </a:lnTo>
                        <a:lnTo>
                          <a:pt x="128374" y="67235"/>
                        </a:lnTo>
                        <a:lnTo>
                          <a:pt x="125522" y="67260"/>
                        </a:lnTo>
                        <a:lnTo>
                          <a:pt x="123232" y="68238"/>
                        </a:lnTo>
                        <a:lnTo>
                          <a:pt x="120763" y="68303"/>
                        </a:lnTo>
                        <a:lnTo>
                          <a:pt x="116174" y="66526"/>
                        </a:lnTo>
                        <a:lnTo>
                          <a:pt x="114936" y="65499"/>
                        </a:lnTo>
                        <a:lnTo>
                          <a:pt x="112287" y="62427"/>
                        </a:lnTo>
                        <a:lnTo>
                          <a:pt x="110910" y="59754"/>
                        </a:lnTo>
                        <a:lnTo>
                          <a:pt x="109369" y="58099"/>
                        </a:lnTo>
                        <a:lnTo>
                          <a:pt x="108815" y="56779"/>
                        </a:lnTo>
                        <a:lnTo>
                          <a:pt x="108522" y="52672"/>
                        </a:lnTo>
                        <a:lnTo>
                          <a:pt x="108652" y="50259"/>
                        </a:lnTo>
                        <a:lnTo>
                          <a:pt x="109272" y="48198"/>
                        </a:lnTo>
                        <a:lnTo>
                          <a:pt x="110388" y="46478"/>
                        </a:lnTo>
                        <a:lnTo>
                          <a:pt x="113355" y="43291"/>
                        </a:lnTo>
                        <a:lnTo>
                          <a:pt x="115025" y="42370"/>
                        </a:lnTo>
                        <a:lnTo>
                          <a:pt x="118139" y="41955"/>
                        </a:lnTo>
                        <a:lnTo>
                          <a:pt x="124895" y="43536"/>
                        </a:lnTo>
                        <a:lnTo>
                          <a:pt x="143077" y="49224"/>
                        </a:lnTo>
                        <a:lnTo>
                          <a:pt x="142636" y="47399"/>
                        </a:lnTo>
                        <a:lnTo>
                          <a:pt x="122303" y="39706"/>
                        </a:lnTo>
                        <a:lnTo>
                          <a:pt x="115115" y="37725"/>
                        </a:lnTo>
                        <a:lnTo>
                          <a:pt x="113355" y="34938"/>
                        </a:lnTo>
                        <a:lnTo>
                          <a:pt x="124177" y="24245"/>
                        </a:lnTo>
                        <a:lnTo>
                          <a:pt x="134161" y="21735"/>
                        </a:lnTo>
                        <a:lnTo>
                          <a:pt x="139116" y="18622"/>
                        </a:lnTo>
                        <a:lnTo>
                          <a:pt x="147233" y="18484"/>
                        </a:lnTo>
                        <a:lnTo>
                          <a:pt x="154853" y="20464"/>
                        </a:lnTo>
                        <a:lnTo>
                          <a:pt x="154983" y="19918"/>
                        </a:lnTo>
                        <a:lnTo>
                          <a:pt x="151544" y="16202"/>
                        </a:lnTo>
                        <a:lnTo>
                          <a:pt x="151821" y="15264"/>
                        </a:lnTo>
                        <a:lnTo>
                          <a:pt x="156141" y="13048"/>
                        </a:lnTo>
                        <a:lnTo>
                          <a:pt x="164062" y="10448"/>
                        </a:lnTo>
                        <a:lnTo>
                          <a:pt x="173736" y="8370"/>
                        </a:lnTo>
                        <a:lnTo>
                          <a:pt x="175651" y="7286"/>
                        </a:lnTo>
                        <a:lnTo>
                          <a:pt x="178129" y="6528"/>
                        </a:lnTo>
                        <a:lnTo>
                          <a:pt x="182684" y="5868"/>
                        </a:lnTo>
                        <a:lnTo>
                          <a:pt x="194013" y="5550"/>
                        </a:lnTo>
                        <a:lnTo>
                          <a:pt x="200385" y="5860"/>
                        </a:lnTo>
                        <a:lnTo>
                          <a:pt x="208829" y="7433"/>
                        </a:lnTo>
                        <a:lnTo>
                          <a:pt x="213776" y="10309"/>
                        </a:lnTo>
                        <a:lnTo>
                          <a:pt x="215316" y="12029"/>
                        </a:lnTo>
                        <a:lnTo>
                          <a:pt x="217932" y="17538"/>
                        </a:lnTo>
                        <a:lnTo>
                          <a:pt x="220084" y="25256"/>
                        </a:lnTo>
                        <a:lnTo>
                          <a:pt x="223221" y="28451"/>
                        </a:lnTo>
                        <a:lnTo>
                          <a:pt x="228266" y="30219"/>
                        </a:lnTo>
                        <a:lnTo>
                          <a:pt x="231754" y="32134"/>
                        </a:lnTo>
                        <a:lnTo>
                          <a:pt x="233677" y="34213"/>
                        </a:lnTo>
                        <a:lnTo>
                          <a:pt x="234191" y="36821"/>
                        </a:lnTo>
                        <a:lnTo>
                          <a:pt x="233294" y="39966"/>
                        </a:lnTo>
                        <a:lnTo>
                          <a:pt x="233963" y="43169"/>
                        </a:lnTo>
                        <a:lnTo>
                          <a:pt x="236220" y="46470"/>
                        </a:lnTo>
                        <a:lnTo>
                          <a:pt x="237964" y="48328"/>
                        </a:lnTo>
                        <a:lnTo>
                          <a:pt x="241770" y="50455"/>
                        </a:lnTo>
                        <a:lnTo>
                          <a:pt x="241827" y="51596"/>
                        </a:lnTo>
                        <a:lnTo>
                          <a:pt x="240645" y="52900"/>
                        </a:lnTo>
                        <a:lnTo>
                          <a:pt x="238119" y="54677"/>
                        </a:lnTo>
                        <a:lnTo>
                          <a:pt x="231901" y="60227"/>
                        </a:lnTo>
                        <a:lnTo>
                          <a:pt x="223881" y="66314"/>
                        </a:lnTo>
                        <a:lnTo>
                          <a:pt x="218160" y="71579"/>
                        </a:lnTo>
                        <a:lnTo>
                          <a:pt x="217875" y="73128"/>
                        </a:lnTo>
                        <a:lnTo>
                          <a:pt x="229782" y="64888"/>
                        </a:lnTo>
                        <a:lnTo>
                          <a:pt x="233482" y="65182"/>
                        </a:lnTo>
                        <a:lnTo>
                          <a:pt x="233653" y="66331"/>
                        </a:lnTo>
                        <a:lnTo>
                          <a:pt x="231224" y="70348"/>
                        </a:lnTo>
                        <a:lnTo>
                          <a:pt x="228274" y="73934"/>
                        </a:lnTo>
                        <a:lnTo>
                          <a:pt x="225307" y="76233"/>
                        </a:lnTo>
                        <a:lnTo>
                          <a:pt x="225845" y="77105"/>
                        </a:lnTo>
                        <a:lnTo>
                          <a:pt x="231493" y="81131"/>
                        </a:lnTo>
                        <a:lnTo>
                          <a:pt x="230458" y="81791"/>
                        </a:lnTo>
                        <a:lnTo>
                          <a:pt x="227736" y="81457"/>
                        </a:lnTo>
                        <a:lnTo>
                          <a:pt x="226611" y="81823"/>
                        </a:lnTo>
                        <a:lnTo>
                          <a:pt x="225805" y="82557"/>
                        </a:lnTo>
                        <a:lnTo>
                          <a:pt x="225299" y="83649"/>
                        </a:lnTo>
                        <a:lnTo>
                          <a:pt x="225267" y="85214"/>
                        </a:lnTo>
                        <a:lnTo>
                          <a:pt x="225699" y="87202"/>
                        </a:lnTo>
                        <a:lnTo>
                          <a:pt x="225658" y="88694"/>
                        </a:lnTo>
                        <a:lnTo>
                          <a:pt x="225136" y="89680"/>
                        </a:lnTo>
                        <a:lnTo>
                          <a:pt x="225699" y="90087"/>
                        </a:lnTo>
                        <a:lnTo>
                          <a:pt x="227353" y="89908"/>
                        </a:lnTo>
                        <a:lnTo>
                          <a:pt x="228747" y="89101"/>
                        </a:lnTo>
                        <a:lnTo>
                          <a:pt x="231151" y="86403"/>
                        </a:lnTo>
                        <a:lnTo>
                          <a:pt x="239072" y="79052"/>
                        </a:lnTo>
                        <a:lnTo>
                          <a:pt x="244133" y="76306"/>
                        </a:lnTo>
                        <a:lnTo>
                          <a:pt x="245763" y="76061"/>
                        </a:lnTo>
                        <a:lnTo>
                          <a:pt x="250425" y="77846"/>
                        </a:lnTo>
                        <a:lnTo>
                          <a:pt x="251509" y="77748"/>
                        </a:lnTo>
                        <a:lnTo>
                          <a:pt x="246391" y="72076"/>
                        </a:lnTo>
                        <a:lnTo>
                          <a:pt x="245951" y="70642"/>
                        </a:lnTo>
                        <a:lnTo>
                          <a:pt x="246986" y="68523"/>
                        </a:lnTo>
                        <a:lnTo>
                          <a:pt x="247613" y="67790"/>
                        </a:lnTo>
                        <a:lnTo>
                          <a:pt x="250466" y="66217"/>
                        </a:lnTo>
                        <a:lnTo>
                          <a:pt x="252829" y="65393"/>
                        </a:lnTo>
                        <a:lnTo>
                          <a:pt x="254158" y="65736"/>
                        </a:lnTo>
                        <a:lnTo>
                          <a:pt x="256252" y="68629"/>
                        </a:lnTo>
                        <a:lnTo>
                          <a:pt x="257238" y="70642"/>
                        </a:lnTo>
                        <a:lnTo>
                          <a:pt x="258974" y="71441"/>
                        </a:lnTo>
                        <a:lnTo>
                          <a:pt x="262853" y="70406"/>
                        </a:lnTo>
                        <a:lnTo>
                          <a:pt x="265429" y="67944"/>
                        </a:lnTo>
                        <a:lnTo>
                          <a:pt x="268632" y="69550"/>
                        </a:lnTo>
                        <a:lnTo>
                          <a:pt x="273440" y="73405"/>
                        </a:lnTo>
                        <a:lnTo>
                          <a:pt x="273000" y="77235"/>
                        </a:lnTo>
                        <a:lnTo>
                          <a:pt x="273008" y="81090"/>
                        </a:lnTo>
                        <a:lnTo>
                          <a:pt x="273252" y="83893"/>
                        </a:lnTo>
                        <a:lnTo>
                          <a:pt x="279006" y="89044"/>
                        </a:lnTo>
                        <a:lnTo>
                          <a:pt x="283007" y="91301"/>
                        </a:lnTo>
                        <a:lnTo>
                          <a:pt x="283741" y="91326"/>
                        </a:lnTo>
                        <a:lnTo>
                          <a:pt x="283643" y="90544"/>
                        </a:lnTo>
                        <a:lnTo>
                          <a:pt x="282812" y="88840"/>
                        </a:lnTo>
                        <a:lnTo>
                          <a:pt x="280612" y="87129"/>
                        </a:lnTo>
                        <a:lnTo>
                          <a:pt x="278639" y="84480"/>
                        </a:lnTo>
                        <a:lnTo>
                          <a:pt x="276855" y="81245"/>
                        </a:lnTo>
                        <a:lnTo>
                          <a:pt x="277914" y="73698"/>
                        </a:lnTo>
                        <a:lnTo>
                          <a:pt x="280905" y="69762"/>
                        </a:lnTo>
                        <a:lnTo>
                          <a:pt x="283806" y="70772"/>
                        </a:lnTo>
                        <a:lnTo>
                          <a:pt x="287620" y="73038"/>
                        </a:lnTo>
                        <a:lnTo>
                          <a:pt x="290628" y="73258"/>
                        </a:lnTo>
                        <a:lnTo>
                          <a:pt x="295363" y="73013"/>
                        </a:lnTo>
                        <a:lnTo>
                          <a:pt x="305044" y="77618"/>
                        </a:lnTo>
                        <a:lnTo>
                          <a:pt x="310244" y="77724"/>
                        </a:lnTo>
                        <a:lnTo>
                          <a:pt x="309771" y="75841"/>
                        </a:lnTo>
                        <a:lnTo>
                          <a:pt x="305827" y="74937"/>
                        </a:lnTo>
                        <a:lnTo>
                          <a:pt x="300081" y="72402"/>
                        </a:lnTo>
                        <a:lnTo>
                          <a:pt x="291125" y="69371"/>
                        </a:lnTo>
                        <a:lnTo>
                          <a:pt x="287017" y="65899"/>
                        </a:lnTo>
                        <a:lnTo>
                          <a:pt x="286243" y="64269"/>
                        </a:lnTo>
                        <a:lnTo>
                          <a:pt x="286357" y="62517"/>
                        </a:lnTo>
                        <a:lnTo>
                          <a:pt x="286871" y="60968"/>
                        </a:lnTo>
                        <a:lnTo>
                          <a:pt x="287775" y="59623"/>
                        </a:lnTo>
                        <a:lnTo>
                          <a:pt x="289568" y="58303"/>
                        </a:lnTo>
                        <a:lnTo>
                          <a:pt x="298223" y="54277"/>
                        </a:lnTo>
                        <a:lnTo>
                          <a:pt x="304376" y="52558"/>
                        </a:lnTo>
                        <a:lnTo>
                          <a:pt x="308997" y="52003"/>
                        </a:lnTo>
                        <a:lnTo>
                          <a:pt x="316715" y="52044"/>
                        </a:lnTo>
                        <a:lnTo>
                          <a:pt x="325696" y="52745"/>
                        </a:lnTo>
                        <a:lnTo>
                          <a:pt x="330553" y="53927"/>
                        </a:lnTo>
                        <a:lnTo>
                          <a:pt x="336120" y="56779"/>
                        </a:lnTo>
                        <a:lnTo>
                          <a:pt x="343177" y="59599"/>
                        </a:lnTo>
                        <a:lnTo>
                          <a:pt x="345687" y="60088"/>
                        </a:lnTo>
                        <a:lnTo>
                          <a:pt x="348629" y="60031"/>
                        </a:lnTo>
                        <a:lnTo>
                          <a:pt x="351995" y="59395"/>
                        </a:lnTo>
                        <a:lnTo>
                          <a:pt x="355190" y="59623"/>
                        </a:lnTo>
                        <a:lnTo>
                          <a:pt x="365361" y="63804"/>
                        </a:lnTo>
                        <a:lnTo>
                          <a:pt x="368050" y="65948"/>
                        </a:lnTo>
                        <a:lnTo>
                          <a:pt x="369680" y="68547"/>
                        </a:lnTo>
                        <a:lnTo>
                          <a:pt x="370886" y="71066"/>
                        </a:lnTo>
                        <a:lnTo>
                          <a:pt x="371669" y="73511"/>
                        </a:lnTo>
                        <a:lnTo>
                          <a:pt x="371351" y="75499"/>
                        </a:lnTo>
                        <a:lnTo>
                          <a:pt x="362883" y="84040"/>
                        </a:lnTo>
                        <a:lnTo>
                          <a:pt x="359191" y="85499"/>
                        </a:lnTo>
                        <a:lnTo>
                          <a:pt x="356763" y="88734"/>
                        </a:lnTo>
                        <a:lnTo>
                          <a:pt x="353128" y="94863"/>
                        </a:lnTo>
                        <a:lnTo>
                          <a:pt x="350056" y="98131"/>
                        </a:lnTo>
                        <a:lnTo>
                          <a:pt x="349770" y="98775"/>
                        </a:lnTo>
                        <a:lnTo>
                          <a:pt x="350414" y="98938"/>
                        </a:lnTo>
                        <a:lnTo>
                          <a:pt x="352272" y="97463"/>
                        </a:lnTo>
                        <a:lnTo>
                          <a:pt x="355459" y="93241"/>
                        </a:lnTo>
                        <a:lnTo>
                          <a:pt x="357781" y="89590"/>
                        </a:lnTo>
                        <a:lnTo>
                          <a:pt x="362036" y="86583"/>
                        </a:lnTo>
                        <a:lnTo>
                          <a:pt x="368996" y="82981"/>
                        </a:lnTo>
                        <a:lnTo>
                          <a:pt x="375059" y="81261"/>
                        </a:lnTo>
                        <a:lnTo>
                          <a:pt x="380226" y="81424"/>
                        </a:lnTo>
                        <a:lnTo>
                          <a:pt x="384570" y="81946"/>
                        </a:lnTo>
                        <a:lnTo>
                          <a:pt x="388098" y="82818"/>
                        </a:lnTo>
                        <a:lnTo>
                          <a:pt x="390193" y="83551"/>
                        </a:lnTo>
                        <a:lnTo>
                          <a:pt x="390853" y="84138"/>
                        </a:lnTo>
                        <a:lnTo>
                          <a:pt x="392263" y="86844"/>
                        </a:lnTo>
                        <a:lnTo>
                          <a:pt x="392189" y="88669"/>
                        </a:lnTo>
                        <a:lnTo>
                          <a:pt x="391301" y="90723"/>
                        </a:lnTo>
                        <a:lnTo>
                          <a:pt x="389631" y="93046"/>
                        </a:lnTo>
                        <a:lnTo>
                          <a:pt x="382051" y="95629"/>
                        </a:lnTo>
                        <a:lnTo>
                          <a:pt x="377895" y="97650"/>
                        </a:lnTo>
                        <a:lnTo>
                          <a:pt x="375312" y="98400"/>
                        </a:lnTo>
                        <a:lnTo>
                          <a:pt x="367586" y="99142"/>
                        </a:lnTo>
                        <a:lnTo>
                          <a:pt x="367920" y="99948"/>
                        </a:lnTo>
                        <a:lnTo>
                          <a:pt x="373665" y="101040"/>
                        </a:lnTo>
                        <a:lnTo>
                          <a:pt x="380079" y="100674"/>
                        </a:lnTo>
                        <a:lnTo>
                          <a:pt x="379916" y="101978"/>
                        </a:lnTo>
                        <a:lnTo>
                          <a:pt x="376901" y="105433"/>
                        </a:lnTo>
                        <a:lnTo>
                          <a:pt x="375931" y="108449"/>
                        </a:lnTo>
                        <a:lnTo>
                          <a:pt x="376762" y="110902"/>
                        </a:lnTo>
                        <a:lnTo>
                          <a:pt x="376607" y="112906"/>
                        </a:lnTo>
                        <a:lnTo>
                          <a:pt x="374366" y="117103"/>
                        </a:lnTo>
                        <a:lnTo>
                          <a:pt x="371783" y="120885"/>
                        </a:lnTo>
                        <a:lnTo>
                          <a:pt x="372753" y="121455"/>
                        </a:lnTo>
                        <a:lnTo>
                          <a:pt x="378637" y="116011"/>
                        </a:lnTo>
                        <a:lnTo>
                          <a:pt x="380218" y="110054"/>
                        </a:lnTo>
                        <a:lnTo>
                          <a:pt x="382589" y="104806"/>
                        </a:lnTo>
                        <a:lnTo>
                          <a:pt x="385352" y="101912"/>
                        </a:lnTo>
                        <a:lnTo>
                          <a:pt x="387438" y="100812"/>
                        </a:lnTo>
                        <a:lnTo>
                          <a:pt x="394015" y="100364"/>
                        </a:lnTo>
                        <a:lnTo>
                          <a:pt x="397658" y="97300"/>
                        </a:lnTo>
                        <a:lnTo>
                          <a:pt x="400771" y="96322"/>
                        </a:lnTo>
                        <a:lnTo>
                          <a:pt x="402075" y="96305"/>
                        </a:lnTo>
                        <a:lnTo>
                          <a:pt x="404724" y="97446"/>
                        </a:lnTo>
                        <a:lnTo>
                          <a:pt x="404561" y="98653"/>
                        </a:lnTo>
                        <a:lnTo>
                          <a:pt x="400722" y="104145"/>
                        </a:lnTo>
                        <a:lnTo>
                          <a:pt x="392572" y="113012"/>
                        </a:lnTo>
                        <a:lnTo>
                          <a:pt x="395890" y="112010"/>
                        </a:lnTo>
                        <a:lnTo>
                          <a:pt x="398139" y="109899"/>
                        </a:lnTo>
                        <a:lnTo>
                          <a:pt x="401162" y="107797"/>
                        </a:lnTo>
                        <a:lnTo>
                          <a:pt x="404585" y="104675"/>
                        </a:lnTo>
                        <a:lnTo>
                          <a:pt x="406843" y="107503"/>
                        </a:lnTo>
                        <a:lnTo>
                          <a:pt x="410323" y="109606"/>
                        </a:lnTo>
                        <a:lnTo>
                          <a:pt x="412401" y="114414"/>
                        </a:lnTo>
                        <a:lnTo>
                          <a:pt x="415758" y="116720"/>
                        </a:lnTo>
                        <a:lnTo>
                          <a:pt x="417788" y="118522"/>
                        </a:lnTo>
                        <a:lnTo>
                          <a:pt x="417494" y="115482"/>
                        </a:lnTo>
                        <a:lnTo>
                          <a:pt x="414561" y="109369"/>
                        </a:lnTo>
                        <a:lnTo>
                          <a:pt x="415359" y="106941"/>
                        </a:lnTo>
                        <a:lnTo>
                          <a:pt x="417625" y="105710"/>
                        </a:lnTo>
                        <a:lnTo>
                          <a:pt x="424699" y="100568"/>
                        </a:lnTo>
                        <a:lnTo>
                          <a:pt x="429621" y="102287"/>
                        </a:lnTo>
                        <a:lnTo>
                          <a:pt x="432669" y="103803"/>
                        </a:lnTo>
                        <a:lnTo>
                          <a:pt x="434185" y="103404"/>
                        </a:lnTo>
                        <a:lnTo>
                          <a:pt x="438024" y="103616"/>
                        </a:lnTo>
                        <a:lnTo>
                          <a:pt x="444177" y="104439"/>
                        </a:lnTo>
                        <a:lnTo>
                          <a:pt x="450159" y="105881"/>
                        </a:lnTo>
                        <a:lnTo>
                          <a:pt x="455978" y="107927"/>
                        </a:lnTo>
                        <a:lnTo>
                          <a:pt x="460460" y="110315"/>
                        </a:lnTo>
                        <a:lnTo>
                          <a:pt x="463606" y="113053"/>
                        </a:lnTo>
                        <a:lnTo>
                          <a:pt x="465513" y="114944"/>
                        </a:lnTo>
                        <a:lnTo>
                          <a:pt x="466181" y="115987"/>
                        </a:lnTo>
                        <a:lnTo>
                          <a:pt x="467240" y="118701"/>
                        </a:lnTo>
                        <a:lnTo>
                          <a:pt x="466425" y="120518"/>
                        </a:lnTo>
                        <a:lnTo>
                          <a:pt x="462033" y="124675"/>
                        </a:lnTo>
                        <a:lnTo>
                          <a:pt x="459596" y="126574"/>
                        </a:lnTo>
                        <a:lnTo>
                          <a:pt x="457159" y="127413"/>
                        </a:lnTo>
                        <a:lnTo>
                          <a:pt x="450631" y="126582"/>
                        </a:lnTo>
                        <a:lnTo>
                          <a:pt x="448610" y="127062"/>
                        </a:lnTo>
                        <a:lnTo>
                          <a:pt x="446475" y="128366"/>
                        </a:lnTo>
                        <a:lnTo>
                          <a:pt x="439686" y="134079"/>
                        </a:lnTo>
                        <a:lnTo>
                          <a:pt x="435921" y="136549"/>
                        </a:lnTo>
                        <a:lnTo>
                          <a:pt x="432237" y="138130"/>
                        </a:lnTo>
                        <a:lnTo>
                          <a:pt x="431374" y="138953"/>
                        </a:lnTo>
                        <a:lnTo>
                          <a:pt x="439311" y="138871"/>
                        </a:lnTo>
                        <a:lnTo>
                          <a:pt x="441512" y="137176"/>
                        </a:lnTo>
                        <a:lnTo>
                          <a:pt x="443345" y="133998"/>
                        </a:lnTo>
                        <a:lnTo>
                          <a:pt x="446842" y="130714"/>
                        </a:lnTo>
                        <a:lnTo>
                          <a:pt x="453451" y="129206"/>
                        </a:lnTo>
                        <a:lnTo>
                          <a:pt x="462677" y="132441"/>
                        </a:lnTo>
                        <a:lnTo>
                          <a:pt x="467249" y="132319"/>
                        </a:lnTo>
                        <a:lnTo>
                          <a:pt x="470745" y="129067"/>
                        </a:lnTo>
                        <a:lnTo>
                          <a:pt x="474640" y="126842"/>
                        </a:lnTo>
                        <a:lnTo>
                          <a:pt x="476181" y="126402"/>
                        </a:lnTo>
                        <a:lnTo>
                          <a:pt x="477012" y="126647"/>
                        </a:lnTo>
                        <a:lnTo>
                          <a:pt x="479987" y="128961"/>
                        </a:lnTo>
                        <a:lnTo>
                          <a:pt x="480883" y="131023"/>
                        </a:lnTo>
                        <a:lnTo>
                          <a:pt x="480818" y="135726"/>
                        </a:lnTo>
                        <a:lnTo>
                          <a:pt x="480419" y="137144"/>
                        </a:lnTo>
                        <a:lnTo>
                          <a:pt x="477778" y="140697"/>
                        </a:lnTo>
                        <a:lnTo>
                          <a:pt x="471332" y="146011"/>
                        </a:lnTo>
                        <a:lnTo>
                          <a:pt x="467110" y="148007"/>
                        </a:lnTo>
                        <a:lnTo>
                          <a:pt x="462432" y="149075"/>
                        </a:lnTo>
                        <a:lnTo>
                          <a:pt x="457339" y="150876"/>
                        </a:lnTo>
                        <a:lnTo>
                          <a:pt x="455537" y="152335"/>
                        </a:lnTo>
                        <a:lnTo>
                          <a:pt x="453777" y="154389"/>
                        </a:lnTo>
                        <a:lnTo>
                          <a:pt x="452025" y="155758"/>
                        </a:lnTo>
                        <a:lnTo>
                          <a:pt x="449792" y="156907"/>
                        </a:lnTo>
                        <a:lnTo>
                          <a:pt x="452710" y="158586"/>
                        </a:lnTo>
                        <a:lnTo>
                          <a:pt x="453834" y="158537"/>
                        </a:lnTo>
                        <a:lnTo>
                          <a:pt x="454910" y="157534"/>
                        </a:lnTo>
                        <a:lnTo>
                          <a:pt x="457852" y="153582"/>
                        </a:lnTo>
                        <a:lnTo>
                          <a:pt x="460044" y="151862"/>
                        </a:lnTo>
                        <a:lnTo>
                          <a:pt x="461283" y="151487"/>
                        </a:lnTo>
                        <a:lnTo>
                          <a:pt x="462563" y="151658"/>
                        </a:lnTo>
                        <a:lnTo>
                          <a:pt x="463810" y="152433"/>
                        </a:lnTo>
                        <a:lnTo>
                          <a:pt x="465024" y="153818"/>
                        </a:lnTo>
                        <a:lnTo>
                          <a:pt x="464934" y="157192"/>
                        </a:lnTo>
                        <a:lnTo>
                          <a:pt x="461210" y="170509"/>
                        </a:lnTo>
                        <a:lnTo>
                          <a:pt x="461821" y="170468"/>
                        </a:lnTo>
                        <a:lnTo>
                          <a:pt x="464103" y="166858"/>
                        </a:lnTo>
                        <a:lnTo>
                          <a:pt x="470745" y="152979"/>
                        </a:lnTo>
                        <a:lnTo>
                          <a:pt x="472367" y="150191"/>
                        </a:lnTo>
                        <a:lnTo>
                          <a:pt x="475578" y="147380"/>
                        </a:lnTo>
                        <a:lnTo>
                          <a:pt x="482758" y="143126"/>
                        </a:lnTo>
                        <a:lnTo>
                          <a:pt x="488307" y="140893"/>
                        </a:lnTo>
                        <a:lnTo>
                          <a:pt x="494567" y="139010"/>
                        </a:lnTo>
                        <a:lnTo>
                          <a:pt x="497916" y="138309"/>
                        </a:lnTo>
                        <a:lnTo>
                          <a:pt x="501738" y="138782"/>
                        </a:lnTo>
                        <a:lnTo>
                          <a:pt x="504224" y="140974"/>
                        </a:lnTo>
                        <a:lnTo>
                          <a:pt x="507582" y="141373"/>
                        </a:lnTo>
                        <a:lnTo>
                          <a:pt x="511665" y="140827"/>
                        </a:lnTo>
                        <a:lnTo>
                          <a:pt x="514305" y="141088"/>
                        </a:lnTo>
                        <a:lnTo>
                          <a:pt x="517288" y="141952"/>
                        </a:lnTo>
                        <a:lnTo>
                          <a:pt x="519839" y="143574"/>
                        </a:lnTo>
                        <a:lnTo>
                          <a:pt x="524183" y="145432"/>
                        </a:lnTo>
                        <a:lnTo>
                          <a:pt x="533979" y="148879"/>
                        </a:lnTo>
                        <a:lnTo>
                          <a:pt x="535201" y="149605"/>
                        </a:lnTo>
                        <a:lnTo>
                          <a:pt x="536334" y="150917"/>
                        </a:lnTo>
                        <a:lnTo>
                          <a:pt x="537393" y="152808"/>
                        </a:lnTo>
                        <a:lnTo>
                          <a:pt x="537255" y="154674"/>
                        </a:lnTo>
                        <a:lnTo>
                          <a:pt x="535943" y="156532"/>
                        </a:lnTo>
                        <a:lnTo>
                          <a:pt x="534305" y="157657"/>
                        </a:lnTo>
                        <a:lnTo>
                          <a:pt x="532349" y="158064"/>
                        </a:lnTo>
                        <a:lnTo>
                          <a:pt x="530328" y="159075"/>
                        </a:lnTo>
                        <a:lnTo>
                          <a:pt x="526587" y="161715"/>
                        </a:lnTo>
                        <a:lnTo>
                          <a:pt x="525373" y="162155"/>
                        </a:lnTo>
                        <a:lnTo>
                          <a:pt x="519505" y="163288"/>
                        </a:lnTo>
                        <a:lnTo>
                          <a:pt x="514061" y="163842"/>
                        </a:lnTo>
                        <a:lnTo>
                          <a:pt x="510670" y="164902"/>
                        </a:lnTo>
                        <a:lnTo>
                          <a:pt x="504134" y="167754"/>
                        </a:lnTo>
                        <a:lnTo>
                          <a:pt x="495145" y="173043"/>
                        </a:lnTo>
                        <a:lnTo>
                          <a:pt x="495243" y="174307"/>
                        </a:lnTo>
                        <a:lnTo>
                          <a:pt x="498821" y="174910"/>
                        </a:lnTo>
                        <a:lnTo>
                          <a:pt x="501738" y="174119"/>
                        </a:lnTo>
                        <a:lnTo>
                          <a:pt x="505732" y="170468"/>
                        </a:lnTo>
                        <a:lnTo>
                          <a:pt x="509497" y="169066"/>
                        </a:lnTo>
                        <a:lnTo>
                          <a:pt x="515365" y="167942"/>
                        </a:lnTo>
                        <a:lnTo>
                          <a:pt x="523490" y="166964"/>
                        </a:lnTo>
                        <a:lnTo>
                          <a:pt x="526970" y="167127"/>
                        </a:lnTo>
                        <a:lnTo>
                          <a:pt x="527597" y="167314"/>
                        </a:lnTo>
                        <a:lnTo>
                          <a:pt x="528054" y="168178"/>
                        </a:lnTo>
                        <a:lnTo>
                          <a:pt x="528339" y="169710"/>
                        </a:lnTo>
                        <a:lnTo>
                          <a:pt x="527003" y="171699"/>
                        </a:lnTo>
                        <a:lnTo>
                          <a:pt x="525462" y="172652"/>
                        </a:lnTo>
                        <a:lnTo>
                          <a:pt x="521265" y="177151"/>
                        </a:lnTo>
                        <a:lnTo>
                          <a:pt x="524028" y="178316"/>
                        </a:lnTo>
                        <a:lnTo>
                          <a:pt x="527826" y="178821"/>
                        </a:lnTo>
                        <a:lnTo>
                          <a:pt x="529985" y="177615"/>
                        </a:lnTo>
                        <a:lnTo>
                          <a:pt x="531949" y="174852"/>
                        </a:lnTo>
                        <a:lnTo>
                          <a:pt x="534134" y="173320"/>
                        </a:lnTo>
                        <a:lnTo>
                          <a:pt x="536570" y="173011"/>
                        </a:lnTo>
                        <a:lnTo>
                          <a:pt x="538705" y="172310"/>
                        </a:lnTo>
                        <a:lnTo>
                          <a:pt x="540556" y="171201"/>
                        </a:lnTo>
                        <a:lnTo>
                          <a:pt x="541053" y="170476"/>
                        </a:lnTo>
                        <a:lnTo>
                          <a:pt x="538371" y="169042"/>
                        </a:lnTo>
                        <a:lnTo>
                          <a:pt x="538159" y="168170"/>
                        </a:lnTo>
                        <a:lnTo>
                          <a:pt x="539252" y="166018"/>
                        </a:lnTo>
                        <a:lnTo>
                          <a:pt x="541224" y="163630"/>
                        </a:lnTo>
                        <a:lnTo>
                          <a:pt x="543286" y="162147"/>
                        </a:lnTo>
                        <a:lnTo>
                          <a:pt x="544810" y="162025"/>
                        </a:lnTo>
                        <a:lnTo>
                          <a:pt x="549863" y="163614"/>
                        </a:lnTo>
                        <a:lnTo>
                          <a:pt x="553318" y="166393"/>
                        </a:lnTo>
                        <a:lnTo>
                          <a:pt x="562055" y="174681"/>
                        </a:lnTo>
                        <a:lnTo>
                          <a:pt x="563179" y="176279"/>
                        </a:lnTo>
                        <a:lnTo>
                          <a:pt x="566219" y="182424"/>
                        </a:lnTo>
                        <a:lnTo>
                          <a:pt x="566798" y="185146"/>
                        </a:lnTo>
                        <a:lnTo>
                          <a:pt x="566300" y="187053"/>
                        </a:lnTo>
                        <a:lnTo>
                          <a:pt x="565583" y="188202"/>
                        </a:lnTo>
                        <a:lnTo>
                          <a:pt x="564646" y="188626"/>
                        </a:lnTo>
                        <a:lnTo>
                          <a:pt x="562723" y="188642"/>
                        </a:lnTo>
                        <a:lnTo>
                          <a:pt x="551085" y="186132"/>
                        </a:lnTo>
                        <a:lnTo>
                          <a:pt x="545771" y="186450"/>
                        </a:lnTo>
                        <a:lnTo>
                          <a:pt x="543449" y="187159"/>
                        </a:lnTo>
                        <a:lnTo>
                          <a:pt x="541574" y="188210"/>
                        </a:lnTo>
                        <a:lnTo>
                          <a:pt x="540124" y="189538"/>
                        </a:lnTo>
                        <a:lnTo>
                          <a:pt x="539089" y="191144"/>
                        </a:lnTo>
                        <a:lnTo>
                          <a:pt x="537043" y="192048"/>
                        </a:lnTo>
                        <a:lnTo>
                          <a:pt x="529659" y="192081"/>
                        </a:lnTo>
                        <a:lnTo>
                          <a:pt x="525511" y="192978"/>
                        </a:lnTo>
                        <a:lnTo>
                          <a:pt x="518388" y="195145"/>
                        </a:lnTo>
                        <a:lnTo>
                          <a:pt x="515829" y="196343"/>
                        </a:lnTo>
                        <a:lnTo>
                          <a:pt x="515259" y="197933"/>
                        </a:lnTo>
                        <a:lnTo>
                          <a:pt x="519611" y="197647"/>
                        </a:lnTo>
                        <a:lnTo>
                          <a:pt x="526799" y="195602"/>
                        </a:lnTo>
                        <a:lnTo>
                          <a:pt x="533555" y="195023"/>
                        </a:lnTo>
                        <a:lnTo>
                          <a:pt x="544834" y="199522"/>
                        </a:lnTo>
                        <a:lnTo>
                          <a:pt x="548550" y="200223"/>
                        </a:lnTo>
                        <a:lnTo>
                          <a:pt x="550620" y="199571"/>
                        </a:lnTo>
                        <a:lnTo>
                          <a:pt x="553106" y="199375"/>
                        </a:lnTo>
                        <a:lnTo>
                          <a:pt x="562128" y="199677"/>
                        </a:lnTo>
                        <a:lnTo>
                          <a:pt x="565200" y="200223"/>
                        </a:lnTo>
                        <a:lnTo>
                          <a:pt x="569772" y="201950"/>
                        </a:lnTo>
                        <a:lnTo>
                          <a:pt x="576765" y="205691"/>
                        </a:lnTo>
                        <a:lnTo>
                          <a:pt x="578101" y="206783"/>
                        </a:lnTo>
                        <a:lnTo>
                          <a:pt x="578884" y="207940"/>
                        </a:lnTo>
                        <a:lnTo>
                          <a:pt x="579112" y="209155"/>
                        </a:lnTo>
                        <a:lnTo>
                          <a:pt x="579030" y="212129"/>
                        </a:lnTo>
                        <a:lnTo>
                          <a:pt x="578338" y="213132"/>
                        </a:lnTo>
                        <a:lnTo>
                          <a:pt x="575966" y="213816"/>
                        </a:lnTo>
                        <a:lnTo>
                          <a:pt x="565917" y="213034"/>
                        </a:lnTo>
                        <a:lnTo>
                          <a:pt x="562853" y="212415"/>
                        </a:lnTo>
                        <a:lnTo>
                          <a:pt x="559080" y="213189"/>
                        </a:lnTo>
                        <a:lnTo>
                          <a:pt x="556016" y="212912"/>
                        </a:lnTo>
                        <a:lnTo>
                          <a:pt x="552104" y="211722"/>
                        </a:lnTo>
                        <a:lnTo>
                          <a:pt x="547801" y="209611"/>
                        </a:lnTo>
                        <a:lnTo>
                          <a:pt x="541354" y="211616"/>
                        </a:lnTo>
                        <a:lnTo>
                          <a:pt x="536204" y="210312"/>
                        </a:lnTo>
                        <a:lnTo>
                          <a:pt x="530922" y="211461"/>
                        </a:lnTo>
                        <a:lnTo>
                          <a:pt x="520466" y="216237"/>
                        </a:lnTo>
                        <a:lnTo>
                          <a:pt x="521632" y="217060"/>
                        </a:lnTo>
                        <a:lnTo>
                          <a:pt x="535967" y="212969"/>
                        </a:lnTo>
                        <a:lnTo>
                          <a:pt x="538738" y="213213"/>
                        </a:lnTo>
                        <a:lnTo>
                          <a:pt x="543269" y="214713"/>
                        </a:lnTo>
                        <a:lnTo>
                          <a:pt x="550425" y="217647"/>
                        </a:lnTo>
                        <a:lnTo>
                          <a:pt x="552430" y="218853"/>
                        </a:lnTo>
                        <a:lnTo>
                          <a:pt x="552446" y="223474"/>
                        </a:lnTo>
                        <a:lnTo>
                          <a:pt x="551354" y="226579"/>
                        </a:lnTo>
                        <a:lnTo>
                          <a:pt x="549170" y="230067"/>
                        </a:lnTo>
                        <a:lnTo>
                          <a:pt x="545885" y="229602"/>
                        </a:lnTo>
                        <a:lnTo>
                          <a:pt x="538233" y="227426"/>
                        </a:lnTo>
                        <a:lnTo>
                          <a:pt x="535103" y="227133"/>
                        </a:lnTo>
                        <a:lnTo>
                          <a:pt x="532813" y="227483"/>
                        </a:lnTo>
                        <a:lnTo>
                          <a:pt x="529741" y="228869"/>
                        </a:lnTo>
                        <a:lnTo>
                          <a:pt x="528282" y="228910"/>
                        </a:lnTo>
                        <a:lnTo>
                          <a:pt x="516041" y="226163"/>
                        </a:lnTo>
                        <a:lnTo>
                          <a:pt x="513295" y="226033"/>
                        </a:lnTo>
                        <a:lnTo>
                          <a:pt x="512969" y="226310"/>
                        </a:lnTo>
                        <a:lnTo>
                          <a:pt x="513555" y="226856"/>
                        </a:lnTo>
                        <a:lnTo>
                          <a:pt x="524663" y="231126"/>
                        </a:lnTo>
                        <a:lnTo>
                          <a:pt x="532862" y="231591"/>
                        </a:lnTo>
                        <a:lnTo>
                          <a:pt x="538013" y="232333"/>
                        </a:lnTo>
                        <a:lnTo>
                          <a:pt x="541053" y="233628"/>
                        </a:lnTo>
                        <a:lnTo>
                          <a:pt x="542495" y="234590"/>
                        </a:lnTo>
                        <a:lnTo>
                          <a:pt x="542601" y="237442"/>
                        </a:lnTo>
                        <a:lnTo>
                          <a:pt x="545331" y="240311"/>
                        </a:lnTo>
                        <a:lnTo>
                          <a:pt x="547801" y="241477"/>
                        </a:lnTo>
                        <a:lnTo>
                          <a:pt x="549374" y="241534"/>
                        </a:lnTo>
                        <a:lnTo>
                          <a:pt x="552071" y="240474"/>
                        </a:lnTo>
                        <a:lnTo>
                          <a:pt x="554809" y="240311"/>
                        </a:lnTo>
                        <a:lnTo>
                          <a:pt x="557018" y="241045"/>
                        </a:lnTo>
                        <a:lnTo>
                          <a:pt x="559781" y="242634"/>
                        </a:lnTo>
                        <a:lnTo>
                          <a:pt x="563122" y="243074"/>
                        </a:lnTo>
                        <a:lnTo>
                          <a:pt x="566056" y="244027"/>
                        </a:lnTo>
                        <a:lnTo>
                          <a:pt x="568314" y="244223"/>
                        </a:lnTo>
                        <a:lnTo>
                          <a:pt x="574695" y="243775"/>
                        </a:lnTo>
                        <a:lnTo>
                          <a:pt x="577457" y="244386"/>
                        </a:lnTo>
                        <a:lnTo>
                          <a:pt x="578166" y="244908"/>
                        </a:lnTo>
                        <a:lnTo>
                          <a:pt x="576968" y="245829"/>
                        </a:lnTo>
                        <a:lnTo>
                          <a:pt x="571141" y="248037"/>
                        </a:lnTo>
                        <a:lnTo>
                          <a:pt x="570261" y="250148"/>
                        </a:lnTo>
                        <a:lnTo>
                          <a:pt x="573554" y="252886"/>
                        </a:lnTo>
                        <a:lnTo>
                          <a:pt x="575273" y="254973"/>
                        </a:lnTo>
                        <a:lnTo>
                          <a:pt x="575184" y="256529"/>
                        </a:lnTo>
                        <a:lnTo>
                          <a:pt x="573432" y="260091"/>
                        </a:lnTo>
                        <a:lnTo>
                          <a:pt x="572983" y="261517"/>
                        </a:lnTo>
                        <a:lnTo>
                          <a:pt x="573570" y="261631"/>
                        </a:lnTo>
                        <a:lnTo>
                          <a:pt x="577800" y="258754"/>
                        </a:lnTo>
                        <a:lnTo>
                          <a:pt x="578460" y="259121"/>
                        </a:lnTo>
                        <a:lnTo>
                          <a:pt x="578900" y="263106"/>
                        </a:lnTo>
                        <a:lnTo>
                          <a:pt x="579446" y="262878"/>
                        </a:lnTo>
                        <a:lnTo>
                          <a:pt x="580864" y="259585"/>
                        </a:lnTo>
                        <a:lnTo>
                          <a:pt x="580228" y="255193"/>
                        </a:lnTo>
                        <a:lnTo>
                          <a:pt x="582714" y="253457"/>
                        </a:lnTo>
                        <a:lnTo>
                          <a:pt x="590611" y="252145"/>
                        </a:lnTo>
                        <a:lnTo>
                          <a:pt x="589275" y="259031"/>
                        </a:lnTo>
                        <a:lnTo>
                          <a:pt x="589063" y="262601"/>
                        </a:lnTo>
                        <a:lnTo>
                          <a:pt x="585615" y="268550"/>
                        </a:lnTo>
                        <a:lnTo>
                          <a:pt x="582738" y="270457"/>
                        </a:lnTo>
                        <a:lnTo>
                          <a:pt x="582828" y="270856"/>
                        </a:lnTo>
                        <a:lnTo>
                          <a:pt x="584865" y="271614"/>
                        </a:lnTo>
                        <a:lnTo>
                          <a:pt x="586145" y="271688"/>
                        </a:lnTo>
                        <a:lnTo>
                          <a:pt x="587376" y="270767"/>
                        </a:lnTo>
                        <a:lnTo>
                          <a:pt x="590293" y="266178"/>
                        </a:lnTo>
                        <a:lnTo>
                          <a:pt x="596234" y="261386"/>
                        </a:lnTo>
                        <a:lnTo>
                          <a:pt x="597310" y="261289"/>
                        </a:lnTo>
                        <a:lnTo>
                          <a:pt x="597269" y="263016"/>
                        </a:lnTo>
                        <a:lnTo>
                          <a:pt x="596503" y="266227"/>
                        </a:lnTo>
                        <a:lnTo>
                          <a:pt x="599242" y="267735"/>
                        </a:lnTo>
                        <a:lnTo>
                          <a:pt x="601858" y="266244"/>
                        </a:lnTo>
                        <a:lnTo>
                          <a:pt x="603276" y="264956"/>
                        </a:lnTo>
                        <a:lnTo>
                          <a:pt x="606560" y="265152"/>
                        </a:lnTo>
                        <a:lnTo>
                          <a:pt x="608051" y="265763"/>
                        </a:lnTo>
                        <a:lnTo>
                          <a:pt x="608500" y="267181"/>
                        </a:lnTo>
                        <a:lnTo>
                          <a:pt x="606992" y="273114"/>
                        </a:lnTo>
                        <a:lnTo>
                          <a:pt x="607269" y="274573"/>
                        </a:lnTo>
                        <a:lnTo>
                          <a:pt x="610725" y="278517"/>
                        </a:lnTo>
                        <a:lnTo>
                          <a:pt x="611083" y="278281"/>
                        </a:lnTo>
                        <a:lnTo>
                          <a:pt x="610423" y="276382"/>
                        </a:lnTo>
                        <a:lnTo>
                          <a:pt x="609714" y="271671"/>
                        </a:lnTo>
                        <a:lnTo>
                          <a:pt x="610382" y="269634"/>
                        </a:lnTo>
                        <a:lnTo>
                          <a:pt x="613235" y="267010"/>
                        </a:lnTo>
                        <a:lnTo>
                          <a:pt x="619086" y="263228"/>
                        </a:lnTo>
                        <a:lnTo>
                          <a:pt x="621254" y="262487"/>
                        </a:lnTo>
                        <a:lnTo>
                          <a:pt x="622615" y="263000"/>
                        </a:lnTo>
                        <a:lnTo>
                          <a:pt x="624759" y="264817"/>
                        </a:lnTo>
                        <a:lnTo>
                          <a:pt x="624090" y="265893"/>
                        </a:lnTo>
                        <a:lnTo>
                          <a:pt x="621768" y="267034"/>
                        </a:lnTo>
                        <a:lnTo>
                          <a:pt x="620040" y="269088"/>
                        </a:lnTo>
                        <a:lnTo>
                          <a:pt x="618907" y="272046"/>
                        </a:lnTo>
                        <a:lnTo>
                          <a:pt x="620154" y="273619"/>
                        </a:lnTo>
                        <a:lnTo>
                          <a:pt x="624897" y="273766"/>
                        </a:lnTo>
                        <a:lnTo>
                          <a:pt x="629665" y="271329"/>
                        </a:lnTo>
                        <a:lnTo>
                          <a:pt x="632403" y="272527"/>
                        </a:lnTo>
                        <a:lnTo>
                          <a:pt x="635655" y="275689"/>
                        </a:lnTo>
                        <a:lnTo>
                          <a:pt x="641612" y="280766"/>
                        </a:lnTo>
                        <a:lnTo>
                          <a:pt x="645002" y="279381"/>
                        </a:lnTo>
                        <a:lnTo>
                          <a:pt x="649200" y="283236"/>
                        </a:lnTo>
                        <a:lnTo>
                          <a:pt x="643560" y="286284"/>
                        </a:lnTo>
                        <a:lnTo>
                          <a:pt x="645280" y="292698"/>
                        </a:lnTo>
                        <a:lnTo>
                          <a:pt x="637961" y="292429"/>
                        </a:lnTo>
                        <a:lnTo>
                          <a:pt x="633845" y="292942"/>
                        </a:lnTo>
                        <a:lnTo>
                          <a:pt x="631091" y="292364"/>
                        </a:lnTo>
                        <a:lnTo>
                          <a:pt x="628124" y="292559"/>
                        </a:lnTo>
                        <a:lnTo>
                          <a:pt x="630871" y="294075"/>
                        </a:lnTo>
                        <a:lnTo>
                          <a:pt x="636160" y="294702"/>
                        </a:lnTo>
                        <a:lnTo>
                          <a:pt x="636649" y="296642"/>
                        </a:lnTo>
                        <a:lnTo>
                          <a:pt x="640805" y="296593"/>
                        </a:lnTo>
                        <a:lnTo>
                          <a:pt x="643910" y="296218"/>
                        </a:lnTo>
                        <a:lnTo>
                          <a:pt x="649542" y="296292"/>
                        </a:lnTo>
                        <a:lnTo>
                          <a:pt x="649843" y="294067"/>
                        </a:lnTo>
                        <a:lnTo>
                          <a:pt x="653511" y="292795"/>
                        </a:lnTo>
                        <a:lnTo>
                          <a:pt x="655605" y="291402"/>
                        </a:lnTo>
                        <a:lnTo>
                          <a:pt x="657357" y="292217"/>
                        </a:lnTo>
                        <a:lnTo>
                          <a:pt x="662451" y="293178"/>
                        </a:lnTo>
                        <a:lnTo>
                          <a:pt x="669289" y="297555"/>
                        </a:lnTo>
                        <a:lnTo>
                          <a:pt x="666273" y="300163"/>
                        </a:lnTo>
                        <a:lnTo>
                          <a:pt x="665458" y="302640"/>
                        </a:lnTo>
                        <a:lnTo>
                          <a:pt x="664440" y="304735"/>
                        </a:lnTo>
                        <a:lnTo>
                          <a:pt x="663877" y="306626"/>
                        </a:lnTo>
                        <a:lnTo>
                          <a:pt x="662679" y="307921"/>
                        </a:lnTo>
                        <a:lnTo>
                          <a:pt x="652883" y="315329"/>
                        </a:lnTo>
                        <a:lnTo>
                          <a:pt x="654505" y="315395"/>
                        </a:lnTo>
                        <a:lnTo>
                          <a:pt x="658645" y="313602"/>
                        </a:lnTo>
                        <a:lnTo>
                          <a:pt x="666721" y="310945"/>
                        </a:lnTo>
                        <a:lnTo>
                          <a:pt x="671220" y="309869"/>
                        </a:lnTo>
                        <a:lnTo>
                          <a:pt x="674423" y="310578"/>
                        </a:lnTo>
                        <a:lnTo>
                          <a:pt x="676037" y="310611"/>
                        </a:lnTo>
                        <a:lnTo>
                          <a:pt x="677471" y="309665"/>
                        </a:lnTo>
                        <a:lnTo>
                          <a:pt x="680136" y="310757"/>
                        </a:lnTo>
                        <a:lnTo>
                          <a:pt x="685670" y="311760"/>
                        </a:lnTo>
                        <a:lnTo>
                          <a:pt x="692018" y="305672"/>
                        </a:lnTo>
                        <a:lnTo>
                          <a:pt x="695865" y="306870"/>
                        </a:lnTo>
                        <a:lnTo>
                          <a:pt x="699443" y="310627"/>
                        </a:lnTo>
                        <a:lnTo>
                          <a:pt x="707128" y="317204"/>
                        </a:lnTo>
                        <a:lnTo>
                          <a:pt x="711121" y="321042"/>
                        </a:lnTo>
                        <a:lnTo>
                          <a:pt x="712458" y="322778"/>
                        </a:lnTo>
                        <a:lnTo>
                          <a:pt x="712270" y="324490"/>
                        </a:lnTo>
                        <a:lnTo>
                          <a:pt x="708652" y="326299"/>
                        </a:lnTo>
                        <a:lnTo>
                          <a:pt x="706794" y="326666"/>
                        </a:lnTo>
                        <a:lnTo>
                          <a:pt x="701928" y="323243"/>
                        </a:lnTo>
                        <a:lnTo>
                          <a:pt x="697454" y="321523"/>
                        </a:lnTo>
                        <a:lnTo>
                          <a:pt x="694732" y="321703"/>
                        </a:lnTo>
                        <a:lnTo>
                          <a:pt x="692026" y="323023"/>
                        </a:lnTo>
                        <a:lnTo>
                          <a:pt x="692874" y="323756"/>
                        </a:lnTo>
                        <a:lnTo>
                          <a:pt x="703705" y="329021"/>
                        </a:lnTo>
                        <a:lnTo>
                          <a:pt x="705596" y="332892"/>
                        </a:lnTo>
                        <a:lnTo>
                          <a:pt x="705726" y="334587"/>
                        </a:lnTo>
                        <a:lnTo>
                          <a:pt x="698497" y="337154"/>
                        </a:lnTo>
                        <a:lnTo>
                          <a:pt x="696166" y="337309"/>
                        </a:lnTo>
                        <a:lnTo>
                          <a:pt x="691154" y="336079"/>
                        </a:lnTo>
                        <a:lnTo>
                          <a:pt x="688220" y="333789"/>
                        </a:lnTo>
                        <a:lnTo>
                          <a:pt x="685800" y="332965"/>
                        </a:lnTo>
                        <a:lnTo>
                          <a:pt x="682442" y="332697"/>
                        </a:lnTo>
                        <a:lnTo>
                          <a:pt x="681366" y="333137"/>
                        </a:lnTo>
                        <a:lnTo>
                          <a:pt x="685026" y="337016"/>
                        </a:lnTo>
                        <a:lnTo>
                          <a:pt x="684675" y="338189"/>
                        </a:lnTo>
                        <a:lnTo>
                          <a:pt x="682785" y="338947"/>
                        </a:lnTo>
                        <a:lnTo>
                          <a:pt x="681855" y="340822"/>
                        </a:lnTo>
                        <a:lnTo>
                          <a:pt x="689084" y="344196"/>
                        </a:lnTo>
                        <a:lnTo>
                          <a:pt x="694496" y="347619"/>
                        </a:lnTo>
                        <a:lnTo>
                          <a:pt x="695294" y="348996"/>
                        </a:lnTo>
                        <a:lnTo>
                          <a:pt x="691652" y="350015"/>
                        </a:lnTo>
                        <a:lnTo>
                          <a:pt x="689027" y="350251"/>
                        </a:lnTo>
                        <a:lnTo>
                          <a:pt x="683485" y="349754"/>
                        </a:lnTo>
                        <a:lnTo>
                          <a:pt x="680446" y="349037"/>
                        </a:lnTo>
                        <a:lnTo>
                          <a:pt x="679606" y="349803"/>
                        </a:lnTo>
                        <a:lnTo>
                          <a:pt x="682752" y="351596"/>
                        </a:lnTo>
                        <a:lnTo>
                          <a:pt x="683966" y="352810"/>
                        </a:lnTo>
                        <a:lnTo>
                          <a:pt x="684912" y="354497"/>
                        </a:lnTo>
                        <a:lnTo>
                          <a:pt x="685466" y="356094"/>
                        </a:lnTo>
                        <a:lnTo>
                          <a:pt x="685612" y="357586"/>
                        </a:lnTo>
                        <a:lnTo>
                          <a:pt x="683046" y="358800"/>
                        </a:lnTo>
                        <a:lnTo>
                          <a:pt x="679957" y="362239"/>
                        </a:lnTo>
                        <a:lnTo>
                          <a:pt x="678742" y="365793"/>
                        </a:lnTo>
                        <a:lnTo>
                          <a:pt x="675947" y="366127"/>
                        </a:lnTo>
                        <a:lnTo>
                          <a:pt x="674814" y="365458"/>
                        </a:lnTo>
                        <a:lnTo>
                          <a:pt x="671057" y="366542"/>
                        </a:lnTo>
                        <a:lnTo>
                          <a:pt x="666102" y="365051"/>
                        </a:lnTo>
                        <a:lnTo>
                          <a:pt x="664317" y="363429"/>
                        </a:lnTo>
                        <a:lnTo>
                          <a:pt x="658906" y="356746"/>
                        </a:lnTo>
                        <a:lnTo>
                          <a:pt x="658767" y="357496"/>
                        </a:lnTo>
                        <a:lnTo>
                          <a:pt x="660120" y="360878"/>
                        </a:lnTo>
                        <a:lnTo>
                          <a:pt x="659843" y="362875"/>
                        </a:lnTo>
                        <a:lnTo>
                          <a:pt x="654122" y="364334"/>
                        </a:lnTo>
                        <a:lnTo>
                          <a:pt x="654138" y="364896"/>
                        </a:lnTo>
                        <a:lnTo>
                          <a:pt x="657659" y="365956"/>
                        </a:lnTo>
                        <a:lnTo>
                          <a:pt x="661913" y="366771"/>
                        </a:lnTo>
                        <a:lnTo>
                          <a:pt x="661253" y="369884"/>
                        </a:lnTo>
                        <a:lnTo>
                          <a:pt x="661269" y="383135"/>
                        </a:lnTo>
                        <a:lnTo>
                          <a:pt x="660324" y="387829"/>
                        </a:lnTo>
                        <a:lnTo>
                          <a:pt x="658238" y="391929"/>
                        </a:lnTo>
                        <a:lnTo>
                          <a:pt x="655247" y="395849"/>
                        </a:lnTo>
                        <a:lnTo>
                          <a:pt x="652003" y="393282"/>
                        </a:lnTo>
                        <a:lnTo>
                          <a:pt x="650707" y="390657"/>
                        </a:lnTo>
                        <a:lnTo>
                          <a:pt x="649623" y="389313"/>
                        </a:lnTo>
                        <a:lnTo>
                          <a:pt x="648075" y="388221"/>
                        </a:lnTo>
                        <a:lnTo>
                          <a:pt x="646078" y="387699"/>
                        </a:lnTo>
                        <a:lnTo>
                          <a:pt x="643959" y="387683"/>
                        </a:lnTo>
                        <a:lnTo>
                          <a:pt x="641718" y="390038"/>
                        </a:lnTo>
                        <a:lnTo>
                          <a:pt x="639273" y="388009"/>
                        </a:lnTo>
                        <a:lnTo>
                          <a:pt x="636910" y="385556"/>
                        </a:lnTo>
                        <a:lnTo>
                          <a:pt x="637798" y="379134"/>
                        </a:lnTo>
                        <a:lnTo>
                          <a:pt x="638800" y="375915"/>
                        </a:lnTo>
                        <a:lnTo>
                          <a:pt x="638401" y="375939"/>
                        </a:lnTo>
                        <a:lnTo>
                          <a:pt x="637057" y="377463"/>
                        </a:lnTo>
                        <a:lnTo>
                          <a:pt x="633829" y="382165"/>
                        </a:lnTo>
                        <a:lnTo>
                          <a:pt x="631718" y="387911"/>
                        </a:lnTo>
                        <a:lnTo>
                          <a:pt x="628980" y="385702"/>
                        </a:lnTo>
                        <a:lnTo>
                          <a:pt x="626511" y="382956"/>
                        </a:lnTo>
                        <a:lnTo>
                          <a:pt x="624482" y="380185"/>
                        </a:lnTo>
                        <a:lnTo>
                          <a:pt x="621189" y="376998"/>
                        </a:lnTo>
                        <a:lnTo>
                          <a:pt x="617986" y="373250"/>
                        </a:lnTo>
                        <a:lnTo>
                          <a:pt x="616324" y="368824"/>
                        </a:lnTo>
                        <a:lnTo>
                          <a:pt x="615549" y="367920"/>
                        </a:lnTo>
                        <a:lnTo>
                          <a:pt x="613683" y="364228"/>
                        </a:lnTo>
                        <a:lnTo>
                          <a:pt x="612958" y="363177"/>
                        </a:lnTo>
                        <a:lnTo>
                          <a:pt x="612306" y="362826"/>
                        </a:lnTo>
                        <a:lnTo>
                          <a:pt x="610717" y="360528"/>
                        </a:lnTo>
                        <a:lnTo>
                          <a:pt x="611303" y="358059"/>
                        </a:lnTo>
                        <a:lnTo>
                          <a:pt x="613813" y="355149"/>
                        </a:lnTo>
                        <a:lnTo>
                          <a:pt x="616095" y="353055"/>
                        </a:lnTo>
                        <a:lnTo>
                          <a:pt x="619885" y="350985"/>
                        </a:lnTo>
                        <a:lnTo>
                          <a:pt x="624310" y="349819"/>
                        </a:lnTo>
                        <a:lnTo>
                          <a:pt x="626323" y="347154"/>
                        </a:lnTo>
                        <a:lnTo>
                          <a:pt x="628793" y="342281"/>
                        </a:lnTo>
                        <a:lnTo>
                          <a:pt x="631490" y="338890"/>
                        </a:lnTo>
                        <a:lnTo>
                          <a:pt x="634440" y="336967"/>
                        </a:lnTo>
                        <a:lnTo>
                          <a:pt x="632973" y="336608"/>
                        </a:lnTo>
                        <a:lnTo>
                          <a:pt x="629233" y="338255"/>
                        </a:lnTo>
                        <a:lnTo>
                          <a:pt x="626600" y="340651"/>
                        </a:lnTo>
                        <a:lnTo>
                          <a:pt x="623479" y="344644"/>
                        </a:lnTo>
                        <a:lnTo>
                          <a:pt x="620570" y="347187"/>
                        </a:lnTo>
                        <a:lnTo>
                          <a:pt x="613105" y="350137"/>
                        </a:lnTo>
                        <a:lnTo>
                          <a:pt x="610374" y="350724"/>
                        </a:lnTo>
                        <a:lnTo>
                          <a:pt x="607196" y="351042"/>
                        </a:lnTo>
                        <a:lnTo>
                          <a:pt x="600203" y="350626"/>
                        </a:lnTo>
                        <a:lnTo>
                          <a:pt x="598582" y="349632"/>
                        </a:lnTo>
                        <a:lnTo>
                          <a:pt x="599421" y="346820"/>
                        </a:lnTo>
                        <a:lnTo>
                          <a:pt x="604409" y="341767"/>
                        </a:lnTo>
                        <a:lnTo>
                          <a:pt x="603610" y="341417"/>
                        </a:lnTo>
                        <a:lnTo>
                          <a:pt x="601858" y="343202"/>
                        </a:lnTo>
                        <a:lnTo>
                          <a:pt x="599454" y="344432"/>
                        </a:lnTo>
                        <a:lnTo>
                          <a:pt x="597367" y="345060"/>
                        </a:lnTo>
                        <a:lnTo>
                          <a:pt x="594295" y="344840"/>
                        </a:lnTo>
                        <a:lnTo>
                          <a:pt x="590701" y="341694"/>
                        </a:lnTo>
                        <a:lnTo>
                          <a:pt x="589006" y="340732"/>
                        </a:lnTo>
                        <a:lnTo>
                          <a:pt x="585485" y="339648"/>
                        </a:lnTo>
                        <a:lnTo>
                          <a:pt x="584051" y="338564"/>
                        </a:lnTo>
                        <a:lnTo>
                          <a:pt x="578207" y="330838"/>
                        </a:lnTo>
                        <a:lnTo>
                          <a:pt x="577034" y="328785"/>
                        </a:lnTo>
                        <a:lnTo>
                          <a:pt x="576349" y="326764"/>
                        </a:lnTo>
                        <a:lnTo>
                          <a:pt x="574475" y="325068"/>
                        </a:lnTo>
                        <a:lnTo>
                          <a:pt x="571418" y="323691"/>
                        </a:lnTo>
                        <a:lnTo>
                          <a:pt x="570709" y="323919"/>
                        </a:lnTo>
                        <a:lnTo>
                          <a:pt x="571810" y="325639"/>
                        </a:lnTo>
                        <a:lnTo>
                          <a:pt x="571850" y="327138"/>
                        </a:lnTo>
                        <a:lnTo>
                          <a:pt x="569169" y="328059"/>
                        </a:lnTo>
                        <a:lnTo>
                          <a:pt x="566374" y="327733"/>
                        </a:lnTo>
                        <a:lnTo>
                          <a:pt x="563456" y="326169"/>
                        </a:lnTo>
                        <a:lnTo>
                          <a:pt x="563195" y="328279"/>
                        </a:lnTo>
                        <a:lnTo>
                          <a:pt x="566317" y="332028"/>
                        </a:lnTo>
                        <a:lnTo>
                          <a:pt x="566374" y="336780"/>
                        </a:lnTo>
                        <a:lnTo>
                          <a:pt x="565485" y="337260"/>
                        </a:lnTo>
                        <a:lnTo>
                          <a:pt x="563359" y="337537"/>
                        </a:lnTo>
                        <a:lnTo>
                          <a:pt x="561924" y="336959"/>
                        </a:lnTo>
                        <a:lnTo>
                          <a:pt x="557197" y="333414"/>
                        </a:lnTo>
                        <a:lnTo>
                          <a:pt x="552707" y="330944"/>
                        </a:lnTo>
                        <a:lnTo>
                          <a:pt x="549536" y="329567"/>
                        </a:lnTo>
                        <a:lnTo>
                          <a:pt x="549170" y="330545"/>
                        </a:lnTo>
                        <a:lnTo>
                          <a:pt x="551223" y="334824"/>
                        </a:lnTo>
                        <a:lnTo>
                          <a:pt x="553603" y="339045"/>
                        </a:lnTo>
                        <a:lnTo>
                          <a:pt x="557507" y="342517"/>
                        </a:lnTo>
                        <a:lnTo>
                          <a:pt x="563717" y="346649"/>
                        </a:lnTo>
                        <a:lnTo>
                          <a:pt x="566537" y="349037"/>
                        </a:lnTo>
                        <a:lnTo>
                          <a:pt x="564312" y="352386"/>
                        </a:lnTo>
                        <a:lnTo>
                          <a:pt x="562389" y="353487"/>
                        </a:lnTo>
                        <a:lnTo>
                          <a:pt x="561191" y="353821"/>
                        </a:lnTo>
                        <a:lnTo>
                          <a:pt x="557417" y="353829"/>
                        </a:lnTo>
                        <a:lnTo>
                          <a:pt x="550539" y="351971"/>
                        </a:lnTo>
                        <a:lnTo>
                          <a:pt x="547311" y="349909"/>
                        </a:lnTo>
                        <a:lnTo>
                          <a:pt x="542626" y="344962"/>
                        </a:lnTo>
                        <a:lnTo>
                          <a:pt x="534867" y="339868"/>
                        </a:lnTo>
                        <a:lnTo>
                          <a:pt x="533180" y="339893"/>
                        </a:lnTo>
                        <a:lnTo>
                          <a:pt x="527703" y="341963"/>
                        </a:lnTo>
                        <a:lnTo>
                          <a:pt x="528559" y="342297"/>
                        </a:lnTo>
                        <a:lnTo>
                          <a:pt x="532096" y="342452"/>
                        </a:lnTo>
                        <a:lnTo>
                          <a:pt x="534696" y="343120"/>
                        </a:lnTo>
                        <a:lnTo>
                          <a:pt x="540890" y="347138"/>
                        </a:lnTo>
                        <a:lnTo>
                          <a:pt x="541354" y="348833"/>
                        </a:lnTo>
                        <a:lnTo>
                          <a:pt x="539806" y="350724"/>
                        </a:lnTo>
                        <a:lnTo>
                          <a:pt x="539903" y="353112"/>
                        </a:lnTo>
                        <a:lnTo>
                          <a:pt x="541648" y="355980"/>
                        </a:lnTo>
                        <a:lnTo>
                          <a:pt x="543424" y="357822"/>
                        </a:lnTo>
                        <a:lnTo>
                          <a:pt x="547067" y="359110"/>
                        </a:lnTo>
                        <a:lnTo>
                          <a:pt x="548901" y="359281"/>
                        </a:lnTo>
                        <a:lnTo>
                          <a:pt x="549594" y="360120"/>
                        </a:lnTo>
                        <a:lnTo>
                          <a:pt x="547409" y="366510"/>
                        </a:lnTo>
                        <a:lnTo>
                          <a:pt x="547222" y="368246"/>
                        </a:lnTo>
                        <a:lnTo>
                          <a:pt x="547841" y="368963"/>
                        </a:lnTo>
                        <a:lnTo>
                          <a:pt x="548608" y="369028"/>
                        </a:lnTo>
                        <a:lnTo>
                          <a:pt x="553293" y="366404"/>
                        </a:lnTo>
                        <a:lnTo>
                          <a:pt x="555250" y="365768"/>
                        </a:lnTo>
                        <a:lnTo>
                          <a:pt x="556953" y="365638"/>
                        </a:lnTo>
                        <a:lnTo>
                          <a:pt x="558917" y="366371"/>
                        </a:lnTo>
                        <a:lnTo>
                          <a:pt x="561166" y="367969"/>
                        </a:lnTo>
                        <a:lnTo>
                          <a:pt x="562486" y="369623"/>
                        </a:lnTo>
                        <a:lnTo>
                          <a:pt x="562886" y="371326"/>
                        </a:lnTo>
                        <a:lnTo>
                          <a:pt x="563554" y="372443"/>
                        </a:lnTo>
                        <a:lnTo>
                          <a:pt x="568150" y="374236"/>
                        </a:lnTo>
                        <a:lnTo>
                          <a:pt x="567727" y="375075"/>
                        </a:lnTo>
                        <a:lnTo>
                          <a:pt x="562992" y="377773"/>
                        </a:lnTo>
                        <a:lnTo>
                          <a:pt x="562731" y="378205"/>
                        </a:lnTo>
                        <a:lnTo>
                          <a:pt x="563676" y="378400"/>
                        </a:lnTo>
                        <a:lnTo>
                          <a:pt x="566667" y="380014"/>
                        </a:lnTo>
                        <a:lnTo>
                          <a:pt x="569430" y="382532"/>
                        </a:lnTo>
                        <a:lnTo>
                          <a:pt x="571109" y="385531"/>
                        </a:lnTo>
                        <a:lnTo>
                          <a:pt x="571451" y="387006"/>
                        </a:lnTo>
                        <a:lnTo>
                          <a:pt x="571435" y="388408"/>
                        </a:lnTo>
                        <a:lnTo>
                          <a:pt x="571810" y="389248"/>
                        </a:lnTo>
                        <a:lnTo>
                          <a:pt x="573269" y="389394"/>
                        </a:lnTo>
                        <a:lnTo>
                          <a:pt x="573871" y="388856"/>
                        </a:lnTo>
                        <a:lnTo>
                          <a:pt x="574532" y="388962"/>
                        </a:lnTo>
                        <a:lnTo>
                          <a:pt x="575273" y="389696"/>
                        </a:lnTo>
                        <a:lnTo>
                          <a:pt x="576047" y="391994"/>
                        </a:lnTo>
                        <a:lnTo>
                          <a:pt x="577710" y="398701"/>
                        </a:lnTo>
                        <a:lnTo>
                          <a:pt x="578582" y="400592"/>
                        </a:lnTo>
                        <a:lnTo>
                          <a:pt x="579087" y="400657"/>
                        </a:lnTo>
                        <a:lnTo>
                          <a:pt x="579348" y="393925"/>
                        </a:lnTo>
                        <a:lnTo>
                          <a:pt x="580114" y="392809"/>
                        </a:lnTo>
                        <a:lnTo>
                          <a:pt x="583040" y="393999"/>
                        </a:lnTo>
                        <a:lnTo>
                          <a:pt x="587319" y="396623"/>
                        </a:lnTo>
                        <a:lnTo>
                          <a:pt x="590334" y="398954"/>
                        </a:lnTo>
                        <a:lnTo>
                          <a:pt x="590685" y="400046"/>
                        </a:lnTo>
                        <a:lnTo>
                          <a:pt x="588394" y="402165"/>
                        </a:lnTo>
                        <a:lnTo>
                          <a:pt x="588883" y="403102"/>
                        </a:lnTo>
                        <a:lnTo>
                          <a:pt x="590554" y="404488"/>
                        </a:lnTo>
                        <a:lnTo>
                          <a:pt x="592094" y="403958"/>
                        </a:lnTo>
                        <a:lnTo>
                          <a:pt x="593211" y="401603"/>
                        </a:lnTo>
                        <a:lnTo>
                          <a:pt x="595134" y="399280"/>
                        </a:lnTo>
                        <a:lnTo>
                          <a:pt x="597400" y="397625"/>
                        </a:lnTo>
                        <a:lnTo>
                          <a:pt x="601630" y="398978"/>
                        </a:lnTo>
                        <a:lnTo>
                          <a:pt x="605142" y="402458"/>
                        </a:lnTo>
                        <a:lnTo>
                          <a:pt x="605672" y="403648"/>
                        </a:lnTo>
                        <a:lnTo>
                          <a:pt x="607954" y="405156"/>
                        </a:lnTo>
                        <a:lnTo>
                          <a:pt x="609967" y="404316"/>
                        </a:lnTo>
                        <a:lnTo>
                          <a:pt x="613862" y="408302"/>
                        </a:lnTo>
                        <a:lnTo>
                          <a:pt x="612020" y="410103"/>
                        </a:lnTo>
                        <a:lnTo>
                          <a:pt x="607962" y="412719"/>
                        </a:lnTo>
                        <a:lnTo>
                          <a:pt x="607555" y="413607"/>
                        </a:lnTo>
                        <a:lnTo>
                          <a:pt x="608532" y="413403"/>
                        </a:lnTo>
                        <a:lnTo>
                          <a:pt x="616250" y="413403"/>
                        </a:lnTo>
                        <a:lnTo>
                          <a:pt x="618337" y="414446"/>
                        </a:lnTo>
                        <a:lnTo>
                          <a:pt x="618826" y="416459"/>
                        </a:lnTo>
                        <a:lnTo>
                          <a:pt x="615394" y="422034"/>
                        </a:lnTo>
                        <a:lnTo>
                          <a:pt x="612257" y="421537"/>
                        </a:lnTo>
                        <a:lnTo>
                          <a:pt x="608092" y="421406"/>
                        </a:lnTo>
                        <a:lnTo>
                          <a:pt x="605957" y="421708"/>
                        </a:lnTo>
                        <a:lnTo>
                          <a:pt x="606291" y="422425"/>
                        </a:lnTo>
                        <a:lnTo>
                          <a:pt x="612053" y="424992"/>
                        </a:lnTo>
                        <a:lnTo>
                          <a:pt x="613683" y="427111"/>
                        </a:lnTo>
                        <a:lnTo>
                          <a:pt x="615900" y="429271"/>
                        </a:lnTo>
                        <a:lnTo>
                          <a:pt x="616975" y="431056"/>
                        </a:lnTo>
                        <a:lnTo>
                          <a:pt x="616943" y="431871"/>
                        </a:lnTo>
                        <a:lnTo>
                          <a:pt x="616030" y="433093"/>
                        </a:lnTo>
                        <a:lnTo>
                          <a:pt x="616470" y="433509"/>
                        </a:lnTo>
                        <a:lnTo>
                          <a:pt x="620423" y="434307"/>
                        </a:lnTo>
                        <a:lnTo>
                          <a:pt x="622868" y="433590"/>
                        </a:lnTo>
                        <a:lnTo>
                          <a:pt x="625940" y="433313"/>
                        </a:lnTo>
                        <a:lnTo>
                          <a:pt x="628654" y="433517"/>
                        </a:lnTo>
                        <a:lnTo>
                          <a:pt x="628874" y="434283"/>
                        </a:lnTo>
                        <a:lnTo>
                          <a:pt x="628467" y="436304"/>
                        </a:lnTo>
                        <a:lnTo>
                          <a:pt x="625687" y="438179"/>
                        </a:lnTo>
                        <a:lnTo>
                          <a:pt x="626429" y="438619"/>
                        </a:lnTo>
                        <a:lnTo>
                          <a:pt x="629689" y="438081"/>
                        </a:lnTo>
                        <a:lnTo>
                          <a:pt x="631189" y="438953"/>
                        </a:lnTo>
                        <a:lnTo>
                          <a:pt x="633120" y="443402"/>
                        </a:lnTo>
                        <a:lnTo>
                          <a:pt x="635288" y="446882"/>
                        </a:lnTo>
                        <a:lnTo>
                          <a:pt x="633528" y="447681"/>
                        </a:lnTo>
                        <a:lnTo>
                          <a:pt x="631555" y="447991"/>
                        </a:lnTo>
                        <a:lnTo>
                          <a:pt x="631832" y="452432"/>
                        </a:lnTo>
                        <a:lnTo>
                          <a:pt x="633120" y="456980"/>
                        </a:lnTo>
                        <a:lnTo>
                          <a:pt x="633128" y="461332"/>
                        </a:lnTo>
                        <a:lnTo>
                          <a:pt x="632729" y="465195"/>
                        </a:lnTo>
                        <a:lnTo>
                          <a:pt x="630928" y="466059"/>
                        </a:lnTo>
                        <a:lnTo>
                          <a:pt x="628996" y="465961"/>
                        </a:lnTo>
                        <a:lnTo>
                          <a:pt x="628239" y="464991"/>
                        </a:lnTo>
                        <a:lnTo>
                          <a:pt x="623504" y="453418"/>
                        </a:lnTo>
                        <a:lnTo>
                          <a:pt x="622338" y="451316"/>
                        </a:lnTo>
                        <a:lnTo>
                          <a:pt x="620936" y="449499"/>
                        </a:lnTo>
                        <a:lnTo>
                          <a:pt x="615916" y="444478"/>
                        </a:lnTo>
                        <a:lnTo>
                          <a:pt x="616120" y="445293"/>
                        </a:lnTo>
                        <a:lnTo>
                          <a:pt x="617367" y="447600"/>
                        </a:lnTo>
                        <a:lnTo>
                          <a:pt x="618467" y="451047"/>
                        </a:lnTo>
                        <a:lnTo>
                          <a:pt x="619901" y="457909"/>
                        </a:lnTo>
                        <a:lnTo>
                          <a:pt x="620561" y="462326"/>
                        </a:lnTo>
                        <a:lnTo>
                          <a:pt x="620268" y="464005"/>
                        </a:lnTo>
                        <a:lnTo>
                          <a:pt x="619241" y="464413"/>
                        </a:lnTo>
                        <a:lnTo>
                          <a:pt x="618972" y="465211"/>
                        </a:lnTo>
                        <a:lnTo>
                          <a:pt x="619461" y="466401"/>
                        </a:lnTo>
                        <a:lnTo>
                          <a:pt x="623292" y="470908"/>
                        </a:lnTo>
                        <a:lnTo>
                          <a:pt x="625142" y="473614"/>
                        </a:lnTo>
                        <a:lnTo>
                          <a:pt x="626454" y="476417"/>
                        </a:lnTo>
                        <a:lnTo>
                          <a:pt x="627668" y="478316"/>
                        </a:lnTo>
                        <a:lnTo>
                          <a:pt x="628809" y="479294"/>
                        </a:lnTo>
                        <a:lnTo>
                          <a:pt x="628532" y="480101"/>
                        </a:lnTo>
                        <a:lnTo>
                          <a:pt x="626837" y="480728"/>
                        </a:lnTo>
                        <a:lnTo>
                          <a:pt x="623944" y="481030"/>
                        </a:lnTo>
                        <a:lnTo>
                          <a:pt x="622591" y="480647"/>
                        </a:lnTo>
                        <a:lnTo>
                          <a:pt x="617383" y="478047"/>
                        </a:lnTo>
                        <a:lnTo>
                          <a:pt x="616650" y="478854"/>
                        </a:lnTo>
                        <a:lnTo>
                          <a:pt x="619526" y="488356"/>
                        </a:lnTo>
                        <a:lnTo>
                          <a:pt x="619437" y="490630"/>
                        </a:lnTo>
                        <a:lnTo>
                          <a:pt x="617986" y="491437"/>
                        </a:lnTo>
                        <a:lnTo>
                          <a:pt x="616209" y="490492"/>
                        </a:lnTo>
                        <a:lnTo>
                          <a:pt x="614090" y="487794"/>
                        </a:lnTo>
                        <a:lnTo>
                          <a:pt x="610847" y="484795"/>
                        </a:lnTo>
                        <a:lnTo>
                          <a:pt x="606487" y="481478"/>
                        </a:lnTo>
                        <a:lnTo>
                          <a:pt x="602314" y="478878"/>
                        </a:lnTo>
                        <a:lnTo>
                          <a:pt x="601344" y="478952"/>
                        </a:lnTo>
                        <a:lnTo>
                          <a:pt x="600701" y="479718"/>
                        </a:lnTo>
                        <a:lnTo>
                          <a:pt x="600008" y="479848"/>
                        </a:lnTo>
                        <a:lnTo>
                          <a:pt x="599250" y="479326"/>
                        </a:lnTo>
                        <a:lnTo>
                          <a:pt x="597856" y="477387"/>
                        </a:lnTo>
                        <a:lnTo>
                          <a:pt x="596406" y="476050"/>
                        </a:lnTo>
                        <a:lnTo>
                          <a:pt x="590326" y="471666"/>
                        </a:lnTo>
                        <a:lnTo>
                          <a:pt x="589698" y="471625"/>
                        </a:lnTo>
                        <a:lnTo>
                          <a:pt x="590277" y="472945"/>
                        </a:lnTo>
                        <a:lnTo>
                          <a:pt x="590896" y="475830"/>
                        </a:lnTo>
                        <a:lnTo>
                          <a:pt x="590204" y="476450"/>
                        </a:lnTo>
                        <a:lnTo>
                          <a:pt x="588622" y="476221"/>
                        </a:lnTo>
                        <a:lnTo>
                          <a:pt x="585599" y="474966"/>
                        </a:lnTo>
                        <a:lnTo>
                          <a:pt x="583570" y="472081"/>
                        </a:lnTo>
                        <a:lnTo>
                          <a:pt x="580986" y="467061"/>
                        </a:lnTo>
                        <a:lnTo>
                          <a:pt x="579633" y="465170"/>
                        </a:lnTo>
                        <a:lnTo>
                          <a:pt x="579519" y="466393"/>
                        </a:lnTo>
                        <a:lnTo>
                          <a:pt x="580228" y="471177"/>
                        </a:lnTo>
                        <a:lnTo>
                          <a:pt x="580090" y="472782"/>
                        </a:lnTo>
                        <a:lnTo>
                          <a:pt x="578582" y="473214"/>
                        </a:lnTo>
                        <a:lnTo>
                          <a:pt x="577938" y="472774"/>
                        </a:lnTo>
                        <a:lnTo>
                          <a:pt x="577311" y="471503"/>
                        </a:lnTo>
                        <a:lnTo>
                          <a:pt x="576700" y="469400"/>
                        </a:lnTo>
                        <a:lnTo>
                          <a:pt x="575257" y="467786"/>
                        </a:lnTo>
                        <a:lnTo>
                          <a:pt x="572983" y="466703"/>
                        </a:lnTo>
                        <a:lnTo>
                          <a:pt x="571704" y="465545"/>
                        </a:lnTo>
                        <a:lnTo>
                          <a:pt x="571076" y="463492"/>
                        </a:lnTo>
                        <a:lnTo>
                          <a:pt x="570628" y="463027"/>
                        </a:lnTo>
                        <a:lnTo>
                          <a:pt x="566618" y="463500"/>
                        </a:lnTo>
                        <a:lnTo>
                          <a:pt x="564605" y="462025"/>
                        </a:lnTo>
                        <a:lnTo>
                          <a:pt x="558803" y="456206"/>
                        </a:lnTo>
                        <a:lnTo>
                          <a:pt x="553481" y="449890"/>
                        </a:lnTo>
                        <a:lnTo>
                          <a:pt x="550140" y="446540"/>
                        </a:lnTo>
                        <a:lnTo>
                          <a:pt x="548925" y="445750"/>
                        </a:lnTo>
                        <a:lnTo>
                          <a:pt x="550702" y="449841"/>
                        </a:lnTo>
                        <a:lnTo>
                          <a:pt x="552658" y="455880"/>
                        </a:lnTo>
                        <a:lnTo>
                          <a:pt x="553155" y="458634"/>
                        </a:lnTo>
                        <a:lnTo>
                          <a:pt x="552259" y="458757"/>
                        </a:lnTo>
                        <a:lnTo>
                          <a:pt x="550295" y="457542"/>
                        </a:lnTo>
                        <a:lnTo>
                          <a:pt x="540238" y="449759"/>
                        </a:lnTo>
                        <a:lnTo>
                          <a:pt x="534028" y="446092"/>
                        </a:lnTo>
                        <a:lnTo>
                          <a:pt x="530580" y="445440"/>
                        </a:lnTo>
                        <a:lnTo>
                          <a:pt x="524973" y="444992"/>
                        </a:lnTo>
                        <a:lnTo>
                          <a:pt x="523677" y="447013"/>
                        </a:lnTo>
                        <a:lnTo>
                          <a:pt x="526701" y="451495"/>
                        </a:lnTo>
                        <a:lnTo>
                          <a:pt x="529643" y="454869"/>
                        </a:lnTo>
                        <a:lnTo>
                          <a:pt x="532504" y="457135"/>
                        </a:lnTo>
                        <a:lnTo>
                          <a:pt x="537002" y="461552"/>
                        </a:lnTo>
                        <a:lnTo>
                          <a:pt x="541118" y="467232"/>
                        </a:lnTo>
                        <a:lnTo>
                          <a:pt x="542772" y="468976"/>
                        </a:lnTo>
                        <a:lnTo>
                          <a:pt x="548371" y="471397"/>
                        </a:lnTo>
                        <a:lnTo>
                          <a:pt x="551297" y="472041"/>
                        </a:lnTo>
                        <a:lnTo>
                          <a:pt x="554312" y="472228"/>
                        </a:lnTo>
                        <a:lnTo>
                          <a:pt x="554581" y="473092"/>
                        </a:lnTo>
                        <a:lnTo>
                          <a:pt x="553131" y="474697"/>
                        </a:lnTo>
                        <a:lnTo>
                          <a:pt x="552804" y="475692"/>
                        </a:lnTo>
                        <a:lnTo>
                          <a:pt x="559463" y="478210"/>
                        </a:lnTo>
                        <a:lnTo>
                          <a:pt x="561981" y="479620"/>
                        </a:lnTo>
                        <a:lnTo>
                          <a:pt x="564418" y="481951"/>
                        </a:lnTo>
                        <a:lnTo>
                          <a:pt x="565803" y="482521"/>
                        </a:lnTo>
                        <a:lnTo>
                          <a:pt x="571582" y="488381"/>
                        </a:lnTo>
                        <a:lnTo>
                          <a:pt x="573024" y="489318"/>
                        </a:lnTo>
                        <a:lnTo>
                          <a:pt x="578166" y="491217"/>
                        </a:lnTo>
                        <a:lnTo>
                          <a:pt x="579878" y="492431"/>
                        </a:lnTo>
                        <a:lnTo>
                          <a:pt x="582722" y="496213"/>
                        </a:lnTo>
                        <a:lnTo>
                          <a:pt x="584499" y="498128"/>
                        </a:lnTo>
                        <a:lnTo>
                          <a:pt x="587017" y="502684"/>
                        </a:lnTo>
                        <a:lnTo>
                          <a:pt x="588900" y="504697"/>
                        </a:lnTo>
                        <a:lnTo>
                          <a:pt x="593521" y="506995"/>
                        </a:lnTo>
                        <a:lnTo>
                          <a:pt x="595493" y="507655"/>
                        </a:lnTo>
                        <a:lnTo>
                          <a:pt x="596365" y="508527"/>
                        </a:lnTo>
                        <a:lnTo>
                          <a:pt x="595770" y="510589"/>
                        </a:lnTo>
                        <a:lnTo>
                          <a:pt x="595208" y="511445"/>
                        </a:lnTo>
                        <a:lnTo>
                          <a:pt x="592583" y="512871"/>
                        </a:lnTo>
                        <a:lnTo>
                          <a:pt x="592991" y="514851"/>
                        </a:lnTo>
                        <a:lnTo>
                          <a:pt x="594482" y="518372"/>
                        </a:lnTo>
                        <a:lnTo>
                          <a:pt x="594417" y="520556"/>
                        </a:lnTo>
                        <a:lnTo>
                          <a:pt x="592803" y="521404"/>
                        </a:lnTo>
                        <a:lnTo>
                          <a:pt x="589519" y="522414"/>
                        </a:lnTo>
                        <a:lnTo>
                          <a:pt x="587848" y="522324"/>
                        </a:lnTo>
                        <a:lnTo>
                          <a:pt x="585346" y="521501"/>
                        </a:lnTo>
                        <a:lnTo>
                          <a:pt x="582201" y="520075"/>
                        </a:lnTo>
                        <a:lnTo>
                          <a:pt x="575958" y="516530"/>
                        </a:lnTo>
                        <a:lnTo>
                          <a:pt x="566586" y="514085"/>
                        </a:lnTo>
                        <a:lnTo>
                          <a:pt x="563089" y="512765"/>
                        </a:lnTo>
                        <a:lnTo>
                          <a:pt x="561924" y="511575"/>
                        </a:lnTo>
                        <a:lnTo>
                          <a:pt x="560164" y="510874"/>
                        </a:lnTo>
                        <a:lnTo>
                          <a:pt x="536888" y="507459"/>
                        </a:lnTo>
                        <a:lnTo>
                          <a:pt x="532984" y="506620"/>
                        </a:lnTo>
                        <a:lnTo>
                          <a:pt x="530564" y="505569"/>
                        </a:lnTo>
                        <a:lnTo>
                          <a:pt x="528307" y="504028"/>
                        </a:lnTo>
                        <a:lnTo>
                          <a:pt x="519423" y="500499"/>
                        </a:lnTo>
                        <a:lnTo>
                          <a:pt x="518356" y="499733"/>
                        </a:lnTo>
                        <a:lnTo>
                          <a:pt x="512390" y="493678"/>
                        </a:lnTo>
                        <a:lnTo>
                          <a:pt x="507948" y="486588"/>
                        </a:lnTo>
                        <a:lnTo>
                          <a:pt x="506473" y="485634"/>
                        </a:lnTo>
                        <a:lnTo>
                          <a:pt x="501641" y="484705"/>
                        </a:lnTo>
                        <a:lnTo>
                          <a:pt x="497606" y="485284"/>
                        </a:lnTo>
                        <a:lnTo>
                          <a:pt x="494909" y="486074"/>
                        </a:lnTo>
                        <a:lnTo>
                          <a:pt x="490810" y="485814"/>
                        </a:lnTo>
                        <a:lnTo>
                          <a:pt x="488136" y="484656"/>
                        </a:lnTo>
                        <a:lnTo>
                          <a:pt x="482497" y="481470"/>
                        </a:lnTo>
                        <a:lnTo>
                          <a:pt x="476792" y="479775"/>
                        </a:lnTo>
                        <a:lnTo>
                          <a:pt x="471813" y="476979"/>
                        </a:lnTo>
                        <a:lnTo>
                          <a:pt x="469245" y="475993"/>
                        </a:lnTo>
                        <a:lnTo>
                          <a:pt x="469482" y="475276"/>
                        </a:lnTo>
                        <a:lnTo>
                          <a:pt x="473206" y="471112"/>
                        </a:lnTo>
                        <a:lnTo>
                          <a:pt x="472049" y="471169"/>
                        </a:lnTo>
                        <a:lnTo>
                          <a:pt x="465578" y="474331"/>
                        </a:lnTo>
                        <a:lnTo>
                          <a:pt x="463255" y="473361"/>
                        </a:lnTo>
                        <a:lnTo>
                          <a:pt x="459433" y="470875"/>
                        </a:lnTo>
                        <a:lnTo>
                          <a:pt x="456564" y="468365"/>
                        </a:lnTo>
                        <a:lnTo>
                          <a:pt x="450656" y="461430"/>
                        </a:lnTo>
                        <a:lnTo>
                          <a:pt x="447257" y="458911"/>
                        </a:lnTo>
                        <a:lnTo>
                          <a:pt x="447730" y="458341"/>
                        </a:lnTo>
                        <a:lnTo>
                          <a:pt x="451544" y="458105"/>
                        </a:lnTo>
                        <a:lnTo>
                          <a:pt x="454592" y="458325"/>
                        </a:lnTo>
                        <a:lnTo>
                          <a:pt x="456638" y="457746"/>
                        </a:lnTo>
                        <a:lnTo>
                          <a:pt x="460566" y="454926"/>
                        </a:lnTo>
                        <a:lnTo>
                          <a:pt x="462261" y="453158"/>
                        </a:lnTo>
                        <a:lnTo>
                          <a:pt x="462424" y="452115"/>
                        </a:lnTo>
                        <a:lnTo>
                          <a:pt x="459132" y="451846"/>
                        </a:lnTo>
                        <a:lnTo>
                          <a:pt x="458431" y="451340"/>
                        </a:lnTo>
                        <a:lnTo>
                          <a:pt x="457836" y="450183"/>
                        </a:lnTo>
                        <a:lnTo>
                          <a:pt x="456320" y="448700"/>
                        </a:lnTo>
                        <a:lnTo>
                          <a:pt x="453883" y="446891"/>
                        </a:lnTo>
                        <a:lnTo>
                          <a:pt x="451096" y="446108"/>
                        </a:lnTo>
                        <a:lnTo>
                          <a:pt x="441528" y="446776"/>
                        </a:lnTo>
                        <a:lnTo>
                          <a:pt x="439865" y="445986"/>
                        </a:lnTo>
                        <a:lnTo>
                          <a:pt x="439906" y="444780"/>
                        </a:lnTo>
                        <a:lnTo>
                          <a:pt x="441773" y="441389"/>
                        </a:lnTo>
                        <a:lnTo>
                          <a:pt x="442791" y="440020"/>
                        </a:lnTo>
                        <a:lnTo>
                          <a:pt x="443117" y="439254"/>
                        </a:lnTo>
                        <a:lnTo>
                          <a:pt x="442742" y="439108"/>
                        </a:lnTo>
                        <a:lnTo>
                          <a:pt x="441447" y="439197"/>
                        </a:lnTo>
                        <a:lnTo>
                          <a:pt x="435897" y="442245"/>
                        </a:lnTo>
                        <a:lnTo>
                          <a:pt x="434699" y="442017"/>
                        </a:lnTo>
                        <a:lnTo>
                          <a:pt x="432531" y="438806"/>
                        </a:lnTo>
                        <a:lnTo>
                          <a:pt x="431211" y="435131"/>
                        </a:lnTo>
                        <a:lnTo>
                          <a:pt x="430249" y="433843"/>
                        </a:lnTo>
                        <a:lnTo>
                          <a:pt x="428969" y="433411"/>
                        </a:lnTo>
                        <a:lnTo>
                          <a:pt x="424414" y="429792"/>
                        </a:lnTo>
                        <a:lnTo>
                          <a:pt x="417943" y="422930"/>
                        </a:lnTo>
                        <a:lnTo>
                          <a:pt x="415555" y="420771"/>
                        </a:lnTo>
                        <a:lnTo>
                          <a:pt x="412906" y="418839"/>
                        </a:lnTo>
                        <a:lnTo>
                          <a:pt x="410991" y="418024"/>
                        </a:lnTo>
                        <a:lnTo>
                          <a:pt x="411260" y="417006"/>
                        </a:lnTo>
                        <a:lnTo>
                          <a:pt x="415359" y="411284"/>
                        </a:lnTo>
                        <a:lnTo>
                          <a:pt x="415539" y="410355"/>
                        </a:lnTo>
                        <a:lnTo>
                          <a:pt x="412018" y="410706"/>
                        </a:lnTo>
                        <a:lnTo>
                          <a:pt x="406712" y="409516"/>
                        </a:lnTo>
                        <a:lnTo>
                          <a:pt x="404194" y="410942"/>
                        </a:lnTo>
                        <a:lnTo>
                          <a:pt x="402597" y="411032"/>
                        </a:lnTo>
                        <a:lnTo>
                          <a:pt x="400739" y="410233"/>
                        </a:lnTo>
                        <a:lnTo>
                          <a:pt x="399687" y="410535"/>
                        </a:lnTo>
                        <a:lnTo>
                          <a:pt x="398693" y="415237"/>
                        </a:lnTo>
                        <a:lnTo>
                          <a:pt x="397927" y="416419"/>
                        </a:lnTo>
                        <a:lnTo>
                          <a:pt x="396827" y="417046"/>
                        </a:lnTo>
                        <a:lnTo>
                          <a:pt x="395857" y="416965"/>
                        </a:lnTo>
                        <a:lnTo>
                          <a:pt x="395018" y="416166"/>
                        </a:lnTo>
                        <a:lnTo>
                          <a:pt x="395034" y="415066"/>
                        </a:lnTo>
                        <a:lnTo>
                          <a:pt x="394227" y="409296"/>
                        </a:lnTo>
                        <a:lnTo>
                          <a:pt x="392377" y="408440"/>
                        </a:lnTo>
                        <a:lnTo>
                          <a:pt x="387153" y="408212"/>
                        </a:lnTo>
                        <a:lnTo>
                          <a:pt x="386020" y="407747"/>
                        </a:lnTo>
                        <a:lnTo>
                          <a:pt x="384749" y="406680"/>
                        </a:lnTo>
                        <a:lnTo>
                          <a:pt x="383665" y="404699"/>
                        </a:lnTo>
                        <a:lnTo>
                          <a:pt x="382760" y="401814"/>
                        </a:lnTo>
                        <a:lnTo>
                          <a:pt x="381725" y="400217"/>
                        </a:lnTo>
                        <a:lnTo>
                          <a:pt x="380560" y="399940"/>
                        </a:lnTo>
                        <a:lnTo>
                          <a:pt x="379623" y="400168"/>
                        </a:lnTo>
                        <a:lnTo>
                          <a:pt x="378914" y="400918"/>
                        </a:lnTo>
                        <a:lnTo>
                          <a:pt x="377284" y="401382"/>
                        </a:lnTo>
                        <a:lnTo>
                          <a:pt x="374733" y="401570"/>
                        </a:lnTo>
                        <a:lnTo>
                          <a:pt x="374659" y="402678"/>
                        </a:lnTo>
                        <a:lnTo>
                          <a:pt x="377047" y="404724"/>
                        </a:lnTo>
                        <a:lnTo>
                          <a:pt x="379354" y="407633"/>
                        </a:lnTo>
                        <a:lnTo>
                          <a:pt x="381587" y="411415"/>
                        </a:lnTo>
                        <a:lnTo>
                          <a:pt x="380234" y="413941"/>
                        </a:lnTo>
                        <a:lnTo>
                          <a:pt x="375287" y="415245"/>
                        </a:lnTo>
                        <a:lnTo>
                          <a:pt x="370992" y="415620"/>
                        </a:lnTo>
                        <a:lnTo>
                          <a:pt x="367325" y="415082"/>
                        </a:lnTo>
                        <a:lnTo>
                          <a:pt x="364513" y="414210"/>
                        </a:lnTo>
                        <a:lnTo>
                          <a:pt x="360561" y="412099"/>
                        </a:lnTo>
                        <a:lnTo>
                          <a:pt x="354921" y="412784"/>
                        </a:lnTo>
                        <a:lnTo>
                          <a:pt x="353641" y="418326"/>
                        </a:lnTo>
                        <a:lnTo>
                          <a:pt x="352443" y="418635"/>
                        </a:lnTo>
                        <a:lnTo>
                          <a:pt x="347065" y="418489"/>
                        </a:lnTo>
                        <a:lnTo>
                          <a:pt x="344929" y="418978"/>
                        </a:lnTo>
                        <a:lnTo>
                          <a:pt x="337766" y="422042"/>
                        </a:lnTo>
                        <a:lnTo>
                          <a:pt x="335582" y="422466"/>
                        </a:lnTo>
                        <a:lnTo>
                          <a:pt x="333935" y="422099"/>
                        </a:lnTo>
                        <a:lnTo>
                          <a:pt x="332314" y="422841"/>
                        </a:lnTo>
                        <a:lnTo>
                          <a:pt x="329909" y="424593"/>
                        </a:lnTo>
                        <a:lnTo>
                          <a:pt x="326617" y="424772"/>
                        </a:lnTo>
                        <a:lnTo>
                          <a:pt x="322469" y="423387"/>
                        </a:lnTo>
                        <a:lnTo>
                          <a:pt x="318948" y="422792"/>
                        </a:lnTo>
                        <a:lnTo>
                          <a:pt x="316047" y="422987"/>
                        </a:lnTo>
                        <a:lnTo>
                          <a:pt x="313064" y="422172"/>
                        </a:lnTo>
                        <a:lnTo>
                          <a:pt x="309991" y="420339"/>
                        </a:lnTo>
                        <a:lnTo>
                          <a:pt x="307481" y="419516"/>
                        </a:lnTo>
                        <a:lnTo>
                          <a:pt x="304189" y="419654"/>
                        </a:lnTo>
                        <a:lnTo>
                          <a:pt x="303431" y="419369"/>
                        </a:lnTo>
                        <a:lnTo>
                          <a:pt x="298631" y="415441"/>
                        </a:lnTo>
                        <a:lnTo>
                          <a:pt x="297131" y="413835"/>
                        </a:lnTo>
                        <a:lnTo>
                          <a:pt x="293920" y="408880"/>
                        </a:lnTo>
                        <a:lnTo>
                          <a:pt x="293350" y="406908"/>
                        </a:lnTo>
                        <a:lnTo>
                          <a:pt x="293268" y="404805"/>
                        </a:lnTo>
                        <a:lnTo>
                          <a:pt x="293545" y="403249"/>
                        </a:lnTo>
                        <a:lnTo>
                          <a:pt x="294662" y="400902"/>
                        </a:lnTo>
                        <a:lnTo>
                          <a:pt x="295884" y="395376"/>
                        </a:lnTo>
                        <a:lnTo>
                          <a:pt x="296887" y="393542"/>
                        </a:lnTo>
                        <a:lnTo>
                          <a:pt x="298386" y="391864"/>
                        </a:lnTo>
                        <a:lnTo>
                          <a:pt x="301320" y="389753"/>
                        </a:lnTo>
                        <a:lnTo>
                          <a:pt x="311955" y="386012"/>
                        </a:lnTo>
                        <a:lnTo>
                          <a:pt x="314099" y="384545"/>
                        </a:lnTo>
                        <a:lnTo>
                          <a:pt x="314025" y="383559"/>
                        </a:lnTo>
                        <a:lnTo>
                          <a:pt x="311605" y="378979"/>
                        </a:lnTo>
                        <a:lnTo>
                          <a:pt x="311630" y="377805"/>
                        </a:lnTo>
                        <a:lnTo>
                          <a:pt x="312444" y="377129"/>
                        </a:lnTo>
                        <a:lnTo>
                          <a:pt x="314172" y="374448"/>
                        </a:lnTo>
                        <a:lnTo>
                          <a:pt x="314955" y="373698"/>
                        </a:lnTo>
                        <a:lnTo>
                          <a:pt x="316821" y="373290"/>
                        </a:lnTo>
                        <a:lnTo>
                          <a:pt x="320716" y="374643"/>
                        </a:lnTo>
                        <a:lnTo>
                          <a:pt x="324082" y="375189"/>
                        </a:lnTo>
                        <a:lnTo>
                          <a:pt x="328540" y="375360"/>
                        </a:lnTo>
                        <a:lnTo>
                          <a:pt x="335908" y="377227"/>
                        </a:lnTo>
                        <a:lnTo>
                          <a:pt x="346193" y="380788"/>
                        </a:lnTo>
                        <a:lnTo>
                          <a:pt x="352117" y="383249"/>
                        </a:lnTo>
                        <a:lnTo>
                          <a:pt x="356583" y="386884"/>
                        </a:lnTo>
                        <a:lnTo>
                          <a:pt x="359762" y="390462"/>
                        </a:lnTo>
                        <a:lnTo>
                          <a:pt x="360218" y="392271"/>
                        </a:lnTo>
                        <a:lnTo>
                          <a:pt x="358743" y="395050"/>
                        </a:lnTo>
                        <a:lnTo>
                          <a:pt x="358002" y="395865"/>
                        </a:lnTo>
                        <a:lnTo>
                          <a:pt x="358050" y="396819"/>
                        </a:lnTo>
                        <a:lnTo>
                          <a:pt x="358874" y="397903"/>
                        </a:lnTo>
                        <a:lnTo>
                          <a:pt x="361449" y="399484"/>
                        </a:lnTo>
                        <a:lnTo>
                          <a:pt x="362060" y="398881"/>
                        </a:lnTo>
                        <a:lnTo>
                          <a:pt x="361865" y="396998"/>
                        </a:lnTo>
                        <a:lnTo>
                          <a:pt x="362394" y="395409"/>
                        </a:lnTo>
                        <a:lnTo>
                          <a:pt x="363657" y="394121"/>
                        </a:lnTo>
                        <a:lnTo>
                          <a:pt x="363804" y="392450"/>
                        </a:lnTo>
                        <a:lnTo>
                          <a:pt x="362818" y="390397"/>
                        </a:lnTo>
                        <a:lnTo>
                          <a:pt x="361604" y="388620"/>
                        </a:lnTo>
                        <a:lnTo>
                          <a:pt x="360145" y="387129"/>
                        </a:lnTo>
                        <a:lnTo>
                          <a:pt x="353486" y="381986"/>
                        </a:lnTo>
                        <a:lnTo>
                          <a:pt x="352851" y="380275"/>
                        </a:lnTo>
                        <a:lnTo>
                          <a:pt x="355084" y="379509"/>
                        </a:lnTo>
                        <a:lnTo>
                          <a:pt x="364807" y="381236"/>
                        </a:lnTo>
                        <a:lnTo>
                          <a:pt x="368531" y="380845"/>
                        </a:lnTo>
                        <a:lnTo>
                          <a:pt x="369949" y="378848"/>
                        </a:lnTo>
                        <a:lnTo>
                          <a:pt x="371481" y="377471"/>
                        </a:lnTo>
                        <a:lnTo>
                          <a:pt x="373111" y="376738"/>
                        </a:lnTo>
                        <a:lnTo>
                          <a:pt x="376387" y="376404"/>
                        </a:lnTo>
                        <a:lnTo>
                          <a:pt x="380959" y="377349"/>
                        </a:lnTo>
                        <a:lnTo>
                          <a:pt x="383209" y="377487"/>
                        </a:lnTo>
                        <a:lnTo>
                          <a:pt x="385189" y="377145"/>
                        </a:lnTo>
                        <a:lnTo>
                          <a:pt x="387772" y="376053"/>
                        </a:lnTo>
                        <a:lnTo>
                          <a:pt x="391587" y="372394"/>
                        </a:lnTo>
                        <a:lnTo>
                          <a:pt x="394023" y="371571"/>
                        </a:lnTo>
                        <a:lnTo>
                          <a:pt x="397715" y="371000"/>
                        </a:lnTo>
                        <a:lnTo>
                          <a:pt x="400486" y="370919"/>
                        </a:lnTo>
                        <a:lnTo>
                          <a:pt x="405514" y="372378"/>
                        </a:lnTo>
                        <a:lnTo>
                          <a:pt x="408603" y="372337"/>
                        </a:lnTo>
                        <a:lnTo>
                          <a:pt x="408359" y="369900"/>
                        </a:lnTo>
                        <a:lnTo>
                          <a:pt x="406305" y="365222"/>
                        </a:lnTo>
                        <a:lnTo>
                          <a:pt x="403754" y="360414"/>
                        </a:lnTo>
                        <a:lnTo>
                          <a:pt x="401774" y="358776"/>
                        </a:lnTo>
                        <a:lnTo>
                          <a:pt x="396639" y="355720"/>
                        </a:lnTo>
                        <a:lnTo>
                          <a:pt x="390608" y="349949"/>
                        </a:lnTo>
                        <a:lnTo>
                          <a:pt x="387512" y="346364"/>
                        </a:lnTo>
                        <a:lnTo>
                          <a:pt x="386697" y="344571"/>
                        </a:lnTo>
                        <a:lnTo>
                          <a:pt x="387137" y="343373"/>
                        </a:lnTo>
                        <a:lnTo>
                          <a:pt x="388164" y="341621"/>
                        </a:lnTo>
                        <a:lnTo>
                          <a:pt x="399101" y="335223"/>
                        </a:lnTo>
                        <a:lnTo>
                          <a:pt x="407780" y="328858"/>
                        </a:lnTo>
                        <a:lnTo>
                          <a:pt x="411578" y="325590"/>
                        </a:lnTo>
                        <a:lnTo>
                          <a:pt x="413403" y="323316"/>
                        </a:lnTo>
                        <a:lnTo>
                          <a:pt x="415302" y="321654"/>
                        </a:lnTo>
                        <a:lnTo>
                          <a:pt x="417274" y="320610"/>
                        </a:lnTo>
                        <a:lnTo>
                          <a:pt x="421439" y="319372"/>
                        </a:lnTo>
                        <a:lnTo>
                          <a:pt x="422629" y="317774"/>
                        </a:lnTo>
                        <a:lnTo>
                          <a:pt x="422890" y="315061"/>
                        </a:lnTo>
                        <a:lnTo>
                          <a:pt x="423582" y="312713"/>
                        </a:lnTo>
                        <a:lnTo>
                          <a:pt x="427502" y="306365"/>
                        </a:lnTo>
                        <a:lnTo>
                          <a:pt x="430502" y="304653"/>
                        </a:lnTo>
                        <a:lnTo>
                          <a:pt x="435033" y="303455"/>
                        </a:lnTo>
                        <a:lnTo>
                          <a:pt x="438016" y="301931"/>
                        </a:lnTo>
                        <a:lnTo>
                          <a:pt x="441610" y="296715"/>
                        </a:lnTo>
                        <a:lnTo>
                          <a:pt x="441259" y="295420"/>
                        </a:lnTo>
                        <a:lnTo>
                          <a:pt x="439605" y="294434"/>
                        </a:lnTo>
                        <a:lnTo>
                          <a:pt x="438309" y="292942"/>
                        </a:lnTo>
                        <a:lnTo>
                          <a:pt x="432767" y="279218"/>
                        </a:lnTo>
                        <a:lnTo>
                          <a:pt x="429083" y="272584"/>
                        </a:lnTo>
                        <a:lnTo>
                          <a:pt x="424650" y="266782"/>
                        </a:lnTo>
                        <a:lnTo>
                          <a:pt x="420689" y="259716"/>
                        </a:lnTo>
                        <a:lnTo>
                          <a:pt x="414120" y="252740"/>
                        </a:lnTo>
                        <a:lnTo>
                          <a:pt x="414047" y="250898"/>
                        </a:lnTo>
                        <a:lnTo>
                          <a:pt x="415204" y="248795"/>
                        </a:lnTo>
                        <a:lnTo>
                          <a:pt x="414650" y="248322"/>
                        </a:lnTo>
                        <a:lnTo>
                          <a:pt x="407870" y="251387"/>
                        </a:lnTo>
                        <a:lnTo>
                          <a:pt x="406280" y="251525"/>
                        </a:lnTo>
                        <a:lnTo>
                          <a:pt x="403672" y="250197"/>
                        </a:lnTo>
                        <a:lnTo>
                          <a:pt x="401912" y="248534"/>
                        </a:lnTo>
                        <a:lnTo>
                          <a:pt x="400453" y="245633"/>
                        </a:lnTo>
                        <a:lnTo>
                          <a:pt x="400600" y="244109"/>
                        </a:lnTo>
                        <a:lnTo>
                          <a:pt x="401570" y="242658"/>
                        </a:lnTo>
                        <a:lnTo>
                          <a:pt x="402858" y="239113"/>
                        </a:lnTo>
                        <a:lnTo>
                          <a:pt x="402906" y="237304"/>
                        </a:lnTo>
                        <a:lnTo>
                          <a:pt x="402458" y="235576"/>
                        </a:lnTo>
                        <a:lnTo>
                          <a:pt x="401872" y="234378"/>
                        </a:lnTo>
                        <a:lnTo>
                          <a:pt x="401146" y="233702"/>
                        </a:lnTo>
                        <a:lnTo>
                          <a:pt x="399068" y="233278"/>
                        </a:lnTo>
                        <a:lnTo>
                          <a:pt x="395653" y="233107"/>
                        </a:lnTo>
                        <a:lnTo>
                          <a:pt x="394537" y="233726"/>
                        </a:lnTo>
                        <a:lnTo>
                          <a:pt x="398302" y="239081"/>
                        </a:lnTo>
                        <a:lnTo>
                          <a:pt x="397723" y="240401"/>
                        </a:lnTo>
                        <a:lnTo>
                          <a:pt x="392923" y="240979"/>
                        </a:lnTo>
                        <a:lnTo>
                          <a:pt x="390763" y="240727"/>
                        </a:lnTo>
                        <a:lnTo>
                          <a:pt x="388783" y="240075"/>
                        </a:lnTo>
                        <a:lnTo>
                          <a:pt x="386982" y="239032"/>
                        </a:lnTo>
                        <a:lnTo>
                          <a:pt x="381391" y="233433"/>
                        </a:lnTo>
                        <a:lnTo>
                          <a:pt x="380201" y="231314"/>
                        </a:lnTo>
                        <a:lnTo>
                          <a:pt x="380576" y="229790"/>
                        </a:lnTo>
                        <a:lnTo>
                          <a:pt x="380103" y="228999"/>
                        </a:lnTo>
                        <a:lnTo>
                          <a:pt x="378963" y="229513"/>
                        </a:lnTo>
                        <a:lnTo>
                          <a:pt x="377414" y="229537"/>
                        </a:lnTo>
                        <a:lnTo>
                          <a:pt x="375312" y="229007"/>
                        </a:lnTo>
                        <a:lnTo>
                          <a:pt x="374880" y="228347"/>
                        </a:lnTo>
                        <a:lnTo>
                          <a:pt x="378800" y="225307"/>
                        </a:lnTo>
                        <a:lnTo>
                          <a:pt x="379028" y="224370"/>
                        </a:lnTo>
                        <a:lnTo>
                          <a:pt x="377219" y="223376"/>
                        </a:lnTo>
                        <a:lnTo>
                          <a:pt x="374521" y="223172"/>
                        </a:lnTo>
                        <a:lnTo>
                          <a:pt x="373796" y="222276"/>
                        </a:lnTo>
                        <a:lnTo>
                          <a:pt x="374708" y="221314"/>
                        </a:lnTo>
                        <a:lnTo>
                          <a:pt x="378376" y="219652"/>
                        </a:lnTo>
                        <a:lnTo>
                          <a:pt x="379688" y="218551"/>
                        </a:lnTo>
                        <a:lnTo>
                          <a:pt x="377479" y="217728"/>
                        </a:lnTo>
                        <a:lnTo>
                          <a:pt x="376265" y="217655"/>
                        </a:lnTo>
                        <a:lnTo>
                          <a:pt x="373787" y="219480"/>
                        </a:lnTo>
                        <a:lnTo>
                          <a:pt x="370071" y="223172"/>
                        </a:lnTo>
                        <a:lnTo>
                          <a:pt x="367365" y="224550"/>
                        </a:lnTo>
                        <a:lnTo>
                          <a:pt x="363665" y="222838"/>
                        </a:lnTo>
                        <a:lnTo>
                          <a:pt x="361327" y="222268"/>
                        </a:lnTo>
                        <a:lnTo>
                          <a:pt x="359697" y="222643"/>
                        </a:lnTo>
                        <a:lnTo>
                          <a:pt x="357203" y="225503"/>
                        </a:lnTo>
                        <a:lnTo>
                          <a:pt x="351767" y="227598"/>
                        </a:lnTo>
                        <a:lnTo>
                          <a:pt x="342036" y="232528"/>
                        </a:lnTo>
                        <a:lnTo>
                          <a:pt x="337855" y="234101"/>
                        </a:lnTo>
                        <a:lnTo>
                          <a:pt x="333340" y="233808"/>
                        </a:lnTo>
                        <a:lnTo>
                          <a:pt x="332493" y="232822"/>
                        </a:lnTo>
                        <a:lnTo>
                          <a:pt x="332566" y="231126"/>
                        </a:lnTo>
                        <a:lnTo>
                          <a:pt x="332884" y="229733"/>
                        </a:lnTo>
                        <a:lnTo>
                          <a:pt x="333430" y="228649"/>
                        </a:lnTo>
                        <a:lnTo>
                          <a:pt x="333609" y="227312"/>
                        </a:lnTo>
                        <a:lnTo>
                          <a:pt x="333283" y="221689"/>
                        </a:lnTo>
                        <a:lnTo>
                          <a:pt x="334033" y="220141"/>
                        </a:lnTo>
                        <a:lnTo>
                          <a:pt x="335573" y="219220"/>
                        </a:lnTo>
                        <a:lnTo>
                          <a:pt x="338409" y="218250"/>
                        </a:lnTo>
                        <a:lnTo>
                          <a:pt x="345646" y="219399"/>
                        </a:lnTo>
                        <a:lnTo>
                          <a:pt x="349004" y="219203"/>
                        </a:lnTo>
                        <a:lnTo>
                          <a:pt x="351367" y="217899"/>
                        </a:lnTo>
                        <a:lnTo>
                          <a:pt x="353723" y="216017"/>
                        </a:lnTo>
                        <a:lnTo>
                          <a:pt x="356086" y="213556"/>
                        </a:lnTo>
                        <a:lnTo>
                          <a:pt x="356592" y="211184"/>
                        </a:lnTo>
                        <a:lnTo>
                          <a:pt x="354081" y="207337"/>
                        </a:lnTo>
                        <a:lnTo>
                          <a:pt x="353136" y="206482"/>
                        </a:lnTo>
                        <a:lnTo>
                          <a:pt x="346706" y="203491"/>
                        </a:lnTo>
                        <a:lnTo>
                          <a:pt x="343153" y="202399"/>
                        </a:lnTo>
                        <a:lnTo>
                          <a:pt x="340015" y="201926"/>
                        </a:lnTo>
                        <a:lnTo>
                          <a:pt x="337741" y="201062"/>
                        </a:lnTo>
                        <a:lnTo>
                          <a:pt x="336323" y="199807"/>
                        </a:lnTo>
                        <a:lnTo>
                          <a:pt x="334946" y="197721"/>
                        </a:lnTo>
                        <a:lnTo>
                          <a:pt x="334840" y="196294"/>
                        </a:lnTo>
                        <a:lnTo>
                          <a:pt x="335052" y="194412"/>
                        </a:lnTo>
                        <a:lnTo>
                          <a:pt x="336364" y="193132"/>
                        </a:lnTo>
                        <a:lnTo>
                          <a:pt x="342126" y="191641"/>
                        </a:lnTo>
                        <a:lnTo>
                          <a:pt x="342044" y="191258"/>
                        </a:lnTo>
                        <a:lnTo>
                          <a:pt x="337350" y="190166"/>
                        </a:lnTo>
                        <a:lnTo>
                          <a:pt x="335125" y="190288"/>
                        </a:lnTo>
                        <a:lnTo>
                          <a:pt x="333218" y="191511"/>
                        </a:lnTo>
                        <a:lnTo>
                          <a:pt x="330830" y="194404"/>
                        </a:lnTo>
                        <a:lnTo>
                          <a:pt x="329445" y="195219"/>
                        </a:lnTo>
                        <a:lnTo>
                          <a:pt x="325150" y="193524"/>
                        </a:lnTo>
                        <a:lnTo>
                          <a:pt x="322566" y="193263"/>
                        </a:lnTo>
                        <a:lnTo>
                          <a:pt x="320822" y="192456"/>
                        </a:lnTo>
                        <a:lnTo>
                          <a:pt x="319861" y="191674"/>
                        </a:lnTo>
                        <a:lnTo>
                          <a:pt x="320448" y="190875"/>
                        </a:lnTo>
                        <a:lnTo>
                          <a:pt x="322591" y="190060"/>
                        </a:lnTo>
                        <a:lnTo>
                          <a:pt x="326315" y="187566"/>
                        </a:lnTo>
                        <a:lnTo>
                          <a:pt x="326560" y="186221"/>
                        </a:lnTo>
                        <a:lnTo>
                          <a:pt x="323993" y="184021"/>
                        </a:lnTo>
                        <a:lnTo>
                          <a:pt x="322656" y="183516"/>
                        </a:lnTo>
                        <a:lnTo>
                          <a:pt x="317285" y="182684"/>
                        </a:lnTo>
                        <a:lnTo>
                          <a:pt x="310790" y="183508"/>
                        </a:lnTo>
                        <a:lnTo>
                          <a:pt x="308378" y="183092"/>
                        </a:lnTo>
                        <a:lnTo>
                          <a:pt x="307302" y="180647"/>
                        </a:lnTo>
                        <a:lnTo>
                          <a:pt x="306609" y="177746"/>
                        </a:lnTo>
                        <a:lnTo>
                          <a:pt x="306316" y="174355"/>
                        </a:lnTo>
                        <a:lnTo>
                          <a:pt x="305150" y="168585"/>
                        </a:lnTo>
                        <a:lnTo>
                          <a:pt x="303855" y="165554"/>
                        </a:lnTo>
                        <a:lnTo>
                          <a:pt x="302159" y="165171"/>
                        </a:lnTo>
                        <a:lnTo>
                          <a:pt x="294368" y="166418"/>
                        </a:lnTo>
                        <a:lnTo>
                          <a:pt x="292510" y="166434"/>
                        </a:lnTo>
                        <a:lnTo>
                          <a:pt x="291239" y="165969"/>
                        </a:lnTo>
                        <a:lnTo>
                          <a:pt x="286080" y="162106"/>
                        </a:lnTo>
                        <a:lnTo>
                          <a:pt x="283994" y="160729"/>
                        </a:lnTo>
                        <a:lnTo>
                          <a:pt x="282836" y="160411"/>
                        </a:lnTo>
                        <a:lnTo>
                          <a:pt x="279088" y="156287"/>
                        </a:lnTo>
                        <a:lnTo>
                          <a:pt x="277645" y="155489"/>
                        </a:lnTo>
                        <a:lnTo>
                          <a:pt x="275934" y="153459"/>
                        </a:lnTo>
                        <a:lnTo>
                          <a:pt x="273953" y="150183"/>
                        </a:lnTo>
                        <a:lnTo>
                          <a:pt x="271810" y="149181"/>
                        </a:lnTo>
                        <a:lnTo>
                          <a:pt x="269487" y="150452"/>
                        </a:lnTo>
                        <a:lnTo>
                          <a:pt x="267173" y="152278"/>
                        </a:lnTo>
                        <a:lnTo>
                          <a:pt x="264850" y="154649"/>
                        </a:lnTo>
                        <a:lnTo>
                          <a:pt x="263595" y="156646"/>
                        </a:lnTo>
                        <a:lnTo>
                          <a:pt x="263399" y="158284"/>
                        </a:lnTo>
                        <a:lnTo>
                          <a:pt x="264834" y="159564"/>
                        </a:lnTo>
                        <a:lnTo>
                          <a:pt x="273016" y="161666"/>
                        </a:lnTo>
                        <a:lnTo>
                          <a:pt x="275094" y="163084"/>
                        </a:lnTo>
                        <a:lnTo>
                          <a:pt x="276855" y="165399"/>
                        </a:lnTo>
                        <a:lnTo>
                          <a:pt x="278167" y="168235"/>
                        </a:lnTo>
                        <a:lnTo>
                          <a:pt x="279031" y="171585"/>
                        </a:lnTo>
                        <a:lnTo>
                          <a:pt x="278957" y="174086"/>
                        </a:lnTo>
                        <a:lnTo>
                          <a:pt x="277947" y="175749"/>
                        </a:lnTo>
                        <a:lnTo>
                          <a:pt x="276186" y="177216"/>
                        </a:lnTo>
                        <a:lnTo>
                          <a:pt x="271150" y="179547"/>
                        </a:lnTo>
                        <a:lnTo>
                          <a:pt x="265926" y="180900"/>
                        </a:lnTo>
                        <a:lnTo>
                          <a:pt x="260661" y="181226"/>
                        </a:lnTo>
                        <a:lnTo>
                          <a:pt x="258175" y="180908"/>
                        </a:lnTo>
                        <a:lnTo>
                          <a:pt x="244631" y="176393"/>
                        </a:lnTo>
                        <a:lnTo>
                          <a:pt x="242186" y="176352"/>
                        </a:lnTo>
                        <a:lnTo>
                          <a:pt x="239056" y="175749"/>
                        </a:lnTo>
                        <a:lnTo>
                          <a:pt x="232023" y="173883"/>
                        </a:lnTo>
                        <a:lnTo>
                          <a:pt x="228168" y="173679"/>
                        </a:lnTo>
                        <a:lnTo>
                          <a:pt x="221404" y="172139"/>
                        </a:lnTo>
                        <a:lnTo>
                          <a:pt x="209970" y="171250"/>
                        </a:lnTo>
                        <a:lnTo>
                          <a:pt x="207671" y="171984"/>
                        </a:lnTo>
                        <a:lnTo>
                          <a:pt x="210719" y="174070"/>
                        </a:lnTo>
                        <a:lnTo>
                          <a:pt x="213384" y="175113"/>
                        </a:lnTo>
                        <a:lnTo>
                          <a:pt x="215674" y="175130"/>
                        </a:lnTo>
                        <a:lnTo>
                          <a:pt x="218959" y="176980"/>
                        </a:lnTo>
                        <a:lnTo>
                          <a:pt x="223254" y="180671"/>
                        </a:lnTo>
                        <a:lnTo>
                          <a:pt x="225707" y="182872"/>
                        </a:lnTo>
                        <a:lnTo>
                          <a:pt x="227744" y="185496"/>
                        </a:lnTo>
                        <a:lnTo>
                          <a:pt x="227810" y="186401"/>
                        </a:lnTo>
                        <a:lnTo>
                          <a:pt x="225788" y="188194"/>
                        </a:lnTo>
                        <a:lnTo>
                          <a:pt x="209839" y="178764"/>
                        </a:lnTo>
                        <a:lnTo>
                          <a:pt x="200092" y="182057"/>
                        </a:lnTo>
                        <a:lnTo>
                          <a:pt x="195602" y="183287"/>
                        </a:lnTo>
                        <a:lnTo>
                          <a:pt x="191755" y="183483"/>
                        </a:lnTo>
                        <a:lnTo>
                          <a:pt x="186947" y="182187"/>
                        </a:lnTo>
                        <a:lnTo>
                          <a:pt x="176091" y="177632"/>
                        </a:lnTo>
                        <a:lnTo>
                          <a:pt x="171984" y="176042"/>
                        </a:lnTo>
                        <a:lnTo>
                          <a:pt x="170517" y="175806"/>
                        </a:lnTo>
                        <a:lnTo>
                          <a:pt x="161079" y="177778"/>
                        </a:lnTo>
                        <a:lnTo>
                          <a:pt x="152930" y="177876"/>
                        </a:lnTo>
                        <a:lnTo>
                          <a:pt x="136492" y="175977"/>
                        </a:lnTo>
                        <a:lnTo>
                          <a:pt x="130461" y="174714"/>
                        </a:lnTo>
                        <a:lnTo>
                          <a:pt x="128872" y="173386"/>
                        </a:lnTo>
                        <a:lnTo>
                          <a:pt x="126883" y="172725"/>
                        </a:lnTo>
                        <a:lnTo>
                          <a:pt x="123330" y="172725"/>
                        </a:lnTo>
                        <a:lnTo>
                          <a:pt x="113909" y="171242"/>
                        </a:lnTo>
                        <a:lnTo>
                          <a:pt x="105294" y="174567"/>
                        </a:lnTo>
                        <a:lnTo>
                          <a:pt x="94920" y="171519"/>
                        </a:lnTo>
                        <a:lnTo>
                          <a:pt x="91847" y="169718"/>
                        </a:lnTo>
                        <a:lnTo>
                          <a:pt x="90869" y="168488"/>
                        </a:lnTo>
                        <a:lnTo>
                          <a:pt x="87846" y="163312"/>
                        </a:lnTo>
                        <a:lnTo>
                          <a:pt x="87439" y="160550"/>
                        </a:lnTo>
                        <a:lnTo>
                          <a:pt x="88294" y="158040"/>
                        </a:lnTo>
                        <a:lnTo>
                          <a:pt x="89142" y="156328"/>
                        </a:lnTo>
                        <a:lnTo>
                          <a:pt x="89989" y="155391"/>
                        </a:lnTo>
                        <a:lnTo>
                          <a:pt x="84350" y="158268"/>
                        </a:lnTo>
                        <a:lnTo>
                          <a:pt x="82369" y="158740"/>
                        </a:lnTo>
                        <a:lnTo>
                          <a:pt x="79761" y="158846"/>
                        </a:lnTo>
                        <a:lnTo>
                          <a:pt x="71995" y="157779"/>
                        </a:lnTo>
                        <a:lnTo>
                          <a:pt x="70764" y="158325"/>
                        </a:lnTo>
                        <a:lnTo>
                          <a:pt x="71163" y="159335"/>
                        </a:lnTo>
                        <a:lnTo>
                          <a:pt x="73201" y="160794"/>
                        </a:lnTo>
                        <a:lnTo>
                          <a:pt x="73462" y="161674"/>
                        </a:lnTo>
                        <a:lnTo>
                          <a:pt x="69134" y="162367"/>
                        </a:lnTo>
                        <a:lnTo>
                          <a:pt x="62566" y="161650"/>
                        </a:lnTo>
                        <a:lnTo>
                          <a:pt x="59713" y="161960"/>
                        </a:lnTo>
                        <a:lnTo>
                          <a:pt x="58409" y="162359"/>
                        </a:lnTo>
                        <a:lnTo>
                          <a:pt x="55451" y="164674"/>
                        </a:lnTo>
                        <a:lnTo>
                          <a:pt x="54245" y="165187"/>
                        </a:lnTo>
                        <a:lnTo>
                          <a:pt x="52696" y="164959"/>
                        </a:lnTo>
                        <a:lnTo>
                          <a:pt x="45810" y="159727"/>
                        </a:lnTo>
                        <a:lnTo>
                          <a:pt x="40260" y="156418"/>
                        </a:lnTo>
                        <a:lnTo>
                          <a:pt x="33789" y="155146"/>
                        </a:lnTo>
                        <a:lnTo>
                          <a:pt x="30814" y="154079"/>
                        </a:lnTo>
                        <a:lnTo>
                          <a:pt x="29192" y="152808"/>
                        </a:lnTo>
                        <a:lnTo>
                          <a:pt x="20260" y="142156"/>
                        </a:lnTo>
                        <a:lnTo>
                          <a:pt x="19046" y="139866"/>
                        </a:lnTo>
                        <a:lnTo>
                          <a:pt x="16210" y="131496"/>
                        </a:lnTo>
                        <a:lnTo>
                          <a:pt x="15264" y="129703"/>
                        </a:lnTo>
                        <a:lnTo>
                          <a:pt x="14115" y="128529"/>
                        </a:lnTo>
                        <a:lnTo>
                          <a:pt x="16356" y="128285"/>
                        </a:lnTo>
                        <a:lnTo>
                          <a:pt x="24808" y="129304"/>
                        </a:lnTo>
                        <a:lnTo>
                          <a:pt x="32974" y="129255"/>
                        </a:lnTo>
                        <a:lnTo>
                          <a:pt x="37407" y="129939"/>
                        </a:lnTo>
                        <a:lnTo>
                          <a:pt x="42566" y="132034"/>
                        </a:lnTo>
                        <a:lnTo>
                          <a:pt x="49273" y="133517"/>
                        </a:lnTo>
                        <a:lnTo>
                          <a:pt x="54074" y="133827"/>
                        </a:lnTo>
                        <a:lnTo>
                          <a:pt x="61775" y="133273"/>
                        </a:lnTo>
                        <a:lnTo>
                          <a:pt x="70528" y="131879"/>
                        </a:lnTo>
                        <a:lnTo>
                          <a:pt x="71555" y="130795"/>
                        </a:lnTo>
                        <a:lnTo>
                          <a:pt x="65891" y="128929"/>
                        </a:lnTo>
                        <a:lnTo>
                          <a:pt x="60838" y="126459"/>
                        </a:lnTo>
                        <a:lnTo>
                          <a:pt x="56176" y="123248"/>
                        </a:lnTo>
                        <a:lnTo>
                          <a:pt x="53389" y="121887"/>
                        </a:lnTo>
                        <a:lnTo>
                          <a:pt x="48727" y="121040"/>
                        </a:lnTo>
                        <a:lnTo>
                          <a:pt x="35606" y="120445"/>
                        </a:lnTo>
                        <a:lnTo>
                          <a:pt x="23463" y="118293"/>
                        </a:lnTo>
                        <a:lnTo>
                          <a:pt x="15069" y="115376"/>
                        </a:lnTo>
                        <a:lnTo>
                          <a:pt x="8231" y="112140"/>
                        </a:lnTo>
                        <a:lnTo>
                          <a:pt x="5452" y="110372"/>
                        </a:lnTo>
                        <a:lnTo>
                          <a:pt x="4450" y="109011"/>
                        </a:lnTo>
                        <a:lnTo>
                          <a:pt x="3390" y="104765"/>
                        </a:lnTo>
                        <a:lnTo>
                          <a:pt x="2266" y="97609"/>
                        </a:lnTo>
                        <a:lnTo>
                          <a:pt x="1190" y="92809"/>
                        </a:lnTo>
                        <a:lnTo>
                          <a:pt x="139" y="90348"/>
                        </a:lnTo>
                        <a:lnTo>
                          <a:pt x="0" y="88213"/>
                        </a:lnTo>
                        <a:lnTo>
                          <a:pt x="2323" y="83616"/>
                        </a:lnTo>
                        <a:lnTo>
                          <a:pt x="8965" y="78629"/>
                        </a:lnTo>
                        <a:lnTo>
                          <a:pt x="9128" y="77846"/>
                        </a:lnTo>
                        <a:lnTo>
                          <a:pt x="7808" y="77610"/>
                        </a:lnTo>
                        <a:lnTo>
                          <a:pt x="5020" y="76347"/>
                        </a:lnTo>
                        <a:lnTo>
                          <a:pt x="4132" y="74489"/>
                        </a:lnTo>
                        <a:lnTo>
                          <a:pt x="3773" y="71538"/>
                        </a:lnTo>
                        <a:lnTo>
                          <a:pt x="3749" y="69028"/>
                        </a:lnTo>
                        <a:lnTo>
                          <a:pt x="4058" y="66974"/>
                        </a:lnTo>
                        <a:lnTo>
                          <a:pt x="5167" y="64399"/>
                        </a:lnTo>
                        <a:lnTo>
                          <a:pt x="8027" y="59786"/>
                        </a:lnTo>
                        <a:lnTo>
                          <a:pt x="12119" y="54171"/>
                        </a:lnTo>
                        <a:lnTo>
                          <a:pt x="16552" y="48882"/>
                        </a:lnTo>
                        <a:lnTo>
                          <a:pt x="17318" y="47163"/>
                        </a:lnTo>
                        <a:lnTo>
                          <a:pt x="17701" y="42468"/>
                        </a:lnTo>
                        <a:lnTo>
                          <a:pt x="18296" y="39045"/>
                        </a:lnTo>
                        <a:lnTo>
                          <a:pt x="18891" y="36633"/>
                        </a:lnTo>
                        <a:lnTo>
                          <a:pt x="19836" y="34816"/>
                        </a:lnTo>
                        <a:lnTo>
                          <a:pt x="22583" y="31385"/>
                        </a:lnTo>
                        <a:lnTo>
                          <a:pt x="26006" y="28108"/>
                        </a:lnTo>
                        <a:lnTo>
                          <a:pt x="31352" y="25321"/>
                        </a:lnTo>
                        <a:lnTo>
                          <a:pt x="31808" y="24294"/>
                        </a:lnTo>
                        <a:lnTo>
                          <a:pt x="31882" y="22868"/>
                        </a:lnTo>
                        <a:lnTo>
                          <a:pt x="32192" y="21792"/>
                        </a:lnTo>
                        <a:lnTo>
                          <a:pt x="32737" y="21092"/>
                        </a:lnTo>
                        <a:lnTo>
                          <a:pt x="46013" y="12143"/>
                        </a:lnTo>
                        <a:lnTo>
                          <a:pt x="52052" y="8492"/>
                        </a:lnTo>
                        <a:lnTo>
                          <a:pt x="57178" y="6169"/>
                        </a:lnTo>
                        <a:lnTo>
                          <a:pt x="63315" y="4466"/>
                        </a:lnTo>
                        <a:lnTo>
                          <a:pt x="80764" y="978"/>
                        </a:lnTo>
                        <a:lnTo>
                          <a:pt x="89753" y="0"/>
                        </a:lnTo>
                        <a:lnTo>
                          <a:pt x="101057" y="220"/>
                        </a:lnTo>
                        <a:lnTo>
                          <a:pt x="121896" y="2192"/>
                        </a:lnTo>
                        <a:lnTo>
                          <a:pt x="124406" y="3570"/>
                        </a:lnTo>
                        <a:lnTo>
                          <a:pt x="125041" y="4262"/>
                        </a:lnTo>
                        <a:lnTo>
                          <a:pt x="125954" y="6235"/>
                        </a:lnTo>
                        <a:lnTo>
                          <a:pt x="125270" y="7490"/>
                        </a:lnTo>
                        <a:lnTo>
                          <a:pt x="119573" y="11752"/>
                        </a:lnTo>
                        <a:lnTo>
                          <a:pt x="112401" y="15297"/>
                        </a:lnTo>
                        <a:lnTo>
                          <a:pt x="107723" y="18378"/>
                        </a:lnTo>
                        <a:lnTo>
                          <a:pt x="99826" y="25313"/>
                        </a:lnTo>
                        <a:lnTo>
                          <a:pt x="97691" y="27750"/>
                        </a:lnTo>
                        <a:lnTo>
                          <a:pt x="87895" y="41670"/>
                        </a:lnTo>
                        <a:lnTo>
                          <a:pt x="85580" y="43968"/>
                        </a:lnTo>
                        <a:lnTo>
                          <a:pt x="84219" y="45810"/>
                        </a:lnTo>
                        <a:lnTo>
                          <a:pt x="83266" y="50814"/>
                        </a:lnTo>
                        <a:lnTo>
                          <a:pt x="83559" y="52590"/>
                        </a:lnTo>
                        <a:lnTo>
                          <a:pt x="85083" y="55492"/>
                        </a:lnTo>
                        <a:lnTo>
                          <a:pt x="90397" y="61783"/>
                        </a:lnTo>
                        <a:lnTo>
                          <a:pt x="91831" y="64717"/>
                        </a:lnTo>
                        <a:lnTo>
                          <a:pt x="91799" y="67423"/>
                        </a:lnTo>
                        <a:lnTo>
                          <a:pt x="91204" y="73853"/>
                        </a:lnTo>
                        <a:lnTo>
                          <a:pt x="91130" y="77096"/>
                        </a:lnTo>
                        <a:lnTo>
                          <a:pt x="91367" y="80226"/>
                        </a:lnTo>
                        <a:lnTo>
                          <a:pt x="92467" y="84692"/>
                        </a:lnTo>
                        <a:lnTo>
                          <a:pt x="94415" y="90478"/>
                        </a:lnTo>
                        <a:lnTo>
                          <a:pt x="98938" y="96330"/>
                        </a:lnTo>
                        <a:lnTo>
                          <a:pt x="106036" y="102230"/>
                        </a:lnTo>
                        <a:lnTo>
                          <a:pt x="111317" y="106142"/>
                        </a:lnTo>
                        <a:lnTo>
                          <a:pt x="116517" y="109019"/>
                        </a:lnTo>
                        <a:lnTo>
                          <a:pt x="122678" y="113273"/>
                        </a:lnTo>
                        <a:lnTo>
                          <a:pt x="124055" y="115327"/>
                        </a:lnTo>
                        <a:lnTo>
                          <a:pt x="121227" y="117584"/>
                        </a:lnTo>
                        <a:lnTo>
                          <a:pt x="114577" y="121064"/>
                        </a:lnTo>
                        <a:lnTo>
                          <a:pt x="105857" y="122556"/>
                        </a:lnTo>
                        <a:lnTo>
                          <a:pt x="101187" y="123957"/>
                        </a:lnTo>
                        <a:lnTo>
                          <a:pt x="95385" y="126981"/>
                        </a:lnTo>
                        <a:lnTo>
                          <a:pt x="88099" y="129385"/>
                        </a:lnTo>
                        <a:close/>
                      </a:path>
                    </a:pathLst>
                  </a:custGeom>
                  <a:solidFill>
                    <a:srgbClr val="D6D6D2"/>
                  </a:solidFill>
                  <a:ln w="8150" cap="flat">
                    <a:noFill/>
                    <a:prstDash val="solid"/>
                    <a:miter/>
                  </a:ln>
                </p:spPr>
                <p:txBody>
                  <a:bodyPr rtlCol="0" anchor="ctr"/>
                  <a:lstStyle/>
                  <a:p>
                    <a:endParaRPr lang="en-US"/>
                  </a:p>
                </p:txBody>
              </p:sp>
              <p:sp>
                <p:nvSpPr>
                  <p:cNvPr id="535" name="Freeform: Shape 534">
                    <a:extLst>
                      <a:ext uri="{FF2B5EF4-FFF2-40B4-BE49-F238E27FC236}">
                        <a16:creationId xmlns:a16="http://schemas.microsoft.com/office/drawing/2014/main" id="{BAF2185E-F695-45FE-839C-FAB049155930}"/>
                      </a:ext>
                    </a:extLst>
                  </p:cNvPr>
                  <p:cNvSpPr/>
                  <p:nvPr/>
                </p:nvSpPr>
                <p:spPr>
                  <a:xfrm>
                    <a:off x="3938097" y="1950151"/>
                    <a:ext cx="118326" cy="47015"/>
                  </a:xfrm>
                  <a:custGeom>
                    <a:avLst/>
                    <a:gdLst>
                      <a:gd name="connsiteX0" fmla="*/ 32827 w 118326"/>
                      <a:gd name="connsiteY0" fmla="*/ 5273 h 47015"/>
                      <a:gd name="connsiteX1" fmla="*/ 37057 w 118326"/>
                      <a:gd name="connsiteY1" fmla="*/ 5892 h 47015"/>
                      <a:gd name="connsiteX2" fmla="*/ 63853 w 118326"/>
                      <a:gd name="connsiteY2" fmla="*/ 4743 h 47015"/>
                      <a:gd name="connsiteX3" fmla="*/ 69395 w 118326"/>
                      <a:gd name="connsiteY3" fmla="*/ 5599 h 47015"/>
                      <a:gd name="connsiteX4" fmla="*/ 86281 w 118326"/>
                      <a:gd name="connsiteY4" fmla="*/ 10774 h 47015"/>
                      <a:gd name="connsiteX5" fmla="*/ 90633 w 118326"/>
                      <a:gd name="connsiteY5" fmla="*/ 12518 h 47015"/>
                      <a:gd name="connsiteX6" fmla="*/ 92793 w 118326"/>
                      <a:gd name="connsiteY6" fmla="*/ 14800 h 47015"/>
                      <a:gd name="connsiteX7" fmla="*/ 94733 w 118326"/>
                      <a:gd name="connsiteY7" fmla="*/ 18402 h 47015"/>
                      <a:gd name="connsiteX8" fmla="*/ 95629 w 118326"/>
                      <a:gd name="connsiteY8" fmla="*/ 19193 h 47015"/>
                      <a:gd name="connsiteX9" fmla="*/ 101750 w 118326"/>
                      <a:gd name="connsiteY9" fmla="*/ 21336 h 47015"/>
                      <a:gd name="connsiteX10" fmla="*/ 104260 w 118326"/>
                      <a:gd name="connsiteY10" fmla="*/ 23936 h 47015"/>
                      <a:gd name="connsiteX11" fmla="*/ 105148 w 118326"/>
                      <a:gd name="connsiteY11" fmla="*/ 25272 h 47015"/>
                      <a:gd name="connsiteX12" fmla="*/ 106428 w 118326"/>
                      <a:gd name="connsiteY12" fmla="*/ 28345 h 47015"/>
                      <a:gd name="connsiteX13" fmla="*/ 109190 w 118326"/>
                      <a:gd name="connsiteY13" fmla="*/ 30081 h 47015"/>
                      <a:gd name="connsiteX14" fmla="*/ 112344 w 118326"/>
                      <a:gd name="connsiteY14" fmla="*/ 31067 h 47015"/>
                      <a:gd name="connsiteX15" fmla="*/ 113379 w 118326"/>
                      <a:gd name="connsiteY15" fmla="*/ 31971 h 47015"/>
                      <a:gd name="connsiteX16" fmla="*/ 112882 w 118326"/>
                      <a:gd name="connsiteY16" fmla="*/ 35826 h 47015"/>
                      <a:gd name="connsiteX17" fmla="*/ 114227 w 118326"/>
                      <a:gd name="connsiteY17" fmla="*/ 37619 h 47015"/>
                      <a:gd name="connsiteX18" fmla="*/ 117210 w 118326"/>
                      <a:gd name="connsiteY18" fmla="*/ 39787 h 47015"/>
                      <a:gd name="connsiteX19" fmla="*/ 118326 w 118326"/>
                      <a:gd name="connsiteY19" fmla="*/ 41221 h 47015"/>
                      <a:gd name="connsiteX20" fmla="*/ 116012 w 118326"/>
                      <a:gd name="connsiteY20" fmla="*/ 42990 h 47015"/>
                      <a:gd name="connsiteX21" fmla="*/ 110625 w 118326"/>
                      <a:gd name="connsiteY21" fmla="*/ 44033 h 47015"/>
                      <a:gd name="connsiteX22" fmla="*/ 95417 w 118326"/>
                      <a:gd name="connsiteY22" fmla="*/ 42949 h 47015"/>
                      <a:gd name="connsiteX23" fmla="*/ 75027 w 118326"/>
                      <a:gd name="connsiteY23" fmla="*/ 40504 h 47015"/>
                      <a:gd name="connsiteX24" fmla="*/ 63160 w 118326"/>
                      <a:gd name="connsiteY24" fmla="*/ 41205 h 47015"/>
                      <a:gd name="connsiteX25" fmla="*/ 57211 w 118326"/>
                      <a:gd name="connsiteY25" fmla="*/ 42313 h 47015"/>
                      <a:gd name="connsiteX26" fmla="*/ 42827 w 118326"/>
                      <a:gd name="connsiteY26" fmla="*/ 46290 h 47015"/>
                      <a:gd name="connsiteX27" fmla="*/ 38239 w 118326"/>
                      <a:gd name="connsiteY27" fmla="*/ 46942 h 47015"/>
                      <a:gd name="connsiteX28" fmla="*/ 33740 w 118326"/>
                      <a:gd name="connsiteY28" fmla="*/ 47016 h 47015"/>
                      <a:gd name="connsiteX29" fmla="*/ 25794 w 118326"/>
                      <a:gd name="connsiteY29" fmla="*/ 43764 h 47015"/>
                      <a:gd name="connsiteX30" fmla="*/ 22917 w 118326"/>
                      <a:gd name="connsiteY30" fmla="*/ 42044 h 47015"/>
                      <a:gd name="connsiteX31" fmla="*/ 21964 w 118326"/>
                      <a:gd name="connsiteY31" fmla="*/ 40708 h 47015"/>
                      <a:gd name="connsiteX32" fmla="*/ 20073 w 118326"/>
                      <a:gd name="connsiteY32" fmla="*/ 36796 h 47015"/>
                      <a:gd name="connsiteX33" fmla="*/ 18516 w 118326"/>
                      <a:gd name="connsiteY33" fmla="*/ 32102 h 47015"/>
                      <a:gd name="connsiteX34" fmla="*/ 17718 w 118326"/>
                      <a:gd name="connsiteY34" fmla="*/ 28247 h 47015"/>
                      <a:gd name="connsiteX35" fmla="*/ 16805 w 118326"/>
                      <a:gd name="connsiteY35" fmla="*/ 25305 h 47015"/>
                      <a:gd name="connsiteX36" fmla="*/ 14091 w 118326"/>
                      <a:gd name="connsiteY36" fmla="*/ 24335 h 47015"/>
                      <a:gd name="connsiteX37" fmla="*/ 6023 w 118326"/>
                      <a:gd name="connsiteY37" fmla="*/ 23162 h 47015"/>
                      <a:gd name="connsiteX38" fmla="*/ 3325 w 118326"/>
                      <a:gd name="connsiteY38" fmla="*/ 21548 h 47015"/>
                      <a:gd name="connsiteX39" fmla="*/ 2095 w 118326"/>
                      <a:gd name="connsiteY39" fmla="*/ 20211 h 47015"/>
                      <a:gd name="connsiteX40" fmla="*/ 913 w 118326"/>
                      <a:gd name="connsiteY40" fmla="*/ 18052 h 47015"/>
                      <a:gd name="connsiteX41" fmla="*/ 937 w 118326"/>
                      <a:gd name="connsiteY41" fmla="*/ 15794 h 47015"/>
                      <a:gd name="connsiteX42" fmla="*/ 1557 w 118326"/>
                      <a:gd name="connsiteY42" fmla="*/ 13814 h 47015"/>
                      <a:gd name="connsiteX43" fmla="*/ 2078 w 118326"/>
                      <a:gd name="connsiteY43" fmla="*/ 13325 h 47015"/>
                      <a:gd name="connsiteX44" fmla="*/ 3105 w 118326"/>
                      <a:gd name="connsiteY44" fmla="*/ 13276 h 47015"/>
                      <a:gd name="connsiteX45" fmla="*/ 840 w 118326"/>
                      <a:gd name="connsiteY45" fmla="*/ 10872 h 47015"/>
                      <a:gd name="connsiteX46" fmla="*/ 57 w 118326"/>
                      <a:gd name="connsiteY46" fmla="*/ 8223 h 47015"/>
                      <a:gd name="connsiteX47" fmla="*/ 0 w 118326"/>
                      <a:gd name="connsiteY47" fmla="*/ 4531 h 47015"/>
                      <a:gd name="connsiteX48" fmla="*/ 302 w 118326"/>
                      <a:gd name="connsiteY48" fmla="*/ 2160 h 47015"/>
                      <a:gd name="connsiteX49" fmla="*/ 946 w 118326"/>
                      <a:gd name="connsiteY49" fmla="*/ 1117 h 47015"/>
                      <a:gd name="connsiteX50" fmla="*/ 2437 w 118326"/>
                      <a:gd name="connsiteY50" fmla="*/ 448 h 47015"/>
                      <a:gd name="connsiteX51" fmla="*/ 5941 w 118326"/>
                      <a:gd name="connsiteY51" fmla="*/ 0 h 47015"/>
                      <a:gd name="connsiteX52" fmla="*/ 11125 w 118326"/>
                      <a:gd name="connsiteY52" fmla="*/ 90 h 47015"/>
                      <a:gd name="connsiteX53" fmla="*/ 18369 w 118326"/>
                      <a:gd name="connsiteY53" fmla="*/ 2820 h 47015"/>
                      <a:gd name="connsiteX54" fmla="*/ 24099 w 118326"/>
                      <a:gd name="connsiteY54" fmla="*/ 3081 h 47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18326" h="47015">
                        <a:moveTo>
                          <a:pt x="32827" y="5273"/>
                        </a:moveTo>
                        <a:lnTo>
                          <a:pt x="37057" y="5892"/>
                        </a:lnTo>
                        <a:lnTo>
                          <a:pt x="63853" y="4743"/>
                        </a:lnTo>
                        <a:lnTo>
                          <a:pt x="69395" y="5599"/>
                        </a:lnTo>
                        <a:lnTo>
                          <a:pt x="86281" y="10774"/>
                        </a:lnTo>
                        <a:lnTo>
                          <a:pt x="90633" y="12518"/>
                        </a:lnTo>
                        <a:lnTo>
                          <a:pt x="92793" y="14800"/>
                        </a:lnTo>
                        <a:lnTo>
                          <a:pt x="94733" y="18402"/>
                        </a:lnTo>
                        <a:lnTo>
                          <a:pt x="95629" y="19193"/>
                        </a:lnTo>
                        <a:lnTo>
                          <a:pt x="101750" y="21336"/>
                        </a:lnTo>
                        <a:lnTo>
                          <a:pt x="104260" y="23936"/>
                        </a:lnTo>
                        <a:lnTo>
                          <a:pt x="105148" y="25272"/>
                        </a:lnTo>
                        <a:lnTo>
                          <a:pt x="106428" y="28345"/>
                        </a:lnTo>
                        <a:lnTo>
                          <a:pt x="109190" y="30081"/>
                        </a:lnTo>
                        <a:lnTo>
                          <a:pt x="112344" y="31067"/>
                        </a:lnTo>
                        <a:lnTo>
                          <a:pt x="113379" y="31971"/>
                        </a:lnTo>
                        <a:lnTo>
                          <a:pt x="112882" y="35826"/>
                        </a:lnTo>
                        <a:lnTo>
                          <a:pt x="114227" y="37619"/>
                        </a:lnTo>
                        <a:lnTo>
                          <a:pt x="117210" y="39787"/>
                        </a:lnTo>
                        <a:lnTo>
                          <a:pt x="118326" y="41221"/>
                        </a:lnTo>
                        <a:lnTo>
                          <a:pt x="116012" y="42990"/>
                        </a:lnTo>
                        <a:lnTo>
                          <a:pt x="110625" y="44033"/>
                        </a:lnTo>
                        <a:lnTo>
                          <a:pt x="95417" y="42949"/>
                        </a:lnTo>
                        <a:lnTo>
                          <a:pt x="75027" y="40504"/>
                        </a:lnTo>
                        <a:lnTo>
                          <a:pt x="63160" y="41205"/>
                        </a:lnTo>
                        <a:lnTo>
                          <a:pt x="57211" y="42313"/>
                        </a:lnTo>
                        <a:lnTo>
                          <a:pt x="42827" y="46290"/>
                        </a:lnTo>
                        <a:lnTo>
                          <a:pt x="38239" y="46942"/>
                        </a:lnTo>
                        <a:lnTo>
                          <a:pt x="33740" y="47016"/>
                        </a:lnTo>
                        <a:lnTo>
                          <a:pt x="25794" y="43764"/>
                        </a:lnTo>
                        <a:lnTo>
                          <a:pt x="22917" y="42044"/>
                        </a:lnTo>
                        <a:lnTo>
                          <a:pt x="21964" y="40708"/>
                        </a:lnTo>
                        <a:lnTo>
                          <a:pt x="20073" y="36796"/>
                        </a:lnTo>
                        <a:lnTo>
                          <a:pt x="18516" y="32102"/>
                        </a:lnTo>
                        <a:lnTo>
                          <a:pt x="17718" y="28247"/>
                        </a:lnTo>
                        <a:lnTo>
                          <a:pt x="16805" y="25305"/>
                        </a:lnTo>
                        <a:lnTo>
                          <a:pt x="14091" y="24335"/>
                        </a:lnTo>
                        <a:lnTo>
                          <a:pt x="6023" y="23162"/>
                        </a:lnTo>
                        <a:lnTo>
                          <a:pt x="3325" y="21548"/>
                        </a:lnTo>
                        <a:lnTo>
                          <a:pt x="2095" y="20211"/>
                        </a:lnTo>
                        <a:lnTo>
                          <a:pt x="913" y="18052"/>
                        </a:lnTo>
                        <a:lnTo>
                          <a:pt x="937" y="15794"/>
                        </a:lnTo>
                        <a:lnTo>
                          <a:pt x="1557" y="13814"/>
                        </a:lnTo>
                        <a:lnTo>
                          <a:pt x="2078" y="13325"/>
                        </a:lnTo>
                        <a:lnTo>
                          <a:pt x="3105" y="13276"/>
                        </a:lnTo>
                        <a:lnTo>
                          <a:pt x="840" y="10872"/>
                        </a:lnTo>
                        <a:lnTo>
                          <a:pt x="57" y="8223"/>
                        </a:lnTo>
                        <a:lnTo>
                          <a:pt x="0" y="4531"/>
                        </a:lnTo>
                        <a:lnTo>
                          <a:pt x="302" y="2160"/>
                        </a:lnTo>
                        <a:lnTo>
                          <a:pt x="946" y="1117"/>
                        </a:lnTo>
                        <a:lnTo>
                          <a:pt x="2437" y="448"/>
                        </a:lnTo>
                        <a:lnTo>
                          <a:pt x="5941" y="0"/>
                        </a:lnTo>
                        <a:lnTo>
                          <a:pt x="11125" y="90"/>
                        </a:lnTo>
                        <a:lnTo>
                          <a:pt x="18369" y="2820"/>
                        </a:lnTo>
                        <a:lnTo>
                          <a:pt x="24099" y="3081"/>
                        </a:lnTo>
                        <a:close/>
                      </a:path>
                    </a:pathLst>
                  </a:custGeom>
                  <a:solidFill>
                    <a:srgbClr val="D6D6D2"/>
                  </a:solidFill>
                  <a:ln w="8150" cap="flat">
                    <a:noFill/>
                    <a:prstDash val="solid"/>
                    <a:miter/>
                  </a:ln>
                </p:spPr>
                <p:txBody>
                  <a:bodyPr rtlCol="0" anchor="ctr"/>
                  <a:lstStyle/>
                  <a:p>
                    <a:endParaRPr lang="en-US"/>
                  </a:p>
                </p:txBody>
              </p:sp>
              <p:sp>
                <p:nvSpPr>
                  <p:cNvPr id="536" name="Freeform: Shape 535">
                    <a:extLst>
                      <a:ext uri="{FF2B5EF4-FFF2-40B4-BE49-F238E27FC236}">
                        <a16:creationId xmlns:a16="http://schemas.microsoft.com/office/drawing/2014/main" id="{04A6814A-84BA-496A-9D43-0E9AC3B6515A}"/>
                      </a:ext>
                    </a:extLst>
                  </p:cNvPr>
                  <p:cNvSpPr/>
                  <p:nvPr/>
                </p:nvSpPr>
                <p:spPr>
                  <a:xfrm>
                    <a:off x="3291033" y="1950159"/>
                    <a:ext cx="59460" cy="39664"/>
                  </a:xfrm>
                  <a:custGeom>
                    <a:avLst/>
                    <a:gdLst>
                      <a:gd name="connsiteX0" fmla="*/ 41189 w 59460"/>
                      <a:gd name="connsiteY0" fmla="*/ 39428 h 39664"/>
                      <a:gd name="connsiteX1" fmla="*/ 39942 w 59460"/>
                      <a:gd name="connsiteY1" fmla="*/ 39665 h 39664"/>
                      <a:gd name="connsiteX2" fmla="*/ 37595 w 59460"/>
                      <a:gd name="connsiteY2" fmla="*/ 38589 h 39664"/>
                      <a:gd name="connsiteX3" fmla="*/ 34147 w 59460"/>
                      <a:gd name="connsiteY3" fmla="*/ 36217 h 39664"/>
                      <a:gd name="connsiteX4" fmla="*/ 28508 w 59460"/>
                      <a:gd name="connsiteY4" fmla="*/ 31393 h 39664"/>
                      <a:gd name="connsiteX5" fmla="*/ 21792 w 59460"/>
                      <a:gd name="connsiteY5" fmla="*/ 26609 h 39664"/>
                      <a:gd name="connsiteX6" fmla="*/ 20766 w 59460"/>
                      <a:gd name="connsiteY6" fmla="*/ 23740 h 39664"/>
                      <a:gd name="connsiteX7" fmla="*/ 19095 w 59460"/>
                      <a:gd name="connsiteY7" fmla="*/ 21605 h 39664"/>
                      <a:gd name="connsiteX8" fmla="*/ 10513 w 59460"/>
                      <a:gd name="connsiteY8" fmla="*/ 16511 h 39664"/>
                      <a:gd name="connsiteX9" fmla="*/ 4947 w 59460"/>
                      <a:gd name="connsiteY9" fmla="*/ 14449 h 39664"/>
                      <a:gd name="connsiteX10" fmla="*/ 701 w 59460"/>
                      <a:gd name="connsiteY10" fmla="*/ 13423 h 39664"/>
                      <a:gd name="connsiteX11" fmla="*/ 0 w 59460"/>
                      <a:gd name="connsiteY11" fmla="*/ 11996 h 39664"/>
                      <a:gd name="connsiteX12" fmla="*/ 2950 w 59460"/>
                      <a:gd name="connsiteY12" fmla="*/ 7856 h 39664"/>
                      <a:gd name="connsiteX13" fmla="*/ 6324 w 59460"/>
                      <a:gd name="connsiteY13" fmla="*/ 4548 h 39664"/>
                      <a:gd name="connsiteX14" fmla="*/ 8329 w 59460"/>
                      <a:gd name="connsiteY14" fmla="*/ 3341 h 39664"/>
                      <a:gd name="connsiteX15" fmla="*/ 14572 w 59460"/>
                      <a:gd name="connsiteY15" fmla="*/ 2274 h 39664"/>
                      <a:gd name="connsiteX16" fmla="*/ 35655 w 59460"/>
                      <a:gd name="connsiteY16" fmla="*/ 65 h 39664"/>
                      <a:gd name="connsiteX17" fmla="*/ 40480 w 59460"/>
                      <a:gd name="connsiteY17" fmla="*/ 0 h 39664"/>
                      <a:gd name="connsiteX18" fmla="*/ 45524 w 59460"/>
                      <a:gd name="connsiteY18" fmla="*/ 1059 h 39664"/>
                      <a:gd name="connsiteX19" fmla="*/ 52460 w 59460"/>
                      <a:gd name="connsiteY19" fmla="*/ 5607 h 39664"/>
                      <a:gd name="connsiteX20" fmla="*/ 55345 w 59460"/>
                      <a:gd name="connsiteY20" fmla="*/ 6112 h 39664"/>
                      <a:gd name="connsiteX21" fmla="*/ 57073 w 59460"/>
                      <a:gd name="connsiteY21" fmla="*/ 7139 h 39664"/>
                      <a:gd name="connsiteX22" fmla="*/ 58588 w 59460"/>
                      <a:gd name="connsiteY22" fmla="*/ 8834 h 39664"/>
                      <a:gd name="connsiteX23" fmla="*/ 59395 w 59460"/>
                      <a:gd name="connsiteY23" fmla="*/ 10562 h 39664"/>
                      <a:gd name="connsiteX24" fmla="*/ 59460 w 59460"/>
                      <a:gd name="connsiteY24" fmla="*/ 14083 h 39664"/>
                      <a:gd name="connsiteX25" fmla="*/ 58703 w 59460"/>
                      <a:gd name="connsiteY25" fmla="*/ 19290 h 39664"/>
                      <a:gd name="connsiteX26" fmla="*/ 57741 w 59460"/>
                      <a:gd name="connsiteY26" fmla="*/ 21271 h 39664"/>
                      <a:gd name="connsiteX27" fmla="*/ 53544 w 59460"/>
                      <a:gd name="connsiteY27" fmla="*/ 27945 h 39664"/>
                      <a:gd name="connsiteX28" fmla="*/ 49135 w 59460"/>
                      <a:gd name="connsiteY28" fmla="*/ 31605 h 39664"/>
                      <a:gd name="connsiteX29" fmla="*/ 48295 w 59460"/>
                      <a:gd name="connsiteY29" fmla="*/ 33976 h 39664"/>
                      <a:gd name="connsiteX30" fmla="*/ 46511 w 59460"/>
                      <a:gd name="connsiteY30" fmla="*/ 35859 h 39664"/>
                      <a:gd name="connsiteX31" fmla="*/ 43381 w 59460"/>
                      <a:gd name="connsiteY31" fmla="*/ 38157 h 3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9460" h="39664">
                        <a:moveTo>
                          <a:pt x="41189" y="39428"/>
                        </a:moveTo>
                        <a:lnTo>
                          <a:pt x="39942" y="39665"/>
                        </a:lnTo>
                        <a:lnTo>
                          <a:pt x="37595" y="38589"/>
                        </a:lnTo>
                        <a:lnTo>
                          <a:pt x="34147" y="36217"/>
                        </a:lnTo>
                        <a:lnTo>
                          <a:pt x="28508" y="31393"/>
                        </a:lnTo>
                        <a:lnTo>
                          <a:pt x="21792" y="26609"/>
                        </a:lnTo>
                        <a:lnTo>
                          <a:pt x="20766" y="23740"/>
                        </a:lnTo>
                        <a:lnTo>
                          <a:pt x="19095" y="21605"/>
                        </a:lnTo>
                        <a:lnTo>
                          <a:pt x="10513" y="16511"/>
                        </a:lnTo>
                        <a:lnTo>
                          <a:pt x="4947" y="14449"/>
                        </a:lnTo>
                        <a:lnTo>
                          <a:pt x="701" y="13423"/>
                        </a:lnTo>
                        <a:lnTo>
                          <a:pt x="0" y="11996"/>
                        </a:lnTo>
                        <a:lnTo>
                          <a:pt x="2950" y="7856"/>
                        </a:lnTo>
                        <a:lnTo>
                          <a:pt x="6324" y="4548"/>
                        </a:lnTo>
                        <a:lnTo>
                          <a:pt x="8329" y="3341"/>
                        </a:lnTo>
                        <a:lnTo>
                          <a:pt x="14572" y="2274"/>
                        </a:lnTo>
                        <a:lnTo>
                          <a:pt x="35655" y="65"/>
                        </a:lnTo>
                        <a:lnTo>
                          <a:pt x="40480" y="0"/>
                        </a:lnTo>
                        <a:lnTo>
                          <a:pt x="45524" y="1059"/>
                        </a:lnTo>
                        <a:lnTo>
                          <a:pt x="52460" y="5607"/>
                        </a:lnTo>
                        <a:lnTo>
                          <a:pt x="55345" y="6112"/>
                        </a:lnTo>
                        <a:lnTo>
                          <a:pt x="57073" y="7139"/>
                        </a:lnTo>
                        <a:lnTo>
                          <a:pt x="58588" y="8834"/>
                        </a:lnTo>
                        <a:lnTo>
                          <a:pt x="59395" y="10562"/>
                        </a:lnTo>
                        <a:lnTo>
                          <a:pt x="59460" y="14083"/>
                        </a:lnTo>
                        <a:lnTo>
                          <a:pt x="58703" y="19290"/>
                        </a:lnTo>
                        <a:lnTo>
                          <a:pt x="57741" y="21271"/>
                        </a:lnTo>
                        <a:lnTo>
                          <a:pt x="53544" y="27945"/>
                        </a:lnTo>
                        <a:lnTo>
                          <a:pt x="49135" y="31605"/>
                        </a:lnTo>
                        <a:lnTo>
                          <a:pt x="48295" y="33976"/>
                        </a:lnTo>
                        <a:lnTo>
                          <a:pt x="46511" y="35859"/>
                        </a:lnTo>
                        <a:lnTo>
                          <a:pt x="43381" y="38157"/>
                        </a:lnTo>
                        <a:close/>
                      </a:path>
                    </a:pathLst>
                  </a:custGeom>
                  <a:solidFill>
                    <a:srgbClr val="D6D6D2"/>
                  </a:solidFill>
                  <a:ln w="6112" cap="rnd">
                    <a:solidFill>
                      <a:srgbClr val="FFFFFF"/>
                    </a:solidFill>
                    <a:prstDash val="solid"/>
                    <a:round/>
                  </a:ln>
                </p:spPr>
                <p:txBody>
                  <a:bodyPr rtlCol="0" anchor="ctr"/>
                  <a:lstStyle/>
                  <a:p>
                    <a:endParaRPr lang="en-US"/>
                  </a:p>
                </p:txBody>
              </p:sp>
              <p:sp>
                <p:nvSpPr>
                  <p:cNvPr id="537" name="Freeform: Shape 536">
                    <a:extLst>
                      <a:ext uri="{FF2B5EF4-FFF2-40B4-BE49-F238E27FC236}">
                        <a16:creationId xmlns:a16="http://schemas.microsoft.com/office/drawing/2014/main" id="{766E635C-DBCF-46B4-BFBC-2BE5033EAB9B}"/>
                      </a:ext>
                    </a:extLst>
                  </p:cNvPr>
                  <p:cNvSpPr/>
                  <p:nvPr/>
                </p:nvSpPr>
                <p:spPr>
                  <a:xfrm>
                    <a:off x="3039891" y="1969686"/>
                    <a:ext cx="401048" cy="219904"/>
                  </a:xfrm>
                  <a:custGeom>
                    <a:avLst/>
                    <a:gdLst>
                      <a:gd name="connsiteX0" fmla="*/ 237589 w 401048"/>
                      <a:gd name="connsiteY0" fmla="*/ 2812 h 219904"/>
                      <a:gd name="connsiteX1" fmla="*/ 247084 w 401048"/>
                      <a:gd name="connsiteY1" fmla="*/ 7286 h 219904"/>
                      <a:gd name="connsiteX2" fmla="*/ 248053 w 401048"/>
                      <a:gd name="connsiteY2" fmla="*/ 7041 h 219904"/>
                      <a:gd name="connsiteX3" fmla="*/ 249088 w 401048"/>
                      <a:gd name="connsiteY3" fmla="*/ 4816 h 219904"/>
                      <a:gd name="connsiteX4" fmla="*/ 251118 w 401048"/>
                      <a:gd name="connsiteY4" fmla="*/ 3382 h 219904"/>
                      <a:gd name="connsiteX5" fmla="*/ 254157 w 401048"/>
                      <a:gd name="connsiteY5" fmla="*/ 3847 h 219904"/>
                      <a:gd name="connsiteX6" fmla="*/ 262739 w 401048"/>
                      <a:gd name="connsiteY6" fmla="*/ 7090 h 219904"/>
                      <a:gd name="connsiteX7" fmla="*/ 272674 w 401048"/>
                      <a:gd name="connsiteY7" fmla="*/ 12860 h 219904"/>
                      <a:gd name="connsiteX8" fmla="*/ 279340 w 401048"/>
                      <a:gd name="connsiteY8" fmla="*/ 15696 h 219904"/>
                      <a:gd name="connsiteX9" fmla="*/ 284018 w 401048"/>
                      <a:gd name="connsiteY9" fmla="*/ 19551 h 219904"/>
                      <a:gd name="connsiteX10" fmla="*/ 287205 w 401048"/>
                      <a:gd name="connsiteY10" fmla="*/ 23186 h 219904"/>
                      <a:gd name="connsiteX11" fmla="*/ 289201 w 401048"/>
                      <a:gd name="connsiteY11" fmla="*/ 25981 h 219904"/>
                      <a:gd name="connsiteX12" fmla="*/ 289291 w 401048"/>
                      <a:gd name="connsiteY12" fmla="*/ 27082 h 219904"/>
                      <a:gd name="connsiteX13" fmla="*/ 288835 w 401048"/>
                      <a:gd name="connsiteY13" fmla="*/ 28206 h 219904"/>
                      <a:gd name="connsiteX14" fmla="*/ 289307 w 401048"/>
                      <a:gd name="connsiteY14" fmla="*/ 29665 h 219904"/>
                      <a:gd name="connsiteX15" fmla="*/ 290709 w 401048"/>
                      <a:gd name="connsiteY15" fmla="*/ 31466 h 219904"/>
                      <a:gd name="connsiteX16" fmla="*/ 291483 w 401048"/>
                      <a:gd name="connsiteY16" fmla="*/ 33072 h 219904"/>
                      <a:gd name="connsiteX17" fmla="*/ 292127 w 401048"/>
                      <a:gd name="connsiteY17" fmla="*/ 36503 h 219904"/>
                      <a:gd name="connsiteX18" fmla="*/ 293374 w 401048"/>
                      <a:gd name="connsiteY18" fmla="*/ 40961 h 219904"/>
                      <a:gd name="connsiteX19" fmla="*/ 293692 w 401048"/>
                      <a:gd name="connsiteY19" fmla="*/ 43194 h 219904"/>
                      <a:gd name="connsiteX20" fmla="*/ 302518 w 401048"/>
                      <a:gd name="connsiteY20" fmla="*/ 63144 h 219904"/>
                      <a:gd name="connsiteX21" fmla="*/ 304205 w 401048"/>
                      <a:gd name="connsiteY21" fmla="*/ 66657 h 219904"/>
                      <a:gd name="connsiteX22" fmla="*/ 305281 w 401048"/>
                      <a:gd name="connsiteY22" fmla="*/ 68278 h 219904"/>
                      <a:gd name="connsiteX23" fmla="*/ 311450 w 401048"/>
                      <a:gd name="connsiteY23" fmla="*/ 75964 h 219904"/>
                      <a:gd name="connsiteX24" fmla="*/ 314734 w 401048"/>
                      <a:gd name="connsiteY24" fmla="*/ 81530 h 219904"/>
                      <a:gd name="connsiteX25" fmla="*/ 315044 w 401048"/>
                      <a:gd name="connsiteY25" fmla="*/ 85246 h 219904"/>
                      <a:gd name="connsiteX26" fmla="*/ 315484 w 401048"/>
                      <a:gd name="connsiteY26" fmla="*/ 86322 h 219904"/>
                      <a:gd name="connsiteX27" fmla="*/ 315631 w 401048"/>
                      <a:gd name="connsiteY27" fmla="*/ 88025 h 219904"/>
                      <a:gd name="connsiteX28" fmla="*/ 315476 w 401048"/>
                      <a:gd name="connsiteY28" fmla="*/ 90389 h 219904"/>
                      <a:gd name="connsiteX29" fmla="*/ 314759 w 401048"/>
                      <a:gd name="connsiteY29" fmla="*/ 92410 h 219904"/>
                      <a:gd name="connsiteX30" fmla="*/ 313471 w 401048"/>
                      <a:gd name="connsiteY30" fmla="*/ 94097 h 219904"/>
                      <a:gd name="connsiteX31" fmla="*/ 312224 w 401048"/>
                      <a:gd name="connsiteY31" fmla="*/ 96477 h 219904"/>
                      <a:gd name="connsiteX32" fmla="*/ 310334 w 401048"/>
                      <a:gd name="connsiteY32" fmla="*/ 101701 h 219904"/>
                      <a:gd name="connsiteX33" fmla="*/ 310171 w 401048"/>
                      <a:gd name="connsiteY33" fmla="*/ 102980 h 219904"/>
                      <a:gd name="connsiteX34" fmla="*/ 311540 w 401048"/>
                      <a:gd name="connsiteY34" fmla="*/ 104781 h 219904"/>
                      <a:gd name="connsiteX35" fmla="*/ 320170 w 401048"/>
                      <a:gd name="connsiteY35" fmla="*/ 110975 h 219904"/>
                      <a:gd name="connsiteX36" fmla="*/ 325460 w 401048"/>
                      <a:gd name="connsiteY36" fmla="*/ 118391 h 219904"/>
                      <a:gd name="connsiteX37" fmla="*/ 327937 w 401048"/>
                      <a:gd name="connsiteY37" fmla="*/ 119687 h 219904"/>
                      <a:gd name="connsiteX38" fmla="*/ 334604 w 401048"/>
                      <a:gd name="connsiteY38" fmla="*/ 124324 h 219904"/>
                      <a:gd name="connsiteX39" fmla="*/ 341800 w 401048"/>
                      <a:gd name="connsiteY39" fmla="*/ 126948 h 219904"/>
                      <a:gd name="connsiteX40" fmla="*/ 344212 w 401048"/>
                      <a:gd name="connsiteY40" fmla="*/ 128081 h 219904"/>
                      <a:gd name="connsiteX41" fmla="*/ 346502 w 401048"/>
                      <a:gd name="connsiteY41" fmla="*/ 129736 h 219904"/>
                      <a:gd name="connsiteX42" fmla="*/ 347187 w 401048"/>
                      <a:gd name="connsiteY42" fmla="*/ 129809 h 219904"/>
                      <a:gd name="connsiteX43" fmla="*/ 348580 w 401048"/>
                      <a:gd name="connsiteY43" fmla="*/ 129491 h 219904"/>
                      <a:gd name="connsiteX44" fmla="*/ 348980 w 401048"/>
                      <a:gd name="connsiteY44" fmla="*/ 129035 h 219904"/>
                      <a:gd name="connsiteX45" fmla="*/ 349077 w 401048"/>
                      <a:gd name="connsiteY45" fmla="*/ 128358 h 219904"/>
                      <a:gd name="connsiteX46" fmla="*/ 347048 w 401048"/>
                      <a:gd name="connsiteY46" fmla="*/ 124854 h 219904"/>
                      <a:gd name="connsiteX47" fmla="*/ 346910 w 401048"/>
                      <a:gd name="connsiteY47" fmla="*/ 123477 h 219904"/>
                      <a:gd name="connsiteX48" fmla="*/ 347871 w 401048"/>
                      <a:gd name="connsiteY48" fmla="*/ 123232 h 219904"/>
                      <a:gd name="connsiteX49" fmla="*/ 355296 w 401048"/>
                      <a:gd name="connsiteY49" fmla="*/ 129214 h 219904"/>
                      <a:gd name="connsiteX50" fmla="*/ 359297 w 401048"/>
                      <a:gd name="connsiteY50" fmla="*/ 131594 h 219904"/>
                      <a:gd name="connsiteX51" fmla="*/ 364758 w 401048"/>
                      <a:gd name="connsiteY51" fmla="*/ 134096 h 219904"/>
                      <a:gd name="connsiteX52" fmla="*/ 374162 w 401048"/>
                      <a:gd name="connsiteY52" fmla="*/ 139841 h 219904"/>
                      <a:gd name="connsiteX53" fmla="*/ 375466 w 401048"/>
                      <a:gd name="connsiteY53" fmla="*/ 140306 h 219904"/>
                      <a:gd name="connsiteX54" fmla="*/ 380552 w 401048"/>
                      <a:gd name="connsiteY54" fmla="*/ 139776 h 219904"/>
                      <a:gd name="connsiteX55" fmla="*/ 381937 w 401048"/>
                      <a:gd name="connsiteY55" fmla="*/ 140143 h 219904"/>
                      <a:gd name="connsiteX56" fmla="*/ 382809 w 401048"/>
                      <a:gd name="connsiteY56" fmla="*/ 140705 h 219904"/>
                      <a:gd name="connsiteX57" fmla="*/ 383168 w 401048"/>
                      <a:gd name="connsiteY57" fmla="*/ 141479 h 219904"/>
                      <a:gd name="connsiteX58" fmla="*/ 383372 w 401048"/>
                      <a:gd name="connsiteY58" fmla="*/ 144878 h 219904"/>
                      <a:gd name="connsiteX59" fmla="*/ 384757 w 401048"/>
                      <a:gd name="connsiteY59" fmla="*/ 146548 h 219904"/>
                      <a:gd name="connsiteX60" fmla="*/ 392776 w 401048"/>
                      <a:gd name="connsiteY60" fmla="*/ 145831 h 219904"/>
                      <a:gd name="connsiteX61" fmla="*/ 395026 w 401048"/>
                      <a:gd name="connsiteY61" fmla="*/ 145986 h 219904"/>
                      <a:gd name="connsiteX62" fmla="*/ 396460 w 401048"/>
                      <a:gd name="connsiteY62" fmla="*/ 146516 h 219904"/>
                      <a:gd name="connsiteX63" fmla="*/ 397650 w 401048"/>
                      <a:gd name="connsiteY63" fmla="*/ 147632 h 219904"/>
                      <a:gd name="connsiteX64" fmla="*/ 399369 w 401048"/>
                      <a:gd name="connsiteY64" fmla="*/ 151259 h 219904"/>
                      <a:gd name="connsiteX65" fmla="*/ 400967 w 401048"/>
                      <a:gd name="connsiteY65" fmla="*/ 158414 h 219904"/>
                      <a:gd name="connsiteX66" fmla="*/ 401048 w 401048"/>
                      <a:gd name="connsiteY66" fmla="*/ 160965 h 219904"/>
                      <a:gd name="connsiteX67" fmla="*/ 400315 w 401048"/>
                      <a:gd name="connsiteY67" fmla="*/ 165260 h 219904"/>
                      <a:gd name="connsiteX68" fmla="*/ 399141 w 401048"/>
                      <a:gd name="connsiteY68" fmla="*/ 166833 h 219904"/>
                      <a:gd name="connsiteX69" fmla="*/ 397625 w 401048"/>
                      <a:gd name="connsiteY69" fmla="*/ 167330 h 219904"/>
                      <a:gd name="connsiteX70" fmla="*/ 393355 w 401048"/>
                      <a:gd name="connsiteY70" fmla="*/ 166841 h 219904"/>
                      <a:gd name="connsiteX71" fmla="*/ 390348 w 401048"/>
                      <a:gd name="connsiteY71" fmla="*/ 165488 h 219904"/>
                      <a:gd name="connsiteX72" fmla="*/ 388783 w 401048"/>
                      <a:gd name="connsiteY72" fmla="*/ 163753 h 219904"/>
                      <a:gd name="connsiteX73" fmla="*/ 387389 w 401048"/>
                      <a:gd name="connsiteY73" fmla="*/ 159979 h 219904"/>
                      <a:gd name="connsiteX74" fmla="*/ 386713 w 401048"/>
                      <a:gd name="connsiteY74" fmla="*/ 159254 h 219904"/>
                      <a:gd name="connsiteX75" fmla="*/ 386102 w 401048"/>
                      <a:gd name="connsiteY75" fmla="*/ 160012 h 219904"/>
                      <a:gd name="connsiteX76" fmla="*/ 384692 w 401048"/>
                      <a:gd name="connsiteY76" fmla="*/ 163467 h 219904"/>
                      <a:gd name="connsiteX77" fmla="*/ 383771 w 401048"/>
                      <a:gd name="connsiteY77" fmla="*/ 164991 h 219904"/>
                      <a:gd name="connsiteX78" fmla="*/ 382646 w 401048"/>
                      <a:gd name="connsiteY78" fmla="*/ 166002 h 219904"/>
                      <a:gd name="connsiteX79" fmla="*/ 380519 w 401048"/>
                      <a:gd name="connsiteY79" fmla="*/ 165749 h 219904"/>
                      <a:gd name="connsiteX80" fmla="*/ 377382 w 401048"/>
                      <a:gd name="connsiteY80" fmla="*/ 164250 h 219904"/>
                      <a:gd name="connsiteX81" fmla="*/ 371481 w 401048"/>
                      <a:gd name="connsiteY81" fmla="*/ 160395 h 219904"/>
                      <a:gd name="connsiteX82" fmla="*/ 369395 w 401048"/>
                      <a:gd name="connsiteY82" fmla="*/ 159450 h 219904"/>
                      <a:gd name="connsiteX83" fmla="*/ 368099 w 401048"/>
                      <a:gd name="connsiteY83" fmla="*/ 159613 h 219904"/>
                      <a:gd name="connsiteX84" fmla="*/ 365279 w 401048"/>
                      <a:gd name="connsiteY84" fmla="*/ 160916 h 219904"/>
                      <a:gd name="connsiteX85" fmla="*/ 360927 w 401048"/>
                      <a:gd name="connsiteY85" fmla="*/ 163345 h 219904"/>
                      <a:gd name="connsiteX86" fmla="*/ 359126 w 401048"/>
                      <a:gd name="connsiteY86" fmla="*/ 165146 h 219904"/>
                      <a:gd name="connsiteX87" fmla="*/ 359892 w 401048"/>
                      <a:gd name="connsiteY87" fmla="*/ 166287 h 219904"/>
                      <a:gd name="connsiteX88" fmla="*/ 360389 w 401048"/>
                      <a:gd name="connsiteY88" fmla="*/ 167721 h 219904"/>
                      <a:gd name="connsiteX89" fmla="*/ 360642 w 401048"/>
                      <a:gd name="connsiteY89" fmla="*/ 169457 h 219904"/>
                      <a:gd name="connsiteX90" fmla="*/ 360487 w 401048"/>
                      <a:gd name="connsiteY90" fmla="*/ 170729 h 219904"/>
                      <a:gd name="connsiteX91" fmla="*/ 359941 w 401048"/>
                      <a:gd name="connsiteY91" fmla="*/ 171560 h 219904"/>
                      <a:gd name="connsiteX92" fmla="*/ 358507 w 401048"/>
                      <a:gd name="connsiteY92" fmla="*/ 172530 h 219904"/>
                      <a:gd name="connsiteX93" fmla="*/ 355467 w 401048"/>
                      <a:gd name="connsiteY93" fmla="*/ 172701 h 219904"/>
                      <a:gd name="connsiteX94" fmla="*/ 351099 w 401048"/>
                      <a:gd name="connsiteY94" fmla="*/ 171951 h 219904"/>
                      <a:gd name="connsiteX95" fmla="*/ 347635 w 401048"/>
                      <a:gd name="connsiteY95" fmla="*/ 170623 h 219904"/>
                      <a:gd name="connsiteX96" fmla="*/ 341588 w 401048"/>
                      <a:gd name="connsiteY96" fmla="*/ 167078 h 219904"/>
                      <a:gd name="connsiteX97" fmla="*/ 340194 w 401048"/>
                      <a:gd name="connsiteY97" fmla="*/ 166589 h 219904"/>
                      <a:gd name="connsiteX98" fmla="*/ 338328 w 401048"/>
                      <a:gd name="connsiteY98" fmla="*/ 167371 h 219904"/>
                      <a:gd name="connsiteX99" fmla="*/ 337578 w 401048"/>
                      <a:gd name="connsiteY99" fmla="*/ 168406 h 219904"/>
                      <a:gd name="connsiteX100" fmla="*/ 338735 w 401048"/>
                      <a:gd name="connsiteY100" fmla="*/ 169881 h 219904"/>
                      <a:gd name="connsiteX101" fmla="*/ 341816 w 401048"/>
                      <a:gd name="connsiteY101" fmla="*/ 171780 h 219904"/>
                      <a:gd name="connsiteX102" fmla="*/ 345573 w 401048"/>
                      <a:gd name="connsiteY102" fmla="*/ 174942 h 219904"/>
                      <a:gd name="connsiteX103" fmla="*/ 346576 w 401048"/>
                      <a:gd name="connsiteY103" fmla="*/ 175553 h 219904"/>
                      <a:gd name="connsiteX104" fmla="*/ 347545 w 401048"/>
                      <a:gd name="connsiteY104" fmla="*/ 175488 h 219904"/>
                      <a:gd name="connsiteX105" fmla="*/ 347888 w 401048"/>
                      <a:gd name="connsiteY105" fmla="*/ 176067 h 219904"/>
                      <a:gd name="connsiteX106" fmla="*/ 348320 w 401048"/>
                      <a:gd name="connsiteY106" fmla="*/ 177770 h 219904"/>
                      <a:gd name="connsiteX107" fmla="*/ 348124 w 401048"/>
                      <a:gd name="connsiteY107" fmla="*/ 180688 h 219904"/>
                      <a:gd name="connsiteX108" fmla="*/ 346315 w 401048"/>
                      <a:gd name="connsiteY108" fmla="*/ 186515 h 219904"/>
                      <a:gd name="connsiteX109" fmla="*/ 346127 w 401048"/>
                      <a:gd name="connsiteY109" fmla="*/ 187892 h 219904"/>
                      <a:gd name="connsiteX110" fmla="*/ 346861 w 401048"/>
                      <a:gd name="connsiteY110" fmla="*/ 187566 h 219904"/>
                      <a:gd name="connsiteX111" fmla="*/ 351979 w 401048"/>
                      <a:gd name="connsiteY111" fmla="*/ 181845 h 219904"/>
                      <a:gd name="connsiteX112" fmla="*/ 354627 w 401048"/>
                      <a:gd name="connsiteY112" fmla="*/ 180248 h 219904"/>
                      <a:gd name="connsiteX113" fmla="*/ 360357 w 401048"/>
                      <a:gd name="connsiteY113" fmla="*/ 177721 h 219904"/>
                      <a:gd name="connsiteX114" fmla="*/ 362826 w 401048"/>
                      <a:gd name="connsiteY114" fmla="*/ 175871 h 219904"/>
                      <a:gd name="connsiteX115" fmla="*/ 370153 w 401048"/>
                      <a:gd name="connsiteY115" fmla="*/ 175366 h 219904"/>
                      <a:gd name="connsiteX116" fmla="*/ 372769 w 401048"/>
                      <a:gd name="connsiteY116" fmla="*/ 176377 h 219904"/>
                      <a:gd name="connsiteX117" fmla="*/ 374448 w 401048"/>
                      <a:gd name="connsiteY117" fmla="*/ 178137 h 219904"/>
                      <a:gd name="connsiteX118" fmla="*/ 374513 w 401048"/>
                      <a:gd name="connsiteY118" fmla="*/ 178936 h 219904"/>
                      <a:gd name="connsiteX119" fmla="*/ 372598 w 401048"/>
                      <a:gd name="connsiteY119" fmla="*/ 181006 h 219904"/>
                      <a:gd name="connsiteX120" fmla="*/ 372255 w 401048"/>
                      <a:gd name="connsiteY120" fmla="*/ 182041 h 219904"/>
                      <a:gd name="connsiteX121" fmla="*/ 372149 w 401048"/>
                      <a:gd name="connsiteY121" fmla="*/ 183336 h 219904"/>
                      <a:gd name="connsiteX122" fmla="*/ 372321 w 401048"/>
                      <a:gd name="connsiteY122" fmla="*/ 184510 h 219904"/>
                      <a:gd name="connsiteX123" fmla="*/ 372761 w 401048"/>
                      <a:gd name="connsiteY123" fmla="*/ 185545 h 219904"/>
                      <a:gd name="connsiteX124" fmla="*/ 374081 w 401048"/>
                      <a:gd name="connsiteY124" fmla="*/ 186507 h 219904"/>
                      <a:gd name="connsiteX125" fmla="*/ 376412 w 401048"/>
                      <a:gd name="connsiteY125" fmla="*/ 186083 h 219904"/>
                      <a:gd name="connsiteX126" fmla="*/ 377055 w 401048"/>
                      <a:gd name="connsiteY126" fmla="*/ 186335 h 219904"/>
                      <a:gd name="connsiteX127" fmla="*/ 378311 w 401048"/>
                      <a:gd name="connsiteY127" fmla="*/ 187346 h 219904"/>
                      <a:gd name="connsiteX128" fmla="*/ 379134 w 401048"/>
                      <a:gd name="connsiteY128" fmla="*/ 188919 h 219904"/>
                      <a:gd name="connsiteX129" fmla="*/ 379174 w 401048"/>
                      <a:gd name="connsiteY129" fmla="*/ 191095 h 219904"/>
                      <a:gd name="connsiteX130" fmla="*/ 377455 w 401048"/>
                      <a:gd name="connsiteY130" fmla="*/ 195871 h 219904"/>
                      <a:gd name="connsiteX131" fmla="*/ 374391 w 401048"/>
                      <a:gd name="connsiteY131" fmla="*/ 197435 h 219904"/>
                      <a:gd name="connsiteX132" fmla="*/ 365010 w 401048"/>
                      <a:gd name="connsiteY132" fmla="*/ 200320 h 219904"/>
                      <a:gd name="connsiteX133" fmla="*/ 361791 w 401048"/>
                      <a:gd name="connsiteY133" fmla="*/ 201820 h 219904"/>
                      <a:gd name="connsiteX134" fmla="*/ 355597 w 401048"/>
                      <a:gd name="connsiteY134" fmla="*/ 202871 h 219904"/>
                      <a:gd name="connsiteX135" fmla="*/ 353201 w 401048"/>
                      <a:gd name="connsiteY135" fmla="*/ 204265 h 219904"/>
                      <a:gd name="connsiteX136" fmla="*/ 351710 w 401048"/>
                      <a:gd name="connsiteY136" fmla="*/ 204689 h 219904"/>
                      <a:gd name="connsiteX137" fmla="*/ 345084 w 401048"/>
                      <a:gd name="connsiteY137" fmla="*/ 204469 h 219904"/>
                      <a:gd name="connsiteX138" fmla="*/ 337497 w 401048"/>
                      <a:gd name="connsiteY138" fmla="*/ 205357 h 219904"/>
                      <a:gd name="connsiteX139" fmla="*/ 328760 w 401048"/>
                      <a:gd name="connsiteY139" fmla="*/ 203621 h 219904"/>
                      <a:gd name="connsiteX140" fmla="*/ 322632 w 401048"/>
                      <a:gd name="connsiteY140" fmla="*/ 202847 h 219904"/>
                      <a:gd name="connsiteX141" fmla="*/ 315558 w 401048"/>
                      <a:gd name="connsiteY141" fmla="*/ 200092 h 219904"/>
                      <a:gd name="connsiteX142" fmla="*/ 312885 w 401048"/>
                      <a:gd name="connsiteY142" fmla="*/ 200785 h 219904"/>
                      <a:gd name="connsiteX143" fmla="*/ 310130 w 401048"/>
                      <a:gd name="connsiteY143" fmla="*/ 202562 h 219904"/>
                      <a:gd name="connsiteX144" fmla="*/ 296878 w 401048"/>
                      <a:gd name="connsiteY144" fmla="*/ 200434 h 219904"/>
                      <a:gd name="connsiteX145" fmla="*/ 295306 w 401048"/>
                      <a:gd name="connsiteY145" fmla="*/ 198886 h 219904"/>
                      <a:gd name="connsiteX146" fmla="*/ 295819 w 401048"/>
                      <a:gd name="connsiteY146" fmla="*/ 197892 h 219904"/>
                      <a:gd name="connsiteX147" fmla="*/ 298965 w 401048"/>
                      <a:gd name="connsiteY147" fmla="*/ 194607 h 219904"/>
                      <a:gd name="connsiteX148" fmla="*/ 299169 w 401048"/>
                      <a:gd name="connsiteY148" fmla="*/ 193923 h 219904"/>
                      <a:gd name="connsiteX149" fmla="*/ 299014 w 401048"/>
                      <a:gd name="connsiteY149" fmla="*/ 193336 h 219904"/>
                      <a:gd name="connsiteX150" fmla="*/ 292999 w 401048"/>
                      <a:gd name="connsiteY150" fmla="*/ 192782 h 219904"/>
                      <a:gd name="connsiteX151" fmla="*/ 286284 w 401048"/>
                      <a:gd name="connsiteY151" fmla="*/ 191038 h 219904"/>
                      <a:gd name="connsiteX152" fmla="*/ 279536 w 401048"/>
                      <a:gd name="connsiteY152" fmla="*/ 190166 h 219904"/>
                      <a:gd name="connsiteX153" fmla="*/ 274491 w 401048"/>
                      <a:gd name="connsiteY153" fmla="*/ 190419 h 219904"/>
                      <a:gd name="connsiteX154" fmla="*/ 271207 w 401048"/>
                      <a:gd name="connsiteY154" fmla="*/ 189775 h 219904"/>
                      <a:gd name="connsiteX155" fmla="*/ 267996 w 401048"/>
                      <a:gd name="connsiteY155" fmla="*/ 188340 h 219904"/>
                      <a:gd name="connsiteX156" fmla="*/ 266235 w 401048"/>
                      <a:gd name="connsiteY156" fmla="*/ 187020 h 219904"/>
                      <a:gd name="connsiteX157" fmla="*/ 265918 w 401048"/>
                      <a:gd name="connsiteY157" fmla="*/ 185838 h 219904"/>
                      <a:gd name="connsiteX158" fmla="*/ 265877 w 401048"/>
                      <a:gd name="connsiteY158" fmla="*/ 184534 h 219904"/>
                      <a:gd name="connsiteX159" fmla="*/ 266162 w 401048"/>
                      <a:gd name="connsiteY159" fmla="*/ 181926 h 219904"/>
                      <a:gd name="connsiteX160" fmla="*/ 265738 w 401048"/>
                      <a:gd name="connsiteY160" fmla="*/ 180093 h 219904"/>
                      <a:gd name="connsiteX161" fmla="*/ 264288 w 401048"/>
                      <a:gd name="connsiteY161" fmla="*/ 178642 h 219904"/>
                      <a:gd name="connsiteX162" fmla="*/ 261313 w 401048"/>
                      <a:gd name="connsiteY162" fmla="*/ 177338 h 219904"/>
                      <a:gd name="connsiteX163" fmla="*/ 258355 w 401048"/>
                      <a:gd name="connsiteY163" fmla="*/ 177501 h 219904"/>
                      <a:gd name="connsiteX164" fmla="*/ 255853 w 401048"/>
                      <a:gd name="connsiteY164" fmla="*/ 178936 h 219904"/>
                      <a:gd name="connsiteX165" fmla="*/ 253473 w 401048"/>
                      <a:gd name="connsiteY165" fmla="*/ 181592 h 219904"/>
                      <a:gd name="connsiteX166" fmla="*/ 249064 w 401048"/>
                      <a:gd name="connsiteY166" fmla="*/ 188952 h 219904"/>
                      <a:gd name="connsiteX167" fmla="*/ 246855 w 401048"/>
                      <a:gd name="connsiteY167" fmla="*/ 190207 h 219904"/>
                      <a:gd name="connsiteX168" fmla="*/ 241126 w 401048"/>
                      <a:gd name="connsiteY168" fmla="*/ 195528 h 219904"/>
                      <a:gd name="connsiteX169" fmla="*/ 238983 w 401048"/>
                      <a:gd name="connsiteY169" fmla="*/ 196832 h 219904"/>
                      <a:gd name="connsiteX170" fmla="*/ 228486 w 401048"/>
                      <a:gd name="connsiteY170" fmla="*/ 198935 h 219904"/>
                      <a:gd name="connsiteX171" fmla="*/ 216041 w 401048"/>
                      <a:gd name="connsiteY171" fmla="*/ 199799 h 219904"/>
                      <a:gd name="connsiteX172" fmla="*/ 211388 w 401048"/>
                      <a:gd name="connsiteY172" fmla="*/ 201445 h 219904"/>
                      <a:gd name="connsiteX173" fmla="*/ 206979 w 401048"/>
                      <a:gd name="connsiteY173" fmla="*/ 204526 h 219904"/>
                      <a:gd name="connsiteX174" fmla="*/ 201633 w 401048"/>
                      <a:gd name="connsiteY174" fmla="*/ 207492 h 219904"/>
                      <a:gd name="connsiteX175" fmla="*/ 188585 w 401048"/>
                      <a:gd name="connsiteY175" fmla="*/ 211151 h 219904"/>
                      <a:gd name="connsiteX176" fmla="*/ 176523 w 401048"/>
                      <a:gd name="connsiteY176" fmla="*/ 213189 h 219904"/>
                      <a:gd name="connsiteX177" fmla="*/ 163891 w 401048"/>
                      <a:gd name="connsiteY177" fmla="*/ 214077 h 219904"/>
                      <a:gd name="connsiteX178" fmla="*/ 154454 w 401048"/>
                      <a:gd name="connsiteY178" fmla="*/ 215463 h 219904"/>
                      <a:gd name="connsiteX179" fmla="*/ 151748 w 401048"/>
                      <a:gd name="connsiteY179" fmla="*/ 214770 h 219904"/>
                      <a:gd name="connsiteX180" fmla="*/ 147518 w 401048"/>
                      <a:gd name="connsiteY180" fmla="*/ 215031 h 219904"/>
                      <a:gd name="connsiteX181" fmla="*/ 142979 w 401048"/>
                      <a:gd name="connsiteY181" fmla="*/ 217060 h 219904"/>
                      <a:gd name="connsiteX182" fmla="*/ 137836 w 401048"/>
                      <a:gd name="connsiteY182" fmla="*/ 217443 h 219904"/>
                      <a:gd name="connsiteX183" fmla="*/ 118318 w 401048"/>
                      <a:gd name="connsiteY183" fmla="*/ 218185 h 219904"/>
                      <a:gd name="connsiteX184" fmla="*/ 109361 w 401048"/>
                      <a:gd name="connsiteY184" fmla="*/ 219546 h 219904"/>
                      <a:gd name="connsiteX185" fmla="*/ 104447 w 401048"/>
                      <a:gd name="connsiteY185" fmla="*/ 219904 h 219904"/>
                      <a:gd name="connsiteX186" fmla="*/ 100600 w 401048"/>
                      <a:gd name="connsiteY186" fmla="*/ 219717 h 219904"/>
                      <a:gd name="connsiteX187" fmla="*/ 97919 w 401048"/>
                      <a:gd name="connsiteY187" fmla="*/ 219154 h 219904"/>
                      <a:gd name="connsiteX188" fmla="*/ 95344 w 401048"/>
                      <a:gd name="connsiteY188" fmla="*/ 217353 h 219904"/>
                      <a:gd name="connsiteX189" fmla="*/ 92695 w 401048"/>
                      <a:gd name="connsiteY189" fmla="*/ 214574 h 219904"/>
                      <a:gd name="connsiteX190" fmla="*/ 87324 w 401048"/>
                      <a:gd name="connsiteY190" fmla="*/ 207158 h 219904"/>
                      <a:gd name="connsiteX191" fmla="*/ 85784 w 401048"/>
                      <a:gd name="connsiteY191" fmla="*/ 204037 h 219904"/>
                      <a:gd name="connsiteX192" fmla="*/ 86387 w 401048"/>
                      <a:gd name="connsiteY192" fmla="*/ 198699 h 219904"/>
                      <a:gd name="connsiteX193" fmla="*/ 85988 w 401048"/>
                      <a:gd name="connsiteY193" fmla="*/ 195594 h 219904"/>
                      <a:gd name="connsiteX194" fmla="*/ 84203 w 401048"/>
                      <a:gd name="connsiteY194" fmla="*/ 188894 h 219904"/>
                      <a:gd name="connsiteX195" fmla="*/ 83861 w 401048"/>
                      <a:gd name="connsiteY195" fmla="*/ 188324 h 219904"/>
                      <a:gd name="connsiteX196" fmla="*/ 74464 w 401048"/>
                      <a:gd name="connsiteY196" fmla="*/ 185830 h 219904"/>
                      <a:gd name="connsiteX197" fmla="*/ 68270 w 401048"/>
                      <a:gd name="connsiteY197" fmla="*/ 185040 h 219904"/>
                      <a:gd name="connsiteX198" fmla="*/ 58939 w 401048"/>
                      <a:gd name="connsiteY198" fmla="*/ 184885 h 219904"/>
                      <a:gd name="connsiteX199" fmla="*/ 47537 w 401048"/>
                      <a:gd name="connsiteY199" fmla="*/ 185235 h 219904"/>
                      <a:gd name="connsiteX200" fmla="*/ 36144 w 401048"/>
                      <a:gd name="connsiteY200" fmla="*/ 184428 h 219904"/>
                      <a:gd name="connsiteX201" fmla="*/ 30129 w 401048"/>
                      <a:gd name="connsiteY201" fmla="*/ 183516 h 219904"/>
                      <a:gd name="connsiteX202" fmla="*/ 24156 w 401048"/>
                      <a:gd name="connsiteY202" fmla="*/ 182032 h 219904"/>
                      <a:gd name="connsiteX203" fmla="*/ 13936 w 401048"/>
                      <a:gd name="connsiteY203" fmla="*/ 178161 h 219904"/>
                      <a:gd name="connsiteX204" fmla="*/ 13366 w 401048"/>
                      <a:gd name="connsiteY204" fmla="*/ 177762 h 219904"/>
                      <a:gd name="connsiteX205" fmla="*/ 12567 w 401048"/>
                      <a:gd name="connsiteY205" fmla="*/ 176474 h 219904"/>
                      <a:gd name="connsiteX206" fmla="*/ 11564 w 401048"/>
                      <a:gd name="connsiteY206" fmla="*/ 174290 h 219904"/>
                      <a:gd name="connsiteX207" fmla="*/ 9014 w 401048"/>
                      <a:gd name="connsiteY207" fmla="*/ 171438 h 219904"/>
                      <a:gd name="connsiteX208" fmla="*/ 5444 w 401048"/>
                      <a:gd name="connsiteY208" fmla="*/ 168178 h 219904"/>
                      <a:gd name="connsiteX209" fmla="*/ 10538 w 401048"/>
                      <a:gd name="connsiteY209" fmla="*/ 168170 h 219904"/>
                      <a:gd name="connsiteX210" fmla="*/ 9470 w 401048"/>
                      <a:gd name="connsiteY210" fmla="*/ 166140 h 219904"/>
                      <a:gd name="connsiteX211" fmla="*/ 6316 w 401048"/>
                      <a:gd name="connsiteY211" fmla="*/ 163272 h 219904"/>
                      <a:gd name="connsiteX212" fmla="*/ 3162 w 401048"/>
                      <a:gd name="connsiteY212" fmla="*/ 160395 h 219904"/>
                      <a:gd name="connsiteX213" fmla="*/ 0 w 401048"/>
                      <a:gd name="connsiteY213" fmla="*/ 157526 h 219904"/>
                      <a:gd name="connsiteX214" fmla="*/ 497 w 401048"/>
                      <a:gd name="connsiteY214" fmla="*/ 152482 h 219904"/>
                      <a:gd name="connsiteX215" fmla="*/ 11907 w 401048"/>
                      <a:gd name="connsiteY215" fmla="*/ 152490 h 219904"/>
                      <a:gd name="connsiteX216" fmla="*/ 25003 w 401048"/>
                      <a:gd name="connsiteY216" fmla="*/ 152498 h 219904"/>
                      <a:gd name="connsiteX217" fmla="*/ 38100 w 401048"/>
                      <a:gd name="connsiteY217" fmla="*/ 152498 h 219904"/>
                      <a:gd name="connsiteX218" fmla="*/ 51197 w 401048"/>
                      <a:gd name="connsiteY218" fmla="*/ 152506 h 219904"/>
                      <a:gd name="connsiteX219" fmla="*/ 64301 w 401048"/>
                      <a:gd name="connsiteY219" fmla="*/ 152514 h 219904"/>
                      <a:gd name="connsiteX220" fmla="*/ 77390 w 401048"/>
                      <a:gd name="connsiteY220" fmla="*/ 152514 h 219904"/>
                      <a:gd name="connsiteX221" fmla="*/ 90495 w 401048"/>
                      <a:gd name="connsiteY221" fmla="*/ 152522 h 219904"/>
                      <a:gd name="connsiteX222" fmla="*/ 104039 w 401048"/>
                      <a:gd name="connsiteY222" fmla="*/ 152514 h 219904"/>
                      <a:gd name="connsiteX223" fmla="*/ 104105 w 401048"/>
                      <a:gd name="connsiteY223" fmla="*/ 156516 h 219904"/>
                      <a:gd name="connsiteX224" fmla="*/ 104186 w 401048"/>
                      <a:gd name="connsiteY224" fmla="*/ 160004 h 219904"/>
                      <a:gd name="connsiteX225" fmla="*/ 106973 w 401048"/>
                      <a:gd name="connsiteY225" fmla="*/ 159979 h 219904"/>
                      <a:gd name="connsiteX226" fmla="*/ 109769 w 401048"/>
                      <a:gd name="connsiteY226" fmla="*/ 159955 h 219904"/>
                      <a:gd name="connsiteX227" fmla="*/ 113493 w 401048"/>
                      <a:gd name="connsiteY227" fmla="*/ 156524 h 219904"/>
                      <a:gd name="connsiteX228" fmla="*/ 113485 w 401048"/>
                      <a:gd name="connsiteY228" fmla="*/ 152530 h 219904"/>
                      <a:gd name="connsiteX229" fmla="*/ 121235 w 401048"/>
                      <a:gd name="connsiteY229" fmla="*/ 152530 h 219904"/>
                      <a:gd name="connsiteX230" fmla="*/ 128986 w 401048"/>
                      <a:gd name="connsiteY230" fmla="*/ 152530 h 219904"/>
                      <a:gd name="connsiteX231" fmla="*/ 136736 w 401048"/>
                      <a:gd name="connsiteY231" fmla="*/ 152530 h 219904"/>
                      <a:gd name="connsiteX232" fmla="*/ 144487 w 401048"/>
                      <a:gd name="connsiteY232" fmla="*/ 152530 h 219904"/>
                      <a:gd name="connsiteX233" fmla="*/ 152237 w 401048"/>
                      <a:gd name="connsiteY233" fmla="*/ 152530 h 219904"/>
                      <a:gd name="connsiteX234" fmla="*/ 159987 w 401048"/>
                      <a:gd name="connsiteY234" fmla="*/ 152530 h 219904"/>
                      <a:gd name="connsiteX235" fmla="*/ 167738 w 401048"/>
                      <a:gd name="connsiteY235" fmla="*/ 152530 h 219904"/>
                      <a:gd name="connsiteX236" fmla="*/ 175488 w 401048"/>
                      <a:gd name="connsiteY236" fmla="*/ 152530 h 219904"/>
                      <a:gd name="connsiteX237" fmla="*/ 175480 w 401048"/>
                      <a:gd name="connsiteY237" fmla="*/ 128228 h 219904"/>
                      <a:gd name="connsiteX238" fmla="*/ 175480 w 401048"/>
                      <a:gd name="connsiteY238" fmla="*/ 103746 h 219904"/>
                      <a:gd name="connsiteX239" fmla="*/ 175472 w 401048"/>
                      <a:gd name="connsiteY239" fmla="*/ 79118 h 219904"/>
                      <a:gd name="connsiteX240" fmla="*/ 175464 w 401048"/>
                      <a:gd name="connsiteY240" fmla="*/ 54318 h 219904"/>
                      <a:gd name="connsiteX241" fmla="*/ 175456 w 401048"/>
                      <a:gd name="connsiteY241" fmla="*/ 29331 h 219904"/>
                      <a:gd name="connsiteX242" fmla="*/ 175447 w 401048"/>
                      <a:gd name="connsiteY242" fmla="*/ 17033 h 219904"/>
                      <a:gd name="connsiteX243" fmla="*/ 185162 w 401048"/>
                      <a:gd name="connsiteY243" fmla="*/ 21947 h 219904"/>
                      <a:gd name="connsiteX244" fmla="*/ 188658 w 401048"/>
                      <a:gd name="connsiteY244" fmla="*/ 25069 h 219904"/>
                      <a:gd name="connsiteX245" fmla="*/ 191437 w 401048"/>
                      <a:gd name="connsiteY245" fmla="*/ 26601 h 219904"/>
                      <a:gd name="connsiteX246" fmla="*/ 197264 w 401048"/>
                      <a:gd name="connsiteY246" fmla="*/ 28842 h 219904"/>
                      <a:gd name="connsiteX247" fmla="*/ 199228 w 401048"/>
                      <a:gd name="connsiteY247" fmla="*/ 30676 h 219904"/>
                      <a:gd name="connsiteX248" fmla="*/ 200606 w 401048"/>
                      <a:gd name="connsiteY248" fmla="*/ 31409 h 219904"/>
                      <a:gd name="connsiteX249" fmla="*/ 201086 w 401048"/>
                      <a:gd name="connsiteY249" fmla="*/ 32183 h 219904"/>
                      <a:gd name="connsiteX250" fmla="*/ 200655 w 401048"/>
                      <a:gd name="connsiteY250" fmla="*/ 32990 h 219904"/>
                      <a:gd name="connsiteX251" fmla="*/ 200434 w 401048"/>
                      <a:gd name="connsiteY251" fmla="*/ 34865 h 219904"/>
                      <a:gd name="connsiteX252" fmla="*/ 201510 w 401048"/>
                      <a:gd name="connsiteY252" fmla="*/ 35468 h 219904"/>
                      <a:gd name="connsiteX253" fmla="*/ 205308 w 401048"/>
                      <a:gd name="connsiteY253" fmla="*/ 36169 h 219904"/>
                      <a:gd name="connsiteX254" fmla="*/ 206376 w 401048"/>
                      <a:gd name="connsiteY254" fmla="*/ 36935 h 219904"/>
                      <a:gd name="connsiteX255" fmla="*/ 207777 w 401048"/>
                      <a:gd name="connsiteY255" fmla="*/ 39322 h 219904"/>
                      <a:gd name="connsiteX256" fmla="*/ 209530 w 401048"/>
                      <a:gd name="connsiteY256" fmla="*/ 43340 h 219904"/>
                      <a:gd name="connsiteX257" fmla="*/ 211045 w 401048"/>
                      <a:gd name="connsiteY257" fmla="*/ 47684 h 219904"/>
                      <a:gd name="connsiteX258" fmla="*/ 213442 w 401048"/>
                      <a:gd name="connsiteY258" fmla="*/ 55875 h 219904"/>
                      <a:gd name="connsiteX259" fmla="*/ 218234 w 401048"/>
                      <a:gd name="connsiteY259" fmla="*/ 66787 h 219904"/>
                      <a:gd name="connsiteX260" fmla="*/ 219872 w 401048"/>
                      <a:gd name="connsiteY260" fmla="*/ 73592 h 219904"/>
                      <a:gd name="connsiteX261" fmla="*/ 220426 w 401048"/>
                      <a:gd name="connsiteY261" fmla="*/ 74839 h 219904"/>
                      <a:gd name="connsiteX262" fmla="*/ 221510 w 401048"/>
                      <a:gd name="connsiteY262" fmla="*/ 75703 h 219904"/>
                      <a:gd name="connsiteX263" fmla="*/ 224582 w 401048"/>
                      <a:gd name="connsiteY263" fmla="*/ 76950 h 219904"/>
                      <a:gd name="connsiteX264" fmla="*/ 226954 w 401048"/>
                      <a:gd name="connsiteY264" fmla="*/ 78726 h 219904"/>
                      <a:gd name="connsiteX265" fmla="*/ 229733 w 401048"/>
                      <a:gd name="connsiteY265" fmla="*/ 79289 h 219904"/>
                      <a:gd name="connsiteX266" fmla="*/ 230417 w 401048"/>
                      <a:gd name="connsiteY266" fmla="*/ 79126 h 219904"/>
                      <a:gd name="connsiteX267" fmla="*/ 231110 w 401048"/>
                      <a:gd name="connsiteY267" fmla="*/ 77610 h 219904"/>
                      <a:gd name="connsiteX268" fmla="*/ 232846 w 401048"/>
                      <a:gd name="connsiteY268" fmla="*/ 75189 h 219904"/>
                      <a:gd name="connsiteX269" fmla="*/ 241289 w 401048"/>
                      <a:gd name="connsiteY269" fmla="*/ 70487 h 219904"/>
                      <a:gd name="connsiteX270" fmla="*/ 241737 w 401048"/>
                      <a:gd name="connsiteY270" fmla="*/ 69754 h 219904"/>
                      <a:gd name="connsiteX271" fmla="*/ 240735 w 401048"/>
                      <a:gd name="connsiteY271" fmla="*/ 68678 h 219904"/>
                      <a:gd name="connsiteX272" fmla="*/ 240425 w 401048"/>
                      <a:gd name="connsiteY272" fmla="*/ 67936 h 219904"/>
                      <a:gd name="connsiteX273" fmla="*/ 240547 w 401048"/>
                      <a:gd name="connsiteY273" fmla="*/ 67439 h 219904"/>
                      <a:gd name="connsiteX274" fmla="*/ 242308 w 401048"/>
                      <a:gd name="connsiteY274" fmla="*/ 67048 h 219904"/>
                      <a:gd name="connsiteX275" fmla="*/ 236440 w 401048"/>
                      <a:gd name="connsiteY275" fmla="*/ 61066 h 219904"/>
                      <a:gd name="connsiteX276" fmla="*/ 232634 w 401048"/>
                      <a:gd name="connsiteY276" fmla="*/ 55394 h 219904"/>
                      <a:gd name="connsiteX277" fmla="*/ 230205 w 401048"/>
                      <a:gd name="connsiteY277" fmla="*/ 48361 h 219904"/>
                      <a:gd name="connsiteX278" fmla="*/ 229831 w 401048"/>
                      <a:gd name="connsiteY278" fmla="*/ 46299 h 219904"/>
                      <a:gd name="connsiteX279" fmla="*/ 229464 w 401048"/>
                      <a:gd name="connsiteY279" fmla="*/ 41914 h 219904"/>
                      <a:gd name="connsiteX280" fmla="*/ 228673 w 401048"/>
                      <a:gd name="connsiteY280" fmla="*/ 40765 h 219904"/>
                      <a:gd name="connsiteX281" fmla="*/ 227329 w 401048"/>
                      <a:gd name="connsiteY281" fmla="*/ 39714 h 219904"/>
                      <a:gd name="connsiteX282" fmla="*/ 226766 w 401048"/>
                      <a:gd name="connsiteY282" fmla="*/ 38344 h 219904"/>
                      <a:gd name="connsiteX283" fmla="*/ 226986 w 401048"/>
                      <a:gd name="connsiteY283" fmla="*/ 36674 h 219904"/>
                      <a:gd name="connsiteX284" fmla="*/ 226726 w 401048"/>
                      <a:gd name="connsiteY284" fmla="*/ 35239 h 219904"/>
                      <a:gd name="connsiteX285" fmla="*/ 225161 w 401048"/>
                      <a:gd name="connsiteY285" fmla="*/ 32248 h 219904"/>
                      <a:gd name="connsiteX286" fmla="*/ 219187 w 401048"/>
                      <a:gd name="connsiteY286" fmla="*/ 11287 h 219904"/>
                      <a:gd name="connsiteX287" fmla="*/ 219203 w 401048"/>
                      <a:gd name="connsiteY287" fmla="*/ 9242 h 219904"/>
                      <a:gd name="connsiteX288" fmla="*/ 220035 w 401048"/>
                      <a:gd name="connsiteY288" fmla="*/ 7701 h 219904"/>
                      <a:gd name="connsiteX289" fmla="*/ 222162 w 401048"/>
                      <a:gd name="connsiteY289" fmla="*/ 6821 h 219904"/>
                      <a:gd name="connsiteX290" fmla="*/ 225593 w 401048"/>
                      <a:gd name="connsiteY290" fmla="*/ 6601 h 219904"/>
                      <a:gd name="connsiteX291" fmla="*/ 226677 w 401048"/>
                      <a:gd name="connsiteY291" fmla="*/ 6120 h 219904"/>
                      <a:gd name="connsiteX292" fmla="*/ 225413 w 401048"/>
                      <a:gd name="connsiteY292" fmla="*/ 5379 h 219904"/>
                      <a:gd name="connsiteX293" fmla="*/ 223172 w 401048"/>
                      <a:gd name="connsiteY293" fmla="*/ 3129 h 219904"/>
                      <a:gd name="connsiteX294" fmla="*/ 222879 w 401048"/>
                      <a:gd name="connsiteY294" fmla="*/ 2094 h 219904"/>
                      <a:gd name="connsiteX295" fmla="*/ 224378 w 401048"/>
                      <a:gd name="connsiteY295" fmla="*/ 0 h 219904"/>
                      <a:gd name="connsiteX296" fmla="*/ 232039 w 401048"/>
                      <a:gd name="connsiteY296" fmla="*/ 921 h 21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Lst>
                    <a:rect l="l" t="t" r="r" b="b"/>
                    <a:pathLst>
                      <a:path w="401048" h="219904">
                        <a:moveTo>
                          <a:pt x="237589" y="2812"/>
                        </a:moveTo>
                        <a:lnTo>
                          <a:pt x="247084" y="7286"/>
                        </a:lnTo>
                        <a:lnTo>
                          <a:pt x="248053" y="7041"/>
                        </a:lnTo>
                        <a:lnTo>
                          <a:pt x="249088" y="4816"/>
                        </a:lnTo>
                        <a:lnTo>
                          <a:pt x="251118" y="3382"/>
                        </a:lnTo>
                        <a:lnTo>
                          <a:pt x="254157" y="3847"/>
                        </a:lnTo>
                        <a:lnTo>
                          <a:pt x="262739" y="7090"/>
                        </a:lnTo>
                        <a:lnTo>
                          <a:pt x="272674" y="12860"/>
                        </a:lnTo>
                        <a:lnTo>
                          <a:pt x="279340" y="15696"/>
                        </a:lnTo>
                        <a:lnTo>
                          <a:pt x="284018" y="19551"/>
                        </a:lnTo>
                        <a:lnTo>
                          <a:pt x="287205" y="23186"/>
                        </a:lnTo>
                        <a:lnTo>
                          <a:pt x="289201" y="25981"/>
                        </a:lnTo>
                        <a:lnTo>
                          <a:pt x="289291" y="27082"/>
                        </a:lnTo>
                        <a:lnTo>
                          <a:pt x="288835" y="28206"/>
                        </a:lnTo>
                        <a:lnTo>
                          <a:pt x="289307" y="29665"/>
                        </a:lnTo>
                        <a:lnTo>
                          <a:pt x="290709" y="31466"/>
                        </a:lnTo>
                        <a:lnTo>
                          <a:pt x="291483" y="33072"/>
                        </a:lnTo>
                        <a:lnTo>
                          <a:pt x="292127" y="36503"/>
                        </a:lnTo>
                        <a:lnTo>
                          <a:pt x="293374" y="40961"/>
                        </a:lnTo>
                        <a:lnTo>
                          <a:pt x="293692" y="43194"/>
                        </a:lnTo>
                        <a:lnTo>
                          <a:pt x="302518" y="63144"/>
                        </a:lnTo>
                        <a:lnTo>
                          <a:pt x="304205" y="66657"/>
                        </a:lnTo>
                        <a:lnTo>
                          <a:pt x="305281" y="68278"/>
                        </a:lnTo>
                        <a:lnTo>
                          <a:pt x="311450" y="75964"/>
                        </a:lnTo>
                        <a:lnTo>
                          <a:pt x="314734" y="81530"/>
                        </a:lnTo>
                        <a:lnTo>
                          <a:pt x="315044" y="85246"/>
                        </a:lnTo>
                        <a:lnTo>
                          <a:pt x="315484" y="86322"/>
                        </a:lnTo>
                        <a:lnTo>
                          <a:pt x="315631" y="88025"/>
                        </a:lnTo>
                        <a:lnTo>
                          <a:pt x="315476" y="90389"/>
                        </a:lnTo>
                        <a:lnTo>
                          <a:pt x="314759" y="92410"/>
                        </a:lnTo>
                        <a:lnTo>
                          <a:pt x="313471" y="94097"/>
                        </a:lnTo>
                        <a:lnTo>
                          <a:pt x="312224" y="96477"/>
                        </a:lnTo>
                        <a:lnTo>
                          <a:pt x="310334" y="101701"/>
                        </a:lnTo>
                        <a:lnTo>
                          <a:pt x="310171" y="102980"/>
                        </a:lnTo>
                        <a:lnTo>
                          <a:pt x="311540" y="104781"/>
                        </a:lnTo>
                        <a:lnTo>
                          <a:pt x="320170" y="110975"/>
                        </a:lnTo>
                        <a:lnTo>
                          <a:pt x="325460" y="118391"/>
                        </a:lnTo>
                        <a:lnTo>
                          <a:pt x="327937" y="119687"/>
                        </a:lnTo>
                        <a:lnTo>
                          <a:pt x="334604" y="124324"/>
                        </a:lnTo>
                        <a:lnTo>
                          <a:pt x="341800" y="126948"/>
                        </a:lnTo>
                        <a:lnTo>
                          <a:pt x="344212" y="128081"/>
                        </a:lnTo>
                        <a:lnTo>
                          <a:pt x="346502" y="129736"/>
                        </a:lnTo>
                        <a:lnTo>
                          <a:pt x="347187" y="129809"/>
                        </a:lnTo>
                        <a:lnTo>
                          <a:pt x="348580" y="129491"/>
                        </a:lnTo>
                        <a:lnTo>
                          <a:pt x="348980" y="129035"/>
                        </a:lnTo>
                        <a:lnTo>
                          <a:pt x="349077" y="128358"/>
                        </a:lnTo>
                        <a:lnTo>
                          <a:pt x="347048" y="124854"/>
                        </a:lnTo>
                        <a:lnTo>
                          <a:pt x="346910" y="123477"/>
                        </a:lnTo>
                        <a:lnTo>
                          <a:pt x="347871" y="123232"/>
                        </a:lnTo>
                        <a:lnTo>
                          <a:pt x="355296" y="129214"/>
                        </a:lnTo>
                        <a:lnTo>
                          <a:pt x="359297" y="131594"/>
                        </a:lnTo>
                        <a:lnTo>
                          <a:pt x="364758" y="134096"/>
                        </a:lnTo>
                        <a:lnTo>
                          <a:pt x="374162" y="139841"/>
                        </a:lnTo>
                        <a:lnTo>
                          <a:pt x="375466" y="140306"/>
                        </a:lnTo>
                        <a:lnTo>
                          <a:pt x="380552" y="139776"/>
                        </a:lnTo>
                        <a:lnTo>
                          <a:pt x="381937" y="140143"/>
                        </a:lnTo>
                        <a:lnTo>
                          <a:pt x="382809" y="140705"/>
                        </a:lnTo>
                        <a:lnTo>
                          <a:pt x="383168" y="141479"/>
                        </a:lnTo>
                        <a:lnTo>
                          <a:pt x="383372" y="144878"/>
                        </a:lnTo>
                        <a:lnTo>
                          <a:pt x="384757" y="146548"/>
                        </a:lnTo>
                        <a:lnTo>
                          <a:pt x="392776" y="145831"/>
                        </a:lnTo>
                        <a:lnTo>
                          <a:pt x="395026" y="145986"/>
                        </a:lnTo>
                        <a:lnTo>
                          <a:pt x="396460" y="146516"/>
                        </a:lnTo>
                        <a:lnTo>
                          <a:pt x="397650" y="147632"/>
                        </a:lnTo>
                        <a:lnTo>
                          <a:pt x="399369" y="151259"/>
                        </a:lnTo>
                        <a:lnTo>
                          <a:pt x="400967" y="158414"/>
                        </a:lnTo>
                        <a:lnTo>
                          <a:pt x="401048" y="160965"/>
                        </a:lnTo>
                        <a:lnTo>
                          <a:pt x="400315" y="165260"/>
                        </a:lnTo>
                        <a:lnTo>
                          <a:pt x="399141" y="166833"/>
                        </a:lnTo>
                        <a:lnTo>
                          <a:pt x="397625" y="167330"/>
                        </a:lnTo>
                        <a:lnTo>
                          <a:pt x="393355" y="166841"/>
                        </a:lnTo>
                        <a:lnTo>
                          <a:pt x="390348" y="165488"/>
                        </a:lnTo>
                        <a:lnTo>
                          <a:pt x="388783" y="163753"/>
                        </a:lnTo>
                        <a:lnTo>
                          <a:pt x="387389" y="159979"/>
                        </a:lnTo>
                        <a:lnTo>
                          <a:pt x="386713" y="159254"/>
                        </a:lnTo>
                        <a:lnTo>
                          <a:pt x="386102" y="160012"/>
                        </a:lnTo>
                        <a:lnTo>
                          <a:pt x="384692" y="163467"/>
                        </a:lnTo>
                        <a:lnTo>
                          <a:pt x="383771" y="164991"/>
                        </a:lnTo>
                        <a:lnTo>
                          <a:pt x="382646" y="166002"/>
                        </a:lnTo>
                        <a:lnTo>
                          <a:pt x="380519" y="165749"/>
                        </a:lnTo>
                        <a:lnTo>
                          <a:pt x="377382" y="164250"/>
                        </a:lnTo>
                        <a:lnTo>
                          <a:pt x="371481" y="160395"/>
                        </a:lnTo>
                        <a:lnTo>
                          <a:pt x="369395" y="159450"/>
                        </a:lnTo>
                        <a:lnTo>
                          <a:pt x="368099" y="159613"/>
                        </a:lnTo>
                        <a:lnTo>
                          <a:pt x="365279" y="160916"/>
                        </a:lnTo>
                        <a:lnTo>
                          <a:pt x="360927" y="163345"/>
                        </a:lnTo>
                        <a:lnTo>
                          <a:pt x="359126" y="165146"/>
                        </a:lnTo>
                        <a:lnTo>
                          <a:pt x="359892" y="166287"/>
                        </a:lnTo>
                        <a:lnTo>
                          <a:pt x="360389" y="167721"/>
                        </a:lnTo>
                        <a:lnTo>
                          <a:pt x="360642" y="169457"/>
                        </a:lnTo>
                        <a:lnTo>
                          <a:pt x="360487" y="170729"/>
                        </a:lnTo>
                        <a:lnTo>
                          <a:pt x="359941" y="171560"/>
                        </a:lnTo>
                        <a:lnTo>
                          <a:pt x="358507" y="172530"/>
                        </a:lnTo>
                        <a:lnTo>
                          <a:pt x="355467" y="172701"/>
                        </a:lnTo>
                        <a:lnTo>
                          <a:pt x="351099" y="171951"/>
                        </a:lnTo>
                        <a:lnTo>
                          <a:pt x="347635" y="170623"/>
                        </a:lnTo>
                        <a:lnTo>
                          <a:pt x="341588" y="167078"/>
                        </a:lnTo>
                        <a:lnTo>
                          <a:pt x="340194" y="166589"/>
                        </a:lnTo>
                        <a:lnTo>
                          <a:pt x="338328" y="167371"/>
                        </a:lnTo>
                        <a:lnTo>
                          <a:pt x="337578" y="168406"/>
                        </a:lnTo>
                        <a:lnTo>
                          <a:pt x="338735" y="169881"/>
                        </a:lnTo>
                        <a:lnTo>
                          <a:pt x="341816" y="171780"/>
                        </a:lnTo>
                        <a:lnTo>
                          <a:pt x="345573" y="174942"/>
                        </a:lnTo>
                        <a:lnTo>
                          <a:pt x="346576" y="175553"/>
                        </a:lnTo>
                        <a:lnTo>
                          <a:pt x="347545" y="175488"/>
                        </a:lnTo>
                        <a:lnTo>
                          <a:pt x="347888" y="176067"/>
                        </a:lnTo>
                        <a:lnTo>
                          <a:pt x="348320" y="177770"/>
                        </a:lnTo>
                        <a:lnTo>
                          <a:pt x="348124" y="180688"/>
                        </a:lnTo>
                        <a:lnTo>
                          <a:pt x="346315" y="186515"/>
                        </a:lnTo>
                        <a:lnTo>
                          <a:pt x="346127" y="187892"/>
                        </a:lnTo>
                        <a:lnTo>
                          <a:pt x="346861" y="187566"/>
                        </a:lnTo>
                        <a:lnTo>
                          <a:pt x="351979" y="181845"/>
                        </a:lnTo>
                        <a:lnTo>
                          <a:pt x="354627" y="180248"/>
                        </a:lnTo>
                        <a:lnTo>
                          <a:pt x="360357" y="177721"/>
                        </a:lnTo>
                        <a:lnTo>
                          <a:pt x="362826" y="175871"/>
                        </a:lnTo>
                        <a:lnTo>
                          <a:pt x="370153" y="175366"/>
                        </a:lnTo>
                        <a:lnTo>
                          <a:pt x="372769" y="176377"/>
                        </a:lnTo>
                        <a:lnTo>
                          <a:pt x="374448" y="178137"/>
                        </a:lnTo>
                        <a:lnTo>
                          <a:pt x="374513" y="178936"/>
                        </a:lnTo>
                        <a:lnTo>
                          <a:pt x="372598" y="181006"/>
                        </a:lnTo>
                        <a:lnTo>
                          <a:pt x="372255" y="182041"/>
                        </a:lnTo>
                        <a:lnTo>
                          <a:pt x="372149" y="183336"/>
                        </a:lnTo>
                        <a:lnTo>
                          <a:pt x="372321" y="184510"/>
                        </a:lnTo>
                        <a:lnTo>
                          <a:pt x="372761" y="185545"/>
                        </a:lnTo>
                        <a:lnTo>
                          <a:pt x="374081" y="186507"/>
                        </a:lnTo>
                        <a:lnTo>
                          <a:pt x="376412" y="186083"/>
                        </a:lnTo>
                        <a:lnTo>
                          <a:pt x="377055" y="186335"/>
                        </a:lnTo>
                        <a:lnTo>
                          <a:pt x="378311" y="187346"/>
                        </a:lnTo>
                        <a:lnTo>
                          <a:pt x="379134" y="188919"/>
                        </a:lnTo>
                        <a:lnTo>
                          <a:pt x="379174" y="191095"/>
                        </a:lnTo>
                        <a:lnTo>
                          <a:pt x="377455" y="195871"/>
                        </a:lnTo>
                        <a:lnTo>
                          <a:pt x="374391" y="197435"/>
                        </a:lnTo>
                        <a:lnTo>
                          <a:pt x="365010" y="200320"/>
                        </a:lnTo>
                        <a:lnTo>
                          <a:pt x="361791" y="201820"/>
                        </a:lnTo>
                        <a:lnTo>
                          <a:pt x="355597" y="202871"/>
                        </a:lnTo>
                        <a:lnTo>
                          <a:pt x="353201" y="204265"/>
                        </a:lnTo>
                        <a:lnTo>
                          <a:pt x="351710" y="204689"/>
                        </a:lnTo>
                        <a:lnTo>
                          <a:pt x="345084" y="204469"/>
                        </a:lnTo>
                        <a:lnTo>
                          <a:pt x="337497" y="205357"/>
                        </a:lnTo>
                        <a:lnTo>
                          <a:pt x="328760" y="203621"/>
                        </a:lnTo>
                        <a:lnTo>
                          <a:pt x="322632" y="202847"/>
                        </a:lnTo>
                        <a:lnTo>
                          <a:pt x="315558" y="200092"/>
                        </a:lnTo>
                        <a:lnTo>
                          <a:pt x="312885" y="200785"/>
                        </a:lnTo>
                        <a:lnTo>
                          <a:pt x="310130" y="202562"/>
                        </a:lnTo>
                        <a:lnTo>
                          <a:pt x="296878" y="200434"/>
                        </a:lnTo>
                        <a:lnTo>
                          <a:pt x="295306" y="198886"/>
                        </a:lnTo>
                        <a:lnTo>
                          <a:pt x="295819" y="197892"/>
                        </a:lnTo>
                        <a:lnTo>
                          <a:pt x="298965" y="194607"/>
                        </a:lnTo>
                        <a:lnTo>
                          <a:pt x="299169" y="193923"/>
                        </a:lnTo>
                        <a:lnTo>
                          <a:pt x="299014" y="193336"/>
                        </a:lnTo>
                        <a:lnTo>
                          <a:pt x="292999" y="192782"/>
                        </a:lnTo>
                        <a:lnTo>
                          <a:pt x="286284" y="191038"/>
                        </a:lnTo>
                        <a:lnTo>
                          <a:pt x="279536" y="190166"/>
                        </a:lnTo>
                        <a:lnTo>
                          <a:pt x="274491" y="190419"/>
                        </a:lnTo>
                        <a:lnTo>
                          <a:pt x="271207" y="189775"/>
                        </a:lnTo>
                        <a:lnTo>
                          <a:pt x="267996" y="188340"/>
                        </a:lnTo>
                        <a:lnTo>
                          <a:pt x="266235" y="187020"/>
                        </a:lnTo>
                        <a:lnTo>
                          <a:pt x="265918" y="185838"/>
                        </a:lnTo>
                        <a:lnTo>
                          <a:pt x="265877" y="184534"/>
                        </a:lnTo>
                        <a:lnTo>
                          <a:pt x="266162" y="181926"/>
                        </a:lnTo>
                        <a:lnTo>
                          <a:pt x="265738" y="180093"/>
                        </a:lnTo>
                        <a:lnTo>
                          <a:pt x="264288" y="178642"/>
                        </a:lnTo>
                        <a:lnTo>
                          <a:pt x="261313" y="177338"/>
                        </a:lnTo>
                        <a:lnTo>
                          <a:pt x="258355" y="177501"/>
                        </a:lnTo>
                        <a:lnTo>
                          <a:pt x="255853" y="178936"/>
                        </a:lnTo>
                        <a:lnTo>
                          <a:pt x="253473" y="181592"/>
                        </a:lnTo>
                        <a:lnTo>
                          <a:pt x="249064" y="188952"/>
                        </a:lnTo>
                        <a:lnTo>
                          <a:pt x="246855" y="190207"/>
                        </a:lnTo>
                        <a:lnTo>
                          <a:pt x="241126" y="195528"/>
                        </a:lnTo>
                        <a:lnTo>
                          <a:pt x="238983" y="196832"/>
                        </a:lnTo>
                        <a:lnTo>
                          <a:pt x="228486" y="198935"/>
                        </a:lnTo>
                        <a:lnTo>
                          <a:pt x="216041" y="199799"/>
                        </a:lnTo>
                        <a:lnTo>
                          <a:pt x="211388" y="201445"/>
                        </a:lnTo>
                        <a:lnTo>
                          <a:pt x="206979" y="204526"/>
                        </a:lnTo>
                        <a:lnTo>
                          <a:pt x="201633" y="207492"/>
                        </a:lnTo>
                        <a:lnTo>
                          <a:pt x="188585" y="211151"/>
                        </a:lnTo>
                        <a:lnTo>
                          <a:pt x="176523" y="213189"/>
                        </a:lnTo>
                        <a:lnTo>
                          <a:pt x="163891" y="214077"/>
                        </a:lnTo>
                        <a:lnTo>
                          <a:pt x="154454" y="215463"/>
                        </a:lnTo>
                        <a:lnTo>
                          <a:pt x="151748" y="214770"/>
                        </a:lnTo>
                        <a:lnTo>
                          <a:pt x="147518" y="215031"/>
                        </a:lnTo>
                        <a:lnTo>
                          <a:pt x="142979" y="217060"/>
                        </a:lnTo>
                        <a:lnTo>
                          <a:pt x="137836" y="217443"/>
                        </a:lnTo>
                        <a:lnTo>
                          <a:pt x="118318" y="218185"/>
                        </a:lnTo>
                        <a:lnTo>
                          <a:pt x="109361" y="219546"/>
                        </a:lnTo>
                        <a:lnTo>
                          <a:pt x="104447" y="219904"/>
                        </a:lnTo>
                        <a:lnTo>
                          <a:pt x="100600" y="219717"/>
                        </a:lnTo>
                        <a:lnTo>
                          <a:pt x="97919" y="219154"/>
                        </a:lnTo>
                        <a:lnTo>
                          <a:pt x="95344" y="217353"/>
                        </a:lnTo>
                        <a:lnTo>
                          <a:pt x="92695" y="214574"/>
                        </a:lnTo>
                        <a:lnTo>
                          <a:pt x="87324" y="207158"/>
                        </a:lnTo>
                        <a:lnTo>
                          <a:pt x="85784" y="204037"/>
                        </a:lnTo>
                        <a:lnTo>
                          <a:pt x="86387" y="198699"/>
                        </a:lnTo>
                        <a:lnTo>
                          <a:pt x="85988" y="195594"/>
                        </a:lnTo>
                        <a:lnTo>
                          <a:pt x="84203" y="188894"/>
                        </a:lnTo>
                        <a:lnTo>
                          <a:pt x="83861" y="188324"/>
                        </a:lnTo>
                        <a:lnTo>
                          <a:pt x="74464" y="185830"/>
                        </a:lnTo>
                        <a:lnTo>
                          <a:pt x="68270" y="185040"/>
                        </a:lnTo>
                        <a:lnTo>
                          <a:pt x="58939" y="184885"/>
                        </a:lnTo>
                        <a:lnTo>
                          <a:pt x="47537" y="185235"/>
                        </a:lnTo>
                        <a:lnTo>
                          <a:pt x="36144" y="184428"/>
                        </a:lnTo>
                        <a:lnTo>
                          <a:pt x="30129" y="183516"/>
                        </a:lnTo>
                        <a:lnTo>
                          <a:pt x="24156" y="182032"/>
                        </a:lnTo>
                        <a:lnTo>
                          <a:pt x="13936" y="178161"/>
                        </a:lnTo>
                        <a:lnTo>
                          <a:pt x="13366" y="177762"/>
                        </a:lnTo>
                        <a:lnTo>
                          <a:pt x="12567" y="176474"/>
                        </a:lnTo>
                        <a:lnTo>
                          <a:pt x="11564" y="174290"/>
                        </a:lnTo>
                        <a:lnTo>
                          <a:pt x="9014" y="171438"/>
                        </a:lnTo>
                        <a:lnTo>
                          <a:pt x="5444" y="168178"/>
                        </a:lnTo>
                        <a:lnTo>
                          <a:pt x="10538" y="168170"/>
                        </a:lnTo>
                        <a:lnTo>
                          <a:pt x="9470" y="166140"/>
                        </a:lnTo>
                        <a:lnTo>
                          <a:pt x="6316" y="163272"/>
                        </a:lnTo>
                        <a:lnTo>
                          <a:pt x="3162" y="160395"/>
                        </a:lnTo>
                        <a:lnTo>
                          <a:pt x="0" y="157526"/>
                        </a:lnTo>
                        <a:lnTo>
                          <a:pt x="497" y="152482"/>
                        </a:lnTo>
                        <a:lnTo>
                          <a:pt x="11907" y="152490"/>
                        </a:lnTo>
                        <a:lnTo>
                          <a:pt x="25003" y="152498"/>
                        </a:lnTo>
                        <a:lnTo>
                          <a:pt x="38100" y="152498"/>
                        </a:lnTo>
                        <a:lnTo>
                          <a:pt x="51197" y="152506"/>
                        </a:lnTo>
                        <a:lnTo>
                          <a:pt x="64301" y="152514"/>
                        </a:lnTo>
                        <a:lnTo>
                          <a:pt x="77390" y="152514"/>
                        </a:lnTo>
                        <a:lnTo>
                          <a:pt x="90495" y="152522"/>
                        </a:lnTo>
                        <a:lnTo>
                          <a:pt x="104039" y="152514"/>
                        </a:lnTo>
                        <a:lnTo>
                          <a:pt x="104105" y="156516"/>
                        </a:lnTo>
                        <a:lnTo>
                          <a:pt x="104186" y="160004"/>
                        </a:lnTo>
                        <a:lnTo>
                          <a:pt x="106973" y="159979"/>
                        </a:lnTo>
                        <a:lnTo>
                          <a:pt x="109769" y="159955"/>
                        </a:lnTo>
                        <a:lnTo>
                          <a:pt x="113493" y="156524"/>
                        </a:lnTo>
                        <a:lnTo>
                          <a:pt x="113485" y="152530"/>
                        </a:lnTo>
                        <a:lnTo>
                          <a:pt x="121235" y="152530"/>
                        </a:lnTo>
                        <a:lnTo>
                          <a:pt x="128986" y="152530"/>
                        </a:lnTo>
                        <a:lnTo>
                          <a:pt x="136736" y="152530"/>
                        </a:lnTo>
                        <a:lnTo>
                          <a:pt x="144487" y="152530"/>
                        </a:lnTo>
                        <a:lnTo>
                          <a:pt x="152237" y="152530"/>
                        </a:lnTo>
                        <a:lnTo>
                          <a:pt x="159987" y="152530"/>
                        </a:lnTo>
                        <a:lnTo>
                          <a:pt x="167738" y="152530"/>
                        </a:lnTo>
                        <a:lnTo>
                          <a:pt x="175488" y="152530"/>
                        </a:lnTo>
                        <a:lnTo>
                          <a:pt x="175480" y="128228"/>
                        </a:lnTo>
                        <a:lnTo>
                          <a:pt x="175480" y="103746"/>
                        </a:lnTo>
                        <a:lnTo>
                          <a:pt x="175472" y="79118"/>
                        </a:lnTo>
                        <a:lnTo>
                          <a:pt x="175464" y="54318"/>
                        </a:lnTo>
                        <a:lnTo>
                          <a:pt x="175456" y="29331"/>
                        </a:lnTo>
                        <a:lnTo>
                          <a:pt x="175447" y="17033"/>
                        </a:lnTo>
                        <a:lnTo>
                          <a:pt x="185162" y="21947"/>
                        </a:lnTo>
                        <a:lnTo>
                          <a:pt x="188658" y="25069"/>
                        </a:lnTo>
                        <a:lnTo>
                          <a:pt x="191437" y="26601"/>
                        </a:lnTo>
                        <a:lnTo>
                          <a:pt x="197264" y="28842"/>
                        </a:lnTo>
                        <a:lnTo>
                          <a:pt x="199228" y="30676"/>
                        </a:lnTo>
                        <a:lnTo>
                          <a:pt x="200606" y="31409"/>
                        </a:lnTo>
                        <a:lnTo>
                          <a:pt x="201086" y="32183"/>
                        </a:lnTo>
                        <a:lnTo>
                          <a:pt x="200655" y="32990"/>
                        </a:lnTo>
                        <a:lnTo>
                          <a:pt x="200434" y="34865"/>
                        </a:lnTo>
                        <a:lnTo>
                          <a:pt x="201510" y="35468"/>
                        </a:lnTo>
                        <a:lnTo>
                          <a:pt x="205308" y="36169"/>
                        </a:lnTo>
                        <a:lnTo>
                          <a:pt x="206376" y="36935"/>
                        </a:lnTo>
                        <a:lnTo>
                          <a:pt x="207777" y="39322"/>
                        </a:lnTo>
                        <a:lnTo>
                          <a:pt x="209530" y="43340"/>
                        </a:lnTo>
                        <a:lnTo>
                          <a:pt x="211045" y="47684"/>
                        </a:lnTo>
                        <a:lnTo>
                          <a:pt x="213442" y="55875"/>
                        </a:lnTo>
                        <a:lnTo>
                          <a:pt x="218234" y="66787"/>
                        </a:lnTo>
                        <a:lnTo>
                          <a:pt x="219872" y="73592"/>
                        </a:lnTo>
                        <a:lnTo>
                          <a:pt x="220426" y="74839"/>
                        </a:lnTo>
                        <a:lnTo>
                          <a:pt x="221510" y="75703"/>
                        </a:lnTo>
                        <a:lnTo>
                          <a:pt x="224582" y="76950"/>
                        </a:lnTo>
                        <a:lnTo>
                          <a:pt x="226954" y="78726"/>
                        </a:lnTo>
                        <a:lnTo>
                          <a:pt x="229733" y="79289"/>
                        </a:lnTo>
                        <a:lnTo>
                          <a:pt x="230417" y="79126"/>
                        </a:lnTo>
                        <a:lnTo>
                          <a:pt x="231110" y="77610"/>
                        </a:lnTo>
                        <a:lnTo>
                          <a:pt x="232846" y="75189"/>
                        </a:lnTo>
                        <a:lnTo>
                          <a:pt x="241289" y="70487"/>
                        </a:lnTo>
                        <a:lnTo>
                          <a:pt x="241737" y="69754"/>
                        </a:lnTo>
                        <a:lnTo>
                          <a:pt x="240735" y="68678"/>
                        </a:lnTo>
                        <a:lnTo>
                          <a:pt x="240425" y="67936"/>
                        </a:lnTo>
                        <a:lnTo>
                          <a:pt x="240547" y="67439"/>
                        </a:lnTo>
                        <a:lnTo>
                          <a:pt x="242308" y="67048"/>
                        </a:lnTo>
                        <a:lnTo>
                          <a:pt x="236440" y="61066"/>
                        </a:lnTo>
                        <a:lnTo>
                          <a:pt x="232634" y="55394"/>
                        </a:lnTo>
                        <a:lnTo>
                          <a:pt x="230205" y="48361"/>
                        </a:lnTo>
                        <a:lnTo>
                          <a:pt x="229831" y="46299"/>
                        </a:lnTo>
                        <a:lnTo>
                          <a:pt x="229464" y="41914"/>
                        </a:lnTo>
                        <a:lnTo>
                          <a:pt x="228673" y="40765"/>
                        </a:lnTo>
                        <a:lnTo>
                          <a:pt x="227329" y="39714"/>
                        </a:lnTo>
                        <a:lnTo>
                          <a:pt x="226766" y="38344"/>
                        </a:lnTo>
                        <a:lnTo>
                          <a:pt x="226986" y="36674"/>
                        </a:lnTo>
                        <a:lnTo>
                          <a:pt x="226726" y="35239"/>
                        </a:lnTo>
                        <a:lnTo>
                          <a:pt x="225161" y="32248"/>
                        </a:lnTo>
                        <a:lnTo>
                          <a:pt x="219187" y="11287"/>
                        </a:lnTo>
                        <a:lnTo>
                          <a:pt x="219203" y="9242"/>
                        </a:lnTo>
                        <a:lnTo>
                          <a:pt x="220035" y="7701"/>
                        </a:lnTo>
                        <a:lnTo>
                          <a:pt x="222162" y="6821"/>
                        </a:lnTo>
                        <a:lnTo>
                          <a:pt x="225593" y="6601"/>
                        </a:lnTo>
                        <a:lnTo>
                          <a:pt x="226677" y="6120"/>
                        </a:lnTo>
                        <a:lnTo>
                          <a:pt x="225413" y="5379"/>
                        </a:lnTo>
                        <a:lnTo>
                          <a:pt x="223172" y="3129"/>
                        </a:lnTo>
                        <a:lnTo>
                          <a:pt x="222879" y="2094"/>
                        </a:lnTo>
                        <a:lnTo>
                          <a:pt x="224378" y="0"/>
                        </a:lnTo>
                        <a:lnTo>
                          <a:pt x="232039" y="921"/>
                        </a:lnTo>
                        <a:close/>
                      </a:path>
                    </a:pathLst>
                  </a:custGeom>
                  <a:solidFill>
                    <a:srgbClr val="D6D6D2"/>
                  </a:solidFill>
                  <a:ln w="6112" cap="rnd">
                    <a:solidFill>
                      <a:srgbClr val="FFFFFF"/>
                    </a:solidFill>
                    <a:prstDash val="solid"/>
                    <a:round/>
                  </a:ln>
                </p:spPr>
                <p:txBody>
                  <a:bodyPr rtlCol="0" anchor="ctr"/>
                  <a:lstStyle/>
                  <a:p>
                    <a:endParaRPr lang="en-US"/>
                  </a:p>
                </p:txBody>
              </p:sp>
              <p:sp>
                <p:nvSpPr>
                  <p:cNvPr id="538" name="Freeform: Shape 537">
                    <a:extLst>
                      <a:ext uri="{FF2B5EF4-FFF2-40B4-BE49-F238E27FC236}">
                        <a16:creationId xmlns:a16="http://schemas.microsoft.com/office/drawing/2014/main" id="{D9468D06-0D75-4B30-9A45-4A0EDBDCFF84}"/>
                      </a:ext>
                    </a:extLst>
                  </p:cNvPr>
                  <p:cNvSpPr/>
                  <p:nvPr/>
                </p:nvSpPr>
                <p:spPr>
                  <a:xfrm>
                    <a:off x="2950447" y="2032520"/>
                    <a:ext cx="977935" cy="511191"/>
                  </a:xfrm>
                  <a:custGeom>
                    <a:avLst/>
                    <a:gdLst>
                      <a:gd name="connsiteX0" fmla="*/ 654122 w 977935"/>
                      <a:gd name="connsiteY0" fmla="*/ 10130 h 511191"/>
                      <a:gd name="connsiteX1" fmla="*/ 657521 w 977935"/>
                      <a:gd name="connsiteY1" fmla="*/ 10424 h 511191"/>
                      <a:gd name="connsiteX2" fmla="*/ 659639 w 977935"/>
                      <a:gd name="connsiteY2" fmla="*/ 9853 h 511191"/>
                      <a:gd name="connsiteX3" fmla="*/ 666477 w 977935"/>
                      <a:gd name="connsiteY3" fmla="*/ 10073 h 511191"/>
                      <a:gd name="connsiteX4" fmla="*/ 668058 w 977935"/>
                      <a:gd name="connsiteY4" fmla="*/ 11141 h 511191"/>
                      <a:gd name="connsiteX5" fmla="*/ 667944 w 977935"/>
                      <a:gd name="connsiteY5" fmla="*/ 12331 h 511191"/>
                      <a:gd name="connsiteX6" fmla="*/ 667186 w 977935"/>
                      <a:gd name="connsiteY6" fmla="*/ 14254 h 511191"/>
                      <a:gd name="connsiteX7" fmla="*/ 667651 w 977935"/>
                      <a:gd name="connsiteY7" fmla="*/ 15908 h 511191"/>
                      <a:gd name="connsiteX8" fmla="*/ 672288 w 977935"/>
                      <a:gd name="connsiteY8" fmla="*/ 19070 h 511191"/>
                      <a:gd name="connsiteX9" fmla="*/ 676460 w 977935"/>
                      <a:gd name="connsiteY9" fmla="*/ 21254 h 511191"/>
                      <a:gd name="connsiteX10" fmla="*/ 680209 w 977935"/>
                      <a:gd name="connsiteY10" fmla="*/ 23976 h 511191"/>
                      <a:gd name="connsiteX11" fmla="*/ 685800 w 977935"/>
                      <a:gd name="connsiteY11" fmla="*/ 29657 h 511191"/>
                      <a:gd name="connsiteX12" fmla="*/ 687006 w 977935"/>
                      <a:gd name="connsiteY12" fmla="*/ 31262 h 511191"/>
                      <a:gd name="connsiteX13" fmla="*/ 687846 w 977935"/>
                      <a:gd name="connsiteY13" fmla="*/ 32998 h 511191"/>
                      <a:gd name="connsiteX14" fmla="*/ 689296 w 977935"/>
                      <a:gd name="connsiteY14" fmla="*/ 39322 h 511191"/>
                      <a:gd name="connsiteX15" fmla="*/ 689484 w 977935"/>
                      <a:gd name="connsiteY15" fmla="*/ 41718 h 511191"/>
                      <a:gd name="connsiteX16" fmla="*/ 688946 w 977935"/>
                      <a:gd name="connsiteY16" fmla="*/ 48646 h 511191"/>
                      <a:gd name="connsiteX17" fmla="*/ 688506 w 977935"/>
                      <a:gd name="connsiteY17" fmla="*/ 49950 h 511191"/>
                      <a:gd name="connsiteX18" fmla="*/ 687039 w 977935"/>
                      <a:gd name="connsiteY18" fmla="*/ 51514 h 511191"/>
                      <a:gd name="connsiteX19" fmla="*/ 687544 w 977935"/>
                      <a:gd name="connsiteY19" fmla="*/ 52150 h 511191"/>
                      <a:gd name="connsiteX20" fmla="*/ 691953 w 977935"/>
                      <a:gd name="connsiteY20" fmla="*/ 53951 h 511191"/>
                      <a:gd name="connsiteX21" fmla="*/ 695457 w 977935"/>
                      <a:gd name="connsiteY21" fmla="*/ 57529 h 511191"/>
                      <a:gd name="connsiteX22" fmla="*/ 697299 w 977935"/>
                      <a:gd name="connsiteY22" fmla="*/ 58678 h 511191"/>
                      <a:gd name="connsiteX23" fmla="*/ 701741 w 977935"/>
                      <a:gd name="connsiteY23" fmla="*/ 60610 h 511191"/>
                      <a:gd name="connsiteX24" fmla="*/ 702548 w 977935"/>
                      <a:gd name="connsiteY24" fmla="*/ 61327 h 511191"/>
                      <a:gd name="connsiteX25" fmla="*/ 703550 w 977935"/>
                      <a:gd name="connsiteY25" fmla="*/ 62533 h 511191"/>
                      <a:gd name="connsiteX26" fmla="*/ 706060 w 977935"/>
                      <a:gd name="connsiteY26" fmla="*/ 67684 h 511191"/>
                      <a:gd name="connsiteX27" fmla="*/ 710160 w 977935"/>
                      <a:gd name="connsiteY27" fmla="*/ 72313 h 511191"/>
                      <a:gd name="connsiteX28" fmla="*/ 710453 w 977935"/>
                      <a:gd name="connsiteY28" fmla="*/ 73315 h 511191"/>
                      <a:gd name="connsiteX29" fmla="*/ 709573 w 977935"/>
                      <a:gd name="connsiteY29" fmla="*/ 75491 h 511191"/>
                      <a:gd name="connsiteX30" fmla="*/ 710192 w 977935"/>
                      <a:gd name="connsiteY30" fmla="*/ 76176 h 511191"/>
                      <a:gd name="connsiteX31" fmla="*/ 711781 w 977935"/>
                      <a:gd name="connsiteY31" fmla="*/ 76982 h 511191"/>
                      <a:gd name="connsiteX32" fmla="*/ 713199 w 977935"/>
                      <a:gd name="connsiteY32" fmla="*/ 76567 h 511191"/>
                      <a:gd name="connsiteX33" fmla="*/ 714463 w 977935"/>
                      <a:gd name="connsiteY33" fmla="*/ 74937 h 511191"/>
                      <a:gd name="connsiteX34" fmla="*/ 715832 w 977935"/>
                      <a:gd name="connsiteY34" fmla="*/ 74472 h 511191"/>
                      <a:gd name="connsiteX35" fmla="*/ 717307 w 977935"/>
                      <a:gd name="connsiteY35" fmla="*/ 75157 h 511191"/>
                      <a:gd name="connsiteX36" fmla="*/ 718431 w 977935"/>
                      <a:gd name="connsiteY36" fmla="*/ 76363 h 511191"/>
                      <a:gd name="connsiteX37" fmla="*/ 719956 w 977935"/>
                      <a:gd name="connsiteY37" fmla="*/ 79329 h 511191"/>
                      <a:gd name="connsiteX38" fmla="*/ 722189 w 977935"/>
                      <a:gd name="connsiteY38" fmla="*/ 81774 h 511191"/>
                      <a:gd name="connsiteX39" fmla="*/ 722001 w 977935"/>
                      <a:gd name="connsiteY39" fmla="*/ 82532 h 511191"/>
                      <a:gd name="connsiteX40" fmla="*/ 720893 w 977935"/>
                      <a:gd name="connsiteY40" fmla="*/ 83135 h 511191"/>
                      <a:gd name="connsiteX41" fmla="*/ 714886 w 977935"/>
                      <a:gd name="connsiteY41" fmla="*/ 83820 h 511191"/>
                      <a:gd name="connsiteX42" fmla="*/ 711496 w 977935"/>
                      <a:gd name="connsiteY42" fmla="*/ 83347 h 511191"/>
                      <a:gd name="connsiteX43" fmla="*/ 708375 w 977935"/>
                      <a:gd name="connsiteY43" fmla="*/ 82149 h 511191"/>
                      <a:gd name="connsiteX44" fmla="*/ 706199 w 977935"/>
                      <a:gd name="connsiteY44" fmla="*/ 80919 h 511191"/>
                      <a:gd name="connsiteX45" fmla="*/ 704178 w 977935"/>
                      <a:gd name="connsiteY45" fmla="*/ 79028 h 511191"/>
                      <a:gd name="connsiteX46" fmla="*/ 703420 w 977935"/>
                      <a:gd name="connsiteY46" fmla="*/ 79224 h 511191"/>
                      <a:gd name="connsiteX47" fmla="*/ 702360 w 977935"/>
                      <a:gd name="connsiteY47" fmla="*/ 80772 h 511191"/>
                      <a:gd name="connsiteX48" fmla="*/ 700095 w 977935"/>
                      <a:gd name="connsiteY48" fmla="*/ 83029 h 511191"/>
                      <a:gd name="connsiteX49" fmla="*/ 698685 w 977935"/>
                      <a:gd name="connsiteY49" fmla="*/ 85108 h 511191"/>
                      <a:gd name="connsiteX50" fmla="*/ 700315 w 977935"/>
                      <a:gd name="connsiteY50" fmla="*/ 86029 h 511191"/>
                      <a:gd name="connsiteX51" fmla="*/ 708220 w 977935"/>
                      <a:gd name="connsiteY51" fmla="*/ 85971 h 511191"/>
                      <a:gd name="connsiteX52" fmla="*/ 709948 w 977935"/>
                      <a:gd name="connsiteY52" fmla="*/ 86550 h 511191"/>
                      <a:gd name="connsiteX53" fmla="*/ 711953 w 977935"/>
                      <a:gd name="connsiteY53" fmla="*/ 88017 h 511191"/>
                      <a:gd name="connsiteX54" fmla="*/ 709662 w 977935"/>
                      <a:gd name="connsiteY54" fmla="*/ 90454 h 511191"/>
                      <a:gd name="connsiteX55" fmla="*/ 704316 w 977935"/>
                      <a:gd name="connsiteY55" fmla="*/ 94553 h 511191"/>
                      <a:gd name="connsiteX56" fmla="*/ 692744 w 977935"/>
                      <a:gd name="connsiteY56" fmla="*/ 102483 h 511191"/>
                      <a:gd name="connsiteX57" fmla="*/ 689353 w 977935"/>
                      <a:gd name="connsiteY57" fmla="*/ 104520 h 511191"/>
                      <a:gd name="connsiteX58" fmla="*/ 690184 w 977935"/>
                      <a:gd name="connsiteY58" fmla="*/ 105115 h 511191"/>
                      <a:gd name="connsiteX59" fmla="*/ 691464 w 977935"/>
                      <a:gd name="connsiteY59" fmla="*/ 105262 h 511191"/>
                      <a:gd name="connsiteX60" fmla="*/ 695433 w 977935"/>
                      <a:gd name="connsiteY60" fmla="*/ 104920 h 511191"/>
                      <a:gd name="connsiteX61" fmla="*/ 699133 w 977935"/>
                      <a:gd name="connsiteY61" fmla="*/ 103852 h 511191"/>
                      <a:gd name="connsiteX62" fmla="*/ 703648 w 977935"/>
                      <a:gd name="connsiteY62" fmla="*/ 104317 h 511191"/>
                      <a:gd name="connsiteX63" fmla="*/ 705653 w 977935"/>
                      <a:gd name="connsiteY63" fmla="*/ 105180 h 511191"/>
                      <a:gd name="connsiteX64" fmla="*/ 704968 w 977935"/>
                      <a:gd name="connsiteY64" fmla="*/ 106028 h 511191"/>
                      <a:gd name="connsiteX65" fmla="*/ 706191 w 977935"/>
                      <a:gd name="connsiteY65" fmla="*/ 107405 h 511191"/>
                      <a:gd name="connsiteX66" fmla="*/ 713558 w 977935"/>
                      <a:gd name="connsiteY66" fmla="*/ 110600 h 511191"/>
                      <a:gd name="connsiteX67" fmla="*/ 718212 w 977935"/>
                      <a:gd name="connsiteY67" fmla="*/ 109964 h 511191"/>
                      <a:gd name="connsiteX68" fmla="*/ 722971 w 977935"/>
                      <a:gd name="connsiteY68" fmla="*/ 106876 h 511191"/>
                      <a:gd name="connsiteX69" fmla="*/ 726646 w 977935"/>
                      <a:gd name="connsiteY69" fmla="*/ 105352 h 511191"/>
                      <a:gd name="connsiteX70" fmla="*/ 731170 w 977935"/>
                      <a:gd name="connsiteY70" fmla="*/ 105555 h 511191"/>
                      <a:gd name="connsiteX71" fmla="*/ 732433 w 977935"/>
                      <a:gd name="connsiteY71" fmla="*/ 105898 h 511191"/>
                      <a:gd name="connsiteX72" fmla="*/ 731952 w 977935"/>
                      <a:gd name="connsiteY72" fmla="*/ 106647 h 511191"/>
                      <a:gd name="connsiteX73" fmla="*/ 728611 w 977935"/>
                      <a:gd name="connsiteY73" fmla="*/ 108383 h 511191"/>
                      <a:gd name="connsiteX74" fmla="*/ 725587 w 977935"/>
                      <a:gd name="connsiteY74" fmla="*/ 110307 h 511191"/>
                      <a:gd name="connsiteX75" fmla="*/ 725261 w 977935"/>
                      <a:gd name="connsiteY75" fmla="*/ 110844 h 511191"/>
                      <a:gd name="connsiteX76" fmla="*/ 729026 w 977935"/>
                      <a:gd name="connsiteY76" fmla="*/ 110070 h 511191"/>
                      <a:gd name="connsiteX77" fmla="*/ 737412 w 977935"/>
                      <a:gd name="connsiteY77" fmla="*/ 111301 h 511191"/>
                      <a:gd name="connsiteX78" fmla="*/ 741487 w 977935"/>
                      <a:gd name="connsiteY78" fmla="*/ 111602 h 511191"/>
                      <a:gd name="connsiteX79" fmla="*/ 744446 w 977935"/>
                      <a:gd name="connsiteY79" fmla="*/ 111293 h 511191"/>
                      <a:gd name="connsiteX80" fmla="*/ 747216 w 977935"/>
                      <a:gd name="connsiteY80" fmla="*/ 111790 h 511191"/>
                      <a:gd name="connsiteX81" fmla="*/ 749800 w 977935"/>
                      <a:gd name="connsiteY81" fmla="*/ 113078 h 511191"/>
                      <a:gd name="connsiteX82" fmla="*/ 750672 w 977935"/>
                      <a:gd name="connsiteY82" fmla="*/ 113884 h 511191"/>
                      <a:gd name="connsiteX83" fmla="*/ 748243 w 977935"/>
                      <a:gd name="connsiteY83" fmla="*/ 114422 h 511191"/>
                      <a:gd name="connsiteX84" fmla="*/ 745961 w 977935"/>
                      <a:gd name="connsiteY84" fmla="*/ 114406 h 511191"/>
                      <a:gd name="connsiteX85" fmla="*/ 744014 w 977935"/>
                      <a:gd name="connsiteY85" fmla="*/ 115188 h 511191"/>
                      <a:gd name="connsiteX86" fmla="*/ 742416 w 977935"/>
                      <a:gd name="connsiteY86" fmla="*/ 116745 h 511191"/>
                      <a:gd name="connsiteX87" fmla="*/ 741267 w 977935"/>
                      <a:gd name="connsiteY87" fmla="*/ 118774 h 511191"/>
                      <a:gd name="connsiteX88" fmla="*/ 740591 w 977935"/>
                      <a:gd name="connsiteY88" fmla="*/ 121260 h 511191"/>
                      <a:gd name="connsiteX89" fmla="*/ 738847 w 977935"/>
                      <a:gd name="connsiteY89" fmla="*/ 122295 h 511191"/>
                      <a:gd name="connsiteX90" fmla="*/ 736051 w 977935"/>
                      <a:gd name="connsiteY90" fmla="*/ 121855 h 511191"/>
                      <a:gd name="connsiteX91" fmla="*/ 734959 w 977935"/>
                      <a:gd name="connsiteY91" fmla="*/ 121154 h 511191"/>
                      <a:gd name="connsiteX92" fmla="*/ 735562 w 977935"/>
                      <a:gd name="connsiteY92" fmla="*/ 120168 h 511191"/>
                      <a:gd name="connsiteX93" fmla="*/ 734747 w 977935"/>
                      <a:gd name="connsiteY93" fmla="*/ 120029 h 511191"/>
                      <a:gd name="connsiteX94" fmla="*/ 732514 w 977935"/>
                      <a:gd name="connsiteY94" fmla="*/ 120730 h 511191"/>
                      <a:gd name="connsiteX95" fmla="*/ 730770 w 977935"/>
                      <a:gd name="connsiteY95" fmla="*/ 120746 h 511191"/>
                      <a:gd name="connsiteX96" fmla="*/ 730298 w 977935"/>
                      <a:gd name="connsiteY96" fmla="*/ 121480 h 511191"/>
                      <a:gd name="connsiteX97" fmla="*/ 742506 w 977935"/>
                      <a:gd name="connsiteY97" fmla="*/ 129426 h 511191"/>
                      <a:gd name="connsiteX98" fmla="*/ 746410 w 977935"/>
                      <a:gd name="connsiteY98" fmla="*/ 136435 h 511191"/>
                      <a:gd name="connsiteX99" fmla="*/ 749099 w 977935"/>
                      <a:gd name="connsiteY99" fmla="*/ 139328 h 511191"/>
                      <a:gd name="connsiteX100" fmla="*/ 749360 w 977935"/>
                      <a:gd name="connsiteY100" fmla="*/ 140086 h 511191"/>
                      <a:gd name="connsiteX101" fmla="*/ 747616 w 977935"/>
                      <a:gd name="connsiteY101" fmla="*/ 142042 h 511191"/>
                      <a:gd name="connsiteX102" fmla="*/ 747526 w 977935"/>
                      <a:gd name="connsiteY102" fmla="*/ 143509 h 511191"/>
                      <a:gd name="connsiteX103" fmla="*/ 748325 w 977935"/>
                      <a:gd name="connsiteY103" fmla="*/ 147779 h 511191"/>
                      <a:gd name="connsiteX104" fmla="*/ 747958 w 977935"/>
                      <a:gd name="connsiteY104" fmla="*/ 151186 h 511191"/>
                      <a:gd name="connsiteX105" fmla="*/ 746752 w 977935"/>
                      <a:gd name="connsiteY105" fmla="*/ 157168 h 511191"/>
                      <a:gd name="connsiteX106" fmla="*/ 747877 w 977935"/>
                      <a:gd name="connsiteY106" fmla="*/ 159034 h 511191"/>
                      <a:gd name="connsiteX107" fmla="*/ 750485 w 977935"/>
                      <a:gd name="connsiteY107" fmla="*/ 160672 h 511191"/>
                      <a:gd name="connsiteX108" fmla="*/ 752049 w 977935"/>
                      <a:gd name="connsiteY108" fmla="*/ 162775 h 511191"/>
                      <a:gd name="connsiteX109" fmla="*/ 753109 w 977935"/>
                      <a:gd name="connsiteY109" fmla="*/ 163492 h 511191"/>
                      <a:gd name="connsiteX110" fmla="*/ 753907 w 977935"/>
                      <a:gd name="connsiteY110" fmla="*/ 165187 h 511191"/>
                      <a:gd name="connsiteX111" fmla="*/ 754836 w 977935"/>
                      <a:gd name="connsiteY111" fmla="*/ 166246 h 511191"/>
                      <a:gd name="connsiteX112" fmla="*/ 755904 w 977935"/>
                      <a:gd name="connsiteY112" fmla="*/ 166678 h 511191"/>
                      <a:gd name="connsiteX113" fmla="*/ 756654 w 977935"/>
                      <a:gd name="connsiteY113" fmla="*/ 166124 h 511191"/>
                      <a:gd name="connsiteX114" fmla="*/ 757086 w 977935"/>
                      <a:gd name="connsiteY114" fmla="*/ 164576 h 511191"/>
                      <a:gd name="connsiteX115" fmla="*/ 758088 w 977935"/>
                      <a:gd name="connsiteY115" fmla="*/ 163133 h 511191"/>
                      <a:gd name="connsiteX116" fmla="*/ 760843 w 977935"/>
                      <a:gd name="connsiteY116" fmla="*/ 160533 h 511191"/>
                      <a:gd name="connsiteX117" fmla="*/ 763516 w 977935"/>
                      <a:gd name="connsiteY117" fmla="*/ 156475 h 511191"/>
                      <a:gd name="connsiteX118" fmla="*/ 763964 w 977935"/>
                      <a:gd name="connsiteY118" fmla="*/ 155114 h 511191"/>
                      <a:gd name="connsiteX119" fmla="*/ 763540 w 977935"/>
                      <a:gd name="connsiteY119" fmla="*/ 151927 h 511191"/>
                      <a:gd name="connsiteX120" fmla="*/ 763850 w 977935"/>
                      <a:gd name="connsiteY120" fmla="*/ 150558 h 511191"/>
                      <a:gd name="connsiteX121" fmla="*/ 766360 w 977935"/>
                      <a:gd name="connsiteY121" fmla="*/ 145717 h 511191"/>
                      <a:gd name="connsiteX122" fmla="*/ 767159 w 977935"/>
                      <a:gd name="connsiteY122" fmla="*/ 142351 h 511191"/>
                      <a:gd name="connsiteX123" fmla="*/ 767917 w 977935"/>
                      <a:gd name="connsiteY123" fmla="*/ 137111 h 511191"/>
                      <a:gd name="connsiteX124" fmla="*/ 769245 w 977935"/>
                      <a:gd name="connsiteY124" fmla="*/ 133452 h 511191"/>
                      <a:gd name="connsiteX125" fmla="*/ 772089 w 977935"/>
                      <a:gd name="connsiteY125" fmla="*/ 130347 h 511191"/>
                      <a:gd name="connsiteX126" fmla="*/ 777053 w 977935"/>
                      <a:gd name="connsiteY126" fmla="*/ 124072 h 511191"/>
                      <a:gd name="connsiteX127" fmla="*/ 778845 w 977935"/>
                      <a:gd name="connsiteY127" fmla="*/ 122816 h 511191"/>
                      <a:gd name="connsiteX128" fmla="*/ 780858 w 977935"/>
                      <a:gd name="connsiteY128" fmla="*/ 122189 h 511191"/>
                      <a:gd name="connsiteX129" fmla="*/ 784371 w 977935"/>
                      <a:gd name="connsiteY129" fmla="*/ 122344 h 511191"/>
                      <a:gd name="connsiteX130" fmla="*/ 786930 w 977935"/>
                      <a:gd name="connsiteY130" fmla="*/ 124365 h 511191"/>
                      <a:gd name="connsiteX131" fmla="*/ 790386 w 977935"/>
                      <a:gd name="connsiteY131" fmla="*/ 128097 h 511191"/>
                      <a:gd name="connsiteX132" fmla="*/ 794770 w 977935"/>
                      <a:gd name="connsiteY132" fmla="*/ 131496 h 511191"/>
                      <a:gd name="connsiteX133" fmla="*/ 802757 w 977935"/>
                      <a:gd name="connsiteY133" fmla="*/ 136101 h 511191"/>
                      <a:gd name="connsiteX134" fmla="*/ 805039 w 977935"/>
                      <a:gd name="connsiteY134" fmla="*/ 137836 h 511191"/>
                      <a:gd name="connsiteX135" fmla="*/ 809562 w 977935"/>
                      <a:gd name="connsiteY135" fmla="*/ 142384 h 511191"/>
                      <a:gd name="connsiteX136" fmla="*/ 811469 w 977935"/>
                      <a:gd name="connsiteY136" fmla="*/ 146883 h 511191"/>
                      <a:gd name="connsiteX137" fmla="*/ 812781 w 977935"/>
                      <a:gd name="connsiteY137" fmla="*/ 153231 h 511191"/>
                      <a:gd name="connsiteX138" fmla="*/ 813906 w 977935"/>
                      <a:gd name="connsiteY138" fmla="*/ 157037 h 511191"/>
                      <a:gd name="connsiteX139" fmla="*/ 814859 w 977935"/>
                      <a:gd name="connsiteY139" fmla="*/ 158341 h 511191"/>
                      <a:gd name="connsiteX140" fmla="*/ 815291 w 977935"/>
                      <a:gd name="connsiteY140" fmla="*/ 160264 h 511191"/>
                      <a:gd name="connsiteX141" fmla="*/ 815210 w 977935"/>
                      <a:gd name="connsiteY141" fmla="*/ 162823 h 511191"/>
                      <a:gd name="connsiteX142" fmla="*/ 814851 w 977935"/>
                      <a:gd name="connsiteY142" fmla="*/ 164820 h 511191"/>
                      <a:gd name="connsiteX143" fmla="*/ 814223 w 977935"/>
                      <a:gd name="connsiteY143" fmla="*/ 166263 h 511191"/>
                      <a:gd name="connsiteX144" fmla="*/ 813246 w 977935"/>
                      <a:gd name="connsiteY144" fmla="*/ 167086 h 511191"/>
                      <a:gd name="connsiteX145" fmla="*/ 810809 w 977935"/>
                      <a:gd name="connsiteY145" fmla="*/ 167347 h 511191"/>
                      <a:gd name="connsiteX146" fmla="*/ 807826 w 977935"/>
                      <a:gd name="connsiteY146" fmla="*/ 166955 h 511191"/>
                      <a:gd name="connsiteX147" fmla="*/ 806962 w 977935"/>
                      <a:gd name="connsiteY147" fmla="*/ 166303 h 511191"/>
                      <a:gd name="connsiteX148" fmla="*/ 805397 w 977935"/>
                      <a:gd name="connsiteY148" fmla="*/ 163296 h 511191"/>
                      <a:gd name="connsiteX149" fmla="*/ 804745 w 977935"/>
                      <a:gd name="connsiteY149" fmla="*/ 163109 h 511191"/>
                      <a:gd name="connsiteX150" fmla="*/ 801983 w 977935"/>
                      <a:gd name="connsiteY150" fmla="*/ 165334 h 511191"/>
                      <a:gd name="connsiteX151" fmla="*/ 801640 w 977935"/>
                      <a:gd name="connsiteY151" fmla="*/ 166572 h 511191"/>
                      <a:gd name="connsiteX152" fmla="*/ 802651 w 977935"/>
                      <a:gd name="connsiteY152" fmla="*/ 170680 h 511191"/>
                      <a:gd name="connsiteX153" fmla="*/ 802521 w 977935"/>
                      <a:gd name="connsiteY153" fmla="*/ 178398 h 511191"/>
                      <a:gd name="connsiteX154" fmla="*/ 802798 w 977935"/>
                      <a:gd name="connsiteY154" fmla="*/ 180076 h 511191"/>
                      <a:gd name="connsiteX155" fmla="*/ 805723 w 977935"/>
                      <a:gd name="connsiteY155" fmla="*/ 188096 h 511191"/>
                      <a:gd name="connsiteX156" fmla="*/ 810654 w 977935"/>
                      <a:gd name="connsiteY156" fmla="*/ 194184 h 511191"/>
                      <a:gd name="connsiteX157" fmla="*/ 823009 w 977935"/>
                      <a:gd name="connsiteY157" fmla="*/ 205887 h 511191"/>
                      <a:gd name="connsiteX158" fmla="*/ 823710 w 977935"/>
                      <a:gd name="connsiteY158" fmla="*/ 207215 h 511191"/>
                      <a:gd name="connsiteX159" fmla="*/ 825022 w 977935"/>
                      <a:gd name="connsiteY159" fmla="*/ 211991 h 511191"/>
                      <a:gd name="connsiteX160" fmla="*/ 825666 w 977935"/>
                      <a:gd name="connsiteY160" fmla="*/ 212985 h 511191"/>
                      <a:gd name="connsiteX161" fmla="*/ 826473 w 977935"/>
                      <a:gd name="connsiteY161" fmla="*/ 213580 h 511191"/>
                      <a:gd name="connsiteX162" fmla="*/ 827451 w 977935"/>
                      <a:gd name="connsiteY162" fmla="*/ 213759 h 511191"/>
                      <a:gd name="connsiteX163" fmla="*/ 828779 w 977935"/>
                      <a:gd name="connsiteY163" fmla="*/ 213295 h 511191"/>
                      <a:gd name="connsiteX164" fmla="*/ 833318 w 977935"/>
                      <a:gd name="connsiteY164" fmla="*/ 209668 h 511191"/>
                      <a:gd name="connsiteX165" fmla="*/ 837271 w 977935"/>
                      <a:gd name="connsiteY165" fmla="*/ 205854 h 511191"/>
                      <a:gd name="connsiteX166" fmla="*/ 840026 w 977935"/>
                      <a:gd name="connsiteY166" fmla="*/ 203857 h 511191"/>
                      <a:gd name="connsiteX167" fmla="*/ 841590 w 977935"/>
                      <a:gd name="connsiteY167" fmla="*/ 203686 h 511191"/>
                      <a:gd name="connsiteX168" fmla="*/ 843269 w 977935"/>
                      <a:gd name="connsiteY168" fmla="*/ 202994 h 511191"/>
                      <a:gd name="connsiteX169" fmla="*/ 845078 w 977935"/>
                      <a:gd name="connsiteY169" fmla="*/ 201755 h 511191"/>
                      <a:gd name="connsiteX170" fmla="*/ 846276 w 977935"/>
                      <a:gd name="connsiteY170" fmla="*/ 200402 h 511191"/>
                      <a:gd name="connsiteX171" fmla="*/ 846880 w 977935"/>
                      <a:gd name="connsiteY171" fmla="*/ 198927 h 511191"/>
                      <a:gd name="connsiteX172" fmla="*/ 847703 w 977935"/>
                      <a:gd name="connsiteY172" fmla="*/ 193149 h 511191"/>
                      <a:gd name="connsiteX173" fmla="*/ 848395 w 977935"/>
                      <a:gd name="connsiteY173" fmla="*/ 190386 h 511191"/>
                      <a:gd name="connsiteX174" fmla="*/ 850319 w 977935"/>
                      <a:gd name="connsiteY174" fmla="*/ 186613 h 511191"/>
                      <a:gd name="connsiteX175" fmla="*/ 851020 w 977935"/>
                      <a:gd name="connsiteY175" fmla="*/ 185529 h 511191"/>
                      <a:gd name="connsiteX176" fmla="*/ 860571 w 977935"/>
                      <a:gd name="connsiteY176" fmla="*/ 175936 h 511191"/>
                      <a:gd name="connsiteX177" fmla="*/ 861361 w 977935"/>
                      <a:gd name="connsiteY177" fmla="*/ 174755 h 511191"/>
                      <a:gd name="connsiteX178" fmla="*/ 865428 w 977935"/>
                      <a:gd name="connsiteY178" fmla="*/ 163598 h 511191"/>
                      <a:gd name="connsiteX179" fmla="*/ 866854 w 977935"/>
                      <a:gd name="connsiteY179" fmla="*/ 158472 h 511191"/>
                      <a:gd name="connsiteX180" fmla="*/ 867058 w 977935"/>
                      <a:gd name="connsiteY180" fmla="*/ 155391 h 511191"/>
                      <a:gd name="connsiteX181" fmla="*/ 866512 w 977935"/>
                      <a:gd name="connsiteY181" fmla="*/ 152636 h 511191"/>
                      <a:gd name="connsiteX182" fmla="*/ 866789 w 977935"/>
                      <a:gd name="connsiteY182" fmla="*/ 150363 h 511191"/>
                      <a:gd name="connsiteX183" fmla="*/ 867881 w 977935"/>
                      <a:gd name="connsiteY183" fmla="*/ 148570 h 511191"/>
                      <a:gd name="connsiteX184" fmla="*/ 869039 w 977935"/>
                      <a:gd name="connsiteY184" fmla="*/ 147306 h 511191"/>
                      <a:gd name="connsiteX185" fmla="*/ 871035 w 977935"/>
                      <a:gd name="connsiteY185" fmla="*/ 146027 h 511191"/>
                      <a:gd name="connsiteX186" fmla="*/ 872144 w 977935"/>
                      <a:gd name="connsiteY186" fmla="*/ 144226 h 511191"/>
                      <a:gd name="connsiteX187" fmla="*/ 872812 w 977935"/>
                      <a:gd name="connsiteY187" fmla="*/ 144046 h 511191"/>
                      <a:gd name="connsiteX188" fmla="*/ 874450 w 977935"/>
                      <a:gd name="connsiteY188" fmla="*/ 144030 h 511191"/>
                      <a:gd name="connsiteX189" fmla="*/ 876602 w 977935"/>
                      <a:gd name="connsiteY189" fmla="*/ 145261 h 511191"/>
                      <a:gd name="connsiteX190" fmla="*/ 878166 w 977935"/>
                      <a:gd name="connsiteY190" fmla="*/ 145473 h 511191"/>
                      <a:gd name="connsiteX191" fmla="*/ 888272 w 977935"/>
                      <a:gd name="connsiteY191" fmla="*/ 144071 h 511191"/>
                      <a:gd name="connsiteX192" fmla="*/ 888280 w 977935"/>
                      <a:gd name="connsiteY192" fmla="*/ 143321 h 511191"/>
                      <a:gd name="connsiteX193" fmla="*/ 882347 w 977935"/>
                      <a:gd name="connsiteY193" fmla="*/ 140958 h 511191"/>
                      <a:gd name="connsiteX194" fmla="*/ 882404 w 977935"/>
                      <a:gd name="connsiteY194" fmla="*/ 139784 h 511191"/>
                      <a:gd name="connsiteX195" fmla="*/ 882926 w 977935"/>
                      <a:gd name="connsiteY195" fmla="*/ 138154 h 511191"/>
                      <a:gd name="connsiteX196" fmla="*/ 884784 w 977935"/>
                      <a:gd name="connsiteY196" fmla="*/ 136329 h 511191"/>
                      <a:gd name="connsiteX197" fmla="*/ 887074 w 977935"/>
                      <a:gd name="connsiteY197" fmla="*/ 135758 h 511191"/>
                      <a:gd name="connsiteX198" fmla="*/ 887579 w 977935"/>
                      <a:gd name="connsiteY198" fmla="*/ 134601 h 511191"/>
                      <a:gd name="connsiteX199" fmla="*/ 887653 w 977935"/>
                      <a:gd name="connsiteY199" fmla="*/ 133167 h 511191"/>
                      <a:gd name="connsiteX200" fmla="*/ 888410 w 977935"/>
                      <a:gd name="connsiteY200" fmla="*/ 130828 h 511191"/>
                      <a:gd name="connsiteX201" fmla="*/ 887718 w 977935"/>
                      <a:gd name="connsiteY201" fmla="*/ 129996 h 511191"/>
                      <a:gd name="connsiteX202" fmla="*/ 882176 w 977935"/>
                      <a:gd name="connsiteY202" fmla="*/ 126769 h 511191"/>
                      <a:gd name="connsiteX203" fmla="*/ 878973 w 977935"/>
                      <a:gd name="connsiteY203" fmla="*/ 126908 h 511191"/>
                      <a:gd name="connsiteX204" fmla="*/ 878158 w 977935"/>
                      <a:gd name="connsiteY204" fmla="*/ 126484 h 511191"/>
                      <a:gd name="connsiteX205" fmla="*/ 875395 w 977935"/>
                      <a:gd name="connsiteY205" fmla="*/ 123851 h 511191"/>
                      <a:gd name="connsiteX206" fmla="*/ 874385 w 977935"/>
                      <a:gd name="connsiteY206" fmla="*/ 120029 h 511191"/>
                      <a:gd name="connsiteX207" fmla="*/ 874279 w 977935"/>
                      <a:gd name="connsiteY207" fmla="*/ 118456 h 511191"/>
                      <a:gd name="connsiteX208" fmla="*/ 874662 w 977935"/>
                      <a:gd name="connsiteY208" fmla="*/ 115930 h 511191"/>
                      <a:gd name="connsiteX209" fmla="*/ 875012 w 977935"/>
                      <a:gd name="connsiteY209" fmla="*/ 115229 h 511191"/>
                      <a:gd name="connsiteX210" fmla="*/ 874841 w 977935"/>
                      <a:gd name="connsiteY210" fmla="*/ 114088 h 511191"/>
                      <a:gd name="connsiteX211" fmla="*/ 874148 w 977935"/>
                      <a:gd name="connsiteY211" fmla="*/ 112507 h 511191"/>
                      <a:gd name="connsiteX212" fmla="*/ 874091 w 977935"/>
                      <a:gd name="connsiteY212" fmla="*/ 111097 h 511191"/>
                      <a:gd name="connsiteX213" fmla="*/ 874670 w 977935"/>
                      <a:gd name="connsiteY213" fmla="*/ 109867 h 511191"/>
                      <a:gd name="connsiteX214" fmla="*/ 874320 w 977935"/>
                      <a:gd name="connsiteY214" fmla="*/ 108408 h 511191"/>
                      <a:gd name="connsiteX215" fmla="*/ 873032 w 977935"/>
                      <a:gd name="connsiteY215" fmla="*/ 106713 h 511191"/>
                      <a:gd name="connsiteX216" fmla="*/ 872527 w 977935"/>
                      <a:gd name="connsiteY216" fmla="*/ 105254 h 511191"/>
                      <a:gd name="connsiteX217" fmla="*/ 873880 w 977935"/>
                      <a:gd name="connsiteY217" fmla="*/ 100959 h 511191"/>
                      <a:gd name="connsiteX218" fmla="*/ 873929 w 977935"/>
                      <a:gd name="connsiteY218" fmla="*/ 99647 h 511191"/>
                      <a:gd name="connsiteX219" fmla="*/ 872649 w 977935"/>
                      <a:gd name="connsiteY219" fmla="*/ 97805 h 511191"/>
                      <a:gd name="connsiteX220" fmla="*/ 871728 w 977935"/>
                      <a:gd name="connsiteY220" fmla="*/ 97096 h 511191"/>
                      <a:gd name="connsiteX221" fmla="*/ 872404 w 977935"/>
                      <a:gd name="connsiteY221" fmla="*/ 96648 h 511191"/>
                      <a:gd name="connsiteX222" fmla="*/ 874686 w 977935"/>
                      <a:gd name="connsiteY222" fmla="*/ 96444 h 511191"/>
                      <a:gd name="connsiteX223" fmla="*/ 877425 w 977935"/>
                      <a:gd name="connsiteY223" fmla="*/ 97047 h 511191"/>
                      <a:gd name="connsiteX224" fmla="*/ 880603 w 977935"/>
                      <a:gd name="connsiteY224" fmla="*/ 98424 h 511191"/>
                      <a:gd name="connsiteX225" fmla="*/ 884499 w 977935"/>
                      <a:gd name="connsiteY225" fmla="*/ 98441 h 511191"/>
                      <a:gd name="connsiteX226" fmla="*/ 889103 w 977935"/>
                      <a:gd name="connsiteY226" fmla="*/ 97096 h 511191"/>
                      <a:gd name="connsiteX227" fmla="*/ 893789 w 977935"/>
                      <a:gd name="connsiteY227" fmla="*/ 96444 h 511191"/>
                      <a:gd name="connsiteX228" fmla="*/ 901882 w 977935"/>
                      <a:gd name="connsiteY228" fmla="*/ 96713 h 511191"/>
                      <a:gd name="connsiteX229" fmla="*/ 903797 w 977935"/>
                      <a:gd name="connsiteY229" fmla="*/ 97096 h 511191"/>
                      <a:gd name="connsiteX230" fmla="*/ 911849 w 977935"/>
                      <a:gd name="connsiteY230" fmla="*/ 101081 h 511191"/>
                      <a:gd name="connsiteX231" fmla="*/ 918092 w 977935"/>
                      <a:gd name="connsiteY231" fmla="*/ 103119 h 511191"/>
                      <a:gd name="connsiteX232" fmla="*/ 920912 w 977935"/>
                      <a:gd name="connsiteY232" fmla="*/ 102931 h 511191"/>
                      <a:gd name="connsiteX233" fmla="*/ 934807 w 977935"/>
                      <a:gd name="connsiteY233" fmla="*/ 103730 h 511191"/>
                      <a:gd name="connsiteX234" fmla="*/ 940903 w 977935"/>
                      <a:gd name="connsiteY234" fmla="*/ 103322 h 511191"/>
                      <a:gd name="connsiteX235" fmla="*/ 944065 w 977935"/>
                      <a:gd name="connsiteY235" fmla="*/ 103502 h 511191"/>
                      <a:gd name="connsiteX236" fmla="*/ 950120 w 977935"/>
                      <a:gd name="connsiteY236" fmla="*/ 105694 h 511191"/>
                      <a:gd name="connsiteX237" fmla="*/ 949713 w 977935"/>
                      <a:gd name="connsiteY237" fmla="*/ 107511 h 511191"/>
                      <a:gd name="connsiteX238" fmla="*/ 947105 w 977935"/>
                      <a:gd name="connsiteY238" fmla="*/ 110551 h 511191"/>
                      <a:gd name="connsiteX239" fmla="*/ 943690 w 977935"/>
                      <a:gd name="connsiteY239" fmla="*/ 111179 h 511191"/>
                      <a:gd name="connsiteX240" fmla="*/ 940675 w 977935"/>
                      <a:gd name="connsiteY240" fmla="*/ 112238 h 511191"/>
                      <a:gd name="connsiteX241" fmla="*/ 943470 w 977935"/>
                      <a:gd name="connsiteY241" fmla="*/ 113827 h 511191"/>
                      <a:gd name="connsiteX242" fmla="*/ 951718 w 977935"/>
                      <a:gd name="connsiteY242" fmla="*/ 115971 h 511191"/>
                      <a:gd name="connsiteX243" fmla="*/ 953641 w 977935"/>
                      <a:gd name="connsiteY243" fmla="*/ 119402 h 511191"/>
                      <a:gd name="connsiteX244" fmla="*/ 954236 w 977935"/>
                      <a:gd name="connsiteY244" fmla="*/ 120983 h 511191"/>
                      <a:gd name="connsiteX245" fmla="*/ 953274 w 977935"/>
                      <a:gd name="connsiteY245" fmla="*/ 122393 h 511191"/>
                      <a:gd name="connsiteX246" fmla="*/ 953755 w 977935"/>
                      <a:gd name="connsiteY246" fmla="*/ 123102 h 511191"/>
                      <a:gd name="connsiteX247" fmla="*/ 955662 w 977935"/>
                      <a:gd name="connsiteY247" fmla="*/ 123102 h 511191"/>
                      <a:gd name="connsiteX248" fmla="*/ 960593 w 977935"/>
                      <a:gd name="connsiteY248" fmla="*/ 121904 h 511191"/>
                      <a:gd name="connsiteX249" fmla="*/ 966037 w 977935"/>
                      <a:gd name="connsiteY249" fmla="*/ 122694 h 511191"/>
                      <a:gd name="connsiteX250" fmla="*/ 973975 w 977935"/>
                      <a:gd name="connsiteY250" fmla="*/ 125351 h 511191"/>
                      <a:gd name="connsiteX251" fmla="*/ 974830 w 977935"/>
                      <a:gd name="connsiteY251" fmla="*/ 125897 h 511191"/>
                      <a:gd name="connsiteX252" fmla="*/ 976216 w 977935"/>
                      <a:gd name="connsiteY252" fmla="*/ 127959 h 511191"/>
                      <a:gd name="connsiteX253" fmla="*/ 976045 w 977935"/>
                      <a:gd name="connsiteY253" fmla="*/ 128798 h 511191"/>
                      <a:gd name="connsiteX254" fmla="*/ 969036 w 977935"/>
                      <a:gd name="connsiteY254" fmla="*/ 133957 h 511191"/>
                      <a:gd name="connsiteX255" fmla="*/ 965385 w 977935"/>
                      <a:gd name="connsiteY255" fmla="*/ 135995 h 511191"/>
                      <a:gd name="connsiteX256" fmla="*/ 960593 w 977935"/>
                      <a:gd name="connsiteY256" fmla="*/ 138105 h 511191"/>
                      <a:gd name="connsiteX257" fmla="*/ 960438 w 977935"/>
                      <a:gd name="connsiteY257" fmla="*/ 139222 h 511191"/>
                      <a:gd name="connsiteX258" fmla="*/ 967161 w 977935"/>
                      <a:gd name="connsiteY258" fmla="*/ 139426 h 511191"/>
                      <a:gd name="connsiteX259" fmla="*/ 972394 w 977935"/>
                      <a:gd name="connsiteY259" fmla="*/ 140012 h 511191"/>
                      <a:gd name="connsiteX260" fmla="*/ 974749 w 977935"/>
                      <a:gd name="connsiteY260" fmla="*/ 140697 h 511191"/>
                      <a:gd name="connsiteX261" fmla="*/ 975987 w 977935"/>
                      <a:gd name="connsiteY261" fmla="*/ 141667 h 511191"/>
                      <a:gd name="connsiteX262" fmla="*/ 977667 w 977935"/>
                      <a:gd name="connsiteY262" fmla="*/ 143753 h 511191"/>
                      <a:gd name="connsiteX263" fmla="*/ 977935 w 977935"/>
                      <a:gd name="connsiteY263" fmla="*/ 145399 h 511191"/>
                      <a:gd name="connsiteX264" fmla="*/ 977772 w 977935"/>
                      <a:gd name="connsiteY264" fmla="*/ 147624 h 511191"/>
                      <a:gd name="connsiteX265" fmla="*/ 977218 w 977935"/>
                      <a:gd name="connsiteY265" fmla="*/ 149173 h 511191"/>
                      <a:gd name="connsiteX266" fmla="*/ 971130 w 977935"/>
                      <a:gd name="connsiteY266" fmla="*/ 153606 h 511191"/>
                      <a:gd name="connsiteX267" fmla="*/ 968335 w 977935"/>
                      <a:gd name="connsiteY267" fmla="*/ 154992 h 511191"/>
                      <a:gd name="connsiteX268" fmla="*/ 963576 w 977935"/>
                      <a:gd name="connsiteY268" fmla="*/ 156646 h 511191"/>
                      <a:gd name="connsiteX269" fmla="*/ 961514 w 977935"/>
                      <a:gd name="connsiteY269" fmla="*/ 157868 h 511191"/>
                      <a:gd name="connsiteX270" fmla="*/ 959240 w 977935"/>
                      <a:gd name="connsiteY270" fmla="*/ 157697 h 511191"/>
                      <a:gd name="connsiteX271" fmla="*/ 956762 w 977935"/>
                      <a:gd name="connsiteY271" fmla="*/ 156133 h 511191"/>
                      <a:gd name="connsiteX272" fmla="*/ 954179 w 977935"/>
                      <a:gd name="connsiteY272" fmla="*/ 155790 h 511191"/>
                      <a:gd name="connsiteX273" fmla="*/ 949542 w 977935"/>
                      <a:gd name="connsiteY273" fmla="*/ 157045 h 511191"/>
                      <a:gd name="connsiteX274" fmla="*/ 947023 w 977935"/>
                      <a:gd name="connsiteY274" fmla="*/ 156996 h 511191"/>
                      <a:gd name="connsiteX275" fmla="*/ 945785 w 977935"/>
                      <a:gd name="connsiteY275" fmla="*/ 157445 h 511191"/>
                      <a:gd name="connsiteX276" fmla="*/ 945687 w 977935"/>
                      <a:gd name="connsiteY276" fmla="*/ 158406 h 511191"/>
                      <a:gd name="connsiteX277" fmla="*/ 947887 w 977935"/>
                      <a:gd name="connsiteY277" fmla="*/ 161218 h 511191"/>
                      <a:gd name="connsiteX278" fmla="*/ 949159 w 977935"/>
                      <a:gd name="connsiteY278" fmla="*/ 162318 h 511191"/>
                      <a:gd name="connsiteX279" fmla="*/ 949656 w 977935"/>
                      <a:gd name="connsiteY279" fmla="*/ 163141 h 511191"/>
                      <a:gd name="connsiteX280" fmla="*/ 948719 w 977935"/>
                      <a:gd name="connsiteY280" fmla="*/ 164535 h 511191"/>
                      <a:gd name="connsiteX281" fmla="*/ 948914 w 977935"/>
                      <a:gd name="connsiteY281" fmla="*/ 164975 h 511191"/>
                      <a:gd name="connsiteX282" fmla="*/ 949664 w 977935"/>
                      <a:gd name="connsiteY282" fmla="*/ 165464 h 511191"/>
                      <a:gd name="connsiteX283" fmla="*/ 953877 w 977935"/>
                      <a:gd name="connsiteY283" fmla="*/ 171576 h 511191"/>
                      <a:gd name="connsiteX284" fmla="*/ 954774 w 977935"/>
                      <a:gd name="connsiteY284" fmla="*/ 172049 h 511191"/>
                      <a:gd name="connsiteX285" fmla="*/ 955646 w 977935"/>
                      <a:gd name="connsiteY285" fmla="*/ 171821 h 511191"/>
                      <a:gd name="connsiteX286" fmla="*/ 957471 w 977935"/>
                      <a:gd name="connsiteY286" fmla="*/ 170069 h 511191"/>
                      <a:gd name="connsiteX287" fmla="*/ 958555 w 977935"/>
                      <a:gd name="connsiteY287" fmla="*/ 169368 h 511191"/>
                      <a:gd name="connsiteX288" fmla="*/ 959085 w 977935"/>
                      <a:gd name="connsiteY288" fmla="*/ 169449 h 511191"/>
                      <a:gd name="connsiteX289" fmla="*/ 959069 w 977935"/>
                      <a:gd name="connsiteY289" fmla="*/ 170354 h 511191"/>
                      <a:gd name="connsiteX290" fmla="*/ 957121 w 977935"/>
                      <a:gd name="connsiteY290" fmla="*/ 175667 h 511191"/>
                      <a:gd name="connsiteX291" fmla="*/ 956860 w 977935"/>
                      <a:gd name="connsiteY291" fmla="*/ 177086 h 511191"/>
                      <a:gd name="connsiteX292" fmla="*/ 956909 w 977935"/>
                      <a:gd name="connsiteY292" fmla="*/ 178357 h 511191"/>
                      <a:gd name="connsiteX293" fmla="*/ 957846 w 977935"/>
                      <a:gd name="connsiteY293" fmla="*/ 181038 h 511191"/>
                      <a:gd name="connsiteX294" fmla="*/ 959981 w 977935"/>
                      <a:gd name="connsiteY294" fmla="*/ 183923 h 511191"/>
                      <a:gd name="connsiteX295" fmla="*/ 962638 w 977935"/>
                      <a:gd name="connsiteY295" fmla="*/ 186498 h 511191"/>
                      <a:gd name="connsiteX296" fmla="*/ 966624 w 977935"/>
                      <a:gd name="connsiteY296" fmla="*/ 189978 h 511191"/>
                      <a:gd name="connsiteX297" fmla="*/ 971978 w 977935"/>
                      <a:gd name="connsiteY297" fmla="*/ 193695 h 511191"/>
                      <a:gd name="connsiteX298" fmla="*/ 973975 w 977935"/>
                      <a:gd name="connsiteY298" fmla="*/ 195496 h 511191"/>
                      <a:gd name="connsiteX299" fmla="*/ 976900 w 977935"/>
                      <a:gd name="connsiteY299" fmla="*/ 199742 h 511191"/>
                      <a:gd name="connsiteX300" fmla="*/ 977503 w 977935"/>
                      <a:gd name="connsiteY300" fmla="*/ 201364 h 511191"/>
                      <a:gd name="connsiteX301" fmla="*/ 976729 w 977935"/>
                      <a:gd name="connsiteY301" fmla="*/ 205821 h 511191"/>
                      <a:gd name="connsiteX302" fmla="*/ 974594 w 977935"/>
                      <a:gd name="connsiteY302" fmla="*/ 213091 h 511191"/>
                      <a:gd name="connsiteX303" fmla="*/ 973225 w 977935"/>
                      <a:gd name="connsiteY303" fmla="*/ 217223 h 511191"/>
                      <a:gd name="connsiteX304" fmla="*/ 972606 w 977935"/>
                      <a:gd name="connsiteY304" fmla="*/ 218209 h 511191"/>
                      <a:gd name="connsiteX305" fmla="*/ 968571 w 977935"/>
                      <a:gd name="connsiteY305" fmla="*/ 221135 h 511191"/>
                      <a:gd name="connsiteX306" fmla="*/ 966289 w 977935"/>
                      <a:gd name="connsiteY306" fmla="*/ 221819 h 511191"/>
                      <a:gd name="connsiteX307" fmla="*/ 962508 w 977935"/>
                      <a:gd name="connsiteY307" fmla="*/ 221730 h 511191"/>
                      <a:gd name="connsiteX308" fmla="*/ 961245 w 977935"/>
                      <a:gd name="connsiteY308" fmla="*/ 222308 h 511191"/>
                      <a:gd name="connsiteX309" fmla="*/ 959272 w 977935"/>
                      <a:gd name="connsiteY309" fmla="*/ 224639 h 511191"/>
                      <a:gd name="connsiteX310" fmla="*/ 956591 w 977935"/>
                      <a:gd name="connsiteY310" fmla="*/ 228738 h 511191"/>
                      <a:gd name="connsiteX311" fmla="*/ 954472 w 977935"/>
                      <a:gd name="connsiteY311" fmla="*/ 231338 h 511191"/>
                      <a:gd name="connsiteX312" fmla="*/ 952932 w 977935"/>
                      <a:gd name="connsiteY312" fmla="*/ 232430 h 511191"/>
                      <a:gd name="connsiteX313" fmla="*/ 950104 w 977935"/>
                      <a:gd name="connsiteY313" fmla="*/ 233710 h 511191"/>
                      <a:gd name="connsiteX314" fmla="*/ 945662 w 977935"/>
                      <a:gd name="connsiteY314" fmla="*/ 237483 h 511191"/>
                      <a:gd name="connsiteX315" fmla="*/ 943487 w 977935"/>
                      <a:gd name="connsiteY315" fmla="*/ 238934 h 511191"/>
                      <a:gd name="connsiteX316" fmla="*/ 935858 w 977935"/>
                      <a:gd name="connsiteY316" fmla="*/ 240507 h 511191"/>
                      <a:gd name="connsiteX317" fmla="*/ 929664 w 977935"/>
                      <a:gd name="connsiteY317" fmla="*/ 245617 h 511191"/>
                      <a:gd name="connsiteX318" fmla="*/ 927195 w 977935"/>
                      <a:gd name="connsiteY318" fmla="*/ 247295 h 511191"/>
                      <a:gd name="connsiteX319" fmla="*/ 924514 w 977935"/>
                      <a:gd name="connsiteY319" fmla="*/ 248192 h 511191"/>
                      <a:gd name="connsiteX320" fmla="*/ 921621 w 977935"/>
                      <a:gd name="connsiteY320" fmla="*/ 248298 h 511191"/>
                      <a:gd name="connsiteX321" fmla="*/ 919958 w 977935"/>
                      <a:gd name="connsiteY321" fmla="*/ 247483 h 511191"/>
                      <a:gd name="connsiteX322" fmla="*/ 919005 w 977935"/>
                      <a:gd name="connsiteY322" fmla="*/ 244370 h 511191"/>
                      <a:gd name="connsiteX323" fmla="*/ 918450 w 977935"/>
                      <a:gd name="connsiteY323" fmla="*/ 243343 h 511191"/>
                      <a:gd name="connsiteX324" fmla="*/ 916258 w 977935"/>
                      <a:gd name="connsiteY324" fmla="*/ 241208 h 511191"/>
                      <a:gd name="connsiteX325" fmla="*/ 911776 w 977935"/>
                      <a:gd name="connsiteY325" fmla="*/ 235014 h 511191"/>
                      <a:gd name="connsiteX326" fmla="*/ 909836 w 977935"/>
                      <a:gd name="connsiteY326" fmla="*/ 232879 h 511191"/>
                      <a:gd name="connsiteX327" fmla="*/ 908557 w 977935"/>
                      <a:gd name="connsiteY327" fmla="*/ 232414 h 511191"/>
                      <a:gd name="connsiteX328" fmla="*/ 905965 w 977935"/>
                      <a:gd name="connsiteY328" fmla="*/ 232748 h 511191"/>
                      <a:gd name="connsiteX329" fmla="*/ 904637 w 977935"/>
                      <a:gd name="connsiteY329" fmla="*/ 232553 h 511191"/>
                      <a:gd name="connsiteX330" fmla="*/ 901744 w 977935"/>
                      <a:gd name="connsiteY330" fmla="*/ 230597 h 511191"/>
                      <a:gd name="connsiteX331" fmla="*/ 900708 w 977935"/>
                      <a:gd name="connsiteY331" fmla="*/ 229342 h 511191"/>
                      <a:gd name="connsiteX332" fmla="*/ 900839 w 977935"/>
                      <a:gd name="connsiteY332" fmla="*/ 228844 h 511191"/>
                      <a:gd name="connsiteX333" fmla="*/ 903031 w 977935"/>
                      <a:gd name="connsiteY333" fmla="*/ 228135 h 511191"/>
                      <a:gd name="connsiteX334" fmla="*/ 902094 w 977935"/>
                      <a:gd name="connsiteY334" fmla="*/ 227117 h 511191"/>
                      <a:gd name="connsiteX335" fmla="*/ 898231 w 977935"/>
                      <a:gd name="connsiteY335" fmla="*/ 224346 h 511191"/>
                      <a:gd name="connsiteX336" fmla="*/ 896634 w 977935"/>
                      <a:gd name="connsiteY336" fmla="*/ 222879 h 511191"/>
                      <a:gd name="connsiteX337" fmla="*/ 896438 w 977935"/>
                      <a:gd name="connsiteY337" fmla="*/ 222390 h 511191"/>
                      <a:gd name="connsiteX338" fmla="*/ 892616 w 977935"/>
                      <a:gd name="connsiteY338" fmla="*/ 220499 h 511191"/>
                      <a:gd name="connsiteX339" fmla="*/ 888818 w 977935"/>
                      <a:gd name="connsiteY339" fmla="*/ 219986 h 511191"/>
                      <a:gd name="connsiteX340" fmla="*/ 884002 w 977935"/>
                      <a:gd name="connsiteY340" fmla="*/ 223107 h 511191"/>
                      <a:gd name="connsiteX341" fmla="*/ 882168 w 977935"/>
                      <a:gd name="connsiteY341" fmla="*/ 225226 h 511191"/>
                      <a:gd name="connsiteX342" fmla="*/ 882233 w 977935"/>
                      <a:gd name="connsiteY342" fmla="*/ 225911 h 511191"/>
                      <a:gd name="connsiteX343" fmla="*/ 884531 w 977935"/>
                      <a:gd name="connsiteY343" fmla="*/ 226717 h 511191"/>
                      <a:gd name="connsiteX344" fmla="*/ 885534 w 977935"/>
                      <a:gd name="connsiteY344" fmla="*/ 226318 h 511191"/>
                      <a:gd name="connsiteX345" fmla="*/ 887490 w 977935"/>
                      <a:gd name="connsiteY345" fmla="*/ 224378 h 511191"/>
                      <a:gd name="connsiteX346" fmla="*/ 888525 w 977935"/>
                      <a:gd name="connsiteY346" fmla="*/ 223767 h 511191"/>
                      <a:gd name="connsiteX347" fmla="*/ 891491 w 977935"/>
                      <a:gd name="connsiteY347" fmla="*/ 224077 h 511191"/>
                      <a:gd name="connsiteX348" fmla="*/ 893952 w 977935"/>
                      <a:gd name="connsiteY348" fmla="*/ 225422 h 511191"/>
                      <a:gd name="connsiteX349" fmla="*/ 894849 w 977935"/>
                      <a:gd name="connsiteY349" fmla="*/ 226595 h 511191"/>
                      <a:gd name="connsiteX350" fmla="*/ 895175 w 977935"/>
                      <a:gd name="connsiteY350" fmla="*/ 227386 h 511191"/>
                      <a:gd name="connsiteX351" fmla="*/ 901882 w 977935"/>
                      <a:gd name="connsiteY351" fmla="*/ 233604 h 511191"/>
                      <a:gd name="connsiteX352" fmla="*/ 904262 w 977935"/>
                      <a:gd name="connsiteY352" fmla="*/ 234859 h 511191"/>
                      <a:gd name="connsiteX353" fmla="*/ 905248 w 977935"/>
                      <a:gd name="connsiteY353" fmla="*/ 236342 h 511191"/>
                      <a:gd name="connsiteX354" fmla="*/ 906006 w 977935"/>
                      <a:gd name="connsiteY354" fmla="*/ 238820 h 511191"/>
                      <a:gd name="connsiteX355" fmla="*/ 907456 w 977935"/>
                      <a:gd name="connsiteY355" fmla="*/ 241558 h 511191"/>
                      <a:gd name="connsiteX356" fmla="*/ 910676 w 977935"/>
                      <a:gd name="connsiteY356" fmla="*/ 246081 h 511191"/>
                      <a:gd name="connsiteX357" fmla="*/ 914107 w 977935"/>
                      <a:gd name="connsiteY357" fmla="*/ 251664 h 511191"/>
                      <a:gd name="connsiteX358" fmla="*/ 914808 w 977935"/>
                      <a:gd name="connsiteY358" fmla="*/ 253856 h 511191"/>
                      <a:gd name="connsiteX359" fmla="*/ 913039 w 977935"/>
                      <a:gd name="connsiteY359" fmla="*/ 254924 h 511191"/>
                      <a:gd name="connsiteX360" fmla="*/ 912151 w 977935"/>
                      <a:gd name="connsiteY360" fmla="*/ 255005 h 511191"/>
                      <a:gd name="connsiteX361" fmla="*/ 909502 w 977935"/>
                      <a:gd name="connsiteY361" fmla="*/ 254166 h 511191"/>
                      <a:gd name="connsiteX362" fmla="*/ 902526 w 977935"/>
                      <a:gd name="connsiteY362" fmla="*/ 251582 h 511191"/>
                      <a:gd name="connsiteX363" fmla="*/ 901752 w 977935"/>
                      <a:gd name="connsiteY363" fmla="*/ 251631 h 511191"/>
                      <a:gd name="connsiteX364" fmla="*/ 899910 w 977935"/>
                      <a:gd name="connsiteY364" fmla="*/ 253000 h 511191"/>
                      <a:gd name="connsiteX365" fmla="*/ 898402 w 977935"/>
                      <a:gd name="connsiteY365" fmla="*/ 256097 h 511191"/>
                      <a:gd name="connsiteX366" fmla="*/ 897921 w 977935"/>
                      <a:gd name="connsiteY366" fmla="*/ 256382 h 511191"/>
                      <a:gd name="connsiteX367" fmla="*/ 894213 w 977935"/>
                      <a:gd name="connsiteY367" fmla="*/ 255168 h 511191"/>
                      <a:gd name="connsiteX368" fmla="*/ 887261 w 977935"/>
                      <a:gd name="connsiteY368" fmla="*/ 252454 h 511191"/>
                      <a:gd name="connsiteX369" fmla="*/ 882600 w 977935"/>
                      <a:gd name="connsiteY369" fmla="*/ 250148 h 511191"/>
                      <a:gd name="connsiteX370" fmla="*/ 880236 w 977935"/>
                      <a:gd name="connsiteY370" fmla="*/ 248257 h 511191"/>
                      <a:gd name="connsiteX371" fmla="*/ 877384 w 977935"/>
                      <a:gd name="connsiteY371" fmla="*/ 245234 h 511191"/>
                      <a:gd name="connsiteX372" fmla="*/ 874018 w 977935"/>
                      <a:gd name="connsiteY372" fmla="*/ 241085 h 511191"/>
                      <a:gd name="connsiteX373" fmla="*/ 870017 w 977935"/>
                      <a:gd name="connsiteY373" fmla="*/ 239757 h 511191"/>
                      <a:gd name="connsiteX374" fmla="*/ 865347 w 977935"/>
                      <a:gd name="connsiteY374" fmla="*/ 241273 h 511191"/>
                      <a:gd name="connsiteX375" fmla="*/ 858623 w 977935"/>
                      <a:gd name="connsiteY375" fmla="*/ 241811 h 511191"/>
                      <a:gd name="connsiteX376" fmla="*/ 844483 w 977935"/>
                      <a:gd name="connsiteY376" fmla="*/ 241346 h 511191"/>
                      <a:gd name="connsiteX377" fmla="*/ 842625 w 977935"/>
                      <a:gd name="connsiteY377" fmla="*/ 241697 h 511191"/>
                      <a:gd name="connsiteX378" fmla="*/ 841908 w 977935"/>
                      <a:gd name="connsiteY378" fmla="*/ 242218 h 511191"/>
                      <a:gd name="connsiteX379" fmla="*/ 843106 w 977935"/>
                      <a:gd name="connsiteY379" fmla="*/ 244500 h 511191"/>
                      <a:gd name="connsiteX380" fmla="*/ 842821 w 977935"/>
                      <a:gd name="connsiteY380" fmla="*/ 245128 h 511191"/>
                      <a:gd name="connsiteX381" fmla="*/ 841876 w 977935"/>
                      <a:gd name="connsiteY381" fmla="*/ 245551 h 511191"/>
                      <a:gd name="connsiteX382" fmla="*/ 841664 w 977935"/>
                      <a:gd name="connsiteY382" fmla="*/ 246236 h 511191"/>
                      <a:gd name="connsiteX383" fmla="*/ 843196 w 977935"/>
                      <a:gd name="connsiteY383" fmla="*/ 248656 h 511191"/>
                      <a:gd name="connsiteX384" fmla="*/ 845682 w 977935"/>
                      <a:gd name="connsiteY384" fmla="*/ 250295 h 511191"/>
                      <a:gd name="connsiteX385" fmla="*/ 852723 w 977935"/>
                      <a:gd name="connsiteY385" fmla="*/ 252519 h 511191"/>
                      <a:gd name="connsiteX386" fmla="*/ 857376 w 977935"/>
                      <a:gd name="connsiteY386" fmla="*/ 254426 h 511191"/>
                      <a:gd name="connsiteX387" fmla="*/ 860172 w 977935"/>
                      <a:gd name="connsiteY387" fmla="*/ 256073 h 511191"/>
                      <a:gd name="connsiteX388" fmla="*/ 861076 w 977935"/>
                      <a:gd name="connsiteY388" fmla="*/ 257442 h 511191"/>
                      <a:gd name="connsiteX389" fmla="*/ 861215 w 977935"/>
                      <a:gd name="connsiteY389" fmla="*/ 258950 h 511191"/>
                      <a:gd name="connsiteX390" fmla="*/ 859886 w 977935"/>
                      <a:gd name="connsiteY390" fmla="*/ 261965 h 511191"/>
                      <a:gd name="connsiteX391" fmla="*/ 859120 w 977935"/>
                      <a:gd name="connsiteY391" fmla="*/ 263065 h 511191"/>
                      <a:gd name="connsiteX392" fmla="*/ 842772 w 977935"/>
                      <a:gd name="connsiteY392" fmla="*/ 278020 h 511191"/>
                      <a:gd name="connsiteX393" fmla="*/ 836546 w 977935"/>
                      <a:gd name="connsiteY393" fmla="*/ 284051 h 511191"/>
                      <a:gd name="connsiteX394" fmla="*/ 833375 w 977935"/>
                      <a:gd name="connsiteY394" fmla="*/ 287751 h 511191"/>
                      <a:gd name="connsiteX395" fmla="*/ 830580 w 977935"/>
                      <a:gd name="connsiteY395" fmla="*/ 290196 h 511191"/>
                      <a:gd name="connsiteX396" fmla="*/ 828160 w 977935"/>
                      <a:gd name="connsiteY396" fmla="*/ 291394 h 511191"/>
                      <a:gd name="connsiteX397" fmla="*/ 824150 w 977935"/>
                      <a:gd name="connsiteY397" fmla="*/ 292054 h 511191"/>
                      <a:gd name="connsiteX398" fmla="*/ 818567 w 977935"/>
                      <a:gd name="connsiteY398" fmla="*/ 292209 h 511191"/>
                      <a:gd name="connsiteX399" fmla="*/ 811330 w 977935"/>
                      <a:gd name="connsiteY399" fmla="*/ 291630 h 511191"/>
                      <a:gd name="connsiteX400" fmla="*/ 807581 w 977935"/>
                      <a:gd name="connsiteY400" fmla="*/ 289707 h 511191"/>
                      <a:gd name="connsiteX401" fmla="*/ 800793 w 977935"/>
                      <a:gd name="connsiteY401" fmla="*/ 284564 h 511191"/>
                      <a:gd name="connsiteX402" fmla="*/ 796033 w 977935"/>
                      <a:gd name="connsiteY402" fmla="*/ 281541 h 511191"/>
                      <a:gd name="connsiteX403" fmla="*/ 793906 w 977935"/>
                      <a:gd name="connsiteY403" fmla="*/ 280530 h 511191"/>
                      <a:gd name="connsiteX404" fmla="*/ 792138 w 977935"/>
                      <a:gd name="connsiteY404" fmla="*/ 277678 h 511191"/>
                      <a:gd name="connsiteX405" fmla="*/ 790532 w 977935"/>
                      <a:gd name="connsiteY405" fmla="*/ 277132 h 511191"/>
                      <a:gd name="connsiteX406" fmla="*/ 787118 w 977935"/>
                      <a:gd name="connsiteY406" fmla="*/ 276643 h 511191"/>
                      <a:gd name="connsiteX407" fmla="*/ 783605 w 977935"/>
                      <a:gd name="connsiteY407" fmla="*/ 275119 h 511191"/>
                      <a:gd name="connsiteX408" fmla="*/ 775358 w 977935"/>
                      <a:gd name="connsiteY408" fmla="*/ 269952 h 511191"/>
                      <a:gd name="connsiteX409" fmla="*/ 771079 w 977935"/>
                      <a:gd name="connsiteY409" fmla="*/ 267882 h 511191"/>
                      <a:gd name="connsiteX410" fmla="*/ 767191 w 977935"/>
                      <a:gd name="connsiteY410" fmla="*/ 266741 h 511191"/>
                      <a:gd name="connsiteX411" fmla="*/ 763695 w 977935"/>
                      <a:gd name="connsiteY411" fmla="*/ 266545 h 511191"/>
                      <a:gd name="connsiteX412" fmla="*/ 762367 w 977935"/>
                      <a:gd name="connsiteY412" fmla="*/ 266847 h 511191"/>
                      <a:gd name="connsiteX413" fmla="*/ 764755 w 977935"/>
                      <a:gd name="connsiteY413" fmla="*/ 269463 h 511191"/>
                      <a:gd name="connsiteX414" fmla="*/ 763711 w 977935"/>
                      <a:gd name="connsiteY414" fmla="*/ 269618 h 511191"/>
                      <a:gd name="connsiteX415" fmla="*/ 760892 w 977935"/>
                      <a:gd name="connsiteY415" fmla="*/ 269023 h 511191"/>
                      <a:gd name="connsiteX416" fmla="*/ 758080 w 977935"/>
                      <a:gd name="connsiteY416" fmla="*/ 269031 h 511191"/>
                      <a:gd name="connsiteX417" fmla="*/ 753133 w 977935"/>
                      <a:gd name="connsiteY417" fmla="*/ 267156 h 511191"/>
                      <a:gd name="connsiteX418" fmla="*/ 748251 w 977935"/>
                      <a:gd name="connsiteY418" fmla="*/ 267409 h 511191"/>
                      <a:gd name="connsiteX419" fmla="*/ 744723 w 977935"/>
                      <a:gd name="connsiteY419" fmla="*/ 267034 h 511191"/>
                      <a:gd name="connsiteX420" fmla="*/ 740501 w 977935"/>
                      <a:gd name="connsiteY420" fmla="*/ 265991 h 511191"/>
                      <a:gd name="connsiteX421" fmla="*/ 735937 w 977935"/>
                      <a:gd name="connsiteY421" fmla="*/ 265478 h 511191"/>
                      <a:gd name="connsiteX422" fmla="*/ 728602 w 977935"/>
                      <a:gd name="connsiteY422" fmla="*/ 265526 h 511191"/>
                      <a:gd name="connsiteX423" fmla="*/ 725970 w 977935"/>
                      <a:gd name="connsiteY423" fmla="*/ 265763 h 511191"/>
                      <a:gd name="connsiteX424" fmla="*/ 725579 w 977935"/>
                      <a:gd name="connsiteY424" fmla="*/ 266244 h 511191"/>
                      <a:gd name="connsiteX425" fmla="*/ 729108 w 977935"/>
                      <a:gd name="connsiteY425" fmla="*/ 268517 h 511191"/>
                      <a:gd name="connsiteX426" fmla="*/ 735155 w 977935"/>
                      <a:gd name="connsiteY426" fmla="*/ 271264 h 511191"/>
                      <a:gd name="connsiteX427" fmla="*/ 734348 w 977935"/>
                      <a:gd name="connsiteY427" fmla="*/ 268892 h 511191"/>
                      <a:gd name="connsiteX428" fmla="*/ 734568 w 977935"/>
                      <a:gd name="connsiteY428" fmla="*/ 268289 h 511191"/>
                      <a:gd name="connsiteX429" fmla="*/ 736581 w 977935"/>
                      <a:gd name="connsiteY429" fmla="*/ 267466 h 511191"/>
                      <a:gd name="connsiteX430" fmla="*/ 746173 w 977935"/>
                      <a:gd name="connsiteY430" fmla="*/ 268925 h 511191"/>
                      <a:gd name="connsiteX431" fmla="*/ 757045 w 977935"/>
                      <a:gd name="connsiteY431" fmla="*/ 271989 h 511191"/>
                      <a:gd name="connsiteX432" fmla="*/ 759800 w 977935"/>
                      <a:gd name="connsiteY432" fmla="*/ 272291 h 511191"/>
                      <a:gd name="connsiteX433" fmla="*/ 762864 w 977935"/>
                      <a:gd name="connsiteY433" fmla="*/ 273366 h 511191"/>
                      <a:gd name="connsiteX434" fmla="*/ 766238 w 977935"/>
                      <a:gd name="connsiteY434" fmla="*/ 275216 h 511191"/>
                      <a:gd name="connsiteX435" fmla="*/ 770891 w 977935"/>
                      <a:gd name="connsiteY435" fmla="*/ 278990 h 511191"/>
                      <a:gd name="connsiteX436" fmla="*/ 779783 w 977935"/>
                      <a:gd name="connsiteY436" fmla="*/ 287514 h 511191"/>
                      <a:gd name="connsiteX437" fmla="*/ 782643 w 977935"/>
                      <a:gd name="connsiteY437" fmla="*/ 289666 h 511191"/>
                      <a:gd name="connsiteX438" fmla="*/ 786425 w 977935"/>
                      <a:gd name="connsiteY438" fmla="*/ 291663 h 511191"/>
                      <a:gd name="connsiteX439" fmla="*/ 805683 w 977935"/>
                      <a:gd name="connsiteY439" fmla="*/ 294556 h 511191"/>
                      <a:gd name="connsiteX440" fmla="*/ 812333 w 977935"/>
                      <a:gd name="connsiteY440" fmla="*/ 294539 h 511191"/>
                      <a:gd name="connsiteX441" fmla="*/ 825666 w 977935"/>
                      <a:gd name="connsiteY441" fmla="*/ 295363 h 511191"/>
                      <a:gd name="connsiteX442" fmla="*/ 832707 w 977935"/>
                      <a:gd name="connsiteY442" fmla="*/ 296878 h 511191"/>
                      <a:gd name="connsiteX443" fmla="*/ 834704 w 977935"/>
                      <a:gd name="connsiteY443" fmla="*/ 298003 h 511191"/>
                      <a:gd name="connsiteX444" fmla="*/ 835315 w 977935"/>
                      <a:gd name="connsiteY444" fmla="*/ 301776 h 511191"/>
                      <a:gd name="connsiteX445" fmla="*/ 834679 w 977935"/>
                      <a:gd name="connsiteY445" fmla="*/ 303675 h 511191"/>
                      <a:gd name="connsiteX446" fmla="*/ 830849 w 977935"/>
                      <a:gd name="connsiteY446" fmla="*/ 309437 h 511191"/>
                      <a:gd name="connsiteX447" fmla="*/ 828429 w 977935"/>
                      <a:gd name="connsiteY447" fmla="*/ 313659 h 511191"/>
                      <a:gd name="connsiteX448" fmla="*/ 813433 w 977935"/>
                      <a:gd name="connsiteY448" fmla="*/ 331507 h 511191"/>
                      <a:gd name="connsiteX449" fmla="*/ 811485 w 977935"/>
                      <a:gd name="connsiteY449" fmla="*/ 335598 h 511191"/>
                      <a:gd name="connsiteX450" fmla="*/ 810646 w 977935"/>
                      <a:gd name="connsiteY450" fmla="*/ 338043 h 511191"/>
                      <a:gd name="connsiteX451" fmla="*/ 807965 w 977935"/>
                      <a:gd name="connsiteY451" fmla="*/ 340569 h 511191"/>
                      <a:gd name="connsiteX452" fmla="*/ 801184 w 977935"/>
                      <a:gd name="connsiteY452" fmla="*/ 344489 h 511191"/>
                      <a:gd name="connsiteX453" fmla="*/ 794387 w 977935"/>
                      <a:gd name="connsiteY453" fmla="*/ 347822 h 511191"/>
                      <a:gd name="connsiteX454" fmla="*/ 790304 w 977935"/>
                      <a:gd name="connsiteY454" fmla="*/ 348531 h 511191"/>
                      <a:gd name="connsiteX455" fmla="*/ 786669 w 977935"/>
                      <a:gd name="connsiteY455" fmla="*/ 347741 h 511191"/>
                      <a:gd name="connsiteX456" fmla="*/ 784306 w 977935"/>
                      <a:gd name="connsiteY456" fmla="*/ 346779 h 511191"/>
                      <a:gd name="connsiteX457" fmla="*/ 780810 w 977935"/>
                      <a:gd name="connsiteY457" fmla="*/ 343470 h 511191"/>
                      <a:gd name="connsiteX458" fmla="*/ 780590 w 977935"/>
                      <a:gd name="connsiteY458" fmla="*/ 343821 h 511191"/>
                      <a:gd name="connsiteX459" fmla="*/ 783116 w 977935"/>
                      <a:gd name="connsiteY459" fmla="*/ 348996 h 511191"/>
                      <a:gd name="connsiteX460" fmla="*/ 782521 w 977935"/>
                      <a:gd name="connsiteY460" fmla="*/ 349526 h 511191"/>
                      <a:gd name="connsiteX461" fmla="*/ 780459 w 977935"/>
                      <a:gd name="connsiteY461" fmla="*/ 348866 h 511191"/>
                      <a:gd name="connsiteX462" fmla="*/ 775773 w 977935"/>
                      <a:gd name="connsiteY462" fmla="*/ 346543 h 511191"/>
                      <a:gd name="connsiteX463" fmla="*/ 774257 w 977935"/>
                      <a:gd name="connsiteY463" fmla="*/ 346975 h 511191"/>
                      <a:gd name="connsiteX464" fmla="*/ 773361 w 977935"/>
                      <a:gd name="connsiteY464" fmla="*/ 347602 h 511191"/>
                      <a:gd name="connsiteX465" fmla="*/ 772114 w 977935"/>
                      <a:gd name="connsiteY465" fmla="*/ 347594 h 511191"/>
                      <a:gd name="connsiteX466" fmla="*/ 770508 w 977935"/>
                      <a:gd name="connsiteY466" fmla="*/ 346934 h 511191"/>
                      <a:gd name="connsiteX467" fmla="*/ 767607 w 977935"/>
                      <a:gd name="connsiteY467" fmla="*/ 345003 h 511191"/>
                      <a:gd name="connsiteX468" fmla="*/ 766833 w 977935"/>
                      <a:gd name="connsiteY468" fmla="*/ 344074 h 511191"/>
                      <a:gd name="connsiteX469" fmla="*/ 766140 w 977935"/>
                      <a:gd name="connsiteY469" fmla="*/ 341205 h 511191"/>
                      <a:gd name="connsiteX470" fmla="*/ 765659 w 977935"/>
                      <a:gd name="connsiteY470" fmla="*/ 340691 h 511191"/>
                      <a:gd name="connsiteX471" fmla="*/ 759946 w 977935"/>
                      <a:gd name="connsiteY471" fmla="*/ 342346 h 511191"/>
                      <a:gd name="connsiteX472" fmla="*/ 758993 w 977935"/>
                      <a:gd name="connsiteY472" fmla="*/ 342892 h 511191"/>
                      <a:gd name="connsiteX473" fmla="*/ 761340 w 977935"/>
                      <a:gd name="connsiteY473" fmla="*/ 344041 h 511191"/>
                      <a:gd name="connsiteX474" fmla="*/ 762122 w 977935"/>
                      <a:gd name="connsiteY474" fmla="*/ 344856 h 511191"/>
                      <a:gd name="connsiteX475" fmla="*/ 764437 w 977935"/>
                      <a:gd name="connsiteY475" fmla="*/ 349094 h 511191"/>
                      <a:gd name="connsiteX476" fmla="*/ 764559 w 977935"/>
                      <a:gd name="connsiteY476" fmla="*/ 349998 h 511191"/>
                      <a:gd name="connsiteX477" fmla="*/ 762921 w 977935"/>
                      <a:gd name="connsiteY477" fmla="*/ 350561 h 511191"/>
                      <a:gd name="connsiteX478" fmla="*/ 757461 w 977935"/>
                      <a:gd name="connsiteY478" fmla="*/ 348955 h 511191"/>
                      <a:gd name="connsiteX479" fmla="*/ 756809 w 977935"/>
                      <a:gd name="connsiteY479" fmla="*/ 349094 h 511191"/>
                      <a:gd name="connsiteX480" fmla="*/ 759498 w 977935"/>
                      <a:gd name="connsiteY480" fmla="*/ 353307 h 511191"/>
                      <a:gd name="connsiteX481" fmla="*/ 760533 w 977935"/>
                      <a:gd name="connsiteY481" fmla="*/ 355304 h 511191"/>
                      <a:gd name="connsiteX482" fmla="*/ 760639 w 977935"/>
                      <a:gd name="connsiteY482" fmla="*/ 356347 h 511191"/>
                      <a:gd name="connsiteX483" fmla="*/ 757143 w 977935"/>
                      <a:gd name="connsiteY483" fmla="*/ 361106 h 511191"/>
                      <a:gd name="connsiteX484" fmla="*/ 754893 w 977935"/>
                      <a:gd name="connsiteY484" fmla="*/ 363095 h 511191"/>
                      <a:gd name="connsiteX485" fmla="*/ 751829 w 977935"/>
                      <a:gd name="connsiteY485" fmla="*/ 363812 h 511191"/>
                      <a:gd name="connsiteX486" fmla="*/ 749906 w 977935"/>
                      <a:gd name="connsiteY486" fmla="*/ 363323 h 511191"/>
                      <a:gd name="connsiteX487" fmla="*/ 747746 w 977935"/>
                      <a:gd name="connsiteY487" fmla="*/ 362109 h 511191"/>
                      <a:gd name="connsiteX488" fmla="*/ 746181 w 977935"/>
                      <a:gd name="connsiteY488" fmla="*/ 362288 h 511191"/>
                      <a:gd name="connsiteX489" fmla="*/ 745228 w 977935"/>
                      <a:gd name="connsiteY489" fmla="*/ 363845 h 511191"/>
                      <a:gd name="connsiteX490" fmla="*/ 743443 w 977935"/>
                      <a:gd name="connsiteY490" fmla="*/ 364953 h 511191"/>
                      <a:gd name="connsiteX491" fmla="*/ 740843 w 977935"/>
                      <a:gd name="connsiteY491" fmla="*/ 365621 h 511191"/>
                      <a:gd name="connsiteX492" fmla="*/ 737526 w 977935"/>
                      <a:gd name="connsiteY492" fmla="*/ 365328 h 511191"/>
                      <a:gd name="connsiteX493" fmla="*/ 733492 w 977935"/>
                      <a:gd name="connsiteY493" fmla="*/ 364089 h 511191"/>
                      <a:gd name="connsiteX494" fmla="*/ 722816 w 977935"/>
                      <a:gd name="connsiteY494" fmla="*/ 359615 h 511191"/>
                      <a:gd name="connsiteX495" fmla="*/ 719450 w 977935"/>
                      <a:gd name="connsiteY495" fmla="*/ 358922 h 511191"/>
                      <a:gd name="connsiteX496" fmla="*/ 713208 w 977935"/>
                      <a:gd name="connsiteY496" fmla="*/ 358311 h 511191"/>
                      <a:gd name="connsiteX497" fmla="*/ 712466 w 977935"/>
                      <a:gd name="connsiteY497" fmla="*/ 357675 h 511191"/>
                      <a:gd name="connsiteX498" fmla="*/ 712515 w 977935"/>
                      <a:gd name="connsiteY498" fmla="*/ 357080 h 511191"/>
                      <a:gd name="connsiteX499" fmla="*/ 713370 w 977935"/>
                      <a:gd name="connsiteY499" fmla="*/ 356494 h 511191"/>
                      <a:gd name="connsiteX500" fmla="*/ 713142 w 977935"/>
                      <a:gd name="connsiteY500" fmla="*/ 356013 h 511191"/>
                      <a:gd name="connsiteX501" fmla="*/ 711814 w 977935"/>
                      <a:gd name="connsiteY501" fmla="*/ 355597 h 511191"/>
                      <a:gd name="connsiteX502" fmla="*/ 710437 w 977935"/>
                      <a:gd name="connsiteY502" fmla="*/ 355988 h 511191"/>
                      <a:gd name="connsiteX503" fmla="*/ 709019 w 977935"/>
                      <a:gd name="connsiteY503" fmla="*/ 357170 h 511191"/>
                      <a:gd name="connsiteX504" fmla="*/ 706533 w 977935"/>
                      <a:gd name="connsiteY504" fmla="*/ 357529 h 511191"/>
                      <a:gd name="connsiteX505" fmla="*/ 702980 w 977935"/>
                      <a:gd name="connsiteY505" fmla="*/ 357040 h 511191"/>
                      <a:gd name="connsiteX506" fmla="*/ 697731 w 977935"/>
                      <a:gd name="connsiteY506" fmla="*/ 355296 h 511191"/>
                      <a:gd name="connsiteX507" fmla="*/ 687308 w 977935"/>
                      <a:gd name="connsiteY507" fmla="*/ 350805 h 511191"/>
                      <a:gd name="connsiteX508" fmla="*/ 675915 w 977935"/>
                      <a:gd name="connsiteY508" fmla="*/ 347007 h 511191"/>
                      <a:gd name="connsiteX509" fmla="*/ 669305 w 977935"/>
                      <a:gd name="connsiteY509" fmla="*/ 342077 h 511191"/>
                      <a:gd name="connsiteX510" fmla="*/ 671774 w 977935"/>
                      <a:gd name="connsiteY510" fmla="*/ 346518 h 511191"/>
                      <a:gd name="connsiteX511" fmla="*/ 671571 w 977935"/>
                      <a:gd name="connsiteY511" fmla="*/ 348026 h 511191"/>
                      <a:gd name="connsiteX512" fmla="*/ 670307 w 977935"/>
                      <a:gd name="connsiteY512" fmla="*/ 349346 h 511191"/>
                      <a:gd name="connsiteX513" fmla="*/ 670095 w 977935"/>
                      <a:gd name="connsiteY513" fmla="*/ 350650 h 511191"/>
                      <a:gd name="connsiteX514" fmla="*/ 672687 w 977935"/>
                      <a:gd name="connsiteY514" fmla="*/ 353812 h 511191"/>
                      <a:gd name="connsiteX515" fmla="*/ 676265 w 977935"/>
                      <a:gd name="connsiteY515" fmla="*/ 354953 h 511191"/>
                      <a:gd name="connsiteX516" fmla="*/ 679867 w 977935"/>
                      <a:gd name="connsiteY516" fmla="*/ 354831 h 511191"/>
                      <a:gd name="connsiteX517" fmla="*/ 679965 w 977935"/>
                      <a:gd name="connsiteY517" fmla="*/ 354318 h 511191"/>
                      <a:gd name="connsiteX518" fmla="*/ 678465 w 977935"/>
                      <a:gd name="connsiteY518" fmla="*/ 353519 h 511191"/>
                      <a:gd name="connsiteX519" fmla="*/ 677137 w 977935"/>
                      <a:gd name="connsiteY519" fmla="*/ 352378 h 511191"/>
                      <a:gd name="connsiteX520" fmla="*/ 676509 w 977935"/>
                      <a:gd name="connsiteY520" fmla="*/ 350659 h 511191"/>
                      <a:gd name="connsiteX521" fmla="*/ 677186 w 977935"/>
                      <a:gd name="connsiteY521" fmla="*/ 350357 h 511191"/>
                      <a:gd name="connsiteX522" fmla="*/ 680364 w 977935"/>
                      <a:gd name="connsiteY522" fmla="*/ 351253 h 511191"/>
                      <a:gd name="connsiteX523" fmla="*/ 682459 w 977935"/>
                      <a:gd name="connsiteY523" fmla="*/ 352297 h 511191"/>
                      <a:gd name="connsiteX524" fmla="*/ 698253 w 977935"/>
                      <a:gd name="connsiteY524" fmla="*/ 358140 h 511191"/>
                      <a:gd name="connsiteX525" fmla="*/ 702963 w 977935"/>
                      <a:gd name="connsiteY525" fmla="*/ 359232 h 511191"/>
                      <a:gd name="connsiteX526" fmla="*/ 706500 w 977935"/>
                      <a:gd name="connsiteY526" fmla="*/ 360357 h 511191"/>
                      <a:gd name="connsiteX527" fmla="*/ 707478 w 977935"/>
                      <a:gd name="connsiteY527" fmla="*/ 361025 h 511191"/>
                      <a:gd name="connsiteX528" fmla="*/ 706288 w 977935"/>
                      <a:gd name="connsiteY528" fmla="*/ 362467 h 511191"/>
                      <a:gd name="connsiteX529" fmla="*/ 699940 w 977935"/>
                      <a:gd name="connsiteY529" fmla="*/ 366094 h 511191"/>
                      <a:gd name="connsiteX530" fmla="*/ 699842 w 977935"/>
                      <a:gd name="connsiteY530" fmla="*/ 366681 h 511191"/>
                      <a:gd name="connsiteX531" fmla="*/ 704194 w 977935"/>
                      <a:gd name="connsiteY531" fmla="*/ 366363 h 511191"/>
                      <a:gd name="connsiteX532" fmla="*/ 709467 w 977935"/>
                      <a:gd name="connsiteY532" fmla="*/ 363168 h 511191"/>
                      <a:gd name="connsiteX533" fmla="*/ 712442 w 977935"/>
                      <a:gd name="connsiteY533" fmla="*/ 361693 h 511191"/>
                      <a:gd name="connsiteX534" fmla="*/ 715302 w 977935"/>
                      <a:gd name="connsiteY534" fmla="*/ 360780 h 511191"/>
                      <a:gd name="connsiteX535" fmla="*/ 719157 w 977935"/>
                      <a:gd name="connsiteY535" fmla="*/ 362345 h 511191"/>
                      <a:gd name="connsiteX536" fmla="*/ 724039 w 977935"/>
                      <a:gd name="connsiteY536" fmla="*/ 366388 h 511191"/>
                      <a:gd name="connsiteX537" fmla="*/ 727983 w 977935"/>
                      <a:gd name="connsiteY537" fmla="*/ 368686 h 511191"/>
                      <a:gd name="connsiteX538" fmla="*/ 733614 w 977935"/>
                      <a:gd name="connsiteY538" fmla="*/ 369965 h 511191"/>
                      <a:gd name="connsiteX539" fmla="*/ 736915 w 977935"/>
                      <a:gd name="connsiteY539" fmla="*/ 371334 h 511191"/>
                      <a:gd name="connsiteX540" fmla="*/ 742457 w 977935"/>
                      <a:gd name="connsiteY540" fmla="*/ 375108 h 511191"/>
                      <a:gd name="connsiteX541" fmla="*/ 743337 w 977935"/>
                      <a:gd name="connsiteY541" fmla="*/ 377072 h 511191"/>
                      <a:gd name="connsiteX542" fmla="*/ 743851 w 977935"/>
                      <a:gd name="connsiteY542" fmla="*/ 385058 h 511191"/>
                      <a:gd name="connsiteX543" fmla="*/ 743655 w 977935"/>
                      <a:gd name="connsiteY543" fmla="*/ 386982 h 511191"/>
                      <a:gd name="connsiteX544" fmla="*/ 742930 w 977935"/>
                      <a:gd name="connsiteY544" fmla="*/ 388897 h 511191"/>
                      <a:gd name="connsiteX545" fmla="*/ 741691 w 977935"/>
                      <a:gd name="connsiteY545" fmla="*/ 390780 h 511191"/>
                      <a:gd name="connsiteX546" fmla="*/ 739368 w 977935"/>
                      <a:gd name="connsiteY546" fmla="*/ 391839 h 511191"/>
                      <a:gd name="connsiteX547" fmla="*/ 735986 w 977935"/>
                      <a:gd name="connsiteY547" fmla="*/ 392067 h 511191"/>
                      <a:gd name="connsiteX548" fmla="*/ 733329 w 977935"/>
                      <a:gd name="connsiteY548" fmla="*/ 392833 h 511191"/>
                      <a:gd name="connsiteX549" fmla="*/ 727510 w 977935"/>
                      <a:gd name="connsiteY549" fmla="*/ 397063 h 511191"/>
                      <a:gd name="connsiteX550" fmla="*/ 725041 w 977935"/>
                      <a:gd name="connsiteY550" fmla="*/ 397674 h 511191"/>
                      <a:gd name="connsiteX551" fmla="*/ 714609 w 977935"/>
                      <a:gd name="connsiteY551" fmla="*/ 396411 h 511191"/>
                      <a:gd name="connsiteX552" fmla="*/ 710526 w 977935"/>
                      <a:gd name="connsiteY552" fmla="*/ 395238 h 511191"/>
                      <a:gd name="connsiteX553" fmla="*/ 708644 w 977935"/>
                      <a:gd name="connsiteY553" fmla="*/ 395311 h 511191"/>
                      <a:gd name="connsiteX554" fmla="*/ 707601 w 977935"/>
                      <a:gd name="connsiteY554" fmla="*/ 396240 h 511191"/>
                      <a:gd name="connsiteX555" fmla="*/ 706509 w 977935"/>
                      <a:gd name="connsiteY555" fmla="*/ 396656 h 511191"/>
                      <a:gd name="connsiteX556" fmla="*/ 702417 w 977935"/>
                      <a:gd name="connsiteY556" fmla="*/ 397047 h 511191"/>
                      <a:gd name="connsiteX557" fmla="*/ 701749 w 977935"/>
                      <a:gd name="connsiteY557" fmla="*/ 397805 h 511191"/>
                      <a:gd name="connsiteX558" fmla="*/ 702002 w 977935"/>
                      <a:gd name="connsiteY558" fmla="*/ 398978 h 511191"/>
                      <a:gd name="connsiteX559" fmla="*/ 702817 w 977935"/>
                      <a:gd name="connsiteY559" fmla="*/ 400559 h 511191"/>
                      <a:gd name="connsiteX560" fmla="*/ 703803 w 977935"/>
                      <a:gd name="connsiteY560" fmla="*/ 401472 h 511191"/>
                      <a:gd name="connsiteX561" fmla="*/ 705343 w 977935"/>
                      <a:gd name="connsiteY561" fmla="*/ 402621 h 511191"/>
                      <a:gd name="connsiteX562" fmla="*/ 707674 w 977935"/>
                      <a:gd name="connsiteY562" fmla="*/ 403371 h 511191"/>
                      <a:gd name="connsiteX563" fmla="*/ 712466 w 977935"/>
                      <a:gd name="connsiteY563" fmla="*/ 404210 h 511191"/>
                      <a:gd name="connsiteX564" fmla="*/ 712963 w 977935"/>
                      <a:gd name="connsiteY564" fmla="*/ 406362 h 511191"/>
                      <a:gd name="connsiteX565" fmla="*/ 712751 w 977935"/>
                      <a:gd name="connsiteY565" fmla="*/ 407055 h 511191"/>
                      <a:gd name="connsiteX566" fmla="*/ 711178 w 977935"/>
                      <a:gd name="connsiteY566" fmla="*/ 408489 h 511191"/>
                      <a:gd name="connsiteX567" fmla="*/ 709361 w 977935"/>
                      <a:gd name="connsiteY567" fmla="*/ 408342 h 511191"/>
                      <a:gd name="connsiteX568" fmla="*/ 706239 w 977935"/>
                      <a:gd name="connsiteY568" fmla="*/ 406647 h 511191"/>
                      <a:gd name="connsiteX569" fmla="*/ 704691 w 977935"/>
                      <a:gd name="connsiteY569" fmla="*/ 406582 h 511191"/>
                      <a:gd name="connsiteX570" fmla="*/ 703338 w 977935"/>
                      <a:gd name="connsiteY570" fmla="*/ 407503 h 511191"/>
                      <a:gd name="connsiteX571" fmla="*/ 701456 w 977935"/>
                      <a:gd name="connsiteY571" fmla="*/ 407813 h 511191"/>
                      <a:gd name="connsiteX572" fmla="*/ 699035 w 977935"/>
                      <a:gd name="connsiteY572" fmla="*/ 407495 h 511191"/>
                      <a:gd name="connsiteX573" fmla="*/ 697699 w 977935"/>
                      <a:gd name="connsiteY573" fmla="*/ 408236 h 511191"/>
                      <a:gd name="connsiteX574" fmla="*/ 697430 w 977935"/>
                      <a:gd name="connsiteY574" fmla="*/ 410029 h 511191"/>
                      <a:gd name="connsiteX575" fmla="*/ 696615 w 977935"/>
                      <a:gd name="connsiteY575" fmla="*/ 411374 h 511191"/>
                      <a:gd name="connsiteX576" fmla="*/ 693828 w 977935"/>
                      <a:gd name="connsiteY576" fmla="*/ 413501 h 511191"/>
                      <a:gd name="connsiteX577" fmla="*/ 692328 w 977935"/>
                      <a:gd name="connsiteY577" fmla="*/ 415066 h 511191"/>
                      <a:gd name="connsiteX578" fmla="*/ 692377 w 977935"/>
                      <a:gd name="connsiteY578" fmla="*/ 416288 h 511191"/>
                      <a:gd name="connsiteX579" fmla="*/ 693982 w 977935"/>
                      <a:gd name="connsiteY579" fmla="*/ 417177 h 511191"/>
                      <a:gd name="connsiteX580" fmla="*/ 695808 w 977935"/>
                      <a:gd name="connsiteY580" fmla="*/ 419190 h 511191"/>
                      <a:gd name="connsiteX581" fmla="*/ 697878 w 977935"/>
                      <a:gd name="connsiteY581" fmla="*/ 422327 h 511191"/>
                      <a:gd name="connsiteX582" fmla="*/ 698277 w 977935"/>
                      <a:gd name="connsiteY582" fmla="*/ 423713 h 511191"/>
                      <a:gd name="connsiteX583" fmla="*/ 697006 w 977935"/>
                      <a:gd name="connsiteY583" fmla="*/ 423346 h 511191"/>
                      <a:gd name="connsiteX584" fmla="*/ 695303 w 977935"/>
                      <a:gd name="connsiteY584" fmla="*/ 422107 h 511191"/>
                      <a:gd name="connsiteX585" fmla="*/ 693151 w 977935"/>
                      <a:gd name="connsiteY585" fmla="*/ 419980 h 511191"/>
                      <a:gd name="connsiteX586" fmla="*/ 689899 w 977935"/>
                      <a:gd name="connsiteY586" fmla="*/ 418081 h 511191"/>
                      <a:gd name="connsiteX587" fmla="*/ 682744 w 977935"/>
                      <a:gd name="connsiteY587" fmla="*/ 415604 h 511191"/>
                      <a:gd name="connsiteX588" fmla="*/ 681481 w 977935"/>
                      <a:gd name="connsiteY588" fmla="*/ 415677 h 511191"/>
                      <a:gd name="connsiteX589" fmla="*/ 682125 w 977935"/>
                      <a:gd name="connsiteY589" fmla="*/ 416313 h 511191"/>
                      <a:gd name="connsiteX590" fmla="*/ 686876 w 977935"/>
                      <a:gd name="connsiteY590" fmla="*/ 418904 h 511191"/>
                      <a:gd name="connsiteX591" fmla="*/ 688693 w 977935"/>
                      <a:gd name="connsiteY591" fmla="*/ 420583 h 511191"/>
                      <a:gd name="connsiteX592" fmla="*/ 688913 w 977935"/>
                      <a:gd name="connsiteY592" fmla="*/ 421806 h 511191"/>
                      <a:gd name="connsiteX593" fmla="*/ 684936 w 977935"/>
                      <a:gd name="connsiteY593" fmla="*/ 424479 h 511191"/>
                      <a:gd name="connsiteX594" fmla="*/ 684830 w 977935"/>
                      <a:gd name="connsiteY594" fmla="*/ 425367 h 511191"/>
                      <a:gd name="connsiteX595" fmla="*/ 685882 w 977935"/>
                      <a:gd name="connsiteY595" fmla="*/ 426149 h 511191"/>
                      <a:gd name="connsiteX596" fmla="*/ 686167 w 977935"/>
                      <a:gd name="connsiteY596" fmla="*/ 426801 h 511191"/>
                      <a:gd name="connsiteX597" fmla="*/ 684757 w 977935"/>
                      <a:gd name="connsiteY597" fmla="*/ 428114 h 511191"/>
                      <a:gd name="connsiteX598" fmla="*/ 682418 w 977935"/>
                      <a:gd name="connsiteY598" fmla="*/ 429206 h 511191"/>
                      <a:gd name="connsiteX599" fmla="*/ 677895 w 977935"/>
                      <a:gd name="connsiteY599" fmla="*/ 429360 h 511191"/>
                      <a:gd name="connsiteX600" fmla="*/ 677487 w 977935"/>
                      <a:gd name="connsiteY600" fmla="*/ 429988 h 511191"/>
                      <a:gd name="connsiteX601" fmla="*/ 679215 w 977935"/>
                      <a:gd name="connsiteY601" fmla="*/ 431325 h 511191"/>
                      <a:gd name="connsiteX602" fmla="*/ 679785 w 977935"/>
                      <a:gd name="connsiteY602" fmla="*/ 432164 h 511191"/>
                      <a:gd name="connsiteX603" fmla="*/ 678310 w 977935"/>
                      <a:gd name="connsiteY603" fmla="*/ 433305 h 511191"/>
                      <a:gd name="connsiteX604" fmla="*/ 677349 w 977935"/>
                      <a:gd name="connsiteY604" fmla="*/ 433476 h 511191"/>
                      <a:gd name="connsiteX605" fmla="*/ 672141 w 977935"/>
                      <a:gd name="connsiteY605" fmla="*/ 432938 h 511191"/>
                      <a:gd name="connsiteX606" fmla="*/ 673510 w 977935"/>
                      <a:gd name="connsiteY606" fmla="*/ 435807 h 511191"/>
                      <a:gd name="connsiteX607" fmla="*/ 674317 w 977935"/>
                      <a:gd name="connsiteY607" fmla="*/ 436809 h 511191"/>
                      <a:gd name="connsiteX608" fmla="*/ 675906 w 977935"/>
                      <a:gd name="connsiteY608" fmla="*/ 438227 h 511191"/>
                      <a:gd name="connsiteX609" fmla="*/ 678775 w 977935"/>
                      <a:gd name="connsiteY609" fmla="*/ 439548 h 511191"/>
                      <a:gd name="connsiteX610" fmla="*/ 678832 w 977935"/>
                      <a:gd name="connsiteY610" fmla="*/ 440045 h 511191"/>
                      <a:gd name="connsiteX611" fmla="*/ 677838 w 977935"/>
                      <a:gd name="connsiteY611" fmla="*/ 441178 h 511191"/>
                      <a:gd name="connsiteX612" fmla="*/ 676143 w 977935"/>
                      <a:gd name="connsiteY612" fmla="*/ 442547 h 511191"/>
                      <a:gd name="connsiteX613" fmla="*/ 668971 w 977935"/>
                      <a:gd name="connsiteY613" fmla="*/ 446744 h 511191"/>
                      <a:gd name="connsiteX614" fmla="*/ 663934 w 977935"/>
                      <a:gd name="connsiteY614" fmla="*/ 451650 h 511191"/>
                      <a:gd name="connsiteX615" fmla="*/ 663234 w 977935"/>
                      <a:gd name="connsiteY615" fmla="*/ 453182 h 511191"/>
                      <a:gd name="connsiteX616" fmla="*/ 664521 w 977935"/>
                      <a:gd name="connsiteY616" fmla="*/ 456409 h 511191"/>
                      <a:gd name="connsiteX617" fmla="*/ 664529 w 977935"/>
                      <a:gd name="connsiteY617" fmla="*/ 457216 h 511191"/>
                      <a:gd name="connsiteX618" fmla="*/ 663209 w 977935"/>
                      <a:gd name="connsiteY618" fmla="*/ 458683 h 511191"/>
                      <a:gd name="connsiteX619" fmla="*/ 660259 w 977935"/>
                      <a:gd name="connsiteY619" fmla="*/ 458276 h 511191"/>
                      <a:gd name="connsiteX620" fmla="*/ 659705 w 977935"/>
                      <a:gd name="connsiteY620" fmla="*/ 458854 h 511191"/>
                      <a:gd name="connsiteX621" fmla="*/ 660397 w 977935"/>
                      <a:gd name="connsiteY621" fmla="*/ 460370 h 511191"/>
                      <a:gd name="connsiteX622" fmla="*/ 660528 w 977935"/>
                      <a:gd name="connsiteY622" fmla="*/ 462587 h 511191"/>
                      <a:gd name="connsiteX623" fmla="*/ 660088 w 977935"/>
                      <a:gd name="connsiteY623" fmla="*/ 465513 h 511191"/>
                      <a:gd name="connsiteX624" fmla="*/ 657944 w 977935"/>
                      <a:gd name="connsiteY624" fmla="*/ 470085 h 511191"/>
                      <a:gd name="connsiteX625" fmla="*/ 654114 w 977935"/>
                      <a:gd name="connsiteY625" fmla="*/ 476311 h 511191"/>
                      <a:gd name="connsiteX626" fmla="*/ 651172 w 977935"/>
                      <a:gd name="connsiteY626" fmla="*/ 481959 h 511191"/>
                      <a:gd name="connsiteX627" fmla="*/ 649134 w 977935"/>
                      <a:gd name="connsiteY627" fmla="*/ 487036 h 511191"/>
                      <a:gd name="connsiteX628" fmla="*/ 647659 w 977935"/>
                      <a:gd name="connsiteY628" fmla="*/ 489538 h 511191"/>
                      <a:gd name="connsiteX629" fmla="*/ 644937 w 977935"/>
                      <a:gd name="connsiteY629" fmla="*/ 489709 h 511191"/>
                      <a:gd name="connsiteX630" fmla="*/ 642884 w 977935"/>
                      <a:gd name="connsiteY630" fmla="*/ 491298 h 511191"/>
                      <a:gd name="connsiteX631" fmla="*/ 644277 w 977935"/>
                      <a:gd name="connsiteY631" fmla="*/ 492130 h 511191"/>
                      <a:gd name="connsiteX632" fmla="*/ 645133 w 977935"/>
                      <a:gd name="connsiteY632" fmla="*/ 493099 h 511191"/>
                      <a:gd name="connsiteX633" fmla="*/ 645728 w 977935"/>
                      <a:gd name="connsiteY633" fmla="*/ 494583 h 511191"/>
                      <a:gd name="connsiteX634" fmla="*/ 645141 w 977935"/>
                      <a:gd name="connsiteY634" fmla="*/ 499195 h 511191"/>
                      <a:gd name="connsiteX635" fmla="*/ 643381 w 977935"/>
                      <a:gd name="connsiteY635" fmla="*/ 506946 h 511191"/>
                      <a:gd name="connsiteX636" fmla="*/ 642623 w 977935"/>
                      <a:gd name="connsiteY636" fmla="*/ 511159 h 511191"/>
                      <a:gd name="connsiteX637" fmla="*/ 630700 w 977935"/>
                      <a:gd name="connsiteY637" fmla="*/ 511192 h 511191"/>
                      <a:gd name="connsiteX638" fmla="*/ 619535 w 977935"/>
                      <a:gd name="connsiteY638" fmla="*/ 511192 h 511191"/>
                      <a:gd name="connsiteX639" fmla="*/ 608378 w 977935"/>
                      <a:gd name="connsiteY639" fmla="*/ 511192 h 511191"/>
                      <a:gd name="connsiteX640" fmla="*/ 597221 w 977935"/>
                      <a:gd name="connsiteY640" fmla="*/ 511192 h 511191"/>
                      <a:gd name="connsiteX641" fmla="*/ 586064 w 977935"/>
                      <a:gd name="connsiteY641" fmla="*/ 511192 h 511191"/>
                      <a:gd name="connsiteX642" fmla="*/ 574907 w 977935"/>
                      <a:gd name="connsiteY642" fmla="*/ 511192 h 511191"/>
                      <a:gd name="connsiteX643" fmla="*/ 563750 w 977935"/>
                      <a:gd name="connsiteY643" fmla="*/ 511192 h 511191"/>
                      <a:gd name="connsiteX644" fmla="*/ 552585 w 977935"/>
                      <a:gd name="connsiteY644" fmla="*/ 511192 h 511191"/>
                      <a:gd name="connsiteX645" fmla="*/ 541427 w 977935"/>
                      <a:gd name="connsiteY645" fmla="*/ 511192 h 511191"/>
                      <a:gd name="connsiteX646" fmla="*/ 530262 w 977935"/>
                      <a:gd name="connsiteY646" fmla="*/ 511192 h 511191"/>
                      <a:gd name="connsiteX647" fmla="*/ 519105 w 977935"/>
                      <a:gd name="connsiteY647" fmla="*/ 511192 h 511191"/>
                      <a:gd name="connsiteX648" fmla="*/ 507940 w 977935"/>
                      <a:gd name="connsiteY648" fmla="*/ 511192 h 511191"/>
                      <a:gd name="connsiteX649" fmla="*/ 496783 w 977935"/>
                      <a:gd name="connsiteY649" fmla="*/ 511192 h 511191"/>
                      <a:gd name="connsiteX650" fmla="*/ 485626 w 977935"/>
                      <a:gd name="connsiteY650" fmla="*/ 511192 h 511191"/>
                      <a:gd name="connsiteX651" fmla="*/ 474469 w 977935"/>
                      <a:gd name="connsiteY651" fmla="*/ 511192 h 511191"/>
                      <a:gd name="connsiteX652" fmla="*/ 463312 w 977935"/>
                      <a:gd name="connsiteY652" fmla="*/ 511192 h 511191"/>
                      <a:gd name="connsiteX653" fmla="*/ 463304 w 977935"/>
                      <a:gd name="connsiteY653" fmla="*/ 501583 h 511191"/>
                      <a:gd name="connsiteX654" fmla="*/ 463296 w 977935"/>
                      <a:gd name="connsiteY654" fmla="*/ 491942 h 511191"/>
                      <a:gd name="connsiteX655" fmla="*/ 463288 w 977935"/>
                      <a:gd name="connsiteY655" fmla="*/ 482285 h 511191"/>
                      <a:gd name="connsiteX656" fmla="*/ 463280 w 977935"/>
                      <a:gd name="connsiteY656" fmla="*/ 472603 h 511191"/>
                      <a:gd name="connsiteX657" fmla="*/ 463280 w 977935"/>
                      <a:gd name="connsiteY657" fmla="*/ 462888 h 511191"/>
                      <a:gd name="connsiteX658" fmla="*/ 463272 w 977935"/>
                      <a:gd name="connsiteY658" fmla="*/ 453158 h 511191"/>
                      <a:gd name="connsiteX659" fmla="*/ 463272 w 977935"/>
                      <a:gd name="connsiteY659" fmla="*/ 443402 h 511191"/>
                      <a:gd name="connsiteX660" fmla="*/ 463263 w 977935"/>
                      <a:gd name="connsiteY660" fmla="*/ 433623 h 511191"/>
                      <a:gd name="connsiteX661" fmla="*/ 463255 w 977935"/>
                      <a:gd name="connsiteY661" fmla="*/ 423827 h 511191"/>
                      <a:gd name="connsiteX662" fmla="*/ 463247 w 977935"/>
                      <a:gd name="connsiteY662" fmla="*/ 413990 h 511191"/>
                      <a:gd name="connsiteX663" fmla="*/ 463247 w 977935"/>
                      <a:gd name="connsiteY663" fmla="*/ 404137 h 511191"/>
                      <a:gd name="connsiteX664" fmla="*/ 463239 w 977935"/>
                      <a:gd name="connsiteY664" fmla="*/ 394260 h 511191"/>
                      <a:gd name="connsiteX665" fmla="*/ 463231 w 977935"/>
                      <a:gd name="connsiteY665" fmla="*/ 384349 h 511191"/>
                      <a:gd name="connsiteX666" fmla="*/ 463223 w 977935"/>
                      <a:gd name="connsiteY666" fmla="*/ 374423 h 511191"/>
                      <a:gd name="connsiteX667" fmla="*/ 463223 w 977935"/>
                      <a:gd name="connsiteY667" fmla="*/ 364464 h 511191"/>
                      <a:gd name="connsiteX668" fmla="*/ 463214 w 977935"/>
                      <a:gd name="connsiteY668" fmla="*/ 354481 h 511191"/>
                      <a:gd name="connsiteX669" fmla="*/ 463687 w 977935"/>
                      <a:gd name="connsiteY669" fmla="*/ 344864 h 511191"/>
                      <a:gd name="connsiteX670" fmla="*/ 463369 w 977935"/>
                      <a:gd name="connsiteY670" fmla="*/ 338687 h 511191"/>
                      <a:gd name="connsiteX671" fmla="*/ 452563 w 977935"/>
                      <a:gd name="connsiteY671" fmla="*/ 337252 h 511191"/>
                      <a:gd name="connsiteX672" fmla="*/ 441748 w 977935"/>
                      <a:gd name="connsiteY672" fmla="*/ 335818 h 511191"/>
                      <a:gd name="connsiteX673" fmla="*/ 430942 w 977935"/>
                      <a:gd name="connsiteY673" fmla="*/ 334384 h 511191"/>
                      <a:gd name="connsiteX674" fmla="*/ 420135 w 977935"/>
                      <a:gd name="connsiteY674" fmla="*/ 332933 h 511191"/>
                      <a:gd name="connsiteX675" fmla="*/ 409320 w 977935"/>
                      <a:gd name="connsiteY675" fmla="*/ 331498 h 511191"/>
                      <a:gd name="connsiteX676" fmla="*/ 398514 w 977935"/>
                      <a:gd name="connsiteY676" fmla="*/ 330056 h 511191"/>
                      <a:gd name="connsiteX677" fmla="*/ 387699 w 977935"/>
                      <a:gd name="connsiteY677" fmla="*/ 328613 h 511191"/>
                      <a:gd name="connsiteX678" fmla="*/ 376884 w 977935"/>
                      <a:gd name="connsiteY678" fmla="*/ 327171 h 511191"/>
                      <a:gd name="connsiteX679" fmla="*/ 366086 w 977935"/>
                      <a:gd name="connsiteY679" fmla="*/ 325745 h 511191"/>
                      <a:gd name="connsiteX680" fmla="*/ 355271 w 977935"/>
                      <a:gd name="connsiteY680" fmla="*/ 324302 h 511191"/>
                      <a:gd name="connsiteX681" fmla="*/ 344457 w 977935"/>
                      <a:gd name="connsiteY681" fmla="*/ 322860 h 511191"/>
                      <a:gd name="connsiteX682" fmla="*/ 333650 w 977935"/>
                      <a:gd name="connsiteY682" fmla="*/ 321409 h 511191"/>
                      <a:gd name="connsiteX683" fmla="*/ 322844 w 977935"/>
                      <a:gd name="connsiteY683" fmla="*/ 319967 h 511191"/>
                      <a:gd name="connsiteX684" fmla="*/ 312029 w 977935"/>
                      <a:gd name="connsiteY684" fmla="*/ 318524 h 511191"/>
                      <a:gd name="connsiteX685" fmla="*/ 301214 w 977935"/>
                      <a:gd name="connsiteY685" fmla="*/ 317082 h 511191"/>
                      <a:gd name="connsiteX686" fmla="*/ 290408 w 977935"/>
                      <a:gd name="connsiteY686" fmla="*/ 315631 h 511191"/>
                      <a:gd name="connsiteX687" fmla="*/ 284401 w 977935"/>
                      <a:gd name="connsiteY687" fmla="*/ 314205 h 511191"/>
                      <a:gd name="connsiteX688" fmla="*/ 276928 w 977935"/>
                      <a:gd name="connsiteY688" fmla="*/ 310440 h 511191"/>
                      <a:gd name="connsiteX689" fmla="*/ 269781 w 977935"/>
                      <a:gd name="connsiteY689" fmla="*/ 304189 h 511191"/>
                      <a:gd name="connsiteX690" fmla="*/ 262625 w 977935"/>
                      <a:gd name="connsiteY690" fmla="*/ 297922 h 511191"/>
                      <a:gd name="connsiteX691" fmla="*/ 255478 w 977935"/>
                      <a:gd name="connsiteY691" fmla="*/ 291654 h 511191"/>
                      <a:gd name="connsiteX692" fmla="*/ 248331 w 977935"/>
                      <a:gd name="connsiteY692" fmla="*/ 285371 h 511191"/>
                      <a:gd name="connsiteX693" fmla="*/ 236953 w 977935"/>
                      <a:gd name="connsiteY693" fmla="*/ 285314 h 511191"/>
                      <a:gd name="connsiteX694" fmla="*/ 225576 w 977935"/>
                      <a:gd name="connsiteY694" fmla="*/ 285257 h 511191"/>
                      <a:gd name="connsiteX695" fmla="*/ 214208 w 977935"/>
                      <a:gd name="connsiteY695" fmla="*/ 285208 h 511191"/>
                      <a:gd name="connsiteX696" fmla="*/ 202831 w 977935"/>
                      <a:gd name="connsiteY696" fmla="*/ 285151 h 511191"/>
                      <a:gd name="connsiteX697" fmla="*/ 196498 w 977935"/>
                      <a:gd name="connsiteY697" fmla="*/ 281842 h 511191"/>
                      <a:gd name="connsiteX698" fmla="*/ 190158 w 977935"/>
                      <a:gd name="connsiteY698" fmla="*/ 278533 h 511191"/>
                      <a:gd name="connsiteX699" fmla="*/ 183825 w 977935"/>
                      <a:gd name="connsiteY699" fmla="*/ 275216 h 511191"/>
                      <a:gd name="connsiteX700" fmla="*/ 177493 w 977935"/>
                      <a:gd name="connsiteY700" fmla="*/ 271900 h 511191"/>
                      <a:gd name="connsiteX701" fmla="*/ 171153 w 977935"/>
                      <a:gd name="connsiteY701" fmla="*/ 268574 h 511191"/>
                      <a:gd name="connsiteX702" fmla="*/ 164820 w 977935"/>
                      <a:gd name="connsiteY702" fmla="*/ 265257 h 511191"/>
                      <a:gd name="connsiteX703" fmla="*/ 158488 w 977935"/>
                      <a:gd name="connsiteY703" fmla="*/ 261924 h 511191"/>
                      <a:gd name="connsiteX704" fmla="*/ 152147 w 977935"/>
                      <a:gd name="connsiteY704" fmla="*/ 258591 h 511191"/>
                      <a:gd name="connsiteX705" fmla="*/ 145815 w 977935"/>
                      <a:gd name="connsiteY705" fmla="*/ 255258 h 511191"/>
                      <a:gd name="connsiteX706" fmla="*/ 139475 w 977935"/>
                      <a:gd name="connsiteY706" fmla="*/ 251924 h 511191"/>
                      <a:gd name="connsiteX707" fmla="*/ 133142 w 977935"/>
                      <a:gd name="connsiteY707" fmla="*/ 248591 h 511191"/>
                      <a:gd name="connsiteX708" fmla="*/ 126802 w 977935"/>
                      <a:gd name="connsiteY708" fmla="*/ 245242 h 511191"/>
                      <a:gd name="connsiteX709" fmla="*/ 120469 w 977935"/>
                      <a:gd name="connsiteY709" fmla="*/ 241908 h 511191"/>
                      <a:gd name="connsiteX710" fmla="*/ 114137 w 977935"/>
                      <a:gd name="connsiteY710" fmla="*/ 238559 h 511191"/>
                      <a:gd name="connsiteX711" fmla="*/ 107797 w 977935"/>
                      <a:gd name="connsiteY711" fmla="*/ 235201 h 511191"/>
                      <a:gd name="connsiteX712" fmla="*/ 101456 w 977935"/>
                      <a:gd name="connsiteY712" fmla="*/ 231860 h 511191"/>
                      <a:gd name="connsiteX713" fmla="*/ 95132 w 977935"/>
                      <a:gd name="connsiteY713" fmla="*/ 228494 h 511191"/>
                      <a:gd name="connsiteX714" fmla="*/ 88791 w 977935"/>
                      <a:gd name="connsiteY714" fmla="*/ 225136 h 511191"/>
                      <a:gd name="connsiteX715" fmla="*/ 82459 w 977935"/>
                      <a:gd name="connsiteY715" fmla="*/ 221779 h 511191"/>
                      <a:gd name="connsiteX716" fmla="*/ 76118 w 977935"/>
                      <a:gd name="connsiteY716" fmla="*/ 218413 h 511191"/>
                      <a:gd name="connsiteX717" fmla="*/ 69786 w 977935"/>
                      <a:gd name="connsiteY717" fmla="*/ 215039 h 511191"/>
                      <a:gd name="connsiteX718" fmla="*/ 63454 w 977935"/>
                      <a:gd name="connsiteY718" fmla="*/ 211673 h 511191"/>
                      <a:gd name="connsiteX719" fmla="*/ 57113 w 977935"/>
                      <a:gd name="connsiteY719" fmla="*/ 208299 h 511191"/>
                      <a:gd name="connsiteX720" fmla="*/ 50781 w 977935"/>
                      <a:gd name="connsiteY720" fmla="*/ 204917 h 511191"/>
                      <a:gd name="connsiteX721" fmla="*/ 44441 w 977935"/>
                      <a:gd name="connsiteY721" fmla="*/ 201543 h 511191"/>
                      <a:gd name="connsiteX722" fmla="*/ 38108 w 977935"/>
                      <a:gd name="connsiteY722" fmla="*/ 198153 h 511191"/>
                      <a:gd name="connsiteX723" fmla="*/ 31776 w 977935"/>
                      <a:gd name="connsiteY723" fmla="*/ 194762 h 511191"/>
                      <a:gd name="connsiteX724" fmla="*/ 25435 w 977935"/>
                      <a:gd name="connsiteY724" fmla="*/ 191380 h 511191"/>
                      <a:gd name="connsiteX725" fmla="*/ 19103 w 977935"/>
                      <a:gd name="connsiteY725" fmla="*/ 187990 h 511191"/>
                      <a:gd name="connsiteX726" fmla="*/ 12771 w 977935"/>
                      <a:gd name="connsiteY726" fmla="*/ 184591 h 511191"/>
                      <a:gd name="connsiteX727" fmla="*/ 6430 w 977935"/>
                      <a:gd name="connsiteY727" fmla="*/ 181193 h 511191"/>
                      <a:gd name="connsiteX728" fmla="*/ 98 w 977935"/>
                      <a:gd name="connsiteY728" fmla="*/ 177786 h 511191"/>
                      <a:gd name="connsiteX729" fmla="*/ 90 w 977935"/>
                      <a:gd name="connsiteY729" fmla="*/ 168814 h 511191"/>
                      <a:gd name="connsiteX730" fmla="*/ 81 w 977935"/>
                      <a:gd name="connsiteY730" fmla="*/ 159816 h 511191"/>
                      <a:gd name="connsiteX731" fmla="*/ 65 w 977935"/>
                      <a:gd name="connsiteY731" fmla="*/ 150803 h 511191"/>
                      <a:gd name="connsiteX732" fmla="*/ 57 w 977935"/>
                      <a:gd name="connsiteY732" fmla="*/ 141765 h 511191"/>
                      <a:gd name="connsiteX733" fmla="*/ 49 w 977935"/>
                      <a:gd name="connsiteY733" fmla="*/ 132702 h 511191"/>
                      <a:gd name="connsiteX734" fmla="*/ 41 w 977935"/>
                      <a:gd name="connsiteY734" fmla="*/ 123615 h 511191"/>
                      <a:gd name="connsiteX735" fmla="*/ 0 w 977935"/>
                      <a:gd name="connsiteY735" fmla="*/ 109011 h 511191"/>
                      <a:gd name="connsiteX736" fmla="*/ 9649 w 977935"/>
                      <a:gd name="connsiteY736" fmla="*/ 115506 h 511191"/>
                      <a:gd name="connsiteX737" fmla="*/ 13439 w 977935"/>
                      <a:gd name="connsiteY737" fmla="*/ 117275 h 511191"/>
                      <a:gd name="connsiteX738" fmla="*/ 20562 w 977935"/>
                      <a:gd name="connsiteY738" fmla="*/ 118970 h 511191"/>
                      <a:gd name="connsiteX739" fmla="*/ 44970 w 977935"/>
                      <a:gd name="connsiteY739" fmla="*/ 122735 h 511191"/>
                      <a:gd name="connsiteX740" fmla="*/ 48043 w 977935"/>
                      <a:gd name="connsiteY740" fmla="*/ 123746 h 511191"/>
                      <a:gd name="connsiteX741" fmla="*/ 54473 w 977935"/>
                      <a:gd name="connsiteY741" fmla="*/ 127698 h 511191"/>
                      <a:gd name="connsiteX742" fmla="*/ 58898 w 977935"/>
                      <a:gd name="connsiteY742" fmla="*/ 130004 h 511191"/>
                      <a:gd name="connsiteX743" fmla="*/ 64155 w 977935"/>
                      <a:gd name="connsiteY743" fmla="*/ 132197 h 511191"/>
                      <a:gd name="connsiteX744" fmla="*/ 70723 w 977935"/>
                      <a:gd name="connsiteY744" fmla="*/ 134096 h 511191"/>
                      <a:gd name="connsiteX745" fmla="*/ 83600 w 977935"/>
                      <a:gd name="connsiteY745" fmla="*/ 136956 h 511191"/>
                      <a:gd name="connsiteX746" fmla="*/ 85686 w 977935"/>
                      <a:gd name="connsiteY746" fmla="*/ 137902 h 511191"/>
                      <a:gd name="connsiteX747" fmla="*/ 88042 w 977935"/>
                      <a:gd name="connsiteY747" fmla="*/ 138187 h 511191"/>
                      <a:gd name="connsiteX748" fmla="*/ 90682 w 977935"/>
                      <a:gd name="connsiteY748" fmla="*/ 137796 h 511191"/>
                      <a:gd name="connsiteX749" fmla="*/ 102483 w 977935"/>
                      <a:gd name="connsiteY749" fmla="*/ 139426 h 511191"/>
                      <a:gd name="connsiteX750" fmla="*/ 105588 w 977935"/>
                      <a:gd name="connsiteY750" fmla="*/ 139344 h 511191"/>
                      <a:gd name="connsiteX751" fmla="*/ 107837 w 977935"/>
                      <a:gd name="connsiteY751" fmla="*/ 139654 h 511191"/>
                      <a:gd name="connsiteX752" fmla="*/ 110600 w 977935"/>
                      <a:gd name="connsiteY752" fmla="*/ 140836 h 511191"/>
                      <a:gd name="connsiteX753" fmla="*/ 114651 w 977935"/>
                      <a:gd name="connsiteY753" fmla="*/ 141267 h 511191"/>
                      <a:gd name="connsiteX754" fmla="*/ 114504 w 977935"/>
                      <a:gd name="connsiteY754" fmla="*/ 140452 h 511191"/>
                      <a:gd name="connsiteX755" fmla="*/ 109875 w 977935"/>
                      <a:gd name="connsiteY755" fmla="*/ 135946 h 511191"/>
                      <a:gd name="connsiteX756" fmla="*/ 110087 w 977935"/>
                      <a:gd name="connsiteY756" fmla="*/ 135237 h 511191"/>
                      <a:gd name="connsiteX757" fmla="*/ 111985 w 977935"/>
                      <a:gd name="connsiteY757" fmla="*/ 135180 h 511191"/>
                      <a:gd name="connsiteX758" fmla="*/ 117707 w 977935"/>
                      <a:gd name="connsiteY758" fmla="*/ 135938 h 511191"/>
                      <a:gd name="connsiteX759" fmla="*/ 119019 w 977935"/>
                      <a:gd name="connsiteY759" fmla="*/ 134650 h 511191"/>
                      <a:gd name="connsiteX760" fmla="*/ 120926 w 977935"/>
                      <a:gd name="connsiteY760" fmla="*/ 134682 h 511191"/>
                      <a:gd name="connsiteX761" fmla="*/ 125270 w 977935"/>
                      <a:gd name="connsiteY761" fmla="*/ 135302 h 511191"/>
                      <a:gd name="connsiteX762" fmla="*/ 129956 w 977935"/>
                      <a:gd name="connsiteY762" fmla="*/ 136695 h 511191"/>
                      <a:gd name="connsiteX763" fmla="*/ 134976 w 977935"/>
                      <a:gd name="connsiteY763" fmla="*/ 138855 h 511191"/>
                      <a:gd name="connsiteX764" fmla="*/ 141080 w 977935"/>
                      <a:gd name="connsiteY764" fmla="*/ 140697 h 511191"/>
                      <a:gd name="connsiteX765" fmla="*/ 150346 w 977935"/>
                      <a:gd name="connsiteY765" fmla="*/ 145269 h 511191"/>
                      <a:gd name="connsiteX766" fmla="*/ 155456 w 977935"/>
                      <a:gd name="connsiteY766" fmla="*/ 149067 h 511191"/>
                      <a:gd name="connsiteX767" fmla="*/ 160313 w 977935"/>
                      <a:gd name="connsiteY767" fmla="*/ 153785 h 511191"/>
                      <a:gd name="connsiteX768" fmla="*/ 162970 w 977935"/>
                      <a:gd name="connsiteY768" fmla="*/ 157062 h 511191"/>
                      <a:gd name="connsiteX769" fmla="*/ 163443 w 977935"/>
                      <a:gd name="connsiteY769" fmla="*/ 158895 h 511191"/>
                      <a:gd name="connsiteX770" fmla="*/ 164453 w 977935"/>
                      <a:gd name="connsiteY770" fmla="*/ 159808 h 511191"/>
                      <a:gd name="connsiteX771" fmla="*/ 166018 w 977935"/>
                      <a:gd name="connsiteY771" fmla="*/ 159784 h 511191"/>
                      <a:gd name="connsiteX772" fmla="*/ 166605 w 977935"/>
                      <a:gd name="connsiteY772" fmla="*/ 160484 h 511191"/>
                      <a:gd name="connsiteX773" fmla="*/ 165203 w 977935"/>
                      <a:gd name="connsiteY773" fmla="*/ 164535 h 511191"/>
                      <a:gd name="connsiteX774" fmla="*/ 164405 w 977935"/>
                      <a:gd name="connsiteY774" fmla="*/ 165545 h 511191"/>
                      <a:gd name="connsiteX775" fmla="*/ 163345 w 977935"/>
                      <a:gd name="connsiteY775" fmla="*/ 166271 h 511191"/>
                      <a:gd name="connsiteX776" fmla="*/ 158912 w 977935"/>
                      <a:gd name="connsiteY776" fmla="*/ 167094 h 511191"/>
                      <a:gd name="connsiteX777" fmla="*/ 146744 w 977935"/>
                      <a:gd name="connsiteY777" fmla="*/ 166124 h 511191"/>
                      <a:gd name="connsiteX778" fmla="*/ 144584 w 977935"/>
                      <a:gd name="connsiteY778" fmla="*/ 169392 h 511191"/>
                      <a:gd name="connsiteX779" fmla="*/ 137771 w 977935"/>
                      <a:gd name="connsiteY779" fmla="*/ 172155 h 511191"/>
                      <a:gd name="connsiteX780" fmla="*/ 136565 w 977935"/>
                      <a:gd name="connsiteY780" fmla="*/ 173361 h 511191"/>
                      <a:gd name="connsiteX781" fmla="*/ 136288 w 977935"/>
                      <a:gd name="connsiteY781" fmla="*/ 174241 h 511191"/>
                      <a:gd name="connsiteX782" fmla="*/ 136777 w 977935"/>
                      <a:gd name="connsiteY782" fmla="*/ 177102 h 511191"/>
                      <a:gd name="connsiteX783" fmla="*/ 135921 w 977935"/>
                      <a:gd name="connsiteY783" fmla="*/ 177982 h 511191"/>
                      <a:gd name="connsiteX784" fmla="*/ 130331 w 977935"/>
                      <a:gd name="connsiteY784" fmla="*/ 181234 h 511191"/>
                      <a:gd name="connsiteX785" fmla="*/ 130151 w 977935"/>
                      <a:gd name="connsiteY785" fmla="*/ 182163 h 511191"/>
                      <a:gd name="connsiteX786" fmla="*/ 133770 w 977935"/>
                      <a:gd name="connsiteY786" fmla="*/ 183491 h 511191"/>
                      <a:gd name="connsiteX787" fmla="*/ 137625 w 977935"/>
                      <a:gd name="connsiteY787" fmla="*/ 185781 h 511191"/>
                      <a:gd name="connsiteX788" fmla="*/ 140648 w 977935"/>
                      <a:gd name="connsiteY788" fmla="*/ 186335 h 511191"/>
                      <a:gd name="connsiteX789" fmla="*/ 144470 w 977935"/>
                      <a:gd name="connsiteY789" fmla="*/ 186018 h 511191"/>
                      <a:gd name="connsiteX790" fmla="*/ 149287 w 977935"/>
                      <a:gd name="connsiteY790" fmla="*/ 186824 h 511191"/>
                      <a:gd name="connsiteX791" fmla="*/ 155081 w 977935"/>
                      <a:gd name="connsiteY791" fmla="*/ 188731 h 511191"/>
                      <a:gd name="connsiteX792" fmla="*/ 159099 w 977935"/>
                      <a:gd name="connsiteY792" fmla="*/ 189604 h 511191"/>
                      <a:gd name="connsiteX793" fmla="*/ 161365 w 977935"/>
                      <a:gd name="connsiteY793" fmla="*/ 189432 h 511191"/>
                      <a:gd name="connsiteX794" fmla="*/ 164453 w 977935"/>
                      <a:gd name="connsiteY794" fmla="*/ 189791 h 511191"/>
                      <a:gd name="connsiteX795" fmla="*/ 168374 w 977935"/>
                      <a:gd name="connsiteY795" fmla="*/ 190655 h 511191"/>
                      <a:gd name="connsiteX796" fmla="*/ 173614 w 977935"/>
                      <a:gd name="connsiteY796" fmla="*/ 190956 h 511191"/>
                      <a:gd name="connsiteX797" fmla="*/ 185195 w 977935"/>
                      <a:gd name="connsiteY797" fmla="*/ 190883 h 511191"/>
                      <a:gd name="connsiteX798" fmla="*/ 188666 w 977935"/>
                      <a:gd name="connsiteY798" fmla="*/ 191535 h 511191"/>
                      <a:gd name="connsiteX799" fmla="*/ 193515 w 977935"/>
                      <a:gd name="connsiteY799" fmla="*/ 191828 h 511191"/>
                      <a:gd name="connsiteX800" fmla="*/ 202855 w 977935"/>
                      <a:gd name="connsiteY800" fmla="*/ 191739 h 511191"/>
                      <a:gd name="connsiteX801" fmla="*/ 204534 w 977935"/>
                      <a:gd name="connsiteY801" fmla="*/ 191616 h 511191"/>
                      <a:gd name="connsiteX802" fmla="*/ 207533 w 977935"/>
                      <a:gd name="connsiteY802" fmla="*/ 190101 h 511191"/>
                      <a:gd name="connsiteX803" fmla="*/ 209456 w 977935"/>
                      <a:gd name="connsiteY803" fmla="*/ 189604 h 511191"/>
                      <a:gd name="connsiteX804" fmla="*/ 212814 w 977935"/>
                      <a:gd name="connsiteY804" fmla="*/ 189579 h 511191"/>
                      <a:gd name="connsiteX805" fmla="*/ 222504 w 977935"/>
                      <a:gd name="connsiteY805" fmla="*/ 188471 h 511191"/>
                      <a:gd name="connsiteX806" fmla="*/ 225854 w 977935"/>
                      <a:gd name="connsiteY806" fmla="*/ 188487 h 511191"/>
                      <a:gd name="connsiteX807" fmla="*/ 228950 w 977935"/>
                      <a:gd name="connsiteY807" fmla="*/ 187648 h 511191"/>
                      <a:gd name="connsiteX808" fmla="*/ 232919 w 977935"/>
                      <a:gd name="connsiteY808" fmla="*/ 185952 h 511191"/>
                      <a:gd name="connsiteX809" fmla="*/ 235364 w 977935"/>
                      <a:gd name="connsiteY809" fmla="*/ 185626 h 511191"/>
                      <a:gd name="connsiteX810" fmla="*/ 236285 w 977935"/>
                      <a:gd name="connsiteY810" fmla="*/ 186686 h 511191"/>
                      <a:gd name="connsiteX811" fmla="*/ 237964 w 977935"/>
                      <a:gd name="connsiteY811" fmla="*/ 187150 h 511191"/>
                      <a:gd name="connsiteX812" fmla="*/ 240376 w 977935"/>
                      <a:gd name="connsiteY812" fmla="*/ 187012 h 511191"/>
                      <a:gd name="connsiteX813" fmla="*/ 244973 w 977935"/>
                      <a:gd name="connsiteY813" fmla="*/ 185203 h 511191"/>
                      <a:gd name="connsiteX814" fmla="*/ 255706 w 977935"/>
                      <a:gd name="connsiteY814" fmla="*/ 179905 h 511191"/>
                      <a:gd name="connsiteX815" fmla="*/ 259569 w 977935"/>
                      <a:gd name="connsiteY815" fmla="*/ 179913 h 511191"/>
                      <a:gd name="connsiteX816" fmla="*/ 262405 w 977935"/>
                      <a:gd name="connsiteY816" fmla="*/ 178251 h 511191"/>
                      <a:gd name="connsiteX817" fmla="*/ 263098 w 977935"/>
                      <a:gd name="connsiteY817" fmla="*/ 178218 h 511191"/>
                      <a:gd name="connsiteX818" fmla="*/ 263880 w 977935"/>
                      <a:gd name="connsiteY818" fmla="*/ 178903 h 511191"/>
                      <a:gd name="connsiteX819" fmla="*/ 266504 w 977935"/>
                      <a:gd name="connsiteY819" fmla="*/ 182790 h 511191"/>
                      <a:gd name="connsiteX820" fmla="*/ 267311 w 977935"/>
                      <a:gd name="connsiteY820" fmla="*/ 183418 h 511191"/>
                      <a:gd name="connsiteX821" fmla="*/ 269121 w 977935"/>
                      <a:gd name="connsiteY821" fmla="*/ 183752 h 511191"/>
                      <a:gd name="connsiteX822" fmla="*/ 270881 w 977935"/>
                      <a:gd name="connsiteY822" fmla="*/ 185741 h 511191"/>
                      <a:gd name="connsiteX823" fmla="*/ 272723 w 977935"/>
                      <a:gd name="connsiteY823" fmla="*/ 188707 h 511191"/>
                      <a:gd name="connsiteX824" fmla="*/ 274100 w 977935"/>
                      <a:gd name="connsiteY824" fmla="*/ 189538 h 511191"/>
                      <a:gd name="connsiteX825" fmla="*/ 284165 w 977935"/>
                      <a:gd name="connsiteY825" fmla="*/ 189661 h 511191"/>
                      <a:gd name="connsiteX826" fmla="*/ 287718 w 977935"/>
                      <a:gd name="connsiteY826" fmla="*/ 190484 h 511191"/>
                      <a:gd name="connsiteX827" fmla="*/ 288794 w 977935"/>
                      <a:gd name="connsiteY827" fmla="*/ 191339 h 511191"/>
                      <a:gd name="connsiteX828" fmla="*/ 289878 w 977935"/>
                      <a:gd name="connsiteY828" fmla="*/ 193678 h 511191"/>
                      <a:gd name="connsiteX829" fmla="*/ 290538 w 977935"/>
                      <a:gd name="connsiteY829" fmla="*/ 198226 h 511191"/>
                      <a:gd name="connsiteX830" fmla="*/ 290978 w 977935"/>
                      <a:gd name="connsiteY830" fmla="*/ 199888 h 511191"/>
                      <a:gd name="connsiteX831" fmla="*/ 292445 w 977935"/>
                      <a:gd name="connsiteY831" fmla="*/ 202309 h 511191"/>
                      <a:gd name="connsiteX832" fmla="*/ 293407 w 977935"/>
                      <a:gd name="connsiteY832" fmla="*/ 203002 h 511191"/>
                      <a:gd name="connsiteX833" fmla="*/ 294319 w 977935"/>
                      <a:gd name="connsiteY833" fmla="*/ 202333 h 511191"/>
                      <a:gd name="connsiteX834" fmla="*/ 296805 w 977935"/>
                      <a:gd name="connsiteY834" fmla="*/ 196034 h 511191"/>
                      <a:gd name="connsiteX835" fmla="*/ 297669 w 977935"/>
                      <a:gd name="connsiteY835" fmla="*/ 195015 h 511191"/>
                      <a:gd name="connsiteX836" fmla="*/ 299323 w 977935"/>
                      <a:gd name="connsiteY836" fmla="*/ 195374 h 511191"/>
                      <a:gd name="connsiteX837" fmla="*/ 299829 w 977935"/>
                      <a:gd name="connsiteY837" fmla="*/ 195691 h 511191"/>
                      <a:gd name="connsiteX838" fmla="*/ 302347 w 977935"/>
                      <a:gd name="connsiteY838" fmla="*/ 200353 h 511191"/>
                      <a:gd name="connsiteX839" fmla="*/ 305933 w 977935"/>
                      <a:gd name="connsiteY839" fmla="*/ 203800 h 511191"/>
                      <a:gd name="connsiteX840" fmla="*/ 314816 w 977935"/>
                      <a:gd name="connsiteY840" fmla="*/ 210165 h 511191"/>
                      <a:gd name="connsiteX841" fmla="*/ 316259 w 977935"/>
                      <a:gd name="connsiteY841" fmla="*/ 212488 h 511191"/>
                      <a:gd name="connsiteX842" fmla="*/ 316788 w 977935"/>
                      <a:gd name="connsiteY842" fmla="*/ 214208 h 511191"/>
                      <a:gd name="connsiteX843" fmla="*/ 316283 w 977935"/>
                      <a:gd name="connsiteY843" fmla="*/ 215756 h 511191"/>
                      <a:gd name="connsiteX844" fmla="*/ 314751 w 977935"/>
                      <a:gd name="connsiteY844" fmla="*/ 217117 h 511191"/>
                      <a:gd name="connsiteX845" fmla="*/ 312347 w 977935"/>
                      <a:gd name="connsiteY845" fmla="*/ 218217 h 511191"/>
                      <a:gd name="connsiteX846" fmla="*/ 309062 w 977935"/>
                      <a:gd name="connsiteY846" fmla="*/ 219040 h 511191"/>
                      <a:gd name="connsiteX847" fmla="*/ 305998 w 977935"/>
                      <a:gd name="connsiteY847" fmla="*/ 218739 h 511191"/>
                      <a:gd name="connsiteX848" fmla="*/ 303154 w 977935"/>
                      <a:gd name="connsiteY848" fmla="*/ 217321 h 511191"/>
                      <a:gd name="connsiteX849" fmla="*/ 302233 w 977935"/>
                      <a:gd name="connsiteY849" fmla="*/ 217239 h 511191"/>
                      <a:gd name="connsiteX850" fmla="*/ 303243 w 977935"/>
                      <a:gd name="connsiteY850" fmla="*/ 218502 h 511191"/>
                      <a:gd name="connsiteX851" fmla="*/ 309128 w 977935"/>
                      <a:gd name="connsiteY851" fmla="*/ 223743 h 511191"/>
                      <a:gd name="connsiteX852" fmla="*/ 310635 w 977935"/>
                      <a:gd name="connsiteY852" fmla="*/ 225837 h 511191"/>
                      <a:gd name="connsiteX853" fmla="*/ 312021 w 977935"/>
                      <a:gd name="connsiteY853" fmla="*/ 227231 h 511191"/>
                      <a:gd name="connsiteX854" fmla="*/ 313308 w 977935"/>
                      <a:gd name="connsiteY854" fmla="*/ 227915 h 511191"/>
                      <a:gd name="connsiteX855" fmla="*/ 314498 w 977935"/>
                      <a:gd name="connsiteY855" fmla="*/ 229040 h 511191"/>
                      <a:gd name="connsiteX856" fmla="*/ 315582 w 977935"/>
                      <a:gd name="connsiteY856" fmla="*/ 230621 h 511191"/>
                      <a:gd name="connsiteX857" fmla="*/ 320472 w 977935"/>
                      <a:gd name="connsiteY857" fmla="*/ 234810 h 511191"/>
                      <a:gd name="connsiteX858" fmla="*/ 321857 w 977935"/>
                      <a:gd name="connsiteY858" fmla="*/ 236807 h 511191"/>
                      <a:gd name="connsiteX859" fmla="*/ 327432 w 977935"/>
                      <a:gd name="connsiteY859" fmla="*/ 243033 h 511191"/>
                      <a:gd name="connsiteX860" fmla="*/ 330072 w 977935"/>
                      <a:gd name="connsiteY860" fmla="*/ 245478 h 511191"/>
                      <a:gd name="connsiteX861" fmla="*/ 332118 w 977935"/>
                      <a:gd name="connsiteY861" fmla="*/ 246880 h 511191"/>
                      <a:gd name="connsiteX862" fmla="*/ 332900 w 977935"/>
                      <a:gd name="connsiteY862" fmla="*/ 247018 h 511191"/>
                      <a:gd name="connsiteX863" fmla="*/ 332444 w 977935"/>
                      <a:gd name="connsiteY863" fmla="*/ 245894 h 511191"/>
                      <a:gd name="connsiteX864" fmla="*/ 325346 w 977935"/>
                      <a:gd name="connsiteY864" fmla="*/ 237605 h 511191"/>
                      <a:gd name="connsiteX865" fmla="*/ 321719 w 977935"/>
                      <a:gd name="connsiteY865" fmla="*/ 232390 h 511191"/>
                      <a:gd name="connsiteX866" fmla="*/ 321214 w 977935"/>
                      <a:gd name="connsiteY866" fmla="*/ 231143 h 511191"/>
                      <a:gd name="connsiteX867" fmla="*/ 320977 w 977935"/>
                      <a:gd name="connsiteY867" fmla="*/ 229228 h 511191"/>
                      <a:gd name="connsiteX868" fmla="*/ 320839 w 977935"/>
                      <a:gd name="connsiteY868" fmla="*/ 222871 h 511191"/>
                      <a:gd name="connsiteX869" fmla="*/ 321360 w 977935"/>
                      <a:gd name="connsiteY869" fmla="*/ 221901 h 511191"/>
                      <a:gd name="connsiteX870" fmla="*/ 323813 w 977935"/>
                      <a:gd name="connsiteY870" fmla="*/ 221078 h 511191"/>
                      <a:gd name="connsiteX871" fmla="*/ 326959 w 977935"/>
                      <a:gd name="connsiteY871" fmla="*/ 223963 h 511191"/>
                      <a:gd name="connsiteX872" fmla="*/ 328149 w 977935"/>
                      <a:gd name="connsiteY872" fmla="*/ 224378 h 511191"/>
                      <a:gd name="connsiteX873" fmla="*/ 328948 w 977935"/>
                      <a:gd name="connsiteY873" fmla="*/ 224199 h 511191"/>
                      <a:gd name="connsiteX874" fmla="*/ 329372 w 977935"/>
                      <a:gd name="connsiteY874" fmla="*/ 223457 h 511191"/>
                      <a:gd name="connsiteX875" fmla="*/ 331181 w 977935"/>
                      <a:gd name="connsiteY875" fmla="*/ 224142 h 511191"/>
                      <a:gd name="connsiteX876" fmla="*/ 334375 w 977935"/>
                      <a:gd name="connsiteY876" fmla="*/ 226269 h 511191"/>
                      <a:gd name="connsiteX877" fmla="*/ 335451 w 977935"/>
                      <a:gd name="connsiteY877" fmla="*/ 226302 h 511191"/>
                      <a:gd name="connsiteX878" fmla="*/ 333047 w 977935"/>
                      <a:gd name="connsiteY878" fmla="*/ 222235 h 511191"/>
                      <a:gd name="connsiteX879" fmla="*/ 331319 w 977935"/>
                      <a:gd name="connsiteY879" fmla="*/ 220246 h 511191"/>
                      <a:gd name="connsiteX880" fmla="*/ 330716 w 977935"/>
                      <a:gd name="connsiteY880" fmla="*/ 218853 h 511191"/>
                      <a:gd name="connsiteX881" fmla="*/ 332322 w 977935"/>
                      <a:gd name="connsiteY881" fmla="*/ 216767 h 511191"/>
                      <a:gd name="connsiteX882" fmla="*/ 331442 w 977935"/>
                      <a:gd name="connsiteY882" fmla="*/ 215707 h 511191"/>
                      <a:gd name="connsiteX883" fmla="*/ 327375 w 977935"/>
                      <a:gd name="connsiteY883" fmla="*/ 212635 h 511191"/>
                      <a:gd name="connsiteX884" fmla="*/ 325264 w 977935"/>
                      <a:gd name="connsiteY884" fmla="*/ 209440 h 511191"/>
                      <a:gd name="connsiteX885" fmla="*/ 323365 w 977935"/>
                      <a:gd name="connsiteY885" fmla="*/ 204607 h 511191"/>
                      <a:gd name="connsiteX886" fmla="*/ 323202 w 977935"/>
                      <a:gd name="connsiteY886" fmla="*/ 202733 h 511191"/>
                      <a:gd name="connsiteX887" fmla="*/ 323512 w 977935"/>
                      <a:gd name="connsiteY887" fmla="*/ 200736 h 511191"/>
                      <a:gd name="connsiteX888" fmla="*/ 323218 w 977935"/>
                      <a:gd name="connsiteY888" fmla="*/ 199139 h 511191"/>
                      <a:gd name="connsiteX889" fmla="*/ 320659 w 977935"/>
                      <a:gd name="connsiteY889" fmla="*/ 195862 h 511191"/>
                      <a:gd name="connsiteX890" fmla="*/ 317880 w 977935"/>
                      <a:gd name="connsiteY890" fmla="*/ 193589 h 511191"/>
                      <a:gd name="connsiteX891" fmla="*/ 315680 w 977935"/>
                      <a:gd name="connsiteY891" fmla="*/ 190956 h 511191"/>
                      <a:gd name="connsiteX892" fmla="*/ 315224 w 977935"/>
                      <a:gd name="connsiteY892" fmla="*/ 189563 h 511191"/>
                      <a:gd name="connsiteX893" fmla="*/ 315566 w 977935"/>
                      <a:gd name="connsiteY893" fmla="*/ 185806 h 511191"/>
                      <a:gd name="connsiteX894" fmla="*/ 317245 w 977935"/>
                      <a:gd name="connsiteY894" fmla="*/ 184160 h 511191"/>
                      <a:gd name="connsiteX895" fmla="*/ 320415 w 977935"/>
                      <a:gd name="connsiteY895" fmla="*/ 181959 h 511191"/>
                      <a:gd name="connsiteX896" fmla="*/ 321271 w 977935"/>
                      <a:gd name="connsiteY896" fmla="*/ 179702 h 511191"/>
                      <a:gd name="connsiteX897" fmla="*/ 319804 w 977935"/>
                      <a:gd name="connsiteY897" fmla="*/ 177363 h 511191"/>
                      <a:gd name="connsiteX898" fmla="*/ 319543 w 977935"/>
                      <a:gd name="connsiteY898" fmla="*/ 176303 h 511191"/>
                      <a:gd name="connsiteX899" fmla="*/ 320464 w 977935"/>
                      <a:gd name="connsiteY899" fmla="*/ 176507 h 511191"/>
                      <a:gd name="connsiteX900" fmla="*/ 326706 w 977935"/>
                      <a:gd name="connsiteY900" fmla="*/ 175333 h 511191"/>
                      <a:gd name="connsiteX901" fmla="*/ 328271 w 977935"/>
                      <a:gd name="connsiteY901" fmla="*/ 175749 h 511191"/>
                      <a:gd name="connsiteX902" fmla="*/ 330635 w 977935"/>
                      <a:gd name="connsiteY902" fmla="*/ 175244 h 511191"/>
                      <a:gd name="connsiteX903" fmla="*/ 333780 w 977935"/>
                      <a:gd name="connsiteY903" fmla="*/ 173826 h 511191"/>
                      <a:gd name="connsiteX904" fmla="*/ 336250 w 977935"/>
                      <a:gd name="connsiteY904" fmla="*/ 173182 h 511191"/>
                      <a:gd name="connsiteX905" fmla="*/ 339493 w 977935"/>
                      <a:gd name="connsiteY905" fmla="*/ 173280 h 511191"/>
                      <a:gd name="connsiteX906" fmla="*/ 341262 w 977935"/>
                      <a:gd name="connsiteY906" fmla="*/ 172937 h 511191"/>
                      <a:gd name="connsiteX907" fmla="*/ 343413 w 977935"/>
                      <a:gd name="connsiteY907" fmla="*/ 172302 h 511191"/>
                      <a:gd name="connsiteX908" fmla="*/ 344530 w 977935"/>
                      <a:gd name="connsiteY908" fmla="*/ 171593 h 511191"/>
                      <a:gd name="connsiteX909" fmla="*/ 346510 w 977935"/>
                      <a:gd name="connsiteY909" fmla="*/ 168887 h 511191"/>
                      <a:gd name="connsiteX910" fmla="*/ 347570 w 977935"/>
                      <a:gd name="connsiteY910" fmla="*/ 168496 h 511191"/>
                      <a:gd name="connsiteX911" fmla="*/ 350870 w 977935"/>
                      <a:gd name="connsiteY911" fmla="*/ 168781 h 511191"/>
                      <a:gd name="connsiteX912" fmla="*/ 352745 w 977935"/>
                      <a:gd name="connsiteY912" fmla="*/ 169376 h 511191"/>
                      <a:gd name="connsiteX913" fmla="*/ 353625 w 977935"/>
                      <a:gd name="connsiteY913" fmla="*/ 169164 h 511191"/>
                      <a:gd name="connsiteX914" fmla="*/ 353487 w 977935"/>
                      <a:gd name="connsiteY914" fmla="*/ 165317 h 511191"/>
                      <a:gd name="connsiteX915" fmla="*/ 354114 w 977935"/>
                      <a:gd name="connsiteY915" fmla="*/ 163981 h 511191"/>
                      <a:gd name="connsiteX916" fmla="*/ 357415 w 977935"/>
                      <a:gd name="connsiteY916" fmla="*/ 161185 h 511191"/>
                      <a:gd name="connsiteX917" fmla="*/ 360870 w 977935"/>
                      <a:gd name="connsiteY917" fmla="*/ 160884 h 511191"/>
                      <a:gd name="connsiteX918" fmla="*/ 363168 w 977935"/>
                      <a:gd name="connsiteY918" fmla="*/ 160126 h 511191"/>
                      <a:gd name="connsiteX919" fmla="*/ 365801 w 977935"/>
                      <a:gd name="connsiteY919" fmla="*/ 158553 h 511191"/>
                      <a:gd name="connsiteX920" fmla="*/ 367683 w 977935"/>
                      <a:gd name="connsiteY920" fmla="*/ 157159 h 511191"/>
                      <a:gd name="connsiteX921" fmla="*/ 369574 w 977935"/>
                      <a:gd name="connsiteY921" fmla="*/ 154910 h 511191"/>
                      <a:gd name="connsiteX922" fmla="*/ 370340 w 977935"/>
                      <a:gd name="connsiteY922" fmla="*/ 152025 h 511191"/>
                      <a:gd name="connsiteX923" fmla="*/ 369737 w 977935"/>
                      <a:gd name="connsiteY923" fmla="*/ 151194 h 511191"/>
                      <a:gd name="connsiteX924" fmla="*/ 365825 w 977935"/>
                      <a:gd name="connsiteY924" fmla="*/ 150077 h 511191"/>
                      <a:gd name="connsiteX925" fmla="*/ 363470 w 977935"/>
                      <a:gd name="connsiteY925" fmla="*/ 150664 h 511191"/>
                      <a:gd name="connsiteX926" fmla="*/ 358262 w 977935"/>
                      <a:gd name="connsiteY926" fmla="*/ 152710 h 511191"/>
                      <a:gd name="connsiteX927" fmla="*/ 352778 w 977935"/>
                      <a:gd name="connsiteY927" fmla="*/ 155342 h 511191"/>
                      <a:gd name="connsiteX928" fmla="*/ 350667 w 977935"/>
                      <a:gd name="connsiteY928" fmla="*/ 157795 h 511191"/>
                      <a:gd name="connsiteX929" fmla="*/ 350088 w 977935"/>
                      <a:gd name="connsiteY929" fmla="*/ 160925 h 511191"/>
                      <a:gd name="connsiteX930" fmla="*/ 349053 w 977935"/>
                      <a:gd name="connsiteY930" fmla="*/ 162310 h 511191"/>
                      <a:gd name="connsiteX931" fmla="*/ 344783 w 977935"/>
                      <a:gd name="connsiteY931" fmla="*/ 161006 h 511191"/>
                      <a:gd name="connsiteX932" fmla="*/ 342965 w 977935"/>
                      <a:gd name="connsiteY932" fmla="*/ 161022 h 511191"/>
                      <a:gd name="connsiteX933" fmla="*/ 340683 w 977935"/>
                      <a:gd name="connsiteY933" fmla="*/ 161568 h 511191"/>
                      <a:gd name="connsiteX934" fmla="*/ 338263 w 977935"/>
                      <a:gd name="connsiteY934" fmla="*/ 162775 h 511191"/>
                      <a:gd name="connsiteX935" fmla="*/ 335712 w 977935"/>
                      <a:gd name="connsiteY935" fmla="*/ 164633 h 511191"/>
                      <a:gd name="connsiteX936" fmla="*/ 331947 w 977935"/>
                      <a:gd name="connsiteY936" fmla="*/ 164975 h 511191"/>
                      <a:gd name="connsiteX937" fmla="*/ 326959 w 977935"/>
                      <a:gd name="connsiteY937" fmla="*/ 163785 h 511191"/>
                      <a:gd name="connsiteX938" fmla="*/ 323976 w 977935"/>
                      <a:gd name="connsiteY938" fmla="*/ 163459 h 511191"/>
                      <a:gd name="connsiteX939" fmla="*/ 320953 w 977935"/>
                      <a:gd name="connsiteY939" fmla="*/ 165448 h 511191"/>
                      <a:gd name="connsiteX940" fmla="*/ 321132 w 977935"/>
                      <a:gd name="connsiteY940" fmla="*/ 166915 h 511191"/>
                      <a:gd name="connsiteX941" fmla="*/ 322534 w 977935"/>
                      <a:gd name="connsiteY941" fmla="*/ 169058 h 511191"/>
                      <a:gd name="connsiteX942" fmla="*/ 321132 w 977935"/>
                      <a:gd name="connsiteY942" fmla="*/ 170338 h 511191"/>
                      <a:gd name="connsiteX943" fmla="*/ 313863 w 977935"/>
                      <a:gd name="connsiteY943" fmla="*/ 170810 h 511191"/>
                      <a:gd name="connsiteX944" fmla="*/ 311947 w 977935"/>
                      <a:gd name="connsiteY944" fmla="*/ 170533 h 511191"/>
                      <a:gd name="connsiteX945" fmla="*/ 308068 w 977935"/>
                      <a:gd name="connsiteY945" fmla="*/ 171373 h 511191"/>
                      <a:gd name="connsiteX946" fmla="*/ 306536 w 977935"/>
                      <a:gd name="connsiteY946" fmla="*/ 171201 h 511191"/>
                      <a:gd name="connsiteX947" fmla="*/ 305411 w 977935"/>
                      <a:gd name="connsiteY947" fmla="*/ 170166 h 511191"/>
                      <a:gd name="connsiteX948" fmla="*/ 297506 w 977935"/>
                      <a:gd name="connsiteY948" fmla="*/ 165814 h 511191"/>
                      <a:gd name="connsiteX949" fmla="*/ 296724 w 977935"/>
                      <a:gd name="connsiteY949" fmla="*/ 164926 h 511191"/>
                      <a:gd name="connsiteX950" fmla="*/ 298639 w 977935"/>
                      <a:gd name="connsiteY950" fmla="*/ 161389 h 511191"/>
                      <a:gd name="connsiteX951" fmla="*/ 305965 w 977935"/>
                      <a:gd name="connsiteY951" fmla="*/ 151781 h 511191"/>
                      <a:gd name="connsiteX952" fmla="*/ 306764 w 977935"/>
                      <a:gd name="connsiteY952" fmla="*/ 151210 h 511191"/>
                      <a:gd name="connsiteX953" fmla="*/ 320333 w 977935"/>
                      <a:gd name="connsiteY953" fmla="*/ 149531 h 511191"/>
                      <a:gd name="connsiteX954" fmla="*/ 328524 w 977935"/>
                      <a:gd name="connsiteY954" fmla="*/ 147787 h 511191"/>
                      <a:gd name="connsiteX955" fmla="*/ 343544 w 977935"/>
                      <a:gd name="connsiteY955" fmla="*/ 142474 h 511191"/>
                      <a:gd name="connsiteX956" fmla="*/ 346445 w 977935"/>
                      <a:gd name="connsiteY956" fmla="*/ 142042 h 511191"/>
                      <a:gd name="connsiteX957" fmla="*/ 356103 w 977935"/>
                      <a:gd name="connsiteY957" fmla="*/ 138513 h 511191"/>
                      <a:gd name="connsiteX958" fmla="*/ 360063 w 977935"/>
                      <a:gd name="connsiteY958" fmla="*/ 137624 h 511191"/>
                      <a:gd name="connsiteX959" fmla="*/ 363755 w 977935"/>
                      <a:gd name="connsiteY959" fmla="*/ 138236 h 511191"/>
                      <a:gd name="connsiteX960" fmla="*/ 369158 w 977935"/>
                      <a:gd name="connsiteY960" fmla="*/ 140045 h 511191"/>
                      <a:gd name="connsiteX961" fmla="*/ 371938 w 977935"/>
                      <a:gd name="connsiteY961" fmla="*/ 141659 h 511191"/>
                      <a:gd name="connsiteX962" fmla="*/ 373910 w 977935"/>
                      <a:gd name="connsiteY962" fmla="*/ 143672 h 511191"/>
                      <a:gd name="connsiteX963" fmla="*/ 375548 w 977935"/>
                      <a:gd name="connsiteY963" fmla="*/ 146475 h 511191"/>
                      <a:gd name="connsiteX964" fmla="*/ 377610 w 977935"/>
                      <a:gd name="connsiteY964" fmla="*/ 152644 h 511191"/>
                      <a:gd name="connsiteX965" fmla="*/ 378319 w 977935"/>
                      <a:gd name="connsiteY965" fmla="*/ 157901 h 511191"/>
                      <a:gd name="connsiteX966" fmla="*/ 379582 w 977935"/>
                      <a:gd name="connsiteY966" fmla="*/ 159841 h 511191"/>
                      <a:gd name="connsiteX967" fmla="*/ 384113 w 977935"/>
                      <a:gd name="connsiteY967" fmla="*/ 163492 h 511191"/>
                      <a:gd name="connsiteX968" fmla="*/ 386428 w 977935"/>
                      <a:gd name="connsiteY968" fmla="*/ 164910 h 511191"/>
                      <a:gd name="connsiteX969" fmla="*/ 387862 w 977935"/>
                      <a:gd name="connsiteY969" fmla="*/ 165342 h 511191"/>
                      <a:gd name="connsiteX970" fmla="*/ 389101 w 977935"/>
                      <a:gd name="connsiteY970" fmla="*/ 164494 h 511191"/>
                      <a:gd name="connsiteX971" fmla="*/ 389940 w 977935"/>
                      <a:gd name="connsiteY971" fmla="*/ 164356 h 511191"/>
                      <a:gd name="connsiteX972" fmla="*/ 390511 w 977935"/>
                      <a:gd name="connsiteY972" fmla="*/ 164690 h 511191"/>
                      <a:gd name="connsiteX973" fmla="*/ 391130 w 977935"/>
                      <a:gd name="connsiteY973" fmla="*/ 166980 h 511191"/>
                      <a:gd name="connsiteX974" fmla="*/ 391937 w 977935"/>
                      <a:gd name="connsiteY974" fmla="*/ 167208 h 511191"/>
                      <a:gd name="connsiteX975" fmla="*/ 394659 w 977935"/>
                      <a:gd name="connsiteY975" fmla="*/ 166931 h 511191"/>
                      <a:gd name="connsiteX976" fmla="*/ 397544 w 977935"/>
                      <a:gd name="connsiteY976" fmla="*/ 167868 h 511191"/>
                      <a:gd name="connsiteX977" fmla="*/ 397960 w 977935"/>
                      <a:gd name="connsiteY977" fmla="*/ 168577 h 511191"/>
                      <a:gd name="connsiteX978" fmla="*/ 397348 w 977935"/>
                      <a:gd name="connsiteY978" fmla="*/ 171430 h 511191"/>
                      <a:gd name="connsiteX979" fmla="*/ 398171 w 977935"/>
                      <a:gd name="connsiteY979" fmla="*/ 172611 h 511191"/>
                      <a:gd name="connsiteX980" fmla="*/ 401668 w 977935"/>
                      <a:gd name="connsiteY980" fmla="*/ 175162 h 511191"/>
                      <a:gd name="connsiteX981" fmla="*/ 405050 w 977935"/>
                      <a:gd name="connsiteY981" fmla="*/ 176116 h 511191"/>
                      <a:gd name="connsiteX982" fmla="*/ 408945 w 977935"/>
                      <a:gd name="connsiteY982" fmla="*/ 176548 h 511191"/>
                      <a:gd name="connsiteX983" fmla="*/ 416191 w 977935"/>
                      <a:gd name="connsiteY983" fmla="*/ 176116 h 511191"/>
                      <a:gd name="connsiteX984" fmla="*/ 422254 w 977935"/>
                      <a:gd name="connsiteY984" fmla="*/ 174893 h 511191"/>
                      <a:gd name="connsiteX985" fmla="*/ 426785 w 977935"/>
                      <a:gd name="connsiteY985" fmla="*/ 172897 h 511191"/>
                      <a:gd name="connsiteX986" fmla="*/ 430534 w 977935"/>
                      <a:gd name="connsiteY986" fmla="*/ 175130 h 511191"/>
                      <a:gd name="connsiteX987" fmla="*/ 438007 w 977935"/>
                      <a:gd name="connsiteY987" fmla="*/ 180508 h 511191"/>
                      <a:gd name="connsiteX988" fmla="*/ 442482 w 977935"/>
                      <a:gd name="connsiteY988" fmla="*/ 184314 h 511191"/>
                      <a:gd name="connsiteX989" fmla="*/ 446190 w 977935"/>
                      <a:gd name="connsiteY989" fmla="*/ 186115 h 511191"/>
                      <a:gd name="connsiteX990" fmla="*/ 453704 w 977935"/>
                      <a:gd name="connsiteY990" fmla="*/ 188251 h 511191"/>
                      <a:gd name="connsiteX991" fmla="*/ 455407 w 977935"/>
                      <a:gd name="connsiteY991" fmla="*/ 189408 h 511191"/>
                      <a:gd name="connsiteX992" fmla="*/ 458153 w 977935"/>
                      <a:gd name="connsiteY992" fmla="*/ 189538 h 511191"/>
                      <a:gd name="connsiteX993" fmla="*/ 461935 w 977935"/>
                      <a:gd name="connsiteY993" fmla="*/ 188642 h 511191"/>
                      <a:gd name="connsiteX994" fmla="*/ 466238 w 977935"/>
                      <a:gd name="connsiteY994" fmla="*/ 188984 h 511191"/>
                      <a:gd name="connsiteX995" fmla="*/ 471071 w 977935"/>
                      <a:gd name="connsiteY995" fmla="*/ 190581 h 511191"/>
                      <a:gd name="connsiteX996" fmla="*/ 474388 w 977935"/>
                      <a:gd name="connsiteY996" fmla="*/ 191258 h 511191"/>
                      <a:gd name="connsiteX997" fmla="*/ 485765 w 977935"/>
                      <a:gd name="connsiteY997" fmla="*/ 188251 h 511191"/>
                      <a:gd name="connsiteX998" fmla="*/ 487501 w 977935"/>
                      <a:gd name="connsiteY998" fmla="*/ 188104 h 511191"/>
                      <a:gd name="connsiteX999" fmla="*/ 491739 w 977935"/>
                      <a:gd name="connsiteY999" fmla="*/ 186653 h 511191"/>
                      <a:gd name="connsiteX1000" fmla="*/ 494461 w 977935"/>
                      <a:gd name="connsiteY1000" fmla="*/ 186221 h 511191"/>
                      <a:gd name="connsiteX1001" fmla="*/ 497680 w 977935"/>
                      <a:gd name="connsiteY1001" fmla="*/ 186254 h 511191"/>
                      <a:gd name="connsiteX1002" fmla="*/ 500068 w 977935"/>
                      <a:gd name="connsiteY1002" fmla="*/ 185814 h 511191"/>
                      <a:gd name="connsiteX1003" fmla="*/ 501640 w 977935"/>
                      <a:gd name="connsiteY1003" fmla="*/ 184893 h 511191"/>
                      <a:gd name="connsiteX1004" fmla="*/ 507680 w 977935"/>
                      <a:gd name="connsiteY1004" fmla="*/ 184934 h 511191"/>
                      <a:gd name="connsiteX1005" fmla="*/ 518592 w 977935"/>
                      <a:gd name="connsiteY1005" fmla="*/ 185969 h 511191"/>
                      <a:gd name="connsiteX1006" fmla="*/ 526041 w 977935"/>
                      <a:gd name="connsiteY1006" fmla="*/ 187305 h 511191"/>
                      <a:gd name="connsiteX1007" fmla="*/ 530482 w 977935"/>
                      <a:gd name="connsiteY1007" fmla="*/ 188984 h 511191"/>
                      <a:gd name="connsiteX1008" fmla="*/ 534117 w 977935"/>
                      <a:gd name="connsiteY1008" fmla="*/ 189930 h 511191"/>
                      <a:gd name="connsiteX1009" fmla="*/ 536962 w 977935"/>
                      <a:gd name="connsiteY1009" fmla="*/ 190133 h 511191"/>
                      <a:gd name="connsiteX1010" fmla="*/ 539732 w 977935"/>
                      <a:gd name="connsiteY1010" fmla="*/ 189832 h 511191"/>
                      <a:gd name="connsiteX1011" fmla="*/ 542422 w 977935"/>
                      <a:gd name="connsiteY1011" fmla="*/ 189025 h 511191"/>
                      <a:gd name="connsiteX1012" fmla="*/ 545274 w 977935"/>
                      <a:gd name="connsiteY1012" fmla="*/ 187493 h 511191"/>
                      <a:gd name="connsiteX1013" fmla="*/ 551329 w 977935"/>
                      <a:gd name="connsiteY1013" fmla="*/ 186702 h 511191"/>
                      <a:gd name="connsiteX1014" fmla="*/ 552340 w 977935"/>
                      <a:gd name="connsiteY1014" fmla="*/ 186303 h 511191"/>
                      <a:gd name="connsiteX1015" fmla="*/ 552218 w 977935"/>
                      <a:gd name="connsiteY1015" fmla="*/ 185463 h 511191"/>
                      <a:gd name="connsiteX1016" fmla="*/ 550955 w 977935"/>
                      <a:gd name="connsiteY1016" fmla="*/ 184184 h 511191"/>
                      <a:gd name="connsiteX1017" fmla="*/ 547515 w 977935"/>
                      <a:gd name="connsiteY1017" fmla="*/ 181763 h 511191"/>
                      <a:gd name="connsiteX1018" fmla="*/ 545111 w 977935"/>
                      <a:gd name="connsiteY1018" fmla="*/ 179400 h 511191"/>
                      <a:gd name="connsiteX1019" fmla="*/ 544647 w 977935"/>
                      <a:gd name="connsiteY1019" fmla="*/ 177900 h 511191"/>
                      <a:gd name="connsiteX1020" fmla="*/ 544704 w 977935"/>
                      <a:gd name="connsiteY1020" fmla="*/ 176083 h 511191"/>
                      <a:gd name="connsiteX1021" fmla="*/ 545453 w 977935"/>
                      <a:gd name="connsiteY1021" fmla="*/ 175032 h 511191"/>
                      <a:gd name="connsiteX1022" fmla="*/ 546896 w 977935"/>
                      <a:gd name="connsiteY1022" fmla="*/ 174747 h 511191"/>
                      <a:gd name="connsiteX1023" fmla="*/ 549178 w 977935"/>
                      <a:gd name="connsiteY1023" fmla="*/ 175871 h 511191"/>
                      <a:gd name="connsiteX1024" fmla="*/ 552275 w 977935"/>
                      <a:gd name="connsiteY1024" fmla="*/ 178414 h 511191"/>
                      <a:gd name="connsiteX1025" fmla="*/ 561011 w 977935"/>
                      <a:gd name="connsiteY1025" fmla="*/ 187925 h 511191"/>
                      <a:gd name="connsiteX1026" fmla="*/ 563114 w 977935"/>
                      <a:gd name="connsiteY1026" fmla="*/ 189278 h 511191"/>
                      <a:gd name="connsiteX1027" fmla="*/ 564279 w 977935"/>
                      <a:gd name="connsiteY1027" fmla="*/ 190484 h 511191"/>
                      <a:gd name="connsiteX1028" fmla="*/ 572299 w 977935"/>
                      <a:gd name="connsiteY1028" fmla="*/ 193947 h 511191"/>
                      <a:gd name="connsiteX1029" fmla="*/ 576080 w 977935"/>
                      <a:gd name="connsiteY1029" fmla="*/ 194550 h 511191"/>
                      <a:gd name="connsiteX1030" fmla="*/ 580563 w 977935"/>
                      <a:gd name="connsiteY1030" fmla="*/ 192423 h 511191"/>
                      <a:gd name="connsiteX1031" fmla="*/ 582543 w 977935"/>
                      <a:gd name="connsiteY1031" fmla="*/ 191095 h 511191"/>
                      <a:gd name="connsiteX1032" fmla="*/ 583513 w 977935"/>
                      <a:gd name="connsiteY1032" fmla="*/ 189807 h 511191"/>
                      <a:gd name="connsiteX1033" fmla="*/ 583464 w 977935"/>
                      <a:gd name="connsiteY1033" fmla="*/ 188577 h 511191"/>
                      <a:gd name="connsiteX1034" fmla="*/ 583896 w 977935"/>
                      <a:gd name="connsiteY1034" fmla="*/ 186776 h 511191"/>
                      <a:gd name="connsiteX1035" fmla="*/ 583448 w 977935"/>
                      <a:gd name="connsiteY1035" fmla="*/ 185659 h 511191"/>
                      <a:gd name="connsiteX1036" fmla="*/ 582241 w 977935"/>
                      <a:gd name="connsiteY1036" fmla="*/ 184217 h 511191"/>
                      <a:gd name="connsiteX1037" fmla="*/ 579030 w 977935"/>
                      <a:gd name="connsiteY1037" fmla="*/ 182212 h 511191"/>
                      <a:gd name="connsiteX1038" fmla="*/ 573806 w 977935"/>
                      <a:gd name="connsiteY1038" fmla="*/ 179620 h 511191"/>
                      <a:gd name="connsiteX1039" fmla="*/ 569031 w 977935"/>
                      <a:gd name="connsiteY1039" fmla="*/ 178862 h 511191"/>
                      <a:gd name="connsiteX1040" fmla="*/ 564711 w 977935"/>
                      <a:gd name="connsiteY1040" fmla="*/ 179930 h 511191"/>
                      <a:gd name="connsiteX1041" fmla="*/ 559821 w 977935"/>
                      <a:gd name="connsiteY1041" fmla="*/ 182130 h 511191"/>
                      <a:gd name="connsiteX1042" fmla="*/ 557792 w 977935"/>
                      <a:gd name="connsiteY1042" fmla="*/ 181266 h 511191"/>
                      <a:gd name="connsiteX1043" fmla="*/ 551688 w 977935"/>
                      <a:gd name="connsiteY1043" fmla="*/ 175089 h 511191"/>
                      <a:gd name="connsiteX1044" fmla="*/ 550156 w 977935"/>
                      <a:gd name="connsiteY1044" fmla="*/ 172782 h 511191"/>
                      <a:gd name="connsiteX1045" fmla="*/ 550156 w 977935"/>
                      <a:gd name="connsiteY1045" fmla="*/ 172139 h 511191"/>
                      <a:gd name="connsiteX1046" fmla="*/ 552984 w 977935"/>
                      <a:gd name="connsiteY1046" fmla="*/ 172880 h 511191"/>
                      <a:gd name="connsiteX1047" fmla="*/ 553114 w 977935"/>
                      <a:gd name="connsiteY1047" fmla="*/ 172130 h 511191"/>
                      <a:gd name="connsiteX1048" fmla="*/ 551419 w 977935"/>
                      <a:gd name="connsiteY1048" fmla="*/ 169156 h 511191"/>
                      <a:gd name="connsiteX1049" fmla="*/ 550376 w 977935"/>
                      <a:gd name="connsiteY1049" fmla="*/ 168162 h 511191"/>
                      <a:gd name="connsiteX1050" fmla="*/ 546863 w 977935"/>
                      <a:gd name="connsiteY1050" fmla="*/ 163459 h 511191"/>
                      <a:gd name="connsiteX1051" fmla="*/ 546431 w 977935"/>
                      <a:gd name="connsiteY1051" fmla="*/ 162041 h 511191"/>
                      <a:gd name="connsiteX1052" fmla="*/ 548616 w 977935"/>
                      <a:gd name="connsiteY1052" fmla="*/ 161723 h 511191"/>
                      <a:gd name="connsiteX1053" fmla="*/ 549610 w 977935"/>
                      <a:gd name="connsiteY1053" fmla="*/ 161169 h 511191"/>
                      <a:gd name="connsiteX1054" fmla="*/ 550938 w 977935"/>
                      <a:gd name="connsiteY1054" fmla="*/ 161226 h 511191"/>
                      <a:gd name="connsiteX1055" fmla="*/ 557140 w 977935"/>
                      <a:gd name="connsiteY1055" fmla="*/ 164054 h 511191"/>
                      <a:gd name="connsiteX1056" fmla="*/ 560319 w 977935"/>
                      <a:gd name="connsiteY1056" fmla="*/ 162791 h 511191"/>
                      <a:gd name="connsiteX1057" fmla="*/ 567662 w 977935"/>
                      <a:gd name="connsiteY1057" fmla="*/ 160990 h 511191"/>
                      <a:gd name="connsiteX1058" fmla="*/ 564768 w 977935"/>
                      <a:gd name="connsiteY1058" fmla="*/ 158276 h 511191"/>
                      <a:gd name="connsiteX1059" fmla="*/ 564076 w 977935"/>
                      <a:gd name="connsiteY1059" fmla="*/ 155611 h 511191"/>
                      <a:gd name="connsiteX1060" fmla="*/ 564418 w 977935"/>
                      <a:gd name="connsiteY1060" fmla="*/ 155032 h 511191"/>
                      <a:gd name="connsiteX1061" fmla="*/ 566814 w 977935"/>
                      <a:gd name="connsiteY1061" fmla="*/ 154633 h 511191"/>
                      <a:gd name="connsiteX1062" fmla="*/ 571500 w 977935"/>
                      <a:gd name="connsiteY1062" fmla="*/ 156858 h 511191"/>
                      <a:gd name="connsiteX1063" fmla="*/ 573774 w 977935"/>
                      <a:gd name="connsiteY1063" fmla="*/ 157159 h 511191"/>
                      <a:gd name="connsiteX1064" fmla="*/ 575428 w 977935"/>
                      <a:gd name="connsiteY1064" fmla="*/ 156279 h 511191"/>
                      <a:gd name="connsiteX1065" fmla="*/ 577189 w 977935"/>
                      <a:gd name="connsiteY1065" fmla="*/ 156222 h 511191"/>
                      <a:gd name="connsiteX1066" fmla="*/ 579039 w 977935"/>
                      <a:gd name="connsiteY1066" fmla="*/ 156980 h 511191"/>
                      <a:gd name="connsiteX1067" fmla="*/ 580766 w 977935"/>
                      <a:gd name="connsiteY1067" fmla="*/ 158129 h 511191"/>
                      <a:gd name="connsiteX1068" fmla="*/ 583994 w 977935"/>
                      <a:gd name="connsiteY1068" fmla="*/ 161414 h 511191"/>
                      <a:gd name="connsiteX1069" fmla="*/ 585583 w 977935"/>
                      <a:gd name="connsiteY1069" fmla="*/ 163386 h 511191"/>
                      <a:gd name="connsiteX1070" fmla="*/ 587376 w 977935"/>
                      <a:gd name="connsiteY1070" fmla="*/ 166352 h 511191"/>
                      <a:gd name="connsiteX1071" fmla="*/ 587938 w 977935"/>
                      <a:gd name="connsiteY1071" fmla="*/ 166768 h 511191"/>
                      <a:gd name="connsiteX1072" fmla="*/ 596585 w 977935"/>
                      <a:gd name="connsiteY1072" fmla="*/ 166996 h 511191"/>
                      <a:gd name="connsiteX1073" fmla="*/ 601483 w 977935"/>
                      <a:gd name="connsiteY1073" fmla="*/ 164356 h 511191"/>
                      <a:gd name="connsiteX1074" fmla="*/ 601377 w 977935"/>
                      <a:gd name="connsiteY1074" fmla="*/ 165252 h 511191"/>
                      <a:gd name="connsiteX1075" fmla="*/ 600260 w 977935"/>
                      <a:gd name="connsiteY1075" fmla="*/ 167322 h 511191"/>
                      <a:gd name="connsiteX1076" fmla="*/ 594181 w 977935"/>
                      <a:gd name="connsiteY1076" fmla="*/ 175244 h 511191"/>
                      <a:gd name="connsiteX1077" fmla="*/ 594254 w 977935"/>
                      <a:gd name="connsiteY1077" fmla="*/ 176222 h 511191"/>
                      <a:gd name="connsiteX1078" fmla="*/ 597481 w 977935"/>
                      <a:gd name="connsiteY1078" fmla="*/ 175798 h 511191"/>
                      <a:gd name="connsiteX1079" fmla="*/ 598989 w 977935"/>
                      <a:gd name="connsiteY1079" fmla="*/ 175162 h 511191"/>
                      <a:gd name="connsiteX1080" fmla="*/ 599926 w 977935"/>
                      <a:gd name="connsiteY1080" fmla="*/ 174209 h 511191"/>
                      <a:gd name="connsiteX1081" fmla="*/ 600725 w 977935"/>
                      <a:gd name="connsiteY1081" fmla="*/ 171984 h 511191"/>
                      <a:gd name="connsiteX1082" fmla="*/ 601271 w 977935"/>
                      <a:gd name="connsiteY1082" fmla="*/ 171332 h 511191"/>
                      <a:gd name="connsiteX1083" fmla="*/ 610293 w 977935"/>
                      <a:gd name="connsiteY1083" fmla="*/ 167591 h 511191"/>
                      <a:gd name="connsiteX1084" fmla="*/ 612901 w 977935"/>
                      <a:gd name="connsiteY1084" fmla="*/ 167037 h 511191"/>
                      <a:gd name="connsiteX1085" fmla="*/ 611271 w 977935"/>
                      <a:gd name="connsiteY1085" fmla="*/ 171038 h 511191"/>
                      <a:gd name="connsiteX1086" fmla="*/ 607921 w 977935"/>
                      <a:gd name="connsiteY1086" fmla="*/ 185235 h 511191"/>
                      <a:gd name="connsiteX1087" fmla="*/ 607237 w 977935"/>
                      <a:gd name="connsiteY1087" fmla="*/ 190182 h 511191"/>
                      <a:gd name="connsiteX1088" fmla="*/ 606495 w 977935"/>
                      <a:gd name="connsiteY1088" fmla="*/ 191861 h 511191"/>
                      <a:gd name="connsiteX1089" fmla="*/ 602950 w 977935"/>
                      <a:gd name="connsiteY1089" fmla="*/ 197297 h 511191"/>
                      <a:gd name="connsiteX1090" fmla="*/ 603007 w 977935"/>
                      <a:gd name="connsiteY1090" fmla="*/ 199204 h 511191"/>
                      <a:gd name="connsiteX1091" fmla="*/ 606886 w 977935"/>
                      <a:gd name="connsiteY1091" fmla="*/ 203768 h 511191"/>
                      <a:gd name="connsiteX1092" fmla="*/ 607579 w 977935"/>
                      <a:gd name="connsiteY1092" fmla="*/ 205015 h 511191"/>
                      <a:gd name="connsiteX1093" fmla="*/ 607970 w 977935"/>
                      <a:gd name="connsiteY1093" fmla="*/ 208755 h 511191"/>
                      <a:gd name="connsiteX1094" fmla="*/ 608655 w 977935"/>
                      <a:gd name="connsiteY1094" fmla="*/ 209497 h 511191"/>
                      <a:gd name="connsiteX1095" fmla="*/ 611857 w 977935"/>
                      <a:gd name="connsiteY1095" fmla="*/ 209538 h 511191"/>
                      <a:gd name="connsiteX1096" fmla="*/ 615166 w 977935"/>
                      <a:gd name="connsiteY1096" fmla="*/ 208340 h 511191"/>
                      <a:gd name="connsiteX1097" fmla="*/ 619111 w 977935"/>
                      <a:gd name="connsiteY1097" fmla="*/ 207549 h 511191"/>
                      <a:gd name="connsiteX1098" fmla="*/ 619730 w 977935"/>
                      <a:gd name="connsiteY1098" fmla="*/ 208332 h 511191"/>
                      <a:gd name="connsiteX1099" fmla="*/ 617562 w 977935"/>
                      <a:gd name="connsiteY1099" fmla="*/ 212863 h 511191"/>
                      <a:gd name="connsiteX1100" fmla="*/ 617676 w 977935"/>
                      <a:gd name="connsiteY1100" fmla="*/ 213262 h 511191"/>
                      <a:gd name="connsiteX1101" fmla="*/ 621433 w 977935"/>
                      <a:gd name="connsiteY1101" fmla="*/ 212097 h 511191"/>
                      <a:gd name="connsiteX1102" fmla="*/ 623153 w 977935"/>
                      <a:gd name="connsiteY1102" fmla="*/ 211934 h 511191"/>
                      <a:gd name="connsiteX1103" fmla="*/ 623862 w 977935"/>
                      <a:gd name="connsiteY1103" fmla="*/ 212195 h 511191"/>
                      <a:gd name="connsiteX1104" fmla="*/ 626649 w 977935"/>
                      <a:gd name="connsiteY1104" fmla="*/ 214517 h 511191"/>
                      <a:gd name="connsiteX1105" fmla="*/ 626935 w 977935"/>
                      <a:gd name="connsiteY1105" fmla="*/ 216237 h 511191"/>
                      <a:gd name="connsiteX1106" fmla="*/ 626877 w 977935"/>
                      <a:gd name="connsiteY1106" fmla="*/ 218796 h 511191"/>
                      <a:gd name="connsiteX1107" fmla="*/ 626576 w 977935"/>
                      <a:gd name="connsiteY1107" fmla="*/ 220646 h 511191"/>
                      <a:gd name="connsiteX1108" fmla="*/ 625631 w 977935"/>
                      <a:gd name="connsiteY1108" fmla="*/ 221673 h 511191"/>
                      <a:gd name="connsiteX1109" fmla="*/ 624514 w 977935"/>
                      <a:gd name="connsiteY1109" fmla="*/ 222088 h 511191"/>
                      <a:gd name="connsiteX1110" fmla="*/ 623096 w 977935"/>
                      <a:gd name="connsiteY1110" fmla="*/ 222390 h 511191"/>
                      <a:gd name="connsiteX1111" fmla="*/ 621825 w 977935"/>
                      <a:gd name="connsiteY1111" fmla="*/ 222259 h 511191"/>
                      <a:gd name="connsiteX1112" fmla="*/ 617905 w 977935"/>
                      <a:gd name="connsiteY1112" fmla="*/ 222651 h 511191"/>
                      <a:gd name="connsiteX1113" fmla="*/ 615590 w 977935"/>
                      <a:gd name="connsiteY1113" fmla="*/ 222154 h 511191"/>
                      <a:gd name="connsiteX1114" fmla="*/ 613308 w 977935"/>
                      <a:gd name="connsiteY1114" fmla="*/ 220744 h 511191"/>
                      <a:gd name="connsiteX1115" fmla="*/ 611678 w 977935"/>
                      <a:gd name="connsiteY1115" fmla="*/ 220409 h 511191"/>
                      <a:gd name="connsiteX1116" fmla="*/ 609796 w 977935"/>
                      <a:gd name="connsiteY1116" fmla="*/ 221502 h 511191"/>
                      <a:gd name="connsiteX1117" fmla="*/ 606821 w 977935"/>
                      <a:gd name="connsiteY1117" fmla="*/ 221314 h 511191"/>
                      <a:gd name="connsiteX1118" fmla="*/ 603471 w 977935"/>
                      <a:gd name="connsiteY1118" fmla="*/ 218201 h 511191"/>
                      <a:gd name="connsiteX1119" fmla="*/ 602143 w 977935"/>
                      <a:gd name="connsiteY1119" fmla="*/ 218494 h 511191"/>
                      <a:gd name="connsiteX1120" fmla="*/ 601687 w 977935"/>
                      <a:gd name="connsiteY1120" fmla="*/ 218991 h 511191"/>
                      <a:gd name="connsiteX1121" fmla="*/ 601744 w 977935"/>
                      <a:gd name="connsiteY1121" fmla="*/ 219660 h 511191"/>
                      <a:gd name="connsiteX1122" fmla="*/ 603251 w 977935"/>
                      <a:gd name="connsiteY1122" fmla="*/ 221673 h 511191"/>
                      <a:gd name="connsiteX1123" fmla="*/ 615011 w 977935"/>
                      <a:gd name="connsiteY1123" fmla="*/ 232341 h 511191"/>
                      <a:gd name="connsiteX1124" fmla="*/ 616796 w 977935"/>
                      <a:gd name="connsiteY1124" fmla="*/ 234533 h 511191"/>
                      <a:gd name="connsiteX1125" fmla="*/ 617196 w 977935"/>
                      <a:gd name="connsiteY1125" fmla="*/ 237687 h 511191"/>
                      <a:gd name="connsiteX1126" fmla="*/ 617432 w 977935"/>
                      <a:gd name="connsiteY1126" fmla="*/ 237679 h 511191"/>
                      <a:gd name="connsiteX1127" fmla="*/ 618540 w 977935"/>
                      <a:gd name="connsiteY1127" fmla="*/ 234525 h 511191"/>
                      <a:gd name="connsiteX1128" fmla="*/ 617823 w 977935"/>
                      <a:gd name="connsiteY1128" fmla="*/ 232993 h 511191"/>
                      <a:gd name="connsiteX1129" fmla="*/ 611768 w 977935"/>
                      <a:gd name="connsiteY1129" fmla="*/ 226791 h 511191"/>
                      <a:gd name="connsiteX1130" fmla="*/ 611043 w 977935"/>
                      <a:gd name="connsiteY1130" fmla="*/ 224525 h 511191"/>
                      <a:gd name="connsiteX1131" fmla="*/ 611246 w 977935"/>
                      <a:gd name="connsiteY1131" fmla="*/ 223906 h 511191"/>
                      <a:gd name="connsiteX1132" fmla="*/ 612852 w 977935"/>
                      <a:gd name="connsiteY1132" fmla="*/ 223270 h 511191"/>
                      <a:gd name="connsiteX1133" fmla="*/ 621466 w 977935"/>
                      <a:gd name="connsiteY1133" fmla="*/ 224819 h 511191"/>
                      <a:gd name="connsiteX1134" fmla="*/ 624807 w 977935"/>
                      <a:gd name="connsiteY1134" fmla="*/ 224484 h 511191"/>
                      <a:gd name="connsiteX1135" fmla="*/ 627057 w 977935"/>
                      <a:gd name="connsiteY1135" fmla="*/ 223392 h 511191"/>
                      <a:gd name="connsiteX1136" fmla="*/ 628181 w 977935"/>
                      <a:gd name="connsiteY1136" fmla="*/ 222048 h 511191"/>
                      <a:gd name="connsiteX1137" fmla="*/ 628996 w 977935"/>
                      <a:gd name="connsiteY1137" fmla="*/ 214648 h 511191"/>
                      <a:gd name="connsiteX1138" fmla="*/ 630553 w 977935"/>
                      <a:gd name="connsiteY1138" fmla="*/ 209896 h 511191"/>
                      <a:gd name="connsiteX1139" fmla="*/ 629640 w 977935"/>
                      <a:gd name="connsiteY1139" fmla="*/ 205642 h 511191"/>
                      <a:gd name="connsiteX1140" fmla="*/ 627301 w 977935"/>
                      <a:gd name="connsiteY1140" fmla="*/ 198853 h 511191"/>
                      <a:gd name="connsiteX1141" fmla="*/ 625476 w 977935"/>
                      <a:gd name="connsiteY1141" fmla="*/ 194852 h 511191"/>
                      <a:gd name="connsiteX1142" fmla="*/ 621246 w 977935"/>
                      <a:gd name="connsiteY1142" fmla="*/ 190785 h 511191"/>
                      <a:gd name="connsiteX1143" fmla="*/ 620830 w 977935"/>
                      <a:gd name="connsiteY1143" fmla="*/ 189326 h 511191"/>
                      <a:gd name="connsiteX1144" fmla="*/ 625541 w 977935"/>
                      <a:gd name="connsiteY1144" fmla="*/ 176980 h 511191"/>
                      <a:gd name="connsiteX1145" fmla="*/ 626388 w 977935"/>
                      <a:gd name="connsiteY1145" fmla="*/ 175945 h 511191"/>
                      <a:gd name="connsiteX1146" fmla="*/ 627440 w 977935"/>
                      <a:gd name="connsiteY1146" fmla="*/ 175488 h 511191"/>
                      <a:gd name="connsiteX1147" fmla="*/ 631148 w 977935"/>
                      <a:gd name="connsiteY1147" fmla="*/ 175309 h 511191"/>
                      <a:gd name="connsiteX1148" fmla="*/ 633845 w 977935"/>
                      <a:gd name="connsiteY1148" fmla="*/ 174274 h 511191"/>
                      <a:gd name="connsiteX1149" fmla="*/ 638075 w 977935"/>
                      <a:gd name="connsiteY1149" fmla="*/ 175716 h 511191"/>
                      <a:gd name="connsiteX1150" fmla="*/ 640414 w 977935"/>
                      <a:gd name="connsiteY1150" fmla="*/ 176099 h 511191"/>
                      <a:gd name="connsiteX1151" fmla="*/ 643307 w 977935"/>
                      <a:gd name="connsiteY1151" fmla="*/ 174820 h 511191"/>
                      <a:gd name="connsiteX1152" fmla="*/ 649738 w 977935"/>
                      <a:gd name="connsiteY1152" fmla="*/ 169620 h 511191"/>
                      <a:gd name="connsiteX1153" fmla="*/ 652248 w 977935"/>
                      <a:gd name="connsiteY1153" fmla="*/ 168007 h 511191"/>
                      <a:gd name="connsiteX1154" fmla="*/ 655450 w 977935"/>
                      <a:gd name="connsiteY1154" fmla="*/ 164959 h 511191"/>
                      <a:gd name="connsiteX1155" fmla="*/ 659338 w 977935"/>
                      <a:gd name="connsiteY1155" fmla="*/ 160468 h 511191"/>
                      <a:gd name="connsiteX1156" fmla="*/ 663559 w 977935"/>
                      <a:gd name="connsiteY1156" fmla="*/ 157208 h 511191"/>
                      <a:gd name="connsiteX1157" fmla="*/ 670413 w 977935"/>
                      <a:gd name="connsiteY1157" fmla="*/ 154177 h 511191"/>
                      <a:gd name="connsiteX1158" fmla="*/ 674594 w 977935"/>
                      <a:gd name="connsiteY1158" fmla="*/ 151732 h 511191"/>
                      <a:gd name="connsiteX1159" fmla="*/ 675442 w 977935"/>
                      <a:gd name="connsiteY1159" fmla="*/ 150852 h 511191"/>
                      <a:gd name="connsiteX1160" fmla="*/ 671546 w 977935"/>
                      <a:gd name="connsiteY1160" fmla="*/ 150640 h 511191"/>
                      <a:gd name="connsiteX1161" fmla="*/ 670601 w 977935"/>
                      <a:gd name="connsiteY1161" fmla="*/ 150224 h 511191"/>
                      <a:gd name="connsiteX1162" fmla="*/ 669802 w 977935"/>
                      <a:gd name="connsiteY1162" fmla="*/ 147909 h 511191"/>
                      <a:gd name="connsiteX1163" fmla="*/ 670210 w 977935"/>
                      <a:gd name="connsiteY1163" fmla="*/ 143606 h 511191"/>
                      <a:gd name="connsiteX1164" fmla="*/ 670136 w 977935"/>
                      <a:gd name="connsiteY1164" fmla="*/ 141210 h 511191"/>
                      <a:gd name="connsiteX1165" fmla="*/ 669672 w 977935"/>
                      <a:gd name="connsiteY1165" fmla="*/ 139059 h 511191"/>
                      <a:gd name="connsiteX1166" fmla="*/ 668816 w 977935"/>
                      <a:gd name="connsiteY1166" fmla="*/ 137127 h 511191"/>
                      <a:gd name="connsiteX1167" fmla="*/ 667577 w 977935"/>
                      <a:gd name="connsiteY1167" fmla="*/ 135432 h 511191"/>
                      <a:gd name="connsiteX1168" fmla="*/ 666453 w 977935"/>
                      <a:gd name="connsiteY1168" fmla="*/ 134414 h 511191"/>
                      <a:gd name="connsiteX1169" fmla="*/ 665426 w 977935"/>
                      <a:gd name="connsiteY1169" fmla="*/ 134071 h 511191"/>
                      <a:gd name="connsiteX1170" fmla="*/ 664725 w 977935"/>
                      <a:gd name="connsiteY1170" fmla="*/ 134234 h 511191"/>
                      <a:gd name="connsiteX1171" fmla="*/ 664342 w 977935"/>
                      <a:gd name="connsiteY1171" fmla="*/ 134878 h 511191"/>
                      <a:gd name="connsiteX1172" fmla="*/ 663307 w 977935"/>
                      <a:gd name="connsiteY1172" fmla="*/ 138985 h 511191"/>
                      <a:gd name="connsiteX1173" fmla="*/ 661978 w 977935"/>
                      <a:gd name="connsiteY1173" fmla="*/ 141993 h 511191"/>
                      <a:gd name="connsiteX1174" fmla="*/ 660161 w 977935"/>
                      <a:gd name="connsiteY1174" fmla="*/ 143574 h 511191"/>
                      <a:gd name="connsiteX1175" fmla="*/ 656388 w 977935"/>
                      <a:gd name="connsiteY1175" fmla="*/ 144625 h 511191"/>
                      <a:gd name="connsiteX1176" fmla="*/ 649909 w 977935"/>
                      <a:gd name="connsiteY1176" fmla="*/ 145416 h 511191"/>
                      <a:gd name="connsiteX1177" fmla="*/ 647211 w 977935"/>
                      <a:gd name="connsiteY1177" fmla="*/ 143973 h 511191"/>
                      <a:gd name="connsiteX1178" fmla="*/ 646877 w 977935"/>
                      <a:gd name="connsiteY1178" fmla="*/ 142759 h 511191"/>
                      <a:gd name="connsiteX1179" fmla="*/ 647822 w 977935"/>
                      <a:gd name="connsiteY1179" fmla="*/ 137983 h 511191"/>
                      <a:gd name="connsiteX1180" fmla="*/ 649974 w 977935"/>
                      <a:gd name="connsiteY1180" fmla="*/ 135929 h 511191"/>
                      <a:gd name="connsiteX1181" fmla="*/ 655907 w 977935"/>
                      <a:gd name="connsiteY1181" fmla="*/ 131895 h 511191"/>
                      <a:gd name="connsiteX1182" fmla="*/ 659696 w 977935"/>
                      <a:gd name="connsiteY1182" fmla="*/ 128660 h 511191"/>
                      <a:gd name="connsiteX1183" fmla="*/ 659753 w 977935"/>
                      <a:gd name="connsiteY1183" fmla="*/ 128097 h 511191"/>
                      <a:gd name="connsiteX1184" fmla="*/ 656274 w 977935"/>
                      <a:gd name="connsiteY1184" fmla="*/ 128081 h 511191"/>
                      <a:gd name="connsiteX1185" fmla="*/ 655434 w 977935"/>
                      <a:gd name="connsiteY1185" fmla="*/ 127405 h 511191"/>
                      <a:gd name="connsiteX1186" fmla="*/ 654701 w 977935"/>
                      <a:gd name="connsiteY1186" fmla="*/ 123428 h 511191"/>
                      <a:gd name="connsiteX1187" fmla="*/ 654904 w 977935"/>
                      <a:gd name="connsiteY1187" fmla="*/ 121936 h 511191"/>
                      <a:gd name="connsiteX1188" fmla="*/ 655450 w 977935"/>
                      <a:gd name="connsiteY1188" fmla="*/ 120241 h 511191"/>
                      <a:gd name="connsiteX1189" fmla="*/ 657887 w 977935"/>
                      <a:gd name="connsiteY1189" fmla="*/ 118994 h 511191"/>
                      <a:gd name="connsiteX1190" fmla="*/ 665377 w 977935"/>
                      <a:gd name="connsiteY1190" fmla="*/ 117462 h 511191"/>
                      <a:gd name="connsiteX1191" fmla="*/ 671212 w 977935"/>
                      <a:gd name="connsiteY1191" fmla="*/ 115661 h 511191"/>
                      <a:gd name="connsiteX1192" fmla="*/ 671375 w 977935"/>
                      <a:gd name="connsiteY1192" fmla="*/ 116289 h 511191"/>
                      <a:gd name="connsiteX1193" fmla="*/ 666705 w 977935"/>
                      <a:gd name="connsiteY1193" fmla="*/ 121684 h 511191"/>
                      <a:gd name="connsiteX1194" fmla="*/ 666225 w 977935"/>
                      <a:gd name="connsiteY1194" fmla="*/ 122939 h 511191"/>
                      <a:gd name="connsiteX1195" fmla="*/ 668009 w 977935"/>
                      <a:gd name="connsiteY1195" fmla="*/ 124104 h 511191"/>
                      <a:gd name="connsiteX1196" fmla="*/ 672500 w 977935"/>
                      <a:gd name="connsiteY1196" fmla="*/ 120983 h 511191"/>
                      <a:gd name="connsiteX1197" fmla="*/ 675393 w 977935"/>
                      <a:gd name="connsiteY1197" fmla="*/ 118399 h 511191"/>
                      <a:gd name="connsiteX1198" fmla="*/ 675882 w 977935"/>
                      <a:gd name="connsiteY1198" fmla="*/ 117519 h 511191"/>
                      <a:gd name="connsiteX1199" fmla="*/ 673250 w 977935"/>
                      <a:gd name="connsiteY1199" fmla="*/ 117201 h 511191"/>
                      <a:gd name="connsiteX1200" fmla="*/ 673111 w 977935"/>
                      <a:gd name="connsiteY1200" fmla="*/ 116126 h 511191"/>
                      <a:gd name="connsiteX1201" fmla="*/ 673616 w 977935"/>
                      <a:gd name="connsiteY1201" fmla="*/ 114170 h 511191"/>
                      <a:gd name="connsiteX1202" fmla="*/ 673372 w 977935"/>
                      <a:gd name="connsiteY1202" fmla="*/ 112833 h 511191"/>
                      <a:gd name="connsiteX1203" fmla="*/ 670454 w 977935"/>
                      <a:gd name="connsiteY1203" fmla="*/ 111138 h 511191"/>
                      <a:gd name="connsiteX1204" fmla="*/ 666868 w 977935"/>
                      <a:gd name="connsiteY1204" fmla="*/ 112083 h 511191"/>
                      <a:gd name="connsiteX1205" fmla="*/ 663877 w 977935"/>
                      <a:gd name="connsiteY1205" fmla="*/ 113860 h 511191"/>
                      <a:gd name="connsiteX1206" fmla="*/ 661392 w 977935"/>
                      <a:gd name="connsiteY1206" fmla="*/ 114349 h 511191"/>
                      <a:gd name="connsiteX1207" fmla="*/ 657724 w 977935"/>
                      <a:gd name="connsiteY1207" fmla="*/ 114381 h 511191"/>
                      <a:gd name="connsiteX1208" fmla="*/ 655051 w 977935"/>
                      <a:gd name="connsiteY1208" fmla="*/ 113974 h 511191"/>
                      <a:gd name="connsiteX1209" fmla="*/ 653380 w 977935"/>
                      <a:gd name="connsiteY1209" fmla="*/ 113126 h 511191"/>
                      <a:gd name="connsiteX1210" fmla="*/ 651376 w 977935"/>
                      <a:gd name="connsiteY1210" fmla="*/ 111228 h 511191"/>
                      <a:gd name="connsiteX1211" fmla="*/ 649020 w 977935"/>
                      <a:gd name="connsiteY1211" fmla="*/ 108285 h 511191"/>
                      <a:gd name="connsiteX1212" fmla="*/ 646046 w 977935"/>
                      <a:gd name="connsiteY1212" fmla="*/ 105343 h 511191"/>
                      <a:gd name="connsiteX1213" fmla="*/ 644994 w 977935"/>
                      <a:gd name="connsiteY1213" fmla="*/ 105026 h 511191"/>
                      <a:gd name="connsiteX1214" fmla="*/ 644090 w 977935"/>
                      <a:gd name="connsiteY1214" fmla="*/ 105360 h 511191"/>
                      <a:gd name="connsiteX1215" fmla="*/ 642199 w 977935"/>
                      <a:gd name="connsiteY1215" fmla="*/ 108196 h 511191"/>
                      <a:gd name="connsiteX1216" fmla="*/ 641368 w 977935"/>
                      <a:gd name="connsiteY1216" fmla="*/ 108530 h 511191"/>
                      <a:gd name="connsiteX1217" fmla="*/ 629722 w 977935"/>
                      <a:gd name="connsiteY1217" fmla="*/ 104553 h 511191"/>
                      <a:gd name="connsiteX1218" fmla="*/ 624783 w 977935"/>
                      <a:gd name="connsiteY1218" fmla="*/ 102320 h 511191"/>
                      <a:gd name="connsiteX1219" fmla="*/ 622395 w 977935"/>
                      <a:gd name="connsiteY1219" fmla="*/ 100633 h 511191"/>
                      <a:gd name="connsiteX1220" fmla="*/ 619420 w 977935"/>
                      <a:gd name="connsiteY1220" fmla="*/ 99622 h 511191"/>
                      <a:gd name="connsiteX1221" fmla="*/ 615867 w 977935"/>
                      <a:gd name="connsiteY1221" fmla="*/ 99321 h 511191"/>
                      <a:gd name="connsiteX1222" fmla="*/ 613031 w 977935"/>
                      <a:gd name="connsiteY1222" fmla="*/ 98530 h 511191"/>
                      <a:gd name="connsiteX1223" fmla="*/ 610920 w 977935"/>
                      <a:gd name="connsiteY1223" fmla="*/ 97267 h 511191"/>
                      <a:gd name="connsiteX1224" fmla="*/ 609217 w 977935"/>
                      <a:gd name="connsiteY1224" fmla="*/ 95458 h 511191"/>
                      <a:gd name="connsiteX1225" fmla="*/ 607905 w 977935"/>
                      <a:gd name="connsiteY1225" fmla="*/ 93086 h 511191"/>
                      <a:gd name="connsiteX1226" fmla="*/ 605484 w 977935"/>
                      <a:gd name="connsiteY1226" fmla="*/ 90112 h 511191"/>
                      <a:gd name="connsiteX1227" fmla="*/ 599951 w 977935"/>
                      <a:gd name="connsiteY1227" fmla="*/ 84170 h 511191"/>
                      <a:gd name="connsiteX1228" fmla="*/ 598484 w 977935"/>
                      <a:gd name="connsiteY1228" fmla="*/ 80348 h 511191"/>
                      <a:gd name="connsiteX1229" fmla="*/ 598288 w 977935"/>
                      <a:gd name="connsiteY1229" fmla="*/ 78881 h 511191"/>
                      <a:gd name="connsiteX1230" fmla="*/ 598630 w 977935"/>
                      <a:gd name="connsiteY1230" fmla="*/ 75108 h 511191"/>
                      <a:gd name="connsiteX1231" fmla="*/ 603822 w 977935"/>
                      <a:gd name="connsiteY1231" fmla="*/ 68702 h 511191"/>
                      <a:gd name="connsiteX1232" fmla="*/ 604775 w 977935"/>
                      <a:gd name="connsiteY1232" fmla="*/ 66852 h 511191"/>
                      <a:gd name="connsiteX1233" fmla="*/ 606552 w 977935"/>
                      <a:gd name="connsiteY1233" fmla="*/ 65491 h 511191"/>
                      <a:gd name="connsiteX1234" fmla="*/ 609119 w 977935"/>
                      <a:gd name="connsiteY1234" fmla="*/ 64619 h 511191"/>
                      <a:gd name="connsiteX1235" fmla="*/ 610969 w 977935"/>
                      <a:gd name="connsiteY1235" fmla="*/ 64350 h 511191"/>
                      <a:gd name="connsiteX1236" fmla="*/ 615175 w 977935"/>
                      <a:gd name="connsiteY1236" fmla="*/ 65165 h 511191"/>
                      <a:gd name="connsiteX1237" fmla="*/ 612656 w 977935"/>
                      <a:gd name="connsiteY1237" fmla="*/ 63177 h 511191"/>
                      <a:gd name="connsiteX1238" fmla="*/ 612461 w 977935"/>
                      <a:gd name="connsiteY1238" fmla="*/ 62117 h 511191"/>
                      <a:gd name="connsiteX1239" fmla="*/ 614987 w 977935"/>
                      <a:gd name="connsiteY1239" fmla="*/ 58637 h 511191"/>
                      <a:gd name="connsiteX1240" fmla="*/ 614490 w 977935"/>
                      <a:gd name="connsiteY1240" fmla="*/ 58482 h 511191"/>
                      <a:gd name="connsiteX1241" fmla="*/ 607538 w 977935"/>
                      <a:gd name="connsiteY1241" fmla="*/ 61156 h 511191"/>
                      <a:gd name="connsiteX1242" fmla="*/ 605761 w 977935"/>
                      <a:gd name="connsiteY1242" fmla="*/ 60976 h 511191"/>
                      <a:gd name="connsiteX1243" fmla="*/ 603268 w 977935"/>
                      <a:gd name="connsiteY1243" fmla="*/ 59338 h 511191"/>
                      <a:gd name="connsiteX1244" fmla="*/ 598557 w 977935"/>
                      <a:gd name="connsiteY1244" fmla="*/ 53479 h 511191"/>
                      <a:gd name="connsiteX1245" fmla="*/ 598492 w 977935"/>
                      <a:gd name="connsiteY1245" fmla="*/ 49827 h 511191"/>
                      <a:gd name="connsiteX1246" fmla="*/ 599975 w 977935"/>
                      <a:gd name="connsiteY1246" fmla="*/ 44750 h 511191"/>
                      <a:gd name="connsiteX1247" fmla="*/ 600497 w 977935"/>
                      <a:gd name="connsiteY1247" fmla="*/ 41702 h 511191"/>
                      <a:gd name="connsiteX1248" fmla="*/ 599144 w 977935"/>
                      <a:gd name="connsiteY1248" fmla="*/ 39102 h 511191"/>
                      <a:gd name="connsiteX1249" fmla="*/ 599649 w 977935"/>
                      <a:gd name="connsiteY1249" fmla="*/ 38377 h 511191"/>
                      <a:gd name="connsiteX1250" fmla="*/ 601124 w 977935"/>
                      <a:gd name="connsiteY1250" fmla="*/ 37652 h 511191"/>
                      <a:gd name="connsiteX1251" fmla="*/ 601727 w 977935"/>
                      <a:gd name="connsiteY1251" fmla="*/ 36869 h 511191"/>
                      <a:gd name="connsiteX1252" fmla="*/ 601092 w 977935"/>
                      <a:gd name="connsiteY1252" fmla="*/ 34001 h 511191"/>
                      <a:gd name="connsiteX1253" fmla="*/ 602102 w 977935"/>
                      <a:gd name="connsiteY1253" fmla="*/ 32468 h 511191"/>
                      <a:gd name="connsiteX1254" fmla="*/ 605436 w 977935"/>
                      <a:gd name="connsiteY1254" fmla="*/ 29494 h 511191"/>
                      <a:gd name="connsiteX1255" fmla="*/ 608704 w 977935"/>
                      <a:gd name="connsiteY1255" fmla="*/ 26902 h 511191"/>
                      <a:gd name="connsiteX1256" fmla="*/ 610627 w 977935"/>
                      <a:gd name="connsiteY1256" fmla="*/ 26112 h 511191"/>
                      <a:gd name="connsiteX1257" fmla="*/ 612306 w 977935"/>
                      <a:gd name="connsiteY1257" fmla="*/ 26258 h 511191"/>
                      <a:gd name="connsiteX1258" fmla="*/ 614042 w 977935"/>
                      <a:gd name="connsiteY1258" fmla="*/ 27049 h 511191"/>
                      <a:gd name="connsiteX1259" fmla="*/ 615867 w 977935"/>
                      <a:gd name="connsiteY1259" fmla="*/ 28500 h 511191"/>
                      <a:gd name="connsiteX1260" fmla="*/ 618980 w 977935"/>
                      <a:gd name="connsiteY1260" fmla="*/ 29999 h 511191"/>
                      <a:gd name="connsiteX1261" fmla="*/ 621279 w 977935"/>
                      <a:gd name="connsiteY1261" fmla="*/ 30423 h 511191"/>
                      <a:gd name="connsiteX1262" fmla="*/ 622974 w 977935"/>
                      <a:gd name="connsiteY1262" fmla="*/ 29608 h 511191"/>
                      <a:gd name="connsiteX1263" fmla="*/ 625867 w 977935"/>
                      <a:gd name="connsiteY1263" fmla="*/ 24009 h 511191"/>
                      <a:gd name="connsiteX1264" fmla="*/ 626894 w 977935"/>
                      <a:gd name="connsiteY1264" fmla="*/ 22567 h 511191"/>
                      <a:gd name="connsiteX1265" fmla="*/ 625924 w 977935"/>
                      <a:gd name="connsiteY1265" fmla="*/ 21955 h 511191"/>
                      <a:gd name="connsiteX1266" fmla="*/ 620244 w 977935"/>
                      <a:gd name="connsiteY1266" fmla="*/ 22004 h 511191"/>
                      <a:gd name="connsiteX1267" fmla="*/ 617782 w 977935"/>
                      <a:gd name="connsiteY1267" fmla="*/ 21548 h 511191"/>
                      <a:gd name="connsiteX1268" fmla="*/ 616372 w 977935"/>
                      <a:gd name="connsiteY1268" fmla="*/ 21010 h 511191"/>
                      <a:gd name="connsiteX1269" fmla="*/ 615329 w 977935"/>
                      <a:gd name="connsiteY1269" fmla="*/ 18867 h 511191"/>
                      <a:gd name="connsiteX1270" fmla="*/ 616193 w 977935"/>
                      <a:gd name="connsiteY1270" fmla="*/ 17726 h 511191"/>
                      <a:gd name="connsiteX1271" fmla="*/ 621686 w 977935"/>
                      <a:gd name="connsiteY1271" fmla="*/ 13757 h 511191"/>
                      <a:gd name="connsiteX1272" fmla="*/ 624278 w 977935"/>
                      <a:gd name="connsiteY1272" fmla="*/ 9592 h 511191"/>
                      <a:gd name="connsiteX1273" fmla="*/ 631979 w 977935"/>
                      <a:gd name="connsiteY1273" fmla="*/ 3790 h 511191"/>
                      <a:gd name="connsiteX1274" fmla="*/ 639770 w 977935"/>
                      <a:gd name="connsiteY1274" fmla="*/ 1068 h 511191"/>
                      <a:gd name="connsiteX1275" fmla="*/ 643544 w 977935"/>
                      <a:gd name="connsiteY1275" fmla="*/ 171 h 511191"/>
                      <a:gd name="connsiteX1276" fmla="*/ 646616 w 977935"/>
                      <a:gd name="connsiteY1276" fmla="*/ 0 h 511191"/>
                      <a:gd name="connsiteX1277" fmla="*/ 647953 w 977935"/>
                      <a:gd name="connsiteY1277" fmla="*/ 350 h 511191"/>
                      <a:gd name="connsiteX1278" fmla="*/ 649591 w 977935"/>
                      <a:gd name="connsiteY1278" fmla="*/ 3260 h 511191"/>
                      <a:gd name="connsiteX1279" fmla="*/ 649892 w 977935"/>
                      <a:gd name="connsiteY1279" fmla="*/ 6316 h 511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Lst>
                    <a:rect l="l" t="t" r="r" b="b"/>
                    <a:pathLst>
                      <a:path w="977935" h="511191">
                        <a:moveTo>
                          <a:pt x="654122" y="10130"/>
                        </a:moveTo>
                        <a:lnTo>
                          <a:pt x="657521" y="10424"/>
                        </a:lnTo>
                        <a:lnTo>
                          <a:pt x="659639" y="9853"/>
                        </a:lnTo>
                        <a:lnTo>
                          <a:pt x="666477" y="10073"/>
                        </a:lnTo>
                        <a:lnTo>
                          <a:pt x="668058" y="11141"/>
                        </a:lnTo>
                        <a:lnTo>
                          <a:pt x="667944" y="12331"/>
                        </a:lnTo>
                        <a:lnTo>
                          <a:pt x="667186" y="14254"/>
                        </a:lnTo>
                        <a:lnTo>
                          <a:pt x="667651" y="15908"/>
                        </a:lnTo>
                        <a:lnTo>
                          <a:pt x="672288" y="19070"/>
                        </a:lnTo>
                        <a:lnTo>
                          <a:pt x="676460" y="21254"/>
                        </a:lnTo>
                        <a:lnTo>
                          <a:pt x="680209" y="23976"/>
                        </a:lnTo>
                        <a:lnTo>
                          <a:pt x="685800" y="29657"/>
                        </a:lnTo>
                        <a:lnTo>
                          <a:pt x="687006" y="31262"/>
                        </a:lnTo>
                        <a:lnTo>
                          <a:pt x="687846" y="32998"/>
                        </a:lnTo>
                        <a:lnTo>
                          <a:pt x="689296" y="39322"/>
                        </a:lnTo>
                        <a:lnTo>
                          <a:pt x="689484" y="41718"/>
                        </a:lnTo>
                        <a:lnTo>
                          <a:pt x="688946" y="48646"/>
                        </a:lnTo>
                        <a:lnTo>
                          <a:pt x="688506" y="49950"/>
                        </a:lnTo>
                        <a:lnTo>
                          <a:pt x="687039" y="51514"/>
                        </a:lnTo>
                        <a:lnTo>
                          <a:pt x="687544" y="52150"/>
                        </a:lnTo>
                        <a:lnTo>
                          <a:pt x="691953" y="53951"/>
                        </a:lnTo>
                        <a:lnTo>
                          <a:pt x="695457" y="57529"/>
                        </a:lnTo>
                        <a:lnTo>
                          <a:pt x="697299" y="58678"/>
                        </a:lnTo>
                        <a:lnTo>
                          <a:pt x="701741" y="60610"/>
                        </a:lnTo>
                        <a:lnTo>
                          <a:pt x="702548" y="61327"/>
                        </a:lnTo>
                        <a:lnTo>
                          <a:pt x="703550" y="62533"/>
                        </a:lnTo>
                        <a:lnTo>
                          <a:pt x="706060" y="67684"/>
                        </a:lnTo>
                        <a:lnTo>
                          <a:pt x="710160" y="72313"/>
                        </a:lnTo>
                        <a:lnTo>
                          <a:pt x="710453" y="73315"/>
                        </a:lnTo>
                        <a:lnTo>
                          <a:pt x="709573" y="75491"/>
                        </a:lnTo>
                        <a:lnTo>
                          <a:pt x="710192" y="76176"/>
                        </a:lnTo>
                        <a:lnTo>
                          <a:pt x="711781" y="76982"/>
                        </a:lnTo>
                        <a:lnTo>
                          <a:pt x="713199" y="76567"/>
                        </a:lnTo>
                        <a:lnTo>
                          <a:pt x="714463" y="74937"/>
                        </a:lnTo>
                        <a:lnTo>
                          <a:pt x="715832" y="74472"/>
                        </a:lnTo>
                        <a:lnTo>
                          <a:pt x="717307" y="75157"/>
                        </a:lnTo>
                        <a:lnTo>
                          <a:pt x="718431" y="76363"/>
                        </a:lnTo>
                        <a:lnTo>
                          <a:pt x="719956" y="79329"/>
                        </a:lnTo>
                        <a:lnTo>
                          <a:pt x="722189" y="81774"/>
                        </a:lnTo>
                        <a:lnTo>
                          <a:pt x="722001" y="82532"/>
                        </a:lnTo>
                        <a:lnTo>
                          <a:pt x="720893" y="83135"/>
                        </a:lnTo>
                        <a:lnTo>
                          <a:pt x="714886" y="83820"/>
                        </a:lnTo>
                        <a:lnTo>
                          <a:pt x="711496" y="83347"/>
                        </a:lnTo>
                        <a:lnTo>
                          <a:pt x="708375" y="82149"/>
                        </a:lnTo>
                        <a:lnTo>
                          <a:pt x="706199" y="80919"/>
                        </a:lnTo>
                        <a:lnTo>
                          <a:pt x="704178" y="79028"/>
                        </a:lnTo>
                        <a:lnTo>
                          <a:pt x="703420" y="79224"/>
                        </a:lnTo>
                        <a:lnTo>
                          <a:pt x="702360" y="80772"/>
                        </a:lnTo>
                        <a:lnTo>
                          <a:pt x="700095" y="83029"/>
                        </a:lnTo>
                        <a:lnTo>
                          <a:pt x="698685" y="85108"/>
                        </a:lnTo>
                        <a:lnTo>
                          <a:pt x="700315" y="86029"/>
                        </a:lnTo>
                        <a:lnTo>
                          <a:pt x="708220" y="85971"/>
                        </a:lnTo>
                        <a:lnTo>
                          <a:pt x="709948" y="86550"/>
                        </a:lnTo>
                        <a:lnTo>
                          <a:pt x="711953" y="88017"/>
                        </a:lnTo>
                        <a:lnTo>
                          <a:pt x="709662" y="90454"/>
                        </a:lnTo>
                        <a:lnTo>
                          <a:pt x="704316" y="94553"/>
                        </a:lnTo>
                        <a:lnTo>
                          <a:pt x="692744" y="102483"/>
                        </a:lnTo>
                        <a:lnTo>
                          <a:pt x="689353" y="104520"/>
                        </a:lnTo>
                        <a:lnTo>
                          <a:pt x="690184" y="105115"/>
                        </a:lnTo>
                        <a:lnTo>
                          <a:pt x="691464" y="105262"/>
                        </a:lnTo>
                        <a:lnTo>
                          <a:pt x="695433" y="104920"/>
                        </a:lnTo>
                        <a:lnTo>
                          <a:pt x="699133" y="103852"/>
                        </a:lnTo>
                        <a:lnTo>
                          <a:pt x="703648" y="104317"/>
                        </a:lnTo>
                        <a:lnTo>
                          <a:pt x="705653" y="105180"/>
                        </a:lnTo>
                        <a:lnTo>
                          <a:pt x="704968" y="106028"/>
                        </a:lnTo>
                        <a:lnTo>
                          <a:pt x="706191" y="107405"/>
                        </a:lnTo>
                        <a:lnTo>
                          <a:pt x="713558" y="110600"/>
                        </a:lnTo>
                        <a:lnTo>
                          <a:pt x="718212" y="109964"/>
                        </a:lnTo>
                        <a:lnTo>
                          <a:pt x="722971" y="106876"/>
                        </a:lnTo>
                        <a:lnTo>
                          <a:pt x="726646" y="105352"/>
                        </a:lnTo>
                        <a:lnTo>
                          <a:pt x="731170" y="105555"/>
                        </a:lnTo>
                        <a:lnTo>
                          <a:pt x="732433" y="105898"/>
                        </a:lnTo>
                        <a:lnTo>
                          <a:pt x="731952" y="106647"/>
                        </a:lnTo>
                        <a:lnTo>
                          <a:pt x="728611" y="108383"/>
                        </a:lnTo>
                        <a:lnTo>
                          <a:pt x="725587" y="110307"/>
                        </a:lnTo>
                        <a:lnTo>
                          <a:pt x="725261" y="110844"/>
                        </a:lnTo>
                        <a:lnTo>
                          <a:pt x="729026" y="110070"/>
                        </a:lnTo>
                        <a:lnTo>
                          <a:pt x="737412" y="111301"/>
                        </a:lnTo>
                        <a:lnTo>
                          <a:pt x="741487" y="111602"/>
                        </a:lnTo>
                        <a:lnTo>
                          <a:pt x="744446" y="111293"/>
                        </a:lnTo>
                        <a:lnTo>
                          <a:pt x="747216" y="111790"/>
                        </a:lnTo>
                        <a:lnTo>
                          <a:pt x="749800" y="113078"/>
                        </a:lnTo>
                        <a:lnTo>
                          <a:pt x="750672" y="113884"/>
                        </a:lnTo>
                        <a:lnTo>
                          <a:pt x="748243" y="114422"/>
                        </a:lnTo>
                        <a:lnTo>
                          <a:pt x="745961" y="114406"/>
                        </a:lnTo>
                        <a:lnTo>
                          <a:pt x="744014" y="115188"/>
                        </a:lnTo>
                        <a:lnTo>
                          <a:pt x="742416" y="116745"/>
                        </a:lnTo>
                        <a:lnTo>
                          <a:pt x="741267" y="118774"/>
                        </a:lnTo>
                        <a:lnTo>
                          <a:pt x="740591" y="121260"/>
                        </a:lnTo>
                        <a:lnTo>
                          <a:pt x="738847" y="122295"/>
                        </a:lnTo>
                        <a:lnTo>
                          <a:pt x="736051" y="121855"/>
                        </a:lnTo>
                        <a:lnTo>
                          <a:pt x="734959" y="121154"/>
                        </a:lnTo>
                        <a:lnTo>
                          <a:pt x="735562" y="120168"/>
                        </a:lnTo>
                        <a:lnTo>
                          <a:pt x="734747" y="120029"/>
                        </a:lnTo>
                        <a:lnTo>
                          <a:pt x="732514" y="120730"/>
                        </a:lnTo>
                        <a:lnTo>
                          <a:pt x="730770" y="120746"/>
                        </a:lnTo>
                        <a:lnTo>
                          <a:pt x="730298" y="121480"/>
                        </a:lnTo>
                        <a:lnTo>
                          <a:pt x="742506" y="129426"/>
                        </a:lnTo>
                        <a:lnTo>
                          <a:pt x="746410" y="136435"/>
                        </a:lnTo>
                        <a:lnTo>
                          <a:pt x="749099" y="139328"/>
                        </a:lnTo>
                        <a:lnTo>
                          <a:pt x="749360" y="140086"/>
                        </a:lnTo>
                        <a:lnTo>
                          <a:pt x="747616" y="142042"/>
                        </a:lnTo>
                        <a:lnTo>
                          <a:pt x="747526" y="143509"/>
                        </a:lnTo>
                        <a:lnTo>
                          <a:pt x="748325" y="147779"/>
                        </a:lnTo>
                        <a:lnTo>
                          <a:pt x="747958" y="151186"/>
                        </a:lnTo>
                        <a:lnTo>
                          <a:pt x="746752" y="157168"/>
                        </a:lnTo>
                        <a:lnTo>
                          <a:pt x="747877" y="159034"/>
                        </a:lnTo>
                        <a:lnTo>
                          <a:pt x="750485" y="160672"/>
                        </a:lnTo>
                        <a:lnTo>
                          <a:pt x="752049" y="162775"/>
                        </a:lnTo>
                        <a:lnTo>
                          <a:pt x="753109" y="163492"/>
                        </a:lnTo>
                        <a:lnTo>
                          <a:pt x="753907" y="165187"/>
                        </a:lnTo>
                        <a:lnTo>
                          <a:pt x="754836" y="166246"/>
                        </a:lnTo>
                        <a:lnTo>
                          <a:pt x="755904" y="166678"/>
                        </a:lnTo>
                        <a:lnTo>
                          <a:pt x="756654" y="166124"/>
                        </a:lnTo>
                        <a:lnTo>
                          <a:pt x="757086" y="164576"/>
                        </a:lnTo>
                        <a:lnTo>
                          <a:pt x="758088" y="163133"/>
                        </a:lnTo>
                        <a:lnTo>
                          <a:pt x="760843" y="160533"/>
                        </a:lnTo>
                        <a:lnTo>
                          <a:pt x="763516" y="156475"/>
                        </a:lnTo>
                        <a:lnTo>
                          <a:pt x="763964" y="155114"/>
                        </a:lnTo>
                        <a:lnTo>
                          <a:pt x="763540" y="151927"/>
                        </a:lnTo>
                        <a:lnTo>
                          <a:pt x="763850" y="150558"/>
                        </a:lnTo>
                        <a:lnTo>
                          <a:pt x="766360" y="145717"/>
                        </a:lnTo>
                        <a:lnTo>
                          <a:pt x="767159" y="142351"/>
                        </a:lnTo>
                        <a:lnTo>
                          <a:pt x="767917" y="137111"/>
                        </a:lnTo>
                        <a:lnTo>
                          <a:pt x="769245" y="133452"/>
                        </a:lnTo>
                        <a:lnTo>
                          <a:pt x="772089" y="130347"/>
                        </a:lnTo>
                        <a:lnTo>
                          <a:pt x="777053" y="124072"/>
                        </a:lnTo>
                        <a:lnTo>
                          <a:pt x="778845" y="122816"/>
                        </a:lnTo>
                        <a:lnTo>
                          <a:pt x="780858" y="122189"/>
                        </a:lnTo>
                        <a:lnTo>
                          <a:pt x="784371" y="122344"/>
                        </a:lnTo>
                        <a:lnTo>
                          <a:pt x="786930" y="124365"/>
                        </a:lnTo>
                        <a:lnTo>
                          <a:pt x="790386" y="128097"/>
                        </a:lnTo>
                        <a:lnTo>
                          <a:pt x="794770" y="131496"/>
                        </a:lnTo>
                        <a:lnTo>
                          <a:pt x="802757" y="136101"/>
                        </a:lnTo>
                        <a:lnTo>
                          <a:pt x="805039" y="137836"/>
                        </a:lnTo>
                        <a:lnTo>
                          <a:pt x="809562" y="142384"/>
                        </a:lnTo>
                        <a:lnTo>
                          <a:pt x="811469" y="146883"/>
                        </a:lnTo>
                        <a:lnTo>
                          <a:pt x="812781" y="153231"/>
                        </a:lnTo>
                        <a:lnTo>
                          <a:pt x="813906" y="157037"/>
                        </a:lnTo>
                        <a:lnTo>
                          <a:pt x="814859" y="158341"/>
                        </a:lnTo>
                        <a:lnTo>
                          <a:pt x="815291" y="160264"/>
                        </a:lnTo>
                        <a:lnTo>
                          <a:pt x="815210" y="162823"/>
                        </a:lnTo>
                        <a:lnTo>
                          <a:pt x="814851" y="164820"/>
                        </a:lnTo>
                        <a:lnTo>
                          <a:pt x="814223" y="166263"/>
                        </a:lnTo>
                        <a:lnTo>
                          <a:pt x="813246" y="167086"/>
                        </a:lnTo>
                        <a:lnTo>
                          <a:pt x="810809" y="167347"/>
                        </a:lnTo>
                        <a:lnTo>
                          <a:pt x="807826" y="166955"/>
                        </a:lnTo>
                        <a:lnTo>
                          <a:pt x="806962" y="166303"/>
                        </a:lnTo>
                        <a:lnTo>
                          <a:pt x="805397" y="163296"/>
                        </a:lnTo>
                        <a:lnTo>
                          <a:pt x="804745" y="163109"/>
                        </a:lnTo>
                        <a:lnTo>
                          <a:pt x="801983" y="165334"/>
                        </a:lnTo>
                        <a:lnTo>
                          <a:pt x="801640" y="166572"/>
                        </a:lnTo>
                        <a:lnTo>
                          <a:pt x="802651" y="170680"/>
                        </a:lnTo>
                        <a:lnTo>
                          <a:pt x="802521" y="178398"/>
                        </a:lnTo>
                        <a:lnTo>
                          <a:pt x="802798" y="180076"/>
                        </a:lnTo>
                        <a:lnTo>
                          <a:pt x="805723" y="188096"/>
                        </a:lnTo>
                        <a:lnTo>
                          <a:pt x="810654" y="194184"/>
                        </a:lnTo>
                        <a:lnTo>
                          <a:pt x="823009" y="205887"/>
                        </a:lnTo>
                        <a:lnTo>
                          <a:pt x="823710" y="207215"/>
                        </a:lnTo>
                        <a:lnTo>
                          <a:pt x="825022" y="211991"/>
                        </a:lnTo>
                        <a:lnTo>
                          <a:pt x="825666" y="212985"/>
                        </a:lnTo>
                        <a:lnTo>
                          <a:pt x="826473" y="213580"/>
                        </a:lnTo>
                        <a:lnTo>
                          <a:pt x="827451" y="213759"/>
                        </a:lnTo>
                        <a:lnTo>
                          <a:pt x="828779" y="213295"/>
                        </a:lnTo>
                        <a:lnTo>
                          <a:pt x="833318" y="209668"/>
                        </a:lnTo>
                        <a:lnTo>
                          <a:pt x="837271" y="205854"/>
                        </a:lnTo>
                        <a:lnTo>
                          <a:pt x="840026" y="203857"/>
                        </a:lnTo>
                        <a:lnTo>
                          <a:pt x="841590" y="203686"/>
                        </a:lnTo>
                        <a:lnTo>
                          <a:pt x="843269" y="202994"/>
                        </a:lnTo>
                        <a:lnTo>
                          <a:pt x="845078" y="201755"/>
                        </a:lnTo>
                        <a:lnTo>
                          <a:pt x="846276" y="200402"/>
                        </a:lnTo>
                        <a:lnTo>
                          <a:pt x="846880" y="198927"/>
                        </a:lnTo>
                        <a:lnTo>
                          <a:pt x="847703" y="193149"/>
                        </a:lnTo>
                        <a:lnTo>
                          <a:pt x="848395" y="190386"/>
                        </a:lnTo>
                        <a:lnTo>
                          <a:pt x="850319" y="186613"/>
                        </a:lnTo>
                        <a:lnTo>
                          <a:pt x="851020" y="185529"/>
                        </a:lnTo>
                        <a:lnTo>
                          <a:pt x="860571" y="175936"/>
                        </a:lnTo>
                        <a:lnTo>
                          <a:pt x="861361" y="174755"/>
                        </a:lnTo>
                        <a:lnTo>
                          <a:pt x="865428" y="163598"/>
                        </a:lnTo>
                        <a:lnTo>
                          <a:pt x="866854" y="158472"/>
                        </a:lnTo>
                        <a:lnTo>
                          <a:pt x="867058" y="155391"/>
                        </a:lnTo>
                        <a:lnTo>
                          <a:pt x="866512" y="152636"/>
                        </a:lnTo>
                        <a:lnTo>
                          <a:pt x="866789" y="150363"/>
                        </a:lnTo>
                        <a:lnTo>
                          <a:pt x="867881" y="148570"/>
                        </a:lnTo>
                        <a:lnTo>
                          <a:pt x="869039" y="147306"/>
                        </a:lnTo>
                        <a:lnTo>
                          <a:pt x="871035" y="146027"/>
                        </a:lnTo>
                        <a:lnTo>
                          <a:pt x="872144" y="144226"/>
                        </a:lnTo>
                        <a:lnTo>
                          <a:pt x="872812" y="144046"/>
                        </a:lnTo>
                        <a:lnTo>
                          <a:pt x="874450" y="144030"/>
                        </a:lnTo>
                        <a:lnTo>
                          <a:pt x="876602" y="145261"/>
                        </a:lnTo>
                        <a:lnTo>
                          <a:pt x="878166" y="145473"/>
                        </a:lnTo>
                        <a:lnTo>
                          <a:pt x="888272" y="144071"/>
                        </a:lnTo>
                        <a:lnTo>
                          <a:pt x="888280" y="143321"/>
                        </a:lnTo>
                        <a:lnTo>
                          <a:pt x="882347" y="140958"/>
                        </a:lnTo>
                        <a:lnTo>
                          <a:pt x="882404" y="139784"/>
                        </a:lnTo>
                        <a:lnTo>
                          <a:pt x="882926" y="138154"/>
                        </a:lnTo>
                        <a:lnTo>
                          <a:pt x="884784" y="136329"/>
                        </a:lnTo>
                        <a:lnTo>
                          <a:pt x="887074" y="135758"/>
                        </a:lnTo>
                        <a:lnTo>
                          <a:pt x="887579" y="134601"/>
                        </a:lnTo>
                        <a:lnTo>
                          <a:pt x="887653" y="133167"/>
                        </a:lnTo>
                        <a:lnTo>
                          <a:pt x="888410" y="130828"/>
                        </a:lnTo>
                        <a:lnTo>
                          <a:pt x="887718" y="129996"/>
                        </a:lnTo>
                        <a:lnTo>
                          <a:pt x="882176" y="126769"/>
                        </a:lnTo>
                        <a:lnTo>
                          <a:pt x="878973" y="126908"/>
                        </a:lnTo>
                        <a:lnTo>
                          <a:pt x="878158" y="126484"/>
                        </a:lnTo>
                        <a:lnTo>
                          <a:pt x="875395" y="123851"/>
                        </a:lnTo>
                        <a:lnTo>
                          <a:pt x="874385" y="120029"/>
                        </a:lnTo>
                        <a:lnTo>
                          <a:pt x="874279" y="118456"/>
                        </a:lnTo>
                        <a:lnTo>
                          <a:pt x="874662" y="115930"/>
                        </a:lnTo>
                        <a:lnTo>
                          <a:pt x="875012" y="115229"/>
                        </a:lnTo>
                        <a:lnTo>
                          <a:pt x="874841" y="114088"/>
                        </a:lnTo>
                        <a:lnTo>
                          <a:pt x="874148" y="112507"/>
                        </a:lnTo>
                        <a:lnTo>
                          <a:pt x="874091" y="111097"/>
                        </a:lnTo>
                        <a:lnTo>
                          <a:pt x="874670" y="109867"/>
                        </a:lnTo>
                        <a:lnTo>
                          <a:pt x="874320" y="108408"/>
                        </a:lnTo>
                        <a:lnTo>
                          <a:pt x="873032" y="106713"/>
                        </a:lnTo>
                        <a:lnTo>
                          <a:pt x="872527" y="105254"/>
                        </a:lnTo>
                        <a:lnTo>
                          <a:pt x="873880" y="100959"/>
                        </a:lnTo>
                        <a:lnTo>
                          <a:pt x="873929" y="99647"/>
                        </a:lnTo>
                        <a:lnTo>
                          <a:pt x="872649" y="97805"/>
                        </a:lnTo>
                        <a:lnTo>
                          <a:pt x="871728" y="97096"/>
                        </a:lnTo>
                        <a:lnTo>
                          <a:pt x="872404" y="96648"/>
                        </a:lnTo>
                        <a:lnTo>
                          <a:pt x="874686" y="96444"/>
                        </a:lnTo>
                        <a:lnTo>
                          <a:pt x="877425" y="97047"/>
                        </a:lnTo>
                        <a:lnTo>
                          <a:pt x="880603" y="98424"/>
                        </a:lnTo>
                        <a:lnTo>
                          <a:pt x="884499" y="98441"/>
                        </a:lnTo>
                        <a:lnTo>
                          <a:pt x="889103" y="97096"/>
                        </a:lnTo>
                        <a:lnTo>
                          <a:pt x="893789" y="96444"/>
                        </a:lnTo>
                        <a:lnTo>
                          <a:pt x="901882" y="96713"/>
                        </a:lnTo>
                        <a:lnTo>
                          <a:pt x="903797" y="97096"/>
                        </a:lnTo>
                        <a:lnTo>
                          <a:pt x="911849" y="101081"/>
                        </a:lnTo>
                        <a:lnTo>
                          <a:pt x="918092" y="103119"/>
                        </a:lnTo>
                        <a:lnTo>
                          <a:pt x="920912" y="102931"/>
                        </a:lnTo>
                        <a:lnTo>
                          <a:pt x="934807" y="103730"/>
                        </a:lnTo>
                        <a:lnTo>
                          <a:pt x="940903" y="103322"/>
                        </a:lnTo>
                        <a:lnTo>
                          <a:pt x="944065" y="103502"/>
                        </a:lnTo>
                        <a:lnTo>
                          <a:pt x="950120" y="105694"/>
                        </a:lnTo>
                        <a:lnTo>
                          <a:pt x="949713" y="107511"/>
                        </a:lnTo>
                        <a:lnTo>
                          <a:pt x="947105" y="110551"/>
                        </a:lnTo>
                        <a:lnTo>
                          <a:pt x="943690" y="111179"/>
                        </a:lnTo>
                        <a:lnTo>
                          <a:pt x="940675" y="112238"/>
                        </a:lnTo>
                        <a:lnTo>
                          <a:pt x="943470" y="113827"/>
                        </a:lnTo>
                        <a:lnTo>
                          <a:pt x="951718" y="115971"/>
                        </a:lnTo>
                        <a:lnTo>
                          <a:pt x="953641" y="119402"/>
                        </a:lnTo>
                        <a:lnTo>
                          <a:pt x="954236" y="120983"/>
                        </a:lnTo>
                        <a:lnTo>
                          <a:pt x="953274" y="122393"/>
                        </a:lnTo>
                        <a:lnTo>
                          <a:pt x="953755" y="123102"/>
                        </a:lnTo>
                        <a:lnTo>
                          <a:pt x="955662" y="123102"/>
                        </a:lnTo>
                        <a:lnTo>
                          <a:pt x="960593" y="121904"/>
                        </a:lnTo>
                        <a:lnTo>
                          <a:pt x="966037" y="122694"/>
                        </a:lnTo>
                        <a:lnTo>
                          <a:pt x="973975" y="125351"/>
                        </a:lnTo>
                        <a:lnTo>
                          <a:pt x="974830" y="125897"/>
                        </a:lnTo>
                        <a:lnTo>
                          <a:pt x="976216" y="127959"/>
                        </a:lnTo>
                        <a:lnTo>
                          <a:pt x="976045" y="128798"/>
                        </a:lnTo>
                        <a:lnTo>
                          <a:pt x="969036" y="133957"/>
                        </a:lnTo>
                        <a:lnTo>
                          <a:pt x="965385" y="135995"/>
                        </a:lnTo>
                        <a:lnTo>
                          <a:pt x="960593" y="138105"/>
                        </a:lnTo>
                        <a:lnTo>
                          <a:pt x="960438" y="139222"/>
                        </a:lnTo>
                        <a:lnTo>
                          <a:pt x="967161" y="139426"/>
                        </a:lnTo>
                        <a:lnTo>
                          <a:pt x="972394" y="140012"/>
                        </a:lnTo>
                        <a:lnTo>
                          <a:pt x="974749" y="140697"/>
                        </a:lnTo>
                        <a:lnTo>
                          <a:pt x="975987" y="141667"/>
                        </a:lnTo>
                        <a:lnTo>
                          <a:pt x="977667" y="143753"/>
                        </a:lnTo>
                        <a:lnTo>
                          <a:pt x="977935" y="145399"/>
                        </a:lnTo>
                        <a:lnTo>
                          <a:pt x="977772" y="147624"/>
                        </a:lnTo>
                        <a:lnTo>
                          <a:pt x="977218" y="149173"/>
                        </a:lnTo>
                        <a:lnTo>
                          <a:pt x="971130" y="153606"/>
                        </a:lnTo>
                        <a:lnTo>
                          <a:pt x="968335" y="154992"/>
                        </a:lnTo>
                        <a:lnTo>
                          <a:pt x="963576" y="156646"/>
                        </a:lnTo>
                        <a:lnTo>
                          <a:pt x="961514" y="157868"/>
                        </a:lnTo>
                        <a:lnTo>
                          <a:pt x="959240" y="157697"/>
                        </a:lnTo>
                        <a:lnTo>
                          <a:pt x="956762" y="156133"/>
                        </a:lnTo>
                        <a:lnTo>
                          <a:pt x="954179" y="155790"/>
                        </a:lnTo>
                        <a:lnTo>
                          <a:pt x="949542" y="157045"/>
                        </a:lnTo>
                        <a:lnTo>
                          <a:pt x="947023" y="156996"/>
                        </a:lnTo>
                        <a:lnTo>
                          <a:pt x="945785" y="157445"/>
                        </a:lnTo>
                        <a:lnTo>
                          <a:pt x="945687" y="158406"/>
                        </a:lnTo>
                        <a:lnTo>
                          <a:pt x="947887" y="161218"/>
                        </a:lnTo>
                        <a:lnTo>
                          <a:pt x="949159" y="162318"/>
                        </a:lnTo>
                        <a:lnTo>
                          <a:pt x="949656" y="163141"/>
                        </a:lnTo>
                        <a:lnTo>
                          <a:pt x="948719" y="164535"/>
                        </a:lnTo>
                        <a:lnTo>
                          <a:pt x="948914" y="164975"/>
                        </a:lnTo>
                        <a:lnTo>
                          <a:pt x="949664" y="165464"/>
                        </a:lnTo>
                        <a:lnTo>
                          <a:pt x="953877" y="171576"/>
                        </a:lnTo>
                        <a:lnTo>
                          <a:pt x="954774" y="172049"/>
                        </a:lnTo>
                        <a:lnTo>
                          <a:pt x="955646" y="171821"/>
                        </a:lnTo>
                        <a:lnTo>
                          <a:pt x="957471" y="170069"/>
                        </a:lnTo>
                        <a:lnTo>
                          <a:pt x="958555" y="169368"/>
                        </a:lnTo>
                        <a:lnTo>
                          <a:pt x="959085" y="169449"/>
                        </a:lnTo>
                        <a:lnTo>
                          <a:pt x="959069" y="170354"/>
                        </a:lnTo>
                        <a:lnTo>
                          <a:pt x="957121" y="175667"/>
                        </a:lnTo>
                        <a:lnTo>
                          <a:pt x="956860" y="177086"/>
                        </a:lnTo>
                        <a:lnTo>
                          <a:pt x="956909" y="178357"/>
                        </a:lnTo>
                        <a:lnTo>
                          <a:pt x="957846" y="181038"/>
                        </a:lnTo>
                        <a:lnTo>
                          <a:pt x="959981" y="183923"/>
                        </a:lnTo>
                        <a:lnTo>
                          <a:pt x="962638" y="186498"/>
                        </a:lnTo>
                        <a:lnTo>
                          <a:pt x="966624" y="189978"/>
                        </a:lnTo>
                        <a:lnTo>
                          <a:pt x="971978" y="193695"/>
                        </a:lnTo>
                        <a:lnTo>
                          <a:pt x="973975" y="195496"/>
                        </a:lnTo>
                        <a:lnTo>
                          <a:pt x="976900" y="199742"/>
                        </a:lnTo>
                        <a:lnTo>
                          <a:pt x="977503" y="201364"/>
                        </a:lnTo>
                        <a:lnTo>
                          <a:pt x="976729" y="205821"/>
                        </a:lnTo>
                        <a:lnTo>
                          <a:pt x="974594" y="213091"/>
                        </a:lnTo>
                        <a:lnTo>
                          <a:pt x="973225" y="217223"/>
                        </a:lnTo>
                        <a:lnTo>
                          <a:pt x="972606" y="218209"/>
                        </a:lnTo>
                        <a:lnTo>
                          <a:pt x="968571" y="221135"/>
                        </a:lnTo>
                        <a:lnTo>
                          <a:pt x="966289" y="221819"/>
                        </a:lnTo>
                        <a:lnTo>
                          <a:pt x="962508" y="221730"/>
                        </a:lnTo>
                        <a:lnTo>
                          <a:pt x="961245" y="222308"/>
                        </a:lnTo>
                        <a:lnTo>
                          <a:pt x="959272" y="224639"/>
                        </a:lnTo>
                        <a:lnTo>
                          <a:pt x="956591" y="228738"/>
                        </a:lnTo>
                        <a:lnTo>
                          <a:pt x="954472" y="231338"/>
                        </a:lnTo>
                        <a:lnTo>
                          <a:pt x="952932" y="232430"/>
                        </a:lnTo>
                        <a:lnTo>
                          <a:pt x="950104" y="233710"/>
                        </a:lnTo>
                        <a:lnTo>
                          <a:pt x="945662" y="237483"/>
                        </a:lnTo>
                        <a:lnTo>
                          <a:pt x="943487" y="238934"/>
                        </a:lnTo>
                        <a:lnTo>
                          <a:pt x="935858" y="240507"/>
                        </a:lnTo>
                        <a:lnTo>
                          <a:pt x="929664" y="245617"/>
                        </a:lnTo>
                        <a:lnTo>
                          <a:pt x="927195" y="247295"/>
                        </a:lnTo>
                        <a:lnTo>
                          <a:pt x="924514" y="248192"/>
                        </a:lnTo>
                        <a:lnTo>
                          <a:pt x="921621" y="248298"/>
                        </a:lnTo>
                        <a:lnTo>
                          <a:pt x="919958" y="247483"/>
                        </a:lnTo>
                        <a:lnTo>
                          <a:pt x="919005" y="244370"/>
                        </a:lnTo>
                        <a:lnTo>
                          <a:pt x="918450" y="243343"/>
                        </a:lnTo>
                        <a:lnTo>
                          <a:pt x="916258" y="241208"/>
                        </a:lnTo>
                        <a:lnTo>
                          <a:pt x="911776" y="235014"/>
                        </a:lnTo>
                        <a:lnTo>
                          <a:pt x="909836" y="232879"/>
                        </a:lnTo>
                        <a:lnTo>
                          <a:pt x="908557" y="232414"/>
                        </a:lnTo>
                        <a:lnTo>
                          <a:pt x="905965" y="232748"/>
                        </a:lnTo>
                        <a:lnTo>
                          <a:pt x="904637" y="232553"/>
                        </a:lnTo>
                        <a:lnTo>
                          <a:pt x="901744" y="230597"/>
                        </a:lnTo>
                        <a:lnTo>
                          <a:pt x="900708" y="229342"/>
                        </a:lnTo>
                        <a:lnTo>
                          <a:pt x="900839" y="228844"/>
                        </a:lnTo>
                        <a:lnTo>
                          <a:pt x="903031" y="228135"/>
                        </a:lnTo>
                        <a:lnTo>
                          <a:pt x="902094" y="227117"/>
                        </a:lnTo>
                        <a:lnTo>
                          <a:pt x="898231" y="224346"/>
                        </a:lnTo>
                        <a:lnTo>
                          <a:pt x="896634" y="222879"/>
                        </a:lnTo>
                        <a:lnTo>
                          <a:pt x="896438" y="222390"/>
                        </a:lnTo>
                        <a:lnTo>
                          <a:pt x="892616" y="220499"/>
                        </a:lnTo>
                        <a:lnTo>
                          <a:pt x="888818" y="219986"/>
                        </a:lnTo>
                        <a:lnTo>
                          <a:pt x="884002" y="223107"/>
                        </a:lnTo>
                        <a:lnTo>
                          <a:pt x="882168" y="225226"/>
                        </a:lnTo>
                        <a:lnTo>
                          <a:pt x="882233" y="225911"/>
                        </a:lnTo>
                        <a:lnTo>
                          <a:pt x="884531" y="226717"/>
                        </a:lnTo>
                        <a:lnTo>
                          <a:pt x="885534" y="226318"/>
                        </a:lnTo>
                        <a:lnTo>
                          <a:pt x="887490" y="224378"/>
                        </a:lnTo>
                        <a:lnTo>
                          <a:pt x="888525" y="223767"/>
                        </a:lnTo>
                        <a:lnTo>
                          <a:pt x="891491" y="224077"/>
                        </a:lnTo>
                        <a:lnTo>
                          <a:pt x="893952" y="225422"/>
                        </a:lnTo>
                        <a:lnTo>
                          <a:pt x="894849" y="226595"/>
                        </a:lnTo>
                        <a:lnTo>
                          <a:pt x="895175" y="227386"/>
                        </a:lnTo>
                        <a:lnTo>
                          <a:pt x="901882" y="233604"/>
                        </a:lnTo>
                        <a:lnTo>
                          <a:pt x="904262" y="234859"/>
                        </a:lnTo>
                        <a:lnTo>
                          <a:pt x="905248" y="236342"/>
                        </a:lnTo>
                        <a:lnTo>
                          <a:pt x="906006" y="238820"/>
                        </a:lnTo>
                        <a:lnTo>
                          <a:pt x="907456" y="241558"/>
                        </a:lnTo>
                        <a:lnTo>
                          <a:pt x="910676" y="246081"/>
                        </a:lnTo>
                        <a:lnTo>
                          <a:pt x="914107" y="251664"/>
                        </a:lnTo>
                        <a:lnTo>
                          <a:pt x="914808" y="253856"/>
                        </a:lnTo>
                        <a:lnTo>
                          <a:pt x="913039" y="254924"/>
                        </a:lnTo>
                        <a:lnTo>
                          <a:pt x="912151" y="255005"/>
                        </a:lnTo>
                        <a:lnTo>
                          <a:pt x="909502" y="254166"/>
                        </a:lnTo>
                        <a:lnTo>
                          <a:pt x="902526" y="251582"/>
                        </a:lnTo>
                        <a:lnTo>
                          <a:pt x="901752" y="251631"/>
                        </a:lnTo>
                        <a:lnTo>
                          <a:pt x="899910" y="253000"/>
                        </a:lnTo>
                        <a:lnTo>
                          <a:pt x="898402" y="256097"/>
                        </a:lnTo>
                        <a:lnTo>
                          <a:pt x="897921" y="256382"/>
                        </a:lnTo>
                        <a:lnTo>
                          <a:pt x="894213" y="255168"/>
                        </a:lnTo>
                        <a:lnTo>
                          <a:pt x="887261" y="252454"/>
                        </a:lnTo>
                        <a:lnTo>
                          <a:pt x="882600" y="250148"/>
                        </a:lnTo>
                        <a:lnTo>
                          <a:pt x="880236" y="248257"/>
                        </a:lnTo>
                        <a:lnTo>
                          <a:pt x="877384" y="245234"/>
                        </a:lnTo>
                        <a:lnTo>
                          <a:pt x="874018" y="241085"/>
                        </a:lnTo>
                        <a:lnTo>
                          <a:pt x="870017" y="239757"/>
                        </a:lnTo>
                        <a:lnTo>
                          <a:pt x="865347" y="241273"/>
                        </a:lnTo>
                        <a:lnTo>
                          <a:pt x="858623" y="241811"/>
                        </a:lnTo>
                        <a:lnTo>
                          <a:pt x="844483" y="241346"/>
                        </a:lnTo>
                        <a:lnTo>
                          <a:pt x="842625" y="241697"/>
                        </a:lnTo>
                        <a:lnTo>
                          <a:pt x="841908" y="242218"/>
                        </a:lnTo>
                        <a:lnTo>
                          <a:pt x="843106" y="244500"/>
                        </a:lnTo>
                        <a:lnTo>
                          <a:pt x="842821" y="245128"/>
                        </a:lnTo>
                        <a:lnTo>
                          <a:pt x="841876" y="245551"/>
                        </a:lnTo>
                        <a:lnTo>
                          <a:pt x="841664" y="246236"/>
                        </a:lnTo>
                        <a:lnTo>
                          <a:pt x="843196" y="248656"/>
                        </a:lnTo>
                        <a:lnTo>
                          <a:pt x="845682" y="250295"/>
                        </a:lnTo>
                        <a:lnTo>
                          <a:pt x="852723" y="252519"/>
                        </a:lnTo>
                        <a:lnTo>
                          <a:pt x="857376" y="254426"/>
                        </a:lnTo>
                        <a:lnTo>
                          <a:pt x="860172" y="256073"/>
                        </a:lnTo>
                        <a:lnTo>
                          <a:pt x="861076" y="257442"/>
                        </a:lnTo>
                        <a:lnTo>
                          <a:pt x="861215" y="258950"/>
                        </a:lnTo>
                        <a:lnTo>
                          <a:pt x="859886" y="261965"/>
                        </a:lnTo>
                        <a:lnTo>
                          <a:pt x="859120" y="263065"/>
                        </a:lnTo>
                        <a:lnTo>
                          <a:pt x="842772" y="278020"/>
                        </a:lnTo>
                        <a:lnTo>
                          <a:pt x="836546" y="284051"/>
                        </a:lnTo>
                        <a:lnTo>
                          <a:pt x="833375" y="287751"/>
                        </a:lnTo>
                        <a:lnTo>
                          <a:pt x="830580" y="290196"/>
                        </a:lnTo>
                        <a:lnTo>
                          <a:pt x="828160" y="291394"/>
                        </a:lnTo>
                        <a:lnTo>
                          <a:pt x="824150" y="292054"/>
                        </a:lnTo>
                        <a:lnTo>
                          <a:pt x="818567" y="292209"/>
                        </a:lnTo>
                        <a:lnTo>
                          <a:pt x="811330" y="291630"/>
                        </a:lnTo>
                        <a:lnTo>
                          <a:pt x="807581" y="289707"/>
                        </a:lnTo>
                        <a:lnTo>
                          <a:pt x="800793" y="284564"/>
                        </a:lnTo>
                        <a:lnTo>
                          <a:pt x="796033" y="281541"/>
                        </a:lnTo>
                        <a:lnTo>
                          <a:pt x="793906" y="280530"/>
                        </a:lnTo>
                        <a:lnTo>
                          <a:pt x="792138" y="277678"/>
                        </a:lnTo>
                        <a:lnTo>
                          <a:pt x="790532" y="277132"/>
                        </a:lnTo>
                        <a:lnTo>
                          <a:pt x="787118" y="276643"/>
                        </a:lnTo>
                        <a:lnTo>
                          <a:pt x="783605" y="275119"/>
                        </a:lnTo>
                        <a:lnTo>
                          <a:pt x="775358" y="269952"/>
                        </a:lnTo>
                        <a:lnTo>
                          <a:pt x="771079" y="267882"/>
                        </a:lnTo>
                        <a:lnTo>
                          <a:pt x="767191" y="266741"/>
                        </a:lnTo>
                        <a:lnTo>
                          <a:pt x="763695" y="266545"/>
                        </a:lnTo>
                        <a:lnTo>
                          <a:pt x="762367" y="266847"/>
                        </a:lnTo>
                        <a:lnTo>
                          <a:pt x="764755" y="269463"/>
                        </a:lnTo>
                        <a:lnTo>
                          <a:pt x="763711" y="269618"/>
                        </a:lnTo>
                        <a:lnTo>
                          <a:pt x="760892" y="269023"/>
                        </a:lnTo>
                        <a:lnTo>
                          <a:pt x="758080" y="269031"/>
                        </a:lnTo>
                        <a:lnTo>
                          <a:pt x="753133" y="267156"/>
                        </a:lnTo>
                        <a:lnTo>
                          <a:pt x="748251" y="267409"/>
                        </a:lnTo>
                        <a:lnTo>
                          <a:pt x="744723" y="267034"/>
                        </a:lnTo>
                        <a:lnTo>
                          <a:pt x="740501" y="265991"/>
                        </a:lnTo>
                        <a:lnTo>
                          <a:pt x="735937" y="265478"/>
                        </a:lnTo>
                        <a:lnTo>
                          <a:pt x="728602" y="265526"/>
                        </a:lnTo>
                        <a:lnTo>
                          <a:pt x="725970" y="265763"/>
                        </a:lnTo>
                        <a:lnTo>
                          <a:pt x="725579" y="266244"/>
                        </a:lnTo>
                        <a:lnTo>
                          <a:pt x="729108" y="268517"/>
                        </a:lnTo>
                        <a:lnTo>
                          <a:pt x="735155" y="271264"/>
                        </a:lnTo>
                        <a:lnTo>
                          <a:pt x="734348" y="268892"/>
                        </a:lnTo>
                        <a:lnTo>
                          <a:pt x="734568" y="268289"/>
                        </a:lnTo>
                        <a:lnTo>
                          <a:pt x="736581" y="267466"/>
                        </a:lnTo>
                        <a:lnTo>
                          <a:pt x="746173" y="268925"/>
                        </a:lnTo>
                        <a:lnTo>
                          <a:pt x="757045" y="271989"/>
                        </a:lnTo>
                        <a:lnTo>
                          <a:pt x="759800" y="272291"/>
                        </a:lnTo>
                        <a:lnTo>
                          <a:pt x="762864" y="273366"/>
                        </a:lnTo>
                        <a:lnTo>
                          <a:pt x="766238" y="275216"/>
                        </a:lnTo>
                        <a:lnTo>
                          <a:pt x="770891" y="278990"/>
                        </a:lnTo>
                        <a:lnTo>
                          <a:pt x="779783" y="287514"/>
                        </a:lnTo>
                        <a:lnTo>
                          <a:pt x="782643" y="289666"/>
                        </a:lnTo>
                        <a:lnTo>
                          <a:pt x="786425" y="291663"/>
                        </a:lnTo>
                        <a:lnTo>
                          <a:pt x="805683" y="294556"/>
                        </a:lnTo>
                        <a:lnTo>
                          <a:pt x="812333" y="294539"/>
                        </a:lnTo>
                        <a:lnTo>
                          <a:pt x="825666" y="295363"/>
                        </a:lnTo>
                        <a:lnTo>
                          <a:pt x="832707" y="296878"/>
                        </a:lnTo>
                        <a:lnTo>
                          <a:pt x="834704" y="298003"/>
                        </a:lnTo>
                        <a:lnTo>
                          <a:pt x="835315" y="301776"/>
                        </a:lnTo>
                        <a:lnTo>
                          <a:pt x="834679" y="303675"/>
                        </a:lnTo>
                        <a:lnTo>
                          <a:pt x="830849" y="309437"/>
                        </a:lnTo>
                        <a:lnTo>
                          <a:pt x="828429" y="313659"/>
                        </a:lnTo>
                        <a:lnTo>
                          <a:pt x="813433" y="331507"/>
                        </a:lnTo>
                        <a:lnTo>
                          <a:pt x="811485" y="335598"/>
                        </a:lnTo>
                        <a:lnTo>
                          <a:pt x="810646" y="338043"/>
                        </a:lnTo>
                        <a:lnTo>
                          <a:pt x="807965" y="340569"/>
                        </a:lnTo>
                        <a:lnTo>
                          <a:pt x="801184" y="344489"/>
                        </a:lnTo>
                        <a:lnTo>
                          <a:pt x="794387" y="347822"/>
                        </a:lnTo>
                        <a:lnTo>
                          <a:pt x="790304" y="348531"/>
                        </a:lnTo>
                        <a:lnTo>
                          <a:pt x="786669" y="347741"/>
                        </a:lnTo>
                        <a:lnTo>
                          <a:pt x="784306" y="346779"/>
                        </a:lnTo>
                        <a:lnTo>
                          <a:pt x="780810" y="343470"/>
                        </a:lnTo>
                        <a:lnTo>
                          <a:pt x="780590" y="343821"/>
                        </a:lnTo>
                        <a:lnTo>
                          <a:pt x="783116" y="348996"/>
                        </a:lnTo>
                        <a:lnTo>
                          <a:pt x="782521" y="349526"/>
                        </a:lnTo>
                        <a:lnTo>
                          <a:pt x="780459" y="348866"/>
                        </a:lnTo>
                        <a:lnTo>
                          <a:pt x="775773" y="346543"/>
                        </a:lnTo>
                        <a:lnTo>
                          <a:pt x="774257" y="346975"/>
                        </a:lnTo>
                        <a:lnTo>
                          <a:pt x="773361" y="347602"/>
                        </a:lnTo>
                        <a:lnTo>
                          <a:pt x="772114" y="347594"/>
                        </a:lnTo>
                        <a:lnTo>
                          <a:pt x="770508" y="346934"/>
                        </a:lnTo>
                        <a:lnTo>
                          <a:pt x="767607" y="345003"/>
                        </a:lnTo>
                        <a:lnTo>
                          <a:pt x="766833" y="344074"/>
                        </a:lnTo>
                        <a:lnTo>
                          <a:pt x="766140" y="341205"/>
                        </a:lnTo>
                        <a:lnTo>
                          <a:pt x="765659" y="340691"/>
                        </a:lnTo>
                        <a:lnTo>
                          <a:pt x="759946" y="342346"/>
                        </a:lnTo>
                        <a:lnTo>
                          <a:pt x="758993" y="342892"/>
                        </a:lnTo>
                        <a:lnTo>
                          <a:pt x="761340" y="344041"/>
                        </a:lnTo>
                        <a:lnTo>
                          <a:pt x="762122" y="344856"/>
                        </a:lnTo>
                        <a:lnTo>
                          <a:pt x="764437" y="349094"/>
                        </a:lnTo>
                        <a:lnTo>
                          <a:pt x="764559" y="349998"/>
                        </a:lnTo>
                        <a:lnTo>
                          <a:pt x="762921" y="350561"/>
                        </a:lnTo>
                        <a:lnTo>
                          <a:pt x="757461" y="348955"/>
                        </a:lnTo>
                        <a:lnTo>
                          <a:pt x="756809" y="349094"/>
                        </a:lnTo>
                        <a:lnTo>
                          <a:pt x="759498" y="353307"/>
                        </a:lnTo>
                        <a:lnTo>
                          <a:pt x="760533" y="355304"/>
                        </a:lnTo>
                        <a:lnTo>
                          <a:pt x="760639" y="356347"/>
                        </a:lnTo>
                        <a:lnTo>
                          <a:pt x="757143" y="361106"/>
                        </a:lnTo>
                        <a:lnTo>
                          <a:pt x="754893" y="363095"/>
                        </a:lnTo>
                        <a:lnTo>
                          <a:pt x="751829" y="363812"/>
                        </a:lnTo>
                        <a:lnTo>
                          <a:pt x="749906" y="363323"/>
                        </a:lnTo>
                        <a:lnTo>
                          <a:pt x="747746" y="362109"/>
                        </a:lnTo>
                        <a:lnTo>
                          <a:pt x="746181" y="362288"/>
                        </a:lnTo>
                        <a:lnTo>
                          <a:pt x="745228" y="363845"/>
                        </a:lnTo>
                        <a:lnTo>
                          <a:pt x="743443" y="364953"/>
                        </a:lnTo>
                        <a:lnTo>
                          <a:pt x="740843" y="365621"/>
                        </a:lnTo>
                        <a:lnTo>
                          <a:pt x="737526" y="365328"/>
                        </a:lnTo>
                        <a:lnTo>
                          <a:pt x="733492" y="364089"/>
                        </a:lnTo>
                        <a:lnTo>
                          <a:pt x="722816" y="359615"/>
                        </a:lnTo>
                        <a:lnTo>
                          <a:pt x="719450" y="358922"/>
                        </a:lnTo>
                        <a:lnTo>
                          <a:pt x="713208" y="358311"/>
                        </a:lnTo>
                        <a:lnTo>
                          <a:pt x="712466" y="357675"/>
                        </a:lnTo>
                        <a:lnTo>
                          <a:pt x="712515" y="357080"/>
                        </a:lnTo>
                        <a:lnTo>
                          <a:pt x="713370" y="356494"/>
                        </a:lnTo>
                        <a:lnTo>
                          <a:pt x="713142" y="356013"/>
                        </a:lnTo>
                        <a:lnTo>
                          <a:pt x="711814" y="355597"/>
                        </a:lnTo>
                        <a:lnTo>
                          <a:pt x="710437" y="355988"/>
                        </a:lnTo>
                        <a:lnTo>
                          <a:pt x="709019" y="357170"/>
                        </a:lnTo>
                        <a:lnTo>
                          <a:pt x="706533" y="357529"/>
                        </a:lnTo>
                        <a:lnTo>
                          <a:pt x="702980" y="357040"/>
                        </a:lnTo>
                        <a:lnTo>
                          <a:pt x="697731" y="355296"/>
                        </a:lnTo>
                        <a:lnTo>
                          <a:pt x="687308" y="350805"/>
                        </a:lnTo>
                        <a:lnTo>
                          <a:pt x="675915" y="347007"/>
                        </a:lnTo>
                        <a:lnTo>
                          <a:pt x="669305" y="342077"/>
                        </a:lnTo>
                        <a:lnTo>
                          <a:pt x="671774" y="346518"/>
                        </a:lnTo>
                        <a:lnTo>
                          <a:pt x="671571" y="348026"/>
                        </a:lnTo>
                        <a:lnTo>
                          <a:pt x="670307" y="349346"/>
                        </a:lnTo>
                        <a:lnTo>
                          <a:pt x="670095" y="350650"/>
                        </a:lnTo>
                        <a:lnTo>
                          <a:pt x="672687" y="353812"/>
                        </a:lnTo>
                        <a:lnTo>
                          <a:pt x="676265" y="354953"/>
                        </a:lnTo>
                        <a:lnTo>
                          <a:pt x="679867" y="354831"/>
                        </a:lnTo>
                        <a:lnTo>
                          <a:pt x="679965" y="354318"/>
                        </a:lnTo>
                        <a:lnTo>
                          <a:pt x="678465" y="353519"/>
                        </a:lnTo>
                        <a:lnTo>
                          <a:pt x="677137" y="352378"/>
                        </a:lnTo>
                        <a:lnTo>
                          <a:pt x="676509" y="350659"/>
                        </a:lnTo>
                        <a:lnTo>
                          <a:pt x="677186" y="350357"/>
                        </a:lnTo>
                        <a:lnTo>
                          <a:pt x="680364" y="351253"/>
                        </a:lnTo>
                        <a:lnTo>
                          <a:pt x="682459" y="352297"/>
                        </a:lnTo>
                        <a:lnTo>
                          <a:pt x="698253" y="358140"/>
                        </a:lnTo>
                        <a:lnTo>
                          <a:pt x="702963" y="359232"/>
                        </a:lnTo>
                        <a:lnTo>
                          <a:pt x="706500" y="360357"/>
                        </a:lnTo>
                        <a:lnTo>
                          <a:pt x="707478" y="361025"/>
                        </a:lnTo>
                        <a:lnTo>
                          <a:pt x="706288" y="362467"/>
                        </a:lnTo>
                        <a:lnTo>
                          <a:pt x="699940" y="366094"/>
                        </a:lnTo>
                        <a:lnTo>
                          <a:pt x="699842" y="366681"/>
                        </a:lnTo>
                        <a:lnTo>
                          <a:pt x="704194" y="366363"/>
                        </a:lnTo>
                        <a:lnTo>
                          <a:pt x="709467" y="363168"/>
                        </a:lnTo>
                        <a:lnTo>
                          <a:pt x="712442" y="361693"/>
                        </a:lnTo>
                        <a:lnTo>
                          <a:pt x="715302" y="360780"/>
                        </a:lnTo>
                        <a:lnTo>
                          <a:pt x="719157" y="362345"/>
                        </a:lnTo>
                        <a:lnTo>
                          <a:pt x="724039" y="366388"/>
                        </a:lnTo>
                        <a:lnTo>
                          <a:pt x="727983" y="368686"/>
                        </a:lnTo>
                        <a:lnTo>
                          <a:pt x="733614" y="369965"/>
                        </a:lnTo>
                        <a:lnTo>
                          <a:pt x="736915" y="371334"/>
                        </a:lnTo>
                        <a:lnTo>
                          <a:pt x="742457" y="375108"/>
                        </a:lnTo>
                        <a:lnTo>
                          <a:pt x="743337" y="377072"/>
                        </a:lnTo>
                        <a:lnTo>
                          <a:pt x="743851" y="385058"/>
                        </a:lnTo>
                        <a:lnTo>
                          <a:pt x="743655" y="386982"/>
                        </a:lnTo>
                        <a:lnTo>
                          <a:pt x="742930" y="388897"/>
                        </a:lnTo>
                        <a:lnTo>
                          <a:pt x="741691" y="390780"/>
                        </a:lnTo>
                        <a:lnTo>
                          <a:pt x="739368" y="391839"/>
                        </a:lnTo>
                        <a:lnTo>
                          <a:pt x="735986" y="392067"/>
                        </a:lnTo>
                        <a:lnTo>
                          <a:pt x="733329" y="392833"/>
                        </a:lnTo>
                        <a:lnTo>
                          <a:pt x="727510" y="397063"/>
                        </a:lnTo>
                        <a:lnTo>
                          <a:pt x="725041" y="397674"/>
                        </a:lnTo>
                        <a:lnTo>
                          <a:pt x="714609" y="396411"/>
                        </a:lnTo>
                        <a:lnTo>
                          <a:pt x="710526" y="395238"/>
                        </a:lnTo>
                        <a:lnTo>
                          <a:pt x="708644" y="395311"/>
                        </a:lnTo>
                        <a:lnTo>
                          <a:pt x="707601" y="396240"/>
                        </a:lnTo>
                        <a:lnTo>
                          <a:pt x="706509" y="396656"/>
                        </a:lnTo>
                        <a:lnTo>
                          <a:pt x="702417" y="397047"/>
                        </a:lnTo>
                        <a:lnTo>
                          <a:pt x="701749" y="397805"/>
                        </a:lnTo>
                        <a:lnTo>
                          <a:pt x="702002" y="398978"/>
                        </a:lnTo>
                        <a:lnTo>
                          <a:pt x="702817" y="400559"/>
                        </a:lnTo>
                        <a:lnTo>
                          <a:pt x="703803" y="401472"/>
                        </a:lnTo>
                        <a:lnTo>
                          <a:pt x="705343" y="402621"/>
                        </a:lnTo>
                        <a:lnTo>
                          <a:pt x="707674" y="403371"/>
                        </a:lnTo>
                        <a:lnTo>
                          <a:pt x="712466" y="404210"/>
                        </a:lnTo>
                        <a:lnTo>
                          <a:pt x="712963" y="406362"/>
                        </a:lnTo>
                        <a:lnTo>
                          <a:pt x="712751" y="407055"/>
                        </a:lnTo>
                        <a:lnTo>
                          <a:pt x="711178" y="408489"/>
                        </a:lnTo>
                        <a:lnTo>
                          <a:pt x="709361" y="408342"/>
                        </a:lnTo>
                        <a:lnTo>
                          <a:pt x="706239" y="406647"/>
                        </a:lnTo>
                        <a:lnTo>
                          <a:pt x="704691" y="406582"/>
                        </a:lnTo>
                        <a:lnTo>
                          <a:pt x="703338" y="407503"/>
                        </a:lnTo>
                        <a:lnTo>
                          <a:pt x="701456" y="407813"/>
                        </a:lnTo>
                        <a:lnTo>
                          <a:pt x="699035" y="407495"/>
                        </a:lnTo>
                        <a:lnTo>
                          <a:pt x="697699" y="408236"/>
                        </a:lnTo>
                        <a:lnTo>
                          <a:pt x="697430" y="410029"/>
                        </a:lnTo>
                        <a:lnTo>
                          <a:pt x="696615" y="411374"/>
                        </a:lnTo>
                        <a:lnTo>
                          <a:pt x="693828" y="413501"/>
                        </a:lnTo>
                        <a:lnTo>
                          <a:pt x="692328" y="415066"/>
                        </a:lnTo>
                        <a:lnTo>
                          <a:pt x="692377" y="416288"/>
                        </a:lnTo>
                        <a:lnTo>
                          <a:pt x="693982" y="417177"/>
                        </a:lnTo>
                        <a:lnTo>
                          <a:pt x="695808" y="419190"/>
                        </a:lnTo>
                        <a:lnTo>
                          <a:pt x="697878" y="422327"/>
                        </a:lnTo>
                        <a:lnTo>
                          <a:pt x="698277" y="423713"/>
                        </a:lnTo>
                        <a:lnTo>
                          <a:pt x="697006" y="423346"/>
                        </a:lnTo>
                        <a:lnTo>
                          <a:pt x="695303" y="422107"/>
                        </a:lnTo>
                        <a:lnTo>
                          <a:pt x="693151" y="419980"/>
                        </a:lnTo>
                        <a:lnTo>
                          <a:pt x="689899" y="418081"/>
                        </a:lnTo>
                        <a:lnTo>
                          <a:pt x="682744" y="415604"/>
                        </a:lnTo>
                        <a:lnTo>
                          <a:pt x="681481" y="415677"/>
                        </a:lnTo>
                        <a:lnTo>
                          <a:pt x="682125" y="416313"/>
                        </a:lnTo>
                        <a:lnTo>
                          <a:pt x="686876" y="418904"/>
                        </a:lnTo>
                        <a:lnTo>
                          <a:pt x="688693" y="420583"/>
                        </a:lnTo>
                        <a:lnTo>
                          <a:pt x="688913" y="421806"/>
                        </a:lnTo>
                        <a:lnTo>
                          <a:pt x="684936" y="424479"/>
                        </a:lnTo>
                        <a:lnTo>
                          <a:pt x="684830" y="425367"/>
                        </a:lnTo>
                        <a:lnTo>
                          <a:pt x="685882" y="426149"/>
                        </a:lnTo>
                        <a:lnTo>
                          <a:pt x="686167" y="426801"/>
                        </a:lnTo>
                        <a:lnTo>
                          <a:pt x="684757" y="428114"/>
                        </a:lnTo>
                        <a:lnTo>
                          <a:pt x="682418" y="429206"/>
                        </a:lnTo>
                        <a:lnTo>
                          <a:pt x="677895" y="429360"/>
                        </a:lnTo>
                        <a:lnTo>
                          <a:pt x="677487" y="429988"/>
                        </a:lnTo>
                        <a:lnTo>
                          <a:pt x="679215" y="431325"/>
                        </a:lnTo>
                        <a:lnTo>
                          <a:pt x="679785" y="432164"/>
                        </a:lnTo>
                        <a:lnTo>
                          <a:pt x="678310" y="433305"/>
                        </a:lnTo>
                        <a:lnTo>
                          <a:pt x="677349" y="433476"/>
                        </a:lnTo>
                        <a:lnTo>
                          <a:pt x="672141" y="432938"/>
                        </a:lnTo>
                        <a:lnTo>
                          <a:pt x="673510" y="435807"/>
                        </a:lnTo>
                        <a:lnTo>
                          <a:pt x="674317" y="436809"/>
                        </a:lnTo>
                        <a:lnTo>
                          <a:pt x="675906" y="438227"/>
                        </a:lnTo>
                        <a:lnTo>
                          <a:pt x="678775" y="439548"/>
                        </a:lnTo>
                        <a:lnTo>
                          <a:pt x="678832" y="440045"/>
                        </a:lnTo>
                        <a:lnTo>
                          <a:pt x="677838" y="441178"/>
                        </a:lnTo>
                        <a:lnTo>
                          <a:pt x="676143" y="442547"/>
                        </a:lnTo>
                        <a:lnTo>
                          <a:pt x="668971" y="446744"/>
                        </a:lnTo>
                        <a:lnTo>
                          <a:pt x="663934" y="451650"/>
                        </a:lnTo>
                        <a:lnTo>
                          <a:pt x="663234" y="453182"/>
                        </a:lnTo>
                        <a:lnTo>
                          <a:pt x="664521" y="456409"/>
                        </a:lnTo>
                        <a:lnTo>
                          <a:pt x="664529" y="457216"/>
                        </a:lnTo>
                        <a:lnTo>
                          <a:pt x="663209" y="458683"/>
                        </a:lnTo>
                        <a:lnTo>
                          <a:pt x="660259" y="458276"/>
                        </a:lnTo>
                        <a:lnTo>
                          <a:pt x="659705" y="458854"/>
                        </a:lnTo>
                        <a:lnTo>
                          <a:pt x="660397" y="460370"/>
                        </a:lnTo>
                        <a:lnTo>
                          <a:pt x="660528" y="462587"/>
                        </a:lnTo>
                        <a:lnTo>
                          <a:pt x="660088" y="465513"/>
                        </a:lnTo>
                        <a:lnTo>
                          <a:pt x="657944" y="470085"/>
                        </a:lnTo>
                        <a:lnTo>
                          <a:pt x="654114" y="476311"/>
                        </a:lnTo>
                        <a:lnTo>
                          <a:pt x="651172" y="481959"/>
                        </a:lnTo>
                        <a:lnTo>
                          <a:pt x="649134" y="487036"/>
                        </a:lnTo>
                        <a:lnTo>
                          <a:pt x="647659" y="489538"/>
                        </a:lnTo>
                        <a:lnTo>
                          <a:pt x="644937" y="489709"/>
                        </a:lnTo>
                        <a:lnTo>
                          <a:pt x="642884" y="491298"/>
                        </a:lnTo>
                        <a:lnTo>
                          <a:pt x="644277" y="492130"/>
                        </a:lnTo>
                        <a:lnTo>
                          <a:pt x="645133" y="493099"/>
                        </a:lnTo>
                        <a:lnTo>
                          <a:pt x="645728" y="494583"/>
                        </a:lnTo>
                        <a:lnTo>
                          <a:pt x="645141" y="499195"/>
                        </a:lnTo>
                        <a:lnTo>
                          <a:pt x="643381" y="506946"/>
                        </a:lnTo>
                        <a:lnTo>
                          <a:pt x="642623" y="511159"/>
                        </a:lnTo>
                        <a:lnTo>
                          <a:pt x="630700" y="511192"/>
                        </a:lnTo>
                        <a:lnTo>
                          <a:pt x="619535" y="511192"/>
                        </a:lnTo>
                        <a:lnTo>
                          <a:pt x="608378" y="511192"/>
                        </a:lnTo>
                        <a:lnTo>
                          <a:pt x="597221" y="511192"/>
                        </a:lnTo>
                        <a:lnTo>
                          <a:pt x="586064" y="511192"/>
                        </a:lnTo>
                        <a:lnTo>
                          <a:pt x="574907" y="511192"/>
                        </a:lnTo>
                        <a:lnTo>
                          <a:pt x="563750" y="511192"/>
                        </a:lnTo>
                        <a:lnTo>
                          <a:pt x="552585" y="511192"/>
                        </a:lnTo>
                        <a:lnTo>
                          <a:pt x="541427" y="511192"/>
                        </a:lnTo>
                        <a:lnTo>
                          <a:pt x="530262" y="511192"/>
                        </a:lnTo>
                        <a:lnTo>
                          <a:pt x="519105" y="511192"/>
                        </a:lnTo>
                        <a:lnTo>
                          <a:pt x="507940" y="511192"/>
                        </a:lnTo>
                        <a:lnTo>
                          <a:pt x="496783" y="511192"/>
                        </a:lnTo>
                        <a:lnTo>
                          <a:pt x="485626" y="511192"/>
                        </a:lnTo>
                        <a:lnTo>
                          <a:pt x="474469" y="511192"/>
                        </a:lnTo>
                        <a:lnTo>
                          <a:pt x="463312" y="511192"/>
                        </a:lnTo>
                        <a:lnTo>
                          <a:pt x="463304" y="501583"/>
                        </a:lnTo>
                        <a:lnTo>
                          <a:pt x="463296" y="491942"/>
                        </a:lnTo>
                        <a:lnTo>
                          <a:pt x="463288" y="482285"/>
                        </a:lnTo>
                        <a:lnTo>
                          <a:pt x="463280" y="472603"/>
                        </a:lnTo>
                        <a:lnTo>
                          <a:pt x="463280" y="462888"/>
                        </a:lnTo>
                        <a:lnTo>
                          <a:pt x="463272" y="453158"/>
                        </a:lnTo>
                        <a:lnTo>
                          <a:pt x="463272" y="443402"/>
                        </a:lnTo>
                        <a:lnTo>
                          <a:pt x="463263" y="433623"/>
                        </a:lnTo>
                        <a:lnTo>
                          <a:pt x="463255" y="423827"/>
                        </a:lnTo>
                        <a:lnTo>
                          <a:pt x="463247" y="413990"/>
                        </a:lnTo>
                        <a:lnTo>
                          <a:pt x="463247" y="404137"/>
                        </a:lnTo>
                        <a:lnTo>
                          <a:pt x="463239" y="394260"/>
                        </a:lnTo>
                        <a:lnTo>
                          <a:pt x="463231" y="384349"/>
                        </a:lnTo>
                        <a:lnTo>
                          <a:pt x="463223" y="374423"/>
                        </a:lnTo>
                        <a:lnTo>
                          <a:pt x="463223" y="364464"/>
                        </a:lnTo>
                        <a:lnTo>
                          <a:pt x="463214" y="354481"/>
                        </a:lnTo>
                        <a:lnTo>
                          <a:pt x="463687" y="344864"/>
                        </a:lnTo>
                        <a:lnTo>
                          <a:pt x="463369" y="338687"/>
                        </a:lnTo>
                        <a:lnTo>
                          <a:pt x="452563" y="337252"/>
                        </a:lnTo>
                        <a:lnTo>
                          <a:pt x="441748" y="335818"/>
                        </a:lnTo>
                        <a:lnTo>
                          <a:pt x="430942" y="334384"/>
                        </a:lnTo>
                        <a:lnTo>
                          <a:pt x="420135" y="332933"/>
                        </a:lnTo>
                        <a:lnTo>
                          <a:pt x="409320" y="331498"/>
                        </a:lnTo>
                        <a:lnTo>
                          <a:pt x="398514" y="330056"/>
                        </a:lnTo>
                        <a:lnTo>
                          <a:pt x="387699" y="328613"/>
                        </a:lnTo>
                        <a:lnTo>
                          <a:pt x="376884" y="327171"/>
                        </a:lnTo>
                        <a:lnTo>
                          <a:pt x="366086" y="325745"/>
                        </a:lnTo>
                        <a:lnTo>
                          <a:pt x="355271" y="324302"/>
                        </a:lnTo>
                        <a:lnTo>
                          <a:pt x="344457" y="322860"/>
                        </a:lnTo>
                        <a:lnTo>
                          <a:pt x="333650" y="321409"/>
                        </a:lnTo>
                        <a:lnTo>
                          <a:pt x="322844" y="319967"/>
                        </a:lnTo>
                        <a:lnTo>
                          <a:pt x="312029" y="318524"/>
                        </a:lnTo>
                        <a:lnTo>
                          <a:pt x="301214" y="317082"/>
                        </a:lnTo>
                        <a:lnTo>
                          <a:pt x="290408" y="315631"/>
                        </a:lnTo>
                        <a:lnTo>
                          <a:pt x="284401" y="314205"/>
                        </a:lnTo>
                        <a:lnTo>
                          <a:pt x="276928" y="310440"/>
                        </a:lnTo>
                        <a:lnTo>
                          <a:pt x="269781" y="304189"/>
                        </a:lnTo>
                        <a:lnTo>
                          <a:pt x="262625" y="297922"/>
                        </a:lnTo>
                        <a:lnTo>
                          <a:pt x="255478" y="291654"/>
                        </a:lnTo>
                        <a:lnTo>
                          <a:pt x="248331" y="285371"/>
                        </a:lnTo>
                        <a:lnTo>
                          <a:pt x="236953" y="285314"/>
                        </a:lnTo>
                        <a:lnTo>
                          <a:pt x="225576" y="285257"/>
                        </a:lnTo>
                        <a:lnTo>
                          <a:pt x="214208" y="285208"/>
                        </a:lnTo>
                        <a:lnTo>
                          <a:pt x="202831" y="285151"/>
                        </a:lnTo>
                        <a:lnTo>
                          <a:pt x="196498" y="281842"/>
                        </a:lnTo>
                        <a:lnTo>
                          <a:pt x="190158" y="278533"/>
                        </a:lnTo>
                        <a:lnTo>
                          <a:pt x="183825" y="275216"/>
                        </a:lnTo>
                        <a:lnTo>
                          <a:pt x="177493" y="271900"/>
                        </a:lnTo>
                        <a:lnTo>
                          <a:pt x="171153" y="268574"/>
                        </a:lnTo>
                        <a:lnTo>
                          <a:pt x="164820" y="265257"/>
                        </a:lnTo>
                        <a:lnTo>
                          <a:pt x="158488" y="261924"/>
                        </a:lnTo>
                        <a:lnTo>
                          <a:pt x="152147" y="258591"/>
                        </a:lnTo>
                        <a:lnTo>
                          <a:pt x="145815" y="255258"/>
                        </a:lnTo>
                        <a:lnTo>
                          <a:pt x="139475" y="251924"/>
                        </a:lnTo>
                        <a:lnTo>
                          <a:pt x="133142" y="248591"/>
                        </a:lnTo>
                        <a:lnTo>
                          <a:pt x="126802" y="245242"/>
                        </a:lnTo>
                        <a:lnTo>
                          <a:pt x="120469" y="241908"/>
                        </a:lnTo>
                        <a:lnTo>
                          <a:pt x="114137" y="238559"/>
                        </a:lnTo>
                        <a:lnTo>
                          <a:pt x="107797" y="235201"/>
                        </a:lnTo>
                        <a:lnTo>
                          <a:pt x="101456" y="231860"/>
                        </a:lnTo>
                        <a:lnTo>
                          <a:pt x="95132" y="228494"/>
                        </a:lnTo>
                        <a:lnTo>
                          <a:pt x="88791" y="225136"/>
                        </a:lnTo>
                        <a:lnTo>
                          <a:pt x="82459" y="221779"/>
                        </a:lnTo>
                        <a:lnTo>
                          <a:pt x="76118" y="218413"/>
                        </a:lnTo>
                        <a:lnTo>
                          <a:pt x="69786" y="215039"/>
                        </a:lnTo>
                        <a:lnTo>
                          <a:pt x="63454" y="211673"/>
                        </a:lnTo>
                        <a:lnTo>
                          <a:pt x="57113" y="208299"/>
                        </a:lnTo>
                        <a:lnTo>
                          <a:pt x="50781" y="204917"/>
                        </a:lnTo>
                        <a:lnTo>
                          <a:pt x="44441" y="201543"/>
                        </a:lnTo>
                        <a:lnTo>
                          <a:pt x="38108" y="198153"/>
                        </a:lnTo>
                        <a:lnTo>
                          <a:pt x="31776" y="194762"/>
                        </a:lnTo>
                        <a:lnTo>
                          <a:pt x="25435" y="191380"/>
                        </a:lnTo>
                        <a:lnTo>
                          <a:pt x="19103" y="187990"/>
                        </a:lnTo>
                        <a:lnTo>
                          <a:pt x="12771" y="184591"/>
                        </a:lnTo>
                        <a:lnTo>
                          <a:pt x="6430" y="181193"/>
                        </a:lnTo>
                        <a:lnTo>
                          <a:pt x="98" y="177786"/>
                        </a:lnTo>
                        <a:lnTo>
                          <a:pt x="90" y="168814"/>
                        </a:lnTo>
                        <a:lnTo>
                          <a:pt x="81" y="159816"/>
                        </a:lnTo>
                        <a:lnTo>
                          <a:pt x="65" y="150803"/>
                        </a:lnTo>
                        <a:lnTo>
                          <a:pt x="57" y="141765"/>
                        </a:lnTo>
                        <a:lnTo>
                          <a:pt x="49" y="132702"/>
                        </a:lnTo>
                        <a:lnTo>
                          <a:pt x="41" y="123615"/>
                        </a:lnTo>
                        <a:lnTo>
                          <a:pt x="0" y="109011"/>
                        </a:lnTo>
                        <a:lnTo>
                          <a:pt x="9649" y="115506"/>
                        </a:lnTo>
                        <a:lnTo>
                          <a:pt x="13439" y="117275"/>
                        </a:lnTo>
                        <a:lnTo>
                          <a:pt x="20562" y="118970"/>
                        </a:lnTo>
                        <a:lnTo>
                          <a:pt x="44970" y="122735"/>
                        </a:lnTo>
                        <a:lnTo>
                          <a:pt x="48043" y="123746"/>
                        </a:lnTo>
                        <a:lnTo>
                          <a:pt x="54473" y="127698"/>
                        </a:lnTo>
                        <a:lnTo>
                          <a:pt x="58898" y="130004"/>
                        </a:lnTo>
                        <a:lnTo>
                          <a:pt x="64155" y="132197"/>
                        </a:lnTo>
                        <a:lnTo>
                          <a:pt x="70723" y="134096"/>
                        </a:lnTo>
                        <a:lnTo>
                          <a:pt x="83600" y="136956"/>
                        </a:lnTo>
                        <a:lnTo>
                          <a:pt x="85686" y="137902"/>
                        </a:lnTo>
                        <a:lnTo>
                          <a:pt x="88042" y="138187"/>
                        </a:lnTo>
                        <a:lnTo>
                          <a:pt x="90682" y="137796"/>
                        </a:lnTo>
                        <a:lnTo>
                          <a:pt x="102483" y="139426"/>
                        </a:lnTo>
                        <a:lnTo>
                          <a:pt x="105588" y="139344"/>
                        </a:lnTo>
                        <a:lnTo>
                          <a:pt x="107837" y="139654"/>
                        </a:lnTo>
                        <a:lnTo>
                          <a:pt x="110600" y="140836"/>
                        </a:lnTo>
                        <a:lnTo>
                          <a:pt x="114651" y="141267"/>
                        </a:lnTo>
                        <a:lnTo>
                          <a:pt x="114504" y="140452"/>
                        </a:lnTo>
                        <a:lnTo>
                          <a:pt x="109875" y="135946"/>
                        </a:lnTo>
                        <a:lnTo>
                          <a:pt x="110087" y="135237"/>
                        </a:lnTo>
                        <a:lnTo>
                          <a:pt x="111985" y="135180"/>
                        </a:lnTo>
                        <a:lnTo>
                          <a:pt x="117707" y="135938"/>
                        </a:lnTo>
                        <a:lnTo>
                          <a:pt x="119019" y="134650"/>
                        </a:lnTo>
                        <a:lnTo>
                          <a:pt x="120926" y="134682"/>
                        </a:lnTo>
                        <a:lnTo>
                          <a:pt x="125270" y="135302"/>
                        </a:lnTo>
                        <a:lnTo>
                          <a:pt x="129956" y="136695"/>
                        </a:lnTo>
                        <a:lnTo>
                          <a:pt x="134976" y="138855"/>
                        </a:lnTo>
                        <a:lnTo>
                          <a:pt x="141080" y="140697"/>
                        </a:lnTo>
                        <a:lnTo>
                          <a:pt x="150346" y="145269"/>
                        </a:lnTo>
                        <a:lnTo>
                          <a:pt x="155456" y="149067"/>
                        </a:lnTo>
                        <a:lnTo>
                          <a:pt x="160313" y="153785"/>
                        </a:lnTo>
                        <a:lnTo>
                          <a:pt x="162970" y="157062"/>
                        </a:lnTo>
                        <a:lnTo>
                          <a:pt x="163443" y="158895"/>
                        </a:lnTo>
                        <a:lnTo>
                          <a:pt x="164453" y="159808"/>
                        </a:lnTo>
                        <a:lnTo>
                          <a:pt x="166018" y="159784"/>
                        </a:lnTo>
                        <a:lnTo>
                          <a:pt x="166605" y="160484"/>
                        </a:lnTo>
                        <a:lnTo>
                          <a:pt x="165203" y="164535"/>
                        </a:lnTo>
                        <a:lnTo>
                          <a:pt x="164405" y="165545"/>
                        </a:lnTo>
                        <a:lnTo>
                          <a:pt x="163345" y="166271"/>
                        </a:lnTo>
                        <a:lnTo>
                          <a:pt x="158912" y="167094"/>
                        </a:lnTo>
                        <a:lnTo>
                          <a:pt x="146744" y="166124"/>
                        </a:lnTo>
                        <a:lnTo>
                          <a:pt x="144584" y="169392"/>
                        </a:lnTo>
                        <a:lnTo>
                          <a:pt x="137771" y="172155"/>
                        </a:lnTo>
                        <a:lnTo>
                          <a:pt x="136565" y="173361"/>
                        </a:lnTo>
                        <a:lnTo>
                          <a:pt x="136288" y="174241"/>
                        </a:lnTo>
                        <a:lnTo>
                          <a:pt x="136777" y="177102"/>
                        </a:lnTo>
                        <a:lnTo>
                          <a:pt x="135921" y="177982"/>
                        </a:lnTo>
                        <a:lnTo>
                          <a:pt x="130331" y="181234"/>
                        </a:lnTo>
                        <a:lnTo>
                          <a:pt x="130151" y="182163"/>
                        </a:lnTo>
                        <a:lnTo>
                          <a:pt x="133770" y="183491"/>
                        </a:lnTo>
                        <a:lnTo>
                          <a:pt x="137625" y="185781"/>
                        </a:lnTo>
                        <a:lnTo>
                          <a:pt x="140648" y="186335"/>
                        </a:lnTo>
                        <a:lnTo>
                          <a:pt x="144470" y="186018"/>
                        </a:lnTo>
                        <a:lnTo>
                          <a:pt x="149287" y="186824"/>
                        </a:lnTo>
                        <a:lnTo>
                          <a:pt x="155081" y="188731"/>
                        </a:lnTo>
                        <a:lnTo>
                          <a:pt x="159099" y="189604"/>
                        </a:lnTo>
                        <a:lnTo>
                          <a:pt x="161365" y="189432"/>
                        </a:lnTo>
                        <a:lnTo>
                          <a:pt x="164453" y="189791"/>
                        </a:lnTo>
                        <a:lnTo>
                          <a:pt x="168374" y="190655"/>
                        </a:lnTo>
                        <a:lnTo>
                          <a:pt x="173614" y="190956"/>
                        </a:lnTo>
                        <a:lnTo>
                          <a:pt x="185195" y="190883"/>
                        </a:lnTo>
                        <a:lnTo>
                          <a:pt x="188666" y="191535"/>
                        </a:lnTo>
                        <a:lnTo>
                          <a:pt x="193515" y="191828"/>
                        </a:lnTo>
                        <a:lnTo>
                          <a:pt x="202855" y="191739"/>
                        </a:lnTo>
                        <a:lnTo>
                          <a:pt x="204534" y="191616"/>
                        </a:lnTo>
                        <a:lnTo>
                          <a:pt x="207533" y="190101"/>
                        </a:lnTo>
                        <a:lnTo>
                          <a:pt x="209456" y="189604"/>
                        </a:lnTo>
                        <a:lnTo>
                          <a:pt x="212814" y="189579"/>
                        </a:lnTo>
                        <a:lnTo>
                          <a:pt x="222504" y="188471"/>
                        </a:lnTo>
                        <a:lnTo>
                          <a:pt x="225854" y="188487"/>
                        </a:lnTo>
                        <a:lnTo>
                          <a:pt x="228950" y="187648"/>
                        </a:lnTo>
                        <a:lnTo>
                          <a:pt x="232919" y="185952"/>
                        </a:lnTo>
                        <a:lnTo>
                          <a:pt x="235364" y="185626"/>
                        </a:lnTo>
                        <a:lnTo>
                          <a:pt x="236285" y="186686"/>
                        </a:lnTo>
                        <a:lnTo>
                          <a:pt x="237964" y="187150"/>
                        </a:lnTo>
                        <a:lnTo>
                          <a:pt x="240376" y="187012"/>
                        </a:lnTo>
                        <a:lnTo>
                          <a:pt x="244973" y="185203"/>
                        </a:lnTo>
                        <a:lnTo>
                          <a:pt x="255706" y="179905"/>
                        </a:lnTo>
                        <a:lnTo>
                          <a:pt x="259569" y="179913"/>
                        </a:lnTo>
                        <a:lnTo>
                          <a:pt x="262405" y="178251"/>
                        </a:lnTo>
                        <a:lnTo>
                          <a:pt x="263098" y="178218"/>
                        </a:lnTo>
                        <a:lnTo>
                          <a:pt x="263880" y="178903"/>
                        </a:lnTo>
                        <a:lnTo>
                          <a:pt x="266504" y="182790"/>
                        </a:lnTo>
                        <a:lnTo>
                          <a:pt x="267311" y="183418"/>
                        </a:lnTo>
                        <a:lnTo>
                          <a:pt x="269121" y="183752"/>
                        </a:lnTo>
                        <a:lnTo>
                          <a:pt x="270881" y="185741"/>
                        </a:lnTo>
                        <a:lnTo>
                          <a:pt x="272723" y="188707"/>
                        </a:lnTo>
                        <a:lnTo>
                          <a:pt x="274100" y="189538"/>
                        </a:lnTo>
                        <a:lnTo>
                          <a:pt x="284165" y="189661"/>
                        </a:lnTo>
                        <a:lnTo>
                          <a:pt x="287718" y="190484"/>
                        </a:lnTo>
                        <a:lnTo>
                          <a:pt x="288794" y="191339"/>
                        </a:lnTo>
                        <a:lnTo>
                          <a:pt x="289878" y="193678"/>
                        </a:lnTo>
                        <a:lnTo>
                          <a:pt x="290538" y="198226"/>
                        </a:lnTo>
                        <a:lnTo>
                          <a:pt x="290978" y="199888"/>
                        </a:lnTo>
                        <a:lnTo>
                          <a:pt x="292445" y="202309"/>
                        </a:lnTo>
                        <a:lnTo>
                          <a:pt x="293407" y="203002"/>
                        </a:lnTo>
                        <a:lnTo>
                          <a:pt x="294319" y="202333"/>
                        </a:lnTo>
                        <a:lnTo>
                          <a:pt x="296805" y="196034"/>
                        </a:lnTo>
                        <a:lnTo>
                          <a:pt x="297669" y="195015"/>
                        </a:lnTo>
                        <a:lnTo>
                          <a:pt x="299323" y="195374"/>
                        </a:lnTo>
                        <a:lnTo>
                          <a:pt x="299829" y="195691"/>
                        </a:lnTo>
                        <a:lnTo>
                          <a:pt x="302347" y="200353"/>
                        </a:lnTo>
                        <a:lnTo>
                          <a:pt x="305933" y="203800"/>
                        </a:lnTo>
                        <a:lnTo>
                          <a:pt x="314816" y="210165"/>
                        </a:lnTo>
                        <a:lnTo>
                          <a:pt x="316259" y="212488"/>
                        </a:lnTo>
                        <a:lnTo>
                          <a:pt x="316788" y="214208"/>
                        </a:lnTo>
                        <a:lnTo>
                          <a:pt x="316283" y="215756"/>
                        </a:lnTo>
                        <a:lnTo>
                          <a:pt x="314751" y="217117"/>
                        </a:lnTo>
                        <a:lnTo>
                          <a:pt x="312347" y="218217"/>
                        </a:lnTo>
                        <a:lnTo>
                          <a:pt x="309062" y="219040"/>
                        </a:lnTo>
                        <a:lnTo>
                          <a:pt x="305998" y="218739"/>
                        </a:lnTo>
                        <a:lnTo>
                          <a:pt x="303154" y="217321"/>
                        </a:lnTo>
                        <a:lnTo>
                          <a:pt x="302233" y="217239"/>
                        </a:lnTo>
                        <a:lnTo>
                          <a:pt x="303243" y="218502"/>
                        </a:lnTo>
                        <a:lnTo>
                          <a:pt x="309128" y="223743"/>
                        </a:lnTo>
                        <a:lnTo>
                          <a:pt x="310635" y="225837"/>
                        </a:lnTo>
                        <a:lnTo>
                          <a:pt x="312021" y="227231"/>
                        </a:lnTo>
                        <a:lnTo>
                          <a:pt x="313308" y="227915"/>
                        </a:lnTo>
                        <a:lnTo>
                          <a:pt x="314498" y="229040"/>
                        </a:lnTo>
                        <a:lnTo>
                          <a:pt x="315582" y="230621"/>
                        </a:lnTo>
                        <a:lnTo>
                          <a:pt x="320472" y="234810"/>
                        </a:lnTo>
                        <a:lnTo>
                          <a:pt x="321857" y="236807"/>
                        </a:lnTo>
                        <a:lnTo>
                          <a:pt x="327432" y="243033"/>
                        </a:lnTo>
                        <a:lnTo>
                          <a:pt x="330072" y="245478"/>
                        </a:lnTo>
                        <a:lnTo>
                          <a:pt x="332118" y="246880"/>
                        </a:lnTo>
                        <a:lnTo>
                          <a:pt x="332900" y="247018"/>
                        </a:lnTo>
                        <a:lnTo>
                          <a:pt x="332444" y="245894"/>
                        </a:lnTo>
                        <a:lnTo>
                          <a:pt x="325346" y="237605"/>
                        </a:lnTo>
                        <a:lnTo>
                          <a:pt x="321719" y="232390"/>
                        </a:lnTo>
                        <a:lnTo>
                          <a:pt x="321214" y="231143"/>
                        </a:lnTo>
                        <a:lnTo>
                          <a:pt x="320977" y="229228"/>
                        </a:lnTo>
                        <a:lnTo>
                          <a:pt x="320839" y="222871"/>
                        </a:lnTo>
                        <a:lnTo>
                          <a:pt x="321360" y="221901"/>
                        </a:lnTo>
                        <a:lnTo>
                          <a:pt x="323813" y="221078"/>
                        </a:lnTo>
                        <a:lnTo>
                          <a:pt x="326959" y="223963"/>
                        </a:lnTo>
                        <a:lnTo>
                          <a:pt x="328149" y="224378"/>
                        </a:lnTo>
                        <a:lnTo>
                          <a:pt x="328948" y="224199"/>
                        </a:lnTo>
                        <a:lnTo>
                          <a:pt x="329372" y="223457"/>
                        </a:lnTo>
                        <a:lnTo>
                          <a:pt x="331181" y="224142"/>
                        </a:lnTo>
                        <a:lnTo>
                          <a:pt x="334375" y="226269"/>
                        </a:lnTo>
                        <a:lnTo>
                          <a:pt x="335451" y="226302"/>
                        </a:lnTo>
                        <a:lnTo>
                          <a:pt x="333047" y="222235"/>
                        </a:lnTo>
                        <a:lnTo>
                          <a:pt x="331319" y="220246"/>
                        </a:lnTo>
                        <a:lnTo>
                          <a:pt x="330716" y="218853"/>
                        </a:lnTo>
                        <a:lnTo>
                          <a:pt x="332322" y="216767"/>
                        </a:lnTo>
                        <a:lnTo>
                          <a:pt x="331442" y="215707"/>
                        </a:lnTo>
                        <a:lnTo>
                          <a:pt x="327375" y="212635"/>
                        </a:lnTo>
                        <a:lnTo>
                          <a:pt x="325264" y="209440"/>
                        </a:lnTo>
                        <a:lnTo>
                          <a:pt x="323365" y="204607"/>
                        </a:lnTo>
                        <a:lnTo>
                          <a:pt x="323202" y="202733"/>
                        </a:lnTo>
                        <a:lnTo>
                          <a:pt x="323512" y="200736"/>
                        </a:lnTo>
                        <a:lnTo>
                          <a:pt x="323218" y="199139"/>
                        </a:lnTo>
                        <a:lnTo>
                          <a:pt x="320659" y="195862"/>
                        </a:lnTo>
                        <a:lnTo>
                          <a:pt x="317880" y="193589"/>
                        </a:lnTo>
                        <a:lnTo>
                          <a:pt x="315680" y="190956"/>
                        </a:lnTo>
                        <a:lnTo>
                          <a:pt x="315224" y="189563"/>
                        </a:lnTo>
                        <a:lnTo>
                          <a:pt x="315566" y="185806"/>
                        </a:lnTo>
                        <a:lnTo>
                          <a:pt x="317245" y="184160"/>
                        </a:lnTo>
                        <a:lnTo>
                          <a:pt x="320415" y="181959"/>
                        </a:lnTo>
                        <a:lnTo>
                          <a:pt x="321271" y="179702"/>
                        </a:lnTo>
                        <a:lnTo>
                          <a:pt x="319804" y="177363"/>
                        </a:lnTo>
                        <a:lnTo>
                          <a:pt x="319543" y="176303"/>
                        </a:lnTo>
                        <a:lnTo>
                          <a:pt x="320464" y="176507"/>
                        </a:lnTo>
                        <a:lnTo>
                          <a:pt x="326706" y="175333"/>
                        </a:lnTo>
                        <a:lnTo>
                          <a:pt x="328271" y="175749"/>
                        </a:lnTo>
                        <a:lnTo>
                          <a:pt x="330635" y="175244"/>
                        </a:lnTo>
                        <a:lnTo>
                          <a:pt x="333780" y="173826"/>
                        </a:lnTo>
                        <a:lnTo>
                          <a:pt x="336250" y="173182"/>
                        </a:lnTo>
                        <a:lnTo>
                          <a:pt x="339493" y="173280"/>
                        </a:lnTo>
                        <a:lnTo>
                          <a:pt x="341262" y="172937"/>
                        </a:lnTo>
                        <a:lnTo>
                          <a:pt x="343413" y="172302"/>
                        </a:lnTo>
                        <a:lnTo>
                          <a:pt x="344530" y="171593"/>
                        </a:lnTo>
                        <a:lnTo>
                          <a:pt x="346510" y="168887"/>
                        </a:lnTo>
                        <a:lnTo>
                          <a:pt x="347570" y="168496"/>
                        </a:lnTo>
                        <a:lnTo>
                          <a:pt x="350870" y="168781"/>
                        </a:lnTo>
                        <a:lnTo>
                          <a:pt x="352745" y="169376"/>
                        </a:lnTo>
                        <a:lnTo>
                          <a:pt x="353625" y="169164"/>
                        </a:lnTo>
                        <a:lnTo>
                          <a:pt x="353487" y="165317"/>
                        </a:lnTo>
                        <a:lnTo>
                          <a:pt x="354114" y="163981"/>
                        </a:lnTo>
                        <a:lnTo>
                          <a:pt x="357415" y="161185"/>
                        </a:lnTo>
                        <a:lnTo>
                          <a:pt x="360870" y="160884"/>
                        </a:lnTo>
                        <a:lnTo>
                          <a:pt x="363168" y="160126"/>
                        </a:lnTo>
                        <a:lnTo>
                          <a:pt x="365801" y="158553"/>
                        </a:lnTo>
                        <a:lnTo>
                          <a:pt x="367683" y="157159"/>
                        </a:lnTo>
                        <a:lnTo>
                          <a:pt x="369574" y="154910"/>
                        </a:lnTo>
                        <a:lnTo>
                          <a:pt x="370340" y="152025"/>
                        </a:lnTo>
                        <a:lnTo>
                          <a:pt x="369737" y="151194"/>
                        </a:lnTo>
                        <a:lnTo>
                          <a:pt x="365825" y="150077"/>
                        </a:lnTo>
                        <a:lnTo>
                          <a:pt x="363470" y="150664"/>
                        </a:lnTo>
                        <a:lnTo>
                          <a:pt x="358262" y="152710"/>
                        </a:lnTo>
                        <a:lnTo>
                          <a:pt x="352778" y="155342"/>
                        </a:lnTo>
                        <a:lnTo>
                          <a:pt x="350667" y="157795"/>
                        </a:lnTo>
                        <a:lnTo>
                          <a:pt x="350088" y="160925"/>
                        </a:lnTo>
                        <a:lnTo>
                          <a:pt x="349053" y="162310"/>
                        </a:lnTo>
                        <a:lnTo>
                          <a:pt x="344783" y="161006"/>
                        </a:lnTo>
                        <a:lnTo>
                          <a:pt x="342965" y="161022"/>
                        </a:lnTo>
                        <a:lnTo>
                          <a:pt x="340683" y="161568"/>
                        </a:lnTo>
                        <a:lnTo>
                          <a:pt x="338263" y="162775"/>
                        </a:lnTo>
                        <a:lnTo>
                          <a:pt x="335712" y="164633"/>
                        </a:lnTo>
                        <a:lnTo>
                          <a:pt x="331947" y="164975"/>
                        </a:lnTo>
                        <a:lnTo>
                          <a:pt x="326959" y="163785"/>
                        </a:lnTo>
                        <a:lnTo>
                          <a:pt x="323976" y="163459"/>
                        </a:lnTo>
                        <a:lnTo>
                          <a:pt x="320953" y="165448"/>
                        </a:lnTo>
                        <a:lnTo>
                          <a:pt x="321132" y="166915"/>
                        </a:lnTo>
                        <a:lnTo>
                          <a:pt x="322534" y="169058"/>
                        </a:lnTo>
                        <a:lnTo>
                          <a:pt x="321132" y="170338"/>
                        </a:lnTo>
                        <a:lnTo>
                          <a:pt x="313863" y="170810"/>
                        </a:lnTo>
                        <a:lnTo>
                          <a:pt x="311947" y="170533"/>
                        </a:lnTo>
                        <a:lnTo>
                          <a:pt x="308068" y="171373"/>
                        </a:lnTo>
                        <a:lnTo>
                          <a:pt x="306536" y="171201"/>
                        </a:lnTo>
                        <a:lnTo>
                          <a:pt x="305411" y="170166"/>
                        </a:lnTo>
                        <a:lnTo>
                          <a:pt x="297506" y="165814"/>
                        </a:lnTo>
                        <a:lnTo>
                          <a:pt x="296724" y="164926"/>
                        </a:lnTo>
                        <a:lnTo>
                          <a:pt x="298639" y="161389"/>
                        </a:lnTo>
                        <a:lnTo>
                          <a:pt x="305965" y="151781"/>
                        </a:lnTo>
                        <a:lnTo>
                          <a:pt x="306764" y="151210"/>
                        </a:lnTo>
                        <a:lnTo>
                          <a:pt x="320333" y="149531"/>
                        </a:lnTo>
                        <a:lnTo>
                          <a:pt x="328524" y="147787"/>
                        </a:lnTo>
                        <a:lnTo>
                          <a:pt x="343544" y="142474"/>
                        </a:lnTo>
                        <a:lnTo>
                          <a:pt x="346445" y="142042"/>
                        </a:lnTo>
                        <a:lnTo>
                          <a:pt x="356103" y="138513"/>
                        </a:lnTo>
                        <a:lnTo>
                          <a:pt x="360063" y="137624"/>
                        </a:lnTo>
                        <a:lnTo>
                          <a:pt x="363755" y="138236"/>
                        </a:lnTo>
                        <a:lnTo>
                          <a:pt x="369158" y="140045"/>
                        </a:lnTo>
                        <a:lnTo>
                          <a:pt x="371938" y="141659"/>
                        </a:lnTo>
                        <a:lnTo>
                          <a:pt x="373910" y="143672"/>
                        </a:lnTo>
                        <a:lnTo>
                          <a:pt x="375548" y="146475"/>
                        </a:lnTo>
                        <a:lnTo>
                          <a:pt x="377610" y="152644"/>
                        </a:lnTo>
                        <a:lnTo>
                          <a:pt x="378319" y="157901"/>
                        </a:lnTo>
                        <a:lnTo>
                          <a:pt x="379582" y="159841"/>
                        </a:lnTo>
                        <a:lnTo>
                          <a:pt x="384113" y="163492"/>
                        </a:lnTo>
                        <a:lnTo>
                          <a:pt x="386428" y="164910"/>
                        </a:lnTo>
                        <a:lnTo>
                          <a:pt x="387862" y="165342"/>
                        </a:lnTo>
                        <a:lnTo>
                          <a:pt x="389101" y="164494"/>
                        </a:lnTo>
                        <a:lnTo>
                          <a:pt x="389940" y="164356"/>
                        </a:lnTo>
                        <a:lnTo>
                          <a:pt x="390511" y="164690"/>
                        </a:lnTo>
                        <a:lnTo>
                          <a:pt x="391130" y="166980"/>
                        </a:lnTo>
                        <a:lnTo>
                          <a:pt x="391937" y="167208"/>
                        </a:lnTo>
                        <a:lnTo>
                          <a:pt x="394659" y="166931"/>
                        </a:lnTo>
                        <a:lnTo>
                          <a:pt x="397544" y="167868"/>
                        </a:lnTo>
                        <a:lnTo>
                          <a:pt x="397960" y="168577"/>
                        </a:lnTo>
                        <a:lnTo>
                          <a:pt x="397348" y="171430"/>
                        </a:lnTo>
                        <a:lnTo>
                          <a:pt x="398171" y="172611"/>
                        </a:lnTo>
                        <a:lnTo>
                          <a:pt x="401668" y="175162"/>
                        </a:lnTo>
                        <a:lnTo>
                          <a:pt x="405050" y="176116"/>
                        </a:lnTo>
                        <a:lnTo>
                          <a:pt x="408945" y="176548"/>
                        </a:lnTo>
                        <a:lnTo>
                          <a:pt x="416191" y="176116"/>
                        </a:lnTo>
                        <a:lnTo>
                          <a:pt x="422254" y="174893"/>
                        </a:lnTo>
                        <a:lnTo>
                          <a:pt x="426785" y="172897"/>
                        </a:lnTo>
                        <a:lnTo>
                          <a:pt x="430534" y="175130"/>
                        </a:lnTo>
                        <a:lnTo>
                          <a:pt x="438007" y="180508"/>
                        </a:lnTo>
                        <a:lnTo>
                          <a:pt x="442482" y="184314"/>
                        </a:lnTo>
                        <a:lnTo>
                          <a:pt x="446190" y="186115"/>
                        </a:lnTo>
                        <a:lnTo>
                          <a:pt x="453704" y="188251"/>
                        </a:lnTo>
                        <a:lnTo>
                          <a:pt x="455407" y="189408"/>
                        </a:lnTo>
                        <a:lnTo>
                          <a:pt x="458153" y="189538"/>
                        </a:lnTo>
                        <a:lnTo>
                          <a:pt x="461935" y="188642"/>
                        </a:lnTo>
                        <a:lnTo>
                          <a:pt x="466238" y="188984"/>
                        </a:lnTo>
                        <a:lnTo>
                          <a:pt x="471071" y="190581"/>
                        </a:lnTo>
                        <a:lnTo>
                          <a:pt x="474388" y="191258"/>
                        </a:lnTo>
                        <a:lnTo>
                          <a:pt x="485765" y="188251"/>
                        </a:lnTo>
                        <a:lnTo>
                          <a:pt x="487501" y="188104"/>
                        </a:lnTo>
                        <a:lnTo>
                          <a:pt x="491739" y="186653"/>
                        </a:lnTo>
                        <a:lnTo>
                          <a:pt x="494461" y="186221"/>
                        </a:lnTo>
                        <a:lnTo>
                          <a:pt x="497680" y="186254"/>
                        </a:lnTo>
                        <a:lnTo>
                          <a:pt x="500068" y="185814"/>
                        </a:lnTo>
                        <a:lnTo>
                          <a:pt x="501640" y="184893"/>
                        </a:lnTo>
                        <a:lnTo>
                          <a:pt x="507680" y="184934"/>
                        </a:lnTo>
                        <a:lnTo>
                          <a:pt x="518592" y="185969"/>
                        </a:lnTo>
                        <a:lnTo>
                          <a:pt x="526041" y="187305"/>
                        </a:lnTo>
                        <a:lnTo>
                          <a:pt x="530482" y="188984"/>
                        </a:lnTo>
                        <a:lnTo>
                          <a:pt x="534117" y="189930"/>
                        </a:lnTo>
                        <a:lnTo>
                          <a:pt x="536962" y="190133"/>
                        </a:lnTo>
                        <a:lnTo>
                          <a:pt x="539732" y="189832"/>
                        </a:lnTo>
                        <a:lnTo>
                          <a:pt x="542422" y="189025"/>
                        </a:lnTo>
                        <a:lnTo>
                          <a:pt x="545274" y="187493"/>
                        </a:lnTo>
                        <a:lnTo>
                          <a:pt x="551329" y="186702"/>
                        </a:lnTo>
                        <a:lnTo>
                          <a:pt x="552340" y="186303"/>
                        </a:lnTo>
                        <a:lnTo>
                          <a:pt x="552218" y="185463"/>
                        </a:lnTo>
                        <a:lnTo>
                          <a:pt x="550955" y="184184"/>
                        </a:lnTo>
                        <a:lnTo>
                          <a:pt x="547515" y="181763"/>
                        </a:lnTo>
                        <a:lnTo>
                          <a:pt x="545111" y="179400"/>
                        </a:lnTo>
                        <a:lnTo>
                          <a:pt x="544647" y="177900"/>
                        </a:lnTo>
                        <a:lnTo>
                          <a:pt x="544704" y="176083"/>
                        </a:lnTo>
                        <a:lnTo>
                          <a:pt x="545453" y="175032"/>
                        </a:lnTo>
                        <a:lnTo>
                          <a:pt x="546896" y="174747"/>
                        </a:lnTo>
                        <a:lnTo>
                          <a:pt x="549178" y="175871"/>
                        </a:lnTo>
                        <a:lnTo>
                          <a:pt x="552275" y="178414"/>
                        </a:lnTo>
                        <a:lnTo>
                          <a:pt x="561011" y="187925"/>
                        </a:lnTo>
                        <a:lnTo>
                          <a:pt x="563114" y="189278"/>
                        </a:lnTo>
                        <a:lnTo>
                          <a:pt x="564279" y="190484"/>
                        </a:lnTo>
                        <a:lnTo>
                          <a:pt x="572299" y="193947"/>
                        </a:lnTo>
                        <a:lnTo>
                          <a:pt x="576080" y="194550"/>
                        </a:lnTo>
                        <a:lnTo>
                          <a:pt x="580563" y="192423"/>
                        </a:lnTo>
                        <a:lnTo>
                          <a:pt x="582543" y="191095"/>
                        </a:lnTo>
                        <a:lnTo>
                          <a:pt x="583513" y="189807"/>
                        </a:lnTo>
                        <a:lnTo>
                          <a:pt x="583464" y="188577"/>
                        </a:lnTo>
                        <a:lnTo>
                          <a:pt x="583896" y="186776"/>
                        </a:lnTo>
                        <a:lnTo>
                          <a:pt x="583448" y="185659"/>
                        </a:lnTo>
                        <a:lnTo>
                          <a:pt x="582241" y="184217"/>
                        </a:lnTo>
                        <a:lnTo>
                          <a:pt x="579030" y="182212"/>
                        </a:lnTo>
                        <a:lnTo>
                          <a:pt x="573806" y="179620"/>
                        </a:lnTo>
                        <a:lnTo>
                          <a:pt x="569031" y="178862"/>
                        </a:lnTo>
                        <a:lnTo>
                          <a:pt x="564711" y="179930"/>
                        </a:lnTo>
                        <a:lnTo>
                          <a:pt x="559821" y="182130"/>
                        </a:lnTo>
                        <a:lnTo>
                          <a:pt x="557792" y="181266"/>
                        </a:lnTo>
                        <a:lnTo>
                          <a:pt x="551688" y="175089"/>
                        </a:lnTo>
                        <a:lnTo>
                          <a:pt x="550156" y="172782"/>
                        </a:lnTo>
                        <a:lnTo>
                          <a:pt x="550156" y="172139"/>
                        </a:lnTo>
                        <a:lnTo>
                          <a:pt x="552984" y="172880"/>
                        </a:lnTo>
                        <a:lnTo>
                          <a:pt x="553114" y="172130"/>
                        </a:lnTo>
                        <a:lnTo>
                          <a:pt x="551419" y="169156"/>
                        </a:lnTo>
                        <a:lnTo>
                          <a:pt x="550376" y="168162"/>
                        </a:lnTo>
                        <a:lnTo>
                          <a:pt x="546863" y="163459"/>
                        </a:lnTo>
                        <a:lnTo>
                          <a:pt x="546431" y="162041"/>
                        </a:lnTo>
                        <a:lnTo>
                          <a:pt x="548616" y="161723"/>
                        </a:lnTo>
                        <a:lnTo>
                          <a:pt x="549610" y="161169"/>
                        </a:lnTo>
                        <a:lnTo>
                          <a:pt x="550938" y="161226"/>
                        </a:lnTo>
                        <a:lnTo>
                          <a:pt x="557140" y="164054"/>
                        </a:lnTo>
                        <a:lnTo>
                          <a:pt x="560319" y="162791"/>
                        </a:lnTo>
                        <a:lnTo>
                          <a:pt x="567662" y="160990"/>
                        </a:lnTo>
                        <a:lnTo>
                          <a:pt x="564768" y="158276"/>
                        </a:lnTo>
                        <a:lnTo>
                          <a:pt x="564076" y="155611"/>
                        </a:lnTo>
                        <a:lnTo>
                          <a:pt x="564418" y="155032"/>
                        </a:lnTo>
                        <a:lnTo>
                          <a:pt x="566814" y="154633"/>
                        </a:lnTo>
                        <a:lnTo>
                          <a:pt x="571500" y="156858"/>
                        </a:lnTo>
                        <a:lnTo>
                          <a:pt x="573774" y="157159"/>
                        </a:lnTo>
                        <a:lnTo>
                          <a:pt x="575428" y="156279"/>
                        </a:lnTo>
                        <a:lnTo>
                          <a:pt x="577189" y="156222"/>
                        </a:lnTo>
                        <a:lnTo>
                          <a:pt x="579039" y="156980"/>
                        </a:lnTo>
                        <a:lnTo>
                          <a:pt x="580766" y="158129"/>
                        </a:lnTo>
                        <a:lnTo>
                          <a:pt x="583994" y="161414"/>
                        </a:lnTo>
                        <a:lnTo>
                          <a:pt x="585583" y="163386"/>
                        </a:lnTo>
                        <a:lnTo>
                          <a:pt x="587376" y="166352"/>
                        </a:lnTo>
                        <a:lnTo>
                          <a:pt x="587938" y="166768"/>
                        </a:lnTo>
                        <a:lnTo>
                          <a:pt x="596585" y="166996"/>
                        </a:lnTo>
                        <a:lnTo>
                          <a:pt x="601483" y="164356"/>
                        </a:lnTo>
                        <a:lnTo>
                          <a:pt x="601377" y="165252"/>
                        </a:lnTo>
                        <a:lnTo>
                          <a:pt x="600260" y="167322"/>
                        </a:lnTo>
                        <a:lnTo>
                          <a:pt x="594181" y="175244"/>
                        </a:lnTo>
                        <a:lnTo>
                          <a:pt x="594254" y="176222"/>
                        </a:lnTo>
                        <a:lnTo>
                          <a:pt x="597481" y="175798"/>
                        </a:lnTo>
                        <a:lnTo>
                          <a:pt x="598989" y="175162"/>
                        </a:lnTo>
                        <a:lnTo>
                          <a:pt x="599926" y="174209"/>
                        </a:lnTo>
                        <a:lnTo>
                          <a:pt x="600725" y="171984"/>
                        </a:lnTo>
                        <a:lnTo>
                          <a:pt x="601271" y="171332"/>
                        </a:lnTo>
                        <a:lnTo>
                          <a:pt x="610293" y="167591"/>
                        </a:lnTo>
                        <a:lnTo>
                          <a:pt x="612901" y="167037"/>
                        </a:lnTo>
                        <a:lnTo>
                          <a:pt x="611271" y="171038"/>
                        </a:lnTo>
                        <a:lnTo>
                          <a:pt x="607921" y="185235"/>
                        </a:lnTo>
                        <a:lnTo>
                          <a:pt x="607237" y="190182"/>
                        </a:lnTo>
                        <a:lnTo>
                          <a:pt x="606495" y="191861"/>
                        </a:lnTo>
                        <a:lnTo>
                          <a:pt x="602950" y="197297"/>
                        </a:lnTo>
                        <a:lnTo>
                          <a:pt x="603007" y="199204"/>
                        </a:lnTo>
                        <a:lnTo>
                          <a:pt x="606886" y="203768"/>
                        </a:lnTo>
                        <a:lnTo>
                          <a:pt x="607579" y="205015"/>
                        </a:lnTo>
                        <a:lnTo>
                          <a:pt x="607970" y="208755"/>
                        </a:lnTo>
                        <a:lnTo>
                          <a:pt x="608655" y="209497"/>
                        </a:lnTo>
                        <a:lnTo>
                          <a:pt x="611857" y="209538"/>
                        </a:lnTo>
                        <a:lnTo>
                          <a:pt x="615166" y="208340"/>
                        </a:lnTo>
                        <a:lnTo>
                          <a:pt x="619111" y="207549"/>
                        </a:lnTo>
                        <a:lnTo>
                          <a:pt x="619730" y="208332"/>
                        </a:lnTo>
                        <a:lnTo>
                          <a:pt x="617562" y="212863"/>
                        </a:lnTo>
                        <a:lnTo>
                          <a:pt x="617676" y="213262"/>
                        </a:lnTo>
                        <a:lnTo>
                          <a:pt x="621433" y="212097"/>
                        </a:lnTo>
                        <a:lnTo>
                          <a:pt x="623153" y="211934"/>
                        </a:lnTo>
                        <a:lnTo>
                          <a:pt x="623862" y="212195"/>
                        </a:lnTo>
                        <a:lnTo>
                          <a:pt x="626649" y="214517"/>
                        </a:lnTo>
                        <a:lnTo>
                          <a:pt x="626935" y="216237"/>
                        </a:lnTo>
                        <a:lnTo>
                          <a:pt x="626877" y="218796"/>
                        </a:lnTo>
                        <a:lnTo>
                          <a:pt x="626576" y="220646"/>
                        </a:lnTo>
                        <a:lnTo>
                          <a:pt x="625631" y="221673"/>
                        </a:lnTo>
                        <a:lnTo>
                          <a:pt x="624514" y="222088"/>
                        </a:lnTo>
                        <a:lnTo>
                          <a:pt x="623096" y="222390"/>
                        </a:lnTo>
                        <a:lnTo>
                          <a:pt x="621825" y="222259"/>
                        </a:lnTo>
                        <a:lnTo>
                          <a:pt x="617905" y="222651"/>
                        </a:lnTo>
                        <a:lnTo>
                          <a:pt x="615590" y="222154"/>
                        </a:lnTo>
                        <a:lnTo>
                          <a:pt x="613308" y="220744"/>
                        </a:lnTo>
                        <a:lnTo>
                          <a:pt x="611678" y="220409"/>
                        </a:lnTo>
                        <a:lnTo>
                          <a:pt x="609796" y="221502"/>
                        </a:lnTo>
                        <a:lnTo>
                          <a:pt x="606821" y="221314"/>
                        </a:lnTo>
                        <a:lnTo>
                          <a:pt x="603471" y="218201"/>
                        </a:lnTo>
                        <a:lnTo>
                          <a:pt x="602143" y="218494"/>
                        </a:lnTo>
                        <a:lnTo>
                          <a:pt x="601687" y="218991"/>
                        </a:lnTo>
                        <a:lnTo>
                          <a:pt x="601744" y="219660"/>
                        </a:lnTo>
                        <a:lnTo>
                          <a:pt x="603251" y="221673"/>
                        </a:lnTo>
                        <a:lnTo>
                          <a:pt x="615011" y="232341"/>
                        </a:lnTo>
                        <a:lnTo>
                          <a:pt x="616796" y="234533"/>
                        </a:lnTo>
                        <a:lnTo>
                          <a:pt x="617196" y="237687"/>
                        </a:lnTo>
                        <a:lnTo>
                          <a:pt x="617432" y="237679"/>
                        </a:lnTo>
                        <a:lnTo>
                          <a:pt x="618540" y="234525"/>
                        </a:lnTo>
                        <a:lnTo>
                          <a:pt x="617823" y="232993"/>
                        </a:lnTo>
                        <a:lnTo>
                          <a:pt x="611768" y="226791"/>
                        </a:lnTo>
                        <a:lnTo>
                          <a:pt x="611043" y="224525"/>
                        </a:lnTo>
                        <a:lnTo>
                          <a:pt x="611246" y="223906"/>
                        </a:lnTo>
                        <a:lnTo>
                          <a:pt x="612852" y="223270"/>
                        </a:lnTo>
                        <a:lnTo>
                          <a:pt x="621466" y="224819"/>
                        </a:lnTo>
                        <a:lnTo>
                          <a:pt x="624807" y="224484"/>
                        </a:lnTo>
                        <a:lnTo>
                          <a:pt x="627057" y="223392"/>
                        </a:lnTo>
                        <a:lnTo>
                          <a:pt x="628181" y="222048"/>
                        </a:lnTo>
                        <a:lnTo>
                          <a:pt x="628996" y="214648"/>
                        </a:lnTo>
                        <a:lnTo>
                          <a:pt x="630553" y="209896"/>
                        </a:lnTo>
                        <a:lnTo>
                          <a:pt x="629640" y="205642"/>
                        </a:lnTo>
                        <a:lnTo>
                          <a:pt x="627301" y="198853"/>
                        </a:lnTo>
                        <a:lnTo>
                          <a:pt x="625476" y="194852"/>
                        </a:lnTo>
                        <a:lnTo>
                          <a:pt x="621246" y="190785"/>
                        </a:lnTo>
                        <a:lnTo>
                          <a:pt x="620830" y="189326"/>
                        </a:lnTo>
                        <a:lnTo>
                          <a:pt x="625541" y="176980"/>
                        </a:lnTo>
                        <a:lnTo>
                          <a:pt x="626388" y="175945"/>
                        </a:lnTo>
                        <a:lnTo>
                          <a:pt x="627440" y="175488"/>
                        </a:lnTo>
                        <a:lnTo>
                          <a:pt x="631148" y="175309"/>
                        </a:lnTo>
                        <a:lnTo>
                          <a:pt x="633845" y="174274"/>
                        </a:lnTo>
                        <a:lnTo>
                          <a:pt x="638075" y="175716"/>
                        </a:lnTo>
                        <a:lnTo>
                          <a:pt x="640414" y="176099"/>
                        </a:lnTo>
                        <a:lnTo>
                          <a:pt x="643307" y="174820"/>
                        </a:lnTo>
                        <a:lnTo>
                          <a:pt x="649738" y="169620"/>
                        </a:lnTo>
                        <a:lnTo>
                          <a:pt x="652248" y="168007"/>
                        </a:lnTo>
                        <a:lnTo>
                          <a:pt x="655450" y="164959"/>
                        </a:lnTo>
                        <a:lnTo>
                          <a:pt x="659338" y="160468"/>
                        </a:lnTo>
                        <a:lnTo>
                          <a:pt x="663559" y="157208"/>
                        </a:lnTo>
                        <a:lnTo>
                          <a:pt x="670413" y="154177"/>
                        </a:lnTo>
                        <a:lnTo>
                          <a:pt x="674594" y="151732"/>
                        </a:lnTo>
                        <a:lnTo>
                          <a:pt x="675442" y="150852"/>
                        </a:lnTo>
                        <a:lnTo>
                          <a:pt x="671546" y="150640"/>
                        </a:lnTo>
                        <a:lnTo>
                          <a:pt x="670601" y="150224"/>
                        </a:lnTo>
                        <a:lnTo>
                          <a:pt x="669802" y="147909"/>
                        </a:lnTo>
                        <a:lnTo>
                          <a:pt x="670210" y="143606"/>
                        </a:lnTo>
                        <a:lnTo>
                          <a:pt x="670136" y="141210"/>
                        </a:lnTo>
                        <a:lnTo>
                          <a:pt x="669672" y="139059"/>
                        </a:lnTo>
                        <a:lnTo>
                          <a:pt x="668816" y="137127"/>
                        </a:lnTo>
                        <a:lnTo>
                          <a:pt x="667577" y="135432"/>
                        </a:lnTo>
                        <a:lnTo>
                          <a:pt x="666453" y="134414"/>
                        </a:lnTo>
                        <a:lnTo>
                          <a:pt x="665426" y="134071"/>
                        </a:lnTo>
                        <a:lnTo>
                          <a:pt x="664725" y="134234"/>
                        </a:lnTo>
                        <a:lnTo>
                          <a:pt x="664342" y="134878"/>
                        </a:lnTo>
                        <a:lnTo>
                          <a:pt x="663307" y="138985"/>
                        </a:lnTo>
                        <a:lnTo>
                          <a:pt x="661978" y="141993"/>
                        </a:lnTo>
                        <a:lnTo>
                          <a:pt x="660161" y="143574"/>
                        </a:lnTo>
                        <a:lnTo>
                          <a:pt x="656388" y="144625"/>
                        </a:lnTo>
                        <a:lnTo>
                          <a:pt x="649909" y="145416"/>
                        </a:lnTo>
                        <a:lnTo>
                          <a:pt x="647211" y="143973"/>
                        </a:lnTo>
                        <a:lnTo>
                          <a:pt x="646877" y="142759"/>
                        </a:lnTo>
                        <a:lnTo>
                          <a:pt x="647822" y="137983"/>
                        </a:lnTo>
                        <a:lnTo>
                          <a:pt x="649974" y="135929"/>
                        </a:lnTo>
                        <a:lnTo>
                          <a:pt x="655907" y="131895"/>
                        </a:lnTo>
                        <a:lnTo>
                          <a:pt x="659696" y="128660"/>
                        </a:lnTo>
                        <a:lnTo>
                          <a:pt x="659753" y="128097"/>
                        </a:lnTo>
                        <a:lnTo>
                          <a:pt x="656274" y="128081"/>
                        </a:lnTo>
                        <a:lnTo>
                          <a:pt x="655434" y="127405"/>
                        </a:lnTo>
                        <a:lnTo>
                          <a:pt x="654701" y="123428"/>
                        </a:lnTo>
                        <a:lnTo>
                          <a:pt x="654904" y="121936"/>
                        </a:lnTo>
                        <a:lnTo>
                          <a:pt x="655450" y="120241"/>
                        </a:lnTo>
                        <a:lnTo>
                          <a:pt x="657887" y="118994"/>
                        </a:lnTo>
                        <a:lnTo>
                          <a:pt x="665377" y="117462"/>
                        </a:lnTo>
                        <a:lnTo>
                          <a:pt x="671212" y="115661"/>
                        </a:lnTo>
                        <a:lnTo>
                          <a:pt x="671375" y="116289"/>
                        </a:lnTo>
                        <a:lnTo>
                          <a:pt x="666705" y="121684"/>
                        </a:lnTo>
                        <a:lnTo>
                          <a:pt x="666225" y="122939"/>
                        </a:lnTo>
                        <a:lnTo>
                          <a:pt x="668009" y="124104"/>
                        </a:lnTo>
                        <a:lnTo>
                          <a:pt x="672500" y="120983"/>
                        </a:lnTo>
                        <a:lnTo>
                          <a:pt x="675393" y="118399"/>
                        </a:lnTo>
                        <a:lnTo>
                          <a:pt x="675882" y="117519"/>
                        </a:lnTo>
                        <a:lnTo>
                          <a:pt x="673250" y="117201"/>
                        </a:lnTo>
                        <a:lnTo>
                          <a:pt x="673111" y="116126"/>
                        </a:lnTo>
                        <a:lnTo>
                          <a:pt x="673616" y="114170"/>
                        </a:lnTo>
                        <a:lnTo>
                          <a:pt x="673372" y="112833"/>
                        </a:lnTo>
                        <a:lnTo>
                          <a:pt x="670454" y="111138"/>
                        </a:lnTo>
                        <a:lnTo>
                          <a:pt x="666868" y="112083"/>
                        </a:lnTo>
                        <a:lnTo>
                          <a:pt x="663877" y="113860"/>
                        </a:lnTo>
                        <a:lnTo>
                          <a:pt x="661392" y="114349"/>
                        </a:lnTo>
                        <a:lnTo>
                          <a:pt x="657724" y="114381"/>
                        </a:lnTo>
                        <a:lnTo>
                          <a:pt x="655051" y="113974"/>
                        </a:lnTo>
                        <a:lnTo>
                          <a:pt x="653380" y="113126"/>
                        </a:lnTo>
                        <a:lnTo>
                          <a:pt x="651376" y="111228"/>
                        </a:lnTo>
                        <a:lnTo>
                          <a:pt x="649020" y="108285"/>
                        </a:lnTo>
                        <a:lnTo>
                          <a:pt x="646046" y="105343"/>
                        </a:lnTo>
                        <a:lnTo>
                          <a:pt x="644994" y="105026"/>
                        </a:lnTo>
                        <a:lnTo>
                          <a:pt x="644090" y="105360"/>
                        </a:lnTo>
                        <a:lnTo>
                          <a:pt x="642199" y="108196"/>
                        </a:lnTo>
                        <a:lnTo>
                          <a:pt x="641368" y="108530"/>
                        </a:lnTo>
                        <a:lnTo>
                          <a:pt x="629722" y="104553"/>
                        </a:lnTo>
                        <a:lnTo>
                          <a:pt x="624783" y="102320"/>
                        </a:lnTo>
                        <a:lnTo>
                          <a:pt x="622395" y="100633"/>
                        </a:lnTo>
                        <a:lnTo>
                          <a:pt x="619420" y="99622"/>
                        </a:lnTo>
                        <a:lnTo>
                          <a:pt x="615867" y="99321"/>
                        </a:lnTo>
                        <a:lnTo>
                          <a:pt x="613031" y="98530"/>
                        </a:lnTo>
                        <a:lnTo>
                          <a:pt x="610920" y="97267"/>
                        </a:lnTo>
                        <a:lnTo>
                          <a:pt x="609217" y="95458"/>
                        </a:lnTo>
                        <a:lnTo>
                          <a:pt x="607905" y="93086"/>
                        </a:lnTo>
                        <a:lnTo>
                          <a:pt x="605484" y="90112"/>
                        </a:lnTo>
                        <a:lnTo>
                          <a:pt x="599951" y="84170"/>
                        </a:lnTo>
                        <a:lnTo>
                          <a:pt x="598484" y="80348"/>
                        </a:lnTo>
                        <a:lnTo>
                          <a:pt x="598288" y="78881"/>
                        </a:lnTo>
                        <a:lnTo>
                          <a:pt x="598630" y="75108"/>
                        </a:lnTo>
                        <a:lnTo>
                          <a:pt x="603822" y="68702"/>
                        </a:lnTo>
                        <a:lnTo>
                          <a:pt x="604775" y="66852"/>
                        </a:lnTo>
                        <a:lnTo>
                          <a:pt x="606552" y="65491"/>
                        </a:lnTo>
                        <a:lnTo>
                          <a:pt x="609119" y="64619"/>
                        </a:lnTo>
                        <a:lnTo>
                          <a:pt x="610969" y="64350"/>
                        </a:lnTo>
                        <a:lnTo>
                          <a:pt x="615175" y="65165"/>
                        </a:lnTo>
                        <a:lnTo>
                          <a:pt x="612656" y="63177"/>
                        </a:lnTo>
                        <a:lnTo>
                          <a:pt x="612461" y="62117"/>
                        </a:lnTo>
                        <a:lnTo>
                          <a:pt x="614987" y="58637"/>
                        </a:lnTo>
                        <a:lnTo>
                          <a:pt x="614490" y="58482"/>
                        </a:lnTo>
                        <a:lnTo>
                          <a:pt x="607538" y="61156"/>
                        </a:lnTo>
                        <a:lnTo>
                          <a:pt x="605761" y="60976"/>
                        </a:lnTo>
                        <a:lnTo>
                          <a:pt x="603268" y="59338"/>
                        </a:lnTo>
                        <a:lnTo>
                          <a:pt x="598557" y="53479"/>
                        </a:lnTo>
                        <a:lnTo>
                          <a:pt x="598492" y="49827"/>
                        </a:lnTo>
                        <a:lnTo>
                          <a:pt x="599975" y="44750"/>
                        </a:lnTo>
                        <a:lnTo>
                          <a:pt x="600497" y="41702"/>
                        </a:lnTo>
                        <a:lnTo>
                          <a:pt x="599144" y="39102"/>
                        </a:lnTo>
                        <a:lnTo>
                          <a:pt x="599649" y="38377"/>
                        </a:lnTo>
                        <a:lnTo>
                          <a:pt x="601124" y="37652"/>
                        </a:lnTo>
                        <a:lnTo>
                          <a:pt x="601727" y="36869"/>
                        </a:lnTo>
                        <a:lnTo>
                          <a:pt x="601092" y="34001"/>
                        </a:lnTo>
                        <a:lnTo>
                          <a:pt x="602102" y="32468"/>
                        </a:lnTo>
                        <a:lnTo>
                          <a:pt x="605436" y="29494"/>
                        </a:lnTo>
                        <a:lnTo>
                          <a:pt x="608704" y="26902"/>
                        </a:lnTo>
                        <a:lnTo>
                          <a:pt x="610627" y="26112"/>
                        </a:lnTo>
                        <a:lnTo>
                          <a:pt x="612306" y="26258"/>
                        </a:lnTo>
                        <a:lnTo>
                          <a:pt x="614042" y="27049"/>
                        </a:lnTo>
                        <a:lnTo>
                          <a:pt x="615867" y="28500"/>
                        </a:lnTo>
                        <a:lnTo>
                          <a:pt x="618980" y="29999"/>
                        </a:lnTo>
                        <a:lnTo>
                          <a:pt x="621279" y="30423"/>
                        </a:lnTo>
                        <a:lnTo>
                          <a:pt x="622974" y="29608"/>
                        </a:lnTo>
                        <a:lnTo>
                          <a:pt x="625867" y="24009"/>
                        </a:lnTo>
                        <a:lnTo>
                          <a:pt x="626894" y="22567"/>
                        </a:lnTo>
                        <a:lnTo>
                          <a:pt x="625924" y="21955"/>
                        </a:lnTo>
                        <a:lnTo>
                          <a:pt x="620244" y="22004"/>
                        </a:lnTo>
                        <a:lnTo>
                          <a:pt x="617782" y="21548"/>
                        </a:lnTo>
                        <a:lnTo>
                          <a:pt x="616372" y="21010"/>
                        </a:lnTo>
                        <a:lnTo>
                          <a:pt x="615329" y="18867"/>
                        </a:lnTo>
                        <a:lnTo>
                          <a:pt x="616193" y="17726"/>
                        </a:lnTo>
                        <a:lnTo>
                          <a:pt x="621686" y="13757"/>
                        </a:lnTo>
                        <a:lnTo>
                          <a:pt x="624278" y="9592"/>
                        </a:lnTo>
                        <a:lnTo>
                          <a:pt x="631979" y="3790"/>
                        </a:lnTo>
                        <a:lnTo>
                          <a:pt x="639770" y="1068"/>
                        </a:lnTo>
                        <a:lnTo>
                          <a:pt x="643544" y="171"/>
                        </a:lnTo>
                        <a:lnTo>
                          <a:pt x="646616" y="0"/>
                        </a:lnTo>
                        <a:lnTo>
                          <a:pt x="647953" y="350"/>
                        </a:lnTo>
                        <a:lnTo>
                          <a:pt x="649591" y="3260"/>
                        </a:lnTo>
                        <a:lnTo>
                          <a:pt x="649892" y="6316"/>
                        </a:lnTo>
                        <a:close/>
                      </a:path>
                    </a:pathLst>
                  </a:custGeom>
                  <a:solidFill>
                    <a:srgbClr val="D6D6D2"/>
                  </a:solidFill>
                  <a:ln w="6112" cap="rnd">
                    <a:solidFill>
                      <a:srgbClr val="FFFFFF"/>
                    </a:solidFill>
                    <a:prstDash val="solid"/>
                    <a:round/>
                  </a:ln>
                </p:spPr>
                <p:txBody>
                  <a:bodyPr rtlCol="0" anchor="ctr"/>
                  <a:lstStyle/>
                  <a:p>
                    <a:endParaRPr lang="en-US"/>
                  </a:p>
                </p:txBody>
              </p:sp>
              <p:sp>
                <p:nvSpPr>
                  <p:cNvPr id="539" name="Freeform: Shape 538">
                    <a:extLst>
                      <a:ext uri="{FF2B5EF4-FFF2-40B4-BE49-F238E27FC236}">
                        <a16:creationId xmlns:a16="http://schemas.microsoft.com/office/drawing/2014/main" id="{8C09CD31-16DD-4BC3-9CE7-47D7DFB9D588}"/>
                      </a:ext>
                    </a:extLst>
                  </p:cNvPr>
                  <p:cNvSpPr/>
                  <p:nvPr/>
                </p:nvSpPr>
                <p:spPr>
                  <a:xfrm>
                    <a:off x="3474214" y="2128435"/>
                    <a:ext cx="106557" cy="61864"/>
                  </a:xfrm>
                  <a:custGeom>
                    <a:avLst/>
                    <a:gdLst>
                      <a:gd name="connsiteX0" fmla="*/ 52696 w 106557"/>
                      <a:gd name="connsiteY0" fmla="*/ 9739 h 61864"/>
                      <a:gd name="connsiteX1" fmla="*/ 53454 w 106557"/>
                      <a:gd name="connsiteY1" fmla="*/ 10269 h 61864"/>
                      <a:gd name="connsiteX2" fmla="*/ 54897 w 106557"/>
                      <a:gd name="connsiteY2" fmla="*/ 9812 h 61864"/>
                      <a:gd name="connsiteX3" fmla="*/ 56013 w 106557"/>
                      <a:gd name="connsiteY3" fmla="*/ 8370 h 61864"/>
                      <a:gd name="connsiteX4" fmla="*/ 56689 w 106557"/>
                      <a:gd name="connsiteY4" fmla="*/ 8093 h 61864"/>
                      <a:gd name="connsiteX5" fmla="*/ 57741 w 106557"/>
                      <a:gd name="connsiteY5" fmla="*/ 8370 h 61864"/>
                      <a:gd name="connsiteX6" fmla="*/ 61204 w 106557"/>
                      <a:gd name="connsiteY6" fmla="*/ 10970 h 61864"/>
                      <a:gd name="connsiteX7" fmla="*/ 63869 w 106557"/>
                      <a:gd name="connsiteY7" fmla="*/ 13692 h 61864"/>
                      <a:gd name="connsiteX8" fmla="*/ 66689 w 106557"/>
                      <a:gd name="connsiteY8" fmla="*/ 15631 h 61864"/>
                      <a:gd name="connsiteX9" fmla="*/ 71172 w 106557"/>
                      <a:gd name="connsiteY9" fmla="*/ 17351 h 61864"/>
                      <a:gd name="connsiteX10" fmla="*/ 80959 w 106557"/>
                      <a:gd name="connsiteY10" fmla="*/ 22966 h 61864"/>
                      <a:gd name="connsiteX11" fmla="*/ 83844 w 106557"/>
                      <a:gd name="connsiteY11" fmla="*/ 26756 h 61864"/>
                      <a:gd name="connsiteX12" fmla="*/ 86884 w 106557"/>
                      <a:gd name="connsiteY12" fmla="*/ 32648 h 61864"/>
                      <a:gd name="connsiteX13" fmla="*/ 89598 w 106557"/>
                      <a:gd name="connsiteY13" fmla="*/ 37130 h 61864"/>
                      <a:gd name="connsiteX14" fmla="*/ 91994 w 106557"/>
                      <a:gd name="connsiteY14" fmla="*/ 40219 h 61864"/>
                      <a:gd name="connsiteX15" fmla="*/ 94561 w 106557"/>
                      <a:gd name="connsiteY15" fmla="*/ 42688 h 61864"/>
                      <a:gd name="connsiteX16" fmla="*/ 98677 w 106557"/>
                      <a:gd name="connsiteY16" fmla="*/ 45443 h 61864"/>
                      <a:gd name="connsiteX17" fmla="*/ 102344 w 106557"/>
                      <a:gd name="connsiteY17" fmla="*/ 43430 h 61864"/>
                      <a:gd name="connsiteX18" fmla="*/ 103917 w 106557"/>
                      <a:gd name="connsiteY18" fmla="*/ 42925 h 61864"/>
                      <a:gd name="connsiteX19" fmla="*/ 105270 w 106557"/>
                      <a:gd name="connsiteY19" fmla="*/ 43756 h 61864"/>
                      <a:gd name="connsiteX20" fmla="*/ 106558 w 106557"/>
                      <a:gd name="connsiteY20" fmla="*/ 45834 h 61864"/>
                      <a:gd name="connsiteX21" fmla="*/ 105881 w 106557"/>
                      <a:gd name="connsiteY21" fmla="*/ 46763 h 61864"/>
                      <a:gd name="connsiteX22" fmla="*/ 104284 w 106557"/>
                      <a:gd name="connsiteY22" fmla="*/ 47937 h 61864"/>
                      <a:gd name="connsiteX23" fmla="*/ 101652 w 106557"/>
                      <a:gd name="connsiteY23" fmla="*/ 49298 h 61864"/>
                      <a:gd name="connsiteX24" fmla="*/ 97968 w 106557"/>
                      <a:gd name="connsiteY24" fmla="*/ 49404 h 61864"/>
                      <a:gd name="connsiteX25" fmla="*/ 96199 w 106557"/>
                      <a:gd name="connsiteY25" fmla="*/ 49811 h 61864"/>
                      <a:gd name="connsiteX26" fmla="*/ 93314 w 106557"/>
                      <a:gd name="connsiteY26" fmla="*/ 51979 h 61864"/>
                      <a:gd name="connsiteX27" fmla="*/ 91008 w 106557"/>
                      <a:gd name="connsiteY27" fmla="*/ 54571 h 61864"/>
                      <a:gd name="connsiteX28" fmla="*/ 87797 w 106557"/>
                      <a:gd name="connsiteY28" fmla="*/ 55443 h 61864"/>
                      <a:gd name="connsiteX29" fmla="*/ 81758 w 106557"/>
                      <a:gd name="connsiteY29" fmla="*/ 59811 h 61864"/>
                      <a:gd name="connsiteX30" fmla="*/ 78433 w 106557"/>
                      <a:gd name="connsiteY30" fmla="*/ 61433 h 61864"/>
                      <a:gd name="connsiteX31" fmla="*/ 73543 w 106557"/>
                      <a:gd name="connsiteY31" fmla="*/ 61865 h 61864"/>
                      <a:gd name="connsiteX32" fmla="*/ 63389 w 106557"/>
                      <a:gd name="connsiteY32" fmla="*/ 58458 h 61864"/>
                      <a:gd name="connsiteX33" fmla="*/ 57056 w 106557"/>
                      <a:gd name="connsiteY33" fmla="*/ 58931 h 61864"/>
                      <a:gd name="connsiteX34" fmla="*/ 51889 w 106557"/>
                      <a:gd name="connsiteY34" fmla="*/ 58230 h 61864"/>
                      <a:gd name="connsiteX35" fmla="*/ 46111 w 106557"/>
                      <a:gd name="connsiteY35" fmla="*/ 54628 h 61864"/>
                      <a:gd name="connsiteX36" fmla="*/ 41637 w 106557"/>
                      <a:gd name="connsiteY36" fmla="*/ 52582 h 61864"/>
                      <a:gd name="connsiteX37" fmla="*/ 32966 w 106557"/>
                      <a:gd name="connsiteY37" fmla="*/ 49648 h 61864"/>
                      <a:gd name="connsiteX38" fmla="*/ 32395 w 106557"/>
                      <a:gd name="connsiteY38" fmla="*/ 49208 h 61864"/>
                      <a:gd name="connsiteX39" fmla="*/ 32028 w 106557"/>
                      <a:gd name="connsiteY39" fmla="*/ 48222 h 61864"/>
                      <a:gd name="connsiteX40" fmla="*/ 31849 w 106557"/>
                      <a:gd name="connsiteY40" fmla="*/ 46665 h 61864"/>
                      <a:gd name="connsiteX41" fmla="*/ 31450 w 106557"/>
                      <a:gd name="connsiteY41" fmla="*/ 45630 h 61864"/>
                      <a:gd name="connsiteX42" fmla="*/ 30847 w 106557"/>
                      <a:gd name="connsiteY42" fmla="*/ 45101 h 61864"/>
                      <a:gd name="connsiteX43" fmla="*/ 29477 w 106557"/>
                      <a:gd name="connsiteY43" fmla="*/ 45150 h 61864"/>
                      <a:gd name="connsiteX44" fmla="*/ 28084 w 106557"/>
                      <a:gd name="connsiteY44" fmla="*/ 46168 h 61864"/>
                      <a:gd name="connsiteX45" fmla="*/ 25411 w 106557"/>
                      <a:gd name="connsiteY45" fmla="*/ 47057 h 61864"/>
                      <a:gd name="connsiteX46" fmla="*/ 21336 w 106557"/>
                      <a:gd name="connsiteY46" fmla="*/ 46861 h 61864"/>
                      <a:gd name="connsiteX47" fmla="*/ 19568 w 106557"/>
                      <a:gd name="connsiteY47" fmla="*/ 46250 h 61864"/>
                      <a:gd name="connsiteX48" fmla="*/ 18215 w 106557"/>
                      <a:gd name="connsiteY48" fmla="*/ 45280 h 61864"/>
                      <a:gd name="connsiteX49" fmla="*/ 17489 w 106557"/>
                      <a:gd name="connsiteY49" fmla="*/ 44155 h 61864"/>
                      <a:gd name="connsiteX50" fmla="*/ 17367 w 106557"/>
                      <a:gd name="connsiteY50" fmla="*/ 42859 h 61864"/>
                      <a:gd name="connsiteX51" fmla="*/ 16992 w 106557"/>
                      <a:gd name="connsiteY51" fmla="*/ 41865 h 61864"/>
                      <a:gd name="connsiteX52" fmla="*/ 16365 w 106557"/>
                      <a:gd name="connsiteY52" fmla="*/ 41156 h 61864"/>
                      <a:gd name="connsiteX53" fmla="*/ 14890 w 106557"/>
                      <a:gd name="connsiteY53" fmla="*/ 41140 h 61864"/>
                      <a:gd name="connsiteX54" fmla="*/ 12567 w 106557"/>
                      <a:gd name="connsiteY54" fmla="*/ 41800 h 61864"/>
                      <a:gd name="connsiteX55" fmla="*/ 11662 w 106557"/>
                      <a:gd name="connsiteY55" fmla="*/ 42631 h 61864"/>
                      <a:gd name="connsiteX56" fmla="*/ 12176 w 106557"/>
                      <a:gd name="connsiteY56" fmla="*/ 43609 h 61864"/>
                      <a:gd name="connsiteX57" fmla="*/ 11744 w 106557"/>
                      <a:gd name="connsiteY57" fmla="*/ 44196 h 61864"/>
                      <a:gd name="connsiteX58" fmla="*/ 7693 w 106557"/>
                      <a:gd name="connsiteY58" fmla="*/ 44204 h 61864"/>
                      <a:gd name="connsiteX59" fmla="*/ 6104 w 106557"/>
                      <a:gd name="connsiteY59" fmla="*/ 43634 h 61864"/>
                      <a:gd name="connsiteX60" fmla="*/ 3056 w 106557"/>
                      <a:gd name="connsiteY60" fmla="*/ 41800 h 61864"/>
                      <a:gd name="connsiteX61" fmla="*/ 1720 w 106557"/>
                      <a:gd name="connsiteY61" fmla="*/ 39958 h 61864"/>
                      <a:gd name="connsiteX62" fmla="*/ 0 w 106557"/>
                      <a:gd name="connsiteY62" fmla="*/ 36666 h 61864"/>
                      <a:gd name="connsiteX63" fmla="*/ 163 w 106557"/>
                      <a:gd name="connsiteY63" fmla="*/ 35785 h 61864"/>
                      <a:gd name="connsiteX64" fmla="*/ 1263 w 106557"/>
                      <a:gd name="connsiteY64" fmla="*/ 33781 h 61864"/>
                      <a:gd name="connsiteX65" fmla="*/ 2689 w 106557"/>
                      <a:gd name="connsiteY65" fmla="*/ 32387 h 61864"/>
                      <a:gd name="connsiteX66" fmla="*/ 11866 w 106557"/>
                      <a:gd name="connsiteY66" fmla="*/ 31564 h 61864"/>
                      <a:gd name="connsiteX67" fmla="*/ 16169 w 106557"/>
                      <a:gd name="connsiteY67" fmla="*/ 30782 h 61864"/>
                      <a:gd name="connsiteX68" fmla="*/ 20847 w 106557"/>
                      <a:gd name="connsiteY68" fmla="*/ 28508 h 61864"/>
                      <a:gd name="connsiteX69" fmla="*/ 26299 w 106557"/>
                      <a:gd name="connsiteY69" fmla="*/ 24563 h 61864"/>
                      <a:gd name="connsiteX70" fmla="*/ 27481 w 106557"/>
                      <a:gd name="connsiteY70" fmla="*/ 23398 h 61864"/>
                      <a:gd name="connsiteX71" fmla="*/ 27628 w 106557"/>
                      <a:gd name="connsiteY71" fmla="*/ 22534 h 61864"/>
                      <a:gd name="connsiteX72" fmla="*/ 27220 w 106557"/>
                      <a:gd name="connsiteY72" fmla="*/ 21605 h 61864"/>
                      <a:gd name="connsiteX73" fmla="*/ 25517 w 106557"/>
                      <a:gd name="connsiteY73" fmla="*/ 19331 h 61864"/>
                      <a:gd name="connsiteX74" fmla="*/ 24938 w 106557"/>
                      <a:gd name="connsiteY74" fmla="*/ 17775 h 61864"/>
                      <a:gd name="connsiteX75" fmla="*/ 25484 w 106557"/>
                      <a:gd name="connsiteY75" fmla="*/ 17041 h 61864"/>
                      <a:gd name="connsiteX76" fmla="*/ 27668 w 106557"/>
                      <a:gd name="connsiteY76" fmla="*/ 16976 h 61864"/>
                      <a:gd name="connsiteX77" fmla="*/ 26519 w 106557"/>
                      <a:gd name="connsiteY77" fmla="*/ 16096 h 61864"/>
                      <a:gd name="connsiteX78" fmla="*/ 25541 w 106557"/>
                      <a:gd name="connsiteY78" fmla="*/ 14857 h 61864"/>
                      <a:gd name="connsiteX79" fmla="*/ 25199 w 106557"/>
                      <a:gd name="connsiteY79" fmla="*/ 14075 h 61864"/>
                      <a:gd name="connsiteX80" fmla="*/ 25248 w 106557"/>
                      <a:gd name="connsiteY80" fmla="*/ 12836 h 61864"/>
                      <a:gd name="connsiteX81" fmla="*/ 26992 w 106557"/>
                      <a:gd name="connsiteY81" fmla="*/ 12567 h 61864"/>
                      <a:gd name="connsiteX82" fmla="*/ 29143 w 106557"/>
                      <a:gd name="connsiteY82" fmla="*/ 13186 h 61864"/>
                      <a:gd name="connsiteX83" fmla="*/ 33284 w 106557"/>
                      <a:gd name="connsiteY83" fmla="*/ 16756 h 61864"/>
                      <a:gd name="connsiteX84" fmla="*/ 34930 w 106557"/>
                      <a:gd name="connsiteY84" fmla="*/ 17449 h 61864"/>
                      <a:gd name="connsiteX85" fmla="*/ 37774 w 106557"/>
                      <a:gd name="connsiteY85" fmla="*/ 17995 h 61864"/>
                      <a:gd name="connsiteX86" fmla="*/ 34750 w 106557"/>
                      <a:gd name="connsiteY86" fmla="*/ 15533 h 61864"/>
                      <a:gd name="connsiteX87" fmla="*/ 31629 w 106557"/>
                      <a:gd name="connsiteY87" fmla="*/ 10350 h 61864"/>
                      <a:gd name="connsiteX88" fmla="*/ 31238 w 106557"/>
                      <a:gd name="connsiteY88" fmla="*/ 8557 h 61864"/>
                      <a:gd name="connsiteX89" fmla="*/ 31319 w 106557"/>
                      <a:gd name="connsiteY89" fmla="*/ 7555 h 61864"/>
                      <a:gd name="connsiteX90" fmla="*/ 32143 w 106557"/>
                      <a:gd name="connsiteY90" fmla="*/ 4768 h 61864"/>
                      <a:gd name="connsiteX91" fmla="*/ 32876 w 106557"/>
                      <a:gd name="connsiteY91" fmla="*/ 3635 h 61864"/>
                      <a:gd name="connsiteX92" fmla="*/ 33821 w 106557"/>
                      <a:gd name="connsiteY92" fmla="*/ 2877 h 61864"/>
                      <a:gd name="connsiteX93" fmla="*/ 36788 w 106557"/>
                      <a:gd name="connsiteY93" fmla="*/ 1271 h 61864"/>
                      <a:gd name="connsiteX94" fmla="*/ 41547 w 106557"/>
                      <a:gd name="connsiteY94" fmla="*/ 147 h 61864"/>
                      <a:gd name="connsiteX95" fmla="*/ 43984 w 106557"/>
                      <a:gd name="connsiteY95" fmla="*/ 0 h 61864"/>
                      <a:gd name="connsiteX96" fmla="*/ 46453 w 106557"/>
                      <a:gd name="connsiteY96" fmla="*/ 905 h 61864"/>
                      <a:gd name="connsiteX97" fmla="*/ 48605 w 106557"/>
                      <a:gd name="connsiteY97" fmla="*/ 2649 h 61864"/>
                      <a:gd name="connsiteX98" fmla="*/ 53397 w 106557"/>
                      <a:gd name="connsiteY98" fmla="*/ 5477 h 61864"/>
                      <a:gd name="connsiteX99" fmla="*/ 54114 w 106557"/>
                      <a:gd name="connsiteY99" fmla="*/ 6634 h 61864"/>
                      <a:gd name="connsiteX100" fmla="*/ 54033 w 106557"/>
                      <a:gd name="connsiteY100" fmla="*/ 7180 h 61864"/>
                      <a:gd name="connsiteX101" fmla="*/ 52183 w 106557"/>
                      <a:gd name="connsiteY101" fmla="*/ 7954 h 61864"/>
                      <a:gd name="connsiteX102" fmla="*/ 51955 w 106557"/>
                      <a:gd name="connsiteY102" fmla="*/ 8663 h 6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106557" h="61864">
                        <a:moveTo>
                          <a:pt x="52696" y="9739"/>
                        </a:moveTo>
                        <a:lnTo>
                          <a:pt x="53454" y="10269"/>
                        </a:lnTo>
                        <a:lnTo>
                          <a:pt x="54897" y="9812"/>
                        </a:lnTo>
                        <a:lnTo>
                          <a:pt x="56013" y="8370"/>
                        </a:lnTo>
                        <a:lnTo>
                          <a:pt x="56689" y="8093"/>
                        </a:lnTo>
                        <a:lnTo>
                          <a:pt x="57741" y="8370"/>
                        </a:lnTo>
                        <a:lnTo>
                          <a:pt x="61204" y="10970"/>
                        </a:lnTo>
                        <a:lnTo>
                          <a:pt x="63869" y="13692"/>
                        </a:lnTo>
                        <a:lnTo>
                          <a:pt x="66689" y="15631"/>
                        </a:lnTo>
                        <a:lnTo>
                          <a:pt x="71172" y="17351"/>
                        </a:lnTo>
                        <a:lnTo>
                          <a:pt x="80959" y="22966"/>
                        </a:lnTo>
                        <a:lnTo>
                          <a:pt x="83844" y="26756"/>
                        </a:lnTo>
                        <a:lnTo>
                          <a:pt x="86884" y="32648"/>
                        </a:lnTo>
                        <a:lnTo>
                          <a:pt x="89598" y="37130"/>
                        </a:lnTo>
                        <a:lnTo>
                          <a:pt x="91994" y="40219"/>
                        </a:lnTo>
                        <a:lnTo>
                          <a:pt x="94561" y="42688"/>
                        </a:lnTo>
                        <a:lnTo>
                          <a:pt x="98677" y="45443"/>
                        </a:lnTo>
                        <a:lnTo>
                          <a:pt x="102344" y="43430"/>
                        </a:lnTo>
                        <a:lnTo>
                          <a:pt x="103917" y="42925"/>
                        </a:lnTo>
                        <a:lnTo>
                          <a:pt x="105270" y="43756"/>
                        </a:lnTo>
                        <a:lnTo>
                          <a:pt x="106558" y="45834"/>
                        </a:lnTo>
                        <a:lnTo>
                          <a:pt x="105881" y="46763"/>
                        </a:lnTo>
                        <a:lnTo>
                          <a:pt x="104284" y="47937"/>
                        </a:lnTo>
                        <a:lnTo>
                          <a:pt x="101652" y="49298"/>
                        </a:lnTo>
                        <a:lnTo>
                          <a:pt x="97968" y="49404"/>
                        </a:lnTo>
                        <a:lnTo>
                          <a:pt x="96199" y="49811"/>
                        </a:lnTo>
                        <a:lnTo>
                          <a:pt x="93314" y="51979"/>
                        </a:lnTo>
                        <a:lnTo>
                          <a:pt x="91008" y="54571"/>
                        </a:lnTo>
                        <a:lnTo>
                          <a:pt x="87797" y="55443"/>
                        </a:lnTo>
                        <a:lnTo>
                          <a:pt x="81758" y="59811"/>
                        </a:lnTo>
                        <a:lnTo>
                          <a:pt x="78433" y="61433"/>
                        </a:lnTo>
                        <a:lnTo>
                          <a:pt x="73543" y="61865"/>
                        </a:lnTo>
                        <a:lnTo>
                          <a:pt x="63389" y="58458"/>
                        </a:lnTo>
                        <a:lnTo>
                          <a:pt x="57056" y="58931"/>
                        </a:lnTo>
                        <a:lnTo>
                          <a:pt x="51889" y="58230"/>
                        </a:lnTo>
                        <a:lnTo>
                          <a:pt x="46111" y="54628"/>
                        </a:lnTo>
                        <a:lnTo>
                          <a:pt x="41637" y="52582"/>
                        </a:lnTo>
                        <a:lnTo>
                          <a:pt x="32966" y="49648"/>
                        </a:lnTo>
                        <a:lnTo>
                          <a:pt x="32395" y="49208"/>
                        </a:lnTo>
                        <a:lnTo>
                          <a:pt x="32028" y="48222"/>
                        </a:lnTo>
                        <a:lnTo>
                          <a:pt x="31849" y="46665"/>
                        </a:lnTo>
                        <a:lnTo>
                          <a:pt x="31450" y="45630"/>
                        </a:lnTo>
                        <a:lnTo>
                          <a:pt x="30847" y="45101"/>
                        </a:lnTo>
                        <a:lnTo>
                          <a:pt x="29477" y="45150"/>
                        </a:lnTo>
                        <a:lnTo>
                          <a:pt x="28084" y="46168"/>
                        </a:lnTo>
                        <a:lnTo>
                          <a:pt x="25411" y="47057"/>
                        </a:lnTo>
                        <a:lnTo>
                          <a:pt x="21336" y="46861"/>
                        </a:lnTo>
                        <a:lnTo>
                          <a:pt x="19568" y="46250"/>
                        </a:lnTo>
                        <a:lnTo>
                          <a:pt x="18215" y="45280"/>
                        </a:lnTo>
                        <a:lnTo>
                          <a:pt x="17489" y="44155"/>
                        </a:lnTo>
                        <a:lnTo>
                          <a:pt x="17367" y="42859"/>
                        </a:lnTo>
                        <a:lnTo>
                          <a:pt x="16992" y="41865"/>
                        </a:lnTo>
                        <a:lnTo>
                          <a:pt x="16365" y="41156"/>
                        </a:lnTo>
                        <a:lnTo>
                          <a:pt x="14890" y="41140"/>
                        </a:lnTo>
                        <a:lnTo>
                          <a:pt x="12567" y="41800"/>
                        </a:lnTo>
                        <a:lnTo>
                          <a:pt x="11662" y="42631"/>
                        </a:lnTo>
                        <a:lnTo>
                          <a:pt x="12176" y="43609"/>
                        </a:lnTo>
                        <a:lnTo>
                          <a:pt x="11744" y="44196"/>
                        </a:lnTo>
                        <a:lnTo>
                          <a:pt x="7693" y="44204"/>
                        </a:lnTo>
                        <a:lnTo>
                          <a:pt x="6104" y="43634"/>
                        </a:lnTo>
                        <a:lnTo>
                          <a:pt x="3056" y="41800"/>
                        </a:lnTo>
                        <a:lnTo>
                          <a:pt x="1720" y="39958"/>
                        </a:lnTo>
                        <a:lnTo>
                          <a:pt x="0" y="36666"/>
                        </a:lnTo>
                        <a:lnTo>
                          <a:pt x="163" y="35785"/>
                        </a:lnTo>
                        <a:lnTo>
                          <a:pt x="1263" y="33781"/>
                        </a:lnTo>
                        <a:lnTo>
                          <a:pt x="2689" y="32387"/>
                        </a:lnTo>
                        <a:lnTo>
                          <a:pt x="11866" y="31564"/>
                        </a:lnTo>
                        <a:lnTo>
                          <a:pt x="16169" y="30782"/>
                        </a:lnTo>
                        <a:lnTo>
                          <a:pt x="20847" y="28508"/>
                        </a:lnTo>
                        <a:lnTo>
                          <a:pt x="26299" y="24563"/>
                        </a:lnTo>
                        <a:lnTo>
                          <a:pt x="27481" y="23398"/>
                        </a:lnTo>
                        <a:lnTo>
                          <a:pt x="27628" y="22534"/>
                        </a:lnTo>
                        <a:lnTo>
                          <a:pt x="27220" y="21605"/>
                        </a:lnTo>
                        <a:lnTo>
                          <a:pt x="25517" y="19331"/>
                        </a:lnTo>
                        <a:lnTo>
                          <a:pt x="24938" y="17775"/>
                        </a:lnTo>
                        <a:lnTo>
                          <a:pt x="25484" y="17041"/>
                        </a:lnTo>
                        <a:lnTo>
                          <a:pt x="27668" y="16976"/>
                        </a:lnTo>
                        <a:lnTo>
                          <a:pt x="26519" y="16096"/>
                        </a:lnTo>
                        <a:lnTo>
                          <a:pt x="25541" y="14857"/>
                        </a:lnTo>
                        <a:lnTo>
                          <a:pt x="25199" y="14075"/>
                        </a:lnTo>
                        <a:lnTo>
                          <a:pt x="25248" y="12836"/>
                        </a:lnTo>
                        <a:lnTo>
                          <a:pt x="26992" y="12567"/>
                        </a:lnTo>
                        <a:lnTo>
                          <a:pt x="29143" y="13186"/>
                        </a:lnTo>
                        <a:lnTo>
                          <a:pt x="33284" y="16756"/>
                        </a:lnTo>
                        <a:lnTo>
                          <a:pt x="34930" y="17449"/>
                        </a:lnTo>
                        <a:lnTo>
                          <a:pt x="37774" y="17995"/>
                        </a:lnTo>
                        <a:lnTo>
                          <a:pt x="34750" y="15533"/>
                        </a:lnTo>
                        <a:lnTo>
                          <a:pt x="31629" y="10350"/>
                        </a:lnTo>
                        <a:lnTo>
                          <a:pt x="31238" y="8557"/>
                        </a:lnTo>
                        <a:lnTo>
                          <a:pt x="31319" y="7555"/>
                        </a:lnTo>
                        <a:lnTo>
                          <a:pt x="32143" y="4768"/>
                        </a:lnTo>
                        <a:lnTo>
                          <a:pt x="32876" y="3635"/>
                        </a:lnTo>
                        <a:lnTo>
                          <a:pt x="33821" y="2877"/>
                        </a:lnTo>
                        <a:lnTo>
                          <a:pt x="36788" y="1271"/>
                        </a:lnTo>
                        <a:lnTo>
                          <a:pt x="41547" y="147"/>
                        </a:lnTo>
                        <a:lnTo>
                          <a:pt x="43984" y="0"/>
                        </a:lnTo>
                        <a:lnTo>
                          <a:pt x="46453" y="905"/>
                        </a:lnTo>
                        <a:lnTo>
                          <a:pt x="48605" y="2649"/>
                        </a:lnTo>
                        <a:lnTo>
                          <a:pt x="53397" y="5477"/>
                        </a:lnTo>
                        <a:lnTo>
                          <a:pt x="54114" y="6634"/>
                        </a:lnTo>
                        <a:lnTo>
                          <a:pt x="54033" y="7180"/>
                        </a:lnTo>
                        <a:lnTo>
                          <a:pt x="52183" y="7954"/>
                        </a:lnTo>
                        <a:lnTo>
                          <a:pt x="51955" y="8663"/>
                        </a:lnTo>
                        <a:close/>
                      </a:path>
                    </a:pathLst>
                  </a:custGeom>
                  <a:solidFill>
                    <a:srgbClr val="D6D6D2"/>
                  </a:solidFill>
                  <a:ln w="6112" cap="rnd">
                    <a:solidFill>
                      <a:srgbClr val="FFFFFF"/>
                    </a:solidFill>
                    <a:prstDash val="solid"/>
                    <a:round/>
                  </a:ln>
                </p:spPr>
                <p:txBody>
                  <a:bodyPr rtlCol="0" anchor="ctr"/>
                  <a:lstStyle/>
                  <a:p>
                    <a:endParaRPr lang="en-US"/>
                  </a:p>
                </p:txBody>
              </p:sp>
              <p:sp>
                <p:nvSpPr>
                  <p:cNvPr id="540" name="Freeform: Shape 539">
                    <a:extLst>
                      <a:ext uri="{FF2B5EF4-FFF2-40B4-BE49-F238E27FC236}">
                        <a16:creationId xmlns:a16="http://schemas.microsoft.com/office/drawing/2014/main" id="{6DCC7E1D-22F7-4052-9492-31CF06E743B6}"/>
                      </a:ext>
                    </a:extLst>
                  </p:cNvPr>
                  <p:cNvSpPr/>
                  <p:nvPr/>
                </p:nvSpPr>
                <p:spPr>
                  <a:xfrm>
                    <a:off x="3939735" y="2130716"/>
                    <a:ext cx="35467" cy="13357"/>
                  </a:xfrm>
                  <a:custGeom>
                    <a:avLst/>
                    <a:gdLst>
                      <a:gd name="connsiteX0" fmla="*/ 33838 w 35467"/>
                      <a:gd name="connsiteY0" fmla="*/ 1002 h 13357"/>
                      <a:gd name="connsiteX1" fmla="*/ 34832 w 35467"/>
                      <a:gd name="connsiteY1" fmla="*/ 3553 h 13357"/>
                      <a:gd name="connsiteX2" fmla="*/ 35468 w 35467"/>
                      <a:gd name="connsiteY2" fmla="*/ 4360 h 13357"/>
                      <a:gd name="connsiteX3" fmla="*/ 34539 w 35467"/>
                      <a:gd name="connsiteY3" fmla="*/ 5566 h 13357"/>
                      <a:gd name="connsiteX4" fmla="*/ 30806 w 35467"/>
                      <a:gd name="connsiteY4" fmla="*/ 7979 h 13357"/>
                      <a:gd name="connsiteX5" fmla="*/ 22648 w 35467"/>
                      <a:gd name="connsiteY5" fmla="*/ 8965 h 13357"/>
                      <a:gd name="connsiteX6" fmla="*/ 18532 w 35467"/>
                      <a:gd name="connsiteY6" fmla="*/ 7832 h 13357"/>
                      <a:gd name="connsiteX7" fmla="*/ 20423 w 35467"/>
                      <a:gd name="connsiteY7" fmla="*/ 11287 h 13357"/>
                      <a:gd name="connsiteX8" fmla="*/ 20847 w 35467"/>
                      <a:gd name="connsiteY8" fmla="*/ 12746 h 13357"/>
                      <a:gd name="connsiteX9" fmla="*/ 20260 w 35467"/>
                      <a:gd name="connsiteY9" fmla="*/ 13357 h 13357"/>
                      <a:gd name="connsiteX10" fmla="*/ 18549 w 35467"/>
                      <a:gd name="connsiteY10" fmla="*/ 13178 h 13357"/>
                      <a:gd name="connsiteX11" fmla="*/ 15705 w 35467"/>
                      <a:gd name="connsiteY11" fmla="*/ 12192 h 13357"/>
                      <a:gd name="connsiteX12" fmla="*/ 14075 w 35467"/>
                      <a:gd name="connsiteY12" fmla="*/ 11018 h 13357"/>
                      <a:gd name="connsiteX13" fmla="*/ 13651 w 35467"/>
                      <a:gd name="connsiteY13" fmla="*/ 9657 h 13357"/>
                      <a:gd name="connsiteX14" fmla="*/ 13056 w 35467"/>
                      <a:gd name="connsiteY14" fmla="*/ 9356 h 13357"/>
                      <a:gd name="connsiteX15" fmla="*/ 12282 w 35467"/>
                      <a:gd name="connsiteY15" fmla="*/ 10114 h 13357"/>
                      <a:gd name="connsiteX16" fmla="*/ 11540 w 35467"/>
                      <a:gd name="connsiteY16" fmla="*/ 9935 h 13357"/>
                      <a:gd name="connsiteX17" fmla="*/ 9845 w 35467"/>
                      <a:gd name="connsiteY17" fmla="*/ 7897 h 13357"/>
                      <a:gd name="connsiteX18" fmla="*/ 8598 w 35467"/>
                      <a:gd name="connsiteY18" fmla="*/ 7147 h 13357"/>
                      <a:gd name="connsiteX19" fmla="*/ 416 w 35467"/>
                      <a:gd name="connsiteY19" fmla="*/ 5933 h 13357"/>
                      <a:gd name="connsiteX20" fmla="*/ 0 w 35467"/>
                      <a:gd name="connsiteY20" fmla="*/ 5387 h 13357"/>
                      <a:gd name="connsiteX21" fmla="*/ 424 w 35467"/>
                      <a:gd name="connsiteY21" fmla="*/ 4450 h 13357"/>
                      <a:gd name="connsiteX22" fmla="*/ 1695 w 35467"/>
                      <a:gd name="connsiteY22" fmla="*/ 3105 h 13357"/>
                      <a:gd name="connsiteX23" fmla="*/ 3529 w 35467"/>
                      <a:gd name="connsiteY23" fmla="*/ 2657 h 13357"/>
                      <a:gd name="connsiteX24" fmla="*/ 8158 w 35467"/>
                      <a:gd name="connsiteY24" fmla="*/ 3260 h 13357"/>
                      <a:gd name="connsiteX25" fmla="*/ 8533 w 35467"/>
                      <a:gd name="connsiteY25" fmla="*/ 2918 h 13357"/>
                      <a:gd name="connsiteX26" fmla="*/ 8834 w 35467"/>
                      <a:gd name="connsiteY26" fmla="*/ 1231 h 13357"/>
                      <a:gd name="connsiteX27" fmla="*/ 9193 w 35467"/>
                      <a:gd name="connsiteY27" fmla="*/ 570 h 13357"/>
                      <a:gd name="connsiteX28" fmla="*/ 12396 w 35467"/>
                      <a:gd name="connsiteY28" fmla="*/ 734 h 13357"/>
                      <a:gd name="connsiteX29" fmla="*/ 14417 w 35467"/>
                      <a:gd name="connsiteY29" fmla="*/ 383 h 13357"/>
                      <a:gd name="connsiteX30" fmla="*/ 15533 w 35467"/>
                      <a:gd name="connsiteY30" fmla="*/ 1239 h 13357"/>
                      <a:gd name="connsiteX31" fmla="*/ 16617 w 35467"/>
                      <a:gd name="connsiteY31" fmla="*/ 3252 h 13357"/>
                      <a:gd name="connsiteX32" fmla="*/ 18182 w 35467"/>
                      <a:gd name="connsiteY32" fmla="*/ 2877 h 13357"/>
                      <a:gd name="connsiteX33" fmla="*/ 20431 w 35467"/>
                      <a:gd name="connsiteY33" fmla="*/ 3178 h 13357"/>
                      <a:gd name="connsiteX34" fmla="*/ 22949 w 35467"/>
                      <a:gd name="connsiteY34" fmla="*/ 2437 h 13357"/>
                      <a:gd name="connsiteX35" fmla="*/ 26788 w 35467"/>
                      <a:gd name="connsiteY35" fmla="*/ 652 h 13357"/>
                      <a:gd name="connsiteX36" fmla="*/ 29787 w 35467"/>
                      <a:gd name="connsiteY36" fmla="*/ 0 h 1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5467" h="13357">
                        <a:moveTo>
                          <a:pt x="33838" y="1002"/>
                        </a:moveTo>
                        <a:lnTo>
                          <a:pt x="34832" y="3553"/>
                        </a:lnTo>
                        <a:lnTo>
                          <a:pt x="35468" y="4360"/>
                        </a:lnTo>
                        <a:lnTo>
                          <a:pt x="34539" y="5566"/>
                        </a:lnTo>
                        <a:lnTo>
                          <a:pt x="30806" y="7979"/>
                        </a:lnTo>
                        <a:lnTo>
                          <a:pt x="22648" y="8965"/>
                        </a:lnTo>
                        <a:lnTo>
                          <a:pt x="18532" y="7832"/>
                        </a:lnTo>
                        <a:lnTo>
                          <a:pt x="20423" y="11287"/>
                        </a:lnTo>
                        <a:lnTo>
                          <a:pt x="20847" y="12746"/>
                        </a:lnTo>
                        <a:lnTo>
                          <a:pt x="20260" y="13357"/>
                        </a:lnTo>
                        <a:lnTo>
                          <a:pt x="18549" y="13178"/>
                        </a:lnTo>
                        <a:lnTo>
                          <a:pt x="15705" y="12192"/>
                        </a:lnTo>
                        <a:lnTo>
                          <a:pt x="14075" y="11018"/>
                        </a:lnTo>
                        <a:lnTo>
                          <a:pt x="13651" y="9657"/>
                        </a:lnTo>
                        <a:lnTo>
                          <a:pt x="13056" y="9356"/>
                        </a:lnTo>
                        <a:lnTo>
                          <a:pt x="12282" y="10114"/>
                        </a:lnTo>
                        <a:lnTo>
                          <a:pt x="11540" y="9935"/>
                        </a:lnTo>
                        <a:lnTo>
                          <a:pt x="9845" y="7897"/>
                        </a:lnTo>
                        <a:lnTo>
                          <a:pt x="8598" y="7147"/>
                        </a:lnTo>
                        <a:lnTo>
                          <a:pt x="416" y="5933"/>
                        </a:lnTo>
                        <a:lnTo>
                          <a:pt x="0" y="5387"/>
                        </a:lnTo>
                        <a:lnTo>
                          <a:pt x="424" y="4450"/>
                        </a:lnTo>
                        <a:lnTo>
                          <a:pt x="1695" y="3105"/>
                        </a:lnTo>
                        <a:lnTo>
                          <a:pt x="3529" y="2657"/>
                        </a:lnTo>
                        <a:lnTo>
                          <a:pt x="8158" y="3260"/>
                        </a:lnTo>
                        <a:lnTo>
                          <a:pt x="8533" y="2918"/>
                        </a:lnTo>
                        <a:lnTo>
                          <a:pt x="8834" y="1231"/>
                        </a:lnTo>
                        <a:lnTo>
                          <a:pt x="9193" y="570"/>
                        </a:lnTo>
                        <a:lnTo>
                          <a:pt x="12396" y="734"/>
                        </a:lnTo>
                        <a:lnTo>
                          <a:pt x="14417" y="383"/>
                        </a:lnTo>
                        <a:lnTo>
                          <a:pt x="15533" y="1239"/>
                        </a:lnTo>
                        <a:lnTo>
                          <a:pt x="16617" y="3252"/>
                        </a:lnTo>
                        <a:lnTo>
                          <a:pt x="18182" y="2877"/>
                        </a:lnTo>
                        <a:lnTo>
                          <a:pt x="20431" y="3178"/>
                        </a:lnTo>
                        <a:lnTo>
                          <a:pt x="22949" y="2437"/>
                        </a:lnTo>
                        <a:lnTo>
                          <a:pt x="26788" y="652"/>
                        </a:lnTo>
                        <a:lnTo>
                          <a:pt x="29787" y="0"/>
                        </a:lnTo>
                        <a:close/>
                      </a:path>
                    </a:pathLst>
                  </a:custGeom>
                  <a:solidFill>
                    <a:srgbClr val="D6D6D2"/>
                  </a:solidFill>
                  <a:ln w="8150" cap="flat">
                    <a:noFill/>
                    <a:prstDash val="solid"/>
                    <a:miter/>
                  </a:ln>
                </p:spPr>
                <p:txBody>
                  <a:bodyPr rtlCol="0" anchor="ctr"/>
                  <a:lstStyle/>
                  <a:p>
                    <a:endParaRPr lang="en-US"/>
                  </a:p>
                </p:txBody>
              </p:sp>
              <p:sp>
                <p:nvSpPr>
                  <p:cNvPr id="541" name="Freeform: Shape 540">
                    <a:extLst>
                      <a:ext uri="{FF2B5EF4-FFF2-40B4-BE49-F238E27FC236}">
                        <a16:creationId xmlns:a16="http://schemas.microsoft.com/office/drawing/2014/main" id="{F8AEDD3F-D049-487C-8E04-AE3B7E4C2036}"/>
                      </a:ext>
                    </a:extLst>
                  </p:cNvPr>
                  <p:cNvSpPr/>
                  <p:nvPr/>
                </p:nvSpPr>
                <p:spPr>
                  <a:xfrm>
                    <a:off x="4024443" y="2147163"/>
                    <a:ext cx="17628" cy="13618"/>
                  </a:xfrm>
                  <a:custGeom>
                    <a:avLst/>
                    <a:gdLst>
                      <a:gd name="connsiteX0" fmla="*/ 9527 w 17628"/>
                      <a:gd name="connsiteY0" fmla="*/ 13113 h 13618"/>
                      <a:gd name="connsiteX1" fmla="*/ 6398 w 17628"/>
                      <a:gd name="connsiteY1" fmla="*/ 13618 h 13618"/>
                      <a:gd name="connsiteX2" fmla="*/ 4075 w 17628"/>
                      <a:gd name="connsiteY2" fmla="*/ 13357 h 13618"/>
                      <a:gd name="connsiteX3" fmla="*/ 2575 w 17628"/>
                      <a:gd name="connsiteY3" fmla="*/ 12314 h 13618"/>
                      <a:gd name="connsiteX4" fmla="*/ 1426 w 17628"/>
                      <a:gd name="connsiteY4" fmla="*/ 10913 h 13618"/>
                      <a:gd name="connsiteX5" fmla="*/ 0 w 17628"/>
                      <a:gd name="connsiteY5" fmla="*/ 7351 h 13618"/>
                      <a:gd name="connsiteX6" fmla="*/ 530 w 17628"/>
                      <a:gd name="connsiteY6" fmla="*/ 5689 h 13618"/>
                      <a:gd name="connsiteX7" fmla="*/ 693 w 17628"/>
                      <a:gd name="connsiteY7" fmla="*/ 2722 h 13618"/>
                      <a:gd name="connsiteX8" fmla="*/ 954 w 17628"/>
                      <a:gd name="connsiteY8" fmla="*/ 1606 h 13618"/>
                      <a:gd name="connsiteX9" fmla="*/ 1508 w 17628"/>
                      <a:gd name="connsiteY9" fmla="*/ 1051 h 13618"/>
                      <a:gd name="connsiteX10" fmla="*/ 4760 w 17628"/>
                      <a:gd name="connsiteY10" fmla="*/ 0 h 13618"/>
                      <a:gd name="connsiteX11" fmla="*/ 6707 w 17628"/>
                      <a:gd name="connsiteY11" fmla="*/ 114 h 13618"/>
                      <a:gd name="connsiteX12" fmla="*/ 9560 w 17628"/>
                      <a:gd name="connsiteY12" fmla="*/ 1255 h 13618"/>
                      <a:gd name="connsiteX13" fmla="*/ 15721 w 17628"/>
                      <a:gd name="connsiteY13" fmla="*/ 1597 h 13618"/>
                      <a:gd name="connsiteX14" fmla="*/ 17245 w 17628"/>
                      <a:gd name="connsiteY14" fmla="*/ 2632 h 13618"/>
                      <a:gd name="connsiteX15" fmla="*/ 17628 w 17628"/>
                      <a:gd name="connsiteY15" fmla="*/ 3276 h 13618"/>
                      <a:gd name="connsiteX16" fmla="*/ 17595 w 17628"/>
                      <a:gd name="connsiteY16" fmla="*/ 4050 h 13618"/>
                      <a:gd name="connsiteX17" fmla="*/ 17163 w 17628"/>
                      <a:gd name="connsiteY17" fmla="*/ 4979 h 13618"/>
                      <a:gd name="connsiteX18" fmla="*/ 14116 w 17628"/>
                      <a:gd name="connsiteY18" fmla="*/ 7677 h 13618"/>
                      <a:gd name="connsiteX19" fmla="*/ 12657 w 17628"/>
                      <a:gd name="connsiteY19" fmla="*/ 9527 h 13618"/>
                      <a:gd name="connsiteX20" fmla="*/ 11614 w 17628"/>
                      <a:gd name="connsiteY20" fmla="*/ 11744 h 13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628" h="13618">
                        <a:moveTo>
                          <a:pt x="9527" y="13113"/>
                        </a:moveTo>
                        <a:lnTo>
                          <a:pt x="6398" y="13618"/>
                        </a:lnTo>
                        <a:lnTo>
                          <a:pt x="4075" y="13357"/>
                        </a:lnTo>
                        <a:lnTo>
                          <a:pt x="2575" y="12314"/>
                        </a:lnTo>
                        <a:lnTo>
                          <a:pt x="1426" y="10913"/>
                        </a:lnTo>
                        <a:lnTo>
                          <a:pt x="0" y="7351"/>
                        </a:lnTo>
                        <a:lnTo>
                          <a:pt x="530" y="5689"/>
                        </a:lnTo>
                        <a:lnTo>
                          <a:pt x="693" y="2722"/>
                        </a:lnTo>
                        <a:lnTo>
                          <a:pt x="954" y="1606"/>
                        </a:lnTo>
                        <a:lnTo>
                          <a:pt x="1508" y="1051"/>
                        </a:lnTo>
                        <a:lnTo>
                          <a:pt x="4760" y="0"/>
                        </a:lnTo>
                        <a:lnTo>
                          <a:pt x="6707" y="114"/>
                        </a:lnTo>
                        <a:lnTo>
                          <a:pt x="9560" y="1255"/>
                        </a:lnTo>
                        <a:lnTo>
                          <a:pt x="15721" y="1597"/>
                        </a:lnTo>
                        <a:lnTo>
                          <a:pt x="17245" y="2632"/>
                        </a:lnTo>
                        <a:lnTo>
                          <a:pt x="17628" y="3276"/>
                        </a:lnTo>
                        <a:lnTo>
                          <a:pt x="17595" y="4050"/>
                        </a:lnTo>
                        <a:lnTo>
                          <a:pt x="17163" y="4979"/>
                        </a:lnTo>
                        <a:lnTo>
                          <a:pt x="14116" y="7677"/>
                        </a:lnTo>
                        <a:lnTo>
                          <a:pt x="12657" y="9527"/>
                        </a:lnTo>
                        <a:lnTo>
                          <a:pt x="11614" y="11744"/>
                        </a:lnTo>
                        <a:close/>
                      </a:path>
                    </a:pathLst>
                  </a:custGeom>
                  <a:solidFill>
                    <a:srgbClr val="D6D6D2"/>
                  </a:solidFill>
                  <a:ln w="8150" cap="flat">
                    <a:noFill/>
                    <a:prstDash val="solid"/>
                    <a:miter/>
                  </a:ln>
                </p:spPr>
                <p:txBody>
                  <a:bodyPr rtlCol="0" anchor="ctr"/>
                  <a:lstStyle/>
                  <a:p>
                    <a:endParaRPr lang="en-US"/>
                  </a:p>
                </p:txBody>
              </p:sp>
              <p:sp>
                <p:nvSpPr>
                  <p:cNvPr id="542" name="Freeform: Shape 541">
                    <a:extLst>
                      <a:ext uri="{FF2B5EF4-FFF2-40B4-BE49-F238E27FC236}">
                        <a16:creationId xmlns:a16="http://schemas.microsoft.com/office/drawing/2014/main" id="{4DFEBFF6-DB2B-4AF4-9241-930E71634671}"/>
                      </a:ext>
                    </a:extLst>
                  </p:cNvPr>
                  <p:cNvSpPr/>
                  <p:nvPr/>
                </p:nvSpPr>
                <p:spPr>
                  <a:xfrm>
                    <a:off x="3974184" y="2149404"/>
                    <a:ext cx="29192" cy="24310"/>
                  </a:xfrm>
                  <a:custGeom>
                    <a:avLst/>
                    <a:gdLst>
                      <a:gd name="connsiteX0" fmla="*/ 4841 w 29192"/>
                      <a:gd name="connsiteY0" fmla="*/ 24017 h 24310"/>
                      <a:gd name="connsiteX1" fmla="*/ 3130 w 29192"/>
                      <a:gd name="connsiteY1" fmla="*/ 24311 h 24310"/>
                      <a:gd name="connsiteX2" fmla="*/ 1100 w 29192"/>
                      <a:gd name="connsiteY2" fmla="*/ 23471 h 24310"/>
                      <a:gd name="connsiteX3" fmla="*/ 383 w 29192"/>
                      <a:gd name="connsiteY3" fmla="*/ 22053 h 24310"/>
                      <a:gd name="connsiteX4" fmla="*/ 0 w 29192"/>
                      <a:gd name="connsiteY4" fmla="*/ 20603 h 24310"/>
                      <a:gd name="connsiteX5" fmla="*/ 359 w 29192"/>
                      <a:gd name="connsiteY5" fmla="*/ 19861 h 24310"/>
                      <a:gd name="connsiteX6" fmla="*/ 1271 w 29192"/>
                      <a:gd name="connsiteY6" fmla="*/ 19152 h 24310"/>
                      <a:gd name="connsiteX7" fmla="*/ 2502 w 29192"/>
                      <a:gd name="connsiteY7" fmla="*/ 17546 h 24310"/>
                      <a:gd name="connsiteX8" fmla="*/ 4050 w 29192"/>
                      <a:gd name="connsiteY8" fmla="*/ 15036 h 24310"/>
                      <a:gd name="connsiteX9" fmla="*/ 6471 w 29192"/>
                      <a:gd name="connsiteY9" fmla="*/ 13349 h 24310"/>
                      <a:gd name="connsiteX10" fmla="*/ 11793 w 29192"/>
                      <a:gd name="connsiteY10" fmla="*/ 11785 h 24310"/>
                      <a:gd name="connsiteX11" fmla="*/ 12551 w 29192"/>
                      <a:gd name="connsiteY11" fmla="*/ 11239 h 24310"/>
                      <a:gd name="connsiteX12" fmla="*/ 14922 w 29192"/>
                      <a:gd name="connsiteY12" fmla="*/ 6830 h 24310"/>
                      <a:gd name="connsiteX13" fmla="*/ 15729 w 29192"/>
                      <a:gd name="connsiteY13" fmla="*/ 6072 h 24310"/>
                      <a:gd name="connsiteX14" fmla="*/ 18451 w 29192"/>
                      <a:gd name="connsiteY14" fmla="*/ 5631 h 24310"/>
                      <a:gd name="connsiteX15" fmla="*/ 18745 w 29192"/>
                      <a:gd name="connsiteY15" fmla="*/ 5053 h 24310"/>
                      <a:gd name="connsiteX16" fmla="*/ 17783 w 29192"/>
                      <a:gd name="connsiteY16" fmla="*/ 3969 h 24310"/>
                      <a:gd name="connsiteX17" fmla="*/ 17783 w 29192"/>
                      <a:gd name="connsiteY17" fmla="*/ 2852 h 24310"/>
                      <a:gd name="connsiteX18" fmla="*/ 18745 w 29192"/>
                      <a:gd name="connsiteY18" fmla="*/ 1695 h 24310"/>
                      <a:gd name="connsiteX19" fmla="*/ 20065 w 29192"/>
                      <a:gd name="connsiteY19" fmla="*/ 831 h 24310"/>
                      <a:gd name="connsiteX20" fmla="*/ 23512 w 29192"/>
                      <a:gd name="connsiteY20" fmla="*/ 0 h 24310"/>
                      <a:gd name="connsiteX21" fmla="*/ 26625 w 29192"/>
                      <a:gd name="connsiteY21" fmla="*/ 147 h 24310"/>
                      <a:gd name="connsiteX22" fmla="*/ 27416 w 29192"/>
                      <a:gd name="connsiteY22" fmla="*/ 481 h 24310"/>
                      <a:gd name="connsiteX23" fmla="*/ 28117 w 29192"/>
                      <a:gd name="connsiteY23" fmla="*/ 1247 h 24310"/>
                      <a:gd name="connsiteX24" fmla="*/ 29062 w 29192"/>
                      <a:gd name="connsiteY24" fmla="*/ 3317 h 24310"/>
                      <a:gd name="connsiteX25" fmla="*/ 29192 w 29192"/>
                      <a:gd name="connsiteY25" fmla="*/ 3782 h 24310"/>
                      <a:gd name="connsiteX26" fmla="*/ 27750 w 29192"/>
                      <a:gd name="connsiteY26" fmla="*/ 5607 h 24310"/>
                      <a:gd name="connsiteX27" fmla="*/ 23985 w 29192"/>
                      <a:gd name="connsiteY27" fmla="*/ 8419 h 24310"/>
                      <a:gd name="connsiteX28" fmla="*/ 21654 w 29192"/>
                      <a:gd name="connsiteY28" fmla="*/ 10766 h 24310"/>
                      <a:gd name="connsiteX29" fmla="*/ 21189 w 29192"/>
                      <a:gd name="connsiteY29" fmla="*/ 11532 h 24310"/>
                      <a:gd name="connsiteX30" fmla="*/ 20969 w 29192"/>
                      <a:gd name="connsiteY30" fmla="*/ 12518 h 24310"/>
                      <a:gd name="connsiteX31" fmla="*/ 20097 w 29192"/>
                      <a:gd name="connsiteY31" fmla="*/ 13724 h 24310"/>
                      <a:gd name="connsiteX32" fmla="*/ 17375 w 29192"/>
                      <a:gd name="connsiteY32" fmla="*/ 16609 h 24310"/>
                      <a:gd name="connsiteX33" fmla="*/ 15542 w 29192"/>
                      <a:gd name="connsiteY33" fmla="*/ 19388 h 24310"/>
                      <a:gd name="connsiteX34" fmla="*/ 13724 w 29192"/>
                      <a:gd name="connsiteY34" fmla="*/ 20920 h 24310"/>
                      <a:gd name="connsiteX35" fmla="*/ 8736 w 29192"/>
                      <a:gd name="connsiteY35" fmla="*/ 22363 h 2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9192" h="24310">
                        <a:moveTo>
                          <a:pt x="4841" y="24017"/>
                        </a:moveTo>
                        <a:lnTo>
                          <a:pt x="3130" y="24311"/>
                        </a:lnTo>
                        <a:lnTo>
                          <a:pt x="1100" y="23471"/>
                        </a:lnTo>
                        <a:lnTo>
                          <a:pt x="383" y="22053"/>
                        </a:lnTo>
                        <a:lnTo>
                          <a:pt x="0" y="20603"/>
                        </a:lnTo>
                        <a:lnTo>
                          <a:pt x="359" y="19861"/>
                        </a:lnTo>
                        <a:lnTo>
                          <a:pt x="1271" y="19152"/>
                        </a:lnTo>
                        <a:lnTo>
                          <a:pt x="2502" y="17546"/>
                        </a:lnTo>
                        <a:lnTo>
                          <a:pt x="4050" y="15036"/>
                        </a:lnTo>
                        <a:lnTo>
                          <a:pt x="6471" y="13349"/>
                        </a:lnTo>
                        <a:lnTo>
                          <a:pt x="11793" y="11785"/>
                        </a:lnTo>
                        <a:lnTo>
                          <a:pt x="12551" y="11239"/>
                        </a:lnTo>
                        <a:lnTo>
                          <a:pt x="14922" y="6830"/>
                        </a:lnTo>
                        <a:lnTo>
                          <a:pt x="15729" y="6072"/>
                        </a:lnTo>
                        <a:lnTo>
                          <a:pt x="18451" y="5631"/>
                        </a:lnTo>
                        <a:lnTo>
                          <a:pt x="18745" y="5053"/>
                        </a:lnTo>
                        <a:lnTo>
                          <a:pt x="17783" y="3969"/>
                        </a:lnTo>
                        <a:lnTo>
                          <a:pt x="17783" y="2852"/>
                        </a:lnTo>
                        <a:lnTo>
                          <a:pt x="18745" y="1695"/>
                        </a:lnTo>
                        <a:lnTo>
                          <a:pt x="20065" y="831"/>
                        </a:lnTo>
                        <a:lnTo>
                          <a:pt x="23512" y="0"/>
                        </a:lnTo>
                        <a:lnTo>
                          <a:pt x="26625" y="147"/>
                        </a:lnTo>
                        <a:lnTo>
                          <a:pt x="27416" y="481"/>
                        </a:lnTo>
                        <a:lnTo>
                          <a:pt x="28117" y="1247"/>
                        </a:lnTo>
                        <a:lnTo>
                          <a:pt x="29062" y="3317"/>
                        </a:lnTo>
                        <a:lnTo>
                          <a:pt x="29192" y="3782"/>
                        </a:lnTo>
                        <a:lnTo>
                          <a:pt x="27750" y="5607"/>
                        </a:lnTo>
                        <a:lnTo>
                          <a:pt x="23985" y="8419"/>
                        </a:lnTo>
                        <a:lnTo>
                          <a:pt x="21654" y="10766"/>
                        </a:lnTo>
                        <a:lnTo>
                          <a:pt x="21189" y="11532"/>
                        </a:lnTo>
                        <a:lnTo>
                          <a:pt x="20969" y="12518"/>
                        </a:lnTo>
                        <a:lnTo>
                          <a:pt x="20097" y="13724"/>
                        </a:lnTo>
                        <a:lnTo>
                          <a:pt x="17375" y="16609"/>
                        </a:lnTo>
                        <a:lnTo>
                          <a:pt x="15542" y="19388"/>
                        </a:lnTo>
                        <a:lnTo>
                          <a:pt x="13724" y="20920"/>
                        </a:lnTo>
                        <a:lnTo>
                          <a:pt x="8736" y="22363"/>
                        </a:lnTo>
                        <a:close/>
                      </a:path>
                    </a:pathLst>
                  </a:custGeom>
                  <a:solidFill>
                    <a:srgbClr val="D6D6D2"/>
                  </a:solidFill>
                  <a:ln w="8150" cap="flat">
                    <a:noFill/>
                    <a:prstDash val="solid"/>
                    <a:miter/>
                  </a:ln>
                </p:spPr>
                <p:txBody>
                  <a:bodyPr rtlCol="0" anchor="ctr"/>
                  <a:lstStyle/>
                  <a:p>
                    <a:endParaRPr lang="en-US"/>
                  </a:p>
                </p:txBody>
              </p:sp>
              <p:sp>
                <p:nvSpPr>
                  <p:cNvPr id="543" name="Freeform: Shape 542">
                    <a:extLst>
                      <a:ext uri="{FF2B5EF4-FFF2-40B4-BE49-F238E27FC236}">
                        <a16:creationId xmlns:a16="http://schemas.microsoft.com/office/drawing/2014/main" id="{9869D136-0D19-441F-9CCA-C521B595094D}"/>
                      </a:ext>
                    </a:extLst>
                  </p:cNvPr>
                  <p:cNvSpPr/>
                  <p:nvPr/>
                </p:nvSpPr>
                <p:spPr>
                  <a:xfrm>
                    <a:off x="4073456" y="2179982"/>
                    <a:ext cx="15011" cy="15517"/>
                  </a:xfrm>
                  <a:custGeom>
                    <a:avLst/>
                    <a:gdLst>
                      <a:gd name="connsiteX0" fmla="*/ 12958 w 15011"/>
                      <a:gd name="connsiteY0" fmla="*/ 15232 h 15517"/>
                      <a:gd name="connsiteX1" fmla="*/ 11010 w 15011"/>
                      <a:gd name="connsiteY1" fmla="*/ 15517 h 15517"/>
                      <a:gd name="connsiteX2" fmla="*/ 8207 w 15011"/>
                      <a:gd name="connsiteY2" fmla="*/ 12803 h 15517"/>
                      <a:gd name="connsiteX3" fmla="*/ 2306 w 15011"/>
                      <a:gd name="connsiteY3" fmla="*/ 9723 h 15517"/>
                      <a:gd name="connsiteX4" fmla="*/ 73 w 15011"/>
                      <a:gd name="connsiteY4" fmla="*/ 7490 h 15517"/>
                      <a:gd name="connsiteX5" fmla="*/ 0 w 15011"/>
                      <a:gd name="connsiteY5" fmla="*/ 6414 h 15517"/>
                      <a:gd name="connsiteX6" fmla="*/ 179 w 15011"/>
                      <a:gd name="connsiteY6" fmla="*/ 4711 h 15517"/>
                      <a:gd name="connsiteX7" fmla="*/ 823 w 15011"/>
                      <a:gd name="connsiteY7" fmla="*/ 2641 h 15517"/>
                      <a:gd name="connsiteX8" fmla="*/ 2877 w 15011"/>
                      <a:gd name="connsiteY8" fmla="*/ 367 h 15517"/>
                      <a:gd name="connsiteX9" fmla="*/ 5045 w 15011"/>
                      <a:gd name="connsiteY9" fmla="*/ 0 h 15517"/>
                      <a:gd name="connsiteX10" fmla="*/ 8150 w 15011"/>
                      <a:gd name="connsiteY10" fmla="*/ 505 h 15517"/>
                      <a:gd name="connsiteX11" fmla="*/ 10407 w 15011"/>
                      <a:gd name="connsiteY11" fmla="*/ 2135 h 15517"/>
                      <a:gd name="connsiteX12" fmla="*/ 12860 w 15011"/>
                      <a:gd name="connsiteY12" fmla="*/ 6650 h 15517"/>
                      <a:gd name="connsiteX13" fmla="*/ 14490 w 15011"/>
                      <a:gd name="connsiteY13" fmla="*/ 8842 h 15517"/>
                      <a:gd name="connsiteX14" fmla="*/ 15012 w 15011"/>
                      <a:gd name="connsiteY14" fmla="*/ 10448 h 15517"/>
                      <a:gd name="connsiteX15" fmla="*/ 14197 w 15011"/>
                      <a:gd name="connsiteY15" fmla="*/ 11198 h 15517"/>
                      <a:gd name="connsiteX16" fmla="*/ 14278 w 15011"/>
                      <a:gd name="connsiteY16" fmla="*/ 11939 h 15517"/>
                      <a:gd name="connsiteX17" fmla="*/ 14645 w 15011"/>
                      <a:gd name="connsiteY17" fmla="*/ 12404 h 15517"/>
                      <a:gd name="connsiteX18" fmla="*/ 14498 w 15011"/>
                      <a:gd name="connsiteY18" fmla="*/ 13243 h 15517"/>
                      <a:gd name="connsiteX19" fmla="*/ 13846 w 15011"/>
                      <a:gd name="connsiteY19" fmla="*/ 14474 h 1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011" h="15517">
                        <a:moveTo>
                          <a:pt x="12958" y="15232"/>
                        </a:moveTo>
                        <a:lnTo>
                          <a:pt x="11010" y="15517"/>
                        </a:lnTo>
                        <a:lnTo>
                          <a:pt x="8207" y="12803"/>
                        </a:lnTo>
                        <a:lnTo>
                          <a:pt x="2306" y="9723"/>
                        </a:lnTo>
                        <a:lnTo>
                          <a:pt x="73" y="7490"/>
                        </a:lnTo>
                        <a:lnTo>
                          <a:pt x="0" y="6414"/>
                        </a:lnTo>
                        <a:lnTo>
                          <a:pt x="179" y="4711"/>
                        </a:lnTo>
                        <a:lnTo>
                          <a:pt x="823" y="2641"/>
                        </a:lnTo>
                        <a:lnTo>
                          <a:pt x="2877" y="367"/>
                        </a:lnTo>
                        <a:lnTo>
                          <a:pt x="5045" y="0"/>
                        </a:lnTo>
                        <a:lnTo>
                          <a:pt x="8150" y="505"/>
                        </a:lnTo>
                        <a:lnTo>
                          <a:pt x="10407" y="2135"/>
                        </a:lnTo>
                        <a:lnTo>
                          <a:pt x="12860" y="6650"/>
                        </a:lnTo>
                        <a:lnTo>
                          <a:pt x="14490" y="8842"/>
                        </a:lnTo>
                        <a:lnTo>
                          <a:pt x="15012" y="10448"/>
                        </a:lnTo>
                        <a:lnTo>
                          <a:pt x="14197" y="11198"/>
                        </a:lnTo>
                        <a:lnTo>
                          <a:pt x="14278" y="11939"/>
                        </a:lnTo>
                        <a:lnTo>
                          <a:pt x="14645" y="12404"/>
                        </a:lnTo>
                        <a:lnTo>
                          <a:pt x="14498" y="13243"/>
                        </a:lnTo>
                        <a:lnTo>
                          <a:pt x="13846" y="14474"/>
                        </a:lnTo>
                        <a:close/>
                      </a:path>
                    </a:pathLst>
                  </a:custGeom>
                  <a:solidFill>
                    <a:srgbClr val="D6D6D2"/>
                  </a:solidFill>
                  <a:ln w="8150" cap="flat">
                    <a:noFill/>
                    <a:prstDash val="solid"/>
                    <a:miter/>
                  </a:ln>
                </p:spPr>
                <p:txBody>
                  <a:bodyPr rtlCol="0" anchor="ctr"/>
                  <a:lstStyle/>
                  <a:p>
                    <a:endParaRPr lang="en-US"/>
                  </a:p>
                </p:txBody>
              </p:sp>
              <p:sp>
                <p:nvSpPr>
                  <p:cNvPr id="544" name="Freeform: Shape 543">
                    <a:extLst>
                      <a:ext uri="{FF2B5EF4-FFF2-40B4-BE49-F238E27FC236}">
                        <a16:creationId xmlns:a16="http://schemas.microsoft.com/office/drawing/2014/main" id="{2FB734A0-0AEA-431A-80EA-3E77C562FF3F}"/>
                      </a:ext>
                    </a:extLst>
                  </p:cNvPr>
                  <p:cNvSpPr/>
                  <p:nvPr/>
                </p:nvSpPr>
                <p:spPr>
                  <a:xfrm>
                    <a:off x="4026269" y="2195727"/>
                    <a:ext cx="55646" cy="47838"/>
                  </a:xfrm>
                  <a:custGeom>
                    <a:avLst/>
                    <a:gdLst>
                      <a:gd name="connsiteX0" fmla="*/ 40431 w 55646"/>
                      <a:gd name="connsiteY0" fmla="*/ 628 h 47838"/>
                      <a:gd name="connsiteX1" fmla="*/ 53373 w 55646"/>
                      <a:gd name="connsiteY1" fmla="*/ 4499 h 47838"/>
                      <a:gd name="connsiteX2" fmla="*/ 54636 w 55646"/>
                      <a:gd name="connsiteY2" fmla="*/ 5900 h 47838"/>
                      <a:gd name="connsiteX3" fmla="*/ 55255 w 55646"/>
                      <a:gd name="connsiteY3" fmla="*/ 7156 h 47838"/>
                      <a:gd name="connsiteX4" fmla="*/ 55614 w 55646"/>
                      <a:gd name="connsiteY4" fmla="*/ 8549 h 47838"/>
                      <a:gd name="connsiteX5" fmla="*/ 55646 w 55646"/>
                      <a:gd name="connsiteY5" fmla="*/ 11418 h 47838"/>
                      <a:gd name="connsiteX6" fmla="*/ 55386 w 55646"/>
                      <a:gd name="connsiteY6" fmla="*/ 12567 h 47838"/>
                      <a:gd name="connsiteX7" fmla="*/ 54123 w 55646"/>
                      <a:gd name="connsiteY7" fmla="*/ 15346 h 47838"/>
                      <a:gd name="connsiteX8" fmla="*/ 54033 w 55646"/>
                      <a:gd name="connsiteY8" fmla="*/ 16210 h 47838"/>
                      <a:gd name="connsiteX9" fmla="*/ 55051 w 55646"/>
                      <a:gd name="connsiteY9" fmla="*/ 25517 h 47838"/>
                      <a:gd name="connsiteX10" fmla="*/ 54946 w 55646"/>
                      <a:gd name="connsiteY10" fmla="*/ 30578 h 47838"/>
                      <a:gd name="connsiteX11" fmla="*/ 54033 w 55646"/>
                      <a:gd name="connsiteY11" fmla="*/ 34799 h 47838"/>
                      <a:gd name="connsiteX12" fmla="*/ 52183 w 55646"/>
                      <a:gd name="connsiteY12" fmla="*/ 38190 h 47838"/>
                      <a:gd name="connsiteX13" fmla="*/ 49396 w 55646"/>
                      <a:gd name="connsiteY13" fmla="*/ 40732 h 47838"/>
                      <a:gd name="connsiteX14" fmla="*/ 47269 w 55646"/>
                      <a:gd name="connsiteY14" fmla="*/ 42183 h 47838"/>
                      <a:gd name="connsiteX15" fmla="*/ 37847 w 55646"/>
                      <a:gd name="connsiteY15" fmla="*/ 45785 h 47838"/>
                      <a:gd name="connsiteX16" fmla="*/ 31173 w 55646"/>
                      <a:gd name="connsiteY16" fmla="*/ 46714 h 47838"/>
                      <a:gd name="connsiteX17" fmla="*/ 24140 w 55646"/>
                      <a:gd name="connsiteY17" fmla="*/ 46885 h 47838"/>
                      <a:gd name="connsiteX18" fmla="*/ 15175 w 55646"/>
                      <a:gd name="connsiteY18" fmla="*/ 47839 h 47838"/>
                      <a:gd name="connsiteX19" fmla="*/ 11084 w 55646"/>
                      <a:gd name="connsiteY19" fmla="*/ 47643 h 47838"/>
                      <a:gd name="connsiteX20" fmla="*/ 8973 w 55646"/>
                      <a:gd name="connsiteY20" fmla="*/ 47211 h 47838"/>
                      <a:gd name="connsiteX21" fmla="*/ 7465 w 55646"/>
                      <a:gd name="connsiteY21" fmla="*/ 46502 h 47838"/>
                      <a:gd name="connsiteX22" fmla="*/ 5705 w 55646"/>
                      <a:gd name="connsiteY22" fmla="*/ 44229 h 47838"/>
                      <a:gd name="connsiteX23" fmla="*/ 3692 w 55646"/>
                      <a:gd name="connsiteY23" fmla="*/ 40382 h 47838"/>
                      <a:gd name="connsiteX24" fmla="*/ 2021 w 55646"/>
                      <a:gd name="connsiteY24" fmla="*/ 36063 h 47838"/>
                      <a:gd name="connsiteX25" fmla="*/ 41 w 55646"/>
                      <a:gd name="connsiteY25" fmla="*/ 28394 h 47838"/>
                      <a:gd name="connsiteX26" fmla="*/ 0 w 55646"/>
                      <a:gd name="connsiteY26" fmla="*/ 27489 h 47838"/>
                      <a:gd name="connsiteX27" fmla="*/ 1915 w 55646"/>
                      <a:gd name="connsiteY27" fmla="*/ 21230 h 47838"/>
                      <a:gd name="connsiteX28" fmla="*/ 4458 w 55646"/>
                      <a:gd name="connsiteY28" fmla="*/ 17009 h 47838"/>
                      <a:gd name="connsiteX29" fmla="*/ 8957 w 55646"/>
                      <a:gd name="connsiteY29" fmla="*/ 10741 h 47838"/>
                      <a:gd name="connsiteX30" fmla="*/ 14026 w 55646"/>
                      <a:gd name="connsiteY30" fmla="*/ 4621 h 47838"/>
                      <a:gd name="connsiteX31" fmla="*/ 15322 w 55646"/>
                      <a:gd name="connsiteY31" fmla="*/ 3610 h 47838"/>
                      <a:gd name="connsiteX32" fmla="*/ 17612 w 55646"/>
                      <a:gd name="connsiteY32" fmla="*/ 2535 h 47838"/>
                      <a:gd name="connsiteX33" fmla="*/ 23349 w 55646"/>
                      <a:gd name="connsiteY33" fmla="*/ 799 h 47838"/>
                      <a:gd name="connsiteX34" fmla="*/ 28100 w 55646"/>
                      <a:gd name="connsiteY34" fmla="*/ 1231 h 47838"/>
                      <a:gd name="connsiteX35" fmla="*/ 30203 w 55646"/>
                      <a:gd name="connsiteY35" fmla="*/ 1011 h 47838"/>
                      <a:gd name="connsiteX36" fmla="*/ 32819 w 55646"/>
                      <a:gd name="connsiteY36" fmla="*/ 204 h 47838"/>
                      <a:gd name="connsiteX37" fmla="*/ 35696 w 55646"/>
                      <a:gd name="connsiteY37" fmla="*/ 0 h 47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5646" h="47838">
                        <a:moveTo>
                          <a:pt x="40431" y="628"/>
                        </a:moveTo>
                        <a:lnTo>
                          <a:pt x="53373" y="4499"/>
                        </a:lnTo>
                        <a:lnTo>
                          <a:pt x="54636" y="5900"/>
                        </a:lnTo>
                        <a:lnTo>
                          <a:pt x="55255" y="7156"/>
                        </a:lnTo>
                        <a:lnTo>
                          <a:pt x="55614" y="8549"/>
                        </a:lnTo>
                        <a:lnTo>
                          <a:pt x="55646" y="11418"/>
                        </a:lnTo>
                        <a:lnTo>
                          <a:pt x="55386" y="12567"/>
                        </a:lnTo>
                        <a:lnTo>
                          <a:pt x="54123" y="15346"/>
                        </a:lnTo>
                        <a:lnTo>
                          <a:pt x="54033" y="16210"/>
                        </a:lnTo>
                        <a:lnTo>
                          <a:pt x="55051" y="25517"/>
                        </a:lnTo>
                        <a:lnTo>
                          <a:pt x="54946" y="30578"/>
                        </a:lnTo>
                        <a:lnTo>
                          <a:pt x="54033" y="34799"/>
                        </a:lnTo>
                        <a:lnTo>
                          <a:pt x="52183" y="38190"/>
                        </a:lnTo>
                        <a:lnTo>
                          <a:pt x="49396" y="40732"/>
                        </a:lnTo>
                        <a:lnTo>
                          <a:pt x="47269" y="42183"/>
                        </a:lnTo>
                        <a:lnTo>
                          <a:pt x="37847" y="45785"/>
                        </a:lnTo>
                        <a:lnTo>
                          <a:pt x="31173" y="46714"/>
                        </a:lnTo>
                        <a:lnTo>
                          <a:pt x="24140" y="46885"/>
                        </a:lnTo>
                        <a:lnTo>
                          <a:pt x="15175" y="47839"/>
                        </a:lnTo>
                        <a:lnTo>
                          <a:pt x="11084" y="47643"/>
                        </a:lnTo>
                        <a:lnTo>
                          <a:pt x="8973" y="47211"/>
                        </a:lnTo>
                        <a:lnTo>
                          <a:pt x="7465" y="46502"/>
                        </a:lnTo>
                        <a:lnTo>
                          <a:pt x="5705" y="44229"/>
                        </a:lnTo>
                        <a:lnTo>
                          <a:pt x="3692" y="40382"/>
                        </a:lnTo>
                        <a:lnTo>
                          <a:pt x="2021" y="36063"/>
                        </a:lnTo>
                        <a:lnTo>
                          <a:pt x="41" y="28394"/>
                        </a:lnTo>
                        <a:lnTo>
                          <a:pt x="0" y="27489"/>
                        </a:lnTo>
                        <a:lnTo>
                          <a:pt x="1915" y="21230"/>
                        </a:lnTo>
                        <a:lnTo>
                          <a:pt x="4458" y="17009"/>
                        </a:lnTo>
                        <a:lnTo>
                          <a:pt x="8957" y="10741"/>
                        </a:lnTo>
                        <a:lnTo>
                          <a:pt x="14026" y="4621"/>
                        </a:lnTo>
                        <a:lnTo>
                          <a:pt x="15322" y="3610"/>
                        </a:lnTo>
                        <a:lnTo>
                          <a:pt x="17612" y="2535"/>
                        </a:lnTo>
                        <a:lnTo>
                          <a:pt x="23349" y="799"/>
                        </a:lnTo>
                        <a:lnTo>
                          <a:pt x="28100" y="1231"/>
                        </a:lnTo>
                        <a:lnTo>
                          <a:pt x="30203" y="1011"/>
                        </a:lnTo>
                        <a:lnTo>
                          <a:pt x="32819" y="204"/>
                        </a:lnTo>
                        <a:lnTo>
                          <a:pt x="35696" y="0"/>
                        </a:lnTo>
                        <a:close/>
                      </a:path>
                    </a:pathLst>
                  </a:custGeom>
                  <a:solidFill>
                    <a:srgbClr val="D6D6D2"/>
                  </a:solidFill>
                  <a:ln w="8150" cap="flat">
                    <a:noFill/>
                    <a:prstDash val="solid"/>
                    <a:miter/>
                  </a:ln>
                </p:spPr>
                <p:txBody>
                  <a:bodyPr rtlCol="0" anchor="ctr"/>
                  <a:lstStyle/>
                  <a:p>
                    <a:endParaRPr lang="en-US"/>
                  </a:p>
                </p:txBody>
              </p:sp>
            </p:grpSp>
            <p:sp>
              <p:nvSpPr>
                <p:cNvPr id="477" name="Freeform: Shape 476">
                  <a:extLst>
                    <a:ext uri="{FF2B5EF4-FFF2-40B4-BE49-F238E27FC236}">
                      <a16:creationId xmlns:a16="http://schemas.microsoft.com/office/drawing/2014/main" id="{E4B40FA1-63FF-4739-824A-BBFE7D695716}"/>
                    </a:ext>
                  </a:extLst>
                </p:cNvPr>
                <p:cNvSpPr/>
                <p:nvPr/>
              </p:nvSpPr>
              <p:spPr>
                <a:xfrm>
                  <a:off x="4301893" y="3032444"/>
                  <a:ext cx="157852" cy="122702"/>
                </a:xfrm>
                <a:custGeom>
                  <a:avLst/>
                  <a:gdLst>
                    <a:gd name="connsiteX0" fmla="*/ 126191 w 157852"/>
                    <a:gd name="connsiteY0" fmla="*/ 37741 h 122702"/>
                    <a:gd name="connsiteX1" fmla="*/ 127030 w 157852"/>
                    <a:gd name="connsiteY1" fmla="*/ 38010 h 122702"/>
                    <a:gd name="connsiteX2" fmla="*/ 130371 w 157852"/>
                    <a:gd name="connsiteY2" fmla="*/ 36299 h 122702"/>
                    <a:gd name="connsiteX3" fmla="*/ 132140 w 157852"/>
                    <a:gd name="connsiteY3" fmla="*/ 36372 h 122702"/>
                    <a:gd name="connsiteX4" fmla="*/ 132067 w 157852"/>
                    <a:gd name="connsiteY4" fmla="*/ 37603 h 122702"/>
                    <a:gd name="connsiteX5" fmla="*/ 129190 w 157852"/>
                    <a:gd name="connsiteY5" fmla="*/ 38948 h 122702"/>
                    <a:gd name="connsiteX6" fmla="*/ 127861 w 157852"/>
                    <a:gd name="connsiteY6" fmla="*/ 39950 h 122702"/>
                    <a:gd name="connsiteX7" fmla="*/ 129524 w 157852"/>
                    <a:gd name="connsiteY7" fmla="*/ 40879 h 122702"/>
                    <a:gd name="connsiteX8" fmla="*/ 129507 w 157852"/>
                    <a:gd name="connsiteY8" fmla="*/ 41507 h 122702"/>
                    <a:gd name="connsiteX9" fmla="*/ 127511 w 157852"/>
                    <a:gd name="connsiteY9" fmla="*/ 43031 h 122702"/>
                    <a:gd name="connsiteX10" fmla="*/ 126508 w 157852"/>
                    <a:gd name="connsiteY10" fmla="*/ 44669 h 122702"/>
                    <a:gd name="connsiteX11" fmla="*/ 127331 w 157852"/>
                    <a:gd name="connsiteY11" fmla="*/ 46258 h 122702"/>
                    <a:gd name="connsiteX12" fmla="*/ 130518 w 157852"/>
                    <a:gd name="connsiteY12" fmla="*/ 44701 h 122702"/>
                    <a:gd name="connsiteX13" fmla="*/ 131830 w 157852"/>
                    <a:gd name="connsiteY13" fmla="*/ 44685 h 122702"/>
                    <a:gd name="connsiteX14" fmla="*/ 133607 w 157852"/>
                    <a:gd name="connsiteY14" fmla="*/ 45044 h 122702"/>
                    <a:gd name="connsiteX15" fmla="*/ 135302 w 157852"/>
                    <a:gd name="connsiteY15" fmla="*/ 44571 h 122702"/>
                    <a:gd name="connsiteX16" fmla="*/ 136264 w 157852"/>
                    <a:gd name="connsiteY16" fmla="*/ 43797 h 122702"/>
                    <a:gd name="connsiteX17" fmla="*/ 141887 w 157852"/>
                    <a:gd name="connsiteY17" fmla="*/ 37684 h 122702"/>
                    <a:gd name="connsiteX18" fmla="*/ 142180 w 157852"/>
                    <a:gd name="connsiteY18" fmla="*/ 36902 h 122702"/>
                    <a:gd name="connsiteX19" fmla="*/ 136125 w 157852"/>
                    <a:gd name="connsiteY19" fmla="*/ 38165 h 122702"/>
                    <a:gd name="connsiteX20" fmla="*/ 135416 w 157852"/>
                    <a:gd name="connsiteY20" fmla="*/ 37326 h 122702"/>
                    <a:gd name="connsiteX21" fmla="*/ 139385 w 157852"/>
                    <a:gd name="connsiteY21" fmla="*/ 33618 h 122702"/>
                    <a:gd name="connsiteX22" fmla="*/ 139075 w 157852"/>
                    <a:gd name="connsiteY22" fmla="*/ 31670 h 122702"/>
                    <a:gd name="connsiteX23" fmla="*/ 141080 w 157852"/>
                    <a:gd name="connsiteY23" fmla="*/ 28589 h 122702"/>
                    <a:gd name="connsiteX24" fmla="*/ 142914 w 157852"/>
                    <a:gd name="connsiteY24" fmla="*/ 26755 h 122702"/>
                    <a:gd name="connsiteX25" fmla="*/ 144267 w 157852"/>
                    <a:gd name="connsiteY25" fmla="*/ 25737 h 122702"/>
                    <a:gd name="connsiteX26" fmla="*/ 146214 w 157852"/>
                    <a:gd name="connsiteY26" fmla="*/ 24791 h 122702"/>
                    <a:gd name="connsiteX27" fmla="*/ 147551 w 157852"/>
                    <a:gd name="connsiteY27" fmla="*/ 26250 h 122702"/>
                    <a:gd name="connsiteX28" fmla="*/ 147983 w 157852"/>
                    <a:gd name="connsiteY28" fmla="*/ 28891 h 122702"/>
                    <a:gd name="connsiteX29" fmla="*/ 151308 w 157852"/>
                    <a:gd name="connsiteY29" fmla="*/ 28516 h 122702"/>
                    <a:gd name="connsiteX30" fmla="*/ 154552 w 157852"/>
                    <a:gd name="connsiteY30" fmla="*/ 29046 h 122702"/>
                    <a:gd name="connsiteX31" fmla="*/ 156940 w 157852"/>
                    <a:gd name="connsiteY31" fmla="*/ 30162 h 122702"/>
                    <a:gd name="connsiteX32" fmla="*/ 157306 w 157852"/>
                    <a:gd name="connsiteY32" fmla="*/ 30798 h 122702"/>
                    <a:gd name="connsiteX33" fmla="*/ 157339 w 157852"/>
                    <a:gd name="connsiteY33" fmla="*/ 31808 h 122702"/>
                    <a:gd name="connsiteX34" fmla="*/ 156540 w 157852"/>
                    <a:gd name="connsiteY34" fmla="*/ 33626 h 122702"/>
                    <a:gd name="connsiteX35" fmla="*/ 155220 w 157852"/>
                    <a:gd name="connsiteY35" fmla="*/ 35117 h 122702"/>
                    <a:gd name="connsiteX36" fmla="*/ 157852 w 157852"/>
                    <a:gd name="connsiteY36" fmla="*/ 37032 h 122702"/>
                    <a:gd name="connsiteX37" fmla="*/ 157502 w 157852"/>
                    <a:gd name="connsiteY37" fmla="*/ 37872 h 122702"/>
                    <a:gd name="connsiteX38" fmla="*/ 153199 w 157852"/>
                    <a:gd name="connsiteY38" fmla="*/ 40040 h 122702"/>
                    <a:gd name="connsiteX39" fmla="*/ 150754 w 157852"/>
                    <a:gd name="connsiteY39" fmla="*/ 42207 h 122702"/>
                    <a:gd name="connsiteX40" fmla="*/ 148505 w 157852"/>
                    <a:gd name="connsiteY40" fmla="*/ 44889 h 122702"/>
                    <a:gd name="connsiteX41" fmla="*/ 144014 w 157852"/>
                    <a:gd name="connsiteY41" fmla="*/ 48002 h 122702"/>
                    <a:gd name="connsiteX42" fmla="*/ 136899 w 157852"/>
                    <a:gd name="connsiteY42" fmla="*/ 50251 h 122702"/>
                    <a:gd name="connsiteX43" fmla="*/ 134650 w 157852"/>
                    <a:gd name="connsiteY43" fmla="*/ 50251 h 122702"/>
                    <a:gd name="connsiteX44" fmla="*/ 131977 w 157852"/>
                    <a:gd name="connsiteY44" fmla="*/ 49550 h 122702"/>
                    <a:gd name="connsiteX45" fmla="*/ 129320 w 157852"/>
                    <a:gd name="connsiteY45" fmla="*/ 49713 h 122702"/>
                    <a:gd name="connsiteX46" fmla="*/ 126712 w 157852"/>
                    <a:gd name="connsiteY46" fmla="*/ 50553 h 122702"/>
                    <a:gd name="connsiteX47" fmla="*/ 124169 w 157852"/>
                    <a:gd name="connsiteY47" fmla="*/ 50455 h 122702"/>
                    <a:gd name="connsiteX48" fmla="*/ 122931 w 157852"/>
                    <a:gd name="connsiteY48" fmla="*/ 50895 h 122702"/>
                    <a:gd name="connsiteX49" fmla="*/ 121757 w 157852"/>
                    <a:gd name="connsiteY49" fmla="*/ 50854 h 122702"/>
                    <a:gd name="connsiteX50" fmla="*/ 120771 w 157852"/>
                    <a:gd name="connsiteY50" fmla="*/ 49982 h 122702"/>
                    <a:gd name="connsiteX51" fmla="*/ 118668 w 157852"/>
                    <a:gd name="connsiteY51" fmla="*/ 47497 h 122702"/>
                    <a:gd name="connsiteX52" fmla="*/ 117633 w 157852"/>
                    <a:gd name="connsiteY52" fmla="*/ 45834 h 122702"/>
                    <a:gd name="connsiteX53" fmla="*/ 116509 w 157852"/>
                    <a:gd name="connsiteY53" fmla="*/ 37880 h 122702"/>
                    <a:gd name="connsiteX54" fmla="*/ 116867 w 157852"/>
                    <a:gd name="connsiteY54" fmla="*/ 33691 h 122702"/>
                    <a:gd name="connsiteX55" fmla="*/ 118660 w 157852"/>
                    <a:gd name="connsiteY55" fmla="*/ 29787 h 122702"/>
                    <a:gd name="connsiteX56" fmla="*/ 121301 w 157852"/>
                    <a:gd name="connsiteY56" fmla="*/ 27187 h 122702"/>
                    <a:gd name="connsiteX57" fmla="*/ 122825 w 157852"/>
                    <a:gd name="connsiteY57" fmla="*/ 25109 h 122702"/>
                    <a:gd name="connsiteX58" fmla="*/ 129230 w 157852"/>
                    <a:gd name="connsiteY58" fmla="*/ 12771 h 122702"/>
                    <a:gd name="connsiteX59" fmla="*/ 130486 w 157852"/>
                    <a:gd name="connsiteY59" fmla="*/ 9967 h 122702"/>
                    <a:gd name="connsiteX60" fmla="*/ 132018 w 157852"/>
                    <a:gd name="connsiteY60" fmla="*/ 7571 h 122702"/>
                    <a:gd name="connsiteX61" fmla="*/ 134756 w 157852"/>
                    <a:gd name="connsiteY61" fmla="*/ 5200 h 122702"/>
                    <a:gd name="connsiteX62" fmla="*/ 138309 w 157852"/>
                    <a:gd name="connsiteY62" fmla="*/ 1206 h 122702"/>
                    <a:gd name="connsiteX63" fmla="*/ 139434 w 157852"/>
                    <a:gd name="connsiteY63" fmla="*/ 383 h 122702"/>
                    <a:gd name="connsiteX64" fmla="*/ 141471 w 157852"/>
                    <a:gd name="connsiteY64" fmla="*/ 0 h 122702"/>
                    <a:gd name="connsiteX65" fmla="*/ 143476 w 157852"/>
                    <a:gd name="connsiteY65" fmla="*/ 220 h 122702"/>
                    <a:gd name="connsiteX66" fmla="*/ 142906 w 157852"/>
                    <a:gd name="connsiteY66" fmla="*/ 1671 h 122702"/>
                    <a:gd name="connsiteX67" fmla="*/ 143052 w 157852"/>
                    <a:gd name="connsiteY67" fmla="*/ 3081 h 122702"/>
                    <a:gd name="connsiteX68" fmla="*/ 145375 w 157852"/>
                    <a:gd name="connsiteY68" fmla="*/ 8606 h 122702"/>
                    <a:gd name="connsiteX69" fmla="*/ 145350 w 157852"/>
                    <a:gd name="connsiteY69" fmla="*/ 9698 h 122702"/>
                    <a:gd name="connsiteX70" fmla="*/ 144079 w 157852"/>
                    <a:gd name="connsiteY70" fmla="*/ 14099 h 122702"/>
                    <a:gd name="connsiteX71" fmla="*/ 141642 w 157852"/>
                    <a:gd name="connsiteY71" fmla="*/ 21189 h 122702"/>
                    <a:gd name="connsiteX72" fmla="*/ 141015 w 157852"/>
                    <a:gd name="connsiteY72" fmla="*/ 25085 h 122702"/>
                    <a:gd name="connsiteX73" fmla="*/ 141341 w 157852"/>
                    <a:gd name="connsiteY73" fmla="*/ 26258 h 122702"/>
                    <a:gd name="connsiteX74" fmla="*/ 140355 w 157852"/>
                    <a:gd name="connsiteY74" fmla="*/ 28231 h 122702"/>
                    <a:gd name="connsiteX75" fmla="*/ 139304 w 157852"/>
                    <a:gd name="connsiteY75" fmla="*/ 29730 h 122702"/>
                    <a:gd name="connsiteX76" fmla="*/ 135139 w 157852"/>
                    <a:gd name="connsiteY76" fmla="*/ 32542 h 122702"/>
                    <a:gd name="connsiteX77" fmla="*/ 133012 w 157852"/>
                    <a:gd name="connsiteY77" fmla="*/ 33202 h 122702"/>
                    <a:gd name="connsiteX78" fmla="*/ 130982 w 157852"/>
                    <a:gd name="connsiteY78" fmla="*/ 34245 h 122702"/>
                    <a:gd name="connsiteX79" fmla="*/ 126191 w 157852"/>
                    <a:gd name="connsiteY79" fmla="*/ 37741 h 122702"/>
                    <a:gd name="connsiteX80" fmla="*/ 57496 w 157852"/>
                    <a:gd name="connsiteY80" fmla="*/ 37236 h 122702"/>
                    <a:gd name="connsiteX81" fmla="*/ 61759 w 157852"/>
                    <a:gd name="connsiteY81" fmla="*/ 40806 h 122702"/>
                    <a:gd name="connsiteX82" fmla="*/ 65116 w 157852"/>
                    <a:gd name="connsiteY82" fmla="*/ 40097 h 122702"/>
                    <a:gd name="connsiteX83" fmla="*/ 66567 w 157852"/>
                    <a:gd name="connsiteY83" fmla="*/ 40219 h 122702"/>
                    <a:gd name="connsiteX84" fmla="*/ 70316 w 157852"/>
                    <a:gd name="connsiteY84" fmla="*/ 42460 h 122702"/>
                    <a:gd name="connsiteX85" fmla="*/ 71359 w 157852"/>
                    <a:gd name="connsiteY85" fmla="*/ 43560 h 122702"/>
                    <a:gd name="connsiteX86" fmla="*/ 71938 w 157852"/>
                    <a:gd name="connsiteY86" fmla="*/ 44555 h 122702"/>
                    <a:gd name="connsiteX87" fmla="*/ 73812 w 157852"/>
                    <a:gd name="connsiteY87" fmla="*/ 44335 h 122702"/>
                    <a:gd name="connsiteX88" fmla="*/ 76518 w 157852"/>
                    <a:gd name="connsiteY88" fmla="*/ 43479 h 122702"/>
                    <a:gd name="connsiteX89" fmla="*/ 81408 w 157852"/>
                    <a:gd name="connsiteY89" fmla="*/ 43691 h 122702"/>
                    <a:gd name="connsiteX90" fmla="*/ 86623 w 157852"/>
                    <a:gd name="connsiteY90" fmla="*/ 44954 h 122702"/>
                    <a:gd name="connsiteX91" fmla="*/ 86184 w 157852"/>
                    <a:gd name="connsiteY91" fmla="*/ 46877 h 122702"/>
                    <a:gd name="connsiteX92" fmla="*/ 85393 w 157852"/>
                    <a:gd name="connsiteY92" fmla="*/ 48214 h 122702"/>
                    <a:gd name="connsiteX93" fmla="*/ 89476 w 157852"/>
                    <a:gd name="connsiteY93" fmla="*/ 47766 h 122702"/>
                    <a:gd name="connsiteX94" fmla="*/ 92019 w 157852"/>
                    <a:gd name="connsiteY94" fmla="*/ 49143 h 122702"/>
                    <a:gd name="connsiteX95" fmla="*/ 92907 w 157852"/>
                    <a:gd name="connsiteY95" fmla="*/ 48483 h 122702"/>
                    <a:gd name="connsiteX96" fmla="*/ 93543 w 157852"/>
                    <a:gd name="connsiteY96" fmla="*/ 47635 h 122702"/>
                    <a:gd name="connsiteX97" fmla="*/ 98604 w 157852"/>
                    <a:gd name="connsiteY97" fmla="*/ 45304 h 122702"/>
                    <a:gd name="connsiteX98" fmla="*/ 105115 w 157852"/>
                    <a:gd name="connsiteY98" fmla="*/ 40455 h 122702"/>
                    <a:gd name="connsiteX99" fmla="*/ 105906 w 157852"/>
                    <a:gd name="connsiteY99" fmla="*/ 41058 h 122702"/>
                    <a:gd name="connsiteX100" fmla="*/ 106199 w 157852"/>
                    <a:gd name="connsiteY100" fmla="*/ 42892 h 122702"/>
                    <a:gd name="connsiteX101" fmla="*/ 107047 w 157852"/>
                    <a:gd name="connsiteY101" fmla="*/ 45883 h 122702"/>
                    <a:gd name="connsiteX102" fmla="*/ 109549 w 157852"/>
                    <a:gd name="connsiteY102" fmla="*/ 47953 h 122702"/>
                    <a:gd name="connsiteX103" fmla="*/ 112515 w 157852"/>
                    <a:gd name="connsiteY103" fmla="*/ 48426 h 122702"/>
                    <a:gd name="connsiteX104" fmla="*/ 116598 w 157852"/>
                    <a:gd name="connsiteY104" fmla="*/ 46845 h 122702"/>
                    <a:gd name="connsiteX105" fmla="*/ 118196 w 157852"/>
                    <a:gd name="connsiteY105" fmla="*/ 48206 h 122702"/>
                    <a:gd name="connsiteX106" fmla="*/ 120111 w 157852"/>
                    <a:gd name="connsiteY106" fmla="*/ 50838 h 122702"/>
                    <a:gd name="connsiteX107" fmla="*/ 121936 w 157852"/>
                    <a:gd name="connsiteY107" fmla="*/ 54277 h 122702"/>
                    <a:gd name="connsiteX108" fmla="*/ 121814 w 157852"/>
                    <a:gd name="connsiteY108" fmla="*/ 55500 h 122702"/>
                    <a:gd name="connsiteX109" fmla="*/ 119475 w 157852"/>
                    <a:gd name="connsiteY109" fmla="*/ 56567 h 122702"/>
                    <a:gd name="connsiteX110" fmla="*/ 117364 w 157852"/>
                    <a:gd name="connsiteY110" fmla="*/ 58116 h 122702"/>
                    <a:gd name="connsiteX111" fmla="*/ 126150 w 157852"/>
                    <a:gd name="connsiteY111" fmla="*/ 58751 h 122702"/>
                    <a:gd name="connsiteX112" fmla="*/ 127038 w 157852"/>
                    <a:gd name="connsiteY112" fmla="*/ 59403 h 122702"/>
                    <a:gd name="connsiteX113" fmla="*/ 128016 w 157852"/>
                    <a:gd name="connsiteY113" fmla="*/ 60756 h 122702"/>
                    <a:gd name="connsiteX114" fmla="*/ 127112 w 157852"/>
                    <a:gd name="connsiteY114" fmla="*/ 62117 h 122702"/>
                    <a:gd name="connsiteX115" fmla="*/ 126280 w 157852"/>
                    <a:gd name="connsiteY115" fmla="*/ 62794 h 122702"/>
                    <a:gd name="connsiteX116" fmla="*/ 124691 w 157852"/>
                    <a:gd name="connsiteY116" fmla="*/ 61995 h 122702"/>
                    <a:gd name="connsiteX117" fmla="*/ 121749 w 157852"/>
                    <a:gd name="connsiteY117" fmla="*/ 62720 h 122702"/>
                    <a:gd name="connsiteX118" fmla="*/ 119182 w 157852"/>
                    <a:gd name="connsiteY118" fmla="*/ 64497 h 122702"/>
                    <a:gd name="connsiteX119" fmla="*/ 116435 w 157852"/>
                    <a:gd name="connsiteY119" fmla="*/ 65483 h 122702"/>
                    <a:gd name="connsiteX120" fmla="*/ 114683 w 157852"/>
                    <a:gd name="connsiteY120" fmla="*/ 65597 h 122702"/>
                    <a:gd name="connsiteX121" fmla="*/ 112727 w 157852"/>
                    <a:gd name="connsiteY121" fmla="*/ 66412 h 122702"/>
                    <a:gd name="connsiteX122" fmla="*/ 110951 w 157852"/>
                    <a:gd name="connsiteY122" fmla="*/ 67675 h 122702"/>
                    <a:gd name="connsiteX123" fmla="*/ 109092 w 157852"/>
                    <a:gd name="connsiteY123" fmla="*/ 68026 h 122702"/>
                    <a:gd name="connsiteX124" fmla="*/ 103322 w 157852"/>
                    <a:gd name="connsiteY124" fmla="*/ 71188 h 122702"/>
                    <a:gd name="connsiteX125" fmla="*/ 97414 w 157852"/>
                    <a:gd name="connsiteY125" fmla="*/ 73217 h 122702"/>
                    <a:gd name="connsiteX126" fmla="*/ 91236 w 157852"/>
                    <a:gd name="connsiteY126" fmla="*/ 76469 h 122702"/>
                    <a:gd name="connsiteX127" fmla="*/ 84936 w 157852"/>
                    <a:gd name="connsiteY127" fmla="*/ 78523 h 122702"/>
                    <a:gd name="connsiteX128" fmla="*/ 78400 w 157852"/>
                    <a:gd name="connsiteY128" fmla="*/ 80984 h 122702"/>
                    <a:gd name="connsiteX129" fmla="*/ 76974 w 157852"/>
                    <a:gd name="connsiteY129" fmla="*/ 81204 h 122702"/>
                    <a:gd name="connsiteX130" fmla="*/ 75328 w 157852"/>
                    <a:gd name="connsiteY130" fmla="*/ 81114 h 122702"/>
                    <a:gd name="connsiteX131" fmla="*/ 71595 w 157852"/>
                    <a:gd name="connsiteY131" fmla="*/ 83518 h 122702"/>
                    <a:gd name="connsiteX132" fmla="*/ 69746 w 157852"/>
                    <a:gd name="connsiteY132" fmla="*/ 83192 h 122702"/>
                    <a:gd name="connsiteX133" fmla="*/ 67863 w 157852"/>
                    <a:gd name="connsiteY133" fmla="*/ 83608 h 122702"/>
                    <a:gd name="connsiteX134" fmla="*/ 65687 w 157852"/>
                    <a:gd name="connsiteY134" fmla="*/ 83086 h 122702"/>
                    <a:gd name="connsiteX135" fmla="*/ 64204 w 157852"/>
                    <a:gd name="connsiteY135" fmla="*/ 82100 h 122702"/>
                    <a:gd name="connsiteX136" fmla="*/ 65345 w 157852"/>
                    <a:gd name="connsiteY136" fmla="*/ 84643 h 122702"/>
                    <a:gd name="connsiteX137" fmla="*/ 65679 w 157852"/>
                    <a:gd name="connsiteY137" fmla="*/ 86982 h 122702"/>
                    <a:gd name="connsiteX138" fmla="*/ 65108 w 157852"/>
                    <a:gd name="connsiteY138" fmla="*/ 88009 h 122702"/>
                    <a:gd name="connsiteX139" fmla="*/ 64065 w 157852"/>
                    <a:gd name="connsiteY139" fmla="*/ 89215 h 122702"/>
                    <a:gd name="connsiteX140" fmla="*/ 60308 w 157852"/>
                    <a:gd name="connsiteY140" fmla="*/ 88987 h 122702"/>
                    <a:gd name="connsiteX141" fmla="*/ 58833 w 157852"/>
                    <a:gd name="connsiteY141" fmla="*/ 88139 h 122702"/>
                    <a:gd name="connsiteX142" fmla="*/ 57081 w 157852"/>
                    <a:gd name="connsiteY142" fmla="*/ 86892 h 122702"/>
                    <a:gd name="connsiteX143" fmla="*/ 56282 w 157852"/>
                    <a:gd name="connsiteY143" fmla="*/ 84879 h 122702"/>
                    <a:gd name="connsiteX144" fmla="*/ 54400 w 157852"/>
                    <a:gd name="connsiteY144" fmla="*/ 83437 h 122702"/>
                    <a:gd name="connsiteX145" fmla="*/ 53275 w 157852"/>
                    <a:gd name="connsiteY145" fmla="*/ 85434 h 122702"/>
                    <a:gd name="connsiteX146" fmla="*/ 53283 w 157852"/>
                    <a:gd name="connsiteY146" fmla="*/ 86917 h 122702"/>
                    <a:gd name="connsiteX147" fmla="*/ 51889 w 157852"/>
                    <a:gd name="connsiteY147" fmla="*/ 88946 h 122702"/>
                    <a:gd name="connsiteX148" fmla="*/ 50251 w 157852"/>
                    <a:gd name="connsiteY148" fmla="*/ 85483 h 122702"/>
                    <a:gd name="connsiteX149" fmla="*/ 47301 w 157852"/>
                    <a:gd name="connsiteY149" fmla="*/ 86754 h 122702"/>
                    <a:gd name="connsiteX150" fmla="*/ 45997 w 157852"/>
                    <a:gd name="connsiteY150" fmla="*/ 90438 h 122702"/>
                    <a:gd name="connsiteX151" fmla="*/ 46649 w 157852"/>
                    <a:gd name="connsiteY151" fmla="*/ 91489 h 122702"/>
                    <a:gd name="connsiteX152" fmla="*/ 47562 w 157852"/>
                    <a:gd name="connsiteY152" fmla="*/ 94309 h 122702"/>
                    <a:gd name="connsiteX153" fmla="*/ 46095 w 157852"/>
                    <a:gd name="connsiteY153" fmla="*/ 95784 h 122702"/>
                    <a:gd name="connsiteX154" fmla="*/ 45011 w 157852"/>
                    <a:gd name="connsiteY154" fmla="*/ 95384 h 122702"/>
                    <a:gd name="connsiteX155" fmla="*/ 42770 w 157852"/>
                    <a:gd name="connsiteY155" fmla="*/ 99508 h 122702"/>
                    <a:gd name="connsiteX156" fmla="*/ 40048 w 157852"/>
                    <a:gd name="connsiteY156" fmla="*/ 101016 h 122702"/>
                    <a:gd name="connsiteX157" fmla="*/ 37244 w 157852"/>
                    <a:gd name="connsiteY157" fmla="*/ 105221 h 122702"/>
                    <a:gd name="connsiteX158" fmla="*/ 33919 w 157852"/>
                    <a:gd name="connsiteY158" fmla="*/ 108424 h 122702"/>
                    <a:gd name="connsiteX159" fmla="*/ 33015 w 157852"/>
                    <a:gd name="connsiteY159" fmla="*/ 110559 h 122702"/>
                    <a:gd name="connsiteX160" fmla="*/ 27440 w 157852"/>
                    <a:gd name="connsiteY160" fmla="*/ 115449 h 122702"/>
                    <a:gd name="connsiteX161" fmla="*/ 25321 w 157852"/>
                    <a:gd name="connsiteY161" fmla="*/ 115302 h 122702"/>
                    <a:gd name="connsiteX162" fmla="*/ 23765 w 157852"/>
                    <a:gd name="connsiteY162" fmla="*/ 115465 h 122702"/>
                    <a:gd name="connsiteX163" fmla="*/ 21417 w 157852"/>
                    <a:gd name="connsiteY163" fmla="*/ 117503 h 122702"/>
                    <a:gd name="connsiteX164" fmla="*/ 21051 w 157852"/>
                    <a:gd name="connsiteY164" fmla="*/ 121618 h 122702"/>
                    <a:gd name="connsiteX165" fmla="*/ 20016 w 157852"/>
                    <a:gd name="connsiteY165" fmla="*/ 121072 h 122702"/>
                    <a:gd name="connsiteX166" fmla="*/ 18964 w 157852"/>
                    <a:gd name="connsiteY166" fmla="*/ 121203 h 122702"/>
                    <a:gd name="connsiteX167" fmla="*/ 18427 w 157852"/>
                    <a:gd name="connsiteY167" fmla="*/ 122490 h 122702"/>
                    <a:gd name="connsiteX168" fmla="*/ 17644 w 157852"/>
                    <a:gd name="connsiteY168" fmla="*/ 122702 h 122702"/>
                    <a:gd name="connsiteX169" fmla="*/ 15590 w 157852"/>
                    <a:gd name="connsiteY169" fmla="*/ 121480 h 122702"/>
                    <a:gd name="connsiteX170" fmla="*/ 13178 w 157852"/>
                    <a:gd name="connsiteY170" fmla="*/ 122148 h 122702"/>
                    <a:gd name="connsiteX171" fmla="*/ 11287 w 157852"/>
                    <a:gd name="connsiteY171" fmla="*/ 121219 h 122702"/>
                    <a:gd name="connsiteX172" fmla="*/ 8875 w 157852"/>
                    <a:gd name="connsiteY172" fmla="*/ 115188 h 122702"/>
                    <a:gd name="connsiteX173" fmla="*/ 7596 w 157852"/>
                    <a:gd name="connsiteY173" fmla="*/ 113069 h 122702"/>
                    <a:gd name="connsiteX174" fmla="*/ 5330 w 157852"/>
                    <a:gd name="connsiteY174" fmla="*/ 112385 h 122702"/>
                    <a:gd name="connsiteX175" fmla="*/ 4735 w 157852"/>
                    <a:gd name="connsiteY175" fmla="*/ 113664 h 122702"/>
                    <a:gd name="connsiteX176" fmla="*/ 3863 w 157852"/>
                    <a:gd name="connsiteY176" fmla="*/ 114911 h 122702"/>
                    <a:gd name="connsiteX177" fmla="*/ 1671 w 157852"/>
                    <a:gd name="connsiteY177" fmla="*/ 112417 h 122702"/>
                    <a:gd name="connsiteX178" fmla="*/ 16 w 157852"/>
                    <a:gd name="connsiteY178" fmla="*/ 103167 h 122702"/>
                    <a:gd name="connsiteX179" fmla="*/ 0 w 157852"/>
                    <a:gd name="connsiteY179" fmla="*/ 100926 h 122702"/>
                    <a:gd name="connsiteX180" fmla="*/ 2323 w 157852"/>
                    <a:gd name="connsiteY180" fmla="*/ 93127 h 122702"/>
                    <a:gd name="connsiteX181" fmla="*/ 8060 w 157852"/>
                    <a:gd name="connsiteY181" fmla="*/ 86094 h 122702"/>
                    <a:gd name="connsiteX182" fmla="*/ 6226 w 157852"/>
                    <a:gd name="connsiteY182" fmla="*/ 85857 h 122702"/>
                    <a:gd name="connsiteX183" fmla="*/ 1157 w 157852"/>
                    <a:gd name="connsiteY183" fmla="*/ 90739 h 122702"/>
                    <a:gd name="connsiteX184" fmla="*/ 1679 w 157852"/>
                    <a:gd name="connsiteY184" fmla="*/ 89549 h 122702"/>
                    <a:gd name="connsiteX185" fmla="*/ 2535 w 157852"/>
                    <a:gd name="connsiteY185" fmla="*/ 88319 h 122702"/>
                    <a:gd name="connsiteX186" fmla="*/ 4246 w 157852"/>
                    <a:gd name="connsiteY186" fmla="*/ 86330 h 122702"/>
                    <a:gd name="connsiteX187" fmla="*/ 6846 w 157852"/>
                    <a:gd name="connsiteY187" fmla="*/ 84464 h 122702"/>
                    <a:gd name="connsiteX188" fmla="*/ 10301 w 157852"/>
                    <a:gd name="connsiteY188" fmla="*/ 83372 h 122702"/>
                    <a:gd name="connsiteX189" fmla="*/ 12681 w 157852"/>
                    <a:gd name="connsiteY189" fmla="*/ 83209 h 122702"/>
                    <a:gd name="connsiteX190" fmla="*/ 14319 w 157852"/>
                    <a:gd name="connsiteY190" fmla="*/ 82182 h 122702"/>
                    <a:gd name="connsiteX191" fmla="*/ 16699 w 157852"/>
                    <a:gd name="connsiteY191" fmla="*/ 80348 h 122702"/>
                    <a:gd name="connsiteX192" fmla="*/ 17139 w 157852"/>
                    <a:gd name="connsiteY192" fmla="*/ 79378 h 122702"/>
                    <a:gd name="connsiteX193" fmla="*/ 15036 w 157852"/>
                    <a:gd name="connsiteY193" fmla="*/ 80495 h 122702"/>
                    <a:gd name="connsiteX194" fmla="*/ 11532 w 157852"/>
                    <a:gd name="connsiteY194" fmla="*/ 81595 h 122702"/>
                    <a:gd name="connsiteX195" fmla="*/ 12428 w 157852"/>
                    <a:gd name="connsiteY195" fmla="*/ 80153 h 122702"/>
                    <a:gd name="connsiteX196" fmla="*/ 13308 w 157852"/>
                    <a:gd name="connsiteY196" fmla="*/ 79378 h 122702"/>
                    <a:gd name="connsiteX197" fmla="*/ 32004 w 157852"/>
                    <a:gd name="connsiteY197" fmla="*/ 66738 h 122702"/>
                    <a:gd name="connsiteX198" fmla="*/ 35761 w 157852"/>
                    <a:gd name="connsiteY198" fmla="*/ 64652 h 122702"/>
                    <a:gd name="connsiteX199" fmla="*/ 43259 w 157852"/>
                    <a:gd name="connsiteY199" fmla="*/ 61987 h 122702"/>
                    <a:gd name="connsiteX200" fmla="*/ 44294 w 157852"/>
                    <a:gd name="connsiteY200" fmla="*/ 60243 h 122702"/>
                    <a:gd name="connsiteX201" fmla="*/ 43275 w 157852"/>
                    <a:gd name="connsiteY201" fmla="*/ 59134 h 122702"/>
                    <a:gd name="connsiteX202" fmla="*/ 46184 w 157852"/>
                    <a:gd name="connsiteY202" fmla="*/ 60129 h 122702"/>
                    <a:gd name="connsiteX203" fmla="*/ 45948 w 157852"/>
                    <a:gd name="connsiteY203" fmla="*/ 61571 h 122702"/>
                    <a:gd name="connsiteX204" fmla="*/ 45492 w 157852"/>
                    <a:gd name="connsiteY204" fmla="*/ 62622 h 122702"/>
                    <a:gd name="connsiteX205" fmla="*/ 45321 w 157852"/>
                    <a:gd name="connsiteY205" fmla="*/ 64415 h 122702"/>
                    <a:gd name="connsiteX206" fmla="*/ 45598 w 157852"/>
                    <a:gd name="connsiteY206" fmla="*/ 66135 h 122702"/>
                    <a:gd name="connsiteX207" fmla="*/ 48556 w 157852"/>
                    <a:gd name="connsiteY207" fmla="*/ 66975 h 122702"/>
                    <a:gd name="connsiteX208" fmla="*/ 51026 w 157852"/>
                    <a:gd name="connsiteY208" fmla="*/ 70177 h 122702"/>
                    <a:gd name="connsiteX209" fmla="*/ 49852 w 157852"/>
                    <a:gd name="connsiteY209" fmla="*/ 65834 h 122702"/>
                    <a:gd name="connsiteX210" fmla="*/ 52069 w 157852"/>
                    <a:gd name="connsiteY210" fmla="*/ 63372 h 122702"/>
                    <a:gd name="connsiteX211" fmla="*/ 60626 w 157852"/>
                    <a:gd name="connsiteY211" fmla="*/ 60072 h 122702"/>
                    <a:gd name="connsiteX212" fmla="*/ 67773 w 157852"/>
                    <a:gd name="connsiteY212" fmla="*/ 59721 h 122702"/>
                    <a:gd name="connsiteX213" fmla="*/ 70055 w 157852"/>
                    <a:gd name="connsiteY213" fmla="*/ 58181 h 122702"/>
                    <a:gd name="connsiteX214" fmla="*/ 63943 w 157852"/>
                    <a:gd name="connsiteY214" fmla="*/ 57154 h 122702"/>
                    <a:gd name="connsiteX215" fmla="*/ 56698 w 157852"/>
                    <a:gd name="connsiteY215" fmla="*/ 57716 h 122702"/>
                    <a:gd name="connsiteX216" fmla="*/ 52215 w 157852"/>
                    <a:gd name="connsiteY216" fmla="*/ 56567 h 122702"/>
                    <a:gd name="connsiteX217" fmla="*/ 46038 w 157852"/>
                    <a:gd name="connsiteY217" fmla="*/ 57317 h 122702"/>
                    <a:gd name="connsiteX218" fmla="*/ 39494 w 157852"/>
                    <a:gd name="connsiteY218" fmla="*/ 56600 h 122702"/>
                    <a:gd name="connsiteX219" fmla="*/ 37481 w 157852"/>
                    <a:gd name="connsiteY219" fmla="*/ 57553 h 122702"/>
                    <a:gd name="connsiteX220" fmla="*/ 35859 w 157852"/>
                    <a:gd name="connsiteY220" fmla="*/ 59615 h 122702"/>
                    <a:gd name="connsiteX221" fmla="*/ 33740 w 157852"/>
                    <a:gd name="connsiteY221" fmla="*/ 58703 h 122702"/>
                    <a:gd name="connsiteX222" fmla="*/ 32721 w 157852"/>
                    <a:gd name="connsiteY222" fmla="*/ 58540 h 122702"/>
                    <a:gd name="connsiteX223" fmla="*/ 31735 w 157852"/>
                    <a:gd name="connsiteY223" fmla="*/ 57839 h 122702"/>
                    <a:gd name="connsiteX224" fmla="*/ 33854 w 157852"/>
                    <a:gd name="connsiteY224" fmla="*/ 54294 h 122702"/>
                    <a:gd name="connsiteX225" fmla="*/ 40480 w 157852"/>
                    <a:gd name="connsiteY225" fmla="*/ 49012 h 122702"/>
                    <a:gd name="connsiteX226" fmla="*/ 44522 w 157852"/>
                    <a:gd name="connsiteY226" fmla="*/ 44416 h 122702"/>
                    <a:gd name="connsiteX227" fmla="*/ 45671 w 157852"/>
                    <a:gd name="connsiteY227" fmla="*/ 43454 h 122702"/>
                    <a:gd name="connsiteX228" fmla="*/ 46568 w 157852"/>
                    <a:gd name="connsiteY228" fmla="*/ 41596 h 122702"/>
                    <a:gd name="connsiteX229" fmla="*/ 47603 w 157852"/>
                    <a:gd name="connsiteY229" fmla="*/ 41099 h 122702"/>
                    <a:gd name="connsiteX230" fmla="*/ 48996 w 157852"/>
                    <a:gd name="connsiteY230" fmla="*/ 39298 h 122702"/>
                    <a:gd name="connsiteX231" fmla="*/ 50406 w 157852"/>
                    <a:gd name="connsiteY231" fmla="*/ 37041 h 122702"/>
                    <a:gd name="connsiteX232" fmla="*/ 53096 w 157852"/>
                    <a:gd name="connsiteY232" fmla="*/ 36576 h 122702"/>
                    <a:gd name="connsiteX233" fmla="*/ 53601 w 157852"/>
                    <a:gd name="connsiteY233" fmla="*/ 35345 h 122702"/>
                    <a:gd name="connsiteX234" fmla="*/ 57496 w 157852"/>
                    <a:gd name="connsiteY234" fmla="*/ 37236 h 12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Lst>
                  <a:rect l="l" t="t" r="r" b="b"/>
                  <a:pathLst>
                    <a:path w="157852" h="122702">
                      <a:moveTo>
                        <a:pt x="126191" y="37741"/>
                      </a:moveTo>
                      <a:lnTo>
                        <a:pt x="127030" y="38010"/>
                      </a:lnTo>
                      <a:lnTo>
                        <a:pt x="130371" y="36299"/>
                      </a:lnTo>
                      <a:lnTo>
                        <a:pt x="132140" y="36372"/>
                      </a:lnTo>
                      <a:lnTo>
                        <a:pt x="132067" y="37603"/>
                      </a:lnTo>
                      <a:lnTo>
                        <a:pt x="129190" y="38948"/>
                      </a:lnTo>
                      <a:lnTo>
                        <a:pt x="127861" y="39950"/>
                      </a:lnTo>
                      <a:lnTo>
                        <a:pt x="129524" y="40879"/>
                      </a:lnTo>
                      <a:lnTo>
                        <a:pt x="129507" y="41507"/>
                      </a:lnTo>
                      <a:lnTo>
                        <a:pt x="127511" y="43031"/>
                      </a:lnTo>
                      <a:lnTo>
                        <a:pt x="126508" y="44669"/>
                      </a:lnTo>
                      <a:lnTo>
                        <a:pt x="127331" y="46258"/>
                      </a:lnTo>
                      <a:lnTo>
                        <a:pt x="130518" y="44701"/>
                      </a:lnTo>
                      <a:lnTo>
                        <a:pt x="131830" y="44685"/>
                      </a:lnTo>
                      <a:lnTo>
                        <a:pt x="133607" y="45044"/>
                      </a:lnTo>
                      <a:lnTo>
                        <a:pt x="135302" y="44571"/>
                      </a:lnTo>
                      <a:lnTo>
                        <a:pt x="136264" y="43797"/>
                      </a:lnTo>
                      <a:lnTo>
                        <a:pt x="141887" y="37684"/>
                      </a:lnTo>
                      <a:lnTo>
                        <a:pt x="142180" y="36902"/>
                      </a:lnTo>
                      <a:lnTo>
                        <a:pt x="136125" y="38165"/>
                      </a:lnTo>
                      <a:lnTo>
                        <a:pt x="135416" y="37326"/>
                      </a:lnTo>
                      <a:lnTo>
                        <a:pt x="139385" y="33618"/>
                      </a:lnTo>
                      <a:lnTo>
                        <a:pt x="139075" y="31670"/>
                      </a:lnTo>
                      <a:lnTo>
                        <a:pt x="141080" y="28589"/>
                      </a:lnTo>
                      <a:lnTo>
                        <a:pt x="142914" y="26755"/>
                      </a:lnTo>
                      <a:lnTo>
                        <a:pt x="144267" y="25737"/>
                      </a:lnTo>
                      <a:lnTo>
                        <a:pt x="146214" y="24791"/>
                      </a:lnTo>
                      <a:lnTo>
                        <a:pt x="147551" y="26250"/>
                      </a:lnTo>
                      <a:lnTo>
                        <a:pt x="147983" y="28891"/>
                      </a:lnTo>
                      <a:lnTo>
                        <a:pt x="151308" y="28516"/>
                      </a:lnTo>
                      <a:lnTo>
                        <a:pt x="154552" y="29046"/>
                      </a:lnTo>
                      <a:lnTo>
                        <a:pt x="156940" y="30162"/>
                      </a:lnTo>
                      <a:lnTo>
                        <a:pt x="157306" y="30798"/>
                      </a:lnTo>
                      <a:lnTo>
                        <a:pt x="157339" y="31808"/>
                      </a:lnTo>
                      <a:lnTo>
                        <a:pt x="156540" y="33626"/>
                      </a:lnTo>
                      <a:lnTo>
                        <a:pt x="155220" y="35117"/>
                      </a:lnTo>
                      <a:lnTo>
                        <a:pt x="157852" y="37032"/>
                      </a:lnTo>
                      <a:lnTo>
                        <a:pt x="157502" y="37872"/>
                      </a:lnTo>
                      <a:lnTo>
                        <a:pt x="153199" y="40040"/>
                      </a:lnTo>
                      <a:lnTo>
                        <a:pt x="150754" y="42207"/>
                      </a:lnTo>
                      <a:lnTo>
                        <a:pt x="148505" y="44889"/>
                      </a:lnTo>
                      <a:lnTo>
                        <a:pt x="144014" y="48002"/>
                      </a:lnTo>
                      <a:lnTo>
                        <a:pt x="136899" y="50251"/>
                      </a:lnTo>
                      <a:lnTo>
                        <a:pt x="134650" y="50251"/>
                      </a:lnTo>
                      <a:lnTo>
                        <a:pt x="131977" y="49550"/>
                      </a:lnTo>
                      <a:lnTo>
                        <a:pt x="129320" y="49713"/>
                      </a:lnTo>
                      <a:lnTo>
                        <a:pt x="126712" y="50553"/>
                      </a:lnTo>
                      <a:lnTo>
                        <a:pt x="124169" y="50455"/>
                      </a:lnTo>
                      <a:lnTo>
                        <a:pt x="122931" y="50895"/>
                      </a:lnTo>
                      <a:lnTo>
                        <a:pt x="121757" y="50854"/>
                      </a:lnTo>
                      <a:lnTo>
                        <a:pt x="120771" y="49982"/>
                      </a:lnTo>
                      <a:lnTo>
                        <a:pt x="118668" y="47497"/>
                      </a:lnTo>
                      <a:lnTo>
                        <a:pt x="117633" y="45834"/>
                      </a:lnTo>
                      <a:lnTo>
                        <a:pt x="116509" y="37880"/>
                      </a:lnTo>
                      <a:lnTo>
                        <a:pt x="116867" y="33691"/>
                      </a:lnTo>
                      <a:lnTo>
                        <a:pt x="118660" y="29787"/>
                      </a:lnTo>
                      <a:lnTo>
                        <a:pt x="121301" y="27187"/>
                      </a:lnTo>
                      <a:lnTo>
                        <a:pt x="122825" y="25109"/>
                      </a:lnTo>
                      <a:lnTo>
                        <a:pt x="129230" y="12771"/>
                      </a:lnTo>
                      <a:lnTo>
                        <a:pt x="130486" y="9967"/>
                      </a:lnTo>
                      <a:lnTo>
                        <a:pt x="132018" y="7571"/>
                      </a:lnTo>
                      <a:lnTo>
                        <a:pt x="134756" y="5200"/>
                      </a:lnTo>
                      <a:lnTo>
                        <a:pt x="138309" y="1206"/>
                      </a:lnTo>
                      <a:lnTo>
                        <a:pt x="139434" y="383"/>
                      </a:lnTo>
                      <a:lnTo>
                        <a:pt x="141471" y="0"/>
                      </a:lnTo>
                      <a:lnTo>
                        <a:pt x="143476" y="220"/>
                      </a:lnTo>
                      <a:lnTo>
                        <a:pt x="142906" y="1671"/>
                      </a:lnTo>
                      <a:lnTo>
                        <a:pt x="143052" y="3081"/>
                      </a:lnTo>
                      <a:lnTo>
                        <a:pt x="145375" y="8606"/>
                      </a:lnTo>
                      <a:lnTo>
                        <a:pt x="145350" y="9698"/>
                      </a:lnTo>
                      <a:lnTo>
                        <a:pt x="144079" y="14099"/>
                      </a:lnTo>
                      <a:lnTo>
                        <a:pt x="141642" y="21189"/>
                      </a:lnTo>
                      <a:lnTo>
                        <a:pt x="141015" y="25085"/>
                      </a:lnTo>
                      <a:lnTo>
                        <a:pt x="141341" y="26258"/>
                      </a:lnTo>
                      <a:lnTo>
                        <a:pt x="140355" y="28231"/>
                      </a:lnTo>
                      <a:lnTo>
                        <a:pt x="139304" y="29730"/>
                      </a:lnTo>
                      <a:lnTo>
                        <a:pt x="135139" y="32542"/>
                      </a:lnTo>
                      <a:lnTo>
                        <a:pt x="133012" y="33202"/>
                      </a:lnTo>
                      <a:lnTo>
                        <a:pt x="130982" y="34245"/>
                      </a:lnTo>
                      <a:lnTo>
                        <a:pt x="126191" y="37741"/>
                      </a:lnTo>
                      <a:close/>
                      <a:moveTo>
                        <a:pt x="57496" y="37236"/>
                      </a:moveTo>
                      <a:lnTo>
                        <a:pt x="61759" y="40806"/>
                      </a:lnTo>
                      <a:lnTo>
                        <a:pt x="65116" y="40097"/>
                      </a:lnTo>
                      <a:lnTo>
                        <a:pt x="66567" y="40219"/>
                      </a:lnTo>
                      <a:lnTo>
                        <a:pt x="70316" y="42460"/>
                      </a:lnTo>
                      <a:lnTo>
                        <a:pt x="71359" y="43560"/>
                      </a:lnTo>
                      <a:lnTo>
                        <a:pt x="71938" y="44555"/>
                      </a:lnTo>
                      <a:lnTo>
                        <a:pt x="73812" y="44335"/>
                      </a:lnTo>
                      <a:lnTo>
                        <a:pt x="76518" y="43479"/>
                      </a:lnTo>
                      <a:lnTo>
                        <a:pt x="81408" y="43691"/>
                      </a:lnTo>
                      <a:lnTo>
                        <a:pt x="86623" y="44954"/>
                      </a:lnTo>
                      <a:lnTo>
                        <a:pt x="86184" y="46877"/>
                      </a:lnTo>
                      <a:lnTo>
                        <a:pt x="85393" y="48214"/>
                      </a:lnTo>
                      <a:lnTo>
                        <a:pt x="89476" y="47766"/>
                      </a:lnTo>
                      <a:lnTo>
                        <a:pt x="92019" y="49143"/>
                      </a:lnTo>
                      <a:lnTo>
                        <a:pt x="92907" y="48483"/>
                      </a:lnTo>
                      <a:lnTo>
                        <a:pt x="93543" y="47635"/>
                      </a:lnTo>
                      <a:lnTo>
                        <a:pt x="98604" y="45304"/>
                      </a:lnTo>
                      <a:lnTo>
                        <a:pt x="105115" y="40455"/>
                      </a:lnTo>
                      <a:lnTo>
                        <a:pt x="105906" y="41058"/>
                      </a:lnTo>
                      <a:lnTo>
                        <a:pt x="106199" y="42892"/>
                      </a:lnTo>
                      <a:lnTo>
                        <a:pt x="107047" y="45883"/>
                      </a:lnTo>
                      <a:lnTo>
                        <a:pt x="109549" y="47953"/>
                      </a:lnTo>
                      <a:lnTo>
                        <a:pt x="112515" y="48426"/>
                      </a:lnTo>
                      <a:lnTo>
                        <a:pt x="116598" y="46845"/>
                      </a:lnTo>
                      <a:lnTo>
                        <a:pt x="118196" y="48206"/>
                      </a:lnTo>
                      <a:lnTo>
                        <a:pt x="120111" y="50838"/>
                      </a:lnTo>
                      <a:lnTo>
                        <a:pt x="121936" y="54277"/>
                      </a:lnTo>
                      <a:lnTo>
                        <a:pt x="121814" y="55500"/>
                      </a:lnTo>
                      <a:lnTo>
                        <a:pt x="119475" y="56567"/>
                      </a:lnTo>
                      <a:lnTo>
                        <a:pt x="117364" y="58116"/>
                      </a:lnTo>
                      <a:lnTo>
                        <a:pt x="126150" y="58751"/>
                      </a:lnTo>
                      <a:lnTo>
                        <a:pt x="127038" y="59403"/>
                      </a:lnTo>
                      <a:lnTo>
                        <a:pt x="128016" y="60756"/>
                      </a:lnTo>
                      <a:lnTo>
                        <a:pt x="127112" y="62117"/>
                      </a:lnTo>
                      <a:lnTo>
                        <a:pt x="126280" y="62794"/>
                      </a:lnTo>
                      <a:lnTo>
                        <a:pt x="124691" y="61995"/>
                      </a:lnTo>
                      <a:lnTo>
                        <a:pt x="121749" y="62720"/>
                      </a:lnTo>
                      <a:lnTo>
                        <a:pt x="119182" y="64497"/>
                      </a:lnTo>
                      <a:lnTo>
                        <a:pt x="116435" y="65483"/>
                      </a:lnTo>
                      <a:lnTo>
                        <a:pt x="114683" y="65597"/>
                      </a:lnTo>
                      <a:lnTo>
                        <a:pt x="112727" y="66412"/>
                      </a:lnTo>
                      <a:lnTo>
                        <a:pt x="110951" y="67675"/>
                      </a:lnTo>
                      <a:lnTo>
                        <a:pt x="109092" y="68026"/>
                      </a:lnTo>
                      <a:lnTo>
                        <a:pt x="103322" y="71188"/>
                      </a:lnTo>
                      <a:lnTo>
                        <a:pt x="97414" y="73217"/>
                      </a:lnTo>
                      <a:lnTo>
                        <a:pt x="91236" y="76469"/>
                      </a:lnTo>
                      <a:lnTo>
                        <a:pt x="84936" y="78523"/>
                      </a:lnTo>
                      <a:lnTo>
                        <a:pt x="78400" y="80984"/>
                      </a:lnTo>
                      <a:lnTo>
                        <a:pt x="76974" y="81204"/>
                      </a:lnTo>
                      <a:lnTo>
                        <a:pt x="75328" y="81114"/>
                      </a:lnTo>
                      <a:lnTo>
                        <a:pt x="71595" y="83518"/>
                      </a:lnTo>
                      <a:lnTo>
                        <a:pt x="69746" y="83192"/>
                      </a:lnTo>
                      <a:lnTo>
                        <a:pt x="67863" y="83608"/>
                      </a:lnTo>
                      <a:lnTo>
                        <a:pt x="65687" y="83086"/>
                      </a:lnTo>
                      <a:lnTo>
                        <a:pt x="64204" y="82100"/>
                      </a:lnTo>
                      <a:lnTo>
                        <a:pt x="65345" y="84643"/>
                      </a:lnTo>
                      <a:lnTo>
                        <a:pt x="65679" y="86982"/>
                      </a:lnTo>
                      <a:lnTo>
                        <a:pt x="65108" y="88009"/>
                      </a:lnTo>
                      <a:lnTo>
                        <a:pt x="64065" y="89215"/>
                      </a:lnTo>
                      <a:lnTo>
                        <a:pt x="60308" y="88987"/>
                      </a:lnTo>
                      <a:lnTo>
                        <a:pt x="58833" y="88139"/>
                      </a:lnTo>
                      <a:lnTo>
                        <a:pt x="57081" y="86892"/>
                      </a:lnTo>
                      <a:lnTo>
                        <a:pt x="56282" y="84879"/>
                      </a:lnTo>
                      <a:lnTo>
                        <a:pt x="54400" y="83437"/>
                      </a:lnTo>
                      <a:lnTo>
                        <a:pt x="53275" y="85434"/>
                      </a:lnTo>
                      <a:lnTo>
                        <a:pt x="53283" y="86917"/>
                      </a:lnTo>
                      <a:lnTo>
                        <a:pt x="51889" y="88946"/>
                      </a:lnTo>
                      <a:lnTo>
                        <a:pt x="50251" y="85483"/>
                      </a:lnTo>
                      <a:lnTo>
                        <a:pt x="47301" y="86754"/>
                      </a:lnTo>
                      <a:lnTo>
                        <a:pt x="45997" y="90438"/>
                      </a:lnTo>
                      <a:lnTo>
                        <a:pt x="46649" y="91489"/>
                      </a:lnTo>
                      <a:lnTo>
                        <a:pt x="47562" y="94309"/>
                      </a:lnTo>
                      <a:lnTo>
                        <a:pt x="46095" y="95784"/>
                      </a:lnTo>
                      <a:lnTo>
                        <a:pt x="45011" y="95384"/>
                      </a:lnTo>
                      <a:lnTo>
                        <a:pt x="42770" y="99508"/>
                      </a:lnTo>
                      <a:lnTo>
                        <a:pt x="40048" y="101016"/>
                      </a:lnTo>
                      <a:lnTo>
                        <a:pt x="37244" y="105221"/>
                      </a:lnTo>
                      <a:lnTo>
                        <a:pt x="33919" y="108424"/>
                      </a:lnTo>
                      <a:lnTo>
                        <a:pt x="33015" y="110559"/>
                      </a:lnTo>
                      <a:lnTo>
                        <a:pt x="27440" y="115449"/>
                      </a:lnTo>
                      <a:lnTo>
                        <a:pt x="25321" y="115302"/>
                      </a:lnTo>
                      <a:lnTo>
                        <a:pt x="23765" y="115465"/>
                      </a:lnTo>
                      <a:lnTo>
                        <a:pt x="21417" y="117503"/>
                      </a:lnTo>
                      <a:lnTo>
                        <a:pt x="21051" y="121618"/>
                      </a:lnTo>
                      <a:lnTo>
                        <a:pt x="20016" y="121072"/>
                      </a:lnTo>
                      <a:lnTo>
                        <a:pt x="18964" y="121203"/>
                      </a:lnTo>
                      <a:lnTo>
                        <a:pt x="18427" y="122490"/>
                      </a:lnTo>
                      <a:lnTo>
                        <a:pt x="17644" y="122702"/>
                      </a:lnTo>
                      <a:lnTo>
                        <a:pt x="15590" y="121480"/>
                      </a:lnTo>
                      <a:lnTo>
                        <a:pt x="13178" y="122148"/>
                      </a:lnTo>
                      <a:lnTo>
                        <a:pt x="11287" y="121219"/>
                      </a:lnTo>
                      <a:lnTo>
                        <a:pt x="8875" y="115188"/>
                      </a:lnTo>
                      <a:lnTo>
                        <a:pt x="7596" y="113069"/>
                      </a:lnTo>
                      <a:lnTo>
                        <a:pt x="5330" y="112385"/>
                      </a:lnTo>
                      <a:lnTo>
                        <a:pt x="4735" y="113664"/>
                      </a:lnTo>
                      <a:lnTo>
                        <a:pt x="3863" y="114911"/>
                      </a:lnTo>
                      <a:lnTo>
                        <a:pt x="1671" y="112417"/>
                      </a:lnTo>
                      <a:lnTo>
                        <a:pt x="16" y="103167"/>
                      </a:lnTo>
                      <a:lnTo>
                        <a:pt x="0" y="100926"/>
                      </a:lnTo>
                      <a:lnTo>
                        <a:pt x="2323" y="93127"/>
                      </a:lnTo>
                      <a:lnTo>
                        <a:pt x="8060" y="86094"/>
                      </a:lnTo>
                      <a:lnTo>
                        <a:pt x="6226" y="85857"/>
                      </a:lnTo>
                      <a:lnTo>
                        <a:pt x="1157" y="90739"/>
                      </a:lnTo>
                      <a:lnTo>
                        <a:pt x="1679" y="89549"/>
                      </a:lnTo>
                      <a:lnTo>
                        <a:pt x="2535" y="88319"/>
                      </a:lnTo>
                      <a:lnTo>
                        <a:pt x="4246" y="86330"/>
                      </a:lnTo>
                      <a:lnTo>
                        <a:pt x="6846" y="84464"/>
                      </a:lnTo>
                      <a:lnTo>
                        <a:pt x="10301" y="83372"/>
                      </a:lnTo>
                      <a:lnTo>
                        <a:pt x="12681" y="83209"/>
                      </a:lnTo>
                      <a:lnTo>
                        <a:pt x="14319" y="82182"/>
                      </a:lnTo>
                      <a:lnTo>
                        <a:pt x="16699" y="80348"/>
                      </a:lnTo>
                      <a:lnTo>
                        <a:pt x="17139" y="79378"/>
                      </a:lnTo>
                      <a:lnTo>
                        <a:pt x="15036" y="80495"/>
                      </a:lnTo>
                      <a:lnTo>
                        <a:pt x="11532" y="81595"/>
                      </a:lnTo>
                      <a:lnTo>
                        <a:pt x="12428" y="80153"/>
                      </a:lnTo>
                      <a:lnTo>
                        <a:pt x="13308" y="79378"/>
                      </a:lnTo>
                      <a:lnTo>
                        <a:pt x="32004" y="66738"/>
                      </a:lnTo>
                      <a:lnTo>
                        <a:pt x="35761" y="64652"/>
                      </a:lnTo>
                      <a:lnTo>
                        <a:pt x="43259" y="61987"/>
                      </a:lnTo>
                      <a:lnTo>
                        <a:pt x="44294" y="60243"/>
                      </a:lnTo>
                      <a:lnTo>
                        <a:pt x="43275" y="59134"/>
                      </a:lnTo>
                      <a:lnTo>
                        <a:pt x="46184" y="60129"/>
                      </a:lnTo>
                      <a:lnTo>
                        <a:pt x="45948" y="61571"/>
                      </a:lnTo>
                      <a:lnTo>
                        <a:pt x="45492" y="62622"/>
                      </a:lnTo>
                      <a:lnTo>
                        <a:pt x="45321" y="64415"/>
                      </a:lnTo>
                      <a:lnTo>
                        <a:pt x="45598" y="66135"/>
                      </a:lnTo>
                      <a:lnTo>
                        <a:pt x="48556" y="66975"/>
                      </a:lnTo>
                      <a:lnTo>
                        <a:pt x="51026" y="70177"/>
                      </a:lnTo>
                      <a:lnTo>
                        <a:pt x="49852" y="65834"/>
                      </a:lnTo>
                      <a:lnTo>
                        <a:pt x="52069" y="63372"/>
                      </a:lnTo>
                      <a:lnTo>
                        <a:pt x="60626" y="60072"/>
                      </a:lnTo>
                      <a:lnTo>
                        <a:pt x="67773" y="59721"/>
                      </a:lnTo>
                      <a:lnTo>
                        <a:pt x="70055" y="58181"/>
                      </a:lnTo>
                      <a:lnTo>
                        <a:pt x="63943" y="57154"/>
                      </a:lnTo>
                      <a:lnTo>
                        <a:pt x="56698" y="57716"/>
                      </a:lnTo>
                      <a:lnTo>
                        <a:pt x="52215" y="56567"/>
                      </a:lnTo>
                      <a:lnTo>
                        <a:pt x="46038" y="57317"/>
                      </a:lnTo>
                      <a:lnTo>
                        <a:pt x="39494" y="56600"/>
                      </a:lnTo>
                      <a:lnTo>
                        <a:pt x="37481" y="57553"/>
                      </a:lnTo>
                      <a:lnTo>
                        <a:pt x="35859" y="59615"/>
                      </a:lnTo>
                      <a:lnTo>
                        <a:pt x="33740" y="58703"/>
                      </a:lnTo>
                      <a:lnTo>
                        <a:pt x="32721" y="58540"/>
                      </a:lnTo>
                      <a:lnTo>
                        <a:pt x="31735" y="57839"/>
                      </a:lnTo>
                      <a:lnTo>
                        <a:pt x="33854" y="54294"/>
                      </a:lnTo>
                      <a:lnTo>
                        <a:pt x="40480" y="49012"/>
                      </a:lnTo>
                      <a:lnTo>
                        <a:pt x="44522" y="44416"/>
                      </a:lnTo>
                      <a:lnTo>
                        <a:pt x="45671" y="43454"/>
                      </a:lnTo>
                      <a:lnTo>
                        <a:pt x="46568" y="41596"/>
                      </a:lnTo>
                      <a:lnTo>
                        <a:pt x="47603" y="41099"/>
                      </a:lnTo>
                      <a:lnTo>
                        <a:pt x="48996" y="39298"/>
                      </a:lnTo>
                      <a:lnTo>
                        <a:pt x="50406" y="37041"/>
                      </a:lnTo>
                      <a:lnTo>
                        <a:pt x="53096" y="36576"/>
                      </a:lnTo>
                      <a:lnTo>
                        <a:pt x="53601" y="35345"/>
                      </a:lnTo>
                      <a:lnTo>
                        <a:pt x="57496" y="37236"/>
                      </a:lnTo>
                      <a:close/>
                    </a:path>
                  </a:pathLst>
                </a:custGeom>
                <a:solidFill>
                  <a:srgbClr val="D6D6D2"/>
                </a:solidFill>
                <a:ln w="6112" cap="rnd">
                  <a:solidFill>
                    <a:srgbClr val="FFFFFF"/>
                  </a:solidFill>
                  <a:prstDash val="solid"/>
                  <a:round/>
                </a:ln>
              </p:spPr>
              <p:txBody>
                <a:bodyPr rtlCol="0" anchor="ctr"/>
                <a:lstStyle/>
                <a:p>
                  <a:endParaRPr lang="en-US"/>
                </a:p>
              </p:txBody>
            </p:sp>
            <p:sp>
              <p:nvSpPr>
                <p:cNvPr id="478" name="Freeform: Shape 477">
                  <a:extLst>
                    <a:ext uri="{FF2B5EF4-FFF2-40B4-BE49-F238E27FC236}">
                      <a16:creationId xmlns:a16="http://schemas.microsoft.com/office/drawing/2014/main" id="{EDBEEBC5-667C-486B-B0CD-E6DB8C0DA9E5}"/>
                    </a:ext>
                  </a:extLst>
                </p:cNvPr>
                <p:cNvSpPr/>
                <p:nvPr/>
              </p:nvSpPr>
              <p:spPr>
                <a:xfrm>
                  <a:off x="4263067" y="2531463"/>
                  <a:ext cx="374733" cy="514541"/>
                </a:xfrm>
                <a:custGeom>
                  <a:avLst/>
                  <a:gdLst>
                    <a:gd name="connsiteX0" fmla="*/ 74154 w 374733"/>
                    <a:gd name="connsiteY0" fmla="*/ 11809 h 514541"/>
                    <a:gd name="connsiteX1" fmla="*/ 75043 w 374733"/>
                    <a:gd name="connsiteY1" fmla="*/ 12396 h 514541"/>
                    <a:gd name="connsiteX2" fmla="*/ 79346 w 374733"/>
                    <a:gd name="connsiteY2" fmla="*/ 10562 h 514541"/>
                    <a:gd name="connsiteX3" fmla="*/ 83095 w 374733"/>
                    <a:gd name="connsiteY3" fmla="*/ 9714 h 514541"/>
                    <a:gd name="connsiteX4" fmla="*/ 86175 w 374733"/>
                    <a:gd name="connsiteY4" fmla="*/ 9747 h 514541"/>
                    <a:gd name="connsiteX5" fmla="*/ 88669 w 374733"/>
                    <a:gd name="connsiteY5" fmla="*/ 13382 h 514541"/>
                    <a:gd name="connsiteX6" fmla="*/ 89020 w 374733"/>
                    <a:gd name="connsiteY6" fmla="*/ 18418 h 514541"/>
                    <a:gd name="connsiteX7" fmla="*/ 87593 w 374733"/>
                    <a:gd name="connsiteY7" fmla="*/ 22615 h 514541"/>
                    <a:gd name="connsiteX8" fmla="*/ 89468 w 374733"/>
                    <a:gd name="connsiteY8" fmla="*/ 20529 h 514541"/>
                    <a:gd name="connsiteX9" fmla="*/ 91815 w 374733"/>
                    <a:gd name="connsiteY9" fmla="*/ 19380 h 514541"/>
                    <a:gd name="connsiteX10" fmla="*/ 93730 w 374733"/>
                    <a:gd name="connsiteY10" fmla="*/ 22118 h 514541"/>
                    <a:gd name="connsiteX11" fmla="*/ 93958 w 374733"/>
                    <a:gd name="connsiteY11" fmla="*/ 24351 h 514541"/>
                    <a:gd name="connsiteX12" fmla="*/ 94969 w 374733"/>
                    <a:gd name="connsiteY12" fmla="*/ 26446 h 514541"/>
                    <a:gd name="connsiteX13" fmla="*/ 97145 w 374733"/>
                    <a:gd name="connsiteY13" fmla="*/ 29258 h 514541"/>
                    <a:gd name="connsiteX14" fmla="*/ 99402 w 374733"/>
                    <a:gd name="connsiteY14" fmla="*/ 31711 h 514541"/>
                    <a:gd name="connsiteX15" fmla="*/ 96917 w 374733"/>
                    <a:gd name="connsiteY15" fmla="*/ 34278 h 514541"/>
                    <a:gd name="connsiteX16" fmla="*/ 93934 w 374733"/>
                    <a:gd name="connsiteY16" fmla="*/ 35818 h 514541"/>
                    <a:gd name="connsiteX17" fmla="*/ 94562 w 374733"/>
                    <a:gd name="connsiteY17" fmla="*/ 36967 h 514541"/>
                    <a:gd name="connsiteX18" fmla="*/ 98644 w 374733"/>
                    <a:gd name="connsiteY18" fmla="*/ 38190 h 514541"/>
                    <a:gd name="connsiteX19" fmla="*/ 99191 w 374733"/>
                    <a:gd name="connsiteY19" fmla="*/ 39404 h 514541"/>
                    <a:gd name="connsiteX20" fmla="*/ 98759 w 374733"/>
                    <a:gd name="connsiteY20" fmla="*/ 41050 h 514541"/>
                    <a:gd name="connsiteX21" fmla="*/ 99353 w 374733"/>
                    <a:gd name="connsiteY21" fmla="*/ 41034 h 514541"/>
                    <a:gd name="connsiteX22" fmla="*/ 102190 w 374733"/>
                    <a:gd name="connsiteY22" fmla="*/ 38499 h 514541"/>
                    <a:gd name="connsiteX23" fmla="*/ 104610 w 374733"/>
                    <a:gd name="connsiteY23" fmla="*/ 38842 h 514541"/>
                    <a:gd name="connsiteX24" fmla="*/ 107699 w 374733"/>
                    <a:gd name="connsiteY24" fmla="*/ 44326 h 514541"/>
                    <a:gd name="connsiteX25" fmla="*/ 105450 w 374733"/>
                    <a:gd name="connsiteY25" fmla="*/ 47456 h 514541"/>
                    <a:gd name="connsiteX26" fmla="*/ 101994 w 374733"/>
                    <a:gd name="connsiteY26" fmla="*/ 48898 h 514541"/>
                    <a:gd name="connsiteX27" fmla="*/ 99248 w 374733"/>
                    <a:gd name="connsiteY27" fmla="*/ 49501 h 514541"/>
                    <a:gd name="connsiteX28" fmla="*/ 95425 w 374733"/>
                    <a:gd name="connsiteY28" fmla="*/ 49420 h 514541"/>
                    <a:gd name="connsiteX29" fmla="*/ 93918 w 374733"/>
                    <a:gd name="connsiteY29" fmla="*/ 49893 h 514541"/>
                    <a:gd name="connsiteX30" fmla="*/ 94668 w 374733"/>
                    <a:gd name="connsiteY30" fmla="*/ 50928 h 514541"/>
                    <a:gd name="connsiteX31" fmla="*/ 98327 w 374733"/>
                    <a:gd name="connsiteY31" fmla="*/ 50944 h 514541"/>
                    <a:gd name="connsiteX32" fmla="*/ 103926 w 374733"/>
                    <a:gd name="connsiteY32" fmla="*/ 50153 h 514541"/>
                    <a:gd name="connsiteX33" fmla="*/ 108122 w 374733"/>
                    <a:gd name="connsiteY33" fmla="*/ 48858 h 514541"/>
                    <a:gd name="connsiteX34" fmla="*/ 109940 w 374733"/>
                    <a:gd name="connsiteY34" fmla="*/ 48784 h 514541"/>
                    <a:gd name="connsiteX35" fmla="*/ 111855 w 374733"/>
                    <a:gd name="connsiteY35" fmla="*/ 49306 h 514541"/>
                    <a:gd name="connsiteX36" fmla="*/ 112499 w 374733"/>
                    <a:gd name="connsiteY36" fmla="*/ 49746 h 514541"/>
                    <a:gd name="connsiteX37" fmla="*/ 110486 w 374733"/>
                    <a:gd name="connsiteY37" fmla="*/ 50642 h 514541"/>
                    <a:gd name="connsiteX38" fmla="*/ 110331 w 374733"/>
                    <a:gd name="connsiteY38" fmla="*/ 50960 h 514541"/>
                    <a:gd name="connsiteX39" fmla="*/ 111089 w 374733"/>
                    <a:gd name="connsiteY39" fmla="*/ 51881 h 514541"/>
                    <a:gd name="connsiteX40" fmla="*/ 112654 w 374733"/>
                    <a:gd name="connsiteY40" fmla="*/ 54848 h 514541"/>
                    <a:gd name="connsiteX41" fmla="*/ 112515 w 374733"/>
                    <a:gd name="connsiteY41" fmla="*/ 55524 h 514541"/>
                    <a:gd name="connsiteX42" fmla="*/ 111024 w 374733"/>
                    <a:gd name="connsiteY42" fmla="*/ 57244 h 514541"/>
                    <a:gd name="connsiteX43" fmla="*/ 113428 w 374733"/>
                    <a:gd name="connsiteY43" fmla="*/ 57619 h 514541"/>
                    <a:gd name="connsiteX44" fmla="*/ 116769 w 374733"/>
                    <a:gd name="connsiteY44" fmla="*/ 56812 h 514541"/>
                    <a:gd name="connsiteX45" fmla="*/ 117813 w 374733"/>
                    <a:gd name="connsiteY45" fmla="*/ 57716 h 514541"/>
                    <a:gd name="connsiteX46" fmla="*/ 119850 w 374733"/>
                    <a:gd name="connsiteY46" fmla="*/ 61286 h 514541"/>
                    <a:gd name="connsiteX47" fmla="*/ 121146 w 374733"/>
                    <a:gd name="connsiteY47" fmla="*/ 64937 h 514541"/>
                    <a:gd name="connsiteX48" fmla="*/ 115482 w 374733"/>
                    <a:gd name="connsiteY48" fmla="*/ 69925 h 514541"/>
                    <a:gd name="connsiteX49" fmla="*/ 112597 w 374733"/>
                    <a:gd name="connsiteY49" fmla="*/ 70960 h 514541"/>
                    <a:gd name="connsiteX50" fmla="*/ 108351 w 374733"/>
                    <a:gd name="connsiteY50" fmla="*/ 73592 h 514541"/>
                    <a:gd name="connsiteX51" fmla="*/ 107161 w 374733"/>
                    <a:gd name="connsiteY51" fmla="*/ 75695 h 514541"/>
                    <a:gd name="connsiteX52" fmla="*/ 104700 w 374733"/>
                    <a:gd name="connsiteY52" fmla="*/ 78409 h 514541"/>
                    <a:gd name="connsiteX53" fmla="*/ 106273 w 374733"/>
                    <a:gd name="connsiteY53" fmla="*/ 78376 h 514541"/>
                    <a:gd name="connsiteX54" fmla="*/ 110674 w 374733"/>
                    <a:gd name="connsiteY54" fmla="*/ 74040 h 514541"/>
                    <a:gd name="connsiteX55" fmla="*/ 112817 w 374733"/>
                    <a:gd name="connsiteY55" fmla="*/ 73030 h 514541"/>
                    <a:gd name="connsiteX56" fmla="*/ 114414 w 374733"/>
                    <a:gd name="connsiteY56" fmla="*/ 73274 h 514541"/>
                    <a:gd name="connsiteX57" fmla="*/ 115058 w 374733"/>
                    <a:gd name="connsiteY57" fmla="*/ 74016 h 514541"/>
                    <a:gd name="connsiteX58" fmla="*/ 114748 w 374733"/>
                    <a:gd name="connsiteY58" fmla="*/ 75230 h 514541"/>
                    <a:gd name="connsiteX59" fmla="*/ 116150 w 374733"/>
                    <a:gd name="connsiteY59" fmla="*/ 75075 h 514541"/>
                    <a:gd name="connsiteX60" fmla="*/ 122059 w 374733"/>
                    <a:gd name="connsiteY60" fmla="*/ 72533 h 514541"/>
                    <a:gd name="connsiteX61" fmla="*/ 124536 w 374733"/>
                    <a:gd name="connsiteY61" fmla="*/ 72035 h 514541"/>
                    <a:gd name="connsiteX62" fmla="*/ 127747 w 374733"/>
                    <a:gd name="connsiteY62" fmla="*/ 71864 h 514541"/>
                    <a:gd name="connsiteX63" fmla="*/ 128098 w 374733"/>
                    <a:gd name="connsiteY63" fmla="*/ 72744 h 514541"/>
                    <a:gd name="connsiteX64" fmla="*/ 126101 w 374733"/>
                    <a:gd name="connsiteY64" fmla="*/ 78824 h 514541"/>
                    <a:gd name="connsiteX65" fmla="*/ 122686 w 374733"/>
                    <a:gd name="connsiteY65" fmla="*/ 83486 h 514541"/>
                    <a:gd name="connsiteX66" fmla="*/ 116468 w 374733"/>
                    <a:gd name="connsiteY66" fmla="*/ 86363 h 514541"/>
                    <a:gd name="connsiteX67" fmla="*/ 114259 w 374733"/>
                    <a:gd name="connsiteY67" fmla="*/ 88042 h 514541"/>
                    <a:gd name="connsiteX68" fmla="*/ 111537 w 374733"/>
                    <a:gd name="connsiteY68" fmla="*/ 90764 h 514541"/>
                    <a:gd name="connsiteX69" fmla="*/ 112564 w 374733"/>
                    <a:gd name="connsiteY69" fmla="*/ 91261 h 514541"/>
                    <a:gd name="connsiteX70" fmla="*/ 118497 w 374733"/>
                    <a:gd name="connsiteY70" fmla="*/ 87691 h 514541"/>
                    <a:gd name="connsiteX71" fmla="*/ 122548 w 374733"/>
                    <a:gd name="connsiteY71" fmla="*/ 86281 h 514541"/>
                    <a:gd name="connsiteX72" fmla="*/ 128244 w 374733"/>
                    <a:gd name="connsiteY72" fmla="*/ 85148 h 514541"/>
                    <a:gd name="connsiteX73" fmla="*/ 130771 w 374733"/>
                    <a:gd name="connsiteY73" fmla="*/ 85303 h 514541"/>
                    <a:gd name="connsiteX74" fmla="*/ 135253 w 374733"/>
                    <a:gd name="connsiteY74" fmla="*/ 92426 h 514541"/>
                    <a:gd name="connsiteX75" fmla="*/ 137828 w 374733"/>
                    <a:gd name="connsiteY75" fmla="*/ 93111 h 514541"/>
                    <a:gd name="connsiteX76" fmla="*/ 139915 w 374733"/>
                    <a:gd name="connsiteY76" fmla="*/ 92744 h 514541"/>
                    <a:gd name="connsiteX77" fmla="*/ 143851 w 374733"/>
                    <a:gd name="connsiteY77" fmla="*/ 94790 h 514541"/>
                    <a:gd name="connsiteX78" fmla="*/ 145334 w 374733"/>
                    <a:gd name="connsiteY78" fmla="*/ 96762 h 514541"/>
                    <a:gd name="connsiteX79" fmla="*/ 144959 w 374733"/>
                    <a:gd name="connsiteY79" fmla="*/ 98180 h 514541"/>
                    <a:gd name="connsiteX80" fmla="*/ 143623 w 374733"/>
                    <a:gd name="connsiteY80" fmla="*/ 99027 h 514541"/>
                    <a:gd name="connsiteX81" fmla="*/ 142955 w 374733"/>
                    <a:gd name="connsiteY81" fmla="*/ 100356 h 514541"/>
                    <a:gd name="connsiteX82" fmla="*/ 144527 w 374733"/>
                    <a:gd name="connsiteY82" fmla="*/ 104284 h 514541"/>
                    <a:gd name="connsiteX83" fmla="*/ 143615 w 374733"/>
                    <a:gd name="connsiteY83" fmla="*/ 106493 h 514541"/>
                    <a:gd name="connsiteX84" fmla="*/ 140738 w 374733"/>
                    <a:gd name="connsiteY84" fmla="*/ 108448 h 514541"/>
                    <a:gd name="connsiteX85" fmla="*/ 138684 w 374733"/>
                    <a:gd name="connsiteY85" fmla="*/ 109435 h 514541"/>
                    <a:gd name="connsiteX86" fmla="*/ 136541 w 374733"/>
                    <a:gd name="connsiteY86" fmla="*/ 109736 h 514541"/>
                    <a:gd name="connsiteX87" fmla="*/ 134430 w 374733"/>
                    <a:gd name="connsiteY87" fmla="*/ 111456 h 514541"/>
                    <a:gd name="connsiteX88" fmla="*/ 133468 w 374733"/>
                    <a:gd name="connsiteY88" fmla="*/ 111716 h 514541"/>
                    <a:gd name="connsiteX89" fmla="*/ 130534 w 374733"/>
                    <a:gd name="connsiteY89" fmla="*/ 111276 h 514541"/>
                    <a:gd name="connsiteX90" fmla="*/ 131545 w 374733"/>
                    <a:gd name="connsiteY90" fmla="*/ 112336 h 514541"/>
                    <a:gd name="connsiteX91" fmla="*/ 132995 w 374733"/>
                    <a:gd name="connsiteY91" fmla="*/ 112866 h 514541"/>
                    <a:gd name="connsiteX92" fmla="*/ 135310 w 374733"/>
                    <a:gd name="connsiteY92" fmla="*/ 113159 h 514541"/>
                    <a:gd name="connsiteX93" fmla="*/ 138016 w 374733"/>
                    <a:gd name="connsiteY93" fmla="*/ 112621 h 514541"/>
                    <a:gd name="connsiteX94" fmla="*/ 140648 w 374733"/>
                    <a:gd name="connsiteY94" fmla="*/ 112686 h 514541"/>
                    <a:gd name="connsiteX95" fmla="*/ 144788 w 374733"/>
                    <a:gd name="connsiteY95" fmla="*/ 113933 h 514541"/>
                    <a:gd name="connsiteX96" fmla="*/ 146524 w 374733"/>
                    <a:gd name="connsiteY96" fmla="*/ 115473 h 514541"/>
                    <a:gd name="connsiteX97" fmla="*/ 146557 w 374733"/>
                    <a:gd name="connsiteY97" fmla="*/ 115889 h 514541"/>
                    <a:gd name="connsiteX98" fmla="*/ 145669 w 374733"/>
                    <a:gd name="connsiteY98" fmla="*/ 116769 h 514541"/>
                    <a:gd name="connsiteX99" fmla="*/ 144348 w 374733"/>
                    <a:gd name="connsiteY99" fmla="*/ 119630 h 514541"/>
                    <a:gd name="connsiteX100" fmla="*/ 143387 w 374733"/>
                    <a:gd name="connsiteY100" fmla="*/ 120657 h 514541"/>
                    <a:gd name="connsiteX101" fmla="*/ 144210 w 374733"/>
                    <a:gd name="connsiteY101" fmla="*/ 121431 h 514541"/>
                    <a:gd name="connsiteX102" fmla="*/ 146280 w 374733"/>
                    <a:gd name="connsiteY102" fmla="*/ 122621 h 514541"/>
                    <a:gd name="connsiteX103" fmla="*/ 147828 w 374733"/>
                    <a:gd name="connsiteY103" fmla="*/ 123061 h 514541"/>
                    <a:gd name="connsiteX104" fmla="*/ 149866 w 374733"/>
                    <a:gd name="connsiteY104" fmla="*/ 122670 h 514541"/>
                    <a:gd name="connsiteX105" fmla="*/ 152050 w 374733"/>
                    <a:gd name="connsiteY105" fmla="*/ 123175 h 514541"/>
                    <a:gd name="connsiteX106" fmla="*/ 159352 w 374733"/>
                    <a:gd name="connsiteY106" fmla="*/ 129874 h 514541"/>
                    <a:gd name="connsiteX107" fmla="*/ 159058 w 374733"/>
                    <a:gd name="connsiteY107" fmla="*/ 133321 h 514541"/>
                    <a:gd name="connsiteX108" fmla="*/ 157942 w 374733"/>
                    <a:gd name="connsiteY108" fmla="*/ 135978 h 514541"/>
                    <a:gd name="connsiteX109" fmla="*/ 158382 w 374733"/>
                    <a:gd name="connsiteY109" fmla="*/ 138961 h 514541"/>
                    <a:gd name="connsiteX110" fmla="*/ 158415 w 374733"/>
                    <a:gd name="connsiteY110" fmla="*/ 142637 h 514541"/>
                    <a:gd name="connsiteX111" fmla="*/ 154446 w 374733"/>
                    <a:gd name="connsiteY111" fmla="*/ 143647 h 514541"/>
                    <a:gd name="connsiteX112" fmla="*/ 141284 w 374733"/>
                    <a:gd name="connsiteY112" fmla="*/ 141936 h 514541"/>
                    <a:gd name="connsiteX113" fmla="*/ 133754 w 374733"/>
                    <a:gd name="connsiteY113" fmla="*/ 139311 h 514541"/>
                    <a:gd name="connsiteX114" fmla="*/ 133362 w 374733"/>
                    <a:gd name="connsiteY114" fmla="*/ 138505 h 514541"/>
                    <a:gd name="connsiteX115" fmla="*/ 135489 w 374733"/>
                    <a:gd name="connsiteY115" fmla="*/ 136769 h 514541"/>
                    <a:gd name="connsiteX116" fmla="*/ 133607 w 374733"/>
                    <a:gd name="connsiteY116" fmla="*/ 136630 h 514541"/>
                    <a:gd name="connsiteX117" fmla="*/ 131414 w 374733"/>
                    <a:gd name="connsiteY117" fmla="*/ 137315 h 514541"/>
                    <a:gd name="connsiteX118" fmla="*/ 130494 w 374733"/>
                    <a:gd name="connsiteY118" fmla="*/ 137967 h 514541"/>
                    <a:gd name="connsiteX119" fmla="*/ 133028 w 374733"/>
                    <a:gd name="connsiteY119" fmla="*/ 140738 h 514541"/>
                    <a:gd name="connsiteX120" fmla="*/ 139947 w 374733"/>
                    <a:gd name="connsiteY120" fmla="*/ 143183 h 514541"/>
                    <a:gd name="connsiteX121" fmla="*/ 143044 w 374733"/>
                    <a:gd name="connsiteY121" fmla="*/ 146117 h 514541"/>
                    <a:gd name="connsiteX122" fmla="*/ 146443 w 374733"/>
                    <a:gd name="connsiteY122" fmla="*/ 146369 h 514541"/>
                    <a:gd name="connsiteX123" fmla="*/ 147469 w 374733"/>
                    <a:gd name="connsiteY123" fmla="*/ 146899 h 514541"/>
                    <a:gd name="connsiteX124" fmla="*/ 149344 w 374733"/>
                    <a:gd name="connsiteY124" fmla="*/ 148618 h 514541"/>
                    <a:gd name="connsiteX125" fmla="*/ 148798 w 374733"/>
                    <a:gd name="connsiteY125" fmla="*/ 149213 h 514541"/>
                    <a:gd name="connsiteX126" fmla="*/ 145342 w 374733"/>
                    <a:gd name="connsiteY126" fmla="*/ 149417 h 514541"/>
                    <a:gd name="connsiteX127" fmla="*/ 142612 w 374733"/>
                    <a:gd name="connsiteY127" fmla="*/ 151406 h 514541"/>
                    <a:gd name="connsiteX128" fmla="*/ 144332 w 374733"/>
                    <a:gd name="connsiteY128" fmla="*/ 152571 h 514541"/>
                    <a:gd name="connsiteX129" fmla="*/ 150477 w 374733"/>
                    <a:gd name="connsiteY129" fmla="*/ 153598 h 514541"/>
                    <a:gd name="connsiteX130" fmla="*/ 154886 w 374733"/>
                    <a:gd name="connsiteY130" fmla="*/ 153851 h 514541"/>
                    <a:gd name="connsiteX131" fmla="*/ 157102 w 374733"/>
                    <a:gd name="connsiteY131" fmla="*/ 155000 h 514541"/>
                    <a:gd name="connsiteX132" fmla="*/ 155285 w 374733"/>
                    <a:gd name="connsiteY132" fmla="*/ 156279 h 514541"/>
                    <a:gd name="connsiteX133" fmla="*/ 150110 w 374733"/>
                    <a:gd name="connsiteY133" fmla="*/ 157771 h 514541"/>
                    <a:gd name="connsiteX134" fmla="*/ 149963 w 374733"/>
                    <a:gd name="connsiteY134" fmla="*/ 159996 h 514541"/>
                    <a:gd name="connsiteX135" fmla="*/ 153794 w 374733"/>
                    <a:gd name="connsiteY135" fmla="*/ 160884 h 514541"/>
                    <a:gd name="connsiteX136" fmla="*/ 157200 w 374733"/>
                    <a:gd name="connsiteY136" fmla="*/ 160346 h 514541"/>
                    <a:gd name="connsiteX137" fmla="*/ 158594 w 374733"/>
                    <a:gd name="connsiteY137" fmla="*/ 160574 h 514541"/>
                    <a:gd name="connsiteX138" fmla="*/ 159596 w 374733"/>
                    <a:gd name="connsiteY138" fmla="*/ 165953 h 514541"/>
                    <a:gd name="connsiteX139" fmla="*/ 160175 w 374733"/>
                    <a:gd name="connsiteY139" fmla="*/ 167070 h 514541"/>
                    <a:gd name="connsiteX140" fmla="*/ 156508 w 374733"/>
                    <a:gd name="connsiteY140" fmla="*/ 168023 h 514541"/>
                    <a:gd name="connsiteX141" fmla="*/ 156491 w 374733"/>
                    <a:gd name="connsiteY141" fmla="*/ 169042 h 514541"/>
                    <a:gd name="connsiteX142" fmla="*/ 158928 w 374733"/>
                    <a:gd name="connsiteY142" fmla="*/ 169889 h 514541"/>
                    <a:gd name="connsiteX143" fmla="*/ 162978 w 374733"/>
                    <a:gd name="connsiteY143" fmla="*/ 170590 h 514541"/>
                    <a:gd name="connsiteX144" fmla="*/ 164323 w 374733"/>
                    <a:gd name="connsiteY144" fmla="*/ 171552 h 514541"/>
                    <a:gd name="connsiteX145" fmla="*/ 164592 w 374733"/>
                    <a:gd name="connsiteY145" fmla="*/ 173149 h 514541"/>
                    <a:gd name="connsiteX146" fmla="*/ 165432 w 374733"/>
                    <a:gd name="connsiteY146" fmla="*/ 173997 h 514541"/>
                    <a:gd name="connsiteX147" fmla="*/ 167754 w 374733"/>
                    <a:gd name="connsiteY147" fmla="*/ 174152 h 514541"/>
                    <a:gd name="connsiteX148" fmla="*/ 170305 w 374733"/>
                    <a:gd name="connsiteY148" fmla="*/ 172163 h 514541"/>
                    <a:gd name="connsiteX149" fmla="*/ 171821 w 374733"/>
                    <a:gd name="connsiteY149" fmla="*/ 170484 h 514541"/>
                    <a:gd name="connsiteX150" fmla="*/ 174021 w 374733"/>
                    <a:gd name="connsiteY150" fmla="*/ 171112 h 514541"/>
                    <a:gd name="connsiteX151" fmla="*/ 174184 w 374733"/>
                    <a:gd name="connsiteY151" fmla="*/ 173206 h 514541"/>
                    <a:gd name="connsiteX152" fmla="*/ 176800 w 374733"/>
                    <a:gd name="connsiteY152" fmla="*/ 175586 h 514541"/>
                    <a:gd name="connsiteX153" fmla="*/ 177754 w 374733"/>
                    <a:gd name="connsiteY153" fmla="*/ 175977 h 514541"/>
                    <a:gd name="connsiteX154" fmla="*/ 178512 w 374733"/>
                    <a:gd name="connsiteY154" fmla="*/ 179343 h 514541"/>
                    <a:gd name="connsiteX155" fmla="*/ 180655 w 374733"/>
                    <a:gd name="connsiteY155" fmla="*/ 176352 h 514541"/>
                    <a:gd name="connsiteX156" fmla="*/ 182220 w 374733"/>
                    <a:gd name="connsiteY156" fmla="*/ 176988 h 514541"/>
                    <a:gd name="connsiteX157" fmla="*/ 183997 w 374733"/>
                    <a:gd name="connsiteY157" fmla="*/ 177134 h 514541"/>
                    <a:gd name="connsiteX158" fmla="*/ 183394 w 374733"/>
                    <a:gd name="connsiteY158" fmla="*/ 180028 h 514541"/>
                    <a:gd name="connsiteX159" fmla="*/ 182334 w 374733"/>
                    <a:gd name="connsiteY159" fmla="*/ 182309 h 514541"/>
                    <a:gd name="connsiteX160" fmla="*/ 183728 w 374733"/>
                    <a:gd name="connsiteY160" fmla="*/ 183736 h 514541"/>
                    <a:gd name="connsiteX161" fmla="*/ 184812 w 374733"/>
                    <a:gd name="connsiteY161" fmla="*/ 185855 h 514541"/>
                    <a:gd name="connsiteX162" fmla="*/ 187688 w 374733"/>
                    <a:gd name="connsiteY162" fmla="*/ 188756 h 514541"/>
                    <a:gd name="connsiteX163" fmla="*/ 186898 w 374733"/>
                    <a:gd name="connsiteY163" fmla="*/ 190150 h 514541"/>
                    <a:gd name="connsiteX164" fmla="*/ 183500 w 374733"/>
                    <a:gd name="connsiteY164" fmla="*/ 193140 h 514541"/>
                    <a:gd name="connsiteX165" fmla="*/ 181715 w 374733"/>
                    <a:gd name="connsiteY165" fmla="*/ 197851 h 514541"/>
                    <a:gd name="connsiteX166" fmla="*/ 181291 w 374733"/>
                    <a:gd name="connsiteY166" fmla="*/ 199481 h 514541"/>
                    <a:gd name="connsiteX167" fmla="*/ 179547 w 374733"/>
                    <a:gd name="connsiteY167" fmla="*/ 202187 h 514541"/>
                    <a:gd name="connsiteX168" fmla="*/ 177151 w 374733"/>
                    <a:gd name="connsiteY168" fmla="*/ 204811 h 514541"/>
                    <a:gd name="connsiteX169" fmla="*/ 178650 w 374733"/>
                    <a:gd name="connsiteY169" fmla="*/ 204526 h 514541"/>
                    <a:gd name="connsiteX170" fmla="*/ 184005 w 374733"/>
                    <a:gd name="connsiteY170" fmla="*/ 199709 h 514541"/>
                    <a:gd name="connsiteX171" fmla="*/ 187183 w 374733"/>
                    <a:gd name="connsiteY171" fmla="*/ 198095 h 514541"/>
                    <a:gd name="connsiteX172" fmla="*/ 194184 w 374733"/>
                    <a:gd name="connsiteY172" fmla="*/ 197223 h 514541"/>
                    <a:gd name="connsiteX173" fmla="*/ 195879 w 374733"/>
                    <a:gd name="connsiteY173" fmla="*/ 195871 h 514541"/>
                    <a:gd name="connsiteX174" fmla="*/ 198438 w 374733"/>
                    <a:gd name="connsiteY174" fmla="*/ 195308 h 514541"/>
                    <a:gd name="connsiteX175" fmla="*/ 200003 w 374733"/>
                    <a:gd name="connsiteY175" fmla="*/ 196849 h 514541"/>
                    <a:gd name="connsiteX176" fmla="*/ 200166 w 374733"/>
                    <a:gd name="connsiteY176" fmla="*/ 199628 h 514541"/>
                    <a:gd name="connsiteX177" fmla="*/ 202236 w 374733"/>
                    <a:gd name="connsiteY177" fmla="*/ 200500 h 514541"/>
                    <a:gd name="connsiteX178" fmla="*/ 204412 w 374733"/>
                    <a:gd name="connsiteY178" fmla="*/ 199587 h 514541"/>
                    <a:gd name="connsiteX179" fmla="*/ 206392 w 374733"/>
                    <a:gd name="connsiteY179" fmla="*/ 200410 h 514541"/>
                    <a:gd name="connsiteX180" fmla="*/ 205202 w 374733"/>
                    <a:gd name="connsiteY180" fmla="*/ 202146 h 514541"/>
                    <a:gd name="connsiteX181" fmla="*/ 198862 w 374733"/>
                    <a:gd name="connsiteY181" fmla="*/ 209285 h 514541"/>
                    <a:gd name="connsiteX182" fmla="*/ 197004 w 374733"/>
                    <a:gd name="connsiteY182" fmla="*/ 212154 h 514541"/>
                    <a:gd name="connsiteX183" fmla="*/ 196482 w 374733"/>
                    <a:gd name="connsiteY183" fmla="*/ 214183 h 514541"/>
                    <a:gd name="connsiteX184" fmla="*/ 198658 w 374733"/>
                    <a:gd name="connsiteY184" fmla="*/ 211404 h 514541"/>
                    <a:gd name="connsiteX185" fmla="*/ 206628 w 374733"/>
                    <a:gd name="connsiteY185" fmla="*/ 204990 h 514541"/>
                    <a:gd name="connsiteX186" fmla="*/ 207476 w 374733"/>
                    <a:gd name="connsiteY186" fmla="*/ 204029 h 514541"/>
                    <a:gd name="connsiteX187" fmla="*/ 209212 w 374733"/>
                    <a:gd name="connsiteY187" fmla="*/ 201282 h 514541"/>
                    <a:gd name="connsiteX188" fmla="*/ 210817 w 374733"/>
                    <a:gd name="connsiteY188" fmla="*/ 199489 h 514541"/>
                    <a:gd name="connsiteX189" fmla="*/ 215112 w 374733"/>
                    <a:gd name="connsiteY189" fmla="*/ 200125 h 514541"/>
                    <a:gd name="connsiteX190" fmla="*/ 217321 w 374733"/>
                    <a:gd name="connsiteY190" fmla="*/ 201412 h 514541"/>
                    <a:gd name="connsiteX191" fmla="*/ 218348 w 374733"/>
                    <a:gd name="connsiteY191" fmla="*/ 205007 h 514541"/>
                    <a:gd name="connsiteX192" fmla="*/ 220084 w 374733"/>
                    <a:gd name="connsiteY192" fmla="*/ 208918 h 514541"/>
                    <a:gd name="connsiteX193" fmla="*/ 222700 w 374733"/>
                    <a:gd name="connsiteY193" fmla="*/ 213254 h 514541"/>
                    <a:gd name="connsiteX194" fmla="*/ 229660 w 374733"/>
                    <a:gd name="connsiteY194" fmla="*/ 215348 h 514541"/>
                    <a:gd name="connsiteX195" fmla="*/ 232186 w 374733"/>
                    <a:gd name="connsiteY195" fmla="*/ 215691 h 514541"/>
                    <a:gd name="connsiteX196" fmla="*/ 236530 w 374733"/>
                    <a:gd name="connsiteY196" fmla="*/ 214224 h 514541"/>
                    <a:gd name="connsiteX197" fmla="*/ 237214 w 374733"/>
                    <a:gd name="connsiteY197" fmla="*/ 212203 h 514541"/>
                    <a:gd name="connsiteX198" fmla="*/ 240613 w 374733"/>
                    <a:gd name="connsiteY198" fmla="*/ 211591 h 514541"/>
                    <a:gd name="connsiteX199" fmla="*/ 242993 w 374733"/>
                    <a:gd name="connsiteY199" fmla="*/ 211836 h 514541"/>
                    <a:gd name="connsiteX200" fmla="*/ 243816 w 374733"/>
                    <a:gd name="connsiteY200" fmla="*/ 215732 h 514541"/>
                    <a:gd name="connsiteX201" fmla="*/ 246358 w 374733"/>
                    <a:gd name="connsiteY201" fmla="*/ 217793 h 514541"/>
                    <a:gd name="connsiteX202" fmla="*/ 248893 w 374733"/>
                    <a:gd name="connsiteY202" fmla="*/ 219497 h 514541"/>
                    <a:gd name="connsiteX203" fmla="*/ 251330 w 374733"/>
                    <a:gd name="connsiteY203" fmla="*/ 220385 h 514541"/>
                    <a:gd name="connsiteX204" fmla="*/ 254891 w 374733"/>
                    <a:gd name="connsiteY204" fmla="*/ 220768 h 514541"/>
                    <a:gd name="connsiteX205" fmla="*/ 256839 w 374733"/>
                    <a:gd name="connsiteY205" fmla="*/ 222634 h 514541"/>
                    <a:gd name="connsiteX206" fmla="*/ 256839 w 374733"/>
                    <a:gd name="connsiteY206" fmla="*/ 223409 h 514541"/>
                    <a:gd name="connsiteX207" fmla="*/ 254834 w 374733"/>
                    <a:gd name="connsiteY207" fmla="*/ 225422 h 514541"/>
                    <a:gd name="connsiteX208" fmla="*/ 252903 w 374733"/>
                    <a:gd name="connsiteY208" fmla="*/ 228339 h 514541"/>
                    <a:gd name="connsiteX209" fmla="*/ 249529 w 374733"/>
                    <a:gd name="connsiteY209" fmla="*/ 230377 h 514541"/>
                    <a:gd name="connsiteX210" fmla="*/ 244818 w 374733"/>
                    <a:gd name="connsiteY210" fmla="*/ 230474 h 514541"/>
                    <a:gd name="connsiteX211" fmla="*/ 238315 w 374733"/>
                    <a:gd name="connsiteY211" fmla="*/ 231746 h 514541"/>
                    <a:gd name="connsiteX212" fmla="*/ 238054 w 374733"/>
                    <a:gd name="connsiteY212" fmla="*/ 232903 h 514541"/>
                    <a:gd name="connsiteX213" fmla="*/ 236620 w 374733"/>
                    <a:gd name="connsiteY213" fmla="*/ 234166 h 514541"/>
                    <a:gd name="connsiteX214" fmla="*/ 233164 w 374733"/>
                    <a:gd name="connsiteY214" fmla="*/ 235421 h 514541"/>
                    <a:gd name="connsiteX215" fmla="*/ 231281 w 374733"/>
                    <a:gd name="connsiteY215" fmla="*/ 236367 h 514541"/>
                    <a:gd name="connsiteX216" fmla="*/ 228225 w 374733"/>
                    <a:gd name="connsiteY216" fmla="*/ 241093 h 514541"/>
                    <a:gd name="connsiteX217" fmla="*/ 226367 w 374733"/>
                    <a:gd name="connsiteY217" fmla="*/ 243107 h 514541"/>
                    <a:gd name="connsiteX218" fmla="*/ 224232 w 374733"/>
                    <a:gd name="connsiteY218" fmla="*/ 243490 h 514541"/>
                    <a:gd name="connsiteX219" fmla="*/ 221225 w 374733"/>
                    <a:gd name="connsiteY219" fmla="*/ 243302 h 514541"/>
                    <a:gd name="connsiteX220" fmla="*/ 219252 w 374733"/>
                    <a:gd name="connsiteY220" fmla="*/ 243734 h 514541"/>
                    <a:gd name="connsiteX221" fmla="*/ 217810 w 374733"/>
                    <a:gd name="connsiteY221" fmla="*/ 244590 h 514541"/>
                    <a:gd name="connsiteX222" fmla="*/ 216962 w 374733"/>
                    <a:gd name="connsiteY222" fmla="*/ 245877 h 514541"/>
                    <a:gd name="connsiteX223" fmla="*/ 216310 w 374733"/>
                    <a:gd name="connsiteY223" fmla="*/ 246358 h 514541"/>
                    <a:gd name="connsiteX224" fmla="*/ 212276 w 374733"/>
                    <a:gd name="connsiteY224" fmla="*/ 247654 h 514541"/>
                    <a:gd name="connsiteX225" fmla="*/ 204958 w 374733"/>
                    <a:gd name="connsiteY225" fmla="*/ 251232 h 514541"/>
                    <a:gd name="connsiteX226" fmla="*/ 201087 w 374733"/>
                    <a:gd name="connsiteY226" fmla="*/ 251338 h 514541"/>
                    <a:gd name="connsiteX227" fmla="*/ 198691 w 374733"/>
                    <a:gd name="connsiteY227" fmla="*/ 250930 h 514541"/>
                    <a:gd name="connsiteX228" fmla="*/ 196865 w 374733"/>
                    <a:gd name="connsiteY228" fmla="*/ 251224 h 514541"/>
                    <a:gd name="connsiteX229" fmla="*/ 195618 w 374733"/>
                    <a:gd name="connsiteY229" fmla="*/ 252226 h 514541"/>
                    <a:gd name="connsiteX230" fmla="*/ 192122 w 374733"/>
                    <a:gd name="connsiteY230" fmla="*/ 253970 h 514541"/>
                    <a:gd name="connsiteX231" fmla="*/ 191071 w 374733"/>
                    <a:gd name="connsiteY231" fmla="*/ 255030 h 514541"/>
                    <a:gd name="connsiteX232" fmla="*/ 190459 w 374733"/>
                    <a:gd name="connsiteY232" fmla="*/ 256252 h 514541"/>
                    <a:gd name="connsiteX233" fmla="*/ 189978 w 374733"/>
                    <a:gd name="connsiteY233" fmla="*/ 258754 h 514541"/>
                    <a:gd name="connsiteX234" fmla="*/ 189563 w 374733"/>
                    <a:gd name="connsiteY234" fmla="*/ 259667 h 514541"/>
                    <a:gd name="connsiteX235" fmla="*/ 188886 w 374733"/>
                    <a:gd name="connsiteY235" fmla="*/ 260188 h 514541"/>
                    <a:gd name="connsiteX236" fmla="*/ 185944 w 374733"/>
                    <a:gd name="connsiteY236" fmla="*/ 259667 h 514541"/>
                    <a:gd name="connsiteX237" fmla="*/ 182668 w 374733"/>
                    <a:gd name="connsiteY237" fmla="*/ 258037 h 514541"/>
                    <a:gd name="connsiteX238" fmla="*/ 183312 w 374733"/>
                    <a:gd name="connsiteY238" fmla="*/ 259765 h 514541"/>
                    <a:gd name="connsiteX239" fmla="*/ 188503 w 374733"/>
                    <a:gd name="connsiteY239" fmla="*/ 262674 h 514541"/>
                    <a:gd name="connsiteX240" fmla="*/ 189987 w 374733"/>
                    <a:gd name="connsiteY240" fmla="*/ 264288 h 514541"/>
                    <a:gd name="connsiteX241" fmla="*/ 188577 w 374733"/>
                    <a:gd name="connsiteY241" fmla="*/ 265681 h 514541"/>
                    <a:gd name="connsiteX242" fmla="*/ 185276 w 374733"/>
                    <a:gd name="connsiteY242" fmla="*/ 267874 h 514541"/>
                    <a:gd name="connsiteX243" fmla="*/ 184893 w 374733"/>
                    <a:gd name="connsiteY243" fmla="*/ 269047 h 514541"/>
                    <a:gd name="connsiteX244" fmla="*/ 186246 w 374733"/>
                    <a:gd name="connsiteY244" fmla="*/ 269666 h 514541"/>
                    <a:gd name="connsiteX245" fmla="*/ 185716 w 374733"/>
                    <a:gd name="connsiteY245" fmla="*/ 270661 h 514541"/>
                    <a:gd name="connsiteX246" fmla="*/ 183907 w 374733"/>
                    <a:gd name="connsiteY246" fmla="*/ 271720 h 514541"/>
                    <a:gd name="connsiteX247" fmla="*/ 184111 w 374733"/>
                    <a:gd name="connsiteY247" fmla="*/ 272152 h 514541"/>
                    <a:gd name="connsiteX248" fmla="*/ 184306 w 374733"/>
                    <a:gd name="connsiteY248" fmla="*/ 272576 h 514541"/>
                    <a:gd name="connsiteX249" fmla="*/ 188797 w 374733"/>
                    <a:gd name="connsiteY249" fmla="*/ 271060 h 514541"/>
                    <a:gd name="connsiteX250" fmla="*/ 192790 w 374733"/>
                    <a:gd name="connsiteY250" fmla="*/ 267833 h 514541"/>
                    <a:gd name="connsiteX251" fmla="*/ 195406 w 374733"/>
                    <a:gd name="connsiteY251" fmla="*/ 264557 h 514541"/>
                    <a:gd name="connsiteX252" fmla="*/ 196710 w 374733"/>
                    <a:gd name="connsiteY252" fmla="*/ 263644 h 514541"/>
                    <a:gd name="connsiteX253" fmla="*/ 201869 w 374733"/>
                    <a:gd name="connsiteY253" fmla="*/ 262430 h 514541"/>
                    <a:gd name="connsiteX254" fmla="*/ 204917 w 374733"/>
                    <a:gd name="connsiteY254" fmla="*/ 261011 h 514541"/>
                    <a:gd name="connsiteX255" fmla="*/ 209277 w 374733"/>
                    <a:gd name="connsiteY255" fmla="*/ 258420 h 514541"/>
                    <a:gd name="connsiteX256" fmla="*/ 214061 w 374733"/>
                    <a:gd name="connsiteY256" fmla="*/ 254647 h 514541"/>
                    <a:gd name="connsiteX257" fmla="*/ 219269 w 374733"/>
                    <a:gd name="connsiteY257" fmla="*/ 249700 h 514541"/>
                    <a:gd name="connsiteX258" fmla="*/ 225903 w 374733"/>
                    <a:gd name="connsiteY258" fmla="*/ 245829 h 514541"/>
                    <a:gd name="connsiteX259" fmla="*/ 233971 w 374733"/>
                    <a:gd name="connsiteY259" fmla="*/ 243041 h 514541"/>
                    <a:gd name="connsiteX260" fmla="*/ 239896 w 374733"/>
                    <a:gd name="connsiteY260" fmla="*/ 241623 h 514541"/>
                    <a:gd name="connsiteX261" fmla="*/ 243661 w 374733"/>
                    <a:gd name="connsiteY261" fmla="*/ 241558 h 514541"/>
                    <a:gd name="connsiteX262" fmla="*/ 243848 w 374733"/>
                    <a:gd name="connsiteY262" fmla="*/ 241093 h 514541"/>
                    <a:gd name="connsiteX263" fmla="*/ 240458 w 374733"/>
                    <a:gd name="connsiteY263" fmla="*/ 240221 h 514541"/>
                    <a:gd name="connsiteX264" fmla="*/ 237663 w 374733"/>
                    <a:gd name="connsiteY264" fmla="*/ 240050 h 514541"/>
                    <a:gd name="connsiteX265" fmla="*/ 234191 w 374733"/>
                    <a:gd name="connsiteY265" fmla="*/ 240686 h 514541"/>
                    <a:gd name="connsiteX266" fmla="*/ 233115 w 374733"/>
                    <a:gd name="connsiteY266" fmla="*/ 239178 h 514541"/>
                    <a:gd name="connsiteX267" fmla="*/ 233229 w 374733"/>
                    <a:gd name="connsiteY267" fmla="*/ 238518 h 514541"/>
                    <a:gd name="connsiteX268" fmla="*/ 234370 w 374733"/>
                    <a:gd name="connsiteY268" fmla="*/ 237394 h 514541"/>
                    <a:gd name="connsiteX269" fmla="*/ 237296 w 374733"/>
                    <a:gd name="connsiteY269" fmla="*/ 236391 h 514541"/>
                    <a:gd name="connsiteX270" fmla="*/ 251607 w 374733"/>
                    <a:gd name="connsiteY270" fmla="*/ 237793 h 514541"/>
                    <a:gd name="connsiteX271" fmla="*/ 256538 w 374733"/>
                    <a:gd name="connsiteY271" fmla="*/ 238869 h 514541"/>
                    <a:gd name="connsiteX272" fmla="*/ 261924 w 374733"/>
                    <a:gd name="connsiteY272" fmla="*/ 247858 h 514541"/>
                    <a:gd name="connsiteX273" fmla="*/ 263163 w 374733"/>
                    <a:gd name="connsiteY273" fmla="*/ 250743 h 514541"/>
                    <a:gd name="connsiteX274" fmla="*/ 263505 w 374733"/>
                    <a:gd name="connsiteY274" fmla="*/ 252845 h 514541"/>
                    <a:gd name="connsiteX275" fmla="*/ 262959 w 374733"/>
                    <a:gd name="connsiteY275" fmla="*/ 254157 h 514541"/>
                    <a:gd name="connsiteX276" fmla="*/ 260800 w 374733"/>
                    <a:gd name="connsiteY276" fmla="*/ 255714 h 514541"/>
                    <a:gd name="connsiteX277" fmla="*/ 254712 w 374733"/>
                    <a:gd name="connsiteY277" fmla="*/ 258811 h 514541"/>
                    <a:gd name="connsiteX278" fmla="*/ 253856 w 374733"/>
                    <a:gd name="connsiteY278" fmla="*/ 259626 h 514541"/>
                    <a:gd name="connsiteX279" fmla="*/ 253775 w 374733"/>
                    <a:gd name="connsiteY279" fmla="*/ 260058 h 514541"/>
                    <a:gd name="connsiteX280" fmla="*/ 256432 w 374733"/>
                    <a:gd name="connsiteY280" fmla="*/ 260677 h 514541"/>
                    <a:gd name="connsiteX281" fmla="*/ 257279 w 374733"/>
                    <a:gd name="connsiteY281" fmla="*/ 261533 h 514541"/>
                    <a:gd name="connsiteX282" fmla="*/ 258632 w 374733"/>
                    <a:gd name="connsiteY282" fmla="*/ 264964 h 514541"/>
                    <a:gd name="connsiteX283" fmla="*/ 261370 w 374733"/>
                    <a:gd name="connsiteY283" fmla="*/ 262739 h 514541"/>
                    <a:gd name="connsiteX284" fmla="*/ 266553 w 374733"/>
                    <a:gd name="connsiteY284" fmla="*/ 257320 h 514541"/>
                    <a:gd name="connsiteX285" fmla="*/ 270800 w 374733"/>
                    <a:gd name="connsiteY285" fmla="*/ 254801 h 514541"/>
                    <a:gd name="connsiteX286" fmla="*/ 274369 w 374733"/>
                    <a:gd name="connsiteY286" fmla="*/ 254117 h 514541"/>
                    <a:gd name="connsiteX287" fmla="*/ 278648 w 374733"/>
                    <a:gd name="connsiteY287" fmla="*/ 253783 h 514541"/>
                    <a:gd name="connsiteX288" fmla="*/ 280114 w 374733"/>
                    <a:gd name="connsiteY288" fmla="*/ 253832 h 514541"/>
                    <a:gd name="connsiteX289" fmla="*/ 280628 w 374733"/>
                    <a:gd name="connsiteY289" fmla="*/ 255584 h 514541"/>
                    <a:gd name="connsiteX290" fmla="*/ 282869 w 374733"/>
                    <a:gd name="connsiteY290" fmla="*/ 259113 h 514541"/>
                    <a:gd name="connsiteX291" fmla="*/ 284947 w 374733"/>
                    <a:gd name="connsiteY291" fmla="*/ 260033 h 514541"/>
                    <a:gd name="connsiteX292" fmla="*/ 288916 w 374733"/>
                    <a:gd name="connsiteY292" fmla="*/ 260506 h 514541"/>
                    <a:gd name="connsiteX293" fmla="*/ 292486 w 374733"/>
                    <a:gd name="connsiteY293" fmla="*/ 264883 h 514541"/>
                    <a:gd name="connsiteX294" fmla="*/ 293847 w 374733"/>
                    <a:gd name="connsiteY294" fmla="*/ 267898 h 514541"/>
                    <a:gd name="connsiteX295" fmla="*/ 295126 w 374733"/>
                    <a:gd name="connsiteY295" fmla="*/ 269658 h 514541"/>
                    <a:gd name="connsiteX296" fmla="*/ 295029 w 374733"/>
                    <a:gd name="connsiteY296" fmla="*/ 270848 h 514541"/>
                    <a:gd name="connsiteX297" fmla="*/ 295249 w 374733"/>
                    <a:gd name="connsiteY297" fmla="*/ 271842 h 514541"/>
                    <a:gd name="connsiteX298" fmla="*/ 296186 w 374733"/>
                    <a:gd name="connsiteY298" fmla="*/ 273342 h 514541"/>
                    <a:gd name="connsiteX299" fmla="*/ 296658 w 374733"/>
                    <a:gd name="connsiteY299" fmla="*/ 274605 h 514541"/>
                    <a:gd name="connsiteX300" fmla="*/ 296406 w 374733"/>
                    <a:gd name="connsiteY300" fmla="*/ 277498 h 514541"/>
                    <a:gd name="connsiteX301" fmla="*/ 294320 w 374733"/>
                    <a:gd name="connsiteY301" fmla="*/ 282519 h 514541"/>
                    <a:gd name="connsiteX302" fmla="*/ 295868 w 374733"/>
                    <a:gd name="connsiteY302" fmla="*/ 287074 h 514541"/>
                    <a:gd name="connsiteX303" fmla="*/ 295175 w 374733"/>
                    <a:gd name="connsiteY303" fmla="*/ 289120 h 514541"/>
                    <a:gd name="connsiteX304" fmla="*/ 294817 w 374733"/>
                    <a:gd name="connsiteY304" fmla="*/ 292396 h 514541"/>
                    <a:gd name="connsiteX305" fmla="*/ 296153 w 374733"/>
                    <a:gd name="connsiteY305" fmla="*/ 294580 h 514541"/>
                    <a:gd name="connsiteX306" fmla="*/ 296545 w 374733"/>
                    <a:gd name="connsiteY306" fmla="*/ 295843 h 514541"/>
                    <a:gd name="connsiteX307" fmla="*/ 295412 w 374733"/>
                    <a:gd name="connsiteY307" fmla="*/ 296585 h 514541"/>
                    <a:gd name="connsiteX308" fmla="*/ 287506 w 374733"/>
                    <a:gd name="connsiteY308" fmla="*/ 298386 h 514541"/>
                    <a:gd name="connsiteX309" fmla="*/ 284401 w 374733"/>
                    <a:gd name="connsiteY309" fmla="*/ 298427 h 514541"/>
                    <a:gd name="connsiteX310" fmla="*/ 283594 w 374733"/>
                    <a:gd name="connsiteY310" fmla="*/ 299519 h 514541"/>
                    <a:gd name="connsiteX311" fmla="*/ 285982 w 374733"/>
                    <a:gd name="connsiteY311" fmla="*/ 299837 h 514541"/>
                    <a:gd name="connsiteX312" fmla="*/ 290342 w 374733"/>
                    <a:gd name="connsiteY312" fmla="*/ 299780 h 514541"/>
                    <a:gd name="connsiteX313" fmla="*/ 295615 w 374733"/>
                    <a:gd name="connsiteY313" fmla="*/ 300896 h 514541"/>
                    <a:gd name="connsiteX314" fmla="*/ 297938 w 374733"/>
                    <a:gd name="connsiteY314" fmla="*/ 302119 h 514541"/>
                    <a:gd name="connsiteX315" fmla="*/ 298940 w 374733"/>
                    <a:gd name="connsiteY315" fmla="*/ 303846 h 514541"/>
                    <a:gd name="connsiteX316" fmla="*/ 298688 w 374733"/>
                    <a:gd name="connsiteY316" fmla="*/ 305216 h 514541"/>
                    <a:gd name="connsiteX317" fmla="*/ 297180 w 374733"/>
                    <a:gd name="connsiteY317" fmla="*/ 306234 h 514541"/>
                    <a:gd name="connsiteX318" fmla="*/ 294214 w 374733"/>
                    <a:gd name="connsiteY318" fmla="*/ 306039 h 514541"/>
                    <a:gd name="connsiteX319" fmla="*/ 291361 w 374733"/>
                    <a:gd name="connsiteY319" fmla="*/ 305110 h 514541"/>
                    <a:gd name="connsiteX320" fmla="*/ 291532 w 374733"/>
                    <a:gd name="connsiteY320" fmla="*/ 306006 h 514541"/>
                    <a:gd name="connsiteX321" fmla="*/ 295770 w 374733"/>
                    <a:gd name="connsiteY321" fmla="*/ 308231 h 514541"/>
                    <a:gd name="connsiteX322" fmla="*/ 297009 w 374733"/>
                    <a:gd name="connsiteY322" fmla="*/ 309364 h 514541"/>
                    <a:gd name="connsiteX323" fmla="*/ 299307 w 374733"/>
                    <a:gd name="connsiteY323" fmla="*/ 310790 h 514541"/>
                    <a:gd name="connsiteX324" fmla="*/ 299764 w 374733"/>
                    <a:gd name="connsiteY324" fmla="*/ 312697 h 514541"/>
                    <a:gd name="connsiteX325" fmla="*/ 299209 w 374733"/>
                    <a:gd name="connsiteY325" fmla="*/ 314637 h 514541"/>
                    <a:gd name="connsiteX326" fmla="*/ 291223 w 374733"/>
                    <a:gd name="connsiteY326" fmla="*/ 322371 h 514541"/>
                    <a:gd name="connsiteX327" fmla="*/ 284646 w 374733"/>
                    <a:gd name="connsiteY327" fmla="*/ 327261 h 514541"/>
                    <a:gd name="connsiteX328" fmla="*/ 278053 w 374733"/>
                    <a:gd name="connsiteY328" fmla="*/ 331556 h 514541"/>
                    <a:gd name="connsiteX329" fmla="*/ 267450 w 374733"/>
                    <a:gd name="connsiteY329" fmla="*/ 339795 h 514541"/>
                    <a:gd name="connsiteX330" fmla="*/ 266407 w 374733"/>
                    <a:gd name="connsiteY330" fmla="*/ 340202 h 514541"/>
                    <a:gd name="connsiteX331" fmla="*/ 264492 w 374733"/>
                    <a:gd name="connsiteY331" fmla="*/ 340357 h 514541"/>
                    <a:gd name="connsiteX332" fmla="*/ 264377 w 374733"/>
                    <a:gd name="connsiteY332" fmla="*/ 340333 h 514541"/>
                    <a:gd name="connsiteX333" fmla="*/ 264361 w 374733"/>
                    <a:gd name="connsiteY333" fmla="*/ 330463 h 514541"/>
                    <a:gd name="connsiteX334" fmla="*/ 264361 w 374733"/>
                    <a:gd name="connsiteY334" fmla="*/ 319714 h 514541"/>
                    <a:gd name="connsiteX335" fmla="*/ 254272 w 374733"/>
                    <a:gd name="connsiteY335" fmla="*/ 319714 h 514541"/>
                    <a:gd name="connsiteX336" fmla="*/ 244191 w 374733"/>
                    <a:gd name="connsiteY336" fmla="*/ 319714 h 514541"/>
                    <a:gd name="connsiteX337" fmla="*/ 234101 w 374733"/>
                    <a:gd name="connsiteY337" fmla="*/ 319714 h 514541"/>
                    <a:gd name="connsiteX338" fmla="*/ 224020 w 374733"/>
                    <a:gd name="connsiteY338" fmla="*/ 319714 h 514541"/>
                    <a:gd name="connsiteX339" fmla="*/ 213930 w 374733"/>
                    <a:gd name="connsiteY339" fmla="*/ 319714 h 514541"/>
                    <a:gd name="connsiteX340" fmla="*/ 203849 w 374733"/>
                    <a:gd name="connsiteY340" fmla="*/ 319714 h 514541"/>
                    <a:gd name="connsiteX341" fmla="*/ 193768 w 374733"/>
                    <a:gd name="connsiteY341" fmla="*/ 319714 h 514541"/>
                    <a:gd name="connsiteX342" fmla="*/ 183687 w 374733"/>
                    <a:gd name="connsiteY342" fmla="*/ 319714 h 514541"/>
                    <a:gd name="connsiteX343" fmla="*/ 173606 w 374733"/>
                    <a:gd name="connsiteY343" fmla="*/ 319714 h 514541"/>
                    <a:gd name="connsiteX344" fmla="*/ 163524 w 374733"/>
                    <a:gd name="connsiteY344" fmla="*/ 319714 h 514541"/>
                    <a:gd name="connsiteX345" fmla="*/ 153443 w 374733"/>
                    <a:gd name="connsiteY345" fmla="*/ 319714 h 514541"/>
                    <a:gd name="connsiteX346" fmla="*/ 143362 w 374733"/>
                    <a:gd name="connsiteY346" fmla="*/ 319714 h 514541"/>
                    <a:gd name="connsiteX347" fmla="*/ 133281 w 374733"/>
                    <a:gd name="connsiteY347" fmla="*/ 319714 h 514541"/>
                    <a:gd name="connsiteX348" fmla="*/ 123192 w 374733"/>
                    <a:gd name="connsiteY348" fmla="*/ 319714 h 514541"/>
                    <a:gd name="connsiteX349" fmla="*/ 113110 w 374733"/>
                    <a:gd name="connsiteY349" fmla="*/ 319714 h 514541"/>
                    <a:gd name="connsiteX350" fmla="*/ 103029 w 374733"/>
                    <a:gd name="connsiteY350" fmla="*/ 319722 h 514541"/>
                    <a:gd name="connsiteX351" fmla="*/ 99297 w 374733"/>
                    <a:gd name="connsiteY351" fmla="*/ 319364 h 514541"/>
                    <a:gd name="connsiteX352" fmla="*/ 98636 w 374733"/>
                    <a:gd name="connsiteY352" fmla="*/ 318997 h 514541"/>
                    <a:gd name="connsiteX353" fmla="*/ 98416 w 374733"/>
                    <a:gd name="connsiteY353" fmla="*/ 318125 h 514541"/>
                    <a:gd name="connsiteX354" fmla="*/ 98587 w 374733"/>
                    <a:gd name="connsiteY354" fmla="*/ 317880 h 514541"/>
                    <a:gd name="connsiteX355" fmla="*/ 100608 w 374733"/>
                    <a:gd name="connsiteY355" fmla="*/ 317962 h 514541"/>
                    <a:gd name="connsiteX356" fmla="*/ 101587 w 374733"/>
                    <a:gd name="connsiteY356" fmla="*/ 317522 h 514541"/>
                    <a:gd name="connsiteX357" fmla="*/ 101497 w 374733"/>
                    <a:gd name="connsiteY357" fmla="*/ 316267 h 514541"/>
                    <a:gd name="connsiteX358" fmla="*/ 101114 w 374733"/>
                    <a:gd name="connsiteY358" fmla="*/ 314637 h 514541"/>
                    <a:gd name="connsiteX359" fmla="*/ 99085 w 374733"/>
                    <a:gd name="connsiteY359" fmla="*/ 308712 h 514541"/>
                    <a:gd name="connsiteX360" fmla="*/ 96151 w 374733"/>
                    <a:gd name="connsiteY360" fmla="*/ 306952 h 514541"/>
                    <a:gd name="connsiteX361" fmla="*/ 94871 w 374733"/>
                    <a:gd name="connsiteY361" fmla="*/ 305615 h 514541"/>
                    <a:gd name="connsiteX362" fmla="*/ 94692 w 374733"/>
                    <a:gd name="connsiteY362" fmla="*/ 304238 h 514541"/>
                    <a:gd name="connsiteX363" fmla="*/ 94488 w 374733"/>
                    <a:gd name="connsiteY363" fmla="*/ 303838 h 514541"/>
                    <a:gd name="connsiteX364" fmla="*/ 91750 w 374733"/>
                    <a:gd name="connsiteY364" fmla="*/ 302763 h 514541"/>
                    <a:gd name="connsiteX365" fmla="*/ 91636 w 374733"/>
                    <a:gd name="connsiteY365" fmla="*/ 302461 h 514541"/>
                    <a:gd name="connsiteX366" fmla="*/ 91807 w 374733"/>
                    <a:gd name="connsiteY366" fmla="*/ 301744 h 514541"/>
                    <a:gd name="connsiteX367" fmla="*/ 92842 w 374733"/>
                    <a:gd name="connsiteY367" fmla="*/ 300244 h 514541"/>
                    <a:gd name="connsiteX368" fmla="*/ 94382 w 374733"/>
                    <a:gd name="connsiteY368" fmla="*/ 298745 h 514541"/>
                    <a:gd name="connsiteX369" fmla="*/ 95792 w 374733"/>
                    <a:gd name="connsiteY369" fmla="*/ 297865 h 514541"/>
                    <a:gd name="connsiteX370" fmla="*/ 97976 w 374733"/>
                    <a:gd name="connsiteY370" fmla="*/ 297041 h 514541"/>
                    <a:gd name="connsiteX371" fmla="*/ 105115 w 374733"/>
                    <a:gd name="connsiteY371" fmla="*/ 295648 h 514541"/>
                    <a:gd name="connsiteX372" fmla="*/ 107593 w 374733"/>
                    <a:gd name="connsiteY372" fmla="*/ 294857 h 514541"/>
                    <a:gd name="connsiteX373" fmla="*/ 107919 w 374733"/>
                    <a:gd name="connsiteY373" fmla="*/ 294148 h 514541"/>
                    <a:gd name="connsiteX374" fmla="*/ 104431 w 374733"/>
                    <a:gd name="connsiteY374" fmla="*/ 290962 h 514541"/>
                    <a:gd name="connsiteX375" fmla="*/ 104097 w 374733"/>
                    <a:gd name="connsiteY375" fmla="*/ 290114 h 514541"/>
                    <a:gd name="connsiteX376" fmla="*/ 104015 w 374733"/>
                    <a:gd name="connsiteY376" fmla="*/ 289038 h 514541"/>
                    <a:gd name="connsiteX377" fmla="*/ 104463 w 374733"/>
                    <a:gd name="connsiteY377" fmla="*/ 284784 h 514541"/>
                    <a:gd name="connsiteX378" fmla="*/ 104317 w 374733"/>
                    <a:gd name="connsiteY378" fmla="*/ 283863 h 514541"/>
                    <a:gd name="connsiteX379" fmla="*/ 103037 w 374733"/>
                    <a:gd name="connsiteY379" fmla="*/ 281223 h 514541"/>
                    <a:gd name="connsiteX380" fmla="*/ 101415 w 374733"/>
                    <a:gd name="connsiteY380" fmla="*/ 278762 h 514541"/>
                    <a:gd name="connsiteX381" fmla="*/ 100152 w 374733"/>
                    <a:gd name="connsiteY381" fmla="*/ 278444 h 514541"/>
                    <a:gd name="connsiteX382" fmla="*/ 98261 w 374733"/>
                    <a:gd name="connsiteY382" fmla="*/ 278623 h 514541"/>
                    <a:gd name="connsiteX383" fmla="*/ 95629 w 374733"/>
                    <a:gd name="connsiteY383" fmla="*/ 279642 h 514541"/>
                    <a:gd name="connsiteX384" fmla="*/ 95319 w 374733"/>
                    <a:gd name="connsiteY384" fmla="*/ 280065 h 514541"/>
                    <a:gd name="connsiteX385" fmla="*/ 93934 w 374733"/>
                    <a:gd name="connsiteY385" fmla="*/ 286430 h 514541"/>
                    <a:gd name="connsiteX386" fmla="*/ 93086 w 374733"/>
                    <a:gd name="connsiteY386" fmla="*/ 287058 h 514541"/>
                    <a:gd name="connsiteX387" fmla="*/ 89826 w 374733"/>
                    <a:gd name="connsiteY387" fmla="*/ 287963 h 514541"/>
                    <a:gd name="connsiteX388" fmla="*/ 88857 w 374733"/>
                    <a:gd name="connsiteY388" fmla="*/ 289413 h 514541"/>
                    <a:gd name="connsiteX389" fmla="*/ 88637 w 374733"/>
                    <a:gd name="connsiteY389" fmla="*/ 296471 h 514541"/>
                    <a:gd name="connsiteX390" fmla="*/ 88734 w 374733"/>
                    <a:gd name="connsiteY390" fmla="*/ 299152 h 514541"/>
                    <a:gd name="connsiteX391" fmla="*/ 90731 w 374733"/>
                    <a:gd name="connsiteY391" fmla="*/ 305696 h 514541"/>
                    <a:gd name="connsiteX392" fmla="*/ 90046 w 374733"/>
                    <a:gd name="connsiteY392" fmla="*/ 312819 h 514541"/>
                    <a:gd name="connsiteX393" fmla="*/ 89329 w 374733"/>
                    <a:gd name="connsiteY393" fmla="*/ 314254 h 514541"/>
                    <a:gd name="connsiteX394" fmla="*/ 86852 w 374733"/>
                    <a:gd name="connsiteY394" fmla="*/ 316055 h 514541"/>
                    <a:gd name="connsiteX395" fmla="*/ 86575 w 374733"/>
                    <a:gd name="connsiteY395" fmla="*/ 316658 h 514541"/>
                    <a:gd name="connsiteX396" fmla="*/ 85320 w 374733"/>
                    <a:gd name="connsiteY396" fmla="*/ 322346 h 514541"/>
                    <a:gd name="connsiteX397" fmla="*/ 84994 w 374733"/>
                    <a:gd name="connsiteY397" fmla="*/ 325598 h 514541"/>
                    <a:gd name="connsiteX398" fmla="*/ 85206 w 374733"/>
                    <a:gd name="connsiteY398" fmla="*/ 326723 h 514541"/>
                    <a:gd name="connsiteX399" fmla="*/ 86110 w 374733"/>
                    <a:gd name="connsiteY399" fmla="*/ 328288 h 514541"/>
                    <a:gd name="connsiteX400" fmla="*/ 86078 w 374733"/>
                    <a:gd name="connsiteY400" fmla="*/ 329779 h 514541"/>
                    <a:gd name="connsiteX401" fmla="*/ 80731 w 374733"/>
                    <a:gd name="connsiteY401" fmla="*/ 334204 h 514541"/>
                    <a:gd name="connsiteX402" fmla="*/ 78458 w 374733"/>
                    <a:gd name="connsiteY402" fmla="*/ 334522 h 514541"/>
                    <a:gd name="connsiteX403" fmla="*/ 75988 w 374733"/>
                    <a:gd name="connsiteY403" fmla="*/ 330089 h 514541"/>
                    <a:gd name="connsiteX404" fmla="*/ 75866 w 374733"/>
                    <a:gd name="connsiteY404" fmla="*/ 329159 h 514541"/>
                    <a:gd name="connsiteX405" fmla="*/ 76102 w 374733"/>
                    <a:gd name="connsiteY405" fmla="*/ 328516 h 514541"/>
                    <a:gd name="connsiteX406" fmla="*/ 77439 w 374733"/>
                    <a:gd name="connsiteY406" fmla="*/ 327489 h 514541"/>
                    <a:gd name="connsiteX407" fmla="*/ 77740 w 374733"/>
                    <a:gd name="connsiteY407" fmla="*/ 326201 h 514541"/>
                    <a:gd name="connsiteX408" fmla="*/ 76958 w 374733"/>
                    <a:gd name="connsiteY408" fmla="*/ 325345 h 514541"/>
                    <a:gd name="connsiteX409" fmla="*/ 74318 w 374733"/>
                    <a:gd name="connsiteY409" fmla="*/ 323243 h 514541"/>
                    <a:gd name="connsiteX410" fmla="*/ 70161 w 374733"/>
                    <a:gd name="connsiteY410" fmla="*/ 317693 h 514541"/>
                    <a:gd name="connsiteX411" fmla="*/ 67578 w 374733"/>
                    <a:gd name="connsiteY411" fmla="*/ 315525 h 514541"/>
                    <a:gd name="connsiteX412" fmla="*/ 65076 w 374733"/>
                    <a:gd name="connsiteY412" fmla="*/ 314001 h 514541"/>
                    <a:gd name="connsiteX413" fmla="*/ 61824 w 374733"/>
                    <a:gd name="connsiteY413" fmla="*/ 312860 h 514541"/>
                    <a:gd name="connsiteX414" fmla="*/ 58605 w 374733"/>
                    <a:gd name="connsiteY414" fmla="*/ 312200 h 514541"/>
                    <a:gd name="connsiteX415" fmla="*/ 57260 w 374733"/>
                    <a:gd name="connsiteY415" fmla="*/ 312200 h 514541"/>
                    <a:gd name="connsiteX416" fmla="*/ 56714 w 374733"/>
                    <a:gd name="connsiteY416" fmla="*/ 312444 h 514541"/>
                    <a:gd name="connsiteX417" fmla="*/ 54799 w 374733"/>
                    <a:gd name="connsiteY417" fmla="*/ 316242 h 514541"/>
                    <a:gd name="connsiteX418" fmla="*/ 53870 w 374733"/>
                    <a:gd name="connsiteY418" fmla="*/ 317008 h 514541"/>
                    <a:gd name="connsiteX419" fmla="*/ 52827 w 374733"/>
                    <a:gd name="connsiteY419" fmla="*/ 317016 h 514541"/>
                    <a:gd name="connsiteX420" fmla="*/ 51352 w 374733"/>
                    <a:gd name="connsiteY420" fmla="*/ 316250 h 514541"/>
                    <a:gd name="connsiteX421" fmla="*/ 49119 w 374733"/>
                    <a:gd name="connsiteY421" fmla="*/ 315867 h 514541"/>
                    <a:gd name="connsiteX422" fmla="*/ 48491 w 374733"/>
                    <a:gd name="connsiteY422" fmla="*/ 317359 h 514541"/>
                    <a:gd name="connsiteX423" fmla="*/ 47969 w 374733"/>
                    <a:gd name="connsiteY423" fmla="*/ 317782 h 514541"/>
                    <a:gd name="connsiteX424" fmla="*/ 46584 w 374733"/>
                    <a:gd name="connsiteY424" fmla="*/ 317709 h 514541"/>
                    <a:gd name="connsiteX425" fmla="*/ 44204 w 374733"/>
                    <a:gd name="connsiteY425" fmla="*/ 316731 h 514541"/>
                    <a:gd name="connsiteX426" fmla="*/ 42794 w 374733"/>
                    <a:gd name="connsiteY426" fmla="*/ 315672 h 514541"/>
                    <a:gd name="connsiteX427" fmla="*/ 41278 w 374733"/>
                    <a:gd name="connsiteY427" fmla="*/ 311955 h 514541"/>
                    <a:gd name="connsiteX428" fmla="*/ 39991 w 374733"/>
                    <a:gd name="connsiteY428" fmla="*/ 311198 h 514541"/>
                    <a:gd name="connsiteX429" fmla="*/ 36747 w 374733"/>
                    <a:gd name="connsiteY429" fmla="*/ 308565 h 514541"/>
                    <a:gd name="connsiteX430" fmla="*/ 36340 w 374733"/>
                    <a:gd name="connsiteY430" fmla="*/ 308793 h 514541"/>
                    <a:gd name="connsiteX431" fmla="*/ 35574 w 374733"/>
                    <a:gd name="connsiteY431" fmla="*/ 312730 h 514541"/>
                    <a:gd name="connsiteX432" fmla="*/ 35109 w 374733"/>
                    <a:gd name="connsiteY432" fmla="*/ 313977 h 514541"/>
                    <a:gd name="connsiteX433" fmla="*/ 34278 w 374733"/>
                    <a:gd name="connsiteY433" fmla="*/ 313618 h 514541"/>
                    <a:gd name="connsiteX434" fmla="*/ 33577 w 374733"/>
                    <a:gd name="connsiteY434" fmla="*/ 312909 h 514541"/>
                    <a:gd name="connsiteX435" fmla="*/ 32786 w 374733"/>
                    <a:gd name="connsiteY435" fmla="*/ 311230 h 514541"/>
                    <a:gd name="connsiteX436" fmla="*/ 32216 w 374733"/>
                    <a:gd name="connsiteY436" fmla="*/ 308801 h 514541"/>
                    <a:gd name="connsiteX437" fmla="*/ 32192 w 374733"/>
                    <a:gd name="connsiteY437" fmla="*/ 307066 h 514541"/>
                    <a:gd name="connsiteX438" fmla="*/ 33724 w 374733"/>
                    <a:gd name="connsiteY438" fmla="*/ 304971 h 514541"/>
                    <a:gd name="connsiteX439" fmla="*/ 33903 w 374733"/>
                    <a:gd name="connsiteY439" fmla="*/ 304221 h 514541"/>
                    <a:gd name="connsiteX440" fmla="*/ 33113 w 374733"/>
                    <a:gd name="connsiteY440" fmla="*/ 295175 h 514541"/>
                    <a:gd name="connsiteX441" fmla="*/ 33349 w 374733"/>
                    <a:gd name="connsiteY441" fmla="*/ 294140 h 514541"/>
                    <a:gd name="connsiteX442" fmla="*/ 34596 w 374733"/>
                    <a:gd name="connsiteY442" fmla="*/ 292168 h 514541"/>
                    <a:gd name="connsiteX443" fmla="*/ 34832 w 374733"/>
                    <a:gd name="connsiteY443" fmla="*/ 289747 h 514541"/>
                    <a:gd name="connsiteX444" fmla="*/ 35215 w 374733"/>
                    <a:gd name="connsiteY444" fmla="*/ 288484 h 514541"/>
                    <a:gd name="connsiteX445" fmla="*/ 35981 w 374733"/>
                    <a:gd name="connsiteY445" fmla="*/ 287710 h 514541"/>
                    <a:gd name="connsiteX446" fmla="*/ 36234 w 374733"/>
                    <a:gd name="connsiteY446" fmla="*/ 286365 h 514541"/>
                    <a:gd name="connsiteX447" fmla="*/ 35541 w 374733"/>
                    <a:gd name="connsiteY447" fmla="*/ 284988 h 514541"/>
                    <a:gd name="connsiteX448" fmla="*/ 34017 w 374733"/>
                    <a:gd name="connsiteY448" fmla="*/ 282820 h 514541"/>
                    <a:gd name="connsiteX449" fmla="*/ 33072 w 374733"/>
                    <a:gd name="connsiteY449" fmla="*/ 282111 h 514541"/>
                    <a:gd name="connsiteX450" fmla="*/ 32077 w 374733"/>
                    <a:gd name="connsiteY450" fmla="*/ 281818 h 514541"/>
                    <a:gd name="connsiteX451" fmla="*/ 31540 w 374733"/>
                    <a:gd name="connsiteY451" fmla="*/ 282323 h 514541"/>
                    <a:gd name="connsiteX452" fmla="*/ 30765 w 374733"/>
                    <a:gd name="connsiteY452" fmla="*/ 284059 h 514541"/>
                    <a:gd name="connsiteX453" fmla="*/ 28426 w 374733"/>
                    <a:gd name="connsiteY453" fmla="*/ 285070 h 514541"/>
                    <a:gd name="connsiteX454" fmla="*/ 28027 w 374733"/>
                    <a:gd name="connsiteY454" fmla="*/ 285868 h 514541"/>
                    <a:gd name="connsiteX455" fmla="*/ 27033 w 374733"/>
                    <a:gd name="connsiteY455" fmla="*/ 291891 h 514541"/>
                    <a:gd name="connsiteX456" fmla="*/ 26609 w 374733"/>
                    <a:gd name="connsiteY456" fmla="*/ 292706 h 514541"/>
                    <a:gd name="connsiteX457" fmla="*/ 23479 w 374733"/>
                    <a:gd name="connsiteY457" fmla="*/ 294222 h 514541"/>
                    <a:gd name="connsiteX458" fmla="*/ 22461 w 374733"/>
                    <a:gd name="connsiteY458" fmla="*/ 293773 h 514541"/>
                    <a:gd name="connsiteX459" fmla="*/ 21426 w 374733"/>
                    <a:gd name="connsiteY459" fmla="*/ 293944 h 514541"/>
                    <a:gd name="connsiteX460" fmla="*/ 20097 w 374733"/>
                    <a:gd name="connsiteY460" fmla="*/ 293782 h 514541"/>
                    <a:gd name="connsiteX461" fmla="*/ 18150 w 374733"/>
                    <a:gd name="connsiteY461" fmla="*/ 292950 h 514541"/>
                    <a:gd name="connsiteX462" fmla="*/ 17196 w 374733"/>
                    <a:gd name="connsiteY462" fmla="*/ 291671 h 514541"/>
                    <a:gd name="connsiteX463" fmla="*/ 17155 w 374733"/>
                    <a:gd name="connsiteY463" fmla="*/ 288769 h 514541"/>
                    <a:gd name="connsiteX464" fmla="*/ 17555 w 374733"/>
                    <a:gd name="connsiteY464" fmla="*/ 285501 h 514541"/>
                    <a:gd name="connsiteX465" fmla="*/ 18190 w 374733"/>
                    <a:gd name="connsiteY465" fmla="*/ 283236 h 514541"/>
                    <a:gd name="connsiteX466" fmla="*/ 19625 w 374733"/>
                    <a:gd name="connsiteY466" fmla="*/ 279788 h 514541"/>
                    <a:gd name="connsiteX467" fmla="*/ 19747 w 374733"/>
                    <a:gd name="connsiteY467" fmla="*/ 275673 h 514541"/>
                    <a:gd name="connsiteX468" fmla="*/ 20423 w 374733"/>
                    <a:gd name="connsiteY468" fmla="*/ 270212 h 514541"/>
                    <a:gd name="connsiteX469" fmla="*/ 20260 w 374733"/>
                    <a:gd name="connsiteY469" fmla="*/ 269226 h 514541"/>
                    <a:gd name="connsiteX470" fmla="*/ 19372 w 374733"/>
                    <a:gd name="connsiteY470" fmla="*/ 268142 h 514541"/>
                    <a:gd name="connsiteX471" fmla="*/ 18239 w 374733"/>
                    <a:gd name="connsiteY471" fmla="*/ 267800 h 514541"/>
                    <a:gd name="connsiteX472" fmla="*/ 17000 w 374733"/>
                    <a:gd name="connsiteY472" fmla="*/ 266887 h 514541"/>
                    <a:gd name="connsiteX473" fmla="*/ 15697 w 374733"/>
                    <a:gd name="connsiteY473" fmla="*/ 263676 h 514541"/>
                    <a:gd name="connsiteX474" fmla="*/ 14792 w 374733"/>
                    <a:gd name="connsiteY474" fmla="*/ 262169 h 514541"/>
                    <a:gd name="connsiteX475" fmla="*/ 7547 w 374733"/>
                    <a:gd name="connsiteY475" fmla="*/ 259985 h 514541"/>
                    <a:gd name="connsiteX476" fmla="*/ 7139 w 374733"/>
                    <a:gd name="connsiteY476" fmla="*/ 259528 h 514541"/>
                    <a:gd name="connsiteX477" fmla="*/ 7058 w 374733"/>
                    <a:gd name="connsiteY477" fmla="*/ 258705 h 514541"/>
                    <a:gd name="connsiteX478" fmla="*/ 7579 w 374733"/>
                    <a:gd name="connsiteY478" fmla="*/ 255127 h 514541"/>
                    <a:gd name="connsiteX479" fmla="*/ 7204 w 374733"/>
                    <a:gd name="connsiteY479" fmla="*/ 252642 h 514541"/>
                    <a:gd name="connsiteX480" fmla="*/ 5729 w 374733"/>
                    <a:gd name="connsiteY480" fmla="*/ 251028 h 514541"/>
                    <a:gd name="connsiteX481" fmla="*/ 106 w 374733"/>
                    <a:gd name="connsiteY481" fmla="*/ 243710 h 514541"/>
                    <a:gd name="connsiteX482" fmla="*/ 0 w 374733"/>
                    <a:gd name="connsiteY482" fmla="*/ 242691 h 514541"/>
                    <a:gd name="connsiteX483" fmla="*/ 742 w 374733"/>
                    <a:gd name="connsiteY483" fmla="*/ 241216 h 514541"/>
                    <a:gd name="connsiteX484" fmla="*/ 1997 w 374733"/>
                    <a:gd name="connsiteY484" fmla="*/ 239643 h 514541"/>
                    <a:gd name="connsiteX485" fmla="*/ 6202 w 374733"/>
                    <a:gd name="connsiteY485" fmla="*/ 236065 h 514541"/>
                    <a:gd name="connsiteX486" fmla="*/ 6284 w 374733"/>
                    <a:gd name="connsiteY486" fmla="*/ 235438 h 514541"/>
                    <a:gd name="connsiteX487" fmla="*/ 6104 w 374733"/>
                    <a:gd name="connsiteY487" fmla="*/ 234345 h 514541"/>
                    <a:gd name="connsiteX488" fmla="*/ 4450 w 374733"/>
                    <a:gd name="connsiteY488" fmla="*/ 230181 h 514541"/>
                    <a:gd name="connsiteX489" fmla="*/ 3765 w 374733"/>
                    <a:gd name="connsiteY489" fmla="*/ 227915 h 514541"/>
                    <a:gd name="connsiteX490" fmla="*/ 3505 w 374733"/>
                    <a:gd name="connsiteY490" fmla="*/ 225837 h 514541"/>
                    <a:gd name="connsiteX491" fmla="*/ 3969 w 374733"/>
                    <a:gd name="connsiteY491" fmla="*/ 224085 h 514541"/>
                    <a:gd name="connsiteX492" fmla="*/ 4539 w 374733"/>
                    <a:gd name="connsiteY492" fmla="*/ 223604 h 514541"/>
                    <a:gd name="connsiteX493" fmla="*/ 5583 w 374733"/>
                    <a:gd name="connsiteY493" fmla="*/ 223327 h 514541"/>
                    <a:gd name="connsiteX494" fmla="*/ 11084 w 374733"/>
                    <a:gd name="connsiteY494" fmla="*/ 225422 h 514541"/>
                    <a:gd name="connsiteX495" fmla="*/ 11809 w 374733"/>
                    <a:gd name="connsiteY495" fmla="*/ 225373 h 514541"/>
                    <a:gd name="connsiteX496" fmla="*/ 13031 w 374733"/>
                    <a:gd name="connsiteY496" fmla="*/ 222830 h 514541"/>
                    <a:gd name="connsiteX497" fmla="*/ 15167 w 374733"/>
                    <a:gd name="connsiteY497" fmla="*/ 221648 h 514541"/>
                    <a:gd name="connsiteX498" fmla="*/ 15248 w 374733"/>
                    <a:gd name="connsiteY498" fmla="*/ 220271 h 514541"/>
                    <a:gd name="connsiteX499" fmla="*/ 13952 w 374733"/>
                    <a:gd name="connsiteY499" fmla="*/ 219171 h 514541"/>
                    <a:gd name="connsiteX500" fmla="*/ 13822 w 374733"/>
                    <a:gd name="connsiteY500" fmla="*/ 218519 h 514541"/>
                    <a:gd name="connsiteX501" fmla="*/ 11703 w 374733"/>
                    <a:gd name="connsiteY501" fmla="*/ 213710 h 514541"/>
                    <a:gd name="connsiteX502" fmla="*/ 9666 w 374733"/>
                    <a:gd name="connsiteY502" fmla="*/ 210230 h 514541"/>
                    <a:gd name="connsiteX503" fmla="*/ 8582 w 374733"/>
                    <a:gd name="connsiteY503" fmla="*/ 207696 h 514541"/>
                    <a:gd name="connsiteX504" fmla="*/ 8052 w 374733"/>
                    <a:gd name="connsiteY504" fmla="*/ 205699 h 514541"/>
                    <a:gd name="connsiteX505" fmla="*/ 8321 w 374733"/>
                    <a:gd name="connsiteY505" fmla="*/ 204835 h 514541"/>
                    <a:gd name="connsiteX506" fmla="*/ 8769 w 374733"/>
                    <a:gd name="connsiteY506" fmla="*/ 204338 h 514541"/>
                    <a:gd name="connsiteX507" fmla="*/ 10489 w 374733"/>
                    <a:gd name="connsiteY507" fmla="*/ 204232 h 514541"/>
                    <a:gd name="connsiteX508" fmla="*/ 11402 w 374733"/>
                    <a:gd name="connsiteY508" fmla="*/ 204648 h 514541"/>
                    <a:gd name="connsiteX509" fmla="*/ 14759 w 374733"/>
                    <a:gd name="connsiteY509" fmla="*/ 209448 h 514541"/>
                    <a:gd name="connsiteX510" fmla="*/ 22192 w 374733"/>
                    <a:gd name="connsiteY510" fmla="*/ 215397 h 514541"/>
                    <a:gd name="connsiteX511" fmla="*/ 25729 w 374733"/>
                    <a:gd name="connsiteY511" fmla="*/ 216644 h 514541"/>
                    <a:gd name="connsiteX512" fmla="*/ 27554 w 374733"/>
                    <a:gd name="connsiteY512" fmla="*/ 214729 h 514541"/>
                    <a:gd name="connsiteX513" fmla="*/ 27408 w 374733"/>
                    <a:gd name="connsiteY513" fmla="*/ 212895 h 514541"/>
                    <a:gd name="connsiteX514" fmla="*/ 26071 w 374733"/>
                    <a:gd name="connsiteY514" fmla="*/ 209033 h 514541"/>
                    <a:gd name="connsiteX515" fmla="*/ 26511 w 374733"/>
                    <a:gd name="connsiteY515" fmla="*/ 207142 h 514541"/>
                    <a:gd name="connsiteX516" fmla="*/ 25150 w 374733"/>
                    <a:gd name="connsiteY516" fmla="*/ 202154 h 514541"/>
                    <a:gd name="connsiteX517" fmla="*/ 25851 w 374733"/>
                    <a:gd name="connsiteY517" fmla="*/ 199734 h 514541"/>
                    <a:gd name="connsiteX518" fmla="*/ 25704 w 374733"/>
                    <a:gd name="connsiteY518" fmla="*/ 198943 h 514541"/>
                    <a:gd name="connsiteX519" fmla="*/ 23911 w 374733"/>
                    <a:gd name="connsiteY519" fmla="*/ 195871 h 514541"/>
                    <a:gd name="connsiteX520" fmla="*/ 23854 w 374733"/>
                    <a:gd name="connsiteY520" fmla="*/ 195211 h 514541"/>
                    <a:gd name="connsiteX521" fmla="*/ 24490 w 374733"/>
                    <a:gd name="connsiteY521" fmla="*/ 194559 h 514541"/>
                    <a:gd name="connsiteX522" fmla="*/ 25500 w 374733"/>
                    <a:gd name="connsiteY522" fmla="*/ 194909 h 514541"/>
                    <a:gd name="connsiteX523" fmla="*/ 28369 w 374733"/>
                    <a:gd name="connsiteY523" fmla="*/ 197313 h 514541"/>
                    <a:gd name="connsiteX524" fmla="*/ 37750 w 374733"/>
                    <a:gd name="connsiteY524" fmla="*/ 206742 h 514541"/>
                    <a:gd name="connsiteX525" fmla="*/ 39812 w 374733"/>
                    <a:gd name="connsiteY525" fmla="*/ 208291 h 514541"/>
                    <a:gd name="connsiteX526" fmla="*/ 41645 w 374733"/>
                    <a:gd name="connsiteY526" fmla="*/ 209285 h 514541"/>
                    <a:gd name="connsiteX527" fmla="*/ 46584 w 374733"/>
                    <a:gd name="connsiteY527" fmla="*/ 210597 h 514541"/>
                    <a:gd name="connsiteX528" fmla="*/ 46967 w 374733"/>
                    <a:gd name="connsiteY528" fmla="*/ 210939 h 514541"/>
                    <a:gd name="connsiteX529" fmla="*/ 48735 w 374733"/>
                    <a:gd name="connsiteY529" fmla="*/ 214485 h 514541"/>
                    <a:gd name="connsiteX530" fmla="*/ 50105 w 374733"/>
                    <a:gd name="connsiteY530" fmla="*/ 215862 h 514541"/>
                    <a:gd name="connsiteX531" fmla="*/ 51735 w 374733"/>
                    <a:gd name="connsiteY531" fmla="*/ 216767 h 514541"/>
                    <a:gd name="connsiteX532" fmla="*/ 65475 w 374733"/>
                    <a:gd name="connsiteY532" fmla="*/ 217745 h 514541"/>
                    <a:gd name="connsiteX533" fmla="*/ 73087 w 374733"/>
                    <a:gd name="connsiteY533" fmla="*/ 217190 h 514541"/>
                    <a:gd name="connsiteX534" fmla="*/ 84847 w 374733"/>
                    <a:gd name="connsiteY534" fmla="*/ 217476 h 514541"/>
                    <a:gd name="connsiteX535" fmla="*/ 95540 w 374733"/>
                    <a:gd name="connsiteY535" fmla="*/ 220972 h 514541"/>
                    <a:gd name="connsiteX536" fmla="*/ 99476 w 374733"/>
                    <a:gd name="connsiteY536" fmla="*/ 221803 h 514541"/>
                    <a:gd name="connsiteX537" fmla="*/ 100780 w 374733"/>
                    <a:gd name="connsiteY537" fmla="*/ 221681 h 514541"/>
                    <a:gd name="connsiteX538" fmla="*/ 101790 w 374733"/>
                    <a:gd name="connsiteY538" fmla="*/ 220581 h 514541"/>
                    <a:gd name="connsiteX539" fmla="*/ 103982 w 374733"/>
                    <a:gd name="connsiteY539" fmla="*/ 215569 h 514541"/>
                    <a:gd name="connsiteX540" fmla="*/ 105922 w 374733"/>
                    <a:gd name="connsiteY540" fmla="*/ 210190 h 514541"/>
                    <a:gd name="connsiteX541" fmla="*/ 106305 w 374733"/>
                    <a:gd name="connsiteY541" fmla="*/ 208511 h 514541"/>
                    <a:gd name="connsiteX542" fmla="*/ 106199 w 374733"/>
                    <a:gd name="connsiteY542" fmla="*/ 207541 h 514541"/>
                    <a:gd name="connsiteX543" fmla="*/ 104439 w 374733"/>
                    <a:gd name="connsiteY543" fmla="*/ 203768 h 514541"/>
                    <a:gd name="connsiteX544" fmla="*/ 104863 w 374733"/>
                    <a:gd name="connsiteY544" fmla="*/ 201706 h 514541"/>
                    <a:gd name="connsiteX545" fmla="*/ 105433 w 374733"/>
                    <a:gd name="connsiteY545" fmla="*/ 200679 h 514541"/>
                    <a:gd name="connsiteX546" fmla="*/ 107462 w 374733"/>
                    <a:gd name="connsiteY546" fmla="*/ 199065 h 514541"/>
                    <a:gd name="connsiteX547" fmla="*/ 114104 w 374733"/>
                    <a:gd name="connsiteY547" fmla="*/ 195349 h 514541"/>
                    <a:gd name="connsiteX548" fmla="*/ 115335 w 374733"/>
                    <a:gd name="connsiteY548" fmla="*/ 194110 h 514541"/>
                    <a:gd name="connsiteX549" fmla="*/ 114349 w 374733"/>
                    <a:gd name="connsiteY549" fmla="*/ 191641 h 514541"/>
                    <a:gd name="connsiteX550" fmla="*/ 114153 w 374733"/>
                    <a:gd name="connsiteY550" fmla="*/ 190272 h 514541"/>
                    <a:gd name="connsiteX551" fmla="*/ 114357 w 374733"/>
                    <a:gd name="connsiteY551" fmla="*/ 188601 h 514541"/>
                    <a:gd name="connsiteX552" fmla="*/ 114276 w 374733"/>
                    <a:gd name="connsiteY552" fmla="*/ 187468 h 514541"/>
                    <a:gd name="connsiteX553" fmla="*/ 110551 w 374733"/>
                    <a:gd name="connsiteY553" fmla="*/ 186376 h 514541"/>
                    <a:gd name="connsiteX554" fmla="*/ 109092 w 374733"/>
                    <a:gd name="connsiteY554" fmla="*/ 185512 h 514541"/>
                    <a:gd name="connsiteX555" fmla="*/ 107805 w 374733"/>
                    <a:gd name="connsiteY555" fmla="*/ 184314 h 514541"/>
                    <a:gd name="connsiteX556" fmla="*/ 105099 w 374733"/>
                    <a:gd name="connsiteY556" fmla="*/ 180117 h 514541"/>
                    <a:gd name="connsiteX557" fmla="*/ 100731 w 374733"/>
                    <a:gd name="connsiteY557" fmla="*/ 174168 h 514541"/>
                    <a:gd name="connsiteX558" fmla="*/ 100535 w 374733"/>
                    <a:gd name="connsiteY558" fmla="*/ 173312 h 514541"/>
                    <a:gd name="connsiteX559" fmla="*/ 100780 w 374733"/>
                    <a:gd name="connsiteY559" fmla="*/ 171780 h 514541"/>
                    <a:gd name="connsiteX560" fmla="*/ 101709 w 374733"/>
                    <a:gd name="connsiteY560" fmla="*/ 170835 h 514541"/>
                    <a:gd name="connsiteX561" fmla="*/ 103559 w 374733"/>
                    <a:gd name="connsiteY561" fmla="*/ 169743 h 514541"/>
                    <a:gd name="connsiteX562" fmla="*/ 104252 w 374733"/>
                    <a:gd name="connsiteY562" fmla="*/ 169115 h 514541"/>
                    <a:gd name="connsiteX563" fmla="*/ 103754 w 374733"/>
                    <a:gd name="connsiteY563" fmla="*/ 167844 h 514541"/>
                    <a:gd name="connsiteX564" fmla="*/ 97365 w 374733"/>
                    <a:gd name="connsiteY564" fmla="*/ 166393 h 514541"/>
                    <a:gd name="connsiteX565" fmla="*/ 96134 w 374733"/>
                    <a:gd name="connsiteY565" fmla="*/ 165431 h 514541"/>
                    <a:gd name="connsiteX566" fmla="*/ 94089 w 374733"/>
                    <a:gd name="connsiteY566" fmla="*/ 165187 h 514541"/>
                    <a:gd name="connsiteX567" fmla="*/ 93209 w 374733"/>
                    <a:gd name="connsiteY567" fmla="*/ 165081 h 514541"/>
                    <a:gd name="connsiteX568" fmla="*/ 93518 w 374733"/>
                    <a:gd name="connsiteY568" fmla="*/ 163272 h 514541"/>
                    <a:gd name="connsiteX569" fmla="*/ 95808 w 374733"/>
                    <a:gd name="connsiteY569" fmla="*/ 160664 h 514541"/>
                    <a:gd name="connsiteX570" fmla="*/ 95474 w 374733"/>
                    <a:gd name="connsiteY570" fmla="*/ 160020 h 514541"/>
                    <a:gd name="connsiteX571" fmla="*/ 91236 w 374733"/>
                    <a:gd name="connsiteY571" fmla="*/ 158235 h 514541"/>
                    <a:gd name="connsiteX572" fmla="*/ 90454 w 374733"/>
                    <a:gd name="connsiteY572" fmla="*/ 157722 h 514541"/>
                    <a:gd name="connsiteX573" fmla="*/ 90291 w 374733"/>
                    <a:gd name="connsiteY573" fmla="*/ 157314 h 514541"/>
                    <a:gd name="connsiteX574" fmla="*/ 90364 w 374733"/>
                    <a:gd name="connsiteY574" fmla="*/ 155961 h 514541"/>
                    <a:gd name="connsiteX575" fmla="*/ 89932 w 374733"/>
                    <a:gd name="connsiteY575" fmla="*/ 153639 h 514541"/>
                    <a:gd name="connsiteX576" fmla="*/ 92002 w 374733"/>
                    <a:gd name="connsiteY576" fmla="*/ 152278 h 514541"/>
                    <a:gd name="connsiteX577" fmla="*/ 94423 w 374733"/>
                    <a:gd name="connsiteY577" fmla="*/ 151927 h 514541"/>
                    <a:gd name="connsiteX578" fmla="*/ 95156 w 374733"/>
                    <a:gd name="connsiteY578" fmla="*/ 150517 h 514541"/>
                    <a:gd name="connsiteX579" fmla="*/ 94423 w 374733"/>
                    <a:gd name="connsiteY579" fmla="*/ 148529 h 514541"/>
                    <a:gd name="connsiteX580" fmla="*/ 90527 w 374733"/>
                    <a:gd name="connsiteY580" fmla="*/ 142197 h 514541"/>
                    <a:gd name="connsiteX581" fmla="*/ 90438 w 374733"/>
                    <a:gd name="connsiteY581" fmla="*/ 141553 h 514541"/>
                    <a:gd name="connsiteX582" fmla="*/ 90804 w 374733"/>
                    <a:gd name="connsiteY582" fmla="*/ 140379 h 514541"/>
                    <a:gd name="connsiteX583" fmla="*/ 92549 w 374733"/>
                    <a:gd name="connsiteY583" fmla="*/ 138472 h 514541"/>
                    <a:gd name="connsiteX584" fmla="*/ 93217 w 374733"/>
                    <a:gd name="connsiteY584" fmla="*/ 137176 h 514541"/>
                    <a:gd name="connsiteX585" fmla="*/ 94537 w 374733"/>
                    <a:gd name="connsiteY585" fmla="*/ 135514 h 514541"/>
                    <a:gd name="connsiteX586" fmla="*/ 95702 w 374733"/>
                    <a:gd name="connsiteY586" fmla="*/ 134511 h 514541"/>
                    <a:gd name="connsiteX587" fmla="*/ 96379 w 374733"/>
                    <a:gd name="connsiteY587" fmla="*/ 129336 h 514541"/>
                    <a:gd name="connsiteX588" fmla="*/ 97381 w 374733"/>
                    <a:gd name="connsiteY588" fmla="*/ 127005 h 514541"/>
                    <a:gd name="connsiteX589" fmla="*/ 98473 w 374733"/>
                    <a:gd name="connsiteY589" fmla="*/ 125196 h 514541"/>
                    <a:gd name="connsiteX590" fmla="*/ 99313 w 374733"/>
                    <a:gd name="connsiteY590" fmla="*/ 121398 h 514541"/>
                    <a:gd name="connsiteX591" fmla="*/ 99264 w 374733"/>
                    <a:gd name="connsiteY591" fmla="*/ 120885 h 514541"/>
                    <a:gd name="connsiteX592" fmla="*/ 98441 w 374733"/>
                    <a:gd name="connsiteY592" fmla="*/ 119402 h 514541"/>
                    <a:gd name="connsiteX593" fmla="*/ 98270 w 374733"/>
                    <a:gd name="connsiteY593" fmla="*/ 117853 h 514541"/>
                    <a:gd name="connsiteX594" fmla="*/ 99704 w 374733"/>
                    <a:gd name="connsiteY594" fmla="*/ 114862 h 514541"/>
                    <a:gd name="connsiteX595" fmla="*/ 99215 w 374733"/>
                    <a:gd name="connsiteY595" fmla="*/ 110290 h 514541"/>
                    <a:gd name="connsiteX596" fmla="*/ 99288 w 374733"/>
                    <a:gd name="connsiteY596" fmla="*/ 108734 h 514541"/>
                    <a:gd name="connsiteX597" fmla="*/ 99655 w 374733"/>
                    <a:gd name="connsiteY597" fmla="*/ 107642 h 514541"/>
                    <a:gd name="connsiteX598" fmla="*/ 102858 w 374733"/>
                    <a:gd name="connsiteY598" fmla="*/ 104202 h 514541"/>
                    <a:gd name="connsiteX599" fmla="*/ 103265 w 374733"/>
                    <a:gd name="connsiteY599" fmla="*/ 103298 h 514541"/>
                    <a:gd name="connsiteX600" fmla="*/ 103192 w 374733"/>
                    <a:gd name="connsiteY600" fmla="*/ 102100 h 514541"/>
                    <a:gd name="connsiteX601" fmla="*/ 102784 w 374733"/>
                    <a:gd name="connsiteY601" fmla="*/ 101978 h 514541"/>
                    <a:gd name="connsiteX602" fmla="*/ 100356 w 374733"/>
                    <a:gd name="connsiteY602" fmla="*/ 103167 h 514541"/>
                    <a:gd name="connsiteX603" fmla="*/ 98425 w 374733"/>
                    <a:gd name="connsiteY603" fmla="*/ 102776 h 514541"/>
                    <a:gd name="connsiteX604" fmla="*/ 97227 w 374733"/>
                    <a:gd name="connsiteY604" fmla="*/ 102483 h 514541"/>
                    <a:gd name="connsiteX605" fmla="*/ 96477 w 374733"/>
                    <a:gd name="connsiteY605" fmla="*/ 101798 h 514541"/>
                    <a:gd name="connsiteX606" fmla="*/ 95246 w 374733"/>
                    <a:gd name="connsiteY606" fmla="*/ 99761 h 514541"/>
                    <a:gd name="connsiteX607" fmla="*/ 94260 w 374733"/>
                    <a:gd name="connsiteY607" fmla="*/ 99044 h 514541"/>
                    <a:gd name="connsiteX608" fmla="*/ 93649 w 374733"/>
                    <a:gd name="connsiteY608" fmla="*/ 98995 h 514541"/>
                    <a:gd name="connsiteX609" fmla="*/ 92174 w 374733"/>
                    <a:gd name="connsiteY609" fmla="*/ 99687 h 514541"/>
                    <a:gd name="connsiteX610" fmla="*/ 91350 w 374733"/>
                    <a:gd name="connsiteY610" fmla="*/ 98620 h 514541"/>
                    <a:gd name="connsiteX611" fmla="*/ 89990 w 374733"/>
                    <a:gd name="connsiteY611" fmla="*/ 96159 h 514541"/>
                    <a:gd name="connsiteX612" fmla="*/ 87683 w 374733"/>
                    <a:gd name="connsiteY612" fmla="*/ 90601 h 514541"/>
                    <a:gd name="connsiteX613" fmla="*/ 83706 w 374733"/>
                    <a:gd name="connsiteY613" fmla="*/ 87422 h 514541"/>
                    <a:gd name="connsiteX614" fmla="*/ 83372 w 374733"/>
                    <a:gd name="connsiteY614" fmla="*/ 86534 h 514541"/>
                    <a:gd name="connsiteX615" fmla="*/ 83519 w 374733"/>
                    <a:gd name="connsiteY615" fmla="*/ 85637 h 514541"/>
                    <a:gd name="connsiteX616" fmla="*/ 84089 w 374733"/>
                    <a:gd name="connsiteY616" fmla="*/ 84651 h 514541"/>
                    <a:gd name="connsiteX617" fmla="*/ 90878 w 374733"/>
                    <a:gd name="connsiteY617" fmla="*/ 77202 h 514541"/>
                    <a:gd name="connsiteX618" fmla="*/ 92744 w 374733"/>
                    <a:gd name="connsiteY618" fmla="*/ 75646 h 514541"/>
                    <a:gd name="connsiteX619" fmla="*/ 97072 w 374733"/>
                    <a:gd name="connsiteY619" fmla="*/ 73250 h 514541"/>
                    <a:gd name="connsiteX620" fmla="*/ 97349 w 374733"/>
                    <a:gd name="connsiteY620" fmla="*/ 72353 h 514541"/>
                    <a:gd name="connsiteX621" fmla="*/ 97259 w 374733"/>
                    <a:gd name="connsiteY621" fmla="*/ 71465 h 514541"/>
                    <a:gd name="connsiteX622" fmla="*/ 96232 w 374733"/>
                    <a:gd name="connsiteY622" fmla="*/ 69493 h 514541"/>
                    <a:gd name="connsiteX623" fmla="*/ 92353 w 374733"/>
                    <a:gd name="connsiteY623" fmla="*/ 69908 h 514541"/>
                    <a:gd name="connsiteX624" fmla="*/ 91766 w 374733"/>
                    <a:gd name="connsiteY624" fmla="*/ 69509 h 514541"/>
                    <a:gd name="connsiteX625" fmla="*/ 91188 w 374733"/>
                    <a:gd name="connsiteY625" fmla="*/ 67757 h 514541"/>
                    <a:gd name="connsiteX626" fmla="*/ 91204 w 374733"/>
                    <a:gd name="connsiteY626" fmla="*/ 66901 h 514541"/>
                    <a:gd name="connsiteX627" fmla="*/ 91554 w 374733"/>
                    <a:gd name="connsiteY627" fmla="*/ 66094 h 514541"/>
                    <a:gd name="connsiteX628" fmla="*/ 92532 w 374733"/>
                    <a:gd name="connsiteY628" fmla="*/ 65124 h 514541"/>
                    <a:gd name="connsiteX629" fmla="*/ 94292 w 374733"/>
                    <a:gd name="connsiteY629" fmla="*/ 64415 h 514541"/>
                    <a:gd name="connsiteX630" fmla="*/ 104398 w 374733"/>
                    <a:gd name="connsiteY630" fmla="*/ 62549 h 514541"/>
                    <a:gd name="connsiteX631" fmla="*/ 105572 w 374733"/>
                    <a:gd name="connsiteY631" fmla="*/ 62085 h 514541"/>
                    <a:gd name="connsiteX632" fmla="*/ 105800 w 374733"/>
                    <a:gd name="connsiteY632" fmla="*/ 61685 h 514541"/>
                    <a:gd name="connsiteX633" fmla="*/ 105621 w 374733"/>
                    <a:gd name="connsiteY633" fmla="*/ 61009 h 514541"/>
                    <a:gd name="connsiteX634" fmla="*/ 104846 w 374733"/>
                    <a:gd name="connsiteY634" fmla="*/ 59892 h 514541"/>
                    <a:gd name="connsiteX635" fmla="*/ 103445 w 374733"/>
                    <a:gd name="connsiteY635" fmla="*/ 58678 h 514541"/>
                    <a:gd name="connsiteX636" fmla="*/ 101603 w 374733"/>
                    <a:gd name="connsiteY636" fmla="*/ 57733 h 514541"/>
                    <a:gd name="connsiteX637" fmla="*/ 100079 w 374733"/>
                    <a:gd name="connsiteY637" fmla="*/ 57415 h 514541"/>
                    <a:gd name="connsiteX638" fmla="*/ 93543 w 374733"/>
                    <a:gd name="connsiteY638" fmla="*/ 59411 h 514541"/>
                    <a:gd name="connsiteX639" fmla="*/ 89460 w 374733"/>
                    <a:gd name="connsiteY639" fmla="*/ 61009 h 514541"/>
                    <a:gd name="connsiteX640" fmla="*/ 88555 w 374733"/>
                    <a:gd name="connsiteY640" fmla="*/ 61074 h 514541"/>
                    <a:gd name="connsiteX641" fmla="*/ 87471 w 374733"/>
                    <a:gd name="connsiteY641" fmla="*/ 60398 h 514541"/>
                    <a:gd name="connsiteX642" fmla="*/ 86012 w 374733"/>
                    <a:gd name="connsiteY642" fmla="*/ 57236 h 514541"/>
                    <a:gd name="connsiteX643" fmla="*/ 77985 w 374733"/>
                    <a:gd name="connsiteY643" fmla="*/ 55443 h 514541"/>
                    <a:gd name="connsiteX644" fmla="*/ 73250 w 374733"/>
                    <a:gd name="connsiteY644" fmla="*/ 54734 h 514541"/>
                    <a:gd name="connsiteX645" fmla="*/ 72264 w 374733"/>
                    <a:gd name="connsiteY645" fmla="*/ 53951 h 514541"/>
                    <a:gd name="connsiteX646" fmla="*/ 72190 w 374733"/>
                    <a:gd name="connsiteY646" fmla="*/ 52590 h 514541"/>
                    <a:gd name="connsiteX647" fmla="*/ 72647 w 374733"/>
                    <a:gd name="connsiteY647" fmla="*/ 51148 h 514541"/>
                    <a:gd name="connsiteX648" fmla="*/ 73421 w 374733"/>
                    <a:gd name="connsiteY648" fmla="*/ 50349 h 514541"/>
                    <a:gd name="connsiteX649" fmla="*/ 74203 w 374733"/>
                    <a:gd name="connsiteY649" fmla="*/ 50015 h 514541"/>
                    <a:gd name="connsiteX650" fmla="*/ 83543 w 374733"/>
                    <a:gd name="connsiteY650" fmla="*/ 52003 h 514541"/>
                    <a:gd name="connsiteX651" fmla="*/ 84415 w 374733"/>
                    <a:gd name="connsiteY651" fmla="*/ 51865 h 514541"/>
                    <a:gd name="connsiteX652" fmla="*/ 85254 w 374733"/>
                    <a:gd name="connsiteY652" fmla="*/ 51156 h 514541"/>
                    <a:gd name="connsiteX653" fmla="*/ 85059 w 374733"/>
                    <a:gd name="connsiteY653" fmla="*/ 50219 h 514541"/>
                    <a:gd name="connsiteX654" fmla="*/ 82345 w 374733"/>
                    <a:gd name="connsiteY654" fmla="*/ 48344 h 514541"/>
                    <a:gd name="connsiteX655" fmla="*/ 81449 w 374733"/>
                    <a:gd name="connsiteY655" fmla="*/ 47350 h 514541"/>
                    <a:gd name="connsiteX656" fmla="*/ 80764 w 374733"/>
                    <a:gd name="connsiteY656" fmla="*/ 45386 h 514541"/>
                    <a:gd name="connsiteX657" fmla="*/ 80422 w 374733"/>
                    <a:gd name="connsiteY657" fmla="*/ 43006 h 514541"/>
                    <a:gd name="connsiteX658" fmla="*/ 80438 w 374733"/>
                    <a:gd name="connsiteY658" fmla="*/ 37856 h 514541"/>
                    <a:gd name="connsiteX659" fmla="*/ 80821 w 374733"/>
                    <a:gd name="connsiteY659" fmla="*/ 36160 h 514541"/>
                    <a:gd name="connsiteX660" fmla="*/ 82736 w 374733"/>
                    <a:gd name="connsiteY660" fmla="*/ 33870 h 514541"/>
                    <a:gd name="connsiteX661" fmla="*/ 83910 w 374733"/>
                    <a:gd name="connsiteY661" fmla="*/ 33129 h 514541"/>
                    <a:gd name="connsiteX662" fmla="*/ 83739 w 374733"/>
                    <a:gd name="connsiteY662" fmla="*/ 31548 h 514541"/>
                    <a:gd name="connsiteX663" fmla="*/ 82264 w 374733"/>
                    <a:gd name="connsiteY663" fmla="*/ 31026 h 514541"/>
                    <a:gd name="connsiteX664" fmla="*/ 75573 w 374733"/>
                    <a:gd name="connsiteY664" fmla="*/ 33471 h 514541"/>
                    <a:gd name="connsiteX665" fmla="*/ 74065 w 374733"/>
                    <a:gd name="connsiteY665" fmla="*/ 32599 h 514541"/>
                    <a:gd name="connsiteX666" fmla="*/ 73005 w 374733"/>
                    <a:gd name="connsiteY666" fmla="*/ 30537 h 514541"/>
                    <a:gd name="connsiteX667" fmla="*/ 73682 w 374733"/>
                    <a:gd name="connsiteY667" fmla="*/ 19584 h 514541"/>
                    <a:gd name="connsiteX668" fmla="*/ 74399 w 374733"/>
                    <a:gd name="connsiteY668" fmla="*/ 17652 h 514541"/>
                    <a:gd name="connsiteX669" fmla="*/ 76795 w 374733"/>
                    <a:gd name="connsiteY669" fmla="*/ 15998 h 514541"/>
                    <a:gd name="connsiteX670" fmla="*/ 76893 w 374733"/>
                    <a:gd name="connsiteY670" fmla="*/ 15362 h 514541"/>
                    <a:gd name="connsiteX671" fmla="*/ 76803 w 374733"/>
                    <a:gd name="connsiteY671" fmla="*/ 14914 h 514541"/>
                    <a:gd name="connsiteX672" fmla="*/ 76371 w 374733"/>
                    <a:gd name="connsiteY672" fmla="*/ 14507 h 514541"/>
                    <a:gd name="connsiteX673" fmla="*/ 72606 w 374733"/>
                    <a:gd name="connsiteY673" fmla="*/ 12795 h 514541"/>
                    <a:gd name="connsiteX674" fmla="*/ 71759 w 374733"/>
                    <a:gd name="connsiteY674" fmla="*/ 11882 h 514541"/>
                    <a:gd name="connsiteX675" fmla="*/ 71286 w 374733"/>
                    <a:gd name="connsiteY675" fmla="*/ 10823 h 514541"/>
                    <a:gd name="connsiteX676" fmla="*/ 71457 w 374733"/>
                    <a:gd name="connsiteY676" fmla="*/ 10252 h 514541"/>
                    <a:gd name="connsiteX677" fmla="*/ 73886 w 374733"/>
                    <a:gd name="connsiteY677" fmla="*/ 9690 h 514541"/>
                    <a:gd name="connsiteX678" fmla="*/ 75662 w 374733"/>
                    <a:gd name="connsiteY678" fmla="*/ 8598 h 514541"/>
                    <a:gd name="connsiteX679" fmla="*/ 77170 w 374733"/>
                    <a:gd name="connsiteY679" fmla="*/ 7840 h 514541"/>
                    <a:gd name="connsiteX680" fmla="*/ 77854 w 374733"/>
                    <a:gd name="connsiteY680" fmla="*/ 6593 h 514541"/>
                    <a:gd name="connsiteX681" fmla="*/ 77300 w 374733"/>
                    <a:gd name="connsiteY681" fmla="*/ 5786 h 514541"/>
                    <a:gd name="connsiteX682" fmla="*/ 73714 w 374733"/>
                    <a:gd name="connsiteY682" fmla="*/ 4401 h 514541"/>
                    <a:gd name="connsiteX683" fmla="*/ 72288 w 374733"/>
                    <a:gd name="connsiteY683" fmla="*/ 2722 h 514541"/>
                    <a:gd name="connsiteX684" fmla="*/ 72288 w 374733"/>
                    <a:gd name="connsiteY684" fmla="*/ 2217 h 514541"/>
                    <a:gd name="connsiteX685" fmla="*/ 73054 w 374733"/>
                    <a:gd name="connsiteY685" fmla="*/ 1540 h 514541"/>
                    <a:gd name="connsiteX686" fmla="*/ 78050 w 374733"/>
                    <a:gd name="connsiteY686" fmla="*/ 0 h 514541"/>
                    <a:gd name="connsiteX687" fmla="*/ 80902 w 374733"/>
                    <a:gd name="connsiteY687" fmla="*/ 1508 h 514541"/>
                    <a:gd name="connsiteX688" fmla="*/ 82467 w 374733"/>
                    <a:gd name="connsiteY688" fmla="*/ 3121 h 514541"/>
                    <a:gd name="connsiteX689" fmla="*/ 82883 w 374733"/>
                    <a:gd name="connsiteY689" fmla="*/ 5387 h 514541"/>
                    <a:gd name="connsiteX690" fmla="*/ 80202 w 374733"/>
                    <a:gd name="connsiteY690" fmla="*/ 8459 h 514541"/>
                    <a:gd name="connsiteX691" fmla="*/ 75597 w 374733"/>
                    <a:gd name="connsiteY691" fmla="*/ 10749 h 514541"/>
                    <a:gd name="connsiteX692" fmla="*/ 74154 w 374733"/>
                    <a:gd name="connsiteY692" fmla="*/ 11809 h 514541"/>
                    <a:gd name="connsiteX693" fmla="*/ 305061 w 374733"/>
                    <a:gd name="connsiteY693" fmla="*/ 336894 h 514541"/>
                    <a:gd name="connsiteX694" fmla="*/ 303227 w 374733"/>
                    <a:gd name="connsiteY694" fmla="*/ 340569 h 514541"/>
                    <a:gd name="connsiteX695" fmla="*/ 301964 w 374733"/>
                    <a:gd name="connsiteY695" fmla="*/ 342346 h 514541"/>
                    <a:gd name="connsiteX696" fmla="*/ 300791 w 374733"/>
                    <a:gd name="connsiteY696" fmla="*/ 342924 h 514541"/>
                    <a:gd name="connsiteX697" fmla="*/ 298313 w 374733"/>
                    <a:gd name="connsiteY697" fmla="*/ 343446 h 514541"/>
                    <a:gd name="connsiteX698" fmla="*/ 293089 w 374733"/>
                    <a:gd name="connsiteY698" fmla="*/ 344025 h 514541"/>
                    <a:gd name="connsiteX699" fmla="*/ 290864 w 374733"/>
                    <a:gd name="connsiteY699" fmla="*/ 344562 h 514541"/>
                    <a:gd name="connsiteX700" fmla="*/ 290546 w 374733"/>
                    <a:gd name="connsiteY700" fmla="*/ 347016 h 514541"/>
                    <a:gd name="connsiteX701" fmla="*/ 290880 w 374733"/>
                    <a:gd name="connsiteY701" fmla="*/ 348303 h 514541"/>
                    <a:gd name="connsiteX702" fmla="*/ 291638 w 374733"/>
                    <a:gd name="connsiteY702" fmla="*/ 349322 h 514541"/>
                    <a:gd name="connsiteX703" fmla="*/ 292608 w 374733"/>
                    <a:gd name="connsiteY703" fmla="*/ 349607 h 514541"/>
                    <a:gd name="connsiteX704" fmla="*/ 294776 w 374733"/>
                    <a:gd name="connsiteY704" fmla="*/ 348996 h 514541"/>
                    <a:gd name="connsiteX705" fmla="*/ 295583 w 374733"/>
                    <a:gd name="connsiteY705" fmla="*/ 349102 h 514541"/>
                    <a:gd name="connsiteX706" fmla="*/ 296227 w 374733"/>
                    <a:gd name="connsiteY706" fmla="*/ 349615 h 514541"/>
                    <a:gd name="connsiteX707" fmla="*/ 296716 w 374733"/>
                    <a:gd name="connsiteY707" fmla="*/ 350536 h 514541"/>
                    <a:gd name="connsiteX708" fmla="*/ 296968 w 374733"/>
                    <a:gd name="connsiteY708" fmla="*/ 351816 h 514541"/>
                    <a:gd name="connsiteX709" fmla="*/ 296984 w 374733"/>
                    <a:gd name="connsiteY709" fmla="*/ 353446 h 514541"/>
                    <a:gd name="connsiteX710" fmla="*/ 296601 w 374733"/>
                    <a:gd name="connsiteY710" fmla="*/ 355418 h 514541"/>
                    <a:gd name="connsiteX711" fmla="*/ 294833 w 374733"/>
                    <a:gd name="connsiteY711" fmla="*/ 360055 h 514541"/>
                    <a:gd name="connsiteX712" fmla="*/ 292584 w 374733"/>
                    <a:gd name="connsiteY712" fmla="*/ 362606 h 514541"/>
                    <a:gd name="connsiteX713" fmla="*/ 289707 w 374733"/>
                    <a:gd name="connsiteY713" fmla="*/ 364684 h 514541"/>
                    <a:gd name="connsiteX714" fmla="*/ 288998 w 374733"/>
                    <a:gd name="connsiteY714" fmla="*/ 365483 h 514541"/>
                    <a:gd name="connsiteX715" fmla="*/ 288639 w 374733"/>
                    <a:gd name="connsiteY715" fmla="*/ 366420 h 514541"/>
                    <a:gd name="connsiteX716" fmla="*/ 288281 w 374733"/>
                    <a:gd name="connsiteY716" fmla="*/ 369460 h 514541"/>
                    <a:gd name="connsiteX717" fmla="*/ 286789 w 374733"/>
                    <a:gd name="connsiteY717" fmla="*/ 371880 h 514541"/>
                    <a:gd name="connsiteX718" fmla="*/ 282160 w 374733"/>
                    <a:gd name="connsiteY718" fmla="*/ 378025 h 514541"/>
                    <a:gd name="connsiteX719" fmla="*/ 280375 w 374733"/>
                    <a:gd name="connsiteY719" fmla="*/ 379370 h 514541"/>
                    <a:gd name="connsiteX720" fmla="*/ 280367 w 374733"/>
                    <a:gd name="connsiteY720" fmla="*/ 380446 h 514541"/>
                    <a:gd name="connsiteX721" fmla="*/ 279650 w 374733"/>
                    <a:gd name="connsiteY721" fmla="*/ 383355 h 514541"/>
                    <a:gd name="connsiteX722" fmla="*/ 278273 w 374733"/>
                    <a:gd name="connsiteY722" fmla="*/ 385702 h 514541"/>
                    <a:gd name="connsiteX723" fmla="*/ 274442 w 374733"/>
                    <a:gd name="connsiteY723" fmla="*/ 391073 h 514541"/>
                    <a:gd name="connsiteX724" fmla="*/ 273489 w 374733"/>
                    <a:gd name="connsiteY724" fmla="*/ 392972 h 514541"/>
                    <a:gd name="connsiteX725" fmla="*/ 273065 w 374733"/>
                    <a:gd name="connsiteY725" fmla="*/ 394463 h 514541"/>
                    <a:gd name="connsiteX726" fmla="*/ 273122 w 374733"/>
                    <a:gd name="connsiteY726" fmla="*/ 396582 h 514541"/>
                    <a:gd name="connsiteX727" fmla="*/ 272951 w 374733"/>
                    <a:gd name="connsiteY727" fmla="*/ 397511 h 514541"/>
                    <a:gd name="connsiteX728" fmla="*/ 272071 w 374733"/>
                    <a:gd name="connsiteY728" fmla="*/ 399304 h 514541"/>
                    <a:gd name="connsiteX729" fmla="*/ 270848 w 374733"/>
                    <a:gd name="connsiteY729" fmla="*/ 400983 h 514541"/>
                    <a:gd name="connsiteX730" fmla="*/ 270612 w 374733"/>
                    <a:gd name="connsiteY730" fmla="*/ 401798 h 514541"/>
                    <a:gd name="connsiteX731" fmla="*/ 271093 w 374733"/>
                    <a:gd name="connsiteY731" fmla="*/ 403281 h 514541"/>
                    <a:gd name="connsiteX732" fmla="*/ 271590 w 374733"/>
                    <a:gd name="connsiteY732" fmla="*/ 403795 h 514541"/>
                    <a:gd name="connsiteX733" fmla="*/ 271647 w 374733"/>
                    <a:gd name="connsiteY733" fmla="*/ 405148 h 514541"/>
                    <a:gd name="connsiteX734" fmla="*/ 271272 w 374733"/>
                    <a:gd name="connsiteY734" fmla="*/ 407332 h 514541"/>
                    <a:gd name="connsiteX735" fmla="*/ 272894 w 374733"/>
                    <a:gd name="connsiteY735" fmla="*/ 405946 h 514541"/>
                    <a:gd name="connsiteX736" fmla="*/ 276521 w 374733"/>
                    <a:gd name="connsiteY736" fmla="*/ 400999 h 514541"/>
                    <a:gd name="connsiteX737" fmla="*/ 279243 w 374733"/>
                    <a:gd name="connsiteY737" fmla="*/ 398017 h 514541"/>
                    <a:gd name="connsiteX738" fmla="*/ 281060 w 374733"/>
                    <a:gd name="connsiteY738" fmla="*/ 396998 h 514541"/>
                    <a:gd name="connsiteX739" fmla="*/ 282323 w 374733"/>
                    <a:gd name="connsiteY739" fmla="*/ 395678 h 514541"/>
                    <a:gd name="connsiteX740" fmla="*/ 283684 w 374733"/>
                    <a:gd name="connsiteY740" fmla="*/ 392760 h 514541"/>
                    <a:gd name="connsiteX741" fmla="*/ 285542 w 374733"/>
                    <a:gd name="connsiteY741" fmla="*/ 389973 h 514541"/>
                    <a:gd name="connsiteX742" fmla="*/ 287221 w 374733"/>
                    <a:gd name="connsiteY742" fmla="*/ 389068 h 514541"/>
                    <a:gd name="connsiteX743" fmla="*/ 287987 w 374733"/>
                    <a:gd name="connsiteY743" fmla="*/ 389598 h 514541"/>
                    <a:gd name="connsiteX744" fmla="*/ 288639 w 374733"/>
                    <a:gd name="connsiteY744" fmla="*/ 390967 h 514541"/>
                    <a:gd name="connsiteX745" fmla="*/ 288517 w 374733"/>
                    <a:gd name="connsiteY745" fmla="*/ 392703 h 514541"/>
                    <a:gd name="connsiteX746" fmla="*/ 287604 w 374733"/>
                    <a:gd name="connsiteY746" fmla="*/ 394814 h 514541"/>
                    <a:gd name="connsiteX747" fmla="*/ 287678 w 374733"/>
                    <a:gd name="connsiteY747" fmla="*/ 395441 h 514541"/>
                    <a:gd name="connsiteX748" fmla="*/ 289821 w 374733"/>
                    <a:gd name="connsiteY748" fmla="*/ 393893 h 514541"/>
                    <a:gd name="connsiteX749" fmla="*/ 293488 w 374733"/>
                    <a:gd name="connsiteY749" fmla="*/ 392613 h 514541"/>
                    <a:gd name="connsiteX750" fmla="*/ 294817 w 374733"/>
                    <a:gd name="connsiteY750" fmla="*/ 392784 h 514541"/>
                    <a:gd name="connsiteX751" fmla="*/ 297514 w 374733"/>
                    <a:gd name="connsiteY751" fmla="*/ 394700 h 514541"/>
                    <a:gd name="connsiteX752" fmla="*/ 299755 w 374733"/>
                    <a:gd name="connsiteY752" fmla="*/ 394480 h 514541"/>
                    <a:gd name="connsiteX753" fmla="*/ 303333 w 374733"/>
                    <a:gd name="connsiteY753" fmla="*/ 393363 h 514541"/>
                    <a:gd name="connsiteX754" fmla="*/ 304010 w 374733"/>
                    <a:gd name="connsiteY754" fmla="*/ 393877 h 514541"/>
                    <a:gd name="connsiteX755" fmla="*/ 303415 w 374733"/>
                    <a:gd name="connsiteY755" fmla="*/ 395572 h 514541"/>
                    <a:gd name="connsiteX756" fmla="*/ 302005 w 374733"/>
                    <a:gd name="connsiteY756" fmla="*/ 397185 h 514541"/>
                    <a:gd name="connsiteX757" fmla="*/ 298688 w 374733"/>
                    <a:gd name="connsiteY757" fmla="*/ 399492 h 514541"/>
                    <a:gd name="connsiteX758" fmla="*/ 290693 w 374733"/>
                    <a:gd name="connsiteY758" fmla="*/ 404015 h 514541"/>
                    <a:gd name="connsiteX759" fmla="*/ 288207 w 374733"/>
                    <a:gd name="connsiteY759" fmla="*/ 407128 h 514541"/>
                    <a:gd name="connsiteX760" fmla="*/ 288680 w 374733"/>
                    <a:gd name="connsiteY760" fmla="*/ 407030 h 514541"/>
                    <a:gd name="connsiteX761" fmla="*/ 290408 w 374733"/>
                    <a:gd name="connsiteY761" fmla="*/ 405694 h 514541"/>
                    <a:gd name="connsiteX762" fmla="*/ 292225 w 374733"/>
                    <a:gd name="connsiteY762" fmla="*/ 404977 h 514541"/>
                    <a:gd name="connsiteX763" fmla="*/ 294124 w 374733"/>
                    <a:gd name="connsiteY763" fmla="*/ 404879 h 514541"/>
                    <a:gd name="connsiteX764" fmla="*/ 294923 w 374733"/>
                    <a:gd name="connsiteY764" fmla="*/ 405270 h 514541"/>
                    <a:gd name="connsiteX765" fmla="*/ 294605 w 374733"/>
                    <a:gd name="connsiteY765" fmla="*/ 406150 h 514541"/>
                    <a:gd name="connsiteX766" fmla="*/ 294369 w 374733"/>
                    <a:gd name="connsiteY766" fmla="*/ 408538 h 514541"/>
                    <a:gd name="connsiteX767" fmla="*/ 289519 w 374733"/>
                    <a:gd name="connsiteY767" fmla="*/ 413191 h 514541"/>
                    <a:gd name="connsiteX768" fmla="*/ 290660 w 374733"/>
                    <a:gd name="connsiteY768" fmla="*/ 413020 h 514541"/>
                    <a:gd name="connsiteX769" fmla="*/ 296267 w 374733"/>
                    <a:gd name="connsiteY769" fmla="*/ 410901 h 514541"/>
                    <a:gd name="connsiteX770" fmla="*/ 299666 w 374733"/>
                    <a:gd name="connsiteY770" fmla="*/ 413827 h 514541"/>
                    <a:gd name="connsiteX771" fmla="*/ 304336 w 374733"/>
                    <a:gd name="connsiteY771" fmla="*/ 412808 h 514541"/>
                    <a:gd name="connsiteX772" fmla="*/ 307155 w 374733"/>
                    <a:gd name="connsiteY772" fmla="*/ 411822 h 514541"/>
                    <a:gd name="connsiteX773" fmla="*/ 307082 w 374733"/>
                    <a:gd name="connsiteY773" fmla="*/ 412433 h 514541"/>
                    <a:gd name="connsiteX774" fmla="*/ 307693 w 374733"/>
                    <a:gd name="connsiteY774" fmla="*/ 413705 h 514541"/>
                    <a:gd name="connsiteX775" fmla="*/ 307677 w 374733"/>
                    <a:gd name="connsiteY775" fmla="*/ 415767 h 514541"/>
                    <a:gd name="connsiteX776" fmla="*/ 307962 w 374733"/>
                    <a:gd name="connsiteY776" fmla="*/ 416060 h 514541"/>
                    <a:gd name="connsiteX777" fmla="*/ 309299 w 374733"/>
                    <a:gd name="connsiteY777" fmla="*/ 415367 h 514541"/>
                    <a:gd name="connsiteX778" fmla="*/ 309543 w 374733"/>
                    <a:gd name="connsiteY778" fmla="*/ 414618 h 514541"/>
                    <a:gd name="connsiteX779" fmla="*/ 309470 w 374733"/>
                    <a:gd name="connsiteY779" fmla="*/ 410942 h 514541"/>
                    <a:gd name="connsiteX780" fmla="*/ 309886 w 374733"/>
                    <a:gd name="connsiteY780" fmla="*/ 410583 h 514541"/>
                    <a:gd name="connsiteX781" fmla="*/ 310798 w 374733"/>
                    <a:gd name="connsiteY781" fmla="*/ 411154 h 514541"/>
                    <a:gd name="connsiteX782" fmla="*/ 311361 w 374733"/>
                    <a:gd name="connsiteY782" fmla="*/ 412099 h 514541"/>
                    <a:gd name="connsiteX783" fmla="*/ 311532 w 374733"/>
                    <a:gd name="connsiteY783" fmla="*/ 414764 h 514541"/>
                    <a:gd name="connsiteX784" fmla="*/ 310920 w 374733"/>
                    <a:gd name="connsiteY784" fmla="*/ 417446 h 514541"/>
                    <a:gd name="connsiteX785" fmla="*/ 310065 w 374733"/>
                    <a:gd name="connsiteY785" fmla="*/ 419899 h 514541"/>
                    <a:gd name="connsiteX786" fmla="*/ 308011 w 374733"/>
                    <a:gd name="connsiteY786" fmla="*/ 423476 h 514541"/>
                    <a:gd name="connsiteX787" fmla="*/ 308272 w 374733"/>
                    <a:gd name="connsiteY787" fmla="*/ 425017 h 514541"/>
                    <a:gd name="connsiteX788" fmla="*/ 307742 w 374733"/>
                    <a:gd name="connsiteY788" fmla="*/ 426687 h 514541"/>
                    <a:gd name="connsiteX789" fmla="*/ 308207 w 374733"/>
                    <a:gd name="connsiteY789" fmla="*/ 426744 h 514541"/>
                    <a:gd name="connsiteX790" fmla="*/ 310252 w 374733"/>
                    <a:gd name="connsiteY790" fmla="*/ 425196 h 514541"/>
                    <a:gd name="connsiteX791" fmla="*/ 310375 w 374733"/>
                    <a:gd name="connsiteY791" fmla="*/ 424552 h 514541"/>
                    <a:gd name="connsiteX792" fmla="*/ 310220 w 374733"/>
                    <a:gd name="connsiteY792" fmla="*/ 423061 h 514541"/>
                    <a:gd name="connsiteX793" fmla="*/ 310448 w 374733"/>
                    <a:gd name="connsiteY793" fmla="*/ 422335 h 514541"/>
                    <a:gd name="connsiteX794" fmla="*/ 312143 w 374733"/>
                    <a:gd name="connsiteY794" fmla="*/ 420714 h 514541"/>
                    <a:gd name="connsiteX795" fmla="*/ 314947 w 374733"/>
                    <a:gd name="connsiteY795" fmla="*/ 418798 h 514541"/>
                    <a:gd name="connsiteX796" fmla="*/ 315868 w 374733"/>
                    <a:gd name="connsiteY796" fmla="*/ 418505 h 514541"/>
                    <a:gd name="connsiteX797" fmla="*/ 316259 w 374733"/>
                    <a:gd name="connsiteY797" fmla="*/ 418953 h 514541"/>
                    <a:gd name="connsiteX798" fmla="*/ 316112 w 374733"/>
                    <a:gd name="connsiteY798" fmla="*/ 420135 h 514541"/>
                    <a:gd name="connsiteX799" fmla="*/ 316943 w 374733"/>
                    <a:gd name="connsiteY799" fmla="*/ 419858 h 514541"/>
                    <a:gd name="connsiteX800" fmla="*/ 318736 w 374733"/>
                    <a:gd name="connsiteY800" fmla="*/ 418114 h 514541"/>
                    <a:gd name="connsiteX801" fmla="*/ 320399 w 374733"/>
                    <a:gd name="connsiteY801" fmla="*/ 417054 h 514541"/>
                    <a:gd name="connsiteX802" fmla="*/ 321931 w 374733"/>
                    <a:gd name="connsiteY802" fmla="*/ 416696 h 514541"/>
                    <a:gd name="connsiteX803" fmla="*/ 323528 w 374733"/>
                    <a:gd name="connsiteY803" fmla="*/ 415498 h 514541"/>
                    <a:gd name="connsiteX804" fmla="*/ 325183 w 374733"/>
                    <a:gd name="connsiteY804" fmla="*/ 413468 h 514541"/>
                    <a:gd name="connsiteX805" fmla="*/ 326967 w 374733"/>
                    <a:gd name="connsiteY805" fmla="*/ 411790 h 514541"/>
                    <a:gd name="connsiteX806" fmla="*/ 328874 w 374733"/>
                    <a:gd name="connsiteY806" fmla="*/ 410461 h 514541"/>
                    <a:gd name="connsiteX807" fmla="*/ 329689 w 374733"/>
                    <a:gd name="connsiteY807" fmla="*/ 410372 h 514541"/>
                    <a:gd name="connsiteX808" fmla="*/ 329412 w 374733"/>
                    <a:gd name="connsiteY808" fmla="*/ 412564 h 514541"/>
                    <a:gd name="connsiteX809" fmla="*/ 329779 w 374733"/>
                    <a:gd name="connsiteY809" fmla="*/ 415066 h 514541"/>
                    <a:gd name="connsiteX810" fmla="*/ 329828 w 374733"/>
                    <a:gd name="connsiteY810" fmla="*/ 417193 h 514541"/>
                    <a:gd name="connsiteX811" fmla="*/ 330203 w 374733"/>
                    <a:gd name="connsiteY811" fmla="*/ 417641 h 514541"/>
                    <a:gd name="connsiteX812" fmla="*/ 331670 w 374733"/>
                    <a:gd name="connsiteY812" fmla="*/ 415359 h 514541"/>
                    <a:gd name="connsiteX813" fmla="*/ 332493 w 374733"/>
                    <a:gd name="connsiteY813" fmla="*/ 414528 h 514541"/>
                    <a:gd name="connsiteX814" fmla="*/ 333471 w 374733"/>
                    <a:gd name="connsiteY814" fmla="*/ 414194 h 514541"/>
                    <a:gd name="connsiteX815" fmla="*/ 334612 w 374733"/>
                    <a:gd name="connsiteY815" fmla="*/ 414365 h 514541"/>
                    <a:gd name="connsiteX816" fmla="*/ 342379 w 374733"/>
                    <a:gd name="connsiteY816" fmla="*/ 413550 h 514541"/>
                    <a:gd name="connsiteX817" fmla="*/ 344742 w 374733"/>
                    <a:gd name="connsiteY817" fmla="*/ 414112 h 514541"/>
                    <a:gd name="connsiteX818" fmla="*/ 347407 w 374733"/>
                    <a:gd name="connsiteY818" fmla="*/ 415604 h 514541"/>
                    <a:gd name="connsiteX819" fmla="*/ 350765 w 374733"/>
                    <a:gd name="connsiteY819" fmla="*/ 417910 h 514541"/>
                    <a:gd name="connsiteX820" fmla="*/ 352003 w 374733"/>
                    <a:gd name="connsiteY820" fmla="*/ 419988 h 514541"/>
                    <a:gd name="connsiteX821" fmla="*/ 352240 w 374733"/>
                    <a:gd name="connsiteY821" fmla="*/ 422613 h 514541"/>
                    <a:gd name="connsiteX822" fmla="*/ 351906 w 374733"/>
                    <a:gd name="connsiteY822" fmla="*/ 424438 h 514541"/>
                    <a:gd name="connsiteX823" fmla="*/ 349485 w 374733"/>
                    <a:gd name="connsiteY823" fmla="*/ 426744 h 514541"/>
                    <a:gd name="connsiteX824" fmla="*/ 347325 w 374733"/>
                    <a:gd name="connsiteY824" fmla="*/ 428268 h 514541"/>
                    <a:gd name="connsiteX825" fmla="*/ 346054 w 374733"/>
                    <a:gd name="connsiteY825" fmla="*/ 429792 h 514541"/>
                    <a:gd name="connsiteX826" fmla="*/ 345671 w 374733"/>
                    <a:gd name="connsiteY826" fmla="*/ 431308 h 514541"/>
                    <a:gd name="connsiteX827" fmla="*/ 345166 w 374733"/>
                    <a:gd name="connsiteY827" fmla="*/ 432245 h 514541"/>
                    <a:gd name="connsiteX828" fmla="*/ 343723 w 374733"/>
                    <a:gd name="connsiteY828" fmla="*/ 433558 h 514541"/>
                    <a:gd name="connsiteX829" fmla="*/ 337318 w 374733"/>
                    <a:gd name="connsiteY829" fmla="*/ 437225 h 514541"/>
                    <a:gd name="connsiteX830" fmla="*/ 338850 w 374733"/>
                    <a:gd name="connsiteY830" fmla="*/ 437331 h 514541"/>
                    <a:gd name="connsiteX831" fmla="*/ 342541 w 374733"/>
                    <a:gd name="connsiteY831" fmla="*/ 436540 h 514541"/>
                    <a:gd name="connsiteX832" fmla="*/ 344962 w 374733"/>
                    <a:gd name="connsiteY832" fmla="*/ 436369 h 514541"/>
                    <a:gd name="connsiteX833" fmla="*/ 345092 w 374733"/>
                    <a:gd name="connsiteY833" fmla="*/ 436891 h 514541"/>
                    <a:gd name="connsiteX834" fmla="*/ 344123 w 374733"/>
                    <a:gd name="connsiteY834" fmla="*/ 437934 h 514541"/>
                    <a:gd name="connsiteX835" fmla="*/ 342273 w 374733"/>
                    <a:gd name="connsiteY835" fmla="*/ 438977 h 514541"/>
                    <a:gd name="connsiteX836" fmla="*/ 342077 w 374733"/>
                    <a:gd name="connsiteY836" fmla="*/ 439482 h 514541"/>
                    <a:gd name="connsiteX837" fmla="*/ 342167 w 374733"/>
                    <a:gd name="connsiteY837" fmla="*/ 440143 h 514541"/>
                    <a:gd name="connsiteX838" fmla="*/ 344147 w 374733"/>
                    <a:gd name="connsiteY838" fmla="*/ 440941 h 514541"/>
                    <a:gd name="connsiteX839" fmla="*/ 346682 w 374733"/>
                    <a:gd name="connsiteY839" fmla="*/ 440550 h 514541"/>
                    <a:gd name="connsiteX840" fmla="*/ 348817 w 374733"/>
                    <a:gd name="connsiteY840" fmla="*/ 441121 h 514541"/>
                    <a:gd name="connsiteX841" fmla="*/ 348613 w 374733"/>
                    <a:gd name="connsiteY841" fmla="*/ 441993 h 514541"/>
                    <a:gd name="connsiteX842" fmla="*/ 346918 w 374733"/>
                    <a:gd name="connsiteY842" fmla="*/ 444853 h 514541"/>
                    <a:gd name="connsiteX843" fmla="*/ 346421 w 374733"/>
                    <a:gd name="connsiteY843" fmla="*/ 446654 h 514541"/>
                    <a:gd name="connsiteX844" fmla="*/ 344163 w 374733"/>
                    <a:gd name="connsiteY844" fmla="*/ 448162 h 514541"/>
                    <a:gd name="connsiteX845" fmla="*/ 339640 w 374733"/>
                    <a:gd name="connsiteY845" fmla="*/ 450525 h 514541"/>
                    <a:gd name="connsiteX846" fmla="*/ 338483 w 374733"/>
                    <a:gd name="connsiteY846" fmla="*/ 451430 h 514541"/>
                    <a:gd name="connsiteX847" fmla="*/ 338736 w 374733"/>
                    <a:gd name="connsiteY847" fmla="*/ 451617 h 514541"/>
                    <a:gd name="connsiteX848" fmla="*/ 342884 w 374733"/>
                    <a:gd name="connsiteY848" fmla="*/ 449881 h 514541"/>
                    <a:gd name="connsiteX849" fmla="*/ 344970 w 374733"/>
                    <a:gd name="connsiteY849" fmla="*/ 449441 h 514541"/>
                    <a:gd name="connsiteX850" fmla="*/ 346298 w 374733"/>
                    <a:gd name="connsiteY850" fmla="*/ 449425 h 514541"/>
                    <a:gd name="connsiteX851" fmla="*/ 347798 w 374733"/>
                    <a:gd name="connsiteY851" fmla="*/ 447746 h 514541"/>
                    <a:gd name="connsiteX852" fmla="*/ 350145 w 374733"/>
                    <a:gd name="connsiteY852" fmla="*/ 447192 h 514541"/>
                    <a:gd name="connsiteX853" fmla="*/ 352435 w 374733"/>
                    <a:gd name="connsiteY853" fmla="*/ 448252 h 514541"/>
                    <a:gd name="connsiteX854" fmla="*/ 355923 w 374733"/>
                    <a:gd name="connsiteY854" fmla="*/ 445358 h 514541"/>
                    <a:gd name="connsiteX855" fmla="*/ 357170 w 374733"/>
                    <a:gd name="connsiteY855" fmla="*/ 444984 h 514541"/>
                    <a:gd name="connsiteX856" fmla="*/ 359297 w 374733"/>
                    <a:gd name="connsiteY856" fmla="*/ 445318 h 514541"/>
                    <a:gd name="connsiteX857" fmla="*/ 360666 w 374733"/>
                    <a:gd name="connsiteY857" fmla="*/ 444804 h 514541"/>
                    <a:gd name="connsiteX858" fmla="*/ 362973 w 374733"/>
                    <a:gd name="connsiteY858" fmla="*/ 442824 h 514541"/>
                    <a:gd name="connsiteX859" fmla="*/ 364709 w 374733"/>
                    <a:gd name="connsiteY859" fmla="*/ 441870 h 514541"/>
                    <a:gd name="connsiteX860" fmla="*/ 365067 w 374733"/>
                    <a:gd name="connsiteY860" fmla="*/ 441960 h 514541"/>
                    <a:gd name="connsiteX861" fmla="*/ 365442 w 374733"/>
                    <a:gd name="connsiteY861" fmla="*/ 442750 h 514541"/>
                    <a:gd name="connsiteX862" fmla="*/ 365613 w 374733"/>
                    <a:gd name="connsiteY862" fmla="*/ 445024 h 514541"/>
                    <a:gd name="connsiteX863" fmla="*/ 365206 w 374733"/>
                    <a:gd name="connsiteY863" fmla="*/ 447029 h 514541"/>
                    <a:gd name="connsiteX864" fmla="*/ 364644 w 374733"/>
                    <a:gd name="connsiteY864" fmla="*/ 448317 h 514541"/>
                    <a:gd name="connsiteX865" fmla="*/ 362769 w 374733"/>
                    <a:gd name="connsiteY865" fmla="*/ 451137 h 514541"/>
                    <a:gd name="connsiteX866" fmla="*/ 361620 w 374733"/>
                    <a:gd name="connsiteY866" fmla="*/ 452131 h 514541"/>
                    <a:gd name="connsiteX867" fmla="*/ 360553 w 374733"/>
                    <a:gd name="connsiteY867" fmla="*/ 452506 h 514541"/>
                    <a:gd name="connsiteX868" fmla="*/ 358670 w 374733"/>
                    <a:gd name="connsiteY868" fmla="*/ 452351 h 514541"/>
                    <a:gd name="connsiteX869" fmla="*/ 357847 w 374733"/>
                    <a:gd name="connsiteY869" fmla="*/ 452791 h 514541"/>
                    <a:gd name="connsiteX870" fmla="*/ 356078 w 374733"/>
                    <a:gd name="connsiteY870" fmla="*/ 455008 h 514541"/>
                    <a:gd name="connsiteX871" fmla="*/ 352957 w 374733"/>
                    <a:gd name="connsiteY871" fmla="*/ 457241 h 514541"/>
                    <a:gd name="connsiteX872" fmla="*/ 351009 w 374733"/>
                    <a:gd name="connsiteY872" fmla="*/ 458113 h 514541"/>
                    <a:gd name="connsiteX873" fmla="*/ 352240 w 374733"/>
                    <a:gd name="connsiteY873" fmla="*/ 459327 h 514541"/>
                    <a:gd name="connsiteX874" fmla="*/ 352696 w 374733"/>
                    <a:gd name="connsiteY874" fmla="*/ 461682 h 514541"/>
                    <a:gd name="connsiteX875" fmla="*/ 352012 w 374733"/>
                    <a:gd name="connsiteY875" fmla="*/ 462408 h 514541"/>
                    <a:gd name="connsiteX876" fmla="*/ 348670 w 374733"/>
                    <a:gd name="connsiteY876" fmla="*/ 463133 h 514541"/>
                    <a:gd name="connsiteX877" fmla="*/ 348523 w 374733"/>
                    <a:gd name="connsiteY877" fmla="*/ 463524 h 514541"/>
                    <a:gd name="connsiteX878" fmla="*/ 347325 w 374733"/>
                    <a:gd name="connsiteY878" fmla="*/ 464038 h 514541"/>
                    <a:gd name="connsiteX879" fmla="*/ 344563 w 374733"/>
                    <a:gd name="connsiteY879" fmla="*/ 464861 h 514541"/>
                    <a:gd name="connsiteX880" fmla="*/ 346453 w 374733"/>
                    <a:gd name="connsiteY880" fmla="*/ 465211 h 514541"/>
                    <a:gd name="connsiteX881" fmla="*/ 349933 w 374733"/>
                    <a:gd name="connsiteY881" fmla="*/ 464641 h 514541"/>
                    <a:gd name="connsiteX882" fmla="*/ 350300 w 374733"/>
                    <a:gd name="connsiteY882" fmla="*/ 465040 h 514541"/>
                    <a:gd name="connsiteX883" fmla="*/ 349819 w 374733"/>
                    <a:gd name="connsiteY883" fmla="*/ 466694 h 514541"/>
                    <a:gd name="connsiteX884" fmla="*/ 348890 w 374733"/>
                    <a:gd name="connsiteY884" fmla="*/ 468389 h 514541"/>
                    <a:gd name="connsiteX885" fmla="*/ 344758 w 374733"/>
                    <a:gd name="connsiteY885" fmla="*/ 472766 h 514541"/>
                    <a:gd name="connsiteX886" fmla="*/ 344709 w 374733"/>
                    <a:gd name="connsiteY886" fmla="*/ 473206 h 514541"/>
                    <a:gd name="connsiteX887" fmla="*/ 345353 w 374733"/>
                    <a:gd name="connsiteY887" fmla="*/ 475341 h 514541"/>
                    <a:gd name="connsiteX888" fmla="*/ 346160 w 374733"/>
                    <a:gd name="connsiteY888" fmla="*/ 476963 h 514541"/>
                    <a:gd name="connsiteX889" fmla="*/ 347163 w 374733"/>
                    <a:gd name="connsiteY889" fmla="*/ 478112 h 514541"/>
                    <a:gd name="connsiteX890" fmla="*/ 349461 w 374733"/>
                    <a:gd name="connsiteY890" fmla="*/ 478177 h 514541"/>
                    <a:gd name="connsiteX891" fmla="*/ 351164 w 374733"/>
                    <a:gd name="connsiteY891" fmla="*/ 477672 h 514541"/>
                    <a:gd name="connsiteX892" fmla="*/ 353641 w 374733"/>
                    <a:gd name="connsiteY892" fmla="*/ 474754 h 514541"/>
                    <a:gd name="connsiteX893" fmla="*/ 359118 w 374733"/>
                    <a:gd name="connsiteY893" fmla="*/ 465651 h 514541"/>
                    <a:gd name="connsiteX894" fmla="*/ 364016 w 374733"/>
                    <a:gd name="connsiteY894" fmla="*/ 463117 h 514541"/>
                    <a:gd name="connsiteX895" fmla="*/ 368091 w 374733"/>
                    <a:gd name="connsiteY895" fmla="*/ 460297 h 514541"/>
                    <a:gd name="connsiteX896" fmla="*/ 369028 w 374733"/>
                    <a:gd name="connsiteY896" fmla="*/ 460867 h 514541"/>
                    <a:gd name="connsiteX897" fmla="*/ 369452 w 374733"/>
                    <a:gd name="connsiteY897" fmla="*/ 461527 h 514541"/>
                    <a:gd name="connsiteX898" fmla="*/ 369305 w 374733"/>
                    <a:gd name="connsiteY898" fmla="*/ 462212 h 514541"/>
                    <a:gd name="connsiteX899" fmla="*/ 367252 w 374733"/>
                    <a:gd name="connsiteY899" fmla="*/ 464535 h 514541"/>
                    <a:gd name="connsiteX900" fmla="*/ 366176 w 374733"/>
                    <a:gd name="connsiteY900" fmla="*/ 466442 h 514541"/>
                    <a:gd name="connsiteX901" fmla="*/ 363389 w 374733"/>
                    <a:gd name="connsiteY901" fmla="*/ 472326 h 514541"/>
                    <a:gd name="connsiteX902" fmla="*/ 362321 w 374733"/>
                    <a:gd name="connsiteY902" fmla="*/ 475089 h 514541"/>
                    <a:gd name="connsiteX903" fmla="*/ 361791 w 374733"/>
                    <a:gd name="connsiteY903" fmla="*/ 478006 h 514541"/>
                    <a:gd name="connsiteX904" fmla="*/ 361930 w 374733"/>
                    <a:gd name="connsiteY904" fmla="*/ 483043 h 514541"/>
                    <a:gd name="connsiteX905" fmla="*/ 362231 w 374733"/>
                    <a:gd name="connsiteY905" fmla="*/ 483915 h 514541"/>
                    <a:gd name="connsiteX906" fmla="*/ 363103 w 374733"/>
                    <a:gd name="connsiteY906" fmla="*/ 485088 h 514541"/>
                    <a:gd name="connsiteX907" fmla="*/ 364733 w 374733"/>
                    <a:gd name="connsiteY907" fmla="*/ 484078 h 514541"/>
                    <a:gd name="connsiteX908" fmla="*/ 367504 w 374733"/>
                    <a:gd name="connsiteY908" fmla="*/ 481592 h 514541"/>
                    <a:gd name="connsiteX909" fmla="*/ 369289 w 374733"/>
                    <a:gd name="connsiteY909" fmla="*/ 479204 h 514541"/>
                    <a:gd name="connsiteX910" fmla="*/ 370683 w 374733"/>
                    <a:gd name="connsiteY910" fmla="*/ 475325 h 514541"/>
                    <a:gd name="connsiteX911" fmla="*/ 371538 w 374733"/>
                    <a:gd name="connsiteY911" fmla="*/ 473842 h 514541"/>
                    <a:gd name="connsiteX912" fmla="*/ 372467 w 374733"/>
                    <a:gd name="connsiteY912" fmla="*/ 473858 h 514541"/>
                    <a:gd name="connsiteX913" fmla="*/ 373299 w 374733"/>
                    <a:gd name="connsiteY913" fmla="*/ 474706 h 514541"/>
                    <a:gd name="connsiteX914" fmla="*/ 373502 w 374733"/>
                    <a:gd name="connsiteY914" fmla="*/ 476580 h 514541"/>
                    <a:gd name="connsiteX915" fmla="*/ 374268 w 374733"/>
                    <a:gd name="connsiteY915" fmla="*/ 479131 h 514541"/>
                    <a:gd name="connsiteX916" fmla="*/ 374733 w 374733"/>
                    <a:gd name="connsiteY916" fmla="*/ 481722 h 514541"/>
                    <a:gd name="connsiteX917" fmla="*/ 374358 w 374733"/>
                    <a:gd name="connsiteY917" fmla="*/ 484559 h 514541"/>
                    <a:gd name="connsiteX918" fmla="*/ 373991 w 374733"/>
                    <a:gd name="connsiteY918" fmla="*/ 486115 h 514541"/>
                    <a:gd name="connsiteX919" fmla="*/ 368311 w 374733"/>
                    <a:gd name="connsiteY919" fmla="*/ 497639 h 514541"/>
                    <a:gd name="connsiteX920" fmla="*/ 368914 w 374733"/>
                    <a:gd name="connsiteY920" fmla="*/ 499676 h 514541"/>
                    <a:gd name="connsiteX921" fmla="*/ 369061 w 374733"/>
                    <a:gd name="connsiteY921" fmla="*/ 500915 h 514541"/>
                    <a:gd name="connsiteX922" fmla="*/ 368890 w 374733"/>
                    <a:gd name="connsiteY922" fmla="*/ 502227 h 514541"/>
                    <a:gd name="connsiteX923" fmla="*/ 367088 w 374733"/>
                    <a:gd name="connsiteY923" fmla="*/ 507736 h 514541"/>
                    <a:gd name="connsiteX924" fmla="*/ 365344 w 374733"/>
                    <a:gd name="connsiteY924" fmla="*/ 511176 h 514541"/>
                    <a:gd name="connsiteX925" fmla="*/ 364407 w 374733"/>
                    <a:gd name="connsiteY925" fmla="*/ 512651 h 514541"/>
                    <a:gd name="connsiteX926" fmla="*/ 363291 w 374733"/>
                    <a:gd name="connsiteY926" fmla="*/ 513555 h 514541"/>
                    <a:gd name="connsiteX927" fmla="*/ 361995 w 374733"/>
                    <a:gd name="connsiteY927" fmla="*/ 513890 h 514541"/>
                    <a:gd name="connsiteX928" fmla="*/ 360838 w 374733"/>
                    <a:gd name="connsiteY928" fmla="*/ 513384 h 514541"/>
                    <a:gd name="connsiteX929" fmla="*/ 359819 w 374733"/>
                    <a:gd name="connsiteY929" fmla="*/ 512064 h 514541"/>
                    <a:gd name="connsiteX930" fmla="*/ 358914 w 374733"/>
                    <a:gd name="connsiteY930" fmla="*/ 511379 h 514541"/>
                    <a:gd name="connsiteX931" fmla="*/ 358132 w 374733"/>
                    <a:gd name="connsiteY931" fmla="*/ 511339 h 514541"/>
                    <a:gd name="connsiteX932" fmla="*/ 356681 w 374733"/>
                    <a:gd name="connsiteY932" fmla="*/ 511591 h 514541"/>
                    <a:gd name="connsiteX933" fmla="*/ 352851 w 374733"/>
                    <a:gd name="connsiteY933" fmla="*/ 514387 h 514541"/>
                    <a:gd name="connsiteX934" fmla="*/ 352069 w 374733"/>
                    <a:gd name="connsiteY934" fmla="*/ 514542 h 514541"/>
                    <a:gd name="connsiteX935" fmla="*/ 351523 w 374733"/>
                    <a:gd name="connsiteY935" fmla="*/ 514167 h 514541"/>
                    <a:gd name="connsiteX936" fmla="*/ 350862 w 374733"/>
                    <a:gd name="connsiteY936" fmla="*/ 512691 h 514541"/>
                    <a:gd name="connsiteX937" fmla="*/ 351384 w 374733"/>
                    <a:gd name="connsiteY937" fmla="*/ 505300 h 514541"/>
                    <a:gd name="connsiteX938" fmla="*/ 351726 w 374733"/>
                    <a:gd name="connsiteY938" fmla="*/ 502847 h 514541"/>
                    <a:gd name="connsiteX939" fmla="*/ 350960 w 374733"/>
                    <a:gd name="connsiteY939" fmla="*/ 500964 h 514541"/>
                    <a:gd name="connsiteX940" fmla="*/ 351775 w 374733"/>
                    <a:gd name="connsiteY940" fmla="*/ 497786 h 514541"/>
                    <a:gd name="connsiteX941" fmla="*/ 351800 w 374733"/>
                    <a:gd name="connsiteY941" fmla="*/ 496588 h 514541"/>
                    <a:gd name="connsiteX942" fmla="*/ 351335 w 374733"/>
                    <a:gd name="connsiteY942" fmla="*/ 496131 h 514541"/>
                    <a:gd name="connsiteX943" fmla="*/ 350365 w 374733"/>
                    <a:gd name="connsiteY943" fmla="*/ 496433 h 514541"/>
                    <a:gd name="connsiteX944" fmla="*/ 348906 w 374733"/>
                    <a:gd name="connsiteY944" fmla="*/ 498022 h 514541"/>
                    <a:gd name="connsiteX945" fmla="*/ 346942 w 374733"/>
                    <a:gd name="connsiteY945" fmla="*/ 500915 h 514541"/>
                    <a:gd name="connsiteX946" fmla="*/ 344823 w 374733"/>
                    <a:gd name="connsiteY946" fmla="*/ 503490 h 514541"/>
                    <a:gd name="connsiteX947" fmla="*/ 341107 w 374733"/>
                    <a:gd name="connsiteY947" fmla="*/ 507036 h 514541"/>
                    <a:gd name="connsiteX948" fmla="*/ 339453 w 374733"/>
                    <a:gd name="connsiteY948" fmla="*/ 507736 h 514541"/>
                    <a:gd name="connsiteX949" fmla="*/ 338801 w 374733"/>
                    <a:gd name="connsiteY949" fmla="*/ 507565 h 514541"/>
                    <a:gd name="connsiteX950" fmla="*/ 338043 w 374733"/>
                    <a:gd name="connsiteY950" fmla="*/ 507076 h 514541"/>
                    <a:gd name="connsiteX951" fmla="*/ 337024 w 374733"/>
                    <a:gd name="connsiteY951" fmla="*/ 505585 h 514541"/>
                    <a:gd name="connsiteX952" fmla="*/ 337032 w 374733"/>
                    <a:gd name="connsiteY952" fmla="*/ 504281 h 514541"/>
                    <a:gd name="connsiteX953" fmla="*/ 337480 w 374733"/>
                    <a:gd name="connsiteY953" fmla="*/ 502488 h 514541"/>
                    <a:gd name="connsiteX954" fmla="*/ 339029 w 374733"/>
                    <a:gd name="connsiteY954" fmla="*/ 498258 h 514541"/>
                    <a:gd name="connsiteX955" fmla="*/ 342061 w 374733"/>
                    <a:gd name="connsiteY955" fmla="*/ 491983 h 514541"/>
                    <a:gd name="connsiteX956" fmla="*/ 344571 w 374733"/>
                    <a:gd name="connsiteY956" fmla="*/ 487533 h 514541"/>
                    <a:gd name="connsiteX957" fmla="*/ 345060 w 374733"/>
                    <a:gd name="connsiteY957" fmla="*/ 485626 h 514541"/>
                    <a:gd name="connsiteX958" fmla="*/ 344359 w 374733"/>
                    <a:gd name="connsiteY958" fmla="*/ 484795 h 514541"/>
                    <a:gd name="connsiteX959" fmla="*/ 343797 w 374733"/>
                    <a:gd name="connsiteY959" fmla="*/ 483157 h 514541"/>
                    <a:gd name="connsiteX960" fmla="*/ 342827 w 374733"/>
                    <a:gd name="connsiteY960" fmla="*/ 478316 h 514541"/>
                    <a:gd name="connsiteX961" fmla="*/ 341604 w 374733"/>
                    <a:gd name="connsiteY961" fmla="*/ 474331 h 514541"/>
                    <a:gd name="connsiteX962" fmla="*/ 340162 w 374733"/>
                    <a:gd name="connsiteY962" fmla="*/ 472554 h 514541"/>
                    <a:gd name="connsiteX963" fmla="*/ 336576 w 374733"/>
                    <a:gd name="connsiteY963" fmla="*/ 470614 h 514541"/>
                    <a:gd name="connsiteX964" fmla="*/ 335916 w 374733"/>
                    <a:gd name="connsiteY964" fmla="*/ 471079 h 514541"/>
                    <a:gd name="connsiteX965" fmla="*/ 335533 w 374733"/>
                    <a:gd name="connsiteY965" fmla="*/ 473768 h 514541"/>
                    <a:gd name="connsiteX966" fmla="*/ 331295 w 374733"/>
                    <a:gd name="connsiteY966" fmla="*/ 481486 h 514541"/>
                    <a:gd name="connsiteX967" fmla="*/ 330553 w 374733"/>
                    <a:gd name="connsiteY967" fmla="*/ 484836 h 514541"/>
                    <a:gd name="connsiteX968" fmla="*/ 330024 w 374733"/>
                    <a:gd name="connsiteY968" fmla="*/ 486074 h 514541"/>
                    <a:gd name="connsiteX969" fmla="*/ 329225 w 374733"/>
                    <a:gd name="connsiteY969" fmla="*/ 486922 h 514541"/>
                    <a:gd name="connsiteX970" fmla="*/ 327383 w 374733"/>
                    <a:gd name="connsiteY970" fmla="*/ 487949 h 514541"/>
                    <a:gd name="connsiteX971" fmla="*/ 327880 w 374733"/>
                    <a:gd name="connsiteY971" fmla="*/ 486164 h 514541"/>
                    <a:gd name="connsiteX972" fmla="*/ 329844 w 374733"/>
                    <a:gd name="connsiteY972" fmla="*/ 482195 h 514541"/>
                    <a:gd name="connsiteX973" fmla="*/ 329575 w 374733"/>
                    <a:gd name="connsiteY973" fmla="*/ 481804 h 514541"/>
                    <a:gd name="connsiteX974" fmla="*/ 327081 w 374733"/>
                    <a:gd name="connsiteY974" fmla="*/ 484999 h 514541"/>
                    <a:gd name="connsiteX975" fmla="*/ 325183 w 374733"/>
                    <a:gd name="connsiteY975" fmla="*/ 486767 h 514541"/>
                    <a:gd name="connsiteX976" fmla="*/ 322860 w 374733"/>
                    <a:gd name="connsiteY976" fmla="*/ 487224 h 514541"/>
                    <a:gd name="connsiteX977" fmla="*/ 321458 w 374733"/>
                    <a:gd name="connsiteY977" fmla="*/ 487110 h 514541"/>
                    <a:gd name="connsiteX978" fmla="*/ 320089 w 374733"/>
                    <a:gd name="connsiteY978" fmla="*/ 487598 h 514541"/>
                    <a:gd name="connsiteX979" fmla="*/ 314294 w 374733"/>
                    <a:gd name="connsiteY979" fmla="*/ 495129 h 514541"/>
                    <a:gd name="connsiteX980" fmla="*/ 314075 w 374733"/>
                    <a:gd name="connsiteY980" fmla="*/ 497639 h 514541"/>
                    <a:gd name="connsiteX981" fmla="*/ 313064 w 374733"/>
                    <a:gd name="connsiteY981" fmla="*/ 499693 h 514541"/>
                    <a:gd name="connsiteX982" fmla="*/ 310203 w 374733"/>
                    <a:gd name="connsiteY982" fmla="*/ 503401 h 514541"/>
                    <a:gd name="connsiteX983" fmla="*/ 308696 w 374733"/>
                    <a:gd name="connsiteY983" fmla="*/ 504688 h 514541"/>
                    <a:gd name="connsiteX984" fmla="*/ 306577 w 374733"/>
                    <a:gd name="connsiteY984" fmla="*/ 504917 h 514541"/>
                    <a:gd name="connsiteX985" fmla="*/ 304645 w 374733"/>
                    <a:gd name="connsiteY985" fmla="*/ 504273 h 514541"/>
                    <a:gd name="connsiteX986" fmla="*/ 303374 w 374733"/>
                    <a:gd name="connsiteY986" fmla="*/ 504387 h 514541"/>
                    <a:gd name="connsiteX987" fmla="*/ 300350 w 374733"/>
                    <a:gd name="connsiteY987" fmla="*/ 505544 h 514541"/>
                    <a:gd name="connsiteX988" fmla="*/ 296976 w 374733"/>
                    <a:gd name="connsiteY988" fmla="*/ 506049 h 514541"/>
                    <a:gd name="connsiteX989" fmla="*/ 295583 w 374733"/>
                    <a:gd name="connsiteY989" fmla="*/ 505813 h 514541"/>
                    <a:gd name="connsiteX990" fmla="*/ 294694 w 374733"/>
                    <a:gd name="connsiteY990" fmla="*/ 505332 h 514541"/>
                    <a:gd name="connsiteX991" fmla="*/ 292975 w 374733"/>
                    <a:gd name="connsiteY991" fmla="*/ 503890 h 514541"/>
                    <a:gd name="connsiteX992" fmla="*/ 292771 w 374733"/>
                    <a:gd name="connsiteY992" fmla="*/ 502871 h 514541"/>
                    <a:gd name="connsiteX993" fmla="*/ 292861 w 374733"/>
                    <a:gd name="connsiteY993" fmla="*/ 502276 h 514541"/>
                    <a:gd name="connsiteX994" fmla="*/ 293733 w 374733"/>
                    <a:gd name="connsiteY994" fmla="*/ 500728 h 514541"/>
                    <a:gd name="connsiteX995" fmla="*/ 295738 w 374733"/>
                    <a:gd name="connsiteY995" fmla="*/ 498772 h 514541"/>
                    <a:gd name="connsiteX996" fmla="*/ 297392 w 374733"/>
                    <a:gd name="connsiteY996" fmla="*/ 498046 h 514541"/>
                    <a:gd name="connsiteX997" fmla="*/ 301402 w 374733"/>
                    <a:gd name="connsiteY997" fmla="*/ 497060 h 514541"/>
                    <a:gd name="connsiteX998" fmla="*/ 304344 w 374733"/>
                    <a:gd name="connsiteY998" fmla="*/ 495593 h 514541"/>
                    <a:gd name="connsiteX999" fmla="*/ 306585 w 374733"/>
                    <a:gd name="connsiteY999" fmla="*/ 493426 h 514541"/>
                    <a:gd name="connsiteX1000" fmla="*/ 307587 w 374733"/>
                    <a:gd name="connsiteY1000" fmla="*/ 492105 h 514541"/>
                    <a:gd name="connsiteX1001" fmla="*/ 311809 w 374733"/>
                    <a:gd name="connsiteY1001" fmla="*/ 485308 h 514541"/>
                    <a:gd name="connsiteX1002" fmla="*/ 317147 w 374733"/>
                    <a:gd name="connsiteY1002" fmla="*/ 482912 h 514541"/>
                    <a:gd name="connsiteX1003" fmla="*/ 319779 w 374733"/>
                    <a:gd name="connsiteY1003" fmla="*/ 480948 h 514541"/>
                    <a:gd name="connsiteX1004" fmla="*/ 321621 w 374733"/>
                    <a:gd name="connsiteY1004" fmla="*/ 478471 h 514541"/>
                    <a:gd name="connsiteX1005" fmla="*/ 321890 w 374733"/>
                    <a:gd name="connsiteY1005" fmla="*/ 477599 h 514541"/>
                    <a:gd name="connsiteX1006" fmla="*/ 319250 w 374733"/>
                    <a:gd name="connsiteY1006" fmla="*/ 478854 h 514541"/>
                    <a:gd name="connsiteX1007" fmla="*/ 317889 w 374733"/>
                    <a:gd name="connsiteY1007" fmla="*/ 479163 h 514541"/>
                    <a:gd name="connsiteX1008" fmla="*/ 315680 w 374733"/>
                    <a:gd name="connsiteY1008" fmla="*/ 478699 h 514541"/>
                    <a:gd name="connsiteX1009" fmla="*/ 314694 w 374733"/>
                    <a:gd name="connsiteY1009" fmla="*/ 477851 h 514541"/>
                    <a:gd name="connsiteX1010" fmla="*/ 311670 w 374733"/>
                    <a:gd name="connsiteY1010" fmla="*/ 478120 h 514541"/>
                    <a:gd name="connsiteX1011" fmla="*/ 307457 w 374733"/>
                    <a:gd name="connsiteY1011" fmla="*/ 477729 h 514541"/>
                    <a:gd name="connsiteX1012" fmla="*/ 306854 w 374733"/>
                    <a:gd name="connsiteY1012" fmla="*/ 478381 h 514541"/>
                    <a:gd name="connsiteX1013" fmla="*/ 306308 w 374733"/>
                    <a:gd name="connsiteY1013" fmla="*/ 481690 h 514541"/>
                    <a:gd name="connsiteX1014" fmla="*/ 305762 w 374733"/>
                    <a:gd name="connsiteY1014" fmla="*/ 483450 h 514541"/>
                    <a:gd name="connsiteX1015" fmla="*/ 305118 w 374733"/>
                    <a:gd name="connsiteY1015" fmla="*/ 484037 h 514541"/>
                    <a:gd name="connsiteX1016" fmla="*/ 304172 w 374733"/>
                    <a:gd name="connsiteY1016" fmla="*/ 484387 h 514541"/>
                    <a:gd name="connsiteX1017" fmla="*/ 302249 w 374733"/>
                    <a:gd name="connsiteY1017" fmla="*/ 484738 h 514541"/>
                    <a:gd name="connsiteX1018" fmla="*/ 297327 w 374733"/>
                    <a:gd name="connsiteY1018" fmla="*/ 483556 h 514541"/>
                    <a:gd name="connsiteX1019" fmla="*/ 296414 w 374733"/>
                    <a:gd name="connsiteY1019" fmla="*/ 482904 h 514541"/>
                    <a:gd name="connsiteX1020" fmla="*/ 295159 w 374733"/>
                    <a:gd name="connsiteY1020" fmla="*/ 482415 h 514541"/>
                    <a:gd name="connsiteX1021" fmla="*/ 289723 w 374733"/>
                    <a:gd name="connsiteY1021" fmla="*/ 483491 h 514541"/>
                    <a:gd name="connsiteX1022" fmla="*/ 288590 w 374733"/>
                    <a:gd name="connsiteY1022" fmla="*/ 483393 h 514541"/>
                    <a:gd name="connsiteX1023" fmla="*/ 289666 w 374733"/>
                    <a:gd name="connsiteY1023" fmla="*/ 482619 h 514541"/>
                    <a:gd name="connsiteX1024" fmla="*/ 295037 w 374733"/>
                    <a:gd name="connsiteY1024" fmla="*/ 480190 h 514541"/>
                    <a:gd name="connsiteX1025" fmla="*/ 295599 w 374733"/>
                    <a:gd name="connsiteY1025" fmla="*/ 473198 h 514541"/>
                    <a:gd name="connsiteX1026" fmla="*/ 295257 w 374733"/>
                    <a:gd name="connsiteY1026" fmla="*/ 472073 h 514541"/>
                    <a:gd name="connsiteX1027" fmla="*/ 293757 w 374733"/>
                    <a:gd name="connsiteY1027" fmla="*/ 473051 h 514541"/>
                    <a:gd name="connsiteX1028" fmla="*/ 291231 w 374733"/>
                    <a:gd name="connsiteY1028" fmla="*/ 474070 h 514541"/>
                    <a:gd name="connsiteX1029" fmla="*/ 289511 w 374733"/>
                    <a:gd name="connsiteY1029" fmla="*/ 473777 h 514541"/>
                    <a:gd name="connsiteX1030" fmla="*/ 288721 w 374733"/>
                    <a:gd name="connsiteY1030" fmla="*/ 473157 h 514541"/>
                    <a:gd name="connsiteX1031" fmla="*/ 287995 w 374733"/>
                    <a:gd name="connsiteY1031" fmla="*/ 473679 h 514541"/>
                    <a:gd name="connsiteX1032" fmla="*/ 286243 w 374733"/>
                    <a:gd name="connsiteY1032" fmla="*/ 477371 h 514541"/>
                    <a:gd name="connsiteX1033" fmla="*/ 285208 w 374733"/>
                    <a:gd name="connsiteY1033" fmla="*/ 477835 h 514541"/>
                    <a:gd name="connsiteX1034" fmla="*/ 283652 w 374733"/>
                    <a:gd name="connsiteY1034" fmla="*/ 477982 h 514541"/>
                    <a:gd name="connsiteX1035" fmla="*/ 280335 w 374733"/>
                    <a:gd name="connsiteY1035" fmla="*/ 479327 h 514541"/>
                    <a:gd name="connsiteX1036" fmla="*/ 273815 w 374733"/>
                    <a:gd name="connsiteY1036" fmla="*/ 480207 h 514541"/>
                    <a:gd name="connsiteX1037" fmla="*/ 272535 w 374733"/>
                    <a:gd name="connsiteY1037" fmla="*/ 481185 h 514541"/>
                    <a:gd name="connsiteX1038" fmla="*/ 268110 w 374733"/>
                    <a:gd name="connsiteY1038" fmla="*/ 480842 h 514541"/>
                    <a:gd name="connsiteX1039" fmla="*/ 255185 w 374733"/>
                    <a:gd name="connsiteY1039" fmla="*/ 478821 h 514541"/>
                    <a:gd name="connsiteX1040" fmla="*/ 250564 w 374733"/>
                    <a:gd name="connsiteY1040" fmla="*/ 479025 h 514541"/>
                    <a:gd name="connsiteX1041" fmla="*/ 244997 w 374733"/>
                    <a:gd name="connsiteY1041" fmla="*/ 477794 h 514541"/>
                    <a:gd name="connsiteX1042" fmla="*/ 243970 w 374733"/>
                    <a:gd name="connsiteY1042" fmla="*/ 477256 h 514541"/>
                    <a:gd name="connsiteX1043" fmla="*/ 236188 w 374733"/>
                    <a:gd name="connsiteY1043" fmla="*/ 477468 h 514541"/>
                    <a:gd name="connsiteX1044" fmla="*/ 233857 w 374733"/>
                    <a:gd name="connsiteY1044" fmla="*/ 477183 h 514541"/>
                    <a:gd name="connsiteX1045" fmla="*/ 234012 w 374733"/>
                    <a:gd name="connsiteY1045" fmla="*/ 475643 h 514541"/>
                    <a:gd name="connsiteX1046" fmla="*/ 233767 w 374733"/>
                    <a:gd name="connsiteY1046" fmla="*/ 475252 h 514541"/>
                    <a:gd name="connsiteX1047" fmla="*/ 231501 w 374733"/>
                    <a:gd name="connsiteY1047" fmla="*/ 476947 h 514541"/>
                    <a:gd name="connsiteX1048" fmla="*/ 229497 w 374733"/>
                    <a:gd name="connsiteY1048" fmla="*/ 478055 h 514541"/>
                    <a:gd name="connsiteX1049" fmla="*/ 226913 w 374733"/>
                    <a:gd name="connsiteY1049" fmla="*/ 478992 h 514541"/>
                    <a:gd name="connsiteX1050" fmla="*/ 218780 w 374733"/>
                    <a:gd name="connsiteY1050" fmla="*/ 480630 h 514541"/>
                    <a:gd name="connsiteX1051" fmla="*/ 214411 w 374733"/>
                    <a:gd name="connsiteY1051" fmla="*/ 480981 h 514541"/>
                    <a:gd name="connsiteX1052" fmla="*/ 211877 w 374733"/>
                    <a:gd name="connsiteY1052" fmla="*/ 479840 h 514541"/>
                    <a:gd name="connsiteX1053" fmla="*/ 210874 w 374733"/>
                    <a:gd name="connsiteY1053" fmla="*/ 478707 h 514541"/>
                    <a:gd name="connsiteX1054" fmla="*/ 209359 w 374733"/>
                    <a:gd name="connsiteY1054" fmla="*/ 475032 h 514541"/>
                    <a:gd name="connsiteX1055" fmla="*/ 208332 w 374733"/>
                    <a:gd name="connsiteY1055" fmla="*/ 470427 h 514541"/>
                    <a:gd name="connsiteX1056" fmla="*/ 208340 w 374733"/>
                    <a:gd name="connsiteY1056" fmla="*/ 469588 h 514541"/>
                    <a:gd name="connsiteX1057" fmla="*/ 208862 w 374733"/>
                    <a:gd name="connsiteY1057" fmla="*/ 467990 h 514541"/>
                    <a:gd name="connsiteX1058" fmla="*/ 210565 w 374733"/>
                    <a:gd name="connsiteY1058" fmla="*/ 465765 h 514541"/>
                    <a:gd name="connsiteX1059" fmla="*/ 218283 w 374733"/>
                    <a:gd name="connsiteY1059" fmla="*/ 459881 h 514541"/>
                    <a:gd name="connsiteX1060" fmla="*/ 224485 w 374733"/>
                    <a:gd name="connsiteY1060" fmla="*/ 453932 h 514541"/>
                    <a:gd name="connsiteX1061" fmla="*/ 227101 w 374733"/>
                    <a:gd name="connsiteY1061" fmla="*/ 450827 h 514541"/>
                    <a:gd name="connsiteX1062" fmla="*/ 229643 w 374733"/>
                    <a:gd name="connsiteY1062" fmla="*/ 449718 h 514541"/>
                    <a:gd name="connsiteX1063" fmla="*/ 233783 w 374733"/>
                    <a:gd name="connsiteY1063" fmla="*/ 447151 h 514541"/>
                    <a:gd name="connsiteX1064" fmla="*/ 233914 w 374733"/>
                    <a:gd name="connsiteY1064" fmla="*/ 446842 h 514541"/>
                    <a:gd name="connsiteX1065" fmla="*/ 229896 w 374733"/>
                    <a:gd name="connsiteY1065" fmla="*/ 447168 h 514541"/>
                    <a:gd name="connsiteX1066" fmla="*/ 227068 w 374733"/>
                    <a:gd name="connsiteY1066" fmla="*/ 446459 h 514541"/>
                    <a:gd name="connsiteX1067" fmla="*/ 224183 w 374733"/>
                    <a:gd name="connsiteY1067" fmla="*/ 446173 h 514541"/>
                    <a:gd name="connsiteX1068" fmla="*/ 218698 w 374733"/>
                    <a:gd name="connsiteY1068" fmla="*/ 446858 h 514541"/>
                    <a:gd name="connsiteX1069" fmla="*/ 213164 w 374733"/>
                    <a:gd name="connsiteY1069" fmla="*/ 446858 h 514541"/>
                    <a:gd name="connsiteX1070" fmla="*/ 213148 w 374733"/>
                    <a:gd name="connsiteY1070" fmla="*/ 445538 h 514541"/>
                    <a:gd name="connsiteX1071" fmla="*/ 215732 w 374733"/>
                    <a:gd name="connsiteY1071" fmla="*/ 443036 h 514541"/>
                    <a:gd name="connsiteX1072" fmla="*/ 221225 w 374733"/>
                    <a:gd name="connsiteY1072" fmla="*/ 438757 h 514541"/>
                    <a:gd name="connsiteX1073" fmla="*/ 221787 w 374733"/>
                    <a:gd name="connsiteY1073" fmla="*/ 438741 h 514541"/>
                    <a:gd name="connsiteX1074" fmla="*/ 220100 w 374733"/>
                    <a:gd name="connsiteY1074" fmla="*/ 440738 h 514541"/>
                    <a:gd name="connsiteX1075" fmla="*/ 219619 w 374733"/>
                    <a:gd name="connsiteY1075" fmla="*/ 442229 h 514541"/>
                    <a:gd name="connsiteX1076" fmla="*/ 220344 w 374733"/>
                    <a:gd name="connsiteY1076" fmla="*/ 443223 h 514541"/>
                    <a:gd name="connsiteX1077" fmla="*/ 221184 w 374733"/>
                    <a:gd name="connsiteY1077" fmla="*/ 443851 h 514541"/>
                    <a:gd name="connsiteX1078" fmla="*/ 224330 w 374733"/>
                    <a:gd name="connsiteY1078" fmla="*/ 444112 h 514541"/>
                    <a:gd name="connsiteX1079" fmla="*/ 225055 w 374733"/>
                    <a:gd name="connsiteY1079" fmla="*/ 443248 h 514541"/>
                    <a:gd name="connsiteX1080" fmla="*/ 226196 w 374733"/>
                    <a:gd name="connsiteY1080" fmla="*/ 438659 h 514541"/>
                    <a:gd name="connsiteX1081" fmla="*/ 228576 w 374733"/>
                    <a:gd name="connsiteY1081" fmla="*/ 433329 h 514541"/>
                    <a:gd name="connsiteX1082" fmla="*/ 229863 w 374733"/>
                    <a:gd name="connsiteY1082" fmla="*/ 429491 h 514541"/>
                    <a:gd name="connsiteX1083" fmla="*/ 232096 w 374733"/>
                    <a:gd name="connsiteY1083" fmla="*/ 426557 h 514541"/>
                    <a:gd name="connsiteX1084" fmla="*/ 233221 w 374733"/>
                    <a:gd name="connsiteY1084" fmla="*/ 426117 h 514541"/>
                    <a:gd name="connsiteX1085" fmla="*/ 234207 w 374733"/>
                    <a:gd name="connsiteY1085" fmla="*/ 426663 h 514541"/>
                    <a:gd name="connsiteX1086" fmla="*/ 237492 w 374733"/>
                    <a:gd name="connsiteY1086" fmla="*/ 427372 h 514541"/>
                    <a:gd name="connsiteX1087" fmla="*/ 240882 w 374733"/>
                    <a:gd name="connsiteY1087" fmla="*/ 430061 h 514541"/>
                    <a:gd name="connsiteX1088" fmla="*/ 241974 w 374733"/>
                    <a:gd name="connsiteY1088" fmla="*/ 430281 h 514541"/>
                    <a:gd name="connsiteX1089" fmla="*/ 242349 w 374733"/>
                    <a:gd name="connsiteY1089" fmla="*/ 430037 h 514541"/>
                    <a:gd name="connsiteX1090" fmla="*/ 241110 w 374733"/>
                    <a:gd name="connsiteY1090" fmla="*/ 429246 h 514541"/>
                    <a:gd name="connsiteX1091" fmla="*/ 240091 w 374733"/>
                    <a:gd name="connsiteY1091" fmla="*/ 427983 h 514541"/>
                    <a:gd name="connsiteX1092" fmla="*/ 239668 w 374733"/>
                    <a:gd name="connsiteY1092" fmla="*/ 426801 h 514541"/>
                    <a:gd name="connsiteX1093" fmla="*/ 240906 w 374733"/>
                    <a:gd name="connsiteY1093" fmla="*/ 423085 h 514541"/>
                    <a:gd name="connsiteX1094" fmla="*/ 242357 w 374733"/>
                    <a:gd name="connsiteY1094" fmla="*/ 422018 h 514541"/>
                    <a:gd name="connsiteX1095" fmla="*/ 242618 w 374733"/>
                    <a:gd name="connsiteY1095" fmla="*/ 421284 h 514541"/>
                    <a:gd name="connsiteX1096" fmla="*/ 239724 w 374733"/>
                    <a:gd name="connsiteY1096" fmla="*/ 421268 h 514541"/>
                    <a:gd name="connsiteX1097" fmla="*/ 237394 w 374733"/>
                    <a:gd name="connsiteY1097" fmla="*/ 420233 h 514541"/>
                    <a:gd name="connsiteX1098" fmla="*/ 236701 w 374733"/>
                    <a:gd name="connsiteY1098" fmla="*/ 418546 h 514541"/>
                    <a:gd name="connsiteX1099" fmla="*/ 236839 w 374733"/>
                    <a:gd name="connsiteY1099" fmla="*/ 415587 h 514541"/>
                    <a:gd name="connsiteX1100" fmla="*/ 237605 w 374733"/>
                    <a:gd name="connsiteY1100" fmla="*/ 413819 h 514541"/>
                    <a:gd name="connsiteX1101" fmla="*/ 239472 w 374733"/>
                    <a:gd name="connsiteY1101" fmla="*/ 411488 h 514541"/>
                    <a:gd name="connsiteX1102" fmla="*/ 241746 w 374733"/>
                    <a:gd name="connsiteY1102" fmla="*/ 409932 h 514541"/>
                    <a:gd name="connsiteX1103" fmla="*/ 243107 w 374733"/>
                    <a:gd name="connsiteY1103" fmla="*/ 410331 h 514541"/>
                    <a:gd name="connsiteX1104" fmla="*/ 245715 w 374733"/>
                    <a:gd name="connsiteY1104" fmla="*/ 412425 h 514541"/>
                    <a:gd name="connsiteX1105" fmla="*/ 247312 w 374733"/>
                    <a:gd name="connsiteY1105" fmla="*/ 411839 h 514541"/>
                    <a:gd name="connsiteX1106" fmla="*/ 247124 w 374733"/>
                    <a:gd name="connsiteY1106" fmla="*/ 411162 h 514541"/>
                    <a:gd name="connsiteX1107" fmla="*/ 244680 w 374733"/>
                    <a:gd name="connsiteY1107" fmla="*/ 407829 h 514541"/>
                    <a:gd name="connsiteX1108" fmla="*/ 243897 w 374733"/>
                    <a:gd name="connsiteY1108" fmla="*/ 405351 h 514541"/>
                    <a:gd name="connsiteX1109" fmla="*/ 243962 w 374733"/>
                    <a:gd name="connsiteY1109" fmla="*/ 404178 h 514541"/>
                    <a:gd name="connsiteX1110" fmla="*/ 249260 w 374733"/>
                    <a:gd name="connsiteY1110" fmla="*/ 392377 h 514541"/>
                    <a:gd name="connsiteX1111" fmla="*/ 251851 w 374733"/>
                    <a:gd name="connsiteY1111" fmla="*/ 386036 h 514541"/>
                    <a:gd name="connsiteX1112" fmla="*/ 255380 w 374733"/>
                    <a:gd name="connsiteY1112" fmla="*/ 376355 h 514541"/>
                    <a:gd name="connsiteX1113" fmla="*/ 256203 w 374733"/>
                    <a:gd name="connsiteY1113" fmla="*/ 374823 h 514541"/>
                    <a:gd name="connsiteX1114" fmla="*/ 257988 w 374733"/>
                    <a:gd name="connsiteY1114" fmla="*/ 371962 h 514541"/>
                    <a:gd name="connsiteX1115" fmla="*/ 258730 w 374733"/>
                    <a:gd name="connsiteY1115" fmla="*/ 371180 h 514541"/>
                    <a:gd name="connsiteX1116" fmla="*/ 261044 w 374733"/>
                    <a:gd name="connsiteY1116" fmla="*/ 371180 h 514541"/>
                    <a:gd name="connsiteX1117" fmla="*/ 262478 w 374733"/>
                    <a:gd name="connsiteY1117" fmla="*/ 370837 h 514541"/>
                    <a:gd name="connsiteX1118" fmla="*/ 260384 w 374733"/>
                    <a:gd name="connsiteY1118" fmla="*/ 369574 h 514541"/>
                    <a:gd name="connsiteX1119" fmla="*/ 259634 w 374733"/>
                    <a:gd name="connsiteY1119" fmla="*/ 368694 h 514541"/>
                    <a:gd name="connsiteX1120" fmla="*/ 259536 w 374733"/>
                    <a:gd name="connsiteY1120" fmla="*/ 367757 h 514541"/>
                    <a:gd name="connsiteX1121" fmla="*/ 260107 w 374733"/>
                    <a:gd name="connsiteY1121" fmla="*/ 366787 h 514541"/>
                    <a:gd name="connsiteX1122" fmla="*/ 260922 w 374733"/>
                    <a:gd name="connsiteY1122" fmla="*/ 366070 h 514541"/>
                    <a:gd name="connsiteX1123" fmla="*/ 263669 w 374733"/>
                    <a:gd name="connsiteY1123" fmla="*/ 364505 h 514541"/>
                    <a:gd name="connsiteX1124" fmla="*/ 265608 w 374733"/>
                    <a:gd name="connsiteY1124" fmla="*/ 361938 h 514541"/>
                    <a:gd name="connsiteX1125" fmla="*/ 266790 w 374733"/>
                    <a:gd name="connsiteY1125" fmla="*/ 358914 h 514541"/>
                    <a:gd name="connsiteX1126" fmla="*/ 266619 w 374733"/>
                    <a:gd name="connsiteY1126" fmla="*/ 357887 h 514541"/>
                    <a:gd name="connsiteX1127" fmla="*/ 266007 w 374733"/>
                    <a:gd name="connsiteY1127" fmla="*/ 356860 h 514541"/>
                    <a:gd name="connsiteX1128" fmla="*/ 266040 w 374733"/>
                    <a:gd name="connsiteY1128" fmla="*/ 356306 h 514541"/>
                    <a:gd name="connsiteX1129" fmla="*/ 267523 w 374733"/>
                    <a:gd name="connsiteY1129" fmla="*/ 355679 h 514541"/>
                    <a:gd name="connsiteX1130" fmla="*/ 271272 w 374733"/>
                    <a:gd name="connsiteY1130" fmla="*/ 352085 h 514541"/>
                    <a:gd name="connsiteX1131" fmla="*/ 271761 w 374733"/>
                    <a:gd name="connsiteY1131" fmla="*/ 351392 h 514541"/>
                    <a:gd name="connsiteX1132" fmla="*/ 273130 w 374733"/>
                    <a:gd name="connsiteY1132" fmla="*/ 346592 h 514541"/>
                    <a:gd name="connsiteX1133" fmla="*/ 274817 w 374733"/>
                    <a:gd name="connsiteY1133" fmla="*/ 344457 h 514541"/>
                    <a:gd name="connsiteX1134" fmla="*/ 276390 w 374733"/>
                    <a:gd name="connsiteY1134" fmla="*/ 343365 h 514541"/>
                    <a:gd name="connsiteX1135" fmla="*/ 278900 w 374733"/>
                    <a:gd name="connsiteY1135" fmla="*/ 342003 h 514541"/>
                    <a:gd name="connsiteX1136" fmla="*/ 286602 w 374733"/>
                    <a:gd name="connsiteY1136" fmla="*/ 338711 h 514541"/>
                    <a:gd name="connsiteX1137" fmla="*/ 291108 w 374733"/>
                    <a:gd name="connsiteY1137" fmla="*/ 335769 h 514541"/>
                    <a:gd name="connsiteX1138" fmla="*/ 294165 w 374733"/>
                    <a:gd name="connsiteY1138" fmla="*/ 335940 h 514541"/>
                    <a:gd name="connsiteX1139" fmla="*/ 295069 w 374733"/>
                    <a:gd name="connsiteY1139" fmla="*/ 337986 h 514541"/>
                    <a:gd name="connsiteX1140" fmla="*/ 299421 w 374733"/>
                    <a:gd name="connsiteY1140" fmla="*/ 339347 h 514541"/>
                    <a:gd name="connsiteX1141" fmla="*/ 300187 w 374733"/>
                    <a:gd name="connsiteY1141" fmla="*/ 337888 h 514541"/>
                    <a:gd name="connsiteX1142" fmla="*/ 299169 w 374733"/>
                    <a:gd name="connsiteY1142" fmla="*/ 336095 h 514541"/>
                    <a:gd name="connsiteX1143" fmla="*/ 300016 w 374733"/>
                    <a:gd name="connsiteY1143" fmla="*/ 335378 h 514541"/>
                    <a:gd name="connsiteX1144" fmla="*/ 303610 w 374733"/>
                    <a:gd name="connsiteY1144" fmla="*/ 334726 h 514541"/>
                    <a:gd name="connsiteX1145" fmla="*/ 304238 w 374733"/>
                    <a:gd name="connsiteY1145" fmla="*/ 334970 h 514541"/>
                    <a:gd name="connsiteX1146" fmla="*/ 305305 w 374733"/>
                    <a:gd name="connsiteY1146" fmla="*/ 335989 h 514541"/>
                    <a:gd name="connsiteX1147" fmla="*/ 305061 w 374733"/>
                    <a:gd name="connsiteY1147" fmla="*/ 336894 h 514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Lst>
                  <a:rect l="l" t="t" r="r" b="b"/>
                  <a:pathLst>
                    <a:path w="374733" h="514541">
                      <a:moveTo>
                        <a:pt x="74154" y="11809"/>
                      </a:moveTo>
                      <a:lnTo>
                        <a:pt x="75043" y="12396"/>
                      </a:lnTo>
                      <a:lnTo>
                        <a:pt x="79346" y="10562"/>
                      </a:lnTo>
                      <a:lnTo>
                        <a:pt x="83095" y="9714"/>
                      </a:lnTo>
                      <a:lnTo>
                        <a:pt x="86175" y="9747"/>
                      </a:lnTo>
                      <a:lnTo>
                        <a:pt x="88669" y="13382"/>
                      </a:lnTo>
                      <a:lnTo>
                        <a:pt x="89020" y="18418"/>
                      </a:lnTo>
                      <a:lnTo>
                        <a:pt x="87593" y="22615"/>
                      </a:lnTo>
                      <a:lnTo>
                        <a:pt x="89468" y="20529"/>
                      </a:lnTo>
                      <a:lnTo>
                        <a:pt x="91815" y="19380"/>
                      </a:lnTo>
                      <a:lnTo>
                        <a:pt x="93730" y="22118"/>
                      </a:lnTo>
                      <a:lnTo>
                        <a:pt x="93958" y="24351"/>
                      </a:lnTo>
                      <a:lnTo>
                        <a:pt x="94969" y="26446"/>
                      </a:lnTo>
                      <a:lnTo>
                        <a:pt x="97145" y="29258"/>
                      </a:lnTo>
                      <a:lnTo>
                        <a:pt x="99402" y="31711"/>
                      </a:lnTo>
                      <a:lnTo>
                        <a:pt x="96917" y="34278"/>
                      </a:lnTo>
                      <a:lnTo>
                        <a:pt x="93934" y="35818"/>
                      </a:lnTo>
                      <a:lnTo>
                        <a:pt x="94562" y="36967"/>
                      </a:lnTo>
                      <a:lnTo>
                        <a:pt x="98644" y="38190"/>
                      </a:lnTo>
                      <a:lnTo>
                        <a:pt x="99191" y="39404"/>
                      </a:lnTo>
                      <a:lnTo>
                        <a:pt x="98759" y="41050"/>
                      </a:lnTo>
                      <a:lnTo>
                        <a:pt x="99353" y="41034"/>
                      </a:lnTo>
                      <a:lnTo>
                        <a:pt x="102190" y="38499"/>
                      </a:lnTo>
                      <a:lnTo>
                        <a:pt x="104610" y="38842"/>
                      </a:lnTo>
                      <a:lnTo>
                        <a:pt x="107699" y="44326"/>
                      </a:lnTo>
                      <a:lnTo>
                        <a:pt x="105450" y="47456"/>
                      </a:lnTo>
                      <a:lnTo>
                        <a:pt x="101994" y="48898"/>
                      </a:lnTo>
                      <a:lnTo>
                        <a:pt x="99248" y="49501"/>
                      </a:lnTo>
                      <a:lnTo>
                        <a:pt x="95425" y="49420"/>
                      </a:lnTo>
                      <a:lnTo>
                        <a:pt x="93918" y="49893"/>
                      </a:lnTo>
                      <a:lnTo>
                        <a:pt x="94668" y="50928"/>
                      </a:lnTo>
                      <a:lnTo>
                        <a:pt x="98327" y="50944"/>
                      </a:lnTo>
                      <a:lnTo>
                        <a:pt x="103926" y="50153"/>
                      </a:lnTo>
                      <a:lnTo>
                        <a:pt x="108122" y="48858"/>
                      </a:lnTo>
                      <a:lnTo>
                        <a:pt x="109940" y="48784"/>
                      </a:lnTo>
                      <a:lnTo>
                        <a:pt x="111855" y="49306"/>
                      </a:lnTo>
                      <a:lnTo>
                        <a:pt x="112499" y="49746"/>
                      </a:lnTo>
                      <a:lnTo>
                        <a:pt x="110486" y="50642"/>
                      </a:lnTo>
                      <a:lnTo>
                        <a:pt x="110331" y="50960"/>
                      </a:lnTo>
                      <a:lnTo>
                        <a:pt x="111089" y="51881"/>
                      </a:lnTo>
                      <a:lnTo>
                        <a:pt x="112654" y="54848"/>
                      </a:lnTo>
                      <a:lnTo>
                        <a:pt x="112515" y="55524"/>
                      </a:lnTo>
                      <a:lnTo>
                        <a:pt x="111024" y="57244"/>
                      </a:lnTo>
                      <a:lnTo>
                        <a:pt x="113428" y="57619"/>
                      </a:lnTo>
                      <a:lnTo>
                        <a:pt x="116769" y="56812"/>
                      </a:lnTo>
                      <a:lnTo>
                        <a:pt x="117813" y="57716"/>
                      </a:lnTo>
                      <a:lnTo>
                        <a:pt x="119850" y="61286"/>
                      </a:lnTo>
                      <a:lnTo>
                        <a:pt x="121146" y="64937"/>
                      </a:lnTo>
                      <a:lnTo>
                        <a:pt x="115482" y="69925"/>
                      </a:lnTo>
                      <a:lnTo>
                        <a:pt x="112597" y="70960"/>
                      </a:lnTo>
                      <a:lnTo>
                        <a:pt x="108351" y="73592"/>
                      </a:lnTo>
                      <a:lnTo>
                        <a:pt x="107161" y="75695"/>
                      </a:lnTo>
                      <a:lnTo>
                        <a:pt x="104700" y="78409"/>
                      </a:lnTo>
                      <a:lnTo>
                        <a:pt x="106273" y="78376"/>
                      </a:lnTo>
                      <a:lnTo>
                        <a:pt x="110674" y="74040"/>
                      </a:lnTo>
                      <a:lnTo>
                        <a:pt x="112817" y="73030"/>
                      </a:lnTo>
                      <a:lnTo>
                        <a:pt x="114414" y="73274"/>
                      </a:lnTo>
                      <a:lnTo>
                        <a:pt x="115058" y="74016"/>
                      </a:lnTo>
                      <a:lnTo>
                        <a:pt x="114748" y="75230"/>
                      </a:lnTo>
                      <a:lnTo>
                        <a:pt x="116150" y="75075"/>
                      </a:lnTo>
                      <a:lnTo>
                        <a:pt x="122059" y="72533"/>
                      </a:lnTo>
                      <a:lnTo>
                        <a:pt x="124536" y="72035"/>
                      </a:lnTo>
                      <a:lnTo>
                        <a:pt x="127747" y="71864"/>
                      </a:lnTo>
                      <a:lnTo>
                        <a:pt x="128098" y="72744"/>
                      </a:lnTo>
                      <a:lnTo>
                        <a:pt x="126101" y="78824"/>
                      </a:lnTo>
                      <a:lnTo>
                        <a:pt x="122686" y="83486"/>
                      </a:lnTo>
                      <a:lnTo>
                        <a:pt x="116468" y="86363"/>
                      </a:lnTo>
                      <a:lnTo>
                        <a:pt x="114259" y="88042"/>
                      </a:lnTo>
                      <a:lnTo>
                        <a:pt x="111537" y="90764"/>
                      </a:lnTo>
                      <a:lnTo>
                        <a:pt x="112564" y="91261"/>
                      </a:lnTo>
                      <a:lnTo>
                        <a:pt x="118497" y="87691"/>
                      </a:lnTo>
                      <a:lnTo>
                        <a:pt x="122548" y="86281"/>
                      </a:lnTo>
                      <a:lnTo>
                        <a:pt x="128244" y="85148"/>
                      </a:lnTo>
                      <a:lnTo>
                        <a:pt x="130771" y="85303"/>
                      </a:lnTo>
                      <a:lnTo>
                        <a:pt x="135253" y="92426"/>
                      </a:lnTo>
                      <a:lnTo>
                        <a:pt x="137828" y="93111"/>
                      </a:lnTo>
                      <a:lnTo>
                        <a:pt x="139915" y="92744"/>
                      </a:lnTo>
                      <a:lnTo>
                        <a:pt x="143851" y="94790"/>
                      </a:lnTo>
                      <a:lnTo>
                        <a:pt x="145334" y="96762"/>
                      </a:lnTo>
                      <a:lnTo>
                        <a:pt x="144959" y="98180"/>
                      </a:lnTo>
                      <a:lnTo>
                        <a:pt x="143623" y="99027"/>
                      </a:lnTo>
                      <a:lnTo>
                        <a:pt x="142955" y="100356"/>
                      </a:lnTo>
                      <a:lnTo>
                        <a:pt x="144527" y="104284"/>
                      </a:lnTo>
                      <a:lnTo>
                        <a:pt x="143615" y="106493"/>
                      </a:lnTo>
                      <a:lnTo>
                        <a:pt x="140738" y="108448"/>
                      </a:lnTo>
                      <a:lnTo>
                        <a:pt x="138684" y="109435"/>
                      </a:lnTo>
                      <a:lnTo>
                        <a:pt x="136541" y="109736"/>
                      </a:lnTo>
                      <a:lnTo>
                        <a:pt x="134430" y="111456"/>
                      </a:lnTo>
                      <a:lnTo>
                        <a:pt x="133468" y="111716"/>
                      </a:lnTo>
                      <a:lnTo>
                        <a:pt x="130534" y="111276"/>
                      </a:lnTo>
                      <a:lnTo>
                        <a:pt x="131545" y="112336"/>
                      </a:lnTo>
                      <a:lnTo>
                        <a:pt x="132995" y="112866"/>
                      </a:lnTo>
                      <a:lnTo>
                        <a:pt x="135310" y="113159"/>
                      </a:lnTo>
                      <a:lnTo>
                        <a:pt x="138016" y="112621"/>
                      </a:lnTo>
                      <a:lnTo>
                        <a:pt x="140648" y="112686"/>
                      </a:lnTo>
                      <a:lnTo>
                        <a:pt x="144788" y="113933"/>
                      </a:lnTo>
                      <a:lnTo>
                        <a:pt x="146524" y="115473"/>
                      </a:lnTo>
                      <a:lnTo>
                        <a:pt x="146557" y="115889"/>
                      </a:lnTo>
                      <a:lnTo>
                        <a:pt x="145669" y="116769"/>
                      </a:lnTo>
                      <a:lnTo>
                        <a:pt x="144348" y="119630"/>
                      </a:lnTo>
                      <a:lnTo>
                        <a:pt x="143387" y="120657"/>
                      </a:lnTo>
                      <a:lnTo>
                        <a:pt x="144210" y="121431"/>
                      </a:lnTo>
                      <a:lnTo>
                        <a:pt x="146280" y="122621"/>
                      </a:lnTo>
                      <a:lnTo>
                        <a:pt x="147828" y="123061"/>
                      </a:lnTo>
                      <a:lnTo>
                        <a:pt x="149866" y="122670"/>
                      </a:lnTo>
                      <a:lnTo>
                        <a:pt x="152050" y="123175"/>
                      </a:lnTo>
                      <a:lnTo>
                        <a:pt x="159352" y="129874"/>
                      </a:lnTo>
                      <a:lnTo>
                        <a:pt x="159058" y="133321"/>
                      </a:lnTo>
                      <a:lnTo>
                        <a:pt x="157942" y="135978"/>
                      </a:lnTo>
                      <a:lnTo>
                        <a:pt x="158382" y="138961"/>
                      </a:lnTo>
                      <a:lnTo>
                        <a:pt x="158415" y="142637"/>
                      </a:lnTo>
                      <a:lnTo>
                        <a:pt x="154446" y="143647"/>
                      </a:lnTo>
                      <a:lnTo>
                        <a:pt x="141284" y="141936"/>
                      </a:lnTo>
                      <a:lnTo>
                        <a:pt x="133754" y="139311"/>
                      </a:lnTo>
                      <a:lnTo>
                        <a:pt x="133362" y="138505"/>
                      </a:lnTo>
                      <a:lnTo>
                        <a:pt x="135489" y="136769"/>
                      </a:lnTo>
                      <a:lnTo>
                        <a:pt x="133607" y="136630"/>
                      </a:lnTo>
                      <a:lnTo>
                        <a:pt x="131414" y="137315"/>
                      </a:lnTo>
                      <a:lnTo>
                        <a:pt x="130494" y="137967"/>
                      </a:lnTo>
                      <a:lnTo>
                        <a:pt x="133028" y="140738"/>
                      </a:lnTo>
                      <a:lnTo>
                        <a:pt x="139947" y="143183"/>
                      </a:lnTo>
                      <a:lnTo>
                        <a:pt x="143044" y="146117"/>
                      </a:lnTo>
                      <a:lnTo>
                        <a:pt x="146443" y="146369"/>
                      </a:lnTo>
                      <a:lnTo>
                        <a:pt x="147469" y="146899"/>
                      </a:lnTo>
                      <a:lnTo>
                        <a:pt x="149344" y="148618"/>
                      </a:lnTo>
                      <a:lnTo>
                        <a:pt x="148798" y="149213"/>
                      </a:lnTo>
                      <a:lnTo>
                        <a:pt x="145342" y="149417"/>
                      </a:lnTo>
                      <a:lnTo>
                        <a:pt x="142612" y="151406"/>
                      </a:lnTo>
                      <a:lnTo>
                        <a:pt x="144332" y="152571"/>
                      </a:lnTo>
                      <a:lnTo>
                        <a:pt x="150477" y="153598"/>
                      </a:lnTo>
                      <a:lnTo>
                        <a:pt x="154886" y="153851"/>
                      </a:lnTo>
                      <a:lnTo>
                        <a:pt x="157102" y="155000"/>
                      </a:lnTo>
                      <a:lnTo>
                        <a:pt x="155285" y="156279"/>
                      </a:lnTo>
                      <a:lnTo>
                        <a:pt x="150110" y="157771"/>
                      </a:lnTo>
                      <a:lnTo>
                        <a:pt x="149963" y="159996"/>
                      </a:lnTo>
                      <a:lnTo>
                        <a:pt x="153794" y="160884"/>
                      </a:lnTo>
                      <a:lnTo>
                        <a:pt x="157200" y="160346"/>
                      </a:lnTo>
                      <a:lnTo>
                        <a:pt x="158594" y="160574"/>
                      </a:lnTo>
                      <a:lnTo>
                        <a:pt x="159596" y="165953"/>
                      </a:lnTo>
                      <a:lnTo>
                        <a:pt x="160175" y="167070"/>
                      </a:lnTo>
                      <a:lnTo>
                        <a:pt x="156508" y="168023"/>
                      </a:lnTo>
                      <a:lnTo>
                        <a:pt x="156491" y="169042"/>
                      </a:lnTo>
                      <a:lnTo>
                        <a:pt x="158928" y="169889"/>
                      </a:lnTo>
                      <a:lnTo>
                        <a:pt x="162978" y="170590"/>
                      </a:lnTo>
                      <a:lnTo>
                        <a:pt x="164323" y="171552"/>
                      </a:lnTo>
                      <a:lnTo>
                        <a:pt x="164592" y="173149"/>
                      </a:lnTo>
                      <a:lnTo>
                        <a:pt x="165432" y="173997"/>
                      </a:lnTo>
                      <a:lnTo>
                        <a:pt x="167754" y="174152"/>
                      </a:lnTo>
                      <a:lnTo>
                        <a:pt x="170305" y="172163"/>
                      </a:lnTo>
                      <a:lnTo>
                        <a:pt x="171821" y="170484"/>
                      </a:lnTo>
                      <a:lnTo>
                        <a:pt x="174021" y="171112"/>
                      </a:lnTo>
                      <a:lnTo>
                        <a:pt x="174184" y="173206"/>
                      </a:lnTo>
                      <a:lnTo>
                        <a:pt x="176800" y="175586"/>
                      </a:lnTo>
                      <a:lnTo>
                        <a:pt x="177754" y="175977"/>
                      </a:lnTo>
                      <a:lnTo>
                        <a:pt x="178512" y="179343"/>
                      </a:lnTo>
                      <a:lnTo>
                        <a:pt x="180655" y="176352"/>
                      </a:lnTo>
                      <a:lnTo>
                        <a:pt x="182220" y="176988"/>
                      </a:lnTo>
                      <a:lnTo>
                        <a:pt x="183997" y="177134"/>
                      </a:lnTo>
                      <a:lnTo>
                        <a:pt x="183394" y="180028"/>
                      </a:lnTo>
                      <a:lnTo>
                        <a:pt x="182334" y="182309"/>
                      </a:lnTo>
                      <a:lnTo>
                        <a:pt x="183728" y="183736"/>
                      </a:lnTo>
                      <a:lnTo>
                        <a:pt x="184812" y="185855"/>
                      </a:lnTo>
                      <a:lnTo>
                        <a:pt x="187688" y="188756"/>
                      </a:lnTo>
                      <a:lnTo>
                        <a:pt x="186898" y="190150"/>
                      </a:lnTo>
                      <a:lnTo>
                        <a:pt x="183500" y="193140"/>
                      </a:lnTo>
                      <a:lnTo>
                        <a:pt x="181715" y="197851"/>
                      </a:lnTo>
                      <a:lnTo>
                        <a:pt x="181291" y="199481"/>
                      </a:lnTo>
                      <a:lnTo>
                        <a:pt x="179547" y="202187"/>
                      </a:lnTo>
                      <a:lnTo>
                        <a:pt x="177151" y="204811"/>
                      </a:lnTo>
                      <a:lnTo>
                        <a:pt x="178650" y="204526"/>
                      </a:lnTo>
                      <a:lnTo>
                        <a:pt x="184005" y="199709"/>
                      </a:lnTo>
                      <a:lnTo>
                        <a:pt x="187183" y="198095"/>
                      </a:lnTo>
                      <a:lnTo>
                        <a:pt x="194184" y="197223"/>
                      </a:lnTo>
                      <a:lnTo>
                        <a:pt x="195879" y="195871"/>
                      </a:lnTo>
                      <a:lnTo>
                        <a:pt x="198438" y="195308"/>
                      </a:lnTo>
                      <a:lnTo>
                        <a:pt x="200003" y="196849"/>
                      </a:lnTo>
                      <a:lnTo>
                        <a:pt x="200166" y="199628"/>
                      </a:lnTo>
                      <a:lnTo>
                        <a:pt x="202236" y="200500"/>
                      </a:lnTo>
                      <a:lnTo>
                        <a:pt x="204412" y="199587"/>
                      </a:lnTo>
                      <a:lnTo>
                        <a:pt x="206392" y="200410"/>
                      </a:lnTo>
                      <a:lnTo>
                        <a:pt x="205202" y="202146"/>
                      </a:lnTo>
                      <a:lnTo>
                        <a:pt x="198862" y="209285"/>
                      </a:lnTo>
                      <a:lnTo>
                        <a:pt x="197004" y="212154"/>
                      </a:lnTo>
                      <a:lnTo>
                        <a:pt x="196482" y="214183"/>
                      </a:lnTo>
                      <a:lnTo>
                        <a:pt x="198658" y="211404"/>
                      </a:lnTo>
                      <a:lnTo>
                        <a:pt x="206628" y="204990"/>
                      </a:lnTo>
                      <a:lnTo>
                        <a:pt x="207476" y="204029"/>
                      </a:lnTo>
                      <a:lnTo>
                        <a:pt x="209212" y="201282"/>
                      </a:lnTo>
                      <a:lnTo>
                        <a:pt x="210817" y="199489"/>
                      </a:lnTo>
                      <a:lnTo>
                        <a:pt x="215112" y="200125"/>
                      </a:lnTo>
                      <a:lnTo>
                        <a:pt x="217321" y="201412"/>
                      </a:lnTo>
                      <a:lnTo>
                        <a:pt x="218348" y="205007"/>
                      </a:lnTo>
                      <a:lnTo>
                        <a:pt x="220084" y="208918"/>
                      </a:lnTo>
                      <a:lnTo>
                        <a:pt x="222700" y="213254"/>
                      </a:lnTo>
                      <a:lnTo>
                        <a:pt x="229660" y="215348"/>
                      </a:lnTo>
                      <a:lnTo>
                        <a:pt x="232186" y="215691"/>
                      </a:lnTo>
                      <a:lnTo>
                        <a:pt x="236530" y="214224"/>
                      </a:lnTo>
                      <a:lnTo>
                        <a:pt x="237214" y="212203"/>
                      </a:lnTo>
                      <a:lnTo>
                        <a:pt x="240613" y="211591"/>
                      </a:lnTo>
                      <a:lnTo>
                        <a:pt x="242993" y="211836"/>
                      </a:lnTo>
                      <a:lnTo>
                        <a:pt x="243816" y="215732"/>
                      </a:lnTo>
                      <a:lnTo>
                        <a:pt x="246358" y="217793"/>
                      </a:lnTo>
                      <a:lnTo>
                        <a:pt x="248893" y="219497"/>
                      </a:lnTo>
                      <a:lnTo>
                        <a:pt x="251330" y="220385"/>
                      </a:lnTo>
                      <a:lnTo>
                        <a:pt x="254891" y="220768"/>
                      </a:lnTo>
                      <a:lnTo>
                        <a:pt x="256839" y="222634"/>
                      </a:lnTo>
                      <a:lnTo>
                        <a:pt x="256839" y="223409"/>
                      </a:lnTo>
                      <a:lnTo>
                        <a:pt x="254834" y="225422"/>
                      </a:lnTo>
                      <a:lnTo>
                        <a:pt x="252903" y="228339"/>
                      </a:lnTo>
                      <a:lnTo>
                        <a:pt x="249529" y="230377"/>
                      </a:lnTo>
                      <a:lnTo>
                        <a:pt x="244818" y="230474"/>
                      </a:lnTo>
                      <a:lnTo>
                        <a:pt x="238315" y="231746"/>
                      </a:lnTo>
                      <a:lnTo>
                        <a:pt x="238054" y="232903"/>
                      </a:lnTo>
                      <a:lnTo>
                        <a:pt x="236620" y="234166"/>
                      </a:lnTo>
                      <a:lnTo>
                        <a:pt x="233164" y="235421"/>
                      </a:lnTo>
                      <a:lnTo>
                        <a:pt x="231281" y="236367"/>
                      </a:lnTo>
                      <a:lnTo>
                        <a:pt x="228225" y="241093"/>
                      </a:lnTo>
                      <a:lnTo>
                        <a:pt x="226367" y="243107"/>
                      </a:lnTo>
                      <a:lnTo>
                        <a:pt x="224232" y="243490"/>
                      </a:lnTo>
                      <a:lnTo>
                        <a:pt x="221225" y="243302"/>
                      </a:lnTo>
                      <a:lnTo>
                        <a:pt x="219252" y="243734"/>
                      </a:lnTo>
                      <a:lnTo>
                        <a:pt x="217810" y="244590"/>
                      </a:lnTo>
                      <a:lnTo>
                        <a:pt x="216962" y="245877"/>
                      </a:lnTo>
                      <a:lnTo>
                        <a:pt x="216310" y="246358"/>
                      </a:lnTo>
                      <a:lnTo>
                        <a:pt x="212276" y="247654"/>
                      </a:lnTo>
                      <a:lnTo>
                        <a:pt x="204958" y="251232"/>
                      </a:lnTo>
                      <a:lnTo>
                        <a:pt x="201087" y="251338"/>
                      </a:lnTo>
                      <a:lnTo>
                        <a:pt x="198691" y="250930"/>
                      </a:lnTo>
                      <a:lnTo>
                        <a:pt x="196865" y="251224"/>
                      </a:lnTo>
                      <a:lnTo>
                        <a:pt x="195618" y="252226"/>
                      </a:lnTo>
                      <a:lnTo>
                        <a:pt x="192122" y="253970"/>
                      </a:lnTo>
                      <a:lnTo>
                        <a:pt x="191071" y="255030"/>
                      </a:lnTo>
                      <a:lnTo>
                        <a:pt x="190459" y="256252"/>
                      </a:lnTo>
                      <a:lnTo>
                        <a:pt x="189978" y="258754"/>
                      </a:lnTo>
                      <a:lnTo>
                        <a:pt x="189563" y="259667"/>
                      </a:lnTo>
                      <a:lnTo>
                        <a:pt x="188886" y="260188"/>
                      </a:lnTo>
                      <a:lnTo>
                        <a:pt x="185944" y="259667"/>
                      </a:lnTo>
                      <a:lnTo>
                        <a:pt x="182668" y="258037"/>
                      </a:lnTo>
                      <a:lnTo>
                        <a:pt x="183312" y="259765"/>
                      </a:lnTo>
                      <a:lnTo>
                        <a:pt x="188503" y="262674"/>
                      </a:lnTo>
                      <a:lnTo>
                        <a:pt x="189987" y="264288"/>
                      </a:lnTo>
                      <a:lnTo>
                        <a:pt x="188577" y="265681"/>
                      </a:lnTo>
                      <a:lnTo>
                        <a:pt x="185276" y="267874"/>
                      </a:lnTo>
                      <a:lnTo>
                        <a:pt x="184893" y="269047"/>
                      </a:lnTo>
                      <a:lnTo>
                        <a:pt x="186246" y="269666"/>
                      </a:lnTo>
                      <a:lnTo>
                        <a:pt x="185716" y="270661"/>
                      </a:lnTo>
                      <a:lnTo>
                        <a:pt x="183907" y="271720"/>
                      </a:lnTo>
                      <a:lnTo>
                        <a:pt x="184111" y="272152"/>
                      </a:lnTo>
                      <a:lnTo>
                        <a:pt x="184306" y="272576"/>
                      </a:lnTo>
                      <a:lnTo>
                        <a:pt x="188797" y="271060"/>
                      </a:lnTo>
                      <a:lnTo>
                        <a:pt x="192790" y="267833"/>
                      </a:lnTo>
                      <a:lnTo>
                        <a:pt x="195406" y="264557"/>
                      </a:lnTo>
                      <a:lnTo>
                        <a:pt x="196710" y="263644"/>
                      </a:lnTo>
                      <a:lnTo>
                        <a:pt x="201869" y="262430"/>
                      </a:lnTo>
                      <a:lnTo>
                        <a:pt x="204917" y="261011"/>
                      </a:lnTo>
                      <a:lnTo>
                        <a:pt x="209277" y="258420"/>
                      </a:lnTo>
                      <a:lnTo>
                        <a:pt x="214061" y="254647"/>
                      </a:lnTo>
                      <a:lnTo>
                        <a:pt x="219269" y="249700"/>
                      </a:lnTo>
                      <a:lnTo>
                        <a:pt x="225903" y="245829"/>
                      </a:lnTo>
                      <a:lnTo>
                        <a:pt x="233971" y="243041"/>
                      </a:lnTo>
                      <a:lnTo>
                        <a:pt x="239896" y="241623"/>
                      </a:lnTo>
                      <a:lnTo>
                        <a:pt x="243661" y="241558"/>
                      </a:lnTo>
                      <a:lnTo>
                        <a:pt x="243848" y="241093"/>
                      </a:lnTo>
                      <a:lnTo>
                        <a:pt x="240458" y="240221"/>
                      </a:lnTo>
                      <a:lnTo>
                        <a:pt x="237663" y="240050"/>
                      </a:lnTo>
                      <a:lnTo>
                        <a:pt x="234191" y="240686"/>
                      </a:lnTo>
                      <a:lnTo>
                        <a:pt x="233115" y="239178"/>
                      </a:lnTo>
                      <a:lnTo>
                        <a:pt x="233229" y="238518"/>
                      </a:lnTo>
                      <a:lnTo>
                        <a:pt x="234370" y="237394"/>
                      </a:lnTo>
                      <a:lnTo>
                        <a:pt x="237296" y="236391"/>
                      </a:lnTo>
                      <a:lnTo>
                        <a:pt x="251607" y="237793"/>
                      </a:lnTo>
                      <a:lnTo>
                        <a:pt x="256538" y="238869"/>
                      </a:lnTo>
                      <a:lnTo>
                        <a:pt x="261924" y="247858"/>
                      </a:lnTo>
                      <a:lnTo>
                        <a:pt x="263163" y="250743"/>
                      </a:lnTo>
                      <a:lnTo>
                        <a:pt x="263505" y="252845"/>
                      </a:lnTo>
                      <a:lnTo>
                        <a:pt x="262959" y="254157"/>
                      </a:lnTo>
                      <a:lnTo>
                        <a:pt x="260800" y="255714"/>
                      </a:lnTo>
                      <a:lnTo>
                        <a:pt x="254712" y="258811"/>
                      </a:lnTo>
                      <a:lnTo>
                        <a:pt x="253856" y="259626"/>
                      </a:lnTo>
                      <a:lnTo>
                        <a:pt x="253775" y="260058"/>
                      </a:lnTo>
                      <a:lnTo>
                        <a:pt x="256432" y="260677"/>
                      </a:lnTo>
                      <a:lnTo>
                        <a:pt x="257279" y="261533"/>
                      </a:lnTo>
                      <a:lnTo>
                        <a:pt x="258632" y="264964"/>
                      </a:lnTo>
                      <a:lnTo>
                        <a:pt x="261370" y="262739"/>
                      </a:lnTo>
                      <a:lnTo>
                        <a:pt x="266553" y="257320"/>
                      </a:lnTo>
                      <a:lnTo>
                        <a:pt x="270800" y="254801"/>
                      </a:lnTo>
                      <a:lnTo>
                        <a:pt x="274369" y="254117"/>
                      </a:lnTo>
                      <a:lnTo>
                        <a:pt x="278648" y="253783"/>
                      </a:lnTo>
                      <a:lnTo>
                        <a:pt x="280114" y="253832"/>
                      </a:lnTo>
                      <a:lnTo>
                        <a:pt x="280628" y="255584"/>
                      </a:lnTo>
                      <a:lnTo>
                        <a:pt x="282869" y="259113"/>
                      </a:lnTo>
                      <a:lnTo>
                        <a:pt x="284947" y="260033"/>
                      </a:lnTo>
                      <a:lnTo>
                        <a:pt x="288916" y="260506"/>
                      </a:lnTo>
                      <a:lnTo>
                        <a:pt x="292486" y="264883"/>
                      </a:lnTo>
                      <a:lnTo>
                        <a:pt x="293847" y="267898"/>
                      </a:lnTo>
                      <a:lnTo>
                        <a:pt x="295126" y="269658"/>
                      </a:lnTo>
                      <a:lnTo>
                        <a:pt x="295029" y="270848"/>
                      </a:lnTo>
                      <a:lnTo>
                        <a:pt x="295249" y="271842"/>
                      </a:lnTo>
                      <a:lnTo>
                        <a:pt x="296186" y="273342"/>
                      </a:lnTo>
                      <a:lnTo>
                        <a:pt x="296658" y="274605"/>
                      </a:lnTo>
                      <a:lnTo>
                        <a:pt x="296406" y="277498"/>
                      </a:lnTo>
                      <a:lnTo>
                        <a:pt x="294320" y="282519"/>
                      </a:lnTo>
                      <a:lnTo>
                        <a:pt x="295868" y="287074"/>
                      </a:lnTo>
                      <a:lnTo>
                        <a:pt x="295175" y="289120"/>
                      </a:lnTo>
                      <a:lnTo>
                        <a:pt x="294817" y="292396"/>
                      </a:lnTo>
                      <a:lnTo>
                        <a:pt x="296153" y="294580"/>
                      </a:lnTo>
                      <a:lnTo>
                        <a:pt x="296545" y="295843"/>
                      </a:lnTo>
                      <a:lnTo>
                        <a:pt x="295412" y="296585"/>
                      </a:lnTo>
                      <a:lnTo>
                        <a:pt x="287506" y="298386"/>
                      </a:lnTo>
                      <a:lnTo>
                        <a:pt x="284401" y="298427"/>
                      </a:lnTo>
                      <a:lnTo>
                        <a:pt x="283594" y="299519"/>
                      </a:lnTo>
                      <a:lnTo>
                        <a:pt x="285982" y="299837"/>
                      </a:lnTo>
                      <a:lnTo>
                        <a:pt x="290342" y="299780"/>
                      </a:lnTo>
                      <a:lnTo>
                        <a:pt x="295615" y="300896"/>
                      </a:lnTo>
                      <a:lnTo>
                        <a:pt x="297938" y="302119"/>
                      </a:lnTo>
                      <a:lnTo>
                        <a:pt x="298940" y="303846"/>
                      </a:lnTo>
                      <a:lnTo>
                        <a:pt x="298688" y="305216"/>
                      </a:lnTo>
                      <a:lnTo>
                        <a:pt x="297180" y="306234"/>
                      </a:lnTo>
                      <a:lnTo>
                        <a:pt x="294214" y="306039"/>
                      </a:lnTo>
                      <a:lnTo>
                        <a:pt x="291361" y="305110"/>
                      </a:lnTo>
                      <a:lnTo>
                        <a:pt x="291532" y="306006"/>
                      </a:lnTo>
                      <a:lnTo>
                        <a:pt x="295770" y="308231"/>
                      </a:lnTo>
                      <a:lnTo>
                        <a:pt x="297009" y="309364"/>
                      </a:lnTo>
                      <a:lnTo>
                        <a:pt x="299307" y="310790"/>
                      </a:lnTo>
                      <a:lnTo>
                        <a:pt x="299764" y="312697"/>
                      </a:lnTo>
                      <a:lnTo>
                        <a:pt x="299209" y="314637"/>
                      </a:lnTo>
                      <a:lnTo>
                        <a:pt x="291223" y="322371"/>
                      </a:lnTo>
                      <a:lnTo>
                        <a:pt x="284646" y="327261"/>
                      </a:lnTo>
                      <a:lnTo>
                        <a:pt x="278053" y="331556"/>
                      </a:lnTo>
                      <a:lnTo>
                        <a:pt x="267450" y="339795"/>
                      </a:lnTo>
                      <a:lnTo>
                        <a:pt x="266407" y="340202"/>
                      </a:lnTo>
                      <a:lnTo>
                        <a:pt x="264492" y="340357"/>
                      </a:lnTo>
                      <a:lnTo>
                        <a:pt x="264377" y="340333"/>
                      </a:lnTo>
                      <a:lnTo>
                        <a:pt x="264361" y="330463"/>
                      </a:lnTo>
                      <a:lnTo>
                        <a:pt x="264361" y="319714"/>
                      </a:lnTo>
                      <a:lnTo>
                        <a:pt x="254272" y="319714"/>
                      </a:lnTo>
                      <a:lnTo>
                        <a:pt x="244191" y="319714"/>
                      </a:lnTo>
                      <a:lnTo>
                        <a:pt x="234101" y="319714"/>
                      </a:lnTo>
                      <a:lnTo>
                        <a:pt x="224020" y="319714"/>
                      </a:lnTo>
                      <a:lnTo>
                        <a:pt x="213930" y="319714"/>
                      </a:lnTo>
                      <a:lnTo>
                        <a:pt x="203849" y="319714"/>
                      </a:lnTo>
                      <a:lnTo>
                        <a:pt x="193768" y="319714"/>
                      </a:lnTo>
                      <a:lnTo>
                        <a:pt x="183687" y="319714"/>
                      </a:lnTo>
                      <a:lnTo>
                        <a:pt x="173606" y="319714"/>
                      </a:lnTo>
                      <a:lnTo>
                        <a:pt x="163524" y="319714"/>
                      </a:lnTo>
                      <a:lnTo>
                        <a:pt x="153443" y="319714"/>
                      </a:lnTo>
                      <a:lnTo>
                        <a:pt x="143362" y="319714"/>
                      </a:lnTo>
                      <a:lnTo>
                        <a:pt x="133281" y="319714"/>
                      </a:lnTo>
                      <a:lnTo>
                        <a:pt x="123192" y="319714"/>
                      </a:lnTo>
                      <a:lnTo>
                        <a:pt x="113110" y="319714"/>
                      </a:lnTo>
                      <a:lnTo>
                        <a:pt x="103029" y="319722"/>
                      </a:lnTo>
                      <a:lnTo>
                        <a:pt x="99297" y="319364"/>
                      </a:lnTo>
                      <a:lnTo>
                        <a:pt x="98636" y="318997"/>
                      </a:lnTo>
                      <a:lnTo>
                        <a:pt x="98416" y="318125"/>
                      </a:lnTo>
                      <a:lnTo>
                        <a:pt x="98587" y="317880"/>
                      </a:lnTo>
                      <a:lnTo>
                        <a:pt x="100608" y="317962"/>
                      </a:lnTo>
                      <a:lnTo>
                        <a:pt x="101587" y="317522"/>
                      </a:lnTo>
                      <a:lnTo>
                        <a:pt x="101497" y="316267"/>
                      </a:lnTo>
                      <a:lnTo>
                        <a:pt x="101114" y="314637"/>
                      </a:lnTo>
                      <a:lnTo>
                        <a:pt x="99085" y="308712"/>
                      </a:lnTo>
                      <a:lnTo>
                        <a:pt x="96151" y="306952"/>
                      </a:lnTo>
                      <a:lnTo>
                        <a:pt x="94871" y="305615"/>
                      </a:lnTo>
                      <a:lnTo>
                        <a:pt x="94692" y="304238"/>
                      </a:lnTo>
                      <a:lnTo>
                        <a:pt x="94488" y="303838"/>
                      </a:lnTo>
                      <a:lnTo>
                        <a:pt x="91750" y="302763"/>
                      </a:lnTo>
                      <a:lnTo>
                        <a:pt x="91636" y="302461"/>
                      </a:lnTo>
                      <a:lnTo>
                        <a:pt x="91807" y="301744"/>
                      </a:lnTo>
                      <a:lnTo>
                        <a:pt x="92842" y="300244"/>
                      </a:lnTo>
                      <a:lnTo>
                        <a:pt x="94382" y="298745"/>
                      </a:lnTo>
                      <a:lnTo>
                        <a:pt x="95792" y="297865"/>
                      </a:lnTo>
                      <a:lnTo>
                        <a:pt x="97976" y="297041"/>
                      </a:lnTo>
                      <a:lnTo>
                        <a:pt x="105115" y="295648"/>
                      </a:lnTo>
                      <a:lnTo>
                        <a:pt x="107593" y="294857"/>
                      </a:lnTo>
                      <a:lnTo>
                        <a:pt x="107919" y="294148"/>
                      </a:lnTo>
                      <a:lnTo>
                        <a:pt x="104431" y="290962"/>
                      </a:lnTo>
                      <a:lnTo>
                        <a:pt x="104097" y="290114"/>
                      </a:lnTo>
                      <a:lnTo>
                        <a:pt x="104015" y="289038"/>
                      </a:lnTo>
                      <a:lnTo>
                        <a:pt x="104463" y="284784"/>
                      </a:lnTo>
                      <a:lnTo>
                        <a:pt x="104317" y="283863"/>
                      </a:lnTo>
                      <a:lnTo>
                        <a:pt x="103037" y="281223"/>
                      </a:lnTo>
                      <a:lnTo>
                        <a:pt x="101415" y="278762"/>
                      </a:lnTo>
                      <a:lnTo>
                        <a:pt x="100152" y="278444"/>
                      </a:lnTo>
                      <a:lnTo>
                        <a:pt x="98261" y="278623"/>
                      </a:lnTo>
                      <a:lnTo>
                        <a:pt x="95629" y="279642"/>
                      </a:lnTo>
                      <a:lnTo>
                        <a:pt x="95319" y="280065"/>
                      </a:lnTo>
                      <a:lnTo>
                        <a:pt x="93934" y="286430"/>
                      </a:lnTo>
                      <a:lnTo>
                        <a:pt x="93086" y="287058"/>
                      </a:lnTo>
                      <a:lnTo>
                        <a:pt x="89826" y="287963"/>
                      </a:lnTo>
                      <a:lnTo>
                        <a:pt x="88857" y="289413"/>
                      </a:lnTo>
                      <a:lnTo>
                        <a:pt x="88637" y="296471"/>
                      </a:lnTo>
                      <a:lnTo>
                        <a:pt x="88734" y="299152"/>
                      </a:lnTo>
                      <a:lnTo>
                        <a:pt x="90731" y="305696"/>
                      </a:lnTo>
                      <a:lnTo>
                        <a:pt x="90046" y="312819"/>
                      </a:lnTo>
                      <a:lnTo>
                        <a:pt x="89329" y="314254"/>
                      </a:lnTo>
                      <a:lnTo>
                        <a:pt x="86852" y="316055"/>
                      </a:lnTo>
                      <a:lnTo>
                        <a:pt x="86575" y="316658"/>
                      </a:lnTo>
                      <a:lnTo>
                        <a:pt x="85320" y="322346"/>
                      </a:lnTo>
                      <a:lnTo>
                        <a:pt x="84994" y="325598"/>
                      </a:lnTo>
                      <a:lnTo>
                        <a:pt x="85206" y="326723"/>
                      </a:lnTo>
                      <a:lnTo>
                        <a:pt x="86110" y="328288"/>
                      </a:lnTo>
                      <a:lnTo>
                        <a:pt x="86078" y="329779"/>
                      </a:lnTo>
                      <a:lnTo>
                        <a:pt x="80731" y="334204"/>
                      </a:lnTo>
                      <a:lnTo>
                        <a:pt x="78458" y="334522"/>
                      </a:lnTo>
                      <a:lnTo>
                        <a:pt x="75988" y="330089"/>
                      </a:lnTo>
                      <a:lnTo>
                        <a:pt x="75866" y="329159"/>
                      </a:lnTo>
                      <a:lnTo>
                        <a:pt x="76102" y="328516"/>
                      </a:lnTo>
                      <a:lnTo>
                        <a:pt x="77439" y="327489"/>
                      </a:lnTo>
                      <a:lnTo>
                        <a:pt x="77740" y="326201"/>
                      </a:lnTo>
                      <a:lnTo>
                        <a:pt x="76958" y="325345"/>
                      </a:lnTo>
                      <a:lnTo>
                        <a:pt x="74318" y="323243"/>
                      </a:lnTo>
                      <a:lnTo>
                        <a:pt x="70161" y="317693"/>
                      </a:lnTo>
                      <a:lnTo>
                        <a:pt x="67578" y="315525"/>
                      </a:lnTo>
                      <a:lnTo>
                        <a:pt x="65076" y="314001"/>
                      </a:lnTo>
                      <a:lnTo>
                        <a:pt x="61824" y="312860"/>
                      </a:lnTo>
                      <a:lnTo>
                        <a:pt x="58605" y="312200"/>
                      </a:lnTo>
                      <a:lnTo>
                        <a:pt x="57260" y="312200"/>
                      </a:lnTo>
                      <a:lnTo>
                        <a:pt x="56714" y="312444"/>
                      </a:lnTo>
                      <a:lnTo>
                        <a:pt x="54799" y="316242"/>
                      </a:lnTo>
                      <a:lnTo>
                        <a:pt x="53870" y="317008"/>
                      </a:lnTo>
                      <a:lnTo>
                        <a:pt x="52827" y="317016"/>
                      </a:lnTo>
                      <a:lnTo>
                        <a:pt x="51352" y="316250"/>
                      </a:lnTo>
                      <a:lnTo>
                        <a:pt x="49119" y="315867"/>
                      </a:lnTo>
                      <a:lnTo>
                        <a:pt x="48491" y="317359"/>
                      </a:lnTo>
                      <a:lnTo>
                        <a:pt x="47969" y="317782"/>
                      </a:lnTo>
                      <a:lnTo>
                        <a:pt x="46584" y="317709"/>
                      </a:lnTo>
                      <a:lnTo>
                        <a:pt x="44204" y="316731"/>
                      </a:lnTo>
                      <a:lnTo>
                        <a:pt x="42794" y="315672"/>
                      </a:lnTo>
                      <a:lnTo>
                        <a:pt x="41278" y="311955"/>
                      </a:lnTo>
                      <a:lnTo>
                        <a:pt x="39991" y="311198"/>
                      </a:lnTo>
                      <a:lnTo>
                        <a:pt x="36747" y="308565"/>
                      </a:lnTo>
                      <a:lnTo>
                        <a:pt x="36340" y="308793"/>
                      </a:lnTo>
                      <a:lnTo>
                        <a:pt x="35574" y="312730"/>
                      </a:lnTo>
                      <a:lnTo>
                        <a:pt x="35109" y="313977"/>
                      </a:lnTo>
                      <a:lnTo>
                        <a:pt x="34278" y="313618"/>
                      </a:lnTo>
                      <a:lnTo>
                        <a:pt x="33577" y="312909"/>
                      </a:lnTo>
                      <a:lnTo>
                        <a:pt x="32786" y="311230"/>
                      </a:lnTo>
                      <a:lnTo>
                        <a:pt x="32216" y="308801"/>
                      </a:lnTo>
                      <a:lnTo>
                        <a:pt x="32192" y="307066"/>
                      </a:lnTo>
                      <a:lnTo>
                        <a:pt x="33724" y="304971"/>
                      </a:lnTo>
                      <a:lnTo>
                        <a:pt x="33903" y="304221"/>
                      </a:lnTo>
                      <a:lnTo>
                        <a:pt x="33113" y="295175"/>
                      </a:lnTo>
                      <a:lnTo>
                        <a:pt x="33349" y="294140"/>
                      </a:lnTo>
                      <a:lnTo>
                        <a:pt x="34596" y="292168"/>
                      </a:lnTo>
                      <a:lnTo>
                        <a:pt x="34832" y="289747"/>
                      </a:lnTo>
                      <a:lnTo>
                        <a:pt x="35215" y="288484"/>
                      </a:lnTo>
                      <a:lnTo>
                        <a:pt x="35981" y="287710"/>
                      </a:lnTo>
                      <a:lnTo>
                        <a:pt x="36234" y="286365"/>
                      </a:lnTo>
                      <a:lnTo>
                        <a:pt x="35541" y="284988"/>
                      </a:lnTo>
                      <a:lnTo>
                        <a:pt x="34017" y="282820"/>
                      </a:lnTo>
                      <a:lnTo>
                        <a:pt x="33072" y="282111"/>
                      </a:lnTo>
                      <a:lnTo>
                        <a:pt x="32077" y="281818"/>
                      </a:lnTo>
                      <a:lnTo>
                        <a:pt x="31540" y="282323"/>
                      </a:lnTo>
                      <a:lnTo>
                        <a:pt x="30765" y="284059"/>
                      </a:lnTo>
                      <a:lnTo>
                        <a:pt x="28426" y="285070"/>
                      </a:lnTo>
                      <a:lnTo>
                        <a:pt x="28027" y="285868"/>
                      </a:lnTo>
                      <a:lnTo>
                        <a:pt x="27033" y="291891"/>
                      </a:lnTo>
                      <a:lnTo>
                        <a:pt x="26609" y="292706"/>
                      </a:lnTo>
                      <a:lnTo>
                        <a:pt x="23479" y="294222"/>
                      </a:lnTo>
                      <a:lnTo>
                        <a:pt x="22461" y="293773"/>
                      </a:lnTo>
                      <a:lnTo>
                        <a:pt x="21426" y="293944"/>
                      </a:lnTo>
                      <a:lnTo>
                        <a:pt x="20097" y="293782"/>
                      </a:lnTo>
                      <a:lnTo>
                        <a:pt x="18150" y="292950"/>
                      </a:lnTo>
                      <a:lnTo>
                        <a:pt x="17196" y="291671"/>
                      </a:lnTo>
                      <a:lnTo>
                        <a:pt x="17155" y="288769"/>
                      </a:lnTo>
                      <a:lnTo>
                        <a:pt x="17555" y="285501"/>
                      </a:lnTo>
                      <a:lnTo>
                        <a:pt x="18190" y="283236"/>
                      </a:lnTo>
                      <a:lnTo>
                        <a:pt x="19625" y="279788"/>
                      </a:lnTo>
                      <a:lnTo>
                        <a:pt x="19747" y="275673"/>
                      </a:lnTo>
                      <a:lnTo>
                        <a:pt x="20423" y="270212"/>
                      </a:lnTo>
                      <a:lnTo>
                        <a:pt x="20260" y="269226"/>
                      </a:lnTo>
                      <a:lnTo>
                        <a:pt x="19372" y="268142"/>
                      </a:lnTo>
                      <a:lnTo>
                        <a:pt x="18239" y="267800"/>
                      </a:lnTo>
                      <a:lnTo>
                        <a:pt x="17000" y="266887"/>
                      </a:lnTo>
                      <a:lnTo>
                        <a:pt x="15697" y="263676"/>
                      </a:lnTo>
                      <a:lnTo>
                        <a:pt x="14792" y="262169"/>
                      </a:lnTo>
                      <a:lnTo>
                        <a:pt x="7547" y="259985"/>
                      </a:lnTo>
                      <a:lnTo>
                        <a:pt x="7139" y="259528"/>
                      </a:lnTo>
                      <a:lnTo>
                        <a:pt x="7058" y="258705"/>
                      </a:lnTo>
                      <a:lnTo>
                        <a:pt x="7579" y="255127"/>
                      </a:lnTo>
                      <a:lnTo>
                        <a:pt x="7204" y="252642"/>
                      </a:lnTo>
                      <a:lnTo>
                        <a:pt x="5729" y="251028"/>
                      </a:lnTo>
                      <a:lnTo>
                        <a:pt x="106" y="243710"/>
                      </a:lnTo>
                      <a:lnTo>
                        <a:pt x="0" y="242691"/>
                      </a:lnTo>
                      <a:lnTo>
                        <a:pt x="742" y="241216"/>
                      </a:lnTo>
                      <a:lnTo>
                        <a:pt x="1997" y="239643"/>
                      </a:lnTo>
                      <a:lnTo>
                        <a:pt x="6202" y="236065"/>
                      </a:lnTo>
                      <a:lnTo>
                        <a:pt x="6284" y="235438"/>
                      </a:lnTo>
                      <a:lnTo>
                        <a:pt x="6104" y="234345"/>
                      </a:lnTo>
                      <a:lnTo>
                        <a:pt x="4450" y="230181"/>
                      </a:lnTo>
                      <a:lnTo>
                        <a:pt x="3765" y="227915"/>
                      </a:lnTo>
                      <a:lnTo>
                        <a:pt x="3505" y="225837"/>
                      </a:lnTo>
                      <a:lnTo>
                        <a:pt x="3969" y="224085"/>
                      </a:lnTo>
                      <a:lnTo>
                        <a:pt x="4539" y="223604"/>
                      </a:lnTo>
                      <a:lnTo>
                        <a:pt x="5583" y="223327"/>
                      </a:lnTo>
                      <a:lnTo>
                        <a:pt x="11084" y="225422"/>
                      </a:lnTo>
                      <a:lnTo>
                        <a:pt x="11809" y="225373"/>
                      </a:lnTo>
                      <a:lnTo>
                        <a:pt x="13031" y="222830"/>
                      </a:lnTo>
                      <a:lnTo>
                        <a:pt x="15167" y="221648"/>
                      </a:lnTo>
                      <a:lnTo>
                        <a:pt x="15248" y="220271"/>
                      </a:lnTo>
                      <a:lnTo>
                        <a:pt x="13952" y="219171"/>
                      </a:lnTo>
                      <a:lnTo>
                        <a:pt x="13822" y="218519"/>
                      </a:lnTo>
                      <a:lnTo>
                        <a:pt x="11703" y="213710"/>
                      </a:lnTo>
                      <a:lnTo>
                        <a:pt x="9666" y="210230"/>
                      </a:lnTo>
                      <a:lnTo>
                        <a:pt x="8582" y="207696"/>
                      </a:lnTo>
                      <a:lnTo>
                        <a:pt x="8052" y="205699"/>
                      </a:lnTo>
                      <a:lnTo>
                        <a:pt x="8321" y="204835"/>
                      </a:lnTo>
                      <a:lnTo>
                        <a:pt x="8769" y="204338"/>
                      </a:lnTo>
                      <a:lnTo>
                        <a:pt x="10489" y="204232"/>
                      </a:lnTo>
                      <a:lnTo>
                        <a:pt x="11402" y="204648"/>
                      </a:lnTo>
                      <a:lnTo>
                        <a:pt x="14759" y="209448"/>
                      </a:lnTo>
                      <a:lnTo>
                        <a:pt x="22192" y="215397"/>
                      </a:lnTo>
                      <a:lnTo>
                        <a:pt x="25729" y="216644"/>
                      </a:lnTo>
                      <a:lnTo>
                        <a:pt x="27554" y="214729"/>
                      </a:lnTo>
                      <a:lnTo>
                        <a:pt x="27408" y="212895"/>
                      </a:lnTo>
                      <a:lnTo>
                        <a:pt x="26071" y="209033"/>
                      </a:lnTo>
                      <a:lnTo>
                        <a:pt x="26511" y="207142"/>
                      </a:lnTo>
                      <a:lnTo>
                        <a:pt x="25150" y="202154"/>
                      </a:lnTo>
                      <a:lnTo>
                        <a:pt x="25851" y="199734"/>
                      </a:lnTo>
                      <a:lnTo>
                        <a:pt x="25704" y="198943"/>
                      </a:lnTo>
                      <a:lnTo>
                        <a:pt x="23911" y="195871"/>
                      </a:lnTo>
                      <a:lnTo>
                        <a:pt x="23854" y="195211"/>
                      </a:lnTo>
                      <a:lnTo>
                        <a:pt x="24490" y="194559"/>
                      </a:lnTo>
                      <a:lnTo>
                        <a:pt x="25500" y="194909"/>
                      </a:lnTo>
                      <a:lnTo>
                        <a:pt x="28369" y="197313"/>
                      </a:lnTo>
                      <a:lnTo>
                        <a:pt x="37750" y="206742"/>
                      </a:lnTo>
                      <a:lnTo>
                        <a:pt x="39812" y="208291"/>
                      </a:lnTo>
                      <a:lnTo>
                        <a:pt x="41645" y="209285"/>
                      </a:lnTo>
                      <a:lnTo>
                        <a:pt x="46584" y="210597"/>
                      </a:lnTo>
                      <a:lnTo>
                        <a:pt x="46967" y="210939"/>
                      </a:lnTo>
                      <a:lnTo>
                        <a:pt x="48735" y="214485"/>
                      </a:lnTo>
                      <a:lnTo>
                        <a:pt x="50105" y="215862"/>
                      </a:lnTo>
                      <a:lnTo>
                        <a:pt x="51735" y="216767"/>
                      </a:lnTo>
                      <a:lnTo>
                        <a:pt x="65475" y="217745"/>
                      </a:lnTo>
                      <a:lnTo>
                        <a:pt x="73087" y="217190"/>
                      </a:lnTo>
                      <a:lnTo>
                        <a:pt x="84847" y="217476"/>
                      </a:lnTo>
                      <a:lnTo>
                        <a:pt x="95540" y="220972"/>
                      </a:lnTo>
                      <a:lnTo>
                        <a:pt x="99476" y="221803"/>
                      </a:lnTo>
                      <a:lnTo>
                        <a:pt x="100780" y="221681"/>
                      </a:lnTo>
                      <a:lnTo>
                        <a:pt x="101790" y="220581"/>
                      </a:lnTo>
                      <a:lnTo>
                        <a:pt x="103982" y="215569"/>
                      </a:lnTo>
                      <a:lnTo>
                        <a:pt x="105922" y="210190"/>
                      </a:lnTo>
                      <a:lnTo>
                        <a:pt x="106305" y="208511"/>
                      </a:lnTo>
                      <a:lnTo>
                        <a:pt x="106199" y="207541"/>
                      </a:lnTo>
                      <a:lnTo>
                        <a:pt x="104439" y="203768"/>
                      </a:lnTo>
                      <a:lnTo>
                        <a:pt x="104863" y="201706"/>
                      </a:lnTo>
                      <a:lnTo>
                        <a:pt x="105433" y="200679"/>
                      </a:lnTo>
                      <a:lnTo>
                        <a:pt x="107462" y="199065"/>
                      </a:lnTo>
                      <a:lnTo>
                        <a:pt x="114104" y="195349"/>
                      </a:lnTo>
                      <a:lnTo>
                        <a:pt x="115335" y="194110"/>
                      </a:lnTo>
                      <a:lnTo>
                        <a:pt x="114349" y="191641"/>
                      </a:lnTo>
                      <a:lnTo>
                        <a:pt x="114153" y="190272"/>
                      </a:lnTo>
                      <a:lnTo>
                        <a:pt x="114357" y="188601"/>
                      </a:lnTo>
                      <a:lnTo>
                        <a:pt x="114276" y="187468"/>
                      </a:lnTo>
                      <a:lnTo>
                        <a:pt x="110551" y="186376"/>
                      </a:lnTo>
                      <a:lnTo>
                        <a:pt x="109092" y="185512"/>
                      </a:lnTo>
                      <a:lnTo>
                        <a:pt x="107805" y="184314"/>
                      </a:lnTo>
                      <a:lnTo>
                        <a:pt x="105099" y="180117"/>
                      </a:lnTo>
                      <a:lnTo>
                        <a:pt x="100731" y="174168"/>
                      </a:lnTo>
                      <a:lnTo>
                        <a:pt x="100535" y="173312"/>
                      </a:lnTo>
                      <a:lnTo>
                        <a:pt x="100780" y="171780"/>
                      </a:lnTo>
                      <a:lnTo>
                        <a:pt x="101709" y="170835"/>
                      </a:lnTo>
                      <a:lnTo>
                        <a:pt x="103559" y="169743"/>
                      </a:lnTo>
                      <a:lnTo>
                        <a:pt x="104252" y="169115"/>
                      </a:lnTo>
                      <a:lnTo>
                        <a:pt x="103754" y="167844"/>
                      </a:lnTo>
                      <a:lnTo>
                        <a:pt x="97365" y="166393"/>
                      </a:lnTo>
                      <a:lnTo>
                        <a:pt x="96134" y="165431"/>
                      </a:lnTo>
                      <a:lnTo>
                        <a:pt x="94089" y="165187"/>
                      </a:lnTo>
                      <a:lnTo>
                        <a:pt x="93209" y="165081"/>
                      </a:lnTo>
                      <a:lnTo>
                        <a:pt x="93518" y="163272"/>
                      </a:lnTo>
                      <a:lnTo>
                        <a:pt x="95808" y="160664"/>
                      </a:lnTo>
                      <a:lnTo>
                        <a:pt x="95474" y="160020"/>
                      </a:lnTo>
                      <a:lnTo>
                        <a:pt x="91236" y="158235"/>
                      </a:lnTo>
                      <a:lnTo>
                        <a:pt x="90454" y="157722"/>
                      </a:lnTo>
                      <a:lnTo>
                        <a:pt x="90291" y="157314"/>
                      </a:lnTo>
                      <a:lnTo>
                        <a:pt x="90364" y="155961"/>
                      </a:lnTo>
                      <a:lnTo>
                        <a:pt x="89932" y="153639"/>
                      </a:lnTo>
                      <a:lnTo>
                        <a:pt x="92002" y="152278"/>
                      </a:lnTo>
                      <a:lnTo>
                        <a:pt x="94423" y="151927"/>
                      </a:lnTo>
                      <a:lnTo>
                        <a:pt x="95156" y="150517"/>
                      </a:lnTo>
                      <a:lnTo>
                        <a:pt x="94423" y="148529"/>
                      </a:lnTo>
                      <a:lnTo>
                        <a:pt x="90527" y="142197"/>
                      </a:lnTo>
                      <a:lnTo>
                        <a:pt x="90438" y="141553"/>
                      </a:lnTo>
                      <a:lnTo>
                        <a:pt x="90804" y="140379"/>
                      </a:lnTo>
                      <a:lnTo>
                        <a:pt x="92549" y="138472"/>
                      </a:lnTo>
                      <a:lnTo>
                        <a:pt x="93217" y="137176"/>
                      </a:lnTo>
                      <a:lnTo>
                        <a:pt x="94537" y="135514"/>
                      </a:lnTo>
                      <a:lnTo>
                        <a:pt x="95702" y="134511"/>
                      </a:lnTo>
                      <a:lnTo>
                        <a:pt x="96379" y="129336"/>
                      </a:lnTo>
                      <a:lnTo>
                        <a:pt x="97381" y="127005"/>
                      </a:lnTo>
                      <a:lnTo>
                        <a:pt x="98473" y="125196"/>
                      </a:lnTo>
                      <a:lnTo>
                        <a:pt x="99313" y="121398"/>
                      </a:lnTo>
                      <a:lnTo>
                        <a:pt x="99264" y="120885"/>
                      </a:lnTo>
                      <a:lnTo>
                        <a:pt x="98441" y="119402"/>
                      </a:lnTo>
                      <a:lnTo>
                        <a:pt x="98270" y="117853"/>
                      </a:lnTo>
                      <a:lnTo>
                        <a:pt x="99704" y="114862"/>
                      </a:lnTo>
                      <a:lnTo>
                        <a:pt x="99215" y="110290"/>
                      </a:lnTo>
                      <a:lnTo>
                        <a:pt x="99288" y="108734"/>
                      </a:lnTo>
                      <a:lnTo>
                        <a:pt x="99655" y="107642"/>
                      </a:lnTo>
                      <a:lnTo>
                        <a:pt x="102858" y="104202"/>
                      </a:lnTo>
                      <a:lnTo>
                        <a:pt x="103265" y="103298"/>
                      </a:lnTo>
                      <a:lnTo>
                        <a:pt x="103192" y="102100"/>
                      </a:lnTo>
                      <a:lnTo>
                        <a:pt x="102784" y="101978"/>
                      </a:lnTo>
                      <a:lnTo>
                        <a:pt x="100356" y="103167"/>
                      </a:lnTo>
                      <a:lnTo>
                        <a:pt x="98425" y="102776"/>
                      </a:lnTo>
                      <a:lnTo>
                        <a:pt x="97227" y="102483"/>
                      </a:lnTo>
                      <a:lnTo>
                        <a:pt x="96477" y="101798"/>
                      </a:lnTo>
                      <a:lnTo>
                        <a:pt x="95246" y="99761"/>
                      </a:lnTo>
                      <a:lnTo>
                        <a:pt x="94260" y="99044"/>
                      </a:lnTo>
                      <a:lnTo>
                        <a:pt x="93649" y="98995"/>
                      </a:lnTo>
                      <a:lnTo>
                        <a:pt x="92174" y="99687"/>
                      </a:lnTo>
                      <a:lnTo>
                        <a:pt x="91350" y="98620"/>
                      </a:lnTo>
                      <a:lnTo>
                        <a:pt x="89990" y="96159"/>
                      </a:lnTo>
                      <a:lnTo>
                        <a:pt x="87683" y="90601"/>
                      </a:lnTo>
                      <a:lnTo>
                        <a:pt x="83706" y="87422"/>
                      </a:lnTo>
                      <a:lnTo>
                        <a:pt x="83372" y="86534"/>
                      </a:lnTo>
                      <a:lnTo>
                        <a:pt x="83519" y="85637"/>
                      </a:lnTo>
                      <a:lnTo>
                        <a:pt x="84089" y="84651"/>
                      </a:lnTo>
                      <a:lnTo>
                        <a:pt x="90878" y="77202"/>
                      </a:lnTo>
                      <a:lnTo>
                        <a:pt x="92744" y="75646"/>
                      </a:lnTo>
                      <a:lnTo>
                        <a:pt x="97072" y="73250"/>
                      </a:lnTo>
                      <a:lnTo>
                        <a:pt x="97349" y="72353"/>
                      </a:lnTo>
                      <a:lnTo>
                        <a:pt x="97259" y="71465"/>
                      </a:lnTo>
                      <a:lnTo>
                        <a:pt x="96232" y="69493"/>
                      </a:lnTo>
                      <a:lnTo>
                        <a:pt x="92353" y="69908"/>
                      </a:lnTo>
                      <a:lnTo>
                        <a:pt x="91766" y="69509"/>
                      </a:lnTo>
                      <a:lnTo>
                        <a:pt x="91188" y="67757"/>
                      </a:lnTo>
                      <a:lnTo>
                        <a:pt x="91204" y="66901"/>
                      </a:lnTo>
                      <a:lnTo>
                        <a:pt x="91554" y="66094"/>
                      </a:lnTo>
                      <a:lnTo>
                        <a:pt x="92532" y="65124"/>
                      </a:lnTo>
                      <a:lnTo>
                        <a:pt x="94292" y="64415"/>
                      </a:lnTo>
                      <a:lnTo>
                        <a:pt x="104398" y="62549"/>
                      </a:lnTo>
                      <a:lnTo>
                        <a:pt x="105572" y="62085"/>
                      </a:lnTo>
                      <a:lnTo>
                        <a:pt x="105800" y="61685"/>
                      </a:lnTo>
                      <a:lnTo>
                        <a:pt x="105621" y="61009"/>
                      </a:lnTo>
                      <a:lnTo>
                        <a:pt x="104846" y="59892"/>
                      </a:lnTo>
                      <a:lnTo>
                        <a:pt x="103445" y="58678"/>
                      </a:lnTo>
                      <a:lnTo>
                        <a:pt x="101603" y="57733"/>
                      </a:lnTo>
                      <a:lnTo>
                        <a:pt x="100079" y="57415"/>
                      </a:lnTo>
                      <a:lnTo>
                        <a:pt x="93543" y="59411"/>
                      </a:lnTo>
                      <a:lnTo>
                        <a:pt x="89460" y="61009"/>
                      </a:lnTo>
                      <a:lnTo>
                        <a:pt x="88555" y="61074"/>
                      </a:lnTo>
                      <a:lnTo>
                        <a:pt x="87471" y="60398"/>
                      </a:lnTo>
                      <a:lnTo>
                        <a:pt x="86012" y="57236"/>
                      </a:lnTo>
                      <a:lnTo>
                        <a:pt x="77985" y="55443"/>
                      </a:lnTo>
                      <a:lnTo>
                        <a:pt x="73250" y="54734"/>
                      </a:lnTo>
                      <a:lnTo>
                        <a:pt x="72264" y="53951"/>
                      </a:lnTo>
                      <a:lnTo>
                        <a:pt x="72190" y="52590"/>
                      </a:lnTo>
                      <a:lnTo>
                        <a:pt x="72647" y="51148"/>
                      </a:lnTo>
                      <a:lnTo>
                        <a:pt x="73421" y="50349"/>
                      </a:lnTo>
                      <a:lnTo>
                        <a:pt x="74203" y="50015"/>
                      </a:lnTo>
                      <a:lnTo>
                        <a:pt x="83543" y="52003"/>
                      </a:lnTo>
                      <a:lnTo>
                        <a:pt x="84415" y="51865"/>
                      </a:lnTo>
                      <a:lnTo>
                        <a:pt x="85254" y="51156"/>
                      </a:lnTo>
                      <a:lnTo>
                        <a:pt x="85059" y="50219"/>
                      </a:lnTo>
                      <a:lnTo>
                        <a:pt x="82345" y="48344"/>
                      </a:lnTo>
                      <a:lnTo>
                        <a:pt x="81449" y="47350"/>
                      </a:lnTo>
                      <a:lnTo>
                        <a:pt x="80764" y="45386"/>
                      </a:lnTo>
                      <a:lnTo>
                        <a:pt x="80422" y="43006"/>
                      </a:lnTo>
                      <a:lnTo>
                        <a:pt x="80438" y="37856"/>
                      </a:lnTo>
                      <a:lnTo>
                        <a:pt x="80821" y="36160"/>
                      </a:lnTo>
                      <a:lnTo>
                        <a:pt x="82736" y="33870"/>
                      </a:lnTo>
                      <a:lnTo>
                        <a:pt x="83910" y="33129"/>
                      </a:lnTo>
                      <a:lnTo>
                        <a:pt x="83739" y="31548"/>
                      </a:lnTo>
                      <a:lnTo>
                        <a:pt x="82264" y="31026"/>
                      </a:lnTo>
                      <a:lnTo>
                        <a:pt x="75573" y="33471"/>
                      </a:lnTo>
                      <a:lnTo>
                        <a:pt x="74065" y="32599"/>
                      </a:lnTo>
                      <a:lnTo>
                        <a:pt x="73005" y="30537"/>
                      </a:lnTo>
                      <a:lnTo>
                        <a:pt x="73682" y="19584"/>
                      </a:lnTo>
                      <a:lnTo>
                        <a:pt x="74399" y="17652"/>
                      </a:lnTo>
                      <a:lnTo>
                        <a:pt x="76795" y="15998"/>
                      </a:lnTo>
                      <a:lnTo>
                        <a:pt x="76893" y="15362"/>
                      </a:lnTo>
                      <a:lnTo>
                        <a:pt x="76803" y="14914"/>
                      </a:lnTo>
                      <a:lnTo>
                        <a:pt x="76371" y="14507"/>
                      </a:lnTo>
                      <a:lnTo>
                        <a:pt x="72606" y="12795"/>
                      </a:lnTo>
                      <a:lnTo>
                        <a:pt x="71759" y="11882"/>
                      </a:lnTo>
                      <a:lnTo>
                        <a:pt x="71286" y="10823"/>
                      </a:lnTo>
                      <a:lnTo>
                        <a:pt x="71457" y="10252"/>
                      </a:lnTo>
                      <a:lnTo>
                        <a:pt x="73886" y="9690"/>
                      </a:lnTo>
                      <a:lnTo>
                        <a:pt x="75662" y="8598"/>
                      </a:lnTo>
                      <a:lnTo>
                        <a:pt x="77170" y="7840"/>
                      </a:lnTo>
                      <a:lnTo>
                        <a:pt x="77854" y="6593"/>
                      </a:lnTo>
                      <a:lnTo>
                        <a:pt x="77300" y="5786"/>
                      </a:lnTo>
                      <a:lnTo>
                        <a:pt x="73714" y="4401"/>
                      </a:lnTo>
                      <a:lnTo>
                        <a:pt x="72288" y="2722"/>
                      </a:lnTo>
                      <a:lnTo>
                        <a:pt x="72288" y="2217"/>
                      </a:lnTo>
                      <a:lnTo>
                        <a:pt x="73054" y="1540"/>
                      </a:lnTo>
                      <a:lnTo>
                        <a:pt x="78050" y="0"/>
                      </a:lnTo>
                      <a:lnTo>
                        <a:pt x="80902" y="1508"/>
                      </a:lnTo>
                      <a:lnTo>
                        <a:pt x="82467" y="3121"/>
                      </a:lnTo>
                      <a:lnTo>
                        <a:pt x="82883" y="5387"/>
                      </a:lnTo>
                      <a:lnTo>
                        <a:pt x="80202" y="8459"/>
                      </a:lnTo>
                      <a:lnTo>
                        <a:pt x="75597" y="10749"/>
                      </a:lnTo>
                      <a:lnTo>
                        <a:pt x="74154" y="11809"/>
                      </a:lnTo>
                      <a:close/>
                      <a:moveTo>
                        <a:pt x="305061" y="336894"/>
                      </a:moveTo>
                      <a:lnTo>
                        <a:pt x="303227" y="340569"/>
                      </a:lnTo>
                      <a:lnTo>
                        <a:pt x="301964" y="342346"/>
                      </a:lnTo>
                      <a:lnTo>
                        <a:pt x="300791" y="342924"/>
                      </a:lnTo>
                      <a:lnTo>
                        <a:pt x="298313" y="343446"/>
                      </a:lnTo>
                      <a:lnTo>
                        <a:pt x="293089" y="344025"/>
                      </a:lnTo>
                      <a:lnTo>
                        <a:pt x="290864" y="344562"/>
                      </a:lnTo>
                      <a:lnTo>
                        <a:pt x="290546" y="347016"/>
                      </a:lnTo>
                      <a:lnTo>
                        <a:pt x="290880" y="348303"/>
                      </a:lnTo>
                      <a:lnTo>
                        <a:pt x="291638" y="349322"/>
                      </a:lnTo>
                      <a:lnTo>
                        <a:pt x="292608" y="349607"/>
                      </a:lnTo>
                      <a:lnTo>
                        <a:pt x="294776" y="348996"/>
                      </a:lnTo>
                      <a:lnTo>
                        <a:pt x="295583" y="349102"/>
                      </a:lnTo>
                      <a:lnTo>
                        <a:pt x="296227" y="349615"/>
                      </a:lnTo>
                      <a:lnTo>
                        <a:pt x="296716" y="350536"/>
                      </a:lnTo>
                      <a:lnTo>
                        <a:pt x="296968" y="351816"/>
                      </a:lnTo>
                      <a:lnTo>
                        <a:pt x="296984" y="353446"/>
                      </a:lnTo>
                      <a:lnTo>
                        <a:pt x="296601" y="355418"/>
                      </a:lnTo>
                      <a:lnTo>
                        <a:pt x="294833" y="360055"/>
                      </a:lnTo>
                      <a:lnTo>
                        <a:pt x="292584" y="362606"/>
                      </a:lnTo>
                      <a:lnTo>
                        <a:pt x="289707" y="364684"/>
                      </a:lnTo>
                      <a:lnTo>
                        <a:pt x="288998" y="365483"/>
                      </a:lnTo>
                      <a:lnTo>
                        <a:pt x="288639" y="366420"/>
                      </a:lnTo>
                      <a:lnTo>
                        <a:pt x="288281" y="369460"/>
                      </a:lnTo>
                      <a:lnTo>
                        <a:pt x="286789" y="371880"/>
                      </a:lnTo>
                      <a:lnTo>
                        <a:pt x="282160" y="378025"/>
                      </a:lnTo>
                      <a:lnTo>
                        <a:pt x="280375" y="379370"/>
                      </a:lnTo>
                      <a:lnTo>
                        <a:pt x="280367" y="380446"/>
                      </a:lnTo>
                      <a:lnTo>
                        <a:pt x="279650" y="383355"/>
                      </a:lnTo>
                      <a:lnTo>
                        <a:pt x="278273" y="385702"/>
                      </a:lnTo>
                      <a:lnTo>
                        <a:pt x="274442" y="391073"/>
                      </a:lnTo>
                      <a:lnTo>
                        <a:pt x="273489" y="392972"/>
                      </a:lnTo>
                      <a:lnTo>
                        <a:pt x="273065" y="394463"/>
                      </a:lnTo>
                      <a:lnTo>
                        <a:pt x="273122" y="396582"/>
                      </a:lnTo>
                      <a:lnTo>
                        <a:pt x="272951" y="397511"/>
                      </a:lnTo>
                      <a:lnTo>
                        <a:pt x="272071" y="399304"/>
                      </a:lnTo>
                      <a:lnTo>
                        <a:pt x="270848" y="400983"/>
                      </a:lnTo>
                      <a:lnTo>
                        <a:pt x="270612" y="401798"/>
                      </a:lnTo>
                      <a:lnTo>
                        <a:pt x="271093" y="403281"/>
                      </a:lnTo>
                      <a:lnTo>
                        <a:pt x="271590" y="403795"/>
                      </a:lnTo>
                      <a:lnTo>
                        <a:pt x="271647" y="405148"/>
                      </a:lnTo>
                      <a:lnTo>
                        <a:pt x="271272" y="407332"/>
                      </a:lnTo>
                      <a:lnTo>
                        <a:pt x="272894" y="405946"/>
                      </a:lnTo>
                      <a:lnTo>
                        <a:pt x="276521" y="400999"/>
                      </a:lnTo>
                      <a:lnTo>
                        <a:pt x="279243" y="398017"/>
                      </a:lnTo>
                      <a:lnTo>
                        <a:pt x="281060" y="396998"/>
                      </a:lnTo>
                      <a:lnTo>
                        <a:pt x="282323" y="395678"/>
                      </a:lnTo>
                      <a:lnTo>
                        <a:pt x="283684" y="392760"/>
                      </a:lnTo>
                      <a:lnTo>
                        <a:pt x="285542" y="389973"/>
                      </a:lnTo>
                      <a:lnTo>
                        <a:pt x="287221" y="389068"/>
                      </a:lnTo>
                      <a:lnTo>
                        <a:pt x="287987" y="389598"/>
                      </a:lnTo>
                      <a:lnTo>
                        <a:pt x="288639" y="390967"/>
                      </a:lnTo>
                      <a:lnTo>
                        <a:pt x="288517" y="392703"/>
                      </a:lnTo>
                      <a:lnTo>
                        <a:pt x="287604" y="394814"/>
                      </a:lnTo>
                      <a:lnTo>
                        <a:pt x="287678" y="395441"/>
                      </a:lnTo>
                      <a:lnTo>
                        <a:pt x="289821" y="393893"/>
                      </a:lnTo>
                      <a:lnTo>
                        <a:pt x="293488" y="392613"/>
                      </a:lnTo>
                      <a:lnTo>
                        <a:pt x="294817" y="392784"/>
                      </a:lnTo>
                      <a:lnTo>
                        <a:pt x="297514" y="394700"/>
                      </a:lnTo>
                      <a:lnTo>
                        <a:pt x="299755" y="394480"/>
                      </a:lnTo>
                      <a:lnTo>
                        <a:pt x="303333" y="393363"/>
                      </a:lnTo>
                      <a:lnTo>
                        <a:pt x="304010" y="393877"/>
                      </a:lnTo>
                      <a:lnTo>
                        <a:pt x="303415" y="395572"/>
                      </a:lnTo>
                      <a:lnTo>
                        <a:pt x="302005" y="397185"/>
                      </a:lnTo>
                      <a:lnTo>
                        <a:pt x="298688" y="399492"/>
                      </a:lnTo>
                      <a:lnTo>
                        <a:pt x="290693" y="404015"/>
                      </a:lnTo>
                      <a:lnTo>
                        <a:pt x="288207" y="407128"/>
                      </a:lnTo>
                      <a:lnTo>
                        <a:pt x="288680" y="407030"/>
                      </a:lnTo>
                      <a:lnTo>
                        <a:pt x="290408" y="405694"/>
                      </a:lnTo>
                      <a:lnTo>
                        <a:pt x="292225" y="404977"/>
                      </a:lnTo>
                      <a:lnTo>
                        <a:pt x="294124" y="404879"/>
                      </a:lnTo>
                      <a:lnTo>
                        <a:pt x="294923" y="405270"/>
                      </a:lnTo>
                      <a:lnTo>
                        <a:pt x="294605" y="406150"/>
                      </a:lnTo>
                      <a:lnTo>
                        <a:pt x="294369" y="408538"/>
                      </a:lnTo>
                      <a:lnTo>
                        <a:pt x="289519" y="413191"/>
                      </a:lnTo>
                      <a:lnTo>
                        <a:pt x="290660" y="413020"/>
                      </a:lnTo>
                      <a:lnTo>
                        <a:pt x="296267" y="410901"/>
                      </a:lnTo>
                      <a:lnTo>
                        <a:pt x="299666" y="413827"/>
                      </a:lnTo>
                      <a:lnTo>
                        <a:pt x="304336" y="412808"/>
                      </a:lnTo>
                      <a:lnTo>
                        <a:pt x="307155" y="411822"/>
                      </a:lnTo>
                      <a:lnTo>
                        <a:pt x="307082" y="412433"/>
                      </a:lnTo>
                      <a:lnTo>
                        <a:pt x="307693" y="413705"/>
                      </a:lnTo>
                      <a:lnTo>
                        <a:pt x="307677" y="415767"/>
                      </a:lnTo>
                      <a:lnTo>
                        <a:pt x="307962" y="416060"/>
                      </a:lnTo>
                      <a:lnTo>
                        <a:pt x="309299" y="415367"/>
                      </a:lnTo>
                      <a:lnTo>
                        <a:pt x="309543" y="414618"/>
                      </a:lnTo>
                      <a:lnTo>
                        <a:pt x="309470" y="410942"/>
                      </a:lnTo>
                      <a:lnTo>
                        <a:pt x="309886" y="410583"/>
                      </a:lnTo>
                      <a:lnTo>
                        <a:pt x="310798" y="411154"/>
                      </a:lnTo>
                      <a:lnTo>
                        <a:pt x="311361" y="412099"/>
                      </a:lnTo>
                      <a:lnTo>
                        <a:pt x="311532" y="414764"/>
                      </a:lnTo>
                      <a:lnTo>
                        <a:pt x="310920" y="417446"/>
                      </a:lnTo>
                      <a:lnTo>
                        <a:pt x="310065" y="419899"/>
                      </a:lnTo>
                      <a:lnTo>
                        <a:pt x="308011" y="423476"/>
                      </a:lnTo>
                      <a:lnTo>
                        <a:pt x="308272" y="425017"/>
                      </a:lnTo>
                      <a:lnTo>
                        <a:pt x="307742" y="426687"/>
                      </a:lnTo>
                      <a:lnTo>
                        <a:pt x="308207" y="426744"/>
                      </a:lnTo>
                      <a:lnTo>
                        <a:pt x="310252" y="425196"/>
                      </a:lnTo>
                      <a:lnTo>
                        <a:pt x="310375" y="424552"/>
                      </a:lnTo>
                      <a:lnTo>
                        <a:pt x="310220" y="423061"/>
                      </a:lnTo>
                      <a:lnTo>
                        <a:pt x="310448" y="422335"/>
                      </a:lnTo>
                      <a:lnTo>
                        <a:pt x="312143" y="420714"/>
                      </a:lnTo>
                      <a:lnTo>
                        <a:pt x="314947" y="418798"/>
                      </a:lnTo>
                      <a:lnTo>
                        <a:pt x="315868" y="418505"/>
                      </a:lnTo>
                      <a:lnTo>
                        <a:pt x="316259" y="418953"/>
                      </a:lnTo>
                      <a:lnTo>
                        <a:pt x="316112" y="420135"/>
                      </a:lnTo>
                      <a:lnTo>
                        <a:pt x="316943" y="419858"/>
                      </a:lnTo>
                      <a:lnTo>
                        <a:pt x="318736" y="418114"/>
                      </a:lnTo>
                      <a:lnTo>
                        <a:pt x="320399" y="417054"/>
                      </a:lnTo>
                      <a:lnTo>
                        <a:pt x="321931" y="416696"/>
                      </a:lnTo>
                      <a:lnTo>
                        <a:pt x="323528" y="415498"/>
                      </a:lnTo>
                      <a:lnTo>
                        <a:pt x="325183" y="413468"/>
                      </a:lnTo>
                      <a:lnTo>
                        <a:pt x="326967" y="411790"/>
                      </a:lnTo>
                      <a:lnTo>
                        <a:pt x="328874" y="410461"/>
                      </a:lnTo>
                      <a:lnTo>
                        <a:pt x="329689" y="410372"/>
                      </a:lnTo>
                      <a:lnTo>
                        <a:pt x="329412" y="412564"/>
                      </a:lnTo>
                      <a:lnTo>
                        <a:pt x="329779" y="415066"/>
                      </a:lnTo>
                      <a:lnTo>
                        <a:pt x="329828" y="417193"/>
                      </a:lnTo>
                      <a:lnTo>
                        <a:pt x="330203" y="417641"/>
                      </a:lnTo>
                      <a:lnTo>
                        <a:pt x="331670" y="415359"/>
                      </a:lnTo>
                      <a:lnTo>
                        <a:pt x="332493" y="414528"/>
                      </a:lnTo>
                      <a:lnTo>
                        <a:pt x="333471" y="414194"/>
                      </a:lnTo>
                      <a:lnTo>
                        <a:pt x="334612" y="414365"/>
                      </a:lnTo>
                      <a:lnTo>
                        <a:pt x="342379" y="413550"/>
                      </a:lnTo>
                      <a:lnTo>
                        <a:pt x="344742" y="414112"/>
                      </a:lnTo>
                      <a:lnTo>
                        <a:pt x="347407" y="415604"/>
                      </a:lnTo>
                      <a:lnTo>
                        <a:pt x="350765" y="417910"/>
                      </a:lnTo>
                      <a:lnTo>
                        <a:pt x="352003" y="419988"/>
                      </a:lnTo>
                      <a:lnTo>
                        <a:pt x="352240" y="422613"/>
                      </a:lnTo>
                      <a:lnTo>
                        <a:pt x="351906" y="424438"/>
                      </a:lnTo>
                      <a:lnTo>
                        <a:pt x="349485" y="426744"/>
                      </a:lnTo>
                      <a:lnTo>
                        <a:pt x="347325" y="428268"/>
                      </a:lnTo>
                      <a:lnTo>
                        <a:pt x="346054" y="429792"/>
                      </a:lnTo>
                      <a:lnTo>
                        <a:pt x="345671" y="431308"/>
                      </a:lnTo>
                      <a:lnTo>
                        <a:pt x="345166" y="432245"/>
                      </a:lnTo>
                      <a:lnTo>
                        <a:pt x="343723" y="433558"/>
                      </a:lnTo>
                      <a:lnTo>
                        <a:pt x="337318" y="437225"/>
                      </a:lnTo>
                      <a:lnTo>
                        <a:pt x="338850" y="437331"/>
                      </a:lnTo>
                      <a:lnTo>
                        <a:pt x="342541" y="436540"/>
                      </a:lnTo>
                      <a:lnTo>
                        <a:pt x="344962" y="436369"/>
                      </a:lnTo>
                      <a:lnTo>
                        <a:pt x="345092" y="436891"/>
                      </a:lnTo>
                      <a:lnTo>
                        <a:pt x="344123" y="437934"/>
                      </a:lnTo>
                      <a:lnTo>
                        <a:pt x="342273" y="438977"/>
                      </a:lnTo>
                      <a:lnTo>
                        <a:pt x="342077" y="439482"/>
                      </a:lnTo>
                      <a:lnTo>
                        <a:pt x="342167" y="440143"/>
                      </a:lnTo>
                      <a:lnTo>
                        <a:pt x="344147" y="440941"/>
                      </a:lnTo>
                      <a:lnTo>
                        <a:pt x="346682" y="440550"/>
                      </a:lnTo>
                      <a:lnTo>
                        <a:pt x="348817" y="441121"/>
                      </a:lnTo>
                      <a:lnTo>
                        <a:pt x="348613" y="441993"/>
                      </a:lnTo>
                      <a:lnTo>
                        <a:pt x="346918" y="444853"/>
                      </a:lnTo>
                      <a:lnTo>
                        <a:pt x="346421" y="446654"/>
                      </a:lnTo>
                      <a:lnTo>
                        <a:pt x="344163" y="448162"/>
                      </a:lnTo>
                      <a:lnTo>
                        <a:pt x="339640" y="450525"/>
                      </a:lnTo>
                      <a:lnTo>
                        <a:pt x="338483" y="451430"/>
                      </a:lnTo>
                      <a:lnTo>
                        <a:pt x="338736" y="451617"/>
                      </a:lnTo>
                      <a:lnTo>
                        <a:pt x="342884" y="449881"/>
                      </a:lnTo>
                      <a:lnTo>
                        <a:pt x="344970" y="449441"/>
                      </a:lnTo>
                      <a:lnTo>
                        <a:pt x="346298" y="449425"/>
                      </a:lnTo>
                      <a:lnTo>
                        <a:pt x="347798" y="447746"/>
                      </a:lnTo>
                      <a:lnTo>
                        <a:pt x="350145" y="447192"/>
                      </a:lnTo>
                      <a:lnTo>
                        <a:pt x="352435" y="448252"/>
                      </a:lnTo>
                      <a:lnTo>
                        <a:pt x="355923" y="445358"/>
                      </a:lnTo>
                      <a:lnTo>
                        <a:pt x="357170" y="444984"/>
                      </a:lnTo>
                      <a:lnTo>
                        <a:pt x="359297" y="445318"/>
                      </a:lnTo>
                      <a:lnTo>
                        <a:pt x="360666" y="444804"/>
                      </a:lnTo>
                      <a:lnTo>
                        <a:pt x="362973" y="442824"/>
                      </a:lnTo>
                      <a:lnTo>
                        <a:pt x="364709" y="441870"/>
                      </a:lnTo>
                      <a:lnTo>
                        <a:pt x="365067" y="441960"/>
                      </a:lnTo>
                      <a:lnTo>
                        <a:pt x="365442" y="442750"/>
                      </a:lnTo>
                      <a:lnTo>
                        <a:pt x="365613" y="445024"/>
                      </a:lnTo>
                      <a:lnTo>
                        <a:pt x="365206" y="447029"/>
                      </a:lnTo>
                      <a:lnTo>
                        <a:pt x="364644" y="448317"/>
                      </a:lnTo>
                      <a:lnTo>
                        <a:pt x="362769" y="451137"/>
                      </a:lnTo>
                      <a:lnTo>
                        <a:pt x="361620" y="452131"/>
                      </a:lnTo>
                      <a:lnTo>
                        <a:pt x="360553" y="452506"/>
                      </a:lnTo>
                      <a:lnTo>
                        <a:pt x="358670" y="452351"/>
                      </a:lnTo>
                      <a:lnTo>
                        <a:pt x="357847" y="452791"/>
                      </a:lnTo>
                      <a:lnTo>
                        <a:pt x="356078" y="455008"/>
                      </a:lnTo>
                      <a:lnTo>
                        <a:pt x="352957" y="457241"/>
                      </a:lnTo>
                      <a:lnTo>
                        <a:pt x="351009" y="458113"/>
                      </a:lnTo>
                      <a:lnTo>
                        <a:pt x="352240" y="459327"/>
                      </a:lnTo>
                      <a:lnTo>
                        <a:pt x="352696" y="461682"/>
                      </a:lnTo>
                      <a:lnTo>
                        <a:pt x="352012" y="462408"/>
                      </a:lnTo>
                      <a:lnTo>
                        <a:pt x="348670" y="463133"/>
                      </a:lnTo>
                      <a:lnTo>
                        <a:pt x="348523" y="463524"/>
                      </a:lnTo>
                      <a:lnTo>
                        <a:pt x="347325" y="464038"/>
                      </a:lnTo>
                      <a:lnTo>
                        <a:pt x="344563" y="464861"/>
                      </a:lnTo>
                      <a:lnTo>
                        <a:pt x="346453" y="465211"/>
                      </a:lnTo>
                      <a:lnTo>
                        <a:pt x="349933" y="464641"/>
                      </a:lnTo>
                      <a:lnTo>
                        <a:pt x="350300" y="465040"/>
                      </a:lnTo>
                      <a:lnTo>
                        <a:pt x="349819" y="466694"/>
                      </a:lnTo>
                      <a:lnTo>
                        <a:pt x="348890" y="468389"/>
                      </a:lnTo>
                      <a:lnTo>
                        <a:pt x="344758" y="472766"/>
                      </a:lnTo>
                      <a:lnTo>
                        <a:pt x="344709" y="473206"/>
                      </a:lnTo>
                      <a:lnTo>
                        <a:pt x="345353" y="475341"/>
                      </a:lnTo>
                      <a:lnTo>
                        <a:pt x="346160" y="476963"/>
                      </a:lnTo>
                      <a:lnTo>
                        <a:pt x="347163" y="478112"/>
                      </a:lnTo>
                      <a:lnTo>
                        <a:pt x="349461" y="478177"/>
                      </a:lnTo>
                      <a:lnTo>
                        <a:pt x="351164" y="477672"/>
                      </a:lnTo>
                      <a:lnTo>
                        <a:pt x="353641" y="474754"/>
                      </a:lnTo>
                      <a:lnTo>
                        <a:pt x="359118" y="465651"/>
                      </a:lnTo>
                      <a:lnTo>
                        <a:pt x="364016" y="463117"/>
                      </a:lnTo>
                      <a:lnTo>
                        <a:pt x="368091" y="460297"/>
                      </a:lnTo>
                      <a:lnTo>
                        <a:pt x="369028" y="460867"/>
                      </a:lnTo>
                      <a:lnTo>
                        <a:pt x="369452" y="461527"/>
                      </a:lnTo>
                      <a:lnTo>
                        <a:pt x="369305" y="462212"/>
                      </a:lnTo>
                      <a:lnTo>
                        <a:pt x="367252" y="464535"/>
                      </a:lnTo>
                      <a:lnTo>
                        <a:pt x="366176" y="466442"/>
                      </a:lnTo>
                      <a:lnTo>
                        <a:pt x="363389" y="472326"/>
                      </a:lnTo>
                      <a:lnTo>
                        <a:pt x="362321" y="475089"/>
                      </a:lnTo>
                      <a:lnTo>
                        <a:pt x="361791" y="478006"/>
                      </a:lnTo>
                      <a:lnTo>
                        <a:pt x="361930" y="483043"/>
                      </a:lnTo>
                      <a:lnTo>
                        <a:pt x="362231" y="483915"/>
                      </a:lnTo>
                      <a:lnTo>
                        <a:pt x="363103" y="485088"/>
                      </a:lnTo>
                      <a:lnTo>
                        <a:pt x="364733" y="484078"/>
                      </a:lnTo>
                      <a:lnTo>
                        <a:pt x="367504" y="481592"/>
                      </a:lnTo>
                      <a:lnTo>
                        <a:pt x="369289" y="479204"/>
                      </a:lnTo>
                      <a:lnTo>
                        <a:pt x="370683" y="475325"/>
                      </a:lnTo>
                      <a:lnTo>
                        <a:pt x="371538" y="473842"/>
                      </a:lnTo>
                      <a:lnTo>
                        <a:pt x="372467" y="473858"/>
                      </a:lnTo>
                      <a:lnTo>
                        <a:pt x="373299" y="474706"/>
                      </a:lnTo>
                      <a:lnTo>
                        <a:pt x="373502" y="476580"/>
                      </a:lnTo>
                      <a:lnTo>
                        <a:pt x="374268" y="479131"/>
                      </a:lnTo>
                      <a:lnTo>
                        <a:pt x="374733" y="481722"/>
                      </a:lnTo>
                      <a:lnTo>
                        <a:pt x="374358" y="484559"/>
                      </a:lnTo>
                      <a:lnTo>
                        <a:pt x="373991" y="486115"/>
                      </a:lnTo>
                      <a:lnTo>
                        <a:pt x="368311" y="497639"/>
                      </a:lnTo>
                      <a:lnTo>
                        <a:pt x="368914" y="499676"/>
                      </a:lnTo>
                      <a:lnTo>
                        <a:pt x="369061" y="500915"/>
                      </a:lnTo>
                      <a:lnTo>
                        <a:pt x="368890" y="502227"/>
                      </a:lnTo>
                      <a:lnTo>
                        <a:pt x="367088" y="507736"/>
                      </a:lnTo>
                      <a:lnTo>
                        <a:pt x="365344" y="511176"/>
                      </a:lnTo>
                      <a:lnTo>
                        <a:pt x="364407" y="512651"/>
                      </a:lnTo>
                      <a:lnTo>
                        <a:pt x="363291" y="513555"/>
                      </a:lnTo>
                      <a:lnTo>
                        <a:pt x="361995" y="513890"/>
                      </a:lnTo>
                      <a:lnTo>
                        <a:pt x="360838" y="513384"/>
                      </a:lnTo>
                      <a:lnTo>
                        <a:pt x="359819" y="512064"/>
                      </a:lnTo>
                      <a:lnTo>
                        <a:pt x="358914" y="511379"/>
                      </a:lnTo>
                      <a:lnTo>
                        <a:pt x="358132" y="511339"/>
                      </a:lnTo>
                      <a:lnTo>
                        <a:pt x="356681" y="511591"/>
                      </a:lnTo>
                      <a:lnTo>
                        <a:pt x="352851" y="514387"/>
                      </a:lnTo>
                      <a:lnTo>
                        <a:pt x="352069" y="514542"/>
                      </a:lnTo>
                      <a:lnTo>
                        <a:pt x="351523" y="514167"/>
                      </a:lnTo>
                      <a:lnTo>
                        <a:pt x="350862" y="512691"/>
                      </a:lnTo>
                      <a:lnTo>
                        <a:pt x="351384" y="505300"/>
                      </a:lnTo>
                      <a:lnTo>
                        <a:pt x="351726" y="502847"/>
                      </a:lnTo>
                      <a:lnTo>
                        <a:pt x="350960" y="500964"/>
                      </a:lnTo>
                      <a:lnTo>
                        <a:pt x="351775" y="497786"/>
                      </a:lnTo>
                      <a:lnTo>
                        <a:pt x="351800" y="496588"/>
                      </a:lnTo>
                      <a:lnTo>
                        <a:pt x="351335" y="496131"/>
                      </a:lnTo>
                      <a:lnTo>
                        <a:pt x="350365" y="496433"/>
                      </a:lnTo>
                      <a:lnTo>
                        <a:pt x="348906" y="498022"/>
                      </a:lnTo>
                      <a:lnTo>
                        <a:pt x="346942" y="500915"/>
                      </a:lnTo>
                      <a:lnTo>
                        <a:pt x="344823" y="503490"/>
                      </a:lnTo>
                      <a:lnTo>
                        <a:pt x="341107" y="507036"/>
                      </a:lnTo>
                      <a:lnTo>
                        <a:pt x="339453" y="507736"/>
                      </a:lnTo>
                      <a:lnTo>
                        <a:pt x="338801" y="507565"/>
                      </a:lnTo>
                      <a:lnTo>
                        <a:pt x="338043" y="507076"/>
                      </a:lnTo>
                      <a:lnTo>
                        <a:pt x="337024" y="505585"/>
                      </a:lnTo>
                      <a:lnTo>
                        <a:pt x="337032" y="504281"/>
                      </a:lnTo>
                      <a:lnTo>
                        <a:pt x="337480" y="502488"/>
                      </a:lnTo>
                      <a:lnTo>
                        <a:pt x="339029" y="498258"/>
                      </a:lnTo>
                      <a:lnTo>
                        <a:pt x="342061" y="491983"/>
                      </a:lnTo>
                      <a:lnTo>
                        <a:pt x="344571" y="487533"/>
                      </a:lnTo>
                      <a:lnTo>
                        <a:pt x="345060" y="485626"/>
                      </a:lnTo>
                      <a:lnTo>
                        <a:pt x="344359" y="484795"/>
                      </a:lnTo>
                      <a:lnTo>
                        <a:pt x="343797" y="483157"/>
                      </a:lnTo>
                      <a:lnTo>
                        <a:pt x="342827" y="478316"/>
                      </a:lnTo>
                      <a:lnTo>
                        <a:pt x="341604" y="474331"/>
                      </a:lnTo>
                      <a:lnTo>
                        <a:pt x="340162" y="472554"/>
                      </a:lnTo>
                      <a:lnTo>
                        <a:pt x="336576" y="470614"/>
                      </a:lnTo>
                      <a:lnTo>
                        <a:pt x="335916" y="471079"/>
                      </a:lnTo>
                      <a:lnTo>
                        <a:pt x="335533" y="473768"/>
                      </a:lnTo>
                      <a:lnTo>
                        <a:pt x="331295" y="481486"/>
                      </a:lnTo>
                      <a:lnTo>
                        <a:pt x="330553" y="484836"/>
                      </a:lnTo>
                      <a:lnTo>
                        <a:pt x="330024" y="486074"/>
                      </a:lnTo>
                      <a:lnTo>
                        <a:pt x="329225" y="486922"/>
                      </a:lnTo>
                      <a:lnTo>
                        <a:pt x="327383" y="487949"/>
                      </a:lnTo>
                      <a:lnTo>
                        <a:pt x="327880" y="486164"/>
                      </a:lnTo>
                      <a:lnTo>
                        <a:pt x="329844" y="482195"/>
                      </a:lnTo>
                      <a:lnTo>
                        <a:pt x="329575" y="481804"/>
                      </a:lnTo>
                      <a:lnTo>
                        <a:pt x="327081" y="484999"/>
                      </a:lnTo>
                      <a:lnTo>
                        <a:pt x="325183" y="486767"/>
                      </a:lnTo>
                      <a:lnTo>
                        <a:pt x="322860" y="487224"/>
                      </a:lnTo>
                      <a:lnTo>
                        <a:pt x="321458" y="487110"/>
                      </a:lnTo>
                      <a:lnTo>
                        <a:pt x="320089" y="487598"/>
                      </a:lnTo>
                      <a:lnTo>
                        <a:pt x="314294" y="495129"/>
                      </a:lnTo>
                      <a:lnTo>
                        <a:pt x="314075" y="497639"/>
                      </a:lnTo>
                      <a:lnTo>
                        <a:pt x="313064" y="499693"/>
                      </a:lnTo>
                      <a:lnTo>
                        <a:pt x="310203" y="503401"/>
                      </a:lnTo>
                      <a:lnTo>
                        <a:pt x="308696" y="504688"/>
                      </a:lnTo>
                      <a:lnTo>
                        <a:pt x="306577" y="504917"/>
                      </a:lnTo>
                      <a:lnTo>
                        <a:pt x="304645" y="504273"/>
                      </a:lnTo>
                      <a:lnTo>
                        <a:pt x="303374" y="504387"/>
                      </a:lnTo>
                      <a:lnTo>
                        <a:pt x="300350" y="505544"/>
                      </a:lnTo>
                      <a:lnTo>
                        <a:pt x="296976" y="506049"/>
                      </a:lnTo>
                      <a:lnTo>
                        <a:pt x="295583" y="505813"/>
                      </a:lnTo>
                      <a:lnTo>
                        <a:pt x="294694" y="505332"/>
                      </a:lnTo>
                      <a:lnTo>
                        <a:pt x="292975" y="503890"/>
                      </a:lnTo>
                      <a:lnTo>
                        <a:pt x="292771" y="502871"/>
                      </a:lnTo>
                      <a:lnTo>
                        <a:pt x="292861" y="502276"/>
                      </a:lnTo>
                      <a:lnTo>
                        <a:pt x="293733" y="500728"/>
                      </a:lnTo>
                      <a:lnTo>
                        <a:pt x="295738" y="498772"/>
                      </a:lnTo>
                      <a:lnTo>
                        <a:pt x="297392" y="498046"/>
                      </a:lnTo>
                      <a:lnTo>
                        <a:pt x="301402" y="497060"/>
                      </a:lnTo>
                      <a:lnTo>
                        <a:pt x="304344" y="495593"/>
                      </a:lnTo>
                      <a:lnTo>
                        <a:pt x="306585" y="493426"/>
                      </a:lnTo>
                      <a:lnTo>
                        <a:pt x="307587" y="492105"/>
                      </a:lnTo>
                      <a:lnTo>
                        <a:pt x="311809" y="485308"/>
                      </a:lnTo>
                      <a:lnTo>
                        <a:pt x="317147" y="482912"/>
                      </a:lnTo>
                      <a:lnTo>
                        <a:pt x="319779" y="480948"/>
                      </a:lnTo>
                      <a:lnTo>
                        <a:pt x="321621" y="478471"/>
                      </a:lnTo>
                      <a:lnTo>
                        <a:pt x="321890" y="477599"/>
                      </a:lnTo>
                      <a:lnTo>
                        <a:pt x="319250" y="478854"/>
                      </a:lnTo>
                      <a:lnTo>
                        <a:pt x="317889" y="479163"/>
                      </a:lnTo>
                      <a:lnTo>
                        <a:pt x="315680" y="478699"/>
                      </a:lnTo>
                      <a:lnTo>
                        <a:pt x="314694" y="477851"/>
                      </a:lnTo>
                      <a:lnTo>
                        <a:pt x="311670" y="478120"/>
                      </a:lnTo>
                      <a:lnTo>
                        <a:pt x="307457" y="477729"/>
                      </a:lnTo>
                      <a:lnTo>
                        <a:pt x="306854" y="478381"/>
                      </a:lnTo>
                      <a:lnTo>
                        <a:pt x="306308" y="481690"/>
                      </a:lnTo>
                      <a:lnTo>
                        <a:pt x="305762" y="483450"/>
                      </a:lnTo>
                      <a:lnTo>
                        <a:pt x="305118" y="484037"/>
                      </a:lnTo>
                      <a:lnTo>
                        <a:pt x="304172" y="484387"/>
                      </a:lnTo>
                      <a:lnTo>
                        <a:pt x="302249" y="484738"/>
                      </a:lnTo>
                      <a:lnTo>
                        <a:pt x="297327" y="483556"/>
                      </a:lnTo>
                      <a:lnTo>
                        <a:pt x="296414" y="482904"/>
                      </a:lnTo>
                      <a:lnTo>
                        <a:pt x="295159" y="482415"/>
                      </a:lnTo>
                      <a:lnTo>
                        <a:pt x="289723" y="483491"/>
                      </a:lnTo>
                      <a:lnTo>
                        <a:pt x="288590" y="483393"/>
                      </a:lnTo>
                      <a:lnTo>
                        <a:pt x="289666" y="482619"/>
                      </a:lnTo>
                      <a:lnTo>
                        <a:pt x="295037" y="480190"/>
                      </a:lnTo>
                      <a:lnTo>
                        <a:pt x="295599" y="473198"/>
                      </a:lnTo>
                      <a:lnTo>
                        <a:pt x="295257" y="472073"/>
                      </a:lnTo>
                      <a:lnTo>
                        <a:pt x="293757" y="473051"/>
                      </a:lnTo>
                      <a:lnTo>
                        <a:pt x="291231" y="474070"/>
                      </a:lnTo>
                      <a:lnTo>
                        <a:pt x="289511" y="473777"/>
                      </a:lnTo>
                      <a:lnTo>
                        <a:pt x="288721" y="473157"/>
                      </a:lnTo>
                      <a:lnTo>
                        <a:pt x="287995" y="473679"/>
                      </a:lnTo>
                      <a:lnTo>
                        <a:pt x="286243" y="477371"/>
                      </a:lnTo>
                      <a:lnTo>
                        <a:pt x="285208" y="477835"/>
                      </a:lnTo>
                      <a:lnTo>
                        <a:pt x="283652" y="477982"/>
                      </a:lnTo>
                      <a:lnTo>
                        <a:pt x="280335" y="479327"/>
                      </a:lnTo>
                      <a:lnTo>
                        <a:pt x="273815" y="480207"/>
                      </a:lnTo>
                      <a:lnTo>
                        <a:pt x="272535" y="481185"/>
                      </a:lnTo>
                      <a:lnTo>
                        <a:pt x="268110" y="480842"/>
                      </a:lnTo>
                      <a:lnTo>
                        <a:pt x="255185" y="478821"/>
                      </a:lnTo>
                      <a:lnTo>
                        <a:pt x="250564" y="479025"/>
                      </a:lnTo>
                      <a:lnTo>
                        <a:pt x="244997" y="477794"/>
                      </a:lnTo>
                      <a:lnTo>
                        <a:pt x="243970" y="477256"/>
                      </a:lnTo>
                      <a:lnTo>
                        <a:pt x="236188" y="477468"/>
                      </a:lnTo>
                      <a:lnTo>
                        <a:pt x="233857" y="477183"/>
                      </a:lnTo>
                      <a:lnTo>
                        <a:pt x="234012" y="475643"/>
                      </a:lnTo>
                      <a:lnTo>
                        <a:pt x="233767" y="475252"/>
                      </a:lnTo>
                      <a:lnTo>
                        <a:pt x="231501" y="476947"/>
                      </a:lnTo>
                      <a:lnTo>
                        <a:pt x="229497" y="478055"/>
                      </a:lnTo>
                      <a:lnTo>
                        <a:pt x="226913" y="478992"/>
                      </a:lnTo>
                      <a:lnTo>
                        <a:pt x="218780" y="480630"/>
                      </a:lnTo>
                      <a:lnTo>
                        <a:pt x="214411" y="480981"/>
                      </a:lnTo>
                      <a:lnTo>
                        <a:pt x="211877" y="479840"/>
                      </a:lnTo>
                      <a:lnTo>
                        <a:pt x="210874" y="478707"/>
                      </a:lnTo>
                      <a:lnTo>
                        <a:pt x="209359" y="475032"/>
                      </a:lnTo>
                      <a:lnTo>
                        <a:pt x="208332" y="470427"/>
                      </a:lnTo>
                      <a:lnTo>
                        <a:pt x="208340" y="469588"/>
                      </a:lnTo>
                      <a:lnTo>
                        <a:pt x="208862" y="467990"/>
                      </a:lnTo>
                      <a:lnTo>
                        <a:pt x="210565" y="465765"/>
                      </a:lnTo>
                      <a:lnTo>
                        <a:pt x="218283" y="459881"/>
                      </a:lnTo>
                      <a:lnTo>
                        <a:pt x="224485" y="453932"/>
                      </a:lnTo>
                      <a:lnTo>
                        <a:pt x="227101" y="450827"/>
                      </a:lnTo>
                      <a:lnTo>
                        <a:pt x="229643" y="449718"/>
                      </a:lnTo>
                      <a:lnTo>
                        <a:pt x="233783" y="447151"/>
                      </a:lnTo>
                      <a:lnTo>
                        <a:pt x="233914" y="446842"/>
                      </a:lnTo>
                      <a:lnTo>
                        <a:pt x="229896" y="447168"/>
                      </a:lnTo>
                      <a:lnTo>
                        <a:pt x="227068" y="446459"/>
                      </a:lnTo>
                      <a:lnTo>
                        <a:pt x="224183" y="446173"/>
                      </a:lnTo>
                      <a:lnTo>
                        <a:pt x="218698" y="446858"/>
                      </a:lnTo>
                      <a:lnTo>
                        <a:pt x="213164" y="446858"/>
                      </a:lnTo>
                      <a:lnTo>
                        <a:pt x="213148" y="445538"/>
                      </a:lnTo>
                      <a:lnTo>
                        <a:pt x="215732" y="443036"/>
                      </a:lnTo>
                      <a:lnTo>
                        <a:pt x="221225" y="438757"/>
                      </a:lnTo>
                      <a:lnTo>
                        <a:pt x="221787" y="438741"/>
                      </a:lnTo>
                      <a:lnTo>
                        <a:pt x="220100" y="440738"/>
                      </a:lnTo>
                      <a:lnTo>
                        <a:pt x="219619" y="442229"/>
                      </a:lnTo>
                      <a:lnTo>
                        <a:pt x="220344" y="443223"/>
                      </a:lnTo>
                      <a:lnTo>
                        <a:pt x="221184" y="443851"/>
                      </a:lnTo>
                      <a:lnTo>
                        <a:pt x="224330" y="444112"/>
                      </a:lnTo>
                      <a:lnTo>
                        <a:pt x="225055" y="443248"/>
                      </a:lnTo>
                      <a:lnTo>
                        <a:pt x="226196" y="438659"/>
                      </a:lnTo>
                      <a:lnTo>
                        <a:pt x="228576" y="433329"/>
                      </a:lnTo>
                      <a:lnTo>
                        <a:pt x="229863" y="429491"/>
                      </a:lnTo>
                      <a:lnTo>
                        <a:pt x="232096" y="426557"/>
                      </a:lnTo>
                      <a:lnTo>
                        <a:pt x="233221" y="426117"/>
                      </a:lnTo>
                      <a:lnTo>
                        <a:pt x="234207" y="426663"/>
                      </a:lnTo>
                      <a:lnTo>
                        <a:pt x="237492" y="427372"/>
                      </a:lnTo>
                      <a:lnTo>
                        <a:pt x="240882" y="430061"/>
                      </a:lnTo>
                      <a:lnTo>
                        <a:pt x="241974" y="430281"/>
                      </a:lnTo>
                      <a:lnTo>
                        <a:pt x="242349" y="430037"/>
                      </a:lnTo>
                      <a:lnTo>
                        <a:pt x="241110" y="429246"/>
                      </a:lnTo>
                      <a:lnTo>
                        <a:pt x="240091" y="427983"/>
                      </a:lnTo>
                      <a:lnTo>
                        <a:pt x="239668" y="426801"/>
                      </a:lnTo>
                      <a:lnTo>
                        <a:pt x="240906" y="423085"/>
                      </a:lnTo>
                      <a:lnTo>
                        <a:pt x="242357" y="422018"/>
                      </a:lnTo>
                      <a:lnTo>
                        <a:pt x="242618" y="421284"/>
                      </a:lnTo>
                      <a:lnTo>
                        <a:pt x="239724" y="421268"/>
                      </a:lnTo>
                      <a:lnTo>
                        <a:pt x="237394" y="420233"/>
                      </a:lnTo>
                      <a:lnTo>
                        <a:pt x="236701" y="418546"/>
                      </a:lnTo>
                      <a:lnTo>
                        <a:pt x="236839" y="415587"/>
                      </a:lnTo>
                      <a:lnTo>
                        <a:pt x="237605" y="413819"/>
                      </a:lnTo>
                      <a:lnTo>
                        <a:pt x="239472" y="411488"/>
                      </a:lnTo>
                      <a:lnTo>
                        <a:pt x="241746" y="409932"/>
                      </a:lnTo>
                      <a:lnTo>
                        <a:pt x="243107" y="410331"/>
                      </a:lnTo>
                      <a:lnTo>
                        <a:pt x="245715" y="412425"/>
                      </a:lnTo>
                      <a:lnTo>
                        <a:pt x="247312" y="411839"/>
                      </a:lnTo>
                      <a:lnTo>
                        <a:pt x="247124" y="411162"/>
                      </a:lnTo>
                      <a:lnTo>
                        <a:pt x="244680" y="407829"/>
                      </a:lnTo>
                      <a:lnTo>
                        <a:pt x="243897" y="405351"/>
                      </a:lnTo>
                      <a:lnTo>
                        <a:pt x="243962" y="404178"/>
                      </a:lnTo>
                      <a:lnTo>
                        <a:pt x="249260" y="392377"/>
                      </a:lnTo>
                      <a:lnTo>
                        <a:pt x="251851" y="386036"/>
                      </a:lnTo>
                      <a:lnTo>
                        <a:pt x="255380" y="376355"/>
                      </a:lnTo>
                      <a:lnTo>
                        <a:pt x="256203" y="374823"/>
                      </a:lnTo>
                      <a:lnTo>
                        <a:pt x="257988" y="371962"/>
                      </a:lnTo>
                      <a:lnTo>
                        <a:pt x="258730" y="371180"/>
                      </a:lnTo>
                      <a:lnTo>
                        <a:pt x="261044" y="371180"/>
                      </a:lnTo>
                      <a:lnTo>
                        <a:pt x="262478" y="370837"/>
                      </a:lnTo>
                      <a:lnTo>
                        <a:pt x="260384" y="369574"/>
                      </a:lnTo>
                      <a:lnTo>
                        <a:pt x="259634" y="368694"/>
                      </a:lnTo>
                      <a:lnTo>
                        <a:pt x="259536" y="367757"/>
                      </a:lnTo>
                      <a:lnTo>
                        <a:pt x="260107" y="366787"/>
                      </a:lnTo>
                      <a:lnTo>
                        <a:pt x="260922" y="366070"/>
                      </a:lnTo>
                      <a:lnTo>
                        <a:pt x="263669" y="364505"/>
                      </a:lnTo>
                      <a:lnTo>
                        <a:pt x="265608" y="361938"/>
                      </a:lnTo>
                      <a:lnTo>
                        <a:pt x="266790" y="358914"/>
                      </a:lnTo>
                      <a:lnTo>
                        <a:pt x="266619" y="357887"/>
                      </a:lnTo>
                      <a:lnTo>
                        <a:pt x="266007" y="356860"/>
                      </a:lnTo>
                      <a:lnTo>
                        <a:pt x="266040" y="356306"/>
                      </a:lnTo>
                      <a:lnTo>
                        <a:pt x="267523" y="355679"/>
                      </a:lnTo>
                      <a:lnTo>
                        <a:pt x="271272" y="352085"/>
                      </a:lnTo>
                      <a:lnTo>
                        <a:pt x="271761" y="351392"/>
                      </a:lnTo>
                      <a:lnTo>
                        <a:pt x="273130" y="346592"/>
                      </a:lnTo>
                      <a:lnTo>
                        <a:pt x="274817" y="344457"/>
                      </a:lnTo>
                      <a:lnTo>
                        <a:pt x="276390" y="343365"/>
                      </a:lnTo>
                      <a:lnTo>
                        <a:pt x="278900" y="342003"/>
                      </a:lnTo>
                      <a:lnTo>
                        <a:pt x="286602" y="338711"/>
                      </a:lnTo>
                      <a:lnTo>
                        <a:pt x="291108" y="335769"/>
                      </a:lnTo>
                      <a:lnTo>
                        <a:pt x="294165" y="335940"/>
                      </a:lnTo>
                      <a:lnTo>
                        <a:pt x="295069" y="337986"/>
                      </a:lnTo>
                      <a:lnTo>
                        <a:pt x="299421" y="339347"/>
                      </a:lnTo>
                      <a:lnTo>
                        <a:pt x="300187" y="337888"/>
                      </a:lnTo>
                      <a:lnTo>
                        <a:pt x="299169" y="336095"/>
                      </a:lnTo>
                      <a:lnTo>
                        <a:pt x="300016" y="335378"/>
                      </a:lnTo>
                      <a:lnTo>
                        <a:pt x="303610" y="334726"/>
                      </a:lnTo>
                      <a:lnTo>
                        <a:pt x="304238" y="334970"/>
                      </a:lnTo>
                      <a:lnTo>
                        <a:pt x="305305" y="335989"/>
                      </a:lnTo>
                      <a:lnTo>
                        <a:pt x="305061" y="336894"/>
                      </a:lnTo>
                      <a:close/>
                    </a:path>
                  </a:pathLst>
                </a:custGeom>
                <a:solidFill>
                  <a:srgbClr val="D6D6D2"/>
                </a:solidFill>
                <a:ln w="6112" cap="rnd">
                  <a:solidFill>
                    <a:srgbClr val="FFFFFF"/>
                  </a:solidFill>
                  <a:prstDash val="solid"/>
                  <a:round/>
                </a:ln>
              </p:spPr>
              <p:txBody>
                <a:bodyPr rtlCol="0" anchor="ctr"/>
                <a:lstStyle/>
                <a:p>
                  <a:endParaRPr lang="en-US"/>
                </a:p>
              </p:txBody>
            </p:sp>
            <p:sp>
              <p:nvSpPr>
                <p:cNvPr id="479" name="Freeform: Shape 478">
                  <a:extLst>
                    <a:ext uri="{FF2B5EF4-FFF2-40B4-BE49-F238E27FC236}">
                      <a16:creationId xmlns:a16="http://schemas.microsoft.com/office/drawing/2014/main" id="{3C2ACA67-214A-4E9F-88CD-9075EBEC56F5}"/>
                    </a:ext>
                  </a:extLst>
                </p:cNvPr>
                <p:cNvSpPr/>
                <p:nvPr/>
              </p:nvSpPr>
              <p:spPr>
                <a:xfrm>
                  <a:off x="4230925" y="2994604"/>
                  <a:ext cx="129515" cy="106451"/>
                </a:xfrm>
                <a:custGeom>
                  <a:avLst/>
                  <a:gdLst>
                    <a:gd name="connsiteX0" fmla="*/ 66836 w 129515"/>
                    <a:gd name="connsiteY0" fmla="*/ 253 h 106451"/>
                    <a:gd name="connsiteX1" fmla="*/ 70544 w 129515"/>
                    <a:gd name="connsiteY1" fmla="*/ 2836 h 106451"/>
                    <a:gd name="connsiteX2" fmla="*/ 79493 w 129515"/>
                    <a:gd name="connsiteY2" fmla="*/ 5615 h 106451"/>
                    <a:gd name="connsiteX3" fmla="*/ 81815 w 129515"/>
                    <a:gd name="connsiteY3" fmla="*/ 7457 h 106451"/>
                    <a:gd name="connsiteX4" fmla="*/ 84024 w 129515"/>
                    <a:gd name="connsiteY4" fmla="*/ 13317 h 106451"/>
                    <a:gd name="connsiteX5" fmla="*/ 85491 w 129515"/>
                    <a:gd name="connsiteY5" fmla="*/ 14254 h 106451"/>
                    <a:gd name="connsiteX6" fmla="*/ 88555 w 129515"/>
                    <a:gd name="connsiteY6" fmla="*/ 13643 h 106451"/>
                    <a:gd name="connsiteX7" fmla="*/ 92019 w 129515"/>
                    <a:gd name="connsiteY7" fmla="*/ 10741 h 106451"/>
                    <a:gd name="connsiteX8" fmla="*/ 94896 w 129515"/>
                    <a:gd name="connsiteY8" fmla="*/ 9193 h 106451"/>
                    <a:gd name="connsiteX9" fmla="*/ 100511 w 129515"/>
                    <a:gd name="connsiteY9" fmla="*/ 7922 h 106451"/>
                    <a:gd name="connsiteX10" fmla="*/ 99402 w 129515"/>
                    <a:gd name="connsiteY10" fmla="*/ 9845 h 106451"/>
                    <a:gd name="connsiteX11" fmla="*/ 103673 w 129515"/>
                    <a:gd name="connsiteY11" fmla="*/ 9690 h 106451"/>
                    <a:gd name="connsiteX12" fmla="*/ 107911 w 129515"/>
                    <a:gd name="connsiteY12" fmla="*/ 12282 h 106451"/>
                    <a:gd name="connsiteX13" fmla="*/ 106346 w 129515"/>
                    <a:gd name="connsiteY13" fmla="*/ 14115 h 106451"/>
                    <a:gd name="connsiteX14" fmla="*/ 104219 w 129515"/>
                    <a:gd name="connsiteY14" fmla="*/ 17832 h 106451"/>
                    <a:gd name="connsiteX15" fmla="*/ 102727 w 129515"/>
                    <a:gd name="connsiteY15" fmla="*/ 25020 h 106451"/>
                    <a:gd name="connsiteX16" fmla="*/ 98416 w 129515"/>
                    <a:gd name="connsiteY16" fmla="*/ 29828 h 106451"/>
                    <a:gd name="connsiteX17" fmla="*/ 92646 w 129515"/>
                    <a:gd name="connsiteY17" fmla="*/ 34555 h 106451"/>
                    <a:gd name="connsiteX18" fmla="*/ 94097 w 129515"/>
                    <a:gd name="connsiteY18" fmla="*/ 35688 h 106451"/>
                    <a:gd name="connsiteX19" fmla="*/ 95792 w 129515"/>
                    <a:gd name="connsiteY19" fmla="*/ 36397 h 106451"/>
                    <a:gd name="connsiteX20" fmla="*/ 99508 w 129515"/>
                    <a:gd name="connsiteY20" fmla="*/ 34995 h 106451"/>
                    <a:gd name="connsiteX21" fmla="*/ 101986 w 129515"/>
                    <a:gd name="connsiteY21" fmla="*/ 35093 h 106451"/>
                    <a:gd name="connsiteX22" fmla="*/ 104732 w 129515"/>
                    <a:gd name="connsiteY22" fmla="*/ 35997 h 106451"/>
                    <a:gd name="connsiteX23" fmla="*/ 103885 w 129515"/>
                    <a:gd name="connsiteY23" fmla="*/ 39657 h 106451"/>
                    <a:gd name="connsiteX24" fmla="*/ 102899 w 129515"/>
                    <a:gd name="connsiteY24" fmla="*/ 42142 h 106451"/>
                    <a:gd name="connsiteX25" fmla="*/ 103469 w 129515"/>
                    <a:gd name="connsiteY25" fmla="*/ 44465 h 106451"/>
                    <a:gd name="connsiteX26" fmla="*/ 105099 w 129515"/>
                    <a:gd name="connsiteY26" fmla="*/ 48874 h 106451"/>
                    <a:gd name="connsiteX27" fmla="*/ 107356 w 129515"/>
                    <a:gd name="connsiteY27" fmla="*/ 49844 h 106451"/>
                    <a:gd name="connsiteX28" fmla="*/ 108253 w 129515"/>
                    <a:gd name="connsiteY28" fmla="*/ 55492 h 106451"/>
                    <a:gd name="connsiteX29" fmla="*/ 109443 w 129515"/>
                    <a:gd name="connsiteY29" fmla="*/ 58556 h 106451"/>
                    <a:gd name="connsiteX30" fmla="*/ 109280 w 129515"/>
                    <a:gd name="connsiteY30" fmla="*/ 61025 h 106451"/>
                    <a:gd name="connsiteX31" fmla="*/ 111529 w 129515"/>
                    <a:gd name="connsiteY31" fmla="*/ 62606 h 106451"/>
                    <a:gd name="connsiteX32" fmla="*/ 111912 w 129515"/>
                    <a:gd name="connsiteY32" fmla="*/ 65124 h 106451"/>
                    <a:gd name="connsiteX33" fmla="*/ 120086 w 129515"/>
                    <a:gd name="connsiteY33" fmla="*/ 65834 h 106451"/>
                    <a:gd name="connsiteX34" fmla="*/ 121741 w 129515"/>
                    <a:gd name="connsiteY34" fmla="*/ 66803 h 106451"/>
                    <a:gd name="connsiteX35" fmla="*/ 127429 w 129515"/>
                    <a:gd name="connsiteY35" fmla="*/ 67757 h 106451"/>
                    <a:gd name="connsiteX36" fmla="*/ 128505 w 129515"/>
                    <a:gd name="connsiteY36" fmla="*/ 68450 h 106451"/>
                    <a:gd name="connsiteX37" fmla="*/ 129516 w 129515"/>
                    <a:gd name="connsiteY37" fmla="*/ 69827 h 106451"/>
                    <a:gd name="connsiteX38" fmla="*/ 123949 w 129515"/>
                    <a:gd name="connsiteY38" fmla="*/ 72859 h 106451"/>
                    <a:gd name="connsiteX39" fmla="*/ 124585 w 129515"/>
                    <a:gd name="connsiteY39" fmla="*/ 73168 h 106451"/>
                    <a:gd name="connsiteX40" fmla="*/ 124080 w 129515"/>
                    <a:gd name="connsiteY40" fmla="*/ 74399 h 106451"/>
                    <a:gd name="connsiteX41" fmla="*/ 121390 w 129515"/>
                    <a:gd name="connsiteY41" fmla="*/ 74863 h 106451"/>
                    <a:gd name="connsiteX42" fmla="*/ 119980 w 129515"/>
                    <a:gd name="connsiteY42" fmla="*/ 77121 h 106451"/>
                    <a:gd name="connsiteX43" fmla="*/ 118587 w 129515"/>
                    <a:gd name="connsiteY43" fmla="*/ 78922 h 106451"/>
                    <a:gd name="connsiteX44" fmla="*/ 117552 w 129515"/>
                    <a:gd name="connsiteY44" fmla="*/ 79419 h 106451"/>
                    <a:gd name="connsiteX45" fmla="*/ 115335 w 129515"/>
                    <a:gd name="connsiteY45" fmla="*/ 79729 h 106451"/>
                    <a:gd name="connsiteX46" fmla="*/ 113395 w 129515"/>
                    <a:gd name="connsiteY46" fmla="*/ 80454 h 106451"/>
                    <a:gd name="connsiteX47" fmla="*/ 112051 w 129515"/>
                    <a:gd name="connsiteY47" fmla="*/ 78327 h 106451"/>
                    <a:gd name="connsiteX48" fmla="*/ 109663 w 129515"/>
                    <a:gd name="connsiteY48" fmla="*/ 75499 h 106451"/>
                    <a:gd name="connsiteX49" fmla="*/ 109435 w 129515"/>
                    <a:gd name="connsiteY49" fmla="*/ 76673 h 106451"/>
                    <a:gd name="connsiteX50" fmla="*/ 110633 w 129515"/>
                    <a:gd name="connsiteY50" fmla="*/ 80193 h 106451"/>
                    <a:gd name="connsiteX51" fmla="*/ 106052 w 129515"/>
                    <a:gd name="connsiteY51" fmla="*/ 86371 h 106451"/>
                    <a:gd name="connsiteX52" fmla="*/ 103094 w 129515"/>
                    <a:gd name="connsiteY52" fmla="*/ 86811 h 106451"/>
                    <a:gd name="connsiteX53" fmla="*/ 99142 w 129515"/>
                    <a:gd name="connsiteY53" fmla="*/ 89696 h 106451"/>
                    <a:gd name="connsiteX54" fmla="*/ 93559 w 129515"/>
                    <a:gd name="connsiteY54" fmla="*/ 92206 h 106451"/>
                    <a:gd name="connsiteX55" fmla="*/ 87039 w 129515"/>
                    <a:gd name="connsiteY55" fmla="*/ 96974 h 106451"/>
                    <a:gd name="connsiteX56" fmla="*/ 78621 w 129515"/>
                    <a:gd name="connsiteY56" fmla="*/ 100991 h 106451"/>
                    <a:gd name="connsiteX57" fmla="*/ 76860 w 129515"/>
                    <a:gd name="connsiteY57" fmla="*/ 101008 h 106451"/>
                    <a:gd name="connsiteX58" fmla="*/ 73038 w 129515"/>
                    <a:gd name="connsiteY58" fmla="*/ 97699 h 106451"/>
                    <a:gd name="connsiteX59" fmla="*/ 74106 w 129515"/>
                    <a:gd name="connsiteY59" fmla="*/ 96191 h 106451"/>
                    <a:gd name="connsiteX60" fmla="*/ 75100 w 129515"/>
                    <a:gd name="connsiteY60" fmla="*/ 94154 h 106451"/>
                    <a:gd name="connsiteX61" fmla="*/ 74146 w 129515"/>
                    <a:gd name="connsiteY61" fmla="*/ 94741 h 106451"/>
                    <a:gd name="connsiteX62" fmla="*/ 73535 w 129515"/>
                    <a:gd name="connsiteY62" fmla="*/ 95629 h 106451"/>
                    <a:gd name="connsiteX63" fmla="*/ 71229 w 129515"/>
                    <a:gd name="connsiteY63" fmla="*/ 97047 h 106451"/>
                    <a:gd name="connsiteX64" fmla="*/ 73095 w 129515"/>
                    <a:gd name="connsiteY64" fmla="*/ 99793 h 106451"/>
                    <a:gd name="connsiteX65" fmla="*/ 72190 w 129515"/>
                    <a:gd name="connsiteY65" fmla="*/ 100829 h 106451"/>
                    <a:gd name="connsiteX66" fmla="*/ 69517 w 129515"/>
                    <a:gd name="connsiteY66" fmla="*/ 102181 h 106451"/>
                    <a:gd name="connsiteX67" fmla="*/ 67023 w 129515"/>
                    <a:gd name="connsiteY67" fmla="*/ 104137 h 106451"/>
                    <a:gd name="connsiteX68" fmla="*/ 64847 w 129515"/>
                    <a:gd name="connsiteY68" fmla="*/ 105458 h 106451"/>
                    <a:gd name="connsiteX69" fmla="*/ 63079 w 129515"/>
                    <a:gd name="connsiteY69" fmla="*/ 103787 h 106451"/>
                    <a:gd name="connsiteX70" fmla="*/ 58214 w 129515"/>
                    <a:gd name="connsiteY70" fmla="*/ 105889 h 106451"/>
                    <a:gd name="connsiteX71" fmla="*/ 54114 w 129515"/>
                    <a:gd name="connsiteY71" fmla="*/ 106452 h 106451"/>
                    <a:gd name="connsiteX72" fmla="*/ 53234 w 129515"/>
                    <a:gd name="connsiteY72" fmla="*/ 105384 h 106451"/>
                    <a:gd name="connsiteX73" fmla="*/ 52973 w 129515"/>
                    <a:gd name="connsiteY73" fmla="*/ 103697 h 106451"/>
                    <a:gd name="connsiteX74" fmla="*/ 51539 w 129515"/>
                    <a:gd name="connsiteY74" fmla="*/ 103290 h 106451"/>
                    <a:gd name="connsiteX75" fmla="*/ 48874 w 129515"/>
                    <a:gd name="connsiteY75" fmla="*/ 103754 h 106451"/>
                    <a:gd name="connsiteX76" fmla="*/ 47855 w 129515"/>
                    <a:gd name="connsiteY76" fmla="*/ 102866 h 106451"/>
                    <a:gd name="connsiteX77" fmla="*/ 46714 w 129515"/>
                    <a:gd name="connsiteY77" fmla="*/ 102426 h 106451"/>
                    <a:gd name="connsiteX78" fmla="*/ 45671 w 129515"/>
                    <a:gd name="connsiteY78" fmla="*/ 102059 h 106451"/>
                    <a:gd name="connsiteX79" fmla="*/ 44767 w 129515"/>
                    <a:gd name="connsiteY79" fmla="*/ 101766 h 106451"/>
                    <a:gd name="connsiteX80" fmla="*/ 44245 w 129515"/>
                    <a:gd name="connsiteY80" fmla="*/ 102263 h 106451"/>
                    <a:gd name="connsiteX81" fmla="*/ 43748 w 129515"/>
                    <a:gd name="connsiteY81" fmla="*/ 102915 h 106451"/>
                    <a:gd name="connsiteX82" fmla="*/ 43137 w 129515"/>
                    <a:gd name="connsiteY82" fmla="*/ 103420 h 106451"/>
                    <a:gd name="connsiteX83" fmla="*/ 41857 w 129515"/>
                    <a:gd name="connsiteY83" fmla="*/ 102719 h 106451"/>
                    <a:gd name="connsiteX84" fmla="*/ 41042 w 129515"/>
                    <a:gd name="connsiteY84" fmla="*/ 101448 h 106451"/>
                    <a:gd name="connsiteX85" fmla="*/ 39730 w 129515"/>
                    <a:gd name="connsiteY85" fmla="*/ 100128 h 106451"/>
                    <a:gd name="connsiteX86" fmla="*/ 39233 w 129515"/>
                    <a:gd name="connsiteY86" fmla="*/ 99133 h 106451"/>
                    <a:gd name="connsiteX87" fmla="*/ 39494 w 129515"/>
                    <a:gd name="connsiteY87" fmla="*/ 97976 h 106451"/>
                    <a:gd name="connsiteX88" fmla="*/ 40072 w 129515"/>
                    <a:gd name="connsiteY88" fmla="*/ 96868 h 106451"/>
                    <a:gd name="connsiteX89" fmla="*/ 40333 w 129515"/>
                    <a:gd name="connsiteY89" fmla="*/ 95539 h 106451"/>
                    <a:gd name="connsiteX90" fmla="*/ 39697 w 129515"/>
                    <a:gd name="connsiteY90" fmla="*/ 94015 h 106451"/>
                    <a:gd name="connsiteX91" fmla="*/ 39111 w 129515"/>
                    <a:gd name="connsiteY91" fmla="*/ 93152 h 106451"/>
                    <a:gd name="connsiteX92" fmla="*/ 38703 w 129515"/>
                    <a:gd name="connsiteY92" fmla="*/ 92157 h 106451"/>
                    <a:gd name="connsiteX93" fmla="*/ 38850 w 129515"/>
                    <a:gd name="connsiteY93" fmla="*/ 91204 h 106451"/>
                    <a:gd name="connsiteX94" fmla="*/ 39665 w 129515"/>
                    <a:gd name="connsiteY94" fmla="*/ 90747 h 106451"/>
                    <a:gd name="connsiteX95" fmla="*/ 40423 w 129515"/>
                    <a:gd name="connsiteY95" fmla="*/ 90169 h 106451"/>
                    <a:gd name="connsiteX96" fmla="*/ 40684 w 129515"/>
                    <a:gd name="connsiteY96" fmla="*/ 88930 h 106451"/>
                    <a:gd name="connsiteX97" fmla="*/ 40219 w 129515"/>
                    <a:gd name="connsiteY97" fmla="*/ 87610 h 106451"/>
                    <a:gd name="connsiteX98" fmla="*/ 38874 w 129515"/>
                    <a:gd name="connsiteY98" fmla="*/ 87072 h 106451"/>
                    <a:gd name="connsiteX99" fmla="*/ 37774 w 129515"/>
                    <a:gd name="connsiteY99" fmla="*/ 87275 h 106451"/>
                    <a:gd name="connsiteX100" fmla="*/ 36169 w 129515"/>
                    <a:gd name="connsiteY100" fmla="*/ 86990 h 106451"/>
                    <a:gd name="connsiteX101" fmla="*/ 34628 w 129515"/>
                    <a:gd name="connsiteY101" fmla="*/ 86159 h 106451"/>
                    <a:gd name="connsiteX102" fmla="*/ 33610 w 129515"/>
                    <a:gd name="connsiteY102" fmla="*/ 85205 h 106451"/>
                    <a:gd name="connsiteX103" fmla="*/ 32819 w 129515"/>
                    <a:gd name="connsiteY103" fmla="*/ 84668 h 106451"/>
                    <a:gd name="connsiteX104" fmla="*/ 32208 w 129515"/>
                    <a:gd name="connsiteY104" fmla="*/ 84668 h 106451"/>
                    <a:gd name="connsiteX105" fmla="*/ 31482 w 129515"/>
                    <a:gd name="connsiteY105" fmla="*/ 84130 h 106451"/>
                    <a:gd name="connsiteX106" fmla="*/ 31043 w 129515"/>
                    <a:gd name="connsiteY106" fmla="*/ 83217 h 106451"/>
                    <a:gd name="connsiteX107" fmla="*/ 31099 w 129515"/>
                    <a:gd name="connsiteY107" fmla="*/ 81726 h 106451"/>
                    <a:gd name="connsiteX108" fmla="*/ 31295 w 129515"/>
                    <a:gd name="connsiteY108" fmla="*/ 80821 h 106451"/>
                    <a:gd name="connsiteX109" fmla="*/ 31711 w 129515"/>
                    <a:gd name="connsiteY109" fmla="*/ 80030 h 106451"/>
                    <a:gd name="connsiteX110" fmla="*/ 31735 w 129515"/>
                    <a:gd name="connsiteY110" fmla="*/ 79158 h 106451"/>
                    <a:gd name="connsiteX111" fmla="*/ 31564 w 129515"/>
                    <a:gd name="connsiteY111" fmla="*/ 78539 h 106451"/>
                    <a:gd name="connsiteX112" fmla="*/ 31531 w 129515"/>
                    <a:gd name="connsiteY112" fmla="*/ 78042 h 106451"/>
                    <a:gd name="connsiteX113" fmla="*/ 31654 w 129515"/>
                    <a:gd name="connsiteY113" fmla="*/ 77422 h 106451"/>
                    <a:gd name="connsiteX114" fmla="*/ 31914 w 129515"/>
                    <a:gd name="connsiteY114" fmla="*/ 76184 h 106451"/>
                    <a:gd name="connsiteX115" fmla="*/ 31474 w 129515"/>
                    <a:gd name="connsiteY115" fmla="*/ 75271 h 106451"/>
                    <a:gd name="connsiteX116" fmla="*/ 31434 w 129515"/>
                    <a:gd name="connsiteY116" fmla="*/ 72117 h 106451"/>
                    <a:gd name="connsiteX117" fmla="*/ 31344 w 129515"/>
                    <a:gd name="connsiteY117" fmla="*/ 66200 h 106451"/>
                    <a:gd name="connsiteX118" fmla="*/ 31279 w 129515"/>
                    <a:gd name="connsiteY118" fmla="*/ 61669 h 106451"/>
                    <a:gd name="connsiteX119" fmla="*/ 31197 w 129515"/>
                    <a:gd name="connsiteY119" fmla="*/ 55964 h 106451"/>
                    <a:gd name="connsiteX120" fmla="*/ 31156 w 129515"/>
                    <a:gd name="connsiteY120" fmla="*/ 51808 h 106451"/>
                    <a:gd name="connsiteX121" fmla="*/ 31091 w 129515"/>
                    <a:gd name="connsiteY121" fmla="*/ 45973 h 106451"/>
                    <a:gd name="connsiteX122" fmla="*/ 31034 w 129515"/>
                    <a:gd name="connsiteY122" fmla="*/ 40431 h 106451"/>
                    <a:gd name="connsiteX123" fmla="*/ 30937 w 129515"/>
                    <a:gd name="connsiteY123" fmla="*/ 35191 h 106451"/>
                    <a:gd name="connsiteX124" fmla="*/ 27758 w 129515"/>
                    <a:gd name="connsiteY124" fmla="*/ 32167 h 106451"/>
                    <a:gd name="connsiteX125" fmla="*/ 23740 w 129515"/>
                    <a:gd name="connsiteY125" fmla="*/ 28345 h 106451"/>
                    <a:gd name="connsiteX126" fmla="*/ 20301 w 129515"/>
                    <a:gd name="connsiteY126" fmla="*/ 25802 h 106451"/>
                    <a:gd name="connsiteX127" fmla="*/ 18435 w 129515"/>
                    <a:gd name="connsiteY127" fmla="*/ 25500 h 106451"/>
                    <a:gd name="connsiteX128" fmla="*/ 17261 w 129515"/>
                    <a:gd name="connsiteY128" fmla="*/ 25851 h 106451"/>
                    <a:gd name="connsiteX129" fmla="*/ 16789 w 129515"/>
                    <a:gd name="connsiteY129" fmla="*/ 26870 h 106451"/>
                    <a:gd name="connsiteX130" fmla="*/ 14221 w 129515"/>
                    <a:gd name="connsiteY130" fmla="*/ 27945 h 106451"/>
                    <a:gd name="connsiteX131" fmla="*/ 9552 w 129515"/>
                    <a:gd name="connsiteY131" fmla="*/ 29103 h 106451"/>
                    <a:gd name="connsiteX132" fmla="*/ 5575 w 129515"/>
                    <a:gd name="connsiteY132" fmla="*/ 30888 h 106451"/>
                    <a:gd name="connsiteX133" fmla="*/ 4124 w 129515"/>
                    <a:gd name="connsiteY133" fmla="*/ 30912 h 106451"/>
                    <a:gd name="connsiteX134" fmla="*/ 2893 w 129515"/>
                    <a:gd name="connsiteY134" fmla="*/ 30610 h 106451"/>
                    <a:gd name="connsiteX135" fmla="*/ 1255 w 129515"/>
                    <a:gd name="connsiteY135" fmla="*/ 29706 h 106451"/>
                    <a:gd name="connsiteX136" fmla="*/ 122 w 129515"/>
                    <a:gd name="connsiteY136" fmla="*/ 28386 h 106451"/>
                    <a:gd name="connsiteX137" fmla="*/ 0 w 129515"/>
                    <a:gd name="connsiteY137" fmla="*/ 27636 h 106451"/>
                    <a:gd name="connsiteX138" fmla="*/ 10546 w 129515"/>
                    <a:gd name="connsiteY138" fmla="*/ 23137 h 106451"/>
                    <a:gd name="connsiteX139" fmla="*/ 13830 w 129515"/>
                    <a:gd name="connsiteY139" fmla="*/ 21002 h 106451"/>
                    <a:gd name="connsiteX140" fmla="*/ 15476 w 129515"/>
                    <a:gd name="connsiteY140" fmla="*/ 19290 h 106451"/>
                    <a:gd name="connsiteX141" fmla="*/ 16365 w 129515"/>
                    <a:gd name="connsiteY141" fmla="*/ 18044 h 106451"/>
                    <a:gd name="connsiteX142" fmla="*/ 16715 w 129515"/>
                    <a:gd name="connsiteY142" fmla="*/ 17114 h 106451"/>
                    <a:gd name="connsiteX143" fmla="*/ 16723 w 129515"/>
                    <a:gd name="connsiteY143" fmla="*/ 13439 h 106451"/>
                    <a:gd name="connsiteX144" fmla="*/ 16731 w 129515"/>
                    <a:gd name="connsiteY144" fmla="*/ 10815 h 106451"/>
                    <a:gd name="connsiteX145" fmla="*/ 16740 w 129515"/>
                    <a:gd name="connsiteY145" fmla="*/ 8191 h 106451"/>
                    <a:gd name="connsiteX146" fmla="*/ 16748 w 129515"/>
                    <a:gd name="connsiteY146" fmla="*/ 4931 h 106451"/>
                    <a:gd name="connsiteX147" fmla="*/ 19861 w 129515"/>
                    <a:gd name="connsiteY147" fmla="*/ 4931 h 106451"/>
                    <a:gd name="connsiteX148" fmla="*/ 23308 w 129515"/>
                    <a:gd name="connsiteY148" fmla="*/ 4931 h 106451"/>
                    <a:gd name="connsiteX149" fmla="*/ 23308 w 129515"/>
                    <a:gd name="connsiteY149" fmla="*/ 2453 h 106451"/>
                    <a:gd name="connsiteX150" fmla="*/ 25549 w 129515"/>
                    <a:gd name="connsiteY150" fmla="*/ 2453 h 106451"/>
                    <a:gd name="connsiteX151" fmla="*/ 28272 w 129515"/>
                    <a:gd name="connsiteY151" fmla="*/ 2453 h 106451"/>
                    <a:gd name="connsiteX152" fmla="*/ 32591 w 129515"/>
                    <a:gd name="connsiteY152" fmla="*/ 2453 h 106451"/>
                    <a:gd name="connsiteX153" fmla="*/ 35728 w 129515"/>
                    <a:gd name="connsiteY153" fmla="*/ 2453 h 106451"/>
                    <a:gd name="connsiteX154" fmla="*/ 35810 w 129515"/>
                    <a:gd name="connsiteY154" fmla="*/ 3521 h 106451"/>
                    <a:gd name="connsiteX155" fmla="*/ 36560 w 129515"/>
                    <a:gd name="connsiteY155" fmla="*/ 4564 h 106451"/>
                    <a:gd name="connsiteX156" fmla="*/ 41873 w 129515"/>
                    <a:gd name="connsiteY156" fmla="*/ 7612 h 106451"/>
                    <a:gd name="connsiteX157" fmla="*/ 43308 w 129515"/>
                    <a:gd name="connsiteY157" fmla="*/ 6446 h 106451"/>
                    <a:gd name="connsiteX158" fmla="*/ 46282 w 129515"/>
                    <a:gd name="connsiteY158" fmla="*/ 6202 h 106451"/>
                    <a:gd name="connsiteX159" fmla="*/ 49493 w 129515"/>
                    <a:gd name="connsiteY159" fmla="*/ 5330 h 106451"/>
                    <a:gd name="connsiteX160" fmla="*/ 52118 w 129515"/>
                    <a:gd name="connsiteY160" fmla="*/ 6015 h 106451"/>
                    <a:gd name="connsiteX161" fmla="*/ 52778 w 129515"/>
                    <a:gd name="connsiteY161" fmla="*/ 3716 h 106451"/>
                    <a:gd name="connsiteX162" fmla="*/ 54823 w 129515"/>
                    <a:gd name="connsiteY162" fmla="*/ 2486 h 106451"/>
                    <a:gd name="connsiteX163" fmla="*/ 58254 w 129515"/>
                    <a:gd name="connsiteY163" fmla="*/ 1597 h 106451"/>
                    <a:gd name="connsiteX164" fmla="*/ 60056 w 129515"/>
                    <a:gd name="connsiteY164" fmla="*/ 2005 h 106451"/>
                    <a:gd name="connsiteX165" fmla="*/ 65084 w 129515"/>
                    <a:gd name="connsiteY165" fmla="*/ 0 h 106451"/>
                    <a:gd name="connsiteX166" fmla="*/ 66836 w 129515"/>
                    <a:gd name="connsiteY166" fmla="*/ 253 h 106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Lst>
                  <a:rect l="l" t="t" r="r" b="b"/>
                  <a:pathLst>
                    <a:path w="129515" h="106451">
                      <a:moveTo>
                        <a:pt x="66836" y="253"/>
                      </a:moveTo>
                      <a:lnTo>
                        <a:pt x="70544" y="2836"/>
                      </a:lnTo>
                      <a:lnTo>
                        <a:pt x="79493" y="5615"/>
                      </a:lnTo>
                      <a:lnTo>
                        <a:pt x="81815" y="7457"/>
                      </a:lnTo>
                      <a:lnTo>
                        <a:pt x="84024" y="13317"/>
                      </a:lnTo>
                      <a:lnTo>
                        <a:pt x="85491" y="14254"/>
                      </a:lnTo>
                      <a:lnTo>
                        <a:pt x="88555" y="13643"/>
                      </a:lnTo>
                      <a:lnTo>
                        <a:pt x="92019" y="10741"/>
                      </a:lnTo>
                      <a:lnTo>
                        <a:pt x="94896" y="9193"/>
                      </a:lnTo>
                      <a:lnTo>
                        <a:pt x="100511" y="7922"/>
                      </a:lnTo>
                      <a:lnTo>
                        <a:pt x="99402" y="9845"/>
                      </a:lnTo>
                      <a:lnTo>
                        <a:pt x="103673" y="9690"/>
                      </a:lnTo>
                      <a:lnTo>
                        <a:pt x="107911" y="12282"/>
                      </a:lnTo>
                      <a:lnTo>
                        <a:pt x="106346" y="14115"/>
                      </a:lnTo>
                      <a:lnTo>
                        <a:pt x="104219" y="17832"/>
                      </a:lnTo>
                      <a:lnTo>
                        <a:pt x="102727" y="25020"/>
                      </a:lnTo>
                      <a:lnTo>
                        <a:pt x="98416" y="29828"/>
                      </a:lnTo>
                      <a:lnTo>
                        <a:pt x="92646" y="34555"/>
                      </a:lnTo>
                      <a:lnTo>
                        <a:pt x="94097" y="35688"/>
                      </a:lnTo>
                      <a:lnTo>
                        <a:pt x="95792" y="36397"/>
                      </a:lnTo>
                      <a:lnTo>
                        <a:pt x="99508" y="34995"/>
                      </a:lnTo>
                      <a:lnTo>
                        <a:pt x="101986" y="35093"/>
                      </a:lnTo>
                      <a:lnTo>
                        <a:pt x="104732" y="35997"/>
                      </a:lnTo>
                      <a:lnTo>
                        <a:pt x="103885" y="39657"/>
                      </a:lnTo>
                      <a:lnTo>
                        <a:pt x="102899" y="42142"/>
                      </a:lnTo>
                      <a:lnTo>
                        <a:pt x="103469" y="44465"/>
                      </a:lnTo>
                      <a:lnTo>
                        <a:pt x="105099" y="48874"/>
                      </a:lnTo>
                      <a:lnTo>
                        <a:pt x="107356" y="49844"/>
                      </a:lnTo>
                      <a:lnTo>
                        <a:pt x="108253" y="55492"/>
                      </a:lnTo>
                      <a:lnTo>
                        <a:pt x="109443" y="58556"/>
                      </a:lnTo>
                      <a:lnTo>
                        <a:pt x="109280" y="61025"/>
                      </a:lnTo>
                      <a:lnTo>
                        <a:pt x="111529" y="62606"/>
                      </a:lnTo>
                      <a:lnTo>
                        <a:pt x="111912" y="65124"/>
                      </a:lnTo>
                      <a:lnTo>
                        <a:pt x="120086" y="65834"/>
                      </a:lnTo>
                      <a:lnTo>
                        <a:pt x="121741" y="66803"/>
                      </a:lnTo>
                      <a:lnTo>
                        <a:pt x="127429" y="67757"/>
                      </a:lnTo>
                      <a:lnTo>
                        <a:pt x="128505" y="68450"/>
                      </a:lnTo>
                      <a:lnTo>
                        <a:pt x="129516" y="69827"/>
                      </a:lnTo>
                      <a:lnTo>
                        <a:pt x="123949" y="72859"/>
                      </a:lnTo>
                      <a:lnTo>
                        <a:pt x="124585" y="73168"/>
                      </a:lnTo>
                      <a:lnTo>
                        <a:pt x="124080" y="74399"/>
                      </a:lnTo>
                      <a:lnTo>
                        <a:pt x="121390" y="74863"/>
                      </a:lnTo>
                      <a:lnTo>
                        <a:pt x="119980" y="77121"/>
                      </a:lnTo>
                      <a:lnTo>
                        <a:pt x="118587" y="78922"/>
                      </a:lnTo>
                      <a:lnTo>
                        <a:pt x="117552" y="79419"/>
                      </a:lnTo>
                      <a:lnTo>
                        <a:pt x="115335" y="79729"/>
                      </a:lnTo>
                      <a:lnTo>
                        <a:pt x="113395" y="80454"/>
                      </a:lnTo>
                      <a:lnTo>
                        <a:pt x="112051" y="78327"/>
                      </a:lnTo>
                      <a:lnTo>
                        <a:pt x="109663" y="75499"/>
                      </a:lnTo>
                      <a:lnTo>
                        <a:pt x="109435" y="76673"/>
                      </a:lnTo>
                      <a:lnTo>
                        <a:pt x="110633" y="80193"/>
                      </a:lnTo>
                      <a:lnTo>
                        <a:pt x="106052" y="86371"/>
                      </a:lnTo>
                      <a:lnTo>
                        <a:pt x="103094" y="86811"/>
                      </a:lnTo>
                      <a:lnTo>
                        <a:pt x="99142" y="89696"/>
                      </a:lnTo>
                      <a:lnTo>
                        <a:pt x="93559" y="92206"/>
                      </a:lnTo>
                      <a:lnTo>
                        <a:pt x="87039" y="96974"/>
                      </a:lnTo>
                      <a:lnTo>
                        <a:pt x="78621" y="100991"/>
                      </a:lnTo>
                      <a:lnTo>
                        <a:pt x="76860" y="101008"/>
                      </a:lnTo>
                      <a:lnTo>
                        <a:pt x="73038" y="97699"/>
                      </a:lnTo>
                      <a:lnTo>
                        <a:pt x="74106" y="96191"/>
                      </a:lnTo>
                      <a:lnTo>
                        <a:pt x="75100" y="94154"/>
                      </a:lnTo>
                      <a:lnTo>
                        <a:pt x="74146" y="94741"/>
                      </a:lnTo>
                      <a:lnTo>
                        <a:pt x="73535" y="95629"/>
                      </a:lnTo>
                      <a:lnTo>
                        <a:pt x="71229" y="97047"/>
                      </a:lnTo>
                      <a:lnTo>
                        <a:pt x="73095" y="99793"/>
                      </a:lnTo>
                      <a:lnTo>
                        <a:pt x="72190" y="100829"/>
                      </a:lnTo>
                      <a:lnTo>
                        <a:pt x="69517" y="102181"/>
                      </a:lnTo>
                      <a:lnTo>
                        <a:pt x="67023" y="104137"/>
                      </a:lnTo>
                      <a:lnTo>
                        <a:pt x="64847" y="105458"/>
                      </a:lnTo>
                      <a:lnTo>
                        <a:pt x="63079" y="103787"/>
                      </a:lnTo>
                      <a:lnTo>
                        <a:pt x="58214" y="105889"/>
                      </a:lnTo>
                      <a:lnTo>
                        <a:pt x="54114" y="106452"/>
                      </a:lnTo>
                      <a:lnTo>
                        <a:pt x="53234" y="105384"/>
                      </a:lnTo>
                      <a:lnTo>
                        <a:pt x="52973" y="103697"/>
                      </a:lnTo>
                      <a:lnTo>
                        <a:pt x="51539" y="103290"/>
                      </a:lnTo>
                      <a:lnTo>
                        <a:pt x="48874" y="103754"/>
                      </a:lnTo>
                      <a:lnTo>
                        <a:pt x="47855" y="102866"/>
                      </a:lnTo>
                      <a:lnTo>
                        <a:pt x="46714" y="102426"/>
                      </a:lnTo>
                      <a:lnTo>
                        <a:pt x="45671" y="102059"/>
                      </a:lnTo>
                      <a:lnTo>
                        <a:pt x="44767" y="101766"/>
                      </a:lnTo>
                      <a:lnTo>
                        <a:pt x="44245" y="102263"/>
                      </a:lnTo>
                      <a:lnTo>
                        <a:pt x="43748" y="102915"/>
                      </a:lnTo>
                      <a:lnTo>
                        <a:pt x="43137" y="103420"/>
                      </a:lnTo>
                      <a:lnTo>
                        <a:pt x="41857" y="102719"/>
                      </a:lnTo>
                      <a:lnTo>
                        <a:pt x="41042" y="101448"/>
                      </a:lnTo>
                      <a:lnTo>
                        <a:pt x="39730" y="100128"/>
                      </a:lnTo>
                      <a:lnTo>
                        <a:pt x="39233" y="99133"/>
                      </a:lnTo>
                      <a:lnTo>
                        <a:pt x="39494" y="97976"/>
                      </a:lnTo>
                      <a:lnTo>
                        <a:pt x="40072" y="96868"/>
                      </a:lnTo>
                      <a:lnTo>
                        <a:pt x="40333" y="95539"/>
                      </a:lnTo>
                      <a:lnTo>
                        <a:pt x="39697" y="94015"/>
                      </a:lnTo>
                      <a:lnTo>
                        <a:pt x="39111" y="93152"/>
                      </a:lnTo>
                      <a:lnTo>
                        <a:pt x="38703" y="92157"/>
                      </a:lnTo>
                      <a:lnTo>
                        <a:pt x="38850" y="91204"/>
                      </a:lnTo>
                      <a:lnTo>
                        <a:pt x="39665" y="90747"/>
                      </a:lnTo>
                      <a:lnTo>
                        <a:pt x="40423" y="90169"/>
                      </a:lnTo>
                      <a:lnTo>
                        <a:pt x="40684" y="88930"/>
                      </a:lnTo>
                      <a:lnTo>
                        <a:pt x="40219" y="87610"/>
                      </a:lnTo>
                      <a:lnTo>
                        <a:pt x="38874" y="87072"/>
                      </a:lnTo>
                      <a:lnTo>
                        <a:pt x="37774" y="87275"/>
                      </a:lnTo>
                      <a:lnTo>
                        <a:pt x="36169" y="86990"/>
                      </a:lnTo>
                      <a:lnTo>
                        <a:pt x="34628" y="86159"/>
                      </a:lnTo>
                      <a:lnTo>
                        <a:pt x="33610" y="85205"/>
                      </a:lnTo>
                      <a:lnTo>
                        <a:pt x="32819" y="84668"/>
                      </a:lnTo>
                      <a:lnTo>
                        <a:pt x="32208" y="84668"/>
                      </a:lnTo>
                      <a:lnTo>
                        <a:pt x="31482" y="84130"/>
                      </a:lnTo>
                      <a:lnTo>
                        <a:pt x="31043" y="83217"/>
                      </a:lnTo>
                      <a:lnTo>
                        <a:pt x="31099" y="81726"/>
                      </a:lnTo>
                      <a:lnTo>
                        <a:pt x="31295" y="80821"/>
                      </a:lnTo>
                      <a:lnTo>
                        <a:pt x="31711" y="80030"/>
                      </a:lnTo>
                      <a:lnTo>
                        <a:pt x="31735" y="79158"/>
                      </a:lnTo>
                      <a:lnTo>
                        <a:pt x="31564" y="78539"/>
                      </a:lnTo>
                      <a:lnTo>
                        <a:pt x="31531" y="78042"/>
                      </a:lnTo>
                      <a:lnTo>
                        <a:pt x="31654" y="77422"/>
                      </a:lnTo>
                      <a:lnTo>
                        <a:pt x="31914" y="76184"/>
                      </a:lnTo>
                      <a:lnTo>
                        <a:pt x="31474" y="75271"/>
                      </a:lnTo>
                      <a:lnTo>
                        <a:pt x="31434" y="72117"/>
                      </a:lnTo>
                      <a:lnTo>
                        <a:pt x="31344" y="66200"/>
                      </a:lnTo>
                      <a:lnTo>
                        <a:pt x="31279" y="61669"/>
                      </a:lnTo>
                      <a:lnTo>
                        <a:pt x="31197" y="55964"/>
                      </a:lnTo>
                      <a:lnTo>
                        <a:pt x="31156" y="51808"/>
                      </a:lnTo>
                      <a:lnTo>
                        <a:pt x="31091" y="45973"/>
                      </a:lnTo>
                      <a:lnTo>
                        <a:pt x="31034" y="40431"/>
                      </a:lnTo>
                      <a:lnTo>
                        <a:pt x="30937" y="35191"/>
                      </a:lnTo>
                      <a:lnTo>
                        <a:pt x="27758" y="32167"/>
                      </a:lnTo>
                      <a:lnTo>
                        <a:pt x="23740" y="28345"/>
                      </a:lnTo>
                      <a:lnTo>
                        <a:pt x="20301" y="25802"/>
                      </a:lnTo>
                      <a:lnTo>
                        <a:pt x="18435" y="25500"/>
                      </a:lnTo>
                      <a:lnTo>
                        <a:pt x="17261" y="25851"/>
                      </a:lnTo>
                      <a:lnTo>
                        <a:pt x="16789" y="26870"/>
                      </a:lnTo>
                      <a:lnTo>
                        <a:pt x="14221" y="27945"/>
                      </a:lnTo>
                      <a:lnTo>
                        <a:pt x="9552" y="29103"/>
                      </a:lnTo>
                      <a:lnTo>
                        <a:pt x="5575" y="30888"/>
                      </a:lnTo>
                      <a:lnTo>
                        <a:pt x="4124" y="30912"/>
                      </a:lnTo>
                      <a:lnTo>
                        <a:pt x="2893" y="30610"/>
                      </a:lnTo>
                      <a:lnTo>
                        <a:pt x="1255" y="29706"/>
                      </a:lnTo>
                      <a:lnTo>
                        <a:pt x="122" y="28386"/>
                      </a:lnTo>
                      <a:lnTo>
                        <a:pt x="0" y="27636"/>
                      </a:lnTo>
                      <a:lnTo>
                        <a:pt x="10546" y="23137"/>
                      </a:lnTo>
                      <a:lnTo>
                        <a:pt x="13830" y="21002"/>
                      </a:lnTo>
                      <a:lnTo>
                        <a:pt x="15476" y="19290"/>
                      </a:lnTo>
                      <a:lnTo>
                        <a:pt x="16365" y="18044"/>
                      </a:lnTo>
                      <a:lnTo>
                        <a:pt x="16715" y="17114"/>
                      </a:lnTo>
                      <a:lnTo>
                        <a:pt x="16723" y="13439"/>
                      </a:lnTo>
                      <a:lnTo>
                        <a:pt x="16731" y="10815"/>
                      </a:lnTo>
                      <a:lnTo>
                        <a:pt x="16740" y="8191"/>
                      </a:lnTo>
                      <a:lnTo>
                        <a:pt x="16748" y="4931"/>
                      </a:lnTo>
                      <a:lnTo>
                        <a:pt x="19861" y="4931"/>
                      </a:lnTo>
                      <a:lnTo>
                        <a:pt x="23308" y="4931"/>
                      </a:lnTo>
                      <a:lnTo>
                        <a:pt x="23308" y="2453"/>
                      </a:lnTo>
                      <a:lnTo>
                        <a:pt x="25549" y="2453"/>
                      </a:lnTo>
                      <a:lnTo>
                        <a:pt x="28272" y="2453"/>
                      </a:lnTo>
                      <a:lnTo>
                        <a:pt x="32591" y="2453"/>
                      </a:lnTo>
                      <a:lnTo>
                        <a:pt x="35728" y="2453"/>
                      </a:lnTo>
                      <a:lnTo>
                        <a:pt x="35810" y="3521"/>
                      </a:lnTo>
                      <a:lnTo>
                        <a:pt x="36560" y="4564"/>
                      </a:lnTo>
                      <a:lnTo>
                        <a:pt x="41873" y="7612"/>
                      </a:lnTo>
                      <a:lnTo>
                        <a:pt x="43308" y="6446"/>
                      </a:lnTo>
                      <a:lnTo>
                        <a:pt x="46282" y="6202"/>
                      </a:lnTo>
                      <a:lnTo>
                        <a:pt x="49493" y="5330"/>
                      </a:lnTo>
                      <a:lnTo>
                        <a:pt x="52118" y="6015"/>
                      </a:lnTo>
                      <a:lnTo>
                        <a:pt x="52778" y="3716"/>
                      </a:lnTo>
                      <a:lnTo>
                        <a:pt x="54823" y="2486"/>
                      </a:lnTo>
                      <a:lnTo>
                        <a:pt x="58254" y="1597"/>
                      </a:lnTo>
                      <a:lnTo>
                        <a:pt x="60056" y="2005"/>
                      </a:lnTo>
                      <a:lnTo>
                        <a:pt x="65084" y="0"/>
                      </a:lnTo>
                      <a:lnTo>
                        <a:pt x="66836" y="253"/>
                      </a:lnTo>
                      <a:close/>
                    </a:path>
                  </a:pathLst>
                </a:custGeom>
                <a:solidFill>
                  <a:srgbClr val="D6D6D2"/>
                </a:solidFill>
                <a:ln w="6112" cap="rnd">
                  <a:solidFill>
                    <a:srgbClr val="FFFFFF"/>
                  </a:solidFill>
                  <a:prstDash val="solid"/>
                  <a:round/>
                </a:ln>
              </p:spPr>
              <p:txBody>
                <a:bodyPr rtlCol="0" anchor="ctr"/>
                <a:lstStyle/>
                <a:p>
                  <a:endParaRPr lang="en-US"/>
                </a:p>
              </p:txBody>
            </p:sp>
            <p:sp>
              <p:nvSpPr>
                <p:cNvPr id="480" name="Freeform: Shape 479">
                  <a:extLst>
                    <a:ext uri="{FF2B5EF4-FFF2-40B4-BE49-F238E27FC236}">
                      <a16:creationId xmlns:a16="http://schemas.microsoft.com/office/drawing/2014/main" id="{1E405A41-8EEF-4F22-8919-261F6BCA8946}"/>
                    </a:ext>
                  </a:extLst>
                </p:cNvPr>
                <p:cNvSpPr/>
                <p:nvPr/>
              </p:nvSpPr>
              <p:spPr>
                <a:xfrm>
                  <a:off x="9440756" y="5384489"/>
                  <a:ext cx="312925" cy="304604"/>
                </a:xfrm>
                <a:custGeom>
                  <a:avLst/>
                  <a:gdLst>
                    <a:gd name="connsiteX0" fmla="*/ 311727 w 312925"/>
                    <a:gd name="connsiteY0" fmla="*/ 12380 h 304604"/>
                    <a:gd name="connsiteX1" fmla="*/ 312925 w 312925"/>
                    <a:gd name="connsiteY1" fmla="*/ 16837 h 304604"/>
                    <a:gd name="connsiteX2" fmla="*/ 312607 w 312925"/>
                    <a:gd name="connsiteY2" fmla="*/ 22624 h 304604"/>
                    <a:gd name="connsiteX3" fmla="*/ 309079 w 312925"/>
                    <a:gd name="connsiteY3" fmla="*/ 28874 h 304604"/>
                    <a:gd name="connsiteX4" fmla="*/ 306242 w 312925"/>
                    <a:gd name="connsiteY4" fmla="*/ 36543 h 304604"/>
                    <a:gd name="connsiteX5" fmla="*/ 306210 w 312925"/>
                    <a:gd name="connsiteY5" fmla="*/ 43153 h 304604"/>
                    <a:gd name="connsiteX6" fmla="*/ 304352 w 312925"/>
                    <a:gd name="connsiteY6" fmla="*/ 55834 h 304604"/>
                    <a:gd name="connsiteX7" fmla="*/ 303162 w 312925"/>
                    <a:gd name="connsiteY7" fmla="*/ 59249 h 304604"/>
                    <a:gd name="connsiteX8" fmla="*/ 302282 w 312925"/>
                    <a:gd name="connsiteY8" fmla="*/ 64546 h 304604"/>
                    <a:gd name="connsiteX9" fmla="*/ 298378 w 312925"/>
                    <a:gd name="connsiteY9" fmla="*/ 77382 h 304604"/>
                    <a:gd name="connsiteX10" fmla="*/ 298207 w 312925"/>
                    <a:gd name="connsiteY10" fmla="*/ 82443 h 304604"/>
                    <a:gd name="connsiteX11" fmla="*/ 298802 w 312925"/>
                    <a:gd name="connsiteY11" fmla="*/ 88449 h 304604"/>
                    <a:gd name="connsiteX12" fmla="*/ 298158 w 312925"/>
                    <a:gd name="connsiteY12" fmla="*/ 94243 h 304604"/>
                    <a:gd name="connsiteX13" fmla="*/ 297180 w 312925"/>
                    <a:gd name="connsiteY13" fmla="*/ 98180 h 304604"/>
                    <a:gd name="connsiteX14" fmla="*/ 296235 w 312925"/>
                    <a:gd name="connsiteY14" fmla="*/ 105482 h 304604"/>
                    <a:gd name="connsiteX15" fmla="*/ 292314 w 312925"/>
                    <a:gd name="connsiteY15" fmla="*/ 116843 h 304604"/>
                    <a:gd name="connsiteX16" fmla="*/ 286691 w 312925"/>
                    <a:gd name="connsiteY16" fmla="*/ 125245 h 304604"/>
                    <a:gd name="connsiteX17" fmla="*/ 286349 w 312925"/>
                    <a:gd name="connsiteY17" fmla="*/ 131651 h 304604"/>
                    <a:gd name="connsiteX18" fmla="*/ 285640 w 312925"/>
                    <a:gd name="connsiteY18" fmla="*/ 134479 h 304604"/>
                    <a:gd name="connsiteX19" fmla="*/ 284491 w 312925"/>
                    <a:gd name="connsiteY19" fmla="*/ 138008 h 304604"/>
                    <a:gd name="connsiteX20" fmla="*/ 281035 w 312925"/>
                    <a:gd name="connsiteY20" fmla="*/ 141862 h 304604"/>
                    <a:gd name="connsiteX21" fmla="*/ 278957 w 312925"/>
                    <a:gd name="connsiteY21" fmla="*/ 143525 h 304604"/>
                    <a:gd name="connsiteX22" fmla="*/ 278166 w 312925"/>
                    <a:gd name="connsiteY22" fmla="*/ 145782 h 304604"/>
                    <a:gd name="connsiteX23" fmla="*/ 276210 w 312925"/>
                    <a:gd name="connsiteY23" fmla="*/ 145782 h 304604"/>
                    <a:gd name="connsiteX24" fmla="*/ 276162 w 312925"/>
                    <a:gd name="connsiteY24" fmla="*/ 146491 h 304604"/>
                    <a:gd name="connsiteX25" fmla="*/ 277482 w 312925"/>
                    <a:gd name="connsiteY25" fmla="*/ 147201 h 304604"/>
                    <a:gd name="connsiteX26" fmla="*/ 276895 w 312925"/>
                    <a:gd name="connsiteY26" fmla="*/ 148366 h 304604"/>
                    <a:gd name="connsiteX27" fmla="*/ 271679 w 312925"/>
                    <a:gd name="connsiteY27" fmla="*/ 150411 h 304604"/>
                    <a:gd name="connsiteX28" fmla="*/ 268175 w 312925"/>
                    <a:gd name="connsiteY28" fmla="*/ 153036 h 304604"/>
                    <a:gd name="connsiteX29" fmla="*/ 264597 w 312925"/>
                    <a:gd name="connsiteY29" fmla="*/ 159474 h 304604"/>
                    <a:gd name="connsiteX30" fmla="*/ 263081 w 312925"/>
                    <a:gd name="connsiteY30" fmla="*/ 162840 h 304604"/>
                    <a:gd name="connsiteX31" fmla="*/ 261166 w 312925"/>
                    <a:gd name="connsiteY31" fmla="*/ 166067 h 304604"/>
                    <a:gd name="connsiteX32" fmla="*/ 260009 w 312925"/>
                    <a:gd name="connsiteY32" fmla="*/ 167575 h 304604"/>
                    <a:gd name="connsiteX33" fmla="*/ 259504 w 312925"/>
                    <a:gd name="connsiteY33" fmla="*/ 169205 h 304604"/>
                    <a:gd name="connsiteX34" fmla="*/ 258721 w 312925"/>
                    <a:gd name="connsiteY34" fmla="*/ 173272 h 304604"/>
                    <a:gd name="connsiteX35" fmla="*/ 256863 w 312925"/>
                    <a:gd name="connsiteY35" fmla="*/ 173989 h 304604"/>
                    <a:gd name="connsiteX36" fmla="*/ 255241 w 312925"/>
                    <a:gd name="connsiteY36" fmla="*/ 175211 h 304604"/>
                    <a:gd name="connsiteX37" fmla="*/ 256016 w 312925"/>
                    <a:gd name="connsiteY37" fmla="*/ 179066 h 304604"/>
                    <a:gd name="connsiteX38" fmla="*/ 255160 w 312925"/>
                    <a:gd name="connsiteY38" fmla="*/ 183500 h 304604"/>
                    <a:gd name="connsiteX39" fmla="*/ 254964 w 312925"/>
                    <a:gd name="connsiteY39" fmla="*/ 186515 h 304604"/>
                    <a:gd name="connsiteX40" fmla="*/ 254076 w 312925"/>
                    <a:gd name="connsiteY40" fmla="*/ 188414 h 304604"/>
                    <a:gd name="connsiteX41" fmla="*/ 253016 w 312925"/>
                    <a:gd name="connsiteY41" fmla="*/ 187721 h 304604"/>
                    <a:gd name="connsiteX42" fmla="*/ 252169 w 312925"/>
                    <a:gd name="connsiteY42" fmla="*/ 188031 h 304604"/>
                    <a:gd name="connsiteX43" fmla="*/ 251101 w 312925"/>
                    <a:gd name="connsiteY43" fmla="*/ 189066 h 304604"/>
                    <a:gd name="connsiteX44" fmla="*/ 252756 w 312925"/>
                    <a:gd name="connsiteY44" fmla="*/ 189408 h 304604"/>
                    <a:gd name="connsiteX45" fmla="*/ 253750 w 312925"/>
                    <a:gd name="connsiteY45" fmla="*/ 189872 h 304604"/>
                    <a:gd name="connsiteX46" fmla="*/ 250237 w 312925"/>
                    <a:gd name="connsiteY46" fmla="*/ 194216 h 304604"/>
                    <a:gd name="connsiteX47" fmla="*/ 247018 w 312925"/>
                    <a:gd name="connsiteY47" fmla="*/ 198642 h 304604"/>
                    <a:gd name="connsiteX48" fmla="*/ 246203 w 312925"/>
                    <a:gd name="connsiteY48" fmla="*/ 201567 h 304604"/>
                    <a:gd name="connsiteX49" fmla="*/ 244801 w 312925"/>
                    <a:gd name="connsiteY49" fmla="*/ 205267 h 304604"/>
                    <a:gd name="connsiteX50" fmla="*/ 243587 w 312925"/>
                    <a:gd name="connsiteY50" fmla="*/ 213474 h 304604"/>
                    <a:gd name="connsiteX51" fmla="*/ 242568 w 312925"/>
                    <a:gd name="connsiteY51" fmla="*/ 218185 h 304604"/>
                    <a:gd name="connsiteX52" fmla="*/ 243269 w 312925"/>
                    <a:gd name="connsiteY52" fmla="*/ 221526 h 304604"/>
                    <a:gd name="connsiteX53" fmla="*/ 243155 w 312925"/>
                    <a:gd name="connsiteY53" fmla="*/ 222145 h 304604"/>
                    <a:gd name="connsiteX54" fmla="*/ 242405 w 312925"/>
                    <a:gd name="connsiteY54" fmla="*/ 222398 h 304604"/>
                    <a:gd name="connsiteX55" fmla="*/ 241949 w 312925"/>
                    <a:gd name="connsiteY55" fmla="*/ 221958 h 304604"/>
                    <a:gd name="connsiteX56" fmla="*/ 240482 w 312925"/>
                    <a:gd name="connsiteY56" fmla="*/ 223099 h 304604"/>
                    <a:gd name="connsiteX57" fmla="*/ 240074 w 312925"/>
                    <a:gd name="connsiteY57" fmla="*/ 224248 h 304604"/>
                    <a:gd name="connsiteX58" fmla="*/ 240686 w 312925"/>
                    <a:gd name="connsiteY58" fmla="*/ 225666 h 304604"/>
                    <a:gd name="connsiteX59" fmla="*/ 240678 w 312925"/>
                    <a:gd name="connsiteY59" fmla="*/ 225683 h 304604"/>
                    <a:gd name="connsiteX60" fmla="*/ 238958 w 312925"/>
                    <a:gd name="connsiteY60" fmla="*/ 226538 h 304604"/>
                    <a:gd name="connsiteX61" fmla="*/ 238363 w 312925"/>
                    <a:gd name="connsiteY61" fmla="*/ 227989 h 304604"/>
                    <a:gd name="connsiteX62" fmla="*/ 237263 w 312925"/>
                    <a:gd name="connsiteY62" fmla="*/ 228787 h 304604"/>
                    <a:gd name="connsiteX63" fmla="*/ 232463 w 312925"/>
                    <a:gd name="connsiteY63" fmla="*/ 240988 h 304604"/>
                    <a:gd name="connsiteX64" fmla="*/ 230433 w 312925"/>
                    <a:gd name="connsiteY64" fmla="*/ 244223 h 304604"/>
                    <a:gd name="connsiteX65" fmla="*/ 228037 w 312925"/>
                    <a:gd name="connsiteY65" fmla="*/ 249219 h 304604"/>
                    <a:gd name="connsiteX66" fmla="*/ 227117 w 312925"/>
                    <a:gd name="connsiteY66" fmla="*/ 253758 h 304604"/>
                    <a:gd name="connsiteX67" fmla="*/ 226383 w 312925"/>
                    <a:gd name="connsiteY67" fmla="*/ 258721 h 304604"/>
                    <a:gd name="connsiteX68" fmla="*/ 225544 w 312925"/>
                    <a:gd name="connsiteY68" fmla="*/ 267067 h 304604"/>
                    <a:gd name="connsiteX69" fmla="*/ 224728 w 312925"/>
                    <a:gd name="connsiteY69" fmla="*/ 272967 h 304604"/>
                    <a:gd name="connsiteX70" fmla="*/ 222887 w 312925"/>
                    <a:gd name="connsiteY70" fmla="*/ 278696 h 304604"/>
                    <a:gd name="connsiteX71" fmla="*/ 222186 w 312925"/>
                    <a:gd name="connsiteY71" fmla="*/ 282788 h 304604"/>
                    <a:gd name="connsiteX72" fmla="*/ 221941 w 312925"/>
                    <a:gd name="connsiteY72" fmla="*/ 290595 h 304604"/>
                    <a:gd name="connsiteX73" fmla="*/ 222838 w 312925"/>
                    <a:gd name="connsiteY73" fmla="*/ 296536 h 304604"/>
                    <a:gd name="connsiteX74" fmla="*/ 222259 w 312925"/>
                    <a:gd name="connsiteY74" fmla="*/ 299682 h 304604"/>
                    <a:gd name="connsiteX75" fmla="*/ 222243 w 312925"/>
                    <a:gd name="connsiteY75" fmla="*/ 302714 h 304604"/>
                    <a:gd name="connsiteX76" fmla="*/ 221746 w 312925"/>
                    <a:gd name="connsiteY76" fmla="*/ 304604 h 304604"/>
                    <a:gd name="connsiteX77" fmla="*/ 178927 w 312925"/>
                    <a:gd name="connsiteY77" fmla="*/ 281345 h 304604"/>
                    <a:gd name="connsiteX78" fmla="*/ 176857 w 312925"/>
                    <a:gd name="connsiteY78" fmla="*/ 280506 h 304604"/>
                    <a:gd name="connsiteX79" fmla="*/ 177583 w 312925"/>
                    <a:gd name="connsiteY79" fmla="*/ 278933 h 304604"/>
                    <a:gd name="connsiteX80" fmla="*/ 178447 w 312925"/>
                    <a:gd name="connsiteY80" fmla="*/ 275437 h 304604"/>
                    <a:gd name="connsiteX81" fmla="*/ 177207 w 312925"/>
                    <a:gd name="connsiteY81" fmla="*/ 272804 h 304604"/>
                    <a:gd name="connsiteX82" fmla="*/ 174412 w 312925"/>
                    <a:gd name="connsiteY82" fmla="*/ 260718 h 304604"/>
                    <a:gd name="connsiteX83" fmla="*/ 172937 w 312925"/>
                    <a:gd name="connsiteY83" fmla="*/ 256228 h 304604"/>
                    <a:gd name="connsiteX84" fmla="*/ 171853 w 312925"/>
                    <a:gd name="connsiteY84" fmla="*/ 255347 h 304604"/>
                    <a:gd name="connsiteX85" fmla="*/ 167664 w 312925"/>
                    <a:gd name="connsiteY85" fmla="*/ 253261 h 304604"/>
                    <a:gd name="connsiteX86" fmla="*/ 165472 w 312925"/>
                    <a:gd name="connsiteY86" fmla="*/ 253188 h 304604"/>
                    <a:gd name="connsiteX87" fmla="*/ 163410 w 312925"/>
                    <a:gd name="connsiteY87" fmla="*/ 254133 h 304604"/>
                    <a:gd name="connsiteX88" fmla="*/ 162098 w 312925"/>
                    <a:gd name="connsiteY88" fmla="*/ 254190 h 304604"/>
                    <a:gd name="connsiteX89" fmla="*/ 161201 w 312925"/>
                    <a:gd name="connsiteY89" fmla="*/ 253351 h 304604"/>
                    <a:gd name="connsiteX90" fmla="*/ 160118 w 312925"/>
                    <a:gd name="connsiteY90" fmla="*/ 253196 h 304604"/>
                    <a:gd name="connsiteX91" fmla="*/ 158863 w 312925"/>
                    <a:gd name="connsiteY91" fmla="*/ 253750 h 304604"/>
                    <a:gd name="connsiteX92" fmla="*/ 157974 w 312925"/>
                    <a:gd name="connsiteY92" fmla="*/ 254834 h 304604"/>
                    <a:gd name="connsiteX93" fmla="*/ 157452 w 312925"/>
                    <a:gd name="connsiteY93" fmla="*/ 256431 h 304604"/>
                    <a:gd name="connsiteX94" fmla="*/ 156776 w 312925"/>
                    <a:gd name="connsiteY94" fmla="*/ 256986 h 304604"/>
                    <a:gd name="connsiteX95" fmla="*/ 155505 w 312925"/>
                    <a:gd name="connsiteY95" fmla="*/ 256334 h 304604"/>
                    <a:gd name="connsiteX96" fmla="*/ 152661 w 312925"/>
                    <a:gd name="connsiteY96" fmla="*/ 255877 h 304604"/>
                    <a:gd name="connsiteX97" fmla="*/ 151251 w 312925"/>
                    <a:gd name="connsiteY97" fmla="*/ 256358 h 304604"/>
                    <a:gd name="connsiteX98" fmla="*/ 149922 w 312925"/>
                    <a:gd name="connsiteY98" fmla="*/ 258216 h 304604"/>
                    <a:gd name="connsiteX99" fmla="*/ 146181 w 312925"/>
                    <a:gd name="connsiteY99" fmla="*/ 258029 h 304604"/>
                    <a:gd name="connsiteX100" fmla="*/ 142474 w 312925"/>
                    <a:gd name="connsiteY100" fmla="*/ 256741 h 304604"/>
                    <a:gd name="connsiteX101" fmla="*/ 138570 w 312925"/>
                    <a:gd name="connsiteY101" fmla="*/ 254875 h 304604"/>
                    <a:gd name="connsiteX102" fmla="*/ 135620 w 312925"/>
                    <a:gd name="connsiteY102" fmla="*/ 254500 h 304604"/>
                    <a:gd name="connsiteX103" fmla="*/ 133949 w 312925"/>
                    <a:gd name="connsiteY103" fmla="*/ 255812 h 304604"/>
                    <a:gd name="connsiteX104" fmla="*/ 132009 w 312925"/>
                    <a:gd name="connsiteY104" fmla="*/ 256488 h 304604"/>
                    <a:gd name="connsiteX105" fmla="*/ 129320 w 312925"/>
                    <a:gd name="connsiteY105" fmla="*/ 256594 h 304604"/>
                    <a:gd name="connsiteX106" fmla="*/ 124911 w 312925"/>
                    <a:gd name="connsiteY106" fmla="*/ 255266 h 304604"/>
                    <a:gd name="connsiteX107" fmla="*/ 119377 w 312925"/>
                    <a:gd name="connsiteY107" fmla="*/ 253962 h 304604"/>
                    <a:gd name="connsiteX108" fmla="*/ 116329 w 312925"/>
                    <a:gd name="connsiteY108" fmla="*/ 252430 h 304604"/>
                    <a:gd name="connsiteX109" fmla="*/ 113754 w 312925"/>
                    <a:gd name="connsiteY109" fmla="*/ 250180 h 304604"/>
                    <a:gd name="connsiteX110" fmla="*/ 109883 w 312925"/>
                    <a:gd name="connsiteY110" fmla="*/ 249252 h 304604"/>
                    <a:gd name="connsiteX111" fmla="*/ 104724 w 312925"/>
                    <a:gd name="connsiteY111" fmla="*/ 249618 h 304604"/>
                    <a:gd name="connsiteX112" fmla="*/ 101220 w 312925"/>
                    <a:gd name="connsiteY112" fmla="*/ 250156 h 304604"/>
                    <a:gd name="connsiteX113" fmla="*/ 99353 w 312925"/>
                    <a:gd name="connsiteY113" fmla="*/ 250873 h 304604"/>
                    <a:gd name="connsiteX114" fmla="*/ 98196 w 312925"/>
                    <a:gd name="connsiteY114" fmla="*/ 252145 h 304604"/>
                    <a:gd name="connsiteX115" fmla="*/ 97723 w 312925"/>
                    <a:gd name="connsiteY115" fmla="*/ 253995 h 304604"/>
                    <a:gd name="connsiteX116" fmla="*/ 97756 w 312925"/>
                    <a:gd name="connsiteY116" fmla="*/ 255665 h 304604"/>
                    <a:gd name="connsiteX117" fmla="*/ 98261 w 312925"/>
                    <a:gd name="connsiteY117" fmla="*/ 257198 h 304604"/>
                    <a:gd name="connsiteX118" fmla="*/ 97071 w 312925"/>
                    <a:gd name="connsiteY118" fmla="*/ 258265 h 304604"/>
                    <a:gd name="connsiteX119" fmla="*/ 94170 w 312925"/>
                    <a:gd name="connsiteY119" fmla="*/ 258885 h 304604"/>
                    <a:gd name="connsiteX120" fmla="*/ 90926 w 312925"/>
                    <a:gd name="connsiteY120" fmla="*/ 257646 h 304604"/>
                    <a:gd name="connsiteX121" fmla="*/ 87357 w 312925"/>
                    <a:gd name="connsiteY121" fmla="*/ 254532 h 304604"/>
                    <a:gd name="connsiteX122" fmla="*/ 84961 w 312925"/>
                    <a:gd name="connsiteY122" fmla="*/ 251566 h 304604"/>
                    <a:gd name="connsiteX123" fmla="*/ 83738 w 312925"/>
                    <a:gd name="connsiteY123" fmla="*/ 248787 h 304604"/>
                    <a:gd name="connsiteX124" fmla="*/ 81530 w 312925"/>
                    <a:gd name="connsiteY124" fmla="*/ 245796 h 304604"/>
                    <a:gd name="connsiteX125" fmla="*/ 78392 w 312925"/>
                    <a:gd name="connsiteY125" fmla="*/ 242642 h 304604"/>
                    <a:gd name="connsiteX126" fmla="*/ 73633 w 312925"/>
                    <a:gd name="connsiteY126" fmla="*/ 239138 h 304604"/>
                    <a:gd name="connsiteX127" fmla="*/ 67268 w 312925"/>
                    <a:gd name="connsiteY127" fmla="*/ 235267 h 304604"/>
                    <a:gd name="connsiteX128" fmla="*/ 64040 w 312925"/>
                    <a:gd name="connsiteY128" fmla="*/ 232487 h 304604"/>
                    <a:gd name="connsiteX129" fmla="*/ 64016 w 312925"/>
                    <a:gd name="connsiteY129" fmla="*/ 230906 h 304604"/>
                    <a:gd name="connsiteX130" fmla="*/ 62949 w 312925"/>
                    <a:gd name="connsiteY130" fmla="*/ 229431 h 304604"/>
                    <a:gd name="connsiteX131" fmla="*/ 60919 w 312925"/>
                    <a:gd name="connsiteY131" fmla="*/ 228404 h 304604"/>
                    <a:gd name="connsiteX132" fmla="*/ 59575 w 312925"/>
                    <a:gd name="connsiteY132" fmla="*/ 227231 h 304604"/>
                    <a:gd name="connsiteX133" fmla="*/ 58898 w 312925"/>
                    <a:gd name="connsiteY133" fmla="*/ 225902 h 304604"/>
                    <a:gd name="connsiteX134" fmla="*/ 58539 w 312925"/>
                    <a:gd name="connsiteY134" fmla="*/ 222765 h 304604"/>
                    <a:gd name="connsiteX135" fmla="*/ 58499 w 312925"/>
                    <a:gd name="connsiteY135" fmla="*/ 217810 h 304604"/>
                    <a:gd name="connsiteX136" fmla="*/ 57610 w 312925"/>
                    <a:gd name="connsiteY136" fmla="*/ 214729 h 304604"/>
                    <a:gd name="connsiteX137" fmla="*/ 55035 w 312925"/>
                    <a:gd name="connsiteY137" fmla="*/ 212928 h 304604"/>
                    <a:gd name="connsiteX138" fmla="*/ 48678 w 312925"/>
                    <a:gd name="connsiteY138" fmla="*/ 211559 h 304604"/>
                    <a:gd name="connsiteX139" fmla="*/ 46013 w 312925"/>
                    <a:gd name="connsiteY139" fmla="*/ 210369 h 304604"/>
                    <a:gd name="connsiteX140" fmla="*/ 44889 w 312925"/>
                    <a:gd name="connsiteY140" fmla="*/ 208780 h 304604"/>
                    <a:gd name="connsiteX141" fmla="*/ 43943 w 312925"/>
                    <a:gd name="connsiteY141" fmla="*/ 208144 h 304604"/>
                    <a:gd name="connsiteX142" fmla="*/ 43144 w 312925"/>
                    <a:gd name="connsiteY142" fmla="*/ 208503 h 304604"/>
                    <a:gd name="connsiteX143" fmla="*/ 42231 w 312925"/>
                    <a:gd name="connsiteY143" fmla="*/ 210173 h 304604"/>
                    <a:gd name="connsiteX144" fmla="*/ 41197 w 312925"/>
                    <a:gd name="connsiteY144" fmla="*/ 213213 h 304604"/>
                    <a:gd name="connsiteX145" fmla="*/ 40097 w 312925"/>
                    <a:gd name="connsiteY145" fmla="*/ 214591 h 304604"/>
                    <a:gd name="connsiteX146" fmla="*/ 38907 w 312925"/>
                    <a:gd name="connsiteY146" fmla="*/ 214313 h 304604"/>
                    <a:gd name="connsiteX147" fmla="*/ 37325 w 312925"/>
                    <a:gd name="connsiteY147" fmla="*/ 212236 h 304604"/>
                    <a:gd name="connsiteX148" fmla="*/ 35312 w 312925"/>
                    <a:gd name="connsiteY148" fmla="*/ 208332 h 304604"/>
                    <a:gd name="connsiteX149" fmla="*/ 34375 w 312925"/>
                    <a:gd name="connsiteY149" fmla="*/ 204770 h 304604"/>
                    <a:gd name="connsiteX150" fmla="*/ 34514 w 312925"/>
                    <a:gd name="connsiteY150" fmla="*/ 201559 h 304604"/>
                    <a:gd name="connsiteX151" fmla="*/ 34009 w 312925"/>
                    <a:gd name="connsiteY151" fmla="*/ 199799 h 304604"/>
                    <a:gd name="connsiteX152" fmla="*/ 32884 w 312925"/>
                    <a:gd name="connsiteY152" fmla="*/ 199457 h 304604"/>
                    <a:gd name="connsiteX153" fmla="*/ 31882 w 312925"/>
                    <a:gd name="connsiteY153" fmla="*/ 198259 h 304604"/>
                    <a:gd name="connsiteX154" fmla="*/ 31026 w 312925"/>
                    <a:gd name="connsiteY154" fmla="*/ 196197 h 304604"/>
                    <a:gd name="connsiteX155" fmla="*/ 28671 w 312925"/>
                    <a:gd name="connsiteY155" fmla="*/ 194559 h 304604"/>
                    <a:gd name="connsiteX156" fmla="*/ 22933 w 312925"/>
                    <a:gd name="connsiteY156" fmla="*/ 192709 h 304604"/>
                    <a:gd name="connsiteX157" fmla="*/ 18834 w 312925"/>
                    <a:gd name="connsiteY157" fmla="*/ 192537 h 304604"/>
                    <a:gd name="connsiteX158" fmla="*/ 16471 w 312925"/>
                    <a:gd name="connsiteY158" fmla="*/ 193385 h 304604"/>
                    <a:gd name="connsiteX159" fmla="*/ 14490 w 312925"/>
                    <a:gd name="connsiteY159" fmla="*/ 195170 h 304604"/>
                    <a:gd name="connsiteX160" fmla="*/ 11605 w 312925"/>
                    <a:gd name="connsiteY160" fmla="*/ 194893 h 304604"/>
                    <a:gd name="connsiteX161" fmla="*/ 7823 w 312925"/>
                    <a:gd name="connsiteY161" fmla="*/ 192546 h 304604"/>
                    <a:gd name="connsiteX162" fmla="*/ 4726 w 312925"/>
                    <a:gd name="connsiteY162" fmla="*/ 191282 h 304604"/>
                    <a:gd name="connsiteX163" fmla="*/ 2290 w 312925"/>
                    <a:gd name="connsiteY163" fmla="*/ 191054 h 304604"/>
                    <a:gd name="connsiteX164" fmla="*/ 586 w 312925"/>
                    <a:gd name="connsiteY164" fmla="*/ 190313 h 304604"/>
                    <a:gd name="connsiteX165" fmla="*/ 0 w 312925"/>
                    <a:gd name="connsiteY165" fmla="*/ 27228 h 304604"/>
                    <a:gd name="connsiteX166" fmla="*/ 197737 w 312925"/>
                    <a:gd name="connsiteY166" fmla="*/ 27212 h 304604"/>
                    <a:gd name="connsiteX167" fmla="*/ 198210 w 312925"/>
                    <a:gd name="connsiteY167" fmla="*/ 26813 h 304604"/>
                    <a:gd name="connsiteX168" fmla="*/ 199807 w 312925"/>
                    <a:gd name="connsiteY168" fmla="*/ 24946 h 304604"/>
                    <a:gd name="connsiteX169" fmla="*/ 200394 w 312925"/>
                    <a:gd name="connsiteY169" fmla="*/ 23268 h 304604"/>
                    <a:gd name="connsiteX170" fmla="*/ 202684 w 312925"/>
                    <a:gd name="connsiteY170" fmla="*/ 21092 h 304604"/>
                    <a:gd name="connsiteX171" fmla="*/ 206685 w 312925"/>
                    <a:gd name="connsiteY171" fmla="*/ 18410 h 304604"/>
                    <a:gd name="connsiteX172" fmla="*/ 209114 w 312925"/>
                    <a:gd name="connsiteY172" fmla="*/ 16299 h 304604"/>
                    <a:gd name="connsiteX173" fmla="*/ 209962 w 312925"/>
                    <a:gd name="connsiteY173" fmla="*/ 14759 h 304604"/>
                    <a:gd name="connsiteX174" fmla="*/ 211061 w 312925"/>
                    <a:gd name="connsiteY174" fmla="*/ 13838 h 304604"/>
                    <a:gd name="connsiteX175" fmla="*/ 213156 w 312925"/>
                    <a:gd name="connsiteY175" fmla="*/ 13414 h 304604"/>
                    <a:gd name="connsiteX176" fmla="*/ 215161 w 312925"/>
                    <a:gd name="connsiteY176" fmla="*/ 14890 h 304604"/>
                    <a:gd name="connsiteX177" fmla="*/ 219521 w 312925"/>
                    <a:gd name="connsiteY177" fmla="*/ 14645 h 304604"/>
                    <a:gd name="connsiteX178" fmla="*/ 226880 w 312925"/>
                    <a:gd name="connsiteY178" fmla="*/ 13170 h 304604"/>
                    <a:gd name="connsiteX179" fmla="*/ 231623 w 312925"/>
                    <a:gd name="connsiteY179" fmla="*/ 13349 h 304604"/>
                    <a:gd name="connsiteX180" fmla="*/ 234818 w 312925"/>
                    <a:gd name="connsiteY180" fmla="*/ 16112 h 304604"/>
                    <a:gd name="connsiteX181" fmla="*/ 240841 w 312925"/>
                    <a:gd name="connsiteY181" fmla="*/ 15745 h 304604"/>
                    <a:gd name="connsiteX182" fmla="*/ 244410 w 312925"/>
                    <a:gd name="connsiteY182" fmla="*/ 16422 h 304604"/>
                    <a:gd name="connsiteX183" fmla="*/ 247540 w 312925"/>
                    <a:gd name="connsiteY183" fmla="*/ 18003 h 304604"/>
                    <a:gd name="connsiteX184" fmla="*/ 249203 w 312925"/>
                    <a:gd name="connsiteY184" fmla="*/ 19535 h 304604"/>
                    <a:gd name="connsiteX185" fmla="*/ 249398 w 312925"/>
                    <a:gd name="connsiteY185" fmla="*/ 21026 h 304604"/>
                    <a:gd name="connsiteX186" fmla="*/ 250897 w 312925"/>
                    <a:gd name="connsiteY186" fmla="*/ 22510 h 304604"/>
                    <a:gd name="connsiteX187" fmla="*/ 253701 w 312925"/>
                    <a:gd name="connsiteY187" fmla="*/ 24001 h 304604"/>
                    <a:gd name="connsiteX188" fmla="*/ 255494 w 312925"/>
                    <a:gd name="connsiteY188" fmla="*/ 26682 h 304604"/>
                    <a:gd name="connsiteX189" fmla="*/ 256276 w 312925"/>
                    <a:gd name="connsiteY189" fmla="*/ 30594 h 304604"/>
                    <a:gd name="connsiteX190" fmla="*/ 257727 w 312925"/>
                    <a:gd name="connsiteY190" fmla="*/ 31719 h 304604"/>
                    <a:gd name="connsiteX191" fmla="*/ 259821 w 312925"/>
                    <a:gd name="connsiteY191" fmla="*/ 30056 h 304604"/>
                    <a:gd name="connsiteX192" fmla="*/ 261084 w 312925"/>
                    <a:gd name="connsiteY192" fmla="*/ 28386 h 304604"/>
                    <a:gd name="connsiteX193" fmla="*/ 261712 w 312925"/>
                    <a:gd name="connsiteY193" fmla="*/ 25843 h 304604"/>
                    <a:gd name="connsiteX194" fmla="*/ 266081 w 312925"/>
                    <a:gd name="connsiteY194" fmla="*/ 23667 h 304604"/>
                    <a:gd name="connsiteX195" fmla="*/ 266855 w 312925"/>
                    <a:gd name="connsiteY195" fmla="*/ 25533 h 304604"/>
                    <a:gd name="connsiteX196" fmla="*/ 268403 w 312925"/>
                    <a:gd name="connsiteY196" fmla="*/ 26381 h 304604"/>
                    <a:gd name="connsiteX197" fmla="*/ 269177 w 312925"/>
                    <a:gd name="connsiteY197" fmla="*/ 24669 h 304604"/>
                    <a:gd name="connsiteX198" fmla="*/ 271174 w 312925"/>
                    <a:gd name="connsiteY198" fmla="*/ 24808 h 304604"/>
                    <a:gd name="connsiteX199" fmla="*/ 273383 w 312925"/>
                    <a:gd name="connsiteY199" fmla="*/ 23251 h 304604"/>
                    <a:gd name="connsiteX200" fmla="*/ 274491 w 312925"/>
                    <a:gd name="connsiteY200" fmla="*/ 17840 h 304604"/>
                    <a:gd name="connsiteX201" fmla="*/ 272951 w 312925"/>
                    <a:gd name="connsiteY201" fmla="*/ 15705 h 304604"/>
                    <a:gd name="connsiteX202" fmla="*/ 271948 w 312925"/>
                    <a:gd name="connsiteY202" fmla="*/ 12420 h 304604"/>
                    <a:gd name="connsiteX203" fmla="*/ 276822 w 312925"/>
                    <a:gd name="connsiteY203" fmla="*/ 9291 h 304604"/>
                    <a:gd name="connsiteX204" fmla="*/ 278150 w 312925"/>
                    <a:gd name="connsiteY204" fmla="*/ 9291 h 304604"/>
                    <a:gd name="connsiteX205" fmla="*/ 280025 w 312925"/>
                    <a:gd name="connsiteY205" fmla="*/ 7742 h 304604"/>
                    <a:gd name="connsiteX206" fmla="*/ 283016 w 312925"/>
                    <a:gd name="connsiteY206" fmla="*/ 6316 h 304604"/>
                    <a:gd name="connsiteX207" fmla="*/ 285012 w 312925"/>
                    <a:gd name="connsiteY207" fmla="*/ 3757 h 304604"/>
                    <a:gd name="connsiteX208" fmla="*/ 286911 w 312925"/>
                    <a:gd name="connsiteY208" fmla="*/ 5681 h 304604"/>
                    <a:gd name="connsiteX209" fmla="*/ 287881 w 312925"/>
                    <a:gd name="connsiteY209" fmla="*/ 4751 h 304604"/>
                    <a:gd name="connsiteX210" fmla="*/ 291434 w 312925"/>
                    <a:gd name="connsiteY210" fmla="*/ 6740 h 304604"/>
                    <a:gd name="connsiteX211" fmla="*/ 293757 w 312925"/>
                    <a:gd name="connsiteY211" fmla="*/ 5746 h 304604"/>
                    <a:gd name="connsiteX212" fmla="*/ 300505 w 312925"/>
                    <a:gd name="connsiteY212" fmla="*/ 6593 h 304604"/>
                    <a:gd name="connsiteX213" fmla="*/ 302379 w 312925"/>
                    <a:gd name="connsiteY213" fmla="*/ 3610 h 304604"/>
                    <a:gd name="connsiteX214" fmla="*/ 307033 w 312925"/>
                    <a:gd name="connsiteY214" fmla="*/ 2893 h 304604"/>
                    <a:gd name="connsiteX215" fmla="*/ 310358 w 312925"/>
                    <a:gd name="connsiteY215" fmla="*/ 0 h 304604"/>
                    <a:gd name="connsiteX216" fmla="*/ 311849 w 312925"/>
                    <a:gd name="connsiteY216" fmla="*/ 3064 h 304604"/>
                    <a:gd name="connsiteX217" fmla="*/ 311727 w 312925"/>
                    <a:gd name="connsiteY217" fmla="*/ 12380 h 304604"/>
                    <a:gd name="connsiteX218" fmla="*/ 207541 w 312925"/>
                    <a:gd name="connsiteY218" fmla="*/ 233457 h 304604"/>
                    <a:gd name="connsiteX219" fmla="*/ 208421 w 312925"/>
                    <a:gd name="connsiteY219" fmla="*/ 232577 h 304604"/>
                    <a:gd name="connsiteX220" fmla="*/ 204770 w 312925"/>
                    <a:gd name="connsiteY220" fmla="*/ 230670 h 304604"/>
                    <a:gd name="connsiteX221" fmla="*/ 203229 w 312925"/>
                    <a:gd name="connsiteY221" fmla="*/ 228893 h 304604"/>
                    <a:gd name="connsiteX222" fmla="*/ 203116 w 312925"/>
                    <a:gd name="connsiteY222" fmla="*/ 227573 h 304604"/>
                    <a:gd name="connsiteX223" fmla="*/ 201005 w 312925"/>
                    <a:gd name="connsiteY223" fmla="*/ 226546 h 304604"/>
                    <a:gd name="connsiteX224" fmla="*/ 194143 w 312925"/>
                    <a:gd name="connsiteY224" fmla="*/ 231999 h 304604"/>
                    <a:gd name="connsiteX225" fmla="*/ 192700 w 312925"/>
                    <a:gd name="connsiteY225" fmla="*/ 238029 h 304604"/>
                    <a:gd name="connsiteX226" fmla="*/ 192815 w 312925"/>
                    <a:gd name="connsiteY226" fmla="*/ 242748 h 304604"/>
                    <a:gd name="connsiteX227" fmla="*/ 193254 w 312925"/>
                    <a:gd name="connsiteY227" fmla="*/ 245112 h 304604"/>
                    <a:gd name="connsiteX228" fmla="*/ 194697 w 312925"/>
                    <a:gd name="connsiteY228" fmla="*/ 246423 h 304604"/>
                    <a:gd name="connsiteX229" fmla="*/ 195691 w 312925"/>
                    <a:gd name="connsiteY229" fmla="*/ 246277 h 304604"/>
                    <a:gd name="connsiteX230" fmla="*/ 195911 w 312925"/>
                    <a:gd name="connsiteY230" fmla="*/ 248795 h 304604"/>
                    <a:gd name="connsiteX231" fmla="*/ 197126 w 312925"/>
                    <a:gd name="connsiteY231" fmla="*/ 251004 h 304604"/>
                    <a:gd name="connsiteX232" fmla="*/ 199668 w 312925"/>
                    <a:gd name="connsiteY232" fmla="*/ 251900 h 304604"/>
                    <a:gd name="connsiteX233" fmla="*/ 200997 w 312925"/>
                    <a:gd name="connsiteY233" fmla="*/ 249088 h 304604"/>
                    <a:gd name="connsiteX234" fmla="*/ 200548 w 312925"/>
                    <a:gd name="connsiteY234" fmla="*/ 241851 h 304604"/>
                    <a:gd name="connsiteX235" fmla="*/ 201551 w 312925"/>
                    <a:gd name="connsiteY235" fmla="*/ 240979 h 304604"/>
                    <a:gd name="connsiteX236" fmla="*/ 202097 w 312925"/>
                    <a:gd name="connsiteY236" fmla="*/ 238469 h 304604"/>
                    <a:gd name="connsiteX237" fmla="*/ 201885 w 312925"/>
                    <a:gd name="connsiteY237" fmla="*/ 236261 h 304604"/>
                    <a:gd name="connsiteX238" fmla="*/ 202993 w 312925"/>
                    <a:gd name="connsiteY238" fmla="*/ 234346 h 304604"/>
                    <a:gd name="connsiteX239" fmla="*/ 205316 w 312925"/>
                    <a:gd name="connsiteY239" fmla="*/ 233164 h 304604"/>
                    <a:gd name="connsiteX240" fmla="*/ 207541 w 312925"/>
                    <a:gd name="connsiteY240" fmla="*/ 233457 h 304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312925" h="304604">
                      <a:moveTo>
                        <a:pt x="311727" y="12380"/>
                      </a:moveTo>
                      <a:lnTo>
                        <a:pt x="312925" y="16837"/>
                      </a:lnTo>
                      <a:lnTo>
                        <a:pt x="312607" y="22624"/>
                      </a:lnTo>
                      <a:lnTo>
                        <a:pt x="309079" y="28874"/>
                      </a:lnTo>
                      <a:lnTo>
                        <a:pt x="306242" y="36543"/>
                      </a:lnTo>
                      <a:lnTo>
                        <a:pt x="306210" y="43153"/>
                      </a:lnTo>
                      <a:lnTo>
                        <a:pt x="304352" y="55834"/>
                      </a:lnTo>
                      <a:lnTo>
                        <a:pt x="303162" y="59249"/>
                      </a:lnTo>
                      <a:lnTo>
                        <a:pt x="302282" y="64546"/>
                      </a:lnTo>
                      <a:lnTo>
                        <a:pt x="298378" y="77382"/>
                      </a:lnTo>
                      <a:lnTo>
                        <a:pt x="298207" y="82443"/>
                      </a:lnTo>
                      <a:lnTo>
                        <a:pt x="298802" y="88449"/>
                      </a:lnTo>
                      <a:lnTo>
                        <a:pt x="298158" y="94243"/>
                      </a:lnTo>
                      <a:lnTo>
                        <a:pt x="297180" y="98180"/>
                      </a:lnTo>
                      <a:lnTo>
                        <a:pt x="296235" y="105482"/>
                      </a:lnTo>
                      <a:lnTo>
                        <a:pt x="292314" y="116843"/>
                      </a:lnTo>
                      <a:lnTo>
                        <a:pt x="286691" y="125245"/>
                      </a:lnTo>
                      <a:lnTo>
                        <a:pt x="286349" y="131651"/>
                      </a:lnTo>
                      <a:lnTo>
                        <a:pt x="285640" y="134479"/>
                      </a:lnTo>
                      <a:lnTo>
                        <a:pt x="284491" y="138008"/>
                      </a:lnTo>
                      <a:lnTo>
                        <a:pt x="281035" y="141862"/>
                      </a:lnTo>
                      <a:lnTo>
                        <a:pt x="278957" y="143525"/>
                      </a:lnTo>
                      <a:lnTo>
                        <a:pt x="278166" y="145782"/>
                      </a:lnTo>
                      <a:lnTo>
                        <a:pt x="276210" y="145782"/>
                      </a:lnTo>
                      <a:lnTo>
                        <a:pt x="276162" y="146491"/>
                      </a:lnTo>
                      <a:lnTo>
                        <a:pt x="277482" y="147201"/>
                      </a:lnTo>
                      <a:lnTo>
                        <a:pt x="276895" y="148366"/>
                      </a:lnTo>
                      <a:lnTo>
                        <a:pt x="271679" y="150411"/>
                      </a:lnTo>
                      <a:lnTo>
                        <a:pt x="268175" y="153036"/>
                      </a:lnTo>
                      <a:lnTo>
                        <a:pt x="264597" y="159474"/>
                      </a:lnTo>
                      <a:lnTo>
                        <a:pt x="263081" y="162840"/>
                      </a:lnTo>
                      <a:lnTo>
                        <a:pt x="261166" y="166067"/>
                      </a:lnTo>
                      <a:lnTo>
                        <a:pt x="260009" y="167575"/>
                      </a:lnTo>
                      <a:lnTo>
                        <a:pt x="259504" y="169205"/>
                      </a:lnTo>
                      <a:lnTo>
                        <a:pt x="258721" y="173272"/>
                      </a:lnTo>
                      <a:lnTo>
                        <a:pt x="256863" y="173989"/>
                      </a:lnTo>
                      <a:lnTo>
                        <a:pt x="255241" y="175211"/>
                      </a:lnTo>
                      <a:lnTo>
                        <a:pt x="256016" y="179066"/>
                      </a:lnTo>
                      <a:lnTo>
                        <a:pt x="255160" y="183500"/>
                      </a:lnTo>
                      <a:lnTo>
                        <a:pt x="254964" y="186515"/>
                      </a:lnTo>
                      <a:lnTo>
                        <a:pt x="254076" y="188414"/>
                      </a:lnTo>
                      <a:lnTo>
                        <a:pt x="253016" y="187721"/>
                      </a:lnTo>
                      <a:lnTo>
                        <a:pt x="252169" y="188031"/>
                      </a:lnTo>
                      <a:lnTo>
                        <a:pt x="251101" y="189066"/>
                      </a:lnTo>
                      <a:lnTo>
                        <a:pt x="252756" y="189408"/>
                      </a:lnTo>
                      <a:lnTo>
                        <a:pt x="253750" y="189872"/>
                      </a:lnTo>
                      <a:lnTo>
                        <a:pt x="250237" y="194216"/>
                      </a:lnTo>
                      <a:lnTo>
                        <a:pt x="247018" y="198642"/>
                      </a:lnTo>
                      <a:lnTo>
                        <a:pt x="246203" y="201567"/>
                      </a:lnTo>
                      <a:lnTo>
                        <a:pt x="244801" y="205267"/>
                      </a:lnTo>
                      <a:lnTo>
                        <a:pt x="243587" y="213474"/>
                      </a:lnTo>
                      <a:lnTo>
                        <a:pt x="242568" y="218185"/>
                      </a:lnTo>
                      <a:lnTo>
                        <a:pt x="243269" y="221526"/>
                      </a:lnTo>
                      <a:lnTo>
                        <a:pt x="243155" y="222145"/>
                      </a:lnTo>
                      <a:lnTo>
                        <a:pt x="242405" y="222398"/>
                      </a:lnTo>
                      <a:lnTo>
                        <a:pt x="241949" y="221958"/>
                      </a:lnTo>
                      <a:lnTo>
                        <a:pt x="240482" y="223099"/>
                      </a:lnTo>
                      <a:lnTo>
                        <a:pt x="240074" y="224248"/>
                      </a:lnTo>
                      <a:lnTo>
                        <a:pt x="240686" y="225666"/>
                      </a:lnTo>
                      <a:lnTo>
                        <a:pt x="240678" y="225683"/>
                      </a:lnTo>
                      <a:lnTo>
                        <a:pt x="238958" y="226538"/>
                      </a:lnTo>
                      <a:lnTo>
                        <a:pt x="238363" y="227989"/>
                      </a:lnTo>
                      <a:lnTo>
                        <a:pt x="237263" y="228787"/>
                      </a:lnTo>
                      <a:lnTo>
                        <a:pt x="232463" y="240988"/>
                      </a:lnTo>
                      <a:lnTo>
                        <a:pt x="230433" y="244223"/>
                      </a:lnTo>
                      <a:lnTo>
                        <a:pt x="228037" y="249219"/>
                      </a:lnTo>
                      <a:lnTo>
                        <a:pt x="227117" y="253758"/>
                      </a:lnTo>
                      <a:lnTo>
                        <a:pt x="226383" y="258721"/>
                      </a:lnTo>
                      <a:lnTo>
                        <a:pt x="225544" y="267067"/>
                      </a:lnTo>
                      <a:lnTo>
                        <a:pt x="224728" y="272967"/>
                      </a:lnTo>
                      <a:lnTo>
                        <a:pt x="222887" y="278696"/>
                      </a:lnTo>
                      <a:lnTo>
                        <a:pt x="222186" y="282788"/>
                      </a:lnTo>
                      <a:lnTo>
                        <a:pt x="221941" y="290595"/>
                      </a:lnTo>
                      <a:lnTo>
                        <a:pt x="222838" y="296536"/>
                      </a:lnTo>
                      <a:lnTo>
                        <a:pt x="222259" y="299682"/>
                      </a:lnTo>
                      <a:lnTo>
                        <a:pt x="222243" y="302714"/>
                      </a:lnTo>
                      <a:lnTo>
                        <a:pt x="221746" y="304604"/>
                      </a:lnTo>
                      <a:lnTo>
                        <a:pt x="178927" y="281345"/>
                      </a:lnTo>
                      <a:lnTo>
                        <a:pt x="176857" y="280506"/>
                      </a:lnTo>
                      <a:lnTo>
                        <a:pt x="177583" y="278933"/>
                      </a:lnTo>
                      <a:lnTo>
                        <a:pt x="178447" y="275437"/>
                      </a:lnTo>
                      <a:lnTo>
                        <a:pt x="177207" y="272804"/>
                      </a:lnTo>
                      <a:lnTo>
                        <a:pt x="174412" y="260718"/>
                      </a:lnTo>
                      <a:lnTo>
                        <a:pt x="172937" y="256228"/>
                      </a:lnTo>
                      <a:lnTo>
                        <a:pt x="171853" y="255347"/>
                      </a:lnTo>
                      <a:lnTo>
                        <a:pt x="167664" y="253261"/>
                      </a:lnTo>
                      <a:lnTo>
                        <a:pt x="165472" y="253188"/>
                      </a:lnTo>
                      <a:lnTo>
                        <a:pt x="163410" y="254133"/>
                      </a:lnTo>
                      <a:lnTo>
                        <a:pt x="162098" y="254190"/>
                      </a:lnTo>
                      <a:lnTo>
                        <a:pt x="161201" y="253351"/>
                      </a:lnTo>
                      <a:lnTo>
                        <a:pt x="160118" y="253196"/>
                      </a:lnTo>
                      <a:lnTo>
                        <a:pt x="158863" y="253750"/>
                      </a:lnTo>
                      <a:lnTo>
                        <a:pt x="157974" y="254834"/>
                      </a:lnTo>
                      <a:lnTo>
                        <a:pt x="157452" y="256431"/>
                      </a:lnTo>
                      <a:lnTo>
                        <a:pt x="156776" y="256986"/>
                      </a:lnTo>
                      <a:lnTo>
                        <a:pt x="155505" y="256334"/>
                      </a:lnTo>
                      <a:lnTo>
                        <a:pt x="152661" y="255877"/>
                      </a:lnTo>
                      <a:lnTo>
                        <a:pt x="151251" y="256358"/>
                      </a:lnTo>
                      <a:lnTo>
                        <a:pt x="149922" y="258216"/>
                      </a:lnTo>
                      <a:lnTo>
                        <a:pt x="146181" y="258029"/>
                      </a:lnTo>
                      <a:lnTo>
                        <a:pt x="142474" y="256741"/>
                      </a:lnTo>
                      <a:lnTo>
                        <a:pt x="138570" y="254875"/>
                      </a:lnTo>
                      <a:lnTo>
                        <a:pt x="135620" y="254500"/>
                      </a:lnTo>
                      <a:lnTo>
                        <a:pt x="133949" y="255812"/>
                      </a:lnTo>
                      <a:lnTo>
                        <a:pt x="132009" y="256488"/>
                      </a:lnTo>
                      <a:lnTo>
                        <a:pt x="129320" y="256594"/>
                      </a:lnTo>
                      <a:lnTo>
                        <a:pt x="124911" y="255266"/>
                      </a:lnTo>
                      <a:lnTo>
                        <a:pt x="119377" y="253962"/>
                      </a:lnTo>
                      <a:lnTo>
                        <a:pt x="116329" y="252430"/>
                      </a:lnTo>
                      <a:lnTo>
                        <a:pt x="113754" y="250180"/>
                      </a:lnTo>
                      <a:lnTo>
                        <a:pt x="109883" y="249252"/>
                      </a:lnTo>
                      <a:lnTo>
                        <a:pt x="104724" y="249618"/>
                      </a:lnTo>
                      <a:lnTo>
                        <a:pt x="101220" y="250156"/>
                      </a:lnTo>
                      <a:lnTo>
                        <a:pt x="99353" y="250873"/>
                      </a:lnTo>
                      <a:lnTo>
                        <a:pt x="98196" y="252145"/>
                      </a:lnTo>
                      <a:lnTo>
                        <a:pt x="97723" y="253995"/>
                      </a:lnTo>
                      <a:lnTo>
                        <a:pt x="97756" y="255665"/>
                      </a:lnTo>
                      <a:lnTo>
                        <a:pt x="98261" y="257198"/>
                      </a:lnTo>
                      <a:lnTo>
                        <a:pt x="97071" y="258265"/>
                      </a:lnTo>
                      <a:lnTo>
                        <a:pt x="94170" y="258885"/>
                      </a:lnTo>
                      <a:lnTo>
                        <a:pt x="90926" y="257646"/>
                      </a:lnTo>
                      <a:lnTo>
                        <a:pt x="87357" y="254532"/>
                      </a:lnTo>
                      <a:lnTo>
                        <a:pt x="84961" y="251566"/>
                      </a:lnTo>
                      <a:lnTo>
                        <a:pt x="83738" y="248787"/>
                      </a:lnTo>
                      <a:lnTo>
                        <a:pt x="81530" y="245796"/>
                      </a:lnTo>
                      <a:lnTo>
                        <a:pt x="78392" y="242642"/>
                      </a:lnTo>
                      <a:lnTo>
                        <a:pt x="73633" y="239138"/>
                      </a:lnTo>
                      <a:lnTo>
                        <a:pt x="67268" y="235267"/>
                      </a:lnTo>
                      <a:lnTo>
                        <a:pt x="64040" y="232487"/>
                      </a:lnTo>
                      <a:lnTo>
                        <a:pt x="64016" y="230906"/>
                      </a:lnTo>
                      <a:lnTo>
                        <a:pt x="62949" y="229431"/>
                      </a:lnTo>
                      <a:lnTo>
                        <a:pt x="60919" y="228404"/>
                      </a:lnTo>
                      <a:lnTo>
                        <a:pt x="59575" y="227231"/>
                      </a:lnTo>
                      <a:lnTo>
                        <a:pt x="58898" y="225902"/>
                      </a:lnTo>
                      <a:lnTo>
                        <a:pt x="58539" y="222765"/>
                      </a:lnTo>
                      <a:lnTo>
                        <a:pt x="58499" y="217810"/>
                      </a:lnTo>
                      <a:lnTo>
                        <a:pt x="57610" y="214729"/>
                      </a:lnTo>
                      <a:lnTo>
                        <a:pt x="55035" y="212928"/>
                      </a:lnTo>
                      <a:lnTo>
                        <a:pt x="48678" y="211559"/>
                      </a:lnTo>
                      <a:lnTo>
                        <a:pt x="46013" y="210369"/>
                      </a:lnTo>
                      <a:lnTo>
                        <a:pt x="44889" y="208780"/>
                      </a:lnTo>
                      <a:lnTo>
                        <a:pt x="43943" y="208144"/>
                      </a:lnTo>
                      <a:lnTo>
                        <a:pt x="43144" y="208503"/>
                      </a:lnTo>
                      <a:lnTo>
                        <a:pt x="42231" y="210173"/>
                      </a:lnTo>
                      <a:lnTo>
                        <a:pt x="41197" y="213213"/>
                      </a:lnTo>
                      <a:lnTo>
                        <a:pt x="40097" y="214591"/>
                      </a:lnTo>
                      <a:lnTo>
                        <a:pt x="38907" y="214313"/>
                      </a:lnTo>
                      <a:lnTo>
                        <a:pt x="37325" y="212236"/>
                      </a:lnTo>
                      <a:lnTo>
                        <a:pt x="35312" y="208332"/>
                      </a:lnTo>
                      <a:lnTo>
                        <a:pt x="34375" y="204770"/>
                      </a:lnTo>
                      <a:lnTo>
                        <a:pt x="34514" y="201559"/>
                      </a:lnTo>
                      <a:lnTo>
                        <a:pt x="34009" y="199799"/>
                      </a:lnTo>
                      <a:lnTo>
                        <a:pt x="32884" y="199457"/>
                      </a:lnTo>
                      <a:lnTo>
                        <a:pt x="31882" y="198259"/>
                      </a:lnTo>
                      <a:lnTo>
                        <a:pt x="31026" y="196197"/>
                      </a:lnTo>
                      <a:lnTo>
                        <a:pt x="28671" y="194559"/>
                      </a:lnTo>
                      <a:lnTo>
                        <a:pt x="22933" y="192709"/>
                      </a:lnTo>
                      <a:lnTo>
                        <a:pt x="18834" y="192537"/>
                      </a:lnTo>
                      <a:lnTo>
                        <a:pt x="16471" y="193385"/>
                      </a:lnTo>
                      <a:lnTo>
                        <a:pt x="14490" y="195170"/>
                      </a:lnTo>
                      <a:lnTo>
                        <a:pt x="11605" y="194893"/>
                      </a:lnTo>
                      <a:lnTo>
                        <a:pt x="7823" y="192546"/>
                      </a:lnTo>
                      <a:lnTo>
                        <a:pt x="4726" y="191282"/>
                      </a:lnTo>
                      <a:lnTo>
                        <a:pt x="2290" y="191054"/>
                      </a:lnTo>
                      <a:lnTo>
                        <a:pt x="586" y="190313"/>
                      </a:lnTo>
                      <a:lnTo>
                        <a:pt x="0" y="27228"/>
                      </a:lnTo>
                      <a:lnTo>
                        <a:pt x="197737" y="27212"/>
                      </a:lnTo>
                      <a:lnTo>
                        <a:pt x="198210" y="26813"/>
                      </a:lnTo>
                      <a:lnTo>
                        <a:pt x="199807" y="24946"/>
                      </a:lnTo>
                      <a:lnTo>
                        <a:pt x="200394" y="23268"/>
                      </a:lnTo>
                      <a:lnTo>
                        <a:pt x="202684" y="21092"/>
                      </a:lnTo>
                      <a:lnTo>
                        <a:pt x="206685" y="18410"/>
                      </a:lnTo>
                      <a:lnTo>
                        <a:pt x="209114" y="16299"/>
                      </a:lnTo>
                      <a:lnTo>
                        <a:pt x="209962" y="14759"/>
                      </a:lnTo>
                      <a:lnTo>
                        <a:pt x="211061" y="13838"/>
                      </a:lnTo>
                      <a:lnTo>
                        <a:pt x="213156" y="13414"/>
                      </a:lnTo>
                      <a:lnTo>
                        <a:pt x="215161" y="14890"/>
                      </a:lnTo>
                      <a:lnTo>
                        <a:pt x="219521" y="14645"/>
                      </a:lnTo>
                      <a:lnTo>
                        <a:pt x="226880" y="13170"/>
                      </a:lnTo>
                      <a:lnTo>
                        <a:pt x="231623" y="13349"/>
                      </a:lnTo>
                      <a:lnTo>
                        <a:pt x="234818" y="16112"/>
                      </a:lnTo>
                      <a:lnTo>
                        <a:pt x="240841" y="15745"/>
                      </a:lnTo>
                      <a:lnTo>
                        <a:pt x="244410" y="16422"/>
                      </a:lnTo>
                      <a:lnTo>
                        <a:pt x="247540" y="18003"/>
                      </a:lnTo>
                      <a:lnTo>
                        <a:pt x="249203" y="19535"/>
                      </a:lnTo>
                      <a:lnTo>
                        <a:pt x="249398" y="21026"/>
                      </a:lnTo>
                      <a:lnTo>
                        <a:pt x="250897" y="22510"/>
                      </a:lnTo>
                      <a:lnTo>
                        <a:pt x="253701" y="24001"/>
                      </a:lnTo>
                      <a:lnTo>
                        <a:pt x="255494" y="26682"/>
                      </a:lnTo>
                      <a:lnTo>
                        <a:pt x="256276" y="30594"/>
                      </a:lnTo>
                      <a:lnTo>
                        <a:pt x="257727" y="31719"/>
                      </a:lnTo>
                      <a:lnTo>
                        <a:pt x="259821" y="30056"/>
                      </a:lnTo>
                      <a:lnTo>
                        <a:pt x="261084" y="28386"/>
                      </a:lnTo>
                      <a:lnTo>
                        <a:pt x="261712" y="25843"/>
                      </a:lnTo>
                      <a:lnTo>
                        <a:pt x="266081" y="23667"/>
                      </a:lnTo>
                      <a:lnTo>
                        <a:pt x="266855" y="25533"/>
                      </a:lnTo>
                      <a:lnTo>
                        <a:pt x="268403" y="26381"/>
                      </a:lnTo>
                      <a:lnTo>
                        <a:pt x="269177" y="24669"/>
                      </a:lnTo>
                      <a:lnTo>
                        <a:pt x="271174" y="24808"/>
                      </a:lnTo>
                      <a:lnTo>
                        <a:pt x="273383" y="23251"/>
                      </a:lnTo>
                      <a:lnTo>
                        <a:pt x="274491" y="17840"/>
                      </a:lnTo>
                      <a:lnTo>
                        <a:pt x="272951" y="15705"/>
                      </a:lnTo>
                      <a:lnTo>
                        <a:pt x="271948" y="12420"/>
                      </a:lnTo>
                      <a:lnTo>
                        <a:pt x="276822" y="9291"/>
                      </a:lnTo>
                      <a:lnTo>
                        <a:pt x="278150" y="9291"/>
                      </a:lnTo>
                      <a:lnTo>
                        <a:pt x="280025" y="7742"/>
                      </a:lnTo>
                      <a:lnTo>
                        <a:pt x="283016" y="6316"/>
                      </a:lnTo>
                      <a:lnTo>
                        <a:pt x="285012" y="3757"/>
                      </a:lnTo>
                      <a:lnTo>
                        <a:pt x="286911" y="5681"/>
                      </a:lnTo>
                      <a:lnTo>
                        <a:pt x="287881" y="4751"/>
                      </a:lnTo>
                      <a:lnTo>
                        <a:pt x="291434" y="6740"/>
                      </a:lnTo>
                      <a:lnTo>
                        <a:pt x="293757" y="5746"/>
                      </a:lnTo>
                      <a:lnTo>
                        <a:pt x="300505" y="6593"/>
                      </a:lnTo>
                      <a:lnTo>
                        <a:pt x="302379" y="3610"/>
                      </a:lnTo>
                      <a:lnTo>
                        <a:pt x="307033" y="2893"/>
                      </a:lnTo>
                      <a:lnTo>
                        <a:pt x="310358" y="0"/>
                      </a:lnTo>
                      <a:lnTo>
                        <a:pt x="311849" y="3064"/>
                      </a:lnTo>
                      <a:lnTo>
                        <a:pt x="311727" y="12380"/>
                      </a:lnTo>
                      <a:close/>
                      <a:moveTo>
                        <a:pt x="207541" y="233457"/>
                      </a:moveTo>
                      <a:lnTo>
                        <a:pt x="208421" y="232577"/>
                      </a:lnTo>
                      <a:lnTo>
                        <a:pt x="204770" y="230670"/>
                      </a:lnTo>
                      <a:lnTo>
                        <a:pt x="203229" y="228893"/>
                      </a:lnTo>
                      <a:lnTo>
                        <a:pt x="203116" y="227573"/>
                      </a:lnTo>
                      <a:lnTo>
                        <a:pt x="201005" y="226546"/>
                      </a:lnTo>
                      <a:lnTo>
                        <a:pt x="194143" y="231999"/>
                      </a:lnTo>
                      <a:lnTo>
                        <a:pt x="192700" y="238029"/>
                      </a:lnTo>
                      <a:lnTo>
                        <a:pt x="192815" y="242748"/>
                      </a:lnTo>
                      <a:lnTo>
                        <a:pt x="193254" y="245112"/>
                      </a:lnTo>
                      <a:lnTo>
                        <a:pt x="194697" y="246423"/>
                      </a:lnTo>
                      <a:lnTo>
                        <a:pt x="195691" y="246277"/>
                      </a:lnTo>
                      <a:lnTo>
                        <a:pt x="195911" y="248795"/>
                      </a:lnTo>
                      <a:lnTo>
                        <a:pt x="197126" y="251004"/>
                      </a:lnTo>
                      <a:lnTo>
                        <a:pt x="199668" y="251900"/>
                      </a:lnTo>
                      <a:lnTo>
                        <a:pt x="200997" y="249088"/>
                      </a:lnTo>
                      <a:lnTo>
                        <a:pt x="200548" y="241851"/>
                      </a:lnTo>
                      <a:lnTo>
                        <a:pt x="201551" y="240979"/>
                      </a:lnTo>
                      <a:lnTo>
                        <a:pt x="202097" y="238469"/>
                      </a:lnTo>
                      <a:lnTo>
                        <a:pt x="201885" y="236261"/>
                      </a:lnTo>
                      <a:lnTo>
                        <a:pt x="202993" y="234346"/>
                      </a:lnTo>
                      <a:lnTo>
                        <a:pt x="205316" y="233164"/>
                      </a:lnTo>
                      <a:lnTo>
                        <a:pt x="207541" y="233457"/>
                      </a:lnTo>
                      <a:close/>
                    </a:path>
                  </a:pathLst>
                </a:custGeom>
                <a:solidFill>
                  <a:srgbClr val="D6D6D2"/>
                </a:solidFill>
                <a:ln w="6112" cap="rnd">
                  <a:solidFill>
                    <a:srgbClr val="FFFFFF"/>
                  </a:solidFill>
                  <a:prstDash val="solid"/>
                  <a:round/>
                </a:ln>
              </p:spPr>
              <p:txBody>
                <a:bodyPr rtlCol="0" anchor="ctr"/>
                <a:lstStyle/>
                <a:p>
                  <a:endParaRPr lang="en-US"/>
                </a:p>
              </p:txBody>
            </p:sp>
            <p:sp>
              <p:nvSpPr>
                <p:cNvPr id="481" name="Freeform: Shape 480">
                  <a:extLst>
                    <a:ext uri="{FF2B5EF4-FFF2-40B4-BE49-F238E27FC236}">
                      <a16:creationId xmlns:a16="http://schemas.microsoft.com/office/drawing/2014/main" id="{B4B13417-A64D-4B69-9BFC-B625F4624E00}"/>
                    </a:ext>
                  </a:extLst>
                </p:cNvPr>
                <p:cNvSpPr/>
                <p:nvPr/>
              </p:nvSpPr>
              <p:spPr>
                <a:xfrm>
                  <a:off x="9633464" y="5611035"/>
                  <a:ext cx="15712" cy="25353"/>
                </a:xfrm>
                <a:custGeom>
                  <a:avLst/>
                  <a:gdLst>
                    <a:gd name="connsiteX0" fmla="*/ 15713 w 15712"/>
                    <a:gd name="connsiteY0" fmla="*/ 6031 h 25353"/>
                    <a:gd name="connsiteX1" fmla="*/ 14833 w 15712"/>
                    <a:gd name="connsiteY1" fmla="*/ 6911 h 25353"/>
                    <a:gd name="connsiteX2" fmla="*/ 12616 w 15712"/>
                    <a:gd name="connsiteY2" fmla="*/ 6618 h 25353"/>
                    <a:gd name="connsiteX3" fmla="*/ 10293 w 15712"/>
                    <a:gd name="connsiteY3" fmla="*/ 7799 h 25353"/>
                    <a:gd name="connsiteX4" fmla="*/ 9193 w 15712"/>
                    <a:gd name="connsiteY4" fmla="*/ 9715 h 25353"/>
                    <a:gd name="connsiteX5" fmla="*/ 9405 w 15712"/>
                    <a:gd name="connsiteY5" fmla="*/ 11923 h 25353"/>
                    <a:gd name="connsiteX6" fmla="*/ 8859 w 15712"/>
                    <a:gd name="connsiteY6" fmla="*/ 14433 h 25353"/>
                    <a:gd name="connsiteX7" fmla="*/ 7848 w 15712"/>
                    <a:gd name="connsiteY7" fmla="*/ 15305 h 25353"/>
                    <a:gd name="connsiteX8" fmla="*/ 8296 w 15712"/>
                    <a:gd name="connsiteY8" fmla="*/ 22542 h 25353"/>
                    <a:gd name="connsiteX9" fmla="*/ 6968 w 15712"/>
                    <a:gd name="connsiteY9" fmla="*/ 25354 h 25353"/>
                    <a:gd name="connsiteX10" fmla="*/ 4425 w 15712"/>
                    <a:gd name="connsiteY10" fmla="*/ 24449 h 25353"/>
                    <a:gd name="connsiteX11" fmla="*/ 3203 w 15712"/>
                    <a:gd name="connsiteY11" fmla="*/ 22249 h 25353"/>
                    <a:gd name="connsiteX12" fmla="*/ 2983 w 15712"/>
                    <a:gd name="connsiteY12" fmla="*/ 19730 h 25353"/>
                    <a:gd name="connsiteX13" fmla="*/ 1988 w 15712"/>
                    <a:gd name="connsiteY13" fmla="*/ 19877 h 25353"/>
                    <a:gd name="connsiteX14" fmla="*/ 546 w 15712"/>
                    <a:gd name="connsiteY14" fmla="*/ 18565 h 25353"/>
                    <a:gd name="connsiteX15" fmla="*/ 106 w 15712"/>
                    <a:gd name="connsiteY15" fmla="*/ 16202 h 25353"/>
                    <a:gd name="connsiteX16" fmla="*/ 0 w 15712"/>
                    <a:gd name="connsiteY16" fmla="*/ 11483 h 25353"/>
                    <a:gd name="connsiteX17" fmla="*/ 1434 w 15712"/>
                    <a:gd name="connsiteY17" fmla="*/ 5444 h 25353"/>
                    <a:gd name="connsiteX18" fmla="*/ 8296 w 15712"/>
                    <a:gd name="connsiteY18" fmla="*/ 0 h 25353"/>
                    <a:gd name="connsiteX19" fmla="*/ 10407 w 15712"/>
                    <a:gd name="connsiteY19" fmla="*/ 1019 h 25353"/>
                    <a:gd name="connsiteX20" fmla="*/ 10521 w 15712"/>
                    <a:gd name="connsiteY20" fmla="*/ 2347 h 25353"/>
                    <a:gd name="connsiteX21" fmla="*/ 12061 w 15712"/>
                    <a:gd name="connsiteY21" fmla="*/ 4116 h 25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712" h="25353">
                      <a:moveTo>
                        <a:pt x="15713" y="6031"/>
                      </a:moveTo>
                      <a:lnTo>
                        <a:pt x="14833" y="6911"/>
                      </a:lnTo>
                      <a:lnTo>
                        <a:pt x="12616" y="6618"/>
                      </a:lnTo>
                      <a:lnTo>
                        <a:pt x="10293" y="7799"/>
                      </a:lnTo>
                      <a:lnTo>
                        <a:pt x="9193" y="9715"/>
                      </a:lnTo>
                      <a:lnTo>
                        <a:pt x="9405" y="11923"/>
                      </a:lnTo>
                      <a:lnTo>
                        <a:pt x="8859" y="14433"/>
                      </a:lnTo>
                      <a:lnTo>
                        <a:pt x="7848" y="15305"/>
                      </a:lnTo>
                      <a:lnTo>
                        <a:pt x="8296" y="22542"/>
                      </a:lnTo>
                      <a:lnTo>
                        <a:pt x="6968" y="25354"/>
                      </a:lnTo>
                      <a:lnTo>
                        <a:pt x="4425" y="24449"/>
                      </a:lnTo>
                      <a:lnTo>
                        <a:pt x="3203" y="22249"/>
                      </a:lnTo>
                      <a:lnTo>
                        <a:pt x="2983" y="19730"/>
                      </a:lnTo>
                      <a:lnTo>
                        <a:pt x="1988" y="19877"/>
                      </a:lnTo>
                      <a:lnTo>
                        <a:pt x="546" y="18565"/>
                      </a:lnTo>
                      <a:lnTo>
                        <a:pt x="106" y="16202"/>
                      </a:lnTo>
                      <a:lnTo>
                        <a:pt x="0" y="11483"/>
                      </a:lnTo>
                      <a:lnTo>
                        <a:pt x="1434" y="5444"/>
                      </a:lnTo>
                      <a:lnTo>
                        <a:pt x="8296" y="0"/>
                      </a:lnTo>
                      <a:lnTo>
                        <a:pt x="10407" y="1019"/>
                      </a:lnTo>
                      <a:lnTo>
                        <a:pt x="10521" y="2347"/>
                      </a:lnTo>
                      <a:lnTo>
                        <a:pt x="12061" y="4116"/>
                      </a:lnTo>
                      <a:close/>
                    </a:path>
                  </a:pathLst>
                </a:custGeom>
                <a:solidFill>
                  <a:srgbClr val="D6D6D2"/>
                </a:solidFill>
                <a:ln w="8150" cap="flat">
                  <a:noFill/>
                  <a:prstDash val="solid"/>
                  <a:miter/>
                </a:ln>
              </p:spPr>
              <p:txBody>
                <a:bodyPr rtlCol="0" anchor="ctr"/>
                <a:lstStyle/>
                <a:p>
                  <a:endParaRPr lang="en-US"/>
                </a:p>
              </p:txBody>
            </p:sp>
            <p:sp>
              <p:nvSpPr>
                <p:cNvPr id="482" name="Freeform: Shape 481">
                  <a:extLst>
                    <a:ext uri="{FF2B5EF4-FFF2-40B4-BE49-F238E27FC236}">
                      <a16:creationId xmlns:a16="http://schemas.microsoft.com/office/drawing/2014/main" id="{CF859331-7D6E-470F-9FF7-038D5E4D0182}"/>
                    </a:ext>
                  </a:extLst>
                </p:cNvPr>
                <p:cNvSpPr/>
                <p:nvPr/>
              </p:nvSpPr>
              <p:spPr>
                <a:xfrm>
                  <a:off x="9439892" y="5573530"/>
                  <a:ext cx="222650" cy="170744"/>
                </a:xfrm>
                <a:custGeom>
                  <a:avLst/>
                  <a:gdLst>
                    <a:gd name="connsiteX0" fmla="*/ 222651 w 222650"/>
                    <a:gd name="connsiteY0" fmla="*/ 115580 h 170744"/>
                    <a:gd name="connsiteX1" fmla="*/ 222406 w 222650"/>
                    <a:gd name="connsiteY1" fmla="*/ 116509 h 170744"/>
                    <a:gd name="connsiteX2" fmla="*/ 219358 w 222650"/>
                    <a:gd name="connsiteY2" fmla="*/ 117152 h 170744"/>
                    <a:gd name="connsiteX3" fmla="*/ 216856 w 222650"/>
                    <a:gd name="connsiteY3" fmla="*/ 119459 h 170744"/>
                    <a:gd name="connsiteX4" fmla="*/ 213295 w 222650"/>
                    <a:gd name="connsiteY4" fmla="*/ 123240 h 170744"/>
                    <a:gd name="connsiteX5" fmla="*/ 211192 w 222650"/>
                    <a:gd name="connsiteY5" fmla="*/ 124618 h 170744"/>
                    <a:gd name="connsiteX6" fmla="*/ 206669 w 222650"/>
                    <a:gd name="connsiteY6" fmla="*/ 125661 h 170744"/>
                    <a:gd name="connsiteX7" fmla="*/ 197875 w 222650"/>
                    <a:gd name="connsiteY7" fmla="*/ 125196 h 170744"/>
                    <a:gd name="connsiteX8" fmla="*/ 180973 w 222650"/>
                    <a:gd name="connsiteY8" fmla="*/ 126606 h 170744"/>
                    <a:gd name="connsiteX9" fmla="*/ 177705 w 222650"/>
                    <a:gd name="connsiteY9" fmla="*/ 127453 h 170744"/>
                    <a:gd name="connsiteX10" fmla="*/ 171413 w 222650"/>
                    <a:gd name="connsiteY10" fmla="*/ 130053 h 170744"/>
                    <a:gd name="connsiteX11" fmla="*/ 165341 w 222650"/>
                    <a:gd name="connsiteY11" fmla="*/ 134136 h 170744"/>
                    <a:gd name="connsiteX12" fmla="*/ 159490 w 222650"/>
                    <a:gd name="connsiteY12" fmla="*/ 139613 h 170744"/>
                    <a:gd name="connsiteX13" fmla="*/ 146117 w 222650"/>
                    <a:gd name="connsiteY13" fmla="*/ 154527 h 170744"/>
                    <a:gd name="connsiteX14" fmla="*/ 135677 w 222650"/>
                    <a:gd name="connsiteY14" fmla="*/ 156149 h 170744"/>
                    <a:gd name="connsiteX15" fmla="*/ 133696 w 222650"/>
                    <a:gd name="connsiteY15" fmla="*/ 156149 h 170744"/>
                    <a:gd name="connsiteX16" fmla="*/ 132132 w 222650"/>
                    <a:gd name="connsiteY16" fmla="*/ 155750 h 170744"/>
                    <a:gd name="connsiteX17" fmla="*/ 130265 w 222650"/>
                    <a:gd name="connsiteY17" fmla="*/ 156678 h 170744"/>
                    <a:gd name="connsiteX18" fmla="*/ 130233 w 222650"/>
                    <a:gd name="connsiteY18" fmla="*/ 158545 h 170744"/>
                    <a:gd name="connsiteX19" fmla="*/ 131952 w 222650"/>
                    <a:gd name="connsiteY19" fmla="*/ 160485 h 170744"/>
                    <a:gd name="connsiteX20" fmla="*/ 133224 w 222650"/>
                    <a:gd name="connsiteY20" fmla="*/ 162294 h 170744"/>
                    <a:gd name="connsiteX21" fmla="*/ 135456 w 222650"/>
                    <a:gd name="connsiteY21" fmla="*/ 159784 h 170744"/>
                    <a:gd name="connsiteX22" fmla="*/ 136443 w 222650"/>
                    <a:gd name="connsiteY22" fmla="*/ 160485 h 170744"/>
                    <a:gd name="connsiteX23" fmla="*/ 136817 w 222650"/>
                    <a:gd name="connsiteY23" fmla="*/ 165114 h 170744"/>
                    <a:gd name="connsiteX24" fmla="*/ 136867 w 222650"/>
                    <a:gd name="connsiteY24" fmla="*/ 168039 h 170744"/>
                    <a:gd name="connsiteX25" fmla="*/ 136198 w 222650"/>
                    <a:gd name="connsiteY25" fmla="*/ 169637 h 170744"/>
                    <a:gd name="connsiteX26" fmla="*/ 134796 w 222650"/>
                    <a:gd name="connsiteY26" fmla="*/ 170745 h 170744"/>
                    <a:gd name="connsiteX27" fmla="*/ 133297 w 222650"/>
                    <a:gd name="connsiteY27" fmla="*/ 170020 h 170744"/>
                    <a:gd name="connsiteX28" fmla="*/ 133110 w 222650"/>
                    <a:gd name="connsiteY28" fmla="*/ 168438 h 170744"/>
                    <a:gd name="connsiteX29" fmla="*/ 131178 w 222650"/>
                    <a:gd name="connsiteY29" fmla="*/ 164649 h 170744"/>
                    <a:gd name="connsiteX30" fmla="*/ 128799 w 222650"/>
                    <a:gd name="connsiteY30" fmla="*/ 161332 h 170744"/>
                    <a:gd name="connsiteX31" fmla="*/ 126598 w 222650"/>
                    <a:gd name="connsiteY31" fmla="*/ 160264 h 170744"/>
                    <a:gd name="connsiteX32" fmla="*/ 125327 w 222650"/>
                    <a:gd name="connsiteY32" fmla="*/ 161373 h 170744"/>
                    <a:gd name="connsiteX33" fmla="*/ 123265 w 222650"/>
                    <a:gd name="connsiteY33" fmla="*/ 162538 h 170744"/>
                    <a:gd name="connsiteX34" fmla="*/ 121529 w 222650"/>
                    <a:gd name="connsiteY34" fmla="*/ 158308 h 170744"/>
                    <a:gd name="connsiteX35" fmla="*/ 119671 w 222650"/>
                    <a:gd name="connsiteY35" fmla="*/ 154649 h 170744"/>
                    <a:gd name="connsiteX36" fmla="*/ 117226 w 222650"/>
                    <a:gd name="connsiteY36" fmla="*/ 154274 h 170744"/>
                    <a:gd name="connsiteX37" fmla="*/ 115099 w 222650"/>
                    <a:gd name="connsiteY37" fmla="*/ 154299 h 170744"/>
                    <a:gd name="connsiteX38" fmla="*/ 113338 w 222650"/>
                    <a:gd name="connsiteY38" fmla="*/ 152726 h 170744"/>
                    <a:gd name="connsiteX39" fmla="*/ 109907 w 222650"/>
                    <a:gd name="connsiteY39" fmla="*/ 150224 h 170744"/>
                    <a:gd name="connsiteX40" fmla="*/ 110576 w 222650"/>
                    <a:gd name="connsiteY40" fmla="*/ 148268 h 170744"/>
                    <a:gd name="connsiteX41" fmla="*/ 111529 w 222650"/>
                    <a:gd name="connsiteY41" fmla="*/ 146231 h 170744"/>
                    <a:gd name="connsiteX42" fmla="*/ 113493 w 222650"/>
                    <a:gd name="connsiteY42" fmla="*/ 145481 h 170744"/>
                    <a:gd name="connsiteX43" fmla="*/ 112914 w 222650"/>
                    <a:gd name="connsiteY43" fmla="*/ 142702 h 170744"/>
                    <a:gd name="connsiteX44" fmla="*/ 111855 w 222650"/>
                    <a:gd name="connsiteY44" fmla="*/ 140436 h 170744"/>
                    <a:gd name="connsiteX45" fmla="*/ 109141 w 222650"/>
                    <a:gd name="connsiteY45" fmla="*/ 139833 h 170744"/>
                    <a:gd name="connsiteX46" fmla="*/ 107315 w 222650"/>
                    <a:gd name="connsiteY46" fmla="*/ 140232 h 170744"/>
                    <a:gd name="connsiteX47" fmla="*/ 106232 w 222650"/>
                    <a:gd name="connsiteY47" fmla="*/ 142025 h 170744"/>
                    <a:gd name="connsiteX48" fmla="*/ 104789 w 222650"/>
                    <a:gd name="connsiteY48" fmla="*/ 145130 h 170744"/>
                    <a:gd name="connsiteX49" fmla="*/ 99052 w 222650"/>
                    <a:gd name="connsiteY49" fmla="*/ 149058 h 170744"/>
                    <a:gd name="connsiteX50" fmla="*/ 96265 w 222650"/>
                    <a:gd name="connsiteY50" fmla="*/ 146891 h 170744"/>
                    <a:gd name="connsiteX51" fmla="*/ 93045 w 222650"/>
                    <a:gd name="connsiteY51" fmla="*/ 143663 h 170744"/>
                    <a:gd name="connsiteX52" fmla="*/ 94594 w 222650"/>
                    <a:gd name="connsiteY52" fmla="*/ 143908 h 170744"/>
                    <a:gd name="connsiteX53" fmla="*/ 97838 w 222650"/>
                    <a:gd name="connsiteY53" fmla="*/ 143794 h 170744"/>
                    <a:gd name="connsiteX54" fmla="*/ 100543 w 222650"/>
                    <a:gd name="connsiteY54" fmla="*/ 140909 h 170744"/>
                    <a:gd name="connsiteX55" fmla="*/ 101701 w 222650"/>
                    <a:gd name="connsiteY55" fmla="*/ 139108 h 170744"/>
                    <a:gd name="connsiteX56" fmla="*/ 103013 w 222650"/>
                    <a:gd name="connsiteY56" fmla="*/ 135318 h 170744"/>
                    <a:gd name="connsiteX57" fmla="*/ 101268 w 222650"/>
                    <a:gd name="connsiteY57" fmla="*/ 132612 h 170744"/>
                    <a:gd name="connsiteX58" fmla="*/ 99663 w 222650"/>
                    <a:gd name="connsiteY58" fmla="*/ 130648 h 170744"/>
                    <a:gd name="connsiteX59" fmla="*/ 97340 w 222650"/>
                    <a:gd name="connsiteY59" fmla="*/ 128896 h 170744"/>
                    <a:gd name="connsiteX60" fmla="*/ 88596 w 222650"/>
                    <a:gd name="connsiteY60" fmla="*/ 134837 h 170744"/>
                    <a:gd name="connsiteX61" fmla="*/ 86778 w 222650"/>
                    <a:gd name="connsiteY61" fmla="*/ 135677 h 170744"/>
                    <a:gd name="connsiteX62" fmla="*/ 85050 w 222650"/>
                    <a:gd name="connsiteY62" fmla="*/ 136834 h 170744"/>
                    <a:gd name="connsiteX63" fmla="*/ 88074 w 222650"/>
                    <a:gd name="connsiteY63" fmla="*/ 137828 h 170744"/>
                    <a:gd name="connsiteX64" fmla="*/ 89859 w 222650"/>
                    <a:gd name="connsiteY64" fmla="*/ 137527 h 170744"/>
                    <a:gd name="connsiteX65" fmla="*/ 91733 w 222650"/>
                    <a:gd name="connsiteY65" fmla="*/ 139287 h 170744"/>
                    <a:gd name="connsiteX66" fmla="*/ 88710 w 222650"/>
                    <a:gd name="connsiteY66" fmla="*/ 141781 h 170744"/>
                    <a:gd name="connsiteX67" fmla="*/ 86346 w 222650"/>
                    <a:gd name="connsiteY67" fmla="*/ 142441 h 170744"/>
                    <a:gd name="connsiteX68" fmla="*/ 83380 w 222650"/>
                    <a:gd name="connsiteY68" fmla="*/ 143924 h 170744"/>
                    <a:gd name="connsiteX69" fmla="*/ 77765 w 222650"/>
                    <a:gd name="connsiteY69" fmla="*/ 147763 h 170744"/>
                    <a:gd name="connsiteX70" fmla="*/ 70569 w 222650"/>
                    <a:gd name="connsiteY70" fmla="*/ 155725 h 170744"/>
                    <a:gd name="connsiteX71" fmla="*/ 67472 w 222650"/>
                    <a:gd name="connsiteY71" fmla="*/ 157999 h 170744"/>
                    <a:gd name="connsiteX72" fmla="*/ 63813 w 222650"/>
                    <a:gd name="connsiteY72" fmla="*/ 159825 h 170744"/>
                    <a:gd name="connsiteX73" fmla="*/ 58841 w 222650"/>
                    <a:gd name="connsiteY73" fmla="*/ 157697 h 170744"/>
                    <a:gd name="connsiteX74" fmla="*/ 56062 w 222650"/>
                    <a:gd name="connsiteY74" fmla="*/ 157208 h 170744"/>
                    <a:gd name="connsiteX75" fmla="*/ 52492 w 222650"/>
                    <a:gd name="connsiteY75" fmla="*/ 153932 h 170744"/>
                    <a:gd name="connsiteX76" fmla="*/ 46486 w 222650"/>
                    <a:gd name="connsiteY76" fmla="*/ 151748 h 170744"/>
                    <a:gd name="connsiteX77" fmla="*/ 40830 w 222650"/>
                    <a:gd name="connsiteY77" fmla="*/ 147412 h 170744"/>
                    <a:gd name="connsiteX78" fmla="*/ 36951 w 222650"/>
                    <a:gd name="connsiteY78" fmla="*/ 145204 h 170744"/>
                    <a:gd name="connsiteX79" fmla="*/ 34188 w 222650"/>
                    <a:gd name="connsiteY79" fmla="*/ 144723 h 170744"/>
                    <a:gd name="connsiteX80" fmla="*/ 30301 w 222650"/>
                    <a:gd name="connsiteY80" fmla="*/ 145652 h 170744"/>
                    <a:gd name="connsiteX81" fmla="*/ 23773 w 222650"/>
                    <a:gd name="connsiteY81" fmla="*/ 141756 h 170744"/>
                    <a:gd name="connsiteX82" fmla="*/ 18818 w 222650"/>
                    <a:gd name="connsiteY82" fmla="*/ 141341 h 170744"/>
                    <a:gd name="connsiteX83" fmla="*/ 15574 w 222650"/>
                    <a:gd name="connsiteY83" fmla="*/ 145245 h 170744"/>
                    <a:gd name="connsiteX84" fmla="*/ 13031 w 222650"/>
                    <a:gd name="connsiteY84" fmla="*/ 144984 h 170744"/>
                    <a:gd name="connsiteX85" fmla="*/ 11361 w 222650"/>
                    <a:gd name="connsiteY85" fmla="*/ 144438 h 170744"/>
                    <a:gd name="connsiteX86" fmla="*/ 6137 w 222650"/>
                    <a:gd name="connsiteY86" fmla="*/ 138016 h 170744"/>
                    <a:gd name="connsiteX87" fmla="*/ 1108 w 222650"/>
                    <a:gd name="connsiteY87" fmla="*/ 134829 h 170744"/>
                    <a:gd name="connsiteX88" fmla="*/ 0 w 222650"/>
                    <a:gd name="connsiteY88" fmla="*/ 134642 h 170744"/>
                    <a:gd name="connsiteX89" fmla="*/ 41 w 222650"/>
                    <a:gd name="connsiteY89" fmla="*/ 0 h 170744"/>
                    <a:gd name="connsiteX90" fmla="*/ 766 w 222650"/>
                    <a:gd name="connsiteY90" fmla="*/ 342 h 170744"/>
                    <a:gd name="connsiteX91" fmla="*/ 1475 w 222650"/>
                    <a:gd name="connsiteY91" fmla="*/ 1247 h 170744"/>
                    <a:gd name="connsiteX92" fmla="*/ 3179 w 222650"/>
                    <a:gd name="connsiteY92" fmla="*/ 1988 h 170744"/>
                    <a:gd name="connsiteX93" fmla="*/ 5615 w 222650"/>
                    <a:gd name="connsiteY93" fmla="*/ 2217 h 170744"/>
                    <a:gd name="connsiteX94" fmla="*/ 8712 w 222650"/>
                    <a:gd name="connsiteY94" fmla="*/ 3480 h 170744"/>
                    <a:gd name="connsiteX95" fmla="*/ 12494 w 222650"/>
                    <a:gd name="connsiteY95" fmla="*/ 5827 h 170744"/>
                    <a:gd name="connsiteX96" fmla="*/ 15378 w 222650"/>
                    <a:gd name="connsiteY96" fmla="*/ 6104 h 170744"/>
                    <a:gd name="connsiteX97" fmla="*/ 17359 w 222650"/>
                    <a:gd name="connsiteY97" fmla="*/ 4319 h 170744"/>
                    <a:gd name="connsiteX98" fmla="*/ 19722 w 222650"/>
                    <a:gd name="connsiteY98" fmla="*/ 3472 h 170744"/>
                    <a:gd name="connsiteX99" fmla="*/ 23821 w 222650"/>
                    <a:gd name="connsiteY99" fmla="*/ 3643 h 170744"/>
                    <a:gd name="connsiteX100" fmla="*/ 29559 w 222650"/>
                    <a:gd name="connsiteY100" fmla="*/ 5493 h 170744"/>
                    <a:gd name="connsiteX101" fmla="*/ 31914 w 222650"/>
                    <a:gd name="connsiteY101" fmla="*/ 7131 h 170744"/>
                    <a:gd name="connsiteX102" fmla="*/ 32770 w 222650"/>
                    <a:gd name="connsiteY102" fmla="*/ 9193 h 170744"/>
                    <a:gd name="connsiteX103" fmla="*/ 33772 w 222650"/>
                    <a:gd name="connsiteY103" fmla="*/ 10391 h 170744"/>
                    <a:gd name="connsiteX104" fmla="*/ 34897 w 222650"/>
                    <a:gd name="connsiteY104" fmla="*/ 10733 h 170744"/>
                    <a:gd name="connsiteX105" fmla="*/ 35402 w 222650"/>
                    <a:gd name="connsiteY105" fmla="*/ 12493 h 170744"/>
                    <a:gd name="connsiteX106" fmla="*/ 35264 w 222650"/>
                    <a:gd name="connsiteY106" fmla="*/ 15705 h 170744"/>
                    <a:gd name="connsiteX107" fmla="*/ 36201 w 222650"/>
                    <a:gd name="connsiteY107" fmla="*/ 19266 h 170744"/>
                    <a:gd name="connsiteX108" fmla="*/ 38214 w 222650"/>
                    <a:gd name="connsiteY108" fmla="*/ 23170 h 170744"/>
                    <a:gd name="connsiteX109" fmla="*/ 39795 w 222650"/>
                    <a:gd name="connsiteY109" fmla="*/ 25248 h 170744"/>
                    <a:gd name="connsiteX110" fmla="*/ 40985 w 222650"/>
                    <a:gd name="connsiteY110" fmla="*/ 25525 h 170744"/>
                    <a:gd name="connsiteX111" fmla="*/ 42085 w 222650"/>
                    <a:gd name="connsiteY111" fmla="*/ 24148 h 170744"/>
                    <a:gd name="connsiteX112" fmla="*/ 43120 w 222650"/>
                    <a:gd name="connsiteY112" fmla="*/ 21108 h 170744"/>
                    <a:gd name="connsiteX113" fmla="*/ 44033 w 222650"/>
                    <a:gd name="connsiteY113" fmla="*/ 19437 h 170744"/>
                    <a:gd name="connsiteX114" fmla="*/ 44831 w 222650"/>
                    <a:gd name="connsiteY114" fmla="*/ 19079 h 170744"/>
                    <a:gd name="connsiteX115" fmla="*/ 45777 w 222650"/>
                    <a:gd name="connsiteY115" fmla="*/ 19714 h 170744"/>
                    <a:gd name="connsiteX116" fmla="*/ 46902 w 222650"/>
                    <a:gd name="connsiteY116" fmla="*/ 21303 h 170744"/>
                    <a:gd name="connsiteX117" fmla="*/ 49566 w 222650"/>
                    <a:gd name="connsiteY117" fmla="*/ 22493 h 170744"/>
                    <a:gd name="connsiteX118" fmla="*/ 55923 w 222650"/>
                    <a:gd name="connsiteY118" fmla="*/ 23862 h 170744"/>
                    <a:gd name="connsiteX119" fmla="*/ 58499 w 222650"/>
                    <a:gd name="connsiteY119" fmla="*/ 25663 h 170744"/>
                    <a:gd name="connsiteX120" fmla="*/ 59387 w 222650"/>
                    <a:gd name="connsiteY120" fmla="*/ 28744 h 170744"/>
                    <a:gd name="connsiteX121" fmla="*/ 59428 w 222650"/>
                    <a:gd name="connsiteY121" fmla="*/ 33699 h 170744"/>
                    <a:gd name="connsiteX122" fmla="*/ 59786 w 222650"/>
                    <a:gd name="connsiteY122" fmla="*/ 36837 h 170744"/>
                    <a:gd name="connsiteX123" fmla="*/ 60463 w 222650"/>
                    <a:gd name="connsiteY123" fmla="*/ 38165 h 170744"/>
                    <a:gd name="connsiteX124" fmla="*/ 61807 w 222650"/>
                    <a:gd name="connsiteY124" fmla="*/ 39339 h 170744"/>
                    <a:gd name="connsiteX125" fmla="*/ 63837 w 222650"/>
                    <a:gd name="connsiteY125" fmla="*/ 40366 h 170744"/>
                    <a:gd name="connsiteX126" fmla="*/ 64904 w 222650"/>
                    <a:gd name="connsiteY126" fmla="*/ 41841 h 170744"/>
                    <a:gd name="connsiteX127" fmla="*/ 64929 w 222650"/>
                    <a:gd name="connsiteY127" fmla="*/ 43422 h 170744"/>
                    <a:gd name="connsiteX128" fmla="*/ 68156 w 222650"/>
                    <a:gd name="connsiteY128" fmla="*/ 46201 h 170744"/>
                    <a:gd name="connsiteX129" fmla="*/ 74521 w 222650"/>
                    <a:gd name="connsiteY129" fmla="*/ 50072 h 170744"/>
                    <a:gd name="connsiteX130" fmla="*/ 79280 w 222650"/>
                    <a:gd name="connsiteY130" fmla="*/ 53576 h 170744"/>
                    <a:gd name="connsiteX131" fmla="*/ 82418 w 222650"/>
                    <a:gd name="connsiteY131" fmla="*/ 56730 h 170744"/>
                    <a:gd name="connsiteX132" fmla="*/ 84627 w 222650"/>
                    <a:gd name="connsiteY132" fmla="*/ 59721 h 170744"/>
                    <a:gd name="connsiteX133" fmla="*/ 85849 w 222650"/>
                    <a:gd name="connsiteY133" fmla="*/ 62500 h 170744"/>
                    <a:gd name="connsiteX134" fmla="*/ 88245 w 222650"/>
                    <a:gd name="connsiteY134" fmla="*/ 65467 h 170744"/>
                    <a:gd name="connsiteX135" fmla="*/ 91815 w 222650"/>
                    <a:gd name="connsiteY135" fmla="*/ 68580 h 170744"/>
                    <a:gd name="connsiteX136" fmla="*/ 95058 w 222650"/>
                    <a:gd name="connsiteY136" fmla="*/ 69819 h 170744"/>
                    <a:gd name="connsiteX137" fmla="*/ 97960 w 222650"/>
                    <a:gd name="connsiteY137" fmla="*/ 69199 h 170744"/>
                    <a:gd name="connsiteX138" fmla="*/ 99150 w 222650"/>
                    <a:gd name="connsiteY138" fmla="*/ 68132 h 170744"/>
                    <a:gd name="connsiteX139" fmla="*/ 98644 w 222650"/>
                    <a:gd name="connsiteY139" fmla="*/ 66600 h 170744"/>
                    <a:gd name="connsiteX140" fmla="*/ 98612 w 222650"/>
                    <a:gd name="connsiteY140" fmla="*/ 64929 h 170744"/>
                    <a:gd name="connsiteX141" fmla="*/ 99085 w 222650"/>
                    <a:gd name="connsiteY141" fmla="*/ 63079 h 170744"/>
                    <a:gd name="connsiteX142" fmla="*/ 100242 w 222650"/>
                    <a:gd name="connsiteY142" fmla="*/ 61807 h 170744"/>
                    <a:gd name="connsiteX143" fmla="*/ 102108 w 222650"/>
                    <a:gd name="connsiteY143" fmla="*/ 61090 h 170744"/>
                    <a:gd name="connsiteX144" fmla="*/ 105612 w 222650"/>
                    <a:gd name="connsiteY144" fmla="*/ 60552 h 170744"/>
                    <a:gd name="connsiteX145" fmla="*/ 110771 w 222650"/>
                    <a:gd name="connsiteY145" fmla="*/ 60186 h 170744"/>
                    <a:gd name="connsiteX146" fmla="*/ 114642 w 222650"/>
                    <a:gd name="connsiteY146" fmla="*/ 61115 h 170744"/>
                    <a:gd name="connsiteX147" fmla="*/ 117218 w 222650"/>
                    <a:gd name="connsiteY147" fmla="*/ 63364 h 170744"/>
                    <a:gd name="connsiteX148" fmla="*/ 120266 w 222650"/>
                    <a:gd name="connsiteY148" fmla="*/ 64896 h 170744"/>
                    <a:gd name="connsiteX149" fmla="*/ 125799 w 222650"/>
                    <a:gd name="connsiteY149" fmla="*/ 66200 h 170744"/>
                    <a:gd name="connsiteX150" fmla="*/ 130208 w 222650"/>
                    <a:gd name="connsiteY150" fmla="*/ 67529 h 170744"/>
                    <a:gd name="connsiteX151" fmla="*/ 132898 w 222650"/>
                    <a:gd name="connsiteY151" fmla="*/ 67423 h 170744"/>
                    <a:gd name="connsiteX152" fmla="*/ 134837 w 222650"/>
                    <a:gd name="connsiteY152" fmla="*/ 66746 h 170744"/>
                    <a:gd name="connsiteX153" fmla="*/ 136508 w 222650"/>
                    <a:gd name="connsiteY153" fmla="*/ 65434 h 170744"/>
                    <a:gd name="connsiteX154" fmla="*/ 139458 w 222650"/>
                    <a:gd name="connsiteY154" fmla="*/ 65809 h 170744"/>
                    <a:gd name="connsiteX155" fmla="*/ 143362 w 222650"/>
                    <a:gd name="connsiteY155" fmla="*/ 67675 h 170744"/>
                    <a:gd name="connsiteX156" fmla="*/ 147070 w 222650"/>
                    <a:gd name="connsiteY156" fmla="*/ 68963 h 170744"/>
                    <a:gd name="connsiteX157" fmla="*/ 150811 w 222650"/>
                    <a:gd name="connsiteY157" fmla="*/ 69150 h 170744"/>
                    <a:gd name="connsiteX158" fmla="*/ 152139 w 222650"/>
                    <a:gd name="connsiteY158" fmla="*/ 67292 h 170744"/>
                    <a:gd name="connsiteX159" fmla="*/ 153549 w 222650"/>
                    <a:gd name="connsiteY159" fmla="*/ 66811 h 170744"/>
                    <a:gd name="connsiteX160" fmla="*/ 156393 w 222650"/>
                    <a:gd name="connsiteY160" fmla="*/ 67268 h 170744"/>
                    <a:gd name="connsiteX161" fmla="*/ 157665 w 222650"/>
                    <a:gd name="connsiteY161" fmla="*/ 67920 h 170744"/>
                    <a:gd name="connsiteX162" fmla="*/ 158341 w 222650"/>
                    <a:gd name="connsiteY162" fmla="*/ 67366 h 170744"/>
                    <a:gd name="connsiteX163" fmla="*/ 158863 w 222650"/>
                    <a:gd name="connsiteY163" fmla="*/ 65768 h 170744"/>
                    <a:gd name="connsiteX164" fmla="*/ 159751 w 222650"/>
                    <a:gd name="connsiteY164" fmla="*/ 64684 h 170744"/>
                    <a:gd name="connsiteX165" fmla="*/ 161006 w 222650"/>
                    <a:gd name="connsiteY165" fmla="*/ 64130 h 170744"/>
                    <a:gd name="connsiteX166" fmla="*/ 162090 w 222650"/>
                    <a:gd name="connsiteY166" fmla="*/ 64285 h 170744"/>
                    <a:gd name="connsiteX167" fmla="*/ 162987 w 222650"/>
                    <a:gd name="connsiteY167" fmla="*/ 65124 h 170744"/>
                    <a:gd name="connsiteX168" fmla="*/ 164298 w 222650"/>
                    <a:gd name="connsiteY168" fmla="*/ 65068 h 170744"/>
                    <a:gd name="connsiteX169" fmla="*/ 166360 w 222650"/>
                    <a:gd name="connsiteY169" fmla="*/ 64122 h 170744"/>
                    <a:gd name="connsiteX170" fmla="*/ 168553 w 222650"/>
                    <a:gd name="connsiteY170" fmla="*/ 64195 h 170744"/>
                    <a:gd name="connsiteX171" fmla="*/ 172742 w 222650"/>
                    <a:gd name="connsiteY171" fmla="*/ 66282 h 170744"/>
                    <a:gd name="connsiteX172" fmla="*/ 173825 w 222650"/>
                    <a:gd name="connsiteY172" fmla="*/ 67162 h 170744"/>
                    <a:gd name="connsiteX173" fmla="*/ 175301 w 222650"/>
                    <a:gd name="connsiteY173" fmla="*/ 71652 h 170744"/>
                    <a:gd name="connsiteX174" fmla="*/ 178096 w 222650"/>
                    <a:gd name="connsiteY174" fmla="*/ 83738 h 170744"/>
                    <a:gd name="connsiteX175" fmla="*/ 179335 w 222650"/>
                    <a:gd name="connsiteY175" fmla="*/ 86371 h 170744"/>
                    <a:gd name="connsiteX176" fmla="*/ 178471 w 222650"/>
                    <a:gd name="connsiteY176" fmla="*/ 89867 h 170744"/>
                    <a:gd name="connsiteX177" fmla="*/ 177746 w 222650"/>
                    <a:gd name="connsiteY177" fmla="*/ 91440 h 170744"/>
                    <a:gd name="connsiteX178" fmla="*/ 179815 w 222650"/>
                    <a:gd name="connsiteY178" fmla="*/ 92279 h 170744"/>
                    <a:gd name="connsiteX179" fmla="*/ 222651 w 222650"/>
                    <a:gd name="connsiteY179" fmla="*/ 115580 h 170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22650" h="170744">
                      <a:moveTo>
                        <a:pt x="222651" y="115580"/>
                      </a:moveTo>
                      <a:lnTo>
                        <a:pt x="222406" y="116509"/>
                      </a:lnTo>
                      <a:lnTo>
                        <a:pt x="219358" y="117152"/>
                      </a:lnTo>
                      <a:lnTo>
                        <a:pt x="216856" y="119459"/>
                      </a:lnTo>
                      <a:lnTo>
                        <a:pt x="213295" y="123240"/>
                      </a:lnTo>
                      <a:lnTo>
                        <a:pt x="211192" y="124618"/>
                      </a:lnTo>
                      <a:lnTo>
                        <a:pt x="206669" y="125661"/>
                      </a:lnTo>
                      <a:lnTo>
                        <a:pt x="197875" y="125196"/>
                      </a:lnTo>
                      <a:lnTo>
                        <a:pt x="180973" y="126606"/>
                      </a:lnTo>
                      <a:lnTo>
                        <a:pt x="177705" y="127453"/>
                      </a:lnTo>
                      <a:lnTo>
                        <a:pt x="171413" y="130053"/>
                      </a:lnTo>
                      <a:lnTo>
                        <a:pt x="165341" y="134136"/>
                      </a:lnTo>
                      <a:lnTo>
                        <a:pt x="159490" y="139613"/>
                      </a:lnTo>
                      <a:lnTo>
                        <a:pt x="146117" y="154527"/>
                      </a:lnTo>
                      <a:lnTo>
                        <a:pt x="135677" y="156149"/>
                      </a:lnTo>
                      <a:lnTo>
                        <a:pt x="133696" y="156149"/>
                      </a:lnTo>
                      <a:lnTo>
                        <a:pt x="132132" y="155750"/>
                      </a:lnTo>
                      <a:lnTo>
                        <a:pt x="130265" y="156678"/>
                      </a:lnTo>
                      <a:lnTo>
                        <a:pt x="130233" y="158545"/>
                      </a:lnTo>
                      <a:lnTo>
                        <a:pt x="131952" y="160485"/>
                      </a:lnTo>
                      <a:lnTo>
                        <a:pt x="133224" y="162294"/>
                      </a:lnTo>
                      <a:lnTo>
                        <a:pt x="135456" y="159784"/>
                      </a:lnTo>
                      <a:lnTo>
                        <a:pt x="136443" y="160485"/>
                      </a:lnTo>
                      <a:lnTo>
                        <a:pt x="136817" y="165114"/>
                      </a:lnTo>
                      <a:lnTo>
                        <a:pt x="136867" y="168039"/>
                      </a:lnTo>
                      <a:lnTo>
                        <a:pt x="136198" y="169637"/>
                      </a:lnTo>
                      <a:lnTo>
                        <a:pt x="134796" y="170745"/>
                      </a:lnTo>
                      <a:lnTo>
                        <a:pt x="133297" y="170020"/>
                      </a:lnTo>
                      <a:lnTo>
                        <a:pt x="133110" y="168438"/>
                      </a:lnTo>
                      <a:lnTo>
                        <a:pt x="131178" y="164649"/>
                      </a:lnTo>
                      <a:lnTo>
                        <a:pt x="128799" y="161332"/>
                      </a:lnTo>
                      <a:lnTo>
                        <a:pt x="126598" y="160264"/>
                      </a:lnTo>
                      <a:lnTo>
                        <a:pt x="125327" y="161373"/>
                      </a:lnTo>
                      <a:lnTo>
                        <a:pt x="123265" y="162538"/>
                      </a:lnTo>
                      <a:lnTo>
                        <a:pt x="121529" y="158308"/>
                      </a:lnTo>
                      <a:lnTo>
                        <a:pt x="119671" y="154649"/>
                      </a:lnTo>
                      <a:lnTo>
                        <a:pt x="117226" y="154274"/>
                      </a:lnTo>
                      <a:lnTo>
                        <a:pt x="115099" y="154299"/>
                      </a:lnTo>
                      <a:lnTo>
                        <a:pt x="113338" y="152726"/>
                      </a:lnTo>
                      <a:lnTo>
                        <a:pt x="109907" y="150224"/>
                      </a:lnTo>
                      <a:lnTo>
                        <a:pt x="110576" y="148268"/>
                      </a:lnTo>
                      <a:lnTo>
                        <a:pt x="111529" y="146231"/>
                      </a:lnTo>
                      <a:lnTo>
                        <a:pt x="113493" y="145481"/>
                      </a:lnTo>
                      <a:lnTo>
                        <a:pt x="112914" y="142702"/>
                      </a:lnTo>
                      <a:lnTo>
                        <a:pt x="111855" y="140436"/>
                      </a:lnTo>
                      <a:lnTo>
                        <a:pt x="109141" y="139833"/>
                      </a:lnTo>
                      <a:lnTo>
                        <a:pt x="107315" y="140232"/>
                      </a:lnTo>
                      <a:lnTo>
                        <a:pt x="106232" y="142025"/>
                      </a:lnTo>
                      <a:lnTo>
                        <a:pt x="104789" y="145130"/>
                      </a:lnTo>
                      <a:lnTo>
                        <a:pt x="99052" y="149058"/>
                      </a:lnTo>
                      <a:lnTo>
                        <a:pt x="96265" y="146891"/>
                      </a:lnTo>
                      <a:lnTo>
                        <a:pt x="93045" y="143663"/>
                      </a:lnTo>
                      <a:lnTo>
                        <a:pt x="94594" y="143908"/>
                      </a:lnTo>
                      <a:lnTo>
                        <a:pt x="97838" y="143794"/>
                      </a:lnTo>
                      <a:lnTo>
                        <a:pt x="100543" y="140909"/>
                      </a:lnTo>
                      <a:lnTo>
                        <a:pt x="101701" y="139108"/>
                      </a:lnTo>
                      <a:lnTo>
                        <a:pt x="103013" y="135318"/>
                      </a:lnTo>
                      <a:lnTo>
                        <a:pt x="101268" y="132612"/>
                      </a:lnTo>
                      <a:lnTo>
                        <a:pt x="99663" y="130648"/>
                      </a:lnTo>
                      <a:lnTo>
                        <a:pt x="97340" y="128896"/>
                      </a:lnTo>
                      <a:lnTo>
                        <a:pt x="88596" y="134837"/>
                      </a:lnTo>
                      <a:lnTo>
                        <a:pt x="86778" y="135677"/>
                      </a:lnTo>
                      <a:lnTo>
                        <a:pt x="85050" y="136834"/>
                      </a:lnTo>
                      <a:lnTo>
                        <a:pt x="88074" y="137828"/>
                      </a:lnTo>
                      <a:lnTo>
                        <a:pt x="89859" y="137527"/>
                      </a:lnTo>
                      <a:lnTo>
                        <a:pt x="91733" y="139287"/>
                      </a:lnTo>
                      <a:lnTo>
                        <a:pt x="88710" y="141781"/>
                      </a:lnTo>
                      <a:lnTo>
                        <a:pt x="86346" y="142441"/>
                      </a:lnTo>
                      <a:lnTo>
                        <a:pt x="83380" y="143924"/>
                      </a:lnTo>
                      <a:lnTo>
                        <a:pt x="77765" y="147763"/>
                      </a:lnTo>
                      <a:lnTo>
                        <a:pt x="70569" y="155725"/>
                      </a:lnTo>
                      <a:lnTo>
                        <a:pt x="67472" y="157999"/>
                      </a:lnTo>
                      <a:lnTo>
                        <a:pt x="63813" y="159825"/>
                      </a:lnTo>
                      <a:lnTo>
                        <a:pt x="58841" y="157697"/>
                      </a:lnTo>
                      <a:lnTo>
                        <a:pt x="56062" y="157208"/>
                      </a:lnTo>
                      <a:lnTo>
                        <a:pt x="52492" y="153932"/>
                      </a:lnTo>
                      <a:lnTo>
                        <a:pt x="46486" y="151748"/>
                      </a:lnTo>
                      <a:lnTo>
                        <a:pt x="40830" y="147412"/>
                      </a:lnTo>
                      <a:lnTo>
                        <a:pt x="36951" y="145204"/>
                      </a:lnTo>
                      <a:lnTo>
                        <a:pt x="34188" y="144723"/>
                      </a:lnTo>
                      <a:lnTo>
                        <a:pt x="30301" y="145652"/>
                      </a:lnTo>
                      <a:lnTo>
                        <a:pt x="23773" y="141756"/>
                      </a:lnTo>
                      <a:lnTo>
                        <a:pt x="18818" y="141341"/>
                      </a:lnTo>
                      <a:lnTo>
                        <a:pt x="15574" y="145245"/>
                      </a:lnTo>
                      <a:lnTo>
                        <a:pt x="13031" y="144984"/>
                      </a:lnTo>
                      <a:lnTo>
                        <a:pt x="11361" y="144438"/>
                      </a:lnTo>
                      <a:lnTo>
                        <a:pt x="6137" y="138016"/>
                      </a:lnTo>
                      <a:lnTo>
                        <a:pt x="1108" y="134829"/>
                      </a:lnTo>
                      <a:lnTo>
                        <a:pt x="0" y="134642"/>
                      </a:lnTo>
                      <a:lnTo>
                        <a:pt x="41" y="0"/>
                      </a:lnTo>
                      <a:lnTo>
                        <a:pt x="766" y="342"/>
                      </a:lnTo>
                      <a:lnTo>
                        <a:pt x="1475" y="1247"/>
                      </a:lnTo>
                      <a:lnTo>
                        <a:pt x="3179" y="1988"/>
                      </a:lnTo>
                      <a:lnTo>
                        <a:pt x="5615" y="2217"/>
                      </a:lnTo>
                      <a:lnTo>
                        <a:pt x="8712" y="3480"/>
                      </a:lnTo>
                      <a:lnTo>
                        <a:pt x="12494" y="5827"/>
                      </a:lnTo>
                      <a:lnTo>
                        <a:pt x="15378" y="6104"/>
                      </a:lnTo>
                      <a:lnTo>
                        <a:pt x="17359" y="4319"/>
                      </a:lnTo>
                      <a:lnTo>
                        <a:pt x="19722" y="3472"/>
                      </a:lnTo>
                      <a:lnTo>
                        <a:pt x="23821" y="3643"/>
                      </a:lnTo>
                      <a:lnTo>
                        <a:pt x="29559" y="5493"/>
                      </a:lnTo>
                      <a:lnTo>
                        <a:pt x="31914" y="7131"/>
                      </a:lnTo>
                      <a:lnTo>
                        <a:pt x="32770" y="9193"/>
                      </a:lnTo>
                      <a:lnTo>
                        <a:pt x="33772" y="10391"/>
                      </a:lnTo>
                      <a:lnTo>
                        <a:pt x="34897" y="10733"/>
                      </a:lnTo>
                      <a:lnTo>
                        <a:pt x="35402" y="12493"/>
                      </a:lnTo>
                      <a:lnTo>
                        <a:pt x="35264" y="15705"/>
                      </a:lnTo>
                      <a:lnTo>
                        <a:pt x="36201" y="19266"/>
                      </a:lnTo>
                      <a:lnTo>
                        <a:pt x="38214" y="23170"/>
                      </a:lnTo>
                      <a:lnTo>
                        <a:pt x="39795" y="25248"/>
                      </a:lnTo>
                      <a:lnTo>
                        <a:pt x="40985" y="25525"/>
                      </a:lnTo>
                      <a:lnTo>
                        <a:pt x="42085" y="24148"/>
                      </a:lnTo>
                      <a:lnTo>
                        <a:pt x="43120" y="21108"/>
                      </a:lnTo>
                      <a:lnTo>
                        <a:pt x="44033" y="19437"/>
                      </a:lnTo>
                      <a:lnTo>
                        <a:pt x="44831" y="19079"/>
                      </a:lnTo>
                      <a:lnTo>
                        <a:pt x="45777" y="19714"/>
                      </a:lnTo>
                      <a:lnTo>
                        <a:pt x="46902" y="21303"/>
                      </a:lnTo>
                      <a:lnTo>
                        <a:pt x="49566" y="22493"/>
                      </a:lnTo>
                      <a:lnTo>
                        <a:pt x="55923" y="23862"/>
                      </a:lnTo>
                      <a:lnTo>
                        <a:pt x="58499" y="25663"/>
                      </a:lnTo>
                      <a:lnTo>
                        <a:pt x="59387" y="28744"/>
                      </a:lnTo>
                      <a:lnTo>
                        <a:pt x="59428" y="33699"/>
                      </a:lnTo>
                      <a:lnTo>
                        <a:pt x="59786" y="36837"/>
                      </a:lnTo>
                      <a:lnTo>
                        <a:pt x="60463" y="38165"/>
                      </a:lnTo>
                      <a:lnTo>
                        <a:pt x="61807" y="39339"/>
                      </a:lnTo>
                      <a:lnTo>
                        <a:pt x="63837" y="40366"/>
                      </a:lnTo>
                      <a:lnTo>
                        <a:pt x="64904" y="41841"/>
                      </a:lnTo>
                      <a:lnTo>
                        <a:pt x="64929" y="43422"/>
                      </a:lnTo>
                      <a:lnTo>
                        <a:pt x="68156" y="46201"/>
                      </a:lnTo>
                      <a:lnTo>
                        <a:pt x="74521" y="50072"/>
                      </a:lnTo>
                      <a:lnTo>
                        <a:pt x="79280" y="53576"/>
                      </a:lnTo>
                      <a:lnTo>
                        <a:pt x="82418" y="56730"/>
                      </a:lnTo>
                      <a:lnTo>
                        <a:pt x="84627" y="59721"/>
                      </a:lnTo>
                      <a:lnTo>
                        <a:pt x="85849" y="62500"/>
                      </a:lnTo>
                      <a:lnTo>
                        <a:pt x="88245" y="65467"/>
                      </a:lnTo>
                      <a:lnTo>
                        <a:pt x="91815" y="68580"/>
                      </a:lnTo>
                      <a:lnTo>
                        <a:pt x="95058" y="69819"/>
                      </a:lnTo>
                      <a:lnTo>
                        <a:pt x="97960" y="69199"/>
                      </a:lnTo>
                      <a:lnTo>
                        <a:pt x="99150" y="68132"/>
                      </a:lnTo>
                      <a:lnTo>
                        <a:pt x="98644" y="66600"/>
                      </a:lnTo>
                      <a:lnTo>
                        <a:pt x="98612" y="64929"/>
                      </a:lnTo>
                      <a:lnTo>
                        <a:pt x="99085" y="63079"/>
                      </a:lnTo>
                      <a:lnTo>
                        <a:pt x="100242" y="61807"/>
                      </a:lnTo>
                      <a:lnTo>
                        <a:pt x="102108" y="61090"/>
                      </a:lnTo>
                      <a:lnTo>
                        <a:pt x="105612" y="60552"/>
                      </a:lnTo>
                      <a:lnTo>
                        <a:pt x="110771" y="60186"/>
                      </a:lnTo>
                      <a:lnTo>
                        <a:pt x="114642" y="61115"/>
                      </a:lnTo>
                      <a:lnTo>
                        <a:pt x="117218" y="63364"/>
                      </a:lnTo>
                      <a:lnTo>
                        <a:pt x="120266" y="64896"/>
                      </a:lnTo>
                      <a:lnTo>
                        <a:pt x="125799" y="66200"/>
                      </a:lnTo>
                      <a:lnTo>
                        <a:pt x="130208" y="67529"/>
                      </a:lnTo>
                      <a:lnTo>
                        <a:pt x="132898" y="67423"/>
                      </a:lnTo>
                      <a:lnTo>
                        <a:pt x="134837" y="66746"/>
                      </a:lnTo>
                      <a:lnTo>
                        <a:pt x="136508" y="65434"/>
                      </a:lnTo>
                      <a:lnTo>
                        <a:pt x="139458" y="65809"/>
                      </a:lnTo>
                      <a:lnTo>
                        <a:pt x="143362" y="67675"/>
                      </a:lnTo>
                      <a:lnTo>
                        <a:pt x="147070" y="68963"/>
                      </a:lnTo>
                      <a:lnTo>
                        <a:pt x="150811" y="69150"/>
                      </a:lnTo>
                      <a:lnTo>
                        <a:pt x="152139" y="67292"/>
                      </a:lnTo>
                      <a:lnTo>
                        <a:pt x="153549" y="66811"/>
                      </a:lnTo>
                      <a:lnTo>
                        <a:pt x="156393" y="67268"/>
                      </a:lnTo>
                      <a:lnTo>
                        <a:pt x="157665" y="67920"/>
                      </a:lnTo>
                      <a:lnTo>
                        <a:pt x="158341" y="67366"/>
                      </a:lnTo>
                      <a:lnTo>
                        <a:pt x="158863" y="65768"/>
                      </a:lnTo>
                      <a:lnTo>
                        <a:pt x="159751" y="64684"/>
                      </a:lnTo>
                      <a:lnTo>
                        <a:pt x="161006" y="64130"/>
                      </a:lnTo>
                      <a:lnTo>
                        <a:pt x="162090" y="64285"/>
                      </a:lnTo>
                      <a:lnTo>
                        <a:pt x="162987" y="65124"/>
                      </a:lnTo>
                      <a:lnTo>
                        <a:pt x="164298" y="65068"/>
                      </a:lnTo>
                      <a:lnTo>
                        <a:pt x="166360" y="64122"/>
                      </a:lnTo>
                      <a:lnTo>
                        <a:pt x="168553" y="64195"/>
                      </a:lnTo>
                      <a:lnTo>
                        <a:pt x="172742" y="66282"/>
                      </a:lnTo>
                      <a:lnTo>
                        <a:pt x="173825" y="67162"/>
                      </a:lnTo>
                      <a:lnTo>
                        <a:pt x="175301" y="71652"/>
                      </a:lnTo>
                      <a:lnTo>
                        <a:pt x="178096" y="83738"/>
                      </a:lnTo>
                      <a:lnTo>
                        <a:pt x="179335" y="86371"/>
                      </a:lnTo>
                      <a:lnTo>
                        <a:pt x="178471" y="89867"/>
                      </a:lnTo>
                      <a:lnTo>
                        <a:pt x="177746" y="91440"/>
                      </a:lnTo>
                      <a:lnTo>
                        <a:pt x="179815" y="92279"/>
                      </a:lnTo>
                      <a:lnTo>
                        <a:pt x="222651" y="115580"/>
                      </a:lnTo>
                      <a:close/>
                    </a:path>
                  </a:pathLst>
                </a:custGeom>
                <a:solidFill>
                  <a:srgbClr val="D6D6D2"/>
                </a:solidFill>
                <a:ln w="6112" cap="rnd">
                  <a:solidFill>
                    <a:srgbClr val="FFFFFF"/>
                  </a:solidFill>
                  <a:prstDash val="solid"/>
                  <a:round/>
                </a:ln>
              </p:spPr>
              <p:txBody>
                <a:bodyPr rtlCol="0" anchor="ctr"/>
                <a:lstStyle/>
                <a:p>
                  <a:endParaRPr lang="en-US"/>
                </a:p>
              </p:txBody>
            </p:sp>
            <p:sp>
              <p:nvSpPr>
                <p:cNvPr id="483" name="Freeform: Shape 482">
                  <a:extLst>
                    <a:ext uri="{FF2B5EF4-FFF2-40B4-BE49-F238E27FC236}">
                      <a16:creationId xmlns:a16="http://schemas.microsoft.com/office/drawing/2014/main" id="{788E16B9-BED8-4481-8D00-643BAF344358}"/>
                    </a:ext>
                  </a:extLst>
                </p:cNvPr>
                <p:cNvSpPr/>
                <p:nvPr/>
              </p:nvSpPr>
              <p:spPr>
                <a:xfrm>
                  <a:off x="9531185" y="5796010"/>
                  <a:ext cx="91676" cy="101349"/>
                </a:xfrm>
                <a:custGeom>
                  <a:avLst/>
                  <a:gdLst>
                    <a:gd name="connsiteX0" fmla="*/ 91628 w 91676"/>
                    <a:gd name="connsiteY0" fmla="*/ 49249 h 101349"/>
                    <a:gd name="connsiteX1" fmla="*/ 91392 w 91676"/>
                    <a:gd name="connsiteY1" fmla="*/ 50903 h 101349"/>
                    <a:gd name="connsiteX2" fmla="*/ 91677 w 91676"/>
                    <a:gd name="connsiteY2" fmla="*/ 52843 h 101349"/>
                    <a:gd name="connsiteX3" fmla="*/ 91399 w 91676"/>
                    <a:gd name="connsiteY3" fmla="*/ 54424 h 101349"/>
                    <a:gd name="connsiteX4" fmla="*/ 90381 w 91676"/>
                    <a:gd name="connsiteY4" fmla="*/ 54212 h 101349"/>
                    <a:gd name="connsiteX5" fmla="*/ 90046 w 91676"/>
                    <a:gd name="connsiteY5" fmla="*/ 52981 h 101349"/>
                    <a:gd name="connsiteX6" fmla="*/ 90234 w 91676"/>
                    <a:gd name="connsiteY6" fmla="*/ 51392 h 101349"/>
                    <a:gd name="connsiteX7" fmla="*/ 90046 w 91676"/>
                    <a:gd name="connsiteY7" fmla="*/ 50129 h 101349"/>
                    <a:gd name="connsiteX8" fmla="*/ 89533 w 91676"/>
                    <a:gd name="connsiteY8" fmla="*/ 48972 h 101349"/>
                    <a:gd name="connsiteX9" fmla="*/ 87724 w 91676"/>
                    <a:gd name="connsiteY9" fmla="*/ 47668 h 101349"/>
                    <a:gd name="connsiteX10" fmla="*/ 88245 w 91676"/>
                    <a:gd name="connsiteY10" fmla="*/ 46885 h 101349"/>
                    <a:gd name="connsiteX11" fmla="*/ 89175 w 91676"/>
                    <a:gd name="connsiteY11" fmla="*/ 46192 h 101349"/>
                    <a:gd name="connsiteX12" fmla="*/ 88474 w 91676"/>
                    <a:gd name="connsiteY12" fmla="*/ 44400 h 101349"/>
                    <a:gd name="connsiteX13" fmla="*/ 87325 w 91676"/>
                    <a:gd name="connsiteY13" fmla="*/ 45858 h 101349"/>
                    <a:gd name="connsiteX14" fmla="*/ 86672 w 91676"/>
                    <a:gd name="connsiteY14" fmla="*/ 47839 h 101349"/>
                    <a:gd name="connsiteX15" fmla="*/ 87040 w 91676"/>
                    <a:gd name="connsiteY15" fmla="*/ 48475 h 101349"/>
                    <a:gd name="connsiteX16" fmla="*/ 86347 w 91676"/>
                    <a:gd name="connsiteY16" fmla="*/ 48988 h 101349"/>
                    <a:gd name="connsiteX17" fmla="*/ 84831 w 91676"/>
                    <a:gd name="connsiteY17" fmla="*/ 51286 h 101349"/>
                    <a:gd name="connsiteX18" fmla="*/ 83739 w 91676"/>
                    <a:gd name="connsiteY18" fmla="*/ 54351 h 101349"/>
                    <a:gd name="connsiteX19" fmla="*/ 83283 w 91676"/>
                    <a:gd name="connsiteY19" fmla="*/ 57292 h 101349"/>
                    <a:gd name="connsiteX20" fmla="*/ 83389 w 91676"/>
                    <a:gd name="connsiteY20" fmla="*/ 60438 h 101349"/>
                    <a:gd name="connsiteX21" fmla="*/ 82516 w 91676"/>
                    <a:gd name="connsiteY21" fmla="*/ 62834 h 101349"/>
                    <a:gd name="connsiteX22" fmla="*/ 81294 w 91676"/>
                    <a:gd name="connsiteY22" fmla="*/ 65141 h 101349"/>
                    <a:gd name="connsiteX23" fmla="*/ 81000 w 91676"/>
                    <a:gd name="connsiteY23" fmla="*/ 68091 h 101349"/>
                    <a:gd name="connsiteX24" fmla="*/ 81066 w 91676"/>
                    <a:gd name="connsiteY24" fmla="*/ 73551 h 101349"/>
                    <a:gd name="connsiteX25" fmla="*/ 82125 w 91676"/>
                    <a:gd name="connsiteY25" fmla="*/ 78531 h 101349"/>
                    <a:gd name="connsiteX26" fmla="*/ 82712 w 91676"/>
                    <a:gd name="connsiteY26" fmla="*/ 85327 h 101349"/>
                    <a:gd name="connsiteX27" fmla="*/ 81824 w 91676"/>
                    <a:gd name="connsiteY27" fmla="*/ 86184 h 101349"/>
                    <a:gd name="connsiteX28" fmla="*/ 79175 w 91676"/>
                    <a:gd name="connsiteY28" fmla="*/ 86640 h 101349"/>
                    <a:gd name="connsiteX29" fmla="*/ 77879 w 91676"/>
                    <a:gd name="connsiteY29" fmla="*/ 87504 h 101349"/>
                    <a:gd name="connsiteX30" fmla="*/ 75719 w 91676"/>
                    <a:gd name="connsiteY30" fmla="*/ 84130 h 101349"/>
                    <a:gd name="connsiteX31" fmla="*/ 74456 w 91676"/>
                    <a:gd name="connsiteY31" fmla="*/ 80593 h 101349"/>
                    <a:gd name="connsiteX32" fmla="*/ 75426 w 91676"/>
                    <a:gd name="connsiteY32" fmla="*/ 79183 h 101349"/>
                    <a:gd name="connsiteX33" fmla="*/ 77578 w 91676"/>
                    <a:gd name="connsiteY33" fmla="*/ 79998 h 101349"/>
                    <a:gd name="connsiteX34" fmla="*/ 78238 w 91676"/>
                    <a:gd name="connsiteY34" fmla="*/ 79199 h 101349"/>
                    <a:gd name="connsiteX35" fmla="*/ 78409 w 91676"/>
                    <a:gd name="connsiteY35" fmla="*/ 78294 h 101349"/>
                    <a:gd name="connsiteX36" fmla="*/ 78229 w 91676"/>
                    <a:gd name="connsiteY36" fmla="*/ 77398 h 101349"/>
                    <a:gd name="connsiteX37" fmla="*/ 75581 w 91676"/>
                    <a:gd name="connsiteY37" fmla="*/ 75467 h 101349"/>
                    <a:gd name="connsiteX38" fmla="*/ 72614 w 91676"/>
                    <a:gd name="connsiteY38" fmla="*/ 74562 h 101349"/>
                    <a:gd name="connsiteX39" fmla="*/ 71677 w 91676"/>
                    <a:gd name="connsiteY39" fmla="*/ 75679 h 101349"/>
                    <a:gd name="connsiteX40" fmla="*/ 71995 w 91676"/>
                    <a:gd name="connsiteY40" fmla="*/ 79020 h 101349"/>
                    <a:gd name="connsiteX41" fmla="*/ 71702 w 91676"/>
                    <a:gd name="connsiteY41" fmla="*/ 79778 h 101349"/>
                    <a:gd name="connsiteX42" fmla="*/ 69607 w 91676"/>
                    <a:gd name="connsiteY42" fmla="*/ 81049 h 101349"/>
                    <a:gd name="connsiteX43" fmla="*/ 68515 w 91676"/>
                    <a:gd name="connsiteY43" fmla="*/ 76233 h 101349"/>
                    <a:gd name="connsiteX44" fmla="*/ 65768 w 91676"/>
                    <a:gd name="connsiteY44" fmla="*/ 72671 h 101349"/>
                    <a:gd name="connsiteX45" fmla="*/ 65874 w 91676"/>
                    <a:gd name="connsiteY45" fmla="*/ 74374 h 101349"/>
                    <a:gd name="connsiteX46" fmla="*/ 67015 w 91676"/>
                    <a:gd name="connsiteY46" fmla="*/ 77341 h 101349"/>
                    <a:gd name="connsiteX47" fmla="*/ 66885 w 91676"/>
                    <a:gd name="connsiteY47" fmla="*/ 78661 h 101349"/>
                    <a:gd name="connsiteX48" fmla="*/ 66445 w 91676"/>
                    <a:gd name="connsiteY48" fmla="*/ 80348 h 101349"/>
                    <a:gd name="connsiteX49" fmla="*/ 65345 w 91676"/>
                    <a:gd name="connsiteY49" fmla="*/ 80984 h 101349"/>
                    <a:gd name="connsiteX50" fmla="*/ 64831 w 91676"/>
                    <a:gd name="connsiteY50" fmla="*/ 82336 h 101349"/>
                    <a:gd name="connsiteX51" fmla="*/ 64831 w 91676"/>
                    <a:gd name="connsiteY51" fmla="*/ 84268 h 101349"/>
                    <a:gd name="connsiteX52" fmla="*/ 64465 w 91676"/>
                    <a:gd name="connsiteY52" fmla="*/ 87357 h 101349"/>
                    <a:gd name="connsiteX53" fmla="*/ 62664 w 91676"/>
                    <a:gd name="connsiteY53" fmla="*/ 88742 h 101349"/>
                    <a:gd name="connsiteX54" fmla="*/ 58304 w 91676"/>
                    <a:gd name="connsiteY54" fmla="*/ 85295 h 101349"/>
                    <a:gd name="connsiteX55" fmla="*/ 58010 w 91676"/>
                    <a:gd name="connsiteY55" fmla="*/ 86452 h 101349"/>
                    <a:gd name="connsiteX56" fmla="*/ 58083 w 91676"/>
                    <a:gd name="connsiteY56" fmla="*/ 87454 h 101349"/>
                    <a:gd name="connsiteX57" fmla="*/ 60300 w 91676"/>
                    <a:gd name="connsiteY57" fmla="*/ 89435 h 101349"/>
                    <a:gd name="connsiteX58" fmla="*/ 59273 w 91676"/>
                    <a:gd name="connsiteY58" fmla="*/ 90934 h 101349"/>
                    <a:gd name="connsiteX59" fmla="*/ 58499 w 91676"/>
                    <a:gd name="connsiteY59" fmla="*/ 92687 h 101349"/>
                    <a:gd name="connsiteX60" fmla="*/ 57260 w 91676"/>
                    <a:gd name="connsiteY60" fmla="*/ 97283 h 101349"/>
                    <a:gd name="connsiteX61" fmla="*/ 55263 w 91676"/>
                    <a:gd name="connsiteY61" fmla="*/ 101114 h 101349"/>
                    <a:gd name="connsiteX62" fmla="*/ 54285 w 91676"/>
                    <a:gd name="connsiteY62" fmla="*/ 101350 h 101349"/>
                    <a:gd name="connsiteX63" fmla="*/ 50920 w 91676"/>
                    <a:gd name="connsiteY63" fmla="*/ 100747 h 101349"/>
                    <a:gd name="connsiteX64" fmla="*/ 47195 w 91676"/>
                    <a:gd name="connsiteY64" fmla="*/ 97520 h 101349"/>
                    <a:gd name="connsiteX65" fmla="*/ 43838 w 91676"/>
                    <a:gd name="connsiteY65" fmla="*/ 97894 h 101349"/>
                    <a:gd name="connsiteX66" fmla="*/ 38222 w 91676"/>
                    <a:gd name="connsiteY66" fmla="*/ 97658 h 101349"/>
                    <a:gd name="connsiteX67" fmla="*/ 34653 w 91676"/>
                    <a:gd name="connsiteY67" fmla="*/ 98848 h 101349"/>
                    <a:gd name="connsiteX68" fmla="*/ 33903 w 91676"/>
                    <a:gd name="connsiteY68" fmla="*/ 95286 h 101349"/>
                    <a:gd name="connsiteX69" fmla="*/ 33137 w 91676"/>
                    <a:gd name="connsiteY69" fmla="*/ 94031 h 101349"/>
                    <a:gd name="connsiteX70" fmla="*/ 33439 w 91676"/>
                    <a:gd name="connsiteY70" fmla="*/ 92915 h 101349"/>
                    <a:gd name="connsiteX71" fmla="*/ 36275 w 91676"/>
                    <a:gd name="connsiteY71" fmla="*/ 92165 h 101349"/>
                    <a:gd name="connsiteX72" fmla="*/ 39192 w 91676"/>
                    <a:gd name="connsiteY72" fmla="*/ 92190 h 101349"/>
                    <a:gd name="connsiteX73" fmla="*/ 38744 w 91676"/>
                    <a:gd name="connsiteY73" fmla="*/ 90828 h 101349"/>
                    <a:gd name="connsiteX74" fmla="*/ 37945 w 91676"/>
                    <a:gd name="connsiteY74" fmla="*/ 90324 h 101349"/>
                    <a:gd name="connsiteX75" fmla="*/ 36682 w 91676"/>
                    <a:gd name="connsiteY75" fmla="*/ 90649 h 101349"/>
                    <a:gd name="connsiteX76" fmla="*/ 32974 w 91676"/>
                    <a:gd name="connsiteY76" fmla="*/ 89484 h 101349"/>
                    <a:gd name="connsiteX77" fmla="*/ 30431 w 91676"/>
                    <a:gd name="connsiteY77" fmla="*/ 89989 h 101349"/>
                    <a:gd name="connsiteX78" fmla="*/ 28679 w 91676"/>
                    <a:gd name="connsiteY78" fmla="*/ 88327 h 101349"/>
                    <a:gd name="connsiteX79" fmla="*/ 25680 w 91676"/>
                    <a:gd name="connsiteY79" fmla="*/ 82500 h 101349"/>
                    <a:gd name="connsiteX80" fmla="*/ 23887 w 91676"/>
                    <a:gd name="connsiteY80" fmla="*/ 79810 h 101349"/>
                    <a:gd name="connsiteX81" fmla="*/ 22844 w 91676"/>
                    <a:gd name="connsiteY81" fmla="*/ 78775 h 101349"/>
                    <a:gd name="connsiteX82" fmla="*/ 21605 w 91676"/>
                    <a:gd name="connsiteY82" fmla="*/ 78188 h 101349"/>
                    <a:gd name="connsiteX83" fmla="*/ 20863 w 91676"/>
                    <a:gd name="connsiteY83" fmla="*/ 77341 h 101349"/>
                    <a:gd name="connsiteX84" fmla="*/ 15420 w 91676"/>
                    <a:gd name="connsiteY84" fmla="*/ 64138 h 101349"/>
                    <a:gd name="connsiteX85" fmla="*/ 14646 w 91676"/>
                    <a:gd name="connsiteY85" fmla="*/ 61082 h 101349"/>
                    <a:gd name="connsiteX86" fmla="*/ 13700 w 91676"/>
                    <a:gd name="connsiteY86" fmla="*/ 53332 h 101349"/>
                    <a:gd name="connsiteX87" fmla="*/ 18019 w 91676"/>
                    <a:gd name="connsiteY87" fmla="*/ 57048 h 101349"/>
                    <a:gd name="connsiteX88" fmla="*/ 19552 w 91676"/>
                    <a:gd name="connsiteY88" fmla="*/ 59387 h 101349"/>
                    <a:gd name="connsiteX89" fmla="*/ 20391 w 91676"/>
                    <a:gd name="connsiteY89" fmla="*/ 62362 h 101349"/>
                    <a:gd name="connsiteX90" fmla="*/ 21850 w 91676"/>
                    <a:gd name="connsiteY90" fmla="*/ 58759 h 101349"/>
                    <a:gd name="connsiteX91" fmla="*/ 21581 w 91676"/>
                    <a:gd name="connsiteY91" fmla="*/ 57602 h 101349"/>
                    <a:gd name="connsiteX92" fmla="*/ 17702 w 91676"/>
                    <a:gd name="connsiteY92" fmla="*/ 53234 h 101349"/>
                    <a:gd name="connsiteX93" fmla="*/ 17196 w 91676"/>
                    <a:gd name="connsiteY93" fmla="*/ 51963 h 101349"/>
                    <a:gd name="connsiteX94" fmla="*/ 16992 w 91676"/>
                    <a:gd name="connsiteY94" fmla="*/ 50455 h 101349"/>
                    <a:gd name="connsiteX95" fmla="*/ 16080 w 91676"/>
                    <a:gd name="connsiteY95" fmla="*/ 51970 h 101349"/>
                    <a:gd name="connsiteX96" fmla="*/ 14605 w 91676"/>
                    <a:gd name="connsiteY96" fmla="*/ 52174 h 101349"/>
                    <a:gd name="connsiteX97" fmla="*/ 15191 w 91676"/>
                    <a:gd name="connsiteY97" fmla="*/ 49094 h 101349"/>
                    <a:gd name="connsiteX98" fmla="*/ 14686 w 91676"/>
                    <a:gd name="connsiteY98" fmla="*/ 46079 h 101349"/>
                    <a:gd name="connsiteX99" fmla="*/ 10147 w 91676"/>
                    <a:gd name="connsiteY99" fmla="*/ 39453 h 101349"/>
                    <a:gd name="connsiteX100" fmla="*/ 6675 w 91676"/>
                    <a:gd name="connsiteY100" fmla="*/ 33185 h 101349"/>
                    <a:gd name="connsiteX101" fmla="*/ 3260 w 91676"/>
                    <a:gd name="connsiteY101" fmla="*/ 25484 h 101349"/>
                    <a:gd name="connsiteX102" fmla="*/ 2975 w 91676"/>
                    <a:gd name="connsiteY102" fmla="*/ 24506 h 101349"/>
                    <a:gd name="connsiteX103" fmla="*/ 2926 w 91676"/>
                    <a:gd name="connsiteY103" fmla="*/ 22836 h 101349"/>
                    <a:gd name="connsiteX104" fmla="*/ 1271 w 91676"/>
                    <a:gd name="connsiteY104" fmla="*/ 17677 h 101349"/>
                    <a:gd name="connsiteX105" fmla="*/ 399 w 91676"/>
                    <a:gd name="connsiteY105" fmla="*/ 13863 h 101349"/>
                    <a:gd name="connsiteX106" fmla="*/ 0 w 91676"/>
                    <a:gd name="connsiteY106" fmla="*/ 10513 h 101349"/>
                    <a:gd name="connsiteX107" fmla="*/ 1565 w 91676"/>
                    <a:gd name="connsiteY107" fmla="*/ 3765 h 101349"/>
                    <a:gd name="connsiteX108" fmla="*/ 1793 w 91676"/>
                    <a:gd name="connsiteY108" fmla="*/ 0 h 101349"/>
                    <a:gd name="connsiteX109" fmla="*/ 4271 w 91676"/>
                    <a:gd name="connsiteY109" fmla="*/ 1679 h 101349"/>
                    <a:gd name="connsiteX110" fmla="*/ 9829 w 91676"/>
                    <a:gd name="connsiteY110" fmla="*/ 3887 h 101349"/>
                    <a:gd name="connsiteX111" fmla="*/ 12714 w 91676"/>
                    <a:gd name="connsiteY111" fmla="*/ 4026 h 101349"/>
                    <a:gd name="connsiteX112" fmla="*/ 14336 w 91676"/>
                    <a:gd name="connsiteY112" fmla="*/ 3154 h 101349"/>
                    <a:gd name="connsiteX113" fmla="*/ 15786 w 91676"/>
                    <a:gd name="connsiteY113" fmla="*/ 3325 h 101349"/>
                    <a:gd name="connsiteX114" fmla="*/ 17441 w 91676"/>
                    <a:gd name="connsiteY114" fmla="*/ 5248 h 101349"/>
                    <a:gd name="connsiteX115" fmla="*/ 19421 w 91676"/>
                    <a:gd name="connsiteY115" fmla="*/ 6340 h 101349"/>
                    <a:gd name="connsiteX116" fmla="*/ 20815 w 91676"/>
                    <a:gd name="connsiteY116" fmla="*/ 6153 h 101349"/>
                    <a:gd name="connsiteX117" fmla="*/ 22004 w 91676"/>
                    <a:gd name="connsiteY117" fmla="*/ 6528 h 101349"/>
                    <a:gd name="connsiteX118" fmla="*/ 23064 w 91676"/>
                    <a:gd name="connsiteY118" fmla="*/ 7921 h 101349"/>
                    <a:gd name="connsiteX119" fmla="*/ 25786 w 91676"/>
                    <a:gd name="connsiteY119" fmla="*/ 9111 h 101349"/>
                    <a:gd name="connsiteX120" fmla="*/ 26976 w 91676"/>
                    <a:gd name="connsiteY120" fmla="*/ 9886 h 101349"/>
                    <a:gd name="connsiteX121" fmla="*/ 28003 w 91676"/>
                    <a:gd name="connsiteY121" fmla="*/ 11084 h 101349"/>
                    <a:gd name="connsiteX122" fmla="*/ 29144 w 91676"/>
                    <a:gd name="connsiteY122" fmla="*/ 12021 h 101349"/>
                    <a:gd name="connsiteX123" fmla="*/ 36332 w 91676"/>
                    <a:gd name="connsiteY123" fmla="*/ 15207 h 101349"/>
                    <a:gd name="connsiteX124" fmla="*/ 41450 w 91676"/>
                    <a:gd name="connsiteY124" fmla="*/ 16764 h 101349"/>
                    <a:gd name="connsiteX125" fmla="*/ 47831 w 91676"/>
                    <a:gd name="connsiteY125" fmla="*/ 16047 h 101349"/>
                    <a:gd name="connsiteX126" fmla="*/ 49705 w 91676"/>
                    <a:gd name="connsiteY126" fmla="*/ 15150 h 101349"/>
                    <a:gd name="connsiteX127" fmla="*/ 51506 w 91676"/>
                    <a:gd name="connsiteY127" fmla="*/ 13846 h 101349"/>
                    <a:gd name="connsiteX128" fmla="*/ 53063 w 91676"/>
                    <a:gd name="connsiteY128" fmla="*/ 15060 h 101349"/>
                    <a:gd name="connsiteX129" fmla="*/ 54603 w 91676"/>
                    <a:gd name="connsiteY129" fmla="*/ 16919 h 101349"/>
                    <a:gd name="connsiteX130" fmla="*/ 54310 w 91676"/>
                    <a:gd name="connsiteY130" fmla="*/ 14922 h 101349"/>
                    <a:gd name="connsiteX131" fmla="*/ 54815 w 91676"/>
                    <a:gd name="connsiteY131" fmla="*/ 13170 h 101349"/>
                    <a:gd name="connsiteX132" fmla="*/ 56364 w 91676"/>
                    <a:gd name="connsiteY132" fmla="*/ 11792 h 101349"/>
                    <a:gd name="connsiteX133" fmla="*/ 58116 w 91676"/>
                    <a:gd name="connsiteY133" fmla="*/ 10929 h 101349"/>
                    <a:gd name="connsiteX134" fmla="*/ 61001 w 91676"/>
                    <a:gd name="connsiteY134" fmla="*/ 10994 h 101349"/>
                    <a:gd name="connsiteX135" fmla="*/ 63805 w 91676"/>
                    <a:gd name="connsiteY135" fmla="*/ 10619 h 101349"/>
                    <a:gd name="connsiteX136" fmla="*/ 65043 w 91676"/>
                    <a:gd name="connsiteY136" fmla="*/ 9812 h 101349"/>
                    <a:gd name="connsiteX137" fmla="*/ 66331 w 91676"/>
                    <a:gd name="connsiteY137" fmla="*/ 9690 h 101349"/>
                    <a:gd name="connsiteX138" fmla="*/ 67985 w 91676"/>
                    <a:gd name="connsiteY138" fmla="*/ 10684 h 101349"/>
                    <a:gd name="connsiteX139" fmla="*/ 69656 w 91676"/>
                    <a:gd name="connsiteY139" fmla="*/ 11230 h 101349"/>
                    <a:gd name="connsiteX140" fmla="*/ 70797 w 91676"/>
                    <a:gd name="connsiteY140" fmla="*/ 9967 h 101349"/>
                    <a:gd name="connsiteX141" fmla="*/ 72745 w 91676"/>
                    <a:gd name="connsiteY141" fmla="*/ 6935 h 101349"/>
                    <a:gd name="connsiteX142" fmla="*/ 73796 w 91676"/>
                    <a:gd name="connsiteY142" fmla="*/ 5892 h 101349"/>
                    <a:gd name="connsiteX143" fmla="*/ 78653 w 91676"/>
                    <a:gd name="connsiteY143" fmla="*/ 6797 h 101349"/>
                    <a:gd name="connsiteX144" fmla="*/ 80022 w 91676"/>
                    <a:gd name="connsiteY144" fmla="*/ 6838 h 101349"/>
                    <a:gd name="connsiteX145" fmla="*/ 82402 w 91676"/>
                    <a:gd name="connsiteY145" fmla="*/ 3659 h 101349"/>
                    <a:gd name="connsiteX146" fmla="*/ 83991 w 91676"/>
                    <a:gd name="connsiteY146" fmla="*/ 3708 h 101349"/>
                    <a:gd name="connsiteX147" fmla="*/ 88522 w 91676"/>
                    <a:gd name="connsiteY147" fmla="*/ 6234 h 101349"/>
                    <a:gd name="connsiteX148" fmla="*/ 90430 w 91676"/>
                    <a:gd name="connsiteY148" fmla="*/ 9380 h 101349"/>
                    <a:gd name="connsiteX149" fmla="*/ 90250 w 91676"/>
                    <a:gd name="connsiteY149" fmla="*/ 15118 h 101349"/>
                    <a:gd name="connsiteX150" fmla="*/ 90422 w 91676"/>
                    <a:gd name="connsiteY150" fmla="*/ 17147 h 101349"/>
                    <a:gd name="connsiteX151" fmla="*/ 90780 w 91676"/>
                    <a:gd name="connsiteY151" fmla="*/ 19135 h 101349"/>
                    <a:gd name="connsiteX152" fmla="*/ 90927 w 91676"/>
                    <a:gd name="connsiteY152" fmla="*/ 23129 h 101349"/>
                    <a:gd name="connsiteX153" fmla="*/ 90381 w 91676"/>
                    <a:gd name="connsiteY153" fmla="*/ 27065 h 101349"/>
                    <a:gd name="connsiteX154" fmla="*/ 90308 w 91676"/>
                    <a:gd name="connsiteY154" fmla="*/ 30154 h 101349"/>
                    <a:gd name="connsiteX155" fmla="*/ 90535 w 91676"/>
                    <a:gd name="connsiteY155" fmla="*/ 33275 h 101349"/>
                    <a:gd name="connsiteX156" fmla="*/ 90324 w 91676"/>
                    <a:gd name="connsiteY156" fmla="*/ 39086 h 101349"/>
                    <a:gd name="connsiteX157" fmla="*/ 91016 w 91676"/>
                    <a:gd name="connsiteY157" fmla="*/ 42933 h 101349"/>
                    <a:gd name="connsiteX158" fmla="*/ 90674 w 91676"/>
                    <a:gd name="connsiteY158" fmla="*/ 45565 h 101349"/>
                    <a:gd name="connsiteX159" fmla="*/ 90674 w 91676"/>
                    <a:gd name="connsiteY159" fmla="*/ 46787 h 101349"/>
                    <a:gd name="connsiteX160" fmla="*/ 91326 w 91676"/>
                    <a:gd name="connsiteY160" fmla="*/ 47945 h 101349"/>
                    <a:gd name="connsiteX161" fmla="*/ 91628 w 91676"/>
                    <a:gd name="connsiteY161" fmla="*/ 49249 h 101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91676" h="101349">
                      <a:moveTo>
                        <a:pt x="91628" y="49249"/>
                      </a:moveTo>
                      <a:lnTo>
                        <a:pt x="91392" y="50903"/>
                      </a:lnTo>
                      <a:lnTo>
                        <a:pt x="91677" y="52843"/>
                      </a:lnTo>
                      <a:lnTo>
                        <a:pt x="91399" y="54424"/>
                      </a:lnTo>
                      <a:lnTo>
                        <a:pt x="90381" y="54212"/>
                      </a:lnTo>
                      <a:lnTo>
                        <a:pt x="90046" y="52981"/>
                      </a:lnTo>
                      <a:lnTo>
                        <a:pt x="90234" y="51392"/>
                      </a:lnTo>
                      <a:lnTo>
                        <a:pt x="90046" y="50129"/>
                      </a:lnTo>
                      <a:lnTo>
                        <a:pt x="89533" y="48972"/>
                      </a:lnTo>
                      <a:lnTo>
                        <a:pt x="87724" y="47668"/>
                      </a:lnTo>
                      <a:lnTo>
                        <a:pt x="88245" y="46885"/>
                      </a:lnTo>
                      <a:lnTo>
                        <a:pt x="89175" y="46192"/>
                      </a:lnTo>
                      <a:lnTo>
                        <a:pt x="88474" y="44400"/>
                      </a:lnTo>
                      <a:lnTo>
                        <a:pt x="87325" y="45858"/>
                      </a:lnTo>
                      <a:lnTo>
                        <a:pt x="86672" y="47839"/>
                      </a:lnTo>
                      <a:lnTo>
                        <a:pt x="87040" y="48475"/>
                      </a:lnTo>
                      <a:lnTo>
                        <a:pt x="86347" y="48988"/>
                      </a:lnTo>
                      <a:lnTo>
                        <a:pt x="84831" y="51286"/>
                      </a:lnTo>
                      <a:lnTo>
                        <a:pt x="83739" y="54351"/>
                      </a:lnTo>
                      <a:lnTo>
                        <a:pt x="83283" y="57292"/>
                      </a:lnTo>
                      <a:lnTo>
                        <a:pt x="83389" y="60438"/>
                      </a:lnTo>
                      <a:lnTo>
                        <a:pt x="82516" y="62834"/>
                      </a:lnTo>
                      <a:lnTo>
                        <a:pt x="81294" y="65141"/>
                      </a:lnTo>
                      <a:lnTo>
                        <a:pt x="81000" y="68091"/>
                      </a:lnTo>
                      <a:lnTo>
                        <a:pt x="81066" y="73551"/>
                      </a:lnTo>
                      <a:lnTo>
                        <a:pt x="82125" y="78531"/>
                      </a:lnTo>
                      <a:lnTo>
                        <a:pt x="82712" y="85327"/>
                      </a:lnTo>
                      <a:lnTo>
                        <a:pt x="81824" y="86184"/>
                      </a:lnTo>
                      <a:lnTo>
                        <a:pt x="79175" y="86640"/>
                      </a:lnTo>
                      <a:lnTo>
                        <a:pt x="77879" y="87504"/>
                      </a:lnTo>
                      <a:lnTo>
                        <a:pt x="75719" y="84130"/>
                      </a:lnTo>
                      <a:lnTo>
                        <a:pt x="74456" y="80593"/>
                      </a:lnTo>
                      <a:lnTo>
                        <a:pt x="75426" y="79183"/>
                      </a:lnTo>
                      <a:lnTo>
                        <a:pt x="77578" y="79998"/>
                      </a:lnTo>
                      <a:lnTo>
                        <a:pt x="78238" y="79199"/>
                      </a:lnTo>
                      <a:lnTo>
                        <a:pt x="78409" y="78294"/>
                      </a:lnTo>
                      <a:lnTo>
                        <a:pt x="78229" y="77398"/>
                      </a:lnTo>
                      <a:lnTo>
                        <a:pt x="75581" y="75467"/>
                      </a:lnTo>
                      <a:lnTo>
                        <a:pt x="72614" y="74562"/>
                      </a:lnTo>
                      <a:lnTo>
                        <a:pt x="71677" y="75679"/>
                      </a:lnTo>
                      <a:lnTo>
                        <a:pt x="71995" y="79020"/>
                      </a:lnTo>
                      <a:lnTo>
                        <a:pt x="71702" y="79778"/>
                      </a:lnTo>
                      <a:lnTo>
                        <a:pt x="69607" y="81049"/>
                      </a:lnTo>
                      <a:lnTo>
                        <a:pt x="68515" y="76233"/>
                      </a:lnTo>
                      <a:lnTo>
                        <a:pt x="65768" y="72671"/>
                      </a:lnTo>
                      <a:lnTo>
                        <a:pt x="65874" y="74374"/>
                      </a:lnTo>
                      <a:lnTo>
                        <a:pt x="67015" y="77341"/>
                      </a:lnTo>
                      <a:lnTo>
                        <a:pt x="66885" y="78661"/>
                      </a:lnTo>
                      <a:lnTo>
                        <a:pt x="66445" y="80348"/>
                      </a:lnTo>
                      <a:lnTo>
                        <a:pt x="65345" y="80984"/>
                      </a:lnTo>
                      <a:lnTo>
                        <a:pt x="64831" y="82336"/>
                      </a:lnTo>
                      <a:lnTo>
                        <a:pt x="64831" y="84268"/>
                      </a:lnTo>
                      <a:lnTo>
                        <a:pt x="64465" y="87357"/>
                      </a:lnTo>
                      <a:lnTo>
                        <a:pt x="62664" y="88742"/>
                      </a:lnTo>
                      <a:lnTo>
                        <a:pt x="58304" y="85295"/>
                      </a:lnTo>
                      <a:lnTo>
                        <a:pt x="58010" y="86452"/>
                      </a:lnTo>
                      <a:lnTo>
                        <a:pt x="58083" y="87454"/>
                      </a:lnTo>
                      <a:lnTo>
                        <a:pt x="60300" y="89435"/>
                      </a:lnTo>
                      <a:lnTo>
                        <a:pt x="59273" y="90934"/>
                      </a:lnTo>
                      <a:lnTo>
                        <a:pt x="58499" y="92687"/>
                      </a:lnTo>
                      <a:lnTo>
                        <a:pt x="57260" y="97283"/>
                      </a:lnTo>
                      <a:lnTo>
                        <a:pt x="55263" y="101114"/>
                      </a:lnTo>
                      <a:lnTo>
                        <a:pt x="54285" y="101350"/>
                      </a:lnTo>
                      <a:lnTo>
                        <a:pt x="50920" y="100747"/>
                      </a:lnTo>
                      <a:lnTo>
                        <a:pt x="47195" y="97520"/>
                      </a:lnTo>
                      <a:lnTo>
                        <a:pt x="43838" y="97894"/>
                      </a:lnTo>
                      <a:lnTo>
                        <a:pt x="38222" y="97658"/>
                      </a:lnTo>
                      <a:lnTo>
                        <a:pt x="34653" y="98848"/>
                      </a:lnTo>
                      <a:lnTo>
                        <a:pt x="33903" y="95286"/>
                      </a:lnTo>
                      <a:lnTo>
                        <a:pt x="33137" y="94031"/>
                      </a:lnTo>
                      <a:lnTo>
                        <a:pt x="33439" y="92915"/>
                      </a:lnTo>
                      <a:lnTo>
                        <a:pt x="36275" y="92165"/>
                      </a:lnTo>
                      <a:lnTo>
                        <a:pt x="39192" y="92190"/>
                      </a:lnTo>
                      <a:lnTo>
                        <a:pt x="38744" y="90828"/>
                      </a:lnTo>
                      <a:lnTo>
                        <a:pt x="37945" y="90324"/>
                      </a:lnTo>
                      <a:lnTo>
                        <a:pt x="36682" y="90649"/>
                      </a:lnTo>
                      <a:lnTo>
                        <a:pt x="32974" y="89484"/>
                      </a:lnTo>
                      <a:lnTo>
                        <a:pt x="30431" y="89989"/>
                      </a:lnTo>
                      <a:lnTo>
                        <a:pt x="28679" y="88327"/>
                      </a:lnTo>
                      <a:lnTo>
                        <a:pt x="25680" y="82500"/>
                      </a:lnTo>
                      <a:lnTo>
                        <a:pt x="23887" y="79810"/>
                      </a:lnTo>
                      <a:lnTo>
                        <a:pt x="22844" y="78775"/>
                      </a:lnTo>
                      <a:lnTo>
                        <a:pt x="21605" y="78188"/>
                      </a:lnTo>
                      <a:lnTo>
                        <a:pt x="20863" y="77341"/>
                      </a:lnTo>
                      <a:lnTo>
                        <a:pt x="15420" y="64138"/>
                      </a:lnTo>
                      <a:lnTo>
                        <a:pt x="14646" y="61082"/>
                      </a:lnTo>
                      <a:lnTo>
                        <a:pt x="13700" y="53332"/>
                      </a:lnTo>
                      <a:lnTo>
                        <a:pt x="18019" y="57048"/>
                      </a:lnTo>
                      <a:lnTo>
                        <a:pt x="19552" y="59387"/>
                      </a:lnTo>
                      <a:lnTo>
                        <a:pt x="20391" y="62362"/>
                      </a:lnTo>
                      <a:lnTo>
                        <a:pt x="21850" y="58759"/>
                      </a:lnTo>
                      <a:lnTo>
                        <a:pt x="21581" y="57602"/>
                      </a:lnTo>
                      <a:lnTo>
                        <a:pt x="17702" y="53234"/>
                      </a:lnTo>
                      <a:lnTo>
                        <a:pt x="17196" y="51963"/>
                      </a:lnTo>
                      <a:lnTo>
                        <a:pt x="16992" y="50455"/>
                      </a:lnTo>
                      <a:lnTo>
                        <a:pt x="16080" y="51970"/>
                      </a:lnTo>
                      <a:lnTo>
                        <a:pt x="14605" y="52174"/>
                      </a:lnTo>
                      <a:lnTo>
                        <a:pt x="15191" y="49094"/>
                      </a:lnTo>
                      <a:lnTo>
                        <a:pt x="14686" y="46079"/>
                      </a:lnTo>
                      <a:lnTo>
                        <a:pt x="10147" y="39453"/>
                      </a:lnTo>
                      <a:lnTo>
                        <a:pt x="6675" y="33185"/>
                      </a:lnTo>
                      <a:lnTo>
                        <a:pt x="3260" y="25484"/>
                      </a:lnTo>
                      <a:lnTo>
                        <a:pt x="2975" y="24506"/>
                      </a:lnTo>
                      <a:lnTo>
                        <a:pt x="2926" y="22836"/>
                      </a:lnTo>
                      <a:lnTo>
                        <a:pt x="1271" y="17677"/>
                      </a:lnTo>
                      <a:lnTo>
                        <a:pt x="399" y="13863"/>
                      </a:lnTo>
                      <a:lnTo>
                        <a:pt x="0" y="10513"/>
                      </a:lnTo>
                      <a:lnTo>
                        <a:pt x="1565" y="3765"/>
                      </a:lnTo>
                      <a:lnTo>
                        <a:pt x="1793" y="0"/>
                      </a:lnTo>
                      <a:lnTo>
                        <a:pt x="4271" y="1679"/>
                      </a:lnTo>
                      <a:lnTo>
                        <a:pt x="9829" y="3887"/>
                      </a:lnTo>
                      <a:lnTo>
                        <a:pt x="12714" y="4026"/>
                      </a:lnTo>
                      <a:lnTo>
                        <a:pt x="14336" y="3154"/>
                      </a:lnTo>
                      <a:lnTo>
                        <a:pt x="15786" y="3325"/>
                      </a:lnTo>
                      <a:lnTo>
                        <a:pt x="17441" y="5248"/>
                      </a:lnTo>
                      <a:lnTo>
                        <a:pt x="19421" y="6340"/>
                      </a:lnTo>
                      <a:lnTo>
                        <a:pt x="20815" y="6153"/>
                      </a:lnTo>
                      <a:lnTo>
                        <a:pt x="22004" y="6528"/>
                      </a:lnTo>
                      <a:lnTo>
                        <a:pt x="23064" y="7921"/>
                      </a:lnTo>
                      <a:lnTo>
                        <a:pt x="25786" y="9111"/>
                      </a:lnTo>
                      <a:lnTo>
                        <a:pt x="26976" y="9886"/>
                      </a:lnTo>
                      <a:lnTo>
                        <a:pt x="28003" y="11084"/>
                      </a:lnTo>
                      <a:lnTo>
                        <a:pt x="29144" y="12021"/>
                      </a:lnTo>
                      <a:lnTo>
                        <a:pt x="36332" y="15207"/>
                      </a:lnTo>
                      <a:lnTo>
                        <a:pt x="41450" y="16764"/>
                      </a:lnTo>
                      <a:lnTo>
                        <a:pt x="47831" y="16047"/>
                      </a:lnTo>
                      <a:lnTo>
                        <a:pt x="49705" y="15150"/>
                      </a:lnTo>
                      <a:lnTo>
                        <a:pt x="51506" y="13846"/>
                      </a:lnTo>
                      <a:lnTo>
                        <a:pt x="53063" y="15060"/>
                      </a:lnTo>
                      <a:lnTo>
                        <a:pt x="54603" y="16919"/>
                      </a:lnTo>
                      <a:lnTo>
                        <a:pt x="54310" y="14922"/>
                      </a:lnTo>
                      <a:lnTo>
                        <a:pt x="54815" y="13170"/>
                      </a:lnTo>
                      <a:lnTo>
                        <a:pt x="56364" y="11792"/>
                      </a:lnTo>
                      <a:lnTo>
                        <a:pt x="58116" y="10929"/>
                      </a:lnTo>
                      <a:lnTo>
                        <a:pt x="61001" y="10994"/>
                      </a:lnTo>
                      <a:lnTo>
                        <a:pt x="63805" y="10619"/>
                      </a:lnTo>
                      <a:lnTo>
                        <a:pt x="65043" y="9812"/>
                      </a:lnTo>
                      <a:lnTo>
                        <a:pt x="66331" y="9690"/>
                      </a:lnTo>
                      <a:lnTo>
                        <a:pt x="67985" y="10684"/>
                      </a:lnTo>
                      <a:lnTo>
                        <a:pt x="69656" y="11230"/>
                      </a:lnTo>
                      <a:lnTo>
                        <a:pt x="70797" y="9967"/>
                      </a:lnTo>
                      <a:lnTo>
                        <a:pt x="72745" y="6935"/>
                      </a:lnTo>
                      <a:lnTo>
                        <a:pt x="73796" y="5892"/>
                      </a:lnTo>
                      <a:lnTo>
                        <a:pt x="78653" y="6797"/>
                      </a:lnTo>
                      <a:lnTo>
                        <a:pt x="80022" y="6838"/>
                      </a:lnTo>
                      <a:lnTo>
                        <a:pt x="82402" y="3659"/>
                      </a:lnTo>
                      <a:lnTo>
                        <a:pt x="83991" y="3708"/>
                      </a:lnTo>
                      <a:lnTo>
                        <a:pt x="88522" y="6234"/>
                      </a:lnTo>
                      <a:lnTo>
                        <a:pt x="90430" y="9380"/>
                      </a:lnTo>
                      <a:lnTo>
                        <a:pt x="90250" y="15118"/>
                      </a:lnTo>
                      <a:lnTo>
                        <a:pt x="90422" y="17147"/>
                      </a:lnTo>
                      <a:lnTo>
                        <a:pt x="90780" y="19135"/>
                      </a:lnTo>
                      <a:lnTo>
                        <a:pt x="90927" y="23129"/>
                      </a:lnTo>
                      <a:lnTo>
                        <a:pt x="90381" y="27065"/>
                      </a:lnTo>
                      <a:lnTo>
                        <a:pt x="90308" y="30154"/>
                      </a:lnTo>
                      <a:lnTo>
                        <a:pt x="90535" y="33275"/>
                      </a:lnTo>
                      <a:lnTo>
                        <a:pt x="90324" y="39086"/>
                      </a:lnTo>
                      <a:lnTo>
                        <a:pt x="91016" y="42933"/>
                      </a:lnTo>
                      <a:lnTo>
                        <a:pt x="90674" y="45565"/>
                      </a:lnTo>
                      <a:lnTo>
                        <a:pt x="90674" y="46787"/>
                      </a:lnTo>
                      <a:lnTo>
                        <a:pt x="91326" y="47945"/>
                      </a:lnTo>
                      <a:lnTo>
                        <a:pt x="91628" y="49249"/>
                      </a:lnTo>
                      <a:close/>
                    </a:path>
                  </a:pathLst>
                </a:custGeom>
                <a:solidFill>
                  <a:srgbClr val="D6D6D2"/>
                </a:solidFill>
                <a:ln w="8150" cap="flat">
                  <a:noFill/>
                  <a:prstDash val="solid"/>
                  <a:miter/>
                </a:ln>
              </p:spPr>
              <p:txBody>
                <a:bodyPr rtlCol="0" anchor="ctr"/>
                <a:lstStyle/>
                <a:p>
                  <a:endParaRPr lang="en-US"/>
                </a:p>
              </p:txBody>
            </p:sp>
            <p:sp>
              <p:nvSpPr>
                <p:cNvPr id="484" name="Freeform: Shape 483">
                  <a:extLst>
                    <a:ext uri="{FF2B5EF4-FFF2-40B4-BE49-F238E27FC236}">
                      <a16:creationId xmlns:a16="http://schemas.microsoft.com/office/drawing/2014/main" id="{D5125F51-568B-440C-8428-10ADD65BBAE3}"/>
                    </a:ext>
                  </a:extLst>
                </p:cNvPr>
                <p:cNvSpPr/>
                <p:nvPr/>
              </p:nvSpPr>
              <p:spPr>
                <a:xfrm>
                  <a:off x="9366390" y="4846020"/>
                  <a:ext cx="384772" cy="570179"/>
                </a:xfrm>
                <a:custGeom>
                  <a:avLst/>
                  <a:gdLst>
                    <a:gd name="connsiteX0" fmla="*/ 382614 w 384772"/>
                    <a:gd name="connsiteY0" fmla="*/ 530613 h 570179"/>
                    <a:gd name="connsiteX1" fmla="*/ 383265 w 384772"/>
                    <a:gd name="connsiteY1" fmla="*/ 535405 h 570179"/>
                    <a:gd name="connsiteX2" fmla="*/ 384773 w 384772"/>
                    <a:gd name="connsiteY2" fmla="*/ 538461 h 570179"/>
                    <a:gd name="connsiteX3" fmla="*/ 381448 w 384772"/>
                    <a:gd name="connsiteY3" fmla="*/ 541354 h 570179"/>
                    <a:gd name="connsiteX4" fmla="*/ 376794 w 384772"/>
                    <a:gd name="connsiteY4" fmla="*/ 542071 h 570179"/>
                    <a:gd name="connsiteX5" fmla="*/ 374920 w 384772"/>
                    <a:gd name="connsiteY5" fmla="*/ 545054 h 570179"/>
                    <a:gd name="connsiteX6" fmla="*/ 368172 w 384772"/>
                    <a:gd name="connsiteY6" fmla="*/ 544207 h 570179"/>
                    <a:gd name="connsiteX7" fmla="*/ 365850 w 384772"/>
                    <a:gd name="connsiteY7" fmla="*/ 545201 h 570179"/>
                    <a:gd name="connsiteX8" fmla="*/ 362296 w 384772"/>
                    <a:gd name="connsiteY8" fmla="*/ 543212 h 570179"/>
                    <a:gd name="connsiteX9" fmla="*/ 361327 w 384772"/>
                    <a:gd name="connsiteY9" fmla="*/ 544141 h 570179"/>
                    <a:gd name="connsiteX10" fmla="*/ 359427 w 384772"/>
                    <a:gd name="connsiteY10" fmla="*/ 542218 h 570179"/>
                    <a:gd name="connsiteX11" fmla="*/ 357431 w 384772"/>
                    <a:gd name="connsiteY11" fmla="*/ 544777 h 570179"/>
                    <a:gd name="connsiteX12" fmla="*/ 354440 w 384772"/>
                    <a:gd name="connsiteY12" fmla="*/ 546203 h 570179"/>
                    <a:gd name="connsiteX13" fmla="*/ 352565 w 384772"/>
                    <a:gd name="connsiteY13" fmla="*/ 547752 h 570179"/>
                    <a:gd name="connsiteX14" fmla="*/ 351237 w 384772"/>
                    <a:gd name="connsiteY14" fmla="*/ 547752 h 570179"/>
                    <a:gd name="connsiteX15" fmla="*/ 346364 w 384772"/>
                    <a:gd name="connsiteY15" fmla="*/ 550881 h 570179"/>
                    <a:gd name="connsiteX16" fmla="*/ 347366 w 384772"/>
                    <a:gd name="connsiteY16" fmla="*/ 554165 h 570179"/>
                    <a:gd name="connsiteX17" fmla="*/ 348906 w 384772"/>
                    <a:gd name="connsiteY17" fmla="*/ 556301 h 570179"/>
                    <a:gd name="connsiteX18" fmla="*/ 347798 w 384772"/>
                    <a:gd name="connsiteY18" fmla="*/ 561712 h 570179"/>
                    <a:gd name="connsiteX19" fmla="*/ 345589 w 384772"/>
                    <a:gd name="connsiteY19" fmla="*/ 563269 h 570179"/>
                    <a:gd name="connsiteX20" fmla="*/ 343593 w 384772"/>
                    <a:gd name="connsiteY20" fmla="*/ 563130 h 570179"/>
                    <a:gd name="connsiteX21" fmla="*/ 342819 w 384772"/>
                    <a:gd name="connsiteY21" fmla="*/ 564842 h 570179"/>
                    <a:gd name="connsiteX22" fmla="*/ 341270 w 384772"/>
                    <a:gd name="connsiteY22" fmla="*/ 563994 h 570179"/>
                    <a:gd name="connsiteX23" fmla="*/ 340496 w 384772"/>
                    <a:gd name="connsiteY23" fmla="*/ 562128 h 570179"/>
                    <a:gd name="connsiteX24" fmla="*/ 336127 w 384772"/>
                    <a:gd name="connsiteY24" fmla="*/ 564304 h 570179"/>
                    <a:gd name="connsiteX25" fmla="*/ 335500 w 384772"/>
                    <a:gd name="connsiteY25" fmla="*/ 566846 h 570179"/>
                    <a:gd name="connsiteX26" fmla="*/ 334237 w 384772"/>
                    <a:gd name="connsiteY26" fmla="*/ 568517 h 570179"/>
                    <a:gd name="connsiteX27" fmla="*/ 332142 w 384772"/>
                    <a:gd name="connsiteY27" fmla="*/ 570180 h 570179"/>
                    <a:gd name="connsiteX28" fmla="*/ 330691 w 384772"/>
                    <a:gd name="connsiteY28" fmla="*/ 569055 h 570179"/>
                    <a:gd name="connsiteX29" fmla="*/ 329909 w 384772"/>
                    <a:gd name="connsiteY29" fmla="*/ 565143 h 570179"/>
                    <a:gd name="connsiteX30" fmla="*/ 328116 w 384772"/>
                    <a:gd name="connsiteY30" fmla="*/ 562462 h 570179"/>
                    <a:gd name="connsiteX31" fmla="*/ 325313 w 384772"/>
                    <a:gd name="connsiteY31" fmla="*/ 560971 h 570179"/>
                    <a:gd name="connsiteX32" fmla="*/ 323813 w 384772"/>
                    <a:gd name="connsiteY32" fmla="*/ 559487 h 570179"/>
                    <a:gd name="connsiteX33" fmla="*/ 323618 w 384772"/>
                    <a:gd name="connsiteY33" fmla="*/ 557996 h 570179"/>
                    <a:gd name="connsiteX34" fmla="*/ 321955 w 384772"/>
                    <a:gd name="connsiteY34" fmla="*/ 556464 h 570179"/>
                    <a:gd name="connsiteX35" fmla="*/ 318825 w 384772"/>
                    <a:gd name="connsiteY35" fmla="*/ 554883 h 570179"/>
                    <a:gd name="connsiteX36" fmla="*/ 315256 w 384772"/>
                    <a:gd name="connsiteY36" fmla="*/ 554206 h 570179"/>
                    <a:gd name="connsiteX37" fmla="*/ 309233 w 384772"/>
                    <a:gd name="connsiteY37" fmla="*/ 554573 h 570179"/>
                    <a:gd name="connsiteX38" fmla="*/ 306039 w 384772"/>
                    <a:gd name="connsiteY38" fmla="*/ 551810 h 570179"/>
                    <a:gd name="connsiteX39" fmla="*/ 301295 w 384772"/>
                    <a:gd name="connsiteY39" fmla="*/ 551631 h 570179"/>
                    <a:gd name="connsiteX40" fmla="*/ 293936 w 384772"/>
                    <a:gd name="connsiteY40" fmla="*/ 553106 h 570179"/>
                    <a:gd name="connsiteX41" fmla="*/ 289576 w 384772"/>
                    <a:gd name="connsiteY41" fmla="*/ 553351 h 570179"/>
                    <a:gd name="connsiteX42" fmla="*/ 287571 w 384772"/>
                    <a:gd name="connsiteY42" fmla="*/ 551876 h 570179"/>
                    <a:gd name="connsiteX43" fmla="*/ 285477 w 384772"/>
                    <a:gd name="connsiteY43" fmla="*/ 552299 h 570179"/>
                    <a:gd name="connsiteX44" fmla="*/ 284377 w 384772"/>
                    <a:gd name="connsiteY44" fmla="*/ 553220 h 570179"/>
                    <a:gd name="connsiteX45" fmla="*/ 283529 w 384772"/>
                    <a:gd name="connsiteY45" fmla="*/ 554760 h 570179"/>
                    <a:gd name="connsiteX46" fmla="*/ 281101 w 384772"/>
                    <a:gd name="connsiteY46" fmla="*/ 556871 h 570179"/>
                    <a:gd name="connsiteX47" fmla="*/ 277099 w 384772"/>
                    <a:gd name="connsiteY47" fmla="*/ 559552 h 570179"/>
                    <a:gd name="connsiteX48" fmla="*/ 274809 w 384772"/>
                    <a:gd name="connsiteY48" fmla="*/ 561728 h 570179"/>
                    <a:gd name="connsiteX49" fmla="*/ 274222 w 384772"/>
                    <a:gd name="connsiteY49" fmla="*/ 563407 h 570179"/>
                    <a:gd name="connsiteX50" fmla="*/ 272625 w 384772"/>
                    <a:gd name="connsiteY50" fmla="*/ 565274 h 570179"/>
                    <a:gd name="connsiteX51" fmla="*/ 272152 w 384772"/>
                    <a:gd name="connsiteY51" fmla="*/ 565673 h 570179"/>
                    <a:gd name="connsiteX52" fmla="*/ 74415 w 384772"/>
                    <a:gd name="connsiteY52" fmla="*/ 565689 h 570179"/>
                    <a:gd name="connsiteX53" fmla="*/ 74415 w 384772"/>
                    <a:gd name="connsiteY53" fmla="*/ 470484 h 570179"/>
                    <a:gd name="connsiteX54" fmla="*/ 8 w 384772"/>
                    <a:gd name="connsiteY54" fmla="*/ 470484 h 570179"/>
                    <a:gd name="connsiteX55" fmla="*/ 0 w 384772"/>
                    <a:gd name="connsiteY55" fmla="*/ 177631 h 570179"/>
                    <a:gd name="connsiteX56" fmla="*/ 16 w 384772"/>
                    <a:gd name="connsiteY56" fmla="*/ 177607 h 570179"/>
                    <a:gd name="connsiteX57" fmla="*/ 1735 w 384772"/>
                    <a:gd name="connsiteY57" fmla="*/ 179473 h 570179"/>
                    <a:gd name="connsiteX58" fmla="*/ 6039 w 384772"/>
                    <a:gd name="connsiteY58" fmla="*/ 182587 h 570179"/>
                    <a:gd name="connsiteX59" fmla="*/ 12502 w 384772"/>
                    <a:gd name="connsiteY59" fmla="*/ 184763 h 570179"/>
                    <a:gd name="connsiteX60" fmla="*/ 15476 w 384772"/>
                    <a:gd name="connsiteY60" fmla="*/ 184404 h 570179"/>
                    <a:gd name="connsiteX61" fmla="*/ 20301 w 384772"/>
                    <a:gd name="connsiteY61" fmla="*/ 186938 h 570179"/>
                    <a:gd name="connsiteX62" fmla="*/ 25003 w 384772"/>
                    <a:gd name="connsiteY62" fmla="*/ 188120 h 570179"/>
                    <a:gd name="connsiteX63" fmla="*/ 27497 w 384772"/>
                    <a:gd name="connsiteY63" fmla="*/ 191649 h 570179"/>
                    <a:gd name="connsiteX64" fmla="*/ 28344 w 384772"/>
                    <a:gd name="connsiteY64" fmla="*/ 194314 h 570179"/>
                    <a:gd name="connsiteX65" fmla="*/ 28581 w 384772"/>
                    <a:gd name="connsiteY65" fmla="*/ 196343 h 570179"/>
                    <a:gd name="connsiteX66" fmla="*/ 30920 w 384772"/>
                    <a:gd name="connsiteY66" fmla="*/ 201274 h 570179"/>
                    <a:gd name="connsiteX67" fmla="*/ 35687 w 384772"/>
                    <a:gd name="connsiteY67" fmla="*/ 202855 h 570179"/>
                    <a:gd name="connsiteX68" fmla="*/ 41857 w 384772"/>
                    <a:gd name="connsiteY68" fmla="*/ 207777 h 570179"/>
                    <a:gd name="connsiteX69" fmla="*/ 46934 w 384772"/>
                    <a:gd name="connsiteY69" fmla="*/ 209945 h 570179"/>
                    <a:gd name="connsiteX70" fmla="*/ 48213 w 384772"/>
                    <a:gd name="connsiteY70" fmla="*/ 211233 h 570179"/>
                    <a:gd name="connsiteX71" fmla="*/ 50438 w 384772"/>
                    <a:gd name="connsiteY71" fmla="*/ 212741 h 570179"/>
                    <a:gd name="connsiteX72" fmla="*/ 54742 w 384772"/>
                    <a:gd name="connsiteY72" fmla="*/ 212798 h 570179"/>
                    <a:gd name="connsiteX73" fmla="*/ 62223 w 384772"/>
                    <a:gd name="connsiteY73" fmla="*/ 210345 h 570179"/>
                    <a:gd name="connsiteX74" fmla="*/ 65622 w 384772"/>
                    <a:gd name="connsiteY74" fmla="*/ 207867 h 570179"/>
                    <a:gd name="connsiteX75" fmla="*/ 70145 w 384772"/>
                    <a:gd name="connsiteY75" fmla="*/ 203914 h 570179"/>
                    <a:gd name="connsiteX76" fmla="*/ 72264 w 384772"/>
                    <a:gd name="connsiteY76" fmla="*/ 197109 h 570179"/>
                    <a:gd name="connsiteX77" fmla="*/ 73510 w 384772"/>
                    <a:gd name="connsiteY77" fmla="*/ 191665 h 570179"/>
                    <a:gd name="connsiteX78" fmla="*/ 79794 w 384772"/>
                    <a:gd name="connsiteY78" fmla="*/ 180394 h 570179"/>
                    <a:gd name="connsiteX79" fmla="*/ 81578 w 384772"/>
                    <a:gd name="connsiteY79" fmla="*/ 174804 h 570179"/>
                    <a:gd name="connsiteX80" fmla="*/ 83168 w 384772"/>
                    <a:gd name="connsiteY80" fmla="*/ 167396 h 570179"/>
                    <a:gd name="connsiteX81" fmla="*/ 84561 w 384772"/>
                    <a:gd name="connsiteY81" fmla="*/ 162766 h 570179"/>
                    <a:gd name="connsiteX82" fmla="*/ 84105 w 384772"/>
                    <a:gd name="connsiteY82" fmla="*/ 157730 h 570179"/>
                    <a:gd name="connsiteX83" fmla="*/ 85556 w 384772"/>
                    <a:gd name="connsiteY83" fmla="*/ 148602 h 570179"/>
                    <a:gd name="connsiteX84" fmla="*/ 88775 w 384772"/>
                    <a:gd name="connsiteY84" fmla="*/ 136109 h 570179"/>
                    <a:gd name="connsiteX85" fmla="*/ 89875 w 384772"/>
                    <a:gd name="connsiteY85" fmla="*/ 131879 h 570179"/>
                    <a:gd name="connsiteX86" fmla="*/ 89329 w 384772"/>
                    <a:gd name="connsiteY86" fmla="*/ 125669 h 570179"/>
                    <a:gd name="connsiteX87" fmla="*/ 87324 w 384772"/>
                    <a:gd name="connsiteY87" fmla="*/ 114015 h 570179"/>
                    <a:gd name="connsiteX88" fmla="*/ 88220 w 384772"/>
                    <a:gd name="connsiteY88" fmla="*/ 109989 h 570179"/>
                    <a:gd name="connsiteX89" fmla="*/ 89092 w 384772"/>
                    <a:gd name="connsiteY89" fmla="*/ 104374 h 570179"/>
                    <a:gd name="connsiteX90" fmla="*/ 87626 w 384772"/>
                    <a:gd name="connsiteY90" fmla="*/ 100291 h 570179"/>
                    <a:gd name="connsiteX91" fmla="*/ 86273 w 384772"/>
                    <a:gd name="connsiteY91" fmla="*/ 97495 h 570179"/>
                    <a:gd name="connsiteX92" fmla="*/ 86069 w 384772"/>
                    <a:gd name="connsiteY92" fmla="*/ 93575 h 570179"/>
                    <a:gd name="connsiteX93" fmla="*/ 87601 w 384772"/>
                    <a:gd name="connsiteY93" fmla="*/ 86175 h 570179"/>
                    <a:gd name="connsiteX94" fmla="*/ 88946 w 384772"/>
                    <a:gd name="connsiteY94" fmla="*/ 82272 h 570179"/>
                    <a:gd name="connsiteX95" fmla="*/ 90356 w 384772"/>
                    <a:gd name="connsiteY95" fmla="*/ 77243 h 570179"/>
                    <a:gd name="connsiteX96" fmla="*/ 89573 w 384772"/>
                    <a:gd name="connsiteY96" fmla="*/ 67659 h 570179"/>
                    <a:gd name="connsiteX97" fmla="*/ 92556 w 384772"/>
                    <a:gd name="connsiteY97" fmla="*/ 64326 h 570179"/>
                    <a:gd name="connsiteX98" fmla="*/ 93746 w 384772"/>
                    <a:gd name="connsiteY98" fmla="*/ 62671 h 570179"/>
                    <a:gd name="connsiteX99" fmla="*/ 96061 w 384772"/>
                    <a:gd name="connsiteY99" fmla="*/ 62647 h 570179"/>
                    <a:gd name="connsiteX100" fmla="*/ 97177 w 384772"/>
                    <a:gd name="connsiteY100" fmla="*/ 63413 h 570179"/>
                    <a:gd name="connsiteX101" fmla="*/ 97405 w 384772"/>
                    <a:gd name="connsiteY101" fmla="*/ 61498 h 570179"/>
                    <a:gd name="connsiteX102" fmla="*/ 96493 w 384772"/>
                    <a:gd name="connsiteY102" fmla="*/ 59721 h 570179"/>
                    <a:gd name="connsiteX103" fmla="*/ 96134 w 384772"/>
                    <a:gd name="connsiteY103" fmla="*/ 57659 h 570179"/>
                    <a:gd name="connsiteX104" fmla="*/ 95490 w 384772"/>
                    <a:gd name="connsiteY104" fmla="*/ 56608 h 570179"/>
                    <a:gd name="connsiteX105" fmla="*/ 94056 w 384772"/>
                    <a:gd name="connsiteY105" fmla="*/ 56241 h 570179"/>
                    <a:gd name="connsiteX106" fmla="*/ 92866 w 384772"/>
                    <a:gd name="connsiteY106" fmla="*/ 55108 h 570179"/>
                    <a:gd name="connsiteX107" fmla="*/ 91155 w 384772"/>
                    <a:gd name="connsiteY107" fmla="*/ 53959 h 570179"/>
                    <a:gd name="connsiteX108" fmla="*/ 91423 w 384772"/>
                    <a:gd name="connsiteY108" fmla="*/ 49705 h 570179"/>
                    <a:gd name="connsiteX109" fmla="*/ 94325 w 384772"/>
                    <a:gd name="connsiteY109" fmla="*/ 41499 h 570179"/>
                    <a:gd name="connsiteX110" fmla="*/ 95930 w 384772"/>
                    <a:gd name="connsiteY110" fmla="*/ 38336 h 570179"/>
                    <a:gd name="connsiteX111" fmla="*/ 96982 w 384772"/>
                    <a:gd name="connsiteY111" fmla="*/ 39657 h 570179"/>
                    <a:gd name="connsiteX112" fmla="*/ 98171 w 384772"/>
                    <a:gd name="connsiteY112" fmla="*/ 40716 h 570179"/>
                    <a:gd name="connsiteX113" fmla="*/ 98342 w 384772"/>
                    <a:gd name="connsiteY113" fmla="*/ 38353 h 570179"/>
                    <a:gd name="connsiteX114" fmla="*/ 97935 w 384772"/>
                    <a:gd name="connsiteY114" fmla="*/ 35932 h 570179"/>
                    <a:gd name="connsiteX115" fmla="*/ 100144 w 384772"/>
                    <a:gd name="connsiteY115" fmla="*/ 27929 h 570179"/>
                    <a:gd name="connsiteX116" fmla="*/ 102588 w 384772"/>
                    <a:gd name="connsiteY116" fmla="*/ 17098 h 570179"/>
                    <a:gd name="connsiteX117" fmla="*/ 103306 w 384772"/>
                    <a:gd name="connsiteY117" fmla="*/ 7229 h 570179"/>
                    <a:gd name="connsiteX118" fmla="*/ 107234 w 384772"/>
                    <a:gd name="connsiteY118" fmla="*/ 5346 h 570179"/>
                    <a:gd name="connsiteX119" fmla="*/ 109230 w 384772"/>
                    <a:gd name="connsiteY119" fmla="*/ 2869 h 570179"/>
                    <a:gd name="connsiteX120" fmla="*/ 110453 w 384772"/>
                    <a:gd name="connsiteY120" fmla="*/ 0 h 570179"/>
                    <a:gd name="connsiteX121" fmla="*/ 112645 w 384772"/>
                    <a:gd name="connsiteY121" fmla="*/ 0 h 570179"/>
                    <a:gd name="connsiteX122" fmla="*/ 114137 w 384772"/>
                    <a:gd name="connsiteY122" fmla="*/ 1222 h 570179"/>
                    <a:gd name="connsiteX123" fmla="*/ 113159 w 384772"/>
                    <a:gd name="connsiteY123" fmla="*/ 3382 h 570179"/>
                    <a:gd name="connsiteX124" fmla="*/ 112849 w 384772"/>
                    <a:gd name="connsiteY124" fmla="*/ 5037 h 570179"/>
                    <a:gd name="connsiteX125" fmla="*/ 117079 w 384772"/>
                    <a:gd name="connsiteY125" fmla="*/ 9152 h 570179"/>
                    <a:gd name="connsiteX126" fmla="*/ 118481 w 384772"/>
                    <a:gd name="connsiteY126" fmla="*/ 12314 h 570179"/>
                    <a:gd name="connsiteX127" fmla="*/ 119059 w 384772"/>
                    <a:gd name="connsiteY127" fmla="*/ 15305 h 570179"/>
                    <a:gd name="connsiteX128" fmla="*/ 119891 w 384772"/>
                    <a:gd name="connsiteY128" fmla="*/ 18117 h 570179"/>
                    <a:gd name="connsiteX129" fmla="*/ 120298 w 384772"/>
                    <a:gd name="connsiteY129" fmla="*/ 21906 h 570179"/>
                    <a:gd name="connsiteX130" fmla="*/ 120241 w 384772"/>
                    <a:gd name="connsiteY130" fmla="*/ 27954 h 570179"/>
                    <a:gd name="connsiteX131" fmla="*/ 120779 w 384772"/>
                    <a:gd name="connsiteY131" fmla="*/ 33667 h 570179"/>
                    <a:gd name="connsiteX132" fmla="*/ 122311 w 384772"/>
                    <a:gd name="connsiteY132" fmla="*/ 35468 h 570179"/>
                    <a:gd name="connsiteX133" fmla="*/ 123656 w 384772"/>
                    <a:gd name="connsiteY133" fmla="*/ 36625 h 570179"/>
                    <a:gd name="connsiteX134" fmla="*/ 125595 w 384772"/>
                    <a:gd name="connsiteY134" fmla="*/ 36796 h 570179"/>
                    <a:gd name="connsiteX135" fmla="*/ 128391 w 384772"/>
                    <a:gd name="connsiteY135" fmla="*/ 37717 h 570179"/>
                    <a:gd name="connsiteX136" fmla="*/ 127739 w 384772"/>
                    <a:gd name="connsiteY136" fmla="*/ 41376 h 570179"/>
                    <a:gd name="connsiteX137" fmla="*/ 126549 w 384772"/>
                    <a:gd name="connsiteY137" fmla="*/ 44220 h 570179"/>
                    <a:gd name="connsiteX138" fmla="*/ 126410 w 384772"/>
                    <a:gd name="connsiteY138" fmla="*/ 45924 h 570179"/>
                    <a:gd name="connsiteX139" fmla="*/ 126687 w 384772"/>
                    <a:gd name="connsiteY139" fmla="*/ 48279 h 570179"/>
                    <a:gd name="connsiteX140" fmla="*/ 128676 w 384772"/>
                    <a:gd name="connsiteY140" fmla="*/ 50031 h 570179"/>
                    <a:gd name="connsiteX141" fmla="*/ 130249 w 384772"/>
                    <a:gd name="connsiteY141" fmla="*/ 51123 h 570179"/>
                    <a:gd name="connsiteX142" fmla="*/ 131129 w 384772"/>
                    <a:gd name="connsiteY142" fmla="*/ 54204 h 570179"/>
                    <a:gd name="connsiteX143" fmla="*/ 133900 w 384772"/>
                    <a:gd name="connsiteY143" fmla="*/ 58458 h 570179"/>
                    <a:gd name="connsiteX144" fmla="*/ 133794 w 384772"/>
                    <a:gd name="connsiteY144" fmla="*/ 61384 h 570179"/>
                    <a:gd name="connsiteX145" fmla="*/ 135293 w 384772"/>
                    <a:gd name="connsiteY145" fmla="*/ 65002 h 570179"/>
                    <a:gd name="connsiteX146" fmla="*/ 136646 w 384772"/>
                    <a:gd name="connsiteY146" fmla="*/ 72247 h 570179"/>
                    <a:gd name="connsiteX147" fmla="*/ 137078 w 384772"/>
                    <a:gd name="connsiteY147" fmla="*/ 78596 h 570179"/>
                    <a:gd name="connsiteX148" fmla="*/ 138496 w 384772"/>
                    <a:gd name="connsiteY148" fmla="*/ 82842 h 570179"/>
                    <a:gd name="connsiteX149" fmla="*/ 137551 w 384772"/>
                    <a:gd name="connsiteY149" fmla="*/ 91872 h 570179"/>
                    <a:gd name="connsiteX150" fmla="*/ 138561 w 384772"/>
                    <a:gd name="connsiteY150" fmla="*/ 95564 h 570179"/>
                    <a:gd name="connsiteX151" fmla="*/ 139898 w 384772"/>
                    <a:gd name="connsiteY151" fmla="*/ 98644 h 570179"/>
                    <a:gd name="connsiteX152" fmla="*/ 141487 w 384772"/>
                    <a:gd name="connsiteY152" fmla="*/ 104740 h 570179"/>
                    <a:gd name="connsiteX153" fmla="*/ 142693 w 384772"/>
                    <a:gd name="connsiteY153" fmla="*/ 110347 h 570179"/>
                    <a:gd name="connsiteX154" fmla="*/ 144323 w 384772"/>
                    <a:gd name="connsiteY154" fmla="*/ 111928 h 570179"/>
                    <a:gd name="connsiteX155" fmla="*/ 147795 w 384772"/>
                    <a:gd name="connsiteY155" fmla="*/ 113803 h 570179"/>
                    <a:gd name="connsiteX156" fmla="*/ 151365 w 384772"/>
                    <a:gd name="connsiteY156" fmla="*/ 111725 h 570179"/>
                    <a:gd name="connsiteX157" fmla="*/ 153948 w 384772"/>
                    <a:gd name="connsiteY157" fmla="*/ 108913 h 570179"/>
                    <a:gd name="connsiteX158" fmla="*/ 156727 w 384772"/>
                    <a:gd name="connsiteY158" fmla="*/ 108228 h 570179"/>
                    <a:gd name="connsiteX159" fmla="*/ 160476 w 384772"/>
                    <a:gd name="connsiteY159" fmla="*/ 106770 h 570179"/>
                    <a:gd name="connsiteX160" fmla="*/ 163288 w 384772"/>
                    <a:gd name="connsiteY160" fmla="*/ 110519 h 570179"/>
                    <a:gd name="connsiteX161" fmla="*/ 164820 w 384772"/>
                    <a:gd name="connsiteY161" fmla="*/ 114708 h 570179"/>
                    <a:gd name="connsiteX162" fmla="*/ 171446 w 384772"/>
                    <a:gd name="connsiteY162" fmla="*/ 120241 h 570179"/>
                    <a:gd name="connsiteX163" fmla="*/ 175146 w 384772"/>
                    <a:gd name="connsiteY163" fmla="*/ 123803 h 570179"/>
                    <a:gd name="connsiteX164" fmla="*/ 178006 w 384772"/>
                    <a:gd name="connsiteY164" fmla="*/ 125808 h 570179"/>
                    <a:gd name="connsiteX165" fmla="*/ 180687 w 384772"/>
                    <a:gd name="connsiteY165" fmla="*/ 128432 h 570179"/>
                    <a:gd name="connsiteX166" fmla="*/ 180410 w 384772"/>
                    <a:gd name="connsiteY166" fmla="*/ 131048 h 570179"/>
                    <a:gd name="connsiteX167" fmla="*/ 179791 w 384772"/>
                    <a:gd name="connsiteY167" fmla="*/ 133126 h 570179"/>
                    <a:gd name="connsiteX168" fmla="*/ 180394 w 384772"/>
                    <a:gd name="connsiteY168" fmla="*/ 136369 h 570179"/>
                    <a:gd name="connsiteX169" fmla="*/ 180818 w 384772"/>
                    <a:gd name="connsiteY169" fmla="*/ 140127 h 570179"/>
                    <a:gd name="connsiteX170" fmla="*/ 180288 w 384772"/>
                    <a:gd name="connsiteY170" fmla="*/ 144690 h 570179"/>
                    <a:gd name="connsiteX171" fmla="*/ 182219 w 384772"/>
                    <a:gd name="connsiteY171" fmla="*/ 151536 h 570179"/>
                    <a:gd name="connsiteX172" fmla="*/ 182864 w 384772"/>
                    <a:gd name="connsiteY172" fmla="*/ 157021 h 570179"/>
                    <a:gd name="connsiteX173" fmla="*/ 184909 w 384772"/>
                    <a:gd name="connsiteY173" fmla="*/ 162375 h 570179"/>
                    <a:gd name="connsiteX174" fmla="*/ 184754 w 384772"/>
                    <a:gd name="connsiteY174" fmla="*/ 167893 h 570179"/>
                    <a:gd name="connsiteX175" fmla="*/ 184363 w 384772"/>
                    <a:gd name="connsiteY175" fmla="*/ 169963 h 570179"/>
                    <a:gd name="connsiteX176" fmla="*/ 184119 w 384772"/>
                    <a:gd name="connsiteY176" fmla="*/ 173059 h 570179"/>
                    <a:gd name="connsiteX177" fmla="*/ 185699 w 384772"/>
                    <a:gd name="connsiteY177" fmla="*/ 176914 h 570179"/>
                    <a:gd name="connsiteX178" fmla="*/ 187175 w 384772"/>
                    <a:gd name="connsiteY178" fmla="*/ 179750 h 570179"/>
                    <a:gd name="connsiteX179" fmla="*/ 189375 w 384772"/>
                    <a:gd name="connsiteY179" fmla="*/ 182856 h 570179"/>
                    <a:gd name="connsiteX180" fmla="*/ 192268 w 384772"/>
                    <a:gd name="connsiteY180" fmla="*/ 187542 h 570179"/>
                    <a:gd name="connsiteX181" fmla="*/ 194330 w 384772"/>
                    <a:gd name="connsiteY181" fmla="*/ 188487 h 570179"/>
                    <a:gd name="connsiteX182" fmla="*/ 196172 w 384772"/>
                    <a:gd name="connsiteY182" fmla="*/ 188544 h 570179"/>
                    <a:gd name="connsiteX183" fmla="*/ 195919 w 384772"/>
                    <a:gd name="connsiteY183" fmla="*/ 193369 h 570179"/>
                    <a:gd name="connsiteX184" fmla="*/ 199578 w 384772"/>
                    <a:gd name="connsiteY184" fmla="*/ 202896 h 570179"/>
                    <a:gd name="connsiteX185" fmla="*/ 201469 w 384772"/>
                    <a:gd name="connsiteY185" fmla="*/ 210687 h 570179"/>
                    <a:gd name="connsiteX186" fmla="*/ 200190 w 384772"/>
                    <a:gd name="connsiteY186" fmla="*/ 221184 h 570179"/>
                    <a:gd name="connsiteX187" fmla="*/ 198910 w 384772"/>
                    <a:gd name="connsiteY187" fmla="*/ 227272 h 570179"/>
                    <a:gd name="connsiteX188" fmla="*/ 199147 w 384772"/>
                    <a:gd name="connsiteY188" fmla="*/ 230246 h 570179"/>
                    <a:gd name="connsiteX189" fmla="*/ 203882 w 384772"/>
                    <a:gd name="connsiteY189" fmla="*/ 237548 h 570179"/>
                    <a:gd name="connsiteX190" fmla="*/ 206620 w 384772"/>
                    <a:gd name="connsiteY190" fmla="*/ 238885 h 570179"/>
                    <a:gd name="connsiteX191" fmla="*/ 206074 w 384772"/>
                    <a:gd name="connsiteY191" fmla="*/ 242357 h 570179"/>
                    <a:gd name="connsiteX192" fmla="*/ 205707 w 384772"/>
                    <a:gd name="connsiteY192" fmla="*/ 247736 h 570179"/>
                    <a:gd name="connsiteX193" fmla="*/ 207859 w 384772"/>
                    <a:gd name="connsiteY193" fmla="*/ 251908 h 570179"/>
                    <a:gd name="connsiteX194" fmla="*/ 210295 w 384772"/>
                    <a:gd name="connsiteY194" fmla="*/ 255038 h 570179"/>
                    <a:gd name="connsiteX195" fmla="*/ 212920 w 384772"/>
                    <a:gd name="connsiteY195" fmla="*/ 256904 h 570179"/>
                    <a:gd name="connsiteX196" fmla="*/ 215511 w 384772"/>
                    <a:gd name="connsiteY196" fmla="*/ 258395 h 570179"/>
                    <a:gd name="connsiteX197" fmla="*/ 218902 w 384772"/>
                    <a:gd name="connsiteY197" fmla="*/ 259887 h 570179"/>
                    <a:gd name="connsiteX198" fmla="*/ 223213 w 384772"/>
                    <a:gd name="connsiteY198" fmla="*/ 260514 h 570179"/>
                    <a:gd name="connsiteX199" fmla="*/ 225446 w 384772"/>
                    <a:gd name="connsiteY199" fmla="*/ 262870 h 570179"/>
                    <a:gd name="connsiteX200" fmla="*/ 226587 w 384772"/>
                    <a:gd name="connsiteY200" fmla="*/ 264736 h 570179"/>
                    <a:gd name="connsiteX201" fmla="*/ 230050 w 384772"/>
                    <a:gd name="connsiteY201" fmla="*/ 265380 h 570179"/>
                    <a:gd name="connsiteX202" fmla="*/ 231615 w 384772"/>
                    <a:gd name="connsiteY202" fmla="*/ 265029 h 570179"/>
                    <a:gd name="connsiteX203" fmla="*/ 233522 w 384772"/>
                    <a:gd name="connsiteY203" fmla="*/ 264271 h 570179"/>
                    <a:gd name="connsiteX204" fmla="*/ 234818 w 384772"/>
                    <a:gd name="connsiteY204" fmla="*/ 265526 h 570179"/>
                    <a:gd name="connsiteX205" fmla="*/ 235788 w 384772"/>
                    <a:gd name="connsiteY205" fmla="*/ 267213 h 570179"/>
                    <a:gd name="connsiteX206" fmla="*/ 237679 w 384772"/>
                    <a:gd name="connsiteY206" fmla="*/ 271794 h 570179"/>
                    <a:gd name="connsiteX207" fmla="*/ 241558 w 384772"/>
                    <a:gd name="connsiteY207" fmla="*/ 276341 h 570179"/>
                    <a:gd name="connsiteX208" fmla="*/ 244304 w 384772"/>
                    <a:gd name="connsiteY208" fmla="*/ 277107 h 570179"/>
                    <a:gd name="connsiteX209" fmla="*/ 245853 w 384772"/>
                    <a:gd name="connsiteY209" fmla="*/ 279405 h 570179"/>
                    <a:gd name="connsiteX210" fmla="*/ 248053 w 384772"/>
                    <a:gd name="connsiteY210" fmla="*/ 280033 h 570179"/>
                    <a:gd name="connsiteX211" fmla="*/ 249952 w 384772"/>
                    <a:gd name="connsiteY211" fmla="*/ 280302 h 570179"/>
                    <a:gd name="connsiteX212" fmla="*/ 252650 w 384772"/>
                    <a:gd name="connsiteY212" fmla="*/ 282079 h 570179"/>
                    <a:gd name="connsiteX213" fmla="*/ 257042 w 384772"/>
                    <a:gd name="connsiteY213" fmla="*/ 286145 h 570179"/>
                    <a:gd name="connsiteX214" fmla="*/ 261003 w 384772"/>
                    <a:gd name="connsiteY214" fmla="*/ 286797 h 570179"/>
                    <a:gd name="connsiteX215" fmla="*/ 262845 w 384772"/>
                    <a:gd name="connsiteY215" fmla="*/ 287930 h 570179"/>
                    <a:gd name="connsiteX216" fmla="*/ 266773 w 384772"/>
                    <a:gd name="connsiteY216" fmla="*/ 292380 h 570179"/>
                    <a:gd name="connsiteX217" fmla="*/ 268305 w 384772"/>
                    <a:gd name="connsiteY217" fmla="*/ 294760 h 570179"/>
                    <a:gd name="connsiteX218" fmla="*/ 269870 w 384772"/>
                    <a:gd name="connsiteY218" fmla="*/ 298296 h 570179"/>
                    <a:gd name="connsiteX219" fmla="*/ 267906 w 384772"/>
                    <a:gd name="connsiteY219" fmla="*/ 298639 h 570179"/>
                    <a:gd name="connsiteX220" fmla="*/ 266032 w 384772"/>
                    <a:gd name="connsiteY220" fmla="*/ 297889 h 570179"/>
                    <a:gd name="connsiteX221" fmla="*/ 264882 w 384772"/>
                    <a:gd name="connsiteY221" fmla="*/ 301361 h 570179"/>
                    <a:gd name="connsiteX222" fmla="*/ 267507 w 384772"/>
                    <a:gd name="connsiteY222" fmla="*/ 306177 h 570179"/>
                    <a:gd name="connsiteX223" fmla="*/ 270563 w 384772"/>
                    <a:gd name="connsiteY223" fmla="*/ 309567 h 570179"/>
                    <a:gd name="connsiteX224" fmla="*/ 274238 w 384772"/>
                    <a:gd name="connsiteY224" fmla="*/ 313153 h 570179"/>
                    <a:gd name="connsiteX225" fmla="*/ 277808 w 384772"/>
                    <a:gd name="connsiteY225" fmla="*/ 318223 h 570179"/>
                    <a:gd name="connsiteX226" fmla="*/ 278720 w 384772"/>
                    <a:gd name="connsiteY226" fmla="*/ 322110 h 570179"/>
                    <a:gd name="connsiteX227" fmla="*/ 279674 w 384772"/>
                    <a:gd name="connsiteY227" fmla="*/ 323642 h 570179"/>
                    <a:gd name="connsiteX228" fmla="*/ 280897 w 384772"/>
                    <a:gd name="connsiteY228" fmla="*/ 329127 h 570179"/>
                    <a:gd name="connsiteX229" fmla="*/ 283985 w 384772"/>
                    <a:gd name="connsiteY229" fmla="*/ 332313 h 570179"/>
                    <a:gd name="connsiteX230" fmla="*/ 284132 w 384772"/>
                    <a:gd name="connsiteY230" fmla="*/ 338108 h 570179"/>
                    <a:gd name="connsiteX231" fmla="*/ 285713 w 384772"/>
                    <a:gd name="connsiteY231" fmla="*/ 346119 h 570179"/>
                    <a:gd name="connsiteX232" fmla="*/ 287506 w 384772"/>
                    <a:gd name="connsiteY232" fmla="*/ 353405 h 570179"/>
                    <a:gd name="connsiteX233" fmla="*/ 288729 w 384772"/>
                    <a:gd name="connsiteY233" fmla="*/ 355597 h 570179"/>
                    <a:gd name="connsiteX234" fmla="*/ 290179 w 384772"/>
                    <a:gd name="connsiteY234" fmla="*/ 359094 h 570179"/>
                    <a:gd name="connsiteX235" fmla="*/ 291858 w 384772"/>
                    <a:gd name="connsiteY235" fmla="*/ 358645 h 570179"/>
                    <a:gd name="connsiteX236" fmla="*/ 293121 w 384772"/>
                    <a:gd name="connsiteY236" fmla="*/ 357513 h 570179"/>
                    <a:gd name="connsiteX237" fmla="*/ 295550 w 384772"/>
                    <a:gd name="connsiteY237" fmla="*/ 360984 h 570179"/>
                    <a:gd name="connsiteX238" fmla="*/ 296895 w 384772"/>
                    <a:gd name="connsiteY238" fmla="*/ 362516 h 570179"/>
                    <a:gd name="connsiteX239" fmla="*/ 297661 w 384772"/>
                    <a:gd name="connsiteY239" fmla="*/ 361620 h 570179"/>
                    <a:gd name="connsiteX240" fmla="*/ 296088 w 384772"/>
                    <a:gd name="connsiteY240" fmla="*/ 354986 h 570179"/>
                    <a:gd name="connsiteX241" fmla="*/ 297066 w 384772"/>
                    <a:gd name="connsiteY241" fmla="*/ 351131 h 570179"/>
                    <a:gd name="connsiteX242" fmla="*/ 298035 w 384772"/>
                    <a:gd name="connsiteY242" fmla="*/ 350626 h 570179"/>
                    <a:gd name="connsiteX243" fmla="*/ 299413 w 384772"/>
                    <a:gd name="connsiteY243" fmla="*/ 350495 h 570179"/>
                    <a:gd name="connsiteX244" fmla="*/ 301067 w 384772"/>
                    <a:gd name="connsiteY244" fmla="*/ 353641 h 570179"/>
                    <a:gd name="connsiteX245" fmla="*/ 303349 w 384772"/>
                    <a:gd name="connsiteY245" fmla="*/ 356991 h 570179"/>
                    <a:gd name="connsiteX246" fmla="*/ 307571 w 384772"/>
                    <a:gd name="connsiteY246" fmla="*/ 359974 h 570179"/>
                    <a:gd name="connsiteX247" fmla="*/ 310945 w 384772"/>
                    <a:gd name="connsiteY247" fmla="*/ 362777 h 570179"/>
                    <a:gd name="connsiteX248" fmla="*/ 311906 w 384772"/>
                    <a:gd name="connsiteY248" fmla="*/ 362687 h 570179"/>
                    <a:gd name="connsiteX249" fmla="*/ 311523 w 384772"/>
                    <a:gd name="connsiteY249" fmla="*/ 360511 h 570179"/>
                    <a:gd name="connsiteX250" fmla="*/ 311637 w 384772"/>
                    <a:gd name="connsiteY250" fmla="*/ 357325 h 570179"/>
                    <a:gd name="connsiteX251" fmla="*/ 312974 w 384772"/>
                    <a:gd name="connsiteY251" fmla="*/ 356812 h 570179"/>
                    <a:gd name="connsiteX252" fmla="*/ 314196 w 384772"/>
                    <a:gd name="connsiteY252" fmla="*/ 358393 h 570179"/>
                    <a:gd name="connsiteX253" fmla="*/ 316462 w 384772"/>
                    <a:gd name="connsiteY253" fmla="*/ 363307 h 570179"/>
                    <a:gd name="connsiteX254" fmla="*/ 316943 w 384772"/>
                    <a:gd name="connsiteY254" fmla="*/ 373494 h 570179"/>
                    <a:gd name="connsiteX255" fmla="*/ 316951 w 384772"/>
                    <a:gd name="connsiteY255" fmla="*/ 382027 h 570179"/>
                    <a:gd name="connsiteX256" fmla="*/ 318435 w 384772"/>
                    <a:gd name="connsiteY256" fmla="*/ 390804 h 570179"/>
                    <a:gd name="connsiteX257" fmla="*/ 320627 w 384772"/>
                    <a:gd name="connsiteY257" fmla="*/ 393102 h 570179"/>
                    <a:gd name="connsiteX258" fmla="*/ 322053 w 384772"/>
                    <a:gd name="connsiteY258" fmla="*/ 395286 h 570179"/>
                    <a:gd name="connsiteX259" fmla="*/ 324514 w 384772"/>
                    <a:gd name="connsiteY259" fmla="*/ 398245 h 570179"/>
                    <a:gd name="connsiteX260" fmla="*/ 326152 w 384772"/>
                    <a:gd name="connsiteY260" fmla="*/ 401000 h 570179"/>
                    <a:gd name="connsiteX261" fmla="*/ 328198 w 384772"/>
                    <a:gd name="connsiteY261" fmla="*/ 402271 h 570179"/>
                    <a:gd name="connsiteX262" fmla="*/ 334766 w 384772"/>
                    <a:gd name="connsiteY262" fmla="*/ 408138 h 570179"/>
                    <a:gd name="connsiteX263" fmla="*/ 336616 w 384772"/>
                    <a:gd name="connsiteY263" fmla="*/ 408807 h 570179"/>
                    <a:gd name="connsiteX264" fmla="*/ 339477 w 384772"/>
                    <a:gd name="connsiteY264" fmla="*/ 408954 h 570179"/>
                    <a:gd name="connsiteX265" fmla="*/ 342973 w 384772"/>
                    <a:gd name="connsiteY265" fmla="*/ 411594 h 570179"/>
                    <a:gd name="connsiteX266" fmla="*/ 344742 w 384772"/>
                    <a:gd name="connsiteY266" fmla="*/ 414047 h 570179"/>
                    <a:gd name="connsiteX267" fmla="*/ 348531 w 384772"/>
                    <a:gd name="connsiteY267" fmla="*/ 423248 h 570179"/>
                    <a:gd name="connsiteX268" fmla="*/ 350373 w 384772"/>
                    <a:gd name="connsiteY268" fmla="*/ 426467 h 570179"/>
                    <a:gd name="connsiteX269" fmla="*/ 354163 w 384772"/>
                    <a:gd name="connsiteY269" fmla="*/ 429662 h 570179"/>
                    <a:gd name="connsiteX270" fmla="*/ 355915 w 384772"/>
                    <a:gd name="connsiteY270" fmla="*/ 430713 h 570179"/>
                    <a:gd name="connsiteX271" fmla="*/ 358474 w 384772"/>
                    <a:gd name="connsiteY271" fmla="*/ 432914 h 570179"/>
                    <a:gd name="connsiteX272" fmla="*/ 359387 w 384772"/>
                    <a:gd name="connsiteY272" fmla="*/ 436108 h 570179"/>
                    <a:gd name="connsiteX273" fmla="*/ 359607 w 384772"/>
                    <a:gd name="connsiteY273" fmla="*/ 437983 h 570179"/>
                    <a:gd name="connsiteX274" fmla="*/ 361131 w 384772"/>
                    <a:gd name="connsiteY274" fmla="*/ 441381 h 570179"/>
                    <a:gd name="connsiteX275" fmla="*/ 363372 w 384772"/>
                    <a:gd name="connsiteY275" fmla="*/ 445464 h 570179"/>
                    <a:gd name="connsiteX276" fmla="*/ 366722 w 384772"/>
                    <a:gd name="connsiteY276" fmla="*/ 447730 h 570179"/>
                    <a:gd name="connsiteX277" fmla="*/ 369802 w 384772"/>
                    <a:gd name="connsiteY277" fmla="*/ 452693 h 570179"/>
                    <a:gd name="connsiteX278" fmla="*/ 369981 w 384772"/>
                    <a:gd name="connsiteY278" fmla="*/ 460770 h 570179"/>
                    <a:gd name="connsiteX279" fmla="*/ 371570 w 384772"/>
                    <a:gd name="connsiteY279" fmla="*/ 464779 h 570179"/>
                    <a:gd name="connsiteX280" fmla="*/ 372646 w 384772"/>
                    <a:gd name="connsiteY280" fmla="*/ 466491 h 570179"/>
                    <a:gd name="connsiteX281" fmla="*/ 375059 w 384772"/>
                    <a:gd name="connsiteY281" fmla="*/ 468137 h 570179"/>
                    <a:gd name="connsiteX282" fmla="*/ 376037 w 384772"/>
                    <a:gd name="connsiteY282" fmla="*/ 469441 h 570179"/>
                    <a:gd name="connsiteX283" fmla="*/ 374032 w 384772"/>
                    <a:gd name="connsiteY283" fmla="*/ 480166 h 570179"/>
                    <a:gd name="connsiteX284" fmla="*/ 375963 w 384772"/>
                    <a:gd name="connsiteY284" fmla="*/ 501624 h 570179"/>
                    <a:gd name="connsiteX285" fmla="*/ 374838 w 384772"/>
                    <a:gd name="connsiteY285" fmla="*/ 508331 h 570179"/>
                    <a:gd name="connsiteX286" fmla="*/ 376852 w 384772"/>
                    <a:gd name="connsiteY286" fmla="*/ 514982 h 570179"/>
                    <a:gd name="connsiteX287" fmla="*/ 381505 w 384772"/>
                    <a:gd name="connsiteY287" fmla="*/ 526546 h 570179"/>
                    <a:gd name="connsiteX288" fmla="*/ 382614 w 384772"/>
                    <a:gd name="connsiteY288" fmla="*/ 530613 h 570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Lst>
                  <a:rect l="l" t="t" r="r" b="b"/>
                  <a:pathLst>
                    <a:path w="384772" h="570179">
                      <a:moveTo>
                        <a:pt x="382614" y="530613"/>
                      </a:moveTo>
                      <a:lnTo>
                        <a:pt x="383265" y="535405"/>
                      </a:lnTo>
                      <a:lnTo>
                        <a:pt x="384773" y="538461"/>
                      </a:lnTo>
                      <a:lnTo>
                        <a:pt x="381448" y="541354"/>
                      </a:lnTo>
                      <a:lnTo>
                        <a:pt x="376794" y="542071"/>
                      </a:lnTo>
                      <a:lnTo>
                        <a:pt x="374920" y="545054"/>
                      </a:lnTo>
                      <a:lnTo>
                        <a:pt x="368172" y="544207"/>
                      </a:lnTo>
                      <a:lnTo>
                        <a:pt x="365850" y="545201"/>
                      </a:lnTo>
                      <a:lnTo>
                        <a:pt x="362296" y="543212"/>
                      </a:lnTo>
                      <a:lnTo>
                        <a:pt x="361327" y="544141"/>
                      </a:lnTo>
                      <a:lnTo>
                        <a:pt x="359427" y="542218"/>
                      </a:lnTo>
                      <a:lnTo>
                        <a:pt x="357431" y="544777"/>
                      </a:lnTo>
                      <a:lnTo>
                        <a:pt x="354440" y="546203"/>
                      </a:lnTo>
                      <a:lnTo>
                        <a:pt x="352565" y="547752"/>
                      </a:lnTo>
                      <a:lnTo>
                        <a:pt x="351237" y="547752"/>
                      </a:lnTo>
                      <a:lnTo>
                        <a:pt x="346364" y="550881"/>
                      </a:lnTo>
                      <a:lnTo>
                        <a:pt x="347366" y="554165"/>
                      </a:lnTo>
                      <a:lnTo>
                        <a:pt x="348906" y="556301"/>
                      </a:lnTo>
                      <a:lnTo>
                        <a:pt x="347798" y="561712"/>
                      </a:lnTo>
                      <a:lnTo>
                        <a:pt x="345589" y="563269"/>
                      </a:lnTo>
                      <a:lnTo>
                        <a:pt x="343593" y="563130"/>
                      </a:lnTo>
                      <a:lnTo>
                        <a:pt x="342819" y="564842"/>
                      </a:lnTo>
                      <a:lnTo>
                        <a:pt x="341270" y="563994"/>
                      </a:lnTo>
                      <a:lnTo>
                        <a:pt x="340496" y="562128"/>
                      </a:lnTo>
                      <a:lnTo>
                        <a:pt x="336127" y="564304"/>
                      </a:lnTo>
                      <a:lnTo>
                        <a:pt x="335500" y="566846"/>
                      </a:lnTo>
                      <a:lnTo>
                        <a:pt x="334237" y="568517"/>
                      </a:lnTo>
                      <a:lnTo>
                        <a:pt x="332142" y="570180"/>
                      </a:lnTo>
                      <a:lnTo>
                        <a:pt x="330691" y="569055"/>
                      </a:lnTo>
                      <a:lnTo>
                        <a:pt x="329909" y="565143"/>
                      </a:lnTo>
                      <a:lnTo>
                        <a:pt x="328116" y="562462"/>
                      </a:lnTo>
                      <a:lnTo>
                        <a:pt x="325313" y="560971"/>
                      </a:lnTo>
                      <a:lnTo>
                        <a:pt x="323813" y="559487"/>
                      </a:lnTo>
                      <a:lnTo>
                        <a:pt x="323618" y="557996"/>
                      </a:lnTo>
                      <a:lnTo>
                        <a:pt x="321955" y="556464"/>
                      </a:lnTo>
                      <a:lnTo>
                        <a:pt x="318825" y="554883"/>
                      </a:lnTo>
                      <a:lnTo>
                        <a:pt x="315256" y="554206"/>
                      </a:lnTo>
                      <a:lnTo>
                        <a:pt x="309233" y="554573"/>
                      </a:lnTo>
                      <a:lnTo>
                        <a:pt x="306039" y="551810"/>
                      </a:lnTo>
                      <a:lnTo>
                        <a:pt x="301295" y="551631"/>
                      </a:lnTo>
                      <a:lnTo>
                        <a:pt x="293936" y="553106"/>
                      </a:lnTo>
                      <a:lnTo>
                        <a:pt x="289576" y="553351"/>
                      </a:lnTo>
                      <a:lnTo>
                        <a:pt x="287571" y="551876"/>
                      </a:lnTo>
                      <a:lnTo>
                        <a:pt x="285477" y="552299"/>
                      </a:lnTo>
                      <a:lnTo>
                        <a:pt x="284377" y="553220"/>
                      </a:lnTo>
                      <a:lnTo>
                        <a:pt x="283529" y="554760"/>
                      </a:lnTo>
                      <a:lnTo>
                        <a:pt x="281101" y="556871"/>
                      </a:lnTo>
                      <a:lnTo>
                        <a:pt x="277099" y="559552"/>
                      </a:lnTo>
                      <a:lnTo>
                        <a:pt x="274809" y="561728"/>
                      </a:lnTo>
                      <a:lnTo>
                        <a:pt x="274222" y="563407"/>
                      </a:lnTo>
                      <a:lnTo>
                        <a:pt x="272625" y="565274"/>
                      </a:lnTo>
                      <a:lnTo>
                        <a:pt x="272152" y="565673"/>
                      </a:lnTo>
                      <a:lnTo>
                        <a:pt x="74415" y="565689"/>
                      </a:lnTo>
                      <a:lnTo>
                        <a:pt x="74415" y="470484"/>
                      </a:lnTo>
                      <a:lnTo>
                        <a:pt x="8" y="470484"/>
                      </a:lnTo>
                      <a:lnTo>
                        <a:pt x="0" y="177631"/>
                      </a:lnTo>
                      <a:lnTo>
                        <a:pt x="16" y="177607"/>
                      </a:lnTo>
                      <a:lnTo>
                        <a:pt x="1735" y="179473"/>
                      </a:lnTo>
                      <a:lnTo>
                        <a:pt x="6039" y="182587"/>
                      </a:lnTo>
                      <a:lnTo>
                        <a:pt x="12502" y="184763"/>
                      </a:lnTo>
                      <a:lnTo>
                        <a:pt x="15476" y="184404"/>
                      </a:lnTo>
                      <a:lnTo>
                        <a:pt x="20301" y="186938"/>
                      </a:lnTo>
                      <a:lnTo>
                        <a:pt x="25003" y="188120"/>
                      </a:lnTo>
                      <a:lnTo>
                        <a:pt x="27497" y="191649"/>
                      </a:lnTo>
                      <a:lnTo>
                        <a:pt x="28344" y="194314"/>
                      </a:lnTo>
                      <a:lnTo>
                        <a:pt x="28581" y="196343"/>
                      </a:lnTo>
                      <a:lnTo>
                        <a:pt x="30920" y="201274"/>
                      </a:lnTo>
                      <a:lnTo>
                        <a:pt x="35687" y="202855"/>
                      </a:lnTo>
                      <a:lnTo>
                        <a:pt x="41857" y="207777"/>
                      </a:lnTo>
                      <a:lnTo>
                        <a:pt x="46934" y="209945"/>
                      </a:lnTo>
                      <a:lnTo>
                        <a:pt x="48213" y="211233"/>
                      </a:lnTo>
                      <a:lnTo>
                        <a:pt x="50438" y="212741"/>
                      </a:lnTo>
                      <a:lnTo>
                        <a:pt x="54742" y="212798"/>
                      </a:lnTo>
                      <a:lnTo>
                        <a:pt x="62223" y="210345"/>
                      </a:lnTo>
                      <a:lnTo>
                        <a:pt x="65622" y="207867"/>
                      </a:lnTo>
                      <a:lnTo>
                        <a:pt x="70145" y="203914"/>
                      </a:lnTo>
                      <a:lnTo>
                        <a:pt x="72264" y="197109"/>
                      </a:lnTo>
                      <a:lnTo>
                        <a:pt x="73510" y="191665"/>
                      </a:lnTo>
                      <a:lnTo>
                        <a:pt x="79794" y="180394"/>
                      </a:lnTo>
                      <a:lnTo>
                        <a:pt x="81578" y="174804"/>
                      </a:lnTo>
                      <a:lnTo>
                        <a:pt x="83168" y="167396"/>
                      </a:lnTo>
                      <a:lnTo>
                        <a:pt x="84561" y="162766"/>
                      </a:lnTo>
                      <a:lnTo>
                        <a:pt x="84105" y="157730"/>
                      </a:lnTo>
                      <a:lnTo>
                        <a:pt x="85556" y="148602"/>
                      </a:lnTo>
                      <a:lnTo>
                        <a:pt x="88775" y="136109"/>
                      </a:lnTo>
                      <a:lnTo>
                        <a:pt x="89875" y="131879"/>
                      </a:lnTo>
                      <a:lnTo>
                        <a:pt x="89329" y="125669"/>
                      </a:lnTo>
                      <a:lnTo>
                        <a:pt x="87324" y="114015"/>
                      </a:lnTo>
                      <a:lnTo>
                        <a:pt x="88220" y="109989"/>
                      </a:lnTo>
                      <a:lnTo>
                        <a:pt x="89092" y="104374"/>
                      </a:lnTo>
                      <a:lnTo>
                        <a:pt x="87626" y="100291"/>
                      </a:lnTo>
                      <a:lnTo>
                        <a:pt x="86273" y="97495"/>
                      </a:lnTo>
                      <a:lnTo>
                        <a:pt x="86069" y="93575"/>
                      </a:lnTo>
                      <a:lnTo>
                        <a:pt x="87601" y="86175"/>
                      </a:lnTo>
                      <a:lnTo>
                        <a:pt x="88946" y="82272"/>
                      </a:lnTo>
                      <a:lnTo>
                        <a:pt x="90356" y="77243"/>
                      </a:lnTo>
                      <a:lnTo>
                        <a:pt x="89573" y="67659"/>
                      </a:lnTo>
                      <a:lnTo>
                        <a:pt x="92556" y="64326"/>
                      </a:lnTo>
                      <a:lnTo>
                        <a:pt x="93746" y="62671"/>
                      </a:lnTo>
                      <a:lnTo>
                        <a:pt x="96061" y="62647"/>
                      </a:lnTo>
                      <a:lnTo>
                        <a:pt x="97177" y="63413"/>
                      </a:lnTo>
                      <a:lnTo>
                        <a:pt x="97405" y="61498"/>
                      </a:lnTo>
                      <a:lnTo>
                        <a:pt x="96493" y="59721"/>
                      </a:lnTo>
                      <a:lnTo>
                        <a:pt x="96134" y="57659"/>
                      </a:lnTo>
                      <a:lnTo>
                        <a:pt x="95490" y="56608"/>
                      </a:lnTo>
                      <a:lnTo>
                        <a:pt x="94056" y="56241"/>
                      </a:lnTo>
                      <a:lnTo>
                        <a:pt x="92866" y="55108"/>
                      </a:lnTo>
                      <a:lnTo>
                        <a:pt x="91155" y="53959"/>
                      </a:lnTo>
                      <a:lnTo>
                        <a:pt x="91423" y="49705"/>
                      </a:lnTo>
                      <a:lnTo>
                        <a:pt x="94325" y="41499"/>
                      </a:lnTo>
                      <a:lnTo>
                        <a:pt x="95930" y="38336"/>
                      </a:lnTo>
                      <a:lnTo>
                        <a:pt x="96982" y="39657"/>
                      </a:lnTo>
                      <a:lnTo>
                        <a:pt x="98171" y="40716"/>
                      </a:lnTo>
                      <a:lnTo>
                        <a:pt x="98342" y="38353"/>
                      </a:lnTo>
                      <a:lnTo>
                        <a:pt x="97935" y="35932"/>
                      </a:lnTo>
                      <a:lnTo>
                        <a:pt x="100144" y="27929"/>
                      </a:lnTo>
                      <a:lnTo>
                        <a:pt x="102588" y="17098"/>
                      </a:lnTo>
                      <a:lnTo>
                        <a:pt x="103306" y="7229"/>
                      </a:lnTo>
                      <a:lnTo>
                        <a:pt x="107234" y="5346"/>
                      </a:lnTo>
                      <a:lnTo>
                        <a:pt x="109230" y="2869"/>
                      </a:lnTo>
                      <a:lnTo>
                        <a:pt x="110453" y="0"/>
                      </a:lnTo>
                      <a:lnTo>
                        <a:pt x="112645" y="0"/>
                      </a:lnTo>
                      <a:lnTo>
                        <a:pt x="114137" y="1222"/>
                      </a:lnTo>
                      <a:lnTo>
                        <a:pt x="113159" y="3382"/>
                      </a:lnTo>
                      <a:lnTo>
                        <a:pt x="112849" y="5037"/>
                      </a:lnTo>
                      <a:lnTo>
                        <a:pt x="117079" y="9152"/>
                      </a:lnTo>
                      <a:lnTo>
                        <a:pt x="118481" y="12314"/>
                      </a:lnTo>
                      <a:lnTo>
                        <a:pt x="119059" y="15305"/>
                      </a:lnTo>
                      <a:lnTo>
                        <a:pt x="119891" y="18117"/>
                      </a:lnTo>
                      <a:lnTo>
                        <a:pt x="120298" y="21906"/>
                      </a:lnTo>
                      <a:lnTo>
                        <a:pt x="120241" y="27954"/>
                      </a:lnTo>
                      <a:lnTo>
                        <a:pt x="120779" y="33667"/>
                      </a:lnTo>
                      <a:lnTo>
                        <a:pt x="122311" y="35468"/>
                      </a:lnTo>
                      <a:lnTo>
                        <a:pt x="123656" y="36625"/>
                      </a:lnTo>
                      <a:lnTo>
                        <a:pt x="125595" y="36796"/>
                      </a:lnTo>
                      <a:lnTo>
                        <a:pt x="128391" y="37717"/>
                      </a:lnTo>
                      <a:lnTo>
                        <a:pt x="127739" y="41376"/>
                      </a:lnTo>
                      <a:lnTo>
                        <a:pt x="126549" y="44220"/>
                      </a:lnTo>
                      <a:lnTo>
                        <a:pt x="126410" y="45924"/>
                      </a:lnTo>
                      <a:lnTo>
                        <a:pt x="126687" y="48279"/>
                      </a:lnTo>
                      <a:lnTo>
                        <a:pt x="128676" y="50031"/>
                      </a:lnTo>
                      <a:lnTo>
                        <a:pt x="130249" y="51123"/>
                      </a:lnTo>
                      <a:lnTo>
                        <a:pt x="131129" y="54204"/>
                      </a:lnTo>
                      <a:lnTo>
                        <a:pt x="133900" y="58458"/>
                      </a:lnTo>
                      <a:lnTo>
                        <a:pt x="133794" y="61384"/>
                      </a:lnTo>
                      <a:lnTo>
                        <a:pt x="135293" y="65002"/>
                      </a:lnTo>
                      <a:lnTo>
                        <a:pt x="136646" y="72247"/>
                      </a:lnTo>
                      <a:lnTo>
                        <a:pt x="137078" y="78596"/>
                      </a:lnTo>
                      <a:lnTo>
                        <a:pt x="138496" y="82842"/>
                      </a:lnTo>
                      <a:lnTo>
                        <a:pt x="137551" y="91872"/>
                      </a:lnTo>
                      <a:lnTo>
                        <a:pt x="138561" y="95564"/>
                      </a:lnTo>
                      <a:lnTo>
                        <a:pt x="139898" y="98644"/>
                      </a:lnTo>
                      <a:lnTo>
                        <a:pt x="141487" y="104740"/>
                      </a:lnTo>
                      <a:lnTo>
                        <a:pt x="142693" y="110347"/>
                      </a:lnTo>
                      <a:lnTo>
                        <a:pt x="144323" y="111928"/>
                      </a:lnTo>
                      <a:lnTo>
                        <a:pt x="147795" y="113803"/>
                      </a:lnTo>
                      <a:lnTo>
                        <a:pt x="151365" y="111725"/>
                      </a:lnTo>
                      <a:lnTo>
                        <a:pt x="153948" y="108913"/>
                      </a:lnTo>
                      <a:lnTo>
                        <a:pt x="156727" y="108228"/>
                      </a:lnTo>
                      <a:lnTo>
                        <a:pt x="160476" y="106770"/>
                      </a:lnTo>
                      <a:lnTo>
                        <a:pt x="163288" y="110519"/>
                      </a:lnTo>
                      <a:lnTo>
                        <a:pt x="164820" y="114708"/>
                      </a:lnTo>
                      <a:lnTo>
                        <a:pt x="171446" y="120241"/>
                      </a:lnTo>
                      <a:lnTo>
                        <a:pt x="175146" y="123803"/>
                      </a:lnTo>
                      <a:lnTo>
                        <a:pt x="178006" y="125808"/>
                      </a:lnTo>
                      <a:lnTo>
                        <a:pt x="180687" y="128432"/>
                      </a:lnTo>
                      <a:lnTo>
                        <a:pt x="180410" y="131048"/>
                      </a:lnTo>
                      <a:lnTo>
                        <a:pt x="179791" y="133126"/>
                      </a:lnTo>
                      <a:lnTo>
                        <a:pt x="180394" y="136369"/>
                      </a:lnTo>
                      <a:lnTo>
                        <a:pt x="180818" y="140127"/>
                      </a:lnTo>
                      <a:lnTo>
                        <a:pt x="180288" y="144690"/>
                      </a:lnTo>
                      <a:lnTo>
                        <a:pt x="182219" y="151536"/>
                      </a:lnTo>
                      <a:lnTo>
                        <a:pt x="182864" y="157021"/>
                      </a:lnTo>
                      <a:lnTo>
                        <a:pt x="184909" y="162375"/>
                      </a:lnTo>
                      <a:lnTo>
                        <a:pt x="184754" y="167893"/>
                      </a:lnTo>
                      <a:lnTo>
                        <a:pt x="184363" y="169963"/>
                      </a:lnTo>
                      <a:lnTo>
                        <a:pt x="184119" y="173059"/>
                      </a:lnTo>
                      <a:lnTo>
                        <a:pt x="185699" y="176914"/>
                      </a:lnTo>
                      <a:lnTo>
                        <a:pt x="187175" y="179750"/>
                      </a:lnTo>
                      <a:lnTo>
                        <a:pt x="189375" y="182856"/>
                      </a:lnTo>
                      <a:lnTo>
                        <a:pt x="192268" y="187542"/>
                      </a:lnTo>
                      <a:lnTo>
                        <a:pt x="194330" y="188487"/>
                      </a:lnTo>
                      <a:lnTo>
                        <a:pt x="196172" y="188544"/>
                      </a:lnTo>
                      <a:lnTo>
                        <a:pt x="195919" y="193369"/>
                      </a:lnTo>
                      <a:lnTo>
                        <a:pt x="199578" y="202896"/>
                      </a:lnTo>
                      <a:lnTo>
                        <a:pt x="201469" y="210687"/>
                      </a:lnTo>
                      <a:lnTo>
                        <a:pt x="200190" y="221184"/>
                      </a:lnTo>
                      <a:lnTo>
                        <a:pt x="198910" y="227272"/>
                      </a:lnTo>
                      <a:lnTo>
                        <a:pt x="199147" y="230246"/>
                      </a:lnTo>
                      <a:lnTo>
                        <a:pt x="203882" y="237548"/>
                      </a:lnTo>
                      <a:lnTo>
                        <a:pt x="206620" y="238885"/>
                      </a:lnTo>
                      <a:lnTo>
                        <a:pt x="206074" y="242357"/>
                      </a:lnTo>
                      <a:lnTo>
                        <a:pt x="205707" y="247736"/>
                      </a:lnTo>
                      <a:lnTo>
                        <a:pt x="207859" y="251908"/>
                      </a:lnTo>
                      <a:lnTo>
                        <a:pt x="210295" y="255038"/>
                      </a:lnTo>
                      <a:lnTo>
                        <a:pt x="212920" y="256904"/>
                      </a:lnTo>
                      <a:lnTo>
                        <a:pt x="215511" y="258395"/>
                      </a:lnTo>
                      <a:lnTo>
                        <a:pt x="218902" y="259887"/>
                      </a:lnTo>
                      <a:lnTo>
                        <a:pt x="223213" y="260514"/>
                      </a:lnTo>
                      <a:lnTo>
                        <a:pt x="225446" y="262870"/>
                      </a:lnTo>
                      <a:lnTo>
                        <a:pt x="226587" y="264736"/>
                      </a:lnTo>
                      <a:lnTo>
                        <a:pt x="230050" y="265380"/>
                      </a:lnTo>
                      <a:lnTo>
                        <a:pt x="231615" y="265029"/>
                      </a:lnTo>
                      <a:lnTo>
                        <a:pt x="233522" y="264271"/>
                      </a:lnTo>
                      <a:lnTo>
                        <a:pt x="234818" y="265526"/>
                      </a:lnTo>
                      <a:lnTo>
                        <a:pt x="235788" y="267213"/>
                      </a:lnTo>
                      <a:lnTo>
                        <a:pt x="237679" y="271794"/>
                      </a:lnTo>
                      <a:lnTo>
                        <a:pt x="241558" y="276341"/>
                      </a:lnTo>
                      <a:lnTo>
                        <a:pt x="244304" y="277107"/>
                      </a:lnTo>
                      <a:lnTo>
                        <a:pt x="245853" y="279405"/>
                      </a:lnTo>
                      <a:lnTo>
                        <a:pt x="248053" y="280033"/>
                      </a:lnTo>
                      <a:lnTo>
                        <a:pt x="249952" y="280302"/>
                      </a:lnTo>
                      <a:lnTo>
                        <a:pt x="252650" y="282079"/>
                      </a:lnTo>
                      <a:lnTo>
                        <a:pt x="257042" y="286145"/>
                      </a:lnTo>
                      <a:lnTo>
                        <a:pt x="261003" y="286797"/>
                      </a:lnTo>
                      <a:lnTo>
                        <a:pt x="262845" y="287930"/>
                      </a:lnTo>
                      <a:lnTo>
                        <a:pt x="266773" y="292380"/>
                      </a:lnTo>
                      <a:lnTo>
                        <a:pt x="268305" y="294760"/>
                      </a:lnTo>
                      <a:lnTo>
                        <a:pt x="269870" y="298296"/>
                      </a:lnTo>
                      <a:lnTo>
                        <a:pt x="267906" y="298639"/>
                      </a:lnTo>
                      <a:lnTo>
                        <a:pt x="266032" y="297889"/>
                      </a:lnTo>
                      <a:lnTo>
                        <a:pt x="264882" y="301361"/>
                      </a:lnTo>
                      <a:lnTo>
                        <a:pt x="267507" y="306177"/>
                      </a:lnTo>
                      <a:lnTo>
                        <a:pt x="270563" y="309567"/>
                      </a:lnTo>
                      <a:lnTo>
                        <a:pt x="274238" y="313153"/>
                      </a:lnTo>
                      <a:lnTo>
                        <a:pt x="277808" y="318223"/>
                      </a:lnTo>
                      <a:lnTo>
                        <a:pt x="278720" y="322110"/>
                      </a:lnTo>
                      <a:lnTo>
                        <a:pt x="279674" y="323642"/>
                      </a:lnTo>
                      <a:lnTo>
                        <a:pt x="280897" y="329127"/>
                      </a:lnTo>
                      <a:lnTo>
                        <a:pt x="283985" y="332313"/>
                      </a:lnTo>
                      <a:lnTo>
                        <a:pt x="284132" y="338108"/>
                      </a:lnTo>
                      <a:lnTo>
                        <a:pt x="285713" y="346119"/>
                      </a:lnTo>
                      <a:lnTo>
                        <a:pt x="287506" y="353405"/>
                      </a:lnTo>
                      <a:lnTo>
                        <a:pt x="288729" y="355597"/>
                      </a:lnTo>
                      <a:lnTo>
                        <a:pt x="290179" y="359094"/>
                      </a:lnTo>
                      <a:lnTo>
                        <a:pt x="291858" y="358645"/>
                      </a:lnTo>
                      <a:lnTo>
                        <a:pt x="293121" y="357513"/>
                      </a:lnTo>
                      <a:lnTo>
                        <a:pt x="295550" y="360984"/>
                      </a:lnTo>
                      <a:lnTo>
                        <a:pt x="296895" y="362516"/>
                      </a:lnTo>
                      <a:lnTo>
                        <a:pt x="297661" y="361620"/>
                      </a:lnTo>
                      <a:lnTo>
                        <a:pt x="296088" y="354986"/>
                      </a:lnTo>
                      <a:lnTo>
                        <a:pt x="297066" y="351131"/>
                      </a:lnTo>
                      <a:lnTo>
                        <a:pt x="298035" y="350626"/>
                      </a:lnTo>
                      <a:lnTo>
                        <a:pt x="299413" y="350495"/>
                      </a:lnTo>
                      <a:lnTo>
                        <a:pt x="301067" y="353641"/>
                      </a:lnTo>
                      <a:lnTo>
                        <a:pt x="303349" y="356991"/>
                      </a:lnTo>
                      <a:lnTo>
                        <a:pt x="307571" y="359974"/>
                      </a:lnTo>
                      <a:lnTo>
                        <a:pt x="310945" y="362777"/>
                      </a:lnTo>
                      <a:lnTo>
                        <a:pt x="311906" y="362687"/>
                      </a:lnTo>
                      <a:lnTo>
                        <a:pt x="311523" y="360511"/>
                      </a:lnTo>
                      <a:lnTo>
                        <a:pt x="311637" y="357325"/>
                      </a:lnTo>
                      <a:lnTo>
                        <a:pt x="312974" y="356812"/>
                      </a:lnTo>
                      <a:lnTo>
                        <a:pt x="314196" y="358393"/>
                      </a:lnTo>
                      <a:lnTo>
                        <a:pt x="316462" y="363307"/>
                      </a:lnTo>
                      <a:lnTo>
                        <a:pt x="316943" y="373494"/>
                      </a:lnTo>
                      <a:lnTo>
                        <a:pt x="316951" y="382027"/>
                      </a:lnTo>
                      <a:lnTo>
                        <a:pt x="318435" y="390804"/>
                      </a:lnTo>
                      <a:lnTo>
                        <a:pt x="320627" y="393102"/>
                      </a:lnTo>
                      <a:lnTo>
                        <a:pt x="322053" y="395286"/>
                      </a:lnTo>
                      <a:lnTo>
                        <a:pt x="324514" y="398245"/>
                      </a:lnTo>
                      <a:lnTo>
                        <a:pt x="326152" y="401000"/>
                      </a:lnTo>
                      <a:lnTo>
                        <a:pt x="328198" y="402271"/>
                      </a:lnTo>
                      <a:lnTo>
                        <a:pt x="334766" y="408138"/>
                      </a:lnTo>
                      <a:lnTo>
                        <a:pt x="336616" y="408807"/>
                      </a:lnTo>
                      <a:lnTo>
                        <a:pt x="339477" y="408954"/>
                      </a:lnTo>
                      <a:lnTo>
                        <a:pt x="342973" y="411594"/>
                      </a:lnTo>
                      <a:lnTo>
                        <a:pt x="344742" y="414047"/>
                      </a:lnTo>
                      <a:lnTo>
                        <a:pt x="348531" y="423248"/>
                      </a:lnTo>
                      <a:lnTo>
                        <a:pt x="350373" y="426467"/>
                      </a:lnTo>
                      <a:lnTo>
                        <a:pt x="354163" y="429662"/>
                      </a:lnTo>
                      <a:lnTo>
                        <a:pt x="355915" y="430713"/>
                      </a:lnTo>
                      <a:lnTo>
                        <a:pt x="358474" y="432914"/>
                      </a:lnTo>
                      <a:lnTo>
                        <a:pt x="359387" y="436108"/>
                      </a:lnTo>
                      <a:lnTo>
                        <a:pt x="359607" y="437983"/>
                      </a:lnTo>
                      <a:lnTo>
                        <a:pt x="361131" y="441381"/>
                      </a:lnTo>
                      <a:lnTo>
                        <a:pt x="363372" y="445464"/>
                      </a:lnTo>
                      <a:lnTo>
                        <a:pt x="366722" y="447730"/>
                      </a:lnTo>
                      <a:lnTo>
                        <a:pt x="369802" y="452693"/>
                      </a:lnTo>
                      <a:lnTo>
                        <a:pt x="369981" y="460770"/>
                      </a:lnTo>
                      <a:lnTo>
                        <a:pt x="371570" y="464779"/>
                      </a:lnTo>
                      <a:lnTo>
                        <a:pt x="372646" y="466491"/>
                      </a:lnTo>
                      <a:lnTo>
                        <a:pt x="375059" y="468137"/>
                      </a:lnTo>
                      <a:lnTo>
                        <a:pt x="376037" y="469441"/>
                      </a:lnTo>
                      <a:lnTo>
                        <a:pt x="374032" y="480166"/>
                      </a:lnTo>
                      <a:lnTo>
                        <a:pt x="375963" y="501624"/>
                      </a:lnTo>
                      <a:lnTo>
                        <a:pt x="374838" y="508331"/>
                      </a:lnTo>
                      <a:lnTo>
                        <a:pt x="376852" y="514982"/>
                      </a:lnTo>
                      <a:lnTo>
                        <a:pt x="381505" y="526546"/>
                      </a:lnTo>
                      <a:lnTo>
                        <a:pt x="382614" y="530613"/>
                      </a:lnTo>
                      <a:close/>
                    </a:path>
                  </a:pathLst>
                </a:custGeom>
                <a:solidFill>
                  <a:srgbClr val="D6D6D2"/>
                </a:solidFill>
                <a:ln w="6112" cap="rnd">
                  <a:solidFill>
                    <a:srgbClr val="FFFFFF"/>
                  </a:solidFill>
                  <a:prstDash val="solid"/>
                  <a:round/>
                </a:ln>
              </p:spPr>
              <p:txBody>
                <a:bodyPr rtlCol="0" anchor="ctr"/>
                <a:lstStyle/>
                <a:p>
                  <a:endParaRPr lang="en-US"/>
                </a:p>
              </p:txBody>
            </p:sp>
            <p:sp>
              <p:nvSpPr>
                <p:cNvPr id="485" name="Freeform: Shape 484">
                  <a:extLst>
                    <a:ext uri="{FF2B5EF4-FFF2-40B4-BE49-F238E27FC236}">
                      <a16:creationId xmlns:a16="http://schemas.microsoft.com/office/drawing/2014/main" id="{E43ED6D4-6C32-429A-B74A-C1F49C4E68F3}"/>
                    </a:ext>
                  </a:extLst>
                </p:cNvPr>
                <p:cNvSpPr/>
                <p:nvPr/>
              </p:nvSpPr>
              <p:spPr>
                <a:xfrm>
                  <a:off x="9143160" y="5316455"/>
                  <a:ext cx="298223" cy="391741"/>
                </a:xfrm>
                <a:custGeom>
                  <a:avLst/>
                  <a:gdLst>
                    <a:gd name="connsiteX0" fmla="*/ 221404 w 298223"/>
                    <a:gd name="connsiteY0" fmla="*/ 313708 h 391741"/>
                    <a:gd name="connsiteX1" fmla="*/ 224330 w 298223"/>
                    <a:gd name="connsiteY1" fmla="*/ 314677 h 391741"/>
                    <a:gd name="connsiteX2" fmla="*/ 226237 w 298223"/>
                    <a:gd name="connsiteY2" fmla="*/ 317889 h 391741"/>
                    <a:gd name="connsiteX3" fmla="*/ 224819 w 298223"/>
                    <a:gd name="connsiteY3" fmla="*/ 319478 h 391741"/>
                    <a:gd name="connsiteX4" fmla="*/ 223466 w 298223"/>
                    <a:gd name="connsiteY4" fmla="*/ 319706 h 391741"/>
                    <a:gd name="connsiteX5" fmla="*/ 219081 w 298223"/>
                    <a:gd name="connsiteY5" fmla="*/ 318394 h 391741"/>
                    <a:gd name="connsiteX6" fmla="*/ 215006 w 298223"/>
                    <a:gd name="connsiteY6" fmla="*/ 319388 h 391741"/>
                    <a:gd name="connsiteX7" fmla="*/ 213800 w 298223"/>
                    <a:gd name="connsiteY7" fmla="*/ 320716 h 391741"/>
                    <a:gd name="connsiteX8" fmla="*/ 213010 w 298223"/>
                    <a:gd name="connsiteY8" fmla="*/ 323650 h 391741"/>
                    <a:gd name="connsiteX9" fmla="*/ 209481 w 298223"/>
                    <a:gd name="connsiteY9" fmla="*/ 325231 h 391741"/>
                    <a:gd name="connsiteX10" fmla="*/ 207851 w 298223"/>
                    <a:gd name="connsiteY10" fmla="*/ 323446 h 391741"/>
                    <a:gd name="connsiteX11" fmla="*/ 203564 w 298223"/>
                    <a:gd name="connsiteY11" fmla="*/ 322175 h 391741"/>
                    <a:gd name="connsiteX12" fmla="*/ 202032 w 298223"/>
                    <a:gd name="connsiteY12" fmla="*/ 324041 h 391741"/>
                    <a:gd name="connsiteX13" fmla="*/ 199025 w 298223"/>
                    <a:gd name="connsiteY13" fmla="*/ 323544 h 391741"/>
                    <a:gd name="connsiteX14" fmla="*/ 196213 w 298223"/>
                    <a:gd name="connsiteY14" fmla="*/ 324302 h 391741"/>
                    <a:gd name="connsiteX15" fmla="*/ 192301 w 298223"/>
                    <a:gd name="connsiteY15" fmla="*/ 323862 h 391741"/>
                    <a:gd name="connsiteX16" fmla="*/ 188178 w 298223"/>
                    <a:gd name="connsiteY16" fmla="*/ 320619 h 391741"/>
                    <a:gd name="connsiteX17" fmla="*/ 186980 w 298223"/>
                    <a:gd name="connsiteY17" fmla="*/ 319119 h 391741"/>
                    <a:gd name="connsiteX18" fmla="*/ 187941 w 298223"/>
                    <a:gd name="connsiteY18" fmla="*/ 316430 h 391741"/>
                    <a:gd name="connsiteX19" fmla="*/ 189425 w 298223"/>
                    <a:gd name="connsiteY19" fmla="*/ 314441 h 391741"/>
                    <a:gd name="connsiteX20" fmla="*/ 200663 w 298223"/>
                    <a:gd name="connsiteY20" fmla="*/ 311646 h 391741"/>
                    <a:gd name="connsiteX21" fmla="*/ 206669 w 298223"/>
                    <a:gd name="connsiteY21" fmla="*/ 309282 h 391741"/>
                    <a:gd name="connsiteX22" fmla="*/ 211535 w 298223"/>
                    <a:gd name="connsiteY22" fmla="*/ 309706 h 391741"/>
                    <a:gd name="connsiteX23" fmla="*/ 212896 w 298223"/>
                    <a:gd name="connsiteY23" fmla="*/ 310203 h 391741"/>
                    <a:gd name="connsiteX24" fmla="*/ 214142 w 298223"/>
                    <a:gd name="connsiteY24" fmla="*/ 311393 h 391741"/>
                    <a:gd name="connsiteX25" fmla="*/ 213222 w 298223"/>
                    <a:gd name="connsiteY25" fmla="*/ 313585 h 391741"/>
                    <a:gd name="connsiteX26" fmla="*/ 213173 w 298223"/>
                    <a:gd name="connsiteY26" fmla="*/ 314115 h 391741"/>
                    <a:gd name="connsiteX27" fmla="*/ 219114 w 298223"/>
                    <a:gd name="connsiteY27" fmla="*/ 314889 h 391741"/>
                    <a:gd name="connsiteX28" fmla="*/ 221404 w 298223"/>
                    <a:gd name="connsiteY28" fmla="*/ 313708 h 391741"/>
                    <a:gd name="connsiteX29" fmla="*/ 297637 w 298223"/>
                    <a:gd name="connsiteY29" fmla="*/ 95262 h 391741"/>
                    <a:gd name="connsiteX30" fmla="*/ 298223 w 298223"/>
                    <a:gd name="connsiteY30" fmla="*/ 258347 h 391741"/>
                    <a:gd name="connsiteX31" fmla="*/ 297515 w 298223"/>
                    <a:gd name="connsiteY31" fmla="*/ 257442 h 391741"/>
                    <a:gd name="connsiteX32" fmla="*/ 296789 w 298223"/>
                    <a:gd name="connsiteY32" fmla="*/ 257100 h 391741"/>
                    <a:gd name="connsiteX33" fmla="*/ 296748 w 298223"/>
                    <a:gd name="connsiteY33" fmla="*/ 391741 h 391741"/>
                    <a:gd name="connsiteX34" fmla="*/ 288346 w 298223"/>
                    <a:gd name="connsiteY34" fmla="*/ 390291 h 391741"/>
                    <a:gd name="connsiteX35" fmla="*/ 282454 w 298223"/>
                    <a:gd name="connsiteY35" fmla="*/ 385882 h 391741"/>
                    <a:gd name="connsiteX36" fmla="*/ 278044 w 298223"/>
                    <a:gd name="connsiteY36" fmla="*/ 377373 h 391741"/>
                    <a:gd name="connsiteX37" fmla="*/ 269683 w 298223"/>
                    <a:gd name="connsiteY37" fmla="*/ 367684 h 391741"/>
                    <a:gd name="connsiteX38" fmla="*/ 267434 w 298223"/>
                    <a:gd name="connsiteY38" fmla="*/ 364146 h 391741"/>
                    <a:gd name="connsiteX39" fmla="*/ 266390 w 298223"/>
                    <a:gd name="connsiteY39" fmla="*/ 360674 h 391741"/>
                    <a:gd name="connsiteX40" fmla="*/ 266301 w 298223"/>
                    <a:gd name="connsiteY40" fmla="*/ 357936 h 391741"/>
                    <a:gd name="connsiteX41" fmla="*/ 267426 w 298223"/>
                    <a:gd name="connsiteY41" fmla="*/ 352712 h 391741"/>
                    <a:gd name="connsiteX42" fmla="*/ 268982 w 298223"/>
                    <a:gd name="connsiteY42" fmla="*/ 347570 h 391741"/>
                    <a:gd name="connsiteX43" fmla="*/ 269243 w 298223"/>
                    <a:gd name="connsiteY43" fmla="*/ 344701 h 391741"/>
                    <a:gd name="connsiteX44" fmla="*/ 266057 w 298223"/>
                    <a:gd name="connsiteY44" fmla="*/ 335060 h 391741"/>
                    <a:gd name="connsiteX45" fmla="*/ 261582 w 298223"/>
                    <a:gd name="connsiteY45" fmla="*/ 325940 h 391741"/>
                    <a:gd name="connsiteX46" fmla="*/ 259529 w 298223"/>
                    <a:gd name="connsiteY46" fmla="*/ 323096 h 391741"/>
                    <a:gd name="connsiteX47" fmla="*/ 254043 w 298223"/>
                    <a:gd name="connsiteY47" fmla="*/ 317033 h 391741"/>
                    <a:gd name="connsiteX48" fmla="*/ 248901 w 298223"/>
                    <a:gd name="connsiteY48" fmla="*/ 312469 h 391741"/>
                    <a:gd name="connsiteX49" fmla="*/ 247597 w 298223"/>
                    <a:gd name="connsiteY49" fmla="*/ 310097 h 391741"/>
                    <a:gd name="connsiteX50" fmla="*/ 247198 w 298223"/>
                    <a:gd name="connsiteY50" fmla="*/ 308891 h 391741"/>
                    <a:gd name="connsiteX51" fmla="*/ 249635 w 298223"/>
                    <a:gd name="connsiteY51" fmla="*/ 309470 h 391741"/>
                    <a:gd name="connsiteX52" fmla="*/ 250767 w 298223"/>
                    <a:gd name="connsiteY52" fmla="*/ 307620 h 391741"/>
                    <a:gd name="connsiteX53" fmla="*/ 252390 w 298223"/>
                    <a:gd name="connsiteY53" fmla="*/ 306976 h 391741"/>
                    <a:gd name="connsiteX54" fmla="*/ 253693 w 298223"/>
                    <a:gd name="connsiteY54" fmla="*/ 309454 h 391741"/>
                    <a:gd name="connsiteX55" fmla="*/ 255152 w 298223"/>
                    <a:gd name="connsiteY55" fmla="*/ 309885 h 391741"/>
                    <a:gd name="connsiteX56" fmla="*/ 255225 w 298223"/>
                    <a:gd name="connsiteY56" fmla="*/ 305753 h 391741"/>
                    <a:gd name="connsiteX57" fmla="*/ 256049 w 298223"/>
                    <a:gd name="connsiteY57" fmla="*/ 303798 h 391741"/>
                    <a:gd name="connsiteX58" fmla="*/ 255478 w 298223"/>
                    <a:gd name="connsiteY58" fmla="*/ 302909 h 391741"/>
                    <a:gd name="connsiteX59" fmla="*/ 254989 w 298223"/>
                    <a:gd name="connsiteY59" fmla="*/ 302111 h 391741"/>
                    <a:gd name="connsiteX60" fmla="*/ 252764 w 298223"/>
                    <a:gd name="connsiteY60" fmla="*/ 301190 h 391741"/>
                    <a:gd name="connsiteX61" fmla="*/ 250311 w 298223"/>
                    <a:gd name="connsiteY61" fmla="*/ 302583 h 391741"/>
                    <a:gd name="connsiteX62" fmla="*/ 248429 w 298223"/>
                    <a:gd name="connsiteY62" fmla="*/ 304360 h 391741"/>
                    <a:gd name="connsiteX63" fmla="*/ 245878 w 298223"/>
                    <a:gd name="connsiteY63" fmla="*/ 305859 h 391741"/>
                    <a:gd name="connsiteX64" fmla="*/ 244891 w 298223"/>
                    <a:gd name="connsiteY64" fmla="*/ 307440 h 391741"/>
                    <a:gd name="connsiteX65" fmla="*/ 242308 w 298223"/>
                    <a:gd name="connsiteY65" fmla="*/ 307497 h 391741"/>
                    <a:gd name="connsiteX66" fmla="*/ 241281 w 298223"/>
                    <a:gd name="connsiteY66" fmla="*/ 307905 h 391741"/>
                    <a:gd name="connsiteX67" fmla="*/ 236130 w 298223"/>
                    <a:gd name="connsiteY67" fmla="*/ 310929 h 391741"/>
                    <a:gd name="connsiteX68" fmla="*/ 232846 w 298223"/>
                    <a:gd name="connsiteY68" fmla="*/ 311018 h 391741"/>
                    <a:gd name="connsiteX69" fmla="*/ 227769 w 298223"/>
                    <a:gd name="connsiteY69" fmla="*/ 309951 h 391741"/>
                    <a:gd name="connsiteX70" fmla="*/ 229448 w 298223"/>
                    <a:gd name="connsiteY70" fmla="*/ 305786 h 391741"/>
                    <a:gd name="connsiteX71" fmla="*/ 231453 w 298223"/>
                    <a:gd name="connsiteY71" fmla="*/ 303309 h 391741"/>
                    <a:gd name="connsiteX72" fmla="*/ 233115 w 298223"/>
                    <a:gd name="connsiteY72" fmla="*/ 300481 h 391741"/>
                    <a:gd name="connsiteX73" fmla="*/ 235862 w 298223"/>
                    <a:gd name="connsiteY73" fmla="*/ 290538 h 391741"/>
                    <a:gd name="connsiteX74" fmla="*/ 235348 w 298223"/>
                    <a:gd name="connsiteY74" fmla="*/ 281964 h 391741"/>
                    <a:gd name="connsiteX75" fmla="*/ 234012 w 298223"/>
                    <a:gd name="connsiteY75" fmla="*/ 278436 h 391741"/>
                    <a:gd name="connsiteX76" fmla="*/ 229749 w 298223"/>
                    <a:gd name="connsiteY76" fmla="*/ 271345 h 391741"/>
                    <a:gd name="connsiteX77" fmla="*/ 227818 w 298223"/>
                    <a:gd name="connsiteY77" fmla="*/ 266977 h 391741"/>
                    <a:gd name="connsiteX78" fmla="*/ 225414 w 298223"/>
                    <a:gd name="connsiteY78" fmla="*/ 262470 h 391741"/>
                    <a:gd name="connsiteX79" fmla="*/ 224224 w 298223"/>
                    <a:gd name="connsiteY79" fmla="*/ 265095 h 391741"/>
                    <a:gd name="connsiteX80" fmla="*/ 223515 w 298223"/>
                    <a:gd name="connsiteY80" fmla="*/ 267857 h 391741"/>
                    <a:gd name="connsiteX81" fmla="*/ 221208 w 298223"/>
                    <a:gd name="connsiteY81" fmla="*/ 271867 h 391741"/>
                    <a:gd name="connsiteX82" fmla="*/ 220084 w 298223"/>
                    <a:gd name="connsiteY82" fmla="*/ 280775 h 391741"/>
                    <a:gd name="connsiteX83" fmla="*/ 215553 w 298223"/>
                    <a:gd name="connsiteY83" fmla="*/ 294442 h 391741"/>
                    <a:gd name="connsiteX84" fmla="*/ 212448 w 298223"/>
                    <a:gd name="connsiteY84" fmla="*/ 294613 h 391741"/>
                    <a:gd name="connsiteX85" fmla="*/ 209799 w 298223"/>
                    <a:gd name="connsiteY85" fmla="*/ 294067 h 391741"/>
                    <a:gd name="connsiteX86" fmla="*/ 205154 w 298223"/>
                    <a:gd name="connsiteY86" fmla="*/ 295631 h 391741"/>
                    <a:gd name="connsiteX87" fmla="*/ 201983 w 298223"/>
                    <a:gd name="connsiteY87" fmla="*/ 297522 h 391741"/>
                    <a:gd name="connsiteX88" fmla="*/ 199139 w 298223"/>
                    <a:gd name="connsiteY88" fmla="*/ 297530 h 391741"/>
                    <a:gd name="connsiteX89" fmla="*/ 197574 w 298223"/>
                    <a:gd name="connsiteY89" fmla="*/ 298134 h 391741"/>
                    <a:gd name="connsiteX90" fmla="*/ 195504 w 298223"/>
                    <a:gd name="connsiteY90" fmla="*/ 297628 h 391741"/>
                    <a:gd name="connsiteX91" fmla="*/ 198740 w 298223"/>
                    <a:gd name="connsiteY91" fmla="*/ 286960 h 391741"/>
                    <a:gd name="connsiteX92" fmla="*/ 201584 w 298223"/>
                    <a:gd name="connsiteY92" fmla="*/ 287254 h 391741"/>
                    <a:gd name="connsiteX93" fmla="*/ 204648 w 298223"/>
                    <a:gd name="connsiteY93" fmla="*/ 286813 h 391741"/>
                    <a:gd name="connsiteX94" fmla="*/ 206042 w 298223"/>
                    <a:gd name="connsiteY94" fmla="*/ 287001 h 391741"/>
                    <a:gd name="connsiteX95" fmla="*/ 208096 w 298223"/>
                    <a:gd name="connsiteY95" fmla="*/ 286862 h 391741"/>
                    <a:gd name="connsiteX96" fmla="*/ 209660 w 298223"/>
                    <a:gd name="connsiteY96" fmla="*/ 281964 h 391741"/>
                    <a:gd name="connsiteX97" fmla="*/ 210622 w 298223"/>
                    <a:gd name="connsiteY97" fmla="*/ 276496 h 391741"/>
                    <a:gd name="connsiteX98" fmla="*/ 210011 w 298223"/>
                    <a:gd name="connsiteY98" fmla="*/ 272959 h 391741"/>
                    <a:gd name="connsiteX99" fmla="*/ 209783 w 298223"/>
                    <a:gd name="connsiteY99" fmla="*/ 269308 h 391741"/>
                    <a:gd name="connsiteX100" fmla="*/ 210385 w 298223"/>
                    <a:gd name="connsiteY100" fmla="*/ 265152 h 391741"/>
                    <a:gd name="connsiteX101" fmla="*/ 210647 w 298223"/>
                    <a:gd name="connsiteY101" fmla="*/ 262169 h 391741"/>
                    <a:gd name="connsiteX102" fmla="*/ 214525 w 298223"/>
                    <a:gd name="connsiteY102" fmla="*/ 252275 h 391741"/>
                    <a:gd name="connsiteX103" fmla="*/ 217761 w 298223"/>
                    <a:gd name="connsiteY103" fmla="*/ 247173 h 391741"/>
                    <a:gd name="connsiteX104" fmla="*/ 221502 w 298223"/>
                    <a:gd name="connsiteY104" fmla="*/ 243123 h 391741"/>
                    <a:gd name="connsiteX105" fmla="*/ 221054 w 298223"/>
                    <a:gd name="connsiteY105" fmla="*/ 239284 h 391741"/>
                    <a:gd name="connsiteX106" fmla="*/ 219872 w 298223"/>
                    <a:gd name="connsiteY106" fmla="*/ 234460 h 391741"/>
                    <a:gd name="connsiteX107" fmla="*/ 219529 w 298223"/>
                    <a:gd name="connsiteY107" fmla="*/ 230776 h 391741"/>
                    <a:gd name="connsiteX108" fmla="*/ 221314 w 298223"/>
                    <a:gd name="connsiteY108" fmla="*/ 229602 h 391741"/>
                    <a:gd name="connsiteX109" fmla="*/ 223009 w 298223"/>
                    <a:gd name="connsiteY109" fmla="*/ 227296 h 391741"/>
                    <a:gd name="connsiteX110" fmla="*/ 221037 w 298223"/>
                    <a:gd name="connsiteY110" fmla="*/ 216767 h 391741"/>
                    <a:gd name="connsiteX111" fmla="*/ 219799 w 298223"/>
                    <a:gd name="connsiteY111" fmla="*/ 213604 h 391741"/>
                    <a:gd name="connsiteX112" fmla="*/ 217818 w 298223"/>
                    <a:gd name="connsiteY112" fmla="*/ 210500 h 391741"/>
                    <a:gd name="connsiteX113" fmla="*/ 217778 w 298223"/>
                    <a:gd name="connsiteY113" fmla="*/ 214534 h 391741"/>
                    <a:gd name="connsiteX114" fmla="*/ 218005 w 298223"/>
                    <a:gd name="connsiteY114" fmla="*/ 218470 h 391741"/>
                    <a:gd name="connsiteX115" fmla="*/ 215259 w 298223"/>
                    <a:gd name="connsiteY115" fmla="*/ 223506 h 391741"/>
                    <a:gd name="connsiteX116" fmla="*/ 211690 w 298223"/>
                    <a:gd name="connsiteY116" fmla="*/ 227133 h 391741"/>
                    <a:gd name="connsiteX117" fmla="*/ 209367 w 298223"/>
                    <a:gd name="connsiteY117" fmla="*/ 230531 h 391741"/>
                    <a:gd name="connsiteX118" fmla="*/ 207175 w 298223"/>
                    <a:gd name="connsiteY118" fmla="*/ 238241 h 391741"/>
                    <a:gd name="connsiteX119" fmla="*/ 204289 w 298223"/>
                    <a:gd name="connsiteY119" fmla="*/ 244745 h 391741"/>
                    <a:gd name="connsiteX120" fmla="*/ 201625 w 298223"/>
                    <a:gd name="connsiteY120" fmla="*/ 247157 h 391741"/>
                    <a:gd name="connsiteX121" fmla="*/ 199253 w 298223"/>
                    <a:gd name="connsiteY121" fmla="*/ 247695 h 391741"/>
                    <a:gd name="connsiteX122" fmla="*/ 196824 w 298223"/>
                    <a:gd name="connsiteY122" fmla="*/ 248697 h 391741"/>
                    <a:gd name="connsiteX123" fmla="*/ 193026 w 298223"/>
                    <a:gd name="connsiteY123" fmla="*/ 251297 h 391741"/>
                    <a:gd name="connsiteX124" fmla="*/ 189351 w 298223"/>
                    <a:gd name="connsiteY124" fmla="*/ 253481 h 391741"/>
                    <a:gd name="connsiteX125" fmla="*/ 186645 w 298223"/>
                    <a:gd name="connsiteY125" fmla="*/ 256358 h 391741"/>
                    <a:gd name="connsiteX126" fmla="*/ 184274 w 298223"/>
                    <a:gd name="connsiteY126" fmla="*/ 257849 h 391741"/>
                    <a:gd name="connsiteX127" fmla="*/ 176597 w 298223"/>
                    <a:gd name="connsiteY127" fmla="*/ 270922 h 391741"/>
                    <a:gd name="connsiteX128" fmla="*/ 173092 w 298223"/>
                    <a:gd name="connsiteY128" fmla="*/ 275290 h 391741"/>
                    <a:gd name="connsiteX129" fmla="*/ 172367 w 298223"/>
                    <a:gd name="connsiteY129" fmla="*/ 277058 h 391741"/>
                    <a:gd name="connsiteX130" fmla="*/ 170892 w 298223"/>
                    <a:gd name="connsiteY130" fmla="*/ 278542 h 391741"/>
                    <a:gd name="connsiteX131" fmla="*/ 171169 w 298223"/>
                    <a:gd name="connsiteY131" fmla="*/ 280612 h 391741"/>
                    <a:gd name="connsiteX132" fmla="*/ 172359 w 298223"/>
                    <a:gd name="connsiteY132" fmla="*/ 282038 h 391741"/>
                    <a:gd name="connsiteX133" fmla="*/ 173549 w 298223"/>
                    <a:gd name="connsiteY133" fmla="*/ 287849 h 391741"/>
                    <a:gd name="connsiteX134" fmla="*/ 172840 w 298223"/>
                    <a:gd name="connsiteY134" fmla="*/ 289104 h 391741"/>
                    <a:gd name="connsiteX135" fmla="*/ 171593 w 298223"/>
                    <a:gd name="connsiteY135" fmla="*/ 288452 h 391741"/>
                    <a:gd name="connsiteX136" fmla="*/ 168439 w 298223"/>
                    <a:gd name="connsiteY136" fmla="*/ 285208 h 391741"/>
                    <a:gd name="connsiteX137" fmla="*/ 166467 w 298223"/>
                    <a:gd name="connsiteY137" fmla="*/ 286390 h 391741"/>
                    <a:gd name="connsiteX138" fmla="*/ 164845 w 298223"/>
                    <a:gd name="connsiteY138" fmla="*/ 287718 h 391741"/>
                    <a:gd name="connsiteX139" fmla="*/ 160713 w 298223"/>
                    <a:gd name="connsiteY139" fmla="*/ 281761 h 391741"/>
                    <a:gd name="connsiteX140" fmla="*/ 159010 w 298223"/>
                    <a:gd name="connsiteY140" fmla="*/ 280351 h 391741"/>
                    <a:gd name="connsiteX141" fmla="*/ 156826 w 298223"/>
                    <a:gd name="connsiteY141" fmla="*/ 277955 h 391741"/>
                    <a:gd name="connsiteX142" fmla="*/ 154511 w 298223"/>
                    <a:gd name="connsiteY142" fmla="*/ 275893 h 391741"/>
                    <a:gd name="connsiteX143" fmla="*/ 153525 w 298223"/>
                    <a:gd name="connsiteY143" fmla="*/ 275665 h 391741"/>
                    <a:gd name="connsiteX144" fmla="*/ 151838 w 298223"/>
                    <a:gd name="connsiteY144" fmla="*/ 276089 h 391741"/>
                    <a:gd name="connsiteX145" fmla="*/ 152009 w 298223"/>
                    <a:gd name="connsiteY145" fmla="*/ 274475 h 391741"/>
                    <a:gd name="connsiteX146" fmla="*/ 153158 w 298223"/>
                    <a:gd name="connsiteY146" fmla="*/ 273171 h 391741"/>
                    <a:gd name="connsiteX147" fmla="*/ 154169 w 298223"/>
                    <a:gd name="connsiteY147" fmla="*/ 272861 h 391741"/>
                    <a:gd name="connsiteX148" fmla="*/ 156051 w 298223"/>
                    <a:gd name="connsiteY148" fmla="*/ 274785 h 391741"/>
                    <a:gd name="connsiteX149" fmla="*/ 158195 w 298223"/>
                    <a:gd name="connsiteY149" fmla="*/ 276488 h 391741"/>
                    <a:gd name="connsiteX150" fmla="*/ 159384 w 298223"/>
                    <a:gd name="connsiteY150" fmla="*/ 276635 h 391741"/>
                    <a:gd name="connsiteX151" fmla="*/ 159947 w 298223"/>
                    <a:gd name="connsiteY151" fmla="*/ 275934 h 391741"/>
                    <a:gd name="connsiteX152" fmla="*/ 157910 w 298223"/>
                    <a:gd name="connsiteY152" fmla="*/ 269194 h 391741"/>
                    <a:gd name="connsiteX153" fmla="*/ 156524 w 298223"/>
                    <a:gd name="connsiteY153" fmla="*/ 263293 h 391741"/>
                    <a:gd name="connsiteX154" fmla="*/ 155896 w 298223"/>
                    <a:gd name="connsiteY154" fmla="*/ 261549 h 391741"/>
                    <a:gd name="connsiteX155" fmla="*/ 154218 w 298223"/>
                    <a:gd name="connsiteY155" fmla="*/ 255575 h 391741"/>
                    <a:gd name="connsiteX156" fmla="*/ 153386 w 298223"/>
                    <a:gd name="connsiteY156" fmla="*/ 253840 h 391741"/>
                    <a:gd name="connsiteX157" fmla="*/ 149825 w 298223"/>
                    <a:gd name="connsiteY157" fmla="*/ 249618 h 391741"/>
                    <a:gd name="connsiteX158" fmla="*/ 146019 w 298223"/>
                    <a:gd name="connsiteY158" fmla="*/ 244671 h 391741"/>
                    <a:gd name="connsiteX159" fmla="*/ 144976 w 298223"/>
                    <a:gd name="connsiteY159" fmla="*/ 238730 h 391741"/>
                    <a:gd name="connsiteX160" fmla="*/ 143599 w 298223"/>
                    <a:gd name="connsiteY160" fmla="*/ 234941 h 391741"/>
                    <a:gd name="connsiteX161" fmla="*/ 141806 w 298223"/>
                    <a:gd name="connsiteY161" fmla="*/ 232544 h 391741"/>
                    <a:gd name="connsiteX162" fmla="*/ 139034 w 298223"/>
                    <a:gd name="connsiteY162" fmla="*/ 230425 h 391741"/>
                    <a:gd name="connsiteX163" fmla="*/ 131431 w 298223"/>
                    <a:gd name="connsiteY163" fmla="*/ 229602 h 391741"/>
                    <a:gd name="connsiteX164" fmla="*/ 128269 w 298223"/>
                    <a:gd name="connsiteY164" fmla="*/ 223555 h 391741"/>
                    <a:gd name="connsiteX165" fmla="*/ 126460 w 298223"/>
                    <a:gd name="connsiteY165" fmla="*/ 216049 h 391741"/>
                    <a:gd name="connsiteX166" fmla="*/ 127894 w 298223"/>
                    <a:gd name="connsiteY166" fmla="*/ 215552 h 391741"/>
                    <a:gd name="connsiteX167" fmla="*/ 129597 w 298223"/>
                    <a:gd name="connsiteY167" fmla="*/ 215455 h 391741"/>
                    <a:gd name="connsiteX168" fmla="*/ 130144 w 298223"/>
                    <a:gd name="connsiteY168" fmla="*/ 213124 h 391741"/>
                    <a:gd name="connsiteX169" fmla="*/ 129768 w 298223"/>
                    <a:gd name="connsiteY169" fmla="*/ 209546 h 391741"/>
                    <a:gd name="connsiteX170" fmla="*/ 122222 w 298223"/>
                    <a:gd name="connsiteY170" fmla="*/ 205096 h 391741"/>
                    <a:gd name="connsiteX171" fmla="*/ 118660 w 298223"/>
                    <a:gd name="connsiteY171" fmla="*/ 200467 h 391741"/>
                    <a:gd name="connsiteX172" fmla="*/ 115653 w 298223"/>
                    <a:gd name="connsiteY172" fmla="*/ 198470 h 391741"/>
                    <a:gd name="connsiteX173" fmla="*/ 112833 w 298223"/>
                    <a:gd name="connsiteY173" fmla="*/ 197680 h 391741"/>
                    <a:gd name="connsiteX174" fmla="*/ 109084 w 298223"/>
                    <a:gd name="connsiteY174" fmla="*/ 197851 h 391741"/>
                    <a:gd name="connsiteX175" fmla="*/ 104414 w 298223"/>
                    <a:gd name="connsiteY175" fmla="*/ 197696 h 391741"/>
                    <a:gd name="connsiteX176" fmla="*/ 93135 w 298223"/>
                    <a:gd name="connsiteY176" fmla="*/ 190321 h 391741"/>
                    <a:gd name="connsiteX177" fmla="*/ 90438 w 298223"/>
                    <a:gd name="connsiteY177" fmla="*/ 190109 h 391741"/>
                    <a:gd name="connsiteX178" fmla="*/ 82386 w 298223"/>
                    <a:gd name="connsiteY178" fmla="*/ 192399 h 391741"/>
                    <a:gd name="connsiteX179" fmla="*/ 79672 w 298223"/>
                    <a:gd name="connsiteY179" fmla="*/ 191975 h 391741"/>
                    <a:gd name="connsiteX180" fmla="*/ 67431 w 298223"/>
                    <a:gd name="connsiteY180" fmla="*/ 181902 h 391741"/>
                    <a:gd name="connsiteX181" fmla="*/ 59297 w 298223"/>
                    <a:gd name="connsiteY181" fmla="*/ 177126 h 391741"/>
                    <a:gd name="connsiteX182" fmla="*/ 56624 w 298223"/>
                    <a:gd name="connsiteY182" fmla="*/ 176246 h 391741"/>
                    <a:gd name="connsiteX183" fmla="*/ 53112 w 298223"/>
                    <a:gd name="connsiteY183" fmla="*/ 175423 h 391741"/>
                    <a:gd name="connsiteX184" fmla="*/ 50268 w 298223"/>
                    <a:gd name="connsiteY184" fmla="*/ 176597 h 391741"/>
                    <a:gd name="connsiteX185" fmla="*/ 48263 w 298223"/>
                    <a:gd name="connsiteY185" fmla="*/ 177689 h 391741"/>
                    <a:gd name="connsiteX186" fmla="*/ 44163 w 298223"/>
                    <a:gd name="connsiteY186" fmla="*/ 178919 h 391741"/>
                    <a:gd name="connsiteX187" fmla="*/ 27970 w 298223"/>
                    <a:gd name="connsiteY187" fmla="*/ 178112 h 391741"/>
                    <a:gd name="connsiteX188" fmla="*/ 14059 w 298223"/>
                    <a:gd name="connsiteY188" fmla="*/ 179669 h 391741"/>
                    <a:gd name="connsiteX189" fmla="*/ 4597 w 298223"/>
                    <a:gd name="connsiteY189" fmla="*/ 180737 h 391741"/>
                    <a:gd name="connsiteX190" fmla="*/ 0 w 298223"/>
                    <a:gd name="connsiteY190" fmla="*/ 181788 h 391741"/>
                    <a:gd name="connsiteX191" fmla="*/ 0 w 298223"/>
                    <a:gd name="connsiteY191" fmla="*/ 0 h 391741"/>
                    <a:gd name="connsiteX192" fmla="*/ 223221 w 298223"/>
                    <a:gd name="connsiteY192" fmla="*/ 0 h 391741"/>
                    <a:gd name="connsiteX193" fmla="*/ 297628 w 298223"/>
                    <a:gd name="connsiteY193" fmla="*/ 0 h 391741"/>
                    <a:gd name="connsiteX194" fmla="*/ 297628 w 298223"/>
                    <a:gd name="connsiteY194" fmla="*/ 95262 h 391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298223" h="391741">
                      <a:moveTo>
                        <a:pt x="221404" y="313708"/>
                      </a:moveTo>
                      <a:lnTo>
                        <a:pt x="224330" y="314677"/>
                      </a:lnTo>
                      <a:lnTo>
                        <a:pt x="226237" y="317889"/>
                      </a:lnTo>
                      <a:lnTo>
                        <a:pt x="224819" y="319478"/>
                      </a:lnTo>
                      <a:lnTo>
                        <a:pt x="223466" y="319706"/>
                      </a:lnTo>
                      <a:lnTo>
                        <a:pt x="219081" y="318394"/>
                      </a:lnTo>
                      <a:lnTo>
                        <a:pt x="215006" y="319388"/>
                      </a:lnTo>
                      <a:lnTo>
                        <a:pt x="213800" y="320716"/>
                      </a:lnTo>
                      <a:lnTo>
                        <a:pt x="213010" y="323650"/>
                      </a:lnTo>
                      <a:lnTo>
                        <a:pt x="209481" y="325231"/>
                      </a:lnTo>
                      <a:lnTo>
                        <a:pt x="207851" y="323446"/>
                      </a:lnTo>
                      <a:lnTo>
                        <a:pt x="203564" y="322175"/>
                      </a:lnTo>
                      <a:lnTo>
                        <a:pt x="202032" y="324041"/>
                      </a:lnTo>
                      <a:lnTo>
                        <a:pt x="199025" y="323544"/>
                      </a:lnTo>
                      <a:lnTo>
                        <a:pt x="196213" y="324302"/>
                      </a:lnTo>
                      <a:lnTo>
                        <a:pt x="192301" y="323862"/>
                      </a:lnTo>
                      <a:lnTo>
                        <a:pt x="188178" y="320619"/>
                      </a:lnTo>
                      <a:lnTo>
                        <a:pt x="186980" y="319119"/>
                      </a:lnTo>
                      <a:lnTo>
                        <a:pt x="187941" y="316430"/>
                      </a:lnTo>
                      <a:lnTo>
                        <a:pt x="189425" y="314441"/>
                      </a:lnTo>
                      <a:lnTo>
                        <a:pt x="200663" y="311646"/>
                      </a:lnTo>
                      <a:lnTo>
                        <a:pt x="206669" y="309282"/>
                      </a:lnTo>
                      <a:lnTo>
                        <a:pt x="211535" y="309706"/>
                      </a:lnTo>
                      <a:lnTo>
                        <a:pt x="212896" y="310203"/>
                      </a:lnTo>
                      <a:lnTo>
                        <a:pt x="214142" y="311393"/>
                      </a:lnTo>
                      <a:lnTo>
                        <a:pt x="213222" y="313585"/>
                      </a:lnTo>
                      <a:lnTo>
                        <a:pt x="213173" y="314115"/>
                      </a:lnTo>
                      <a:lnTo>
                        <a:pt x="219114" y="314889"/>
                      </a:lnTo>
                      <a:lnTo>
                        <a:pt x="221404" y="313708"/>
                      </a:lnTo>
                      <a:close/>
                      <a:moveTo>
                        <a:pt x="297637" y="95262"/>
                      </a:moveTo>
                      <a:lnTo>
                        <a:pt x="298223" y="258347"/>
                      </a:lnTo>
                      <a:lnTo>
                        <a:pt x="297515" y="257442"/>
                      </a:lnTo>
                      <a:lnTo>
                        <a:pt x="296789" y="257100"/>
                      </a:lnTo>
                      <a:lnTo>
                        <a:pt x="296748" y="391741"/>
                      </a:lnTo>
                      <a:lnTo>
                        <a:pt x="288346" y="390291"/>
                      </a:lnTo>
                      <a:lnTo>
                        <a:pt x="282454" y="385882"/>
                      </a:lnTo>
                      <a:lnTo>
                        <a:pt x="278044" y="377373"/>
                      </a:lnTo>
                      <a:lnTo>
                        <a:pt x="269683" y="367684"/>
                      </a:lnTo>
                      <a:lnTo>
                        <a:pt x="267434" y="364146"/>
                      </a:lnTo>
                      <a:lnTo>
                        <a:pt x="266390" y="360674"/>
                      </a:lnTo>
                      <a:lnTo>
                        <a:pt x="266301" y="357936"/>
                      </a:lnTo>
                      <a:lnTo>
                        <a:pt x="267426" y="352712"/>
                      </a:lnTo>
                      <a:lnTo>
                        <a:pt x="268982" y="347570"/>
                      </a:lnTo>
                      <a:lnTo>
                        <a:pt x="269243" y="344701"/>
                      </a:lnTo>
                      <a:lnTo>
                        <a:pt x="266057" y="335060"/>
                      </a:lnTo>
                      <a:lnTo>
                        <a:pt x="261582" y="325940"/>
                      </a:lnTo>
                      <a:lnTo>
                        <a:pt x="259529" y="323096"/>
                      </a:lnTo>
                      <a:lnTo>
                        <a:pt x="254043" y="317033"/>
                      </a:lnTo>
                      <a:lnTo>
                        <a:pt x="248901" y="312469"/>
                      </a:lnTo>
                      <a:lnTo>
                        <a:pt x="247597" y="310097"/>
                      </a:lnTo>
                      <a:lnTo>
                        <a:pt x="247198" y="308891"/>
                      </a:lnTo>
                      <a:lnTo>
                        <a:pt x="249635" y="309470"/>
                      </a:lnTo>
                      <a:lnTo>
                        <a:pt x="250767" y="307620"/>
                      </a:lnTo>
                      <a:lnTo>
                        <a:pt x="252390" y="306976"/>
                      </a:lnTo>
                      <a:lnTo>
                        <a:pt x="253693" y="309454"/>
                      </a:lnTo>
                      <a:lnTo>
                        <a:pt x="255152" y="309885"/>
                      </a:lnTo>
                      <a:lnTo>
                        <a:pt x="255225" y="305753"/>
                      </a:lnTo>
                      <a:lnTo>
                        <a:pt x="256049" y="303798"/>
                      </a:lnTo>
                      <a:lnTo>
                        <a:pt x="255478" y="302909"/>
                      </a:lnTo>
                      <a:lnTo>
                        <a:pt x="254989" y="302111"/>
                      </a:lnTo>
                      <a:lnTo>
                        <a:pt x="252764" y="301190"/>
                      </a:lnTo>
                      <a:lnTo>
                        <a:pt x="250311" y="302583"/>
                      </a:lnTo>
                      <a:lnTo>
                        <a:pt x="248429" y="304360"/>
                      </a:lnTo>
                      <a:lnTo>
                        <a:pt x="245878" y="305859"/>
                      </a:lnTo>
                      <a:lnTo>
                        <a:pt x="244891" y="307440"/>
                      </a:lnTo>
                      <a:lnTo>
                        <a:pt x="242308" y="307497"/>
                      </a:lnTo>
                      <a:lnTo>
                        <a:pt x="241281" y="307905"/>
                      </a:lnTo>
                      <a:lnTo>
                        <a:pt x="236130" y="310929"/>
                      </a:lnTo>
                      <a:lnTo>
                        <a:pt x="232846" y="311018"/>
                      </a:lnTo>
                      <a:lnTo>
                        <a:pt x="227769" y="309951"/>
                      </a:lnTo>
                      <a:lnTo>
                        <a:pt x="229448" y="305786"/>
                      </a:lnTo>
                      <a:lnTo>
                        <a:pt x="231453" y="303309"/>
                      </a:lnTo>
                      <a:lnTo>
                        <a:pt x="233115" y="300481"/>
                      </a:lnTo>
                      <a:lnTo>
                        <a:pt x="235862" y="290538"/>
                      </a:lnTo>
                      <a:lnTo>
                        <a:pt x="235348" y="281964"/>
                      </a:lnTo>
                      <a:lnTo>
                        <a:pt x="234012" y="278436"/>
                      </a:lnTo>
                      <a:lnTo>
                        <a:pt x="229749" y="271345"/>
                      </a:lnTo>
                      <a:lnTo>
                        <a:pt x="227818" y="266977"/>
                      </a:lnTo>
                      <a:lnTo>
                        <a:pt x="225414" y="262470"/>
                      </a:lnTo>
                      <a:lnTo>
                        <a:pt x="224224" y="265095"/>
                      </a:lnTo>
                      <a:lnTo>
                        <a:pt x="223515" y="267857"/>
                      </a:lnTo>
                      <a:lnTo>
                        <a:pt x="221208" y="271867"/>
                      </a:lnTo>
                      <a:lnTo>
                        <a:pt x="220084" y="280775"/>
                      </a:lnTo>
                      <a:lnTo>
                        <a:pt x="215553" y="294442"/>
                      </a:lnTo>
                      <a:lnTo>
                        <a:pt x="212448" y="294613"/>
                      </a:lnTo>
                      <a:lnTo>
                        <a:pt x="209799" y="294067"/>
                      </a:lnTo>
                      <a:lnTo>
                        <a:pt x="205154" y="295631"/>
                      </a:lnTo>
                      <a:lnTo>
                        <a:pt x="201983" y="297522"/>
                      </a:lnTo>
                      <a:lnTo>
                        <a:pt x="199139" y="297530"/>
                      </a:lnTo>
                      <a:lnTo>
                        <a:pt x="197574" y="298134"/>
                      </a:lnTo>
                      <a:lnTo>
                        <a:pt x="195504" y="297628"/>
                      </a:lnTo>
                      <a:lnTo>
                        <a:pt x="198740" y="286960"/>
                      </a:lnTo>
                      <a:lnTo>
                        <a:pt x="201584" y="287254"/>
                      </a:lnTo>
                      <a:lnTo>
                        <a:pt x="204648" y="286813"/>
                      </a:lnTo>
                      <a:lnTo>
                        <a:pt x="206042" y="287001"/>
                      </a:lnTo>
                      <a:lnTo>
                        <a:pt x="208096" y="286862"/>
                      </a:lnTo>
                      <a:lnTo>
                        <a:pt x="209660" y="281964"/>
                      </a:lnTo>
                      <a:lnTo>
                        <a:pt x="210622" y="276496"/>
                      </a:lnTo>
                      <a:lnTo>
                        <a:pt x="210011" y="272959"/>
                      </a:lnTo>
                      <a:lnTo>
                        <a:pt x="209783" y="269308"/>
                      </a:lnTo>
                      <a:lnTo>
                        <a:pt x="210385" y="265152"/>
                      </a:lnTo>
                      <a:lnTo>
                        <a:pt x="210647" y="262169"/>
                      </a:lnTo>
                      <a:lnTo>
                        <a:pt x="214525" y="252275"/>
                      </a:lnTo>
                      <a:lnTo>
                        <a:pt x="217761" y="247173"/>
                      </a:lnTo>
                      <a:lnTo>
                        <a:pt x="221502" y="243123"/>
                      </a:lnTo>
                      <a:lnTo>
                        <a:pt x="221054" y="239284"/>
                      </a:lnTo>
                      <a:lnTo>
                        <a:pt x="219872" y="234460"/>
                      </a:lnTo>
                      <a:lnTo>
                        <a:pt x="219529" y="230776"/>
                      </a:lnTo>
                      <a:lnTo>
                        <a:pt x="221314" y="229602"/>
                      </a:lnTo>
                      <a:lnTo>
                        <a:pt x="223009" y="227296"/>
                      </a:lnTo>
                      <a:lnTo>
                        <a:pt x="221037" y="216767"/>
                      </a:lnTo>
                      <a:lnTo>
                        <a:pt x="219799" y="213604"/>
                      </a:lnTo>
                      <a:lnTo>
                        <a:pt x="217818" y="210500"/>
                      </a:lnTo>
                      <a:lnTo>
                        <a:pt x="217778" y="214534"/>
                      </a:lnTo>
                      <a:lnTo>
                        <a:pt x="218005" y="218470"/>
                      </a:lnTo>
                      <a:lnTo>
                        <a:pt x="215259" y="223506"/>
                      </a:lnTo>
                      <a:lnTo>
                        <a:pt x="211690" y="227133"/>
                      </a:lnTo>
                      <a:lnTo>
                        <a:pt x="209367" y="230531"/>
                      </a:lnTo>
                      <a:lnTo>
                        <a:pt x="207175" y="238241"/>
                      </a:lnTo>
                      <a:lnTo>
                        <a:pt x="204289" y="244745"/>
                      </a:lnTo>
                      <a:lnTo>
                        <a:pt x="201625" y="247157"/>
                      </a:lnTo>
                      <a:lnTo>
                        <a:pt x="199253" y="247695"/>
                      </a:lnTo>
                      <a:lnTo>
                        <a:pt x="196824" y="248697"/>
                      </a:lnTo>
                      <a:lnTo>
                        <a:pt x="193026" y="251297"/>
                      </a:lnTo>
                      <a:lnTo>
                        <a:pt x="189351" y="253481"/>
                      </a:lnTo>
                      <a:lnTo>
                        <a:pt x="186645" y="256358"/>
                      </a:lnTo>
                      <a:lnTo>
                        <a:pt x="184274" y="257849"/>
                      </a:lnTo>
                      <a:lnTo>
                        <a:pt x="176597" y="270922"/>
                      </a:lnTo>
                      <a:lnTo>
                        <a:pt x="173092" y="275290"/>
                      </a:lnTo>
                      <a:lnTo>
                        <a:pt x="172367" y="277058"/>
                      </a:lnTo>
                      <a:lnTo>
                        <a:pt x="170892" y="278542"/>
                      </a:lnTo>
                      <a:lnTo>
                        <a:pt x="171169" y="280612"/>
                      </a:lnTo>
                      <a:lnTo>
                        <a:pt x="172359" y="282038"/>
                      </a:lnTo>
                      <a:lnTo>
                        <a:pt x="173549" y="287849"/>
                      </a:lnTo>
                      <a:lnTo>
                        <a:pt x="172840" y="289104"/>
                      </a:lnTo>
                      <a:lnTo>
                        <a:pt x="171593" y="288452"/>
                      </a:lnTo>
                      <a:lnTo>
                        <a:pt x="168439" y="285208"/>
                      </a:lnTo>
                      <a:lnTo>
                        <a:pt x="166467" y="286390"/>
                      </a:lnTo>
                      <a:lnTo>
                        <a:pt x="164845" y="287718"/>
                      </a:lnTo>
                      <a:lnTo>
                        <a:pt x="160713" y="281761"/>
                      </a:lnTo>
                      <a:lnTo>
                        <a:pt x="159010" y="280351"/>
                      </a:lnTo>
                      <a:lnTo>
                        <a:pt x="156826" y="277955"/>
                      </a:lnTo>
                      <a:lnTo>
                        <a:pt x="154511" y="275893"/>
                      </a:lnTo>
                      <a:lnTo>
                        <a:pt x="153525" y="275665"/>
                      </a:lnTo>
                      <a:lnTo>
                        <a:pt x="151838" y="276089"/>
                      </a:lnTo>
                      <a:lnTo>
                        <a:pt x="152009" y="274475"/>
                      </a:lnTo>
                      <a:lnTo>
                        <a:pt x="153158" y="273171"/>
                      </a:lnTo>
                      <a:lnTo>
                        <a:pt x="154169" y="272861"/>
                      </a:lnTo>
                      <a:lnTo>
                        <a:pt x="156051" y="274785"/>
                      </a:lnTo>
                      <a:lnTo>
                        <a:pt x="158195" y="276488"/>
                      </a:lnTo>
                      <a:lnTo>
                        <a:pt x="159384" y="276635"/>
                      </a:lnTo>
                      <a:lnTo>
                        <a:pt x="159947" y="275934"/>
                      </a:lnTo>
                      <a:lnTo>
                        <a:pt x="157910" y="269194"/>
                      </a:lnTo>
                      <a:lnTo>
                        <a:pt x="156524" y="263293"/>
                      </a:lnTo>
                      <a:lnTo>
                        <a:pt x="155896" y="261549"/>
                      </a:lnTo>
                      <a:lnTo>
                        <a:pt x="154218" y="255575"/>
                      </a:lnTo>
                      <a:lnTo>
                        <a:pt x="153386" y="253840"/>
                      </a:lnTo>
                      <a:lnTo>
                        <a:pt x="149825" y="249618"/>
                      </a:lnTo>
                      <a:lnTo>
                        <a:pt x="146019" y="244671"/>
                      </a:lnTo>
                      <a:lnTo>
                        <a:pt x="144976" y="238730"/>
                      </a:lnTo>
                      <a:lnTo>
                        <a:pt x="143599" y="234941"/>
                      </a:lnTo>
                      <a:lnTo>
                        <a:pt x="141806" y="232544"/>
                      </a:lnTo>
                      <a:lnTo>
                        <a:pt x="139034" y="230425"/>
                      </a:lnTo>
                      <a:lnTo>
                        <a:pt x="131431" y="229602"/>
                      </a:lnTo>
                      <a:lnTo>
                        <a:pt x="128269" y="223555"/>
                      </a:lnTo>
                      <a:lnTo>
                        <a:pt x="126460" y="216049"/>
                      </a:lnTo>
                      <a:lnTo>
                        <a:pt x="127894" y="215552"/>
                      </a:lnTo>
                      <a:lnTo>
                        <a:pt x="129597" y="215455"/>
                      </a:lnTo>
                      <a:lnTo>
                        <a:pt x="130144" y="213124"/>
                      </a:lnTo>
                      <a:lnTo>
                        <a:pt x="129768" y="209546"/>
                      </a:lnTo>
                      <a:lnTo>
                        <a:pt x="122222" y="205096"/>
                      </a:lnTo>
                      <a:lnTo>
                        <a:pt x="118660" y="200467"/>
                      </a:lnTo>
                      <a:lnTo>
                        <a:pt x="115653" y="198470"/>
                      </a:lnTo>
                      <a:lnTo>
                        <a:pt x="112833" y="197680"/>
                      </a:lnTo>
                      <a:lnTo>
                        <a:pt x="109084" y="197851"/>
                      </a:lnTo>
                      <a:lnTo>
                        <a:pt x="104414" y="197696"/>
                      </a:lnTo>
                      <a:lnTo>
                        <a:pt x="93135" y="190321"/>
                      </a:lnTo>
                      <a:lnTo>
                        <a:pt x="90438" y="190109"/>
                      </a:lnTo>
                      <a:lnTo>
                        <a:pt x="82386" y="192399"/>
                      </a:lnTo>
                      <a:lnTo>
                        <a:pt x="79672" y="191975"/>
                      </a:lnTo>
                      <a:lnTo>
                        <a:pt x="67431" y="181902"/>
                      </a:lnTo>
                      <a:lnTo>
                        <a:pt x="59297" y="177126"/>
                      </a:lnTo>
                      <a:lnTo>
                        <a:pt x="56624" y="176246"/>
                      </a:lnTo>
                      <a:lnTo>
                        <a:pt x="53112" y="175423"/>
                      </a:lnTo>
                      <a:lnTo>
                        <a:pt x="50268" y="176597"/>
                      </a:lnTo>
                      <a:lnTo>
                        <a:pt x="48263" y="177689"/>
                      </a:lnTo>
                      <a:lnTo>
                        <a:pt x="44163" y="178919"/>
                      </a:lnTo>
                      <a:lnTo>
                        <a:pt x="27970" y="178112"/>
                      </a:lnTo>
                      <a:lnTo>
                        <a:pt x="14059" y="179669"/>
                      </a:lnTo>
                      <a:lnTo>
                        <a:pt x="4597" y="180737"/>
                      </a:lnTo>
                      <a:lnTo>
                        <a:pt x="0" y="181788"/>
                      </a:lnTo>
                      <a:lnTo>
                        <a:pt x="0" y="0"/>
                      </a:lnTo>
                      <a:lnTo>
                        <a:pt x="223221" y="0"/>
                      </a:lnTo>
                      <a:lnTo>
                        <a:pt x="297628" y="0"/>
                      </a:lnTo>
                      <a:lnTo>
                        <a:pt x="297628" y="95262"/>
                      </a:lnTo>
                      <a:close/>
                    </a:path>
                  </a:pathLst>
                </a:custGeom>
                <a:solidFill>
                  <a:srgbClr val="D6D6D2"/>
                </a:solidFill>
                <a:ln w="6112" cap="rnd">
                  <a:solidFill>
                    <a:srgbClr val="FFFFFF"/>
                  </a:solidFill>
                  <a:prstDash val="solid"/>
                  <a:round/>
                </a:ln>
              </p:spPr>
              <p:txBody>
                <a:bodyPr rtlCol="0" anchor="ctr"/>
                <a:lstStyle/>
                <a:p>
                  <a:endParaRPr lang="en-US"/>
                </a:p>
              </p:txBody>
            </p:sp>
            <p:sp>
              <p:nvSpPr>
                <p:cNvPr id="486" name="Freeform: Shape 485">
                  <a:extLst>
                    <a:ext uri="{FF2B5EF4-FFF2-40B4-BE49-F238E27FC236}">
                      <a16:creationId xmlns:a16="http://schemas.microsoft.com/office/drawing/2014/main" id="{FEAEE0FA-EDA1-42D2-80B9-459C81F6E6EC}"/>
                    </a:ext>
                  </a:extLst>
                </p:cNvPr>
                <p:cNvSpPr/>
                <p:nvPr/>
              </p:nvSpPr>
              <p:spPr>
                <a:xfrm>
                  <a:off x="9143168" y="4860314"/>
                  <a:ext cx="223229" cy="456205"/>
                </a:xfrm>
                <a:custGeom>
                  <a:avLst/>
                  <a:gdLst>
                    <a:gd name="connsiteX0" fmla="*/ 196726 w 223229"/>
                    <a:gd name="connsiteY0" fmla="*/ 90878 h 456205"/>
                    <a:gd name="connsiteX1" fmla="*/ 197150 w 223229"/>
                    <a:gd name="connsiteY1" fmla="*/ 91041 h 456205"/>
                    <a:gd name="connsiteX2" fmla="*/ 196670 w 223229"/>
                    <a:gd name="connsiteY2" fmla="*/ 92907 h 456205"/>
                    <a:gd name="connsiteX3" fmla="*/ 195748 w 223229"/>
                    <a:gd name="connsiteY3" fmla="*/ 94341 h 456205"/>
                    <a:gd name="connsiteX4" fmla="*/ 192497 w 223229"/>
                    <a:gd name="connsiteY4" fmla="*/ 93755 h 456205"/>
                    <a:gd name="connsiteX5" fmla="*/ 189677 w 223229"/>
                    <a:gd name="connsiteY5" fmla="*/ 93958 h 456205"/>
                    <a:gd name="connsiteX6" fmla="*/ 184983 w 223229"/>
                    <a:gd name="connsiteY6" fmla="*/ 92573 h 456205"/>
                    <a:gd name="connsiteX7" fmla="*/ 182579 w 223229"/>
                    <a:gd name="connsiteY7" fmla="*/ 92394 h 456205"/>
                    <a:gd name="connsiteX8" fmla="*/ 181886 w 223229"/>
                    <a:gd name="connsiteY8" fmla="*/ 91880 h 456205"/>
                    <a:gd name="connsiteX9" fmla="*/ 183304 w 223229"/>
                    <a:gd name="connsiteY9" fmla="*/ 90780 h 456205"/>
                    <a:gd name="connsiteX10" fmla="*/ 184167 w 223229"/>
                    <a:gd name="connsiteY10" fmla="*/ 89280 h 456205"/>
                    <a:gd name="connsiteX11" fmla="*/ 183760 w 223229"/>
                    <a:gd name="connsiteY11" fmla="*/ 85768 h 456205"/>
                    <a:gd name="connsiteX12" fmla="*/ 184102 w 223229"/>
                    <a:gd name="connsiteY12" fmla="*/ 81326 h 456205"/>
                    <a:gd name="connsiteX13" fmla="*/ 186808 w 223229"/>
                    <a:gd name="connsiteY13" fmla="*/ 79158 h 456205"/>
                    <a:gd name="connsiteX14" fmla="*/ 188014 w 223229"/>
                    <a:gd name="connsiteY14" fmla="*/ 76950 h 456205"/>
                    <a:gd name="connsiteX15" fmla="*/ 189824 w 223229"/>
                    <a:gd name="connsiteY15" fmla="*/ 75581 h 456205"/>
                    <a:gd name="connsiteX16" fmla="*/ 190973 w 223229"/>
                    <a:gd name="connsiteY16" fmla="*/ 75752 h 456205"/>
                    <a:gd name="connsiteX17" fmla="*/ 190826 w 223229"/>
                    <a:gd name="connsiteY17" fmla="*/ 77105 h 456205"/>
                    <a:gd name="connsiteX18" fmla="*/ 191290 w 223229"/>
                    <a:gd name="connsiteY18" fmla="*/ 79452 h 456205"/>
                    <a:gd name="connsiteX19" fmla="*/ 192366 w 223229"/>
                    <a:gd name="connsiteY19" fmla="*/ 80723 h 456205"/>
                    <a:gd name="connsiteX20" fmla="*/ 193523 w 223229"/>
                    <a:gd name="connsiteY20" fmla="*/ 80625 h 456205"/>
                    <a:gd name="connsiteX21" fmla="*/ 194542 w 223229"/>
                    <a:gd name="connsiteY21" fmla="*/ 77846 h 456205"/>
                    <a:gd name="connsiteX22" fmla="*/ 195170 w 223229"/>
                    <a:gd name="connsiteY22" fmla="*/ 78246 h 456205"/>
                    <a:gd name="connsiteX23" fmla="*/ 195667 w 223229"/>
                    <a:gd name="connsiteY23" fmla="*/ 78938 h 456205"/>
                    <a:gd name="connsiteX24" fmla="*/ 196042 w 223229"/>
                    <a:gd name="connsiteY24" fmla="*/ 80161 h 456205"/>
                    <a:gd name="connsiteX25" fmla="*/ 194485 w 223229"/>
                    <a:gd name="connsiteY25" fmla="*/ 82272 h 456205"/>
                    <a:gd name="connsiteX26" fmla="*/ 193784 w 223229"/>
                    <a:gd name="connsiteY26" fmla="*/ 82606 h 456205"/>
                    <a:gd name="connsiteX27" fmla="*/ 193116 w 223229"/>
                    <a:gd name="connsiteY27" fmla="*/ 83779 h 456205"/>
                    <a:gd name="connsiteX28" fmla="*/ 192065 w 223229"/>
                    <a:gd name="connsiteY28" fmla="*/ 87634 h 456205"/>
                    <a:gd name="connsiteX29" fmla="*/ 192179 w 223229"/>
                    <a:gd name="connsiteY29" fmla="*/ 88930 h 456205"/>
                    <a:gd name="connsiteX30" fmla="*/ 193108 w 223229"/>
                    <a:gd name="connsiteY30" fmla="*/ 90218 h 456205"/>
                    <a:gd name="connsiteX31" fmla="*/ 195545 w 223229"/>
                    <a:gd name="connsiteY31" fmla="*/ 91416 h 456205"/>
                    <a:gd name="connsiteX32" fmla="*/ 196726 w 223229"/>
                    <a:gd name="connsiteY32" fmla="*/ 90878 h 456205"/>
                    <a:gd name="connsiteX33" fmla="*/ 223229 w 223229"/>
                    <a:gd name="connsiteY33" fmla="*/ 163329 h 456205"/>
                    <a:gd name="connsiteX34" fmla="*/ 223213 w 223229"/>
                    <a:gd name="connsiteY34" fmla="*/ 163353 h 456205"/>
                    <a:gd name="connsiteX35" fmla="*/ 223221 w 223229"/>
                    <a:gd name="connsiteY35" fmla="*/ 456206 h 456205"/>
                    <a:gd name="connsiteX36" fmla="*/ 0 w 223229"/>
                    <a:gd name="connsiteY36" fmla="*/ 456206 h 456205"/>
                    <a:gd name="connsiteX37" fmla="*/ 0 w 223229"/>
                    <a:gd name="connsiteY37" fmla="*/ 111920 h 456205"/>
                    <a:gd name="connsiteX38" fmla="*/ 1393 w 223229"/>
                    <a:gd name="connsiteY38" fmla="*/ 112336 h 456205"/>
                    <a:gd name="connsiteX39" fmla="*/ 4050 w 223229"/>
                    <a:gd name="connsiteY39" fmla="*/ 115482 h 456205"/>
                    <a:gd name="connsiteX40" fmla="*/ 4295 w 223229"/>
                    <a:gd name="connsiteY40" fmla="*/ 119361 h 456205"/>
                    <a:gd name="connsiteX41" fmla="*/ 5297 w 223229"/>
                    <a:gd name="connsiteY41" fmla="*/ 120754 h 456205"/>
                    <a:gd name="connsiteX42" fmla="*/ 5843 w 223229"/>
                    <a:gd name="connsiteY42" fmla="*/ 118310 h 456205"/>
                    <a:gd name="connsiteX43" fmla="*/ 5729 w 223229"/>
                    <a:gd name="connsiteY43" fmla="*/ 113012 h 456205"/>
                    <a:gd name="connsiteX44" fmla="*/ 6577 w 223229"/>
                    <a:gd name="connsiteY44" fmla="*/ 111953 h 456205"/>
                    <a:gd name="connsiteX45" fmla="*/ 9397 w 223229"/>
                    <a:gd name="connsiteY45" fmla="*/ 112776 h 456205"/>
                    <a:gd name="connsiteX46" fmla="*/ 11320 w 223229"/>
                    <a:gd name="connsiteY46" fmla="*/ 113835 h 456205"/>
                    <a:gd name="connsiteX47" fmla="*/ 14001 w 223229"/>
                    <a:gd name="connsiteY47" fmla="*/ 117307 h 456205"/>
                    <a:gd name="connsiteX48" fmla="*/ 14506 w 223229"/>
                    <a:gd name="connsiteY48" fmla="*/ 119027 h 456205"/>
                    <a:gd name="connsiteX49" fmla="*/ 15672 w 223229"/>
                    <a:gd name="connsiteY49" fmla="*/ 120135 h 456205"/>
                    <a:gd name="connsiteX50" fmla="*/ 16063 w 223229"/>
                    <a:gd name="connsiteY50" fmla="*/ 118530 h 456205"/>
                    <a:gd name="connsiteX51" fmla="*/ 15517 w 223229"/>
                    <a:gd name="connsiteY51" fmla="*/ 116240 h 456205"/>
                    <a:gd name="connsiteX52" fmla="*/ 15134 w 223229"/>
                    <a:gd name="connsiteY52" fmla="*/ 113623 h 456205"/>
                    <a:gd name="connsiteX53" fmla="*/ 15745 w 223229"/>
                    <a:gd name="connsiteY53" fmla="*/ 111350 h 456205"/>
                    <a:gd name="connsiteX54" fmla="*/ 18875 w 223229"/>
                    <a:gd name="connsiteY54" fmla="*/ 111170 h 456205"/>
                    <a:gd name="connsiteX55" fmla="*/ 20986 w 223229"/>
                    <a:gd name="connsiteY55" fmla="*/ 110673 h 456205"/>
                    <a:gd name="connsiteX56" fmla="*/ 19991 w 223229"/>
                    <a:gd name="connsiteY56" fmla="*/ 109785 h 456205"/>
                    <a:gd name="connsiteX57" fmla="*/ 18622 w 223229"/>
                    <a:gd name="connsiteY57" fmla="*/ 109483 h 456205"/>
                    <a:gd name="connsiteX58" fmla="*/ 16389 w 223229"/>
                    <a:gd name="connsiteY58" fmla="*/ 107389 h 456205"/>
                    <a:gd name="connsiteX59" fmla="*/ 14946 w 223229"/>
                    <a:gd name="connsiteY59" fmla="*/ 105140 h 456205"/>
                    <a:gd name="connsiteX60" fmla="*/ 17269 w 223229"/>
                    <a:gd name="connsiteY60" fmla="*/ 102956 h 456205"/>
                    <a:gd name="connsiteX61" fmla="*/ 17253 w 223229"/>
                    <a:gd name="connsiteY61" fmla="*/ 102426 h 456205"/>
                    <a:gd name="connsiteX62" fmla="*/ 15020 w 223229"/>
                    <a:gd name="connsiteY62" fmla="*/ 102491 h 456205"/>
                    <a:gd name="connsiteX63" fmla="*/ 11948 w 223229"/>
                    <a:gd name="connsiteY63" fmla="*/ 100356 h 456205"/>
                    <a:gd name="connsiteX64" fmla="*/ 9340 w 223229"/>
                    <a:gd name="connsiteY64" fmla="*/ 97406 h 456205"/>
                    <a:gd name="connsiteX65" fmla="*/ 11328 w 223229"/>
                    <a:gd name="connsiteY65" fmla="*/ 91962 h 456205"/>
                    <a:gd name="connsiteX66" fmla="*/ 15305 w 223229"/>
                    <a:gd name="connsiteY66" fmla="*/ 86640 h 456205"/>
                    <a:gd name="connsiteX67" fmla="*/ 17538 w 223229"/>
                    <a:gd name="connsiteY67" fmla="*/ 84855 h 456205"/>
                    <a:gd name="connsiteX68" fmla="*/ 17750 w 223229"/>
                    <a:gd name="connsiteY68" fmla="*/ 83054 h 456205"/>
                    <a:gd name="connsiteX69" fmla="*/ 18826 w 223229"/>
                    <a:gd name="connsiteY69" fmla="*/ 79753 h 456205"/>
                    <a:gd name="connsiteX70" fmla="*/ 19510 w 223229"/>
                    <a:gd name="connsiteY70" fmla="*/ 76958 h 456205"/>
                    <a:gd name="connsiteX71" fmla="*/ 19706 w 223229"/>
                    <a:gd name="connsiteY71" fmla="*/ 74774 h 456205"/>
                    <a:gd name="connsiteX72" fmla="*/ 20741 w 223229"/>
                    <a:gd name="connsiteY72" fmla="*/ 72492 h 456205"/>
                    <a:gd name="connsiteX73" fmla="*/ 23202 w 223229"/>
                    <a:gd name="connsiteY73" fmla="*/ 70316 h 456205"/>
                    <a:gd name="connsiteX74" fmla="*/ 26535 w 223229"/>
                    <a:gd name="connsiteY74" fmla="*/ 69550 h 456205"/>
                    <a:gd name="connsiteX75" fmla="*/ 28108 w 223229"/>
                    <a:gd name="connsiteY75" fmla="*/ 68702 h 456205"/>
                    <a:gd name="connsiteX76" fmla="*/ 29673 w 223229"/>
                    <a:gd name="connsiteY76" fmla="*/ 66714 h 456205"/>
                    <a:gd name="connsiteX77" fmla="*/ 31173 w 223229"/>
                    <a:gd name="connsiteY77" fmla="*/ 64277 h 456205"/>
                    <a:gd name="connsiteX78" fmla="*/ 28084 w 223229"/>
                    <a:gd name="connsiteY78" fmla="*/ 59509 h 456205"/>
                    <a:gd name="connsiteX79" fmla="*/ 28344 w 223229"/>
                    <a:gd name="connsiteY79" fmla="*/ 56910 h 456205"/>
                    <a:gd name="connsiteX80" fmla="*/ 28899 w 223229"/>
                    <a:gd name="connsiteY80" fmla="*/ 53813 h 456205"/>
                    <a:gd name="connsiteX81" fmla="*/ 32615 w 223229"/>
                    <a:gd name="connsiteY81" fmla="*/ 51563 h 456205"/>
                    <a:gd name="connsiteX82" fmla="*/ 34644 w 223229"/>
                    <a:gd name="connsiteY82" fmla="*/ 45639 h 456205"/>
                    <a:gd name="connsiteX83" fmla="*/ 35989 w 223229"/>
                    <a:gd name="connsiteY83" fmla="*/ 44758 h 456205"/>
                    <a:gd name="connsiteX84" fmla="*/ 38907 w 223229"/>
                    <a:gd name="connsiteY84" fmla="*/ 44938 h 456205"/>
                    <a:gd name="connsiteX85" fmla="*/ 40048 w 223229"/>
                    <a:gd name="connsiteY85" fmla="*/ 44408 h 456205"/>
                    <a:gd name="connsiteX86" fmla="*/ 39844 w 223229"/>
                    <a:gd name="connsiteY86" fmla="*/ 39697 h 456205"/>
                    <a:gd name="connsiteX87" fmla="*/ 40170 w 223229"/>
                    <a:gd name="connsiteY87" fmla="*/ 37864 h 456205"/>
                    <a:gd name="connsiteX88" fmla="*/ 41409 w 223229"/>
                    <a:gd name="connsiteY88" fmla="*/ 37130 h 456205"/>
                    <a:gd name="connsiteX89" fmla="*/ 42982 w 223229"/>
                    <a:gd name="connsiteY89" fmla="*/ 37749 h 456205"/>
                    <a:gd name="connsiteX90" fmla="*/ 43984 w 223229"/>
                    <a:gd name="connsiteY90" fmla="*/ 39812 h 456205"/>
                    <a:gd name="connsiteX91" fmla="*/ 46233 w 223229"/>
                    <a:gd name="connsiteY91" fmla="*/ 41694 h 456205"/>
                    <a:gd name="connsiteX92" fmla="*/ 47008 w 223229"/>
                    <a:gd name="connsiteY92" fmla="*/ 40667 h 456205"/>
                    <a:gd name="connsiteX93" fmla="*/ 46625 w 223229"/>
                    <a:gd name="connsiteY93" fmla="*/ 38581 h 456205"/>
                    <a:gd name="connsiteX94" fmla="*/ 46396 w 223229"/>
                    <a:gd name="connsiteY94" fmla="*/ 35924 h 456205"/>
                    <a:gd name="connsiteX95" fmla="*/ 48450 w 223229"/>
                    <a:gd name="connsiteY95" fmla="*/ 35362 h 456205"/>
                    <a:gd name="connsiteX96" fmla="*/ 50105 w 223229"/>
                    <a:gd name="connsiteY96" fmla="*/ 35190 h 456205"/>
                    <a:gd name="connsiteX97" fmla="*/ 50276 w 223229"/>
                    <a:gd name="connsiteY97" fmla="*/ 33015 h 456205"/>
                    <a:gd name="connsiteX98" fmla="*/ 50015 w 223229"/>
                    <a:gd name="connsiteY98" fmla="*/ 31287 h 456205"/>
                    <a:gd name="connsiteX99" fmla="*/ 50667 w 223229"/>
                    <a:gd name="connsiteY99" fmla="*/ 30545 h 456205"/>
                    <a:gd name="connsiteX100" fmla="*/ 54978 w 223229"/>
                    <a:gd name="connsiteY100" fmla="*/ 30187 h 456205"/>
                    <a:gd name="connsiteX101" fmla="*/ 56119 w 223229"/>
                    <a:gd name="connsiteY101" fmla="*/ 28402 h 456205"/>
                    <a:gd name="connsiteX102" fmla="*/ 56763 w 223229"/>
                    <a:gd name="connsiteY102" fmla="*/ 26861 h 456205"/>
                    <a:gd name="connsiteX103" fmla="*/ 57309 w 223229"/>
                    <a:gd name="connsiteY103" fmla="*/ 27709 h 456205"/>
                    <a:gd name="connsiteX104" fmla="*/ 58018 w 223229"/>
                    <a:gd name="connsiteY104" fmla="*/ 31165 h 456205"/>
                    <a:gd name="connsiteX105" fmla="*/ 60406 w 223229"/>
                    <a:gd name="connsiteY105" fmla="*/ 33186 h 456205"/>
                    <a:gd name="connsiteX106" fmla="*/ 67545 w 223229"/>
                    <a:gd name="connsiteY106" fmla="*/ 33218 h 456205"/>
                    <a:gd name="connsiteX107" fmla="*/ 71546 w 223229"/>
                    <a:gd name="connsiteY107" fmla="*/ 31825 h 456205"/>
                    <a:gd name="connsiteX108" fmla="*/ 73250 w 223229"/>
                    <a:gd name="connsiteY108" fmla="*/ 32656 h 456205"/>
                    <a:gd name="connsiteX109" fmla="*/ 75915 w 223229"/>
                    <a:gd name="connsiteY109" fmla="*/ 33300 h 456205"/>
                    <a:gd name="connsiteX110" fmla="*/ 78849 w 223229"/>
                    <a:gd name="connsiteY110" fmla="*/ 31678 h 456205"/>
                    <a:gd name="connsiteX111" fmla="*/ 80601 w 223229"/>
                    <a:gd name="connsiteY111" fmla="*/ 30447 h 456205"/>
                    <a:gd name="connsiteX112" fmla="*/ 83551 w 223229"/>
                    <a:gd name="connsiteY112" fmla="*/ 32045 h 456205"/>
                    <a:gd name="connsiteX113" fmla="*/ 84521 w 223229"/>
                    <a:gd name="connsiteY113" fmla="*/ 33748 h 456205"/>
                    <a:gd name="connsiteX114" fmla="*/ 85279 w 223229"/>
                    <a:gd name="connsiteY114" fmla="*/ 30146 h 456205"/>
                    <a:gd name="connsiteX115" fmla="*/ 86990 w 223229"/>
                    <a:gd name="connsiteY115" fmla="*/ 28899 h 456205"/>
                    <a:gd name="connsiteX116" fmla="*/ 88807 w 223229"/>
                    <a:gd name="connsiteY116" fmla="*/ 28149 h 456205"/>
                    <a:gd name="connsiteX117" fmla="*/ 91106 w 223229"/>
                    <a:gd name="connsiteY117" fmla="*/ 28752 h 456205"/>
                    <a:gd name="connsiteX118" fmla="*/ 92002 w 223229"/>
                    <a:gd name="connsiteY118" fmla="*/ 28548 h 456205"/>
                    <a:gd name="connsiteX119" fmla="*/ 89965 w 223229"/>
                    <a:gd name="connsiteY119" fmla="*/ 25875 h 456205"/>
                    <a:gd name="connsiteX120" fmla="*/ 90079 w 223229"/>
                    <a:gd name="connsiteY120" fmla="*/ 23447 h 456205"/>
                    <a:gd name="connsiteX121" fmla="*/ 89948 w 223229"/>
                    <a:gd name="connsiteY121" fmla="*/ 19845 h 456205"/>
                    <a:gd name="connsiteX122" fmla="*/ 90315 w 223229"/>
                    <a:gd name="connsiteY122" fmla="*/ 16560 h 456205"/>
                    <a:gd name="connsiteX123" fmla="*/ 91049 w 223229"/>
                    <a:gd name="connsiteY123" fmla="*/ 14205 h 456205"/>
                    <a:gd name="connsiteX124" fmla="*/ 86118 w 223229"/>
                    <a:gd name="connsiteY124" fmla="*/ 9429 h 456205"/>
                    <a:gd name="connsiteX125" fmla="*/ 81220 w 223229"/>
                    <a:gd name="connsiteY125" fmla="*/ 8704 h 456205"/>
                    <a:gd name="connsiteX126" fmla="*/ 77642 w 223229"/>
                    <a:gd name="connsiteY126" fmla="*/ 9714 h 456205"/>
                    <a:gd name="connsiteX127" fmla="*/ 76135 w 223229"/>
                    <a:gd name="connsiteY127" fmla="*/ 8924 h 456205"/>
                    <a:gd name="connsiteX128" fmla="*/ 72956 w 223229"/>
                    <a:gd name="connsiteY128" fmla="*/ 5110 h 456205"/>
                    <a:gd name="connsiteX129" fmla="*/ 69925 w 223229"/>
                    <a:gd name="connsiteY129" fmla="*/ 3708 h 456205"/>
                    <a:gd name="connsiteX130" fmla="*/ 69656 w 223229"/>
                    <a:gd name="connsiteY130" fmla="*/ 2779 h 456205"/>
                    <a:gd name="connsiteX131" fmla="*/ 73372 w 223229"/>
                    <a:gd name="connsiteY131" fmla="*/ 41 h 456205"/>
                    <a:gd name="connsiteX132" fmla="*/ 74790 w 223229"/>
                    <a:gd name="connsiteY132" fmla="*/ 505 h 456205"/>
                    <a:gd name="connsiteX133" fmla="*/ 76958 w 223229"/>
                    <a:gd name="connsiteY133" fmla="*/ 3064 h 456205"/>
                    <a:gd name="connsiteX134" fmla="*/ 78181 w 223229"/>
                    <a:gd name="connsiteY134" fmla="*/ 3977 h 456205"/>
                    <a:gd name="connsiteX135" fmla="*/ 79232 w 223229"/>
                    <a:gd name="connsiteY135" fmla="*/ 3790 h 456205"/>
                    <a:gd name="connsiteX136" fmla="*/ 79908 w 223229"/>
                    <a:gd name="connsiteY136" fmla="*/ 1785 h 456205"/>
                    <a:gd name="connsiteX137" fmla="*/ 80837 w 223229"/>
                    <a:gd name="connsiteY137" fmla="*/ 733 h 456205"/>
                    <a:gd name="connsiteX138" fmla="*/ 82606 w 223229"/>
                    <a:gd name="connsiteY138" fmla="*/ 1328 h 456205"/>
                    <a:gd name="connsiteX139" fmla="*/ 88156 w 223229"/>
                    <a:gd name="connsiteY139" fmla="*/ 5648 h 456205"/>
                    <a:gd name="connsiteX140" fmla="*/ 91269 w 223229"/>
                    <a:gd name="connsiteY140" fmla="*/ 9853 h 456205"/>
                    <a:gd name="connsiteX141" fmla="*/ 92850 w 223229"/>
                    <a:gd name="connsiteY141" fmla="*/ 8745 h 456205"/>
                    <a:gd name="connsiteX142" fmla="*/ 95580 w 223229"/>
                    <a:gd name="connsiteY142" fmla="*/ 6398 h 456205"/>
                    <a:gd name="connsiteX143" fmla="*/ 98155 w 223229"/>
                    <a:gd name="connsiteY143" fmla="*/ 6878 h 456205"/>
                    <a:gd name="connsiteX144" fmla="*/ 99745 w 223229"/>
                    <a:gd name="connsiteY144" fmla="*/ 8256 h 456205"/>
                    <a:gd name="connsiteX145" fmla="*/ 101953 w 223229"/>
                    <a:gd name="connsiteY145" fmla="*/ 13374 h 456205"/>
                    <a:gd name="connsiteX146" fmla="*/ 103722 w 223229"/>
                    <a:gd name="connsiteY146" fmla="*/ 15916 h 456205"/>
                    <a:gd name="connsiteX147" fmla="*/ 107968 w 223229"/>
                    <a:gd name="connsiteY147" fmla="*/ 16593 h 456205"/>
                    <a:gd name="connsiteX148" fmla="*/ 110127 w 223229"/>
                    <a:gd name="connsiteY148" fmla="*/ 17571 h 456205"/>
                    <a:gd name="connsiteX149" fmla="*/ 112360 w 223229"/>
                    <a:gd name="connsiteY149" fmla="*/ 19258 h 456205"/>
                    <a:gd name="connsiteX150" fmla="*/ 115368 w 223229"/>
                    <a:gd name="connsiteY150" fmla="*/ 19103 h 456205"/>
                    <a:gd name="connsiteX151" fmla="*/ 121562 w 223229"/>
                    <a:gd name="connsiteY151" fmla="*/ 19722 h 456205"/>
                    <a:gd name="connsiteX152" fmla="*/ 127397 w 223229"/>
                    <a:gd name="connsiteY152" fmla="*/ 22998 h 456205"/>
                    <a:gd name="connsiteX153" fmla="*/ 129825 w 223229"/>
                    <a:gd name="connsiteY153" fmla="*/ 25044 h 456205"/>
                    <a:gd name="connsiteX154" fmla="*/ 132645 w 223229"/>
                    <a:gd name="connsiteY154" fmla="*/ 25598 h 456205"/>
                    <a:gd name="connsiteX155" fmla="*/ 134299 w 223229"/>
                    <a:gd name="connsiteY155" fmla="*/ 26405 h 456205"/>
                    <a:gd name="connsiteX156" fmla="*/ 137290 w 223229"/>
                    <a:gd name="connsiteY156" fmla="*/ 26650 h 456205"/>
                    <a:gd name="connsiteX157" fmla="*/ 142050 w 223229"/>
                    <a:gd name="connsiteY157" fmla="*/ 24343 h 456205"/>
                    <a:gd name="connsiteX158" fmla="*/ 144193 w 223229"/>
                    <a:gd name="connsiteY158" fmla="*/ 26470 h 456205"/>
                    <a:gd name="connsiteX159" fmla="*/ 145138 w 223229"/>
                    <a:gd name="connsiteY159" fmla="*/ 27913 h 456205"/>
                    <a:gd name="connsiteX160" fmla="*/ 149474 w 223229"/>
                    <a:gd name="connsiteY160" fmla="*/ 30684 h 456205"/>
                    <a:gd name="connsiteX161" fmla="*/ 154144 w 223229"/>
                    <a:gd name="connsiteY161" fmla="*/ 31523 h 456205"/>
                    <a:gd name="connsiteX162" fmla="*/ 157477 w 223229"/>
                    <a:gd name="connsiteY162" fmla="*/ 28728 h 456205"/>
                    <a:gd name="connsiteX163" fmla="*/ 162351 w 223229"/>
                    <a:gd name="connsiteY163" fmla="*/ 26658 h 456205"/>
                    <a:gd name="connsiteX164" fmla="*/ 165749 w 223229"/>
                    <a:gd name="connsiteY164" fmla="*/ 23487 h 456205"/>
                    <a:gd name="connsiteX165" fmla="*/ 168292 w 223229"/>
                    <a:gd name="connsiteY165" fmla="*/ 21996 h 456205"/>
                    <a:gd name="connsiteX166" fmla="*/ 170696 w 223229"/>
                    <a:gd name="connsiteY166" fmla="*/ 19413 h 456205"/>
                    <a:gd name="connsiteX167" fmla="*/ 171609 w 223229"/>
                    <a:gd name="connsiteY167" fmla="*/ 19543 h 456205"/>
                    <a:gd name="connsiteX168" fmla="*/ 169653 w 223229"/>
                    <a:gd name="connsiteY168" fmla="*/ 21955 h 456205"/>
                    <a:gd name="connsiteX169" fmla="*/ 169416 w 223229"/>
                    <a:gd name="connsiteY169" fmla="*/ 23333 h 456205"/>
                    <a:gd name="connsiteX170" fmla="*/ 170949 w 223229"/>
                    <a:gd name="connsiteY170" fmla="*/ 23903 h 456205"/>
                    <a:gd name="connsiteX171" fmla="*/ 170786 w 223229"/>
                    <a:gd name="connsiteY171" fmla="*/ 24596 h 456205"/>
                    <a:gd name="connsiteX172" fmla="*/ 168683 w 223229"/>
                    <a:gd name="connsiteY172" fmla="*/ 26478 h 456205"/>
                    <a:gd name="connsiteX173" fmla="*/ 166148 w 223229"/>
                    <a:gd name="connsiteY173" fmla="*/ 29396 h 456205"/>
                    <a:gd name="connsiteX174" fmla="*/ 166206 w 223229"/>
                    <a:gd name="connsiteY174" fmla="*/ 31165 h 456205"/>
                    <a:gd name="connsiteX175" fmla="*/ 167175 w 223229"/>
                    <a:gd name="connsiteY175" fmla="*/ 32126 h 456205"/>
                    <a:gd name="connsiteX176" fmla="*/ 168349 w 223229"/>
                    <a:gd name="connsiteY176" fmla="*/ 31694 h 456205"/>
                    <a:gd name="connsiteX177" fmla="*/ 169995 w 223229"/>
                    <a:gd name="connsiteY177" fmla="*/ 30211 h 456205"/>
                    <a:gd name="connsiteX178" fmla="*/ 171984 w 223229"/>
                    <a:gd name="connsiteY178" fmla="*/ 29404 h 456205"/>
                    <a:gd name="connsiteX179" fmla="*/ 173736 w 223229"/>
                    <a:gd name="connsiteY179" fmla="*/ 30594 h 456205"/>
                    <a:gd name="connsiteX180" fmla="*/ 174314 w 223229"/>
                    <a:gd name="connsiteY180" fmla="*/ 34824 h 456205"/>
                    <a:gd name="connsiteX181" fmla="*/ 175554 w 223229"/>
                    <a:gd name="connsiteY181" fmla="*/ 37603 h 456205"/>
                    <a:gd name="connsiteX182" fmla="*/ 178308 w 223229"/>
                    <a:gd name="connsiteY182" fmla="*/ 37978 h 456205"/>
                    <a:gd name="connsiteX183" fmla="*/ 179987 w 223229"/>
                    <a:gd name="connsiteY183" fmla="*/ 37945 h 456205"/>
                    <a:gd name="connsiteX184" fmla="*/ 181666 w 223229"/>
                    <a:gd name="connsiteY184" fmla="*/ 34050 h 456205"/>
                    <a:gd name="connsiteX185" fmla="*/ 180769 w 223229"/>
                    <a:gd name="connsiteY185" fmla="*/ 30749 h 456205"/>
                    <a:gd name="connsiteX186" fmla="*/ 179726 w 223229"/>
                    <a:gd name="connsiteY186" fmla="*/ 30040 h 456205"/>
                    <a:gd name="connsiteX187" fmla="*/ 180231 w 223229"/>
                    <a:gd name="connsiteY187" fmla="*/ 28785 h 456205"/>
                    <a:gd name="connsiteX188" fmla="*/ 184518 w 223229"/>
                    <a:gd name="connsiteY188" fmla="*/ 23333 h 456205"/>
                    <a:gd name="connsiteX189" fmla="*/ 186931 w 223229"/>
                    <a:gd name="connsiteY189" fmla="*/ 23520 h 456205"/>
                    <a:gd name="connsiteX190" fmla="*/ 188650 w 223229"/>
                    <a:gd name="connsiteY190" fmla="*/ 28834 h 456205"/>
                    <a:gd name="connsiteX191" fmla="*/ 191372 w 223229"/>
                    <a:gd name="connsiteY191" fmla="*/ 31662 h 456205"/>
                    <a:gd name="connsiteX192" fmla="*/ 194273 w 223229"/>
                    <a:gd name="connsiteY192" fmla="*/ 31433 h 456205"/>
                    <a:gd name="connsiteX193" fmla="*/ 195789 w 223229"/>
                    <a:gd name="connsiteY193" fmla="*/ 32183 h 456205"/>
                    <a:gd name="connsiteX194" fmla="*/ 197020 w 223229"/>
                    <a:gd name="connsiteY194" fmla="*/ 35394 h 456205"/>
                    <a:gd name="connsiteX195" fmla="*/ 186849 w 223229"/>
                    <a:gd name="connsiteY195" fmla="*/ 48564 h 456205"/>
                    <a:gd name="connsiteX196" fmla="*/ 186368 w 223229"/>
                    <a:gd name="connsiteY196" fmla="*/ 50031 h 456205"/>
                    <a:gd name="connsiteX197" fmla="*/ 187737 w 223229"/>
                    <a:gd name="connsiteY197" fmla="*/ 52427 h 456205"/>
                    <a:gd name="connsiteX198" fmla="*/ 188259 w 223229"/>
                    <a:gd name="connsiteY198" fmla="*/ 55231 h 456205"/>
                    <a:gd name="connsiteX199" fmla="*/ 184950 w 223229"/>
                    <a:gd name="connsiteY199" fmla="*/ 61938 h 456205"/>
                    <a:gd name="connsiteX200" fmla="*/ 183744 w 223229"/>
                    <a:gd name="connsiteY200" fmla="*/ 62272 h 456205"/>
                    <a:gd name="connsiteX201" fmla="*/ 182570 w 223229"/>
                    <a:gd name="connsiteY201" fmla="*/ 60455 h 456205"/>
                    <a:gd name="connsiteX202" fmla="*/ 180818 w 223229"/>
                    <a:gd name="connsiteY202" fmla="*/ 59289 h 456205"/>
                    <a:gd name="connsiteX203" fmla="*/ 179286 w 223229"/>
                    <a:gd name="connsiteY203" fmla="*/ 60112 h 456205"/>
                    <a:gd name="connsiteX204" fmla="*/ 177656 w 223229"/>
                    <a:gd name="connsiteY204" fmla="*/ 60601 h 456205"/>
                    <a:gd name="connsiteX205" fmla="*/ 171715 w 223229"/>
                    <a:gd name="connsiteY205" fmla="*/ 64342 h 456205"/>
                    <a:gd name="connsiteX206" fmla="*/ 171764 w 223229"/>
                    <a:gd name="connsiteY206" fmla="*/ 73975 h 456205"/>
                    <a:gd name="connsiteX207" fmla="*/ 173263 w 223229"/>
                    <a:gd name="connsiteY207" fmla="*/ 79696 h 456205"/>
                    <a:gd name="connsiteX208" fmla="*/ 172399 w 223229"/>
                    <a:gd name="connsiteY208" fmla="*/ 83486 h 456205"/>
                    <a:gd name="connsiteX209" fmla="*/ 170639 w 223229"/>
                    <a:gd name="connsiteY209" fmla="*/ 90120 h 456205"/>
                    <a:gd name="connsiteX210" fmla="*/ 168732 w 223229"/>
                    <a:gd name="connsiteY210" fmla="*/ 92589 h 456205"/>
                    <a:gd name="connsiteX211" fmla="*/ 167200 w 223229"/>
                    <a:gd name="connsiteY211" fmla="*/ 94178 h 456205"/>
                    <a:gd name="connsiteX212" fmla="*/ 162106 w 223229"/>
                    <a:gd name="connsiteY212" fmla="*/ 103249 h 456205"/>
                    <a:gd name="connsiteX213" fmla="*/ 160476 w 223229"/>
                    <a:gd name="connsiteY213" fmla="*/ 105433 h 456205"/>
                    <a:gd name="connsiteX214" fmla="*/ 158789 w 223229"/>
                    <a:gd name="connsiteY214" fmla="*/ 108522 h 456205"/>
                    <a:gd name="connsiteX215" fmla="*/ 159344 w 223229"/>
                    <a:gd name="connsiteY215" fmla="*/ 111496 h 456205"/>
                    <a:gd name="connsiteX216" fmla="*/ 159971 w 223229"/>
                    <a:gd name="connsiteY216" fmla="*/ 113550 h 456205"/>
                    <a:gd name="connsiteX217" fmla="*/ 161894 w 223229"/>
                    <a:gd name="connsiteY217" fmla="*/ 115897 h 456205"/>
                    <a:gd name="connsiteX218" fmla="*/ 169384 w 223229"/>
                    <a:gd name="connsiteY218" fmla="*/ 120779 h 456205"/>
                    <a:gd name="connsiteX219" fmla="*/ 172774 w 223229"/>
                    <a:gd name="connsiteY219" fmla="*/ 124121 h 456205"/>
                    <a:gd name="connsiteX220" fmla="*/ 178626 w 223229"/>
                    <a:gd name="connsiteY220" fmla="*/ 128179 h 456205"/>
                    <a:gd name="connsiteX221" fmla="*/ 179971 w 223229"/>
                    <a:gd name="connsiteY221" fmla="*/ 130982 h 456205"/>
                    <a:gd name="connsiteX222" fmla="*/ 180769 w 223229"/>
                    <a:gd name="connsiteY222" fmla="*/ 133256 h 456205"/>
                    <a:gd name="connsiteX223" fmla="*/ 184991 w 223229"/>
                    <a:gd name="connsiteY223" fmla="*/ 135864 h 456205"/>
                    <a:gd name="connsiteX224" fmla="*/ 188014 w 223229"/>
                    <a:gd name="connsiteY224" fmla="*/ 137421 h 456205"/>
                    <a:gd name="connsiteX225" fmla="*/ 188878 w 223229"/>
                    <a:gd name="connsiteY225" fmla="*/ 137021 h 456205"/>
                    <a:gd name="connsiteX226" fmla="*/ 189506 w 223229"/>
                    <a:gd name="connsiteY226" fmla="*/ 136475 h 456205"/>
                    <a:gd name="connsiteX227" fmla="*/ 190264 w 223229"/>
                    <a:gd name="connsiteY227" fmla="*/ 136475 h 456205"/>
                    <a:gd name="connsiteX228" fmla="*/ 191021 w 223229"/>
                    <a:gd name="connsiteY228" fmla="*/ 136769 h 456205"/>
                    <a:gd name="connsiteX229" fmla="*/ 190899 w 223229"/>
                    <a:gd name="connsiteY229" fmla="*/ 138798 h 456205"/>
                    <a:gd name="connsiteX230" fmla="*/ 190565 w 223229"/>
                    <a:gd name="connsiteY230" fmla="*/ 139923 h 456205"/>
                    <a:gd name="connsiteX231" fmla="*/ 190850 w 223229"/>
                    <a:gd name="connsiteY231" fmla="*/ 141341 h 456205"/>
                    <a:gd name="connsiteX232" fmla="*/ 193002 w 223229"/>
                    <a:gd name="connsiteY232" fmla="*/ 143150 h 456205"/>
                    <a:gd name="connsiteX233" fmla="*/ 196425 w 223229"/>
                    <a:gd name="connsiteY233" fmla="*/ 143101 h 456205"/>
                    <a:gd name="connsiteX234" fmla="*/ 198381 w 223229"/>
                    <a:gd name="connsiteY234" fmla="*/ 142661 h 456205"/>
                    <a:gd name="connsiteX235" fmla="*/ 200565 w 223229"/>
                    <a:gd name="connsiteY235" fmla="*/ 144584 h 456205"/>
                    <a:gd name="connsiteX236" fmla="*/ 202529 w 223229"/>
                    <a:gd name="connsiteY236" fmla="*/ 145831 h 456205"/>
                    <a:gd name="connsiteX237" fmla="*/ 205764 w 223229"/>
                    <a:gd name="connsiteY237" fmla="*/ 148407 h 456205"/>
                    <a:gd name="connsiteX238" fmla="*/ 211388 w 223229"/>
                    <a:gd name="connsiteY238" fmla="*/ 151471 h 456205"/>
                    <a:gd name="connsiteX239" fmla="*/ 215780 w 223229"/>
                    <a:gd name="connsiteY239" fmla="*/ 153484 h 456205"/>
                    <a:gd name="connsiteX240" fmla="*/ 220972 w 223229"/>
                    <a:gd name="connsiteY240" fmla="*/ 160925 h 456205"/>
                    <a:gd name="connsiteX241" fmla="*/ 223229 w 223229"/>
                    <a:gd name="connsiteY241" fmla="*/ 163329 h 456205"/>
                    <a:gd name="connsiteX242" fmla="*/ 61294 w 223229"/>
                    <a:gd name="connsiteY242" fmla="*/ 6096 h 456205"/>
                    <a:gd name="connsiteX243" fmla="*/ 62508 w 223229"/>
                    <a:gd name="connsiteY243" fmla="*/ 7082 h 456205"/>
                    <a:gd name="connsiteX244" fmla="*/ 62916 w 223229"/>
                    <a:gd name="connsiteY244" fmla="*/ 7734 h 456205"/>
                    <a:gd name="connsiteX245" fmla="*/ 61155 w 223229"/>
                    <a:gd name="connsiteY245" fmla="*/ 9934 h 456205"/>
                    <a:gd name="connsiteX246" fmla="*/ 60928 w 223229"/>
                    <a:gd name="connsiteY246" fmla="*/ 12314 h 456205"/>
                    <a:gd name="connsiteX247" fmla="*/ 59053 w 223229"/>
                    <a:gd name="connsiteY247" fmla="*/ 12143 h 456205"/>
                    <a:gd name="connsiteX248" fmla="*/ 56812 w 223229"/>
                    <a:gd name="connsiteY248" fmla="*/ 16031 h 456205"/>
                    <a:gd name="connsiteX249" fmla="*/ 48352 w 223229"/>
                    <a:gd name="connsiteY249" fmla="*/ 22559 h 456205"/>
                    <a:gd name="connsiteX250" fmla="*/ 40757 w 223229"/>
                    <a:gd name="connsiteY250" fmla="*/ 16984 h 456205"/>
                    <a:gd name="connsiteX251" fmla="*/ 37464 w 223229"/>
                    <a:gd name="connsiteY251" fmla="*/ 13219 h 456205"/>
                    <a:gd name="connsiteX252" fmla="*/ 35248 w 223229"/>
                    <a:gd name="connsiteY252" fmla="*/ 8019 h 456205"/>
                    <a:gd name="connsiteX253" fmla="*/ 34807 w 223229"/>
                    <a:gd name="connsiteY253" fmla="*/ 3757 h 456205"/>
                    <a:gd name="connsiteX254" fmla="*/ 33903 w 223229"/>
                    <a:gd name="connsiteY254" fmla="*/ 1035 h 456205"/>
                    <a:gd name="connsiteX255" fmla="*/ 34310 w 223229"/>
                    <a:gd name="connsiteY255" fmla="*/ 350 h 456205"/>
                    <a:gd name="connsiteX256" fmla="*/ 34775 w 223229"/>
                    <a:gd name="connsiteY256" fmla="*/ 0 h 456205"/>
                    <a:gd name="connsiteX257" fmla="*/ 35354 w 223229"/>
                    <a:gd name="connsiteY257" fmla="*/ 73 h 456205"/>
                    <a:gd name="connsiteX258" fmla="*/ 37644 w 223229"/>
                    <a:gd name="connsiteY258" fmla="*/ 2983 h 456205"/>
                    <a:gd name="connsiteX259" fmla="*/ 38646 w 223229"/>
                    <a:gd name="connsiteY259" fmla="*/ 3790 h 456205"/>
                    <a:gd name="connsiteX260" fmla="*/ 40121 w 223229"/>
                    <a:gd name="connsiteY260" fmla="*/ 5917 h 456205"/>
                    <a:gd name="connsiteX261" fmla="*/ 43422 w 223229"/>
                    <a:gd name="connsiteY261" fmla="*/ 6161 h 456205"/>
                    <a:gd name="connsiteX262" fmla="*/ 47399 w 223229"/>
                    <a:gd name="connsiteY262" fmla="*/ 3896 h 456205"/>
                    <a:gd name="connsiteX263" fmla="*/ 49249 w 223229"/>
                    <a:gd name="connsiteY263" fmla="*/ 4817 h 456205"/>
                    <a:gd name="connsiteX264" fmla="*/ 50137 w 223229"/>
                    <a:gd name="connsiteY264" fmla="*/ 4645 h 456205"/>
                    <a:gd name="connsiteX265" fmla="*/ 53046 w 223229"/>
                    <a:gd name="connsiteY265" fmla="*/ 2486 h 456205"/>
                    <a:gd name="connsiteX266" fmla="*/ 54946 w 223229"/>
                    <a:gd name="connsiteY266" fmla="*/ 1866 h 456205"/>
                    <a:gd name="connsiteX267" fmla="*/ 56208 w 223229"/>
                    <a:gd name="connsiteY267" fmla="*/ 269 h 456205"/>
                    <a:gd name="connsiteX268" fmla="*/ 57513 w 223229"/>
                    <a:gd name="connsiteY268" fmla="*/ 2005 h 456205"/>
                    <a:gd name="connsiteX269" fmla="*/ 60398 w 223229"/>
                    <a:gd name="connsiteY269" fmla="*/ 4010 h 456205"/>
                    <a:gd name="connsiteX270" fmla="*/ 61294 w 223229"/>
                    <a:gd name="connsiteY270" fmla="*/ 6096 h 456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Lst>
                  <a:rect l="l" t="t" r="r" b="b"/>
                  <a:pathLst>
                    <a:path w="223229" h="456205">
                      <a:moveTo>
                        <a:pt x="196726" y="90878"/>
                      </a:moveTo>
                      <a:lnTo>
                        <a:pt x="197150" y="91041"/>
                      </a:lnTo>
                      <a:lnTo>
                        <a:pt x="196670" y="92907"/>
                      </a:lnTo>
                      <a:lnTo>
                        <a:pt x="195748" y="94341"/>
                      </a:lnTo>
                      <a:lnTo>
                        <a:pt x="192497" y="93755"/>
                      </a:lnTo>
                      <a:lnTo>
                        <a:pt x="189677" y="93958"/>
                      </a:lnTo>
                      <a:lnTo>
                        <a:pt x="184983" y="92573"/>
                      </a:lnTo>
                      <a:lnTo>
                        <a:pt x="182579" y="92394"/>
                      </a:lnTo>
                      <a:lnTo>
                        <a:pt x="181886" y="91880"/>
                      </a:lnTo>
                      <a:lnTo>
                        <a:pt x="183304" y="90780"/>
                      </a:lnTo>
                      <a:lnTo>
                        <a:pt x="184167" y="89280"/>
                      </a:lnTo>
                      <a:lnTo>
                        <a:pt x="183760" y="85768"/>
                      </a:lnTo>
                      <a:lnTo>
                        <a:pt x="184102" y="81326"/>
                      </a:lnTo>
                      <a:lnTo>
                        <a:pt x="186808" y="79158"/>
                      </a:lnTo>
                      <a:lnTo>
                        <a:pt x="188014" y="76950"/>
                      </a:lnTo>
                      <a:lnTo>
                        <a:pt x="189824" y="75581"/>
                      </a:lnTo>
                      <a:lnTo>
                        <a:pt x="190973" y="75752"/>
                      </a:lnTo>
                      <a:lnTo>
                        <a:pt x="190826" y="77105"/>
                      </a:lnTo>
                      <a:lnTo>
                        <a:pt x="191290" y="79452"/>
                      </a:lnTo>
                      <a:lnTo>
                        <a:pt x="192366" y="80723"/>
                      </a:lnTo>
                      <a:lnTo>
                        <a:pt x="193523" y="80625"/>
                      </a:lnTo>
                      <a:lnTo>
                        <a:pt x="194542" y="77846"/>
                      </a:lnTo>
                      <a:lnTo>
                        <a:pt x="195170" y="78246"/>
                      </a:lnTo>
                      <a:lnTo>
                        <a:pt x="195667" y="78938"/>
                      </a:lnTo>
                      <a:lnTo>
                        <a:pt x="196042" y="80161"/>
                      </a:lnTo>
                      <a:lnTo>
                        <a:pt x="194485" y="82272"/>
                      </a:lnTo>
                      <a:lnTo>
                        <a:pt x="193784" y="82606"/>
                      </a:lnTo>
                      <a:lnTo>
                        <a:pt x="193116" y="83779"/>
                      </a:lnTo>
                      <a:lnTo>
                        <a:pt x="192065" y="87634"/>
                      </a:lnTo>
                      <a:lnTo>
                        <a:pt x="192179" y="88930"/>
                      </a:lnTo>
                      <a:lnTo>
                        <a:pt x="193108" y="90218"/>
                      </a:lnTo>
                      <a:lnTo>
                        <a:pt x="195545" y="91416"/>
                      </a:lnTo>
                      <a:lnTo>
                        <a:pt x="196726" y="90878"/>
                      </a:lnTo>
                      <a:close/>
                      <a:moveTo>
                        <a:pt x="223229" y="163329"/>
                      </a:moveTo>
                      <a:lnTo>
                        <a:pt x="223213" y="163353"/>
                      </a:lnTo>
                      <a:lnTo>
                        <a:pt x="223221" y="456206"/>
                      </a:lnTo>
                      <a:lnTo>
                        <a:pt x="0" y="456206"/>
                      </a:lnTo>
                      <a:lnTo>
                        <a:pt x="0" y="111920"/>
                      </a:lnTo>
                      <a:lnTo>
                        <a:pt x="1393" y="112336"/>
                      </a:lnTo>
                      <a:lnTo>
                        <a:pt x="4050" y="115482"/>
                      </a:lnTo>
                      <a:lnTo>
                        <a:pt x="4295" y="119361"/>
                      </a:lnTo>
                      <a:lnTo>
                        <a:pt x="5297" y="120754"/>
                      </a:lnTo>
                      <a:lnTo>
                        <a:pt x="5843" y="118310"/>
                      </a:lnTo>
                      <a:lnTo>
                        <a:pt x="5729" y="113012"/>
                      </a:lnTo>
                      <a:lnTo>
                        <a:pt x="6577" y="111953"/>
                      </a:lnTo>
                      <a:lnTo>
                        <a:pt x="9397" y="112776"/>
                      </a:lnTo>
                      <a:lnTo>
                        <a:pt x="11320" y="113835"/>
                      </a:lnTo>
                      <a:lnTo>
                        <a:pt x="14001" y="117307"/>
                      </a:lnTo>
                      <a:lnTo>
                        <a:pt x="14506" y="119027"/>
                      </a:lnTo>
                      <a:lnTo>
                        <a:pt x="15672" y="120135"/>
                      </a:lnTo>
                      <a:lnTo>
                        <a:pt x="16063" y="118530"/>
                      </a:lnTo>
                      <a:lnTo>
                        <a:pt x="15517" y="116240"/>
                      </a:lnTo>
                      <a:lnTo>
                        <a:pt x="15134" y="113623"/>
                      </a:lnTo>
                      <a:lnTo>
                        <a:pt x="15745" y="111350"/>
                      </a:lnTo>
                      <a:lnTo>
                        <a:pt x="18875" y="111170"/>
                      </a:lnTo>
                      <a:lnTo>
                        <a:pt x="20986" y="110673"/>
                      </a:lnTo>
                      <a:lnTo>
                        <a:pt x="19991" y="109785"/>
                      </a:lnTo>
                      <a:lnTo>
                        <a:pt x="18622" y="109483"/>
                      </a:lnTo>
                      <a:lnTo>
                        <a:pt x="16389" y="107389"/>
                      </a:lnTo>
                      <a:lnTo>
                        <a:pt x="14946" y="105140"/>
                      </a:lnTo>
                      <a:lnTo>
                        <a:pt x="17269" y="102956"/>
                      </a:lnTo>
                      <a:lnTo>
                        <a:pt x="17253" y="102426"/>
                      </a:lnTo>
                      <a:lnTo>
                        <a:pt x="15020" y="102491"/>
                      </a:lnTo>
                      <a:lnTo>
                        <a:pt x="11948" y="100356"/>
                      </a:lnTo>
                      <a:lnTo>
                        <a:pt x="9340" y="97406"/>
                      </a:lnTo>
                      <a:lnTo>
                        <a:pt x="11328" y="91962"/>
                      </a:lnTo>
                      <a:lnTo>
                        <a:pt x="15305" y="86640"/>
                      </a:lnTo>
                      <a:lnTo>
                        <a:pt x="17538" y="84855"/>
                      </a:lnTo>
                      <a:lnTo>
                        <a:pt x="17750" y="83054"/>
                      </a:lnTo>
                      <a:lnTo>
                        <a:pt x="18826" y="79753"/>
                      </a:lnTo>
                      <a:lnTo>
                        <a:pt x="19510" y="76958"/>
                      </a:lnTo>
                      <a:lnTo>
                        <a:pt x="19706" y="74774"/>
                      </a:lnTo>
                      <a:lnTo>
                        <a:pt x="20741" y="72492"/>
                      </a:lnTo>
                      <a:lnTo>
                        <a:pt x="23202" y="70316"/>
                      </a:lnTo>
                      <a:lnTo>
                        <a:pt x="26535" y="69550"/>
                      </a:lnTo>
                      <a:lnTo>
                        <a:pt x="28108" y="68702"/>
                      </a:lnTo>
                      <a:lnTo>
                        <a:pt x="29673" y="66714"/>
                      </a:lnTo>
                      <a:lnTo>
                        <a:pt x="31173" y="64277"/>
                      </a:lnTo>
                      <a:lnTo>
                        <a:pt x="28084" y="59509"/>
                      </a:lnTo>
                      <a:lnTo>
                        <a:pt x="28344" y="56910"/>
                      </a:lnTo>
                      <a:lnTo>
                        <a:pt x="28899" y="53813"/>
                      </a:lnTo>
                      <a:lnTo>
                        <a:pt x="32615" y="51563"/>
                      </a:lnTo>
                      <a:lnTo>
                        <a:pt x="34644" y="45639"/>
                      </a:lnTo>
                      <a:lnTo>
                        <a:pt x="35989" y="44758"/>
                      </a:lnTo>
                      <a:lnTo>
                        <a:pt x="38907" y="44938"/>
                      </a:lnTo>
                      <a:lnTo>
                        <a:pt x="40048" y="44408"/>
                      </a:lnTo>
                      <a:lnTo>
                        <a:pt x="39844" y="39697"/>
                      </a:lnTo>
                      <a:lnTo>
                        <a:pt x="40170" y="37864"/>
                      </a:lnTo>
                      <a:lnTo>
                        <a:pt x="41409" y="37130"/>
                      </a:lnTo>
                      <a:lnTo>
                        <a:pt x="42982" y="37749"/>
                      </a:lnTo>
                      <a:lnTo>
                        <a:pt x="43984" y="39812"/>
                      </a:lnTo>
                      <a:lnTo>
                        <a:pt x="46233" y="41694"/>
                      </a:lnTo>
                      <a:lnTo>
                        <a:pt x="47008" y="40667"/>
                      </a:lnTo>
                      <a:lnTo>
                        <a:pt x="46625" y="38581"/>
                      </a:lnTo>
                      <a:lnTo>
                        <a:pt x="46396" y="35924"/>
                      </a:lnTo>
                      <a:lnTo>
                        <a:pt x="48450" y="35362"/>
                      </a:lnTo>
                      <a:lnTo>
                        <a:pt x="50105" y="35190"/>
                      </a:lnTo>
                      <a:lnTo>
                        <a:pt x="50276" y="33015"/>
                      </a:lnTo>
                      <a:lnTo>
                        <a:pt x="50015" y="31287"/>
                      </a:lnTo>
                      <a:lnTo>
                        <a:pt x="50667" y="30545"/>
                      </a:lnTo>
                      <a:lnTo>
                        <a:pt x="54978" y="30187"/>
                      </a:lnTo>
                      <a:lnTo>
                        <a:pt x="56119" y="28402"/>
                      </a:lnTo>
                      <a:lnTo>
                        <a:pt x="56763" y="26861"/>
                      </a:lnTo>
                      <a:lnTo>
                        <a:pt x="57309" y="27709"/>
                      </a:lnTo>
                      <a:lnTo>
                        <a:pt x="58018" y="31165"/>
                      </a:lnTo>
                      <a:lnTo>
                        <a:pt x="60406" y="33186"/>
                      </a:lnTo>
                      <a:lnTo>
                        <a:pt x="67545" y="33218"/>
                      </a:lnTo>
                      <a:lnTo>
                        <a:pt x="71546" y="31825"/>
                      </a:lnTo>
                      <a:lnTo>
                        <a:pt x="73250" y="32656"/>
                      </a:lnTo>
                      <a:lnTo>
                        <a:pt x="75915" y="33300"/>
                      </a:lnTo>
                      <a:lnTo>
                        <a:pt x="78849" y="31678"/>
                      </a:lnTo>
                      <a:lnTo>
                        <a:pt x="80601" y="30447"/>
                      </a:lnTo>
                      <a:lnTo>
                        <a:pt x="83551" y="32045"/>
                      </a:lnTo>
                      <a:lnTo>
                        <a:pt x="84521" y="33748"/>
                      </a:lnTo>
                      <a:lnTo>
                        <a:pt x="85279" y="30146"/>
                      </a:lnTo>
                      <a:lnTo>
                        <a:pt x="86990" y="28899"/>
                      </a:lnTo>
                      <a:lnTo>
                        <a:pt x="88807" y="28149"/>
                      </a:lnTo>
                      <a:lnTo>
                        <a:pt x="91106" y="28752"/>
                      </a:lnTo>
                      <a:lnTo>
                        <a:pt x="92002" y="28548"/>
                      </a:lnTo>
                      <a:lnTo>
                        <a:pt x="89965" y="25875"/>
                      </a:lnTo>
                      <a:lnTo>
                        <a:pt x="90079" y="23447"/>
                      </a:lnTo>
                      <a:lnTo>
                        <a:pt x="89948" y="19845"/>
                      </a:lnTo>
                      <a:lnTo>
                        <a:pt x="90315" y="16560"/>
                      </a:lnTo>
                      <a:lnTo>
                        <a:pt x="91049" y="14205"/>
                      </a:lnTo>
                      <a:lnTo>
                        <a:pt x="86118" y="9429"/>
                      </a:lnTo>
                      <a:lnTo>
                        <a:pt x="81220" y="8704"/>
                      </a:lnTo>
                      <a:lnTo>
                        <a:pt x="77642" y="9714"/>
                      </a:lnTo>
                      <a:lnTo>
                        <a:pt x="76135" y="8924"/>
                      </a:lnTo>
                      <a:lnTo>
                        <a:pt x="72956" y="5110"/>
                      </a:lnTo>
                      <a:lnTo>
                        <a:pt x="69925" y="3708"/>
                      </a:lnTo>
                      <a:lnTo>
                        <a:pt x="69656" y="2779"/>
                      </a:lnTo>
                      <a:lnTo>
                        <a:pt x="73372" y="41"/>
                      </a:lnTo>
                      <a:lnTo>
                        <a:pt x="74790" y="505"/>
                      </a:lnTo>
                      <a:lnTo>
                        <a:pt x="76958" y="3064"/>
                      </a:lnTo>
                      <a:lnTo>
                        <a:pt x="78181" y="3977"/>
                      </a:lnTo>
                      <a:lnTo>
                        <a:pt x="79232" y="3790"/>
                      </a:lnTo>
                      <a:lnTo>
                        <a:pt x="79908" y="1785"/>
                      </a:lnTo>
                      <a:lnTo>
                        <a:pt x="80837" y="733"/>
                      </a:lnTo>
                      <a:lnTo>
                        <a:pt x="82606" y="1328"/>
                      </a:lnTo>
                      <a:lnTo>
                        <a:pt x="88156" y="5648"/>
                      </a:lnTo>
                      <a:lnTo>
                        <a:pt x="91269" y="9853"/>
                      </a:lnTo>
                      <a:lnTo>
                        <a:pt x="92850" y="8745"/>
                      </a:lnTo>
                      <a:lnTo>
                        <a:pt x="95580" y="6398"/>
                      </a:lnTo>
                      <a:lnTo>
                        <a:pt x="98155" y="6878"/>
                      </a:lnTo>
                      <a:lnTo>
                        <a:pt x="99745" y="8256"/>
                      </a:lnTo>
                      <a:lnTo>
                        <a:pt x="101953" y="13374"/>
                      </a:lnTo>
                      <a:lnTo>
                        <a:pt x="103722" y="15916"/>
                      </a:lnTo>
                      <a:lnTo>
                        <a:pt x="107968" y="16593"/>
                      </a:lnTo>
                      <a:lnTo>
                        <a:pt x="110127" y="17571"/>
                      </a:lnTo>
                      <a:lnTo>
                        <a:pt x="112360" y="19258"/>
                      </a:lnTo>
                      <a:lnTo>
                        <a:pt x="115368" y="19103"/>
                      </a:lnTo>
                      <a:lnTo>
                        <a:pt x="121562" y="19722"/>
                      </a:lnTo>
                      <a:lnTo>
                        <a:pt x="127397" y="22998"/>
                      </a:lnTo>
                      <a:lnTo>
                        <a:pt x="129825" y="25044"/>
                      </a:lnTo>
                      <a:lnTo>
                        <a:pt x="132645" y="25598"/>
                      </a:lnTo>
                      <a:lnTo>
                        <a:pt x="134299" y="26405"/>
                      </a:lnTo>
                      <a:lnTo>
                        <a:pt x="137290" y="26650"/>
                      </a:lnTo>
                      <a:lnTo>
                        <a:pt x="142050" y="24343"/>
                      </a:lnTo>
                      <a:lnTo>
                        <a:pt x="144193" y="26470"/>
                      </a:lnTo>
                      <a:lnTo>
                        <a:pt x="145138" y="27913"/>
                      </a:lnTo>
                      <a:lnTo>
                        <a:pt x="149474" y="30684"/>
                      </a:lnTo>
                      <a:lnTo>
                        <a:pt x="154144" y="31523"/>
                      </a:lnTo>
                      <a:lnTo>
                        <a:pt x="157477" y="28728"/>
                      </a:lnTo>
                      <a:lnTo>
                        <a:pt x="162351" y="26658"/>
                      </a:lnTo>
                      <a:lnTo>
                        <a:pt x="165749" y="23487"/>
                      </a:lnTo>
                      <a:lnTo>
                        <a:pt x="168292" y="21996"/>
                      </a:lnTo>
                      <a:lnTo>
                        <a:pt x="170696" y="19413"/>
                      </a:lnTo>
                      <a:lnTo>
                        <a:pt x="171609" y="19543"/>
                      </a:lnTo>
                      <a:lnTo>
                        <a:pt x="169653" y="21955"/>
                      </a:lnTo>
                      <a:lnTo>
                        <a:pt x="169416" y="23333"/>
                      </a:lnTo>
                      <a:lnTo>
                        <a:pt x="170949" y="23903"/>
                      </a:lnTo>
                      <a:lnTo>
                        <a:pt x="170786" y="24596"/>
                      </a:lnTo>
                      <a:lnTo>
                        <a:pt x="168683" y="26478"/>
                      </a:lnTo>
                      <a:lnTo>
                        <a:pt x="166148" y="29396"/>
                      </a:lnTo>
                      <a:lnTo>
                        <a:pt x="166206" y="31165"/>
                      </a:lnTo>
                      <a:lnTo>
                        <a:pt x="167175" y="32126"/>
                      </a:lnTo>
                      <a:lnTo>
                        <a:pt x="168349" y="31694"/>
                      </a:lnTo>
                      <a:lnTo>
                        <a:pt x="169995" y="30211"/>
                      </a:lnTo>
                      <a:lnTo>
                        <a:pt x="171984" y="29404"/>
                      </a:lnTo>
                      <a:lnTo>
                        <a:pt x="173736" y="30594"/>
                      </a:lnTo>
                      <a:lnTo>
                        <a:pt x="174314" y="34824"/>
                      </a:lnTo>
                      <a:lnTo>
                        <a:pt x="175554" y="37603"/>
                      </a:lnTo>
                      <a:lnTo>
                        <a:pt x="178308" y="37978"/>
                      </a:lnTo>
                      <a:lnTo>
                        <a:pt x="179987" y="37945"/>
                      </a:lnTo>
                      <a:lnTo>
                        <a:pt x="181666" y="34050"/>
                      </a:lnTo>
                      <a:lnTo>
                        <a:pt x="180769" y="30749"/>
                      </a:lnTo>
                      <a:lnTo>
                        <a:pt x="179726" y="30040"/>
                      </a:lnTo>
                      <a:lnTo>
                        <a:pt x="180231" y="28785"/>
                      </a:lnTo>
                      <a:lnTo>
                        <a:pt x="184518" y="23333"/>
                      </a:lnTo>
                      <a:lnTo>
                        <a:pt x="186931" y="23520"/>
                      </a:lnTo>
                      <a:lnTo>
                        <a:pt x="188650" y="28834"/>
                      </a:lnTo>
                      <a:lnTo>
                        <a:pt x="191372" y="31662"/>
                      </a:lnTo>
                      <a:lnTo>
                        <a:pt x="194273" y="31433"/>
                      </a:lnTo>
                      <a:lnTo>
                        <a:pt x="195789" y="32183"/>
                      </a:lnTo>
                      <a:lnTo>
                        <a:pt x="197020" y="35394"/>
                      </a:lnTo>
                      <a:lnTo>
                        <a:pt x="186849" y="48564"/>
                      </a:lnTo>
                      <a:lnTo>
                        <a:pt x="186368" y="50031"/>
                      </a:lnTo>
                      <a:lnTo>
                        <a:pt x="187737" y="52427"/>
                      </a:lnTo>
                      <a:lnTo>
                        <a:pt x="188259" y="55231"/>
                      </a:lnTo>
                      <a:lnTo>
                        <a:pt x="184950" y="61938"/>
                      </a:lnTo>
                      <a:lnTo>
                        <a:pt x="183744" y="62272"/>
                      </a:lnTo>
                      <a:lnTo>
                        <a:pt x="182570" y="60455"/>
                      </a:lnTo>
                      <a:lnTo>
                        <a:pt x="180818" y="59289"/>
                      </a:lnTo>
                      <a:lnTo>
                        <a:pt x="179286" y="60112"/>
                      </a:lnTo>
                      <a:lnTo>
                        <a:pt x="177656" y="60601"/>
                      </a:lnTo>
                      <a:lnTo>
                        <a:pt x="171715" y="64342"/>
                      </a:lnTo>
                      <a:lnTo>
                        <a:pt x="171764" y="73975"/>
                      </a:lnTo>
                      <a:lnTo>
                        <a:pt x="173263" y="79696"/>
                      </a:lnTo>
                      <a:lnTo>
                        <a:pt x="172399" y="83486"/>
                      </a:lnTo>
                      <a:lnTo>
                        <a:pt x="170639" y="90120"/>
                      </a:lnTo>
                      <a:lnTo>
                        <a:pt x="168732" y="92589"/>
                      </a:lnTo>
                      <a:lnTo>
                        <a:pt x="167200" y="94178"/>
                      </a:lnTo>
                      <a:lnTo>
                        <a:pt x="162106" y="103249"/>
                      </a:lnTo>
                      <a:lnTo>
                        <a:pt x="160476" y="105433"/>
                      </a:lnTo>
                      <a:lnTo>
                        <a:pt x="158789" y="108522"/>
                      </a:lnTo>
                      <a:lnTo>
                        <a:pt x="159344" y="111496"/>
                      </a:lnTo>
                      <a:lnTo>
                        <a:pt x="159971" y="113550"/>
                      </a:lnTo>
                      <a:lnTo>
                        <a:pt x="161894" y="115897"/>
                      </a:lnTo>
                      <a:lnTo>
                        <a:pt x="169384" y="120779"/>
                      </a:lnTo>
                      <a:lnTo>
                        <a:pt x="172774" y="124121"/>
                      </a:lnTo>
                      <a:lnTo>
                        <a:pt x="178626" y="128179"/>
                      </a:lnTo>
                      <a:lnTo>
                        <a:pt x="179971" y="130982"/>
                      </a:lnTo>
                      <a:lnTo>
                        <a:pt x="180769" y="133256"/>
                      </a:lnTo>
                      <a:lnTo>
                        <a:pt x="184991" y="135864"/>
                      </a:lnTo>
                      <a:lnTo>
                        <a:pt x="188014" y="137421"/>
                      </a:lnTo>
                      <a:lnTo>
                        <a:pt x="188878" y="137021"/>
                      </a:lnTo>
                      <a:lnTo>
                        <a:pt x="189506" y="136475"/>
                      </a:lnTo>
                      <a:lnTo>
                        <a:pt x="190264" y="136475"/>
                      </a:lnTo>
                      <a:lnTo>
                        <a:pt x="191021" y="136769"/>
                      </a:lnTo>
                      <a:lnTo>
                        <a:pt x="190899" y="138798"/>
                      </a:lnTo>
                      <a:lnTo>
                        <a:pt x="190565" y="139923"/>
                      </a:lnTo>
                      <a:lnTo>
                        <a:pt x="190850" y="141341"/>
                      </a:lnTo>
                      <a:lnTo>
                        <a:pt x="193002" y="143150"/>
                      </a:lnTo>
                      <a:lnTo>
                        <a:pt x="196425" y="143101"/>
                      </a:lnTo>
                      <a:lnTo>
                        <a:pt x="198381" y="142661"/>
                      </a:lnTo>
                      <a:lnTo>
                        <a:pt x="200565" y="144584"/>
                      </a:lnTo>
                      <a:lnTo>
                        <a:pt x="202529" y="145831"/>
                      </a:lnTo>
                      <a:lnTo>
                        <a:pt x="205764" y="148407"/>
                      </a:lnTo>
                      <a:lnTo>
                        <a:pt x="211388" y="151471"/>
                      </a:lnTo>
                      <a:lnTo>
                        <a:pt x="215780" y="153484"/>
                      </a:lnTo>
                      <a:lnTo>
                        <a:pt x="220972" y="160925"/>
                      </a:lnTo>
                      <a:lnTo>
                        <a:pt x="223229" y="163329"/>
                      </a:lnTo>
                      <a:close/>
                      <a:moveTo>
                        <a:pt x="61294" y="6096"/>
                      </a:moveTo>
                      <a:lnTo>
                        <a:pt x="62508" y="7082"/>
                      </a:lnTo>
                      <a:lnTo>
                        <a:pt x="62916" y="7734"/>
                      </a:lnTo>
                      <a:lnTo>
                        <a:pt x="61155" y="9934"/>
                      </a:lnTo>
                      <a:lnTo>
                        <a:pt x="60928" y="12314"/>
                      </a:lnTo>
                      <a:lnTo>
                        <a:pt x="59053" y="12143"/>
                      </a:lnTo>
                      <a:lnTo>
                        <a:pt x="56812" y="16031"/>
                      </a:lnTo>
                      <a:lnTo>
                        <a:pt x="48352" y="22559"/>
                      </a:lnTo>
                      <a:lnTo>
                        <a:pt x="40757" y="16984"/>
                      </a:lnTo>
                      <a:lnTo>
                        <a:pt x="37464" y="13219"/>
                      </a:lnTo>
                      <a:lnTo>
                        <a:pt x="35248" y="8019"/>
                      </a:lnTo>
                      <a:lnTo>
                        <a:pt x="34807" y="3757"/>
                      </a:lnTo>
                      <a:lnTo>
                        <a:pt x="33903" y="1035"/>
                      </a:lnTo>
                      <a:lnTo>
                        <a:pt x="34310" y="350"/>
                      </a:lnTo>
                      <a:lnTo>
                        <a:pt x="34775" y="0"/>
                      </a:lnTo>
                      <a:lnTo>
                        <a:pt x="35354" y="73"/>
                      </a:lnTo>
                      <a:lnTo>
                        <a:pt x="37644" y="2983"/>
                      </a:lnTo>
                      <a:lnTo>
                        <a:pt x="38646" y="3790"/>
                      </a:lnTo>
                      <a:lnTo>
                        <a:pt x="40121" y="5917"/>
                      </a:lnTo>
                      <a:lnTo>
                        <a:pt x="43422" y="6161"/>
                      </a:lnTo>
                      <a:lnTo>
                        <a:pt x="47399" y="3896"/>
                      </a:lnTo>
                      <a:lnTo>
                        <a:pt x="49249" y="4817"/>
                      </a:lnTo>
                      <a:lnTo>
                        <a:pt x="50137" y="4645"/>
                      </a:lnTo>
                      <a:lnTo>
                        <a:pt x="53046" y="2486"/>
                      </a:lnTo>
                      <a:lnTo>
                        <a:pt x="54946" y="1866"/>
                      </a:lnTo>
                      <a:lnTo>
                        <a:pt x="56208" y="269"/>
                      </a:lnTo>
                      <a:lnTo>
                        <a:pt x="57513" y="2005"/>
                      </a:lnTo>
                      <a:lnTo>
                        <a:pt x="60398" y="4010"/>
                      </a:lnTo>
                      <a:lnTo>
                        <a:pt x="61294" y="6096"/>
                      </a:lnTo>
                      <a:close/>
                    </a:path>
                  </a:pathLst>
                </a:custGeom>
                <a:solidFill>
                  <a:srgbClr val="D6D6D2"/>
                </a:solidFill>
                <a:ln w="6112" cap="rnd">
                  <a:solidFill>
                    <a:srgbClr val="FFFFFF"/>
                  </a:solidFill>
                  <a:prstDash val="solid"/>
                  <a:round/>
                </a:ln>
              </p:spPr>
              <p:txBody>
                <a:bodyPr rtlCol="0" anchor="ctr"/>
                <a:lstStyle/>
                <a:p>
                  <a:endParaRPr lang="en-US"/>
                </a:p>
              </p:txBody>
            </p:sp>
            <p:sp>
              <p:nvSpPr>
                <p:cNvPr id="487" name="Freeform: Shape 486">
                  <a:extLst>
                    <a:ext uri="{FF2B5EF4-FFF2-40B4-BE49-F238E27FC236}">
                      <a16:creationId xmlns:a16="http://schemas.microsoft.com/office/drawing/2014/main" id="{21C58910-A88D-4187-B2FE-3C8E2D8AC2E3}"/>
                    </a:ext>
                  </a:extLst>
                </p:cNvPr>
                <p:cNvSpPr/>
                <p:nvPr/>
              </p:nvSpPr>
              <p:spPr>
                <a:xfrm>
                  <a:off x="8750848" y="4937965"/>
                  <a:ext cx="392352" cy="671456"/>
                </a:xfrm>
                <a:custGeom>
                  <a:avLst/>
                  <a:gdLst>
                    <a:gd name="connsiteX0" fmla="*/ 392320 w 392352"/>
                    <a:gd name="connsiteY0" fmla="*/ 378555 h 671456"/>
                    <a:gd name="connsiteX1" fmla="*/ 392320 w 392352"/>
                    <a:gd name="connsiteY1" fmla="*/ 560343 h 671456"/>
                    <a:gd name="connsiteX2" fmla="*/ 390927 w 392352"/>
                    <a:gd name="connsiteY2" fmla="*/ 560669 h 671456"/>
                    <a:gd name="connsiteX3" fmla="*/ 381008 w 392352"/>
                    <a:gd name="connsiteY3" fmla="*/ 566651 h 671456"/>
                    <a:gd name="connsiteX4" fmla="*/ 369150 w 392352"/>
                    <a:gd name="connsiteY4" fmla="*/ 572445 h 671456"/>
                    <a:gd name="connsiteX5" fmla="*/ 359477 w 392352"/>
                    <a:gd name="connsiteY5" fmla="*/ 575200 h 671456"/>
                    <a:gd name="connsiteX6" fmla="*/ 350594 w 392352"/>
                    <a:gd name="connsiteY6" fmla="*/ 578859 h 671456"/>
                    <a:gd name="connsiteX7" fmla="*/ 344742 w 392352"/>
                    <a:gd name="connsiteY7" fmla="*/ 579919 h 671456"/>
                    <a:gd name="connsiteX8" fmla="*/ 337171 w 392352"/>
                    <a:gd name="connsiteY8" fmla="*/ 580375 h 671456"/>
                    <a:gd name="connsiteX9" fmla="*/ 321246 w 392352"/>
                    <a:gd name="connsiteY9" fmla="*/ 578623 h 671456"/>
                    <a:gd name="connsiteX10" fmla="*/ 315802 w 392352"/>
                    <a:gd name="connsiteY10" fmla="*/ 579927 h 671456"/>
                    <a:gd name="connsiteX11" fmla="*/ 307131 w 392352"/>
                    <a:gd name="connsiteY11" fmla="*/ 586699 h 671456"/>
                    <a:gd name="connsiteX12" fmla="*/ 304556 w 392352"/>
                    <a:gd name="connsiteY12" fmla="*/ 588354 h 671456"/>
                    <a:gd name="connsiteX13" fmla="*/ 299658 w 392352"/>
                    <a:gd name="connsiteY13" fmla="*/ 590228 h 671456"/>
                    <a:gd name="connsiteX14" fmla="*/ 287058 w 392352"/>
                    <a:gd name="connsiteY14" fmla="*/ 598948 h 671456"/>
                    <a:gd name="connsiteX15" fmla="*/ 281264 w 392352"/>
                    <a:gd name="connsiteY15" fmla="*/ 600814 h 671456"/>
                    <a:gd name="connsiteX16" fmla="*/ 277507 w 392352"/>
                    <a:gd name="connsiteY16" fmla="*/ 601409 h 671456"/>
                    <a:gd name="connsiteX17" fmla="*/ 274287 w 392352"/>
                    <a:gd name="connsiteY17" fmla="*/ 603267 h 671456"/>
                    <a:gd name="connsiteX18" fmla="*/ 271370 w 392352"/>
                    <a:gd name="connsiteY18" fmla="*/ 606976 h 671456"/>
                    <a:gd name="connsiteX19" fmla="*/ 267442 w 392352"/>
                    <a:gd name="connsiteY19" fmla="*/ 617326 h 671456"/>
                    <a:gd name="connsiteX20" fmla="*/ 264989 w 392352"/>
                    <a:gd name="connsiteY20" fmla="*/ 622232 h 671456"/>
                    <a:gd name="connsiteX21" fmla="*/ 259577 w 392352"/>
                    <a:gd name="connsiteY21" fmla="*/ 630080 h 671456"/>
                    <a:gd name="connsiteX22" fmla="*/ 256008 w 392352"/>
                    <a:gd name="connsiteY22" fmla="*/ 632696 h 671456"/>
                    <a:gd name="connsiteX23" fmla="*/ 252503 w 392352"/>
                    <a:gd name="connsiteY23" fmla="*/ 632321 h 671456"/>
                    <a:gd name="connsiteX24" fmla="*/ 248592 w 392352"/>
                    <a:gd name="connsiteY24" fmla="*/ 635043 h 671456"/>
                    <a:gd name="connsiteX25" fmla="*/ 245120 w 392352"/>
                    <a:gd name="connsiteY25" fmla="*/ 632167 h 671456"/>
                    <a:gd name="connsiteX26" fmla="*/ 242341 w 392352"/>
                    <a:gd name="connsiteY26" fmla="*/ 631620 h 671456"/>
                    <a:gd name="connsiteX27" fmla="*/ 237924 w 392352"/>
                    <a:gd name="connsiteY27" fmla="*/ 631857 h 671456"/>
                    <a:gd name="connsiteX28" fmla="*/ 222390 w 392352"/>
                    <a:gd name="connsiteY28" fmla="*/ 635149 h 671456"/>
                    <a:gd name="connsiteX29" fmla="*/ 220165 w 392352"/>
                    <a:gd name="connsiteY29" fmla="*/ 631319 h 671456"/>
                    <a:gd name="connsiteX30" fmla="*/ 217313 w 392352"/>
                    <a:gd name="connsiteY30" fmla="*/ 630740 h 671456"/>
                    <a:gd name="connsiteX31" fmla="*/ 211942 w 392352"/>
                    <a:gd name="connsiteY31" fmla="*/ 630920 h 671456"/>
                    <a:gd name="connsiteX32" fmla="*/ 203882 w 392352"/>
                    <a:gd name="connsiteY32" fmla="*/ 629754 h 671456"/>
                    <a:gd name="connsiteX33" fmla="*/ 189245 w 392352"/>
                    <a:gd name="connsiteY33" fmla="*/ 631205 h 671456"/>
                    <a:gd name="connsiteX34" fmla="*/ 182204 w 392352"/>
                    <a:gd name="connsiteY34" fmla="*/ 632794 h 671456"/>
                    <a:gd name="connsiteX35" fmla="*/ 179416 w 392352"/>
                    <a:gd name="connsiteY35" fmla="*/ 634212 h 671456"/>
                    <a:gd name="connsiteX36" fmla="*/ 174241 w 392352"/>
                    <a:gd name="connsiteY36" fmla="*/ 633299 h 671456"/>
                    <a:gd name="connsiteX37" fmla="*/ 165424 w 392352"/>
                    <a:gd name="connsiteY37" fmla="*/ 634603 h 671456"/>
                    <a:gd name="connsiteX38" fmla="*/ 162319 w 392352"/>
                    <a:gd name="connsiteY38" fmla="*/ 636779 h 671456"/>
                    <a:gd name="connsiteX39" fmla="*/ 159996 w 392352"/>
                    <a:gd name="connsiteY39" fmla="*/ 638735 h 671456"/>
                    <a:gd name="connsiteX40" fmla="*/ 155415 w 392352"/>
                    <a:gd name="connsiteY40" fmla="*/ 647488 h 671456"/>
                    <a:gd name="connsiteX41" fmla="*/ 150396 w 392352"/>
                    <a:gd name="connsiteY41" fmla="*/ 650381 h 671456"/>
                    <a:gd name="connsiteX42" fmla="*/ 146255 w 392352"/>
                    <a:gd name="connsiteY42" fmla="*/ 650479 h 671456"/>
                    <a:gd name="connsiteX43" fmla="*/ 141659 w 392352"/>
                    <a:gd name="connsiteY43" fmla="*/ 651147 h 671456"/>
                    <a:gd name="connsiteX44" fmla="*/ 132336 w 392352"/>
                    <a:gd name="connsiteY44" fmla="*/ 659590 h 671456"/>
                    <a:gd name="connsiteX45" fmla="*/ 122801 w 392352"/>
                    <a:gd name="connsiteY45" fmla="*/ 667797 h 671456"/>
                    <a:gd name="connsiteX46" fmla="*/ 119589 w 392352"/>
                    <a:gd name="connsiteY46" fmla="*/ 668669 h 671456"/>
                    <a:gd name="connsiteX47" fmla="*/ 116036 w 392352"/>
                    <a:gd name="connsiteY47" fmla="*/ 670055 h 671456"/>
                    <a:gd name="connsiteX48" fmla="*/ 111391 w 392352"/>
                    <a:gd name="connsiteY48" fmla="*/ 670699 h 671456"/>
                    <a:gd name="connsiteX49" fmla="*/ 109068 w 392352"/>
                    <a:gd name="connsiteY49" fmla="*/ 671456 h 671456"/>
                    <a:gd name="connsiteX50" fmla="*/ 98205 w 392352"/>
                    <a:gd name="connsiteY50" fmla="*/ 669337 h 671456"/>
                    <a:gd name="connsiteX51" fmla="*/ 91294 w 392352"/>
                    <a:gd name="connsiteY51" fmla="*/ 669109 h 671456"/>
                    <a:gd name="connsiteX52" fmla="*/ 82647 w 392352"/>
                    <a:gd name="connsiteY52" fmla="*/ 667846 h 671456"/>
                    <a:gd name="connsiteX53" fmla="*/ 75206 w 392352"/>
                    <a:gd name="connsiteY53" fmla="*/ 663828 h 671456"/>
                    <a:gd name="connsiteX54" fmla="*/ 69493 w 392352"/>
                    <a:gd name="connsiteY54" fmla="*/ 661497 h 671456"/>
                    <a:gd name="connsiteX55" fmla="*/ 63039 w 392352"/>
                    <a:gd name="connsiteY55" fmla="*/ 652663 h 671456"/>
                    <a:gd name="connsiteX56" fmla="*/ 59037 w 392352"/>
                    <a:gd name="connsiteY56" fmla="*/ 649371 h 671456"/>
                    <a:gd name="connsiteX57" fmla="*/ 51906 w 392352"/>
                    <a:gd name="connsiteY57" fmla="*/ 645385 h 671456"/>
                    <a:gd name="connsiteX58" fmla="*/ 49860 w 392352"/>
                    <a:gd name="connsiteY58" fmla="*/ 645532 h 671456"/>
                    <a:gd name="connsiteX59" fmla="*/ 48206 w 392352"/>
                    <a:gd name="connsiteY59" fmla="*/ 646624 h 671456"/>
                    <a:gd name="connsiteX60" fmla="*/ 45256 w 392352"/>
                    <a:gd name="connsiteY60" fmla="*/ 643812 h 671456"/>
                    <a:gd name="connsiteX61" fmla="*/ 45166 w 392352"/>
                    <a:gd name="connsiteY61" fmla="*/ 640186 h 671456"/>
                    <a:gd name="connsiteX62" fmla="*/ 44367 w 392352"/>
                    <a:gd name="connsiteY62" fmla="*/ 637113 h 671456"/>
                    <a:gd name="connsiteX63" fmla="*/ 44425 w 392352"/>
                    <a:gd name="connsiteY63" fmla="*/ 629037 h 671456"/>
                    <a:gd name="connsiteX64" fmla="*/ 44873 w 392352"/>
                    <a:gd name="connsiteY64" fmla="*/ 619583 h 671456"/>
                    <a:gd name="connsiteX65" fmla="*/ 47481 w 392352"/>
                    <a:gd name="connsiteY65" fmla="*/ 621719 h 671456"/>
                    <a:gd name="connsiteX66" fmla="*/ 49534 w 392352"/>
                    <a:gd name="connsiteY66" fmla="*/ 623764 h 671456"/>
                    <a:gd name="connsiteX67" fmla="*/ 53927 w 392352"/>
                    <a:gd name="connsiteY67" fmla="*/ 623658 h 671456"/>
                    <a:gd name="connsiteX68" fmla="*/ 57815 w 392352"/>
                    <a:gd name="connsiteY68" fmla="*/ 620105 h 671456"/>
                    <a:gd name="connsiteX69" fmla="*/ 60023 w 392352"/>
                    <a:gd name="connsiteY69" fmla="*/ 614905 h 671456"/>
                    <a:gd name="connsiteX70" fmla="*/ 61971 w 392352"/>
                    <a:gd name="connsiteY70" fmla="*/ 609070 h 671456"/>
                    <a:gd name="connsiteX71" fmla="*/ 61678 w 392352"/>
                    <a:gd name="connsiteY71" fmla="*/ 602844 h 671456"/>
                    <a:gd name="connsiteX72" fmla="*/ 60373 w 392352"/>
                    <a:gd name="connsiteY72" fmla="*/ 591931 h 671456"/>
                    <a:gd name="connsiteX73" fmla="*/ 61254 w 392352"/>
                    <a:gd name="connsiteY73" fmla="*/ 589658 h 671456"/>
                    <a:gd name="connsiteX74" fmla="*/ 62590 w 392352"/>
                    <a:gd name="connsiteY74" fmla="*/ 588720 h 671456"/>
                    <a:gd name="connsiteX75" fmla="*/ 63022 w 392352"/>
                    <a:gd name="connsiteY75" fmla="*/ 583309 h 671456"/>
                    <a:gd name="connsiteX76" fmla="*/ 63340 w 392352"/>
                    <a:gd name="connsiteY76" fmla="*/ 566659 h 671456"/>
                    <a:gd name="connsiteX77" fmla="*/ 62354 w 392352"/>
                    <a:gd name="connsiteY77" fmla="*/ 560392 h 671456"/>
                    <a:gd name="connsiteX78" fmla="*/ 56307 w 392352"/>
                    <a:gd name="connsiteY78" fmla="*/ 547719 h 671456"/>
                    <a:gd name="connsiteX79" fmla="*/ 52330 w 392352"/>
                    <a:gd name="connsiteY79" fmla="*/ 536733 h 671456"/>
                    <a:gd name="connsiteX80" fmla="*/ 49420 w 392352"/>
                    <a:gd name="connsiteY80" fmla="*/ 531770 h 671456"/>
                    <a:gd name="connsiteX81" fmla="*/ 46967 w 392352"/>
                    <a:gd name="connsiteY81" fmla="*/ 523799 h 671456"/>
                    <a:gd name="connsiteX82" fmla="*/ 44905 w 392352"/>
                    <a:gd name="connsiteY82" fmla="*/ 512740 h 671456"/>
                    <a:gd name="connsiteX83" fmla="*/ 44269 w 392352"/>
                    <a:gd name="connsiteY83" fmla="*/ 507149 h 671456"/>
                    <a:gd name="connsiteX84" fmla="*/ 43601 w 392352"/>
                    <a:gd name="connsiteY84" fmla="*/ 496873 h 671456"/>
                    <a:gd name="connsiteX85" fmla="*/ 44327 w 392352"/>
                    <a:gd name="connsiteY85" fmla="*/ 491054 h 671456"/>
                    <a:gd name="connsiteX86" fmla="*/ 44025 w 392352"/>
                    <a:gd name="connsiteY86" fmla="*/ 487639 h 671456"/>
                    <a:gd name="connsiteX87" fmla="*/ 41482 w 392352"/>
                    <a:gd name="connsiteY87" fmla="*/ 478340 h 671456"/>
                    <a:gd name="connsiteX88" fmla="*/ 35827 w 392352"/>
                    <a:gd name="connsiteY88" fmla="*/ 469685 h 671456"/>
                    <a:gd name="connsiteX89" fmla="*/ 34881 w 392352"/>
                    <a:gd name="connsiteY89" fmla="*/ 466482 h 671456"/>
                    <a:gd name="connsiteX90" fmla="*/ 34914 w 392352"/>
                    <a:gd name="connsiteY90" fmla="*/ 463117 h 671456"/>
                    <a:gd name="connsiteX91" fmla="*/ 33569 w 392352"/>
                    <a:gd name="connsiteY91" fmla="*/ 459188 h 671456"/>
                    <a:gd name="connsiteX92" fmla="*/ 29005 w 392352"/>
                    <a:gd name="connsiteY92" fmla="*/ 451283 h 671456"/>
                    <a:gd name="connsiteX93" fmla="*/ 24335 w 392352"/>
                    <a:gd name="connsiteY93" fmla="*/ 444470 h 671456"/>
                    <a:gd name="connsiteX94" fmla="*/ 23553 w 392352"/>
                    <a:gd name="connsiteY94" fmla="*/ 441161 h 671456"/>
                    <a:gd name="connsiteX95" fmla="*/ 22681 w 392352"/>
                    <a:gd name="connsiteY95" fmla="*/ 427421 h 671456"/>
                    <a:gd name="connsiteX96" fmla="*/ 20945 w 392352"/>
                    <a:gd name="connsiteY96" fmla="*/ 421162 h 671456"/>
                    <a:gd name="connsiteX97" fmla="*/ 13023 w 392352"/>
                    <a:gd name="connsiteY97" fmla="*/ 405335 h 671456"/>
                    <a:gd name="connsiteX98" fmla="*/ 3692 w 392352"/>
                    <a:gd name="connsiteY98" fmla="*/ 391725 h 671456"/>
                    <a:gd name="connsiteX99" fmla="*/ 1157 w 392352"/>
                    <a:gd name="connsiteY99" fmla="*/ 386175 h 671456"/>
                    <a:gd name="connsiteX100" fmla="*/ 0 w 392352"/>
                    <a:gd name="connsiteY100" fmla="*/ 384309 h 671456"/>
                    <a:gd name="connsiteX101" fmla="*/ 644 w 392352"/>
                    <a:gd name="connsiteY101" fmla="*/ 384056 h 671456"/>
                    <a:gd name="connsiteX102" fmla="*/ 1695 w 392352"/>
                    <a:gd name="connsiteY102" fmla="*/ 384790 h 671456"/>
                    <a:gd name="connsiteX103" fmla="*/ 2869 w 392352"/>
                    <a:gd name="connsiteY103" fmla="*/ 386142 h 671456"/>
                    <a:gd name="connsiteX104" fmla="*/ 3440 w 392352"/>
                    <a:gd name="connsiteY104" fmla="*/ 386265 h 671456"/>
                    <a:gd name="connsiteX105" fmla="*/ 3985 w 392352"/>
                    <a:gd name="connsiteY105" fmla="*/ 385132 h 671456"/>
                    <a:gd name="connsiteX106" fmla="*/ 3920 w 392352"/>
                    <a:gd name="connsiteY106" fmla="*/ 382540 h 671456"/>
                    <a:gd name="connsiteX107" fmla="*/ 4246 w 392352"/>
                    <a:gd name="connsiteY107" fmla="*/ 381098 h 671456"/>
                    <a:gd name="connsiteX108" fmla="*/ 5069 w 392352"/>
                    <a:gd name="connsiteY108" fmla="*/ 381888 h 671456"/>
                    <a:gd name="connsiteX109" fmla="*/ 6023 w 392352"/>
                    <a:gd name="connsiteY109" fmla="*/ 384814 h 671456"/>
                    <a:gd name="connsiteX110" fmla="*/ 8973 w 392352"/>
                    <a:gd name="connsiteY110" fmla="*/ 392352 h 671456"/>
                    <a:gd name="connsiteX111" fmla="*/ 9845 w 392352"/>
                    <a:gd name="connsiteY111" fmla="*/ 396183 h 671456"/>
                    <a:gd name="connsiteX112" fmla="*/ 13610 w 392352"/>
                    <a:gd name="connsiteY112" fmla="*/ 397365 h 671456"/>
                    <a:gd name="connsiteX113" fmla="*/ 14784 w 392352"/>
                    <a:gd name="connsiteY113" fmla="*/ 396354 h 671456"/>
                    <a:gd name="connsiteX114" fmla="*/ 16161 w 392352"/>
                    <a:gd name="connsiteY114" fmla="*/ 394365 h 671456"/>
                    <a:gd name="connsiteX115" fmla="*/ 16569 w 392352"/>
                    <a:gd name="connsiteY115" fmla="*/ 389060 h 671456"/>
                    <a:gd name="connsiteX116" fmla="*/ 14670 w 392352"/>
                    <a:gd name="connsiteY116" fmla="*/ 386656 h 671456"/>
                    <a:gd name="connsiteX117" fmla="*/ 12942 w 392352"/>
                    <a:gd name="connsiteY117" fmla="*/ 385629 h 671456"/>
                    <a:gd name="connsiteX118" fmla="*/ 10041 w 392352"/>
                    <a:gd name="connsiteY118" fmla="*/ 381701 h 671456"/>
                    <a:gd name="connsiteX119" fmla="*/ 8166 w 392352"/>
                    <a:gd name="connsiteY119" fmla="*/ 375368 h 671456"/>
                    <a:gd name="connsiteX120" fmla="*/ 5240 w 392352"/>
                    <a:gd name="connsiteY120" fmla="*/ 369541 h 671456"/>
                    <a:gd name="connsiteX121" fmla="*/ 5281 w 392352"/>
                    <a:gd name="connsiteY121" fmla="*/ 367455 h 671456"/>
                    <a:gd name="connsiteX122" fmla="*/ 6626 w 392352"/>
                    <a:gd name="connsiteY122" fmla="*/ 365947 h 671456"/>
                    <a:gd name="connsiteX123" fmla="*/ 8818 w 392352"/>
                    <a:gd name="connsiteY123" fmla="*/ 366771 h 671456"/>
                    <a:gd name="connsiteX124" fmla="*/ 10848 w 392352"/>
                    <a:gd name="connsiteY124" fmla="*/ 370120 h 671456"/>
                    <a:gd name="connsiteX125" fmla="*/ 13121 w 392352"/>
                    <a:gd name="connsiteY125" fmla="*/ 373241 h 671456"/>
                    <a:gd name="connsiteX126" fmla="*/ 12738 w 392352"/>
                    <a:gd name="connsiteY126" fmla="*/ 378710 h 671456"/>
                    <a:gd name="connsiteX127" fmla="*/ 12380 w 392352"/>
                    <a:gd name="connsiteY127" fmla="*/ 380218 h 671456"/>
                    <a:gd name="connsiteX128" fmla="*/ 12583 w 392352"/>
                    <a:gd name="connsiteY128" fmla="*/ 381473 h 671456"/>
                    <a:gd name="connsiteX129" fmla="*/ 13382 w 392352"/>
                    <a:gd name="connsiteY129" fmla="*/ 382671 h 671456"/>
                    <a:gd name="connsiteX130" fmla="*/ 14425 w 392352"/>
                    <a:gd name="connsiteY130" fmla="*/ 383608 h 671456"/>
                    <a:gd name="connsiteX131" fmla="*/ 15566 w 392352"/>
                    <a:gd name="connsiteY131" fmla="*/ 382222 h 671456"/>
                    <a:gd name="connsiteX132" fmla="*/ 16617 w 392352"/>
                    <a:gd name="connsiteY132" fmla="*/ 379028 h 671456"/>
                    <a:gd name="connsiteX133" fmla="*/ 17261 w 392352"/>
                    <a:gd name="connsiteY133" fmla="*/ 379443 h 671456"/>
                    <a:gd name="connsiteX134" fmla="*/ 18810 w 392352"/>
                    <a:gd name="connsiteY134" fmla="*/ 386745 h 671456"/>
                    <a:gd name="connsiteX135" fmla="*/ 20032 w 392352"/>
                    <a:gd name="connsiteY135" fmla="*/ 388718 h 671456"/>
                    <a:gd name="connsiteX136" fmla="*/ 22477 w 392352"/>
                    <a:gd name="connsiteY136" fmla="*/ 391000 h 671456"/>
                    <a:gd name="connsiteX137" fmla="*/ 24604 w 392352"/>
                    <a:gd name="connsiteY137" fmla="*/ 389215 h 671456"/>
                    <a:gd name="connsiteX138" fmla="*/ 25582 w 392352"/>
                    <a:gd name="connsiteY138" fmla="*/ 387699 h 671456"/>
                    <a:gd name="connsiteX139" fmla="*/ 25281 w 392352"/>
                    <a:gd name="connsiteY139" fmla="*/ 382556 h 671456"/>
                    <a:gd name="connsiteX140" fmla="*/ 25908 w 392352"/>
                    <a:gd name="connsiteY140" fmla="*/ 377585 h 671456"/>
                    <a:gd name="connsiteX141" fmla="*/ 25549 w 392352"/>
                    <a:gd name="connsiteY141" fmla="*/ 373893 h 671456"/>
                    <a:gd name="connsiteX142" fmla="*/ 20049 w 392352"/>
                    <a:gd name="connsiteY142" fmla="*/ 364228 h 671456"/>
                    <a:gd name="connsiteX143" fmla="*/ 15085 w 392352"/>
                    <a:gd name="connsiteY143" fmla="*/ 352297 h 671456"/>
                    <a:gd name="connsiteX144" fmla="*/ 12078 w 392352"/>
                    <a:gd name="connsiteY144" fmla="*/ 346364 h 671456"/>
                    <a:gd name="connsiteX145" fmla="*/ 9552 w 392352"/>
                    <a:gd name="connsiteY145" fmla="*/ 337448 h 671456"/>
                    <a:gd name="connsiteX146" fmla="*/ 7913 w 392352"/>
                    <a:gd name="connsiteY146" fmla="*/ 334359 h 671456"/>
                    <a:gd name="connsiteX147" fmla="*/ 5786 w 392352"/>
                    <a:gd name="connsiteY147" fmla="*/ 329388 h 671456"/>
                    <a:gd name="connsiteX148" fmla="*/ 5673 w 392352"/>
                    <a:gd name="connsiteY148" fmla="*/ 323691 h 671456"/>
                    <a:gd name="connsiteX149" fmla="*/ 5884 w 392352"/>
                    <a:gd name="connsiteY149" fmla="*/ 319885 h 671456"/>
                    <a:gd name="connsiteX150" fmla="*/ 7571 w 392352"/>
                    <a:gd name="connsiteY150" fmla="*/ 311654 h 671456"/>
                    <a:gd name="connsiteX151" fmla="*/ 9136 w 392352"/>
                    <a:gd name="connsiteY151" fmla="*/ 307383 h 671456"/>
                    <a:gd name="connsiteX152" fmla="*/ 14197 w 392352"/>
                    <a:gd name="connsiteY152" fmla="*/ 297563 h 671456"/>
                    <a:gd name="connsiteX153" fmla="*/ 14442 w 392352"/>
                    <a:gd name="connsiteY153" fmla="*/ 293317 h 671456"/>
                    <a:gd name="connsiteX154" fmla="*/ 14384 w 392352"/>
                    <a:gd name="connsiteY154" fmla="*/ 290122 h 671456"/>
                    <a:gd name="connsiteX155" fmla="*/ 15135 w 392352"/>
                    <a:gd name="connsiteY155" fmla="*/ 285232 h 671456"/>
                    <a:gd name="connsiteX156" fmla="*/ 15142 w 392352"/>
                    <a:gd name="connsiteY156" fmla="*/ 281826 h 671456"/>
                    <a:gd name="connsiteX157" fmla="*/ 14466 w 392352"/>
                    <a:gd name="connsiteY157" fmla="*/ 278664 h 671456"/>
                    <a:gd name="connsiteX158" fmla="*/ 12347 w 392352"/>
                    <a:gd name="connsiteY158" fmla="*/ 273212 h 671456"/>
                    <a:gd name="connsiteX159" fmla="*/ 15142 w 392352"/>
                    <a:gd name="connsiteY159" fmla="*/ 263693 h 671456"/>
                    <a:gd name="connsiteX160" fmla="*/ 19193 w 392352"/>
                    <a:gd name="connsiteY160" fmla="*/ 251476 h 671456"/>
                    <a:gd name="connsiteX161" fmla="*/ 20782 w 392352"/>
                    <a:gd name="connsiteY161" fmla="*/ 249683 h 671456"/>
                    <a:gd name="connsiteX162" fmla="*/ 23292 w 392352"/>
                    <a:gd name="connsiteY162" fmla="*/ 248053 h 671456"/>
                    <a:gd name="connsiteX163" fmla="*/ 23757 w 392352"/>
                    <a:gd name="connsiteY163" fmla="*/ 250571 h 671456"/>
                    <a:gd name="connsiteX164" fmla="*/ 22526 w 392352"/>
                    <a:gd name="connsiteY164" fmla="*/ 259006 h 671456"/>
                    <a:gd name="connsiteX165" fmla="*/ 24287 w 392352"/>
                    <a:gd name="connsiteY165" fmla="*/ 263424 h 671456"/>
                    <a:gd name="connsiteX166" fmla="*/ 23748 w 392352"/>
                    <a:gd name="connsiteY166" fmla="*/ 268395 h 671456"/>
                    <a:gd name="connsiteX167" fmla="*/ 25313 w 392352"/>
                    <a:gd name="connsiteY167" fmla="*/ 267547 h 671456"/>
                    <a:gd name="connsiteX168" fmla="*/ 27758 w 392352"/>
                    <a:gd name="connsiteY168" fmla="*/ 266602 h 671456"/>
                    <a:gd name="connsiteX169" fmla="*/ 29600 w 392352"/>
                    <a:gd name="connsiteY169" fmla="*/ 263994 h 671456"/>
                    <a:gd name="connsiteX170" fmla="*/ 30578 w 392352"/>
                    <a:gd name="connsiteY170" fmla="*/ 261484 h 671456"/>
                    <a:gd name="connsiteX171" fmla="*/ 35175 w 392352"/>
                    <a:gd name="connsiteY171" fmla="*/ 251574 h 671456"/>
                    <a:gd name="connsiteX172" fmla="*/ 37823 w 392352"/>
                    <a:gd name="connsiteY172" fmla="*/ 247882 h 671456"/>
                    <a:gd name="connsiteX173" fmla="*/ 41531 w 392352"/>
                    <a:gd name="connsiteY173" fmla="*/ 245176 h 671456"/>
                    <a:gd name="connsiteX174" fmla="*/ 49045 w 392352"/>
                    <a:gd name="connsiteY174" fmla="*/ 241908 h 671456"/>
                    <a:gd name="connsiteX175" fmla="*/ 56347 w 392352"/>
                    <a:gd name="connsiteY175" fmla="*/ 237589 h 671456"/>
                    <a:gd name="connsiteX176" fmla="*/ 59819 w 392352"/>
                    <a:gd name="connsiteY176" fmla="*/ 233457 h 671456"/>
                    <a:gd name="connsiteX177" fmla="*/ 64171 w 392352"/>
                    <a:gd name="connsiteY177" fmla="*/ 229871 h 671456"/>
                    <a:gd name="connsiteX178" fmla="*/ 67195 w 392352"/>
                    <a:gd name="connsiteY178" fmla="*/ 225976 h 671456"/>
                    <a:gd name="connsiteX179" fmla="*/ 70104 w 392352"/>
                    <a:gd name="connsiteY179" fmla="*/ 223294 h 671456"/>
                    <a:gd name="connsiteX180" fmla="*/ 84863 w 392352"/>
                    <a:gd name="connsiteY180" fmla="*/ 213482 h 671456"/>
                    <a:gd name="connsiteX181" fmla="*/ 87373 w 392352"/>
                    <a:gd name="connsiteY181" fmla="*/ 211649 h 671456"/>
                    <a:gd name="connsiteX182" fmla="*/ 90593 w 392352"/>
                    <a:gd name="connsiteY182" fmla="*/ 211445 h 671456"/>
                    <a:gd name="connsiteX183" fmla="*/ 94529 w 392352"/>
                    <a:gd name="connsiteY183" fmla="*/ 211754 h 671456"/>
                    <a:gd name="connsiteX184" fmla="*/ 98090 w 392352"/>
                    <a:gd name="connsiteY184" fmla="*/ 211241 h 671456"/>
                    <a:gd name="connsiteX185" fmla="*/ 101904 w 392352"/>
                    <a:gd name="connsiteY185" fmla="*/ 213482 h 671456"/>
                    <a:gd name="connsiteX186" fmla="*/ 104724 w 392352"/>
                    <a:gd name="connsiteY186" fmla="*/ 213727 h 671456"/>
                    <a:gd name="connsiteX187" fmla="*/ 111611 w 392352"/>
                    <a:gd name="connsiteY187" fmla="*/ 211298 h 671456"/>
                    <a:gd name="connsiteX188" fmla="*/ 115295 w 392352"/>
                    <a:gd name="connsiteY188" fmla="*/ 209122 h 671456"/>
                    <a:gd name="connsiteX189" fmla="*/ 121619 w 392352"/>
                    <a:gd name="connsiteY189" fmla="*/ 204379 h 671456"/>
                    <a:gd name="connsiteX190" fmla="*/ 124398 w 392352"/>
                    <a:gd name="connsiteY190" fmla="*/ 203026 h 671456"/>
                    <a:gd name="connsiteX191" fmla="*/ 130820 w 392352"/>
                    <a:gd name="connsiteY191" fmla="*/ 201527 h 671456"/>
                    <a:gd name="connsiteX192" fmla="*/ 138089 w 392352"/>
                    <a:gd name="connsiteY192" fmla="*/ 199530 h 671456"/>
                    <a:gd name="connsiteX193" fmla="*/ 146842 w 392352"/>
                    <a:gd name="connsiteY193" fmla="*/ 191290 h 671456"/>
                    <a:gd name="connsiteX194" fmla="*/ 153150 w 392352"/>
                    <a:gd name="connsiteY194" fmla="*/ 191812 h 671456"/>
                    <a:gd name="connsiteX195" fmla="*/ 158782 w 392352"/>
                    <a:gd name="connsiteY195" fmla="*/ 192611 h 671456"/>
                    <a:gd name="connsiteX196" fmla="*/ 163297 w 392352"/>
                    <a:gd name="connsiteY196" fmla="*/ 190150 h 671456"/>
                    <a:gd name="connsiteX197" fmla="*/ 173932 w 392352"/>
                    <a:gd name="connsiteY197" fmla="*/ 188625 h 671456"/>
                    <a:gd name="connsiteX198" fmla="*/ 179816 w 392352"/>
                    <a:gd name="connsiteY198" fmla="*/ 186547 h 671456"/>
                    <a:gd name="connsiteX199" fmla="*/ 190851 w 392352"/>
                    <a:gd name="connsiteY199" fmla="*/ 181087 h 671456"/>
                    <a:gd name="connsiteX200" fmla="*/ 193817 w 392352"/>
                    <a:gd name="connsiteY200" fmla="*/ 179221 h 671456"/>
                    <a:gd name="connsiteX201" fmla="*/ 198324 w 392352"/>
                    <a:gd name="connsiteY201" fmla="*/ 175317 h 671456"/>
                    <a:gd name="connsiteX202" fmla="*/ 202236 w 392352"/>
                    <a:gd name="connsiteY202" fmla="*/ 170451 h 671456"/>
                    <a:gd name="connsiteX203" fmla="*/ 206107 w 392352"/>
                    <a:gd name="connsiteY203" fmla="*/ 163867 h 671456"/>
                    <a:gd name="connsiteX204" fmla="*/ 208495 w 392352"/>
                    <a:gd name="connsiteY204" fmla="*/ 157982 h 671456"/>
                    <a:gd name="connsiteX205" fmla="*/ 209505 w 392352"/>
                    <a:gd name="connsiteY205" fmla="*/ 154959 h 671456"/>
                    <a:gd name="connsiteX206" fmla="*/ 211771 w 392352"/>
                    <a:gd name="connsiteY206" fmla="*/ 150134 h 671456"/>
                    <a:gd name="connsiteX207" fmla="*/ 213320 w 392352"/>
                    <a:gd name="connsiteY207" fmla="*/ 146328 h 671456"/>
                    <a:gd name="connsiteX208" fmla="*/ 214525 w 392352"/>
                    <a:gd name="connsiteY208" fmla="*/ 144511 h 671456"/>
                    <a:gd name="connsiteX209" fmla="*/ 218804 w 392352"/>
                    <a:gd name="connsiteY209" fmla="*/ 141944 h 671456"/>
                    <a:gd name="connsiteX210" fmla="*/ 225153 w 392352"/>
                    <a:gd name="connsiteY210" fmla="*/ 134748 h 671456"/>
                    <a:gd name="connsiteX211" fmla="*/ 227215 w 392352"/>
                    <a:gd name="connsiteY211" fmla="*/ 133289 h 671456"/>
                    <a:gd name="connsiteX212" fmla="*/ 227606 w 392352"/>
                    <a:gd name="connsiteY212" fmla="*/ 130999 h 671456"/>
                    <a:gd name="connsiteX213" fmla="*/ 226229 w 392352"/>
                    <a:gd name="connsiteY213" fmla="*/ 129711 h 671456"/>
                    <a:gd name="connsiteX214" fmla="*/ 224533 w 392352"/>
                    <a:gd name="connsiteY214" fmla="*/ 128896 h 671456"/>
                    <a:gd name="connsiteX215" fmla="*/ 223392 w 392352"/>
                    <a:gd name="connsiteY215" fmla="*/ 121284 h 671456"/>
                    <a:gd name="connsiteX216" fmla="*/ 222309 w 392352"/>
                    <a:gd name="connsiteY216" fmla="*/ 116020 h 671456"/>
                    <a:gd name="connsiteX217" fmla="*/ 222195 w 392352"/>
                    <a:gd name="connsiteY217" fmla="*/ 112319 h 671456"/>
                    <a:gd name="connsiteX218" fmla="*/ 222618 w 392352"/>
                    <a:gd name="connsiteY218" fmla="*/ 108815 h 671456"/>
                    <a:gd name="connsiteX219" fmla="*/ 225120 w 392352"/>
                    <a:gd name="connsiteY219" fmla="*/ 103355 h 671456"/>
                    <a:gd name="connsiteX220" fmla="*/ 226905 w 392352"/>
                    <a:gd name="connsiteY220" fmla="*/ 101024 h 671456"/>
                    <a:gd name="connsiteX221" fmla="*/ 229358 w 392352"/>
                    <a:gd name="connsiteY221" fmla="*/ 98302 h 671456"/>
                    <a:gd name="connsiteX222" fmla="*/ 231616 w 392352"/>
                    <a:gd name="connsiteY222" fmla="*/ 97454 h 671456"/>
                    <a:gd name="connsiteX223" fmla="*/ 233482 w 392352"/>
                    <a:gd name="connsiteY223" fmla="*/ 95075 h 671456"/>
                    <a:gd name="connsiteX224" fmla="*/ 236522 w 392352"/>
                    <a:gd name="connsiteY224" fmla="*/ 92711 h 671456"/>
                    <a:gd name="connsiteX225" fmla="*/ 237801 w 392352"/>
                    <a:gd name="connsiteY225" fmla="*/ 90340 h 671456"/>
                    <a:gd name="connsiteX226" fmla="*/ 239684 w 392352"/>
                    <a:gd name="connsiteY226" fmla="*/ 85515 h 671456"/>
                    <a:gd name="connsiteX227" fmla="*/ 241396 w 392352"/>
                    <a:gd name="connsiteY227" fmla="*/ 81856 h 671456"/>
                    <a:gd name="connsiteX228" fmla="*/ 242724 w 392352"/>
                    <a:gd name="connsiteY228" fmla="*/ 81978 h 671456"/>
                    <a:gd name="connsiteX229" fmla="*/ 245291 w 392352"/>
                    <a:gd name="connsiteY229" fmla="*/ 90503 h 671456"/>
                    <a:gd name="connsiteX230" fmla="*/ 246978 w 392352"/>
                    <a:gd name="connsiteY230" fmla="*/ 95026 h 671456"/>
                    <a:gd name="connsiteX231" fmla="*/ 250034 w 392352"/>
                    <a:gd name="connsiteY231" fmla="*/ 100331 h 671456"/>
                    <a:gd name="connsiteX232" fmla="*/ 252952 w 392352"/>
                    <a:gd name="connsiteY232" fmla="*/ 108188 h 671456"/>
                    <a:gd name="connsiteX233" fmla="*/ 255315 w 392352"/>
                    <a:gd name="connsiteY233" fmla="*/ 111757 h 671456"/>
                    <a:gd name="connsiteX234" fmla="*/ 256472 w 392352"/>
                    <a:gd name="connsiteY234" fmla="*/ 114080 h 671456"/>
                    <a:gd name="connsiteX235" fmla="*/ 257417 w 392352"/>
                    <a:gd name="connsiteY235" fmla="*/ 115164 h 671456"/>
                    <a:gd name="connsiteX236" fmla="*/ 257621 w 392352"/>
                    <a:gd name="connsiteY236" fmla="*/ 113664 h 671456"/>
                    <a:gd name="connsiteX237" fmla="*/ 257385 w 392352"/>
                    <a:gd name="connsiteY237" fmla="*/ 111928 h 671456"/>
                    <a:gd name="connsiteX238" fmla="*/ 258518 w 392352"/>
                    <a:gd name="connsiteY238" fmla="*/ 105938 h 671456"/>
                    <a:gd name="connsiteX239" fmla="*/ 257996 w 392352"/>
                    <a:gd name="connsiteY239" fmla="*/ 101741 h 671456"/>
                    <a:gd name="connsiteX240" fmla="*/ 258168 w 392352"/>
                    <a:gd name="connsiteY240" fmla="*/ 100127 h 671456"/>
                    <a:gd name="connsiteX241" fmla="*/ 258762 w 392352"/>
                    <a:gd name="connsiteY241" fmla="*/ 99459 h 671456"/>
                    <a:gd name="connsiteX242" fmla="*/ 259919 w 392352"/>
                    <a:gd name="connsiteY242" fmla="*/ 99924 h 671456"/>
                    <a:gd name="connsiteX243" fmla="*/ 262136 w 392352"/>
                    <a:gd name="connsiteY243" fmla="*/ 102263 h 671456"/>
                    <a:gd name="connsiteX244" fmla="*/ 263261 w 392352"/>
                    <a:gd name="connsiteY244" fmla="*/ 103102 h 671456"/>
                    <a:gd name="connsiteX245" fmla="*/ 264060 w 392352"/>
                    <a:gd name="connsiteY245" fmla="*/ 102907 h 671456"/>
                    <a:gd name="connsiteX246" fmla="*/ 264027 w 392352"/>
                    <a:gd name="connsiteY246" fmla="*/ 99117 h 671456"/>
                    <a:gd name="connsiteX247" fmla="*/ 265135 w 392352"/>
                    <a:gd name="connsiteY247" fmla="*/ 96729 h 671456"/>
                    <a:gd name="connsiteX248" fmla="*/ 264695 w 392352"/>
                    <a:gd name="connsiteY248" fmla="*/ 95075 h 671456"/>
                    <a:gd name="connsiteX249" fmla="*/ 262756 w 392352"/>
                    <a:gd name="connsiteY249" fmla="*/ 95221 h 671456"/>
                    <a:gd name="connsiteX250" fmla="*/ 261933 w 392352"/>
                    <a:gd name="connsiteY250" fmla="*/ 93184 h 671456"/>
                    <a:gd name="connsiteX251" fmla="*/ 260335 w 392352"/>
                    <a:gd name="connsiteY251" fmla="*/ 90812 h 671456"/>
                    <a:gd name="connsiteX252" fmla="*/ 258518 w 392352"/>
                    <a:gd name="connsiteY252" fmla="*/ 89109 h 671456"/>
                    <a:gd name="connsiteX253" fmla="*/ 256301 w 392352"/>
                    <a:gd name="connsiteY253" fmla="*/ 85205 h 671456"/>
                    <a:gd name="connsiteX254" fmla="*/ 255625 w 392352"/>
                    <a:gd name="connsiteY254" fmla="*/ 83681 h 671456"/>
                    <a:gd name="connsiteX255" fmla="*/ 256472 w 392352"/>
                    <a:gd name="connsiteY255" fmla="*/ 82972 h 671456"/>
                    <a:gd name="connsiteX256" fmla="*/ 257874 w 392352"/>
                    <a:gd name="connsiteY256" fmla="*/ 83070 h 671456"/>
                    <a:gd name="connsiteX257" fmla="*/ 258982 w 392352"/>
                    <a:gd name="connsiteY257" fmla="*/ 81408 h 671456"/>
                    <a:gd name="connsiteX258" fmla="*/ 259488 w 392352"/>
                    <a:gd name="connsiteY258" fmla="*/ 79175 h 671456"/>
                    <a:gd name="connsiteX259" fmla="*/ 258518 w 392352"/>
                    <a:gd name="connsiteY259" fmla="*/ 75548 h 671456"/>
                    <a:gd name="connsiteX260" fmla="*/ 259512 w 392352"/>
                    <a:gd name="connsiteY260" fmla="*/ 74187 h 671456"/>
                    <a:gd name="connsiteX261" fmla="*/ 261533 w 392352"/>
                    <a:gd name="connsiteY261" fmla="*/ 74578 h 671456"/>
                    <a:gd name="connsiteX262" fmla="*/ 264760 w 392352"/>
                    <a:gd name="connsiteY262" fmla="*/ 80373 h 671456"/>
                    <a:gd name="connsiteX263" fmla="*/ 266163 w 392352"/>
                    <a:gd name="connsiteY263" fmla="*/ 79802 h 671456"/>
                    <a:gd name="connsiteX264" fmla="*/ 267303 w 392352"/>
                    <a:gd name="connsiteY264" fmla="*/ 77463 h 671456"/>
                    <a:gd name="connsiteX265" fmla="*/ 269365 w 392352"/>
                    <a:gd name="connsiteY265" fmla="*/ 76787 h 671456"/>
                    <a:gd name="connsiteX266" fmla="*/ 271492 w 392352"/>
                    <a:gd name="connsiteY266" fmla="*/ 77219 h 671456"/>
                    <a:gd name="connsiteX267" fmla="*/ 272878 w 392352"/>
                    <a:gd name="connsiteY267" fmla="*/ 78898 h 671456"/>
                    <a:gd name="connsiteX268" fmla="*/ 275722 w 392352"/>
                    <a:gd name="connsiteY268" fmla="*/ 80568 h 671456"/>
                    <a:gd name="connsiteX269" fmla="*/ 279495 w 392352"/>
                    <a:gd name="connsiteY269" fmla="*/ 80373 h 671456"/>
                    <a:gd name="connsiteX270" fmla="*/ 281418 w 392352"/>
                    <a:gd name="connsiteY270" fmla="*/ 80788 h 671456"/>
                    <a:gd name="connsiteX271" fmla="*/ 285437 w 392352"/>
                    <a:gd name="connsiteY271" fmla="*/ 80503 h 671456"/>
                    <a:gd name="connsiteX272" fmla="*/ 287409 w 392352"/>
                    <a:gd name="connsiteY272" fmla="*/ 81008 h 671456"/>
                    <a:gd name="connsiteX273" fmla="*/ 287050 w 392352"/>
                    <a:gd name="connsiteY273" fmla="*/ 80120 h 671456"/>
                    <a:gd name="connsiteX274" fmla="*/ 284858 w 392352"/>
                    <a:gd name="connsiteY274" fmla="*/ 79060 h 671456"/>
                    <a:gd name="connsiteX275" fmla="*/ 282405 w 392352"/>
                    <a:gd name="connsiteY275" fmla="*/ 78857 h 671456"/>
                    <a:gd name="connsiteX276" fmla="*/ 279528 w 392352"/>
                    <a:gd name="connsiteY276" fmla="*/ 78963 h 671456"/>
                    <a:gd name="connsiteX277" fmla="*/ 278306 w 392352"/>
                    <a:gd name="connsiteY277" fmla="*/ 77846 h 671456"/>
                    <a:gd name="connsiteX278" fmla="*/ 277898 w 392352"/>
                    <a:gd name="connsiteY278" fmla="*/ 74920 h 671456"/>
                    <a:gd name="connsiteX279" fmla="*/ 278591 w 392352"/>
                    <a:gd name="connsiteY279" fmla="*/ 72793 h 671456"/>
                    <a:gd name="connsiteX280" fmla="*/ 279039 w 392352"/>
                    <a:gd name="connsiteY280" fmla="*/ 71889 h 671456"/>
                    <a:gd name="connsiteX281" fmla="*/ 280905 w 392352"/>
                    <a:gd name="connsiteY281" fmla="*/ 72280 h 671456"/>
                    <a:gd name="connsiteX282" fmla="*/ 282568 w 392352"/>
                    <a:gd name="connsiteY282" fmla="*/ 72190 h 671456"/>
                    <a:gd name="connsiteX283" fmla="*/ 282764 w 392352"/>
                    <a:gd name="connsiteY283" fmla="*/ 69330 h 671456"/>
                    <a:gd name="connsiteX284" fmla="*/ 283350 w 392352"/>
                    <a:gd name="connsiteY284" fmla="*/ 66803 h 671456"/>
                    <a:gd name="connsiteX285" fmla="*/ 284328 w 392352"/>
                    <a:gd name="connsiteY285" fmla="*/ 64749 h 671456"/>
                    <a:gd name="connsiteX286" fmla="*/ 284328 w 392352"/>
                    <a:gd name="connsiteY286" fmla="*/ 62785 h 671456"/>
                    <a:gd name="connsiteX287" fmla="*/ 283293 w 392352"/>
                    <a:gd name="connsiteY287" fmla="*/ 63299 h 671456"/>
                    <a:gd name="connsiteX288" fmla="*/ 280750 w 392352"/>
                    <a:gd name="connsiteY288" fmla="*/ 67879 h 671456"/>
                    <a:gd name="connsiteX289" fmla="*/ 279544 w 392352"/>
                    <a:gd name="connsiteY289" fmla="*/ 64163 h 671456"/>
                    <a:gd name="connsiteX290" fmla="*/ 277711 w 392352"/>
                    <a:gd name="connsiteY290" fmla="*/ 61335 h 671456"/>
                    <a:gd name="connsiteX291" fmla="*/ 278085 w 392352"/>
                    <a:gd name="connsiteY291" fmla="*/ 57293 h 671456"/>
                    <a:gd name="connsiteX292" fmla="*/ 279145 w 392352"/>
                    <a:gd name="connsiteY292" fmla="*/ 53266 h 671456"/>
                    <a:gd name="connsiteX293" fmla="*/ 280783 w 392352"/>
                    <a:gd name="connsiteY293" fmla="*/ 52712 h 671456"/>
                    <a:gd name="connsiteX294" fmla="*/ 282177 w 392352"/>
                    <a:gd name="connsiteY294" fmla="*/ 53348 h 671456"/>
                    <a:gd name="connsiteX295" fmla="*/ 284230 w 392352"/>
                    <a:gd name="connsiteY295" fmla="*/ 50993 h 671456"/>
                    <a:gd name="connsiteX296" fmla="*/ 285387 w 392352"/>
                    <a:gd name="connsiteY296" fmla="*/ 49183 h 671456"/>
                    <a:gd name="connsiteX297" fmla="*/ 285119 w 392352"/>
                    <a:gd name="connsiteY297" fmla="*/ 47692 h 671456"/>
                    <a:gd name="connsiteX298" fmla="*/ 285428 w 392352"/>
                    <a:gd name="connsiteY298" fmla="*/ 46559 h 671456"/>
                    <a:gd name="connsiteX299" fmla="*/ 286871 w 392352"/>
                    <a:gd name="connsiteY299" fmla="*/ 46902 h 671456"/>
                    <a:gd name="connsiteX300" fmla="*/ 292364 w 392352"/>
                    <a:gd name="connsiteY300" fmla="*/ 50528 h 671456"/>
                    <a:gd name="connsiteX301" fmla="*/ 293464 w 392352"/>
                    <a:gd name="connsiteY301" fmla="*/ 52427 h 671456"/>
                    <a:gd name="connsiteX302" fmla="*/ 294621 w 392352"/>
                    <a:gd name="connsiteY302" fmla="*/ 51685 h 671456"/>
                    <a:gd name="connsiteX303" fmla="*/ 294996 w 392352"/>
                    <a:gd name="connsiteY303" fmla="*/ 49624 h 671456"/>
                    <a:gd name="connsiteX304" fmla="*/ 294874 w 392352"/>
                    <a:gd name="connsiteY304" fmla="*/ 47554 h 671456"/>
                    <a:gd name="connsiteX305" fmla="*/ 293659 w 392352"/>
                    <a:gd name="connsiteY305" fmla="*/ 47863 h 671456"/>
                    <a:gd name="connsiteX306" fmla="*/ 290815 w 392352"/>
                    <a:gd name="connsiteY306" fmla="*/ 47660 h 671456"/>
                    <a:gd name="connsiteX307" fmla="*/ 290155 w 392352"/>
                    <a:gd name="connsiteY307" fmla="*/ 46494 h 671456"/>
                    <a:gd name="connsiteX308" fmla="*/ 290400 w 392352"/>
                    <a:gd name="connsiteY308" fmla="*/ 45532 h 671456"/>
                    <a:gd name="connsiteX309" fmla="*/ 289063 w 392352"/>
                    <a:gd name="connsiteY309" fmla="*/ 43104 h 671456"/>
                    <a:gd name="connsiteX310" fmla="*/ 290929 w 392352"/>
                    <a:gd name="connsiteY310" fmla="*/ 41563 h 671456"/>
                    <a:gd name="connsiteX311" fmla="*/ 292535 w 392352"/>
                    <a:gd name="connsiteY311" fmla="*/ 41457 h 671456"/>
                    <a:gd name="connsiteX312" fmla="*/ 293635 w 392352"/>
                    <a:gd name="connsiteY312" fmla="*/ 40390 h 671456"/>
                    <a:gd name="connsiteX313" fmla="*/ 293659 w 392352"/>
                    <a:gd name="connsiteY313" fmla="*/ 38948 h 671456"/>
                    <a:gd name="connsiteX314" fmla="*/ 294010 w 392352"/>
                    <a:gd name="connsiteY314" fmla="*/ 38328 h 671456"/>
                    <a:gd name="connsiteX315" fmla="*/ 294874 w 392352"/>
                    <a:gd name="connsiteY315" fmla="*/ 39184 h 671456"/>
                    <a:gd name="connsiteX316" fmla="*/ 297743 w 392352"/>
                    <a:gd name="connsiteY316" fmla="*/ 39575 h 671456"/>
                    <a:gd name="connsiteX317" fmla="*/ 300562 w 392352"/>
                    <a:gd name="connsiteY317" fmla="*/ 41450 h 671456"/>
                    <a:gd name="connsiteX318" fmla="*/ 301891 w 392352"/>
                    <a:gd name="connsiteY318" fmla="*/ 41849 h 671456"/>
                    <a:gd name="connsiteX319" fmla="*/ 302380 w 392352"/>
                    <a:gd name="connsiteY319" fmla="*/ 40855 h 671456"/>
                    <a:gd name="connsiteX320" fmla="*/ 302584 w 392352"/>
                    <a:gd name="connsiteY320" fmla="*/ 38678 h 671456"/>
                    <a:gd name="connsiteX321" fmla="*/ 299104 w 392352"/>
                    <a:gd name="connsiteY321" fmla="*/ 36502 h 671456"/>
                    <a:gd name="connsiteX322" fmla="*/ 298998 w 392352"/>
                    <a:gd name="connsiteY322" fmla="*/ 34375 h 671456"/>
                    <a:gd name="connsiteX323" fmla="*/ 297531 w 392352"/>
                    <a:gd name="connsiteY323" fmla="*/ 31922 h 671456"/>
                    <a:gd name="connsiteX324" fmla="*/ 297482 w 392352"/>
                    <a:gd name="connsiteY324" fmla="*/ 29502 h 671456"/>
                    <a:gd name="connsiteX325" fmla="*/ 299666 w 392352"/>
                    <a:gd name="connsiteY325" fmla="*/ 27489 h 671456"/>
                    <a:gd name="connsiteX326" fmla="*/ 300122 w 392352"/>
                    <a:gd name="connsiteY326" fmla="*/ 25525 h 671456"/>
                    <a:gd name="connsiteX327" fmla="*/ 301377 w 392352"/>
                    <a:gd name="connsiteY327" fmla="*/ 24742 h 671456"/>
                    <a:gd name="connsiteX328" fmla="*/ 303871 w 392352"/>
                    <a:gd name="connsiteY328" fmla="*/ 24702 h 671456"/>
                    <a:gd name="connsiteX329" fmla="*/ 305558 w 392352"/>
                    <a:gd name="connsiteY329" fmla="*/ 23039 h 671456"/>
                    <a:gd name="connsiteX330" fmla="*/ 307441 w 392352"/>
                    <a:gd name="connsiteY330" fmla="*/ 22461 h 671456"/>
                    <a:gd name="connsiteX331" fmla="*/ 307897 w 392352"/>
                    <a:gd name="connsiteY331" fmla="*/ 18760 h 671456"/>
                    <a:gd name="connsiteX332" fmla="*/ 307873 w 392352"/>
                    <a:gd name="connsiteY332" fmla="*/ 16218 h 671456"/>
                    <a:gd name="connsiteX333" fmla="*/ 308631 w 392352"/>
                    <a:gd name="connsiteY333" fmla="*/ 15574 h 671456"/>
                    <a:gd name="connsiteX334" fmla="*/ 310537 w 392352"/>
                    <a:gd name="connsiteY334" fmla="*/ 16633 h 671456"/>
                    <a:gd name="connsiteX335" fmla="*/ 309959 w 392352"/>
                    <a:gd name="connsiteY335" fmla="*/ 19559 h 671456"/>
                    <a:gd name="connsiteX336" fmla="*/ 309951 w 392352"/>
                    <a:gd name="connsiteY336" fmla="*/ 22363 h 671456"/>
                    <a:gd name="connsiteX337" fmla="*/ 309470 w 392352"/>
                    <a:gd name="connsiteY337" fmla="*/ 23870 h 671456"/>
                    <a:gd name="connsiteX338" fmla="*/ 310195 w 392352"/>
                    <a:gd name="connsiteY338" fmla="*/ 23740 h 671456"/>
                    <a:gd name="connsiteX339" fmla="*/ 310635 w 392352"/>
                    <a:gd name="connsiteY339" fmla="*/ 23121 h 671456"/>
                    <a:gd name="connsiteX340" fmla="*/ 311377 w 392352"/>
                    <a:gd name="connsiteY340" fmla="*/ 21271 h 671456"/>
                    <a:gd name="connsiteX341" fmla="*/ 313390 w 392352"/>
                    <a:gd name="connsiteY341" fmla="*/ 22029 h 671456"/>
                    <a:gd name="connsiteX342" fmla="*/ 313887 w 392352"/>
                    <a:gd name="connsiteY342" fmla="*/ 24001 h 671456"/>
                    <a:gd name="connsiteX343" fmla="*/ 314156 w 392352"/>
                    <a:gd name="connsiteY343" fmla="*/ 25932 h 671456"/>
                    <a:gd name="connsiteX344" fmla="*/ 315158 w 392352"/>
                    <a:gd name="connsiteY344" fmla="*/ 26560 h 671456"/>
                    <a:gd name="connsiteX345" fmla="*/ 316528 w 392352"/>
                    <a:gd name="connsiteY345" fmla="*/ 23585 h 671456"/>
                    <a:gd name="connsiteX346" fmla="*/ 318386 w 392352"/>
                    <a:gd name="connsiteY346" fmla="*/ 22803 h 671456"/>
                    <a:gd name="connsiteX347" fmla="*/ 318288 w 392352"/>
                    <a:gd name="connsiteY347" fmla="*/ 19054 h 671456"/>
                    <a:gd name="connsiteX348" fmla="*/ 318981 w 392352"/>
                    <a:gd name="connsiteY348" fmla="*/ 16373 h 671456"/>
                    <a:gd name="connsiteX349" fmla="*/ 319193 w 392352"/>
                    <a:gd name="connsiteY349" fmla="*/ 14343 h 671456"/>
                    <a:gd name="connsiteX350" fmla="*/ 320374 w 392352"/>
                    <a:gd name="connsiteY350" fmla="*/ 13365 h 671456"/>
                    <a:gd name="connsiteX351" fmla="*/ 320635 w 392352"/>
                    <a:gd name="connsiteY351" fmla="*/ 11230 h 671456"/>
                    <a:gd name="connsiteX352" fmla="*/ 319690 w 392352"/>
                    <a:gd name="connsiteY352" fmla="*/ 9747 h 671456"/>
                    <a:gd name="connsiteX353" fmla="*/ 319201 w 392352"/>
                    <a:gd name="connsiteY353" fmla="*/ 7066 h 671456"/>
                    <a:gd name="connsiteX354" fmla="*/ 320815 w 392352"/>
                    <a:gd name="connsiteY354" fmla="*/ 6479 h 671456"/>
                    <a:gd name="connsiteX355" fmla="*/ 322436 w 392352"/>
                    <a:gd name="connsiteY355" fmla="*/ 7824 h 671456"/>
                    <a:gd name="connsiteX356" fmla="*/ 323520 w 392352"/>
                    <a:gd name="connsiteY356" fmla="*/ 11214 h 671456"/>
                    <a:gd name="connsiteX357" fmla="*/ 324278 w 392352"/>
                    <a:gd name="connsiteY357" fmla="*/ 12738 h 671456"/>
                    <a:gd name="connsiteX358" fmla="*/ 325280 w 392352"/>
                    <a:gd name="connsiteY358" fmla="*/ 11907 h 671456"/>
                    <a:gd name="connsiteX359" fmla="*/ 325883 w 392352"/>
                    <a:gd name="connsiteY359" fmla="*/ 9657 h 671456"/>
                    <a:gd name="connsiteX360" fmla="*/ 327872 w 392352"/>
                    <a:gd name="connsiteY360" fmla="*/ 8337 h 671456"/>
                    <a:gd name="connsiteX361" fmla="*/ 329828 w 392352"/>
                    <a:gd name="connsiteY361" fmla="*/ 10171 h 671456"/>
                    <a:gd name="connsiteX362" fmla="*/ 331996 w 392352"/>
                    <a:gd name="connsiteY362" fmla="*/ 12656 h 671456"/>
                    <a:gd name="connsiteX363" fmla="*/ 334710 w 392352"/>
                    <a:gd name="connsiteY363" fmla="*/ 10480 h 671456"/>
                    <a:gd name="connsiteX364" fmla="*/ 337236 w 392352"/>
                    <a:gd name="connsiteY364" fmla="*/ 6406 h 671456"/>
                    <a:gd name="connsiteX365" fmla="*/ 336837 w 392352"/>
                    <a:gd name="connsiteY365" fmla="*/ 3912 h 671456"/>
                    <a:gd name="connsiteX366" fmla="*/ 337098 w 392352"/>
                    <a:gd name="connsiteY366" fmla="*/ 1345 h 671456"/>
                    <a:gd name="connsiteX367" fmla="*/ 340268 w 392352"/>
                    <a:gd name="connsiteY367" fmla="*/ 0 h 671456"/>
                    <a:gd name="connsiteX368" fmla="*/ 342811 w 392352"/>
                    <a:gd name="connsiteY368" fmla="*/ 986 h 671456"/>
                    <a:gd name="connsiteX369" fmla="*/ 345125 w 392352"/>
                    <a:gd name="connsiteY369" fmla="*/ 3741 h 671456"/>
                    <a:gd name="connsiteX370" fmla="*/ 349934 w 392352"/>
                    <a:gd name="connsiteY370" fmla="*/ 5778 h 671456"/>
                    <a:gd name="connsiteX371" fmla="*/ 354016 w 392352"/>
                    <a:gd name="connsiteY371" fmla="*/ 8728 h 671456"/>
                    <a:gd name="connsiteX372" fmla="*/ 355842 w 392352"/>
                    <a:gd name="connsiteY372" fmla="*/ 10652 h 671456"/>
                    <a:gd name="connsiteX373" fmla="*/ 359363 w 392352"/>
                    <a:gd name="connsiteY373" fmla="*/ 13700 h 671456"/>
                    <a:gd name="connsiteX374" fmla="*/ 361604 w 392352"/>
                    <a:gd name="connsiteY374" fmla="*/ 16862 h 671456"/>
                    <a:gd name="connsiteX375" fmla="*/ 364685 w 392352"/>
                    <a:gd name="connsiteY375" fmla="*/ 22510 h 671456"/>
                    <a:gd name="connsiteX376" fmla="*/ 371954 w 392352"/>
                    <a:gd name="connsiteY376" fmla="*/ 29412 h 671456"/>
                    <a:gd name="connsiteX377" fmla="*/ 372419 w 392352"/>
                    <a:gd name="connsiteY377" fmla="*/ 30618 h 671456"/>
                    <a:gd name="connsiteX378" fmla="*/ 371441 w 392352"/>
                    <a:gd name="connsiteY378" fmla="*/ 32925 h 671456"/>
                    <a:gd name="connsiteX379" fmla="*/ 370569 w 392352"/>
                    <a:gd name="connsiteY379" fmla="*/ 35867 h 671456"/>
                    <a:gd name="connsiteX380" fmla="*/ 369468 w 392352"/>
                    <a:gd name="connsiteY380" fmla="*/ 40855 h 671456"/>
                    <a:gd name="connsiteX381" fmla="*/ 369199 w 392352"/>
                    <a:gd name="connsiteY381" fmla="*/ 48214 h 671456"/>
                    <a:gd name="connsiteX382" fmla="*/ 370259 w 392352"/>
                    <a:gd name="connsiteY382" fmla="*/ 47676 h 671456"/>
                    <a:gd name="connsiteX383" fmla="*/ 371335 w 392352"/>
                    <a:gd name="connsiteY383" fmla="*/ 45052 h 671456"/>
                    <a:gd name="connsiteX384" fmla="*/ 372492 w 392352"/>
                    <a:gd name="connsiteY384" fmla="*/ 45590 h 671456"/>
                    <a:gd name="connsiteX385" fmla="*/ 373804 w 392352"/>
                    <a:gd name="connsiteY385" fmla="*/ 47277 h 671456"/>
                    <a:gd name="connsiteX386" fmla="*/ 373910 w 392352"/>
                    <a:gd name="connsiteY386" fmla="*/ 45663 h 671456"/>
                    <a:gd name="connsiteX387" fmla="*/ 373119 w 392352"/>
                    <a:gd name="connsiteY387" fmla="*/ 44693 h 671456"/>
                    <a:gd name="connsiteX388" fmla="*/ 371775 w 392352"/>
                    <a:gd name="connsiteY388" fmla="*/ 41295 h 671456"/>
                    <a:gd name="connsiteX389" fmla="*/ 371832 w 392352"/>
                    <a:gd name="connsiteY389" fmla="*/ 39502 h 671456"/>
                    <a:gd name="connsiteX390" fmla="*/ 372907 w 392352"/>
                    <a:gd name="connsiteY390" fmla="*/ 38043 h 671456"/>
                    <a:gd name="connsiteX391" fmla="*/ 374562 w 392352"/>
                    <a:gd name="connsiteY391" fmla="*/ 36315 h 671456"/>
                    <a:gd name="connsiteX392" fmla="*/ 376379 w 392352"/>
                    <a:gd name="connsiteY392" fmla="*/ 35174 h 671456"/>
                    <a:gd name="connsiteX393" fmla="*/ 377496 w 392352"/>
                    <a:gd name="connsiteY393" fmla="*/ 34188 h 671456"/>
                    <a:gd name="connsiteX394" fmla="*/ 377659 w 392352"/>
                    <a:gd name="connsiteY394" fmla="*/ 32966 h 671456"/>
                    <a:gd name="connsiteX395" fmla="*/ 379346 w 392352"/>
                    <a:gd name="connsiteY395" fmla="*/ 31727 h 671456"/>
                    <a:gd name="connsiteX396" fmla="*/ 381774 w 392352"/>
                    <a:gd name="connsiteY396" fmla="*/ 31303 h 671456"/>
                    <a:gd name="connsiteX397" fmla="*/ 383266 w 392352"/>
                    <a:gd name="connsiteY397" fmla="*/ 31507 h 671456"/>
                    <a:gd name="connsiteX398" fmla="*/ 392353 w 392352"/>
                    <a:gd name="connsiteY398" fmla="*/ 34237 h 671456"/>
                    <a:gd name="connsiteX399" fmla="*/ 392353 w 392352"/>
                    <a:gd name="connsiteY399" fmla="*/ 378555 h 671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Lst>
                  <a:rect l="l" t="t" r="r" b="b"/>
                  <a:pathLst>
                    <a:path w="392352" h="671456">
                      <a:moveTo>
                        <a:pt x="392320" y="378555"/>
                      </a:moveTo>
                      <a:lnTo>
                        <a:pt x="392320" y="560343"/>
                      </a:lnTo>
                      <a:lnTo>
                        <a:pt x="390927" y="560669"/>
                      </a:lnTo>
                      <a:lnTo>
                        <a:pt x="381008" y="566651"/>
                      </a:lnTo>
                      <a:lnTo>
                        <a:pt x="369150" y="572445"/>
                      </a:lnTo>
                      <a:lnTo>
                        <a:pt x="359477" y="575200"/>
                      </a:lnTo>
                      <a:lnTo>
                        <a:pt x="350594" y="578859"/>
                      </a:lnTo>
                      <a:lnTo>
                        <a:pt x="344742" y="579919"/>
                      </a:lnTo>
                      <a:lnTo>
                        <a:pt x="337171" y="580375"/>
                      </a:lnTo>
                      <a:lnTo>
                        <a:pt x="321246" y="578623"/>
                      </a:lnTo>
                      <a:lnTo>
                        <a:pt x="315802" y="579927"/>
                      </a:lnTo>
                      <a:lnTo>
                        <a:pt x="307131" y="586699"/>
                      </a:lnTo>
                      <a:lnTo>
                        <a:pt x="304556" y="588354"/>
                      </a:lnTo>
                      <a:lnTo>
                        <a:pt x="299658" y="590228"/>
                      </a:lnTo>
                      <a:lnTo>
                        <a:pt x="287058" y="598948"/>
                      </a:lnTo>
                      <a:lnTo>
                        <a:pt x="281264" y="600814"/>
                      </a:lnTo>
                      <a:lnTo>
                        <a:pt x="277507" y="601409"/>
                      </a:lnTo>
                      <a:lnTo>
                        <a:pt x="274287" y="603267"/>
                      </a:lnTo>
                      <a:lnTo>
                        <a:pt x="271370" y="606976"/>
                      </a:lnTo>
                      <a:lnTo>
                        <a:pt x="267442" y="617326"/>
                      </a:lnTo>
                      <a:lnTo>
                        <a:pt x="264989" y="622232"/>
                      </a:lnTo>
                      <a:lnTo>
                        <a:pt x="259577" y="630080"/>
                      </a:lnTo>
                      <a:lnTo>
                        <a:pt x="256008" y="632696"/>
                      </a:lnTo>
                      <a:lnTo>
                        <a:pt x="252503" y="632321"/>
                      </a:lnTo>
                      <a:lnTo>
                        <a:pt x="248592" y="635043"/>
                      </a:lnTo>
                      <a:lnTo>
                        <a:pt x="245120" y="632167"/>
                      </a:lnTo>
                      <a:lnTo>
                        <a:pt x="242341" y="631620"/>
                      </a:lnTo>
                      <a:lnTo>
                        <a:pt x="237924" y="631857"/>
                      </a:lnTo>
                      <a:lnTo>
                        <a:pt x="222390" y="635149"/>
                      </a:lnTo>
                      <a:lnTo>
                        <a:pt x="220165" y="631319"/>
                      </a:lnTo>
                      <a:lnTo>
                        <a:pt x="217313" y="630740"/>
                      </a:lnTo>
                      <a:lnTo>
                        <a:pt x="211942" y="630920"/>
                      </a:lnTo>
                      <a:lnTo>
                        <a:pt x="203882" y="629754"/>
                      </a:lnTo>
                      <a:lnTo>
                        <a:pt x="189245" y="631205"/>
                      </a:lnTo>
                      <a:lnTo>
                        <a:pt x="182204" y="632794"/>
                      </a:lnTo>
                      <a:lnTo>
                        <a:pt x="179416" y="634212"/>
                      </a:lnTo>
                      <a:lnTo>
                        <a:pt x="174241" y="633299"/>
                      </a:lnTo>
                      <a:lnTo>
                        <a:pt x="165424" y="634603"/>
                      </a:lnTo>
                      <a:lnTo>
                        <a:pt x="162319" y="636779"/>
                      </a:lnTo>
                      <a:lnTo>
                        <a:pt x="159996" y="638735"/>
                      </a:lnTo>
                      <a:lnTo>
                        <a:pt x="155415" y="647488"/>
                      </a:lnTo>
                      <a:lnTo>
                        <a:pt x="150396" y="650381"/>
                      </a:lnTo>
                      <a:lnTo>
                        <a:pt x="146255" y="650479"/>
                      </a:lnTo>
                      <a:lnTo>
                        <a:pt x="141659" y="651147"/>
                      </a:lnTo>
                      <a:lnTo>
                        <a:pt x="132336" y="659590"/>
                      </a:lnTo>
                      <a:lnTo>
                        <a:pt x="122801" y="667797"/>
                      </a:lnTo>
                      <a:lnTo>
                        <a:pt x="119589" y="668669"/>
                      </a:lnTo>
                      <a:lnTo>
                        <a:pt x="116036" y="670055"/>
                      </a:lnTo>
                      <a:lnTo>
                        <a:pt x="111391" y="670699"/>
                      </a:lnTo>
                      <a:lnTo>
                        <a:pt x="109068" y="671456"/>
                      </a:lnTo>
                      <a:lnTo>
                        <a:pt x="98205" y="669337"/>
                      </a:lnTo>
                      <a:lnTo>
                        <a:pt x="91294" y="669109"/>
                      </a:lnTo>
                      <a:lnTo>
                        <a:pt x="82647" y="667846"/>
                      </a:lnTo>
                      <a:lnTo>
                        <a:pt x="75206" y="663828"/>
                      </a:lnTo>
                      <a:lnTo>
                        <a:pt x="69493" y="661497"/>
                      </a:lnTo>
                      <a:lnTo>
                        <a:pt x="63039" y="652663"/>
                      </a:lnTo>
                      <a:lnTo>
                        <a:pt x="59037" y="649371"/>
                      </a:lnTo>
                      <a:lnTo>
                        <a:pt x="51906" y="645385"/>
                      </a:lnTo>
                      <a:lnTo>
                        <a:pt x="49860" y="645532"/>
                      </a:lnTo>
                      <a:lnTo>
                        <a:pt x="48206" y="646624"/>
                      </a:lnTo>
                      <a:lnTo>
                        <a:pt x="45256" y="643812"/>
                      </a:lnTo>
                      <a:lnTo>
                        <a:pt x="45166" y="640186"/>
                      </a:lnTo>
                      <a:lnTo>
                        <a:pt x="44367" y="637113"/>
                      </a:lnTo>
                      <a:lnTo>
                        <a:pt x="44425" y="629037"/>
                      </a:lnTo>
                      <a:lnTo>
                        <a:pt x="44873" y="619583"/>
                      </a:lnTo>
                      <a:lnTo>
                        <a:pt x="47481" y="621719"/>
                      </a:lnTo>
                      <a:lnTo>
                        <a:pt x="49534" y="623764"/>
                      </a:lnTo>
                      <a:lnTo>
                        <a:pt x="53927" y="623658"/>
                      </a:lnTo>
                      <a:lnTo>
                        <a:pt x="57815" y="620105"/>
                      </a:lnTo>
                      <a:lnTo>
                        <a:pt x="60023" y="614905"/>
                      </a:lnTo>
                      <a:lnTo>
                        <a:pt x="61971" y="609070"/>
                      </a:lnTo>
                      <a:lnTo>
                        <a:pt x="61678" y="602844"/>
                      </a:lnTo>
                      <a:lnTo>
                        <a:pt x="60373" y="591931"/>
                      </a:lnTo>
                      <a:lnTo>
                        <a:pt x="61254" y="589658"/>
                      </a:lnTo>
                      <a:lnTo>
                        <a:pt x="62590" y="588720"/>
                      </a:lnTo>
                      <a:lnTo>
                        <a:pt x="63022" y="583309"/>
                      </a:lnTo>
                      <a:lnTo>
                        <a:pt x="63340" y="566659"/>
                      </a:lnTo>
                      <a:lnTo>
                        <a:pt x="62354" y="560392"/>
                      </a:lnTo>
                      <a:lnTo>
                        <a:pt x="56307" y="547719"/>
                      </a:lnTo>
                      <a:lnTo>
                        <a:pt x="52330" y="536733"/>
                      </a:lnTo>
                      <a:lnTo>
                        <a:pt x="49420" y="531770"/>
                      </a:lnTo>
                      <a:lnTo>
                        <a:pt x="46967" y="523799"/>
                      </a:lnTo>
                      <a:lnTo>
                        <a:pt x="44905" y="512740"/>
                      </a:lnTo>
                      <a:lnTo>
                        <a:pt x="44269" y="507149"/>
                      </a:lnTo>
                      <a:lnTo>
                        <a:pt x="43601" y="496873"/>
                      </a:lnTo>
                      <a:lnTo>
                        <a:pt x="44327" y="491054"/>
                      </a:lnTo>
                      <a:lnTo>
                        <a:pt x="44025" y="487639"/>
                      </a:lnTo>
                      <a:lnTo>
                        <a:pt x="41482" y="478340"/>
                      </a:lnTo>
                      <a:lnTo>
                        <a:pt x="35827" y="469685"/>
                      </a:lnTo>
                      <a:lnTo>
                        <a:pt x="34881" y="466482"/>
                      </a:lnTo>
                      <a:lnTo>
                        <a:pt x="34914" y="463117"/>
                      </a:lnTo>
                      <a:lnTo>
                        <a:pt x="33569" y="459188"/>
                      </a:lnTo>
                      <a:lnTo>
                        <a:pt x="29005" y="451283"/>
                      </a:lnTo>
                      <a:lnTo>
                        <a:pt x="24335" y="444470"/>
                      </a:lnTo>
                      <a:lnTo>
                        <a:pt x="23553" y="441161"/>
                      </a:lnTo>
                      <a:lnTo>
                        <a:pt x="22681" y="427421"/>
                      </a:lnTo>
                      <a:lnTo>
                        <a:pt x="20945" y="421162"/>
                      </a:lnTo>
                      <a:lnTo>
                        <a:pt x="13023" y="405335"/>
                      </a:lnTo>
                      <a:lnTo>
                        <a:pt x="3692" y="391725"/>
                      </a:lnTo>
                      <a:lnTo>
                        <a:pt x="1157" y="386175"/>
                      </a:lnTo>
                      <a:lnTo>
                        <a:pt x="0" y="384309"/>
                      </a:lnTo>
                      <a:lnTo>
                        <a:pt x="644" y="384056"/>
                      </a:lnTo>
                      <a:lnTo>
                        <a:pt x="1695" y="384790"/>
                      </a:lnTo>
                      <a:lnTo>
                        <a:pt x="2869" y="386142"/>
                      </a:lnTo>
                      <a:lnTo>
                        <a:pt x="3440" y="386265"/>
                      </a:lnTo>
                      <a:lnTo>
                        <a:pt x="3985" y="385132"/>
                      </a:lnTo>
                      <a:lnTo>
                        <a:pt x="3920" y="382540"/>
                      </a:lnTo>
                      <a:lnTo>
                        <a:pt x="4246" y="381098"/>
                      </a:lnTo>
                      <a:lnTo>
                        <a:pt x="5069" y="381888"/>
                      </a:lnTo>
                      <a:lnTo>
                        <a:pt x="6023" y="384814"/>
                      </a:lnTo>
                      <a:lnTo>
                        <a:pt x="8973" y="392352"/>
                      </a:lnTo>
                      <a:lnTo>
                        <a:pt x="9845" y="396183"/>
                      </a:lnTo>
                      <a:lnTo>
                        <a:pt x="13610" y="397365"/>
                      </a:lnTo>
                      <a:lnTo>
                        <a:pt x="14784" y="396354"/>
                      </a:lnTo>
                      <a:lnTo>
                        <a:pt x="16161" y="394365"/>
                      </a:lnTo>
                      <a:lnTo>
                        <a:pt x="16569" y="389060"/>
                      </a:lnTo>
                      <a:lnTo>
                        <a:pt x="14670" y="386656"/>
                      </a:lnTo>
                      <a:lnTo>
                        <a:pt x="12942" y="385629"/>
                      </a:lnTo>
                      <a:lnTo>
                        <a:pt x="10041" y="381701"/>
                      </a:lnTo>
                      <a:lnTo>
                        <a:pt x="8166" y="375368"/>
                      </a:lnTo>
                      <a:lnTo>
                        <a:pt x="5240" y="369541"/>
                      </a:lnTo>
                      <a:lnTo>
                        <a:pt x="5281" y="367455"/>
                      </a:lnTo>
                      <a:lnTo>
                        <a:pt x="6626" y="365947"/>
                      </a:lnTo>
                      <a:lnTo>
                        <a:pt x="8818" y="366771"/>
                      </a:lnTo>
                      <a:lnTo>
                        <a:pt x="10848" y="370120"/>
                      </a:lnTo>
                      <a:lnTo>
                        <a:pt x="13121" y="373241"/>
                      </a:lnTo>
                      <a:lnTo>
                        <a:pt x="12738" y="378710"/>
                      </a:lnTo>
                      <a:lnTo>
                        <a:pt x="12380" y="380218"/>
                      </a:lnTo>
                      <a:lnTo>
                        <a:pt x="12583" y="381473"/>
                      </a:lnTo>
                      <a:lnTo>
                        <a:pt x="13382" y="382671"/>
                      </a:lnTo>
                      <a:lnTo>
                        <a:pt x="14425" y="383608"/>
                      </a:lnTo>
                      <a:lnTo>
                        <a:pt x="15566" y="382222"/>
                      </a:lnTo>
                      <a:lnTo>
                        <a:pt x="16617" y="379028"/>
                      </a:lnTo>
                      <a:lnTo>
                        <a:pt x="17261" y="379443"/>
                      </a:lnTo>
                      <a:lnTo>
                        <a:pt x="18810" y="386745"/>
                      </a:lnTo>
                      <a:lnTo>
                        <a:pt x="20032" y="388718"/>
                      </a:lnTo>
                      <a:lnTo>
                        <a:pt x="22477" y="391000"/>
                      </a:lnTo>
                      <a:lnTo>
                        <a:pt x="24604" y="389215"/>
                      </a:lnTo>
                      <a:lnTo>
                        <a:pt x="25582" y="387699"/>
                      </a:lnTo>
                      <a:lnTo>
                        <a:pt x="25281" y="382556"/>
                      </a:lnTo>
                      <a:lnTo>
                        <a:pt x="25908" y="377585"/>
                      </a:lnTo>
                      <a:lnTo>
                        <a:pt x="25549" y="373893"/>
                      </a:lnTo>
                      <a:lnTo>
                        <a:pt x="20049" y="364228"/>
                      </a:lnTo>
                      <a:lnTo>
                        <a:pt x="15085" y="352297"/>
                      </a:lnTo>
                      <a:lnTo>
                        <a:pt x="12078" y="346364"/>
                      </a:lnTo>
                      <a:lnTo>
                        <a:pt x="9552" y="337448"/>
                      </a:lnTo>
                      <a:lnTo>
                        <a:pt x="7913" y="334359"/>
                      </a:lnTo>
                      <a:lnTo>
                        <a:pt x="5786" y="329388"/>
                      </a:lnTo>
                      <a:lnTo>
                        <a:pt x="5673" y="323691"/>
                      </a:lnTo>
                      <a:lnTo>
                        <a:pt x="5884" y="319885"/>
                      </a:lnTo>
                      <a:lnTo>
                        <a:pt x="7571" y="311654"/>
                      </a:lnTo>
                      <a:lnTo>
                        <a:pt x="9136" y="307383"/>
                      </a:lnTo>
                      <a:lnTo>
                        <a:pt x="14197" y="297563"/>
                      </a:lnTo>
                      <a:lnTo>
                        <a:pt x="14442" y="293317"/>
                      </a:lnTo>
                      <a:lnTo>
                        <a:pt x="14384" y="290122"/>
                      </a:lnTo>
                      <a:lnTo>
                        <a:pt x="15135" y="285232"/>
                      </a:lnTo>
                      <a:lnTo>
                        <a:pt x="15142" y="281826"/>
                      </a:lnTo>
                      <a:lnTo>
                        <a:pt x="14466" y="278664"/>
                      </a:lnTo>
                      <a:lnTo>
                        <a:pt x="12347" y="273212"/>
                      </a:lnTo>
                      <a:lnTo>
                        <a:pt x="15142" y="263693"/>
                      </a:lnTo>
                      <a:lnTo>
                        <a:pt x="19193" y="251476"/>
                      </a:lnTo>
                      <a:lnTo>
                        <a:pt x="20782" y="249683"/>
                      </a:lnTo>
                      <a:lnTo>
                        <a:pt x="23292" y="248053"/>
                      </a:lnTo>
                      <a:lnTo>
                        <a:pt x="23757" y="250571"/>
                      </a:lnTo>
                      <a:lnTo>
                        <a:pt x="22526" y="259006"/>
                      </a:lnTo>
                      <a:lnTo>
                        <a:pt x="24287" y="263424"/>
                      </a:lnTo>
                      <a:lnTo>
                        <a:pt x="23748" y="268395"/>
                      </a:lnTo>
                      <a:lnTo>
                        <a:pt x="25313" y="267547"/>
                      </a:lnTo>
                      <a:lnTo>
                        <a:pt x="27758" y="266602"/>
                      </a:lnTo>
                      <a:lnTo>
                        <a:pt x="29600" y="263994"/>
                      </a:lnTo>
                      <a:lnTo>
                        <a:pt x="30578" y="261484"/>
                      </a:lnTo>
                      <a:lnTo>
                        <a:pt x="35175" y="251574"/>
                      </a:lnTo>
                      <a:lnTo>
                        <a:pt x="37823" y="247882"/>
                      </a:lnTo>
                      <a:lnTo>
                        <a:pt x="41531" y="245176"/>
                      </a:lnTo>
                      <a:lnTo>
                        <a:pt x="49045" y="241908"/>
                      </a:lnTo>
                      <a:lnTo>
                        <a:pt x="56347" y="237589"/>
                      </a:lnTo>
                      <a:lnTo>
                        <a:pt x="59819" y="233457"/>
                      </a:lnTo>
                      <a:lnTo>
                        <a:pt x="64171" y="229871"/>
                      </a:lnTo>
                      <a:lnTo>
                        <a:pt x="67195" y="225976"/>
                      </a:lnTo>
                      <a:lnTo>
                        <a:pt x="70104" y="223294"/>
                      </a:lnTo>
                      <a:lnTo>
                        <a:pt x="84863" y="213482"/>
                      </a:lnTo>
                      <a:lnTo>
                        <a:pt x="87373" y="211649"/>
                      </a:lnTo>
                      <a:lnTo>
                        <a:pt x="90593" y="211445"/>
                      </a:lnTo>
                      <a:lnTo>
                        <a:pt x="94529" y="211754"/>
                      </a:lnTo>
                      <a:lnTo>
                        <a:pt x="98090" y="211241"/>
                      </a:lnTo>
                      <a:lnTo>
                        <a:pt x="101904" y="213482"/>
                      </a:lnTo>
                      <a:lnTo>
                        <a:pt x="104724" y="213727"/>
                      </a:lnTo>
                      <a:lnTo>
                        <a:pt x="111611" y="211298"/>
                      </a:lnTo>
                      <a:lnTo>
                        <a:pt x="115295" y="209122"/>
                      </a:lnTo>
                      <a:lnTo>
                        <a:pt x="121619" y="204379"/>
                      </a:lnTo>
                      <a:lnTo>
                        <a:pt x="124398" y="203026"/>
                      </a:lnTo>
                      <a:lnTo>
                        <a:pt x="130820" y="201527"/>
                      </a:lnTo>
                      <a:lnTo>
                        <a:pt x="138089" y="199530"/>
                      </a:lnTo>
                      <a:lnTo>
                        <a:pt x="146842" y="191290"/>
                      </a:lnTo>
                      <a:lnTo>
                        <a:pt x="153150" y="191812"/>
                      </a:lnTo>
                      <a:lnTo>
                        <a:pt x="158782" y="192611"/>
                      </a:lnTo>
                      <a:lnTo>
                        <a:pt x="163297" y="190150"/>
                      </a:lnTo>
                      <a:lnTo>
                        <a:pt x="173932" y="188625"/>
                      </a:lnTo>
                      <a:lnTo>
                        <a:pt x="179816" y="186547"/>
                      </a:lnTo>
                      <a:lnTo>
                        <a:pt x="190851" y="181087"/>
                      </a:lnTo>
                      <a:lnTo>
                        <a:pt x="193817" y="179221"/>
                      </a:lnTo>
                      <a:lnTo>
                        <a:pt x="198324" y="175317"/>
                      </a:lnTo>
                      <a:lnTo>
                        <a:pt x="202236" y="170451"/>
                      </a:lnTo>
                      <a:lnTo>
                        <a:pt x="206107" y="163867"/>
                      </a:lnTo>
                      <a:lnTo>
                        <a:pt x="208495" y="157982"/>
                      </a:lnTo>
                      <a:lnTo>
                        <a:pt x="209505" y="154959"/>
                      </a:lnTo>
                      <a:lnTo>
                        <a:pt x="211771" y="150134"/>
                      </a:lnTo>
                      <a:lnTo>
                        <a:pt x="213320" y="146328"/>
                      </a:lnTo>
                      <a:lnTo>
                        <a:pt x="214525" y="144511"/>
                      </a:lnTo>
                      <a:lnTo>
                        <a:pt x="218804" y="141944"/>
                      </a:lnTo>
                      <a:lnTo>
                        <a:pt x="225153" y="134748"/>
                      </a:lnTo>
                      <a:lnTo>
                        <a:pt x="227215" y="133289"/>
                      </a:lnTo>
                      <a:lnTo>
                        <a:pt x="227606" y="130999"/>
                      </a:lnTo>
                      <a:lnTo>
                        <a:pt x="226229" y="129711"/>
                      </a:lnTo>
                      <a:lnTo>
                        <a:pt x="224533" y="128896"/>
                      </a:lnTo>
                      <a:lnTo>
                        <a:pt x="223392" y="121284"/>
                      </a:lnTo>
                      <a:lnTo>
                        <a:pt x="222309" y="116020"/>
                      </a:lnTo>
                      <a:lnTo>
                        <a:pt x="222195" y="112319"/>
                      </a:lnTo>
                      <a:lnTo>
                        <a:pt x="222618" y="108815"/>
                      </a:lnTo>
                      <a:lnTo>
                        <a:pt x="225120" y="103355"/>
                      </a:lnTo>
                      <a:lnTo>
                        <a:pt x="226905" y="101024"/>
                      </a:lnTo>
                      <a:lnTo>
                        <a:pt x="229358" y="98302"/>
                      </a:lnTo>
                      <a:lnTo>
                        <a:pt x="231616" y="97454"/>
                      </a:lnTo>
                      <a:lnTo>
                        <a:pt x="233482" y="95075"/>
                      </a:lnTo>
                      <a:lnTo>
                        <a:pt x="236522" y="92711"/>
                      </a:lnTo>
                      <a:lnTo>
                        <a:pt x="237801" y="90340"/>
                      </a:lnTo>
                      <a:lnTo>
                        <a:pt x="239684" y="85515"/>
                      </a:lnTo>
                      <a:lnTo>
                        <a:pt x="241396" y="81856"/>
                      </a:lnTo>
                      <a:lnTo>
                        <a:pt x="242724" y="81978"/>
                      </a:lnTo>
                      <a:lnTo>
                        <a:pt x="245291" y="90503"/>
                      </a:lnTo>
                      <a:lnTo>
                        <a:pt x="246978" y="95026"/>
                      </a:lnTo>
                      <a:lnTo>
                        <a:pt x="250034" y="100331"/>
                      </a:lnTo>
                      <a:lnTo>
                        <a:pt x="252952" y="108188"/>
                      </a:lnTo>
                      <a:lnTo>
                        <a:pt x="255315" y="111757"/>
                      </a:lnTo>
                      <a:lnTo>
                        <a:pt x="256472" y="114080"/>
                      </a:lnTo>
                      <a:lnTo>
                        <a:pt x="257417" y="115164"/>
                      </a:lnTo>
                      <a:lnTo>
                        <a:pt x="257621" y="113664"/>
                      </a:lnTo>
                      <a:lnTo>
                        <a:pt x="257385" y="111928"/>
                      </a:lnTo>
                      <a:lnTo>
                        <a:pt x="258518" y="105938"/>
                      </a:lnTo>
                      <a:lnTo>
                        <a:pt x="257996" y="101741"/>
                      </a:lnTo>
                      <a:lnTo>
                        <a:pt x="258168" y="100127"/>
                      </a:lnTo>
                      <a:lnTo>
                        <a:pt x="258762" y="99459"/>
                      </a:lnTo>
                      <a:lnTo>
                        <a:pt x="259919" y="99924"/>
                      </a:lnTo>
                      <a:lnTo>
                        <a:pt x="262136" y="102263"/>
                      </a:lnTo>
                      <a:lnTo>
                        <a:pt x="263261" y="103102"/>
                      </a:lnTo>
                      <a:lnTo>
                        <a:pt x="264060" y="102907"/>
                      </a:lnTo>
                      <a:lnTo>
                        <a:pt x="264027" y="99117"/>
                      </a:lnTo>
                      <a:lnTo>
                        <a:pt x="265135" y="96729"/>
                      </a:lnTo>
                      <a:lnTo>
                        <a:pt x="264695" y="95075"/>
                      </a:lnTo>
                      <a:lnTo>
                        <a:pt x="262756" y="95221"/>
                      </a:lnTo>
                      <a:lnTo>
                        <a:pt x="261933" y="93184"/>
                      </a:lnTo>
                      <a:lnTo>
                        <a:pt x="260335" y="90812"/>
                      </a:lnTo>
                      <a:lnTo>
                        <a:pt x="258518" y="89109"/>
                      </a:lnTo>
                      <a:lnTo>
                        <a:pt x="256301" y="85205"/>
                      </a:lnTo>
                      <a:lnTo>
                        <a:pt x="255625" y="83681"/>
                      </a:lnTo>
                      <a:lnTo>
                        <a:pt x="256472" y="82972"/>
                      </a:lnTo>
                      <a:lnTo>
                        <a:pt x="257874" y="83070"/>
                      </a:lnTo>
                      <a:lnTo>
                        <a:pt x="258982" y="81408"/>
                      </a:lnTo>
                      <a:lnTo>
                        <a:pt x="259488" y="79175"/>
                      </a:lnTo>
                      <a:lnTo>
                        <a:pt x="258518" y="75548"/>
                      </a:lnTo>
                      <a:lnTo>
                        <a:pt x="259512" y="74187"/>
                      </a:lnTo>
                      <a:lnTo>
                        <a:pt x="261533" y="74578"/>
                      </a:lnTo>
                      <a:lnTo>
                        <a:pt x="264760" y="80373"/>
                      </a:lnTo>
                      <a:lnTo>
                        <a:pt x="266163" y="79802"/>
                      </a:lnTo>
                      <a:lnTo>
                        <a:pt x="267303" y="77463"/>
                      </a:lnTo>
                      <a:lnTo>
                        <a:pt x="269365" y="76787"/>
                      </a:lnTo>
                      <a:lnTo>
                        <a:pt x="271492" y="77219"/>
                      </a:lnTo>
                      <a:lnTo>
                        <a:pt x="272878" y="78898"/>
                      </a:lnTo>
                      <a:lnTo>
                        <a:pt x="275722" y="80568"/>
                      </a:lnTo>
                      <a:lnTo>
                        <a:pt x="279495" y="80373"/>
                      </a:lnTo>
                      <a:lnTo>
                        <a:pt x="281418" y="80788"/>
                      </a:lnTo>
                      <a:lnTo>
                        <a:pt x="285437" y="80503"/>
                      </a:lnTo>
                      <a:lnTo>
                        <a:pt x="287409" y="81008"/>
                      </a:lnTo>
                      <a:lnTo>
                        <a:pt x="287050" y="80120"/>
                      </a:lnTo>
                      <a:lnTo>
                        <a:pt x="284858" y="79060"/>
                      </a:lnTo>
                      <a:lnTo>
                        <a:pt x="282405" y="78857"/>
                      </a:lnTo>
                      <a:lnTo>
                        <a:pt x="279528" y="78963"/>
                      </a:lnTo>
                      <a:lnTo>
                        <a:pt x="278306" y="77846"/>
                      </a:lnTo>
                      <a:lnTo>
                        <a:pt x="277898" y="74920"/>
                      </a:lnTo>
                      <a:lnTo>
                        <a:pt x="278591" y="72793"/>
                      </a:lnTo>
                      <a:lnTo>
                        <a:pt x="279039" y="71889"/>
                      </a:lnTo>
                      <a:lnTo>
                        <a:pt x="280905" y="72280"/>
                      </a:lnTo>
                      <a:lnTo>
                        <a:pt x="282568" y="72190"/>
                      </a:lnTo>
                      <a:lnTo>
                        <a:pt x="282764" y="69330"/>
                      </a:lnTo>
                      <a:lnTo>
                        <a:pt x="283350" y="66803"/>
                      </a:lnTo>
                      <a:lnTo>
                        <a:pt x="284328" y="64749"/>
                      </a:lnTo>
                      <a:lnTo>
                        <a:pt x="284328" y="62785"/>
                      </a:lnTo>
                      <a:lnTo>
                        <a:pt x="283293" y="63299"/>
                      </a:lnTo>
                      <a:lnTo>
                        <a:pt x="280750" y="67879"/>
                      </a:lnTo>
                      <a:lnTo>
                        <a:pt x="279544" y="64163"/>
                      </a:lnTo>
                      <a:lnTo>
                        <a:pt x="277711" y="61335"/>
                      </a:lnTo>
                      <a:lnTo>
                        <a:pt x="278085" y="57293"/>
                      </a:lnTo>
                      <a:lnTo>
                        <a:pt x="279145" y="53266"/>
                      </a:lnTo>
                      <a:lnTo>
                        <a:pt x="280783" y="52712"/>
                      </a:lnTo>
                      <a:lnTo>
                        <a:pt x="282177" y="53348"/>
                      </a:lnTo>
                      <a:lnTo>
                        <a:pt x="284230" y="50993"/>
                      </a:lnTo>
                      <a:lnTo>
                        <a:pt x="285387" y="49183"/>
                      </a:lnTo>
                      <a:lnTo>
                        <a:pt x="285119" y="47692"/>
                      </a:lnTo>
                      <a:lnTo>
                        <a:pt x="285428" y="46559"/>
                      </a:lnTo>
                      <a:lnTo>
                        <a:pt x="286871" y="46902"/>
                      </a:lnTo>
                      <a:lnTo>
                        <a:pt x="292364" y="50528"/>
                      </a:lnTo>
                      <a:lnTo>
                        <a:pt x="293464" y="52427"/>
                      </a:lnTo>
                      <a:lnTo>
                        <a:pt x="294621" y="51685"/>
                      </a:lnTo>
                      <a:lnTo>
                        <a:pt x="294996" y="49624"/>
                      </a:lnTo>
                      <a:lnTo>
                        <a:pt x="294874" y="47554"/>
                      </a:lnTo>
                      <a:lnTo>
                        <a:pt x="293659" y="47863"/>
                      </a:lnTo>
                      <a:lnTo>
                        <a:pt x="290815" y="47660"/>
                      </a:lnTo>
                      <a:lnTo>
                        <a:pt x="290155" y="46494"/>
                      </a:lnTo>
                      <a:lnTo>
                        <a:pt x="290400" y="45532"/>
                      </a:lnTo>
                      <a:lnTo>
                        <a:pt x="289063" y="43104"/>
                      </a:lnTo>
                      <a:lnTo>
                        <a:pt x="290929" y="41563"/>
                      </a:lnTo>
                      <a:lnTo>
                        <a:pt x="292535" y="41457"/>
                      </a:lnTo>
                      <a:lnTo>
                        <a:pt x="293635" y="40390"/>
                      </a:lnTo>
                      <a:lnTo>
                        <a:pt x="293659" y="38948"/>
                      </a:lnTo>
                      <a:lnTo>
                        <a:pt x="294010" y="38328"/>
                      </a:lnTo>
                      <a:lnTo>
                        <a:pt x="294874" y="39184"/>
                      </a:lnTo>
                      <a:lnTo>
                        <a:pt x="297743" y="39575"/>
                      </a:lnTo>
                      <a:lnTo>
                        <a:pt x="300562" y="41450"/>
                      </a:lnTo>
                      <a:lnTo>
                        <a:pt x="301891" y="41849"/>
                      </a:lnTo>
                      <a:lnTo>
                        <a:pt x="302380" y="40855"/>
                      </a:lnTo>
                      <a:lnTo>
                        <a:pt x="302584" y="38678"/>
                      </a:lnTo>
                      <a:lnTo>
                        <a:pt x="299104" y="36502"/>
                      </a:lnTo>
                      <a:lnTo>
                        <a:pt x="298998" y="34375"/>
                      </a:lnTo>
                      <a:lnTo>
                        <a:pt x="297531" y="31922"/>
                      </a:lnTo>
                      <a:lnTo>
                        <a:pt x="297482" y="29502"/>
                      </a:lnTo>
                      <a:lnTo>
                        <a:pt x="299666" y="27489"/>
                      </a:lnTo>
                      <a:lnTo>
                        <a:pt x="300122" y="25525"/>
                      </a:lnTo>
                      <a:lnTo>
                        <a:pt x="301377" y="24742"/>
                      </a:lnTo>
                      <a:lnTo>
                        <a:pt x="303871" y="24702"/>
                      </a:lnTo>
                      <a:lnTo>
                        <a:pt x="305558" y="23039"/>
                      </a:lnTo>
                      <a:lnTo>
                        <a:pt x="307441" y="22461"/>
                      </a:lnTo>
                      <a:lnTo>
                        <a:pt x="307897" y="18760"/>
                      </a:lnTo>
                      <a:lnTo>
                        <a:pt x="307873" y="16218"/>
                      </a:lnTo>
                      <a:lnTo>
                        <a:pt x="308631" y="15574"/>
                      </a:lnTo>
                      <a:lnTo>
                        <a:pt x="310537" y="16633"/>
                      </a:lnTo>
                      <a:lnTo>
                        <a:pt x="309959" y="19559"/>
                      </a:lnTo>
                      <a:lnTo>
                        <a:pt x="309951" y="22363"/>
                      </a:lnTo>
                      <a:lnTo>
                        <a:pt x="309470" y="23870"/>
                      </a:lnTo>
                      <a:lnTo>
                        <a:pt x="310195" y="23740"/>
                      </a:lnTo>
                      <a:lnTo>
                        <a:pt x="310635" y="23121"/>
                      </a:lnTo>
                      <a:lnTo>
                        <a:pt x="311377" y="21271"/>
                      </a:lnTo>
                      <a:lnTo>
                        <a:pt x="313390" y="22029"/>
                      </a:lnTo>
                      <a:lnTo>
                        <a:pt x="313887" y="24001"/>
                      </a:lnTo>
                      <a:lnTo>
                        <a:pt x="314156" y="25932"/>
                      </a:lnTo>
                      <a:lnTo>
                        <a:pt x="315158" y="26560"/>
                      </a:lnTo>
                      <a:lnTo>
                        <a:pt x="316528" y="23585"/>
                      </a:lnTo>
                      <a:lnTo>
                        <a:pt x="318386" y="22803"/>
                      </a:lnTo>
                      <a:lnTo>
                        <a:pt x="318288" y="19054"/>
                      </a:lnTo>
                      <a:lnTo>
                        <a:pt x="318981" y="16373"/>
                      </a:lnTo>
                      <a:lnTo>
                        <a:pt x="319193" y="14343"/>
                      </a:lnTo>
                      <a:lnTo>
                        <a:pt x="320374" y="13365"/>
                      </a:lnTo>
                      <a:lnTo>
                        <a:pt x="320635" y="11230"/>
                      </a:lnTo>
                      <a:lnTo>
                        <a:pt x="319690" y="9747"/>
                      </a:lnTo>
                      <a:lnTo>
                        <a:pt x="319201" y="7066"/>
                      </a:lnTo>
                      <a:lnTo>
                        <a:pt x="320815" y="6479"/>
                      </a:lnTo>
                      <a:lnTo>
                        <a:pt x="322436" y="7824"/>
                      </a:lnTo>
                      <a:lnTo>
                        <a:pt x="323520" y="11214"/>
                      </a:lnTo>
                      <a:lnTo>
                        <a:pt x="324278" y="12738"/>
                      </a:lnTo>
                      <a:lnTo>
                        <a:pt x="325280" y="11907"/>
                      </a:lnTo>
                      <a:lnTo>
                        <a:pt x="325883" y="9657"/>
                      </a:lnTo>
                      <a:lnTo>
                        <a:pt x="327872" y="8337"/>
                      </a:lnTo>
                      <a:lnTo>
                        <a:pt x="329828" y="10171"/>
                      </a:lnTo>
                      <a:lnTo>
                        <a:pt x="331996" y="12656"/>
                      </a:lnTo>
                      <a:lnTo>
                        <a:pt x="334710" y="10480"/>
                      </a:lnTo>
                      <a:lnTo>
                        <a:pt x="337236" y="6406"/>
                      </a:lnTo>
                      <a:lnTo>
                        <a:pt x="336837" y="3912"/>
                      </a:lnTo>
                      <a:lnTo>
                        <a:pt x="337098" y="1345"/>
                      </a:lnTo>
                      <a:lnTo>
                        <a:pt x="340268" y="0"/>
                      </a:lnTo>
                      <a:lnTo>
                        <a:pt x="342811" y="986"/>
                      </a:lnTo>
                      <a:lnTo>
                        <a:pt x="345125" y="3741"/>
                      </a:lnTo>
                      <a:lnTo>
                        <a:pt x="349934" y="5778"/>
                      </a:lnTo>
                      <a:lnTo>
                        <a:pt x="354016" y="8728"/>
                      </a:lnTo>
                      <a:lnTo>
                        <a:pt x="355842" y="10652"/>
                      </a:lnTo>
                      <a:lnTo>
                        <a:pt x="359363" y="13700"/>
                      </a:lnTo>
                      <a:lnTo>
                        <a:pt x="361604" y="16862"/>
                      </a:lnTo>
                      <a:lnTo>
                        <a:pt x="364685" y="22510"/>
                      </a:lnTo>
                      <a:lnTo>
                        <a:pt x="371954" y="29412"/>
                      </a:lnTo>
                      <a:lnTo>
                        <a:pt x="372419" y="30618"/>
                      </a:lnTo>
                      <a:lnTo>
                        <a:pt x="371441" y="32925"/>
                      </a:lnTo>
                      <a:lnTo>
                        <a:pt x="370569" y="35867"/>
                      </a:lnTo>
                      <a:lnTo>
                        <a:pt x="369468" y="40855"/>
                      </a:lnTo>
                      <a:lnTo>
                        <a:pt x="369199" y="48214"/>
                      </a:lnTo>
                      <a:lnTo>
                        <a:pt x="370259" y="47676"/>
                      </a:lnTo>
                      <a:lnTo>
                        <a:pt x="371335" y="45052"/>
                      </a:lnTo>
                      <a:lnTo>
                        <a:pt x="372492" y="45590"/>
                      </a:lnTo>
                      <a:lnTo>
                        <a:pt x="373804" y="47277"/>
                      </a:lnTo>
                      <a:lnTo>
                        <a:pt x="373910" y="45663"/>
                      </a:lnTo>
                      <a:lnTo>
                        <a:pt x="373119" y="44693"/>
                      </a:lnTo>
                      <a:lnTo>
                        <a:pt x="371775" y="41295"/>
                      </a:lnTo>
                      <a:lnTo>
                        <a:pt x="371832" y="39502"/>
                      </a:lnTo>
                      <a:lnTo>
                        <a:pt x="372907" y="38043"/>
                      </a:lnTo>
                      <a:lnTo>
                        <a:pt x="374562" y="36315"/>
                      </a:lnTo>
                      <a:lnTo>
                        <a:pt x="376379" y="35174"/>
                      </a:lnTo>
                      <a:lnTo>
                        <a:pt x="377496" y="34188"/>
                      </a:lnTo>
                      <a:lnTo>
                        <a:pt x="377659" y="32966"/>
                      </a:lnTo>
                      <a:lnTo>
                        <a:pt x="379346" y="31727"/>
                      </a:lnTo>
                      <a:lnTo>
                        <a:pt x="381774" y="31303"/>
                      </a:lnTo>
                      <a:lnTo>
                        <a:pt x="383266" y="31507"/>
                      </a:lnTo>
                      <a:lnTo>
                        <a:pt x="392353" y="34237"/>
                      </a:lnTo>
                      <a:lnTo>
                        <a:pt x="392353" y="378555"/>
                      </a:lnTo>
                      <a:close/>
                    </a:path>
                  </a:pathLst>
                </a:custGeom>
                <a:solidFill>
                  <a:srgbClr val="D6D6D2"/>
                </a:solidFill>
                <a:ln w="6112" cap="rnd">
                  <a:solidFill>
                    <a:srgbClr val="FFFFFF"/>
                  </a:solidFill>
                  <a:prstDash val="solid"/>
                  <a:round/>
                </a:ln>
              </p:spPr>
              <p:txBody>
                <a:bodyPr rtlCol="0" anchor="ctr"/>
                <a:lstStyle/>
                <a:p>
                  <a:endParaRPr lang="en-US"/>
                </a:p>
              </p:txBody>
            </p:sp>
            <p:sp>
              <p:nvSpPr>
                <p:cNvPr id="488" name="Freeform: Shape 487">
                  <a:extLst>
                    <a:ext uri="{FF2B5EF4-FFF2-40B4-BE49-F238E27FC236}">
                      <a16:creationId xmlns:a16="http://schemas.microsoft.com/office/drawing/2014/main" id="{AA678EE9-5B64-4B07-B28C-3640D39B948A}"/>
                    </a:ext>
                  </a:extLst>
                </p:cNvPr>
                <p:cNvSpPr/>
                <p:nvPr/>
              </p:nvSpPr>
              <p:spPr>
                <a:xfrm>
                  <a:off x="2967333" y="2543712"/>
                  <a:ext cx="248061" cy="417551"/>
                </a:xfrm>
                <a:custGeom>
                  <a:avLst/>
                  <a:gdLst>
                    <a:gd name="connsiteX0" fmla="*/ 248061 w 248061"/>
                    <a:gd name="connsiteY0" fmla="*/ 417552 h 417551"/>
                    <a:gd name="connsiteX1" fmla="*/ 147290 w 248061"/>
                    <a:gd name="connsiteY1" fmla="*/ 417552 h 417551"/>
                    <a:gd name="connsiteX2" fmla="*/ 147583 w 248061"/>
                    <a:gd name="connsiteY2" fmla="*/ 416777 h 417551"/>
                    <a:gd name="connsiteX3" fmla="*/ 147412 w 248061"/>
                    <a:gd name="connsiteY3" fmla="*/ 415938 h 417551"/>
                    <a:gd name="connsiteX4" fmla="*/ 145546 w 248061"/>
                    <a:gd name="connsiteY4" fmla="*/ 413900 h 417551"/>
                    <a:gd name="connsiteX5" fmla="*/ 144780 w 248061"/>
                    <a:gd name="connsiteY5" fmla="*/ 411993 h 417551"/>
                    <a:gd name="connsiteX6" fmla="*/ 144136 w 248061"/>
                    <a:gd name="connsiteY6" fmla="*/ 411219 h 417551"/>
                    <a:gd name="connsiteX7" fmla="*/ 140037 w 248061"/>
                    <a:gd name="connsiteY7" fmla="*/ 409679 h 417551"/>
                    <a:gd name="connsiteX8" fmla="*/ 139458 w 248061"/>
                    <a:gd name="connsiteY8" fmla="*/ 408905 h 417551"/>
                    <a:gd name="connsiteX9" fmla="*/ 139263 w 248061"/>
                    <a:gd name="connsiteY9" fmla="*/ 408179 h 417551"/>
                    <a:gd name="connsiteX10" fmla="*/ 138276 w 248061"/>
                    <a:gd name="connsiteY10" fmla="*/ 407373 h 417551"/>
                    <a:gd name="connsiteX11" fmla="*/ 136940 w 248061"/>
                    <a:gd name="connsiteY11" fmla="*/ 405237 h 417551"/>
                    <a:gd name="connsiteX12" fmla="*/ 134821 w 248061"/>
                    <a:gd name="connsiteY12" fmla="*/ 403045 h 417551"/>
                    <a:gd name="connsiteX13" fmla="*/ 134259 w 248061"/>
                    <a:gd name="connsiteY13" fmla="*/ 402083 h 417551"/>
                    <a:gd name="connsiteX14" fmla="*/ 134202 w 248061"/>
                    <a:gd name="connsiteY14" fmla="*/ 400942 h 417551"/>
                    <a:gd name="connsiteX15" fmla="*/ 134544 w 248061"/>
                    <a:gd name="connsiteY15" fmla="*/ 398514 h 417551"/>
                    <a:gd name="connsiteX16" fmla="*/ 134511 w 248061"/>
                    <a:gd name="connsiteY16" fmla="*/ 397609 h 417551"/>
                    <a:gd name="connsiteX17" fmla="*/ 133916 w 248061"/>
                    <a:gd name="connsiteY17" fmla="*/ 397357 h 417551"/>
                    <a:gd name="connsiteX18" fmla="*/ 131944 w 248061"/>
                    <a:gd name="connsiteY18" fmla="*/ 397177 h 417551"/>
                    <a:gd name="connsiteX19" fmla="*/ 131064 w 248061"/>
                    <a:gd name="connsiteY19" fmla="*/ 396705 h 417551"/>
                    <a:gd name="connsiteX20" fmla="*/ 130632 w 248061"/>
                    <a:gd name="connsiteY20" fmla="*/ 396028 h 417551"/>
                    <a:gd name="connsiteX21" fmla="*/ 130551 w 248061"/>
                    <a:gd name="connsiteY21" fmla="*/ 395417 h 417551"/>
                    <a:gd name="connsiteX22" fmla="*/ 131822 w 248061"/>
                    <a:gd name="connsiteY22" fmla="*/ 393999 h 417551"/>
                    <a:gd name="connsiteX23" fmla="*/ 132898 w 248061"/>
                    <a:gd name="connsiteY23" fmla="*/ 390820 h 417551"/>
                    <a:gd name="connsiteX24" fmla="*/ 133020 w 248061"/>
                    <a:gd name="connsiteY24" fmla="*/ 388408 h 417551"/>
                    <a:gd name="connsiteX25" fmla="*/ 131846 w 248061"/>
                    <a:gd name="connsiteY25" fmla="*/ 383396 h 417551"/>
                    <a:gd name="connsiteX26" fmla="*/ 132026 w 248061"/>
                    <a:gd name="connsiteY26" fmla="*/ 382654 h 417551"/>
                    <a:gd name="connsiteX27" fmla="*/ 132678 w 248061"/>
                    <a:gd name="connsiteY27" fmla="*/ 381538 h 417551"/>
                    <a:gd name="connsiteX28" fmla="*/ 132661 w 248061"/>
                    <a:gd name="connsiteY28" fmla="*/ 380291 h 417551"/>
                    <a:gd name="connsiteX29" fmla="*/ 132278 w 248061"/>
                    <a:gd name="connsiteY29" fmla="*/ 378783 h 417551"/>
                    <a:gd name="connsiteX30" fmla="*/ 131072 w 248061"/>
                    <a:gd name="connsiteY30" fmla="*/ 376290 h 417551"/>
                    <a:gd name="connsiteX31" fmla="*/ 129263 w 248061"/>
                    <a:gd name="connsiteY31" fmla="*/ 367895 h 417551"/>
                    <a:gd name="connsiteX32" fmla="*/ 124218 w 248061"/>
                    <a:gd name="connsiteY32" fmla="*/ 361098 h 417551"/>
                    <a:gd name="connsiteX33" fmla="*/ 122849 w 248061"/>
                    <a:gd name="connsiteY33" fmla="*/ 359925 h 417551"/>
                    <a:gd name="connsiteX34" fmla="*/ 121773 w 248061"/>
                    <a:gd name="connsiteY34" fmla="*/ 359640 h 417551"/>
                    <a:gd name="connsiteX35" fmla="*/ 120869 w 248061"/>
                    <a:gd name="connsiteY35" fmla="*/ 359631 h 417551"/>
                    <a:gd name="connsiteX36" fmla="*/ 119361 w 248061"/>
                    <a:gd name="connsiteY36" fmla="*/ 360650 h 417551"/>
                    <a:gd name="connsiteX37" fmla="*/ 118929 w 248061"/>
                    <a:gd name="connsiteY37" fmla="*/ 360781 h 417551"/>
                    <a:gd name="connsiteX38" fmla="*/ 118530 w 248061"/>
                    <a:gd name="connsiteY38" fmla="*/ 360446 h 417551"/>
                    <a:gd name="connsiteX39" fmla="*/ 117421 w 248061"/>
                    <a:gd name="connsiteY39" fmla="*/ 359289 h 417551"/>
                    <a:gd name="connsiteX40" fmla="*/ 116460 w 248061"/>
                    <a:gd name="connsiteY40" fmla="*/ 357814 h 417551"/>
                    <a:gd name="connsiteX41" fmla="*/ 116321 w 248061"/>
                    <a:gd name="connsiteY41" fmla="*/ 357537 h 417551"/>
                    <a:gd name="connsiteX42" fmla="*/ 116403 w 248061"/>
                    <a:gd name="connsiteY42" fmla="*/ 357040 h 417551"/>
                    <a:gd name="connsiteX43" fmla="*/ 116639 w 248061"/>
                    <a:gd name="connsiteY43" fmla="*/ 356388 h 417551"/>
                    <a:gd name="connsiteX44" fmla="*/ 116321 w 248061"/>
                    <a:gd name="connsiteY44" fmla="*/ 355532 h 417551"/>
                    <a:gd name="connsiteX45" fmla="*/ 115726 w 248061"/>
                    <a:gd name="connsiteY45" fmla="*/ 354701 h 417551"/>
                    <a:gd name="connsiteX46" fmla="*/ 115441 w 248061"/>
                    <a:gd name="connsiteY46" fmla="*/ 354359 h 417551"/>
                    <a:gd name="connsiteX47" fmla="*/ 115115 w 248061"/>
                    <a:gd name="connsiteY47" fmla="*/ 354367 h 417551"/>
                    <a:gd name="connsiteX48" fmla="*/ 114724 w 248061"/>
                    <a:gd name="connsiteY48" fmla="*/ 354432 h 417551"/>
                    <a:gd name="connsiteX49" fmla="*/ 114455 w 248061"/>
                    <a:gd name="connsiteY49" fmla="*/ 354448 h 417551"/>
                    <a:gd name="connsiteX50" fmla="*/ 114145 w 248061"/>
                    <a:gd name="connsiteY50" fmla="*/ 354269 h 417551"/>
                    <a:gd name="connsiteX51" fmla="*/ 113298 w 248061"/>
                    <a:gd name="connsiteY51" fmla="*/ 353348 h 417551"/>
                    <a:gd name="connsiteX52" fmla="*/ 108318 w 248061"/>
                    <a:gd name="connsiteY52" fmla="*/ 349721 h 417551"/>
                    <a:gd name="connsiteX53" fmla="*/ 108171 w 248061"/>
                    <a:gd name="connsiteY53" fmla="*/ 349216 h 417551"/>
                    <a:gd name="connsiteX54" fmla="*/ 109451 w 248061"/>
                    <a:gd name="connsiteY54" fmla="*/ 347741 h 417551"/>
                    <a:gd name="connsiteX55" fmla="*/ 109255 w 248061"/>
                    <a:gd name="connsiteY55" fmla="*/ 346747 h 417551"/>
                    <a:gd name="connsiteX56" fmla="*/ 108685 w 248061"/>
                    <a:gd name="connsiteY56" fmla="*/ 345793 h 417551"/>
                    <a:gd name="connsiteX57" fmla="*/ 104349 w 248061"/>
                    <a:gd name="connsiteY57" fmla="*/ 341816 h 417551"/>
                    <a:gd name="connsiteX58" fmla="*/ 100714 w 248061"/>
                    <a:gd name="connsiteY58" fmla="*/ 340659 h 417551"/>
                    <a:gd name="connsiteX59" fmla="*/ 99296 w 248061"/>
                    <a:gd name="connsiteY59" fmla="*/ 339640 h 417551"/>
                    <a:gd name="connsiteX60" fmla="*/ 98897 w 248061"/>
                    <a:gd name="connsiteY60" fmla="*/ 338858 h 417551"/>
                    <a:gd name="connsiteX61" fmla="*/ 98367 w 248061"/>
                    <a:gd name="connsiteY61" fmla="*/ 336397 h 417551"/>
                    <a:gd name="connsiteX62" fmla="*/ 98188 w 248061"/>
                    <a:gd name="connsiteY62" fmla="*/ 335948 h 417551"/>
                    <a:gd name="connsiteX63" fmla="*/ 97886 w 248061"/>
                    <a:gd name="connsiteY63" fmla="*/ 335687 h 417551"/>
                    <a:gd name="connsiteX64" fmla="*/ 95890 w 248061"/>
                    <a:gd name="connsiteY64" fmla="*/ 334612 h 417551"/>
                    <a:gd name="connsiteX65" fmla="*/ 94863 w 248061"/>
                    <a:gd name="connsiteY65" fmla="*/ 333471 h 417551"/>
                    <a:gd name="connsiteX66" fmla="*/ 93029 w 248061"/>
                    <a:gd name="connsiteY66" fmla="*/ 332534 h 417551"/>
                    <a:gd name="connsiteX67" fmla="*/ 92320 w 248061"/>
                    <a:gd name="connsiteY67" fmla="*/ 331605 h 417551"/>
                    <a:gd name="connsiteX68" fmla="*/ 91546 w 248061"/>
                    <a:gd name="connsiteY68" fmla="*/ 327913 h 417551"/>
                    <a:gd name="connsiteX69" fmla="*/ 89883 w 248061"/>
                    <a:gd name="connsiteY69" fmla="*/ 326095 h 417551"/>
                    <a:gd name="connsiteX70" fmla="*/ 89044 w 248061"/>
                    <a:gd name="connsiteY70" fmla="*/ 324376 h 417551"/>
                    <a:gd name="connsiteX71" fmla="*/ 87878 w 248061"/>
                    <a:gd name="connsiteY71" fmla="*/ 323275 h 417551"/>
                    <a:gd name="connsiteX72" fmla="*/ 86787 w 248061"/>
                    <a:gd name="connsiteY72" fmla="*/ 321752 h 417551"/>
                    <a:gd name="connsiteX73" fmla="*/ 85165 w 248061"/>
                    <a:gd name="connsiteY73" fmla="*/ 320431 h 417551"/>
                    <a:gd name="connsiteX74" fmla="*/ 83510 w 248061"/>
                    <a:gd name="connsiteY74" fmla="*/ 316446 h 417551"/>
                    <a:gd name="connsiteX75" fmla="*/ 82516 w 248061"/>
                    <a:gd name="connsiteY75" fmla="*/ 315248 h 417551"/>
                    <a:gd name="connsiteX76" fmla="*/ 81432 w 248061"/>
                    <a:gd name="connsiteY76" fmla="*/ 314914 h 417551"/>
                    <a:gd name="connsiteX77" fmla="*/ 80430 w 248061"/>
                    <a:gd name="connsiteY77" fmla="*/ 315329 h 417551"/>
                    <a:gd name="connsiteX78" fmla="*/ 79623 w 248061"/>
                    <a:gd name="connsiteY78" fmla="*/ 315981 h 417551"/>
                    <a:gd name="connsiteX79" fmla="*/ 79183 w 248061"/>
                    <a:gd name="connsiteY79" fmla="*/ 316658 h 417551"/>
                    <a:gd name="connsiteX80" fmla="*/ 79028 w 248061"/>
                    <a:gd name="connsiteY80" fmla="*/ 317799 h 417551"/>
                    <a:gd name="connsiteX81" fmla="*/ 78653 w 248061"/>
                    <a:gd name="connsiteY81" fmla="*/ 318043 h 417551"/>
                    <a:gd name="connsiteX82" fmla="*/ 76591 w 248061"/>
                    <a:gd name="connsiteY82" fmla="*/ 318092 h 417551"/>
                    <a:gd name="connsiteX83" fmla="*/ 75947 w 248061"/>
                    <a:gd name="connsiteY83" fmla="*/ 317285 h 417551"/>
                    <a:gd name="connsiteX84" fmla="*/ 73511 w 248061"/>
                    <a:gd name="connsiteY84" fmla="*/ 311727 h 417551"/>
                    <a:gd name="connsiteX85" fmla="*/ 72524 w 248061"/>
                    <a:gd name="connsiteY85" fmla="*/ 310228 h 417551"/>
                    <a:gd name="connsiteX86" fmla="*/ 68368 w 248061"/>
                    <a:gd name="connsiteY86" fmla="*/ 305754 h 417551"/>
                    <a:gd name="connsiteX87" fmla="*/ 66494 w 248061"/>
                    <a:gd name="connsiteY87" fmla="*/ 301711 h 417551"/>
                    <a:gd name="connsiteX88" fmla="*/ 65809 w 248061"/>
                    <a:gd name="connsiteY88" fmla="*/ 301597 h 417551"/>
                    <a:gd name="connsiteX89" fmla="*/ 64880 w 248061"/>
                    <a:gd name="connsiteY89" fmla="*/ 302143 h 417551"/>
                    <a:gd name="connsiteX90" fmla="*/ 59868 w 248061"/>
                    <a:gd name="connsiteY90" fmla="*/ 302241 h 417551"/>
                    <a:gd name="connsiteX91" fmla="*/ 55818 w 248061"/>
                    <a:gd name="connsiteY91" fmla="*/ 299796 h 417551"/>
                    <a:gd name="connsiteX92" fmla="*/ 54888 w 248061"/>
                    <a:gd name="connsiteY92" fmla="*/ 298875 h 417551"/>
                    <a:gd name="connsiteX93" fmla="*/ 54049 w 248061"/>
                    <a:gd name="connsiteY93" fmla="*/ 297408 h 417551"/>
                    <a:gd name="connsiteX94" fmla="*/ 56209 w 248061"/>
                    <a:gd name="connsiteY94" fmla="*/ 294409 h 417551"/>
                    <a:gd name="connsiteX95" fmla="*/ 56282 w 248061"/>
                    <a:gd name="connsiteY95" fmla="*/ 293276 h 417551"/>
                    <a:gd name="connsiteX96" fmla="*/ 55638 w 248061"/>
                    <a:gd name="connsiteY96" fmla="*/ 292844 h 417551"/>
                    <a:gd name="connsiteX97" fmla="*/ 52533 w 248061"/>
                    <a:gd name="connsiteY97" fmla="*/ 291524 h 417551"/>
                    <a:gd name="connsiteX98" fmla="*/ 49583 w 248061"/>
                    <a:gd name="connsiteY98" fmla="*/ 289454 h 417551"/>
                    <a:gd name="connsiteX99" fmla="*/ 48915 w 248061"/>
                    <a:gd name="connsiteY99" fmla="*/ 290196 h 417551"/>
                    <a:gd name="connsiteX100" fmla="*/ 48532 w 248061"/>
                    <a:gd name="connsiteY100" fmla="*/ 291630 h 417551"/>
                    <a:gd name="connsiteX101" fmla="*/ 48140 w 248061"/>
                    <a:gd name="connsiteY101" fmla="*/ 292176 h 417551"/>
                    <a:gd name="connsiteX102" fmla="*/ 44880 w 248061"/>
                    <a:gd name="connsiteY102" fmla="*/ 293236 h 417551"/>
                    <a:gd name="connsiteX103" fmla="*/ 44147 w 248061"/>
                    <a:gd name="connsiteY103" fmla="*/ 293170 h 417551"/>
                    <a:gd name="connsiteX104" fmla="*/ 43601 w 248061"/>
                    <a:gd name="connsiteY104" fmla="*/ 292323 h 417551"/>
                    <a:gd name="connsiteX105" fmla="*/ 43511 w 248061"/>
                    <a:gd name="connsiteY105" fmla="*/ 291133 h 417551"/>
                    <a:gd name="connsiteX106" fmla="*/ 44049 w 248061"/>
                    <a:gd name="connsiteY106" fmla="*/ 289576 h 417551"/>
                    <a:gd name="connsiteX107" fmla="*/ 43022 w 248061"/>
                    <a:gd name="connsiteY107" fmla="*/ 288256 h 417551"/>
                    <a:gd name="connsiteX108" fmla="*/ 42476 w 248061"/>
                    <a:gd name="connsiteY108" fmla="*/ 286610 h 417551"/>
                    <a:gd name="connsiteX109" fmla="*/ 40944 w 248061"/>
                    <a:gd name="connsiteY109" fmla="*/ 284336 h 417551"/>
                    <a:gd name="connsiteX110" fmla="*/ 41710 w 248061"/>
                    <a:gd name="connsiteY110" fmla="*/ 282429 h 417551"/>
                    <a:gd name="connsiteX111" fmla="*/ 41441 w 248061"/>
                    <a:gd name="connsiteY111" fmla="*/ 281149 h 417551"/>
                    <a:gd name="connsiteX112" fmla="*/ 40749 w 248061"/>
                    <a:gd name="connsiteY112" fmla="*/ 279919 h 417551"/>
                    <a:gd name="connsiteX113" fmla="*/ 39388 w 248061"/>
                    <a:gd name="connsiteY113" fmla="*/ 278338 h 417551"/>
                    <a:gd name="connsiteX114" fmla="*/ 39005 w 248061"/>
                    <a:gd name="connsiteY114" fmla="*/ 276423 h 417551"/>
                    <a:gd name="connsiteX115" fmla="*/ 37798 w 248061"/>
                    <a:gd name="connsiteY115" fmla="*/ 274817 h 417551"/>
                    <a:gd name="connsiteX116" fmla="*/ 37187 w 248061"/>
                    <a:gd name="connsiteY116" fmla="*/ 274459 h 417551"/>
                    <a:gd name="connsiteX117" fmla="*/ 34612 w 248061"/>
                    <a:gd name="connsiteY117" fmla="*/ 274198 h 417551"/>
                    <a:gd name="connsiteX118" fmla="*/ 33984 w 248061"/>
                    <a:gd name="connsiteY118" fmla="*/ 273660 h 417551"/>
                    <a:gd name="connsiteX119" fmla="*/ 33055 w 248061"/>
                    <a:gd name="connsiteY119" fmla="*/ 271337 h 417551"/>
                    <a:gd name="connsiteX120" fmla="*/ 32803 w 248061"/>
                    <a:gd name="connsiteY120" fmla="*/ 269308 h 417551"/>
                    <a:gd name="connsiteX121" fmla="*/ 31482 w 248061"/>
                    <a:gd name="connsiteY121" fmla="*/ 268118 h 417551"/>
                    <a:gd name="connsiteX122" fmla="*/ 30618 w 248061"/>
                    <a:gd name="connsiteY122" fmla="*/ 267841 h 417551"/>
                    <a:gd name="connsiteX123" fmla="*/ 30439 w 248061"/>
                    <a:gd name="connsiteY123" fmla="*/ 265730 h 417551"/>
                    <a:gd name="connsiteX124" fmla="*/ 29698 w 248061"/>
                    <a:gd name="connsiteY124" fmla="*/ 264540 h 417551"/>
                    <a:gd name="connsiteX125" fmla="*/ 26951 w 248061"/>
                    <a:gd name="connsiteY125" fmla="*/ 262356 h 417551"/>
                    <a:gd name="connsiteX126" fmla="*/ 25012 w 248061"/>
                    <a:gd name="connsiteY126" fmla="*/ 261460 h 417551"/>
                    <a:gd name="connsiteX127" fmla="*/ 24425 w 248061"/>
                    <a:gd name="connsiteY127" fmla="*/ 262633 h 417551"/>
                    <a:gd name="connsiteX128" fmla="*/ 24278 w 248061"/>
                    <a:gd name="connsiteY128" fmla="*/ 265062 h 417551"/>
                    <a:gd name="connsiteX129" fmla="*/ 23699 w 248061"/>
                    <a:gd name="connsiteY129" fmla="*/ 264907 h 417551"/>
                    <a:gd name="connsiteX130" fmla="*/ 18353 w 248061"/>
                    <a:gd name="connsiteY130" fmla="*/ 262438 h 417551"/>
                    <a:gd name="connsiteX131" fmla="*/ 17163 w 248061"/>
                    <a:gd name="connsiteY131" fmla="*/ 261232 h 417551"/>
                    <a:gd name="connsiteX132" fmla="*/ 14914 w 248061"/>
                    <a:gd name="connsiteY132" fmla="*/ 257083 h 417551"/>
                    <a:gd name="connsiteX133" fmla="*/ 14042 w 248061"/>
                    <a:gd name="connsiteY133" fmla="*/ 256741 h 417551"/>
                    <a:gd name="connsiteX134" fmla="*/ 10130 w 248061"/>
                    <a:gd name="connsiteY134" fmla="*/ 256334 h 417551"/>
                    <a:gd name="connsiteX135" fmla="*/ 8761 w 248061"/>
                    <a:gd name="connsiteY135" fmla="*/ 256684 h 417551"/>
                    <a:gd name="connsiteX136" fmla="*/ 7962 w 248061"/>
                    <a:gd name="connsiteY136" fmla="*/ 256407 h 417551"/>
                    <a:gd name="connsiteX137" fmla="*/ 6887 w 248061"/>
                    <a:gd name="connsiteY137" fmla="*/ 255315 h 417551"/>
                    <a:gd name="connsiteX138" fmla="*/ 4499 w 248061"/>
                    <a:gd name="connsiteY138" fmla="*/ 251884 h 417551"/>
                    <a:gd name="connsiteX139" fmla="*/ 3618 w 248061"/>
                    <a:gd name="connsiteY139" fmla="*/ 251224 h 417551"/>
                    <a:gd name="connsiteX140" fmla="*/ 2657 w 248061"/>
                    <a:gd name="connsiteY140" fmla="*/ 250963 h 417551"/>
                    <a:gd name="connsiteX141" fmla="*/ 2600 w 248061"/>
                    <a:gd name="connsiteY141" fmla="*/ 249040 h 417551"/>
                    <a:gd name="connsiteX142" fmla="*/ 1988 w 248061"/>
                    <a:gd name="connsiteY142" fmla="*/ 247711 h 417551"/>
                    <a:gd name="connsiteX143" fmla="*/ 2054 w 248061"/>
                    <a:gd name="connsiteY143" fmla="*/ 247336 h 417551"/>
                    <a:gd name="connsiteX144" fmla="*/ 2828 w 248061"/>
                    <a:gd name="connsiteY144" fmla="*/ 247247 h 417551"/>
                    <a:gd name="connsiteX145" fmla="*/ 6397 w 248061"/>
                    <a:gd name="connsiteY145" fmla="*/ 247230 h 417551"/>
                    <a:gd name="connsiteX146" fmla="*/ 6601 w 248061"/>
                    <a:gd name="connsiteY146" fmla="*/ 246529 h 417551"/>
                    <a:gd name="connsiteX147" fmla="*/ 4694 w 248061"/>
                    <a:gd name="connsiteY147" fmla="*/ 244085 h 417551"/>
                    <a:gd name="connsiteX148" fmla="*/ 2885 w 248061"/>
                    <a:gd name="connsiteY148" fmla="*/ 243742 h 417551"/>
                    <a:gd name="connsiteX149" fmla="*/ 2396 w 248061"/>
                    <a:gd name="connsiteY149" fmla="*/ 243172 h 417551"/>
                    <a:gd name="connsiteX150" fmla="*/ 2078 w 248061"/>
                    <a:gd name="connsiteY150" fmla="*/ 241403 h 417551"/>
                    <a:gd name="connsiteX151" fmla="*/ 701 w 248061"/>
                    <a:gd name="connsiteY151" fmla="*/ 240385 h 417551"/>
                    <a:gd name="connsiteX152" fmla="*/ 0 w 248061"/>
                    <a:gd name="connsiteY152" fmla="*/ 238624 h 417551"/>
                    <a:gd name="connsiteX153" fmla="*/ 24 w 248061"/>
                    <a:gd name="connsiteY153" fmla="*/ 0 h 417551"/>
                    <a:gd name="connsiteX154" fmla="*/ 248045 w 248061"/>
                    <a:gd name="connsiteY154" fmla="*/ 0 h 417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248061" h="417551">
                      <a:moveTo>
                        <a:pt x="248061" y="417552"/>
                      </a:moveTo>
                      <a:lnTo>
                        <a:pt x="147290" y="417552"/>
                      </a:lnTo>
                      <a:lnTo>
                        <a:pt x="147583" y="416777"/>
                      </a:lnTo>
                      <a:lnTo>
                        <a:pt x="147412" y="415938"/>
                      </a:lnTo>
                      <a:lnTo>
                        <a:pt x="145546" y="413900"/>
                      </a:lnTo>
                      <a:lnTo>
                        <a:pt x="144780" y="411993"/>
                      </a:lnTo>
                      <a:lnTo>
                        <a:pt x="144136" y="411219"/>
                      </a:lnTo>
                      <a:lnTo>
                        <a:pt x="140037" y="409679"/>
                      </a:lnTo>
                      <a:lnTo>
                        <a:pt x="139458" y="408905"/>
                      </a:lnTo>
                      <a:lnTo>
                        <a:pt x="139263" y="408179"/>
                      </a:lnTo>
                      <a:lnTo>
                        <a:pt x="138276" y="407373"/>
                      </a:lnTo>
                      <a:lnTo>
                        <a:pt x="136940" y="405237"/>
                      </a:lnTo>
                      <a:lnTo>
                        <a:pt x="134821" y="403045"/>
                      </a:lnTo>
                      <a:lnTo>
                        <a:pt x="134259" y="402083"/>
                      </a:lnTo>
                      <a:lnTo>
                        <a:pt x="134202" y="400942"/>
                      </a:lnTo>
                      <a:lnTo>
                        <a:pt x="134544" y="398514"/>
                      </a:lnTo>
                      <a:lnTo>
                        <a:pt x="134511" y="397609"/>
                      </a:lnTo>
                      <a:lnTo>
                        <a:pt x="133916" y="397357"/>
                      </a:lnTo>
                      <a:lnTo>
                        <a:pt x="131944" y="397177"/>
                      </a:lnTo>
                      <a:lnTo>
                        <a:pt x="131064" y="396705"/>
                      </a:lnTo>
                      <a:lnTo>
                        <a:pt x="130632" y="396028"/>
                      </a:lnTo>
                      <a:lnTo>
                        <a:pt x="130551" y="395417"/>
                      </a:lnTo>
                      <a:lnTo>
                        <a:pt x="131822" y="393999"/>
                      </a:lnTo>
                      <a:lnTo>
                        <a:pt x="132898" y="390820"/>
                      </a:lnTo>
                      <a:lnTo>
                        <a:pt x="133020" y="388408"/>
                      </a:lnTo>
                      <a:lnTo>
                        <a:pt x="131846" y="383396"/>
                      </a:lnTo>
                      <a:lnTo>
                        <a:pt x="132026" y="382654"/>
                      </a:lnTo>
                      <a:lnTo>
                        <a:pt x="132678" y="381538"/>
                      </a:lnTo>
                      <a:lnTo>
                        <a:pt x="132661" y="380291"/>
                      </a:lnTo>
                      <a:lnTo>
                        <a:pt x="132278" y="378783"/>
                      </a:lnTo>
                      <a:lnTo>
                        <a:pt x="131072" y="376290"/>
                      </a:lnTo>
                      <a:lnTo>
                        <a:pt x="129263" y="367895"/>
                      </a:lnTo>
                      <a:lnTo>
                        <a:pt x="124218" y="361098"/>
                      </a:lnTo>
                      <a:lnTo>
                        <a:pt x="122849" y="359925"/>
                      </a:lnTo>
                      <a:lnTo>
                        <a:pt x="121773" y="359640"/>
                      </a:lnTo>
                      <a:lnTo>
                        <a:pt x="120869" y="359631"/>
                      </a:lnTo>
                      <a:lnTo>
                        <a:pt x="119361" y="360650"/>
                      </a:lnTo>
                      <a:lnTo>
                        <a:pt x="118929" y="360781"/>
                      </a:lnTo>
                      <a:lnTo>
                        <a:pt x="118530" y="360446"/>
                      </a:lnTo>
                      <a:lnTo>
                        <a:pt x="117421" y="359289"/>
                      </a:lnTo>
                      <a:lnTo>
                        <a:pt x="116460" y="357814"/>
                      </a:lnTo>
                      <a:lnTo>
                        <a:pt x="116321" y="357537"/>
                      </a:lnTo>
                      <a:lnTo>
                        <a:pt x="116403" y="357040"/>
                      </a:lnTo>
                      <a:lnTo>
                        <a:pt x="116639" y="356388"/>
                      </a:lnTo>
                      <a:lnTo>
                        <a:pt x="116321" y="355532"/>
                      </a:lnTo>
                      <a:lnTo>
                        <a:pt x="115726" y="354701"/>
                      </a:lnTo>
                      <a:lnTo>
                        <a:pt x="115441" y="354359"/>
                      </a:lnTo>
                      <a:lnTo>
                        <a:pt x="115115" y="354367"/>
                      </a:lnTo>
                      <a:lnTo>
                        <a:pt x="114724" y="354432"/>
                      </a:lnTo>
                      <a:lnTo>
                        <a:pt x="114455" y="354448"/>
                      </a:lnTo>
                      <a:lnTo>
                        <a:pt x="114145" y="354269"/>
                      </a:lnTo>
                      <a:lnTo>
                        <a:pt x="113298" y="353348"/>
                      </a:lnTo>
                      <a:lnTo>
                        <a:pt x="108318" y="349721"/>
                      </a:lnTo>
                      <a:lnTo>
                        <a:pt x="108171" y="349216"/>
                      </a:lnTo>
                      <a:lnTo>
                        <a:pt x="109451" y="347741"/>
                      </a:lnTo>
                      <a:lnTo>
                        <a:pt x="109255" y="346747"/>
                      </a:lnTo>
                      <a:lnTo>
                        <a:pt x="108685" y="345793"/>
                      </a:lnTo>
                      <a:lnTo>
                        <a:pt x="104349" y="341816"/>
                      </a:lnTo>
                      <a:lnTo>
                        <a:pt x="100714" y="340659"/>
                      </a:lnTo>
                      <a:lnTo>
                        <a:pt x="99296" y="339640"/>
                      </a:lnTo>
                      <a:lnTo>
                        <a:pt x="98897" y="338858"/>
                      </a:lnTo>
                      <a:lnTo>
                        <a:pt x="98367" y="336397"/>
                      </a:lnTo>
                      <a:lnTo>
                        <a:pt x="98188" y="335948"/>
                      </a:lnTo>
                      <a:lnTo>
                        <a:pt x="97886" y="335687"/>
                      </a:lnTo>
                      <a:lnTo>
                        <a:pt x="95890" y="334612"/>
                      </a:lnTo>
                      <a:lnTo>
                        <a:pt x="94863" y="333471"/>
                      </a:lnTo>
                      <a:lnTo>
                        <a:pt x="93029" y="332534"/>
                      </a:lnTo>
                      <a:lnTo>
                        <a:pt x="92320" y="331605"/>
                      </a:lnTo>
                      <a:lnTo>
                        <a:pt x="91546" y="327913"/>
                      </a:lnTo>
                      <a:lnTo>
                        <a:pt x="89883" y="326095"/>
                      </a:lnTo>
                      <a:lnTo>
                        <a:pt x="89044" y="324376"/>
                      </a:lnTo>
                      <a:lnTo>
                        <a:pt x="87878" y="323275"/>
                      </a:lnTo>
                      <a:lnTo>
                        <a:pt x="86787" y="321752"/>
                      </a:lnTo>
                      <a:lnTo>
                        <a:pt x="85165" y="320431"/>
                      </a:lnTo>
                      <a:lnTo>
                        <a:pt x="83510" y="316446"/>
                      </a:lnTo>
                      <a:lnTo>
                        <a:pt x="82516" y="315248"/>
                      </a:lnTo>
                      <a:lnTo>
                        <a:pt x="81432" y="314914"/>
                      </a:lnTo>
                      <a:lnTo>
                        <a:pt x="80430" y="315329"/>
                      </a:lnTo>
                      <a:lnTo>
                        <a:pt x="79623" y="315981"/>
                      </a:lnTo>
                      <a:lnTo>
                        <a:pt x="79183" y="316658"/>
                      </a:lnTo>
                      <a:lnTo>
                        <a:pt x="79028" y="317799"/>
                      </a:lnTo>
                      <a:lnTo>
                        <a:pt x="78653" y="318043"/>
                      </a:lnTo>
                      <a:lnTo>
                        <a:pt x="76591" y="318092"/>
                      </a:lnTo>
                      <a:lnTo>
                        <a:pt x="75947" y="317285"/>
                      </a:lnTo>
                      <a:lnTo>
                        <a:pt x="73511" y="311727"/>
                      </a:lnTo>
                      <a:lnTo>
                        <a:pt x="72524" y="310228"/>
                      </a:lnTo>
                      <a:lnTo>
                        <a:pt x="68368" y="305754"/>
                      </a:lnTo>
                      <a:lnTo>
                        <a:pt x="66494" y="301711"/>
                      </a:lnTo>
                      <a:lnTo>
                        <a:pt x="65809" y="301597"/>
                      </a:lnTo>
                      <a:lnTo>
                        <a:pt x="64880" y="302143"/>
                      </a:lnTo>
                      <a:lnTo>
                        <a:pt x="59868" y="302241"/>
                      </a:lnTo>
                      <a:lnTo>
                        <a:pt x="55818" y="299796"/>
                      </a:lnTo>
                      <a:lnTo>
                        <a:pt x="54888" y="298875"/>
                      </a:lnTo>
                      <a:lnTo>
                        <a:pt x="54049" y="297408"/>
                      </a:lnTo>
                      <a:lnTo>
                        <a:pt x="56209" y="294409"/>
                      </a:lnTo>
                      <a:lnTo>
                        <a:pt x="56282" y="293276"/>
                      </a:lnTo>
                      <a:lnTo>
                        <a:pt x="55638" y="292844"/>
                      </a:lnTo>
                      <a:lnTo>
                        <a:pt x="52533" y="291524"/>
                      </a:lnTo>
                      <a:lnTo>
                        <a:pt x="49583" y="289454"/>
                      </a:lnTo>
                      <a:lnTo>
                        <a:pt x="48915" y="290196"/>
                      </a:lnTo>
                      <a:lnTo>
                        <a:pt x="48532" y="291630"/>
                      </a:lnTo>
                      <a:lnTo>
                        <a:pt x="48140" y="292176"/>
                      </a:lnTo>
                      <a:lnTo>
                        <a:pt x="44880" y="293236"/>
                      </a:lnTo>
                      <a:lnTo>
                        <a:pt x="44147" y="293170"/>
                      </a:lnTo>
                      <a:lnTo>
                        <a:pt x="43601" y="292323"/>
                      </a:lnTo>
                      <a:lnTo>
                        <a:pt x="43511" y="291133"/>
                      </a:lnTo>
                      <a:lnTo>
                        <a:pt x="44049" y="289576"/>
                      </a:lnTo>
                      <a:lnTo>
                        <a:pt x="43022" y="288256"/>
                      </a:lnTo>
                      <a:lnTo>
                        <a:pt x="42476" y="286610"/>
                      </a:lnTo>
                      <a:lnTo>
                        <a:pt x="40944" y="284336"/>
                      </a:lnTo>
                      <a:lnTo>
                        <a:pt x="41710" y="282429"/>
                      </a:lnTo>
                      <a:lnTo>
                        <a:pt x="41441" y="281149"/>
                      </a:lnTo>
                      <a:lnTo>
                        <a:pt x="40749" y="279919"/>
                      </a:lnTo>
                      <a:lnTo>
                        <a:pt x="39388" y="278338"/>
                      </a:lnTo>
                      <a:lnTo>
                        <a:pt x="39005" y="276423"/>
                      </a:lnTo>
                      <a:lnTo>
                        <a:pt x="37798" y="274817"/>
                      </a:lnTo>
                      <a:lnTo>
                        <a:pt x="37187" y="274459"/>
                      </a:lnTo>
                      <a:lnTo>
                        <a:pt x="34612" y="274198"/>
                      </a:lnTo>
                      <a:lnTo>
                        <a:pt x="33984" y="273660"/>
                      </a:lnTo>
                      <a:lnTo>
                        <a:pt x="33055" y="271337"/>
                      </a:lnTo>
                      <a:lnTo>
                        <a:pt x="32803" y="269308"/>
                      </a:lnTo>
                      <a:lnTo>
                        <a:pt x="31482" y="268118"/>
                      </a:lnTo>
                      <a:lnTo>
                        <a:pt x="30618" y="267841"/>
                      </a:lnTo>
                      <a:lnTo>
                        <a:pt x="30439" y="265730"/>
                      </a:lnTo>
                      <a:lnTo>
                        <a:pt x="29698" y="264540"/>
                      </a:lnTo>
                      <a:lnTo>
                        <a:pt x="26951" y="262356"/>
                      </a:lnTo>
                      <a:lnTo>
                        <a:pt x="25012" y="261460"/>
                      </a:lnTo>
                      <a:lnTo>
                        <a:pt x="24425" y="262633"/>
                      </a:lnTo>
                      <a:lnTo>
                        <a:pt x="24278" y="265062"/>
                      </a:lnTo>
                      <a:lnTo>
                        <a:pt x="23699" y="264907"/>
                      </a:lnTo>
                      <a:lnTo>
                        <a:pt x="18353" y="262438"/>
                      </a:lnTo>
                      <a:lnTo>
                        <a:pt x="17163" y="261232"/>
                      </a:lnTo>
                      <a:lnTo>
                        <a:pt x="14914" y="257083"/>
                      </a:lnTo>
                      <a:lnTo>
                        <a:pt x="14042" y="256741"/>
                      </a:lnTo>
                      <a:lnTo>
                        <a:pt x="10130" y="256334"/>
                      </a:lnTo>
                      <a:lnTo>
                        <a:pt x="8761" y="256684"/>
                      </a:lnTo>
                      <a:lnTo>
                        <a:pt x="7962" y="256407"/>
                      </a:lnTo>
                      <a:lnTo>
                        <a:pt x="6887" y="255315"/>
                      </a:lnTo>
                      <a:lnTo>
                        <a:pt x="4499" y="251884"/>
                      </a:lnTo>
                      <a:lnTo>
                        <a:pt x="3618" y="251224"/>
                      </a:lnTo>
                      <a:lnTo>
                        <a:pt x="2657" y="250963"/>
                      </a:lnTo>
                      <a:lnTo>
                        <a:pt x="2600" y="249040"/>
                      </a:lnTo>
                      <a:lnTo>
                        <a:pt x="1988" y="247711"/>
                      </a:lnTo>
                      <a:lnTo>
                        <a:pt x="2054" y="247336"/>
                      </a:lnTo>
                      <a:lnTo>
                        <a:pt x="2828" y="247247"/>
                      </a:lnTo>
                      <a:lnTo>
                        <a:pt x="6397" y="247230"/>
                      </a:lnTo>
                      <a:lnTo>
                        <a:pt x="6601" y="246529"/>
                      </a:lnTo>
                      <a:lnTo>
                        <a:pt x="4694" y="244085"/>
                      </a:lnTo>
                      <a:lnTo>
                        <a:pt x="2885" y="243742"/>
                      </a:lnTo>
                      <a:lnTo>
                        <a:pt x="2396" y="243172"/>
                      </a:lnTo>
                      <a:lnTo>
                        <a:pt x="2078" y="241403"/>
                      </a:lnTo>
                      <a:lnTo>
                        <a:pt x="701" y="240385"/>
                      </a:lnTo>
                      <a:lnTo>
                        <a:pt x="0" y="238624"/>
                      </a:lnTo>
                      <a:lnTo>
                        <a:pt x="24" y="0"/>
                      </a:lnTo>
                      <a:lnTo>
                        <a:pt x="248045" y="0"/>
                      </a:lnTo>
                      <a:close/>
                    </a:path>
                  </a:pathLst>
                </a:custGeom>
                <a:solidFill>
                  <a:srgbClr val="D6D6D2"/>
                </a:solidFill>
                <a:ln w="6112" cap="rnd">
                  <a:solidFill>
                    <a:srgbClr val="FFFFFF"/>
                  </a:solidFill>
                  <a:prstDash val="solid"/>
                  <a:round/>
                </a:ln>
              </p:spPr>
              <p:txBody>
                <a:bodyPr rtlCol="0" anchor="ctr"/>
                <a:lstStyle/>
                <a:p>
                  <a:endParaRPr lang="en-US"/>
                </a:p>
              </p:txBody>
            </p:sp>
            <p:sp>
              <p:nvSpPr>
                <p:cNvPr id="489" name="Freeform: Shape 488">
                  <a:extLst>
                    <a:ext uri="{FF2B5EF4-FFF2-40B4-BE49-F238E27FC236}">
                      <a16:creationId xmlns:a16="http://schemas.microsoft.com/office/drawing/2014/main" id="{3718D258-8B5C-4A67-82F6-05168314B714}"/>
                    </a:ext>
                  </a:extLst>
                </p:cNvPr>
                <p:cNvSpPr/>
                <p:nvPr/>
              </p:nvSpPr>
              <p:spPr>
                <a:xfrm>
                  <a:off x="3215379" y="2543712"/>
                  <a:ext cx="214118" cy="417551"/>
                </a:xfrm>
                <a:custGeom>
                  <a:avLst/>
                  <a:gdLst>
                    <a:gd name="connsiteX0" fmla="*/ 16 w 214118"/>
                    <a:gd name="connsiteY0" fmla="*/ 417552 h 417551"/>
                    <a:gd name="connsiteX1" fmla="*/ 0 w 214118"/>
                    <a:gd name="connsiteY1" fmla="*/ 0 h 417551"/>
                    <a:gd name="connsiteX2" fmla="*/ 198381 w 214118"/>
                    <a:gd name="connsiteY2" fmla="*/ 0 h 417551"/>
                    <a:gd name="connsiteX3" fmla="*/ 198389 w 214118"/>
                    <a:gd name="connsiteY3" fmla="*/ 153598 h 417551"/>
                    <a:gd name="connsiteX4" fmla="*/ 214118 w 214118"/>
                    <a:gd name="connsiteY4" fmla="*/ 417552 h 417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118" h="417551">
                      <a:moveTo>
                        <a:pt x="16" y="417552"/>
                      </a:moveTo>
                      <a:lnTo>
                        <a:pt x="0" y="0"/>
                      </a:lnTo>
                      <a:lnTo>
                        <a:pt x="198381" y="0"/>
                      </a:lnTo>
                      <a:lnTo>
                        <a:pt x="198389" y="153598"/>
                      </a:lnTo>
                      <a:lnTo>
                        <a:pt x="214118" y="417552"/>
                      </a:lnTo>
                      <a:close/>
                    </a:path>
                  </a:pathLst>
                </a:custGeom>
                <a:solidFill>
                  <a:srgbClr val="D6D6D2"/>
                </a:solidFill>
                <a:ln w="6112" cap="rnd">
                  <a:solidFill>
                    <a:srgbClr val="FFFFFF"/>
                  </a:solidFill>
                  <a:prstDash val="solid"/>
                  <a:round/>
                </a:ln>
              </p:spPr>
              <p:txBody>
                <a:bodyPr rtlCol="0" anchor="ctr"/>
                <a:lstStyle/>
                <a:p>
                  <a:endParaRPr lang="en-US"/>
                </a:p>
              </p:txBody>
            </p:sp>
            <p:sp>
              <p:nvSpPr>
                <p:cNvPr id="490" name="Freeform: Shape 489">
                  <a:extLst>
                    <a:ext uri="{FF2B5EF4-FFF2-40B4-BE49-F238E27FC236}">
                      <a16:creationId xmlns:a16="http://schemas.microsoft.com/office/drawing/2014/main" id="{68DA13C0-9B84-48E7-864E-6BBDD84B3B23}"/>
                    </a:ext>
                  </a:extLst>
                </p:cNvPr>
                <p:cNvSpPr/>
                <p:nvPr/>
              </p:nvSpPr>
              <p:spPr>
                <a:xfrm>
                  <a:off x="2559464" y="1708568"/>
                  <a:ext cx="854369" cy="835143"/>
                </a:xfrm>
                <a:custGeom>
                  <a:avLst/>
                  <a:gdLst>
                    <a:gd name="connsiteX0" fmla="*/ 655809 w 854369"/>
                    <a:gd name="connsiteY0" fmla="*/ 3553 h 835143"/>
                    <a:gd name="connsiteX1" fmla="*/ 655825 w 854369"/>
                    <a:gd name="connsiteY1" fmla="*/ 21776 h 835143"/>
                    <a:gd name="connsiteX2" fmla="*/ 655377 w 854369"/>
                    <a:gd name="connsiteY2" fmla="*/ 21727 h 835143"/>
                    <a:gd name="connsiteX3" fmla="*/ 648645 w 854369"/>
                    <a:gd name="connsiteY3" fmla="*/ 22950 h 835143"/>
                    <a:gd name="connsiteX4" fmla="*/ 645549 w 854369"/>
                    <a:gd name="connsiteY4" fmla="*/ 23113 h 835143"/>
                    <a:gd name="connsiteX5" fmla="*/ 637195 w 854369"/>
                    <a:gd name="connsiteY5" fmla="*/ 22330 h 835143"/>
                    <a:gd name="connsiteX6" fmla="*/ 635092 w 854369"/>
                    <a:gd name="connsiteY6" fmla="*/ 21752 h 835143"/>
                    <a:gd name="connsiteX7" fmla="*/ 630463 w 854369"/>
                    <a:gd name="connsiteY7" fmla="*/ 19494 h 835143"/>
                    <a:gd name="connsiteX8" fmla="*/ 626934 w 854369"/>
                    <a:gd name="connsiteY8" fmla="*/ 18565 h 835143"/>
                    <a:gd name="connsiteX9" fmla="*/ 625451 w 854369"/>
                    <a:gd name="connsiteY9" fmla="*/ 19062 h 835143"/>
                    <a:gd name="connsiteX10" fmla="*/ 623675 w 854369"/>
                    <a:gd name="connsiteY10" fmla="*/ 21043 h 835143"/>
                    <a:gd name="connsiteX11" fmla="*/ 620341 w 854369"/>
                    <a:gd name="connsiteY11" fmla="*/ 23496 h 835143"/>
                    <a:gd name="connsiteX12" fmla="*/ 618296 w 854369"/>
                    <a:gd name="connsiteY12" fmla="*/ 24123 h 835143"/>
                    <a:gd name="connsiteX13" fmla="*/ 612289 w 854369"/>
                    <a:gd name="connsiteY13" fmla="*/ 23708 h 835143"/>
                    <a:gd name="connsiteX14" fmla="*/ 603080 w 854369"/>
                    <a:gd name="connsiteY14" fmla="*/ 19576 h 835143"/>
                    <a:gd name="connsiteX15" fmla="*/ 592494 w 854369"/>
                    <a:gd name="connsiteY15" fmla="*/ 20798 h 835143"/>
                    <a:gd name="connsiteX16" fmla="*/ 581532 w 854369"/>
                    <a:gd name="connsiteY16" fmla="*/ 23219 h 835143"/>
                    <a:gd name="connsiteX17" fmla="*/ 577254 w 854369"/>
                    <a:gd name="connsiteY17" fmla="*/ 23667 h 835143"/>
                    <a:gd name="connsiteX18" fmla="*/ 575999 w 854369"/>
                    <a:gd name="connsiteY18" fmla="*/ 22966 h 835143"/>
                    <a:gd name="connsiteX19" fmla="*/ 574279 w 854369"/>
                    <a:gd name="connsiteY19" fmla="*/ 21149 h 835143"/>
                    <a:gd name="connsiteX20" fmla="*/ 574548 w 854369"/>
                    <a:gd name="connsiteY20" fmla="*/ 20236 h 835143"/>
                    <a:gd name="connsiteX21" fmla="*/ 577816 w 854369"/>
                    <a:gd name="connsiteY21" fmla="*/ 17457 h 835143"/>
                    <a:gd name="connsiteX22" fmla="*/ 585118 w 854369"/>
                    <a:gd name="connsiteY22" fmla="*/ 14547 h 835143"/>
                    <a:gd name="connsiteX23" fmla="*/ 590448 w 854369"/>
                    <a:gd name="connsiteY23" fmla="*/ 12901 h 835143"/>
                    <a:gd name="connsiteX24" fmla="*/ 601035 w 854369"/>
                    <a:gd name="connsiteY24" fmla="*/ 10505 h 835143"/>
                    <a:gd name="connsiteX25" fmla="*/ 613569 w 854369"/>
                    <a:gd name="connsiteY25" fmla="*/ 9160 h 835143"/>
                    <a:gd name="connsiteX26" fmla="*/ 618255 w 854369"/>
                    <a:gd name="connsiteY26" fmla="*/ 7734 h 835143"/>
                    <a:gd name="connsiteX27" fmla="*/ 621222 w 854369"/>
                    <a:gd name="connsiteY27" fmla="*/ 5697 h 835143"/>
                    <a:gd name="connsiteX28" fmla="*/ 629371 w 854369"/>
                    <a:gd name="connsiteY28" fmla="*/ 2478 h 835143"/>
                    <a:gd name="connsiteX29" fmla="*/ 634180 w 854369"/>
                    <a:gd name="connsiteY29" fmla="*/ 1141 h 835143"/>
                    <a:gd name="connsiteX30" fmla="*/ 640618 w 854369"/>
                    <a:gd name="connsiteY30" fmla="*/ 0 h 835143"/>
                    <a:gd name="connsiteX31" fmla="*/ 645834 w 854369"/>
                    <a:gd name="connsiteY31" fmla="*/ 57 h 835143"/>
                    <a:gd name="connsiteX32" fmla="*/ 652468 w 854369"/>
                    <a:gd name="connsiteY32" fmla="*/ 2673 h 835143"/>
                    <a:gd name="connsiteX33" fmla="*/ 655809 w 854369"/>
                    <a:gd name="connsiteY33" fmla="*/ 3553 h 835143"/>
                    <a:gd name="connsiteX34" fmla="*/ 655825 w 854369"/>
                    <a:gd name="connsiteY34" fmla="*/ 33316 h 835143"/>
                    <a:gd name="connsiteX35" fmla="*/ 655825 w 854369"/>
                    <a:gd name="connsiteY35" fmla="*/ 41287 h 835143"/>
                    <a:gd name="connsiteX36" fmla="*/ 650968 w 854369"/>
                    <a:gd name="connsiteY36" fmla="*/ 42476 h 835143"/>
                    <a:gd name="connsiteX37" fmla="*/ 637285 w 854369"/>
                    <a:gd name="connsiteY37" fmla="*/ 44840 h 835143"/>
                    <a:gd name="connsiteX38" fmla="*/ 634449 w 854369"/>
                    <a:gd name="connsiteY38" fmla="*/ 45981 h 835143"/>
                    <a:gd name="connsiteX39" fmla="*/ 634669 w 854369"/>
                    <a:gd name="connsiteY39" fmla="*/ 46657 h 835143"/>
                    <a:gd name="connsiteX40" fmla="*/ 635785 w 854369"/>
                    <a:gd name="connsiteY40" fmla="*/ 47505 h 835143"/>
                    <a:gd name="connsiteX41" fmla="*/ 638075 w 854369"/>
                    <a:gd name="connsiteY41" fmla="*/ 48581 h 835143"/>
                    <a:gd name="connsiteX42" fmla="*/ 648670 w 854369"/>
                    <a:gd name="connsiteY42" fmla="*/ 48336 h 835143"/>
                    <a:gd name="connsiteX43" fmla="*/ 651221 w 854369"/>
                    <a:gd name="connsiteY43" fmla="*/ 48801 h 835143"/>
                    <a:gd name="connsiteX44" fmla="*/ 652125 w 854369"/>
                    <a:gd name="connsiteY44" fmla="*/ 49493 h 835143"/>
                    <a:gd name="connsiteX45" fmla="*/ 652663 w 854369"/>
                    <a:gd name="connsiteY45" fmla="*/ 50512 h 835143"/>
                    <a:gd name="connsiteX46" fmla="*/ 652989 w 854369"/>
                    <a:gd name="connsiteY46" fmla="*/ 51832 h 835143"/>
                    <a:gd name="connsiteX47" fmla="*/ 653006 w 854369"/>
                    <a:gd name="connsiteY47" fmla="*/ 56315 h 835143"/>
                    <a:gd name="connsiteX48" fmla="*/ 652451 w 854369"/>
                    <a:gd name="connsiteY48" fmla="*/ 58906 h 835143"/>
                    <a:gd name="connsiteX49" fmla="*/ 650984 w 854369"/>
                    <a:gd name="connsiteY49" fmla="*/ 61253 h 835143"/>
                    <a:gd name="connsiteX50" fmla="*/ 646698 w 854369"/>
                    <a:gd name="connsiteY50" fmla="*/ 62924 h 835143"/>
                    <a:gd name="connsiteX51" fmla="*/ 638972 w 854369"/>
                    <a:gd name="connsiteY51" fmla="*/ 65125 h 835143"/>
                    <a:gd name="connsiteX52" fmla="*/ 633731 w 854369"/>
                    <a:gd name="connsiteY52" fmla="*/ 66102 h 835143"/>
                    <a:gd name="connsiteX53" fmla="*/ 629600 w 854369"/>
                    <a:gd name="connsiteY53" fmla="*/ 65752 h 835143"/>
                    <a:gd name="connsiteX54" fmla="*/ 625492 w 854369"/>
                    <a:gd name="connsiteY54" fmla="*/ 65980 h 835143"/>
                    <a:gd name="connsiteX55" fmla="*/ 607497 w 854369"/>
                    <a:gd name="connsiteY55" fmla="*/ 70128 h 835143"/>
                    <a:gd name="connsiteX56" fmla="*/ 601923 w 854369"/>
                    <a:gd name="connsiteY56" fmla="*/ 70137 h 835143"/>
                    <a:gd name="connsiteX57" fmla="*/ 597058 w 854369"/>
                    <a:gd name="connsiteY57" fmla="*/ 69142 h 835143"/>
                    <a:gd name="connsiteX58" fmla="*/ 590334 w 854369"/>
                    <a:gd name="connsiteY58" fmla="*/ 65230 h 835143"/>
                    <a:gd name="connsiteX59" fmla="*/ 583350 w 854369"/>
                    <a:gd name="connsiteY59" fmla="*/ 63698 h 835143"/>
                    <a:gd name="connsiteX60" fmla="*/ 580359 w 854369"/>
                    <a:gd name="connsiteY60" fmla="*/ 61938 h 835143"/>
                    <a:gd name="connsiteX61" fmla="*/ 577425 w 854369"/>
                    <a:gd name="connsiteY61" fmla="*/ 60976 h 835143"/>
                    <a:gd name="connsiteX62" fmla="*/ 576610 w 854369"/>
                    <a:gd name="connsiteY62" fmla="*/ 59558 h 835143"/>
                    <a:gd name="connsiteX63" fmla="*/ 576325 w 854369"/>
                    <a:gd name="connsiteY63" fmla="*/ 58515 h 835143"/>
                    <a:gd name="connsiteX64" fmla="*/ 576822 w 854369"/>
                    <a:gd name="connsiteY64" fmla="*/ 57545 h 835143"/>
                    <a:gd name="connsiteX65" fmla="*/ 578085 w 854369"/>
                    <a:gd name="connsiteY65" fmla="*/ 56673 h 835143"/>
                    <a:gd name="connsiteX66" fmla="*/ 578501 w 854369"/>
                    <a:gd name="connsiteY66" fmla="*/ 55932 h 835143"/>
                    <a:gd name="connsiteX67" fmla="*/ 577327 w 854369"/>
                    <a:gd name="connsiteY67" fmla="*/ 53772 h 835143"/>
                    <a:gd name="connsiteX68" fmla="*/ 576797 w 854369"/>
                    <a:gd name="connsiteY68" fmla="*/ 51702 h 835143"/>
                    <a:gd name="connsiteX69" fmla="*/ 574760 w 854369"/>
                    <a:gd name="connsiteY69" fmla="*/ 48744 h 835143"/>
                    <a:gd name="connsiteX70" fmla="*/ 574458 w 854369"/>
                    <a:gd name="connsiteY70" fmla="*/ 47032 h 835143"/>
                    <a:gd name="connsiteX71" fmla="*/ 574467 w 854369"/>
                    <a:gd name="connsiteY71" fmla="*/ 45907 h 835143"/>
                    <a:gd name="connsiteX72" fmla="*/ 574809 w 854369"/>
                    <a:gd name="connsiteY72" fmla="*/ 44701 h 835143"/>
                    <a:gd name="connsiteX73" fmla="*/ 576154 w 854369"/>
                    <a:gd name="connsiteY73" fmla="*/ 42558 h 835143"/>
                    <a:gd name="connsiteX74" fmla="*/ 576846 w 854369"/>
                    <a:gd name="connsiteY74" fmla="*/ 42126 h 835143"/>
                    <a:gd name="connsiteX75" fmla="*/ 580946 w 854369"/>
                    <a:gd name="connsiteY75" fmla="*/ 41784 h 835143"/>
                    <a:gd name="connsiteX76" fmla="*/ 586333 w 854369"/>
                    <a:gd name="connsiteY76" fmla="*/ 40667 h 835143"/>
                    <a:gd name="connsiteX77" fmla="*/ 598728 w 854369"/>
                    <a:gd name="connsiteY77" fmla="*/ 37440 h 835143"/>
                    <a:gd name="connsiteX78" fmla="*/ 625965 w 854369"/>
                    <a:gd name="connsiteY78" fmla="*/ 33398 h 835143"/>
                    <a:gd name="connsiteX79" fmla="*/ 634237 w 854369"/>
                    <a:gd name="connsiteY79" fmla="*/ 33772 h 835143"/>
                    <a:gd name="connsiteX80" fmla="*/ 637855 w 854369"/>
                    <a:gd name="connsiteY80" fmla="*/ 32982 h 835143"/>
                    <a:gd name="connsiteX81" fmla="*/ 644538 w 854369"/>
                    <a:gd name="connsiteY81" fmla="*/ 32648 h 835143"/>
                    <a:gd name="connsiteX82" fmla="*/ 655825 w 854369"/>
                    <a:gd name="connsiteY82" fmla="*/ 33316 h 835143"/>
                    <a:gd name="connsiteX83" fmla="*/ 560865 w 854369"/>
                    <a:gd name="connsiteY83" fmla="*/ 49909 h 835143"/>
                    <a:gd name="connsiteX84" fmla="*/ 554084 w 854369"/>
                    <a:gd name="connsiteY84" fmla="*/ 51580 h 835143"/>
                    <a:gd name="connsiteX85" fmla="*/ 549585 w 854369"/>
                    <a:gd name="connsiteY85" fmla="*/ 51539 h 835143"/>
                    <a:gd name="connsiteX86" fmla="*/ 541615 w 854369"/>
                    <a:gd name="connsiteY86" fmla="*/ 49175 h 835143"/>
                    <a:gd name="connsiteX87" fmla="*/ 532389 w 854369"/>
                    <a:gd name="connsiteY87" fmla="*/ 41947 h 835143"/>
                    <a:gd name="connsiteX88" fmla="*/ 531175 w 854369"/>
                    <a:gd name="connsiteY88" fmla="*/ 39371 h 835143"/>
                    <a:gd name="connsiteX89" fmla="*/ 534622 w 854369"/>
                    <a:gd name="connsiteY89" fmla="*/ 38907 h 835143"/>
                    <a:gd name="connsiteX90" fmla="*/ 537125 w 854369"/>
                    <a:gd name="connsiteY90" fmla="*/ 38108 h 835143"/>
                    <a:gd name="connsiteX91" fmla="*/ 538689 w 854369"/>
                    <a:gd name="connsiteY91" fmla="*/ 36992 h 835143"/>
                    <a:gd name="connsiteX92" fmla="*/ 541656 w 854369"/>
                    <a:gd name="connsiteY92" fmla="*/ 35761 h 835143"/>
                    <a:gd name="connsiteX93" fmla="*/ 548518 w 854369"/>
                    <a:gd name="connsiteY93" fmla="*/ 33911 h 835143"/>
                    <a:gd name="connsiteX94" fmla="*/ 549349 w 854369"/>
                    <a:gd name="connsiteY94" fmla="*/ 34620 h 835143"/>
                    <a:gd name="connsiteX95" fmla="*/ 549202 w 854369"/>
                    <a:gd name="connsiteY95" fmla="*/ 36136 h 835143"/>
                    <a:gd name="connsiteX96" fmla="*/ 549773 w 854369"/>
                    <a:gd name="connsiteY96" fmla="*/ 37538 h 835143"/>
                    <a:gd name="connsiteX97" fmla="*/ 552226 w 854369"/>
                    <a:gd name="connsiteY97" fmla="*/ 37839 h 835143"/>
                    <a:gd name="connsiteX98" fmla="*/ 554549 w 854369"/>
                    <a:gd name="connsiteY98" fmla="*/ 38850 h 835143"/>
                    <a:gd name="connsiteX99" fmla="*/ 559251 w 854369"/>
                    <a:gd name="connsiteY99" fmla="*/ 41939 h 835143"/>
                    <a:gd name="connsiteX100" fmla="*/ 562462 w 854369"/>
                    <a:gd name="connsiteY100" fmla="*/ 42533 h 835143"/>
                    <a:gd name="connsiteX101" fmla="*/ 563627 w 854369"/>
                    <a:gd name="connsiteY101" fmla="*/ 43210 h 835143"/>
                    <a:gd name="connsiteX102" fmla="*/ 564239 w 854369"/>
                    <a:gd name="connsiteY102" fmla="*/ 44245 h 835143"/>
                    <a:gd name="connsiteX103" fmla="*/ 566186 w 854369"/>
                    <a:gd name="connsiteY103" fmla="*/ 46054 h 835143"/>
                    <a:gd name="connsiteX104" fmla="*/ 566154 w 854369"/>
                    <a:gd name="connsiteY104" fmla="*/ 46983 h 835143"/>
                    <a:gd name="connsiteX105" fmla="*/ 563513 w 854369"/>
                    <a:gd name="connsiteY105" fmla="*/ 48849 h 835143"/>
                    <a:gd name="connsiteX106" fmla="*/ 560865 w 854369"/>
                    <a:gd name="connsiteY106" fmla="*/ 49909 h 835143"/>
                    <a:gd name="connsiteX107" fmla="*/ 518233 w 854369"/>
                    <a:gd name="connsiteY107" fmla="*/ 69183 h 835143"/>
                    <a:gd name="connsiteX108" fmla="*/ 520108 w 854369"/>
                    <a:gd name="connsiteY108" fmla="*/ 71098 h 835143"/>
                    <a:gd name="connsiteX109" fmla="*/ 520246 w 854369"/>
                    <a:gd name="connsiteY109" fmla="*/ 71864 h 835143"/>
                    <a:gd name="connsiteX110" fmla="*/ 519350 w 854369"/>
                    <a:gd name="connsiteY110" fmla="*/ 72679 h 835143"/>
                    <a:gd name="connsiteX111" fmla="*/ 516440 w 854369"/>
                    <a:gd name="connsiteY111" fmla="*/ 73967 h 835143"/>
                    <a:gd name="connsiteX112" fmla="*/ 501812 w 854369"/>
                    <a:gd name="connsiteY112" fmla="*/ 78262 h 835143"/>
                    <a:gd name="connsiteX113" fmla="*/ 498943 w 854369"/>
                    <a:gd name="connsiteY113" fmla="*/ 80283 h 835143"/>
                    <a:gd name="connsiteX114" fmla="*/ 500019 w 854369"/>
                    <a:gd name="connsiteY114" fmla="*/ 82011 h 835143"/>
                    <a:gd name="connsiteX115" fmla="*/ 505300 w 854369"/>
                    <a:gd name="connsiteY115" fmla="*/ 85531 h 835143"/>
                    <a:gd name="connsiteX116" fmla="*/ 510662 w 854369"/>
                    <a:gd name="connsiteY116" fmla="*/ 88490 h 835143"/>
                    <a:gd name="connsiteX117" fmla="*/ 511828 w 854369"/>
                    <a:gd name="connsiteY117" fmla="*/ 89965 h 835143"/>
                    <a:gd name="connsiteX118" fmla="*/ 509277 w 854369"/>
                    <a:gd name="connsiteY118" fmla="*/ 91464 h 835143"/>
                    <a:gd name="connsiteX119" fmla="*/ 504395 w 854369"/>
                    <a:gd name="connsiteY119" fmla="*/ 90984 h 835143"/>
                    <a:gd name="connsiteX120" fmla="*/ 502570 w 854369"/>
                    <a:gd name="connsiteY120" fmla="*/ 91114 h 835143"/>
                    <a:gd name="connsiteX121" fmla="*/ 500850 w 854369"/>
                    <a:gd name="connsiteY121" fmla="*/ 91799 h 835143"/>
                    <a:gd name="connsiteX122" fmla="*/ 501314 w 854369"/>
                    <a:gd name="connsiteY122" fmla="*/ 93119 h 835143"/>
                    <a:gd name="connsiteX123" fmla="*/ 506718 w 854369"/>
                    <a:gd name="connsiteY123" fmla="*/ 97503 h 835143"/>
                    <a:gd name="connsiteX124" fmla="*/ 508494 w 854369"/>
                    <a:gd name="connsiteY124" fmla="*/ 99859 h 835143"/>
                    <a:gd name="connsiteX125" fmla="*/ 508454 w 854369"/>
                    <a:gd name="connsiteY125" fmla="*/ 101073 h 835143"/>
                    <a:gd name="connsiteX126" fmla="*/ 507492 w 854369"/>
                    <a:gd name="connsiteY126" fmla="*/ 102255 h 835143"/>
                    <a:gd name="connsiteX127" fmla="*/ 505226 w 854369"/>
                    <a:gd name="connsiteY127" fmla="*/ 103885 h 835143"/>
                    <a:gd name="connsiteX128" fmla="*/ 501649 w 854369"/>
                    <a:gd name="connsiteY128" fmla="*/ 105955 h 835143"/>
                    <a:gd name="connsiteX129" fmla="*/ 495520 w 854369"/>
                    <a:gd name="connsiteY129" fmla="*/ 107601 h 835143"/>
                    <a:gd name="connsiteX130" fmla="*/ 482334 w 854369"/>
                    <a:gd name="connsiteY130" fmla="*/ 109809 h 835143"/>
                    <a:gd name="connsiteX131" fmla="*/ 481902 w 854369"/>
                    <a:gd name="connsiteY131" fmla="*/ 111537 h 835143"/>
                    <a:gd name="connsiteX132" fmla="*/ 481992 w 854369"/>
                    <a:gd name="connsiteY132" fmla="*/ 112841 h 835143"/>
                    <a:gd name="connsiteX133" fmla="*/ 481674 w 854369"/>
                    <a:gd name="connsiteY133" fmla="*/ 116028 h 835143"/>
                    <a:gd name="connsiteX134" fmla="*/ 481217 w 854369"/>
                    <a:gd name="connsiteY134" fmla="*/ 117503 h 835143"/>
                    <a:gd name="connsiteX135" fmla="*/ 479653 w 854369"/>
                    <a:gd name="connsiteY135" fmla="*/ 119980 h 835143"/>
                    <a:gd name="connsiteX136" fmla="*/ 478503 w 854369"/>
                    <a:gd name="connsiteY136" fmla="*/ 121146 h 835143"/>
                    <a:gd name="connsiteX137" fmla="*/ 476523 w 854369"/>
                    <a:gd name="connsiteY137" fmla="*/ 121936 h 835143"/>
                    <a:gd name="connsiteX138" fmla="*/ 473711 w 854369"/>
                    <a:gd name="connsiteY138" fmla="*/ 122376 h 835143"/>
                    <a:gd name="connsiteX139" fmla="*/ 470101 w 854369"/>
                    <a:gd name="connsiteY139" fmla="*/ 122368 h 835143"/>
                    <a:gd name="connsiteX140" fmla="*/ 464152 w 854369"/>
                    <a:gd name="connsiteY140" fmla="*/ 120233 h 835143"/>
                    <a:gd name="connsiteX141" fmla="*/ 461446 w 854369"/>
                    <a:gd name="connsiteY141" fmla="*/ 118872 h 835143"/>
                    <a:gd name="connsiteX142" fmla="*/ 457689 w 854369"/>
                    <a:gd name="connsiteY142" fmla="*/ 115914 h 835143"/>
                    <a:gd name="connsiteX143" fmla="*/ 457013 w 854369"/>
                    <a:gd name="connsiteY143" fmla="*/ 113941 h 835143"/>
                    <a:gd name="connsiteX144" fmla="*/ 457379 w 854369"/>
                    <a:gd name="connsiteY144" fmla="*/ 111513 h 835143"/>
                    <a:gd name="connsiteX145" fmla="*/ 458374 w 854369"/>
                    <a:gd name="connsiteY145" fmla="*/ 107756 h 835143"/>
                    <a:gd name="connsiteX146" fmla="*/ 460012 w 854369"/>
                    <a:gd name="connsiteY146" fmla="*/ 103909 h 835143"/>
                    <a:gd name="connsiteX147" fmla="*/ 462294 w 854369"/>
                    <a:gd name="connsiteY147" fmla="*/ 99973 h 835143"/>
                    <a:gd name="connsiteX148" fmla="*/ 462970 w 854369"/>
                    <a:gd name="connsiteY148" fmla="*/ 97528 h 835143"/>
                    <a:gd name="connsiteX149" fmla="*/ 462041 w 854369"/>
                    <a:gd name="connsiteY149" fmla="*/ 96558 h 835143"/>
                    <a:gd name="connsiteX150" fmla="*/ 460484 w 854369"/>
                    <a:gd name="connsiteY150" fmla="*/ 96509 h 835143"/>
                    <a:gd name="connsiteX151" fmla="*/ 455635 w 854369"/>
                    <a:gd name="connsiteY151" fmla="*/ 98098 h 835143"/>
                    <a:gd name="connsiteX152" fmla="*/ 452498 w 854369"/>
                    <a:gd name="connsiteY152" fmla="*/ 98685 h 835143"/>
                    <a:gd name="connsiteX153" fmla="*/ 450077 w 854369"/>
                    <a:gd name="connsiteY153" fmla="*/ 99842 h 835143"/>
                    <a:gd name="connsiteX154" fmla="*/ 448366 w 854369"/>
                    <a:gd name="connsiteY154" fmla="*/ 101586 h 835143"/>
                    <a:gd name="connsiteX155" fmla="*/ 447388 w 854369"/>
                    <a:gd name="connsiteY155" fmla="*/ 103461 h 835143"/>
                    <a:gd name="connsiteX156" fmla="*/ 446850 w 854369"/>
                    <a:gd name="connsiteY156" fmla="*/ 107071 h 835143"/>
                    <a:gd name="connsiteX157" fmla="*/ 445929 w 854369"/>
                    <a:gd name="connsiteY157" fmla="*/ 109043 h 835143"/>
                    <a:gd name="connsiteX158" fmla="*/ 443313 w 854369"/>
                    <a:gd name="connsiteY158" fmla="*/ 110119 h 835143"/>
                    <a:gd name="connsiteX159" fmla="*/ 439393 w 854369"/>
                    <a:gd name="connsiteY159" fmla="*/ 110095 h 835143"/>
                    <a:gd name="connsiteX160" fmla="*/ 437910 w 854369"/>
                    <a:gd name="connsiteY160" fmla="*/ 110706 h 835143"/>
                    <a:gd name="connsiteX161" fmla="*/ 437184 w 854369"/>
                    <a:gd name="connsiteY161" fmla="*/ 112026 h 835143"/>
                    <a:gd name="connsiteX162" fmla="*/ 437706 w 854369"/>
                    <a:gd name="connsiteY162" fmla="*/ 113094 h 835143"/>
                    <a:gd name="connsiteX163" fmla="*/ 441577 w 854369"/>
                    <a:gd name="connsiteY163" fmla="*/ 115335 h 835143"/>
                    <a:gd name="connsiteX164" fmla="*/ 442058 w 854369"/>
                    <a:gd name="connsiteY164" fmla="*/ 117837 h 835143"/>
                    <a:gd name="connsiteX165" fmla="*/ 441593 w 854369"/>
                    <a:gd name="connsiteY165" fmla="*/ 119353 h 835143"/>
                    <a:gd name="connsiteX166" fmla="*/ 437421 w 854369"/>
                    <a:gd name="connsiteY166" fmla="*/ 122132 h 835143"/>
                    <a:gd name="connsiteX167" fmla="*/ 436434 w 854369"/>
                    <a:gd name="connsiteY167" fmla="*/ 123069 h 835143"/>
                    <a:gd name="connsiteX168" fmla="*/ 433851 w 854369"/>
                    <a:gd name="connsiteY168" fmla="*/ 127429 h 835143"/>
                    <a:gd name="connsiteX169" fmla="*/ 432898 w 854369"/>
                    <a:gd name="connsiteY169" fmla="*/ 128529 h 835143"/>
                    <a:gd name="connsiteX170" fmla="*/ 430746 w 854369"/>
                    <a:gd name="connsiteY170" fmla="*/ 129532 h 835143"/>
                    <a:gd name="connsiteX171" fmla="*/ 428570 w 854369"/>
                    <a:gd name="connsiteY171" fmla="*/ 129418 h 835143"/>
                    <a:gd name="connsiteX172" fmla="*/ 426557 w 854369"/>
                    <a:gd name="connsiteY172" fmla="*/ 127829 h 835143"/>
                    <a:gd name="connsiteX173" fmla="*/ 423615 w 854369"/>
                    <a:gd name="connsiteY173" fmla="*/ 124821 h 835143"/>
                    <a:gd name="connsiteX174" fmla="*/ 421635 w 854369"/>
                    <a:gd name="connsiteY174" fmla="*/ 122222 h 835143"/>
                    <a:gd name="connsiteX175" fmla="*/ 420616 w 854369"/>
                    <a:gd name="connsiteY175" fmla="*/ 120046 h 835143"/>
                    <a:gd name="connsiteX176" fmla="*/ 419752 w 854369"/>
                    <a:gd name="connsiteY176" fmla="*/ 119076 h 835143"/>
                    <a:gd name="connsiteX177" fmla="*/ 418350 w 854369"/>
                    <a:gd name="connsiteY177" fmla="*/ 119744 h 835143"/>
                    <a:gd name="connsiteX178" fmla="*/ 416647 w 854369"/>
                    <a:gd name="connsiteY178" fmla="*/ 122002 h 835143"/>
                    <a:gd name="connsiteX179" fmla="*/ 416606 w 854369"/>
                    <a:gd name="connsiteY179" fmla="*/ 123754 h 835143"/>
                    <a:gd name="connsiteX180" fmla="*/ 416973 w 854369"/>
                    <a:gd name="connsiteY180" fmla="*/ 126353 h 835143"/>
                    <a:gd name="connsiteX181" fmla="*/ 416875 w 854369"/>
                    <a:gd name="connsiteY181" fmla="*/ 127959 h 835143"/>
                    <a:gd name="connsiteX182" fmla="*/ 414398 w 854369"/>
                    <a:gd name="connsiteY182" fmla="*/ 129842 h 835143"/>
                    <a:gd name="connsiteX183" fmla="*/ 414756 w 854369"/>
                    <a:gd name="connsiteY183" fmla="*/ 130697 h 835143"/>
                    <a:gd name="connsiteX184" fmla="*/ 419108 w 854369"/>
                    <a:gd name="connsiteY184" fmla="*/ 133004 h 835143"/>
                    <a:gd name="connsiteX185" fmla="*/ 419671 w 854369"/>
                    <a:gd name="connsiteY185" fmla="*/ 134039 h 835143"/>
                    <a:gd name="connsiteX186" fmla="*/ 419695 w 854369"/>
                    <a:gd name="connsiteY186" fmla="*/ 135644 h 835143"/>
                    <a:gd name="connsiteX187" fmla="*/ 419402 w 854369"/>
                    <a:gd name="connsiteY187" fmla="*/ 136361 h 835143"/>
                    <a:gd name="connsiteX188" fmla="*/ 417666 w 854369"/>
                    <a:gd name="connsiteY188" fmla="*/ 136247 h 835143"/>
                    <a:gd name="connsiteX189" fmla="*/ 416150 w 854369"/>
                    <a:gd name="connsiteY189" fmla="*/ 138138 h 835143"/>
                    <a:gd name="connsiteX190" fmla="*/ 414471 w 854369"/>
                    <a:gd name="connsiteY190" fmla="*/ 139613 h 835143"/>
                    <a:gd name="connsiteX191" fmla="*/ 410054 w 854369"/>
                    <a:gd name="connsiteY191" fmla="*/ 142335 h 835143"/>
                    <a:gd name="connsiteX192" fmla="*/ 403909 w 854369"/>
                    <a:gd name="connsiteY192" fmla="*/ 142669 h 835143"/>
                    <a:gd name="connsiteX193" fmla="*/ 398824 w 854369"/>
                    <a:gd name="connsiteY193" fmla="*/ 143981 h 835143"/>
                    <a:gd name="connsiteX194" fmla="*/ 397748 w 854369"/>
                    <a:gd name="connsiteY194" fmla="*/ 143941 h 835143"/>
                    <a:gd name="connsiteX195" fmla="*/ 396525 w 854369"/>
                    <a:gd name="connsiteY195" fmla="*/ 141797 h 835143"/>
                    <a:gd name="connsiteX196" fmla="*/ 395148 w 854369"/>
                    <a:gd name="connsiteY196" fmla="*/ 137551 h 835143"/>
                    <a:gd name="connsiteX197" fmla="*/ 393917 w 854369"/>
                    <a:gd name="connsiteY197" fmla="*/ 135139 h 835143"/>
                    <a:gd name="connsiteX198" fmla="*/ 392092 w 854369"/>
                    <a:gd name="connsiteY198" fmla="*/ 133908 h 835143"/>
                    <a:gd name="connsiteX199" fmla="*/ 389818 w 854369"/>
                    <a:gd name="connsiteY199" fmla="*/ 129075 h 835143"/>
                    <a:gd name="connsiteX200" fmla="*/ 388759 w 854369"/>
                    <a:gd name="connsiteY200" fmla="*/ 127519 h 835143"/>
                    <a:gd name="connsiteX201" fmla="*/ 387724 w 854369"/>
                    <a:gd name="connsiteY201" fmla="*/ 126891 h 835143"/>
                    <a:gd name="connsiteX202" fmla="*/ 386860 w 854369"/>
                    <a:gd name="connsiteY202" fmla="*/ 126728 h 835143"/>
                    <a:gd name="connsiteX203" fmla="*/ 385572 w 854369"/>
                    <a:gd name="connsiteY203" fmla="*/ 127657 h 835143"/>
                    <a:gd name="connsiteX204" fmla="*/ 382614 w 854369"/>
                    <a:gd name="connsiteY204" fmla="*/ 134577 h 835143"/>
                    <a:gd name="connsiteX205" fmla="*/ 377797 w 854369"/>
                    <a:gd name="connsiteY205" fmla="*/ 136337 h 835143"/>
                    <a:gd name="connsiteX206" fmla="*/ 375149 w 854369"/>
                    <a:gd name="connsiteY206" fmla="*/ 136671 h 835143"/>
                    <a:gd name="connsiteX207" fmla="*/ 372475 w 854369"/>
                    <a:gd name="connsiteY207" fmla="*/ 136475 h 835143"/>
                    <a:gd name="connsiteX208" fmla="*/ 365866 w 854369"/>
                    <a:gd name="connsiteY208" fmla="*/ 134577 h 835143"/>
                    <a:gd name="connsiteX209" fmla="*/ 360569 w 854369"/>
                    <a:gd name="connsiteY209" fmla="*/ 133884 h 835143"/>
                    <a:gd name="connsiteX210" fmla="*/ 356869 w 854369"/>
                    <a:gd name="connsiteY210" fmla="*/ 134682 h 835143"/>
                    <a:gd name="connsiteX211" fmla="*/ 350781 w 854369"/>
                    <a:gd name="connsiteY211" fmla="*/ 137494 h 835143"/>
                    <a:gd name="connsiteX212" fmla="*/ 348360 w 854369"/>
                    <a:gd name="connsiteY212" fmla="*/ 138219 h 835143"/>
                    <a:gd name="connsiteX213" fmla="*/ 345068 w 854369"/>
                    <a:gd name="connsiteY213" fmla="*/ 137893 h 835143"/>
                    <a:gd name="connsiteX214" fmla="*/ 343633 w 854369"/>
                    <a:gd name="connsiteY214" fmla="*/ 136834 h 835143"/>
                    <a:gd name="connsiteX215" fmla="*/ 342411 w 854369"/>
                    <a:gd name="connsiteY215" fmla="*/ 135098 h 835143"/>
                    <a:gd name="connsiteX216" fmla="*/ 342272 w 854369"/>
                    <a:gd name="connsiteY216" fmla="*/ 134039 h 835143"/>
                    <a:gd name="connsiteX217" fmla="*/ 343234 w 854369"/>
                    <a:gd name="connsiteY217" fmla="*/ 133672 h 835143"/>
                    <a:gd name="connsiteX218" fmla="*/ 344750 w 854369"/>
                    <a:gd name="connsiteY218" fmla="*/ 131651 h 835143"/>
                    <a:gd name="connsiteX219" fmla="*/ 344701 w 854369"/>
                    <a:gd name="connsiteY219" fmla="*/ 130844 h 835143"/>
                    <a:gd name="connsiteX220" fmla="*/ 343202 w 854369"/>
                    <a:gd name="connsiteY220" fmla="*/ 129670 h 835143"/>
                    <a:gd name="connsiteX221" fmla="*/ 343185 w 854369"/>
                    <a:gd name="connsiteY221" fmla="*/ 128766 h 835143"/>
                    <a:gd name="connsiteX222" fmla="*/ 343715 w 854369"/>
                    <a:gd name="connsiteY222" fmla="*/ 128155 h 835143"/>
                    <a:gd name="connsiteX223" fmla="*/ 343593 w 854369"/>
                    <a:gd name="connsiteY223" fmla="*/ 127723 h 835143"/>
                    <a:gd name="connsiteX224" fmla="*/ 342827 w 854369"/>
                    <a:gd name="connsiteY224" fmla="*/ 127454 h 835143"/>
                    <a:gd name="connsiteX225" fmla="*/ 341319 w 854369"/>
                    <a:gd name="connsiteY225" fmla="*/ 127698 h 835143"/>
                    <a:gd name="connsiteX226" fmla="*/ 335908 w 854369"/>
                    <a:gd name="connsiteY226" fmla="*/ 129035 h 835143"/>
                    <a:gd name="connsiteX227" fmla="*/ 336519 w 854369"/>
                    <a:gd name="connsiteY227" fmla="*/ 127584 h 835143"/>
                    <a:gd name="connsiteX228" fmla="*/ 339102 w 854369"/>
                    <a:gd name="connsiteY228" fmla="*/ 124544 h 835143"/>
                    <a:gd name="connsiteX229" fmla="*/ 345410 w 854369"/>
                    <a:gd name="connsiteY229" fmla="*/ 118465 h 835143"/>
                    <a:gd name="connsiteX230" fmla="*/ 347798 w 854369"/>
                    <a:gd name="connsiteY230" fmla="*/ 116680 h 835143"/>
                    <a:gd name="connsiteX231" fmla="*/ 349224 w 854369"/>
                    <a:gd name="connsiteY231" fmla="*/ 116134 h 835143"/>
                    <a:gd name="connsiteX232" fmla="*/ 367871 w 854369"/>
                    <a:gd name="connsiteY232" fmla="*/ 114186 h 835143"/>
                    <a:gd name="connsiteX233" fmla="*/ 369175 w 854369"/>
                    <a:gd name="connsiteY233" fmla="*/ 113607 h 835143"/>
                    <a:gd name="connsiteX234" fmla="*/ 378033 w 854369"/>
                    <a:gd name="connsiteY234" fmla="*/ 105417 h 835143"/>
                    <a:gd name="connsiteX235" fmla="*/ 380560 w 854369"/>
                    <a:gd name="connsiteY235" fmla="*/ 103542 h 835143"/>
                    <a:gd name="connsiteX236" fmla="*/ 383152 w 854369"/>
                    <a:gd name="connsiteY236" fmla="*/ 102043 h 835143"/>
                    <a:gd name="connsiteX237" fmla="*/ 395857 w 854369"/>
                    <a:gd name="connsiteY237" fmla="*/ 97080 h 835143"/>
                    <a:gd name="connsiteX238" fmla="*/ 397047 w 854369"/>
                    <a:gd name="connsiteY238" fmla="*/ 95947 h 835143"/>
                    <a:gd name="connsiteX239" fmla="*/ 399027 w 854369"/>
                    <a:gd name="connsiteY239" fmla="*/ 92508 h 835143"/>
                    <a:gd name="connsiteX240" fmla="*/ 400193 w 854369"/>
                    <a:gd name="connsiteY240" fmla="*/ 91652 h 835143"/>
                    <a:gd name="connsiteX241" fmla="*/ 402931 w 854369"/>
                    <a:gd name="connsiteY241" fmla="*/ 90340 h 835143"/>
                    <a:gd name="connsiteX242" fmla="*/ 412091 w 854369"/>
                    <a:gd name="connsiteY242" fmla="*/ 83372 h 835143"/>
                    <a:gd name="connsiteX243" fmla="*/ 420428 w 854369"/>
                    <a:gd name="connsiteY243" fmla="*/ 78327 h 835143"/>
                    <a:gd name="connsiteX244" fmla="*/ 424674 w 854369"/>
                    <a:gd name="connsiteY244" fmla="*/ 75206 h 835143"/>
                    <a:gd name="connsiteX245" fmla="*/ 430469 w 854369"/>
                    <a:gd name="connsiteY245" fmla="*/ 72044 h 835143"/>
                    <a:gd name="connsiteX246" fmla="*/ 437168 w 854369"/>
                    <a:gd name="connsiteY246" fmla="*/ 70683 h 835143"/>
                    <a:gd name="connsiteX247" fmla="*/ 457371 w 854369"/>
                    <a:gd name="connsiteY247" fmla="*/ 68303 h 835143"/>
                    <a:gd name="connsiteX248" fmla="*/ 471918 w 854369"/>
                    <a:gd name="connsiteY248" fmla="*/ 71441 h 835143"/>
                    <a:gd name="connsiteX249" fmla="*/ 475382 w 854369"/>
                    <a:gd name="connsiteY249" fmla="*/ 71636 h 835143"/>
                    <a:gd name="connsiteX250" fmla="*/ 477077 w 854369"/>
                    <a:gd name="connsiteY250" fmla="*/ 70748 h 835143"/>
                    <a:gd name="connsiteX251" fmla="*/ 478609 w 854369"/>
                    <a:gd name="connsiteY251" fmla="*/ 69305 h 835143"/>
                    <a:gd name="connsiteX252" fmla="*/ 480785 w 854369"/>
                    <a:gd name="connsiteY252" fmla="*/ 69908 h 835143"/>
                    <a:gd name="connsiteX253" fmla="*/ 486189 w 854369"/>
                    <a:gd name="connsiteY253" fmla="*/ 70357 h 835143"/>
                    <a:gd name="connsiteX254" fmla="*/ 487387 w 854369"/>
                    <a:gd name="connsiteY254" fmla="*/ 70006 h 835143"/>
                    <a:gd name="connsiteX255" fmla="*/ 489660 w 854369"/>
                    <a:gd name="connsiteY255" fmla="*/ 68376 h 835143"/>
                    <a:gd name="connsiteX256" fmla="*/ 488104 w 854369"/>
                    <a:gd name="connsiteY256" fmla="*/ 67480 h 835143"/>
                    <a:gd name="connsiteX257" fmla="*/ 481568 w 854369"/>
                    <a:gd name="connsiteY257" fmla="*/ 65817 h 835143"/>
                    <a:gd name="connsiteX258" fmla="*/ 481168 w 854369"/>
                    <a:gd name="connsiteY258" fmla="*/ 64986 h 835143"/>
                    <a:gd name="connsiteX259" fmla="*/ 481323 w 854369"/>
                    <a:gd name="connsiteY259" fmla="*/ 64179 h 835143"/>
                    <a:gd name="connsiteX260" fmla="*/ 483613 w 854369"/>
                    <a:gd name="connsiteY260" fmla="*/ 62272 h 835143"/>
                    <a:gd name="connsiteX261" fmla="*/ 486384 w 854369"/>
                    <a:gd name="connsiteY261" fmla="*/ 61042 h 835143"/>
                    <a:gd name="connsiteX262" fmla="*/ 494420 w 854369"/>
                    <a:gd name="connsiteY262" fmla="*/ 60121 h 835143"/>
                    <a:gd name="connsiteX263" fmla="*/ 498112 w 854369"/>
                    <a:gd name="connsiteY263" fmla="*/ 60357 h 835143"/>
                    <a:gd name="connsiteX264" fmla="*/ 501918 w 854369"/>
                    <a:gd name="connsiteY264" fmla="*/ 61677 h 835143"/>
                    <a:gd name="connsiteX265" fmla="*/ 506905 w 854369"/>
                    <a:gd name="connsiteY265" fmla="*/ 64399 h 835143"/>
                    <a:gd name="connsiteX266" fmla="*/ 518233 w 854369"/>
                    <a:gd name="connsiteY266" fmla="*/ 69183 h 835143"/>
                    <a:gd name="connsiteX267" fmla="*/ 567604 w 854369"/>
                    <a:gd name="connsiteY267" fmla="*/ 99516 h 835143"/>
                    <a:gd name="connsiteX268" fmla="*/ 563847 w 854369"/>
                    <a:gd name="connsiteY268" fmla="*/ 101106 h 835143"/>
                    <a:gd name="connsiteX269" fmla="*/ 538078 w 854369"/>
                    <a:gd name="connsiteY269" fmla="*/ 98750 h 835143"/>
                    <a:gd name="connsiteX270" fmla="*/ 536668 w 854369"/>
                    <a:gd name="connsiteY270" fmla="*/ 98017 h 835143"/>
                    <a:gd name="connsiteX271" fmla="*/ 536000 w 854369"/>
                    <a:gd name="connsiteY271" fmla="*/ 97006 h 835143"/>
                    <a:gd name="connsiteX272" fmla="*/ 540670 w 854369"/>
                    <a:gd name="connsiteY272" fmla="*/ 94260 h 835143"/>
                    <a:gd name="connsiteX273" fmla="*/ 546301 w 854369"/>
                    <a:gd name="connsiteY273" fmla="*/ 93078 h 835143"/>
                    <a:gd name="connsiteX274" fmla="*/ 559398 w 854369"/>
                    <a:gd name="connsiteY274" fmla="*/ 92125 h 835143"/>
                    <a:gd name="connsiteX275" fmla="*/ 563970 w 854369"/>
                    <a:gd name="connsiteY275" fmla="*/ 93192 h 835143"/>
                    <a:gd name="connsiteX276" fmla="*/ 567001 w 854369"/>
                    <a:gd name="connsiteY276" fmla="*/ 94439 h 835143"/>
                    <a:gd name="connsiteX277" fmla="*/ 568705 w 854369"/>
                    <a:gd name="connsiteY277" fmla="*/ 95523 h 835143"/>
                    <a:gd name="connsiteX278" fmla="*/ 569422 w 854369"/>
                    <a:gd name="connsiteY278" fmla="*/ 97560 h 835143"/>
                    <a:gd name="connsiteX279" fmla="*/ 567604 w 854369"/>
                    <a:gd name="connsiteY279" fmla="*/ 99516 h 835143"/>
                    <a:gd name="connsiteX280" fmla="*/ 558615 w 854369"/>
                    <a:gd name="connsiteY280" fmla="*/ 124471 h 835143"/>
                    <a:gd name="connsiteX281" fmla="*/ 561085 w 854369"/>
                    <a:gd name="connsiteY281" fmla="*/ 125547 h 835143"/>
                    <a:gd name="connsiteX282" fmla="*/ 572511 w 854369"/>
                    <a:gd name="connsiteY282" fmla="*/ 123534 h 835143"/>
                    <a:gd name="connsiteX283" fmla="*/ 577262 w 854369"/>
                    <a:gd name="connsiteY283" fmla="*/ 123085 h 835143"/>
                    <a:gd name="connsiteX284" fmla="*/ 582046 w 854369"/>
                    <a:gd name="connsiteY284" fmla="*/ 123713 h 835143"/>
                    <a:gd name="connsiteX285" fmla="*/ 589014 w 854369"/>
                    <a:gd name="connsiteY285" fmla="*/ 125791 h 835143"/>
                    <a:gd name="connsiteX286" fmla="*/ 598036 w 854369"/>
                    <a:gd name="connsiteY286" fmla="*/ 132075 h 835143"/>
                    <a:gd name="connsiteX287" fmla="*/ 609657 w 854369"/>
                    <a:gd name="connsiteY287" fmla="*/ 138464 h 835143"/>
                    <a:gd name="connsiteX288" fmla="*/ 609592 w 854369"/>
                    <a:gd name="connsiteY288" fmla="*/ 139833 h 835143"/>
                    <a:gd name="connsiteX289" fmla="*/ 605142 w 854369"/>
                    <a:gd name="connsiteY289" fmla="*/ 141968 h 835143"/>
                    <a:gd name="connsiteX290" fmla="*/ 604303 w 854369"/>
                    <a:gd name="connsiteY290" fmla="*/ 142873 h 835143"/>
                    <a:gd name="connsiteX291" fmla="*/ 604906 w 854369"/>
                    <a:gd name="connsiteY291" fmla="*/ 143517 h 835143"/>
                    <a:gd name="connsiteX292" fmla="*/ 609347 w 854369"/>
                    <a:gd name="connsiteY292" fmla="*/ 143932 h 835143"/>
                    <a:gd name="connsiteX293" fmla="*/ 613520 w 854369"/>
                    <a:gd name="connsiteY293" fmla="*/ 143615 h 835143"/>
                    <a:gd name="connsiteX294" fmla="*/ 617489 w 854369"/>
                    <a:gd name="connsiteY294" fmla="*/ 144095 h 835143"/>
                    <a:gd name="connsiteX295" fmla="*/ 618377 w 854369"/>
                    <a:gd name="connsiteY295" fmla="*/ 144650 h 835143"/>
                    <a:gd name="connsiteX296" fmla="*/ 619836 w 854369"/>
                    <a:gd name="connsiteY296" fmla="*/ 146980 h 835143"/>
                    <a:gd name="connsiteX297" fmla="*/ 621865 w 854369"/>
                    <a:gd name="connsiteY297" fmla="*/ 151096 h 835143"/>
                    <a:gd name="connsiteX298" fmla="*/ 624270 w 854369"/>
                    <a:gd name="connsiteY298" fmla="*/ 154168 h 835143"/>
                    <a:gd name="connsiteX299" fmla="*/ 627057 w 854369"/>
                    <a:gd name="connsiteY299" fmla="*/ 156190 h 835143"/>
                    <a:gd name="connsiteX300" fmla="*/ 629803 w 854369"/>
                    <a:gd name="connsiteY300" fmla="*/ 157233 h 835143"/>
                    <a:gd name="connsiteX301" fmla="*/ 633845 w 854369"/>
                    <a:gd name="connsiteY301" fmla="*/ 157314 h 835143"/>
                    <a:gd name="connsiteX302" fmla="*/ 637920 w 854369"/>
                    <a:gd name="connsiteY302" fmla="*/ 156703 h 835143"/>
                    <a:gd name="connsiteX303" fmla="*/ 644522 w 854369"/>
                    <a:gd name="connsiteY303" fmla="*/ 156899 h 835143"/>
                    <a:gd name="connsiteX304" fmla="*/ 655850 w 854369"/>
                    <a:gd name="connsiteY304" fmla="*/ 157681 h 835143"/>
                    <a:gd name="connsiteX305" fmla="*/ 655858 w 854369"/>
                    <a:gd name="connsiteY305" fmla="*/ 157681 h 835143"/>
                    <a:gd name="connsiteX306" fmla="*/ 655858 w 854369"/>
                    <a:gd name="connsiteY306" fmla="*/ 162872 h 835143"/>
                    <a:gd name="connsiteX307" fmla="*/ 655866 w 854369"/>
                    <a:gd name="connsiteY307" fmla="*/ 188764 h 835143"/>
                    <a:gd name="connsiteX308" fmla="*/ 655850 w 854369"/>
                    <a:gd name="connsiteY308" fmla="*/ 190492 h 835143"/>
                    <a:gd name="connsiteX309" fmla="*/ 651563 w 854369"/>
                    <a:gd name="connsiteY309" fmla="*/ 191013 h 835143"/>
                    <a:gd name="connsiteX310" fmla="*/ 646331 w 854369"/>
                    <a:gd name="connsiteY310" fmla="*/ 192244 h 835143"/>
                    <a:gd name="connsiteX311" fmla="*/ 642443 w 854369"/>
                    <a:gd name="connsiteY311" fmla="*/ 193841 h 835143"/>
                    <a:gd name="connsiteX312" fmla="*/ 640422 w 854369"/>
                    <a:gd name="connsiteY312" fmla="*/ 195153 h 835143"/>
                    <a:gd name="connsiteX313" fmla="*/ 637334 w 854369"/>
                    <a:gd name="connsiteY313" fmla="*/ 198234 h 835143"/>
                    <a:gd name="connsiteX314" fmla="*/ 632582 w 854369"/>
                    <a:gd name="connsiteY314" fmla="*/ 200549 h 835143"/>
                    <a:gd name="connsiteX315" fmla="*/ 623984 w 854369"/>
                    <a:gd name="connsiteY315" fmla="*/ 203083 h 835143"/>
                    <a:gd name="connsiteX316" fmla="*/ 613047 w 854369"/>
                    <a:gd name="connsiteY316" fmla="*/ 207011 h 835143"/>
                    <a:gd name="connsiteX317" fmla="*/ 593439 w 854369"/>
                    <a:gd name="connsiteY317" fmla="*/ 211029 h 835143"/>
                    <a:gd name="connsiteX318" fmla="*/ 581092 w 854369"/>
                    <a:gd name="connsiteY318" fmla="*/ 211730 h 835143"/>
                    <a:gd name="connsiteX319" fmla="*/ 568762 w 854369"/>
                    <a:gd name="connsiteY319" fmla="*/ 210410 h 835143"/>
                    <a:gd name="connsiteX320" fmla="*/ 564858 w 854369"/>
                    <a:gd name="connsiteY320" fmla="*/ 209318 h 835143"/>
                    <a:gd name="connsiteX321" fmla="*/ 560759 w 854369"/>
                    <a:gd name="connsiteY321" fmla="*/ 207623 h 835143"/>
                    <a:gd name="connsiteX322" fmla="*/ 552381 w 854369"/>
                    <a:gd name="connsiteY322" fmla="*/ 203613 h 835143"/>
                    <a:gd name="connsiteX323" fmla="*/ 550058 w 854369"/>
                    <a:gd name="connsiteY323" fmla="*/ 202162 h 835143"/>
                    <a:gd name="connsiteX324" fmla="*/ 547361 w 854369"/>
                    <a:gd name="connsiteY324" fmla="*/ 199016 h 835143"/>
                    <a:gd name="connsiteX325" fmla="*/ 548958 w 854369"/>
                    <a:gd name="connsiteY325" fmla="*/ 196922 h 835143"/>
                    <a:gd name="connsiteX326" fmla="*/ 553424 w 854369"/>
                    <a:gd name="connsiteY326" fmla="*/ 194502 h 835143"/>
                    <a:gd name="connsiteX327" fmla="*/ 560115 w 854369"/>
                    <a:gd name="connsiteY327" fmla="*/ 192293 h 835143"/>
                    <a:gd name="connsiteX328" fmla="*/ 573464 w 854369"/>
                    <a:gd name="connsiteY328" fmla="*/ 189318 h 835143"/>
                    <a:gd name="connsiteX329" fmla="*/ 585575 w 854369"/>
                    <a:gd name="connsiteY329" fmla="*/ 184551 h 835143"/>
                    <a:gd name="connsiteX330" fmla="*/ 589870 w 854369"/>
                    <a:gd name="connsiteY330" fmla="*/ 183654 h 835143"/>
                    <a:gd name="connsiteX331" fmla="*/ 601532 w 854369"/>
                    <a:gd name="connsiteY331" fmla="*/ 182921 h 835143"/>
                    <a:gd name="connsiteX332" fmla="*/ 607416 w 854369"/>
                    <a:gd name="connsiteY332" fmla="*/ 183361 h 835143"/>
                    <a:gd name="connsiteX333" fmla="*/ 611662 w 854369"/>
                    <a:gd name="connsiteY333" fmla="*/ 183116 h 835143"/>
                    <a:gd name="connsiteX334" fmla="*/ 614474 w 854369"/>
                    <a:gd name="connsiteY334" fmla="*/ 182448 h 835143"/>
                    <a:gd name="connsiteX335" fmla="*/ 618638 w 854369"/>
                    <a:gd name="connsiteY335" fmla="*/ 180737 h 835143"/>
                    <a:gd name="connsiteX336" fmla="*/ 624718 w 854369"/>
                    <a:gd name="connsiteY336" fmla="*/ 177297 h 835143"/>
                    <a:gd name="connsiteX337" fmla="*/ 629168 w 854369"/>
                    <a:gd name="connsiteY337" fmla="*/ 174078 h 835143"/>
                    <a:gd name="connsiteX338" fmla="*/ 630292 w 854369"/>
                    <a:gd name="connsiteY338" fmla="*/ 172579 h 835143"/>
                    <a:gd name="connsiteX339" fmla="*/ 628801 w 854369"/>
                    <a:gd name="connsiteY339" fmla="*/ 171169 h 835143"/>
                    <a:gd name="connsiteX340" fmla="*/ 626617 w 854369"/>
                    <a:gd name="connsiteY340" fmla="*/ 170973 h 835143"/>
                    <a:gd name="connsiteX341" fmla="*/ 619363 w 854369"/>
                    <a:gd name="connsiteY341" fmla="*/ 174274 h 835143"/>
                    <a:gd name="connsiteX342" fmla="*/ 615721 w 854369"/>
                    <a:gd name="connsiteY342" fmla="*/ 175390 h 835143"/>
                    <a:gd name="connsiteX343" fmla="*/ 611752 w 854369"/>
                    <a:gd name="connsiteY343" fmla="*/ 175472 h 835143"/>
                    <a:gd name="connsiteX344" fmla="*/ 606308 w 854369"/>
                    <a:gd name="connsiteY344" fmla="*/ 176597 h 835143"/>
                    <a:gd name="connsiteX345" fmla="*/ 601010 w 854369"/>
                    <a:gd name="connsiteY345" fmla="*/ 177045 h 835143"/>
                    <a:gd name="connsiteX346" fmla="*/ 599991 w 854369"/>
                    <a:gd name="connsiteY346" fmla="*/ 177012 h 835143"/>
                    <a:gd name="connsiteX347" fmla="*/ 594466 w 854369"/>
                    <a:gd name="connsiteY347" fmla="*/ 173842 h 835143"/>
                    <a:gd name="connsiteX348" fmla="*/ 591516 w 854369"/>
                    <a:gd name="connsiteY348" fmla="*/ 173296 h 835143"/>
                    <a:gd name="connsiteX349" fmla="*/ 590147 w 854369"/>
                    <a:gd name="connsiteY349" fmla="*/ 173630 h 835143"/>
                    <a:gd name="connsiteX350" fmla="*/ 588883 w 854369"/>
                    <a:gd name="connsiteY350" fmla="*/ 174469 h 835143"/>
                    <a:gd name="connsiteX351" fmla="*/ 586496 w 854369"/>
                    <a:gd name="connsiteY351" fmla="*/ 176800 h 835143"/>
                    <a:gd name="connsiteX352" fmla="*/ 585118 w 854369"/>
                    <a:gd name="connsiteY352" fmla="*/ 177640 h 835143"/>
                    <a:gd name="connsiteX353" fmla="*/ 582730 w 854369"/>
                    <a:gd name="connsiteY353" fmla="*/ 178243 h 835143"/>
                    <a:gd name="connsiteX354" fmla="*/ 573106 w 854369"/>
                    <a:gd name="connsiteY354" fmla="*/ 178936 h 835143"/>
                    <a:gd name="connsiteX355" fmla="*/ 563872 w 854369"/>
                    <a:gd name="connsiteY355" fmla="*/ 180109 h 835143"/>
                    <a:gd name="connsiteX356" fmla="*/ 561818 w 854369"/>
                    <a:gd name="connsiteY356" fmla="*/ 179384 h 835143"/>
                    <a:gd name="connsiteX357" fmla="*/ 560571 w 854369"/>
                    <a:gd name="connsiteY357" fmla="*/ 178031 h 835143"/>
                    <a:gd name="connsiteX358" fmla="*/ 560319 w 854369"/>
                    <a:gd name="connsiteY358" fmla="*/ 177208 h 835143"/>
                    <a:gd name="connsiteX359" fmla="*/ 560180 w 854369"/>
                    <a:gd name="connsiteY359" fmla="*/ 174421 h 835143"/>
                    <a:gd name="connsiteX360" fmla="*/ 559561 w 854369"/>
                    <a:gd name="connsiteY360" fmla="*/ 173320 h 835143"/>
                    <a:gd name="connsiteX361" fmla="*/ 560376 w 854369"/>
                    <a:gd name="connsiteY361" fmla="*/ 171006 h 835143"/>
                    <a:gd name="connsiteX362" fmla="*/ 561427 w 854369"/>
                    <a:gd name="connsiteY362" fmla="*/ 169237 h 835143"/>
                    <a:gd name="connsiteX363" fmla="*/ 562723 w 854369"/>
                    <a:gd name="connsiteY363" fmla="*/ 168031 h 835143"/>
                    <a:gd name="connsiteX364" fmla="*/ 569063 w 854369"/>
                    <a:gd name="connsiteY364" fmla="*/ 164445 h 835143"/>
                    <a:gd name="connsiteX365" fmla="*/ 569952 w 854369"/>
                    <a:gd name="connsiteY365" fmla="*/ 163516 h 835143"/>
                    <a:gd name="connsiteX366" fmla="*/ 566928 w 854369"/>
                    <a:gd name="connsiteY366" fmla="*/ 163712 h 835143"/>
                    <a:gd name="connsiteX367" fmla="*/ 559740 w 854369"/>
                    <a:gd name="connsiteY367" fmla="*/ 165464 h 835143"/>
                    <a:gd name="connsiteX368" fmla="*/ 558803 w 854369"/>
                    <a:gd name="connsiteY368" fmla="*/ 164853 h 835143"/>
                    <a:gd name="connsiteX369" fmla="*/ 557116 w 854369"/>
                    <a:gd name="connsiteY369" fmla="*/ 162840 h 835143"/>
                    <a:gd name="connsiteX370" fmla="*/ 556309 w 854369"/>
                    <a:gd name="connsiteY370" fmla="*/ 162644 h 835143"/>
                    <a:gd name="connsiteX371" fmla="*/ 555396 w 854369"/>
                    <a:gd name="connsiteY371" fmla="*/ 163475 h 835143"/>
                    <a:gd name="connsiteX372" fmla="*/ 554858 w 854369"/>
                    <a:gd name="connsiteY372" fmla="*/ 164649 h 835143"/>
                    <a:gd name="connsiteX373" fmla="*/ 553628 w 854369"/>
                    <a:gd name="connsiteY373" fmla="*/ 169482 h 835143"/>
                    <a:gd name="connsiteX374" fmla="*/ 552536 w 854369"/>
                    <a:gd name="connsiteY374" fmla="*/ 171959 h 835143"/>
                    <a:gd name="connsiteX375" fmla="*/ 549651 w 854369"/>
                    <a:gd name="connsiteY375" fmla="*/ 171454 h 835143"/>
                    <a:gd name="connsiteX376" fmla="*/ 546081 w 854369"/>
                    <a:gd name="connsiteY376" fmla="*/ 169963 h 835143"/>
                    <a:gd name="connsiteX377" fmla="*/ 544744 w 854369"/>
                    <a:gd name="connsiteY377" fmla="*/ 169759 h 835143"/>
                    <a:gd name="connsiteX378" fmla="*/ 543978 w 854369"/>
                    <a:gd name="connsiteY378" fmla="*/ 170240 h 835143"/>
                    <a:gd name="connsiteX379" fmla="*/ 544223 w 854369"/>
                    <a:gd name="connsiteY379" fmla="*/ 171071 h 835143"/>
                    <a:gd name="connsiteX380" fmla="*/ 547850 w 854369"/>
                    <a:gd name="connsiteY380" fmla="*/ 175203 h 835143"/>
                    <a:gd name="connsiteX381" fmla="*/ 547898 w 854369"/>
                    <a:gd name="connsiteY381" fmla="*/ 176654 h 835143"/>
                    <a:gd name="connsiteX382" fmla="*/ 545519 w 854369"/>
                    <a:gd name="connsiteY382" fmla="*/ 179180 h 835143"/>
                    <a:gd name="connsiteX383" fmla="*/ 535413 w 854369"/>
                    <a:gd name="connsiteY383" fmla="*/ 183369 h 835143"/>
                    <a:gd name="connsiteX384" fmla="*/ 531420 w 854369"/>
                    <a:gd name="connsiteY384" fmla="*/ 184494 h 835143"/>
                    <a:gd name="connsiteX385" fmla="*/ 530010 w 854369"/>
                    <a:gd name="connsiteY385" fmla="*/ 184062 h 835143"/>
                    <a:gd name="connsiteX386" fmla="*/ 528730 w 854369"/>
                    <a:gd name="connsiteY386" fmla="*/ 182913 h 835143"/>
                    <a:gd name="connsiteX387" fmla="*/ 527606 w 854369"/>
                    <a:gd name="connsiteY387" fmla="*/ 181046 h 835143"/>
                    <a:gd name="connsiteX388" fmla="*/ 524981 w 854369"/>
                    <a:gd name="connsiteY388" fmla="*/ 178528 h 835143"/>
                    <a:gd name="connsiteX389" fmla="*/ 523417 w 854369"/>
                    <a:gd name="connsiteY389" fmla="*/ 177958 h 835143"/>
                    <a:gd name="connsiteX390" fmla="*/ 521673 w 854369"/>
                    <a:gd name="connsiteY390" fmla="*/ 177892 h 835143"/>
                    <a:gd name="connsiteX391" fmla="*/ 520059 w 854369"/>
                    <a:gd name="connsiteY391" fmla="*/ 178398 h 835143"/>
                    <a:gd name="connsiteX392" fmla="*/ 518592 w 854369"/>
                    <a:gd name="connsiteY392" fmla="*/ 179522 h 835143"/>
                    <a:gd name="connsiteX393" fmla="*/ 517679 w 854369"/>
                    <a:gd name="connsiteY393" fmla="*/ 180704 h 835143"/>
                    <a:gd name="connsiteX394" fmla="*/ 516815 w 854369"/>
                    <a:gd name="connsiteY394" fmla="*/ 182904 h 835143"/>
                    <a:gd name="connsiteX395" fmla="*/ 514973 w 854369"/>
                    <a:gd name="connsiteY395" fmla="*/ 184583 h 835143"/>
                    <a:gd name="connsiteX396" fmla="*/ 513841 w 854369"/>
                    <a:gd name="connsiteY396" fmla="*/ 184869 h 835143"/>
                    <a:gd name="connsiteX397" fmla="*/ 503580 w 854369"/>
                    <a:gd name="connsiteY397" fmla="*/ 181372 h 835143"/>
                    <a:gd name="connsiteX398" fmla="*/ 495308 w 854369"/>
                    <a:gd name="connsiteY398" fmla="*/ 175178 h 835143"/>
                    <a:gd name="connsiteX399" fmla="*/ 486262 w 854369"/>
                    <a:gd name="connsiteY399" fmla="*/ 176132 h 835143"/>
                    <a:gd name="connsiteX400" fmla="*/ 482195 w 854369"/>
                    <a:gd name="connsiteY400" fmla="*/ 175920 h 835143"/>
                    <a:gd name="connsiteX401" fmla="*/ 469865 w 854369"/>
                    <a:gd name="connsiteY401" fmla="*/ 173638 h 835143"/>
                    <a:gd name="connsiteX402" fmla="*/ 468300 w 854369"/>
                    <a:gd name="connsiteY402" fmla="*/ 172228 h 835143"/>
                    <a:gd name="connsiteX403" fmla="*/ 467436 w 854369"/>
                    <a:gd name="connsiteY403" fmla="*/ 170403 h 835143"/>
                    <a:gd name="connsiteX404" fmla="*/ 467518 w 854369"/>
                    <a:gd name="connsiteY404" fmla="*/ 169409 h 835143"/>
                    <a:gd name="connsiteX405" fmla="*/ 468023 w 854369"/>
                    <a:gd name="connsiteY405" fmla="*/ 168382 h 835143"/>
                    <a:gd name="connsiteX406" fmla="*/ 469588 w 854369"/>
                    <a:gd name="connsiteY406" fmla="*/ 166344 h 835143"/>
                    <a:gd name="connsiteX407" fmla="*/ 472693 w 854369"/>
                    <a:gd name="connsiteY407" fmla="*/ 163247 h 835143"/>
                    <a:gd name="connsiteX408" fmla="*/ 473988 w 854369"/>
                    <a:gd name="connsiteY408" fmla="*/ 162245 h 835143"/>
                    <a:gd name="connsiteX409" fmla="*/ 475920 w 854369"/>
                    <a:gd name="connsiteY409" fmla="*/ 161422 h 835143"/>
                    <a:gd name="connsiteX410" fmla="*/ 478487 w 854369"/>
                    <a:gd name="connsiteY410" fmla="*/ 160778 h 835143"/>
                    <a:gd name="connsiteX411" fmla="*/ 485015 w 854369"/>
                    <a:gd name="connsiteY411" fmla="*/ 160419 h 835143"/>
                    <a:gd name="connsiteX412" fmla="*/ 501828 w 854369"/>
                    <a:gd name="connsiteY412" fmla="*/ 160297 h 835143"/>
                    <a:gd name="connsiteX413" fmla="*/ 505194 w 854369"/>
                    <a:gd name="connsiteY413" fmla="*/ 159816 h 835143"/>
                    <a:gd name="connsiteX414" fmla="*/ 523588 w 854369"/>
                    <a:gd name="connsiteY414" fmla="*/ 153826 h 835143"/>
                    <a:gd name="connsiteX415" fmla="*/ 525682 w 854369"/>
                    <a:gd name="connsiteY415" fmla="*/ 152840 h 835143"/>
                    <a:gd name="connsiteX416" fmla="*/ 528388 w 854369"/>
                    <a:gd name="connsiteY416" fmla="*/ 150925 h 835143"/>
                    <a:gd name="connsiteX417" fmla="*/ 528999 w 854369"/>
                    <a:gd name="connsiteY417" fmla="*/ 150134 h 835143"/>
                    <a:gd name="connsiteX418" fmla="*/ 528885 w 854369"/>
                    <a:gd name="connsiteY418" fmla="*/ 149605 h 835143"/>
                    <a:gd name="connsiteX419" fmla="*/ 506253 w 854369"/>
                    <a:gd name="connsiteY419" fmla="*/ 154364 h 835143"/>
                    <a:gd name="connsiteX420" fmla="*/ 496547 w 854369"/>
                    <a:gd name="connsiteY420" fmla="*/ 155383 h 835143"/>
                    <a:gd name="connsiteX421" fmla="*/ 481674 w 854369"/>
                    <a:gd name="connsiteY421" fmla="*/ 154609 h 835143"/>
                    <a:gd name="connsiteX422" fmla="*/ 478878 w 854369"/>
                    <a:gd name="connsiteY422" fmla="*/ 153859 h 835143"/>
                    <a:gd name="connsiteX423" fmla="*/ 478243 w 854369"/>
                    <a:gd name="connsiteY423" fmla="*/ 152530 h 835143"/>
                    <a:gd name="connsiteX424" fmla="*/ 481340 w 854369"/>
                    <a:gd name="connsiteY424" fmla="*/ 149002 h 835143"/>
                    <a:gd name="connsiteX425" fmla="*/ 482978 w 854369"/>
                    <a:gd name="connsiteY425" fmla="*/ 147681 h 835143"/>
                    <a:gd name="connsiteX426" fmla="*/ 487207 w 854369"/>
                    <a:gd name="connsiteY426" fmla="*/ 146443 h 835143"/>
                    <a:gd name="connsiteX427" fmla="*/ 497443 w 854369"/>
                    <a:gd name="connsiteY427" fmla="*/ 144682 h 835143"/>
                    <a:gd name="connsiteX428" fmla="*/ 511119 w 854369"/>
                    <a:gd name="connsiteY428" fmla="*/ 143126 h 835143"/>
                    <a:gd name="connsiteX429" fmla="*/ 520083 w 854369"/>
                    <a:gd name="connsiteY429" fmla="*/ 143101 h 835143"/>
                    <a:gd name="connsiteX430" fmla="*/ 527597 w 854369"/>
                    <a:gd name="connsiteY430" fmla="*/ 141862 h 835143"/>
                    <a:gd name="connsiteX431" fmla="*/ 532121 w 854369"/>
                    <a:gd name="connsiteY431" fmla="*/ 140444 h 835143"/>
                    <a:gd name="connsiteX432" fmla="*/ 516970 w 854369"/>
                    <a:gd name="connsiteY432" fmla="*/ 140526 h 835143"/>
                    <a:gd name="connsiteX433" fmla="*/ 498723 w 854369"/>
                    <a:gd name="connsiteY433" fmla="*/ 141186 h 835143"/>
                    <a:gd name="connsiteX434" fmla="*/ 496082 w 854369"/>
                    <a:gd name="connsiteY434" fmla="*/ 140721 h 835143"/>
                    <a:gd name="connsiteX435" fmla="*/ 490875 w 854369"/>
                    <a:gd name="connsiteY435" fmla="*/ 138855 h 835143"/>
                    <a:gd name="connsiteX436" fmla="*/ 490622 w 854369"/>
                    <a:gd name="connsiteY436" fmla="*/ 137494 h 835143"/>
                    <a:gd name="connsiteX437" fmla="*/ 492700 w 854369"/>
                    <a:gd name="connsiteY437" fmla="*/ 135856 h 835143"/>
                    <a:gd name="connsiteX438" fmla="*/ 493466 w 854369"/>
                    <a:gd name="connsiteY438" fmla="*/ 134642 h 835143"/>
                    <a:gd name="connsiteX439" fmla="*/ 491975 w 854369"/>
                    <a:gd name="connsiteY439" fmla="*/ 131895 h 835143"/>
                    <a:gd name="connsiteX440" fmla="*/ 492431 w 854369"/>
                    <a:gd name="connsiteY440" fmla="*/ 130836 h 835143"/>
                    <a:gd name="connsiteX441" fmla="*/ 495830 w 854369"/>
                    <a:gd name="connsiteY441" fmla="*/ 128546 h 835143"/>
                    <a:gd name="connsiteX442" fmla="*/ 501893 w 854369"/>
                    <a:gd name="connsiteY442" fmla="*/ 126076 h 835143"/>
                    <a:gd name="connsiteX443" fmla="*/ 505626 w 854369"/>
                    <a:gd name="connsiteY443" fmla="*/ 125718 h 835143"/>
                    <a:gd name="connsiteX444" fmla="*/ 512838 w 854369"/>
                    <a:gd name="connsiteY444" fmla="*/ 126565 h 835143"/>
                    <a:gd name="connsiteX445" fmla="*/ 533392 w 854369"/>
                    <a:gd name="connsiteY445" fmla="*/ 127437 h 835143"/>
                    <a:gd name="connsiteX446" fmla="*/ 537377 w 854369"/>
                    <a:gd name="connsiteY446" fmla="*/ 127120 h 835143"/>
                    <a:gd name="connsiteX447" fmla="*/ 534859 w 854369"/>
                    <a:gd name="connsiteY447" fmla="*/ 126052 h 835143"/>
                    <a:gd name="connsiteX448" fmla="*/ 531273 w 854369"/>
                    <a:gd name="connsiteY448" fmla="*/ 125245 h 835143"/>
                    <a:gd name="connsiteX449" fmla="*/ 515405 w 854369"/>
                    <a:gd name="connsiteY449" fmla="*/ 123876 h 835143"/>
                    <a:gd name="connsiteX450" fmla="*/ 512121 w 854369"/>
                    <a:gd name="connsiteY450" fmla="*/ 123257 h 835143"/>
                    <a:gd name="connsiteX451" fmla="*/ 511494 w 854369"/>
                    <a:gd name="connsiteY451" fmla="*/ 122409 h 835143"/>
                    <a:gd name="connsiteX452" fmla="*/ 511257 w 854369"/>
                    <a:gd name="connsiteY452" fmla="*/ 121162 h 835143"/>
                    <a:gd name="connsiteX453" fmla="*/ 511412 w 854369"/>
                    <a:gd name="connsiteY453" fmla="*/ 119508 h 835143"/>
                    <a:gd name="connsiteX454" fmla="*/ 512561 w 854369"/>
                    <a:gd name="connsiteY454" fmla="*/ 117821 h 835143"/>
                    <a:gd name="connsiteX455" fmla="*/ 517484 w 854369"/>
                    <a:gd name="connsiteY455" fmla="*/ 114292 h 835143"/>
                    <a:gd name="connsiteX456" fmla="*/ 531925 w 854369"/>
                    <a:gd name="connsiteY456" fmla="*/ 111382 h 835143"/>
                    <a:gd name="connsiteX457" fmla="*/ 537671 w 854369"/>
                    <a:gd name="connsiteY457" fmla="*/ 110983 h 835143"/>
                    <a:gd name="connsiteX458" fmla="*/ 543424 w 854369"/>
                    <a:gd name="connsiteY458" fmla="*/ 111171 h 835143"/>
                    <a:gd name="connsiteX459" fmla="*/ 549276 w 854369"/>
                    <a:gd name="connsiteY459" fmla="*/ 112483 h 835143"/>
                    <a:gd name="connsiteX460" fmla="*/ 551884 w 854369"/>
                    <a:gd name="connsiteY460" fmla="*/ 113615 h 835143"/>
                    <a:gd name="connsiteX461" fmla="*/ 553188 w 854369"/>
                    <a:gd name="connsiteY461" fmla="*/ 115009 h 835143"/>
                    <a:gd name="connsiteX462" fmla="*/ 553823 w 854369"/>
                    <a:gd name="connsiteY462" fmla="*/ 116313 h 835143"/>
                    <a:gd name="connsiteX463" fmla="*/ 553897 w 854369"/>
                    <a:gd name="connsiteY463" fmla="*/ 118554 h 835143"/>
                    <a:gd name="connsiteX464" fmla="*/ 554174 w 854369"/>
                    <a:gd name="connsiteY464" fmla="*/ 119434 h 835143"/>
                    <a:gd name="connsiteX465" fmla="*/ 555233 w 854369"/>
                    <a:gd name="connsiteY465" fmla="*/ 120909 h 835143"/>
                    <a:gd name="connsiteX466" fmla="*/ 558615 w 854369"/>
                    <a:gd name="connsiteY466" fmla="*/ 124471 h 835143"/>
                    <a:gd name="connsiteX467" fmla="*/ 449360 w 854369"/>
                    <a:gd name="connsiteY467" fmla="*/ 155750 h 835143"/>
                    <a:gd name="connsiteX468" fmla="*/ 442278 w 854369"/>
                    <a:gd name="connsiteY468" fmla="*/ 158822 h 835143"/>
                    <a:gd name="connsiteX469" fmla="*/ 437233 w 854369"/>
                    <a:gd name="connsiteY469" fmla="*/ 158504 h 835143"/>
                    <a:gd name="connsiteX470" fmla="*/ 430550 w 854369"/>
                    <a:gd name="connsiteY470" fmla="*/ 156247 h 835143"/>
                    <a:gd name="connsiteX471" fmla="*/ 425106 w 854369"/>
                    <a:gd name="connsiteY471" fmla="*/ 155472 h 835143"/>
                    <a:gd name="connsiteX472" fmla="*/ 423191 w 854369"/>
                    <a:gd name="connsiteY472" fmla="*/ 154731 h 835143"/>
                    <a:gd name="connsiteX473" fmla="*/ 422914 w 854369"/>
                    <a:gd name="connsiteY473" fmla="*/ 153940 h 835143"/>
                    <a:gd name="connsiteX474" fmla="*/ 424764 w 854369"/>
                    <a:gd name="connsiteY474" fmla="*/ 151772 h 835143"/>
                    <a:gd name="connsiteX475" fmla="*/ 427079 w 854369"/>
                    <a:gd name="connsiteY475" fmla="*/ 150045 h 835143"/>
                    <a:gd name="connsiteX476" fmla="*/ 432620 w 854369"/>
                    <a:gd name="connsiteY476" fmla="*/ 146638 h 835143"/>
                    <a:gd name="connsiteX477" fmla="*/ 441976 w 854369"/>
                    <a:gd name="connsiteY477" fmla="*/ 140061 h 835143"/>
                    <a:gd name="connsiteX478" fmla="*/ 448105 w 854369"/>
                    <a:gd name="connsiteY478" fmla="*/ 137567 h 835143"/>
                    <a:gd name="connsiteX479" fmla="*/ 454119 w 854369"/>
                    <a:gd name="connsiteY479" fmla="*/ 135815 h 835143"/>
                    <a:gd name="connsiteX480" fmla="*/ 460248 w 854369"/>
                    <a:gd name="connsiteY480" fmla="*/ 131887 h 835143"/>
                    <a:gd name="connsiteX481" fmla="*/ 463646 w 854369"/>
                    <a:gd name="connsiteY481" fmla="*/ 130127 h 835143"/>
                    <a:gd name="connsiteX482" fmla="*/ 466597 w 854369"/>
                    <a:gd name="connsiteY482" fmla="*/ 129996 h 835143"/>
                    <a:gd name="connsiteX483" fmla="*/ 469596 w 854369"/>
                    <a:gd name="connsiteY483" fmla="*/ 130754 h 835143"/>
                    <a:gd name="connsiteX484" fmla="*/ 469930 w 854369"/>
                    <a:gd name="connsiteY484" fmla="*/ 131830 h 835143"/>
                    <a:gd name="connsiteX485" fmla="*/ 466776 w 854369"/>
                    <a:gd name="connsiteY485" fmla="*/ 137193 h 835143"/>
                    <a:gd name="connsiteX486" fmla="*/ 464551 w 854369"/>
                    <a:gd name="connsiteY486" fmla="*/ 139360 h 835143"/>
                    <a:gd name="connsiteX487" fmla="*/ 460215 w 854369"/>
                    <a:gd name="connsiteY487" fmla="*/ 144927 h 835143"/>
                    <a:gd name="connsiteX488" fmla="*/ 451895 w 854369"/>
                    <a:gd name="connsiteY488" fmla="*/ 154258 h 835143"/>
                    <a:gd name="connsiteX489" fmla="*/ 449360 w 854369"/>
                    <a:gd name="connsiteY489" fmla="*/ 155750 h 835143"/>
                    <a:gd name="connsiteX490" fmla="*/ 414438 w 854369"/>
                    <a:gd name="connsiteY490" fmla="*/ 225389 h 835143"/>
                    <a:gd name="connsiteX491" fmla="*/ 414626 w 854369"/>
                    <a:gd name="connsiteY491" fmla="*/ 225585 h 835143"/>
                    <a:gd name="connsiteX492" fmla="*/ 421015 w 854369"/>
                    <a:gd name="connsiteY492" fmla="*/ 221216 h 835143"/>
                    <a:gd name="connsiteX493" fmla="*/ 424886 w 854369"/>
                    <a:gd name="connsiteY493" fmla="*/ 220980 h 835143"/>
                    <a:gd name="connsiteX494" fmla="*/ 427592 w 854369"/>
                    <a:gd name="connsiteY494" fmla="*/ 221371 h 835143"/>
                    <a:gd name="connsiteX495" fmla="*/ 428448 w 854369"/>
                    <a:gd name="connsiteY495" fmla="*/ 221925 h 835143"/>
                    <a:gd name="connsiteX496" fmla="*/ 428986 w 854369"/>
                    <a:gd name="connsiteY496" fmla="*/ 222789 h 835143"/>
                    <a:gd name="connsiteX497" fmla="*/ 429255 w 854369"/>
                    <a:gd name="connsiteY497" fmla="*/ 224680 h 835143"/>
                    <a:gd name="connsiteX498" fmla="*/ 429426 w 854369"/>
                    <a:gd name="connsiteY498" fmla="*/ 229366 h 835143"/>
                    <a:gd name="connsiteX499" fmla="*/ 429768 w 854369"/>
                    <a:gd name="connsiteY499" fmla="*/ 229945 h 835143"/>
                    <a:gd name="connsiteX500" fmla="*/ 430640 w 854369"/>
                    <a:gd name="connsiteY500" fmla="*/ 229676 h 835143"/>
                    <a:gd name="connsiteX501" fmla="*/ 432050 w 854369"/>
                    <a:gd name="connsiteY501" fmla="*/ 228576 h 835143"/>
                    <a:gd name="connsiteX502" fmla="*/ 439034 w 854369"/>
                    <a:gd name="connsiteY502" fmla="*/ 221648 h 835143"/>
                    <a:gd name="connsiteX503" fmla="*/ 441976 w 854369"/>
                    <a:gd name="connsiteY503" fmla="*/ 219741 h 835143"/>
                    <a:gd name="connsiteX504" fmla="*/ 443997 w 854369"/>
                    <a:gd name="connsiteY504" fmla="*/ 219171 h 835143"/>
                    <a:gd name="connsiteX505" fmla="*/ 452530 w 854369"/>
                    <a:gd name="connsiteY505" fmla="*/ 218136 h 835143"/>
                    <a:gd name="connsiteX506" fmla="*/ 458325 w 854369"/>
                    <a:gd name="connsiteY506" fmla="*/ 218160 h 835143"/>
                    <a:gd name="connsiteX507" fmla="*/ 464739 w 854369"/>
                    <a:gd name="connsiteY507" fmla="*/ 218812 h 835143"/>
                    <a:gd name="connsiteX508" fmla="*/ 469514 w 854369"/>
                    <a:gd name="connsiteY508" fmla="*/ 219790 h 835143"/>
                    <a:gd name="connsiteX509" fmla="*/ 477346 w 854369"/>
                    <a:gd name="connsiteY509" fmla="*/ 222643 h 835143"/>
                    <a:gd name="connsiteX510" fmla="*/ 483507 w 854369"/>
                    <a:gd name="connsiteY510" fmla="*/ 225927 h 835143"/>
                    <a:gd name="connsiteX511" fmla="*/ 489155 w 854369"/>
                    <a:gd name="connsiteY511" fmla="*/ 229415 h 835143"/>
                    <a:gd name="connsiteX512" fmla="*/ 508128 w 854369"/>
                    <a:gd name="connsiteY512" fmla="*/ 242503 h 835143"/>
                    <a:gd name="connsiteX513" fmla="*/ 516147 w 854369"/>
                    <a:gd name="connsiteY513" fmla="*/ 246350 h 835143"/>
                    <a:gd name="connsiteX514" fmla="*/ 519211 w 854369"/>
                    <a:gd name="connsiteY514" fmla="*/ 248542 h 835143"/>
                    <a:gd name="connsiteX515" fmla="*/ 520572 w 854369"/>
                    <a:gd name="connsiteY515" fmla="*/ 250132 h 835143"/>
                    <a:gd name="connsiteX516" fmla="*/ 521770 w 854369"/>
                    <a:gd name="connsiteY516" fmla="*/ 252128 h 835143"/>
                    <a:gd name="connsiteX517" fmla="*/ 522137 w 854369"/>
                    <a:gd name="connsiteY517" fmla="*/ 253995 h 835143"/>
                    <a:gd name="connsiteX518" fmla="*/ 521673 w 854369"/>
                    <a:gd name="connsiteY518" fmla="*/ 255722 h 835143"/>
                    <a:gd name="connsiteX519" fmla="*/ 520801 w 854369"/>
                    <a:gd name="connsiteY519" fmla="*/ 256928 h 835143"/>
                    <a:gd name="connsiteX520" fmla="*/ 518877 w 854369"/>
                    <a:gd name="connsiteY520" fmla="*/ 257955 h 835143"/>
                    <a:gd name="connsiteX521" fmla="*/ 507272 w 854369"/>
                    <a:gd name="connsiteY521" fmla="*/ 262307 h 835143"/>
                    <a:gd name="connsiteX522" fmla="*/ 501160 w 854369"/>
                    <a:gd name="connsiteY522" fmla="*/ 263644 h 835143"/>
                    <a:gd name="connsiteX523" fmla="*/ 495113 w 854369"/>
                    <a:gd name="connsiteY523" fmla="*/ 265567 h 835143"/>
                    <a:gd name="connsiteX524" fmla="*/ 480655 w 854369"/>
                    <a:gd name="connsiteY524" fmla="*/ 272340 h 835143"/>
                    <a:gd name="connsiteX525" fmla="*/ 470761 w 854369"/>
                    <a:gd name="connsiteY525" fmla="*/ 275567 h 835143"/>
                    <a:gd name="connsiteX526" fmla="*/ 457893 w 854369"/>
                    <a:gd name="connsiteY526" fmla="*/ 281842 h 835143"/>
                    <a:gd name="connsiteX527" fmla="*/ 433623 w 854369"/>
                    <a:gd name="connsiteY527" fmla="*/ 291923 h 835143"/>
                    <a:gd name="connsiteX528" fmla="*/ 430738 w 854369"/>
                    <a:gd name="connsiteY528" fmla="*/ 293945 h 835143"/>
                    <a:gd name="connsiteX529" fmla="*/ 429409 w 854369"/>
                    <a:gd name="connsiteY529" fmla="*/ 295395 h 835143"/>
                    <a:gd name="connsiteX530" fmla="*/ 422556 w 854369"/>
                    <a:gd name="connsiteY530" fmla="*/ 306829 h 835143"/>
                    <a:gd name="connsiteX531" fmla="*/ 419948 w 854369"/>
                    <a:gd name="connsiteY531" fmla="*/ 309478 h 835143"/>
                    <a:gd name="connsiteX532" fmla="*/ 413640 w 854369"/>
                    <a:gd name="connsiteY532" fmla="*/ 312176 h 835143"/>
                    <a:gd name="connsiteX533" fmla="*/ 405645 w 854369"/>
                    <a:gd name="connsiteY533" fmla="*/ 312852 h 835143"/>
                    <a:gd name="connsiteX534" fmla="*/ 403412 w 854369"/>
                    <a:gd name="connsiteY534" fmla="*/ 313610 h 835143"/>
                    <a:gd name="connsiteX535" fmla="*/ 403053 w 854369"/>
                    <a:gd name="connsiteY535" fmla="*/ 317546 h 835143"/>
                    <a:gd name="connsiteX536" fmla="*/ 400184 w 854369"/>
                    <a:gd name="connsiteY536" fmla="*/ 324082 h 835143"/>
                    <a:gd name="connsiteX537" fmla="*/ 398783 w 854369"/>
                    <a:gd name="connsiteY537" fmla="*/ 328475 h 835143"/>
                    <a:gd name="connsiteX538" fmla="*/ 396876 w 854369"/>
                    <a:gd name="connsiteY538" fmla="*/ 340202 h 835143"/>
                    <a:gd name="connsiteX539" fmla="*/ 396444 w 854369"/>
                    <a:gd name="connsiteY539" fmla="*/ 341376 h 835143"/>
                    <a:gd name="connsiteX540" fmla="*/ 394985 w 854369"/>
                    <a:gd name="connsiteY540" fmla="*/ 343544 h 835143"/>
                    <a:gd name="connsiteX541" fmla="*/ 392507 w 854369"/>
                    <a:gd name="connsiteY541" fmla="*/ 345891 h 835143"/>
                    <a:gd name="connsiteX542" fmla="*/ 384798 w 854369"/>
                    <a:gd name="connsiteY542" fmla="*/ 348597 h 835143"/>
                    <a:gd name="connsiteX543" fmla="*/ 379101 w 854369"/>
                    <a:gd name="connsiteY543" fmla="*/ 350015 h 835143"/>
                    <a:gd name="connsiteX544" fmla="*/ 371359 w 854369"/>
                    <a:gd name="connsiteY544" fmla="*/ 351196 h 835143"/>
                    <a:gd name="connsiteX545" fmla="*/ 369509 w 854369"/>
                    <a:gd name="connsiteY545" fmla="*/ 350390 h 835143"/>
                    <a:gd name="connsiteX546" fmla="*/ 367643 w 854369"/>
                    <a:gd name="connsiteY546" fmla="*/ 348531 h 835143"/>
                    <a:gd name="connsiteX547" fmla="*/ 365703 w 854369"/>
                    <a:gd name="connsiteY547" fmla="*/ 348368 h 835143"/>
                    <a:gd name="connsiteX548" fmla="*/ 364497 w 854369"/>
                    <a:gd name="connsiteY548" fmla="*/ 348670 h 835143"/>
                    <a:gd name="connsiteX549" fmla="*/ 354391 w 854369"/>
                    <a:gd name="connsiteY549" fmla="*/ 356787 h 835143"/>
                    <a:gd name="connsiteX550" fmla="*/ 344644 w 854369"/>
                    <a:gd name="connsiteY550" fmla="*/ 360063 h 835143"/>
                    <a:gd name="connsiteX551" fmla="*/ 340423 w 854369"/>
                    <a:gd name="connsiteY551" fmla="*/ 363030 h 835143"/>
                    <a:gd name="connsiteX552" fmla="*/ 337440 w 854369"/>
                    <a:gd name="connsiteY552" fmla="*/ 364415 h 835143"/>
                    <a:gd name="connsiteX553" fmla="*/ 335052 w 854369"/>
                    <a:gd name="connsiteY553" fmla="*/ 364839 h 835143"/>
                    <a:gd name="connsiteX554" fmla="*/ 331107 w 854369"/>
                    <a:gd name="connsiteY554" fmla="*/ 364578 h 835143"/>
                    <a:gd name="connsiteX555" fmla="*/ 328255 w 854369"/>
                    <a:gd name="connsiteY555" fmla="*/ 363242 h 835143"/>
                    <a:gd name="connsiteX556" fmla="*/ 325680 w 854369"/>
                    <a:gd name="connsiteY556" fmla="*/ 361164 h 835143"/>
                    <a:gd name="connsiteX557" fmla="*/ 323724 w 854369"/>
                    <a:gd name="connsiteY557" fmla="*/ 358914 h 835143"/>
                    <a:gd name="connsiteX558" fmla="*/ 318720 w 854369"/>
                    <a:gd name="connsiteY558" fmla="*/ 349656 h 835143"/>
                    <a:gd name="connsiteX559" fmla="*/ 316568 w 854369"/>
                    <a:gd name="connsiteY559" fmla="*/ 346470 h 835143"/>
                    <a:gd name="connsiteX560" fmla="*/ 314743 w 854369"/>
                    <a:gd name="connsiteY560" fmla="*/ 344889 h 835143"/>
                    <a:gd name="connsiteX561" fmla="*/ 309837 w 854369"/>
                    <a:gd name="connsiteY561" fmla="*/ 339224 h 835143"/>
                    <a:gd name="connsiteX562" fmla="*/ 308484 w 854369"/>
                    <a:gd name="connsiteY562" fmla="*/ 338092 h 835143"/>
                    <a:gd name="connsiteX563" fmla="*/ 289829 w 854369"/>
                    <a:gd name="connsiteY563" fmla="*/ 330895 h 835143"/>
                    <a:gd name="connsiteX564" fmla="*/ 280750 w 854369"/>
                    <a:gd name="connsiteY564" fmla="*/ 326861 h 835143"/>
                    <a:gd name="connsiteX565" fmla="*/ 278558 w 854369"/>
                    <a:gd name="connsiteY565" fmla="*/ 325435 h 835143"/>
                    <a:gd name="connsiteX566" fmla="*/ 276520 w 854369"/>
                    <a:gd name="connsiteY566" fmla="*/ 324604 h 835143"/>
                    <a:gd name="connsiteX567" fmla="*/ 264850 w 854369"/>
                    <a:gd name="connsiteY567" fmla="*/ 325158 h 835143"/>
                    <a:gd name="connsiteX568" fmla="*/ 263310 w 854369"/>
                    <a:gd name="connsiteY568" fmla="*/ 324946 h 835143"/>
                    <a:gd name="connsiteX569" fmla="*/ 262910 w 854369"/>
                    <a:gd name="connsiteY569" fmla="*/ 324351 h 835143"/>
                    <a:gd name="connsiteX570" fmla="*/ 264288 w 854369"/>
                    <a:gd name="connsiteY570" fmla="*/ 322224 h 835143"/>
                    <a:gd name="connsiteX571" fmla="*/ 264834 w 854369"/>
                    <a:gd name="connsiteY571" fmla="*/ 320888 h 835143"/>
                    <a:gd name="connsiteX572" fmla="*/ 265005 w 854369"/>
                    <a:gd name="connsiteY572" fmla="*/ 319575 h 835143"/>
                    <a:gd name="connsiteX573" fmla="*/ 264826 w 854369"/>
                    <a:gd name="connsiteY573" fmla="*/ 317432 h 835143"/>
                    <a:gd name="connsiteX574" fmla="*/ 264972 w 854369"/>
                    <a:gd name="connsiteY574" fmla="*/ 317057 h 835143"/>
                    <a:gd name="connsiteX575" fmla="*/ 269406 w 854369"/>
                    <a:gd name="connsiteY575" fmla="*/ 314963 h 835143"/>
                    <a:gd name="connsiteX576" fmla="*/ 268689 w 854369"/>
                    <a:gd name="connsiteY576" fmla="*/ 314531 h 835143"/>
                    <a:gd name="connsiteX577" fmla="*/ 268167 w 854369"/>
                    <a:gd name="connsiteY577" fmla="*/ 313716 h 835143"/>
                    <a:gd name="connsiteX578" fmla="*/ 267841 w 854369"/>
                    <a:gd name="connsiteY578" fmla="*/ 312518 h 835143"/>
                    <a:gd name="connsiteX579" fmla="*/ 268322 w 854369"/>
                    <a:gd name="connsiteY579" fmla="*/ 311670 h 835143"/>
                    <a:gd name="connsiteX580" fmla="*/ 269609 w 854369"/>
                    <a:gd name="connsiteY580" fmla="*/ 311189 h 835143"/>
                    <a:gd name="connsiteX581" fmla="*/ 271174 w 854369"/>
                    <a:gd name="connsiteY581" fmla="*/ 309242 h 835143"/>
                    <a:gd name="connsiteX582" fmla="*/ 273024 w 854369"/>
                    <a:gd name="connsiteY582" fmla="*/ 305827 h 835143"/>
                    <a:gd name="connsiteX583" fmla="*/ 274393 w 854369"/>
                    <a:gd name="connsiteY583" fmla="*/ 303912 h 835143"/>
                    <a:gd name="connsiteX584" fmla="*/ 276292 w 854369"/>
                    <a:gd name="connsiteY584" fmla="*/ 302673 h 835143"/>
                    <a:gd name="connsiteX585" fmla="*/ 279707 w 854369"/>
                    <a:gd name="connsiteY585" fmla="*/ 299364 h 835143"/>
                    <a:gd name="connsiteX586" fmla="*/ 282136 w 854369"/>
                    <a:gd name="connsiteY586" fmla="*/ 298028 h 835143"/>
                    <a:gd name="connsiteX587" fmla="*/ 284198 w 854369"/>
                    <a:gd name="connsiteY587" fmla="*/ 296349 h 835143"/>
                    <a:gd name="connsiteX588" fmla="*/ 284263 w 854369"/>
                    <a:gd name="connsiteY588" fmla="*/ 295591 h 835143"/>
                    <a:gd name="connsiteX589" fmla="*/ 283415 w 854369"/>
                    <a:gd name="connsiteY589" fmla="*/ 295004 h 835143"/>
                    <a:gd name="connsiteX590" fmla="*/ 283122 w 854369"/>
                    <a:gd name="connsiteY590" fmla="*/ 293733 h 835143"/>
                    <a:gd name="connsiteX591" fmla="*/ 283505 w 854369"/>
                    <a:gd name="connsiteY591" fmla="*/ 289731 h 835143"/>
                    <a:gd name="connsiteX592" fmla="*/ 283488 w 854369"/>
                    <a:gd name="connsiteY592" fmla="*/ 287669 h 835143"/>
                    <a:gd name="connsiteX593" fmla="*/ 283863 w 854369"/>
                    <a:gd name="connsiteY593" fmla="*/ 285950 h 835143"/>
                    <a:gd name="connsiteX594" fmla="*/ 284621 w 854369"/>
                    <a:gd name="connsiteY594" fmla="*/ 284572 h 835143"/>
                    <a:gd name="connsiteX595" fmla="*/ 285583 w 854369"/>
                    <a:gd name="connsiteY595" fmla="*/ 283651 h 835143"/>
                    <a:gd name="connsiteX596" fmla="*/ 294222 w 854369"/>
                    <a:gd name="connsiteY596" fmla="*/ 280742 h 835143"/>
                    <a:gd name="connsiteX597" fmla="*/ 294662 w 854369"/>
                    <a:gd name="connsiteY597" fmla="*/ 279903 h 835143"/>
                    <a:gd name="connsiteX598" fmla="*/ 294760 w 854369"/>
                    <a:gd name="connsiteY598" fmla="*/ 278933 h 835143"/>
                    <a:gd name="connsiteX599" fmla="*/ 294531 w 854369"/>
                    <a:gd name="connsiteY599" fmla="*/ 277841 h 835143"/>
                    <a:gd name="connsiteX600" fmla="*/ 294091 w 854369"/>
                    <a:gd name="connsiteY600" fmla="*/ 277066 h 835143"/>
                    <a:gd name="connsiteX601" fmla="*/ 292722 w 854369"/>
                    <a:gd name="connsiteY601" fmla="*/ 276431 h 835143"/>
                    <a:gd name="connsiteX602" fmla="*/ 290416 w 854369"/>
                    <a:gd name="connsiteY602" fmla="*/ 276260 h 835143"/>
                    <a:gd name="connsiteX603" fmla="*/ 288411 w 854369"/>
                    <a:gd name="connsiteY603" fmla="*/ 274589 h 835143"/>
                    <a:gd name="connsiteX604" fmla="*/ 287930 w 854369"/>
                    <a:gd name="connsiteY604" fmla="*/ 273774 h 835143"/>
                    <a:gd name="connsiteX605" fmla="*/ 288729 w 854369"/>
                    <a:gd name="connsiteY605" fmla="*/ 271484 h 835143"/>
                    <a:gd name="connsiteX606" fmla="*/ 292633 w 854369"/>
                    <a:gd name="connsiteY606" fmla="*/ 267825 h 835143"/>
                    <a:gd name="connsiteX607" fmla="*/ 293945 w 854369"/>
                    <a:gd name="connsiteY607" fmla="*/ 266015 h 835143"/>
                    <a:gd name="connsiteX608" fmla="*/ 298158 w 854369"/>
                    <a:gd name="connsiteY608" fmla="*/ 257849 h 835143"/>
                    <a:gd name="connsiteX609" fmla="*/ 305851 w 854369"/>
                    <a:gd name="connsiteY609" fmla="*/ 252788 h 835143"/>
                    <a:gd name="connsiteX610" fmla="*/ 307930 w 854369"/>
                    <a:gd name="connsiteY610" fmla="*/ 247336 h 835143"/>
                    <a:gd name="connsiteX611" fmla="*/ 313708 w 854369"/>
                    <a:gd name="connsiteY611" fmla="*/ 241542 h 835143"/>
                    <a:gd name="connsiteX612" fmla="*/ 313691 w 854369"/>
                    <a:gd name="connsiteY612" fmla="*/ 240735 h 835143"/>
                    <a:gd name="connsiteX613" fmla="*/ 311825 w 854369"/>
                    <a:gd name="connsiteY613" fmla="*/ 238755 h 835143"/>
                    <a:gd name="connsiteX614" fmla="*/ 306495 w 854369"/>
                    <a:gd name="connsiteY614" fmla="*/ 237385 h 835143"/>
                    <a:gd name="connsiteX615" fmla="*/ 303928 w 854369"/>
                    <a:gd name="connsiteY615" fmla="*/ 235275 h 835143"/>
                    <a:gd name="connsiteX616" fmla="*/ 302208 w 854369"/>
                    <a:gd name="connsiteY616" fmla="*/ 232870 h 835143"/>
                    <a:gd name="connsiteX617" fmla="*/ 294409 w 854369"/>
                    <a:gd name="connsiteY617" fmla="*/ 219008 h 835143"/>
                    <a:gd name="connsiteX618" fmla="*/ 293073 w 854369"/>
                    <a:gd name="connsiteY618" fmla="*/ 217973 h 835143"/>
                    <a:gd name="connsiteX619" fmla="*/ 292681 w 854369"/>
                    <a:gd name="connsiteY619" fmla="*/ 216359 h 835143"/>
                    <a:gd name="connsiteX620" fmla="*/ 291084 w 854369"/>
                    <a:gd name="connsiteY620" fmla="*/ 215291 h 835143"/>
                    <a:gd name="connsiteX621" fmla="*/ 291410 w 854369"/>
                    <a:gd name="connsiteY621" fmla="*/ 214289 h 835143"/>
                    <a:gd name="connsiteX622" fmla="*/ 321866 w 854369"/>
                    <a:gd name="connsiteY622" fmla="*/ 210141 h 835143"/>
                    <a:gd name="connsiteX623" fmla="*/ 342827 w 854369"/>
                    <a:gd name="connsiteY623" fmla="*/ 208812 h 835143"/>
                    <a:gd name="connsiteX624" fmla="*/ 364538 w 854369"/>
                    <a:gd name="connsiteY624" fmla="*/ 205202 h 835143"/>
                    <a:gd name="connsiteX625" fmla="*/ 370585 w 854369"/>
                    <a:gd name="connsiteY625" fmla="*/ 204990 h 835143"/>
                    <a:gd name="connsiteX626" fmla="*/ 375271 w 854369"/>
                    <a:gd name="connsiteY626" fmla="*/ 205707 h 835143"/>
                    <a:gd name="connsiteX627" fmla="*/ 379892 w 854369"/>
                    <a:gd name="connsiteY627" fmla="*/ 207582 h 835143"/>
                    <a:gd name="connsiteX628" fmla="*/ 386020 w 854369"/>
                    <a:gd name="connsiteY628" fmla="*/ 210858 h 835143"/>
                    <a:gd name="connsiteX629" fmla="*/ 394137 w 854369"/>
                    <a:gd name="connsiteY629" fmla="*/ 214061 h 835143"/>
                    <a:gd name="connsiteX630" fmla="*/ 409288 w 854369"/>
                    <a:gd name="connsiteY630" fmla="*/ 218731 h 835143"/>
                    <a:gd name="connsiteX631" fmla="*/ 418733 w 854369"/>
                    <a:gd name="connsiteY631" fmla="*/ 219717 h 835143"/>
                    <a:gd name="connsiteX632" fmla="*/ 414944 w 854369"/>
                    <a:gd name="connsiteY632" fmla="*/ 223441 h 835143"/>
                    <a:gd name="connsiteX633" fmla="*/ 414414 w 854369"/>
                    <a:gd name="connsiteY633" fmla="*/ 224558 h 835143"/>
                    <a:gd name="connsiteX634" fmla="*/ 414438 w 854369"/>
                    <a:gd name="connsiteY634" fmla="*/ 225389 h 835143"/>
                    <a:gd name="connsiteX635" fmla="*/ 543775 w 854369"/>
                    <a:gd name="connsiteY635" fmla="*/ 296121 h 835143"/>
                    <a:gd name="connsiteX636" fmla="*/ 545347 w 854369"/>
                    <a:gd name="connsiteY636" fmla="*/ 296707 h 835143"/>
                    <a:gd name="connsiteX637" fmla="*/ 548216 w 854369"/>
                    <a:gd name="connsiteY637" fmla="*/ 296227 h 835143"/>
                    <a:gd name="connsiteX638" fmla="*/ 552381 w 854369"/>
                    <a:gd name="connsiteY638" fmla="*/ 294694 h 835143"/>
                    <a:gd name="connsiteX639" fmla="*/ 557751 w 854369"/>
                    <a:gd name="connsiteY639" fmla="*/ 293423 h 835143"/>
                    <a:gd name="connsiteX640" fmla="*/ 564336 w 854369"/>
                    <a:gd name="connsiteY640" fmla="*/ 292437 h 835143"/>
                    <a:gd name="connsiteX641" fmla="*/ 566072 w 854369"/>
                    <a:gd name="connsiteY641" fmla="*/ 293635 h 835143"/>
                    <a:gd name="connsiteX642" fmla="*/ 567164 w 854369"/>
                    <a:gd name="connsiteY642" fmla="*/ 293390 h 835143"/>
                    <a:gd name="connsiteX643" fmla="*/ 569104 w 854369"/>
                    <a:gd name="connsiteY643" fmla="*/ 291443 h 835143"/>
                    <a:gd name="connsiteX644" fmla="*/ 569446 w 854369"/>
                    <a:gd name="connsiteY644" fmla="*/ 290147 h 835143"/>
                    <a:gd name="connsiteX645" fmla="*/ 569202 w 854369"/>
                    <a:gd name="connsiteY645" fmla="*/ 288704 h 835143"/>
                    <a:gd name="connsiteX646" fmla="*/ 569308 w 854369"/>
                    <a:gd name="connsiteY646" fmla="*/ 285542 h 835143"/>
                    <a:gd name="connsiteX647" fmla="*/ 570335 w 854369"/>
                    <a:gd name="connsiteY647" fmla="*/ 283635 h 835143"/>
                    <a:gd name="connsiteX648" fmla="*/ 574238 w 854369"/>
                    <a:gd name="connsiteY648" fmla="*/ 279634 h 835143"/>
                    <a:gd name="connsiteX649" fmla="*/ 576325 w 854369"/>
                    <a:gd name="connsiteY649" fmla="*/ 278191 h 835143"/>
                    <a:gd name="connsiteX650" fmla="*/ 579666 w 854369"/>
                    <a:gd name="connsiteY650" fmla="*/ 277523 h 835143"/>
                    <a:gd name="connsiteX651" fmla="*/ 587604 w 854369"/>
                    <a:gd name="connsiteY651" fmla="*/ 277955 h 835143"/>
                    <a:gd name="connsiteX652" fmla="*/ 595036 w 854369"/>
                    <a:gd name="connsiteY652" fmla="*/ 280237 h 835143"/>
                    <a:gd name="connsiteX653" fmla="*/ 605101 w 854369"/>
                    <a:gd name="connsiteY653" fmla="*/ 282486 h 835143"/>
                    <a:gd name="connsiteX654" fmla="*/ 619803 w 854369"/>
                    <a:gd name="connsiteY654" fmla="*/ 288126 h 835143"/>
                    <a:gd name="connsiteX655" fmla="*/ 624408 w 854369"/>
                    <a:gd name="connsiteY655" fmla="*/ 290538 h 835143"/>
                    <a:gd name="connsiteX656" fmla="*/ 624889 w 854369"/>
                    <a:gd name="connsiteY656" fmla="*/ 292624 h 835143"/>
                    <a:gd name="connsiteX657" fmla="*/ 622281 w 854369"/>
                    <a:gd name="connsiteY657" fmla="*/ 297066 h 835143"/>
                    <a:gd name="connsiteX658" fmla="*/ 615949 w 854369"/>
                    <a:gd name="connsiteY658" fmla="*/ 303349 h 835143"/>
                    <a:gd name="connsiteX659" fmla="*/ 610855 w 854369"/>
                    <a:gd name="connsiteY659" fmla="*/ 305615 h 835143"/>
                    <a:gd name="connsiteX660" fmla="*/ 608899 w 854369"/>
                    <a:gd name="connsiteY660" fmla="*/ 307009 h 835143"/>
                    <a:gd name="connsiteX661" fmla="*/ 612208 w 854369"/>
                    <a:gd name="connsiteY661" fmla="*/ 307962 h 835143"/>
                    <a:gd name="connsiteX662" fmla="*/ 614359 w 854369"/>
                    <a:gd name="connsiteY662" fmla="*/ 309576 h 835143"/>
                    <a:gd name="connsiteX663" fmla="*/ 617619 w 854369"/>
                    <a:gd name="connsiteY663" fmla="*/ 307245 h 835143"/>
                    <a:gd name="connsiteX664" fmla="*/ 619999 w 854369"/>
                    <a:gd name="connsiteY664" fmla="*/ 304629 h 835143"/>
                    <a:gd name="connsiteX665" fmla="*/ 623381 w 854369"/>
                    <a:gd name="connsiteY665" fmla="*/ 302469 h 835143"/>
                    <a:gd name="connsiteX666" fmla="*/ 624539 w 854369"/>
                    <a:gd name="connsiteY666" fmla="*/ 302274 h 835143"/>
                    <a:gd name="connsiteX667" fmla="*/ 624816 w 854369"/>
                    <a:gd name="connsiteY667" fmla="*/ 302738 h 835143"/>
                    <a:gd name="connsiteX668" fmla="*/ 624229 w 854369"/>
                    <a:gd name="connsiteY668" fmla="*/ 303855 h 835143"/>
                    <a:gd name="connsiteX669" fmla="*/ 623976 w 854369"/>
                    <a:gd name="connsiteY669" fmla="*/ 304939 h 835143"/>
                    <a:gd name="connsiteX670" fmla="*/ 624066 w 854369"/>
                    <a:gd name="connsiteY670" fmla="*/ 306006 h 835143"/>
                    <a:gd name="connsiteX671" fmla="*/ 624457 w 854369"/>
                    <a:gd name="connsiteY671" fmla="*/ 306650 h 835143"/>
                    <a:gd name="connsiteX672" fmla="*/ 626519 w 854369"/>
                    <a:gd name="connsiteY672" fmla="*/ 306984 h 835143"/>
                    <a:gd name="connsiteX673" fmla="*/ 627635 w 854369"/>
                    <a:gd name="connsiteY673" fmla="*/ 306585 h 835143"/>
                    <a:gd name="connsiteX674" fmla="*/ 632126 w 854369"/>
                    <a:gd name="connsiteY674" fmla="*/ 303520 h 835143"/>
                    <a:gd name="connsiteX675" fmla="*/ 636527 w 854369"/>
                    <a:gd name="connsiteY675" fmla="*/ 298834 h 835143"/>
                    <a:gd name="connsiteX676" fmla="*/ 643201 w 854369"/>
                    <a:gd name="connsiteY676" fmla="*/ 295803 h 835143"/>
                    <a:gd name="connsiteX677" fmla="*/ 645019 w 854369"/>
                    <a:gd name="connsiteY677" fmla="*/ 294254 h 835143"/>
                    <a:gd name="connsiteX678" fmla="*/ 650830 w 854369"/>
                    <a:gd name="connsiteY678" fmla="*/ 292967 h 835143"/>
                    <a:gd name="connsiteX679" fmla="*/ 650756 w 854369"/>
                    <a:gd name="connsiteY679" fmla="*/ 292054 h 835143"/>
                    <a:gd name="connsiteX680" fmla="*/ 651025 w 854369"/>
                    <a:gd name="connsiteY680" fmla="*/ 288468 h 835143"/>
                    <a:gd name="connsiteX681" fmla="*/ 648996 w 854369"/>
                    <a:gd name="connsiteY681" fmla="*/ 286936 h 835143"/>
                    <a:gd name="connsiteX682" fmla="*/ 642183 w 854369"/>
                    <a:gd name="connsiteY682" fmla="*/ 283733 h 835143"/>
                    <a:gd name="connsiteX683" fmla="*/ 638817 w 854369"/>
                    <a:gd name="connsiteY683" fmla="*/ 279878 h 835143"/>
                    <a:gd name="connsiteX684" fmla="*/ 639518 w 854369"/>
                    <a:gd name="connsiteY684" fmla="*/ 276936 h 835143"/>
                    <a:gd name="connsiteX685" fmla="*/ 643275 w 854369"/>
                    <a:gd name="connsiteY685" fmla="*/ 277368 h 835143"/>
                    <a:gd name="connsiteX686" fmla="*/ 653560 w 854369"/>
                    <a:gd name="connsiteY686" fmla="*/ 277686 h 835143"/>
                    <a:gd name="connsiteX687" fmla="*/ 655703 w 854369"/>
                    <a:gd name="connsiteY687" fmla="*/ 278077 h 835143"/>
                    <a:gd name="connsiteX688" fmla="*/ 655874 w 854369"/>
                    <a:gd name="connsiteY688" fmla="*/ 278159 h 835143"/>
                    <a:gd name="connsiteX689" fmla="*/ 655882 w 854369"/>
                    <a:gd name="connsiteY689" fmla="*/ 290465 h 835143"/>
                    <a:gd name="connsiteX690" fmla="*/ 655891 w 854369"/>
                    <a:gd name="connsiteY690" fmla="*/ 315444 h 835143"/>
                    <a:gd name="connsiteX691" fmla="*/ 655891 w 854369"/>
                    <a:gd name="connsiteY691" fmla="*/ 340243 h 835143"/>
                    <a:gd name="connsiteX692" fmla="*/ 655899 w 854369"/>
                    <a:gd name="connsiteY692" fmla="*/ 364872 h 835143"/>
                    <a:gd name="connsiteX693" fmla="*/ 655899 w 854369"/>
                    <a:gd name="connsiteY693" fmla="*/ 389345 h 835143"/>
                    <a:gd name="connsiteX694" fmla="*/ 655907 w 854369"/>
                    <a:gd name="connsiteY694" fmla="*/ 413648 h 835143"/>
                    <a:gd name="connsiteX695" fmla="*/ 648156 w 854369"/>
                    <a:gd name="connsiteY695" fmla="*/ 413648 h 835143"/>
                    <a:gd name="connsiteX696" fmla="*/ 640406 w 854369"/>
                    <a:gd name="connsiteY696" fmla="*/ 413648 h 835143"/>
                    <a:gd name="connsiteX697" fmla="*/ 632656 w 854369"/>
                    <a:gd name="connsiteY697" fmla="*/ 413648 h 835143"/>
                    <a:gd name="connsiteX698" fmla="*/ 624905 w 854369"/>
                    <a:gd name="connsiteY698" fmla="*/ 413648 h 835143"/>
                    <a:gd name="connsiteX699" fmla="*/ 617155 w 854369"/>
                    <a:gd name="connsiteY699" fmla="*/ 413648 h 835143"/>
                    <a:gd name="connsiteX700" fmla="*/ 609404 w 854369"/>
                    <a:gd name="connsiteY700" fmla="*/ 413648 h 835143"/>
                    <a:gd name="connsiteX701" fmla="*/ 601654 w 854369"/>
                    <a:gd name="connsiteY701" fmla="*/ 413648 h 835143"/>
                    <a:gd name="connsiteX702" fmla="*/ 593904 w 854369"/>
                    <a:gd name="connsiteY702" fmla="*/ 413648 h 835143"/>
                    <a:gd name="connsiteX703" fmla="*/ 593904 w 854369"/>
                    <a:gd name="connsiteY703" fmla="*/ 417641 h 835143"/>
                    <a:gd name="connsiteX704" fmla="*/ 590179 w 854369"/>
                    <a:gd name="connsiteY704" fmla="*/ 421072 h 835143"/>
                    <a:gd name="connsiteX705" fmla="*/ 587392 w 854369"/>
                    <a:gd name="connsiteY705" fmla="*/ 421089 h 835143"/>
                    <a:gd name="connsiteX706" fmla="*/ 584597 w 854369"/>
                    <a:gd name="connsiteY706" fmla="*/ 421113 h 835143"/>
                    <a:gd name="connsiteX707" fmla="*/ 584523 w 854369"/>
                    <a:gd name="connsiteY707" fmla="*/ 417625 h 835143"/>
                    <a:gd name="connsiteX708" fmla="*/ 584450 w 854369"/>
                    <a:gd name="connsiteY708" fmla="*/ 413623 h 835143"/>
                    <a:gd name="connsiteX709" fmla="*/ 570905 w 854369"/>
                    <a:gd name="connsiteY709" fmla="*/ 413632 h 835143"/>
                    <a:gd name="connsiteX710" fmla="*/ 557808 w 854369"/>
                    <a:gd name="connsiteY710" fmla="*/ 413623 h 835143"/>
                    <a:gd name="connsiteX711" fmla="*/ 544712 w 854369"/>
                    <a:gd name="connsiteY711" fmla="*/ 413623 h 835143"/>
                    <a:gd name="connsiteX712" fmla="*/ 531615 w 854369"/>
                    <a:gd name="connsiteY712" fmla="*/ 413615 h 835143"/>
                    <a:gd name="connsiteX713" fmla="*/ 518519 w 854369"/>
                    <a:gd name="connsiteY713" fmla="*/ 413607 h 835143"/>
                    <a:gd name="connsiteX714" fmla="*/ 505422 w 854369"/>
                    <a:gd name="connsiteY714" fmla="*/ 413607 h 835143"/>
                    <a:gd name="connsiteX715" fmla="*/ 492325 w 854369"/>
                    <a:gd name="connsiteY715" fmla="*/ 413599 h 835143"/>
                    <a:gd name="connsiteX716" fmla="*/ 480924 w 854369"/>
                    <a:gd name="connsiteY716" fmla="*/ 413599 h 835143"/>
                    <a:gd name="connsiteX717" fmla="*/ 480427 w 854369"/>
                    <a:gd name="connsiteY717" fmla="*/ 418644 h 835143"/>
                    <a:gd name="connsiteX718" fmla="*/ 483589 w 854369"/>
                    <a:gd name="connsiteY718" fmla="*/ 421512 h 835143"/>
                    <a:gd name="connsiteX719" fmla="*/ 486743 w 854369"/>
                    <a:gd name="connsiteY719" fmla="*/ 424381 h 835143"/>
                    <a:gd name="connsiteX720" fmla="*/ 489897 w 854369"/>
                    <a:gd name="connsiteY720" fmla="*/ 427250 h 835143"/>
                    <a:gd name="connsiteX721" fmla="*/ 490964 w 854369"/>
                    <a:gd name="connsiteY721" fmla="*/ 429279 h 835143"/>
                    <a:gd name="connsiteX722" fmla="*/ 485871 w 854369"/>
                    <a:gd name="connsiteY722" fmla="*/ 429287 h 835143"/>
                    <a:gd name="connsiteX723" fmla="*/ 482481 w 854369"/>
                    <a:gd name="connsiteY723" fmla="*/ 426190 h 835143"/>
                    <a:gd name="connsiteX724" fmla="*/ 479718 w 854369"/>
                    <a:gd name="connsiteY724" fmla="*/ 422417 h 835143"/>
                    <a:gd name="connsiteX725" fmla="*/ 479270 w 854369"/>
                    <a:gd name="connsiteY725" fmla="*/ 421455 h 835143"/>
                    <a:gd name="connsiteX726" fmla="*/ 478609 w 854369"/>
                    <a:gd name="connsiteY726" fmla="*/ 418676 h 835143"/>
                    <a:gd name="connsiteX727" fmla="*/ 477737 w 854369"/>
                    <a:gd name="connsiteY727" fmla="*/ 414096 h 835143"/>
                    <a:gd name="connsiteX728" fmla="*/ 477452 w 854369"/>
                    <a:gd name="connsiteY728" fmla="*/ 411284 h 835143"/>
                    <a:gd name="connsiteX729" fmla="*/ 478267 w 854369"/>
                    <a:gd name="connsiteY729" fmla="*/ 409573 h 835143"/>
                    <a:gd name="connsiteX730" fmla="*/ 478943 w 854369"/>
                    <a:gd name="connsiteY730" fmla="*/ 409231 h 835143"/>
                    <a:gd name="connsiteX731" fmla="*/ 493377 w 854369"/>
                    <a:gd name="connsiteY731" fmla="*/ 405881 h 835143"/>
                    <a:gd name="connsiteX732" fmla="*/ 518788 w 854369"/>
                    <a:gd name="connsiteY732" fmla="*/ 402206 h 835143"/>
                    <a:gd name="connsiteX733" fmla="*/ 542022 w 854369"/>
                    <a:gd name="connsiteY733" fmla="*/ 399728 h 835143"/>
                    <a:gd name="connsiteX734" fmla="*/ 552568 w 854369"/>
                    <a:gd name="connsiteY734" fmla="*/ 399948 h 835143"/>
                    <a:gd name="connsiteX735" fmla="*/ 558778 w 854369"/>
                    <a:gd name="connsiteY735" fmla="*/ 401114 h 835143"/>
                    <a:gd name="connsiteX736" fmla="*/ 565013 w 854369"/>
                    <a:gd name="connsiteY736" fmla="*/ 401643 h 835143"/>
                    <a:gd name="connsiteX737" fmla="*/ 576292 w 854369"/>
                    <a:gd name="connsiteY737" fmla="*/ 401904 h 835143"/>
                    <a:gd name="connsiteX738" fmla="*/ 590497 w 854369"/>
                    <a:gd name="connsiteY738" fmla="*/ 403632 h 835143"/>
                    <a:gd name="connsiteX739" fmla="*/ 593358 w 854369"/>
                    <a:gd name="connsiteY739" fmla="*/ 403477 h 835143"/>
                    <a:gd name="connsiteX740" fmla="*/ 599723 w 854369"/>
                    <a:gd name="connsiteY740" fmla="*/ 402312 h 835143"/>
                    <a:gd name="connsiteX741" fmla="*/ 601613 w 854369"/>
                    <a:gd name="connsiteY741" fmla="*/ 401366 h 835143"/>
                    <a:gd name="connsiteX742" fmla="*/ 611678 w 854369"/>
                    <a:gd name="connsiteY742" fmla="*/ 401488 h 835143"/>
                    <a:gd name="connsiteX743" fmla="*/ 613634 w 854369"/>
                    <a:gd name="connsiteY743" fmla="*/ 400910 h 835143"/>
                    <a:gd name="connsiteX744" fmla="*/ 615435 w 854369"/>
                    <a:gd name="connsiteY744" fmla="*/ 399883 h 835143"/>
                    <a:gd name="connsiteX745" fmla="*/ 613121 w 854369"/>
                    <a:gd name="connsiteY745" fmla="*/ 397951 h 835143"/>
                    <a:gd name="connsiteX746" fmla="*/ 603488 w 854369"/>
                    <a:gd name="connsiteY746" fmla="*/ 393697 h 835143"/>
                    <a:gd name="connsiteX747" fmla="*/ 577906 w 854369"/>
                    <a:gd name="connsiteY747" fmla="*/ 386085 h 835143"/>
                    <a:gd name="connsiteX748" fmla="*/ 571671 w 854369"/>
                    <a:gd name="connsiteY748" fmla="*/ 384472 h 835143"/>
                    <a:gd name="connsiteX749" fmla="*/ 562731 w 854369"/>
                    <a:gd name="connsiteY749" fmla="*/ 382744 h 835143"/>
                    <a:gd name="connsiteX750" fmla="*/ 557556 w 854369"/>
                    <a:gd name="connsiteY750" fmla="*/ 382500 h 835143"/>
                    <a:gd name="connsiteX751" fmla="*/ 550955 w 854369"/>
                    <a:gd name="connsiteY751" fmla="*/ 383486 h 835143"/>
                    <a:gd name="connsiteX752" fmla="*/ 548493 w 854369"/>
                    <a:gd name="connsiteY752" fmla="*/ 383445 h 835143"/>
                    <a:gd name="connsiteX753" fmla="*/ 542014 w 854369"/>
                    <a:gd name="connsiteY753" fmla="*/ 384928 h 835143"/>
                    <a:gd name="connsiteX754" fmla="*/ 535861 w 854369"/>
                    <a:gd name="connsiteY754" fmla="*/ 385865 h 835143"/>
                    <a:gd name="connsiteX755" fmla="*/ 524191 w 854369"/>
                    <a:gd name="connsiteY755" fmla="*/ 386778 h 835143"/>
                    <a:gd name="connsiteX756" fmla="*/ 507337 w 854369"/>
                    <a:gd name="connsiteY756" fmla="*/ 387455 h 835143"/>
                    <a:gd name="connsiteX757" fmla="*/ 504974 w 854369"/>
                    <a:gd name="connsiteY757" fmla="*/ 387251 h 835143"/>
                    <a:gd name="connsiteX758" fmla="*/ 501502 w 854369"/>
                    <a:gd name="connsiteY758" fmla="*/ 386094 h 835143"/>
                    <a:gd name="connsiteX759" fmla="*/ 498984 w 854369"/>
                    <a:gd name="connsiteY759" fmla="*/ 385759 h 835143"/>
                    <a:gd name="connsiteX760" fmla="*/ 482481 w 854369"/>
                    <a:gd name="connsiteY760" fmla="*/ 386664 h 835143"/>
                    <a:gd name="connsiteX761" fmla="*/ 467738 w 854369"/>
                    <a:gd name="connsiteY761" fmla="*/ 385499 h 835143"/>
                    <a:gd name="connsiteX762" fmla="*/ 450941 w 854369"/>
                    <a:gd name="connsiteY762" fmla="*/ 373845 h 835143"/>
                    <a:gd name="connsiteX763" fmla="*/ 448162 w 854369"/>
                    <a:gd name="connsiteY763" fmla="*/ 370259 h 835143"/>
                    <a:gd name="connsiteX764" fmla="*/ 448749 w 854369"/>
                    <a:gd name="connsiteY764" fmla="*/ 368800 h 835143"/>
                    <a:gd name="connsiteX765" fmla="*/ 450819 w 854369"/>
                    <a:gd name="connsiteY765" fmla="*/ 367235 h 835143"/>
                    <a:gd name="connsiteX766" fmla="*/ 459140 w 854369"/>
                    <a:gd name="connsiteY766" fmla="*/ 362720 h 835143"/>
                    <a:gd name="connsiteX767" fmla="*/ 462114 w 854369"/>
                    <a:gd name="connsiteY767" fmla="*/ 361644 h 835143"/>
                    <a:gd name="connsiteX768" fmla="*/ 474518 w 854369"/>
                    <a:gd name="connsiteY768" fmla="*/ 359216 h 835143"/>
                    <a:gd name="connsiteX769" fmla="*/ 486881 w 854369"/>
                    <a:gd name="connsiteY769" fmla="*/ 356274 h 835143"/>
                    <a:gd name="connsiteX770" fmla="*/ 496653 w 854369"/>
                    <a:gd name="connsiteY770" fmla="*/ 353511 h 835143"/>
                    <a:gd name="connsiteX771" fmla="*/ 501445 w 854369"/>
                    <a:gd name="connsiteY771" fmla="*/ 352549 h 835143"/>
                    <a:gd name="connsiteX772" fmla="*/ 506066 w 854369"/>
                    <a:gd name="connsiteY772" fmla="*/ 352427 h 835143"/>
                    <a:gd name="connsiteX773" fmla="*/ 509798 w 854369"/>
                    <a:gd name="connsiteY773" fmla="*/ 351522 h 835143"/>
                    <a:gd name="connsiteX774" fmla="*/ 509041 w 854369"/>
                    <a:gd name="connsiteY774" fmla="*/ 350642 h 835143"/>
                    <a:gd name="connsiteX775" fmla="*/ 505984 w 854369"/>
                    <a:gd name="connsiteY775" fmla="*/ 349648 h 835143"/>
                    <a:gd name="connsiteX776" fmla="*/ 506017 w 854369"/>
                    <a:gd name="connsiteY776" fmla="*/ 348230 h 835143"/>
                    <a:gd name="connsiteX777" fmla="*/ 507598 w 854369"/>
                    <a:gd name="connsiteY777" fmla="*/ 347553 h 835143"/>
                    <a:gd name="connsiteX778" fmla="*/ 513710 w 854369"/>
                    <a:gd name="connsiteY778" fmla="*/ 346836 h 835143"/>
                    <a:gd name="connsiteX779" fmla="*/ 520206 w 854369"/>
                    <a:gd name="connsiteY779" fmla="*/ 347708 h 835143"/>
                    <a:gd name="connsiteX780" fmla="*/ 523449 w 854369"/>
                    <a:gd name="connsiteY780" fmla="*/ 347407 h 835143"/>
                    <a:gd name="connsiteX781" fmla="*/ 524378 w 854369"/>
                    <a:gd name="connsiteY781" fmla="*/ 346437 h 835143"/>
                    <a:gd name="connsiteX782" fmla="*/ 523523 w 854369"/>
                    <a:gd name="connsiteY782" fmla="*/ 345663 h 835143"/>
                    <a:gd name="connsiteX783" fmla="*/ 517361 w 854369"/>
                    <a:gd name="connsiteY783" fmla="*/ 344049 h 835143"/>
                    <a:gd name="connsiteX784" fmla="*/ 487762 w 854369"/>
                    <a:gd name="connsiteY784" fmla="*/ 348703 h 835143"/>
                    <a:gd name="connsiteX785" fmla="*/ 473948 w 854369"/>
                    <a:gd name="connsiteY785" fmla="*/ 349135 h 835143"/>
                    <a:gd name="connsiteX786" fmla="*/ 464372 w 854369"/>
                    <a:gd name="connsiteY786" fmla="*/ 351131 h 835143"/>
                    <a:gd name="connsiteX787" fmla="*/ 459107 w 854369"/>
                    <a:gd name="connsiteY787" fmla="*/ 351066 h 835143"/>
                    <a:gd name="connsiteX788" fmla="*/ 452840 w 854369"/>
                    <a:gd name="connsiteY788" fmla="*/ 349078 h 835143"/>
                    <a:gd name="connsiteX789" fmla="*/ 452000 w 854369"/>
                    <a:gd name="connsiteY789" fmla="*/ 348474 h 835143"/>
                    <a:gd name="connsiteX790" fmla="*/ 451886 w 854369"/>
                    <a:gd name="connsiteY790" fmla="*/ 347651 h 835143"/>
                    <a:gd name="connsiteX791" fmla="*/ 453818 w 854369"/>
                    <a:gd name="connsiteY791" fmla="*/ 344995 h 835143"/>
                    <a:gd name="connsiteX792" fmla="*/ 460517 w 854369"/>
                    <a:gd name="connsiteY792" fmla="*/ 343389 h 835143"/>
                    <a:gd name="connsiteX793" fmla="*/ 463891 w 854369"/>
                    <a:gd name="connsiteY793" fmla="*/ 338915 h 835143"/>
                    <a:gd name="connsiteX794" fmla="*/ 460289 w 854369"/>
                    <a:gd name="connsiteY794" fmla="*/ 338833 h 835143"/>
                    <a:gd name="connsiteX795" fmla="*/ 448284 w 854369"/>
                    <a:gd name="connsiteY795" fmla="*/ 339795 h 835143"/>
                    <a:gd name="connsiteX796" fmla="*/ 443036 w 854369"/>
                    <a:gd name="connsiteY796" fmla="*/ 339379 h 835143"/>
                    <a:gd name="connsiteX797" fmla="*/ 435954 w 854369"/>
                    <a:gd name="connsiteY797" fmla="*/ 337660 h 835143"/>
                    <a:gd name="connsiteX798" fmla="*/ 433875 w 854369"/>
                    <a:gd name="connsiteY798" fmla="*/ 335614 h 835143"/>
                    <a:gd name="connsiteX799" fmla="*/ 432995 w 854369"/>
                    <a:gd name="connsiteY799" fmla="*/ 334131 h 835143"/>
                    <a:gd name="connsiteX800" fmla="*/ 432849 w 854369"/>
                    <a:gd name="connsiteY800" fmla="*/ 332362 h 835143"/>
                    <a:gd name="connsiteX801" fmla="*/ 433077 w 854369"/>
                    <a:gd name="connsiteY801" fmla="*/ 327334 h 835143"/>
                    <a:gd name="connsiteX802" fmla="*/ 433688 w 854369"/>
                    <a:gd name="connsiteY802" fmla="*/ 324628 h 835143"/>
                    <a:gd name="connsiteX803" fmla="*/ 434063 w 854369"/>
                    <a:gd name="connsiteY803" fmla="*/ 324025 h 835143"/>
                    <a:gd name="connsiteX804" fmla="*/ 442865 w 854369"/>
                    <a:gd name="connsiteY804" fmla="*/ 315696 h 835143"/>
                    <a:gd name="connsiteX805" fmla="*/ 448349 w 854369"/>
                    <a:gd name="connsiteY805" fmla="*/ 313952 h 835143"/>
                    <a:gd name="connsiteX806" fmla="*/ 452204 w 854369"/>
                    <a:gd name="connsiteY806" fmla="*/ 311320 h 835143"/>
                    <a:gd name="connsiteX807" fmla="*/ 452351 w 854369"/>
                    <a:gd name="connsiteY807" fmla="*/ 310220 h 835143"/>
                    <a:gd name="connsiteX808" fmla="*/ 451397 w 854369"/>
                    <a:gd name="connsiteY808" fmla="*/ 309111 h 835143"/>
                    <a:gd name="connsiteX809" fmla="*/ 447820 w 854369"/>
                    <a:gd name="connsiteY809" fmla="*/ 306422 h 835143"/>
                    <a:gd name="connsiteX810" fmla="*/ 446377 w 854369"/>
                    <a:gd name="connsiteY810" fmla="*/ 305061 h 835143"/>
                    <a:gd name="connsiteX811" fmla="*/ 445570 w 854369"/>
                    <a:gd name="connsiteY811" fmla="*/ 303757 h 835143"/>
                    <a:gd name="connsiteX812" fmla="*/ 446182 w 854369"/>
                    <a:gd name="connsiteY812" fmla="*/ 301687 h 835143"/>
                    <a:gd name="connsiteX813" fmla="*/ 448219 w 854369"/>
                    <a:gd name="connsiteY813" fmla="*/ 298859 h 835143"/>
                    <a:gd name="connsiteX814" fmla="*/ 454209 w 854369"/>
                    <a:gd name="connsiteY814" fmla="*/ 294303 h 835143"/>
                    <a:gd name="connsiteX815" fmla="*/ 468626 w 854369"/>
                    <a:gd name="connsiteY815" fmla="*/ 285143 h 835143"/>
                    <a:gd name="connsiteX816" fmla="*/ 475952 w 854369"/>
                    <a:gd name="connsiteY816" fmla="*/ 281288 h 835143"/>
                    <a:gd name="connsiteX817" fmla="*/ 483010 w 854369"/>
                    <a:gd name="connsiteY817" fmla="*/ 279210 h 835143"/>
                    <a:gd name="connsiteX818" fmla="*/ 492888 w 854369"/>
                    <a:gd name="connsiteY818" fmla="*/ 274793 h 835143"/>
                    <a:gd name="connsiteX819" fmla="*/ 518209 w 854369"/>
                    <a:gd name="connsiteY819" fmla="*/ 267425 h 835143"/>
                    <a:gd name="connsiteX820" fmla="*/ 540882 w 854369"/>
                    <a:gd name="connsiteY820" fmla="*/ 260025 h 835143"/>
                    <a:gd name="connsiteX821" fmla="*/ 549219 w 854369"/>
                    <a:gd name="connsiteY821" fmla="*/ 261973 h 835143"/>
                    <a:gd name="connsiteX822" fmla="*/ 551598 w 854369"/>
                    <a:gd name="connsiteY822" fmla="*/ 263505 h 835143"/>
                    <a:gd name="connsiteX823" fmla="*/ 552650 w 854369"/>
                    <a:gd name="connsiteY823" fmla="*/ 264809 h 835143"/>
                    <a:gd name="connsiteX824" fmla="*/ 553562 w 854369"/>
                    <a:gd name="connsiteY824" fmla="*/ 266627 h 835143"/>
                    <a:gd name="connsiteX825" fmla="*/ 554345 w 854369"/>
                    <a:gd name="connsiteY825" fmla="*/ 268974 h 835143"/>
                    <a:gd name="connsiteX826" fmla="*/ 555429 w 854369"/>
                    <a:gd name="connsiteY826" fmla="*/ 274043 h 835143"/>
                    <a:gd name="connsiteX827" fmla="*/ 555567 w 854369"/>
                    <a:gd name="connsiteY827" fmla="*/ 276651 h 835143"/>
                    <a:gd name="connsiteX828" fmla="*/ 555380 w 854369"/>
                    <a:gd name="connsiteY828" fmla="*/ 279275 h 835143"/>
                    <a:gd name="connsiteX829" fmla="*/ 554858 w 854369"/>
                    <a:gd name="connsiteY829" fmla="*/ 281647 h 835143"/>
                    <a:gd name="connsiteX830" fmla="*/ 554011 w 854369"/>
                    <a:gd name="connsiteY830" fmla="*/ 283766 h 835143"/>
                    <a:gd name="connsiteX831" fmla="*/ 552307 w 854369"/>
                    <a:gd name="connsiteY831" fmla="*/ 286349 h 835143"/>
                    <a:gd name="connsiteX832" fmla="*/ 549765 w 854369"/>
                    <a:gd name="connsiteY832" fmla="*/ 289405 h 835143"/>
                    <a:gd name="connsiteX833" fmla="*/ 544370 w 854369"/>
                    <a:gd name="connsiteY833" fmla="*/ 294621 h 835143"/>
                    <a:gd name="connsiteX834" fmla="*/ 543775 w 854369"/>
                    <a:gd name="connsiteY834" fmla="*/ 296121 h 835143"/>
                    <a:gd name="connsiteX835" fmla="*/ 313170 w 854369"/>
                    <a:gd name="connsiteY835" fmla="*/ 835144 h 835143"/>
                    <a:gd name="connsiteX836" fmla="*/ 312607 w 854369"/>
                    <a:gd name="connsiteY836" fmla="*/ 834378 h 835143"/>
                    <a:gd name="connsiteX837" fmla="*/ 311678 w 854369"/>
                    <a:gd name="connsiteY837" fmla="*/ 833604 h 835143"/>
                    <a:gd name="connsiteX838" fmla="*/ 308842 w 854369"/>
                    <a:gd name="connsiteY838" fmla="*/ 833571 h 835143"/>
                    <a:gd name="connsiteX839" fmla="*/ 308419 w 854369"/>
                    <a:gd name="connsiteY839" fmla="*/ 833343 h 835143"/>
                    <a:gd name="connsiteX840" fmla="*/ 308361 w 854369"/>
                    <a:gd name="connsiteY840" fmla="*/ 832788 h 835143"/>
                    <a:gd name="connsiteX841" fmla="*/ 308875 w 854369"/>
                    <a:gd name="connsiteY841" fmla="*/ 831224 h 835143"/>
                    <a:gd name="connsiteX842" fmla="*/ 308744 w 854369"/>
                    <a:gd name="connsiteY842" fmla="*/ 830132 h 835143"/>
                    <a:gd name="connsiteX843" fmla="*/ 306120 w 854369"/>
                    <a:gd name="connsiteY843" fmla="*/ 826187 h 835143"/>
                    <a:gd name="connsiteX844" fmla="*/ 304099 w 854369"/>
                    <a:gd name="connsiteY844" fmla="*/ 822357 h 835143"/>
                    <a:gd name="connsiteX845" fmla="*/ 303610 w 854369"/>
                    <a:gd name="connsiteY845" fmla="*/ 821069 h 835143"/>
                    <a:gd name="connsiteX846" fmla="*/ 303089 w 854369"/>
                    <a:gd name="connsiteY846" fmla="*/ 817068 h 835143"/>
                    <a:gd name="connsiteX847" fmla="*/ 302502 w 854369"/>
                    <a:gd name="connsiteY847" fmla="*/ 816236 h 835143"/>
                    <a:gd name="connsiteX848" fmla="*/ 298688 w 854369"/>
                    <a:gd name="connsiteY848" fmla="*/ 815405 h 835143"/>
                    <a:gd name="connsiteX849" fmla="*/ 297042 w 854369"/>
                    <a:gd name="connsiteY849" fmla="*/ 812471 h 835143"/>
                    <a:gd name="connsiteX850" fmla="*/ 293814 w 854369"/>
                    <a:gd name="connsiteY850" fmla="*/ 808657 h 835143"/>
                    <a:gd name="connsiteX851" fmla="*/ 293521 w 854369"/>
                    <a:gd name="connsiteY851" fmla="*/ 807842 h 835143"/>
                    <a:gd name="connsiteX852" fmla="*/ 293521 w 854369"/>
                    <a:gd name="connsiteY852" fmla="*/ 807084 h 835143"/>
                    <a:gd name="connsiteX853" fmla="*/ 296153 w 854369"/>
                    <a:gd name="connsiteY853" fmla="*/ 803572 h 835143"/>
                    <a:gd name="connsiteX854" fmla="*/ 296121 w 854369"/>
                    <a:gd name="connsiteY854" fmla="*/ 802211 h 835143"/>
                    <a:gd name="connsiteX855" fmla="*/ 294230 w 854369"/>
                    <a:gd name="connsiteY855" fmla="*/ 796954 h 835143"/>
                    <a:gd name="connsiteX856" fmla="*/ 293407 w 854369"/>
                    <a:gd name="connsiteY856" fmla="*/ 796636 h 835143"/>
                    <a:gd name="connsiteX857" fmla="*/ 288672 w 854369"/>
                    <a:gd name="connsiteY857" fmla="*/ 796620 h 835143"/>
                    <a:gd name="connsiteX858" fmla="*/ 287914 w 854369"/>
                    <a:gd name="connsiteY858" fmla="*/ 797133 h 835143"/>
                    <a:gd name="connsiteX859" fmla="*/ 287360 w 854369"/>
                    <a:gd name="connsiteY859" fmla="*/ 798103 h 835143"/>
                    <a:gd name="connsiteX860" fmla="*/ 286838 w 854369"/>
                    <a:gd name="connsiteY860" fmla="*/ 800679 h 835143"/>
                    <a:gd name="connsiteX861" fmla="*/ 280114 w 854369"/>
                    <a:gd name="connsiteY861" fmla="*/ 801322 h 835143"/>
                    <a:gd name="connsiteX862" fmla="*/ 278175 w 854369"/>
                    <a:gd name="connsiteY862" fmla="*/ 802048 h 835143"/>
                    <a:gd name="connsiteX863" fmla="*/ 275877 w 854369"/>
                    <a:gd name="connsiteY863" fmla="*/ 803409 h 835143"/>
                    <a:gd name="connsiteX864" fmla="*/ 274483 w 854369"/>
                    <a:gd name="connsiteY864" fmla="*/ 803433 h 835143"/>
                    <a:gd name="connsiteX865" fmla="*/ 266333 w 854369"/>
                    <a:gd name="connsiteY865" fmla="*/ 801469 h 835143"/>
                    <a:gd name="connsiteX866" fmla="*/ 262446 w 854369"/>
                    <a:gd name="connsiteY866" fmla="*/ 799472 h 835143"/>
                    <a:gd name="connsiteX867" fmla="*/ 261566 w 854369"/>
                    <a:gd name="connsiteY867" fmla="*/ 799464 h 835143"/>
                    <a:gd name="connsiteX868" fmla="*/ 260767 w 854369"/>
                    <a:gd name="connsiteY868" fmla="*/ 799766 h 835143"/>
                    <a:gd name="connsiteX869" fmla="*/ 260123 w 854369"/>
                    <a:gd name="connsiteY869" fmla="*/ 800475 h 835143"/>
                    <a:gd name="connsiteX870" fmla="*/ 258974 w 854369"/>
                    <a:gd name="connsiteY870" fmla="*/ 802741 h 835143"/>
                    <a:gd name="connsiteX871" fmla="*/ 257466 w 854369"/>
                    <a:gd name="connsiteY871" fmla="*/ 802447 h 835143"/>
                    <a:gd name="connsiteX872" fmla="*/ 256619 w 854369"/>
                    <a:gd name="connsiteY872" fmla="*/ 801934 h 835143"/>
                    <a:gd name="connsiteX873" fmla="*/ 256219 w 854369"/>
                    <a:gd name="connsiteY873" fmla="*/ 800548 h 835143"/>
                    <a:gd name="connsiteX874" fmla="*/ 255054 w 854369"/>
                    <a:gd name="connsiteY874" fmla="*/ 800442 h 835143"/>
                    <a:gd name="connsiteX875" fmla="*/ 253538 w 854369"/>
                    <a:gd name="connsiteY875" fmla="*/ 800850 h 835143"/>
                    <a:gd name="connsiteX876" fmla="*/ 253245 w 854369"/>
                    <a:gd name="connsiteY876" fmla="*/ 801347 h 835143"/>
                    <a:gd name="connsiteX877" fmla="*/ 253245 w 854369"/>
                    <a:gd name="connsiteY877" fmla="*/ 802741 h 835143"/>
                    <a:gd name="connsiteX878" fmla="*/ 252740 w 854369"/>
                    <a:gd name="connsiteY878" fmla="*/ 803352 h 835143"/>
                    <a:gd name="connsiteX879" fmla="*/ 251705 w 854369"/>
                    <a:gd name="connsiteY879" fmla="*/ 803718 h 835143"/>
                    <a:gd name="connsiteX880" fmla="*/ 250376 w 854369"/>
                    <a:gd name="connsiteY880" fmla="*/ 803890 h 835143"/>
                    <a:gd name="connsiteX881" fmla="*/ 246171 w 854369"/>
                    <a:gd name="connsiteY881" fmla="*/ 803091 h 835143"/>
                    <a:gd name="connsiteX882" fmla="*/ 242577 w 854369"/>
                    <a:gd name="connsiteY882" fmla="*/ 804623 h 835143"/>
                    <a:gd name="connsiteX883" fmla="*/ 240034 w 854369"/>
                    <a:gd name="connsiteY883" fmla="*/ 804118 h 835143"/>
                    <a:gd name="connsiteX884" fmla="*/ 238420 w 854369"/>
                    <a:gd name="connsiteY884" fmla="*/ 804550 h 835143"/>
                    <a:gd name="connsiteX885" fmla="*/ 237752 w 854369"/>
                    <a:gd name="connsiteY885" fmla="*/ 804338 h 835143"/>
                    <a:gd name="connsiteX886" fmla="*/ 237002 w 854369"/>
                    <a:gd name="connsiteY886" fmla="*/ 803286 h 835143"/>
                    <a:gd name="connsiteX887" fmla="*/ 237043 w 854369"/>
                    <a:gd name="connsiteY887" fmla="*/ 801771 h 835143"/>
                    <a:gd name="connsiteX888" fmla="*/ 236456 w 854369"/>
                    <a:gd name="connsiteY888" fmla="*/ 800711 h 835143"/>
                    <a:gd name="connsiteX889" fmla="*/ 236302 w 854369"/>
                    <a:gd name="connsiteY889" fmla="*/ 799717 h 835143"/>
                    <a:gd name="connsiteX890" fmla="*/ 236530 w 854369"/>
                    <a:gd name="connsiteY890" fmla="*/ 797060 h 835143"/>
                    <a:gd name="connsiteX891" fmla="*/ 235650 w 854369"/>
                    <a:gd name="connsiteY891" fmla="*/ 792936 h 835143"/>
                    <a:gd name="connsiteX892" fmla="*/ 235161 w 854369"/>
                    <a:gd name="connsiteY892" fmla="*/ 792488 h 835143"/>
                    <a:gd name="connsiteX893" fmla="*/ 232911 w 854369"/>
                    <a:gd name="connsiteY893" fmla="*/ 792985 h 835143"/>
                    <a:gd name="connsiteX894" fmla="*/ 231958 w 854369"/>
                    <a:gd name="connsiteY894" fmla="*/ 792203 h 835143"/>
                    <a:gd name="connsiteX895" fmla="*/ 231868 w 854369"/>
                    <a:gd name="connsiteY895" fmla="*/ 791755 h 835143"/>
                    <a:gd name="connsiteX896" fmla="*/ 232218 w 854369"/>
                    <a:gd name="connsiteY896" fmla="*/ 791266 h 835143"/>
                    <a:gd name="connsiteX897" fmla="*/ 233588 w 854369"/>
                    <a:gd name="connsiteY897" fmla="*/ 789945 h 835143"/>
                    <a:gd name="connsiteX898" fmla="*/ 233889 w 854369"/>
                    <a:gd name="connsiteY898" fmla="*/ 787060 h 835143"/>
                    <a:gd name="connsiteX899" fmla="*/ 233726 w 854369"/>
                    <a:gd name="connsiteY899" fmla="*/ 785487 h 835143"/>
                    <a:gd name="connsiteX900" fmla="*/ 232463 w 854369"/>
                    <a:gd name="connsiteY900" fmla="*/ 780117 h 835143"/>
                    <a:gd name="connsiteX901" fmla="*/ 231379 w 854369"/>
                    <a:gd name="connsiteY901" fmla="*/ 778715 h 835143"/>
                    <a:gd name="connsiteX902" fmla="*/ 230124 w 854369"/>
                    <a:gd name="connsiteY902" fmla="*/ 776270 h 835143"/>
                    <a:gd name="connsiteX903" fmla="*/ 228567 w 854369"/>
                    <a:gd name="connsiteY903" fmla="*/ 775056 h 835143"/>
                    <a:gd name="connsiteX904" fmla="*/ 226832 w 854369"/>
                    <a:gd name="connsiteY904" fmla="*/ 774339 h 835143"/>
                    <a:gd name="connsiteX905" fmla="*/ 222642 w 854369"/>
                    <a:gd name="connsiteY905" fmla="*/ 774404 h 835143"/>
                    <a:gd name="connsiteX906" fmla="*/ 219163 w 854369"/>
                    <a:gd name="connsiteY906" fmla="*/ 773499 h 835143"/>
                    <a:gd name="connsiteX907" fmla="*/ 217973 w 854369"/>
                    <a:gd name="connsiteY907" fmla="*/ 772717 h 835143"/>
                    <a:gd name="connsiteX908" fmla="*/ 216571 w 854369"/>
                    <a:gd name="connsiteY908" fmla="*/ 771250 h 835143"/>
                    <a:gd name="connsiteX909" fmla="*/ 214232 w 854369"/>
                    <a:gd name="connsiteY909" fmla="*/ 770011 h 835143"/>
                    <a:gd name="connsiteX910" fmla="*/ 209611 w 854369"/>
                    <a:gd name="connsiteY910" fmla="*/ 766254 h 835143"/>
                    <a:gd name="connsiteX911" fmla="*/ 208967 w 854369"/>
                    <a:gd name="connsiteY911" fmla="*/ 763483 h 835143"/>
                    <a:gd name="connsiteX912" fmla="*/ 208291 w 854369"/>
                    <a:gd name="connsiteY912" fmla="*/ 762106 h 835143"/>
                    <a:gd name="connsiteX913" fmla="*/ 207117 w 854369"/>
                    <a:gd name="connsiteY913" fmla="*/ 760973 h 835143"/>
                    <a:gd name="connsiteX914" fmla="*/ 204322 w 854369"/>
                    <a:gd name="connsiteY914" fmla="*/ 759995 h 835143"/>
                    <a:gd name="connsiteX915" fmla="*/ 203686 w 854369"/>
                    <a:gd name="connsiteY915" fmla="*/ 759245 h 835143"/>
                    <a:gd name="connsiteX916" fmla="*/ 203034 w 854369"/>
                    <a:gd name="connsiteY916" fmla="*/ 757452 h 835143"/>
                    <a:gd name="connsiteX917" fmla="*/ 200361 w 854369"/>
                    <a:gd name="connsiteY917" fmla="*/ 754877 h 835143"/>
                    <a:gd name="connsiteX918" fmla="*/ 199522 w 854369"/>
                    <a:gd name="connsiteY918" fmla="*/ 753133 h 835143"/>
                    <a:gd name="connsiteX919" fmla="*/ 195537 w 854369"/>
                    <a:gd name="connsiteY919" fmla="*/ 749743 h 835143"/>
                    <a:gd name="connsiteX920" fmla="*/ 194176 w 854369"/>
                    <a:gd name="connsiteY920" fmla="*/ 749523 h 835143"/>
                    <a:gd name="connsiteX921" fmla="*/ 192627 w 854369"/>
                    <a:gd name="connsiteY921" fmla="*/ 749922 h 835143"/>
                    <a:gd name="connsiteX922" fmla="*/ 190223 w 854369"/>
                    <a:gd name="connsiteY922" fmla="*/ 751691 h 835143"/>
                    <a:gd name="connsiteX923" fmla="*/ 189269 w 854369"/>
                    <a:gd name="connsiteY923" fmla="*/ 751902 h 835143"/>
                    <a:gd name="connsiteX924" fmla="*/ 188593 w 854369"/>
                    <a:gd name="connsiteY924" fmla="*/ 751528 h 835143"/>
                    <a:gd name="connsiteX925" fmla="*/ 187631 w 854369"/>
                    <a:gd name="connsiteY925" fmla="*/ 749979 h 835143"/>
                    <a:gd name="connsiteX926" fmla="*/ 186947 w 854369"/>
                    <a:gd name="connsiteY926" fmla="*/ 749653 h 835143"/>
                    <a:gd name="connsiteX927" fmla="*/ 184314 w 854369"/>
                    <a:gd name="connsiteY927" fmla="*/ 749140 h 835143"/>
                    <a:gd name="connsiteX928" fmla="*/ 181275 w 854369"/>
                    <a:gd name="connsiteY928" fmla="*/ 749392 h 835143"/>
                    <a:gd name="connsiteX929" fmla="*/ 179473 w 854369"/>
                    <a:gd name="connsiteY929" fmla="*/ 748969 h 835143"/>
                    <a:gd name="connsiteX930" fmla="*/ 178332 w 854369"/>
                    <a:gd name="connsiteY930" fmla="*/ 748276 h 835143"/>
                    <a:gd name="connsiteX931" fmla="*/ 177990 w 854369"/>
                    <a:gd name="connsiteY931" fmla="*/ 747730 h 835143"/>
                    <a:gd name="connsiteX932" fmla="*/ 178170 w 854369"/>
                    <a:gd name="connsiteY932" fmla="*/ 747013 h 835143"/>
                    <a:gd name="connsiteX933" fmla="*/ 178715 w 854369"/>
                    <a:gd name="connsiteY933" fmla="*/ 746271 h 835143"/>
                    <a:gd name="connsiteX934" fmla="*/ 178878 w 854369"/>
                    <a:gd name="connsiteY934" fmla="*/ 745538 h 835143"/>
                    <a:gd name="connsiteX935" fmla="*/ 178601 w 854369"/>
                    <a:gd name="connsiteY935" fmla="*/ 744861 h 835143"/>
                    <a:gd name="connsiteX936" fmla="*/ 177379 w 854369"/>
                    <a:gd name="connsiteY936" fmla="*/ 742490 h 835143"/>
                    <a:gd name="connsiteX937" fmla="*/ 177436 w 854369"/>
                    <a:gd name="connsiteY937" fmla="*/ 741340 h 835143"/>
                    <a:gd name="connsiteX938" fmla="*/ 178724 w 854369"/>
                    <a:gd name="connsiteY938" fmla="*/ 739254 h 835143"/>
                    <a:gd name="connsiteX939" fmla="*/ 178479 w 854369"/>
                    <a:gd name="connsiteY939" fmla="*/ 738635 h 835143"/>
                    <a:gd name="connsiteX940" fmla="*/ 177371 w 854369"/>
                    <a:gd name="connsiteY940" fmla="*/ 737706 h 835143"/>
                    <a:gd name="connsiteX941" fmla="*/ 177306 w 854369"/>
                    <a:gd name="connsiteY941" fmla="*/ 737127 h 835143"/>
                    <a:gd name="connsiteX942" fmla="*/ 177534 w 854369"/>
                    <a:gd name="connsiteY942" fmla="*/ 736483 h 835143"/>
                    <a:gd name="connsiteX943" fmla="*/ 179710 w 854369"/>
                    <a:gd name="connsiteY943" fmla="*/ 735293 h 835143"/>
                    <a:gd name="connsiteX944" fmla="*/ 179962 w 854369"/>
                    <a:gd name="connsiteY944" fmla="*/ 734462 h 835143"/>
                    <a:gd name="connsiteX945" fmla="*/ 179425 w 854369"/>
                    <a:gd name="connsiteY945" fmla="*/ 733517 h 835143"/>
                    <a:gd name="connsiteX946" fmla="*/ 173524 w 854369"/>
                    <a:gd name="connsiteY946" fmla="*/ 730787 h 835143"/>
                    <a:gd name="connsiteX947" fmla="*/ 172505 w 854369"/>
                    <a:gd name="connsiteY947" fmla="*/ 730029 h 835143"/>
                    <a:gd name="connsiteX948" fmla="*/ 172391 w 854369"/>
                    <a:gd name="connsiteY948" fmla="*/ 729189 h 835143"/>
                    <a:gd name="connsiteX949" fmla="*/ 171633 w 854369"/>
                    <a:gd name="connsiteY949" fmla="*/ 726956 h 835143"/>
                    <a:gd name="connsiteX950" fmla="*/ 171169 w 854369"/>
                    <a:gd name="connsiteY950" fmla="*/ 726361 h 835143"/>
                    <a:gd name="connsiteX951" fmla="*/ 169286 w 854369"/>
                    <a:gd name="connsiteY951" fmla="*/ 725367 h 835143"/>
                    <a:gd name="connsiteX952" fmla="*/ 168887 w 854369"/>
                    <a:gd name="connsiteY952" fmla="*/ 724707 h 835143"/>
                    <a:gd name="connsiteX953" fmla="*/ 168732 w 854369"/>
                    <a:gd name="connsiteY953" fmla="*/ 723550 h 835143"/>
                    <a:gd name="connsiteX954" fmla="*/ 168333 w 854369"/>
                    <a:gd name="connsiteY954" fmla="*/ 722726 h 835143"/>
                    <a:gd name="connsiteX955" fmla="*/ 166833 w 854369"/>
                    <a:gd name="connsiteY955" fmla="*/ 720461 h 835143"/>
                    <a:gd name="connsiteX956" fmla="*/ 166581 w 854369"/>
                    <a:gd name="connsiteY956" fmla="*/ 719092 h 835143"/>
                    <a:gd name="connsiteX957" fmla="*/ 166931 w 854369"/>
                    <a:gd name="connsiteY957" fmla="*/ 717869 h 835143"/>
                    <a:gd name="connsiteX958" fmla="*/ 166939 w 854369"/>
                    <a:gd name="connsiteY958" fmla="*/ 716386 h 835143"/>
                    <a:gd name="connsiteX959" fmla="*/ 169335 w 854369"/>
                    <a:gd name="connsiteY959" fmla="*/ 712001 h 835143"/>
                    <a:gd name="connsiteX960" fmla="*/ 169482 w 854369"/>
                    <a:gd name="connsiteY960" fmla="*/ 711121 h 835143"/>
                    <a:gd name="connsiteX961" fmla="*/ 169034 w 854369"/>
                    <a:gd name="connsiteY961" fmla="*/ 710722 h 835143"/>
                    <a:gd name="connsiteX962" fmla="*/ 166434 w 854369"/>
                    <a:gd name="connsiteY962" fmla="*/ 710640 h 835143"/>
                    <a:gd name="connsiteX963" fmla="*/ 164127 w 854369"/>
                    <a:gd name="connsiteY963" fmla="*/ 709752 h 835143"/>
                    <a:gd name="connsiteX964" fmla="*/ 163068 w 854369"/>
                    <a:gd name="connsiteY964" fmla="*/ 707063 h 835143"/>
                    <a:gd name="connsiteX965" fmla="*/ 162196 w 854369"/>
                    <a:gd name="connsiteY965" fmla="*/ 705808 h 835143"/>
                    <a:gd name="connsiteX966" fmla="*/ 160387 w 854369"/>
                    <a:gd name="connsiteY966" fmla="*/ 704634 h 835143"/>
                    <a:gd name="connsiteX967" fmla="*/ 158374 w 854369"/>
                    <a:gd name="connsiteY967" fmla="*/ 702768 h 835143"/>
                    <a:gd name="connsiteX968" fmla="*/ 156540 w 854369"/>
                    <a:gd name="connsiteY968" fmla="*/ 702132 h 835143"/>
                    <a:gd name="connsiteX969" fmla="*/ 156385 w 854369"/>
                    <a:gd name="connsiteY969" fmla="*/ 701439 h 835143"/>
                    <a:gd name="connsiteX970" fmla="*/ 157331 w 854369"/>
                    <a:gd name="connsiteY970" fmla="*/ 700388 h 835143"/>
                    <a:gd name="connsiteX971" fmla="*/ 161128 w 854369"/>
                    <a:gd name="connsiteY971" fmla="*/ 698033 h 835143"/>
                    <a:gd name="connsiteX972" fmla="*/ 162196 w 854369"/>
                    <a:gd name="connsiteY972" fmla="*/ 696794 h 835143"/>
                    <a:gd name="connsiteX973" fmla="*/ 163696 w 854369"/>
                    <a:gd name="connsiteY973" fmla="*/ 693477 h 835143"/>
                    <a:gd name="connsiteX974" fmla="*/ 163443 w 854369"/>
                    <a:gd name="connsiteY974" fmla="*/ 691986 h 835143"/>
                    <a:gd name="connsiteX975" fmla="*/ 162628 w 854369"/>
                    <a:gd name="connsiteY975" fmla="*/ 690616 h 835143"/>
                    <a:gd name="connsiteX976" fmla="*/ 161202 w 854369"/>
                    <a:gd name="connsiteY976" fmla="*/ 689312 h 835143"/>
                    <a:gd name="connsiteX977" fmla="*/ 160444 w 854369"/>
                    <a:gd name="connsiteY977" fmla="*/ 688106 h 835143"/>
                    <a:gd name="connsiteX978" fmla="*/ 158284 w 854369"/>
                    <a:gd name="connsiteY978" fmla="*/ 687267 h 835143"/>
                    <a:gd name="connsiteX979" fmla="*/ 157820 w 854369"/>
                    <a:gd name="connsiteY979" fmla="*/ 686664 h 835143"/>
                    <a:gd name="connsiteX980" fmla="*/ 157428 w 854369"/>
                    <a:gd name="connsiteY980" fmla="*/ 685466 h 835143"/>
                    <a:gd name="connsiteX981" fmla="*/ 157102 w 854369"/>
                    <a:gd name="connsiteY981" fmla="*/ 684798 h 835143"/>
                    <a:gd name="connsiteX982" fmla="*/ 156328 w 854369"/>
                    <a:gd name="connsiteY982" fmla="*/ 684692 h 835143"/>
                    <a:gd name="connsiteX983" fmla="*/ 153802 w 854369"/>
                    <a:gd name="connsiteY983" fmla="*/ 685498 h 835143"/>
                    <a:gd name="connsiteX984" fmla="*/ 152775 w 854369"/>
                    <a:gd name="connsiteY984" fmla="*/ 685172 h 835143"/>
                    <a:gd name="connsiteX985" fmla="*/ 152343 w 854369"/>
                    <a:gd name="connsiteY985" fmla="*/ 684439 h 835143"/>
                    <a:gd name="connsiteX986" fmla="*/ 152441 w 854369"/>
                    <a:gd name="connsiteY986" fmla="*/ 683722 h 835143"/>
                    <a:gd name="connsiteX987" fmla="*/ 153411 w 854369"/>
                    <a:gd name="connsiteY987" fmla="*/ 683045 h 835143"/>
                    <a:gd name="connsiteX988" fmla="*/ 156247 w 854369"/>
                    <a:gd name="connsiteY988" fmla="*/ 682027 h 835143"/>
                    <a:gd name="connsiteX989" fmla="*/ 156850 w 854369"/>
                    <a:gd name="connsiteY989" fmla="*/ 681562 h 835143"/>
                    <a:gd name="connsiteX990" fmla="*/ 156923 w 854369"/>
                    <a:gd name="connsiteY990" fmla="*/ 680723 h 835143"/>
                    <a:gd name="connsiteX991" fmla="*/ 156385 w 854369"/>
                    <a:gd name="connsiteY991" fmla="*/ 680120 h 835143"/>
                    <a:gd name="connsiteX992" fmla="*/ 152840 w 854369"/>
                    <a:gd name="connsiteY992" fmla="*/ 679508 h 835143"/>
                    <a:gd name="connsiteX993" fmla="*/ 150827 w 854369"/>
                    <a:gd name="connsiteY993" fmla="*/ 678351 h 835143"/>
                    <a:gd name="connsiteX994" fmla="*/ 147127 w 854369"/>
                    <a:gd name="connsiteY994" fmla="*/ 675450 h 835143"/>
                    <a:gd name="connsiteX995" fmla="*/ 143460 w 854369"/>
                    <a:gd name="connsiteY995" fmla="*/ 674187 h 835143"/>
                    <a:gd name="connsiteX996" fmla="*/ 141047 w 854369"/>
                    <a:gd name="connsiteY996" fmla="*/ 672418 h 835143"/>
                    <a:gd name="connsiteX997" fmla="*/ 140200 w 854369"/>
                    <a:gd name="connsiteY997" fmla="*/ 670861 h 835143"/>
                    <a:gd name="connsiteX998" fmla="*/ 138839 w 854369"/>
                    <a:gd name="connsiteY998" fmla="*/ 670095 h 835143"/>
                    <a:gd name="connsiteX999" fmla="*/ 138203 w 854369"/>
                    <a:gd name="connsiteY999" fmla="*/ 668767 h 835143"/>
                    <a:gd name="connsiteX1000" fmla="*/ 136777 w 854369"/>
                    <a:gd name="connsiteY1000" fmla="*/ 666901 h 835143"/>
                    <a:gd name="connsiteX1001" fmla="*/ 136484 w 854369"/>
                    <a:gd name="connsiteY1001" fmla="*/ 666265 h 835143"/>
                    <a:gd name="connsiteX1002" fmla="*/ 137193 w 854369"/>
                    <a:gd name="connsiteY1002" fmla="*/ 665140 h 835143"/>
                    <a:gd name="connsiteX1003" fmla="*/ 137184 w 854369"/>
                    <a:gd name="connsiteY1003" fmla="*/ 664105 h 835143"/>
                    <a:gd name="connsiteX1004" fmla="*/ 136744 w 854369"/>
                    <a:gd name="connsiteY1004" fmla="*/ 662989 h 835143"/>
                    <a:gd name="connsiteX1005" fmla="*/ 135481 w 854369"/>
                    <a:gd name="connsiteY1005" fmla="*/ 661310 h 835143"/>
                    <a:gd name="connsiteX1006" fmla="*/ 134731 w 854369"/>
                    <a:gd name="connsiteY1006" fmla="*/ 660748 h 835143"/>
                    <a:gd name="connsiteX1007" fmla="*/ 134381 w 854369"/>
                    <a:gd name="connsiteY1007" fmla="*/ 659688 h 835143"/>
                    <a:gd name="connsiteX1008" fmla="*/ 134487 w 854369"/>
                    <a:gd name="connsiteY1008" fmla="*/ 658596 h 835143"/>
                    <a:gd name="connsiteX1009" fmla="*/ 132384 w 854369"/>
                    <a:gd name="connsiteY1009" fmla="*/ 655401 h 835143"/>
                    <a:gd name="connsiteX1010" fmla="*/ 128456 w 854369"/>
                    <a:gd name="connsiteY1010" fmla="*/ 653470 h 835143"/>
                    <a:gd name="connsiteX1011" fmla="*/ 126133 w 854369"/>
                    <a:gd name="connsiteY1011" fmla="*/ 652989 h 835143"/>
                    <a:gd name="connsiteX1012" fmla="*/ 125131 w 854369"/>
                    <a:gd name="connsiteY1012" fmla="*/ 653291 h 835143"/>
                    <a:gd name="connsiteX1013" fmla="*/ 123884 w 854369"/>
                    <a:gd name="connsiteY1013" fmla="*/ 654774 h 835143"/>
                    <a:gd name="connsiteX1014" fmla="*/ 122319 w 854369"/>
                    <a:gd name="connsiteY1014" fmla="*/ 655711 h 835143"/>
                    <a:gd name="connsiteX1015" fmla="*/ 120502 w 854369"/>
                    <a:gd name="connsiteY1015" fmla="*/ 656265 h 835143"/>
                    <a:gd name="connsiteX1016" fmla="*/ 116085 w 854369"/>
                    <a:gd name="connsiteY1016" fmla="*/ 656257 h 835143"/>
                    <a:gd name="connsiteX1017" fmla="*/ 115262 w 854369"/>
                    <a:gd name="connsiteY1017" fmla="*/ 655948 h 835143"/>
                    <a:gd name="connsiteX1018" fmla="*/ 115115 w 854369"/>
                    <a:gd name="connsiteY1018" fmla="*/ 655165 h 835143"/>
                    <a:gd name="connsiteX1019" fmla="*/ 115425 w 854369"/>
                    <a:gd name="connsiteY1019" fmla="*/ 654358 h 835143"/>
                    <a:gd name="connsiteX1020" fmla="*/ 116916 w 854369"/>
                    <a:gd name="connsiteY1020" fmla="*/ 651734 h 835143"/>
                    <a:gd name="connsiteX1021" fmla="*/ 117275 w 854369"/>
                    <a:gd name="connsiteY1021" fmla="*/ 650626 h 835143"/>
                    <a:gd name="connsiteX1022" fmla="*/ 116949 w 854369"/>
                    <a:gd name="connsiteY1022" fmla="*/ 649843 h 835143"/>
                    <a:gd name="connsiteX1023" fmla="*/ 116370 w 854369"/>
                    <a:gd name="connsiteY1023" fmla="*/ 649371 h 835143"/>
                    <a:gd name="connsiteX1024" fmla="*/ 112874 w 854369"/>
                    <a:gd name="connsiteY1024" fmla="*/ 648026 h 835143"/>
                    <a:gd name="connsiteX1025" fmla="*/ 108929 w 854369"/>
                    <a:gd name="connsiteY1025" fmla="*/ 643535 h 835143"/>
                    <a:gd name="connsiteX1026" fmla="*/ 107593 w 854369"/>
                    <a:gd name="connsiteY1026" fmla="*/ 642778 h 835143"/>
                    <a:gd name="connsiteX1027" fmla="*/ 102279 w 854369"/>
                    <a:gd name="connsiteY1027" fmla="*/ 640235 h 835143"/>
                    <a:gd name="connsiteX1028" fmla="*/ 100266 w 854369"/>
                    <a:gd name="connsiteY1028" fmla="*/ 639615 h 835143"/>
                    <a:gd name="connsiteX1029" fmla="*/ 96501 w 854369"/>
                    <a:gd name="connsiteY1029" fmla="*/ 639493 h 835143"/>
                    <a:gd name="connsiteX1030" fmla="*/ 95645 w 854369"/>
                    <a:gd name="connsiteY1030" fmla="*/ 638906 h 835143"/>
                    <a:gd name="connsiteX1031" fmla="*/ 95360 w 854369"/>
                    <a:gd name="connsiteY1031" fmla="*/ 638303 h 835143"/>
                    <a:gd name="connsiteX1032" fmla="*/ 95319 w 854369"/>
                    <a:gd name="connsiteY1032" fmla="*/ 637570 h 835143"/>
                    <a:gd name="connsiteX1033" fmla="*/ 95751 w 854369"/>
                    <a:gd name="connsiteY1033" fmla="*/ 636902 h 835143"/>
                    <a:gd name="connsiteX1034" fmla="*/ 97715 w 854369"/>
                    <a:gd name="connsiteY1034" fmla="*/ 635141 h 835143"/>
                    <a:gd name="connsiteX1035" fmla="*/ 97895 w 854369"/>
                    <a:gd name="connsiteY1035" fmla="*/ 633927 h 835143"/>
                    <a:gd name="connsiteX1036" fmla="*/ 97903 w 854369"/>
                    <a:gd name="connsiteY1036" fmla="*/ 632044 h 835143"/>
                    <a:gd name="connsiteX1037" fmla="*/ 98294 w 854369"/>
                    <a:gd name="connsiteY1037" fmla="*/ 631506 h 835143"/>
                    <a:gd name="connsiteX1038" fmla="*/ 100780 w 854369"/>
                    <a:gd name="connsiteY1038" fmla="*/ 629347 h 835143"/>
                    <a:gd name="connsiteX1039" fmla="*/ 101456 w 854369"/>
                    <a:gd name="connsiteY1039" fmla="*/ 628638 h 835143"/>
                    <a:gd name="connsiteX1040" fmla="*/ 101481 w 854369"/>
                    <a:gd name="connsiteY1040" fmla="*/ 627847 h 835143"/>
                    <a:gd name="connsiteX1041" fmla="*/ 100771 w 854369"/>
                    <a:gd name="connsiteY1041" fmla="*/ 627097 h 835143"/>
                    <a:gd name="connsiteX1042" fmla="*/ 97430 w 854369"/>
                    <a:gd name="connsiteY1042" fmla="*/ 626291 h 835143"/>
                    <a:gd name="connsiteX1043" fmla="*/ 96876 w 854369"/>
                    <a:gd name="connsiteY1043" fmla="*/ 625655 h 835143"/>
                    <a:gd name="connsiteX1044" fmla="*/ 96835 w 854369"/>
                    <a:gd name="connsiteY1044" fmla="*/ 623088 h 835143"/>
                    <a:gd name="connsiteX1045" fmla="*/ 95857 w 854369"/>
                    <a:gd name="connsiteY1045" fmla="*/ 622477 h 835143"/>
                    <a:gd name="connsiteX1046" fmla="*/ 95099 w 854369"/>
                    <a:gd name="connsiteY1046" fmla="*/ 622615 h 835143"/>
                    <a:gd name="connsiteX1047" fmla="*/ 92662 w 854369"/>
                    <a:gd name="connsiteY1047" fmla="*/ 623210 h 835143"/>
                    <a:gd name="connsiteX1048" fmla="*/ 91579 w 854369"/>
                    <a:gd name="connsiteY1048" fmla="*/ 622957 h 835143"/>
                    <a:gd name="connsiteX1049" fmla="*/ 91179 w 854369"/>
                    <a:gd name="connsiteY1049" fmla="*/ 622468 h 835143"/>
                    <a:gd name="connsiteX1050" fmla="*/ 91049 w 854369"/>
                    <a:gd name="connsiteY1050" fmla="*/ 621686 h 835143"/>
                    <a:gd name="connsiteX1051" fmla="*/ 91318 w 854369"/>
                    <a:gd name="connsiteY1051" fmla="*/ 620773 h 835143"/>
                    <a:gd name="connsiteX1052" fmla="*/ 95425 w 854369"/>
                    <a:gd name="connsiteY1052" fmla="*/ 618442 h 835143"/>
                    <a:gd name="connsiteX1053" fmla="*/ 96183 w 854369"/>
                    <a:gd name="connsiteY1053" fmla="*/ 617595 h 835143"/>
                    <a:gd name="connsiteX1054" fmla="*/ 96794 w 854369"/>
                    <a:gd name="connsiteY1054" fmla="*/ 615883 h 835143"/>
                    <a:gd name="connsiteX1055" fmla="*/ 101652 w 854369"/>
                    <a:gd name="connsiteY1055" fmla="*/ 611540 h 835143"/>
                    <a:gd name="connsiteX1056" fmla="*/ 103591 w 854369"/>
                    <a:gd name="connsiteY1056" fmla="*/ 607546 h 835143"/>
                    <a:gd name="connsiteX1057" fmla="*/ 105401 w 854369"/>
                    <a:gd name="connsiteY1057" fmla="*/ 605012 h 835143"/>
                    <a:gd name="connsiteX1058" fmla="*/ 105368 w 854369"/>
                    <a:gd name="connsiteY1058" fmla="*/ 603740 h 835143"/>
                    <a:gd name="connsiteX1059" fmla="*/ 102907 w 854369"/>
                    <a:gd name="connsiteY1059" fmla="*/ 599983 h 835143"/>
                    <a:gd name="connsiteX1060" fmla="*/ 100861 w 854369"/>
                    <a:gd name="connsiteY1060" fmla="*/ 597840 h 835143"/>
                    <a:gd name="connsiteX1061" fmla="*/ 98098 w 854369"/>
                    <a:gd name="connsiteY1061" fmla="*/ 595599 h 835143"/>
                    <a:gd name="connsiteX1062" fmla="*/ 97006 w 854369"/>
                    <a:gd name="connsiteY1062" fmla="*/ 594988 h 835143"/>
                    <a:gd name="connsiteX1063" fmla="*/ 96468 w 854369"/>
                    <a:gd name="connsiteY1063" fmla="*/ 594010 h 835143"/>
                    <a:gd name="connsiteX1064" fmla="*/ 96860 w 854369"/>
                    <a:gd name="connsiteY1064" fmla="*/ 592771 h 835143"/>
                    <a:gd name="connsiteX1065" fmla="*/ 101782 w 854369"/>
                    <a:gd name="connsiteY1065" fmla="*/ 589829 h 835143"/>
                    <a:gd name="connsiteX1066" fmla="*/ 101733 w 854369"/>
                    <a:gd name="connsiteY1066" fmla="*/ 588818 h 835143"/>
                    <a:gd name="connsiteX1067" fmla="*/ 101040 w 854369"/>
                    <a:gd name="connsiteY1067" fmla="*/ 588191 h 835143"/>
                    <a:gd name="connsiteX1068" fmla="*/ 98253 w 854369"/>
                    <a:gd name="connsiteY1068" fmla="*/ 588386 h 835143"/>
                    <a:gd name="connsiteX1069" fmla="*/ 95922 w 854369"/>
                    <a:gd name="connsiteY1069" fmla="*/ 586903 h 835143"/>
                    <a:gd name="connsiteX1070" fmla="*/ 95001 w 854369"/>
                    <a:gd name="connsiteY1070" fmla="*/ 586667 h 835143"/>
                    <a:gd name="connsiteX1071" fmla="*/ 92540 w 854369"/>
                    <a:gd name="connsiteY1071" fmla="*/ 588011 h 835143"/>
                    <a:gd name="connsiteX1072" fmla="*/ 91236 w 854369"/>
                    <a:gd name="connsiteY1072" fmla="*/ 589136 h 835143"/>
                    <a:gd name="connsiteX1073" fmla="*/ 89867 w 854369"/>
                    <a:gd name="connsiteY1073" fmla="*/ 590986 h 835143"/>
                    <a:gd name="connsiteX1074" fmla="*/ 87854 w 854369"/>
                    <a:gd name="connsiteY1074" fmla="*/ 591597 h 835143"/>
                    <a:gd name="connsiteX1075" fmla="*/ 86721 w 854369"/>
                    <a:gd name="connsiteY1075" fmla="*/ 591459 h 835143"/>
                    <a:gd name="connsiteX1076" fmla="*/ 86232 w 854369"/>
                    <a:gd name="connsiteY1076" fmla="*/ 590742 h 835143"/>
                    <a:gd name="connsiteX1077" fmla="*/ 86933 w 854369"/>
                    <a:gd name="connsiteY1077" fmla="*/ 588924 h 835143"/>
                    <a:gd name="connsiteX1078" fmla="*/ 87504 w 854369"/>
                    <a:gd name="connsiteY1078" fmla="*/ 587840 h 835143"/>
                    <a:gd name="connsiteX1079" fmla="*/ 87463 w 854369"/>
                    <a:gd name="connsiteY1079" fmla="*/ 587172 h 835143"/>
                    <a:gd name="connsiteX1080" fmla="*/ 86966 w 854369"/>
                    <a:gd name="connsiteY1080" fmla="*/ 586699 h 835143"/>
                    <a:gd name="connsiteX1081" fmla="*/ 84399 w 854369"/>
                    <a:gd name="connsiteY1081" fmla="*/ 586740 h 835143"/>
                    <a:gd name="connsiteX1082" fmla="*/ 79745 w 854369"/>
                    <a:gd name="connsiteY1082" fmla="*/ 587653 h 835143"/>
                    <a:gd name="connsiteX1083" fmla="*/ 75198 w 854369"/>
                    <a:gd name="connsiteY1083" fmla="*/ 589780 h 835143"/>
                    <a:gd name="connsiteX1084" fmla="*/ 73030 w 854369"/>
                    <a:gd name="connsiteY1084" fmla="*/ 589804 h 835143"/>
                    <a:gd name="connsiteX1085" fmla="*/ 70813 w 854369"/>
                    <a:gd name="connsiteY1085" fmla="*/ 589503 h 835143"/>
                    <a:gd name="connsiteX1086" fmla="*/ 69998 w 854369"/>
                    <a:gd name="connsiteY1086" fmla="*/ 588989 h 835143"/>
                    <a:gd name="connsiteX1087" fmla="*/ 69949 w 854369"/>
                    <a:gd name="connsiteY1087" fmla="*/ 587473 h 835143"/>
                    <a:gd name="connsiteX1088" fmla="*/ 69411 w 854369"/>
                    <a:gd name="connsiteY1088" fmla="*/ 585811 h 835143"/>
                    <a:gd name="connsiteX1089" fmla="*/ 68661 w 854369"/>
                    <a:gd name="connsiteY1089" fmla="*/ 584760 h 835143"/>
                    <a:gd name="connsiteX1090" fmla="*/ 68629 w 854369"/>
                    <a:gd name="connsiteY1090" fmla="*/ 583847 h 835143"/>
                    <a:gd name="connsiteX1091" fmla="*/ 69061 w 854369"/>
                    <a:gd name="connsiteY1091" fmla="*/ 583170 h 835143"/>
                    <a:gd name="connsiteX1092" fmla="*/ 70699 w 854369"/>
                    <a:gd name="connsiteY1092" fmla="*/ 581532 h 835143"/>
                    <a:gd name="connsiteX1093" fmla="*/ 71318 w 854369"/>
                    <a:gd name="connsiteY1093" fmla="*/ 580383 h 835143"/>
                    <a:gd name="connsiteX1094" fmla="*/ 71359 w 854369"/>
                    <a:gd name="connsiteY1094" fmla="*/ 579038 h 835143"/>
                    <a:gd name="connsiteX1095" fmla="*/ 71253 w 854369"/>
                    <a:gd name="connsiteY1095" fmla="*/ 577319 h 835143"/>
                    <a:gd name="connsiteX1096" fmla="*/ 70960 w 854369"/>
                    <a:gd name="connsiteY1096" fmla="*/ 575762 h 835143"/>
                    <a:gd name="connsiteX1097" fmla="*/ 70243 w 854369"/>
                    <a:gd name="connsiteY1097" fmla="*/ 575330 h 835143"/>
                    <a:gd name="connsiteX1098" fmla="*/ 69273 w 854369"/>
                    <a:gd name="connsiteY1098" fmla="*/ 575119 h 835143"/>
                    <a:gd name="connsiteX1099" fmla="*/ 66583 w 854369"/>
                    <a:gd name="connsiteY1099" fmla="*/ 574980 h 835143"/>
                    <a:gd name="connsiteX1100" fmla="*/ 65834 w 854369"/>
                    <a:gd name="connsiteY1100" fmla="*/ 574947 h 835143"/>
                    <a:gd name="connsiteX1101" fmla="*/ 65581 w 854369"/>
                    <a:gd name="connsiteY1101" fmla="*/ 574043 h 835143"/>
                    <a:gd name="connsiteX1102" fmla="*/ 65834 w 854369"/>
                    <a:gd name="connsiteY1102" fmla="*/ 573081 h 835143"/>
                    <a:gd name="connsiteX1103" fmla="*/ 66591 w 854369"/>
                    <a:gd name="connsiteY1103" fmla="*/ 570180 h 835143"/>
                    <a:gd name="connsiteX1104" fmla="*/ 67097 w 854369"/>
                    <a:gd name="connsiteY1104" fmla="*/ 569161 h 835143"/>
                    <a:gd name="connsiteX1105" fmla="*/ 67928 w 854369"/>
                    <a:gd name="connsiteY1105" fmla="*/ 568974 h 835143"/>
                    <a:gd name="connsiteX1106" fmla="*/ 68710 w 854369"/>
                    <a:gd name="connsiteY1106" fmla="*/ 568908 h 835143"/>
                    <a:gd name="connsiteX1107" fmla="*/ 69216 w 854369"/>
                    <a:gd name="connsiteY1107" fmla="*/ 568607 h 835143"/>
                    <a:gd name="connsiteX1108" fmla="*/ 69256 w 854369"/>
                    <a:gd name="connsiteY1108" fmla="*/ 567767 h 835143"/>
                    <a:gd name="connsiteX1109" fmla="*/ 69102 w 854369"/>
                    <a:gd name="connsiteY1109" fmla="*/ 566195 h 835143"/>
                    <a:gd name="connsiteX1110" fmla="*/ 69330 w 854369"/>
                    <a:gd name="connsiteY1110" fmla="*/ 565037 h 835143"/>
                    <a:gd name="connsiteX1111" fmla="*/ 69672 w 854369"/>
                    <a:gd name="connsiteY1111" fmla="*/ 563774 h 835143"/>
                    <a:gd name="connsiteX1112" fmla="*/ 69265 w 854369"/>
                    <a:gd name="connsiteY1112" fmla="*/ 562902 h 835143"/>
                    <a:gd name="connsiteX1113" fmla="*/ 67431 w 854369"/>
                    <a:gd name="connsiteY1113" fmla="*/ 560962 h 835143"/>
                    <a:gd name="connsiteX1114" fmla="*/ 66485 w 854369"/>
                    <a:gd name="connsiteY1114" fmla="*/ 560115 h 835143"/>
                    <a:gd name="connsiteX1115" fmla="*/ 66371 w 854369"/>
                    <a:gd name="connsiteY1115" fmla="*/ 559332 h 835143"/>
                    <a:gd name="connsiteX1116" fmla="*/ 66322 w 854369"/>
                    <a:gd name="connsiteY1116" fmla="*/ 558689 h 835143"/>
                    <a:gd name="connsiteX1117" fmla="*/ 65622 w 854369"/>
                    <a:gd name="connsiteY1117" fmla="*/ 557539 h 835143"/>
                    <a:gd name="connsiteX1118" fmla="*/ 65450 w 854369"/>
                    <a:gd name="connsiteY1118" fmla="*/ 556586 h 835143"/>
                    <a:gd name="connsiteX1119" fmla="*/ 65662 w 854369"/>
                    <a:gd name="connsiteY1119" fmla="*/ 555763 h 835143"/>
                    <a:gd name="connsiteX1120" fmla="*/ 66029 w 854369"/>
                    <a:gd name="connsiteY1120" fmla="*/ 554345 h 835143"/>
                    <a:gd name="connsiteX1121" fmla="*/ 65744 w 854369"/>
                    <a:gd name="connsiteY1121" fmla="*/ 552919 h 835143"/>
                    <a:gd name="connsiteX1122" fmla="*/ 64424 w 854369"/>
                    <a:gd name="connsiteY1122" fmla="*/ 551069 h 835143"/>
                    <a:gd name="connsiteX1123" fmla="*/ 62533 w 854369"/>
                    <a:gd name="connsiteY1123" fmla="*/ 549292 h 835143"/>
                    <a:gd name="connsiteX1124" fmla="*/ 59868 w 854369"/>
                    <a:gd name="connsiteY1124" fmla="*/ 547523 h 835143"/>
                    <a:gd name="connsiteX1125" fmla="*/ 59322 w 854369"/>
                    <a:gd name="connsiteY1125" fmla="*/ 546293 h 835143"/>
                    <a:gd name="connsiteX1126" fmla="*/ 59265 w 854369"/>
                    <a:gd name="connsiteY1126" fmla="*/ 544932 h 835143"/>
                    <a:gd name="connsiteX1127" fmla="*/ 57725 w 854369"/>
                    <a:gd name="connsiteY1127" fmla="*/ 544932 h 835143"/>
                    <a:gd name="connsiteX1128" fmla="*/ 50610 w 854369"/>
                    <a:gd name="connsiteY1128" fmla="*/ 544932 h 835143"/>
                    <a:gd name="connsiteX1129" fmla="*/ 43495 w 854369"/>
                    <a:gd name="connsiteY1129" fmla="*/ 544932 h 835143"/>
                    <a:gd name="connsiteX1130" fmla="*/ 36380 w 854369"/>
                    <a:gd name="connsiteY1130" fmla="*/ 544932 h 835143"/>
                    <a:gd name="connsiteX1131" fmla="*/ 29258 w 854369"/>
                    <a:gd name="connsiteY1131" fmla="*/ 544932 h 835143"/>
                    <a:gd name="connsiteX1132" fmla="*/ 22143 w 854369"/>
                    <a:gd name="connsiteY1132" fmla="*/ 544924 h 835143"/>
                    <a:gd name="connsiteX1133" fmla="*/ 15028 w 854369"/>
                    <a:gd name="connsiteY1133" fmla="*/ 544924 h 835143"/>
                    <a:gd name="connsiteX1134" fmla="*/ 7913 w 854369"/>
                    <a:gd name="connsiteY1134" fmla="*/ 544924 h 835143"/>
                    <a:gd name="connsiteX1135" fmla="*/ 6838 w 854369"/>
                    <a:gd name="connsiteY1135" fmla="*/ 544475 h 835143"/>
                    <a:gd name="connsiteX1136" fmla="*/ 6210 w 854369"/>
                    <a:gd name="connsiteY1136" fmla="*/ 543571 h 835143"/>
                    <a:gd name="connsiteX1137" fmla="*/ 5501 w 854369"/>
                    <a:gd name="connsiteY1137" fmla="*/ 541322 h 835143"/>
                    <a:gd name="connsiteX1138" fmla="*/ 5493 w 854369"/>
                    <a:gd name="connsiteY1138" fmla="*/ 539309 h 835143"/>
                    <a:gd name="connsiteX1139" fmla="*/ 5574 w 854369"/>
                    <a:gd name="connsiteY1139" fmla="*/ 538094 h 835143"/>
                    <a:gd name="connsiteX1140" fmla="*/ 5640 w 854369"/>
                    <a:gd name="connsiteY1140" fmla="*/ 537320 h 835143"/>
                    <a:gd name="connsiteX1141" fmla="*/ 7327 w 854369"/>
                    <a:gd name="connsiteY1141" fmla="*/ 535364 h 835143"/>
                    <a:gd name="connsiteX1142" fmla="*/ 8378 w 854369"/>
                    <a:gd name="connsiteY1142" fmla="*/ 532724 h 835143"/>
                    <a:gd name="connsiteX1143" fmla="*/ 8443 w 854369"/>
                    <a:gd name="connsiteY1143" fmla="*/ 532015 h 835143"/>
                    <a:gd name="connsiteX1144" fmla="*/ 7865 w 854369"/>
                    <a:gd name="connsiteY1144" fmla="*/ 529855 h 835143"/>
                    <a:gd name="connsiteX1145" fmla="*/ 7555 w 854369"/>
                    <a:gd name="connsiteY1145" fmla="*/ 528942 h 835143"/>
                    <a:gd name="connsiteX1146" fmla="*/ 7123 w 854369"/>
                    <a:gd name="connsiteY1146" fmla="*/ 528143 h 835143"/>
                    <a:gd name="connsiteX1147" fmla="*/ 6650 w 854369"/>
                    <a:gd name="connsiteY1147" fmla="*/ 526897 h 835143"/>
                    <a:gd name="connsiteX1148" fmla="*/ 6642 w 854369"/>
                    <a:gd name="connsiteY1148" fmla="*/ 525715 h 835143"/>
                    <a:gd name="connsiteX1149" fmla="*/ 6854 w 854369"/>
                    <a:gd name="connsiteY1149" fmla="*/ 522936 h 835143"/>
                    <a:gd name="connsiteX1150" fmla="*/ 5900 w 854369"/>
                    <a:gd name="connsiteY1150" fmla="*/ 520222 h 835143"/>
                    <a:gd name="connsiteX1151" fmla="*/ 5273 w 854369"/>
                    <a:gd name="connsiteY1151" fmla="*/ 519211 h 835143"/>
                    <a:gd name="connsiteX1152" fmla="*/ 4491 w 854369"/>
                    <a:gd name="connsiteY1152" fmla="*/ 518527 h 835143"/>
                    <a:gd name="connsiteX1153" fmla="*/ 1117 w 854369"/>
                    <a:gd name="connsiteY1153" fmla="*/ 516359 h 835143"/>
                    <a:gd name="connsiteX1154" fmla="*/ 277 w 854369"/>
                    <a:gd name="connsiteY1154" fmla="*/ 514778 h 835143"/>
                    <a:gd name="connsiteX1155" fmla="*/ 0 w 854369"/>
                    <a:gd name="connsiteY1155" fmla="*/ 512863 h 835143"/>
                    <a:gd name="connsiteX1156" fmla="*/ 41 w 854369"/>
                    <a:gd name="connsiteY1156" fmla="*/ 462644 h 835143"/>
                    <a:gd name="connsiteX1157" fmla="*/ 8011 w 854369"/>
                    <a:gd name="connsiteY1157" fmla="*/ 463206 h 835143"/>
                    <a:gd name="connsiteX1158" fmla="*/ 14360 w 854369"/>
                    <a:gd name="connsiteY1158" fmla="*/ 465390 h 835143"/>
                    <a:gd name="connsiteX1159" fmla="*/ 26870 w 854369"/>
                    <a:gd name="connsiteY1159" fmla="*/ 471372 h 835143"/>
                    <a:gd name="connsiteX1160" fmla="*/ 29429 w 854369"/>
                    <a:gd name="connsiteY1160" fmla="*/ 471902 h 835143"/>
                    <a:gd name="connsiteX1161" fmla="*/ 30113 w 854369"/>
                    <a:gd name="connsiteY1161" fmla="*/ 471470 h 835143"/>
                    <a:gd name="connsiteX1162" fmla="*/ 25753 w 854369"/>
                    <a:gd name="connsiteY1162" fmla="*/ 465545 h 835143"/>
                    <a:gd name="connsiteX1163" fmla="*/ 25069 w 854369"/>
                    <a:gd name="connsiteY1163" fmla="*/ 464975 h 835143"/>
                    <a:gd name="connsiteX1164" fmla="*/ 20024 w 854369"/>
                    <a:gd name="connsiteY1164" fmla="*/ 462766 h 835143"/>
                    <a:gd name="connsiteX1165" fmla="*/ 14107 w 854369"/>
                    <a:gd name="connsiteY1165" fmla="*/ 461674 h 835143"/>
                    <a:gd name="connsiteX1166" fmla="*/ 13651 w 854369"/>
                    <a:gd name="connsiteY1166" fmla="*/ 461242 h 835143"/>
                    <a:gd name="connsiteX1167" fmla="*/ 12551 w 854369"/>
                    <a:gd name="connsiteY1167" fmla="*/ 459156 h 835143"/>
                    <a:gd name="connsiteX1168" fmla="*/ 12901 w 854369"/>
                    <a:gd name="connsiteY1168" fmla="*/ 458341 h 835143"/>
                    <a:gd name="connsiteX1169" fmla="*/ 14189 w 854369"/>
                    <a:gd name="connsiteY1169" fmla="*/ 457974 h 835143"/>
                    <a:gd name="connsiteX1170" fmla="*/ 18598 w 854369"/>
                    <a:gd name="connsiteY1170" fmla="*/ 457991 h 835143"/>
                    <a:gd name="connsiteX1171" fmla="*/ 21206 w 854369"/>
                    <a:gd name="connsiteY1171" fmla="*/ 457656 h 835143"/>
                    <a:gd name="connsiteX1172" fmla="*/ 21564 w 854369"/>
                    <a:gd name="connsiteY1172" fmla="*/ 456825 h 835143"/>
                    <a:gd name="connsiteX1173" fmla="*/ 19690 w 854369"/>
                    <a:gd name="connsiteY1173" fmla="*/ 456638 h 835143"/>
                    <a:gd name="connsiteX1174" fmla="*/ 17424 w 854369"/>
                    <a:gd name="connsiteY1174" fmla="*/ 455831 h 835143"/>
                    <a:gd name="connsiteX1175" fmla="*/ 14767 w 854369"/>
                    <a:gd name="connsiteY1175" fmla="*/ 454429 h 835143"/>
                    <a:gd name="connsiteX1176" fmla="*/ 13268 w 854369"/>
                    <a:gd name="connsiteY1176" fmla="*/ 453101 h 835143"/>
                    <a:gd name="connsiteX1177" fmla="*/ 18695 w 854369"/>
                    <a:gd name="connsiteY1177" fmla="*/ 444275 h 835143"/>
                    <a:gd name="connsiteX1178" fmla="*/ 20594 w 854369"/>
                    <a:gd name="connsiteY1178" fmla="*/ 445163 h 835143"/>
                    <a:gd name="connsiteX1179" fmla="*/ 23455 w 854369"/>
                    <a:gd name="connsiteY1179" fmla="*/ 443117 h 835143"/>
                    <a:gd name="connsiteX1180" fmla="*/ 28581 w 854369"/>
                    <a:gd name="connsiteY1180" fmla="*/ 444413 h 835143"/>
                    <a:gd name="connsiteX1181" fmla="*/ 29518 w 854369"/>
                    <a:gd name="connsiteY1181" fmla="*/ 443704 h 835143"/>
                    <a:gd name="connsiteX1182" fmla="*/ 30146 w 854369"/>
                    <a:gd name="connsiteY1182" fmla="*/ 439214 h 835143"/>
                    <a:gd name="connsiteX1183" fmla="*/ 30912 w 854369"/>
                    <a:gd name="connsiteY1183" fmla="*/ 438138 h 835143"/>
                    <a:gd name="connsiteX1184" fmla="*/ 32354 w 854369"/>
                    <a:gd name="connsiteY1184" fmla="*/ 437331 h 835143"/>
                    <a:gd name="connsiteX1185" fmla="*/ 39494 w 854369"/>
                    <a:gd name="connsiteY1185" fmla="*/ 436532 h 835143"/>
                    <a:gd name="connsiteX1186" fmla="*/ 48401 w 854369"/>
                    <a:gd name="connsiteY1186" fmla="*/ 437331 h 835143"/>
                    <a:gd name="connsiteX1187" fmla="*/ 49314 w 854369"/>
                    <a:gd name="connsiteY1187" fmla="*/ 436899 h 835143"/>
                    <a:gd name="connsiteX1188" fmla="*/ 48458 w 854369"/>
                    <a:gd name="connsiteY1188" fmla="*/ 433900 h 835143"/>
                    <a:gd name="connsiteX1189" fmla="*/ 48352 w 854369"/>
                    <a:gd name="connsiteY1189" fmla="*/ 432718 h 835143"/>
                    <a:gd name="connsiteX1190" fmla="*/ 48890 w 854369"/>
                    <a:gd name="connsiteY1190" fmla="*/ 430013 h 835143"/>
                    <a:gd name="connsiteX1191" fmla="*/ 49436 w 854369"/>
                    <a:gd name="connsiteY1191" fmla="*/ 428562 h 835143"/>
                    <a:gd name="connsiteX1192" fmla="*/ 50488 w 854369"/>
                    <a:gd name="connsiteY1192" fmla="*/ 427836 h 835143"/>
                    <a:gd name="connsiteX1193" fmla="*/ 54628 w 854369"/>
                    <a:gd name="connsiteY1193" fmla="*/ 428407 h 835143"/>
                    <a:gd name="connsiteX1194" fmla="*/ 55924 w 854369"/>
                    <a:gd name="connsiteY1194" fmla="*/ 429744 h 835143"/>
                    <a:gd name="connsiteX1195" fmla="*/ 57309 w 854369"/>
                    <a:gd name="connsiteY1195" fmla="*/ 432034 h 835143"/>
                    <a:gd name="connsiteX1196" fmla="*/ 58711 w 854369"/>
                    <a:gd name="connsiteY1196" fmla="*/ 433338 h 835143"/>
                    <a:gd name="connsiteX1197" fmla="*/ 63120 w 854369"/>
                    <a:gd name="connsiteY1197" fmla="*/ 434658 h 835143"/>
                    <a:gd name="connsiteX1198" fmla="*/ 63617 w 854369"/>
                    <a:gd name="connsiteY1198" fmla="*/ 435562 h 835143"/>
                    <a:gd name="connsiteX1199" fmla="*/ 61938 w 854369"/>
                    <a:gd name="connsiteY1199" fmla="*/ 439026 h 835143"/>
                    <a:gd name="connsiteX1200" fmla="*/ 60178 w 854369"/>
                    <a:gd name="connsiteY1200" fmla="*/ 440852 h 835143"/>
                    <a:gd name="connsiteX1201" fmla="*/ 56543 w 854369"/>
                    <a:gd name="connsiteY1201" fmla="*/ 445619 h 835143"/>
                    <a:gd name="connsiteX1202" fmla="*/ 56315 w 854369"/>
                    <a:gd name="connsiteY1202" fmla="*/ 446850 h 835143"/>
                    <a:gd name="connsiteX1203" fmla="*/ 61922 w 854369"/>
                    <a:gd name="connsiteY1203" fmla="*/ 444706 h 835143"/>
                    <a:gd name="connsiteX1204" fmla="*/ 68221 w 854369"/>
                    <a:gd name="connsiteY1204" fmla="*/ 441740 h 835143"/>
                    <a:gd name="connsiteX1205" fmla="*/ 73633 w 854369"/>
                    <a:gd name="connsiteY1205" fmla="*/ 440102 h 835143"/>
                    <a:gd name="connsiteX1206" fmla="*/ 78156 w 854369"/>
                    <a:gd name="connsiteY1206" fmla="*/ 439800 h 835143"/>
                    <a:gd name="connsiteX1207" fmla="*/ 81391 w 854369"/>
                    <a:gd name="connsiteY1207" fmla="*/ 438839 h 835143"/>
                    <a:gd name="connsiteX1208" fmla="*/ 83339 w 854369"/>
                    <a:gd name="connsiteY1208" fmla="*/ 437209 h 835143"/>
                    <a:gd name="connsiteX1209" fmla="*/ 84733 w 854369"/>
                    <a:gd name="connsiteY1209" fmla="*/ 435546 h 835143"/>
                    <a:gd name="connsiteX1210" fmla="*/ 87536 w 854369"/>
                    <a:gd name="connsiteY1210" fmla="*/ 430159 h 835143"/>
                    <a:gd name="connsiteX1211" fmla="*/ 89403 w 854369"/>
                    <a:gd name="connsiteY1211" fmla="*/ 429222 h 835143"/>
                    <a:gd name="connsiteX1212" fmla="*/ 97177 w 854369"/>
                    <a:gd name="connsiteY1212" fmla="*/ 429556 h 835143"/>
                    <a:gd name="connsiteX1213" fmla="*/ 99027 w 854369"/>
                    <a:gd name="connsiteY1213" fmla="*/ 429393 h 835143"/>
                    <a:gd name="connsiteX1214" fmla="*/ 100225 w 854369"/>
                    <a:gd name="connsiteY1214" fmla="*/ 428863 h 835143"/>
                    <a:gd name="connsiteX1215" fmla="*/ 100005 w 854369"/>
                    <a:gd name="connsiteY1215" fmla="*/ 428187 h 835143"/>
                    <a:gd name="connsiteX1216" fmla="*/ 98359 w 854369"/>
                    <a:gd name="connsiteY1216" fmla="*/ 427348 h 835143"/>
                    <a:gd name="connsiteX1217" fmla="*/ 96142 w 854369"/>
                    <a:gd name="connsiteY1217" fmla="*/ 427119 h 835143"/>
                    <a:gd name="connsiteX1218" fmla="*/ 96085 w 854369"/>
                    <a:gd name="connsiteY1218" fmla="*/ 426736 h 835143"/>
                    <a:gd name="connsiteX1219" fmla="*/ 96908 w 854369"/>
                    <a:gd name="connsiteY1219" fmla="*/ 425856 h 835143"/>
                    <a:gd name="connsiteX1220" fmla="*/ 98115 w 854369"/>
                    <a:gd name="connsiteY1220" fmla="*/ 425343 h 835143"/>
                    <a:gd name="connsiteX1221" fmla="*/ 101953 w 854369"/>
                    <a:gd name="connsiteY1221" fmla="*/ 424731 h 835143"/>
                    <a:gd name="connsiteX1222" fmla="*/ 104471 w 854369"/>
                    <a:gd name="connsiteY1222" fmla="*/ 426671 h 835143"/>
                    <a:gd name="connsiteX1223" fmla="*/ 106183 w 854369"/>
                    <a:gd name="connsiteY1223" fmla="*/ 426810 h 835143"/>
                    <a:gd name="connsiteX1224" fmla="*/ 111871 w 854369"/>
                    <a:gd name="connsiteY1224" fmla="*/ 424658 h 835143"/>
                    <a:gd name="connsiteX1225" fmla="*/ 120608 w 854369"/>
                    <a:gd name="connsiteY1225" fmla="*/ 418929 h 835143"/>
                    <a:gd name="connsiteX1226" fmla="*/ 124104 w 854369"/>
                    <a:gd name="connsiteY1226" fmla="*/ 417332 h 835143"/>
                    <a:gd name="connsiteX1227" fmla="*/ 127128 w 854369"/>
                    <a:gd name="connsiteY1227" fmla="*/ 417054 h 835143"/>
                    <a:gd name="connsiteX1228" fmla="*/ 129687 w 854369"/>
                    <a:gd name="connsiteY1228" fmla="*/ 418098 h 835143"/>
                    <a:gd name="connsiteX1229" fmla="*/ 131659 w 854369"/>
                    <a:gd name="connsiteY1229" fmla="*/ 417820 h 835143"/>
                    <a:gd name="connsiteX1230" fmla="*/ 134251 w 854369"/>
                    <a:gd name="connsiteY1230" fmla="*/ 414585 h 835143"/>
                    <a:gd name="connsiteX1231" fmla="*/ 135269 w 854369"/>
                    <a:gd name="connsiteY1231" fmla="*/ 412865 h 835143"/>
                    <a:gd name="connsiteX1232" fmla="*/ 136867 w 854369"/>
                    <a:gd name="connsiteY1232" fmla="*/ 411366 h 835143"/>
                    <a:gd name="connsiteX1233" fmla="*/ 143329 w 854369"/>
                    <a:gd name="connsiteY1233" fmla="*/ 408000 h 835143"/>
                    <a:gd name="connsiteX1234" fmla="*/ 147469 w 854369"/>
                    <a:gd name="connsiteY1234" fmla="*/ 407283 h 835143"/>
                    <a:gd name="connsiteX1235" fmla="*/ 150004 w 854369"/>
                    <a:gd name="connsiteY1235" fmla="*/ 407902 h 835143"/>
                    <a:gd name="connsiteX1236" fmla="*/ 153019 w 854369"/>
                    <a:gd name="connsiteY1236" fmla="*/ 409304 h 835143"/>
                    <a:gd name="connsiteX1237" fmla="*/ 155497 w 854369"/>
                    <a:gd name="connsiteY1237" fmla="*/ 409834 h 835143"/>
                    <a:gd name="connsiteX1238" fmla="*/ 158765 w 854369"/>
                    <a:gd name="connsiteY1238" fmla="*/ 409434 h 835143"/>
                    <a:gd name="connsiteX1239" fmla="*/ 161202 w 854369"/>
                    <a:gd name="connsiteY1239" fmla="*/ 409614 h 835143"/>
                    <a:gd name="connsiteX1240" fmla="*/ 162367 w 854369"/>
                    <a:gd name="connsiteY1240" fmla="*/ 408937 h 835143"/>
                    <a:gd name="connsiteX1241" fmla="*/ 166532 w 854369"/>
                    <a:gd name="connsiteY1241" fmla="*/ 405099 h 835143"/>
                    <a:gd name="connsiteX1242" fmla="*/ 167884 w 854369"/>
                    <a:gd name="connsiteY1242" fmla="*/ 405058 h 835143"/>
                    <a:gd name="connsiteX1243" fmla="*/ 169197 w 854369"/>
                    <a:gd name="connsiteY1243" fmla="*/ 406199 h 835143"/>
                    <a:gd name="connsiteX1244" fmla="*/ 171291 w 854369"/>
                    <a:gd name="connsiteY1244" fmla="*/ 408986 h 835143"/>
                    <a:gd name="connsiteX1245" fmla="*/ 171291 w 854369"/>
                    <a:gd name="connsiteY1245" fmla="*/ 410380 h 835143"/>
                    <a:gd name="connsiteX1246" fmla="*/ 168569 w 854369"/>
                    <a:gd name="connsiteY1246" fmla="*/ 413778 h 835143"/>
                    <a:gd name="connsiteX1247" fmla="*/ 148464 w 854369"/>
                    <a:gd name="connsiteY1247" fmla="*/ 423476 h 835143"/>
                    <a:gd name="connsiteX1248" fmla="*/ 142270 w 854369"/>
                    <a:gd name="connsiteY1248" fmla="*/ 427657 h 835143"/>
                    <a:gd name="connsiteX1249" fmla="*/ 139214 w 854369"/>
                    <a:gd name="connsiteY1249" fmla="*/ 429189 h 835143"/>
                    <a:gd name="connsiteX1250" fmla="*/ 136035 w 854369"/>
                    <a:gd name="connsiteY1250" fmla="*/ 430053 h 835143"/>
                    <a:gd name="connsiteX1251" fmla="*/ 129890 w 854369"/>
                    <a:gd name="connsiteY1251" fmla="*/ 430770 h 835143"/>
                    <a:gd name="connsiteX1252" fmla="*/ 127454 w 854369"/>
                    <a:gd name="connsiteY1252" fmla="*/ 431626 h 835143"/>
                    <a:gd name="connsiteX1253" fmla="*/ 123322 w 854369"/>
                    <a:gd name="connsiteY1253" fmla="*/ 432384 h 835143"/>
                    <a:gd name="connsiteX1254" fmla="*/ 113656 w 854369"/>
                    <a:gd name="connsiteY1254" fmla="*/ 433721 h 835143"/>
                    <a:gd name="connsiteX1255" fmla="*/ 111790 w 854369"/>
                    <a:gd name="connsiteY1255" fmla="*/ 434364 h 835143"/>
                    <a:gd name="connsiteX1256" fmla="*/ 110527 w 854369"/>
                    <a:gd name="connsiteY1256" fmla="*/ 435131 h 835143"/>
                    <a:gd name="connsiteX1257" fmla="*/ 107055 w 854369"/>
                    <a:gd name="connsiteY1257" fmla="*/ 440240 h 835143"/>
                    <a:gd name="connsiteX1258" fmla="*/ 105368 w 854369"/>
                    <a:gd name="connsiteY1258" fmla="*/ 441911 h 835143"/>
                    <a:gd name="connsiteX1259" fmla="*/ 102043 w 854369"/>
                    <a:gd name="connsiteY1259" fmla="*/ 444421 h 835143"/>
                    <a:gd name="connsiteX1260" fmla="*/ 98310 w 854369"/>
                    <a:gd name="connsiteY1260" fmla="*/ 445953 h 835143"/>
                    <a:gd name="connsiteX1261" fmla="*/ 93217 w 854369"/>
                    <a:gd name="connsiteY1261" fmla="*/ 446540 h 835143"/>
                    <a:gd name="connsiteX1262" fmla="*/ 89981 w 854369"/>
                    <a:gd name="connsiteY1262" fmla="*/ 448928 h 835143"/>
                    <a:gd name="connsiteX1263" fmla="*/ 86249 w 854369"/>
                    <a:gd name="connsiteY1263" fmla="*/ 453533 h 835143"/>
                    <a:gd name="connsiteX1264" fmla="*/ 83233 w 854369"/>
                    <a:gd name="connsiteY1264" fmla="*/ 456735 h 835143"/>
                    <a:gd name="connsiteX1265" fmla="*/ 79794 w 854369"/>
                    <a:gd name="connsiteY1265" fmla="*/ 459449 h 835143"/>
                    <a:gd name="connsiteX1266" fmla="*/ 76061 w 854369"/>
                    <a:gd name="connsiteY1266" fmla="*/ 463003 h 835143"/>
                    <a:gd name="connsiteX1267" fmla="*/ 75084 w 854369"/>
                    <a:gd name="connsiteY1267" fmla="*/ 464869 h 835143"/>
                    <a:gd name="connsiteX1268" fmla="*/ 76200 w 854369"/>
                    <a:gd name="connsiteY1268" fmla="*/ 467330 h 835143"/>
                    <a:gd name="connsiteX1269" fmla="*/ 76827 w 854369"/>
                    <a:gd name="connsiteY1269" fmla="*/ 468145 h 835143"/>
                    <a:gd name="connsiteX1270" fmla="*/ 80585 w 854369"/>
                    <a:gd name="connsiteY1270" fmla="*/ 469465 h 835143"/>
                    <a:gd name="connsiteX1271" fmla="*/ 82043 w 854369"/>
                    <a:gd name="connsiteY1271" fmla="*/ 469172 h 835143"/>
                    <a:gd name="connsiteX1272" fmla="*/ 80690 w 854369"/>
                    <a:gd name="connsiteY1272" fmla="*/ 467852 h 835143"/>
                    <a:gd name="connsiteX1273" fmla="*/ 77537 w 854369"/>
                    <a:gd name="connsiteY1273" fmla="*/ 465953 h 835143"/>
                    <a:gd name="connsiteX1274" fmla="*/ 77113 w 854369"/>
                    <a:gd name="connsiteY1274" fmla="*/ 465268 h 835143"/>
                    <a:gd name="connsiteX1275" fmla="*/ 77920 w 854369"/>
                    <a:gd name="connsiteY1275" fmla="*/ 464738 h 835143"/>
                    <a:gd name="connsiteX1276" fmla="*/ 92752 w 854369"/>
                    <a:gd name="connsiteY1276" fmla="*/ 466165 h 835143"/>
                    <a:gd name="connsiteX1277" fmla="*/ 95931 w 854369"/>
                    <a:gd name="connsiteY1277" fmla="*/ 464714 h 835143"/>
                    <a:gd name="connsiteX1278" fmla="*/ 97047 w 854369"/>
                    <a:gd name="connsiteY1278" fmla="*/ 463492 h 835143"/>
                    <a:gd name="connsiteX1279" fmla="*/ 96811 w 854369"/>
                    <a:gd name="connsiteY1279" fmla="*/ 462856 h 835143"/>
                    <a:gd name="connsiteX1280" fmla="*/ 92785 w 854369"/>
                    <a:gd name="connsiteY1280" fmla="*/ 462595 h 835143"/>
                    <a:gd name="connsiteX1281" fmla="*/ 91929 w 854369"/>
                    <a:gd name="connsiteY1281" fmla="*/ 461422 h 835143"/>
                    <a:gd name="connsiteX1282" fmla="*/ 91293 w 854369"/>
                    <a:gd name="connsiteY1282" fmla="*/ 459213 h 835143"/>
                    <a:gd name="connsiteX1283" fmla="*/ 91163 w 854369"/>
                    <a:gd name="connsiteY1283" fmla="*/ 457469 h 835143"/>
                    <a:gd name="connsiteX1284" fmla="*/ 91522 w 854369"/>
                    <a:gd name="connsiteY1284" fmla="*/ 456173 h 835143"/>
                    <a:gd name="connsiteX1285" fmla="*/ 92426 w 854369"/>
                    <a:gd name="connsiteY1285" fmla="*/ 454511 h 835143"/>
                    <a:gd name="connsiteX1286" fmla="*/ 96737 w 854369"/>
                    <a:gd name="connsiteY1286" fmla="*/ 451805 h 835143"/>
                    <a:gd name="connsiteX1287" fmla="*/ 101383 w 854369"/>
                    <a:gd name="connsiteY1287" fmla="*/ 450639 h 835143"/>
                    <a:gd name="connsiteX1288" fmla="*/ 104952 w 854369"/>
                    <a:gd name="connsiteY1288" fmla="*/ 449099 h 835143"/>
                    <a:gd name="connsiteX1289" fmla="*/ 106925 w 854369"/>
                    <a:gd name="connsiteY1289" fmla="*/ 447648 h 835143"/>
                    <a:gd name="connsiteX1290" fmla="*/ 112246 w 854369"/>
                    <a:gd name="connsiteY1290" fmla="*/ 445171 h 835143"/>
                    <a:gd name="connsiteX1291" fmla="*/ 114390 w 854369"/>
                    <a:gd name="connsiteY1291" fmla="*/ 443158 h 835143"/>
                    <a:gd name="connsiteX1292" fmla="*/ 115547 w 854369"/>
                    <a:gd name="connsiteY1292" fmla="*/ 441601 h 835143"/>
                    <a:gd name="connsiteX1293" fmla="*/ 115694 w 854369"/>
                    <a:gd name="connsiteY1293" fmla="*/ 440819 h 835143"/>
                    <a:gd name="connsiteX1294" fmla="*/ 114724 w 854369"/>
                    <a:gd name="connsiteY1294" fmla="*/ 440257 h 835143"/>
                    <a:gd name="connsiteX1295" fmla="*/ 115514 w 854369"/>
                    <a:gd name="connsiteY1295" fmla="*/ 438912 h 835143"/>
                    <a:gd name="connsiteX1296" fmla="*/ 119402 w 854369"/>
                    <a:gd name="connsiteY1296" fmla="*/ 437714 h 835143"/>
                    <a:gd name="connsiteX1297" fmla="*/ 121113 w 854369"/>
                    <a:gd name="connsiteY1297" fmla="*/ 437616 h 835143"/>
                    <a:gd name="connsiteX1298" fmla="*/ 126565 w 854369"/>
                    <a:gd name="connsiteY1298" fmla="*/ 438765 h 835143"/>
                    <a:gd name="connsiteX1299" fmla="*/ 127560 w 854369"/>
                    <a:gd name="connsiteY1299" fmla="*/ 439670 h 835143"/>
                    <a:gd name="connsiteX1300" fmla="*/ 127022 w 854369"/>
                    <a:gd name="connsiteY1300" fmla="*/ 442050 h 835143"/>
                    <a:gd name="connsiteX1301" fmla="*/ 127788 w 854369"/>
                    <a:gd name="connsiteY1301" fmla="*/ 441944 h 835143"/>
                    <a:gd name="connsiteX1302" fmla="*/ 129890 w 854369"/>
                    <a:gd name="connsiteY1302" fmla="*/ 438904 h 835143"/>
                    <a:gd name="connsiteX1303" fmla="*/ 131064 w 854369"/>
                    <a:gd name="connsiteY1303" fmla="*/ 437893 h 835143"/>
                    <a:gd name="connsiteX1304" fmla="*/ 132278 w 854369"/>
                    <a:gd name="connsiteY1304" fmla="*/ 437698 h 835143"/>
                    <a:gd name="connsiteX1305" fmla="*/ 133501 w 854369"/>
                    <a:gd name="connsiteY1305" fmla="*/ 438081 h 835143"/>
                    <a:gd name="connsiteX1306" fmla="*/ 134740 w 854369"/>
                    <a:gd name="connsiteY1306" fmla="*/ 439059 h 835143"/>
                    <a:gd name="connsiteX1307" fmla="*/ 135416 w 854369"/>
                    <a:gd name="connsiteY1307" fmla="*/ 441968 h 835143"/>
                    <a:gd name="connsiteX1308" fmla="*/ 135522 w 854369"/>
                    <a:gd name="connsiteY1308" fmla="*/ 446825 h 835143"/>
                    <a:gd name="connsiteX1309" fmla="*/ 135807 w 854369"/>
                    <a:gd name="connsiteY1309" fmla="*/ 448781 h 835143"/>
                    <a:gd name="connsiteX1310" fmla="*/ 137201 w 854369"/>
                    <a:gd name="connsiteY1310" fmla="*/ 445424 h 835143"/>
                    <a:gd name="connsiteX1311" fmla="*/ 138179 w 854369"/>
                    <a:gd name="connsiteY1311" fmla="*/ 443867 h 835143"/>
                    <a:gd name="connsiteX1312" fmla="*/ 143492 w 854369"/>
                    <a:gd name="connsiteY1312" fmla="*/ 436728 h 835143"/>
                    <a:gd name="connsiteX1313" fmla="*/ 147078 w 854369"/>
                    <a:gd name="connsiteY1313" fmla="*/ 432808 h 835143"/>
                    <a:gd name="connsiteX1314" fmla="*/ 151104 w 854369"/>
                    <a:gd name="connsiteY1314" fmla="*/ 428977 h 835143"/>
                    <a:gd name="connsiteX1315" fmla="*/ 156956 w 854369"/>
                    <a:gd name="connsiteY1315" fmla="*/ 426117 h 835143"/>
                    <a:gd name="connsiteX1316" fmla="*/ 170492 w 854369"/>
                    <a:gd name="connsiteY1316" fmla="*/ 421374 h 835143"/>
                    <a:gd name="connsiteX1317" fmla="*/ 178112 w 854369"/>
                    <a:gd name="connsiteY1317" fmla="*/ 420094 h 835143"/>
                    <a:gd name="connsiteX1318" fmla="*/ 181975 w 854369"/>
                    <a:gd name="connsiteY1318" fmla="*/ 418904 h 835143"/>
                    <a:gd name="connsiteX1319" fmla="*/ 183866 w 854369"/>
                    <a:gd name="connsiteY1319" fmla="*/ 417878 h 835143"/>
                    <a:gd name="connsiteX1320" fmla="*/ 185064 w 854369"/>
                    <a:gd name="connsiteY1320" fmla="*/ 416614 h 835143"/>
                    <a:gd name="connsiteX1321" fmla="*/ 187183 w 854369"/>
                    <a:gd name="connsiteY1321" fmla="*/ 415155 h 835143"/>
                    <a:gd name="connsiteX1322" fmla="*/ 187566 w 854369"/>
                    <a:gd name="connsiteY1322" fmla="*/ 415278 h 835143"/>
                    <a:gd name="connsiteX1323" fmla="*/ 186743 w 854369"/>
                    <a:gd name="connsiteY1323" fmla="*/ 418334 h 835143"/>
                    <a:gd name="connsiteX1324" fmla="*/ 186205 w 854369"/>
                    <a:gd name="connsiteY1324" fmla="*/ 419214 h 835143"/>
                    <a:gd name="connsiteX1325" fmla="*/ 181250 w 854369"/>
                    <a:gd name="connsiteY1325" fmla="*/ 421113 h 835143"/>
                    <a:gd name="connsiteX1326" fmla="*/ 180761 w 854369"/>
                    <a:gd name="connsiteY1326" fmla="*/ 422547 h 835143"/>
                    <a:gd name="connsiteX1327" fmla="*/ 181299 w 854369"/>
                    <a:gd name="connsiteY1327" fmla="*/ 424780 h 835143"/>
                    <a:gd name="connsiteX1328" fmla="*/ 182147 w 854369"/>
                    <a:gd name="connsiteY1328" fmla="*/ 426247 h 835143"/>
                    <a:gd name="connsiteX1329" fmla="*/ 183328 w 854369"/>
                    <a:gd name="connsiteY1329" fmla="*/ 426956 h 835143"/>
                    <a:gd name="connsiteX1330" fmla="*/ 185382 w 854369"/>
                    <a:gd name="connsiteY1330" fmla="*/ 426451 h 835143"/>
                    <a:gd name="connsiteX1331" fmla="*/ 188324 w 854369"/>
                    <a:gd name="connsiteY1331" fmla="*/ 424740 h 835143"/>
                    <a:gd name="connsiteX1332" fmla="*/ 191983 w 854369"/>
                    <a:gd name="connsiteY1332" fmla="*/ 422107 h 835143"/>
                    <a:gd name="connsiteX1333" fmla="*/ 199889 w 854369"/>
                    <a:gd name="connsiteY1333" fmla="*/ 415424 h 835143"/>
                    <a:gd name="connsiteX1334" fmla="*/ 200573 w 854369"/>
                    <a:gd name="connsiteY1334" fmla="*/ 414202 h 835143"/>
                    <a:gd name="connsiteX1335" fmla="*/ 202570 w 854369"/>
                    <a:gd name="connsiteY1335" fmla="*/ 408823 h 835143"/>
                    <a:gd name="connsiteX1336" fmla="*/ 207101 w 854369"/>
                    <a:gd name="connsiteY1336" fmla="*/ 406443 h 835143"/>
                    <a:gd name="connsiteX1337" fmla="*/ 215308 w 854369"/>
                    <a:gd name="connsiteY1337" fmla="*/ 403738 h 835143"/>
                    <a:gd name="connsiteX1338" fmla="*/ 217321 w 854369"/>
                    <a:gd name="connsiteY1338" fmla="*/ 402010 h 835143"/>
                    <a:gd name="connsiteX1339" fmla="*/ 210125 w 854369"/>
                    <a:gd name="connsiteY1339" fmla="*/ 400551 h 835143"/>
                    <a:gd name="connsiteX1340" fmla="*/ 208633 w 854369"/>
                    <a:gd name="connsiteY1340" fmla="*/ 399541 h 835143"/>
                    <a:gd name="connsiteX1341" fmla="*/ 208397 w 854369"/>
                    <a:gd name="connsiteY1341" fmla="*/ 398938 h 835143"/>
                    <a:gd name="connsiteX1342" fmla="*/ 209758 w 854369"/>
                    <a:gd name="connsiteY1342" fmla="*/ 397397 h 835143"/>
                    <a:gd name="connsiteX1343" fmla="*/ 206465 w 854369"/>
                    <a:gd name="connsiteY1343" fmla="*/ 395865 h 835143"/>
                    <a:gd name="connsiteX1344" fmla="*/ 205267 w 854369"/>
                    <a:gd name="connsiteY1344" fmla="*/ 394928 h 835143"/>
                    <a:gd name="connsiteX1345" fmla="*/ 205308 w 854369"/>
                    <a:gd name="connsiteY1345" fmla="*/ 392165 h 835143"/>
                    <a:gd name="connsiteX1346" fmla="*/ 206327 w 854369"/>
                    <a:gd name="connsiteY1346" fmla="*/ 390193 h 835143"/>
                    <a:gd name="connsiteX1347" fmla="*/ 208478 w 854369"/>
                    <a:gd name="connsiteY1347" fmla="*/ 388278 h 835143"/>
                    <a:gd name="connsiteX1348" fmla="*/ 209709 w 854369"/>
                    <a:gd name="connsiteY1348" fmla="*/ 387944 h 835143"/>
                    <a:gd name="connsiteX1349" fmla="*/ 212920 w 854369"/>
                    <a:gd name="connsiteY1349" fmla="*/ 389060 h 835143"/>
                    <a:gd name="connsiteX1350" fmla="*/ 215617 w 854369"/>
                    <a:gd name="connsiteY1350" fmla="*/ 390494 h 835143"/>
                    <a:gd name="connsiteX1351" fmla="*/ 224941 w 854369"/>
                    <a:gd name="connsiteY1351" fmla="*/ 397153 h 835143"/>
                    <a:gd name="connsiteX1352" fmla="*/ 228682 w 854369"/>
                    <a:gd name="connsiteY1352" fmla="*/ 400405 h 835143"/>
                    <a:gd name="connsiteX1353" fmla="*/ 230858 w 854369"/>
                    <a:gd name="connsiteY1353" fmla="*/ 402947 h 835143"/>
                    <a:gd name="connsiteX1354" fmla="*/ 236106 w 854369"/>
                    <a:gd name="connsiteY1354" fmla="*/ 410893 h 835143"/>
                    <a:gd name="connsiteX1355" fmla="*/ 238420 w 854369"/>
                    <a:gd name="connsiteY1355" fmla="*/ 415473 h 835143"/>
                    <a:gd name="connsiteX1356" fmla="*/ 240279 w 854369"/>
                    <a:gd name="connsiteY1356" fmla="*/ 420192 h 835143"/>
                    <a:gd name="connsiteX1357" fmla="*/ 242104 w 854369"/>
                    <a:gd name="connsiteY1357" fmla="*/ 423590 h 835143"/>
                    <a:gd name="connsiteX1358" fmla="*/ 243905 w 854369"/>
                    <a:gd name="connsiteY1358" fmla="*/ 425669 h 835143"/>
                    <a:gd name="connsiteX1359" fmla="*/ 252878 w 854369"/>
                    <a:gd name="connsiteY1359" fmla="*/ 433892 h 835143"/>
                    <a:gd name="connsiteX1360" fmla="*/ 257507 w 854369"/>
                    <a:gd name="connsiteY1360" fmla="*/ 437355 h 835143"/>
                    <a:gd name="connsiteX1361" fmla="*/ 261386 w 854369"/>
                    <a:gd name="connsiteY1361" fmla="*/ 439507 h 835143"/>
                    <a:gd name="connsiteX1362" fmla="*/ 265844 w 854369"/>
                    <a:gd name="connsiteY1362" fmla="*/ 441210 h 835143"/>
                    <a:gd name="connsiteX1363" fmla="*/ 270873 w 854369"/>
                    <a:gd name="connsiteY1363" fmla="*/ 442473 h 835143"/>
                    <a:gd name="connsiteX1364" fmla="*/ 274296 w 854369"/>
                    <a:gd name="connsiteY1364" fmla="*/ 442579 h 835143"/>
                    <a:gd name="connsiteX1365" fmla="*/ 279625 w 854369"/>
                    <a:gd name="connsiteY1365" fmla="*/ 439091 h 835143"/>
                    <a:gd name="connsiteX1366" fmla="*/ 279748 w 854369"/>
                    <a:gd name="connsiteY1366" fmla="*/ 436785 h 835143"/>
                    <a:gd name="connsiteX1367" fmla="*/ 277401 w 854369"/>
                    <a:gd name="connsiteY1367" fmla="*/ 432963 h 835143"/>
                    <a:gd name="connsiteX1368" fmla="*/ 275029 w 854369"/>
                    <a:gd name="connsiteY1368" fmla="*/ 430298 h 835143"/>
                    <a:gd name="connsiteX1369" fmla="*/ 275314 w 854369"/>
                    <a:gd name="connsiteY1369" fmla="*/ 428676 h 835143"/>
                    <a:gd name="connsiteX1370" fmla="*/ 278444 w 854369"/>
                    <a:gd name="connsiteY1370" fmla="*/ 425571 h 835143"/>
                    <a:gd name="connsiteX1371" fmla="*/ 278240 w 854369"/>
                    <a:gd name="connsiteY1371" fmla="*/ 424487 h 835143"/>
                    <a:gd name="connsiteX1372" fmla="*/ 278900 w 854369"/>
                    <a:gd name="connsiteY1372" fmla="*/ 421284 h 835143"/>
                    <a:gd name="connsiteX1373" fmla="*/ 281060 w 854369"/>
                    <a:gd name="connsiteY1373" fmla="*/ 421895 h 835143"/>
                    <a:gd name="connsiteX1374" fmla="*/ 281916 w 854369"/>
                    <a:gd name="connsiteY1374" fmla="*/ 421765 h 835143"/>
                    <a:gd name="connsiteX1375" fmla="*/ 283122 w 854369"/>
                    <a:gd name="connsiteY1375" fmla="*/ 420583 h 835143"/>
                    <a:gd name="connsiteX1376" fmla="*/ 284678 w 854369"/>
                    <a:gd name="connsiteY1376" fmla="*/ 418350 h 835143"/>
                    <a:gd name="connsiteX1377" fmla="*/ 286642 w 854369"/>
                    <a:gd name="connsiteY1377" fmla="*/ 416508 h 835143"/>
                    <a:gd name="connsiteX1378" fmla="*/ 289006 w 854369"/>
                    <a:gd name="connsiteY1378" fmla="*/ 415050 h 835143"/>
                    <a:gd name="connsiteX1379" fmla="*/ 289650 w 854369"/>
                    <a:gd name="connsiteY1379" fmla="*/ 414088 h 835143"/>
                    <a:gd name="connsiteX1380" fmla="*/ 287303 w 854369"/>
                    <a:gd name="connsiteY1380" fmla="*/ 413395 h 835143"/>
                    <a:gd name="connsiteX1381" fmla="*/ 285876 w 854369"/>
                    <a:gd name="connsiteY1381" fmla="*/ 413395 h 835143"/>
                    <a:gd name="connsiteX1382" fmla="*/ 284825 w 854369"/>
                    <a:gd name="connsiteY1382" fmla="*/ 413085 h 835143"/>
                    <a:gd name="connsiteX1383" fmla="*/ 284132 w 854369"/>
                    <a:gd name="connsiteY1383" fmla="*/ 412450 h 835143"/>
                    <a:gd name="connsiteX1384" fmla="*/ 285078 w 854369"/>
                    <a:gd name="connsiteY1384" fmla="*/ 411773 h 835143"/>
                    <a:gd name="connsiteX1385" fmla="*/ 290220 w 854369"/>
                    <a:gd name="connsiteY1385" fmla="*/ 410062 h 835143"/>
                    <a:gd name="connsiteX1386" fmla="*/ 291182 w 854369"/>
                    <a:gd name="connsiteY1386" fmla="*/ 408416 h 835143"/>
                    <a:gd name="connsiteX1387" fmla="*/ 292828 w 854369"/>
                    <a:gd name="connsiteY1387" fmla="*/ 407324 h 835143"/>
                    <a:gd name="connsiteX1388" fmla="*/ 294931 w 854369"/>
                    <a:gd name="connsiteY1388" fmla="*/ 406884 h 835143"/>
                    <a:gd name="connsiteX1389" fmla="*/ 296235 w 854369"/>
                    <a:gd name="connsiteY1389" fmla="*/ 407340 h 835143"/>
                    <a:gd name="connsiteX1390" fmla="*/ 297677 w 854369"/>
                    <a:gd name="connsiteY1390" fmla="*/ 408701 h 835143"/>
                    <a:gd name="connsiteX1391" fmla="*/ 297750 w 854369"/>
                    <a:gd name="connsiteY1391" fmla="*/ 410885 h 835143"/>
                    <a:gd name="connsiteX1392" fmla="*/ 297115 w 854369"/>
                    <a:gd name="connsiteY1392" fmla="*/ 414422 h 835143"/>
                    <a:gd name="connsiteX1393" fmla="*/ 297001 w 854369"/>
                    <a:gd name="connsiteY1393" fmla="*/ 417283 h 835143"/>
                    <a:gd name="connsiteX1394" fmla="*/ 298606 w 854369"/>
                    <a:gd name="connsiteY1394" fmla="*/ 424006 h 835143"/>
                    <a:gd name="connsiteX1395" fmla="*/ 300041 w 854369"/>
                    <a:gd name="connsiteY1395" fmla="*/ 425473 h 835143"/>
                    <a:gd name="connsiteX1396" fmla="*/ 305615 w 854369"/>
                    <a:gd name="connsiteY1396" fmla="*/ 427453 h 835143"/>
                    <a:gd name="connsiteX1397" fmla="*/ 305273 w 854369"/>
                    <a:gd name="connsiteY1397" fmla="*/ 429092 h 835143"/>
                    <a:gd name="connsiteX1398" fmla="*/ 298818 w 854369"/>
                    <a:gd name="connsiteY1398" fmla="*/ 436166 h 835143"/>
                    <a:gd name="connsiteX1399" fmla="*/ 297441 w 854369"/>
                    <a:gd name="connsiteY1399" fmla="*/ 437893 h 835143"/>
                    <a:gd name="connsiteX1400" fmla="*/ 296764 w 854369"/>
                    <a:gd name="connsiteY1400" fmla="*/ 439214 h 835143"/>
                    <a:gd name="connsiteX1401" fmla="*/ 296993 w 854369"/>
                    <a:gd name="connsiteY1401" fmla="*/ 440322 h 835143"/>
                    <a:gd name="connsiteX1402" fmla="*/ 298133 w 854369"/>
                    <a:gd name="connsiteY1402" fmla="*/ 441235 h 835143"/>
                    <a:gd name="connsiteX1403" fmla="*/ 300318 w 854369"/>
                    <a:gd name="connsiteY1403" fmla="*/ 441887 h 835143"/>
                    <a:gd name="connsiteX1404" fmla="*/ 305933 w 854369"/>
                    <a:gd name="connsiteY1404" fmla="*/ 442147 h 835143"/>
                    <a:gd name="connsiteX1405" fmla="*/ 307465 w 854369"/>
                    <a:gd name="connsiteY1405" fmla="*/ 441528 h 835143"/>
                    <a:gd name="connsiteX1406" fmla="*/ 318386 w 854369"/>
                    <a:gd name="connsiteY1406" fmla="*/ 441324 h 835143"/>
                    <a:gd name="connsiteX1407" fmla="*/ 320390 w 854369"/>
                    <a:gd name="connsiteY1407" fmla="*/ 440795 h 835143"/>
                    <a:gd name="connsiteX1408" fmla="*/ 322077 w 854369"/>
                    <a:gd name="connsiteY1408" fmla="*/ 439442 h 835143"/>
                    <a:gd name="connsiteX1409" fmla="*/ 324539 w 854369"/>
                    <a:gd name="connsiteY1409" fmla="*/ 436043 h 835143"/>
                    <a:gd name="connsiteX1410" fmla="*/ 327326 w 854369"/>
                    <a:gd name="connsiteY1410" fmla="*/ 435008 h 835143"/>
                    <a:gd name="connsiteX1411" fmla="*/ 328198 w 854369"/>
                    <a:gd name="connsiteY1411" fmla="*/ 434055 h 835143"/>
                    <a:gd name="connsiteX1412" fmla="*/ 329918 w 854369"/>
                    <a:gd name="connsiteY1412" fmla="*/ 430013 h 835143"/>
                    <a:gd name="connsiteX1413" fmla="*/ 330757 w 854369"/>
                    <a:gd name="connsiteY1413" fmla="*/ 425310 h 835143"/>
                    <a:gd name="connsiteX1414" fmla="*/ 331596 w 854369"/>
                    <a:gd name="connsiteY1414" fmla="*/ 423338 h 835143"/>
                    <a:gd name="connsiteX1415" fmla="*/ 332860 w 854369"/>
                    <a:gd name="connsiteY1415" fmla="*/ 422115 h 835143"/>
                    <a:gd name="connsiteX1416" fmla="*/ 334571 w 854369"/>
                    <a:gd name="connsiteY1416" fmla="*/ 421724 h 835143"/>
                    <a:gd name="connsiteX1417" fmla="*/ 338817 w 854369"/>
                    <a:gd name="connsiteY1417" fmla="*/ 422189 h 835143"/>
                    <a:gd name="connsiteX1418" fmla="*/ 340822 w 854369"/>
                    <a:gd name="connsiteY1418" fmla="*/ 421798 h 835143"/>
                    <a:gd name="connsiteX1419" fmla="*/ 348695 w 854369"/>
                    <a:gd name="connsiteY1419" fmla="*/ 422189 h 835143"/>
                    <a:gd name="connsiteX1420" fmla="*/ 356567 w 854369"/>
                    <a:gd name="connsiteY1420" fmla="*/ 421846 h 835143"/>
                    <a:gd name="connsiteX1421" fmla="*/ 364709 w 854369"/>
                    <a:gd name="connsiteY1421" fmla="*/ 422686 h 835143"/>
                    <a:gd name="connsiteX1422" fmla="*/ 369941 w 854369"/>
                    <a:gd name="connsiteY1422" fmla="*/ 423656 h 835143"/>
                    <a:gd name="connsiteX1423" fmla="*/ 374774 w 854369"/>
                    <a:gd name="connsiteY1423" fmla="*/ 425180 h 835143"/>
                    <a:gd name="connsiteX1424" fmla="*/ 384040 w 854369"/>
                    <a:gd name="connsiteY1424" fmla="*/ 428782 h 835143"/>
                    <a:gd name="connsiteX1425" fmla="*/ 387707 w 854369"/>
                    <a:gd name="connsiteY1425" fmla="*/ 430713 h 835143"/>
                    <a:gd name="connsiteX1426" fmla="*/ 391000 w 854369"/>
                    <a:gd name="connsiteY1426" fmla="*/ 432930 h 835143"/>
                    <a:gd name="connsiteX1427" fmla="*/ 391041 w 854369"/>
                    <a:gd name="connsiteY1427" fmla="*/ 447534 h 835143"/>
                    <a:gd name="connsiteX1428" fmla="*/ 391098 w 854369"/>
                    <a:gd name="connsiteY1428" fmla="*/ 501706 h 835143"/>
                    <a:gd name="connsiteX1429" fmla="*/ 593830 w 854369"/>
                    <a:gd name="connsiteY1429" fmla="*/ 609070 h 835143"/>
                    <a:gd name="connsiteX1430" fmla="*/ 639330 w 854369"/>
                    <a:gd name="connsiteY1430" fmla="*/ 609290 h 835143"/>
                    <a:gd name="connsiteX1431" fmla="*/ 667928 w 854369"/>
                    <a:gd name="connsiteY1431" fmla="*/ 634359 h 835143"/>
                    <a:gd name="connsiteX1432" fmla="*/ 675401 w 854369"/>
                    <a:gd name="connsiteY1432" fmla="*/ 638132 h 835143"/>
                    <a:gd name="connsiteX1433" fmla="*/ 681407 w 854369"/>
                    <a:gd name="connsiteY1433" fmla="*/ 639558 h 835143"/>
                    <a:gd name="connsiteX1434" fmla="*/ 854369 w 854369"/>
                    <a:gd name="connsiteY1434" fmla="*/ 662614 h 835143"/>
                    <a:gd name="connsiteX1435" fmla="*/ 854312 w 854369"/>
                    <a:gd name="connsiteY1435" fmla="*/ 835119 h 835143"/>
                    <a:gd name="connsiteX1436" fmla="*/ 313170 w 854369"/>
                    <a:gd name="connsiteY1436" fmla="*/ 835119 h 835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Lst>
                  <a:rect l="l" t="t" r="r" b="b"/>
                  <a:pathLst>
                    <a:path w="854369" h="835143">
                      <a:moveTo>
                        <a:pt x="655809" y="3553"/>
                      </a:moveTo>
                      <a:lnTo>
                        <a:pt x="655825" y="21776"/>
                      </a:lnTo>
                      <a:lnTo>
                        <a:pt x="655377" y="21727"/>
                      </a:lnTo>
                      <a:lnTo>
                        <a:pt x="648645" y="22950"/>
                      </a:lnTo>
                      <a:lnTo>
                        <a:pt x="645549" y="23113"/>
                      </a:lnTo>
                      <a:lnTo>
                        <a:pt x="637195" y="22330"/>
                      </a:lnTo>
                      <a:lnTo>
                        <a:pt x="635092" y="21752"/>
                      </a:lnTo>
                      <a:lnTo>
                        <a:pt x="630463" y="19494"/>
                      </a:lnTo>
                      <a:lnTo>
                        <a:pt x="626934" y="18565"/>
                      </a:lnTo>
                      <a:lnTo>
                        <a:pt x="625451" y="19062"/>
                      </a:lnTo>
                      <a:lnTo>
                        <a:pt x="623675" y="21043"/>
                      </a:lnTo>
                      <a:lnTo>
                        <a:pt x="620341" y="23496"/>
                      </a:lnTo>
                      <a:lnTo>
                        <a:pt x="618296" y="24123"/>
                      </a:lnTo>
                      <a:lnTo>
                        <a:pt x="612289" y="23708"/>
                      </a:lnTo>
                      <a:lnTo>
                        <a:pt x="603080" y="19576"/>
                      </a:lnTo>
                      <a:lnTo>
                        <a:pt x="592494" y="20798"/>
                      </a:lnTo>
                      <a:lnTo>
                        <a:pt x="581532" y="23219"/>
                      </a:lnTo>
                      <a:lnTo>
                        <a:pt x="577254" y="23667"/>
                      </a:lnTo>
                      <a:lnTo>
                        <a:pt x="575999" y="22966"/>
                      </a:lnTo>
                      <a:lnTo>
                        <a:pt x="574279" y="21149"/>
                      </a:lnTo>
                      <a:lnTo>
                        <a:pt x="574548" y="20236"/>
                      </a:lnTo>
                      <a:lnTo>
                        <a:pt x="577816" y="17457"/>
                      </a:lnTo>
                      <a:lnTo>
                        <a:pt x="585118" y="14547"/>
                      </a:lnTo>
                      <a:lnTo>
                        <a:pt x="590448" y="12901"/>
                      </a:lnTo>
                      <a:lnTo>
                        <a:pt x="601035" y="10505"/>
                      </a:lnTo>
                      <a:lnTo>
                        <a:pt x="613569" y="9160"/>
                      </a:lnTo>
                      <a:lnTo>
                        <a:pt x="618255" y="7734"/>
                      </a:lnTo>
                      <a:lnTo>
                        <a:pt x="621222" y="5697"/>
                      </a:lnTo>
                      <a:lnTo>
                        <a:pt x="629371" y="2478"/>
                      </a:lnTo>
                      <a:lnTo>
                        <a:pt x="634180" y="1141"/>
                      </a:lnTo>
                      <a:lnTo>
                        <a:pt x="640618" y="0"/>
                      </a:lnTo>
                      <a:lnTo>
                        <a:pt x="645834" y="57"/>
                      </a:lnTo>
                      <a:lnTo>
                        <a:pt x="652468" y="2673"/>
                      </a:lnTo>
                      <a:lnTo>
                        <a:pt x="655809" y="3553"/>
                      </a:lnTo>
                      <a:close/>
                      <a:moveTo>
                        <a:pt x="655825" y="33316"/>
                      </a:moveTo>
                      <a:lnTo>
                        <a:pt x="655825" y="41287"/>
                      </a:lnTo>
                      <a:lnTo>
                        <a:pt x="650968" y="42476"/>
                      </a:lnTo>
                      <a:lnTo>
                        <a:pt x="637285" y="44840"/>
                      </a:lnTo>
                      <a:lnTo>
                        <a:pt x="634449" y="45981"/>
                      </a:lnTo>
                      <a:lnTo>
                        <a:pt x="634669" y="46657"/>
                      </a:lnTo>
                      <a:lnTo>
                        <a:pt x="635785" y="47505"/>
                      </a:lnTo>
                      <a:lnTo>
                        <a:pt x="638075" y="48581"/>
                      </a:lnTo>
                      <a:lnTo>
                        <a:pt x="648670" y="48336"/>
                      </a:lnTo>
                      <a:lnTo>
                        <a:pt x="651221" y="48801"/>
                      </a:lnTo>
                      <a:lnTo>
                        <a:pt x="652125" y="49493"/>
                      </a:lnTo>
                      <a:lnTo>
                        <a:pt x="652663" y="50512"/>
                      </a:lnTo>
                      <a:lnTo>
                        <a:pt x="652989" y="51832"/>
                      </a:lnTo>
                      <a:lnTo>
                        <a:pt x="653006" y="56315"/>
                      </a:lnTo>
                      <a:lnTo>
                        <a:pt x="652451" y="58906"/>
                      </a:lnTo>
                      <a:lnTo>
                        <a:pt x="650984" y="61253"/>
                      </a:lnTo>
                      <a:lnTo>
                        <a:pt x="646698" y="62924"/>
                      </a:lnTo>
                      <a:lnTo>
                        <a:pt x="638972" y="65125"/>
                      </a:lnTo>
                      <a:lnTo>
                        <a:pt x="633731" y="66102"/>
                      </a:lnTo>
                      <a:lnTo>
                        <a:pt x="629600" y="65752"/>
                      </a:lnTo>
                      <a:lnTo>
                        <a:pt x="625492" y="65980"/>
                      </a:lnTo>
                      <a:lnTo>
                        <a:pt x="607497" y="70128"/>
                      </a:lnTo>
                      <a:lnTo>
                        <a:pt x="601923" y="70137"/>
                      </a:lnTo>
                      <a:lnTo>
                        <a:pt x="597058" y="69142"/>
                      </a:lnTo>
                      <a:lnTo>
                        <a:pt x="590334" y="65230"/>
                      </a:lnTo>
                      <a:lnTo>
                        <a:pt x="583350" y="63698"/>
                      </a:lnTo>
                      <a:lnTo>
                        <a:pt x="580359" y="61938"/>
                      </a:lnTo>
                      <a:lnTo>
                        <a:pt x="577425" y="60976"/>
                      </a:lnTo>
                      <a:lnTo>
                        <a:pt x="576610" y="59558"/>
                      </a:lnTo>
                      <a:lnTo>
                        <a:pt x="576325" y="58515"/>
                      </a:lnTo>
                      <a:lnTo>
                        <a:pt x="576822" y="57545"/>
                      </a:lnTo>
                      <a:lnTo>
                        <a:pt x="578085" y="56673"/>
                      </a:lnTo>
                      <a:lnTo>
                        <a:pt x="578501" y="55932"/>
                      </a:lnTo>
                      <a:lnTo>
                        <a:pt x="577327" y="53772"/>
                      </a:lnTo>
                      <a:lnTo>
                        <a:pt x="576797" y="51702"/>
                      </a:lnTo>
                      <a:lnTo>
                        <a:pt x="574760" y="48744"/>
                      </a:lnTo>
                      <a:lnTo>
                        <a:pt x="574458" y="47032"/>
                      </a:lnTo>
                      <a:lnTo>
                        <a:pt x="574467" y="45907"/>
                      </a:lnTo>
                      <a:lnTo>
                        <a:pt x="574809" y="44701"/>
                      </a:lnTo>
                      <a:lnTo>
                        <a:pt x="576154" y="42558"/>
                      </a:lnTo>
                      <a:lnTo>
                        <a:pt x="576846" y="42126"/>
                      </a:lnTo>
                      <a:lnTo>
                        <a:pt x="580946" y="41784"/>
                      </a:lnTo>
                      <a:lnTo>
                        <a:pt x="586333" y="40667"/>
                      </a:lnTo>
                      <a:lnTo>
                        <a:pt x="598728" y="37440"/>
                      </a:lnTo>
                      <a:lnTo>
                        <a:pt x="625965" y="33398"/>
                      </a:lnTo>
                      <a:lnTo>
                        <a:pt x="634237" y="33772"/>
                      </a:lnTo>
                      <a:lnTo>
                        <a:pt x="637855" y="32982"/>
                      </a:lnTo>
                      <a:lnTo>
                        <a:pt x="644538" y="32648"/>
                      </a:lnTo>
                      <a:lnTo>
                        <a:pt x="655825" y="33316"/>
                      </a:lnTo>
                      <a:close/>
                      <a:moveTo>
                        <a:pt x="560865" y="49909"/>
                      </a:moveTo>
                      <a:lnTo>
                        <a:pt x="554084" y="51580"/>
                      </a:lnTo>
                      <a:lnTo>
                        <a:pt x="549585" y="51539"/>
                      </a:lnTo>
                      <a:lnTo>
                        <a:pt x="541615" y="49175"/>
                      </a:lnTo>
                      <a:lnTo>
                        <a:pt x="532389" y="41947"/>
                      </a:lnTo>
                      <a:lnTo>
                        <a:pt x="531175" y="39371"/>
                      </a:lnTo>
                      <a:lnTo>
                        <a:pt x="534622" y="38907"/>
                      </a:lnTo>
                      <a:lnTo>
                        <a:pt x="537125" y="38108"/>
                      </a:lnTo>
                      <a:lnTo>
                        <a:pt x="538689" y="36992"/>
                      </a:lnTo>
                      <a:lnTo>
                        <a:pt x="541656" y="35761"/>
                      </a:lnTo>
                      <a:lnTo>
                        <a:pt x="548518" y="33911"/>
                      </a:lnTo>
                      <a:lnTo>
                        <a:pt x="549349" y="34620"/>
                      </a:lnTo>
                      <a:lnTo>
                        <a:pt x="549202" y="36136"/>
                      </a:lnTo>
                      <a:lnTo>
                        <a:pt x="549773" y="37538"/>
                      </a:lnTo>
                      <a:lnTo>
                        <a:pt x="552226" y="37839"/>
                      </a:lnTo>
                      <a:lnTo>
                        <a:pt x="554549" y="38850"/>
                      </a:lnTo>
                      <a:lnTo>
                        <a:pt x="559251" y="41939"/>
                      </a:lnTo>
                      <a:lnTo>
                        <a:pt x="562462" y="42533"/>
                      </a:lnTo>
                      <a:lnTo>
                        <a:pt x="563627" y="43210"/>
                      </a:lnTo>
                      <a:lnTo>
                        <a:pt x="564239" y="44245"/>
                      </a:lnTo>
                      <a:lnTo>
                        <a:pt x="566186" y="46054"/>
                      </a:lnTo>
                      <a:lnTo>
                        <a:pt x="566154" y="46983"/>
                      </a:lnTo>
                      <a:lnTo>
                        <a:pt x="563513" y="48849"/>
                      </a:lnTo>
                      <a:lnTo>
                        <a:pt x="560865" y="49909"/>
                      </a:lnTo>
                      <a:close/>
                      <a:moveTo>
                        <a:pt x="518233" y="69183"/>
                      </a:moveTo>
                      <a:lnTo>
                        <a:pt x="520108" y="71098"/>
                      </a:lnTo>
                      <a:lnTo>
                        <a:pt x="520246" y="71864"/>
                      </a:lnTo>
                      <a:lnTo>
                        <a:pt x="519350" y="72679"/>
                      </a:lnTo>
                      <a:lnTo>
                        <a:pt x="516440" y="73967"/>
                      </a:lnTo>
                      <a:lnTo>
                        <a:pt x="501812" y="78262"/>
                      </a:lnTo>
                      <a:lnTo>
                        <a:pt x="498943" y="80283"/>
                      </a:lnTo>
                      <a:lnTo>
                        <a:pt x="500019" y="82011"/>
                      </a:lnTo>
                      <a:lnTo>
                        <a:pt x="505300" y="85531"/>
                      </a:lnTo>
                      <a:lnTo>
                        <a:pt x="510662" y="88490"/>
                      </a:lnTo>
                      <a:lnTo>
                        <a:pt x="511828" y="89965"/>
                      </a:lnTo>
                      <a:lnTo>
                        <a:pt x="509277" y="91464"/>
                      </a:lnTo>
                      <a:lnTo>
                        <a:pt x="504395" y="90984"/>
                      </a:lnTo>
                      <a:lnTo>
                        <a:pt x="502570" y="91114"/>
                      </a:lnTo>
                      <a:lnTo>
                        <a:pt x="500850" y="91799"/>
                      </a:lnTo>
                      <a:lnTo>
                        <a:pt x="501314" y="93119"/>
                      </a:lnTo>
                      <a:lnTo>
                        <a:pt x="506718" y="97503"/>
                      </a:lnTo>
                      <a:lnTo>
                        <a:pt x="508494" y="99859"/>
                      </a:lnTo>
                      <a:lnTo>
                        <a:pt x="508454" y="101073"/>
                      </a:lnTo>
                      <a:lnTo>
                        <a:pt x="507492" y="102255"/>
                      </a:lnTo>
                      <a:lnTo>
                        <a:pt x="505226" y="103885"/>
                      </a:lnTo>
                      <a:lnTo>
                        <a:pt x="501649" y="105955"/>
                      </a:lnTo>
                      <a:lnTo>
                        <a:pt x="495520" y="107601"/>
                      </a:lnTo>
                      <a:lnTo>
                        <a:pt x="482334" y="109809"/>
                      </a:lnTo>
                      <a:lnTo>
                        <a:pt x="481902" y="111537"/>
                      </a:lnTo>
                      <a:lnTo>
                        <a:pt x="481992" y="112841"/>
                      </a:lnTo>
                      <a:lnTo>
                        <a:pt x="481674" y="116028"/>
                      </a:lnTo>
                      <a:lnTo>
                        <a:pt x="481217" y="117503"/>
                      </a:lnTo>
                      <a:lnTo>
                        <a:pt x="479653" y="119980"/>
                      </a:lnTo>
                      <a:lnTo>
                        <a:pt x="478503" y="121146"/>
                      </a:lnTo>
                      <a:lnTo>
                        <a:pt x="476523" y="121936"/>
                      </a:lnTo>
                      <a:lnTo>
                        <a:pt x="473711" y="122376"/>
                      </a:lnTo>
                      <a:lnTo>
                        <a:pt x="470101" y="122368"/>
                      </a:lnTo>
                      <a:lnTo>
                        <a:pt x="464152" y="120233"/>
                      </a:lnTo>
                      <a:lnTo>
                        <a:pt x="461446" y="118872"/>
                      </a:lnTo>
                      <a:lnTo>
                        <a:pt x="457689" y="115914"/>
                      </a:lnTo>
                      <a:lnTo>
                        <a:pt x="457013" y="113941"/>
                      </a:lnTo>
                      <a:lnTo>
                        <a:pt x="457379" y="111513"/>
                      </a:lnTo>
                      <a:lnTo>
                        <a:pt x="458374" y="107756"/>
                      </a:lnTo>
                      <a:lnTo>
                        <a:pt x="460012" y="103909"/>
                      </a:lnTo>
                      <a:lnTo>
                        <a:pt x="462294" y="99973"/>
                      </a:lnTo>
                      <a:lnTo>
                        <a:pt x="462970" y="97528"/>
                      </a:lnTo>
                      <a:lnTo>
                        <a:pt x="462041" y="96558"/>
                      </a:lnTo>
                      <a:lnTo>
                        <a:pt x="460484" y="96509"/>
                      </a:lnTo>
                      <a:lnTo>
                        <a:pt x="455635" y="98098"/>
                      </a:lnTo>
                      <a:lnTo>
                        <a:pt x="452498" y="98685"/>
                      </a:lnTo>
                      <a:lnTo>
                        <a:pt x="450077" y="99842"/>
                      </a:lnTo>
                      <a:lnTo>
                        <a:pt x="448366" y="101586"/>
                      </a:lnTo>
                      <a:lnTo>
                        <a:pt x="447388" y="103461"/>
                      </a:lnTo>
                      <a:lnTo>
                        <a:pt x="446850" y="107071"/>
                      </a:lnTo>
                      <a:lnTo>
                        <a:pt x="445929" y="109043"/>
                      </a:lnTo>
                      <a:lnTo>
                        <a:pt x="443313" y="110119"/>
                      </a:lnTo>
                      <a:lnTo>
                        <a:pt x="439393" y="110095"/>
                      </a:lnTo>
                      <a:lnTo>
                        <a:pt x="437910" y="110706"/>
                      </a:lnTo>
                      <a:lnTo>
                        <a:pt x="437184" y="112026"/>
                      </a:lnTo>
                      <a:lnTo>
                        <a:pt x="437706" y="113094"/>
                      </a:lnTo>
                      <a:lnTo>
                        <a:pt x="441577" y="115335"/>
                      </a:lnTo>
                      <a:lnTo>
                        <a:pt x="442058" y="117837"/>
                      </a:lnTo>
                      <a:lnTo>
                        <a:pt x="441593" y="119353"/>
                      </a:lnTo>
                      <a:lnTo>
                        <a:pt x="437421" y="122132"/>
                      </a:lnTo>
                      <a:lnTo>
                        <a:pt x="436434" y="123069"/>
                      </a:lnTo>
                      <a:lnTo>
                        <a:pt x="433851" y="127429"/>
                      </a:lnTo>
                      <a:lnTo>
                        <a:pt x="432898" y="128529"/>
                      </a:lnTo>
                      <a:lnTo>
                        <a:pt x="430746" y="129532"/>
                      </a:lnTo>
                      <a:lnTo>
                        <a:pt x="428570" y="129418"/>
                      </a:lnTo>
                      <a:lnTo>
                        <a:pt x="426557" y="127829"/>
                      </a:lnTo>
                      <a:lnTo>
                        <a:pt x="423615" y="124821"/>
                      </a:lnTo>
                      <a:lnTo>
                        <a:pt x="421635" y="122222"/>
                      </a:lnTo>
                      <a:lnTo>
                        <a:pt x="420616" y="120046"/>
                      </a:lnTo>
                      <a:lnTo>
                        <a:pt x="419752" y="119076"/>
                      </a:lnTo>
                      <a:lnTo>
                        <a:pt x="418350" y="119744"/>
                      </a:lnTo>
                      <a:lnTo>
                        <a:pt x="416647" y="122002"/>
                      </a:lnTo>
                      <a:lnTo>
                        <a:pt x="416606" y="123754"/>
                      </a:lnTo>
                      <a:lnTo>
                        <a:pt x="416973" y="126353"/>
                      </a:lnTo>
                      <a:lnTo>
                        <a:pt x="416875" y="127959"/>
                      </a:lnTo>
                      <a:lnTo>
                        <a:pt x="414398" y="129842"/>
                      </a:lnTo>
                      <a:lnTo>
                        <a:pt x="414756" y="130697"/>
                      </a:lnTo>
                      <a:lnTo>
                        <a:pt x="419108" y="133004"/>
                      </a:lnTo>
                      <a:lnTo>
                        <a:pt x="419671" y="134039"/>
                      </a:lnTo>
                      <a:lnTo>
                        <a:pt x="419695" y="135644"/>
                      </a:lnTo>
                      <a:lnTo>
                        <a:pt x="419402" y="136361"/>
                      </a:lnTo>
                      <a:lnTo>
                        <a:pt x="417666" y="136247"/>
                      </a:lnTo>
                      <a:lnTo>
                        <a:pt x="416150" y="138138"/>
                      </a:lnTo>
                      <a:lnTo>
                        <a:pt x="414471" y="139613"/>
                      </a:lnTo>
                      <a:lnTo>
                        <a:pt x="410054" y="142335"/>
                      </a:lnTo>
                      <a:lnTo>
                        <a:pt x="403909" y="142669"/>
                      </a:lnTo>
                      <a:lnTo>
                        <a:pt x="398824" y="143981"/>
                      </a:lnTo>
                      <a:lnTo>
                        <a:pt x="397748" y="143941"/>
                      </a:lnTo>
                      <a:lnTo>
                        <a:pt x="396525" y="141797"/>
                      </a:lnTo>
                      <a:lnTo>
                        <a:pt x="395148" y="137551"/>
                      </a:lnTo>
                      <a:lnTo>
                        <a:pt x="393917" y="135139"/>
                      </a:lnTo>
                      <a:lnTo>
                        <a:pt x="392092" y="133908"/>
                      </a:lnTo>
                      <a:lnTo>
                        <a:pt x="389818" y="129075"/>
                      </a:lnTo>
                      <a:lnTo>
                        <a:pt x="388759" y="127519"/>
                      </a:lnTo>
                      <a:lnTo>
                        <a:pt x="387724" y="126891"/>
                      </a:lnTo>
                      <a:lnTo>
                        <a:pt x="386860" y="126728"/>
                      </a:lnTo>
                      <a:lnTo>
                        <a:pt x="385572" y="127657"/>
                      </a:lnTo>
                      <a:lnTo>
                        <a:pt x="382614" y="134577"/>
                      </a:lnTo>
                      <a:lnTo>
                        <a:pt x="377797" y="136337"/>
                      </a:lnTo>
                      <a:lnTo>
                        <a:pt x="375149" y="136671"/>
                      </a:lnTo>
                      <a:lnTo>
                        <a:pt x="372475" y="136475"/>
                      </a:lnTo>
                      <a:lnTo>
                        <a:pt x="365866" y="134577"/>
                      </a:lnTo>
                      <a:lnTo>
                        <a:pt x="360569" y="133884"/>
                      </a:lnTo>
                      <a:lnTo>
                        <a:pt x="356869" y="134682"/>
                      </a:lnTo>
                      <a:lnTo>
                        <a:pt x="350781" y="137494"/>
                      </a:lnTo>
                      <a:lnTo>
                        <a:pt x="348360" y="138219"/>
                      </a:lnTo>
                      <a:lnTo>
                        <a:pt x="345068" y="137893"/>
                      </a:lnTo>
                      <a:lnTo>
                        <a:pt x="343633" y="136834"/>
                      </a:lnTo>
                      <a:lnTo>
                        <a:pt x="342411" y="135098"/>
                      </a:lnTo>
                      <a:lnTo>
                        <a:pt x="342272" y="134039"/>
                      </a:lnTo>
                      <a:lnTo>
                        <a:pt x="343234" y="133672"/>
                      </a:lnTo>
                      <a:lnTo>
                        <a:pt x="344750" y="131651"/>
                      </a:lnTo>
                      <a:lnTo>
                        <a:pt x="344701" y="130844"/>
                      </a:lnTo>
                      <a:lnTo>
                        <a:pt x="343202" y="129670"/>
                      </a:lnTo>
                      <a:lnTo>
                        <a:pt x="343185" y="128766"/>
                      </a:lnTo>
                      <a:lnTo>
                        <a:pt x="343715" y="128155"/>
                      </a:lnTo>
                      <a:lnTo>
                        <a:pt x="343593" y="127723"/>
                      </a:lnTo>
                      <a:lnTo>
                        <a:pt x="342827" y="127454"/>
                      </a:lnTo>
                      <a:lnTo>
                        <a:pt x="341319" y="127698"/>
                      </a:lnTo>
                      <a:lnTo>
                        <a:pt x="335908" y="129035"/>
                      </a:lnTo>
                      <a:lnTo>
                        <a:pt x="336519" y="127584"/>
                      </a:lnTo>
                      <a:lnTo>
                        <a:pt x="339102" y="124544"/>
                      </a:lnTo>
                      <a:lnTo>
                        <a:pt x="345410" y="118465"/>
                      </a:lnTo>
                      <a:lnTo>
                        <a:pt x="347798" y="116680"/>
                      </a:lnTo>
                      <a:lnTo>
                        <a:pt x="349224" y="116134"/>
                      </a:lnTo>
                      <a:lnTo>
                        <a:pt x="367871" y="114186"/>
                      </a:lnTo>
                      <a:lnTo>
                        <a:pt x="369175" y="113607"/>
                      </a:lnTo>
                      <a:lnTo>
                        <a:pt x="378033" y="105417"/>
                      </a:lnTo>
                      <a:lnTo>
                        <a:pt x="380560" y="103542"/>
                      </a:lnTo>
                      <a:lnTo>
                        <a:pt x="383152" y="102043"/>
                      </a:lnTo>
                      <a:lnTo>
                        <a:pt x="395857" y="97080"/>
                      </a:lnTo>
                      <a:lnTo>
                        <a:pt x="397047" y="95947"/>
                      </a:lnTo>
                      <a:lnTo>
                        <a:pt x="399027" y="92508"/>
                      </a:lnTo>
                      <a:lnTo>
                        <a:pt x="400193" y="91652"/>
                      </a:lnTo>
                      <a:lnTo>
                        <a:pt x="402931" y="90340"/>
                      </a:lnTo>
                      <a:lnTo>
                        <a:pt x="412091" y="83372"/>
                      </a:lnTo>
                      <a:lnTo>
                        <a:pt x="420428" y="78327"/>
                      </a:lnTo>
                      <a:lnTo>
                        <a:pt x="424674" y="75206"/>
                      </a:lnTo>
                      <a:lnTo>
                        <a:pt x="430469" y="72044"/>
                      </a:lnTo>
                      <a:lnTo>
                        <a:pt x="437168" y="70683"/>
                      </a:lnTo>
                      <a:lnTo>
                        <a:pt x="457371" y="68303"/>
                      </a:lnTo>
                      <a:lnTo>
                        <a:pt x="471918" y="71441"/>
                      </a:lnTo>
                      <a:lnTo>
                        <a:pt x="475382" y="71636"/>
                      </a:lnTo>
                      <a:lnTo>
                        <a:pt x="477077" y="70748"/>
                      </a:lnTo>
                      <a:lnTo>
                        <a:pt x="478609" y="69305"/>
                      </a:lnTo>
                      <a:lnTo>
                        <a:pt x="480785" y="69908"/>
                      </a:lnTo>
                      <a:lnTo>
                        <a:pt x="486189" y="70357"/>
                      </a:lnTo>
                      <a:lnTo>
                        <a:pt x="487387" y="70006"/>
                      </a:lnTo>
                      <a:lnTo>
                        <a:pt x="489660" y="68376"/>
                      </a:lnTo>
                      <a:lnTo>
                        <a:pt x="488104" y="67480"/>
                      </a:lnTo>
                      <a:lnTo>
                        <a:pt x="481568" y="65817"/>
                      </a:lnTo>
                      <a:lnTo>
                        <a:pt x="481168" y="64986"/>
                      </a:lnTo>
                      <a:lnTo>
                        <a:pt x="481323" y="64179"/>
                      </a:lnTo>
                      <a:lnTo>
                        <a:pt x="483613" y="62272"/>
                      </a:lnTo>
                      <a:lnTo>
                        <a:pt x="486384" y="61042"/>
                      </a:lnTo>
                      <a:lnTo>
                        <a:pt x="494420" y="60121"/>
                      </a:lnTo>
                      <a:lnTo>
                        <a:pt x="498112" y="60357"/>
                      </a:lnTo>
                      <a:lnTo>
                        <a:pt x="501918" y="61677"/>
                      </a:lnTo>
                      <a:lnTo>
                        <a:pt x="506905" y="64399"/>
                      </a:lnTo>
                      <a:lnTo>
                        <a:pt x="518233" y="69183"/>
                      </a:lnTo>
                      <a:close/>
                      <a:moveTo>
                        <a:pt x="567604" y="99516"/>
                      </a:moveTo>
                      <a:lnTo>
                        <a:pt x="563847" y="101106"/>
                      </a:lnTo>
                      <a:lnTo>
                        <a:pt x="538078" y="98750"/>
                      </a:lnTo>
                      <a:lnTo>
                        <a:pt x="536668" y="98017"/>
                      </a:lnTo>
                      <a:lnTo>
                        <a:pt x="536000" y="97006"/>
                      </a:lnTo>
                      <a:lnTo>
                        <a:pt x="540670" y="94260"/>
                      </a:lnTo>
                      <a:lnTo>
                        <a:pt x="546301" y="93078"/>
                      </a:lnTo>
                      <a:lnTo>
                        <a:pt x="559398" y="92125"/>
                      </a:lnTo>
                      <a:lnTo>
                        <a:pt x="563970" y="93192"/>
                      </a:lnTo>
                      <a:lnTo>
                        <a:pt x="567001" y="94439"/>
                      </a:lnTo>
                      <a:lnTo>
                        <a:pt x="568705" y="95523"/>
                      </a:lnTo>
                      <a:lnTo>
                        <a:pt x="569422" y="97560"/>
                      </a:lnTo>
                      <a:lnTo>
                        <a:pt x="567604" y="99516"/>
                      </a:lnTo>
                      <a:close/>
                      <a:moveTo>
                        <a:pt x="558615" y="124471"/>
                      </a:moveTo>
                      <a:lnTo>
                        <a:pt x="561085" y="125547"/>
                      </a:lnTo>
                      <a:lnTo>
                        <a:pt x="572511" y="123534"/>
                      </a:lnTo>
                      <a:lnTo>
                        <a:pt x="577262" y="123085"/>
                      </a:lnTo>
                      <a:lnTo>
                        <a:pt x="582046" y="123713"/>
                      </a:lnTo>
                      <a:lnTo>
                        <a:pt x="589014" y="125791"/>
                      </a:lnTo>
                      <a:lnTo>
                        <a:pt x="598036" y="132075"/>
                      </a:lnTo>
                      <a:lnTo>
                        <a:pt x="609657" y="138464"/>
                      </a:lnTo>
                      <a:lnTo>
                        <a:pt x="609592" y="139833"/>
                      </a:lnTo>
                      <a:lnTo>
                        <a:pt x="605142" y="141968"/>
                      </a:lnTo>
                      <a:lnTo>
                        <a:pt x="604303" y="142873"/>
                      </a:lnTo>
                      <a:lnTo>
                        <a:pt x="604906" y="143517"/>
                      </a:lnTo>
                      <a:lnTo>
                        <a:pt x="609347" y="143932"/>
                      </a:lnTo>
                      <a:lnTo>
                        <a:pt x="613520" y="143615"/>
                      </a:lnTo>
                      <a:lnTo>
                        <a:pt x="617489" y="144095"/>
                      </a:lnTo>
                      <a:lnTo>
                        <a:pt x="618377" y="144650"/>
                      </a:lnTo>
                      <a:lnTo>
                        <a:pt x="619836" y="146980"/>
                      </a:lnTo>
                      <a:lnTo>
                        <a:pt x="621865" y="151096"/>
                      </a:lnTo>
                      <a:lnTo>
                        <a:pt x="624270" y="154168"/>
                      </a:lnTo>
                      <a:lnTo>
                        <a:pt x="627057" y="156190"/>
                      </a:lnTo>
                      <a:lnTo>
                        <a:pt x="629803" y="157233"/>
                      </a:lnTo>
                      <a:lnTo>
                        <a:pt x="633845" y="157314"/>
                      </a:lnTo>
                      <a:lnTo>
                        <a:pt x="637920" y="156703"/>
                      </a:lnTo>
                      <a:lnTo>
                        <a:pt x="644522" y="156899"/>
                      </a:lnTo>
                      <a:lnTo>
                        <a:pt x="655850" y="157681"/>
                      </a:lnTo>
                      <a:lnTo>
                        <a:pt x="655858" y="157681"/>
                      </a:lnTo>
                      <a:lnTo>
                        <a:pt x="655858" y="162872"/>
                      </a:lnTo>
                      <a:lnTo>
                        <a:pt x="655866" y="188764"/>
                      </a:lnTo>
                      <a:lnTo>
                        <a:pt x="655850" y="190492"/>
                      </a:lnTo>
                      <a:lnTo>
                        <a:pt x="651563" y="191013"/>
                      </a:lnTo>
                      <a:lnTo>
                        <a:pt x="646331" y="192244"/>
                      </a:lnTo>
                      <a:lnTo>
                        <a:pt x="642443" y="193841"/>
                      </a:lnTo>
                      <a:lnTo>
                        <a:pt x="640422" y="195153"/>
                      </a:lnTo>
                      <a:lnTo>
                        <a:pt x="637334" y="198234"/>
                      </a:lnTo>
                      <a:lnTo>
                        <a:pt x="632582" y="200549"/>
                      </a:lnTo>
                      <a:lnTo>
                        <a:pt x="623984" y="203083"/>
                      </a:lnTo>
                      <a:lnTo>
                        <a:pt x="613047" y="207011"/>
                      </a:lnTo>
                      <a:lnTo>
                        <a:pt x="593439" y="211029"/>
                      </a:lnTo>
                      <a:lnTo>
                        <a:pt x="581092" y="211730"/>
                      </a:lnTo>
                      <a:lnTo>
                        <a:pt x="568762" y="210410"/>
                      </a:lnTo>
                      <a:lnTo>
                        <a:pt x="564858" y="209318"/>
                      </a:lnTo>
                      <a:lnTo>
                        <a:pt x="560759" y="207623"/>
                      </a:lnTo>
                      <a:lnTo>
                        <a:pt x="552381" y="203613"/>
                      </a:lnTo>
                      <a:lnTo>
                        <a:pt x="550058" y="202162"/>
                      </a:lnTo>
                      <a:lnTo>
                        <a:pt x="547361" y="199016"/>
                      </a:lnTo>
                      <a:lnTo>
                        <a:pt x="548958" y="196922"/>
                      </a:lnTo>
                      <a:lnTo>
                        <a:pt x="553424" y="194502"/>
                      </a:lnTo>
                      <a:lnTo>
                        <a:pt x="560115" y="192293"/>
                      </a:lnTo>
                      <a:lnTo>
                        <a:pt x="573464" y="189318"/>
                      </a:lnTo>
                      <a:lnTo>
                        <a:pt x="585575" y="184551"/>
                      </a:lnTo>
                      <a:lnTo>
                        <a:pt x="589870" y="183654"/>
                      </a:lnTo>
                      <a:lnTo>
                        <a:pt x="601532" y="182921"/>
                      </a:lnTo>
                      <a:lnTo>
                        <a:pt x="607416" y="183361"/>
                      </a:lnTo>
                      <a:lnTo>
                        <a:pt x="611662" y="183116"/>
                      </a:lnTo>
                      <a:lnTo>
                        <a:pt x="614474" y="182448"/>
                      </a:lnTo>
                      <a:lnTo>
                        <a:pt x="618638" y="180737"/>
                      </a:lnTo>
                      <a:lnTo>
                        <a:pt x="624718" y="177297"/>
                      </a:lnTo>
                      <a:lnTo>
                        <a:pt x="629168" y="174078"/>
                      </a:lnTo>
                      <a:lnTo>
                        <a:pt x="630292" y="172579"/>
                      </a:lnTo>
                      <a:lnTo>
                        <a:pt x="628801" y="171169"/>
                      </a:lnTo>
                      <a:lnTo>
                        <a:pt x="626617" y="170973"/>
                      </a:lnTo>
                      <a:lnTo>
                        <a:pt x="619363" y="174274"/>
                      </a:lnTo>
                      <a:lnTo>
                        <a:pt x="615721" y="175390"/>
                      </a:lnTo>
                      <a:lnTo>
                        <a:pt x="611752" y="175472"/>
                      </a:lnTo>
                      <a:lnTo>
                        <a:pt x="606308" y="176597"/>
                      </a:lnTo>
                      <a:lnTo>
                        <a:pt x="601010" y="177045"/>
                      </a:lnTo>
                      <a:lnTo>
                        <a:pt x="599991" y="177012"/>
                      </a:lnTo>
                      <a:lnTo>
                        <a:pt x="594466" y="173842"/>
                      </a:lnTo>
                      <a:lnTo>
                        <a:pt x="591516" y="173296"/>
                      </a:lnTo>
                      <a:lnTo>
                        <a:pt x="590147" y="173630"/>
                      </a:lnTo>
                      <a:lnTo>
                        <a:pt x="588883" y="174469"/>
                      </a:lnTo>
                      <a:lnTo>
                        <a:pt x="586496" y="176800"/>
                      </a:lnTo>
                      <a:lnTo>
                        <a:pt x="585118" y="177640"/>
                      </a:lnTo>
                      <a:lnTo>
                        <a:pt x="582730" y="178243"/>
                      </a:lnTo>
                      <a:lnTo>
                        <a:pt x="573106" y="178936"/>
                      </a:lnTo>
                      <a:lnTo>
                        <a:pt x="563872" y="180109"/>
                      </a:lnTo>
                      <a:lnTo>
                        <a:pt x="561818" y="179384"/>
                      </a:lnTo>
                      <a:lnTo>
                        <a:pt x="560571" y="178031"/>
                      </a:lnTo>
                      <a:lnTo>
                        <a:pt x="560319" y="177208"/>
                      </a:lnTo>
                      <a:lnTo>
                        <a:pt x="560180" y="174421"/>
                      </a:lnTo>
                      <a:lnTo>
                        <a:pt x="559561" y="173320"/>
                      </a:lnTo>
                      <a:lnTo>
                        <a:pt x="560376" y="171006"/>
                      </a:lnTo>
                      <a:lnTo>
                        <a:pt x="561427" y="169237"/>
                      </a:lnTo>
                      <a:lnTo>
                        <a:pt x="562723" y="168031"/>
                      </a:lnTo>
                      <a:lnTo>
                        <a:pt x="569063" y="164445"/>
                      </a:lnTo>
                      <a:lnTo>
                        <a:pt x="569952" y="163516"/>
                      </a:lnTo>
                      <a:lnTo>
                        <a:pt x="566928" y="163712"/>
                      </a:lnTo>
                      <a:lnTo>
                        <a:pt x="559740" y="165464"/>
                      </a:lnTo>
                      <a:lnTo>
                        <a:pt x="558803" y="164853"/>
                      </a:lnTo>
                      <a:lnTo>
                        <a:pt x="557116" y="162840"/>
                      </a:lnTo>
                      <a:lnTo>
                        <a:pt x="556309" y="162644"/>
                      </a:lnTo>
                      <a:lnTo>
                        <a:pt x="555396" y="163475"/>
                      </a:lnTo>
                      <a:lnTo>
                        <a:pt x="554858" y="164649"/>
                      </a:lnTo>
                      <a:lnTo>
                        <a:pt x="553628" y="169482"/>
                      </a:lnTo>
                      <a:lnTo>
                        <a:pt x="552536" y="171959"/>
                      </a:lnTo>
                      <a:lnTo>
                        <a:pt x="549651" y="171454"/>
                      </a:lnTo>
                      <a:lnTo>
                        <a:pt x="546081" y="169963"/>
                      </a:lnTo>
                      <a:lnTo>
                        <a:pt x="544744" y="169759"/>
                      </a:lnTo>
                      <a:lnTo>
                        <a:pt x="543978" y="170240"/>
                      </a:lnTo>
                      <a:lnTo>
                        <a:pt x="544223" y="171071"/>
                      </a:lnTo>
                      <a:lnTo>
                        <a:pt x="547850" y="175203"/>
                      </a:lnTo>
                      <a:lnTo>
                        <a:pt x="547898" y="176654"/>
                      </a:lnTo>
                      <a:lnTo>
                        <a:pt x="545519" y="179180"/>
                      </a:lnTo>
                      <a:lnTo>
                        <a:pt x="535413" y="183369"/>
                      </a:lnTo>
                      <a:lnTo>
                        <a:pt x="531420" y="184494"/>
                      </a:lnTo>
                      <a:lnTo>
                        <a:pt x="530010" y="184062"/>
                      </a:lnTo>
                      <a:lnTo>
                        <a:pt x="528730" y="182913"/>
                      </a:lnTo>
                      <a:lnTo>
                        <a:pt x="527606" y="181046"/>
                      </a:lnTo>
                      <a:lnTo>
                        <a:pt x="524981" y="178528"/>
                      </a:lnTo>
                      <a:lnTo>
                        <a:pt x="523417" y="177958"/>
                      </a:lnTo>
                      <a:lnTo>
                        <a:pt x="521673" y="177892"/>
                      </a:lnTo>
                      <a:lnTo>
                        <a:pt x="520059" y="178398"/>
                      </a:lnTo>
                      <a:lnTo>
                        <a:pt x="518592" y="179522"/>
                      </a:lnTo>
                      <a:lnTo>
                        <a:pt x="517679" y="180704"/>
                      </a:lnTo>
                      <a:lnTo>
                        <a:pt x="516815" y="182904"/>
                      </a:lnTo>
                      <a:lnTo>
                        <a:pt x="514973" y="184583"/>
                      </a:lnTo>
                      <a:lnTo>
                        <a:pt x="513841" y="184869"/>
                      </a:lnTo>
                      <a:lnTo>
                        <a:pt x="503580" y="181372"/>
                      </a:lnTo>
                      <a:lnTo>
                        <a:pt x="495308" y="175178"/>
                      </a:lnTo>
                      <a:lnTo>
                        <a:pt x="486262" y="176132"/>
                      </a:lnTo>
                      <a:lnTo>
                        <a:pt x="482195" y="175920"/>
                      </a:lnTo>
                      <a:lnTo>
                        <a:pt x="469865" y="173638"/>
                      </a:lnTo>
                      <a:lnTo>
                        <a:pt x="468300" y="172228"/>
                      </a:lnTo>
                      <a:lnTo>
                        <a:pt x="467436" y="170403"/>
                      </a:lnTo>
                      <a:lnTo>
                        <a:pt x="467518" y="169409"/>
                      </a:lnTo>
                      <a:lnTo>
                        <a:pt x="468023" y="168382"/>
                      </a:lnTo>
                      <a:lnTo>
                        <a:pt x="469588" y="166344"/>
                      </a:lnTo>
                      <a:lnTo>
                        <a:pt x="472693" y="163247"/>
                      </a:lnTo>
                      <a:lnTo>
                        <a:pt x="473988" y="162245"/>
                      </a:lnTo>
                      <a:lnTo>
                        <a:pt x="475920" y="161422"/>
                      </a:lnTo>
                      <a:lnTo>
                        <a:pt x="478487" y="160778"/>
                      </a:lnTo>
                      <a:lnTo>
                        <a:pt x="485015" y="160419"/>
                      </a:lnTo>
                      <a:lnTo>
                        <a:pt x="501828" y="160297"/>
                      </a:lnTo>
                      <a:lnTo>
                        <a:pt x="505194" y="159816"/>
                      </a:lnTo>
                      <a:lnTo>
                        <a:pt x="523588" y="153826"/>
                      </a:lnTo>
                      <a:lnTo>
                        <a:pt x="525682" y="152840"/>
                      </a:lnTo>
                      <a:lnTo>
                        <a:pt x="528388" y="150925"/>
                      </a:lnTo>
                      <a:lnTo>
                        <a:pt x="528999" y="150134"/>
                      </a:lnTo>
                      <a:lnTo>
                        <a:pt x="528885" y="149605"/>
                      </a:lnTo>
                      <a:lnTo>
                        <a:pt x="506253" y="154364"/>
                      </a:lnTo>
                      <a:lnTo>
                        <a:pt x="496547" y="155383"/>
                      </a:lnTo>
                      <a:lnTo>
                        <a:pt x="481674" y="154609"/>
                      </a:lnTo>
                      <a:lnTo>
                        <a:pt x="478878" y="153859"/>
                      </a:lnTo>
                      <a:lnTo>
                        <a:pt x="478243" y="152530"/>
                      </a:lnTo>
                      <a:lnTo>
                        <a:pt x="481340" y="149002"/>
                      </a:lnTo>
                      <a:lnTo>
                        <a:pt x="482978" y="147681"/>
                      </a:lnTo>
                      <a:lnTo>
                        <a:pt x="487207" y="146443"/>
                      </a:lnTo>
                      <a:lnTo>
                        <a:pt x="497443" y="144682"/>
                      </a:lnTo>
                      <a:lnTo>
                        <a:pt x="511119" y="143126"/>
                      </a:lnTo>
                      <a:lnTo>
                        <a:pt x="520083" y="143101"/>
                      </a:lnTo>
                      <a:lnTo>
                        <a:pt x="527597" y="141862"/>
                      </a:lnTo>
                      <a:lnTo>
                        <a:pt x="532121" y="140444"/>
                      </a:lnTo>
                      <a:lnTo>
                        <a:pt x="516970" y="140526"/>
                      </a:lnTo>
                      <a:lnTo>
                        <a:pt x="498723" y="141186"/>
                      </a:lnTo>
                      <a:lnTo>
                        <a:pt x="496082" y="140721"/>
                      </a:lnTo>
                      <a:lnTo>
                        <a:pt x="490875" y="138855"/>
                      </a:lnTo>
                      <a:lnTo>
                        <a:pt x="490622" y="137494"/>
                      </a:lnTo>
                      <a:lnTo>
                        <a:pt x="492700" y="135856"/>
                      </a:lnTo>
                      <a:lnTo>
                        <a:pt x="493466" y="134642"/>
                      </a:lnTo>
                      <a:lnTo>
                        <a:pt x="491975" y="131895"/>
                      </a:lnTo>
                      <a:lnTo>
                        <a:pt x="492431" y="130836"/>
                      </a:lnTo>
                      <a:lnTo>
                        <a:pt x="495830" y="128546"/>
                      </a:lnTo>
                      <a:lnTo>
                        <a:pt x="501893" y="126076"/>
                      </a:lnTo>
                      <a:lnTo>
                        <a:pt x="505626" y="125718"/>
                      </a:lnTo>
                      <a:lnTo>
                        <a:pt x="512838" y="126565"/>
                      </a:lnTo>
                      <a:lnTo>
                        <a:pt x="533392" y="127437"/>
                      </a:lnTo>
                      <a:lnTo>
                        <a:pt x="537377" y="127120"/>
                      </a:lnTo>
                      <a:lnTo>
                        <a:pt x="534859" y="126052"/>
                      </a:lnTo>
                      <a:lnTo>
                        <a:pt x="531273" y="125245"/>
                      </a:lnTo>
                      <a:lnTo>
                        <a:pt x="515405" y="123876"/>
                      </a:lnTo>
                      <a:lnTo>
                        <a:pt x="512121" y="123257"/>
                      </a:lnTo>
                      <a:lnTo>
                        <a:pt x="511494" y="122409"/>
                      </a:lnTo>
                      <a:lnTo>
                        <a:pt x="511257" y="121162"/>
                      </a:lnTo>
                      <a:lnTo>
                        <a:pt x="511412" y="119508"/>
                      </a:lnTo>
                      <a:lnTo>
                        <a:pt x="512561" y="117821"/>
                      </a:lnTo>
                      <a:lnTo>
                        <a:pt x="517484" y="114292"/>
                      </a:lnTo>
                      <a:lnTo>
                        <a:pt x="531925" y="111382"/>
                      </a:lnTo>
                      <a:lnTo>
                        <a:pt x="537671" y="110983"/>
                      </a:lnTo>
                      <a:lnTo>
                        <a:pt x="543424" y="111171"/>
                      </a:lnTo>
                      <a:lnTo>
                        <a:pt x="549276" y="112483"/>
                      </a:lnTo>
                      <a:lnTo>
                        <a:pt x="551884" y="113615"/>
                      </a:lnTo>
                      <a:lnTo>
                        <a:pt x="553188" y="115009"/>
                      </a:lnTo>
                      <a:lnTo>
                        <a:pt x="553823" y="116313"/>
                      </a:lnTo>
                      <a:lnTo>
                        <a:pt x="553897" y="118554"/>
                      </a:lnTo>
                      <a:lnTo>
                        <a:pt x="554174" y="119434"/>
                      </a:lnTo>
                      <a:lnTo>
                        <a:pt x="555233" y="120909"/>
                      </a:lnTo>
                      <a:lnTo>
                        <a:pt x="558615" y="124471"/>
                      </a:lnTo>
                      <a:close/>
                      <a:moveTo>
                        <a:pt x="449360" y="155750"/>
                      </a:moveTo>
                      <a:lnTo>
                        <a:pt x="442278" y="158822"/>
                      </a:lnTo>
                      <a:lnTo>
                        <a:pt x="437233" y="158504"/>
                      </a:lnTo>
                      <a:lnTo>
                        <a:pt x="430550" y="156247"/>
                      </a:lnTo>
                      <a:lnTo>
                        <a:pt x="425106" y="155472"/>
                      </a:lnTo>
                      <a:lnTo>
                        <a:pt x="423191" y="154731"/>
                      </a:lnTo>
                      <a:lnTo>
                        <a:pt x="422914" y="153940"/>
                      </a:lnTo>
                      <a:lnTo>
                        <a:pt x="424764" y="151772"/>
                      </a:lnTo>
                      <a:lnTo>
                        <a:pt x="427079" y="150045"/>
                      </a:lnTo>
                      <a:lnTo>
                        <a:pt x="432620" y="146638"/>
                      </a:lnTo>
                      <a:lnTo>
                        <a:pt x="441976" y="140061"/>
                      </a:lnTo>
                      <a:lnTo>
                        <a:pt x="448105" y="137567"/>
                      </a:lnTo>
                      <a:lnTo>
                        <a:pt x="454119" y="135815"/>
                      </a:lnTo>
                      <a:lnTo>
                        <a:pt x="460248" y="131887"/>
                      </a:lnTo>
                      <a:lnTo>
                        <a:pt x="463646" y="130127"/>
                      </a:lnTo>
                      <a:lnTo>
                        <a:pt x="466597" y="129996"/>
                      </a:lnTo>
                      <a:lnTo>
                        <a:pt x="469596" y="130754"/>
                      </a:lnTo>
                      <a:lnTo>
                        <a:pt x="469930" y="131830"/>
                      </a:lnTo>
                      <a:lnTo>
                        <a:pt x="466776" y="137193"/>
                      </a:lnTo>
                      <a:lnTo>
                        <a:pt x="464551" y="139360"/>
                      </a:lnTo>
                      <a:lnTo>
                        <a:pt x="460215" y="144927"/>
                      </a:lnTo>
                      <a:lnTo>
                        <a:pt x="451895" y="154258"/>
                      </a:lnTo>
                      <a:lnTo>
                        <a:pt x="449360" y="155750"/>
                      </a:lnTo>
                      <a:close/>
                      <a:moveTo>
                        <a:pt x="414438" y="225389"/>
                      </a:moveTo>
                      <a:lnTo>
                        <a:pt x="414626" y="225585"/>
                      </a:lnTo>
                      <a:lnTo>
                        <a:pt x="421015" y="221216"/>
                      </a:lnTo>
                      <a:lnTo>
                        <a:pt x="424886" y="220980"/>
                      </a:lnTo>
                      <a:lnTo>
                        <a:pt x="427592" y="221371"/>
                      </a:lnTo>
                      <a:lnTo>
                        <a:pt x="428448" y="221925"/>
                      </a:lnTo>
                      <a:lnTo>
                        <a:pt x="428986" y="222789"/>
                      </a:lnTo>
                      <a:lnTo>
                        <a:pt x="429255" y="224680"/>
                      </a:lnTo>
                      <a:lnTo>
                        <a:pt x="429426" y="229366"/>
                      </a:lnTo>
                      <a:lnTo>
                        <a:pt x="429768" y="229945"/>
                      </a:lnTo>
                      <a:lnTo>
                        <a:pt x="430640" y="229676"/>
                      </a:lnTo>
                      <a:lnTo>
                        <a:pt x="432050" y="228576"/>
                      </a:lnTo>
                      <a:lnTo>
                        <a:pt x="439034" y="221648"/>
                      </a:lnTo>
                      <a:lnTo>
                        <a:pt x="441976" y="219741"/>
                      </a:lnTo>
                      <a:lnTo>
                        <a:pt x="443997" y="219171"/>
                      </a:lnTo>
                      <a:lnTo>
                        <a:pt x="452530" y="218136"/>
                      </a:lnTo>
                      <a:lnTo>
                        <a:pt x="458325" y="218160"/>
                      </a:lnTo>
                      <a:lnTo>
                        <a:pt x="464739" y="218812"/>
                      </a:lnTo>
                      <a:lnTo>
                        <a:pt x="469514" y="219790"/>
                      </a:lnTo>
                      <a:lnTo>
                        <a:pt x="477346" y="222643"/>
                      </a:lnTo>
                      <a:lnTo>
                        <a:pt x="483507" y="225927"/>
                      </a:lnTo>
                      <a:lnTo>
                        <a:pt x="489155" y="229415"/>
                      </a:lnTo>
                      <a:lnTo>
                        <a:pt x="508128" y="242503"/>
                      </a:lnTo>
                      <a:lnTo>
                        <a:pt x="516147" y="246350"/>
                      </a:lnTo>
                      <a:lnTo>
                        <a:pt x="519211" y="248542"/>
                      </a:lnTo>
                      <a:lnTo>
                        <a:pt x="520572" y="250132"/>
                      </a:lnTo>
                      <a:lnTo>
                        <a:pt x="521770" y="252128"/>
                      </a:lnTo>
                      <a:lnTo>
                        <a:pt x="522137" y="253995"/>
                      </a:lnTo>
                      <a:lnTo>
                        <a:pt x="521673" y="255722"/>
                      </a:lnTo>
                      <a:lnTo>
                        <a:pt x="520801" y="256928"/>
                      </a:lnTo>
                      <a:lnTo>
                        <a:pt x="518877" y="257955"/>
                      </a:lnTo>
                      <a:lnTo>
                        <a:pt x="507272" y="262307"/>
                      </a:lnTo>
                      <a:lnTo>
                        <a:pt x="501160" y="263644"/>
                      </a:lnTo>
                      <a:lnTo>
                        <a:pt x="495113" y="265567"/>
                      </a:lnTo>
                      <a:lnTo>
                        <a:pt x="480655" y="272340"/>
                      </a:lnTo>
                      <a:lnTo>
                        <a:pt x="470761" y="275567"/>
                      </a:lnTo>
                      <a:lnTo>
                        <a:pt x="457893" y="281842"/>
                      </a:lnTo>
                      <a:lnTo>
                        <a:pt x="433623" y="291923"/>
                      </a:lnTo>
                      <a:lnTo>
                        <a:pt x="430738" y="293945"/>
                      </a:lnTo>
                      <a:lnTo>
                        <a:pt x="429409" y="295395"/>
                      </a:lnTo>
                      <a:lnTo>
                        <a:pt x="422556" y="306829"/>
                      </a:lnTo>
                      <a:lnTo>
                        <a:pt x="419948" y="309478"/>
                      </a:lnTo>
                      <a:lnTo>
                        <a:pt x="413640" y="312176"/>
                      </a:lnTo>
                      <a:lnTo>
                        <a:pt x="405645" y="312852"/>
                      </a:lnTo>
                      <a:lnTo>
                        <a:pt x="403412" y="313610"/>
                      </a:lnTo>
                      <a:lnTo>
                        <a:pt x="403053" y="317546"/>
                      </a:lnTo>
                      <a:lnTo>
                        <a:pt x="400184" y="324082"/>
                      </a:lnTo>
                      <a:lnTo>
                        <a:pt x="398783" y="328475"/>
                      </a:lnTo>
                      <a:lnTo>
                        <a:pt x="396876" y="340202"/>
                      </a:lnTo>
                      <a:lnTo>
                        <a:pt x="396444" y="341376"/>
                      </a:lnTo>
                      <a:lnTo>
                        <a:pt x="394985" y="343544"/>
                      </a:lnTo>
                      <a:lnTo>
                        <a:pt x="392507" y="345891"/>
                      </a:lnTo>
                      <a:lnTo>
                        <a:pt x="384798" y="348597"/>
                      </a:lnTo>
                      <a:lnTo>
                        <a:pt x="379101" y="350015"/>
                      </a:lnTo>
                      <a:lnTo>
                        <a:pt x="371359" y="351196"/>
                      </a:lnTo>
                      <a:lnTo>
                        <a:pt x="369509" y="350390"/>
                      </a:lnTo>
                      <a:lnTo>
                        <a:pt x="367643" y="348531"/>
                      </a:lnTo>
                      <a:lnTo>
                        <a:pt x="365703" y="348368"/>
                      </a:lnTo>
                      <a:lnTo>
                        <a:pt x="364497" y="348670"/>
                      </a:lnTo>
                      <a:lnTo>
                        <a:pt x="354391" y="356787"/>
                      </a:lnTo>
                      <a:lnTo>
                        <a:pt x="344644" y="360063"/>
                      </a:lnTo>
                      <a:lnTo>
                        <a:pt x="340423" y="363030"/>
                      </a:lnTo>
                      <a:lnTo>
                        <a:pt x="337440" y="364415"/>
                      </a:lnTo>
                      <a:lnTo>
                        <a:pt x="335052" y="364839"/>
                      </a:lnTo>
                      <a:lnTo>
                        <a:pt x="331107" y="364578"/>
                      </a:lnTo>
                      <a:lnTo>
                        <a:pt x="328255" y="363242"/>
                      </a:lnTo>
                      <a:lnTo>
                        <a:pt x="325680" y="361164"/>
                      </a:lnTo>
                      <a:lnTo>
                        <a:pt x="323724" y="358914"/>
                      </a:lnTo>
                      <a:lnTo>
                        <a:pt x="318720" y="349656"/>
                      </a:lnTo>
                      <a:lnTo>
                        <a:pt x="316568" y="346470"/>
                      </a:lnTo>
                      <a:lnTo>
                        <a:pt x="314743" y="344889"/>
                      </a:lnTo>
                      <a:lnTo>
                        <a:pt x="309837" y="339224"/>
                      </a:lnTo>
                      <a:lnTo>
                        <a:pt x="308484" y="338092"/>
                      </a:lnTo>
                      <a:lnTo>
                        <a:pt x="289829" y="330895"/>
                      </a:lnTo>
                      <a:lnTo>
                        <a:pt x="280750" y="326861"/>
                      </a:lnTo>
                      <a:lnTo>
                        <a:pt x="278558" y="325435"/>
                      </a:lnTo>
                      <a:lnTo>
                        <a:pt x="276520" y="324604"/>
                      </a:lnTo>
                      <a:lnTo>
                        <a:pt x="264850" y="325158"/>
                      </a:lnTo>
                      <a:lnTo>
                        <a:pt x="263310" y="324946"/>
                      </a:lnTo>
                      <a:lnTo>
                        <a:pt x="262910" y="324351"/>
                      </a:lnTo>
                      <a:lnTo>
                        <a:pt x="264288" y="322224"/>
                      </a:lnTo>
                      <a:lnTo>
                        <a:pt x="264834" y="320888"/>
                      </a:lnTo>
                      <a:lnTo>
                        <a:pt x="265005" y="319575"/>
                      </a:lnTo>
                      <a:lnTo>
                        <a:pt x="264826" y="317432"/>
                      </a:lnTo>
                      <a:lnTo>
                        <a:pt x="264972" y="317057"/>
                      </a:lnTo>
                      <a:lnTo>
                        <a:pt x="269406" y="314963"/>
                      </a:lnTo>
                      <a:lnTo>
                        <a:pt x="268689" y="314531"/>
                      </a:lnTo>
                      <a:lnTo>
                        <a:pt x="268167" y="313716"/>
                      </a:lnTo>
                      <a:lnTo>
                        <a:pt x="267841" y="312518"/>
                      </a:lnTo>
                      <a:lnTo>
                        <a:pt x="268322" y="311670"/>
                      </a:lnTo>
                      <a:lnTo>
                        <a:pt x="269609" y="311189"/>
                      </a:lnTo>
                      <a:lnTo>
                        <a:pt x="271174" y="309242"/>
                      </a:lnTo>
                      <a:lnTo>
                        <a:pt x="273024" y="305827"/>
                      </a:lnTo>
                      <a:lnTo>
                        <a:pt x="274393" y="303912"/>
                      </a:lnTo>
                      <a:lnTo>
                        <a:pt x="276292" y="302673"/>
                      </a:lnTo>
                      <a:lnTo>
                        <a:pt x="279707" y="299364"/>
                      </a:lnTo>
                      <a:lnTo>
                        <a:pt x="282136" y="298028"/>
                      </a:lnTo>
                      <a:lnTo>
                        <a:pt x="284198" y="296349"/>
                      </a:lnTo>
                      <a:lnTo>
                        <a:pt x="284263" y="295591"/>
                      </a:lnTo>
                      <a:lnTo>
                        <a:pt x="283415" y="295004"/>
                      </a:lnTo>
                      <a:lnTo>
                        <a:pt x="283122" y="293733"/>
                      </a:lnTo>
                      <a:lnTo>
                        <a:pt x="283505" y="289731"/>
                      </a:lnTo>
                      <a:lnTo>
                        <a:pt x="283488" y="287669"/>
                      </a:lnTo>
                      <a:lnTo>
                        <a:pt x="283863" y="285950"/>
                      </a:lnTo>
                      <a:lnTo>
                        <a:pt x="284621" y="284572"/>
                      </a:lnTo>
                      <a:lnTo>
                        <a:pt x="285583" y="283651"/>
                      </a:lnTo>
                      <a:lnTo>
                        <a:pt x="294222" y="280742"/>
                      </a:lnTo>
                      <a:lnTo>
                        <a:pt x="294662" y="279903"/>
                      </a:lnTo>
                      <a:lnTo>
                        <a:pt x="294760" y="278933"/>
                      </a:lnTo>
                      <a:lnTo>
                        <a:pt x="294531" y="277841"/>
                      </a:lnTo>
                      <a:lnTo>
                        <a:pt x="294091" y="277066"/>
                      </a:lnTo>
                      <a:lnTo>
                        <a:pt x="292722" y="276431"/>
                      </a:lnTo>
                      <a:lnTo>
                        <a:pt x="290416" y="276260"/>
                      </a:lnTo>
                      <a:lnTo>
                        <a:pt x="288411" y="274589"/>
                      </a:lnTo>
                      <a:lnTo>
                        <a:pt x="287930" y="273774"/>
                      </a:lnTo>
                      <a:lnTo>
                        <a:pt x="288729" y="271484"/>
                      </a:lnTo>
                      <a:lnTo>
                        <a:pt x="292633" y="267825"/>
                      </a:lnTo>
                      <a:lnTo>
                        <a:pt x="293945" y="266015"/>
                      </a:lnTo>
                      <a:lnTo>
                        <a:pt x="298158" y="257849"/>
                      </a:lnTo>
                      <a:lnTo>
                        <a:pt x="305851" y="252788"/>
                      </a:lnTo>
                      <a:lnTo>
                        <a:pt x="307930" y="247336"/>
                      </a:lnTo>
                      <a:lnTo>
                        <a:pt x="313708" y="241542"/>
                      </a:lnTo>
                      <a:lnTo>
                        <a:pt x="313691" y="240735"/>
                      </a:lnTo>
                      <a:lnTo>
                        <a:pt x="311825" y="238755"/>
                      </a:lnTo>
                      <a:lnTo>
                        <a:pt x="306495" y="237385"/>
                      </a:lnTo>
                      <a:lnTo>
                        <a:pt x="303928" y="235275"/>
                      </a:lnTo>
                      <a:lnTo>
                        <a:pt x="302208" y="232870"/>
                      </a:lnTo>
                      <a:lnTo>
                        <a:pt x="294409" y="219008"/>
                      </a:lnTo>
                      <a:lnTo>
                        <a:pt x="293073" y="217973"/>
                      </a:lnTo>
                      <a:lnTo>
                        <a:pt x="292681" y="216359"/>
                      </a:lnTo>
                      <a:lnTo>
                        <a:pt x="291084" y="215291"/>
                      </a:lnTo>
                      <a:lnTo>
                        <a:pt x="291410" y="214289"/>
                      </a:lnTo>
                      <a:lnTo>
                        <a:pt x="321866" y="210141"/>
                      </a:lnTo>
                      <a:lnTo>
                        <a:pt x="342827" y="208812"/>
                      </a:lnTo>
                      <a:lnTo>
                        <a:pt x="364538" y="205202"/>
                      </a:lnTo>
                      <a:lnTo>
                        <a:pt x="370585" y="204990"/>
                      </a:lnTo>
                      <a:lnTo>
                        <a:pt x="375271" y="205707"/>
                      </a:lnTo>
                      <a:lnTo>
                        <a:pt x="379892" y="207582"/>
                      </a:lnTo>
                      <a:lnTo>
                        <a:pt x="386020" y="210858"/>
                      </a:lnTo>
                      <a:lnTo>
                        <a:pt x="394137" y="214061"/>
                      </a:lnTo>
                      <a:lnTo>
                        <a:pt x="409288" y="218731"/>
                      </a:lnTo>
                      <a:lnTo>
                        <a:pt x="418733" y="219717"/>
                      </a:lnTo>
                      <a:lnTo>
                        <a:pt x="414944" y="223441"/>
                      </a:lnTo>
                      <a:lnTo>
                        <a:pt x="414414" y="224558"/>
                      </a:lnTo>
                      <a:lnTo>
                        <a:pt x="414438" y="225389"/>
                      </a:lnTo>
                      <a:close/>
                      <a:moveTo>
                        <a:pt x="543775" y="296121"/>
                      </a:moveTo>
                      <a:lnTo>
                        <a:pt x="545347" y="296707"/>
                      </a:lnTo>
                      <a:lnTo>
                        <a:pt x="548216" y="296227"/>
                      </a:lnTo>
                      <a:lnTo>
                        <a:pt x="552381" y="294694"/>
                      </a:lnTo>
                      <a:lnTo>
                        <a:pt x="557751" y="293423"/>
                      </a:lnTo>
                      <a:lnTo>
                        <a:pt x="564336" y="292437"/>
                      </a:lnTo>
                      <a:lnTo>
                        <a:pt x="566072" y="293635"/>
                      </a:lnTo>
                      <a:lnTo>
                        <a:pt x="567164" y="293390"/>
                      </a:lnTo>
                      <a:lnTo>
                        <a:pt x="569104" y="291443"/>
                      </a:lnTo>
                      <a:lnTo>
                        <a:pt x="569446" y="290147"/>
                      </a:lnTo>
                      <a:lnTo>
                        <a:pt x="569202" y="288704"/>
                      </a:lnTo>
                      <a:lnTo>
                        <a:pt x="569308" y="285542"/>
                      </a:lnTo>
                      <a:lnTo>
                        <a:pt x="570335" y="283635"/>
                      </a:lnTo>
                      <a:lnTo>
                        <a:pt x="574238" y="279634"/>
                      </a:lnTo>
                      <a:lnTo>
                        <a:pt x="576325" y="278191"/>
                      </a:lnTo>
                      <a:lnTo>
                        <a:pt x="579666" y="277523"/>
                      </a:lnTo>
                      <a:lnTo>
                        <a:pt x="587604" y="277955"/>
                      </a:lnTo>
                      <a:lnTo>
                        <a:pt x="595036" y="280237"/>
                      </a:lnTo>
                      <a:lnTo>
                        <a:pt x="605101" y="282486"/>
                      </a:lnTo>
                      <a:lnTo>
                        <a:pt x="619803" y="288126"/>
                      </a:lnTo>
                      <a:lnTo>
                        <a:pt x="624408" y="290538"/>
                      </a:lnTo>
                      <a:lnTo>
                        <a:pt x="624889" y="292624"/>
                      </a:lnTo>
                      <a:lnTo>
                        <a:pt x="622281" y="297066"/>
                      </a:lnTo>
                      <a:lnTo>
                        <a:pt x="615949" y="303349"/>
                      </a:lnTo>
                      <a:lnTo>
                        <a:pt x="610855" y="305615"/>
                      </a:lnTo>
                      <a:lnTo>
                        <a:pt x="608899" y="307009"/>
                      </a:lnTo>
                      <a:lnTo>
                        <a:pt x="612208" y="307962"/>
                      </a:lnTo>
                      <a:lnTo>
                        <a:pt x="614359" y="309576"/>
                      </a:lnTo>
                      <a:lnTo>
                        <a:pt x="617619" y="307245"/>
                      </a:lnTo>
                      <a:lnTo>
                        <a:pt x="619999" y="304629"/>
                      </a:lnTo>
                      <a:lnTo>
                        <a:pt x="623381" y="302469"/>
                      </a:lnTo>
                      <a:lnTo>
                        <a:pt x="624539" y="302274"/>
                      </a:lnTo>
                      <a:lnTo>
                        <a:pt x="624816" y="302738"/>
                      </a:lnTo>
                      <a:lnTo>
                        <a:pt x="624229" y="303855"/>
                      </a:lnTo>
                      <a:lnTo>
                        <a:pt x="623976" y="304939"/>
                      </a:lnTo>
                      <a:lnTo>
                        <a:pt x="624066" y="306006"/>
                      </a:lnTo>
                      <a:lnTo>
                        <a:pt x="624457" y="306650"/>
                      </a:lnTo>
                      <a:lnTo>
                        <a:pt x="626519" y="306984"/>
                      </a:lnTo>
                      <a:lnTo>
                        <a:pt x="627635" y="306585"/>
                      </a:lnTo>
                      <a:lnTo>
                        <a:pt x="632126" y="303520"/>
                      </a:lnTo>
                      <a:lnTo>
                        <a:pt x="636527" y="298834"/>
                      </a:lnTo>
                      <a:lnTo>
                        <a:pt x="643201" y="295803"/>
                      </a:lnTo>
                      <a:lnTo>
                        <a:pt x="645019" y="294254"/>
                      </a:lnTo>
                      <a:lnTo>
                        <a:pt x="650830" y="292967"/>
                      </a:lnTo>
                      <a:lnTo>
                        <a:pt x="650756" y="292054"/>
                      </a:lnTo>
                      <a:lnTo>
                        <a:pt x="651025" y="288468"/>
                      </a:lnTo>
                      <a:lnTo>
                        <a:pt x="648996" y="286936"/>
                      </a:lnTo>
                      <a:lnTo>
                        <a:pt x="642183" y="283733"/>
                      </a:lnTo>
                      <a:lnTo>
                        <a:pt x="638817" y="279878"/>
                      </a:lnTo>
                      <a:lnTo>
                        <a:pt x="639518" y="276936"/>
                      </a:lnTo>
                      <a:lnTo>
                        <a:pt x="643275" y="277368"/>
                      </a:lnTo>
                      <a:lnTo>
                        <a:pt x="653560" y="277686"/>
                      </a:lnTo>
                      <a:lnTo>
                        <a:pt x="655703" y="278077"/>
                      </a:lnTo>
                      <a:lnTo>
                        <a:pt x="655874" y="278159"/>
                      </a:lnTo>
                      <a:lnTo>
                        <a:pt x="655882" y="290465"/>
                      </a:lnTo>
                      <a:lnTo>
                        <a:pt x="655891" y="315444"/>
                      </a:lnTo>
                      <a:lnTo>
                        <a:pt x="655891" y="340243"/>
                      </a:lnTo>
                      <a:lnTo>
                        <a:pt x="655899" y="364872"/>
                      </a:lnTo>
                      <a:lnTo>
                        <a:pt x="655899" y="389345"/>
                      </a:lnTo>
                      <a:lnTo>
                        <a:pt x="655907" y="413648"/>
                      </a:lnTo>
                      <a:lnTo>
                        <a:pt x="648156" y="413648"/>
                      </a:lnTo>
                      <a:lnTo>
                        <a:pt x="640406" y="413648"/>
                      </a:lnTo>
                      <a:lnTo>
                        <a:pt x="632656" y="413648"/>
                      </a:lnTo>
                      <a:lnTo>
                        <a:pt x="624905" y="413648"/>
                      </a:lnTo>
                      <a:lnTo>
                        <a:pt x="617155" y="413648"/>
                      </a:lnTo>
                      <a:lnTo>
                        <a:pt x="609404" y="413648"/>
                      </a:lnTo>
                      <a:lnTo>
                        <a:pt x="601654" y="413648"/>
                      </a:lnTo>
                      <a:lnTo>
                        <a:pt x="593904" y="413648"/>
                      </a:lnTo>
                      <a:lnTo>
                        <a:pt x="593904" y="417641"/>
                      </a:lnTo>
                      <a:lnTo>
                        <a:pt x="590179" y="421072"/>
                      </a:lnTo>
                      <a:lnTo>
                        <a:pt x="587392" y="421089"/>
                      </a:lnTo>
                      <a:lnTo>
                        <a:pt x="584597" y="421113"/>
                      </a:lnTo>
                      <a:lnTo>
                        <a:pt x="584523" y="417625"/>
                      </a:lnTo>
                      <a:lnTo>
                        <a:pt x="584450" y="413623"/>
                      </a:lnTo>
                      <a:lnTo>
                        <a:pt x="570905" y="413632"/>
                      </a:lnTo>
                      <a:lnTo>
                        <a:pt x="557808" y="413623"/>
                      </a:lnTo>
                      <a:lnTo>
                        <a:pt x="544712" y="413623"/>
                      </a:lnTo>
                      <a:lnTo>
                        <a:pt x="531615" y="413615"/>
                      </a:lnTo>
                      <a:lnTo>
                        <a:pt x="518519" y="413607"/>
                      </a:lnTo>
                      <a:lnTo>
                        <a:pt x="505422" y="413607"/>
                      </a:lnTo>
                      <a:lnTo>
                        <a:pt x="492325" y="413599"/>
                      </a:lnTo>
                      <a:lnTo>
                        <a:pt x="480924" y="413599"/>
                      </a:lnTo>
                      <a:lnTo>
                        <a:pt x="480427" y="418644"/>
                      </a:lnTo>
                      <a:lnTo>
                        <a:pt x="483589" y="421512"/>
                      </a:lnTo>
                      <a:lnTo>
                        <a:pt x="486743" y="424381"/>
                      </a:lnTo>
                      <a:lnTo>
                        <a:pt x="489897" y="427250"/>
                      </a:lnTo>
                      <a:lnTo>
                        <a:pt x="490964" y="429279"/>
                      </a:lnTo>
                      <a:lnTo>
                        <a:pt x="485871" y="429287"/>
                      </a:lnTo>
                      <a:lnTo>
                        <a:pt x="482481" y="426190"/>
                      </a:lnTo>
                      <a:lnTo>
                        <a:pt x="479718" y="422417"/>
                      </a:lnTo>
                      <a:lnTo>
                        <a:pt x="479270" y="421455"/>
                      </a:lnTo>
                      <a:lnTo>
                        <a:pt x="478609" y="418676"/>
                      </a:lnTo>
                      <a:lnTo>
                        <a:pt x="477737" y="414096"/>
                      </a:lnTo>
                      <a:lnTo>
                        <a:pt x="477452" y="411284"/>
                      </a:lnTo>
                      <a:lnTo>
                        <a:pt x="478267" y="409573"/>
                      </a:lnTo>
                      <a:lnTo>
                        <a:pt x="478943" y="409231"/>
                      </a:lnTo>
                      <a:lnTo>
                        <a:pt x="493377" y="405881"/>
                      </a:lnTo>
                      <a:lnTo>
                        <a:pt x="518788" y="402206"/>
                      </a:lnTo>
                      <a:lnTo>
                        <a:pt x="542022" y="399728"/>
                      </a:lnTo>
                      <a:lnTo>
                        <a:pt x="552568" y="399948"/>
                      </a:lnTo>
                      <a:lnTo>
                        <a:pt x="558778" y="401114"/>
                      </a:lnTo>
                      <a:lnTo>
                        <a:pt x="565013" y="401643"/>
                      </a:lnTo>
                      <a:lnTo>
                        <a:pt x="576292" y="401904"/>
                      </a:lnTo>
                      <a:lnTo>
                        <a:pt x="590497" y="403632"/>
                      </a:lnTo>
                      <a:lnTo>
                        <a:pt x="593358" y="403477"/>
                      </a:lnTo>
                      <a:lnTo>
                        <a:pt x="599723" y="402312"/>
                      </a:lnTo>
                      <a:lnTo>
                        <a:pt x="601613" y="401366"/>
                      </a:lnTo>
                      <a:lnTo>
                        <a:pt x="611678" y="401488"/>
                      </a:lnTo>
                      <a:lnTo>
                        <a:pt x="613634" y="400910"/>
                      </a:lnTo>
                      <a:lnTo>
                        <a:pt x="615435" y="399883"/>
                      </a:lnTo>
                      <a:lnTo>
                        <a:pt x="613121" y="397951"/>
                      </a:lnTo>
                      <a:lnTo>
                        <a:pt x="603488" y="393697"/>
                      </a:lnTo>
                      <a:lnTo>
                        <a:pt x="577906" y="386085"/>
                      </a:lnTo>
                      <a:lnTo>
                        <a:pt x="571671" y="384472"/>
                      </a:lnTo>
                      <a:lnTo>
                        <a:pt x="562731" y="382744"/>
                      </a:lnTo>
                      <a:lnTo>
                        <a:pt x="557556" y="382500"/>
                      </a:lnTo>
                      <a:lnTo>
                        <a:pt x="550955" y="383486"/>
                      </a:lnTo>
                      <a:lnTo>
                        <a:pt x="548493" y="383445"/>
                      </a:lnTo>
                      <a:lnTo>
                        <a:pt x="542014" y="384928"/>
                      </a:lnTo>
                      <a:lnTo>
                        <a:pt x="535861" y="385865"/>
                      </a:lnTo>
                      <a:lnTo>
                        <a:pt x="524191" y="386778"/>
                      </a:lnTo>
                      <a:lnTo>
                        <a:pt x="507337" y="387455"/>
                      </a:lnTo>
                      <a:lnTo>
                        <a:pt x="504974" y="387251"/>
                      </a:lnTo>
                      <a:lnTo>
                        <a:pt x="501502" y="386094"/>
                      </a:lnTo>
                      <a:lnTo>
                        <a:pt x="498984" y="385759"/>
                      </a:lnTo>
                      <a:lnTo>
                        <a:pt x="482481" y="386664"/>
                      </a:lnTo>
                      <a:lnTo>
                        <a:pt x="467738" y="385499"/>
                      </a:lnTo>
                      <a:lnTo>
                        <a:pt x="450941" y="373845"/>
                      </a:lnTo>
                      <a:lnTo>
                        <a:pt x="448162" y="370259"/>
                      </a:lnTo>
                      <a:lnTo>
                        <a:pt x="448749" y="368800"/>
                      </a:lnTo>
                      <a:lnTo>
                        <a:pt x="450819" y="367235"/>
                      </a:lnTo>
                      <a:lnTo>
                        <a:pt x="459140" y="362720"/>
                      </a:lnTo>
                      <a:lnTo>
                        <a:pt x="462114" y="361644"/>
                      </a:lnTo>
                      <a:lnTo>
                        <a:pt x="474518" y="359216"/>
                      </a:lnTo>
                      <a:lnTo>
                        <a:pt x="486881" y="356274"/>
                      </a:lnTo>
                      <a:lnTo>
                        <a:pt x="496653" y="353511"/>
                      </a:lnTo>
                      <a:lnTo>
                        <a:pt x="501445" y="352549"/>
                      </a:lnTo>
                      <a:lnTo>
                        <a:pt x="506066" y="352427"/>
                      </a:lnTo>
                      <a:lnTo>
                        <a:pt x="509798" y="351522"/>
                      </a:lnTo>
                      <a:lnTo>
                        <a:pt x="509041" y="350642"/>
                      </a:lnTo>
                      <a:lnTo>
                        <a:pt x="505984" y="349648"/>
                      </a:lnTo>
                      <a:lnTo>
                        <a:pt x="506017" y="348230"/>
                      </a:lnTo>
                      <a:lnTo>
                        <a:pt x="507598" y="347553"/>
                      </a:lnTo>
                      <a:lnTo>
                        <a:pt x="513710" y="346836"/>
                      </a:lnTo>
                      <a:lnTo>
                        <a:pt x="520206" y="347708"/>
                      </a:lnTo>
                      <a:lnTo>
                        <a:pt x="523449" y="347407"/>
                      </a:lnTo>
                      <a:lnTo>
                        <a:pt x="524378" y="346437"/>
                      </a:lnTo>
                      <a:lnTo>
                        <a:pt x="523523" y="345663"/>
                      </a:lnTo>
                      <a:lnTo>
                        <a:pt x="517361" y="344049"/>
                      </a:lnTo>
                      <a:lnTo>
                        <a:pt x="487762" y="348703"/>
                      </a:lnTo>
                      <a:lnTo>
                        <a:pt x="473948" y="349135"/>
                      </a:lnTo>
                      <a:lnTo>
                        <a:pt x="464372" y="351131"/>
                      </a:lnTo>
                      <a:lnTo>
                        <a:pt x="459107" y="351066"/>
                      </a:lnTo>
                      <a:lnTo>
                        <a:pt x="452840" y="349078"/>
                      </a:lnTo>
                      <a:lnTo>
                        <a:pt x="452000" y="348474"/>
                      </a:lnTo>
                      <a:lnTo>
                        <a:pt x="451886" y="347651"/>
                      </a:lnTo>
                      <a:lnTo>
                        <a:pt x="453818" y="344995"/>
                      </a:lnTo>
                      <a:lnTo>
                        <a:pt x="460517" y="343389"/>
                      </a:lnTo>
                      <a:lnTo>
                        <a:pt x="463891" y="338915"/>
                      </a:lnTo>
                      <a:lnTo>
                        <a:pt x="460289" y="338833"/>
                      </a:lnTo>
                      <a:lnTo>
                        <a:pt x="448284" y="339795"/>
                      </a:lnTo>
                      <a:lnTo>
                        <a:pt x="443036" y="339379"/>
                      </a:lnTo>
                      <a:lnTo>
                        <a:pt x="435954" y="337660"/>
                      </a:lnTo>
                      <a:lnTo>
                        <a:pt x="433875" y="335614"/>
                      </a:lnTo>
                      <a:lnTo>
                        <a:pt x="432995" y="334131"/>
                      </a:lnTo>
                      <a:lnTo>
                        <a:pt x="432849" y="332362"/>
                      </a:lnTo>
                      <a:lnTo>
                        <a:pt x="433077" y="327334"/>
                      </a:lnTo>
                      <a:lnTo>
                        <a:pt x="433688" y="324628"/>
                      </a:lnTo>
                      <a:lnTo>
                        <a:pt x="434063" y="324025"/>
                      </a:lnTo>
                      <a:lnTo>
                        <a:pt x="442865" y="315696"/>
                      </a:lnTo>
                      <a:lnTo>
                        <a:pt x="448349" y="313952"/>
                      </a:lnTo>
                      <a:lnTo>
                        <a:pt x="452204" y="311320"/>
                      </a:lnTo>
                      <a:lnTo>
                        <a:pt x="452351" y="310220"/>
                      </a:lnTo>
                      <a:lnTo>
                        <a:pt x="451397" y="309111"/>
                      </a:lnTo>
                      <a:lnTo>
                        <a:pt x="447820" y="306422"/>
                      </a:lnTo>
                      <a:lnTo>
                        <a:pt x="446377" y="305061"/>
                      </a:lnTo>
                      <a:lnTo>
                        <a:pt x="445570" y="303757"/>
                      </a:lnTo>
                      <a:lnTo>
                        <a:pt x="446182" y="301687"/>
                      </a:lnTo>
                      <a:lnTo>
                        <a:pt x="448219" y="298859"/>
                      </a:lnTo>
                      <a:lnTo>
                        <a:pt x="454209" y="294303"/>
                      </a:lnTo>
                      <a:lnTo>
                        <a:pt x="468626" y="285143"/>
                      </a:lnTo>
                      <a:lnTo>
                        <a:pt x="475952" y="281288"/>
                      </a:lnTo>
                      <a:lnTo>
                        <a:pt x="483010" y="279210"/>
                      </a:lnTo>
                      <a:lnTo>
                        <a:pt x="492888" y="274793"/>
                      </a:lnTo>
                      <a:lnTo>
                        <a:pt x="518209" y="267425"/>
                      </a:lnTo>
                      <a:lnTo>
                        <a:pt x="540882" y="260025"/>
                      </a:lnTo>
                      <a:lnTo>
                        <a:pt x="549219" y="261973"/>
                      </a:lnTo>
                      <a:lnTo>
                        <a:pt x="551598" y="263505"/>
                      </a:lnTo>
                      <a:lnTo>
                        <a:pt x="552650" y="264809"/>
                      </a:lnTo>
                      <a:lnTo>
                        <a:pt x="553562" y="266627"/>
                      </a:lnTo>
                      <a:lnTo>
                        <a:pt x="554345" y="268974"/>
                      </a:lnTo>
                      <a:lnTo>
                        <a:pt x="555429" y="274043"/>
                      </a:lnTo>
                      <a:lnTo>
                        <a:pt x="555567" y="276651"/>
                      </a:lnTo>
                      <a:lnTo>
                        <a:pt x="555380" y="279275"/>
                      </a:lnTo>
                      <a:lnTo>
                        <a:pt x="554858" y="281647"/>
                      </a:lnTo>
                      <a:lnTo>
                        <a:pt x="554011" y="283766"/>
                      </a:lnTo>
                      <a:lnTo>
                        <a:pt x="552307" y="286349"/>
                      </a:lnTo>
                      <a:lnTo>
                        <a:pt x="549765" y="289405"/>
                      </a:lnTo>
                      <a:lnTo>
                        <a:pt x="544370" y="294621"/>
                      </a:lnTo>
                      <a:lnTo>
                        <a:pt x="543775" y="296121"/>
                      </a:lnTo>
                      <a:close/>
                      <a:moveTo>
                        <a:pt x="313170" y="835144"/>
                      </a:moveTo>
                      <a:lnTo>
                        <a:pt x="312607" y="834378"/>
                      </a:lnTo>
                      <a:lnTo>
                        <a:pt x="311678" y="833604"/>
                      </a:lnTo>
                      <a:lnTo>
                        <a:pt x="308842" y="833571"/>
                      </a:lnTo>
                      <a:lnTo>
                        <a:pt x="308419" y="833343"/>
                      </a:lnTo>
                      <a:lnTo>
                        <a:pt x="308361" y="832788"/>
                      </a:lnTo>
                      <a:lnTo>
                        <a:pt x="308875" y="831224"/>
                      </a:lnTo>
                      <a:lnTo>
                        <a:pt x="308744" y="830132"/>
                      </a:lnTo>
                      <a:lnTo>
                        <a:pt x="306120" y="826187"/>
                      </a:lnTo>
                      <a:lnTo>
                        <a:pt x="304099" y="822357"/>
                      </a:lnTo>
                      <a:lnTo>
                        <a:pt x="303610" y="821069"/>
                      </a:lnTo>
                      <a:lnTo>
                        <a:pt x="303089" y="817068"/>
                      </a:lnTo>
                      <a:lnTo>
                        <a:pt x="302502" y="816236"/>
                      </a:lnTo>
                      <a:lnTo>
                        <a:pt x="298688" y="815405"/>
                      </a:lnTo>
                      <a:lnTo>
                        <a:pt x="297042" y="812471"/>
                      </a:lnTo>
                      <a:lnTo>
                        <a:pt x="293814" y="808657"/>
                      </a:lnTo>
                      <a:lnTo>
                        <a:pt x="293521" y="807842"/>
                      </a:lnTo>
                      <a:lnTo>
                        <a:pt x="293521" y="807084"/>
                      </a:lnTo>
                      <a:lnTo>
                        <a:pt x="296153" y="803572"/>
                      </a:lnTo>
                      <a:lnTo>
                        <a:pt x="296121" y="802211"/>
                      </a:lnTo>
                      <a:lnTo>
                        <a:pt x="294230" y="796954"/>
                      </a:lnTo>
                      <a:lnTo>
                        <a:pt x="293407" y="796636"/>
                      </a:lnTo>
                      <a:lnTo>
                        <a:pt x="288672" y="796620"/>
                      </a:lnTo>
                      <a:lnTo>
                        <a:pt x="287914" y="797133"/>
                      </a:lnTo>
                      <a:lnTo>
                        <a:pt x="287360" y="798103"/>
                      </a:lnTo>
                      <a:lnTo>
                        <a:pt x="286838" y="800679"/>
                      </a:lnTo>
                      <a:lnTo>
                        <a:pt x="280114" y="801322"/>
                      </a:lnTo>
                      <a:lnTo>
                        <a:pt x="278175" y="802048"/>
                      </a:lnTo>
                      <a:lnTo>
                        <a:pt x="275877" y="803409"/>
                      </a:lnTo>
                      <a:lnTo>
                        <a:pt x="274483" y="803433"/>
                      </a:lnTo>
                      <a:lnTo>
                        <a:pt x="266333" y="801469"/>
                      </a:lnTo>
                      <a:lnTo>
                        <a:pt x="262446" y="799472"/>
                      </a:lnTo>
                      <a:lnTo>
                        <a:pt x="261566" y="799464"/>
                      </a:lnTo>
                      <a:lnTo>
                        <a:pt x="260767" y="799766"/>
                      </a:lnTo>
                      <a:lnTo>
                        <a:pt x="260123" y="800475"/>
                      </a:lnTo>
                      <a:lnTo>
                        <a:pt x="258974" y="802741"/>
                      </a:lnTo>
                      <a:lnTo>
                        <a:pt x="257466" y="802447"/>
                      </a:lnTo>
                      <a:lnTo>
                        <a:pt x="256619" y="801934"/>
                      </a:lnTo>
                      <a:lnTo>
                        <a:pt x="256219" y="800548"/>
                      </a:lnTo>
                      <a:lnTo>
                        <a:pt x="255054" y="800442"/>
                      </a:lnTo>
                      <a:lnTo>
                        <a:pt x="253538" y="800850"/>
                      </a:lnTo>
                      <a:lnTo>
                        <a:pt x="253245" y="801347"/>
                      </a:lnTo>
                      <a:lnTo>
                        <a:pt x="253245" y="802741"/>
                      </a:lnTo>
                      <a:lnTo>
                        <a:pt x="252740" y="803352"/>
                      </a:lnTo>
                      <a:lnTo>
                        <a:pt x="251705" y="803718"/>
                      </a:lnTo>
                      <a:lnTo>
                        <a:pt x="250376" y="803890"/>
                      </a:lnTo>
                      <a:lnTo>
                        <a:pt x="246171" y="803091"/>
                      </a:lnTo>
                      <a:lnTo>
                        <a:pt x="242577" y="804623"/>
                      </a:lnTo>
                      <a:lnTo>
                        <a:pt x="240034" y="804118"/>
                      </a:lnTo>
                      <a:lnTo>
                        <a:pt x="238420" y="804550"/>
                      </a:lnTo>
                      <a:lnTo>
                        <a:pt x="237752" y="804338"/>
                      </a:lnTo>
                      <a:lnTo>
                        <a:pt x="237002" y="803286"/>
                      </a:lnTo>
                      <a:lnTo>
                        <a:pt x="237043" y="801771"/>
                      </a:lnTo>
                      <a:lnTo>
                        <a:pt x="236456" y="800711"/>
                      </a:lnTo>
                      <a:lnTo>
                        <a:pt x="236302" y="799717"/>
                      </a:lnTo>
                      <a:lnTo>
                        <a:pt x="236530" y="797060"/>
                      </a:lnTo>
                      <a:lnTo>
                        <a:pt x="235650" y="792936"/>
                      </a:lnTo>
                      <a:lnTo>
                        <a:pt x="235161" y="792488"/>
                      </a:lnTo>
                      <a:lnTo>
                        <a:pt x="232911" y="792985"/>
                      </a:lnTo>
                      <a:lnTo>
                        <a:pt x="231958" y="792203"/>
                      </a:lnTo>
                      <a:lnTo>
                        <a:pt x="231868" y="791755"/>
                      </a:lnTo>
                      <a:lnTo>
                        <a:pt x="232218" y="791266"/>
                      </a:lnTo>
                      <a:lnTo>
                        <a:pt x="233588" y="789945"/>
                      </a:lnTo>
                      <a:lnTo>
                        <a:pt x="233889" y="787060"/>
                      </a:lnTo>
                      <a:lnTo>
                        <a:pt x="233726" y="785487"/>
                      </a:lnTo>
                      <a:lnTo>
                        <a:pt x="232463" y="780117"/>
                      </a:lnTo>
                      <a:lnTo>
                        <a:pt x="231379" y="778715"/>
                      </a:lnTo>
                      <a:lnTo>
                        <a:pt x="230124" y="776270"/>
                      </a:lnTo>
                      <a:lnTo>
                        <a:pt x="228567" y="775056"/>
                      </a:lnTo>
                      <a:lnTo>
                        <a:pt x="226832" y="774339"/>
                      </a:lnTo>
                      <a:lnTo>
                        <a:pt x="222642" y="774404"/>
                      </a:lnTo>
                      <a:lnTo>
                        <a:pt x="219163" y="773499"/>
                      </a:lnTo>
                      <a:lnTo>
                        <a:pt x="217973" y="772717"/>
                      </a:lnTo>
                      <a:lnTo>
                        <a:pt x="216571" y="771250"/>
                      </a:lnTo>
                      <a:lnTo>
                        <a:pt x="214232" y="770011"/>
                      </a:lnTo>
                      <a:lnTo>
                        <a:pt x="209611" y="766254"/>
                      </a:lnTo>
                      <a:lnTo>
                        <a:pt x="208967" y="763483"/>
                      </a:lnTo>
                      <a:lnTo>
                        <a:pt x="208291" y="762106"/>
                      </a:lnTo>
                      <a:lnTo>
                        <a:pt x="207117" y="760973"/>
                      </a:lnTo>
                      <a:lnTo>
                        <a:pt x="204322" y="759995"/>
                      </a:lnTo>
                      <a:lnTo>
                        <a:pt x="203686" y="759245"/>
                      </a:lnTo>
                      <a:lnTo>
                        <a:pt x="203034" y="757452"/>
                      </a:lnTo>
                      <a:lnTo>
                        <a:pt x="200361" y="754877"/>
                      </a:lnTo>
                      <a:lnTo>
                        <a:pt x="199522" y="753133"/>
                      </a:lnTo>
                      <a:lnTo>
                        <a:pt x="195537" y="749743"/>
                      </a:lnTo>
                      <a:lnTo>
                        <a:pt x="194176" y="749523"/>
                      </a:lnTo>
                      <a:lnTo>
                        <a:pt x="192627" y="749922"/>
                      </a:lnTo>
                      <a:lnTo>
                        <a:pt x="190223" y="751691"/>
                      </a:lnTo>
                      <a:lnTo>
                        <a:pt x="189269" y="751902"/>
                      </a:lnTo>
                      <a:lnTo>
                        <a:pt x="188593" y="751528"/>
                      </a:lnTo>
                      <a:lnTo>
                        <a:pt x="187631" y="749979"/>
                      </a:lnTo>
                      <a:lnTo>
                        <a:pt x="186947" y="749653"/>
                      </a:lnTo>
                      <a:lnTo>
                        <a:pt x="184314" y="749140"/>
                      </a:lnTo>
                      <a:lnTo>
                        <a:pt x="181275" y="749392"/>
                      </a:lnTo>
                      <a:lnTo>
                        <a:pt x="179473" y="748969"/>
                      </a:lnTo>
                      <a:lnTo>
                        <a:pt x="178332" y="748276"/>
                      </a:lnTo>
                      <a:lnTo>
                        <a:pt x="177990" y="747730"/>
                      </a:lnTo>
                      <a:lnTo>
                        <a:pt x="178170" y="747013"/>
                      </a:lnTo>
                      <a:lnTo>
                        <a:pt x="178715" y="746271"/>
                      </a:lnTo>
                      <a:lnTo>
                        <a:pt x="178878" y="745538"/>
                      </a:lnTo>
                      <a:lnTo>
                        <a:pt x="178601" y="744861"/>
                      </a:lnTo>
                      <a:lnTo>
                        <a:pt x="177379" y="742490"/>
                      </a:lnTo>
                      <a:lnTo>
                        <a:pt x="177436" y="741340"/>
                      </a:lnTo>
                      <a:lnTo>
                        <a:pt x="178724" y="739254"/>
                      </a:lnTo>
                      <a:lnTo>
                        <a:pt x="178479" y="738635"/>
                      </a:lnTo>
                      <a:lnTo>
                        <a:pt x="177371" y="737706"/>
                      </a:lnTo>
                      <a:lnTo>
                        <a:pt x="177306" y="737127"/>
                      </a:lnTo>
                      <a:lnTo>
                        <a:pt x="177534" y="736483"/>
                      </a:lnTo>
                      <a:lnTo>
                        <a:pt x="179710" y="735293"/>
                      </a:lnTo>
                      <a:lnTo>
                        <a:pt x="179962" y="734462"/>
                      </a:lnTo>
                      <a:lnTo>
                        <a:pt x="179425" y="733517"/>
                      </a:lnTo>
                      <a:lnTo>
                        <a:pt x="173524" y="730787"/>
                      </a:lnTo>
                      <a:lnTo>
                        <a:pt x="172505" y="730029"/>
                      </a:lnTo>
                      <a:lnTo>
                        <a:pt x="172391" y="729189"/>
                      </a:lnTo>
                      <a:lnTo>
                        <a:pt x="171633" y="726956"/>
                      </a:lnTo>
                      <a:lnTo>
                        <a:pt x="171169" y="726361"/>
                      </a:lnTo>
                      <a:lnTo>
                        <a:pt x="169286" y="725367"/>
                      </a:lnTo>
                      <a:lnTo>
                        <a:pt x="168887" y="724707"/>
                      </a:lnTo>
                      <a:lnTo>
                        <a:pt x="168732" y="723550"/>
                      </a:lnTo>
                      <a:lnTo>
                        <a:pt x="168333" y="722726"/>
                      </a:lnTo>
                      <a:lnTo>
                        <a:pt x="166833" y="720461"/>
                      </a:lnTo>
                      <a:lnTo>
                        <a:pt x="166581" y="719092"/>
                      </a:lnTo>
                      <a:lnTo>
                        <a:pt x="166931" y="717869"/>
                      </a:lnTo>
                      <a:lnTo>
                        <a:pt x="166939" y="716386"/>
                      </a:lnTo>
                      <a:lnTo>
                        <a:pt x="169335" y="712001"/>
                      </a:lnTo>
                      <a:lnTo>
                        <a:pt x="169482" y="711121"/>
                      </a:lnTo>
                      <a:lnTo>
                        <a:pt x="169034" y="710722"/>
                      </a:lnTo>
                      <a:lnTo>
                        <a:pt x="166434" y="710640"/>
                      </a:lnTo>
                      <a:lnTo>
                        <a:pt x="164127" y="709752"/>
                      </a:lnTo>
                      <a:lnTo>
                        <a:pt x="163068" y="707063"/>
                      </a:lnTo>
                      <a:lnTo>
                        <a:pt x="162196" y="705808"/>
                      </a:lnTo>
                      <a:lnTo>
                        <a:pt x="160387" y="704634"/>
                      </a:lnTo>
                      <a:lnTo>
                        <a:pt x="158374" y="702768"/>
                      </a:lnTo>
                      <a:lnTo>
                        <a:pt x="156540" y="702132"/>
                      </a:lnTo>
                      <a:lnTo>
                        <a:pt x="156385" y="701439"/>
                      </a:lnTo>
                      <a:lnTo>
                        <a:pt x="157331" y="700388"/>
                      </a:lnTo>
                      <a:lnTo>
                        <a:pt x="161128" y="698033"/>
                      </a:lnTo>
                      <a:lnTo>
                        <a:pt x="162196" y="696794"/>
                      </a:lnTo>
                      <a:lnTo>
                        <a:pt x="163696" y="693477"/>
                      </a:lnTo>
                      <a:lnTo>
                        <a:pt x="163443" y="691986"/>
                      </a:lnTo>
                      <a:lnTo>
                        <a:pt x="162628" y="690616"/>
                      </a:lnTo>
                      <a:lnTo>
                        <a:pt x="161202" y="689312"/>
                      </a:lnTo>
                      <a:lnTo>
                        <a:pt x="160444" y="688106"/>
                      </a:lnTo>
                      <a:lnTo>
                        <a:pt x="158284" y="687267"/>
                      </a:lnTo>
                      <a:lnTo>
                        <a:pt x="157820" y="686664"/>
                      </a:lnTo>
                      <a:lnTo>
                        <a:pt x="157428" y="685466"/>
                      </a:lnTo>
                      <a:lnTo>
                        <a:pt x="157102" y="684798"/>
                      </a:lnTo>
                      <a:lnTo>
                        <a:pt x="156328" y="684692"/>
                      </a:lnTo>
                      <a:lnTo>
                        <a:pt x="153802" y="685498"/>
                      </a:lnTo>
                      <a:lnTo>
                        <a:pt x="152775" y="685172"/>
                      </a:lnTo>
                      <a:lnTo>
                        <a:pt x="152343" y="684439"/>
                      </a:lnTo>
                      <a:lnTo>
                        <a:pt x="152441" y="683722"/>
                      </a:lnTo>
                      <a:lnTo>
                        <a:pt x="153411" y="683045"/>
                      </a:lnTo>
                      <a:lnTo>
                        <a:pt x="156247" y="682027"/>
                      </a:lnTo>
                      <a:lnTo>
                        <a:pt x="156850" y="681562"/>
                      </a:lnTo>
                      <a:lnTo>
                        <a:pt x="156923" y="680723"/>
                      </a:lnTo>
                      <a:lnTo>
                        <a:pt x="156385" y="680120"/>
                      </a:lnTo>
                      <a:lnTo>
                        <a:pt x="152840" y="679508"/>
                      </a:lnTo>
                      <a:lnTo>
                        <a:pt x="150827" y="678351"/>
                      </a:lnTo>
                      <a:lnTo>
                        <a:pt x="147127" y="675450"/>
                      </a:lnTo>
                      <a:lnTo>
                        <a:pt x="143460" y="674187"/>
                      </a:lnTo>
                      <a:lnTo>
                        <a:pt x="141047" y="672418"/>
                      </a:lnTo>
                      <a:lnTo>
                        <a:pt x="140200" y="670861"/>
                      </a:lnTo>
                      <a:lnTo>
                        <a:pt x="138839" y="670095"/>
                      </a:lnTo>
                      <a:lnTo>
                        <a:pt x="138203" y="668767"/>
                      </a:lnTo>
                      <a:lnTo>
                        <a:pt x="136777" y="666901"/>
                      </a:lnTo>
                      <a:lnTo>
                        <a:pt x="136484" y="666265"/>
                      </a:lnTo>
                      <a:lnTo>
                        <a:pt x="137193" y="665140"/>
                      </a:lnTo>
                      <a:lnTo>
                        <a:pt x="137184" y="664105"/>
                      </a:lnTo>
                      <a:lnTo>
                        <a:pt x="136744" y="662989"/>
                      </a:lnTo>
                      <a:lnTo>
                        <a:pt x="135481" y="661310"/>
                      </a:lnTo>
                      <a:lnTo>
                        <a:pt x="134731" y="660748"/>
                      </a:lnTo>
                      <a:lnTo>
                        <a:pt x="134381" y="659688"/>
                      </a:lnTo>
                      <a:lnTo>
                        <a:pt x="134487" y="658596"/>
                      </a:lnTo>
                      <a:lnTo>
                        <a:pt x="132384" y="655401"/>
                      </a:lnTo>
                      <a:lnTo>
                        <a:pt x="128456" y="653470"/>
                      </a:lnTo>
                      <a:lnTo>
                        <a:pt x="126133" y="652989"/>
                      </a:lnTo>
                      <a:lnTo>
                        <a:pt x="125131" y="653291"/>
                      </a:lnTo>
                      <a:lnTo>
                        <a:pt x="123884" y="654774"/>
                      </a:lnTo>
                      <a:lnTo>
                        <a:pt x="122319" y="655711"/>
                      </a:lnTo>
                      <a:lnTo>
                        <a:pt x="120502" y="656265"/>
                      </a:lnTo>
                      <a:lnTo>
                        <a:pt x="116085" y="656257"/>
                      </a:lnTo>
                      <a:lnTo>
                        <a:pt x="115262" y="655948"/>
                      </a:lnTo>
                      <a:lnTo>
                        <a:pt x="115115" y="655165"/>
                      </a:lnTo>
                      <a:lnTo>
                        <a:pt x="115425" y="654358"/>
                      </a:lnTo>
                      <a:lnTo>
                        <a:pt x="116916" y="651734"/>
                      </a:lnTo>
                      <a:lnTo>
                        <a:pt x="117275" y="650626"/>
                      </a:lnTo>
                      <a:lnTo>
                        <a:pt x="116949" y="649843"/>
                      </a:lnTo>
                      <a:lnTo>
                        <a:pt x="116370" y="649371"/>
                      </a:lnTo>
                      <a:lnTo>
                        <a:pt x="112874" y="648026"/>
                      </a:lnTo>
                      <a:lnTo>
                        <a:pt x="108929" y="643535"/>
                      </a:lnTo>
                      <a:lnTo>
                        <a:pt x="107593" y="642778"/>
                      </a:lnTo>
                      <a:lnTo>
                        <a:pt x="102279" y="640235"/>
                      </a:lnTo>
                      <a:lnTo>
                        <a:pt x="100266" y="639615"/>
                      </a:lnTo>
                      <a:lnTo>
                        <a:pt x="96501" y="639493"/>
                      </a:lnTo>
                      <a:lnTo>
                        <a:pt x="95645" y="638906"/>
                      </a:lnTo>
                      <a:lnTo>
                        <a:pt x="95360" y="638303"/>
                      </a:lnTo>
                      <a:lnTo>
                        <a:pt x="95319" y="637570"/>
                      </a:lnTo>
                      <a:lnTo>
                        <a:pt x="95751" y="636902"/>
                      </a:lnTo>
                      <a:lnTo>
                        <a:pt x="97715" y="635141"/>
                      </a:lnTo>
                      <a:lnTo>
                        <a:pt x="97895" y="633927"/>
                      </a:lnTo>
                      <a:lnTo>
                        <a:pt x="97903" y="632044"/>
                      </a:lnTo>
                      <a:lnTo>
                        <a:pt x="98294" y="631506"/>
                      </a:lnTo>
                      <a:lnTo>
                        <a:pt x="100780" y="629347"/>
                      </a:lnTo>
                      <a:lnTo>
                        <a:pt x="101456" y="628638"/>
                      </a:lnTo>
                      <a:lnTo>
                        <a:pt x="101481" y="627847"/>
                      </a:lnTo>
                      <a:lnTo>
                        <a:pt x="100771" y="627097"/>
                      </a:lnTo>
                      <a:lnTo>
                        <a:pt x="97430" y="626291"/>
                      </a:lnTo>
                      <a:lnTo>
                        <a:pt x="96876" y="625655"/>
                      </a:lnTo>
                      <a:lnTo>
                        <a:pt x="96835" y="623088"/>
                      </a:lnTo>
                      <a:lnTo>
                        <a:pt x="95857" y="622477"/>
                      </a:lnTo>
                      <a:lnTo>
                        <a:pt x="95099" y="622615"/>
                      </a:lnTo>
                      <a:lnTo>
                        <a:pt x="92662" y="623210"/>
                      </a:lnTo>
                      <a:lnTo>
                        <a:pt x="91579" y="622957"/>
                      </a:lnTo>
                      <a:lnTo>
                        <a:pt x="91179" y="622468"/>
                      </a:lnTo>
                      <a:lnTo>
                        <a:pt x="91049" y="621686"/>
                      </a:lnTo>
                      <a:lnTo>
                        <a:pt x="91318" y="620773"/>
                      </a:lnTo>
                      <a:lnTo>
                        <a:pt x="95425" y="618442"/>
                      </a:lnTo>
                      <a:lnTo>
                        <a:pt x="96183" y="617595"/>
                      </a:lnTo>
                      <a:lnTo>
                        <a:pt x="96794" y="615883"/>
                      </a:lnTo>
                      <a:lnTo>
                        <a:pt x="101652" y="611540"/>
                      </a:lnTo>
                      <a:lnTo>
                        <a:pt x="103591" y="607546"/>
                      </a:lnTo>
                      <a:lnTo>
                        <a:pt x="105401" y="605012"/>
                      </a:lnTo>
                      <a:lnTo>
                        <a:pt x="105368" y="603740"/>
                      </a:lnTo>
                      <a:lnTo>
                        <a:pt x="102907" y="599983"/>
                      </a:lnTo>
                      <a:lnTo>
                        <a:pt x="100861" y="597840"/>
                      </a:lnTo>
                      <a:lnTo>
                        <a:pt x="98098" y="595599"/>
                      </a:lnTo>
                      <a:lnTo>
                        <a:pt x="97006" y="594988"/>
                      </a:lnTo>
                      <a:lnTo>
                        <a:pt x="96468" y="594010"/>
                      </a:lnTo>
                      <a:lnTo>
                        <a:pt x="96860" y="592771"/>
                      </a:lnTo>
                      <a:lnTo>
                        <a:pt x="101782" y="589829"/>
                      </a:lnTo>
                      <a:lnTo>
                        <a:pt x="101733" y="588818"/>
                      </a:lnTo>
                      <a:lnTo>
                        <a:pt x="101040" y="588191"/>
                      </a:lnTo>
                      <a:lnTo>
                        <a:pt x="98253" y="588386"/>
                      </a:lnTo>
                      <a:lnTo>
                        <a:pt x="95922" y="586903"/>
                      </a:lnTo>
                      <a:lnTo>
                        <a:pt x="95001" y="586667"/>
                      </a:lnTo>
                      <a:lnTo>
                        <a:pt x="92540" y="588011"/>
                      </a:lnTo>
                      <a:lnTo>
                        <a:pt x="91236" y="589136"/>
                      </a:lnTo>
                      <a:lnTo>
                        <a:pt x="89867" y="590986"/>
                      </a:lnTo>
                      <a:lnTo>
                        <a:pt x="87854" y="591597"/>
                      </a:lnTo>
                      <a:lnTo>
                        <a:pt x="86721" y="591459"/>
                      </a:lnTo>
                      <a:lnTo>
                        <a:pt x="86232" y="590742"/>
                      </a:lnTo>
                      <a:lnTo>
                        <a:pt x="86933" y="588924"/>
                      </a:lnTo>
                      <a:lnTo>
                        <a:pt x="87504" y="587840"/>
                      </a:lnTo>
                      <a:lnTo>
                        <a:pt x="87463" y="587172"/>
                      </a:lnTo>
                      <a:lnTo>
                        <a:pt x="86966" y="586699"/>
                      </a:lnTo>
                      <a:lnTo>
                        <a:pt x="84399" y="586740"/>
                      </a:lnTo>
                      <a:lnTo>
                        <a:pt x="79745" y="587653"/>
                      </a:lnTo>
                      <a:lnTo>
                        <a:pt x="75198" y="589780"/>
                      </a:lnTo>
                      <a:lnTo>
                        <a:pt x="73030" y="589804"/>
                      </a:lnTo>
                      <a:lnTo>
                        <a:pt x="70813" y="589503"/>
                      </a:lnTo>
                      <a:lnTo>
                        <a:pt x="69998" y="588989"/>
                      </a:lnTo>
                      <a:lnTo>
                        <a:pt x="69949" y="587473"/>
                      </a:lnTo>
                      <a:lnTo>
                        <a:pt x="69411" y="585811"/>
                      </a:lnTo>
                      <a:lnTo>
                        <a:pt x="68661" y="584760"/>
                      </a:lnTo>
                      <a:lnTo>
                        <a:pt x="68629" y="583847"/>
                      </a:lnTo>
                      <a:lnTo>
                        <a:pt x="69061" y="583170"/>
                      </a:lnTo>
                      <a:lnTo>
                        <a:pt x="70699" y="581532"/>
                      </a:lnTo>
                      <a:lnTo>
                        <a:pt x="71318" y="580383"/>
                      </a:lnTo>
                      <a:lnTo>
                        <a:pt x="71359" y="579038"/>
                      </a:lnTo>
                      <a:lnTo>
                        <a:pt x="71253" y="577319"/>
                      </a:lnTo>
                      <a:lnTo>
                        <a:pt x="70960" y="575762"/>
                      </a:lnTo>
                      <a:lnTo>
                        <a:pt x="70243" y="575330"/>
                      </a:lnTo>
                      <a:lnTo>
                        <a:pt x="69273" y="575119"/>
                      </a:lnTo>
                      <a:lnTo>
                        <a:pt x="66583" y="574980"/>
                      </a:lnTo>
                      <a:lnTo>
                        <a:pt x="65834" y="574947"/>
                      </a:lnTo>
                      <a:lnTo>
                        <a:pt x="65581" y="574043"/>
                      </a:lnTo>
                      <a:lnTo>
                        <a:pt x="65834" y="573081"/>
                      </a:lnTo>
                      <a:lnTo>
                        <a:pt x="66591" y="570180"/>
                      </a:lnTo>
                      <a:lnTo>
                        <a:pt x="67097" y="569161"/>
                      </a:lnTo>
                      <a:lnTo>
                        <a:pt x="67928" y="568974"/>
                      </a:lnTo>
                      <a:lnTo>
                        <a:pt x="68710" y="568908"/>
                      </a:lnTo>
                      <a:lnTo>
                        <a:pt x="69216" y="568607"/>
                      </a:lnTo>
                      <a:lnTo>
                        <a:pt x="69256" y="567767"/>
                      </a:lnTo>
                      <a:lnTo>
                        <a:pt x="69102" y="566195"/>
                      </a:lnTo>
                      <a:lnTo>
                        <a:pt x="69330" y="565037"/>
                      </a:lnTo>
                      <a:lnTo>
                        <a:pt x="69672" y="563774"/>
                      </a:lnTo>
                      <a:lnTo>
                        <a:pt x="69265" y="562902"/>
                      </a:lnTo>
                      <a:lnTo>
                        <a:pt x="67431" y="560962"/>
                      </a:lnTo>
                      <a:lnTo>
                        <a:pt x="66485" y="560115"/>
                      </a:lnTo>
                      <a:lnTo>
                        <a:pt x="66371" y="559332"/>
                      </a:lnTo>
                      <a:lnTo>
                        <a:pt x="66322" y="558689"/>
                      </a:lnTo>
                      <a:lnTo>
                        <a:pt x="65622" y="557539"/>
                      </a:lnTo>
                      <a:lnTo>
                        <a:pt x="65450" y="556586"/>
                      </a:lnTo>
                      <a:lnTo>
                        <a:pt x="65662" y="555763"/>
                      </a:lnTo>
                      <a:lnTo>
                        <a:pt x="66029" y="554345"/>
                      </a:lnTo>
                      <a:lnTo>
                        <a:pt x="65744" y="552919"/>
                      </a:lnTo>
                      <a:lnTo>
                        <a:pt x="64424" y="551069"/>
                      </a:lnTo>
                      <a:lnTo>
                        <a:pt x="62533" y="549292"/>
                      </a:lnTo>
                      <a:lnTo>
                        <a:pt x="59868" y="547523"/>
                      </a:lnTo>
                      <a:lnTo>
                        <a:pt x="59322" y="546293"/>
                      </a:lnTo>
                      <a:lnTo>
                        <a:pt x="59265" y="544932"/>
                      </a:lnTo>
                      <a:lnTo>
                        <a:pt x="57725" y="544932"/>
                      </a:lnTo>
                      <a:lnTo>
                        <a:pt x="50610" y="544932"/>
                      </a:lnTo>
                      <a:lnTo>
                        <a:pt x="43495" y="544932"/>
                      </a:lnTo>
                      <a:lnTo>
                        <a:pt x="36380" y="544932"/>
                      </a:lnTo>
                      <a:lnTo>
                        <a:pt x="29258" y="544932"/>
                      </a:lnTo>
                      <a:lnTo>
                        <a:pt x="22143" y="544924"/>
                      </a:lnTo>
                      <a:lnTo>
                        <a:pt x="15028" y="544924"/>
                      </a:lnTo>
                      <a:lnTo>
                        <a:pt x="7913" y="544924"/>
                      </a:lnTo>
                      <a:lnTo>
                        <a:pt x="6838" y="544475"/>
                      </a:lnTo>
                      <a:lnTo>
                        <a:pt x="6210" y="543571"/>
                      </a:lnTo>
                      <a:lnTo>
                        <a:pt x="5501" y="541322"/>
                      </a:lnTo>
                      <a:lnTo>
                        <a:pt x="5493" y="539309"/>
                      </a:lnTo>
                      <a:lnTo>
                        <a:pt x="5574" y="538094"/>
                      </a:lnTo>
                      <a:lnTo>
                        <a:pt x="5640" y="537320"/>
                      </a:lnTo>
                      <a:lnTo>
                        <a:pt x="7327" y="535364"/>
                      </a:lnTo>
                      <a:lnTo>
                        <a:pt x="8378" y="532724"/>
                      </a:lnTo>
                      <a:lnTo>
                        <a:pt x="8443" y="532015"/>
                      </a:lnTo>
                      <a:lnTo>
                        <a:pt x="7865" y="529855"/>
                      </a:lnTo>
                      <a:lnTo>
                        <a:pt x="7555" y="528942"/>
                      </a:lnTo>
                      <a:lnTo>
                        <a:pt x="7123" y="528143"/>
                      </a:lnTo>
                      <a:lnTo>
                        <a:pt x="6650" y="526897"/>
                      </a:lnTo>
                      <a:lnTo>
                        <a:pt x="6642" y="525715"/>
                      </a:lnTo>
                      <a:lnTo>
                        <a:pt x="6854" y="522936"/>
                      </a:lnTo>
                      <a:lnTo>
                        <a:pt x="5900" y="520222"/>
                      </a:lnTo>
                      <a:lnTo>
                        <a:pt x="5273" y="519211"/>
                      </a:lnTo>
                      <a:lnTo>
                        <a:pt x="4491" y="518527"/>
                      </a:lnTo>
                      <a:lnTo>
                        <a:pt x="1117" y="516359"/>
                      </a:lnTo>
                      <a:lnTo>
                        <a:pt x="277" y="514778"/>
                      </a:lnTo>
                      <a:lnTo>
                        <a:pt x="0" y="512863"/>
                      </a:lnTo>
                      <a:lnTo>
                        <a:pt x="41" y="462644"/>
                      </a:lnTo>
                      <a:lnTo>
                        <a:pt x="8011" y="463206"/>
                      </a:lnTo>
                      <a:lnTo>
                        <a:pt x="14360" y="465390"/>
                      </a:lnTo>
                      <a:lnTo>
                        <a:pt x="26870" y="471372"/>
                      </a:lnTo>
                      <a:lnTo>
                        <a:pt x="29429" y="471902"/>
                      </a:lnTo>
                      <a:lnTo>
                        <a:pt x="30113" y="471470"/>
                      </a:lnTo>
                      <a:lnTo>
                        <a:pt x="25753" y="465545"/>
                      </a:lnTo>
                      <a:lnTo>
                        <a:pt x="25069" y="464975"/>
                      </a:lnTo>
                      <a:lnTo>
                        <a:pt x="20024" y="462766"/>
                      </a:lnTo>
                      <a:lnTo>
                        <a:pt x="14107" y="461674"/>
                      </a:lnTo>
                      <a:lnTo>
                        <a:pt x="13651" y="461242"/>
                      </a:lnTo>
                      <a:lnTo>
                        <a:pt x="12551" y="459156"/>
                      </a:lnTo>
                      <a:lnTo>
                        <a:pt x="12901" y="458341"/>
                      </a:lnTo>
                      <a:lnTo>
                        <a:pt x="14189" y="457974"/>
                      </a:lnTo>
                      <a:lnTo>
                        <a:pt x="18598" y="457991"/>
                      </a:lnTo>
                      <a:lnTo>
                        <a:pt x="21206" y="457656"/>
                      </a:lnTo>
                      <a:lnTo>
                        <a:pt x="21564" y="456825"/>
                      </a:lnTo>
                      <a:lnTo>
                        <a:pt x="19690" y="456638"/>
                      </a:lnTo>
                      <a:lnTo>
                        <a:pt x="17424" y="455831"/>
                      </a:lnTo>
                      <a:lnTo>
                        <a:pt x="14767" y="454429"/>
                      </a:lnTo>
                      <a:lnTo>
                        <a:pt x="13268" y="453101"/>
                      </a:lnTo>
                      <a:lnTo>
                        <a:pt x="18695" y="444275"/>
                      </a:lnTo>
                      <a:lnTo>
                        <a:pt x="20594" y="445163"/>
                      </a:lnTo>
                      <a:lnTo>
                        <a:pt x="23455" y="443117"/>
                      </a:lnTo>
                      <a:lnTo>
                        <a:pt x="28581" y="444413"/>
                      </a:lnTo>
                      <a:lnTo>
                        <a:pt x="29518" y="443704"/>
                      </a:lnTo>
                      <a:lnTo>
                        <a:pt x="30146" y="439214"/>
                      </a:lnTo>
                      <a:lnTo>
                        <a:pt x="30912" y="438138"/>
                      </a:lnTo>
                      <a:lnTo>
                        <a:pt x="32354" y="437331"/>
                      </a:lnTo>
                      <a:lnTo>
                        <a:pt x="39494" y="436532"/>
                      </a:lnTo>
                      <a:lnTo>
                        <a:pt x="48401" y="437331"/>
                      </a:lnTo>
                      <a:lnTo>
                        <a:pt x="49314" y="436899"/>
                      </a:lnTo>
                      <a:lnTo>
                        <a:pt x="48458" y="433900"/>
                      </a:lnTo>
                      <a:lnTo>
                        <a:pt x="48352" y="432718"/>
                      </a:lnTo>
                      <a:lnTo>
                        <a:pt x="48890" y="430013"/>
                      </a:lnTo>
                      <a:lnTo>
                        <a:pt x="49436" y="428562"/>
                      </a:lnTo>
                      <a:lnTo>
                        <a:pt x="50488" y="427836"/>
                      </a:lnTo>
                      <a:lnTo>
                        <a:pt x="54628" y="428407"/>
                      </a:lnTo>
                      <a:lnTo>
                        <a:pt x="55924" y="429744"/>
                      </a:lnTo>
                      <a:lnTo>
                        <a:pt x="57309" y="432034"/>
                      </a:lnTo>
                      <a:lnTo>
                        <a:pt x="58711" y="433338"/>
                      </a:lnTo>
                      <a:lnTo>
                        <a:pt x="63120" y="434658"/>
                      </a:lnTo>
                      <a:lnTo>
                        <a:pt x="63617" y="435562"/>
                      </a:lnTo>
                      <a:lnTo>
                        <a:pt x="61938" y="439026"/>
                      </a:lnTo>
                      <a:lnTo>
                        <a:pt x="60178" y="440852"/>
                      </a:lnTo>
                      <a:lnTo>
                        <a:pt x="56543" y="445619"/>
                      </a:lnTo>
                      <a:lnTo>
                        <a:pt x="56315" y="446850"/>
                      </a:lnTo>
                      <a:lnTo>
                        <a:pt x="61922" y="444706"/>
                      </a:lnTo>
                      <a:lnTo>
                        <a:pt x="68221" y="441740"/>
                      </a:lnTo>
                      <a:lnTo>
                        <a:pt x="73633" y="440102"/>
                      </a:lnTo>
                      <a:lnTo>
                        <a:pt x="78156" y="439800"/>
                      </a:lnTo>
                      <a:lnTo>
                        <a:pt x="81391" y="438839"/>
                      </a:lnTo>
                      <a:lnTo>
                        <a:pt x="83339" y="437209"/>
                      </a:lnTo>
                      <a:lnTo>
                        <a:pt x="84733" y="435546"/>
                      </a:lnTo>
                      <a:lnTo>
                        <a:pt x="87536" y="430159"/>
                      </a:lnTo>
                      <a:lnTo>
                        <a:pt x="89403" y="429222"/>
                      </a:lnTo>
                      <a:lnTo>
                        <a:pt x="97177" y="429556"/>
                      </a:lnTo>
                      <a:lnTo>
                        <a:pt x="99027" y="429393"/>
                      </a:lnTo>
                      <a:lnTo>
                        <a:pt x="100225" y="428863"/>
                      </a:lnTo>
                      <a:lnTo>
                        <a:pt x="100005" y="428187"/>
                      </a:lnTo>
                      <a:lnTo>
                        <a:pt x="98359" y="427348"/>
                      </a:lnTo>
                      <a:lnTo>
                        <a:pt x="96142" y="427119"/>
                      </a:lnTo>
                      <a:lnTo>
                        <a:pt x="96085" y="426736"/>
                      </a:lnTo>
                      <a:lnTo>
                        <a:pt x="96908" y="425856"/>
                      </a:lnTo>
                      <a:lnTo>
                        <a:pt x="98115" y="425343"/>
                      </a:lnTo>
                      <a:lnTo>
                        <a:pt x="101953" y="424731"/>
                      </a:lnTo>
                      <a:lnTo>
                        <a:pt x="104471" y="426671"/>
                      </a:lnTo>
                      <a:lnTo>
                        <a:pt x="106183" y="426810"/>
                      </a:lnTo>
                      <a:lnTo>
                        <a:pt x="111871" y="424658"/>
                      </a:lnTo>
                      <a:lnTo>
                        <a:pt x="120608" y="418929"/>
                      </a:lnTo>
                      <a:lnTo>
                        <a:pt x="124104" y="417332"/>
                      </a:lnTo>
                      <a:lnTo>
                        <a:pt x="127128" y="417054"/>
                      </a:lnTo>
                      <a:lnTo>
                        <a:pt x="129687" y="418098"/>
                      </a:lnTo>
                      <a:lnTo>
                        <a:pt x="131659" y="417820"/>
                      </a:lnTo>
                      <a:lnTo>
                        <a:pt x="134251" y="414585"/>
                      </a:lnTo>
                      <a:lnTo>
                        <a:pt x="135269" y="412865"/>
                      </a:lnTo>
                      <a:lnTo>
                        <a:pt x="136867" y="411366"/>
                      </a:lnTo>
                      <a:lnTo>
                        <a:pt x="143329" y="408000"/>
                      </a:lnTo>
                      <a:lnTo>
                        <a:pt x="147469" y="407283"/>
                      </a:lnTo>
                      <a:lnTo>
                        <a:pt x="150004" y="407902"/>
                      </a:lnTo>
                      <a:lnTo>
                        <a:pt x="153019" y="409304"/>
                      </a:lnTo>
                      <a:lnTo>
                        <a:pt x="155497" y="409834"/>
                      </a:lnTo>
                      <a:lnTo>
                        <a:pt x="158765" y="409434"/>
                      </a:lnTo>
                      <a:lnTo>
                        <a:pt x="161202" y="409614"/>
                      </a:lnTo>
                      <a:lnTo>
                        <a:pt x="162367" y="408937"/>
                      </a:lnTo>
                      <a:lnTo>
                        <a:pt x="166532" y="405099"/>
                      </a:lnTo>
                      <a:lnTo>
                        <a:pt x="167884" y="405058"/>
                      </a:lnTo>
                      <a:lnTo>
                        <a:pt x="169197" y="406199"/>
                      </a:lnTo>
                      <a:lnTo>
                        <a:pt x="171291" y="408986"/>
                      </a:lnTo>
                      <a:lnTo>
                        <a:pt x="171291" y="410380"/>
                      </a:lnTo>
                      <a:lnTo>
                        <a:pt x="168569" y="413778"/>
                      </a:lnTo>
                      <a:lnTo>
                        <a:pt x="148464" y="423476"/>
                      </a:lnTo>
                      <a:lnTo>
                        <a:pt x="142270" y="427657"/>
                      </a:lnTo>
                      <a:lnTo>
                        <a:pt x="139214" y="429189"/>
                      </a:lnTo>
                      <a:lnTo>
                        <a:pt x="136035" y="430053"/>
                      </a:lnTo>
                      <a:lnTo>
                        <a:pt x="129890" y="430770"/>
                      </a:lnTo>
                      <a:lnTo>
                        <a:pt x="127454" y="431626"/>
                      </a:lnTo>
                      <a:lnTo>
                        <a:pt x="123322" y="432384"/>
                      </a:lnTo>
                      <a:lnTo>
                        <a:pt x="113656" y="433721"/>
                      </a:lnTo>
                      <a:lnTo>
                        <a:pt x="111790" y="434364"/>
                      </a:lnTo>
                      <a:lnTo>
                        <a:pt x="110527" y="435131"/>
                      </a:lnTo>
                      <a:lnTo>
                        <a:pt x="107055" y="440240"/>
                      </a:lnTo>
                      <a:lnTo>
                        <a:pt x="105368" y="441911"/>
                      </a:lnTo>
                      <a:lnTo>
                        <a:pt x="102043" y="444421"/>
                      </a:lnTo>
                      <a:lnTo>
                        <a:pt x="98310" y="445953"/>
                      </a:lnTo>
                      <a:lnTo>
                        <a:pt x="93217" y="446540"/>
                      </a:lnTo>
                      <a:lnTo>
                        <a:pt x="89981" y="448928"/>
                      </a:lnTo>
                      <a:lnTo>
                        <a:pt x="86249" y="453533"/>
                      </a:lnTo>
                      <a:lnTo>
                        <a:pt x="83233" y="456735"/>
                      </a:lnTo>
                      <a:lnTo>
                        <a:pt x="79794" y="459449"/>
                      </a:lnTo>
                      <a:lnTo>
                        <a:pt x="76061" y="463003"/>
                      </a:lnTo>
                      <a:lnTo>
                        <a:pt x="75084" y="464869"/>
                      </a:lnTo>
                      <a:lnTo>
                        <a:pt x="76200" y="467330"/>
                      </a:lnTo>
                      <a:lnTo>
                        <a:pt x="76827" y="468145"/>
                      </a:lnTo>
                      <a:lnTo>
                        <a:pt x="80585" y="469465"/>
                      </a:lnTo>
                      <a:lnTo>
                        <a:pt x="82043" y="469172"/>
                      </a:lnTo>
                      <a:lnTo>
                        <a:pt x="80690" y="467852"/>
                      </a:lnTo>
                      <a:lnTo>
                        <a:pt x="77537" y="465953"/>
                      </a:lnTo>
                      <a:lnTo>
                        <a:pt x="77113" y="465268"/>
                      </a:lnTo>
                      <a:lnTo>
                        <a:pt x="77920" y="464738"/>
                      </a:lnTo>
                      <a:lnTo>
                        <a:pt x="92752" y="466165"/>
                      </a:lnTo>
                      <a:lnTo>
                        <a:pt x="95931" y="464714"/>
                      </a:lnTo>
                      <a:lnTo>
                        <a:pt x="97047" y="463492"/>
                      </a:lnTo>
                      <a:lnTo>
                        <a:pt x="96811" y="462856"/>
                      </a:lnTo>
                      <a:lnTo>
                        <a:pt x="92785" y="462595"/>
                      </a:lnTo>
                      <a:lnTo>
                        <a:pt x="91929" y="461422"/>
                      </a:lnTo>
                      <a:lnTo>
                        <a:pt x="91293" y="459213"/>
                      </a:lnTo>
                      <a:lnTo>
                        <a:pt x="91163" y="457469"/>
                      </a:lnTo>
                      <a:lnTo>
                        <a:pt x="91522" y="456173"/>
                      </a:lnTo>
                      <a:lnTo>
                        <a:pt x="92426" y="454511"/>
                      </a:lnTo>
                      <a:lnTo>
                        <a:pt x="96737" y="451805"/>
                      </a:lnTo>
                      <a:lnTo>
                        <a:pt x="101383" y="450639"/>
                      </a:lnTo>
                      <a:lnTo>
                        <a:pt x="104952" y="449099"/>
                      </a:lnTo>
                      <a:lnTo>
                        <a:pt x="106925" y="447648"/>
                      </a:lnTo>
                      <a:lnTo>
                        <a:pt x="112246" y="445171"/>
                      </a:lnTo>
                      <a:lnTo>
                        <a:pt x="114390" y="443158"/>
                      </a:lnTo>
                      <a:lnTo>
                        <a:pt x="115547" y="441601"/>
                      </a:lnTo>
                      <a:lnTo>
                        <a:pt x="115694" y="440819"/>
                      </a:lnTo>
                      <a:lnTo>
                        <a:pt x="114724" y="440257"/>
                      </a:lnTo>
                      <a:lnTo>
                        <a:pt x="115514" y="438912"/>
                      </a:lnTo>
                      <a:lnTo>
                        <a:pt x="119402" y="437714"/>
                      </a:lnTo>
                      <a:lnTo>
                        <a:pt x="121113" y="437616"/>
                      </a:lnTo>
                      <a:lnTo>
                        <a:pt x="126565" y="438765"/>
                      </a:lnTo>
                      <a:lnTo>
                        <a:pt x="127560" y="439670"/>
                      </a:lnTo>
                      <a:lnTo>
                        <a:pt x="127022" y="442050"/>
                      </a:lnTo>
                      <a:lnTo>
                        <a:pt x="127788" y="441944"/>
                      </a:lnTo>
                      <a:lnTo>
                        <a:pt x="129890" y="438904"/>
                      </a:lnTo>
                      <a:lnTo>
                        <a:pt x="131064" y="437893"/>
                      </a:lnTo>
                      <a:lnTo>
                        <a:pt x="132278" y="437698"/>
                      </a:lnTo>
                      <a:lnTo>
                        <a:pt x="133501" y="438081"/>
                      </a:lnTo>
                      <a:lnTo>
                        <a:pt x="134740" y="439059"/>
                      </a:lnTo>
                      <a:lnTo>
                        <a:pt x="135416" y="441968"/>
                      </a:lnTo>
                      <a:lnTo>
                        <a:pt x="135522" y="446825"/>
                      </a:lnTo>
                      <a:lnTo>
                        <a:pt x="135807" y="448781"/>
                      </a:lnTo>
                      <a:lnTo>
                        <a:pt x="137201" y="445424"/>
                      </a:lnTo>
                      <a:lnTo>
                        <a:pt x="138179" y="443867"/>
                      </a:lnTo>
                      <a:lnTo>
                        <a:pt x="143492" y="436728"/>
                      </a:lnTo>
                      <a:lnTo>
                        <a:pt x="147078" y="432808"/>
                      </a:lnTo>
                      <a:lnTo>
                        <a:pt x="151104" y="428977"/>
                      </a:lnTo>
                      <a:lnTo>
                        <a:pt x="156956" y="426117"/>
                      </a:lnTo>
                      <a:lnTo>
                        <a:pt x="170492" y="421374"/>
                      </a:lnTo>
                      <a:lnTo>
                        <a:pt x="178112" y="420094"/>
                      </a:lnTo>
                      <a:lnTo>
                        <a:pt x="181975" y="418904"/>
                      </a:lnTo>
                      <a:lnTo>
                        <a:pt x="183866" y="417878"/>
                      </a:lnTo>
                      <a:lnTo>
                        <a:pt x="185064" y="416614"/>
                      </a:lnTo>
                      <a:lnTo>
                        <a:pt x="187183" y="415155"/>
                      </a:lnTo>
                      <a:lnTo>
                        <a:pt x="187566" y="415278"/>
                      </a:lnTo>
                      <a:lnTo>
                        <a:pt x="186743" y="418334"/>
                      </a:lnTo>
                      <a:lnTo>
                        <a:pt x="186205" y="419214"/>
                      </a:lnTo>
                      <a:lnTo>
                        <a:pt x="181250" y="421113"/>
                      </a:lnTo>
                      <a:lnTo>
                        <a:pt x="180761" y="422547"/>
                      </a:lnTo>
                      <a:lnTo>
                        <a:pt x="181299" y="424780"/>
                      </a:lnTo>
                      <a:lnTo>
                        <a:pt x="182147" y="426247"/>
                      </a:lnTo>
                      <a:lnTo>
                        <a:pt x="183328" y="426956"/>
                      </a:lnTo>
                      <a:lnTo>
                        <a:pt x="185382" y="426451"/>
                      </a:lnTo>
                      <a:lnTo>
                        <a:pt x="188324" y="424740"/>
                      </a:lnTo>
                      <a:lnTo>
                        <a:pt x="191983" y="422107"/>
                      </a:lnTo>
                      <a:lnTo>
                        <a:pt x="199889" y="415424"/>
                      </a:lnTo>
                      <a:lnTo>
                        <a:pt x="200573" y="414202"/>
                      </a:lnTo>
                      <a:lnTo>
                        <a:pt x="202570" y="408823"/>
                      </a:lnTo>
                      <a:lnTo>
                        <a:pt x="207101" y="406443"/>
                      </a:lnTo>
                      <a:lnTo>
                        <a:pt x="215308" y="403738"/>
                      </a:lnTo>
                      <a:lnTo>
                        <a:pt x="217321" y="402010"/>
                      </a:lnTo>
                      <a:lnTo>
                        <a:pt x="210125" y="400551"/>
                      </a:lnTo>
                      <a:lnTo>
                        <a:pt x="208633" y="399541"/>
                      </a:lnTo>
                      <a:lnTo>
                        <a:pt x="208397" y="398938"/>
                      </a:lnTo>
                      <a:lnTo>
                        <a:pt x="209758" y="397397"/>
                      </a:lnTo>
                      <a:lnTo>
                        <a:pt x="206465" y="395865"/>
                      </a:lnTo>
                      <a:lnTo>
                        <a:pt x="205267" y="394928"/>
                      </a:lnTo>
                      <a:lnTo>
                        <a:pt x="205308" y="392165"/>
                      </a:lnTo>
                      <a:lnTo>
                        <a:pt x="206327" y="390193"/>
                      </a:lnTo>
                      <a:lnTo>
                        <a:pt x="208478" y="388278"/>
                      </a:lnTo>
                      <a:lnTo>
                        <a:pt x="209709" y="387944"/>
                      </a:lnTo>
                      <a:lnTo>
                        <a:pt x="212920" y="389060"/>
                      </a:lnTo>
                      <a:lnTo>
                        <a:pt x="215617" y="390494"/>
                      </a:lnTo>
                      <a:lnTo>
                        <a:pt x="224941" y="397153"/>
                      </a:lnTo>
                      <a:lnTo>
                        <a:pt x="228682" y="400405"/>
                      </a:lnTo>
                      <a:lnTo>
                        <a:pt x="230858" y="402947"/>
                      </a:lnTo>
                      <a:lnTo>
                        <a:pt x="236106" y="410893"/>
                      </a:lnTo>
                      <a:lnTo>
                        <a:pt x="238420" y="415473"/>
                      </a:lnTo>
                      <a:lnTo>
                        <a:pt x="240279" y="420192"/>
                      </a:lnTo>
                      <a:lnTo>
                        <a:pt x="242104" y="423590"/>
                      </a:lnTo>
                      <a:lnTo>
                        <a:pt x="243905" y="425669"/>
                      </a:lnTo>
                      <a:lnTo>
                        <a:pt x="252878" y="433892"/>
                      </a:lnTo>
                      <a:lnTo>
                        <a:pt x="257507" y="437355"/>
                      </a:lnTo>
                      <a:lnTo>
                        <a:pt x="261386" y="439507"/>
                      </a:lnTo>
                      <a:lnTo>
                        <a:pt x="265844" y="441210"/>
                      </a:lnTo>
                      <a:lnTo>
                        <a:pt x="270873" y="442473"/>
                      </a:lnTo>
                      <a:lnTo>
                        <a:pt x="274296" y="442579"/>
                      </a:lnTo>
                      <a:lnTo>
                        <a:pt x="279625" y="439091"/>
                      </a:lnTo>
                      <a:lnTo>
                        <a:pt x="279748" y="436785"/>
                      </a:lnTo>
                      <a:lnTo>
                        <a:pt x="277401" y="432963"/>
                      </a:lnTo>
                      <a:lnTo>
                        <a:pt x="275029" y="430298"/>
                      </a:lnTo>
                      <a:lnTo>
                        <a:pt x="275314" y="428676"/>
                      </a:lnTo>
                      <a:lnTo>
                        <a:pt x="278444" y="425571"/>
                      </a:lnTo>
                      <a:lnTo>
                        <a:pt x="278240" y="424487"/>
                      </a:lnTo>
                      <a:lnTo>
                        <a:pt x="278900" y="421284"/>
                      </a:lnTo>
                      <a:lnTo>
                        <a:pt x="281060" y="421895"/>
                      </a:lnTo>
                      <a:lnTo>
                        <a:pt x="281916" y="421765"/>
                      </a:lnTo>
                      <a:lnTo>
                        <a:pt x="283122" y="420583"/>
                      </a:lnTo>
                      <a:lnTo>
                        <a:pt x="284678" y="418350"/>
                      </a:lnTo>
                      <a:lnTo>
                        <a:pt x="286642" y="416508"/>
                      </a:lnTo>
                      <a:lnTo>
                        <a:pt x="289006" y="415050"/>
                      </a:lnTo>
                      <a:lnTo>
                        <a:pt x="289650" y="414088"/>
                      </a:lnTo>
                      <a:lnTo>
                        <a:pt x="287303" y="413395"/>
                      </a:lnTo>
                      <a:lnTo>
                        <a:pt x="285876" y="413395"/>
                      </a:lnTo>
                      <a:lnTo>
                        <a:pt x="284825" y="413085"/>
                      </a:lnTo>
                      <a:lnTo>
                        <a:pt x="284132" y="412450"/>
                      </a:lnTo>
                      <a:lnTo>
                        <a:pt x="285078" y="411773"/>
                      </a:lnTo>
                      <a:lnTo>
                        <a:pt x="290220" y="410062"/>
                      </a:lnTo>
                      <a:lnTo>
                        <a:pt x="291182" y="408416"/>
                      </a:lnTo>
                      <a:lnTo>
                        <a:pt x="292828" y="407324"/>
                      </a:lnTo>
                      <a:lnTo>
                        <a:pt x="294931" y="406884"/>
                      </a:lnTo>
                      <a:lnTo>
                        <a:pt x="296235" y="407340"/>
                      </a:lnTo>
                      <a:lnTo>
                        <a:pt x="297677" y="408701"/>
                      </a:lnTo>
                      <a:lnTo>
                        <a:pt x="297750" y="410885"/>
                      </a:lnTo>
                      <a:lnTo>
                        <a:pt x="297115" y="414422"/>
                      </a:lnTo>
                      <a:lnTo>
                        <a:pt x="297001" y="417283"/>
                      </a:lnTo>
                      <a:lnTo>
                        <a:pt x="298606" y="424006"/>
                      </a:lnTo>
                      <a:lnTo>
                        <a:pt x="300041" y="425473"/>
                      </a:lnTo>
                      <a:lnTo>
                        <a:pt x="305615" y="427453"/>
                      </a:lnTo>
                      <a:lnTo>
                        <a:pt x="305273" y="429092"/>
                      </a:lnTo>
                      <a:lnTo>
                        <a:pt x="298818" y="436166"/>
                      </a:lnTo>
                      <a:lnTo>
                        <a:pt x="297441" y="437893"/>
                      </a:lnTo>
                      <a:lnTo>
                        <a:pt x="296764" y="439214"/>
                      </a:lnTo>
                      <a:lnTo>
                        <a:pt x="296993" y="440322"/>
                      </a:lnTo>
                      <a:lnTo>
                        <a:pt x="298133" y="441235"/>
                      </a:lnTo>
                      <a:lnTo>
                        <a:pt x="300318" y="441887"/>
                      </a:lnTo>
                      <a:lnTo>
                        <a:pt x="305933" y="442147"/>
                      </a:lnTo>
                      <a:lnTo>
                        <a:pt x="307465" y="441528"/>
                      </a:lnTo>
                      <a:lnTo>
                        <a:pt x="318386" y="441324"/>
                      </a:lnTo>
                      <a:lnTo>
                        <a:pt x="320390" y="440795"/>
                      </a:lnTo>
                      <a:lnTo>
                        <a:pt x="322077" y="439442"/>
                      </a:lnTo>
                      <a:lnTo>
                        <a:pt x="324539" y="436043"/>
                      </a:lnTo>
                      <a:lnTo>
                        <a:pt x="327326" y="435008"/>
                      </a:lnTo>
                      <a:lnTo>
                        <a:pt x="328198" y="434055"/>
                      </a:lnTo>
                      <a:lnTo>
                        <a:pt x="329918" y="430013"/>
                      </a:lnTo>
                      <a:lnTo>
                        <a:pt x="330757" y="425310"/>
                      </a:lnTo>
                      <a:lnTo>
                        <a:pt x="331596" y="423338"/>
                      </a:lnTo>
                      <a:lnTo>
                        <a:pt x="332860" y="422115"/>
                      </a:lnTo>
                      <a:lnTo>
                        <a:pt x="334571" y="421724"/>
                      </a:lnTo>
                      <a:lnTo>
                        <a:pt x="338817" y="422189"/>
                      </a:lnTo>
                      <a:lnTo>
                        <a:pt x="340822" y="421798"/>
                      </a:lnTo>
                      <a:lnTo>
                        <a:pt x="348695" y="422189"/>
                      </a:lnTo>
                      <a:lnTo>
                        <a:pt x="356567" y="421846"/>
                      </a:lnTo>
                      <a:lnTo>
                        <a:pt x="364709" y="422686"/>
                      </a:lnTo>
                      <a:lnTo>
                        <a:pt x="369941" y="423656"/>
                      </a:lnTo>
                      <a:lnTo>
                        <a:pt x="374774" y="425180"/>
                      </a:lnTo>
                      <a:lnTo>
                        <a:pt x="384040" y="428782"/>
                      </a:lnTo>
                      <a:lnTo>
                        <a:pt x="387707" y="430713"/>
                      </a:lnTo>
                      <a:lnTo>
                        <a:pt x="391000" y="432930"/>
                      </a:lnTo>
                      <a:lnTo>
                        <a:pt x="391041" y="447534"/>
                      </a:lnTo>
                      <a:lnTo>
                        <a:pt x="391098" y="501706"/>
                      </a:lnTo>
                      <a:lnTo>
                        <a:pt x="593830" y="609070"/>
                      </a:lnTo>
                      <a:lnTo>
                        <a:pt x="639330" y="609290"/>
                      </a:lnTo>
                      <a:lnTo>
                        <a:pt x="667928" y="634359"/>
                      </a:lnTo>
                      <a:lnTo>
                        <a:pt x="675401" y="638132"/>
                      </a:lnTo>
                      <a:lnTo>
                        <a:pt x="681407" y="639558"/>
                      </a:lnTo>
                      <a:lnTo>
                        <a:pt x="854369" y="662614"/>
                      </a:lnTo>
                      <a:lnTo>
                        <a:pt x="854312" y="835119"/>
                      </a:lnTo>
                      <a:lnTo>
                        <a:pt x="313170" y="835119"/>
                      </a:lnTo>
                      <a:close/>
                    </a:path>
                  </a:pathLst>
                </a:custGeom>
                <a:solidFill>
                  <a:srgbClr val="D6D6D2"/>
                </a:solidFill>
                <a:ln w="6112" cap="rnd">
                  <a:solidFill>
                    <a:srgbClr val="FFFFFF"/>
                  </a:solidFill>
                  <a:prstDash val="solid"/>
                  <a:round/>
                </a:ln>
              </p:spPr>
              <p:txBody>
                <a:bodyPr rtlCol="0" anchor="ctr"/>
                <a:lstStyle/>
                <a:p>
                  <a:endParaRPr lang="en-US"/>
                </a:p>
              </p:txBody>
            </p:sp>
            <p:sp>
              <p:nvSpPr>
                <p:cNvPr id="491" name="Freeform: Shape 490">
                  <a:extLst>
                    <a:ext uri="{FF2B5EF4-FFF2-40B4-BE49-F238E27FC236}">
                      <a16:creationId xmlns:a16="http://schemas.microsoft.com/office/drawing/2014/main" id="{8BE77FE1-A09E-438C-B062-63864416228D}"/>
                    </a:ext>
                  </a:extLst>
                </p:cNvPr>
                <p:cNvSpPr/>
                <p:nvPr/>
              </p:nvSpPr>
              <p:spPr>
                <a:xfrm>
                  <a:off x="3413760" y="2543680"/>
                  <a:ext cx="323748" cy="417641"/>
                </a:xfrm>
                <a:custGeom>
                  <a:avLst/>
                  <a:gdLst>
                    <a:gd name="connsiteX0" fmla="*/ 169637 w 323748"/>
                    <a:gd name="connsiteY0" fmla="*/ 417641 h 417641"/>
                    <a:gd name="connsiteX1" fmla="*/ 15737 w 323748"/>
                    <a:gd name="connsiteY1" fmla="*/ 417584 h 417641"/>
                    <a:gd name="connsiteX2" fmla="*/ 16 w 323748"/>
                    <a:gd name="connsiteY2" fmla="*/ 163663 h 417641"/>
                    <a:gd name="connsiteX3" fmla="*/ 0 w 323748"/>
                    <a:gd name="connsiteY3" fmla="*/ 33 h 417641"/>
                    <a:gd name="connsiteX4" fmla="*/ 179310 w 323748"/>
                    <a:gd name="connsiteY4" fmla="*/ 0 h 417641"/>
                    <a:gd name="connsiteX5" fmla="*/ 178968 w 323748"/>
                    <a:gd name="connsiteY5" fmla="*/ 1940 h 417641"/>
                    <a:gd name="connsiteX6" fmla="*/ 179196 w 323748"/>
                    <a:gd name="connsiteY6" fmla="*/ 20855 h 417641"/>
                    <a:gd name="connsiteX7" fmla="*/ 178911 w 323748"/>
                    <a:gd name="connsiteY7" fmla="*/ 29201 h 417641"/>
                    <a:gd name="connsiteX8" fmla="*/ 178129 w 323748"/>
                    <a:gd name="connsiteY8" fmla="*/ 33805 h 417641"/>
                    <a:gd name="connsiteX9" fmla="*/ 176874 w 323748"/>
                    <a:gd name="connsiteY9" fmla="*/ 36323 h 417641"/>
                    <a:gd name="connsiteX10" fmla="*/ 174714 w 323748"/>
                    <a:gd name="connsiteY10" fmla="*/ 37073 h 417641"/>
                    <a:gd name="connsiteX11" fmla="*/ 177460 w 323748"/>
                    <a:gd name="connsiteY11" fmla="*/ 37807 h 417641"/>
                    <a:gd name="connsiteX12" fmla="*/ 179204 w 323748"/>
                    <a:gd name="connsiteY12" fmla="*/ 38988 h 417641"/>
                    <a:gd name="connsiteX13" fmla="*/ 180011 w 323748"/>
                    <a:gd name="connsiteY13" fmla="*/ 40765 h 417641"/>
                    <a:gd name="connsiteX14" fmla="*/ 180769 w 323748"/>
                    <a:gd name="connsiteY14" fmla="*/ 43617 h 417641"/>
                    <a:gd name="connsiteX15" fmla="*/ 181755 w 323748"/>
                    <a:gd name="connsiteY15" fmla="*/ 44929 h 417641"/>
                    <a:gd name="connsiteX16" fmla="*/ 182986 w 323748"/>
                    <a:gd name="connsiteY16" fmla="*/ 44701 h 417641"/>
                    <a:gd name="connsiteX17" fmla="*/ 184094 w 323748"/>
                    <a:gd name="connsiteY17" fmla="*/ 44995 h 417641"/>
                    <a:gd name="connsiteX18" fmla="*/ 185072 w 323748"/>
                    <a:gd name="connsiteY18" fmla="*/ 45785 h 417641"/>
                    <a:gd name="connsiteX19" fmla="*/ 188063 w 323748"/>
                    <a:gd name="connsiteY19" fmla="*/ 49844 h 417641"/>
                    <a:gd name="connsiteX20" fmla="*/ 191339 w 323748"/>
                    <a:gd name="connsiteY20" fmla="*/ 51001 h 417641"/>
                    <a:gd name="connsiteX21" fmla="*/ 191486 w 323748"/>
                    <a:gd name="connsiteY21" fmla="*/ 53259 h 417641"/>
                    <a:gd name="connsiteX22" fmla="*/ 190207 w 323748"/>
                    <a:gd name="connsiteY22" fmla="*/ 65834 h 417641"/>
                    <a:gd name="connsiteX23" fmla="*/ 190223 w 323748"/>
                    <a:gd name="connsiteY23" fmla="*/ 67472 h 417641"/>
                    <a:gd name="connsiteX24" fmla="*/ 191706 w 323748"/>
                    <a:gd name="connsiteY24" fmla="*/ 64310 h 417641"/>
                    <a:gd name="connsiteX25" fmla="*/ 193279 w 323748"/>
                    <a:gd name="connsiteY25" fmla="*/ 54538 h 417641"/>
                    <a:gd name="connsiteX26" fmla="*/ 195398 w 323748"/>
                    <a:gd name="connsiteY26" fmla="*/ 50186 h 417641"/>
                    <a:gd name="connsiteX27" fmla="*/ 197077 w 323748"/>
                    <a:gd name="connsiteY27" fmla="*/ 49273 h 417641"/>
                    <a:gd name="connsiteX28" fmla="*/ 203906 w 323748"/>
                    <a:gd name="connsiteY28" fmla="*/ 48776 h 417641"/>
                    <a:gd name="connsiteX29" fmla="*/ 211200 w 323748"/>
                    <a:gd name="connsiteY29" fmla="*/ 49885 h 417641"/>
                    <a:gd name="connsiteX30" fmla="*/ 213963 w 323748"/>
                    <a:gd name="connsiteY30" fmla="*/ 50015 h 417641"/>
                    <a:gd name="connsiteX31" fmla="*/ 216359 w 323748"/>
                    <a:gd name="connsiteY31" fmla="*/ 49412 h 417641"/>
                    <a:gd name="connsiteX32" fmla="*/ 218828 w 323748"/>
                    <a:gd name="connsiteY32" fmla="*/ 50626 h 417641"/>
                    <a:gd name="connsiteX33" fmla="*/ 219431 w 323748"/>
                    <a:gd name="connsiteY33" fmla="*/ 51849 h 417641"/>
                    <a:gd name="connsiteX34" fmla="*/ 220124 w 323748"/>
                    <a:gd name="connsiteY34" fmla="*/ 56975 h 417641"/>
                    <a:gd name="connsiteX35" fmla="*/ 220776 w 323748"/>
                    <a:gd name="connsiteY35" fmla="*/ 59909 h 417641"/>
                    <a:gd name="connsiteX36" fmla="*/ 225112 w 323748"/>
                    <a:gd name="connsiteY36" fmla="*/ 70332 h 417641"/>
                    <a:gd name="connsiteX37" fmla="*/ 227190 w 323748"/>
                    <a:gd name="connsiteY37" fmla="*/ 76151 h 417641"/>
                    <a:gd name="connsiteX38" fmla="*/ 229708 w 323748"/>
                    <a:gd name="connsiteY38" fmla="*/ 85230 h 417641"/>
                    <a:gd name="connsiteX39" fmla="*/ 230662 w 323748"/>
                    <a:gd name="connsiteY39" fmla="*/ 87813 h 417641"/>
                    <a:gd name="connsiteX40" fmla="*/ 235918 w 323748"/>
                    <a:gd name="connsiteY40" fmla="*/ 99867 h 417641"/>
                    <a:gd name="connsiteX41" fmla="*/ 236913 w 323748"/>
                    <a:gd name="connsiteY41" fmla="*/ 103135 h 417641"/>
                    <a:gd name="connsiteX42" fmla="*/ 237328 w 323748"/>
                    <a:gd name="connsiteY42" fmla="*/ 105637 h 417641"/>
                    <a:gd name="connsiteX43" fmla="*/ 237149 w 323748"/>
                    <a:gd name="connsiteY43" fmla="*/ 107397 h 417641"/>
                    <a:gd name="connsiteX44" fmla="*/ 236196 w 323748"/>
                    <a:gd name="connsiteY44" fmla="*/ 110111 h 417641"/>
                    <a:gd name="connsiteX45" fmla="*/ 234460 w 323748"/>
                    <a:gd name="connsiteY45" fmla="*/ 113770 h 417641"/>
                    <a:gd name="connsiteX46" fmla="*/ 232830 w 323748"/>
                    <a:gd name="connsiteY46" fmla="*/ 116557 h 417641"/>
                    <a:gd name="connsiteX47" fmla="*/ 231314 w 323748"/>
                    <a:gd name="connsiteY47" fmla="*/ 118481 h 417641"/>
                    <a:gd name="connsiteX48" fmla="*/ 229757 w 323748"/>
                    <a:gd name="connsiteY48" fmla="*/ 119907 h 417641"/>
                    <a:gd name="connsiteX49" fmla="*/ 228160 w 323748"/>
                    <a:gd name="connsiteY49" fmla="*/ 120852 h 417641"/>
                    <a:gd name="connsiteX50" fmla="*/ 228266 w 323748"/>
                    <a:gd name="connsiteY50" fmla="*/ 121105 h 417641"/>
                    <a:gd name="connsiteX51" fmla="*/ 230075 w 323748"/>
                    <a:gd name="connsiteY51" fmla="*/ 120649 h 417641"/>
                    <a:gd name="connsiteX52" fmla="*/ 231917 w 323748"/>
                    <a:gd name="connsiteY52" fmla="*/ 119695 h 417641"/>
                    <a:gd name="connsiteX53" fmla="*/ 235405 w 323748"/>
                    <a:gd name="connsiteY53" fmla="*/ 117209 h 417641"/>
                    <a:gd name="connsiteX54" fmla="*/ 236741 w 323748"/>
                    <a:gd name="connsiteY54" fmla="*/ 116655 h 417641"/>
                    <a:gd name="connsiteX55" fmla="*/ 240539 w 323748"/>
                    <a:gd name="connsiteY55" fmla="*/ 116297 h 417641"/>
                    <a:gd name="connsiteX56" fmla="*/ 240670 w 323748"/>
                    <a:gd name="connsiteY56" fmla="*/ 117193 h 417641"/>
                    <a:gd name="connsiteX57" fmla="*/ 238836 w 323748"/>
                    <a:gd name="connsiteY57" fmla="*/ 119043 h 417641"/>
                    <a:gd name="connsiteX58" fmla="*/ 239235 w 323748"/>
                    <a:gd name="connsiteY58" fmla="*/ 119214 h 417641"/>
                    <a:gd name="connsiteX59" fmla="*/ 241884 w 323748"/>
                    <a:gd name="connsiteY59" fmla="*/ 117731 h 417641"/>
                    <a:gd name="connsiteX60" fmla="*/ 247622 w 323748"/>
                    <a:gd name="connsiteY60" fmla="*/ 115604 h 417641"/>
                    <a:gd name="connsiteX61" fmla="*/ 270107 w 323748"/>
                    <a:gd name="connsiteY61" fmla="*/ 108717 h 417641"/>
                    <a:gd name="connsiteX62" fmla="*/ 275404 w 323748"/>
                    <a:gd name="connsiteY62" fmla="*/ 108106 h 417641"/>
                    <a:gd name="connsiteX63" fmla="*/ 282983 w 323748"/>
                    <a:gd name="connsiteY63" fmla="*/ 109361 h 417641"/>
                    <a:gd name="connsiteX64" fmla="*/ 289112 w 323748"/>
                    <a:gd name="connsiteY64" fmla="*/ 112295 h 417641"/>
                    <a:gd name="connsiteX65" fmla="*/ 295803 w 323748"/>
                    <a:gd name="connsiteY65" fmla="*/ 116060 h 417641"/>
                    <a:gd name="connsiteX66" fmla="*/ 302852 w 323748"/>
                    <a:gd name="connsiteY66" fmla="*/ 118807 h 417641"/>
                    <a:gd name="connsiteX67" fmla="*/ 313977 w 323748"/>
                    <a:gd name="connsiteY67" fmla="*/ 121358 h 417641"/>
                    <a:gd name="connsiteX68" fmla="*/ 317220 w 323748"/>
                    <a:gd name="connsiteY68" fmla="*/ 122580 h 417641"/>
                    <a:gd name="connsiteX69" fmla="*/ 323748 w 323748"/>
                    <a:gd name="connsiteY69" fmla="*/ 123835 h 417641"/>
                    <a:gd name="connsiteX70" fmla="*/ 317383 w 323748"/>
                    <a:gd name="connsiteY70" fmla="*/ 129890 h 417641"/>
                    <a:gd name="connsiteX71" fmla="*/ 310969 w 323748"/>
                    <a:gd name="connsiteY71" fmla="*/ 136052 h 417641"/>
                    <a:gd name="connsiteX72" fmla="*/ 289478 w 323748"/>
                    <a:gd name="connsiteY72" fmla="*/ 156997 h 417641"/>
                    <a:gd name="connsiteX73" fmla="*/ 272144 w 323748"/>
                    <a:gd name="connsiteY73" fmla="*/ 174217 h 417641"/>
                    <a:gd name="connsiteX74" fmla="*/ 255902 w 323748"/>
                    <a:gd name="connsiteY74" fmla="*/ 190777 h 417641"/>
                    <a:gd name="connsiteX75" fmla="*/ 240751 w 323748"/>
                    <a:gd name="connsiteY75" fmla="*/ 206677 h 417641"/>
                    <a:gd name="connsiteX76" fmla="*/ 226856 w 323748"/>
                    <a:gd name="connsiteY76" fmla="*/ 221534 h 417641"/>
                    <a:gd name="connsiteX77" fmla="*/ 214208 w 323748"/>
                    <a:gd name="connsiteY77" fmla="*/ 235364 h 417641"/>
                    <a:gd name="connsiteX78" fmla="*/ 198364 w 323748"/>
                    <a:gd name="connsiteY78" fmla="*/ 250963 h 417641"/>
                    <a:gd name="connsiteX79" fmla="*/ 179351 w 323748"/>
                    <a:gd name="connsiteY79" fmla="*/ 268305 h 417641"/>
                    <a:gd name="connsiteX80" fmla="*/ 169840 w 323748"/>
                    <a:gd name="connsiteY80" fmla="*/ 276944 h 41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23748" h="417641">
                      <a:moveTo>
                        <a:pt x="169637" y="417641"/>
                      </a:moveTo>
                      <a:lnTo>
                        <a:pt x="15737" y="417584"/>
                      </a:lnTo>
                      <a:lnTo>
                        <a:pt x="16" y="163663"/>
                      </a:lnTo>
                      <a:lnTo>
                        <a:pt x="0" y="33"/>
                      </a:lnTo>
                      <a:lnTo>
                        <a:pt x="179310" y="0"/>
                      </a:lnTo>
                      <a:lnTo>
                        <a:pt x="178968" y="1940"/>
                      </a:lnTo>
                      <a:lnTo>
                        <a:pt x="179196" y="20855"/>
                      </a:lnTo>
                      <a:lnTo>
                        <a:pt x="178911" y="29201"/>
                      </a:lnTo>
                      <a:lnTo>
                        <a:pt x="178129" y="33805"/>
                      </a:lnTo>
                      <a:lnTo>
                        <a:pt x="176874" y="36323"/>
                      </a:lnTo>
                      <a:lnTo>
                        <a:pt x="174714" y="37073"/>
                      </a:lnTo>
                      <a:lnTo>
                        <a:pt x="177460" y="37807"/>
                      </a:lnTo>
                      <a:lnTo>
                        <a:pt x="179204" y="38988"/>
                      </a:lnTo>
                      <a:lnTo>
                        <a:pt x="180011" y="40765"/>
                      </a:lnTo>
                      <a:lnTo>
                        <a:pt x="180769" y="43617"/>
                      </a:lnTo>
                      <a:lnTo>
                        <a:pt x="181755" y="44929"/>
                      </a:lnTo>
                      <a:lnTo>
                        <a:pt x="182986" y="44701"/>
                      </a:lnTo>
                      <a:lnTo>
                        <a:pt x="184094" y="44995"/>
                      </a:lnTo>
                      <a:lnTo>
                        <a:pt x="185072" y="45785"/>
                      </a:lnTo>
                      <a:lnTo>
                        <a:pt x="188063" y="49844"/>
                      </a:lnTo>
                      <a:lnTo>
                        <a:pt x="191339" y="51001"/>
                      </a:lnTo>
                      <a:lnTo>
                        <a:pt x="191486" y="53259"/>
                      </a:lnTo>
                      <a:lnTo>
                        <a:pt x="190207" y="65834"/>
                      </a:lnTo>
                      <a:lnTo>
                        <a:pt x="190223" y="67472"/>
                      </a:lnTo>
                      <a:lnTo>
                        <a:pt x="191706" y="64310"/>
                      </a:lnTo>
                      <a:lnTo>
                        <a:pt x="193279" y="54538"/>
                      </a:lnTo>
                      <a:lnTo>
                        <a:pt x="195398" y="50186"/>
                      </a:lnTo>
                      <a:lnTo>
                        <a:pt x="197077" y="49273"/>
                      </a:lnTo>
                      <a:lnTo>
                        <a:pt x="203906" y="48776"/>
                      </a:lnTo>
                      <a:lnTo>
                        <a:pt x="211200" y="49885"/>
                      </a:lnTo>
                      <a:lnTo>
                        <a:pt x="213963" y="50015"/>
                      </a:lnTo>
                      <a:lnTo>
                        <a:pt x="216359" y="49412"/>
                      </a:lnTo>
                      <a:lnTo>
                        <a:pt x="218828" y="50626"/>
                      </a:lnTo>
                      <a:lnTo>
                        <a:pt x="219431" y="51849"/>
                      </a:lnTo>
                      <a:lnTo>
                        <a:pt x="220124" y="56975"/>
                      </a:lnTo>
                      <a:lnTo>
                        <a:pt x="220776" y="59909"/>
                      </a:lnTo>
                      <a:lnTo>
                        <a:pt x="225112" y="70332"/>
                      </a:lnTo>
                      <a:lnTo>
                        <a:pt x="227190" y="76151"/>
                      </a:lnTo>
                      <a:lnTo>
                        <a:pt x="229708" y="85230"/>
                      </a:lnTo>
                      <a:lnTo>
                        <a:pt x="230662" y="87813"/>
                      </a:lnTo>
                      <a:lnTo>
                        <a:pt x="235918" y="99867"/>
                      </a:lnTo>
                      <a:lnTo>
                        <a:pt x="236913" y="103135"/>
                      </a:lnTo>
                      <a:lnTo>
                        <a:pt x="237328" y="105637"/>
                      </a:lnTo>
                      <a:lnTo>
                        <a:pt x="237149" y="107397"/>
                      </a:lnTo>
                      <a:lnTo>
                        <a:pt x="236196" y="110111"/>
                      </a:lnTo>
                      <a:lnTo>
                        <a:pt x="234460" y="113770"/>
                      </a:lnTo>
                      <a:lnTo>
                        <a:pt x="232830" y="116557"/>
                      </a:lnTo>
                      <a:lnTo>
                        <a:pt x="231314" y="118481"/>
                      </a:lnTo>
                      <a:lnTo>
                        <a:pt x="229757" y="119907"/>
                      </a:lnTo>
                      <a:lnTo>
                        <a:pt x="228160" y="120852"/>
                      </a:lnTo>
                      <a:lnTo>
                        <a:pt x="228266" y="121105"/>
                      </a:lnTo>
                      <a:lnTo>
                        <a:pt x="230075" y="120649"/>
                      </a:lnTo>
                      <a:lnTo>
                        <a:pt x="231917" y="119695"/>
                      </a:lnTo>
                      <a:lnTo>
                        <a:pt x="235405" y="117209"/>
                      </a:lnTo>
                      <a:lnTo>
                        <a:pt x="236741" y="116655"/>
                      </a:lnTo>
                      <a:lnTo>
                        <a:pt x="240539" y="116297"/>
                      </a:lnTo>
                      <a:lnTo>
                        <a:pt x="240670" y="117193"/>
                      </a:lnTo>
                      <a:lnTo>
                        <a:pt x="238836" y="119043"/>
                      </a:lnTo>
                      <a:lnTo>
                        <a:pt x="239235" y="119214"/>
                      </a:lnTo>
                      <a:lnTo>
                        <a:pt x="241884" y="117731"/>
                      </a:lnTo>
                      <a:lnTo>
                        <a:pt x="247622" y="115604"/>
                      </a:lnTo>
                      <a:lnTo>
                        <a:pt x="270107" y="108717"/>
                      </a:lnTo>
                      <a:lnTo>
                        <a:pt x="275404" y="108106"/>
                      </a:lnTo>
                      <a:lnTo>
                        <a:pt x="282983" y="109361"/>
                      </a:lnTo>
                      <a:lnTo>
                        <a:pt x="289112" y="112295"/>
                      </a:lnTo>
                      <a:lnTo>
                        <a:pt x="295803" y="116060"/>
                      </a:lnTo>
                      <a:lnTo>
                        <a:pt x="302852" y="118807"/>
                      </a:lnTo>
                      <a:lnTo>
                        <a:pt x="313977" y="121358"/>
                      </a:lnTo>
                      <a:lnTo>
                        <a:pt x="317220" y="122580"/>
                      </a:lnTo>
                      <a:lnTo>
                        <a:pt x="323748" y="123835"/>
                      </a:lnTo>
                      <a:lnTo>
                        <a:pt x="317383" y="129890"/>
                      </a:lnTo>
                      <a:lnTo>
                        <a:pt x="310969" y="136052"/>
                      </a:lnTo>
                      <a:lnTo>
                        <a:pt x="289478" y="156997"/>
                      </a:lnTo>
                      <a:lnTo>
                        <a:pt x="272144" y="174217"/>
                      </a:lnTo>
                      <a:lnTo>
                        <a:pt x="255902" y="190777"/>
                      </a:lnTo>
                      <a:lnTo>
                        <a:pt x="240751" y="206677"/>
                      </a:lnTo>
                      <a:lnTo>
                        <a:pt x="226856" y="221534"/>
                      </a:lnTo>
                      <a:lnTo>
                        <a:pt x="214208" y="235364"/>
                      </a:lnTo>
                      <a:lnTo>
                        <a:pt x="198364" y="250963"/>
                      </a:lnTo>
                      <a:lnTo>
                        <a:pt x="179351" y="268305"/>
                      </a:lnTo>
                      <a:lnTo>
                        <a:pt x="169840" y="276944"/>
                      </a:lnTo>
                      <a:close/>
                    </a:path>
                  </a:pathLst>
                </a:custGeom>
                <a:solidFill>
                  <a:srgbClr val="D6D6D2"/>
                </a:solidFill>
                <a:ln w="6112" cap="rnd">
                  <a:solidFill>
                    <a:srgbClr val="FFFFFF"/>
                  </a:solidFill>
                  <a:prstDash val="solid"/>
                  <a:round/>
                </a:ln>
              </p:spPr>
              <p:txBody>
                <a:bodyPr rtlCol="0" anchor="ctr"/>
                <a:lstStyle/>
                <a:p>
                  <a:endParaRPr lang="en-US"/>
                </a:p>
              </p:txBody>
            </p:sp>
            <p:sp>
              <p:nvSpPr>
                <p:cNvPr id="492" name="Freeform: Shape 491">
                  <a:extLst>
                    <a:ext uri="{FF2B5EF4-FFF2-40B4-BE49-F238E27FC236}">
                      <a16:creationId xmlns:a16="http://schemas.microsoft.com/office/drawing/2014/main" id="{C47D71EE-40E6-441C-B889-6B8215B2E9F1}"/>
                    </a:ext>
                  </a:extLst>
                </p:cNvPr>
                <p:cNvSpPr/>
                <p:nvPr/>
              </p:nvSpPr>
              <p:spPr>
                <a:xfrm>
                  <a:off x="2494730" y="2543672"/>
                  <a:ext cx="620170" cy="441764"/>
                </a:xfrm>
                <a:custGeom>
                  <a:avLst/>
                  <a:gdLst>
                    <a:gd name="connsiteX0" fmla="*/ 405995 w 620170"/>
                    <a:gd name="connsiteY0" fmla="*/ 417600 h 441764"/>
                    <a:gd name="connsiteX1" fmla="*/ 403453 w 620170"/>
                    <a:gd name="connsiteY1" fmla="*/ 417600 h 441764"/>
                    <a:gd name="connsiteX2" fmla="*/ 402515 w 620170"/>
                    <a:gd name="connsiteY2" fmla="*/ 416313 h 441764"/>
                    <a:gd name="connsiteX3" fmla="*/ 400103 w 620170"/>
                    <a:gd name="connsiteY3" fmla="*/ 414642 h 441764"/>
                    <a:gd name="connsiteX4" fmla="*/ 399141 w 620170"/>
                    <a:gd name="connsiteY4" fmla="*/ 414650 h 441764"/>
                    <a:gd name="connsiteX5" fmla="*/ 398163 w 620170"/>
                    <a:gd name="connsiteY5" fmla="*/ 415147 h 441764"/>
                    <a:gd name="connsiteX6" fmla="*/ 397544 w 620170"/>
                    <a:gd name="connsiteY6" fmla="*/ 415954 h 441764"/>
                    <a:gd name="connsiteX7" fmla="*/ 396998 w 620170"/>
                    <a:gd name="connsiteY7" fmla="*/ 417600 h 441764"/>
                    <a:gd name="connsiteX8" fmla="*/ 396077 w 620170"/>
                    <a:gd name="connsiteY8" fmla="*/ 417600 h 441764"/>
                    <a:gd name="connsiteX9" fmla="*/ 395303 w 620170"/>
                    <a:gd name="connsiteY9" fmla="*/ 415302 h 441764"/>
                    <a:gd name="connsiteX10" fmla="*/ 395507 w 620170"/>
                    <a:gd name="connsiteY10" fmla="*/ 414283 h 441764"/>
                    <a:gd name="connsiteX11" fmla="*/ 396297 w 620170"/>
                    <a:gd name="connsiteY11" fmla="*/ 413061 h 441764"/>
                    <a:gd name="connsiteX12" fmla="*/ 396240 w 620170"/>
                    <a:gd name="connsiteY12" fmla="*/ 412621 h 441764"/>
                    <a:gd name="connsiteX13" fmla="*/ 394488 w 620170"/>
                    <a:gd name="connsiteY13" fmla="*/ 412963 h 441764"/>
                    <a:gd name="connsiteX14" fmla="*/ 393705 w 620170"/>
                    <a:gd name="connsiteY14" fmla="*/ 412654 h 441764"/>
                    <a:gd name="connsiteX15" fmla="*/ 393347 w 620170"/>
                    <a:gd name="connsiteY15" fmla="*/ 411993 h 441764"/>
                    <a:gd name="connsiteX16" fmla="*/ 393477 w 620170"/>
                    <a:gd name="connsiteY16" fmla="*/ 409394 h 441764"/>
                    <a:gd name="connsiteX17" fmla="*/ 392524 w 620170"/>
                    <a:gd name="connsiteY17" fmla="*/ 407910 h 441764"/>
                    <a:gd name="connsiteX18" fmla="*/ 393648 w 620170"/>
                    <a:gd name="connsiteY18" fmla="*/ 407283 h 441764"/>
                    <a:gd name="connsiteX19" fmla="*/ 396542 w 620170"/>
                    <a:gd name="connsiteY19" fmla="*/ 406786 h 441764"/>
                    <a:gd name="connsiteX20" fmla="*/ 399508 w 620170"/>
                    <a:gd name="connsiteY20" fmla="*/ 406720 h 441764"/>
                    <a:gd name="connsiteX21" fmla="*/ 400364 w 620170"/>
                    <a:gd name="connsiteY21" fmla="*/ 405637 h 441764"/>
                    <a:gd name="connsiteX22" fmla="*/ 401203 w 620170"/>
                    <a:gd name="connsiteY22" fmla="*/ 402890 h 441764"/>
                    <a:gd name="connsiteX23" fmla="*/ 399092 w 620170"/>
                    <a:gd name="connsiteY23" fmla="*/ 405417 h 441764"/>
                    <a:gd name="connsiteX24" fmla="*/ 397821 w 620170"/>
                    <a:gd name="connsiteY24" fmla="*/ 405677 h 441764"/>
                    <a:gd name="connsiteX25" fmla="*/ 393885 w 620170"/>
                    <a:gd name="connsiteY25" fmla="*/ 404740 h 441764"/>
                    <a:gd name="connsiteX26" fmla="*/ 391342 w 620170"/>
                    <a:gd name="connsiteY26" fmla="*/ 404887 h 441764"/>
                    <a:gd name="connsiteX27" fmla="*/ 391000 w 620170"/>
                    <a:gd name="connsiteY27" fmla="*/ 404333 h 441764"/>
                    <a:gd name="connsiteX28" fmla="*/ 391106 w 620170"/>
                    <a:gd name="connsiteY28" fmla="*/ 403762 h 441764"/>
                    <a:gd name="connsiteX29" fmla="*/ 391660 w 620170"/>
                    <a:gd name="connsiteY29" fmla="*/ 403208 h 441764"/>
                    <a:gd name="connsiteX30" fmla="*/ 392059 w 620170"/>
                    <a:gd name="connsiteY30" fmla="*/ 401301 h 441764"/>
                    <a:gd name="connsiteX31" fmla="*/ 392670 w 620170"/>
                    <a:gd name="connsiteY31" fmla="*/ 395947 h 441764"/>
                    <a:gd name="connsiteX32" fmla="*/ 393477 w 620170"/>
                    <a:gd name="connsiteY32" fmla="*/ 393999 h 441764"/>
                    <a:gd name="connsiteX33" fmla="*/ 393746 w 620170"/>
                    <a:gd name="connsiteY33" fmla="*/ 392931 h 441764"/>
                    <a:gd name="connsiteX34" fmla="*/ 393559 w 620170"/>
                    <a:gd name="connsiteY34" fmla="*/ 392687 h 441764"/>
                    <a:gd name="connsiteX35" fmla="*/ 390144 w 620170"/>
                    <a:gd name="connsiteY35" fmla="*/ 396419 h 441764"/>
                    <a:gd name="connsiteX36" fmla="*/ 389851 w 620170"/>
                    <a:gd name="connsiteY36" fmla="*/ 397601 h 441764"/>
                    <a:gd name="connsiteX37" fmla="*/ 390209 w 620170"/>
                    <a:gd name="connsiteY37" fmla="*/ 398628 h 441764"/>
                    <a:gd name="connsiteX38" fmla="*/ 389875 w 620170"/>
                    <a:gd name="connsiteY38" fmla="*/ 400730 h 441764"/>
                    <a:gd name="connsiteX39" fmla="*/ 388302 w 620170"/>
                    <a:gd name="connsiteY39" fmla="*/ 401358 h 441764"/>
                    <a:gd name="connsiteX40" fmla="*/ 387357 w 620170"/>
                    <a:gd name="connsiteY40" fmla="*/ 401016 h 441764"/>
                    <a:gd name="connsiteX41" fmla="*/ 385596 w 620170"/>
                    <a:gd name="connsiteY41" fmla="*/ 402784 h 441764"/>
                    <a:gd name="connsiteX42" fmla="*/ 385042 w 620170"/>
                    <a:gd name="connsiteY42" fmla="*/ 402980 h 441764"/>
                    <a:gd name="connsiteX43" fmla="*/ 376901 w 620170"/>
                    <a:gd name="connsiteY43" fmla="*/ 399875 h 441764"/>
                    <a:gd name="connsiteX44" fmla="*/ 376078 w 620170"/>
                    <a:gd name="connsiteY44" fmla="*/ 399443 h 441764"/>
                    <a:gd name="connsiteX45" fmla="*/ 374676 w 620170"/>
                    <a:gd name="connsiteY45" fmla="*/ 397992 h 441764"/>
                    <a:gd name="connsiteX46" fmla="*/ 372687 w 620170"/>
                    <a:gd name="connsiteY46" fmla="*/ 395515 h 441764"/>
                    <a:gd name="connsiteX47" fmla="*/ 372060 w 620170"/>
                    <a:gd name="connsiteY47" fmla="*/ 393371 h 441764"/>
                    <a:gd name="connsiteX48" fmla="*/ 372793 w 620170"/>
                    <a:gd name="connsiteY48" fmla="*/ 391578 h 441764"/>
                    <a:gd name="connsiteX49" fmla="*/ 373576 w 620170"/>
                    <a:gd name="connsiteY49" fmla="*/ 390674 h 441764"/>
                    <a:gd name="connsiteX50" fmla="*/ 374391 w 620170"/>
                    <a:gd name="connsiteY50" fmla="*/ 390674 h 441764"/>
                    <a:gd name="connsiteX51" fmla="*/ 375303 w 620170"/>
                    <a:gd name="connsiteY51" fmla="*/ 391350 h 441764"/>
                    <a:gd name="connsiteX52" fmla="*/ 377178 w 620170"/>
                    <a:gd name="connsiteY52" fmla="*/ 394292 h 441764"/>
                    <a:gd name="connsiteX53" fmla="*/ 377919 w 620170"/>
                    <a:gd name="connsiteY53" fmla="*/ 396109 h 441764"/>
                    <a:gd name="connsiteX54" fmla="*/ 379859 w 620170"/>
                    <a:gd name="connsiteY54" fmla="*/ 395857 h 441764"/>
                    <a:gd name="connsiteX55" fmla="*/ 382989 w 620170"/>
                    <a:gd name="connsiteY55" fmla="*/ 393526 h 441764"/>
                    <a:gd name="connsiteX56" fmla="*/ 383738 w 620170"/>
                    <a:gd name="connsiteY56" fmla="*/ 392670 h 441764"/>
                    <a:gd name="connsiteX57" fmla="*/ 380617 w 620170"/>
                    <a:gd name="connsiteY57" fmla="*/ 393559 h 441764"/>
                    <a:gd name="connsiteX58" fmla="*/ 379264 w 620170"/>
                    <a:gd name="connsiteY58" fmla="*/ 393502 h 441764"/>
                    <a:gd name="connsiteX59" fmla="*/ 377895 w 620170"/>
                    <a:gd name="connsiteY59" fmla="*/ 392532 h 441764"/>
                    <a:gd name="connsiteX60" fmla="*/ 376493 w 620170"/>
                    <a:gd name="connsiteY60" fmla="*/ 390657 h 441764"/>
                    <a:gd name="connsiteX61" fmla="*/ 375760 w 620170"/>
                    <a:gd name="connsiteY61" fmla="*/ 388530 h 441764"/>
                    <a:gd name="connsiteX62" fmla="*/ 375752 w 620170"/>
                    <a:gd name="connsiteY62" fmla="*/ 381758 h 441764"/>
                    <a:gd name="connsiteX63" fmla="*/ 376232 w 620170"/>
                    <a:gd name="connsiteY63" fmla="*/ 380454 h 441764"/>
                    <a:gd name="connsiteX64" fmla="*/ 377748 w 620170"/>
                    <a:gd name="connsiteY64" fmla="*/ 379484 h 441764"/>
                    <a:gd name="connsiteX65" fmla="*/ 378718 w 620170"/>
                    <a:gd name="connsiteY65" fmla="*/ 377870 h 441764"/>
                    <a:gd name="connsiteX66" fmla="*/ 378645 w 620170"/>
                    <a:gd name="connsiteY66" fmla="*/ 377194 h 441764"/>
                    <a:gd name="connsiteX67" fmla="*/ 377707 w 620170"/>
                    <a:gd name="connsiteY67" fmla="*/ 375825 h 441764"/>
                    <a:gd name="connsiteX68" fmla="*/ 376347 w 620170"/>
                    <a:gd name="connsiteY68" fmla="*/ 374757 h 441764"/>
                    <a:gd name="connsiteX69" fmla="*/ 375018 w 620170"/>
                    <a:gd name="connsiteY69" fmla="*/ 374227 h 441764"/>
                    <a:gd name="connsiteX70" fmla="*/ 374717 w 620170"/>
                    <a:gd name="connsiteY70" fmla="*/ 374382 h 441764"/>
                    <a:gd name="connsiteX71" fmla="*/ 376770 w 620170"/>
                    <a:gd name="connsiteY71" fmla="*/ 377357 h 441764"/>
                    <a:gd name="connsiteX72" fmla="*/ 376705 w 620170"/>
                    <a:gd name="connsiteY72" fmla="*/ 378465 h 441764"/>
                    <a:gd name="connsiteX73" fmla="*/ 374431 w 620170"/>
                    <a:gd name="connsiteY73" fmla="*/ 381359 h 441764"/>
                    <a:gd name="connsiteX74" fmla="*/ 374089 w 620170"/>
                    <a:gd name="connsiteY74" fmla="*/ 382206 h 441764"/>
                    <a:gd name="connsiteX75" fmla="*/ 374073 w 620170"/>
                    <a:gd name="connsiteY75" fmla="*/ 385026 h 441764"/>
                    <a:gd name="connsiteX76" fmla="*/ 373755 w 620170"/>
                    <a:gd name="connsiteY76" fmla="*/ 385629 h 441764"/>
                    <a:gd name="connsiteX77" fmla="*/ 371921 w 620170"/>
                    <a:gd name="connsiteY77" fmla="*/ 386428 h 441764"/>
                    <a:gd name="connsiteX78" fmla="*/ 369868 w 620170"/>
                    <a:gd name="connsiteY78" fmla="*/ 388644 h 441764"/>
                    <a:gd name="connsiteX79" fmla="*/ 366404 w 620170"/>
                    <a:gd name="connsiteY79" fmla="*/ 389394 h 441764"/>
                    <a:gd name="connsiteX80" fmla="*/ 363152 w 620170"/>
                    <a:gd name="connsiteY80" fmla="*/ 389174 h 441764"/>
                    <a:gd name="connsiteX81" fmla="*/ 361400 w 620170"/>
                    <a:gd name="connsiteY81" fmla="*/ 388074 h 441764"/>
                    <a:gd name="connsiteX82" fmla="*/ 355964 w 620170"/>
                    <a:gd name="connsiteY82" fmla="*/ 382638 h 441764"/>
                    <a:gd name="connsiteX83" fmla="*/ 353976 w 620170"/>
                    <a:gd name="connsiteY83" fmla="*/ 380364 h 441764"/>
                    <a:gd name="connsiteX84" fmla="*/ 353927 w 620170"/>
                    <a:gd name="connsiteY84" fmla="*/ 378441 h 441764"/>
                    <a:gd name="connsiteX85" fmla="*/ 350210 w 620170"/>
                    <a:gd name="connsiteY85" fmla="*/ 371677 h 441764"/>
                    <a:gd name="connsiteX86" fmla="*/ 350227 w 620170"/>
                    <a:gd name="connsiteY86" fmla="*/ 370218 h 441764"/>
                    <a:gd name="connsiteX87" fmla="*/ 348931 w 620170"/>
                    <a:gd name="connsiteY87" fmla="*/ 368107 h 441764"/>
                    <a:gd name="connsiteX88" fmla="*/ 347497 w 620170"/>
                    <a:gd name="connsiteY88" fmla="*/ 367814 h 441764"/>
                    <a:gd name="connsiteX89" fmla="*/ 347170 w 620170"/>
                    <a:gd name="connsiteY89" fmla="*/ 365801 h 441764"/>
                    <a:gd name="connsiteX90" fmla="*/ 350145 w 620170"/>
                    <a:gd name="connsiteY90" fmla="*/ 361457 h 441764"/>
                    <a:gd name="connsiteX91" fmla="*/ 351987 w 620170"/>
                    <a:gd name="connsiteY91" fmla="*/ 357798 h 441764"/>
                    <a:gd name="connsiteX92" fmla="*/ 352191 w 620170"/>
                    <a:gd name="connsiteY92" fmla="*/ 356649 h 441764"/>
                    <a:gd name="connsiteX93" fmla="*/ 352109 w 620170"/>
                    <a:gd name="connsiteY93" fmla="*/ 354856 h 441764"/>
                    <a:gd name="connsiteX94" fmla="*/ 351661 w 620170"/>
                    <a:gd name="connsiteY94" fmla="*/ 350887 h 441764"/>
                    <a:gd name="connsiteX95" fmla="*/ 352044 w 620170"/>
                    <a:gd name="connsiteY95" fmla="*/ 349167 h 441764"/>
                    <a:gd name="connsiteX96" fmla="*/ 350210 w 620170"/>
                    <a:gd name="connsiteY96" fmla="*/ 351441 h 441764"/>
                    <a:gd name="connsiteX97" fmla="*/ 349827 w 620170"/>
                    <a:gd name="connsiteY97" fmla="*/ 353120 h 441764"/>
                    <a:gd name="connsiteX98" fmla="*/ 350275 w 620170"/>
                    <a:gd name="connsiteY98" fmla="*/ 354815 h 441764"/>
                    <a:gd name="connsiteX99" fmla="*/ 349990 w 620170"/>
                    <a:gd name="connsiteY99" fmla="*/ 356754 h 441764"/>
                    <a:gd name="connsiteX100" fmla="*/ 348931 w 620170"/>
                    <a:gd name="connsiteY100" fmla="*/ 359460 h 441764"/>
                    <a:gd name="connsiteX101" fmla="*/ 347113 w 620170"/>
                    <a:gd name="connsiteY101" fmla="*/ 362313 h 441764"/>
                    <a:gd name="connsiteX102" fmla="*/ 343365 w 620170"/>
                    <a:gd name="connsiteY102" fmla="*/ 363682 h 441764"/>
                    <a:gd name="connsiteX103" fmla="*/ 336755 w 620170"/>
                    <a:gd name="connsiteY103" fmla="*/ 362924 h 441764"/>
                    <a:gd name="connsiteX104" fmla="*/ 335989 w 620170"/>
                    <a:gd name="connsiteY104" fmla="*/ 362557 h 441764"/>
                    <a:gd name="connsiteX105" fmla="*/ 335524 w 620170"/>
                    <a:gd name="connsiteY105" fmla="*/ 361571 h 441764"/>
                    <a:gd name="connsiteX106" fmla="*/ 335190 w 620170"/>
                    <a:gd name="connsiteY106" fmla="*/ 357358 h 441764"/>
                    <a:gd name="connsiteX107" fmla="*/ 334791 w 620170"/>
                    <a:gd name="connsiteY107" fmla="*/ 357879 h 441764"/>
                    <a:gd name="connsiteX108" fmla="*/ 334041 w 620170"/>
                    <a:gd name="connsiteY108" fmla="*/ 360120 h 441764"/>
                    <a:gd name="connsiteX109" fmla="*/ 333438 w 620170"/>
                    <a:gd name="connsiteY109" fmla="*/ 363331 h 441764"/>
                    <a:gd name="connsiteX110" fmla="*/ 332664 w 620170"/>
                    <a:gd name="connsiteY110" fmla="*/ 364057 h 441764"/>
                    <a:gd name="connsiteX111" fmla="*/ 331262 w 620170"/>
                    <a:gd name="connsiteY111" fmla="*/ 364122 h 441764"/>
                    <a:gd name="connsiteX112" fmla="*/ 330186 w 620170"/>
                    <a:gd name="connsiteY112" fmla="*/ 363608 h 441764"/>
                    <a:gd name="connsiteX113" fmla="*/ 329412 w 620170"/>
                    <a:gd name="connsiteY113" fmla="*/ 362525 h 441764"/>
                    <a:gd name="connsiteX114" fmla="*/ 327741 w 620170"/>
                    <a:gd name="connsiteY114" fmla="*/ 362427 h 441764"/>
                    <a:gd name="connsiteX115" fmla="*/ 324636 w 620170"/>
                    <a:gd name="connsiteY115" fmla="*/ 363274 h 441764"/>
                    <a:gd name="connsiteX116" fmla="*/ 323170 w 620170"/>
                    <a:gd name="connsiteY116" fmla="*/ 362940 h 441764"/>
                    <a:gd name="connsiteX117" fmla="*/ 321434 w 620170"/>
                    <a:gd name="connsiteY117" fmla="*/ 362908 h 441764"/>
                    <a:gd name="connsiteX118" fmla="*/ 317905 w 620170"/>
                    <a:gd name="connsiteY118" fmla="*/ 361962 h 441764"/>
                    <a:gd name="connsiteX119" fmla="*/ 313740 w 620170"/>
                    <a:gd name="connsiteY119" fmla="*/ 361726 h 441764"/>
                    <a:gd name="connsiteX120" fmla="*/ 312616 w 620170"/>
                    <a:gd name="connsiteY120" fmla="*/ 360992 h 441764"/>
                    <a:gd name="connsiteX121" fmla="*/ 312673 w 620170"/>
                    <a:gd name="connsiteY121" fmla="*/ 359607 h 441764"/>
                    <a:gd name="connsiteX122" fmla="*/ 313455 w 620170"/>
                    <a:gd name="connsiteY122" fmla="*/ 358906 h 441764"/>
                    <a:gd name="connsiteX123" fmla="*/ 317848 w 620170"/>
                    <a:gd name="connsiteY123" fmla="*/ 358287 h 441764"/>
                    <a:gd name="connsiteX124" fmla="*/ 322102 w 620170"/>
                    <a:gd name="connsiteY124" fmla="*/ 356803 h 441764"/>
                    <a:gd name="connsiteX125" fmla="*/ 326315 w 620170"/>
                    <a:gd name="connsiteY125" fmla="*/ 356070 h 441764"/>
                    <a:gd name="connsiteX126" fmla="*/ 326152 w 620170"/>
                    <a:gd name="connsiteY126" fmla="*/ 355312 h 441764"/>
                    <a:gd name="connsiteX127" fmla="*/ 324253 w 620170"/>
                    <a:gd name="connsiteY127" fmla="*/ 355084 h 441764"/>
                    <a:gd name="connsiteX128" fmla="*/ 314588 w 620170"/>
                    <a:gd name="connsiteY128" fmla="*/ 356722 h 441764"/>
                    <a:gd name="connsiteX129" fmla="*/ 311548 w 620170"/>
                    <a:gd name="connsiteY129" fmla="*/ 356526 h 441764"/>
                    <a:gd name="connsiteX130" fmla="*/ 311018 w 620170"/>
                    <a:gd name="connsiteY130" fmla="*/ 356257 h 441764"/>
                    <a:gd name="connsiteX131" fmla="*/ 310945 w 620170"/>
                    <a:gd name="connsiteY131" fmla="*/ 354603 h 441764"/>
                    <a:gd name="connsiteX132" fmla="*/ 312070 w 620170"/>
                    <a:gd name="connsiteY132" fmla="*/ 353030 h 441764"/>
                    <a:gd name="connsiteX133" fmla="*/ 313928 w 620170"/>
                    <a:gd name="connsiteY133" fmla="*/ 351571 h 441764"/>
                    <a:gd name="connsiteX134" fmla="*/ 314490 w 620170"/>
                    <a:gd name="connsiteY134" fmla="*/ 350455 h 441764"/>
                    <a:gd name="connsiteX135" fmla="*/ 313414 w 620170"/>
                    <a:gd name="connsiteY135" fmla="*/ 349990 h 441764"/>
                    <a:gd name="connsiteX136" fmla="*/ 311678 w 620170"/>
                    <a:gd name="connsiteY136" fmla="*/ 350292 h 441764"/>
                    <a:gd name="connsiteX137" fmla="*/ 310847 w 620170"/>
                    <a:gd name="connsiteY137" fmla="*/ 349403 h 441764"/>
                    <a:gd name="connsiteX138" fmla="*/ 311768 w 620170"/>
                    <a:gd name="connsiteY138" fmla="*/ 345940 h 441764"/>
                    <a:gd name="connsiteX139" fmla="*/ 310953 w 620170"/>
                    <a:gd name="connsiteY139" fmla="*/ 342403 h 441764"/>
                    <a:gd name="connsiteX140" fmla="*/ 309828 w 620170"/>
                    <a:gd name="connsiteY140" fmla="*/ 345761 h 441764"/>
                    <a:gd name="connsiteX141" fmla="*/ 308117 w 620170"/>
                    <a:gd name="connsiteY141" fmla="*/ 347602 h 441764"/>
                    <a:gd name="connsiteX142" fmla="*/ 299967 w 620170"/>
                    <a:gd name="connsiteY142" fmla="*/ 348393 h 441764"/>
                    <a:gd name="connsiteX143" fmla="*/ 298631 w 620170"/>
                    <a:gd name="connsiteY143" fmla="*/ 349379 h 441764"/>
                    <a:gd name="connsiteX144" fmla="*/ 297555 w 620170"/>
                    <a:gd name="connsiteY144" fmla="*/ 349354 h 441764"/>
                    <a:gd name="connsiteX145" fmla="*/ 292347 w 620170"/>
                    <a:gd name="connsiteY145" fmla="*/ 347578 h 441764"/>
                    <a:gd name="connsiteX146" fmla="*/ 290131 w 620170"/>
                    <a:gd name="connsiteY146" fmla="*/ 346494 h 441764"/>
                    <a:gd name="connsiteX147" fmla="*/ 288044 w 620170"/>
                    <a:gd name="connsiteY147" fmla="*/ 344880 h 441764"/>
                    <a:gd name="connsiteX148" fmla="*/ 284328 w 620170"/>
                    <a:gd name="connsiteY148" fmla="*/ 341278 h 441764"/>
                    <a:gd name="connsiteX149" fmla="*/ 281418 w 620170"/>
                    <a:gd name="connsiteY149" fmla="*/ 338931 h 441764"/>
                    <a:gd name="connsiteX150" fmla="*/ 281264 w 620170"/>
                    <a:gd name="connsiteY150" fmla="*/ 334603 h 441764"/>
                    <a:gd name="connsiteX151" fmla="*/ 281891 w 620170"/>
                    <a:gd name="connsiteY151" fmla="*/ 331849 h 441764"/>
                    <a:gd name="connsiteX152" fmla="*/ 283293 w 620170"/>
                    <a:gd name="connsiteY152" fmla="*/ 328760 h 441764"/>
                    <a:gd name="connsiteX153" fmla="*/ 288582 w 620170"/>
                    <a:gd name="connsiteY153" fmla="*/ 322094 h 441764"/>
                    <a:gd name="connsiteX154" fmla="*/ 290391 w 620170"/>
                    <a:gd name="connsiteY154" fmla="*/ 320822 h 441764"/>
                    <a:gd name="connsiteX155" fmla="*/ 292021 w 620170"/>
                    <a:gd name="connsiteY155" fmla="*/ 320390 h 441764"/>
                    <a:gd name="connsiteX156" fmla="*/ 299780 w 620170"/>
                    <a:gd name="connsiteY156" fmla="*/ 319804 h 441764"/>
                    <a:gd name="connsiteX157" fmla="*/ 305550 w 620170"/>
                    <a:gd name="connsiteY157" fmla="*/ 318964 h 441764"/>
                    <a:gd name="connsiteX158" fmla="*/ 306642 w 620170"/>
                    <a:gd name="connsiteY158" fmla="*/ 318573 h 441764"/>
                    <a:gd name="connsiteX159" fmla="*/ 298142 w 620170"/>
                    <a:gd name="connsiteY159" fmla="*/ 318076 h 441764"/>
                    <a:gd name="connsiteX160" fmla="*/ 290587 w 620170"/>
                    <a:gd name="connsiteY160" fmla="*/ 318418 h 441764"/>
                    <a:gd name="connsiteX161" fmla="*/ 288012 w 620170"/>
                    <a:gd name="connsiteY161" fmla="*/ 319469 h 441764"/>
                    <a:gd name="connsiteX162" fmla="*/ 284711 w 620170"/>
                    <a:gd name="connsiteY162" fmla="*/ 323748 h 441764"/>
                    <a:gd name="connsiteX163" fmla="*/ 283872 w 620170"/>
                    <a:gd name="connsiteY163" fmla="*/ 325557 h 441764"/>
                    <a:gd name="connsiteX164" fmla="*/ 283000 w 620170"/>
                    <a:gd name="connsiteY164" fmla="*/ 326869 h 441764"/>
                    <a:gd name="connsiteX165" fmla="*/ 282413 w 620170"/>
                    <a:gd name="connsiteY165" fmla="*/ 326902 h 441764"/>
                    <a:gd name="connsiteX166" fmla="*/ 281280 w 620170"/>
                    <a:gd name="connsiteY166" fmla="*/ 326437 h 441764"/>
                    <a:gd name="connsiteX167" fmla="*/ 280921 w 620170"/>
                    <a:gd name="connsiteY167" fmla="*/ 325875 h 441764"/>
                    <a:gd name="connsiteX168" fmla="*/ 280449 w 620170"/>
                    <a:gd name="connsiteY168" fmla="*/ 324473 h 441764"/>
                    <a:gd name="connsiteX169" fmla="*/ 278680 w 620170"/>
                    <a:gd name="connsiteY169" fmla="*/ 322249 h 441764"/>
                    <a:gd name="connsiteX170" fmla="*/ 277898 w 620170"/>
                    <a:gd name="connsiteY170" fmla="*/ 319689 h 441764"/>
                    <a:gd name="connsiteX171" fmla="*/ 277433 w 620170"/>
                    <a:gd name="connsiteY171" fmla="*/ 315916 h 441764"/>
                    <a:gd name="connsiteX172" fmla="*/ 277580 w 620170"/>
                    <a:gd name="connsiteY172" fmla="*/ 314229 h 441764"/>
                    <a:gd name="connsiteX173" fmla="*/ 278403 w 620170"/>
                    <a:gd name="connsiteY173" fmla="*/ 312078 h 441764"/>
                    <a:gd name="connsiteX174" fmla="*/ 280938 w 620170"/>
                    <a:gd name="connsiteY174" fmla="*/ 307840 h 441764"/>
                    <a:gd name="connsiteX175" fmla="*/ 277694 w 620170"/>
                    <a:gd name="connsiteY175" fmla="*/ 307954 h 441764"/>
                    <a:gd name="connsiteX176" fmla="*/ 278069 w 620170"/>
                    <a:gd name="connsiteY176" fmla="*/ 304384 h 441764"/>
                    <a:gd name="connsiteX177" fmla="*/ 279259 w 620170"/>
                    <a:gd name="connsiteY177" fmla="*/ 300505 h 441764"/>
                    <a:gd name="connsiteX178" fmla="*/ 282290 w 620170"/>
                    <a:gd name="connsiteY178" fmla="*/ 298207 h 441764"/>
                    <a:gd name="connsiteX179" fmla="*/ 285355 w 620170"/>
                    <a:gd name="connsiteY179" fmla="*/ 296544 h 441764"/>
                    <a:gd name="connsiteX180" fmla="*/ 288126 w 620170"/>
                    <a:gd name="connsiteY180" fmla="*/ 294368 h 441764"/>
                    <a:gd name="connsiteX181" fmla="*/ 292983 w 620170"/>
                    <a:gd name="connsiteY181" fmla="*/ 292918 h 441764"/>
                    <a:gd name="connsiteX182" fmla="*/ 294637 w 620170"/>
                    <a:gd name="connsiteY182" fmla="*/ 295900 h 441764"/>
                    <a:gd name="connsiteX183" fmla="*/ 298794 w 620170"/>
                    <a:gd name="connsiteY183" fmla="*/ 296805 h 441764"/>
                    <a:gd name="connsiteX184" fmla="*/ 299992 w 620170"/>
                    <a:gd name="connsiteY184" fmla="*/ 298142 h 441764"/>
                    <a:gd name="connsiteX185" fmla="*/ 301467 w 620170"/>
                    <a:gd name="connsiteY185" fmla="*/ 300603 h 441764"/>
                    <a:gd name="connsiteX186" fmla="*/ 303292 w 620170"/>
                    <a:gd name="connsiteY186" fmla="*/ 302950 h 441764"/>
                    <a:gd name="connsiteX187" fmla="*/ 305476 w 620170"/>
                    <a:gd name="connsiteY187" fmla="*/ 305183 h 441764"/>
                    <a:gd name="connsiteX188" fmla="*/ 306080 w 620170"/>
                    <a:gd name="connsiteY188" fmla="*/ 305338 h 441764"/>
                    <a:gd name="connsiteX189" fmla="*/ 305126 w 620170"/>
                    <a:gd name="connsiteY189" fmla="*/ 303423 h 441764"/>
                    <a:gd name="connsiteX190" fmla="*/ 301589 w 620170"/>
                    <a:gd name="connsiteY190" fmla="*/ 299225 h 441764"/>
                    <a:gd name="connsiteX191" fmla="*/ 301434 w 620170"/>
                    <a:gd name="connsiteY191" fmla="*/ 297742 h 441764"/>
                    <a:gd name="connsiteX192" fmla="*/ 300521 w 620170"/>
                    <a:gd name="connsiteY192" fmla="*/ 296137 h 441764"/>
                    <a:gd name="connsiteX193" fmla="*/ 295827 w 620170"/>
                    <a:gd name="connsiteY193" fmla="*/ 293814 h 441764"/>
                    <a:gd name="connsiteX194" fmla="*/ 294996 w 620170"/>
                    <a:gd name="connsiteY194" fmla="*/ 292926 h 441764"/>
                    <a:gd name="connsiteX195" fmla="*/ 294165 w 620170"/>
                    <a:gd name="connsiteY195" fmla="*/ 290595 h 441764"/>
                    <a:gd name="connsiteX196" fmla="*/ 293814 w 620170"/>
                    <a:gd name="connsiteY196" fmla="*/ 289079 h 441764"/>
                    <a:gd name="connsiteX197" fmla="*/ 294336 w 620170"/>
                    <a:gd name="connsiteY197" fmla="*/ 287612 h 441764"/>
                    <a:gd name="connsiteX198" fmla="*/ 299103 w 620170"/>
                    <a:gd name="connsiteY198" fmla="*/ 283130 h 441764"/>
                    <a:gd name="connsiteX199" fmla="*/ 300187 w 620170"/>
                    <a:gd name="connsiteY199" fmla="*/ 280775 h 441764"/>
                    <a:gd name="connsiteX200" fmla="*/ 300187 w 620170"/>
                    <a:gd name="connsiteY200" fmla="*/ 279658 h 441764"/>
                    <a:gd name="connsiteX201" fmla="*/ 299821 w 620170"/>
                    <a:gd name="connsiteY201" fmla="*/ 278403 h 441764"/>
                    <a:gd name="connsiteX202" fmla="*/ 298786 w 620170"/>
                    <a:gd name="connsiteY202" fmla="*/ 276243 h 441764"/>
                    <a:gd name="connsiteX203" fmla="*/ 298508 w 620170"/>
                    <a:gd name="connsiteY203" fmla="*/ 276243 h 441764"/>
                    <a:gd name="connsiteX204" fmla="*/ 298834 w 620170"/>
                    <a:gd name="connsiteY204" fmla="*/ 279528 h 441764"/>
                    <a:gd name="connsiteX205" fmla="*/ 298663 w 620170"/>
                    <a:gd name="connsiteY205" fmla="*/ 280815 h 441764"/>
                    <a:gd name="connsiteX206" fmla="*/ 298125 w 620170"/>
                    <a:gd name="connsiteY206" fmla="*/ 282241 h 441764"/>
                    <a:gd name="connsiteX207" fmla="*/ 297343 w 620170"/>
                    <a:gd name="connsiteY207" fmla="*/ 283325 h 441764"/>
                    <a:gd name="connsiteX208" fmla="*/ 296333 w 620170"/>
                    <a:gd name="connsiteY208" fmla="*/ 284067 h 441764"/>
                    <a:gd name="connsiteX209" fmla="*/ 286113 w 620170"/>
                    <a:gd name="connsiteY209" fmla="*/ 294246 h 441764"/>
                    <a:gd name="connsiteX210" fmla="*/ 285094 w 620170"/>
                    <a:gd name="connsiteY210" fmla="*/ 294849 h 441764"/>
                    <a:gd name="connsiteX211" fmla="*/ 281304 w 620170"/>
                    <a:gd name="connsiteY211" fmla="*/ 295770 h 441764"/>
                    <a:gd name="connsiteX212" fmla="*/ 279357 w 620170"/>
                    <a:gd name="connsiteY212" fmla="*/ 296846 h 441764"/>
                    <a:gd name="connsiteX213" fmla="*/ 278305 w 620170"/>
                    <a:gd name="connsiteY213" fmla="*/ 298272 h 441764"/>
                    <a:gd name="connsiteX214" fmla="*/ 276626 w 620170"/>
                    <a:gd name="connsiteY214" fmla="*/ 301988 h 441764"/>
                    <a:gd name="connsiteX215" fmla="*/ 274320 w 620170"/>
                    <a:gd name="connsiteY215" fmla="*/ 309421 h 441764"/>
                    <a:gd name="connsiteX216" fmla="*/ 271671 w 620170"/>
                    <a:gd name="connsiteY216" fmla="*/ 315419 h 441764"/>
                    <a:gd name="connsiteX217" fmla="*/ 269406 w 620170"/>
                    <a:gd name="connsiteY217" fmla="*/ 307644 h 441764"/>
                    <a:gd name="connsiteX218" fmla="*/ 265331 w 620170"/>
                    <a:gd name="connsiteY218" fmla="*/ 301687 h 441764"/>
                    <a:gd name="connsiteX219" fmla="*/ 273277 w 620170"/>
                    <a:gd name="connsiteY219" fmla="*/ 295778 h 441764"/>
                    <a:gd name="connsiteX220" fmla="*/ 273481 w 620170"/>
                    <a:gd name="connsiteY220" fmla="*/ 294874 h 441764"/>
                    <a:gd name="connsiteX221" fmla="*/ 272706 w 620170"/>
                    <a:gd name="connsiteY221" fmla="*/ 291711 h 441764"/>
                    <a:gd name="connsiteX222" fmla="*/ 272926 w 620170"/>
                    <a:gd name="connsiteY222" fmla="*/ 290750 h 441764"/>
                    <a:gd name="connsiteX223" fmla="*/ 273676 w 620170"/>
                    <a:gd name="connsiteY223" fmla="*/ 289356 h 441764"/>
                    <a:gd name="connsiteX224" fmla="*/ 275689 w 620170"/>
                    <a:gd name="connsiteY224" fmla="*/ 287335 h 441764"/>
                    <a:gd name="connsiteX225" fmla="*/ 275616 w 620170"/>
                    <a:gd name="connsiteY225" fmla="*/ 287123 h 441764"/>
                    <a:gd name="connsiteX226" fmla="*/ 273261 w 620170"/>
                    <a:gd name="connsiteY226" fmla="*/ 287848 h 441764"/>
                    <a:gd name="connsiteX227" fmla="*/ 269642 w 620170"/>
                    <a:gd name="connsiteY227" fmla="*/ 292437 h 441764"/>
                    <a:gd name="connsiteX228" fmla="*/ 268224 w 620170"/>
                    <a:gd name="connsiteY228" fmla="*/ 293912 h 441764"/>
                    <a:gd name="connsiteX229" fmla="*/ 267466 w 620170"/>
                    <a:gd name="connsiteY229" fmla="*/ 294108 h 441764"/>
                    <a:gd name="connsiteX230" fmla="*/ 267385 w 620170"/>
                    <a:gd name="connsiteY230" fmla="*/ 291418 h 441764"/>
                    <a:gd name="connsiteX231" fmla="*/ 269324 w 620170"/>
                    <a:gd name="connsiteY231" fmla="*/ 284426 h 441764"/>
                    <a:gd name="connsiteX232" fmla="*/ 270922 w 620170"/>
                    <a:gd name="connsiteY232" fmla="*/ 277621 h 441764"/>
                    <a:gd name="connsiteX233" fmla="*/ 271500 w 620170"/>
                    <a:gd name="connsiteY233" fmla="*/ 275673 h 441764"/>
                    <a:gd name="connsiteX234" fmla="*/ 272878 w 620170"/>
                    <a:gd name="connsiteY234" fmla="*/ 273709 h 441764"/>
                    <a:gd name="connsiteX235" fmla="*/ 271574 w 620170"/>
                    <a:gd name="connsiteY235" fmla="*/ 273855 h 441764"/>
                    <a:gd name="connsiteX236" fmla="*/ 265143 w 620170"/>
                    <a:gd name="connsiteY236" fmla="*/ 276887 h 441764"/>
                    <a:gd name="connsiteX237" fmla="*/ 262992 w 620170"/>
                    <a:gd name="connsiteY237" fmla="*/ 274988 h 441764"/>
                    <a:gd name="connsiteX238" fmla="*/ 261183 w 620170"/>
                    <a:gd name="connsiteY238" fmla="*/ 265119 h 441764"/>
                    <a:gd name="connsiteX239" fmla="*/ 258021 w 620170"/>
                    <a:gd name="connsiteY239" fmla="*/ 261256 h 441764"/>
                    <a:gd name="connsiteX240" fmla="*/ 252658 w 620170"/>
                    <a:gd name="connsiteY240" fmla="*/ 258094 h 441764"/>
                    <a:gd name="connsiteX241" fmla="*/ 247393 w 620170"/>
                    <a:gd name="connsiteY241" fmla="*/ 256627 h 441764"/>
                    <a:gd name="connsiteX242" fmla="*/ 246187 w 620170"/>
                    <a:gd name="connsiteY242" fmla="*/ 253807 h 441764"/>
                    <a:gd name="connsiteX243" fmla="*/ 245144 w 620170"/>
                    <a:gd name="connsiteY243" fmla="*/ 250384 h 441764"/>
                    <a:gd name="connsiteX244" fmla="*/ 246562 w 620170"/>
                    <a:gd name="connsiteY244" fmla="*/ 246350 h 441764"/>
                    <a:gd name="connsiteX245" fmla="*/ 248868 w 620170"/>
                    <a:gd name="connsiteY245" fmla="*/ 244435 h 441764"/>
                    <a:gd name="connsiteX246" fmla="*/ 250996 w 620170"/>
                    <a:gd name="connsiteY246" fmla="*/ 243571 h 441764"/>
                    <a:gd name="connsiteX247" fmla="*/ 253008 w 620170"/>
                    <a:gd name="connsiteY247" fmla="*/ 243970 h 441764"/>
                    <a:gd name="connsiteX248" fmla="*/ 253114 w 620170"/>
                    <a:gd name="connsiteY248" fmla="*/ 245445 h 441764"/>
                    <a:gd name="connsiteX249" fmla="*/ 251745 w 620170"/>
                    <a:gd name="connsiteY249" fmla="*/ 249423 h 441764"/>
                    <a:gd name="connsiteX250" fmla="*/ 253546 w 620170"/>
                    <a:gd name="connsiteY250" fmla="*/ 249806 h 441764"/>
                    <a:gd name="connsiteX251" fmla="*/ 260767 w 620170"/>
                    <a:gd name="connsiteY251" fmla="*/ 254630 h 441764"/>
                    <a:gd name="connsiteX252" fmla="*/ 262340 w 620170"/>
                    <a:gd name="connsiteY252" fmla="*/ 255030 h 441764"/>
                    <a:gd name="connsiteX253" fmla="*/ 265331 w 620170"/>
                    <a:gd name="connsiteY253" fmla="*/ 253163 h 441764"/>
                    <a:gd name="connsiteX254" fmla="*/ 266993 w 620170"/>
                    <a:gd name="connsiteY254" fmla="*/ 253237 h 441764"/>
                    <a:gd name="connsiteX255" fmla="*/ 270922 w 620170"/>
                    <a:gd name="connsiteY255" fmla="*/ 254744 h 441764"/>
                    <a:gd name="connsiteX256" fmla="*/ 272250 w 620170"/>
                    <a:gd name="connsiteY256" fmla="*/ 256554 h 441764"/>
                    <a:gd name="connsiteX257" fmla="*/ 275999 w 620170"/>
                    <a:gd name="connsiteY257" fmla="*/ 260107 h 441764"/>
                    <a:gd name="connsiteX258" fmla="*/ 275445 w 620170"/>
                    <a:gd name="connsiteY258" fmla="*/ 258037 h 441764"/>
                    <a:gd name="connsiteX259" fmla="*/ 271354 w 620170"/>
                    <a:gd name="connsiteY259" fmla="*/ 253685 h 441764"/>
                    <a:gd name="connsiteX260" fmla="*/ 269063 w 620170"/>
                    <a:gd name="connsiteY260" fmla="*/ 252283 h 441764"/>
                    <a:gd name="connsiteX261" fmla="*/ 265054 w 620170"/>
                    <a:gd name="connsiteY261" fmla="*/ 252022 h 441764"/>
                    <a:gd name="connsiteX262" fmla="*/ 262560 w 620170"/>
                    <a:gd name="connsiteY262" fmla="*/ 252748 h 441764"/>
                    <a:gd name="connsiteX263" fmla="*/ 261517 w 620170"/>
                    <a:gd name="connsiteY263" fmla="*/ 252536 h 441764"/>
                    <a:gd name="connsiteX264" fmla="*/ 259316 w 620170"/>
                    <a:gd name="connsiteY264" fmla="*/ 251427 h 441764"/>
                    <a:gd name="connsiteX265" fmla="*/ 257450 w 620170"/>
                    <a:gd name="connsiteY265" fmla="*/ 249610 h 441764"/>
                    <a:gd name="connsiteX266" fmla="*/ 255584 w 620170"/>
                    <a:gd name="connsiteY266" fmla="*/ 245617 h 441764"/>
                    <a:gd name="connsiteX267" fmla="*/ 255160 w 620170"/>
                    <a:gd name="connsiteY267" fmla="*/ 243750 h 441764"/>
                    <a:gd name="connsiteX268" fmla="*/ 255266 w 620170"/>
                    <a:gd name="connsiteY268" fmla="*/ 242373 h 441764"/>
                    <a:gd name="connsiteX269" fmla="*/ 255706 w 620170"/>
                    <a:gd name="connsiteY269" fmla="*/ 241126 h 441764"/>
                    <a:gd name="connsiteX270" fmla="*/ 256472 w 620170"/>
                    <a:gd name="connsiteY270" fmla="*/ 240001 h 441764"/>
                    <a:gd name="connsiteX271" fmla="*/ 258004 w 620170"/>
                    <a:gd name="connsiteY271" fmla="*/ 239186 h 441764"/>
                    <a:gd name="connsiteX272" fmla="*/ 260294 w 620170"/>
                    <a:gd name="connsiteY272" fmla="*/ 238681 h 441764"/>
                    <a:gd name="connsiteX273" fmla="*/ 260995 w 620170"/>
                    <a:gd name="connsiteY273" fmla="*/ 238192 h 441764"/>
                    <a:gd name="connsiteX274" fmla="*/ 258053 w 620170"/>
                    <a:gd name="connsiteY274" fmla="*/ 235902 h 441764"/>
                    <a:gd name="connsiteX275" fmla="*/ 256708 w 620170"/>
                    <a:gd name="connsiteY275" fmla="*/ 235902 h 441764"/>
                    <a:gd name="connsiteX276" fmla="*/ 252112 w 620170"/>
                    <a:gd name="connsiteY276" fmla="*/ 239252 h 441764"/>
                    <a:gd name="connsiteX277" fmla="*/ 251175 w 620170"/>
                    <a:gd name="connsiteY277" fmla="*/ 239521 h 441764"/>
                    <a:gd name="connsiteX278" fmla="*/ 250775 w 620170"/>
                    <a:gd name="connsiteY278" fmla="*/ 238869 h 441764"/>
                    <a:gd name="connsiteX279" fmla="*/ 250392 w 620170"/>
                    <a:gd name="connsiteY279" fmla="*/ 238812 h 441764"/>
                    <a:gd name="connsiteX280" fmla="*/ 249031 w 620170"/>
                    <a:gd name="connsiteY280" fmla="*/ 240466 h 441764"/>
                    <a:gd name="connsiteX281" fmla="*/ 247980 w 620170"/>
                    <a:gd name="connsiteY281" fmla="*/ 241208 h 441764"/>
                    <a:gd name="connsiteX282" fmla="*/ 244215 w 620170"/>
                    <a:gd name="connsiteY282" fmla="*/ 246334 h 441764"/>
                    <a:gd name="connsiteX283" fmla="*/ 243628 w 620170"/>
                    <a:gd name="connsiteY283" fmla="*/ 248779 h 441764"/>
                    <a:gd name="connsiteX284" fmla="*/ 243416 w 620170"/>
                    <a:gd name="connsiteY284" fmla="*/ 252438 h 441764"/>
                    <a:gd name="connsiteX285" fmla="*/ 242976 w 620170"/>
                    <a:gd name="connsiteY285" fmla="*/ 254728 h 441764"/>
                    <a:gd name="connsiteX286" fmla="*/ 242316 w 620170"/>
                    <a:gd name="connsiteY286" fmla="*/ 255665 h 441764"/>
                    <a:gd name="connsiteX287" fmla="*/ 237899 w 620170"/>
                    <a:gd name="connsiteY287" fmla="*/ 257417 h 441764"/>
                    <a:gd name="connsiteX288" fmla="*/ 235429 w 620170"/>
                    <a:gd name="connsiteY288" fmla="*/ 260914 h 441764"/>
                    <a:gd name="connsiteX289" fmla="*/ 232373 w 620170"/>
                    <a:gd name="connsiteY289" fmla="*/ 257841 h 441764"/>
                    <a:gd name="connsiteX290" fmla="*/ 229024 w 620170"/>
                    <a:gd name="connsiteY290" fmla="*/ 254867 h 441764"/>
                    <a:gd name="connsiteX291" fmla="*/ 226791 w 620170"/>
                    <a:gd name="connsiteY291" fmla="*/ 249659 h 441764"/>
                    <a:gd name="connsiteX292" fmla="*/ 222757 w 620170"/>
                    <a:gd name="connsiteY292" fmla="*/ 248746 h 441764"/>
                    <a:gd name="connsiteX293" fmla="*/ 218071 w 620170"/>
                    <a:gd name="connsiteY293" fmla="*/ 245804 h 441764"/>
                    <a:gd name="connsiteX294" fmla="*/ 216286 w 620170"/>
                    <a:gd name="connsiteY294" fmla="*/ 243180 h 441764"/>
                    <a:gd name="connsiteX295" fmla="*/ 218828 w 620170"/>
                    <a:gd name="connsiteY295" fmla="*/ 237777 h 441764"/>
                    <a:gd name="connsiteX296" fmla="*/ 222471 w 620170"/>
                    <a:gd name="connsiteY296" fmla="*/ 233694 h 441764"/>
                    <a:gd name="connsiteX297" fmla="*/ 223026 w 620170"/>
                    <a:gd name="connsiteY297" fmla="*/ 228796 h 441764"/>
                    <a:gd name="connsiteX298" fmla="*/ 223531 w 620170"/>
                    <a:gd name="connsiteY298" fmla="*/ 227736 h 441764"/>
                    <a:gd name="connsiteX299" fmla="*/ 229790 w 620170"/>
                    <a:gd name="connsiteY299" fmla="*/ 226522 h 441764"/>
                    <a:gd name="connsiteX300" fmla="*/ 233881 w 620170"/>
                    <a:gd name="connsiteY300" fmla="*/ 224085 h 441764"/>
                    <a:gd name="connsiteX301" fmla="*/ 229684 w 620170"/>
                    <a:gd name="connsiteY301" fmla="*/ 223865 h 441764"/>
                    <a:gd name="connsiteX302" fmla="*/ 227117 w 620170"/>
                    <a:gd name="connsiteY302" fmla="*/ 224232 h 441764"/>
                    <a:gd name="connsiteX303" fmla="*/ 222512 w 620170"/>
                    <a:gd name="connsiteY303" fmla="*/ 225927 h 441764"/>
                    <a:gd name="connsiteX304" fmla="*/ 217402 w 620170"/>
                    <a:gd name="connsiteY304" fmla="*/ 222561 h 441764"/>
                    <a:gd name="connsiteX305" fmla="*/ 214762 w 620170"/>
                    <a:gd name="connsiteY305" fmla="*/ 219489 h 441764"/>
                    <a:gd name="connsiteX306" fmla="*/ 213930 w 620170"/>
                    <a:gd name="connsiteY306" fmla="*/ 216864 h 441764"/>
                    <a:gd name="connsiteX307" fmla="*/ 214843 w 620170"/>
                    <a:gd name="connsiteY307" fmla="*/ 214648 h 441764"/>
                    <a:gd name="connsiteX308" fmla="*/ 214965 w 620170"/>
                    <a:gd name="connsiteY308" fmla="*/ 212390 h 441764"/>
                    <a:gd name="connsiteX309" fmla="*/ 215430 w 620170"/>
                    <a:gd name="connsiteY309" fmla="*/ 209334 h 441764"/>
                    <a:gd name="connsiteX310" fmla="*/ 215919 w 620170"/>
                    <a:gd name="connsiteY310" fmla="*/ 207989 h 441764"/>
                    <a:gd name="connsiteX311" fmla="*/ 216987 w 620170"/>
                    <a:gd name="connsiteY311" fmla="*/ 206286 h 441764"/>
                    <a:gd name="connsiteX312" fmla="*/ 219179 w 620170"/>
                    <a:gd name="connsiteY312" fmla="*/ 205153 h 441764"/>
                    <a:gd name="connsiteX313" fmla="*/ 221110 w 620170"/>
                    <a:gd name="connsiteY313" fmla="*/ 201633 h 441764"/>
                    <a:gd name="connsiteX314" fmla="*/ 221909 w 620170"/>
                    <a:gd name="connsiteY314" fmla="*/ 199188 h 441764"/>
                    <a:gd name="connsiteX315" fmla="*/ 225878 w 620170"/>
                    <a:gd name="connsiteY315" fmla="*/ 191820 h 441764"/>
                    <a:gd name="connsiteX316" fmla="*/ 227329 w 620170"/>
                    <a:gd name="connsiteY316" fmla="*/ 188634 h 441764"/>
                    <a:gd name="connsiteX317" fmla="*/ 230043 w 620170"/>
                    <a:gd name="connsiteY317" fmla="*/ 184216 h 441764"/>
                    <a:gd name="connsiteX318" fmla="*/ 235503 w 620170"/>
                    <a:gd name="connsiteY318" fmla="*/ 177265 h 441764"/>
                    <a:gd name="connsiteX319" fmla="*/ 233783 w 620170"/>
                    <a:gd name="connsiteY319" fmla="*/ 177656 h 441764"/>
                    <a:gd name="connsiteX320" fmla="*/ 232879 w 620170"/>
                    <a:gd name="connsiteY320" fmla="*/ 178251 h 441764"/>
                    <a:gd name="connsiteX321" fmla="*/ 232023 w 620170"/>
                    <a:gd name="connsiteY321" fmla="*/ 178178 h 441764"/>
                    <a:gd name="connsiteX322" fmla="*/ 231208 w 620170"/>
                    <a:gd name="connsiteY322" fmla="*/ 177436 h 441764"/>
                    <a:gd name="connsiteX323" fmla="*/ 230434 w 620170"/>
                    <a:gd name="connsiteY323" fmla="*/ 175904 h 441764"/>
                    <a:gd name="connsiteX324" fmla="*/ 229692 w 620170"/>
                    <a:gd name="connsiteY324" fmla="*/ 173557 h 441764"/>
                    <a:gd name="connsiteX325" fmla="*/ 229276 w 620170"/>
                    <a:gd name="connsiteY325" fmla="*/ 174584 h 441764"/>
                    <a:gd name="connsiteX326" fmla="*/ 229187 w 620170"/>
                    <a:gd name="connsiteY326" fmla="*/ 178984 h 441764"/>
                    <a:gd name="connsiteX327" fmla="*/ 228641 w 620170"/>
                    <a:gd name="connsiteY327" fmla="*/ 182741 h 441764"/>
                    <a:gd name="connsiteX328" fmla="*/ 227663 w 620170"/>
                    <a:gd name="connsiteY328" fmla="*/ 185349 h 441764"/>
                    <a:gd name="connsiteX329" fmla="*/ 224982 w 620170"/>
                    <a:gd name="connsiteY329" fmla="*/ 190655 h 441764"/>
                    <a:gd name="connsiteX330" fmla="*/ 223409 w 620170"/>
                    <a:gd name="connsiteY330" fmla="*/ 192717 h 441764"/>
                    <a:gd name="connsiteX331" fmla="*/ 222333 w 620170"/>
                    <a:gd name="connsiteY331" fmla="*/ 190793 h 441764"/>
                    <a:gd name="connsiteX332" fmla="*/ 223164 w 620170"/>
                    <a:gd name="connsiteY332" fmla="*/ 187476 h 441764"/>
                    <a:gd name="connsiteX333" fmla="*/ 224713 w 620170"/>
                    <a:gd name="connsiteY333" fmla="*/ 184836 h 441764"/>
                    <a:gd name="connsiteX334" fmla="*/ 224982 w 620170"/>
                    <a:gd name="connsiteY334" fmla="*/ 181217 h 441764"/>
                    <a:gd name="connsiteX335" fmla="*/ 223515 w 620170"/>
                    <a:gd name="connsiteY335" fmla="*/ 176898 h 441764"/>
                    <a:gd name="connsiteX336" fmla="*/ 222626 w 620170"/>
                    <a:gd name="connsiteY336" fmla="*/ 173418 h 441764"/>
                    <a:gd name="connsiteX337" fmla="*/ 222300 w 620170"/>
                    <a:gd name="connsiteY337" fmla="*/ 170778 h 441764"/>
                    <a:gd name="connsiteX338" fmla="*/ 222251 w 620170"/>
                    <a:gd name="connsiteY338" fmla="*/ 168365 h 441764"/>
                    <a:gd name="connsiteX339" fmla="*/ 222488 w 620170"/>
                    <a:gd name="connsiteY339" fmla="*/ 166181 h 441764"/>
                    <a:gd name="connsiteX340" fmla="*/ 223107 w 620170"/>
                    <a:gd name="connsiteY340" fmla="*/ 163810 h 441764"/>
                    <a:gd name="connsiteX341" fmla="*/ 224101 w 620170"/>
                    <a:gd name="connsiteY341" fmla="*/ 161234 h 441764"/>
                    <a:gd name="connsiteX342" fmla="*/ 223979 w 620170"/>
                    <a:gd name="connsiteY342" fmla="*/ 160949 h 441764"/>
                    <a:gd name="connsiteX343" fmla="*/ 224256 w 620170"/>
                    <a:gd name="connsiteY343" fmla="*/ 158561 h 441764"/>
                    <a:gd name="connsiteX344" fmla="*/ 224036 w 620170"/>
                    <a:gd name="connsiteY344" fmla="*/ 156100 h 441764"/>
                    <a:gd name="connsiteX345" fmla="*/ 223213 w 620170"/>
                    <a:gd name="connsiteY345" fmla="*/ 154160 h 441764"/>
                    <a:gd name="connsiteX346" fmla="*/ 222178 w 620170"/>
                    <a:gd name="connsiteY346" fmla="*/ 152465 h 441764"/>
                    <a:gd name="connsiteX347" fmla="*/ 219277 w 620170"/>
                    <a:gd name="connsiteY347" fmla="*/ 153476 h 441764"/>
                    <a:gd name="connsiteX348" fmla="*/ 214354 w 620170"/>
                    <a:gd name="connsiteY348" fmla="*/ 151952 h 441764"/>
                    <a:gd name="connsiteX349" fmla="*/ 212765 w 620170"/>
                    <a:gd name="connsiteY349" fmla="*/ 147795 h 441764"/>
                    <a:gd name="connsiteX350" fmla="*/ 208503 w 620170"/>
                    <a:gd name="connsiteY350" fmla="*/ 146516 h 441764"/>
                    <a:gd name="connsiteX351" fmla="*/ 206205 w 620170"/>
                    <a:gd name="connsiteY351" fmla="*/ 143541 h 441764"/>
                    <a:gd name="connsiteX352" fmla="*/ 201527 w 620170"/>
                    <a:gd name="connsiteY352" fmla="*/ 142091 h 441764"/>
                    <a:gd name="connsiteX353" fmla="*/ 197737 w 620170"/>
                    <a:gd name="connsiteY353" fmla="*/ 141072 h 441764"/>
                    <a:gd name="connsiteX354" fmla="*/ 194852 w 620170"/>
                    <a:gd name="connsiteY354" fmla="*/ 139369 h 441764"/>
                    <a:gd name="connsiteX355" fmla="*/ 191462 w 620170"/>
                    <a:gd name="connsiteY355" fmla="*/ 137355 h 441764"/>
                    <a:gd name="connsiteX356" fmla="*/ 188080 w 620170"/>
                    <a:gd name="connsiteY356" fmla="*/ 135212 h 441764"/>
                    <a:gd name="connsiteX357" fmla="*/ 185521 w 620170"/>
                    <a:gd name="connsiteY357" fmla="*/ 133590 h 441764"/>
                    <a:gd name="connsiteX358" fmla="*/ 183630 w 620170"/>
                    <a:gd name="connsiteY358" fmla="*/ 133696 h 441764"/>
                    <a:gd name="connsiteX359" fmla="*/ 179343 w 620170"/>
                    <a:gd name="connsiteY359" fmla="*/ 133941 h 441764"/>
                    <a:gd name="connsiteX360" fmla="*/ 179131 w 620170"/>
                    <a:gd name="connsiteY360" fmla="*/ 130273 h 441764"/>
                    <a:gd name="connsiteX361" fmla="*/ 177819 w 620170"/>
                    <a:gd name="connsiteY361" fmla="*/ 128057 h 441764"/>
                    <a:gd name="connsiteX362" fmla="*/ 178308 w 620170"/>
                    <a:gd name="connsiteY362" fmla="*/ 126093 h 441764"/>
                    <a:gd name="connsiteX363" fmla="*/ 175920 w 620170"/>
                    <a:gd name="connsiteY363" fmla="*/ 125090 h 441764"/>
                    <a:gd name="connsiteX364" fmla="*/ 172408 w 620170"/>
                    <a:gd name="connsiteY364" fmla="*/ 123615 h 441764"/>
                    <a:gd name="connsiteX365" fmla="*/ 173435 w 620170"/>
                    <a:gd name="connsiteY365" fmla="*/ 119874 h 441764"/>
                    <a:gd name="connsiteX366" fmla="*/ 174209 w 620170"/>
                    <a:gd name="connsiteY366" fmla="*/ 117038 h 441764"/>
                    <a:gd name="connsiteX367" fmla="*/ 171096 w 620170"/>
                    <a:gd name="connsiteY367" fmla="*/ 116191 h 441764"/>
                    <a:gd name="connsiteX368" fmla="*/ 166605 w 620170"/>
                    <a:gd name="connsiteY368" fmla="*/ 114985 h 441764"/>
                    <a:gd name="connsiteX369" fmla="*/ 168056 w 620170"/>
                    <a:gd name="connsiteY369" fmla="*/ 112426 h 441764"/>
                    <a:gd name="connsiteX370" fmla="*/ 169229 w 620170"/>
                    <a:gd name="connsiteY370" fmla="*/ 110364 h 441764"/>
                    <a:gd name="connsiteX371" fmla="*/ 167510 w 620170"/>
                    <a:gd name="connsiteY371" fmla="*/ 107340 h 441764"/>
                    <a:gd name="connsiteX372" fmla="*/ 164022 w 620170"/>
                    <a:gd name="connsiteY372" fmla="*/ 102271 h 441764"/>
                    <a:gd name="connsiteX373" fmla="*/ 161340 w 620170"/>
                    <a:gd name="connsiteY373" fmla="*/ 98636 h 441764"/>
                    <a:gd name="connsiteX374" fmla="*/ 157836 w 620170"/>
                    <a:gd name="connsiteY374" fmla="*/ 92980 h 441764"/>
                    <a:gd name="connsiteX375" fmla="*/ 154763 w 620170"/>
                    <a:gd name="connsiteY375" fmla="*/ 88001 h 441764"/>
                    <a:gd name="connsiteX376" fmla="*/ 152253 w 620170"/>
                    <a:gd name="connsiteY376" fmla="*/ 83926 h 441764"/>
                    <a:gd name="connsiteX377" fmla="*/ 150159 w 620170"/>
                    <a:gd name="connsiteY377" fmla="*/ 81114 h 441764"/>
                    <a:gd name="connsiteX378" fmla="*/ 147209 w 620170"/>
                    <a:gd name="connsiteY378" fmla="*/ 76070 h 441764"/>
                    <a:gd name="connsiteX379" fmla="*/ 143362 w 620170"/>
                    <a:gd name="connsiteY379" fmla="*/ 70381 h 441764"/>
                    <a:gd name="connsiteX380" fmla="*/ 139711 w 620170"/>
                    <a:gd name="connsiteY380" fmla="*/ 65899 h 441764"/>
                    <a:gd name="connsiteX381" fmla="*/ 140241 w 620170"/>
                    <a:gd name="connsiteY381" fmla="*/ 63006 h 441764"/>
                    <a:gd name="connsiteX382" fmla="*/ 136638 w 620170"/>
                    <a:gd name="connsiteY382" fmla="*/ 59363 h 441764"/>
                    <a:gd name="connsiteX383" fmla="*/ 133468 w 620170"/>
                    <a:gd name="connsiteY383" fmla="*/ 55679 h 441764"/>
                    <a:gd name="connsiteX384" fmla="*/ 129833 w 620170"/>
                    <a:gd name="connsiteY384" fmla="*/ 51433 h 441764"/>
                    <a:gd name="connsiteX385" fmla="*/ 126231 w 620170"/>
                    <a:gd name="connsiteY385" fmla="*/ 49347 h 441764"/>
                    <a:gd name="connsiteX386" fmla="*/ 123672 w 620170"/>
                    <a:gd name="connsiteY386" fmla="*/ 47855 h 441764"/>
                    <a:gd name="connsiteX387" fmla="*/ 119964 w 620170"/>
                    <a:gd name="connsiteY387" fmla="*/ 45720 h 441764"/>
                    <a:gd name="connsiteX388" fmla="*/ 118024 w 620170"/>
                    <a:gd name="connsiteY388" fmla="*/ 43797 h 441764"/>
                    <a:gd name="connsiteX389" fmla="*/ 117218 w 620170"/>
                    <a:gd name="connsiteY389" fmla="*/ 42167 h 441764"/>
                    <a:gd name="connsiteX390" fmla="*/ 116370 w 620170"/>
                    <a:gd name="connsiteY390" fmla="*/ 41018 h 441764"/>
                    <a:gd name="connsiteX391" fmla="*/ 115645 w 620170"/>
                    <a:gd name="connsiteY391" fmla="*/ 39420 h 441764"/>
                    <a:gd name="connsiteX392" fmla="*/ 115213 w 620170"/>
                    <a:gd name="connsiteY392" fmla="*/ 37554 h 441764"/>
                    <a:gd name="connsiteX393" fmla="*/ 114455 w 620170"/>
                    <a:gd name="connsiteY393" fmla="*/ 36405 h 441764"/>
                    <a:gd name="connsiteX394" fmla="*/ 109956 w 620170"/>
                    <a:gd name="connsiteY394" fmla="*/ 33634 h 441764"/>
                    <a:gd name="connsiteX395" fmla="*/ 108587 w 620170"/>
                    <a:gd name="connsiteY395" fmla="*/ 31898 h 441764"/>
                    <a:gd name="connsiteX396" fmla="*/ 105482 w 620170"/>
                    <a:gd name="connsiteY396" fmla="*/ 29893 h 441764"/>
                    <a:gd name="connsiteX397" fmla="*/ 102890 w 620170"/>
                    <a:gd name="connsiteY397" fmla="*/ 29046 h 441764"/>
                    <a:gd name="connsiteX398" fmla="*/ 101986 w 620170"/>
                    <a:gd name="connsiteY398" fmla="*/ 28369 h 441764"/>
                    <a:gd name="connsiteX399" fmla="*/ 98824 w 620170"/>
                    <a:gd name="connsiteY399" fmla="*/ 22290 h 441764"/>
                    <a:gd name="connsiteX400" fmla="*/ 99329 w 620170"/>
                    <a:gd name="connsiteY400" fmla="*/ 20122 h 441764"/>
                    <a:gd name="connsiteX401" fmla="*/ 99679 w 620170"/>
                    <a:gd name="connsiteY401" fmla="*/ 17946 h 441764"/>
                    <a:gd name="connsiteX402" fmla="*/ 99321 w 620170"/>
                    <a:gd name="connsiteY402" fmla="*/ 16837 h 441764"/>
                    <a:gd name="connsiteX403" fmla="*/ 94121 w 620170"/>
                    <a:gd name="connsiteY403" fmla="*/ 12216 h 441764"/>
                    <a:gd name="connsiteX404" fmla="*/ 91465 w 620170"/>
                    <a:gd name="connsiteY404" fmla="*/ 10293 h 441764"/>
                    <a:gd name="connsiteX405" fmla="*/ 88783 w 620170"/>
                    <a:gd name="connsiteY405" fmla="*/ 8305 h 441764"/>
                    <a:gd name="connsiteX406" fmla="*/ 83168 w 620170"/>
                    <a:gd name="connsiteY406" fmla="*/ 10872 h 441764"/>
                    <a:gd name="connsiteX407" fmla="*/ 77414 w 620170"/>
                    <a:gd name="connsiteY407" fmla="*/ 13504 h 441764"/>
                    <a:gd name="connsiteX408" fmla="*/ 73380 w 620170"/>
                    <a:gd name="connsiteY408" fmla="*/ 14474 h 441764"/>
                    <a:gd name="connsiteX409" fmla="*/ 67806 w 620170"/>
                    <a:gd name="connsiteY409" fmla="*/ 15811 h 441764"/>
                    <a:gd name="connsiteX410" fmla="*/ 69656 w 620170"/>
                    <a:gd name="connsiteY410" fmla="*/ 18663 h 441764"/>
                    <a:gd name="connsiteX411" fmla="*/ 68890 w 620170"/>
                    <a:gd name="connsiteY411" fmla="*/ 20757 h 441764"/>
                    <a:gd name="connsiteX412" fmla="*/ 67162 w 620170"/>
                    <a:gd name="connsiteY412" fmla="*/ 21719 h 441764"/>
                    <a:gd name="connsiteX413" fmla="*/ 64220 w 620170"/>
                    <a:gd name="connsiteY413" fmla="*/ 21597 h 441764"/>
                    <a:gd name="connsiteX414" fmla="*/ 64220 w 620170"/>
                    <a:gd name="connsiteY414" fmla="*/ 28703 h 441764"/>
                    <a:gd name="connsiteX415" fmla="*/ 61441 w 620170"/>
                    <a:gd name="connsiteY415" fmla="*/ 33764 h 441764"/>
                    <a:gd name="connsiteX416" fmla="*/ 55622 w 620170"/>
                    <a:gd name="connsiteY416" fmla="*/ 33846 h 441764"/>
                    <a:gd name="connsiteX417" fmla="*/ 52501 w 620170"/>
                    <a:gd name="connsiteY417" fmla="*/ 35582 h 441764"/>
                    <a:gd name="connsiteX418" fmla="*/ 47863 w 620170"/>
                    <a:gd name="connsiteY418" fmla="*/ 38165 h 441764"/>
                    <a:gd name="connsiteX419" fmla="*/ 44115 w 620170"/>
                    <a:gd name="connsiteY419" fmla="*/ 40243 h 441764"/>
                    <a:gd name="connsiteX420" fmla="*/ 40121 w 620170"/>
                    <a:gd name="connsiteY420" fmla="*/ 43609 h 441764"/>
                    <a:gd name="connsiteX421" fmla="*/ 38084 w 620170"/>
                    <a:gd name="connsiteY421" fmla="*/ 43120 h 441764"/>
                    <a:gd name="connsiteX422" fmla="*/ 38997 w 620170"/>
                    <a:gd name="connsiteY422" fmla="*/ 40121 h 441764"/>
                    <a:gd name="connsiteX423" fmla="*/ 37513 w 620170"/>
                    <a:gd name="connsiteY423" fmla="*/ 35052 h 441764"/>
                    <a:gd name="connsiteX424" fmla="*/ 36283 w 620170"/>
                    <a:gd name="connsiteY424" fmla="*/ 30822 h 441764"/>
                    <a:gd name="connsiteX425" fmla="*/ 33724 w 620170"/>
                    <a:gd name="connsiteY425" fmla="*/ 28646 h 441764"/>
                    <a:gd name="connsiteX426" fmla="*/ 29421 w 620170"/>
                    <a:gd name="connsiteY426" fmla="*/ 24979 h 441764"/>
                    <a:gd name="connsiteX427" fmla="*/ 26177 w 620170"/>
                    <a:gd name="connsiteY427" fmla="*/ 22232 h 441764"/>
                    <a:gd name="connsiteX428" fmla="*/ 21564 w 620170"/>
                    <a:gd name="connsiteY428" fmla="*/ 18304 h 441764"/>
                    <a:gd name="connsiteX429" fmla="*/ 18337 w 620170"/>
                    <a:gd name="connsiteY429" fmla="*/ 15558 h 441764"/>
                    <a:gd name="connsiteX430" fmla="*/ 14963 w 620170"/>
                    <a:gd name="connsiteY430" fmla="*/ 12681 h 441764"/>
                    <a:gd name="connsiteX431" fmla="*/ 10529 w 620170"/>
                    <a:gd name="connsiteY431" fmla="*/ 8908 h 441764"/>
                    <a:gd name="connsiteX432" fmla="*/ 8712 w 620170"/>
                    <a:gd name="connsiteY432" fmla="*/ 4001 h 441764"/>
                    <a:gd name="connsiteX433" fmla="*/ 4662 w 620170"/>
                    <a:gd name="connsiteY433" fmla="*/ 2225 h 441764"/>
                    <a:gd name="connsiteX434" fmla="*/ 326 w 620170"/>
                    <a:gd name="connsiteY434" fmla="*/ 334 h 441764"/>
                    <a:gd name="connsiteX435" fmla="*/ 0 w 620170"/>
                    <a:gd name="connsiteY435" fmla="*/ 0 h 441764"/>
                    <a:gd name="connsiteX436" fmla="*/ 472644 w 620170"/>
                    <a:gd name="connsiteY436" fmla="*/ 16 h 441764"/>
                    <a:gd name="connsiteX437" fmla="*/ 472619 w 620170"/>
                    <a:gd name="connsiteY437" fmla="*/ 238640 h 441764"/>
                    <a:gd name="connsiteX438" fmla="*/ 473320 w 620170"/>
                    <a:gd name="connsiteY438" fmla="*/ 240393 h 441764"/>
                    <a:gd name="connsiteX439" fmla="*/ 474697 w 620170"/>
                    <a:gd name="connsiteY439" fmla="*/ 241411 h 441764"/>
                    <a:gd name="connsiteX440" fmla="*/ 475015 w 620170"/>
                    <a:gd name="connsiteY440" fmla="*/ 243180 h 441764"/>
                    <a:gd name="connsiteX441" fmla="*/ 475504 w 620170"/>
                    <a:gd name="connsiteY441" fmla="*/ 243750 h 441764"/>
                    <a:gd name="connsiteX442" fmla="*/ 477314 w 620170"/>
                    <a:gd name="connsiteY442" fmla="*/ 244093 h 441764"/>
                    <a:gd name="connsiteX443" fmla="*/ 479221 w 620170"/>
                    <a:gd name="connsiteY443" fmla="*/ 246537 h 441764"/>
                    <a:gd name="connsiteX444" fmla="*/ 479017 w 620170"/>
                    <a:gd name="connsiteY444" fmla="*/ 247238 h 441764"/>
                    <a:gd name="connsiteX445" fmla="*/ 475447 w 620170"/>
                    <a:gd name="connsiteY445" fmla="*/ 247255 h 441764"/>
                    <a:gd name="connsiteX446" fmla="*/ 474673 w 620170"/>
                    <a:gd name="connsiteY446" fmla="*/ 247344 h 441764"/>
                    <a:gd name="connsiteX447" fmla="*/ 474608 w 620170"/>
                    <a:gd name="connsiteY447" fmla="*/ 247719 h 441764"/>
                    <a:gd name="connsiteX448" fmla="*/ 475219 w 620170"/>
                    <a:gd name="connsiteY448" fmla="*/ 249048 h 441764"/>
                    <a:gd name="connsiteX449" fmla="*/ 475276 w 620170"/>
                    <a:gd name="connsiteY449" fmla="*/ 250971 h 441764"/>
                    <a:gd name="connsiteX450" fmla="*/ 476238 w 620170"/>
                    <a:gd name="connsiteY450" fmla="*/ 251232 h 441764"/>
                    <a:gd name="connsiteX451" fmla="*/ 477118 w 620170"/>
                    <a:gd name="connsiteY451" fmla="*/ 251892 h 441764"/>
                    <a:gd name="connsiteX452" fmla="*/ 479506 w 620170"/>
                    <a:gd name="connsiteY452" fmla="*/ 255323 h 441764"/>
                    <a:gd name="connsiteX453" fmla="*/ 480582 w 620170"/>
                    <a:gd name="connsiteY453" fmla="*/ 256415 h 441764"/>
                    <a:gd name="connsiteX454" fmla="*/ 481380 w 620170"/>
                    <a:gd name="connsiteY454" fmla="*/ 256700 h 441764"/>
                    <a:gd name="connsiteX455" fmla="*/ 482749 w 620170"/>
                    <a:gd name="connsiteY455" fmla="*/ 256350 h 441764"/>
                    <a:gd name="connsiteX456" fmla="*/ 486653 w 620170"/>
                    <a:gd name="connsiteY456" fmla="*/ 256757 h 441764"/>
                    <a:gd name="connsiteX457" fmla="*/ 487525 w 620170"/>
                    <a:gd name="connsiteY457" fmla="*/ 257100 h 441764"/>
                    <a:gd name="connsiteX458" fmla="*/ 489783 w 620170"/>
                    <a:gd name="connsiteY458" fmla="*/ 261240 h 441764"/>
                    <a:gd name="connsiteX459" fmla="*/ 490973 w 620170"/>
                    <a:gd name="connsiteY459" fmla="*/ 262446 h 441764"/>
                    <a:gd name="connsiteX460" fmla="*/ 496319 w 620170"/>
                    <a:gd name="connsiteY460" fmla="*/ 264915 h 441764"/>
                    <a:gd name="connsiteX461" fmla="*/ 496897 w 620170"/>
                    <a:gd name="connsiteY461" fmla="*/ 265078 h 441764"/>
                    <a:gd name="connsiteX462" fmla="*/ 497044 w 620170"/>
                    <a:gd name="connsiteY462" fmla="*/ 262650 h 441764"/>
                    <a:gd name="connsiteX463" fmla="*/ 497631 w 620170"/>
                    <a:gd name="connsiteY463" fmla="*/ 261476 h 441764"/>
                    <a:gd name="connsiteX464" fmla="*/ 499570 w 620170"/>
                    <a:gd name="connsiteY464" fmla="*/ 262372 h 441764"/>
                    <a:gd name="connsiteX465" fmla="*/ 502317 w 620170"/>
                    <a:gd name="connsiteY465" fmla="*/ 264557 h 441764"/>
                    <a:gd name="connsiteX466" fmla="*/ 503059 w 620170"/>
                    <a:gd name="connsiteY466" fmla="*/ 265746 h 441764"/>
                    <a:gd name="connsiteX467" fmla="*/ 503238 w 620170"/>
                    <a:gd name="connsiteY467" fmla="*/ 267849 h 441764"/>
                    <a:gd name="connsiteX468" fmla="*/ 504102 w 620170"/>
                    <a:gd name="connsiteY468" fmla="*/ 268126 h 441764"/>
                    <a:gd name="connsiteX469" fmla="*/ 505422 w 620170"/>
                    <a:gd name="connsiteY469" fmla="*/ 269316 h 441764"/>
                    <a:gd name="connsiteX470" fmla="*/ 505675 w 620170"/>
                    <a:gd name="connsiteY470" fmla="*/ 271345 h 441764"/>
                    <a:gd name="connsiteX471" fmla="*/ 506604 w 620170"/>
                    <a:gd name="connsiteY471" fmla="*/ 273668 h 441764"/>
                    <a:gd name="connsiteX472" fmla="*/ 507223 w 620170"/>
                    <a:gd name="connsiteY472" fmla="*/ 274198 h 441764"/>
                    <a:gd name="connsiteX473" fmla="*/ 509798 w 620170"/>
                    <a:gd name="connsiteY473" fmla="*/ 274459 h 441764"/>
                    <a:gd name="connsiteX474" fmla="*/ 510418 w 620170"/>
                    <a:gd name="connsiteY474" fmla="*/ 274817 h 441764"/>
                    <a:gd name="connsiteX475" fmla="*/ 511616 w 620170"/>
                    <a:gd name="connsiteY475" fmla="*/ 276423 h 441764"/>
                    <a:gd name="connsiteX476" fmla="*/ 511999 w 620170"/>
                    <a:gd name="connsiteY476" fmla="*/ 278330 h 441764"/>
                    <a:gd name="connsiteX477" fmla="*/ 513360 w 620170"/>
                    <a:gd name="connsiteY477" fmla="*/ 279911 h 441764"/>
                    <a:gd name="connsiteX478" fmla="*/ 514053 w 620170"/>
                    <a:gd name="connsiteY478" fmla="*/ 281141 h 441764"/>
                    <a:gd name="connsiteX479" fmla="*/ 514321 w 620170"/>
                    <a:gd name="connsiteY479" fmla="*/ 282421 h 441764"/>
                    <a:gd name="connsiteX480" fmla="*/ 513555 w 620170"/>
                    <a:gd name="connsiteY480" fmla="*/ 284320 h 441764"/>
                    <a:gd name="connsiteX481" fmla="*/ 515088 w 620170"/>
                    <a:gd name="connsiteY481" fmla="*/ 286602 h 441764"/>
                    <a:gd name="connsiteX482" fmla="*/ 515634 w 620170"/>
                    <a:gd name="connsiteY482" fmla="*/ 288240 h 441764"/>
                    <a:gd name="connsiteX483" fmla="*/ 516652 w 620170"/>
                    <a:gd name="connsiteY483" fmla="*/ 289560 h 441764"/>
                    <a:gd name="connsiteX484" fmla="*/ 516114 w 620170"/>
                    <a:gd name="connsiteY484" fmla="*/ 291117 h 441764"/>
                    <a:gd name="connsiteX485" fmla="*/ 516204 w 620170"/>
                    <a:gd name="connsiteY485" fmla="*/ 292306 h 441764"/>
                    <a:gd name="connsiteX486" fmla="*/ 516750 w 620170"/>
                    <a:gd name="connsiteY486" fmla="*/ 293154 h 441764"/>
                    <a:gd name="connsiteX487" fmla="*/ 517484 w 620170"/>
                    <a:gd name="connsiteY487" fmla="*/ 293227 h 441764"/>
                    <a:gd name="connsiteX488" fmla="*/ 520735 w 620170"/>
                    <a:gd name="connsiteY488" fmla="*/ 292168 h 441764"/>
                    <a:gd name="connsiteX489" fmla="*/ 521127 w 620170"/>
                    <a:gd name="connsiteY489" fmla="*/ 291622 h 441764"/>
                    <a:gd name="connsiteX490" fmla="*/ 521518 w 620170"/>
                    <a:gd name="connsiteY490" fmla="*/ 290187 h 441764"/>
                    <a:gd name="connsiteX491" fmla="*/ 522178 w 620170"/>
                    <a:gd name="connsiteY491" fmla="*/ 289446 h 441764"/>
                    <a:gd name="connsiteX492" fmla="*/ 525128 w 620170"/>
                    <a:gd name="connsiteY492" fmla="*/ 291516 h 441764"/>
                    <a:gd name="connsiteX493" fmla="*/ 528233 w 620170"/>
                    <a:gd name="connsiteY493" fmla="*/ 292836 h 441764"/>
                    <a:gd name="connsiteX494" fmla="*/ 528877 w 620170"/>
                    <a:gd name="connsiteY494" fmla="*/ 293268 h 441764"/>
                    <a:gd name="connsiteX495" fmla="*/ 528804 w 620170"/>
                    <a:gd name="connsiteY495" fmla="*/ 294401 h 441764"/>
                    <a:gd name="connsiteX496" fmla="*/ 526644 w 620170"/>
                    <a:gd name="connsiteY496" fmla="*/ 297392 h 441764"/>
                    <a:gd name="connsiteX497" fmla="*/ 527492 w 620170"/>
                    <a:gd name="connsiteY497" fmla="*/ 298867 h 441764"/>
                    <a:gd name="connsiteX498" fmla="*/ 528412 w 620170"/>
                    <a:gd name="connsiteY498" fmla="*/ 299788 h 441764"/>
                    <a:gd name="connsiteX499" fmla="*/ 532463 w 620170"/>
                    <a:gd name="connsiteY499" fmla="*/ 302233 h 441764"/>
                    <a:gd name="connsiteX500" fmla="*/ 537483 w 620170"/>
                    <a:gd name="connsiteY500" fmla="*/ 302135 h 441764"/>
                    <a:gd name="connsiteX501" fmla="*/ 538412 w 620170"/>
                    <a:gd name="connsiteY501" fmla="*/ 301589 h 441764"/>
                    <a:gd name="connsiteX502" fmla="*/ 539089 w 620170"/>
                    <a:gd name="connsiteY502" fmla="*/ 301703 h 441764"/>
                    <a:gd name="connsiteX503" fmla="*/ 540963 w 620170"/>
                    <a:gd name="connsiteY503" fmla="*/ 305745 h 441764"/>
                    <a:gd name="connsiteX504" fmla="*/ 545119 w 620170"/>
                    <a:gd name="connsiteY504" fmla="*/ 310220 h 441764"/>
                    <a:gd name="connsiteX505" fmla="*/ 546105 w 620170"/>
                    <a:gd name="connsiteY505" fmla="*/ 311719 h 441764"/>
                    <a:gd name="connsiteX506" fmla="*/ 548542 w 620170"/>
                    <a:gd name="connsiteY506" fmla="*/ 317277 h 441764"/>
                    <a:gd name="connsiteX507" fmla="*/ 549186 w 620170"/>
                    <a:gd name="connsiteY507" fmla="*/ 318084 h 441764"/>
                    <a:gd name="connsiteX508" fmla="*/ 551240 w 620170"/>
                    <a:gd name="connsiteY508" fmla="*/ 318035 h 441764"/>
                    <a:gd name="connsiteX509" fmla="*/ 551615 w 620170"/>
                    <a:gd name="connsiteY509" fmla="*/ 317791 h 441764"/>
                    <a:gd name="connsiteX510" fmla="*/ 551769 w 620170"/>
                    <a:gd name="connsiteY510" fmla="*/ 316650 h 441764"/>
                    <a:gd name="connsiteX511" fmla="*/ 552201 w 620170"/>
                    <a:gd name="connsiteY511" fmla="*/ 315973 h 441764"/>
                    <a:gd name="connsiteX512" fmla="*/ 553008 w 620170"/>
                    <a:gd name="connsiteY512" fmla="*/ 315321 h 441764"/>
                    <a:gd name="connsiteX513" fmla="*/ 554019 w 620170"/>
                    <a:gd name="connsiteY513" fmla="*/ 314897 h 441764"/>
                    <a:gd name="connsiteX514" fmla="*/ 555103 w 620170"/>
                    <a:gd name="connsiteY514" fmla="*/ 315240 h 441764"/>
                    <a:gd name="connsiteX515" fmla="*/ 556097 w 620170"/>
                    <a:gd name="connsiteY515" fmla="*/ 316430 h 441764"/>
                    <a:gd name="connsiteX516" fmla="*/ 557751 w 620170"/>
                    <a:gd name="connsiteY516" fmla="*/ 320415 h 441764"/>
                    <a:gd name="connsiteX517" fmla="*/ 559381 w 620170"/>
                    <a:gd name="connsiteY517" fmla="*/ 321735 h 441764"/>
                    <a:gd name="connsiteX518" fmla="*/ 560473 w 620170"/>
                    <a:gd name="connsiteY518" fmla="*/ 323259 h 441764"/>
                    <a:gd name="connsiteX519" fmla="*/ 561639 w 620170"/>
                    <a:gd name="connsiteY519" fmla="*/ 324359 h 441764"/>
                    <a:gd name="connsiteX520" fmla="*/ 562478 w 620170"/>
                    <a:gd name="connsiteY520" fmla="*/ 326079 h 441764"/>
                    <a:gd name="connsiteX521" fmla="*/ 564141 w 620170"/>
                    <a:gd name="connsiteY521" fmla="*/ 327896 h 441764"/>
                    <a:gd name="connsiteX522" fmla="*/ 564915 w 620170"/>
                    <a:gd name="connsiteY522" fmla="*/ 331588 h 441764"/>
                    <a:gd name="connsiteX523" fmla="*/ 565616 w 620170"/>
                    <a:gd name="connsiteY523" fmla="*/ 332517 h 441764"/>
                    <a:gd name="connsiteX524" fmla="*/ 567450 w 620170"/>
                    <a:gd name="connsiteY524" fmla="*/ 333454 h 441764"/>
                    <a:gd name="connsiteX525" fmla="*/ 568476 w 620170"/>
                    <a:gd name="connsiteY525" fmla="*/ 334595 h 441764"/>
                    <a:gd name="connsiteX526" fmla="*/ 570473 w 620170"/>
                    <a:gd name="connsiteY526" fmla="*/ 335671 h 441764"/>
                    <a:gd name="connsiteX527" fmla="*/ 570783 w 620170"/>
                    <a:gd name="connsiteY527" fmla="*/ 335924 h 441764"/>
                    <a:gd name="connsiteX528" fmla="*/ 570954 w 620170"/>
                    <a:gd name="connsiteY528" fmla="*/ 336372 h 441764"/>
                    <a:gd name="connsiteX529" fmla="*/ 571484 w 620170"/>
                    <a:gd name="connsiteY529" fmla="*/ 338841 h 441764"/>
                    <a:gd name="connsiteX530" fmla="*/ 571875 w 620170"/>
                    <a:gd name="connsiteY530" fmla="*/ 339624 h 441764"/>
                    <a:gd name="connsiteX531" fmla="*/ 573293 w 620170"/>
                    <a:gd name="connsiteY531" fmla="*/ 340642 h 441764"/>
                    <a:gd name="connsiteX532" fmla="*/ 576928 w 620170"/>
                    <a:gd name="connsiteY532" fmla="*/ 341808 h 441764"/>
                    <a:gd name="connsiteX533" fmla="*/ 581263 w 620170"/>
                    <a:gd name="connsiteY533" fmla="*/ 345785 h 441764"/>
                    <a:gd name="connsiteX534" fmla="*/ 581834 w 620170"/>
                    <a:gd name="connsiteY534" fmla="*/ 346738 h 441764"/>
                    <a:gd name="connsiteX535" fmla="*/ 582030 w 620170"/>
                    <a:gd name="connsiteY535" fmla="*/ 347733 h 441764"/>
                    <a:gd name="connsiteX536" fmla="*/ 580742 w 620170"/>
                    <a:gd name="connsiteY536" fmla="*/ 349208 h 441764"/>
                    <a:gd name="connsiteX537" fmla="*/ 580889 w 620170"/>
                    <a:gd name="connsiteY537" fmla="*/ 349713 h 441764"/>
                    <a:gd name="connsiteX538" fmla="*/ 585868 w 620170"/>
                    <a:gd name="connsiteY538" fmla="*/ 353340 h 441764"/>
                    <a:gd name="connsiteX539" fmla="*/ 586716 w 620170"/>
                    <a:gd name="connsiteY539" fmla="*/ 354261 h 441764"/>
                    <a:gd name="connsiteX540" fmla="*/ 587025 w 620170"/>
                    <a:gd name="connsiteY540" fmla="*/ 354440 h 441764"/>
                    <a:gd name="connsiteX541" fmla="*/ 587286 w 620170"/>
                    <a:gd name="connsiteY541" fmla="*/ 354424 h 441764"/>
                    <a:gd name="connsiteX542" fmla="*/ 587677 w 620170"/>
                    <a:gd name="connsiteY542" fmla="*/ 354367 h 441764"/>
                    <a:gd name="connsiteX543" fmla="*/ 588011 w 620170"/>
                    <a:gd name="connsiteY543" fmla="*/ 354359 h 441764"/>
                    <a:gd name="connsiteX544" fmla="*/ 588297 w 620170"/>
                    <a:gd name="connsiteY544" fmla="*/ 354701 h 441764"/>
                    <a:gd name="connsiteX545" fmla="*/ 588892 w 620170"/>
                    <a:gd name="connsiteY545" fmla="*/ 355532 h 441764"/>
                    <a:gd name="connsiteX546" fmla="*/ 589209 w 620170"/>
                    <a:gd name="connsiteY546" fmla="*/ 356388 h 441764"/>
                    <a:gd name="connsiteX547" fmla="*/ 588981 w 620170"/>
                    <a:gd name="connsiteY547" fmla="*/ 357040 h 441764"/>
                    <a:gd name="connsiteX548" fmla="*/ 588900 w 620170"/>
                    <a:gd name="connsiteY548" fmla="*/ 357537 h 441764"/>
                    <a:gd name="connsiteX549" fmla="*/ 589038 w 620170"/>
                    <a:gd name="connsiteY549" fmla="*/ 357814 h 441764"/>
                    <a:gd name="connsiteX550" fmla="*/ 590000 w 620170"/>
                    <a:gd name="connsiteY550" fmla="*/ 359289 h 441764"/>
                    <a:gd name="connsiteX551" fmla="*/ 591100 w 620170"/>
                    <a:gd name="connsiteY551" fmla="*/ 360446 h 441764"/>
                    <a:gd name="connsiteX552" fmla="*/ 591508 w 620170"/>
                    <a:gd name="connsiteY552" fmla="*/ 360780 h 441764"/>
                    <a:gd name="connsiteX553" fmla="*/ 591931 w 620170"/>
                    <a:gd name="connsiteY553" fmla="*/ 360650 h 441764"/>
                    <a:gd name="connsiteX554" fmla="*/ 593447 w 620170"/>
                    <a:gd name="connsiteY554" fmla="*/ 359631 h 441764"/>
                    <a:gd name="connsiteX555" fmla="*/ 594352 w 620170"/>
                    <a:gd name="connsiteY555" fmla="*/ 359640 h 441764"/>
                    <a:gd name="connsiteX556" fmla="*/ 595428 w 620170"/>
                    <a:gd name="connsiteY556" fmla="*/ 359925 h 441764"/>
                    <a:gd name="connsiteX557" fmla="*/ 596797 w 620170"/>
                    <a:gd name="connsiteY557" fmla="*/ 361098 h 441764"/>
                    <a:gd name="connsiteX558" fmla="*/ 601850 w 620170"/>
                    <a:gd name="connsiteY558" fmla="*/ 367895 h 441764"/>
                    <a:gd name="connsiteX559" fmla="*/ 603659 w 620170"/>
                    <a:gd name="connsiteY559" fmla="*/ 376289 h 441764"/>
                    <a:gd name="connsiteX560" fmla="*/ 604857 w 620170"/>
                    <a:gd name="connsiteY560" fmla="*/ 378783 h 441764"/>
                    <a:gd name="connsiteX561" fmla="*/ 605248 w 620170"/>
                    <a:gd name="connsiteY561" fmla="*/ 380291 h 441764"/>
                    <a:gd name="connsiteX562" fmla="*/ 605264 w 620170"/>
                    <a:gd name="connsiteY562" fmla="*/ 381538 h 441764"/>
                    <a:gd name="connsiteX563" fmla="*/ 604612 w 620170"/>
                    <a:gd name="connsiteY563" fmla="*/ 382654 h 441764"/>
                    <a:gd name="connsiteX564" fmla="*/ 604433 w 620170"/>
                    <a:gd name="connsiteY564" fmla="*/ 383396 h 441764"/>
                    <a:gd name="connsiteX565" fmla="*/ 605607 w 620170"/>
                    <a:gd name="connsiteY565" fmla="*/ 388400 h 441764"/>
                    <a:gd name="connsiteX566" fmla="*/ 605476 w 620170"/>
                    <a:gd name="connsiteY566" fmla="*/ 390820 h 441764"/>
                    <a:gd name="connsiteX567" fmla="*/ 604409 w 620170"/>
                    <a:gd name="connsiteY567" fmla="*/ 393999 h 441764"/>
                    <a:gd name="connsiteX568" fmla="*/ 603129 w 620170"/>
                    <a:gd name="connsiteY568" fmla="*/ 395417 h 441764"/>
                    <a:gd name="connsiteX569" fmla="*/ 603219 w 620170"/>
                    <a:gd name="connsiteY569" fmla="*/ 396020 h 441764"/>
                    <a:gd name="connsiteX570" fmla="*/ 603651 w 620170"/>
                    <a:gd name="connsiteY570" fmla="*/ 396696 h 441764"/>
                    <a:gd name="connsiteX571" fmla="*/ 604531 w 620170"/>
                    <a:gd name="connsiteY571" fmla="*/ 397177 h 441764"/>
                    <a:gd name="connsiteX572" fmla="*/ 606503 w 620170"/>
                    <a:gd name="connsiteY572" fmla="*/ 397356 h 441764"/>
                    <a:gd name="connsiteX573" fmla="*/ 607098 w 620170"/>
                    <a:gd name="connsiteY573" fmla="*/ 397609 h 441764"/>
                    <a:gd name="connsiteX574" fmla="*/ 607131 w 620170"/>
                    <a:gd name="connsiteY574" fmla="*/ 398514 h 441764"/>
                    <a:gd name="connsiteX575" fmla="*/ 606788 w 620170"/>
                    <a:gd name="connsiteY575" fmla="*/ 400942 h 441764"/>
                    <a:gd name="connsiteX576" fmla="*/ 606837 w 620170"/>
                    <a:gd name="connsiteY576" fmla="*/ 402091 h 441764"/>
                    <a:gd name="connsiteX577" fmla="*/ 607400 w 620170"/>
                    <a:gd name="connsiteY577" fmla="*/ 403053 h 441764"/>
                    <a:gd name="connsiteX578" fmla="*/ 609527 w 620170"/>
                    <a:gd name="connsiteY578" fmla="*/ 405245 h 441764"/>
                    <a:gd name="connsiteX579" fmla="*/ 610863 w 620170"/>
                    <a:gd name="connsiteY579" fmla="*/ 407381 h 441764"/>
                    <a:gd name="connsiteX580" fmla="*/ 611849 w 620170"/>
                    <a:gd name="connsiteY580" fmla="*/ 408187 h 441764"/>
                    <a:gd name="connsiteX581" fmla="*/ 612045 w 620170"/>
                    <a:gd name="connsiteY581" fmla="*/ 408905 h 441764"/>
                    <a:gd name="connsiteX582" fmla="*/ 612615 w 620170"/>
                    <a:gd name="connsiteY582" fmla="*/ 409687 h 441764"/>
                    <a:gd name="connsiteX583" fmla="*/ 616715 w 620170"/>
                    <a:gd name="connsiteY583" fmla="*/ 411227 h 441764"/>
                    <a:gd name="connsiteX584" fmla="*/ 617367 w 620170"/>
                    <a:gd name="connsiteY584" fmla="*/ 412002 h 441764"/>
                    <a:gd name="connsiteX585" fmla="*/ 618133 w 620170"/>
                    <a:gd name="connsiteY585" fmla="*/ 413909 h 441764"/>
                    <a:gd name="connsiteX586" fmla="*/ 619999 w 620170"/>
                    <a:gd name="connsiteY586" fmla="*/ 415946 h 441764"/>
                    <a:gd name="connsiteX587" fmla="*/ 620170 w 620170"/>
                    <a:gd name="connsiteY587" fmla="*/ 416785 h 441764"/>
                    <a:gd name="connsiteX588" fmla="*/ 619877 w 620170"/>
                    <a:gd name="connsiteY588" fmla="*/ 417568 h 441764"/>
                    <a:gd name="connsiteX589" fmla="*/ 617489 w 620170"/>
                    <a:gd name="connsiteY589" fmla="*/ 417568 h 441764"/>
                    <a:gd name="connsiteX590" fmla="*/ 405995 w 620170"/>
                    <a:gd name="connsiteY590" fmla="*/ 417600 h 441764"/>
                    <a:gd name="connsiteX591" fmla="*/ 158740 w 620170"/>
                    <a:gd name="connsiteY591" fmla="*/ 227964 h 441764"/>
                    <a:gd name="connsiteX592" fmla="*/ 161014 w 620170"/>
                    <a:gd name="connsiteY592" fmla="*/ 230181 h 441764"/>
                    <a:gd name="connsiteX593" fmla="*/ 166458 w 620170"/>
                    <a:gd name="connsiteY593" fmla="*/ 228771 h 441764"/>
                    <a:gd name="connsiteX594" fmla="*/ 167477 w 620170"/>
                    <a:gd name="connsiteY594" fmla="*/ 229040 h 441764"/>
                    <a:gd name="connsiteX595" fmla="*/ 168504 w 620170"/>
                    <a:gd name="connsiteY595" fmla="*/ 229888 h 441764"/>
                    <a:gd name="connsiteX596" fmla="*/ 169645 w 620170"/>
                    <a:gd name="connsiteY596" fmla="*/ 231697 h 441764"/>
                    <a:gd name="connsiteX597" fmla="*/ 170875 w 620170"/>
                    <a:gd name="connsiteY597" fmla="*/ 234460 h 441764"/>
                    <a:gd name="connsiteX598" fmla="*/ 171144 w 620170"/>
                    <a:gd name="connsiteY598" fmla="*/ 237475 h 441764"/>
                    <a:gd name="connsiteX599" fmla="*/ 170647 w 620170"/>
                    <a:gd name="connsiteY599" fmla="*/ 238559 h 441764"/>
                    <a:gd name="connsiteX600" fmla="*/ 169669 w 620170"/>
                    <a:gd name="connsiteY600" fmla="*/ 239757 h 441764"/>
                    <a:gd name="connsiteX601" fmla="*/ 160982 w 620170"/>
                    <a:gd name="connsiteY601" fmla="*/ 244533 h 441764"/>
                    <a:gd name="connsiteX602" fmla="*/ 160754 w 620170"/>
                    <a:gd name="connsiteY602" fmla="*/ 244997 h 441764"/>
                    <a:gd name="connsiteX603" fmla="*/ 160925 w 620170"/>
                    <a:gd name="connsiteY603" fmla="*/ 245421 h 441764"/>
                    <a:gd name="connsiteX604" fmla="*/ 161731 w 620170"/>
                    <a:gd name="connsiteY604" fmla="*/ 245885 h 441764"/>
                    <a:gd name="connsiteX605" fmla="*/ 163476 w 620170"/>
                    <a:gd name="connsiteY605" fmla="*/ 245820 h 441764"/>
                    <a:gd name="connsiteX606" fmla="*/ 170354 w 620170"/>
                    <a:gd name="connsiteY606" fmla="*/ 244639 h 441764"/>
                    <a:gd name="connsiteX607" fmla="*/ 170729 w 620170"/>
                    <a:gd name="connsiteY607" fmla="*/ 243807 h 441764"/>
                    <a:gd name="connsiteX608" fmla="*/ 171210 w 620170"/>
                    <a:gd name="connsiteY608" fmla="*/ 240042 h 441764"/>
                    <a:gd name="connsiteX609" fmla="*/ 172163 w 620170"/>
                    <a:gd name="connsiteY609" fmla="*/ 238037 h 441764"/>
                    <a:gd name="connsiteX610" fmla="*/ 172245 w 620170"/>
                    <a:gd name="connsiteY610" fmla="*/ 236522 h 441764"/>
                    <a:gd name="connsiteX611" fmla="*/ 171617 w 620170"/>
                    <a:gd name="connsiteY611" fmla="*/ 232927 h 441764"/>
                    <a:gd name="connsiteX612" fmla="*/ 171650 w 620170"/>
                    <a:gd name="connsiteY612" fmla="*/ 231477 h 441764"/>
                    <a:gd name="connsiteX613" fmla="*/ 176450 w 620170"/>
                    <a:gd name="connsiteY613" fmla="*/ 231183 h 441764"/>
                    <a:gd name="connsiteX614" fmla="*/ 179457 w 620170"/>
                    <a:gd name="connsiteY614" fmla="*/ 229847 h 441764"/>
                    <a:gd name="connsiteX615" fmla="*/ 182521 w 620170"/>
                    <a:gd name="connsiteY615" fmla="*/ 227353 h 441764"/>
                    <a:gd name="connsiteX616" fmla="*/ 183222 w 620170"/>
                    <a:gd name="connsiteY616" fmla="*/ 227418 h 441764"/>
                    <a:gd name="connsiteX617" fmla="*/ 182782 w 620170"/>
                    <a:gd name="connsiteY617" fmla="*/ 231892 h 441764"/>
                    <a:gd name="connsiteX618" fmla="*/ 182358 w 620170"/>
                    <a:gd name="connsiteY618" fmla="*/ 233270 h 441764"/>
                    <a:gd name="connsiteX619" fmla="*/ 179416 w 620170"/>
                    <a:gd name="connsiteY619" fmla="*/ 238730 h 441764"/>
                    <a:gd name="connsiteX620" fmla="*/ 177721 w 620170"/>
                    <a:gd name="connsiteY620" fmla="*/ 243530 h 441764"/>
                    <a:gd name="connsiteX621" fmla="*/ 176898 w 620170"/>
                    <a:gd name="connsiteY621" fmla="*/ 248273 h 441764"/>
                    <a:gd name="connsiteX622" fmla="*/ 176751 w 620170"/>
                    <a:gd name="connsiteY622" fmla="*/ 256105 h 441764"/>
                    <a:gd name="connsiteX623" fmla="*/ 176026 w 620170"/>
                    <a:gd name="connsiteY623" fmla="*/ 258746 h 441764"/>
                    <a:gd name="connsiteX624" fmla="*/ 174690 w 620170"/>
                    <a:gd name="connsiteY624" fmla="*/ 260376 h 441764"/>
                    <a:gd name="connsiteX625" fmla="*/ 166360 w 620170"/>
                    <a:gd name="connsiteY625" fmla="*/ 263220 h 441764"/>
                    <a:gd name="connsiteX626" fmla="*/ 162066 w 620170"/>
                    <a:gd name="connsiteY626" fmla="*/ 263049 h 441764"/>
                    <a:gd name="connsiteX627" fmla="*/ 158235 w 620170"/>
                    <a:gd name="connsiteY627" fmla="*/ 260457 h 441764"/>
                    <a:gd name="connsiteX628" fmla="*/ 156426 w 620170"/>
                    <a:gd name="connsiteY628" fmla="*/ 258689 h 441764"/>
                    <a:gd name="connsiteX629" fmla="*/ 157787 w 620170"/>
                    <a:gd name="connsiteY629" fmla="*/ 256537 h 441764"/>
                    <a:gd name="connsiteX630" fmla="*/ 158724 w 620170"/>
                    <a:gd name="connsiteY630" fmla="*/ 256439 h 441764"/>
                    <a:gd name="connsiteX631" fmla="*/ 161422 w 620170"/>
                    <a:gd name="connsiteY631" fmla="*/ 256863 h 441764"/>
                    <a:gd name="connsiteX632" fmla="*/ 163492 w 620170"/>
                    <a:gd name="connsiteY632" fmla="*/ 257662 h 441764"/>
                    <a:gd name="connsiteX633" fmla="*/ 164421 w 620170"/>
                    <a:gd name="connsiteY633" fmla="*/ 257703 h 441764"/>
                    <a:gd name="connsiteX634" fmla="*/ 164266 w 620170"/>
                    <a:gd name="connsiteY634" fmla="*/ 257197 h 441764"/>
                    <a:gd name="connsiteX635" fmla="*/ 158341 w 620170"/>
                    <a:gd name="connsiteY635" fmla="*/ 253139 h 441764"/>
                    <a:gd name="connsiteX636" fmla="*/ 154006 w 620170"/>
                    <a:gd name="connsiteY636" fmla="*/ 251297 h 441764"/>
                    <a:gd name="connsiteX637" fmla="*/ 152693 w 620170"/>
                    <a:gd name="connsiteY637" fmla="*/ 249227 h 441764"/>
                    <a:gd name="connsiteX638" fmla="*/ 152653 w 620170"/>
                    <a:gd name="connsiteY638" fmla="*/ 247630 h 441764"/>
                    <a:gd name="connsiteX639" fmla="*/ 152310 w 620170"/>
                    <a:gd name="connsiteY639" fmla="*/ 246733 h 441764"/>
                    <a:gd name="connsiteX640" fmla="*/ 148863 w 620170"/>
                    <a:gd name="connsiteY640" fmla="*/ 241126 h 441764"/>
                    <a:gd name="connsiteX641" fmla="*/ 148187 w 620170"/>
                    <a:gd name="connsiteY641" fmla="*/ 238909 h 441764"/>
                    <a:gd name="connsiteX642" fmla="*/ 147730 w 620170"/>
                    <a:gd name="connsiteY642" fmla="*/ 235780 h 441764"/>
                    <a:gd name="connsiteX643" fmla="*/ 147722 w 620170"/>
                    <a:gd name="connsiteY643" fmla="*/ 232561 h 441764"/>
                    <a:gd name="connsiteX644" fmla="*/ 148570 w 620170"/>
                    <a:gd name="connsiteY644" fmla="*/ 227329 h 441764"/>
                    <a:gd name="connsiteX645" fmla="*/ 148953 w 620170"/>
                    <a:gd name="connsiteY645" fmla="*/ 226774 h 441764"/>
                    <a:gd name="connsiteX646" fmla="*/ 150363 w 620170"/>
                    <a:gd name="connsiteY646" fmla="*/ 226815 h 441764"/>
                    <a:gd name="connsiteX647" fmla="*/ 152807 w 620170"/>
                    <a:gd name="connsiteY647" fmla="*/ 227459 h 441764"/>
                    <a:gd name="connsiteX648" fmla="*/ 158740 w 620170"/>
                    <a:gd name="connsiteY648" fmla="*/ 227964 h 441764"/>
                    <a:gd name="connsiteX649" fmla="*/ 260514 w 620170"/>
                    <a:gd name="connsiteY649" fmla="*/ 272576 h 441764"/>
                    <a:gd name="connsiteX650" fmla="*/ 261647 w 620170"/>
                    <a:gd name="connsiteY650" fmla="*/ 284474 h 441764"/>
                    <a:gd name="connsiteX651" fmla="*/ 261566 w 620170"/>
                    <a:gd name="connsiteY651" fmla="*/ 288280 h 441764"/>
                    <a:gd name="connsiteX652" fmla="*/ 259903 w 620170"/>
                    <a:gd name="connsiteY652" fmla="*/ 290766 h 441764"/>
                    <a:gd name="connsiteX653" fmla="*/ 258730 w 620170"/>
                    <a:gd name="connsiteY653" fmla="*/ 294922 h 441764"/>
                    <a:gd name="connsiteX654" fmla="*/ 257369 w 620170"/>
                    <a:gd name="connsiteY654" fmla="*/ 296789 h 441764"/>
                    <a:gd name="connsiteX655" fmla="*/ 256073 w 620170"/>
                    <a:gd name="connsiteY655" fmla="*/ 294303 h 441764"/>
                    <a:gd name="connsiteX656" fmla="*/ 255959 w 620170"/>
                    <a:gd name="connsiteY656" fmla="*/ 290171 h 441764"/>
                    <a:gd name="connsiteX657" fmla="*/ 255616 w 620170"/>
                    <a:gd name="connsiteY657" fmla="*/ 286879 h 441764"/>
                    <a:gd name="connsiteX658" fmla="*/ 255193 w 620170"/>
                    <a:gd name="connsiteY658" fmla="*/ 285306 h 441764"/>
                    <a:gd name="connsiteX659" fmla="*/ 255690 w 620170"/>
                    <a:gd name="connsiteY659" fmla="*/ 279153 h 441764"/>
                    <a:gd name="connsiteX660" fmla="*/ 255111 w 620170"/>
                    <a:gd name="connsiteY660" fmla="*/ 279609 h 441764"/>
                    <a:gd name="connsiteX661" fmla="*/ 253587 w 620170"/>
                    <a:gd name="connsiteY661" fmla="*/ 282307 h 441764"/>
                    <a:gd name="connsiteX662" fmla="*/ 251884 w 620170"/>
                    <a:gd name="connsiteY662" fmla="*/ 282494 h 441764"/>
                    <a:gd name="connsiteX663" fmla="*/ 248828 w 620170"/>
                    <a:gd name="connsiteY663" fmla="*/ 279430 h 441764"/>
                    <a:gd name="connsiteX664" fmla="*/ 247295 w 620170"/>
                    <a:gd name="connsiteY664" fmla="*/ 276952 h 441764"/>
                    <a:gd name="connsiteX665" fmla="*/ 247043 w 620170"/>
                    <a:gd name="connsiteY665" fmla="*/ 274361 h 441764"/>
                    <a:gd name="connsiteX666" fmla="*/ 245030 w 620170"/>
                    <a:gd name="connsiteY666" fmla="*/ 271639 h 441764"/>
                    <a:gd name="connsiteX667" fmla="*/ 244826 w 620170"/>
                    <a:gd name="connsiteY667" fmla="*/ 270677 h 441764"/>
                    <a:gd name="connsiteX668" fmla="*/ 244989 w 620170"/>
                    <a:gd name="connsiteY668" fmla="*/ 269658 h 441764"/>
                    <a:gd name="connsiteX669" fmla="*/ 246644 w 620170"/>
                    <a:gd name="connsiteY669" fmla="*/ 266936 h 441764"/>
                    <a:gd name="connsiteX670" fmla="*/ 247320 w 620170"/>
                    <a:gd name="connsiteY670" fmla="*/ 265094 h 441764"/>
                    <a:gd name="connsiteX671" fmla="*/ 247907 w 620170"/>
                    <a:gd name="connsiteY671" fmla="*/ 261321 h 441764"/>
                    <a:gd name="connsiteX672" fmla="*/ 248583 w 620170"/>
                    <a:gd name="connsiteY672" fmla="*/ 259846 h 441764"/>
                    <a:gd name="connsiteX673" fmla="*/ 250140 w 620170"/>
                    <a:gd name="connsiteY673" fmla="*/ 260058 h 441764"/>
                    <a:gd name="connsiteX674" fmla="*/ 252927 w 620170"/>
                    <a:gd name="connsiteY674" fmla="*/ 261769 h 441764"/>
                    <a:gd name="connsiteX675" fmla="*/ 255836 w 620170"/>
                    <a:gd name="connsiteY675" fmla="*/ 263636 h 441764"/>
                    <a:gd name="connsiteX676" fmla="*/ 258510 w 620170"/>
                    <a:gd name="connsiteY676" fmla="*/ 266121 h 441764"/>
                    <a:gd name="connsiteX677" fmla="*/ 260514 w 620170"/>
                    <a:gd name="connsiteY677" fmla="*/ 272576 h 441764"/>
                    <a:gd name="connsiteX678" fmla="*/ 181112 w 620170"/>
                    <a:gd name="connsiteY678" fmla="*/ 263008 h 441764"/>
                    <a:gd name="connsiteX679" fmla="*/ 183630 w 620170"/>
                    <a:gd name="connsiteY679" fmla="*/ 266472 h 441764"/>
                    <a:gd name="connsiteX680" fmla="*/ 184371 w 620170"/>
                    <a:gd name="connsiteY680" fmla="*/ 269577 h 441764"/>
                    <a:gd name="connsiteX681" fmla="*/ 184062 w 620170"/>
                    <a:gd name="connsiteY681" fmla="*/ 273228 h 441764"/>
                    <a:gd name="connsiteX682" fmla="*/ 180085 w 620170"/>
                    <a:gd name="connsiteY682" fmla="*/ 274613 h 441764"/>
                    <a:gd name="connsiteX683" fmla="*/ 177990 w 620170"/>
                    <a:gd name="connsiteY683" fmla="*/ 273513 h 441764"/>
                    <a:gd name="connsiteX684" fmla="*/ 177086 w 620170"/>
                    <a:gd name="connsiteY684" fmla="*/ 273717 h 441764"/>
                    <a:gd name="connsiteX685" fmla="*/ 175708 w 620170"/>
                    <a:gd name="connsiteY685" fmla="*/ 274817 h 441764"/>
                    <a:gd name="connsiteX686" fmla="*/ 177379 w 620170"/>
                    <a:gd name="connsiteY686" fmla="*/ 275306 h 441764"/>
                    <a:gd name="connsiteX687" fmla="*/ 179718 w 620170"/>
                    <a:gd name="connsiteY687" fmla="*/ 277099 h 441764"/>
                    <a:gd name="connsiteX688" fmla="*/ 181772 w 620170"/>
                    <a:gd name="connsiteY688" fmla="*/ 279422 h 441764"/>
                    <a:gd name="connsiteX689" fmla="*/ 184665 w 620170"/>
                    <a:gd name="connsiteY689" fmla="*/ 279837 h 441764"/>
                    <a:gd name="connsiteX690" fmla="*/ 188520 w 620170"/>
                    <a:gd name="connsiteY690" fmla="*/ 281467 h 441764"/>
                    <a:gd name="connsiteX691" fmla="*/ 185610 w 620170"/>
                    <a:gd name="connsiteY691" fmla="*/ 284385 h 441764"/>
                    <a:gd name="connsiteX692" fmla="*/ 185162 w 620170"/>
                    <a:gd name="connsiteY692" fmla="*/ 286064 h 441764"/>
                    <a:gd name="connsiteX693" fmla="*/ 188805 w 620170"/>
                    <a:gd name="connsiteY693" fmla="*/ 290717 h 441764"/>
                    <a:gd name="connsiteX694" fmla="*/ 189147 w 620170"/>
                    <a:gd name="connsiteY694" fmla="*/ 291883 h 441764"/>
                    <a:gd name="connsiteX695" fmla="*/ 190313 w 620170"/>
                    <a:gd name="connsiteY695" fmla="*/ 292119 h 441764"/>
                    <a:gd name="connsiteX696" fmla="*/ 193026 w 620170"/>
                    <a:gd name="connsiteY696" fmla="*/ 291744 h 441764"/>
                    <a:gd name="connsiteX697" fmla="*/ 193369 w 620170"/>
                    <a:gd name="connsiteY697" fmla="*/ 292111 h 441764"/>
                    <a:gd name="connsiteX698" fmla="*/ 193361 w 620170"/>
                    <a:gd name="connsiteY698" fmla="*/ 293073 h 441764"/>
                    <a:gd name="connsiteX699" fmla="*/ 191690 w 620170"/>
                    <a:gd name="connsiteY699" fmla="*/ 295770 h 441764"/>
                    <a:gd name="connsiteX700" fmla="*/ 191869 w 620170"/>
                    <a:gd name="connsiteY700" fmla="*/ 296308 h 441764"/>
                    <a:gd name="connsiteX701" fmla="*/ 193377 w 620170"/>
                    <a:gd name="connsiteY701" fmla="*/ 296732 h 441764"/>
                    <a:gd name="connsiteX702" fmla="*/ 196262 w 620170"/>
                    <a:gd name="connsiteY702" fmla="*/ 296740 h 441764"/>
                    <a:gd name="connsiteX703" fmla="*/ 196922 w 620170"/>
                    <a:gd name="connsiteY703" fmla="*/ 299421 h 441764"/>
                    <a:gd name="connsiteX704" fmla="*/ 194306 w 620170"/>
                    <a:gd name="connsiteY704" fmla="*/ 301850 h 441764"/>
                    <a:gd name="connsiteX705" fmla="*/ 189335 w 620170"/>
                    <a:gd name="connsiteY705" fmla="*/ 298712 h 441764"/>
                    <a:gd name="connsiteX706" fmla="*/ 187126 w 620170"/>
                    <a:gd name="connsiteY706" fmla="*/ 295591 h 441764"/>
                    <a:gd name="connsiteX707" fmla="*/ 185863 w 620170"/>
                    <a:gd name="connsiteY707" fmla="*/ 292690 h 441764"/>
                    <a:gd name="connsiteX708" fmla="*/ 184331 w 620170"/>
                    <a:gd name="connsiteY708" fmla="*/ 291051 h 441764"/>
                    <a:gd name="connsiteX709" fmla="*/ 179718 w 620170"/>
                    <a:gd name="connsiteY709" fmla="*/ 287417 h 441764"/>
                    <a:gd name="connsiteX710" fmla="*/ 172709 w 620170"/>
                    <a:gd name="connsiteY710" fmla="*/ 279552 h 441764"/>
                    <a:gd name="connsiteX711" fmla="*/ 170900 w 620170"/>
                    <a:gd name="connsiteY711" fmla="*/ 278411 h 441764"/>
                    <a:gd name="connsiteX712" fmla="*/ 169074 w 620170"/>
                    <a:gd name="connsiteY712" fmla="*/ 275298 h 441764"/>
                    <a:gd name="connsiteX713" fmla="*/ 168545 w 620170"/>
                    <a:gd name="connsiteY713" fmla="*/ 273798 h 441764"/>
                    <a:gd name="connsiteX714" fmla="*/ 168585 w 620170"/>
                    <a:gd name="connsiteY714" fmla="*/ 272788 h 441764"/>
                    <a:gd name="connsiteX715" fmla="*/ 169294 w 620170"/>
                    <a:gd name="connsiteY715" fmla="*/ 272258 h 441764"/>
                    <a:gd name="connsiteX716" fmla="*/ 171389 w 620170"/>
                    <a:gd name="connsiteY716" fmla="*/ 271908 h 441764"/>
                    <a:gd name="connsiteX717" fmla="*/ 171421 w 620170"/>
                    <a:gd name="connsiteY717" fmla="*/ 270343 h 441764"/>
                    <a:gd name="connsiteX718" fmla="*/ 163361 w 620170"/>
                    <a:gd name="connsiteY718" fmla="*/ 267629 h 441764"/>
                    <a:gd name="connsiteX719" fmla="*/ 162465 w 620170"/>
                    <a:gd name="connsiteY719" fmla="*/ 267075 h 441764"/>
                    <a:gd name="connsiteX720" fmla="*/ 161430 w 620170"/>
                    <a:gd name="connsiteY720" fmla="*/ 265176 h 441764"/>
                    <a:gd name="connsiteX721" fmla="*/ 161984 w 620170"/>
                    <a:gd name="connsiteY721" fmla="*/ 264891 h 441764"/>
                    <a:gd name="connsiteX722" fmla="*/ 166418 w 620170"/>
                    <a:gd name="connsiteY722" fmla="*/ 265225 h 441764"/>
                    <a:gd name="connsiteX723" fmla="*/ 171169 w 620170"/>
                    <a:gd name="connsiteY723" fmla="*/ 264312 h 441764"/>
                    <a:gd name="connsiteX724" fmla="*/ 174095 w 620170"/>
                    <a:gd name="connsiteY724" fmla="*/ 263611 h 441764"/>
                    <a:gd name="connsiteX725" fmla="*/ 175252 w 620170"/>
                    <a:gd name="connsiteY725" fmla="*/ 262756 h 441764"/>
                    <a:gd name="connsiteX726" fmla="*/ 177632 w 620170"/>
                    <a:gd name="connsiteY726" fmla="*/ 261655 h 441764"/>
                    <a:gd name="connsiteX727" fmla="*/ 178618 w 620170"/>
                    <a:gd name="connsiteY727" fmla="*/ 261720 h 441764"/>
                    <a:gd name="connsiteX728" fmla="*/ 181112 w 620170"/>
                    <a:gd name="connsiteY728" fmla="*/ 263008 h 441764"/>
                    <a:gd name="connsiteX729" fmla="*/ 294116 w 620170"/>
                    <a:gd name="connsiteY729" fmla="*/ 357643 h 441764"/>
                    <a:gd name="connsiteX730" fmla="*/ 306430 w 620170"/>
                    <a:gd name="connsiteY730" fmla="*/ 362215 h 441764"/>
                    <a:gd name="connsiteX731" fmla="*/ 318761 w 620170"/>
                    <a:gd name="connsiteY731" fmla="*/ 364472 h 441764"/>
                    <a:gd name="connsiteX732" fmla="*/ 327807 w 620170"/>
                    <a:gd name="connsiteY732" fmla="*/ 367145 h 441764"/>
                    <a:gd name="connsiteX733" fmla="*/ 333365 w 620170"/>
                    <a:gd name="connsiteY733" fmla="*/ 367960 h 441764"/>
                    <a:gd name="connsiteX734" fmla="*/ 335370 w 620170"/>
                    <a:gd name="connsiteY734" fmla="*/ 368547 h 441764"/>
                    <a:gd name="connsiteX735" fmla="*/ 336665 w 620170"/>
                    <a:gd name="connsiteY735" fmla="*/ 369476 h 441764"/>
                    <a:gd name="connsiteX736" fmla="*/ 338198 w 620170"/>
                    <a:gd name="connsiteY736" fmla="*/ 371750 h 441764"/>
                    <a:gd name="connsiteX737" fmla="*/ 340838 w 620170"/>
                    <a:gd name="connsiteY737" fmla="*/ 377153 h 441764"/>
                    <a:gd name="connsiteX738" fmla="*/ 342843 w 620170"/>
                    <a:gd name="connsiteY738" fmla="*/ 380601 h 441764"/>
                    <a:gd name="connsiteX739" fmla="*/ 346975 w 620170"/>
                    <a:gd name="connsiteY739" fmla="*/ 386574 h 441764"/>
                    <a:gd name="connsiteX740" fmla="*/ 350243 w 620170"/>
                    <a:gd name="connsiteY740" fmla="*/ 390812 h 441764"/>
                    <a:gd name="connsiteX741" fmla="*/ 350985 w 620170"/>
                    <a:gd name="connsiteY741" fmla="*/ 392499 h 441764"/>
                    <a:gd name="connsiteX742" fmla="*/ 350300 w 620170"/>
                    <a:gd name="connsiteY742" fmla="*/ 393037 h 441764"/>
                    <a:gd name="connsiteX743" fmla="*/ 350341 w 620170"/>
                    <a:gd name="connsiteY743" fmla="*/ 394031 h 441764"/>
                    <a:gd name="connsiteX744" fmla="*/ 352826 w 620170"/>
                    <a:gd name="connsiteY744" fmla="*/ 398139 h 441764"/>
                    <a:gd name="connsiteX745" fmla="*/ 357480 w 620170"/>
                    <a:gd name="connsiteY745" fmla="*/ 401822 h 441764"/>
                    <a:gd name="connsiteX746" fmla="*/ 361123 w 620170"/>
                    <a:gd name="connsiteY746" fmla="*/ 403575 h 441764"/>
                    <a:gd name="connsiteX747" fmla="*/ 368816 w 620170"/>
                    <a:gd name="connsiteY747" fmla="*/ 406460 h 441764"/>
                    <a:gd name="connsiteX748" fmla="*/ 373527 w 620170"/>
                    <a:gd name="connsiteY748" fmla="*/ 409239 h 441764"/>
                    <a:gd name="connsiteX749" fmla="*/ 374985 w 620170"/>
                    <a:gd name="connsiteY749" fmla="*/ 411162 h 441764"/>
                    <a:gd name="connsiteX750" fmla="*/ 377039 w 620170"/>
                    <a:gd name="connsiteY750" fmla="*/ 413028 h 441764"/>
                    <a:gd name="connsiteX751" fmla="*/ 377887 w 620170"/>
                    <a:gd name="connsiteY751" fmla="*/ 414316 h 441764"/>
                    <a:gd name="connsiteX752" fmla="*/ 379566 w 620170"/>
                    <a:gd name="connsiteY752" fmla="*/ 419100 h 441764"/>
                    <a:gd name="connsiteX753" fmla="*/ 382679 w 620170"/>
                    <a:gd name="connsiteY753" fmla="*/ 423688 h 441764"/>
                    <a:gd name="connsiteX754" fmla="*/ 385890 w 620170"/>
                    <a:gd name="connsiteY754" fmla="*/ 432417 h 441764"/>
                    <a:gd name="connsiteX755" fmla="*/ 386493 w 620170"/>
                    <a:gd name="connsiteY755" fmla="*/ 431683 h 441764"/>
                    <a:gd name="connsiteX756" fmla="*/ 386860 w 620170"/>
                    <a:gd name="connsiteY756" fmla="*/ 429083 h 441764"/>
                    <a:gd name="connsiteX757" fmla="*/ 387226 w 620170"/>
                    <a:gd name="connsiteY757" fmla="*/ 428513 h 441764"/>
                    <a:gd name="connsiteX758" fmla="*/ 387903 w 620170"/>
                    <a:gd name="connsiteY758" fmla="*/ 428236 h 441764"/>
                    <a:gd name="connsiteX759" fmla="*/ 388539 w 620170"/>
                    <a:gd name="connsiteY759" fmla="*/ 429246 h 441764"/>
                    <a:gd name="connsiteX760" fmla="*/ 389125 w 620170"/>
                    <a:gd name="connsiteY760" fmla="*/ 431536 h 441764"/>
                    <a:gd name="connsiteX761" fmla="*/ 391171 w 620170"/>
                    <a:gd name="connsiteY761" fmla="*/ 436997 h 441764"/>
                    <a:gd name="connsiteX762" fmla="*/ 390503 w 620170"/>
                    <a:gd name="connsiteY762" fmla="*/ 438578 h 441764"/>
                    <a:gd name="connsiteX763" fmla="*/ 389908 w 620170"/>
                    <a:gd name="connsiteY763" fmla="*/ 438749 h 441764"/>
                    <a:gd name="connsiteX764" fmla="*/ 387145 w 620170"/>
                    <a:gd name="connsiteY764" fmla="*/ 438007 h 441764"/>
                    <a:gd name="connsiteX765" fmla="*/ 386191 w 620170"/>
                    <a:gd name="connsiteY765" fmla="*/ 438977 h 441764"/>
                    <a:gd name="connsiteX766" fmla="*/ 384904 w 620170"/>
                    <a:gd name="connsiteY766" fmla="*/ 440966 h 441764"/>
                    <a:gd name="connsiteX767" fmla="*/ 383991 w 620170"/>
                    <a:gd name="connsiteY767" fmla="*/ 441764 h 441764"/>
                    <a:gd name="connsiteX768" fmla="*/ 383461 w 620170"/>
                    <a:gd name="connsiteY768" fmla="*/ 441381 h 441764"/>
                    <a:gd name="connsiteX769" fmla="*/ 375466 w 620170"/>
                    <a:gd name="connsiteY769" fmla="*/ 439474 h 441764"/>
                    <a:gd name="connsiteX770" fmla="*/ 370544 w 620170"/>
                    <a:gd name="connsiteY770" fmla="*/ 437673 h 441764"/>
                    <a:gd name="connsiteX771" fmla="*/ 364073 w 620170"/>
                    <a:gd name="connsiteY771" fmla="*/ 434829 h 441764"/>
                    <a:gd name="connsiteX772" fmla="*/ 356306 w 620170"/>
                    <a:gd name="connsiteY772" fmla="*/ 431879 h 441764"/>
                    <a:gd name="connsiteX773" fmla="*/ 351873 w 620170"/>
                    <a:gd name="connsiteY773" fmla="*/ 429850 h 441764"/>
                    <a:gd name="connsiteX774" fmla="*/ 348173 w 620170"/>
                    <a:gd name="connsiteY774" fmla="*/ 427763 h 441764"/>
                    <a:gd name="connsiteX775" fmla="*/ 345606 w 620170"/>
                    <a:gd name="connsiteY775" fmla="*/ 425978 h 441764"/>
                    <a:gd name="connsiteX776" fmla="*/ 345117 w 620170"/>
                    <a:gd name="connsiteY776" fmla="*/ 424462 h 441764"/>
                    <a:gd name="connsiteX777" fmla="*/ 345231 w 620170"/>
                    <a:gd name="connsiteY777" fmla="*/ 423753 h 441764"/>
                    <a:gd name="connsiteX778" fmla="*/ 350210 w 620170"/>
                    <a:gd name="connsiteY778" fmla="*/ 418912 h 441764"/>
                    <a:gd name="connsiteX779" fmla="*/ 352321 w 620170"/>
                    <a:gd name="connsiteY779" fmla="*/ 416313 h 441764"/>
                    <a:gd name="connsiteX780" fmla="*/ 353136 w 620170"/>
                    <a:gd name="connsiteY780" fmla="*/ 414324 h 441764"/>
                    <a:gd name="connsiteX781" fmla="*/ 353552 w 620170"/>
                    <a:gd name="connsiteY781" fmla="*/ 412213 h 441764"/>
                    <a:gd name="connsiteX782" fmla="*/ 353242 w 620170"/>
                    <a:gd name="connsiteY782" fmla="*/ 409646 h 441764"/>
                    <a:gd name="connsiteX783" fmla="*/ 353038 w 620170"/>
                    <a:gd name="connsiteY783" fmla="*/ 409842 h 441764"/>
                    <a:gd name="connsiteX784" fmla="*/ 352598 w 620170"/>
                    <a:gd name="connsiteY784" fmla="*/ 412311 h 441764"/>
                    <a:gd name="connsiteX785" fmla="*/ 351865 w 620170"/>
                    <a:gd name="connsiteY785" fmla="*/ 414495 h 441764"/>
                    <a:gd name="connsiteX786" fmla="*/ 350968 w 620170"/>
                    <a:gd name="connsiteY786" fmla="*/ 416215 h 441764"/>
                    <a:gd name="connsiteX787" fmla="*/ 350398 w 620170"/>
                    <a:gd name="connsiteY787" fmla="*/ 416818 h 441764"/>
                    <a:gd name="connsiteX788" fmla="*/ 344432 w 620170"/>
                    <a:gd name="connsiteY788" fmla="*/ 417657 h 441764"/>
                    <a:gd name="connsiteX789" fmla="*/ 339608 w 620170"/>
                    <a:gd name="connsiteY789" fmla="*/ 417397 h 441764"/>
                    <a:gd name="connsiteX790" fmla="*/ 337187 w 620170"/>
                    <a:gd name="connsiteY790" fmla="*/ 419459 h 441764"/>
                    <a:gd name="connsiteX791" fmla="*/ 336470 w 620170"/>
                    <a:gd name="connsiteY791" fmla="*/ 419719 h 441764"/>
                    <a:gd name="connsiteX792" fmla="*/ 335133 w 620170"/>
                    <a:gd name="connsiteY792" fmla="*/ 419035 h 441764"/>
                    <a:gd name="connsiteX793" fmla="*/ 332224 w 620170"/>
                    <a:gd name="connsiteY793" fmla="*/ 416272 h 441764"/>
                    <a:gd name="connsiteX794" fmla="*/ 328059 w 620170"/>
                    <a:gd name="connsiteY794" fmla="*/ 414006 h 441764"/>
                    <a:gd name="connsiteX795" fmla="*/ 328467 w 620170"/>
                    <a:gd name="connsiteY795" fmla="*/ 413452 h 441764"/>
                    <a:gd name="connsiteX796" fmla="*/ 331181 w 620170"/>
                    <a:gd name="connsiteY796" fmla="*/ 412295 h 441764"/>
                    <a:gd name="connsiteX797" fmla="*/ 332623 w 620170"/>
                    <a:gd name="connsiteY797" fmla="*/ 410608 h 441764"/>
                    <a:gd name="connsiteX798" fmla="*/ 332371 w 620170"/>
                    <a:gd name="connsiteY798" fmla="*/ 410339 h 441764"/>
                    <a:gd name="connsiteX799" fmla="*/ 331393 w 620170"/>
                    <a:gd name="connsiteY799" fmla="*/ 410437 h 441764"/>
                    <a:gd name="connsiteX800" fmla="*/ 330545 w 620170"/>
                    <a:gd name="connsiteY800" fmla="*/ 410103 h 441764"/>
                    <a:gd name="connsiteX801" fmla="*/ 328850 w 620170"/>
                    <a:gd name="connsiteY801" fmla="*/ 407910 h 441764"/>
                    <a:gd name="connsiteX802" fmla="*/ 327880 w 620170"/>
                    <a:gd name="connsiteY802" fmla="*/ 407315 h 441764"/>
                    <a:gd name="connsiteX803" fmla="*/ 325826 w 620170"/>
                    <a:gd name="connsiteY803" fmla="*/ 408302 h 441764"/>
                    <a:gd name="connsiteX804" fmla="*/ 324995 w 620170"/>
                    <a:gd name="connsiteY804" fmla="*/ 408351 h 441764"/>
                    <a:gd name="connsiteX805" fmla="*/ 324196 w 620170"/>
                    <a:gd name="connsiteY805" fmla="*/ 406916 h 441764"/>
                    <a:gd name="connsiteX806" fmla="*/ 325346 w 620170"/>
                    <a:gd name="connsiteY806" fmla="*/ 403583 h 441764"/>
                    <a:gd name="connsiteX807" fmla="*/ 325402 w 620170"/>
                    <a:gd name="connsiteY807" fmla="*/ 402792 h 441764"/>
                    <a:gd name="connsiteX808" fmla="*/ 323292 w 620170"/>
                    <a:gd name="connsiteY808" fmla="*/ 404007 h 441764"/>
                    <a:gd name="connsiteX809" fmla="*/ 322599 w 620170"/>
                    <a:gd name="connsiteY809" fmla="*/ 403607 h 441764"/>
                    <a:gd name="connsiteX810" fmla="*/ 321939 w 620170"/>
                    <a:gd name="connsiteY810" fmla="*/ 402532 h 441764"/>
                    <a:gd name="connsiteX811" fmla="*/ 321320 w 620170"/>
                    <a:gd name="connsiteY811" fmla="*/ 402075 h 441764"/>
                    <a:gd name="connsiteX812" fmla="*/ 319616 w 620170"/>
                    <a:gd name="connsiteY812" fmla="*/ 402295 h 441764"/>
                    <a:gd name="connsiteX813" fmla="*/ 317758 w 620170"/>
                    <a:gd name="connsiteY813" fmla="*/ 401293 h 441764"/>
                    <a:gd name="connsiteX814" fmla="*/ 317114 w 620170"/>
                    <a:gd name="connsiteY814" fmla="*/ 401684 h 441764"/>
                    <a:gd name="connsiteX815" fmla="*/ 316870 w 620170"/>
                    <a:gd name="connsiteY815" fmla="*/ 403126 h 441764"/>
                    <a:gd name="connsiteX816" fmla="*/ 316250 w 620170"/>
                    <a:gd name="connsiteY816" fmla="*/ 403493 h 441764"/>
                    <a:gd name="connsiteX817" fmla="*/ 313422 w 620170"/>
                    <a:gd name="connsiteY817" fmla="*/ 401065 h 441764"/>
                    <a:gd name="connsiteX818" fmla="*/ 312779 w 620170"/>
                    <a:gd name="connsiteY818" fmla="*/ 400983 h 441764"/>
                    <a:gd name="connsiteX819" fmla="*/ 311409 w 620170"/>
                    <a:gd name="connsiteY819" fmla="*/ 402849 h 441764"/>
                    <a:gd name="connsiteX820" fmla="*/ 310937 w 620170"/>
                    <a:gd name="connsiteY820" fmla="*/ 402963 h 441764"/>
                    <a:gd name="connsiteX821" fmla="*/ 310203 w 620170"/>
                    <a:gd name="connsiteY821" fmla="*/ 402157 h 441764"/>
                    <a:gd name="connsiteX822" fmla="*/ 309828 w 620170"/>
                    <a:gd name="connsiteY822" fmla="*/ 397642 h 441764"/>
                    <a:gd name="connsiteX823" fmla="*/ 309983 w 620170"/>
                    <a:gd name="connsiteY823" fmla="*/ 396362 h 441764"/>
                    <a:gd name="connsiteX824" fmla="*/ 310374 w 620170"/>
                    <a:gd name="connsiteY824" fmla="*/ 395922 h 441764"/>
                    <a:gd name="connsiteX825" fmla="*/ 312827 w 620170"/>
                    <a:gd name="connsiteY825" fmla="*/ 394887 h 441764"/>
                    <a:gd name="connsiteX826" fmla="*/ 319893 w 620170"/>
                    <a:gd name="connsiteY826" fmla="*/ 393762 h 441764"/>
                    <a:gd name="connsiteX827" fmla="*/ 320480 w 620170"/>
                    <a:gd name="connsiteY827" fmla="*/ 392956 h 441764"/>
                    <a:gd name="connsiteX828" fmla="*/ 315183 w 620170"/>
                    <a:gd name="connsiteY828" fmla="*/ 393371 h 441764"/>
                    <a:gd name="connsiteX829" fmla="*/ 313806 w 620170"/>
                    <a:gd name="connsiteY829" fmla="*/ 392760 h 441764"/>
                    <a:gd name="connsiteX830" fmla="*/ 312330 w 620170"/>
                    <a:gd name="connsiteY830" fmla="*/ 391220 h 441764"/>
                    <a:gd name="connsiteX831" fmla="*/ 310782 w 620170"/>
                    <a:gd name="connsiteY831" fmla="*/ 391244 h 441764"/>
                    <a:gd name="connsiteX832" fmla="*/ 309967 w 620170"/>
                    <a:gd name="connsiteY832" fmla="*/ 390739 h 441764"/>
                    <a:gd name="connsiteX833" fmla="*/ 309111 w 620170"/>
                    <a:gd name="connsiteY833" fmla="*/ 389622 h 441764"/>
                    <a:gd name="connsiteX834" fmla="*/ 306870 w 620170"/>
                    <a:gd name="connsiteY834" fmla="*/ 385539 h 441764"/>
                    <a:gd name="connsiteX835" fmla="*/ 305346 w 620170"/>
                    <a:gd name="connsiteY835" fmla="*/ 384496 h 441764"/>
                    <a:gd name="connsiteX836" fmla="*/ 302746 w 620170"/>
                    <a:gd name="connsiteY836" fmla="*/ 383844 h 441764"/>
                    <a:gd name="connsiteX837" fmla="*/ 301402 w 620170"/>
                    <a:gd name="connsiteY837" fmla="*/ 383070 h 441764"/>
                    <a:gd name="connsiteX838" fmla="*/ 300839 w 620170"/>
                    <a:gd name="connsiteY838" fmla="*/ 383412 h 441764"/>
                    <a:gd name="connsiteX839" fmla="*/ 300293 w 620170"/>
                    <a:gd name="connsiteY839" fmla="*/ 384578 h 441764"/>
                    <a:gd name="connsiteX840" fmla="*/ 299568 w 620170"/>
                    <a:gd name="connsiteY840" fmla="*/ 385303 h 441764"/>
                    <a:gd name="connsiteX841" fmla="*/ 297791 w 620170"/>
                    <a:gd name="connsiteY841" fmla="*/ 385711 h 441764"/>
                    <a:gd name="connsiteX842" fmla="*/ 296161 w 620170"/>
                    <a:gd name="connsiteY842" fmla="*/ 385401 h 441764"/>
                    <a:gd name="connsiteX843" fmla="*/ 294890 w 620170"/>
                    <a:gd name="connsiteY843" fmla="*/ 384292 h 441764"/>
                    <a:gd name="connsiteX844" fmla="*/ 294140 w 620170"/>
                    <a:gd name="connsiteY844" fmla="*/ 382883 h 441764"/>
                    <a:gd name="connsiteX845" fmla="*/ 293847 w 620170"/>
                    <a:gd name="connsiteY845" fmla="*/ 381302 h 441764"/>
                    <a:gd name="connsiteX846" fmla="*/ 294556 w 620170"/>
                    <a:gd name="connsiteY846" fmla="*/ 379199 h 441764"/>
                    <a:gd name="connsiteX847" fmla="*/ 294540 w 620170"/>
                    <a:gd name="connsiteY847" fmla="*/ 378359 h 441764"/>
                    <a:gd name="connsiteX848" fmla="*/ 294222 w 620170"/>
                    <a:gd name="connsiteY848" fmla="*/ 377382 h 441764"/>
                    <a:gd name="connsiteX849" fmla="*/ 293643 w 620170"/>
                    <a:gd name="connsiteY849" fmla="*/ 376599 h 441764"/>
                    <a:gd name="connsiteX850" fmla="*/ 292795 w 620170"/>
                    <a:gd name="connsiteY850" fmla="*/ 375988 h 441764"/>
                    <a:gd name="connsiteX851" fmla="*/ 292331 w 620170"/>
                    <a:gd name="connsiteY851" fmla="*/ 376306 h 441764"/>
                    <a:gd name="connsiteX852" fmla="*/ 292258 w 620170"/>
                    <a:gd name="connsiteY852" fmla="*/ 377536 h 441764"/>
                    <a:gd name="connsiteX853" fmla="*/ 291793 w 620170"/>
                    <a:gd name="connsiteY853" fmla="*/ 378441 h 441764"/>
                    <a:gd name="connsiteX854" fmla="*/ 290318 w 620170"/>
                    <a:gd name="connsiteY854" fmla="*/ 379125 h 441764"/>
                    <a:gd name="connsiteX855" fmla="*/ 289120 w 620170"/>
                    <a:gd name="connsiteY855" fmla="*/ 377928 h 441764"/>
                    <a:gd name="connsiteX856" fmla="*/ 288329 w 620170"/>
                    <a:gd name="connsiteY856" fmla="*/ 376249 h 441764"/>
                    <a:gd name="connsiteX857" fmla="*/ 287400 w 620170"/>
                    <a:gd name="connsiteY857" fmla="*/ 375059 h 441764"/>
                    <a:gd name="connsiteX858" fmla="*/ 282250 w 620170"/>
                    <a:gd name="connsiteY858" fmla="*/ 375067 h 441764"/>
                    <a:gd name="connsiteX859" fmla="*/ 279878 w 620170"/>
                    <a:gd name="connsiteY859" fmla="*/ 376599 h 441764"/>
                    <a:gd name="connsiteX860" fmla="*/ 278737 w 620170"/>
                    <a:gd name="connsiteY860" fmla="*/ 376721 h 441764"/>
                    <a:gd name="connsiteX861" fmla="*/ 277556 w 620170"/>
                    <a:gd name="connsiteY861" fmla="*/ 376363 h 441764"/>
                    <a:gd name="connsiteX862" fmla="*/ 277335 w 620170"/>
                    <a:gd name="connsiteY862" fmla="*/ 375540 h 441764"/>
                    <a:gd name="connsiteX863" fmla="*/ 278444 w 620170"/>
                    <a:gd name="connsiteY863" fmla="*/ 373315 h 441764"/>
                    <a:gd name="connsiteX864" fmla="*/ 278175 w 620170"/>
                    <a:gd name="connsiteY864" fmla="*/ 370316 h 441764"/>
                    <a:gd name="connsiteX865" fmla="*/ 277881 w 620170"/>
                    <a:gd name="connsiteY865" fmla="*/ 369566 h 441764"/>
                    <a:gd name="connsiteX866" fmla="*/ 275502 w 620170"/>
                    <a:gd name="connsiteY866" fmla="*/ 369110 h 441764"/>
                    <a:gd name="connsiteX867" fmla="*/ 275102 w 620170"/>
                    <a:gd name="connsiteY867" fmla="*/ 368392 h 441764"/>
                    <a:gd name="connsiteX868" fmla="*/ 276521 w 620170"/>
                    <a:gd name="connsiteY868" fmla="*/ 364766 h 441764"/>
                    <a:gd name="connsiteX869" fmla="*/ 277311 w 620170"/>
                    <a:gd name="connsiteY869" fmla="*/ 364081 h 441764"/>
                    <a:gd name="connsiteX870" fmla="*/ 278370 w 620170"/>
                    <a:gd name="connsiteY870" fmla="*/ 363820 h 441764"/>
                    <a:gd name="connsiteX871" fmla="*/ 283081 w 620170"/>
                    <a:gd name="connsiteY871" fmla="*/ 363519 h 441764"/>
                    <a:gd name="connsiteX872" fmla="*/ 284646 w 620170"/>
                    <a:gd name="connsiteY872" fmla="*/ 364032 h 441764"/>
                    <a:gd name="connsiteX873" fmla="*/ 286919 w 620170"/>
                    <a:gd name="connsiteY873" fmla="*/ 366241 h 441764"/>
                    <a:gd name="connsiteX874" fmla="*/ 286846 w 620170"/>
                    <a:gd name="connsiteY874" fmla="*/ 365409 h 441764"/>
                    <a:gd name="connsiteX875" fmla="*/ 285990 w 620170"/>
                    <a:gd name="connsiteY875" fmla="*/ 362908 h 441764"/>
                    <a:gd name="connsiteX876" fmla="*/ 285868 w 620170"/>
                    <a:gd name="connsiteY876" fmla="*/ 361408 h 441764"/>
                    <a:gd name="connsiteX877" fmla="*/ 287433 w 620170"/>
                    <a:gd name="connsiteY877" fmla="*/ 359713 h 441764"/>
                    <a:gd name="connsiteX878" fmla="*/ 285933 w 620170"/>
                    <a:gd name="connsiteY878" fmla="*/ 359216 h 441764"/>
                    <a:gd name="connsiteX879" fmla="*/ 280343 w 620170"/>
                    <a:gd name="connsiteY879" fmla="*/ 358824 h 441764"/>
                    <a:gd name="connsiteX880" fmla="*/ 280392 w 620170"/>
                    <a:gd name="connsiteY880" fmla="*/ 359909 h 441764"/>
                    <a:gd name="connsiteX881" fmla="*/ 280848 w 620170"/>
                    <a:gd name="connsiteY881" fmla="*/ 361449 h 441764"/>
                    <a:gd name="connsiteX882" fmla="*/ 277539 w 620170"/>
                    <a:gd name="connsiteY882" fmla="*/ 362793 h 441764"/>
                    <a:gd name="connsiteX883" fmla="*/ 275086 w 620170"/>
                    <a:gd name="connsiteY883" fmla="*/ 363030 h 441764"/>
                    <a:gd name="connsiteX884" fmla="*/ 272739 w 620170"/>
                    <a:gd name="connsiteY884" fmla="*/ 362818 h 441764"/>
                    <a:gd name="connsiteX885" fmla="*/ 270824 w 620170"/>
                    <a:gd name="connsiteY885" fmla="*/ 362011 h 441764"/>
                    <a:gd name="connsiteX886" fmla="*/ 267556 w 620170"/>
                    <a:gd name="connsiteY886" fmla="*/ 358768 h 441764"/>
                    <a:gd name="connsiteX887" fmla="*/ 265510 w 620170"/>
                    <a:gd name="connsiteY887" fmla="*/ 355565 h 441764"/>
                    <a:gd name="connsiteX888" fmla="*/ 265608 w 620170"/>
                    <a:gd name="connsiteY888" fmla="*/ 353812 h 441764"/>
                    <a:gd name="connsiteX889" fmla="*/ 266724 w 620170"/>
                    <a:gd name="connsiteY889" fmla="*/ 351987 h 441764"/>
                    <a:gd name="connsiteX890" fmla="*/ 268200 w 620170"/>
                    <a:gd name="connsiteY890" fmla="*/ 350740 h 441764"/>
                    <a:gd name="connsiteX891" fmla="*/ 271671 w 620170"/>
                    <a:gd name="connsiteY891" fmla="*/ 349656 h 441764"/>
                    <a:gd name="connsiteX892" fmla="*/ 276219 w 620170"/>
                    <a:gd name="connsiteY892" fmla="*/ 349558 h 441764"/>
                    <a:gd name="connsiteX893" fmla="*/ 281304 w 620170"/>
                    <a:gd name="connsiteY893" fmla="*/ 351017 h 441764"/>
                    <a:gd name="connsiteX894" fmla="*/ 294116 w 620170"/>
                    <a:gd name="connsiteY894" fmla="*/ 357643 h 44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Lst>
                  <a:rect l="l" t="t" r="r" b="b"/>
                  <a:pathLst>
                    <a:path w="620170" h="441764">
                      <a:moveTo>
                        <a:pt x="405995" y="417600"/>
                      </a:moveTo>
                      <a:lnTo>
                        <a:pt x="403453" y="417600"/>
                      </a:lnTo>
                      <a:lnTo>
                        <a:pt x="402515" y="416313"/>
                      </a:lnTo>
                      <a:lnTo>
                        <a:pt x="400103" y="414642"/>
                      </a:lnTo>
                      <a:lnTo>
                        <a:pt x="399141" y="414650"/>
                      </a:lnTo>
                      <a:lnTo>
                        <a:pt x="398163" y="415147"/>
                      </a:lnTo>
                      <a:lnTo>
                        <a:pt x="397544" y="415954"/>
                      </a:lnTo>
                      <a:lnTo>
                        <a:pt x="396998" y="417600"/>
                      </a:lnTo>
                      <a:lnTo>
                        <a:pt x="396077" y="417600"/>
                      </a:lnTo>
                      <a:lnTo>
                        <a:pt x="395303" y="415302"/>
                      </a:lnTo>
                      <a:lnTo>
                        <a:pt x="395507" y="414283"/>
                      </a:lnTo>
                      <a:lnTo>
                        <a:pt x="396297" y="413061"/>
                      </a:lnTo>
                      <a:lnTo>
                        <a:pt x="396240" y="412621"/>
                      </a:lnTo>
                      <a:lnTo>
                        <a:pt x="394488" y="412963"/>
                      </a:lnTo>
                      <a:lnTo>
                        <a:pt x="393705" y="412654"/>
                      </a:lnTo>
                      <a:lnTo>
                        <a:pt x="393347" y="411993"/>
                      </a:lnTo>
                      <a:lnTo>
                        <a:pt x="393477" y="409394"/>
                      </a:lnTo>
                      <a:lnTo>
                        <a:pt x="392524" y="407910"/>
                      </a:lnTo>
                      <a:lnTo>
                        <a:pt x="393648" y="407283"/>
                      </a:lnTo>
                      <a:lnTo>
                        <a:pt x="396542" y="406786"/>
                      </a:lnTo>
                      <a:lnTo>
                        <a:pt x="399508" y="406720"/>
                      </a:lnTo>
                      <a:lnTo>
                        <a:pt x="400364" y="405637"/>
                      </a:lnTo>
                      <a:lnTo>
                        <a:pt x="401203" y="402890"/>
                      </a:lnTo>
                      <a:lnTo>
                        <a:pt x="399092" y="405417"/>
                      </a:lnTo>
                      <a:lnTo>
                        <a:pt x="397821" y="405677"/>
                      </a:lnTo>
                      <a:lnTo>
                        <a:pt x="393885" y="404740"/>
                      </a:lnTo>
                      <a:lnTo>
                        <a:pt x="391342" y="404887"/>
                      </a:lnTo>
                      <a:lnTo>
                        <a:pt x="391000" y="404333"/>
                      </a:lnTo>
                      <a:lnTo>
                        <a:pt x="391106" y="403762"/>
                      </a:lnTo>
                      <a:lnTo>
                        <a:pt x="391660" y="403208"/>
                      </a:lnTo>
                      <a:lnTo>
                        <a:pt x="392059" y="401301"/>
                      </a:lnTo>
                      <a:lnTo>
                        <a:pt x="392670" y="395947"/>
                      </a:lnTo>
                      <a:lnTo>
                        <a:pt x="393477" y="393999"/>
                      </a:lnTo>
                      <a:lnTo>
                        <a:pt x="393746" y="392931"/>
                      </a:lnTo>
                      <a:lnTo>
                        <a:pt x="393559" y="392687"/>
                      </a:lnTo>
                      <a:lnTo>
                        <a:pt x="390144" y="396419"/>
                      </a:lnTo>
                      <a:lnTo>
                        <a:pt x="389851" y="397601"/>
                      </a:lnTo>
                      <a:lnTo>
                        <a:pt x="390209" y="398628"/>
                      </a:lnTo>
                      <a:lnTo>
                        <a:pt x="389875" y="400730"/>
                      </a:lnTo>
                      <a:lnTo>
                        <a:pt x="388302" y="401358"/>
                      </a:lnTo>
                      <a:lnTo>
                        <a:pt x="387357" y="401016"/>
                      </a:lnTo>
                      <a:lnTo>
                        <a:pt x="385596" y="402784"/>
                      </a:lnTo>
                      <a:lnTo>
                        <a:pt x="385042" y="402980"/>
                      </a:lnTo>
                      <a:lnTo>
                        <a:pt x="376901" y="399875"/>
                      </a:lnTo>
                      <a:lnTo>
                        <a:pt x="376078" y="399443"/>
                      </a:lnTo>
                      <a:lnTo>
                        <a:pt x="374676" y="397992"/>
                      </a:lnTo>
                      <a:lnTo>
                        <a:pt x="372687" y="395515"/>
                      </a:lnTo>
                      <a:lnTo>
                        <a:pt x="372060" y="393371"/>
                      </a:lnTo>
                      <a:lnTo>
                        <a:pt x="372793" y="391578"/>
                      </a:lnTo>
                      <a:lnTo>
                        <a:pt x="373576" y="390674"/>
                      </a:lnTo>
                      <a:lnTo>
                        <a:pt x="374391" y="390674"/>
                      </a:lnTo>
                      <a:lnTo>
                        <a:pt x="375303" y="391350"/>
                      </a:lnTo>
                      <a:lnTo>
                        <a:pt x="377178" y="394292"/>
                      </a:lnTo>
                      <a:lnTo>
                        <a:pt x="377919" y="396109"/>
                      </a:lnTo>
                      <a:lnTo>
                        <a:pt x="379859" y="395857"/>
                      </a:lnTo>
                      <a:lnTo>
                        <a:pt x="382989" y="393526"/>
                      </a:lnTo>
                      <a:lnTo>
                        <a:pt x="383738" y="392670"/>
                      </a:lnTo>
                      <a:lnTo>
                        <a:pt x="380617" y="393559"/>
                      </a:lnTo>
                      <a:lnTo>
                        <a:pt x="379264" y="393502"/>
                      </a:lnTo>
                      <a:lnTo>
                        <a:pt x="377895" y="392532"/>
                      </a:lnTo>
                      <a:lnTo>
                        <a:pt x="376493" y="390657"/>
                      </a:lnTo>
                      <a:lnTo>
                        <a:pt x="375760" y="388530"/>
                      </a:lnTo>
                      <a:lnTo>
                        <a:pt x="375752" y="381758"/>
                      </a:lnTo>
                      <a:lnTo>
                        <a:pt x="376232" y="380454"/>
                      </a:lnTo>
                      <a:lnTo>
                        <a:pt x="377748" y="379484"/>
                      </a:lnTo>
                      <a:lnTo>
                        <a:pt x="378718" y="377870"/>
                      </a:lnTo>
                      <a:lnTo>
                        <a:pt x="378645" y="377194"/>
                      </a:lnTo>
                      <a:lnTo>
                        <a:pt x="377707" y="375825"/>
                      </a:lnTo>
                      <a:lnTo>
                        <a:pt x="376347" y="374757"/>
                      </a:lnTo>
                      <a:lnTo>
                        <a:pt x="375018" y="374227"/>
                      </a:lnTo>
                      <a:lnTo>
                        <a:pt x="374717" y="374382"/>
                      </a:lnTo>
                      <a:lnTo>
                        <a:pt x="376770" y="377357"/>
                      </a:lnTo>
                      <a:lnTo>
                        <a:pt x="376705" y="378465"/>
                      </a:lnTo>
                      <a:lnTo>
                        <a:pt x="374431" y="381359"/>
                      </a:lnTo>
                      <a:lnTo>
                        <a:pt x="374089" y="382206"/>
                      </a:lnTo>
                      <a:lnTo>
                        <a:pt x="374073" y="385026"/>
                      </a:lnTo>
                      <a:lnTo>
                        <a:pt x="373755" y="385629"/>
                      </a:lnTo>
                      <a:lnTo>
                        <a:pt x="371921" y="386428"/>
                      </a:lnTo>
                      <a:lnTo>
                        <a:pt x="369868" y="388644"/>
                      </a:lnTo>
                      <a:lnTo>
                        <a:pt x="366404" y="389394"/>
                      </a:lnTo>
                      <a:lnTo>
                        <a:pt x="363152" y="389174"/>
                      </a:lnTo>
                      <a:lnTo>
                        <a:pt x="361400" y="388074"/>
                      </a:lnTo>
                      <a:lnTo>
                        <a:pt x="355964" y="382638"/>
                      </a:lnTo>
                      <a:lnTo>
                        <a:pt x="353976" y="380364"/>
                      </a:lnTo>
                      <a:lnTo>
                        <a:pt x="353927" y="378441"/>
                      </a:lnTo>
                      <a:lnTo>
                        <a:pt x="350210" y="371677"/>
                      </a:lnTo>
                      <a:lnTo>
                        <a:pt x="350227" y="370218"/>
                      </a:lnTo>
                      <a:lnTo>
                        <a:pt x="348931" y="368107"/>
                      </a:lnTo>
                      <a:lnTo>
                        <a:pt x="347497" y="367814"/>
                      </a:lnTo>
                      <a:lnTo>
                        <a:pt x="347170" y="365801"/>
                      </a:lnTo>
                      <a:lnTo>
                        <a:pt x="350145" y="361457"/>
                      </a:lnTo>
                      <a:lnTo>
                        <a:pt x="351987" y="357798"/>
                      </a:lnTo>
                      <a:lnTo>
                        <a:pt x="352191" y="356649"/>
                      </a:lnTo>
                      <a:lnTo>
                        <a:pt x="352109" y="354856"/>
                      </a:lnTo>
                      <a:lnTo>
                        <a:pt x="351661" y="350887"/>
                      </a:lnTo>
                      <a:lnTo>
                        <a:pt x="352044" y="349167"/>
                      </a:lnTo>
                      <a:lnTo>
                        <a:pt x="350210" y="351441"/>
                      </a:lnTo>
                      <a:lnTo>
                        <a:pt x="349827" y="353120"/>
                      </a:lnTo>
                      <a:lnTo>
                        <a:pt x="350275" y="354815"/>
                      </a:lnTo>
                      <a:lnTo>
                        <a:pt x="349990" y="356754"/>
                      </a:lnTo>
                      <a:lnTo>
                        <a:pt x="348931" y="359460"/>
                      </a:lnTo>
                      <a:lnTo>
                        <a:pt x="347113" y="362313"/>
                      </a:lnTo>
                      <a:lnTo>
                        <a:pt x="343365" y="363682"/>
                      </a:lnTo>
                      <a:lnTo>
                        <a:pt x="336755" y="362924"/>
                      </a:lnTo>
                      <a:lnTo>
                        <a:pt x="335989" y="362557"/>
                      </a:lnTo>
                      <a:lnTo>
                        <a:pt x="335524" y="361571"/>
                      </a:lnTo>
                      <a:lnTo>
                        <a:pt x="335190" y="357358"/>
                      </a:lnTo>
                      <a:lnTo>
                        <a:pt x="334791" y="357879"/>
                      </a:lnTo>
                      <a:lnTo>
                        <a:pt x="334041" y="360120"/>
                      </a:lnTo>
                      <a:lnTo>
                        <a:pt x="333438" y="363331"/>
                      </a:lnTo>
                      <a:lnTo>
                        <a:pt x="332664" y="364057"/>
                      </a:lnTo>
                      <a:lnTo>
                        <a:pt x="331262" y="364122"/>
                      </a:lnTo>
                      <a:lnTo>
                        <a:pt x="330186" y="363608"/>
                      </a:lnTo>
                      <a:lnTo>
                        <a:pt x="329412" y="362525"/>
                      </a:lnTo>
                      <a:lnTo>
                        <a:pt x="327741" y="362427"/>
                      </a:lnTo>
                      <a:lnTo>
                        <a:pt x="324636" y="363274"/>
                      </a:lnTo>
                      <a:lnTo>
                        <a:pt x="323170" y="362940"/>
                      </a:lnTo>
                      <a:lnTo>
                        <a:pt x="321434" y="362908"/>
                      </a:lnTo>
                      <a:lnTo>
                        <a:pt x="317905" y="361962"/>
                      </a:lnTo>
                      <a:lnTo>
                        <a:pt x="313740" y="361726"/>
                      </a:lnTo>
                      <a:lnTo>
                        <a:pt x="312616" y="360992"/>
                      </a:lnTo>
                      <a:lnTo>
                        <a:pt x="312673" y="359607"/>
                      </a:lnTo>
                      <a:lnTo>
                        <a:pt x="313455" y="358906"/>
                      </a:lnTo>
                      <a:lnTo>
                        <a:pt x="317848" y="358287"/>
                      </a:lnTo>
                      <a:lnTo>
                        <a:pt x="322102" y="356803"/>
                      </a:lnTo>
                      <a:lnTo>
                        <a:pt x="326315" y="356070"/>
                      </a:lnTo>
                      <a:lnTo>
                        <a:pt x="326152" y="355312"/>
                      </a:lnTo>
                      <a:lnTo>
                        <a:pt x="324253" y="355084"/>
                      </a:lnTo>
                      <a:lnTo>
                        <a:pt x="314588" y="356722"/>
                      </a:lnTo>
                      <a:lnTo>
                        <a:pt x="311548" y="356526"/>
                      </a:lnTo>
                      <a:lnTo>
                        <a:pt x="311018" y="356257"/>
                      </a:lnTo>
                      <a:lnTo>
                        <a:pt x="310945" y="354603"/>
                      </a:lnTo>
                      <a:lnTo>
                        <a:pt x="312070" y="353030"/>
                      </a:lnTo>
                      <a:lnTo>
                        <a:pt x="313928" y="351571"/>
                      </a:lnTo>
                      <a:lnTo>
                        <a:pt x="314490" y="350455"/>
                      </a:lnTo>
                      <a:lnTo>
                        <a:pt x="313414" y="349990"/>
                      </a:lnTo>
                      <a:lnTo>
                        <a:pt x="311678" y="350292"/>
                      </a:lnTo>
                      <a:lnTo>
                        <a:pt x="310847" y="349403"/>
                      </a:lnTo>
                      <a:lnTo>
                        <a:pt x="311768" y="345940"/>
                      </a:lnTo>
                      <a:lnTo>
                        <a:pt x="310953" y="342403"/>
                      </a:lnTo>
                      <a:lnTo>
                        <a:pt x="309828" y="345761"/>
                      </a:lnTo>
                      <a:lnTo>
                        <a:pt x="308117" y="347602"/>
                      </a:lnTo>
                      <a:lnTo>
                        <a:pt x="299967" y="348393"/>
                      </a:lnTo>
                      <a:lnTo>
                        <a:pt x="298631" y="349379"/>
                      </a:lnTo>
                      <a:lnTo>
                        <a:pt x="297555" y="349354"/>
                      </a:lnTo>
                      <a:lnTo>
                        <a:pt x="292347" y="347578"/>
                      </a:lnTo>
                      <a:lnTo>
                        <a:pt x="290131" y="346494"/>
                      </a:lnTo>
                      <a:lnTo>
                        <a:pt x="288044" y="344880"/>
                      </a:lnTo>
                      <a:lnTo>
                        <a:pt x="284328" y="341278"/>
                      </a:lnTo>
                      <a:lnTo>
                        <a:pt x="281418" y="338931"/>
                      </a:lnTo>
                      <a:lnTo>
                        <a:pt x="281264" y="334603"/>
                      </a:lnTo>
                      <a:lnTo>
                        <a:pt x="281891" y="331849"/>
                      </a:lnTo>
                      <a:lnTo>
                        <a:pt x="283293" y="328760"/>
                      </a:lnTo>
                      <a:lnTo>
                        <a:pt x="288582" y="322094"/>
                      </a:lnTo>
                      <a:lnTo>
                        <a:pt x="290391" y="320822"/>
                      </a:lnTo>
                      <a:lnTo>
                        <a:pt x="292021" y="320390"/>
                      </a:lnTo>
                      <a:lnTo>
                        <a:pt x="299780" y="319804"/>
                      </a:lnTo>
                      <a:lnTo>
                        <a:pt x="305550" y="318964"/>
                      </a:lnTo>
                      <a:lnTo>
                        <a:pt x="306642" y="318573"/>
                      </a:lnTo>
                      <a:lnTo>
                        <a:pt x="298142" y="318076"/>
                      </a:lnTo>
                      <a:lnTo>
                        <a:pt x="290587" y="318418"/>
                      </a:lnTo>
                      <a:lnTo>
                        <a:pt x="288012" y="319469"/>
                      </a:lnTo>
                      <a:lnTo>
                        <a:pt x="284711" y="323748"/>
                      </a:lnTo>
                      <a:lnTo>
                        <a:pt x="283872" y="325557"/>
                      </a:lnTo>
                      <a:lnTo>
                        <a:pt x="283000" y="326869"/>
                      </a:lnTo>
                      <a:lnTo>
                        <a:pt x="282413" y="326902"/>
                      </a:lnTo>
                      <a:lnTo>
                        <a:pt x="281280" y="326437"/>
                      </a:lnTo>
                      <a:lnTo>
                        <a:pt x="280921" y="325875"/>
                      </a:lnTo>
                      <a:lnTo>
                        <a:pt x="280449" y="324473"/>
                      </a:lnTo>
                      <a:lnTo>
                        <a:pt x="278680" y="322249"/>
                      </a:lnTo>
                      <a:lnTo>
                        <a:pt x="277898" y="319689"/>
                      </a:lnTo>
                      <a:lnTo>
                        <a:pt x="277433" y="315916"/>
                      </a:lnTo>
                      <a:lnTo>
                        <a:pt x="277580" y="314229"/>
                      </a:lnTo>
                      <a:lnTo>
                        <a:pt x="278403" y="312078"/>
                      </a:lnTo>
                      <a:lnTo>
                        <a:pt x="280938" y="307840"/>
                      </a:lnTo>
                      <a:lnTo>
                        <a:pt x="277694" y="307954"/>
                      </a:lnTo>
                      <a:lnTo>
                        <a:pt x="278069" y="304384"/>
                      </a:lnTo>
                      <a:lnTo>
                        <a:pt x="279259" y="300505"/>
                      </a:lnTo>
                      <a:lnTo>
                        <a:pt x="282290" y="298207"/>
                      </a:lnTo>
                      <a:lnTo>
                        <a:pt x="285355" y="296544"/>
                      </a:lnTo>
                      <a:lnTo>
                        <a:pt x="288126" y="294368"/>
                      </a:lnTo>
                      <a:lnTo>
                        <a:pt x="292983" y="292918"/>
                      </a:lnTo>
                      <a:lnTo>
                        <a:pt x="294637" y="295900"/>
                      </a:lnTo>
                      <a:lnTo>
                        <a:pt x="298794" y="296805"/>
                      </a:lnTo>
                      <a:lnTo>
                        <a:pt x="299992" y="298142"/>
                      </a:lnTo>
                      <a:lnTo>
                        <a:pt x="301467" y="300603"/>
                      </a:lnTo>
                      <a:lnTo>
                        <a:pt x="303292" y="302950"/>
                      </a:lnTo>
                      <a:lnTo>
                        <a:pt x="305476" y="305183"/>
                      </a:lnTo>
                      <a:lnTo>
                        <a:pt x="306080" y="305338"/>
                      </a:lnTo>
                      <a:lnTo>
                        <a:pt x="305126" y="303423"/>
                      </a:lnTo>
                      <a:lnTo>
                        <a:pt x="301589" y="299225"/>
                      </a:lnTo>
                      <a:lnTo>
                        <a:pt x="301434" y="297742"/>
                      </a:lnTo>
                      <a:lnTo>
                        <a:pt x="300521" y="296137"/>
                      </a:lnTo>
                      <a:lnTo>
                        <a:pt x="295827" y="293814"/>
                      </a:lnTo>
                      <a:lnTo>
                        <a:pt x="294996" y="292926"/>
                      </a:lnTo>
                      <a:lnTo>
                        <a:pt x="294165" y="290595"/>
                      </a:lnTo>
                      <a:lnTo>
                        <a:pt x="293814" y="289079"/>
                      </a:lnTo>
                      <a:lnTo>
                        <a:pt x="294336" y="287612"/>
                      </a:lnTo>
                      <a:lnTo>
                        <a:pt x="299103" y="283130"/>
                      </a:lnTo>
                      <a:lnTo>
                        <a:pt x="300187" y="280775"/>
                      </a:lnTo>
                      <a:lnTo>
                        <a:pt x="300187" y="279658"/>
                      </a:lnTo>
                      <a:lnTo>
                        <a:pt x="299821" y="278403"/>
                      </a:lnTo>
                      <a:lnTo>
                        <a:pt x="298786" y="276243"/>
                      </a:lnTo>
                      <a:lnTo>
                        <a:pt x="298508" y="276243"/>
                      </a:lnTo>
                      <a:lnTo>
                        <a:pt x="298834" y="279528"/>
                      </a:lnTo>
                      <a:lnTo>
                        <a:pt x="298663" y="280815"/>
                      </a:lnTo>
                      <a:lnTo>
                        <a:pt x="298125" y="282241"/>
                      </a:lnTo>
                      <a:lnTo>
                        <a:pt x="297343" y="283325"/>
                      </a:lnTo>
                      <a:lnTo>
                        <a:pt x="296333" y="284067"/>
                      </a:lnTo>
                      <a:lnTo>
                        <a:pt x="286113" y="294246"/>
                      </a:lnTo>
                      <a:lnTo>
                        <a:pt x="285094" y="294849"/>
                      </a:lnTo>
                      <a:lnTo>
                        <a:pt x="281304" y="295770"/>
                      </a:lnTo>
                      <a:lnTo>
                        <a:pt x="279357" y="296846"/>
                      </a:lnTo>
                      <a:lnTo>
                        <a:pt x="278305" y="298272"/>
                      </a:lnTo>
                      <a:lnTo>
                        <a:pt x="276626" y="301988"/>
                      </a:lnTo>
                      <a:lnTo>
                        <a:pt x="274320" y="309421"/>
                      </a:lnTo>
                      <a:lnTo>
                        <a:pt x="271671" y="315419"/>
                      </a:lnTo>
                      <a:lnTo>
                        <a:pt x="269406" y="307644"/>
                      </a:lnTo>
                      <a:lnTo>
                        <a:pt x="265331" y="301687"/>
                      </a:lnTo>
                      <a:lnTo>
                        <a:pt x="273277" y="295778"/>
                      </a:lnTo>
                      <a:lnTo>
                        <a:pt x="273481" y="294874"/>
                      </a:lnTo>
                      <a:lnTo>
                        <a:pt x="272706" y="291711"/>
                      </a:lnTo>
                      <a:lnTo>
                        <a:pt x="272926" y="290750"/>
                      </a:lnTo>
                      <a:lnTo>
                        <a:pt x="273676" y="289356"/>
                      </a:lnTo>
                      <a:lnTo>
                        <a:pt x="275689" y="287335"/>
                      </a:lnTo>
                      <a:lnTo>
                        <a:pt x="275616" y="287123"/>
                      </a:lnTo>
                      <a:lnTo>
                        <a:pt x="273261" y="287848"/>
                      </a:lnTo>
                      <a:lnTo>
                        <a:pt x="269642" y="292437"/>
                      </a:lnTo>
                      <a:lnTo>
                        <a:pt x="268224" y="293912"/>
                      </a:lnTo>
                      <a:lnTo>
                        <a:pt x="267466" y="294108"/>
                      </a:lnTo>
                      <a:lnTo>
                        <a:pt x="267385" y="291418"/>
                      </a:lnTo>
                      <a:lnTo>
                        <a:pt x="269324" y="284426"/>
                      </a:lnTo>
                      <a:lnTo>
                        <a:pt x="270922" y="277621"/>
                      </a:lnTo>
                      <a:lnTo>
                        <a:pt x="271500" y="275673"/>
                      </a:lnTo>
                      <a:lnTo>
                        <a:pt x="272878" y="273709"/>
                      </a:lnTo>
                      <a:lnTo>
                        <a:pt x="271574" y="273855"/>
                      </a:lnTo>
                      <a:lnTo>
                        <a:pt x="265143" y="276887"/>
                      </a:lnTo>
                      <a:lnTo>
                        <a:pt x="262992" y="274988"/>
                      </a:lnTo>
                      <a:lnTo>
                        <a:pt x="261183" y="265119"/>
                      </a:lnTo>
                      <a:lnTo>
                        <a:pt x="258021" y="261256"/>
                      </a:lnTo>
                      <a:lnTo>
                        <a:pt x="252658" y="258094"/>
                      </a:lnTo>
                      <a:lnTo>
                        <a:pt x="247393" y="256627"/>
                      </a:lnTo>
                      <a:lnTo>
                        <a:pt x="246187" y="253807"/>
                      </a:lnTo>
                      <a:lnTo>
                        <a:pt x="245144" y="250384"/>
                      </a:lnTo>
                      <a:lnTo>
                        <a:pt x="246562" y="246350"/>
                      </a:lnTo>
                      <a:lnTo>
                        <a:pt x="248868" y="244435"/>
                      </a:lnTo>
                      <a:lnTo>
                        <a:pt x="250996" y="243571"/>
                      </a:lnTo>
                      <a:lnTo>
                        <a:pt x="253008" y="243970"/>
                      </a:lnTo>
                      <a:lnTo>
                        <a:pt x="253114" y="245445"/>
                      </a:lnTo>
                      <a:lnTo>
                        <a:pt x="251745" y="249423"/>
                      </a:lnTo>
                      <a:lnTo>
                        <a:pt x="253546" y="249806"/>
                      </a:lnTo>
                      <a:lnTo>
                        <a:pt x="260767" y="254630"/>
                      </a:lnTo>
                      <a:lnTo>
                        <a:pt x="262340" y="255030"/>
                      </a:lnTo>
                      <a:lnTo>
                        <a:pt x="265331" y="253163"/>
                      </a:lnTo>
                      <a:lnTo>
                        <a:pt x="266993" y="253237"/>
                      </a:lnTo>
                      <a:lnTo>
                        <a:pt x="270922" y="254744"/>
                      </a:lnTo>
                      <a:lnTo>
                        <a:pt x="272250" y="256554"/>
                      </a:lnTo>
                      <a:lnTo>
                        <a:pt x="275999" y="260107"/>
                      </a:lnTo>
                      <a:lnTo>
                        <a:pt x="275445" y="258037"/>
                      </a:lnTo>
                      <a:lnTo>
                        <a:pt x="271354" y="253685"/>
                      </a:lnTo>
                      <a:lnTo>
                        <a:pt x="269063" y="252283"/>
                      </a:lnTo>
                      <a:lnTo>
                        <a:pt x="265054" y="252022"/>
                      </a:lnTo>
                      <a:lnTo>
                        <a:pt x="262560" y="252748"/>
                      </a:lnTo>
                      <a:lnTo>
                        <a:pt x="261517" y="252536"/>
                      </a:lnTo>
                      <a:lnTo>
                        <a:pt x="259316" y="251427"/>
                      </a:lnTo>
                      <a:lnTo>
                        <a:pt x="257450" y="249610"/>
                      </a:lnTo>
                      <a:lnTo>
                        <a:pt x="255584" y="245617"/>
                      </a:lnTo>
                      <a:lnTo>
                        <a:pt x="255160" y="243750"/>
                      </a:lnTo>
                      <a:lnTo>
                        <a:pt x="255266" y="242373"/>
                      </a:lnTo>
                      <a:lnTo>
                        <a:pt x="255706" y="241126"/>
                      </a:lnTo>
                      <a:lnTo>
                        <a:pt x="256472" y="240001"/>
                      </a:lnTo>
                      <a:lnTo>
                        <a:pt x="258004" y="239186"/>
                      </a:lnTo>
                      <a:lnTo>
                        <a:pt x="260294" y="238681"/>
                      </a:lnTo>
                      <a:lnTo>
                        <a:pt x="260995" y="238192"/>
                      </a:lnTo>
                      <a:lnTo>
                        <a:pt x="258053" y="235902"/>
                      </a:lnTo>
                      <a:lnTo>
                        <a:pt x="256708" y="235902"/>
                      </a:lnTo>
                      <a:lnTo>
                        <a:pt x="252112" y="239252"/>
                      </a:lnTo>
                      <a:lnTo>
                        <a:pt x="251175" y="239521"/>
                      </a:lnTo>
                      <a:lnTo>
                        <a:pt x="250775" y="238869"/>
                      </a:lnTo>
                      <a:lnTo>
                        <a:pt x="250392" y="238812"/>
                      </a:lnTo>
                      <a:lnTo>
                        <a:pt x="249031" y="240466"/>
                      </a:lnTo>
                      <a:lnTo>
                        <a:pt x="247980" y="241208"/>
                      </a:lnTo>
                      <a:lnTo>
                        <a:pt x="244215" y="246334"/>
                      </a:lnTo>
                      <a:lnTo>
                        <a:pt x="243628" y="248779"/>
                      </a:lnTo>
                      <a:lnTo>
                        <a:pt x="243416" y="252438"/>
                      </a:lnTo>
                      <a:lnTo>
                        <a:pt x="242976" y="254728"/>
                      </a:lnTo>
                      <a:lnTo>
                        <a:pt x="242316" y="255665"/>
                      </a:lnTo>
                      <a:lnTo>
                        <a:pt x="237899" y="257417"/>
                      </a:lnTo>
                      <a:lnTo>
                        <a:pt x="235429" y="260914"/>
                      </a:lnTo>
                      <a:lnTo>
                        <a:pt x="232373" y="257841"/>
                      </a:lnTo>
                      <a:lnTo>
                        <a:pt x="229024" y="254867"/>
                      </a:lnTo>
                      <a:lnTo>
                        <a:pt x="226791" y="249659"/>
                      </a:lnTo>
                      <a:lnTo>
                        <a:pt x="222757" y="248746"/>
                      </a:lnTo>
                      <a:lnTo>
                        <a:pt x="218071" y="245804"/>
                      </a:lnTo>
                      <a:lnTo>
                        <a:pt x="216286" y="243180"/>
                      </a:lnTo>
                      <a:lnTo>
                        <a:pt x="218828" y="237777"/>
                      </a:lnTo>
                      <a:lnTo>
                        <a:pt x="222471" y="233694"/>
                      </a:lnTo>
                      <a:lnTo>
                        <a:pt x="223026" y="228796"/>
                      </a:lnTo>
                      <a:lnTo>
                        <a:pt x="223531" y="227736"/>
                      </a:lnTo>
                      <a:lnTo>
                        <a:pt x="229790" y="226522"/>
                      </a:lnTo>
                      <a:lnTo>
                        <a:pt x="233881" y="224085"/>
                      </a:lnTo>
                      <a:lnTo>
                        <a:pt x="229684" y="223865"/>
                      </a:lnTo>
                      <a:lnTo>
                        <a:pt x="227117" y="224232"/>
                      </a:lnTo>
                      <a:lnTo>
                        <a:pt x="222512" y="225927"/>
                      </a:lnTo>
                      <a:lnTo>
                        <a:pt x="217402" y="222561"/>
                      </a:lnTo>
                      <a:lnTo>
                        <a:pt x="214762" y="219489"/>
                      </a:lnTo>
                      <a:lnTo>
                        <a:pt x="213930" y="216864"/>
                      </a:lnTo>
                      <a:lnTo>
                        <a:pt x="214843" y="214648"/>
                      </a:lnTo>
                      <a:lnTo>
                        <a:pt x="214965" y="212390"/>
                      </a:lnTo>
                      <a:lnTo>
                        <a:pt x="215430" y="209334"/>
                      </a:lnTo>
                      <a:lnTo>
                        <a:pt x="215919" y="207989"/>
                      </a:lnTo>
                      <a:lnTo>
                        <a:pt x="216987" y="206286"/>
                      </a:lnTo>
                      <a:lnTo>
                        <a:pt x="219179" y="205153"/>
                      </a:lnTo>
                      <a:lnTo>
                        <a:pt x="221110" y="201633"/>
                      </a:lnTo>
                      <a:lnTo>
                        <a:pt x="221909" y="199188"/>
                      </a:lnTo>
                      <a:lnTo>
                        <a:pt x="225878" y="191820"/>
                      </a:lnTo>
                      <a:lnTo>
                        <a:pt x="227329" y="188634"/>
                      </a:lnTo>
                      <a:lnTo>
                        <a:pt x="230043" y="184216"/>
                      </a:lnTo>
                      <a:lnTo>
                        <a:pt x="235503" y="177265"/>
                      </a:lnTo>
                      <a:lnTo>
                        <a:pt x="233783" y="177656"/>
                      </a:lnTo>
                      <a:lnTo>
                        <a:pt x="232879" y="178251"/>
                      </a:lnTo>
                      <a:lnTo>
                        <a:pt x="232023" y="178178"/>
                      </a:lnTo>
                      <a:lnTo>
                        <a:pt x="231208" y="177436"/>
                      </a:lnTo>
                      <a:lnTo>
                        <a:pt x="230434" y="175904"/>
                      </a:lnTo>
                      <a:lnTo>
                        <a:pt x="229692" y="173557"/>
                      </a:lnTo>
                      <a:lnTo>
                        <a:pt x="229276" y="174584"/>
                      </a:lnTo>
                      <a:lnTo>
                        <a:pt x="229187" y="178984"/>
                      </a:lnTo>
                      <a:lnTo>
                        <a:pt x="228641" y="182741"/>
                      </a:lnTo>
                      <a:lnTo>
                        <a:pt x="227663" y="185349"/>
                      </a:lnTo>
                      <a:lnTo>
                        <a:pt x="224982" y="190655"/>
                      </a:lnTo>
                      <a:lnTo>
                        <a:pt x="223409" y="192717"/>
                      </a:lnTo>
                      <a:lnTo>
                        <a:pt x="222333" y="190793"/>
                      </a:lnTo>
                      <a:lnTo>
                        <a:pt x="223164" y="187476"/>
                      </a:lnTo>
                      <a:lnTo>
                        <a:pt x="224713" y="184836"/>
                      </a:lnTo>
                      <a:lnTo>
                        <a:pt x="224982" y="181217"/>
                      </a:lnTo>
                      <a:lnTo>
                        <a:pt x="223515" y="176898"/>
                      </a:lnTo>
                      <a:lnTo>
                        <a:pt x="222626" y="173418"/>
                      </a:lnTo>
                      <a:lnTo>
                        <a:pt x="222300" y="170778"/>
                      </a:lnTo>
                      <a:lnTo>
                        <a:pt x="222251" y="168365"/>
                      </a:lnTo>
                      <a:lnTo>
                        <a:pt x="222488" y="166181"/>
                      </a:lnTo>
                      <a:lnTo>
                        <a:pt x="223107" y="163810"/>
                      </a:lnTo>
                      <a:lnTo>
                        <a:pt x="224101" y="161234"/>
                      </a:lnTo>
                      <a:lnTo>
                        <a:pt x="223979" y="160949"/>
                      </a:lnTo>
                      <a:lnTo>
                        <a:pt x="224256" y="158561"/>
                      </a:lnTo>
                      <a:lnTo>
                        <a:pt x="224036" y="156100"/>
                      </a:lnTo>
                      <a:lnTo>
                        <a:pt x="223213" y="154160"/>
                      </a:lnTo>
                      <a:lnTo>
                        <a:pt x="222178" y="152465"/>
                      </a:lnTo>
                      <a:lnTo>
                        <a:pt x="219277" y="153476"/>
                      </a:lnTo>
                      <a:lnTo>
                        <a:pt x="214354" y="151952"/>
                      </a:lnTo>
                      <a:lnTo>
                        <a:pt x="212765" y="147795"/>
                      </a:lnTo>
                      <a:lnTo>
                        <a:pt x="208503" y="146516"/>
                      </a:lnTo>
                      <a:lnTo>
                        <a:pt x="206205" y="143541"/>
                      </a:lnTo>
                      <a:lnTo>
                        <a:pt x="201527" y="142091"/>
                      </a:lnTo>
                      <a:lnTo>
                        <a:pt x="197737" y="141072"/>
                      </a:lnTo>
                      <a:lnTo>
                        <a:pt x="194852" y="139369"/>
                      </a:lnTo>
                      <a:lnTo>
                        <a:pt x="191462" y="137355"/>
                      </a:lnTo>
                      <a:lnTo>
                        <a:pt x="188080" y="135212"/>
                      </a:lnTo>
                      <a:lnTo>
                        <a:pt x="185521" y="133590"/>
                      </a:lnTo>
                      <a:lnTo>
                        <a:pt x="183630" y="133696"/>
                      </a:lnTo>
                      <a:lnTo>
                        <a:pt x="179343" y="133941"/>
                      </a:lnTo>
                      <a:lnTo>
                        <a:pt x="179131" y="130273"/>
                      </a:lnTo>
                      <a:lnTo>
                        <a:pt x="177819" y="128057"/>
                      </a:lnTo>
                      <a:lnTo>
                        <a:pt x="178308" y="126093"/>
                      </a:lnTo>
                      <a:lnTo>
                        <a:pt x="175920" y="125090"/>
                      </a:lnTo>
                      <a:lnTo>
                        <a:pt x="172408" y="123615"/>
                      </a:lnTo>
                      <a:lnTo>
                        <a:pt x="173435" y="119874"/>
                      </a:lnTo>
                      <a:lnTo>
                        <a:pt x="174209" y="117038"/>
                      </a:lnTo>
                      <a:lnTo>
                        <a:pt x="171096" y="116191"/>
                      </a:lnTo>
                      <a:lnTo>
                        <a:pt x="166605" y="114985"/>
                      </a:lnTo>
                      <a:lnTo>
                        <a:pt x="168056" y="112426"/>
                      </a:lnTo>
                      <a:lnTo>
                        <a:pt x="169229" y="110364"/>
                      </a:lnTo>
                      <a:lnTo>
                        <a:pt x="167510" y="107340"/>
                      </a:lnTo>
                      <a:lnTo>
                        <a:pt x="164022" y="102271"/>
                      </a:lnTo>
                      <a:lnTo>
                        <a:pt x="161340" y="98636"/>
                      </a:lnTo>
                      <a:lnTo>
                        <a:pt x="157836" y="92980"/>
                      </a:lnTo>
                      <a:lnTo>
                        <a:pt x="154763" y="88001"/>
                      </a:lnTo>
                      <a:lnTo>
                        <a:pt x="152253" y="83926"/>
                      </a:lnTo>
                      <a:lnTo>
                        <a:pt x="150159" y="81114"/>
                      </a:lnTo>
                      <a:lnTo>
                        <a:pt x="147209" y="76070"/>
                      </a:lnTo>
                      <a:lnTo>
                        <a:pt x="143362" y="70381"/>
                      </a:lnTo>
                      <a:lnTo>
                        <a:pt x="139711" y="65899"/>
                      </a:lnTo>
                      <a:lnTo>
                        <a:pt x="140241" y="63006"/>
                      </a:lnTo>
                      <a:lnTo>
                        <a:pt x="136638" y="59363"/>
                      </a:lnTo>
                      <a:lnTo>
                        <a:pt x="133468" y="55679"/>
                      </a:lnTo>
                      <a:lnTo>
                        <a:pt x="129833" y="51433"/>
                      </a:lnTo>
                      <a:lnTo>
                        <a:pt x="126231" y="49347"/>
                      </a:lnTo>
                      <a:lnTo>
                        <a:pt x="123672" y="47855"/>
                      </a:lnTo>
                      <a:lnTo>
                        <a:pt x="119964" y="45720"/>
                      </a:lnTo>
                      <a:lnTo>
                        <a:pt x="118024" y="43797"/>
                      </a:lnTo>
                      <a:lnTo>
                        <a:pt x="117218" y="42167"/>
                      </a:lnTo>
                      <a:lnTo>
                        <a:pt x="116370" y="41018"/>
                      </a:lnTo>
                      <a:lnTo>
                        <a:pt x="115645" y="39420"/>
                      </a:lnTo>
                      <a:lnTo>
                        <a:pt x="115213" y="37554"/>
                      </a:lnTo>
                      <a:lnTo>
                        <a:pt x="114455" y="36405"/>
                      </a:lnTo>
                      <a:lnTo>
                        <a:pt x="109956" y="33634"/>
                      </a:lnTo>
                      <a:lnTo>
                        <a:pt x="108587" y="31898"/>
                      </a:lnTo>
                      <a:lnTo>
                        <a:pt x="105482" y="29893"/>
                      </a:lnTo>
                      <a:lnTo>
                        <a:pt x="102890" y="29046"/>
                      </a:lnTo>
                      <a:lnTo>
                        <a:pt x="101986" y="28369"/>
                      </a:lnTo>
                      <a:lnTo>
                        <a:pt x="98824" y="22290"/>
                      </a:lnTo>
                      <a:lnTo>
                        <a:pt x="99329" y="20122"/>
                      </a:lnTo>
                      <a:lnTo>
                        <a:pt x="99679" y="17946"/>
                      </a:lnTo>
                      <a:lnTo>
                        <a:pt x="99321" y="16837"/>
                      </a:lnTo>
                      <a:lnTo>
                        <a:pt x="94121" y="12216"/>
                      </a:lnTo>
                      <a:lnTo>
                        <a:pt x="91465" y="10293"/>
                      </a:lnTo>
                      <a:lnTo>
                        <a:pt x="88783" y="8305"/>
                      </a:lnTo>
                      <a:lnTo>
                        <a:pt x="83168" y="10872"/>
                      </a:lnTo>
                      <a:lnTo>
                        <a:pt x="77414" y="13504"/>
                      </a:lnTo>
                      <a:lnTo>
                        <a:pt x="73380" y="14474"/>
                      </a:lnTo>
                      <a:lnTo>
                        <a:pt x="67806" y="15811"/>
                      </a:lnTo>
                      <a:lnTo>
                        <a:pt x="69656" y="18663"/>
                      </a:lnTo>
                      <a:lnTo>
                        <a:pt x="68890" y="20757"/>
                      </a:lnTo>
                      <a:lnTo>
                        <a:pt x="67162" y="21719"/>
                      </a:lnTo>
                      <a:lnTo>
                        <a:pt x="64220" y="21597"/>
                      </a:lnTo>
                      <a:lnTo>
                        <a:pt x="64220" y="28703"/>
                      </a:lnTo>
                      <a:lnTo>
                        <a:pt x="61441" y="33764"/>
                      </a:lnTo>
                      <a:lnTo>
                        <a:pt x="55622" y="33846"/>
                      </a:lnTo>
                      <a:lnTo>
                        <a:pt x="52501" y="35582"/>
                      </a:lnTo>
                      <a:lnTo>
                        <a:pt x="47863" y="38165"/>
                      </a:lnTo>
                      <a:lnTo>
                        <a:pt x="44115" y="40243"/>
                      </a:lnTo>
                      <a:lnTo>
                        <a:pt x="40121" y="43609"/>
                      </a:lnTo>
                      <a:lnTo>
                        <a:pt x="38084" y="43120"/>
                      </a:lnTo>
                      <a:lnTo>
                        <a:pt x="38997" y="40121"/>
                      </a:lnTo>
                      <a:lnTo>
                        <a:pt x="37513" y="35052"/>
                      </a:lnTo>
                      <a:lnTo>
                        <a:pt x="36283" y="30822"/>
                      </a:lnTo>
                      <a:lnTo>
                        <a:pt x="33724" y="28646"/>
                      </a:lnTo>
                      <a:lnTo>
                        <a:pt x="29421" y="24979"/>
                      </a:lnTo>
                      <a:lnTo>
                        <a:pt x="26177" y="22232"/>
                      </a:lnTo>
                      <a:lnTo>
                        <a:pt x="21564" y="18304"/>
                      </a:lnTo>
                      <a:lnTo>
                        <a:pt x="18337" y="15558"/>
                      </a:lnTo>
                      <a:lnTo>
                        <a:pt x="14963" y="12681"/>
                      </a:lnTo>
                      <a:lnTo>
                        <a:pt x="10529" y="8908"/>
                      </a:lnTo>
                      <a:lnTo>
                        <a:pt x="8712" y="4001"/>
                      </a:lnTo>
                      <a:lnTo>
                        <a:pt x="4662" y="2225"/>
                      </a:lnTo>
                      <a:lnTo>
                        <a:pt x="326" y="334"/>
                      </a:lnTo>
                      <a:lnTo>
                        <a:pt x="0" y="0"/>
                      </a:lnTo>
                      <a:lnTo>
                        <a:pt x="472644" y="16"/>
                      </a:lnTo>
                      <a:lnTo>
                        <a:pt x="472619" y="238640"/>
                      </a:lnTo>
                      <a:lnTo>
                        <a:pt x="473320" y="240393"/>
                      </a:lnTo>
                      <a:lnTo>
                        <a:pt x="474697" y="241411"/>
                      </a:lnTo>
                      <a:lnTo>
                        <a:pt x="475015" y="243180"/>
                      </a:lnTo>
                      <a:lnTo>
                        <a:pt x="475504" y="243750"/>
                      </a:lnTo>
                      <a:lnTo>
                        <a:pt x="477314" y="244093"/>
                      </a:lnTo>
                      <a:lnTo>
                        <a:pt x="479221" y="246537"/>
                      </a:lnTo>
                      <a:lnTo>
                        <a:pt x="479017" y="247238"/>
                      </a:lnTo>
                      <a:lnTo>
                        <a:pt x="475447" y="247255"/>
                      </a:lnTo>
                      <a:lnTo>
                        <a:pt x="474673" y="247344"/>
                      </a:lnTo>
                      <a:lnTo>
                        <a:pt x="474608" y="247719"/>
                      </a:lnTo>
                      <a:lnTo>
                        <a:pt x="475219" y="249048"/>
                      </a:lnTo>
                      <a:lnTo>
                        <a:pt x="475276" y="250971"/>
                      </a:lnTo>
                      <a:lnTo>
                        <a:pt x="476238" y="251232"/>
                      </a:lnTo>
                      <a:lnTo>
                        <a:pt x="477118" y="251892"/>
                      </a:lnTo>
                      <a:lnTo>
                        <a:pt x="479506" y="255323"/>
                      </a:lnTo>
                      <a:lnTo>
                        <a:pt x="480582" y="256415"/>
                      </a:lnTo>
                      <a:lnTo>
                        <a:pt x="481380" y="256700"/>
                      </a:lnTo>
                      <a:lnTo>
                        <a:pt x="482749" y="256350"/>
                      </a:lnTo>
                      <a:lnTo>
                        <a:pt x="486653" y="256757"/>
                      </a:lnTo>
                      <a:lnTo>
                        <a:pt x="487525" y="257100"/>
                      </a:lnTo>
                      <a:lnTo>
                        <a:pt x="489783" y="261240"/>
                      </a:lnTo>
                      <a:lnTo>
                        <a:pt x="490973" y="262446"/>
                      </a:lnTo>
                      <a:lnTo>
                        <a:pt x="496319" y="264915"/>
                      </a:lnTo>
                      <a:lnTo>
                        <a:pt x="496897" y="265078"/>
                      </a:lnTo>
                      <a:lnTo>
                        <a:pt x="497044" y="262650"/>
                      </a:lnTo>
                      <a:lnTo>
                        <a:pt x="497631" y="261476"/>
                      </a:lnTo>
                      <a:lnTo>
                        <a:pt x="499570" y="262372"/>
                      </a:lnTo>
                      <a:lnTo>
                        <a:pt x="502317" y="264557"/>
                      </a:lnTo>
                      <a:lnTo>
                        <a:pt x="503059" y="265746"/>
                      </a:lnTo>
                      <a:lnTo>
                        <a:pt x="503238" y="267849"/>
                      </a:lnTo>
                      <a:lnTo>
                        <a:pt x="504102" y="268126"/>
                      </a:lnTo>
                      <a:lnTo>
                        <a:pt x="505422" y="269316"/>
                      </a:lnTo>
                      <a:lnTo>
                        <a:pt x="505675" y="271345"/>
                      </a:lnTo>
                      <a:lnTo>
                        <a:pt x="506604" y="273668"/>
                      </a:lnTo>
                      <a:lnTo>
                        <a:pt x="507223" y="274198"/>
                      </a:lnTo>
                      <a:lnTo>
                        <a:pt x="509798" y="274459"/>
                      </a:lnTo>
                      <a:lnTo>
                        <a:pt x="510418" y="274817"/>
                      </a:lnTo>
                      <a:lnTo>
                        <a:pt x="511616" y="276423"/>
                      </a:lnTo>
                      <a:lnTo>
                        <a:pt x="511999" y="278330"/>
                      </a:lnTo>
                      <a:lnTo>
                        <a:pt x="513360" y="279911"/>
                      </a:lnTo>
                      <a:lnTo>
                        <a:pt x="514053" y="281141"/>
                      </a:lnTo>
                      <a:lnTo>
                        <a:pt x="514321" y="282421"/>
                      </a:lnTo>
                      <a:lnTo>
                        <a:pt x="513555" y="284320"/>
                      </a:lnTo>
                      <a:lnTo>
                        <a:pt x="515088" y="286602"/>
                      </a:lnTo>
                      <a:lnTo>
                        <a:pt x="515634" y="288240"/>
                      </a:lnTo>
                      <a:lnTo>
                        <a:pt x="516652" y="289560"/>
                      </a:lnTo>
                      <a:lnTo>
                        <a:pt x="516114" y="291117"/>
                      </a:lnTo>
                      <a:lnTo>
                        <a:pt x="516204" y="292306"/>
                      </a:lnTo>
                      <a:lnTo>
                        <a:pt x="516750" y="293154"/>
                      </a:lnTo>
                      <a:lnTo>
                        <a:pt x="517484" y="293227"/>
                      </a:lnTo>
                      <a:lnTo>
                        <a:pt x="520735" y="292168"/>
                      </a:lnTo>
                      <a:lnTo>
                        <a:pt x="521127" y="291622"/>
                      </a:lnTo>
                      <a:lnTo>
                        <a:pt x="521518" y="290187"/>
                      </a:lnTo>
                      <a:lnTo>
                        <a:pt x="522178" y="289446"/>
                      </a:lnTo>
                      <a:lnTo>
                        <a:pt x="525128" y="291516"/>
                      </a:lnTo>
                      <a:lnTo>
                        <a:pt x="528233" y="292836"/>
                      </a:lnTo>
                      <a:lnTo>
                        <a:pt x="528877" y="293268"/>
                      </a:lnTo>
                      <a:lnTo>
                        <a:pt x="528804" y="294401"/>
                      </a:lnTo>
                      <a:lnTo>
                        <a:pt x="526644" y="297392"/>
                      </a:lnTo>
                      <a:lnTo>
                        <a:pt x="527492" y="298867"/>
                      </a:lnTo>
                      <a:lnTo>
                        <a:pt x="528412" y="299788"/>
                      </a:lnTo>
                      <a:lnTo>
                        <a:pt x="532463" y="302233"/>
                      </a:lnTo>
                      <a:lnTo>
                        <a:pt x="537483" y="302135"/>
                      </a:lnTo>
                      <a:lnTo>
                        <a:pt x="538412" y="301589"/>
                      </a:lnTo>
                      <a:lnTo>
                        <a:pt x="539089" y="301703"/>
                      </a:lnTo>
                      <a:lnTo>
                        <a:pt x="540963" y="305745"/>
                      </a:lnTo>
                      <a:lnTo>
                        <a:pt x="545119" y="310220"/>
                      </a:lnTo>
                      <a:lnTo>
                        <a:pt x="546105" y="311719"/>
                      </a:lnTo>
                      <a:lnTo>
                        <a:pt x="548542" y="317277"/>
                      </a:lnTo>
                      <a:lnTo>
                        <a:pt x="549186" y="318084"/>
                      </a:lnTo>
                      <a:lnTo>
                        <a:pt x="551240" y="318035"/>
                      </a:lnTo>
                      <a:lnTo>
                        <a:pt x="551615" y="317791"/>
                      </a:lnTo>
                      <a:lnTo>
                        <a:pt x="551769" y="316650"/>
                      </a:lnTo>
                      <a:lnTo>
                        <a:pt x="552201" y="315973"/>
                      </a:lnTo>
                      <a:lnTo>
                        <a:pt x="553008" y="315321"/>
                      </a:lnTo>
                      <a:lnTo>
                        <a:pt x="554019" y="314897"/>
                      </a:lnTo>
                      <a:lnTo>
                        <a:pt x="555103" y="315240"/>
                      </a:lnTo>
                      <a:lnTo>
                        <a:pt x="556097" y="316430"/>
                      </a:lnTo>
                      <a:lnTo>
                        <a:pt x="557751" y="320415"/>
                      </a:lnTo>
                      <a:lnTo>
                        <a:pt x="559381" y="321735"/>
                      </a:lnTo>
                      <a:lnTo>
                        <a:pt x="560473" y="323259"/>
                      </a:lnTo>
                      <a:lnTo>
                        <a:pt x="561639" y="324359"/>
                      </a:lnTo>
                      <a:lnTo>
                        <a:pt x="562478" y="326079"/>
                      </a:lnTo>
                      <a:lnTo>
                        <a:pt x="564141" y="327896"/>
                      </a:lnTo>
                      <a:lnTo>
                        <a:pt x="564915" y="331588"/>
                      </a:lnTo>
                      <a:lnTo>
                        <a:pt x="565616" y="332517"/>
                      </a:lnTo>
                      <a:lnTo>
                        <a:pt x="567450" y="333454"/>
                      </a:lnTo>
                      <a:lnTo>
                        <a:pt x="568476" y="334595"/>
                      </a:lnTo>
                      <a:lnTo>
                        <a:pt x="570473" y="335671"/>
                      </a:lnTo>
                      <a:lnTo>
                        <a:pt x="570783" y="335924"/>
                      </a:lnTo>
                      <a:lnTo>
                        <a:pt x="570954" y="336372"/>
                      </a:lnTo>
                      <a:lnTo>
                        <a:pt x="571484" y="338841"/>
                      </a:lnTo>
                      <a:lnTo>
                        <a:pt x="571875" y="339624"/>
                      </a:lnTo>
                      <a:lnTo>
                        <a:pt x="573293" y="340642"/>
                      </a:lnTo>
                      <a:lnTo>
                        <a:pt x="576928" y="341808"/>
                      </a:lnTo>
                      <a:lnTo>
                        <a:pt x="581263" y="345785"/>
                      </a:lnTo>
                      <a:lnTo>
                        <a:pt x="581834" y="346738"/>
                      </a:lnTo>
                      <a:lnTo>
                        <a:pt x="582030" y="347733"/>
                      </a:lnTo>
                      <a:lnTo>
                        <a:pt x="580742" y="349208"/>
                      </a:lnTo>
                      <a:lnTo>
                        <a:pt x="580889" y="349713"/>
                      </a:lnTo>
                      <a:lnTo>
                        <a:pt x="585868" y="353340"/>
                      </a:lnTo>
                      <a:lnTo>
                        <a:pt x="586716" y="354261"/>
                      </a:lnTo>
                      <a:lnTo>
                        <a:pt x="587025" y="354440"/>
                      </a:lnTo>
                      <a:lnTo>
                        <a:pt x="587286" y="354424"/>
                      </a:lnTo>
                      <a:lnTo>
                        <a:pt x="587677" y="354367"/>
                      </a:lnTo>
                      <a:lnTo>
                        <a:pt x="588011" y="354359"/>
                      </a:lnTo>
                      <a:lnTo>
                        <a:pt x="588297" y="354701"/>
                      </a:lnTo>
                      <a:lnTo>
                        <a:pt x="588892" y="355532"/>
                      </a:lnTo>
                      <a:lnTo>
                        <a:pt x="589209" y="356388"/>
                      </a:lnTo>
                      <a:lnTo>
                        <a:pt x="588981" y="357040"/>
                      </a:lnTo>
                      <a:lnTo>
                        <a:pt x="588900" y="357537"/>
                      </a:lnTo>
                      <a:lnTo>
                        <a:pt x="589038" y="357814"/>
                      </a:lnTo>
                      <a:lnTo>
                        <a:pt x="590000" y="359289"/>
                      </a:lnTo>
                      <a:lnTo>
                        <a:pt x="591100" y="360446"/>
                      </a:lnTo>
                      <a:lnTo>
                        <a:pt x="591508" y="360780"/>
                      </a:lnTo>
                      <a:lnTo>
                        <a:pt x="591931" y="360650"/>
                      </a:lnTo>
                      <a:lnTo>
                        <a:pt x="593447" y="359631"/>
                      </a:lnTo>
                      <a:lnTo>
                        <a:pt x="594352" y="359640"/>
                      </a:lnTo>
                      <a:lnTo>
                        <a:pt x="595428" y="359925"/>
                      </a:lnTo>
                      <a:lnTo>
                        <a:pt x="596797" y="361098"/>
                      </a:lnTo>
                      <a:lnTo>
                        <a:pt x="601850" y="367895"/>
                      </a:lnTo>
                      <a:lnTo>
                        <a:pt x="603659" y="376289"/>
                      </a:lnTo>
                      <a:lnTo>
                        <a:pt x="604857" y="378783"/>
                      </a:lnTo>
                      <a:lnTo>
                        <a:pt x="605248" y="380291"/>
                      </a:lnTo>
                      <a:lnTo>
                        <a:pt x="605264" y="381538"/>
                      </a:lnTo>
                      <a:lnTo>
                        <a:pt x="604612" y="382654"/>
                      </a:lnTo>
                      <a:lnTo>
                        <a:pt x="604433" y="383396"/>
                      </a:lnTo>
                      <a:lnTo>
                        <a:pt x="605607" y="388400"/>
                      </a:lnTo>
                      <a:lnTo>
                        <a:pt x="605476" y="390820"/>
                      </a:lnTo>
                      <a:lnTo>
                        <a:pt x="604409" y="393999"/>
                      </a:lnTo>
                      <a:lnTo>
                        <a:pt x="603129" y="395417"/>
                      </a:lnTo>
                      <a:lnTo>
                        <a:pt x="603219" y="396020"/>
                      </a:lnTo>
                      <a:lnTo>
                        <a:pt x="603651" y="396696"/>
                      </a:lnTo>
                      <a:lnTo>
                        <a:pt x="604531" y="397177"/>
                      </a:lnTo>
                      <a:lnTo>
                        <a:pt x="606503" y="397356"/>
                      </a:lnTo>
                      <a:lnTo>
                        <a:pt x="607098" y="397609"/>
                      </a:lnTo>
                      <a:lnTo>
                        <a:pt x="607131" y="398514"/>
                      </a:lnTo>
                      <a:lnTo>
                        <a:pt x="606788" y="400942"/>
                      </a:lnTo>
                      <a:lnTo>
                        <a:pt x="606837" y="402091"/>
                      </a:lnTo>
                      <a:lnTo>
                        <a:pt x="607400" y="403053"/>
                      </a:lnTo>
                      <a:lnTo>
                        <a:pt x="609527" y="405245"/>
                      </a:lnTo>
                      <a:lnTo>
                        <a:pt x="610863" y="407381"/>
                      </a:lnTo>
                      <a:lnTo>
                        <a:pt x="611849" y="408187"/>
                      </a:lnTo>
                      <a:lnTo>
                        <a:pt x="612045" y="408905"/>
                      </a:lnTo>
                      <a:lnTo>
                        <a:pt x="612615" y="409687"/>
                      </a:lnTo>
                      <a:lnTo>
                        <a:pt x="616715" y="411227"/>
                      </a:lnTo>
                      <a:lnTo>
                        <a:pt x="617367" y="412002"/>
                      </a:lnTo>
                      <a:lnTo>
                        <a:pt x="618133" y="413909"/>
                      </a:lnTo>
                      <a:lnTo>
                        <a:pt x="619999" y="415946"/>
                      </a:lnTo>
                      <a:lnTo>
                        <a:pt x="620170" y="416785"/>
                      </a:lnTo>
                      <a:lnTo>
                        <a:pt x="619877" y="417568"/>
                      </a:lnTo>
                      <a:lnTo>
                        <a:pt x="617489" y="417568"/>
                      </a:lnTo>
                      <a:lnTo>
                        <a:pt x="405995" y="417600"/>
                      </a:lnTo>
                      <a:close/>
                      <a:moveTo>
                        <a:pt x="158740" y="227964"/>
                      </a:moveTo>
                      <a:lnTo>
                        <a:pt x="161014" y="230181"/>
                      </a:lnTo>
                      <a:lnTo>
                        <a:pt x="166458" y="228771"/>
                      </a:lnTo>
                      <a:lnTo>
                        <a:pt x="167477" y="229040"/>
                      </a:lnTo>
                      <a:lnTo>
                        <a:pt x="168504" y="229888"/>
                      </a:lnTo>
                      <a:lnTo>
                        <a:pt x="169645" y="231697"/>
                      </a:lnTo>
                      <a:lnTo>
                        <a:pt x="170875" y="234460"/>
                      </a:lnTo>
                      <a:lnTo>
                        <a:pt x="171144" y="237475"/>
                      </a:lnTo>
                      <a:lnTo>
                        <a:pt x="170647" y="238559"/>
                      </a:lnTo>
                      <a:lnTo>
                        <a:pt x="169669" y="239757"/>
                      </a:lnTo>
                      <a:lnTo>
                        <a:pt x="160982" y="244533"/>
                      </a:lnTo>
                      <a:lnTo>
                        <a:pt x="160754" y="244997"/>
                      </a:lnTo>
                      <a:lnTo>
                        <a:pt x="160925" y="245421"/>
                      </a:lnTo>
                      <a:lnTo>
                        <a:pt x="161731" y="245885"/>
                      </a:lnTo>
                      <a:lnTo>
                        <a:pt x="163476" y="245820"/>
                      </a:lnTo>
                      <a:lnTo>
                        <a:pt x="170354" y="244639"/>
                      </a:lnTo>
                      <a:lnTo>
                        <a:pt x="170729" y="243807"/>
                      </a:lnTo>
                      <a:lnTo>
                        <a:pt x="171210" y="240042"/>
                      </a:lnTo>
                      <a:lnTo>
                        <a:pt x="172163" y="238037"/>
                      </a:lnTo>
                      <a:lnTo>
                        <a:pt x="172245" y="236522"/>
                      </a:lnTo>
                      <a:lnTo>
                        <a:pt x="171617" y="232927"/>
                      </a:lnTo>
                      <a:lnTo>
                        <a:pt x="171650" y="231477"/>
                      </a:lnTo>
                      <a:lnTo>
                        <a:pt x="176450" y="231183"/>
                      </a:lnTo>
                      <a:lnTo>
                        <a:pt x="179457" y="229847"/>
                      </a:lnTo>
                      <a:lnTo>
                        <a:pt x="182521" y="227353"/>
                      </a:lnTo>
                      <a:lnTo>
                        <a:pt x="183222" y="227418"/>
                      </a:lnTo>
                      <a:lnTo>
                        <a:pt x="182782" y="231892"/>
                      </a:lnTo>
                      <a:lnTo>
                        <a:pt x="182358" y="233270"/>
                      </a:lnTo>
                      <a:lnTo>
                        <a:pt x="179416" y="238730"/>
                      </a:lnTo>
                      <a:lnTo>
                        <a:pt x="177721" y="243530"/>
                      </a:lnTo>
                      <a:lnTo>
                        <a:pt x="176898" y="248273"/>
                      </a:lnTo>
                      <a:lnTo>
                        <a:pt x="176751" y="256105"/>
                      </a:lnTo>
                      <a:lnTo>
                        <a:pt x="176026" y="258746"/>
                      </a:lnTo>
                      <a:lnTo>
                        <a:pt x="174690" y="260376"/>
                      </a:lnTo>
                      <a:lnTo>
                        <a:pt x="166360" y="263220"/>
                      </a:lnTo>
                      <a:lnTo>
                        <a:pt x="162066" y="263049"/>
                      </a:lnTo>
                      <a:lnTo>
                        <a:pt x="158235" y="260457"/>
                      </a:lnTo>
                      <a:lnTo>
                        <a:pt x="156426" y="258689"/>
                      </a:lnTo>
                      <a:lnTo>
                        <a:pt x="157787" y="256537"/>
                      </a:lnTo>
                      <a:lnTo>
                        <a:pt x="158724" y="256439"/>
                      </a:lnTo>
                      <a:lnTo>
                        <a:pt x="161422" y="256863"/>
                      </a:lnTo>
                      <a:lnTo>
                        <a:pt x="163492" y="257662"/>
                      </a:lnTo>
                      <a:lnTo>
                        <a:pt x="164421" y="257703"/>
                      </a:lnTo>
                      <a:lnTo>
                        <a:pt x="164266" y="257197"/>
                      </a:lnTo>
                      <a:lnTo>
                        <a:pt x="158341" y="253139"/>
                      </a:lnTo>
                      <a:lnTo>
                        <a:pt x="154006" y="251297"/>
                      </a:lnTo>
                      <a:lnTo>
                        <a:pt x="152693" y="249227"/>
                      </a:lnTo>
                      <a:lnTo>
                        <a:pt x="152653" y="247630"/>
                      </a:lnTo>
                      <a:lnTo>
                        <a:pt x="152310" y="246733"/>
                      </a:lnTo>
                      <a:lnTo>
                        <a:pt x="148863" y="241126"/>
                      </a:lnTo>
                      <a:lnTo>
                        <a:pt x="148187" y="238909"/>
                      </a:lnTo>
                      <a:lnTo>
                        <a:pt x="147730" y="235780"/>
                      </a:lnTo>
                      <a:lnTo>
                        <a:pt x="147722" y="232561"/>
                      </a:lnTo>
                      <a:lnTo>
                        <a:pt x="148570" y="227329"/>
                      </a:lnTo>
                      <a:lnTo>
                        <a:pt x="148953" y="226774"/>
                      </a:lnTo>
                      <a:lnTo>
                        <a:pt x="150363" y="226815"/>
                      </a:lnTo>
                      <a:lnTo>
                        <a:pt x="152807" y="227459"/>
                      </a:lnTo>
                      <a:lnTo>
                        <a:pt x="158740" y="227964"/>
                      </a:lnTo>
                      <a:close/>
                      <a:moveTo>
                        <a:pt x="260514" y="272576"/>
                      </a:moveTo>
                      <a:lnTo>
                        <a:pt x="261647" y="284474"/>
                      </a:lnTo>
                      <a:lnTo>
                        <a:pt x="261566" y="288280"/>
                      </a:lnTo>
                      <a:lnTo>
                        <a:pt x="259903" y="290766"/>
                      </a:lnTo>
                      <a:lnTo>
                        <a:pt x="258730" y="294922"/>
                      </a:lnTo>
                      <a:lnTo>
                        <a:pt x="257369" y="296789"/>
                      </a:lnTo>
                      <a:lnTo>
                        <a:pt x="256073" y="294303"/>
                      </a:lnTo>
                      <a:lnTo>
                        <a:pt x="255959" y="290171"/>
                      </a:lnTo>
                      <a:lnTo>
                        <a:pt x="255616" y="286879"/>
                      </a:lnTo>
                      <a:lnTo>
                        <a:pt x="255193" y="285306"/>
                      </a:lnTo>
                      <a:lnTo>
                        <a:pt x="255690" y="279153"/>
                      </a:lnTo>
                      <a:lnTo>
                        <a:pt x="255111" y="279609"/>
                      </a:lnTo>
                      <a:lnTo>
                        <a:pt x="253587" y="282307"/>
                      </a:lnTo>
                      <a:lnTo>
                        <a:pt x="251884" y="282494"/>
                      </a:lnTo>
                      <a:lnTo>
                        <a:pt x="248828" y="279430"/>
                      </a:lnTo>
                      <a:lnTo>
                        <a:pt x="247295" y="276952"/>
                      </a:lnTo>
                      <a:lnTo>
                        <a:pt x="247043" y="274361"/>
                      </a:lnTo>
                      <a:lnTo>
                        <a:pt x="245030" y="271639"/>
                      </a:lnTo>
                      <a:lnTo>
                        <a:pt x="244826" y="270677"/>
                      </a:lnTo>
                      <a:lnTo>
                        <a:pt x="244989" y="269658"/>
                      </a:lnTo>
                      <a:lnTo>
                        <a:pt x="246644" y="266936"/>
                      </a:lnTo>
                      <a:lnTo>
                        <a:pt x="247320" y="265094"/>
                      </a:lnTo>
                      <a:lnTo>
                        <a:pt x="247907" y="261321"/>
                      </a:lnTo>
                      <a:lnTo>
                        <a:pt x="248583" y="259846"/>
                      </a:lnTo>
                      <a:lnTo>
                        <a:pt x="250140" y="260058"/>
                      </a:lnTo>
                      <a:lnTo>
                        <a:pt x="252927" y="261769"/>
                      </a:lnTo>
                      <a:lnTo>
                        <a:pt x="255836" y="263636"/>
                      </a:lnTo>
                      <a:lnTo>
                        <a:pt x="258510" y="266121"/>
                      </a:lnTo>
                      <a:lnTo>
                        <a:pt x="260514" y="272576"/>
                      </a:lnTo>
                      <a:close/>
                      <a:moveTo>
                        <a:pt x="181112" y="263008"/>
                      </a:moveTo>
                      <a:lnTo>
                        <a:pt x="183630" y="266472"/>
                      </a:lnTo>
                      <a:lnTo>
                        <a:pt x="184371" y="269577"/>
                      </a:lnTo>
                      <a:lnTo>
                        <a:pt x="184062" y="273228"/>
                      </a:lnTo>
                      <a:lnTo>
                        <a:pt x="180085" y="274613"/>
                      </a:lnTo>
                      <a:lnTo>
                        <a:pt x="177990" y="273513"/>
                      </a:lnTo>
                      <a:lnTo>
                        <a:pt x="177086" y="273717"/>
                      </a:lnTo>
                      <a:lnTo>
                        <a:pt x="175708" y="274817"/>
                      </a:lnTo>
                      <a:lnTo>
                        <a:pt x="177379" y="275306"/>
                      </a:lnTo>
                      <a:lnTo>
                        <a:pt x="179718" y="277099"/>
                      </a:lnTo>
                      <a:lnTo>
                        <a:pt x="181772" y="279422"/>
                      </a:lnTo>
                      <a:lnTo>
                        <a:pt x="184665" y="279837"/>
                      </a:lnTo>
                      <a:lnTo>
                        <a:pt x="188520" y="281467"/>
                      </a:lnTo>
                      <a:lnTo>
                        <a:pt x="185610" y="284385"/>
                      </a:lnTo>
                      <a:lnTo>
                        <a:pt x="185162" y="286064"/>
                      </a:lnTo>
                      <a:lnTo>
                        <a:pt x="188805" y="290717"/>
                      </a:lnTo>
                      <a:lnTo>
                        <a:pt x="189147" y="291883"/>
                      </a:lnTo>
                      <a:lnTo>
                        <a:pt x="190313" y="292119"/>
                      </a:lnTo>
                      <a:lnTo>
                        <a:pt x="193026" y="291744"/>
                      </a:lnTo>
                      <a:lnTo>
                        <a:pt x="193369" y="292111"/>
                      </a:lnTo>
                      <a:lnTo>
                        <a:pt x="193361" y="293073"/>
                      </a:lnTo>
                      <a:lnTo>
                        <a:pt x="191690" y="295770"/>
                      </a:lnTo>
                      <a:lnTo>
                        <a:pt x="191869" y="296308"/>
                      </a:lnTo>
                      <a:lnTo>
                        <a:pt x="193377" y="296732"/>
                      </a:lnTo>
                      <a:lnTo>
                        <a:pt x="196262" y="296740"/>
                      </a:lnTo>
                      <a:lnTo>
                        <a:pt x="196922" y="299421"/>
                      </a:lnTo>
                      <a:lnTo>
                        <a:pt x="194306" y="301850"/>
                      </a:lnTo>
                      <a:lnTo>
                        <a:pt x="189335" y="298712"/>
                      </a:lnTo>
                      <a:lnTo>
                        <a:pt x="187126" y="295591"/>
                      </a:lnTo>
                      <a:lnTo>
                        <a:pt x="185863" y="292690"/>
                      </a:lnTo>
                      <a:lnTo>
                        <a:pt x="184331" y="291051"/>
                      </a:lnTo>
                      <a:lnTo>
                        <a:pt x="179718" y="287417"/>
                      </a:lnTo>
                      <a:lnTo>
                        <a:pt x="172709" y="279552"/>
                      </a:lnTo>
                      <a:lnTo>
                        <a:pt x="170900" y="278411"/>
                      </a:lnTo>
                      <a:lnTo>
                        <a:pt x="169074" y="275298"/>
                      </a:lnTo>
                      <a:lnTo>
                        <a:pt x="168545" y="273798"/>
                      </a:lnTo>
                      <a:lnTo>
                        <a:pt x="168585" y="272788"/>
                      </a:lnTo>
                      <a:lnTo>
                        <a:pt x="169294" y="272258"/>
                      </a:lnTo>
                      <a:lnTo>
                        <a:pt x="171389" y="271908"/>
                      </a:lnTo>
                      <a:lnTo>
                        <a:pt x="171421" y="270343"/>
                      </a:lnTo>
                      <a:lnTo>
                        <a:pt x="163361" y="267629"/>
                      </a:lnTo>
                      <a:lnTo>
                        <a:pt x="162465" y="267075"/>
                      </a:lnTo>
                      <a:lnTo>
                        <a:pt x="161430" y="265176"/>
                      </a:lnTo>
                      <a:lnTo>
                        <a:pt x="161984" y="264891"/>
                      </a:lnTo>
                      <a:lnTo>
                        <a:pt x="166418" y="265225"/>
                      </a:lnTo>
                      <a:lnTo>
                        <a:pt x="171169" y="264312"/>
                      </a:lnTo>
                      <a:lnTo>
                        <a:pt x="174095" y="263611"/>
                      </a:lnTo>
                      <a:lnTo>
                        <a:pt x="175252" y="262756"/>
                      </a:lnTo>
                      <a:lnTo>
                        <a:pt x="177632" y="261655"/>
                      </a:lnTo>
                      <a:lnTo>
                        <a:pt x="178618" y="261720"/>
                      </a:lnTo>
                      <a:lnTo>
                        <a:pt x="181112" y="263008"/>
                      </a:lnTo>
                      <a:close/>
                      <a:moveTo>
                        <a:pt x="294116" y="357643"/>
                      </a:moveTo>
                      <a:lnTo>
                        <a:pt x="306430" y="362215"/>
                      </a:lnTo>
                      <a:lnTo>
                        <a:pt x="318761" y="364472"/>
                      </a:lnTo>
                      <a:lnTo>
                        <a:pt x="327807" y="367145"/>
                      </a:lnTo>
                      <a:lnTo>
                        <a:pt x="333365" y="367960"/>
                      </a:lnTo>
                      <a:lnTo>
                        <a:pt x="335370" y="368547"/>
                      </a:lnTo>
                      <a:lnTo>
                        <a:pt x="336665" y="369476"/>
                      </a:lnTo>
                      <a:lnTo>
                        <a:pt x="338198" y="371750"/>
                      </a:lnTo>
                      <a:lnTo>
                        <a:pt x="340838" y="377153"/>
                      </a:lnTo>
                      <a:lnTo>
                        <a:pt x="342843" y="380601"/>
                      </a:lnTo>
                      <a:lnTo>
                        <a:pt x="346975" y="386574"/>
                      </a:lnTo>
                      <a:lnTo>
                        <a:pt x="350243" y="390812"/>
                      </a:lnTo>
                      <a:lnTo>
                        <a:pt x="350985" y="392499"/>
                      </a:lnTo>
                      <a:lnTo>
                        <a:pt x="350300" y="393037"/>
                      </a:lnTo>
                      <a:lnTo>
                        <a:pt x="350341" y="394031"/>
                      </a:lnTo>
                      <a:lnTo>
                        <a:pt x="352826" y="398139"/>
                      </a:lnTo>
                      <a:lnTo>
                        <a:pt x="357480" y="401822"/>
                      </a:lnTo>
                      <a:lnTo>
                        <a:pt x="361123" y="403575"/>
                      </a:lnTo>
                      <a:lnTo>
                        <a:pt x="368816" y="406460"/>
                      </a:lnTo>
                      <a:lnTo>
                        <a:pt x="373527" y="409239"/>
                      </a:lnTo>
                      <a:lnTo>
                        <a:pt x="374985" y="411162"/>
                      </a:lnTo>
                      <a:lnTo>
                        <a:pt x="377039" y="413028"/>
                      </a:lnTo>
                      <a:lnTo>
                        <a:pt x="377887" y="414316"/>
                      </a:lnTo>
                      <a:lnTo>
                        <a:pt x="379566" y="419100"/>
                      </a:lnTo>
                      <a:lnTo>
                        <a:pt x="382679" y="423688"/>
                      </a:lnTo>
                      <a:lnTo>
                        <a:pt x="385890" y="432417"/>
                      </a:lnTo>
                      <a:lnTo>
                        <a:pt x="386493" y="431683"/>
                      </a:lnTo>
                      <a:lnTo>
                        <a:pt x="386860" y="429083"/>
                      </a:lnTo>
                      <a:lnTo>
                        <a:pt x="387226" y="428513"/>
                      </a:lnTo>
                      <a:lnTo>
                        <a:pt x="387903" y="428236"/>
                      </a:lnTo>
                      <a:lnTo>
                        <a:pt x="388539" y="429246"/>
                      </a:lnTo>
                      <a:lnTo>
                        <a:pt x="389125" y="431536"/>
                      </a:lnTo>
                      <a:lnTo>
                        <a:pt x="391171" y="436997"/>
                      </a:lnTo>
                      <a:lnTo>
                        <a:pt x="390503" y="438578"/>
                      </a:lnTo>
                      <a:lnTo>
                        <a:pt x="389908" y="438749"/>
                      </a:lnTo>
                      <a:lnTo>
                        <a:pt x="387145" y="438007"/>
                      </a:lnTo>
                      <a:lnTo>
                        <a:pt x="386191" y="438977"/>
                      </a:lnTo>
                      <a:lnTo>
                        <a:pt x="384904" y="440966"/>
                      </a:lnTo>
                      <a:lnTo>
                        <a:pt x="383991" y="441764"/>
                      </a:lnTo>
                      <a:lnTo>
                        <a:pt x="383461" y="441381"/>
                      </a:lnTo>
                      <a:lnTo>
                        <a:pt x="375466" y="439474"/>
                      </a:lnTo>
                      <a:lnTo>
                        <a:pt x="370544" y="437673"/>
                      </a:lnTo>
                      <a:lnTo>
                        <a:pt x="364073" y="434829"/>
                      </a:lnTo>
                      <a:lnTo>
                        <a:pt x="356306" y="431879"/>
                      </a:lnTo>
                      <a:lnTo>
                        <a:pt x="351873" y="429850"/>
                      </a:lnTo>
                      <a:lnTo>
                        <a:pt x="348173" y="427763"/>
                      </a:lnTo>
                      <a:lnTo>
                        <a:pt x="345606" y="425978"/>
                      </a:lnTo>
                      <a:lnTo>
                        <a:pt x="345117" y="424462"/>
                      </a:lnTo>
                      <a:lnTo>
                        <a:pt x="345231" y="423753"/>
                      </a:lnTo>
                      <a:lnTo>
                        <a:pt x="350210" y="418912"/>
                      </a:lnTo>
                      <a:lnTo>
                        <a:pt x="352321" y="416313"/>
                      </a:lnTo>
                      <a:lnTo>
                        <a:pt x="353136" y="414324"/>
                      </a:lnTo>
                      <a:lnTo>
                        <a:pt x="353552" y="412213"/>
                      </a:lnTo>
                      <a:lnTo>
                        <a:pt x="353242" y="409646"/>
                      </a:lnTo>
                      <a:lnTo>
                        <a:pt x="353038" y="409842"/>
                      </a:lnTo>
                      <a:lnTo>
                        <a:pt x="352598" y="412311"/>
                      </a:lnTo>
                      <a:lnTo>
                        <a:pt x="351865" y="414495"/>
                      </a:lnTo>
                      <a:lnTo>
                        <a:pt x="350968" y="416215"/>
                      </a:lnTo>
                      <a:lnTo>
                        <a:pt x="350398" y="416818"/>
                      </a:lnTo>
                      <a:lnTo>
                        <a:pt x="344432" y="417657"/>
                      </a:lnTo>
                      <a:lnTo>
                        <a:pt x="339608" y="417397"/>
                      </a:lnTo>
                      <a:lnTo>
                        <a:pt x="337187" y="419459"/>
                      </a:lnTo>
                      <a:lnTo>
                        <a:pt x="336470" y="419719"/>
                      </a:lnTo>
                      <a:lnTo>
                        <a:pt x="335133" y="419035"/>
                      </a:lnTo>
                      <a:lnTo>
                        <a:pt x="332224" y="416272"/>
                      </a:lnTo>
                      <a:lnTo>
                        <a:pt x="328059" y="414006"/>
                      </a:lnTo>
                      <a:lnTo>
                        <a:pt x="328467" y="413452"/>
                      </a:lnTo>
                      <a:lnTo>
                        <a:pt x="331181" y="412295"/>
                      </a:lnTo>
                      <a:lnTo>
                        <a:pt x="332623" y="410608"/>
                      </a:lnTo>
                      <a:lnTo>
                        <a:pt x="332371" y="410339"/>
                      </a:lnTo>
                      <a:lnTo>
                        <a:pt x="331393" y="410437"/>
                      </a:lnTo>
                      <a:lnTo>
                        <a:pt x="330545" y="410103"/>
                      </a:lnTo>
                      <a:lnTo>
                        <a:pt x="328850" y="407910"/>
                      </a:lnTo>
                      <a:lnTo>
                        <a:pt x="327880" y="407315"/>
                      </a:lnTo>
                      <a:lnTo>
                        <a:pt x="325826" y="408302"/>
                      </a:lnTo>
                      <a:lnTo>
                        <a:pt x="324995" y="408351"/>
                      </a:lnTo>
                      <a:lnTo>
                        <a:pt x="324196" y="406916"/>
                      </a:lnTo>
                      <a:lnTo>
                        <a:pt x="325346" y="403583"/>
                      </a:lnTo>
                      <a:lnTo>
                        <a:pt x="325402" y="402792"/>
                      </a:lnTo>
                      <a:lnTo>
                        <a:pt x="323292" y="404007"/>
                      </a:lnTo>
                      <a:lnTo>
                        <a:pt x="322599" y="403607"/>
                      </a:lnTo>
                      <a:lnTo>
                        <a:pt x="321939" y="402532"/>
                      </a:lnTo>
                      <a:lnTo>
                        <a:pt x="321320" y="402075"/>
                      </a:lnTo>
                      <a:lnTo>
                        <a:pt x="319616" y="402295"/>
                      </a:lnTo>
                      <a:lnTo>
                        <a:pt x="317758" y="401293"/>
                      </a:lnTo>
                      <a:lnTo>
                        <a:pt x="317114" y="401684"/>
                      </a:lnTo>
                      <a:lnTo>
                        <a:pt x="316870" y="403126"/>
                      </a:lnTo>
                      <a:lnTo>
                        <a:pt x="316250" y="403493"/>
                      </a:lnTo>
                      <a:lnTo>
                        <a:pt x="313422" y="401065"/>
                      </a:lnTo>
                      <a:lnTo>
                        <a:pt x="312779" y="400983"/>
                      </a:lnTo>
                      <a:lnTo>
                        <a:pt x="311409" y="402849"/>
                      </a:lnTo>
                      <a:lnTo>
                        <a:pt x="310937" y="402963"/>
                      </a:lnTo>
                      <a:lnTo>
                        <a:pt x="310203" y="402157"/>
                      </a:lnTo>
                      <a:lnTo>
                        <a:pt x="309828" y="397642"/>
                      </a:lnTo>
                      <a:lnTo>
                        <a:pt x="309983" y="396362"/>
                      </a:lnTo>
                      <a:lnTo>
                        <a:pt x="310374" y="395922"/>
                      </a:lnTo>
                      <a:lnTo>
                        <a:pt x="312827" y="394887"/>
                      </a:lnTo>
                      <a:lnTo>
                        <a:pt x="319893" y="393762"/>
                      </a:lnTo>
                      <a:lnTo>
                        <a:pt x="320480" y="392956"/>
                      </a:lnTo>
                      <a:lnTo>
                        <a:pt x="315183" y="393371"/>
                      </a:lnTo>
                      <a:lnTo>
                        <a:pt x="313806" y="392760"/>
                      </a:lnTo>
                      <a:lnTo>
                        <a:pt x="312330" y="391220"/>
                      </a:lnTo>
                      <a:lnTo>
                        <a:pt x="310782" y="391244"/>
                      </a:lnTo>
                      <a:lnTo>
                        <a:pt x="309967" y="390739"/>
                      </a:lnTo>
                      <a:lnTo>
                        <a:pt x="309111" y="389622"/>
                      </a:lnTo>
                      <a:lnTo>
                        <a:pt x="306870" y="385539"/>
                      </a:lnTo>
                      <a:lnTo>
                        <a:pt x="305346" y="384496"/>
                      </a:lnTo>
                      <a:lnTo>
                        <a:pt x="302746" y="383844"/>
                      </a:lnTo>
                      <a:lnTo>
                        <a:pt x="301402" y="383070"/>
                      </a:lnTo>
                      <a:lnTo>
                        <a:pt x="300839" y="383412"/>
                      </a:lnTo>
                      <a:lnTo>
                        <a:pt x="300293" y="384578"/>
                      </a:lnTo>
                      <a:lnTo>
                        <a:pt x="299568" y="385303"/>
                      </a:lnTo>
                      <a:lnTo>
                        <a:pt x="297791" y="385711"/>
                      </a:lnTo>
                      <a:lnTo>
                        <a:pt x="296161" y="385401"/>
                      </a:lnTo>
                      <a:lnTo>
                        <a:pt x="294890" y="384292"/>
                      </a:lnTo>
                      <a:lnTo>
                        <a:pt x="294140" y="382883"/>
                      </a:lnTo>
                      <a:lnTo>
                        <a:pt x="293847" y="381302"/>
                      </a:lnTo>
                      <a:lnTo>
                        <a:pt x="294556" y="379199"/>
                      </a:lnTo>
                      <a:lnTo>
                        <a:pt x="294540" y="378359"/>
                      </a:lnTo>
                      <a:lnTo>
                        <a:pt x="294222" y="377382"/>
                      </a:lnTo>
                      <a:lnTo>
                        <a:pt x="293643" y="376599"/>
                      </a:lnTo>
                      <a:lnTo>
                        <a:pt x="292795" y="375988"/>
                      </a:lnTo>
                      <a:lnTo>
                        <a:pt x="292331" y="376306"/>
                      </a:lnTo>
                      <a:lnTo>
                        <a:pt x="292258" y="377536"/>
                      </a:lnTo>
                      <a:lnTo>
                        <a:pt x="291793" y="378441"/>
                      </a:lnTo>
                      <a:lnTo>
                        <a:pt x="290318" y="379125"/>
                      </a:lnTo>
                      <a:lnTo>
                        <a:pt x="289120" y="377928"/>
                      </a:lnTo>
                      <a:lnTo>
                        <a:pt x="288329" y="376249"/>
                      </a:lnTo>
                      <a:lnTo>
                        <a:pt x="287400" y="375059"/>
                      </a:lnTo>
                      <a:lnTo>
                        <a:pt x="282250" y="375067"/>
                      </a:lnTo>
                      <a:lnTo>
                        <a:pt x="279878" y="376599"/>
                      </a:lnTo>
                      <a:lnTo>
                        <a:pt x="278737" y="376721"/>
                      </a:lnTo>
                      <a:lnTo>
                        <a:pt x="277556" y="376363"/>
                      </a:lnTo>
                      <a:lnTo>
                        <a:pt x="277335" y="375540"/>
                      </a:lnTo>
                      <a:lnTo>
                        <a:pt x="278444" y="373315"/>
                      </a:lnTo>
                      <a:lnTo>
                        <a:pt x="278175" y="370316"/>
                      </a:lnTo>
                      <a:lnTo>
                        <a:pt x="277881" y="369566"/>
                      </a:lnTo>
                      <a:lnTo>
                        <a:pt x="275502" y="369110"/>
                      </a:lnTo>
                      <a:lnTo>
                        <a:pt x="275102" y="368392"/>
                      </a:lnTo>
                      <a:lnTo>
                        <a:pt x="276521" y="364766"/>
                      </a:lnTo>
                      <a:lnTo>
                        <a:pt x="277311" y="364081"/>
                      </a:lnTo>
                      <a:lnTo>
                        <a:pt x="278370" y="363820"/>
                      </a:lnTo>
                      <a:lnTo>
                        <a:pt x="283081" y="363519"/>
                      </a:lnTo>
                      <a:lnTo>
                        <a:pt x="284646" y="364032"/>
                      </a:lnTo>
                      <a:lnTo>
                        <a:pt x="286919" y="366241"/>
                      </a:lnTo>
                      <a:lnTo>
                        <a:pt x="286846" y="365409"/>
                      </a:lnTo>
                      <a:lnTo>
                        <a:pt x="285990" y="362908"/>
                      </a:lnTo>
                      <a:lnTo>
                        <a:pt x="285868" y="361408"/>
                      </a:lnTo>
                      <a:lnTo>
                        <a:pt x="287433" y="359713"/>
                      </a:lnTo>
                      <a:lnTo>
                        <a:pt x="285933" y="359216"/>
                      </a:lnTo>
                      <a:lnTo>
                        <a:pt x="280343" y="358824"/>
                      </a:lnTo>
                      <a:lnTo>
                        <a:pt x="280392" y="359909"/>
                      </a:lnTo>
                      <a:lnTo>
                        <a:pt x="280848" y="361449"/>
                      </a:lnTo>
                      <a:lnTo>
                        <a:pt x="277539" y="362793"/>
                      </a:lnTo>
                      <a:lnTo>
                        <a:pt x="275086" y="363030"/>
                      </a:lnTo>
                      <a:lnTo>
                        <a:pt x="272739" y="362818"/>
                      </a:lnTo>
                      <a:lnTo>
                        <a:pt x="270824" y="362011"/>
                      </a:lnTo>
                      <a:lnTo>
                        <a:pt x="267556" y="358768"/>
                      </a:lnTo>
                      <a:lnTo>
                        <a:pt x="265510" y="355565"/>
                      </a:lnTo>
                      <a:lnTo>
                        <a:pt x="265608" y="353812"/>
                      </a:lnTo>
                      <a:lnTo>
                        <a:pt x="266724" y="351987"/>
                      </a:lnTo>
                      <a:lnTo>
                        <a:pt x="268200" y="350740"/>
                      </a:lnTo>
                      <a:lnTo>
                        <a:pt x="271671" y="349656"/>
                      </a:lnTo>
                      <a:lnTo>
                        <a:pt x="276219" y="349558"/>
                      </a:lnTo>
                      <a:lnTo>
                        <a:pt x="281304" y="351017"/>
                      </a:lnTo>
                      <a:lnTo>
                        <a:pt x="294116" y="357643"/>
                      </a:lnTo>
                      <a:close/>
                    </a:path>
                  </a:pathLst>
                </a:custGeom>
                <a:solidFill>
                  <a:srgbClr val="D6D6D2"/>
                </a:solidFill>
                <a:ln w="6112" cap="rnd">
                  <a:solidFill>
                    <a:srgbClr val="FFFFFF"/>
                  </a:solidFill>
                  <a:prstDash val="solid"/>
                  <a:round/>
                </a:ln>
              </p:spPr>
              <p:txBody>
                <a:bodyPr rtlCol="0" anchor="ctr"/>
                <a:lstStyle/>
                <a:p>
                  <a:endParaRPr lang="en-US"/>
                </a:p>
              </p:txBody>
            </p:sp>
            <p:sp>
              <p:nvSpPr>
                <p:cNvPr id="493" name="Freeform: Shape 492">
                  <a:extLst>
                    <a:ext uri="{FF2B5EF4-FFF2-40B4-BE49-F238E27FC236}">
                      <a16:creationId xmlns:a16="http://schemas.microsoft.com/office/drawing/2014/main" id="{0E19C36C-44CE-42CD-98EE-805BB55D32D5}"/>
                    </a:ext>
                  </a:extLst>
                </p:cNvPr>
                <p:cNvSpPr/>
                <p:nvPr/>
              </p:nvSpPr>
              <p:spPr>
                <a:xfrm>
                  <a:off x="2446451" y="2137807"/>
                  <a:ext cx="426190" cy="405921"/>
                </a:xfrm>
                <a:custGeom>
                  <a:avLst/>
                  <a:gdLst>
                    <a:gd name="connsiteX0" fmla="*/ 48263 w 426190"/>
                    <a:gd name="connsiteY0" fmla="*/ 405889 h 405921"/>
                    <a:gd name="connsiteX1" fmla="*/ 45068 w 426190"/>
                    <a:gd name="connsiteY1" fmla="*/ 402613 h 405921"/>
                    <a:gd name="connsiteX2" fmla="*/ 46258 w 426190"/>
                    <a:gd name="connsiteY2" fmla="*/ 399052 h 405921"/>
                    <a:gd name="connsiteX3" fmla="*/ 47692 w 426190"/>
                    <a:gd name="connsiteY3" fmla="*/ 394781 h 405921"/>
                    <a:gd name="connsiteX4" fmla="*/ 47692 w 426190"/>
                    <a:gd name="connsiteY4" fmla="*/ 392206 h 405921"/>
                    <a:gd name="connsiteX5" fmla="*/ 43837 w 426190"/>
                    <a:gd name="connsiteY5" fmla="*/ 392369 h 405921"/>
                    <a:gd name="connsiteX6" fmla="*/ 38051 w 426190"/>
                    <a:gd name="connsiteY6" fmla="*/ 392605 h 405921"/>
                    <a:gd name="connsiteX7" fmla="*/ 32884 w 426190"/>
                    <a:gd name="connsiteY7" fmla="*/ 392825 h 405921"/>
                    <a:gd name="connsiteX8" fmla="*/ 29054 w 426190"/>
                    <a:gd name="connsiteY8" fmla="*/ 395841 h 405921"/>
                    <a:gd name="connsiteX9" fmla="*/ 25517 w 426190"/>
                    <a:gd name="connsiteY9" fmla="*/ 398628 h 405921"/>
                    <a:gd name="connsiteX10" fmla="*/ 19967 w 426190"/>
                    <a:gd name="connsiteY10" fmla="*/ 396452 h 405921"/>
                    <a:gd name="connsiteX11" fmla="*/ 13626 w 426190"/>
                    <a:gd name="connsiteY11" fmla="*/ 393958 h 405921"/>
                    <a:gd name="connsiteX12" fmla="*/ 11825 w 426190"/>
                    <a:gd name="connsiteY12" fmla="*/ 397218 h 405921"/>
                    <a:gd name="connsiteX13" fmla="*/ 5941 w 426190"/>
                    <a:gd name="connsiteY13" fmla="*/ 395588 h 405921"/>
                    <a:gd name="connsiteX14" fmla="*/ 0 w 426190"/>
                    <a:gd name="connsiteY14" fmla="*/ 393942 h 405921"/>
                    <a:gd name="connsiteX15" fmla="*/ 0 w 426190"/>
                    <a:gd name="connsiteY15" fmla="*/ 0 h 405921"/>
                    <a:gd name="connsiteX16" fmla="*/ 3521 w 426190"/>
                    <a:gd name="connsiteY16" fmla="*/ 685 h 405921"/>
                    <a:gd name="connsiteX17" fmla="*/ 14800 w 426190"/>
                    <a:gd name="connsiteY17" fmla="*/ 2143 h 405921"/>
                    <a:gd name="connsiteX18" fmla="*/ 25435 w 426190"/>
                    <a:gd name="connsiteY18" fmla="*/ 1288 h 405921"/>
                    <a:gd name="connsiteX19" fmla="*/ 45149 w 426190"/>
                    <a:gd name="connsiteY19" fmla="*/ 5998 h 405921"/>
                    <a:gd name="connsiteX20" fmla="*/ 57341 w 426190"/>
                    <a:gd name="connsiteY20" fmla="*/ 14808 h 405921"/>
                    <a:gd name="connsiteX21" fmla="*/ 67235 w 426190"/>
                    <a:gd name="connsiteY21" fmla="*/ 19127 h 405921"/>
                    <a:gd name="connsiteX22" fmla="*/ 71269 w 426190"/>
                    <a:gd name="connsiteY22" fmla="*/ 22094 h 405921"/>
                    <a:gd name="connsiteX23" fmla="*/ 77691 w 426190"/>
                    <a:gd name="connsiteY23" fmla="*/ 24702 h 405921"/>
                    <a:gd name="connsiteX24" fmla="*/ 92809 w 426190"/>
                    <a:gd name="connsiteY24" fmla="*/ 30382 h 405921"/>
                    <a:gd name="connsiteX25" fmla="*/ 97512 w 426190"/>
                    <a:gd name="connsiteY25" fmla="*/ 30969 h 405921"/>
                    <a:gd name="connsiteX26" fmla="*/ 106272 w 426190"/>
                    <a:gd name="connsiteY26" fmla="*/ 33683 h 405921"/>
                    <a:gd name="connsiteX27" fmla="*/ 111692 w 426190"/>
                    <a:gd name="connsiteY27" fmla="*/ 33324 h 405921"/>
                    <a:gd name="connsiteX28" fmla="*/ 113053 w 426190"/>
                    <a:gd name="connsiteY28" fmla="*/ 33422 h 405921"/>
                    <a:gd name="connsiteX29" fmla="*/ 113020 w 426190"/>
                    <a:gd name="connsiteY29" fmla="*/ 45516 h 405921"/>
                    <a:gd name="connsiteX30" fmla="*/ 113020 w 426190"/>
                    <a:gd name="connsiteY30" fmla="*/ 58271 h 405921"/>
                    <a:gd name="connsiteX31" fmla="*/ 113020 w 426190"/>
                    <a:gd name="connsiteY31" fmla="*/ 70976 h 405921"/>
                    <a:gd name="connsiteX32" fmla="*/ 113020 w 426190"/>
                    <a:gd name="connsiteY32" fmla="*/ 83641 h 405921"/>
                    <a:gd name="connsiteX33" fmla="*/ 113298 w 426190"/>
                    <a:gd name="connsiteY33" fmla="*/ 85556 h 405921"/>
                    <a:gd name="connsiteX34" fmla="*/ 114137 w 426190"/>
                    <a:gd name="connsiteY34" fmla="*/ 87137 h 405921"/>
                    <a:gd name="connsiteX35" fmla="*/ 117511 w 426190"/>
                    <a:gd name="connsiteY35" fmla="*/ 89305 h 405921"/>
                    <a:gd name="connsiteX36" fmla="*/ 118293 w 426190"/>
                    <a:gd name="connsiteY36" fmla="*/ 89989 h 405921"/>
                    <a:gd name="connsiteX37" fmla="*/ 118921 w 426190"/>
                    <a:gd name="connsiteY37" fmla="*/ 91000 h 405921"/>
                    <a:gd name="connsiteX38" fmla="*/ 119874 w 426190"/>
                    <a:gd name="connsiteY38" fmla="*/ 93714 h 405921"/>
                    <a:gd name="connsiteX39" fmla="*/ 119663 w 426190"/>
                    <a:gd name="connsiteY39" fmla="*/ 96493 h 405921"/>
                    <a:gd name="connsiteX40" fmla="*/ 119671 w 426190"/>
                    <a:gd name="connsiteY40" fmla="*/ 97675 h 405921"/>
                    <a:gd name="connsiteX41" fmla="*/ 120143 w 426190"/>
                    <a:gd name="connsiteY41" fmla="*/ 98921 h 405921"/>
                    <a:gd name="connsiteX42" fmla="*/ 120575 w 426190"/>
                    <a:gd name="connsiteY42" fmla="*/ 99720 h 405921"/>
                    <a:gd name="connsiteX43" fmla="*/ 120885 w 426190"/>
                    <a:gd name="connsiteY43" fmla="*/ 100633 h 405921"/>
                    <a:gd name="connsiteX44" fmla="*/ 121464 w 426190"/>
                    <a:gd name="connsiteY44" fmla="*/ 102793 h 405921"/>
                    <a:gd name="connsiteX45" fmla="*/ 121398 w 426190"/>
                    <a:gd name="connsiteY45" fmla="*/ 103502 h 405921"/>
                    <a:gd name="connsiteX46" fmla="*/ 120347 w 426190"/>
                    <a:gd name="connsiteY46" fmla="*/ 106142 h 405921"/>
                    <a:gd name="connsiteX47" fmla="*/ 118660 w 426190"/>
                    <a:gd name="connsiteY47" fmla="*/ 108098 h 405921"/>
                    <a:gd name="connsiteX48" fmla="*/ 118595 w 426190"/>
                    <a:gd name="connsiteY48" fmla="*/ 108872 h 405921"/>
                    <a:gd name="connsiteX49" fmla="*/ 118513 w 426190"/>
                    <a:gd name="connsiteY49" fmla="*/ 110087 h 405921"/>
                    <a:gd name="connsiteX50" fmla="*/ 118522 w 426190"/>
                    <a:gd name="connsiteY50" fmla="*/ 112100 h 405921"/>
                    <a:gd name="connsiteX51" fmla="*/ 119231 w 426190"/>
                    <a:gd name="connsiteY51" fmla="*/ 114349 h 405921"/>
                    <a:gd name="connsiteX52" fmla="*/ 119858 w 426190"/>
                    <a:gd name="connsiteY52" fmla="*/ 115253 h 405921"/>
                    <a:gd name="connsiteX53" fmla="*/ 120934 w 426190"/>
                    <a:gd name="connsiteY53" fmla="*/ 115702 h 405921"/>
                    <a:gd name="connsiteX54" fmla="*/ 128049 w 426190"/>
                    <a:gd name="connsiteY54" fmla="*/ 115702 h 405921"/>
                    <a:gd name="connsiteX55" fmla="*/ 135163 w 426190"/>
                    <a:gd name="connsiteY55" fmla="*/ 115702 h 405921"/>
                    <a:gd name="connsiteX56" fmla="*/ 142278 w 426190"/>
                    <a:gd name="connsiteY56" fmla="*/ 115710 h 405921"/>
                    <a:gd name="connsiteX57" fmla="*/ 149401 w 426190"/>
                    <a:gd name="connsiteY57" fmla="*/ 115710 h 405921"/>
                    <a:gd name="connsiteX58" fmla="*/ 156516 w 426190"/>
                    <a:gd name="connsiteY58" fmla="*/ 115710 h 405921"/>
                    <a:gd name="connsiteX59" fmla="*/ 163630 w 426190"/>
                    <a:gd name="connsiteY59" fmla="*/ 115710 h 405921"/>
                    <a:gd name="connsiteX60" fmla="*/ 170745 w 426190"/>
                    <a:gd name="connsiteY60" fmla="*/ 115710 h 405921"/>
                    <a:gd name="connsiteX61" fmla="*/ 172285 w 426190"/>
                    <a:gd name="connsiteY61" fmla="*/ 115710 h 405921"/>
                    <a:gd name="connsiteX62" fmla="*/ 172342 w 426190"/>
                    <a:gd name="connsiteY62" fmla="*/ 117071 h 405921"/>
                    <a:gd name="connsiteX63" fmla="*/ 172888 w 426190"/>
                    <a:gd name="connsiteY63" fmla="*/ 118302 h 405921"/>
                    <a:gd name="connsiteX64" fmla="*/ 175553 w 426190"/>
                    <a:gd name="connsiteY64" fmla="*/ 120070 h 405921"/>
                    <a:gd name="connsiteX65" fmla="*/ 177444 w 426190"/>
                    <a:gd name="connsiteY65" fmla="*/ 121847 h 405921"/>
                    <a:gd name="connsiteX66" fmla="*/ 178764 w 426190"/>
                    <a:gd name="connsiteY66" fmla="*/ 123697 h 405921"/>
                    <a:gd name="connsiteX67" fmla="*/ 179050 w 426190"/>
                    <a:gd name="connsiteY67" fmla="*/ 125123 h 405921"/>
                    <a:gd name="connsiteX68" fmla="*/ 178683 w 426190"/>
                    <a:gd name="connsiteY68" fmla="*/ 126541 h 405921"/>
                    <a:gd name="connsiteX69" fmla="*/ 178471 w 426190"/>
                    <a:gd name="connsiteY69" fmla="*/ 127364 h 405921"/>
                    <a:gd name="connsiteX70" fmla="*/ 178642 w 426190"/>
                    <a:gd name="connsiteY70" fmla="*/ 128317 h 405921"/>
                    <a:gd name="connsiteX71" fmla="*/ 179343 w 426190"/>
                    <a:gd name="connsiteY71" fmla="*/ 129467 h 405921"/>
                    <a:gd name="connsiteX72" fmla="*/ 179392 w 426190"/>
                    <a:gd name="connsiteY72" fmla="*/ 130110 h 405921"/>
                    <a:gd name="connsiteX73" fmla="*/ 179506 w 426190"/>
                    <a:gd name="connsiteY73" fmla="*/ 130893 h 405921"/>
                    <a:gd name="connsiteX74" fmla="*/ 180451 w 426190"/>
                    <a:gd name="connsiteY74" fmla="*/ 131740 h 405921"/>
                    <a:gd name="connsiteX75" fmla="*/ 182285 w 426190"/>
                    <a:gd name="connsiteY75" fmla="*/ 133680 h 405921"/>
                    <a:gd name="connsiteX76" fmla="*/ 182693 w 426190"/>
                    <a:gd name="connsiteY76" fmla="*/ 134552 h 405921"/>
                    <a:gd name="connsiteX77" fmla="*/ 182350 w 426190"/>
                    <a:gd name="connsiteY77" fmla="*/ 135815 h 405921"/>
                    <a:gd name="connsiteX78" fmla="*/ 182122 w 426190"/>
                    <a:gd name="connsiteY78" fmla="*/ 136973 h 405921"/>
                    <a:gd name="connsiteX79" fmla="*/ 182277 w 426190"/>
                    <a:gd name="connsiteY79" fmla="*/ 138545 h 405921"/>
                    <a:gd name="connsiteX80" fmla="*/ 182236 w 426190"/>
                    <a:gd name="connsiteY80" fmla="*/ 139385 h 405921"/>
                    <a:gd name="connsiteX81" fmla="*/ 181731 w 426190"/>
                    <a:gd name="connsiteY81" fmla="*/ 139686 h 405921"/>
                    <a:gd name="connsiteX82" fmla="*/ 180949 w 426190"/>
                    <a:gd name="connsiteY82" fmla="*/ 139752 h 405921"/>
                    <a:gd name="connsiteX83" fmla="*/ 180117 w 426190"/>
                    <a:gd name="connsiteY83" fmla="*/ 139939 h 405921"/>
                    <a:gd name="connsiteX84" fmla="*/ 179612 w 426190"/>
                    <a:gd name="connsiteY84" fmla="*/ 140958 h 405921"/>
                    <a:gd name="connsiteX85" fmla="*/ 178854 w 426190"/>
                    <a:gd name="connsiteY85" fmla="*/ 143859 h 405921"/>
                    <a:gd name="connsiteX86" fmla="*/ 178601 w 426190"/>
                    <a:gd name="connsiteY86" fmla="*/ 144821 h 405921"/>
                    <a:gd name="connsiteX87" fmla="*/ 178854 w 426190"/>
                    <a:gd name="connsiteY87" fmla="*/ 145725 h 405921"/>
                    <a:gd name="connsiteX88" fmla="*/ 179604 w 426190"/>
                    <a:gd name="connsiteY88" fmla="*/ 145758 h 405921"/>
                    <a:gd name="connsiteX89" fmla="*/ 182293 w 426190"/>
                    <a:gd name="connsiteY89" fmla="*/ 145897 h 405921"/>
                    <a:gd name="connsiteX90" fmla="*/ 183263 w 426190"/>
                    <a:gd name="connsiteY90" fmla="*/ 146108 h 405921"/>
                    <a:gd name="connsiteX91" fmla="*/ 183980 w 426190"/>
                    <a:gd name="connsiteY91" fmla="*/ 146540 h 405921"/>
                    <a:gd name="connsiteX92" fmla="*/ 184274 w 426190"/>
                    <a:gd name="connsiteY92" fmla="*/ 148097 h 405921"/>
                    <a:gd name="connsiteX93" fmla="*/ 184380 w 426190"/>
                    <a:gd name="connsiteY93" fmla="*/ 149816 h 405921"/>
                    <a:gd name="connsiteX94" fmla="*/ 184339 w 426190"/>
                    <a:gd name="connsiteY94" fmla="*/ 151161 h 405921"/>
                    <a:gd name="connsiteX95" fmla="*/ 183719 w 426190"/>
                    <a:gd name="connsiteY95" fmla="*/ 152310 h 405921"/>
                    <a:gd name="connsiteX96" fmla="*/ 182081 w 426190"/>
                    <a:gd name="connsiteY96" fmla="*/ 153948 h 405921"/>
                    <a:gd name="connsiteX97" fmla="*/ 181649 w 426190"/>
                    <a:gd name="connsiteY97" fmla="*/ 154625 h 405921"/>
                    <a:gd name="connsiteX98" fmla="*/ 181682 w 426190"/>
                    <a:gd name="connsiteY98" fmla="*/ 155538 h 405921"/>
                    <a:gd name="connsiteX99" fmla="*/ 182432 w 426190"/>
                    <a:gd name="connsiteY99" fmla="*/ 156589 h 405921"/>
                    <a:gd name="connsiteX100" fmla="*/ 182970 w 426190"/>
                    <a:gd name="connsiteY100" fmla="*/ 158251 h 405921"/>
                    <a:gd name="connsiteX101" fmla="*/ 183019 w 426190"/>
                    <a:gd name="connsiteY101" fmla="*/ 159767 h 405921"/>
                    <a:gd name="connsiteX102" fmla="*/ 183833 w 426190"/>
                    <a:gd name="connsiteY102" fmla="*/ 160281 h 405921"/>
                    <a:gd name="connsiteX103" fmla="*/ 186050 w 426190"/>
                    <a:gd name="connsiteY103" fmla="*/ 160582 h 405921"/>
                    <a:gd name="connsiteX104" fmla="*/ 188218 w 426190"/>
                    <a:gd name="connsiteY104" fmla="*/ 160558 h 405921"/>
                    <a:gd name="connsiteX105" fmla="*/ 192766 w 426190"/>
                    <a:gd name="connsiteY105" fmla="*/ 158431 h 405921"/>
                    <a:gd name="connsiteX106" fmla="*/ 197419 w 426190"/>
                    <a:gd name="connsiteY106" fmla="*/ 157518 h 405921"/>
                    <a:gd name="connsiteX107" fmla="*/ 199986 w 426190"/>
                    <a:gd name="connsiteY107" fmla="*/ 157477 h 405921"/>
                    <a:gd name="connsiteX108" fmla="*/ 200483 w 426190"/>
                    <a:gd name="connsiteY108" fmla="*/ 157950 h 405921"/>
                    <a:gd name="connsiteX109" fmla="*/ 200524 w 426190"/>
                    <a:gd name="connsiteY109" fmla="*/ 158618 h 405921"/>
                    <a:gd name="connsiteX110" fmla="*/ 199954 w 426190"/>
                    <a:gd name="connsiteY110" fmla="*/ 159702 h 405921"/>
                    <a:gd name="connsiteX111" fmla="*/ 199253 w 426190"/>
                    <a:gd name="connsiteY111" fmla="*/ 161520 h 405921"/>
                    <a:gd name="connsiteX112" fmla="*/ 199742 w 426190"/>
                    <a:gd name="connsiteY112" fmla="*/ 162237 h 405921"/>
                    <a:gd name="connsiteX113" fmla="*/ 200875 w 426190"/>
                    <a:gd name="connsiteY113" fmla="*/ 162375 h 405921"/>
                    <a:gd name="connsiteX114" fmla="*/ 202888 w 426190"/>
                    <a:gd name="connsiteY114" fmla="*/ 161764 h 405921"/>
                    <a:gd name="connsiteX115" fmla="*/ 204257 w 426190"/>
                    <a:gd name="connsiteY115" fmla="*/ 159914 h 405921"/>
                    <a:gd name="connsiteX116" fmla="*/ 205561 w 426190"/>
                    <a:gd name="connsiteY116" fmla="*/ 158789 h 405921"/>
                    <a:gd name="connsiteX117" fmla="*/ 208022 w 426190"/>
                    <a:gd name="connsiteY117" fmla="*/ 157445 h 405921"/>
                    <a:gd name="connsiteX118" fmla="*/ 208943 w 426190"/>
                    <a:gd name="connsiteY118" fmla="*/ 157681 h 405921"/>
                    <a:gd name="connsiteX119" fmla="*/ 211274 w 426190"/>
                    <a:gd name="connsiteY119" fmla="*/ 159164 h 405921"/>
                    <a:gd name="connsiteX120" fmla="*/ 214061 w 426190"/>
                    <a:gd name="connsiteY120" fmla="*/ 158969 h 405921"/>
                    <a:gd name="connsiteX121" fmla="*/ 214754 w 426190"/>
                    <a:gd name="connsiteY121" fmla="*/ 159596 h 405921"/>
                    <a:gd name="connsiteX122" fmla="*/ 214802 w 426190"/>
                    <a:gd name="connsiteY122" fmla="*/ 160607 h 405921"/>
                    <a:gd name="connsiteX123" fmla="*/ 209880 w 426190"/>
                    <a:gd name="connsiteY123" fmla="*/ 163549 h 405921"/>
                    <a:gd name="connsiteX124" fmla="*/ 209489 w 426190"/>
                    <a:gd name="connsiteY124" fmla="*/ 164788 h 405921"/>
                    <a:gd name="connsiteX125" fmla="*/ 210027 w 426190"/>
                    <a:gd name="connsiteY125" fmla="*/ 165766 h 405921"/>
                    <a:gd name="connsiteX126" fmla="*/ 211119 w 426190"/>
                    <a:gd name="connsiteY126" fmla="*/ 166377 h 405921"/>
                    <a:gd name="connsiteX127" fmla="*/ 213882 w 426190"/>
                    <a:gd name="connsiteY127" fmla="*/ 168618 h 405921"/>
                    <a:gd name="connsiteX128" fmla="*/ 215927 w 426190"/>
                    <a:gd name="connsiteY128" fmla="*/ 170761 h 405921"/>
                    <a:gd name="connsiteX129" fmla="*/ 218388 w 426190"/>
                    <a:gd name="connsiteY129" fmla="*/ 174518 h 405921"/>
                    <a:gd name="connsiteX130" fmla="*/ 218421 w 426190"/>
                    <a:gd name="connsiteY130" fmla="*/ 175790 h 405921"/>
                    <a:gd name="connsiteX131" fmla="*/ 216612 w 426190"/>
                    <a:gd name="connsiteY131" fmla="*/ 178324 h 405921"/>
                    <a:gd name="connsiteX132" fmla="*/ 214672 w 426190"/>
                    <a:gd name="connsiteY132" fmla="*/ 182318 h 405921"/>
                    <a:gd name="connsiteX133" fmla="*/ 209815 w 426190"/>
                    <a:gd name="connsiteY133" fmla="*/ 186661 h 405921"/>
                    <a:gd name="connsiteX134" fmla="*/ 209204 w 426190"/>
                    <a:gd name="connsiteY134" fmla="*/ 188373 h 405921"/>
                    <a:gd name="connsiteX135" fmla="*/ 208446 w 426190"/>
                    <a:gd name="connsiteY135" fmla="*/ 189220 h 405921"/>
                    <a:gd name="connsiteX136" fmla="*/ 204338 w 426190"/>
                    <a:gd name="connsiteY136" fmla="*/ 191551 h 405921"/>
                    <a:gd name="connsiteX137" fmla="*/ 204069 w 426190"/>
                    <a:gd name="connsiteY137" fmla="*/ 192464 h 405921"/>
                    <a:gd name="connsiteX138" fmla="*/ 204200 w 426190"/>
                    <a:gd name="connsiteY138" fmla="*/ 193246 h 405921"/>
                    <a:gd name="connsiteX139" fmla="*/ 204599 w 426190"/>
                    <a:gd name="connsiteY139" fmla="*/ 193735 h 405921"/>
                    <a:gd name="connsiteX140" fmla="*/ 205683 w 426190"/>
                    <a:gd name="connsiteY140" fmla="*/ 193988 h 405921"/>
                    <a:gd name="connsiteX141" fmla="*/ 208120 w 426190"/>
                    <a:gd name="connsiteY141" fmla="*/ 193393 h 405921"/>
                    <a:gd name="connsiteX142" fmla="*/ 208878 w 426190"/>
                    <a:gd name="connsiteY142" fmla="*/ 193255 h 405921"/>
                    <a:gd name="connsiteX143" fmla="*/ 209856 w 426190"/>
                    <a:gd name="connsiteY143" fmla="*/ 193866 h 405921"/>
                    <a:gd name="connsiteX144" fmla="*/ 209896 w 426190"/>
                    <a:gd name="connsiteY144" fmla="*/ 196433 h 405921"/>
                    <a:gd name="connsiteX145" fmla="*/ 210451 w 426190"/>
                    <a:gd name="connsiteY145" fmla="*/ 197069 h 405921"/>
                    <a:gd name="connsiteX146" fmla="*/ 213792 w 426190"/>
                    <a:gd name="connsiteY146" fmla="*/ 197875 h 405921"/>
                    <a:gd name="connsiteX147" fmla="*/ 214501 w 426190"/>
                    <a:gd name="connsiteY147" fmla="*/ 198625 h 405921"/>
                    <a:gd name="connsiteX148" fmla="*/ 214477 w 426190"/>
                    <a:gd name="connsiteY148" fmla="*/ 199416 h 405921"/>
                    <a:gd name="connsiteX149" fmla="*/ 213800 w 426190"/>
                    <a:gd name="connsiteY149" fmla="*/ 200125 h 405921"/>
                    <a:gd name="connsiteX150" fmla="*/ 211314 w 426190"/>
                    <a:gd name="connsiteY150" fmla="*/ 202284 h 405921"/>
                    <a:gd name="connsiteX151" fmla="*/ 210923 w 426190"/>
                    <a:gd name="connsiteY151" fmla="*/ 202822 h 405921"/>
                    <a:gd name="connsiteX152" fmla="*/ 210915 w 426190"/>
                    <a:gd name="connsiteY152" fmla="*/ 204705 h 405921"/>
                    <a:gd name="connsiteX153" fmla="*/ 210736 w 426190"/>
                    <a:gd name="connsiteY153" fmla="*/ 205919 h 405921"/>
                    <a:gd name="connsiteX154" fmla="*/ 208772 w 426190"/>
                    <a:gd name="connsiteY154" fmla="*/ 207680 h 405921"/>
                    <a:gd name="connsiteX155" fmla="*/ 208340 w 426190"/>
                    <a:gd name="connsiteY155" fmla="*/ 208348 h 405921"/>
                    <a:gd name="connsiteX156" fmla="*/ 208381 w 426190"/>
                    <a:gd name="connsiteY156" fmla="*/ 209081 h 405921"/>
                    <a:gd name="connsiteX157" fmla="*/ 208666 w 426190"/>
                    <a:gd name="connsiteY157" fmla="*/ 209684 h 405921"/>
                    <a:gd name="connsiteX158" fmla="*/ 209521 w 426190"/>
                    <a:gd name="connsiteY158" fmla="*/ 210271 h 405921"/>
                    <a:gd name="connsiteX159" fmla="*/ 213287 w 426190"/>
                    <a:gd name="connsiteY159" fmla="*/ 210394 h 405921"/>
                    <a:gd name="connsiteX160" fmla="*/ 215300 w 426190"/>
                    <a:gd name="connsiteY160" fmla="*/ 211013 h 405921"/>
                    <a:gd name="connsiteX161" fmla="*/ 220613 w 426190"/>
                    <a:gd name="connsiteY161" fmla="*/ 213556 h 405921"/>
                    <a:gd name="connsiteX162" fmla="*/ 221950 w 426190"/>
                    <a:gd name="connsiteY162" fmla="*/ 214313 h 405921"/>
                    <a:gd name="connsiteX163" fmla="*/ 225894 w 426190"/>
                    <a:gd name="connsiteY163" fmla="*/ 218804 h 405921"/>
                    <a:gd name="connsiteX164" fmla="*/ 229391 w 426190"/>
                    <a:gd name="connsiteY164" fmla="*/ 220149 h 405921"/>
                    <a:gd name="connsiteX165" fmla="*/ 229969 w 426190"/>
                    <a:gd name="connsiteY165" fmla="*/ 220621 h 405921"/>
                    <a:gd name="connsiteX166" fmla="*/ 230295 w 426190"/>
                    <a:gd name="connsiteY166" fmla="*/ 221404 h 405921"/>
                    <a:gd name="connsiteX167" fmla="*/ 229936 w 426190"/>
                    <a:gd name="connsiteY167" fmla="*/ 222512 h 405921"/>
                    <a:gd name="connsiteX168" fmla="*/ 228445 w 426190"/>
                    <a:gd name="connsiteY168" fmla="*/ 225136 h 405921"/>
                    <a:gd name="connsiteX169" fmla="*/ 228135 w 426190"/>
                    <a:gd name="connsiteY169" fmla="*/ 225943 h 405921"/>
                    <a:gd name="connsiteX170" fmla="*/ 228282 w 426190"/>
                    <a:gd name="connsiteY170" fmla="*/ 226726 h 405921"/>
                    <a:gd name="connsiteX171" fmla="*/ 229105 w 426190"/>
                    <a:gd name="connsiteY171" fmla="*/ 227035 h 405921"/>
                    <a:gd name="connsiteX172" fmla="*/ 233522 w 426190"/>
                    <a:gd name="connsiteY172" fmla="*/ 227043 h 405921"/>
                    <a:gd name="connsiteX173" fmla="*/ 235340 w 426190"/>
                    <a:gd name="connsiteY173" fmla="*/ 226489 h 405921"/>
                    <a:gd name="connsiteX174" fmla="*/ 236905 w 426190"/>
                    <a:gd name="connsiteY174" fmla="*/ 225552 h 405921"/>
                    <a:gd name="connsiteX175" fmla="*/ 238151 w 426190"/>
                    <a:gd name="connsiteY175" fmla="*/ 224069 h 405921"/>
                    <a:gd name="connsiteX176" fmla="*/ 239154 w 426190"/>
                    <a:gd name="connsiteY176" fmla="*/ 223767 h 405921"/>
                    <a:gd name="connsiteX177" fmla="*/ 241477 w 426190"/>
                    <a:gd name="connsiteY177" fmla="*/ 224248 h 405921"/>
                    <a:gd name="connsiteX178" fmla="*/ 245405 w 426190"/>
                    <a:gd name="connsiteY178" fmla="*/ 226180 h 405921"/>
                    <a:gd name="connsiteX179" fmla="*/ 247507 w 426190"/>
                    <a:gd name="connsiteY179" fmla="*/ 229374 h 405921"/>
                    <a:gd name="connsiteX180" fmla="*/ 247401 w 426190"/>
                    <a:gd name="connsiteY180" fmla="*/ 230466 h 405921"/>
                    <a:gd name="connsiteX181" fmla="*/ 247752 w 426190"/>
                    <a:gd name="connsiteY181" fmla="*/ 231526 h 405921"/>
                    <a:gd name="connsiteX182" fmla="*/ 248502 w 426190"/>
                    <a:gd name="connsiteY182" fmla="*/ 232088 h 405921"/>
                    <a:gd name="connsiteX183" fmla="*/ 249765 w 426190"/>
                    <a:gd name="connsiteY183" fmla="*/ 233767 h 405921"/>
                    <a:gd name="connsiteX184" fmla="*/ 250205 w 426190"/>
                    <a:gd name="connsiteY184" fmla="*/ 234883 h 405921"/>
                    <a:gd name="connsiteX185" fmla="*/ 250213 w 426190"/>
                    <a:gd name="connsiteY185" fmla="*/ 235918 h 405921"/>
                    <a:gd name="connsiteX186" fmla="*/ 249504 w 426190"/>
                    <a:gd name="connsiteY186" fmla="*/ 237043 h 405921"/>
                    <a:gd name="connsiteX187" fmla="*/ 249797 w 426190"/>
                    <a:gd name="connsiteY187" fmla="*/ 237679 h 405921"/>
                    <a:gd name="connsiteX188" fmla="*/ 251224 w 426190"/>
                    <a:gd name="connsiteY188" fmla="*/ 239545 h 405921"/>
                    <a:gd name="connsiteX189" fmla="*/ 251859 w 426190"/>
                    <a:gd name="connsiteY189" fmla="*/ 240873 h 405921"/>
                    <a:gd name="connsiteX190" fmla="*/ 253220 w 426190"/>
                    <a:gd name="connsiteY190" fmla="*/ 241640 h 405921"/>
                    <a:gd name="connsiteX191" fmla="*/ 254068 w 426190"/>
                    <a:gd name="connsiteY191" fmla="*/ 243196 h 405921"/>
                    <a:gd name="connsiteX192" fmla="*/ 256480 w 426190"/>
                    <a:gd name="connsiteY192" fmla="*/ 244965 h 405921"/>
                    <a:gd name="connsiteX193" fmla="*/ 260148 w 426190"/>
                    <a:gd name="connsiteY193" fmla="*/ 246228 h 405921"/>
                    <a:gd name="connsiteX194" fmla="*/ 263848 w 426190"/>
                    <a:gd name="connsiteY194" fmla="*/ 249129 h 405921"/>
                    <a:gd name="connsiteX195" fmla="*/ 265861 w 426190"/>
                    <a:gd name="connsiteY195" fmla="*/ 250286 h 405921"/>
                    <a:gd name="connsiteX196" fmla="*/ 269406 w 426190"/>
                    <a:gd name="connsiteY196" fmla="*/ 250898 h 405921"/>
                    <a:gd name="connsiteX197" fmla="*/ 269944 w 426190"/>
                    <a:gd name="connsiteY197" fmla="*/ 251501 h 405921"/>
                    <a:gd name="connsiteX198" fmla="*/ 269870 w 426190"/>
                    <a:gd name="connsiteY198" fmla="*/ 252340 h 405921"/>
                    <a:gd name="connsiteX199" fmla="*/ 269267 w 426190"/>
                    <a:gd name="connsiteY199" fmla="*/ 252805 h 405921"/>
                    <a:gd name="connsiteX200" fmla="*/ 266431 w 426190"/>
                    <a:gd name="connsiteY200" fmla="*/ 253823 h 405921"/>
                    <a:gd name="connsiteX201" fmla="*/ 265461 w 426190"/>
                    <a:gd name="connsiteY201" fmla="*/ 254500 h 405921"/>
                    <a:gd name="connsiteX202" fmla="*/ 265363 w 426190"/>
                    <a:gd name="connsiteY202" fmla="*/ 255217 h 405921"/>
                    <a:gd name="connsiteX203" fmla="*/ 265795 w 426190"/>
                    <a:gd name="connsiteY203" fmla="*/ 255950 h 405921"/>
                    <a:gd name="connsiteX204" fmla="*/ 266822 w 426190"/>
                    <a:gd name="connsiteY204" fmla="*/ 256276 h 405921"/>
                    <a:gd name="connsiteX205" fmla="*/ 269349 w 426190"/>
                    <a:gd name="connsiteY205" fmla="*/ 255470 h 405921"/>
                    <a:gd name="connsiteX206" fmla="*/ 270123 w 426190"/>
                    <a:gd name="connsiteY206" fmla="*/ 255576 h 405921"/>
                    <a:gd name="connsiteX207" fmla="*/ 270449 w 426190"/>
                    <a:gd name="connsiteY207" fmla="*/ 256244 h 405921"/>
                    <a:gd name="connsiteX208" fmla="*/ 270840 w 426190"/>
                    <a:gd name="connsiteY208" fmla="*/ 257442 h 405921"/>
                    <a:gd name="connsiteX209" fmla="*/ 271305 w 426190"/>
                    <a:gd name="connsiteY209" fmla="*/ 258045 h 405921"/>
                    <a:gd name="connsiteX210" fmla="*/ 273464 w 426190"/>
                    <a:gd name="connsiteY210" fmla="*/ 258884 h 405921"/>
                    <a:gd name="connsiteX211" fmla="*/ 274222 w 426190"/>
                    <a:gd name="connsiteY211" fmla="*/ 260091 h 405921"/>
                    <a:gd name="connsiteX212" fmla="*/ 275648 w 426190"/>
                    <a:gd name="connsiteY212" fmla="*/ 261394 h 405921"/>
                    <a:gd name="connsiteX213" fmla="*/ 276463 w 426190"/>
                    <a:gd name="connsiteY213" fmla="*/ 262764 h 405921"/>
                    <a:gd name="connsiteX214" fmla="*/ 276716 w 426190"/>
                    <a:gd name="connsiteY214" fmla="*/ 264255 h 405921"/>
                    <a:gd name="connsiteX215" fmla="*/ 275216 w 426190"/>
                    <a:gd name="connsiteY215" fmla="*/ 267572 h 405921"/>
                    <a:gd name="connsiteX216" fmla="*/ 274149 w 426190"/>
                    <a:gd name="connsiteY216" fmla="*/ 268811 h 405921"/>
                    <a:gd name="connsiteX217" fmla="*/ 270351 w 426190"/>
                    <a:gd name="connsiteY217" fmla="*/ 271166 h 405921"/>
                    <a:gd name="connsiteX218" fmla="*/ 269406 w 426190"/>
                    <a:gd name="connsiteY218" fmla="*/ 272217 h 405921"/>
                    <a:gd name="connsiteX219" fmla="*/ 269561 w 426190"/>
                    <a:gd name="connsiteY219" fmla="*/ 272910 h 405921"/>
                    <a:gd name="connsiteX220" fmla="*/ 271394 w 426190"/>
                    <a:gd name="connsiteY220" fmla="*/ 273546 h 405921"/>
                    <a:gd name="connsiteX221" fmla="*/ 273407 w 426190"/>
                    <a:gd name="connsiteY221" fmla="*/ 275412 h 405921"/>
                    <a:gd name="connsiteX222" fmla="*/ 275216 w 426190"/>
                    <a:gd name="connsiteY222" fmla="*/ 276586 h 405921"/>
                    <a:gd name="connsiteX223" fmla="*/ 276088 w 426190"/>
                    <a:gd name="connsiteY223" fmla="*/ 277841 h 405921"/>
                    <a:gd name="connsiteX224" fmla="*/ 277148 w 426190"/>
                    <a:gd name="connsiteY224" fmla="*/ 280530 h 405921"/>
                    <a:gd name="connsiteX225" fmla="*/ 279454 w 426190"/>
                    <a:gd name="connsiteY225" fmla="*/ 281418 h 405921"/>
                    <a:gd name="connsiteX226" fmla="*/ 282054 w 426190"/>
                    <a:gd name="connsiteY226" fmla="*/ 281500 h 405921"/>
                    <a:gd name="connsiteX227" fmla="*/ 282502 w 426190"/>
                    <a:gd name="connsiteY227" fmla="*/ 281899 h 405921"/>
                    <a:gd name="connsiteX228" fmla="*/ 282356 w 426190"/>
                    <a:gd name="connsiteY228" fmla="*/ 282779 h 405921"/>
                    <a:gd name="connsiteX229" fmla="*/ 279960 w 426190"/>
                    <a:gd name="connsiteY229" fmla="*/ 287164 h 405921"/>
                    <a:gd name="connsiteX230" fmla="*/ 279951 w 426190"/>
                    <a:gd name="connsiteY230" fmla="*/ 288647 h 405921"/>
                    <a:gd name="connsiteX231" fmla="*/ 279601 w 426190"/>
                    <a:gd name="connsiteY231" fmla="*/ 289870 h 405921"/>
                    <a:gd name="connsiteX232" fmla="*/ 279854 w 426190"/>
                    <a:gd name="connsiteY232" fmla="*/ 291239 h 405921"/>
                    <a:gd name="connsiteX233" fmla="*/ 281353 w 426190"/>
                    <a:gd name="connsiteY233" fmla="*/ 293504 h 405921"/>
                    <a:gd name="connsiteX234" fmla="*/ 281752 w 426190"/>
                    <a:gd name="connsiteY234" fmla="*/ 294328 h 405921"/>
                    <a:gd name="connsiteX235" fmla="*/ 281907 w 426190"/>
                    <a:gd name="connsiteY235" fmla="*/ 295485 h 405921"/>
                    <a:gd name="connsiteX236" fmla="*/ 282307 w 426190"/>
                    <a:gd name="connsiteY236" fmla="*/ 296145 h 405921"/>
                    <a:gd name="connsiteX237" fmla="*/ 284189 w 426190"/>
                    <a:gd name="connsiteY237" fmla="*/ 297139 h 405921"/>
                    <a:gd name="connsiteX238" fmla="*/ 284654 w 426190"/>
                    <a:gd name="connsiteY238" fmla="*/ 297734 h 405921"/>
                    <a:gd name="connsiteX239" fmla="*/ 285412 w 426190"/>
                    <a:gd name="connsiteY239" fmla="*/ 299967 h 405921"/>
                    <a:gd name="connsiteX240" fmla="*/ 285526 w 426190"/>
                    <a:gd name="connsiteY240" fmla="*/ 300807 h 405921"/>
                    <a:gd name="connsiteX241" fmla="*/ 286545 w 426190"/>
                    <a:gd name="connsiteY241" fmla="*/ 301565 h 405921"/>
                    <a:gd name="connsiteX242" fmla="*/ 292445 w 426190"/>
                    <a:gd name="connsiteY242" fmla="*/ 304295 h 405921"/>
                    <a:gd name="connsiteX243" fmla="*/ 292983 w 426190"/>
                    <a:gd name="connsiteY243" fmla="*/ 305240 h 405921"/>
                    <a:gd name="connsiteX244" fmla="*/ 292730 w 426190"/>
                    <a:gd name="connsiteY244" fmla="*/ 306071 h 405921"/>
                    <a:gd name="connsiteX245" fmla="*/ 290554 w 426190"/>
                    <a:gd name="connsiteY245" fmla="*/ 307261 h 405921"/>
                    <a:gd name="connsiteX246" fmla="*/ 290326 w 426190"/>
                    <a:gd name="connsiteY246" fmla="*/ 307905 h 405921"/>
                    <a:gd name="connsiteX247" fmla="*/ 290391 w 426190"/>
                    <a:gd name="connsiteY247" fmla="*/ 308484 h 405921"/>
                    <a:gd name="connsiteX248" fmla="*/ 291500 w 426190"/>
                    <a:gd name="connsiteY248" fmla="*/ 309413 h 405921"/>
                    <a:gd name="connsiteX249" fmla="*/ 291744 w 426190"/>
                    <a:gd name="connsiteY249" fmla="*/ 310032 h 405921"/>
                    <a:gd name="connsiteX250" fmla="*/ 290456 w 426190"/>
                    <a:gd name="connsiteY250" fmla="*/ 312118 h 405921"/>
                    <a:gd name="connsiteX251" fmla="*/ 290399 w 426190"/>
                    <a:gd name="connsiteY251" fmla="*/ 313268 h 405921"/>
                    <a:gd name="connsiteX252" fmla="*/ 291622 w 426190"/>
                    <a:gd name="connsiteY252" fmla="*/ 315639 h 405921"/>
                    <a:gd name="connsiteX253" fmla="*/ 291899 w 426190"/>
                    <a:gd name="connsiteY253" fmla="*/ 316316 h 405921"/>
                    <a:gd name="connsiteX254" fmla="*/ 291736 w 426190"/>
                    <a:gd name="connsiteY254" fmla="*/ 317049 h 405921"/>
                    <a:gd name="connsiteX255" fmla="*/ 291190 w 426190"/>
                    <a:gd name="connsiteY255" fmla="*/ 317791 h 405921"/>
                    <a:gd name="connsiteX256" fmla="*/ 291011 w 426190"/>
                    <a:gd name="connsiteY256" fmla="*/ 318508 h 405921"/>
                    <a:gd name="connsiteX257" fmla="*/ 291353 w 426190"/>
                    <a:gd name="connsiteY257" fmla="*/ 319054 h 405921"/>
                    <a:gd name="connsiteX258" fmla="*/ 292494 w 426190"/>
                    <a:gd name="connsiteY258" fmla="*/ 319747 h 405921"/>
                    <a:gd name="connsiteX259" fmla="*/ 294295 w 426190"/>
                    <a:gd name="connsiteY259" fmla="*/ 320170 h 405921"/>
                    <a:gd name="connsiteX260" fmla="*/ 297335 w 426190"/>
                    <a:gd name="connsiteY260" fmla="*/ 319918 h 405921"/>
                    <a:gd name="connsiteX261" fmla="*/ 299967 w 426190"/>
                    <a:gd name="connsiteY261" fmla="*/ 320431 h 405921"/>
                    <a:gd name="connsiteX262" fmla="*/ 300652 w 426190"/>
                    <a:gd name="connsiteY262" fmla="*/ 320757 h 405921"/>
                    <a:gd name="connsiteX263" fmla="*/ 301613 w 426190"/>
                    <a:gd name="connsiteY263" fmla="*/ 322306 h 405921"/>
                    <a:gd name="connsiteX264" fmla="*/ 302290 w 426190"/>
                    <a:gd name="connsiteY264" fmla="*/ 322681 h 405921"/>
                    <a:gd name="connsiteX265" fmla="*/ 303243 w 426190"/>
                    <a:gd name="connsiteY265" fmla="*/ 322469 h 405921"/>
                    <a:gd name="connsiteX266" fmla="*/ 305648 w 426190"/>
                    <a:gd name="connsiteY266" fmla="*/ 320700 h 405921"/>
                    <a:gd name="connsiteX267" fmla="*/ 307196 w 426190"/>
                    <a:gd name="connsiteY267" fmla="*/ 320301 h 405921"/>
                    <a:gd name="connsiteX268" fmla="*/ 308557 w 426190"/>
                    <a:gd name="connsiteY268" fmla="*/ 320521 h 405921"/>
                    <a:gd name="connsiteX269" fmla="*/ 312542 w 426190"/>
                    <a:gd name="connsiteY269" fmla="*/ 323911 h 405921"/>
                    <a:gd name="connsiteX270" fmla="*/ 313382 w 426190"/>
                    <a:gd name="connsiteY270" fmla="*/ 325655 h 405921"/>
                    <a:gd name="connsiteX271" fmla="*/ 316055 w 426190"/>
                    <a:gd name="connsiteY271" fmla="*/ 328230 h 405921"/>
                    <a:gd name="connsiteX272" fmla="*/ 316707 w 426190"/>
                    <a:gd name="connsiteY272" fmla="*/ 330023 h 405921"/>
                    <a:gd name="connsiteX273" fmla="*/ 317342 w 426190"/>
                    <a:gd name="connsiteY273" fmla="*/ 330773 h 405921"/>
                    <a:gd name="connsiteX274" fmla="*/ 320138 w 426190"/>
                    <a:gd name="connsiteY274" fmla="*/ 331751 h 405921"/>
                    <a:gd name="connsiteX275" fmla="*/ 321311 w 426190"/>
                    <a:gd name="connsiteY275" fmla="*/ 332884 h 405921"/>
                    <a:gd name="connsiteX276" fmla="*/ 321988 w 426190"/>
                    <a:gd name="connsiteY276" fmla="*/ 334261 h 405921"/>
                    <a:gd name="connsiteX277" fmla="*/ 322632 w 426190"/>
                    <a:gd name="connsiteY277" fmla="*/ 337032 h 405921"/>
                    <a:gd name="connsiteX278" fmla="*/ 327253 w 426190"/>
                    <a:gd name="connsiteY278" fmla="*/ 340789 h 405921"/>
                    <a:gd name="connsiteX279" fmla="*/ 329592 w 426190"/>
                    <a:gd name="connsiteY279" fmla="*/ 342028 h 405921"/>
                    <a:gd name="connsiteX280" fmla="*/ 330993 w 426190"/>
                    <a:gd name="connsiteY280" fmla="*/ 343495 h 405921"/>
                    <a:gd name="connsiteX281" fmla="*/ 332183 w 426190"/>
                    <a:gd name="connsiteY281" fmla="*/ 344277 h 405921"/>
                    <a:gd name="connsiteX282" fmla="*/ 335663 w 426190"/>
                    <a:gd name="connsiteY282" fmla="*/ 345182 h 405921"/>
                    <a:gd name="connsiteX283" fmla="*/ 339852 w 426190"/>
                    <a:gd name="connsiteY283" fmla="*/ 345117 h 405921"/>
                    <a:gd name="connsiteX284" fmla="*/ 341588 w 426190"/>
                    <a:gd name="connsiteY284" fmla="*/ 345834 h 405921"/>
                    <a:gd name="connsiteX285" fmla="*/ 343144 w 426190"/>
                    <a:gd name="connsiteY285" fmla="*/ 347048 h 405921"/>
                    <a:gd name="connsiteX286" fmla="*/ 344400 w 426190"/>
                    <a:gd name="connsiteY286" fmla="*/ 349493 h 405921"/>
                    <a:gd name="connsiteX287" fmla="*/ 345483 w 426190"/>
                    <a:gd name="connsiteY287" fmla="*/ 350895 h 405921"/>
                    <a:gd name="connsiteX288" fmla="*/ 346747 w 426190"/>
                    <a:gd name="connsiteY288" fmla="*/ 356266 h 405921"/>
                    <a:gd name="connsiteX289" fmla="*/ 346910 w 426190"/>
                    <a:gd name="connsiteY289" fmla="*/ 357838 h 405921"/>
                    <a:gd name="connsiteX290" fmla="*/ 346608 w 426190"/>
                    <a:gd name="connsiteY290" fmla="*/ 360723 h 405921"/>
                    <a:gd name="connsiteX291" fmla="*/ 345239 w 426190"/>
                    <a:gd name="connsiteY291" fmla="*/ 362044 h 405921"/>
                    <a:gd name="connsiteX292" fmla="*/ 344889 w 426190"/>
                    <a:gd name="connsiteY292" fmla="*/ 362533 h 405921"/>
                    <a:gd name="connsiteX293" fmla="*/ 344978 w 426190"/>
                    <a:gd name="connsiteY293" fmla="*/ 362981 h 405921"/>
                    <a:gd name="connsiteX294" fmla="*/ 345932 w 426190"/>
                    <a:gd name="connsiteY294" fmla="*/ 363763 h 405921"/>
                    <a:gd name="connsiteX295" fmla="*/ 348181 w 426190"/>
                    <a:gd name="connsiteY295" fmla="*/ 363266 h 405921"/>
                    <a:gd name="connsiteX296" fmla="*/ 348670 w 426190"/>
                    <a:gd name="connsiteY296" fmla="*/ 363714 h 405921"/>
                    <a:gd name="connsiteX297" fmla="*/ 349550 w 426190"/>
                    <a:gd name="connsiteY297" fmla="*/ 367838 h 405921"/>
                    <a:gd name="connsiteX298" fmla="*/ 349322 w 426190"/>
                    <a:gd name="connsiteY298" fmla="*/ 370495 h 405921"/>
                    <a:gd name="connsiteX299" fmla="*/ 349477 w 426190"/>
                    <a:gd name="connsiteY299" fmla="*/ 371489 h 405921"/>
                    <a:gd name="connsiteX300" fmla="*/ 350064 w 426190"/>
                    <a:gd name="connsiteY300" fmla="*/ 372549 h 405921"/>
                    <a:gd name="connsiteX301" fmla="*/ 350023 w 426190"/>
                    <a:gd name="connsiteY301" fmla="*/ 374065 h 405921"/>
                    <a:gd name="connsiteX302" fmla="*/ 350773 w 426190"/>
                    <a:gd name="connsiteY302" fmla="*/ 375116 h 405921"/>
                    <a:gd name="connsiteX303" fmla="*/ 351441 w 426190"/>
                    <a:gd name="connsiteY303" fmla="*/ 375328 h 405921"/>
                    <a:gd name="connsiteX304" fmla="*/ 353055 w 426190"/>
                    <a:gd name="connsiteY304" fmla="*/ 374896 h 405921"/>
                    <a:gd name="connsiteX305" fmla="*/ 355597 w 426190"/>
                    <a:gd name="connsiteY305" fmla="*/ 375401 h 405921"/>
                    <a:gd name="connsiteX306" fmla="*/ 359191 w 426190"/>
                    <a:gd name="connsiteY306" fmla="*/ 373869 h 405921"/>
                    <a:gd name="connsiteX307" fmla="*/ 363397 w 426190"/>
                    <a:gd name="connsiteY307" fmla="*/ 374668 h 405921"/>
                    <a:gd name="connsiteX308" fmla="*/ 364725 w 426190"/>
                    <a:gd name="connsiteY308" fmla="*/ 374496 h 405921"/>
                    <a:gd name="connsiteX309" fmla="*/ 365760 w 426190"/>
                    <a:gd name="connsiteY309" fmla="*/ 374130 h 405921"/>
                    <a:gd name="connsiteX310" fmla="*/ 366265 w 426190"/>
                    <a:gd name="connsiteY310" fmla="*/ 373519 h 405921"/>
                    <a:gd name="connsiteX311" fmla="*/ 366265 w 426190"/>
                    <a:gd name="connsiteY311" fmla="*/ 372125 h 405921"/>
                    <a:gd name="connsiteX312" fmla="*/ 366559 w 426190"/>
                    <a:gd name="connsiteY312" fmla="*/ 371628 h 405921"/>
                    <a:gd name="connsiteX313" fmla="*/ 368075 w 426190"/>
                    <a:gd name="connsiteY313" fmla="*/ 371220 h 405921"/>
                    <a:gd name="connsiteX314" fmla="*/ 369240 w 426190"/>
                    <a:gd name="connsiteY314" fmla="*/ 371326 h 405921"/>
                    <a:gd name="connsiteX315" fmla="*/ 369639 w 426190"/>
                    <a:gd name="connsiteY315" fmla="*/ 372712 h 405921"/>
                    <a:gd name="connsiteX316" fmla="*/ 370487 w 426190"/>
                    <a:gd name="connsiteY316" fmla="*/ 373225 h 405921"/>
                    <a:gd name="connsiteX317" fmla="*/ 371994 w 426190"/>
                    <a:gd name="connsiteY317" fmla="*/ 373519 h 405921"/>
                    <a:gd name="connsiteX318" fmla="*/ 373144 w 426190"/>
                    <a:gd name="connsiteY318" fmla="*/ 371253 h 405921"/>
                    <a:gd name="connsiteX319" fmla="*/ 373787 w 426190"/>
                    <a:gd name="connsiteY319" fmla="*/ 370544 h 405921"/>
                    <a:gd name="connsiteX320" fmla="*/ 374586 w 426190"/>
                    <a:gd name="connsiteY320" fmla="*/ 370242 h 405921"/>
                    <a:gd name="connsiteX321" fmla="*/ 375466 w 426190"/>
                    <a:gd name="connsiteY321" fmla="*/ 370250 h 405921"/>
                    <a:gd name="connsiteX322" fmla="*/ 379354 w 426190"/>
                    <a:gd name="connsiteY322" fmla="*/ 372247 h 405921"/>
                    <a:gd name="connsiteX323" fmla="*/ 387503 w 426190"/>
                    <a:gd name="connsiteY323" fmla="*/ 374211 h 405921"/>
                    <a:gd name="connsiteX324" fmla="*/ 388897 w 426190"/>
                    <a:gd name="connsiteY324" fmla="*/ 374187 h 405921"/>
                    <a:gd name="connsiteX325" fmla="*/ 391195 w 426190"/>
                    <a:gd name="connsiteY325" fmla="*/ 372826 h 405921"/>
                    <a:gd name="connsiteX326" fmla="*/ 393135 w 426190"/>
                    <a:gd name="connsiteY326" fmla="*/ 372100 h 405921"/>
                    <a:gd name="connsiteX327" fmla="*/ 399858 w 426190"/>
                    <a:gd name="connsiteY327" fmla="*/ 371457 h 405921"/>
                    <a:gd name="connsiteX328" fmla="*/ 400380 w 426190"/>
                    <a:gd name="connsiteY328" fmla="*/ 368881 h 405921"/>
                    <a:gd name="connsiteX329" fmla="*/ 400934 w 426190"/>
                    <a:gd name="connsiteY329" fmla="*/ 367911 h 405921"/>
                    <a:gd name="connsiteX330" fmla="*/ 401692 w 426190"/>
                    <a:gd name="connsiteY330" fmla="*/ 367398 h 405921"/>
                    <a:gd name="connsiteX331" fmla="*/ 406427 w 426190"/>
                    <a:gd name="connsiteY331" fmla="*/ 367414 h 405921"/>
                    <a:gd name="connsiteX332" fmla="*/ 407250 w 426190"/>
                    <a:gd name="connsiteY332" fmla="*/ 367732 h 405921"/>
                    <a:gd name="connsiteX333" fmla="*/ 409141 w 426190"/>
                    <a:gd name="connsiteY333" fmla="*/ 372989 h 405921"/>
                    <a:gd name="connsiteX334" fmla="*/ 409174 w 426190"/>
                    <a:gd name="connsiteY334" fmla="*/ 374350 h 405921"/>
                    <a:gd name="connsiteX335" fmla="*/ 406541 w 426190"/>
                    <a:gd name="connsiteY335" fmla="*/ 377862 h 405921"/>
                    <a:gd name="connsiteX336" fmla="*/ 406541 w 426190"/>
                    <a:gd name="connsiteY336" fmla="*/ 378620 h 405921"/>
                    <a:gd name="connsiteX337" fmla="*/ 406835 w 426190"/>
                    <a:gd name="connsiteY337" fmla="*/ 379435 h 405921"/>
                    <a:gd name="connsiteX338" fmla="*/ 410062 w 426190"/>
                    <a:gd name="connsiteY338" fmla="*/ 383249 h 405921"/>
                    <a:gd name="connsiteX339" fmla="*/ 411708 w 426190"/>
                    <a:gd name="connsiteY339" fmla="*/ 386183 h 405921"/>
                    <a:gd name="connsiteX340" fmla="*/ 415522 w 426190"/>
                    <a:gd name="connsiteY340" fmla="*/ 387014 h 405921"/>
                    <a:gd name="connsiteX341" fmla="*/ 416109 w 426190"/>
                    <a:gd name="connsiteY341" fmla="*/ 387846 h 405921"/>
                    <a:gd name="connsiteX342" fmla="*/ 416631 w 426190"/>
                    <a:gd name="connsiteY342" fmla="*/ 391847 h 405921"/>
                    <a:gd name="connsiteX343" fmla="*/ 417120 w 426190"/>
                    <a:gd name="connsiteY343" fmla="*/ 393135 h 405921"/>
                    <a:gd name="connsiteX344" fmla="*/ 419141 w 426190"/>
                    <a:gd name="connsiteY344" fmla="*/ 396965 h 405921"/>
                    <a:gd name="connsiteX345" fmla="*/ 421765 w 426190"/>
                    <a:gd name="connsiteY345" fmla="*/ 400910 h 405921"/>
                    <a:gd name="connsiteX346" fmla="*/ 421895 w 426190"/>
                    <a:gd name="connsiteY346" fmla="*/ 402002 h 405921"/>
                    <a:gd name="connsiteX347" fmla="*/ 421382 w 426190"/>
                    <a:gd name="connsiteY347" fmla="*/ 403567 h 405921"/>
                    <a:gd name="connsiteX348" fmla="*/ 421439 w 426190"/>
                    <a:gd name="connsiteY348" fmla="*/ 404121 h 405921"/>
                    <a:gd name="connsiteX349" fmla="*/ 421863 w 426190"/>
                    <a:gd name="connsiteY349" fmla="*/ 404349 h 405921"/>
                    <a:gd name="connsiteX350" fmla="*/ 424699 w 426190"/>
                    <a:gd name="connsiteY350" fmla="*/ 404382 h 405921"/>
                    <a:gd name="connsiteX351" fmla="*/ 425628 w 426190"/>
                    <a:gd name="connsiteY351" fmla="*/ 405156 h 405921"/>
                    <a:gd name="connsiteX352" fmla="*/ 426190 w 426190"/>
                    <a:gd name="connsiteY352" fmla="*/ 405922 h 405921"/>
                    <a:gd name="connsiteX353" fmla="*/ 48263 w 426190"/>
                    <a:gd name="connsiteY353" fmla="*/ 405889 h 40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Lst>
                  <a:rect l="l" t="t" r="r" b="b"/>
                  <a:pathLst>
                    <a:path w="426190" h="405921">
                      <a:moveTo>
                        <a:pt x="48263" y="405889"/>
                      </a:moveTo>
                      <a:lnTo>
                        <a:pt x="45068" y="402613"/>
                      </a:lnTo>
                      <a:lnTo>
                        <a:pt x="46258" y="399052"/>
                      </a:lnTo>
                      <a:lnTo>
                        <a:pt x="47692" y="394781"/>
                      </a:lnTo>
                      <a:lnTo>
                        <a:pt x="47692" y="392206"/>
                      </a:lnTo>
                      <a:lnTo>
                        <a:pt x="43837" y="392369"/>
                      </a:lnTo>
                      <a:lnTo>
                        <a:pt x="38051" y="392605"/>
                      </a:lnTo>
                      <a:lnTo>
                        <a:pt x="32884" y="392825"/>
                      </a:lnTo>
                      <a:lnTo>
                        <a:pt x="29054" y="395841"/>
                      </a:lnTo>
                      <a:lnTo>
                        <a:pt x="25517" y="398628"/>
                      </a:lnTo>
                      <a:lnTo>
                        <a:pt x="19967" y="396452"/>
                      </a:lnTo>
                      <a:lnTo>
                        <a:pt x="13626" y="393958"/>
                      </a:lnTo>
                      <a:lnTo>
                        <a:pt x="11825" y="397218"/>
                      </a:lnTo>
                      <a:lnTo>
                        <a:pt x="5941" y="395588"/>
                      </a:lnTo>
                      <a:lnTo>
                        <a:pt x="0" y="393942"/>
                      </a:lnTo>
                      <a:lnTo>
                        <a:pt x="0" y="0"/>
                      </a:lnTo>
                      <a:lnTo>
                        <a:pt x="3521" y="685"/>
                      </a:lnTo>
                      <a:lnTo>
                        <a:pt x="14800" y="2143"/>
                      </a:lnTo>
                      <a:lnTo>
                        <a:pt x="25435" y="1288"/>
                      </a:lnTo>
                      <a:lnTo>
                        <a:pt x="45149" y="5998"/>
                      </a:lnTo>
                      <a:lnTo>
                        <a:pt x="57341" y="14808"/>
                      </a:lnTo>
                      <a:lnTo>
                        <a:pt x="67235" y="19127"/>
                      </a:lnTo>
                      <a:lnTo>
                        <a:pt x="71269" y="22094"/>
                      </a:lnTo>
                      <a:lnTo>
                        <a:pt x="77691" y="24702"/>
                      </a:lnTo>
                      <a:lnTo>
                        <a:pt x="92809" y="30382"/>
                      </a:lnTo>
                      <a:lnTo>
                        <a:pt x="97512" y="30969"/>
                      </a:lnTo>
                      <a:lnTo>
                        <a:pt x="106272" y="33683"/>
                      </a:lnTo>
                      <a:lnTo>
                        <a:pt x="111692" y="33324"/>
                      </a:lnTo>
                      <a:lnTo>
                        <a:pt x="113053" y="33422"/>
                      </a:lnTo>
                      <a:lnTo>
                        <a:pt x="113020" y="45516"/>
                      </a:lnTo>
                      <a:lnTo>
                        <a:pt x="113020" y="58271"/>
                      </a:lnTo>
                      <a:lnTo>
                        <a:pt x="113020" y="70976"/>
                      </a:lnTo>
                      <a:lnTo>
                        <a:pt x="113020" y="83641"/>
                      </a:lnTo>
                      <a:lnTo>
                        <a:pt x="113298" y="85556"/>
                      </a:lnTo>
                      <a:lnTo>
                        <a:pt x="114137" y="87137"/>
                      </a:lnTo>
                      <a:lnTo>
                        <a:pt x="117511" y="89305"/>
                      </a:lnTo>
                      <a:lnTo>
                        <a:pt x="118293" y="89989"/>
                      </a:lnTo>
                      <a:lnTo>
                        <a:pt x="118921" y="91000"/>
                      </a:lnTo>
                      <a:lnTo>
                        <a:pt x="119874" y="93714"/>
                      </a:lnTo>
                      <a:lnTo>
                        <a:pt x="119663" y="96493"/>
                      </a:lnTo>
                      <a:lnTo>
                        <a:pt x="119671" y="97675"/>
                      </a:lnTo>
                      <a:lnTo>
                        <a:pt x="120143" y="98921"/>
                      </a:lnTo>
                      <a:lnTo>
                        <a:pt x="120575" y="99720"/>
                      </a:lnTo>
                      <a:lnTo>
                        <a:pt x="120885" y="100633"/>
                      </a:lnTo>
                      <a:lnTo>
                        <a:pt x="121464" y="102793"/>
                      </a:lnTo>
                      <a:lnTo>
                        <a:pt x="121398" y="103502"/>
                      </a:lnTo>
                      <a:lnTo>
                        <a:pt x="120347" y="106142"/>
                      </a:lnTo>
                      <a:lnTo>
                        <a:pt x="118660" y="108098"/>
                      </a:lnTo>
                      <a:lnTo>
                        <a:pt x="118595" y="108872"/>
                      </a:lnTo>
                      <a:lnTo>
                        <a:pt x="118513" y="110087"/>
                      </a:lnTo>
                      <a:lnTo>
                        <a:pt x="118522" y="112100"/>
                      </a:lnTo>
                      <a:lnTo>
                        <a:pt x="119231" y="114349"/>
                      </a:lnTo>
                      <a:lnTo>
                        <a:pt x="119858" y="115253"/>
                      </a:lnTo>
                      <a:lnTo>
                        <a:pt x="120934" y="115702"/>
                      </a:lnTo>
                      <a:lnTo>
                        <a:pt x="128049" y="115702"/>
                      </a:lnTo>
                      <a:lnTo>
                        <a:pt x="135163" y="115702"/>
                      </a:lnTo>
                      <a:lnTo>
                        <a:pt x="142278" y="115710"/>
                      </a:lnTo>
                      <a:lnTo>
                        <a:pt x="149401" y="115710"/>
                      </a:lnTo>
                      <a:lnTo>
                        <a:pt x="156516" y="115710"/>
                      </a:lnTo>
                      <a:lnTo>
                        <a:pt x="163630" y="115710"/>
                      </a:lnTo>
                      <a:lnTo>
                        <a:pt x="170745" y="115710"/>
                      </a:lnTo>
                      <a:lnTo>
                        <a:pt x="172285" y="115710"/>
                      </a:lnTo>
                      <a:lnTo>
                        <a:pt x="172342" y="117071"/>
                      </a:lnTo>
                      <a:lnTo>
                        <a:pt x="172888" y="118302"/>
                      </a:lnTo>
                      <a:lnTo>
                        <a:pt x="175553" y="120070"/>
                      </a:lnTo>
                      <a:lnTo>
                        <a:pt x="177444" y="121847"/>
                      </a:lnTo>
                      <a:lnTo>
                        <a:pt x="178764" y="123697"/>
                      </a:lnTo>
                      <a:lnTo>
                        <a:pt x="179050" y="125123"/>
                      </a:lnTo>
                      <a:lnTo>
                        <a:pt x="178683" y="126541"/>
                      </a:lnTo>
                      <a:lnTo>
                        <a:pt x="178471" y="127364"/>
                      </a:lnTo>
                      <a:lnTo>
                        <a:pt x="178642" y="128317"/>
                      </a:lnTo>
                      <a:lnTo>
                        <a:pt x="179343" y="129467"/>
                      </a:lnTo>
                      <a:lnTo>
                        <a:pt x="179392" y="130110"/>
                      </a:lnTo>
                      <a:lnTo>
                        <a:pt x="179506" y="130893"/>
                      </a:lnTo>
                      <a:lnTo>
                        <a:pt x="180451" y="131740"/>
                      </a:lnTo>
                      <a:lnTo>
                        <a:pt x="182285" y="133680"/>
                      </a:lnTo>
                      <a:lnTo>
                        <a:pt x="182693" y="134552"/>
                      </a:lnTo>
                      <a:lnTo>
                        <a:pt x="182350" y="135815"/>
                      </a:lnTo>
                      <a:lnTo>
                        <a:pt x="182122" y="136973"/>
                      </a:lnTo>
                      <a:lnTo>
                        <a:pt x="182277" y="138545"/>
                      </a:lnTo>
                      <a:lnTo>
                        <a:pt x="182236" y="139385"/>
                      </a:lnTo>
                      <a:lnTo>
                        <a:pt x="181731" y="139686"/>
                      </a:lnTo>
                      <a:lnTo>
                        <a:pt x="180949" y="139752"/>
                      </a:lnTo>
                      <a:lnTo>
                        <a:pt x="180117" y="139939"/>
                      </a:lnTo>
                      <a:lnTo>
                        <a:pt x="179612" y="140958"/>
                      </a:lnTo>
                      <a:lnTo>
                        <a:pt x="178854" y="143859"/>
                      </a:lnTo>
                      <a:lnTo>
                        <a:pt x="178601" y="144821"/>
                      </a:lnTo>
                      <a:lnTo>
                        <a:pt x="178854" y="145725"/>
                      </a:lnTo>
                      <a:lnTo>
                        <a:pt x="179604" y="145758"/>
                      </a:lnTo>
                      <a:lnTo>
                        <a:pt x="182293" y="145897"/>
                      </a:lnTo>
                      <a:lnTo>
                        <a:pt x="183263" y="146108"/>
                      </a:lnTo>
                      <a:lnTo>
                        <a:pt x="183980" y="146540"/>
                      </a:lnTo>
                      <a:lnTo>
                        <a:pt x="184274" y="148097"/>
                      </a:lnTo>
                      <a:lnTo>
                        <a:pt x="184380" y="149816"/>
                      </a:lnTo>
                      <a:lnTo>
                        <a:pt x="184339" y="151161"/>
                      </a:lnTo>
                      <a:lnTo>
                        <a:pt x="183719" y="152310"/>
                      </a:lnTo>
                      <a:lnTo>
                        <a:pt x="182081" y="153948"/>
                      </a:lnTo>
                      <a:lnTo>
                        <a:pt x="181649" y="154625"/>
                      </a:lnTo>
                      <a:lnTo>
                        <a:pt x="181682" y="155538"/>
                      </a:lnTo>
                      <a:lnTo>
                        <a:pt x="182432" y="156589"/>
                      </a:lnTo>
                      <a:lnTo>
                        <a:pt x="182970" y="158251"/>
                      </a:lnTo>
                      <a:lnTo>
                        <a:pt x="183019" y="159767"/>
                      </a:lnTo>
                      <a:lnTo>
                        <a:pt x="183833" y="160281"/>
                      </a:lnTo>
                      <a:lnTo>
                        <a:pt x="186050" y="160582"/>
                      </a:lnTo>
                      <a:lnTo>
                        <a:pt x="188218" y="160558"/>
                      </a:lnTo>
                      <a:lnTo>
                        <a:pt x="192766" y="158431"/>
                      </a:lnTo>
                      <a:lnTo>
                        <a:pt x="197419" y="157518"/>
                      </a:lnTo>
                      <a:lnTo>
                        <a:pt x="199986" y="157477"/>
                      </a:lnTo>
                      <a:lnTo>
                        <a:pt x="200483" y="157950"/>
                      </a:lnTo>
                      <a:lnTo>
                        <a:pt x="200524" y="158618"/>
                      </a:lnTo>
                      <a:lnTo>
                        <a:pt x="199954" y="159702"/>
                      </a:lnTo>
                      <a:lnTo>
                        <a:pt x="199253" y="161520"/>
                      </a:lnTo>
                      <a:lnTo>
                        <a:pt x="199742" y="162237"/>
                      </a:lnTo>
                      <a:lnTo>
                        <a:pt x="200875" y="162375"/>
                      </a:lnTo>
                      <a:lnTo>
                        <a:pt x="202888" y="161764"/>
                      </a:lnTo>
                      <a:lnTo>
                        <a:pt x="204257" y="159914"/>
                      </a:lnTo>
                      <a:lnTo>
                        <a:pt x="205561" y="158789"/>
                      </a:lnTo>
                      <a:lnTo>
                        <a:pt x="208022" y="157445"/>
                      </a:lnTo>
                      <a:lnTo>
                        <a:pt x="208943" y="157681"/>
                      </a:lnTo>
                      <a:lnTo>
                        <a:pt x="211274" y="159164"/>
                      </a:lnTo>
                      <a:lnTo>
                        <a:pt x="214061" y="158969"/>
                      </a:lnTo>
                      <a:lnTo>
                        <a:pt x="214754" y="159596"/>
                      </a:lnTo>
                      <a:lnTo>
                        <a:pt x="214802" y="160607"/>
                      </a:lnTo>
                      <a:lnTo>
                        <a:pt x="209880" y="163549"/>
                      </a:lnTo>
                      <a:lnTo>
                        <a:pt x="209489" y="164788"/>
                      </a:lnTo>
                      <a:lnTo>
                        <a:pt x="210027" y="165766"/>
                      </a:lnTo>
                      <a:lnTo>
                        <a:pt x="211119" y="166377"/>
                      </a:lnTo>
                      <a:lnTo>
                        <a:pt x="213882" y="168618"/>
                      </a:lnTo>
                      <a:lnTo>
                        <a:pt x="215927" y="170761"/>
                      </a:lnTo>
                      <a:lnTo>
                        <a:pt x="218388" y="174518"/>
                      </a:lnTo>
                      <a:lnTo>
                        <a:pt x="218421" y="175790"/>
                      </a:lnTo>
                      <a:lnTo>
                        <a:pt x="216612" y="178324"/>
                      </a:lnTo>
                      <a:lnTo>
                        <a:pt x="214672" y="182318"/>
                      </a:lnTo>
                      <a:lnTo>
                        <a:pt x="209815" y="186661"/>
                      </a:lnTo>
                      <a:lnTo>
                        <a:pt x="209204" y="188373"/>
                      </a:lnTo>
                      <a:lnTo>
                        <a:pt x="208446" y="189220"/>
                      </a:lnTo>
                      <a:lnTo>
                        <a:pt x="204338" y="191551"/>
                      </a:lnTo>
                      <a:lnTo>
                        <a:pt x="204069" y="192464"/>
                      </a:lnTo>
                      <a:lnTo>
                        <a:pt x="204200" y="193246"/>
                      </a:lnTo>
                      <a:lnTo>
                        <a:pt x="204599" y="193735"/>
                      </a:lnTo>
                      <a:lnTo>
                        <a:pt x="205683" y="193988"/>
                      </a:lnTo>
                      <a:lnTo>
                        <a:pt x="208120" y="193393"/>
                      </a:lnTo>
                      <a:lnTo>
                        <a:pt x="208878" y="193255"/>
                      </a:lnTo>
                      <a:lnTo>
                        <a:pt x="209856" y="193866"/>
                      </a:lnTo>
                      <a:lnTo>
                        <a:pt x="209896" y="196433"/>
                      </a:lnTo>
                      <a:lnTo>
                        <a:pt x="210451" y="197069"/>
                      </a:lnTo>
                      <a:lnTo>
                        <a:pt x="213792" y="197875"/>
                      </a:lnTo>
                      <a:lnTo>
                        <a:pt x="214501" y="198625"/>
                      </a:lnTo>
                      <a:lnTo>
                        <a:pt x="214477" y="199416"/>
                      </a:lnTo>
                      <a:lnTo>
                        <a:pt x="213800" y="200125"/>
                      </a:lnTo>
                      <a:lnTo>
                        <a:pt x="211314" y="202284"/>
                      </a:lnTo>
                      <a:lnTo>
                        <a:pt x="210923" y="202822"/>
                      </a:lnTo>
                      <a:lnTo>
                        <a:pt x="210915" y="204705"/>
                      </a:lnTo>
                      <a:lnTo>
                        <a:pt x="210736" y="205919"/>
                      </a:lnTo>
                      <a:lnTo>
                        <a:pt x="208772" y="207680"/>
                      </a:lnTo>
                      <a:lnTo>
                        <a:pt x="208340" y="208348"/>
                      </a:lnTo>
                      <a:lnTo>
                        <a:pt x="208381" y="209081"/>
                      </a:lnTo>
                      <a:lnTo>
                        <a:pt x="208666" y="209684"/>
                      </a:lnTo>
                      <a:lnTo>
                        <a:pt x="209521" y="210271"/>
                      </a:lnTo>
                      <a:lnTo>
                        <a:pt x="213287" y="210394"/>
                      </a:lnTo>
                      <a:lnTo>
                        <a:pt x="215300" y="211013"/>
                      </a:lnTo>
                      <a:lnTo>
                        <a:pt x="220613" y="213556"/>
                      </a:lnTo>
                      <a:lnTo>
                        <a:pt x="221950" y="214313"/>
                      </a:lnTo>
                      <a:lnTo>
                        <a:pt x="225894" y="218804"/>
                      </a:lnTo>
                      <a:lnTo>
                        <a:pt x="229391" y="220149"/>
                      </a:lnTo>
                      <a:lnTo>
                        <a:pt x="229969" y="220621"/>
                      </a:lnTo>
                      <a:lnTo>
                        <a:pt x="230295" y="221404"/>
                      </a:lnTo>
                      <a:lnTo>
                        <a:pt x="229936" y="222512"/>
                      </a:lnTo>
                      <a:lnTo>
                        <a:pt x="228445" y="225136"/>
                      </a:lnTo>
                      <a:lnTo>
                        <a:pt x="228135" y="225943"/>
                      </a:lnTo>
                      <a:lnTo>
                        <a:pt x="228282" y="226726"/>
                      </a:lnTo>
                      <a:lnTo>
                        <a:pt x="229105" y="227035"/>
                      </a:lnTo>
                      <a:lnTo>
                        <a:pt x="233522" y="227043"/>
                      </a:lnTo>
                      <a:lnTo>
                        <a:pt x="235340" y="226489"/>
                      </a:lnTo>
                      <a:lnTo>
                        <a:pt x="236905" y="225552"/>
                      </a:lnTo>
                      <a:lnTo>
                        <a:pt x="238151" y="224069"/>
                      </a:lnTo>
                      <a:lnTo>
                        <a:pt x="239154" y="223767"/>
                      </a:lnTo>
                      <a:lnTo>
                        <a:pt x="241477" y="224248"/>
                      </a:lnTo>
                      <a:lnTo>
                        <a:pt x="245405" y="226180"/>
                      </a:lnTo>
                      <a:lnTo>
                        <a:pt x="247507" y="229374"/>
                      </a:lnTo>
                      <a:lnTo>
                        <a:pt x="247401" y="230466"/>
                      </a:lnTo>
                      <a:lnTo>
                        <a:pt x="247752" y="231526"/>
                      </a:lnTo>
                      <a:lnTo>
                        <a:pt x="248502" y="232088"/>
                      </a:lnTo>
                      <a:lnTo>
                        <a:pt x="249765" y="233767"/>
                      </a:lnTo>
                      <a:lnTo>
                        <a:pt x="250205" y="234883"/>
                      </a:lnTo>
                      <a:lnTo>
                        <a:pt x="250213" y="235918"/>
                      </a:lnTo>
                      <a:lnTo>
                        <a:pt x="249504" y="237043"/>
                      </a:lnTo>
                      <a:lnTo>
                        <a:pt x="249797" y="237679"/>
                      </a:lnTo>
                      <a:lnTo>
                        <a:pt x="251224" y="239545"/>
                      </a:lnTo>
                      <a:lnTo>
                        <a:pt x="251859" y="240873"/>
                      </a:lnTo>
                      <a:lnTo>
                        <a:pt x="253220" y="241640"/>
                      </a:lnTo>
                      <a:lnTo>
                        <a:pt x="254068" y="243196"/>
                      </a:lnTo>
                      <a:lnTo>
                        <a:pt x="256480" y="244965"/>
                      </a:lnTo>
                      <a:lnTo>
                        <a:pt x="260148" y="246228"/>
                      </a:lnTo>
                      <a:lnTo>
                        <a:pt x="263848" y="249129"/>
                      </a:lnTo>
                      <a:lnTo>
                        <a:pt x="265861" y="250286"/>
                      </a:lnTo>
                      <a:lnTo>
                        <a:pt x="269406" y="250898"/>
                      </a:lnTo>
                      <a:lnTo>
                        <a:pt x="269944" y="251501"/>
                      </a:lnTo>
                      <a:lnTo>
                        <a:pt x="269870" y="252340"/>
                      </a:lnTo>
                      <a:lnTo>
                        <a:pt x="269267" y="252805"/>
                      </a:lnTo>
                      <a:lnTo>
                        <a:pt x="266431" y="253823"/>
                      </a:lnTo>
                      <a:lnTo>
                        <a:pt x="265461" y="254500"/>
                      </a:lnTo>
                      <a:lnTo>
                        <a:pt x="265363" y="255217"/>
                      </a:lnTo>
                      <a:lnTo>
                        <a:pt x="265795" y="255950"/>
                      </a:lnTo>
                      <a:lnTo>
                        <a:pt x="266822" y="256276"/>
                      </a:lnTo>
                      <a:lnTo>
                        <a:pt x="269349" y="255470"/>
                      </a:lnTo>
                      <a:lnTo>
                        <a:pt x="270123" y="255576"/>
                      </a:lnTo>
                      <a:lnTo>
                        <a:pt x="270449" y="256244"/>
                      </a:lnTo>
                      <a:lnTo>
                        <a:pt x="270840" y="257442"/>
                      </a:lnTo>
                      <a:lnTo>
                        <a:pt x="271305" y="258045"/>
                      </a:lnTo>
                      <a:lnTo>
                        <a:pt x="273464" y="258884"/>
                      </a:lnTo>
                      <a:lnTo>
                        <a:pt x="274222" y="260091"/>
                      </a:lnTo>
                      <a:lnTo>
                        <a:pt x="275648" y="261394"/>
                      </a:lnTo>
                      <a:lnTo>
                        <a:pt x="276463" y="262764"/>
                      </a:lnTo>
                      <a:lnTo>
                        <a:pt x="276716" y="264255"/>
                      </a:lnTo>
                      <a:lnTo>
                        <a:pt x="275216" y="267572"/>
                      </a:lnTo>
                      <a:lnTo>
                        <a:pt x="274149" y="268811"/>
                      </a:lnTo>
                      <a:lnTo>
                        <a:pt x="270351" y="271166"/>
                      </a:lnTo>
                      <a:lnTo>
                        <a:pt x="269406" y="272217"/>
                      </a:lnTo>
                      <a:lnTo>
                        <a:pt x="269561" y="272910"/>
                      </a:lnTo>
                      <a:lnTo>
                        <a:pt x="271394" y="273546"/>
                      </a:lnTo>
                      <a:lnTo>
                        <a:pt x="273407" y="275412"/>
                      </a:lnTo>
                      <a:lnTo>
                        <a:pt x="275216" y="276586"/>
                      </a:lnTo>
                      <a:lnTo>
                        <a:pt x="276088" y="277841"/>
                      </a:lnTo>
                      <a:lnTo>
                        <a:pt x="277148" y="280530"/>
                      </a:lnTo>
                      <a:lnTo>
                        <a:pt x="279454" y="281418"/>
                      </a:lnTo>
                      <a:lnTo>
                        <a:pt x="282054" y="281500"/>
                      </a:lnTo>
                      <a:lnTo>
                        <a:pt x="282502" y="281899"/>
                      </a:lnTo>
                      <a:lnTo>
                        <a:pt x="282356" y="282779"/>
                      </a:lnTo>
                      <a:lnTo>
                        <a:pt x="279960" y="287164"/>
                      </a:lnTo>
                      <a:lnTo>
                        <a:pt x="279951" y="288647"/>
                      </a:lnTo>
                      <a:lnTo>
                        <a:pt x="279601" y="289870"/>
                      </a:lnTo>
                      <a:lnTo>
                        <a:pt x="279854" y="291239"/>
                      </a:lnTo>
                      <a:lnTo>
                        <a:pt x="281353" y="293504"/>
                      </a:lnTo>
                      <a:lnTo>
                        <a:pt x="281752" y="294328"/>
                      </a:lnTo>
                      <a:lnTo>
                        <a:pt x="281907" y="295485"/>
                      </a:lnTo>
                      <a:lnTo>
                        <a:pt x="282307" y="296145"/>
                      </a:lnTo>
                      <a:lnTo>
                        <a:pt x="284189" y="297139"/>
                      </a:lnTo>
                      <a:lnTo>
                        <a:pt x="284654" y="297734"/>
                      </a:lnTo>
                      <a:lnTo>
                        <a:pt x="285412" y="299967"/>
                      </a:lnTo>
                      <a:lnTo>
                        <a:pt x="285526" y="300807"/>
                      </a:lnTo>
                      <a:lnTo>
                        <a:pt x="286545" y="301565"/>
                      </a:lnTo>
                      <a:lnTo>
                        <a:pt x="292445" y="304295"/>
                      </a:lnTo>
                      <a:lnTo>
                        <a:pt x="292983" y="305240"/>
                      </a:lnTo>
                      <a:lnTo>
                        <a:pt x="292730" y="306071"/>
                      </a:lnTo>
                      <a:lnTo>
                        <a:pt x="290554" y="307261"/>
                      </a:lnTo>
                      <a:lnTo>
                        <a:pt x="290326" y="307905"/>
                      </a:lnTo>
                      <a:lnTo>
                        <a:pt x="290391" y="308484"/>
                      </a:lnTo>
                      <a:lnTo>
                        <a:pt x="291500" y="309413"/>
                      </a:lnTo>
                      <a:lnTo>
                        <a:pt x="291744" y="310032"/>
                      </a:lnTo>
                      <a:lnTo>
                        <a:pt x="290456" y="312118"/>
                      </a:lnTo>
                      <a:lnTo>
                        <a:pt x="290399" y="313268"/>
                      </a:lnTo>
                      <a:lnTo>
                        <a:pt x="291622" y="315639"/>
                      </a:lnTo>
                      <a:lnTo>
                        <a:pt x="291899" y="316316"/>
                      </a:lnTo>
                      <a:lnTo>
                        <a:pt x="291736" y="317049"/>
                      </a:lnTo>
                      <a:lnTo>
                        <a:pt x="291190" y="317791"/>
                      </a:lnTo>
                      <a:lnTo>
                        <a:pt x="291011" y="318508"/>
                      </a:lnTo>
                      <a:lnTo>
                        <a:pt x="291353" y="319054"/>
                      </a:lnTo>
                      <a:lnTo>
                        <a:pt x="292494" y="319747"/>
                      </a:lnTo>
                      <a:lnTo>
                        <a:pt x="294295" y="320170"/>
                      </a:lnTo>
                      <a:lnTo>
                        <a:pt x="297335" y="319918"/>
                      </a:lnTo>
                      <a:lnTo>
                        <a:pt x="299967" y="320431"/>
                      </a:lnTo>
                      <a:lnTo>
                        <a:pt x="300652" y="320757"/>
                      </a:lnTo>
                      <a:lnTo>
                        <a:pt x="301613" y="322306"/>
                      </a:lnTo>
                      <a:lnTo>
                        <a:pt x="302290" y="322681"/>
                      </a:lnTo>
                      <a:lnTo>
                        <a:pt x="303243" y="322469"/>
                      </a:lnTo>
                      <a:lnTo>
                        <a:pt x="305648" y="320700"/>
                      </a:lnTo>
                      <a:lnTo>
                        <a:pt x="307196" y="320301"/>
                      </a:lnTo>
                      <a:lnTo>
                        <a:pt x="308557" y="320521"/>
                      </a:lnTo>
                      <a:lnTo>
                        <a:pt x="312542" y="323911"/>
                      </a:lnTo>
                      <a:lnTo>
                        <a:pt x="313382" y="325655"/>
                      </a:lnTo>
                      <a:lnTo>
                        <a:pt x="316055" y="328230"/>
                      </a:lnTo>
                      <a:lnTo>
                        <a:pt x="316707" y="330023"/>
                      </a:lnTo>
                      <a:lnTo>
                        <a:pt x="317342" y="330773"/>
                      </a:lnTo>
                      <a:lnTo>
                        <a:pt x="320138" y="331751"/>
                      </a:lnTo>
                      <a:lnTo>
                        <a:pt x="321311" y="332884"/>
                      </a:lnTo>
                      <a:lnTo>
                        <a:pt x="321988" y="334261"/>
                      </a:lnTo>
                      <a:lnTo>
                        <a:pt x="322632" y="337032"/>
                      </a:lnTo>
                      <a:lnTo>
                        <a:pt x="327253" y="340789"/>
                      </a:lnTo>
                      <a:lnTo>
                        <a:pt x="329592" y="342028"/>
                      </a:lnTo>
                      <a:lnTo>
                        <a:pt x="330993" y="343495"/>
                      </a:lnTo>
                      <a:lnTo>
                        <a:pt x="332183" y="344277"/>
                      </a:lnTo>
                      <a:lnTo>
                        <a:pt x="335663" y="345182"/>
                      </a:lnTo>
                      <a:lnTo>
                        <a:pt x="339852" y="345117"/>
                      </a:lnTo>
                      <a:lnTo>
                        <a:pt x="341588" y="345834"/>
                      </a:lnTo>
                      <a:lnTo>
                        <a:pt x="343144" y="347048"/>
                      </a:lnTo>
                      <a:lnTo>
                        <a:pt x="344400" y="349493"/>
                      </a:lnTo>
                      <a:lnTo>
                        <a:pt x="345483" y="350895"/>
                      </a:lnTo>
                      <a:lnTo>
                        <a:pt x="346747" y="356266"/>
                      </a:lnTo>
                      <a:lnTo>
                        <a:pt x="346910" y="357838"/>
                      </a:lnTo>
                      <a:lnTo>
                        <a:pt x="346608" y="360723"/>
                      </a:lnTo>
                      <a:lnTo>
                        <a:pt x="345239" y="362044"/>
                      </a:lnTo>
                      <a:lnTo>
                        <a:pt x="344889" y="362533"/>
                      </a:lnTo>
                      <a:lnTo>
                        <a:pt x="344978" y="362981"/>
                      </a:lnTo>
                      <a:lnTo>
                        <a:pt x="345932" y="363763"/>
                      </a:lnTo>
                      <a:lnTo>
                        <a:pt x="348181" y="363266"/>
                      </a:lnTo>
                      <a:lnTo>
                        <a:pt x="348670" y="363714"/>
                      </a:lnTo>
                      <a:lnTo>
                        <a:pt x="349550" y="367838"/>
                      </a:lnTo>
                      <a:lnTo>
                        <a:pt x="349322" y="370495"/>
                      </a:lnTo>
                      <a:lnTo>
                        <a:pt x="349477" y="371489"/>
                      </a:lnTo>
                      <a:lnTo>
                        <a:pt x="350064" y="372549"/>
                      </a:lnTo>
                      <a:lnTo>
                        <a:pt x="350023" y="374065"/>
                      </a:lnTo>
                      <a:lnTo>
                        <a:pt x="350773" y="375116"/>
                      </a:lnTo>
                      <a:lnTo>
                        <a:pt x="351441" y="375328"/>
                      </a:lnTo>
                      <a:lnTo>
                        <a:pt x="353055" y="374896"/>
                      </a:lnTo>
                      <a:lnTo>
                        <a:pt x="355597" y="375401"/>
                      </a:lnTo>
                      <a:lnTo>
                        <a:pt x="359191" y="373869"/>
                      </a:lnTo>
                      <a:lnTo>
                        <a:pt x="363397" y="374668"/>
                      </a:lnTo>
                      <a:lnTo>
                        <a:pt x="364725" y="374496"/>
                      </a:lnTo>
                      <a:lnTo>
                        <a:pt x="365760" y="374130"/>
                      </a:lnTo>
                      <a:lnTo>
                        <a:pt x="366265" y="373519"/>
                      </a:lnTo>
                      <a:lnTo>
                        <a:pt x="366265" y="372125"/>
                      </a:lnTo>
                      <a:lnTo>
                        <a:pt x="366559" y="371628"/>
                      </a:lnTo>
                      <a:lnTo>
                        <a:pt x="368075" y="371220"/>
                      </a:lnTo>
                      <a:lnTo>
                        <a:pt x="369240" y="371326"/>
                      </a:lnTo>
                      <a:lnTo>
                        <a:pt x="369639" y="372712"/>
                      </a:lnTo>
                      <a:lnTo>
                        <a:pt x="370487" y="373225"/>
                      </a:lnTo>
                      <a:lnTo>
                        <a:pt x="371994" y="373519"/>
                      </a:lnTo>
                      <a:lnTo>
                        <a:pt x="373144" y="371253"/>
                      </a:lnTo>
                      <a:lnTo>
                        <a:pt x="373787" y="370544"/>
                      </a:lnTo>
                      <a:lnTo>
                        <a:pt x="374586" y="370242"/>
                      </a:lnTo>
                      <a:lnTo>
                        <a:pt x="375466" y="370250"/>
                      </a:lnTo>
                      <a:lnTo>
                        <a:pt x="379354" y="372247"/>
                      </a:lnTo>
                      <a:lnTo>
                        <a:pt x="387503" y="374211"/>
                      </a:lnTo>
                      <a:lnTo>
                        <a:pt x="388897" y="374187"/>
                      </a:lnTo>
                      <a:lnTo>
                        <a:pt x="391195" y="372826"/>
                      </a:lnTo>
                      <a:lnTo>
                        <a:pt x="393135" y="372100"/>
                      </a:lnTo>
                      <a:lnTo>
                        <a:pt x="399858" y="371457"/>
                      </a:lnTo>
                      <a:lnTo>
                        <a:pt x="400380" y="368881"/>
                      </a:lnTo>
                      <a:lnTo>
                        <a:pt x="400934" y="367911"/>
                      </a:lnTo>
                      <a:lnTo>
                        <a:pt x="401692" y="367398"/>
                      </a:lnTo>
                      <a:lnTo>
                        <a:pt x="406427" y="367414"/>
                      </a:lnTo>
                      <a:lnTo>
                        <a:pt x="407250" y="367732"/>
                      </a:lnTo>
                      <a:lnTo>
                        <a:pt x="409141" y="372989"/>
                      </a:lnTo>
                      <a:lnTo>
                        <a:pt x="409174" y="374350"/>
                      </a:lnTo>
                      <a:lnTo>
                        <a:pt x="406541" y="377862"/>
                      </a:lnTo>
                      <a:lnTo>
                        <a:pt x="406541" y="378620"/>
                      </a:lnTo>
                      <a:lnTo>
                        <a:pt x="406835" y="379435"/>
                      </a:lnTo>
                      <a:lnTo>
                        <a:pt x="410062" y="383249"/>
                      </a:lnTo>
                      <a:lnTo>
                        <a:pt x="411708" y="386183"/>
                      </a:lnTo>
                      <a:lnTo>
                        <a:pt x="415522" y="387014"/>
                      </a:lnTo>
                      <a:lnTo>
                        <a:pt x="416109" y="387846"/>
                      </a:lnTo>
                      <a:lnTo>
                        <a:pt x="416631" y="391847"/>
                      </a:lnTo>
                      <a:lnTo>
                        <a:pt x="417120" y="393135"/>
                      </a:lnTo>
                      <a:lnTo>
                        <a:pt x="419141" y="396965"/>
                      </a:lnTo>
                      <a:lnTo>
                        <a:pt x="421765" y="400910"/>
                      </a:lnTo>
                      <a:lnTo>
                        <a:pt x="421895" y="402002"/>
                      </a:lnTo>
                      <a:lnTo>
                        <a:pt x="421382" y="403567"/>
                      </a:lnTo>
                      <a:lnTo>
                        <a:pt x="421439" y="404121"/>
                      </a:lnTo>
                      <a:lnTo>
                        <a:pt x="421863" y="404349"/>
                      </a:lnTo>
                      <a:lnTo>
                        <a:pt x="424699" y="404382"/>
                      </a:lnTo>
                      <a:lnTo>
                        <a:pt x="425628" y="405156"/>
                      </a:lnTo>
                      <a:lnTo>
                        <a:pt x="426190" y="405922"/>
                      </a:lnTo>
                      <a:lnTo>
                        <a:pt x="48263" y="405889"/>
                      </a:lnTo>
                      <a:close/>
                    </a:path>
                  </a:pathLst>
                </a:custGeom>
                <a:solidFill>
                  <a:srgbClr val="D6D6D2"/>
                </a:solidFill>
                <a:ln w="6112" cap="rnd">
                  <a:solidFill>
                    <a:srgbClr val="FFFFFF"/>
                  </a:solidFill>
                  <a:prstDash val="solid"/>
                  <a:round/>
                </a:ln>
              </p:spPr>
              <p:txBody>
                <a:bodyPr rtlCol="0" anchor="ctr"/>
                <a:lstStyle/>
                <a:p>
                  <a:endParaRPr lang="en-US"/>
                </a:p>
              </p:txBody>
            </p:sp>
            <p:sp>
              <p:nvSpPr>
                <p:cNvPr id="494" name="Freeform: Shape 493">
                  <a:extLst>
                    <a:ext uri="{FF2B5EF4-FFF2-40B4-BE49-F238E27FC236}">
                      <a16:creationId xmlns:a16="http://schemas.microsoft.com/office/drawing/2014/main" id="{8DA1D5E7-EEFF-4AF3-9333-9B549AC2CE19}"/>
                    </a:ext>
                  </a:extLst>
                </p:cNvPr>
                <p:cNvSpPr/>
                <p:nvPr/>
              </p:nvSpPr>
              <p:spPr>
                <a:xfrm>
                  <a:off x="3065350" y="2961264"/>
                  <a:ext cx="298728" cy="163288"/>
                </a:xfrm>
                <a:custGeom>
                  <a:avLst/>
                  <a:gdLst>
                    <a:gd name="connsiteX0" fmla="*/ 123966 w 298728"/>
                    <a:gd name="connsiteY0" fmla="*/ 142140 h 163288"/>
                    <a:gd name="connsiteX1" fmla="*/ 123957 w 298728"/>
                    <a:gd name="connsiteY1" fmla="*/ 146540 h 163288"/>
                    <a:gd name="connsiteX2" fmla="*/ 123957 w 298728"/>
                    <a:gd name="connsiteY2" fmla="*/ 150933 h 163288"/>
                    <a:gd name="connsiteX3" fmla="*/ 123957 w 298728"/>
                    <a:gd name="connsiteY3" fmla="*/ 155326 h 163288"/>
                    <a:gd name="connsiteX4" fmla="*/ 123949 w 298728"/>
                    <a:gd name="connsiteY4" fmla="*/ 159719 h 163288"/>
                    <a:gd name="connsiteX5" fmla="*/ 122319 w 298728"/>
                    <a:gd name="connsiteY5" fmla="*/ 158798 h 163288"/>
                    <a:gd name="connsiteX6" fmla="*/ 121235 w 298728"/>
                    <a:gd name="connsiteY6" fmla="*/ 157730 h 163288"/>
                    <a:gd name="connsiteX7" fmla="*/ 120331 w 298728"/>
                    <a:gd name="connsiteY7" fmla="*/ 156516 h 163288"/>
                    <a:gd name="connsiteX8" fmla="*/ 118652 w 298728"/>
                    <a:gd name="connsiteY8" fmla="*/ 153117 h 163288"/>
                    <a:gd name="connsiteX9" fmla="*/ 117682 w 298728"/>
                    <a:gd name="connsiteY9" fmla="*/ 151870 h 163288"/>
                    <a:gd name="connsiteX10" fmla="*/ 116859 w 298728"/>
                    <a:gd name="connsiteY10" fmla="*/ 151120 h 163288"/>
                    <a:gd name="connsiteX11" fmla="*/ 115987 w 298728"/>
                    <a:gd name="connsiteY11" fmla="*/ 151064 h 163288"/>
                    <a:gd name="connsiteX12" fmla="*/ 114919 w 298728"/>
                    <a:gd name="connsiteY12" fmla="*/ 151512 h 163288"/>
                    <a:gd name="connsiteX13" fmla="*/ 114113 w 298728"/>
                    <a:gd name="connsiteY13" fmla="*/ 152294 h 163288"/>
                    <a:gd name="connsiteX14" fmla="*/ 113844 w 298728"/>
                    <a:gd name="connsiteY14" fmla="*/ 153704 h 163288"/>
                    <a:gd name="connsiteX15" fmla="*/ 113045 w 298728"/>
                    <a:gd name="connsiteY15" fmla="*/ 155342 h 163288"/>
                    <a:gd name="connsiteX16" fmla="*/ 113102 w 298728"/>
                    <a:gd name="connsiteY16" fmla="*/ 156719 h 163288"/>
                    <a:gd name="connsiteX17" fmla="*/ 113461 w 298728"/>
                    <a:gd name="connsiteY17" fmla="*/ 157420 h 163288"/>
                    <a:gd name="connsiteX18" fmla="*/ 113338 w 298728"/>
                    <a:gd name="connsiteY18" fmla="*/ 157803 h 163288"/>
                    <a:gd name="connsiteX19" fmla="*/ 112833 w 298728"/>
                    <a:gd name="connsiteY19" fmla="*/ 158113 h 163288"/>
                    <a:gd name="connsiteX20" fmla="*/ 108880 w 298728"/>
                    <a:gd name="connsiteY20" fmla="*/ 157600 h 163288"/>
                    <a:gd name="connsiteX21" fmla="*/ 105458 w 298728"/>
                    <a:gd name="connsiteY21" fmla="*/ 158292 h 163288"/>
                    <a:gd name="connsiteX22" fmla="*/ 103102 w 298728"/>
                    <a:gd name="connsiteY22" fmla="*/ 157763 h 163288"/>
                    <a:gd name="connsiteX23" fmla="*/ 98587 w 298728"/>
                    <a:gd name="connsiteY23" fmla="*/ 158015 h 163288"/>
                    <a:gd name="connsiteX24" fmla="*/ 94692 w 298728"/>
                    <a:gd name="connsiteY24" fmla="*/ 157559 h 163288"/>
                    <a:gd name="connsiteX25" fmla="*/ 93355 w 298728"/>
                    <a:gd name="connsiteY25" fmla="*/ 157795 h 163288"/>
                    <a:gd name="connsiteX26" fmla="*/ 92491 w 298728"/>
                    <a:gd name="connsiteY26" fmla="*/ 158520 h 163288"/>
                    <a:gd name="connsiteX27" fmla="*/ 91399 w 298728"/>
                    <a:gd name="connsiteY27" fmla="*/ 160395 h 163288"/>
                    <a:gd name="connsiteX28" fmla="*/ 91122 w 298728"/>
                    <a:gd name="connsiteY28" fmla="*/ 160729 h 163288"/>
                    <a:gd name="connsiteX29" fmla="*/ 90682 w 298728"/>
                    <a:gd name="connsiteY29" fmla="*/ 160794 h 163288"/>
                    <a:gd name="connsiteX30" fmla="*/ 84350 w 298728"/>
                    <a:gd name="connsiteY30" fmla="*/ 159784 h 163288"/>
                    <a:gd name="connsiteX31" fmla="*/ 82671 w 298728"/>
                    <a:gd name="connsiteY31" fmla="*/ 159751 h 163288"/>
                    <a:gd name="connsiteX32" fmla="*/ 80902 w 298728"/>
                    <a:gd name="connsiteY32" fmla="*/ 160965 h 163288"/>
                    <a:gd name="connsiteX33" fmla="*/ 80332 w 298728"/>
                    <a:gd name="connsiteY33" fmla="*/ 161846 h 163288"/>
                    <a:gd name="connsiteX34" fmla="*/ 80202 w 298728"/>
                    <a:gd name="connsiteY34" fmla="*/ 162970 h 163288"/>
                    <a:gd name="connsiteX35" fmla="*/ 79802 w 298728"/>
                    <a:gd name="connsiteY35" fmla="*/ 163288 h 163288"/>
                    <a:gd name="connsiteX36" fmla="*/ 79248 w 298728"/>
                    <a:gd name="connsiteY36" fmla="*/ 163231 h 163288"/>
                    <a:gd name="connsiteX37" fmla="*/ 77846 w 298728"/>
                    <a:gd name="connsiteY37" fmla="*/ 162498 h 163288"/>
                    <a:gd name="connsiteX38" fmla="*/ 76363 w 298728"/>
                    <a:gd name="connsiteY38" fmla="*/ 161267 h 163288"/>
                    <a:gd name="connsiteX39" fmla="*/ 75630 w 298728"/>
                    <a:gd name="connsiteY39" fmla="*/ 160371 h 163288"/>
                    <a:gd name="connsiteX40" fmla="*/ 75467 w 298728"/>
                    <a:gd name="connsiteY40" fmla="*/ 158317 h 163288"/>
                    <a:gd name="connsiteX41" fmla="*/ 74277 w 298728"/>
                    <a:gd name="connsiteY41" fmla="*/ 156002 h 163288"/>
                    <a:gd name="connsiteX42" fmla="*/ 74073 w 298728"/>
                    <a:gd name="connsiteY42" fmla="*/ 153908 h 163288"/>
                    <a:gd name="connsiteX43" fmla="*/ 73315 w 298728"/>
                    <a:gd name="connsiteY43" fmla="*/ 152147 h 163288"/>
                    <a:gd name="connsiteX44" fmla="*/ 72133 w 298728"/>
                    <a:gd name="connsiteY44" fmla="*/ 150395 h 163288"/>
                    <a:gd name="connsiteX45" fmla="*/ 70976 w 298728"/>
                    <a:gd name="connsiteY45" fmla="*/ 149230 h 163288"/>
                    <a:gd name="connsiteX46" fmla="*/ 69811 w 298728"/>
                    <a:gd name="connsiteY46" fmla="*/ 148839 h 163288"/>
                    <a:gd name="connsiteX47" fmla="*/ 67675 w 298728"/>
                    <a:gd name="connsiteY47" fmla="*/ 149091 h 163288"/>
                    <a:gd name="connsiteX48" fmla="*/ 67219 w 298728"/>
                    <a:gd name="connsiteY48" fmla="*/ 148904 h 163288"/>
                    <a:gd name="connsiteX49" fmla="*/ 64905 w 298728"/>
                    <a:gd name="connsiteY49" fmla="*/ 146589 h 163288"/>
                    <a:gd name="connsiteX50" fmla="*/ 64195 w 298728"/>
                    <a:gd name="connsiteY50" fmla="*/ 145554 h 163288"/>
                    <a:gd name="connsiteX51" fmla="*/ 63984 w 298728"/>
                    <a:gd name="connsiteY51" fmla="*/ 144625 h 163288"/>
                    <a:gd name="connsiteX52" fmla="*/ 64758 w 298728"/>
                    <a:gd name="connsiteY52" fmla="*/ 142384 h 163288"/>
                    <a:gd name="connsiteX53" fmla="*/ 64538 w 298728"/>
                    <a:gd name="connsiteY53" fmla="*/ 141153 h 163288"/>
                    <a:gd name="connsiteX54" fmla="*/ 63943 w 298728"/>
                    <a:gd name="connsiteY54" fmla="*/ 139621 h 163288"/>
                    <a:gd name="connsiteX55" fmla="*/ 63136 w 298728"/>
                    <a:gd name="connsiteY55" fmla="*/ 138342 h 163288"/>
                    <a:gd name="connsiteX56" fmla="*/ 61799 w 298728"/>
                    <a:gd name="connsiteY56" fmla="*/ 137250 h 163288"/>
                    <a:gd name="connsiteX57" fmla="*/ 60577 w 298728"/>
                    <a:gd name="connsiteY57" fmla="*/ 134837 h 163288"/>
                    <a:gd name="connsiteX58" fmla="*/ 58336 w 298728"/>
                    <a:gd name="connsiteY58" fmla="*/ 131463 h 163288"/>
                    <a:gd name="connsiteX59" fmla="*/ 57716 w 298728"/>
                    <a:gd name="connsiteY59" fmla="*/ 128847 h 163288"/>
                    <a:gd name="connsiteX60" fmla="*/ 56869 w 298728"/>
                    <a:gd name="connsiteY60" fmla="*/ 126688 h 163288"/>
                    <a:gd name="connsiteX61" fmla="*/ 56624 w 298728"/>
                    <a:gd name="connsiteY61" fmla="*/ 124520 h 163288"/>
                    <a:gd name="connsiteX62" fmla="*/ 55793 w 298728"/>
                    <a:gd name="connsiteY62" fmla="*/ 123191 h 163288"/>
                    <a:gd name="connsiteX63" fmla="*/ 55866 w 298728"/>
                    <a:gd name="connsiteY63" fmla="*/ 121513 h 163288"/>
                    <a:gd name="connsiteX64" fmla="*/ 55728 w 298728"/>
                    <a:gd name="connsiteY64" fmla="*/ 121048 h 163288"/>
                    <a:gd name="connsiteX65" fmla="*/ 55467 w 298728"/>
                    <a:gd name="connsiteY65" fmla="*/ 120836 h 163288"/>
                    <a:gd name="connsiteX66" fmla="*/ 53976 w 298728"/>
                    <a:gd name="connsiteY66" fmla="*/ 119899 h 163288"/>
                    <a:gd name="connsiteX67" fmla="*/ 52248 w 298728"/>
                    <a:gd name="connsiteY67" fmla="*/ 118212 h 163288"/>
                    <a:gd name="connsiteX68" fmla="*/ 51368 w 298728"/>
                    <a:gd name="connsiteY68" fmla="*/ 117829 h 163288"/>
                    <a:gd name="connsiteX69" fmla="*/ 51025 w 298728"/>
                    <a:gd name="connsiteY69" fmla="*/ 117813 h 163288"/>
                    <a:gd name="connsiteX70" fmla="*/ 50806 w 298728"/>
                    <a:gd name="connsiteY70" fmla="*/ 118244 h 163288"/>
                    <a:gd name="connsiteX71" fmla="*/ 50667 w 298728"/>
                    <a:gd name="connsiteY71" fmla="*/ 119027 h 163288"/>
                    <a:gd name="connsiteX72" fmla="*/ 47929 w 298728"/>
                    <a:gd name="connsiteY72" fmla="*/ 121814 h 163288"/>
                    <a:gd name="connsiteX73" fmla="*/ 45606 w 298728"/>
                    <a:gd name="connsiteY73" fmla="*/ 123110 h 163288"/>
                    <a:gd name="connsiteX74" fmla="*/ 44465 w 298728"/>
                    <a:gd name="connsiteY74" fmla="*/ 124406 h 163288"/>
                    <a:gd name="connsiteX75" fmla="*/ 43438 w 298728"/>
                    <a:gd name="connsiteY75" fmla="*/ 125041 h 163288"/>
                    <a:gd name="connsiteX76" fmla="*/ 42908 w 298728"/>
                    <a:gd name="connsiteY76" fmla="*/ 125107 h 163288"/>
                    <a:gd name="connsiteX77" fmla="*/ 42126 w 298728"/>
                    <a:gd name="connsiteY77" fmla="*/ 124707 h 163288"/>
                    <a:gd name="connsiteX78" fmla="*/ 39697 w 298728"/>
                    <a:gd name="connsiteY78" fmla="*/ 122800 h 163288"/>
                    <a:gd name="connsiteX79" fmla="*/ 37693 w 298728"/>
                    <a:gd name="connsiteY79" fmla="*/ 121936 h 163288"/>
                    <a:gd name="connsiteX80" fmla="*/ 37497 w 298728"/>
                    <a:gd name="connsiteY80" fmla="*/ 121521 h 163288"/>
                    <a:gd name="connsiteX81" fmla="*/ 37619 w 298728"/>
                    <a:gd name="connsiteY81" fmla="*/ 119923 h 163288"/>
                    <a:gd name="connsiteX82" fmla="*/ 38524 w 298728"/>
                    <a:gd name="connsiteY82" fmla="*/ 118057 h 163288"/>
                    <a:gd name="connsiteX83" fmla="*/ 37587 w 298728"/>
                    <a:gd name="connsiteY83" fmla="*/ 114675 h 163288"/>
                    <a:gd name="connsiteX84" fmla="*/ 37864 w 298728"/>
                    <a:gd name="connsiteY84" fmla="*/ 113501 h 163288"/>
                    <a:gd name="connsiteX85" fmla="*/ 38605 w 298728"/>
                    <a:gd name="connsiteY85" fmla="*/ 112662 h 163288"/>
                    <a:gd name="connsiteX86" fmla="*/ 40773 w 298728"/>
                    <a:gd name="connsiteY86" fmla="*/ 111415 h 163288"/>
                    <a:gd name="connsiteX87" fmla="*/ 40977 w 298728"/>
                    <a:gd name="connsiteY87" fmla="*/ 110820 h 163288"/>
                    <a:gd name="connsiteX88" fmla="*/ 40504 w 298728"/>
                    <a:gd name="connsiteY88" fmla="*/ 107601 h 163288"/>
                    <a:gd name="connsiteX89" fmla="*/ 39290 w 298728"/>
                    <a:gd name="connsiteY89" fmla="*/ 106387 h 163288"/>
                    <a:gd name="connsiteX90" fmla="*/ 38956 w 298728"/>
                    <a:gd name="connsiteY90" fmla="*/ 105710 h 163288"/>
                    <a:gd name="connsiteX91" fmla="*/ 39331 w 298728"/>
                    <a:gd name="connsiteY91" fmla="*/ 103086 h 163288"/>
                    <a:gd name="connsiteX92" fmla="*/ 38785 w 298728"/>
                    <a:gd name="connsiteY92" fmla="*/ 101375 h 163288"/>
                    <a:gd name="connsiteX93" fmla="*/ 39746 w 298728"/>
                    <a:gd name="connsiteY93" fmla="*/ 99924 h 163288"/>
                    <a:gd name="connsiteX94" fmla="*/ 39803 w 298728"/>
                    <a:gd name="connsiteY94" fmla="*/ 97397 h 163288"/>
                    <a:gd name="connsiteX95" fmla="*/ 40586 w 298728"/>
                    <a:gd name="connsiteY95" fmla="*/ 94814 h 163288"/>
                    <a:gd name="connsiteX96" fmla="*/ 41392 w 298728"/>
                    <a:gd name="connsiteY96" fmla="*/ 90935 h 163288"/>
                    <a:gd name="connsiteX97" fmla="*/ 41221 w 298728"/>
                    <a:gd name="connsiteY97" fmla="*/ 89272 h 163288"/>
                    <a:gd name="connsiteX98" fmla="*/ 42240 w 298728"/>
                    <a:gd name="connsiteY98" fmla="*/ 87479 h 163288"/>
                    <a:gd name="connsiteX99" fmla="*/ 42582 w 298728"/>
                    <a:gd name="connsiteY99" fmla="*/ 85670 h 163288"/>
                    <a:gd name="connsiteX100" fmla="*/ 42631 w 298728"/>
                    <a:gd name="connsiteY100" fmla="*/ 84391 h 163288"/>
                    <a:gd name="connsiteX101" fmla="*/ 42468 w 298728"/>
                    <a:gd name="connsiteY101" fmla="*/ 83624 h 163288"/>
                    <a:gd name="connsiteX102" fmla="*/ 42118 w 298728"/>
                    <a:gd name="connsiteY102" fmla="*/ 83323 h 163288"/>
                    <a:gd name="connsiteX103" fmla="*/ 41376 w 298728"/>
                    <a:gd name="connsiteY103" fmla="*/ 83323 h 163288"/>
                    <a:gd name="connsiteX104" fmla="*/ 37953 w 298728"/>
                    <a:gd name="connsiteY104" fmla="*/ 84024 h 163288"/>
                    <a:gd name="connsiteX105" fmla="*/ 36861 w 298728"/>
                    <a:gd name="connsiteY105" fmla="*/ 83934 h 163288"/>
                    <a:gd name="connsiteX106" fmla="*/ 35900 w 298728"/>
                    <a:gd name="connsiteY106" fmla="*/ 83584 h 163288"/>
                    <a:gd name="connsiteX107" fmla="*/ 35345 w 298728"/>
                    <a:gd name="connsiteY107" fmla="*/ 82964 h 163288"/>
                    <a:gd name="connsiteX108" fmla="*/ 35182 w 298728"/>
                    <a:gd name="connsiteY108" fmla="*/ 81514 h 163288"/>
                    <a:gd name="connsiteX109" fmla="*/ 34416 w 298728"/>
                    <a:gd name="connsiteY109" fmla="*/ 80560 h 163288"/>
                    <a:gd name="connsiteX110" fmla="*/ 34009 w 298728"/>
                    <a:gd name="connsiteY110" fmla="*/ 80389 h 163288"/>
                    <a:gd name="connsiteX111" fmla="*/ 32460 w 298728"/>
                    <a:gd name="connsiteY111" fmla="*/ 80976 h 163288"/>
                    <a:gd name="connsiteX112" fmla="*/ 32126 w 298728"/>
                    <a:gd name="connsiteY112" fmla="*/ 80943 h 163288"/>
                    <a:gd name="connsiteX113" fmla="*/ 31955 w 298728"/>
                    <a:gd name="connsiteY113" fmla="*/ 80674 h 163288"/>
                    <a:gd name="connsiteX114" fmla="*/ 31328 w 298728"/>
                    <a:gd name="connsiteY114" fmla="*/ 79444 h 163288"/>
                    <a:gd name="connsiteX115" fmla="*/ 28826 w 298728"/>
                    <a:gd name="connsiteY115" fmla="*/ 77031 h 163288"/>
                    <a:gd name="connsiteX116" fmla="*/ 27620 w 298728"/>
                    <a:gd name="connsiteY116" fmla="*/ 74252 h 163288"/>
                    <a:gd name="connsiteX117" fmla="*/ 25191 w 298728"/>
                    <a:gd name="connsiteY117" fmla="*/ 71824 h 163288"/>
                    <a:gd name="connsiteX118" fmla="*/ 22884 w 298728"/>
                    <a:gd name="connsiteY118" fmla="*/ 68498 h 163288"/>
                    <a:gd name="connsiteX119" fmla="*/ 18410 w 298728"/>
                    <a:gd name="connsiteY119" fmla="*/ 63266 h 163288"/>
                    <a:gd name="connsiteX120" fmla="*/ 17351 w 298728"/>
                    <a:gd name="connsiteY120" fmla="*/ 62199 h 163288"/>
                    <a:gd name="connsiteX121" fmla="*/ 13969 w 298728"/>
                    <a:gd name="connsiteY121" fmla="*/ 60398 h 163288"/>
                    <a:gd name="connsiteX122" fmla="*/ 11304 w 298728"/>
                    <a:gd name="connsiteY122" fmla="*/ 57782 h 163288"/>
                    <a:gd name="connsiteX123" fmla="*/ 8598 w 298728"/>
                    <a:gd name="connsiteY123" fmla="*/ 55899 h 163288"/>
                    <a:gd name="connsiteX124" fmla="*/ 8329 w 298728"/>
                    <a:gd name="connsiteY124" fmla="*/ 55573 h 163288"/>
                    <a:gd name="connsiteX125" fmla="*/ 8296 w 298728"/>
                    <a:gd name="connsiteY125" fmla="*/ 55377 h 163288"/>
                    <a:gd name="connsiteX126" fmla="*/ 8460 w 298728"/>
                    <a:gd name="connsiteY126" fmla="*/ 55215 h 163288"/>
                    <a:gd name="connsiteX127" fmla="*/ 9234 w 298728"/>
                    <a:gd name="connsiteY127" fmla="*/ 54726 h 163288"/>
                    <a:gd name="connsiteX128" fmla="*/ 9413 w 298728"/>
                    <a:gd name="connsiteY128" fmla="*/ 53747 h 163288"/>
                    <a:gd name="connsiteX129" fmla="*/ 8386 w 298728"/>
                    <a:gd name="connsiteY129" fmla="*/ 51792 h 163288"/>
                    <a:gd name="connsiteX130" fmla="*/ 8883 w 298728"/>
                    <a:gd name="connsiteY130" fmla="*/ 49852 h 163288"/>
                    <a:gd name="connsiteX131" fmla="*/ 8199 w 298728"/>
                    <a:gd name="connsiteY131" fmla="*/ 47179 h 163288"/>
                    <a:gd name="connsiteX132" fmla="*/ 7824 w 298728"/>
                    <a:gd name="connsiteY132" fmla="*/ 46291 h 163288"/>
                    <a:gd name="connsiteX133" fmla="*/ 5900 w 298728"/>
                    <a:gd name="connsiteY133" fmla="*/ 43797 h 163288"/>
                    <a:gd name="connsiteX134" fmla="*/ 4637 w 298728"/>
                    <a:gd name="connsiteY134" fmla="*/ 41425 h 163288"/>
                    <a:gd name="connsiteX135" fmla="*/ 2673 w 298728"/>
                    <a:gd name="connsiteY135" fmla="*/ 39208 h 163288"/>
                    <a:gd name="connsiteX136" fmla="*/ 0 w 298728"/>
                    <a:gd name="connsiteY136" fmla="*/ 35598 h 163288"/>
                    <a:gd name="connsiteX137" fmla="*/ 8 w 298728"/>
                    <a:gd name="connsiteY137" fmla="*/ 0 h 163288"/>
                    <a:gd name="connsiteX138" fmla="*/ 298003 w 298728"/>
                    <a:gd name="connsiteY138" fmla="*/ 0 h 163288"/>
                    <a:gd name="connsiteX139" fmla="*/ 298728 w 298728"/>
                    <a:gd name="connsiteY139" fmla="*/ 141699 h 163288"/>
                    <a:gd name="connsiteX140" fmla="*/ 298720 w 298728"/>
                    <a:gd name="connsiteY140" fmla="*/ 141814 h 163288"/>
                    <a:gd name="connsiteX141" fmla="*/ 298720 w 298728"/>
                    <a:gd name="connsiteY141" fmla="*/ 141919 h 163288"/>
                    <a:gd name="connsiteX142" fmla="*/ 298712 w 298728"/>
                    <a:gd name="connsiteY142" fmla="*/ 142034 h 163288"/>
                    <a:gd name="connsiteX143" fmla="*/ 298712 w 298728"/>
                    <a:gd name="connsiteY143" fmla="*/ 142140 h 163288"/>
                    <a:gd name="connsiteX144" fmla="*/ 298517 w 298728"/>
                    <a:gd name="connsiteY144" fmla="*/ 142140 h 163288"/>
                    <a:gd name="connsiteX145" fmla="*/ 298313 w 298728"/>
                    <a:gd name="connsiteY145" fmla="*/ 142140 h 163288"/>
                    <a:gd name="connsiteX146" fmla="*/ 298117 w 298728"/>
                    <a:gd name="connsiteY146" fmla="*/ 142140 h 163288"/>
                    <a:gd name="connsiteX147" fmla="*/ 297922 w 298728"/>
                    <a:gd name="connsiteY147" fmla="*/ 142140 h 163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298728" h="163288">
                      <a:moveTo>
                        <a:pt x="123966" y="142140"/>
                      </a:moveTo>
                      <a:lnTo>
                        <a:pt x="123957" y="146540"/>
                      </a:lnTo>
                      <a:lnTo>
                        <a:pt x="123957" y="150933"/>
                      </a:lnTo>
                      <a:lnTo>
                        <a:pt x="123957" y="155326"/>
                      </a:lnTo>
                      <a:lnTo>
                        <a:pt x="123949" y="159719"/>
                      </a:lnTo>
                      <a:lnTo>
                        <a:pt x="122319" y="158798"/>
                      </a:lnTo>
                      <a:lnTo>
                        <a:pt x="121235" y="157730"/>
                      </a:lnTo>
                      <a:lnTo>
                        <a:pt x="120331" y="156516"/>
                      </a:lnTo>
                      <a:lnTo>
                        <a:pt x="118652" y="153117"/>
                      </a:lnTo>
                      <a:lnTo>
                        <a:pt x="117682" y="151870"/>
                      </a:lnTo>
                      <a:lnTo>
                        <a:pt x="116859" y="151120"/>
                      </a:lnTo>
                      <a:lnTo>
                        <a:pt x="115987" y="151064"/>
                      </a:lnTo>
                      <a:lnTo>
                        <a:pt x="114919" y="151512"/>
                      </a:lnTo>
                      <a:lnTo>
                        <a:pt x="114113" y="152294"/>
                      </a:lnTo>
                      <a:lnTo>
                        <a:pt x="113844" y="153704"/>
                      </a:lnTo>
                      <a:lnTo>
                        <a:pt x="113045" y="155342"/>
                      </a:lnTo>
                      <a:lnTo>
                        <a:pt x="113102" y="156719"/>
                      </a:lnTo>
                      <a:lnTo>
                        <a:pt x="113461" y="157420"/>
                      </a:lnTo>
                      <a:lnTo>
                        <a:pt x="113338" y="157803"/>
                      </a:lnTo>
                      <a:lnTo>
                        <a:pt x="112833" y="158113"/>
                      </a:lnTo>
                      <a:lnTo>
                        <a:pt x="108880" y="157600"/>
                      </a:lnTo>
                      <a:lnTo>
                        <a:pt x="105458" y="158292"/>
                      </a:lnTo>
                      <a:lnTo>
                        <a:pt x="103102" y="157763"/>
                      </a:lnTo>
                      <a:lnTo>
                        <a:pt x="98587" y="158015"/>
                      </a:lnTo>
                      <a:lnTo>
                        <a:pt x="94692" y="157559"/>
                      </a:lnTo>
                      <a:lnTo>
                        <a:pt x="93355" y="157795"/>
                      </a:lnTo>
                      <a:lnTo>
                        <a:pt x="92491" y="158520"/>
                      </a:lnTo>
                      <a:lnTo>
                        <a:pt x="91399" y="160395"/>
                      </a:lnTo>
                      <a:lnTo>
                        <a:pt x="91122" y="160729"/>
                      </a:lnTo>
                      <a:lnTo>
                        <a:pt x="90682" y="160794"/>
                      </a:lnTo>
                      <a:lnTo>
                        <a:pt x="84350" y="159784"/>
                      </a:lnTo>
                      <a:lnTo>
                        <a:pt x="82671" y="159751"/>
                      </a:lnTo>
                      <a:lnTo>
                        <a:pt x="80902" y="160965"/>
                      </a:lnTo>
                      <a:lnTo>
                        <a:pt x="80332" y="161846"/>
                      </a:lnTo>
                      <a:lnTo>
                        <a:pt x="80202" y="162970"/>
                      </a:lnTo>
                      <a:lnTo>
                        <a:pt x="79802" y="163288"/>
                      </a:lnTo>
                      <a:lnTo>
                        <a:pt x="79248" y="163231"/>
                      </a:lnTo>
                      <a:lnTo>
                        <a:pt x="77846" y="162498"/>
                      </a:lnTo>
                      <a:lnTo>
                        <a:pt x="76363" y="161267"/>
                      </a:lnTo>
                      <a:lnTo>
                        <a:pt x="75630" y="160371"/>
                      </a:lnTo>
                      <a:lnTo>
                        <a:pt x="75467" y="158317"/>
                      </a:lnTo>
                      <a:lnTo>
                        <a:pt x="74277" y="156002"/>
                      </a:lnTo>
                      <a:lnTo>
                        <a:pt x="74073" y="153908"/>
                      </a:lnTo>
                      <a:lnTo>
                        <a:pt x="73315" y="152147"/>
                      </a:lnTo>
                      <a:lnTo>
                        <a:pt x="72133" y="150395"/>
                      </a:lnTo>
                      <a:lnTo>
                        <a:pt x="70976" y="149230"/>
                      </a:lnTo>
                      <a:lnTo>
                        <a:pt x="69811" y="148839"/>
                      </a:lnTo>
                      <a:lnTo>
                        <a:pt x="67675" y="149091"/>
                      </a:lnTo>
                      <a:lnTo>
                        <a:pt x="67219" y="148904"/>
                      </a:lnTo>
                      <a:lnTo>
                        <a:pt x="64905" y="146589"/>
                      </a:lnTo>
                      <a:lnTo>
                        <a:pt x="64195" y="145554"/>
                      </a:lnTo>
                      <a:lnTo>
                        <a:pt x="63984" y="144625"/>
                      </a:lnTo>
                      <a:lnTo>
                        <a:pt x="64758" y="142384"/>
                      </a:lnTo>
                      <a:lnTo>
                        <a:pt x="64538" y="141153"/>
                      </a:lnTo>
                      <a:lnTo>
                        <a:pt x="63943" y="139621"/>
                      </a:lnTo>
                      <a:lnTo>
                        <a:pt x="63136" y="138342"/>
                      </a:lnTo>
                      <a:lnTo>
                        <a:pt x="61799" y="137250"/>
                      </a:lnTo>
                      <a:lnTo>
                        <a:pt x="60577" y="134837"/>
                      </a:lnTo>
                      <a:lnTo>
                        <a:pt x="58336" y="131463"/>
                      </a:lnTo>
                      <a:lnTo>
                        <a:pt x="57716" y="128847"/>
                      </a:lnTo>
                      <a:lnTo>
                        <a:pt x="56869" y="126688"/>
                      </a:lnTo>
                      <a:lnTo>
                        <a:pt x="56624" y="124520"/>
                      </a:lnTo>
                      <a:lnTo>
                        <a:pt x="55793" y="123191"/>
                      </a:lnTo>
                      <a:lnTo>
                        <a:pt x="55866" y="121513"/>
                      </a:lnTo>
                      <a:lnTo>
                        <a:pt x="55728" y="121048"/>
                      </a:lnTo>
                      <a:lnTo>
                        <a:pt x="55467" y="120836"/>
                      </a:lnTo>
                      <a:lnTo>
                        <a:pt x="53976" y="119899"/>
                      </a:lnTo>
                      <a:lnTo>
                        <a:pt x="52248" y="118212"/>
                      </a:lnTo>
                      <a:lnTo>
                        <a:pt x="51368" y="117829"/>
                      </a:lnTo>
                      <a:lnTo>
                        <a:pt x="51025" y="117813"/>
                      </a:lnTo>
                      <a:lnTo>
                        <a:pt x="50806" y="118244"/>
                      </a:lnTo>
                      <a:lnTo>
                        <a:pt x="50667" y="119027"/>
                      </a:lnTo>
                      <a:lnTo>
                        <a:pt x="47929" y="121814"/>
                      </a:lnTo>
                      <a:lnTo>
                        <a:pt x="45606" y="123110"/>
                      </a:lnTo>
                      <a:lnTo>
                        <a:pt x="44465" y="124406"/>
                      </a:lnTo>
                      <a:lnTo>
                        <a:pt x="43438" y="125041"/>
                      </a:lnTo>
                      <a:lnTo>
                        <a:pt x="42908" y="125107"/>
                      </a:lnTo>
                      <a:lnTo>
                        <a:pt x="42126" y="124707"/>
                      </a:lnTo>
                      <a:lnTo>
                        <a:pt x="39697" y="122800"/>
                      </a:lnTo>
                      <a:lnTo>
                        <a:pt x="37693" y="121936"/>
                      </a:lnTo>
                      <a:lnTo>
                        <a:pt x="37497" y="121521"/>
                      </a:lnTo>
                      <a:lnTo>
                        <a:pt x="37619" y="119923"/>
                      </a:lnTo>
                      <a:lnTo>
                        <a:pt x="38524" y="118057"/>
                      </a:lnTo>
                      <a:lnTo>
                        <a:pt x="37587" y="114675"/>
                      </a:lnTo>
                      <a:lnTo>
                        <a:pt x="37864" y="113501"/>
                      </a:lnTo>
                      <a:lnTo>
                        <a:pt x="38605" y="112662"/>
                      </a:lnTo>
                      <a:lnTo>
                        <a:pt x="40773" y="111415"/>
                      </a:lnTo>
                      <a:lnTo>
                        <a:pt x="40977" y="110820"/>
                      </a:lnTo>
                      <a:lnTo>
                        <a:pt x="40504" y="107601"/>
                      </a:lnTo>
                      <a:lnTo>
                        <a:pt x="39290" y="106387"/>
                      </a:lnTo>
                      <a:lnTo>
                        <a:pt x="38956" y="105710"/>
                      </a:lnTo>
                      <a:lnTo>
                        <a:pt x="39331" y="103086"/>
                      </a:lnTo>
                      <a:lnTo>
                        <a:pt x="38785" y="101375"/>
                      </a:lnTo>
                      <a:lnTo>
                        <a:pt x="39746" y="99924"/>
                      </a:lnTo>
                      <a:lnTo>
                        <a:pt x="39803" y="97397"/>
                      </a:lnTo>
                      <a:lnTo>
                        <a:pt x="40586" y="94814"/>
                      </a:lnTo>
                      <a:lnTo>
                        <a:pt x="41392" y="90935"/>
                      </a:lnTo>
                      <a:lnTo>
                        <a:pt x="41221" y="89272"/>
                      </a:lnTo>
                      <a:lnTo>
                        <a:pt x="42240" y="87479"/>
                      </a:lnTo>
                      <a:lnTo>
                        <a:pt x="42582" y="85670"/>
                      </a:lnTo>
                      <a:lnTo>
                        <a:pt x="42631" y="84391"/>
                      </a:lnTo>
                      <a:lnTo>
                        <a:pt x="42468" y="83624"/>
                      </a:lnTo>
                      <a:lnTo>
                        <a:pt x="42118" y="83323"/>
                      </a:lnTo>
                      <a:lnTo>
                        <a:pt x="41376" y="83323"/>
                      </a:lnTo>
                      <a:lnTo>
                        <a:pt x="37953" y="84024"/>
                      </a:lnTo>
                      <a:lnTo>
                        <a:pt x="36861" y="83934"/>
                      </a:lnTo>
                      <a:lnTo>
                        <a:pt x="35900" y="83584"/>
                      </a:lnTo>
                      <a:lnTo>
                        <a:pt x="35345" y="82964"/>
                      </a:lnTo>
                      <a:lnTo>
                        <a:pt x="35182" y="81514"/>
                      </a:lnTo>
                      <a:lnTo>
                        <a:pt x="34416" y="80560"/>
                      </a:lnTo>
                      <a:lnTo>
                        <a:pt x="34009" y="80389"/>
                      </a:lnTo>
                      <a:lnTo>
                        <a:pt x="32460" y="80976"/>
                      </a:lnTo>
                      <a:lnTo>
                        <a:pt x="32126" y="80943"/>
                      </a:lnTo>
                      <a:lnTo>
                        <a:pt x="31955" y="80674"/>
                      </a:lnTo>
                      <a:lnTo>
                        <a:pt x="31328" y="79444"/>
                      </a:lnTo>
                      <a:lnTo>
                        <a:pt x="28826" y="77031"/>
                      </a:lnTo>
                      <a:lnTo>
                        <a:pt x="27620" y="74252"/>
                      </a:lnTo>
                      <a:lnTo>
                        <a:pt x="25191" y="71824"/>
                      </a:lnTo>
                      <a:lnTo>
                        <a:pt x="22884" y="68498"/>
                      </a:lnTo>
                      <a:lnTo>
                        <a:pt x="18410" y="63266"/>
                      </a:lnTo>
                      <a:lnTo>
                        <a:pt x="17351" y="62199"/>
                      </a:lnTo>
                      <a:lnTo>
                        <a:pt x="13969" y="60398"/>
                      </a:lnTo>
                      <a:lnTo>
                        <a:pt x="11304" y="57782"/>
                      </a:lnTo>
                      <a:lnTo>
                        <a:pt x="8598" y="55899"/>
                      </a:lnTo>
                      <a:lnTo>
                        <a:pt x="8329" y="55573"/>
                      </a:lnTo>
                      <a:lnTo>
                        <a:pt x="8296" y="55377"/>
                      </a:lnTo>
                      <a:lnTo>
                        <a:pt x="8460" y="55215"/>
                      </a:lnTo>
                      <a:lnTo>
                        <a:pt x="9234" y="54726"/>
                      </a:lnTo>
                      <a:lnTo>
                        <a:pt x="9413" y="53747"/>
                      </a:lnTo>
                      <a:lnTo>
                        <a:pt x="8386" y="51792"/>
                      </a:lnTo>
                      <a:lnTo>
                        <a:pt x="8883" y="49852"/>
                      </a:lnTo>
                      <a:lnTo>
                        <a:pt x="8199" y="47179"/>
                      </a:lnTo>
                      <a:lnTo>
                        <a:pt x="7824" y="46291"/>
                      </a:lnTo>
                      <a:lnTo>
                        <a:pt x="5900" y="43797"/>
                      </a:lnTo>
                      <a:lnTo>
                        <a:pt x="4637" y="41425"/>
                      </a:lnTo>
                      <a:lnTo>
                        <a:pt x="2673" y="39208"/>
                      </a:lnTo>
                      <a:lnTo>
                        <a:pt x="0" y="35598"/>
                      </a:lnTo>
                      <a:lnTo>
                        <a:pt x="8" y="0"/>
                      </a:lnTo>
                      <a:lnTo>
                        <a:pt x="298003" y="0"/>
                      </a:lnTo>
                      <a:lnTo>
                        <a:pt x="298728" y="141699"/>
                      </a:lnTo>
                      <a:lnTo>
                        <a:pt x="298720" y="141814"/>
                      </a:lnTo>
                      <a:lnTo>
                        <a:pt x="298720" y="141919"/>
                      </a:lnTo>
                      <a:lnTo>
                        <a:pt x="298712" y="142034"/>
                      </a:lnTo>
                      <a:lnTo>
                        <a:pt x="298712" y="142140"/>
                      </a:lnTo>
                      <a:lnTo>
                        <a:pt x="298517" y="142140"/>
                      </a:lnTo>
                      <a:lnTo>
                        <a:pt x="298313" y="142140"/>
                      </a:lnTo>
                      <a:lnTo>
                        <a:pt x="298117" y="142140"/>
                      </a:lnTo>
                      <a:lnTo>
                        <a:pt x="297922" y="142140"/>
                      </a:lnTo>
                      <a:close/>
                    </a:path>
                  </a:pathLst>
                </a:custGeom>
                <a:solidFill>
                  <a:srgbClr val="D6D6D2"/>
                </a:solidFill>
                <a:ln w="6112" cap="rnd">
                  <a:solidFill>
                    <a:srgbClr val="FFFFFF"/>
                  </a:solidFill>
                  <a:prstDash val="solid"/>
                  <a:round/>
                </a:ln>
              </p:spPr>
              <p:txBody>
                <a:bodyPr rtlCol="0" anchor="ctr"/>
                <a:lstStyle/>
                <a:p>
                  <a:endParaRPr lang="en-US"/>
                </a:p>
              </p:txBody>
            </p:sp>
            <p:sp>
              <p:nvSpPr>
                <p:cNvPr id="495" name="Freeform: Shape 494">
                  <a:extLst>
                    <a:ext uri="{FF2B5EF4-FFF2-40B4-BE49-F238E27FC236}">
                      <a16:creationId xmlns:a16="http://schemas.microsoft.com/office/drawing/2014/main" id="{2466D1D8-1166-401C-8B81-B74AD9668980}"/>
                    </a:ext>
                  </a:extLst>
                </p:cNvPr>
                <p:cNvSpPr/>
                <p:nvPr/>
              </p:nvSpPr>
              <p:spPr>
                <a:xfrm>
                  <a:off x="3363272" y="3070242"/>
                  <a:ext cx="188087" cy="119727"/>
                </a:xfrm>
                <a:custGeom>
                  <a:avLst/>
                  <a:gdLst>
                    <a:gd name="connsiteX0" fmla="*/ 188088 w 188087"/>
                    <a:gd name="connsiteY0" fmla="*/ 85491 h 119727"/>
                    <a:gd name="connsiteX1" fmla="*/ 184494 w 188087"/>
                    <a:gd name="connsiteY1" fmla="*/ 85621 h 119727"/>
                    <a:gd name="connsiteX2" fmla="*/ 184917 w 188087"/>
                    <a:gd name="connsiteY2" fmla="*/ 87789 h 119727"/>
                    <a:gd name="connsiteX3" fmla="*/ 185904 w 188087"/>
                    <a:gd name="connsiteY3" fmla="*/ 89916 h 119727"/>
                    <a:gd name="connsiteX4" fmla="*/ 186075 w 188087"/>
                    <a:gd name="connsiteY4" fmla="*/ 91147 h 119727"/>
                    <a:gd name="connsiteX5" fmla="*/ 185887 w 188087"/>
                    <a:gd name="connsiteY5" fmla="*/ 92149 h 119727"/>
                    <a:gd name="connsiteX6" fmla="*/ 185211 w 188087"/>
                    <a:gd name="connsiteY6" fmla="*/ 93045 h 119727"/>
                    <a:gd name="connsiteX7" fmla="*/ 185366 w 188087"/>
                    <a:gd name="connsiteY7" fmla="*/ 94447 h 119727"/>
                    <a:gd name="connsiteX8" fmla="*/ 185569 w 188087"/>
                    <a:gd name="connsiteY8" fmla="*/ 94838 h 119727"/>
                    <a:gd name="connsiteX9" fmla="*/ 187183 w 188087"/>
                    <a:gd name="connsiteY9" fmla="*/ 95743 h 119727"/>
                    <a:gd name="connsiteX10" fmla="*/ 187729 w 188087"/>
                    <a:gd name="connsiteY10" fmla="*/ 96957 h 119727"/>
                    <a:gd name="connsiteX11" fmla="*/ 187900 w 188087"/>
                    <a:gd name="connsiteY11" fmla="*/ 98359 h 119727"/>
                    <a:gd name="connsiteX12" fmla="*/ 187868 w 188087"/>
                    <a:gd name="connsiteY12" fmla="*/ 99419 h 119727"/>
                    <a:gd name="connsiteX13" fmla="*/ 186890 w 188087"/>
                    <a:gd name="connsiteY13" fmla="*/ 101350 h 119727"/>
                    <a:gd name="connsiteX14" fmla="*/ 186613 w 188087"/>
                    <a:gd name="connsiteY14" fmla="*/ 103925 h 119727"/>
                    <a:gd name="connsiteX15" fmla="*/ 185390 w 188087"/>
                    <a:gd name="connsiteY15" fmla="*/ 107739 h 119727"/>
                    <a:gd name="connsiteX16" fmla="*/ 184062 w 188087"/>
                    <a:gd name="connsiteY16" fmla="*/ 110062 h 119727"/>
                    <a:gd name="connsiteX17" fmla="*/ 183793 w 188087"/>
                    <a:gd name="connsiteY17" fmla="*/ 111244 h 119727"/>
                    <a:gd name="connsiteX18" fmla="*/ 183915 w 188087"/>
                    <a:gd name="connsiteY18" fmla="*/ 112197 h 119727"/>
                    <a:gd name="connsiteX19" fmla="*/ 185977 w 188087"/>
                    <a:gd name="connsiteY19" fmla="*/ 114650 h 119727"/>
                    <a:gd name="connsiteX20" fmla="*/ 186107 w 188087"/>
                    <a:gd name="connsiteY20" fmla="*/ 115628 h 119727"/>
                    <a:gd name="connsiteX21" fmla="*/ 186784 w 188087"/>
                    <a:gd name="connsiteY21" fmla="*/ 116892 h 119727"/>
                    <a:gd name="connsiteX22" fmla="*/ 187411 w 188087"/>
                    <a:gd name="connsiteY22" fmla="*/ 119728 h 119727"/>
                    <a:gd name="connsiteX23" fmla="*/ 185504 w 188087"/>
                    <a:gd name="connsiteY23" fmla="*/ 119263 h 119727"/>
                    <a:gd name="connsiteX24" fmla="*/ 183646 w 188087"/>
                    <a:gd name="connsiteY24" fmla="*/ 117747 h 119727"/>
                    <a:gd name="connsiteX25" fmla="*/ 182587 w 188087"/>
                    <a:gd name="connsiteY25" fmla="*/ 115368 h 119727"/>
                    <a:gd name="connsiteX26" fmla="*/ 179384 w 188087"/>
                    <a:gd name="connsiteY26" fmla="*/ 113167 h 119727"/>
                    <a:gd name="connsiteX27" fmla="*/ 174054 w 188087"/>
                    <a:gd name="connsiteY27" fmla="*/ 111146 h 119727"/>
                    <a:gd name="connsiteX28" fmla="*/ 170460 w 188087"/>
                    <a:gd name="connsiteY28" fmla="*/ 109304 h 119727"/>
                    <a:gd name="connsiteX29" fmla="*/ 168618 w 188087"/>
                    <a:gd name="connsiteY29" fmla="*/ 107674 h 119727"/>
                    <a:gd name="connsiteX30" fmla="*/ 164201 w 188087"/>
                    <a:gd name="connsiteY30" fmla="*/ 106965 h 119727"/>
                    <a:gd name="connsiteX31" fmla="*/ 157225 w 188087"/>
                    <a:gd name="connsiteY31" fmla="*/ 107185 h 119727"/>
                    <a:gd name="connsiteX32" fmla="*/ 152685 w 188087"/>
                    <a:gd name="connsiteY32" fmla="*/ 108049 h 119727"/>
                    <a:gd name="connsiteX33" fmla="*/ 150607 w 188087"/>
                    <a:gd name="connsiteY33" fmla="*/ 109565 h 119727"/>
                    <a:gd name="connsiteX34" fmla="*/ 146182 w 188087"/>
                    <a:gd name="connsiteY34" fmla="*/ 107959 h 119727"/>
                    <a:gd name="connsiteX35" fmla="*/ 138774 w 188087"/>
                    <a:gd name="connsiteY35" fmla="*/ 102817 h 119727"/>
                    <a:gd name="connsiteX36" fmla="*/ 204 w 188087"/>
                    <a:gd name="connsiteY36" fmla="*/ 102801 h 119727"/>
                    <a:gd name="connsiteX37" fmla="*/ 0 w 188087"/>
                    <a:gd name="connsiteY37" fmla="*/ 33161 h 119727"/>
                    <a:gd name="connsiteX38" fmla="*/ 196 w 188087"/>
                    <a:gd name="connsiteY38" fmla="*/ 33161 h 119727"/>
                    <a:gd name="connsiteX39" fmla="*/ 391 w 188087"/>
                    <a:gd name="connsiteY39" fmla="*/ 33161 h 119727"/>
                    <a:gd name="connsiteX40" fmla="*/ 595 w 188087"/>
                    <a:gd name="connsiteY40" fmla="*/ 33161 h 119727"/>
                    <a:gd name="connsiteX41" fmla="*/ 791 w 188087"/>
                    <a:gd name="connsiteY41" fmla="*/ 33161 h 119727"/>
                    <a:gd name="connsiteX42" fmla="*/ 791 w 188087"/>
                    <a:gd name="connsiteY42" fmla="*/ 33055 h 119727"/>
                    <a:gd name="connsiteX43" fmla="*/ 799 w 188087"/>
                    <a:gd name="connsiteY43" fmla="*/ 32941 h 119727"/>
                    <a:gd name="connsiteX44" fmla="*/ 799 w 188087"/>
                    <a:gd name="connsiteY44" fmla="*/ 32835 h 119727"/>
                    <a:gd name="connsiteX45" fmla="*/ 807 w 188087"/>
                    <a:gd name="connsiteY45" fmla="*/ 32721 h 119727"/>
                    <a:gd name="connsiteX46" fmla="*/ 652 w 188087"/>
                    <a:gd name="connsiteY46" fmla="*/ 0 h 119727"/>
                    <a:gd name="connsiteX47" fmla="*/ 185537 w 188087"/>
                    <a:gd name="connsiteY47" fmla="*/ 16 h 119727"/>
                    <a:gd name="connsiteX48" fmla="*/ 184681 w 188087"/>
                    <a:gd name="connsiteY48" fmla="*/ 3521 h 119727"/>
                    <a:gd name="connsiteX49" fmla="*/ 184094 w 188087"/>
                    <a:gd name="connsiteY49" fmla="*/ 5053 h 119727"/>
                    <a:gd name="connsiteX50" fmla="*/ 182905 w 188087"/>
                    <a:gd name="connsiteY50" fmla="*/ 6618 h 119727"/>
                    <a:gd name="connsiteX51" fmla="*/ 179156 w 188087"/>
                    <a:gd name="connsiteY51" fmla="*/ 10024 h 119727"/>
                    <a:gd name="connsiteX52" fmla="*/ 178235 w 188087"/>
                    <a:gd name="connsiteY52" fmla="*/ 11190 h 119727"/>
                    <a:gd name="connsiteX53" fmla="*/ 178373 w 188087"/>
                    <a:gd name="connsiteY53" fmla="*/ 12249 h 119727"/>
                    <a:gd name="connsiteX54" fmla="*/ 179131 w 188087"/>
                    <a:gd name="connsiteY54" fmla="*/ 13602 h 119727"/>
                    <a:gd name="connsiteX55" fmla="*/ 181046 w 188087"/>
                    <a:gd name="connsiteY55" fmla="*/ 16756 h 119727"/>
                    <a:gd name="connsiteX56" fmla="*/ 182073 w 188087"/>
                    <a:gd name="connsiteY56" fmla="*/ 18027 h 119727"/>
                    <a:gd name="connsiteX57" fmla="*/ 186197 w 188087"/>
                    <a:gd name="connsiteY57" fmla="*/ 20146 h 119727"/>
                    <a:gd name="connsiteX58" fmla="*/ 188088 w 188087"/>
                    <a:gd name="connsiteY58" fmla="*/ 22762 h 11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88087" h="119727">
                      <a:moveTo>
                        <a:pt x="188088" y="85491"/>
                      </a:moveTo>
                      <a:lnTo>
                        <a:pt x="184494" y="85621"/>
                      </a:lnTo>
                      <a:lnTo>
                        <a:pt x="184917" y="87789"/>
                      </a:lnTo>
                      <a:lnTo>
                        <a:pt x="185904" y="89916"/>
                      </a:lnTo>
                      <a:lnTo>
                        <a:pt x="186075" y="91147"/>
                      </a:lnTo>
                      <a:lnTo>
                        <a:pt x="185887" y="92149"/>
                      </a:lnTo>
                      <a:lnTo>
                        <a:pt x="185211" y="93045"/>
                      </a:lnTo>
                      <a:lnTo>
                        <a:pt x="185366" y="94447"/>
                      </a:lnTo>
                      <a:lnTo>
                        <a:pt x="185569" y="94838"/>
                      </a:lnTo>
                      <a:lnTo>
                        <a:pt x="187183" y="95743"/>
                      </a:lnTo>
                      <a:lnTo>
                        <a:pt x="187729" y="96957"/>
                      </a:lnTo>
                      <a:lnTo>
                        <a:pt x="187900" y="98359"/>
                      </a:lnTo>
                      <a:lnTo>
                        <a:pt x="187868" y="99419"/>
                      </a:lnTo>
                      <a:lnTo>
                        <a:pt x="186890" y="101350"/>
                      </a:lnTo>
                      <a:lnTo>
                        <a:pt x="186613" y="103925"/>
                      </a:lnTo>
                      <a:lnTo>
                        <a:pt x="185390" y="107739"/>
                      </a:lnTo>
                      <a:lnTo>
                        <a:pt x="184062" y="110062"/>
                      </a:lnTo>
                      <a:lnTo>
                        <a:pt x="183793" y="111244"/>
                      </a:lnTo>
                      <a:lnTo>
                        <a:pt x="183915" y="112197"/>
                      </a:lnTo>
                      <a:lnTo>
                        <a:pt x="185977" y="114650"/>
                      </a:lnTo>
                      <a:lnTo>
                        <a:pt x="186107" y="115628"/>
                      </a:lnTo>
                      <a:lnTo>
                        <a:pt x="186784" y="116892"/>
                      </a:lnTo>
                      <a:lnTo>
                        <a:pt x="187411" y="119728"/>
                      </a:lnTo>
                      <a:lnTo>
                        <a:pt x="185504" y="119263"/>
                      </a:lnTo>
                      <a:lnTo>
                        <a:pt x="183646" y="117747"/>
                      </a:lnTo>
                      <a:lnTo>
                        <a:pt x="182587" y="115368"/>
                      </a:lnTo>
                      <a:lnTo>
                        <a:pt x="179384" y="113167"/>
                      </a:lnTo>
                      <a:lnTo>
                        <a:pt x="174054" y="111146"/>
                      </a:lnTo>
                      <a:lnTo>
                        <a:pt x="170460" y="109304"/>
                      </a:lnTo>
                      <a:lnTo>
                        <a:pt x="168618" y="107674"/>
                      </a:lnTo>
                      <a:lnTo>
                        <a:pt x="164201" y="106965"/>
                      </a:lnTo>
                      <a:lnTo>
                        <a:pt x="157225" y="107185"/>
                      </a:lnTo>
                      <a:lnTo>
                        <a:pt x="152685" y="108049"/>
                      </a:lnTo>
                      <a:lnTo>
                        <a:pt x="150607" y="109565"/>
                      </a:lnTo>
                      <a:lnTo>
                        <a:pt x="146182" y="107959"/>
                      </a:lnTo>
                      <a:lnTo>
                        <a:pt x="138774" y="102817"/>
                      </a:lnTo>
                      <a:lnTo>
                        <a:pt x="204" y="102801"/>
                      </a:lnTo>
                      <a:lnTo>
                        <a:pt x="0" y="33161"/>
                      </a:lnTo>
                      <a:lnTo>
                        <a:pt x="196" y="33161"/>
                      </a:lnTo>
                      <a:lnTo>
                        <a:pt x="391" y="33161"/>
                      </a:lnTo>
                      <a:lnTo>
                        <a:pt x="595" y="33161"/>
                      </a:lnTo>
                      <a:lnTo>
                        <a:pt x="791" y="33161"/>
                      </a:lnTo>
                      <a:lnTo>
                        <a:pt x="791" y="33055"/>
                      </a:lnTo>
                      <a:lnTo>
                        <a:pt x="799" y="32941"/>
                      </a:lnTo>
                      <a:lnTo>
                        <a:pt x="799" y="32835"/>
                      </a:lnTo>
                      <a:lnTo>
                        <a:pt x="807" y="32721"/>
                      </a:lnTo>
                      <a:lnTo>
                        <a:pt x="652" y="0"/>
                      </a:lnTo>
                      <a:lnTo>
                        <a:pt x="185537" y="16"/>
                      </a:lnTo>
                      <a:lnTo>
                        <a:pt x="184681" y="3521"/>
                      </a:lnTo>
                      <a:lnTo>
                        <a:pt x="184094" y="5053"/>
                      </a:lnTo>
                      <a:lnTo>
                        <a:pt x="182905" y="6618"/>
                      </a:lnTo>
                      <a:lnTo>
                        <a:pt x="179156" y="10024"/>
                      </a:lnTo>
                      <a:lnTo>
                        <a:pt x="178235" y="11190"/>
                      </a:lnTo>
                      <a:lnTo>
                        <a:pt x="178373" y="12249"/>
                      </a:lnTo>
                      <a:lnTo>
                        <a:pt x="179131" y="13602"/>
                      </a:lnTo>
                      <a:lnTo>
                        <a:pt x="181046" y="16756"/>
                      </a:lnTo>
                      <a:lnTo>
                        <a:pt x="182073" y="18027"/>
                      </a:lnTo>
                      <a:lnTo>
                        <a:pt x="186197" y="20146"/>
                      </a:lnTo>
                      <a:lnTo>
                        <a:pt x="188088" y="22762"/>
                      </a:lnTo>
                      <a:close/>
                    </a:path>
                  </a:pathLst>
                </a:custGeom>
                <a:solidFill>
                  <a:srgbClr val="D6D6D2"/>
                </a:solidFill>
                <a:ln w="6112" cap="rnd">
                  <a:solidFill>
                    <a:srgbClr val="FFFFFF"/>
                  </a:solidFill>
                  <a:prstDash val="solid"/>
                  <a:round/>
                </a:ln>
              </p:spPr>
              <p:txBody>
                <a:bodyPr rtlCol="0" anchor="ctr"/>
                <a:lstStyle/>
                <a:p>
                  <a:endParaRPr lang="en-US"/>
                </a:p>
              </p:txBody>
            </p:sp>
            <p:sp>
              <p:nvSpPr>
                <p:cNvPr id="496" name="Freeform: Shape 495">
                  <a:extLst>
                    <a:ext uri="{FF2B5EF4-FFF2-40B4-BE49-F238E27FC236}">
                      <a16:creationId xmlns:a16="http://schemas.microsoft.com/office/drawing/2014/main" id="{383FC0C2-D765-4F9F-9C7E-FF20C39D7838}"/>
                    </a:ext>
                  </a:extLst>
                </p:cNvPr>
                <p:cNvSpPr/>
                <p:nvPr/>
              </p:nvSpPr>
              <p:spPr>
                <a:xfrm>
                  <a:off x="3189316" y="3103403"/>
                  <a:ext cx="174339" cy="138366"/>
                </a:xfrm>
                <a:custGeom>
                  <a:avLst/>
                  <a:gdLst>
                    <a:gd name="connsiteX0" fmla="*/ 0 w 174339"/>
                    <a:gd name="connsiteY0" fmla="*/ 0 h 138366"/>
                    <a:gd name="connsiteX1" fmla="*/ 173956 w 174339"/>
                    <a:gd name="connsiteY1" fmla="*/ 0 h 138366"/>
                    <a:gd name="connsiteX2" fmla="*/ 174339 w 174339"/>
                    <a:gd name="connsiteY2" fmla="*/ 138366 h 138366"/>
                    <a:gd name="connsiteX3" fmla="*/ 24 w 174339"/>
                    <a:gd name="connsiteY3" fmla="*/ 138366 h 138366"/>
                  </a:gdLst>
                  <a:ahLst/>
                  <a:cxnLst>
                    <a:cxn ang="0">
                      <a:pos x="connsiteX0" y="connsiteY0"/>
                    </a:cxn>
                    <a:cxn ang="0">
                      <a:pos x="connsiteX1" y="connsiteY1"/>
                    </a:cxn>
                    <a:cxn ang="0">
                      <a:pos x="connsiteX2" y="connsiteY2"/>
                    </a:cxn>
                    <a:cxn ang="0">
                      <a:pos x="connsiteX3" y="connsiteY3"/>
                    </a:cxn>
                  </a:cxnLst>
                  <a:rect l="l" t="t" r="r" b="b"/>
                  <a:pathLst>
                    <a:path w="174339" h="138366">
                      <a:moveTo>
                        <a:pt x="0" y="0"/>
                      </a:moveTo>
                      <a:lnTo>
                        <a:pt x="173956" y="0"/>
                      </a:lnTo>
                      <a:lnTo>
                        <a:pt x="174339" y="138366"/>
                      </a:lnTo>
                      <a:lnTo>
                        <a:pt x="24" y="138366"/>
                      </a:lnTo>
                      <a:close/>
                    </a:path>
                  </a:pathLst>
                </a:custGeom>
                <a:solidFill>
                  <a:srgbClr val="D6D6D2"/>
                </a:solidFill>
                <a:ln w="6112" cap="rnd">
                  <a:solidFill>
                    <a:srgbClr val="FFFFFF"/>
                  </a:solidFill>
                  <a:prstDash val="solid"/>
                  <a:round/>
                </a:ln>
              </p:spPr>
              <p:txBody>
                <a:bodyPr rtlCol="0" anchor="ctr"/>
                <a:lstStyle/>
                <a:p>
                  <a:endParaRPr lang="en-US"/>
                </a:p>
              </p:txBody>
            </p:sp>
            <p:sp>
              <p:nvSpPr>
                <p:cNvPr id="497" name="Freeform: Shape 496">
                  <a:extLst>
                    <a:ext uri="{FF2B5EF4-FFF2-40B4-BE49-F238E27FC236}">
                      <a16:creationId xmlns:a16="http://schemas.microsoft.com/office/drawing/2014/main" id="{86A17F18-F848-4F08-8C2A-6F88FD48B34C}"/>
                    </a:ext>
                  </a:extLst>
                </p:cNvPr>
                <p:cNvSpPr/>
                <p:nvPr/>
              </p:nvSpPr>
              <p:spPr>
                <a:xfrm>
                  <a:off x="3239021" y="3241769"/>
                  <a:ext cx="174461" cy="134796"/>
                </a:xfrm>
                <a:custGeom>
                  <a:avLst/>
                  <a:gdLst>
                    <a:gd name="connsiteX0" fmla="*/ 8 w 174461"/>
                    <a:gd name="connsiteY0" fmla="*/ 0 h 134796"/>
                    <a:gd name="connsiteX1" fmla="*/ 174160 w 174461"/>
                    <a:gd name="connsiteY1" fmla="*/ 8 h 134796"/>
                    <a:gd name="connsiteX2" fmla="*/ 174461 w 174461"/>
                    <a:gd name="connsiteY2" fmla="*/ 134797 h 134796"/>
                    <a:gd name="connsiteX3" fmla="*/ 0 w 174461"/>
                    <a:gd name="connsiteY3" fmla="*/ 134797 h 134796"/>
                  </a:gdLst>
                  <a:ahLst/>
                  <a:cxnLst>
                    <a:cxn ang="0">
                      <a:pos x="connsiteX0" y="connsiteY0"/>
                    </a:cxn>
                    <a:cxn ang="0">
                      <a:pos x="connsiteX1" y="connsiteY1"/>
                    </a:cxn>
                    <a:cxn ang="0">
                      <a:pos x="connsiteX2" y="connsiteY2"/>
                    </a:cxn>
                    <a:cxn ang="0">
                      <a:pos x="connsiteX3" y="connsiteY3"/>
                    </a:cxn>
                  </a:cxnLst>
                  <a:rect l="l" t="t" r="r" b="b"/>
                  <a:pathLst>
                    <a:path w="174461" h="134796">
                      <a:moveTo>
                        <a:pt x="8" y="0"/>
                      </a:moveTo>
                      <a:lnTo>
                        <a:pt x="174160" y="8"/>
                      </a:lnTo>
                      <a:lnTo>
                        <a:pt x="174461" y="134797"/>
                      </a:lnTo>
                      <a:lnTo>
                        <a:pt x="0" y="134797"/>
                      </a:lnTo>
                      <a:close/>
                    </a:path>
                  </a:pathLst>
                </a:custGeom>
                <a:solidFill>
                  <a:srgbClr val="D6D6D2"/>
                </a:solidFill>
                <a:ln w="6112" cap="rnd">
                  <a:solidFill>
                    <a:srgbClr val="FFFFFF"/>
                  </a:solidFill>
                  <a:prstDash val="solid"/>
                  <a:round/>
                </a:ln>
              </p:spPr>
              <p:txBody>
                <a:bodyPr rtlCol="0" anchor="ctr"/>
                <a:lstStyle/>
                <a:p>
                  <a:endParaRPr lang="en-US"/>
                </a:p>
              </p:txBody>
            </p:sp>
            <p:sp>
              <p:nvSpPr>
                <p:cNvPr id="498" name="Freeform: Shape 497">
                  <a:extLst>
                    <a:ext uri="{FF2B5EF4-FFF2-40B4-BE49-F238E27FC236}">
                      <a16:creationId xmlns:a16="http://schemas.microsoft.com/office/drawing/2014/main" id="{F0740CFA-95CF-4CBB-9AB6-5BD315D7DE8A}"/>
                    </a:ext>
                  </a:extLst>
                </p:cNvPr>
                <p:cNvSpPr/>
                <p:nvPr/>
              </p:nvSpPr>
              <p:spPr>
                <a:xfrm>
                  <a:off x="3115113" y="3207524"/>
                  <a:ext cx="123916" cy="169041"/>
                </a:xfrm>
                <a:custGeom>
                  <a:avLst/>
                  <a:gdLst>
                    <a:gd name="connsiteX0" fmla="*/ 0 w 123916"/>
                    <a:gd name="connsiteY0" fmla="*/ 0 h 169041"/>
                    <a:gd name="connsiteX1" fmla="*/ 74220 w 123916"/>
                    <a:gd name="connsiteY1" fmla="*/ 8 h 169041"/>
                    <a:gd name="connsiteX2" fmla="*/ 74228 w 123916"/>
                    <a:gd name="connsiteY2" fmla="*/ 34245 h 169041"/>
                    <a:gd name="connsiteX3" fmla="*/ 123917 w 123916"/>
                    <a:gd name="connsiteY3" fmla="*/ 34245 h 169041"/>
                    <a:gd name="connsiteX4" fmla="*/ 123908 w 123916"/>
                    <a:gd name="connsiteY4" fmla="*/ 169042 h 169041"/>
                    <a:gd name="connsiteX5" fmla="*/ 65 w 123916"/>
                    <a:gd name="connsiteY5" fmla="*/ 168919 h 169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916" h="169041">
                      <a:moveTo>
                        <a:pt x="0" y="0"/>
                      </a:moveTo>
                      <a:lnTo>
                        <a:pt x="74220" y="8"/>
                      </a:lnTo>
                      <a:lnTo>
                        <a:pt x="74228" y="34245"/>
                      </a:lnTo>
                      <a:lnTo>
                        <a:pt x="123917" y="34245"/>
                      </a:lnTo>
                      <a:lnTo>
                        <a:pt x="123908" y="169042"/>
                      </a:lnTo>
                      <a:lnTo>
                        <a:pt x="65" y="168919"/>
                      </a:lnTo>
                      <a:close/>
                    </a:path>
                  </a:pathLst>
                </a:custGeom>
                <a:solidFill>
                  <a:srgbClr val="D6D6D2"/>
                </a:solidFill>
                <a:ln w="6112" cap="rnd">
                  <a:solidFill>
                    <a:srgbClr val="FFFFFF"/>
                  </a:solidFill>
                  <a:prstDash val="solid"/>
                  <a:round/>
                </a:ln>
              </p:spPr>
              <p:txBody>
                <a:bodyPr rtlCol="0" anchor="ctr"/>
                <a:lstStyle/>
                <a:p>
                  <a:endParaRPr lang="en-US"/>
                </a:p>
              </p:txBody>
            </p:sp>
          </p:grpSp>
          <p:grpSp>
            <p:nvGrpSpPr>
              <p:cNvPr id="407" name="Graphic 7">
                <a:extLst>
                  <a:ext uri="{FF2B5EF4-FFF2-40B4-BE49-F238E27FC236}">
                    <a16:creationId xmlns:a16="http://schemas.microsoft.com/office/drawing/2014/main" id="{05055C42-26FC-4297-94F4-3CE3A2A06E7A}"/>
                  </a:ext>
                </a:extLst>
              </p:cNvPr>
              <p:cNvGrpSpPr/>
              <p:nvPr/>
            </p:nvGrpSpPr>
            <p:grpSpPr>
              <a:xfrm>
                <a:off x="2835463" y="1881310"/>
                <a:ext cx="5829674" cy="3073630"/>
                <a:chOff x="2835463" y="1881310"/>
                <a:chExt cx="5829674" cy="3073630"/>
              </a:xfrm>
              <a:solidFill>
                <a:srgbClr val="FFFFFF"/>
              </a:solidFill>
            </p:grpSpPr>
            <p:sp>
              <p:nvSpPr>
                <p:cNvPr id="408" name="Freeform: Shape 407">
                  <a:extLst>
                    <a:ext uri="{FF2B5EF4-FFF2-40B4-BE49-F238E27FC236}">
                      <a16:creationId xmlns:a16="http://schemas.microsoft.com/office/drawing/2014/main" id="{C21ED897-4308-4BD0-9D8B-4B7A262AEFE7}"/>
                    </a:ext>
                  </a:extLst>
                </p:cNvPr>
                <p:cNvSpPr/>
                <p:nvPr/>
              </p:nvSpPr>
              <p:spPr>
                <a:xfrm>
                  <a:off x="8405984" y="1881310"/>
                  <a:ext cx="144503" cy="62475"/>
                </a:xfrm>
                <a:custGeom>
                  <a:avLst/>
                  <a:gdLst>
                    <a:gd name="connsiteX0" fmla="*/ 37603 w 144503"/>
                    <a:gd name="connsiteY0" fmla="*/ 61425 h 62475"/>
                    <a:gd name="connsiteX1" fmla="*/ 35769 w 144503"/>
                    <a:gd name="connsiteY1" fmla="*/ 59860 h 62475"/>
                    <a:gd name="connsiteX2" fmla="*/ 37676 w 144503"/>
                    <a:gd name="connsiteY2" fmla="*/ 57863 h 62475"/>
                    <a:gd name="connsiteX3" fmla="*/ 39624 w 144503"/>
                    <a:gd name="connsiteY3" fmla="*/ 55247 h 62475"/>
                    <a:gd name="connsiteX4" fmla="*/ 38573 w 144503"/>
                    <a:gd name="connsiteY4" fmla="*/ 50414 h 62475"/>
                    <a:gd name="connsiteX5" fmla="*/ 36234 w 144503"/>
                    <a:gd name="connsiteY5" fmla="*/ 45687 h 62475"/>
                    <a:gd name="connsiteX6" fmla="*/ 34563 w 144503"/>
                    <a:gd name="connsiteY6" fmla="*/ 42843 h 62475"/>
                    <a:gd name="connsiteX7" fmla="*/ 31262 w 144503"/>
                    <a:gd name="connsiteY7" fmla="*/ 41164 h 62475"/>
                    <a:gd name="connsiteX8" fmla="*/ 27285 w 144503"/>
                    <a:gd name="connsiteY8" fmla="*/ 40961 h 62475"/>
                    <a:gd name="connsiteX9" fmla="*/ 24645 w 144503"/>
                    <a:gd name="connsiteY9" fmla="*/ 40398 h 62475"/>
                    <a:gd name="connsiteX10" fmla="*/ 22445 w 144503"/>
                    <a:gd name="connsiteY10" fmla="*/ 39029 h 62475"/>
                    <a:gd name="connsiteX11" fmla="*/ 17636 w 144503"/>
                    <a:gd name="connsiteY11" fmla="*/ 38573 h 62475"/>
                    <a:gd name="connsiteX12" fmla="*/ 14205 w 144503"/>
                    <a:gd name="connsiteY12" fmla="*/ 38752 h 62475"/>
                    <a:gd name="connsiteX13" fmla="*/ 11157 w 144503"/>
                    <a:gd name="connsiteY13" fmla="*/ 39306 h 62475"/>
                    <a:gd name="connsiteX14" fmla="*/ 5036 w 144503"/>
                    <a:gd name="connsiteY14" fmla="*/ 38899 h 62475"/>
                    <a:gd name="connsiteX15" fmla="*/ 1948 w 144503"/>
                    <a:gd name="connsiteY15" fmla="*/ 37937 h 62475"/>
                    <a:gd name="connsiteX16" fmla="*/ 0 w 144503"/>
                    <a:gd name="connsiteY16" fmla="*/ 36038 h 62475"/>
                    <a:gd name="connsiteX17" fmla="*/ 2502 w 144503"/>
                    <a:gd name="connsiteY17" fmla="*/ 35134 h 62475"/>
                    <a:gd name="connsiteX18" fmla="*/ 8027 w 144503"/>
                    <a:gd name="connsiteY18" fmla="*/ 35712 h 62475"/>
                    <a:gd name="connsiteX19" fmla="*/ 11540 w 144503"/>
                    <a:gd name="connsiteY19" fmla="*/ 35631 h 62475"/>
                    <a:gd name="connsiteX20" fmla="*/ 16495 w 144503"/>
                    <a:gd name="connsiteY20" fmla="*/ 34164 h 62475"/>
                    <a:gd name="connsiteX21" fmla="*/ 17987 w 144503"/>
                    <a:gd name="connsiteY21" fmla="*/ 32175 h 62475"/>
                    <a:gd name="connsiteX22" fmla="*/ 20953 w 144503"/>
                    <a:gd name="connsiteY22" fmla="*/ 29983 h 62475"/>
                    <a:gd name="connsiteX23" fmla="*/ 24498 w 144503"/>
                    <a:gd name="connsiteY23" fmla="*/ 27676 h 62475"/>
                    <a:gd name="connsiteX24" fmla="*/ 24661 w 144503"/>
                    <a:gd name="connsiteY24" fmla="*/ 25150 h 62475"/>
                    <a:gd name="connsiteX25" fmla="*/ 22990 w 144503"/>
                    <a:gd name="connsiteY25" fmla="*/ 20831 h 62475"/>
                    <a:gd name="connsiteX26" fmla="*/ 20138 w 144503"/>
                    <a:gd name="connsiteY26" fmla="*/ 17114 h 62475"/>
                    <a:gd name="connsiteX27" fmla="*/ 14645 w 144503"/>
                    <a:gd name="connsiteY27" fmla="*/ 14238 h 62475"/>
                    <a:gd name="connsiteX28" fmla="*/ 15525 w 144503"/>
                    <a:gd name="connsiteY28" fmla="*/ 12599 h 62475"/>
                    <a:gd name="connsiteX29" fmla="*/ 18850 w 144503"/>
                    <a:gd name="connsiteY29" fmla="*/ 10676 h 62475"/>
                    <a:gd name="connsiteX30" fmla="*/ 22624 w 144503"/>
                    <a:gd name="connsiteY30" fmla="*/ 10122 h 62475"/>
                    <a:gd name="connsiteX31" fmla="*/ 23724 w 144503"/>
                    <a:gd name="connsiteY31" fmla="*/ 7310 h 62475"/>
                    <a:gd name="connsiteX32" fmla="*/ 19307 w 144503"/>
                    <a:gd name="connsiteY32" fmla="*/ 3887 h 62475"/>
                    <a:gd name="connsiteX33" fmla="*/ 13276 w 144503"/>
                    <a:gd name="connsiteY33" fmla="*/ 2738 h 62475"/>
                    <a:gd name="connsiteX34" fmla="*/ 12893 w 144503"/>
                    <a:gd name="connsiteY34" fmla="*/ 1654 h 62475"/>
                    <a:gd name="connsiteX35" fmla="*/ 13056 w 144503"/>
                    <a:gd name="connsiteY35" fmla="*/ 595 h 62475"/>
                    <a:gd name="connsiteX36" fmla="*/ 14931 w 144503"/>
                    <a:gd name="connsiteY36" fmla="*/ 0 h 62475"/>
                    <a:gd name="connsiteX37" fmla="*/ 17017 w 144503"/>
                    <a:gd name="connsiteY37" fmla="*/ 473 h 62475"/>
                    <a:gd name="connsiteX38" fmla="*/ 19706 w 144503"/>
                    <a:gd name="connsiteY38" fmla="*/ 1597 h 62475"/>
                    <a:gd name="connsiteX39" fmla="*/ 23023 w 144503"/>
                    <a:gd name="connsiteY39" fmla="*/ 3480 h 62475"/>
                    <a:gd name="connsiteX40" fmla="*/ 25566 w 144503"/>
                    <a:gd name="connsiteY40" fmla="*/ 4181 h 62475"/>
                    <a:gd name="connsiteX41" fmla="*/ 27416 w 144503"/>
                    <a:gd name="connsiteY41" fmla="*/ 5909 h 62475"/>
                    <a:gd name="connsiteX42" fmla="*/ 27489 w 144503"/>
                    <a:gd name="connsiteY42" fmla="*/ 8476 h 62475"/>
                    <a:gd name="connsiteX43" fmla="*/ 25729 w 144503"/>
                    <a:gd name="connsiteY43" fmla="*/ 10864 h 62475"/>
                    <a:gd name="connsiteX44" fmla="*/ 25468 w 144503"/>
                    <a:gd name="connsiteY44" fmla="*/ 13651 h 62475"/>
                    <a:gd name="connsiteX45" fmla="*/ 26446 w 144503"/>
                    <a:gd name="connsiteY45" fmla="*/ 16063 h 62475"/>
                    <a:gd name="connsiteX46" fmla="*/ 29755 w 144503"/>
                    <a:gd name="connsiteY46" fmla="*/ 19152 h 62475"/>
                    <a:gd name="connsiteX47" fmla="*/ 33080 w 144503"/>
                    <a:gd name="connsiteY47" fmla="*/ 20904 h 62475"/>
                    <a:gd name="connsiteX48" fmla="*/ 38508 w 144503"/>
                    <a:gd name="connsiteY48" fmla="*/ 22787 h 62475"/>
                    <a:gd name="connsiteX49" fmla="*/ 57016 w 144503"/>
                    <a:gd name="connsiteY49" fmla="*/ 24653 h 62475"/>
                    <a:gd name="connsiteX50" fmla="*/ 73845 w 144503"/>
                    <a:gd name="connsiteY50" fmla="*/ 24645 h 62475"/>
                    <a:gd name="connsiteX51" fmla="*/ 92932 w 144503"/>
                    <a:gd name="connsiteY51" fmla="*/ 23007 h 62475"/>
                    <a:gd name="connsiteX52" fmla="*/ 98864 w 144503"/>
                    <a:gd name="connsiteY52" fmla="*/ 21377 h 62475"/>
                    <a:gd name="connsiteX53" fmla="*/ 105539 w 144503"/>
                    <a:gd name="connsiteY53" fmla="*/ 18899 h 62475"/>
                    <a:gd name="connsiteX54" fmla="*/ 112254 w 144503"/>
                    <a:gd name="connsiteY54" fmla="*/ 17351 h 62475"/>
                    <a:gd name="connsiteX55" fmla="*/ 117250 w 144503"/>
                    <a:gd name="connsiteY55" fmla="*/ 16446 h 62475"/>
                    <a:gd name="connsiteX56" fmla="*/ 116631 w 144503"/>
                    <a:gd name="connsiteY56" fmla="*/ 14335 h 62475"/>
                    <a:gd name="connsiteX57" fmla="*/ 112124 w 144503"/>
                    <a:gd name="connsiteY57" fmla="*/ 13097 h 62475"/>
                    <a:gd name="connsiteX58" fmla="*/ 108400 w 144503"/>
                    <a:gd name="connsiteY58" fmla="*/ 11067 h 62475"/>
                    <a:gd name="connsiteX59" fmla="*/ 109263 w 144503"/>
                    <a:gd name="connsiteY59" fmla="*/ 8329 h 62475"/>
                    <a:gd name="connsiteX60" fmla="*/ 111220 w 144503"/>
                    <a:gd name="connsiteY60" fmla="*/ 7188 h 62475"/>
                    <a:gd name="connsiteX61" fmla="*/ 112605 w 144503"/>
                    <a:gd name="connsiteY61" fmla="*/ 6642 h 62475"/>
                    <a:gd name="connsiteX62" fmla="*/ 114341 w 144503"/>
                    <a:gd name="connsiteY62" fmla="*/ 4996 h 62475"/>
                    <a:gd name="connsiteX63" fmla="*/ 114659 w 144503"/>
                    <a:gd name="connsiteY63" fmla="*/ 3431 h 62475"/>
                    <a:gd name="connsiteX64" fmla="*/ 115066 w 144503"/>
                    <a:gd name="connsiteY64" fmla="*/ 2274 h 62475"/>
                    <a:gd name="connsiteX65" fmla="*/ 117984 w 144503"/>
                    <a:gd name="connsiteY65" fmla="*/ 1858 h 62475"/>
                    <a:gd name="connsiteX66" fmla="*/ 123028 w 144503"/>
                    <a:gd name="connsiteY66" fmla="*/ 3203 h 62475"/>
                    <a:gd name="connsiteX67" fmla="*/ 127005 w 144503"/>
                    <a:gd name="connsiteY67" fmla="*/ 7066 h 62475"/>
                    <a:gd name="connsiteX68" fmla="*/ 132881 w 144503"/>
                    <a:gd name="connsiteY68" fmla="*/ 11679 h 62475"/>
                    <a:gd name="connsiteX69" fmla="*/ 143851 w 144503"/>
                    <a:gd name="connsiteY69" fmla="*/ 14515 h 62475"/>
                    <a:gd name="connsiteX70" fmla="*/ 144503 w 144503"/>
                    <a:gd name="connsiteY70" fmla="*/ 16446 h 62475"/>
                    <a:gd name="connsiteX71" fmla="*/ 142001 w 144503"/>
                    <a:gd name="connsiteY71" fmla="*/ 17864 h 62475"/>
                    <a:gd name="connsiteX72" fmla="*/ 135571 w 144503"/>
                    <a:gd name="connsiteY72" fmla="*/ 18435 h 62475"/>
                    <a:gd name="connsiteX73" fmla="*/ 124047 w 144503"/>
                    <a:gd name="connsiteY73" fmla="*/ 19983 h 62475"/>
                    <a:gd name="connsiteX74" fmla="*/ 111407 w 144503"/>
                    <a:gd name="connsiteY74" fmla="*/ 24172 h 62475"/>
                    <a:gd name="connsiteX75" fmla="*/ 109467 w 144503"/>
                    <a:gd name="connsiteY75" fmla="*/ 25060 h 62475"/>
                    <a:gd name="connsiteX76" fmla="*/ 107544 w 144503"/>
                    <a:gd name="connsiteY76" fmla="*/ 25215 h 62475"/>
                    <a:gd name="connsiteX77" fmla="*/ 105026 w 144503"/>
                    <a:gd name="connsiteY77" fmla="*/ 25060 h 62475"/>
                    <a:gd name="connsiteX78" fmla="*/ 100747 w 144503"/>
                    <a:gd name="connsiteY78" fmla="*/ 26951 h 62475"/>
                    <a:gd name="connsiteX79" fmla="*/ 91701 w 144503"/>
                    <a:gd name="connsiteY79" fmla="*/ 28117 h 62475"/>
                    <a:gd name="connsiteX80" fmla="*/ 82516 w 144503"/>
                    <a:gd name="connsiteY80" fmla="*/ 29445 h 62475"/>
                    <a:gd name="connsiteX81" fmla="*/ 73348 w 144503"/>
                    <a:gd name="connsiteY81" fmla="*/ 30602 h 62475"/>
                    <a:gd name="connsiteX82" fmla="*/ 62843 w 144503"/>
                    <a:gd name="connsiteY82" fmla="*/ 31246 h 62475"/>
                    <a:gd name="connsiteX83" fmla="*/ 61474 w 144503"/>
                    <a:gd name="connsiteY83" fmla="*/ 35435 h 62475"/>
                    <a:gd name="connsiteX84" fmla="*/ 63658 w 144503"/>
                    <a:gd name="connsiteY84" fmla="*/ 39722 h 62475"/>
                    <a:gd name="connsiteX85" fmla="*/ 66534 w 144503"/>
                    <a:gd name="connsiteY85" fmla="*/ 43593 h 62475"/>
                    <a:gd name="connsiteX86" fmla="*/ 65834 w 144503"/>
                    <a:gd name="connsiteY86" fmla="*/ 43943 h 62475"/>
                    <a:gd name="connsiteX87" fmla="*/ 63291 w 144503"/>
                    <a:gd name="connsiteY87" fmla="*/ 44025 h 62475"/>
                    <a:gd name="connsiteX88" fmla="*/ 61318 w 144503"/>
                    <a:gd name="connsiteY88" fmla="*/ 43789 h 62475"/>
                    <a:gd name="connsiteX89" fmla="*/ 58050 w 144503"/>
                    <a:gd name="connsiteY89" fmla="*/ 42737 h 62475"/>
                    <a:gd name="connsiteX90" fmla="*/ 54187 w 144503"/>
                    <a:gd name="connsiteY90" fmla="*/ 41254 h 62475"/>
                    <a:gd name="connsiteX91" fmla="*/ 47611 w 144503"/>
                    <a:gd name="connsiteY91" fmla="*/ 38133 h 62475"/>
                    <a:gd name="connsiteX92" fmla="*/ 44791 w 144503"/>
                    <a:gd name="connsiteY92" fmla="*/ 35859 h 62475"/>
                    <a:gd name="connsiteX93" fmla="*/ 45255 w 144503"/>
                    <a:gd name="connsiteY93" fmla="*/ 34221 h 62475"/>
                    <a:gd name="connsiteX94" fmla="*/ 46119 w 144503"/>
                    <a:gd name="connsiteY94" fmla="*/ 32322 h 62475"/>
                    <a:gd name="connsiteX95" fmla="*/ 42330 w 144503"/>
                    <a:gd name="connsiteY95" fmla="*/ 31760 h 62475"/>
                    <a:gd name="connsiteX96" fmla="*/ 38255 w 144503"/>
                    <a:gd name="connsiteY96" fmla="*/ 32077 h 62475"/>
                    <a:gd name="connsiteX97" fmla="*/ 33463 w 144503"/>
                    <a:gd name="connsiteY97" fmla="*/ 33055 h 62475"/>
                    <a:gd name="connsiteX98" fmla="*/ 34115 w 144503"/>
                    <a:gd name="connsiteY98" fmla="*/ 34873 h 62475"/>
                    <a:gd name="connsiteX99" fmla="*/ 36568 w 144503"/>
                    <a:gd name="connsiteY99" fmla="*/ 35476 h 62475"/>
                    <a:gd name="connsiteX100" fmla="*/ 39592 w 144503"/>
                    <a:gd name="connsiteY100" fmla="*/ 36674 h 62475"/>
                    <a:gd name="connsiteX101" fmla="*/ 39510 w 144503"/>
                    <a:gd name="connsiteY101" fmla="*/ 39347 h 62475"/>
                    <a:gd name="connsiteX102" fmla="*/ 40912 w 144503"/>
                    <a:gd name="connsiteY102" fmla="*/ 43324 h 62475"/>
                    <a:gd name="connsiteX103" fmla="*/ 43903 w 144503"/>
                    <a:gd name="connsiteY103" fmla="*/ 48165 h 62475"/>
                    <a:gd name="connsiteX104" fmla="*/ 47928 w 144503"/>
                    <a:gd name="connsiteY104" fmla="*/ 52859 h 62475"/>
                    <a:gd name="connsiteX105" fmla="*/ 50162 w 144503"/>
                    <a:gd name="connsiteY105" fmla="*/ 57081 h 62475"/>
                    <a:gd name="connsiteX106" fmla="*/ 50748 w 144503"/>
                    <a:gd name="connsiteY106" fmla="*/ 60601 h 62475"/>
                    <a:gd name="connsiteX107" fmla="*/ 50235 w 144503"/>
                    <a:gd name="connsiteY107" fmla="*/ 62321 h 62475"/>
                    <a:gd name="connsiteX108" fmla="*/ 47822 w 144503"/>
                    <a:gd name="connsiteY108" fmla="*/ 62476 h 62475"/>
                    <a:gd name="connsiteX109" fmla="*/ 46372 w 144503"/>
                    <a:gd name="connsiteY109" fmla="*/ 62215 h 62475"/>
                    <a:gd name="connsiteX110" fmla="*/ 40146 w 144503"/>
                    <a:gd name="connsiteY110" fmla="*/ 61962 h 62475"/>
                    <a:gd name="connsiteX111" fmla="*/ 37603 w 144503"/>
                    <a:gd name="connsiteY111" fmla="*/ 61425 h 62475"/>
                    <a:gd name="connsiteX112" fmla="*/ 37603 w 144503"/>
                    <a:gd name="connsiteY112" fmla="*/ 61425 h 6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44503" h="62475">
                      <a:moveTo>
                        <a:pt x="37603" y="61425"/>
                      </a:moveTo>
                      <a:lnTo>
                        <a:pt x="35769" y="59860"/>
                      </a:lnTo>
                      <a:lnTo>
                        <a:pt x="37676" y="57863"/>
                      </a:lnTo>
                      <a:lnTo>
                        <a:pt x="39624" y="55247"/>
                      </a:lnTo>
                      <a:lnTo>
                        <a:pt x="38573" y="50414"/>
                      </a:lnTo>
                      <a:lnTo>
                        <a:pt x="36234" y="45687"/>
                      </a:lnTo>
                      <a:lnTo>
                        <a:pt x="34563" y="42843"/>
                      </a:lnTo>
                      <a:lnTo>
                        <a:pt x="31262" y="41164"/>
                      </a:lnTo>
                      <a:lnTo>
                        <a:pt x="27285" y="40961"/>
                      </a:lnTo>
                      <a:lnTo>
                        <a:pt x="24645" y="40398"/>
                      </a:lnTo>
                      <a:lnTo>
                        <a:pt x="22445" y="39029"/>
                      </a:lnTo>
                      <a:lnTo>
                        <a:pt x="17636" y="38573"/>
                      </a:lnTo>
                      <a:lnTo>
                        <a:pt x="14205" y="38752"/>
                      </a:lnTo>
                      <a:lnTo>
                        <a:pt x="11157" y="39306"/>
                      </a:lnTo>
                      <a:lnTo>
                        <a:pt x="5036" y="38899"/>
                      </a:lnTo>
                      <a:lnTo>
                        <a:pt x="1948" y="37937"/>
                      </a:lnTo>
                      <a:lnTo>
                        <a:pt x="0" y="36038"/>
                      </a:lnTo>
                      <a:lnTo>
                        <a:pt x="2502" y="35134"/>
                      </a:lnTo>
                      <a:lnTo>
                        <a:pt x="8027" y="35712"/>
                      </a:lnTo>
                      <a:lnTo>
                        <a:pt x="11540" y="35631"/>
                      </a:lnTo>
                      <a:lnTo>
                        <a:pt x="16495" y="34164"/>
                      </a:lnTo>
                      <a:lnTo>
                        <a:pt x="17987" y="32175"/>
                      </a:lnTo>
                      <a:lnTo>
                        <a:pt x="20953" y="29983"/>
                      </a:lnTo>
                      <a:lnTo>
                        <a:pt x="24498" y="27676"/>
                      </a:lnTo>
                      <a:lnTo>
                        <a:pt x="24661" y="25150"/>
                      </a:lnTo>
                      <a:lnTo>
                        <a:pt x="22990" y="20831"/>
                      </a:lnTo>
                      <a:lnTo>
                        <a:pt x="20138" y="17114"/>
                      </a:lnTo>
                      <a:lnTo>
                        <a:pt x="14645" y="14238"/>
                      </a:lnTo>
                      <a:lnTo>
                        <a:pt x="15525" y="12599"/>
                      </a:lnTo>
                      <a:lnTo>
                        <a:pt x="18850" y="10676"/>
                      </a:lnTo>
                      <a:lnTo>
                        <a:pt x="22624" y="10122"/>
                      </a:lnTo>
                      <a:lnTo>
                        <a:pt x="23724" y="7310"/>
                      </a:lnTo>
                      <a:lnTo>
                        <a:pt x="19307" y="3887"/>
                      </a:lnTo>
                      <a:lnTo>
                        <a:pt x="13276" y="2738"/>
                      </a:lnTo>
                      <a:lnTo>
                        <a:pt x="12893" y="1654"/>
                      </a:lnTo>
                      <a:lnTo>
                        <a:pt x="13056" y="595"/>
                      </a:lnTo>
                      <a:lnTo>
                        <a:pt x="14931" y="0"/>
                      </a:lnTo>
                      <a:lnTo>
                        <a:pt x="17017" y="473"/>
                      </a:lnTo>
                      <a:lnTo>
                        <a:pt x="19706" y="1597"/>
                      </a:lnTo>
                      <a:lnTo>
                        <a:pt x="23023" y="3480"/>
                      </a:lnTo>
                      <a:lnTo>
                        <a:pt x="25566" y="4181"/>
                      </a:lnTo>
                      <a:lnTo>
                        <a:pt x="27416" y="5909"/>
                      </a:lnTo>
                      <a:lnTo>
                        <a:pt x="27489" y="8476"/>
                      </a:lnTo>
                      <a:lnTo>
                        <a:pt x="25729" y="10864"/>
                      </a:lnTo>
                      <a:lnTo>
                        <a:pt x="25468" y="13651"/>
                      </a:lnTo>
                      <a:lnTo>
                        <a:pt x="26446" y="16063"/>
                      </a:lnTo>
                      <a:lnTo>
                        <a:pt x="29755" y="19152"/>
                      </a:lnTo>
                      <a:lnTo>
                        <a:pt x="33080" y="20904"/>
                      </a:lnTo>
                      <a:lnTo>
                        <a:pt x="38508" y="22787"/>
                      </a:lnTo>
                      <a:lnTo>
                        <a:pt x="57016" y="24653"/>
                      </a:lnTo>
                      <a:lnTo>
                        <a:pt x="73845" y="24645"/>
                      </a:lnTo>
                      <a:lnTo>
                        <a:pt x="92932" y="23007"/>
                      </a:lnTo>
                      <a:lnTo>
                        <a:pt x="98864" y="21377"/>
                      </a:lnTo>
                      <a:lnTo>
                        <a:pt x="105539" y="18899"/>
                      </a:lnTo>
                      <a:lnTo>
                        <a:pt x="112254" y="17351"/>
                      </a:lnTo>
                      <a:lnTo>
                        <a:pt x="117250" y="16446"/>
                      </a:lnTo>
                      <a:lnTo>
                        <a:pt x="116631" y="14335"/>
                      </a:lnTo>
                      <a:lnTo>
                        <a:pt x="112124" y="13097"/>
                      </a:lnTo>
                      <a:lnTo>
                        <a:pt x="108400" y="11067"/>
                      </a:lnTo>
                      <a:lnTo>
                        <a:pt x="109263" y="8329"/>
                      </a:lnTo>
                      <a:lnTo>
                        <a:pt x="111220" y="7188"/>
                      </a:lnTo>
                      <a:lnTo>
                        <a:pt x="112605" y="6642"/>
                      </a:lnTo>
                      <a:lnTo>
                        <a:pt x="114341" y="4996"/>
                      </a:lnTo>
                      <a:lnTo>
                        <a:pt x="114659" y="3431"/>
                      </a:lnTo>
                      <a:lnTo>
                        <a:pt x="115066" y="2274"/>
                      </a:lnTo>
                      <a:lnTo>
                        <a:pt x="117984" y="1858"/>
                      </a:lnTo>
                      <a:lnTo>
                        <a:pt x="123028" y="3203"/>
                      </a:lnTo>
                      <a:lnTo>
                        <a:pt x="127005" y="7066"/>
                      </a:lnTo>
                      <a:lnTo>
                        <a:pt x="132881" y="11679"/>
                      </a:lnTo>
                      <a:lnTo>
                        <a:pt x="143851" y="14515"/>
                      </a:lnTo>
                      <a:lnTo>
                        <a:pt x="144503" y="16446"/>
                      </a:lnTo>
                      <a:lnTo>
                        <a:pt x="142001" y="17864"/>
                      </a:lnTo>
                      <a:lnTo>
                        <a:pt x="135571" y="18435"/>
                      </a:lnTo>
                      <a:lnTo>
                        <a:pt x="124047" y="19983"/>
                      </a:lnTo>
                      <a:lnTo>
                        <a:pt x="111407" y="24172"/>
                      </a:lnTo>
                      <a:lnTo>
                        <a:pt x="109467" y="25060"/>
                      </a:lnTo>
                      <a:lnTo>
                        <a:pt x="107544" y="25215"/>
                      </a:lnTo>
                      <a:lnTo>
                        <a:pt x="105026" y="25060"/>
                      </a:lnTo>
                      <a:lnTo>
                        <a:pt x="100747" y="26951"/>
                      </a:lnTo>
                      <a:lnTo>
                        <a:pt x="91701" y="28117"/>
                      </a:lnTo>
                      <a:lnTo>
                        <a:pt x="82516" y="29445"/>
                      </a:lnTo>
                      <a:lnTo>
                        <a:pt x="73348" y="30602"/>
                      </a:lnTo>
                      <a:lnTo>
                        <a:pt x="62843" y="31246"/>
                      </a:lnTo>
                      <a:lnTo>
                        <a:pt x="61474" y="35435"/>
                      </a:lnTo>
                      <a:lnTo>
                        <a:pt x="63658" y="39722"/>
                      </a:lnTo>
                      <a:lnTo>
                        <a:pt x="66534" y="43593"/>
                      </a:lnTo>
                      <a:lnTo>
                        <a:pt x="65834" y="43943"/>
                      </a:lnTo>
                      <a:lnTo>
                        <a:pt x="63291" y="44025"/>
                      </a:lnTo>
                      <a:lnTo>
                        <a:pt x="61318" y="43789"/>
                      </a:lnTo>
                      <a:lnTo>
                        <a:pt x="58050" y="42737"/>
                      </a:lnTo>
                      <a:lnTo>
                        <a:pt x="54187" y="41254"/>
                      </a:lnTo>
                      <a:lnTo>
                        <a:pt x="47611" y="38133"/>
                      </a:lnTo>
                      <a:lnTo>
                        <a:pt x="44791" y="35859"/>
                      </a:lnTo>
                      <a:lnTo>
                        <a:pt x="45255" y="34221"/>
                      </a:lnTo>
                      <a:lnTo>
                        <a:pt x="46119" y="32322"/>
                      </a:lnTo>
                      <a:lnTo>
                        <a:pt x="42330" y="31760"/>
                      </a:lnTo>
                      <a:lnTo>
                        <a:pt x="38255" y="32077"/>
                      </a:lnTo>
                      <a:lnTo>
                        <a:pt x="33463" y="33055"/>
                      </a:lnTo>
                      <a:lnTo>
                        <a:pt x="34115" y="34873"/>
                      </a:lnTo>
                      <a:lnTo>
                        <a:pt x="36568" y="35476"/>
                      </a:lnTo>
                      <a:lnTo>
                        <a:pt x="39592" y="36674"/>
                      </a:lnTo>
                      <a:lnTo>
                        <a:pt x="39510" y="39347"/>
                      </a:lnTo>
                      <a:lnTo>
                        <a:pt x="40912" y="43324"/>
                      </a:lnTo>
                      <a:lnTo>
                        <a:pt x="43903" y="48165"/>
                      </a:lnTo>
                      <a:lnTo>
                        <a:pt x="47928" y="52859"/>
                      </a:lnTo>
                      <a:lnTo>
                        <a:pt x="50162" y="57081"/>
                      </a:lnTo>
                      <a:lnTo>
                        <a:pt x="50748" y="60601"/>
                      </a:lnTo>
                      <a:lnTo>
                        <a:pt x="50235" y="62321"/>
                      </a:lnTo>
                      <a:lnTo>
                        <a:pt x="47822" y="62476"/>
                      </a:lnTo>
                      <a:lnTo>
                        <a:pt x="46372" y="62215"/>
                      </a:lnTo>
                      <a:lnTo>
                        <a:pt x="40146" y="61962"/>
                      </a:lnTo>
                      <a:lnTo>
                        <a:pt x="37603" y="61425"/>
                      </a:lnTo>
                      <a:lnTo>
                        <a:pt x="37603" y="61425"/>
                      </a:lnTo>
                      <a:close/>
                    </a:path>
                  </a:pathLst>
                </a:custGeom>
                <a:solidFill>
                  <a:srgbClr val="FFFFFF"/>
                </a:solidFill>
                <a:ln w="8150" cap="flat">
                  <a:noFill/>
                  <a:prstDash val="solid"/>
                  <a:miter/>
                </a:ln>
              </p:spPr>
              <p:txBody>
                <a:bodyPr rtlCol="0" anchor="ctr"/>
                <a:lstStyle/>
                <a:p>
                  <a:endParaRPr lang="en-US"/>
                </a:p>
              </p:txBody>
            </p:sp>
            <p:sp>
              <p:nvSpPr>
                <p:cNvPr id="409" name="Freeform: Shape 408">
                  <a:extLst>
                    <a:ext uri="{FF2B5EF4-FFF2-40B4-BE49-F238E27FC236}">
                      <a16:creationId xmlns:a16="http://schemas.microsoft.com/office/drawing/2014/main" id="{93CE2D8A-2A79-4304-8DD9-D64E94769320}"/>
                    </a:ext>
                  </a:extLst>
                </p:cNvPr>
                <p:cNvSpPr/>
                <p:nvPr/>
              </p:nvSpPr>
              <p:spPr>
                <a:xfrm>
                  <a:off x="6605073" y="2394931"/>
                  <a:ext cx="76501" cy="102890"/>
                </a:xfrm>
                <a:custGeom>
                  <a:avLst/>
                  <a:gdLst>
                    <a:gd name="connsiteX0" fmla="*/ 65018 w 76501"/>
                    <a:gd name="connsiteY0" fmla="*/ 60096 h 102890"/>
                    <a:gd name="connsiteX1" fmla="*/ 65018 w 76501"/>
                    <a:gd name="connsiteY1" fmla="*/ 60096 h 102890"/>
                    <a:gd name="connsiteX2" fmla="*/ 65018 w 76501"/>
                    <a:gd name="connsiteY2" fmla="*/ 60096 h 102890"/>
                    <a:gd name="connsiteX3" fmla="*/ 64383 w 76501"/>
                    <a:gd name="connsiteY3" fmla="*/ 61490 h 102890"/>
                    <a:gd name="connsiteX4" fmla="*/ 63845 w 76501"/>
                    <a:gd name="connsiteY4" fmla="*/ 61840 h 102890"/>
                    <a:gd name="connsiteX5" fmla="*/ 64383 w 76501"/>
                    <a:gd name="connsiteY5" fmla="*/ 63242 h 102890"/>
                    <a:gd name="connsiteX6" fmla="*/ 65882 w 76501"/>
                    <a:gd name="connsiteY6" fmla="*/ 64994 h 102890"/>
                    <a:gd name="connsiteX7" fmla="*/ 67422 w 76501"/>
                    <a:gd name="connsiteY7" fmla="*/ 65801 h 102890"/>
                    <a:gd name="connsiteX8" fmla="*/ 68009 w 76501"/>
                    <a:gd name="connsiteY8" fmla="*/ 64921 h 102890"/>
                    <a:gd name="connsiteX9" fmla="*/ 69191 w 76501"/>
                    <a:gd name="connsiteY9" fmla="*/ 64953 h 102890"/>
                    <a:gd name="connsiteX10" fmla="*/ 70959 w 76501"/>
                    <a:gd name="connsiteY10" fmla="*/ 67162 h 102890"/>
                    <a:gd name="connsiteX11" fmla="*/ 71424 w 76501"/>
                    <a:gd name="connsiteY11" fmla="*/ 68914 h 102890"/>
                    <a:gd name="connsiteX12" fmla="*/ 71456 w 76501"/>
                    <a:gd name="connsiteY12" fmla="*/ 69607 h 102890"/>
                    <a:gd name="connsiteX13" fmla="*/ 70357 w 76501"/>
                    <a:gd name="connsiteY13" fmla="*/ 70234 h 102890"/>
                    <a:gd name="connsiteX14" fmla="*/ 70210 w 76501"/>
                    <a:gd name="connsiteY14" fmla="*/ 71294 h 102890"/>
                    <a:gd name="connsiteX15" fmla="*/ 69395 w 76501"/>
                    <a:gd name="connsiteY15" fmla="*/ 71848 h 102890"/>
                    <a:gd name="connsiteX16" fmla="*/ 68547 w 76501"/>
                    <a:gd name="connsiteY16" fmla="*/ 72190 h 102890"/>
                    <a:gd name="connsiteX17" fmla="*/ 67308 w 76501"/>
                    <a:gd name="connsiteY17" fmla="*/ 73160 h 102890"/>
                    <a:gd name="connsiteX18" fmla="*/ 65353 w 76501"/>
                    <a:gd name="connsiteY18" fmla="*/ 74130 h 102890"/>
                    <a:gd name="connsiteX19" fmla="*/ 64000 w 76501"/>
                    <a:gd name="connsiteY19" fmla="*/ 75597 h 102890"/>
                    <a:gd name="connsiteX20" fmla="*/ 62745 w 76501"/>
                    <a:gd name="connsiteY20" fmla="*/ 75923 h 102890"/>
                    <a:gd name="connsiteX21" fmla="*/ 59371 w 76501"/>
                    <a:gd name="connsiteY21" fmla="*/ 79395 h 102890"/>
                    <a:gd name="connsiteX22" fmla="*/ 58768 w 76501"/>
                    <a:gd name="connsiteY22" fmla="*/ 80764 h 102890"/>
                    <a:gd name="connsiteX23" fmla="*/ 55043 w 76501"/>
                    <a:gd name="connsiteY23" fmla="*/ 81367 h 102890"/>
                    <a:gd name="connsiteX24" fmla="*/ 54628 w 76501"/>
                    <a:gd name="connsiteY24" fmla="*/ 82247 h 102890"/>
                    <a:gd name="connsiteX25" fmla="*/ 50724 w 76501"/>
                    <a:gd name="connsiteY25" fmla="*/ 80324 h 102890"/>
                    <a:gd name="connsiteX26" fmla="*/ 45484 w 76501"/>
                    <a:gd name="connsiteY26" fmla="*/ 78474 h 102890"/>
                    <a:gd name="connsiteX27" fmla="*/ 42982 w 76501"/>
                    <a:gd name="connsiteY27" fmla="*/ 79672 h 102890"/>
                    <a:gd name="connsiteX28" fmla="*/ 42460 w 76501"/>
                    <a:gd name="connsiteY28" fmla="*/ 80658 h 102890"/>
                    <a:gd name="connsiteX29" fmla="*/ 46233 w 76501"/>
                    <a:gd name="connsiteY29" fmla="*/ 80968 h 102890"/>
                    <a:gd name="connsiteX30" fmla="*/ 46967 w 76501"/>
                    <a:gd name="connsiteY30" fmla="*/ 81783 h 102890"/>
                    <a:gd name="connsiteX31" fmla="*/ 45296 w 76501"/>
                    <a:gd name="connsiteY31" fmla="*/ 82157 h 102890"/>
                    <a:gd name="connsiteX32" fmla="*/ 44245 w 76501"/>
                    <a:gd name="connsiteY32" fmla="*/ 83070 h 102890"/>
                    <a:gd name="connsiteX33" fmla="*/ 44229 w 76501"/>
                    <a:gd name="connsiteY33" fmla="*/ 84431 h 102890"/>
                    <a:gd name="connsiteX34" fmla="*/ 44562 w 76501"/>
                    <a:gd name="connsiteY34" fmla="*/ 86069 h 102890"/>
                    <a:gd name="connsiteX35" fmla="*/ 43381 w 76501"/>
                    <a:gd name="connsiteY35" fmla="*/ 86387 h 102890"/>
                    <a:gd name="connsiteX36" fmla="*/ 41824 w 76501"/>
                    <a:gd name="connsiteY36" fmla="*/ 86509 h 102890"/>
                    <a:gd name="connsiteX37" fmla="*/ 41457 w 76501"/>
                    <a:gd name="connsiteY37" fmla="*/ 87797 h 102890"/>
                    <a:gd name="connsiteX38" fmla="*/ 38882 w 76501"/>
                    <a:gd name="connsiteY38" fmla="*/ 89500 h 102890"/>
                    <a:gd name="connsiteX39" fmla="*/ 37448 w 76501"/>
                    <a:gd name="connsiteY39" fmla="*/ 90682 h 102890"/>
                    <a:gd name="connsiteX40" fmla="*/ 35932 w 76501"/>
                    <a:gd name="connsiteY40" fmla="*/ 91513 h 102890"/>
                    <a:gd name="connsiteX41" fmla="*/ 36299 w 76501"/>
                    <a:gd name="connsiteY41" fmla="*/ 92247 h 102890"/>
                    <a:gd name="connsiteX42" fmla="*/ 39208 w 76501"/>
                    <a:gd name="connsiteY42" fmla="*/ 92214 h 102890"/>
                    <a:gd name="connsiteX43" fmla="*/ 43267 w 76501"/>
                    <a:gd name="connsiteY43" fmla="*/ 91432 h 102890"/>
                    <a:gd name="connsiteX44" fmla="*/ 43805 w 76501"/>
                    <a:gd name="connsiteY44" fmla="*/ 90772 h 102890"/>
                    <a:gd name="connsiteX45" fmla="*/ 45076 w 76501"/>
                    <a:gd name="connsiteY45" fmla="*/ 91416 h 102890"/>
                    <a:gd name="connsiteX46" fmla="*/ 47717 w 76501"/>
                    <a:gd name="connsiteY46" fmla="*/ 93624 h 102890"/>
                    <a:gd name="connsiteX47" fmla="*/ 48866 w 76501"/>
                    <a:gd name="connsiteY47" fmla="*/ 95653 h 102890"/>
                    <a:gd name="connsiteX48" fmla="*/ 46910 w 76501"/>
                    <a:gd name="connsiteY48" fmla="*/ 97389 h 102890"/>
                    <a:gd name="connsiteX49" fmla="*/ 42501 w 76501"/>
                    <a:gd name="connsiteY49" fmla="*/ 99101 h 102890"/>
                    <a:gd name="connsiteX50" fmla="*/ 36274 w 76501"/>
                    <a:gd name="connsiteY50" fmla="*/ 101855 h 102890"/>
                    <a:gd name="connsiteX51" fmla="*/ 34604 w 76501"/>
                    <a:gd name="connsiteY51" fmla="*/ 102393 h 102890"/>
                    <a:gd name="connsiteX52" fmla="*/ 27057 w 76501"/>
                    <a:gd name="connsiteY52" fmla="*/ 102410 h 102890"/>
                    <a:gd name="connsiteX53" fmla="*/ 26038 w 76501"/>
                    <a:gd name="connsiteY53" fmla="*/ 102890 h 102890"/>
                    <a:gd name="connsiteX54" fmla="*/ 25337 w 76501"/>
                    <a:gd name="connsiteY54" fmla="*/ 102385 h 102890"/>
                    <a:gd name="connsiteX55" fmla="*/ 24685 w 76501"/>
                    <a:gd name="connsiteY55" fmla="*/ 101024 h 102890"/>
                    <a:gd name="connsiteX56" fmla="*/ 24433 w 76501"/>
                    <a:gd name="connsiteY56" fmla="*/ 99280 h 102890"/>
                    <a:gd name="connsiteX57" fmla="*/ 26503 w 76501"/>
                    <a:gd name="connsiteY57" fmla="*/ 98033 h 102890"/>
                    <a:gd name="connsiteX58" fmla="*/ 29412 w 76501"/>
                    <a:gd name="connsiteY58" fmla="*/ 98424 h 102890"/>
                    <a:gd name="connsiteX59" fmla="*/ 31621 w 76501"/>
                    <a:gd name="connsiteY59" fmla="*/ 99451 h 102890"/>
                    <a:gd name="connsiteX60" fmla="*/ 32256 w 76501"/>
                    <a:gd name="connsiteY60" fmla="*/ 99027 h 102890"/>
                    <a:gd name="connsiteX61" fmla="*/ 31670 w 76501"/>
                    <a:gd name="connsiteY61" fmla="*/ 98025 h 102890"/>
                    <a:gd name="connsiteX62" fmla="*/ 29151 w 76501"/>
                    <a:gd name="connsiteY62" fmla="*/ 96199 h 102890"/>
                    <a:gd name="connsiteX63" fmla="*/ 23927 w 76501"/>
                    <a:gd name="connsiteY63" fmla="*/ 95433 h 102890"/>
                    <a:gd name="connsiteX64" fmla="*/ 19356 w 76501"/>
                    <a:gd name="connsiteY64" fmla="*/ 96232 h 102890"/>
                    <a:gd name="connsiteX65" fmla="*/ 18051 w 76501"/>
                    <a:gd name="connsiteY65" fmla="*/ 96982 h 102890"/>
                    <a:gd name="connsiteX66" fmla="*/ 15427 w 76501"/>
                    <a:gd name="connsiteY66" fmla="*/ 96346 h 102890"/>
                    <a:gd name="connsiteX67" fmla="*/ 12624 w 76501"/>
                    <a:gd name="connsiteY67" fmla="*/ 95140 h 102890"/>
                    <a:gd name="connsiteX68" fmla="*/ 13276 w 76501"/>
                    <a:gd name="connsiteY68" fmla="*/ 94708 h 102890"/>
                    <a:gd name="connsiteX69" fmla="*/ 13341 w 76501"/>
                    <a:gd name="connsiteY69" fmla="*/ 93681 h 102890"/>
                    <a:gd name="connsiteX70" fmla="*/ 11670 w 76501"/>
                    <a:gd name="connsiteY70" fmla="*/ 92451 h 102890"/>
                    <a:gd name="connsiteX71" fmla="*/ 10065 w 76501"/>
                    <a:gd name="connsiteY71" fmla="*/ 92312 h 102890"/>
                    <a:gd name="connsiteX72" fmla="*/ 9250 w 76501"/>
                    <a:gd name="connsiteY72" fmla="*/ 92516 h 102890"/>
                    <a:gd name="connsiteX73" fmla="*/ 9119 w 76501"/>
                    <a:gd name="connsiteY73" fmla="*/ 90315 h 102890"/>
                    <a:gd name="connsiteX74" fmla="*/ 9991 w 76501"/>
                    <a:gd name="connsiteY74" fmla="*/ 88107 h 102890"/>
                    <a:gd name="connsiteX75" fmla="*/ 9340 w 76501"/>
                    <a:gd name="connsiteY75" fmla="*/ 86697 h 102890"/>
                    <a:gd name="connsiteX76" fmla="*/ 9926 w 76501"/>
                    <a:gd name="connsiteY76" fmla="*/ 86069 h 102890"/>
                    <a:gd name="connsiteX77" fmla="*/ 9877 w 76501"/>
                    <a:gd name="connsiteY77" fmla="*/ 83095 h 102890"/>
                    <a:gd name="connsiteX78" fmla="*/ 9396 w 76501"/>
                    <a:gd name="connsiteY78" fmla="*/ 79191 h 102890"/>
                    <a:gd name="connsiteX79" fmla="*/ 10701 w 76501"/>
                    <a:gd name="connsiteY79" fmla="*/ 77594 h 102890"/>
                    <a:gd name="connsiteX80" fmla="*/ 10651 w 76501"/>
                    <a:gd name="connsiteY80" fmla="*/ 80063 h 102890"/>
                    <a:gd name="connsiteX81" fmla="*/ 10937 w 76501"/>
                    <a:gd name="connsiteY81" fmla="*/ 81481 h 102890"/>
                    <a:gd name="connsiteX82" fmla="*/ 11434 w 76501"/>
                    <a:gd name="connsiteY82" fmla="*/ 84170 h 102890"/>
                    <a:gd name="connsiteX83" fmla="*/ 13919 w 76501"/>
                    <a:gd name="connsiteY83" fmla="*/ 84456 h 102890"/>
                    <a:gd name="connsiteX84" fmla="*/ 14352 w 76501"/>
                    <a:gd name="connsiteY84" fmla="*/ 83836 h 102890"/>
                    <a:gd name="connsiteX85" fmla="*/ 14254 w 76501"/>
                    <a:gd name="connsiteY85" fmla="*/ 83388 h 102890"/>
                    <a:gd name="connsiteX86" fmla="*/ 14221 w 76501"/>
                    <a:gd name="connsiteY86" fmla="*/ 81375 h 102890"/>
                    <a:gd name="connsiteX87" fmla="*/ 14653 w 76501"/>
                    <a:gd name="connsiteY87" fmla="*/ 80609 h 102890"/>
                    <a:gd name="connsiteX88" fmla="*/ 14906 w 76501"/>
                    <a:gd name="connsiteY88" fmla="*/ 81351 h 102890"/>
                    <a:gd name="connsiteX89" fmla="*/ 15321 w 76501"/>
                    <a:gd name="connsiteY89" fmla="*/ 82280 h 102890"/>
                    <a:gd name="connsiteX90" fmla="*/ 17245 w 76501"/>
                    <a:gd name="connsiteY90" fmla="*/ 82109 h 102890"/>
                    <a:gd name="connsiteX91" fmla="*/ 19029 w 76501"/>
                    <a:gd name="connsiteY91" fmla="*/ 81082 h 102890"/>
                    <a:gd name="connsiteX92" fmla="*/ 19364 w 76501"/>
                    <a:gd name="connsiteY92" fmla="*/ 79884 h 102890"/>
                    <a:gd name="connsiteX93" fmla="*/ 21336 w 76501"/>
                    <a:gd name="connsiteY93" fmla="*/ 79069 h 102890"/>
                    <a:gd name="connsiteX94" fmla="*/ 21719 w 76501"/>
                    <a:gd name="connsiteY94" fmla="*/ 77887 h 102890"/>
                    <a:gd name="connsiteX95" fmla="*/ 20032 w 76501"/>
                    <a:gd name="connsiteY95" fmla="*/ 76045 h 102890"/>
                    <a:gd name="connsiteX96" fmla="*/ 17978 w 76501"/>
                    <a:gd name="connsiteY96" fmla="*/ 74684 h 102890"/>
                    <a:gd name="connsiteX97" fmla="*/ 17530 w 76501"/>
                    <a:gd name="connsiteY97" fmla="*/ 74008 h 102890"/>
                    <a:gd name="connsiteX98" fmla="*/ 18068 w 76501"/>
                    <a:gd name="connsiteY98" fmla="*/ 73193 h 102890"/>
                    <a:gd name="connsiteX99" fmla="*/ 22778 w 76501"/>
                    <a:gd name="connsiteY99" fmla="*/ 76159 h 102890"/>
                    <a:gd name="connsiteX100" fmla="*/ 24001 w 76501"/>
                    <a:gd name="connsiteY100" fmla="*/ 77439 h 102890"/>
                    <a:gd name="connsiteX101" fmla="*/ 25288 w 76501"/>
                    <a:gd name="connsiteY101" fmla="*/ 79036 h 102890"/>
                    <a:gd name="connsiteX102" fmla="*/ 25370 w 76501"/>
                    <a:gd name="connsiteY102" fmla="*/ 80259 h 102890"/>
                    <a:gd name="connsiteX103" fmla="*/ 25989 w 76501"/>
                    <a:gd name="connsiteY103" fmla="*/ 81302 h 102890"/>
                    <a:gd name="connsiteX104" fmla="*/ 27309 w 76501"/>
                    <a:gd name="connsiteY104" fmla="*/ 83404 h 102890"/>
                    <a:gd name="connsiteX105" fmla="*/ 28662 w 76501"/>
                    <a:gd name="connsiteY105" fmla="*/ 84977 h 102890"/>
                    <a:gd name="connsiteX106" fmla="*/ 29901 w 76501"/>
                    <a:gd name="connsiteY106" fmla="*/ 84496 h 102890"/>
                    <a:gd name="connsiteX107" fmla="*/ 30521 w 76501"/>
                    <a:gd name="connsiteY107" fmla="*/ 83429 h 102890"/>
                    <a:gd name="connsiteX108" fmla="*/ 30969 w 76501"/>
                    <a:gd name="connsiteY108" fmla="*/ 83355 h 102890"/>
                    <a:gd name="connsiteX109" fmla="*/ 31906 w 76501"/>
                    <a:gd name="connsiteY109" fmla="*/ 83633 h 102890"/>
                    <a:gd name="connsiteX110" fmla="*/ 33129 w 76501"/>
                    <a:gd name="connsiteY110" fmla="*/ 80495 h 102890"/>
                    <a:gd name="connsiteX111" fmla="*/ 33462 w 76501"/>
                    <a:gd name="connsiteY111" fmla="*/ 76665 h 102890"/>
                    <a:gd name="connsiteX112" fmla="*/ 33813 w 76501"/>
                    <a:gd name="connsiteY112" fmla="*/ 75483 h 102890"/>
                    <a:gd name="connsiteX113" fmla="*/ 34897 w 76501"/>
                    <a:gd name="connsiteY113" fmla="*/ 75035 h 102890"/>
                    <a:gd name="connsiteX114" fmla="*/ 35745 w 76501"/>
                    <a:gd name="connsiteY114" fmla="*/ 75287 h 102890"/>
                    <a:gd name="connsiteX115" fmla="*/ 36478 w 76501"/>
                    <a:gd name="connsiteY115" fmla="*/ 75230 h 102890"/>
                    <a:gd name="connsiteX116" fmla="*/ 38295 w 76501"/>
                    <a:gd name="connsiteY116" fmla="*/ 74537 h 102890"/>
                    <a:gd name="connsiteX117" fmla="*/ 40699 w 76501"/>
                    <a:gd name="connsiteY117" fmla="*/ 71571 h 102890"/>
                    <a:gd name="connsiteX118" fmla="*/ 44008 w 76501"/>
                    <a:gd name="connsiteY118" fmla="*/ 72190 h 102890"/>
                    <a:gd name="connsiteX119" fmla="*/ 47334 w 76501"/>
                    <a:gd name="connsiteY119" fmla="*/ 72101 h 102890"/>
                    <a:gd name="connsiteX120" fmla="*/ 48165 w 76501"/>
                    <a:gd name="connsiteY120" fmla="*/ 71343 h 102890"/>
                    <a:gd name="connsiteX121" fmla="*/ 48132 w 76501"/>
                    <a:gd name="connsiteY121" fmla="*/ 70642 h 102890"/>
                    <a:gd name="connsiteX122" fmla="*/ 45614 w 76501"/>
                    <a:gd name="connsiteY122" fmla="*/ 69525 h 102890"/>
                    <a:gd name="connsiteX123" fmla="*/ 44612 w 76501"/>
                    <a:gd name="connsiteY123" fmla="*/ 68319 h 102890"/>
                    <a:gd name="connsiteX124" fmla="*/ 41702 w 76501"/>
                    <a:gd name="connsiteY124" fmla="*/ 65385 h 102890"/>
                    <a:gd name="connsiteX125" fmla="*/ 37912 w 76501"/>
                    <a:gd name="connsiteY125" fmla="*/ 62957 h 102890"/>
                    <a:gd name="connsiteX126" fmla="*/ 37325 w 76501"/>
                    <a:gd name="connsiteY126" fmla="*/ 62272 h 102890"/>
                    <a:gd name="connsiteX127" fmla="*/ 34702 w 76501"/>
                    <a:gd name="connsiteY127" fmla="*/ 61147 h 102890"/>
                    <a:gd name="connsiteX128" fmla="*/ 31499 w 76501"/>
                    <a:gd name="connsiteY128" fmla="*/ 61172 h 102890"/>
                    <a:gd name="connsiteX129" fmla="*/ 29461 w 76501"/>
                    <a:gd name="connsiteY129" fmla="*/ 60993 h 102890"/>
                    <a:gd name="connsiteX130" fmla="*/ 28125 w 76501"/>
                    <a:gd name="connsiteY130" fmla="*/ 60683 h 102890"/>
                    <a:gd name="connsiteX131" fmla="*/ 25484 w 76501"/>
                    <a:gd name="connsiteY131" fmla="*/ 59664 h 102890"/>
                    <a:gd name="connsiteX132" fmla="*/ 24832 w 76501"/>
                    <a:gd name="connsiteY132" fmla="*/ 58686 h 102890"/>
                    <a:gd name="connsiteX133" fmla="*/ 24913 w 76501"/>
                    <a:gd name="connsiteY133" fmla="*/ 55125 h 102890"/>
                    <a:gd name="connsiteX134" fmla="*/ 24482 w 76501"/>
                    <a:gd name="connsiteY134" fmla="*/ 52607 h 102890"/>
                    <a:gd name="connsiteX135" fmla="*/ 24278 w 76501"/>
                    <a:gd name="connsiteY135" fmla="*/ 51653 h 102890"/>
                    <a:gd name="connsiteX136" fmla="*/ 23675 w 76501"/>
                    <a:gd name="connsiteY136" fmla="*/ 50642 h 102890"/>
                    <a:gd name="connsiteX137" fmla="*/ 23471 w 76501"/>
                    <a:gd name="connsiteY137" fmla="*/ 49762 h 102890"/>
                    <a:gd name="connsiteX138" fmla="*/ 22371 w 76501"/>
                    <a:gd name="connsiteY138" fmla="*/ 47562 h 102890"/>
                    <a:gd name="connsiteX139" fmla="*/ 21271 w 76501"/>
                    <a:gd name="connsiteY139" fmla="*/ 47586 h 102890"/>
                    <a:gd name="connsiteX140" fmla="*/ 19380 w 76501"/>
                    <a:gd name="connsiteY140" fmla="*/ 48271 h 102890"/>
                    <a:gd name="connsiteX141" fmla="*/ 17343 w 76501"/>
                    <a:gd name="connsiteY141" fmla="*/ 48026 h 102890"/>
                    <a:gd name="connsiteX142" fmla="*/ 16103 w 76501"/>
                    <a:gd name="connsiteY142" fmla="*/ 48271 h 102890"/>
                    <a:gd name="connsiteX143" fmla="*/ 14686 w 76501"/>
                    <a:gd name="connsiteY143" fmla="*/ 46991 h 102890"/>
                    <a:gd name="connsiteX144" fmla="*/ 13919 w 76501"/>
                    <a:gd name="connsiteY144" fmla="*/ 45500 h 102890"/>
                    <a:gd name="connsiteX145" fmla="*/ 12933 w 76501"/>
                    <a:gd name="connsiteY145" fmla="*/ 44815 h 102890"/>
                    <a:gd name="connsiteX146" fmla="*/ 11630 w 76501"/>
                    <a:gd name="connsiteY146" fmla="*/ 45378 h 102890"/>
                    <a:gd name="connsiteX147" fmla="*/ 9910 w 76501"/>
                    <a:gd name="connsiteY147" fmla="*/ 45606 h 102890"/>
                    <a:gd name="connsiteX148" fmla="*/ 8394 w 76501"/>
                    <a:gd name="connsiteY148" fmla="*/ 44351 h 102890"/>
                    <a:gd name="connsiteX149" fmla="*/ 6943 w 76501"/>
                    <a:gd name="connsiteY149" fmla="*/ 42468 h 102890"/>
                    <a:gd name="connsiteX150" fmla="*/ 6462 w 76501"/>
                    <a:gd name="connsiteY150" fmla="*/ 41482 h 102890"/>
                    <a:gd name="connsiteX151" fmla="*/ 7277 w 76501"/>
                    <a:gd name="connsiteY151" fmla="*/ 41710 h 102890"/>
                    <a:gd name="connsiteX152" fmla="*/ 9853 w 76501"/>
                    <a:gd name="connsiteY152" fmla="*/ 43919 h 102890"/>
                    <a:gd name="connsiteX153" fmla="*/ 10953 w 76501"/>
                    <a:gd name="connsiteY153" fmla="*/ 43870 h 102890"/>
                    <a:gd name="connsiteX154" fmla="*/ 11255 w 76501"/>
                    <a:gd name="connsiteY154" fmla="*/ 42868 h 102890"/>
                    <a:gd name="connsiteX155" fmla="*/ 11776 w 76501"/>
                    <a:gd name="connsiteY155" fmla="*/ 42093 h 102890"/>
                    <a:gd name="connsiteX156" fmla="*/ 12412 w 76501"/>
                    <a:gd name="connsiteY156" fmla="*/ 41547 h 102890"/>
                    <a:gd name="connsiteX157" fmla="*/ 17408 w 76501"/>
                    <a:gd name="connsiteY157" fmla="*/ 44889 h 102890"/>
                    <a:gd name="connsiteX158" fmla="*/ 18573 w 76501"/>
                    <a:gd name="connsiteY158" fmla="*/ 44709 h 102890"/>
                    <a:gd name="connsiteX159" fmla="*/ 19144 w 76501"/>
                    <a:gd name="connsiteY159" fmla="*/ 44115 h 102890"/>
                    <a:gd name="connsiteX160" fmla="*/ 19127 w 76501"/>
                    <a:gd name="connsiteY160" fmla="*/ 43487 h 102890"/>
                    <a:gd name="connsiteX161" fmla="*/ 17595 w 76501"/>
                    <a:gd name="connsiteY161" fmla="*/ 40520 h 102890"/>
                    <a:gd name="connsiteX162" fmla="*/ 17864 w 76501"/>
                    <a:gd name="connsiteY162" fmla="*/ 36046 h 102890"/>
                    <a:gd name="connsiteX163" fmla="*/ 18598 w 76501"/>
                    <a:gd name="connsiteY163" fmla="*/ 35019 h 102890"/>
                    <a:gd name="connsiteX164" fmla="*/ 19046 w 76501"/>
                    <a:gd name="connsiteY164" fmla="*/ 34009 h 102890"/>
                    <a:gd name="connsiteX165" fmla="*/ 18630 w 76501"/>
                    <a:gd name="connsiteY165" fmla="*/ 31686 h 102890"/>
                    <a:gd name="connsiteX166" fmla="*/ 19062 w 76501"/>
                    <a:gd name="connsiteY166" fmla="*/ 29306 h 102890"/>
                    <a:gd name="connsiteX167" fmla="*/ 19494 w 76501"/>
                    <a:gd name="connsiteY167" fmla="*/ 27758 h 102890"/>
                    <a:gd name="connsiteX168" fmla="*/ 18695 w 76501"/>
                    <a:gd name="connsiteY168" fmla="*/ 27220 h 102890"/>
                    <a:gd name="connsiteX169" fmla="*/ 17929 w 76501"/>
                    <a:gd name="connsiteY169" fmla="*/ 27579 h 102890"/>
                    <a:gd name="connsiteX170" fmla="*/ 17081 w 76501"/>
                    <a:gd name="connsiteY170" fmla="*/ 28255 h 102890"/>
                    <a:gd name="connsiteX171" fmla="*/ 16495 w 76501"/>
                    <a:gd name="connsiteY171" fmla="*/ 29168 h 102890"/>
                    <a:gd name="connsiteX172" fmla="*/ 16413 w 76501"/>
                    <a:gd name="connsiteY172" fmla="*/ 30260 h 102890"/>
                    <a:gd name="connsiteX173" fmla="*/ 14775 w 76501"/>
                    <a:gd name="connsiteY173" fmla="*/ 29755 h 102890"/>
                    <a:gd name="connsiteX174" fmla="*/ 12803 w 76501"/>
                    <a:gd name="connsiteY174" fmla="*/ 28174 h 102890"/>
                    <a:gd name="connsiteX175" fmla="*/ 12233 w 76501"/>
                    <a:gd name="connsiteY175" fmla="*/ 26576 h 102890"/>
                    <a:gd name="connsiteX176" fmla="*/ 10701 w 76501"/>
                    <a:gd name="connsiteY176" fmla="*/ 24066 h 102890"/>
                    <a:gd name="connsiteX177" fmla="*/ 6878 w 76501"/>
                    <a:gd name="connsiteY177" fmla="*/ 20684 h 102890"/>
                    <a:gd name="connsiteX178" fmla="*/ 7359 w 76501"/>
                    <a:gd name="connsiteY178" fmla="*/ 20032 h 102890"/>
                    <a:gd name="connsiteX179" fmla="*/ 7644 w 76501"/>
                    <a:gd name="connsiteY179" fmla="*/ 19111 h 102890"/>
                    <a:gd name="connsiteX180" fmla="*/ 7310 w 76501"/>
                    <a:gd name="connsiteY180" fmla="*/ 17139 h 102890"/>
                    <a:gd name="connsiteX181" fmla="*/ 7408 w 76501"/>
                    <a:gd name="connsiteY181" fmla="*/ 14670 h 102890"/>
                    <a:gd name="connsiteX182" fmla="*/ 7310 w 76501"/>
                    <a:gd name="connsiteY182" fmla="*/ 12184 h 102890"/>
                    <a:gd name="connsiteX183" fmla="*/ 7815 w 76501"/>
                    <a:gd name="connsiteY183" fmla="*/ 11369 h 102890"/>
                    <a:gd name="connsiteX184" fmla="*/ 8630 w 76501"/>
                    <a:gd name="connsiteY184" fmla="*/ 11393 h 102890"/>
                    <a:gd name="connsiteX185" fmla="*/ 8459 w 76501"/>
                    <a:gd name="connsiteY185" fmla="*/ 10415 h 102890"/>
                    <a:gd name="connsiteX186" fmla="*/ 7253 w 76501"/>
                    <a:gd name="connsiteY186" fmla="*/ 8125 h 102890"/>
                    <a:gd name="connsiteX187" fmla="*/ 6870 w 76501"/>
                    <a:gd name="connsiteY187" fmla="*/ 6015 h 102890"/>
                    <a:gd name="connsiteX188" fmla="*/ 5868 w 76501"/>
                    <a:gd name="connsiteY188" fmla="*/ 3635 h 102890"/>
                    <a:gd name="connsiteX189" fmla="*/ 4213 w 76501"/>
                    <a:gd name="connsiteY189" fmla="*/ 2510 h 102890"/>
                    <a:gd name="connsiteX190" fmla="*/ 3464 w 76501"/>
                    <a:gd name="connsiteY190" fmla="*/ 2787 h 102890"/>
                    <a:gd name="connsiteX191" fmla="*/ 3031 w 76501"/>
                    <a:gd name="connsiteY191" fmla="*/ 3439 h 102890"/>
                    <a:gd name="connsiteX192" fmla="*/ 1499 w 76501"/>
                    <a:gd name="connsiteY192" fmla="*/ 2469 h 102890"/>
                    <a:gd name="connsiteX193" fmla="*/ 16 w 76501"/>
                    <a:gd name="connsiteY193" fmla="*/ 742 h 102890"/>
                    <a:gd name="connsiteX194" fmla="*/ 0 w 76501"/>
                    <a:gd name="connsiteY194" fmla="*/ 0 h 102890"/>
                    <a:gd name="connsiteX195" fmla="*/ 5313 w 76501"/>
                    <a:gd name="connsiteY195" fmla="*/ 1557 h 102890"/>
                    <a:gd name="connsiteX196" fmla="*/ 7065 w 76501"/>
                    <a:gd name="connsiteY196" fmla="*/ 2730 h 102890"/>
                    <a:gd name="connsiteX197" fmla="*/ 8321 w 76501"/>
                    <a:gd name="connsiteY197" fmla="*/ 5273 h 102890"/>
                    <a:gd name="connsiteX198" fmla="*/ 8337 w 76501"/>
                    <a:gd name="connsiteY198" fmla="*/ 6487 h 102890"/>
                    <a:gd name="connsiteX199" fmla="*/ 7734 w 76501"/>
                    <a:gd name="connsiteY199" fmla="*/ 6919 h 102890"/>
                    <a:gd name="connsiteX200" fmla="*/ 8720 w 76501"/>
                    <a:gd name="connsiteY200" fmla="*/ 8598 h 102890"/>
                    <a:gd name="connsiteX201" fmla="*/ 9885 w 76501"/>
                    <a:gd name="connsiteY201" fmla="*/ 9437 h 102890"/>
                    <a:gd name="connsiteX202" fmla="*/ 10904 w 76501"/>
                    <a:gd name="connsiteY202" fmla="*/ 9837 h 102890"/>
                    <a:gd name="connsiteX203" fmla="*/ 11524 w 76501"/>
                    <a:gd name="connsiteY203" fmla="*/ 11092 h 102890"/>
                    <a:gd name="connsiteX204" fmla="*/ 11124 w 76501"/>
                    <a:gd name="connsiteY204" fmla="*/ 12600 h 102890"/>
                    <a:gd name="connsiteX205" fmla="*/ 10888 w 76501"/>
                    <a:gd name="connsiteY205" fmla="*/ 15322 h 102890"/>
                    <a:gd name="connsiteX206" fmla="*/ 9070 w 76501"/>
                    <a:gd name="connsiteY206" fmla="*/ 18109 h 102890"/>
                    <a:gd name="connsiteX207" fmla="*/ 11409 w 76501"/>
                    <a:gd name="connsiteY207" fmla="*/ 21320 h 102890"/>
                    <a:gd name="connsiteX208" fmla="*/ 13414 w 76501"/>
                    <a:gd name="connsiteY208" fmla="*/ 23153 h 102890"/>
                    <a:gd name="connsiteX209" fmla="*/ 16373 w 76501"/>
                    <a:gd name="connsiteY209" fmla="*/ 24074 h 102890"/>
                    <a:gd name="connsiteX210" fmla="*/ 17522 w 76501"/>
                    <a:gd name="connsiteY210" fmla="*/ 23520 h 102890"/>
                    <a:gd name="connsiteX211" fmla="*/ 19290 w 76501"/>
                    <a:gd name="connsiteY211" fmla="*/ 24971 h 102890"/>
                    <a:gd name="connsiteX212" fmla="*/ 20455 w 76501"/>
                    <a:gd name="connsiteY212" fmla="*/ 25998 h 102890"/>
                    <a:gd name="connsiteX213" fmla="*/ 21621 w 76501"/>
                    <a:gd name="connsiteY213" fmla="*/ 26348 h 102890"/>
                    <a:gd name="connsiteX214" fmla="*/ 21719 w 76501"/>
                    <a:gd name="connsiteY214" fmla="*/ 24294 h 102890"/>
                    <a:gd name="connsiteX215" fmla="*/ 20782 w 76501"/>
                    <a:gd name="connsiteY215" fmla="*/ 21703 h 102890"/>
                    <a:gd name="connsiteX216" fmla="*/ 21564 w 76501"/>
                    <a:gd name="connsiteY216" fmla="*/ 20008 h 102890"/>
                    <a:gd name="connsiteX217" fmla="*/ 22615 w 76501"/>
                    <a:gd name="connsiteY217" fmla="*/ 20317 h 102890"/>
                    <a:gd name="connsiteX218" fmla="*/ 23569 w 76501"/>
                    <a:gd name="connsiteY218" fmla="*/ 21197 h 102890"/>
                    <a:gd name="connsiteX219" fmla="*/ 23634 w 76501"/>
                    <a:gd name="connsiteY219" fmla="*/ 22795 h 102890"/>
                    <a:gd name="connsiteX220" fmla="*/ 24555 w 76501"/>
                    <a:gd name="connsiteY220" fmla="*/ 23333 h 102890"/>
                    <a:gd name="connsiteX221" fmla="*/ 27465 w 76501"/>
                    <a:gd name="connsiteY221" fmla="*/ 22453 h 102890"/>
                    <a:gd name="connsiteX222" fmla="*/ 29967 w 76501"/>
                    <a:gd name="connsiteY222" fmla="*/ 23748 h 102890"/>
                    <a:gd name="connsiteX223" fmla="*/ 34245 w 76501"/>
                    <a:gd name="connsiteY223" fmla="*/ 22819 h 102890"/>
                    <a:gd name="connsiteX224" fmla="*/ 36062 w 76501"/>
                    <a:gd name="connsiteY224" fmla="*/ 22477 h 102890"/>
                    <a:gd name="connsiteX225" fmla="*/ 36013 w 76501"/>
                    <a:gd name="connsiteY225" fmla="*/ 23056 h 102890"/>
                    <a:gd name="connsiteX226" fmla="*/ 34979 w 76501"/>
                    <a:gd name="connsiteY226" fmla="*/ 24001 h 102890"/>
                    <a:gd name="connsiteX227" fmla="*/ 33830 w 76501"/>
                    <a:gd name="connsiteY227" fmla="*/ 24800 h 102890"/>
                    <a:gd name="connsiteX228" fmla="*/ 32077 w 76501"/>
                    <a:gd name="connsiteY228" fmla="*/ 25631 h 102890"/>
                    <a:gd name="connsiteX229" fmla="*/ 31156 w 76501"/>
                    <a:gd name="connsiteY229" fmla="*/ 26886 h 102890"/>
                    <a:gd name="connsiteX230" fmla="*/ 31955 w 76501"/>
                    <a:gd name="connsiteY230" fmla="*/ 29999 h 102890"/>
                    <a:gd name="connsiteX231" fmla="*/ 30904 w 76501"/>
                    <a:gd name="connsiteY231" fmla="*/ 31328 h 102890"/>
                    <a:gd name="connsiteX232" fmla="*/ 31034 w 76501"/>
                    <a:gd name="connsiteY232" fmla="*/ 32200 h 102890"/>
                    <a:gd name="connsiteX233" fmla="*/ 31800 w 76501"/>
                    <a:gd name="connsiteY233" fmla="*/ 33520 h 102890"/>
                    <a:gd name="connsiteX234" fmla="*/ 32583 w 76501"/>
                    <a:gd name="connsiteY234" fmla="*/ 35231 h 102890"/>
                    <a:gd name="connsiteX235" fmla="*/ 33251 w 76501"/>
                    <a:gd name="connsiteY235" fmla="*/ 36217 h 102890"/>
                    <a:gd name="connsiteX236" fmla="*/ 33984 w 76501"/>
                    <a:gd name="connsiteY236" fmla="*/ 36902 h 102890"/>
                    <a:gd name="connsiteX237" fmla="*/ 33903 w 76501"/>
                    <a:gd name="connsiteY237" fmla="*/ 37986 h 102890"/>
                    <a:gd name="connsiteX238" fmla="*/ 43536 w 76501"/>
                    <a:gd name="connsiteY238" fmla="*/ 43552 h 102890"/>
                    <a:gd name="connsiteX239" fmla="*/ 47146 w 76501"/>
                    <a:gd name="connsiteY239" fmla="*/ 46470 h 102890"/>
                    <a:gd name="connsiteX240" fmla="*/ 49615 w 76501"/>
                    <a:gd name="connsiteY240" fmla="*/ 49151 h 102890"/>
                    <a:gd name="connsiteX241" fmla="*/ 47415 w 76501"/>
                    <a:gd name="connsiteY241" fmla="*/ 49502 h 102890"/>
                    <a:gd name="connsiteX242" fmla="*/ 43690 w 76501"/>
                    <a:gd name="connsiteY242" fmla="*/ 47937 h 102890"/>
                    <a:gd name="connsiteX243" fmla="*/ 40463 w 76501"/>
                    <a:gd name="connsiteY243" fmla="*/ 45720 h 102890"/>
                    <a:gd name="connsiteX244" fmla="*/ 39648 w 76501"/>
                    <a:gd name="connsiteY244" fmla="*/ 44603 h 102890"/>
                    <a:gd name="connsiteX245" fmla="*/ 41352 w 76501"/>
                    <a:gd name="connsiteY245" fmla="*/ 44718 h 102890"/>
                    <a:gd name="connsiteX246" fmla="*/ 41115 w 76501"/>
                    <a:gd name="connsiteY246" fmla="*/ 43732 h 102890"/>
                    <a:gd name="connsiteX247" fmla="*/ 39281 w 76501"/>
                    <a:gd name="connsiteY247" fmla="*/ 42403 h 102890"/>
                    <a:gd name="connsiteX248" fmla="*/ 37847 w 76501"/>
                    <a:gd name="connsiteY248" fmla="*/ 41564 h 102890"/>
                    <a:gd name="connsiteX249" fmla="*/ 36445 w 76501"/>
                    <a:gd name="connsiteY249" fmla="*/ 41083 h 102890"/>
                    <a:gd name="connsiteX250" fmla="*/ 35761 w 76501"/>
                    <a:gd name="connsiteY250" fmla="*/ 41490 h 102890"/>
                    <a:gd name="connsiteX251" fmla="*/ 34123 w 76501"/>
                    <a:gd name="connsiteY251" fmla="*/ 41987 h 102890"/>
                    <a:gd name="connsiteX252" fmla="*/ 32583 w 76501"/>
                    <a:gd name="connsiteY252" fmla="*/ 44343 h 102890"/>
                    <a:gd name="connsiteX253" fmla="*/ 32077 w 76501"/>
                    <a:gd name="connsiteY253" fmla="*/ 46804 h 102890"/>
                    <a:gd name="connsiteX254" fmla="*/ 31539 w 76501"/>
                    <a:gd name="connsiteY254" fmla="*/ 47374 h 102890"/>
                    <a:gd name="connsiteX255" fmla="*/ 29885 w 76501"/>
                    <a:gd name="connsiteY255" fmla="*/ 47040 h 102890"/>
                    <a:gd name="connsiteX256" fmla="*/ 29967 w 76501"/>
                    <a:gd name="connsiteY256" fmla="*/ 45639 h 102890"/>
                    <a:gd name="connsiteX257" fmla="*/ 30781 w 76501"/>
                    <a:gd name="connsiteY257" fmla="*/ 43096 h 102890"/>
                    <a:gd name="connsiteX258" fmla="*/ 28760 w 76501"/>
                    <a:gd name="connsiteY258" fmla="*/ 36845 h 102890"/>
                    <a:gd name="connsiteX259" fmla="*/ 26837 w 76501"/>
                    <a:gd name="connsiteY259" fmla="*/ 35134 h 102890"/>
                    <a:gd name="connsiteX260" fmla="*/ 23610 w 76501"/>
                    <a:gd name="connsiteY260" fmla="*/ 35655 h 102890"/>
                    <a:gd name="connsiteX261" fmla="*/ 21539 w 76501"/>
                    <a:gd name="connsiteY261" fmla="*/ 37293 h 102890"/>
                    <a:gd name="connsiteX262" fmla="*/ 21287 w 76501"/>
                    <a:gd name="connsiteY262" fmla="*/ 38402 h 102890"/>
                    <a:gd name="connsiteX263" fmla="*/ 22436 w 76501"/>
                    <a:gd name="connsiteY263" fmla="*/ 39428 h 102890"/>
                    <a:gd name="connsiteX264" fmla="*/ 21368 w 76501"/>
                    <a:gd name="connsiteY264" fmla="*/ 41238 h 102890"/>
                    <a:gd name="connsiteX265" fmla="*/ 23520 w 76501"/>
                    <a:gd name="connsiteY265" fmla="*/ 43683 h 102890"/>
                    <a:gd name="connsiteX266" fmla="*/ 25256 w 76501"/>
                    <a:gd name="connsiteY266" fmla="*/ 47505 h 102890"/>
                    <a:gd name="connsiteX267" fmla="*/ 28344 w 76501"/>
                    <a:gd name="connsiteY267" fmla="*/ 48377 h 102890"/>
                    <a:gd name="connsiteX268" fmla="*/ 28410 w 76501"/>
                    <a:gd name="connsiteY268" fmla="*/ 49607 h 102890"/>
                    <a:gd name="connsiteX269" fmla="*/ 27138 w 76501"/>
                    <a:gd name="connsiteY269" fmla="*/ 51303 h 102890"/>
                    <a:gd name="connsiteX270" fmla="*/ 26437 w 76501"/>
                    <a:gd name="connsiteY270" fmla="*/ 52924 h 102890"/>
                    <a:gd name="connsiteX271" fmla="*/ 26625 w 76501"/>
                    <a:gd name="connsiteY271" fmla="*/ 54505 h 102890"/>
                    <a:gd name="connsiteX272" fmla="*/ 29029 w 76501"/>
                    <a:gd name="connsiteY272" fmla="*/ 55133 h 102890"/>
                    <a:gd name="connsiteX273" fmla="*/ 30936 w 76501"/>
                    <a:gd name="connsiteY273" fmla="*/ 54774 h 102890"/>
                    <a:gd name="connsiteX274" fmla="*/ 34213 w 76501"/>
                    <a:gd name="connsiteY274" fmla="*/ 54628 h 102890"/>
                    <a:gd name="connsiteX275" fmla="*/ 34228 w 76501"/>
                    <a:gd name="connsiteY275" fmla="*/ 53813 h 102890"/>
                    <a:gd name="connsiteX276" fmla="*/ 35394 w 76501"/>
                    <a:gd name="connsiteY276" fmla="*/ 53348 h 102890"/>
                    <a:gd name="connsiteX277" fmla="*/ 36242 w 76501"/>
                    <a:gd name="connsiteY277" fmla="*/ 54065 h 102890"/>
                    <a:gd name="connsiteX278" fmla="*/ 37431 w 76501"/>
                    <a:gd name="connsiteY278" fmla="*/ 55410 h 102890"/>
                    <a:gd name="connsiteX279" fmla="*/ 39901 w 76501"/>
                    <a:gd name="connsiteY279" fmla="*/ 56103 h 102890"/>
                    <a:gd name="connsiteX280" fmla="*/ 41400 w 76501"/>
                    <a:gd name="connsiteY280" fmla="*/ 56029 h 102890"/>
                    <a:gd name="connsiteX281" fmla="*/ 42452 w 76501"/>
                    <a:gd name="connsiteY281" fmla="*/ 53690 h 102890"/>
                    <a:gd name="connsiteX282" fmla="*/ 42990 w 76501"/>
                    <a:gd name="connsiteY282" fmla="*/ 53055 h 102890"/>
                    <a:gd name="connsiteX283" fmla="*/ 43992 w 76501"/>
                    <a:gd name="connsiteY283" fmla="*/ 52582 h 102890"/>
                    <a:gd name="connsiteX284" fmla="*/ 44709 w 76501"/>
                    <a:gd name="connsiteY284" fmla="*/ 51653 h 102890"/>
                    <a:gd name="connsiteX285" fmla="*/ 43927 w 76501"/>
                    <a:gd name="connsiteY285" fmla="*/ 50039 h 102890"/>
                    <a:gd name="connsiteX286" fmla="*/ 43878 w 76501"/>
                    <a:gd name="connsiteY286" fmla="*/ 49265 h 102890"/>
                    <a:gd name="connsiteX287" fmla="*/ 44546 w 76501"/>
                    <a:gd name="connsiteY287" fmla="*/ 49420 h 102890"/>
                    <a:gd name="connsiteX288" fmla="*/ 46331 w 76501"/>
                    <a:gd name="connsiteY288" fmla="*/ 50838 h 102890"/>
                    <a:gd name="connsiteX289" fmla="*/ 48067 w 76501"/>
                    <a:gd name="connsiteY289" fmla="*/ 54147 h 102890"/>
                    <a:gd name="connsiteX290" fmla="*/ 48955 w 76501"/>
                    <a:gd name="connsiteY290" fmla="*/ 55475 h 102890"/>
                    <a:gd name="connsiteX291" fmla="*/ 48491 w 76501"/>
                    <a:gd name="connsiteY291" fmla="*/ 56396 h 102890"/>
                    <a:gd name="connsiteX292" fmla="*/ 48124 w 76501"/>
                    <a:gd name="connsiteY292" fmla="*/ 57496 h 102890"/>
                    <a:gd name="connsiteX293" fmla="*/ 46853 w 76501"/>
                    <a:gd name="connsiteY293" fmla="*/ 57831 h 102890"/>
                    <a:gd name="connsiteX294" fmla="*/ 47839 w 76501"/>
                    <a:gd name="connsiteY294" fmla="*/ 59591 h 102890"/>
                    <a:gd name="connsiteX295" fmla="*/ 51563 w 76501"/>
                    <a:gd name="connsiteY295" fmla="*/ 59249 h 102890"/>
                    <a:gd name="connsiteX296" fmla="*/ 55622 w 76501"/>
                    <a:gd name="connsiteY296" fmla="*/ 58157 h 102890"/>
                    <a:gd name="connsiteX297" fmla="*/ 57073 w 76501"/>
                    <a:gd name="connsiteY297" fmla="*/ 57831 h 102890"/>
                    <a:gd name="connsiteX298" fmla="*/ 60349 w 76501"/>
                    <a:gd name="connsiteY298" fmla="*/ 58295 h 102890"/>
                    <a:gd name="connsiteX299" fmla="*/ 60732 w 76501"/>
                    <a:gd name="connsiteY299" fmla="*/ 57472 h 102890"/>
                    <a:gd name="connsiteX300" fmla="*/ 60903 w 76501"/>
                    <a:gd name="connsiteY300" fmla="*/ 56135 h 102890"/>
                    <a:gd name="connsiteX301" fmla="*/ 60055 w 76501"/>
                    <a:gd name="connsiteY301" fmla="*/ 55166 h 102890"/>
                    <a:gd name="connsiteX302" fmla="*/ 59558 w 76501"/>
                    <a:gd name="connsiteY302" fmla="*/ 53837 h 102890"/>
                    <a:gd name="connsiteX303" fmla="*/ 59558 w 76501"/>
                    <a:gd name="connsiteY303" fmla="*/ 52289 h 102890"/>
                    <a:gd name="connsiteX304" fmla="*/ 59036 w 76501"/>
                    <a:gd name="connsiteY304" fmla="*/ 50805 h 102890"/>
                    <a:gd name="connsiteX305" fmla="*/ 58718 w 76501"/>
                    <a:gd name="connsiteY305" fmla="*/ 48980 h 102890"/>
                    <a:gd name="connsiteX306" fmla="*/ 59517 w 76501"/>
                    <a:gd name="connsiteY306" fmla="*/ 47643 h 102890"/>
                    <a:gd name="connsiteX307" fmla="*/ 59599 w 76501"/>
                    <a:gd name="connsiteY307" fmla="*/ 45606 h 102890"/>
                    <a:gd name="connsiteX308" fmla="*/ 58645 w 76501"/>
                    <a:gd name="connsiteY308" fmla="*/ 42533 h 102890"/>
                    <a:gd name="connsiteX309" fmla="*/ 59077 w 76501"/>
                    <a:gd name="connsiteY309" fmla="*/ 40578 h 102890"/>
                    <a:gd name="connsiteX310" fmla="*/ 60462 w 76501"/>
                    <a:gd name="connsiteY310" fmla="*/ 40504 h 102890"/>
                    <a:gd name="connsiteX311" fmla="*/ 60895 w 76501"/>
                    <a:gd name="connsiteY311" fmla="*/ 41727 h 102890"/>
                    <a:gd name="connsiteX312" fmla="*/ 61180 w 76501"/>
                    <a:gd name="connsiteY312" fmla="*/ 43381 h 102890"/>
                    <a:gd name="connsiteX313" fmla="*/ 62631 w 76501"/>
                    <a:gd name="connsiteY313" fmla="*/ 43707 h 102890"/>
                    <a:gd name="connsiteX314" fmla="*/ 64798 w 76501"/>
                    <a:gd name="connsiteY314" fmla="*/ 45981 h 102890"/>
                    <a:gd name="connsiteX315" fmla="*/ 67691 w 76501"/>
                    <a:gd name="connsiteY315" fmla="*/ 47961 h 102890"/>
                    <a:gd name="connsiteX316" fmla="*/ 68294 w 76501"/>
                    <a:gd name="connsiteY316" fmla="*/ 47603 h 102890"/>
                    <a:gd name="connsiteX317" fmla="*/ 67341 w 76501"/>
                    <a:gd name="connsiteY317" fmla="*/ 46193 h 102890"/>
                    <a:gd name="connsiteX318" fmla="*/ 66771 w 76501"/>
                    <a:gd name="connsiteY318" fmla="*/ 44620 h 102890"/>
                    <a:gd name="connsiteX319" fmla="*/ 66868 w 76501"/>
                    <a:gd name="connsiteY319" fmla="*/ 43544 h 102890"/>
                    <a:gd name="connsiteX320" fmla="*/ 67455 w 76501"/>
                    <a:gd name="connsiteY320" fmla="*/ 42199 h 102890"/>
                    <a:gd name="connsiteX321" fmla="*/ 67855 w 76501"/>
                    <a:gd name="connsiteY321" fmla="*/ 40651 h 102890"/>
                    <a:gd name="connsiteX322" fmla="*/ 69460 w 76501"/>
                    <a:gd name="connsiteY322" fmla="*/ 40146 h 102890"/>
                    <a:gd name="connsiteX323" fmla="*/ 71400 w 76501"/>
                    <a:gd name="connsiteY323" fmla="*/ 41466 h 102890"/>
                    <a:gd name="connsiteX324" fmla="*/ 72622 w 76501"/>
                    <a:gd name="connsiteY324" fmla="*/ 43894 h 102890"/>
                    <a:gd name="connsiteX325" fmla="*/ 74122 w 76501"/>
                    <a:gd name="connsiteY325" fmla="*/ 46160 h 102890"/>
                    <a:gd name="connsiteX326" fmla="*/ 75124 w 76501"/>
                    <a:gd name="connsiteY326" fmla="*/ 47350 h 102890"/>
                    <a:gd name="connsiteX327" fmla="*/ 72867 w 76501"/>
                    <a:gd name="connsiteY327" fmla="*/ 49192 h 102890"/>
                    <a:gd name="connsiteX328" fmla="*/ 72052 w 76501"/>
                    <a:gd name="connsiteY328" fmla="*/ 50292 h 102890"/>
                    <a:gd name="connsiteX329" fmla="*/ 71815 w 76501"/>
                    <a:gd name="connsiteY329" fmla="*/ 51392 h 102890"/>
                    <a:gd name="connsiteX330" fmla="*/ 71229 w 76501"/>
                    <a:gd name="connsiteY330" fmla="*/ 52289 h 102890"/>
                    <a:gd name="connsiteX331" fmla="*/ 69223 w 76501"/>
                    <a:gd name="connsiteY331" fmla="*/ 52166 h 102890"/>
                    <a:gd name="connsiteX332" fmla="*/ 68042 w 76501"/>
                    <a:gd name="connsiteY332" fmla="*/ 52419 h 102890"/>
                    <a:gd name="connsiteX333" fmla="*/ 67545 w 76501"/>
                    <a:gd name="connsiteY333" fmla="*/ 53055 h 102890"/>
                    <a:gd name="connsiteX334" fmla="*/ 67023 w 76501"/>
                    <a:gd name="connsiteY334" fmla="*/ 54065 h 102890"/>
                    <a:gd name="connsiteX335" fmla="*/ 68229 w 76501"/>
                    <a:gd name="connsiteY335" fmla="*/ 55956 h 102890"/>
                    <a:gd name="connsiteX336" fmla="*/ 70201 w 76501"/>
                    <a:gd name="connsiteY336" fmla="*/ 56942 h 102890"/>
                    <a:gd name="connsiteX337" fmla="*/ 71774 w 76501"/>
                    <a:gd name="connsiteY337" fmla="*/ 56934 h 102890"/>
                    <a:gd name="connsiteX338" fmla="*/ 73828 w 76501"/>
                    <a:gd name="connsiteY338" fmla="*/ 57521 h 102890"/>
                    <a:gd name="connsiteX339" fmla="*/ 75980 w 76501"/>
                    <a:gd name="connsiteY339" fmla="*/ 58401 h 102890"/>
                    <a:gd name="connsiteX340" fmla="*/ 76501 w 76501"/>
                    <a:gd name="connsiteY340" fmla="*/ 59656 h 102890"/>
                    <a:gd name="connsiteX341" fmla="*/ 74749 w 76501"/>
                    <a:gd name="connsiteY341" fmla="*/ 60381 h 102890"/>
                    <a:gd name="connsiteX342" fmla="*/ 69721 w 76501"/>
                    <a:gd name="connsiteY342" fmla="*/ 58914 h 102890"/>
                    <a:gd name="connsiteX343" fmla="*/ 69216 w 76501"/>
                    <a:gd name="connsiteY343" fmla="*/ 59444 h 102890"/>
                    <a:gd name="connsiteX344" fmla="*/ 67195 w 76501"/>
                    <a:gd name="connsiteY344" fmla="*/ 59167 h 102890"/>
                    <a:gd name="connsiteX345" fmla="*/ 65018 w 76501"/>
                    <a:gd name="connsiteY345" fmla="*/ 60096 h 10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Lst>
                  <a:rect l="l" t="t" r="r" b="b"/>
                  <a:pathLst>
                    <a:path w="76501" h="102890">
                      <a:moveTo>
                        <a:pt x="65018" y="60096"/>
                      </a:moveTo>
                      <a:lnTo>
                        <a:pt x="65018" y="60096"/>
                      </a:lnTo>
                      <a:lnTo>
                        <a:pt x="65018" y="60096"/>
                      </a:lnTo>
                      <a:lnTo>
                        <a:pt x="64383" y="61490"/>
                      </a:lnTo>
                      <a:lnTo>
                        <a:pt x="63845" y="61840"/>
                      </a:lnTo>
                      <a:lnTo>
                        <a:pt x="64383" y="63242"/>
                      </a:lnTo>
                      <a:lnTo>
                        <a:pt x="65882" y="64994"/>
                      </a:lnTo>
                      <a:lnTo>
                        <a:pt x="67422" y="65801"/>
                      </a:lnTo>
                      <a:lnTo>
                        <a:pt x="68009" y="64921"/>
                      </a:lnTo>
                      <a:lnTo>
                        <a:pt x="69191" y="64953"/>
                      </a:lnTo>
                      <a:lnTo>
                        <a:pt x="70959" y="67162"/>
                      </a:lnTo>
                      <a:lnTo>
                        <a:pt x="71424" y="68914"/>
                      </a:lnTo>
                      <a:lnTo>
                        <a:pt x="71456" y="69607"/>
                      </a:lnTo>
                      <a:lnTo>
                        <a:pt x="70357" y="70234"/>
                      </a:lnTo>
                      <a:lnTo>
                        <a:pt x="70210" y="71294"/>
                      </a:lnTo>
                      <a:lnTo>
                        <a:pt x="69395" y="71848"/>
                      </a:lnTo>
                      <a:lnTo>
                        <a:pt x="68547" y="72190"/>
                      </a:lnTo>
                      <a:lnTo>
                        <a:pt x="67308" y="73160"/>
                      </a:lnTo>
                      <a:lnTo>
                        <a:pt x="65353" y="74130"/>
                      </a:lnTo>
                      <a:lnTo>
                        <a:pt x="64000" y="75597"/>
                      </a:lnTo>
                      <a:lnTo>
                        <a:pt x="62745" y="75923"/>
                      </a:lnTo>
                      <a:lnTo>
                        <a:pt x="59371" y="79395"/>
                      </a:lnTo>
                      <a:lnTo>
                        <a:pt x="58768" y="80764"/>
                      </a:lnTo>
                      <a:lnTo>
                        <a:pt x="55043" y="81367"/>
                      </a:lnTo>
                      <a:lnTo>
                        <a:pt x="54628" y="82247"/>
                      </a:lnTo>
                      <a:lnTo>
                        <a:pt x="50724" y="80324"/>
                      </a:lnTo>
                      <a:lnTo>
                        <a:pt x="45484" y="78474"/>
                      </a:lnTo>
                      <a:lnTo>
                        <a:pt x="42982" y="79672"/>
                      </a:lnTo>
                      <a:lnTo>
                        <a:pt x="42460" y="80658"/>
                      </a:lnTo>
                      <a:lnTo>
                        <a:pt x="46233" y="80968"/>
                      </a:lnTo>
                      <a:lnTo>
                        <a:pt x="46967" y="81783"/>
                      </a:lnTo>
                      <a:lnTo>
                        <a:pt x="45296" y="82157"/>
                      </a:lnTo>
                      <a:lnTo>
                        <a:pt x="44245" y="83070"/>
                      </a:lnTo>
                      <a:lnTo>
                        <a:pt x="44229" y="84431"/>
                      </a:lnTo>
                      <a:lnTo>
                        <a:pt x="44562" y="86069"/>
                      </a:lnTo>
                      <a:lnTo>
                        <a:pt x="43381" y="86387"/>
                      </a:lnTo>
                      <a:lnTo>
                        <a:pt x="41824" y="86509"/>
                      </a:lnTo>
                      <a:lnTo>
                        <a:pt x="41457" y="87797"/>
                      </a:lnTo>
                      <a:lnTo>
                        <a:pt x="38882" y="89500"/>
                      </a:lnTo>
                      <a:lnTo>
                        <a:pt x="37448" y="90682"/>
                      </a:lnTo>
                      <a:lnTo>
                        <a:pt x="35932" y="91513"/>
                      </a:lnTo>
                      <a:lnTo>
                        <a:pt x="36299" y="92247"/>
                      </a:lnTo>
                      <a:lnTo>
                        <a:pt x="39208" y="92214"/>
                      </a:lnTo>
                      <a:lnTo>
                        <a:pt x="43267" y="91432"/>
                      </a:lnTo>
                      <a:lnTo>
                        <a:pt x="43805" y="90772"/>
                      </a:lnTo>
                      <a:lnTo>
                        <a:pt x="45076" y="91416"/>
                      </a:lnTo>
                      <a:lnTo>
                        <a:pt x="47717" y="93624"/>
                      </a:lnTo>
                      <a:lnTo>
                        <a:pt x="48866" y="95653"/>
                      </a:lnTo>
                      <a:lnTo>
                        <a:pt x="46910" y="97389"/>
                      </a:lnTo>
                      <a:lnTo>
                        <a:pt x="42501" y="99101"/>
                      </a:lnTo>
                      <a:lnTo>
                        <a:pt x="36274" y="101855"/>
                      </a:lnTo>
                      <a:lnTo>
                        <a:pt x="34604" y="102393"/>
                      </a:lnTo>
                      <a:lnTo>
                        <a:pt x="27057" y="102410"/>
                      </a:lnTo>
                      <a:lnTo>
                        <a:pt x="26038" y="102890"/>
                      </a:lnTo>
                      <a:lnTo>
                        <a:pt x="25337" y="102385"/>
                      </a:lnTo>
                      <a:lnTo>
                        <a:pt x="24685" y="101024"/>
                      </a:lnTo>
                      <a:lnTo>
                        <a:pt x="24433" y="99280"/>
                      </a:lnTo>
                      <a:lnTo>
                        <a:pt x="26503" y="98033"/>
                      </a:lnTo>
                      <a:lnTo>
                        <a:pt x="29412" y="98424"/>
                      </a:lnTo>
                      <a:lnTo>
                        <a:pt x="31621" y="99451"/>
                      </a:lnTo>
                      <a:lnTo>
                        <a:pt x="32256" y="99027"/>
                      </a:lnTo>
                      <a:lnTo>
                        <a:pt x="31670" y="98025"/>
                      </a:lnTo>
                      <a:lnTo>
                        <a:pt x="29151" y="96199"/>
                      </a:lnTo>
                      <a:lnTo>
                        <a:pt x="23927" y="95433"/>
                      </a:lnTo>
                      <a:lnTo>
                        <a:pt x="19356" y="96232"/>
                      </a:lnTo>
                      <a:lnTo>
                        <a:pt x="18051" y="96982"/>
                      </a:lnTo>
                      <a:lnTo>
                        <a:pt x="15427" y="96346"/>
                      </a:lnTo>
                      <a:lnTo>
                        <a:pt x="12624" y="95140"/>
                      </a:lnTo>
                      <a:lnTo>
                        <a:pt x="13276" y="94708"/>
                      </a:lnTo>
                      <a:lnTo>
                        <a:pt x="13341" y="93681"/>
                      </a:lnTo>
                      <a:lnTo>
                        <a:pt x="11670" y="92451"/>
                      </a:lnTo>
                      <a:lnTo>
                        <a:pt x="10065" y="92312"/>
                      </a:lnTo>
                      <a:lnTo>
                        <a:pt x="9250" y="92516"/>
                      </a:lnTo>
                      <a:lnTo>
                        <a:pt x="9119" y="90315"/>
                      </a:lnTo>
                      <a:lnTo>
                        <a:pt x="9991" y="88107"/>
                      </a:lnTo>
                      <a:lnTo>
                        <a:pt x="9340" y="86697"/>
                      </a:lnTo>
                      <a:lnTo>
                        <a:pt x="9926" y="86069"/>
                      </a:lnTo>
                      <a:lnTo>
                        <a:pt x="9877" y="83095"/>
                      </a:lnTo>
                      <a:lnTo>
                        <a:pt x="9396" y="79191"/>
                      </a:lnTo>
                      <a:lnTo>
                        <a:pt x="10701" y="77594"/>
                      </a:lnTo>
                      <a:lnTo>
                        <a:pt x="10651" y="80063"/>
                      </a:lnTo>
                      <a:lnTo>
                        <a:pt x="10937" y="81481"/>
                      </a:lnTo>
                      <a:lnTo>
                        <a:pt x="11434" y="84170"/>
                      </a:lnTo>
                      <a:lnTo>
                        <a:pt x="13919" y="84456"/>
                      </a:lnTo>
                      <a:lnTo>
                        <a:pt x="14352" y="83836"/>
                      </a:lnTo>
                      <a:lnTo>
                        <a:pt x="14254" y="83388"/>
                      </a:lnTo>
                      <a:lnTo>
                        <a:pt x="14221" y="81375"/>
                      </a:lnTo>
                      <a:lnTo>
                        <a:pt x="14653" y="80609"/>
                      </a:lnTo>
                      <a:lnTo>
                        <a:pt x="14906" y="81351"/>
                      </a:lnTo>
                      <a:lnTo>
                        <a:pt x="15321" y="82280"/>
                      </a:lnTo>
                      <a:lnTo>
                        <a:pt x="17245" y="82109"/>
                      </a:lnTo>
                      <a:lnTo>
                        <a:pt x="19029" y="81082"/>
                      </a:lnTo>
                      <a:lnTo>
                        <a:pt x="19364" y="79884"/>
                      </a:lnTo>
                      <a:lnTo>
                        <a:pt x="21336" y="79069"/>
                      </a:lnTo>
                      <a:lnTo>
                        <a:pt x="21719" y="77887"/>
                      </a:lnTo>
                      <a:lnTo>
                        <a:pt x="20032" y="76045"/>
                      </a:lnTo>
                      <a:lnTo>
                        <a:pt x="17978" y="74684"/>
                      </a:lnTo>
                      <a:lnTo>
                        <a:pt x="17530" y="74008"/>
                      </a:lnTo>
                      <a:lnTo>
                        <a:pt x="18068" y="73193"/>
                      </a:lnTo>
                      <a:lnTo>
                        <a:pt x="22778" y="76159"/>
                      </a:lnTo>
                      <a:lnTo>
                        <a:pt x="24001" y="77439"/>
                      </a:lnTo>
                      <a:lnTo>
                        <a:pt x="25288" y="79036"/>
                      </a:lnTo>
                      <a:lnTo>
                        <a:pt x="25370" y="80259"/>
                      </a:lnTo>
                      <a:lnTo>
                        <a:pt x="25989" y="81302"/>
                      </a:lnTo>
                      <a:lnTo>
                        <a:pt x="27309" y="83404"/>
                      </a:lnTo>
                      <a:lnTo>
                        <a:pt x="28662" y="84977"/>
                      </a:lnTo>
                      <a:lnTo>
                        <a:pt x="29901" y="84496"/>
                      </a:lnTo>
                      <a:lnTo>
                        <a:pt x="30521" y="83429"/>
                      </a:lnTo>
                      <a:lnTo>
                        <a:pt x="30969" y="83355"/>
                      </a:lnTo>
                      <a:lnTo>
                        <a:pt x="31906" y="83633"/>
                      </a:lnTo>
                      <a:lnTo>
                        <a:pt x="33129" y="80495"/>
                      </a:lnTo>
                      <a:lnTo>
                        <a:pt x="33462" y="76665"/>
                      </a:lnTo>
                      <a:lnTo>
                        <a:pt x="33813" y="75483"/>
                      </a:lnTo>
                      <a:lnTo>
                        <a:pt x="34897" y="75035"/>
                      </a:lnTo>
                      <a:lnTo>
                        <a:pt x="35745" y="75287"/>
                      </a:lnTo>
                      <a:lnTo>
                        <a:pt x="36478" y="75230"/>
                      </a:lnTo>
                      <a:lnTo>
                        <a:pt x="38295" y="74537"/>
                      </a:lnTo>
                      <a:lnTo>
                        <a:pt x="40699" y="71571"/>
                      </a:lnTo>
                      <a:lnTo>
                        <a:pt x="44008" y="72190"/>
                      </a:lnTo>
                      <a:lnTo>
                        <a:pt x="47334" y="72101"/>
                      </a:lnTo>
                      <a:lnTo>
                        <a:pt x="48165" y="71343"/>
                      </a:lnTo>
                      <a:lnTo>
                        <a:pt x="48132" y="70642"/>
                      </a:lnTo>
                      <a:lnTo>
                        <a:pt x="45614" y="69525"/>
                      </a:lnTo>
                      <a:lnTo>
                        <a:pt x="44612" y="68319"/>
                      </a:lnTo>
                      <a:lnTo>
                        <a:pt x="41702" y="65385"/>
                      </a:lnTo>
                      <a:lnTo>
                        <a:pt x="37912" y="62957"/>
                      </a:lnTo>
                      <a:lnTo>
                        <a:pt x="37325" y="62272"/>
                      </a:lnTo>
                      <a:lnTo>
                        <a:pt x="34702" y="61147"/>
                      </a:lnTo>
                      <a:lnTo>
                        <a:pt x="31499" y="61172"/>
                      </a:lnTo>
                      <a:lnTo>
                        <a:pt x="29461" y="60993"/>
                      </a:lnTo>
                      <a:lnTo>
                        <a:pt x="28125" y="60683"/>
                      </a:lnTo>
                      <a:lnTo>
                        <a:pt x="25484" y="59664"/>
                      </a:lnTo>
                      <a:lnTo>
                        <a:pt x="24832" y="58686"/>
                      </a:lnTo>
                      <a:lnTo>
                        <a:pt x="24913" y="55125"/>
                      </a:lnTo>
                      <a:lnTo>
                        <a:pt x="24482" y="52607"/>
                      </a:lnTo>
                      <a:lnTo>
                        <a:pt x="24278" y="51653"/>
                      </a:lnTo>
                      <a:lnTo>
                        <a:pt x="23675" y="50642"/>
                      </a:lnTo>
                      <a:lnTo>
                        <a:pt x="23471" y="49762"/>
                      </a:lnTo>
                      <a:lnTo>
                        <a:pt x="22371" y="47562"/>
                      </a:lnTo>
                      <a:lnTo>
                        <a:pt x="21271" y="47586"/>
                      </a:lnTo>
                      <a:lnTo>
                        <a:pt x="19380" y="48271"/>
                      </a:lnTo>
                      <a:lnTo>
                        <a:pt x="17343" y="48026"/>
                      </a:lnTo>
                      <a:lnTo>
                        <a:pt x="16103" y="48271"/>
                      </a:lnTo>
                      <a:lnTo>
                        <a:pt x="14686" y="46991"/>
                      </a:lnTo>
                      <a:lnTo>
                        <a:pt x="13919" y="45500"/>
                      </a:lnTo>
                      <a:lnTo>
                        <a:pt x="12933" y="44815"/>
                      </a:lnTo>
                      <a:lnTo>
                        <a:pt x="11630" y="45378"/>
                      </a:lnTo>
                      <a:lnTo>
                        <a:pt x="9910" y="45606"/>
                      </a:lnTo>
                      <a:lnTo>
                        <a:pt x="8394" y="44351"/>
                      </a:lnTo>
                      <a:lnTo>
                        <a:pt x="6943" y="42468"/>
                      </a:lnTo>
                      <a:lnTo>
                        <a:pt x="6462" y="41482"/>
                      </a:lnTo>
                      <a:lnTo>
                        <a:pt x="7277" y="41710"/>
                      </a:lnTo>
                      <a:lnTo>
                        <a:pt x="9853" y="43919"/>
                      </a:lnTo>
                      <a:lnTo>
                        <a:pt x="10953" y="43870"/>
                      </a:lnTo>
                      <a:lnTo>
                        <a:pt x="11255" y="42868"/>
                      </a:lnTo>
                      <a:lnTo>
                        <a:pt x="11776" y="42093"/>
                      </a:lnTo>
                      <a:lnTo>
                        <a:pt x="12412" y="41547"/>
                      </a:lnTo>
                      <a:lnTo>
                        <a:pt x="17408" y="44889"/>
                      </a:lnTo>
                      <a:lnTo>
                        <a:pt x="18573" y="44709"/>
                      </a:lnTo>
                      <a:lnTo>
                        <a:pt x="19144" y="44115"/>
                      </a:lnTo>
                      <a:lnTo>
                        <a:pt x="19127" y="43487"/>
                      </a:lnTo>
                      <a:lnTo>
                        <a:pt x="17595" y="40520"/>
                      </a:lnTo>
                      <a:lnTo>
                        <a:pt x="17864" y="36046"/>
                      </a:lnTo>
                      <a:lnTo>
                        <a:pt x="18598" y="35019"/>
                      </a:lnTo>
                      <a:lnTo>
                        <a:pt x="19046" y="34009"/>
                      </a:lnTo>
                      <a:lnTo>
                        <a:pt x="18630" y="31686"/>
                      </a:lnTo>
                      <a:lnTo>
                        <a:pt x="19062" y="29306"/>
                      </a:lnTo>
                      <a:lnTo>
                        <a:pt x="19494" y="27758"/>
                      </a:lnTo>
                      <a:lnTo>
                        <a:pt x="18695" y="27220"/>
                      </a:lnTo>
                      <a:lnTo>
                        <a:pt x="17929" y="27579"/>
                      </a:lnTo>
                      <a:lnTo>
                        <a:pt x="17081" y="28255"/>
                      </a:lnTo>
                      <a:lnTo>
                        <a:pt x="16495" y="29168"/>
                      </a:lnTo>
                      <a:lnTo>
                        <a:pt x="16413" y="30260"/>
                      </a:lnTo>
                      <a:lnTo>
                        <a:pt x="14775" y="29755"/>
                      </a:lnTo>
                      <a:lnTo>
                        <a:pt x="12803" y="28174"/>
                      </a:lnTo>
                      <a:lnTo>
                        <a:pt x="12233" y="26576"/>
                      </a:lnTo>
                      <a:lnTo>
                        <a:pt x="10701" y="24066"/>
                      </a:lnTo>
                      <a:lnTo>
                        <a:pt x="6878" y="20684"/>
                      </a:lnTo>
                      <a:lnTo>
                        <a:pt x="7359" y="20032"/>
                      </a:lnTo>
                      <a:lnTo>
                        <a:pt x="7644" y="19111"/>
                      </a:lnTo>
                      <a:lnTo>
                        <a:pt x="7310" y="17139"/>
                      </a:lnTo>
                      <a:lnTo>
                        <a:pt x="7408" y="14670"/>
                      </a:lnTo>
                      <a:lnTo>
                        <a:pt x="7310" y="12184"/>
                      </a:lnTo>
                      <a:lnTo>
                        <a:pt x="7815" y="11369"/>
                      </a:lnTo>
                      <a:lnTo>
                        <a:pt x="8630" y="11393"/>
                      </a:lnTo>
                      <a:lnTo>
                        <a:pt x="8459" y="10415"/>
                      </a:lnTo>
                      <a:lnTo>
                        <a:pt x="7253" y="8125"/>
                      </a:lnTo>
                      <a:lnTo>
                        <a:pt x="6870" y="6015"/>
                      </a:lnTo>
                      <a:lnTo>
                        <a:pt x="5868" y="3635"/>
                      </a:lnTo>
                      <a:lnTo>
                        <a:pt x="4213" y="2510"/>
                      </a:lnTo>
                      <a:lnTo>
                        <a:pt x="3464" y="2787"/>
                      </a:lnTo>
                      <a:lnTo>
                        <a:pt x="3031" y="3439"/>
                      </a:lnTo>
                      <a:lnTo>
                        <a:pt x="1499" y="2469"/>
                      </a:lnTo>
                      <a:lnTo>
                        <a:pt x="16" y="742"/>
                      </a:lnTo>
                      <a:lnTo>
                        <a:pt x="0" y="0"/>
                      </a:lnTo>
                      <a:lnTo>
                        <a:pt x="5313" y="1557"/>
                      </a:lnTo>
                      <a:lnTo>
                        <a:pt x="7065" y="2730"/>
                      </a:lnTo>
                      <a:lnTo>
                        <a:pt x="8321" y="5273"/>
                      </a:lnTo>
                      <a:lnTo>
                        <a:pt x="8337" y="6487"/>
                      </a:lnTo>
                      <a:lnTo>
                        <a:pt x="7734" y="6919"/>
                      </a:lnTo>
                      <a:lnTo>
                        <a:pt x="8720" y="8598"/>
                      </a:lnTo>
                      <a:lnTo>
                        <a:pt x="9885" y="9437"/>
                      </a:lnTo>
                      <a:lnTo>
                        <a:pt x="10904" y="9837"/>
                      </a:lnTo>
                      <a:lnTo>
                        <a:pt x="11524" y="11092"/>
                      </a:lnTo>
                      <a:lnTo>
                        <a:pt x="11124" y="12600"/>
                      </a:lnTo>
                      <a:lnTo>
                        <a:pt x="10888" y="15322"/>
                      </a:lnTo>
                      <a:lnTo>
                        <a:pt x="9070" y="18109"/>
                      </a:lnTo>
                      <a:lnTo>
                        <a:pt x="11409" y="21320"/>
                      </a:lnTo>
                      <a:lnTo>
                        <a:pt x="13414" y="23153"/>
                      </a:lnTo>
                      <a:lnTo>
                        <a:pt x="16373" y="24074"/>
                      </a:lnTo>
                      <a:lnTo>
                        <a:pt x="17522" y="23520"/>
                      </a:lnTo>
                      <a:lnTo>
                        <a:pt x="19290" y="24971"/>
                      </a:lnTo>
                      <a:lnTo>
                        <a:pt x="20455" y="25998"/>
                      </a:lnTo>
                      <a:lnTo>
                        <a:pt x="21621" y="26348"/>
                      </a:lnTo>
                      <a:lnTo>
                        <a:pt x="21719" y="24294"/>
                      </a:lnTo>
                      <a:lnTo>
                        <a:pt x="20782" y="21703"/>
                      </a:lnTo>
                      <a:lnTo>
                        <a:pt x="21564" y="20008"/>
                      </a:lnTo>
                      <a:lnTo>
                        <a:pt x="22615" y="20317"/>
                      </a:lnTo>
                      <a:lnTo>
                        <a:pt x="23569" y="21197"/>
                      </a:lnTo>
                      <a:lnTo>
                        <a:pt x="23634" y="22795"/>
                      </a:lnTo>
                      <a:lnTo>
                        <a:pt x="24555" y="23333"/>
                      </a:lnTo>
                      <a:lnTo>
                        <a:pt x="27465" y="22453"/>
                      </a:lnTo>
                      <a:lnTo>
                        <a:pt x="29967" y="23748"/>
                      </a:lnTo>
                      <a:lnTo>
                        <a:pt x="34245" y="22819"/>
                      </a:lnTo>
                      <a:lnTo>
                        <a:pt x="36062" y="22477"/>
                      </a:lnTo>
                      <a:lnTo>
                        <a:pt x="36013" y="23056"/>
                      </a:lnTo>
                      <a:lnTo>
                        <a:pt x="34979" y="24001"/>
                      </a:lnTo>
                      <a:lnTo>
                        <a:pt x="33830" y="24800"/>
                      </a:lnTo>
                      <a:lnTo>
                        <a:pt x="32077" y="25631"/>
                      </a:lnTo>
                      <a:lnTo>
                        <a:pt x="31156" y="26886"/>
                      </a:lnTo>
                      <a:lnTo>
                        <a:pt x="31955" y="29999"/>
                      </a:lnTo>
                      <a:lnTo>
                        <a:pt x="30904" y="31328"/>
                      </a:lnTo>
                      <a:lnTo>
                        <a:pt x="31034" y="32200"/>
                      </a:lnTo>
                      <a:lnTo>
                        <a:pt x="31800" y="33520"/>
                      </a:lnTo>
                      <a:lnTo>
                        <a:pt x="32583" y="35231"/>
                      </a:lnTo>
                      <a:lnTo>
                        <a:pt x="33251" y="36217"/>
                      </a:lnTo>
                      <a:lnTo>
                        <a:pt x="33984" y="36902"/>
                      </a:lnTo>
                      <a:lnTo>
                        <a:pt x="33903" y="37986"/>
                      </a:lnTo>
                      <a:lnTo>
                        <a:pt x="43536" y="43552"/>
                      </a:lnTo>
                      <a:lnTo>
                        <a:pt x="47146" y="46470"/>
                      </a:lnTo>
                      <a:lnTo>
                        <a:pt x="49615" y="49151"/>
                      </a:lnTo>
                      <a:lnTo>
                        <a:pt x="47415" y="49502"/>
                      </a:lnTo>
                      <a:lnTo>
                        <a:pt x="43690" y="47937"/>
                      </a:lnTo>
                      <a:lnTo>
                        <a:pt x="40463" y="45720"/>
                      </a:lnTo>
                      <a:lnTo>
                        <a:pt x="39648" y="44603"/>
                      </a:lnTo>
                      <a:lnTo>
                        <a:pt x="41352" y="44718"/>
                      </a:lnTo>
                      <a:lnTo>
                        <a:pt x="41115" y="43732"/>
                      </a:lnTo>
                      <a:lnTo>
                        <a:pt x="39281" y="42403"/>
                      </a:lnTo>
                      <a:lnTo>
                        <a:pt x="37847" y="41564"/>
                      </a:lnTo>
                      <a:lnTo>
                        <a:pt x="36445" y="41083"/>
                      </a:lnTo>
                      <a:lnTo>
                        <a:pt x="35761" y="41490"/>
                      </a:lnTo>
                      <a:lnTo>
                        <a:pt x="34123" y="41987"/>
                      </a:lnTo>
                      <a:lnTo>
                        <a:pt x="32583" y="44343"/>
                      </a:lnTo>
                      <a:lnTo>
                        <a:pt x="32077" y="46804"/>
                      </a:lnTo>
                      <a:lnTo>
                        <a:pt x="31539" y="47374"/>
                      </a:lnTo>
                      <a:lnTo>
                        <a:pt x="29885" y="47040"/>
                      </a:lnTo>
                      <a:lnTo>
                        <a:pt x="29967" y="45639"/>
                      </a:lnTo>
                      <a:lnTo>
                        <a:pt x="30781" y="43096"/>
                      </a:lnTo>
                      <a:lnTo>
                        <a:pt x="28760" y="36845"/>
                      </a:lnTo>
                      <a:lnTo>
                        <a:pt x="26837" y="35134"/>
                      </a:lnTo>
                      <a:lnTo>
                        <a:pt x="23610" y="35655"/>
                      </a:lnTo>
                      <a:lnTo>
                        <a:pt x="21539" y="37293"/>
                      </a:lnTo>
                      <a:lnTo>
                        <a:pt x="21287" y="38402"/>
                      </a:lnTo>
                      <a:lnTo>
                        <a:pt x="22436" y="39428"/>
                      </a:lnTo>
                      <a:lnTo>
                        <a:pt x="21368" y="41238"/>
                      </a:lnTo>
                      <a:lnTo>
                        <a:pt x="23520" y="43683"/>
                      </a:lnTo>
                      <a:lnTo>
                        <a:pt x="25256" y="47505"/>
                      </a:lnTo>
                      <a:lnTo>
                        <a:pt x="28344" y="48377"/>
                      </a:lnTo>
                      <a:lnTo>
                        <a:pt x="28410" y="49607"/>
                      </a:lnTo>
                      <a:lnTo>
                        <a:pt x="27138" y="51303"/>
                      </a:lnTo>
                      <a:lnTo>
                        <a:pt x="26437" y="52924"/>
                      </a:lnTo>
                      <a:lnTo>
                        <a:pt x="26625" y="54505"/>
                      </a:lnTo>
                      <a:lnTo>
                        <a:pt x="29029" y="55133"/>
                      </a:lnTo>
                      <a:lnTo>
                        <a:pt x="30936" y="54774"/>
                      </a:lnTo>
                      <a:lnTo>
                        <a:pt x="34213" y="54628"/>
                      </a:lnTo>
                      <a:lnTo>
                        <a:pt x="34228" y="53813"/>
                      </a:lnTo>
                      <a:lnTo>
                        <a:pt x="35394" y="53348"/>
                      </a:lnTo>
                      <a:lnTo>
                        <a:pt x="36242" y="54065"/>
                      </a:lnTo>
                      <a:lnTo>
                        <a:pt x="37431" y="55410"/>
                      </a:lnTo>
                      <a:lnTo>
                        <a:pt x="39901" y="56103"/>
                      </a:lnTo>
                      <a:lnTo>
                        <a:pt x="41400" y="56029"/>
                      </a:lnTo>
                      <a:lnTo>
                        <a:pt x="42452" y="53690"/>
                      </a:lnTo>
                      <a:lnTo>
                        <a:pt x="42990" y="53055"/>
                      </a:lnTo>
                      <a:lnTo>
                        <a:pt x="43992" y="52582"/>
                      </a:lnTo>
                      <a:lnTo>
                        <a:pt x="44709" y="51653"/>
                      </a:lnTo>
                      <a:lnTo>
                        <a:pt x="43927" y="50039"/>
                      </a:lnTo>
                      <a:lnTo>
                        <a:pt x="43878" y="49265"/>
                      </a:lnTo>
                      <a:lnTo>
                        <a:pt x="44546" y="49420"/>
                      </a:lnTo>
                      <a:lnTo>
                        <a:pt x="46331" y="50838"/>
                      </a:lnTo>
                      <a:lnTo>
                        <a:pt x="48067" y="54147"/>
                      </a:lnTo>
                      <a:lnTo>
                        <a:pt x="48955" y="55475"/>
                      </a:lnTo>
                      <a:lnTo>
                        <a:pt x="48491" y="56396"/>
                      </a:lnTo>
                      <a:lnTo>
                        <a:pt x="48124" y="57496"/>
                      </a:lnTo>
                      <a:lnTo>
                        <a:pt x="46853" y="57831"/>
                      </a:lnTo>
                      <a:lnTo>
                        <a:pt x="47839" y="59591"/>
                      </a:lnTo>
                      <a:lnTo>
                        <a:pt x="51563" y="59249"/>
                      </a:lnTo>
                      <a:lnTo>
                        <a:pt x="55622" y="58157"/>
                      </a:lnTo>
                      <a:lnTo>
                        <a:pt x="57073" y="57831"/>
                      </a:lnTo>
                      <a:lnTo>
                        <a:pt x="60349" y="58295"/>
                      </a:lnTo>
                      <a:lnTo>
                        <a:pt x="60732" y="57472"/>
                      </a:lnTo>
                      <a:lnTo>
                        <a:pt x="60903" y="56135"/>
                      </a:lnTo>
                      <a:lnTo>
                        <a:pt x="60055" y="55166"/>
                      </a:lnTo>
                      <a:lnTo>
                        <a:pt x="59558" y="53837"/>
                      </a:lnTo>
                      <a:lnTo>
                        <a:pt x="59558" y="52289"/>
                      </a:lnTo>
                      <a:lnTo>
                        <a:pt x="59036" y="50805"/>
                      </a:lnTo>
                      <a:lnTo>
                        <a:pt x="58718" y="48980"/>
                      </a:lnTo>
                      <a:lnTo>
                        <a:pt x="59517" y="47643"/>
                      </a:lnTo>
                      <a:lnTo>
                        <a:pt x="59599" y="45606"/>
                      </a:lnTo>
                      <a:lnTo>
                        <a:pt x="58645" y="42533"/>
                      </a:lnTo>
                      <a:lnTo>
                        <a:pt x="59077" y="40578"/>
                      </a:lnTo>
                      <a:lnTo>
                        <a:pt x="60462" y="40504"/>
                      </a:lnTo>
                      <a:lnTo>
                        <a:pt x="60895" y="41727"/>
                      </a:lnTo>
                      <a:lnTo>
                        <a:pt x="61180" y="43381"/>
                      </a:lnTo>
                      <a:lnTo>
                        <a:pt x="62631" y="43707"/>
                      </a:lnTo>
                      <a:lnTo>
                        <a:pt x="64798" y="45981"/>
                      </a:lnTo>
                      <a:lnTo>
                        <a:pt x="67691" y="47961"/>
                      </a:lnTo>
                      <a:lnTo>
                        <a:pt x="68294" y="47603"/>
                      </a:lnTo>
                      <a:lnTo>
                        <a:pt x="67341" y="46193"/>
                      </a:lnTo>
                      <a:lnTo>
                        <a:pt x="66771" y="44620"/>
                      </a:lnTo>
                      <a:lnTo>
                        <a:pt x="66868" y="43544"/>
                      </a:lnTo>
                      <a:lnTo>
                        <a:pt x="67455" y="42199"/>
                      </a:lnTo>
                      <a:lnTo>
                        <a:pt x="67855" y="40651"/>
                      </a:lnTo>
                      <a:lnTo>
                        <a:pt x="69460" y="40146"/>
                      </a:lnTo>
                      <a:lnTo>
                        <a:pt x="71400" y="41466"/>
                      </a:lnTo>
                      <a:lnTo>
                        <a:pt x="72622" y="43894"/>
                      </a:lnTo>
                      <a:lnTo>
                        <a:pt x="74122" y="46160"/>
                      </a:lnTo>
                      <a:lnTo>
                        <a:pt x="75124" y="47350"/>
                      </a:lnTo>
                      <a:lnTo>
                        <a:pt x="72867" y="49192"/>
                      </a:lnTo>
                      <a:lnTo>
                        <a:pt x="72052" y="50292"/>
                      </a:lnTo>
                      <a:lnTo>
                        <a:pt x="71815" y="51392"/>
                      </a:lnTo>
                      <a:lnTo>
                        <a:pt x="71229" y="52289"/>
                      </a:lnTo>
                      <a:lnTo>
                        <a:pt x="69223" y="52166"/>
                      </a:lnTo>
                      <a:lnTo>
                        <a:pt x="68042" y="52419"/>
                      </a:lnTo>
                      <a:lnTo>
                        <a:pt x="67545" y="53055"/>
                      </a:lnTo>
                      <a:lnTo>
                        <a:pt x="67023" y="54065"/>
                      </a:lnTo>
                      <a:lnTo>
                        <a:pt x="68229" y="55956"/>
                      </a:lnTo>
                      <a:lnTo>
                        <a:pt x="70201" y="56942"/>
                      </a:lnTo>
                      <a:lnTo>
                        <a:pt x="71774" y="56934"/>
                      </a:lnTo>
                      <a:lnTo>
                        <a:pt x="73828" y="57521"/>
                      </a:lnTo>
                      <a:lnTo>
                        <a:pt x="75980" y="58401"/>
                      </a:lnTo>
                      <a:lnTo>
                        <a:pt x="76501" y="59656"/>
                      </a:lnTo>
                      <a:lnTo>
                        <a:pt x="74749" y="60381"/>
                      </a:lnTo>
                      <a:lnTo>
                        <a:pt x="69721" y="58914"/>
                      </a:lnTo>
                      <a:lnTo>
                        <a:pt x="69216" y="59444"/>
                      </a:lnTo>
                      <a:lnTo>
                        <a:pt x="67195" y="59167"/>
                      </a:lnTo>
                      <a:lnTo>
                        <a:pt x="65018" y="60096"/>
                      </a:lnTo>
                      <a:close/>
                    </a:path>
                  </a:pathLst>
                </a:custGeom>
                <a:solidFill>
                  <a:srgbClr val="FFFFFF"/>
                </a:solidFill>
                <a:ln w="8150" cap="flat">
                  <a:noFill/>
                  <a:prstDash val="solid"/>
                  <a:miter/>
                </a:ln>
              </p:spPr>
              <p:txBody>
                <a:bodyPr rtlCol="0" anchor="ctr"/>
                <a:lstStyle/>
                <a:p>
                  <a:endParaRPr lang="en-US"/>
                </a:p>
              </p:txBody>
            </p:sp>
            <p:sp>
              <p:nvSpPr>
                <p:cNvPr id="410" name="Freeform: Shape 409">
                  <a:extLst>
                    <a:ext uri="{FF2B5EF4-FFF2-40B4-BE49-F238E27FC236}">
                      <a16:creationId xmlns:a16="http://schemas.microsoft.com/office/drawing/2014/main" id="{091BB3DA-E538-485D-84EF-688E1B366DE0}"/>
                    </a:ext>
                  </a:extLst>
                </p:cNvPr>
                <p:cNvSpPr/>
                <p:nvPr/>
              </p:nvSpPr>
              <p:spPr>
                <a:xfrm>
                  <a:off x="3835679" y="3045255"/>
                  <a:ext cx="126157" cy="124185"/>
                </a:xfrm>
                <a:custGeom>
                  <a:avLst/>
                  <a:gdLst>
                    <a:gd name="connsiteX0" fmla="*/ 10391 w 126157"/>
                    <a:gd name="connsiteY0" fmla="*/ 1117 h 124185"/>
                    <a:gd name="connsiteX1" fmla="*/ 13072 w 126157"/>
                    <a:gd name="connsiteY1" fmla="*/ 204 h 124185"/>
                    <a:gd name="connsiteX2" fmla="*/ 14816 w 126157"/>
                    <a:gd name="connsiteY2" fmla="*/ 0 h 124185"/>
                    <a:gd name="connsiteX3" fmla="*/ 15990 w 126157"/>
                    <a:gd name="connsiteY3" fmla="*/ 823 h 124185"/>
                    <a:gd name="connsiteX4" fmla="*/ 16764 w 126157"/>
                    <a:gd name="connsiteY4" fmla="*/ 1980 h 124185"/>
                    <a:gd name="connsiteX5" fmla="*/ 16845 w 126157"/>
                    <a:gd name="connsiteY5" fmla="*/ 3203 h 124185"/>
                    <a:gd name="connsiteX6" fmla="*/ 16291 w 126157"/>
                    <a:gd name="connsiteY6" fmla="*/ 4694 h 124185"/>
                    <a:gd name="connsiteX7" fmla="*/ 16226 w 126157"/>
                    <a:gd name="connsiteY7" fmla="*/ 6015 h 124185"/>
                    <a:gd name="connsiteX8" fmla="*/ 16650 w 126157"/>
                    <a:gd name="connsiteY8" fmla="*/ 7164 h 124185"/>
                    <a:gd name="connsiteX9" fmla="*/ 18092 w 126157"/>
                    <a:gd name="connsiteY9" fmla="*/ 7767 h 124185"/>
                    <a:gd name="connsiteX10" fmla="*/ 20562 w 126157"/>
                    <a:gd name="connsiteY10" fmla="*/ 7832 h 124185"/>
                    <a:gd name="connsiteX11" fmla="*/ 21866 w 126157"/>
                    <a:gd name="connsiteY11" fmla="*/ 8158 h 124185"/>
                    <a:gd name="connsiteX12" fmla="*/ 22330 w 126157"/>
                    <a:gd name="connsiteY12" fmla="*/ 9103 h 124185"/>
                    <a:gd name="connsiteX13" fmla="*/ 22836 w 126157"/>
                    <a:gd name="connsiteY13" fmla="*/ 9250 h 124185"/>
                    <a:gd name="connsiteX14" fmla="*/ 27350 w 126157"/>
                    <a:gd name="connsiteY14" fmla="*/ 9674 h 124185"/>
                    <a:gd name="connsiteX15" fmla="*/ 29037 w 126157"/>
                    <a:gd name="connsiteY15" fmla="*/ 10098 h 124185"/>
                    <a:gd name="connsiteX16" fmla="*/ 29551 w 126157"/>
                    <a:gd name="connsiteY16" fmla="*/ 10709 h 124185"/>
                    <a:gd name="connsiteX17" fmla="*/ 32346 w 126157"/>
                    <a:gd name="connsiteY17" fmla="*/ 11524 h 124185"/>
                    <a:gd name="connsiteX18" fmla="*/ 43096 w 126157"/>
                    <a:gd name="connsiteY18" fmla="*/ 13512 h 124185"/>
                    <a:gd name="connsiteX19" fmla="*/ 46339 w 126157"/>
                    <a:gd name="connsiteY19" fmla="*/ 13260 h 124185"/>
                    <a:gd name="connsiteX20" fmla="*/ 50691 w 126157"/>
                    <a:gd name="connsiteY20" fmla="*/ 12600 h 124185"/>
                    <a:gd name="connsiteX21" fmla="*/ 52069 w 126157"/>
                    <a:gd name="connsiteY21" fmla="*/ 13708 h 124185"/>
                    <a:gd name="connsiteX22" fmla="*/ 52696 w 126157"/>
                    <a:gd name="connsiteY22" fmla="*/ 13830 h 124185"/>
                    <a:gd name="connsiteX23" fmla="*/ 53707 w 126157"/>
                    <a:gd name="connsiteY23" fmla="*/ 13659 h 124185"/>
                    <a:gd name="connsiteX24" fmla="*/ 59843 w 126157"/>
                    <a:gd name="connsiteY24" fmla="*/ 13080 h 124185"/>
                    <a:gd name="connsiteX25" fmla="*/ 60642 w 126157"/>
                    <a:gd name="connsiteY25" fmla="*/ 14156 h 124185"/>
                    <a:gd name="connsiteX26" fmla="*/ 63666 w 126157"/>
                    <a:gd name="connsiteY26" fmla="*/ 15175 h 124185"/>
                    <a:gd name="connsiteX27" fmla="*/ 65654 w 126157"/>
                    <a:gd name="connsiteY27" fmla="*/ 15256 h 124185"/>
                    <a:gd name="connsiteX28" fmla="*/ 68230 w 126157"/>
                    <a:gd name="connsiteY28" fmla="*/ 15362 h 124185"/>
                    <a:gd name="connsiteX29" fmla="*/ 73079 w 126157"/>
                    <a:gd name="connsiteY29" fmla="*/ 15851 h 124185"/>
                    <a:gd name="connsiteX30" fmla="*/ 74252 w 126157"/>
                    <a:gd name="connsiteY30" fmla="*/ 16218 h 124185"/>
                    <a:gd name="connsiteX31" fmla="*/ 74342 w 126157"/>
                    <a:gd name="connsiteY31" fmla="*/ 17392 h 124185"/>
                    <a:gd name="connsiteX32" fmla="*/ 74350 w 126157"/>
                    <a:gd name="connsiteY32" fmla="*/ 17872 h 124185"/>
                    <a:gd name="connsiteX33" fmla="*/ 74717 w 126157"/>
                    <a:gd name="connsiteY33" fmla="*/ 17889 h 124185"/>
                    <a:gd name="connsiteX34" fmla="*/ 75295 w 126157"/>
                    <a:gd name="connsiteY34" fmla="*/ 17334 h 124185"/>
                    <a:gd name="connsiteX35" fmla="*/ 76249 w 126157"/>
                    <a:gd name="connsiteY35" fmla="*/ 17139 h 124185"/>
                    <a:gd name="connsiteX36" fmla="*/ 76925 w 126157"/>
                    <a:gd name="connsiteY36" fmla="*/ 16634 h 124185"/>
                    <a:gd name="connsiteX37" fmla="*/ 77308 w 126157"/>
                    <a:gd name="connsiteY37" fmla="*/ 15843 h 124185"/>
                    <a:gd name="connsiteX38" fmla="*/ 78074 w 126157"/>
                    <a:gd name="connsiteY38" fmla="*/ 15696 h 124185"/>
                    <a:gd name="connsiteX39" fmla="*/ 79827 w 126157"/>
                    <a:gd name="connsiteY39" fmla="*/ 16723 h 124185"/>
                    <a:gd name="connsiteX40" fmla="*/ 79900 w 126157"/>
                    <a:gd name="connsiteY40" fmla="*/ 17286 h 124185"/>
                    <a:gd name="connsiteX41" fmla="*/ 77455 w 126157"/>
                    <a:gd name="connsiteY41" fmla="*/ 18500 h 124185"/>
                    <a:gd name="connsiteX42" fmla="*/ 77724 w 126157"/>
                    <a:gd name="connsiteY42" fmla="*/ 19021 h 124185"/>
                    <a:gd name="connsiteX43" fmla="*/ 77862 w 126157"/>
                    <a:gd name="connsiteY43" fmla="*/ 19331 h 124185"/>
                    <a:gd name="connsiteX44" fmla="*/ 78523 w 126157"/>
                    <a:gd name="connsiteY44" fmla="*/ 19502 h 124185"/>
                    <a:gd name="connsiteX45" fmla="*/ 78580 w 126157"/>
                    <a:gd name="connsiteY45" fmla="*/ 20048 h 124185"/>
                    <a:gd name="connsiteX46" fmla="*/ 77781 w 126157"/>
                    <a:gd name="connsiteY46" fmla="*/ 20692 h 124185"/>
                    <a:gd name="connsiteX47" fmla="*/ 78539 w 126157"/>
                    <a:gd name="connsiteY47" fmla="*/ 21100 h 124185"/>
                    <a:gd name="connsiteX48" fmla="*/ 80878 w 126157"/>
                    <a:gd name="connsiteY48" fmla="*/ 20171 h 124185"/>
                    <a:gd name="connsiteX49" fmla="*/ 82190 w 126157"/>
                    <a:gd name="connsiteY49" fmla="*/ 20122 h 124185"/>
                    <a:gd name="connsiteX50" fmla="*/ 85808 w 126157"/>
                    <a:gd name="connsiteY50" fmla="*/ 20839 h 124185"/>
                    <a:gd name="connsiteX51" fmla="*/ 87463 w 126157"/>
                    <a:gd name="connsiteY51" fmla="*/ 20839 h 124185"/>
                    <a:gd name="connsiteX52" fmla="*/ 88449 w 126157"/>
                    <a:gd name="connsiteY52" fmla="*/ 20244 h 124185"/>
                    <a:gd name="connsiteX53" fmla="*/ 88596 w 126157"/>
                    <a:gd name="connsiteY53" fmla="*/ 19706 h 124185"/>
                    <a:gd name="connsiteX54" fmla="*/ 89036 w 126157"/>
                    <a:gd name="connsiteY54" fmla="*/ 19364 h 124185"/>
                    <a:gd name="connsiteX55" fmla="*/ 89329 w 126157"/>
                    <a:gd name="connsiteY55" fmla="*/ 19511 h 124185"/>
                    <a:gd name="connsiteX56" fmla="*/ 89435 w 126157"/>
                    <a:gd name="connsiteY56" fmla="*/ 20220 h 124185"/>
                    <a:gd name="connsiteX57" fmla="*/ 89370 w 126157"/>
                    <a:gd name="connsiteY57" fmla="*/ 21523 h 124185"/>
                    <a:gd name="connsiteX58" fmla="*/ 90935 w 126157"/>
                    <a:gd name="connsiteY58" fmla="*/ 21988 h 124185"/>
                    <a:gd name="connsiteX59" fmla="*/ 94138 w 126157"/>
                    <a:gd name="connsiteY59" fmla="*/ 21629 h 124185"/>
                    <a:gd name="connsiteX60" fmla="*/ 96061 w 126157"/>
                    <a:gd name="connsiteY60" fmla="*/ 21654 h 124185"/>
                    <a:gd name="connsiteX61" fmla="*/ 97862 w 126157"/>
                    <a:gd name="connsiteY61" fmla="*/ 21654 h 124185"/>
                    <a:gd name="connsiteX62" fmla="*/ 98180 w 126157"/>
                    <a:gd name="connsiteY62" fmla="*/ 21955 h 124185"/>
                    <a:gd name="connsiteX63" fmla="*/ 98636 w 126157"/>
                    <a:gd name="connsiteY63" fmla="*/ 22778 h 124185"/>
                    <a:gd name="connsiteX64" fmla="*/ 99997 w 126157"/>
                    <a:gd name="connsiteY64" fmla="*/ 24262 h 124185"/>
                    <a:gd name="connsiteX65" fmla="*/ 100454 w 126157"/>
                    <a:gd name="connsiteY65" fmla="*/ 24922 h 124185"/>
                    <a:gd name="connsiteX66" fmla="*/ 100877 w 126157"/>
                    <a:gd name="connsiteY66" fmla="*/ 26430 h 124185"/>
                    <a:gd name="connsiteX67" fmla="*/ 101872 w 126157"/>
                    <a:gd name="connsiteY67" fmla="*/ 27334 h 124185"/>
                    <a:gd name="connsiteX68" fmla="*/ 102198 w 126157"/>
                    <a:gd name="connsiteY68" fmla="*/ 28149 h 124185"/>
                    <a:gd name="connsiteX69" fmla="*/ 102255 w 126157"/>
                    <a:gd name="connsiteY69" fmla="*/ 28850 h 124185"/>
                    <a:gd name="connsiteX70" fmla="*/ 102556 w 126157"/>
                    <a:gd name="connsiteY70" fmla="*/ 29551 h 124185"/>
                    <a:gd name="connsiteX71" fmla="*/ 103453 w 126157"/>
                    <a:gd name="connsiteY71" fmla="*/ 31148 h 124185"/>
                    <a:gd name="connsiteX72" fmla="*/ 104626 w 126157"/>
                    <a:gd name="connsiteY72" fmla="*/ 32281 h 124185"/>
                    <a:gd name="connsiteX73" fmla="*/ 105262 w 126157"/>
                    <a:gd name="connsiteY73" fmla="*/ 33251 h 124185"/>
                    <a:gd name="connsiteX74" fmla="*/ 105490 w 126157"/>
                    <a:gd name="connsiteY74" fmla="*/ 34400 h 124185"/>
                    <a:gd name="connsiteX75" fmla="*/ 106118 w 126157"/>
                    <a:gd name="connsiteY75" fmla="*/ 34856 h 124185"/>
                    <a:gd name="connsiteX76" fmla="*/ 107136 w 126157"/>
                    <a:gd name="connsiteY76" fmla="*/ 34604 h 124185"/>
                    <a:gd name="connsiteX77" fmla="*/ 107568 w 126157"/>
                    <a:gd name="connsiteY77" fmla="*/ 34123 h 124185"/>
                    <a:gd name="connsiteX78" fmla="*/ 107503 w 126157"/>
                    <a:gd name="connsiteY78" fmla="*/ 33161 h 124185"/>
                    <a:gd name="connsiteX79" fmla="*/ 107886 w 126157"/>
                    <a:gd name="connsiteY79" fmla="*/ 33349 h 124185"/>
                    <a:gd name="connsiteX80" fmla="*/ 108514 w 126157"/>
                    <a:gd name="connsiteY80" fmla="*/ 34971 h 124185"/>
                    <a:gd name="connsiteX81" fmla="*/ 108440 w 126157"/>
                    <a:gd name="connsiteY81" fmla="*/ 37546 h 124185"/>
                    <a:gd name="connsiteX82" fmla="*/ 108603 w 126157"/>
                    <a:gd name="connsiteY82" fmla="*/ 39037 h 124185"/>
                    <a:gd name="connsiteX83" fmla="*/ 109483 w 126157"/>
                    <a:gd name="connsiteY83" fmla="*/ 41107 h 124185"/>
                    <a:gd name="connsiteX84" fmla="*/ 110657 w 126157"/>
                    <a:gd name="connsiteY84" fmla="*/ 41670 h 124185"/>
                    <a:gd name="connsiteX85" fmla="*/ 111447 w 126157"/>
                    <a:gd name="connsiteY85" fmla="*/ 42485 h 124185"/>
                    <a:gd name="connsiteX86" fmla="*/ 113762 w 126157"/>
                    <a:gd name="connsiteY86" fmla="*/ 43055 h 124185"/>
                    <a:gd name="connsiteX87" fmla="*/ 113999 w 126157"/>
                    <a:gd name="connsiteY87" fmla="*/ 42892 h 124185"/>
                    <a:gd name="connsiteX88" fmla="*/ 113558 w 126157"/>
                    <a:gd name="connsiteY88" fmla="*/ 41547 h 124185"/>
                    <a:gd name="connsiteX89" fmla="*/ 113787 w 126157"/>
                    <a:gd name="connsiteY89" fmla="*/ 41197 h 124185"/>
                    <a:gd name="connsiteX90" fmla="*/ 114561 w 126157"/>
                    <a:gd name="connsiteY90" fmla="*/ 41115 h 124185"/>
                    <a:gd name="connsiteX91" fmla="*/ 115881 w 126157"/>
                    <a:gd name="connsiteY91" fmla="*/ 41303 h 124185"/>
                    <a:gd name="connsiteX92" fmla="*/ 116737 w 126157"/>
                    <a:gd name="connsiteY92" fmla="*/ 41963 h 124185"/>
                    <a:gd name="connsiteX93" fmla="*/ 117136 w 126157"/>
                    <a:gd name="connsiteY93" fmla="*/ 43096 h 124185"/>
                    <a:gd name="connsiteX94" fmla="*/ 116924 w 126157"/>
                    <a:gd name="connsiteY94" fmla="*/ 44555 h 124185"/>
                    <a:gd name="connsiteX95" fmla="*/ 115392 w 126157"/>
                    <a:gd name="connsiteY95" fmla="*/ 46030 h 124185"/>
                    <a:gd name="connsiteX96" fmla="*/ 115156 w 126157"/>
                    <a:gd name="connsiteY96" fmla="*/ 47293 h 124185"/>
                    <a:gd name="connsiteX97" fmla="*/ 115498 w 126157"/>
                    <a:gd name="connsiteY97" fmla="*/ 48075 h 124185"/>
                    <a:gd name="connsiteX98" fmla="*/ 115881 w 126157"/>
                    <a:gd name="connsiteY98" fmla="*/ 48222 h 124185"/>
                    <a:gd name="connsiteX99" fmla="*/ 116305 w 126157"/>
                    <a:gd name="connsiteY99" fmla="*/ 47725 h 124185"/>
                    <a:gd name="connsiteX100" fmla="*/ 116941 w 126157"/>
                    <a:gd name="connsiteY100" fmla="*/ 47969 h 124185"/>
                    <a:gd name="connsiteX101" fmla="*/ 117788 w 126157"/>
                    <a:gd name="connsiteY101" fmla="*/ 48955 h 124185"/>
                    <a:gd name="connsiteX102" fmla="*/ 118008 w 126157"/>
                    <a:gd name="connsiteY102" fmla="*/ 49746 h 124185"/>
                    <a:gd name="connsiteX103" fmla="*/ 117609 w 126157"/>
                    <a:gd name="connsiteY103" fmla="*/ 50349 h 124185"/>
                    <a:gd name="connsiteX104" fmla="*/ 116101 w 126157"/>
                    <a:gd name="connsiteY104" fmla="*/ 50691 h 124185"/>
                    <a:gd name="connsiteX105" fmla="*/ 116036 w 126157"/>
                    <a:gd name="connsiteY105" fmla="*/ 51294 h 124185"/>
                    <a:gd name="connsiteX106" fmla="*/ 117633 w 126157"/>
                    <a:gd name="connsiteY106" fmla="*/ 52607 h 124185"/>
                    <a:gd name="connsiteX107" fmla="*/ 118872 w 126157"/>
                    <a:gd name="connsiteY107" fmla="*/ 54351 h 124185"/>
                    <a:gd name="connsiteX108" fmla="*/ 119508 w 126157"/>
                    <a:gd name="connsiteY108" fmla="*/ 54530 h 124185"/>
                    <a:gd name="connsiteX109" fmla="*/ 119858 w 126157"/>
                    <a:gd name="connsiteY109" fmla="*/ 55092 h 124185"/>
                    <a:gd name="connsiteX110" fmla="*/ 119940 w 126157"/>
                    <a:gd name="connsiteY110" fmla="*/ 56029 h 124185"/>
                    <a:gd name="connsiteX111" fmla="*/ 120600 w 126157"/>
                    <a:gd name="connsiteY111" fmla="*/ 56657 h 124185"/>
                    <a:gd name="connsiteX112" fmla="*/ 122434 w 126157"/>
                    <a:gd name="connsiteY112" fmla="*/ 57358 h 124185"/>
                    <a:gd name="connsiteX113" fmla="*/ 123134 w 126157"/>
                    <a:gd name="connsiteY113" fmla="*/ 59167 h 124185"/>
                    <a:gd name="connsiteX114" fmla="*/ 123509 w 126157"/>
                    <a:gd name="connsiteY114" fmla="*/ 60235 h 124185"/>
                    <a:gd name="connsiteX115" fmla="*/ 123835 w 126157"/>
                    <a:gd name="connsiteY115" fmla="*/ 61457 h 124185"/>
                    <a:gd name="connsiteX116" fmla="*/ 124381 w 126157"/>
                    <a:gd name="connsiteY116" fmla="*/ 61596 h 124185"/>
                    <a:gd name="connsiteX117" fmla="*/ 124797 w 126157"/>
                    <a:gd name="connsiteY117" fmla="*/ 61017 h 124185"/>
                    <a:gd name="connsiteX118" fmla="*/ 124805 w 126157"/>
                    <a:gd name="connsiteY118" fmla="*/ 59933 h 124185"/>
                    <a:gd name="connsiteX119" fmla="*/ 125710 w 126157"/>
                    <a:gd name="connsiteY119" fmla="*/ 59501 h 124185"/>
                    <a:gd name="connsiteX120" fmla="*/ 125799 w 126157"/>
                    <a:gd name="connsiteY120" fmla="*/ 60072 h 124185"/>
                    <a:gd name="connsiteX121" fmla="*/ 125278 w 126157"/>
                    <a:gd name="connsiteY121" fmla="*/ 61392 h 124185"/>
                    <a:gd name="connsiteX122" fmla="*/ 125400 w 126157"/>
                    <a:gd name="connsiteY122" fmla="*/ 62443 h 124185"/>
                    <a:gd name="connsiteX123" fmla="*/ 126158 w 126157"/>
                    <a:gd name="connsiteY123" fmla="*/ 63226 h 124185"/>
                    <a:gd name="connsiteX124" fmla="*/ 125180 w 126157"/>
                    <a:gd name="connsiteY124" fmla="*/ 63503 h 124185"/>
                    <a:gd name="connsiteX125" fmla="*/ 122466 w 126157"/>
                    <a:gd name="connsiteY125" fmla="*/ 63258 h 124185"/>
                    <a:gd name="connsiteX126" fmla="*/ 121244 w 126157"/>
                    <a:gd name="connsiteY126" fmla="*/ 62191 h 124185"/>
                    <a:gd name="connsiteX127" fmla="*/ 120869 w 126157"/>
                    <a:gd name="connsiteY127" fmla="*/ 61808 h 124185"/>
                    <a:gd name="connsiteX128" fmla="*/ 120029 w 126157"/>
                    <a:gd name="connsiteY128" fmla="*/ 61685 h 124185"/>
                    <a:gd name="connsiteX129" fmla="*/ 119777 w 126157"/>
                    <a:gd name="connsiteY129" fmla="*/ 61311 h 124185"/>
                    <a:gd name="connsiteX130" fmla="*/ 120143 w 126157"/>
                    <a:gd name="connsiteY130" fmla="*/ 60227 h 124185"/>
                    <a:gd name="connsiteX131" fmla="*/ 119915 w 126157"/>
                    <a:gd name="connsiteY131" fmla="*/ 59933 h 124185"/>
                    <a:gd name="connsiteX132" fmla="*/ 118244 w 126157"/>
                    <a:gd name="connsiteY132" fmla="*/ 60186 h 124185"/>
                    <a:gd name="connsiteX133" fmla="*/ 116557 w 126157"/>
                    <a:gd name="connsiteY133" fmla="*/ 60968 h 124185"/>
                    <a:gd name="connsiteX134" fmla="*/ 115474 w 126157"/>
                    <a:gd name="connsiteY134" fmla="*/ 61914 h 124185"/>
                    <a:gd name="connsiteX135" fmla="*/ 115482 w 126157"/>
                    <a:gd name="connsiteY135" fmla="*/ 63006 h 124185"/>
                    <a:gd name="connsiteX136" fmla="*/ 116207 w 126157"/>
                    <a:gd name="connsiteY136" fmla="*/ 64138 h 124185"/>
                    <a:gd name="connsiteX137" fmla="*/ 117633 w 126157"/>
                    <a:gd name="connsiteY137" fmla="*/ 65320 h 124185"/>
                    <a:gd name="connsiteX138" fmla="*/ 118220 w 126157"/>
                    <a:gd name="connsiteY138" fmla="*/ 67325 h 124185"/>
                    <a:gd name="connsiteX139" fmla="*/ 117959 w 126157"/>
                    <a:gd name="connsiteY139" fmla="*/ 70145 h 124185"/>
                    <a:gd name="connsiteX140" fmla="*/ 117242 w 126157"/>
                    <a:gd name="connsiteY140" fmla="*/ 72044 h 124185"/>
                    <a:gd name="connsiteX141" fmla="*/ 116052 w 126157"/>
                    <a:gd name="connsiteY141" fmla="*/ 73022 h 124185"/>
                    <a:gd name="connsiteX142" fmla="*/ 112556 w 126157"/>
                    <a:gd name="connsiteY142" fmla="*/ 72313 h 124185"/>
                    <a:gd name="connsiteX143" fmla="*/ 106745 w 126157"/>
                    <a:gd name="connsiteY143" fmla="*/ 69925 h 124185"/>
                    <a:gd name="connsiteX144" fmla="*/ 103453 w 126157"/>
                    <a:gd name="connsiteY144" fmla="*/ 67798 h 124185"/>
                    <a:gd name="connsiteX145" fmla="*/ 102051 w 126157"/>
                    <a:gd name="connsiteY145" fmla="*/ 64905 h 124185"/>
                    <a:gd name="connsiteX146" fmla="*/ 101537 w 126157"/>
                    <a:gd name="connsiteY146" fmla="*/ 64709 h 124185"/>
                    <a:gd name="connsiteX147" fmla="*/ 98571 w 126157"/>
                    <a:gd name="connsiteY147" fmla="*/ 65646 h 124185"/>
                    <a:gd name="connsiteX148" fmla="*/ 96982 w 126157"/>
                    <a:gd name="connsiteY148" fmla="*/ 66844 h 124185"/>
                    <a:gd name="connsiteX149" fmla="*/ 95604 w 126157"/>
                    <a:gd name="connsiteY149" fmla="*/ 68539 h 124185"/>
                    <a:gd name="connsiteX150" fmla="*/ 95213 w 126157"/>
                    <a:gd name="connsiteY150" fmla="*/ 68010 h 124185"/>
                    <a:gd name="connsiteX151" fmla="*/ 95816 w 126157"/>
                    <a:gd name="connsiteY151" fmla="*/ 65239 h 124185"/>
                    <a:gd name="connsiteX152" fmla="*/ 96061 w 126157"/>
                    <a:gd name="connsiteY152" fmla="*/ 63519 h 124185"/>
                    <a:gd name="connsiteX153" fmla="*/ 95963 w 126157"/>
                    <a:gd name="connsiteY153" fmla="*/ 62826 h 124185"/>
                    <a:gd name="connsiteX154" fmla="*/ 95368 w 126157"/>
                    <a:gd name="connsiteY154" fmla="*/ 62272 h 124185"/>
                    <a:gd name="connsiteX155" fmla="*/ 94276 w 126157"/>
                    <a:gd name="connsiteY155" fmla="*/ 61840 h 124185"/>
                    <a:gd name="connsiteX156" fmla="*/ 92817 w 126157"/>
                    <a:gd name="connsiteY156" fmla="*/ 62077 h 124185"/>
                    <a:gd name="connsiteX157" fmla="*/ 90633 w 126157"/>
                    <a:gd name="connsiteY157" fmla="*/ 63372 h 124185"/>
                    <a:gd name="connsiteX158" fmla="*/ 90136 w 126157"/>
                    <a:gd name="connsiteY158" fmla="*/ 63218 h 124185"/>
                    <a:gd name="connsiteX159" fmla="*/ 90193 w 126157"/>
                    <a:gd name="connsiteY159" fmla="*/ 62769 h 124185"/>
                    <a:gd name="connsiteX160" fmla="*/ 92459 w 126157"/>
                    <a:gd name="connsiteY160" fmla="*/ 60650 h 124185"/>
                    <a:gd name="connsiteX161" fmla="*/ 93200 w 126157"/>
                    <a:gd name="connsiteY161" fmla="*/ 59477 h 124185"/>
                    <a:gd name="connsiteX162" fmla="*/ 93209 w 126157"/>
                    <a:gd name="connsiteY162" fmla="*/ 58409 h 124185"/>
                    <a:gd name="connsiteX163" fmla="*/ 93543 w 126157"/>
                    <a:gd name="connsiteY163" fmla="*/ 57439 h 124185"/>
                    <a:gd name="connsiteX164" fmla="*/ 94195 w 126157"/>
                    <a:gd name="connsiteY164" fmla="*/ 56584 h 124185"/>
                    <a:gd name="connsiteX165" fmla="*/ 94032 w 126157"/>
                    <a:gd name="connsiteY165" fmla="*/ 56201 h 124185"/>
                    <a:gd name="connsiteX166" fmla="*/ 93054 w 126157"/>
                    <a:gd name="connsiteY166" fmla="*/ 56282 h 124185"/>
                    <a:gd name="connsiteX167" fmla="*/ 92556 w 126157"/>
                    <a:gd name="connsiteY167" fmla="*/ 56649 h 124185"/>
                    <a:gd name="connsiteX168" fmla="*/ 91513 w 126157"/>
                    <a:gd name="connsiteY168" fmla="*/ 58165 h 124185"/>
                    <a:gd name="connsiteX169" fmla="*/ 90030 w 126157"/>
                    <a:gd name="connsiteY169" fmla="*/ 58026 h 124185"/>
                    <a:gd name="connsiteX170" fmla="*/ 89843 w 126157"/>
                    <a:gd name="connsiteY170" fmla="*/ 57676 h 124185"/>
                    <a:gd name="connsiteX171" fmla="*/ 90242 w 126157"/>
                    <a:gd name="connsiteY171" fmla="*/ 56812 h 124185"/>
                    <a:gd name="connsiteX172" fmla="*/ 89916 w 126157"/>
                    <a:gd name="connsiteY172" fmla="*/ 56266 h 124185"/>
                    <a:gd name="connsiteX173" fmla="*/ 88873 w 126157"/>
                    <a:gd name="connsiteY173" fmla="*/ 56046 h 124185"/>
                    <a:gd name="connsiteX174" fmla="*/ 88539 w 126157"/>
                    <a:gd name="connsiteY174" fmla="*/ 55051 h 124185"/>
                    <a:gd name="connsiteX175" fmla="*/ 88196 w 126157"/>
                    <a:gd name="connsiteY175" fmla="*/ 54840 h 124185"/>
                    <a:gd name="connsiteX176" fmla="*/ 86909 w 126157"/>
                    <a:gd name="connsiteY176" fmla="*/ 54155 h 124185"/>
                    <a:gd name="connsiteX177" fmla="*/ 86786 w 126157"/>
                    <a:gd name="connsiteY177" fmla="*/ 52297 h 124185"/>
                    <a:gd name="connsiteX178" fmla="*/ 86346 w 126157"/>
                    <a:gd name="connsiteY178" fmla="*/ 50797 h 124185"/>
                    <a:gd name="connsiteX179" fmla="*/ 85589 w 126157"/>
                    <a:gd name="connsiteY179" fmla="*/ 49656 h 124185"/>
                    <a:gd name="connsiteX180" fmla="*/ 85507 w 126157"/>
                    <a:gd name="connsiteY180" fmla="*/ 48515 h 124185"/>
                    <a:gd name="connsiteX181" fmla="*/ 86265 w 126157"/>
                    <a:gd name="connsiteY181" fmla="*/ 46665 h 124185"/>
                    <a:gd name="connsiteX182" fmla="*/ 85980 w 126157"/>
                    <a:gd name="connsiteY182" fmla="*/ 46405 h 124185"/>
                    <a:gd name="connsiteX183" fmla="*/ 83421 w 126157"/>
                    <a:gd name="connsiteY183" fmla="*/ 46160 h 124185"/>
                    <a:gd name="connsiteX184" fmla="*/ 78563 w 126157"/>
                    <a:gd name="connsiteY184" fmla="*/ 45940 h 124185"/>
                    <a:gd name="connsiteX185" fmla="*/ 76037 w 126157"/>
                    <a:gd name="connsiteY185" fmla="*/ 46315 h 124185"/>
                    <a:gd name="connsiteX186" fmla="*/ 75825 w 126157"/>
                    <a:gd name="connsiteY186" fmla="*/ 47293 h 124185"/>
                    <a:gd name="connsiteX187" fmla="*/ 76396 w 126157"/>
                    <a:gd name="connsiteY187" fmla="*/ 48018 h 124185"/>
                    <a:gd name="connsiteX188" fmla="*/ 77740 w 126157"/>
                    <a:gd name="connsiteY188" fmla="*/ 48499 h 124185"/>
                    <a:gd name="connsiteX189" fmla="*/ 78694 w 126157"/>
                    <a:gd name="connsiteY189" fmla="*/ 49314 h 124185"/>
                    <a:gd name="connsiteX190" fmla="*/ 79012 w 126157"/>
                    <a:gd name="connsiteY190" fmla="*/ 50031 h 124185"/>
                    <a:gd name="connsiteX191" fmla="*/ 79900 w 126157"/>
                    <a:gd name="connsiteY191" fmla="*/ 50748 h 124185"/>
                    <a:gd name="connsiteX192" fmla="*/ 80943 w 126157"/>
                    <a:gd name="connsiteY192" fmla="*/ 52281 h 124185"/>
                    <a:gd name="connsiteX193" fmla="*/ 82133 w 126157"/>
                    <a:gd name="connsiteY193" fmla="*/ 54603 h 124185"/>
                    <a:gd name="connsiteX194" fmla="*/ 83021 w 126157"/>
                    <a:gd name="connsiteY194" fmla="*/ 55573 h 124185"/>
                    <a:gd name="connsiteX195" fmla="*/ 83975 w 126157"/>
                    <a:gd name="connsiteY195" fmla="*/ 55687 h 124185"/>
                    <a:gd name="connsiteX196" fmla="*/ 84513 w 126157"/>
                    <a:gd name="connsiteY196" fmla="*/ 55915 h 124185"/>
                    <a:gd name="connsiteX197" fmla="*/ 84439 w 126157"/>
                    <a:gd name="connsiteY197" fmla="*/ 58254 h 124185"/>
                    <a:gd name="connsiteX198" fmla="*/ 84871 w 126157"/>
                    <a:gd name="connsiteY198" fmla="*/ 59689 h 124185"/>
                    <a:gd name="connsiteX199" fmla="*/ 85890 w 126157"/>
                    <a:gd name="connsiteY199" fmla="*/ 61017 h 124185"/>
                    <a:gd name="connsiteX200" fmla="*/ 86428 w 126157"/>
                    <a:gd name="connsiteY200" fmla="*/ 62492 h 124185"/>
                    <a:gd name="connsiteX201" fmla="*/ 86371 w 126157"/>
                    <a:gd name="connsiteY201" fmla="*/ 65068 h 124185"/>
                    <a:gd name="connsiteX202" fmla="*/ 86444 w 126157"/>
                    <a:gd name="connsiteY202" fmla="*/ 67610 h 124185"/>
                    <a:gd name="connsiteX203" fmla="*/ 85955 w 126157"/>
                    <a:gd name="connsiteY203" fmla="*/ 69256 h 124185"/>
                    <a:gd name="connsiteX204" fmla="*/ 84602 w 126157"/>
                    <a:gd name="connsiteY204" fmla="*/ 71155 h 124185"/>
                    <a:gd name="connsiteX205" fmla="*/ 83738 w 126157"/>
                    <a:gd name="connsiteY205" fmla="*/ 72745 h 124185"/>
                    <a:gd name="connsiteX206" fmla="*/ 83355 w 126157"/>
                    <a:gd name="connsiteY206" fmla="*/ 74016 h 124185"/>
                    <a:gd name="connsiteX207" fmla="*/ 82638 w 126157"/>
                    <a:gd name="connsiteY207" fmla="*/ 74855 h 124185"/>
                    <a:gd name="connsiteX208" fmla="*/ 81571 w 126157"/>
                    <a:gd name="connsiteY208" fmla="*/ 75271 h 124185"/>
                    <a:gd name="connsiteX209" fmla="*/ 80470 w 126157"/>
                    <a:gd name="connsiteY209" fmla="*/ 76167 h 124185"/>
                    <a:gd name="connsiteX210" fmla="*/ 79321 w 126157"/>
                    <a:gd name="connsiteY210" fmla="*/ 77537 h 124185"/>
                    <a:gd name="connsiteX211" fmla="*/ 78580 w 126157"/>
                    <a:gd name="connsiteY211" fmla="*/ 79240 h 124185"/>
                    <a:gd name="connsiteX212" fmla="*/ 78237 w 126157"/>
                    <a:gd name="connsiteY212" fmla="*/ 81277 h 124185"/>
                    <a:gd name="connsiteX213" fmla="*/ 77300 w 126157"/>
                    <a:gd name="connsiteY213" fmla="*/ 83372 h 124185"/>
                    <a:gd name="connsiteX214" fmla="*/ 75768 w 126157"/>
                    <a:gd name="connsiteY214" fmla="*/ 85523 h 124185"/>
                    <a:gd name="connsiteX215" fmla="*/ 75181 w 126157"/>
                    <a:gd name="connsiteY215" fmla="*/ 87976 h 124185"/>
                    <a:gd name="connsiteX216" fmla="*/ 75524 w 126157"/>
                    <a:gd name="connsiteY216" fmla="*/ 90723 h 124185"/>
                    <a:gd name="connsiteX217" fmla="*/ 75573 w 126157"/>
                    <a:gd name="connsiteY217" fmla="*/ 102532 h 124185"/>
                    <a:gd name="connsiteX218" fmla="*/ 75850 w 126157"/>
                    <a:gd name="connsiteY218" fmla="*/ 105466 h 124185"/>
                    <a:gd name="connsiteX219" fmla="*/ 75662 w 126157"/>
                    <a:gd name="connsiteY219" fmla="*/ 108359 h 124185"/>
                    <a:gd name="connsiteX220" fmla="*/ 75002 w 126157"/>
                    <a:gd name="connsiteY220" fmla="*/ 111228 h 124185"/>
                    <a:gd name="connsiteX221" fmla="*/ 73877 w 126157"/>
                    <a:gd name="connsiteY221" fmla="*/ 113461 h 124185"/>
                    <a:gd name="connsiteX222" fmla="*/ 72305 w 126157"/>
                    <a:gd name="connsiteY222" fmla="*/ 115091 h 124185"/>
                    <a:gd name="connsiteX223" fmla="*/ 70740 w 126157"/>
                    <a:gd name="connsiteY223" fmla="*/ 116289 h 124185"/>
                    <a:gd name="connsiteX224" fmla="*/ 69183 w 126157"/>
                    <a:gd name="connsiteY224" fmla="*/ 117055 h 124185"/>
                    <a:gd name="connsiteX225" fmla="*/ 67724 w 126157"/>
                    <a:gd name="connsiteY225" fmla="*/ 118359 h 124185"/>
                    <a:gd name="connsiteX226" fmla="*/ 66363 w 126157"/>
                    <a:gd name="connsiteY226" fmla="*/ 120192 h 124185"/>
                    <a:gd name="connsiteX227" fmla="*/ 64057 w 126157"/>
                    <a:gd name="connsiteY227" fmla="*/ 121847 h 124185"/>
                    <a:gd name="connsiteX228" fmla="*/ 60805 w 126157"/>
                    <a:gd name="connsiteY228" fmla="*/ 123289 h 124185"/>
                    <a:gd name="connsiteX229" fmla="*/ 58205 w 126157"/>
                    <a:gd name="connsiteY229" fmla="*/ 124186 h 124185"/>
                    <a:gd name="connsiteX230" fmla="*/ 57839 w 126157"/>
                    <a:gd name="connsiteY230" fmla="*/ 123460 h 124185"/>
                    <a:gd name="connsiteX231" fmla="*/ 57113 w 126157"/>
                    <a:gd name="connsiteY231" fmla="*/ 121985 h 124185"/>
                    <a:gd name="connsiteX232" fmla="*/ 55752 w 126157"/>
                    <a:gd name="connsiteY232" fmla="*/ 115107 h 124185"/>
                    <a:gd name="connsiteX233" fmla="*/ 53747 w 126157"/>
                    <a:gd name="connsiteY233" fmla="*/ 102801 h 124185"/>
                    <a:gd name="connsiteX234" fmla="*/ 52101 w 126157"/>
                    <a:gd name="connsiteY234" fmla="*/ 95156 h 124185"/>
                    <a:gd name="connsiteX235" fmla="*/ 50789 w 126157"/>
                    <a:gd name="connsiteY235" fmla="*/ 92206 h 124185"/>
                    <a:gd name="connsiteX236" fmla="*/ 49013 w 126157"/>
                    <a:gd name="connsiteY236" fmla="*/ 89957 h 124185"/>
                    <a:gd name="connsiteX237" fmla="*/ 46763 w 126157"/>
                    <a:gd name="connsiteY237" fmla="*/ 88425 h 124185"/>
                    <a:gd name="connsiteX238" fmla="*/ 45060 w 126157"/>
                    <a:gd name="connsiteY238" fmla="*/ 87748 h 124185"/>
                    <a:gd name="connsiteX239" fmla="*/ 43878 w 126157"/>
                    <a:gd name="connsiteY239" fmla="*/ 87952 h 124185"/>
                    <a:gd name="connsiteX240" fmla="*/ 42028 w 126157"/>
                    <a:gd name="connsiteY240" fmla="*/ 89199 h 124185"/>
                    <a:gd name="connsiteX241" fmla="*/ 38556 w 126157"/>
                    <a:gd name="connsiteY241" fmla="*/ 90299 h 124185"/>
                    <a:gd name="connsiteX242" fmla="*/ 37138 w 126157"/>
                    <a:gd name="connsiteY242" fmla="*/ 91024 h 124185"/>
                    <a:gd name="connsiteX243" fmla="*/ 36315 w 126157"/>
                    <a:gd name="connsiteY243" fmla="*/ 91994 h 124185"/>
                    <a:gd name="connsiteX244" fmla="*/ 35354 w 126157"/>
                    <a:gd name="connsiteY244" fmla="*/ 92557 h 124185"/>
                    <a:gd name="connsiteX245" fmla="*/ 34262 w 126157"/>
                    <a:gd name="connsiteY245" fmla="*/ 92728 h 124185"/>
                    <a:gd name="connsiteX246" fmla="*/ 34139 w 126157"/>
                    <a:gd name="connsiteY246" fmla="*/ 92988 h 124185"/>
                    <a:gd name="connsiteX247" fmla="*/ 34995 w 126157"/>
                    <a:gd name="connsiteY247" fmla="*/ 93347 h 124185"/>
                    <a:gd name="connsiteX248" fmla="*/ 34995 w 126157"/>
                    <a:gd name="connsiteY248" fmla="*/ 94284 h 124185"/>
                    <a:gd name="connsiteX249" fmla="*/ 32648 w 126157"/>
                    <a:gd name="connsiteY249" fmla="*/ 98490 h 124185"/>
                    <a:gd name="connsiteX250" fmla="*/ 32648 w 126157"/>
                    <a:gd name="connsiteY250" fmla="*/ 98490 h 124185"/>
                    <a:gd name="connsiteX251" fmla="*/ 32648 w 126157"/>
                    <a:gd name="connsiteY251" fmla="*/ 98490 h 124185"/>
                    <a:gd name="connsiteX252" fmla="*/ 32648 w 126157"/>
                    <a:gd name="connsiteY252" fmla="*/ 98490 h 124185"/>
                    <a:gd name="connsiteX253" fmla="*/ 32648 w 126157"/>
                    <a:gd name="connsiteY253" fmla="*/ 98490 h 124185"/>
                    <a:gd name="connsiteX254" fmla="*/ 32648 w 126157"/>
                    <a:gd name="connsiteY254" fmla="*/ 98490 h 124185"/>
                    <a:gd name="connsiteX255" fmla="*/ 32110 w 126157"/>
                    <a:gd name="connsiteY255" fmla="*/ 99451 h 124185"/>
                    <a:gd name="connsiteX256" fmla="*/ 30700 w 126157"/>
                    <a:gd name="connsiteY256" fmla="*/ 99794 h 124185"/>
                    <a:gd name="connsiteX257" fmla="*/ 29526 w 126157"/>
                    <a:gd name="connsiteY257" fmla="*/ 100617 h 124185"/>
                    <a:gd name="connsiteX258" fmla="*/ 28320 w 126157"/>
                    <a:gd name="connsiteY258" fmla="*/ 102736 h 124185"/>
                    <a:gd name="connsiteX259" fmla="*/ 27171 w 126157"/>
                    <a:gd name="connsiteY259" fmla="*/ 103265 h 124185"/>
                    <a:gd name="connsiteX260" fmla="*/ 25500 w 126157"/>
                    <a:gd name="connsiteY260" fmla="*/ 103070 h 124185"/>
                    <a:gd name="connsiteX261" fmla="*/ 22705 w 126157"/>
                    <a:gd name="connsiteY261" fmla="*/ 101790 h 124185"/>
                    <a:gd name="connsiteX262" fmla="*/ 21026 w 126157"/>
                    <a:gd name="connsiteY262" fmla="*/ 100511 h 124185"/>
                    <a:gd name="connsiteX263" fmla="*/ 20472 w 126157"/>
                    <a:gd name="connsiteY263" fmla="*/ 99223 h 124185"/>
                    <a:gd name="connsiteX264" fmla="*/ 20439 w 126157"/>
                    <a:gd name="connsiteY264" fmla="*/ 97683 h 124185"/>
                    <a:gd name="connsiteX265" fmla="*/ 20937 w 126157"/>
                    <a:gd name="connsiteY265" fmla="*/ 95874 h 124185"/>
                    <a:gd name="connsiteX266" fmla="*/ 20888 w 126157"/>
                    <a:gd name="connsiteY266" fmla="*/ 94423 h 124185"/>
                    <a:gd name="connsiteX267" fmla="*/ 21939 w 126157"/>
                    <a:gd name="connsiteY267" fmla="*/ 91399 h 124185"/>
                    <a:gd name="connsiteX268" fmla="*/ 23365 w 126157"/>
                    <a:gd name="connsiteY268" fmla="*/ 90315 h 124185"/>
                    <a:gd name="connsiteX269" fmla="*/ 25435 w 126157"/>
                    <a:gd name="connsiteY269" fmla="*/ 90071 h 124185"/>
                    <a:gd name="connsiteX270" fmla="*/ 26584 w 126157"/>
                    <a:gd name="connsiteY270" fmla="*/ 89582 h 124185"/>
                    <a:gd name="connsiteX271" fmla="*/ 26804 w 126157"/>
                    <a:gd name="connsiteY271" fmla="*/ 88873 h 124185"/>
                    <a:gd name="connsiteX272" fmla="*/ 27448 w 126157"/>
                    <a:gd name="connsiteY272" fmla="*/ 88359 h 124185"/>
                    <a:gd name="connsiteX273" fmla="*/ 28508 w 126157"/>
                    <a:gd name="connsiteY273" fmla="*/ 88066 h 124185"/>
                    <a:gd name="connsiteX274" fmla="*/ 29412 w 126157"/>
                    <a:gd name="connsiteY274" fmla="*/ 86143 h 124185"/>
                    <a:gd name="connsiteX275" fmla="*/ 30154 w 126157"/>
                    <a:gd name="connsiteY275" fmla="*/ 82606 h 124185"/>
                    <a:gd name="connsiteX276" fmla="*/ 31026 w 126157"/>
                    <a:gd name="connsiteY276" fmla="*/ 80658 h 124185"/>
                    <a:gd name="connsiteX277" fmla="*/ 31645 w 126157"/>
                    <a:gd name="connsiteY277" fmla="*/ 80316 h 124185"/>
                    <a:gd name="connsiteX278" fmla="*/ 32224 w 126157"/>
                    <a:gd name="connsiteY278" fmla="*/ 80430 h 124185"/>
                    <a:gd name="connsiteX279" fmla="*/ 32257 w 126157"/>
                    <a:gd name="connsiteY279" fmla="*/ 80862 h 124185"/>
                    <a:gd name="connsiteX280" fmla="*/ 34653 w 126157"/>
                    <a:gd name="connsiteY280" fmla="*/ 78588 h 124185"/>
                    <a:gd name="connsiteX281" fmla="*/ 35533 w 126157"/>
                    <a:gd name="connsiteY281" fmla="*/ 77015 h 124185"/>
                    <a:gd name="connsiteX282" fmla="*/ 35582 w 126157"/>
                    <a:gd name="connsiteY282" fmla="*/ 75393 h 124185"/>
                    <a:gd name="connsiteX283" fmla="*/ 35810 w 126157"/>
                    <a:gd name="connsiteY283" fmla="*/ 70666 h 124185"/>
                    <a:gd name="connsiteX284" fmla="*/ 36087 w 126157"/>
                    <a:gd name="connsiteY284" fmla="*/ 67618 h 124185"/>
                    <a:gd name="connsiteX285" fmla="*/ 36429 w 126157"/>
                    <a:gd name="connsiteY285" fmla="*/ 66233 h 124185"/>
                    <a:gd name="connsiteX286" fmla="*/ 36299 w 126157"/>
                    <a:gd name="connsiteY286" fmla="*/ 62663 h 124185"/>
                    <a:gd name="connsiteX287" fmla="*/ 35598 w 126157"/>
                    <a:gd name="connsiteY287" fmla="*/ 59713 h 124185"/>
                    <a:gd name="connsiteX288" fmla="*/ 32909 w 126157"/>
                    <a:gd name="connsiteY288" fmla="*/ 56486 h 124185"/>
                    <a:gd name="connsiteX289" fmla="*/ 32526 w 126157"/>
                    <a:gd name="connsiteY289" fmla="*/ 55418 h 124185"/>
                    <a:gd name="connsiteX290" fmla="*/ 32607 w 126157"/>
                    <a:gd name="connsiteY290" fmla="*/ 54269 h 124185"/>
                    <a:gd name="connsiteX291" fmla="*/ 33161 w 126157"/>
                    <a:gd name="connsiteY291" fmla="*/ 53071 h 124185"/>
                    <a:gd name="connsiteX292" fmla="*/ 34351 w 126157"/>
                    <a:gd name="connsiteY292" fmla="*/ 52794 h 124185"/>
                    <a:gd name="connsiteX293" fmla="*/ 36454 w 126157"/>
                    <a:gd name="connsiteY293" fmla="*/ 53731 h 124185"/>
                    <a:gd name="connsiteX294" fmla="*/ 36804 w 126157"/>
                    <a:gd name="connsiteY294" fmla="*/ 53503 h 124185"/>
                    <a:gd name="connsiteX295" fmla="*/ 36217 w 126157"/>
                    <a:gd name="connsiteY295" fmla="*/ 52965 h 124185"/>
                    <a:gd name="connsiteX296" fmla="*/ 35875 w 126157"/>
                    <a:gd name="connsiteY296" fmla="*/ 51881 h 124185"/>
                    <a:gd name="connsiteX297" fmla="*/ 35769 w 126157"/>
                    <a:gd name="connsiteY297" fmla="*/ 50276 h 124185"/>
                    <a:gd name="connsiteX298" fmla="*/ 35500 w 126157"/>
                    <a:gd name="connsiteY298" fmla="*/ 49387 h 124185"/>
                    <a:gd name="connsiteX299" fmla="*/ 35052 w 126157"/>
                    <a:gd name="connsiteY299" fmla="*/ 49224 h 124185"/>
                    <a:gd name="connsiteX300" fmla="*/ 33887 w 126157"/>
                    <a:gd name="connsiteY300" fmla="*/ 47383 h 124185"/>
                    <a:gd name="connsiteX301" fmla="*/ 33724 w 126157"/>
                    <a:gd name="connsiteY301" fmla="*/ 46437 h 124185"/>
                    <a:gd name="connsiteX302" fmla="*/ 33862 w 126157"/>
                    <a:gd name="connsiteY302" fmla="*/ 45549 h 124185"/>
                    <a:gd name="connsiteX303" fmla="*/ 33414 w 126157"/>
                    <a:gd name="connsiteY303" fmla="*/ 44652 h 124185"/>
                    <a:gd name="connsiteX304" fmla="*/ 31849 w 126157"/>
                    <a:gd name="connsiteY304" fmla="*/ 43259 h 124185"/>
                    <a:gd name="connsiteX305" fmla="*/ 28997 w 126157"/>
                    <a:gd name="connsiteY305" fmla="*/ 41833 h 124185"/>
                    <a:gd name="connsiteX306" fmla="*/ 22175 w 126157"/>
                    <a:gd name="connsiteY306" fmla="*/ 39119 h 124185"/>
                    <a:gd name="connsiteX307" fmla="*/ 20953 w 126157"/>
                    <a:gd name="connsiteY307" fmla="*/ 38076 h 124185"/>
                    <a:gd name="connsiteX308" fmla="*/ 19258 w 126157"/>
                    <a:gd name="connsiteY308" fmla="*/ 37456 h 124185"/>
                    <a:gd name="connsiteX309" fmla="*/ 17114 w 126157"/>
                    <a:gd name="connsiteY309" fmla="*/ 37269 h 124185"/>
                    <a:gd name="connsiteX310" fmla="*/ 15754 w 126157"/>
                    <a:gd name="connsiteY310" fmla="*/ 36446 h 124185"/>
                    <a:gd name="connsiteX311" fmla="*/ 15175 w 126157"/>
                    <a:gd name="connsiteY311" fmla="*/ 34987 h 124185"/>
                    <a:gd name="connsiteX312" fmla="*/ 14229 w 126157"/>
                    <a:gd name="connsiteY312" fmla="*/ 33675 h 124185"/>
                    <a:gd name="connsiteX313" fmla="*/ 12909 w 126157"/>
                    <a:gd name="connsiteY313" fmla="*/ 32501 h 124185"/>
                    <a:gd name="connsiteX314" fmla="*/ 10831 w 126157"/>
                    <a:gd name="connsiteY314" fmla="*/ 31727 h 124185"/>
                    <a:gd name="connsiteX315" fmla="*/ 7970 w 126157"/>
                    <a:gd name="connsiteY315" fmla="*/ 31377 h 124185"/>
                    <a:gd name="connsiteX316" fmla="*/ 4955 w 126157"/>
                    <a:gd name="connsiteY316" fmla="*/ 30105 h 124185"/>
                    <a:gd name="connsiteX317" fmla="*/ 1777 w 126157"/>
                    <a:gd name="connsiteY317" fmla="*/ 27937 h 124185"/>
                    <a:gd name="connsiteX318" fmla="*/ 0 w 126157"/>
                    <a:gd name="connsiteY318" fmla="*/ 27277 h 124185"/>
                    <a:gd name="connsiteX319" fmla="*/ 139 w 126157"/>
                    <a:gd name="connsiteY319" fmla="*/ 24792 h 124185"/>
                    <a:gd name="connsiteX320" fmla="*/ 872 w 126157"/>
                    <a:gd name="connsiteY320" fmla="*/ 24840 h 124185"/>
                    <a:gd name="connsiteX321" fmla="*/ 1222 w 126157"/>
                    <a:gd name="connsiteY321" fmla="*/ 24514 h 124185"/>
                    <a:gd name="connsiteX322" fmla="*/ 1239 w 126157"/>
                    <a:gd name="connsiteY322" fmla="*/ 24131 h 124185"/>
                    <a:gd name="connsiteX323" fmla="*/ 921 w 126157"/>
                    <a:gd name="connsiteY323" fmla="*/ 23659 h 124185"/>
                    <a:gd name="connsiteX324" fmla="*/ 1125 w 126157"/>
                    <a:gd name="connsiteY324" fmla="*/ 21939 h 124185"/>
                    <a:gd name="connsiteX325" fmla="*/ 929 w 126157"/>
                    <a:gd name="connsiteY325" fmla="*/ 21442 h 124185"/>
                    <a:gd name="connsiteX326" fmla="*/ 2176 w 126157"/>
                    <a:gd name="connsiteY326" fmla="*/ 18769 h 124185"/>
                    <a:gd name="connsiteX327" fmla="*/ 3244 w 126157"/>
                    <a:gd name="connsiteY327" fmla="*/ 18092 h 124185"/>
                    <a:gd name="connsiteX328" fmla="*/ 4482 w 126157"/>
                    <a:gd name="connsiteY328" fmla="*/ 18337 h 124185"/>
                    <a:gd name="connsiteX329" fmla="*/ 5273 w 126157"/>
                    <a:gd name="connsiteY329" fmla="*/ 18907 h 124185"/>
                    <a:gd name="connsiteX330" fmla="*/ 5599 w 126157"/>
                    <a:gd name="connsiteY330" fmla="*/ 19812 h 124185"/>
                    <a:gd name="connsiteX331" fmla="*/ 5982 w 126157"/>
                    <a:gd name="connsiteY331" fmla="*/ 20130 h 124185"/>
                    <a:gd name="connsiteX332" fmla="*/ 6756 w 126157"/>
                    <a:gd name="connsiteY332" fmla="*/ 20162 h 124185"/>
                    <a:gd name="connsiteX333" fmla="*/ 7188 w 126157"/>
                    <a:gd name="connsiteY333" fmla="*/ 20293 h 124185"/>
                    <a:gd name="connsiteX334" fmla="*/ 7432 w 126157"/>
                    <a:gd name="connsiteY334" fmla="*/ 20220 h 124185"/>
                    <a:gd name="connsiteX335" fmla="*/ 7815 w 126157"/>
                    <a:gd name="connsiteY335" fmla="*/ 19722 h 124185"/>
                    <a:gd name="connsiteX336" fmla="*/ 10456 w 126157"/>
                    <a:gd name="connsiteY336" fmla="*/ 19942 h 124185"/>
                    <a:gd name="connsiteX337" fmla="*/ 19437 w 126157"/>
                    <a:gd name="connsiteY337" fmla="*/ 21295 h 124185"/>
                    <a:gd name="connsiteX338" fmla="*/ 20668 w 126157"/>
                    <a:gd name="connsiteY338" fmla="*/ 21083 h 124185"/>
                    <a:gd name="connsiteX339" fmla="*/ 21369 w 126157"/>
                    <a:gd name="connsiteY339" fmla="*/ 20611 h 124185"/>
                    <a:gd name="connsiteX340" fmla="*/ 21540 w 126157"/>
                    <a:gd name="connsiteY340" fmla="*/ 19885 h 124185"/>
                    <a:gd name="connsiteX341" fmla="*/ 20961 w 126157"/>
                    <a:gd name="connsiteY341" fmla="*/ 19201 h 124185"/>
                    <a:gd name="connsiteX342" fmla="*/ 18614 w 126157"/>
                    <a:gd name="connsiteY342" fmla="*/ 17766 h 124185"/>
                    <a:gd name="connsiteX343" fmla="*/ 17905 w 126157"/>
                    <a:gd name="connsiteY343" fmla="*/ 16821 h 124185"/>
                    <a:gd name="connsiteX344" fmla="*/ 17718 w 126157"/>
                    <a:gd name="connsiteY344" fmla="*/ 15925 h 124185"/>
                    <a:gd name="connsiteX345" fmla="*/ 18060 w 126157"/>
                    <a:gd name="connsiteY345" fmla="*/ 15077 h 124185"/>
                    <a:gd name="connsiteX346" fmla="*/ 17554 w 126157"/>
                    <a:gd name="connsiteY346" fmla="*/ 14319 h 124185"/>
                    <a:gd name="connsiteX347" fmla="*/ 16218 w 126157"/>
                    <a:gd name="connsiteY347" fmla="*/ 13635 h 124185"/>
                    <a:gd name="connsiteX348" fmla="*/ 13284 w 126157"/>
                    <a:gd name="connsiteY348" fmla="*/ 13447 h 124185"/>
                    <a:gd name="connsiteX349" fmla="*/ 12763 w 126157"/>
                    <a:gd name="connsiteY349" fmla="*/ 12754 h 124185"/>
                    <a:gd name="connsiteX350" fmla="*/ 12999 w 126157"/>
                    <a:gd name="connsiteY350" fmla="*/ 12078 h 124185"/>
                    <a:gd name="connsiteX351" fmla="*/ 13863 w 126157"/>
                    <a:gd name="connsiteY351" fmla="*/ 11206 h 124185"/>
                    <a:gd name="connsiteX352" fmla="*/ 13895 w 126157"/>
                    <a:gd name="connsiteY352" fmla="*/ 9926 h 124185"/>
                    <a:gd name="connsiteX353" fmla="*/ 13618 w 126157"/>
                    <a:gd name="connsiteY353" fmla="*/ 9201 h 124185"/>
                    <a:gd name="connsiteX354" fmla="*/ 13227 w 126157"/>
                    <a:gd name="connsiteY354" fmla="*/ 7001 h 124185"/>
                    <a:gd name="connsiteX355" fmla="*/ 12591 w 126157"/>
                    <a:gd name="connsiteY355" fmla="*/ 5517 h 124185"/>
                    <a:gd name="connsiteX356" fmla="*/ 11304 w 126157"/>
                    <a:gd name="connsiteY356" fmla="*/ 3333 h 124185"/>
                    <a:gd name="connsiteX357" fmla="*/ 10790 w 126157"/>
                    <a:gd name="connsiteY357" fmla="*/ 2543 h 124185"/>
                    <a:gd name="connsiteX358" fmla="*/ 10032 w 126157"/>
                    <a:gd name="connsiteY358" fmla="*/ 2070 h 124185"/>
                    <a:gd name="connsiteX359" fmla="*/ 10391 w 126157"/>
                    <a:gd name="connsiteY359" fmla="*/ 1117 h 124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Lst>
                  <a:rect l="l" t="t" r="r" b="b"/>
                  <a:pathLst>
                    <a:path w="126157" h="124185">
                      <a:moveTo>
                        <a:pt x="10391" y="1117"/>
                      </a:moveTo>
                      <a:lnTo>
                        <a:pt x="13072" y="204"/>
                      </a:lnTo>
                      <a:lnTo>
                        <a:pt x="14816" y="0"/>
                      </a:lnTo>
                      <a:lnTo>
                        <a:pt x="15990" y="823"/>
                      </a:lnTo>
                      <a:lnTo>
                        <a:pt x="16764" y="1980"/>
                      </a:lnTo>
                      <a:lnTo>
                        <a:pt x="16845" y="3203"/>
                      </a:lnTo>
                      <a:lnTo>
                        <a:pt x="16291" y="4694"/>
                      </a:lnTo>
                      <a:lnTo>
                        <a:pt x="16226" y="6015"/>
                      </a:lnTo>
                      <a:lnTo>
                        <a:pt x="16650" y="7164"/>
                      </a:lnTo>
                      <a:lnTo>
                        <a:pt x="18092" y="7767"/>
                      </a:lnTo>
                      <a:lnTo>
                        <a:pt x="20562" y="7832"/>
                      </a:lnTo>
                      <a:lnTo>
                        <a:pt x="21866" y="8158"/>
                      </a:lnTo>
                      <a:lnTo>
                        <a:pt x="22330" y="9103"/>
                      </a:lnTo>
                      <a:lnTo>
                        <a:pt x="22836" y="9250"/>
                      </a:lnTo>
                      <a:lnTo>
                        <a:pt x="27350" y="9674"/>
                      </a:lnTo>
                      <a:lnTo>
                        <a:pt x="29037" y="10098"/>
                      </a:lnTo>
                      <a:lnTo>
                        <a:pt x="29551" y="10709"/>
                      </a:lnTo>
                      <a:lnTo>
                        <a:pt x="32346" y="11524"/>
                      </a:lnTo>
                      <a:lnTo>
                        <a:pt x="43096" y="13512"/>
                      </a:lnTo>
                      <a:lnTo>
                        <a:pt x="46339" y="13260"/>
                      </a:lnTo>
                      <a:lnTo>
                        <a:pt x="50691" y="12600"/>
                      </a:lnTo>
                      <a:lnTo>
                        <a:pt x="52069" y="13708"/>
                      </a:lnTo>
                      <a:lnTo>
                        <a:pt x="52696" y="13830"/>
                      </a:lnTo>
                      <a:lnTo>
                        <a:pt x="53707" y="13659"/>
                      </a:lnTo>
                      <a:lnTo>
                        <a:pt x="59843" y="13080"/>
                      </a:lnTo>
                      <a:lnTo>
                        <a:pt x="60642" y="14156"/>
                      </a:lnTo>
                      <a:lnTo>
                        <a:pt x="63666" y="15175"/>
                      </a:lnTo>
                      <a:lnTo>
                        <a:pt x="65654" y="15256"/>
                      </a:lnTo>
                      <a:lnTo>
                        <a:pt x="68230" y="15362"/>
                      </a:lnTo>
                      <a:lnTo>
                        <a:pt x="73079" y="15851"/>
                      </a:lnTo>
                      <a:lnTo>
                        <a:pt x="74252" y="16218"/>
                      </a:lnTo>
                      <a:lnTo>
                        <a:pt x="74342" y="17392"/>
                      </a:lnTo>
                      <a:lnTo>
                        <a:pt x="74350" y="17872"/>
                      </a:lnTo>
                      <a:lnTo>
                        <a:pt x="74717" y="17889"/>
                      </a:lnTo>
                      <a:lnTo>
                        <a:pt x="75295" y="17334"/>
                      </a:lnTo>
                      <a:lnTo>
                        <a:pt x="76249" y="17139"/>
                      </a:lnTo>
                      <a:lnTo>
                        <a:pt x="76925" y="16634"/>
                      </a:lnTo>
                      <a:lnTo>
                        <a:pt x="77308" y="15843"/>
                      </a:lnTo>
                      <a:lnTo>
                        <a:pt x="78074" y="15696"/>
                      </a:lnTo>
                      <a:lnTo>
                        <a:pt x="79827" y="16723"/>
                      </a:lnTo>
                      <a:lnTo>
                        <a:pt x="79900" y="17286"/>
                      </a:lnTo>
                      <a:lnTo>
                        <a:pt x="77455" y="18500"/>
                      </a:lnTo>
                      <a:lnTo>
                        <a:pt x="77724" y="19021"/>
                      </a:lnTo>
                      <a:lnTo>
                        <a:pt x="77862" y="19331"/>
                      </a:lnTo>
                      <a:lnTo>
                        <a:pt x="78523" y="19502"/>
                      </a:lnTo>
                      <a:lnTo>
                        <a:pt x="78580" y="20048"/>
                      </a:lnTo>
                      <a:lnTo>
                        <a:pt x="77781" y="20692"/>
                      </a:lnTo>
                      <a:lnTo>
                        <a:pt x="78539" y="21100"/>
                      </a:lnTo>
                      <a:lnTo>
                        <a:pt x="80878" y="20171"/>
                      </a:lnTo>
                      <a:lnTo>
                        <a:pt x="82190" y="20122"/>
                      </a:lnTo>
                      <a:lnTo>
                        <a:pt x="85808" y="20839"/>
                      </a:lnTo>
                      <a:lnTo>
                        <a:pt x="87463" y="20839"/>
                      </a:lnTo>
                      <a:lnTo>
                        <a:pt x="88449" y="20244"/>
                      </a:lnTo>
                      <a:lnTo>
                        <a:pt x="88596" y="19706"/>
                      </a:lnTo>
                      <a:lnTo>
                        <a:pt x="89036" y="19364"/>
                      </a:lnTo>
                      <a:lnTo>
                        <a:pt x="89329" y="19511"/>
                      </a:lnTo>
                      <a:lnTo>
                        <a:pt x="89435" y="20220"/>
                      </a:lnTo>
                      <a:lnTo>
                        <a:pt x="89370" y="21523"/>
                      </a:lnTo>
                      <a:lnTo>
                        <a:pt x="90935" y="21988"/>
                      </a:lnTo>
                      <a:lnTo>
                        <a:pt x="94138" y="21629"/>
                      </a:lnTo>
                      <a:lnTo>
                        <a:pt x="96061" y="21654"/>
                      </a:lnTo>
                      <a:lnTo>
                        <a:pt x="97862" y="21654"/>
                      </a:lnTo>
                      <a:lnTo>
                        <a:pt x="98180" y="21955"/>
                      </a:lnTo>
                      <a:lnTo>
                        <a:pt x="98636" y="22778"/>
                      </a:lnTo>
                      <a:lnTo>
                        <a:pt x="99997" y="24262"/>
                      </a:lnTo>
                      <a:lnTo>
                        <a:pt x="100454" y="24922"/>
                      </a:lnTo>
                      <a:lnTo>
                        <a:pt x="100877" y="26430"/>
                      </a:lnTo>
                      <a:lnTo>
                        <a:pt x="101872" y="27334"/>
                      </a:lnTo>
                      <a:lnTo>
                        <a:pt x="102198" y="28149"/>
                      </a:lnTo>
                      <a:lnTo>
                        <a:pt x="102255" y="28850"/>
                      </a:lnTo>
                      <a:lnTo>
                        <a:pt x="102556" y="29551"/>
                      </a:lnTo>
                      <a:lnTo>
                        <a:pt x="103453" y="31148"/>
                      </a:lnTo>
                      <a:lnTo>
                        <a:pt x="104626" y="32281"/>
                      </a:lnTo>
                      <a:lnTo>
                        <a:pt x="105262" y="33251"/>
                      </a:lnTo>
                      <a:lnTo>
                        <a:pt x="105490" y="34400"/>
                      </a:lnTo>
                      <a:lnTo>
                        <a:pt x="106118" y="34856"/>
                      </a:lnTo>
                      <a:lnTo>
                        <a:pt x="107136" y="34604"/>
                      </a:lnTo>
                      <a:lnTo>
                        <a:pt x="107568" y="34123"/>
                      </a:lnTo>
                      <a:lnTo>
                        <a:pt x="107503" y="33161"/>
                      </a:lnTo>
                      <a:lnTo>
                        <a:pt x="107886" y="33349"/>
                      </a:lnTo>
                      <a:lnTo>
                        <a:pt x="108514" y="34971"/>
                      </a:lnTo>
                      <a:lnTo>
                        <a:pt x="108440" y="37546"/>
                      </a:lnTo>
                      <a:lnTo>
                        <a:pt x="108603" y="39037"/>
                      </a:lnTo>
                      <a:lnTo>
                        <a:pt x="109483" y="41107"/>
                      </a:lnTo>
                      <a:lnTo>
                        <a:pt x="110657" y="41670"/>
                      </a:lnTo>
                      <a:lnTo>
                        <a:pt x="111447" y="42485"/>
                      </a:lnTo>
                      <a:lnTo>
                        <a:pt x="113762" y="43055"/>
                      </a:lnTo>
                      <a:lnTo>
                        <a:pt x="113999" y="42892"/>
                      </a:lnTo>
                      <a:lnTo>
                        <a:pt x="113558" y="41547"/>
                      </a:lnTo>
                      <a:lnTo>
                        <a:pt x="113787" y="41197"/>
                      </a:lnTo>
                      <a:lnTo>
                        <a:pt x="114561" y="41115"/>
                      </a:lnTo>
                      <a:lnTo>
                        <a:pt x="115881" y="41303"/>
                      </a:lnTo>
                      <a:lnTo>
                        <a:pt x="116737" y="41963"/>
                      </a:lnTo>
                      <a:lnTo>
                        <a:pt x="117136" y="43096"/>
                      </a:lnTo>
                      <a:lnTo>
                        <a:pt x="116924" y="44555"/>
                      </a:lnTo>
                      <a:lnTo>
                        <a:pt x="115392" y="46030"/>
                      </a:lnTo>
                      <a:lnTo>
                        <a:pt x="115156" y="47293"/>
                      </a:lnTo>
                      <a:lnTo>
                        <a:pt x="115498" y="48075"/>
                      </a:lnTo>
                      <a:lnTo>
                        <a:pt x="115881" y="48222"/>
                      </a:lnTo>
                      <a:lnTo>
                        <a:pt x="116305" y="47725"/>
                      </a:lnTo>
                      <a:lnTo>
                        <a:pt x="116941" y="47969"/>
                      </a:lnTo>
                      <a:lnTo>
                        <a:pt x="117788" y="48955"/>
                      </a:lnTo>
                      <a:lnTo>
                        <a:pt x="118008" y="49746"/>
                      </a:lnTo>
                      <a:lnTo>
                        <a:pt x="117609" y="50349"/>
                      </a:lnTo>
                      <a:lnTo>
                        <a:pt x="116101" y="50691"/>
                      </a:lnTo>
                      <a:lnTo>
                        <a:pt x="116036" y="51294"/>
                      </a:lnTo>
                      <a:lnTo>
                        <a:pt x="117633" y="52607"/>
                      </a:lnTo>
                      <a:lnTo>
                        <a:pt x="118872" y="54351"/>
                      </a:lnTo>
                      <a:lnTo>
                        <a:pt x="119508" y="54530"/>
                      </a:lnTo>
                      <a:lnTo>
                        <a:pt x="119858" y="55092"/>
                      </a:lnTo>
                      <a:lnTo>
                        <a:pt x="119940" y="56029"/>
                      </a:lnTo>
                      <a:lnTo>
                        <a:pt x="120600" y="56657"/>
                      </a:lnTo>
                      <a:lnTo>
                        <a:pt x="122434" y="57358"/>
                      </a:lnTo>
                      <a:lnTo>
                        <a:pt x="123134" y="59167"/>
                      </a:lnTo>
                      <a:lnTo>
                        <a:pt x="123509" y="60235"/>
                      </a:lnTo>
                      <a:lnTo>
                        <a:pt x="123835" y="61457"/>
                      </a:lnTo>
                      <a:lnTo>
                        <a:pt x="124381" y="61596"/>
                      </a:lnTo>
                      <a:lnTo>
                        <a:pt x="124797" y="61017"/>
                      </a:lnTo>
                      <a:lnTo>
                        <a:pt x="124805" y="59933"/>
                      </a:lnTo>
                      <a:lnTo>
                        <a:pt x="125710" y="59501"/>
                      </a:lnTo>
                      <a:lnTo>
                        <a:pt x="125799" y="60072"/>
                      </a:lnTo>
                      <a:lnTo>
                        <a:pt x="125278" y="61392"/>
                      </a:lnTo>
                      <a:lnTo>
                        <a:pt x="125400" y="62443"/>
                      </a:lnTo>
                      <a:lnTo>
                        <a:pt x="126158" y="63226"/>
                      </a:lnTo>
                      <a:lnTo>
                        <a:pt x="125180" y="63503"/>
                      </a:lnTo>
                      <a:lnTo>
                        <a:pt x="122466" y="63258"/>
                      </a:lnTo>
                      <a:lnTo>
                        <a:pt x="121244" y="62191"/>
                      </a:lnTo>
                      <a:lnTo>
                        <a:pt x="120869" y="61808"/>
                      </a:lnTo>
                      <a:lnTo>
                        <a:pt x="120029" y="61685"/>
                      </a:lnTo>
                      <a:lnTo>
                        <a:pt x="119777" y="61311"/>
                      </a:lnTo>
                      <a:lnTo>
                        <a:pt x="120143" y="60227"/>
                      </a:lnTo>
                      <a:lnTo>
                        <a:pt x="119915" y="59933"/>
                      </a:lnTo>
                      <a:lnTo>
                        <a:pt x="118244" y="60186"/>
                      </a:lnTo>
                      <a:lnTo>
                        <a:pt x="116557" y="60968"/>
                      </a:lnTo>
                      <a:lnTo>
                        <a:pt x="115474" y="61914"/>
                      </a:lnTo>
                      <a:lnTo>
                        <a:pt x="115482" y="63006"/>
                      </a:lnTo>
                      <a:lnTo>
                        <a:pt x="116207" y="64138"/>
                      </a:lnTo>
                      <a:lnTo>
                        <a:pt x="117633" y="65320"/>
                      </a:lnTo>
                      <a:lnTo>
                        <a:pt x="118220" y="67325"/>
                      </a:lnTo>
                      <a:lnTo>
                        <a:pt x="117959" y="70145"/>
                      </a:lnTo>
                      <a:lnTo>
                        <a:pt x="117242" y="72044"/>
                      </a:lnTo>
                      <a:lnTo>
                        <a:pt x="116052" y="73022"/>
                      </a:lnTo>
                      <a:lnTo>
                        <a:pt x="112556" y="72313"/>
                      </a:lnTo>
                      <a:lnTo>
                        <a:pt x="106745" y="69925"/>
                      </a:lnTo>
                      <a:lnTo>
                        <a:pt x="103453" y="67798"/>
                      </a:lnTo>
                      <a:lnTo>
                        <a:pt x="102051" y="64905"/>
                      </a:lnTo>
                      <a:lnTo>
                        <a:pt x="101537" y="64709"/>
                      </a:lnTo>
                      <a:lnTo>
                        <a:pt x="98571" y="65646"/>
                      </a:lnTo>
                      <a:lnTo>
                        <a:pt x="96982" y="66844"/>
                      </a:lnTo>
                      <a:lnTo>
                        <a:pt x="95604" y="68539"/>
                      </a:lnTo>
                      <a:lnTo>
                        <a:pt x="95213" y="68010"/>
                      </a:lnTo>
                      <a:lnTo>
                        <a:pt x="95816" y="65239"/>
                      </a:lnTo>
                      <a:lnTo>
                        <a:pt x="96061" y="63519"/>
                      </a:lnTo>
                      <a:lnTo>
                        <a:pt x="95963" y="62826"/>
                      </a:lnTo>
                      <a:lnTo>
                        <a:pt x="95368" y="62272"/>
                      </a:lnTo>
                      <a:lnTo>
                        <a:pt x="94276" y="61840"/>
                      </a:lnTo>
                      <a:lnTo>
                        <a:pt x="92817" y="62077"/>
                      </a:lnTo>
                      <a:lnTo>
                        <a:pt x="90633" y="63372"/>
                      </a:lnTo>
                      <a:lnTo>
                        <a:pt x="90136" y="63218"/>
                      </a:lnTo>
                      <a:lnTo>
                        <a:pt x="90193" y="62769"/>
                      </a:lnTo>
                      <a:lnTo>
                        <a:pt x="92459" y="60650"/>
                      </a:lnTo>
                      <a:lnTo>
                        <a:pt x="93200" y="59477"/>
                      </a:lnTo>
                      <a:lnTo>
                        <a:pt x="93209" y="58409"/>
                      </a:lnTo>
                      <a:lnTo>
                        <a:pt x="93543" y="57439"/>
                      </a:lnTo>
                      <a:lnTo>
                        <a:pt x="94195" y="56584"/>
                      </a:lnTo>
                      <a:lnTo>
                        <a:pt x="94032" y="56201"/>
                      </a:lnTo>
                      <a:lnTo>
                        <a:pt x="93054" y="56282"/>
                      </a:lnTo>
                      <a:lnTo>
                        <a:pt x="92556" y="56649"/>
                      </a:lnTo>
                      <a:lnTo>
                        <a:pt x="91513" y="58165"/>
                      </a:lnTo>
                      <a:lnTo>
                        <a:pt x="90030" y="58026"/>
                      </a:lnTo>
                      <a:lnTo>
                        <a:pt x="89843" y="57676"/>
                      </a:lnTo>
                      <a:lnTo>
                        <a:pt x="90242" y="56812"/>
                      </a:lnTo>
                      <a:lnTo>
                        <a:pt x="89916" y="56266"/>
                      </a:lnTo>
                      <a:lnTo>
                        <a:pt x="88873" y="56046"/>
                      </a:lnTo>
                      <a:lnTo>
                        <a:pt x="88539" y="55051"/>
                      </a:lnTo>
                      <a:lnTo>
                        <a:pt x="88196" y="54840"/>
                      </a:lnTo>
                      <a:lnTo>
                        <a:pt x="86909" y="54155"/>
                      </a:lnTo>
                      <a:lnTo>
                        <a:pt x="86786" y="52297"/>
                      </a:lnTo>
                      <a:lnTo>
                        <a:pt x="86346" y="50797"/>
                      </a:lnTo>
                      <a:lnTo>
                        <a:pt x="85589" y="49656"/>
                      </a:lnTo>
                      <a:lnTo>
                        <a:pt x="85507" y="48515"/>
                      </a:lnTo>
                      <a:lnTo>
                        <a:pt x="86265" y="46665"/>
                      </a:lnTo>
                      <a:lnTo>
                        <a:pt x="85980" y="46405"/>
                      </a:lnTo>
                      <a:lnTo>
                        <a:pt x="83421" y="46160"/>
                      </a:lnTo>
                      <a:lnTo>
                        <a:pt x="78563" y="45940"/>
                      </a:lnTo>
                      <a:lnTo>
                        <a:pt x="76037" y="46315"/>
                      </a:lnTo>
                      <a:lnTo>
                        <a:pt x="75825" y="47293"/>
                      </a:lnTo>
                      <a:lnTo>
                        <a:pt x="76396" y="48018"/>
                      </a:lnTo>
                      <a:lnTo>
                        <a:pt x="77740" y="48499"/>
                      </a:lnTo>
                      <a:lnTo>
                        <a:pt x="78694" y="49314"/>
                      </a:lnTo>
                      <a:lnTo>
                        <a:pt x="79012" y="50031"/>
                      </a:lnTo>
                      <a:lnTo>
                        <a:pt x="79900" y="50748"/>
                      </a:lnTo>
                      <a:lnTo>
                        <a:pt x="80943" y="52281"/>
                      </a:lnTo>
                      <a:lnTo>
                        <a:pt x="82133" y="54603"/>
                      </a:lnTo>
                      <a:lnTo>
                        <a:pt x="83021" y="55573"/>
                      </a:lnTo>
                      <a:lnTo>
                        <a:pt x="83975" y="55687"/>
                      </a:lnTo>
                      <a:lnTo>
                        <a:pt x="84513" y="55915"/>
                      </a:lnTo>
                      <a:lnTo>
                        <a:pt x="84439" y="58254"/>
                      </a:lnTo>
                      <a:lnTo>
                        <a:pt x="84871" y="59689"/>
                      </a:lnTo>
                      <a:lnTo>
                        <a:pt x="85890" y="61017"/>
                      </a:lnTo>
                      <a:lnTo>
                        <a:pt x="86428" y="62492"/>
                      </a:lnTo>
                      <a:lnTo>
                        <a:pt x="86371" y="65068"/>
                      </a:lnTo>
                      <a:lnTo>
                        <a:pt x="86444" y="67610"/>
                      </a:lnTo>
                      <a:lnTo>
                        <a:pt x="85955" y="69256"/>
                      </a:lnTo>
                      <a:lnTo>
                        <a:pt x="84602" y="71155"/>
                      </a:lnTo>
                      <a:lnTo>
                        <a:pt x="83738" y="72745"/>
                      </a:lnTo>
                      <a:lnTo>
                        <a:pt x="83355" y="74016"/>
                      </a:lnTo>
                      <a:lnTo>
                        <a:pt x="82638" y="74855"/>
                      </a:lnTo>
                      <a:lnTo>
                        <a:pt x="81571" y="75271"/>
                      </a:lnTo>
                      <a:lnTo>
                        <a:pt x="80470" y="76167"/>
                      </a:lnTo>
                      <a:lnTo>
                        <a:pt x="79321" y="77537"/>
                      </a:lnTo>
                      <a:lnTo>
                        <a:pt x="78580" y="79240"/>
                      </a:lnTo>
                      <a:lnTo>
                        <a:pt x="78237" y="81277"/>
                      </a:lnTo>
                      <a:lnTo>
                        <a:pt x="77300" y="83372"/>
                      </a:lnTo>
                      <a:lnTo>
                        <a:pt x="75768" y="85523"/>
                      </a:lnTo>
                      <a:lnTo>
                        <a:pt x="75181" y="87976"/>
                      </a:lnTo>
                      <a:lnTo>
                        <a:pt x="75524" y="90723"/>
                      </a:lnTo>
                      <a:lnTo>
                        <a:pt x="75573" y="102532"/>
                      </a:lnTo>
                      <a:lnTo>
                        <a:pt x="75850" y="105466"/>
                      </a:lnTo>
                      <a:lnTo>
                        <a:pt x="75662" y="108359"/>
                      </a:lnTo>
                      <a:lnTo>
                        <a:pt x="75002" y="111228"/>
                      </a:lnTo>
                      <a:lnTo>
                        <a:pt x="73877" y="113461"/>
                      </a:lnTo>
                      <a:lnTo>
                        <a:pt x="72305" y="115091"/>
                      </a:lnTo>
                      <a:lnTo>
                        <a:pt x="70740" y="116289"/>
                      </a:lnTo>
                      <a:lnTo>
                        <a:pt x="69183" y="117055"/>
                      </a:lnTo>
                      <a:lnTo>
                        <a:pt x="67724" y="118359"/>
                      </a:lnTo>
                      <a:lnTo>
                        <a:pt x="66363" y="120192"/>
                      </a:lnTo>
                      <a:lnTo>
                        <a:pt x="64057" y="121847"/>
                      </a:lnTo>
                      <a:lnTo>
                        <a:pt x="60805" y="123289"/>
                      </a:lnTo>
                      <a:lnTo>
                        <a:pt x="58205" y="124186"/>
                      </a:lnTo>
                      <a:lnTo>
                        <a:pt x="57839" y="123460"/>
                      </a:lnTo>
                      <a:lnTo>
                        <a:pt x="57113" y="121985"/>
                      </a:lnTo>
                      <a:lnTo>
                        <a:pt x="55752" y="115107"/>
                      </a:lnTo>
                      <a:lnTo>
                        <a:pt x="53747" y="102801"/>
                      </a:lnTo>
                      <a:lnTo>
                        <a:pt x="52101" y="95156"/>
                      </a:lnTo>
                      <a:lnTo>
                        <a:pt x="50789" y="92206"/>
                      </a:lnTo>
                      <a:lnTo>
                        <a:pt x="49013" y="89957"/>
                      </a:lnTo>
                      <a:lnTo>
                        <a:pt x="46763" y="88425"/>
                      </a:lnTo>
                      <a:lnTo>
                        <a:pt x="45060" y="87748"/>
                      </a:lnTo>
                      <a:lnTo>
                        <a:pt x="43878" y="87952"/>
                      </a:lnTo>
                      <a:lnTo>
                        <a:pt x="42028" y="89199"/>
                      </a:lnTo>
                      <a:lnTo>
                        <a:pt x="38556" y="90299"/>
                      </a:lnTo>
                      <a:lnTo>
                        <a:pt x="37138" y="91024"/>
                      </a:lnTo>
                      <a:lnTo>
                        <a:pt x="36315" y="91994"/>
                      </a:lnTo>
                      <a:lnTo>
                        <a:pt x="35354" y="92557"/>
                      </a:lnTo>
                      <a:lnTo>
                        <a:pt x="34262" y="92728"/>
                      </a:lnTo>
                      <a:lnTo>
                        <a:pt x="34139" y="92988"/>
                      </a:lnTo>
                      <a:lnTo>
                        <a:pt x="34995" y="93347"/>
                      </a:lnTo>
                      <a:lnTo>
                        <a:pt x="34995" y="94284"/>
                      </a:lnTo>
                      <a:lnTo>
                        <a:pt x="32648" y="98490"/>
                      </a:lnTo>
                      <a:lnTo>
                        <a:pt x="32648" y="98490"/>
                      </a:lnTo>
                      <a:lnTo>
                        <a:pt x="32648" y="98490"/>
                      </a:lnTo>
                      <a:lnTo>
                        <a:pt x="32648" y="98490"/>
                      </a:lnTo>
                      <a:lnTo>
                        <a:pt x="32648" y="98490"/>
                      </a:lnTo>
                      <a:lnTo>
                        <a:pt x="32648" y="98490"/>
                      </a:lnTo>
                      <a:lnTo>
                        <a:pt x="32110" y="99451"/>
                      </a:lnTo>
                      <a:lnTo>
                        <a:pt x="30700" y="99794"/>
                      </a:lnTo>
                      <a:lnTo>
                        <a:pt x="29526" y="100617"/>
                      </a:lnTo>
                      <a:lnTo>
                        <a:pt x="28320" y="102736"/>
                      </a:lnTo>
                      <a:lnTo>
                        <a:pt x="27171" y="103265"/>
                      </a:lnTo>
                      <a:lnTo>
                        <a:pt x="25500" y="103070"/>
                      </a:lnTo>
                      <a:lnTo>
                        <a:pt x="22705" y="101790"/>
                      </a:lnTo>
                      <a:lnTo>
                        <a:pt x="21026" y="100511"/>
                      </a:lnTo>
                      <a:lnTo>
                        <a:pt x="20472" y="99223"/>
                      </a:lnTo>
                      <a:lnTo>
                        <a:pt x="20439" y="97683"/>
                      </a:lnTo>
                      <a:lnTo>
                        <a:pt x="20937" y="95874"/>
                      </a:lnTo>
                      <a:lnTo>
                        <a:pt x="20888" y="94423"/>
                      </a:lnTo>
                      <a:lnTo>
                        <a:pt x="21939" y="91399"/>
                      </a:lnTo>
                      <a:lnTo>
                        <a:pt x="23365" y="90315"/>
                      </a:lnTo>
                      <a:lnTo>
                        <a:pt x="25435" y="90071"/>
                      </a:lnTo>
                      <a:lnTo>
                        <a:pt x="26584" y="89582"/>
                      </a:lnTo>
                      <a:lnTo>
                        <a:pt x="26804" y="88873"/>
                      </a:lnTo>
                      <a:lnTo>
                        <a:pt x="27448" y="88359"/>
                      </a:lnTo>
                      <a:lnTo>
                        <a:pt x="28508" y="88066"/>
                      </a:lnTo>
                      <a:lnTo>
                        <a:pt x="29412" y="86143"/>
                      </a:lnTo>
                      <a:lnTo>
                        <a:pt x="30154" y="82606"/>
                      </a:lnTo>
                      <a:lnTo>
                        <a:pt x="31026" y="80658"/>
                      </a:lnTo>
                      <a:lnTo>
                        <a:pt x="31645" y="80316"/>
                      </a:lnTo>
                      <a:lnTo>
                        <a:pt x="32224" y="80430"/>
                      </a:lnTo>
                      <a:lnTo>
                        <a:pt x="32257" y="80862"/>
                      </a:lnTo>
                      <a:lnTo>
                        <a:pt x="34653" y="78588"/>
                      </a:lnTo>
                      <a:lnTo>
                        <a:pt x="35533" y="77015"/>
                      </a:lnTo>
                      <a:lnTo>
                        <a:pt x="35582" y="75393"/>
                      </a:lnTo>
                      <a:lnTo>
                        <a:pt x="35810" y="70666"/>
                      </a:lnTo>
                      <a:lnTo>
                        <a:pt x="36087" y="67618"/>
                      </a:lnTo>
                      <a:lnTo>
                        <a:pt x="36429" y="66233"/>
                      </a:lnTo>
                      <a:lnTo>
                        <a:pt x="36299" y="62663"/>
                      </a:lnTo>
                      <a:lnTo>
                        <a:pt x="35598" y="59713"/>
                      </a:lnTo>
                      <a:lnTo>
                        <a:pt x="32909" y="56486"/>
                      </a:lnTo>
                      <a:lnTo>
                        <a:pt x="32526" y="55418"/>
                      </a:lnTo>
                      <a:lnTo>
                        <a:pt x="32607" y="54269"/>
                      </a:lnTo>
                      <a:lnTo>
                        <a:pt x="33161" y="53071"/>
                      </a:lnTo>
                      <a:lnTo>
                        <a:pt x="34351" y="52794"/>
                      </a:lnTo>
                      <a:lnTo>
                        <a:pt x="36454" y="53731"/>
                      </a:lnTo>
                      <a:lnTo>
                        <a:pt x="36804" y="53503"/>
                      </a:lnTo>
                      <a:lnTo>
                        <a:pt x="36217" y="52965"/>
                      </a:lnTo>
                      <a:lnTo>
                        <a:pt x="35875" y="51881"/>
                      </a:lnTo>
                      <a:lnTo>
                        <a:pt x="35769" y="50276"/>
                      </a:lnTo>
                      <a:lnTo>
                        <a:pt x="35500" y="49387"/>
                      </a:lnTo>
                      <a:lnTo>
                        <a:pt x="35052" y="49224"/>
                      </a:lnTo>
                      <a:lnTo>
                        <a:pt x="33887" y="47383"/>
                      </a:lnTo>
                      <a:lnTo>
                        <a:pt x="33724" y="46437"/>
                      </a:lnTo>
                      <a:lnTo>
                        <a:pt x="33862" y="45549"/>
                      </a:lnTo>
                      <a:lnTo>
                        <a:pt x="33414" y="44652"/>
                      </a:lnTo>
                      <a:lnTo>
                        <a:pt x="31849" y="43259"/>
                      </a:lnTo>
                      <a:lnTo>
                        <a:pt x="28997" y="41833"/>
                      </a:lnTo>
                      <a:lnTo>
                        <a:pt x="22175" y="39119"/>
                      </a:lnTo>
                      <a:lnTo>
                        <a:pt x="20953" y="38076"/>
                      </a:lnTo>
                      <a:lnTo>
                        <a:pt x="19258" y="37456"/>
                      </a:lnTo>
                      <a:lnTo>
                        <a:pt x="17114" y="37269"/>
                      </a:lnTo>
                      <a:lnTo>
                        <a:pt x="15754" y="36446"/>
                      </a:lnTo>
                      <a:lnTo>
                        <a:pt x="15175" y="34987"/>
                      </a:lnTo>
                      <a:lnTo>
                        <a:pt x="14229" y="33675"/>
                      </a:lnTo>
                      <a:lnTo>
                        <a:pt x="12909" y="32501"/>
                      </a:lnTo>
                      <a:lnTo>
                        <a:pt x="10831" y="31727"/>
                      </a:lnTo>
                      <a:lnTo>
                        <a:pt x="7970" y="31377"/>
                      </a:lnTo>
                      <a:lnTo>
                        <a:pt x="4955" y="30105"/>
                      </a:lnTo>
                      <a:lnTo>
                        <a:pt x="1777" y="27937"/>
                      </a:lnTo>
                      <a:lnTo>
                        <a:pt x="0" y="27277"/>
                      </a:lnTo>
                      <a:lnTo>
                        <a:pt x="139" y="24792"/>
                      </a:lnTo>
                      <a:lnTo>
                        <a:pt x="872" y="24840"/>
                      </a:lnTo>
                      <a:lnTo>
                        <a:pt x="1222" y="24514"/>
                      </a:lnTo>
                      <a:lnTo>
                        <a:pt x="1239" y="24131"/>
                      </a:lnTo>
                      <a:lnTo>
                        <a:pt x="921" y="23659"/>
                      </a:lnTo>
                      <a:lnTo>
                        <a:pt x="1125" y="21939"/>
                      </a:lnTo>
                      <a:lnTo>
                        <a:pt x="929" y="21442"/>
                      </a:lnTo>
                      <a:lnTo>
                        <a:pt x="2176" y="18769"/>
                      </a:lnTo>
                      <a:lnTo>
                        <a:pt x="3244" y="18092"/>
                      </a:lnTo>
                      <a:lnTo>
                        <a:pt x="4482" y="18337"/>
                      </a:lnTo>
                      <a:lnTo>
                        <a:pt x="5273" y="18907"/>
                      </a:lnTo>
                      <a:lnTo>
                        <a:pt x="5599" y="19812"/>
                      </a:lnTo>
                      <a:lnTo>
                        <a:pt x="5982" y="20130"/>
                      </a:lnTo>
                      <a:lnTo>
                        <a:pt x="6756" y="20162"/>
                      </a:lnTo>
                      <a:lnTo>
                        <a:pt x="7188" y="20293"/>
                      </a:lnTo>
                      <a:lnTo>
                        <a:pt x="7432" y="20220"/>
                      </a:lnTo>
                      <a:lnTo>
                        <a:pt x="7815" y="19722"/>
                      </a:lnTo>
                      <a:lnTo>
                        <a:pt x="10456" y="19942"/>
                      </a:lnTo>
                      <a:lnTo>
                        <a:pt x="19437" y="21295"/>
                      </a:lnTo>
                      <a:lnTo>
                        <a:pt x="20668" y="21083"/>
                      </a:lnTo>
                      <a:lnTo>
                        <a:pt x="21369" y="20611"/>
                      </a:lnTo>
                      <a:lnTo>
                        <a:pt x="21540" y="19885"/>
                      </a:lnTo>
                      <a:lnTo>
                        <a:pt x="20961" y="19201"/>
                      </a:lnTo>
                      <a:lnTo>
                        <a:pt x="18614" y="17766"/>
                      </a:lnTo>
                      <a:lnTo>
                        <a:pt x="17905" y="16821"/>
                      </a:lnTo>
                      <a:lnTo>
                        <a:pt x="17718" y="15925"/>
                      </a:lnTo>
                      <a:lnTo>
                        <a:pt x="18060" y="15077"/>
                      </a:lnTo>
                      <a:lnTo>
                        <a:pt x="17554" y="14319"/>
                      </a:lnTo>
                      <a:lnTo>
                        <a:pt x="16218" y="13635"/>
                      </a:lnTo>
                      <a:lnTo>
                        <a:pt x="13284" y="13447"/>
                      </a:lnTo>
                      <a:lnTo>
                        <a:pt x="12763" y="12754"/>
                      </a:lnTo>
                      <a:lnTo>
                        <a:pt x="12999" y="12078"/>
                      </a:lnTo>
                      <a:lnTo>
                        <a:pt x="13863" y="11206"/>
                      </a:lnTo>
                      <a:lnTo>
                        <a:pt x="13895" y="9926"/>
                      </a:lnTo>
                      <a:lnTo>
                        <a:pt x="13618" y="9201"/>
                      </a:lnTo>
                      <a:lnTo>
                        <a:pt x="13227" y="7001"/>
                      </a:lnTo>
                      <a:lnTo>
                        <a:pt x="12591" y="5517"/>
                      </a:lnTo>
                      <a:lnTo>
                        <a:pt x="11304" y="3333"/>
                      </a:lnTo>
                      <a:lnTo>
                        <a:pt x="10790" y="2543"/>
                      </a:lnTo>
                      <a:lnTo>
                        <a:pt x="10032" y="2070"/>
                      </a:lnTo>
                      <a:lnTo>
                        <a:pt x="10391" y="1117"/>
                      </a:lnTo>
                      <a:close/>
                    </a:path>
                  </a:pathLst>
                </a:custGeom>
                <a:solidFill>
                  <a:srgbClr val="FFFFFF"/>
                </a:solidFill>
                <a:ln w="8150" cap="flat">
                  <a:noFill/>
                  <a:prstDash val="solid"/>
                  <a:miter/>
                </a:ln>
              </p:spPr>
              <p:txBody>
                <a:bodyPr rtlCol="0" anchor="ctr"/>
                <a:lstStyle/>
                <a:p>
                  <a:endParaRPr lang="en-US"/>
                </a:p>
              </p:txBody>
            </p:sp>
            <p:sp>
              <p:nvSpPr>
                <p:cNvPr id="411" name="Freeform: Shape 410">
                  <a:extLst>
                    <a:ext uri="{FF2B5EF4-FFF2-40B4-BE49-F238E27FC236}">
                      <a16:creationId xmlns:a16="http://schemas.microsoft.com/office/drawing/2014/main" id="{5B58C412-0B7A-407A-8C26-E3E833D3A23E}"/>
                    </a:ext>
                  </a:extLst>
                </p:cNvPr>
                <p:cNvSpPr/>
                <p:nvPr/>
              </p:nvSpPr>
              <p:spPr>
                <a:xfrm>
                  <a:off x="3653484" y="2957922"/>
                  <a:ext cx="192586" cy="91814"/>
                </a:xfrm>
                <a:custGeom>
                  <a:avLst/>
                  <a:gdLst>
                    <a:gd name="connsiteX0" fmla="*/ 190386 w 192586"/>
                    <a:gd name="connsiteY0" fmla="*/ 88775 h 91814"/>
                    <a:gd name="connsiteX1" fmla="*/ 192586 w 192586"/>
                    <a:gd name="connsiteY1" fmla="*/ 88449 h 91814"/>
                    <a:gd name="connsiteX2" fmla="*/ 192236 w 192586"/>
                    <a:gd name="connsiteY2" fmla="*/ 89386 h 91814"/>
                    <a:gd name="connsiteX3" fmla="*/ 191519 w 192586"/>
                    <a:gd name="connsiteY3" fmla="*/ 89476 h 91814"/>
                    <a:gd name="connsiteX4" fmla="*/ 190590 w 192586"/>
                    <a:gd name="connsiteY4" fmla="*/ 89883 h 91814"/>
                    <a:gd name="connsiteX5" fmla="*/ 189530 w 192586"/>
                    <a:gd name="connsiteY5" fmla="*/ 90821 h 91814"/>
                    <a:gd name="connsiteX6" fmla="*/ 188006 w 192586"/>
                    <a:gd name="connsiteY6" fmla="*/ 91815 h 91814"/>
                    <a:gd name="connsiteX7" fmla="*/ 186441 w 192586"/>
                    <a:gd name="connsiteY7" fmla="*/ 91562 h 91814"/>
                    <a:gd name="connsiteX8" fmla="*/ 185366 w 192586"/>
                    <a:gd name="connsiteY8" fmla="*/ 90177 h 91814"/>
                    <a:gd name="connsiteX9" fmla="*/ 183817 w 192586"/>
                    <a:gd name="connsiteY9" fmla="*/ 89875 h 91814"/>
                    <a:gd name="connsiteX10" fmla="*/ 181796 w 192586"/>
                    <a:gd name="connsiteY10" fmla="*/ 90666 h 91814"/>
                    <a:gd name="connsiteX11" fmla="*/ 180003 w 192586"/>
                    <a:gd name="connsiteY11" fmla="*/ 90633 h 91814"/>
                    <a:gd name="connsiteX12" fmla="*/ 178438 w 192586"/>
                    <a:gd name="connsiteY12" fmla="*/ 89769 h 91814"/>
                    <a:gd name="connsiteX13" fmla="*/ 175456 w 192586"/>
                    <a:gd name="connsiteY13" fmla="*/ 89345 h 91814"/>
                    <a:gd name="connsiteX14" fmla="*/ 175105 w 192586"/>
                    <a:gd name="connsiteY14" fmla="*/ 88694 h 91814"/>
                    <a:gd name="connsiteX15" fmla="*/ 175162 w 192586"/>
                    <a:gd name="connsiteY15" fmla="*/ 88017 h 91814"/>
                    <a:gd name="connsiteX16" fmla="*/ 175627 w 192586"/>
                    <a:gd name="connsiteY16" fmla="*/ 87300 h 91814"/>
                    <a:gd name="connsiteX17" fmla="*/ 175896 w 192586"/>
                    <a:gd name="connsiteY17" fmla="*/ 85613 h 91814"/>
                    <a:gd name="connsiteX18" fmla="*/ 175953 w 192586"/>
                    <a:gd name="connsiteY18" fmla="*/ 82923 h 91814"/>
                    <a:gd name="connsiteX19" fmla="*/ 176352 w 192586"/>
                    <a:gd name="connsiteY19" fmla="*/ 81033 h 91814"/>
                    <a:gd name="connsiteX20" fmla="*/ 177102 w 192586"/>
                    <a:gd name="connsiteY20" fmla="*/ 79933 h 91814"/>
                    <a:gd name="connsiteX21" fmla="*/ 175944 w 192586"/>
                    <a:gd name="connsiteY21" fmla="*/ 79476 h 91814"/>
                    <a:gd name="connsiteX22" fmla="*/ 172872 w 192586"/>
                    <a:gd name="connsiteY22" fmla="*/ 79672 h 91814"/>
                    <a:gd name="connsiteX23" fmla="*/ 169343 w 192586"/>
                    <a:gd name="connsiteY23" fmla="*/ 80576 h 91814"/>
                    <a:gd name="connsiteX24" fmla="*/ 165358 w 192586"/>
                    <a:gd name="connsiteY24" fmla="*/ 82198 h 91814"/>
                    <a:gd name="connsiteX25" fmla="*/ 161022 w 192586"/>
                    <a:gd name="connsiteY25" fmla="*/ 82769 h 91814"/>
                    <a:gd name="connsiteX26" fmla="*/ 156353 w 192586"/>
                    <a:gd name="connsiteY26" fmla="*/ 82288 h 91814"/>
                    <a:gd name="connsiteX27" fmla="*/ 152824 w 192586"/>
                    <a:gd name="connsiteY27" fmla="*/ 82361 h 91814"/>
                    <a:gd name="connsiteX28" fmla="*/ 148912 w 192586"/>
                    <a:gd name="connsiteY28" fmla="*/ 83176 h 91814"/>
                    <a:gd name="connsiteX29" fmla="*/ 148235 w 192586"/>
                    <a:gd name="connsiteY29" fmla="*/ 82907 h 91814"/>
                    <a:gd name="connsiteX30" fmla="*/ 145774 w 192586"/>
                    <a:gd name="connsiteY30" fmla="*/ 83991 h 91814"/>
                    <a:gd name="connsiteX31" fmla="*/ 141528 w 192586"/>
                    <a:gd name="connsiteY31" fmla="*/ 86420 h 91814"/>
                    <a:gd name="connsiteX32" fmla="*/ 138350 w 192586"/>
                    <a:gd name="connsiteY32" fmla="*/ 88669 h 91814"/>
                    <a:gd name="connsiteX33" fmla="*/ 135701 w 192586"/>
                    <a:gd name="connsiteY33" fmla="*/ 91204 h 91814"/>
                    <a:gd name="connsiteX34" fmla="*/ 135294 w 192586"/>
                    <a:gd name="connsiteY34" fmla="*/ 91228 h 91814"/>
                    <a:gd name="connsiteX35" fmla="*/ 134666 w 192586"/>
                    <a:gd name="connsiteY35" fmla="*/ 90666 h 91814"/>
                    <a:gd name="connsiteX36" fmla="*/ 133330 w 192586"/>
                    <a:gd name="connsiteY36" fmla="*/ 89883 h 91814"/>
                    <a:gd name="connsiteX37" fmla="*/ 131903 w 192586"/>
                    <a:gd name="connsiteY37" fmla="*/ 89859 h 91814"/>
                    <a:gd name="connsiteX38" fmla="*/ 130379 w 192586"/>
                    <a:gd name="connsiteY38" fmla="*/ 90592 h 91814"/>
                    <a:gd name="connsiteX39" fmla="*/ 128847 w 192586"/>
                    <a:gd name="connsiteY39" fmla="*/ 90120 h 91814"/>
                    <a:gd name="connsiteX40" fmla="*/ 127282 w 192586"/>
                    <a:gd name="connsiteY40" fmla="*/ 88457 h 91814"/>
                    <a:gd name="connsiteX41" fmla="*/ 125864 w 192586"/>
                    <a:gd name="connsiteY41" fmla="*/ 87993 h 91814"/>
                    <a:gd name="connsiteX42" fmla="*/ 124585 w 192586"/>
                    <a:gd name="connsiteY42" fmla="*/ 88718 h 91814"/>
                    <a:gd name="connsiteX43" fmla="*/ 122482 w 192586"/>
                    <a:gd name="connsiteY43" fmla="*/ 89044 h 91814"/>
                    <a:gd name="connsiteX44" fmla="*/ 117829 w 192586"/>
                    <a:gd name="connsiteY44" fmla="*/ 88661 h 91814"/>
                    <a:gd name="connsiteX45" fmla="*/ 117340 w 192586"/>
                    <a:gd name="connsiteY45" fmla="*/ 88123 h 91814"/>
                    <a:gd name="connsiteX46" fmla="*/ 116924 w 192586"/>
                    <a:gd name="connsiteY46" fmla="*/ 86330 h 91814"/>
                    <a:gd name="connsiteX47" fmla="*/ 116419 w 192586"/>
                    <a:gd name="connsiteY47" fmla="*/ 85556 h 91814"/>
                    <a:gd name="connsiteX48" fmla="*/ 115522 w 192586"/>
                    <a:gd name="connsiteY48" fmla="*/ 85010 h 91814"/>
                    <a:gd name="connsiteX49" fmla="*/ 114080 w 192586"/>
                    <a:gd name="connsiteY49" fmla="*/ 83021 h 91814"/>
                    <a:gd name="connsiteX50" fmla="*/ 110910 w 192586"/>
                    <a:gd name="connsiteY50" fmla="*/ 77936 h 91814"/>
                    <a:gd name="connsiteX51" fmla="*/ 110029 w 192586"/>
                    <a:gd name="connsiteY51" fmla="*/ 77325 h 91814"/>
                    <a:gd name="connsiteX52" fmla="*/ 107438 w 192586"/>
                    <a:gd name="connsiteY52" fmla="*/ 75760 h 91814"/>
                    <a:gd name="connsiteX53" fmla="*/ 104968 w 192586"/>
                    <a:gd name="connsiteY53" fmla="*/ 75051 h 91814"/>
                    <a:gd name="connsiteX54" fmla="*/ 98710 w 192586"/>
                    <a:gd name="connsiteY54" fmla="*/ 74057 h 91814"/>
                    <a:gd name="connsiteX55" fmla="*/ 97357 w 192586"/>
                    <a:gd name="connsiteY55" fmla="*/ 73356 h 91814"/>
                    <a:gd name="connsiteX56" fmla="*/ 96542 w 192586"/>
                    <a:gd name="connsiteY56" fmla="*/ 73494 h 91814"/>
                    <a:gd name="connsiteX57" fmla="*/ 92402 w 192586"/>
                    <a:gd name="connsiteY57" fmla="*/ 76241 h 91814"/>
                    <a:gd name="connsiteX58" fmla="*/ 92230 w 192586"/>
                    <a:gd name="connsiteY58" fmla="*/ 76836 h 91814"/>
                    <a:gd name="connsiteX59" fmla="*/ 91978 w 192586"/>
                    <a:gd name="connsiteY59" fmla="*/ 77422 h 91814"/>
                    <a:gd name="connsiteX60" fmla="*/ 91309 w 192586"/>
                    <a:gd name="connsiteY60" fmla="*/ 78384 h 91814"/>
                    <a:gd name="connsiteX61" fmla="*/ 90764 w 192586"/>
                    <a:gd name="connsiteY61" fmla="*/ 78824 h 91814"/>
                    <a:gd name="connsiteX62" fmla="*/ 90421 w 192586"/>
                    <a:gd name="connsiteY62" fmla="*/ 78376 h 91814"/>
                    <a:gd name="connsiteX63" fmla="*/ 90087 w 192586"/>
                    <a:gd name="connsiteY63" fmla="*/ 77569 h 91814"/>
                    <a:gd name="connsiteX64" fmla="*/ 90144 w 192586"/>
                    <a:gd name="connsiteY64" fmla="*/ 75817 h 91814"/>
                    <a:gd name="connsiteX65" fmla="*/ 90584 w 192586"/>
                    <a:gd name="connsiteY65" fmla="*/ 73095 h 91814"/>
                    <a:gd name="connsiteX66" fmla="*/ 90332 w 192586"/>
                    <a:gd name="connsiteY66" fmla="*/ 71335 h 91814"/>
                    <a:gd name="connsiteX67" fmla="*/ 89378 w 192586"/>
                    <a:gd name="connsiteY67" fmla="*/ 70511 h 91814"/>
                    <a:gd name="connsiteX68" fmla="*/ 88971 w 192586"/>
                    <a:gd name="connsiteY68" fmla="*/ 69525 h 91814"/>
                    <a:gd name="connsiteX69" fmla="*/ 89101 w 192586"/>
                    <a:gd name="connsiteY69" fmla="*/ 68376 h 91814"/>
                    <a:gd name="connsiteX70" fmla="*/ 88416 w 192586"/>
                    <a:gd name="connsiteY70" fmla="*/ 67447 h 91814"/>
                    <a:gd name="connsiteX71" fmla="*/ 86901 w 192586"/>
                    <a:gd name="connsiteY71" fmla="*/ 66754 h 91814"/>
                    <a:gd name="connsiteX72" fmla="*/ 86200 w 192586"/>
                    <a:gd name="connsiteY72" fmla="*/ 65842 h 91814"/>
                    <a:gd name="connsiteX73" fmla="*/ 86306 w 192586"/>
                    <a:gd name="connsiteY73" fmla="*/ 64709 h 91814"/>
                    <a:gd name="connsiteX74" fmla="*/ 86159 w 192586"/>
                    <a:gd name="connsiteY74" fmla="*/ 63935 h 91814"/>
                    <a:gd name="connsiteX75" fmla="*/ 85759 w 192586"/>
                    <a:gd name="connsiteY75" fmla="*/ 63519 h 91814"/>
                    <a:gd name="connsiteX76" fmla="*/ 84146 w 192586"/>
                    <a:gd name="connsiteY76" fmla="*/ 64407 h 91814"/>
                    <a:gd name="connsiteX77" fmla="*/ 81310 w 192586"/>
                    <a:gd name="connsiteY77" fmla="*/ 66591 h 91814"/>
                    <a:gd name="connsiteX78" fmla="*/ 79394 w 192586"/>
                    <a:gd name="connsiteY78" fmla="*/ 68547 h 91814"/>
                    <a:gd name="connsiteX79" fmla="*/ 78376 w 192586"/>
                    <a:gd name="connsiteY79" fmla="*/ 70259 h 91814"/>
                    <a:gd name="connsiteX80" fmla="*/ 76860 w 192586"/>
                    <a:gd name="connsiteY80" fmla="*/ 71237 h 91814"/>
                    <a:gd name="connsiteX81" fmla="*/ 74839 w 192586"/>
                    <a:gd name="connsiteY81" fmla="*/ 71457 h 91814"/>
                    <a:gd name="connsiteX82" fmla="*/ 73242 w 192586"/>
                    <a:gd name="connsiteY82" fmla="*/ 72190 h 91814"/>
                    <a:gd name="connsiteX83" fmla="*/ 70397 w 192586"/>
                    <a:gd name="connsiteY83" fmla="*/ 74700 h 91814"/>
                    <a:gd name="connsiteX84" fmla="*/ 68278 w 192586"/>
                    <a:gd name="connsiteY84" fmla="*/ 75988 h 91814"/>
                    <a:gd name="connsiteX85" fmla="*/ 64758 w 192586"/>
                    <a:gd name="connsiteY85" fmla="*/ 76933 h 91814"/>
                    <a:gd name="connsiteX86" fmla="*/ 59835 w 192586"/>
                    <a:gd name="connsiteY86" fmla="*/ 77528 h 91814"/>
                    <a:gd name="connsiteX87" fmla="*/ 55736 w 192586"/>
                    <a:gd name="connsiteY87" fmla="*/ 79158 h 91814"/>
                    <a:gd name="connsiteX88" fmla="*/ 52444 w 192586"/>
                    <a:gd name="connsiteY88" fmla="*/ 81823 h 91814"/>
                    <a:gd name="connsiteX89" fmla="*/ 48466 w 192586"/>
                    <a:gd name="connsiteY89" fmla="*/ 84073 h 91814"/>
                    <a:gd name="connsiteX90" fmla="*/ 43813 w 192586"/>
                    <a:gd name="connsiteY90" fmla="*/ 85923 h 91814"/>
                    <a:gd name="connsiteX91" fmla="*/ 40643 w 192586"/>
                    <a:gd name="connsiteY91" fmla="*/ 86575 h 91814"/>
                    <a:gd name="connsiteX92" fmla="*/ 38972 w 192586"/>
                    <a:gd name="connsiteY92" fmla="*/ 86037 h 91814"/>
                    <a:gd name="connsiteX93" fmla="*/ 36975 w 192586"/>
                    <a:gd name="connsiteY93" fmla="*/ 84896 h 91814"/>
                    <a:gd name="connsiteX94" fmla="*/ 33992 w 192586"/>
                    <a:gd name="connsiteY94" fmla="*/ 82858 h 91814"/>
                    <a:gd name="connsiteX95" fmla="*/ 33560 w 192586"/>
                    <a:gd name="connsiteY95" fmla="*/ 83046 h 91814"/>
                    <a:gd name="connsiteX96" fmla="*/ 33789 w 192586"/>
                    <a:gd name="connsiteY96" fmla="*/ 83461 h 91814"/>
                    <a:gd name="connsiteX97" fmla="*/ 33724 w 192586"/>
                    <a:gd name="connsiteY97" fmla="*/ 83812 h 91814"/>
                    <a:gd name="connsiteX98" fmla="*/ 33169 w 192586"/>
                    <a:gd name="connsiteY98" fmla="*/ 84399 h 91814"/>
                    <a:gd name="connsiteX99" fmla="*/ 29371 w 192586"/>
                    <a:gd name="connsiteY99" fmla="*/ 85906 h 91814"/>
                    <a:gd name="connsiteX100" fmla="*/ 28866 w 192586"/>
                    <a:gd name="connsiteY100" fmla="*/ 85336 h 91814"/>
                    <a:gd name="connsiteX101" fmla="*/ 30284 w 192586"/>
                    <a:gd name="connsiteY101" fmla="*/ 83266 h 91814"/>
                    <a:gd name="connsiteX102" fmla="*/ 30839 w 192586"/>
                    <a:gd name="connsiteY102" fmla="*/ 81726 h 91814"/>
                    <a:gd name="connsiteX103" fmla="*/ 30806 w 192586"/>
                    <a:gd name="connsiteY103" fmla="*/ 80307 h 91814"/>
                    <a:gd name="connsiteX104" fmla="*/ 31433 w 192586"/>
                    <a:gd name="connsiteY104" fmla="*/ 78555 h 91814"/>
                    <a:gd name="connsiteX105" fmla="*/ 32729 w 192586"/>
                    <a:gd name="connsiteY105" fmla="*/ 76477 h 91814"/>
                    <a:gd name="connsiteX106" fmla="*/ 33210 w 192586"/>
                    <a:gd name="connsiteY106" fmla="*/ 75067 h 91814"/>
                    <a:gd name="connsiteX107" fmla="*/ 32868 w 192586"/>
                    <a:gd name="connsiteY107" fmla="*/ 74326 h 91814"/>
                    <a:gd name="connsiteX108" fmla="*/ 31433 w 192586"/>
                    <a:gd name="connsiteY108" fmla="*/ 73136 h 91814"/>
                    <a:gd name="connsiteX109" fmla="*/ 30268 w 192586"/>
                    <a:gd name="connsiteY109" fmla="*/ 73046 h 91814"/>
                    <a:gd name="connsiteX110" fmla="*/ 28793 w 192586"/>
                    <a:gd name="connsiteY110" fmla="*/ 73437 h 91814"/>
                    <a:gd name="connsiteX111" fmla="*/ 24302 w 192586"/>
                    <a:gd name="connsiteY111" fmla="*/ 76493 h 91814"/>
                    <a:gd name="connsiteX112" fmla="*/ 23854 w 192586"/>
                    <a:gd name="connsiteY112" fmla="*/ 76265 h 91814"/>
                    <a:gd name="connsiteX113" fmla="*/ 22412 w 192586"/>
                    <a:gd name="connsiteY113" fmla="*/ 75768 h 91814"/>
                    <a:gd name="connsiteX114" fmla="*/ 22061 w 192586"/>
                    <a:gd name="connsiteY114" fmla="*/ 75858 h 91814"/>
                    <a:gd name="connsiteX115" fmla="*/ 18598 w 192586"/>
                    <a:gd name="connsiteY115" fmla="*/ 78514 h 91814"/>
                    <a:gd name="connsiteX116" fmla="*/ 15077 w 192586"/>
                    <a:gd name="connsiteY116" fmla="*/ 80112 h 91814"/>
                    <a:gd name="connsiteX117" fmla="*/ 6732 w 192586"/>
                    <a:gd name="connsiteY117" fmla="*/ 82377 h 91814"/>
                    <a:gd name="connsiteX118" fmla="*/ 4613 w 192586"/>
                    <a:gd name="connsiteY118" fmla="*/ 82655 h 91814"/>
                    <a:gd name="connsiteX119" fmla="*/ 2966 w 192586"/>
                    <a:gd name="connsiteY119" fmla="*/ 82483 h 91814"/>
                    <a:gd name="connsiteX120" fmla="*/ 847 w 192586"/>
                    <a:gd name="connsiteY120" fmla="*/ 81163 h 91814"/>
                    <a:gd name="connsiteX121" fmla="*/ 0 w 192586"/>
                    <a:gd name="connsiteY121" fmla="*/ 80250 h 91814"/>
                    <a:gd name="connsiteX122" fmla="*/ 73 w 192586"/>
                    <a:gd name="connsiteY122" fmla="*/ 79272 h 91814"/>
                    <a:gd name="connsiteX123" fmla="*/ 1059 w 192586"/>
                    <a:gd name="connsiteY123" fmla="*/ 78221 h 91814"/>
                    <a:gd name="connsiteX124" fmla="*/ 11458 w 192586"/>
                    <a:gd name="connsiteY124" fmla="*/ 69998 h 91814"/>
                    <a:gd name="connsiteX125" fmla="*/ 17881 w 192586"/>
                    <a:gd name="connsiteY125" fmla="*/ 64122 h 91814"/>
                    <a:gd name="connsiteX126" fmla="*/ 28524 w 192586"/>
                    <a:gd name="connsiteY126" fmla="*/ 53087 h 91814"/>
                    <a:gd name="connsiteX127" fmla="*/ 31270 w 192586"/>
                    <a:gd name="connsiteY127" fmla="*/ 50895 h 91814"/>
                    <a:gd name="connsiteX128" fmla="*/ 37448 w 192586"/>
                    <a:gd name="connsiteY128" fmla="*/ 47219 h 91814"/>
                    <a:gd name="connsiteX129" fmla="*/ 47374 w 192586"/>
                    <a:gd name="connsiteY129" fmla="*/ 43691 h 91814"/>
                    <a:gd name="connsiteX130" fmla="*/ 52272 w 192586"/>
                    <a:gd name="connsiteY130" fmla="*/ 41727 h 91814"/>
                    <a:gd name="connsiteX131" fmla="*/ 56510 w 192586"/>
                    <a:gd name="connsiteY131" fmla="*/ 39591 h 91814"/>
                    <a:gd name="connsiteX132" fmla="*/ 59224 w 192586"/>
                    <a:gd name="connsiteY132" fmla="*/ 37945 h 91814"/>
                    <a:gd name="connsiteX133" fmla="*/ 60406 w 192586"/>
                    <a:gd name="connsiteY133" fmla="*/ 36796 h 91814"/>
                    <a:gd name="connsiteX134" fmla="*/ 61359 w 192586"/>
                    <a:gd name="connsiteY134" fmla="*/ 36266 h 91814"/>
                    <a:gd name="connsiteX135" fmla="*/ 62076 w 192586"/>
                    <a:gd name="connsiteY135" fmla="*/ 36340 h 91814"/>
                    <a:gd name="connsiteX136" fmla="*/ 63494 w 192586"/>
                    <a:gd name="connsiteY136" fmla="*/ 35574 h 91814"/>
                    <a:gd name="connsiteX137" fmla="*/ 65915 w 192586"/>
                    <a:gd name="connsiteY137" fmla="*/ 32721 h 91814"/>
                    <a:gd name="connsiteX138" fmla="*/ 66192 w 192586"/>
                    <a:gd name="connsiteY138" fmla="*/ 32485 h 91814"/>
                    <a:gd name="connsiteX139" fmla="*/ 68498 w 192586"/>
                    <a:gd name="connsiteY139" fmla="*/ 31678 h 91814"/>
                    <a:gd name="connsiteX140" fmla="*/ 69248 w 192586"/>
                    <a:gd name="connsiteY140" fmla="*/ 30325 h 91814"/>
                    <a:gd name="connsiteX141" fmla="*/ 69704 w 192586"/>
                    <a:gd name="connsiteY141" fmla="*/ 28695 h 91814"/>
                    <a:gd name="connsiteX142" fmla="*/ 70805 w 192586"/>
                    <a:gd name="connsiteY142" fmla="*/ 25981 h 91814"/>
                    <a:gd name="connsiteX143" fmla="*/ 71571 w 192586"/>
                    <a:gd name="connsiteY143" fmla="*/ 24865 h 91814"/>
                    <a:gd name="connsiteX144" fmla="*/ 71758 w 192586"/>
                    <a:gd name="connsiteY144" fmla="*/ 23642 h 91814"/>
                    <a:gd name="connsiteX145" fmla="*/ 71375 w 192586"/>
                    <a:gd name="connsiteY145" fmla="*/ 22298 h 91814"/>
                    <a:gd name="connsiteX146" fmla="*/ 71481 w 192586"/>
                    <a:gd name="connsiteY146" fmla="*/ 21026 h 91814"/>
                    <a:gd name="connsiteX147" fmla="*/ 72084 w 192586"/>
                    <a:gd name="connsiteY147" fmla="*/ 19828 h 91814"/>
                    <a:gd name="connsiteX148" fmla="*/ 74912 w 192586"/>
                    <a:gd name="connsiteY148" fmla="*/ 18141 h 91814"/>
                    <a:gd name="connsiteX149" fmla="*/ 82655 w 192586"/>
                    <a:gd name="connsiteY149" fmla="*/ 15069 h 91814"/>
                    <a:gd name="connsiteX150" fmla="*/ 82923 w 192586"/>
                    <a:gd name="connsiteY150" fmla="*/ 15452 h 91814"/>
                    <a:gd name="connsiteX151" fmla="*/ 81570 w 192586"/>
                    <a:gd name="connsiteY151" fmla="*/ 17832 h 91814"/>
                    <a:gd name="connsiteX152" fmla="*/ 80128 w 192586"/>
                    <a:gd name="connsiteY152" fmla="*/ 22330 h 91814"/>
                    <a:gd name="connsiteX153" fmla="*/ 79623 w 192586"/>
                    <a:gd name="connsiteY153" fmla="*/ 22452 h 91814"/>
                    <a:gd name="connsiteX154" fmla="*/ 79158 w 192586"/>
                    <a:gd name="connsiteY154" fmla="*/ 23007 h 91814"/>
                    <a:gd name="connsiteX155" fmla="*/ 78734 w 192586"/>
                    <a:gd name="connsiteY155" fmla="*/ 23993 h 91814"/>
                    <a:gd name="connsiteX156" fmla="*/ 79835 w 192586"/>
                    <a:gd name="connsiteY156" fmla="*/ 23919 h 91814"/>
                    <a:gd name="connsiteX157" fmla="*/ 82451 w 192586"/>
                    <a:gd name="connsiteY157" fmla="*/ 22803 h 91814"/>
                    <a:gd name="connsiteX158" fmla="*/ 83657 w 192586"/>
                    <a:gd name="connsiteY158" fmla="*/ 22232 h 91814"/>
                    <a:gd name="connsiteX159" fmla="*/ 83967 w 192586"/>
                    <a:gd name="connsiteY159" fmla="*/ 21140 h 91814"/>
                    <a:gd name="connsiteX160" fmla="*/ 84366 w 192586"/>
                    <a:gd name="connsiteY160" fmla="*/ 18932 h 91814"/>
                    <a:gd name="connsiteX161" fmla="*/ 84920 w 192586"/>
                    <a:gd name="connsiteY161" fmla="*/ 17709 h 91814"/>
                    <a:gd name="connsiteX162" fmla="*/ 85645 w 192586"/>
                    <a:gd name="connsiteY162" fmla="*/ 17473 h 91814"/>
                    <a:gd name="connsiteX163" fmla="*/ 86126 w 192586"/>
                    <a:gd name="connsiteY163" fmla="*/ 16413 h 91814"/>
                    <a:gd name="connsiteX164" fmla="*/ 86363 w 192586"/>
                    <a:gd name="connsiteY164" fmla="*/ 14523 h 91814"/>
                    <a:gd name="connsiteX165" fmla="*/ 86933 w 192586"/>
                    <a:gd name="connsiteY165" fmla="*/ 13390 h 91814"/>
                    <a:gd name="connsiteX166" fmla="*/ 87846 w 192586"/>
                    <a:gd name="connsiteY166" fmla="*/ 13031 h 91814"/>
                    <a:gd name="connsiteX167" fmla="*/ 88229 w 192586"/>
                    <a:gd name="connsiteY167" fmla="*/ 12371 h 91814"/>
                    <a:gd name="connsiteX168" fmla="*/ 88172 w 192586"/>
                    <a:gd name="connsiteY168" fmla="*/ 11450 h 91814"/>
                    <a:gd name="connsiteX169" fmla="*/ 88400 w 192586"/>
                    <a:gd name="connsiteY169" fmla="*/ 8948 h 91814"/>
                    <a:gd name="connsiteX170" fmla="*/ 88588 w 192586"/>
                    <a:gd name="connsiteY170" fmla="*/ 7775 h 91814"/>
                    <a:gd name="connsiteX171" fmla="*/ 89394 w 192586"/>
                    <a:gd name="connsiteY171" fmla="*/ 6063 h 91814"/>
                    <a:gd name="connsiteX172" fmla="*/ 90519 w 192586"/>
                    <a:gd name="connsiteY172" fmla="*/ 5542 h 91814"/>
                    <a:gd name="connsiteX173" fmla="*/ 92059 w 192586"/>
                    <a:gd name="connsiteY173" fmla="*/ 5648 h 91814"/>
                    <a:gd name="connsiteX174" fmla="*/ 93119 w 192586"/>
                    <a:gd name="connsiteY174" fmla="*/ 6512 h 91814"/>
                    <a:gd name="connsiteX175" fmla="*/ 93697 w 192586"/>
                    <a:gd name="connsiteY175" fmla="*/ 8142 h 91814"/>
                    <a:gd name="connsiteX176" fmla="*/ 93852 w 192586"/>
                    <a:gd name="connsiteY176" fmla="*/ 9486 h 91814"/>
                    <a:gd name="connsiteX177" fmla="*/ 93591 w 192586"/>
                    <a:gd name="connsiteY177" fmla="*/ 10546 h 91814"/>
                    <a:gd name="connsiteX178" fmla="*/ 92092 w 192586"/>
                    <a:gd name="connsiteY178" fmla="*/ 12469 h 91814"/>
                    <a:gd name="connsiteX179" fmla="*/ 87805 w 192586"/>
                    <a:gd name="connsiteY179" fmla="*/ 17074 h 91814"/>
                    <a:gd name="connsiteX180" fmla="*/ 87357 w 192586"/>
                    <a:gd name="connsiteY180" fmla="*/ 18361 h 91814"/>
                    <a:gd name="connsiteX181" fmla="*/ 87732 w 192586"/>
                    <a:gd name="connsiteY181" fmla="*/ 19030 h 91814"/>
                    <a:gd name="connsiteX182" fmla="*/ 87976 w 192586"/>
                    <a:gd name="connsiteY182" fmla="*/ 20007 h 91814"/>
                    <a:gd name="connsiteX183" fmla="*/ 88490 w 192586"/>
                    <a:gd name="connsiteY183" fmla="*/ 20130 h 91814"/>
                    <a:gd name="connsiteX184" fmla="*/ 89435 w 192586"/>
                    <a:gd name="connsiteY184" fmla="*/ 19282 h 91814"/>
                    <a:gd name="connsiteX185" fmla="*/ 89843 w 192586"/>
                    <a:gd name="connsiteY185" fmla="*/ 18516 h 91814"/>
                    <a:gd name="connsiteX186" fmla="*/ 89712 w 192586"/>
                    <a:gd name="connsiteY186" fmla="*/ 17848 h 91814"/>
                    <a:gd name="connsiteX187" fmla="*/ 90054 w 192586"/>
                    <a:gd name="connsiteY187" fmla="*/ 16984 h 91814"/>
                    <a:gd name="connsiteX188" fmla="*/ 90853 w 192586"/>
                    <a:gd name="connsiteY188" fmla="*/ 15916 h 91814"/>
                    <a:gd name="connsiteX189" fmla="*/ 91481 w 192586"/>
                    <a:gd name="connsiteY189" fmla="*/ 15607 h 91814"/>
                    <a:gd name="connsiteX190" fmla="*/ 91945 w 192586"/>
                    <a:gd name="connsiteY190" fmla="*/ 16022 h 91814"/>
                    <a:gd name="connsiteX191" fmla="*/ 92711 w 192586"/>
                    <a:gd name="connsiteY191" fmla="*/ 15843 h 91814"/>
                    <a:gd name="connsiteX192" fmla="*/ 93787 w 192586"/>
                    <a:gd name="connsiteY192" fmla="*/ 15044 h 91814"/>
                    <a:gd name="connsiteX193" fmla="*/ 95710 w 192586"/>
                    <a:gd name="connsiteY193" fmla="*/ 14629 h 91814"/>
                    <a:gd name="connsiteX194" fmla="*/ 96077 w 192586"/>
                    <a:gd name="connsiteY194" fmla="*/ 14596 h 91814"/>
                    <a:gd name="connsiteX195" fmla="*/ 98424 w 192586"/>
                    <a:gd name="connsiteY195" fmla="*/ 11499 h 91814"/>
                    <a:gd name="connsiteX196" fmla="*/ 99150 w 192586"/>
                    <a:gd name="connsiteY196" fmla="*/ 9698 h 91814"/>
                    <a:gd name="connsiteX197" fmla="*/ 99158 w 192586"/>
                    <a:gd name="connsiteY197" fmla="*/ 8142 h 91814"/>
                    <a:gd name="connsiteX198" fmla="*/ 98204 w 192586"/>
                    <a:gd name="connsiteY198" fmla="*/ 6528 h 91814"/>
                    <a:gd name="connsiteX199" fmla="*/ 96289 w 192586"/>
                    <a:gd name="connsiteY199" fmla="*/ 4857 h 91814"/>
                    <a:gd name="connsiteX200" fmla="*/ 95735 w 192586"/>
                    <a:gd name="connsiteY200" fmla="*/ 3056 h 91814"/>
                    <a:gd name="connsiteX201" fmla="*/ 95686 w 192586"/>
                    <a:gd name="connsiteY201" fmla="*/ 2151 h 91814"/>
                    <a:gd name="connsiteX202" fmla="*/ 95319 w 192586"/>
                    <a:gd name="connsiteY202" fmla="*/ 1011 h 91814"/>
                    <a:gd name="connsiteX203" fmla="*/ 95719 w 192586"/>
                    <a:gd name="connsiteY203" fmla="*/ 579 h 91814"/>
                    <a:gd name="connsiteX204" fmla="*/ 96892 w 192586"/>
                    <a:gd name="connsiteY204" fmla="*/ 864 h 91814"/>
                    <a:gd name="connsiteX205" fmla="*/ 97878 w 192586"/>
                    <a:gd name="connsiteY205" fmla="*/ 717 h 91814"/>
                    <a:gd name="connsiteX206" fmla="*/ 98685 w 192586"/>
                    <a:gd name="connsiteY206" fmla="*/ 114 h 91814"/>
                    <a:gd name="connsiteX207" fmla="*/ 100127 w 192586"/>
                    <a:gd name="connsiteY207" fmla="*/ 0 h 91814"/>
                    <a:gd name="connsiteX208" fmla="*/ 101309 w 192586"/>
                    <a:gd name="connsiteY208" fmla="*/ 98 h 91814"/>
                    <a:gd name="connsiteX209" fmla="*/ 102719 w 192586"/>
                    <a:gd name="connsiteY209" fmla="*/ 1548 h 91814"/>
                    <a:gd name="connsiteX210" fmla="*/ 107796 w 192586"/>
                    <a:gd name="connsiteY210" fmla="*/ 2942 h 91814"/>
                    <a:gd name="connsiteX211" fmla="*/ 109671 w 192586"/>
                    <a:gd name="connsiteY211" fmla="*/ 3692 h 91814"/>
                    <a:gd name="connsiteX212" fmla="*/ 111993 w 192586"/>
                    <a:gd name="connsiteY212" fmla="*/ 4458 h 91814"/>
                    <a:gd name="connsiteX213" fmla="*/ 112580 w 192586"/>
                    <a:gd name="connsiteY213" fmla="*/ 4710 h 91814"/>
                    <a:gd name="connsiteX214" fmla="*/ 112972 w 192586"/>
                    <a:gd name="connsiteY214" fmla="*/ 5534 h 91814"/>
                    <a:gd name="connsiteX215" fmla="*/ 113827 w 192586"/>
                    <a:gd name="connsiteY215" fmla="*/ 5884 h 91814"/>
                    <a:gd name="connsiteX216" fmla="*/ 115156 w 192586"/>
                    <a:gd name="connsiteY216" fmla="*/ 5754 h 91814"/>
                    <a:gd name="connsiteX217" fmla="*/ 116557 w 192586"/>
                    <a:gd name="connsiteY217" fmla="*/ 6023 h 91814"/>
                    <a:gd name="connsiteX218" fmla="*/ 118929 w 192586"/>
                    <a:gd name="connsiteY218" fmla="*/ 7294 h 91814"/>
                    <a:gd name="connsiteX219" fmla="*/ 121105 w 192586"/>
                    <a:gd name="connsiteY219" fmla="*/ 8142 h 91814"/>
                    <a:gd name="connsiteX220" fmla="*/ 124552 w 192586"/>
                    <a:gd name="connsiteY220" fmla="*/ 8027 h 91814"/>
                    <a:gd name="connsiteX221" fmla="*/ 126435 w 192586"/>
                    <a:gd name="connsiteY221" fmla="*/ 7677 h 91814"/>
                    <a:gd name="connsiteX222" fmla="*/ 129442 w 192586"/>
                    <a:gd name="connsiteY222" fmla="*/ 8264 h 91814"/>
                    <a:gd name="connsiteX223" fmla="*/ 131121 w 192586"/>
                    <a:gd name="connsiteY223" fmla="*/ 8264 h 91814"/>
                    <a:gd name="connsiteX224" fmla="*/ 132816 w 192586"/>
                    <a:gd name="connsiteY224" fmla="*/ 7253 h 91814"/>
                    <a:gd name="connsiteX225" fmla="*/ 134275 w 192586"/>
                    <a:gd name="connsiteY225" fmla="*/ 6992 h 91814"/>
                    <a:gd name="connsiteX226" fmla="*/ 135505 w 192586"/>
                    <a:gd name="connsiteY226" fmla="*/ 7473 h 91814"/>
                    <a:gd name="connsiteX227" fmla="*/ 136035 w 192586"/>
                    <a:gd name="connsiteY227" fmla="*/ 8093 h 91814"/>
                    <a:gd name="connsiteX228" fmla="*/ 137038 w 192586"/>
                    <a:gd name="connsiteY228" fmla="*/ 8973 h 91814"/>
                    <a:gd name="connsiteX229" fmla="*/ 140061 w 192586"/>
                    <a:gd name="connsiteY229" fmla="*/ 8549 h 91814"/>
                    <a:gd name="connsiteX230" fmla="*/ 140729 w 192586"/>
                    <a:gd name="connsiteY230" fmla="*/ 8794 h 91814"/>
                    <a:gd name="connsiteX231" fmla="*/ 141626 w 192586"/>
                    <a:gd name="connsiteY231" fmla="*/ 9763 h 91814"/>
                    <a:gd name="connsiteX232" fmla="*/ 141781 w 192586"/>
                    <a:gd name="connsiteY232" fmla="*/ 10383 h 91814"/>
                    <a:gd name="connsiteX233" fmla="*/ 142253 w 192586"/>
                    <a:gd name="connsiteY233" fmla="*/ 11344 h 91814"/>
                    <a:gd name="connsiteX234" fmla="*/ 143403 w 192586"/>
                    <a:gd name="connsiteY234" fmla="*/ 13178 h 91814"/>
                    <a:gd name="connsiteX235" fmla="*/ 143672 w 192586"/>
                    <a:gd name="connsiteY235" fmla="*/ 13814 h 91814"/>
                    <a:gd name="connsiteX236" fmla="*/ 144454 w 192586"/>
                    <a:gd name="connsiteY236" fmla="*/ 14572 h 91814"/>
                    <a:gd name="connsiteX237" fmla="*/ 145098 w 192586"/>
                    <a:gd name="connsiteY237" fmla="*/ 16348 h 91814"/>
                    <a:gd name="connsiteX238" fmla="*/ 145578 w 192586"/>
                    <a:gd name="connsiteY238" fmla="*/ 19160 h 91814"/>
                    <a:gd name="connsiteX239" fmla="*/ 146116 w 192586"/>
                    <a:gd name="connsiteY239" fmla="*/ 20871 h 91814"/>
                    <a:gd name="connsiteX240" fmla="*/ 146720 w 192586"/>
                    <a:gd name="connsiteY240" fmla="*/ 21507 h 91814"/>
                    <a:gd name="connsiteX241" fmla="*/ 146980 w 192586"/>
                    <a:gd name="connsiteY241" fmla="*/ 22224 h 91814"/>
                    <a:gd name="connsiteX242" fmla="*/ 147526 w 192586"/>
                    <a:gd name="connsiteY242" fmla="*/ 25150 h 91814"/>
                    <a:gd name="connsiteX243" fmla="*/ 148887 w 192586"/>
                    <a:gd name="connsiteY243" fmla="*/ 28516 h 91814"/>
                    <a:gd name="connsiteX244" fmla="*/ 150909 w 192586"/>
                    <a:gd name="connsiteY244" fmla="*/ 31800 h 91814"/>
                    <a:gd name="connsiteX245" fmla="*/ 153614 w 192586"/>
                    <a:gd name="connsiteY245" fmla="*/ 35011 h 91814"/>
                    <a:gd name="connsiteX246" fmla="*/ 156988 w 192586"/>
                    <a:gd name="connsiteY246" fmla="*/ 37138 h 91814"/>
                    <a:gd name="connsiteX247" fmla="*/ 161030 w 192586"/>
                    <a:gd name="connsiteY247" fmla="*/ 38190 h 91814"/>
                    <a:gd name="connsiteX248" fmla="*/ 164624 w 192586"/>
                    <a:gd name="connsiteY248" fmla="*/ 38426 h 91814"/>
                    <a:gd name="connsiteX249" fmla="*/ 167778 w 192586"/>
                    <a:gd name="connsiteY249" fmla="*/ 37847 h 91814"/>
                    <a:gd name="connsiteX250" fmla="*/ 171959 w 192586"/>
                    <a:gd name="connsiteY250" fmla="*/ 37529 h 91814"/>
                    <a:gd name="connsiteX251" fmla="*/ 177175 w 192586"/>
                    <a:gd name="connsiteY251" fmla="*/ 37489 h 91814"/>
                    <a:gd name="connsiteX252" fmla="*/ 179873 w 192586"/>
                    <a:gd name="connsiteY252" fmla="*/ 37855 h 91814"/>
                    <a:gd name="connsiteX253" fmla="*/ 180052 w 192586"/>
                    <a:gd name="connsiteY253" fmla="*/ 38638 h 91814"/>
                    <a:gd name="connsiteX254" fmla="*/ 179555 w 192586"/>
                    <a:gd name="connsiteY254" fmla="*/ 39779 h 91814"/>
                    <a:gd name="connsiteX255" fmla="*/ 178365 w 192586"/>
                    <a:gd name="connsiteY255" fmla="*/ 41262 h 91814"/>
                    <a:gd name="connsiteX256" fmla="*/ 178243 w 192586"/>
                    <a:gd name="connsiteY256" fmla="*/ 42232 h 91814"/>
                    <a:gd name="connsiteX257" fmla="*/ 178186 w 192586"/>
                    <a:gd name="connsiteY257" fmla="*/ 43503 h 91814"/>
                    <a:gd name="connsiteX258" fmla="*/ 177232 w 192586"/>
                    <a:gd name="connsiteY258" fmla="*/ 45182 h 91814"/>
                    <a:gd name="connsiteX259" fmla="*/ 176727 w 192586"/>
                    <a:gd name="connsiteY259" fmla="*/ 46193 h 91814"/>
                    <a:gd name="connsiteX260" fmla="*/ 176890 w 192586"/>
                    <a:gd name="connsiteY260" fmla="*/ 46894 h 91814"/>
                    <a:gd name="connsiteX261" fmla="*/ 176613 w 192586"/>
                    <a:gd name="connsiteY261" fmla="*/ 47831 h 91814"/>
                    <a:gd name="connsiteX262" fmla="*/ 175912 w 192586"/>
                    <a:gd name="connsiteY262" fmla="*/ 49012 h 91814"/>
                    <a:gd name="connsiteX263" fmla="*/ 176328 w 192586"/>
                    <a:gd name="connsiteY263" fmla="*/ 50585 h 91814"/>
                    <a:gd name="connsiteX264" fmla="*/ 177860 w 192586"/>
                    <a:gd name="connsiteY264" fmla="*/ 52549 h 91814"/>
                    <a:gd name="connsiteX265" fmla="*/ 179726 w 192586"/>
                    <a:gd name="connsiteY265" fmla="*/ 54139 h 91814"/>
                    <a:gd name="connsiteX266" fmla="*/ 181934 w 192586"/>
                    <a:gd name="connsiteY266" fmla="*/ 55345 h 91814"/>
                    <a:gd name="connsiteX267" fmla="*/ 183312 w 192586"/>
                    <a:gd name="connsiteY267" fmla="*/ 56592 h 91814"/>
                    <a:gd name="connsiteX268" fmla="*/ 183866 w 192586"/>
                    <a:gd name="connsiteY268" fmla="*/ 57879 h 91814"/>
                    <a:gd name="connsiteX269" fmla="*/ 184477 w 192586"/>
                    <a:gd name="connsiteY269" fmla="*/ 58596 h 91814"/>
                    <a:gd name="connsiteX270" fmla="*/ 185154 w 192586"/>
                    <a:gd name="connsiteY270" fmla="*/ 58727 h 91814"/>
                    <a:gd name="connsiteX271" fmla="*/ 185773 w 192586"/>
                    <a:gd name="connsiteY271" fmla="*/ 59322 h 91814"/>
                    <a:gd name="connsiteX272" fmla="*/ 186311 w 192586"/>
                    <a:gd name="connsiteY272" fmla="*/ 60398 h 91814"/>
                    <a:gd name="connsiteX273" fmla="*/ 185716 w 192586"/>
                    <a:gd name="connsiteY273" fmla="*/ 62280 h 91814"/>
                    <a:gd name="connsiteX274" fmla="*/ 183988 w 192586"/>
                    <a:gd name="connsiteY274" fmla="*/ 64994 h 91814"/>
                    <a:gd name="connsiteX275" fmla="*/ 183206 w 192586"/>
                    <a:gd name="connsiteY275" fmla="*/ 66738 h 91814"/>
                    <a:gd name="connsiteX276" fmla="*/ 183385 w 192586"/>
                    <a:gd name="connsiteY276" fmla="*/ 67529 h 91814"/>
                    <a:gd name="connsiteX277" fmla="*/ 181910 w 192586"/>
                    <a:gd name="connsiteY277" fmla="*/ 70495 h 91814"/>
                    <a:gd name="connsiteX278" fmla="*/ 181828 w 192586"/>
                    <a:gd name="connsiteY278" fmla="*/ 71661 h 91814"/>
                    <a:gd name="connsiteX279" fmla="*/ 182440 w 192586"/>
                    <a:gd name="connsiteY279" fmla="*/ 72467 h 91814"/>
                    <a:gd name="connsiteX280" fmla="*/ 184787 w 192586"/>
                    <a:gd name="connsiteY280" fmla="*/ 73616 h 91814"/>
                    <a:gd name="connsiteX281" fmla="*/ 185553 w 192586"/>
                    <a:gd name="connsiteY281" fmla="*/ 74570 h 91814"/>
                    <a:gd name="connsiteX282" fmla="*/ 186164 w 192586"/>
                    <a:gd name="connsiteY282" fmla="*/ 74717 h 91814"/>
                    <a:gd name="connsiteX283" fmla="*/ 186612 w 192586"/>
                    <a:gd name="connsiteY283" fmla="*/ 74048 h 91814"/>
                    <a:gd name="connsiteX284" fmla="*/ 187550 w 192586"/>
                    <a:gd name="connsiteY284" fmla="*/ 73739 h 91814"/>
                    <a:gd name="connsiteX285" fmla="*/ 188952 w 192586"/>
                    <a:gd name="connsiteY285" fmla="*/ 73804 h 91814"/>
                    <a:gd name="connsiteX286" fmla="*/ 190272 w 192586"/>
                    <a:gd name="connsiteY286" fmla="*/ 74277 h 91814"/>
                    <a:gd name="connsiteX287" fmla="*/ 191502 w 192586"/>
                    <a:gd name="connsiteY287" fmla="*/ 75173 h 91814"/>
                    <a:gd name="connsiteX288" fmla="*/ 191942 w 192586"/>
                    <a:gd name="connsiteY288" fmla="*/ 76086 h 91814"/>
                    <a:gd name="connsiteX289" fmla="*/ 191584 w 192586"/>
                    <a:gd name="connsiteY289" fmla="*/ 77039 h 91814"/>
                    <a:gd name="connsiteX290" fmla="*/ 190948 w 192586"/>
                    <a:gd name="connsiteY290" fmla="*/ 77373 h 91814"/>
                    <a:gd name="connsiteX291" fmla="*/ 189041 w 192586"/>
                    <a:gd name="connsiteY291" fmla="*/ 77227 h 91814"/>
                    <a:gd name="connsiteX292" fmla="*/ 187973 w 192586"/>
                    <a:gd name="connsiteY292" fmla="*/ 77716 h 91814"/>
                    <a:gd name="connsiteX293" fmla="*/ 187338 w 192586"/>
                    <a:gd name="connsiteY293" fmla="*/ 78726 h 91814"/>
                    <a:gd name="connsiteX294" fmla="*/ 187150 w 192586"/>
                    <a:gd name="connsiteY294" fmla="*/ 81432 h 91814"/>
                    <a:gd name="connsiteX295" fmla="*/ 187672 w 192586"/>
                    <a:gd name="connsiteY295" fmla="*/ 82581 h 91814"/>
                    <a:gd name="connsiteX296" fmla="*/ 187982 w 192586"/>
                    <a:gd name="connsiteY296" fmla="*/ 82581 h 91814"/>
                    <a:gd name="connsiteX297" fmla="*/ 188405 w 192586"/>
                    <a:gd name="connsiteY297" fmla="*/ 82035 h 91814"/>
                    <a:gd name="connsiteX298" fmla="*/ 188952 w 192586"/>
                    <a:gd name="connsiteY298" fmla="*/ 80951 h 91814"/>
                    <a:gd name="connsiteX299" fmla="*/ 189546 w 192586"/>
                    <a:gd name="connsiteY299" fmla="*/ 80829 h 91814"/>
                    <a:gd name="connsiteX300" fmla="*/ 190190 w 192586"/>
                    <a:gd name="connsiteY300" fmla="*/ 81668 h 91814"/>
                    <a:gd name="connsiteX301" fmla="*/ 189497 w 192586"/>
                    <a:gd name="connsiteY301" fmla="*/ 83413 h 91814"/>
                    <a:gd name="connsiteX302" fmla="*/ 187476 w 192586"/>
                    <a:gd name="connsiteY302" fmla="*/ 86045 h 91814"/>
                    <a:gd name="connsiteX303" fmla="*/ 186955 w 192586"/>
                    <a:gd name="connsiteY303" fmla="*/ 86876 h 91814"/>
                    <a:gd name="connsiteX304" fmla="*/ 186955 w 192586"/>
                    <a:gd name="connsiteY304" fmla="*/ 88058 h 91814"/>
                    <a:gd name="connsiteX305" fmla="*/ 188642 w 192586"/>
                    <a:gd name="connsiteY305" fmla="*/ 90185 h 91814"/>
                    <a:gd name="connsiteX306" fmla="*/ 189261 w 192586"/>
                    <a:gd name="connsiteY306" fmla="*/ 89981 h 91814"/>
                    <a:gd name="connsiteX307" fmla="*/ 189669 w 192586"/>
                    <a:gd name="connsiteY307" fmla="*/ 89460 h 91814"/>
                    <a:gd name="connsiteX308" fmla="*/ 190386 w 192586"/>
                    <a:gd name="connsiteY308" fmla="*/ 88775 h 91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Lst>
                  <a:rect l="l" t="t" r="r" b="b"/>
                  <a:pathLst>
                    <a:path w="192586" h="91814">
                      <a:moveTo>
                        <a:pt x="190386" y="88775"/>
                      </a:moveTo>
                      <a:lnTo>
                        <a:pt x="192586" y="88449"/>
                      </a:lnTo>
                      <a:lnTo>
                        <a:pt x="192236" y="89386"/>
                      </a:lnTo>
                      <a:lnTo>
                        <a:pt x="191519" y="89476"/>
                      </a:lnTo>
                      <a:lnTo>
                        <a:pt x="190590" y="89883"/>
                      </a:lnTo>
                      <a:lnTo>
                        <a:pt x="189530" y="90821"/>
                      </a:lnTo>
                      <a:lnTo>
                        <a:pt x="188006" y="91815"/>
                      </a:lnTo>
                      <a:lnTo>
                        <a:pt x="186441" y="91562"/>
                      </a:lnTo>
                      <a:lnTo>
                        <a:pt x="185366" y="90177"/>
                      </a:lnTo>
                      <a:lnTo>
                        <a:pt x="183817" y="89875"/>
                      </a:lnTo>
                      <a:lnTo>
                        <a:pt x="181796" y="90666"/>
                      </a:lnTo>
                      <a:lnTo>
                        <a:pt x="180003" y="90633"/>
                      </a:lnTo>
                      <a:lnTo>
                        <a:pt x="178438" y="89769"/>
                      </a:lnTo>
                      <a:lnTo>
                        <a:pt x="175456" y="89345"/>
                      </a:lnTo>
                      <a:lnTo>
                        <a:pt x="175105" y="88694"/>
                      </a:lnTo>
                      <a:lnTo>
                        <a:pt x="175162" y="88017"/>
                      </a:lnTo>
                      <a:lnTo>
                        <a:pt x="175627" y="87300"/>
                      </a:lnTo>
                      <a:lnTo>
                        <a:pt x="175896" y="85613"/>
                      </a:lnTo>
                      <a:lnTo>
                        <a:pt x="175953" y="82923"/>
                      </a:lnTo>
                      <a:lnTo>
                        <a:pt x="176352" y="81033"/>
                      </a:lnTo>
                      <a:lnTo>
                        <a:pt x="177102" y="79933"/>
                      </a:lnTo>
                      <a:lnTo>
                        <a:pt x="175944" y="79476"/>
                      </a:lnTo>
                      <a:lnTo>
                        <a:pt x="172872" y="79672"/>
                      </a:lnTo>
                      <a:lnTo>
                        <a:pt x="169343" y="80576"/>
                      </a:lnTo>
                      <a:lnTo>
                        <a:pt x="165358" y="82198"/>
                      </a:lnTo>
                      <a:lnTo>
                        <a:pt x="161022" y="82769"/>
                      </a:lnTo>
                      <a:lnTo>
                        <a:pt x="156353" y="82288"/>
                      </a:lnTo>
                      <a:lnTo>
                        <a:pt x="152824" y="82361"/>
                      </a:lnTo>
                      <a:lnTo>
                        <a:pt x="148912" y="83176"/>
                      </a:lnTo>
                      <a:lnTo>
                        <a:pt x="148235" y="82907"/>
                      </a:lnTo>
                      <a:lnTo>
                        <a:pt x="145774" y="83991"/>
                      </a:lnTo>
                      <a:lnTo>
                        <a:pt x="141528" y="86420"/>
                      </a:lnTo>
                      <a:lnTo>
                        <a:pt x="138350" y="88669"/>
                      </a:lnTo>
                      <a:lnTo>
                        <a:pt x="135701" y="91204"/>
                      </a:lnTo>
                      <a:lnTo>
                        <a:pt x="135294" y="91228"/>
                      </a:lnTo>
                      <a:lnTo>
                        <a:pt x="134666" y="90666"/>
                      </a:lnTo>
                      <a:lnTo>
                        <a:pt x="133330" y="89883"/>
                      </a:lnTo>
                      <a:lnTo>
                        <a:pt x="131903" y="89859"/>
                      </a:lnTo>
                      <a:lnTo>
                        <a:pt x="130379" y="90592"/>
                      </a:lnTo>
                      <a:lnTo>
                        <a:pt x="128847" y="90120"/>
                      </a:lnTo>
                      <a:lnTo>
                        <a:pt x="127282" y="88457"/>
                      </a:lnTo>
                      <a:lnTo>
                        <a:pt x="125864" y="87993"/>
                      </a:lnTo>
                      <a:lnTo>
                        <a:pt x="124585" y="88718"/>
                      </a:lnTo>
                      <a:lnTo>
                        <a:pt x="122482" y="89044"/>
                      </a:lnTo>
                      <a:lnTo>
                        <a:pt x="117829" y="88661"/>
                      </a:lnTo>
                      <a:lnTo>
                        <a:pt x="117340" y="88123"/>
                      </a:lnTo>
                      <a:lnTo>
                        <a:pt x="116924" y="86330"/>
                      </a:lnTo>
                      <a:lnTo>
                        <a:pt x="116419" y="85556"/>
                      </a:lnTo>
                      <a:lnTo>
                        <a:pt x="115522" y="85010"/>
                      </a:lnTo>
                      <a:lnTo>
                        <a:pt x="114080" y="83021"/>
                      </a:lnTo>
                      <a:lnTo>
                        <a:pt x="110910" y="77936"/>
                      </a:lnTo>
                      <a:lnTo>
                        <a:pt x="110029" y="77325"/>
                      </a:lnTo>
                      <a:lnTo>
                        <a:pt x="107438" y="75760"/>
                      </a:lnTo>
                      <a:lnTo>
                        <a:pt x="104968" y="75051"/>
                      </a:lnTo>
                      <a:lnTo>
                        <a:pt x="98710" y="74057"/>
                      </a:lnTo>
                      <a:lnTo>
                        <a:pt x="97357" y="73356"/>
                      </a:lnTo>
                      <a:lnTo>
                        <a:pt x="96542" y="73494"/>
                      </a:lnTo>
                      <a:lnTo>
                        <a:pt x="92402" y="76241"/>
                      </a:lnTo>
                      <a:lnTo>
                        <a:pt x="92230" y="76836"/>
                      </a:lnTo>
                      <a:lnTo>
                        <a:pt x="91978" y="77422"/>
                      </a:lnTo>
                      <a:lnTo>
                        <a:pt x="91309" y="78384"/>
                      </a:lnTo>
                      <a:lnTo>
                        <a:pt x="90764" y="78824"/>
                      </a:lnTo>
                      <a:lnTo>
                        <a:pt x="90421" y="78376"/>
                      </a:lnTo>
                      <a:lnTo>
                        <a:pt x="90087" y="77569"/>
                      </a:lnTo>
                      <a:lnTo>
                        <a:pt x="90144" y="75817"/>
                      </a:lnTo>
                      <a:lnTo>
                        <a:pt x="90584" y="73095"/>
                      </a:lnTo>
                      <a:lnTo>
                        <a:pt x="90332" y="71335"/>
                      </a:lnTo>
                      <a:lnTo>
                        <a:pt x="89378" y="70511"/>
                      </a:lnTo>
                      <a:lnTo>
                        <a:pt x="88971" y="69525"/>
                      </a:lnTo>
                      <a:lnTo>
                        <a:pt x="89101" y="68376"/>
                      </a:lnTo>
                      <a:lnTo>
                        <a:pt x="88416" y="67447"/>
                      </a:lnTo>
                      <a:lnTo>
                        <a:pt x="86901" y="66754"/>
                      </a:lnTo>
                      <a:lnTo>
                        <a:pt x="86200" y="65842"/>
                      </a:lnTo>
                      <a:lnTo>
                        <a:pt x="86306" y="64709"/>
                      </a:lnTo>
                      <a:lnTo>
                        <a:pt x="86159" y="63935"/>
                      </a:lnTo>
                      <a:lnTo>
                        <a:pt x="85759" y="63519"/>
                      </a:lnTo>
                      <a:lnTo>
                        <a:pt x="84146" y="64407"/>
                      </a:lnTo>
                      <a:lnTo>
                        <a:pt x="81310" y="66591"/>
                      </a:lnTo>
                      <a:lnTo>
                        <a:pt x="79394" y="68547"/>
                      </a:lnTo>
                      <a:lnTo>
                        <a:pt x="78376" y="70259"/>
                      </a:lnTo>
                      <a:lnTo>
                        <a:pt x="76860" y="71237"/>
                      </a:lnTo>
                      <a:lnTo>
                        <a:pt x="74839" y="71457"/>
                      </a:lnTo>
                      <a:lnTo>
                        <a:pt x="73242" y="72190"/>
                      </a:lnTo>
                      <a:lnTo>
                        <a:pt x="70397" y="74700"/>
                      </a:lnTo>
                      <a:lnTo>
                        <a:pt x="68278" y="75988"/>
                      </a:lnTo>
                      <a:lnTo>
                        <a:pt x="64758" y="76933"/>
                      </a:lnTo>
                      <a:lnTo>
                        <a:pt x="59835" y="77528"/>
                      </a:lnTo>
                      <a:lnTo>
                        <a:pt x="55736" y="79158"/>
                      </a:lnTo>
                      <a:lnTo>
                        <a:pt x="52444" y="81823"/>
                      </a:lnTo>
                      <a:lnTo>
                        <a:pt x="48466" y="84073"/>
                      </a:lnTo>
                      <a:lnTo>
                        <a:pt x="43813" y="85923"/>
                      </a:lnTo>
                      <a:lnTo>
                        <a:pt x="40643" y="86575"/>
                      </a:lnTo>
                      <a:lnTo>
                        <a:pt x="38972" y="86037"/>
                      </a:lnTo>
                      <a:lnTo>
                        <a:pt x="36975" y="84896"/>
                      </a:lnTo>
                      <a:lnTo>
                        <a:pt x="33992" y="82858"/>
                      </a:lnTo>
                      <a:lnTo>
                        <a:pt x="33560" y="83046"/>
                      </a:lnTo>
                      <a:lnTo>
                        <a:pt x="33789" y="83461"/>
                      </a:lnTo>
                      <a:lnTo>
                        <a:pt x="33724" y="83812"/>
                      </a:lnTo>
                      <a:lnTo>
                        <a:pt x="33169" y="84399"/>
                      </a:lnTo>
                      <a:lnTo>
                        <a:pt x="29371" y="85906"/>
                      </a:lnTo>
                      <a:lnTo>
                        <a:pt x="28866" y="85336"/>
                      </a:lnTo>
                      <a:lnTo>
                        <a:pt x="30284" y="83266"/>
                      </a:lnTo>
                      <a:lnTo>
                        <a:pt x="30839" y="81726"/>
                      </a:lnTo>
                      <a:lnTo>
                        <a:pt x="30806" y="80307"/>
                      </a:lnTo>
                      <a:lnTo>
                        <a:pt x="31433" y="78555"/>
                      </a:lnTo>
                      <a:lnTo>
                        <a:pt x="32729" y="76477"/>
                      </a:lnTo>
                      <a:lnTo>
                        <a:pt x="33210" y="75067"/>
                      </a:lnTo>
                      <a:lnTo>
                        <a:pt x="32868" y="74326"/>
                      </a:lnTo>
                      <a:lnTo>
                        <a:pt x="31433" y="73136"/>
                      </a:lnTo>
                      <a:lnTo>
                        <a:pt x="30268" y="73046"/>
                      </a:lnTo>
                      <a:lnTo>
                        <a:pt x="28793" y="73437"/>
                      </a:lnTo>
                      <a:lnTo>
                        <a:pt x="24302" y="76493"/>
                      </a:lnTo>
                      <a:lnTo>
                        <a:pt x="23854" y="76265"/>
                      </a:lnTo>
                      <a:lnTo>
                        <a:pt x="22412" y="75768"/>
                      </a:lnTo>
                      <a:lnTo>
                        <a:pt x="22061" y="75858"/>
                      </a:lnTo>
                      <a:lnTo>
                        <a:pt x="18598" y="78514"/>
                      </a:lnTo>
                      <a:lnTo>
                        <a:pt x="15077" y="80112"/>
                      </a:lnTo>
                      <a:lnTo>
                        <a:pt x="6732" y="82377"/>
                      </a:lnTo>
                      <a:lnTo>
                        <a:pt x="4613" y="82655"/>
                      </a:lnTo>
                      <a:lnTo>
                        <a:pt x="2966" y="82483"/>
                      </a:lnTo>
                      <a:lnTo>
                        <a:pt x="847" y="81163"/>
                      </a:lnTo>
                      <a:lnTo>
                        <a:pt x="0" y="80250"/>
                      </a:lnTo>
                      <a:lnTo>
                        <a:pt x="73" y="79272"/>
                      </a:lnTo>
                      <a:lnTo>
                        <a:pt x="1059" y="78221"/>
                      </a:lnTo>
                      <a:lnTo>
                        <a:pt x="11458" y="69998"/>
                      </a:lnTo>
                      <a:lnTo>
                        <a:pt x="17881" y="64122"/>
                      </a:lnTo>
                      <a:lnTo>
                        <a:pt x="28524" y="53087"/>
                      </a:lnTo>
                      <a:lnTo>
                        <a:pt x="31270" y="50895"/>
                      </a:lnTo>
                      <a:lnTo>
                        <a:pt x="37448" y="47219"/>
                      </a:lnTo>
                      <a:lnTo>
                        <a:pt x="47374" y="43691"/>
                      </a:lnTo>
                      <a:lnTo>
                        <a:pt x="52272" y="41727"/>
                      </a:lnTo>
                      <a:lnTo>
                        <a:pt x="56510" y="39591"/>
                      </a:lnTo>
                      <a:lnTo>
                        <a:pt x="59224" y="37945"/>
                      </a:lnTo>
                      <a:lnTo>
                        <a:pt x="60406" y="36796"/>
                      </a:lnTo>
                      <a:lnTo>
                        <a:pt x="61359" y="36266"/>
                      </a:lnTo>
                      <a:lnTo>
                        <a:pt x="62076" y="36340"/>
                      </a:lnTo>
                      <a:lnTo>
                        <a:pt x="63494" y="35574"/>
                      </a:lnTo>
                      <a:lnTo>
                        <a:pt x="65915" y="32721"/>
                      </a:lnTo>
                      <a:lnTo>
                        <a:pt x="66192" y="32485"/>
                      </a:lnTo>
                      <a:lnTo>
                        <a:pt x="68498" y="31678"/>
                      </a:lnTo>
                      <a:lnTo>
                        <a:pt x="69248" y="30325"/>
                      </a:lnTo>
                      <a:lnTo>
                        <a:pt x="69704" y="28695"/>
                      </a:lnTo>
                      <a:lnTo>
                        <a:pt x="70805" y="25981"/>
                      </a:lnTo>
                      <a:lnTo>
                        <a:pt x="71571" y="24865"/>
                      </a:lnTo>
                      <a:lnTo>
                        <a:pt x="71758" y="23642"/>
                      </a:lnTo>
                      <a:lnTo>
                        <a:pt x="71375" y="22298"/>
                      </a:lnTo>
                      <a:lnTo>
                        <a:pt x="71481" y="21026"/>
                      </a:lnTo>
                      <a:lnTo>
                        <a:pt x="72084" y="19828"/>
                      </a:lnTo>
                      <a:lnTo>
                        <a:pt x="74912" y="18141"/>
                      </a:lnTo>
                      <a:lnTo>
                        <a:pt x="82655" y="15069"/>
                      </a:lnTo>
                      <a:lnTo>
                        <a:pt x="82923" y="15452"/>
                      </a:lnTo>
                      <a:lnTo>
                        <a:pt x="81570" y="17832"/>
                      </a:lnTo>
                      <a:lnTo>
                        <a:pt x="80128" y="22330"/>
                      </a:lnTo>
                      <a:lnTo>
                        <a:pt x="79623" y="22452"/>
                      </a:lnTo>
                      <a:lnTo>
                        <a:pt x="79158" y="23007"/>
                      </a:lnTo>
                      <a:lnTo>
                        <a:pt x="78734" y="23993"/>
                      </a:lnTo>
                      <a:lnTo>
                        <a:pt x="79835" y="23919"/>
                      </a:lnTo>
                      <a:lnTo>
                        <a:pt x="82451" y="22803"/>
                      </a:lnTo>
                      <a:lnTo>
                        <a:pt x="83657" y="22232"/>
                      </a:lnTo>
                      <a:lnTo>
                        <a:pt x="83967" y="21140"/>
                      </a:lnTo>
                      <a:lnTo>
                        <a:pt x="84366" y="18932"/>
                      </a:lnTo>
                      <a:lnTo>
                        <a:pt x="84920" y="17709"/>
                      </a:lnTo>
                      <a:lnTo>
                        <a:pt x="85645" y="17473"/>
                      </a:lnTo>
                      <a:lnTo>
                        <a:pt x="86126" y="16413"/>
                      </a:lnTo>
                      <a:lnTo>
                        <a:pt x="86363" y="14523"/>
                      </a:lnTo>
                      <a:lnTo>
                        <a:pt x="86933" y="13390"/>
                      </a:lnTo>
                      <a:lnTo>
                        <a:pt x="87846" y="13031"/>
                      </a:lnTo>
                      <a:lnTo>
                        <a:pt x="88229" y="12371"/>
                      </a:lnTo>
                      <a:lnTo>
                        <a:pt x="88172" y="11450"/>
                      </a:lnTo>
                      <a:lnTo>
                        <a:pt x="88400" y="8948"/>
                      </a:lnTo>
                      <a:lnTo>
                        <a:pt x="88588" y="7775"/>
                      </a:lnTo>
                      <a:lnTo>
                        <a:pt x="89394" y="6063"/>
                      </a:lnTo>
                      <a:lnTo>
                        <a:pt x="90519" y="5542"/>
                      </a:lnTo>
                      <a:lnTo>
                        <a:pt x="92059" y="5648"/>
                      </a:lnTo>
                      <a:lnTo>
                        <a:pt x="93119" y="6512"/>
                      </a:lnTo>
                      <a:lnTo>
                        <a:pt x="93697" y="8142"/>
                      </a:lnTo>
                      <a:lnTo>
                        <a:pt x="93852" y="9486"/>
                      </a:lnTo>
                      <a:lnTo>
                        <a:pt x="93591" y="10546"/>
                      </a:lnTo>
                      <a:lnTo>
                        <a:pt x="92092" y="12469"/>
                      </a:lnTo>
                      <a:lnTo>
                        <a:pt x="87805" y="17074"/>
                      </a:lnTo>
                      <a:lnTo>
                        <a:pt x="87357" y="18361"/>
                      </a:lnTo>
                      <a:lnTo>
                        <a:pt x="87732" y="19030"/>
                      </a:lnTo>
                      <a:lnTo>
                        <a:pt x="87976" y="20007"/>
                      </a:lnTo>
                      <a:lnTo>
                        <a:pt x="88490" y="20130"/>
                      </a:lnTo>
                      <a:lnTo>
                        <a:pt x="89435" y="19282"/>
                      </a:lnTo>
                      <a:lnTo>
                        <a:pt x="89843" y="18516"/>
                      </a:lnTo>
                      <a:lnTo>
                        <a:pt x="89712" y="17848"/>
                      </a:lnTo>
                      <a:lnTo>
                        <a:pt x="90054" y="16984"/>
                      </a:lnTo>
                      <a:lnTo>
                        <a:pt x="90853" y="15916"/>
                      </a:lnTo>
                      <a:lnTo>
                        <a:pt x="91481" y="15607"/>
                      </a:lnTo>
                      <a:lnTo>
                        <a:pt x="91945" y="16022"/>
                      </a:lnTo>
                      <a:lnTo>
                        <a:pt x="92711" y="15843"/>
                      </a:lnTo>
                      <a:lnTo>
                        <a:pt x="93787" y="15044"/>
                      </a:lnTo>
                      <a:lnTo>
                        <a:pt x="95710" y="14629"/>
                      </a:lnTo>
                      <a:lnTo>
                        <a:pt x="96077" y="14596"/>
                      </a:lnTo>
                      <a:lnTo>
                        <a:pt x="98424" y="11499"/>
                      </a:lnTo>
                      <a:lnTo>
                        <a:pt x="99150" y="9698"/>
                      </a:lnTo>
                      <a:lnTo>
                        <a:pt x="99158" y="8142"/>
                      </a:lnTo>
                      <a:lnTo>
                        <a:pt x="98204" y="6528"/>
                      </a:lnTo>
                      <a:lnTo>
                        <a:pt x="96289" y="4857"/>
                      </a:lnTo>
                      <a:lnTo>
                        <a:pt x="95735" y="3056"/>
                      </a:lnTo>
                      <a:lnTo>
                        <a:pt x="95686" y="2151"/>
                      </a:lnTo>
                      <a:lnTo>
                        <a:pt x="95319" y="1011"/>
                      </a:lnTo>
                      <a:lnTo>
                        <a:pt x="95719" y="579"/>
                      </a:lnTo>
                      <a:lnTo>
                        <a:pt x="96892" y="864"/>
                      </a:lnTo>
                      <a:lnTo>
                        <a:pt x="97878" y="717"/>
                      </a:lnTo>
                      <a:lnTo>
                        <a:pt x="98685" y="114"/>
                      </a:lnTo>
                      <a:lnTo>
                        <a:pt x="100127" y="0"/>
                      </a:lnTo>
                      <a:lnTo>
                        <a:pt x="101309" y="98"/>
                      </a:lnTo>
                      <a:lnTo>
                        <a:pt x="102719" y="1548"/>
                      </a:lnTo>
                      <a:lnTo>
                        <a:pt x="107796" y="2942"/>
                      </a:lnTo>
                      <a:lnTo>
                        <a:pt x="109671" y="3692"/>
                      </a:lnTo>
                      <a:lnTo>
                        <a:pt x="111993" y="4458"/>
                      </a:lnTo>
                      <a:lnTo>
                        <a:pt x="112580" y="4710"/>
                      </a:lnTo>
                      <a:lnTo>
                        <a:pt x="112972" y="5534"/>
                      </a:lnTo>
                      <a:lnTo>
                        <a:pt x="113827" y="5884"/>
                      </a:lnTo>
                      <a:lnTo>
                        <a:pt x="115156" y="5754"/>
                      </a:lnTo>
                      <a:lnTo>
                        <a:pt x="116557" y="6023"/>
                      </a:lnTo>
                      <a:lnTo>
                        <a:pt x="118929" y="7294"/>
                      </a:lnTo>
                      <a:lnTo>
                        <a:pt x="121105" y="8142"/>
                      </a:lnTo>
                      <a:lnTo>
                        <a:pt x="124552" y="8027"/>
                      </a:lnTo>
                      <a:lnTo>
                        <a:pt x="126435" y="7677"/>
                      </a:lnTo>
                      <a:lnTo>
                        <a:pt x="129442" y="8264"/>
                      </a:lnTo>
                      <a:lnTo>
                        <a:pt x="131121" y="8264"/>
                      </a:lnTo>
                      <a:lnTo>
                        <a:pt x="132816" y="7253"/>
                      </a:lnTo>
                      <a:lnTo>
                        <a:pt x="134275" y="6992"/>
                      </a:lnTo>
                      <a:lnTo>
                        <a:pt x="135505" y="7473"/>
                      </a:lnTo>
                      <a:lnTo>
                        <a:pt x="136035" y="8093"/>
                      </a:lnTo>
                      <a:lnTo>
                        <a:pt x="137038" y="8973"/>
                      </a:lnTo>
                      <a:lnTo>
                        <a:pt x="140061" y="8549"/>
                      </a:lnTo>
                      <a:lnTo>
                        <a:pt x="140729" y="8794"/>
                      </a:lnTo>
                      <a:lnTo>
                        <a:pt x="141626" y="9763"/>
                      </a:lnTo>
                      <a:lnTo>
                        <a:pt x="141781" y="10383"/>
                      </a:lnTo>
                      <a:lnTo>
                        <a:pt x="142253" y="11344"/>
                      </a:lnTo>
                      <a:lnTo>
                        <a:pt x="143403" y="13178"/>
                      </a:lnTo>
                      <a:lnTo>
                        <a:pt x="143672" y="13814"/>
                      </a:lnTo>
                      <a:lnTo>
                        <a:pt x="144454" y="14572"/>
                      </a:lnTo>
                      <a:lnTo>
                        <a:pt x="145098" y="16348"/>
                      </a:lnTo>
                      <a:lnTo>
                        <a:pt x="145578" y="19160"/>
                      </a:lnTo>
                      <a:lnTo>
                        <a:pt x="146116" y="20871"/>
                      </a:lnTo>
                      <a:lnTo>
                        <a:pt x="146720" y="21507"/>
                      </a:lnTo>
                      <a:lnTo>
                        <a:pt x="146980" y="22224"/>
                      </a:lnTo>
                      <a:lnTo>
                        <a:pt x="147526" y="25150"/>
                      </a:lnTo>
                      <a:lnTo>
                        <a:pt x="148887" y="28516"/>
                      </a:lnTo>
                      <a:lnTo>
                        <a:pt x="150909" y="31800"/>
                      </a:lnTo>
                      <a:lnTo>
                        <a:pt x="153614" y="35011"/>
                      </a:lnTo>
                      <a:lnTo>
                        <a:pt x="156988" y="37138"/>
                      </a:lnTo>
                      <a:lnTo>
                        <a:pt x="161030" y="38190"/>
                      </a:lnTo>
                      <a:lnTo>
                        <a:pt x="164624" y="38426"/>
                      </a:lnTo>
                      <a:lnTo>
                        <a:pt x="167778" y="37847"/>
                      </a:lnTo>
                      <a:lnTo>
                        <a:pt x="171959" y="37529"/>
                      </a:lnTo>
                      <a:lnTo>
                        <a:pt x="177175" y="37489"/>
                      </a:lnTo>
                      <a:lnTo>
                        <a:pt x="179873" y="37855"/>
                      </a:lnTo>
                      <a:lnTo>
                        <a:pt x="180052" y="38638"/>
                      </a:lnTo>
                      <a:lnTo>
                        <a:pt x="179555" y="39779"/>
                      </a:lnTo>
                      <a:lnTo>
                        <a:pt x="178365" y="41262"/>
                      </a:lnTo>
                      <a:lnTo>
                        <a:pt x="178243" y="42232"/>
                      </a:lnTo>
                      <a:lnTo>
                        <a:pt x="178186" y="43503"/>
                      </a:lnTo>
                      <a:lnTo>
                        <a:pt x="177232" y="45182"/>
                      </a:lnTo>
                      <a:lnTo>
                        <a:pt x="176727" y="46193"/>
                      </a:lnTo>
                      <a:lnTo>
                        <a:pt x="176890" y="46894"/>
                      </a:lnTo>
                      <a:lnTo>
                        <a:pt x="176613" y="47831"/>
                      </a:lnTo>
                      <a:lnTo>
                        <a:pt x="175912" y="49012"/>
                      </a:lnTo>
                      <a:lnTo>
                        <a:pt x="176328" y="50585"/>
                      </a:lnTo>
                      <a:lnTo>
                        <a:pt x="177860" y="52549"/>
                      </a:lnTo>
                      <a:lnTo>
                        <a:pt x="179726" y="54139"/>
                      </a:lnTo>
                      <a:lnTo>
                        <a:pt x="181934" y="55345"/>
                      </a:lnTo>
                      <a:lnTo>
                        <a:pt x="183312" y="56592"/>
                      </a:lnTo>
                      <a:lnTo>
                        <a:pt x="183866" y="57879"/>
                      </a:lnTo>
                      <a:lnTo>
                        <a:pt x="184477" y="58596"/>
                      </a:lnTo>
                      <a:lnTo>
                        <a:pt x="185154" y="58727"/>
                      </a:lnTo>
                      <a:lnTo>
                        <a:pt x="185773" y="59322"/>
                      </a:lnTo>
                      <a:lnTo>
                        <a:pt x="186311" y="60398"/>
                      </a:lnTo>
                      <a:lnTo>
                        <a:pt x="185716" y="62280"/>
                      </a:lnTo>
                      <a:lnTo>
                        <a:pt x="183988" y="64994"/>
                      </a:lnTo>
                      <a:lnTo>
                        <a:pt x="183206" y="66738"/>
                      </a:lnTo>
                      <a:lnTo>
                        <a:pt x="183385" y="67529"/>
                      </a:lnTo>
                      <a:lnTo>
                        <a:pt x="181910" y="70495"/>
                      </a:lnTo>
                      <a:lnTo>
                        <a:pt x="181828" y="71661"/>
                      </a:lnTo>
                      <a:lnTo>
                        <a:pt x="182440" y="72467"/>
                      </a:lnTo>
                      <a:lnTo>
                        <a:pt x="184787" y="73616"/>
                      </a:lnTo>
                      <a:lnTo>
                        <a:pt x="185553" y="74570"/>
                      </a:lnTo>
                      <a:lnTo>
                        <a:pt x="186164" y="74717"/>
                      </a:lnTo>
                      <a:lnTo>
                        <a:pt x="186612" y="74048"/>
                      </a:lnTo>
                      <a:lnTo>
                        <a:pt x="187550" y="73739"/>
                      </a:lnTo>
                      <a:lnTo>
                        <a:pt x="188952" y="73804"/>
                      </a:lnTo>
                      <a:lnTo>
                        <a:pt x="190272" y="74277"/>
                      </a:lnTo>
                      <a:lnTo>
                        <a:pt x="191502" y="75173"/>
                      </a:lnTo>
                      <a:lnTo>
                        <a:pt x="191942" y="76086"/>
                      </a:lnTo>
                      <a:lnTo>
                        <a:pt x="191584" y="77039"/>
                      </a:lnTo>
                      <a:lnTo>
                        <a:pt x="190948" y="77373"/>
                      </a:lnTo>
                      <a:lnTo>
                        <a:pt x="189041" y="77227"/>
                      </a:lnTo>
                      <a:lnTo>
                        <a:pt x="187973" y="77716"/>
                      </a:lnTo>
                      <a:lnTo>
                        <a:pt x="187338" y="78726"/>
                      </a:lnTo>
                      <a:lnTo>
                        <a:pt x="187150" y="81432"/>
                      </a:lnTo>
                      <a:lnTo>
                        <a:pt x="187672" y="82581"/>
                      </a:lnTo>
                      <a:lnTo>
                        <a:pt x="187982" y="82581"/>
                      </a:lnTo>
                      <a:lnTo>
                        <a:pt x="188405" y="82035"/>
                      </a:lnTo>
                      <a:lnTo>
                        <a:pt x="188952" y="80951"/>
                      </a:lnTo>
                      <a:lnTo>
                        <a:pt x="189546" y="80829"/>
                      </a:lnTo>
                      <a:lnTo>
                        <a:pt x="190190" y="81668"/>
                      </a:lnTo>
                      <a:lnTo>
                        <a:pt x="189497" y="83413"/>
                      </a:lnTo>
                      <a:lnTo>
                        <a:pt x="187476" y="86045"/>
                      </a:lnTo>
                      <a:lnTo>
                        <a:pt x="186955" y="86876"/>
                      </a:lnTo>
                      <a:lnTo>
                        <a:pt x="186955" y="88058"/>
                      </a:lnTo>
                      <a:lnTo>
                        <a:pt x="188642" y="90185"/>
                      </a:lnTo>
                      <a:lnTo>
                        <a:pt x="189261" y="89981"/>
                      </a:lnTo>
                      <a:lnTo>
                        <a:pt x="189669" y="89460"/>
                      </a:lnTo>
                      <a:lnTo>
                        <a:pt x="190386" y="88775"/>
                      </a:lnTo>
                      <a:close/>
                    </a:path>
                  </a:pathLst>
                </a:custGeom>
                <a:solidFill>
                  <a:srgbClr val="FFFFFF"/>
                </a:solidFill>
                <a:ln w="8150" cap="flat">
                  <a:noFill/>
                  <a:prstDash val="solid"/>
                  <a:miter/>
                </a:ln>
              </p:spPr>
              <p:txBody>
                <a:bodyPr rtlCol="0" anchor="ctr"/>
                <a:lstStyle/>
                <a:p>
                  <a:endParaRPr lang="en-US"/>
                </a:p>
              </p:txBody>
            </p:sp>
            <p:sp>
              <p:nvSpPr>
                <p:cNvPr id="412" name="Freeform: Shape 411">
                  <a:extLst>
                    <a:ext uri="{FF2B5EF4-FFF2-40B4-BE49-F238E27FC236}">
                      <a16:creationId xmlns:a16="http://schemas.microsoft.com/office/drawing/2014/main" id="{9625A2A6-F9B2-42BA-BD82-8ADBC93EDED1}"/>
                    </a:ext>
                  </a:extLst>
                </p:cNvPr>
                <p:cNvSpPr/>
                <p:nvPr/>
              </p:nvSpPr>
              <p:spPr>
                <a:xfrm>
                  <a:off x="3754753" y="3061383"/>
                  <a:ext cx="81146" cy="155562"/>
                </a:xfrm>
                <a:custGeom>
                  <a:avLst/>
                  <a:gdLst>
                    <a:gd name="connsiteX0" fmla="*/ 80935 w 81146"/>
                    <a:gd name="connsiteY0" fmla="*/ 11124 h 155562"/>
                    <a:gd name="connsiteX1" fmla="*/ 80707 w 81146"/>
                    <a:gd name="connsiteY1" fmla="*/ 11043 h 155562"/>
                    <a:gd name="connsiteX2" fmla="*/ 79859 w 81146"/>
                    <a:gd name="connsiteY2" fmla="*/ 11736 h 155562"/>
                    <a:gd name="connsiteX3" fmla="*/ 78368 w 81146"/>
                    <a:gd name="connsiteY3" fmla="*/ 11964 h 155562"/>
                    <a:gd name="connsiteX4" fmla="*/ 76249 w 81146"/>
                    <a:gd name="connsiteY4" fmla="*/ 11727 h 155562"/>
                    <a:gd name="connsiteX5" fmla="*/ 75507 w 81146"/>
                    <a:gd name="connsiteY5" fmla="*/ 12021 h 155562"/>
                    <a:gd name="connsiteX6" fmla="*/ 76151 w 81146"/>
                    <a:gd name="connsiteY6" fmla="*/ 12860 h 155562"/>
                    <a:gd name="connsiteX7" fmla="*/ 75605 w 81146"/>
                    <a:gd name="connsiteY7" fmla="*/ 14156 h 155562"/>
                    <a:gd name="connsiteX8" fmla="*/ 73877 w 81146"/>
                    <a:gd name="connsiteY8" fmla="*/ 15925 h 155562"/>
                    <a:gd name="connsiteX9" fmla="*/ 72867 w 81146"/>
                    <a:gd name="connsiteY9" fmla="*/ 17726 h 155562"/>
                    <a:gd name="connsiteX10" fmla="*/ 72598 w 81146"/>
                    <a:gd name="connsiteY10" fmla="*/ 19559 h 155562"/>
                    <a:gd name="connsiteX11" fmla="*/ 72875 w 81146"/>
                    <a:gd name="connsiteY11" fmla="*/ 21189 h 155562"/>
                    <a:gd name="connsiteX12" fmla="*/ 73690 w 81146"/>
                    <a:gd name="connsiteY12" fmla="*/ 22616 h 155562"/>
                    <a:gd name="connsiteX13" fmla="*/ 74888 w 81146"/>
                    <a:gd name="connsiteY13" fmla="*/ 23528 h 155562"/>
                    <a:gd name="connsiteX14" fmla="*/ 76461 w 81146"/>
                    <a:gd name="connsiteY14" fmla="*/ 23944 h 155562"/>
                    <a:gd name="connsiteX15" fmla="*/ 76787 w 81146"/>
                    <a:gd name="connsiteY15" fmla="*/ 24506 h 155562"/>
                    <a:gd name="connsiteX16" fmla="*/ 75858 w 81146"/>
                    <a:gd name="connsiteY16" fmla="*/ 25207 h 155562"/>
                    <a:gd name="connsiteX17" fmla="*/ 74228 w 81146"/>
                    <a:gd name="connsiteY17" fmla="*/ 25606 h 155562"/>
                    <a:gd name="connsiteX18" fmla="*/ 71880 w 81146"/>
                    <a:gd name="connsiteY18" fmla="*/ 25704 h 155562"/>
                    <a:gd name="connsiteX19" fmla="*/ 69517 w 81146"/>
                    <a:gd name="connsiteY19" fmla="*/ 26487 h 155562"/>
                    <a:gd name="connsiteX20" fmla="*/ 67113 w 81146"/>
                    <a:gd name="connsiteY20" fmla="*/ 27962 h 155562"/>
                    <a:gd name="connsiteX21" fmla="*/ 65719 w 81146"/>
                    <a:gd name="connsiteY21" fmla="*/ 29282 h 155562"/>
                    <a:gd name="connsiteX22" fmla="*/ 65336 w 81146"/>
                    <a:gd name="connsiteY22" fmla="*/ 30447 h 155562"/>
                    <a:gd name="connsiteX23" fmla="*/ 65271 w 81146"/>
                    <a:gd name="connsiteY23" fmla="*/ 32143 h 155562"/>
                    <a:gd name="connsiteX24" fmla="*/ 65581 w 81146"/>
                    <a:gd name="connsiteY24" fmla="*/ 36266 h 155562"/>
                    <a:gd name="connsiteX25" fmla="*/ 65393 w 81146"/>
                    <a:gd name="connsiteY25" fmla="*/ 37856 h 155562"/>
                    <a:gd name="connsiteX26" fmla="*/ 64375 w 81146"/>
                    <a:gd name="connsiteY26" fmla="*/ 40789 h 155562"/>
                    <a:gd name="connsiteX27" fmla="*/ 63030 w 81146"/>
                    <a:gd name="connsiteY27" fmla="*/ 44612 h 155562"/>
                    <a:gd name="connsiteX28" fmla="*/ 61424 w 81146"/>
                    <a:gd name="connsiteY28" fmla="*/ 47008 h 155562"/>
                    <a:gd name="connsiteX29" fmla="*/ 61123 w 81146"/>
                    <a:gd name="connsiteY29" fmla="*/ 46682 h 155562"/>
                    <a:gd name="connsiteX30" fmla="*/ 61384 w 81146"/>
                    <a:gd name="connsiteY30" fmla="*/ 45508 h 155562"/>
                    <a:gd name="connsiteX31" fmla="*/ 62720 w 81146"/>
                    <a:gd name="connsiteY31" fmla="*/ 41678 h 155562"/>
                    <a:gd name="connsiteX32" fmla="*/ 62924 w 81146"/>
                    <a:gd name="connsiteY32" fmla="*/ 40056 h 155562"/>
                    <a:gd name="connsiteX33" fmla="*/ 62794 w 81146"/>
                    <a:gd name="connsiteY33" fmla="*/ 39200 h 155562"/>
                    <a:gd name="connsiteX34" fmla="*/ 62329 w 81146"/>
                    <a:gd name="connsiteY34" fmla="*/ 39119 h 155562"/>
                    <a:gd name="connsiteX35" fmla="*/ 61807 w 81146"/>
                    <a:gd name="connsiteY35" fmla="*/ 39860 h 155562"/>
                    <a:gd name="connsiteX36" fmla="*/ 61213 w 81146"/>
                    <a:gd name="connsiteY36" fmla="*/ 41425 h 155562"/>
                    <a:gd name="connsiteX37" fmla="*/ 61082 w 81146"/>
                    <a:gd name="connsiteY37" fmla="*/ 42273 h 155562"/>
                    <a:gd name="connsiteX38" fmla="*/ 61424 w 81146"/>
                    <a:gd name="connsiteY38" fmla="*/ 42403 h 155562"/>
                    <a:gd name="connsiteX39" fmla="*/ 61172 w 81146"/>
                    <a:gd name="connsiteY39" fmla="*/ 43463 h 155562"/>
                    <a:gd name="connsiteX40" fmla="*/ 60332 w 81146"/>
                    <a:gd name="connsiteY40" fmla="*/ 45459 h 155562"/>
                    <a:gd name="connsiteX41" fmla="*/ 59607 w 81146"/>
                    <a:gd name="connsiteY41" fmla="*/ 45867 h 155562"/>
                    <a:gd name="connsiteX42" fmla="*/ 58996 w 81146"/>
                    <a:gd name="connsiteY42" fmla="*/ 44693 h 155562"/>
                    <a:gd name="connsiteX43" fmla="*/ 59037 w 81146"/>
                    <a:gd name="connsiteY43" fmla="*/ 43153 h 155562"/>
                    <a:gd name="connsiteX44" fmla="*/ 60047 w 81146"/>
                    <a:gd name="connsiteY44" fmla="*/ 40056 h 155562"/>
                    <a:gd name="connsiteX45" fmla="*/ 59689 w 81146"/>
                    <a:gd name="connsiteY45" fmla="*/ 39453 h 155562"/>
                    <a:gd name="connsiteX46" fmla="*/ 60267 w 81146"/>
                    <a:gd name="connsiteY46" fmla="*/ 37529 h 155562"/>
                    <a:gd name="connsiteX47" fmla="*/ 60528 w 81146"/>
                    <a:gd name="connsiteY47" fmla="*/ 36128 h 155562"/>
                    <a:gd name="connsiteX48" fmla="*/ 60226 w 81146"/>
                    <a:gd name="connsiteY48" fmla="*/ 34669 h 155562"/>
                    <a:gd name="connsiteX49" fmla="*/ 60463 w 81146"/>
                    <a:gd name="connsiteY49" fmla="*/ 33341 h 155562"/>
                    <a:gd name="connsiteX50" fmla="*/ 61245 w 81146"/>
                    <a:gd name="connsiteY50" fmla="*/ 32126 h 155562"/>
                    <a:gd name="connsiteX51" fmla="*/ 61001 w 81146"/>
                    <a:gd name="connsiteY51" fmla="*/ 31751 h 155562"/>
                    <a:gd name="connsiteX52" fmla="*/ 59754 w 81146"/>
                    <a:gd name="connsiteY52" fmla="*/ 32232 h 155562"/>
                    <a:gd name="connsiteX53" fmla="*/ 57944 w 81146"/>
                    <a:gd name="connsiteY53" fmla="*/ 34506 h 155562"/>
                    <a:gd name="connsiteX54" fmla="*/ 55597 w 81146"/>
                    <a:gd name="connsiteY54" fmla="*/ 38573 h 155562"/>
                    <a:gd name="connsiteX55" fmla="*/ 53772 w 81146"/>
                    <a:gd name="connsiteY55" fmla="*/ 40357 h 155562"/>
                    <a:gd name="connsiteX56" fmla="*/ 52468 w 81146"/>
                    <a:gd name="connsiteY56" fmla="*/ 39836 h 155562"/>
                    <a:gd name="connsiteX57" fmla="*/ 51417 w 81146"/>
                    <a:gd name="connsiteY57" fmla="*/ 40178 h 155562"/>
                    <a:gd name="connsiteX58" fmla="*/ 50618 w 81146"/>
                    <a:gd name="connsiteY58" fmla="*/ 41376 h 155562"/>
                    <a:gd name="connsiteX59" fmla="*/ 49754 w 81146"/>
                    <a:gd name="connsiteY59" fmla="*/ 41963 h 155562"/>
                    <a:gd name="connsiteX60" fmla="*/ 48817 w 81146"/>
                    <a:gd name="connsiteY60" fmla="*/ 41947 h 155562"/>
                    <a:gd name="connsiteX61" fmla="*/ 48254 w 81146"/>
                    <a:gd name="connsiteY61" fmla="*/ 43357 h 155562"/>
                    <a:gd name="connsiteX62" fmla="*/ 48051 w 81146"/>
                    <a:gd name="connsiteY62" fmla="*/ 46217 h 155562"/>
                    <a:gd name="connsiteX63" fmla="*/ 47122 w 81146"/>
                    <a:gd name="connsiteY63" fmla="*/ 47847 h 155562"/>
                    <a:gd name="connsiteX64" fmla="*/ 44367 w 81146"/>
                    <a:gd name="connsiteY64" fmla="*/ 48801 h 155562"/>
                    <a:gd name="connsiteX65" fmla="*/ 43829 w 81146"/>
                    <a:gd name="connsiteY65" fmla="*/ 49550 h 155562"/>
                    <a:gd name="connsiteX66" fmla="*/ 43780 w 81146"/>
                    <a:gd name="connsiteY66" fmla="*/ 50602 h 155562"/>
                    <a:gd name="connsiteX67" fmla="*/ 44220 w 81146"/>
                    <a:gd name="connsiteY67" fmla="*/ 51979 h 155562"/>
                    <a:gd name="connsiteX68" fmla="*/ 44237 w 81146"/>
                    <a:gd name="connsiteY68" fmla="*/ 54717 h 155562"/>
                    <a:gd name="connsiteX69" fmla="*/ 43813 w 81146"/>
                    <a:gd name="connsiteY69" fmla="*/ 58825 h 155562"/>
                    <a:gd name="connsiteX70" fmla="*/ 42900 w 81146"/>
                    <a:gd name="connsiteY70" fmla="*/ 62427 h 155562"/>
                    <a:gd name="connsiteX71" fmla="*/ 41490 w 81146"/>
                    <a:gd name="connsiteY71" fmla="*/ 65499 h 155562"/>
                    <a:gd name="connsiteX72" fmla="*/ 39934 w 81146"/>
                    <a:gd name="connsiteY72" fmla="*/ 68042 h 155562"/>
                    <a:gd name="connsiteX73" fmla="*/ 37366 w 81146"/>
                    <a:gd name="connsiteY73" fmla="*/ 71384 h 155562"/>
                    <a:gd name="connsiteX74" fmla="*/ 37326 w 81146"/>
                    <a:gd name="connsiteY74" fmla="*/ 72052 h 155562"/>
                    <a:gd name="connsiteX75" fmla="*/ 38589 w 81146"/>
                    <a:gd name="connsiteY75" fmla="*/ 74660 h 155562"/>
                    <a:gd name="connsiteX76" fmla="*/ 39119 w 81146"/>
                    <a:gd name="connsiteY76" fmla="*/ 76608 h 155562"/>
                    <a:gd name="connsiteX77" fmla="*/ 39380 w 81146"/>
                    <a:gd name="connsiteY77" fmla="*/ 80479 h 155562"/>
                    <a:gd name="connsiteX78" fmla="*/ 39322 w 81146"/>
                    <a:gd name="connsiteY78" fmla="*/ 81122 h 155562"/>
                    <a:gd name="connsiteX79" fmla="*/ 36845 w 81146"/>
                    <a:gd name="connsiteY79" fmla="*/ 85898 h 155562"/>
                    <a:gd name="connsiteX80" fmla="*/ 36804 w 81146"/>
                    <a:gd name="connsiteY80" fmla="*/ 86583 h 155562"/>
                    <a:gd name="connsiteX81" fmla="*/ 39461 w 81146"/>
                    <a:gd name="connsiteY81" fmla="*/ 94570 h 155562"/>
                    <a:gd name="connsiteX82" fmla="*/ 41816 w 81146"/>
                    <a:gd name="connsiteY82" fmla="*/ 100307 h 155562"/>
                    <a:gd name="connsiteX83" fmla="*/ 42085 w 81146"/>
                    <a:gd name="connsiteY83" fmla="*/ 100918 h 155562"/>
                    <a:gd name="connsiteX84" fmla="*/ 42786 w 81146"/>
                    <a:gd name="connsiteY84" fmla="*/ 103200 h 155562"/>
                    <a:gd name="connsiteX85" fmla="*/ 44090 w 81146"/>
                    <a:gd name="connsiteY85" fmla="*/ 107674 h 155562"/>
                    <a:gd name="connsiteX86" fmla="*/ 44758 w 81146"/>
                    <a:gd name="connsiteY86" fmla="*/ 112108 h 155562"/>
                    <a:gd name="connsiteX87" fmla="*/ 44799 w 81146"/>
                    <a:gd name="connsiteY87" fmla="*/ 116517 h 155562"/>
                    <a:gd name="connsiteX88" fmla="*/ 44481 w 81146"/>
                    <a:gd name="connsiteY88" fmla="*/ 120763 h 155562"/>
                    <a:gd name="connsiteX89" fmla="*/ 43813 w 81146"/>
                    <a:gd name="connsiteY89" fmla="*/ 124862 h 155562"/>
                    <a:gd name="connsiteX90" fmla="*/ 42819 w 81146"/>
                    <a:gd name="connsiteY90" fmla="*/ 128774 h 155562"/>
                    <a:gd name="connsiteX91" fmla="*/ 41506 w 81146"/>
                    <a:gd name="connsiteY91" fmla="*/ 132507 h 155562"/>
                    <a:gd name="connsiteX92" fmla="*/ 40146 w 81146"/>
                    <a:gd name="connsiteY92" fmla="*/ 135449 h 155562"/>
                    <a:gd name="connsiteX93" fmla="*/ 37350 w 81146"/>
                    <a:gd name="connsiteY93" fmla="*/ 140314 h 155562"/>
                    <a:gd name="connsiteX94" fmla="*/ 35981 w 81146"/>
                    <a:gd name="connsiteY94" fmla="*/ 143558 h 155562"/>
                    <a:gd name="connsiteX95" fmla="*/ 34563 w 81146"/>
                    <a:gd name="connsiteY95" fmla="*/ 146174 h 155562"/>
                    <a:gd name="connsiteX96" fmla="*/ 33096 w 81146"/>
                    <a:gd name="connsiteY96" fmla="*/ 148170 h 155562"/>
                    <a:gd name="connsiteX97" fmla="*/ 30456 w 81146"/>
                    <a:gd name="connsiteY97" fmla="*/ 150387 h 155562"/>
                    <a:gd name="connsiteX98" fmla="*/ 23650 w 81146"/>
                    <a:gd name="connsiteY98" fmla="*/ 154470 h 155562"/>
                    <a:gd name="connsiteX99" fmla="*/ 21515 w 81146"/>
                    <a:gd name="connsiteY99" fmla="*/ 155261 h 155562"/>
                    <a:gd name="connsiteX100" fmla="*/ 19168 w 81146"/>
                    <a:gd name="connsiteY100" fmla="*/ 155562 h 155562"/>
                    <a:gd name="connsiteX101" fmla="*/ 16617 w 81146"/>
                    <a:gd name="connsiteY101" fmla="*/ 155366 h 155562"/>
                    <a:gd name="connsiteX102" fmla="*/ 15224 w 81146"/>
                    <a:gd name="connsiteY102" fmla="*/ 154910 h 155562"/>
                    <a:gd name="connsiteX103" fmla="*/ 14914 w 81146"/>
                    <a:gd name="connsiteY103" fmla="*/ 154152 h 155562"/>
                    <a:gd name="connsiteX104" fmla="*/ 14376 w 81146"/>
                    <a:gd name="connsiteY104" fmla="*/ 154079 h 155562"/>
                    <a:gd name="connsiteX105" fmla="*/ 13635 w 81146"/>
                    <a:gd name="connsiteY105" fmla="*/ 153574 h 155562"/>
                    <a:gd name="connsiteX106" fmla="*/ 12697 w 81146"/>
                    <a:gd name="connsiteY106" fmla="*/ 152710 h 155562"/>
                    <a:gd name="connsiteX107" fmla="*/ 11654 w 81146"/>
                    <a:gd name="connsiteY107" fmla="*/ 151153 h 155562"/>
                    <a:gd name="connsiteX108" fmla="*/ 10529 w 81146"/>
                    <a:gd name="connsiteY108" fmla="*/ 147958 h 155562"/>
                    <a:gd name="connsiteX109" fmla="*/ 9315 w 81146"/>
                    <a:gd name="connsiteY109" fmla="*/ 143117 h 155562"/>
                    <a:gd name="connsiteX110" fmla="*/ 8239 w 81146"/>
                    <a:gd name="connsiteY110" fmla="*/ 140232 h 155562"/>
                    <a:gd name="connsiteX111" fmla="*/ 7302 w 81146"/>
                    <a:gd name="connsiteY111" fmla="*/ 139295 h 155562"/>
                    <a:gd name="connsiteX112" fmla="*/ 6455 w 81146"/>
                    <a:gd name="connsiteY112" fmla="*/ 137836 h 155562"/>
                    <a:gd name="connsiteX113" fmla="*/ 5697 w 81146"/>
                    <a:gd name="connsiteY113" fmla="*/ 135864 h 155562"/>
                    <a:gd name="connsiteX114" fmla="*/ 5322 w 81146"/>
                    <a:gd name="connsiteY114" fmla="*/ 131398 h 155562"/>
                    <a:gd name="connsiteX115" fmla="*/ 5338 w 81146"/>
                    <a:gd name="connsiteY115" fmla="*/ 124438 h 155562"/>
                    <a:gd name="connsiteX116" fmla="*/ 5599 w 81146"/>
                    <a:gd name="connsiteY116" fmla="*/ 119703 h 155562"/>
                    <a:gd name="connsiteX117" fmla="*/ 6104 w 81146"/>
                    <a:gd name="connsiteY117" fmla="*/ 117177 h 155562"/>
                    <a:gd name="connsiteX118" fmla="*/ 5957 w 81146"/>
                    <a:gd name="connsiteY118" fmla="*/ 115253 h 155562"/>
                    <a:gd name="connsiteX119" fmla="*/ 5175 w 81146"/>
                    <a:gd name="connsiteY119" fmla="*/ 113917 h 155562"/>
                    <a:gd name="connsiteX120" fmla="*/ 4686 w 81146"/>
                    <a:gd name="connsiteY120" fmla="*/ 112263 h 155562"/>
                    <a:gd name="connsiteX121" fmla="*/ 4507 w 81146"/>
                    <a:gd name="connsiteY121" fmla="*/ 110282 h 155562"/>
                    <a:gd name="connsiteX122" fmla="*/ 4099 w 81146"/>
                    <a:gd name="connsiteY122" fmla="*/ 108929 h 155562"/>
                    <a:gd name="connsiteX123" fmla="*/ 3464 w 81146"/>
                    <a:gd name="connsiteY123" fmla="*/ 108228 h 155562"/>
                    <a:gd name="connsiteX124" fmla="*/ 3317 w 81146"/>
                    <a:gd name="connsiteY124" fmla="*/ 107226 h 155562"/>
                    <a:gd name="connsiteX125" fmla="*/ 3675 w 81146"/>
                    <a:gd name="connsiteY125" fmla="*/ 105963 h 155562"/>
                    <a:gd name="connsiteX126" fmla="*/ 3675 w 81146"/>
                    <a:gd name="connsiteY126" fmla="*/ 105091 h 155562"/>
                    <a:gd name="connsiteX127" fmla="*/ 3333 w 81146"/>
                    <a:gd name="connsiteY127" fmla="*/ 104610 h 155562"/>
                    <a:gd name="connsiteX128" fmla="*/ 3252 w 81146"/>
                    <a:gd name="connsiteY128" fmla="*/ 103901 h 155562"/>
                    <a:gd name="connsiteX129" fmla="*/ 3431 w 81146"/>
                    <a:gd name="connsiteY129" fmla="*/ 102956 h 155562"/>
                    <a:gd name="connsiteX130" fmla="*/ 3113 w 81146"/>
                    <a:gd name="connsiteY130" fmla="*/ 100185 h 155562"/>
                    <a:gd name="connsiteX131" fmla="*/ 3195 w 81146"/>
                    <a:gd name="connsiteY131" fmla="*/ 98490 h 155562"/>
                    <a:gd name="connsiteX132" fmla="*/ 3635 w 81146"/>
                    <a:gd name="connsiteY132" fmla="*/ 96648 h 155562"/>
                    <a:gd name="connsiteX133" fmla="*/ 5045 w 81146"/>
                    <a:gd name="connsiteY133" fmla="*/ 93306 h 155562"/>
                    <a:gd name="connsiteX134" fmla="*/ 5501 w 81146"/>
                    <a:gd name="connsiteY134" fmla="*/ 91684 h 155562"/>
                    <a:gd name="connsiteX135" fmla="*/ 5623 w 81146"/>
                    <a:gd name="connsiteY135" fmla="*/ 90014 h 155562"/>
                    <a:gd name="connsiteX136" fmla="*/ 6292 w 81146"/>
                    <a:gd name="connsiteY136" fmla="*/ 87903 h 155562"/>
                    <a:gd name="connsiteX137" fmla="*/ 8133 w 81146"/>
                    <a:gd name="connsiteY137" fmla="*/ 83559 h 155562"/>
                    <a:gd name="connsiteX138" fmla="*/ 8182 w 81146"/>
                    <a:gd name="connsiteY138" fmla="*/ 82565 h 155562"/>
                    <a:gd name="connsiteX139" fmla="*/ 7547 w 81146"/>
                    <a:gd name="connsiteY139" fmla="*/ 80593 h 155562"/>
                    <a:gd name="connsiteX140" fmla="*/ 7400 w 81146"/>
                    <a:gd name="connsiteY140" fmla="*/ 79126 h 155562"/>
                    <a:gd name="connsiteX141" fmla="*/ 7547 w 81146"/>
                    <a:gd name="connsiteY141" fmla="*/ 77178 h 155562"/>
                    <a:gd name="connsiteX142" fmla="*/ 8125 w 81146"/>
                    <a:gd name="connsiteY142" fmla="*/ 74766 h 155562"/>
                    <a:gd name="connsiteX143" fmla="*/ 9152 w 81146"/>
                    <a:gd name="connsiteY143" fmla="*/ 71889 h 155562"/>
                    <a:gd name="connsiteX144" fmla="*/ 10521 w 81146"/>
                    <a:gd name="connsiteY144" fmla="*/ 69599 h 155562"/>
                    <a:gd name="connsiteX145" fmla="*/ 12216 w 81146"/>
                    <a:gd name="connsiteY145" fmla="*/ 67879 h 155562"/>
                    <a:gd name="connsiteX146" fmla="*/ 12771 w 81146"/>
                    <a:gd name="connsiteY146" fmla="*/ 65923 h 155562"/>
                    <a:gd name="connsiteX147" fmla="*/ 12184 w 81146"/>
                    <a:gd name="connsiteY147" fmla="*/ 63739 h 155562"/>
                    <a:gd name="connsiteX148" fmla="*/ 12404 w 81146"/>
                    <a:gd name="connsiteY148" fmla="*/ 60504 h 155562"/>
                    <a:gd name="connsiteX149" fmla="*/ 13414 w 81146"/>
                    <a:gd name="connsiteY149" fmla="*/ 56209 h 155562"/>
                    <a:gd name="connsiteX150" fmla="*/ 14555 w 81146"/>
                    <a:gd name="connsiteY150" fmla="*/ 52990 h 155562"/>
                    <a:gd name="connsiteX151" fmla="*/ 15802 w 81146"/>
                    <a:gd name="connsiteY151" fmla="*/ 50846 h 155562"/>
                    <a:gd name="connsiteX152" fmla="*/ 16658 w 81146"/>
                    <a:gd name="connsiteY152" fmla="*/ 48801 h 155562"/>
                    <a:gd name="connsiteX153" fmla="*/ 17122 w 81146"/>
                    <a:gd name="connsiteY153" fmla="*/ 46869 h 155562"/>
                    <a:gd name="connsiteX154" fmla="*/ 16911 w 81146"/>
                    <a:gd name="connsiteY154" fmla="*/ 46005 h 155562"/>
                    <a:gd name="connsiteX155" fmla="*/ 15982 w 81146"/>
                    <a:gd name="connsiteY155" fmla="*/ 45076 h 155562"/>
                    <a:gd name="connsiteX156" fmla="*/ 15077 w 81146"/>
                    <a:gd name="connsiteY156" fmla="*/ 43715 h 155562"/>
                    <a:gd name="connsiteX157" fmla="*/ 13577 w 81146"/>
                    <a:gd name="connsiteY157" fmla="*/ 43422 h 155562"/>
                    <a:gd name="connsiteX158" fmla="*/ 11711 w 81146"/>
                    <a:gd name="connsiteY158" fmla="*/ 44318 h 155562"/>
                    <a:gd name="connsiteX159" fmla="*/ 11450 w 81146"/>
                    <a:gd name="connsiteY159" fmla="*/ 44253 h 155562"/>
                    <a:gd name="connsiteX160" fmla="*/ 10505 w 81146"/>
                    <a:gd name="connsiteY160" fmla="*/ 44375 h 155562"/>
                    <a:gd name="connsiteX161" fmla="*/ 8712 w 81146"/>
                    <a:gd name="connsiteY161" fmla="*/ 46364 h 155562"/>
                    <a:gd name="connsiteX162" fmla="*/ 7123 w 81146"/>
                    <a:gd name="connsiteY162" fmla="*/ 49803 h 155562"/>
                    <a:gd name="connsiteX163" fmla="*/ 5957 w 81146"/>
                    <a:gd name="connsiteY163" fmla="*/ 51221 h 155562"/>
                    <a:gd name="connsiteX164" fmla="*/ 4385 w 81146"/>
                    <a:gd name="connsiteY164" fmla="*/ 52191 h 155562"/>
                    <a:gd name="connsiteX165" fmla="*/ 3219 w 81146"/>
                    <a:gd name="connsiteY165" fmla="*/ 53259 h 155562"/>
                    <a:gd name="connsiteX166" fmla="*/ 2453 w 81146"/>
                    <a:gd name="connsiteY166" fmla="*/ 54448 h 155562"/>
                    <a:gd name="connsiteX167" fmla="*/ 1459 w 81146"/>
                    <a:gd name="connsiteY167" fmla="*/ 54709 h 155562"/>
                    <a:gd name="connsiteX168" fmla="*/ 228 w 81146"/>
                    <a:gd name="connsiteY168" fmla="*/ 54033 h 155562"/>
                    <a:gd name="connsiteX169" fmla="*/ 0 w 81146"/>
                    <a:gd name="connsiteY169" fmla="*/ 52403 h 155562"/>
                    <a:gd name="connsiteX170" fmla="*/ 750 w 81146"/>
                    <a:gd name="connsiteY170" fmla="*/ 49795 h 155562"/>
                    <a:gd name="connsiteX171" fmla="*/ 1899 w 81146"/>
                    <a:gd name="connsiteY171" fmla="*/ 47301 h 155562"/>
                    <a:gd name="connsiteX172" fmla="*/ 4254 w 81146"/>
                    <a:gd name="connsiteY172" fmla="*/ 43210 h 155562"/>
                    <a:gd name="connsiteX173" fmla="*/ 4328 w 81146"/>
                    <a:gd name="connsiteY173" fmla="*/ 42232 h 155562"/>
                    <a:gd name="connsiteX174" fmla="*/ 4906 w 81146"/>
                    <a:gd name="connsiteY174" fmla="*/ 41042 h 155562"/>
                    <a:gd name="connsiteX175" fmla="*/ 8549 w 81146"/>
                    <a:gd name="connsiteY175" fmla="*/ 39282 h 155562"/>
                    <a:gd name="connsiteX176" fmla="*/ 9951 w 81146"/>
                    <a:gd name="connsiteY176" fmla="*/ 37896 h 155562"/>
                    <a:gd name="connsiteX177" fmla="*/ 10432 w 81146"/>
                    <a:gd name="connsiteY177" fmla="*/ 36128 h 155562"/>
                    <a:gd name="connsiteX178" fmla="*/ 10562 w 81146"/>
                    <a:gd name="connsiteY178" fmla="*/ 33520 h 155562"/>
                    <a:gd name="connsiteX179" fmla="*/ 10798 w 81146"/>
                    <a:gd name="connsiteY179" fmla="*/ 32786 h 155562"/>
                    <a:gd name="connsiteX180" fmla="*/ 11336 w 81146"/>
                    <a:gd name="connsiteY180" fmla="*/ 32477 h 155562"/>
                    <a:gd name="connsiteX181" fmla="*/ 12942 w 81146"/>
                    <a:gd name="connsiteY181" fmla="*/ 30284 h 155562"/>
                    <a:gd name="connsiteX182" fmla="*/ 15615 w 81146"/>
                    <a:gd name="connsiteY182" fmla="*/ 26218 h 155562"/>
                    <a:gd name="connsiteX183" fmla="*/ 18011 w 81146"/>
                    <a:gd name="connsiteY183" fmla="*/ 22012 h 155562"/>
                    <a:gd name="connsiteX184" fmla="*/ 20138 w 81146"/>
                    <a:gd name="connsiteY184" fmla="*/ 17677 h 155562"/>
                    <a:gd name="connsiteX185" fmla="*/ 21694 w 81146"/>
                    <a:gd name="connsiteY185" fmla="*/ 15232 h 155562"/>
                    <a:gd name="connsiteX186" fmla="*/ 22681 w 81146"/>
                    <a:gd name="connsiteY186" fmla="*/ 14678 h 155562"/>
                    <a:gd name="connsiteX187" fmla="*/ 23406 w 81146"/>
                    <a:gd name="connsiteY187" fmla="*/ 13357 h 155562"/>
                    <a:gd name="connsiteX188" fmla="*/ 24539 w 81146"/>
                    <a:gd name="connsiteY188" fmla="*/ 9307 h 155562"/>
                    <a:gd name="connsiteX189" fmla="*/ 25386 w 81146"/>
                    <a:gd name="connsiteY189" fmla="*/ 7457 h 155562"/>
                    <a:gd name="connsiteX190" fmla="*/ 25949 w 81146"/>
                    <a:gd name="connsiteY190" fmla="*/ 6748 h 155562"/>
                    <a:gd name="connsiteX191" fmla="*/ 26226 w 81146"/>
                    <a:gd name="connsiteY191" fmla="*/ 7180 h 155562"/>
                    <a:gd name="connsiteX192" fmla="*/ 25680 w 81146"/>
                    <a:gd name="connsiteY192" fmla="*/ 9397 h 155562"/>
                    <a:gd name="connsiteX193" fmla="*/ 25680 w 81146"/>
                    <a:gd name="connsiteY193" fmla="*/ 11247 h 155562"/>
                    <a:gd name="connsiteX194" fmla="*/ 26144 w 81146"/>
                    <a:gd name="connsiteY194" fmla="*/ 13594 h 155562"/>
                    <a:gd name="connsiteX195" fmla="*/ 27041 w 81146"/>
                    <a:gd name="connsiteY195" fmla="*/ 14401 h 155562"/>
                    <a:gd name="connsiteX196" fmla="*/ 28386 w 81146"/>
                    <a:gd name="connsiteY196" fmla="*/ 13667 h 155562"/>
                    <a:gd name="connsiteX197" fmla="*/ 29535 w 81146"/>
                    <a:gd name="connsiteY197" fmla="*/ 12127 h 155562"/>
                    <a:gd name="connsiteX198" fmla="*/ 30504 w 81146"/>
                    <a:gd name="connsiteY198" fmla="*/ 9763 h 155562"/>
                    <a:gd name="connsiteX199" fmla="*/ 31621 w 81146"/>
                    <a:gd name="connsiteY199" fmla="*/ 8785 h 155562"/>
                    <a:gd name="connsiteX200" fmla="*/ 32876 w 81146"/>
                    <a:gd name="connsiteY200" fmla="*/ 9193 h 155562"/>
                    <a:gd name="connsiteX201" fmla="*/ 33927 w 81146"/>
                    <a:gd name="connsiteY201" fmla="*/ 9038 h 155562"/>
                    <a:gd name="connsiteX202" fmla="*/ 34758 w 81146"/>
                    <a:gd name="connsiteY202" fmla="*/ 8329 h 155562"/>
                    <a:gd name="connsiteX203" fmla="*/ 36340 w 81146"/>
                    <a:gd name="connsiteY203" fmla="*/ 7979 h 155562"/>
                    <a:gd name="connsiteX204" fmla="*/ 36633 w 81146"/>
                    <a:gd name="connsiteY204" fmla="*/ 8867 h 155562"/>
                    <a:gd name="connsiteX205" fmla="*/ 36437 w 81146"/>
                    <a:gd name="connsiteY205" fmla="*/ 10660 h 155562"/>
                    <a:gd name="connsiteX206" fmla="*/ 35932 w 81146"/>
                    <a:gd name="connsiteY206" fmla="*/ 11524 h 155562"/>
                    <a:gd name="connsiteX207" fmla="*/ 35117 w 81146"/>
                    <a:gd name="connsiteY207" fmla="*/ 11459 h 155562"/>
                    <a:gd name="connsiteX208" fmla="*/ 34196 w 81146"/>
                    <a:gd name="connsiteY208" fmla="*/ 12404 h 155562"/>
                    <a:gd name="connsiteX209" fmla="*/ 33161 w 81146"/>
                    <a:gd name="connsiteY209" fmla="*/ 14360 h 155562"/>
                    <a:gd name="connsiteX210" fmla="*/ 33202 w 81146"/>
                    <a:gd name="connsiteY210" fmla="*/ 15908 h 155562"/>
                    <a:gd name="connsiteX211" fmla="*/ 34327 w 81146"/>
                    <a:gd name="connsiteY211" fmla="*/ 17074 h 155562"/>
                    <a:gd name="connsiteX212" fmla="*/ 34889 w 81146"/>
                    <a:gd name="connsiteY212" fmla="*/ 17131 h 155562"/>
                    <a:gd name="connsiteX213" fmla="*/ 34881 w 81146"/>
                    <a:gd name="connsiteY213" fmla="*/ 16104 h 155562"/>
                    <a:gd name="connsiteX214" fmla="*/ 35402 w 81146"/>
                    <a:gd name="connsiteY214" fmla="*/ 15069 h 155562"/>
                    <a:gd name="connsiteX215" fmla="*/ 37073 w 81146"/>
                    <a:gd name="connsiteY215" fmla="*/ 13170 h 155562"/>
                    <a:gd name="connsiteX216" fmla="*/ 37236 w 81146"/>
                    <a:gd name="connsiteY216" fmla="*/ 12551 h 155562"/>
                    <a:gd name="connsiteX217" fmla="*/ 40406 w 81146"/>
                    <a:gd name="connsiteY217" fmla="*/ 10872 h 155562"/>
                    <a:gd name="connsiteX218" fmla="*/ 41604 w 81146"/>
                    <a:gd name="connsiteY218" fmla="*/ 9804 h 155562"/>
                    <a:gd name="connsiteX219" fmla="*/ 41930 w 81146"/>
                    <a:gd name="connsiteY219" fmla="*/ 8582 h 155562"/>
                    <a:gd name="connsiteX220" fmla="*/ 43568 w 81146"/>
                    <a:gd name="connsiteY220" fmla="*/ 6072 h 155562"/>
                    <a:gd name="connsiteX221" fmla="*/ 45133 w 81146"/>
                    <a:gd name="connsiteY221" fmla="*/ 5273 h 155562"/>
                    <a:gd name="connsiteX222" fmla="*/ 47260 w 81146"/>
                    <a:gd name="connsiteY222" fmla="*/ 4931 h 155562"/>
                    <a:gd name="connsiteX223" fmla="*/ 49330 w 81146"/>
                    <a:gd name="connsiteY223" fmla="*/ 5151 h 155562"/>
                    <a:gd name="connsiteX224" fmla="*/ 51327 w 81146"/>
                    <a:gd name="connsiteY224" fmla="*/ 5925 h 155562"/>
                    <a:gd name="connsiteX225" fmla="*/ 52460 w 81146"/>
                    <a:gd name="connsiteY225" fmla="*/ 5917 h 155562"/>
                    <a:gd name="connsiteX226" fmla="*/ 52729 w 81146"/>
                    <a:gd name="connsiteY226" fmla="*/ 5102 h 155562"/>
                    <a:gd name="connsiteX227" fmla="*/ 54432 w 81146"/>
                    <a:gd name="connsiteY227" fmla="*/ 4556 h 155562"/>
                    <a:gd name="connsiteX228" fmla="*/ 57570 w 81146"/>
                    <a:gd name="connsiteY228" fmla="*/ 4270 h 155562"/>
                    <a:gd name="connsiteX229" fmla="*/ 59876 w 81146"/>
                    <a:gd name="connsiteY229" fmla="*/ 3113 h 155562"/>
                    <a:gd name="connsiteX230" fmla="*/ 61351 w 81146"/>
                    <a:gd name="connsiteY230" fmla="*/ 1076 h 155562"/>
                    <a:gd name="connsiteX231" fmla="*/ 63242 w 81146"/>
                    <a:gd name="connsiteY231" fmla="*/ 41 h 155562"/>
                    <a:gd name="connsiteX232" fmla="*/ 65548 w 81146"/>
                    <a:gd name="connsiteY232" fmla="*/ 0 h 155562"/>
                    <a:gd name="connsiteX233" fmla="*/ 68678 w 81146"/>
                    <a:gd name="connsiteY233" fmla="*/ 725 h 155562"/>
                    <a:gd name="connsiteX234" fmla="*/ 72622 w 81146"/>
                    <a:gd name="connsiteY234" fmla="*/ 2217 h 155562"/>
                    <a:gd name="connsiteX235" fmla="*/ 75817 w 81146"/>
                    <a:gd name="connsiteY235" fmla="*/ 4230 h 155562"/>
                    <a:gd name="connsiteX236" fmla="*/ 80038 w 81146"/>
                    <a:gd name="connsiteY236" fmla="*/ 8280 h 155562"/>
                    <a:gd name="connsiteX237" fmla="*/ 81147 w 81146"/>
                    <a:gd name="connsiteY237" fmla="*/ 8688 h 155562"/>
                    <a:gd name="connsiteX238" fmla="*/ 80935 w 81146"/>
                    <a:gd name="connsiteY238" fmla="*/ 11124 h 155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Lst>
                  <a:rect l="l" t="t" r="r" b="b"/>
                  <a:pathLst>
                    <a:path w="81146" h="155562">
                      <a:moveTo>
                        <a:pt x="80935" y="11124"/>
                      </a:moveTo>
                      <a:lnTo>
                        <a:pt x="80707" y="11043"/>
                      </a:lnTo>
                      <a:lnTo>
                        <a:pt x="79859" y="11736"/>
                      </a:lnTo>
                      <a:lnTo>
                        <a:pt x="78368" y="11964"/>
                      </a:lnTo>
                      <a:lnTo>
                        <a:pt x="76249" y="11727"/>
                      </a:lnTo>
                      <a:lnTo>
                        <a:pt x="75507" y="12021"/>
                      </a:lnTo>
                      <a:lnTo>
                        <a:pt x="76151" y="12860"/>
                      </a:lnTo>
                      <a:lnTo>
                        <a:pt x="75605" y="14156"/>
                      </a:lnTo>
                      <a:lnTo>
                        <a:pt x="73877" y="15925"/>
                      </a:lnTo>
                      <a:lnTo>
                        <a:pt x="72867" y="17726"/>
                      </a:lnTo>
                      <a:lnTo>
                        <a:pt x="72598" y="19559"/>
                      </a:lnTo>
                      <a:lnTo>
                        <a:pt x="72875" y="21189"/>
                      </a:lnTo>
                      <a:lnTo>
                        <a:pt x="73690" y="22616"/>
                      </a:lnTo>
                      <a:lnTo>
                        <a:pt x="74888" y="23528"/>
                      </a:lnTo>
                      <a:lnTo>
                        <a:pt x="76461" y="23944"/>
                      </a:lnTo>
                      <a:lnTo>
                        <a:pt x="76787" y="24506"/>
                      </a:lnTo>
                      <a:lnTo>
                        <a:pt x="75858" y="25207"/>
                      </a:lnTo>
                      <a:lnTo>
                        <a:pt x="74228" y="25606"/>
                      </a:lnTo>
                      <a:lnTo>
                        <a:pt x="71880" y="25704"/>
                      </a:lnTo>
                      <a:lnTo>
                        <a:pt x="69517" y="26487"/>
                      </a:lnTo>
                      <a:lnTo>
                        <a:pt x="67113" y="27962"/>
                      </a:lnTo>
                      <a:lnTo>
                        <a:pt x="65719" y="29282"/>
                      </a:lnTo>
                      <a:lnTo>
                        <a:pt x="65336" y="30447"/>
                      </a:lnTo>
                      <a:lnTo>
                        <a:pt x="65271" y="32143"/>
                      </a:lnTo>
                      <a:lnTo>
                        <a:pt x="65581" y="36266"/>
                      </a:lnTo>
                      <a:lnTo>
                        <a:pt x="65393" y="37856"/>
                      </a:lnTo>
                      <a:lnTo>
                        <a:pt x="64375" y="40789"/>
                      </a:lnTo>
                      <a:lnTo>
                        <a:pt x="63030" y="44612"/>
                      </a:lnTo>
                      <a:lnTo>
                        <a:pt x="61424" y="47008"/>
                      </a:lnTo>
                      <a:lnTo>
                        <a:pt x="61123" y="46682"/>
                      </a:lnTo>
                      <a:lnTo>
                        <a:pt x="61384" y="45508"/>
                      </a:lnTo>
                      <a:lnTo>
                        <a:pt x="62720" y="41678"/>
                      </a:lnTo>
                      <a:lnTo>
                        <a:pt x="62924" y="40056"/>
                      </a:lnTo>
                      <a:lnTo>
                        <a:pt x="62794" y="39200"/>
                      </a:lnTo>
                      <a:lnTo>
                        <a:pt x="62329" y="39119"/>
                      </a:lnTo>
                      <a:lnTo>
                        <a:pt x="61807" y="39860"/>
                      </a:lnTo>
                      <a:lnTo>
                        <a:pt x="61213" y="41425"/>
                      </a:lnTo>
                      <a:lnTo>
                        <a:pt x="61082" y="42273"/>
                      </a:lnTo>
                      <a:lnTo>
                        <a:pt x="61424" y="42403"/>
                      </a:lnTo>
                      <a:lnTo>
                        <a:pt x="61172" y="43463"/>
                      </a:lnTo>
                      <a:lnTo>
                        <a:pt x="60332" y="45459"/>
                      </a:lnTo>
                      <a:lnTo>
                        <a:pt x="59607" y="45867"/>
                      </a:lnTo>
                      <a:lnTo>
                        <a:pt x="58996" y="44693"/>
                      </a:lnTo>
                      <a:lnTo>
                        <a:pt x="59037" y="43153"/>
                      </a:lnTo>
                      <a:lnTo>
                        <a:pt x="60047" y="40056"/>
                      </a:lnTo>
                      <a:lnTo>
                        <a:pt x="59689" y="39453"/>
                      </a:lnTo>
                      <a:lnTo>
                        <a:pt x="60267" y="37529"/>
                      </a:lnTo>
                      <a:lnTo>
                        <a:pt x="60528" y="36128"/>
                      </a:lnTo>
                      <a:lnTo>
                        <a:pt x="60226" y="34669"/>
                      </a:lnTo>
                      <a:lnTo>
                        <a:pt x="60463" y="33341"/>
                      </a:lnTo>
                      <a:lnTo>
                        <a:pt x="61245" y="32126"/>
                      </a:lnTo>
                      <a:lnTo>
                        <a:pt x="61001" y="31751"/>
                      </a:lnTo>
                      <a:lnTo>
                        <a:pt x="59754" y="32232"/>
                      </a:lnTo>
                      <a:lnTo>
                        <a:pt x="57944" y="34506"/>
                      </a:lnTo>
                      <a:lnTo>
                        <a:pt x="55597" y="38573"/>
                      </a:lnTo>
                      <a:lnTo>
                        <a:pt x="53772" y="40357"/>
                      </a:lnTo>
                      <a:lnTo>
                        <a:pt x="52468" y="39836"/>
                      </a:lnTo>
                      <a:lnTo>
                        <a:pt x="51417" y="40178"/>
                      </a:lnTo>
                      <a:lnTo>
                        <a:pt x="50618" y="41376"/>
                      </a:lnTo>
                      <a:lnTo>
                        <a:pt x="49754" y="41963"/>
                      </a:lnTo>
                      <a:lnTo>
                        <a:pt x="48817" y="41947"/>
                      </a:lnTo>
                      <a:lnTo>
                        <a:pt x="48254" y="43357"/>
                      </a:lnTo>
                      <a:lnTo>
                        <a:pt x="48051" y="46217"/>
                      </a:lnTo>
                      <a:lnTo>
                        <a:pt x="47122" y="47847"/>
                      </a:lnTo>
                      <a:lnTo>
                        <a:pt x="44367" y="48801"/>
                      </a:lnTo>
                      <a:lnTo>
                        <a:pt x="43829" y="49550"/>
                      </a:lnTo>
                      <a:lnTo>
                        <a:pt x="43780" y="50602"/>
                      </a:lnTo>
                      <a:lnTo>
                        <a:pt x="44220" y="51979"/>
                      </a:lnTo>
                      <a:lnTo>
                        <a:pt x="44237" y="54717"/>
                      </a:lnTo>
                      <a:lnTo>
                        <a:pt x="43813" y="58825"/>
                      </a:lnTo>
                      <a:lnTo>
                        <a:pt x="42900" y="62427"/>
                      </a:lnTo>
                      <a:lnTo>
                        <a:pt x="41490" y="65499"/>
                      </a:lnTo>
                      <a:lnTo>
                        <a:pt x="39934" y="68042"/>
                      </a:lnTo>
                      <a:lnTo>
                        <a:pt x="37366" y="71384"/>
                      </a:lnTo>
                      <a:lnTo>
                        <a:pt x="37326" y="72052"/>
                      </a:lnTo>
                      <a:lnTo>
                        <a:pt x="38589" y="74660"/>
                      </a:lnTo>
                      <a:lnTo>
                        <a:pt x="39119" y="76608"/>
                      </a:lnTo>
                      <a:lnTo>
                        <a:pt x="39380" y="80479"/>
                      </a:lnTo>
                      <a:lnTo>
                        <a:pt x="39322" y="81122"/>
                      </a:lnTo>
                      <a:lnTo>
                        <a:pt x="36845" y="85898"/>
                      </a:lnTo>
                      <a:lnTo>
                        <a:pt x="36804" y="86583"/>
                      </a:lnTo>
                      <a:lnTo>
                        <a:pt x="39461" y="94570"/>
                      </a:lnTo>
                      <a:lnTo>
                        <a:pt x="41816" y="100307"/>
                      </a:lnTo>
                      <a:lnTo>
                        <a:pt x="42085" y="100918"/>
                      </a:lnTo>
                      <a:lnTo>
                        <a:pt x="42786" y="103200"/>
                      </a:lnTo>
                      <a:lnTo>
                        <a:pt x="44090" y="107674"/>
                      </a:lnTo>
                      <a:lnTo>
                        <a:pt x="44758" y="112108"/>
                      </a:lnTo>
                      <a:lnTo>
                        <a:pt x="44799" y="116517"/>
                      </a:lnTo>
                      <a:lnTo>
                        <a:pt x="44481" y="120763"/>
                      </a:lnTo>
                      <a:lnTo>
                        <a:pt x="43813" y="124862"/>
                      </a:lnTo>
                      <a:lnTo>
                        <a:pt x="42819" y="128774"/>
                      </a:lnTo>
                      <a:lnTo>
                        <a:pt x="41506" y="132507"/>
                      </a:lnTo>
                      <a:lnTo>
                        <a:pt x="40146" y="135449"/>
                      </a:lnTo>
                      <a:lnTo>
                        <a:pt x="37350" y="140314"/>
                      </a:lnTo>
                      <a:lnTo>
                        <a:pt x="35981" y="143558"/>
                      </a:lnTo>
                      <a:lnTo>
                        <a:pt x="34563" y="146174"/>
                      </a:lnTo>
                      <a:lnTo>
                        <a:pt x="33096" y="148170"/>
                      </a:lnTo>
                      <a:lnTo>
                        <a:pt x="30456" y="150387"/>
                      </a:lnTo>
                      <a:lnTo>
                        <a:pt x="23650" y="154470"/>
                      </a:lnTo>
                      <a:lnTo>
                        <a:pt x="21515" y="155261"/>
                      </a:lnTo>
                      <a:lnTo>
                        <a:pt x="19168" y="155562"/>
                      </a:lnTo>
                      <a:lnTo>
                        <a:pt x="16617" y="155366"/>
                      </a:lnTo>
                      <a:lnTo>
                        <a:pt x="15224" y="154910"/>
                      </a:lnTo>
                      <a:lnTo>
                        <a:pt x="14914" y="154152"/>
                      </a:lnTo>
                      <a:lnTo>
                        <a:pt x="14376" y="154079"/>
                      </a:lnTo>
                      <a:lnTo>
                        <a:pt x="13635" y="153574"/>
                      </a:lnTo>
                      <a:lnTo>
                        <a:pt x="12697" y="152710"/>
                      </a:lnTo>
                      <a:lnTo>
                        <a:pt x="11654" y="151153"/>
                      </a:lnTo>
                      <a:lnTo>
                        <a:pt x="10529" y="147958"/>
                      </a:lnTo>
                      <a:lnTo>
                        <a:pt x="9315" y="143117"/>
                      </a:lnTo>
                      <a:lnTo>
                        <a:pt x="8239" y="140232"/>
                      </a:lnTo>
                      <a:lnTo>
                        <a:pt x="7302" y="139295"/>
                      </a:lnTo>
                      <a:lnTo>
                        <a:pt x="6455" y="137836"/>
                      </a:lnTo>
                      <a:lnTo>
                        <a:pt x="5697" y="135864"/>
                      </a:lnTo>
                      <a:lnTo>
                        <a:pt x="5322" y="131398"/>
                      </a:lnTo>
                      <a:lnTo>
                        <a:pt x="5338" y="124438"/>
                      </a:lnTo>
                      <a:lnTo>
                        <a:pt x="5599" y="119703"/>
                      </a:lnTo>
                      <a:lnTo>
                        <a:pt x="6104" y="117177"/>
                      </a:lnTo>
                      <a:lnTo>
                        <a:pt x="5957" y="115253"/>
                      </a:lnTo>
                      <a:lnTo>
                        <a:pt x="5175" y="113917"/>
                      </a:lnTo>
                      <a:lnTo>
                        <a:pt x="4686" y="112263"/>
                      </a:lnTo>
                      <a:lnTo>
                        <a:pt x="4507" y="110282"/>
                      </a:lnTo>
                      <a:lnTo>
                        <a:pt x="4099" y="108929"/>
                      </a:lnTo>
                      <a:lnTo>
                        <a:pt x="3464" y="108228"/>
                      </a:lnTo>
                      <a:lnTo>
                        <a:pt x="3317" y="107226"/>
                      </a:lnTo>
                      <a:lnTo>
                        <a:pt x="3675" y="105963"/>
                      </a:lnTo>
                      <a:lnTo>
                        <a:pt x="3675" y="105091"/>
                      </a:lnTo>
                      <a:lnTo>
                        <a:pt x="3333" y="104610"/>
                      </a:lnTo>
                      <a:lnTo>
                        <a:pt x="3252" y="103901"/>
                      </a:lnTo>
                      <a:lnTo>
                        <a:pt x="3431" y="102956"/>
                      </a:lnTo>
                      <a:lnTo>
                        <a:pt x="3113" y="100185"/>
                      </a:lnTo>
                      <a:lnTo>
                        <a:pt x="3195" y="98490"/>
                      </a:lnTo>
                      <a:lnTo>
                        <a:pt x="3635" y="96648"/>
                      </a:lnTo>
                      <a:lnTo>
                        <a:pt x="5045" y="93306"/>
                      </a:lnTo>
                      <a:lnTo>
                        <a:pt x="5501" y="91684"/>
                      </a:lnTo>
                      <a:lnTo>
                        <a:pt x="5623" y="90014"/>
                      </a:lnTo>
                      <a:lnTo>
                        <a:pt x="6292" y="87903"/>
                      </a:lnTo>
                      <a:lnTo>
                        <a:pt x="8133" y="83559"/>
                      </a:lnTo>
                      <a:lnTo>
                        <a:pt x="8182" y="82565"/>
                      </a:lnTo>
                      <a:lnTo>
                        <a:pt x="7547" y="80593"/>
                      </a:lnTo>
                      <a:lnTo>
                        <a:pt x="7400" y="79126"/>
                      </a:lnTo>
                      <a:lnTo>
                        <a:pt x="7547" y="77178"/>
                      </a:lnTo>
                      <a:lnTo>
                        <a:pt x="8125" y="74766"/>
                      </a:lnTo>
                      <a:lnTo>
                        <a:pt x="9152" y="71889"/>
                      </a:lnTo>
                      <a:lnTo>
                        <a:pt x="10521" y="69599"/>
                      </a:lnTo>
                      <a:lnTo>
                        <a:pt x="12216" y="67879"/>
                      </a:lnTo>
                      <a:lnTo>
                        <a:pt x="12771" y="65923"/>
                      </a:lnTo>
                      <a:lnTo>
                        <a:pt x="12184" y="63739"/>
                      </a:lnTo>
                      <a:lnTo>
                        <a:pt x="12404" y="60504"/>
                      </a:lnTo>
                      <a:lnTo>
                        <a:pt x="13414" y="56209"/>
                      </a:lnTo>
                      <a:lnTo>
                        <a:pt x="14555" y="52990"/>
                      </a:lnTo>
                      <a:lnTo>
                        <a:pt x="15802" y="50846"/>
                      </a:lnTo>
                      <a:lnTo>
                        <a:pt x="16658" y="48801"/>
                      </a:lnTo>
                      <a:lnTo>
                        <a:pt x="17122" y="46869"/>
                      </a:lnTo>
                      <a:lnTo>
                        <a:pt x="16911" y="46005"/>
                      </a:lnTo>
                      <a:lnTo>
                        <a:pt x="15982" y="45076"/>
                      </a:lnTo>
                      <a:lnTo>
                        <a:pt x="15077" y="43715"/>
                      </a:lnTo>
                      <a:lnTo>
                        <a:pt x="13577" y="43422"/>
                      </a:lnTo>
                      <a:lnTo>
                        <a:pt x="11711" y="44318"/>
                      </a:lnTo>
                      <a:lnTo>
                        <a:pt x="11450" y="44253"/>
                      </a:lnTo>
                      <a:lnTo>
                        <a:pt x="10505" y="44375"/>
                      </a:lnTo>
                      <a:lnTo>
                        <a:pt x="8712" y="46364"/>
                      </a:lnTo>
                      <a:lnTo>
                        <a:pt x="7123" y="49803"/>
                      </a:lnTo>
                      <a:lnTo>
                        <a:pt x="5957" y="51221"/>
                      </a:lnTo>
                      <a:lnTo>
                        <a:pt x="4385" y="52191"/>
                      </a:lnTo>
                      <a:lnTo>
                        <a:pt x="3219" y="53259"/>
                      </a:lnTo>
                      <a:lnTo>
                        <a:pt x="2453" y="54448"/>
                      </a:lnTo>
                      <a:lnTo>
                        <a:pt x="1459" y="54709"/>
                      </a:lnTo>
                      <a:lnTo>
                        <a:pt x="228" y="54033"/>
                      </a:lnTo>
                      <a:lnTo>
                        <a:pt x="0" y="52403"/>
                      </a:lnTo>
                      <a:lnTo>
                        <a:pt x="750" y="49795"/>
                      </a:lnTo>
                      <a:lnTo>
                        <a:pt x="1899" y="47301"/>
                      </a:lnTo>
                      <a:lnTo>
                        <a:pt x="4254" y="43210"/>
                      </a:lnTo>
                      <a:lnTo>
                        <a:pt x="4328" y="42232"/>
                      </a:lnTo>
                      <a:lnTo>
                        <a:pt x="4906" y="41042"/>
                      </a:lnTo>
                      <a:lnTo>
                        <a:pt x="8549" y="39282"/>
                      </a:lnTo>
                      <a:lnTo>
                        <a:pt x="9951" y="37896"/>
                      </a:lnTo>
                      <a:lnTo>
                        <a:pt x="10432" y="36128"/>
                      </a:lnTo>
                      <a:lnTo>
                        <a:pt x="10562" y="33520"/>
                      </a:lnTo>
                      <a:lnTo>
                        <a:pt x="10798" y="32786"/>
                      </a:lnTo>
                      <a:lnTo>
                        <a:pt x="11336" y="32477"/>
                      </a:lnTo>
                      <a:lnTo>
                        <a:pt x="12942" y="30284"/>
                      </a:lnTo>
                      <a:lnTo>
                        <a:pt x="15615" y="26218"/>
                      </a:lnTo>
                      <a:lnTo>
                        <a:pt x="18011" y="22012"/>
                      </a:lnTo>
                      <a:lnTo>
                        <a:pt x="20138" y="17677"/>
                      </a:lnTo>
                      <a:lnTo>
                        <a:pt x="21694" y="15232"/>
                      </a:lnTo>
                      <a:lnTo>
                        <a:pt x="22681" y="14678"/>
                      </a:lnTo>
                      <a:lnTo>
                        <a:pt x="23406" y="13357"/>
                      </a:lnTo>
                      <a:lnTo>
                        <a:pt x="24539" y="9307"/>
                      </a:lnTo>
                      <a:lnTo>
                        <a:pt x="25386" y="7457"/>
                      </a:lnTo>
                      <a:lnTo>
                        <a:pt x="25949" y="6748"/>
                      </a:lnTo>
                      <a:lnTo>
                        <a:pt x="26226" y="7180"/>
                      </a:lnTo>
                      <a:lnTo>
                        <a:pt x="25680" y="9397"/>
                      </a:lnTo>
                      <a:lnTo>
                        <a:pt x="25680" y="11247"/>
                      </a:lnTo>
                      <a:lnTo>
                        <a:pt x="26144" y="13594"/>
                      </a:lnTo>
                      <a:lnTo>
                        <a:pt x="27041" y="14401"/>
                      </a:lnTo>
                      <a:lnTo>
                        <a:pt x="28386" y="13667"/>
                      </a:lnTo>
                      <a:lnTo>
                        <a:pt x="29535" y="12127"/>
                      </a:lnTo>
                      <a:lnTo>
                        <a:pt x="30504" y="9763"/>
                      </a:lnTo>
                      <a:lnTo>
                        <a:pt x="31621" y="8785"/>
                      </a:lnTo>
                      <a:lnTo>
                        <a:pt x="32876" y="9193"/>
                      </a:lnTo>
                      <a:lnTo>
                        <a:pt x="33927" y="9038"/>
                      </a:lnTo>
                      <a:lnTo>
                        <a:pt x="34758" y="8329"/>
                      </a:lnTo>
                      <a:lnTo>
                        <a:pt x="36340" y="7979"/>
                      </a:lnTo>
                      <a:lnTo>
                        <a:pt x="36633" y="8867"/>
                      </a:lnTo>
                      <a:lnTo>
                        <a:pt x="36437" y="10660"/>
                      </a:lnTo>
                      <a:lnTo>
                        <a:pt x="35932" y="11524"/>
                      </a:lnTo>
                      <a:lnTo>
                        <a:pt x="35117" y="11459"/>
                      </a:lnTo>
                      <a:lnTo>
                        <a:pt x="34196" y="12404"/>
                      </a:lnTo>
                      <a:lnTo>
                        <a:pt x="33161" y="14360"/>
                      </a:lnTo>
                      <a:lnTo>
                        <a:pt x="33202" y="15908"/>
                      </a:lnTo>
                      <a:lnTo>
                        <a:pt x="34327" y="17074"/>
                      </a:lnTo>
                      <a:lnTo>
                        <a:pt x="34889" y="17131"/>
                      </a:lnTo>
                      <a:lnTo>
                        <a:pt x="34881" y="16104"/>
                      </a:lnTo>
                      <a:lnTo>
                        <a:pt x="35402" y="15069"/>
                      </a:lnTo>
                      <a:lnTo>
                        <a:pt x="37073" y="13170"/>
                      </a:lnTo>
                      <a:lnTo>
                        <a:pt x="37236" y="12551"/>
                      </a:lnTo>
                      <a:lnTo>
                        <a:pt x="40406" y="10872"/>
                      </a:lnTo>
                      <a:lnTo>
                        <a:pt x="41604" y="9804"/>
                      </a:lnTo>
                      <a:lnTo>
                        <a:pt x="41930" y="8582"/>
                      </a:lnTo>
                      <a:lnTo>
                        <a:pt x="43568" y="6072"/>
                      </a:lnTo>
                      <a:lnTo>
                        <a:pt x="45133" y="5273"/>
                      </a:lnTo>
                      <a:lnTo>
                        <a:pt x="47260" y="4931"/>
                      </a:lnTo>
                      <a:lnTo>
                        <a:pt x="49330" y="5151"/>
                      </a:lnTo>
                      <a:lnTo>
                        <a:pt x="51327" y="5925"/>
                      </a:lnTo>
                      <a:lnTo>
                        <a:pt x="52460" y="5917"/>
                      </a:lnTo>
                      <a:lnTo>
                        <a:pt x="52729" y="5102"/>
                      </a:lnTo>
                      <a:lnTo>
                        <a:pt x="54432" y="4556"/>
                      </a:lnTo>
                      <a:lnTo>
                        <a:pt x="57570" y="4270"/>
                      </a:lnTo>
                      <a:lnTo>
                        <a:pt x="59876" y="3113"/>
                      </a:lnTo>
                      <a:lnTo>
                        <a:pt x="61351" y="1076"/>
                      </a:lnTo>
                      <a:lnTo>
                        <a:pt x="63242" y="41"/>
                      </a:lnTo>
                      <a:lnTo>
                        <a:pt x="65548" y="0"/>
                      </a:lnTo>
                      <a:lnTo>
                        <a:pt x="68678" y="725"/>
                      </a:lnTo>
                      <a:lnTo>
                        <a:pt x="72622" y="2217"/>
                      </a:lnTo>
                      <a:lnTo>
                        <a:pt x="75817" y="4230"/>
                      </a:lnTo>
                      <a:lnTo>
                        <a:pt x="80038" y="8280"/>
                      </a:lnTo>
                      <a:lnTo>
                        <a:pt x="81147" y="8688"/>
                      </a:lnTo>
                      <a:lnTo>
                        <a:pt x="80935" y="11124"/>
                      </a:lnTo>
                      <a:close/>
                    </a:path>
                  </a:pathLst>
                </a:custGeom>
                <a:solidFill>
                  <a:srgbClr val="FFFFFF"/>
                </a:solidFill>
                <a:ln w="8150" cap="flat">
                  <a:noFill/>
                  <a:prstDash val="solid"/>
                  <a:miter/>
                </a:ln>
              </p:spPr>
              <p:txBody>
                <a:bodyPr rtlCol="0" anchor="ctr"/>
                <a:lstStyle/>
                <a:p>
                  <a:endParaRPr lang="en-US"/>
                </a:p>
              </p:txBody>
            </p:sp>
            <p:sp>
              <p:nvSpPr>
                <p:cNvPr id="413" name="Freeform: Shape 412">
                  <a:extLst>
                    <a:ext uri="{FF2B5EF4-FFF2-40B4-BE49-F238E27FC236}">
                      <a16:creationId xmlns:a16="http://schemas.microsoft.com/office/drawing/2014/main" id="{21C0269D-4846-4955-9926-96C8C08484DB}"/>
                    </a:ext>
                  </a:extLst>
                </p:cNvPr>
                <p:cNvSpPr/>
                <p:nvPr/>
              </p:nvSpPr>
              <p:spPr>
                <a:xfrm>
                  <a:off x="6779778" y="2422534"/>
                  <a:ext cx="61693" cy="83420"/>
                </a:xfrm>
                <a:custGeom>
                  <a:avLst/>
                  <a:gdLst>
                    <a:gd name="connsiteX0" fmla="*/ 61490 w 61693"/>
                    <a:gd name="connsiteY0" fmla="*/ 62191 h 83420"/>
                    <a:gd name="connsiteX1" fmla="*/ 61490 w 61693"/>
                    <a:gd name="connsiteY1" fmla="*/ 62191 h 83420"/>
                    <a:gd name="connsiteX2" fmla="*/ 61490 w 61693"/>
                    <a:gd name="connsiteY2" fmla="*/ 62191 h 83420"/>
                    <a:gd name="connsiteX3" fmla="*/ 61694 w 61693"/>
                    <a:gd name="connsiteY3" fmla="*/ 62965 h 83420"/>
                    <a:gd name="connsiteX4" fmla="*/ 61628 w 61693"/>
                    <a:gd name="connsiteY4" fmla="*/ 63943 h 83420"/>
                    <a:gd name="connsiteX5" fmla="*/ 61213 w 61693"/>
                    <a:gd name="connsiteY5" fmla="*/ 65149 h 83420"/>
                    <a:gd name="connsiteX6" fmla="*/ 60895 w 61693"/>
                    <a:gd name="connsiteY6" fmla="*/ 65842 h 83420"/>
                    <a:gd name="connsiteX7" fmla="*/ 60577 w 61693"/>
                    <a:gd name="connsiteY7" fmla="*/ 66526 h 83420"/>
                    <a:gd name="connsiteX8" fmla="*/ 60512 w 61693"/>
                    <a:gd name="connsiteY8" fmla="*/ 66697 h 83420"/>
                    <a:gd name="connsiteX9" fmla="*/ 60349 w 61693"/>
                    <a:gd name="connsiteY9" fmla="*/ 67089 h 83420"/>
                    <a:gd name="connsiteX10" fmla="*/ 60284 w 61693"/>
                    <a:gd name="connsiteY10" fmla="*/ 67667 h 83420"/>
                    <a:gd name="connsiteX11" fmla="*/ 60455 w 61693"/>
                    <a:gd name="connsiteY11" fmla="*/ 68270 h 83420"/>
                    <a:gd name="connsiteX12" fmla="*/ 60708 w 61693"/>
                    <a:gd name="connsiteY12" fmla="*/ 68947 h 83420"/>
                    <a:gd name="connsiteX13" fmla="*/ 60854 w 61693"/>
                    <a:gd name="connsiteY13" fmla="*/ 69713 h 83420"/>
                    <a:gd name="connsiteX14" fmla="*/ 60683 w 61693"/>
                    <a:gd name="connsiteY14" fmla="*/ 70609 h 83420"/>
                    <a:gd name="connsiteX15" fmla="*/ 60113 w 61693"/>
                    <a:gd name="connsiteY15" fmla="*/ 71595 h 83420"/>
                    <a:gd name="connsiteX16" fmla="*/ 59143 w 61693"/>
                    <a:gd name="connsiteY16" fmla="*/ 72573 h 83420"/>
                    <a:gd name="connsiteX17" fmla="*/ 58010 w 61693"/>
                    <a:gd name="connsiteY17" fmla="*/ 73445 h 83420"/>
                    <a:gd name="connsiteX18" fmla="*/ 56641 w 61693"/>
                    <a:gd name="connsiteY18" fmla="*/ 74146 h 83420"/>
                    <a:gd name="connsiteX19" fmla="*/ 55109 w 61693"/>
                    <a:gd name="connsiteY19" fmla="*/ 74692 h 83420"/>
                    <a:gd name="connsiteX20" fmla="*/ 53536 w 61693"/>
                    <a:gd name="connsiteY20" fmla="*/ 75507 h 83420"/>
                    <a:gd name="connsiteX21" fmla="*/ 51995 w 61693"/>
                    <a:gd name="connsiteY21" fmla="*/ 76844 h 83420"/>
                    <a:gd name="connsiteX22" fmla="*/ 50496 w 61693"/>
                    <a:gd name="connsiteY22" fmla="*/ 78286 h 83420"/>
                    <a:gd name="connsiteX23" fmla="*/ 48964 w 61693"/>
                    <a:gd name="connsiteY23" fmla="*/ 79370 h 83420"/>
                    <a:gd name="connsiteX24" fmla="*/ 48108 w 61693"/>
                    <a:gd name="connsiteY24" fmla="*/ 80144 h 83420"/>
                    <a:gd name="connsiteX25" fmla="*/ 48222 w 61693"/>
                    <a:gd name="connsiteY25" fmla="*/ 80813 h 83420"/>
                    <a:gd name="connsiteX26" fmla="*/ 48719 w 61693"/>
                    <a:gd name="connsiteY26" fmla="*/ 81400 h 83420"/>
                    <a:gd name="connsiteX27" fmla="*/ 48866 w 61693"/>
                    <a:gd name="connsiteY27" fmla="*/ 81962 h 83420"/>
                    <a:gd name="connsiteX28" fmla="*/ 48597 w 61693"/>
                    <a:gd name="connsiteY28" fmla="*/ 82475 h 83420"/>
                    <a:gd name="connsiteX29" fmla="*/ 48116 w 61693"/>
                    <a:gd name="connsiteY29" fmla="*/ 82940 h 83420"/>
                    <a:gd name="connsiteX30" fmla="*/ 47497 w 61693"/>
                    <a:gd name="connsiteY30" fmla="*/ 83258 h 83420"/>
                    <a:gd name="connsiteX31" fmla="*/ 46845 w 61693"/>
                    <a:gd name="connsiteY31" fmla="*/ 83421 h 83420"/>
                    <a:gd name="connsiteX32" fmla="*/ 46144 w 61693"/>
                    <a:gd name="connsiteY32" fmla="*/ 83209 h 83420"/>
                    <a:gd name="connsiteX33" fmla="*/ 45427 w 61693"/>
                    <a:gd name="connsiteY33" fmla="*/ 82622 h 83420"/>
                    <a:gd name="connsiteX34" fmla="*/ 44123 w 61693"/>
                    <a:gd name="connsiteY34" fmla="*/ 81889 h 83420"/>
                    <a:gd name="connsiteX35" fmla="*/ 42020 w 61693"/>
                    <a:gd name="connsiteY35" fmla="*/ 81326 h 83420"/>
                    <a:gd name="connsiteX36" fmla="*/ 39934 w 61693"/>
                    <a:gd name="connsiteY36" fmla="*/ 80536 h 83420"/>
                    <a:gd name="connsiteX37" fmla="*/ 38679 w 61693"/>
                    <a:gd name="connsiteY37" fmla="*/ 79248 h 83420"/>
                    <a:gd name="connsiteX38" fmla="*/ 38027 w 61693"/>
                    <a:gd name="connsiteY38" fmla="*/ 77944 h 83420"/>
                    <a:gd name="connsiteX39" fmla="*/ 37456 w 61693"/>
                    <a:gd name="connsiteY39" fmla="*/ 77105 h 83420"/>
                    <a:gd name="connsiteX40" fmla="*/ 36870 w 61693"/>
                    <a:gd name="connsiteY40" fmla="*/ 76697 h 83420"/>
                    <a:gd name="connsiteX41" fmla="*/ 36218 w 61693"/>
                    <a:gd name="connsiteY41" fmla="*/ 76420 h 83420"/>
                    <a:gd name="connsiteX42" fmla="*/ 35313 w 61693"/>
                    <a:gd name="connsiteY42" fmla="*/ 76485 h 83420"/>
                    <a:gd name="connsiteX43" fmla="*/ 34131 w 61693"/>
                    <a:gd name="connsiteY43" fmla="*/ 76901 h 83420"/>
                    <a:gd name="connsiteX44" fmla="*/ 32615 w 61693"/>
                    <a:gd name="connsiteY44" fmla="*/ 77439 h 83420"/>
                    <a:gd name="connsiteX45" fmla="*/ 30863 w 61693"/>
                    <a:gd name="connsiteY45" fmla="*/ 77830 h 83420"/>
                    <a:gd name="connsiteX46" fmla="*/ 29592 w 61693"/>
                    <a:gd name="connsiteY46" fmla="*/ 77740 h 83420"/>
                    <a:gd name="connsiteX47" fmla="*/ 29193 w 61693"/>
                    <a:gd name="connsiteY47" fmla="*/ 77129 h 83420"/>
                    <a:gd name="connsiteX48" fmla="*/ 28606 w 61693"/>
                    <a:gd name="connsiteY48" fmla="*/ 76224 h 83420"/>
                    <a:gd name="connsiteX49" fmla="*/ 26837 w 61693"/>
                    <a:gd name="connsiteY49" fmla="*/ 75426 h 83420"/>
                    <a:gd name="connsiteX50" fmla="*/ 24865 w 61693"/>
                    <a:gd name="connsiteY50" fmla="*/ 75189 h 83420"/>
                    <a:gd name="connsiteX51" fmla="*/ 23716 w 61693"/>
                    <a:gd name="connsiteY51" fmla="*/ 76151 h 83420"/>
                    <a:gd name="connsiteX52" fmla="*/ 23047 w 61693"/>
                    <a:gd name="connsiteY52" fmla="*/ 76958 h 83420"/>
                    <a:gd name="connsiteX53" fmla="*/ 22477 w 61693"/>
                    <a:gd name="connsiteY53" fmla="*/ 76966 h 83420"/>
                    <a:gd name="connsiteX54" fmla="*/ 22045 w 61693"/>
                    <a:gd name="connsiteY54" fmla="*/ 76477 h 83420"/>
                    <a:gd name="connsiteX55" fmla="*/ 21695 w 61693"/>
                    <a:gd name="connsiteY55" fmla="*/ 75817 h 83420"/>
                    <a:gd name="connsiteX56" fmla="*/ 21393 w 61693"/>
                    <a:gd name="connsiteY56" fmla="*/ 75075 h 83420"/>
                    <a:gd name="connsiteX57" fmla="*/ 21222 w 61693"/>
                    <a:gd name="connsiteY57" fmla="*/ 74146 h 83420"/>
                    <a:gd name="connsiteX58" fmla="*/ 21255 w 61693"/>
                    <a:gd name="connsiteY58" fmla="*/ 73087 h 83420"/>
                    <a:gd name="connsiteX59" fmla="*/ 21426 w 61693"/>
                    <a:gd name="connsiteY59" fmla="*/ 72003 h 83420"/>
                    <a:gd name="connsiteX60" fmla="*/ 21809 w 61693"/>
                    <a:gd name="connsiteY60" fmla="*/ 71025 h 83420"/>
                    <a:gd name="connsiteX61" fmla="*/ 22273 w 61693"/>
                    <a:gd name="connsiteY61" fmla="*/ 70210 h 83420"/>
                    <a:gd name="connsiteX62" fmla="*/ 23496 w 61693"/>
                    <a:gd name="connsiteY62" fmla="*/ 69705 h 83420"/>
                    <a:gd name="connsiteX63" fmla="*/ 25647 w 61693"/>
                    <a:gd name="connsiteY63" fmla="*/ 69468 h 83420"/>
                    <a:gd name="connsiteX64" fmla="*/ 28150 w 61693"/>
                    <a:gd name="connsiteY64" fmla="*/ 69664 h 83420"/>
                    <a:gd name="connsiteX65" fmla="*/ 30187 w 61693"/>
                    <a:gd name="connsiteY65" fmla="*/ 70202 h 83420"/>
                    <a:gd name="connsiteX66" fmla="*/ 31426 w 61693"/>
                    <a:gd name="connsiteY66" fmla="*/ 70870 h 83420"/>
                    <a:gd name="connsiteX67" fmla="*/ 32028 w 61693"/>
                    <a:gd name="connsiteY67" fmla="*/ 71359 h 83420"/>
                    <a:gd name="connsiteX68" fmla="*/ 31442 w 61693"/>
                    <a:gd name="connsiteY68" fmla="*/ 71620 h 83420"/>
                    <a:gd name="connsiteX69" fmla="*/ 29853 w 61693"/>
                    <a:gd name="connsiteY69" fmla="*/ 71742 h 83420"/>
                    <a:gd name="connsiteX70" fmla="*/ 28231 w 61693"/>
                    <a:gd name="connsiteY70" fmla="*/ 71921 h 83420"/>
                    <a:gd name="connsiteX71" fmla="*/ 27611 w 61693"/>
                    <a:gd name="connsiteY71" fmla="*/ 72337 h 83420"/>
                    <a:gd name="connsiteX72" fmla="*/ 27832 w 61693"/>
                    <a:gd name="connsiteY72" fmla="*/ 72965 h 83420"/>
                    <a:gd name="connsiteX73" fmla="*/ 28280 w 61693"/>
                    <a:gd name="connsiteY73" fmla="*/ 73665 h 83420"/>
                    <a:gd name="connsiteX74" fmla="*/ 28981 w 61693"/>
                    <a:gd name="connsiteY74" fmla="*/ 74334 h 83420"/>
                    <a:gd name="connsiteX75" fmla="*/ 29828 w 61693"/>
                    <a:gd name="connsiteY75" fmla="*/ 74912 h 83420"/>
                    <a:gd name="connsiteX76" fmla="*/ 31067 w 61693"/>
                    <a:gd name="connsiteY76" fmla="*/ 75255 h 83420"/>
                    <a:gd name="connsiteX77" fmla="*/ 32721 w 61693"/>
                    <a:gd name="connsiteY77" fmla="*/ 75352 h 83420"/>
                    <a:gd name="connsiteX78" fmla="*/ 34873 w 61693"/>
                    <a:gd name="connsiteY78" fmla="*/ 75108 h 83420"/>
                    <a:gd name="connsiteX79" fmla="*/ 37228 w 61693"/>
                    <a:gd name="connsiteY79" fmla="*/ 75507 h 83420"/>
                    <a:gd name="connsiteX80" fmla="*/ 39380 w 61693"/>
                    <a:gd name="connsiteY80" fmla="*/ 77121 h 83420"/>
                    <a:gd name="connsiteX81" fmla="*/ 40781 w 61693"/>
                    <a:gd name="connsiteY81" fmla="*/ 76656 h 83420"/>
                    <a:gd name="connsiteX82" fmla="*/ 41548 w 61693"/>
                    <a:gd name="connsiteY82" fmla="*/ 74961 h 83420"/>
                    <a:gd name="connsiteX83" fmla="*/ 41996 w 61693"/>
                    <a:gd name="connsiteY83" fmla="*/ 73682 h 83420"/>
                    <a:gd name="connsiteX84" fmla="*/ 41914 w 61693"/>
                    <a:gd name="connsiteY84" fmla="*/ 71987 h 83420"/>
                    <a:gd name="connsiteX85" fmla="*/ 41466 w 61693"/>
                    <a:gd name="connsiteY85" fmla="*/ 70071 h 83420"/>
                    <a:gd name="connsiteX86" fmla="*/ 40635 w 61693"/>
                    <a:gd name="connsiteY86" fmla="*/ 68091 h 83420"/>
                    <a:gd name="connsiteX87" fmla="*/ 39616 w 61693"/>
                    <a:gd name="connsiteY87" fmla="*/ 66233 h 83420"/>
                    <a:gd name="connsiteX88" fmla="*/ 38564 w 61693"/>
                    <a:gd name="connsiteY88" fmla="*/ 64741 h 83420"/>
                    <a:gd name="connsiteX89" fmla="*/ 37644 w 61693"/>
                    <a:gd name="connsiteY89" fmla="*/ 63649 h 83420"/>
                    <a:gd name="connsiteX90" fmla="*/ 36193 w 61693"/>
                    <a:gd name="connsiteY90" fmla="*/ 62443 h 83420"/>
                    <a:gd name="connsiteX91" fmla="*/ 33838 w 61693"/>
                    <a:gd name="connsiteY91" fmla="*/ 60675 h 83420"/>
                    <a:gd name="connsiteX92" fmla="*/ 30130 w 61693"/>
                    <a:gd name="connsiteY92" fmla="*/ 58425 h 83420"/>
                    <a:gd name="connsiteX93" fmla="*/ 25354 w 61693"/>
                    <a:gd name="connsiteY93" fmla="*/ 56062 h 83420"/>
                    <a:gd name="connsiteX94" fmla="*/ 20660 w 61693"/>
                    <a:gd name="connsiteY94" fmla="*/ 53731 h 83420"/>
                    <a:gd name="connsiteX95" fmla="*/ 17123 w 61693"/>
                    <a:gd name="connsiteY95" fmla="*/ 51555 h 83420"/>
                    <a:gd name="connsiteX96" fmla="*/ 14686 w 61693"/>
                    <a:gd name="connsiteY96" fmla="*/ 49526 h 83420"/>
                    <a:gd name="connsiteX97" fmla="*/ 12616 w 61693"/>
                    <a:gd name="connsiteY97" fmla="*/ 47537 h 83420"/>
                    <a:gd name="connsiteX98" fmla="*/ 11116 w 61693"/>
                    <a:gd name="connsiteY98" fmla="*/ 45802 h 83420"/>
                    <a:gd name="connsiteX99" fmla="*/ 10032 w 61693"/>
                    <a:gd name="connsiteY99" fmla="*/ 44375 h 83420"/>
                    <a:gd name="connsiteX100" fmla="*/ 9495 w 61693"/>
                    <a:gd name="connsiteY100" fmla="*/ 43422 h 83420"/>
                    <a:gd name="connsiteX101" fmla="*/ 9291 w 61693"/>
                    <a:gd name="connsiteY101" fmla="*/ 42843 h 83420"/>
                    <a:gd name="connsiteX102" fmla="*/ 9829 w 61693"/>
                    <a:gd name="connsiteY102" fmla="*/ 43014 h 83420"/>
                    <a:gd name="connsiteX103" fmla="*/ 11035 w 61693"/>
                    <a:gd name="connsiteY103" fmla="*/ 43886 h 83420"/>
                    <a:gd name="connsiteX104" fmla="*/ 12534 w 61693"/>
                    <a:gd name="connsiteY104" fmla="*/ 44872 h 83420"/>
                    <a:gd name="connsiteX105" fmla="*/ 13757 w 61693"/>
                    <a:gd name="connsiteY105" fmla="*/ 45321 h 83420"/>
                    <a:gd name="connsiteX106" fmla="*/ 14661 w 61693"/>
                    <a:gd name="connsiteY106" fmla="*/ 45158 h 83420"/>
                    <a:gd name="connsiteX107" fmla="*/ 15444 w 61693"/>
                    <a:gd name="connsiteY107" fmla="*/ 44661 h 83420"/>
                    <a:gd name="connsiteX108" fmla="*/ 15949 w 61693"/>
                    <a:gd name="connsiteY108" fmla="*/ 43756 h 83420"/>
                    <a:gd name="connsiteX109" fmla="*/ 16234 w 61693"/>
                    <a:gd name="connsiteY109" fmla="*/ 42615 h 83420"/>
                    <a:gd name="connsiteX110" fmla="*/ 16218 w 61693"/>
                    <a:gd name="connsiteY110" fmla="*/ 41303 h 83420"/>
                    <a:gd name="connsiteX111" fmla="*/ 16031 w 61693"/>
                    <a:gd name="connsiteY111" fmla="*/ 40007 h 83420"/>
                    <a:gd name="connsiteX112" fmla="*/ 15533 w 61693"/>
                    <a:gd name="connsiteY112" fmla="*/ 38744 h 83420"/>
                    <a:gd name="connsiteX113" fmla="*/ 14816 w 61693"/>
                    <a:gd name="connsiteY113" fmla="*/ 37521 h 83420"/>
                    <a:gd name="connsiteX114" fmla="*/ 13301 w 61693"/>
                    <a:gd name="connsiteY114" fmla="*/ 35908 h 83420"/>
                    <a:gd name="connsiteX115" fmla="*/ 10929 w 61693"/>
                    <a:gd name="connsiteY115" fmla="*/ 33699 h 83420"/>
                    <a:gd name="connsiteX116" fmla="*/ 8777 w 61693"/>
                    <a:gd name="connsiteY116" fmla="*/ 31702 h 83420"/>
                    <a:gd name="connsiteX117" fmla="*/ 7808 w 61693"/>
                    <a:gd name="connsiteY117" fmla="*/ 30602 h 83420"/>
                    <a:gd name="connsiteX118" fmla="*/ 7808 w 61693"/>
                    <a:gd name="connsiteY118" fmla="*/ 29901 h 83420"/>
                    <a:gd name="connsiteX119" fmla="*/ 7979 w 61693"/>
                    <a:gd name="connsiteY119" fmla="*/ 28883 h 83420"/>
                    <a:gd name="connsiteX120" fmla="*/ 8060 w 61693"/>
                    <a:gd name="connsiteY120" fmla="*/ 27750 h 83420"/>
                    <a:gd name="connsiteX121" fmla="*/ 7840 w 61693"/>
                    <a:gd name="connsiteY121" fmla="*/ 26772 h 83420"/>
                    <a:gd name="connsiteX122" fmla="*/ 6993 w 61693"/>
                    <a:gd name="connsiteY122" fmla="*/ 25484 h 83420"/>
                    <a:gd name="connsiteX123" fmla="*/ 5575 w 61693"/>
                    <a:gd name="connsiteY123" fmla="*/ 23626 h 83420"/>
                    <a:gd name="connsiteX124" fmla="*/ 3920 w 61693"/>
                    <a:gd name="connsiteY124" fmla="*/ 22004 h 83420"/>
                    <a:gd name="connsiteX125" fmla="*/ 2535 w 61693"/>
                    <a:gd name="connsiteY125" fmla="*/ 21279 h 83420"/>
                    <a:gd name="connsiteX126" fmla="*/ 1565 w 61693"/>
                    <a:gd name="connsiteY126" fmla="*/ 21100 h 83420"/>
                    <a:gd name="connsiteX127" fmla="*/ 929 w 61693"/>
                    <a:gd name="connsiteY127" fmla="*/ 20806 h 83420"/>
                    <a:gd name="connsiteX128" fmla="*/ 530 w 61693"/>
                    <a:gd name="connsiteY128" fmla="*/ 20114 h 83420"/>
                    <a:gd name="connsiteX129" fmla="*/ 163 w 61693"/>
                    <a:gd name="connsiteY129" fmla="*/ 18973 h 83420"/>
                    <a:gd name="connsiteX130" fmla="*/ 0 w 61693"/>
                    <a:gd name="connsiteY130" fmla="*/ 17791 h 83420"/>
                    <a:gd name="connsiteX131" fmla="*/ 98 w 61693"/>
                    <a:gd name="connsiteY131" fmla="*/ 17017 h 83420"/>
                    <a:gd name="connsiteX132" fmla="*/ 448 w 61693"/>
                    <a:gd name="connsiteY132" fmla="*/ 16634 h 83420"/>
                    <a:gd name="connsiteX133" fmla="*/ 954 w 61693"/>
                    <a:gd name="connsiteY133" fmla="*/ 16389 h 83420"/>
                    <a:gd name="connsiteX134" fmla="*/ 1541 w 61693"/>
                    <a:gd name="connsiteY134" fmla="*/ 16389 h 83420"/>
                    <a:gd name="connsiteX135" fmla="*/ 2143 w 61693"/>
                    <a:gd name="connsiteY135" fmla="*/ 16560 h 83420"/>
                    <a:gd name="connsiteX136" fmla="*/ 2796 w 61693"/>
                    <a:gd name="connsiteY136" fmla="*/ 17261 h 83420"/>
                    <a:gd name="connsiteX137" fmla="*/ 3545 w 61693"/>
                    <a:gd name="connsiteY137" fmla="*/ 18541 h 83420"/>
                    <a:gd name="connsiteX138" fmla="*/ 4866 w 61693"/>
                    <a:gd name="connsiteY138" fmla="*/ 20570 h 83420"/>
                    <a:gd name="connsiteX139" fmla="*/ 6870 w 61693"/>
                    <a:gd name="connsiteY139" fmla="*/ 23088 h 83420"/>
                    <a:gd name="connsiteX140" fmla="*/ 8704 w 61693"/>
                    <a:gd name="connsiteY140" fmla="*/ 25338 h 83420"/>
                    <a:gd name="connsiteX141" fmla="*/ 9592 w 61693"/>
                    <a:gd name="connsiteY141" fmla="*/ 26699 h 83420"/>
                    <a:gd name="connsiteX142" fmla="*/ 9641 w 61693"/>
                    <a:gd name="connsiteY142" fmla="*/ 27448 h 83420"/>
                    <a:gd name="connsiteX143" fmla="*/ 9438 w 61693"/>
                    <a:gd name="connsiteY143" fmla="*/ 28206 h 83420"/>
                    <a:gd name="connsiteX144" fmla="*/ 9975 w 61693"/>
                    <a:gd name="connsiteY144" fmla="*/ 29355 h 83420"/>
                    <a:gd name="connsiteX145" fmla="*/ 11809 w 61693"/>
                    <a:gd name="connsiteY145" fmla="*/ 31018 h 83420"/>
                    <a:gd name="connsiteX146" fmla="*/ 14213 w 61693"/>
                    <a:gd name="connsiteY146" fmla="*/ 32599 h 83420"/>
                    <a:gd name="connsiteX147" fmla="*/ 16137 w 61693"/>
                    <a:gd name="connsiteY147" fmla="*/ 33544 h 83420"/>
                    <a:gd name="connsiteX148" fmla="*/ 17237 w 61693"/>
                    <a:gd name="connsiteY148" fmla="*/ 33601 h 83420"/>
                    <a:gd name="connsiteX149" fmla="*/ 17669 w 61693"/>
                    <a:gd name="connsiteY149" fmla="*/ 33055 h 83420"/>
                    <a:gd name="connsiteX150" fmla="*/ 17449 w 61693"/>
                    <a:gd name="connsiteY150" fmla="*/ 31931 h 83420"/>
                    <a:gd name="connsiteX151" fmla="*/ 17163 w 61693"/>
                    <a:gd name="connsiteY151" fmla="*/ 30064 h 83420"/>
                    <a:gd name="connsiteX152" fmla="*/ 17514 w 61693"/>
                    <a:gd name="connsiteY152" fmla="*/ 28809 h 83420"/>
                    <a:gd name="connsiteX153" fmla="*/ 17799 w 61693"/>
                    <a:gd name="connsiteY153" fmla="*/ 27481 h 83420"/>
                    <a:gd name="connsiteX154" fmla="*/ 16715 w 61693"/>
                    <a:gd name="connsiteY154" fmla="*/ 25069 h 83420"/>
                    <a:gd name="connsiteX155" fmla="*/ 16569 w 61693"/>
                    <a:gd name="connsiteY155" fmla="*/ 23651 h 83420"/>
                    <a:gd name="connsiteX156" fmla="*/ 17171 w 61693"/>
                    <a:gd name="connsiteY156" fmla="*/ 23268 h 83420"/>
                    <a:gd name="connsiteX157" fmla="*/ 18362 w 61693"/>
                    <a:gd name="connsiteY157" fmla="*/ 23651 h 83420"/>
                    <a:gd name="connsiteX158" fmla="*/ 18712 w 61693"/>
                    <a:gd name="connsiteY158" fmla="*/ 22599 h 83420"/>
                    <a:gd name="connsiteX159" fmla="*/ 17824 w 61693"/>
                    <a:gd name="connsiteY159" fmla="*/ 20896 h 83420"/>
                    <a:gd name="connsiteX160" fmla="*/ 16153 w 61693"/>
                    <a:gd name="connsiteY160" fmla="*/ 18777 h 83420"/>
                    <a:gd name="connsiteX161" fmla="*/ 15020 w 61693"/>
                    <a:gd name="connsiteY161" fmla="*/ 17147 h 83420"/>
                    <a:gd name="connsiteX162" fmla="*/ 14539 w 61693"/>
                    <a:gd name="connsiteY162" fmla="*/ 16088 h 83420"/>
                    <a:gd name="connsiteX163" fmla="*/ 14368 w 61693"/>
                    <a:gd name="connsiteY163" fmla="*/ 15346 h 83420"/>
                    <a:gd name="connsiteX164" fmla="*/ 14670 w 61693"/>
                    <a:gd name="connsiteY164" fmla="*/ 15159 h 83420"/>
                    <a:gd name="connsiteX165" fmla="*/ 15273 w 61693"/>
                    <a:gd name="connsiteY165" fmla="*/ 15419 h 83420"/>
                    <a:gd name="connsiteX166" fmla="*/ 16226 w 61693"/>
                    <a:gd name="connsiteY166" fmla="*/ 16267 h 83420"/>
                    <a:gd name="connsiteX167" fmla="*/ 17343 w 61693"/>
                    <a:gd name="connsiteY167" fmla="*/ 17498 h 83420"/>
                    <a:gd name="connsiteX168" fmla="*/ 18728 w 61693"/>
                    <a:gd name="connsiteY168" fmla="*/ 19405 h 83420"/>
                    <a:gd name="connsiteX169" fmla="*/ 20285 w 61693"/>
                    <a:gd name="connsiteY169" fmla="*/ 21858 h 83420"/>
                    <a:gd name="connsiteX170" fmla="*/ 21573 w 61693"/>
                    <a:gd name="connsiteY170" fmla="*/ 23911 h 83420"/>
                    <a:gd name="connsiteX171" fmla="*/ 22306 w 61693"/>
                    <a:gd name="connsiteY171" fmla="*/ 24824 h 83420"/>
                    <a:gd name="connsiteX172" fmla="*/ 22591 w 61693"/>
                    <a:gd name="connsiteY172" fmla="*/ 25468 h 83420"/>
                    <a:gd name="connsiteX173" fmla="*/ 22779 w 61693"/>
                    <a:gd name="connsiteY173" fmla="*/ 26853 h 83420"/>
                    <a:gd name="connsiteX174" fmla="*/ 23064 w 61693"/>
                    <a:gd name="connsiteY174" fmla="*/ 28532 h 83420"/>
                    <a:gd name="connsiteX175" fmla="*/ 23586 w 61693"/>
                    <a:gd name="connsiteY175" fmla="*/ 29852 h 83420"/>
                    <a:gd name="connsiteX176" fmla="*/ 24458 w 61693"/>
                    <a:gd name="connsiteY176" fmla="*/ 30969 h 83420"/>
                    <a:gd name="connsiteX177" fmla="*/ 25639 w 61693"/>
                    <a:gd name="connsiteY177" fmla="*/ 32689 h 83420"/>
                    <a:gd name="connsiteX178" fmla="*/ 26960 w 61693"/>
                    <a:gd name="connsiteY178" fmla="*/ 34310 h 83420"/>
                    <a:gd name="connsiteX179" fmla="*/ 28109 w 61693"/>
                    <a:gd name="connsiteY179" fmla="*/ 35305 h 83420"/>
                    <a:gd name="connsiteX180" fmla="*/ 29095 w 61693"/>
                    <a:gd name="connsiteY180" fmla="*/ 35305 h 83420"/>
                    <a:gd name="connsiteX181" fmla="*/ 29967 w 61693"/>
                    <a:gd name="connsiteY181" fmla="*/ 34596 h 83420"/>
                    <a:gd name="connsiteX182" fmla="*/ 30350 w 61693"/>
                    <a:gd name="connsiteY182" fmla="*/ 34196 h 83420"/>
                    <a:gd name="connsiteX183" fmla="*/ 30415 w 61693"/>
                    <a:gd name="connsiteY183" fmla="*/ 33544 h 83420"/>
                    <a:gd name="connsiteX184" fmla="*/ 29828 w 61693"/>
                    <a:gd name="connsiteY184" fmla="*/ 32306 h 83420"/>
                    <a:gd name="connsiteX185" fmla="*/ 28589 w 61693"/>
                    <a:gd name="connsiteY185" fmla="*/ 30464 h 83420"/>
                    <a:gd name="connsiteX186" fmla="*/ 27538 w 61693"/>
                    <a:gd name="connsiteY186" fmla="*/ 28858 h 83420"/>
                    <a:gd name="connsiteX187" fmla="*/ 27391 w 61693"/>
                    <a:gd name="connsiteY187" fmla="*/ 28157 h 83420"/>
                    <a:gd name="connsiteX188" fmla="*/ 28630 w 61693"/>
                    <a:gd name="connsiteY188" fmla="*/ 28597 h 83420"/>
                    <a:gd name="connsiteX189" fmla="*/ 30920 w 61693"/>
                    <a:gd name="connsiteY189" fmla="*/ 29730 h 83420"/>
                    <a:gd name="connsiteX190" fmla="*/ 33292 w 61693"/>
                    <a:gd name="connsiteY190" fmla="*/ 30904 h 83420"/>
                    <a:gd name="connsiteX191" fmla="*/ 34710 w 61693"/>
                    <a:gd name="connsiteY191" fmla="*/ 31417 h 83420"/>
                    <a:gd name="connsiteX192" fmla="*/ 35859 w 61693"/>
                    <a:gd name="connsiteY192" fmla="*/ 31059 h 83420"/>
                    <a:gd name="connsiteX193" fmla="*/ 37546 w 61693"/>
                    <a:gd name="connsiteY193" fmla="*/ 30121 h 83420"/>
                    <a:gd name="connsiteX194" fmla="*/ 39103 w 61693"/>
                    <a:gd name="connsiteY194" fmla="*/ 28899 h 83420"/>
                    <a:gd name="connsiteX195" fmla="*/ 39975 w 61693"/>
                    <a:gd name="connsiteY195" fmla="*/ 27864 h 83420"/>
                    <a:gd name="connsiteX196" fmla="*/ 40227 w 61693"/>
                    <a:gd name="connsiteY196" fmla="*/ 26878 h 83420"/>
                    <a:gd name="connsiteX197" fmla="*/ 40309 w 61693"/>
                    <a:gd name="connsiteY197" fmla="*/ 25769 h 83420"/>
                    <a:gd name="connsiteX198" fmla="*/ 40105 w 61693"/>
                    <a:gd name="connsiteY198" fmla="*/ 24482 h 83420"/>
                    <a:gd name="connsiteX199" fmla="*/ 39640 w 61693"/>
                    <a:gd name="connsiteY199" fmla="*/ 23031 h 83420"/>
                    <a:gd name="connsiteX200" fmla="*/ 38605 w 61693"/>
                    <a:gd name="connsiteY200" fmla="*/ 21018 h 83420"/>
                    <a:gd name="connsiteX201" fmla="*/ 37000 w 61693"/>
                    <a:gd name="connsiteY201" fmla="*/ 18353 h 83420"/>
                    <a:gd name="connsiteX202" fmla="*/ 34979 w 61693"/>
                    <a:gd name="connsiteY202" fmla="*/ 16136 h 83420"/>
                    <a:gd name="connsiteX203" fmla="*/ 32974 w 61693"/>
                    <a:gd name="connsiteY203" fmla="*/ 15207 h 83420"/>
                    <a:gd name="connsiteX204" fmla="*/ 31238 w 61693"/>
                    <a:gd name="connsiteY204" fmla="*/ 15036 h 83420"/>
                    <a:gd name="connsiteX205" fmla="*/ 29901 w 61693"/>
                    <a:gd name="connsiteY205" fmla="*/ 14653 h 83420"/>
                    <a:gd name="connsiteX206" fmla="*/ 28565 w 61693"/>
                    <a:gd name="connsiteY206" fmla="*/ 13773 h 83420"/>
                    <a:gd name="connsiteX207" fmla="*/ 26845 w 61693"/>
                    <a:gd name="connsiteY207" fmla="*/ 12428 h 83420"/>
                    <a:gd name="connsiteX208" fmla="*/ 25427 w 61693"/>
                    <a:gd name="connsiteY208" fmla="*/ 11377 h 83420"/>
                    <a:gd name="connsiteX209" fmla="*/ 24841 w 61693"/>
                    <a:gd name="connsiteY209" fmla="*/ 11214 h 83420"/>
                    <a:gd name="connsiteX210" fmla="*/ 22974 w 61693"/>
                    <a:gd name="connsiteY210" fmla="*/ 12542 h 83420"/>
                    <a:gd name="connsiteX211" fmla="*/ 22241 w 61693"/>
                    <a:gd name="connsiteY211" fmla="*/ 13341 h 83420"/>
                    <a:gd name="connsiteX212" fmla="*/ 20701 w 61693"/>
                    <a:gd name="connsiteY212" fmla="*/ 12062 h 83420"/>
                    <a:gd name="connsiteX213" fmla="*/ 19779 w 61693"/>
                    <a:gd name="connsiteY213" fmla="*/ 12102 h 83420"/>
                    <a:gd name="connsiteX214" fmla="*/ 18907 w 61693"/>
                    <a:gd name="connsiteY214" fmla="*/ 11190 h 83420"/>
                    <a:gd name="connsiteX215" fmla="*/ 17775 w 61693"/>
                    <a:gd name="connsiteY215" fmla="*/ 9690 h 83420"/>
                    <a:gd name="connsiteX216" fmla="*/ 16854 w 61693"/>
                    <a:gd name="connsiteY216" fmla="*/ 8362 h 83420"/>
                    <a:gd name="connsiteX217" fmla="*/ 15916 w 61693"/>
                    <a:gd name="connsiteY217" fmla="*/ 6585 h 83420"/>
                    <a:gd name="connsiteX218" fmla="*/ 14735 w 61693"/>
                    <a:gd name="connsiteY218" fmla="*/ 4010 h 83420"/>
                    <a:gd name="connsiteX219" fmla="*/ 13349 w 61693"/>
                    <a:gd name="connsiteY219" fmla="*/ 1720 h 83420"/>
                    <a:gd name="connsiteX220" fmla="*/ 13586 w 61693"/>
                    <a:gd name="connsiteY220" fmla="*/ 497 h 83420"/>
                    <a:gd name="connsiteX221" fmla="*/ 14654 w 61693"/>
                    <a:gd name="connsiteY221" fmla="*/ 0 h 83420"/>
                    <a:gd name="connsiteX222" fmla="*/ 16471 w 61693"/>
                    <a:gd name="connsiteY222" fmla="*/ 1769 h 83420"/>
                    <a:gd name="connsiteX223" fmla="*/ 18891 w 61693"/>
                    <a:gd name="connsiteY223" fmla="*/ 2942 h 83420"/>
                    <a:gd name="connsiteX224" fmla="*/ 20994 w 61693"/>
                    <a:gd name="connsiteY224" fmla="*/ 3480 h 83420"/>
                    <a:gd name="connsiteX225" fmla="*/ 22649 w 61693"/>
                    <a:gd name="connsiteY225" fmla="*/ 3708 h 83420"/>
                    <a:gd name="connsiteX226" fmla="*/ 24034 w 61693"/>
                    <a:gd name="connsiteY226" fmla="*/ 4124 h 83420"/>
                    <a:gd name="connsiteX227" fmla="*/ 25215 w 61693"/>
                    <a:gd name="connsiteY227" fmla="*/ 4865 h 83420"/>
                    <a:gd name="connsiteX228" fmla="*/ 26406 w 61693"/>
                    <a:gd name="connsiteY228" fmla="*/ 5868 h 83420"/>
                    <a:gd name="connsiteX229" fmla="*/ 28312 w 61693"/>
                    <a:gd name="connsiteY229" fmla="*/ 7180 h 83420"/>
                    <a:gd name="connsiteX230" fmla="*/ 31254 w 61693"/>
                    <a:gd name="connsiteY230" fmla="*/ 8655 h 83420"/>
                    <a:gd name="connsiteX231" fmla="*/ 34343 w 61693"/>
                    <a:gd name="connsiteY231" fmla="*/ 10261 h 83420"/>
                    <a:gd name="connsiteX232" fmla="*/ 36552 w 61693"/>
                    <a:gd name="connsiteY232" fmla="*/ 11874 h 83420"/>
                    <a:gd name="connsiteX233" fmla="*/ 37742 w 61693"/>
                    <a:gd name="connsiteY233" fmla="*/ 12803 h 83420"/>
                    <a:gd name="connsiteX234" fmla="*/ 38328 w 61693"/>
                    <a:gd name="connsiteY234" fmla="*/ 12730 h 83420"/>
                    <a:gd name="connsiteX235" fmla="*/ 38516 w 61693"/>
                    <a:gd name="connsiteY235" fmla="*/ 12184 h 83420"/>
                    <a:gd name="connsiteX236" fmla="*/ 38720 w 61693"/>
                    <a:gd name="connsiteY236" fmla="*/ 11956 h 83420"/>
                    <a:gd name="connsiteX237" fmla="*/ 39119 w 61693"/>
                    <a:gd name="connsiteY237" fmla="*/ 12257 h 83420"/>
                    <a:gd name="connsiteX238" fmla="*/ 39706 w 61693"/>
                    <a:gd name="connsiteY238" fmla="*/ 12991 h 83420"/>
                    <a:gd name="connsiteX239" fmla="*/ 40724 w 61693"/>
                    <a:gd name="connsiteY239" fmla="*/ 13952 h 83420"/>
                    <a:gd name="connsiteX240" fmla="*/ 42142 w 61693"/>
                    <a:gd name="connsiteY240" fmla="*/ 14800 h 83420"/>
                    <a:gd name="connsiteX241" fmla="*/ 43544 w 61693"/>
                    <a:gd name="connsiteY241" fmla="*/ 15542 h 83420"/>
                    <a:gd name="connsiteX242" fmla="*/ 44596 w 61693"/>
                    <a:gd name="connsiteY242" fmla="*/ 16242 h 83420"/>
                    <a:gd name="connsiteX243" fmla="*/ 45362 w 61693"/>
                    <a:gd name="connsiteY243" fmla="*/ 17245 h 83420"/>
                    <a:gd name="connsiteX244" fmla="*/ 46144 w 61693"/>
                    <a:gd name="connsiteY244" fmla="*/ 18671 h 83420"/>
                    <a:gd name="connsiteX245" fmla="*/ 46625 w 61693"/>
                    <a:gd name="connsiteY245" fmla="*/ 20692 h 83420"/>
                    <a:gd name="connsiteX246" fmla="*/ 46641 w 61693"/>
                    <a:gd name="connsiteY246" fmla="*/ 23121 h 83420"/>
                    <a:gd name="connsiteX247" fmla="*/ 46087 w 61693"/>
                    <a:gd name="connsiteY247" fmla="*/ 26022 h 83420"/>
                    <a:gd name="connsiteX248" fmla="*/ 45215 w 61693"/>
                    <a:gd name="connsiteY248" fmla="*/ 29127 h 83420"/>
                    <a:gd name="connsiteX249" fmla="*/ 44359 w 61693"/>
                    <a:gd name="connsiteY249" fmla="*/ 31825 h 83420"/>
                    <a:gd name="connsiteX250" fmla="*/ 42974 w 61693"/>
                    <a:gd name="connsiteY250" fmla="*/ 34261 h 83420"/>
                    <a:gd name="connsiteX251" fmla="*/ 43357 w 61693"/>
                    <a:gd name="connsiteY251" fmla="*/ 35859 h 83420"/>
                    <a:gd name="connsiteX252" fmla="*/ 44840 w 61693"/>
                    <a:gd name="connsiteY252" fmla="*/ 37546 h 83420"/>
                    <a:gd name="connsiteX253" fmla="*/ 46560 w 61693"/>
                    <a:gd name="connsiteY253" fmla="*/ 39502 h 83420"/>
                    <a:gd name="connsiteX254" fmla="*/ 47163 w 61693"/>
                    <a:gd name="connsiteY254" fmla="*/ 41498 h 83420"/>
                    <a:gd name="connsiteX255" fmla="*/ 47847 w 61693"/>
                    <a:gd name="connsiteY255" fmla="*/ 43414 h 83420"/>
                    <a:gd name="connsiteX256" fmla="*/ 49216 w 61693"/>
                    <a:gd name="connsiteY256" fmla="*/ 45378 h 83420"/>
                    <a:gd name="connsiteX257" fmla="*/ 50716 w 61693"/>
                    <a:gd name="connsiteY257" fmla="*/ 47431 h 83420"/>
                    <a:gd name="connsiteX258" fmla="*/ 51702 w 61693"/>
                    <a:gd name="connsiteY258" fmla="*/ 49559 h 83420"/>
                    <a:gd name="connsiteX259" fmla="*/ 52558 w 61693"/>
                    <a:gd name="connsiteY259" fmla="*/ 51555 h 83420"/>
                    <a:gd name="connsiteX260" fmla="*/ 53748 w 61693"/>
                    <a:gd name="connsiteY260" fmla="*/ 53316 h 83420"/>
                    <a:gd name="connsiteX261" fmla="*/ 55003 w 61693"/>
                    <a:gd name="connsiteY261" fmla="*/ 54921 h 83420"/>
                    <a:gd name="connsiteX262" fmla="*/ 56021 w 61693"/>
                    <a:gd name="connsiteY262" fmla="*/ 56551 h 83420"/>
                    <a:gd name="connsiteX263" fmla="*/ 57187 w 61693"/>
                    <a:gd name="connsiteY263" fmla="*/ 58091 h 83420"/>
                    <a:gd name="connsiteX264" fmla="*/ 58793 w 61693"/>
                    <a:gd name="connsiteY264" fmla="*/ 59460 h 83420"/>
                    <a:gd name="connsiteX265" fmla="*/ 60275 w 61693"/>
                    <a:gd name="connsiteY265" fmla="*/ 60561 h 83420"/>
                    <a:gd name="connsiteX266" fmla="*/ 61123 w 61693"/>
                    <a:gd name="connsiteY266" fmla="*/ 61433 h 83420"/>
                    <a:gd name="connsiteX267" fmla="*/ 61490 w 61693"/>
                    <a:gd name="connsiteY267" fmla="*/ 62191 h 8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61693" h="83420">
                      <a:moveTo>
                        <a:pt x="61490" y="62191"/>
                      </a:moveTo>
                      <a:lnTo>
                        <a:pt x="61490" y="62191"/>
                      </a:lnTo>
                      <a:lnTo>
                        <a:pt x="61490" y="62191"/>
                      </a:lnTo>
                      <a:lnTo>
                        <a:pt x="61694" y="62965"/>
                      </a:lnTo>
                      <a:lnTo>
                        <a:pt x="61628" y="63943"/>
                      </a:lnTo>
                      <a:lnTo>
                        <a:pt x="61213" y="65149"/>
                      </a:lnTo>
                      <a:lnTo>
                        <a:pt x="60895" y="65842"/>
                      </a:lnTo>
                      <a:lnTo>
                        <a:pt x="60577" y="66526"/>
                      </a:lnTo>
                      <a:lnTo>
                        <a:pt x="60512" y="66697"/>
                      </a:lnTo>
                      <a:lnTo>
                        <a:pt x="60349" y="67089"/>
                      </a:lnTo>
                      <a:lnTo>
                        <a:pt x="60284" y="67667"/>
                      </a:lnTo>
                      <a:lnTo>
                        <a:pt x="60455" y="68270"/>
                      </a:lnTo>
                      <a:lnTo>
                        <a:pt x="60708" y="68947"/>
                      </a:lnTo>
                      <a:lnTo>
                        <a:pt x="60854" y="69713"/>
                      </a:lnTo>
                      <a:lnTo>
                        <a:pt x="60683" y="70609"/>
                      </a:lnTo>
                      <a:lnTo>
                        <a:pt x="60113" y="71595"/>
                      </a:lnTo>
                      <a:lnTo>
                        <a:pt x="59143" y="72573"/>
                      </a:lnTo>
                      <a:lnTo>
                        <a:pt x="58010" y="73445"/>
                      </a:lnTo>
                      <a:lnTo>
                        <a:pt x="56641" y="74146"/>
                      </a:lnTo>
                      <a:lnTo>
                        <a:pt x="55109" y="74692"/>
                      </a:lnTo>
                      <a:lnTo>
                        <a:pt x="53536" y="75507"/>
                      </a:lnTo>
                      <a:lnTo>
                        <a:pt x="51995" y="76844"/>
                      </a:lnTo>
                      <a:lnTo>
                        <a:pt x="50496" y="78286"/>
                      </a:lnTo>
                      <a:lnTo>
                        <a:pt x="48964" y="79370"/>
                      </a:lnTo>
                      <a:lnTo>
                        <a:pt x="48108" y="80144"/>
                      </a:lnTo>
                      <a:lnTo>
                        <a:pt x="48222" y="80813"/>
                      </a:lnTo>
                      <a:lnTo>
                        <a:pt x="48719" y="81400"/>
                      </a:lnTo>
                      <a:lnTo>
                        <a:pt x="48866" y="81962"/>
                      </a:lnTo>
                      <a:lnTo>
                        <a:pt x="48597" y="82475"/>
                      </a:lnTo>
                      <a:lnTo>
                        <a:pt x="48116" y="82940"/>
                      </a:lnTo>
                      <a:lnTo>
                        <a:pt x="47497" y="83258"/>
                      </a:lnTo>
                      <a:lnTo>
                        <a:pt x="46845" y="83421"/>
                      </a:lnTo>
                      <a:lnTo>
                        <a:pt x="46144" y="83209"/>
                      </a:lnTo>
                      <a:lnTo>
                        <a:pt x="45427" y="82622"/>
                      </a:lnTo>
                      <a:lnTo>
                        <a:pt x="44123" y="81889"/>
                      </a:lnTo>
                      <a:lnTo>
                        <a:pt x="42020" y="81326"/>
                      </a:lnTo>
                      <a:lnTo>
                        <a:pt x="39934" y="80536"/>
                      </a:lnTo>
                      <a:lnTo>
                        <a:pt x="38679" y="79248"/>
                      </a:lnTo>
                      <a:lnTo>
                        <a:pt x="38027" y="77944"/>
                      </a:lnTo>
                      <a:lnTo>
                        <a:pt x="37456" y="77105"/>
                      </a:lnTo>
                      <a:lnTo>
                        <a:pt x="36870" y="76697"/>
                      </a:lnTo>
                      <a:lnTo>
                        <a:pt x="36218" y="76420"/>
                      </a:lnTo>
                      <a:lnTo>
                        <a:pt x="35313" y="76485"/>
                      </a:lnTo>
                      <a:lnTo>
                        <a:pt x="34131" y="76901"/>
                      </a:lnTo>
                      <a:lnTo>
                        <a:pt x="32615" y="77439"/>
                      </a:lnTo>
                      <a:lnTo>
                        <a:pt x="30863" y="77830"/>
                      </a:lnTo>
                      <a:lnTo>
                        <a:pt x="29592" y="77740"/>
                      </a:lnTo>
                      <a:lnTo>
                        <a:pt x="29193" y="77129"/>
                      </a:lnTo>
                      <a:lnTo>
                        <a:pt x="28606" y="76224"/>
                      </a:lnTo>
                      <a:lnTo>
                        <a:pt x="26837" y="75426"/>
                      </a:lnTo>
                      <a:lnTo>
                        <a:pt x="24865" y="75189"/>
                      </a:lnTo>
                      <a:lnTo>
                        <a:pt x="23716" y="76151"/>
                      </a:lnTo>
                      <a:lnTo>
                        <a:pt x="23047" y="76958"/>
                      </a:lnTo>
                      <a:lnTo>
                        <a:pt x="22477" y="76966"/>
                      </a:lnTo>
                      <a:lnTo>
                        <a:pt x="22045" y="76477"/>
                      </a:lnTo>
                      <a:lnTo>
                        <a:pt x="21695" y="75817"/>
                      </a:lnTo>
                      <a:lnTo>
                        <a:pt x="21393" y="75075"/>
                      </a:lnTo>
                      <a:lnTo>
                        <a:pt x="21222" y="74146"/>
                      </a:lnTo>
                      <a:lnTo>
                        <a:pt x="21255" y="73087"/>
                      </a:lnTo>
                      <a:lnTo>
                        <a:pt x="21426" y="72003"/>
                      </a:lnTo>
                      <a:lnTo>
                        <a:pt x="21809" y="71025"/>
                      </a:lnTo>
                      <a:lnTo>
                        <a:pt x="22273" y="70210"/>
                      </a:lnTo>
                      <a:lnTo>
                        <a:pt x="23496" y="69705"/>
                      </a:lnTo>
                      <a:lnTo>
                        <a:pt x="25647" y="69468"/>
                      </a:lnTo>
                      <a:lnTo>
                        <a:pt x="28150" y="69664"/>
                      </a:lnTo>
                      <a:lnTo>
                        <a:pt x="30187" y="70202"/>
                      </a:lnTo>
                      <a:lnTo>
                        <a:pt x="31426" y="70870"/>
                      </a:lnTo>
                      <a:lnTo>
                        <a:pt x="32028" y="71359"/>
                      </a:lnTo>
                      <a:lnTo>
                        <a:pt x="31442" y="71620"/>
                      </a:lnTo>
                      <a:lnTo>
                        <a:pt x="29853" y="71742"/>
                      </a:lnTo>
                      <a:lnTo>
                        <a:pt x="28231" y="71921"/>
                      </a:lnTo>
                      <a:lnTo>
                        <a:pt x="27611" y="72337"/>
                      </a:lnTo>
                      <a:lnTo>
                        <a:pt x="27832" y="72965"/>
                      </a:lnTo>
                      <a:lnTo>
                        <a:pt x="28280" y="73665"/>
                      </a:lnTo>
                      <a:lnTo>
                        <a:pt x="28981" y="74334"/>
                      </a:lnTo>
                      <a:lnTo>
                        <a:pt x="29828" y="74912"/>
                      </a:lnTo>
                      <a:lnTo>
                        <a:pt x="31067" y="75255"/>
                      </a:lnTo>
                      <a:lnTo>
                        <a:pt x="32721" y="75352"/>
                      </a:lnTo>
                      <a:lnTo>
                        <a:pt x="34873" y="75108"/>
                      </a:lnTo>
                      <a:lnTo>
                        <a:pt x="37228" y="75507"/>
                      </a:lnTo>
                      <a:lnTo>
                        <a:pt x="39380" y="77121"/>
                      </a:lnTo>
                      <a:lnTo>
                        <a:pt x="40781" y="76656"/>
                      </a:lnTo>
                      <a:lnTo>
                        <a:pt x="41548" y="74961"/>
                      </a:lnTo>
                      <a:lnTo>
                        <a:pt x="41996" y="73682"/>
                      </a:lnTo>
                      <a:lnTo>
                        <a:pt x="41914" y="71987"/>
                      </a:lnTo>
                      <a:lnTo>
                        <a:pt x="41466" y="70071"/>
                      </a:lnTo>
                      <a:lnTo>
                        <a:pt x="40635" y="68091"/>
                      </a:lnTo>
                      <a:lnTo>
                        <a:pt x="39616" y="66233"/>
                      </a:lnTo>
                      <a:lnTo>
                        <a:pt x="38564" y="64741"/>
                      </a:lnTo>
                      <a:lnTo>
                        <a:pt x="37644" y="63649"/>
                      </a:lnTo>
                      <a:lnTo>
                        <a:pt x="36193" y="62443"/>
                      </a:lnTo>
                      <a:lnTo>
                        <a:pt x="33838" y="60675"/>
                      </a:lnTo>
                      <a:lnTo>
                        <a:pt x="30130" y="58425"/>
                      </a:lnTo>
                      <a:lnTo>
                        <a:pt x="25354" y="56062"/>
                      </a:lnTo>
                      <a:lnTo>
                        <a:pt x="20660" y="53731"/>
                      </a:lnTo>
                      <a:lnTo>
                        <a:pt x="17123" y="51555"/>
                      </a:lnTo>
                      <a:lnTo>
                        <a:pt x="14686" y="49526"/>
                      </a:lnTo>
                      <a:lnTo>
                        <a:pt x="12616" y="47537"/>
                      </a:lnTo>
                      <a:lnTo>
                        <a:pt x="11116" y="45802"/>
                      </a:lnTo>
                      <a:lnTo>
                        <a:pt x="10032" y="44375"/>
                      </a:lnTo>
                      <a:lnTo>
                        <a:pt x="9495" y="43422"/>
                      </a:lnTo>
                      <a:lnTo>
                        <a:pt x="9291" y="42843"/>
                      </a:lnTo>
                      <a:lnTo>
                        <a:pt x="9829" y="43014"/>
                      </a:lnTo>
                      <a:lnTo>
                        <a:pt x="11035" y="43886"/>
                      </a:lnTo>
                      <a:lnTo>
                        <a:pt x="12534" y="44872"/>
                      </a:lnTo>
                      <a:lnTo>
                        <a:pt x="13757" y="45321"/>
                      </a:lnTo>
                      <a:lnTo>
                        <a:pt x="14661" y="45158"/>
                      </a:lnTo>
                      <a:lnTo>
                        <a:pt x="15444" y="44661"/>
                      </a:lnTo>
                      <a:lnTo>
                        <a:pt x="15949" y="43756"/>
                      </a:lnTo>
                      <a:lnTo>
                        <a:pt x="16234" y="42615"/>
                      </a:lnTo>
                      <a:lnTo>
                        <a:pt x="16218" y="41303"/>
                      </a:lnTo>
                      <a:lnTo>
                        <a:pt x="16031" y="40007"/>
                      </a:lnTo>
                      <a:lnTo>
                        <a:pt x="15533" y="38744"/>
                      </a:lnTo>
                      <a:lnTo>
                        <a:pt x="14816" y="37521"/>
                      </a:lnTo>
                      <a:lnTo>
                        <a:pt x="13301" y="35908"/>
                      </a:lnTo>
                      <a:lnTo>
                        <a:pt x="10929" y="33699"/>
                      </a:lnTo>
                      <a:lnTo>
                        <a:pt x="8777" y="31702"/>
                      </a:lnTo>
                      <a:lnTo>
                        <a:pt x="7808" y="30602"/>
                      </a:lnTo>
                      <a:lnTo>
                        <a:pt x="7808" y="29901"/>
                      </a:lnTo>
                      <a:lnTo>
                        <a:pt x="7979" y="28883"/>
                      </a:lnTo>
                      <a:lnTo>
                        <a:pt x="8060" y="27750"/>
                      </a:lnTo>
                      <a:lnTo>
                        <a:pt x="7840" y="26772"/>
                      </a:lnTo>
                      <a:lnTo>
                        <a:pt x="6993" y="25484"/>
                      </a:lnTo>
                      <a:lnTo>
                        <a:pt x="5575" y="23626"/>
                      </a:lnTo>
                      <a:lnTo>
                        <a:pt x="3920" y="22004"/>
                      </a:lnTo>
                      <a:lnTo>
                        <a:pt x="2535" y="21279"/>
                      </a:lnTo>
                      <a:lnTo>
                        <a:pt x="1565" y="21100"/>
                      </a:lnTo>
                      <a:lnTo>
                        <a:pt x="929" y="20806"/>
                      </a:lnTo>
                      <a:lnTo>
                        <a:pt x="530" y="20114"/>
                      </a:lnTo>
                      <a:lnTo>
                        <a:pt x="163" y="18973"/>
                      </a:lnTo>
                      <a:lnTo>
                        <a:pt x="0" y="17791"/>
                      </a:lnTo>
                      <a:lnTo>
                        <a:pt x="98" y="17017"/>
                      </a:lnTo>
                      <a:lnTo>
                        <a:pt x="448" y="16634"/>
                      </a:lnTo>
                      <a:lnTo>
                        <a:pt x="954" y="16389"/>
                      </a:lnTo>
                      <a:lnTo>
                        <a:pt x="1541" y="16389"/>
                      </a:lnTo>
                      <a:lnTo>
                        <a:pt x="2143" y="16560"/>
                      </a:lnTo>
                      <a:lnTo>
                        <a:pt x="2796" y="17261"/>
                      </a:lnTo>
                      <a:lnTo>
                        <a:pt x="3545" y="18541"/>
                      </a:lnTo>
                      <a:lnTo>
                        <a:pt x="4866" y="20570"/>
                      </a:lnTo>
                      <a:lnTo>
                        <a:pt x="6870" y="23088"/>
                      </a:lnTo>
                      <a:lnTo>
                        <a:pt x="8704" y="25338"/>
                      </a:lnTo>
                      <a:lnTo>
                        <a:pt x="9592" y="26699"/>
                      </a:lnTo>
                      <a:lnTo>
                        <a:pt x="9641" y="27448"/>
                      </a:lnTo>
                      <a:lnTo>
                        <a:pt x="9438" y="28206"/>
                      </a:lnTo>
                      <a:lnTo>
                        <a:pt x="9975" y="29355"/>
                      </a:lnTo>
                      <a:lnTo>
                        <a:pt x="11809" y="31018"/>
                      </a:lnTo>
                      <a:lnTo>
                        <a:pt x="14213" y="32599"/>
                      </a:lnTo>
                      <a:lnTo>
                        <a:pt x="16137" y="33544"/>
                      </a:lnTo>
                      <a:lnTo>
                        <a:pt x="17237" y="33601"/>
                      </a:lnTo>
                      <a:lnTo>
                        <a:pt x="17669" y="33055"/>
                      </a:lnTo>
                      <a:lnTo>
                        <a:pt x="17449" y="31931"/>
                      </a:lnTo>
                      <a:lnTo>
                        <a:pt x="17163" y="30064"/>
                      </a:lnTo>
                      <a:lnTo>
                        <a:pt x="17514" y="28809"/>
                      </a:lnTo>
                      <a:lnTo>
                        <a:pt x="17799" y="27481"/>
                      </a:lnTo>
                      <a:lnTo>
                        <a:pt x="16715" y="25069"/>
                      </a:lnTo>
                      <a:lnTo>
                        <a:pt x="16569" y="23651"/>
                      </a:lnTo>
                      <a:lnTo>
                        <a:pt x="17171" y="23268"/>
                      </a:lnTo>
                      <a:lnTo>
                        <a:pt x="18362" y="23651"/>
                      </a:lnTo>
                      <a:lnTo>
                        <a:pt x="18712" y="22599"/>
                      </a:lnTo>
                      <a:lnTo>
                        <a:pt x="17824" y="20896"/>
                      </a:lnTo>
                      <a:lnTo>
                        <a:pt x="16153" y="18777"/>
                      </a:lnTo>
                      <a:lnTo>
                        <a:pt x="15020" y="17147"/>
                      </a:lnTo>
                      <a:lnTo>
                        <a:pt x="14539" y="16088"/>
                      </a:lnTo>
                      <a:lnTo>
                        <a:pt x="14368" y="15346"/>
                      </a:lnTo>
                      <a:lnTo>
                        <a:pt x="14670" y="15159"/>
                      </a:lnTo>
                      <a:lnTo>
                        <a:pt x="15273" y="15419"/>
                      </a:lnTo>
                      <a:lnTo>
                        <a:pt x="16226" y="16267"/>
                      </a:lnTo>
                      <a:lnTo>
                        <a:pt x="17343" y="17498"/>
                      </a:lnTo>
                      <a:lnTo>
                        <a:pt x="18728" y="19405"/>
                      </a:lnTo>
                      <a:lnTo>
                        <a:pt x="20285" y="21858"/>
                      </a:lnTo>
                      <a:lnTo>
                        <a:pt x="21573" y="23911"/>
                      </a:lnTo>
                      <a:lnTo>
                        <a:pt x="22306" y="24824"/>
                      </a:lnTo>
                      <a:lnTo>
                        <a:pt x="22591" y="25468"/>
                      </a:lnTo>
                      <a:lnTo>
                        <a:pt x="22779" y="26853"/>
                      </a:lnTo>
                      <a:lnTo>
                        <a:pt x="23064" y="28532"/>
                      </a:lnTo>
                      <a:lnTo>
                        <a:pt x="23586" y="29852"/>
                      </a:lnTo>
                      <a:lnTo>
                        <a:pt x="24458" y="30969"/>
                      </a:lnTo>
                      <a:lnTo>
                        <a:pt x="25639" y="32689"/>
                      </a:lnTo>
                      <a:lnTo>
                        <a:pt x="26960" y="34310"/>
                      </a:lnTo>
                      <a:lnTo>
                        <a:pt x="28109" y="35305"/>
                      </a:lnTo>
                      <a:lnTo>
                        <a:pt x="29095" y="35305"/>
                      </a:lnTo>
                      <a:lnTo>
                        <a:pt x="29967" y="34596"/>
                      </a:lnTo>
                      <a:lnTo>
                        <a:pt x="30350" y="34196"/>
                      </a:lnTo>
                      <a:lnTo>
                        <a:pt x="30415" y="33544"/>
                      </a:lnTo>
                      <a:lnTo>
                        <a:pt x="29828" y="32306"/>
                      </a:lnTo>
                      <a:lnTo>
                        <a:pt x="28589" y="30464"/>
                      </a:lnTo>
                      <a:lnTo>
                        <a:pt x="27538" y="28858"/>
                      </a:lnTo>
                      <a:lnTo>
                        <a:pt x="27391" y="28157"/>
                      </a:lnTo>
                      <a:lnTo>
                        <a:pt x="28630" y="28597"/>
                      </a:lnTo>
                      <a:lnTo>
                        <a:pt x="30920" y="29730"/>
                      </a:lnTo>
                      <a:lnTo>
                        <a:pt x="33292" y="30904"/>
                      </a:lnTo>
                      <a:lnTo>
                        <a:pt x="34710" y="31417"/>
                      </a:lnTo>
                      <a:lnTo>
                        <a:pt x="35859" y="31059"/>
                      </a:lnTo>
                      <a:lnTo>
                        <a:pt x="37546" y="30121"/>
                      </a:lnTo>
                      <a:lnTo>
                        <a:pt x="39103" y="28899"/>
                      </a:lnTo>
                      <a:lnTo>
                        <a:pt x="39975" y="27864"/>
                      </a:lnTo>
                      <a:lnTo>
                        <a:pt x="40227" y="26878"/>
                      </a:lnTo>
                      <a:lnTo>
                        <a:pt x="40309" y="25769"/>
                      </a:lnTo>
                      <a:lnTo>
                        <a:pt x="40105" y="24482"/>
                      </a:lnTo>
                      <a:lnTo>
                        <a:pt x="39640" y="23031"/>
                      </a:lnTo>
                      <a:lnTo>
                        <a:pt x="38605" y="21018"/>
                      </a:lnTo>
                      <a:lnTo>
                        <a:pt x="37000" y="18353"/>
                      </a:lnTo>
                      <a:lnTo>
                        <a:pt x="34979" y="16136"/>
                      </a:lnTo>
                      <a:lnTo>
                        <a:pt x="32974" y="15207"/>
                      </a:lnTo>
                      <a:lnTo>
                        <a:pt x="31238" y="15036"/>
                      </a:lnTo>
                      <a:lnTo>
                        <a:pt x="29901" y="14653"/>
                      </a:lnTo>
                      <a:lnTo>
                        <a:pt x="28565" y="13773"/>
                      </a:lnTo>
                      <a:lnTo>
                        <a:pt x="26845" y="12428"/>
                      </a:lnTo>
                      <a:lnTo>
                        <a:pt x="25427" y="11377"/>
                      </a:lnTo>
                      <a:lnTo>
                        <a:pt x="24841" y="11214"/>
                      </a:lnTo>
                      <a:lnTo>
                        <a:pt x="22974" y="12542"/>
                      </a:lnTo>
                      <a:lnTo>
                        <a:pt x="22241" y="13341"/>
                      </a:lnTo>
                      <a:lnTo>
                        <a:pt x="20701" y="12062"/>
                      </a:lnTo>
                      <a:lnTo>
                        <a:pt x="19779" y="12102"/>
                      </a:lnTo>
                      <a:lnTo>
                        <a:pt x="18907" y="11190"/>
                      </a:lnTo>
                      <a:lnTo>
                        <a:pt x="17775" y="9690"/>
                      </a:lnTo>
                      <a:lnTo>
                        <a:pt x="16854" y="8362"/>
                      </a:lnTo>
                      <a:lnTo>
                        <a:pt x="15916" y="6585"/>
                      </a:lnTo>
                      <a:lnTo>
                        <a:pt x="14735" y="4010"/>
                      </a:lnTo>
                      <a:lnTo>
                        <a:pt x="13349" y="1720"/>
                      </a:lnTo>
                      <a:lnTo>
                        <a:pt x="13586" y="497"/>
                      </a:lnTo>
                      <a:lnTo>
                        <a:pt x="14654" y="0"/>
                      </a:lnTo>
                      <a:lnTo>
                        <a:pt x="16471" y="1769"/>
                      </a:lnTo>
                      <a:lnTo>
                        <a:pt x="18891" y="2942"/>
                      </a:lnTo>
                      <a:lnTo>
                        <a:pt x="20994" y="3480"/>
                      </a:lnTo>
                      <a:lnTo>
                        <a:pt x="22649" y="3708"/>
                      </a:lnTo>
                      <a:lnTo>
                        <a:pt x="24034" y="4124"/>
                      </a:lnTo>
                      <a:lnTo>
                        <a:pt x="25215" y="4865"/>
                      </a:lnTo>
                      <a:lnTo>
                        <a:pt x="26406" y="5868"/>
                      </a:lnTo>
                      <a:lnTo>
                        <a:pt x="28312" y="7180"/>
                      </a:lnTo>
                      <a:lnTo>
                        <a:pt x="31254" y="8655"/>
                      </a:lnTo>
                      <a:lnTo>
                        <a:pt x="34343" y="10261"/>
                      </a:lnTo>
                      <a:lnTo>
                        <a:pt x="36552" y="11874"/>
                      </a:lnTo>
                      <a:lnTo>
                        <a:pt x="37742" y="12803"/>
                      </a:lnTo>
                      <a:lnTo>
                        <a:pt x="38328" y="12730"/>
                      </a:lnTo>
                      <a:lnTo>
                        <a:pt x="38516" y="12184"/>
                      </a:lnTo>
                      <a:lnTo>
                        <a:pt x="38720" y="11956"/>
                      </a:lnTo>
                      <a:lnTo>
                        <a:pt x="39119" y="12257"/>
                      </a:lnTo>
                      <a:lnTo>
                        <a:pt x="39706" y="12991"/>
                      </a:lnTo>
                      <a:lnTo>
                        <a:pt x="40724" y="13952"/>
                      </a:lnTo>
                      <a:lnTo>
                        <a:pt x="42142" y="14800"/>
                      </a:lnTo>
                      <a:lnTo>
                        <a:pt x="43544" y="15542"/>
                      </a:lnTo>
                      <a:lnTo>
                        <a:pt x="44596" y="16242"/>
                      </a:lnTo>
                      <a:lnTo>
                        <a:pt x="45362" y="17245"/>
                      </a:lnTo>
                      <a:lnTo>
                        <a:pt x="46144" y="18671"/>
                      </a:lnTo>
                      <a:lnTo>
                        <a:pt x="46625" y="20692"/>
                      </a:lnTo>
                      <a:lnTo>
                        <a:pt x="46641" y="23121"/>
                      </a:lnTo>
                      <a:lnTo>
                        <a:pt x="46087" y="26022"/>
                      </a:lnTo>
                      <a:lnTo>
                        <a:pt x="45215" y="29127"/>
                      </a:lnTo>
                      <a:lnTo>
                        <a:pt x="44359" y="31825"/>
                      </a:lnTo>
                      <a:lnTo>
                        <a:pt x="42974" y="34261"/>
                      </a:lnTo>
                      <a:lnTo>
                        <a:pt x="43357" y="35859"/>
                      </a:lnTo>
                      <a:lnTo>
                        <a:pt x="44840" y="37546"/>
                      </a:lnTo>
                      <a:lnTo>
                        <a:pt x="46560" y="39502"/>
                      </a:lnTo>
                      <a:lnTo>
                        <a:pt x="47163" y="41498"/>
                      </a:lnTo>
                      <a:lnTo>
                        <a:pt x="47847" y="43414"/>
                      </a:lnTo>
                      <a:lnTo>
                        <a:pt x="49216" y="45378"/>
                      </a:lnTo>
                      <a:lnTo>
                        <a:pt x="50716" y="47431"/>
                      </a:lnTo>
                      <a:lnTo>
                        <a:pt x="51702" y="49559"/>
                      </a:lnTo>
                      <a:lnTo>
                        <a:pt x="52558" y="51555"/>
                      </a:lnTo>
                      <a:lnTo>
                        <a:pt x="53748" y="53316"/>
                      </a:lnTo>
                      <a:lnTo>
                        <a:pt x="55003" y="54921"/>
                      </a:lnTo>
                      <a:lnTo>
                        <a:pt x="56021" y="56551"/>
                      </a:lnTo>
                      <a:lnTo>
                        <a:pt x="57187" y="58091"/>
                      </a:lnTo>
                      <a:lnTo>
                        <a:pt x="58793" y="59460"/>
                      </a:lnTo>
                      <a:lnTo>
                        <a:pt x="60275" y="60561"/>
                      </a:lnTo>
                      <a:lnTo>
                        <a:pt x="61123" y="61433"/>
                      </a:lnTo>
                      <a:lnTo>
                        <a:pt x="61490" y="62191"/>
                      </a:lnTo>
                      <a:close/>
                    </a:path>
                  </a:pathLst>
                </a:custGeom>
                <a:solidFill>
                  <a:srgbClr val="FFFFFF"/>
                </a:solidFill>
                <a:ln w="8150" cap="flat">
                  <a:noFill/>
                  <a:prstDash val="solid"/>
                  <a:miter/>
                </a:ln>
              </p:spPr>
              <p:txBody>
                <a:bodyPr rtlCol="0" anchor="ctr"/>
                <a:lstStyle/>
                <a:p>
                  <a:endParaRPr lang="en-US"/>
                </a:p>
              </p:txBody>
            </p:sp>
            <p:sp>
              <p:nvSpPr>
                <p:cNvPr id="414" name="Freeform: Shape 413">
                  <a:extLst>
                    <a:ext uri="{FF2B5EF4-FFF2-40B4-BE49-F238E27FC236}">
                      <a16:creationId xmlns:a16="http://schemas.microsoft.com/office/drawing/2014/main" id="{28C3338B-9D81-496A-AC2D-C3EFC6D92D91}"/>
                    </a:ext>
                  </a:extLst>
                </p:cNvPr>
                <p:cNvSpPr/>
                <p:nvPr/>
              </p:nvSpPr>
              <p:spPr>
                <a:xfrm>
                  <a:off x="2835463" y="2249409"/>
                  <a:ext cx="187908" cy="93705"/>
                </a:xfrm>
                <a:custGeom>
                  <a:avLst/>
                  <a:gdLst>
                    <a:gd name="connsiteX0" fmla="*/ 179767 w 187908"/>
                    <a:gd name="connsiteY0" fmla="*/ 26006 h 93705"/>
                    <a:gd name="connsiteX1" fmla="*/ 179767 w 187908"/>
                    <a:gd name="connsiteY1" fmla="*/ 26006 h 93705"/>
                    <a:gd name="connsiteX2" fmla="*/ 179767 w 187908"/>
                    <a:gd name="connsiteY2" fmla="*/ 26006 h 93705"/>
                    <a:gd name="connsiteX3" fmla="*/ 179767 w 187908"/>
                    <a:gd name="connsiteY3" fmla="*/ 26006 h 93705"/>
                    <a:gd name="connsiteX4" fmla="*/ 183907 w 187908"/>
                    <a:gd name="connsiteY4" fmla="*/ 24604 h 93705"/>
                    <a:gd name="connsiteX5" fmla="*/ 187216 w 187908"/>
                    <a:gd name="connsiteY5" fmla="*/ 23471 h 93705"/>
                    <a:gd name="connsiteX6" fmla="*/ 187908 w 187908"/>
                    <a:gd name="connsiteY6" fmla="*/ 24441 h 93705"/>
                    <a:gd name="connsiteX7" fmla="*/ 187020 w 187908"/>
                    <a:gd name="connsiteY7" fmla="*/ 25981 h 93705"/>
                    <a:gd name="connsiteX8" fmla="*/ 185463 w 187908"/>
                    <a:gd name="connsiteY8" fmla="*/ 27685 h 93705"/>
                    <a:gd name="connsiteX9" fmla="*/ 184991 w 187908"/>
                    <a:gd name="connsiteY9" fmla="*/ 28491 h 93705"/>
                    <a:gd name="connsiteX10" fmla="*/ 183939 w 187908"/>
                    <a:gd name="connsiteY10" fmla="*/ 29747 h 93705"/>
                    <a:gd name="connsiteX11" fmla="*/ 183972 w 187908"/>
                    <a:gd name="connsiteY11" fmla="*/ 31279 h 93705"/>
                    <a:gd name="connsiteX12" fmla="*/ 183801 w 187908"/>
                    <a:gd name="connsiteY12" fmla="*/ 33284 h 93705"/>
                    <a:gd name="connsiteX13" fmla="*/ 182611 w 187908"/>
                    <a:gd name="connsiteY13" fmla="*/ 34449 h 93705"/>
                    <a:gd name="connsiteX14" fmla="*/ 181291 w 187908"/>
                    <a:gd name="connsiteY14" fmla="*/ 35248 h 93705"/>
                    <a:gd name="connsiteX15" fmla="*/ 180508 w 187908"/>
                    <a:gd name="connsiteY15" fmla="*/ 36128 h 93705"/>
                    <a:gd name="connsiteX16" fmla="*/ 179033 w 187908"/>
                    <a:gd name="connsiteY16" fmla="*/ 37709 h 93705"/>
                    <a:gd name="connsiteX17" fmla="*/ 177770 w 187908"/>
                    <a:gd name="connsiteY17" fmla="*/ 38181 h 93705"/>
                    <a:gd name="connsiteX18" fmla="*/ 176197 w 187908"/>
                    <a:gd name="connsiteY18" fmla="*/ 39591 h 93705"/>
                    <a:gd name="connsiteX19" fmla="*/ 176580 w 187908"/>
                    <a:gd name="connsiteY19" fmla="*/ 40512 h 93705"/>
                    <a:gd name="connsiteX20" fmla="*/ 178161 w 187908"/>
                    <a:gd name="connsiteY20" fmla="*/ 41254 h 93705"/>
                    <a:gd name="connsiteX21" fmla="*/ 177746 w 187908"/>
                    <a:gd name="connsiteY21" fmla="*/ 42224 h 93705"/>
                    <a:gd name="connsiteX22" fmla="*/ 174062 w 187908"/>
                    <a:gd name="connsiteY22" fmla="*/ 42550 h 93705"/>
                    <a:gd name="connsiteX23" fmla="*/ 172978 w 187908"/>
                    <a:gd name="connsiteY23" fmla="*/ 43617 h 93705"/>
                    <a:gd name="connsiteX24" fmla="*/ 172546 w 187908"/>
                    <a:gd name="connsiteY24" fmla="*/ 45696 h 93705"/>
                    <a:gd name="connsiteX25" fmla="*/ 170924 w 187908"/>
                    <a:gd name="connsiteY25" fmla="*/ 48108 h 93705"/>
                    <a:gd name="connsiteX26" fmla="*/ 170672 w 187908"/>
                    <a:gd name="connsiteY26" fmla="*/ 50186 h 93705"/>
                    <a:gd name="connsiteX27" fmla="*/ 171967 w 187908"/>
                    <a:gd name="connsiteY27" fmla="*/ 51254 h 93705"/>
                    <a:gd name="connsiteX28" fmla="*/ 174282 w 187908"/>
                    <a:gd name="connsiteY28" fmla="*/ 51270 h 93705"/>
                    <a:gd name="connsiteX29" fmla="*/ 178976 w 187908"/>
                    <a:gd name="connsiteY29" fmla="*/ 50585 h 93705"/>
                    <a:gd name="connsiteX30" fmla="*/ 179677 w 187908"/>
                    <a:gd name="connsiteY30" fmla="*/ 50879 h 93705"/>
                    <a:gd name="connsiteX31" fmla="*/ 178324 w 187908"/>
                    <a:gd name="connsiteY31" fmla="*/ 52582 h 93705"/>
                    <a:gd name="connsiteX32" fmla="*/ 178275 w 187908"/>
                    <a:gd name="connsiteY32" fmla="*/ 54139 h 93705"/>
                    <a:gd name="connsiteX33" fmla="*/ 177273 w 187908"/>
                    <a:gd name="connsiteY33" fmla="*/ 55866 h 93705"/>
                    <a:gd name="connsiteX34" fmla="*/ 175024 w 187908"/>
                    <a:gd name="connsiteY34" fmla="*/ 57113 h 93705"/>
                    <a:gd name="connsiteX35" fmla="*/ 172187 w 187908"/>
                    <a:gd name="connsiteY35" fmla="*/ 57586 h 93705"/>
                    <a:gd name="connsiteX36" fmla="*/ 169303 w 187908"/>
                    <a:gd name="connsiteY36" fmla="*/ 58124 h 93705"/>
                    <a:gd name="connsiteX37" fmla="*/ 166466 w 187908"/>
                    <a:gd name="connsiteY37" fmla="*/ 58368 h 93705"/>
                    <a:gd name="connsiteX38" fmla="*/ 166279 w 187908"/>
                    <a:gd name="connsiteY38" fmla="*/ 57684 h 93705"/>
                    <a:gd name="connsiteX39" fmla="*/ 164616 w 187908"/>
                    <a:gd name="connsiteY39" fmla="*/ 57537 h 93705"/>
                    <a:gd name="connsiteX40" fmla="*/ 161748 w 187908"/>
                    <a:gd name="connsiteY40" fmla="*/ 59208 h 93705"/>
                    <a:gd name="connsiteX41" fmla="*/ 158137 w 187908"/>
                    <a:gd name="connsiteY41" fmla="*/ 57097 h 93705"/>
                    <a:gd name="connsiteX42" fmla="*/ 155163 w 187908"/>
                    <a:gd name="connsiteY42" fmla="*/ 54505 h 93705"/>
                    <a:gd name="connsiteX43" fmla="*/ 152457 w 187908"/>
                    <a:gd name="connsiteY43" fmla="*/ 53258 h 93705"/>
                    <a:gd name="connsiteX44" fmla="*/ 144201 w 187908"/>
                    <a:gd name="connsiteY44" fmla="*/ 52753 h 93705"/>
                    <a:gd name="connsiteX45" fmla="*/ 138554 w 187908"/>
                    <a:gd name="connsiteY45" fmla="*/ 52900 h 93705"/>
                    <a:gd name="connsiteX46" fmla="*/ 135701 w 187908"/>
                    <a:gd name="connsiteY46" fmla="*/ 53340 h 93705"/>
                    <a:gd name="connsiteX47" fmla="*/ 133582 w 187908"/>
                    <a:gd name="connsiteY47" fmla="*/ 54636 h 93705"/>
                    <a:gd name="connsiteX48" fmla="*/ 133753 w 187908"/>
                    <a:gd name="connsiteY48" fmla="*/ 56249 h 93705"/>
                    <a:gd name="connsiteX49" fmla="*/ 128945 w 187908"/>
                    <a:gd name="connsiteY49" fmla="*/ 59322 h 93705"/>
                    <a:gd name="connsiteX50" fmla="*/ 126908 w 187908"/>
                    <a:gd name="connsiteY50" fmla="*/ 60341 h 93705"/>
                    <a:gd name="connsiteX51" fmla="*/ 126557 w 187908"/>
                    <a:gd name="connsiteY51" fmla="*/ 61653 h 93705"/>
                    <a:gd name="connsiteX52" fmla="*/ 132148 w 187908"/>
                    <a:gd name="connsiteY52" fmla="*/ 65605 h 93705"/>
                    <a:gd name="connsiteX53" fmla="*/ 137657 w 187908"/>
                    <a:gd name="connsiteY53" fmla="*/ 69199 h 93705"/>
                    <a:gd name="connsiteX54" fmla="*/ 138448 w 187908"/>
                    <a:gd name="connsiteY54" fmla="*/ 70911 h 93705"/>
                    <a:gd name="connsiteX55" fmla="*/ 137258 w 187908"/>
                    <a:gd name="connsiteY55" fmla="*/ 71889 h 93705"/>
                    <a:gd name="connsiteX56" fmla="*/ 133289 w 187908"/>
                    <a:gd name="connsiteY56" fmla="*/ 71978 h 93705"/>
                    <a:gd name="connsiteX57" fmla="*/ 129108 w 187908"/>
                    <a:gd name="connsiteY57" fmla="*/ 72704 h 93705"/>
                    <a:gd name="connsiteX58" fmla="*/ 126492 w 187908"/>
                    <a:gd name="connsiteY58" fmla="*/ 75149 h 93705"/>
                    <a:gd name="connsiteX59" fmla="*/ 123900 w 187908"/>
                    <a:gd name="connsiteY59" fmla="*/ 77846 h 93705"/>
                    <a:gd name="connsiteX60" fmla="*/ 122311 w 187908"/>
                    <a:gd name="connsiteY60" fmla="*/ 78995 h 93705"/>
                    <a:gd name="connsiteX61" fmla="*/ 114699 w 187908"/>
                    <a:gd name="connsiteY61" fmla="*/ 83347 h 93705"/>
                    <a:gd name="connsiteX62" fmla="*/ 104895 w 187908"/>
                    <a:gd name="connsiteY62" fmla="*/ 88262 h 93705"/>
                    <a:gd name="connsiteX63" fmla="*/ 102638 w 187908"/>
                    <a:gd name="connsiteY63" fmla="*/ 89125 h 93705"/>
                    <a:gd name="connsiteX64" fmla="*/ 99647 w 187908"/>
                    <a:gd name="connsiteY64" fmla="*/ 90625 h 93705"/>
                    <a:gd name="connsiteX65" fmla="*/ 98164 w 187908"/>
                    <a:gd name="connsiteY65" fmla="*/ 92231 h 93705"/>
                    <a:gd name="connsiteX66" fmla="*/ 95743 w 187908"/>
                    <a:gd name="connsiteY66" fmla="*/ 93706 h 93705"/>
                    <a:gd name="connsiteX67" fmla="*/ 92353 w 187908"/>
                    <a:gd name="connsiteY67" fmla="*/ 93404 h 93705"/>
                    <a:gd name="connsiteX68" fmla="*/ 89761 w 187908"/>
                    <a:gd name="connsiteY68" fmla="*/ 91473 h 93705"/>
                    <a:gd name="connsiteX69" fmla="*/ 89549 w 187908"/>
                    <a:gd name="connsiteY69" fmla="*/ 89207 h 93705"/>
                    <a:gd name="connsiteX70" fmla="*/ 91603 w 187908"/>
                    <a:gd name="connsiteY70" fmla="*/ 87732 h 93705"/>
                    <a:gd name="connsiteX71" fmla="*/ 93526 w 187908"/>
                    <a:gd name="connsiteY71" fmla="*/ 87504 h 93705"/>
                    <a:gd name="connsiteX72" fmla="*/ 96150 w 187908"/>
                    <a:gd name="connsiteY72" fmla="*/ 86705 h 93705"/>
                    <a:gd name="connsiteX73" fmla="*/ 99247 w 187908"/>
                    <a:gd name="connsiteY73" fmla="*/ 86240 h 93705"/>
                    <a:gd name="connsiteX74" fmla="*/ 101383 w 187908"/>
                    <a:gd name="connsiteY74" fmla="*/ 84790 h 93705"/>
                    <a:gd name="connsiteX75" fmla="*/ 101668 w 187908"/>
                    <a:gd name="connsiteY75" fmla="*/ 82948 h 93705"/>
                    <a:gd name="connsiteX76" fmla="*/ 112605 w 187908"/>
                    <a:gd name="connsiteY76" fmla="*/ 74203 h 93705"/>
                    <a:gd name="connsiteX77" fmla="*/ 116191 w 187908"/>
                    <a:gd name="connsiteY77" fmla="*/ 69053 h 93705"/>
                    <a:gd name="connsiteX78" fmla="*/ 117136 w 187908"/>
                    <a:gd name="connsiteY78" fmla="*/ 64929 h 93705"/>
                    <a:gd name="connsiteX79" fmla="*/ 116753 w 187908"/>
                    <a:gd name="connsiteY79" fmla="*/ 62875 h 93705"/>
                    <a:gd name="connsiteX80" fmla="*/ 114716 w 187908"/>
                    <a:gd name="connsiteY80" fmla="*/ 61710 h 93705"/>
                    <a:gd name="connsiteX81" fmla="*/ 109801 w 187908"/>
                    <a:gd name="connsiteY81" fmla="*/ 60846 h 93705"/>
                    <a:gd name="connsiteX82" fmla="*/ 102002 w 187908"/>
                    <a:gd name="connsiteY82" fmla="*/ 63063 h 93705"/>
                    <a:gd name="connsiteX83" fmla="*/ 96949 w 187908"/>
                    <a:gd name="connsiteY83" fmla="*/ 65483 h 93705"/>
                    <a:gd name="connsiteX84" fmla="*/ 92336 w 187908"/>
                    <a:gd name="connsiteY84" fmla="*/ 68067 h 93705"/>
                    <a:gd name="connsiteX85" fmla="*/ 87862 w 187908"/>
                    <a:gd name="connsiteY85" fmla="*/ 71066 h 93705"/>
                    <a:gd name="connsiteX86" fmla="*/ 87911 w 187908"/>
                    <a:gd name="connsiteY86" fmla="*/ 71978 h 93705"/>
                    <a:gd name="connsiteX87" fmla="*/ 87341 w 187908"/>
                    <a:gd name="connsiteY87" fmla="*/ 73869 h 93705"/>
                    <a:gd name="connsiteX88" fmla="*/ 86428 w 187908"/>
                    <a:gd name="connsiteY88" fmla="*/ 76770 h 93705"/>
                    <a:gd name="connsiteX89" fmla="*/ 86281 w 187908"/>
                    <a:gd name="connsiteY89" fmla="*/ 79012 h 93705"/>
                    <a:gd name="connsiteX90" fmla="*/ 86191 w 187908"/>
                    <a:gd name="connsiteY90" fmla="*/ 81016 h 93705"/>
                    <a:gd name="connsiteX91" fmla="*/ 86200 w 187908"/>
                    <a:gd name="connsiteY91" fmla="*/ 82483 h 93705"/>
                    <a:gd name="connsiteX92" fmla="*/ 85010 w 187908"/>
                    <a:gd name="connsiteY92" fmla="*/ 83315 h 93705"/>
                    <a:gd name="connsiteX93" fmla="*/ 83429 w 187908"/>
                    <a:gd name="connsiteY93" fmla="*/ 83861 h 93705"/>
                    <a:gd name="connsiteX94" fmla="*/ 82353 w 187908"/>
                    <a:gd name="connsiteY94" fmla="*/ 84831 h 93705"/>
                    <a:gd name="connsiteX95" fmla="*/ 78425 w 187908"/>
                    <a:gd name="connsiteY95" fmla="*/ 86583 h 93705"/>
                    <a:gd name="connsiteX96" fmla="*/ 75662 w 187908"/>
                    <a:gd name="connsiteY96" fmla="*/ 88033 h 93705"/>
                    <a:gd name="connsiteX97" fmla="*/ 62818 w 187908"/>
                    <a:gd name="connsiteY97" fmla="*/ 85425 h 93705"/>
                    <a:gd name="connsiteX98" fmla="*/ 54546 w 187908"/>
                    <a:gd name="connsiteY98" fmla="*/ 83535 h 93705"/>
                    <a:gd name="connsiteX99" fmla="*/ 42656 w 187908"/>
                    <a:gd name="connsiteY99" fmla="*/ 81603 h 93705"/>
                    <a:gd name="connsiteX100" fmla="*/ 40789 w 187908"/>
                    <a:gd name="connsiteY100" fmla="*/ 81522 h 93705"/>
                    <a:gd name="connsiteX101" fmla="*/ 40146 w 187908"/>
                    <a:gd name="connsiteY101" fmla="*/ 80006 h 93705"/>
                    <a:gd name="connsiteX102" fmla="*/ 40838 w 187908"/>
                    <a:gd name="connsiteY102" fmla="*/ 78629 h 93705"/>
                    <a:gd name="connsiteX103" fmla="*/ 43308 w 187908"/>
                    <a:gd name="connsiteY103" fmla="*/ 77977 h 93705"/>
                    <a:gd name="connsiteX104" fmla="*/ 47187 w 187908"/>
                    <a:gd name="connsiteY104" fmla="*/ 77292 h 93705"/>
                    <a:gd name="connsiteX105" fmla="*/ 55508 w 187908"/>
                    <a:gd name="connsiteY105" fmla="*/ 74684 h 93705"/>
                    <a:gd name="connsiteX106" fmla="*/ 57643 w 187908"/>
                    <a:gd name="connsiteY106" fmla="*/ 71962 h 93705"/>
                    <a:gd name="connsiteX107" fmla="*/ 57570 w 187908"/>
                    <a:gd name="connsiteY107" fmla="*/ 69167 h 93705"/>
                    <a:gd name="connsiteX108" fmla="*/ 54644 w 187908"/>
                    <a:gd name="connsiteY108" fmla="*/ 65858 h 93705"/>
                    <a:gd name="connsiteX109" fmla="*/ 57162 w 187908"/>
                    <a:gd name="connsiteY109" fmla="*/ 63975 h 93705"/>
                    <a:gd name="connsiteX110" fmla="*/ 62052 w 187908"/>
                    <a:gd name="connsiteY110" fmla="*/ 61571 h 93705"/>
                    <a:gd name="connsiteX111" fmla="*/ 67374 w 187908"/>
                    <a:gd name="connsiteY111" fmla="*/ 58670 h 93705"/>
                    <a:gd name="connsiteX112" fmla="*/ 71546 w 187908"/>
                    <a:gd name="connsiteY112" fmla="*/ 54603 h 93705"/>
                    <a:gd name="connsiteX113" fmla="*/ 72598 w 187908"/>
                    <a:gd name="connsiteY113" fmla="*/ 51840 h 93705"/>
                    <a:gd name="connsiteX114" fmla="*/ 63486 w 187908"/>
                    <a:gd name="connsiteY114" fmla="*/ 46478 h 93705"/>
                    <a:gd name="connsiteX115" fmla="*/ 63038 w 187908"/>
                    <a:gd name="connsiteY115" fmla="*/ 44669 h 93705"/>
                    <a:gd name="connsiteX116" fmla="*/ 67040 w 187908"/>
                    <a:gd name="connsiteY116" fmla="*/ 43780 h 93705"/>
                    <a:gd name="connsiteX117" fmla="*/ 74986 w 187908"/>
                    <a:gd name="connsiteY117" fmla="*/ 45076 h 93705"/>
                    <a:gd name="connsiteX118" fmla="*/ 82312 w 187908"/>
                    <a:gd name="connsiteY118" fmla="*/ 46290 h 93705"/>
                    <a:gd name="connsiteX119" fmla="*/ 89680 w 187908"/>
                    <a:gd name="connsiteY119" fmla="*/ 45916 h 93705"/>
                    <a:gd name="connsiteX120" fmla="*/ 94178 w 187908"/>
                    <a:gd name="connsiteY120" fmla="*/ 44017 h 93705"/>
                    <a:gd name="connsiteX121" fmla="*/ 95270 w 187908"/>
                    <a:gd name="connsiteY121" fmla="*/ 41776 h 93705"/>
                    <a:gd name="connsiteX122" fmla="*/ 94553 w 187908"/>
                    <a:gd name="connsiteY122" fmla="*/ 40162 h 93705"/>
                    <a:gd name="connsiteX123" fmla="*/ 88245 w 187908"/>
                    <a:gd name="connsiteY123" fmla="*/ 38874 h 93705"/>
                    <a:gd name="connsiteX124" fmla="*/ 84203 w 187908"/>
                    <a:gd name="connsiteY124" fmla="*/ 36486 h 93705"/>
                    <a:gd name="connsiteX125" fmla="*/ 73918 w 187908"/>
                    <a:gd name="connsiteY125" fmla="*/ 34098 h 93705"/>
                    <a:gd name="connsiteX126" fmla="*/ 65833 w 187908"/>
                    <a:gd name="connsiteY126" fmla="*/ 33373 h 93705"/>
                    <a:gd name="connsiteX127" fmla="*/ 58189 w 187908"/>
                    <a:gd name="connsiteY127" fmla="*/ 33389 h 93705"/>
                    <a:gd name="connsiteX128" fmla="*/ 51457 w 187908"/>
                    <a:gd name="connsiteY128" fmla="*/ 33202 h 93705"/>
                    <a:gd name="connsiteX129" fmla="*/ 51360 w 187908"/>
                    <a:gd name="connsiteY129" fmla="*/ 34669 h 93705"/>
                    <a:gd name="connsiteX130" fmla="*/ 52036 w 187908"/>
                    <a:gd name="connsiteY130" fmla="*/ 36715 h 93705"/>
                    <a:gd name="connsiteX131" fmla="*/ 50862 w 187908"/>
                    <a:gd name="connsiteY131" fmla="*/ 38711 h 93705"/>
                    <a:gd name="connsiteX132" fmla="*/ 49567 w 187908"/>
                    <a:gd name="connsiteY132" fmla="*/ 39811 h 93705"/>
                    <a:gd name="connsiteX133" fmla="*/ 49412 w 187908"/>
                    <a:gd name="connsiteY133" fmla="*/ 40977 h 93705"/>
                    <a:gd name="connsiteX134" fmla="*/ 48972 w 187908"/>
                    <a:gd name="connsiteY134" fmla="*/ 41800 h 93705"/>
                    <a:gd name="connsiteX135" fmla="*/ 48026 w 187908"/>
                    <a:gd name="connsiteY135" fmla="*/ 41360 h 93705"/>
                    <a:gd name="connsiteX136" fmla="*/ 46942 w 187908"/>
                    <a:gd name="connsiteY136" fmla="*/ 39665 h 93705"/>
                    <a:gd name="connsiteX137" fmla="*/ 42020 w 187908"/>
                    <a:gd name="connsiteY137" fmla="*/ 38312 h 93705"/>
                    <a:gd name="connsiteX138" fmla="*/ 37749 w 187908"/>
                    <a:gd name="connsiteY138" fmla="*/ 38149 h 93705"/>
                    <a:gd name="connsiteX139" fmla="*/ 32762 w 187908"/>
                    <a:gd name="connsiteY139" fmla="*/ 38736 h 93705"/>
                    <a:gd name="connsiteX140" fmla="*/ 25786 w 187908"/>
                    <a:gd name="connsiteY140" fmla="*/ 38532 h 93705"/>
                    <a:gd name="connsiteX141" fmla="*/ 20578 w 187908"/>
                    <a:gd name="connsiteY141" fmla="*/ 37375 h 93705"/>
                    <a:gd name="connsiteX142" fmla="*/ 14661 w 187908"/>
                    <a:gd name="connsiteY142" fmla="*/ 37562 h 93705"/>
                    <a:gd name="connsiteX143" fmla="*/ 12404 w 187908"/>
                    <a:gd name="connsiteY143" fmla="*/ 39412 h 93705"/>
                    <a:gd name="connsiteX144" fmla="*/ 12820 w 187908"/>
                    <a:gd name="connsiteY144" fmla="*/ 41710 h 93705"/>
                    <a:gd name="connsiteX145" fmla="*/ 12412 w 187908"/>
                    <a:gd name="connsiteY145" fmla="*/ 43414 h 93705"/>
                    <a:gd name="connsiteX146" fmla="*/ 11116 w 187908"/>
                    <a:gd name="connsiteY146" fmla="*/ 43797 h 93705"/>
                    <a:gd name="connsiteX147" fmla="*/ 10269 w 187908"/>
                    <a:gd name="connsiteY147" fmla="*/ 43014 h 93705"/>
                    <a:gd name="connsiteX148" fmla="*/ 8891 w 187908"/>
                    <a:gd name="connsiteY148" fmla="*/ 42379 h 93705"/>
                    <a:gd name="connsiteX149" fmla="*/ 7579 w 187908"/>
                    <a:gd name="connsiteY149" fmla="*/ 44286 h 93705"/>
                    <a:gd name="connsiteX150" fmla="*/ 6789 w 187908"/>
                    <a:gd name="connsiteY150" fmla="*/ 46576 h 93705"/>
                    <a:gd name="connsiteX151" fmla="*/ 4776 w 187908"/>
                    <a:gd name="connsiteY151" fmla="*/ 45524 h 93705"/>
                    <a:gd name="connsiteX152" fmla="*/ 3170 w 187908"/>
                    <a:gd name="connsiteY152" fmla="*/ 43650 h 93705"/>
                    <a:gd name="connsiteX153" fmla="*/ 1736 w 187908"/>
                    <a:gd name="connsiteY153" fmla="*/ 41645 h 93705"/>
                    <a:gd name="connsiteX154" fmla="*/ 0 w 187908"/>
                    <a:gd name="connsiteY154" fmla="*/ 37375 h 93705"/>
                    <a:gd name="connsiteX155" fmla="*/ 685 w 187908"/>
                    <a:gd name="connsiteY155" fmla="*/ 33512 h 93705"/>
                    <a:gd name="connsiteX156" fmla="*/ 7049 w 187908"/>
                    <a:gd name="connsiteY156" fmla="*/ 32159 h 93705"/>
                    <a:gd name="connsiteX157" fmla="*/ 12412 w 187908"/>
                    <a:gd name="connsiteY157" fmla="*/ 32403 h 93705"/>
                    <a:gd name="connsiteX158" fmla="*/ 14026 w 187908"/>
                    <a:gd name="connsiteY158" fmla="*/ 32306 h 93705"/>
                    <a:gd name="connsiteX159" fmla="*/ 17017 w 187908"/>
                    <a:gd name="connsiteY159" fmla="*/ 30896 h 93705"/>
                    <a:gd name="connsiteX160" fmla="*/ 37978 w 187908"/>
                    <a:gd name="connsiteY160" fmla="*/ 25835 h 93705"/>
                    <a:gd name="connsiteX161" fmla="*/ 47464 w 187908"/>
                    <a:gd name="connsiteY161" fmla="*/ 22012 h 93705"/>
                    <a:gd name="connsiteX162" fmla="*/ 48222 w 187908"/>
                    <a:gd name="connsiteY162" fmla="*/ 22257 h 93705"/>
                    <a:gd name="connsiteX163" fmla="*/ 48295 w 187908"/>
                    <a:gd name="connsiteY163" fmla="*/ 23471 h 93705"/>
                    <a:gd name="connsiteX164" fmla="*/ 49664 w 187908"/>
                    <a:gd name="connsiteY164" fmla="*/ 23879 h 93705"/>
                    <a:gd name="connsiteX165" fmla="*/ 52166 w 187908"/>
                    <a:gd name="connsiteY165" fmla="*/ 22974 h 93705"/>
                    <a:gd name="connsiteX166" fmla="*/ 55712 w 187908"/>
                    <a:gd name="connsiteY166" fmla="*/ 21328 h 93705"/>
                    <a:gd name="connsiteX167" fmla="*/ 63535 w 187908"/>
                    <a:gd name="connsiteY167" fmla="*/ 20162 h 93705"/>
                    <a:gd name="connsiteX168" fmla="*/ 63690 w 187908"/>
                    <a:gd name="connsiteY168" fmla="*/ 18475 h 93705"/>
                    <a:gd name="connsiteX169" fmla="*/ 66453 w 187908"/>
                    <a:gd name="connsiteY169" fmla="*/ 18516 h 93705"/>
                    <a:gd name="connsiteX170" fmla="*/ 68115 w 187908"/>
                    <a:gd name="connsiteY170" fmla="*/ 19160 h 93705"/>
                    <a:gd name="connsiteX171" fmla="*/ 77137 w 187908"/>
                    <a:gd name="connsiteY171" fmla="*/ 16911 h 93705"/>
                    <a:gd name="connsiteX172" fmla="*/ 86412 w 187908"/>
                    <a:gd name="connsiteY172" fmla="*/ 13781 h 93705"/>
                    <a:gd name="connsiteX173" fmla="*/ 88351 w 187908"/>
                    <a:gd name="connsiteY173" fmla="*/ 13349 h 93705"/>
                    <a:gd name="connsiteX174" fmla="*/ 90177 w 187908"/>
                    <a:gd name="connsiteY174" fmla="*/ 12453 h 93705"/>
                    <a:gd name="connsiteX175" fmla="*/ 95670 w 187908"/>
                    <a:gd name="connsiteY175" fmla="*/ 8476 h 93705"/>
                    <a:gd name="connsiteX176" fmla="*/ 109084 w 187908"/>
                    <a:gd name="connsiteY176" fmla="*/ 5281 h 93705"/>
                    <a:gd name="connsiteX177" fmla="*/ 111562 w 187908"/>
                    <a:gd name="connsiteY177" fmla="*/ 4295 h 93705"/>
                    <a:gd name="connsiteX178" fmla="*/ 120714 w 187908"/>
                    <a:gd name="connsiteY178" fmla="*/ 2225 h 93705"/>
                    <a:gd name="connsiteX179" fmla="*/ 123713 w 187908"/>
                    <a:gd name="connsiteY179" fmla="*/ 1222 h 93705"/>
                    <a:gd name="connsiteX180" fmla="*/ 129295 w 187908"/>
                    <a:gd name="connsiteY180" fmla="*/ 0 h 93705"/>
                    <a:gd name="connsiteX181" fmla="*/ 131586 w 187908"/>
                    <a:gd name="connsiteY181" fmla="*/ 1076 h 93705"/>
                    <a:gd name="connsiteX182" fmla="*/ 132327 w 187908"/>
                    <a:gd name="connsiteY182" fmla="*/ 1687 h 93705"/>
                    <a:gd name="connsiteX183" fmla="*/ 134430 w 187908"/>
                    <a:gd name="connsiteY183" fmla="*/ 1605 h 93705"/>
                    <a:gd name="connsiteX184" fmla="*/ 140061 w 187908"/>
                    <a:gd name="connsiteY184" fmla="*/ 2738 h 93705"/>
                    <a:gd name="connsiteX185" fmla="*/ 145815 w 187908"/>
                    <a:gd name="connsiteY185" fmla="*/ 4148 h 93705"/>
                    <a:gd name="connsiteX186" fmla="*/ 148659 w 187908"/>
                    <a:gd name="connsiteY186" fmla="*/ 5183 h 93705"/>
                    <a:gd name="connsiteX187" fmla="*/ 144796 w 187908"/>
                    <a:gd name="connsiteY187" fmla="*/ 8622 h 93705"/>
                    <a:gd name="connsiteX188" fmla="*/ 136972 w 187908"/>
                    <a:gd name="connsiteY188" fmla="*/ 12200 h 93705"/>
                    <a:gd name="connsiteX189" fmla="*/ 132164 w 187908"/>
                    <a:gd name="connsiteY189" fmla="*/ 14311 h 93705"/>
                    <a:gd name="connsiteX190" fmla="*/ 126435 w 187908"/>
                    <a:gd name="connsiteY190" fmla="*/ 15802 h 93705"/>
                    <a:gd name="connsiteX191" fmla="*/ 124161 w 187908"/>
                    <a:gd name="connsiteY191" fmla="*/ 16136 h 93705"/>
                    <a:gd name="connsiteX192" fmla="*/ 123908 w 187908"/>
                    <a:gd name="connsiteY192" fmla="*/ 17008 h 93705"/>
                    <a:gd name="connsiteX193" fmla="*/ 123045 w 187908"/>
                    <a:gd name="connsiteY193" fmla="*/ 18435 h 93705"/>
                    <a:gd name="connsiteX194" fmla="*/ 121072 w 187908"/>
                    <a:gd name="connsiteY194" fmla="*/ 19828 h 93705"/>
                    <a:gd name="connsiteX195" fmla="*/ 118065 w 187908"/>
                    <a:gd name="connsiteY195" fmla="*/ 21140 h 93705"/>
                    <a:gd name="connsiteX196" fmla="*/ 117821 w 187908"/>
                    <a:gd name="connsiteY196" fmla="*/ 21580 h 93705"/>
                    <a:gd name="connsiteX197" fmla="*/ 118473 w 187908"/>
                    <a:gd name="connsiteY197" fmla="*/ 23039 h 93705"/>
                    <a:gd name="connsiteX198" fmla="*/ 118196 w 187908"/>
                    <a:gd name="connsiteY198" fmla="*/ 24009 h 93705"/>
                    <a:gd name="connsiteX199" fmla="*/ 116060 w 187908"/>
                    <a:gd name="connsiteY199" fmla="*/ 24637 h 93705"/>
                    <a:gd name="connsiteX200" fmla="*/ 114398 w 187908"/>
                    <a:gd name="connsiteY200" fmla="*/ 26079 h 93705"/>
                    <a:gd name="connsiteX201" fmla="*/ 115213 w 187908"/>
                    <a:gd name="connsiteY201" fmla="*/ 27220 h 93705"/>
                    <a:gd name="connsiteX202" fmla="*/ 120543 w 187908"/>
                    <a:gd name="connsiteY202" fmla="*/ 27375 h 93705"/>
                    <a:gd name="connsiteX203" fmla="*/ 125848 w 187908"/>
                    <a:gd name="connsiteY203" fmla="*/ 27872 h 93705"/>
                    <a:gd name="connsiteX204" fmla="*/ 127201 w 187908"/>
                    <a:gd name="connsiteY204" fmla="*/ 28923 h 93705"/>
                    <a:gd name="connsiteX205" fmla="*/ 132026 w 187908"/>
                    <a:gd name="connsiteY205" fmla="*/ 30113 h 93705"/>
                    <a:gd name="connsiteX206" fmla="*/ 133142 w 187908"/>
                    <a:gd name="connsiteY206" fmla="*/ 30798 h 93705"/>
                    <a:gd name="connsiteX207" fmla="*/ 136361 w 187908"/>
                    <a:gd name="connsiteY207" fmla="*/ 30969 h 93705"/>
                    <a:gd name="connsiteX208" fmla="*/ 138130 w 187908"/>
                    <a:gd name="connsiteY208" fmla="*/ 30586 h 93705"/>
                    <a:gd name="connsiteX209" fmla="*/ 138920 w 187908"/>
                    <a:gd name="connsiteY209" fmla="*/ 29665 h 93705"/>
                    <a:gd name="connsiteX210" fmla="*/ 148455 w 187908"/>
                    <a:gd name="connsiteY210" fmla="*/ 30170 h 93705"/>
                    <a:gd name="connsiteX211" fmla="*/ 157119 w 187908"/>
                    <a:gd name="connsiteY211" fmla="*/ 29958 h 93705"/>
                    <a:gd name="connsiteX212" fmla="*/ 160859 w 187908"/>
                    <a:gd name="connsiteY212" fmla="*/ 29249 h 93705"/>
                    <a:gd name="connsiteX213" fmla="*/ 167501 w 187908"/>
                    <a:gd name="connsiteY213" fmla="*/ 27073 h 93705"/>
                    <a:gd name="connsiteX214" fmla="*/ 169743 w 187908"/>
                    <a:gd name="connsiteY214" fmla="*/ 24441 h 93705"/>
                    <a:gd name="connsiteX215" fmla="*/ 171112 w 187908"/>
                    <a:gd name="connsiteY215" fmla="*/ 22078 h 93705"/>
                    <a:gd name="connsiteX216" fmla="*/ 175757 w 187908"/>
                    <a:gd name="connsiteY216" fmla="*/ 18402 h 93705"/>
                    <a:gd name="connsiteX217" fmla="*/ 179889 w 187908"/>
                    <a:gd name="connsiteY217" fmla="*/ 16788 h 93705"/>
                    <a:gd name="connsiteX218" fmla="*/ 182652 w 187908"/>
                    <a:gd name="connsiteY218" fmla="*/ 15908 h 93705"/>
                    <a:gd name="connsiteX219" fmla="*/ 183385 w 187908"/>
                    <a:gd name="connsiteY219" fmla="*/ 15957 h 93705"/>
                    <a:gd name="connsiteX220" fmla="*/ 183719 w 187908"/>
                    <a:gd name="connsiteY220" fmla="*/ 16658 h 93705"/>
                    <a:gd name="connsiteX221" fmla="*/ 183336 w 187908"/>
                    <a:gd name="connsiteY221" fmla="*/ 17538 h 93705"/>
                    <a:gd name="connsiteX222" fmla="*/ 183524 w 187908"/>
                    <a:gd name="connsiteY222" fmla="*/ 18630 h 93705"/>
                    <a:gd name="connsiteX223" fmla="*/ 182464 w 187908"/>
                    <a:gd name="connsiteY223" fmla="*/ 20554 h 93705"/>
                    <a:gd name="connsiteX224" fmla="*/ 179799 w 187908"/>
                    <a:gd name="connsiteY224" fmla="*/ 23292 h 93705"/>
                    <a:gd name="connsiteX225" fmla="*/ 179221 w 187908"/>
                    <a:gd name="connsiteY225" fmla="*/ 24417 h 93705"/>
                    <a:gd name="connsiteX226" fmla="*/ 179278 w 187908"/>
                    <a:gd name="connsiteY226" fmla="*/ 25378 h 93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187908" h="93705">
                      <a:moveTo>
                        <a:pt x="179767" y="26006"/>
                      </a:moveTo>
                      <a:lnTo>
                        <a:pt x="179767" y="26006"/>
                      </a:lnTo>
                      <a:lnTo>
                        <a:pt x="179767" y="26006"/>
                      </a:lnTo>
                      <a:lnTo>
                        <a:pt x="179767" y="26006"/>
                      </a:lnTo>
                      <a:lnTo>
                        <a:pt x="183907" y="24604"/>
                      </a:lnTo>
                      <a:lnTo>
                        <a:pt x="187216" y="23471"/>
                      </a:lnTo>
                      <a:lnTo>
                        <a:pt x="187908" y="24441"/>
                      </a:lnTo>
                      <a:lnTo>
                        <a:pt x="187020" y="25981"/>
                      </a:lnTo>
                      <a:lnTo>
                        <a:pt x="185463" y="27685"/>
                      </a:lnTo>
                      <a:lnTo>
                        <a:pt x="184991" y="28491"/>
                      </a:lnTo>
                      <a:lnTo>
                        <a:pt x="183939" y="29747"/>
                      </a:lnTo>
                      <a:lnTo>
                        <a:pt x="183972" y="31279"/>
                      </a:lnTo>
                      <a:lnTo>
                        <a:pt x="183801" y="33284"/>
                      </a:lnTo>
                      <a:lnTo>
                        <a:pt x="182611" y="34449"/>
                      </a:lnTo>
                      <a:lnTo>
                        <a:pt x="181291" y="35248"/>
                      </a:lnTo>
                      <a:lnTo>
                        <a:pt x="180508" y="36128"/>
                      </a:lnTo>
                      <a:lnTo>
                        <a:pt x="179033" y="37709"/>
                      </a:lnTo>
                      <a:lnTo>
                        <a:pt x="177770" y="38181"/>
                      </a:lnTo>
                      <a:lnTo>
                        <a:pt x="176197" y="39591"/>
                      </a:lnTo>
                      <a:lnTo>
                        <a:pt x="176580" y="40512"/>
                      </a:lnTo>
                      <a:lnTo>
                        <a:pt x="178161" y="41254"/>
                      </a:lnTo>
                      <a:lnTo>
                        <a:pt x="177746" y="42224"/>
                      </a:lnTo>
                      <a:lnTo>
                        <a:pt x="174062" y="42550"/>
                      </a:lnTo>
                      <a:lnTo>
                        <a:pt x="172978" y="43617"/>
                      </a:lnTo>
                      <a:lnTo>
                        <a:pt x="172546" y="45696"/>
                      </a:lnTo>
                      <a:lnTo>
                        <a:pt x="170924" y="48108"/>
                      </a:lnTo>
                      <a:lnTo>
                        <a:pt x="170672" y="50186"/>
                      </a:lnTo>
                      <a:lnTo>
                        <a:pt x="171967" y="51254"/>
                      </a:lnTo>
                      <a:lnTo>
                        <a:pt x="174282" y="51270"/>
                      </a:lnTo>
                      <a:lnTo>
                        <a:pt x="178976" y="50585"/>
                      </a:lnTo>
                      <a:lnTo>
                        <a:pt x="179677" y="50879"/>
                      </a:lnTo>
                      <a:lnTo>
                        <a:pt x="178324" y="52582"/>
                      </a:lnTo>
                      <a:lnTo>
                        <a:pt x="178275" y="54139"/>
                      </a:lnTo>
                      <a:lnTo>
                        <a:pt x="177273" y="55866"/>
                      </a:lnTo>
                      <a:lnTo>
                        <a:pt x="175024" y="57113"/>
                      </a:lnTo>
                      <a:lnTo>
                        <a:pt x="172187" y="57586"/>
                      </a:lnTo>
                      <a:lnTo>
                        <a:pt x="169303" y="58124"/>
                      </a:lnTo>
                      <a:lnTo>
                        <a:pt x="166466" y="58368"/>
                      </a:lnTo>
                      <a:lnTo>
                        <a:pt x="166279" y="57684"/>
                      </a:lnTo>
                      <a:lnTo>
                        <a:pt x="164616" y="57537"/>
                      </a:lnTo>
                      <a:lnTo>
                        <a:pt x="161748" y="59208"/>
                      </a:lnTo>
                      <a:lnTo>
                        <a:pt x="158137" y="57097"/>
                      </a:lnTo>
                      <a:lnTo>
                        <a:pt x="155163" y="54505"/>
                      </a:lnTo>
                      <a:lnTo>
                        <a:pt x="152457" y="53258"/>
                      </a:lnTo>
                      <a:lnTo>
                        <a:pt x="144201" y="52753"/>
                      </a:lnTo>
                      <a:lnTo>
                        <a:pt x="138554" y="52900"/>
                      </a:lnTo>
                      <a:lnTo>
                        <a:pt x="135701" y="53340"/>
                      </a:lnTo>
                      <a:lnTo>
                        <a:pt x="133582" y="54636"/>
                      </a:lnTo>
                      <a:lnTo>
                        <a:pt x="133753" y="56249"/>
                      </a:lnTo>
                      <a:lnTo>
                        <a:pt x="128945" y="59322"/>
                      </a:lnTo>
                      <a:lnTo>
                        <a:pt x="126908" y="60341"/>
                      </a:lnTo>
                      <a:lnTo>
                        <a:pt x="126557" y="61653"/>
                      </a:lnTo>
                      <a:lnTo>
                        <a:pt x="132148" y="65605"/>
                      </a:lnTo>
                      <a:lnTo>
                        <a:pt x="137657" y="69199"/>
                      </a:lnTo>
                      <a:lnTo>
                        <a:pt x="138448" y="70911"/>
                      </a:lnTo>
                      <a:lnTo>
                        <a:pt x="137258" y="71889"/>
                      </a:lnTo>
                      <a:lnTo>
                        <a:pt x="133289" y="71978"/>
                      </a:lnTo>
                      <a:lnTo>
                        <a:pt x="129108" y="72704"/>
                      </a:lnTo>
                      <a:lnTo>
                        <a:pt x="126492" y="75149"/>
                      </a:lnTo>
                      <a:lnTo>
                        <a:pt x="123900" y="77846"/>
                      </a:lnTo>
                      <a:lnTo>
                        <a:pt x="122311" y="78995"/>
                      </a:lnTo>
                      <a:lnTo>
                        <a:pt x="114699" y="83347"/>
                      </a:lnTo>
                      <a:lnTo>
                        <a:pt x="104895" y="88262"/>
                      </a:lnTo>
                      <a:lnTo>
                        <a:pt x="102638" y="89125"/>
                      </a:lnTo>
                      <a:lnTo>
                        <a:pt x="99647" y="90625"/>
                      </a:lnTo>
                      <a:lnTo>
                        <a:pt x="98164" y="92231"/>
                      </a:lnTo>
                      <a:lnTo>
                        <a:pt x="95743" y="93706"/>
                      </a:lnTo>
                      <a:lnTo>
                        <a:pt x="92353" y="93404"/>
                      </a:lnTo>
                      <a:lnTo>
                        <a:pt x="89761" y="91473"/>
                      </a:lnTo>
                      <a:lnTo>
                        <a:pt x="89549" y="89207"/>
                      </a:lnTo>
                      <a:lnTo>
                        <a:pt x="91603" y="87732"/>
                      </a:lnTo>
                      <a:lnTo>
                        <a:pt x="93526" y="87504"/>
                      </a:lnTo>
                      <a:lnTo>
                        <a:pt x="96150" y="86705"/>
                      </a:lnTo>
                      <a:lnTo>
                        <a:pt x="99247" y="86240"/>
                      </a:lnTo>
                      <a:lnTo>
                        <a:pt x="101383" y="84790"/>
                      </a:lnTo>
                      <a:lnTo>
                        <a:pt x="101668" y="82948"/>
                      </a:lnTo>
                      <a:lnTo>
                        <a:pt x="112605" y="74203"/>
                      </a:lnTo>
                      <a:lnTo>
                        <a:pt x="116191" y="69053"/>
                      </a:lnTo>
                      <a:lnTo>
                        <a:pt x="117136" y="64929"/>
                      </a:lnTo>
                      <a:lnTo>
                        <a:pt x="116753" y="62875"/>
                      </a:lnTo>
                      <a:lnTo>
                        <a:pt x="114716" y="61710"/>
                      </a:lnTo>
                      <a:lnTo>
                        <a:pt x="109801" y="60846"/>
                      </a:lnTo>
                      <a:lnTo>
                        <a:pt x="102002" y="63063"/>
                      </a:lnTo>
                      <a:lnTo>
                        <a:pt x="96949" y="65483"/>
                      </a:lnTo>
                      <a:lnTo>
                        <a:pt x="92336" y="68067"/>
                      </a:lnTo>
                      <a:lnTo>
                        <a:pt x="87862" y="71066"/>
                      </a:lnTo>
                      <a:lnTo>
                        <a:pt x="87911" y="71978"/>
                      </a:lnTo>
                      <a:lnTo>
                        <a:pt x="87341" y="73869"/>
                      </a:lnTo>
                      <a:lnTo>
                        <a:pt x="86428" y="76770"/>
                      </a:lnTo>
                      <a:lnTo>
                        <a:pt x="86281" y="79012"/>
                      </a:lnTo>
                      <a:lnTo>
                        <a:pt x="86191" y="81016"/>
                      </a:lnTo>
                      <a:lnTo>
                        <a:pt x="86200" y="82483"/>
                      </a:lnTo>
                      <a:lnTo>
                        <a:pt x="85010" y="83315"/>
                      </a:lnTo>
                      <a:lnTo>
                        <a:pt x="83429" y="83861"/>
                      </a:lnTo>
                      <a:lnTo>
                        <a:pt x="82353" y="84831"/>
                      </a:lnTo>
                      <a:lnTo>
                        <a:pt x="78425" y="86583"/>
                      </a:lnTo>
                      <a:lnTo>
                        <a:pt x="75662" y="88033"/>
                      </a:lnTo>
                      <a:lnTo>
                        <a:pt x="62818" y="85425"/>
                      </a:lnTo>
                      <a:lnTo>
                        <a:pt x="54546" y="83535"/>
                      </a:lnTo>
                      <a:lnTo>
                        <a:pt x="42656" y="81603"/>
                      </a:lnTo>
                      <a:lnTo>
                        <a:pt x="40789" y="81522"/>
                      </a:lnTo>
                      <a:lnTo>
                        <a:pt x="40146" y="80006"/>
                      </a:lnTo>
                      <a:lnTo>
                        <a:pt x="40838" y="78629"/>
                      </a:lnTo>
                      <a:lnTo>
                        <a:pt x="43308" y="77977"/>
                      </a:lnTo>
                      <a:lnTo>
                        <a:pt x="47187" y="77292"/>
                      </a:lnTo>
                      <a:lnTo>
                        <a:pt x="55508" y="74684"/>
                      </a:lnTo>
                      <a:lnTo>
                        <a:pt x="57643" y="71962"/>
                      </a:lnTo>
                      <a:lnTo>
                        <a:pt x="57570" y="69167"/>
                      </a:lnTo>
                      <a:lnTo>
                        <a:pt x="54644" y="65858"/>
                      </a:lnTo>
                      <a:lnTo>
                        <a:pt x="57162" y="63975"/>
                      </a:lnTo>
                      <a:lnTo>
                        <a:pt x="62052" y="61571"/>
                      </a:lnTo>
                      <a:lnTo>
                        <a:pt x="67374" y="58670"/>
                      </a:lnTo>
                      <a:lnTo>
                        <a:pt x="71546" y="54603"/>
                      </a:lnTo>
                      <a:lnTo>
                        <a:pt x="72598" y="51840"/>
                      </a:lnTo>
                      <a:lnTo>
                        <a:pt x="63486" y="46478"/>
                      </a:lnTo>
                      <a:lnTo>
                        <a:pt x="63038" y="44669"/>
                      </a:lnTo>
                      <a:lnTo>
                        <a:pt x="67040" y="43780"/>
                      </a:lnTo>
                      <a:lnTo>
                        <a:pt x="74986" y="45076"/>
                      </a:lnTo>
                      <a:lnTo>
                        <a:pt x="82312" y="46290"/>
                      </a:lnTo>
                      <a:lnTo>
                        <a:pt x="89680" y="45916"/>
                      </a:lnTo>
                      <a:lnTo>
                        <a:pt x="94178" y="44017"/>
                      </a:lnTo>
                      <a:lnTo>
                        <a:pt x="95270" y="41776"/>
                      </a:lnTo>
                      <a:lnTo>
                        <a:pt x="94553" y="40162"/>
                      </a:lnTo>
                      <a:lnTo>
                        <a:pt x="88245" y="38874"/>
                      </a:lnTo>
                      <a:lnTo>
                        <a:pt x="84203" y="36486"/>
                      </a:lnTo>
                      <a:lnTo>
                        <a:pt x="73918" y="34098"/>
                      </a:lnTo>
                      <a:lnTo>
                        <a:pt x="65833" y="33373"/>
                      </a:lnTo>
                      <a:lnTo>
                        <a:pt x="58189" y="33389"/>
                      </a:lnTo>
                      <a:lnTo>
                        <a:pt x="51457" y="33202"/>
                      </a:lnTo>
                      <a:lnTo>
                        <a:pt x="51360" y="34669"/>
                      </a:lnTo>
                      <a:lnTo>
                        <a:pt x="52036" y="36715"/>
                      </a:lnTo>
                      <a:lnTo>
                        <a:pt x="50862" y="38711"/>
                      </a:lnTo>
                      <a:lnTo>
                        <a:pt x="49567" y="39811"/>
                      </a:lnTo>
                      <a:lnTo>
                        <a:pt x="49412" y="40977"/>
                      </a:lnTo>
                      <a:lnTo>
                        <a:pt x="48972" y="41800"/>
                      </a:lnTo>
                      <a:lnTo>
                        <a:pt x="48026" y="41360"/>
                      </a:lnTo>
                      <a:lnTo>
                        <a:pt x="46942" y="39665"/>
                      </a:lnTo>
                      <a:lnTo>
                        <a:pt x="42020" y="38312"/>
                      </a:lnTo>
                      <a:lnTo>
                        <a:pt x="37749" y="38149"/>
                      </a:lnTo>
                      <a:lnTo>
                        <a:pt x="32762" y="38736"/>
                      </a:lnTo>
                      <a:lnTo>
                        <a:pt x="25786" y="38532"/>
                      </a:lnTo>
                      <a:lnTo>
                        <a:pt x="20578" y="37375"/>
                      </a:lnTo>
                      <a:lnTo>
                        <a:pt x="14661" y="37562"/>
                      </a:lnTo>
                      <a:lnTo>
                        <a:pt x="12404" y="39412"/>
                      </a:lnTo>
                      <a:lnTo>
                        <a:pt x="12820" y="41710"/>
                      </a:lnTo>
                      <a:lnTo>
                        <a:pt x="12412" y="43414"/>
                      </a:lnTo>
                      <a:lnTo>
                        <a:pt x="11116" y="43797"/>
                      </a:lnTo>
                      <a:lnTo>
                        <a:pt x="10269" y="43014"/>
                      </a:lnTo>
                      <a:lnTo>
                        <a:pt x="8891" y="42379"/>
                      </a:lnTo>
                      <a:lnTo>
                        <a:pt x="7579" y="44286"/>
                      </a:lnTo>
                      <a:lnTo>
                        <a:pt x="6789" y="46576"/>
                      </a:lnTo>
                      <a:lnTo>
                        <a:pt x="4776" y="45524"/>
                      </a:lnTo>
                      <a:lnTo>
                        <a:pt x="3170" y="43650"/>
                      </a:lnTo>
                      <a:lnTo>
                        <a:pt x="1736" y="41645"/>
                      </a:lnTo>
                      <a:lnTo>
                        <a:pt x="0" y="37375"/>
                      </a:lnTo>
                      <a:lnTo>
                        <a:pt x="685" y="33512"/>
                      </a:lnTo>
                      <a:lnTo>
                        <a:pt x="7049" y="32159"/>
                      </a:lnTo>
                      <a:lnTo>
                        <a:pt x="12412" y="32403"/>
                      </a:lnTo>
                      <a:lnTo>
                        <a:pt x="14026" y="32306"/>
                      </a:lnTo>
                      <a:lnTo>
                        <a:pt x="17017" y="30896"/>
                      </a:lnTo>
                      <a:lnTo>
                        <a:pt x="37978" y="25835"/>
                      </a:lnTo>
                      <a:lnTo>
                        <a:pt x="47464" y="22012"/>
                      </a:lnTo>
                      <a:lnTo>
                        <a:pt x="48222" y="22257"/>
                      </a:lnTo>
                      <a:lnTo>
                        <a:pt x="48295" y="23471"/>
                      </a:lnTo>
                      <a:lnTo>
                        <a:pt x="49664" y="23879"/>
                      </a:lnTo>
                      <a:lnTo>
                        <a:pt x="52166" y="22974"/>
                      </a:lnTo>
                      <a:lnTo>
                        <a:pt x="55712" y="21328"/>
                      </a:lnTo>
                      <a:lnTo>
                        <a:pt x="63535" y="20162"/>
                      </a:lnTo>
                      <a:lnTo>
                        <a:pt x="63690" y="18475"/>
                      </a:lnTo>
                      <a:lnTo>
                        <a:pt x="66453" y="18516"/>
                      </a:lnTo>
                      <a:lnTo>
                        <a:pt x="68115" y="19160"/>
                      </a:lnTo>
                      <a:lnTo>
                        <a:pt x="77137" y="16911"/>
                      </a:lnTo>
                      <a:lnTo>
                        <a:pt x="86412" y="13781"/>
                      </a:lnTo>
                      <a:lnTo>
                        <a:pt x="88351" y="13349"/>
                      </a:lnTo>
                      <a:lnTo>
                        <a:pt x="90177" y="12453"/>
                      </a:lnTo>
                      <a:lnTo>
                        <a:pt x="95670" y="8476"/>
                      </a:lnTo>
                      <a:lnTo>
                        <a:pt x="109084" y="5281"/>
                      </a:lnTo>
                      <a:lnTo>
                        <a:pt x="111562" y="4295"/>
                      </a:lnTo>
                      <a:lnTo>
                        <a:pt x="120714" y="2225"/>
                      </a:lnTo>
                      <a:lnTo>
                        <a:pt x="123713" y="1222"/>
                      </a:lnTo>
                      <a:lnTo>
                        <a:pt x="129295" y="0"/>
                      </a:lnTo>
                      <a:lnTo>
                        <a:pt x="131586" y="1076"/>
                      </a:lnTo>
                      <a:lnTo>
                        <a:pt x="132327" y="1687"/>
                      </a:lnTo>
                      <a:lnTo>
                        <a:pt x="134430" y="1605"/>
                      </a:lnTo>
                      <a:lnTo>
                        <a:pt x="140061" y="2738"/>
                      </a:lnTo>
                      <a:lnTo>
                        <a:pt x="145815" y="4148"/>
                      </a:lnTo>
                      <a:lnTo>
                        <a:pt x="148659" y="5183"/>
                      </a:lnTo>
                      <a:lnTo>
                        <a:pt x="144796" y="8622"/>
                      </a:lnTo>
                      <a:lnTo>
                        <a:pt x="136972" y="12200"/>
                      </a:lnTo>
                      <a:lnTo>
                        <a:pt x="132164" y="14311"/>
                      </a:lnTo>
                      <a:lnTo>
                        <a:pt x="126435" y="15802"/>
                      </a:lnTo>
                      <a:lnTo>
                        <a:pt x="124161" y="16136"/>
                      </a:lnTo>
                      <a:lnTo>
                        <a:pt x="123908" y="17008"/>
                      </a:lnTo>
                      <a:lnTo>
                        <a:pt x="123045" y="18435"/>
                      </a:lnTo>
                      <a:lnTo>
                        <a:pt x="121072" y="19828"/>
                      </a:lnTo>
                      <a:lnTo>
                        <a:pt x="118065" y="21140"/>
                      </a:lnTo>
                      <a:lnTo>
                        <a:pt x="117821" y="21580"/>
                      </a:lnTo>
                      <a:lnTo>
                        <a:pt x="118473" y="23039"/>
                      </a:lnTo>
                      <a:lnTo>
                        <a:pt x="118196" y="24009"/>
                      </a:lnTo>
                      <a:lnTo>
                        <a:pt x="116060" y="24637"/>
                      </a:lnTo>
                      <a:lnTo>
                        <a:pt x="114398" y="26079"/>
                      </a:lnTo>
                      <a:lnTo>
                        <a:pt x="115213" y="27220"/>
                      </a:lnTo>
                      <a:lnTo>
                        <a:pt x="120543" y="27375"/>
                      </a:lnTo>
                      <a:lnTo>
                        <a:pt x="125848" y="27872"/>
                      </a:lnTo>
                      <a:lnTo>
                        <a:pt x="127201" y="28923"/>
                      </a:lnTo>
                      <a:lnTo>
                        <a:pt x="132026" y="30113"/>
                      </a:lnTo>
                      <a:lnTo>
                        <a:pt x="133142" y="30798"/>
                      </a:lnTo>
                      <a:lnTo>
                        <a:pt x="136361" y="30969"/>
                      </a:lnTo>
                      <a:lnTo>
                        <a:pt x="138130" y="30586"/>
                      </a:lnTo>
                      <a:lnTo>
                        <a:pt x="138920" y="29665"/>
                      </a:lnTo>
                      <a:lnTo>
                        <a:pt x="148455" y="30170"/>
                      </a:lnTo>
                      <a:lnTo>
                        <a:pt x="157119" y="29958"/>
                      </a:lnTo>
                      <a:lnTo>
                        <a:pt x="160859" y="29249"/>
                      </a:lnTo>
                      <a:lnTo>
                        <a:pt x="167501" y="27073"/>
                      </a:lnTo>
                      <a:lnTo>
                        <a:pt x="169743" y="24441"/>
                      </a:lnTo>
                      <a:lnTo>
                        <a:pt x="171112" y="22078"/>
                      </a:lnTo>
                      <a:lnTo>
                        <a:pt x="175757" y="18402"/>
                      </a:lnTo>
                      <a:lnTo>
                        <a:pt x="179889" y="16788"/>
                      </a:lnTo>
                      <a:lnTo>
                        <a:pt x="182652" y="15908"/>
                      </a:lnTo>
                      <a:lnTo>
                        <a:pt x="183385" y="15957"/>
                      </a:lnTo>
                      <a:lnTo>
                        <a:pt x="183719" y="16658"/>
                      </a:lnTo>
                      <a:lnTo>
                        <a:pt x="183336" y="17538"/>
                      </a:lnTo>
                      <a:lnTo>
                        <a:pt x="183524" y="18630"/>
                      </a:lnTo>
                      <a:lnTo>
                        <a:pt x="182464" y="20554"/>
                      </a:lnTo>
                      <a:lnTo>
                        <a:pt x="179799" y="23292"/>
                      </a:lnTo>
                      <a:lnTo>
                        <a:pt x="179221" y="24417"/>
                      </a:lnTo>
                      <a:lnTo>
                        <a:pt x="179278" y="25378"/>
                      </a:lnTo>
                      <a:close/>
                    </a:path>
                  </a:pathLst>
                </a:custGeom>
                <a:solidFill>
                  <a:srgbClr val="FFFFFF"/>
                </a:solidFill>
                <a:ln w="8150" cap="flat">
                  <a:noFill/>
                  <a:prstDash val="solid"/>
                  <a:miter/>
                </a:ln>
              </p:spPr>
              <p:txBody>
                <a:bodyPr rtlCol="0" anchor="ctr"/>
                <a:lstStyle/>
                <a:p>
                  <a:endParaRPr lang="en-US"/>
                </a:p>
              </p:txBody>
            </p:sp>
            <p:sp>
              <p:nvSpPr>
                <p:cNvPr id="415" name="Freeform: Shape 414">
                  <a:extLst>
                    <a:ext uri="{FF2B5EF4-FFF2-40B4-BE49-F238E27FC236}">
                      <a16:creationId xmlns:a16="http://schemas.microsoft.com/office/drawing/2014/main" id="{F509A290-4E0C-4E5A-BF1B-49A5EB8DD767}"/>
                    </a:ext>
                  </a:extLst>
                </p:cNvPr>
                <p:cNvSpPr/>
                <p:nvPr/>
              </p:nvSpPr>
              <p:spPr>
                <a:xfrm>
                  <a:off x="3959409" y="3118138"/>
                  <a:ext cx="99174" cy="45051"/>
                </a:xfrm>
                <a:custGeom>
                  <a:avLst/>
                  <a:gdLst>
                    <a:gd name="connsiteX0" fmla="*/ 98905 w 99174"/>
                    <a:gd name="connsiteY0" fmla="*/ 302 h 45051"/>
                    <a:gd name="connsiteX1" fmla="*/ 98905 w 99174"/>
                    <a:gd name="connsiteY1" fmla="*/ 302 h 45051"/>
                    <a:gd name="connsiteX2" fmla="*/ 98905 w 99174"/>
                    <a:gd name="connsiteY2" fmla="*/ 302 h 45051"/>
                    <a:gd name="connsiteX3" fmla="*/ 99174 w 99174"/>
                    <a:gd name="connsiteY3" fmla="*/ 1190 h 45051"/>
                    <a:gd name="connsiteX4" fmla="*/ 98799 w 99174"/>
                    <a:gd name="connsiteY4" fmla="*/ 2200 h 45051"/>
                    <a:gd name="connsiteX5" fmla="*/ 97780 w 99174"/>
                    <a:gd name="connsiteY5" fmla="*/ 3341 h 45051"/>
                    <a:gd name="connsiteX6" fmla="*/ 87724 w 99174"/>
                    <a:gd name="connsiteY6" fmla="*/ 10807 h 45051"/>
                    <a:gd name="connsiteX7" fmla="*/ 84879 w 99174"/>
                    <a:gd name="connsiteY7" fmla="*/ 13504 h 45051"/>
                    <a:gd name="connsiteX8" fmla="*/ 85939 w 99174"/>
                    <a:gd name="connsiteY8" fmla="*/ 15020 h 45051"/>
                    <a:gd name="connsiteX9" fmla="*/ 86029 w 99174"/>
                    <a:gd name="connsiteY9" fmla="*/ 15696 h 45051"/>
                    <a:gd name="connsiteX10" fmla="*/ 86656 w 99174"/>
                    <a:gd name="connsiteY10" fmla="*/ 15582 h 45051"/>
                    <a:gd name="connsiteX11" fmla="*/ 88718 w 99174"/>
                    <a:gd name="connsiteY11" fmla="*/ 14295 h 45051"/>
                    <a:gd name="connsiteX12" fmla="*/ 89321 w 99174"/>
                    <a:gd name="connsiteY12" fmla="*/ 14433 h 45051"/>
                    <a:gd name="connsiteX13" fmla="*/ 89622 w 99174"/>
                    <a:gd name="connsiteY13" fmla="*/ 14784 h 45051"/>
                    <a:gd name="connsiteX14" fmla="*/ 89794 w 99174"/>
                    <a:gd name="connsiteY14" fmla="*/ 15607 h 45051"/>
                    <a:gd name="connsiteX15" fmla="*/ 88856 w 99174"/>
                    <a:gd name="connsiteY15" fmla="*/ 17082 h 45051"/>
                    <a:gd name="connsiteX16" fmla="*/ 89272 w 99174"/>
                    <a:gd name="connsiteY16" fmla="*/ 17416 h 45051"/>
                    <a:gd name="connsiteX17" fmla="*/ 91098 w 99174"/>
                    <a:gd name="connsiteY17" fmla="*/ 17090 h 45051"/>
                    <a:gd name="connsiteX18" fmla="*/ 91872 w 99174"/>
                    <a:gd name="connsiteY18" fmla="*/ 17253 h 45051"/>
                    <a:gd name="connsiteX19" fmla="*/ 91179 w 99174"/>
                    <a:gd name="connsiteY19" fmla="*/ 18353 h 45051"/>
                    <a:gd name="connsiteX20" fmla="*/ 90242 w 99174"/>
                    <a:gd name="connsiteY20" fmla="*/ 19062 h 45051"/>
                    <a:gd name="connsiteX21" fmla="*/ 90087 w 99174"/>
                    <a:gd name="connsiteY21" fmla="*/ 19747 h 45051"/>
                    <a:gd name="connsiteX22" fmla="*/ 88710 w 99174"/>
                    <a:gd name="connsiteY22" fmla="*/ 21564 h 45051"/>
                    <a:gd name="connsiteX23" fmla="*/ 88107 w 99174"/>
                    <a:gd name="connsiteY23" fmla="*/ 21931 h 45051"/>
                    <a:gd name="connsiteX24" fmla="*/ 87764 w 99174"/>
                    <a:gd name="connsiteY24" fmla="*/ 21686 h 45051"/>
                    <a:gd name="connsiteX25" fmla="*/ 87862 w 99174"/>
                    <a:gd name="connsiteY25" fmla="*/ 20863 h 45051"/>
                    <a:gd name="connsiteX26" fmla="*/ 86566 w 99174"/>
                    <a:gd name="connsiteY26" fmla="*/ 21743 h 45051"/>
                    <a:gd name="connsiteX27" fmla="*/ 86477 w 99174"/>
                    <a:gd name="connsiteY27" fmla="*/ 22461 h 45051"/>
                    <a:gd name="connsiteX28" fmla="*/ 87218 w 99174"/>
                    <a:gd name="connsiteY28" fmla="*/ 23145 h 45051"/>
                    <a:gd name="connsiteX29" fmla="*/ 87797 w 99174"/>
                    <a:gd name="connsiteY29" fmla="*/ 24197 h 45051"/>
                    <a:gd name="connsiteX30" fmla="*/ 88213 w 99174"/>
                    <a:gd name="connsiteY30" fmla="*/ 25615 h 45051"/>
                    <a:gd name="connsiteX31" fmla="*/ 88416 w 99174"/>
                    <a:gd name="connsiteY31" fmla="*/ 28663 h 45051"/>
                    <a:gd name="connsiteX32" fmla="*/ 88677 w 99174"/>
                    <a:gd name="connsiteY32" fmla="*/ 29266 h 45051"/>
                    <a:gd name="connsiteX33" fmla="*/ 88783 w 99174"/>
                    <a:gd name="connsiteY33" fmla="*/ 29551 h 45051"/>
                    <a:gd name="connsiteX34" fmla="*/ 88661 w 99174"/>
                    <a:gd name="connsiteY34" fmla="*/ 29901 h 45051"/>
                    <a:gd name="connsiteX35" fmla="*/ 88539 w 99174"/>
                    <a:gd name="connsiteY35" fmla="*/ 30602 h 45051"/>
                    <a:gd name="connsiteX36" fmla="*/ 88816 w 99174"/>
                    <a:gd name="connsiteY36" fmla="*/ 31246 h 45051"/>
                    <a:gd name="connsiteX37" fmla="*/ 88596 w 99174"/>
                    <a:gd name="connsiteY37" fmla="*/ 31988 h 45051"/>
                    <a:gd name="connsiteX38" fmla="*/ 87878 w 99174"/>
                    <a:gd name="connsiteY38" fmla="*/ 32827 h 45051"/>
                    <a:gd name="connsiteX39" fmla="*/ 86436 w 99174"/>
                    <a:gd name="connsiteY39" fmla="*/ 33284 h 45051"/>
                    <a:gd name="connsiteX40" fmla="*/ 84293 w 99174"/>
                    <a:gd name="connsiteY40" fmla="*/ 33365 h 45051"/>
                    <a:gd name="connsiteX41" fmla="*/ 81897 w 99174"/>
                    <a:gd name="connsiteY41" fmla="*/ 34327 h 45051"/>
                    <a:gd name="connsiteX42" fmla="*/ 79240 w 99174"/>
                    <a:gd name="connsiteY42" fmla="*/ 36177 h 45051"/>
                    <a:gd name="connsiteX43" fmla="*/ 77414 w 99174"/>
                    <a:gd name="connsiteY43" fmla="*/ 37872 h 45051"/>
                    <a:gd name="connsiteX44" fmla="*/ 76428 w 99174"/>
                    <a:gd name="connsiteY44" fmla="*/ 39396 h 45051"/>
                    <a:gd name="connsiteX45" fmla="*/ 75695 w 99174"/>
                    <a:gd name="connsiteY45" fmla="*/ 40040 h 45051"/>
                    <a:gd name="connsiteX46" fmla="*/ 75230 w 99174"/>
                    <a:gd name="connsiteY46" fmla="*/ 39779 h 45051"/>
                    <a:gd name="connsiteX47" fmla="*/ 71661 w 99174"/>
                    <a:gd name="connsiteY47" fmla="*/ 41018 h 45051"/>
                    <a:gd name="connsiteX48" fmla="*/ 70389 w 99174"/>
                    <a:gd name="connsiteY48" fmla="*/ 41865 h 45051"/>
                    <a:gd name="connsiteX49" fmla="*/ 70063 w 99174"/>
                    <a:gd name="connsiteY49" fmla="*/ 42623 h 45051"/>
                    <a:gd name="connsiteX50" fmla="*/ 69729 w 99174"/>
                    <a:gd name="connsiteY50" fmla="*/ 42770 h 45051"/>
                    <a:gd name="connsiteX51" fmla="*/ 69395 w 99174"/>
                    <a:gd name="connsiteY51" fmla="*/ 42297 h 45051"/>
                    <a:gd name="connsiteX52" fmla="*/ 66852 w 99174"/>
                    <a:gd name="connsiteY52" fmla="*/ 41930 h 45051"/>
                    <a:gd name="connsiteX53" fmla="*/ 62093 w 99174"/>
                    <a:gd name="connsiteY53" fmla="*/ 41702 h 45051"/>
                    <a:gd name="connsiteX54" fmla="*/ 58376 w 99174"/>
                    <a:gd name="connsiteY54" fmla="*/ 41930 h 45051"/>
                    <a:gd name="connsiteX55" fmla="*/ 55687 w 99174"/>
                    <a:gd name="connsiteY55" fmla="*/ 42639 h 45051"/>
                    <a:gd name="connsiteX56" fmla="*/ 53315 w 99174"/>
                    <a:gd name="connsiteY56" fmla="*/ 42240 h 45051"/>
                    <a:gd name="connsiteX57" fmla="*/ 51262 w 99174"/>
                    <a:gd name="connsiteY57" fmla="*/ 40716 h 45051"/>
                    <a:gd name="connsiteX58" fmla="*/ 48018 w 99174"/>
                    <a:gd name="connsiteY58" fmla="*/ 39534 h 45051"/>
                    <a:gd name="connsiteX59" fmla="*/ 39673 w 99174"/>
                    <a:gd name="connsiteY59" fmla="*/ 38230 h 45051"/>
                    <a:gd name="connsiteX60" fmla="*/ 32664 w 99174"/>
                    <a:gd name="connsiteY60" fmla="*/ 38475 h 45051"/>
                    <a:gd name="connsiteX61" fmla="*/ 26910 w 99174"/>
                    <a:gd name="connsiteY61" fmla="*/ 39380 h 45051"/>
                    <a:gd name="connsiteX62" fmla="*/ 17889 w 99174"/>
                    <a:gd name="connsiteY62" fmla="*/ 42020 h 45051"/>
                    <a:gd name="connsiteX63" fmla="*/ 13912 w 99174"/>
                    <a:gd name="connsiteY63" fmla="*/ 43511 h 45051"/>
                    <a:gd name="connsiteX64" fmla="*/ 11980 w 99174"/>
                    <a:gd name="connsiteY64" fmla="*/ 44718 h 45051"/>
                    <a:gd name="connsiteX65" fmla="*/ 10831 w 99174"/>
                    <a:gd name="connsiteY65" fmla="*/ 45052 h 45051"/>
                    <a:gd name="connsiteX66" fmla="*/ 9242 w 99174"/>
                    <a:gd name="connsiteY66" fmla="*/ 44677 h 45051"/>
                    <a:gd name="connsiteX67" fmla="*/ 6104 w 99174"/>
                    <a:gd name="connsiteY67" fmla="*/ 44652 h 45051"/>
                    <a:gd name="connsiteX68" fmla="*/ 3366 w 99174"/>
                    <a:gd name="connsiteY68" fmla="*/ 43772 h 45051"/>
                    <a:gd name="connsiteX69" fmla="*/ 1149 w 99174"/>
                    <a:gd name="connsiteY69" fmla="*/ 43161 h 45051"/>
                    <a:gd name="connsiteX70" fmla="*/ 24 w 99174"/>
                    <a:gd name="connsiteY70" fmla="*/ 41482 h 45051"/>
                    <a:gd name="connsiteX71" fmla="*/ 0 w 99174"/>
                    <a:gd name="connsiteY71" fmla="*/ 40830 h 45051"/>
                    <a:gd name="connsiteX72" fmla="*/ 2918 w 99174"/>
                    <a:gd name="connsiteY72" fmla="*/ 36217 h 45051"/>
                    <a:gd name="connsiteX73" fmla="*/ 4067 w 99174"/>
                    <a:gd name="connsiteY73" fmla="*/ 34123 h 45051"/>
                    <a:gd name="connsiteX74" fmla="*/ 4409 w 99174"/>
                    <a:gd name="connsiteY74" fmla="*/ 32778 h 45051"/>
                    <a:gd name="connsiteX75" fmla="*/ 5085 w 99174"/>
                    <a:gd name="connsiteY75" fmla="*/ 31857 h 45051"/>
                    <a:gd name="connsiteX76" fmla="*/ 6821 w 99174"/>
                    <a:gd name="connsiteY76" fmla="*/ 30692 h 45051"/>
                    <a:gd name="connsiteX77" fmla="*/ 7286 w 99174"/>
                    <a:gd name="connsiteY77" fmla="*/ 29861 h 45051"/>
                    <a:gd name="connsiteX78" fmla="*/ 8133 w 99174"/>
                    <a:gd name="connsiteY78" fmla="*/ 29469 h 45051"/>
                    <a:gd name="connsiteX79" fmla="*/ 9364 w 99174"/>
                    <a:gd name="connsiteY79" fmla="*/ 29535 h 45051"/>
                    <a:gd name="connsiteX80" fmla="*/ 11687 w 99174"/>
                    <a:gd name="connsiteY80" fmla="*/ 27994 h 45051"/>
                    <a:gd name="connsiteX81" fmla="*/ 15093 w 99174"/>
                    <a:gd name="connsiteY81" fmla="*/ 24857 h 45051"/>
                    <a:gd name="connsiteX82" fmla="*/ 17685 w 99174"/>
                    <a:gd name="connsiteY82" fmla="*/ 22933 h 45051"/>
                    <a:gd name="connsiteX83" fmla="*/ 19478 w 99174"/>
                    <a:gd name="connsiteY83" fmla="*/ 22224 h 45051"/>
                    <a:gd name="connsiteX84" fmla="*/ 24327 w 99174"/>
                    <a:gd name="connsiteY84" fmla="*/ 21499 h 45051"/>
                    <a:gd name="connsiteX85" fmla="*/ 27391 w 99174"/>
                    <a:gd name="connsiteY85" fmla="*/ 20586 h 45051"/>
                    <a:gd name="connsiteX86" fmla="*/ 29584 w 99174"/>
                    <a:gd name="connsiteY86" fmla="*/ 20260 h 45051"/>
                    <a:gd name="connsiteX87" fmla="*/ 30904 w 99174"/>
                    <a:gd name="connsiteY87" fmla="*/ 20505 h 45051"/>
                    <a:gd name="connsiteX88" fmla="*/ 32941 w 99174"/>
                    <a:gd name="connsiteY88" fmla="*/ 20138 h 45051"/>
                    <a:gd name="connsiteX89" fmla="*/ 35688 w 99174"/>
                    <a:gd name="connsiteY89" fmla="*/ 19127 h 45051"/>
                    <a:gd name="connsiteX90" fmla="*/ 39371 w 99174"/>
                    <a:gd name="connsiteY90" fmla="*/ 18402 h 45051"/>
                    <a:gd name="connsiteX91" fmla="*/ 44000 w 99174"/>
                    <a:gd name="connsiteY91" fmla="*/ 17929 h 45051"/>
                    <a:gd name="connsiteX92" fmla="*/ 46951 w 99174"/>
                    <a:gd name="connsiteY92" fmla="*/ 17408 h 45051"/>
                    <a:gd name="connsiteX93" fmla="*/ 48238 w 99174"/>
                    <a:gd name="connsiteY93" fmla="*/ 16821 h 45051"/>
                    <a:gd name="connsiteX94" fmla="*/ 50781 w 99174"/>
                    <a:gd name="connsiteY94" fmla="*/ 16870 h 45051"/>
                    <a:gd name="connsiteX95" fmla="*/ 51229 w 99174"/>
                    <a:gd name="connsiteY95" fmla="*/ 16039 h 45051"/>
                    <a:gd name="connsiteX96" fmla="*/ 51897 w 99174"/>
                    <a:gd name="connsiteY96" fmla="*/ 15631 h 45051"/>
                    <a:gd name="connsiteX97" fmla="*/ 54334 w 99174"/>
                    <a:gd name="connsiteY97" fmla="*/ 15859 h 45051"/>
                    <a:gd name="connsiteX98" fmla="*/ 55182 w 99174"/>
                    <a:gd name="connsiteY98" fmla="*/ 16332 h 45051"/>
                    <a:gd name="connsiteX99" fmla="*/ 55312 w 99174"/>
                    <a:gd name="connsiteY99" fmla="*/ 16691 h 45051"/>
                    <a:gd name="connsiteX100" fmla="*/ 54717 w 99174"/>
                    <a:gd name="connsiteY100" fmla="*/ 16927 h 45051"/>
                    <a:gd name="connsiteX101" fmla="*/ 55059 w 99174"/>
                    <a:gd name="connsiteY101" fmla="*/ 17530 h 45051"/>
                    <a:gd name="connsiteX102" fmla="*/ 56331 w 99174"/>
                    <a:gd name="connsiteY102" fmla="*/ 18500 h 45051"/>
                    <a:gd name="connsiteX103" fmla="*/ 58368 w 99174"/>
                    <a:gd name="connsiteY103" fmla="*/ 18801 h 45051"/>
                    <a:gd name="connsiteX104" fmla="*/ 60756 w 99174"/>
                    <a:gd name="connsiteY104" fmla="*/ 18190 h 45051"/>
                    <a:gd name="connsiteX105" fmla="*/ 62378 w 99174"/>
                    <a:gd name="connsiteY105" fmla="*/ 18451 h 45051"/>
                    <a:gd name="connsiteX106" fmla="*/ 61962 w 99174"/>
                    <a:gd name="connsiteY106" fmla="*/ 18883 h 45051"/>
                    <a:gd name="connsiteX107" fmla="*/ 61098 w 99174"/>
                    <a:gd name="connsiteY107" fmla="*/ 18867 h 45051"/>
                    <a:gd name="connsiteX108" fmla="*/ 61001 w 99174"/>
                    <a:gd name="connsiteY108" fmla="*/ 19062 h 45051"/>
                    <a:gd name="connsiteX109" fmla="*/ 61628 w 99174"/>
                    <a:gd name="connsiteY109" fmla="*/ 19893 h 45051"/>
                    <a:gd name="connsiteX110" fmla="*/ 62174 w 99174"/>
                    <a:gd name="connsiteY110" fmla="*/ 19934 h 45051"/>
                    <a:gd name="connsiteX111" fmla="*/ 64089 w 99174"/>
                    <a:gd name="connsiteY111" fmla="*/ 19030 h 45051"/>
                    <a:gd name="connsiteX112" fmla="*/ 64212 w 99174"/>
                    <a:gd name="connsiteY112" fmla="*/ 19380 h 45051"/>
                    <a:gd name="connsiteX113" fmla="*/ 63364 w 99174"/>
                    <a:gd name="connsiteY113" fmla="*/ 20700 h 45051"/>
                    <a:gd name="connsiteX114" fmla="*/ 63641 w 99174"/>
                    <a:gd name="connsiteY114" fmla="*/ 21523 h 45051"/>
                    <a:gd name="connsiteX115" fmla="*/ 65051 w 99174"/>
                    <a:gd name="connsiteY115" fmla="*/ 21858 h 45051"/>
                    <a:gd name="connsiteX116" fmla="*/ 67447 w 99174"/>
                    <a:gd name="connsiteY116" fmla="*/ 21279 h 45051"/>
                    <a:gd name="connsiteX117" fmla="*/ 70430 w 99174"/>
                    <a:gd name="connsiteY117" fmla="*/ 19657 h 45051"/>
                    <a:gd name="connsiteX118" fmla="*/ 71799 w 99174"/>
                    <a:gd name="connsiteY118" fmla="*/ 19201 h 45051"/>
                    <a:gd name="connsiteX119" fmla="*/ 72019 w 99174"/>
                    <a:gd name="connsiteY119" fmla="*/ 18435 h 45051"/>
                    <a:gd name="connsiteX120" fmla="*/ 71033 w 99174"/>
                    <a:gd name="connsiteY120" fmla="*/ 18435 h 45051"/>
                    <a:gd name="connsiteX121" fmla="*/ 68482 w 99174"/>
                    <a:gd name="connsiteY121" fmla="*/ 18720 h 45051"/>
                    <a:gd name="connsiteX122" fmla="*/ 67757 w 99174"/>
                    <a:gd name="connsiteY122" fmla="*/ 19201 h 45051"/>
                    <a:gd name="connsiteX123" fmla="*/ 67716 w 99174"/>
                    <a:gd name="connsiteY123" fmla="*/ 18883 h 45051"/>
                    <a:gd name="connsiteX124" fmla="*/ 68213 w 99174"/>
                    <a:gd name="connsiteY124" fmla="*/ 17660 h 45051"/>
                    <a:gd name="connsiteX125" fmla="*/ 70544 w 99174"/>
                    <a:gd name="connsiteY125" fmla="*/ 15876 h 45051"/>
                    <a:gd name="connsiteX126" fmla="*/ 71579 w 99174"/>
                    <a:gd name="connsiteY126" fmla="*/ 14849 h 45051"/>
                    <a:gd name="connsiteX127" fmla="*/ 72215 w 99174"/>
                    <a:gd name="connsiteY127" fmla="*/ 13732 h 45051"/>
                    <a:gd name="connsiteX128" fmla="*/ 71538 w 99174"/>
                    <a:gd name="connsiteY128" fmla="*/ 13757 h 45051"/>
                    <a:gd name="connsiteX129" fmla="*/ 69566 w 99174"/>
                    <a:gd name="connsiteY129" fmla="*/ 14914 h 45051"/>
                    <a:gd name="connsiteX130" fmla="*/ 67806 w 99174"/>
                    <a:gd name="connsiteY130" fmla="*/ 15525 h 45051"/>
                    <a:gd name="connsiteX131" fmla="*/ 66257 w 99174"/>
                    <a:gd name="connsiteY131" fmla="*/ 15599 h 45051"/>
                    <a:gd name="connsiteX132" fmla="*/ 65899 w 99174"/>
                    <a:gd name="connsiteY132" fmla="*/ 14449 h 45051"/>
                    <a:gd name="connsiteX133" fmla="*/ 66738 w 99174"/>
                    <a:gd name="connsiteY133" fmla="*/ 12053 h 45051"/>
                    <a:gd name="connsiteX134" fmla="*/ 65947 w 99174"/>
                    <a:gd name="connsiteY134" fmla="*/ 11190 h 45051"/>
                    <a:gd name="connsiteX135" fmla="*/ 62068 w 99174"/>
                    <a:gd name="connsiteY135" fmla="*/ 12388 h 45051"/>
                    <a:gd name="connsiteX136" fmla="*/ 61612 w 99174"/>
                    <a:gd name="connsiteY136" fmla="*/ 12795 h 45051"/>
                    <a:gd name="connsiteX137" fmla="*/ 61604 w 99174"/>
                    <a:gd name="connsiteY137" fmla="*/ 13121 h 45051"/>
                    <a:gd name="connsiteX138" fmla="*/ 62036 w 99174"/>
                    <a:gd name="connsiteY138" fmla="*/ 13357 h 45051"/>
                    <a:gd name="connsiteX139" fmla="*/ 61987 w 99174"/>
                    <a:gd name="connsiteY139" fmla="*/ 13586 h 45051"/>
                    <a:gd name="connsiteX140" fmla="*/ 61465 w 99174"/>
                    <a:gd name="connsiteY140" fmla="*/ 13806 h 45051"/>
                    <a:gd name="connsiteX141" fmla="*/ 60585 w 99174"/>
                    <a:gd name="connsiteY141" fmla="*/ 13586 h 45051"/>
                    <a:gd name="connsiteX142" fmla="*/ 60593 w 99174"/>
                    <a:gd name="connsiteY142" fmla="*/ 13072 h 45051"/>
                    <a:gd name="connsiteX143" fmla="*/ 61017 w 99174"/>
                    <a:gd name="connsiteY143" fmla="*/ 12249 h 45051"/>
                    <a:gd name="connsiteX144" fmla="*/ 60552 w 99174"/>
                    <a:gd name="connsiteY144" fmla="*/ 11890 h 45051"/>
                    <a:gd name="connsiteX145" fmla="*/ 59363 w 99174"/>
                    <a:gd name="connsiteY145" fmla="*/ 12143 h 45051"/>
                    <a:gd name="connsiteX146" fmla="*/ 57749 w 99174"/>
                    <a:gd name="connsiteY146" fmla="*/ 12665 h 45051"/>
                    <a:gd name="connsiteX147" fmla="*/ 54277 w 99174"/>
                    <a:gd name="connsiteY147" fmla="*/ 14286 h 45051"/>
                    <a:gd name="connsiteX148" fmla="*/ 54310 w 99174"/>
                    <a:gd name="connsiteY148" fmla="*/ 13944 h 45051"/>
                    <a:gd name="connsiteX149" fmla="*/ 55223 w 99174"/>
                    <a:gd name="connsiteY149" fmla="*/ 12917 h 45051"/>
                    <a:gd name="connsiteX150" fmla="*/ 58931 w 99174"/>
                    <a:gd name="connsiteY150" fmla="*/ 11638 h 45051"/>
                    <a:gd name="connsiteX151" fmla="*/ 60732 w 99174"/>
                    <a:gd name="connsiteY151" fmla="*/ 11027 h 45051"/>
                    <a:gd name="connsiteX152" fmla="*/ 61873 w 99174"/>
                    <a:gd name="connsiteY152" fmla="*/ 11108 h 45051"/>
                    <a:gd name="connsiteX153" fmla="*/ 62582 w 99174"/>
                    <a:gd name="connsiteY153" fmla="*/ 10644 h 45051"/>
                    <a:gd name="connsiteX154" fmla="*/ 63217 w 99174"/>
                    <a:gd name="connsiteY154" fmla="*/ 10652 h 45051"/>
                    <a:gd name="connsiteX155" fmla="*/ 63764 w 99174"/>
                    <a:gd name="connsiteY155" fmla="*/ 11116 h 45051"/>
                    <a:gd name="connsiteX156" fmla="*/ 65141 w 99174"/>
                    <a:gd name="connsiteY156" fmla="*/ 10937 h 45051"/>
                    <a:gd name="connsiteX157" fmla="*/ 67349 w 99174"/>
                    <a:gd name="connsiteY157" fmla="*/ 10081 h 45051"/>
                    <a:gd name="connsiteX158" fmla="*/ 68295 w 99174"/>
                    <a:gd name="connsiteY158" fmla="*/ 10366 h 45051"/>
                    <a:gd name="connsiteX159" fmla="*/ 67977 w 99174"/>
                    <a:gd name="connsiteY159" fmla="*/ 11776 h 45051"/>
                    <a:gd name="connsiteX160" fmla="*/ 68547 w 99174"/>
                    <a:gd name="connsiteY160" fmla="*/ 11899 h 45051"/>
                    <a:gd name="connsiteX161" fmla="*/ 70006 w 99174"/>
                    <a:gd name="connsiteY161" fmla="*/ 10733 h 45051"/>
                    <a:gd name="connsiteX162" fmla="*/ 70952 w 99174"/>
                    <a:gd name="connsiteY162" fmla="*/ 10342 h 45051"/>
                    <a:gd name="connsiteX163" fmla="*/ 71375 w 99174"/>
                    <a:gd name="connsiteY163" fmla="*/ 10692 h 45051"/>
                    <a:gd name="connsiteX164" fmla="*/ 68278 w 99174"/>
                    <a:gd name="connsiteY164" fmla="*/ 12591 h 45051"/>
                    <a:gd name="connsiteX165" fmla="*/ 67431 w 99174"/>
                    <a:gd name="connsiteY165" fmla="*/ 13529 h 45051"/>
                    <a:gd name="connsiteX166" fmla="*/ 67260 w 99174"/>
                    <a:gd name="connsiteY166" fmla="*/ 14058 h 45051"/>
                    <a:gd name="connsiteX167" fmla="*/ 67781 w 99174"/>
                    <a:gd name="connsiteY167" fmla="*/ 14759 h 45051"/>
                    <a:gd name="connsiteX168" fmla="*/ 69012 w 99174"/>
                    <a:gd name="connsiteY168" fmla="*/ 14653 h 45051"/>
                    <a:gd name="connsiteX169" fmla="*/ 74081 w 99174"/>
                    <a:gd name="connsiteY169" fmla="*/ 10888 h 45051"/>
                    <a:gd name="connsiteX170" fmla="*/ 76542 w 99174"/>
                    <a:gd name="connsiteY170" fmla="*/ 9649 h 45051"/>
                    <a:gd name="connsiteX171" fmla="*/ 78995 w 99174"/>
                    <a:gd name="connsiteY171" fmla="*/ 8932 h 45051"/>
                    <a:gd name="connsiteX172" fmla="*/ 81432 w 99174"/>
                    <a:gd name="connsiteY172" fmla="*/ 8753 h 45051"/>
                    <a:gd name="connsiteX173" fmla="*/ 83478 w 99174"/>
                    <a:gd name="connsiteY173" fmla="*/ 8101 h 45051"/>
                    <a:gd name="connsiteX174" fmla="*/ 85140 w 99174"/>
                    <a:gd name="connsiteY174" fmla="*/ 6976 h 45051"/>
                    <a:gd name="connsiteX175" fmla="*/ 92173 w 99174"/>
                    <a:gd name="connsiteY175" fmla="*/ 4466 h 45051"/>
                    <a:gd name="connsiteX176" fmla="*/ 95042 w 99174"/>
                    <a:gd name="connsiteY176" fmla="*/ 2926 h 45051"/>
                    <a:gd name="connsiteX177" fmla="*/ 97772 w 99174"/>
                    <a:gd name="connsiteY177" fmla="*/ 155 h 45051"/>
                    <a:gd name="connsiteX178" fmla="*/ 98424 w 99174"/>
                    <a:gd name="connsiteY178" fmla="*/ 0 h 45051"/>
                    <a:gd name="connsiteX179" fmla="*/ 98905 w 99174"/>
                    <a:gd name="connsiteY179" fmla="*/ 302 h 45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99174" h="45051">
                      <a:moveTo>
                        <a:pt x="98905" y="302"/>
                      </a:moveTo>
                      <a:lnTo>
                        <a:pt x="98905" y="302"/>
                      </a:lnTo>
                      <a:lnTo>
                        <a:pt x="98905" y="302"/>
                      </a:lnTo>
                      <a:lnTo>
                        <a:pt x="99174" y="1190"/>
                      </a:lnTo>
                      <a:lnTo>
                        <a:pt x="98799" y="2200"/>
                      </a:lnTo>
                      <a:lnTo>
                        <a:pt x="97780" y="3341"/>
                      </a:lnTo>
                      <a:lnTo>
                        <a:pt x="87724" y="10807"/>
                      </a:lnTo>
                      <a:lnTo>
                        <a:pt x="84879" y="13504"/>
                      </a:lnTo>
                      <a:lnTo>
                        <a:pt x="85939" y="15020"/>
                      </a:lnTo>
                      <a:lnTo>
                        <a:pt x="86029" y="15696"/>
                      </a:lnTo>
                      <a:lnTo>
                        <a:pt x="86656" y="15582"/>
                      </a:lnTo>
                      <a:lnTo>
                        <a:pt x="88718" y="14295"/>
                      </a:lnTo>
                      <a:lnTo>
                        <a:pt x="89321" y="14433"/>
                      </a:lnTo>
                      <a:lnTo>
                        <a:pt x="89622" y="14784"/>
                      </a:lnTo>
                      <a:lnTo>
                        <a:pt x="89794" y="15607"/>
                      </a:lnTo>
                      <a:lnTo>
                        <a:pt x="88856" y="17082"/>
                      </a:lnTo>
                      <a:lnTo>
                        <a:pt x="89272" y="17416"/>
                      </a:lnTo>
                      <a:lnTo>
                        <a:pt x="91098" y="17090"/>
                      </a:lnTo>
                      <a:lnTo>
                        <a:pt x="91872" y="17253"/>
                      </a:lnTo>
                      <a:lnTo>
                        <a:pt x="91179" y="18353"/>
                      </a:lnTo>
                      <a:lnTo>
                        <a:pt x="90242" y="19062"/>
                      </a:lnTo>
                      <a:lnTo>
                        <a:pt x="90087" y="19747"/>
                      </a:lnTo>
                      <a:lnTo>
                        <a:pt x="88710" y="21564"/>
                      </a:lnTo>
                      <a:lnTo>
                        <a:pt x="88107" y="21931"/>
                      </a:lnTo>
                      <a:lnTo>
                        <a:pt x="87764" y="21686"/>
                      </a:lnTo>
                      <a:lnTo>
                        <a:pt x="87862" y="20863"/>
                      </a:lnTo>
                      <a:lnTo>
                        <a:pt x="86566" y="21743"/>
                      </a:lnTo>
                      <a:lnTo>
                        <a:pt x="86477" y="22461"/>
                      </a:lnTo>
                      <a:lnTo>
                        <a:pt x="87218" y="23145"/>
                      </a:lnTo>
                      <a:lnTo>
                        <a:pt x="87797" y="24197"/>
                      </a:lnTo>
                      <a:lnTo>
                        <a:pt x="88213" y="25615"/>
                      </a:lnTo>
                      <a:lnTo>
                        <a:pt x="88416" y="28663"/>
                      </a:lnTo>
                      <a:lnTo>
                        <a:pt x="88677" y="29266"/>
                      </a:lnTo>
                      <a:lnTo>
                        <a:pt x="88783" y="29551"/>
                      </a:lnTo>
                      <a:lnTo>
                        <a:pt x="88661" y="29901"/>
                      </a:lnTo>
                      <a:lnTo>
                        <a:pt x="88539" y="30602"/>
                      </a:lnTo>
                      <a:lnTo>
                        <a:pt x="88816" y="31246"/>
                      </a:lnTo>
                      <a:lnTo>
                        <a:pt x="88596" y="31988"/>
                      </a:lnTo>
                      <a:lnTo>
                        <a:pt x="87878" y="32827"/>
                      </a:lnTo>
                      <a:lnTo>
                        <a:pt x="86436" y="33284"/>
                      </a:lnTo>
                      <a:lnTo>
                        <a:pt x="84293" y="33365"/>
                      </a:lnTo>
                      <a:lnTo>
                        <a:pt x="81897" y="34327"/>
                      </a:lnTo>
                      <a:lnTo>
                        <a:pt x="79240" y="36177"/>
                      </a:lnTo>
                      <a:lnTo>
                        <a:pt x="77414" y="37872"/>
                      </a:lnTo>
                      <a:lnTo>
                        <a:pt x="76428" y="39396"/>
                      </a:lnTo>
                      <a:lnTo>
                        <a:pt x="75695" y="40040"/>
                      </a:lnTo>
                      <a:lnTo>
                        <a:pt x="75230" y="39779"/>
                      </a:lnTo>
                      <a:lnTo>
                        <a:pt x="71661" y="41018"/>
                      </a:lnTo>
                      <a:lnTo>
                        <a:pt x="70389" y="41865"/>
                      </a:lnTo>
                      <a:lnTo>
                        <a:pt x="70063" y="42623"/>
                      </a:lnTo>
                      <a:lnTo>
                        <a:pt x="69729" y="42770"/>
                      </a:lnTo>
                      <a:lnTo>
                        <a:pt x="69395" y="42297"/>
                      </a:lnTo>
                      <a:lnTo>
                        <a:pt x="66852" y="41930"/>
                      </a:lnTo>
                      <a:lnTo>
                        <a:pt x="62093" y="41702"/>
                      </a:lnTo>
                      <a:lnTo>
                        <a:pt x="58376" y="41930"/>
                      </a:lnTo>
                      <a:lnTo>
                        <a:pt x="55687" y="42639"/>
                      </a:lnTo>
                      <a:lnTo>
                        <a:pt x="53315" y="42240"/>
                      </a:lnTo>
                      <a:lnTo>
                        <a:pt x="51262" y="40716"/>
                      </a:lnTo>
                      <a:lnTo>
                        <a:pt x="48018" y="39534"/>
                      </a:lnTo>
                      <a:lnTo>
                        <a:pt x="39673" y="38230"/>
                      </a:lnTo>
                      <a:lnTo>
                        <a:pt x="32664" y="38475"/>
                      </a:lnTo>
                      <a:lnTo>
                        <a:pt x="26910" y="39380"/>
                      </a:lnTo>
                      <a:lnTo>
                        <a:pt x="17889" y="42020"/>
                      </a:lnTo>
                      <a:lnTo>
                        <a:pt x="13912" y="43511"/>
                      </a:lnTo>
                      <a:lnTo>
                        <a:pt x="11980" y="44718"/>
                      </a:lnTo>
                      <a:lnTo>
                        <a:pt x="10831" y="45052"/>
                      </a:lnTo>
                      <a:lnTo>
                        <a:pt x="9242" y="44677"/>
                      </a:lnTo>
                      <a:lnTo>
                        <a:pt x="6104" y="44652"/>
                      </a:lnTo>
                      <a:lnTo>
                        <a:pt x="3366" y="43772"/>
                      </a:lnTo>
                      <a:lnTo>
                        <a:pt x="1149" y="43161"/>
                      </a:lnTo>
                      <a:lnTo>
                        <a:pt x="24" y="41482"/>
                      </a:lnTo>
                      <a:lnTo>
                        <a:pt x="0" y="40830"/>
                      </a:lnTo>
                      <a:lnTo>
                        <a:pt x="2918" y="36217"/>
                      </a:lnTo>
                      <a:lnTo>
                        <a:pt x="4067" y="34123"/>
                      </a:lnTo>
                      <a:lnTo>
                        <a:pt x="4409" y="32778"/>
                      </a:lnTo>
                      <a:lnTo>
                        <a:pt x="5085" y="31857"/>
                      </a:lnTo>
                      <a:lnTo>
                        <a:pt x="6821" y="30692"/>
                      </a:lnTo>
                      <a:lnTo>
                        <a:pt x="7286" y="29861"/>
                      </a:lnTo>
                      <a:lnTo>
                        <a:pt x="8133" y="29469"/>
                      </a:lnTo>
                      <a:lnTo>
                        <a:pt x="9364" y="29535"/>
                      </a:lnTo>
                      <a:lnTo>
                        <a:pt x="11687" y="27994"/>
                      </a:lnTo>
                      <a:lnTo>
                        <a:pt x="15093" y="24857"/>
                      </a:lnTo>
                      <a:lnTo>
                        <a:pt x="17685" y="22933"/>
                      </a:lnTo>
                      <a:lnTo>
                        <a:pt x="19478" y="22224"/>
                      </a:lnTo>
                      <a:lnTo>
                        <a:pt x="24327" y="21499"/>
                      </a:lnTo>
                      <a:lnTo>
                        <a:pt x="27391" y="20586"/>
                      </a:lnTo>
                      <a:lnTo>
                        <a:pt x="29584" y="20260"/>
                      </a:lnTo>
                      <a:lnTo>
                        <a:pt x="30904" y="20505"/>
                      </a:lnTo>
                      <a:lnTo>
                        <a:pt x="32941" y="20138"/>
                      </a:lnTo>
                      <a:lnTo>
                        <a:pt x="35688" y="19127"/>
                      </a:lnTo>
                      <a:lnTo>
                        <a:pt x="39371" y="18402"/>
                      </a:lnTo>
                      <a:lnTo>
                        <a:pt x="44000" y="17929"/>
                      </a:lnTo>
                      <a:lnTo>
                        <a:pt x="46951" y="17408"/>
                      </a:lnTo>
                      <a:lnTo>
                        <a:pt x="48238" y="16821"/>
                      </a:lnTo>
                      <a:lnTo>
                        <a:pt x="50781" y="16870"/>
                      </a:lnTo>
                      <a:lnTo>
                        <a:pt x="51229" y="16039"/>
                      </a:lnTo>
                      <a:lnTo>
                        <a:pt x="51897" y="15631"/>
                      </a:lnTo>
                      <a:lnTo>
                        <a:pt x="54334" y="15859"/>
                      </a:lnTo>
                      <a:lnTo>
                        <a:pt x="55182" y="16332"/>
                      </a:lnTo>
                      <a:lnTo>
                        <a:pt x="55312" y="16691"/>
                      </a:lnTo>
                      <a:lnTo>
                        <a:pt x="54717" y="16927"/>
                      </a:lnTo>
                      <a:lnTo>
                        <a:pt x="55059" y="17530"/>
                      </a:lnTo>
                      <a:lnTo>
                        <a:pt x="56331" y="18500"/>
                      </a:lnTo>
                      <a:lnTo>
                        <a:pt x="58368" y="18801"/>
                      </a:lnTo>
                      <a:lnTo>
                        <a:pt x="60756" y="18190"/>
                      </a:lnTo>
                      <a:lnTo>
                        <a:pt x="62378" y="18451"/>
                      </a:lnTo>
                      <a:lnTo>
                        <a:pt x="61962" y="18883"/>
                      </a:lnTo>
                      <a:lnTo>
                        <a:pt x="61098" y="18867"/>
                      </a:lnTo>
                      <a:lnTo>
                        <a:pt x="61001" y="19062"/>
                      </a:lnTo>
                      <a:lnTo>
                        <a:pt x="61628" y="19893"/>
                      </a:lnTo>
                      <a:lnTo>
                        <a:pt x="62174" y="19934"/>
                      </a:lnTo>
                      <a:lnTo>
                        <a:pt x="64089" y="19030"/>
                      </a:lnTo>
                      <a:lnTo>
                        <a:pt x="64212" y="19380"/>
                      </a:lnTo>
                      <a:lnTo>
                        <a:pt x="63364" y="20700"/>
                      </a:lnTo>
                      <a:lnTo>
                        <a:pt x="63641" y="21523"/>
                      </a:lnTo>
                      <a:lnTo>
                        <a:pt x="65051" y="21858"/>
                      </a:lnTo>
                      <a:lnTo>
                        <a:pt x="67447" y="21279"/>
                      </a:lnTo>
                      <a:lnTo>
                        <a:pt x="70430" y="19657"/>
                      </a:lnTo>
                      <a:lnTo>
                        <a:pt x="71799" y="19201"/>
                      </a:lnTo>
                      <a:lnTo>
                        <a:pt x="72019" y="18435"/>
                      </a:lnTo>
                      <a:lnTo>
                        <a:pt x="71033" y="18435"/>
                      </a:lnTo>
                      <a:lnTo>
                        <a:pt x="68482" y="18720"/>
                      </a:lnTo>
                      <a:lnTo>
                        <a:pt x="67757" y="19201"/>
                      </a:lnTo>
                      <a:lnTo>
                        <a:pt x="67716" y="18883"/>
                      </a:lnTo>
                      <a:lnTo>
                        <a:pt x="68213" y="17660"/>
                      </a:lnTo>
                      <a:lnTo>
                        <a:pt x="70544" y="15876"/>
                      </a:lnTo>
                      <a:lnTo>
                        <a:pt x="71579" y="14849"/>
                      </a:lnTo>
                      <a:lnTo>
                        <a:pt x="72215" y="13732"/>
                      </a:lnTo>
                      <a:lnTo>
                        <a:pt x="71538" y="13757"/>
                      </a:lnTo>
                      <a:lnTo>
                        <a:pt x="69566" y="14914"/>
                      </a:lnTo>
                      <a:lnTo>
                        <a:pt x="67806" y="15525"/>
                      </a:lnTo>
                      <a:lnTo>
                        <a:pt x="66257" y="15599"/>
                      </a:lnTo>
                      <a:lnTo>
                        <a:pt x="65899" y="14449"/>
                      </a:lnTo>
                      <a:lnTo>
                        <a:pt x="66738" y="12053"/>
                      </a:lnTo>
                      <a:lnTo>
                        <a:pt x="65947" y="11190"/>
                      </a:lnTo>
                      <a:lnTo>
                        <a:pt x="62068" y="12388"/>
                      </a:lnTo>
                      <a:lnTo>
                        <a:pt x="61612" y="12795"/>
                      </a:lnTo>
                      <a:lnTo>
                        <a:pt x="61604" y="13121"/>
                      </a:lnTo>
                      <a:lnTo>
                        <a:pt x="62036" y="13357"/>
                      </a:lnTo>
                      <a:lnTo>
                        <a:pt x="61987" y="13586"/>
                      </a:lnTo>
                      <a:lnTo>
                        <a:pt x="61465" y="13806"/>
                      </a:lnTo>
                      <a:lnTo>
                        <a:pt x="60585" y="13586"/>
                      </a:lnTo>
                      <a:lnTo>
                        <a:pt x="60593" y="13072"/>
                      </a:lnTo>
                      <a:lnTo>
                        <a:pt x="61017" y="12249"/>
                      </a:lnTo>
                      <a:lnTo>
                        <a:pt x="60552" y="11890"/>
                      </a:lnTo>
                      <a:lnTo>
                        <a:pt x="59363" y="12143"/>
                      </a:lnTo>
                      <a:lnTo>
                        <a:pt x="57749" y="12665"/>
                      </a:lnTo>
                      <a:lnTo>
                        <a:pt x="54277" y="14286"/>
                      </a:lnTo>
                      <a:lnTo>
                        <a:pt x="54310" y="13944"/>
                      </a:lnTo>
                      <a:lnTo>
                        <a:pt x="55223" y="12917"/>
                      </a:lnTo>
                      <a:lnTo>
                        <a:pt x="58931" y="11638"/>
                      </a:lnTo>
                      <a:lnTo>
                        <a:pt x="60732" y="11027"/>
                      </a:lnTo>
                      <a:lnTo>
                        <a:pt x="61873" y="11108"/>
                      </a:lnTo>
                      <a:lnTo>
                        <a:pt x="62582" y="10644"/>
                      </a:lnTo>
                      <a:lnTo>
                        <a:pt x="63217" y="10652"/>
                      </a:lnTo>
                      <a:lnTo>
                        <a:pt x="63764" y="11116"/>
                      </a:lnTo>
                      <a:lnTo>
                        <a:pt x="65141" y="10937"/>
                      </a:lnTo>
                      <a:lnTo>
                        <a:pt x="67349" y="10081"/>
                      </a:lnTo>
                      <a:lnTo>
                        <a:pt x="68295" y="10366"/>
                      </a:lnTo>
                      <a:lnTo>
                        <a:pt x="67977" y="11776"/>
                      </a:lnTo>
                      <a:lnTo>
                        <a:pt x="68547" y="11899"/>
                      </a:lnTo>
                      <a:lnTo>
                        <a:pt x="70006" y="10733"/>
                      </a:lnTo>
                      <a:lnTo>
                        <a:pt x="70952" y="10342"/>
                      </a:lnTo>
                      <a:lnTo>
                        <a:pt x="71375" y="10692"/>
                      </a:lnTo>
                      <a:lnTo>
                        <a:pt x="68278" y="12591"/>
                      </a:lnTo>
                      <a:lnTo>
                        <a:pt x="67431" y="13529"/>
                      </a:lnTo>
                      <a:lnTo>
                        <a:pt x="67260" y="14058"/>
                      </a:lnTo>
                      <a:lnTo>
                        <a:pt x="67781" y="14759"/>
                      </a:lnTo>
                      <a:lnTo>
                        <a:pt x="69012" y="14653"/>
                      </a:lnTo>
                      <a:lnTo>
                        <a:pt x="74081" y="10888"/>
                      </a:lnTo>
                      <a:lnTo>
                        <a:pt x="76542" y="9649"/>
                      </a:lnTo>
                      <a:lnTo>
                        <a:pt x="78995" y="8932"/>
                      </a:lnTo>
                      <a:lnTo>
                        <a:pt x="81432" y="8753"/>
                      </a:lnTo>
                      <a:lnTo>
                        <a:pt x="83478" y="8101"/>
                      </a:lnTo>
                      <a:lnTo>
                        <a:pt x="85140" y="6976"/>
                      </a:lnTo>
                      <a:lnTo>
                        <a:pt x="92173" y="4466"/>
                      </a:lnTo>
                      <a:lnTo>
                        <a:pt x="95042" y="2926"/>
                      </a:lnTo>
                      <a:lnTo>
                        <a:pt x="97772" y="155"/>
                      </a:lnTo>
                      <a:lnTo>
                        <a:pt x="98424" y="0"/>
                      </a:lnTo>
                      <a:lnTo>
                        <a:pt x="98905" y="302"/>
                      </a:lnTo>
                      <a:close/>
                    </a:path>
                  </a:pathLst>
                </a:custGeom>
                <a:solidFill>
                  <a:srgbClr val="FFFFFF"/>
                </a:solidFill>
                <a:ln w="8150" cap="flat">
                  <a:noFill/>
                  <a:prstDash val="solid"/>
                  <a:miter/>
                </a:ln>
              </p:spPr>
              <p:txBody>
                <a:bodyPr rtlCol="0" anchor="ctr"/>
                <a:lstStyle/>
                <a:p>
                  <a:endParaRPr lang="en-US"/>
                </a:p>
              </p:txBody>
            </p:sp>
            <p:sp>
              <p:nvSpPr>
                <p:cNvPr id="416" name="Freeform: Shape 415">
                  <a:extLst>
                    <a:ext uri="{FF2B5EF4-FFF2-40B4-BE49-F238E27FC236}">
                      <a16:creationId xmlns:a16="http://schemas.microsoft.com/office/drawing/2014/main" id="{51FB7064-0C17-49F4-B2C2-D55CB9C2EE91}"/>
                    </a:ext>
                  </a:extLst>
                </p:cNvPr>
                <p:cNvSpPr/>
                <p:nvPr/>
              </p:nvSpPr>
              <p:spPr>
                <a:xfrm>
                  <a:off x="3019557" y="2421083"/>
                  <a:ext cx="216994" cy="86020"/>
                </a:xfrm>
                <a:custGeom>
                  <a:avLst/>
                  <a:gdLst>
                    <a:gd name="connsiteX0" fmla="*/ 214444 w 216994"/>
                    <a:gd name="connsiteY0" fmla="*/ 5949 h 86020"/>
                    <a:gd name="connsiteX1" fmla="*/ 214444 w 216994"/>
                    <a:gd name="connsiteY1" fmla="*/ 5949 h 86020"/>
                    <a:gd name="connsiteX2" fmla="*/ 214444 w 216994"/>
                    <a:gd name="connsiteY2" fmla="*/ 5949 h 86020"/>
                    <a:gd name="connsiteX3" fmla="*/ 216995 w 216994"/>
                    <a:gd name="connsiteY3" fmla="*/ 6715 h 86020"/>
                    <a:gd name="connsiteX4" fmla="*/ 216783 w 216994"/>
                    <a:gd name="connsiteY4" fmla="*/ 7522 h 86020"/>
                    <a:gd name="connsiteX5" fmla="*/ 216172 w 216994"/>
                    <a:gd name="connsiteY5" fmla="*/ 8191 h 86020"/>
                    <a:gd name="connsiteX6" fmla="*/ 215161 w 216994"/>
                    <a:gd name="connsiteY6" fmla="*/ 8720 h 86020"/>
                    <a:gd name="connsiteX7" fmla="*/ 215308 w 216994"/>
                    <a:gd name="connsiteY7" fmla="*/ 9820 h 86020"/>
                    <a:gd name="connsiteX8" fmla="*/ 214827 w 216994"/>
                    <a:gd name="connsiteY8" fmla="*/ 10749 h 86020"/>
                    <a:gd name="connsiteX9" fmla="*/ 208747 w 216994"/>
                    <a:gd name="connsiteY9" fmla="*/ 14555 h 86020"/>
                    <a:gd name="connsiteX10" fmla="*/ 207737 w 216994"/>
                    <a:gd name="connsiteY10" fmla="*/ 14327 h 86020"/>
                    <a:gd name="connsiteX11" fmla="*/ 208470 w 216994"/>
                    <a:gd name="connsiteY11" fmla="*/ 12086 h 86020"/>
                    <a:gd name="connsiteX12" fmla="*/ 207533 w 216994"/>
                    <a:gd name="connsiteY12" fmla="*/ 9625 h 86020"/>
                    <a:gd name="connsiteX13" fmla="*/ 205170 w 216994"/>
                    <a:gd name="connsiteY13" fmla="*/ 8728 h 86020"/>
                    <a:gd name="connsiteX14" fmla="*/ 197851 w 216994"/>
                    <a:gd name="connsiteY14" fmla="*/ 7156 h 86020"/>
                    <a:gd name="connsiteX15" fmla="*/ 196474 w 216994"/>
                    <a:gd name="connsiteY15" fmla="*/ 6324 h 86020"/>
                    <a:gd name="connsiteX16" fmla="*/ 191568 w 216994"/>
                    <a:gd name="connsiteY16" fmla="*/ 5648 h 86020"/>
                    <a:gd name="connsiteX17" fmla="*/ 183141 w 216994"/>
                    <a:gd name="connsiteY17" fmla="*/ 5134 h 86020"/>
                    <a:gd name="connsiteX18" fmla="*/ 178561 w 216994"/>
                    <a:gd name="connsiteY18" fmla="*/ 5061 h 86020"/>
                    <a:gd name="connsiteX19" fmla="*/ 177827 w 216994"/>
                    <a:gd name="connsiteY19" fmla="*/ 5428 h 86020"/>
                    <a:gd name="connsiteX20" fmla="*/ 175227 w 216994"/>
                    <a:gd name="connsiteY20" fmla="*/ 4914 h 86020"/>
                    <a:gd name="connsiteX21" fmla="*/ 173777 w 216994"/>
                    <a:gd name="connsiteY21" fmla="*/ 5053 h 86020"/>
                    <a:gd name="connsiteX22" fmla="*/ 172799 w 216994"/>
                    <a:gd name="connsiteY22" fmla="*/ 5843 h 86020"/>
                    <a:gd name="connsiteX23" fmla="*/ 171438 w 216994"/>
                    <a:gd name="connsiteY23" fmla="*/ 7742 h 86020"/>
                    <a:gd name="connsiteX24" fmla="*/ 166198 w 216994"/>
                    <a:gd name="connsiteY24" fmla="*/ 9234 h 86020"/>
                    <a:gd name="connsiteX25" fmla="*/ 158716 w 216994"/>
                    <a:gd name="connsiteY25" fmla="*/ 11939 h 86020"/>
                    <a:gd name="connsiteX26" fmla="*/ 158089 w 216994"/>
                    <a:gd name="connsiteY26" fmla="*/ 13040 h 86020"/>
                    <a:gd name="connsiteX27" fmla="*/ 158635 w 216994"/>
                    <a:gd name="connsiteY27" fmla="*/ 13749 h 86020"/>
                    <a:gd name="connsiteX28" fmla="*/ 169449 w 216994"/>
                    <a:gd name="connsiteY28" fmla="*/ 11744 h 86020"/>
                    <a:gd name="connsiteX29" fmla="*/ 176898 w 216994"/>
                    <a:gd name="connsiteY29" fmla="*/ 11988 h 86020"/>
                    <a:gd name="connsiteX30" fmla="*/ 177444 w 216994"/>
                    <a:gd name="connsiteY30" fmla="*/ 11581 h 86020"/>
                    <a:gd name="connsiteX31" fmla="*/ 180003 w 216994"/>
                    <a:gd name="connsiteY31" fmla="*/ 10945 h 86020"/>
                    <a:gd name="connsiteX32" fmla="*/ 193572 w 216994"/>
                    <a:gd name="connsiteY32" fmla="*/ 11426 h 86020"/>
                    <a:gd name="connsiteX33" fmla="*/ 195952 w 216994"/>
                    <a:gd name="connsiteY33" fmla="*/ 11654 h 86020"/>
                    <a:gd name="connsiteX34" fmla="*/ 196775 w 216994"/>
                    <a:gd name="connsiteY34" fmla="*/ 12396 h 86020"/>
                    <a:gd name="connsiteX35" fmla="*/ 194249 w 216994"/>
                    <a:gd name="connsiteY35" fmla="*/ 14140 h 86020"/>
                    <a:gd name="connsiteX36" fmla="*/ 191225 w 216994"/>
                    <a:gd name="connsiteY36" fmla="*/ 15403 h 86020"/>
                    <a:gd name="connsiteX37" fmla="*/ 187688 w 216994"/>
                    <a:gd name="connsiteY37" fmla="*/ 16185 h 86020"/>
                    <a:gd name="connsiteX38" fmla="*/ 185561 w 216994"/>
                    <a:gd name="connsiteY38" fmla="*/ 16324 h 86020"/>
                    <a:gd name="connsiteX39" fmla="*/ 183654 w 216994"/>
                    <a:gd name="connsiteY39" fmla="*/ 15615 h 86020"/>
                    <a:gd name="connsiteX40" fmla="*/ 182008 w 216994"/>
                    <a:gd name="connsiteY40" fmla="*/ 15688 h 86020"/>
                    <a:gd name="connsiteX41" fmla="*/ 178887 w 216994"/>
                    <a:gd name="connsiteY41" fmla="*/ 16797 h 86020"/>
                    <a:gd name="connsiteX42" fmla="*/ 176450 w 216994"/>
                    <a:gd name="connsiteY42" fmla="*/ 16984 h 86020"/>
                    <a:gd name="connsiteX43" fmla="*/ 171242 w 216994"/>
                    <a:gd name="connsiteY43" fmla="*/ 16658 h 86020"/>
                    <a:gd name="connsiteX44" fmla="*/ 170851 w 216994"/>
                    <a:gd name="connsiteY44" fmla="*/ 16984 h 86020"/>
                    <a:gd name="connsiteX45" fmla="*/ 173231 w 216994"/>
                    <a:gd name="connsiteY45" fmla="*/ 17889 h 86020"/>
                    <a:gd name="connsiteX46" fmla="*/ 174144 w 216994"/>
                    <a:gd name="connsiteY46" fmla="*/ 19250 h 86020"/>
                    <a:gd name="connsiteX47" fmla="*/ 173223 w 216994"/>
                    <a:gd name="connsiteY47" fmla="*/ 21801 h 86020"/>
                    <a:gd name="connsiteX48" fmla="*/ 172709 w 216994"/>
                    <a:gd name="connsiteY48" fmla="*/ 22803 h 86020"/>
                    <a:gd name="connsiteX49" fmla="*/ 171584 w 216994"/>
                    <a:gd name="connsiteY49" fmla="*/ 23145 h 86020"/>
                    <a:gd name="connsiteX50" fmla="*/ 166613 w 216994"/>
                    <a:gd name="connsiteY50" fmla="*/ 22510 h 86020"/>
                    <a:gd name="connsiteX51" fmla="*/ 163883 w 216994"/>
                    <a:gd name="connsiteY51" fmla="*/ 23414 h 86020"/>
                    <a:gd name="connsiteX52" fmla="*/ 162897 w 216994"/>
                    <a:gd name="connsiteY52" fmla="*/ 24360 h 86020"/>
                    <a:gd name="connsiteX53" fmla="*/ 159523 w 216994"/>
                    <a:gd name="connsiteY53" fmla="*/ 26633 h 86020"/>
                    <a:gd name="connsiteX54" fmla="*/ 158080 w 216994"/>
                    <a:gd name="connsiteY54" fmla="*/ 27481 h 86020"/>
                    <a:gd name="connsiteX55" fmla="*/ 157893 w 216994"/>
                    <a:gd name="connsiteY55" fmla="*/ 28443 h 86020"/>
                    <a:gd name="connsiteX56" fmla="*/ 157754 w 216994"/>
                    <a:gd name="connsiteY56" fmla="*/ 29445 h 86020"/>
                    <a:gd name="connsiteX57" fmla="*/ 155750 w 216994"/>
                    <a:gd name="connsiteY57" fmla="*/ 31108 h 86020"/>
                    <a:gd name="connsiteX58" fmla="*/ 150819 w 216994"/>
                    <a:gd name="connsiteY58" fmla="*/ 33675 h 86020"/>
                    <a:gd name="connsiteX59" fmla="*/ 150729 w 216994"/>
                    <a:gd name="connsiteY59" fmla="*/ 34946 h 86020"/>
                    <a:gd name="connsiteX60" fmla="*/ 149654 w 216994"/>
                    <a:gd name="connsiteY60" fmla="*/ 36063 h 86020"/>
                    <a:gd name="connsiteX61" fmla="*/ 149564 w 216994"/>
                    <a:gd name="connsiteY61" fmla="*/ 36535 h 86020"/>
                    <a:gd name="connsiteX62" fmla="*/ 152751 w 216994"/>
                    <a:gd name="connsiteY62" fmla="*/ 36315 h 86020"/>
                    <a:gd name="connsiteX63" fmla="*/ 152930 w 216994"/>
                    <a:gd name="connsiteY63" fmla="*/ 36959 h 86020"/>
                    <a:gd name="connsiteX64" fmla="*/ 149996 w 216994"/>
                    <a:gd name="connsiteY64" fmla="*/ 40993 h 86020"/>
                    <a:gd name="connsiteX65" fmla="*/ 144470 w 216994"/>
                    <a:gd name="connsiteY65" fmla="*/ 44758 h 86020"/>
                    <a:gd name="connsiteX66" fmla="*/ 138358 w 216994"/>
                    <a:gd name="connsiteY66" fmla="*/ 49689 h 86020"/>
                    <a:gd name="connsiteX67" fmla="*/ 135514 w 216994"/>
                    <a:gd name="connsiteY67" fmla="*/ 53381 h 86020"/>
                    <a:gd name="connsiteX68" fmla="*/ 135424 w 216994"/>
                    <a:gd name="connsiteY68" fmla="*/ 54228 h 86020"/>
                    <a:gd name="connsiteX69" fmla="*/ 132433 w 216994"/>
                    <a:gd name="connsiteY69" fmla="*/ 56168 h 86020"/>
                    <a:gd name="connsiteX70" fmla="*/ 123819 w 216994"/>
                    <a:gd name="connsiteY70" fmla="*/ 60764 h 86020"/>
                    <a:gd name="connsiteX71" fmla="*/ 118432 w 216994"/>
                    <a:gd name="connsiteY71" fmla="*/ 62908 h 86020"/>
                    <a:gd name="connsiteX72" fmla="*/ 116541 w 216994"/>
                    <a:gd name="connsiteY72" fmla="*/ 63706 h 86020"/>
                    <a:gd name="connsiteX73" fmla="*/ 115751 w 216994"/>
                    <a:gd name="connsiteY73" fmla="*/ 63136 h 86020"/>
                    <a:gd name="connsiteX74" fmla="*/ 116028 w 216994"/>
                    <a:gd name="connsiteY74" fmla="*/ 62280 h 86020"/>
                    <a:gd name="connsiteX75" fmla="*/ 115604 w 216994"/>
                    <a:gd name="connsiteY75" fmla="*/ 61351 h 86020"/>
                    <a:gd name="connsiteX76" fmla="*/ 113542 w 216994"/>
                    <a:gd name="connsiteY76" fmla="*/ 59925 h 86020"/>
                    <a:gd name="connsiteX77" fmla="*/ 112116 w 216994"/>
                    <a:gd name="connsiteY77" fmla="*/ 60650 h 86020"/>
                    <a:gd name="connsiteX78" fmla="*/ 106892 w 216994"/>
                    <a:gd name="connsiteY78" fmla="*/ 61514 h 86020"/>
                    <a:gd name="connsiteX79" fmla="*/ 105906 w 216994"/>
                    <a:gd name="connsiteY79" fmla="*/ 62671 h 86020"/>
                    <a:gd name="connsiteX80" fmla="*/ 103013 w 216994"/>
                    <a:gd name="connsiteY80" fmla="*/ 64236 h 86020"/>
                    <a:gd name="connsiteX81" fmla="*/ 100869 w 216994"/>
                    <a:gd name="connsiteY81" fmla="*/ 65956 h 86020"/>
                    <a:gd name="connsiteX82" fmla="*/ 99011 w 216994"/>
                    <a:gd name="connsiteY82" fmla="*/ 67333 h 86020"/>
                    <a:gd name="connsiteX83" fmla="*/ 98465 w 216994"/>
                    <a:gd name="connsiteY83" fmla="*/ 68352 h 86020"/>
                    <a:gd name="connsiteX84" fmla="*/ 98318 w 216994"/>
                    <a:gd name="connsiteY84" fmla="*/ 69574 h 86020"/>
                    <a:gd name="connsiteX85" fmla="*/ 98873 w 216994"/>
                    <a:gd name="connsiteY85" fmla="*/ 70862 h 86020"/>
                    <a:gd name="connsiteX86" fmla="*/ 98636 w 216994"/>
                    <a:gd name="connsiteY86" fmla="*/ 71881 h 86020"/>
                    <a:gd name="connsiteX87" fmla="*/ 97707 w 216994"/>
                    <a:gd name="connsiteY87" fmla="*/ 72565 h 86020"/>
                    <a:gd name="connsiteX88" fmla="*/ 97813 w 216994"/>
                    <a:gd name="connsiteY88" fmla="*/ 72916 h 86020"/>
                    <a:gd name="connsiteX89" fmla="*/ 99712 w 216994"/>
                    <a:gd name="connsiteY89" fmla="*/ 73160 h 86020"/>
                    <a:gd name="connsiteX90" fmla="*/ 100071 w 216994"/>
                    <a:gd name="connsiteY90" fmla="*/ 73625 h 86020"/>
                    <a:gd name="connsiteX91" fmla="*/ 100152 w 216994"/>
                    <a:gd name="connsiteY91" fmla="*/ 75238 h 86020"/>
                    <a:gd name="connsiteX92" fmla="*/ 99305 w 216994"/>
                    <a:gd name="connsiteY92" fmla="*/ 76591 h 86020"/>
                    <a:gd name="connsiteX93" fmla="*/ 97691 w 216994"/>
                    <a:gd name="connsiteY93" fmla="*/ 78384 h 86020"/>
                    <a:gd name="connsiteX94" fmla="*/ 95140 w 216994"/>
                    <a:gd name="connsiteY94" fmla="*/ 79631 h 86020"/>
                    <a:gd name="connsiteX95" fmla="*/ 91660 w 216994"/>
                    <a:gd name="connsiteY95" fmla="*/ 80348 h 86020"/>
                    <a:gd name="connsiteX96" fmla="*/ 88848 w 216994"/>
                    <a:gd name="connsiteY96" fmla="*/ 80226 h 86020"/>
                    <a:gd name="connsiteX97" fmla="*/ 86705 w 216994"/>
                    <a:gd name="connsiteY97" fmla="*/ 79256 h 86020"/>
                    <a:gd name="connsiteX98" fmla="*/ 82606 w 216994"/>
                    <a:gd name="connsiteY98" fmla="*/ 79965 h 86020"/>
                    <a:gd name="connsiteX99" fmla="*/ 76559 w 216994"/>
                    <a:gd name="connsiteY99" fmla="*/ 82345 h 86020"/>
                    <a:gd name="connsiteX100" fmla="*/ 72965 w 216994"/>
                    <a:gd name="connsiteY100" fmla="*/ 83233 h 86020"/>
                    <a:gd name="connsiteX101" fmla="*/ 71807 w 216994"/>
                    <a:gd name="connsiteY101" fmla="*/ 82614 h 86020"/>
                    <a:gd name="connsiteX102" fmla="*/ 68336 w 216994"/>
                    <a:gd name="connsiteY102" fmla="*/ 83127 h 86020"/>
                    <a:gd name="connsiteX103" fmla="*/ 57912 w 216994"/>
                    <a:gd name="connsiteY103" fmla="*/ 85760 h 86020"/>
                    <a:gd name="connsiteX104" fmla="*/ 54432 w 216994"/>
                    <a:gd name="connsiteY104" fmla="*/ 86020 h 86020"/>
                    <a:gd name="connsiteX105" fmla="*/ 47725 w 216994"/>
                    <a:gd name="connsiteY105" fmla="*/ 85254 h 86020"/>
                    <a:gd name="connsiteX106" fmla="*/ 44424 w 216994"/>
                    <a:gd name="connsiteY106" fmla="*/ 85613 h 86020"/>
                    <a:gd name="connsiteX107" fmla="*/ 39950 w 216994"/>
                    <a:gd name="connsiteY107" fmla="*/ 84806 h 86020"/>
                    <a:gd name="connsiteX108" fmla="*/ 30830 w 216994"/>
                    <a:gd name="connsiteY108" fmla="*/ 81383 h 86020"/>
                    <a:gd name="connsiteX109" fmla="*/ 28915 w 216994"/>
                    <a:gd name="connsiteY109" fmla="*/ 79745 h 86020"/>
                    <a:gd name="connsiteX110" fmla="*/ 28280 w 216994"/>
                    <a:gd name="connsiteY110" fmla="*/ 78311 h 86020"/>
                    <a:gd name="connsiteX111" fmla="*/ 26193 w 216994"/>
                    <a:gd name="connsiteY111" fmla="*/ 78792 h 86020"/>
                    <a:gd name="connsiteX112" fmla="*/ 24897 w 216994"/>
                    <a:gd name="connsiteY112" fmla="*/ 78645 h 86020"/>
                    <a:gd name="connsiteX113" fmla="*/ 23536 w 216994"/>
                    <a:gd name="connsiteY113" fmla="*/ 77936 h 86020"/>
                    <a:gd name="connsiteX114" fmla="*/ 14360 w 216994"/>
                    <a:gd name="connsiteY114" fmla="*/ 77439 h 86020"/>
                    <a:gd name="connsiteX115" fmla="*/ 10961 w 216994"/>
                    <a:gd name="connsiteY115" fmla="*/ 76485 h 86020"/>
                    <a:gd name="connsiteX116" fmla="*/ 9674 w 216994"/>
                    <a:gd name="connsiteY116" fmla="*/ 75572 h 86020"/>
                    <a:gd name="connsiteX117" fmla="*/ 5705 w 216994"/>
                    <a:gd name="connsiteY117" fmla="*/ 71636 h 86020"/>
                    <a:gd name="connsiteX118" fmla="*/ 4042 w 216994"/>
                    <a:gd name="connsiteY118" fmla="*/ 69786 h 86020"/>
                    <a:gd name="connsiteX119" fmla="*/ 2747 w 216994"/>
                    <a:gd name="connsiteY119" fmla="*/ 69061 h 86020"/>
                    <a:gd name="connsiteX120" fmla="*/ 962 w 216994"/>
                    <a:gd name="connsiteY120" fmla="*/ 67993 h 86020"/>
                    <a:gd name="connsiteX121" fmla="*/ 0 w 216994"/>
                    <a:gd name="connsiteY121" fmla="*/ 67064 h 86020"/>
                    <a:gd name="connsiteX122" fmla="*/ 1027 w 216994"/>
                    <a:gd name="connsiteY122" fmla="*/ 67089 h 86020"/>
                    <a:gd name="connsiteX123" fmla="*/ 4841 w 216994"/>
                    <a:gd name="connsiteY123" fmla="*/ 68670 h 86020"/>
                    <a:gd name="connsiteX124" fmla="*/ 11450 w 216994"/>
                    <a:gd name="connsiteY124" fmla="*/ 71824 h 86020"/>
                    <a:gd name="connsiteX125" fmla="*/ 14906 w 216994"/>
                    <a:gd name="connsiteY125" fmla="*/ 73454 h 86020"/>
                    <a:gd name="connsiteX126" fmla="*/ 17057 w 216994"/>
                    <a:gd name="connsiteY126" fmla="*/ 72655 h 86020"/>
                    <a:gd name="connsiteX127" fmla="*/ 21662 w 216994"/>
                    <a:gd name="connsiteY127" fmla="*/ 71163 h 86020"/>
                    <a:gd name="connsiteX128" fmla="*/ 23056 w 216994"/>
                    <a:gd name="connsiteY128" fmla="*/ 70438 h 86020"/>
                    <a:gd name="connsiteX129" fmla="*/ 23365 w 216994"/>
                    <a:gd name="connsiteY129" fmla="*/ 69754 h 86020"/>
                    <a:gd name="connsiteX130" fmla="*/ 21605 w 216994"/>
                    <a:gd name="connsiteY130" fmla="*/ 67472 h 86020"/>
                    <a:gd name="connsiteX131" fmla="*/ 21923 w 216994"/>
                    <a:gd name="connsiteY131" fmla="*/ 66518 h 86020"/>
                    <a:gd name="connsiteX132" fmla="*/ 22436 w 216994"/>
                    <a:gd name="connsiteY132" fmla="*/ 66192 h 86020"/>
                    <a:gd name="connsiteX133" fmla="*/ 26642 w 216994"/>
                    <a:gd name="connsiteY133" fmla="*/ 66404 h 86020"/>
                    <a:gd name="connsiteX134" fmla="*/ 28712 w 216994"/>
                    <a:gd name="connsiteY134" fmla="*/ 67015 h 86020"/>
                    <a:gd name="connsiteX135" fmla="*/ 30211 w 216994"/>
                    <a:gd name="connsiteY135" fmla="*/ 67985 h 86020"/>
                    <a:gd name="connsiteX136" fmla="*/ 32289 w 216994"/>
                    <a:gd name="connsiteY136" fmla="*/ 68474 h 86020"/>
                    <a:gd name="connsiteX137" fmla="*/ 36454 w 216994"/>
                    <a:gd name="connsiteY137" fmla="*/ 68743 h 86020"/>
                    <a:gd name="connsiteX138" fmla="*/ 38369 w 216994"/>
                    <a:gd name="connsiteY138" fmla="*/ 70275 h 86020"/>
                    <a:gd name="connsiteX139" fmla="*/ 42615 w 216994"/>
                    <a:gd name="connsiteY139" fmla="*/ 72117 h 86020"/>
                    <a:gd name="connsiteX140" fmla="*/ 42884 w 216994"/>
                    <a:gd name="connsiteY140" fmla="*/ 71734 h 86020"/>
                    <a:gd name="connsiteX141" fmla="*/ 42493 w 216994"/>
                    <a:gd name="connsiteY141" fmla="*/ 70715 h 86020"/>
                    <a:gd name="connsiteX142" fmla="*/ 41653 w 216994"/>
                    <a:gd name="connsiteY142" fmla="*/ 70039 h 86020"/>
                    <a:gd name="connsiteX143" fmla="*/ 41849 w 216994"/>
                    <a:gd name="connsiteY143" fmla="*/ 69623 h 86020"/>
                    <a:gd name="connsiteX144" fmla="*/ 44595 w 216994"/>
                    <a:gd name="connsiteY144" fmla="*/ 68050 h 86020"/>
                    <a:gd name="connsiteX145" fmla="*/ 44897 w 216994"/>
                    <a:gd name="connsiteY145" fmla="*/ 67333 h 86020"/>
                    <a:gd name="connsiteX146" fmla="*/ 43723 w 216994"/>
                    <a:gd name="connsiteY146" fmla="*/ 66314 h 86020"/>
                    <a:gd name="connsiteX147" fmla="*/ 41091 w 216994"/>
                    <a:gd name="connsiteY147" fmla="*/ 65002 h 86020"/>
                    <a:gd name="connsiteX148" fmla="*/ 40406 w 216994"/>
                    <a:gd name="connsiteY148" fmla="*/ 64106 h 86020"/>
                    <a:gd name="connsiteX149" fmla="*/ 42452 w 216994"/>
                    <a:gd name="connsiteY149" fmla="*/ 63095 h 86020"/>
                    <a:gd name="connsiteX150" fmla="*/ 43389 w 216994"/>
                    <a:gd name="connsiteY150" fmla="*/ 62443 h 86020"/>
                    <a:gd name="connsiteX151" fmla="*/ 44318 w 216994"/>
                    <a:gd name="connsiteY151" fmla="*/ 62973 h 86020"/>
                    <a:gd name="connsiteX152" fmla="*/ 45663 w 216994"/>
                    <a:gd name="connsiteY152" fmla="*/ 62916 h 86020"/>
                    <a:gd name="connsiteX153" fmla="*/ 48377 w 216994"/>
                    <a:gd name="connsiteY153" fmla="*/ 61742 h 86020"/>
                    <a:gd name="connsiteX154" fmla="*/ 48532 w 216994"/>
                    <a:gd name="connsiteY154" fmla="*/ 61343 h 86020"/>
                    <a:gd name="connsiteX155" fmla="*/ 47709 w 216994"/>
                    <a:gd name="connsiteY155" fmla="*/ 60610 h 86020"/>
                    <a:gd name="connsiteX156" fmla="*/ 47529 w 216994"/>
                    <a:gd name="connsiteY156" fmla="*/ 60064 h 86020"/>
                    <a:gd name="connsiteX157" fmla="*/ 47684 w 216994"/>
                    <a:gd name="connsiteY157" fmla="*/ 58841 h 86020"/>
                    <a:gd name="connsiteX158" fmla="*/ 48613 w 216994"/>
                    <a:gd name="connsiteY158" fmla="*/ 56559 h 86020"/>
                    <a:gd name="connsiteX159" fmla="*/ 49330 w 216994"/>
                    <a:gd name="connsiteY159" fmla="*/ 54954 h 86020"/>
                    <a:gd name="connsiteX160" fmla="*/ 49860 w 216994"/>
                    <a:gd name="connsiteY160" fmla="*/ 53576 h 86020"/>
                    <a:gd name="connsiteX161" fmla="*/ 52020 w 216994"/>
                    <a:gd name="connsiteY161" fmla="*/ 51726 h 86020"/>
                    <a:gd name="connsiteX162" fmla="*/ 52142 w 216994"/>
                    <a:gd name="connsiteY162" fmla="*/ 50276 h 86020"/>
                    <a:gd name="connsiteX163" fmla="*/ 52354 w 216994"/>
                    <a:gd name="connsiteY163" fmla="*/ 49559 h 86020"/>
                    <a:gd name="connsiteX164" fmla="*/ 53560 w 216994"/>
                    <a:gd name="connsiteY164" fmla="*/ 48898 h 86020"/>
                    <a:gd name="connsiteX165" fmla="*/ 57798 w 216994"/>
                    <a:gd name="connsiteY165" fmla="*/ 48010 h 86020"/>
                    <a:gd name="connsiteX166" fmla="*/ 60854 w 216994"/>
                    <a:gd name="connsiteY166" fmla="*/ 48238 h 86020"/>
                    <a:gd name="connsiteX167" fmla="*/ 61278 w 216994"/>
                    <a:gd name="connsiteY167" fmla="*/ 48915 h 86020"/>
                    <a:gd name="connsiteX168" fmla="*/ 61457 w 216994"/>
                    <a:gd name="connsiteY168" fmla="*/ 49477 h 86020"/>
                    <a:gd name="connsiteX169" fmla="*/ 62142 w 216994"/>
                    <a:gd name="connsiteY169" fmla="*/ 49730 h 86020"/>
                    <a:gd name="connsiteX170" fmla="*/ 68710 w 216994"/>
                    <a:gd name="connsiteY170" fmla="*/ 48475 h 86020"/>
                    <a:gd name="connsiteX171" fmla="*/ 70006 w 216994"/>
                    <a:gd name="connsiteY171" fmla="*/ 48434 h 86020"/>
                    <a:gd name="connsiteX172" fmla="*/ 73095 w 216994"/>
                    <a:gd name="connsiteY172" fmla="*/ 46641 h 86020"/>
                    <a:gd name="connsiteX173" fmla="*/ 74904 w 216994"/>
                    <a:gd name="connsiteY173" fmla="*/ 44824 h 86020"/>
                    <a:gd name="connsiteX174" fmla="*/ 75206 w 216994"/>
                    <a:gd name="connsiteY174" fmla="*/ 44326 h 86020"/>
                    <a:gd name="connsiteX175" fmla="*/ 74823 w 216994"/>
                    <a:gd name="connsiteY175" fmla="*/ 42126 h 86020"/>
                    <a:gd name="connsiteX176" fmla="*/ 74423 w 216994"/>
                    <a:gd name="connsiteY176" fmla="*/ 41637 h 86020"/>
                    <a:gd name="connsiteX177" fmla="*/ 73013 w 216994"/>
                    <a:gd name="connsiteY177" fmla="*/ 41572 h 86020"/>
                    <a:gd name="connsiteX178" fmla="*/ 72076 w 216994"/>
                    <a:gd name="connsiteY178" fmla="*/ 40765 h 86020"/>
                    <a:gd name="connsiteX179" fmla="*/ 71612 w 216994"/>
                    <a:gd name="connsiteY179" fmla="*/ 39233 h 86020"/>
                    <a:gd name="connsiteX180" fmla="*/ 69933 w 216994"/>
                    <a:gd name="connsiteY180" fmla="*/ 37693 h 86020"/>
                    <a:gd name="connsiteX181" fmla="*/ 67602 w 216994"/>
                    <a:gd name="connsiteY181" fmla="*/ 36747 h 86020"/>
                    <a:gd name="connsiteX182" fmla="*/ 65353 w 216994"/>
                    <a:gd name="connsiteY182" fmla="*/ 34954 h 86020"/>
                    <a:gd name="connsiteX183" fmla="*/ 64847 w 216994"/>
                    <a:gd name="connsiteY183" fmla="*/ 34123 h 86020"/>
                    <a:gd name="connsiteX184" fmla="*/ 65239 w 216994"/>
                    <a:gd name="connsiteY184" fmla="*/ 33080 h 86020"/>
                    <a:gd name="connsiteX185" fmla="*/ 65198 w 216994"/>
                    <a:gd name="connsiteY185" fmla="*/ 32729 h 86020"/>
                    <a:gd name="connsiteX186" fmla="*/ 65059 w 216994"/>
                    <a:gd name="connsiteY186" fmla="*/ 31874 h 86020"/>
                    <a:gd name="connsiteX187" fmla="*/ 62036 w 216994"/>
                    <a:gd name="connsiteY187" fmla="*/ 29046 h 86020"/>
                    <a:gd name="connsiteX188" fmla="*/ 61017 w 216994"/>
                    <a:gd name="connsiteY188" fmla="*/ 28899 h 86020"/>
                    <a:gd name="connsiteX189" fmla="*/ 58980 w 216994"/>
                    <a:gd name="connsiteY189" fmla="*/ 29315 h 86020"/>
                    <a:gd name="connsiteX190" fmla="*/ 58556 w 216994"/>
                    <a:gd name="connsiteY190" fmla="*/ 28614 h 86020"/>
                    <a:gd name="connsiteX191" fmla="*/ 59746 w 216994"/>
                    <a:gd name="connsiteY191" fmla="*/ 26780 h 86020"/>
                    <a:gd name="connsiteX192" fmla="*/ 59876 w 216994"/>
                    <a:gd name="connsiteY192" fmla="*/ 25549 h 86020"/>
                    <a:gd name="connsiteX193" fmla="*/ 58955 w 216994"/>
                    <a:gd name="connsiteY193" fmla="*/ 24906 h 86020"/>
                    <a:gd name="connsiteX194" fmla="*/ 58515 w 216994"/>
                    <a:gd name="connsiteY194" fmla="*/ 23846 h 86020"/>
                    <a:gd name="connsiteX195" fmla="*/ 58564 w 216994"/>
                    <a:gd name="connsiteY195" fmla="*/ 22330 h 86020"/>
                    <a:gd name="connsiteX196" fmla="*/ 58874 w 216994"/>
                    <a:gd name="connsiteY196" fmla="*/ 21018 h 86020"/>
                    <a:gd name="connsiteX197" fmla="*/ 59444 w 216994"/>
                    <a:gd name="connsiteY197" fmla="*/ 19918 h 86020"/>
                    <a:gd name="connsiteX198" fmla="*/ 59004 w 216994"/>
                    <a:gd name="connsiteY198" fmla="*/ 19274 h 86020"/>
                    <a:gd name="connsiteX199" fmla="*/ 56991 w 216994"/>
                    <a:gd name="connsiteY199" fmla="*/ 19380 h 86020"/>
                    <a:gd name="connsiteX200" fmla="*/ 48776 w 216994"/>
                    <a:gd name="connsiteY200" fmla="*/ 19152 h 86020"/>
                    <a:gd name="connsiteX201" fmla="*/ 47415 w 216994"/>
                    <a:gd name="connsiteY201" fmla="*/ 16960 h 86020"/>
                    <a:gd name="connsiteX202" fmla="*/ 46527 w 216994"/>
                    <a:gd name="connsiteY202" fmla="*/ 15892 h 86020"/>
                    <a:gd name="connsiteX203" fmla="*/ 46103 w 216994"/>
                    <a:gd name="connsiteY203" fmla="*/ 14482 h 86020"/>
                    <a:gd name="connsiteX204" fmla="*/ 44677 w 216994"/>
                    <a:gd name="connsiteY204" fmla="*/ 13080 h 86020"/>
                    <a:gd name="connsiteX205" fmla="*/ 41572 w 216994"/>
                    <a:gd name="connsiteY205" fmla="*/ 11108 h 86020"/>
                    <a:gd name="connsiteX206" fmla="*/ 40431 w 216994"/>
                    <a:gd name="connsiteY206" fmla="*/ 9291 h 86020"/>
                    <a:gd name="connsiteX207" fmla="*/ 41262 w 216994"/>
                    <a:gd name="connsiteY207" fmla="*/ 7644 h 86020"/>
                    <a:gd name="connsiteX208" fmla="*/ 43528 w 216994"/>
                    <a:gd name="connsiteY208" fmla="*/ 7718 h 86020"/>
                    <a:gd name="connsiteX209" fmla="*/ 47244 w 216994"/>
                    <a:gd name="connsiteY209" fmla="*/ 9519 h 86020"/>
                    <a:gd name="connsiteX210" fmla="*/ 47855 w 216994"/>
                    <a:gd name="connsiteY210" fmla="*/ 10513 h 86020"/>
                    <a:gd name="connsiteX211" fmla="*/ 47464 w 216994"/>
                    <a:gd name="connsiteY211" fmla="*/ 11687 h 86020"/>
                    <a:gd name="connsiteX212" fmla="*/ 48206 w 216994"/>
                    <a:gd name="connsiteY212" fmla="*/ 12013 h 86020"/>
                    <a:gd name="connsiteX213" fmla="*/ 49510 w 216994"/>
                    <a:gd name="connsiteY213" fmla="*/ 11842 h 86020"/>
                    <a:gd name="connsiteX214" fmla="*/ 59020 w 216994"/>
                    <a:gd name="connsiteY214" fmla="*/ 14156 h 86020"/>
                    <a:gd name="connsiteX215" fmla="*/ 60088 w 216994"/>
                    <a:gd name="connsiteY215" fmla="*/ 14833 h 86020"/>
                    <a:gd name="connsiteX216" fmla="*/ 60805 w 216994"/>
                    <a:gd name="connsiteY216" fmla="*/ 15721 h 86020"/>
                    <a:gd name="connsiteX217" fmla="*/ 61180 w 216994"/>
                    <a:gd name="connsiteY217" fmla="*/ 16821 h 86020"/>
                    <a:gd name="connsiteX218" fmla="*/ 62077 w 216994"/>
                    <a:gd name="connsiteY218" fmla="*/ 17791 h 86020"/>
                    <a:gd name="connsiteX219" fmla="*/ 63503 w 216994"/>
                    <a:gd name="connsiteY219" fmla="*/ 18630 h 86020"/>
                    <a:gd name="connsiteX220" fmla="*/ 68596 w 216994"/>
                    <a:gd name="connsiteY220" fmla="*/ 19951 h 86020"/>
                    <a:gd name="connsiteX221" fmla="*/ 71872 w 216994"/>
                    <a:gd name="connsiteY221" fmla="*/ 22175 h 86020"/>
                    <a:gd name="connsiteX222" fmla="*/ 73266 w 216994"/>
                    <a:gd name="connsiteY222" fmla="*/ 23634 h 86020"/>
                    <a:gd name="connsiteX223" fmla="*/ 75458 w 216994"/>
                    <a:gd name="connsiteY223" fmla="*/ 24335 h 86020"/>
                    <a:gd name="connsiteX224" fmla="*/ 80128 w 216994"/>
                    <a:gd name="connsiteY224" fmla="*/ 23765 h 86020"/>
                    <a:gd name="connsiteX225" fmla="*/ 81726 w 216994"/>
                    <a:gd name="connsiteY225" fmla="*/ 23129 h 86020"/>
                    <a:gd name="connsiteX226" fmla="*/ 82247 w 216994"/>
                    <a:gd name="connsiteY226" fmla="*/ 22330 h 86020"/>
                    <a:gd name="connsiteX227" fmla="*/ 82989 w 216994"/>
                    <a:gd name="connsiteY227" fmla="*/ 21996 h 86020"/>
                    <a:gd name="connsiteX228" fmla="*/ 83934 w 216994"/>
                    <a:gd name="connsiteY228" fmla="*/ 22127 h 86020"/>
                    <a:gd name="connsiteX229" fmla="*/ 85336 w 216994"/>
                    <a:gd name="connsiteY229" fmla="*/ 23259 h 86020"/>
                    <a:gd name="connsiteX230" fmla="*/ 85393 w 216994"/>
                    <a:gd name="connsiteY230" fmla="*/ 23756 h 86020"/>
                    <a:gd name="connsiteX231" fmla="*/ 84847 w 216994"/>
                    <a:gd name="connsiteY231" fmla="*/ 25680 h 86020"/>
                    <a:gd name="connsiteX232" fmla="*/ 85401 w 216994"/>
                    <a:gd name="connsiteY232" fmla="*/ 26242 h 86020"/>
                    <a:gd name="connsiteX233" fmla="*/ 87129 w 216994"/>
                    <a:gd name="connsiteY233" fmla="*/ 27619 h 86020"/>
                    <a:gd name="connsiteX234" fmla="*/ 87602 w 216994"/>
                    <a:gd name="connsiteY234" fmla="*/ 27701 h 86020"/>
                    <a:gd name="connsiteX235" fmla="*/ 88857 w 216994"/>
                    <a:gd name="connsiteY235" fmla="*/ 27424 h 86020"/>
                    <a:gd name="connsiteX236" fmla="*/ 90405 w 216994"/>
                    <a:gd name="connsiteY236" fmla="*/ 28051 h 86020"/>
                    <a:gd name="connsiteX237" fmla="*/ 93640 w 216994"/>
                    <a:gd name="connsiteY237" fmla="*/ 30594 h 86020"/>
                    <a:gd name="connsiteX238" fmla="*/ 94407 w 216994"/>
                    <a:gd name="connsiteY238" fmla="*/ 31833 h 86020"/>
                    <a:gd name="connsiteX239" fmla="*/ 97023 w 216994"/>
                    <a:gd name="connsiteY239" fmla="*/ 34799 h 86020"/>
                    <a:gd name="connsiteX240" fmla="*/ 101521 w 216994"/>
                    <a:gd name="connsiteY240" fmla="*/ 38222 h 86020"/>
                    <a:gd name="connsiteX241" fmla="*/ 103542 w 216994"/>
                    <a:gd name="connsiteY241" fmla="*/ 38402 h 86020"/>
                    <a:gd name="connsiteX242" fmla="*/ 108114 w 216994"/>
                    <a:gd name="connsiteY242" fmla="*/ 38785 h 86020"/>
                    <a:gd name="connsiteX243" fmla="*/ 112955 w 216994"/>
                    <a:gd name="connsiteY243" fmla="*/ 37823 h 86020"/>
                    <a:gd name="connsiteX244" fmla="*/ 114846 w 216994"/>
                    <a:gd name="connsiteY244" fmla="*/ 38230 h 86020"/>
                    <a:gd name="connsiteX245" fmla="*/ 115661 w 216994"/>
                    <a:gd name="connsiteY245" fmla="*/ 37179 h 86020"/>
                    <a:gd name="connsiteX246" fmla="*/ 117682 w 216994"/>
                    <a:gd name="connsiteY246" fmla="*/ 35989 h 86020"/>
                    <a:gd name="connsiteX247" fmla="*/ 118106 w 216994"/>
                    <a:gd name="connsiteY247" fmla="*/ 36136 h 86020"/>
                    <a:gd name="connsiteX248" fmla="*/ 118473 w 216994"/>
                    <a:gd name="connsiteY248" fmla="*/ 37489 h 86020"/>
                    <a:gd name="connsiteX249" fmla="*/ 127462 w 216994"/>
                    <a:gd name="connsiteY249" fmla="*/ 35973 h 86020"/>
                    <a:gd name="connsiteX250" fmla="*/ 133101 w 216994"/>
                    <a:gd name="connsiteY250" fmla="*/ 33512 h 86020"/>
                    <a:gd name="connsiteX251" fmla="*/ 138545 w 216994"/>
                    <a:gd name="connsiteY251" fmla="*/ 29616 h 86020"/>
                    <a:gd name="connsiteX252" fmla="*/ 141520 w 216994"/>
                    <a:gd name="connsiteY252" fmla="*/ 27171 h 86020"/>
                    <a:gd name="connsiteX253" fmla="*/ 146051 w 216994"/>
                    <a:gd name="connsiteY253" fmla="*/ 23960 h 86020"/>
                    <a:gd name="connsiteX254" fmla="*/ 148032 w 216994"/>
                    <a:gd name="connsiteY254" fmla="*/ 21833 h 86020"/>
                    <a:gd name="connsiteX255" fmla="*/ 149450 w 216994"/>
                    <a:gd name="connsiteY255" fmla="*/ 18720 h 86020"/>
                    <a:gd name="connsiteX256" fmla="*/ 150680 w 216994"/>
                    <a:gd name="connsiteY256" fmla="*/ 16870 h 86020"/>
                    <a:gd name="connsiteX257" fmla="*/ 151724 w 216994"/>
                    <a:gd name="connsiteY257" fmla="*/ 16283 h 86020"/>
                    <a:gd name="connsiteX258" fmla="*/ 152677 w 216994"/>
                    <a:gd name="connsiteY258" fmla="*/ 14653 h 86020"/>
                    <a:gd name="connsiteX259" fmla="*/ 153533 w 216994"/>
                    <a:gd name="connsiteY259" fmla="*/ 11980 h 86020"/>
                    <a:gd name="connsiteX260" fmla="*/ 155619 w 216994"/>
                    <a:gd name="connsiteY260" fmla="*/ 9462 h 86020"/>
                    <a:gd name="connsiteX261" fmla="*/ 158944 w 216994"/>
                    <a:gd name="connsiteY261" fmla="*/ 7098 h 86020"/>
                    <a:gd name="connsiteX262" fmla="*/ 163361 w 216994"/>
                    <a:gd name="connsiteY262" fmla="*/ 4792 h 86020"/>
                    <a:gd name="connsiteX263" fmla="*/ 173492 w 216994"/>
                    <a:gd name="connsiteY263" fmla="*/ 1027 h 86020"/>
                    <a:gd name="connsiteX264" fmla="*/ 177159 w 216994"/>
                    <a:gd name="connsiteY264" fmla="*/ 293 h 86020"/>
                    <a:gd name="connsiteX265" fmla="*/ 188789 w 216994"/>
                    <a:gd name="connsiteY265" fmla="*/ 0 h 86020"/>
                    <a:gd name="connsiteX266" fmla="*/ 190598 w 216994"/>
                    <a:gd name="connsiteY266" fmla="*/ 342 h 86020"/>
                    <a:gd name="connsiteX267" fmla="*/ 192921 w 216994"/>
                    <a:gd name="connsiteY267" fmla="*/ 1149 h 86020"/>
                    <a:gd name="connsiteX268" fmla="*/ 197501 w 216994"/>
                    <a:gd name="connsiteY268" fmla="*/ 1687 h 86020"/>
                    <a:gd name="connsiteX269" fmla="*/ 199155 w 216994"/>
                    <a:gd name="connsiteY269" fmla="*/ 2339 h 86020"/>
                    <a:gd name="connsiteX270" fmla="*/ 206335 w 216994"/>
                    <a:gd name="connsiteY270" fmla="*/ 3496 h 86020"/>
                    <a:gd name="connsiteX271" fmla="*/ 210410 w 216994"/>
                    <a:gd name="connsiteY271" fmla="*/ 4336 h 86020"/>
                    <a:gd name="connsiteX272" fmla="*/ 213833 w 216994"/>
                    <a:gd name="connsiteY272" fmla="*/ 5069 h 86020"/>
                    <a:gd name="connsiteX273" fmla="*/ 214444 w 216994"/>
                    <a:gd name="connsiteY273" fmla="*/ 5949 h 86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Lst>
                  <a:rect l="l" t="t" r="r" b="b"/>
                  <a:pathLst>
                    <a:path w="216994" h="86020">
                      <a:moveTo>
                        <a:pt x="214444" y="5949"/>
                      </a:moveTo>
                      <a:lnTo>
                        <a:pt x="214444" y="5949"/>
                      </a:lnTo>
                      <a:lnTo>
                        <a:pt x="214444" y="5949"/>
                      </a:lnTo>
                      <a:lnTo>
                        <a:pt x="216995" y="6715"/>
                      </a:lnTo>
                      <a:lnTo>
                        <a:pt x="216783" y="7522"/>
                      </a:lnTo>
                      <a:lnTo>
                        <a:pt x="216172" y="8191"/>
                      </a:lnTo>
                      <a:lnTo>
                        <a:pt x="215161" y="8720"/>
                      </a:lnTo>
                      <a:lnTo>
                        <a:pt x="215308" y="9820"/>
                      </a:lnTo>
                      <a:lnTo>
                        <a:pt x="214827" y="10749"/>
                      </a:lnTo>
                      <a:lnTo>
                        <a:pt x="208747" y="14555"/>
                      </a:lnTo>
                      <a:lnTo>
                        <a:pt x="207737" y="14327"/>
                      </a:lnTo>
                      <a:lnTo>
                        <a:pt x="208470" y="12086"/>
                      </a:lnTo>
                      <a:lnTo>
                        <a:pt x="207533" y="9625"/>
                      </a:lnTo>
                      <a:lnTo>
                        <a:pt x="205170" y="8728"/>
                      </a:lnTo>
                      <a:lnTo>
                        <a:pt x="197851" y="7156"/>
                      </a:lnTo>
                      <a:lnTo>
                        <a:pt x="196474" y="6324"/>
                      </a:lnTo>
                      <a:lnTo>
                        <a:pt x="191568" y="5648"/>
                      </a:lnTo>
                      <a:lnTo>
                        <a:pt x="183141" y="5134"/>
                      </a:lnTo>
                      <a:lnTo>
                        <a:pt x="178561" y="5061"/>
                      </a:lnTo>
                      <a:lnTo>
                        <a:pt x="177827" y="5428"/>
                      </a:lnTo>
                      <a:lnTo>
                        <a:pt x="175227" y="4914"/>
                      </a:lnTo>
                      <a:lnTo>
                        <a:pt x="173777" y="5053"/>
                      </a:lnTo>
                      <a:lnTo>
                        <a:pt x="172799" y="5843"/>
                      </a:lnTo>
                      <a:lnTo>
                        <a:pt x="171438" y="7742"/>
                      </a:lnTo>
                      <a:lnTo>
                        <a:pt x="166198" y="9234"/>
                      </a:lnTo>
                      <a:lnTo>
                        <a:pt x="158716" y="11939"/>
                      </a:lnTo>
                      <a:lnTo>
                        <a:pt x="158089" y="13040"/>
                      </a:lnTo>
                      <a:lnTo>
                        <a:pt x="158635" y="13749"/>
                      </a:lnTo>
                      <a:lnTo>
                        <a:pt x="169449" y="11744"/>
                      </a:lnTo>
                      <a:lnTo>
                        <a:pt x="176898" y="11988"/>
                      </a:lnTo>
                      <a:lnTo>
                        <a:pt x="177444" y="11581"/>
                      </a:lnTo>
                      <a:lnTo>
                        <a:pt x="180003" y="10945"/>
                      </a:lnTo>
                      <a:lnTo>
                        <a:pt x="193572" y="11426"/>
                      </a:lnTo>
                      <a:lnTo>
                        <a:pt x="195952" y="11654"/>
                      </a:lnTo>
                      <a:lnTo>
                        <a:pt x="196775" y="12396"/>
                      </a:lnTo>
                      <a:lnTo>
                        <a:pt x="194249" y="14140"/>
                      </a:lnTo>
                      <a:lnTo>
                        <a:pt x="191225" y="15403"/>
                      </a:lnTo>
                      <a:lnTo>
                        <a:pt x="187688" y="16185"/>
                      </a:lnTo>
                      <a:lnTo>
                        <a:pt x="185561" y="16324"/>
                      </a:lnTo>
                      <a:lnTo>
                        <a:pt x="183654" y="15615"/>
                      </a:lnTo>
                      <a:lnTo>
                        <a:pt x="182008" y="15688"/>
                      </a:lnTo>
                      <a:lnTo>
                        <a:pt x="178887" y="16797"/>
                      </a:lnTo>
                      <a:lnTo>
                        <a:pt x="176450" y="16984"/>
                      </a:lnTo>
                      <a:lnTo>
                        <a:pt x="171242" y="16658"/>
                      </a:lnTo>
                      <a:lnTo>
                        <a:pt x="170851" y="16984"/>
                      </a:lnTo>
                      <a:lnTo>
                        <a:pt x="173231" y="17889"/>
                      </a:lnTo>
                      <a:lnTo>
                        <a:pt x="174144" y="19250"/>
                      </a:lnTo>
                      <a:lnTo>
                        <a:pt x="173223" y="21801"/>
                      </a:lnTo>
                      <a:lnTo>
                        <a:pt x="172709" y="22803"/>
                      </a:lnTo>
                      <a:lnTo>
                        <a:pt x="171584" y="23145"/>
                      </a:lnTo>
                      <a:lnTo>
                        <a:pt x="166613" y="22510"/>
                      </a:lnTo>
                      <a:lnTo>
                        <a:pt x="163883" y="23414"/>
                      </a:lnTo>
                      <a:lnTo>
                        <a:pt x="162897" y="24360"/>
                      </a:lnTo>
                      <a:lnTo>
                        <a:pt x="159523" y="26633"/>
                      </a:lnTo>
                      <a:lnTo>
                        <a:pt x="158080" y="27481"/>
                      </a:lnTo>
                      <a:lnTo>
                        <a:pt x="157893" y="28443"/>
                      </a:lnTo>
                      <a:lnTo>
                        <a:pt x="157754" y="29445"/>
                      </a:lnTo>
                      <a:lnTo>
                        <a:pt x="155750" y="31108"/>
                      </a:lnTo>
                      <a:lnTo>
                        <a:pt x="150819" y="33675"/>
                      </a:lnTo>
                      <a:lnTo>
                        <a:pt x="150729" y="34946"/>
                      </a:lnTo>
                      <a:lnTo>
                        <a:pt x="149654" y="36063"/>
                      </a:lnTo>
                      <a:lnTo>
                        <a:pt x="149564" y="36535"/>
                      </a:lnTo>
                      <a:lnTo>
                        <a:pt x="152751" y="36315"/>
                      </a:lnTo>
                      <a:lnTo>
                        <a:pt x="152930" y="36959"/>
                      </a:lnTo>
                      <a:lnTo>
                        <a:pt x="149996" y="40993"/>
                      </a:lnTo>
                      <a:lnTo>
                        <a:pt x="144470" y="44758"/>
                      </a:lnTo>
                      <a:lnTo>
                        <a:pt x="138358" y="49689"/>
                      </a:lnTo>
                      <a:lnTo>
                        <a:pt x="135514" y="53381"/>
                      </a:lnTo>
                      <a:lnTo>
                        <a:pt x="135424" y="54228"/>
                      </a:lnTo>
                      <a:lnTo>
                        <a:pt x="132433" y="56168"/>
                      </a:lnTo>
                      <a:lnTo>
                        <a:pt x="123819" y="60764"/>
                      </a:lnTo>
                      <a:lnTo>
                        <a:pt x="118432" y="62908"/>
                      </a:lnTo>
                      <a:lnTo>
                        <a:pt x="116541" y="63706"/>
                      </a:lnTo>
                      <a:lnTo>
                        <a:pt x="115751" y="63136"/>
                      </a:lnTo>
                      <a:lnTo>
                        <a:pt x="116028" y="62280"/>
                      </a:lnTo>
                      <a:lnTo>
                        <a:pt x="115604" y="61351"/>
                      </a:lnTo>
                      <a:lnTo>
                        <a:pt x="113542" y="59925"/>
                      </a:lnTo>
                      <a:lnTo>
                        <a:pt x="112116" y="60650"/>
                      </a:lnTo>
                      <a:lnTo>
                        <a:pt x="106892" y="61514"/>
                      </a:lnTo>
                      <a:lnTo>
                        <a:pt x="105906" y="62671"/>
                      </a:lnTo>
                      <a:lnTo>
                        <a:pt x="103013" y="64236"/>
                      </a:lnTo>
                      <a:lnTo>
                        <a:pt x="100869" y="65956"/>
                      </a:lnTo>
                      <a:lnTo>
                        <a:pt x="99011" y="67333"/>
                      </a:lnTo>
                      <a:lnTo>
                        <a:pt x="98465" y="68352"/>
                      </a:lnTo>
                      <a:lnTo>
                        <a:pt x="98318" y="69574"/>
                      </a:lnTo>
                      <a:lnTo>
                        <a:pt x="98873" y="70862"/>
                      </a:lnTo>
                      <a:lnTo>
                        <a:pt x="98636" y="71881"/>
                      </a:lnTo>
                      <a:lnTo>
                        <a:pt x="97707" y="72565"/>
                      </a:lnTo>
                      <a:lnTo>
                        <a:pt x="97813" y="72916"/>
                      </a:lnTo>
                      <a:lnTo>
                        <a:pt x="99712" y="73160"/>
                      </a:lnTo>
                      <a:lnTo>
                        <a:pt x="100071" y="73625"/>
                      </a:lnTo>
                      <a:lnTo>
                        <a:pt x="100152" y="75238"/>
                      </a:lnTo>
                      <a:lnTo>
                        <a:pt x="99305" y="76591"/>
                      </a:lnTo>
                      <a:lnTo>
                        <a:pt x="97691" y="78384"/>
                      </a:lnTo>
                      <a:lnTo>
                        <a:pt x="95140" y="79631"/>
                      </a:lnTo>
                      <a:lnTo>
                        <a:pt x="91660" y="80348"/>
                      </a:lnTo>
                      <a:lnTo>
                        <a:pt x="88848" y="80226"/>
                      </a:lnTo>
                      <a:lnTo>
                        <a:pt x="86705" y="79256"/>
                      </a:lnTo>
                      <a:lnTo>
                        <a:pt x="82606" y="79965"/>
                      </a:lnTo>
                      <a:lnTo>
                        <a:pt x="76559" y="82345"/>
                      </a:lnTo>
                      <a:lnTo>
                        <a:pt x="72965" y="83233"/>
                      </a:lnTo>
                      <a:lnTo>
                        <a:pt x="71807" y="82614"/>
                      </a:lnTo>
                      <a:lnTo>
                        <a:pt x="68336" y="83127"/>
                      </a:lnTo>
                      <a:lnTo>
                        <a:pt x="57912" y="85760"/>
                      </a:lnTo>
                      <a:lnTo>
                        <a:pt x="54432" y="86020"/>
                      </a:lnTo>
                      <a:lnTo>
                        <a:pt x="47725" y="85254"/>
                      </a:lnTo>
                      <a:lnTo>
                        <a:pt x="44424" y="85613"/>
                      </a:lnTo>
                      <a:lnTo>
                        <a:pt x="39950" y="84806"/>
                      </a:lnTo>
                      <a:lnTo>
                        <a:pt x="30830" y="81383"/>
                      </a:lnTo>
                      <a:lnTo>
                        <a:pt x="28915" y="79745"/>
                      </a:lnTo>
                      <a:lnTo>
                        <a:pt x="28280" y="78311"/>
                      </a:lnTo>
                      <a:lnTo>
                        <a:pt x="26193" y="78792"/>
                      </a:lnTo>
                      <a:lnTo>
                        <a:pt x="24897" y="78645"/>
                      </a:lnTo>
                      <a:lnTo>
                        <a:pt x="23536" y="77936"/>
                      </a:lnTo>
                      <a:lnTo>
                        <a:pt x="14360" y="77439"/>
                      </a:lnTo>
                      <a:lnTo>
                        <a:pt x="10961" y="76485"/>
                      </a:lnTo>
                      <a:lnTo>
                        <a:pt x="9674" y="75572"/>
                      </a:lnTo>
                      <a:lnTo>
                        <a:pt x="5705" y="71636"/>
                      </a:lnTo>
                      <a:lnTo>
                        <a:pt x="4042" y="69786"/>
                      </a:lnTo>
                      <a:lnTo>
                        <a:pt x="2747" y="69061"/>
                      </a:lnTo>
                      <a:lnTo>
                        <a:pt x="962" y="67993"/>
                      </a:lnTo>
                      <a:lnTo>
                        <a:pt x="0" y="67064"/>
                      </a:lnTo>
                      <a:lnTo>
                        <a:pt x="1027" y="67089"/>
                      </a:lnTo>
                      <a:lnTo>
                        <a:pt x="4841" y="68670"/>
                      </a:lnTo>
                      <a:lnTo>
                        <a:pt x="11450" y="71824"/>
                      </a:lnTo>
                      <a:lnTo>
                        <a:pt x="14906" y="73454"/>
                      </a:lnTo>
                      <a:lnTo>
                        <a:pt x="17057" y="72655"/>
                      </a:lnTo>
                      <a:lnTo>
                        <a:pt x="21662" y="71163"/>
                      </a:lnTo>
                      <a:lnTo>
                        <a:pt x="23056" y="70438"/>
                      </a:lnTo>
                      <a:lnTo>
                        <a:pt x="23365" y="69754"/>
                      </a:lnTo>
                      <a:lnTo>
                        <a:pt x="21605" y="67472"/>
                      </a:lnTo>
                      <a:lnTo>
                        <a:pt x="21923" y="66518"/>
                      </a:lnTo>
                      <a:lnTo>
                        <a:pt x="22436" y="66192"/>
                      </a:lnTo>
                      <a:lnTo>
                        <a:pt x="26642" y="66404"/>
                      </a:lnTo>
                      <a:lnTo>
                        <a:pt x="28712" y="67015"/>
                      </a:lnTo>
                      <a:lnTo>
                        <a:pt x="30211" y="67985"/>
                      </a:lnTo>
                      <a:lnTo>
                        <a:pt x="32289" y="68474"/>
                      </a:lnTo>
                      <a:lnTo>
                        <a:pt x="36454" y="68743"/>
                      </a:lnTo>
                      <a:lnTo>
                        <a:pt x="38369" y="70275"/>
                      </a:lnTo>
                      <a:lnTo>
                        <a:pt x="42615" y="72117"/>
                      </a:lnTo>
                      <a:lnTo>
                        <a:pt x="42884" y="71734"/>
                      </a:lnTo>
                      <a:lnTo>
                        <a:pt x="42493" y="70715"/>
                      </a:lnTo>
                      <a:lnTo>
                        <a:pt x="41653" y="70039"/>
                      </a:lnTo>
                      <a:lnTo>
                        <a:pt x="41849" y="69623"/>
                      </a:lnTo>
                      <a:lnTo>
                        <a:pt x="44595" y="68050"/>
                      </a:lnTo>
                      <a:lnTo>
                        <a:pt x="44897" y="67333"/>
                      </a:lnTo>
                      <a:lnTo>
                        <a:pt x="43723" y="66314"/>
                      </a:lnTo>
                      <a:lnTo>
                        <a:pt x="41091" y="65002"/>
                      </a:lnTo>
                      <a:lnTo>
                        <a:pt x="40406" y="64106"/>
                      </a:lnTo>
                      <a:lnTo>
                        <a:pt x="42452" y="63095"/>
                      </a:lnTo>
                      <a:lnTo>
                        <a:pt x="43389" y="62443"/>
                      </a:lnTo>
                      <a:lnTo>
                        <a:pt x="44318" y="62973"/>
                      </a:lnTo>
                      <a:lnTo>
                        <a:pt x="45663" y="62916"/>
                      </a:lnTo>
                      <a:lnTo>
                        <a:pt x="48377" y="61742"/>
                      </a:lnTo>
                      <a:lnTo>
                        <a:pt x="48532" y="61343"/>
                      </a:lnTo>
                      <a:lnTo>
                        <a:pt x="47709" y="60610"/>
                      </a:lnTo>
                      <a:lnTo>
                        <a:pt x="47529" y="60064"/>
                      </a:lnTo>
                      <a:lnTo>
                        <a:pt x="47684" y="58841"/>
                      </a:lnTo>
                      <a:lnTo>
                        <a:pt x="48613" y="56559"/>
                      </a:lnTo>
                      <a:lnTo>
                        <a:pt x="49330" y="54954"/>
                      </a:lnTo>
                      <a:lnTo>
                        <a:pt x="49860" y="53576"/>
                      </a:lnTo>
                      <a:lnTo>
                        <a:pt x="52020" y="51726"/>
                      </a:lnTo>
                      <a:lnTo>
                        <a:pt x="52142" y="50276"/>
                      </a:lnTo>
                      <a:lnTo>
                        <a:pt x="52354" y="49559"/>
                      </a:lnTo>
                      <a:lnTo>
                        <a:pt x="53560" y="48898"/>
                      </a:lnTo>
                      <a:lnTo>
                        <a:pt x="57798" y="48010"/>
                      </a:lnTo>
                      <a:lnTo>
                        <a:pt x="60854" y="48238"/>
                      </a:lnTo>
                      <a:lnTo>
                        <a:pt x="61278" y="48915"/>
                      </a:lnTo>
                      <a:lnTo>
                        <a:pt x="61457" y="49477"/>
                      </a:lnTo>
                      <a:lnTo>
                        <a:pt x="62142" y="49730"/>
                      </a:lnTo>
                      <a:lnTo>
                        <a:pt x="68710" y="48475"/>
                      </a:lnTo>
                      <a:lnTo>
                        <a:pt x="70006" y="48434"/>
                      </a:lnTo>
                      <a:lnTo>
                        <a:pt x="73095" y="46641"/>
                      </a:lnTo>
                      <a:lnTo>
                        <a:pt x="74904" y="44824"/>
                      </a:lnTo>
                      <a:lnTo>
                        <a:pt x="75206" y="44326"/>
                      </a:lnTo>
                      <a:lnTo>
                        <a:pt x="74823" y="42126"/>
                      </a:lnTo>
                      <a:lnTo>
                        <a:pt x="74423" y="41637"/>
                      </a:lnTo>
                      <a:lnTo>
                        <a:pt x="73013" y="41572"/>
                      </a:lnTo>
                      <a:lnTo>
                        <a:pt x="72076" y="40765"/>
                      </a:lnTo>
                      <a:lnTo>
                        <a:pt x="71612" y="39233"/>
                      </a:lnTo>
                      <a:lnTo>
                        <a:pt x="69933" y="37693"/>
                      </a:lnTo>
                      <a:lnTo>
                        <a:pt x="67602" y="36747"/>
                      </a:lnTo>
                      <a:lnTo>
                        <a:pt x="65353" y="34954"/>
                      </a:lnTo>
                      <a:lnTo>
                        <a:pt x="64847" y="34123"/>
                      </a:lnTo>
                      <a:lnTo>
                        <a:pt x="65239" y="33080"/>
                      </a:lnTo>
                      <a:lnTo>
                        <a:pt x="65198" y="32729"/>
                      </a:lnTo>
                      <a:lnTo>
                        <a:pt x="65059" y="31874"/>
                      </a:lnTo>
                      <a:lnTo>
                        <a:pt x="62036" y="29046"/>
                      </a:lnTo>
                      <a:lnTo>
                        <a:pt x="61017" y="28899"/>
                      </a:lnTo>
                      <a:lnTo>
                        <a:pt x="58980" y="29315"/>
                      </a:lnTo>
                      <a:lnTo>
                        <a:pt x="58556" y="28614"/>
                      </a:lnTo>
                      <a:lnTo>
                        <a:pt x="59746" y="26780"/>
                      </a:lnTo>
                      <a:lnTo>
                        <a:pt x="59876" y="25549"/>
                      </a:lnTo>
                      <a:lnTo>
                        <a:pt x="58955" y="24906"/>
                      </a:lnTo>
                      <a:lnTo>
                        <a:pt x="58515" y="23846"/>
                      </a:lnTo>
                      <a:lnTo>
                        <a:pt x="58564" y="22330"/>
                      </a:lnTo>
                      <a:lnTo>
                        <a:pt x="58874" y="21018"/>
                      </a:lnTo>
                      <a:lnTo>
                        <a:pt x="59444" y="19918"/>
                      </a:lnTo>
                      <a:lnTo>
                        <a:pt x="59004" y="19274"/>
                      </a:lnTo>
                      <a:lnTo>
                        <a:pt x="56991" y="19380"/>
                      </a:lnTo>
                      <a:lnTo>
                        <a:pt x="48776" y="19152"/>
                      </a:lnTo>
                      <a:lnTo>
                        <a:pt x="47415" y="16960"/>
                      </a:lnTo>
                      <a:lnTo>
                        <a:pt x="46527" y="15892"/>
                      </a:lnTo>
                      <a:lnTo>
                        <a:pt x="46103" y="14482"/>
                      </a:lnTo>
                      <a:lnTo>
                        <a:pt x="44677" y="13080"/>
                      </a:lnTo>
                      <a:lnTo>
                        <a:pt x="41572" y="11108"/>
                      </a:lnTo>
                      <a:lnTo>
                        <a:pt x="40431" y="9291"/>
                      </a:lnTo>
                      <a:lnTo>
                        <a:pt x="41262" y="7644"/>
                      </a:lnTo>
                      <a:lnTo>
                        <a:pt x="43528" y="7718"/>
                      </a:lnTo>
                      <a:lnTo>
                        <a:pt x="47244" y="9519"/>
                      </a:lnTo>
                      <a:lnTo>
                        <a:pt x="47855" y="10513"/>
                      </a:lnTo>
                      <a:lnTo>
                        <a:pt x="47464" y="11687"/>
                      </a:lnTo>
                      <a:lnTo>
                        <a:pt x="48206" y="12013"/>
                      </a:lnTo>
                      <a:lnTo>
                        <a:pt x="49510" y="11842"/>
                      </a:lnTo>
                      <a:lnTo>
                        <a:pt x="59020" y="14156"/>
                      </a:lnTo>
                      <a:lnTo>
                        <a:pt x="60088" y="14833"/>
                      </a:lnTo>
                      <a:lnTo>
                        <a:pt x="60805" y="15721"/>
                      </a:lnTo>
                      <a:lnTo>
                        <a:pt x="61180" y="16821"/>
                      </a:lnTo>
                      <a:lnTo>
                        <a:pt x="62077" y="17791"/>
                      </a:lnTo>
                      <a:lnTo>
                        <a:pt x="63503" y="18630"/>
                      </a:lnTo>
                      <a:lnTo>
                        <a:pt x="68596" y="19951"/>
                      </a:lnTo>
                      <a:lnTo>
                        <a:pt x="71872" y="22175"/>
                      </a:lnTo>
                      <a:lnTo>
                        <a:pt x="73266" y="23634"/>
                      </a:lnTo>
                      <a:lnTo>
                        <a:pt x="75458" y="24335"/>
                      </a:lnTo>
                      <a:lnTo>
                        <a:pt x="80128" y="23765"/>
                      </a:lnTo>
                      <a:lnTo>
                        <a:pt x="81726" y="23129"/>
                      </a:lnTo>
                      <a:lnTo>
                        <a:pt x="82247" y="22330"/>
                      </a:lnTo>
                      <a:lnTo>
                        <a:pt x="82989" y="21996"/>
                      </a:lnTo>
                      <a:lnTo>
                        <a:pt x="83934" y="22127"/>
                      </a:lnTo>
                      <a:lnTo>
                        <a:pt x="85336" y="23259"/>
                      </a:lnTo>
                      <a:lnTo>
                        <a:pt x="85393" y="23756"/>
                      </a:lnTo>
                      <a:lnTo>
                        <a:pt x="84847" y="25680"/>
                      </a:lnTo>
                      <a:lnTo>
                        <a:pt x="85401" y="26242"/>
                      </a:lnTo>
                      <a:lnTo>
                        <a:pt x="87129" y="27619"/>
                      </a:lnTo>
                      <a:lnTo>
                        <a:pt x="87602" y="27701"/>
                      </a:lnTo>
                      <a:lnTo>
                        <a:pt x="88857" y="27424"/>
                      </a:lnTo>
                      <a:lnTo>
                        <a:pt x="90405" y="28051"/>
                      </a:lnTo>
                      <a:lnTo>
                        <a:pt x="93640" y="30594"/>
                      </a:lnTo>
                      <a:lnTo>
                        <a:pt x="94407" y="31833"/>
                      </a:lnTo>
                      <a:lnTo>
                        <a:pt x="97023" y="34799"/>
                      </a:lnTo>
                      <a:lnTo>
                        <a:pt x="101521" y="38222"/>
                      </a:lnTo>
                      <a:lnTo>
                        <a:pt x="103542" y="38402"/>
                      </a:lnTo>
                      <a:lnTo>
                        <a:pt x="108114" y="38785"/>
                      </a:lnTo>
                      <a:lnTo>
                        <a:pt x="112955" y="37823"/>
                      </a:lnTo>
                      <a:lnTo>
                        <a:pt x="114846" y="38230"/>
                      </a:lnTo>
                      <a:lnTo>
                        <a:pt x="115661" y="37179"/>
                      </a:lnTo>
                      <a:lnTo>
                        <a:pt x="117682" y="35989"/>
                      </a:lnTo>
                      <a:lnTo>
                        <a:pt x="118106" y="36136"/>
                      </a:lnTo>
                      <a:lnTo>
                        <a:pt x="118473" y="37489"/>
                      </a:lnTo>
                      <a:lnTo>
                        <a:pt x="127462" y="35973"/>
                      </a:lnTo>
                      <a:lnTo>
                        <a:pt x="133101" y="33512"/>
                      </a:lnTo>
                      <a:lnTo>
                        <a:pt x="138545" y="29616"/>
                      </a:lnTo>
                      <a:lnTo>
                        <a:pt x="141520" y="27171"/>
                      </a:lnTo>
                      <a:lnTo>
                        <a:pt x="146051" y="23960"/>
                      </a:lnTo>
                      <a:lnTo>
                        <a:pt x="148032" y="21833"/>
                      </a:lnTo>
                      <a:lnTo>
                        <a:pt x="149450" y="18720"/>
                      </a:lnTo>
                      <a:lnTo>
                        <a:pt x="150680" y="16870"/>
                      </a:lnTo>
                      <a:lnTo>
                        <a:pt x="151724" y="16283"/>
                      </a:lnTo>
                      <a:lnTo>
                        <a:pt x="152677" y="14653"/>
                      </a:lnTo>
                      <a:lnTo>
                        <a:pt x="153533" y="11980"/>
                      </a:lnTo>
                      <a:lnTo>
                        <a:pt x="155619" y="9462"/>
                      </a:lnTo>
                      <a:lnTo>
                        <a:pt x="158944" y="7098"/>
                      </a:lnTo>
                      <a:lnTo>
                        <a:pt x="163361" y="4792"/>
                      </a:lnTo>
                      <a:lnTo>
                        <a:pt x="173492" y="1027"/>
                      </a:lnTo>
                      <a:lnTo>
                        <a:pt x="177159" y="293"/>
                      </a:lnTo>
                      <a:lnTo>
                        <a:pt x="188789" y="0"/>
                      </a:lnTo>
                      <a:lnTo>
                        <a:pt x="190598" y="342"/>
                      </a:lnTo>
                      <a:lnTo>
                        <a:pt x="192921" y="1149"/>
                      </a:lnTo>
                      <a:lnTo>
                        <a:pt x="197501" y="1687"/>
                      </a:lnTo>
                      <a:lnTo>
                        <a:pt x="199155" y="2339"/>
                      </a:lnTo>
                      <a:lnTo>
                        <a:pt x="206335" y="3496"/>
                      </a:lnTo>
                      <a:lnTo>
                        <a:pt x="210410" y="4336"/>
                      </a:lnTo>
                      <a:lnTo>
                        <a:pt x="213833" y="5069"/>
                      </a:lnTo>
                      <a:lnTo>
                        <a:pt x="214444" y="5949"/>
                      </a:lnTo>
                      <a:close/>
                    </a:path>
                  </a:pathLst>
                </a:custGeom>
                <a:solidFill>
                  <a:srgbClr val="FFFFFF"/>
                </a:solidFill>
                <a:ln w="8150" cap="flat">
                  <a:noFill/>
                  <a:prstDash val="solid"/>
                  <a:miter/>
                </a:ln>
              </p:spPr>
              <p:txBody>
                <a:bodyPr rtlCol="0" anchor="ctr"/>
                <a:lstStyle/>
                <a:p>
                  <a:endParaRPr lang="en-US"/>
                </a:p>
              </p:txBody>
            </p:sp>
            <p:sp>
              <p:nvSpPr>
                <p:cNvPr id="417" name="Freeform: Shape 416">
                  <a:extLst>
                    <a:ext uri="{FF2B5EF4-FFF2-40B4-BE49-F238E27FC236}">
                      <a16:creationId xmlns:a16="http://schemas.microsoft.com/office/drawing/2014/main" id="{2ECEFECC-5832-4BFF-A309-5457F1A211C4}"/>
                    </a:ext>
                  </a:extLst>
                </p:cNvPr>
                <p:cNvSpPr/>
                <p:nvPr/>
              </p:nvSpPr>
              <p:spPr>
                <a:xfrm>
                  <a:off x="3476610" y="2757814"/>
                  <a:ext cx="73217" cy="149319"/>
                </a:xfrm>
                <a:custGeom>
                  <a:avLst/>
                  <a:gdLst>
                    <a:gd name="connsiteX0" fmla="*/ 71123 w 73217"/>
                    <a:gd name="connsiteY0" fmla="*/ 137184 h 149319"/>
                    <a:gd name="connsiteX1" fmla="*/ 71123 w 73217"/>
                    <a:gd name="connsiteY1" fmla="*/ 137184 h 149319"/>
                    <a:gd name="connsiteX2" fmla="*/ 71465 w 73217"/>
                    <a:gd name="connsiteY2" fmla="*/ 138586 h 149319"/>
                    <a:gd name="connsiteX3" fmla="*/ 73054 w 73217"/>
                    <a:gd name="connsiteY3" fmla="*/ 141047 h 149319"/>
                    <a:gd name="connsiteX4" fmla="*/ 70642 w 73217"/>
                    <a:gd name="connsiteY4" fmla="*/ 140876 h 149319"/>
                    <a:gd name="connsiteX5" fmla="*/ 69150 w 73217"/>
                    <a:gd name="connsiteY5" fmla="*/ 139882 h 149319"/>
                    <a:gd name="connsiteX6" fmla="*/ 66926 w 73217"/>
                    <a:gd name="connsiteY6" fmla="*/ 137233 h 149319"/>
                    <a:gd name="connsiteX7" fmla="*/ 66314 w 73217"/>
                    <a:gd name="connsiteY7" fmla="*/ 138431 h 149319"/>
                    <a:gd name="connsiteX8" fmla="*/ 65785 w 73217"/>
                    <a:gd name="connsiteY8" fmla="*/ 139597 h 149319"/>
                    <a:gd name="connsiteX9" fmla="*/ 65614 w 73217"/>
                    <a:gd name="connsiteY9" fmla="*/ 141952 h 149319"/>
                    <a:gd name="connsiteX10" fmla="*/ 65288 w 73217"/>
                    <a:gd name="connsiteY10" fmla="*/ 143680 h 149319"/>
                    <a:gd name="connsiteX11" fmla="*/ 66062 w 73217"/>
                    <a:gd name="connsiteY11" fmla="*/ 146760 h 149319"/>
                    <a:gd name="connsiteX12" fmla="*/ 65581 w 73217"/>
                    <a:gd name="connsiteY12" fmla="*/ 147714 h 149319"/>
                    <a:gd name="connsiteX13" fmla="*/ 63413 w 73217"/>
                    <a:gd name="connsiteY13" fmla="*/ 149319 h 149319"/>
                    <a:gd name="connsiteX14" fmla="*/ 61473 w 73217"/>
                    <a:gd name="connsiteY14" fmla="*/ 149319 h 149319"/>
                    <a:gd name="connsiteX15" fmla="*/ 58890 w 73217"/>
                    <a:gd name="connsiteY15" fmla="*/ 148570 h 149319"/>
                    <a:gd name="connsiteX16" fmla="*/ 57276 w 73217"/>
                    <a:gd name="connsiteY16" fmla="*/ 147005 h 149319"/>
                    <a:gd name="connsiteX17" fmla="*/ 56502 w 73217"/>
                    <a:gd name="connsiteY17" fmla="*/ 143028 h 149319"/>
                    <a:gd name="connsiteX18" fmla="*/ 56135 w 73217"/>
                    <a:gd name="connsiteY18" fmla="*/ 140322 h 149319"/>
                    <a:gd name="connsiteX19" fmla="*/ 55964 w 73217"/>
                    <a:gd name="connsiteY19" fmla="*/ 138880 h 149319"/>
                    <a:gd name="connsiteX20" fmla="*/ 56641 w 73217"/>
                    <a:gd name="connsiteY20" fmla="*/ 134682 h 149319"/>
                    <a:gd name="connsiteX21" fmla="*/ 56698 w 73217"/>
                    <a:gd name="connsiteY21" fmla="*/ 132979 h 149319"/>
                    <a:gd name="connsiteX22" fmla="*/ 56372 w 73217"/>
                    <a:gd name="connsiteY22" fmla="*/ 129915 h 149319"/>
                    <a:gd name="connsiteX23" fmla="*/ 57073 w 73217"/>
                    <a:gd name="connsiteY23" fmla="*/ 125033 h 149319"/>
                    <a:gd name="connsiteX24" fmla="*/ 57366 w 73217"/>
                    <a:gd name="connsiteY24" fmla="*/ 124218 h 149319"/>
                    <a:gd name="connsiteX25" fmla="*/ 59493 w 73217"/>
                    <a:gd name="connsiteY25" fmla="*/ 122531 h 149319"/>
                    <a:gd name="connsiteX26" fmla="*/ 59697 w 73217"/>
                    <a:gd name="connsiteY26" fmla="*/ 121455 h 149319"/>
                    <a:gd name="connsiteX27" fmla="*/ 61139 w 73217"/>
                    <a:gd name="connsiteY27" fmla="*/ 119108 h 149319"/>
                    <a:gd name="connsiteX28" fmla="*/ 63169 w 73217"/>
                    <a:gd name="connsiteY28" fmla="*/ 117845 h 149319"/>
                    <a:gd name="connsiteX29" fmla="*/ 64807 w 73217"/>
                    <a:gd name="connsiteY29" fmla="*/ 115302 h 149319"/>
                    <a:gd name="connsiteX30" fmla="*/ 64701 w 73217"/>
                    <a:gd name="connsiteY30" fmla="*/ 114618 h 149319"/>
                    <a:gd name="connsiteX31" fmla="*/ 62802 w 73217"/>
                    <a:gd name="connsiteY31" fmla="*/ 113860 h 149319"/>
                    <a:gd name="connsiteX32" fmla="*/ 62362 w 73217"/>
                    <a:gd name="connsiteY32" fmla="*/ 113778 h 149319"/>
                    <a:gd name="connsiteX33" fmla="*/ 57822 w 73217"/>
                    <a:gd name="connsiteY33" fmla="*/ 119687 h 149319"/>
                    <a:gd name="connsiteX34" fmla="*/ 57097 w 73217"/>
                    <a:gd name="connsiteY34" fmla="*/ 120160 h 149319"/>
                    <a:gd name="connsiteX35" fmla="*/ 56054 w 73217"/>
                    <a:gd name="connsiteY35" fmla="*/ 119744 h 149319"/>
                    <a:gd name="connsiteX36" fmla="*/ 56005 w 73217"/>
                    <a:gd name="connsiteY36" fmla="*/ 118033 h 149319"/>
                    <a:gd name="connsiteX37" fmla="*/ 57692 w 73217"/>
                    <a:gd name="connsiteY37" fmla="*/ 115058 h 149319"/>
                    <a:gd name="connsiteX38" fmla="*/ 61946 w 73217"/>
                    <a:gd name="connsiteY38" fmla="*/ 106835 h 149319"/>
                    <a:gd name="connsiteX39" fmla="*/ 62085 w 73217"/>
                    <a:gd name="connsiteY39" fmla="*/ 105392 h 149319"/>
                    <a:gd name="connsiteX40" fmla="*/ 61742 w 73217"/>
                    <a:gd name="connsiteY40" fmla="*/ 104700 h 149319"/>
                    <a:gd name="connsiteX41" fmla="*/ 60895 w 73217"/>
                    <a:gd name="connsiteY41" fmla="*/ 104732 h 149319"/>
                    <a:gd name="connsiteX42" fmla="*/ 60593 w 73217"/>
                    <a:gd name="connsiteY42" fmla="*/ 104202 h 149319"/>
                    <a:gd name="connsiteX43" fmla="*/ 60096 w 73217"/>
                    <a:gd name="connsiteY43" fmla="*/ 102336 h 149319"/>
                    <a:gd name="connsiteX44" fmla="*/ 59860 w 73217"/>
                    <a:gd name="connsiteY44" fmla="*/ 101081 h 149319"/>
                    <a:gd name="connsiteX45" fmla="*/ 59420 w 73217"/>
                    <a:gd name="connsiteY45" fmla="*/ 100649 h 149319"/>
                    <a:gd name="connsiteX46" fmla="*/ 58507 w 73217"/>
                    <a:gd name="connsiteY46" fmla="*/ 100568 h 149319"/>
                    <a:gd name="connsiteX47" fmla="*/ 53935 w 73217"/>
                    <a:gd name="connsiteY47" fmla="*/ 102760 h 149319"/>
                    <a:gd name="connsiteX48" fmla="*/ 52908 w 73217"/>
                    <a:gd name="connsiteY48" fmla="*/ 103608 h 149319"/>
                    <a:gd name="connsiteX49" fmla="*/ 52387 w 73217"/>
                    <a:gd name="connsiteY49" fmla="*/ 104887 h 149319"/>
                    <a:gd name="connsiteX50" fmla="*/ 52452 w 73217"/>
                    <a:gd name="connsiteY50" fmla="*/ 107519 h 149319"/>
                    <a:gd name="connsiteX51" fmla="*/ 52044 w 73217"/>
                    <a:gd name="connsiteY51" fmla="*/ 108783 h 149319"/>
                    <a:gd name="connsiteX52" fmla="*/ 50080 w 73217"/>
                    <a:gd name="connsiteY52" fmla="*/ 110698 h 149319"/>
                    <a:gd name="connsiteX53" fmla="*/ 49273 w 73217"/>
                    <a:gd name="connsiteY53" fmla="*/ 110942 h 149319"/>
                    <a:gd name="connsiteX54" fmla="*/ 48695 w 73217"/>
                    <a:gd name="connsiteY54" fmla="*/ 109174 h 149319"/>
                    <a:gd name="connsiteX55" fmla="*/ 48352 w 73217"/>
                    <a:gd name="connsiteY55" fmla="*/ 105409 h 149319"/>
                    <a:gd name="connsiteX56" fmla="*/ 48654 w 73217"/>
                    <a:gd name="connsiteY56" fmla="*/ 102018 h 149319"/>
                    <a:gd name="connsiteX57" fmla="*/ 49583 w 73217"/>
                    <a:gd name="connsiteY57" fmla="*/ 99011 h 149319"/>
                    <a:gd name="connsiteX58" fmla="*/ 49338 w 73217"/>
                    <a:gd name="connsiteY58" fmla="*/ 95360 h 149319"/>
                    <a:gd name="connsiteX59" fmla="*/ 47920 w 73217"/>
                    <a:gd name="connsiteY59" fmla="*/ 91057 h 149319"/>
                    <a:gd name="connsiteX60" fmla="*/ 46690 w 73217"/>
                    <a:gd name="connsiteY60" fmla="*/ 88889 h 149319"/>
                    <a:gd name="connsiteX61" fmla="*/ 44481 w 73217"/>
                    <a:gd name="connsiteY61" fmla="*/ 89354 h 149319"/>
                    <a:gd name="connsiteX62" fmla="*/ 43234 w 73217"/>
                    <a:gd name="connsiteY62" fmla="*/ 90340 h 149319"/>
                    <a:gd name="connsiteX63" fmla="*/ 41890 w 73217"/>
                    <a:gd name="connsiteY63" fmla="*/ 93160 h 149319"/>
                    <a:gd name="connsiteX64" fmla="*/ 41319 w 73217"/>
                    <a:gd name="connsiteY64" fmla="*/ 93184 h 149319"/>
                    <a:gd name="connsiteX65" fmla="*/ 40651 w 73217"/>
                    <a:gd name="connsiteY65" fmla="*/ 90821 h 149319"/>
                    <a:gd name="connsiteX66" fmla="*/ 42493 w 73217"/>
                    <a:gd name="connsiteY66" fmla="*/ 88090 h 149319"/>
                    <a:gd name="connsiteX67" fmla="*/ 43259 w 73217"/>
                    <a:gd name="connsiteY67" fmla="*/ 86371 h 149319"/>
                    <a:gd name="connsiteX68" fmla="*/ 43218 w 73217"/>
                    <a:gd name="connsiteY68" fmla="*/ 85442 h 149319"/>
                    <a:gd name="connsiteX69" fmla="*/ 42362 w 73217"/>
                    <a:gd name="connsiteY69" fmla="*/ 85303 h 149319"/>
                    <a:gd name="connsiteX70" fmla="*/ 38671 w 73217"/>
                    <a:gd name="connsiteY70" fmla="*/ 85262 h 149319"/>
                    <a:gd name="connsiteX71" fmla="*/ 37114 w 73217"/>
                    <a:gd name="connsiteY71" fmla="*/ 85344 h 149319"/>
                    <a:gd name="connsiteX72" fmla="*/ 36332 w 73217"/>
                    <a:gd name="connsiteY72" fmla="*/ 86322 h 149319"/>
                    <a:gd name="connsiteX73" fmla="*/ 37456 w 73217"/>
                    <a:gd name="connsiteY73" fmla="*/ 87096 h 149319"/>
                    <a:gd name="connsiteX74" fmla="*/ 37285 w 73217"/>
                    <a:gd name="connsiteY74" fmla="*/ 88694 h 149319"/>
                    <a:gd name="connsiteX75" fmla="*/ 35883 w 73217"/>
                    <a:gd name="connsiteY75" fmla="*/ 93534 h 149319"/>
                    <a:gd name="connsiteX76" fmla="*/ 35109 w 73217"/>
                    <a:gd name="connsiteY76" fmla="*/ 94463 h 149319"/>
                    <a:gd name="connsiteX77" fmla="*/ 31654 w 73217"/>
                    <a:gd name="connsiteY77" fmla="*/ 93062 h 149319"/>
                    <a:gd name="connsiteX78" fmla="*/ 29828 w 73217"/>
                    <a:gd name="connsiteY78" fmla="*/ 91057 h 149319"/>
                    <a:gd name="connsiteX79" fmla="*/ 29624 w 73217"/>
                    <a:gd name="connsiteY79" fmla="*/ 88441 h 149319"/>
                    <a:gd name="connsiteX80" fmla="*/ 28972 w 73217"/>
                    <a:gd name="connsiteY80" fmla="*/ 86664 h 149319"/>
                    <a:gd name="connsiteX81" fmla="*/ 27277 w 73217"/>
                    <a:gd name="connsiteY81" fmla="*/ 84325 h 149319"/>
                    <a:gd name="connsiteX82" fmla="*/ 27187 w 73217"/>
                    <a:gd name="connsiteY82" fmla="*/ 82540 h 149319"/>
                    <a:gd name="connsiteX83" fmla="*/ 26071 w 73217"/>
                    <a:gd name="connsiteY83" fmla="*/ 79957 h 149319"/>
                    <a:gd name="connsiteX84" fmla="*/ 20097 w 73217"/>
                    <a:gd name="connsiteY84" fmla="*/ 76192 h 149319"/>
                    <a:gd name="connsiteX85" fmla="*/ 19478 w 73217"/>
                    <a:gd name="connsiteY85" fmla="*/ 74920 h 149319"/>
                    <a:gd name="connsiteX86" fmla="*/ 19095 w 73217"/>
                    <a:gd name="connsiteY86" fmla="*/ 72304 h 149319"/>
                    <a:gd name="connsiteX87" fmla="*/ 17017 w 73217"/>
                    <a:gd name="connsiteY87" fmla="*/ 69688 h 149319"/>
                    <a:gd name="connsiteX88" fmla="*/ 10676 w 73217"/>
                    <a:gd name="connsiteY88" fmla="*/ 63405 h 149319"/>
                    <a:gd name="connsiteX89" fmla="*/ 10244 w 73217"/>
                    <a:gd name="connsiteY89" fmla="*/ 61848 h 149319"/>
                    <a:gd name="connsiteX90" fmla="*/ 10399 w 73217"/>
                    <a:gd name="connsiteY90" fmla="*/ 61237 h 149319"/>
                    <a:gd name="connsiteX91" fmla="*/ 8525 w 73217"/>
                    <a:gd name="connsiteY91" fmla="*/ 58507 h 149319"/>
                    <a:gd name="connsiteX92" fmla="*/ 8329 w 73217"/>
                    <a:gd name="connsiteY92" fmla="*/ 56853 h 149319"/>
                    <a:gd name="connsiteX93" fmla="*/ 8549 w 73217"/>
                    <a:gd name="connsiteY93" fmla="*/ 56290 h 149319"/>
                    <a:gd name="connsiteX94" fmla="*/ 11589 w 73217"/>
                    <a:gd name="connsiteY94" fmla="*/ 54456 h 149319"/>
                    <a:gd name="connsiteX95" fmla="*/ 18313 w 73217"/>
                    <a:gd name="connsiteY95" fmla="*/ 52468 h 149319"/>
                    <a:gd name="connsiteX96" fmla="*/ 19348 w 73217"/>
                    <a:gd name="connsiteY96" fmla="*/ 51506 h 149319"/>
                    <a:gd name="connsiteX97" fmla="*/ 17734 w 73217"/>
                    <a:gd name="connsiteY97" fmla="*/ 50699 h 149319"/>
                    <a:gd name="connsiteX98" fmla="*/ 13488 w 73217"/>
                    <a:gd name="connsiteY98" fmla="*/ 50047 h 149319"/>
                    <a:gd name="connsiteX99" fmla="*/ 11018 w 73217"/>
                    <a:gd name="connsiteY99" fmla="*/ 50276 h 149319"/>
                    <a:gd name="connsiteX100" fmla="*/ 8354 w 73217"/>
                    <a:gd name="connsiteY100" fmla="*/ 50871 h 149319"/>
                    <a:gd name="connsiteX101" fmla="*/ 6194 w 73217"/>
                    <a:gd name="connsiteY101" fmla="*/ 51343 h 149319"/>
                    <a:gd name="connsiteX102" fmla="*/ 4711 w 73217"/>
                    <a:gd name="connsiteY102" fmla="*/ 50414 h 149319"/>
                    <a:gd name="connsiteX103" fmla="*/ 1328 w 73217"/>
                    <a:gd name="connsiteY103" fmla="*/ 46584 h 149319"/>
                    <a:gd name="connsiteX104" fmla="*/ 261 w 73217"/>
                    <a:gd name="connsiteY104" fmla="*/ 46209 h 149319"/>
                    <a:gd name="connsiteX105" fmla="*/ 0 w 73217"/>
                    <a:gd name="connsiteY105" fmla="*/ 45288 h 149319"/>
                    <a:gd name="connsiteX106" fmla="*/ 954 w 73217"/>
                    <a:gd name="connsiteY106" fmla="*/ 39926 h 149319"/>
                    <a:gd name="connsiteX107" fmla="*/ 3839 w 73217"/>
                    <a:gd name="connsiteY107" fmla="*/ 35150 h 149319"/>
                    <a:gd name="connsiteX108" fmla="*/ 4898 w 73217"/>
                    <a:gd name="connsiteY108" fmla="*/ 32265 h 149319"/>
                    <a:gd name="connsiteX109" fmla="*/ 6096 w 73217"/>
                    <a:gd name="connsiteY109" fmla="*/ 27766 h 149319"/>
                    <a:gd name="connsiteX110" fmla="*/ 6381 w 73217"/>
                    <a:gd name="connsiteY110" fmla="*/ 26201 h 149319"/>
                    <a:gd name="connsiteX111" fmla="*/ 5925 w 73217"/>
                    <a:gd name="connsiteY111" fmla="*/ 24873 h 149319"/>
                    <a:gd name="connsiteX112" fmla="*/ 7710 w 73217"/>
                    <a:gd name="connsiteY112" fmla="*/ 20586 h 149319"/>
                    <a:gd name="connsiteX113" fmla="*/ 10644 w 73217"/>
                    <a:gd name="connsiteY113" fmla="*/ 19470 h 149319"/>
                    <a:gd name="connsiteX114" fmla="*/ 12624 w 73217"/>
                    <a:gd name="connsiteY114" fmla="*/ 20228 h 149319"/>
                    <a:gd name="connsiteX115" fmla="*/ 15542 w 73217"/>
                    <a:gd name="connsiteY115" fmla="*/ 21515 h 149319"/>
                    <a:gd name="connsiteX116" fmla="*/ 19453 w 73217"/>
                    <a:gd name="connsiteY116" fmla="*/ 21149 h 149319"/>
                    <a:gd name="connsiteX117" fmla="*/ 23333 w 73217"/>
                    <a:gd name="connsiteY117" fmla="*/ 21833 h 149319"/>
                    <a:gd name="connsiteX118" fmla="*/ 30537 w 73217"/>
                    <a:gd name="connsiteY118" fmla="*/ 26511 h 149319"/>
                    <a:gd name="connsiteX119" fmla="*/ 31662 w 73217"/>
                    <a:gd name="connsiteY119" fmla="*/ 27065 h 149319"/>
                    <a:gd name="connsiteX120" fmla="*/ 33006 w 73217"/>
                    <a:gd name="connsiteY120" fmla="*/ 26878 h 149319"/>
                    <a:gd name="connsiteX121" fmla="*/ 33251 w 73217"/>
                    <a:gd name="connsiteY121" fmla="*/ 25443 h 149319"/>
                    <a:gd name="connsiteX122" fmla="*/ 28883 w 73217"/>
                    <a:gd name="connsiteY122" fmla="*/ 22273 h 149319"/>
                    <a:gd name="connsiteX123" fmla="*/ 25696 w 73217"/>
                    <a:gd name="connsiteY123" fmla="*/ 20334 h 149319"/>
                    <a:gd name="connsiteX124" fmla="*/ 24286 w 73217"/>
                    <a:gd name="connsiteY124" fmla="*/ 18891 h 149319"/>
                    <a:gd name="connsiteX125" fmla="*/ 23341 w 73217"/>
                    <a:gd name="connsiteY125" fmla="*/ 16886 h 149319"/>
                    <a:gd name="connsiteX126" fmla="*/ 23390 w 73217"/>
                    <a:gd name="connsiteY126" fmla="*/ 14914 h 149319"/>
                    <a:gd name="connsiteX127" fmla="*/ 24457 w 73217"/>
                    <a:gd name="connsiteY127" fmla="*/ 12974 h 149319"/>
                    <a:gd name="connsiteX128" fmla="*/ 26446 w 73217"/>
                    <a:gd name="connsiteY128" fmla="*/ 7351 h 149319"/>
                    <a:gd name="connsiteX129" fmla="*/ 30236 w 73217"/>
                    <a:gd name="connsiteY129" fmla="*/ 98 h 149319"/>
                    <a:gd name="connsiteX130" fmla="*/ 30692 w 73217"/>
                    <a:gd name="connsiteY130" fmla="*/ 0 h 149319"/>
                    <a:gd name="connsiteX131" fmla="*/ 32436 w 73217"/>
                    <a:gd name="connsiteY131" fmla="*/ 1426 h 149319"/>
                    <a:gd name="connsiteX132" fmla="*/ 32436 w 73217"/>
                    <a:gd name="connsiteY132" fmla="*/ 2274 h 149319"/>
                    <a:gd name="connsiteX133" fmla="*/ 31010 w 73217"/>
                    <a:gd name="connsiteY133" fmla="*/ 3447 h 149319"/>
                    <a:gd name="connsiteX134" fmla="*/ 31181 w 73217"/>
                    <a:gd name="connsiteY134" fmla="*/ 3659 h 149319"/>
                    <a:gd name="connsiteX135" fmla="*/ 34628 w 73217"/>
                    <a:gd name="connsiteY135" fmla="*/ 3627 h 149319"/>
                    <a:gd name="connsiteX136" fmla="*/ 35199 w 73217"/>
                    <a:gd name="connsiteY136" fmla="*/ 4254 h 149319"/>
                    <a:gd name="connsiteX137" fmla="*/ 34115 w 73217"/>
                    <a:gd name="connsiteY137" fmla="*/ 5574 h 149319"/>
                    <a:gd name="connsiteX138" fmla="*/ 28679 w 73217"/>
                    <a:gd name="connsiteY138" fmla="*/ 7970 h 149319"/>
                    <a:gd name="connsiteX139" fmla="*/ 26495 w 73217"/>
                    <a:gd name="connsiteY139" fmla="*/ 12608 h 149319"/>
                    <a:gd name="connsiteX140" fmla="*/ 25468 w 73217"/>
                    <a:gd name="connsiteY140" fmla="*/ 14645 h 149319"/>
                    <a:gd name="connsiteX141" fmla="*/ 25981 w 73217"/>
                    <a:gd name="connsiteY141" fmla="*/ 15843 h 149319"/>
                    <a:gd name="connsiteX142" fmla="*/ 29233 w 73217"/>
                    <a:gd name="connsiteY142" fmla="*/ 18215 h 149319"/>
                    <a:gd name="connsiteX143" fmla="*/ 29608 w 73217"/>
                    <a:gd name="connsiteY143" fmla="*/ 17881 h 149319"/>
                    <a:gd name="connsiteX144" fmla="*/ 29934 w 73217"/>
                    <a:gd name="connsiteY144" fmla="*/ 16462 h 149319"/>
                    <a:gd name="connsiteX145" fmla="*/ 30725 w 73217"/>
                    <a:gd name="connsiteY145" fmla="*/ 15533 h 149319"/>
                    <a:gd name="connsiteX146" fmla="*/ 32232 w 73217"/>
                    <a:gd name="connsiteY146" fmla="*/ 14515 h 149319"/>
                    <a:gd name="connsiteX147" fmla="*/ 35435 w 73217"/>
                    <a:gd name="connsiteY147" fmla="*/ 14026 h 149319"/>
                    <a:gd name="connsiteX148" fmla="*/ 37350 w 73217"/>
                    <a:gd name="connsiteY148" fmla="*/ 12542 h 149319"/>
                    <a:gd name="connsiteX149" fmla="*/ 37489 w 73217"/>
                    <a:gd name="connsiteY149" fmla="*/ 13317 h 149319"/>
                    <a:gd name="connsiteX150" fmla="*/ 36666 w 73217"/>
                    <a:gd name="connsiteY150" fmla="*/ 15093 h 149319"/>
                    <a:gd name="connsiteX151" fmla="*/ 31458 w 73217"/>
                    <a:gd name="connsiteY151" fmla="*/ 16365 h 149319"/>
                    <a:gd name="connsiteX152" fmla="*/ 31319 w 73217"/>
                    <a:gd name="connsiteY152" fmla="*/ 16748 h 149319"/>
                    <a:gd name="connsiteX153" fmla="*/ 32306 w 73217"/>
                    <a:gd name="connsiteY153" fmla="*/ 19730 h 149319"/>
                    <a:gd name="connsiteX154" fmla="*/ 34922 w 73217"/>
                    <a:gd name="connsiteY154" fmla="*/ 25558 h 149319"/>
                    <a:gd name="connsiteX155" fmla="*/ 35231 w 73217"/>
                    <a:gd name="connsiteY155" fmla="*/ 27098 h 149319"/>
                    <a:gd name="connsiteX156" fmla="*/ 35020 w 73217"/>
                    <a:gd name="connsiteY156" fmla="*/ 29103 h 149319"/>
                    <a:gd name="connsiteX157" fmla="*/ 35949 w 73217"/>
                    <a:gd name="connsiteY157" fmla="*/ 31352 h 149319"/>
                    <a:gd name="connsiteX158" fmla="*/ 38027 w 73217"/>
                    <a:gd name="connsiteY158" fmla="*/ 33862 h 149319"/>
                    <a:gd name="connsiteX159" fmla="*/ 39388 w 73217"/>
                    <a:gd name="connsiteY159" fmla="*/ 38149 h 149319"/>
                    <a:gd name="connsiteX160" fmla="*/ 41132 w 73217"/>
                    <a:gd name="connsiteY160" fmla="*/ 42248 h 149319"/>
                    <a:gd name="connsiteX161" fmla="*/ 43789 w 73217"/>
                    <a:gd name="connsiteY161" fmla="*/ 45622 h 149319"/>
                    <a:gd name="connsiteX162" fmla="*/ 44734 w 73217"/>
                    <a:gd name="connsiteY162" fmla="*/ 48703 h 149319"/>
                    <a:gd name="connsiteX163" fmla="*/ 46837 w 73217"/>
                    <a:gd name="connsiteY163" fmla="*/ 52158 h 149319"/>
                    <a:gd name="connsiteX164" fmla="*/ 46959 w 73217"/>
                    <a:gd name="connsiteY164" fmla="*/ 52916 h 149319"/>
                    <a:gd name="connsiteX165" fmla="*/ 46242 w 73217"/>
                    <a:gd name="connsiteY165" fmla="*/ 53878 h 149319"/>
                    <a:gd name="connsiteX166" fmla="*/ 45052 w 73217"/>
                    <a:gd name="connsiteY166" fmla="*/ 54465 h 149319"/>
                    <a:gd name="connsiteX167" fmla="*/ 45696 w 73217"/>
                    <a:gd name="connsiteY167" fmla="*/ 57676 h 149319"/>
                    <a:gd name="connsiteX168" fmla="*/ 47317 w 73217"/>
                    <a:gd name="connsiteY168" fmla="*/ 61221 h 149319"/>
                    <a:gd name="connsiteX169" fmla="*/ 50667 w 73217"/>
                    <a:gd name="connsiteY169" fmla="*/ 65361 h 149319"/>
                    <a:gd name="connsiteX170" fmla="*/ 52794 w 73217"/>
                    <a:gd name="connsiteY170" fmla="*/ 72639 h 149319"/>
                    <a:gd name="connsiteX171" fmla="*/ 53813 w 73217"/>
                    <a:gd name="connsiteY171" fmla="*/ 75059 h 149319"/>
                    <a:gd name="connsiteX172" fmla="*/ 55508 w 73217"/>
                    <a:gd name="connsiteY172" fmla="*/ 80381 h 149319"/>
                    <a:gd name="connsiteX173" fmla="*/ 55402 w 73217"/>
                    <a:gd name="connsiteY173" fmla="*/ 80837 h 149319"/>
                    <a:gd name="connsiteX174" fmla="*/ 55109 w 73217"/>
                    <a:gd name="connsiteY174" fmla="*/ 82793 h 149319"/>
                    <a:gd name="connsiteX175" fmla="*/ 55915 w 73217"/>
                    <a:gd name="connsiteY175" fmla="*/ 85434 h 149319"/>
                    <a:gd name="connsiteX176" fmla="*/ 56616 w 73217"/>
                    <a:gd name="connsiteY176" fmla="*/ 87528 h 149319"/>
                    <a:gd name="connsiteX177" fmla="*/ 59069 w 73217"/>
                    <a:gd name="connsiteY177" fmla="*/ 90641 h 149319"/>
                    <a:gd name="connsiteX178" fmla="*/ 59664 w 73217"/>
                    <a:gd name="connsiteY178" fmla="*/ 92516 h 149319"/>
                    <a:gd name="connsiteX179" fmla="*/ 59200 w 73217"/>
                    <a:gd name="connsiteY179" fmla="*/ 94374 h 149319"/>
                    <a:gd name="connsiteX180" fmla="*/ 59436 w 73217"/>
                    <a:gd name="connsiteY180" fmla="*/ 95319 h 149319"/>
                    <a:gd name="connsiteX181" fmla="*/ 61294 w 73217"/>
                    <a:gd name="connsiteY181" fmla="*/ 95751 h 149319"/>
                    <a:gd name="connsiteX182" fmla="*/ 62843 w 73217"/>
                    <a:gd name="connsiteY182" fmla="*/ 97234 h 149319"/>
                    <a:gd name="connsiteX183" fmla="*/ 63275 w 73217"/>
                    <a:gd name="connsiteY183" fmla="*/ 98131 h 149319"/>
                    <a:gd name="connsiteX184" fmla="*/ 62851 w 73217"/>
                    <a:gd name="connsiteY184" fmla="*/ 98767 h 149319"/>
                    <a:gd name="connsiteX185" fmla="*/ 61588 w 73217"/>
                    <a:gd name="connsiteY185" fmla="*/ 99150 h 149319"/>
                    <a:gd name="connsiteX186" fmla="*/ 62451 w 73217"/>
                    <a:gd name="connsiteY186" fmla="*/ 101334 h 149319"/>
                    <a:gd name="connsiteX187" fmla="*/ 65451 w 73217"/>
                    <a:gd name="connsiteY187" fmla="*/ 105311 h 149319"/>
                    <a:gd name="connsiteX188" fmla="*/ 66706 w 73217"/>
                    <a:gd name="connsiteY188" fmla="*/ 107739 h 149319"/>
                    <a:gd name="connsiteX189" fmla="*/ 66820 w 73217"/>
                    <a:gd name="connsiteY189" fmla="*/ 109752 h 149319"/>
                    <a:gd name="connsiteX190" fmla="*/ 68083 w 73217"/>
                    <a:gd name="connsiteY190" fmla="*/ 112067 h 149319"/>
                    <a:gd name="connsiteX191" fmla="*/ 71824 w 73217"/>
                    <a:gd name="connsiteY191" fmla="*/ 115905 h 149319"/>
                    <a:gd name="connsiteX192" fmla="*/ 73160 w 73217"/>
                    <a:gd name="connsiteY192" fmla="*/ 118033 h 149319"/>
                    <a:gd name="connsiteX193" fmla="*/ 73217 w 73217"/>
                    <a:gd name="connsiteY193" fmla="*/ 119622 h 149319"/>
                    <a:gd name="connsiteX194" fmla="*/ 71995 w 73217"/>
                    <a:gd name="connsiteY194" fmla="*/ 120689 h 149319"/>
                    <a:gd name="connsiteX195" fmla="*/ 71718 w 73217"/>
                    <a:gd name="connsiteY195" fmla="*/ 121659 h 149319"/>
                    <a:gd name="connsiteX196" fmla="*/ 70585 w 73217"/>
                    <a:gd name="connsiteY196" fmla="*/ 124055 h 149319"/>
                    <a:gd name="connsiteX197" fmla="*/ 70381 w 73217"/>
                    <a:gd name="connsiteY197" fmla="*/ 126533 h 149319"/>
                    <a:gd name="connsiteX198" fmla="*/ 71245 w 73217"/>
                    <a:gd name="connsiteY198" fmla="*/ 132506 h 149319"/>
                    <a:gd name="connsiteX199" fmla="*/ 71498 w 73217"/>
                    <a:gd name="connsiteY199" fmla="*/ 136060 h 149319"/>
                    <a:gd name="connsiteX200" fmla="*/ 71123 w 73217"/>
                    <a:gd name="connsiteY200" fmla="*/ 137184 h 149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73217" h="149319">
                      <a:moveTo>
                        <a:pt x="71123" y="137184"/>
                      </a:moveTo>
                      <a:lnTo>
                        <a:pt x="71123" y="137184"/>
                      </a:lnTo>
                      <a:lnTo>
                        <a:pt x="71465" y="138586"/>
                      </a:lnTo>
                      <a:lnTo>
                        <a:pt x="73054" y="141047"/>
                      </a:lnTo>
                      <a:lnTo>
                        <a:pt x="70642" y="140876"/>
                      </a:lnTo>
                      <a:lnTo>
                        <a:pt x="69150" y="139882"/>
                      </a:lnTo>
                      <a:lnTo>
                        <a:pt x="66926" y="137233"/>
                      </a:lnTo>
                      <a:lnTo>
                        <a:pt x="66314" y="138431"/>
                      </a:lnTo>
                      <a:lnTo>
                        <a:pt x="65785" y="139597"/>
                      </a:lnTo>
                      <a:lnTo>
                        <a:pt x="65614" y="141952"/>
                      </a:lnTo>
                      <a:lnTo>
                        <a:pt x="65288" y="143680"/>
                      </a:lnTo>
                      <a:lnTo>
                        <a:pt x="66062" y="146760"/>
                      </a:lnTo>
                      <a:lnTo>
                        <a:pt x="65581" y="147714"/>
                      </a:lnTo>
                      <a:lnTo>
                        <a:pt x="63413" y="149319"/>
                      </a:lnTo>
                      <a:lnTo>
                        <a:pt x="61473" y="149319"/>
                      </a:lnTo>
                      <a:lnTo>
                        <a:pt x="58890" y="148570"/>
                      </a:lnTo>
                      <a:lnTo>
                        <a:pt x="57276" y="147005"/>
                      </a:lnTo>
                      <a:lnTo>
                        <a:pt x="56502" y="143028"/>
                      </a:lnTo>
                      <a:lnTo>
                        <a:pt x="56135" y="140322"/>
                      </a:lnTo>
                      <a:lnTo>
                        <a:pt x="55964" y="138880"/>
                      </a:lnTo>
                      <a:lnTo>
                        <a:pt x="56641" y="134682"/>
                      </a:lnTo>
                      <a:lnTo>
                        <a:pt x="56698" y="132979"/>
                      </a:lnTo>
                      <a:lnTo>
                        <a:pt x="56372" y="129915"/>
                      </a:lnTo>
                      <a:lnTo>
                        <a:pt x="57073" y="125033"/>
                      </a:lnTo>
                      <a:lnTo>
                        <a:pt x="57366" y="124218"/>
                      </a:lnTo>
                      <a:lnTo>
                        <a:pt x="59493" y="122531"/>
                      </a:lnTo>
                      <a:lnTo>
                        <a:pt x="59697" y="121455"/>
                      </a:lnTo>
                      <a:lnTo>
                        <a:pt x="61139" y="119108"/>
                      </a:lnTo>
                      <a:lnTo>
                        <a:pt x="63169" y="117845"/>
                      </a:lnTo>
                      <a:lnTo>
                        <a:pt x="64807" y="115302"/>
                      </a:lnTo>
                      <a:lnTo>
                        <a:pt x="64701" y="114618"/>
                      </a:lnTo>
                      <a:lnTo>
                        <a:pt x="62802" y="113860"/>
                      </a:lnTo>
                      <a:lnTo>
                        <a:pt x="62362" y="113778"/>
                      </a:lnTo>
                      <a:lnTo>
                        <a:pt x="57822" y="119687"/>
                      </a:lnTo>
                      <a:lnTo>
                        <a:pt x="57097" y="120160"/>
                      </a:lnTo>
                      <a:lnTo>
                        <a:pt x="56054" y="119744"/>
                      </a:lnTo>
                      <a:lnTo>
                        <a:pt x="56005" y="118033"/>
                      </a:lnTo>
                      <a:lnTo>
                        <a:pt x="57692" y="115058"/>
                      </a:lnTo>
                      <a:lnTo>
                        <a:pt x="61946" y="106835"/>
                      </a:lnTo>
                      <a:lnTo>
                        <a:pt x="62085" y="105392"/>
                      </a:lnTo>
                      <a:lnTo>
                        <a:pt x="61742" y="104700"/>
                      </a:lnTo>
                      <a:lnTo>
                        <a:pt x="60895" y="104732"/>
                      </a:lnTo>
                      <a:lnTo>
                        <a:pt x="60593" y="104202"/>
                      </a:lnTo>
                      <a:lnTo>
                        <a:pt x="60096" y="102336"/>
                      </a:lnTo>
                      <a:lnTo>
                        <a:pt x="59860" y="101081"/>
                      </a:lnTo>
                      <a:lnTo>
                        <a:pt x="59420" y="100649"/>
                      </a:lnTo>
                      <a:lnTo>
                        <a:pt x="58507" y="100568"/>
                      </a:lnTo>
                      <a:lnTo>
                        <a:pt x="53935" y="102760"/>
                      </a:lnTo>
                      <a:lnTo>
                        <a:pt x="52908" y="103608"/>
                      </a:lnTo>
                      <a:lnTo>
                        <a:pt x="52387" y="104887"/>
                      </a:lnTo>
                      <a:lnTo>
                        <a:pt x="52452" y="107519"/>
                      </a:lnTo>
                      <a:lnTo>
                        <a:pt x="52044" y="108783"/>
                      </a:lnTo>
                      <a:lnTo>
                        <a:pt x="50080" y="110698"/>
                      </a:lnTo>
                      <a:lnTo>
                        <a:pt x="49273" y="110942"/>
                      </a:lnTo>
                      <a:lnTo>
                        <a:pt x="48695" y="109174"/>
                      </a:lnTo>
                      <a:lnTo>
                        <a:pt x="48352" y="105409"/>
                      </a:lnTo>
                      <a:lnTo>
                        <a:pt x="48654" y="102018"/>
                      </a:lnTo>
                      <a:lnTo>
                        <a:pt x="49583" y="99011"/>
                      </a:lnTo>
                      <a:lnTo>
                        <a:pt x="49338" y="95360"/>
                      </a:lnTo>
                      <a:lnTo>
                        <a:pt x="47920" y="91057"/>
                      </a:lnTo>
                      <a:lnTo>
                        <a:pt x="46690" y="88889"/>
                      </a:lnTo>
                      <a:lnTo>
                        <a:pt x="44481" y="89354"/>
                      </a:lnTo>
                      <a:lnTo>
                        <a:pt x="43234" y="90340"/>
                      </a:lnTo>
                      <a:lnTo>
                        <a:pt x="41890" y="93160"/>
                      </a:lnTo>
                      <a:lnTo>
                        <a:pt x="41319" y="93184"/>
                      </a:lnTo>
                      <a:lnTo>
                        <a:pt x="40651" y="90821"/>
                      </a:lnTo>
                      <a:lnTo>
                        <a:pt x="42493" y="88090"/>
                      </a:lnTo>
                      <a:lnTo>
                        <a:pt x="43259" y="86371"/>
                      </a:lnTo>
                      <a:lnTo>
                        <a:pt x="43218" y="85442"/>
                      </a:lnTo>
                      <a:lnTo>
                        <a:pt x="42362" y="85303"/>
                      </a:lnTo>
                      <a:lnTo>
                        <a:pt x="38671" y="85262"/>
                      </a:lnTo>
                      <a:lnTo>
                        <a:pt x="37114" y="85344"/>
                      </a:lnTo>
                      <a:lnTo>
                        <a:pt x="36332" y="86322"/>
                      </a:lnTo>
                      <a:lnTo>
                        <a:pt x="37456" y="87096"/>
                      </a:lnTo>
                      <a:lnTo>
                        <a:pt x="37285" y="88694"/>
                      </a:lnTo>
                      <a:lnTo>
                        <a:pt x="35883" y="93534"/>
                      </a:lnTo>
                      <a:lnTo>
                        <a:pt x="35109" y="94463"/>
                      </a:lnTo>
                      <a:lnTo>
                        <a:pt x="31654" y="93062"/>
                      </a:lnTo>
                      <a:lnTo>
                        <a:pt x="29828" y="91057"/>
                      </a:lnTo>
                      <a:lnTo>
                        <a:pt x="29624" y="88441"/>
                      </a:lnTo>
                      <a:lnTo>
                        <a:pt x="28972" y="86664"/>
                      </a:lnTo>
                      <a:lnTo>
                        <a:pt x="27277" y="84325"/>
                      </a:lnTo>
                      <a:lnTo>
                        <a:pt x="27187" y="82540"/>
                      </a:lnTo>
                      <a:lnTo>
                        <a:pt x="26071" y="79957"/>
                      </a:lnTo>
                      <a:lnTo>
                        <a:pt x="20097" y="76192"/>
                      </a:lnTo>
                      <a:lnTo>
                        <a:pt x="19478" y="74920"/>
                      </a:lnTo>
                      <a:lnTo>
                        <a:pt x="19095" y="72304"/>
                      </a:lnTo>
                      <a:lnTo>
                        <a:pt x="17017" y="69688"/>
                      </a:lnTo>
                      <a:lnTo>
                        <a:pt x="10676" y="63405"/>
                      </a:lnTo>
                      <a:lnTo>
                        <a:pt x="10244" y="61848"/>
                      </a:lnTo>
                      <a:lnTo>
                        <a:pt x="10399" y="61237"/>
                      </a:lnTo>
                      <a:lnTo>
                        <a:pt x="8525" y="58507"/>
                      </a:lnTo>
                      <a:lnTo>
                        <a:pt x="8329" y="56853"/>
                      </a:lnTo>
                      <a:lnTo>
                        <a:pt x="8549" y="56290"/>
                      </a:lnTo>
                      <a:lnTo>
                        <a:pt x="11589" y="54456"/>
                      </a:lnTo>
                      <a:lnTo>
                        <a:pt x="18313" y="52468"/>
                      </a:lnTo>
                      <a:lnTo>
                        <a:pt x="19348" y="51506"/>
                      </a:lnTo>
                      <a:lnTo>
                        <a:pt x="17734" y="50699"/>
                      </a:lnTo>
                      <a:lnTo>
                        <a:pt x="13488" y="50047"/>
                      </a:lnTo>
                      <a:lnTo>
                        <a:pt x="11018" y="50276"/>
                      </a:lnTo>
                      <a:lnTo>
                        <a:pt x="8354" y="50871"/>
                      </a:lnTo>
                      <a:lnTo>
                        <a:pt x="6194" y="51343"/>
                      </a:lnTo>
                      <a:lnTo>
                        <a:pt x="4711" y="50414"/>
                      </a:lnTo>
                      <a:lnTo>
                        <a:pt x="1328" y="46584"/>
                      </a:lnTo>
                      <a:lnTo>
                        <a:pt x="261" y="46209"/>
                      </a:lnTo>
                      <a:lnTo>
                        <a:pt x="0" y="45288"/>
                      </a:lnTo>
                      <a:lnTo>
                        <a:pt x="954" y="39926"/>
                      </a:lnTo>
                      <a:lnTo>
                        <a:pt x="3839" y="35150"/>
                      </a:lnTo>
                      <a:lnTo>
                        <a:pt x="4898" y="32265"/>
                      </a:lnTo>
                      <a:lnTo>
                        <a:pt x="6096" y="27766"/>
                      </a:lnTo>
                      <a:lnTo>
                        <a:pt x="6381" y="26201"/>
                      </a:lnTo>
                      <a:lnTo>
                        <a:pt x="5925" y="24873"/>
                      </a:lnTo>
                      <a:lnTo>
                        <a:pt x="7710" y="20586"/>
                      </a:lnTo>
                      <a:lnTo>
                        <a:pt x="10644" y="19470"/>
                      </a:lnTo>
                      <a:lnTo>
                        <a:pt x="12624" y="20228"/>
                      </a:lnTo>
                      <a:lnTo>
                        <a:pt x="15542" y="21515"/>
                      </a:lnTo>
                      <a:lnTo>
                        <a:pt x="19453" y="21149"/>
                      </a:lnTo>
                      <a:lnTo>
                        <a:pt x="23333" y="21833"/>
                      </a:lnTo>
                      <a:lnTo>
                        <a:pt x="30537" y="26511"/>
                      </a:lnTo>
                      <a:lnTo>
                        <a:pt x="31662" y="27065"/>
                      </a:lnTo>
                      <a:lnTo>
                        <a:pt x="33006" y="26878"/>
                      </a:lnTo>
                      <a:lnTo>
                        <a:pt x="33251" y="25443"/>
                      </a:lnTo>
                      <a:lnTo>
                        <a:pt x="28883" y="22273"/>
                      </a:lnTo>
                      <a:lnTo>
                        <a:pt x="25696" y="20334"/>
                      </a:lnTo>
                      <a:lnTo>
                        <a:pt x="24286" y="18891"/>
                      </a:lnTo>
                      <a:lnTo>
                        <a:pt x="23341" y="16886"/>
                      </a:lnTo>
                      <a:lnTo>
                        <a:pt x="23390" y="14914"/>
                      </a:lnTo>
                      <a:lnTo>
                        <a:pt x="24457" y="12974"/>
                      </a:lnTo>
                      <a:lnTo>
                        <a:pt x="26446" y="7351"/>
                      </a:lnTo>
                      <a:lnTo>
                        <a:pt x="30236" y="98"/>
                      </a:lnTo>
                      <a:lnTo>
                        <a:pt x="30692" y="0"/>
                      </a:lnTo>
                      <a:lnTo>
                        <a:pt x="32436" y="1426"/>
                      </a:lnTo>
                      <a:lnTo>
                        <a:pt x="32436" y="2274"/>
                      </a:lnTo>
                      <a:lnTo>
                        <a:pt x="31010" y="3447"/>
                      </a:lnTo>
                      <a:lnTo>
                        <a:pt x="31181" y="3659"/>
                      </a:lnTo>
                      <a:lnTo>
                        <a:pt x="34628" y="3627"/>
                      </a:lnTo>
                      <a:lnTo>
                        <a:pt x="35199" y="4254"/>
                      </a:lnTo>
                      <a:lnTo>
                        <a:pt x="34115" y="5574"/>
                      </a:lnTo>
                      <a:lnTo>
                        <a:pt x="28679" y="7970"/>
                      </a:lnTo>
                      <a:lnTo>
                        <a:pt x="26495" y="12608"/>
                      </a:lnTo>
                      <a:lnTo>
                        <a:pt x="25468" y="14645"/>
                      </a:lnTo>
                      <a:lnTo>
                        <a:pt x="25981" y="15843"/>
                      </a:lnTo>
                      <a:lnTo>
                        <a:pt x="29233" y="18215"/>
                      </a:lnTo>
                      <a:lnTo>
                        <a:pt x="29608" y="17881"/>
                      </a:lnTo>
                      <a:lnTo>
                        <a:pt x="29934" y="16462"/>
                      </a:lnTo>
                      <a:lnTo>
                        <a:pt x="30725" y="15533"/>
                      </a:lnTo>
                      <a:lnTo>
                        <a:pt x="32232" y="14515"/>
                      </a:lnTo>
                      <a:lnTo>
                        <a:pt x="35435" y="14026"/>
                      </a:lnTo>
                      <a:lnTo>
                        <a:pt x="37350" y="12542"/>
                      </a:lnTo>
                      <a:lnTo>
                        <a:pt x="37489" y="13317"/>
                      </a:lnTo>
                      <a:lnTo>
                        <a:pt x="36666" y="15093"/>
                      </a:lnTo>
                      <a:lnTo>
                        <a:pt x="31458" y="16365"/>
                      </a:lnTo>
                      <a:lnTo>
                        <a:pt x="31319" y="16748"/>
                      </a:lnTo>
                      <a:lnTo>
                        <a:pt x="32306" y="19730"/>
                      </a:lnTo>
                      <a:lnTo>
                        <a:pt x="34922" y="25558"/>
                      </a:lnTo>
                      <a:lnTo>
                        <a:pt x="35231" y="27098"/>
                      </a:lnTo>
                      <a:lnTo>
                        <a:pt x="35020" y="29103"/>
                      </a:lnTo>
                      <a:lnTo>
                        <a:pt x="35949" y="31352"/>
                      </a:lnTo>
                      <a:lnTo>
                        <a:pt x="38027" y="33862"/>
                      </a:lnTo>
                      <a:lnTo>
                        <a:pt x="39388" y="38149"/>
                      </a:lnTo>
                      <a:lnTo>
                        <a:pt x="41132" y="42248"/>
                      </a:lnTo>
                      <a:lnTo>
                        <a:pt x="43789" y="45622"/>
                      </a:lnTo>
                      <a:lnTo>
                        <a:pt x="44734" y="48703"/>
                      </a:lnTo>
                      <a:lnTo>
                        <a:pt x="46837" y="52158"/>
                      </a:lnTo>
                      <a:lnTo>
                        <a:pt x="46959" y="52916"/>
                      </a:lnTo>
                      <a:lnTo>
                        <a:pt x="46242" y="53878"/>
                      </a:lnTo>
                      <a:lnTo>
                        <a:pt x="45052" y="54465"/>
                      </a:lnTo>
                      <a:lnTo>
                        <a:pt x="45696" y="57676"/>
                      </a:lnTo>
                      <a:lnTo>
                        <a:pt x="47317" y="61221"/>
                      </a:lnTo>
                      <a:lnTo>
                        <a:pt x="50667" y="65361"/>
                      </a:lnTo>
                      <a:lnTo>
                        <a:pt x="52794" y="72639"/>
                      </a:lnTo>
                      <a:lnTo>
                        <a:pt x="53813" y="75059"/>
                      </a:lnTo>
                      <a:lnTo>
                        <a:pt x="55508" y="80381"/>
                      </a:lnTo>
                      <a:lnTo>
                        <a:pt x="55402" y="80837"/>
                      </a:lnTo>
                      <a:lnTo>
                        <a:pt x="55109" y="82793"/>
                      </a:lnTo>
                      <a:lnTo>
                        <a:pt x="55915" y="85434"/>
                      </a:lnTo>
                      <a:lnTo>
                        <a:pt x="56616" y="87528"/>
                      </a:lnTo>
                      <a:lnTo>
                        <a:pt x="59069" y="90641"/>
                      </a:lnTo>
                      <a:lnTo>
                        <a:pt x="59664" y="92516"/>
                      </a:lnTo>
                      <a:lnTo>
                        <a:pt x="59200" y="94374"/>
                      </a:lnTo>
                      <a:lnTo>
                        <a:pt x="59436" y="95319"/>
                      </a:lnTo>
                      <a:lnTo>
                        <a:pt x="61294" y="95751"/>
                      </a:lnTo>
                      <a:lnTo>
                        <a:pt x="62843" y="97234"/>
                      </a:lnTo>
                      <a:lnTo>
                        <a:pt x="63275" y="98131"/>
                      </a:lnTo>
                      <a:lnTo>
                        <a:pt x="62851" y="98767"/>
                      </a:lnTo>
                      <a:lnTo>
                        <a:pt x="61588" y="99150"/>
                      </a:lnTo>
                      <a:lnTo>
                        <a:pt x="62451" y="101334"/>
                      </a:lnTo>
                      <a:lnTo>
                        <a:pt x="65451" y="105311"/>
                      </a:lnTo>
                      <a:lnTo>
                        <a:pt x="66706" y="107739"/>
                      </a:lnTo>
                      <a:lnTo>
                        <a:pt x="66820" y="109752"/>
                      </a:lnTo>
                      <a:lnTo>
                        <a:pt x="68083" y="112067"/>
                      </a:lnTo>
                      <a:lnTo>
                        <a:pt x="71824" y="115905"/>
                      </a:lnTo>
                      <a:lnTo>
                        <a:pt x="73160" y="118033"/>
                      </a:lnTo>
                      <a:lnTo>
                        <a:pt x="73217" y="119622"/>
                      </a:lnTo>
                      <a:lnTo>
                        <a:pt x="71995" y="120689"/>
                      </a:lnTo>
                      <a:lnTo>
                        <a:pt x="71718" y="121659"/>
                      </a:lnTo>
                      <a:lnTo>
                        <a:pt x="70585" y="124055"/>
                      </a:lnTo>
                      <a:lnTo>
                        <a:pt x="70381" y="126533"/>
                      </a:lnTo>
                      <a:lnTo>
                        <a:pt x="71245" y="132506"/>
                      </a:lnTo>
                      <a:lnTo>
                        <a:pt x="71498" y="136060"/>
                      </a:lnTo>
                      <a:lnTo>
                        <a:pt x="71123" y="137184"/>
                      </a:lnTo>
                      <a:close/>
                    </a:path>
                  </a:pathLst>
                </a:custGeom>
                <a:solidFill>
                  <a:srgbClr val="FFFFFF"/>
                </a:solidFill>
                <a:ln w="8150" cap="flat">
                  <a:noFill/>
                  <a:prstDash val="solid"/>
                  <a:miter/>
                </a:ln>
              </p:spPr>
              <p:txBody>
                <a:bodyPr rtlCol="0" anchor="ctr"/>
                <a:lstStyle/>
                <a:p>
                  <a:endParaRPr lang="en-US"/>
                </a:p>
              </p:txBody>
            </p:sp>
            <p:sp>
              <p:nvSpPr>
                <p:cNvPr id="418" name="Freeform: Shape 417">
                  <a:extLst>
                    <a:ext uri="{FF2B5EF4-FFF2-40B4-BE49-F238E27FC236}">
                      <a16:creationId xmlns:a16="http://schemas.microsoft.com/office/drawing/2014/main" id="{9FA4B990-1210-4E1E-B900-04B2C8918201}"/>
                    </a:ext>
                  </a:extLst>
                </p:cNvPr>
                <p:cNvSpPr/>
                <p:nvPr/>
              </p:nvSpPr>
              <p:spPr>
                <a:xfrm>
                  <a:off x="8510333" y="2705819"/>
                  <a:ext cx="154804" cy="161503"/>
                </a:xfrm>
                <a:custGeom>
                  <a:avLst/>
                  <a:gdLst>
                    <a:gd name="connsiteX0" fmla="*/ 152530 w 154804"/>
                    <a:gd name="connsiteY0" fmla="*/ 9136 h 161503"/>
                    <a:gd name="connsiteX1" fmla="*/ 152530 w 154804"/>
                    <a:gd name="connsiteY1" fmla="*/ 9136 h 161503"/>
                    <a:gd name="connsiteX2" fmla="*/ 152530 w 154804"/>
                    <a:gd name="connsiteY2" fmla="*/ 9136 h 161503"/>
                    <a:gd name="connsiteX3" fmla="*/ 152367 w 154804"/>
                    <a:gd name="connsiteY3" fmla="*/ 12705 h 161503"/>
                    <a:gd name="connsiteX4" fmla="*/ 151553 w 154804"/>
                    <a:gd name="connsiteY4" fmla="*/ 14376 h 161503"/>
                    <a:gd name="connsiteX5" fmla="*/ 150705 w 154804"/>
                    <a:gd name="connsiteY5" fmla="*/ 17131 h 161503"/>
                    <a:gd name="connsiteX6" fmla="*/ 150485 w 154804"/>
                    <a:gd name="connsiteY6" fmla="*/ 19038 h 161503"/>
                    <a:gd name="connsiteX7" fmla="*/ 149703 w 154804"/>
                    <a:gd name="connsiteY7" fmla="*/ 22632 h 161503"/>
                    <a:gd name="connsiteX8" fmla="*/ 149539 w 154804"/>
                    <a:gd name="connsiteY8" fmla="*/ 24384 h 161503"/>
                    <a:gd name="connsiteX9" fmla="*/ 150142 w 154804"/>
                    <a:gd name="connsiteY9" fmla="*/ 26544 h 161503"/>
                    <a:gd name="connsiteX10" fmla="*/ 150061 w 154804"/>
                    <a:gd name="connsiteY10" fmla="*/ 28182 h 161503"/>
                    <a:gd name="connsiteX11" fmla="*/ 148839 w 154804"/>
                    <a:gd name="connsiteY11" fmla="*/ 32297 h 161503"/>
                    <a:gd name="connsiteX12" fmla="*/ 148504 w 154804"/>
                    <a:gd name="connsiteY12" fmla="*/ 33430 h 161503"/>
                    <a:gd name="connsiteX13" fmla="*/ 148040 w 154804"/>
                    <a:gd name="connsiteY13" fmla="*/ 35394 h 161503"/>
                    <a:gd name="connsiteX14" fmla="*/ 147103 w 154804"/>
                    <a:gd name="connsiteY14" fmla="*/ 37024 h 161503"/>
                    <a:gd name="connsiteX15" fmla="*/ 146785 w 154804"/>
                    <a:gd name="connsiteY15" fmla="*/ 38369 h 161503"/>
                    <a:gd name="connsiteX16" fmla="*/ 146149 w 154804"/>
                    <a:gd name="connsiteY16" fmla="*/ 42004 h 161503"/>
                    <a:gd name="connsiteX17" fmla="*/ 144593 w 154804"/>
                    <a:gd name="connsiteY17" fmla="*/ 43780 h 161503"/>
                    <a:gd name="connsiteX18" fmla="*/ 144087 w 154804"/>
                    <a:gd name="connsiteY18" fmla="*/ 46453 h 161503"/>
                    <a:gd name="connsiteX19" fmla="*/ 143240 w 154804"/>
                    <a:gd name="connsiteY19" fmla="*/ 53201 h 161503"/>
                    <a:gd name="connsiteX20" fmla="*/ 143386 w 154804"/>
                    <a:gd name="connsiteY20" fmla="*/ 57676 h 161503"/>
                    <a:gd name="connsiteX21" fmla="*/ 144837 w 154804"/>
                    <a:gd name="connsiteY21" fmla="*/ 61009 h 161503"/>
                    <a:gd name="connsiteX22" fmla="*/ 144886 w 154804"/>
                    <a:gd name="connsiteY22" fmla="*/ 61775 h 161503"/>
                    <a:gd name="connsiteX23" fmla="*/ 144437 w 154804"/>
                    <a:gd name="connsiteY23" fmla="*/ 63193 h 161503"/>
                    <a:gd name="connsiteX24" fmla="*/ 143500 w 154804"/>
                    <a:gd name="connsiteY24" fmla="*/ 65263 h 161503"/>
                    <a:gd name="connsiteX25" fmla="*/ 141650 w 154804"/>
                    <a:gd name="connsiteY25" fmla="*/ 67659 h 161503"/>
                    <a:gd name="connsiteX26" fmla="*/ 137144 w 154804"/>
                    <a:gd name="connsiteY26" fmla="*/ 72533 h 161503"/>
                    <a:gd name="connsiteX27" fmla="*/ 136313 w 154804"/>
                    <a:gd name="connsiteY27" fmla="*/ 74073 h 161503"/>
                    <a:gd name="connsiteX28" fmla="*/ 136011 w 154804"/>
                    <a:gd name="connsiteY28" fmla="*/ 75393 h 161503"/>
                    <a:gd name="connsiteX29" fmla="*/ 136157 w 154804"/>
                    <a:gd name="connsiteY29" fmla="*/ 77488 h 161503"/>
                    <a:gd name="connsiteX30" fmla="*/ 136141 w 154804"/>
                    <a:gd name="connsiteY30" fmla="*/ 79688 h 161503"/>
                    <a:gd name="connsiteX31" fmla="*/ 136043 w 154804"/>
                    <a:gd name="connsiteY31" fmla="*/ 80389 h 161503"/>
                    <a:gd name="connsiteX32" fmla="*/ 135489 w 154804"/>
                    <a:gd name="connsiteY32" fmla="*/ 81228 h 161503"/>
                    <a:gd name="connsiteX33" fmla="*/ 131846 w 154804"/>
                    <a:gd name="connsiteY33" fmla="*/ 81179 h 161503"/>
                    <a:gd name="connsiteX34" fmla="*/ 131325 w 154804"/>
                    <a:gd name="connsiteY34" fmla="*/ 80096 h 161503"/>
                    <a:gd name="connsiteX35" fmla="*/ 131961 w 154804"/>
                    <a:gd name="connsiteY35" fmla="*/ 76632 h 161503"/>
                    <a:gd name="connsiteX36" fmla="*/ 132612 w 154804"/>
                    <a:gd name="connsiteY36" fmla="*/ 74945 h 161503"/>
                    <a:gd name="connsiteX37" fmla="*/ 132612 w 154804"/>
                    <a:gd name="connsiteY37" fmla="*/ 73943 h 161503"/>
                    <a:gd name="connsiteX38" fmla="*/ 131928 w 154804"/>
                    <a:gd name="connsiteY38" fmla="*/ 72916 h 161503"/>
                    <a:gd name="connsiteX39" fmla="*/ 130958 w 154804"/>
                    <a:gd name="connsiteY39" fmla="*/ 72524 h 161503"/>
                    <a:gd name="connsiteX40" fmla="*/ 129703 w 154804"/>
                    <a:gd name="connsiteY40" fmla="*/ 72769 h 161503"/>
                    <a:gd name="connsiteX41" fmla="*/ 128399 w 154804"/>
                    <a:gd name="connsiteY41" fmla="*/ 73543 h 161503"/>
                    <a:gd name="connsiteX42" fmla="*/ 127030 w 154804"/>
                    <a:gd name="connsiteY42" fmla="*/ 74847 h 161503"/>
                    <a:gd name="connsiteX43" fmla="*/ 121635 w 154804"/>
                    <a:gd name="connsiteY43" fmla="*/ 83307 h 161503"/>
                    <a:gd name="connsiteX44" fmla="*/ 119499 w 154804"/>
                    <a:gd name="connsiteY44" fmla="*/ 85898 h 161503"/>
                    <a:gd name="connsiteX45" fmla="*/ 119801 w 154804"/>
                    <a:gd name="connsiteY45" fmla="*/ 86118 h 161503"/>
                    <a:gd name="connsiteX46" fmla="*/ 122319 w 154804"/>
                    <a:gd name="connsiteY46" fmla="*/ 84586 h 161503"/>
                    <a:gd name="connsiteX47" fmla="*/ 124471 w 154804"/>
                    <a:gd name="connsiteY47" fmla="*/ 83738 h 161503"/>
                    <a:gd name="connsiteX48" fmla="*/ 127176 w 154804"/>
                    <a:gd name="connsiteY48" fmla="*/ 83152 h 161503"/>
                    <a:gd name="connsiteX49" fmla="*/ 129132 w 154804"/>
                    <a:gd name="connsiteY49" fmla="*/ 83942 h 161503"/>
                    <a:gd name="connsiteX50" fmla="*/ 130322 w 154804"/>
                    <a:gd name="connsiteY50" fmla="*/ 86118 h 161503"/>
                    <a:gd name="connsiteX51" fmla="*/ 130827 w 154804"/>
                    <a:gd name="connsiteY51" fmla="*/ 88270 h 161503"/>
                    <a:gd name="connsiteX52" fmla="*/ 130656 w 154804"/>
                    <a:gd name="connsiteY52" fmla="*/ 90421 h 161503"/>
                    <a:gd name="connsiteX53" fmla="*/ 129385 w 154804"/>
                    <a:gd name="connsiteY53" fmla="*/ 92247 h 161503"/>
                    <a:gd name="connsiteX54" fmla="*/ 125343 w 154804"/>
                    <a:gd name="connsiteY54" fmla="*/ 94618 h 161503"/>
                    <a:gd name="connsiteX55" fmla="*/ 124373 w 154804"/>
                    <a:gd name="connsiteY55" fmla="*/ 94749 h 161503"/>
                    <a:gd name="connsiteX56" fmla="*/ 123737 w 154804"/>
                    <a:gd name="connsiteY56" fmla="*/ 94537 h 161503"/>
                    <a:gd name="connsiteX57" fmla="*/ 123069 w 154804"/>
                    <a:gd name="connsiteY57" fmla="*/ 93771 h 161503"/>
                    <a:gd name="connsiteX58" fmla="*/ 122702 w 154804"/>
                    <a:gd name="connsiteY58" fmla="*/ 93860 h 161503"/>
                    <a:gd name="connsiteX59" fmla="*/ 116036 w 154804"/>
                    <a:gd name="connsiteY59" fmla="*/ 99052 h 161503"/>
                    <a:gd name="connsiteX60" fmla="*/ 113795 w 154804"/>
                    <a:gd name="connsiteY60" fmla="*/ 101065 h 161503"/>
                    <a:gd name="connsiteX61" fmla="*/ 113680 w 154804"/>
                    <a:gd name="connsiteY61" fmla="*/ 101676 h 161503"/>
                    <a:gd name="connsiteX62" fmla="*/ 114496 w 154804"/>
                    <a:gd name="connsiteY62" fmla="*/ 103053 h 161503"/>
                    <a:gd name="connsiteX63" fmla="*/ 114610 w 154804"/>
                    <a:gd name="connsiteY63" fmla="*/ 103746 h 161503"/>
                    <a:gd name="connsiteX64" fmla="*/ 113444 w 154804"/>
                    <a:gd name="connsiteY64" fmla="*/ 105564 h 161503"/>
                    <a:gd name="connsiteX65" fmla="*/ 112108 w 154804"/>
                    <a:gd name="connsiteY65" fmla="*/ 107177 h 161503"/>
                    <a:gd name="connsiteX66" fmla="*/ 106493 w 154804"/>
                    <a:gd name="connsiteY66" fmla="*/ 111236 h 161503"/>
                    <a:gd name="connsiteX67" fmla="*/ 105025 w 154804"/>
                    <a:gd name="connsiteY67" fmla="*/ 113347 h 161503"/>
                    <a:gd name="connsiteX68" fmla="*/ 100429 w 154804"/>
                    <a:gd name="connsiteY68" fmla="*/ 115824 h 161503"/>
                    <a:gd name="connsiteX69" fmla="*/ 98245 w 154804"/>
                    <a:gd name="connsiteY69" fmla="*/ 116297 h 161503"/>
                    <a:gd name="connsiteX70" fmla="*/ 95857 w 154804"/>
                    <a:gd name="connsiteY70" fmla="*/ 116297 h 161503"/>
                    <a:gd name="connsiteX71" fmla="*/ 91098 w 154804"/>
                    <a:gd name="connsiteY71" fmla="*/ 118285 h 161503"/>
                    <a:gd name="connsiteX72" fmla="*/ 83967 w 154804"/>
                    <a:gd name="connsiteY72" fmla="*/ 122254 h 161503"/>
                    <a:gd name="connsiteX73" fmla="*/ 79973 w 154804"/>
                    <a:gd name="connsiteY73" fmla="*/ 124740 h 161503"/>
                    <a:gd name="connsiteX74" fmla="*/ 79142 w 154804"/>
                    <a:gd name="connsiteY74" fmla="*/ 125783 h 161503"/>
                    <a:gd name="connsiteX75" fmla="*/ 77610 w 154804"/>
                    <a:gd name="connsiteY75" fmla="*/ 129141 h 161503"/>
                    <a:gd name="connsiteX76" fmla="*/ 76705 w 154804"/>
                    <a:gd name="connsiteY76" fmla="*/ 130168 h 161503"/>
                    <a:gd name="connsiteX77" fmla="*/ 75352 w 154804"/>
                    <a:gd name="connsiteY77" fmla="*/ 130616 h 161503"/>
                    <a:gd name="connsiteX78" fmla="*/ 73885 w 154804"/>
                    <a:gd name="connsiteY78" fmla="*/ 129825 h 161503"/>
                    <a:gd name="connsiteX79" fmla="*/ 71563 w 154804"/>
                    <a:gd name="connsiteY79" fmla="*/ 128611 h 161503"/>
                    <a:gd name="connsiteX80" fmla="*/ 69044 w 154804"/>
                    <a:gd name="connsiteY80" fmla="*/ 128138 h 161503"/>
                    <a:gd name="connsiteX81" fmla="*/ 66371 w 154804"/>
                    <a:gd name="connsiteY81" fmla="*/ 129198 h 161503"/>
                    <a:gd name="connsiteX82" fmla="*/ 64481 w 154804"/>
                    <a:gd name="connsiteY82" fmla="*/ 130363 h 161503"/>
                    <a:gd name="connsiteX83" fmla="*/ 63364 w 154804"/>
                    <a:gd name="connsiteY83" fmla="*/ 131887 h 161503"/>
                    <a:gd name="connsiteX84" fmla="*/ 63112 w 154804"/>
                    <a:gd name="connsiteY84" fmla="*/ 133802 h 161503"/>
                    <a:gd name="connsiteX85" fmla="*/ 63666 w 154804"/>
                    <a:gd name="connsiteY85" fmla="*/ 136084 h 161503"/>
                    <a:gd name="connsiteX86" fmla="*/ 63160 w 154804"/>
                    <a:gd name="connsiteY86" fmla="*/ 138545 h 161503"/>
                    <a:gd name="connsiteX87" fmla="*/ 61326 w 154804"/>
                    <a:gd name="connsiteY87" fmla="*/ 143973 h 161503"/>
                    <a:gd name="connsiteX88" fmla="*/ 60023 w 154804"/>
                    <a:gd name="connsiteY88" fmla="*/ 145473 h 161503"/>
                    <a:gd name="connsiteX89" fmla="*/ 58320 w 154804"/>
                    <a:gd name="connsiteY89" fmla="*/ 147437 h 161503"/>
                    <a:gd name="connsiteX90" fmla="*/ 55883 w 154804"/>
                    <a:gd name="connsiteY90" fmla="*/ 150713 h 161503"/>
                    <a:gd name="connsiteX91" fmla="*/ 51677 w 154804"/>
                    <a:gd name="connsiteY91" fmla="*/ 153427 h 161503"/>
                    <a:gd name="connsiteX92" fmla="*/ 42672 w 154804"/>
                    <a:gd name="connsiteY92" fmla="*/ 156630 h 161503"/>
                    <a:gd name="connsiteX93" fmla="*/ 33520 w 154804"/>
                    <a:gd name="connsiteY93" fmla="*/ 158740 h 161503"/>
                    <a:gd name="connsiteX94" fmla="*/ 29478 w 154804"/>
                    <a:gd name="connsiteY94" fmla="*/ 160036 h 161503"/>
                    <a:gd name="connsiteX95" fmla="*/ 27603 w 154804"/>
                    <a:gd name="connsiteY95" fmla="*/ 161226 h 161503"/>
                    <a:gd name="connsiteX96" fmla="*/ 23357 w 154804"/>
                    <a:gd name="connsiteY96" fmla="*/ 161503 h 161503"/>
                    <a:gd name="connsiteX97" fmla="*/ 16780 w 154804"/>
                    <a:gd name="connsiteY97" fmla="*/ 160859 h 161503"/>
                    <a:gd name="connsiteX98" fmla="*/ 10986 w 154804"/>
                    <a:gd name="connsiteY98" fmla="*/ 159547 h 161503"/>
                    <a:gd name="connsiteX99" fmla="*/ 2567 w 154804"/>
                    <a:gd name="connsiteY99" fmla="*/ 155896 h 161503"/>
                    <a:gd name="connsiteX100" fmla="*/ 766 w 154804"/>
                    <a:gd name="connsiteY100" fmla="*/ 154625 h 161503"/>
                    <a:gd name="connsiteX101" fmla="*/ 0 w 154804"/>
                    <a:gd name="connsiteY101" fmla="*/ 153671 h 161503"/>
                    <a:gd name="connsiteX102" fmla="*/ 220 w 154804"/>
                    <a:gd name="connsiteY102" fmla="*/ 153052 h 161503"/>
                    <a:gd name="connsiteX103" fmla="*/ 725 w 154804"/>
                    <a:gd name="connsiteY103" fmla="*/ 152628 h 161503"/>
                    <a:gd name="connsiteX104" fmla="*/ 1907 w 154804"/>
                    <a:gd name="connsiteY104" fmla="*/ 152286 h 161503"/>
                    <a:gd name="connsiteX105" fmla="*/ 10391 w 154804"/>
                    <a:gd name="connsiteY105" fmla="*/ 150892 h 161503"/>
                    <a:gd name="connsiteX106" fmla="*/ 15615 w 154804"/>
                    <a:gd name="connsiteY106" fmla="*/ 150395 h 161503"/>
                    <a:gd name="connsiteX107" fmla="*/ 20407 w 154804"/>
                    <a:gd name="connsiteY107" fmla="*/ 150346 h 161503"/>
                    <a:gd name="connsiteX108" fmla="*/ 23528 w 154804"/>
                    <a:gd name="connsiteY108" fmla="*/ 149531 h 161503"/>
                    <a:gd name="connsiteX109" fmla="*/ 24979 w 154804"/>
                    <a:gd name="connsiteY109" fmla="*/ 147950 h 161503"/>
                    <a:gd name="connsiteX110" fmla="*/ 27253 w 154804"/>
                    <a:gd name="connsiteY110" fmla="*/ 147160 h 161503"/>
                    <a:gd name="connsiteX111" fmla="*/ 28606 w 154804"/>
                    <a:gd name="connsiteY111" fmla="*/ 147160 h 161503"/>
                    <a:gd name="connsiteX112" fmla="*/ 30309 w 154804"/>
                    <a:gd name="connsiteY112" fmla="*/ 147160 h 161503"/>
                    <a:gd name="connsiteX113" fmla="*/ 33218 w 154804"/>
                    <a:gd name="connsiteY113" fmla="*/ 146720 h 161503"/>
                    <a:gd name="connsiteX114" fmla="*/ 35989 w 154804"/>
                    <a:gd name="connsiteY114" fmla="*/ 145848 h 161503"/>
                    <a:gd name="connsiteX115" fmla="*/ 37912 w 154804"/>
                    <a:gd name="connsiteY115" fmla="*/ 144650 h 161503"/>
                    <a:gd name="connsiteX116" fmla="*/ 38996 w 154804"/>
                    <a:gd name="connsiteY116" fmla="*/ 143150 h 161503"/>
                    <a:gd name="connsiteX117" fmla="*/ 40447 w 154804"/>
                    <a:gd name="connsiteY117" fmla="*/ 142009 h 161503"/>
                    <a:gd name="connsiteX118" fmla="*/ 42297 w 154804"/>
                    <a:gd name="connsiteY118" fmla="*/ 141243 h 161503"/>
                    <a:gd name="connsiteX119" fmla="*/ 46038 w 154804"/>
                    <a:gd name="connsiteY119" fmla="*/ 138350 h 161503"/>
                    <a:gd name="connsiteX120" fmla="*/ 49062 w 154804"/>
                    <a:gd name="connsiteY120" fmla="*/ 134348 h 161503"/>
                    <a:gd name="connsiteX121" fmla="*/ 53234 w 154804"/>
                    <a:gd name="connsiteY121" fmla="*/ 128016 h 161503"/>
                    <a:gd name="connsiteX122" fmla="*/ 58197 w 154804"/>
                    <a:gd name="connsiteY122" fmla="*/ 123354 h 161503"/>
                    <a:gd name="connsiteX123" fmla="*/ 63959 w 154804"/>
                    <a:gd name="connsiteY123" fmla="*/ 120372 h 161503"/>
                    <a:gd name="connsiteX124" fmla="*/ 67903 w 154804"/>
                    <a:gd name="connsiteY124" fmla="*/ 117976 h 161503"/>
                    <a:gd name="connsiteX125" fmla="*/ 70039 w 154804"/>
                    <a:gd name="connsiteY125" fmla="*/ 116134 h 161503"/>
                    <a:gd name="connsiteX126" fmla="*/ 71057 w 154804"/>
                    <a:gd name="connsiteY126" fmla="*/ 114797 h 161503"/>
                    <a:gd name="connsiteX127" fmla="*/ 74114 w 154804"/>
                    <a:gd name="connsiteY127" fmla="*/ 111423 h 161503"/>
                    <a:gd name="connsiteX128" fmla="*/ 75499 w 154804"/>
                    <a:gd name="connsiteY128" fmla="*/ 110030 h 161503"/>
                    <a:gd name="connsiteX129" fmla="*/ 76135 w 154804"/>
                    <a:gd name="connsiteY129" fmla="*/ 108660 h 161503"/>
                    <a:gd name="connsiteX130" fmla="*/ 78555 w 154804"/>
                    <a:gd name="connsiteY130" fmla="*/ 106158 h 161503"/>
                    <a:gd name="connsiteX131" fmla="*/ 78955 w 154804"/>
                    <a:gd name="connsiteY131" fmla="*/ 105050 h 161503"/>
                    <a:gd name="connsiteX132" fmla="*/ 78368 w 154804"/>
                    <a:gd name="connsiteY132" fmla="*/ 104048 h 161503"/>
                    <a:gd name="connsiteX133" fmla="*/ 75898 w 154804"/>
                    <a:gd name="connsiteY133" fmla="*/ 104317 h 161503"/>
                    <a:gd name="connsiteX134" fmla="*/ 76069 w 154804"/>
                    <a:gd name="connsiteY134" fmla="*/ 103477 h 161503"/>
                    <a:gd name="connsiteX135" fmla="*/ 77838 w 154804"/>
                    <a:gd name="connsiteY135" fmla="*/ 101293 h 161503"/>
                    <a:gd name="connsiteX136" fmla="*/ 83298 w 154804"/>
                    <a:gd name="connsiteY136" fmla="*/ 96110 h 161503"/>
                    <a:gd name="connsiteX137" fmla="*/ 87259 w 154804"/>
                    <a:gd name="connsiteY137" fmla="*/ 93298 h 161503"/>
                    <a:gd name="connsiteX138" fmla="*/ 94773 w 154804"/>
                    <a:gd name="connsiteY138" fmla="*/ 88694 h 161503"/>
                    <a:gd name="connsiteX139" fmla="*/ 95075 w 154804"/>
                    <a:gd name="connsiteY139" fmla="*/ 88188 h 161503"/>
                    <a:gd name="connsiteX140" fmla="*/ 95172 w 154804"/>
                    <a:gd name="connsiteY140" fmla="*/ 86338 h 161503"/>
                    <a:gd name="connsiteX141" fmla="*/ 95792 w 154804"/>
                    <a:gd name="connsiteY141" fmla="*/ 84619 h 161503"/>
                    <a:gd name="connsiteX142" fmla="*/ 97063 w 154804"/>
                    <a:gd name="connsiteY142" fmla="*/ 82239 h 161503"/>
                    <a:gd name="connsiteX143" fmla="*/ 101073 w 154804"/>
                    <a:gd name="connsiteY143" fmla="*/ 78466 h 161503"/>
                    <a:gd name="connsiteX144" fmla="*/ 107854 w 154804"/>
                    <a:gd name="connsiteY144" fmla="*/ 73282 h 161503"/>
                    <a:gd name="connsiteX145" fmla="*/ 111831 w 154804"/>
                    <a:gd name="connsiteY145" fmla="*/ 68498 h 161503"/>
                    <a:gd name="connsiteX146" fmla="*/ 113118 w 154804"/>
                    <a:gd name="connsiteY146" fmla="*/ 66225 h 161503"/>
                    <a:gd name="connsiteX147" fmla="*/ 113672 w 154804"/>
                    <a:gd name="connsiteY147" fmla="*/ 64652 h 161503"/>
                    <a:gd name="connsiteX148" fmla="*/ 115262 w 154804"/>
                    <a:gd name="connsiteY148" fmla="*/ 61066 h 161503"/>
                    <a:gd name="connsiteX149" fmla="*/ 116427 w 154804"/>
                    <a:gd name="connsiteY149" fmla="*/ 59680 h 161503"/>
                    <a:gd name="connsiteX150" fmla="*/ 118032 w 154804"/>
                    <a:gd name="connsiteY150" fmla="*/ 57146 h 161503"/>
                    <a:gd name="connsiteX151" fmla="*/ 119165 w 154804"/>
                    <a:gd name="connsiteY151" fmla="*/ 54391 h 161503"/>
                    <a:gd name="connsiteX152" fmla="*/ 119850 w 154804"/>
                    <a:gd name="connsiteY152" fmla="*/ 51392 h 161503"/>
                    <a:gd name="connsiteX153" fmla="*/ 120999 w 154804"/>
                    <a:gd name="connsiteY153" fmla="*/ 48988 h 161503"/>
                    <a:gd name="connsiteX154" fmla="*/ 124218 w 154804"/>
                    <a:gd name="connsiteY154" fmla="*/ 44889 h 161503"/>
                    <a:gd name="connsiteX155" fmla="*/ 125791 w 154804"/>
                    <a:gd name="connsiteY155" fmla="*/ 42167 h 161503"/>
                    <a:gd name="connsiteX156" fmla="*/ 126826 w 154804"/>
                    <a:gd name="connsiteY156" fmla="*/ 39648 h 161503"/>
                    <a:gd name="connsiteX157" fmla="*/ 127307 w 154804"/>
                    <a:gd name="connsiteY157" fmla="*/ 37334 h 161503"/>
                    <a:gd name="connsiteX158" fmla="*/ 128179 w 154804"/>
                    <a:gd name="connsiteY158" fmla="*/ 35321 h 161503"/>
                    <a:gd name="connsiteX159" fmla="*/ 129434 w 154804"/>
                    <a:gd name="connsiteY159" fmla="*/ 33601 h 161503"/>
                    <a:gd name="connsiteX160" fmla="*/ 129719 w 154804"/>
                    <a:gd name="connsiteY160" fmla="*/ 32354 h 161503"/>
                    <a:gd name="connsiteX161" fmla="*/ 129035 w 154804"/>
                    <a:gd name="connsiteY161" fmla="*/ 31572 h 161503"/>
                    <a:gd name="connsiteX162" fmla="*/ 129939 w 154804"/>
                    <a:gd name="connsiteY162" fmla="*/ 30350 h 161503"/>
                    <a:gd name="connsiteX163" fmla="*/ 132425 w 154804"/>
                    <a:gd name="connsiteY163" fmla="*/ 28663 h 161503"/>
                    <a:gd name="connsiteX164" fmla="*/ 133827 w 154804"/>
                    <a:gd name="connsiteY164" fmla="*/ 25941 h 161503"/>
                    <a:gd name="connsiteX165" fmla="*/ 135343 w 154804"/>
                    <a:gd name="connsiteY165" fmla="*/ 22347 h 161503"/>
                    <a:gd name="connsiteX166" fmla="*/ 136011 w 154804"/>
                    <a:gd name="connsiteY166" fmla="*/ 19763 h 161503"/>
                    <a:gd name="connsiteX167" fmla="*/ 136394 w 154804"/>
                    <a:gd name="connsiteY167" fmla="*/ 14270 h 161503"/>
                    <a:gd name="connsiteX168" fmla="*/ 135839 w 154804"/>
                    <a:gd name="connsiteY168" fmla="*/ 12045 h 161503"/>
                    <a:gd name="connsiteX169" fmla="*/ 135905 w 154804"/>
                    <a:gd name="connsiteY169" fmla="*/ 9299 h 161503"/>
                    <a:gd name="connsiteX170" fmla="*/ 137038 w 154804"/>
                    <a:gd name="connsiteY170" fmla="*/ 7807 h 161503"/>
                    <a:gd name="connsiteX171" fmla="*/ 138888 w 154804"/>
                    <a:gd name="connsiteY171" fmla="*/ 6536 h 161503"/>
                    <a:gd name="connsiteX172" fmla="*/ 143696 w 154804"/>
                    <a:gd name="connsiteY172" fmla="*/ 1826 h 161503"/>
                    <a:gd name="connsiteX173" fmla="*/ 145399 w 154804"/>
                    <a:gd name="connsiteY173" fmla="*/ 277 h 161503"/>
                    <a:gd name="connsiteX174" fmla="*/ 147657 w 154804"/>
                    <a:gd name="connsiteY174" fmla="*/ 0 h 161503"/>
                    <a:gd name="connsiteX175" fmla="*/ 149980 w 154804"/>
                    <a:gd name="connsiteY175" fmla="*/ 196 h 161503"/>
                    <a:gd name="connsiteX176" fmla="*/ 152131 w 154804"/>
                    <a:gd name="connsiteY176" fmla="*/ 913 h 161503"/>
                    <a:gd name="connsiteX177" fmla="*/ 154804 w 154804"/>
                    <a:gd name="connsiteY177" fmla="*/ 4067 h 161503"/>
                    <a:gd name="connsiteX178" fmla="*/ 152481 w 154804"/>
                    <a:gd name="connsiteY178" fmla="*/ 7791 h 161503"/>
                    <a:gd name="connsiteX179" fmla="*/ 152530 w 154804"/>
                    <a:gd name="connsiteY179" fmla="*/ 9136 h 16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54804" h="161503">
                      <a:moveTo>
                        <a:pt x="152530" y="9136"/>
                      </a:moveTo>
                      <a:lnTo>
                        <a:pt x="152530" y="9136"/>
                      </a:lnTo>
                      <a:lnTo>
                        <a:pt x="152530" y="9136"/>
                      </a:lnTo>
                      <a:lnTo>
                        <a:pt x="152367" y="12705"/>
                      </a:lnTo>
                      <a:lnTo>
                        <a:pt x="151553" y="14376"/>
                      </a:lnTo>
                      <a:lnTo>
                        <a:pt x="150705" y="17131"/>
                      </a:lnTo>
                      <a:lnTo>
                        <a:pt x="150485" y="19038"/>
                      </a:lnTo>
                      <a:lnTo>
                        <a:pt x="149703" y="22632"/>
                      </a:lnTo>
                      <a:lnTo>
                        <a:pt x="149539" y="24384"/>
                      </a:lnTo>
                      <a:lnTo>
                        <a:pt x="150142" y="26544"/>
                      </a:lnTo>
                      <a:lnTo>
                        <a:pt x="150061" y="28182"/>
                      </a:lnTo>
                      <a:lnTo>
                        <a:pt x="148839" y="32297"/>
                      </a:lnTo>
                      <a:lnTo>
                        <a:pt x="148504" y="33430"/>
                      </a:lnTo>
                      <a:lnTo>
                        <a:pt x="148040" y="35394"/>
                      </a:lnTo>
                      <a:lnTo>
                        <a:pt x="147103" y="37024"/>
                      </a:lnTo>
                      <a:lnTo>
                        <a:pt x="146785" y="38369"/>
                      </a:lnTo>
                      <a:lnTo>
                        <a:pt x="146149" y="42004"/>
                      </a:lnTo>
                      <a:lnTo>
                        <a:pt x="144593" y="43780"/>
                      </a:lnTo>
                      <a:lnTo>
                        <a:pt x="144087" y="46453"/>
                      </a:lnTo>
                      <a:lnTo>
                        <a:pt x="143240" y="53201"/>
                      </a:lnTo>
                      <a:lnTo>
                        <a:pt x="143386" y="57676"/>
                      </a:lnTo>
                      <a:lnTo>
                        <a:pt x="144837" y="61009"/>
                      </a:lnTo>
                      <a:lnTo>
                        <a:pt x="144886" y="61775"/>
                      </a:lnTo>
                      <a:lnTo>
                        <a:pt x="144437" y="63193"/>
                      </a:lnTo>
                      <a:lnTo>
                        <a:pt x="143500" y="65263"/>
                      </a:lnTo>
                      <a:lnTo>
                        <a:pt x="141650" y="67659"/>
                      </a:lnTo>
                      <a:lnTo>
                        <a:pt x="137144" y="72533"/>
                      </a:lnTo>
                      <a:lnTo>
                        <a:pt x="136313" y="74073"/>
                      </a:lnTo>
                      <a:lnTo>
                        <a:pt x="136011" y="75393"/>
                      </a:lnTo>
                      <a:lnTo>
                        <a:pt x="136157" y="77488"/>
                      </a:lnTo>
                      <a:lnTo>
                        <a:pt x="136141" y="79688"/>
                      </a:lnTo>
                      <a:lnTo>
                        <a:pt x="136043" y="80389"/>
                      </a:lnTo>
                      <a:lnTo>
                        <a:pt x="135489" y="81228"/>
                      </a:lnTo>
                      <a:lnTo>
                        <a:pt x="131846" y="81179"/>
                      </a:lnTo>
                      <a:lnTo>
                        <a:pt x="131325" y="80096"/>
                      </a:lnTo>
                      <a:lnTo>
                        <a:pt x="131961" y="76632"/>
                      </a:lnTo>
                      <a:lnTo>
                        <a:pt x="132612" y="74945"/>
                      </a:lnTo>
                      <a:lnTo>
                        <a:pt x="132612" y="73943"/>
                      </a:lnTo>
                      <a:lnTo>
                        <a:pt x="131928" y="72916"/>
                      </a:lnTo>
                      <a:lnTo>
                        <a:pt x="130958" y="72524"/>
                      </a:lnTo>
                      <a:lnTo>
                        <a:pt x="129703" y="72769"/>
                      </a:lnTo>
                      <a:lnTo>
                        <a:pt x="128399" y="73543"/>
                      </a:lnTo>
                      <a:lnTo>
                        <a:pt x="127030" y="74847"/>
                      </a:lnTo>
                      <a:lnTo>
                        <a:pt x="121635" y="83307"/>
                      </a:lnTo>
                      <a:lnTo>
                        <a:pt x="119499" y="85898"/>
                      </a:lnTo>
                      <a:lnTo>
                        <a:pt x="119801" y="86118"/>
                      </a:lnTo>
                      <a:lnTo>
                        <a:pt x="122319" y="84586"/>
                      </a:lnTo>
                      <a:lnTo>
                        <a:pt x="124471" y="83738"/>
                      </a:lnTo>
                      <a:lnTo>
                        <a:pt x="127176" y="83152"/>
                      </a:lnTo>
                      <a:lnTo>
                        <a:pt x="129132" y="83942"/>
                      </a:lnTo>
                      <a:lnTo>
                        <a:pt x="130322" y="86118"/>
                      </a:lnTo>
                      <a:lnTo>
                        <a:pt x="130827" y="88270"/>
                      </a:lnTo>
                      <a:lnTo>
                        <a:pt x="130656" y="90421"/>
                      </a:lnTo>
                      <a:lnTo>
                        <a:pt x="129385" y="92247"/>
                      </a:lnTo>
                      <a:lnTo>
                        <a:pt x="125343" y="94618"/>
                      </a:lnTo>
                      <a:lnTo>
                        <a:pt x="124373" y="94749"/>
                      </a:lnTo>
                      <a:lnTo>
                        <a:pt x="123737" y="94537"/>
                      </a:lnTo>
                      <a:lnTo>
                        <a:pt x="123069" y="93771"/>
                      </a:lnTo>
                      <a:lnTo>
                        <a:pt x="122702" y="93860"/>
                      </a:lnTo>
                      <a:lnTo>
                        <a:pt x="116036" y="99052"/>
                      </a:lnTo>
                      <a:lnTo>
                        <a:pt x="113795" y="101065"/>
                      </a:lnTo>
                      <a:lnTo>
                        <a:pt x="113680" y="101676"/>
                      </a:lnTo>
                      <a:lnTo>
                        <a:pt x="114496" y="103053"/>
                      </a:lnTo>
                      <a:lnTo>
                        <a:pt x="114610" y="103746"/>
                      </a:lnTo>
                      <a:lnTo>
                        <a:pt x="113444" y="105564"/>
                      </a:lnTo>
                      <a:lnTo>
                        <a:pt x="112108" y="107177"/>
                      </a:lnTo>
                      <a:lnTo>
                        <a:pt x="106493" y="111236"/>
                      </a:lnTo>
                      <a:lnTo>
                        <a:pt x="105025" y="113347"/>
                      </a:lnTo>
                      <a:lnTo>
                        <a:pt x="100429" y="115824"/>
                      </a:lnTo>
                      <a:lnTo>
                        <a:pt x="98245" y="116297"/>
                      </a:lnTo>
                      <a:lnTo>
                        <a:pt x="95857" y="116297"/>
                      </a:lnTo>
                      <a:lnTo>
                        <a:pt x="91098" y="118285"/>
                      </a:lnTo>
                      <a:lnTo>
                        <a:pt x="83967" y="122254"/>
                      </a:lnTo>
                      <a:lnTo>
                        <a:pt x="79973" y="124740"/>
                      </a:lnTo>
                      <a:lnTo>
                        <a:pt x="79142" y="125783"/>
                      </a:lnTo>
                      <a:lnTo>
                        <a:pt x="77610" y="129141"/>
                      </a:lnTo>
                      <a:lnTo>
                        <a:pt x="76705" y="130168"/>
                      </a:lnTo>
                      <a:lnTo>
                        <a:pt x="75352" y="130616"/>
                      </a:lnTo>
                      <a:lnTo>
                        <a:pt x="73885" y="129825"/>
                      </a:lnTo>
                      <a:lnTo>
                        <a:pt x="71563" y="128611"/>
                      </a:lnTo>
                      <a:lnTo>
                        <a:pt x="69044" y="128138"/>
                      </a:lnTo>
                      <a:lnTo>
                        <a:pt x="66371" y="129198"/>
                      </a:lnTo>
                      <a:lnTo>
                        <a:pt x="64481" y="130363"/>
                      </a:lnTo>
                      <a:lnTo>
                        <a:pt x="63364" y="131887"/>
                      </a:lnTo>
                      <a:lnTo>
                        <a:pt x="63112" y="133802"/>
                      </a:lnTo>
                      <a:lnTo>
                        <a:pt x="63666" y="136084"/>
                      </a:lnTo>
                      <a:lnTo>
                        <a:pt x="63160" y="138545"/>
                      </a:lnTo>
                      <a:lnTo>
                        <a:pt x="61326" y="143973"/>
                      </a:lnTo>
                      <a:lnTo>
                        <a:pt x="60023" y="145473"/>
                      </a:lnTo>
                      <a:lnTo>
                        <a:pt x="58320" y="147437"/>
                      </a:lnTo>
                      <a:lnTo>
                        <a:pt x="55883" y="150713"/>
                      </a:lnTo>
                      <a:lnTo>
                        <a:pt x="51677" y="153427"/>
                      </a:lnTo>
                      <a:lnTo>
                        <a:pt x="42672" y="156630"/>
                      </a:lnTo>
                      <a:lnTo>
                        <a:pt x="33520" y="158740"/>
                      </a:lnTo>
                      <a:lnTo>
                        <a:pt x="29478" y="160036"/>
                      </a:lnTo>
                      <a:lnTo>
                        <a:pt x="27603" y="161226"/>
                      </a:lnTo>
                      <a:lnTo>
                        <a:pt x="23357" y="161503"/>
                      </a:lnTo>
                      <a:lnTo>
                        <a:pt x="16780" y="160859"/>
                      </a:lnTo>
                      <a:lnTo>
                        <a:pt x="10986" y="159547"/>
                      </a:lnTo>
                      <a:lnTo>
                        <a:pt x="2567" y="155896"/>
                      </a:lnTo>
                      <a:lnTo>
                        <a:pt x="766" y="154625"/>
                      </a:lnTo>
                      <a:lnTo>
                        <a:pt x="0" y="153671"/>
                      </a:lnTo>
                      <a:lnTo>
                        <a:pt x="220" y="153052"/>
                      </a:lnTo>
                      <a:lnTo>
                        <a:pt x="725" y="152628"/>
                      </a:lnTo>
                      <a:lnTo>
                        <a:pt x="1907" y="152286"/>
                      </a:lnTo>
                      <a:lnTo>
                        <a:pt x="10391" y="150892"/>
                      </a:lnTo>
                      <a:lnTo>
                        <a:pt x="15615" y="150395"/>
                      </a:lnTo>
                      <a:lnTo>
                        <a:pt x="20407" y="150346"/>
                      </a:lnTo>
                      <a:lnTo>
                        <a:pt x="23528" y="149531"/>
                      </a:lnTo>
                      <a:lnTo>
                        <a:pt x="24979" y="147950"/>
                      </a:lnTo>
                      <a:lnTo>
                        <a:pt x="27253" y="147160"/>
                      </a:lnTo>
                      <a:lnTo>
                        <a:pt x="28606" y="147160"/>
                      </a:lnTo>
                      <a:lnTo>
                        <a:pt x="30309" y="147160"/>
                      </a:lnTo>
                      <a:lnTo>
                        <a:pt x="33218" y="146720"/>
                      </a:lnTo>
                      <a:lnTo>
                        <a:pt x="35989" y="145848"/>
                      </a:lnTo>
                      <a:lnTo>
                        <a:pt x="37912" y="144650"/>
                      </a:lnTo>
                      <a:lnTo>
                        <a:pt x="38996" y="143150"/>
                      </a:lnTo>
                      <a:lnTo>
                        <a:pt x="40447" y="142009"/>
                      </a:lnTo>
                      <a:lnTo>
                        <a:pt x="42297" y="141243"/>
                      </a:lnTo>
                      <a:lnTo>
                        <a:pt x="46038" y="138350"/>
                      </a:lnTo>
                      <a:lnTo>
                        <a:pt x="49062" y="134348"/>
                      </a:lnTo>
                      <a:lnTo>
                        <a:pt x="53234" y="128016"/>
                      </a:lnTo>
                      <a:lnTo>
                        <a:pt x="58197" y="123354"/>
                      </a:lnTo>
                      <a:lnTo>
                        <a:pt x="63959" y="120372"/>
                      </a:lnTo>
                      <a:lnTo>
                        <a:pt x="67903" y="117976"/>
                      </a:lnTo>
                      <a:lnTo>
                        <a:pt x="70039" y="116134"/>
                      </a:lnTo>
                      <a:lnTo>
                        <a:pt x="71057" y="114797"/>
                      </a:lnTo>
                      <a:lnTo>
                        <a:pt x="74114" y="111423"/>
                      </a:lnTo>
                      <a:lnTo>
                        <a:pt x="75499" y="110030"/>
                      </a:lnTo>
                      <a:lnTo>
                        <a:pt x="76135" y="108660"/>
                      </a:lnTo>
                      <a:lnTo>
                        <a:pt x="78555" y="106158"/>
                      </a:lnTo>
                      <a:lnTo>
                        <a:pt x="78955" y="105050"/>
                      </a:lnTo>
                      <a:lnTo>
                        <a:pt x="78368" y="104048"/>
                      </a:lnTo>
                      <a:lnTo>
                        <a:pt x="75898" y="104317"/>
                      </a:lnTo>
                      <a:lnTo>
                        <a:pt x="76069" y="103477"/>
                      </a:lnTo>
                      <a:lnTo>
                        <a:pt x="77838" y="101293"/>
                      </a:lnTo>
                      <a:lnTo>
                        <a:pt x="83298" y="96110"/>
                      </a:lnTo>
                      <a:lnTo>
                        <a:pt x="87259" y="93298"/>
                      </a:lnTo>
                      <a:lnTo>
                        <a:pt x="94773" y="88694"/>
                      </a:lnTo>
                      <a:lnTo>
                        <a:pt x="95075" y="88188"/>
                      </a:lnTo>
                      <a:lnTo>
                        <a:pt x="95172" y="86338"/>
                      </a:lnTo>
                      <a:lnTo>
                        <a:pt x="95792" y="84619"/>
                      </a:lnTo>
                      <a:lnTo>
                        <a:pt x="97063" y="82239"/>
                      </a:lnTo>
                      <a:lnTo>
                        <a:pt x="101073" y="78466"/>
                      </a:lnTo>
                      <a:lnTo>
                        <a:pt x="107854" y="73282"/>
                      </a:lnTo>
                      <a:lnTo>
                        <a:pt x="111831" y="68498"/>
                      </a:lnTo>
                      <a:lnTo>
                        <a:pt x="113118" y="66225"/>
                      </a:lnTo>
                      <a:lnTo>
                        <a:pt x="113672" y="64652"/>
                      </a:lnTo>
                      <a:lnTo>
                        <a:pt x="115262" y="61066"/>
                      </a:lnTo>
                      <a:lnTo>
                        <a:pt x="116427" y="59680"/>
                      </a:lnTo>
                      <a:lnTo>
                        <a:pt x="118032" y="57146"/>
                      </a:lnTo>
                      <a:lnTo>
                        <a:pt x="119165" y="54391"/>
                      </a:lnTo>
                      <a:lnTo>
                        <a:pt x="119850" y="51392"/>
                      </a:lnTo>
                      <a:lnTo>
                        <a:pt x="120999" y="48988"/>
                      </a:lnTo>
                      <a:lnTo>
                        <a:pt x="124218" y="44889"/>
                      </a:lnTo>
                      <a:lnTo>
                        <a:pt x="125791" y="42167"/>
                      </a:lnTo>
                      <a:lnTo>
                        <a:pt x="126826" y="39648"/>
                      </a:lnTo>
                      <a:lnTo>
                        <a:pt x="127307" y="37334"/>
                      </a:lnTo>
                      <a:lnTo>
                        <a:pt x="128179" y="35321"/>
                      </a:lnTo>
                      <a:lnTo>
                        <a:pt x="129434" y="33601"/>
                      </a:lnTo>
                      <a:lnTo>
                        <a:pt x="129719" y="32354"/>
                      </a:lnTo>
                      <a:lnTo>
                        <a:pt x="129035" y="31572"/>
                      </a:lnTo>
                      <a:lnTo>
                        <a:pt x="129939" y="30350"/>
                      </a:lnTo>
                      <a:lnTo>
                        <a:pt x="132425" y="28663"/>
                      </a:lnTo>
                      <a:lnTo>
                        <a:pt x="133827" y="25941"/>
                      </a:lnTo>
                      <a:lnTo>
                        <a:pt x="135343" y="22347"/>
                      </a:lnTo>
                      <a:lnTo>
                        <a:pt x="136011" y="19763"/>
                      </a:lnTo>
                      <a:lnTo>
                        <a:pt x="136394" y="14270"/>
                      </a:lnTo>
                      <a:lnTo>
                        <a:pt x="135839" y="12045"/>
                      </a:lnTo>
                      <a:lnTo>
                        <a:pt x="135905" y="9299"/>
                      </a:lnTo>
                      <a:lnTo>
                        <a:pt x="137038" y="7807"/>
                      </a:lnTo>
                      <a:lnTo>
                        <a:pt x="138888" y="6536"/>
                      </a:lnTo>
                      <a:lnTo>
                        <a:pt x="143696" y="1826"/>
                      </a:lnTo>
                      <a:lnTo>
                        <a:pt x="145399" y="277"/>
                      </a:lnTo>
                      <a:lnTo>
                        <a:pt x="147657" y="0"/>
                      </a:lnTo>
                      <a:lnTo>
                        <a:pt x="149980" y="196"/>
                      </a:lnTo>
                      <a:lnTo>
                        <a:pt x="152131" y="913"/>
                      </a:lnTo>
                      <a:lnTo>
                        <a:pt x="154804" y="4067"/>
                      </a:lnTo>
                      <a:lnTo>
                        <a:pt x="152481" y="7791"/>
                      </a:lnTo>
                      <a:lnTo>
                        <a:pt x="152530" y="9136"/>
                      </a:lnTo>
                      <a:close/>
                    </a:path>
                  </a:pathLst>
                </a:custGeom>
                <a:solidFill>
                  <a:srgbClr val="FFFFFF"/>
                </a:solidFill>
                <a:ln w="8150" cap="flat">
                  <a:noFill/>
                  <a:prstDash val="solid"/>
                  <a:miter/>
                </a:ln>
              </p:spPr>
              <p:txBody>
                <a:bodyPr rtlCol="0" anchor="ctr"/>
                <a:lstStyle/>
                <a:p>
                  <a:endParaRPr lang="en-US"/>
                </a:p>
              </p:txBody>
            </p:sp>
            <p:sp>
              <p:nvSpPr>
                <p:cNvPr id="419" name="Freeform: Shape 418">
                  <a:extLst>
                    <a:ext uri="{FF2B5EF4-FFF2-40B4-BE49-F238E27FC236}">
                      <a16:creationId xmlns:a16="http://schemas.microsoft.com/office/drawing/2014/main" id="{EEEC02CD-F619-4D11-9DDE-58811C262A44}"/>
                    </a:ext>
                  </a:extLst>
                </p:cNvPr>
                <p:cNvSpPr/>
                <p:nvPr/>
              </p:nvSpPr>
              <p:spPr>
                <a:xfrm>
                  <a:off x="6723268" y="4507309"/>
                  <a:ext cx="78180" cy="103509"/>
                </a:xfrm>
                <a:custGeom>
                  <a:avLst/>
                  <a:gdLst>
                    <a:gd name="connsiteX0" fmla="*/ 75792 w 78180"/>
                    <a:gd name="connsiteY0" fmla="*/ 16886 h 103509"/>
                    <a:gd name="connsiteX1" fmla="*/ 75792 w 78180"/>
                    <a:gd name="connsiteY1" fmla="*/ 16886 h 103509"/>
                    <a:gd name="connsiteX2" fmla="*/ 75792 w 78180"/>
                    <a:gd name="connsiteY2" fmla="*/ 16886 h 103509"/>
                    <a:gd name="connsiteX3" fmla="*/ 78180 w 78180"/>
                    <a:gd name="connsiteY3" fmla="*/ 22387 h 103509"/>
                    <a:gd name="connsiteX4" fmla="*/ 77797 w 78180"/>
                    <a:gd name="connsiteY4" fmla="*/ 23007 h 103509"/>
                    <a:gd name="connsiteX5" fmla="*/ 75442 w 78180"/>
                    <a:gd name="connsiteY5" fmla="*/ 23862 h 103509"/>
                    <a:gd name="connsiteX6" fmla="*/ 72305 w 78180"/>
                    <a:gd name="connsiteY6" fmla="*/ 24009 h 103509"/>
                    <a:gd name="connsiteX7" fmla="*/ 69851 w 78180"/>
                    <a:gd name="connsiteY7" fmla="*/ 24710 h 103509"/>
                    <a:gd name="connsiteX8" fmla="*/ 69370 w 78180"/>
                    <a:gd name="connsiteY8" fmla="*/ 25183 h 103509"/>
                    <a:gd name="connsiteX9" fmla="*/ 69786 w 78180"/>
                    <a:gd name="connsiteY9" fmla="*/ 28035 h 103509"/>
                    <a:gd name="connsiteX10" fmla="*/ 69305 w 78180"/>
                    <a:gd name="connsiteY10" fmla="*/ 28964 h 103509"/>
                    <a:gd name="connsiteX11" fmla="*/ 68539 w 78180"/>
                    <a:gd name="connsiteY11" fmla="*/ 29168 h 103509"/>
                    <a:gd name="connsiteX12" fmla="*/ 67300 w 78180"/>
                    <a:gd name="connsiteY12" fmla="*/ 27872 h 103509"/>
                    <a:gd name="connsiteX13" fmla="*/ 66151 w 78180"/>
                    <a:gd name="connsiteY13" fmla="*/ 27888 h 103509"/>
                    <a:gd name="connsiteX14" fmla="*/ 64831 w 78180"/>
                    <a:gd name="connsiteY14" fmla="*/ 27473 h 103509"/>
                    <a:gd name="connsiteX15" fmla="*/ 63380 w 78180"/>
                    <a:gd name="connsiteY15" fmla="*/ 27359 h 103509"/>
                    <a:gd name="connsiteX16" fmla="*/ 62329 w 78180"/>
                    <a:gd name="connsiteY16" fmla="*/ 28206 h 103509"/>
                    <a:gd name="connsiteX17" fmla="*/ 59958 w 78180"/>
                    <a:gd name="connsiteY17" fmla="*/ 31474 h 103509"/>
                    <a:gd name="connsiteX18" fmla="*/ 59477 w 78180"/>
                    <a:gd name="connsiteY18" fmla="*/ 33438 h 103509"/>
                    <a:gd name="connsiteX19" fmla="*/ 59664 w 78180"/>
                    <a:gd name="connsiteY19" fmla="*/ 35834 h 103509"/>
                    <a:gd name="connsiteX20" fmla="*/ 60601 w 78180"/>
                    <a:gd name="connsiteY20" fmla="*/ 38027 h 103509"/>
                    <a:gd name="connsiteX21" fmla="*/ 62019 w 78180"/>
                    <a:gd name="connsiteY21" fmla="*/ 40455 h 103509"/>
                    <a:gd name="connsiteX22" fmla="*/ 61555 w 78180"/>
                    <a:gd name="connsiteY22" fmla="*/ 42273 h 103509"/>
                    <a:gd name="connsiteX23" fmla="*/ 60984 w 78180"/>
                    <a:gd name="connsiteY23" fmla="*/ 43324 h 103509"/>
                    <a:gd name="connsiteX24" fmla="*/ 59713 w 78180"/>
                    <a:gd name="connsiteY24" fmla="*/ 44009 h 103509"/>
                    <a:gd name="connsiteX25" fmla="*/ 59550 w 78180"/>
                    <a:gd name="connsiteY25" fmla="*/ 45076 h 103509"/>
                    <a:gd name="connsiteX26" fmla="*/ 56290 w 78180"/>
                    <a:gd name="connsiteY26" fmla="*/ 49697 h 103509"/>
                    <a:gd name="connsiteX27" fmla="*/ 55573 w 78180"/>
                    <a:gd name="connsiteY27" fmla="*/ 51474 h 103509"/>
                    <a:gd name="connsiteX28" fmla="*/ 55671 w 78180"/>
                    <a:gd name="connsiteY28" fmla="*/ 52411 h 103509"/>
                    <a:gd name="connsiteX29" fmla="*/ 56803 w 78180"/>
                    <a:gd name="connsiteY29" fmla="*/ 53682 h 103509"/>
                    <a:gd name="connsiteX30" fmla="*/ 56551 w 78180"/>
                    <a:gd name="connsiteY30" fmla="*/ 54236 h 103509"/>
                    <a:gd name="connsiteX31" fmla="*/ 54098 w 78180"/>
                    <a:gd name="connsiteY31" fmla="*/ 54310 h 103509"/>
                    <a:gd name="connsiteX32" fmla="*/ 53731 w 78180"/>
                    <a:gd name="connsiteY32" fmla="*/ 54946 h 103509"/>
                    <a:gd name="connsiteX33" fmla="*/ 53731 w 78180"/>
                    <a:gd name="connsiteY33" fmla="*/ 55752 h 103509"/>
                    <a:gd name="connsiteX34" fmla="*/ 53413 w 78180"/>
                    <a:gd name="connsiteY34" fmla="*/ 56225 h 103509"/>
                    <a:gd name="connsiteX35" fmla="*/ 53560 w 78180"/>
                    <a:gd name="connsiteY35" fmla="*/ 56787 h 103509"/>
                    <a:gd name="connsiteX36" fmla="*/ 55883 w 78180"/>
                    <a:gd name="connsiteY36" fmla="*/ 58906 h 103509"/>
                    <a:gd name="connsiteX37" fmla="*/ 56029 w 78180"/>
                    <a:gd name="connsiteY37" fmla="*/ 59452 h 103509"/>
                    <a:gd name="connsiteX38" fmla="*/ 55247 w 78180"/>
                    <a:gd name="connsiteY38" fmla="*/ 59428 h 103509"/>
                    <a:gd name="connsiteX39" fmla="*/ 52794 w 78180"/>
                    <a:gd name="connsiteY39" fmla="*/ 58605 h 103509"/>
                    <a:gd name="connsiteX40" fmla="*/ 51294 w 78180"/>
                    <a:gd name="connsiteY40" fmla="*/ 58442 h 103509"/>
                    <a:gd name="connsiteX41" fmla="*/ 50194 w 78180"/>
                    <a:gd name="connsiteY41" fmla="*/ 58678 h 103509"/>
                    <a:gd name="connsiteX42" fmla="*/ 49746 w 78180"/>
                    <a:gd name="connsiteY42" fmla="*/ 59208 h 103509"/>
                    <a:gd name="connsiteX43" fmla="*/ 49208 w 78180"/>
                    <a:gd name="connsiteY43" fmla="*/ 61156 h 103509"/>
                    <a:gd name="connsiteX44" fmla="*/ 49713 w 78180"/>
                    <a:gd name="connsiteY44" fmla="*/ 62142 h 103509"/>
                    <a:gd name="connsiteX45" fmla="*/ 49917 w 78180"/>
                    <a:gd name="connsiteY45" fmla="*/ 63169 h 103509"/>
                    <a:gd name="connsiteX46" fmla="*/ 48100 w 78180"/>
                    <a:gd name="connsiteY46" fmla="*/ 64741 h 103509"/>
                    <a:gd name="connsiteX47" fmla="*/ 47880 w 78180"/>
                    <a:gd name="connsiteY47" fmla="*/ 66852 h 103509"/>
                    <a:gd name="connsiteX48" fmla="*/ 46731 w 78180"/>
                    <a:gd name="connsiteY48" fmla="*/ 68001 h 103509"/>
                    <a:gd name="connsiteX49" fmla="*/ 45296 w 78180"/>
                    <a:gd name="connsiteY49" fmla="*/ 68678 h 103509"/>
                    <a:gd name="connsiteX50" fmla="*/ 43128 w 78180"/>
                    <a:gd name="connsiteY50" fmla="*/ 68368 h 103509"/>
                    <a:gd name="connsiteX51" fmla="*/ 42256 w 78180"/>
                    <a:gd name="connsiteY51" fmla="*/ 68914 h 103509"/>
                    <a:gd name="connsiteX52" fmla="*/ 41384 w 78180"/>
                    <a:gd name="connsiteY52" fmla="*/ 69949 h 103509"/>
                    <a:gd name="connsiteX53" fmla="*/ 40553 w 78180"/>
                    <a:gd name="connsiteY53" fmla="*/ 71652 h 103509"/>
                    <a:gd name="connsiteX54" fmla="*/ 44343 w 78180"/>
                    <a:gd name="connsiteY54" fmla="*/ 71465 h 103509"/>
                    <a:gd name="connsiteX55" fmla="*/ 45027 w 78180"/>
                    <a:gd name="connsiteY55" fmla="*/ 71840 h 103509"/>
                    <a:gd name="connsiteX56" fmla="*/ 45345 w 78180"/>
                    <a:gd name="connsiteY56" fmla="*/ 72598 h 103509"/>
                    <a:gd name="connsiteX57" fmla="*/ 46079 w 78180"/>
                    <a:gd name="connsiteY57" fmla="*/ 73405 h 103509"/>
                    <a:gd name="connsiteX58" fmla="*/ 46176 w 78180"/>
                    <a:gd name="connsiteY58" fmla="*/ 73902 h 103509"/>
                    <a:gd name="connsiteX59" fmla="*/ 43405 w 78180"/>
                    <a:gd name="connsiteY59" fmla="*/ 73934 h 103509"/>
                    <a:gd name="connsiteX60" fmla="*/ 42452 w 78180"/>
                    <a:gd name="connsiteY60" fmla="*/ 74978 h 103509"/>
                    <a:gd name="connsiteX61" fmla="*/ 40618 w 78180"/>
                    <a:gd name="connsiteY61" fmla="*/ 74717 h 103509"/>
                    <a:gd name="connsiteX62" fmla="*/ 38948 w 78180"/>
                    <a:gd name="connsiteY62" fmla="*/ 76167 h 103509"/>
                    <a:gd name="connsiteX63" fmla="*/ 38784 w 78180"/>
                    <a:gd name="connsiteY63" fmla="*/ 76893 h 103509"/>
                    <a:gd name="connsiteX64" fmla="*/ 40007 w 78180"/>
                    <a:gd name="connsiteY64" fmla="*/ 77740 h 103509"/>
                    <a:gd name="connsiteX65" fmla="*/ 45989 w 78180"/>
                    <a:gd name="connsiteY65" fmla="*/ 78865 h 103509"/>
                    <a:gd name="connsiteX66" fmla="*/ 47659 w 78180"/>
                    <a:gd name="connsiteY66" fmla="*/ 79036 h 103509"/>
                    <a:gd name="connsiteX67" fmla="*/ 51849 w 78180"/>
                    <a:gd name="connsiteY67" fmla="*/ 77357 h 103509"/>
                    <a:gd name="connsiteX68" fmla="*/ 52867 w 78180"/>
                    <a:gd name="connsiteY68" fmla="*/ 77716 h 103509"/>
                    <a:gd name="connsiteX69" fmla="*/ 53234 w 78180"/>
                    <a:gd name="connsiteY69" fmla="*/ 78726 h 103509"/>
                    <a:gd name="connsiteX70" fmla="*/ 53217 w 78180"/>
                    <a:gd name="connsiteY70" fmla="*/ 79770 h 103509"/>
                    <a:gd name="connsiteX71" fmla="*/ 52182 w 78180"/>
                    <a:gd name="connsiteY71" fmla="*/ 81155 h 103509"/>
                    <a:gd name="connsiteX72" fmla="*/ 47888 w 78180"/>
                    <a:gd name="connsiteY72" fmla="*/ 84725 h 103509"/>
                    <a:gd name="connsiteX73" fmla="*/ 45818 w 78180"/>
                    <a:gd name="connsiteY73" fmla="*/ 86901 h 103509"/>
                    <a:gd name="connsiteX74" fmla="*/ 43894 w 78180"/>
                    <a:gd name="connsiteY74" fmla="*/ 87781 h 103509"/>
                    <a:gd name="connsiteX75" fmla="*/ 44131 w 78180"/>
                    <a:gd name="connsiteY75" fmla="*/ 89060 h 103509"/>
                    <a:gd name="connsiteX76" fmla="*/ 44017 w 78180"/>
                    <a:gd name="connsiteY76" fmla="*/ 89647 h 103509"/>
                    <a:gd name="connsiteX77" fmla="*/ 43479 w 78180"/>
                    <a:gd name="connsiteY77" fmla="*/ 89924 h 103509"/>
                    <a:gd name="connsiteX78" fmla="*/ 38385 w 78180"/>
                    <a:gd name="connsiteY78" fmla="*/ 88653 h 103509"/>
                    <a:gd name="connsiteX79" fmla="*/ 34832 w 78180"/>
                    <a:gd name="connsiteY79" fmla="*/ 86306 h 103509"/>
                    <a:gd name="connsiteX80" fmla="*/ 33145 w 78180"/>
                    <a:gd name="connsiteY80" fmla="*/ 86053 h 103509"/>
                    <a:gd name="connsiteX81" fmla="*/ 31792 w 78180"/>
                    <a:gd name="connsiteY81" fmla="*/ 86623 h 103509"/>
                    <a:gd name="connsiteX82" fmla="*/ 30887 w 78180"/>
                    <a:gd name="connsiteY82" fmla="*/ 87471 h 103509"/>
                    <a:gd name="connsiteX83" fmla="*/ 30504 w 78180"/>
                    <a:gd name="connsiteY83" fmla="*/ 88514 h 103509"/>
                    <a:gd name="connsiteX84" fmla="*/ 30300 w 78180"/>
                    <a:gd name="connsiteY84" fmla="*/ 93901 h 103509"/>
                    <a:gd name="connsiteX85" fmla="*/ 31857 w 78180"/>
                    <a:gd name="connsiteY85" fmla="*/ 98514 h 103509"/>
                    <a:gd name="connsiteX86" fmla="*/ 32240 w 78180"/>
                    <a:gd name="connsiteY86" fmla="*/ 99419 h 103509"/>
                    <a:gd name="connsiteX87" fmla="*/ 30504 w 78180"/>
                    <a:gd name="connsiteY87" fmla="*/ 99818 h 103509"/>
                    <a:gd name="connsiteX88" fmla="*/ 27701 w 78180"/>
                    <a:gd name="connsiteY88" fmla="*/ 103102 h 103509"/>
                    <a:gd name="connsiteX89" fmla="*/ 27204 w 78180"/>
                    <a:gd name="connsiteY89" fmla="*/ 103510 h 103509"/>
                    <a:gd name="connsiteX90" fmla="*/ 27538 w 78180"/>
                    <a:gd name="connsiteY90" fmla="*/ 101277 h 103509"/>
                    <a:gd name="connsiteX91" fmla="*/ 27318 w 78180"/>
                    <a:gd name="connsiteY91" fmla="*/ 99989 h 103509"/>
                    <a:gd name="connsiteX92" fmla="*/ 29372 w 78180"/>
                    <a:gd name="connsiteY92" fmla="*/ 97895 h 103509"/>
                    <a:gd name="connsiteX93" fmla="*/ 29738 w 78180"/>
                    <a:gd name="connsiteY93" fmla="*/ 96689 h 103509"/>
                    <a:gd name="connsiteX94" fmla="*/ 28548 w 78180"/>
                    <a:gd name="connsiteY94" fmla="*/ 93396 h 103509"/>
                    <a:gd name="connsiteX95" fmla="*/ 28801 w 78180"/>
                    <a:gd name="connsiteY95" fmla="*/ 90291 h 103509"/>
                    <a:gd name="connsiteX96" fmla="*/ 28483 w 78180"/>
                    <a:gd name="connsiteY96" fmla="*/ 89443 h 103509"/>
                    <a:gd name="connsiteX97" fmla="*/ 27000 w 78180"/>
                    <a:gd name="connsiteY97" fmla="*/ 89403 h 103509"/>
                    <a:gd name="connsiteX98" fmla="*/ 25794 w 78180"/>
                    <a:gd name="connsiteY98" fmla="*/ 89044 h 103509"/>
                    <a:gd name="connsiteX99" fmla="*/ 25362 w 78180"/>
                    <a:gd name="connsiteY99" fmla="*/ 88718 h 103509"/>
                    <a:gd name="connsiteX100" fmla="*/ 25011 w 78180"/>
                    <a:gd name="connsiteY100" fmla="*/ 87667 h 103509"/>
                    <a:gd name="connsiteX101" fmla="*/ 24327 w 78180"/>
                    <a:gd name="connsiteY101" fmla="*/ 87153 h 103509"/>
                    <a:gd name="connsiteX102" fmla="*/ 21955 w 78180"/>
                    <a:gd name="connsiteY102" fmla="*/ 89231 h 103509"/>
                    <a:gd name="connsiteX103" fmla="*/ 21637 w 78180"/>
                    <a:gd name="connsiteY103" fmla="*/ 88816 h 103509"/>
                    <a:gd name="connsiteX104" fmla="*/ 21637 w 78180"/>
                    <a:gd name="connsiteY104" fmla="*/ 87862 h 103509"/>
                    <a:gd name="connsiteX105" fmla="*/ 21287 w 78180"/>
                    <a:gd name="connsiteY105" fmla="*/ 87601 h 103509"/>
                    <a:gd name="connsiteX106" fmla="*/ 19266 w 78180"/>
                    <a:gd name="connsiteY106" fmla="*/ 87324 h 103509"/>
                    <a:gd name="connsiteX107" fmla="*/ 18076 w 78180"/>
                    <a:gd name="connsiteY107" fmla="*/ 86672 h 103509"/>
                    <a:gd name="connsiteX108" fmla="*/ 17228 w 78180"/>
                    <a:gd name="connsiteY108" fmla="*/ 85825 h 103509"/>
                    <a:gd name="connsiteX109" fmla="*/ 16291 w 78180"/>
                    <a:gd name="connsiteY109" fmla="*/ 83127 h 103509"/>
                    <a:gd name="connsiteX110" fmla="*/ 15387 w 78180"/>
                    <a:gd name="connsiteY110" fmla="*/ 82483 h 103509"/>
                    <a:gd name="connsiteX111" fmla="*/ 14319 w 78180"/>
                    <a:gd name="connsiteY111" fmla="*/ 82500 h 103509"/>
                    <a:gd name="connsiteX112" fmla="*/ 13602 w 78180"/>
                    <a:gd name="connsiteY112" fmla="*/ 83307 h 103509"/>
                    <a:gd name="connsiteX113" fmla="*/ 12664 w 78180"/>
                    <a:gd name="connsiteY113" fmla="*/ 84985 h 103509"/>
                    <a:gd name="connsiteX114" fmla="*/ 11197 w 78180"/>
                    <a:gd name="connsiteY114" fmla="*/ 85320 h 103509"/>
                    <a:gd name="connsiteX115" fmla="*/ 10749 w 78180"/>
                    <a:gd name="connsiteY115" fmla="*/ 85825 h 103509"/>
                    <a:gd name="connsiteX116" fmla="*/ 11850 w 78180"/>
                    <a:gd name="connsiteY116" fmla="*/ 88580 h 103509"/>
                    <a:gd name="connsiteX117" fmla="*/ 12086 w 78180"/>
                    <a:gd name="connsiteY117" fmla="*/ 89745 h 103509"/>
                    <a:gd name="connsiteX118" fmla="*/ 11589 w 78180"/>
                    <a:gd name="connsiteY118" fmla="*/ 90103 h 103509"/>
                    <a:gd name="connsiteX119" fmla="*/ 9119 w 78180"/>
                    <a:gd name="connsiteY119" fmla="*/ 89492 h 103509"/>
                    <a:gd name="connsiteX120" fmla="*/ 8003 w 78180"/>
                    <a:gd name="connsiteY120" fmla="*/ 90397 h 103509"/>
                    <a:gd name="connsiteX121" fmla="*/ 7571 w 78180"/>
                    <a:gd name="connsiteY121" fmla="*/ 92247 h 103509"/>
                    <a:gd name="connsiteX122" fmla="*/ 7840 w 78180"/>
                    <a:gd name="connsiteY122" fmla="*/ 94301 h 103509"/>
                    <a:gd name="connsiteX123" fmla="*/ 8443 w 78180"/>
                    <a:gd name="connsiteY123" fmla="*/ 96689 h 103509"/>
                    <a:gd name="connsiteX124" fmla="*/ 7612 w 78180"/>
                    <a:gd name="connsiteY124" fmla="*/ 96534 h 103509"/>
                    <a:gd name="connsiteX125" fmla="*/ 6308 w 78180"/>
                    <a:gd name="connsiteY125" fmla="*/ 94219 h 103509"/>
                    <a:gd name="connsiteX126" fmla="*/ 5811 w 78180"/>
                    <a:gd name="connsiteY126" fmla="*/ 94407 h 103509"/>
                    <a:gd name="connsiteX127" fmla="*/ 5493 w 78180"/>
                    <a:gd name="connsiteY127" fmla="*/ 95002 h 103509"/>
                    <a:gd name="connsiteX128" fmla="*/ 4572 w 78180"/>
                    <a:gd name="connsiteY128" fmla="*/ 95156 h 103509"/>
                    <a:gd name="connsiteX129" fmla="*/ 3855 w 78180"/>
                    <a:gd name="connsiteY129" fmla="*/ 97927 h 103509"/>
                    <a:gd name="connsiteX130" fmla="*/ 3406 w 78180"/>
                    <a:gd name="connsiteY130" fmla="*/ 97715 h 103509"/>
                    <a:gd name="connsiteX131" fmla="*/ 2991 w 78180"/>
                    <a:gd name="connsiteY131" fmla="*/ 96485 h 103509"/>
                    <a:gd name="connsiteX132" fmla="*/ 2926 w 78180"/>
                    <a:gd name="connsiteY132" fmla="*/ 94806 h 103509"/>
                    <a:gd name="connsiteX133" fmla="*/ 3757 w 78180"/>
                    <a:gd name="connsiteY133" fmla="*/ 92630 h 103509"/>
                    <a:gd name="connsiteX134" fmla="*/ 2624 w 78180"/>
                    <a:gd name="connsiteY134" fmla="*/ 91921 h 103509"/>
                    <a:gd name="connsiteX135" fmla="*/ 1956 w 78180"/>
                    <a:gd name="connsiteY135" fmla="*/ 91000 h 103509"/>
                    <a:gd name="connsiteX136" fmla="*/ 1785 w 78180"/>
                    <a:gd name="connsiteY136" fmla="*/ 89883 h 103509"/>
                    <a:gd name="connsiteX137" fmla="*/ 3040 w 78180"/>
                    <a:gd name="connsiteY137" fmla="*/ 87976 h 103509"/>
                    <a:gd name="connsiteX138" fmla="*/ 2909 w 78180"/>
                    <a:gd name="connsiteY138" fmla="*/ 87194 h 103509"/>
                    <a:gd name="connsiteX139" fmla="*/ 2543 w 78180"/>
                    <a:gd name="connsiteY139" fmla="*/ 85980 h 103509"/>
                    <a:gd name="connsiteX140" fmla="*/ 1874 w 78180"/>
                    <a:gd name="connsiteY140" fmla="*/ 84716 h 103509"/>
                    <a:gd name="connsiteX141" fmla="*/ 937 w 78180"/>
                    <a:gd name="connsiteY141" fmla="*/ 83861 h 103509"/>
                    <a:gd name="connsiteX142" fmla="*/ 285 w 78180"/>
                    <a:gd name="connsiteY142" fmla="*/ 82329 h 103509"/>
                    <a:gd name="connsiteX143" fmla="*/ 285 w 78180"/>
                    <a:gd name="connsiteY143" fmla="*/ 76428 h 103509"/>
                    <a:gd name="connsiteX144" fmla="*/ 0 w 78180"/>
                    <a:gd name="connsiteY144" fmla="*/ 74521 h 103509"/>
                    <a:gd name="connsiteX145" fmla="*/ 16 w 78180"/>
                    <a:gd name="connsiteY145" fmla="*/ 71995 h 103509"/>
                    <a:gd name="connsiteX146" fmla="*/ 2486 w 78180"/>
                    <a:gd name="connsiteY146" fmla="*/ 58817 h 103509"/>
                    <a:gd name="connsiteX147" fmla="*/ 3651 w 78180"/>
                    <a:gd name="connsiteY147" fmla="*/ 56624 h 103509"/>
                    <a:gd name="connsiteX148" fmla="*/ 4018 w 78180"/>
                    <a:gd name="connsiteY148" fmla="*/ 54840 h 103509"/>
                    <a:gd name="connsiteX149" fmla="*/ 5004 w 78180"/>
                    <a:gd name="connsiteY149" fmla="*/ 46837 h 103509"/>
                    <a:gd name="connsiteX150" fmla="*/ 4890 w 78180"/>
                    <a:gd name="connsiteY150" fmla="*/ 45394 h 103509"/>
                    <a:gd name="connsiteX151" fmla="*/ 4605 w 78180"/>
                    <a:gd name="connsiteY151" fmla="*/ 44579 h 103509"/>
                    <a:gd name="connsiteX152" fmla="*/ 4099 w 78180"/>
                    <a:gd name="connsiteY152" fmla="*/ 44465 h 103509"/>
                    <a:gd name="connsiteX153" fmla="*/ 3496 w 78180"/>
                    <a:gd name="connsiteY153" fmla="*/ 44726 h 103509"/>
                    <a:gd name="connsiteX154" fmla="*/ 2958 w 78180"/>
                    <a:gd name="connsiteY154" fmla="*/ 44392 h 103509"/>
                    <a:gd name="connsiteX155" fmla="*/ 2592 w 78180"/>
                    <a:gd name="connsiteY155" fmla="*/ 42167 h 103509"/>
                    <a:gd name="connsiteX156" fmla="*/ 2306 w 78180"/>
                    <a:gd name="connsiteY156" fmla="*/ 40724 h 103509"/>
                    <a:gd name="connsiteX157" fmla="*/ 1720 w 78180"/>
                    <a:gd name="connsiteY157" fmla="*/ 39208 h 103509"/>
                    <a:gd name="connsiteX158" fmla="*/ 1499 w 78180"/>
                    <a:gd name="connsiteY158" fmla="*/ 37790 h 103509"/>
                    <a:gd name="connsiteX159" fmla="*/ 3839 w 78180"/>
                    <a:gd name="connsiteY159" fmla="*/ 31165 h 103509"/>
                    <a:gd name="connsiteX160" fmla="*/ 5044 w 78180"/>
                    <a:gd name="connsiteY160" fmla="*/ 28532 h 103509"/>
                    <a:gd name="connsiteX161" fmla="*/ 8215 w 78180"/>
                    <a:gd name="connsiteY161" fmla="*/ 23757 h 103509"/>
                    <a:gd name="connsiteX162" fmla="*/ 8378 w 78180"/>
                    <a:gd name="connsiteY162" fmla="*/ 21776 h 103509"/>
                    <a:gd name="connsiteX163" fmla="*/ 7758 w 78180"/>
                    <a:gd name="connsiteY163" fmla="*/ 20488 h 103509"/>
                    <a:gd name="connsiteX164" fmla="*/ 6886 w 78180"/>
                    <a:gd name="connsiteY164" fmla="*/ 19559 h 103509"/>
                    <a:gd name="connsiteX165" fmla="*/ 6715 w 78180"/>
                    <a:gd name="connsiteY165" fmla="*/ 18899 h 103509"/>
                    <a:gd name="connsiteX166" fmla="*/ 7147 w 78180"/>
                    <a:gd name="connsiteY166" fmla="*/ 18101 h 103509"/>
                    <a:gd name="connsiteX167" fmla="*/ 9184 w 78180"/>
                    <a:gd name="connsiteY167" fmla="*/ 16862 h 103509"/>
                    <a:gd name="connsiteX168" fmla="*/ 9739 w 78180"/>
                    <a:gd name="connsiteY168" fmla="*/ 15843 h 103509"/>
                    <a:gd name="connsiteX169" fmla="*/ 12314 w 78180"/>
                    <a:gd name="connsiteY169" fmla="*/ 15338 h 103509"/>
                    <a:gd name="connsiteX170" fmla="*/ 13553 w 78180"/>
                    <a:gd name="connsiteY170" fmla="*/ 13879 h 103509"/>
                    <a:gd name="connsiteX171" fmla="*/ 14759 w 78180"/>
                    <a:gd name="connsiteY171" fmla="*/ 14303 h 103509"/>
                    <a:gd name="connsiteX172" fmla="*/ 15476 w 78180"/>
                    <a:gd name="connsiteY172" fmla="*/ 13529 h 103509"/>
                    <a:gd name="connsiteX173" fmla="*/ 17065 w 78180"/>
                    <a:gd name="connsiteY173" fmla="*/ 13700 h 103509"/>
                    <a:gd name="connsiteX174" fmla="*/ 17880 w 78180"/>
                    <a:gd name="connsiteY174" fmla="*/ 12168 h 103509"/>
                    <a:gd name="connsiteX175" fmla="*/ 18614 w 78180"/>
                    <a:gd name="connsiteY175" fmla="*/ 11475 h 103509"/>
                    <a:gd name="connsiteX176" fmla="*/ 19217 w 78180"/>
                    <a:gd name="connsiteY176" fmla="*/ 11369 h 103509"/>
                    <a:gd name="connsiteX177" fmla="*/ 19502 w 78180"/>
                    <a:gd name="connsiteY177" fmla="*/ 12469 h 103509"/>
                    <a:gd name="connsiteX178" fmla="*/ 20423 w 78180"/>
                    <a:gd name="connsiteY178" fmla="*/ 12567 h 103509"/>
                    <a:gd name="connsiteX179" fmla="*/ 21572 w 78180"/>
                    <a:gd name="connsiteY179" fmla="*/ 12062 h 103509"/>
                    <a:gd name="connsiteX180" fmla="*/ 22355 w 78180"/>
                    <a:gd name="connsiteY180" fmla="*/ 11190 h 103509"/>
                    <a:gd name="connsiteX181" fmla="*/ 22942 w 78180"/>
                    <a:gd name="connsiteY181" fmla="*/ 8353 h 103509"/>
                    <a:gd name="connsiteX182" fmla="*/ 23626 w 78180"/>
                    <a:gd name="connsiteY182" fmla="*/ 7115 h 103509"/>
                    <a:gd name="connsiteX183" fmla="*/ 24408 w 78180"/>
                    <a:gd name="connsiteY183" fmla="*/ 6585 h 103509"/>
                    <a:gd name="connsiteX184" fmla="*/ 25240 w 78180"/>
                    <a:gd name="connsiteY184" fmla="*/ 8476 h 103509"/>
                    <a:gd name="connsiteX185" fmla="*/ 26006 w 78180"/>
                    <a:gd name="connsiteY185" fmla="*/ 8777 h 103509"/>
                    <a:gd name="connsiteX186" fmla="*/ 25150 w 78180"/>
                    <a:gd name="connsiteY186" fmla="*/ 10040 h 103509"/>
                    <a:gd name="connsiteX187" fmla="*/ 25003 w 78180"/>
                    <a:gd name="connsiteY187" fmla="*/ 10635 h 103509"/>
                    <a:gd name="connsiteX188" fmla="*/ 25525 w 78180"/>
                    <a:gd name="connsiteY188" fmla="*/ 10912 h 103509"/>
                    <a:gd name="connsiteX189" fmla="*/ 26593 w 78180"/>
                    <a:gd name="connsiteY189" fmla="*/ 10896 h 103509"/>
                    <a:gd name="connsiteX190" fmla="*/ 27709 w 78180"/>
                    <a:gd name="connsiteY190" fmla="*/ 10578 h 103509"/>
                    <a:gd name="connsiteX191" fmla="*/ 29526 w 78180"/>
                    <a:gd name="connsiteY191" fmla="*/ 9062 h 103509"/>
                    <a:gd name="connsiteX192" fmla="*/ 30178 w 78180"/>
                    <a:gd name="connsiteY192" fmla="*/ 9079 h 103509"/>
                    <a:gd name="connsiteX193" fmla="*/ 30577 w 78180"/>
                    <a:gd name="connsiteY193" fmla="*/ 10766 h 103509"/>
                    <a:gd name="connsiteX194" fmla="*/ 31075 w 78180"/>
                    <a:gd name="connsiteY194" fmla="*/ 11271 h 103509"/>
                    <a:gd name="connsiteX195" fmla="*/ 32142 w 78180"/>
                    <a:gd name="connsiteY195" fmla="*/ 10904 h 103509"/>
                    <a:gd name="connsiteX196" fmla="*/ 33699 w 78180"/>
                    <a:gd name="connsiteY196" fmla="*/ 9739 h 103509"/>
                    <a:gd name="connsiteX197" fmla="*/ 34905 w 78180"/>
                    <a:gd name="connsiteY197" fmla="*/ 8337 h 103509"/>
                    <a:gd name="connsiteX198" fmla="*/ 35076 w 78180"/>
                    <a:gd name="connsiteY198" fmla="*/ 6968 h 103509"/>
                    <a:gd name="connsiteX199" fmla="*/ 36576 w 78180"/>
                    <a:gd name="connsiteY199" fmla="*/ 6585 h 103509"/>
                    <a:gd name="connsiteX200" fmla="*/ 38165 w 78180"/>
                    <a:gd name="connsiteY200" fmla="*/ 2510 h 103509"/>
                    <a:gd name="connsiteX201" fmla="*/ 37814 w 78180"/>
                    <a:gd name="connsiteY201" fmla="*/ 1320 h 103509"/>
                    <a:gd name="connsiteX202" fmla="*/ 39249 w 78180"/>
                    <a:gd name="connsiteY202" fmla="*/ 619 h 103509"/>
                    <a:gd name="connsiteX203" fmla="*/ 39933 w 78180"/>
                    <a:gd name="connsiteY203" fmla="*/ 285 h 103509"/>
                    <a:gd name="connsiteX204" fmla="*/ 40903 w 78180"/>
                    <a:gd name="connsiteY204" fmla="*/ 611 h 103509"/>
                    <a:gd name="connsiteX205" fmla="*/ 42191 w 78180"/>
                    <a:gd name="connsiteY205" fmla="*/ 0 h 103509"/>
                    <a:gd name="connsiteX206" fmla="*/ 42289 w 78180"/>
                    <a:gd name="connsiteY206" fmla="*/ 571 h 103509"/>
                    <a:gd name="connsiteX207" fmla="*/ 41417 w 78180"/>
                    <a:gd name="connsiteY207" fmla="*/ 3089 h 103509"/>
                    <a:gd name="connsiteX208" fmla="*/ 41938 w 78180"/>
                    <a:gd name="connsiteY208" fmla="*/ 3675 h 103509"/>
                    <a:gd name="connsiteX209" fmla="*/ 44612 w 78180"/>
                    <a:gd name="connsiteY209" fmla="*/ 4140 h 103509"/>
                    <a:gd name="connsiteX210" fmla="*/ 45182 w 78180"/>
                    <a:gd name="connsiteY210" fmla="*/ 4694 h 103509"/>
                    <a:gd name="connsiteX211" fmla="*/ 45198 w 78180"/>
                    <a:gd name="connsiteY211" fmla="*/ 5346 h 103509"/>
                    <a:gd name="connsiteX212" fmla="*/ 44114 w 78180"/>
                    <a:gd name="connsiteY212" fmla="*/ 6023 h 103509"/>
                    <a:gd name="connsiteX213" fmla="*/ 44277 w 78180"/>
                    <a:gd name="connsiteY213" fmla="*/ 6830 h 103509"/>
                    <a:gd name="connsiteX214" fmla="*/ 45149 w 78180"/>
                    <a:gd name="connsiteY214" fmla="*/ 7612 h 103509"/>
                    <a:gd name="connsiteX215" fmla="*/ 46372 w 78180"/>
                    <a:gd name="connsiteY215" fmla="*/ 7946 h 103509"/>
                    <a:gd name="connsiteX216" fmla="*/ 47553 w 78180"/>
                    <a:gd name="connsiteY216" fmla="*/ 7481 h 103509"/>
                    <a:gd name="connsiteX217" fmla="*/ 49037 w 78180"/>
                    <a:gd name="connsiteY217" fmla="*/ 5134 h 103509"/>
                    <a:gd name="connsiteX218" fmla="*/ 50039 w 78180"/>
                    <a:gd name="connsiteY218" fmla="*/ 4662 h 103509"/>
                    <a:gd name="connsiteX219" fmla="*/ 50854 w 78180"/>
                    <a:gd name="connsiteY219" fmla="*/ 4898 h 103509"/>
                    <a:gd name="connsiteX220" fmla="*/ 51237 w 78180"/>
                    <a:gd name="connsiteY220" fmla="*/ 7229 h 103509"/>
                    <a:gd name="connsiteX221" fmla="*/ 51653 w 78180"/>
                    <a:gd name="connsiteY221" fmla="*/ 7905 h 103509"/>
                    <a:gd name="connsiteX222" fmla="*/ 54522 w 78180"/>
                    <a:gd name="connsiteY222" fmla="*/ 8574 h 103509"/>
                    <a:gd name="connsiteX223" fmla="*/ 56624 w 78180"/>
                    <a:gd name="connsiteY223" fmla="*/ 7620 h 103509"/>
                    <a:gd name="connsiteX224" fmla="*/ 57358 w 78180"/>
                    <a:gd name="connsiteY224" fmla="*/ 7742 h 103509"/>
                    <a:gd name="connsiteX225" fmla="*/ 57325 w 78180"/>
                    <a:gd name="connsiteY225" fmla="*/ 11475 h 103509"/>
                    <a:gd name="connsiteX226" fmla="*/ 57529 w 78180"/>
                    <a:gd name="connsiteY226" fmla="*/ 13382 h 103509"/>
                    <a:gd name="connsiteX227" fmla="*/ 58050 w 78180"/>
                    <a:gd name="connsiteY227" fmla="*/ 14857 h 103509"/>
                    <a:gd name="connsiteX228" fmla="*/ 58686 w 78180"/>
                    <a:gd name="connsiteY228" fmla="*/ 15998 h 103509"/>
                    <a:gd name="connsiteX229" fmla="*/ 59452 w 78180"/>
                    <a:gd name="connsiteY229" fmla="*/ 16552 h 103509"/>
                    <a:gd name="connsiteX230" fmla="*/ 60837 w 78180"/>
                    <a:gd name="connsiteY230" fmla="*/ 16511 h 103509"/>
                    <a:gd name="connsiteX231" fmla="*/ 61090 w 78180"/>
                    <a:gd name="connsiteY231" fmla="*/ 16854 h 103509"/>
                    <a:gd name="connsiteX232" fmla="*/ 60642 w 78180"/>
                    <a:gd name="connsiteY232" fmla="*/ 18117 h 103509"/>
                    <a:gd name="connsiteX233" fmla="*/ 60878 w 78180"/>
                    <a:gd name="connsiteY233" fmla="*/ 19013 h 103509"/>
                    <a:gd name="connsiteX234" fmla="*/ 63568 w 78180"/>
                    <a:gd name="connsiteY234" fmla="*/ 21882 h 103509"/>
                    <a:gd name="connsiteX235" fmla="*/ 65035 w 78180"/>
                    <a:gd name="connsiteY235" fmla="*/ 24620 h 103509"/>
                    <a:gd name="connsiteX236" fmla="*/ 65670 w 78180"/>
                    <a:gd name="connsiteY236" fmla="*/ 24791 h 103509"/>
                    <a:gd name="connsiteX237" fmla="*/ 66257 w 78180"/>
                    <a:gd name="connsiteY237" fmla="*/ 24229 h 103509"/>
                    <a:gd name="connsiteX238" fmla="*/ 66738 w 78180"/>
                    <a:gd name="connsiteY238" fmla="*/ 23528 h 103509"/>
                    <a:gd name="connsiteX239" fmla="*/ 67154 w 78180"/>
                    <a:gd name="connsiteY239" fmla="*/ 21417 h 103509"/>
                    <a:gd name="connsiteX240" fmla="*/ 68376 w 78180"/>
                    <a:gd name="connsiteY240" fmla="*/ 20008 h 103509"/>
                    <a:gd name="connsiteX241" fmla="*/ 71318 w 78180"/>
                    <a:gd name="connsiteY241" fmla="*/ 18435 h 103509"/>
                    <a:gd name="connsiteX242" fmla="*/ 75792 w 78180"/>
                    <a:gd name="connsiteY242" fmla="*/ 16886 h 103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Lst>
                  <a:rect l="l" t="t" r="r" b="b"/>
                  <a:pathLst>
                    <a:path w="78180" h="103509">
                      <a:moveTo>
                        <a:pt x="75792" y="16886"/>
                      </a:moveTo>
                      <a:lnTo>
                        <a:pt x="75792" y="16886"/>
                      </a:lnTo>
                      <a:lnTo>
                        <a:pt x="75792" y="16886"/>
                      </a:lnTo>
                      <a:lnTo>
                        <a:pt x="78180" y="22387"/>
                      </a:lnTo>
                      <a:lnTo>
                        <a:pt x="77797" y="23007"/>
                      </a:lnTo>
                      <a:lnTo>
                        <a:pt x="75442" y="23862"/>
                      </a:lnTo>
                      <a:lnTo>
                        <a:pt x="72305" y="24009"/>
                      </a:lnTo>
                      <a:lnTo>
                        <a:pt x="69851" y="24710"/>
                      </a:lnTo>
                      <a:lnTo>
                        <a:pt x="69370" y="25183"/>
                      </a:lnTo>
                      <a:lnTo>
                        <a:pt x="69786" y="28035"/>
                      </a:lnTo>
                      <a:lnTo>
                        <a:pt x="69305" y="28964"/>
                      </a:lnTo>
                      <a:lnTo>
                        <a:pt x="68539" y="29168"/>
                      </a:lnTo>
                      <a:lnTo>
                        <a:pt x="67300" y="27872"/>
                      </a:lnTo>
                      <a:lnTo>
                        <a:pt x="66151" y="27888"/>
                      </a:lnTo>
                      <a:lnTo>
                        <a:pt x="64831" y="27473"/>
                      </a:lnTo>
                      <a:lnTo>
                        <a:pt x="63380" y="27359"/>
                      </a:lnTo>
                      <a:lnTo>
                        <a:pt x="62329" y="28206"/>
                      </a:lnTo>
                      <a:lnTo>
                        <a:pt x="59958" y="31474"/>
                      </a:lnTo>
                      <a:lnTo>
                        <a:pt x="59477" y="33438"/>
                      </a:lnTo>
                      <a:lnTo>
                        <a:pt x="59664" y="35834"/>
                      </a:lnTo>
                      <a:lnTo>
                        <a:pt x="60601" y="38027"/>
                      </a:lnTo>
                      <a:lnTo>
                        <a:pt x="62019" y="40455"/>
                      </a:lnTo>
                      <a:lnTo>
                        <a:pt x="61555" y="42273"/>
                      </a:lnTo>
                      <a:lnTo>
                        <a:pt x="60984" y="43324"/>
                      </a:lnTo>
                      <a:lnTo>
                        <a:pt x="59713" y="44009"/>
                      </a:lnTo>
                      <a:lnTo>
                        <a:pt x="59550" y="45076"/>
                      </a:lnTo>
                      <a:lnTo>
                        <a:pt x="56290" y="49697"/>
                      </a:lnTo>
                      <a:lnTo>
                        <a:pt x="55573" y="51474"/>
                      </a:lnTo>
                      <a:lnTo>
                        <a:pt x="55671" y="52411"/>
                      </a:lnTo>
                      <a:lnTo>
                        <a:pt x="56803" y="53682"/>
                      </a:lnTo>
                      <a:lnTo>
                        <a:pt x="56551" y="54236"/>
                      </a:lnTo>
                      <a:lnTo>
                        <a:pt x="54098" y="54310"/>
                      </a:lnTo>
                      <a:lnTo>
                        <a:pt x="53731" y="54946"/>
                      </a:lnTo>
                      <a:lnTo>
                        <a:pt x="53731" y="55752"/>
                      </a:lnTo>
                      <a:lnTo>
                        <a:pt x="53413" y="56225"/>
                      </a:lnTo>
                      <a:lnTo>
                        <a:pt x="53560" y="56787"/>
                      </a:lnTo>
                      <a:lnTo>
                        <a:pt x="55883" y="58906"/>
                      </a:lnTo>
                      <a:lnTo>
                        <a:pt x="56029" y="59452"/>
                      </a:lnTo>
                      <a:lnTo>
                        <a:pt x="55247" y="59428"/>
                      </a:lnTo>
                      <a:lnTo>
                        <a:pt x="52794" y="58605"/>
                      </a:lnTo>
                      <a:lnTo>
                        <a:pt x="51294" y="58442"/>
                      </a:lnTo>
                      <a:lnTo>
                        <a:pt x="50194" y="58678"/>
                      </a:lnTo>
                      <a:lnTo>
                        <a:pt x="49746" y="59208"/>
                      </a:lnTo>
                      <a:lnTo>
                        <a:pt x="49208" y="61156"/>
                      </a:lnTo>
                      <a:lnTo>
                        <a:pt x="49713" y="62142"/>
                      </a:lnTo>
                      <a:lnTo>
                        <a:pt x="49917" y="63169"/>
                      </a:lnTo>
                      <a:lnTo>
                        <a:pt x="48100" y="64741"/>
                      </a:lnTo>
                      <a:lnTo>
                        <a:pt x="47880" y="66852"/>
                      </a:lnTo>
                      <a:lnTo>
                        <a:pt x="46731" y="68001"/>
                      </a:lnTo>
                      <a:lnTo>
                        <a:pt x="45296" y="68678"/>
                      </a:lnTo>
                      <a:lnTo>
                        <a:pt x="43128" y="68368"/>
                      </a:lnTo>
                      <a:lnTo>
                        <a:pt x="42256" y="68914"/>
                      </a:lnTo>
                      <a:lnTo>
                        <a:pt x="41384" y="69949"/>
                      </a:lnTo>
                      <a:lnTo>
                        <a:pt x="40553" y="71652"/>
                      </a:lnTo>
                      <a:lnTo>
                        <a:pt x="44343" y="71465"/>
                      </a:lnTo>
                      <a:lnTo>
                        <a:pt x="45027" y="71840"/>
                      </a:lnTo>
                      <a:lnTo>
                        <a:pt x="45345" y="72598"/>
                      </a:lnTo>
                      <a:lnTo>
                        <a:pt x="46079" y="73405"/>
                      </a:lnTo>
                      <a:lnTo>
                        <a:pt x="46176" y="73902"/>
                      </a:lnTo>
                      <a:lnTo>
                        <a:pt x="43405" y="73934"/>
                      </a:lnTo>
                      <a:lnTo>
                        <a:pt x="42452" y="74978"/>
                      </a:lnTo>
                      <a:lnTo>
                        <a:pt x="40618" y="74717"/>
                      </a:lnTo>
                      <a:lnTo>
                        <a:pt x="38948" y="76167"/>
                      </a:lnTo>
                      <a:lnTo>
                        <a:pt x="38784" y="76893"/>
                      </a:lnTo>
                      <a:lnTo>
                        <a:pt x="40007" y="77740"/>
                      </a:lnTo>
                      <a:lnTo>
                        <a:pt x="45989" y="78865"/>
                      </a:lnTo>
                      <a:lnTo>
                        <a:pt x="47659" y="79036"/>
                      </a:lnTo>
                      <a:lnTo>
                        <a:pt x="51849" y="77357"/>
                      </a:lnTo>
                      <a:lnTo>
                        <a:pt x="52867" y="77716"/>
                      </a:lnTo>
                      <a:lnTo>
                        <a:pt x="53234" y="78726"/>
                      </a:lnTo>
                      <a:lnTo>
                        <a:pt x="53217" y="79770"/>
                      </a:lnTo>
                      <a:lnTo>
                        <a:pt x="52182" y="81155"/>
                      </a:lnTo>
                      <a:lnTo>
                        <a:pt x="47888" y="84725"/>
                      </a:lnTo>
                      <a:lnTo>
                        <a:pt x="45818" y="86901"/>
                      </a:lnTo>
                      <a:lnTo>
                        <a:pt x="43894" y="87781"/>
                      </a:lnTo>
                      <a:lnTo>
                        <a:pt x="44131" y="89060"/>
                      </a:lnTo>
                      <a:lnTo>
                        <a:pt x="44017" y="89647"/>
                      </a:lnTo>
                      <a:lnTo>
                        <a:pt x="43479" y="89924"/>
                      </a:lnTo>
                      <a:lnTo>
                        <a:pt x="38385" y="88653"/>
                      </a:lnTo>
                      <a:lnTo>
                        <a:pt x="34832" y="86306"/>
                      </a:lnTo>
                      <a:lnTo>
                        <a:pt x="33145" y="86053"/>
                      </a:lnTo>
                      <a:lnTo>
                        <a:pt x="31792" y="86623"/>
                      </a:lnTo>
                      <a:lnTo>
                        <a:pt x="30887" y="87471"/>
                      </a:lnTo>
                      <a:lnTo>
                        <a:pt x="30504" y="88514"/>
                      </a:lnTo>
                      <a:lnTo>
                        <a:pt x="30300" y="93901"/>
                      </a:lnTo>
                      <a:lnTo>
                        <a:pt x="31857" y="98514"/>
                      </a:lnTo>
                      <a:lnTo>
                        <a:pt x="32240" y="99419"/>
                      </a:lnTo>
                      <a:lnTo>
                        <a:pt x="30504" y="99818"/>
                      </a:lnTo>
                      <a:lnTo>
                        <a:pt x="27701" y="103102"/>
                      </a:lnTo>
                      <a:lnTo>
                        <a:pt x="27204" y="103510"/>
                      </a:lnTo>
                      <a:lnTo>
                        <a:pt x="27538" y="101277"/>
                      </a:lnTo>
                      <a:lnTo>
                        <a:pt x="27318" y="99989"/>
                      </a:lnTo>
                      <a:lnTo>
                        <a:pt x="29372" y="97895"/>
                      </a:lnTo>
                      <a:lnTo>
                        <a:pt x="29738" y="96689"/>
                      </a:lnTo>
                      <a:lnTo>
                        <a:pt x="28548" y="93396"/>
                      </a:lnTo>
                      <a:lnTo>
                        <a:pt x="28801" y="90291"/>
                      </a:lnTo>
                      <a:lnTo>
                        <a:pt x="28483" y="89443"/>
                      </a:lnTo>
                      <a:lnTo>
                        <a:pt x="27000" y="89403"/>
                      </a:lnTo>
                      <a:lnTo>
                        <a:pt x="25794" y="89044"/>
                      </a:lnTo>
                      <a:lnTo>
                        <a:pt x="25362" y="88718"/>
                      </a:lnTo>
                      <a:lnTo>
                        <a:pt x="25011" y="87667"/>
                      </a:lnTo>
                      <a:lnTo>
                        <a:pt x="24327" y="87153"/>
                      </a:lnTo>
                      <a:lnTo>
                        <a:pt x="21955" y="89231"/>
                      </a:lnTo>
                      <a:lnTo>
                        <a:pt x="21637" y="88816"/>
                      </a:lnTo>
                      <a:lnTo>
                        <a:pt x="21637" y="87862"/>
                      </a:lnTo>
                      <a:lnTo>
                        <a:pt x="21287" y="87601"/>
                      </a:lnTo>
                      <a:lnTo>
                        <a:pt x="19266" y="87324"/>
                      </a:lnTo>
                      <a:lnTo>
                        <a:pt x="18076" y="86672"/>
                      </a:lnTo>
                      <a:lnTo>
                        <a:pt x="17228" y="85825"/>
                      </a:lnTo>
                      <a:lnTo>
                        <a:pt x="16291" y="83127"/>
                      </a:lnTo>
                      <a:lnTo>
                        <a:pt x="15387" y="82483"/>
                      </a:lnTo>
                      <a:lnTo>
                        <a:pt x="14319" y="82500"/>
                      </a:lnTo>
                      <a:lnTo>
                        <a:pt x="13602" y="83307"/>
                      </a:lnTo>
                      <a:lnTo>
                        <a:pt x="12664" y="84985"/>
                      </a:lnTo>
                      <a:lnTo>
                        <a:pt x="11197" y="85320"/>
                      </a:lnTo>
                      <a:lnTo>
                        <a:pt x="10749" y="85825"/>
                      </a:lnTo>
                      <a:lnTo>
                        <a:pt x="11850" y="88580"/>
                      </a:lnTo>
                      <a:lnTo>
                        <a:pt x="12086" y="89745"/>
                      </a:lnTo>
                      <a:lnTo>
                        <a:pt x="11589" y="90103"/>
                      </a:lnTo>
                      <a:lnTo>
                        <a:pt x="9119" y="89492"/>
                      </a:lnTo>
                      <a:lnTo>
                        <a:pt x="8003" y="90397"/>
                      </a:lnTo>
                      <a:lnTo>
                        <a:pt x="7571" y="92247"/>
                      </a:lnTo>
                      <a:lnTo>
                        <a:pt x="7840" y="94301"/>
                      </a:lnTo>
                      <a:lnTo>
                        <a:pt x="8443" y="96689"/>
                      </a:lnTo>
                      <a:lnTo>
                        <a:pt x="7612" y="96534"/>
                      </a:lnTo>
                      <a:lnTo>
                        <a:pt x="6308" y="94219"/>
                      </a:lnTo>
                      <a:lnTo>
                        <a:pt x="5811" y="94407"/>
                      </a:lnTo>
                      <a:lnTo>
                        <a:pt x="5493" y="95002"/>
                      </a:lnTo>
                      <a:lnTo>
                        <a:pt x="4572" y="95156"/>
                      </a:lnTo>
                      <a:lnTo>
                        <a:pt x="3855" y="97927"/>
                      </a:lnTo>
                      <a:lnTo>
                        <a:pt x="3406" y="97715"/>
                      </a:lnTo>
                      <a:lnTo>
                        <a:pt x="2991" y="96485"/>
                      </a:lnTo>
                      <a:lnTo>
                        <a:pt x="2926" y="94806"/>
                      </a:lnTo>
                      <a:lnTo>
                        <a:pt x="3757" y="92630"/>
                      </a:lnTo>
                      <a:lnTo>
                        <a:pt x="2624" y="91921"/>
                      </a:lnTo>
                      <a:lnTo>
                        <a:pt x="1956" y="91000"/>
                      </a:lnTo>
                      <a:lnTo>
                        <a:pt x="1785" y="89883"/>
                      </a:lnTo>
                      <a:lnTo>
                        <a:pt x="3040" y="87976"/>
                      </a:lnTo>
                      <a:lnTo>
                        <a:pt x="2909" y="87194"/>
                      </a:lnTo>
                      <a:lnTo>
                        <a:pt x="2543" y="85980"/>
                      </a:lnTo>
                      <a:lnTo>
                        <a:pt x="1874" y="84716"/>
                      </a:lnTo>
                      <a:lnTo>
                        <a:pt x="937" y="83861"/>
                      </a:lnTo>
                      <a:lnTo>
                        <a:pt x="285" y="82329"/>
                      </a:lnTo>
                      <a:lnTo>
                        <a:pt x="285" y="76428"/>
                      </a:lnTo>
                      <a:lnTo>
                        <a:pt x="0" y="74521"/>
                      </a:lnTo>
                      <a:lnTo>
                        <a:pt x="16" y="71995"/>
                      </a:lnTo>
                      <a:lnTo>
                        <a:pt x="2486" y="58817"/>
                      </a:lnTo>
                      <a:lnTo>
                        <a:pt x="3651" y="56624"/>
                      </a:lnTo>
                      <a:lnTo>
                        <a:pt x="4018" y="54840"/>
                      </a:lnTo>
                      <a:lnTo>
                        <a:pt x="5004" y="46837"/>
                      </a:lnTo>
                      <a:lnTo>
                        <a:pt x="4890" y="45394"/>
                      </a:lnTo>
                      <a:lnTo>
                        <a:pt x="4605" y="44579"/>
                      </a:lnTo>
                      <a:lnTo>
                        <a:pt x="4099" y="44465"/>
                      </a:lnTo>
                      <a:lnTo>
                        <a:pt x="3496" y="44726"/>
                      </a:lnTo>
                      <a:lnTo>
                        <a:pt x="2958" y="44392"/>
                      </a:lnTo>
                      <a:lnTo>
                        <a:pt x="2592" y="42167"/>
                      </a:lnTo>
                      <a:lnTo>
                        <a:pt x="2306" y="40724"/>
                      </a:lnTo>
                      <a:lnTo>
                        <a:pt x="1720" y="39208"/>
                      </a:lnTo>
                      <a:lnTo>
                        <a:pt x="1499" y="37790"/>
                      </a:lnTo>
                      <a:lnTo>
                        <a:pt x="3839" y="31165"/>
                      </a:lnTo>
                      <a:lnTo>
                        <a:pt x="5044" y="28532"/>
                      </a:lnTo>
                      <a:lnTo>
                        <a:pt x="8215" y="23757"/>
                      </a:lnTo>
                      <a:lnTo>
                        <a:pt x="8378" y="21776"/>
                      </a:lnTo>
                      <a:lnTo>
                        <a:pt x="7758" y="20488"/>
                      </a:lnTo>
                      <a:lnTo>
                        <a:pt x="6886" y="19559"/>
                      </a:lnTo>
                      <a:lnTo>
                        <a:pt x="6715" y="18899"/>
                      </a:lnTo>
                      <a:lnTo>
                        <a:pt x="7147" y="18101"/>
                      </a:lnTo>
                      <a:lnTo>
                        <a:pt x="9184" y="16862"/>
                      </a:lnTo>
                      <a:lnTo>
                        <a:pt x="9739" y="15843"/>
                      </a:lnTo>
                      <a:lnTo>
                        <a:pt x="12314" y="15338"/>
                      </a:lnTo>
                      <a:lnTo>
                        <a:pt x="13553" y="13879"/>
                      </a:lnTo>
                      <a:lnTo>
                        <a:pt x="14759" y="14303"/>
                      </a:lnTo>
                      <a:lnTo>
                        <a:pt x="15476" y="13529"/>
                      </a:lnTo>
                      <a:lnTo>
                        <a:pt x="17065" y="13700"/>
                      </a:lnTo>
                      <a:lnTo>
                        <a:pt x="17880" y="12168"/>
                      </a:lnTo>
                      <a:lnTo>
                        <a:pt x="18614" y="11475"/>
                      </a:lnTo>
                      <a:lnTo>
                        <a:pt x="19217" y="11369"/>
                      </a:lnTo>
                      <a:lnTo>
                        <a:pt x="19502" y="12469"/>
                      </a:lnTo>
                      <a:lnTo>
                        <a:pt x="20423" y="12567"/>
                      </a:lnTo>
                      <a:lnTo>
                        <a:pt x="21572" y="12062"/>
                      </a:lnTo>
                      <a:lnTo>
                        <a:pt x="22355" y="11190"/>
                      </a:lnTo>
                      <a:lnTo>
                        <a:pt x="22942" y="8353"/>
                      </a:lnTo>
                      <a:lnTo>
                        <a:pt x="23626" y="7115"/>
                      </a:lnTo>
                      <a:lnTo>
                        <a:pt x="24408" y="6585"/>
                      </a:lnTo>
                      <a:lnTo>
                        <a:pt x="25240" y="8476"/>
                      </a:lnTo>
                      <a:lnTo>
                        <a:pt x="26006" y="8777"/>
                      </a:lnTo>
                      <a:lnTo>
                        <a:pt x="25150" y="10040"/>
                      </a:lnTo>
                      <a:lnTo>
                        <a:pt x="25003" y="10635"/>
                      </a:lnTo>
                      <a:lnTo>
                        <a:pt x="25525" y="10912"/>
                      </a:lnTo>
                      <a:lnTo>
                        <a:pt x="26593" y="10896"/>
                      </a:lnTo>
                      <a:lnTo>
                        <a:pt x="27709" y="10578"/>
                      </a:lnTo>
                      <a:lnTo>
                        <a:pt x="29526" y="9062"/>
                      </a:lnTo>
                      <a:lnTo>
                        <a:pt x="30178" y="9079"/>
                      </a:lnTo>
                      <a:lnTo>
                        <a:pt x="30577" y="10766"/>
                      </a:lnTo>
                      <a:lnTo>
                        <a:pt x="31075" y="11271"/>
                      </a:lnTo>
                      <a:lnTo>
                        <a:pt x="32142" y="10904"/>
                      </a:lnTo>
                      <a:lnTo>
                        <a:pt x="33699" y="9739"/>
                      </a:lnTo>
                      <a:lnTo>
                        <a:pt x="34905" y="8337"/>
                      </a:lnTo>
                      <a:lnTo>
                        <a:pt x="35076" y="6968"/>
                      </a:lnTo>
                      <a:lnTo>
                        <a:pt x="36576" y="6585"/>
                      </a:lnTo>
                      <a:lnTo>
                        <a:pt x="38165" y="2510"/>
                      </a:lnTo>
                      <a:lnTo>
                        <a:pt x="37814" y="1320"/>
                      </a:lnTo>
                      <a:lnTo>
                        <a:pt x="39249" y="619"/>
                      </a:lnTo>
                      <a:lnTo>
                        <a:pt x="39933" y="285"/>
                      </a:lnTo>
                      <a:lnTo>
                        <a:pt x="40903" y="611"/>
                      </a:lnTo>
                      <a:lnTo>
                        <a:pt x="42191" y="0"/>
                      </a:lnTo>
                      <a:lnTo>
                        <a:pt x="42289" y="571"/>
                      </a:lnTo>
                      <a:lnTo>
                        <a:pt x="41417" y="3089"/>
                      </a:lnTo>
                      <a:lnTo>
                        <a:pt x="41938" y="3675"/>
                      </a:lnTo>
                      <a:lnTo>
                        <a:pt x="44612" y="4140"/>
                      </a:lnTo>
                      <a:lnTo>
                        <a:pt x="45182" y="4694"/>
                      </a:lnTo>
                      <a:lnTo>
                        <a:pt x="45198" y="5346"/>
                      </a:lnTo>
                      <a:lnTo>
                        <a:pt x="44114" y="6023"/>
                      </a:lnTo>
                      <a:lnTo>
                        <a:pt x="44277" y="6830"/>
                      </a:lnTo>
                      <a:lnTo>
                        <a:pt x="45149" y="7612"/>
                      </a:lnTo>
                      <a:lnTo>
                        <a:pt x="46372" y="7946"/>
                      </a:lnTo>
                      <a:lnTo>
                        <a:pt x="47553" y="7481"/>
                      </a:lnTo>
                      <a:lnTo>
                        <a:pt x="49037" y="5134"/>
                      </a:lnTo>
                      <a:lnTo>
                        <a:pt x="50039" y="4662"/>
                      </a:lnTo>
                      <a:lnTo>
                        <a:pt x="50854" y="4898"/>
                      </a:lnTo>
                      <a:lnTo>
                        <a:pt x="51237" y="7229"/>
                      </a:lnTo>
                      <a:lnTo>
                        <a:pt x="51653" y="7905"/>
                      </a:lnTo>
                      <a:lnTo>
                        <a:pt x="54522" y="8574"/>
                      </a:lnTo>
                      <a:lnTo>
                        <a:pt x="56624" y="7620"/>
                      </a:lnTo>
                      <a:lnTo>
                        <a:pt x="57358" y="7742"/>
                      </a:lnTo>
                      <a:lnTo>
                        <a:pt x="57325" y="11475"/>
                      </a:lnTo>
                      <a:lnTo>
                        <a:pt x="57529" y="13382"/>
                      </a:lnTo>
                      <a:lnTo>
                        <a:pt x="58050" y="14857"/>
                      </a:lnTo>
                      <a:lnTo>
                        <a:pt x="58686" y="15998"/>
                      </a:lnTo>
                      <a:lnTo>
                        <a:pt x="59452" y="16552"/>
                      </a:lnTo>
                      <a:lnTo>
                        <a:pt x="60837" y="16511"/>
                      </a:lnTo>
                      <a:lnTo>
                        <a:pt x="61090" y="16854"/>
                      </a:lnTo>
                      <a:lnTo>
                        <a:pt x="60642" y="18117"/>
                      </a:lnTo>
                      <a:lnTo>
                        <a:pt x="60878" y="19013"/>
                      </a:lnTo>
                      <a:lnTo>
                        <a:pt x="63568" y="21882"/>
                      </a:lnTo>
                      <a:lnTo>
                        <a:pt x="65035" y="24620"/>
                      </a:lnTo>
                      <a:lnTo>
                        <a:pt x="65670" y="24791"/>
                      </a:lnTo>
                      <a:lnTo>
                        <a:pt x="66257" y="24229"/>
                      </a:lnTo>
                      <a:lnTo>
                        <a:pt x="66738" y="23528"/>
                      </a:lnTo>
                      <a:lnTo>
                        <a:pt x="67154" y="21417"/>
                      </a:lnTo>
                      <a:lnTo>
                        <a:pt x="68376" y="20008"/>
                      </a:lnTo>
                      <a:lnTo>
                        <a:pt x="71318" y="18435"/>
                      </a:lnTo>
                      <a:lnTo>
                        <a:pt x="75792" y="16886"/>
                      </a:lnTo>
                      <a:close/>
                    </a:path>
                  </a:pathLst>
                </a:custGeom>
                <a:solidFill>
                  <a:srgbClr val="FFFFFF"/>
                </a:solidFill>
                <a:ln w="8150" cap="flat">
                  <a:noFill/>
                  <a:prstDash val="solid"/>
                  <a:miter/>
                </a:ln>
              </p:spPr>
              <p:txBody>
                <a:bodyPr rtlCol="0" anchor="ctr"/>
                <a:lstStyle/>
                <a:p>
                  <a:endParaRPr lang="en-US"/>
                </a:p>
              </p:txBody>
            </p:sp>
            <p:sp>
              <p:nvSpPr>
                <p:cNvPr id="420" name="Freeform: Shape 419">
                  <a:extLst>
                    <a:ext uri="{FF2B5EF4-FFF2-40B4-BE49-F238E27FC236}">
                      <a16:creationId xmlns:a16="http://schemas.microsoft.com/office/drawing/2014/main" id="{96B1B54A-A10B-41C6-829F-4AFE16E45DB0}"/>
                    </a:ext>
                  </a:extLst>
                </p:cNvPr>
                <p:cNvSpPr/>
                <p:nvPr/>
              </p:nvSpPr>
              <p:spPr>
                <a:xfrm>
                  <a:off x="6778955" y="4806388"/>
                  <a:ext cx="34155" cy="148553"/>
                </a:xfrm>
                <a:custGeom>
                  <a:avLst/>
                  <a:gdLst>
                    <a:gd name="connsiteX0" fmla="*/ 33568 w 34155"/>
                    <a:gd name="connsiteY0" fmla="*/ 144731 h 148553"/>
                    <a:gd name="connsiteX1" fmla="*/ 33568 w 34155"/>
                    <a:gd name="connsiteY1" fmla="*/ 144731 h 148553"/>
                    <a:gd name="connsiteX2" fmla="*/ 33568 w 34155"/>
                    <a:gd name="connsiteY2" fmla="*/ 144731 h 148553"/>
                    <a:gd name="connsiteX3" fmla="*/ 33568 w 34155"/>
                    <a:gd name="connsiteY3" fmla="*/ 144731 h 148553"/>
                    <a:gd name="connsiteX4" fmla="*/ 34155 w 34155"/>
                    <a:gd name="connsiteY4" fmla="*/ 147404 h 148553"/>
                    <a:gd name="connsiteX5" fmla="*/ 33903 w 34155"/>
                    <a:gd name="connsiteY5" fmla="*/ 148187 h 148553"/>
                    <a:gd name="connsiteX6" fmla="*/ 33503 w 34155"/>
                    <a:gd name="connsiteY6" fmla="*/ 148553 h 148553"/>
                    <a:gd name="connsiteX7" fmla="*/ 32966 w 34155"/>
                    <a:gd name="connsiteY7" fmla="*/ 148505 h 148553"/>
                    <a:gd name="connsiteX8" fmla="*/ 31898 w 34155"/>
                    <a:gd name="connsiteY8" fmla="*/ 147029 h 148553"/>
                    <a:gd name="connsiteX9" fmla="*/ 30341 w 34155"/>
                    <a:gd name="connsiteY9" fmla="*/ 145082 h 148553"/>
                    <a:gd name="connsiteX10" fmla="*/ 28304 w 34155"/>
                    <a:gd name="connsiteY10" fmla="*/ 141683 h 148553"/>
                    <a:gd name="connsiteX11" fmla="*/ 27456 w 34155"/>
                    <a:gd name="connsiteY11" fmla="*/ 141088 h 148553"/>
                    <a:gd name="connsiteX12" fmla="*/ 26087 w 34155"/>
                    <a:gd name="connsiteY12" fmla="*/ 140819 h 148553"/>
                    <a:gd name="connsiteX13" fmla="*/ 25802 w 34155"/>
                    <a:gd name="connsiteY13" fmla="*/ 140396 h 148553"/>
                    <a:gd name="connsiteX14" fmla="*/ 25671 w 34155"/>
                    <a:gd name="connsiteY14" fmla="*/ 138456 h 148553"/>
                    <a:gd name="connsiteX15" fmla="*/ 25370 w 34155"/>
                    <a:gd name="connsiteY15" fmla="*/ 137584 h 148553"/>
                    <a:gd name="connsiteX16" fmla="*/ 24783 w 34155"/>
                    <a:gd name="connsiteY16" fmla="*/ 136956 h 148553"/>
                    <a:gd name="connsiteX17" fmla="*/ 24164 w 34155"/>
                    <a:gd name="connsiteY17" fmla="*/ 136671 h 148553"/>
                    <a:gd name="connsiteX18" fmla="*/ 23561 w 34155"/>
                    <a:gd name="connsiteY18" fmla="*/ 136744 h 148553"/>
                    <a:gd name="connsiteX19" fmla="*/ 23373 w 34155"/>
                    <a:gd name="connsiteY19" fmla="*/ 137372 h 148553"/>
                    <a:gd name="connsiteX20" fmla="*/ 23593 w 34155"/>
                    <a:gd name="connsiteY20" fmla="*/ 138562 h 148553"/>
                    <a:gd name="connsiteX21" fmla="*/ 23406 w 34155"/>
                    <a:gd name="connsiteY21" fmla="*/ 139727 h 148553"/>
                    <a:gd name="connsiteX22" fmla="*/ 22786 w 34155"/>
                    <a:gd name="connsiteY22" fmla="*/ 140868 h 148553"/>
                    <a:gd name="connsiteX23" fmla="*/ 22583 w 34155"/>
                    <a:gd name="connsiteY23" fmla="*/ 141716 h 148553"/>
                    <a:gd name="connsiteX24" fmla="*/ 22786 w 34155"/>
                    <a:gd name="connsiteY24" fmla="*/ 142286 h 148553"/>
                    <a:gd name="connsiteX25" fmla="*/ 22656 w 34155"/>
                    <a:gd name="connsiteY25" fmla="*/ 142889 h 148553"/>
                    <a:gd name="connsiteX26" fmla="*/ 21417 w 34155"/>
                    <a:gd name="connsiteY26" fmla="*/ 144063 h 148553"/>
                    <a:gd name="connsiteX27" fmla="*/ 20415 w 34155"/>
                    <a:gd name="connsiteY27" fmla="*/ 144454 h 148553"/>
                    <a:gd name="connsiteX28" fmla="*/ 19845 w 34155"/>
                    <a:gd name="connsiteY28" fmla="*/ 144283 h 148553"/>
                    <a:gd name="connsiteX29" fmla="*/ 19714 w 34155"/>
                    <a:gd name="connsiteY29" fmla="*/ 143509 h 148553"/>
                    <a:gd name="connsiteX30" fmla="*/ 19144 w 34155"/>
                    <a:gd name="connsiteY30" fmla="*/ 142840 h 148553"/>
                    <a:gd name="connsiteX31" fmla="*/ 18125 w 34155"/>
                    <a:gd name="connsiteY31" fmla="*/ 142254 h 148553"/>
                    <a:gd name="connsiteX32" fmla="*/ 17220 w 34155"/>
                    <a:gd name="connsiteY32" fmla="*/ 141137 h 148553"/>
                    <a:gd name="connsiteX33" fmla="*/ 16389 w 34155"/>
                    <a:gd name="connsiteY33" fmla="*/ 139532 h 148553"/>
                    <a:gd name="connsiteX34" fmla="*/ 15884 w 34155"/>
                    <a:gd name="connsiteY34" fmla="*/ 137755 h 148553"/>
                    <a:gd name="connsiteX35" fmla="*/ 15680 w 34155"/>
                    <a:gd name="connsiteY35" fmla="*/ 135856 h 148553"/>
                    <a:gd name="connsiteX36" fmla="*/ 15884 w 34155"/>
                    <a:gd name="connsiteY36" fmla="*/ 134438 h 148553"/>
                    <a:gd name="connsiteX37" fmla="*/ 16486 w 34155"/>
                    <a:gd name="connsiteY37" fmla="*/ 133533 h 148553"/>
                    <a:gd name="connsiteX38" fmla="*/ 17106 w 34155"/>
                    <a:gd name="connsiteY38" fmla="*/ 131635 h 148553"/>
                    <a:gd name="connsiteX39" fmla="*/ 17742 w 34155"/>
                    <a:gd name="connsiteY39" fmla="*/ 128750 h 148553"/>
                    <a:gd name="connsiteX40" fmla="*/ 17343 w 34155"/>
                    <a:gd name="connsiteY40" fmla="*/ 126272 h 148553"/>
                    <a:gd name="connsiteX41" fmla="*/ 15876 w 34155"/>
                    <a:gd name="connsiteY41" fmla="*/ 124169 h 148553"/>
                    <a:gd name="connsiteX42" fmla="*/ 14669 w 34155"/>
                    <a:gd name="connsiteY42" fmla="*/ 123191 h 148553"/>
                    <a:gd name="connsiteX43" fmla="*/ 13683 w 34155"/>
                    <a:gd name="connsiteY43" fmla="*/ 123322 h 148553"/>
                    <a:gd name="connsiteX44" fmla="*/ 12493 w 34155"/>
                    <a:gd name="connsiteY44" fmla="*/ 122042 h 148553"/>
                    <a:gd name="connsiteX45" fmla="*/ 10293 w 34155"/>
                    <a:gd name="connsiteY45" fmla="*/ 117478 h 148553"/>
                    <a:gd name="connsiteX46" fmla="*/ 10089 w 34155"/>
                    <a:gd name="connsiteY46" fmla="*/ 116468 h 148553"/>
                    <a:gd name="connsiteX47" fmla="*/ 10236 w 34155"/>
                    <a:gd name="connsiteY47" fmla="*/ 115327 h 148553"/>
                    <a:gd name="connsiteX48" fmla="*/ 10733 w 34155"/>
                    <a:gd name="connsiteY48" fmla="*/ 114015 h 148553"/>
                    <a:gd name="connsiteX49" fmla="*/ 10863 w 34155"/>
                    <a:gd name="connsiteY49" fmla="*/ 110763 h 148553"/>
                    <a:gd name="connsiteX50" fmla="*/ 10529 w 34155"/>
                    <a:gd name="connsiteY50" fmla="*/ 104284 h 148553"/>
                    <a:gd name="connsiteX51" fmla="*/ 10277 w 34155"/>
                    <a:gd name="connsiteY51" fmla="*/ 103575 h 148553"/>
                    <a:gd name="connsiteX52" fmla="*/ 9771 w 34155"/>
                    <a:gd name="connsiteY52" fmla="*/ 101635 h 148553"/>
                    <a:gd name="connsiteX53" fmla="*/ 9184 w 34155"/>
                    <a:gd name="connsiteY53" fmla="*/ 100649 h 148553"/>
                    <a:gd name="connsiteX54" fmla="*/ 8965 w 34155"/>
                    <a:gd name="connsiteY54" fmla="*/ 99639 h 148553"/>
                    <a:gd name="connsiteX55" fmla="*/ 9128 w 34155"/>
                    <a:gd name="connsiteY55" fmla="*/ 98563 h 148553"/>
                    <a:gd name="connsiteX56" fmla="*/ 8875 w 34155"/>
                    <a:gd name="connsiteY56" fmla="*/ 97772 h 148553"/>
                    <a:gd name="connsiteX57" fmla="*/ 8223 w 34155"/>
                    <a:gd name="connsiteY57" fmla="*/ 97275 h 148553"/>
                    <a:gd name="connsiteX58" fmla="*/ 7652 w 34155"/>
                    <a:gd name="connsiteY58" fmla="*/ 96379 h 148553"/>
                    <a:gd name="connsiteX59" fmla="*/ 7204 w 34155"/>
                    <a:gd name="connsiteY59" fmla="*/ 95132 h 148553"/>
                    <a:gd name="connsiteX60" fmla="*/ 7237 w 34155"/>
                    <a:gd name="connsiteY60" fmla="*/ 90234 h 148553"/>
                    <a:gd name="connsiteX61" fmla="*/ 6821 w 34155"/>
                    <a:gd name="connsiteY61" fmla="*/ 88531 h 148553"/>
                    <a:gd name="connsiteX62" fmla="*/ 6072 w 34155"/>
                    <a:gd name="connsiteY62" fmla="*/ 87561 h 148553"/>
                    <a:gd name="connsiteX63" fmla="*/ 5004 w 34155"/>
                    <a:gd name="connsiteY63" fmla="*/ 87308 h 148553"/>
                    <a:gd name="connsiteX64" fmla="*/ 4172 w 34155"/>
                    <a:gd name="connsiteY64" fmla="*/ 86355 h 148553"/>
                    <a:gd name="connsiteX65" fmla="*/ 3284 w 34155"/>
                    <a:gd name="connsiteY65" fmla="*/ 83233 h 148553"/>
                    <a:gd name="connsiteX66" fmla="*/ 3154 w 34155"/>
                    <a:gd name="connsiteY66" fmla="*/ 81986 h 148553"/>
                    <a:gd name="connsiteX67" fmla="*/ 3822 w 34155"/>
                    <a:gd name="connsiteY67" fmla="*/ 77137 h 148553"/>
                    <a:gd name="connsiteX68" fmla="*/ 4824 w 34155"/>
                    <a:gd name="connsiteY68" fmla="*/ 74953 h 148553"/>
                    <a:gd name="connsiteX69" fmla="*/ 6397 w 34155"/>
                    <a:gd name="connsiteY69" fmla="*/ 73413 h 148553"/>
                    <a:gd name="connsiteX70" fmla="*/ 7147 w 34155"/>
                    <a:gd name="connsiteY70" fmla="*/ 72044 h 148553"/>
                    <a:gd name="connsiteX71" fmla="*/ 7098 w 34155"/>
                    <a:gd name="connsiteY71" fmla="*/ 70838 h 148553"/>
                    <a:gd name="connsiteX72" fmla="*/ 7848 w 34155"/>
                    <a:gd name="connsiteY72" fmla="*/ 69273 h 148553"/>
                    <a:gd name="connsiteX73" fmla="*/ 10236 w 34155"/>
                    <a:gd name="connsiteY73" fmla="*/ 65964 h 148553"/>
                    <a:gd name="connsiteX74" fmla="*/ 10350 w 34155"/>
                    <a:gd name="connsiteY74" fmla="*/ 65182 h 148553"/>
                    <a:gd name="connsiteX75" fmla="*/ 9519 w 34155"/>
                    <a:gd name="connsiteY75" fmla="*/ 58287 h 148553"/>
                    <a:gd name="connsiteX76" fmla="*/ 8851 w 34155"/>
                    <a:gd name="connsiteY76" fmla="*/ 54856 h 148553"/>
                    <a:gd name="connsiteX77" fmla="*/ 8068 w 34155"/>
                    <a:gd name="connsiteY77" fmla="*/ 52313 h 148553"/>
                    <a:gd name="connsiteX78" fmla="*/ 7897 w 34155"/>
                    <a:gd name="connsiteY78" fmla="*/ 50488 h 148553"/>
                    <a:gd name="connsiteX79" fmla="*/ 8329 w 34155"/>
                    <a:gd name="connsiteY79" fmla="*/ 49371 h 148553"/>
                    <a:gd name="connsiteX80" fmla="*/ 8427 w 34155"/>
                    <a:gd name="connsiteY80" fmla="*/ 48426 h 148553"/>
                    <a:gd name="connsiteX81" fmla="*/ 8174 w 34155"/>
                    <a:gd name="connsiteY81" fmla="*/ 47643 h 148553"/>
                    <a:gd name="connsiteX82" fmla="*/ 7375 w 34155"/>
                    <a:gd name="connsiteY82" fmla="*/ 33748 h 148553"/>
                    <a:gd name="connsiteX83" fmla="*/ 7057 w 34155"/>
                    <a:gd name="connsiteY83" fmla="*/ 33031 h 148553"/>
                    <a:gd name="connsiteX84" fmla="*/ 7172 w 34155"/>
                    <a:gd name="connsiteY84" fmla="*/ 32330 h 148553"/>
                    <a:gd name="connsiteX85" fmla="*/ 7758 w 34155"/>
                    <a:gd name="connsiteY85" fmla="*/ 31662 h 148553"/>
                    <a:gd name="connsiteX86" fmla="*/ 8027 w 34155"/>
                    <a:gd name="connsiteY86" fmla="*/ 30822 h 148553"/>
                    <a:gd name="connsiteX87" fmla="*/ 7995 w 34155"/>
                    <a:gd name="connsiteY87" fmla="*/ 29844 h 148553"/>
                    <a:gd name="connsiteX88" fmla="*/ 8247 w 34155"/>
                    <a:gd name="connsiteY88" fmla="*/ 29152 h 148553"/>
                    <a:gd name="connsiteX89" fmla="*/ 8785 w 34155"/>
                    <a:gd name="connsiteY89" fmla="*/ 28728 h 148553"/>
                    <a:gd name="connsiteX90" fmla="*/ 8500 w 34155"/>
                    <a:gd name="connsiteY90" fmla="*/ 27293 h 148553"/>
                    <a:gd name="connsiteX91" fmla="*/ 7383 w 34155"/>
                    <a:gd name="connsiteY91" fmla="*/ 24865 h 148553"/>
                    <a:gd name="connsiteX92" fmla="*/ 6193 w 34155"/>
                    <a:gd name="connsiteY92" fmla="*/ 22950 h 148553"/>
                    <a:gd name="connsiteX93" fmla="*/ 3773 w 34155"/>
                    <a:gd name="connsiteY93" fmla="*/ 19967 h 148553"/>
                    <a:gd name="connsiteX94" fmla="*/ 2738 w 34155"/>
                    <a:gd name="connsiteY94" fmla="*/ 18182 h 148553"/>
                    <a:gd name="connsiteX95" fmla="*/ 1972 w 34155"/>
                    <a:gd name="connsiteY95" fmla="*/ 15965 h 148553"/>
                    <a:gd name="connsiteX96" fmla="*/ 888 w 34155"/>
                    <a:gd name="connsiteY96" fmla="*/ 11418 h 148553"/>
                    <a:gd name="connsiteX97" fmla="*/ 334 w 34155"/>
                    <a:gd name="connsiteY97" fmla="*/ 10489 h 148553"/>
                    <a:gd name="connsiteX98" fmla="*/ 32 w 34155"/>
                    <a:gd name="connsiteY98" fmla="*/ 9242 h 148553"/>
                    <a:gd name="connsiteX99" fmla="*/ 0 w 34155"/>
                    <a:gd name="connsiteY99" fmla="*/ 7726 h 148553"/>
                    <a:gd name="connsiteX100" fmla="*/ 252 w 34155"/>
                    <a:gd name="connsiteY100" fmla="*/ 6544 h 148553"/>
                    <a:gd name="connsiteX101" fmla="*/ 1190 w 34155"/>
                    <a:gd name="connsiteY101" fmla="*/ 4922 h 148553"/>
                    <a:gd name="connsiteX102" fmla="*/ 1337 w 34155"/>
                    <a:gd name="connsiteY102" fmla="*/ 3994 h 148553"/>
                    <a:gd name="connsiteX103" fmla="*/ 1100 w 34155"/>
                    <a:gd name="connsiteY103" fmla="*/ 2119 h 148553"/>
                    <a:gd name="connsiteX104" fmla="*/ 1418 w 34155"/>
                    <a:gd name="connsiteY104" fmla="*/ 1100 h 148553"/>
                    <a:gd name="connsiteX105" fmla="*/ 2249 w 34155"/>
                    <a:gd name="connsiteY105" fmla="*/ 0 h 148553"/>
                    <a:gd name="connsiteX106" fmla="*/ 4539 w 34155"/>
                    <a:gd name="connsiteY106" fmla="*/ 1280 h 148553"/>
                    <a:gd name="connsiteX107" fmla="*/ 10317 w 34155"/>
                    <a:gd name="connsiteY107" fmla="*/ 7131 h 148553"/>
                    <a:gd name="connsiteX108" fmla="*/ 10480 w 34155"/>
                    <a:gd name="connsiteY108" fmla="*/ 7889 h 148553"/>
                    <a:gd name="connsiteX109" fmla="*/ 14156 w 34155"/>
                    <a:gd name="connsiteY109" fmla="*/ 13691 h 148553"/>
                    <a:gd name="connsiteX110" fmla="*/ 15346 w 34155"/>
                    <a:gd name="connsiteY110" fmla="*/ 16145 h 148553"/>
                    <a:gd name="connsiteX111" fmla="*/ 15346 w 34155"/>
                    <a:gd name="connsiteY111" fmla="*/ 17432 h 148553"/>
                    <a:gd name="connsiteX112" fmla="*/ 16495 w 34155"/>
                    <a:gd name="connsiteY112" fmla="*/ 22510 h 148553"/>
                    <a:gd name="connsiteX113" fmla="*/ 16731 w 34155"/>
                    <a:gd name="connsiteY113" fmla="*/ 24873 h 148553"/>
                    <a:gd name="connsiteX114" fmla="*/ 16479 w 34155"/>
                    <a:gd name="connsiteY114" fmla="*/ 26690 h 148553"/>
                    <a:gd name="connsiteX115" fmla="*/ 16527 w 34155"/>
                    <a:gd name="connsiteY115" fmla="*/ 28133 h 148553"/>
                    <a:gd name="connsiteX116" fmla="*/ 16975 w 34155"/>
                    <a:gd name="connsiteY116" fmla="*/ 30211 h 148553"/>
                    <a:gd name="connsiteX117" fmla="*/ 16829 w 34155"/>
                    <a:gd name="connsiteY117" fmla="*/ 31075 h 148553"/>
                    <a:gd name="connsiteX118" fmla="*/ 18133 w 34155"/>
                    <a:gd name="connsiteY118" fmla="*/ 34115 h 148553"/>
                    <a:gd name="connsiteX119" fmla="*/ 18752 w 34155"/>
                    <a:gd name="connsiteY119" fmla="*/ 36658 h 148553"/>
                    <a:gd name="connsiteX120" fmla="*/ 18883 w 34155"/>
                    <a:gd name="connsiteY120" fmla="*/ 39159 h 148553"/>
                    <a:gd name="connsiteX121" fmla="*/ 18532 w 34155"/>
                    <a:gd name="connsiteY121" fmla="*/ 41580 h 148553"/>
                    <a:gd name="connsiteX122" fmla="*/ 17383 w 34155"/>
                    <a:gd name="connsiteY122" fmla="*/ 45125 h 148553"/>
                    <a:gd name="connsiteX123" fmla="*/ 17179 w 34155"/>
                    <a:gd name="connsiteY123" fmla="*/ 46560 h 148553"/>
                    <a:gd name="connsiteX124" fmla="*/ 17432 w 34155"/>
                    <a:gd name="connsiteY124" fmla="*/ 47855 h 148553"/>
                    <a:gd name="connsiteX125" fmla="*/ 18182 w 34155"/>
                    <a:gd name="connsiteY125" fmla="*/ 49273 h 148553"/>
                    <a:gd name="connsiteX126" fmla="*/ 19421 w 34155"/>
                    <a:gd name="connsiteY126" fmla="*/ 50789 h 148553"/>
                    <a:gd name="connsiteX127" fmla="*/ 20358 w 34155"/>
                    <a:gd name="connsiteY127" fmla="*/ 52631 h 148553"/>
                    <a:gd name="connsiteX128" fmla="*/ 20994 w 34155"/>
                    <a:gd name="connsiteY128" fmla="*/ 54791 h 148553"/>
                    <a:gd name="connsiteX129" fmla="*/ 21531 w 34155"/>
                    <a:gd name="connsiteY129" fmla="*/ 55769 h 148553"/>
                    <a:gd name="connsiteX130" fmla="*/ 22200 w 34155"/>
                    <a:gd name="connsiteY130" fmla="*/ 55736 h 148553"/>
                    <a:gd name="connsiteX131" fmla="*/ 23438 w 34155"/>
                    <a:gd name="connsiteY131" fmla="*/ 56078 h 148553"/>
                    <a:gd name="connsiteX132" fmla="*/ 24424 w 34155"/>
                    <a:gd name="connsiteY132" fmla="*/ 57333 h 148553"/>
                    <a:gd name="connsiteX133" fmla="*/ 25574 w 34155"/>
                    <a:gd name="connsiteY133" fmla="*/ 59436 h 148553"/>
                    <a:gd name="connsiteX134" fmla="*/ 26128 w 34155"/>
                    <a:gd name="connsiteY134" fmla="*/ 62883 h 148553"/>
                    <a:gd name="connsiteX135" fmla="*/ 26079 w 34155"/>
                    <a:gd name="connsiteY135" fmla="*/ 67659 h 148553"/>
                    <a:gd name="connsiteX136" fmla="*/ 25509 w 34155"/>
                    <a:gd name="connsiteY136" fmla="*/ 71783 h 148553"/>
                    <a:gd name="connsiteX137" fmla="*/ 24441 w 34155"/>
                    <a:gd name="connsiteY137" fmla="*/ 75246 h 148553"/>
                    <a:gd name="connsiteX138" fmla="*/ 23593 w 34155"/>
                    <a:gd name="connsiteY138" fmla="*/ 77113 h 148553"/>
                    <a:gd name="connsiteX139" fmla="*/ 22974 w 34155"/>
                    <a:gd name="connsiteY139" fmla="*/ 77422 h 148553"/>
                    <a:gd name="connsiteX140" fmla="*/ 21874 w 34155"/>
                    <a:gd name="connsiteY140" fmla="*/ 78531 h 148553"/>
                    <a:gd name="connsiteX141" fmla="*/ 20342 w 34155"/>
                    <a:gd name="connsiteY141" fmla="*/ 80422 h 148553"/>
                    <a:gd name="connsiteX142" fmla="*/ 19689 w 34155"/>
                    <a:gd name="connsiteY142" fmla="*/ 81734 h 148553"/>
                    <a:gd name="connsiteX143" fmla="*/ 19958 w 34155"/>
                    <a:gd name="connsiteY143" fmla="*/ 82475 h 148553"/>
                    <a:gd name="connsiteX144" fmla="*/ 20040 w 34155"/>
                    <a:gd name="connsiteY144" fmla="*/ 84130 h 148553"/>
                    <a:gd name="connsiteX145" fmla="*/ 19958 w 34155"/>
                    <a:gd name="connsiteY145" fmla="*/ 86697 h 148553"/>
                    <a:gd name="connsiteX146" fmla="*/ 19755 w 34155"/>
                    <a:gd name="connsiteY146" fmla="*/ 87871 h 148553"/>
                    <a:gd name="connsiteX147" fmla="*/ 19535 w 34155"/>
                    <a:gd name="connsiteY147" fmla="*/ 88465 h 148553"/>
                    <a:gd name="connsiteX148" fmla="*/ 21955 w 34155"/>
                    <a:gd name="connsiteY148" fmla="*/ 95140 h 148553"/>
                    <a:gd name="connsiteX149" fmla="*/ 22371 w 34155"/>
                    <a:gd name="connsiteY149" fmla="*/ 98897 h 148553"/>
                    <a:gd name="connsiteX150" fmla="*/ 21499 w 34155"/>
                    <a:gd name="connsiteY150" fmla="*/ 102027 h 148553"/>
                    <a:gd name="connsiteX151" fmla="*/ 21434 w 34155"/>
                    <a:gd name="connsiteY151" fmla="*/ 104846 h 148553"/>
                    <a:gd name="connsiteX152" fmla="*/ 22200 w 34155"/>
                    <a:gd name="connsiteY152" fmla="*/ 107316 h 148553"/>
                    <a:gd name="connsiteX153" fmla="*/ 22453 w 34155"/>
                    <a:gd name="connsiteY153" fmla="*/ 110290 h 148553"/>
                    <a:gd name="connsiteX154" fmla="*/ 22183 w 34155"/>
                    <a:gd name="connsiteY154" fmla="*/ 113795 h 148553"/>
                    <a:gd name="connsiteX155" fmla="*/ 22468 w 34155"/>
                    <a:gd name="connsiteY155" fmla="*/ 116060 h 148553"/>
                    <a:gd name="connsiteX156" fmla="*/ 23325 w 34155"/>
                    <a:gd name="connsiteY156" fmla="*/ 117079 h 148553"/>
                    <a:gd name="connsiteX157" fmla="*/ 23708 w 34155"/>
                    <a:gd name="connsiteY157" fmla="*/ 119948 h 148553"/>
                    <a:gd name="connsiteX158" fmla="*/ 23642 w 34155"/>
                    <a:gd name="connsiteY158" fmla="*/ 124658 h 148553"/>
                    <a:gd name="connsiteX159" fmla="*/ 23846 w 34155"/>
                    <a:gd name="connsiteY159" fmla="*/ 127258 h 148553"/>
                    <a:gd name="connsiteX160" fmla="*/ 24368 w 34155"/>
                    <a:gd name="connsiteY160" fmla="*/ 127731 h 148553"/>
                    <a:gd name="connsiteX161" fmla="*/ 27872 w 34155"/>
                    <a:gd name="connsiteY161" fmla="*/ 128122 h 148553"/>
                    <a:gd name="connsiteX162" fmla="*/ 28524 w 34155"/>
                    <a:gd name="connsiteY162" fmla="*/ 128529 h 148553"/>
                    <a:gd name="connsiteX163" fmla="*/ 29543 w 34155"/>
                    <a:gd name="connsiteY163" fmla="*/ 131023 h 148553"/>
                    <a:gd name="connsiteX164" fmla="*/ 31596 w 34155"/>
                    <a:gd name="connsiteY164" fmla="*/ 138293 h 148553"/>
                    <a:gd name="connsiteX165" fmla="*/ 31547 w 34155"/>
                    <a:gd name="connsiteY165" fmla="*/ 139026 h 148553"/>
                    <a:gd name="connsiteX166" fmla="*/ 33568 w 34155"/>
                    <a:gd name="connsiteY166" fmla="*/ 144731 h 148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Lst>
                  <a:rect l="l" t="t" r="r" b="b"/>
                  <a:pathLst>
                    <a:path w="34155" h="148553">
                      <a:moveTo>
                        <a:pt x="33568" y="144731"/>
                      </a:moveTo>
                      <a:lnTo>
                        <a:pt x="33568" y="144731"/>
                      </a:lnTo>
                      <a:lnTo>
                        <a:pt x="33568" y="144731"/>
                      </a:lnTo>
                      <a:lnTo>
                        <a:pt x="33568" y="144731"/>
                      </a:lnTo>
                      <a:lnTo>
                        <a:pt x="34155" y="147404"/>
                      </a:lnTo>
                      <a:lnTo>
                        <a:pt x="33903" y="148187"/>
                      </a:lnTo>
                      <a:lnTo>
                        <a:pt x="33503" y="148553"/>
                      </a:lnTo>
                      <a:lnTo>
                        <a:pt x="32966" y="148505"/>
                      </a:lnTo>
                      <a:lnTo>
                        <a:pt x="31898" y="147029"/>
                      </a:lnTo>
                      <a:lnTo>
                        <a:pt x="30341" y="145082"/>
                      </a:lnTo>
                      <a:lnTo>
                        <a:pt x="28304" y="141683"/>
                      </a:lnTo>
                      <a:lnTo>
                        <a:pt x="27456" y="141088"/>
                      </a:lnTo>
                      <a:lnTo>
                        <a:pt x="26087" y="140819"/>
                      </a:lnTo>
                      <a:lnTo>
                        <a:pt x="25802" y="140396"/>
                      </a:lnTo>
                      <a:lnTo>
                        <a:pt x="25671" y="138456"/>
                      </a:lnTo>
                      <a:lnTo>
                        <a:pt x="25370" y="137584"/>
                      </a:lnTo>
                      <a:lnTo>
                        <a:pt x="24783" y="136956"/>
                      </a:lnTo>
                      <a:lnTo>
                        <a:pt x="24164" y="136671"/>
                      </a:lnTo>
                      <a:lnTo>
                        <a:pt x="23561" y="136744"/>
                      </a:lnTo>
                      <a:lnTo>
                        <a:pt x="23373" y="137372"/>
                      </a:lnTo>
                      <a:lnTo>
                        <a:pt x="23593" y="138562"/>
                      </a:lnTo>
                      <a:lnTo>
                        <a:pt x="23406" y="139727"/>
                      </a:lnTo>
                      <a:lnTo>
                        <a:pt x="22786" y="140868"/>
                      </a:lnTo>
                      <a:lnTo>
                        <a:pt x="22583" y="141716"/>
                      </a:lnTo>
                      <a:lnTo>
                        <a:pt x="22786" y="142286"/>
                      </a:lnTo>
                      <a:lnTo>
                        <a:pt x="22656" y="142889"/>
                      </a:lnTo>
                      <a:lnTo>
                        <a:pt x="21417" y="144063"/>
                      </a:lnTo>
                      <a:lnTo>
                        <a:pt x="20415" y="144454"/>
                      </a:lnTo>
                      <a:lnTo>
                        <a:pt x="19845" y="144283"/>
                      </a:lnTo>
                      <a:lnTo>
                        <a:pt x="19714" y="143509"/>
                      </a:lnTo>
                      <a:lnTo>
                        <a:pt x="19144" y="142840"/>
                      </a:lnTo>
                      <a:lnTo>
                        <a:pt x="18125" y="142254"/>
                      </a:lnTo>
                      <a:lnTo>
                        <a:pt x="17220" y="141137"/>
                      </a:lnTo>
                      <a:lnTo>
                        <a:pt x="16389" y="139532"/>
                      </a:lnTo>
                      <a:lnTo>
                        <a:pt x="15884" y="137755"/>
                      </a:lnTo>
                      <a:lnTo>
                        <a:pt x="15680" y="135856"/>
                      </a:lnTo>
                      <a:lnTo>
                        <a:pt x="15884" y="134438"/>
                      </a:lnTo>
                      <a:lnTo>
                        <a:pt x="16486" y="133533"/>
                      </a:lnTo>
                      <a:lnTo>
                        <a:pt x="17106" y="131635"/>
                      </a:lnTo>
                      <a:lnTo>
                        <a:pt x="17742" y="128750"/>
                      </a:lnTo>
                      <a:lnTo>
                        <a:pt x="17343" y="126272"/>
                      </a:lnTo>
                      <a:lnTo>
                        <a:pt x="15876" y="124169"/>
                      </a:lnTo>
                      <a:lnTo>
                        <a:pt x="14669" y="123191"/>
                      </a:lnTo>
                      <a:lnTo>
                        <a:pt x="13683" y="123322"/>
                      </a:lnTo>
                      <a:lnTo>
                        <a:pt x="12493" y="122042"/>
                      </a:lnTo>
                      <a:lnTo>
                        <a:pt x="10293" y="117478"/>
                      </a:lnTo>
                      <a:lnTo>
                        <a:pt x="10089" y="116468"/>
                      </a:lnTo>
                      <a:lnTo>
                        <a:pt x="10236" y="115327"/>
                      </a:lnTo>
                      <a:lnTo>
                        <a:pt x="10733" y="114015"/>
                      </a:lnTo>
                      <a:lnTo>
                        <a:pt x="10863" y="110763"/>
                      </a:lnTo>
                      <a:lnTo>
                        <a:pt x="10529" y="104284"/>
                      </a:lnTo>
                      <a:lnTo>
                        <a:pt x="10277" y="103575"/>
                      </a:lnTo>
                      <a:lnTo>
                        <a:pt x="9771" y="101635"/>
                      </a:lnTo>
                      <a:lnTo>
                        <a:pt x="9184" y="100649"/>
                      </a:lnTo>
                      <a:lnTo>
                        <a:pt x="8965" y="99639"/>
                      </a:lnTo>
                      <a:lnTo>
                        <a:pt x="9128" y="98563"/>
                      </a:lnTo>
                      <a:lnTo>
                        <a:pt x="8875" y="97772"/>
                      </a:lnTo>
                      <a:lnTo>
                        <a:pt x="8223" y="97275"/>
                      </a:lnTo>
                      <a:lnTo>
                        <a:pt x="7652" y="96379"/>
                      </a:lnTo>
                      <a:lnTo>
                        <a:pt x="7204" y="95132"/>
                      </a:lnTo>
                      <a:lnTo>
                        <a:pt x="7237" y="90234"/>
                      </a:lnTo>
                      <a:lnTo>
                        <a:pt x="6821" y="88531"/>
                      </a:lnTo>
                      <a:lnTo>
                        <a:pt x="6072" y="87561"/>
                      </a:lnTo>
                      <a:lnTo>
                        <a:pt x="5004" y="87308"/>
                      </a:lnTo>
                      <a:lnTo>
                        <a:pt x="4172" y="86355"/>
                      </a:lnTo>
                      <a:lnTo>
                        <a:pt x="3284" y="83233"/>
                      </a:lnTo>
                      <a:lnTo>
                        <a:pt x="3154" y="81986"/>
                      </a:lnTo>
                      <a:lnTo>
                        <a:pt x="3822" y="77137"/>
                      </a:lnTo>
                      <a:lnTo>
                        <a:pt x="4824" y="74953"/>
                      </a:lnTo>
                      <a:lnTo>
                        <a:pt x="6397" y="73413"/>
                      </a:lnTo>
                      <a:lnTo>
                        <a:pt x="7147" y="72044"/>
                      </a:lnTo>
                      <a:lnTo>
                        <a:pt x="7098" y="70838"/>
                      </a:lnTo>
                      <a:lnTo>
                        <a:pt x="7848" y="69273"/>
                      </a:lnTo>
                      <a:lnTo>
                        <a:pt x="10236" y="65964"/>
                      </a:lnTo>
                      <a:lnTo>
                        <a:pt x="10350" y="65182"/>
                      </a:lnTo>
                      <a:lnTo>
                        <a:pt x="9519" y="58287"/>
                      </a:lnTo>
                      <a:lnTo>
                        <a:pt x="8851" y="54856"/>
                      </a:lnTo>
                      <a:lnTo>
                        <a:pt x="8068" y="52313"/>
                      </a:lnTo>
                      <a:lnTo>
                        <a:pt x="7897" y="50488"/>
                      </a:lnTo>
                      <a:lnTo>
                        <a:pt x="8329" y="49371"/>
                      </a:lnTo>
                      <a:lnTo>
                        <a:pt x="8427" y="48426"/>
                      </a:lnTo>
                      <a:lnTo>
                        <a:pt x="8174" y="47643"/>
                      </a:lnTo>
                      <a:lnTo>
                        <a:pt x="7375" y="33748"/>
                      </a:lnTo>
                      <a:lnTo>
                        <a:pt x="7057" y="33031"/>
                      </a:lnTo>
                      <a:lnTo>
                        <a:pt x="7172" y="32330"/>
                      </a:lnTo>
                      <a:lnTo>
                        <a:pt x="7758" y="31662"/>
                      </a:lnTo>
                      <a:lnTo>
                        <a:pt x="8027" y="30822"/>
                      </a:lnTo>
                      <a:lnTo>
                        <a:pt x="7995" y="29844"/>
                      </a:lnTo>
                      <a:lnTo>
                        <a:pt x="8247" y="29152"/>
                      </a:lnTo>
                      <a:lnTo>
                        <a:pt x="8785" y="28728"/>
                      </a:lnTo>
                      <a:lnTo>
                        <a:pt x="8500" y="27293"/>
                      </a:lnTo>
                      <a:lnTo>
                        <a:pt x="7383" y="24865"/>
                      </a:lnTo>
                      <a:lnTo>
                        <a:pt x="6193" y="22950"/>
                      </a:lnTo>
                      <a:lnTo>
                        <a:pt x="3773" y="19967"/>
                      </a:lnTo>
                      <a:lnTo>
                        <a:pt x="2738" y="18182"/>
                      </a:lnTo>
                      <a:lnTo>
                        <a:pt x="1972" y="15965"/>
                      </a:lnTo>
                      <a:lnTo>
                        <a:pt x="888" y="11418"/>
                      </a:lnTo>
                      <a:lnTo>
                        <a:pt x="334" y="10489"/>
                      </a:lnTo>
                      <a:lnTo>
                        <a:pt x="32" y="9242"/>
                      </a:lnTo>
                      <a:lnTo>
                        <a:pt x="0" y="7726"/>
                      </a:lnTo>
                      <a:lnTo>
                        <a:pt x="252" y="6544"/>
                      </a:lnTo>
                      <a:lnTo>
                        <a:pt x="1190" y="4922"/>
                      </a:lnTo>
                      <a:lnTo>
                        <a:pt x="1337" y="3994"/>
                      </a:lnTo>
                      <a:lnTo>
                        <a:pt x="1100" y="2119"/>
                      </a:lnTo>
                      <a:lnTo>
                        <a:pt x="1418" y="1100"/>
                      </a:lnTo>
                      <a:lnTo>
                        <a:pt x="2249" y="0"/>
                      </a:lnTo>
                      <a:lnTo>
                        <a:pt x="4539" y="1280"/>
                      </a:lnTo>
                      <a:lnTo>
                        <a:pt x="10317" y="7131"/>
                      </a:lnTo>
                      <a:lnTo>
                        <a:pt x="10480" y="7889"/>
                      </a:lnTo>
                      <a:lnTo>
                        <a:pt x="14156" y="13691"/>
                      </a:lnTo>
                      <a:lnTo>
                        <a:pt x="15346" y="16145"/>
                      </a:lnTo>
                      <a:lnTo>
                        <a:pt x="15346" y="17432"/>
                      </a:lnTo>
                      <a:lnTo>
                        <a:pt x="16495" y="22510"/>
                      </a:lnTo>
                      <a:lnTo>
                        <a:pt x="16731" y="24873"/>
                      </a:lnTo>
                      <a:lnTo>
                        <a:pt x="16479" y="26690"/>
                      </a:lnTo>
                      <a:lnTo>
                        <a:pt x="16527" y="28133"/>
                      </a:lnTo>
                      <a:lnTo>
                        <a:pt x="16975" y="30211"/>
                      </a:lnTo>
                      <a:lnTo>
                        <a:pt x="16829" y="31075"/>
                      </a:lnTo>
                      <a:lnTo>
                        <a:pt x="18133" y="34115"/>
                      </a:lnTo>
                      <a:lnTo>
                        <a:pt x="18752" y="36658"/>
                      </a:lnTo>
                      <a:lnTo>
                        <a:pt x="18883" y="39159"/>
                      </a:lnTo>
                      <a:lnTo>
                        <a:pt x="18532" y="41580"/>
                      </a:lnTo>
                      <a:lnTo>
                        <a:pt x="17383" y="45125"/>
                      </a:lnTo>
                      <a:lnTo>
                        <a:pt x="17179" y="46560"/>
                      </a:lnTo>
                      <a:lnTo>
                        <a:pt x="17432" y="47855"/>
                      </a:lnTo>
                      <a:lnTo>
                        <a:pt x="18182" y="49273"/>
                      </a:lnTo>
                      <a:lnTo>
                        <a:pt x="19421" y="50789"/>
                      </a:lnTo>
                      <a:lnTo>
                        <a:pt x="20358" y="52631"/>
                      </a:lnTo>
                      <a:lnTo>
                        <a:pt x="20994" y="54791"/>
                      </a:lnTo>
                      <a:lnTo>
                        <a:pt x="21531" y="55769"/>
                      </a:lnTo>
                      <a:lnTo>
                        <a:pt x="22200" y="55736"/>
                      </a:lnTo>
                      <a:lnTo>
                        <a:pt x="23438" y="56078"/>
                      </a:lnTo>
                      <a:lnTo>
                        <a:pt x="24424" y="57333"/>
                      </a:lnTo>
                      <a:lnTo>
                        <a:pt x="25574" y="59436"/>
                      </a:lnTo>
                      <a:lnTo>
                        <a:pt x="26128" y="62883"/>
                      </a:lnTo>
                      <a:lnTo>
                        <a:pt x="26079" y="67659"/>
                      </a:lnTo>
                      <a:lnTo>
                        <a:pt x="25509" y="71783"/>
                      </a:lnTo>
                      <a:lnTo>
                        <a:pt x="24441" y="75246"/>
                      </a:lnTo>
                      <a:lnTo>
                        <a:pt x="23593" y="77113"/>
                      </a:lnTo>
                      <a:lnTo>
                        <a:pt x="22974" y="77422"/>
                      </a:lnTo>
                      <a:lnTo>
                        <a:pt x="21874" y="78531"/>
                      </a:lnTo>
                      <a:lnTo>
                        <a:pt x="20342" y="80422"/>
                      </a:lnTo>
                      <a:lnTo>
                        <a:pt x="19689" y="81734"/>
                      </a:lnTo>
                      <a:lnTo>
                        <a:pt x="19958" y="82475"/>
                      </a:lnTo>
                      <a:lnTo>
                        <a:pt x="20040" y="84130"/>
                      </a:lnTo>
                      <a:lnTo>
                        <a:pt x="19958" y="86697"/>
                      </a:lnTo>
                      <a:lnTo>
                        <a:pt x="19755" y="87871"/>
                      </a:lnTo>
                      <a:lnTo>
                        <a:pt x="19535" y="88465"/>
                      </a:lnTo>
                      <a:lnTo>
                        <a:pt x="21955" y="95140"/>
                      </a:lnTo>
                      <a:lnTo>
                        <a:pt x="22371" y="98897"/>
                      </a:lnTo>
                      <a:lnTo>
                        <a:pt x="21499" y="102027"/>
                      </a:lnTo>
                      <a:lnTo>
                        <a:pt x="21434" y="104846"/>
                      </a:lnTo>
                      <a:lnTo>
                        <a:pt x="22200" y="107316"/>
                      </a:lnTo>
                      <a:lnTo>
                        <a:pt x="22453" y="110290"/>
                      </a:lnTo>
                      <a:lnTo>
                        <a:pt x="22183" y="113795"/>
                      </a:lnTo>
                      <a:lnTo>
                        <a:pt x="22468" y="116060"/>
                      </a:lnTo>
                      <a:lnTo>
                        <a:pt x="23325" y="117079"/>
                      </a:lnTo>
                      <a:lnTo>
                        <a:pt x="23708" y="119948"/>
                      </a:lnTo>
                      <a:lnTo>
                        <a:pt x="23642" y="124658"/>
                      </a:lnTo>
                      <a:lnTo>
                        <a:pt x="23846" y="127258"/>
                      </a:lnTo>
                      <a:lnTo>
                        <a:pt x="24368" y="127731"/>
                      </a:lnTo>
                      <a:lnTo>
                        <a:pt x="27872" y="128122"/>
                      </a:lnTo>
                      <a:lnTo>
                        <a:pt x="28524" y="128529"/>
                      </a:lnTo>
                      <a:lnTo>
                        <a:pt x="29543" y="131023"/>
                      </a:lnTo>
                      <a:lnTo>
                        <a:pt x="31596" y="138293"/>
                      </a:lnTo>
                      <a:lnTo>
                        <a:pt x="31547" y="139026"/>
                      </a:lnTo>
                      <a:lnTo>
                        <a:pt x="33568" y="144731"/>
                      </a:lnTo>
                      <a:close/>
                    </a:path>
                  </a:pathLst>
                </a:custGeom>
                <a:solidFill>
                  <a:srgbClr val="FFFFFF"/>
                </a:solidFill>
                <a:ln w="8150" cap="flat">
                  <a:noFill/>
                  <a:prstDash val="solid"/>
                  <a:miter/>
                </a:ln>
              </p:spPr>
              <p:txBody>
                <a:bodyPr rtlCol="0" anchor="ctr"/>
                <a:lstStyle/>
                <a:p>
                  <a:endParaRPr lang="en-US"/>
                </a:p>
              </p:txBody>
            </p:sp>
            <p:sp>
              <p:nvSpPr>
                <p:cNvPr id="421" name="Freeform: Shape 420">
                  <a:extLst>
                    <a:ext uri="{FF2B5EF4-FFF2-40B4-BE49-F238E27FC236}">
                      <a16:creationId xmlns:a16="http://schemas.microsoft.com/office/drawing/2014/main" id="{BAD2E1BD-A23C-4364-A19A-F259F5C3991C}"/>
                    </a:ext>
                  </a:extLst>
                </p:cNvPr>
                <p:cNvSpPr/>
                <p:nvPr/>
              </p:nvSpPr>
              <p:spPr>
                <a:xfrm>
                  <a:off x="3868099" y="3166360"/>
                  <a:ext cx="113688" cy="58767"/>
                </a:xfrm>
                <a:custGeom>
                  <a:avLst/>
                  <a:gdLst>
                    <a:gd name="connsiteX0" fmla="*/ 8704 w 113688"/>
                    <a:gd name="connsiteY0" fmla="*/ 28296 h 58767"/>
                    <a:gd name="connsiteX1" fmla="*/ 9405 w 113688"/>
                    <a:gd name="connsiteY1" fmla="*/ 28671 h 58767"/>
                    <a:gd name="connsiteX2" fmla="*/ 8704 w 113688"/>
                    <a:gd name="connsiteY2" fmla="*/ 30749 h 58767"/>
                    <a:gd name="connsiteX3" fmla="*/ 8394 w 113688"/>
                    <a:gd name="connsiteY3" fmla="*/ 34033 h 58767"/>
                    <a:gd name="connsiteX4" fmla="*/ 8623 w 113688"/>
                    <a:gd name="connsiteY4" fmla="*/ 35704 h 58767"/>
                    <a:gd name="connsiteX5" fmla="*/ 9780 w 113688"/>
                    <a:gd name="connsiteY5" fmla="*/ 36413 h 58767"/>
                    <a:gd name="connsiteX6" fmla="*/ 12869 w 113688"/>
                    <a:gd name="connsiteY6" fmla="*/ 37921 h 58767"/>
                    <a:gd name="connsiteX7" fmla="*/ 15411 w 113688"/>
                    <a:gd name="connsiteY7" fmla="*/ 38239 h 58767"/>
                    <a:gd name="connsiteX8" fmla="*/ 18981 w 113688"/>
                    <a:gd name="connsiteY8" fmla="*/ 36902 h 58767"/>
                    <a:gd name="connsiteX9" fmla="*/ 20089 w 113688"/>
                    <a:gd name="connsiteY9" fmla="*/ 36861 h 58767"/>
                    <a:gd name="connsiteX10" fmla="*/ 21108 w 113688"/>
                    <a:gd name="connsiteY10" fmla="*/ 37277 h 58767"/>
                    <a:gd name="connsiteX11" fmla="*/ 22029 w 113688"/>
                    <a:gd name="connsiteY11" fmla="*/ 38141 h 58767"/>
                    <a:gd name="connsiteX12" fmla="*/ 23406 w 113688"/>
                    <a:gd name="connsiteY12" fmla="*/ 40464 h 58767"/>
                    <a:gd name="connsiteX13" fmla="*/ 23789 w 113688"/>
                    <a:gd name="connsiteY13" fmla="*/ 40064 h 58767"/>
                    <a:gd name="connsiteX14" fmla="*/ 23944 w 113688"/>
                    <a:gd name="connsiteY14" fmla="*/ 37978 h 58767"/>
                    <a:gd name="connsiteX15" fmla="*/ 24637 w 113688"/>
                    <a:gd name="connsiteY15" fmla="*/ 36160 h 58767"/>
                    <a:gd name="connsiteX16" fmla="*/ 25875 w 113688"/>
                    <a:gd name="connsiteY16" fmla="*/ 34604 h 58767"/>
                    <a:gd name="connsiteX17" fmla="*/ 28369 w 113688"/>
                    <a:gd name="connsiteY17" fmla="*/ 32705 h 58767"/>
                    <a:gd name="connsiteX18" fmla="*/ 32126 w 113688"/>
                    <a:gd name="connsiteY18" fmla="*/ 30488 h 58767"/>
                    <a:gd name="connsiteX19" fmla="*/ 34995 w 113688"/>
                    <a:gd name="connsiteY19" fmla="*/ 29307 h 58767"/>
                    <a:gd name="connsiteX20" fmla="*/ 37636 w 113688"/>
                    <a:gd name="connsiteY20" fmla="*/ 28907 h 58767"/>
                    <a:gd name="connsiteX21" fmla="*/ 37847 w 113688"/>
                    <a:gd name="connsiteY21" fmla="*/ 28540 h 58767"/>
                    <a:gd name="connsiteX22" fmla="*/ 39208 w 113688"/>
                    <a:gd name="connsiteY22" fmla="*/ 27310 h 58767"/>
                    <a:gd name="connsiteX23" fmla="*/ 39420 w 113688"/>
                    <a:gd name="connsiteY23" fmla="*/ 27554 h 58767"/>
                    <a:gd name="connsiteX24" fmla="*/ 38907 w 113688"/>
                    <a:gd name="connsiteY24" fmla="*/ 28744 h 58767"/>
                    <a:gd name="connsiteX25" fmla="*/ 38899 w 113688"/>
                    <a:gd name="connsiteY25" fmla="*/ 29315 h 58767"/>
                    <a:gd name="connsiteX26" fmla="*/ 39404 w 113688"/>
                    <a:gd name="connsiteY26" fmla="*/ 29266 h 58767"/>
                    <a:gd name="connsiteX27" fmla="*/ 40048 w 113688"/>
                    <a:gd name="connsiteY27" fmla="*/ 27994 h 58767"/>
                    <a:gd name="connsiteX28" fmla="*/ 40838 w 113688"/>
                    <a:gd name="connsiteY28" fmla="*/ 25476 h 58767"/>
                    <a:gd name="connsiteX29" fmla="*/ 42794 w 113688"/>
                    <a:gd name="connsiteY29" fmla="*/ 22778 h 58767"/>
                    <a:gd name="connsiteX30" fmla="*/ 48621 w 113688"/>
                    <a:gd name="connsiteY30" fmla="*/ 17791 h 58767"/>
                    <a:gd name="connsiteX31" fmla="*/ 50871 w 113688"/>
                    <a:gd name="connsiteY31" fmla="*/ 16454 h 58767"/>
                    <a:gd name="connsiteX32" fmla="*/ 54636 w 113688"/>
                    <a:gd name="connsiteY32" fmla="*/ 15631 h 58767"/>
                    <a:gd name="connsiteX33" fmla="*/ 59925 w 113688"/>
                    <a:gd name="connsiteY33" fmla="*/ 15330 h 58767"/>
                    <a:gd name="connsiteX34" fmla="*/ 65190 w 113688"/>
                    <a:gd name="connsiteY34" fmla="*/ 15998 h 58767"/>
                    <a:gd name="connsiteX35" fmla="*/ 70414 w 113688"/>
                    <a:gd name="connsiteY35" fmla="*/ 17628 h 58767"/>
                    <a:gd name="connsiteX36" fmla="*/ 73975 w 113688"/>
                    <a:gd name="connsiteY36" fmla="*/ 18386 h 58767"/>
                    <a:gd name="connsiteX37" fmla="*/ 75874 w 113688"/>
                    <a:gd name="connsiteY37" fmla="*/ 18264 h 58767"/>
                    <a:gd name="connsiteX38" fmla="*/ 83380 w 113688"/>
                    <a:gd name="connsiteY38" fmla="*/ 19331 h 58767"/>
                    <a:gd name="connsiteX39" fmla="*/ 84170 w 113688"/>
                    <a:gd name="connsiteY39" fmla="*/ 19070 h 58767"/>
                    <a:gd name="connsiteX40" fmla="*/ 83111 w 113688"/>
                    <a:gd name="connsiteY40" fmla="*/ 18467 h 58767"/>
                    <a:gd name="connsiteX41" fmla="*/ 78148 w 113688"/>
                    <a:gd name="connsiteY41" fmla="*/ 17840 h 58767"/>
                    <a:gd name="connsiteX42" fmla="*/ 76591 w 113688"/>
                    <a:gd name="connsiteY42" fmla="*/ 17204 h 58767"/>
                    <a:gd name="connsiteX43" fmla="*/ 74652 w 113688"/>
                    <a:gd name="connsiteY43" fmla="*/ 17343 h 58767"/>
                    <a:gd name="connsiteX44" fmla="*/ 74521 w 113688"/>
                    <a:gd name="connsiteY44" fmla="*/ 17017 h 58767"/>
                    <a:gd name="connsiteX45" fmla="*/ 75907 w 113688"/>
                    <a:gd name="connsiteY45" fmla="*/ 14865 h 58767"/>
                    <a:gd name="connsiteX46" fmla="*/ 76665 w 113688"/>
                    <a:gd name="connsiteY46" fmla="*/ 14621 h 58767"/>
                    <a:gd name="connsiteX47" fmla="*/ 77634 w 113688"/>
                    <a:gd name="connsiteY47" fmla="*/ 13781 h 58767"/>
                    <a:gd name="connsiteX48" fmla="*/ 78629 w 113688"/>
                    <a:gd name="connsiteY48" fmla="*/ 12697 h 58767"/>
                    <a:gd name="connsiteX49" fmla="*/ 80251 w 113688"/>
                    <a:gd name="connsiteY49" fmla="*/ 11467 h 58767"/>
                    <a:gd name="connsiteX50" fmla="*/ 83249 w 113688"/>
                    <a:gd name="connsiteY50" fmla="*/ 10505 h 58767"/>
                    <a:gd name="connsiteX51" fmla="*/ 87634 w 113688"/>
                    <a:gd name="connsiteY51" fmla="*/ 9812 h 58767"/>
                    <a:gd name="connsiteX52" fmla="*/ 92011 w 113688"/>
                    <a:gd name="connsiteY52" fmla="*/ 8565 h 58767"/>
                    <a:gd name="connsiteX53" fmla="*/ 93200 w 113688"/>
                    <a:gd name="connsiteY53" fmla="*/ 8460 h 58767"/>
                    <a:gd name="connsiteX54" fmla="*/ 94113 w 113688"/>
                    <a:gd name="connsiteY54" fmla="*/ 8834 h 58767"/>
                    <a:gd name="connsiteX55" fmla="*/ 95800 w 113688"/>
                    <a:gd name="connsiteY55" fmla="*/ 8720 h 58767"/>
                    <a:gd name="connsiteX56" fmla="*/ 100951 w 113688"/>
                    <a:gd name="connsiteY56" fmla="*/ 7799 h 58767"/>
                    <a:gd name="connsiteX57" fmla="*/ 103982 w 113688"/>
                    <a:gd name="connsiteY57" fmla="*/ 7808 h 58767"/>
                    <a:gd name="connsiteX58" fmla="*/ 106167 w 113688"/>
                    <a:gd name="connsiteY58" fmla="*/ 8076 h 58767"/>
                    <a:gd name="connsiteX59" fmla="*/ 107511 w 113688"/>
                    <a:gd name="connsiteY59" fmla="*/ 8598 h 58767"/>
                    <a:gd name="connsiteX60" fmla="*/ 109117 w 113688"/>
                    <a:gd name="connsiteY60" fmla="*/ 8435 h 58767"/>
                    <a:gd name="connsiteX61" fmla="*/ 112108 w 113688"/>
                    <a:gd name="connsiteY61" fmla="*/ 6887 h 58767"/>
                    <a:gd name="connsiteX62" fmla="*/ 112458 w 113688"/>
                    <a:gd name="connsiteY62" fmla="*/ 6308 h 58767"/>
                    <a:gd name="connsiteX63" fmla="*/ 111839 w 113688"/>
                    <a:gd name="connsiteY63" fmla="*/ 5354 h 58767"/>
                    <a:gd name="connsiteX64" fmla="*/ 110266 w 113688"/>
                    <a:gd name="connsiteY64" fmla="*/ 4002 h 58767"/>
                    <a:gd name="connsiteX65" fmla="*/ 109541 w 113688"/>
                    <a:gd name="connsiteY65" fmla="*/ 2934 h 58767"/>
                    <a:gd name="connsiteX66" fmla="*/ 109671 w 113688"/>
                    <a:gd name="connsiteY66" fmla="*/ 2152 h 58767"/>
                    <a:gd name="connsiteX67" fmla="*/ 109467 w 113688"/>
                    <a:gd name="connsiteY67" fmla="*/ 1475 h 58767"/>
                    <a:gd name="connsiteX68" fmla="*/ 108709 w 113688"/>
                    <a:gd name="connsiteY68" fmla="*/ 456 h 58767"/>
                    <a:gd name="connsiteX69" fmla="*/ 108889 w 113688"/>
                    <a:gd name="connsiteY69" fmla="*/ 0 h 58767"/>
                    <a:gd name="connsiteX70" fmla="*/ 112800 w 113688"/>
                    <a:gd name="connsiteY70" fmla="*/ 1239 h 58767"/>
                    <a:gd name="connsiteX71" fmla="*/ 113134 w 113688"/>
                    <a:gd name="connsiteY71" fmla="*/ 1671 h 58767"/>
                    <a:gd name="connsiteX72" fmla="*/ 113004 w 113688"/>
                    <a:gd name="connsiteY72" fmla="*/ 2510 h 58767"/>
                    <a:gd name="connsiteX73" fmla="*/ 113004 w 113688"/>
                    <a:gd name="connsiteY73" fmla="*/ 2510 h 58767"/>
                    <a:gd name="connsiteX74" fmla="*/ 113004 w 113688"/>
                    <a:gd name="connsiteY74" fmla="*/ 2510 h 58767"/>
                    <a:gd name="connsiteX75" fmla="*/ 113004 w 113688"/>
                    <a:gd name="connsiteY75" fmla="*/ 2510 h 58767"/>
                    <a:gd name="connsiteX76" fmla="*/ 113004 w 113688"/>
                    <a:gd name="connsiteY76" fmla="*/ 2510 h 58767"/>
                    <a:gd name="connsiteX77" fmla="*/ 113004 w 113688"/>
                    <a:gd name="connsiteY77" fmla="*/ 2510 h 58767"/>
                    <a:gd name="connsiteX78" fmla="*/ 112401 w 113688"/>
                    <a:gd name="connsiteY78" fmla="*/ 3757 h 58767"/>
                    <a:gd name="connsiteX79" fmla="*/ 112515 w 113688"/>
                    <a:gd name="connsiteY79" fmla="*/ 5469 h 58767"/>
                    <a:gd name="connsiteX80" fmla="*/ 113346 w 113688"/>
                    <a:gd name="connsiteY80" fmla="*/ 7620 h 58767"/>
                    <a:gd name="connsiteX81" fmla="*/ 113689 w 113688"/>
                    <a:gd name="connsiteY81" fmla="*/ 9340 h 58767"/>
                    <a:gd name="connsiteX82" fmla="*/ 113550 w 113688"/>
                    <a:gd name="connsiteY82" fmla="*/ 10611 h 58767"/>
                    <a:gd name="connsiteX83" fmla="*/ 112548 w 113688"/>
                    <a:gd name="connsiteY83" fmla="*/ 11817 h 58767"/>
                    <a:gd name="connsiteX84" fmla="*/ 110681 w 113688"/>
                    <a:gd name="connsiteY84" fmla="*/ 12974 h 58767"/>
                    <a:gd name="connsiteX85" fmla="*/ 108970 w 113688"/>
                    <a:gd name="connsiteY85" fmla="*/ 14735 h 58767"/>
                    <a:gd name="connsiteX86" fmla="*/ 107422 w 113688"/>
                    <a:gd name="connsiteY86" fmla="*/ 17098 h 58767"/>
                    <a:gd name="connsiteX87" fmla="*/ 105335 w 113688"/>
                    <a:gd name="connsiteY87" fmla="*/ 19038 h 58767"/>
                    <a:gd name="connsiteX88" fmla="*/ 102703 w 113688"/>
                    <a:gd name="connsiteY88" fmla="*/ 20546 h 58767"/>
                    <a:gd name="connsiteX89" fmla="*/ 100193 w 113688"/>
                    <a:gd name="connsiteY89" fmla="*/ 22420 h 58767"/>
                    <a:gd name="connsiteX90" fmla="*/ 97813 w 113688"/>
                    <a:gd name="connsiteY90" fmla="*/ 24694 h 58767"/>
                    <a:gd name="connsiteX91" fmla="*/ 93062 w 113688"/>
                    <a:gd name="connsiteY91" fmla="*/ 27823 h 58767"/>
                    <a:gd name="connsiteX92" fmla="*/ 83828 w 113688"/>
                    <a:gd name="connsiteY92" fmla="*/ 33121 h 58767"/>
                    <a:gd name="connsiteX93" fmla="*/ 82622 w 113688"/>
                    <a:gd name="connsiteY93" fmla="*/ 33732 h 58767"/>
                    <a:gd name="connsiteX94" fmla="*/ 81546 w 113688"/>
                    <a:gd name="connsiteY94" fmla="*/ 34400 h 58767"/>
                    <a:gd name="connsiteX95" fmla="*/ 79476 w 113688"/>
                    <a:gd name="connsiteY95" fmla="*/ 35557 h 58767"/>
                    <a:gd name="connsiteX96" fmla="*/ 77431 w 113688"/>
                    <a:gd name="connsiteY96" fmla="*/ 36739 h 58767"/>
                    <a:gd name="connsiteX97" fmla="*/ 64171 w 113688"/>
                    <a:gd name="connsiteY97" fmla="*/ 41800 h 58767"/>
                    <a:gd name="connsiteX98" fmla="*/ 55255 w 113688"/>
                    <a:gd name="connsiteY98" fmla="*/ 46030 h 58767"/>
                    <a:gd name="connsiteX99" fmla="*/ 49836 w 113688"/>
                    <a:gd name="connsiteY99" fmla="*/ 49420 h 58767"/>
                    <a:gd name="connsiteX100" fmla="*/ 45117 w 113688"/>
                    <a:gd name="connsiteY100" fmla="*/ 53633 h 58767"/>
                    <a:gd name="connsiteX101" fmla="*/ 42982 w 113688"/>
                    <a:gd name="connsiteY101" fmla="*/ 54913 h 58767"/>
                    <a:gd name="connsiteX102" fmla="*/ 40643 w 113688"/>
                    <a:gd name="connsiteY102" fmla="*/ 55255 h 58767"/>
                    <a:gd name="connsiteX103" fmla="*/ 36951 w 113688"/>
                    <a:gd name="connsiteY103" fmla="*/ 55019 h 58767"/>
                    <a:gd name="connsiteX104" fmla="*/ 33104 w 113688"/>
                    <a:gd name="connsiteY104" fmla="*/ 55524 h 58767"/>
                    <a:gd name="connsiteX105" fmla="*/ 29103 w 113688"/>
                    <a:gd name="connsiteY105" fmla="*/ 56763 h 58767"/>
                    <a:gd name="connsiteX106" fmla="*/ 26519 w 113688"/>
                    <a:gd name="connsiteY106" fmla="*/ 57765 h 58767"/>
                    <a:gd name="connsiteX107" fmla="*/ 25338 w 113688"/>
                    <a:gd name="connsiteY107" fmla="*/ 58540 h 58767"/>
                    <a:gd name="connsiteX108" fmla="*/ 24197 w 113688"/>
                    <a:gd name="connsiteY108" fmla="*/ 58768 h 58767"/>
                    <a:gd name="connsiteX109" fmla="*/ 23104 w 113688"/>
                    <a:gd name="connsiteY109" fmla="*/ 58458 h 58767"/>
                    <a:gd name="connsiteX110" fmla="*/ 20171 w 113688"/>
                    <a:gd name="connsiteY110" fmla="*/ 56413 h 58767"/>
                    <a:gd name="connsiteX111" fmla="*/ 19951 w 113688"/>
                    <a:gd name="connsiteY111" fmla="*/ 56567 h 58767"/>
                    <a:gd name="connsiteX112" fmla="*/ 19405 w 113688"/>
                    <a:gd name="connsiteY112" fmla="*/ 56869 h 58767"/>
                    <a:gd name="connsiteX113" fmla="*/ 17685 w 113688"/>
                    <a:gd name="connsiteY113" fmla="*/ 56518 h 58767"/>
                    <a:gd name="connsiteX114" fmla="*/ 15721 w 113688"/>
                    <a:gd name="connsiteY114" fmla="*/ 56478 h 58767"/>
                    <a:gd name="connsiteX115" fmla="*/ 14009 w 113688"/>
                    <a:gd name="connsiteY115" fmla="*/ 57227 h 58767"/>
                    <a:gd name="connsiteX116" fmla="*/ 12314 w 113688"/>
                    <a:gd name="connsiteY116" fmla="*/ 57342 h 58767"/>
                    <a:gd name="connsiteX117" fmla="*/ 10627 w 113688"/>
                    <a:gd name="connsiteY117" fmla="*/ 56836 h 58767"/>
                    <a:gd name="connsiteX118" fmla="*/ 12037 w 113688"/>
                    <a:gd name="connsiteY118" fmla="*/ 56111 h 58767"/>
                    <a:gd name="connsiteX119" fmla="*/ 18752 w 113688"/>
                    <a:gd name="connsiteY119" fmla="*/ 54554 h 58767"/>
                    <a:gd name="connsiteX120" fmla="*/ 18671 w 113688"/>
                    <a:gd name="connsiteY120" fmla="*/ 54269 h 58767"/>
                    <a:gd name="connsiteX121" fmla="*/ 16250 w 113688"/>
                    <a:gd name="connsiteY121" fmla="*/ 53373 h 58767"/>
                    <a:gd name="connsiteX122" fmla="*/ 15509 w 113688"/>
                    <a:gd name="connsiteY122" fmla="*/ 52541 h 58767"/>
                    <a:gd name="connsiteX123" fmla="*/ 14890 w 113688"/>
                    <a:gd name="connsiteY123" fmla="*/ 52615 h 58767"/>
                    <a:gd name="connsiteX124" fmla="*/ 14409 w 113688"/>
                    <a:gd name="connsiteY124" fmla="*/ 53560 h 58767"/>
                    <a:gd name="connsiteX125" fmla="*/ 13520 w 113688"/>
                    <a:gd name="connsiteY125" fmla="*/ 53968 h 58767"/>
                    <a:gd name="connsiteX126" fmla="*/ 12216 w 113688"/>
                    <a:gd name="connsiteY126" fmla="*/ 53837 h 58767"/>
                    <a:gd name="connsiteX127" fmla="*/ 10904 w 113688"/>
                    <a:gd name="connsiteY127" fmla="*/ 53120 h 58767"/>
                    <a:gd name="connsiteX128" fmla="*/ 9592 w 113688"/>
                    <a:gd name="connsiteY128" fmla="*/ 51824 h 58767"/>
                    <a:gd name="connsiteX129" fmla="*/ 5289 w 113688"/>
                    <a:gd name="connsiteY129" fmla="*/ 49730 h 58767"/>
                    <a:gd name="connsiteX130" fmla="*/ 4099 w 113688"/>
                    <a:gd name="connsiteY130" fmla="*/ 48654 h 58767"/>
                    <a:gd name="connsiteX131" fmla="*/ 2575 w 113688"/>
                    <a:gd name="connsiteY131" fmla="*/ 47945 h 58767"/>
                    <a:gd name="connsiteX132" fmla="*/ 326 w 113688"/>
                    <a:gd name="connsiteY132" fmla="*/ 47578 h 58767"/>
                    <a:gd name="connsiteX133" fmla="*/ 0 w 113688"/>
                    <a:gd name="connsiteY133" fmla="*/ 46975 h 58767"/>
                    <a:gd name="connsiteX134" fmla="*/ 367 w 113688"/>
                    <a:gd name="connsiteY134" fmla="*/ 46160 h 58767"/>
                    <a:gd name="connsiteX135" fmla="*/ 2331 w 113688"/>
                    <a:gd name="connsiteY135" fmla="*/ 42256 h 58767"/>
                    <a:gd name="connsiteX136" fmla="*/ 3472 w 113688"/>
                    <a:gd name="connsiteY136" fmla="*/ 40757 h 58767"/>
                    <a:gd name="connsiteX137" fmla="*/ 3945 w 113688"/>
                    <a:gd name="connsiteY137" fmla="*/ 40366 h 58767"/>
                    <a:gd name="connsiteX138" fmla="*/ 4556 w 113688"/>
                    <a:gd name="connsiteY138" fmla="*/ 40382 h 58767"/>
                    <a:gd name="connsiteX139" fmla="*/ 4817 w 113688"/>
                    <a:gd name="connsiteY139" fmla="*/ 39974 h 58767"/>
                    <a:gd name="connsiteX140" fmla="*/ 4727 w 113688"/>
                    <a:gd name="connsiteY140" fmla="*/ 39143 h 58767"/>
                    <a:gd name="connsiteX141" fmla="*/ 4971 w 113688"/>
                    <a:gd name="connsiteY141" fmla="*/ 38630 h 58767"/>
                    <a:gd name="connsiteX142" fmla="*/ 6226 w 113688"/>
                    <a:gd name="connsiteY142" fmla="*/ 37212 h 58767"/>
                    <a:gd name="connsiteX143" fmla="*/ 6927 w 113688"/>
                    <a:gd name="connsiteY143" fmla="*/ 36454 h 58767"/>
                    <a:gd name="connsiteX144" fmla="*/ 6626 w 113688"/>
                    <a:gd name="connsiteY144" fmla="*/ 35272 h 58767"/>
                    <a:gd name="connsiteX145" fmla="*/ 6960 w 113688"/>
                    <a:gd name="connsiteY145" fmla="*/ 33112 h 58767"/>
                    <a:gd name="connsiteX146" fmla="*/ 7783 w 113688"/>
                    <a:gd name="connsiteY146" fmla="*/ 30317 h 58767"/>
                    <a:gd name="connsiteX147" fmla="*/ 8704 w 113688"/>
                    <a:gd name="connsiteY147" fmla="*/ 28296 h 58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13688" h="58767">
                      <a:moveTo>
                        <a:pt x="8704" y="28296"/>
                      </a:moveTo>
                      <a:lnTo>
                        <a:pt x="9405" y="28671"/>
                      </a:lnTo>
                      <a:lnTo>
                        <a:pt x="8704" y="30749"/>
                      </a:lnTo>
                      <a:lnTo>
                        <a:pt x="8394" y="34033"/>
                      </a:lnTo>
                      <a:lnTo>
                        <a:pt x="8623" y="35704"/>
                      </a:lnTo>
                      <a:lnTo>
                        <a:pt x="9780" y="36413"/>
                      </a:lnTo>
                      <a:lnTo>
                        <a:pt x="12869" y="37921"/>
                      </a:lnTo>
                      <a:lnTo>
                        <a:pt x="15411" y="38239"/>
                      </a:lnTo>
                      <a:lnTo>
                        <a:pt x="18981" y="36902"/>
                      </a:lnTo>
                      <a:lnTo>
                        <a:pt x="20089" y="36861"/>
                      </a:lnTo>
                      <a:lnTo>
                        <a:pt x="21108" y="37277"/>
                      </a:lnTo>
                      <a:lnTo>
                        <a:pt x="22029" y="38141"/>
                      </a:lnTo>
                      <a:lnTo>
                        <a:pt x="23406" y="40464"/>
                      </a:lnTo>
                      <a:lnTo>
                        <a:pt x="23789" y="40064"/>
                      </a:lnTo>
                      <a:lnTo>
                        <a:pt x="23944" y="37978"/>
                      </a:lnTo>
                      <a:lnTo>
                        <a:pt x="24637" y="36160"/>
                      </a:lnTo>
                      <a:lnTo>
                        <a:pt x="25875" y="34604"/>
                      </a:lnTo>
                      <a:lnTo>
                        <a:pt x="28369" y="32705"/>
                      </a:lnTo>
                      <a:lnTo>
                        <a:pt x="32126" y="30488"/>
                      </a:lnTo>
                      <a:lnTo>
                        <a:pt x="34995" y="29307"/>
                      </a:lnTo>
                      <a:lnTo>
                        <a:pt x="37636" y="28907"/>
                      </a:lnTo>
                      <a:lnTo>
                        <a:pt x="37847" y="28540"/>
                      </a:lnTo>
                      <a:lnTo>
                        <a:pt x="39208" y="27310"/>
                      </a:lnTo>
                      <a:lnTo>
                        <a:pt x="39420" y="27554"/>
                      </a:lnTo>
                      <a:lnTo>
                        <a:pt x="38907" y="28744"/>
                      </a:lnTo>
                      <a:lnTo>
                        <a:pt x="38899" y="29315"/>
                      </a:lnTo>
                      <a:lnTo>
                        <a:pt x="39404" y="29266"/>
                      </a:lnTo>
                      <a:lnTo>
                        <a:pt x="40048" y="27994"/>
                      </a:lnTo>
                      <a:lnTo>
                        <a:pt x="40838" y="25476"/>
                      </a:lnTo>
                      <a:lnTo>
                        <a:pt x="42794" y="22778"/>
                      </a:lnTo>
                      <a:lnTo>
                        <a:pt x="48621" y="17791"/>
                      </a:lnTo>
                      <a:lnTo>
                        <a:pt x="50871" y="16454"/>
                      </a:lnTo>
                      <a:lnTo>
                        <a:pt x="54636" y="15631"/>
                      </a:lnTo>
                      <a:lnTo>
                        <a:pt x="59925" y="15330"/>
                      </a:lnTo>
                      <a:lnTo>
                        <a:pt x="65190" y="15998"/>
                      </a:lnTo>
                      <a:lnTo>
                        <a:pt x="70414" y="17628"/>
                      </a:lnTo>
                      <a:lnTo>
                        <a:pt x="73975" y="18386"/>
                      </a:lnTo>
                      <a:lnTo>
                        <a:pt x="75874" y="18264"/>
                      </a:lnTo>
                      <a:lnTo>
                        <a:pt x="83380" y="19331"/>
                      </a:lnTo>
                      <a:lnTo>
                        <a:pt x="84170" y="19070"/>
                      </a:lnTo>
                      <a:lnTo>
                        <a:pt x="83111" y="18467"/>
                      </a:lnTo>
                      <a:lnTo>
                        <a:pt x="78148" y="17840"/>
                      </a:lnTo>
                      <a:lnTo>
                        <a:pt x="76591" y="17204"/>
                      </a:lnTo>
                      <a:lnTo>
                        <a:pt x="74652" y="17343"/>
                      </a:lnTo>
                      <a:lnTo>
                        <a:pt x="74521" y="17017"/>
                      </a:lnTo>
                      <a:lnTo>
                        <a:pt x="75907" y="14865"/>
                      </a:lnTo>
                      <a:lnTo>
                        <a:pt x="76665" y="14621"/>
                      </a:lnTo>
                      <a:lnTo>
                        <a:pt x="77634" y="13781"/>
                      </a:lnTo>
                      <a:lnTo>
                        <a:pt x="78629" y="12697"/>
                      </a:lnTo>
                      <a:lnTo>
                        <a:pt x="80251" y="11467"/>
                      </a:lnTo>
                      <a:lnTo>
                        <a:pt x="83249" y="10505"/>
                      </a:lnTo>
                      <a:lnTo>
                        <a:pt x="87634" y="9812"/>
                      </a:lnTo>
                      <a:lnTo>
                        <a:pt x="92011" y="8565"/>
                      </a:lnTo>
                      <a:lnTo>
                        <a:pt x="93200" y="8460"/>
                      </a:lnTo>
                      <a:lnTo>
                        <a:pt x="94113" y="8834"/>
                      </a:lnTo>
                      <a:lnTo>
                        <a:pt x="95800" y="8720"/>
                      </a:lnTo>
                      <a:lnTo>
                        <a:pt x="100951" y="7799"/>
                      </a:lnTo>
                      <a:lnTo>
                        <a:pt x="103982" y="7808"/>
                      </a:lnTo>
                      <a:lnTo>
                        <a:pt x="106167" y="8076"/>
                      </a:lnTo>
                      <a:lnTo>
                        <a:pt x="107511" y="8598"/>
                      </a:lnTo>
                      <a:lnTo>
                        <a:pt x="109117" y="8435"/>
                      </a:lnTo>
                      <a:lnTo>
                        <a:pt x="112108" y="6887"/>
                      </a:lnTo>
                      <a:lnTo>
                        <a:pt x="112458" y="6308"/>
                      </a:lnTo>
                      <a:lnTo>
                        <a:pt x="111839" y="5354"/>
                      </a:lnTo>
                      <a:lnTo>
                        <a:pt x="110266" y="4002"/>
                      </a:lnTo>
                      <a:lnTo>
                        <a:pt x="109541" y="2934"/>
                      </a:lnTo>
                      <a:lnTo>
                        <a:pt x="109671" y="2152"/>
                      </a:lnTo>
                      <a:lnTo>
                        <a:pt x="109467" y="1475"/>
                      </a:lnTo>
                      <a:lnTo>
                        <a:pt x="108709" y="456"/>
                      </a:lnTo>
                      <a:lnTo>
                        <a:pt x="108889" y="0"/>
                      </a:lnTo>
                      <a:lnTo>
                        <a:pt x="112800" y="1239"/>
                      </a:lnTo>
                      <a:lnTo>
                        <a:pt x="113134" y="1671"/>
                      </a:lnTo>
                      <a:lnTo>
                        <a:pt x="113004" y="2510"/>
                      </a:lnTo>
                      <a:lnTo>
                        <a:pt x="113004" y="2510"/>
                      </a:lnTo>
                      <a:lnTo>
                        <a:pt x="113004" y="2510"/>
                      </a:lnTo>
                      <a:lnTo>
                        <a:pt x="113004" y="2510"/>
                      </a:lnTo>
                      <a:lnTo>
                        <a:pt x="113004" y="2510"/>
                      </a:lnTo>
                      <a:lnTo>
                        <a:pt x="113004" y="2510"/>
                      </a:lnTo>
                      <a:lnTo>
                        <a:pt x="112401" y="3757"/>
                      </a:lnTo>
                      <a:lnTo>
                        <a:pt x="112515" y="5469"/>
                      </a:lnTo>
                      <a:lnTo>
                        <a:pt x="113346" y="7620"/>
                      </a:lnTo>
                      <a:lnTo>
                        <a:pt x="113689" y="9340"/>
                      </a:lnTo>
                      <a:lnTo>
                        <a:pt x="113550" y="10611"/>
                      </a:lnTo>
                      <a:lnTo>
                        <a:pt x="112548" y="11817"/>
                      </a:lnTo>
                      <a:lnTo>
                        <a:pt x="110681" y="12974"/>
                      </a:lnTo>
                      <a:lnTo>
                        <a:pt x="108970" y="14735"/>
                      </a:lnTo>
                      <a:lnTo>
                        <a:pt x="107422" y="17098"/>
                      </a:lnTo>
                      <a:lnTo>
                        <a:pt x="105335" y="19038"/>
                      </a:lnTo>
                      <a:lnTo>
                        <a:pt x="102703" y="20546"/>
                      </a:lnTo>
                      <a:lnTo>
                        <a:pt x="100193" y="22420"/>
                      </a:lnTo>
                      <a:lnTo>
                        <a:pt x="97813" y="24694"/>
                      </a:lnTo>
                      <a:lnTo>
                        <a:pt x="93062" y="27823"/>
                      </a:lnTo>
                      <a:lnTo>
                        <a:pt x="83828" y="33121"/>
                      </a:lnTo>
                      <a:lnTo>
                        <a:pt x="82622" y="33732"/>
                      </a:lnTo>
                      <a:lnTo>
                        <a:pt x="81546" y="34400"/>
                      </a:lnTo>
                      <a:lnTo>
                        <a:pt x="79476" y="35557"/>
                      </a:lnTo>
                      <a:lnTo>
                        <a:pt x="77431" y="36739"/>
                      </a:lnTo>
                      <a:lnTo>
                        <a:pt x="64171" y="41800"/>
                      </a:lnTo>
                      <a:lnTo>
                        <a:pt x="55255" y="46030"/>
                      </a:lnTo>
                      <a:lnTo>
                        <a:pt x="49836" y="49420"/>
                      </a:lnTo>
                      <a:lnTo>
                        <a:pt x="45117" y="53633"/>
                      </a:lnTo>
                      <a:lnTo>
                        <a:pt x="42982" y="54913"/>
                      </a:lnTo>
                      <a:lnTo>
                        <a:pt x="40643" y="55255"/>
                      </a:lnTo>
                      <a:lnTo>
                        <a:pt x="36951" y="55019"/>
                      </a:lnTo>
                      <a:lnTo>
                        <a:pt x="33104" y="55524"/>
                      </a:lnTo>
                      <a:lnTo>
                        <a:pt x="29103" y="56763"/>
                      </a:lnTo>
                      <a:lnTo>
                        <a:pt x="26519" y="57765"/>
                      </a:lnTo>
                      <a:lnTo>
                        <a:pt x="25338" y="58540"/>
                      </a:lnTo>
                      <a:lnTo>
                        <a:pt x="24197" y="58768"/>
                      </a:lnTo>
                      <a:lnTo>
                        <a:pt x="23104" y="58458"/>
                      </a:lnTo>
                      <a:lnTo>
                        <a:pt x="20171" y="56413"/>
                      </a:lnTo>
                      <a:lnTo>
                        <a:pt x="19951" y="56567"/>
                      </a:lnTo>
                      <a:lnTo>
                        <a:pt x="19405" y="56869"/>
                      </a:lnTo>
                      <a:lnTo>
                        <a:pt x="17685" y="56518"/>
                      </a:lnTo>
                      <a:lnTo>
                        <a:pt x="15721" y="56478"/>
                      </a:lnTo>
                      <a:lnTo>
                        <a:pt x="14009" y="57227"/>
                      </a:lnTo>
                      <a:lnTo>
                        <a:pt x="12314" y="57342"/>
                      </a:lnTo>
                      <a:lnTo>
                        <a:pt x="10627" y="56836"/>
                      </a:lnTo>
                      <a:lnTo>
                        <a:pt x="12037" y="56111"/>
                      </a:lnTo>
                      <a:lnTo>
                        <a:pt x="18752" y="54554"/>
                      </a:lnTo>
                      <a:lnTo>
                        <a:pt x="18671" y="54269"/>
                      </a:lnTo>
                      <a:lnTo>
                        <a:pt x="16250" y="53373"/>
                      </a:lnTo>
                      <a:lnTo>
                        <a:pt x="15509" y="52541"/>
                      </a:lnTo>
                      <a:lnTo>
                        <a:pt x="14890" y="52615"/>
                      </a:lnTo>
                      <a:lnTo>
                        <a:pt x="14409" y="53560"/>
                      </a:lnTo>
                      <a:lnTo>
                        <a:pt x="13520" y="53968"/>
                      </a:lnTo>
                      <a:lnTo>
                        <a:pt x="12216" y="53837"/>
                      </a:lnTo>
                      <a:lnTo>
                        <a:pt x="10904" y="53120"/>
                      </a:lnTo>
                      <a:lnTo>
                        <a:pt x="9592" y="51824"/>
                      </a:lnTo>
                      <a:lnTo>
                        <a:pt x="5289" y="49730"/>
                      </a:lnTo>
                      <a:lnTo>
                        <a:pt x="4099" y="48654"/>
                      </a:lnTo>
                      <a:lnTo>
                        <a:pt x="2575" y="47945"/>
                      </a:lnTo>
                      <a:lnTo>
                        <a:pt x="326" y="47578"/>
                      </a:lnTo>
                      <a:lnTo>
                        <a:pt x="0" y="46975"/>
                      </a:lnTo>
                      <a:lnTo>
                        <a:pt x="367" y="46160"/>
                      </a:lnTo>
                      <a:lnTo>
                        <a:pt x="2331" y="42256"/>
                      </a:lnTo>
                      <a:lnTo>
                        <a:pt x="3472" y="40757"/>
                      </a:lnTo>
                      <a:lnTo>
                        <a:pt x="3945" y="40366"/>
                      </a:lnTo>
                      <a:lnTo>
                        <a:pt x="4556" y="40382"/>
                      </a:lnTo>
                      <a:lnTo>
                        <a:pt x="4817" y="39974"/>
                      </a:lnTo>
                      <a:lnTo>
                        <a:pt x="4727" y="39143"/>
                      </a:lnTo>
                      <a:lnTo>
                        <a:pt x="4971" y="38630"/>
                      </a:lnTo>
                      <a:lnTo>
                        <a:pt x="6226" y="37212"/>
                      </a:lnTo>
                      <a:lnTo>
                        <a:pt x="6927" y="36454"/>
                      </a:lnTo>
                      <a:lnTo>
                        <a:pt x="6626" y="35272"/>
                      </a:lnTo>
                      <a:lnTo>
                        <a:pt x="6960" y="33112"/>
                      </a:lnTo>
                      <a:lnTo>
                        <a:pt x="7783" y="30317"/>
                      </a:lnTo>
                      <a:lnTo>
                        <a:pt x="8704" y="28296"/>
                      </a:lnTo>
                      <a:close/>
                    </a:path>
                  </a:pathLst>
                </a:custGeom>
                <a:solidFill>
                  <a:srgbClr val="FFFFFF"/>
                </a:solidFill>
                <a:ln w="8150" cap="flat">
                  <a:noFill/>
                  <a:prstDash val="solid"/>
                  <a:miter/>
                </a:ln>
              </p:spPr>
              <p:txBody>
                <a:bodyPr rtlCol="0" anchor="ctr"/>
                <a:lstStyle/>
                <a:p>
                  <a:endParaRPr lang="en-US"/>
                </a:p>
              </p:txBody>
            </p:sp>
            <p:sp>
              <p:nvSpPr>
                <p:cNvPr id="422" name="Freeform: Shape 421">
                  <a:extLst>
                    <a:ext uri="{FF2B5EF4-FFF2-40B4-BE49-F238E27FC236}">
                      <a16:creationId xmlns:a16="http://schemas.microsoft.com/office/drawing/2014/main" id="{7EB30FBB-864D-46D9-A8B7-4E09C81B0027}"/>
                    </a:ext>
                  </a:extLst>
                </p:cNvPr>
                <p:cNvSpPr/>
                <p:nvPr/>
              </p:nvSpPr>
              <p:spPr>
                <a:xfrm>
                  <a:off x="3653557" y="2957963"/>
                  <a:ext cx="308288" cy="258982"/>
                </a:xfrm>
                <a:custGeom>
                  <a:avLst/>
                  <a:gdLst>
                    <a:gd name="connsiteX0" fmla="*/ 214754 w 308288"/>
                    <a:gd name="connsiteY0" fmla="*/ 185773 h 258982"/>
                    <a:gd name="connsiteX1" fmla="*/ 214216 w 308288"/>
                    <a:gd name="connsiteY1" fmla="*/ 186735 h 258982"/>
                    <a:gd name="connsiteX2" fmla="*/ 212806 w 308288"/>
                    <a:gd name="connsiteY2" fmla="*/ 187077 h 258982"/>
                    <a:gd name="connsiteX3" fmla="*/ 211632 w 308288"/>
                    <a:gd name="connsiteY3" fmla="*/ 187900 h 258982"/>
                    <a:gd name="connsiteX4" fmla="*/ 210426 w 308288"/>
                    <a:gd name="connsiteY4" fmla="*/ 190019 h 258982"/>
                    <a:gd name="connsiteX5" fmla="*/ 209277 w 308288"/>
                    <a:gd name="connsiteY5" fmla="*/ 190549 h 258982"/>
                    <a:gd name="connsiteX6" fmla="*/ 207607 w 308288"/>
                    <a:gd name="connsiteY6" fmla="*/ 190353 h 258982"/>
                    <a:gd name="connsiteX7" fmla="*/ 204811 w 308288"/>
                    <a:gd name="connsiteY7" fmla="*/ 189074 h 258982"/>
                    <a:gd name="connsiteX8" fmla="*/ 203132 w 308288"/>
                    <a:gd name="connsiteY8" fmla="*/ 187794 h 258982"/>
                    <a:gd name="connsiteX9" fmla="*/ 202578 w 308288"/>
                    <a:gd name="connsiteY9" fmla="*/ 186507 h 258982"/>
                    <a:gd name="connsiteX10" fmla="*/ 202546 w 308288"/>
                    <a:gd name="connsiteY10" fmla="*/ 184966 h 258982"/>
                    <a:gd name="connsiteX11" fmla="*/ 203042 w 308288"/>
                    <a:gd name="connsiteY11" fmla="*/ 183157 h 258982"/>
                    <a:gd name="connsiteX12" fmla="*/ 202994 w 308288"/>
                    <a:gd name="connsiteY12" fmla="*/ 181706 h 258982"/>
                    <a:gd name="connsiteX13" fmla="*/ 204045 w 308288"/>
                    <a:gd name="connsiteY13" fmla="*/ 178683 h 258982"/>
                    <a:gd name="connsiteX14" fmla="*/ 205471 w 308288"/>
                    <a:gd name="connsiteY14" fmla="*/ 177599 h 258982"/>
                    <a:gd name="connsiteX15" fmla="*/ 207541 w 308288"/>
                    <a:gd name="connsiteY15" fmla="*/ 177355 h 258982"/>
                    <a:gd name="connsiteX16" fmla="*/ 208690 w 308288"/>
                    <a:gd name="connsiteY16" fmla="*/ 176866 h 258982"/>
                    <a:gd name="connsiteX17" fmla="*/ 208910 w 308288"/>
                    <a:gd name="connsiteY17" fmla="*/ 176157 h 258982"/>
                    <a:gd name="connsiteX18" fmla="*/ 209554 w 308288"/>
                    <a:gd name="connsiteY18" fmla="*/ 175643 h 258982"/>
                    <a:gd name="connsiteX19" fmla="*/ 210614 w 308288"/>
                    <a:gd name="connsiteY19" fmla="*/ 175350 h 258982"/>
                    <a:gd name="connsiteX20" fmla="*/ 211518 w 308288"/>
                    <a:gd name="connsiteY20" fmla="*/ 173426 h 258982"/>
                    <a:gd name="connsiteX21" fmla="*/ 212260 w 308288"/>
                    <a:gd name="connsiteY21" fmla="*/ 169889 h 258982"/>
                    <a:gd name="connsiteX22" fmla="*/ 213132 w 308288"/>
                    <a:gd name="connsiteY22" fmla="*/ 167942 h 258982"/>
                    <a:gd name="connsiteX23" fmla="*/ 213751 w 308288"/>
                    <a:gd name="connsiteY23" fmla="*/ 167599 h 258982"/>
                    <a:gd name="connsiteX24" fmla="*/ 214330 w 308288"/>
                    <a:gd name="connsiteY24" fmla="*/ 167713 h 258982"/>
                    <a:gd name="connsiteX25" fmla="*/ 214362 w 308288"/>
                    <a:gd name="connsiteY25" fmla="*/ 168145 h 258982"/>
                    <a:gd name="connsiteX26" fmla="*/ 216759 w 308288"/>
                    <a:gd name="connsiteY26" fmla="*/ 165871 h 258982"/>
                    <a:gd name="connsiteX27" fmla="*/ 217639 w 308288"/>
                    <a:gd name="connsiteY27" fmla="*/ 164299 h 258982"/>
                    <a:gd name="connsiteX28" fmla="*/ 217688 w 308288"/>
                    <a:gd name="connsiteY28" fmla="*/ 162677 h 258982"/>
                    <a:gd name="connsiteX29" fmla="*/ 217916 w 308288"/>
                    <a:gd name="connsiteY29" fmla="*/ 157950 h 258982"/>
                    <a:gd name="connsiteX30" fmla="*/ 218193 w 308288"/>
                    <a:gd name="connsiteY30" fmla="*/ 154902 h 258982"/>
                    <a:gd name="connsiteX31" fmla="*/ 218535 w 308288"/>
                    <a:gd name="connsiteY31" fmla="*/ 153517 h 258982"/>
                    <a:gd name="connsiteX32" fmla="*/ 218405 w 308288"/>
                    <a:gd name="connsiteY32" fmla="*/ 149947 h 258982"/>
                    <a:gd name="connsiteX33" fmla="*/ 217704 w 308288"/>
                    <a:gd name="connsiteY33" fmla="*/ 146997 h 258982"/>
                    <a:gd name="connsiteX34" fmla="*/ 215015 w 308288"/>
                    <a:gd name="connsiteY34" fmla="*/ 143769 h 258982"/>
                    <a:gd name="connsiteX35" fmla="*/ 214632 w 308288"/>
                    <a:gd name="connsiteY35" fmla="*/ 142702 h 258982"/>
                    <a:gd name="connsiteX36" fmla="*/ 214713 w 308288"/>
                    <a:gd name="connsiteY36" fmla="*/ 141553 h 258982"/>
                    <a:gd name="connsiteX37" fmla="*/ 215267 w 308288"/>
                    <a:gd name="connsiteY37" fmla="*/ 140355 h 258982"/>
                    <a:gd name="connsiteX38" fmla="*/ 216457 w 308288"/>
                    <a:gd name="connsiteY38" fmla="*/ 140078 h 258982"/>
                    <a:gd name="connsiteX39" fmla="*/ 218560 w 308288"/>
                    <a:gd name="connsiteY39" fmla="*/ 141015 h 258982"/>
                    <a:gd name="connsiteX40" fmla="*/ 218910 w 308288"/>
                    <a:gd name="connsiteY40" fmla="*/ 140787 h 258982"/>
                    <a:gd name="connsiteX41" fmla="*/ 218323 w 308288"/>
                    <a:gd name="connsiteY41" fmla="*/ 140249 h 258982"/>
                    <a:gd name="connsiteX42" fmla="*/ 217981 w 308288"/>
                    <a:gd name="connsiteY42" fmla="*/ 139165 h 258982"/>
                    <a:gd name="connsiteX43" fmla="*/ 217875 w 308288"/>
                    <a:gd name="connsiteY43" fmla="*/ 137559 h 258982"/>
                    <a:gd name="connsiteX44" fmla="*/ 217606 w 308288"/>
                    <a:gd name="connsiteY44" fmla="*/ 136671 h 258982"/>
                    <a:gd name="connsiteX45" fmla="*/ 217158 w 308288"/>
                    <a:gd name="connsiteY45" fmla="*/ 136508 h 258982"/>
                    <a:gd name="connsiteX46" fmla="*/ 215993 w 308288"/>
                    <a:gd name="connsiteY46" fmla="*/ 134666 h 258982"/>
                    <a:gd name="connsiteX47" fmla="*/ 215829 w 308288"/>
                    <a:gd name="connsiteY47" fmla="*/ 133721 h 258982"/>
                    <a:gd name="connsiteX48" fmla="*/ 215968 w 308288"/>
                    <a:gd name="connsiteY48" fmla="*/ 132833 h 258982"/>
                    <a:gd name="connsiteX49" fmla="*/ 215520 w 308288"/>
                    <a:gd name="connsiteY49" fmla="*/ 131936 h 258982"/>
                    <a:gd name="connsiteX50" fmla="*/ 213955 w 308288"/>
                    <a:gd name="connsiteY50" fmla="*/ 130542 h 258982"/>
                    <a:gd name="connsiteX51" fmla="*/ 211103 w 308288"/>
                    <a:gd name="connsiteY51" fmla="*/ 129116 h 258982"/>
                    <a:gd name="connsiteX52" fmla="*/ 204281 w 308288"/>
                    <a:gd name="connsiteY52" fmla="*/ 126402 h 258982"/>
                    <a:gd name="connsiteX53" fmla="*/ 203059 w 308288"/>
                    <a:gd name="connsiteY53" fmla="*/ 125359 h 258982"/>
                    <a:gd name="connsiteX54" fmla="*/ 201364 w 308288"/>
                    <a:gd name="connsiteY54" fmla="*/ 124740 h 258982"/>
                    <a:gd name="connsiteX55" fmla="*/ 199220 w 308288"/>
                    <a:gd name="connsiteY55" fmla="*/ 124552 h 258982"/>
                    <a:gd name="connsiteX56" fmla="*/ 197859 w 308288"/>
                    <a:gd name="connsiteY56" fmla="*/ 123729 h 258982"/>
                    <a:gd name="connsiteX57" fmla="*/ 197281 w 308288"/>
                    <a:gd name="connsiteY57" fmla="*/ 122270 h 258982"/>
                    <a:gd name="connsiteX58" fmla="*/ 196335 w 308288"/>
                    <a:gd name="connsiteY58" fmla="*/ 120958 h 258982"/>
                    <a:gd name="connsiteX59" fmla="*/ 195015 w 308288"/>
                    <a:gd name="connsiteY59" fmla="*/ 119785 h 258982"/>
                    <a:gd name="connsiteX60" fmla="*/ 192937 w 308288"/>
                    <a:gd name="connsiteY60" fmla="*/ 119011 h 258982"/>
                    <a:gd name="connsiteX61" fmla="*/ 190076 w 308288"/>
                    <a:gd name="connsiteY61" fmla="*/ 118660 h 258982"/>
                    <a:gd name="connsiteX62" fmla="*/ 187061 w 308288"/>
                    <a:gd name="connsiteY62" fmla="*/ 117389 h 258982"/>
                    <a:gd name="connsiteX63" fmla="*/ 183883 w 308288"/>
                    <a:gd name="connsiteY63" fmla="*/ 115221 h 258982"/>
                    <a:gd name="connsiteX64" fmla="*/ 181870 w 308288"/>
                    <a:gd name="connsiteY64" fmla="*/ 114479 h 258982"/>
                    <a:gd name="connsiteX65" fmla="*/ 181022 w 308288"/>
                    <a:gd name="connsiteY65" fmla="*/ 115172 h 258982"/>
                    <a:gd name="connsiteX66" fmla="*/ 179531 w 308288"/>
                    <a:gd name="connsiteY66" fmla="*/ 115400 h 258982"/>
                    <a:gd name="connsiteX67" fmla="*/ 177412 w 308288"/>
                    <a:gd name="connsiteY67" fmla="*/ 115164 h 258982"/>
                    <a:gd name="connsiteX68" fmla="*/ 176670 w 308288"/>
                    <a:gd name="connsiteY68" fmla="*/ 115457 h 258982"/>
                    <a:gd name="connsiteX69" fmla="*/ 177314 w 308288"/>
                    <a:gd name="connsiteY69" fmla="*/ 116297 h 258982"/>
                    <a:gd name="connsiteX70" fmla="*/ 176768 w 308288"/>
                    <a:gd name="connsiteY70" fmla="*/ 117592 h 258982"/>
                    <a:gd name="connsiteX71" fmla="*/ 175040 w 308288"/>
                    <a:gd name="connsiteY71" fmla="*/ 119361 h 258982"/>
                    <a:gd name="connsiteX72" fmla="*/ 174029 w 308288"/>
                    <a:gd name="connsiteY72" fmla="*/ 121162 h 258982"/>
                    <a:gd name="connsiteX73" fmla="*/ 173761 w 308288"/>
                    <a:gd name="connsiteY73" fmla="*/ 122996 h 258982"/>
                    <a:gd name="connsiteX74" fmla="*/ 174038 w 308288"/>
                    <a:gd name="connsiteY74" fmla="*/ 124626 h 258982"/>
                    <a:gd name="connsiteX75" fmla="*/ 174853 w 308288"/>
                    <a:gd name="connsiteY75" fmla="*/ 126052 h 258982"/>
                    <a:gd name="connsiteX76" fmla="*/ 176051 w 308288"/>
                    <a:gd name="connsiteY76" fmla="*/ 126965 h 258982"/>
                    <a:gd name="connsiteX77" fmla="*/ 177624 w 308288"/>
                    <a:gd name="connsiteY77" fmla="*/ 127380 h 258982"/>
                    <a:gd name="connsiteX78" fmla="*/ 177950 w 308288"/>
                    <a:gd name="connsiteY78" fmla="*/ 127943 h 258982"/>
                    <a:gd name="connsiteX79" fmla="*/ 177020 w 308288"/>
                    <a:gd name="connsiteY79" fmla="*/ 128644 h 258982"/>
                    <a:gd name="connsiteX80" fmla="*/ 175391 w 308288"/>
                    <a:gd name="connsiteY80" fmla="*/ 129043 h 258982"/>
                    <a:gd name="connsiteX81" fmla="*/ 173043 w 308288"/>
                    <a:gd name="connsiteY81" fmla="*/ 129141 h 258982"/>
                    <a:gd name="connsiteX82" fmla="*/ 170680 w 308288"/>
                    <a:gd name="connsiteY82" fmla="*/ 129923 h 258982"/>
                    <a:gd name="connsiteX83" fmla="*/ 168276 w 308288"/>
                    <a:gd name="connsiteY83" fmla="*/ 131398 h 258982"/>
                    <a:gd name="connsiteX84" fmla="*/ 166882 w 308288"/>
                    <a:gd name="connsiteY84" fmla="*/ 132718 h 258982"/>
                    <a:gd name="connsiteX85" fmla="*/ 166499 w 308288"/>
                    <a:gd name="connsiteY85" fmla="*/ 133884 h 258982"/>
                    <a:gd name="connsiteX86" fmla="*/ 166434 w 308288"/>
                    <a:gd name="connsiteY86" fmla="*/ 135579 h 258982"/>
                    <a:gd name="connsiteX87" fmla="*/ 166744 w 308288"/>
                    <a:gd name="connsiteY87" fmla="*/ 139703 h 258982"/>
                    <a:gd name="connsiteX88" fmla="*/ 166556 w 308288"/>
                    <a:gd name="connsiteY88" fmla="*/ 141292 h 258982"/>
                    <a:gd name="connsiteX89" fmla="*/ 165537 w 308288"/>
                    <a:gd name="connsiteY89" fmla="*/ 144226 h 258982"/>
                    <a:gd name="connsiteX90" fmla="*/ 164193 w 308288"/>
                    <a:gd name="connsiteY90" fmla="*/ 148048 h 258982"/>
                    <a:gd name="connsiteX91" fmla="*/ 162587 w 308288"/>
                    <a:gd name="connsiteY91" fmla="*/ 150444 h 258982"/>
                    <a:gd name="connsiteX92" fmla="*/ 162286 w 308288"/>
                    <a:gd name="connsiteY92" fmla="*/ 150118 h 258982"/>
                    <a:gd name="connsiteX93" fmla="*/ 162546 w 308288"/>
                    <a:gd name="connsiteY93" fmla="*/ 148945 h 258982"/>
                    <a:gd name="connsiteX94" fmla="*/ 163883 w 308288"/>
                    <a:gd name="connsiteY94" fmla="*/ 145114 h 258982"/>
                    <a:gd name="connsiteX95" fmla="*/ 164087 w 308288"/>
                    <a:gd name="connsiteY95" fmla="*/ 143492 h 258982"/>
                    <a:gd name="connsiteX96" fmla="*/ 163956 w 308288"/>
                    <a:gd name="connsiteY96" fmla="*/ 142637 h 258982"/>
                    <a:gd name="connsiteX97" fmla="*/ 163492 w 308288"/>
                    <a:gd name="connsiteY97" fmla="*/ 142555 h 258982"/>
                    <a:gd name="connsiteX98" fmla="*/ 162970 w 308288"/>
                    <a:gd name="connsiteY98" fmla="*/ 143297 h 258982"/>
                    <a:gd name="connsiteX99" fmla="*/ 162375 w 308288"/>
                    <a:gd name="connsiteY99" fmla="*/ 144862 h 258982"/>
                    <a:gd name="connsiteX100" fmla="*/ 162245 w 308288"/>
                    <a:gd name="connsiteY100" fmla="*/ 145709 h 258982"/>
                    <a:gd name="connsiteX101" fmla="*/ 162587 w 308288"/>
                    <a:gd name="connsiteY101" fmla="*/ 145839 h 258982"/>
                    <a:gd name="connsiteX102" fmla="*/ 162335 w 308288"/>
                    <a:gd name="connsiteY102" fmla="*/ 146899 h 258982"/>
                    <a:gd name="connsiteX103" fmla="*/ 161495 w 308288"/>
                    <a:gd name="connsiteY103" fmla="*/ 148896 h 258982"/>
                    <a:gd name="connsiteX104" fmla="*/ 160770 w 308288"/>
                    <a:gd name="connsiteY104" fmla="*/ 149303 h 258982"/>
                    <a:gd name="connsiteX105" fmla="*/ 160159 w 308288"/>
                    <a:gd name="connsiteY105" fmla="*/ 148130 h 258982"/>
                    <a:gd name="connsiteX106" fmla="*/ 160199 w 308288"/>
                    <a:gd name="connsiteY106" fmla="*/ 146589 h 258982"/>
                    <a:gd name="connsiteX107" fmla="*/ 161210 w 308288"/>
                    <a:gd name="connsiteY107" fmla="*/ 143492 h 258982"/>
                    <a:gd name="connsiteX108" fmla="*/ 160851 w 308288"/>
                    <a:gd name="connsiteY108" fmla="*/ 142889 h 258982"/>
                    <a:gd name="connsiteX109" fmla="*/ 161430 w 308288"/>
                    <a:gd name="connsiteY109" fmla="*/ 140966 h 258982"/>
                    <a:gd name="connsiteX110" fmla="*/ 161691 w 308288"/>
                    <a:gd name="connsiteY110" fmla="*/ 139564 h 258982"/>
                    <a:gd name="connsiteX111" fmla="*/ 161389 w 308288"/>
                    <a:gd name="connsiteY111" fmla="*/ 138105 h 258982"/>
                    <a:gd name="connsiteX112" fmla="*/ 161626 w 308288"/>
                    <a:gd name="connsiteY112" fmla="*/ 136777 h 258982"/>
                    <a:gd name="connsiteX113" fmla="*/ 162408 w 308288"/>
                    <a:gd name="connsiteY113" fmla="*/ 135563 h 258982"/>
                    <a:gd name="connsiteX114" fmla="*/ 162163 w 308288"/>
                    <a:gd name="connsiteY114" fmla="*/ 135188 h 258982"/>
                    <a:gd name="connsiteX115" fmla="*/ 160949 w 308288"/>
                    <a:gd name="connsiteY115" fmla="*/ 135652 h 258982"/>
                    <a:gd name="connsiteX116" fmla="*/ 159140 w 308288"/>
                    <a:gd name="connsiteY116" fmla="*/ 137926 h 258982"/>
                    <a:gd name="connsiteX117" fmla="*/ 156793 w 308288"/>
                    <a:gd name="connsiteY117" fmla="*/ 141993 h 258982"/>
                    <a:gd name="connsiteX118" fmla="*/ 154967 w 308288"/>
                    <a:gd name="connsiteY118" fmla="*/ 143778 h 258982"/>
                    <a:gd name="connsiteX119" fmla="*/ 153663 w 308288"/>
                    <a:gd name="connsiteY119" fmla="*/ 143256 h 258982"/>
                    <a:gd name="connsiteX120" fmla="*/ 152612 w 308288"/>
                    <a:gd name="connsiteY120" fmla="*/ 143598 h 258982"/>
                    <a:gd name="connsiteX121" fmla="*/ 151813 w 308288"/>
                    <a:gd name="connsiteY121" fmla="*/ 144796 h 258982"/>
                    <a:gd name="connsiteX122" fmla="*/ 150949 w 308288"/>
                    <a:gd name="connsiteY122" fmla="*/ 145383 h 258982"/>
                    <a:gd name="connsiteX123" fmla="*/ 150012 w 308288"/>
                    <a:gd name="connsiteY123" fmla="*/ 145367 h 258982"/>
                    <a:gd name="connsiteX124" fmla="*/ 149450 w 308288"/>
                    <a:gd name="connsiteY124" fmla="*/ 146777 h 258982"/>
                    <a:gd name="connsiteX125" fmla="*/ 149246 w 308288"/>
                    <a:gd name="connsiteY125" fmla="*/ 149637 h 258982"/>
                    <a:gd name="connsiteX126" fmla="*/ 148317 w 308288"/>
                    <a:gd name="connsiteY126" fmla="*/ 151267 h 258982"/>
                    <a:gd name="connsiteX127" fmla="*/ 145563 w 308288"/>
                    <a:gd name="connsiteY127" fmla="*/ 152221 h 258982"/>
                    <a:gd name="connsiteX128" fmla="*/ 145025 w 308288"/>
                    <a:gd name="connsiteY128" fmla="*/ 152971 h 258982"/>
                    <a:gd name="connsiteX129" fmla="*/ 144976 w 308288"/>
                    <a:gd name="connsiteY129" fmla="*/ 154022 h 258982"/>
                    <a:gd name="connsiteX130" fmla="*/ 145416 w 308288"/>
                    <a:gd name="connsiteY130" fmla="*/ 155399 h 258982"/>
                    <a:gd name="connsiteX131" fmla="*/ 145432 w 308288"/>
                    <a:gd name="connsiteY131" fmla="*/ 158137 h 258982"/>
                    <a:gd name="connsiteX132" fmla="*/ 145008 w 308288"/>
                    <a:gd name="connsiteY132" fmla="*/ 162245 h 258982"/>
                    <a:gd name="connsiteX133" fmla="*/ 144095 w 308288"/>
                    <a:gd name="connsiteY133" fmla="*/ 165847 h 258982"/>
                    <a:gd name="connsiteX134" fmla="*/ 142686 w 308288"/>
                    <a:gd name="connsiteY134" fmla="*/ 168920 h 258982"/>
                    <a:gd name="connsiteX135" fmla="*/ 141129 w 308288"/>
                    <a:gd name="connsiteY135" fmla="*/ 171462 h 258982"/>
                    <a:gd name="connsiteX136" fmla="*/ 138562 w 308288"/>
                    <a:gd name="connsiteY136" fmla="*/ 174804 h 258982"/>
                    <a:gd name="connsiteX137" fmla="*/ 138521 w 308288"/>
                    <a:gd name="connsiteY137" fmla="*/ 175472 h 258982"/>
                    <a:gd name="connsiteX138" fmla="*/ 139784 w 308288"/>
                    <a:gd name="connsiteY138" fmla="*/ 178080 h 258982"/>
                    <a:gd name="connsiteX139" fmla="*/ 140314 w 308288"/>
                    <a:gd name="connsiteY139" fmla="*/ 180028 h 258982"/>
                    <a:gd name="connsiteX140" fmla="*/ 140575 w 308288"/>
                    <a:gd name="connsiteY140" fmla="*/ 183899 h 258982"/>
                    <a:gd name="connsiteX141" fmla="*/ 140518 w 308288"/>
                    <a:gd name="connsiteY141" fmla="*/ 184543 h 258982"/>
                    <a:gd name="connsiteX142" fmla="*/ 138040 w 308288"/>
                    <a:gd name="connsiteY142" fmla="*/ 189318 h 258982"/>
                    <a:gd name="connsiteX143" fmla="*/ 138000 w 308288"/>
                    <a:gd name="connsiteY143" fmla="*/ 190003 h 258982"/>
                    <a:gd name="connsiteX144" fmla="*/ 140656 w 308288"/>
                    <a:gd name="connsiteY144" fmla="*/ 197990 h 258982"/>
                    <a:gd name="connsiteX145" fmla="*/ 143012 w 308288"/>
                    <a:gd name="connsiteY145" fmla="*/ 203727 h 258982"/>
                    <a:gd name="connsiteX146" fmla="*/ 143281 w 308288"/>
                    <a:gd name="connsiteY146" fmla="*/ 204338 h 258982"/>
                    <a:gd name="connsiteX147" fmla="*/ 143982 w 308288"/>
                    <a:gd name="connsiteY147" fmla="*/ 206620 h 258982"/>
                    <a:gd name="connsiteX148" fmla="*/ 145286 w 308288"/>
                    <a:gd name="connsiteY148" fmla="*/ 211094 h 258982"/>
                    <a:gd name="connsiteX149" fmla="*/ 145954 w 308288"/>
                    <a:gd name="connsiteY149" fmla="*/ 215528 h 258982"/>
                    <a:gd name="connsiteX150" fmla="*/ 145994 w 308288"/>
                    <a:gd name="connsiteY150" fmla="*/ 219937 h 258982"/>
                    <a:gd name="connsiteX151" fmla="*/ 145676 w 308288"/>
                    <a:gd name="connsiteY151" fmla="*/ 224183 h 258982"/>
                    <a:gd name="connsiteX152" fmla="*/ 145008 w 308288"/>
                    <a:gd name="connsiteY152" fmla="*/ 228282 h 258982"/>
                    <a:gd name="connsiteX153" fmla="*/ 144014 w 308288"/>
                    <a:gd name="connsiteY153" fmla="*/ 232194 h 258982"/>
                    <a:gd name="connsiteX154" fmla="*/ 142702 w 308288"/>
                    <a:gd name="connsiteY154" fmla="*/ 235927 h 258982"/>
                    <a:gd name="connsiteX155" fmla="*/ 141341 w 308288"/>
                    <a:gd name="connsiteY155" fmla="*/ 238869 h 258982"/>
                    <a:gd name="connsiteX156" fmla="*/ 138545 w 308288"/>
                    <a:gd name="connsiteY156" fmla="*/ 243734 h 258982"/>
                    <a:gd name="connsiteX157" fmla="*/ 137176 w 308288"/>
                    <a:gd name="connsiteY157" fmla="*/ 246978 h 258982"/>
                    <a:gd name="connsiteX158" fmla="*/ 135758 w 308288"/>
                    <a:gd name="connsiteY158" fmla="*/ 249594 h 258982"/>
                    <a:gd name="connsiteX159" fmla="*/ 134292 w 308288"/>
                    <a:gd name="connsiteY159" fmla="*/ 251590 h 258982"/>
                    <a:gd name="connsiteX160" fmla="*/ 131651 w 308288"/>
                    <a:gd name="connsiteY160" fmla="*/ 253807 h 258982"/>
                    <a:gd name="connsiteX161" fmla="*/ 124846 w 308288"/>
                    <a:gd name="connsiteY161" fmla="*/ 257890 h 258982"/>
                    <a:gd name="connsiteX162" fmla="*/ 122711 w 308288"/>
                    <a:gd name="connsiteY162" fmla="*/ 258681 h 258982"/>
                    <a:gd name="connsiteX163" fmla="*/ 120364 w 308288"/>
                    <a:gd name="connsiteY163" fmla="*/ 258982 h 258982"/>
                    <a:gd name="connsiteX164" fmla="*/ 117813 w 308288"/>
                    <a:gd name="connsiteY164" fmla="*/ 258787 h 258982"/>
                    <a:gd name="connsiteX165" fmla="*/ 116419 w 308288"/>
                    <a:gd name="connsiteY165" fmla="*/ 258330 h 258982"/>
                    <a:gd name="connsiteX166" fmla="*/ 116109 w 308288"/>
                    <a:gd name="connsiteY166" fmla="*/ 257572 h 258982"/>
                    <a:gd name="connsiteX167" fmla="*/ 115571 w 308288"/>
                    <a:gd name="connsiteY167" fmla="*/ 257499 h 258982"/>
                    <a:gd name="connsiteX168" fmla="*/ 114830 w 308288"/>
                    <a:gd name="connsiteY168" fmla="*/ 256994 h 258982"/>
                    <a:gd name="connsiteX169" fmla="*/ 113893 w 308288"/>
                    <a:gd name="connsiteY169" fmla="*/ 256130 h 258982"/>
                    <a:gd name="connsiteX170" fmla="*/ 112849 w 308288"/>
                    <a:gd name="connsiteY170" fmla="*/ 254573 h 258982"/>
                    <a:gd name="connsiteX171" fmla="*/ 111725 w 308288"/>
                    <a:gd name="connsiteY171" fmla="*/ 251379 h 258982"/>
                    <a:gd name="connsiteX172" fmla="*/ 110511 w 308288"/>
                    <a:gd name="connsiteY172" fmla="*/ 246538 h 258982"/>
                    <a:gd name="connsiteX173" fmla="*/ 109435 w 308288"/>
                    <a:gd name="connsiteY173" fmla="*/ 243653 h 258982"/>
                    <a:gd name="connsiteX174" fmla="*/ 108498 w 308288"/>
                    <a:gd name="connsiteY174" fmla="*/ 242715 h 258982"/>
                    <a:gd name="connsiteX175" fmla="*/ 107650 w 308288"/>
                    <a:gd name="connsiteY175" fmla="*/ 241256 h 258982"/>
                    <a:gd name="connsiteX176" fmla="*/ 106892 w 308288"/>
                    <a:gd name="connsiteY176" fmla="*/ 239284 h 258982"/>
                    <a:gd name="connsiteX177" fmla="*/ 106517 w 308288"/>
                    <a:gd name="connsiteY177" fmla="*/ 234818 h 258982"/>
                    <a:gd name="connsiteX178" fmla="*/ 106533 w 308288"/>
                    <a:gd name="connsiteY178" fmla="*/ 227858 h 258982"/>
                    <a:gd name="connsiteX179" fmla="*/ 106794 w 308288"/>
                    <a:gd name="connsiteY179" fmla="*/ 223123 h 258982"/>
                    <a:gd name="connsiteX180" fmla="*/ 107300 w 308288"/>
                    <a:gd name="connsiteY180" fmla="*/ 220597 h 258982"/>
                    <a:gd name="connsiteX181" fmla="*/ 107153 w 308288"/>
                    <a:gd name="connsiteY181" fmla="*/ 218674 h 258982"/>
                    <a:gd name="connsiteX182" fmla="*/ 106370 w 308288"/>
                    <a:gd name="connsiteY182" fmla="*/ 217337 h 258982"/>
                    <a:gd name="connsiteX183" fmla="*/ 105881 w 308288"/>
                    <a:gd name="connsiteY183" fmla="*/ 215683 h 258982"/>
                    <a:gd name="connsiteX184" fmla="*/ 105702 w 308288"/>
                    <a:gd name="connsiteY184" fmla="*/ 213702 h 258982"/>
                    <a:gd name="connsiteX185" fmla="*/ 105295 w 308288"/>
                    <a:gd name="connsiteY185" fmla="*/ 212349 h 258982"/>
                    <a:gd name="connsiteX186" fmla="*/ 104659 w 308288"/>
                    <a:gd name="connsiteY186" fmla="*/ 211649 h 258982"/>
                    <a:gd name="connsiteX187" fmla="*/ 104512 w 308288"/>
                    <a:gd name="connsiteY187" fmla="*/ 210646 h 258982"/>
                    <a:gd name="connsiteX188" fmla="*/ 104871 w 308288"/>
                    <a:gd name="connsiteY188" fmla="*/ 209383 h 258982"/>
                    <a:gd name="connsiteX189" fmla="*/ 104871 w 308288"/>
                    <a:gd name="connsiteY189" fmla="*/ 208511 h 258982"/>
                    <a:gd name="connsiteX190" fmla="*/ 104529 w 308288"/>
                    <a:gd name="connsiteY190" fmla="*/ 208030 h 258982"/>
                    <a:gd name="connsiteX191" fmla="*/ 104447 w 308288"/>
                    <a:gd name="connsiteY191" fmla="*/ 207321 h 258982"/>
                    <a:gd name="connsiteX192" fmla="*/ 104626 w 308288"/>
                    <a:gd name="connsiteY192" fmla="*/ 206376 h 258982"/>
                    <a:gd name="connsiteX193" fmla="*/ 104309 w 308288"/>
                    <a:gd name="connsiteY193" fmla="*/ 203605 h 258982"/>
                    <a:gd name="connsiteX194" fmla="*/ 104390 w 308288"/>
                    <a:gd name="connsiteY194" fmla="*/ 201910 h 258982"/>
                    <a:gd name="connsiteX195" fmla="*/ 104830 w 308288"/>
                    <a:gd name="connsiteY195" fmla="*/ 200068 h 258982"/>
                    <a:gd name="connsiteX196" fmla="*/ 106240 w 308288"/>
                    <a:gd name="connsiteY196" fmla="*/ 196726 h 258982"/>
                    <a:gd name="connsiteX197" fmla="*/ 106696 w 308288"/>
                    <a:gd name="connsiteY197" fmla="*/ 195105 h 258982"/>
                    <a:gd name="connsiteX198" fmla="*/ 106819 w 308288"/>
                    <a:gd name="connsiteY198" fmla="*/ 193434 h 258982"/>
                    <a:gd name="connsiteX199" fmla="*/ 107487 w 308288"/>
                    <a:gd name="connsiteY199" fmla="*/ 191323 h 258982"/>
                    <a:gd name="connsiteX200" fmla="*/ 109329 w 308288"/>
                    <a:gd name="connsiteY200" fmla="*/ 186979 h 258982"/>
                    <a:gd name="connsiteX201" fmla="*/ 109378 w 308288"/>
                    <a:gd name="connsiteY201" fmla="*/ 185985 h 258982"/>
                    <a:gd name="connsiteX202" fmla="*/ 108742 w 308288"/>
                    <a:gd name="connsiteY202" fmla="*/ 184013 h 258982"/>
                    <a:gd name="connsiteX203" fmla="*/ 108595 w 308288"/>
                    <a:gd name="connsiteY203" fmla="*/ 182546 h 258982"/>
                    <a:gd name="connsiteX204" fmla="*/ 108742 w 308288"/>
                    <a:gd name="connsiteY204" fmla="*/ 180598 h 258982"/>
                    <a:gd name="connsiteX205" fmla="*/ 109321 w 308288"/>
                    <a:gd name="connsiteY205" fmla="*/ 178186 h 258982"/>
                    <a:gd name="connsiteX206" fmla="*/ 110347 w 308288"/>
                    <a:gd name="connsiteY206" fmla="*/ 175309 h 258982"/>
                    <a:gd name="connsiteX207" fmla="*/ 111717 w 308288"/>
                    <a:gd name="connsiteY207" fmla="*/ 173019 h 258982"/>
                    <a:gd name="connsiteX208" fmla="*/ 113412 w 308288"/>
                    <a:gd name="connsiteY208" fmla="*/ 171299 h 258982"/>
                    <a:gd name="connsiteX209" fmla="*/ 113966 w 308288"/>
                    <a:gd name="connsiteY209" fmla="*/ 169343 h 258982"/>
                    <a:gd name="connsiteX210" fmla="*/ 113379 w 308288"/>
                    <a:gd name="connsiteY210" fmla="*/ 167159 h 258982"/>
                    <a:gd name="connsiteX211" fmla="*/ 113599 w 308288"/>
                    <a:gd name="connsiteY211" fmla="*/ 163924 h 258982"/>
                    <a:gd name="connsiteX212" fmla="*/ 114610 w 308288"/>
                    <a:gd name="connsiteY212" fmla="*/ 159629 h 258982"/>
                    <a:gd name="connsiteX213" fmla="*/ 115751 w 308288"/>
                    <a:gd name="connsiteY213" fmla="*/ 156410 h 258982"/>
                    <a:gd name="connsiteX214" fmla="*/ 116998 w 308288"/>
                    <a:gd name="connsiteY214" fmla="*/ 154266 h 258982"/>
                    <a:gd name="connsiteX215" fmla="*/ 117854 w 308288"/>
                    <a:gd name="connsiteY215" fmla="*/ 152221 h 258982"/>
                    <a:gd name="connsiteX216" fmla="*/ 118318 w 308288"/>
                    <a:gd name="connsiteY216" fmla="*/ 150289 h 258982"/>
                    <a:gd name="connsiteX217" fmla="*/ 118106 w 308288"/>
                    <a:gd name="connsiteY217" fmla="*/ 149425 h 258982"/>
                    <a:gd name="connsiteX218" fmla="*/ 117177 w 308288"/>
                    <a:gd name="connsiteY218" fmla="*/ 148496 h 258982"/>
                    <a:gd name="connsiteX219" fmla="*/ 116272 w 308288"/>
                    <a:gd name="connsiteY219" fmla="*/ 147135 h 258982"/>
                    <a:gd name="connsiteX220" fmla="*/ 114773 w 308288"/>
                    <a:gd name="connsiteY220" fmla="*/ 146842 h 258982"/>
                    <a:gd name="connsiteX221" fmla="*/ 112906 w 308288"/>
                    <a:gd name="connsiteY221" fmla="*/ 147738 h 258982"/>
                    <a:gd name="connsiteX222" fmla="*/ 112646 w 308288"/>
                    <a:gd name="connsiteY222" fmla="*/ 147673 h 258982"/>
                    <a:gd name="connsiteX223" fmla="*/ 111700 w 308288"/>
                    <a:gd name="connsiteY223" fmla="*/ 147795 h 258982"/>
                    <a:gd name="connsiteX224" fmla="*/ 109907 w 308288"/>
                    <a:gd name="connsiteY224" fmla="*/ 149784 h 258982"/>
                    <a:gd name="connsiteX225" fmla="*/ 108318 w 308288"/>
                    <a:gd name="connsiteY225" fmla="*/ 153223 h 258982"/>
                    <a:gd name="connsiteX226" fmla="*/ 107153 w 308288"/>
                    <a:gd name="connsiteY226" fmla="*/ 154641 h 258982"/>
                    <a:gd name="connsiteX227" fmla="*/ 105580 w 308288"/>
                    <a:gd name="connsiteY227" fmla="*/ 155611 h 258982"/>
                    <a:gd name="connsiteX228" fmla="*/ 104414 w 308288"/>
                    <a:gd name="connsiteY228" fmla="*/ 156679 h 258982"/>
                    <a:gd name="connsiteX229" fmla="*/ 103648 w 308288"/>
                    <a:gd name="connsiteY229" fmla="*/ 157868 h 258982"/>
                    <a:gd name="connsiteX230" fmla="*/ 102654 w 308288"/>
                    <a:gd name="connsiteY230" fmla="*/ 158129 h 258982"/>
                    <a:gd name="connsiteX231" fmla="*/ 101423 w 308288"/>
                    <a:gd name="connsiteY231" fmla="*/ 157453 h 258982"/>
                    <a:gd name="connsiteX232" fmla="*/ 101195 w 308288"/>
                    <a:gd name="connsiteY232" fmla="*/ 155823 h 258982"/>
                    <a:gd name="connsiteX233" fmla="*/ 101945 w 308288"/>
                    <a:gd name="connsiteY233" fmla="*/ 153215 h 258982"/>
                    <a:gd name="connsiteX234" fmla="*/ 103094 w 308288"/>
                    <a:gd name="connsiteY234" fmla="*/ 150721 h 258982"/>
                    <a:gd name="connsiteX235" fmla="*/ 105450 w 308288"/>
                    <a:gd name="connsiteY235" fmla="*/ 146630 h 258982"/>
                    <a:gd name="connsiteX236" fmla="*/ 105523 w 308288"/>
                    <a:gd name="connsiteY236" fmla="*/ 145652 h 258982"/>
                    <a:gd name="connsiteX237" fmla="*/ 106101 w 308288"/>
                    <a:gd name="connsiteY237" fmla="*/ 144462 h 258982"/>
                    <a:gd name="connsiteX238" fmla="*/ 109744 w 308288"/>
                    <a:gd name="connsiteY238" fmla="*/ 142702 h 258982"/>
                    <a:gd name="connsiteX239" fmla="*/ 111146 w 308288"/>
                    <a:gd name="connsiteY239" fmla="*/ 141316 h 258982"/>
                    <a:gd name="connsiteX240" fmla="*/ 111627 w 308288"/>
                    <a:gd name="connsiteY240" fmla="*/ 139548 h 258982"/>
                    <a:gd name="connsiteX241" fmla="*/ 111757 w 308288"/>
                    <a:gd name="connsiteY241" fmla="*/ 136940 h 258982"/>
                    <a:gd name="connsiteX242" fmla="*/ 111994 w 308288"/>
                    <a:gd name="connsiteY242" fmla="*/ 136206 h 258982"/>
                    <a:gd name="connsiteX243" fmla="*/ 112532 w 308288"/>
                    <a:gd name="connsiteY243" fmla="*/ 135897 h 258982"/>
                    <a:gd name="connsiteX244" fmla="*/ 114137 w 308288"/>
                    <a:gd name="connsiteY244" fmla="*/ 133705 h 258982"/>
                    <a:gd name="connsiteX245" fmla="*/ 116810 w 308288"/>
                    <a:gd name="connsiteY245" fmla="*/ 129638 h 258982"/>
                    <a:gd name="connsiteX246" fmla="*/ 119206 w 308288"/>
                    <a:gd name="connsiteY246" fmla="*/ 125433 h 258982"/>
                    <a:gd name="connsiteX247" fmla="*/ 121333 w 308288"/>
                    <a:gd name="connsiteY247" fmla="*/ 121097 h 258982"/>
                    <a:gd name="connsiteX248" fmla="*/ 122890 w 308288"/>
                    <a:gd name="connsiteY248" fmla="*/ 118652 h 258982"/>
                    <a:gd name="connsiteX249" fmla="*/ 123876 w 308288"/>
                    <a:gd name="connsiteY249" fmla="*/ 118098 h 258982"/>
                    <a:gd name="connsiteX250" fmla="*/ 124601 w 308288"/>
                    <a:gd name="connsiteY250" fmla="*/ 116778 h 258982"/>
                    <a:gd name="connsiteX251" fmla="*/ 125734 w 308288"/>
                    <a:gd name="connsiteY251" fmla="*/ 112727 h 258982"/>
                    <a:gd name="connsiteX252" fmla="*/ 126582 w 308288"/>
                    <a:gd name="connsiteY252" fmla="*/ 110877 h 258982"/>
                    <a:gd name="connsiteX253" fmla="*/ 127144 w 308288"/>
                    <a:gd name="connsiteY253" fmla="*/ 110168 h 258982"/>
                    <a:gd name="connsiteX254" fmla="*/ 127421 w 308288"/>
                    <a:gd name="connsiteY254" fmla="*/ 110600 h 258982"/>
                    <a:gd name="connsiteX255" fmla="*/ 126875 w 308288"/>
                    <a:gd name="connsiteY255" fmla="*/ 112817 h 258982"/>
                    <a:gd name="connsiteX256" fmla="*/ 126875 w 308288"/>
                    <a:gd name="connsiteY256" fmla="*/ 114667 h 258982"/>
                    <a:gd name="connsiteX257" fmla="*/ 127340 w 308288"/>
                    <a:gd name="connsiteY257" fmla="*/ 117014 h 258982"/>
                    <a:gd name="connsiteX258" fmla="*/ 128236 w 308288"/>
                    <a:gd name="connsiteY258" fmla="*/ 117821 h 258982"/>
                    <a:gd name="connsiteX259" fmla="*/ 129581 w 308288"/>
                    <a:gd name="connsiteY259" fmla="*/ 117087 h 258982"/>
                    <a:gd name="connsiteX260" fmla="*/ 130730 w 308288"/>
                    <a:gd name="connsiteY260" fmla="*/ 115547 h 258982"/>
                    <a:gd name="connsiteX261" fmla="*/ 131700 w 308288"/>
                    <a:gd name="connsiteY261" fmla="*/ 113183 h 258982"/>
                    <a:gd name="connsiteX262" fmla="*/ 132816 w 308288"/>
                    <a:gd name="connsiteY262" fmla="*/ 112206 h 258982"/>
                    <a:gd name="connsiteX263" fmla="*/ 134071 w 308288"/>
                    <a:gd name="connsiteY263" fmla="*/ 112613 h 258982"/>
                    <a:gd name="connsiteX264" fmla="*/ 135123 w 308288"/>
                    <a:gd name="connsiteY264" fmla="*/ 112458 h 258982"/>
                    <a:gd name="connsiteX265" fmla="*/ 135954 w 308288"/>
                    <a:gd name="connsiteY265" fmla="*/ 111749 h 258982"/>
                    <a:gd name="connsiteX266" fmla="*/ 137535 w 308288"/>
                    <a:gd name="connsiteY266" fmla="*/ 111399 h 258982"/>
                    <a:gd name="connsiteX267" fmla="*/ 137828 w 308288"/>
                    <a:gd name="connsiteY267" fmla="*/ 112287 h 258982"/>
                    <a:gd name="connsiteX268" fmla="*/ 137633 w 308288"/>
                    <a:gd name="connsiteY268" fmla="*/ 114080 h 258982"/>
                    <a:gd name="connsiteX269" fmla="*/ 137128 w 308288"/>
                    <a:gd name="connsiteY269" fmla="*/ 114944 h 258982"/>
                    <a:gd name="connsiteX270" fmla="*/ 136313 w 308288"/>
                    <a:gd name="connsiteY270" fmla="*/ 114879 h 258982"/>
                    <a:gd name="connsiteX271" fmla="*/ 135392 w 308288"/>
                    <a:gd name="connsiteY271" fmla="*/ 115824 h 258982"/>
                    <a:gd name="connsiteX272" fmla="*/ 134357 w 308288"/>
                    <a:gd name="connsiteY272" fmla="*/ 117780 h 258982"/>
                    <a:gd name="connsiteX273" fmla="*/ 134397 w 308288"/>
                    <a:gd name="connsiteY273" fmla="*/ 119328 h 258982"/>
                    <a:gd name="connsiteX274" fmla="*/ 135522 w 308288"/>
                    <a:gd name="connsiteY274" fmla="*/ 120494 h 258982"/>
                    <a:gd name="connsiteX275" fmla="*/ 136084 w 308288"/>
                    <a:gd name="connsiteY275" fmla="*/ 120551 h 258982"/>
                    <a:gd name="connsiteX276" fmla="*/ 136076 w 308288"/>
                    <a:gd name="connsiteY276" fmla="*/ 119524 h 258982"/>
                    <a:gd name="connsiteX277" fmla="*/ 136598 w 308288"/>
                    <a:gd name="connsiteY277" fmla="*/ 118489 h 258982"/>
                    <a:gd name="connsiteX278" fmla="*/ 138268 w 308288"/>
                    <a:gd name="connsiteY278" fmla="*/ 116590 h 258982"/>
                    <a:gd name="connsiteX279" fmla="*/ 138432 w 308288"/>
                    <a:gd name="connsiteY279" fmla="*/ 115971 h 258982"/>
                    <a:gd name="connsiteX280" fmla="*/ 141602 w 308288"/>
                    <a:gd name="connsiteY280" fmla="*/ 114292 h 258982"/>
                    <a:gd name="connsiteX281" fmla="*/ 142800 w 308288"/>
                    <a:gd name="connsiteY281" fmla="*/ 113224 h 258982"/>
                    <a:gd name="connsiteX282" fmla="*/ 143126 w 308288"/>
                    <a:gd name="connsiteY282" fmla="*/ 112002 h 258982"/>
                    <a:gd name="connsiteX283" fmla="*/ 144764 w 308288"/>
                    <a:gd name="connsiteY283" fmla="*/ 109492 h 258982"/>
                    <a:gd name="connsiteX284" fmla="*/ 146329 w 308288"/>
                    <a:gd name="connsiteY284" fmla="*/ 108693 h 258982"/>
                    <a:gd name="connsiteX285" fmla="*/ 148456 w 308288"/>
                    <a:gd name="connsiteY285" fmla="*/ 108351 h 258982"/>
                    <a:gd name="connsiteX286" fmla="*/ 150526 w 308288"/>
                    <a:gd name="connsiteY286" fmla="*/ 108571 h 258982"/>
                    <a:gd name="connsiteX287" fmla="*/ 152522 w 308288"/>
                    <a:gd name="connsiteY287" fmla="*/ 109345 h 258982"/>
                    <a:gd name="connsiteX288" fmla="*/ 153655 w 308288"/>
                    <a:gd name="connsiteY288" fmla="*/ 109337 h 258982"/>
                    <a:gd name="connsiteX289" fmla="*/ 153924 w 308288"/>
                    <a:gd name="connsiteY289" fmla="*/ 108522 h 258982"/>
                    <a:gd name="connsiteX290" fmla="*/ 155627 w 308288"/>
                    <a:gd name="connsiteY290" fmla="*/ 107976 h 258982"/>
                    <a:gd name="connsiteX291" fmla="*/ 158765 w 308288"/>
                    <a:gd name="connsiteY291" fmla="*/ 107691 h 258982"/>
                    <a:gd name="connsiteX292" fmla="*/ 161071 w 308288"/>
                    <a:gd name="connsiteY292" fmla="*/ 106533 h 258982"/>
                    <a:gd name="connsiteX293" fmla="*/ 162546 w 308288"/>
                    <a:gd name="connsiteY293" fmla="*/ 104496 h 258982"/>
                    <a:gd name="connsiteX294" fmla="*/ 164437 w 308288"/>
                    <a:gd name="connsiteY294" fmla="*/ 103461 h 258982"/>
                    <a:gd name="connsiteX295" fmla="*/ 166744 w 308288"/>
                    <a:gd name="connsiteY295" fmla="*/ 103420 h 258982"/>
                    <a:gd name="connsiteX296" fmla="*/ 169873 w 308288"/>
                    <a:gd name="connsiteY296" fmla="*/ 104145 h 258982"/>
                    <a:gd name="connsiteX297" fmla="*/ 173818 w 308288"/>
                    <a:gd name="connsiteY297" fmla="*/ 105637 h 258982"/>
                    <a:gd name="connsiteX298" fmla="*/ 177012 w 308288"/>
                    <a:gd name="connsiteY298" fmla="*/ 107650 h 258982"/>
                    <a:gd name="connsiteX299" fmla="*/ 181234 w 308288"/>
                    <a:gd name="connsiteY299" fmla="*/ 111700 h 258982"/>
                    <a:gd name="connsiteX300" fmla="*/ 182342 w 308288"/>
                    <a:gd name="connsiteY300" fmla="*/ 112108 h 258982"/>
                    <a:gd name="connsiteX301" fmla="*/ 183076 w 308288"/>
                    <a:gd name="connsiteY301" fmla="*/ 112157 h 258982"/>
                    <a:gd name="connsiteX302" fmla="*/ 183426 w 308288"/>
                    <a:gd name="connsiteY302" fmla="*/ 111831 h 258982"/>
                    <a:gd name="connsiteX303" fmla="*/ 183442 w 308288"/>
                    <a:gd name="connsiteY303" fmla="*/ 111448 h 258982"/>
                    <a:gd name="connsiteX304" fmla="*/ 183125 w 308288"/>
                    <a:gd name="connsiteY304" fmla="*/ 110975 h 258982"/>
                    <a:gd name="connsiteX305" fmla="*/ 183328 w 308288"/>
                    <a:gd name="connsiteY305" fmla="*/ 109255 h 258982"/>
                    <a:gd name="connsiteX306" fmla="*/ 183133 w 308288"/>
                    <a:gd name="connsiteY306" fmla="*/ 108758 h 258982"/>
                    <a:gd name="connsiteX307" fmla="*/ 184380 w 308288"/>
                    <a:gd name="connsiteY307" fmla="*/ 106085 h 258982"/>
                    <a:gd name="connsiteX308" fmla="*/ 185447 w 308288"/>
                    <a:gd name="connsiteY308" fmla="*/ 105409 h 258982"/>
                    <a:gd name="connsiteX309" fmla="*/ 186686 w 308288"/>
                    <a:gd name="connsiteY309" fmla="*/ 105653 h 258982"/>
                    <a:gd name="connsiteX310" fmla="*/ 187477 w 308288"/>
                    <a:gd name="connsiteY310" fmla="*/ 106224 h 258982"/>
                    <a:gd name="connsiteX311" fmla="*/ 187802 w 308288"/>
                    <a:gd name="connsiteY311" fmla="*/ 107128 h 258982"/>
                    <a:gd name="connsiteX312" fmla="*/ 188186 w 308288"/>
                    <a:gd name="connsiteY312" fmla="*/ 107446 h 258982"/>
                    <a:gd name="connsiteX313" fmla="*/ 188960 w 308288"/>
                    <a:gd name="connsiteY313" fmla="*/ 107479 h 258982"/>
                    <a:gd name="connsiteX314" fmla="*/ 189392 w 308288"/>
                    <a:gd name="connsiteY314" fmla="*/ 107609 h 258982"/>
                    <a:gd name="connsiteX315" fmla="*/ 189636 w 308288"/>
                    <a:gd name="connsiteY315" fmla="*/ 107536 h 258982"/>
                    <a:gd name="connsiteX316" fmla="*/ 190019 w 308288"/>
                    <a:gd name="connsiteY316" fmla="*/ 107039 h 258982"/>
                    <a:gd name="connsiteX317" fmla="*/ 192660 w 308288"/>
                    <a:gd name="connsiteY317" fmla="*/ 107259 h 258982"/>
                    <a:gd name="connsiteX318" fmla="*/ 201641 w 308288"/>
                    <a:gd name="connsiteY318" fmla="*/ 108612 h 258982"/>
                    <a:gd name="connsiteX319" fmla="*/ 202871 w 308288"/>
                    <a:gd name="connsiteY319" fmla="*/ 108400 h 258982"/>
                    <a:gd name="connsiteX320" fmla="*/ 203572 w 308288"/>
                    <a:gd name="connsiteY320" fmla="*/ 107927 h 258982"/>
                    <a:gd name="connsiteX321" fmla="*/ 203743 w 308288"/>
                    <a:gd name="connsiteY321" fmla="*/ 107202 h 258982"/>
                    <a:gd name="connsiteX322" fmla="*/ 203165 w 308288"/>
                    <a:gd name="connsiteY322" fmla="*/ 106517 h 258982"/>
                    <a:gd name="connsiteX323" fmla="*/ 200818 w 308288"/>
                    <a:gd name="connsiteY323" fmla="*/ 105083 h 258982"/>
                    <a:gd name="connsiteX324" fmla="*/ 200109 w 308288"/>
                    <a:gd name="connsiteY324" fmla="*/ 104137 h 258982"/>
                    <a:gd name="connsiteX325" fmla="*/ 199921 w 308288"/>
                    <a:gd name="connsiteY325" fmla="*/ 103241 h 258982"/>
                    <a:gd name="connsiteX326" fmla="*/ 200264 w 308288"/>
                    <a:gd name="connsiteY326" fmla="*/ 102393 h 258982"/>
                    <a:gd name="connsiteX327" fmla="*/ 199758 w 308288"/>
                    <a:gd name="connsiteY327" fmla="*/ 101635 h 258982"/>
                    <a:gd name="connsiteX328" fmla="*/ 198422 w 308288"/>
                    <a:gd name="connsiteY328" fmla="*/ 100951 h 258982"/>
                    <a:gd name="connsiteX329" fmla="*/ 195488 w 308288"/>
                    <a:gd name="connsiteY329" fmla="*/ 100763 h 258982"/>
                    <a:gd name="connsiteX330" fmla="*/ 194966 w 308288"/>
                    <a:gd name="connsiteY330" fmla="*/ 100071 h 258982"/>
                    <a:gd name="connsiteX331" fmla="*/ 195203 w 308288"/>
                    <a:gd name="connsiteY331" fmla="*/ 99394 h 258982"/>
                    <a:gd name="connsiteX332" fmla="*/ 196066 w 308288"/>
                    <a:gd name="connsiteY332" fmla="*/ 98522 h 258982"/>
                    <a:gd name="connsiteX333" fmla="*/ 196099 w 308288"/>
                    <a:gd name="connsiteY333" fmla="*/ 97243 h 258982"/>
                    <a:gd name="connsiteX334" fmla="*/ 195822 w 308288"/>
                    <a:gd name="connsiteY334" fmla="*/ 96517 h 258982"/>
                    <a:gd name="connsiteX335" fmla="*/ 195431 w 308288"/>
                    <a:gd name="connsiteY335" fmla="*/ 94317 h 258982"/>
                    <a:gd name="connsiteX336" fmla="*/ 194795 w 308288"/>
                    <a:gd name="connsiteY336" fmla="*/ 92834 h 258982"/>
                    <a:gd name="connsiteX337" fmla="*/ 193507 w 308288"/>
                    <a:gd name="connsiteY337" fmla="*/ 90649 h 258982"/>
                    <a:gd name="connsiteX338" fmla="*/ 192994 w 308288"/>
                    <a:gd name="connsiteY338" fmla="*/ 89859 h 258982"/>
                    <a:gd name="connsiteX339" fmla="*/ 192236 w 308288"/>
                    <a:gd name="connsiteY339" fmla="*/ 89386 h 258982"/>
                    <a:gd name="connsiteX340" fmla="*/ 191519 w 308288"/>
                    <a:gd name="connsiteY340" fmla="*/ 89476 h 258982"/>
                    <a:gd name="connsiteX341" fmla="*/ 190590 w 308288"/>
                    <a:gd name="connsiteY341" fmla="*/ 89883 h 258982"/>
                    <a:gd name="connsiteX342" fmla="*/ 189530 w 308288"/>
                    <a:gd name="connsiteY342" fmla="*/ 90821 h 258982"/>
                    <a:gd name="connsiteX343" fmla="*/ 188006 w 308288"/>
                    <a:gd name="connsiteY343" fmla="*/ 91815 h 258982"/>
                    <a:gd name="connsiteX344" fmla="*/ 186442 w 308288"/>
                    <a:gd name="connsiteY344" fmla="*/ 91562 h 258982"/>
                    <a:gd name="connsiteX345" fmla="*/ 185366 w 308288"/>
                    <a:gd name="connsiteY345" fmla="*/ 90177 h 258982"/>
                    <a:gd name="connsiteX346" fmla="*/ 183817 w 308288"/>
                    <a:gd name="connsiteY346" fmla="*/ 89875 h 258982"/>
                    <a:gd name="connsiteX347" fmla="*/ 181796 w 308288"/>
                    <a:gd name="connsiteY347" fmla="*/ 90666 h 258982"/>
                    <a:gd name="connsiteX348" fmla="*/ 180003 w 308288"/>
                    <a:gd name="connsiteY348" fmla="*/ 90633 h 258982"/>
                    <a:gd name="connsiteX349" fmla="*/ 178439 w 308288"/>
                    <a:gd name="connsiteY349" fmla="*/ 89769 h 258982"/>
                    <a:gd name="connsiteX350" fmla="*/ 175456 w 308288"/>
                    <a:gd name="connsiteY350" fmla="*/ 89345 h 258982"/>
                    <a:gd name="connsiteX351" fmla="*/ 175105 w 308288"/>
                    <a:gd name="connsiteY351" fmla="*/ 88694 h 258982"/>
                    <a:gd name="connsiteX352" fmla="*/ 175162 w 308288"/>
                    <a:gd name="connsiteY352" fmla="*/ 88017 h 258982"/>
                    <a:gd name="connsiteX353" fmla="*/ 175627 w 308288"/>
                    <a:gd name="connsiteY353" fmla="*/ 87300 h 258982"/>
                    <a:gd name="connsiteX354" fmla="*/ 175896 w 308288"/>
                    <a:gd name="connsiteY354" fmla="*/ 85613 h 258982"/>
                    <a:gd name="connsiteX355" fmla="*/ 175953 w 308288"/>
                    <a:gd name="connsiteY355" fmla="*/ 82924 h 258982"/>
                    <a:gd name="connsiteX356" fmla="*/ 176352 w 308288"/>
                    <a:gd name="connsiteY356" fmla="*/ 81033 h 258982"/>
                    <a:gd name="connsiteX357" fmla="*/ 177102 w 308288"/>
                    <a:gd name="connsiteY357" fmla="*/ 79933 h 258982"/>
                    <a:gd name="connsiteX358" fmla="*/ 175945 w 308288"/>
                    <a:gd name="connsiteY358" fmla="*/ 79476 h 258982"/>
                    <a:gd name="connsiteX359" fmla="*/ 172872 w 308288"/>
                    <a:gd name="connsiteY359" fmla="*/ 79672 h 258982"/>
                    <a:gd name="connsiteX360" fmla="*/ 169343 w 308288"/>
                    <a:gd name="connsiteY360" fmla="*/ 80576 h 258982"/>
                    <a:gd name="connsiteX361" fmla="*/ 165358 w 308288"/>
                    <a:gd name="connsiteY361" fmla="*/ 82198 h 258982"/>
                    <a:gd name="connsiteX362" fmla="*/ 161023 w 308288"/>
                    <a:gd name="connsiteY362" fmla="*/ 82769 h 258982"/>
                    <a:gd name="connsiteX363" fmla="*/ 156353 w 308288"/>
                    <a:gd name="connsiteY363" fmla="*/ 82288 h 258982"/>
                    <a:gd name="connsiteX364" fmla="*/ 152824 w 308288"/>
                    <a:gd name="connsiteY364" fmla="*/ 82361 h 258982"/>
                    <a:gd name="connsiteX365" fmla="*/ 148912 w 308288"/>
                    <a:gd name="connsiteY365" fmla="*/ 83176 h 258982"/>
                    <a:gd name="connsiteX366" fmla="*/ 148236 w 308288"/>
                    <a:gd name="connsiteY366" fmla="*/ 82907 h 258982"/>
                    <a:gd name="connsiteX367" fmla="*/ 145774 w 308288"/>
                    <a:gd name="connsiteY367" fmla="*/ 83991 h 258982"/>
                    <a:gd name="connsiteX368" fmla="*/ 141528 w 308288"/>
                    <a:gd name="connsiteY368" fmla="*/ 86420 h 258982"/>
                    <a:gd name="connsiteX369" fmla="*/ 138350 w 308288"/>
                    <a:gd name="connsiteY369" fmla="*/ 88669 h 258982"/>
                    <a:gd name="connsiteX370" fmla="*/ 135701 w 308288"/>
                    <a:gd name="connsiteY370" fmla="*/ 91204 h 258982"/>
                    <a:gd name="connsiteX371" fmla="*/ 135294 w 308288"/>
                    <a:gd name="connsiteY371" fmla="*/ 91228 h 258982"/>
                    <a:gd name="connsiteX372" fmla="*/ 134666 w 308288"/>
                    <a:gd name="connsiteY372" fmla="*/ 90666 h 258982"/>
                    <a:gd name="connsiteX373" fmla="*/ 133330 w 308288"/>
                    <a:gd name="connsiteY373" fmla="*/ 89883 h 258982"/>
                    <a:gd name="connsiteX374" fmla="*/ 131904 w 308288"/>
                    <a:gd name="connsiteY374" fmla="*/ 89859 h 258982"/>
                    <a:gd name="connsiteX375" fmla="*/ 130380 w 308288"/>
                    <a:gd name="connsiteY375" fmla="*/ 90592 h 258982"/>
                    <a:gd name="connsiteX376" fmla="*/ 128848 w 308288"/>
                    <a:gd name="connsiteY376" fmla="*/ 90120 h 258982"/>
                    <a:gd name="connsiteX377" fmla="*/ 127283 w 308288"/>
                    <a:gd name="connsiteY377" fmla="*/ 88457 h 258982"/>
                    <a:gd name="connsiteX378" fmla="*/ 125864 w 308288"/>
                    <a:gd name="connsiteY378" fmla="*/ 87993 h 258982"/>
                    <a:gd name="connsiteX379" fmla="*/ 124585 w 308288"/>
                    <a:gd name="connsiteY379" fmla="*/ 88718 h 258982"/>
                    <a:gd name="connsiteX380" fmla="*/ 122483 w 308288"/>
                    <a:gd name="connsiteY380" fmla="*/ 89044 h 258982"/>
                    <a:gd name="connsiteX381" fmla="*/ 117829 w 308288"/>
                    <a:gd name="connsiteY381" fmla="*/ 88661 h 258982"/>
                    <a:gd name="connsiteX382" fmla="*/ 117340 w 308288"/>
                    <a:gd name="connsiteY382" fmla="*/ 88123 h 258982"/>
                    <a:gd name="connsiteX383" fmla="*/ 116924 w 308288"/>
                    <a:gd name="connsiteY383" fmla="*/ 86330 h 258982"/>
                    <a:gd name="connsiteX384" fmla="*/ 116419 w 308288"/>
                    <a:gd name="connsiteY384" fmla="*/ 85556 h 258982"/>
                    <a:gd name="connsiteX385" fmla="*/ 115523 w 308288"/>
                    <a:gd name="connsiteY385" fmla="*/ 85010 h 258982"/>
                    <a:gd name="connsiteX386" fmla="*/ 114080 w 308288"/>
                    <a:gd name="connsiteY386" fmla="*/ 83021 h 258982"/>
                    <a:gd name="connsiteX387" fmla="*/ 110910 w 308288"/>
                    <a:gd name="connsiteY387" fmla="*/ 77936 h 258982"/>
                    <a:gd name="connsiteX388" fmla="*/ 110030 w 308288"/>
                    <a:gd name="connsiteY388" fmla="*/ 77325 h 258982"/>
                    <a:gd name="connsiteX389" fmla="*/ 107438 w 308288"/>
                    <a:gd name="connsiteY389" fmla="*/ 75760 h 258982"/>
                    <a:gd name="connsiteX390" fmla="*/ 104969 w 308288"/>
                    <a:gd name="connsiteY390" fmla="*/ 75051 h 258982"/>
                    <a:gd name="connsiteX391" fmla="*/ 98710 w 308288"/>
                    <a:gd name="connsiteY391" fmla="*/ 74057 h 258982"/>
                    <a:gd name="connsiteX392" fmla="*/ 97357 w 308288"/>
                    <a:gd name="connsiteY392" fmla="*/ 73356 h 258982"/>
                    <a:gd name="connsiteX393" fmla="*/ 96542 w 308288"/>
                    <a:gd name="connsiteY393" fmla="*/ 73494 h 258982"/>
                    <a:gd name="connsiteX394" fmla="*/ 92402 w 308288"/>
                    <a:gd name="connsiteY394" fmla="*/ 76241 h 258982"/>
                    <a:gd name="connsiteX395" fmla="*/ 92231 w 308288"/>
                    <a:gd name="connsiteY395" fmla="*/ 76836 h 258982"/>
                    <a:gd name="connsiteX396" fmla="*/ 91978 w 308288"/>
                    <a:gd name="connsiteY396" fmla="*/ 77422 h 258982"/>
                    <a:gd name="connsiteX397" fmla="*/ 91310 w 308288"/>
                    <a:gd name="connsiteY397" fmla="*/ 78384 h 258982"/>
                    <a:gd name="connsiteX398" fmla="*/ 90764 w 308288"/>
                    <a:gd name="connsiteY398" fmla="*/ 78824 h 258982"/>
                    <a:gd name="connsiteX399" fmla="*/ 90421 w 308288"/>
                    <a:gd name="connsiteY399" fmla="*/ 78376 h 258982"/>
                    <a:gd name="connsiteX400" fmla="*/ 90087 w 308288"/>
                    <a:gd name="connsiteY400" fmla="*/ 77569 h 258982"/>
                    <a:gd name="connsiteX401" fmla="*/ 90144 w 308288"/>
                    <a:gd name="connsiteY401" fmla="*/ 75817 h 258982"/>
                    <a:gd name="connsiteX402" fmla="*/ 90584 w 308288"/>
                    <a:gd name="connsiteY402" fmla="*/ 73095 h 258982"/>
                    <a:gd name="connsiteX403" fmla="*/ 90332 w 308288"/>
                    <a:gd name="connsiteY403" fmla="*/ 71335 h 258982"/>
                    <a:gd name="connsiteX404" fmla="*/ 89378 w 308288"/>
                    <a:gd name="connsiteY404" fmla="*/ 70512 h 258982"/>
                    <a:gd name="connsiteX405" fmla="*/ 88971 w 308288"/>
                    <a:gd name="connsiteY405" fmla="*/ 69525 h 258982"/>
                    <a:gd name="connsiteX406" fmla="*/ 89101 w 308288"/>
                    <a:gd name="connsiteY406" fmla="*/ 68376 h 258982"/>
                    <a:gd name="connsiteX407" fmla="*/ 88417 w 308288"/>
                    <a:gd name="connsiteY407" fmla="*/ 67447 h 258982"/>
                    <a:gd name="connsiteX408" fmla="*/ 86901 w 308288"/>
                    <a:gd name="connsiteY408" fmla="*/ 66755 h 258982"/>
                    <a:gd name="connsiteX409" fmla="*/ 86200 w 308288"/>
                    <a:gd name="connsiteY409" fmla="*/ 65842 h 258982"/>
                    <a:gd name="connsiteX410" fmla="*/ 86306 w 308288"/>
                    <a:gd name="connsiteY410" fmla="*/ 64709 h 258982"/>
                    <a:gd name="connsiteX411" fmla="*/ 86159 w 308288"/>
                    <a:gd name="connsiteY411" fmla="*/ 63935 h 258982"/>
                    <a:gd name="connsiteX412" fmla="*/ 85760 w 308288"/>
                    <a:gd name="connsiteY412" fmla="*/ 63519 h 258982"/>
                    <a:gd name="connsiteX413" fmla="*/ 84146 w 308288"/>
                    <a:gd name="connsiteY413" fmla="*/ 64407 h 258982"/>
                    <a:gd name="connsiteX414" fmla="*/ 81310 w 308288"/>
                    <a:gd name="connsiteY414" fmla="*/ 66592 h 258982"/>
                    <a:gd name="connsiteX415" fmla="*/ 79395 w 308288"/>
                    <a:gd name="connsiteY415" fmla="*/ 68547 h 258982"/>
                    <a:gd name="connsiteX416" fmla="*/ 78376 w 308288"/>
                    <a:gd name="connsiteY416" fmla="*/ 70259 h 258982"/>
                    <a:gd name="connsiteX417" fmla="*/ 76860 w 308288"/>
                    <a:gd name="connsiteY417" fmla="*/ 71237 h 258982"/>
                    <a:gd name="connsiteX418" fmla="*/ 74839 w 308288"/>
                    <a:gd name="connsiteY418" fmla="*/ 71457 h 258982"/>
                    <a:gd name="connsiteX419" fmla="*/ 73242 w 308288"/>
                    <a:gd name="connsiteY419" fmla="*/ 72190 h 258982"/>
                    <a:gd name="connsiteX420" fmla="*/ 70397 w 308288"/>
                    <a:gd name="connsiteY420" fmla="*/ 74700 h 258982"/>
                    <a:gd name="connsiteX421" fmla="*/ 68279 w 308288"/>
                    <a:gd name="connsiteY421" fmla="*/ 75988 h 258982"/>
                    <a:gd name="connsiteX422" fmla="*/ 64758 w 308288"/>
                    <a:gd name="connsiteY422" fmla="*/ 76933 h 258982"/>
                    <a:gd name="connsiteX423" fmla="*/ 59835 w 308288"/>
                    <a:gd name="connsiteY423" fmla="*/ 77528 h 258982"/>
                    <a:gd name="connsiteX424" fmla="*/ 55736 w 308288"/>
                    <a:gd name="connsiteY424" fmla="*/ 79158 h 258982"/>
                    <a:gd name="connsiteX425" fmla="*/ 52444 w 308288"/>
                    <a:gd name="connsiteY425" fmla="*/ 81823 h 258982"/>
                    <a:gd name="connsiteX426" fmla="*/ 48467 w 308288"/>
                    <a:gd name="connsiteY426" fmla="*/ 84073 h 258982"/>
                    <a:gd name="connsiteX427" fmla="*/ 43813 w 308288"/>
                    <a:gd name="connsiteY427" fmla="*/ 85923 h 258982"/>
                    <a:gd name="connsiteX428" fmla="*/ 40643 w 308288"/>
                    <a:gd name="connsiteY428" fmla="*/ 86575 h 258982"/>
                    <a:gd name="connsiteX429" fmla="*/ 38972 w 308288"/>
                    <a:gd name="connsiteY429" fmla="*/ 86037 h 258982"/>
                    <a:gd name="connsiteX430" fmla="*/ 36975 w 308288"/>
                    <a:gd name="connsiteY430" fmla="*/ 84896 h 258982"/>
                    <a:gd name="connsiteX431" fmla="*/ 33993 w 308288"/>
                    <a:gd name="connsiteY431" fmla="*/ 82858 h 258982"/>
                    <a:gd name="connsiteX432" fmla="*/ 33561 w 308288"/>
                    <a:gd name="connsiteY432" fmla="*/ 83046 h 258982"/>
                    <a:gd name="connsiteX433" fmla="*/ 33789 w 308288"/>
                    <a:gd name="connsiteY433" fmla="*/ 83461 h 258982"/>
                    <a:gd name="connsiteX434" fmla="*/ 33724 w 308288"/>
                    <a:gd name="connsiteY434" fmla="*/ 83812 h 258982"/>
                    <a:gd name="connsiteX435" fmla="*/ 33169 w 308288"/>
                    <a:gd name="connsiteY435" fmla="*/ 84399 h 258982"/>
                    <a:gd name="connsiteX436" fmla="*/ 29372 w 308288"/>
                    <a:gd name="connsiteY436" fmla="*/ 85906 h 258982"/>
                    <a:gd name="connsiteX437" fmla="*/ 28867 w 308288"/>
                    <a:gd name="connsiteY437" fmla="*/ 85336 h 258982"/>
                    <a:gd name="connsiteX438" fmla="*/ 30284 w 308288"/>
                    <a:gd name="connsiteY438" fmla="*/ 83266 h 258982"/>
                    <a:gd name="connsiteX439" fmla="*/ 30839 w 308288"/>
                    <a:gd name="connsiteY439" fmla="*/ 81726 h 258982"/>
                    <a:gd name="connsiteX440" fmla="*/ 30806 w 308288"/>
                    <a:gd name="connsiteY440" fmla="*/ 80307 h 258982"/>
                    <a:gd name="connsiteX441" fmla="*/ 31434 w 308288"/>
                    <a:gd name="connsiteY441" fmla="*/ 78555 h 258982"/>
                    <a:gd name="connsiteX442" fmla="*/ 32730 w 308288"/>
                    <a:gd name="connsiteY442" fmla="*/ 76477 h 258982"/>
                    <a:gd name="connsiteX443" fmla="*/ 33210 w 308288"/>
                    <a:gd name="connsiteY443" fmla="*/ 75067 h 258982"/>
                    <a:gd name="connsiteX444" fmla="*/ 32868 w 308288"/>
                    <a:gd name="connsiteY444" fmla="*/ 74326 h 258982"/>
                    <a:gd name="connsiteX445" fmla="*/ 31434 w 308288"/>
                    <a:gd name="connsiteY445" fmla="*/ 73136 h 258982"/>
                    <a:gd name="connsiteX446" fmla="*/ 30268 w 308288"/>
                    <a:gd name="connsiteY446" fmla="*/ 73046 h 258982"/>
                    <a:gd name="connsiteX447" fmla="*/ 28793 w 308288"/>
                    <a:gd name="connsiteY447" fmla="*/ 73437 h 258982"/>
                    <a:gd name="connsiteX448" fmla="*/ 24303 w 308288"/>
                    <a:gd name="connsiteY448" fmla="*/ 76493 h 258982"/>
                    <a:gd name="connsiteX449" fmla="*/ 23854 w 308288"/>
                    <a:gd name="connsiteY449" fmla="*/ 76265 h 258982"/>
                    <a:gd name="connsiteX450" fmla="*/ 22412 w 308288"/>
                    <a:gd name="connsiteY450" fmla="*/ 75768 h 258982"/>
                    <a:gd name="connsiteX451" fmla="*/ 22061 w 308288"/>
                    <a:gd name="connsiteY451" fmla="*/ 75858 h 258982"/>
                    <a:gd name="connsiteX452" fmla="*/ 18598 w 308288"/>
                    <a:gd name="connsiteY452" fmla="*/ 78515 h 258982"/>
                    <a:gd name="connsiteX453" fmla="*/ 15077 w 308288"/>
                    <a:gd name="connsiteY453" fmla="*/ 80112 h 258982"/>
                    <a:gd name="connsiteX454" fmla="*/ 6732 w 308288"/>
                    <a:gd name="connsiteY454" fmla="*/ 82378 h 258982"/>
                    <a:gd name="connsiteX455" fmla="*/ 4613 w 308288"/>
                    <a:gd name="connsiteY455" fmla="*/ 82655 h 258982"/>
                    <a:gd name="connsiteX456" fmla="*/ 2967 w 308288"/>
                    <a:gd name="connsiteY456" fmla="*/ 82483 h 258982"/>
                    <a:gd name="connsiteX457" fmla="*/ 848 w 308288"/>
                    <a:gd name="connsiteY457" fmla="*/ 81163 h 258982"/>
                    <a:gd name="connsiteX458" fmla="*/ 0 w 308288"/>
                    <a:gd name="connsiteY458" fmla="*/ 80250 h 258982"/>
                    <a:gd name="connsiteX459" fmla="*/ 73 w 308288"/>
                    <a:gd name="connsiteY459" fmla="*/ 79272 h 258982"/>
                    <a:gd name="connsiteX460" fmla="*/ 1060 w 308288"/>
                    <a:gd name="connsiteY460" fmla="*/ 78221 h 258982"/>
                    <a:gd name="connsiteX461" fmla="*/ 11459 w 308288"/>
                    <a:gd name="connsiteY461" fmla="*/ 69998 h 258982"/>
                    <a:gd name="connsiteX462" fmla="*/ 17881 w 308288"/>
                    <a:gd name="connsiteY462" fmla="*/ 64122 h 258982"/>
                    <a:gd name="connsiteX463" fmla="*/ 28524 w 308288"/>
                    <a:gd name="connsiteY463" fmla="*/ 53087 h 258982"/>
                    <a:gd name="connsiteX464" fmla="*/ 31271 w 308288"/>
                    <a:gd name="connsiteY464" fmla="*/ 50895 h 258982"/>
                    <a:gd name="connsiteX465" fmla="*/ 37448 w 308288"/>
                    <a:gd name="connsiteY465" fmla="*/ 47220 h 258982"/>
                    <a:gd name="connsiteX466" fmla="*/ 47375 w 308288"/>
                    <a:gd name="connsiteY466" fmla="*/ 43691 h 258982"/>
                    <a:gd name="connsiteX467" fmla="*/ 52272 w 308288"/>
                    <a:gd name="connsiteY467" fmla="*/ 41727 h 258982"/>
                    <a:gd name="connsiteX468" fmla="*/ 56510 w 308288"/>
                    <a:gd name="connsiteY468" fmla="*/ 39591 h 258982"/>
                    <a:gd name="connsiteX469" fmla="*/ 59224 w 308288"/>
                    <a:gd name="connsiteY469" fmla="*/ 37945 h 258982"/>
                    <a:gd name="connsiteX470" fmla="*/ 60406 w 308288"/>
                    <a:gd name="connsiteY470" fmla="*/ 36796 h 258982"/>
                    <a:gd name="connsiteX471" fmla="*/ 61360 w 308288"/>
                    <a:gd name="connsiteY471" fmla="*/ 36266 h 258982"/>
                    <a:gd name="connsiteX472" fmla="*/ 62077 w 308288"/>
                    <a:gd name="connsiteY472" fmla="*/ 36340 h 258982"/>
                    <a:gd name="connsiteX473" fmla="*/ 63495 w 308288"/>
                    <a:gd name="connsiteY473" fmla="*/ 35574 h 258982"/>
                    <a:gd name="connsiteX474" fmla="*/ 65915 w 308288"/>
                    <a:gd name="connsiteY474" fmla="*/ 32721 h 258982"/>
                    <a:gd name="connsiteX475" fmla="*/ 66192 w 308288"/>
                    <a:gd name="connsiteY475" fmla="*/ 32485 h 258982"/>
                    <a:gd name="connsiteX476" fmla="*/ 68499 w 308288"/>
                    <a:gd name="connsiteY476" fmla="*/ 31678 h 258982"/>
                    <a:gd name="connsiteX477" fmla="*/ 69248 w 308288"/>
                    <a:gd name="connsiteY477" fmla="*/ 30325 h 258982"/>
                    <a:gd name="connsiteX478" fmla="*/ 69705 w 308288"/>
                    <a:gd name="connsiteY478" fmla="*/ 28695 h 258982"/>
                    <a:gd name="connsiteX479" fmla="*/ 70805 w 308288"/>
                    <a:gd name="connsiteY479" fmla="*/ 25981 h 258982"/>
                    <a:gd name="connsiteX480" fmla="*/ 71571 w 308288"/>
                    <a:gd name="connsiteY480" fmla="*/ 24865 h 258982"/>
                    <a:gd name="connsiteX481" fmla="*/ 71759 w 308288"/>
                    <a:gd name="connsiteY481" fmla="*/ 23642 h 258982"/>
                    <a:gd name="connsiteX482" fmla="*/ 71376 w 308288"/>
                    <a:gd name="connsiteY482" fmla="*/ 22298 h 258982"/>
                    <a:gd name="connsiteX483" fmla="*/ 71482 w 308288"/>
                    <a:gd name="connsiteY483" fmla="*/ 21026 h 258982"/>
                    <a:gd name="connsiteX484" fmla="*/ 72084 w 308288"/>
                    <a:gd name="connsiteY484" fmla="*/ 19828 h 258982"/>
                    <a:gd name="connsiteX485" fmla="*/ 74912 w 308288"/>
                    <a:gd name="connsiteY485" fmla="*/ 18141 h 258982"/>
                    <a:gd name="connsiteX486" fmla="*/ 82655 w 308288"/>
                    <a:gd name="connsiteY486" fmla="*/ 15069 h 258982"/>
                    <a:gd name="connsiteX487" fmla="*/ 82924 w 308288"/>
                    <a:gd name="connsiteY487" fmla="*/ 15452 h 258982"/>
                    <a:gd name="connsiteX488" fmla="*/ 81571 w 308288"/>
                    <a:gd name="connsiteY488" fmla="*/ 17832 h 258982"/>
                    <a:gd name="connsiteX489" fmla="*/ 80128 w 308288"/>
                    <a:gd name="connsiteY489" fmla="*/ 22330 h 258982"/>
                    <a:gd name="connsiteX490" fmla="*/ 79623 w 308288"/>
                    <a:gd name="connsiteY490" fmla="*/ 22453 h 258982"/>
                    <a:gd name="connsiteX491" fmla="*/ 79158 w 308288"/>
                    <a:gd name="connsiteY491" fmla="*/ 23007 h 258982"/>
                    <a:gd name="connsiteX492" fmla="*/ 78735 w 308288"/>
                    <a:gd name="connsiteY492" fmla="*/ 23993 h 258982"/>
                    <a:gd name="connsiteX493" fmla="*/ 79835 w 308288"/>
                    <a:gd name="connsiteY493" fmla="*/ 23919 h 258982"/>
                    <a:gd name="connsiteX494" fmla="*/ 82451 w 308288"/>
                    <a:gd name="connsiteY494" fmla="*/ 22803 h 258982"/>
                    <a:gd name="connsiteX495" fmla="*/ 83657 w 308288"/>
                    <a:gd name="connsiteY495" fmla="*/ 22232 h 258982"/>
                    <a:gd name="connsiteX496" fmla="*/ 83967 w 308288"/>
                    <a:gd name="connsiteY496" fmla="*/ 21140 h 258982"/>
                    <a:gd name="connsiteX497" fmla="*/ 84366 w 308288"/>
                    <a:gd name="connsiteY497" fmla="*/ 18932 h 258982"/>
                    <a:gd name="connsiteX498" fmla="*/ 84920 w 308288"/>
                    <a:gd name="connsiteY498" fmla="*/ 17709 h 258982"/>
                    <a:gd name="connsiteX499" fmla="*/ 85646 w 308288"/>
                    <a:gd name="connsiteY499" fmla="*/ 17473 h 258982"/>
                    <a:gd name="connsiteX500" fmla="*/ 86127 w 308288"/>
                    <a:gd name="connsiteY500" fmla="*/ 16414 h 258982"/>
                    <a:gd name="connsiteX501" fmla="*/ 86363 w 308288"/>
                    <a:gd name="connsiteY501" fmla="*/ 14523 h 258982"/>
                    <a:gd name="connsiteX502" fmla="*/ 86933 w 308288"/>
                    <a:gd name="connsiteY502" fmla="*/ 13390 h 258982"/>
                    <a:gd name="connsiteX503" fmla="*/ 87846 w 308288"/>
                    <a:gd name="connsiteY503" fmla="*/ 13031 h 258982"/>
                    <a:gd name="connsiteX504" fmla="*/ 88229 w 308288"/>
                    <a:gd name="connsiteY504" fmla="*/ 12371 h 258982"/>
                    <a:gd name="connsiteX505" fmla="*/ 88172 w 308288"/>
                    <a:gd name="connsiteY505" fmla="*/ 11450 h 258982"/>
                    <a:gd name="connsiteX506" fmla="*/ 88400 w 308288"/>
                    <a:gd name="connsiteY506" fmla="*/ 8948 h 258982"/>
                    <a:gd name="connsiteX507" fmla="*/ 88588 w 308288"/>
                    <a:gd name="connsiteY507" fmla="*/ 7775 h 258982"/>
                    <a:gd name="connsiteX508" fmla="*/ 89395 w 308288"/>
                    <a:gd name="connsiteY508" fmla="*/ 6063 h 258982"/>
                    <a:gd name="connsiteX509" fmla="*/ 90519 w 308288"/>
                    <a:gd name="connsiteY509" fmla="*/ 5542 h 258982"/>
                    <a:gd name="connsiteX510" fmla="*/ 92060 w 308288"/>
                    <a:gd name="connsiteY510" fmla="*/ 5648 h 258982"/>
                    <a:gd name="connsiteX511" fmla="*/ 93119 w 308288"/>
                    <a:gd name="connsiteY511" fmla="*/ 6512 h 258982"/>
                    <a:gd name="connsiteX512" fmla="*/ 93698 w 308288"/>
                    <a:gd name="connsiteY512" fmla="*/ 8142 h 258982"/>
                    <a:gd name="connsiteX513" fmla="*/ 93853 w 308288"/>
                    <a:gd name="connsiteY513" fmla="*/ 9486 h 258982"/>
                    <a:gd name="connsiteX514" fmla="*/ 93592 w 308288"/>
                    <a:gd name="connsiteY514" fmla="*/ 10546 h 258982"/>
                    <a:gd name="connsiteX515" fmla="*/ 92092 w 308288"/>
                    <a:gd name="connsiteY515" fmla="*/ 12469 h 258982"/>
                    <a:gd name="connsiteX516" fmla="*/ 87805 w 308288"/>
                    <a:gd name="connsiteY516" fmla="*/ 17074 h 258982"/>
                    <a:gd name="connsiteX517" fmla="*/ 87357 w 308288"/>
                    <a:gd name="connsiteY517" fmla="*/ 18361 h 258982"/>
                    <a:gd name="connsiteX518" fmla="*/ 87732 w 308288"/>
                    <a:gd name="connsiteY518" fmla="*/ 19030 h 258982"/>
                    <a:gd name="connsiteX519" fmla="*/ 87976 w 308288"/>
                    <a:gd name="connsiteY519" fmla="*/ 20008 h 258982"/>
                    <a:gd name="connsiteX520" fmla="*/ 88490 w 308288"/>
                    <a:gd name="connsiteY520" fmla="*/ 20130 h 258982"/>
                    <a:gd name="connsiteX521" fmla="*/ 89435 w 308288"/>
                    <a:gd name="connsiteY521" fmla="*/ 19282 h 258982"/>
                    <a:gd name="connsiteX522" fmla="*/ 89843 w 308288"/>
                    <a:gd name="connsiteY522" fmla="*/ 18516 h 258982"/>
                    <a:gd name="connsiteX523" fmla="*/ 89712 w 308288"/>
                    <a:gd name="connsiteY523" fmla="*/ 17848 h 258982"/>
                    <a:gd name="connsiteX524" fmla="*/ 90055 w 308288"/>
                    <a:gd name="connsiteY524" fmla="*/ 16984 h 258982"/>
                    <a:gd name="connsiteX525" fmla="*/ 90853 w 308288"/>
                    <a:gd name="connsiteY525" fmla="*/ 15916 h 258982"/>
                    <a:gd name="connsiteX526" fmla="*/ 91481 w 308288"/>
                    <a:gd name="connsiteY526" fmla="*/ 15607 h 258982"/>
                    <a:gd name="connsiteX527" fmla="*/ 91945 w 308288"/>
                    <a:gd name="connsiteY527" fmla="*/ 16022 h 258982"/>
                    <a:gd name="connsiteX528" fmla="*/ 92711 w 308288"/>
                    <a:gd name="connsiteY528" fmla="*/ 15843 h 258982"/>
                    <a:gd name="connsiteX529" fmla="*/ 93787 w 308288"/>
                    <a:gd name="connsiteY529" fmla="*/ 15044 h 258982"/>
                    <a:gd name="connsiteX530" fmla="*/ 95711 w 308288"/>
                    <a:gd name="connsiteY530" fmla="*/ 14629 h 258982"/>
                    <a:gd name="connsiteX531" fmla="*/ 96077 w 308288"/>
                    <a:gd name="connsiteY531" fmla="*/ 14596 h 258982"/>
                    <a:gd name="connsiteX532" fmla="*/ 98425 w 308288"/>
                    <a:gd name="connsiteY532" fmla="*/ 11499 h 258982"/>
                    <a:gd name="connsiteX533" fmla="*/ 99150 w 308288"/>
                    <a:gd name="connsiteY533" fmla="*/ 9698 h 258982"/>
                    <a:gd name="connsiteX534" fmla="*/ 99158 w 308288"/>
                    <a:gd name="connsiteY534" fmla="*/ 8142 h 258982"/>
                    <a:gd name="connsiteX535" fmla="*/ 98204 w 308288"/>
                    <a:gd name="connsiteY535" fmla="*/ 6528 h 258982"/>
                    <a:gd name="connsiteX536" fmla="*/ 96289 w 308288"/>
                    <a:gd name="connsiteY536" fmla="*/ 4857 h 258982"/>
                    <a:gd name="connsiteX537" fmla="*/ 95735 w 308288"/>
                    <a:gd name="connsiteY537" fmla="*/ 3056 h 258982"/>
                    <a:gd name="connsiteX538" fmla="*/ 95686 w 308288"/>
                    <a:gd name="connsiteY538" fmla="*/ 2152 h 258982"/>
                    <a:gd name="connsiteX539" fmla="*/ 95319 w 308288"/>
                    <a:gd name="connsiteY539" fmla="*/ 1011 h 258982"/>
                    <a:gd name="connsiteX540" fmla="*/ 95719 w 308288"/>
                    <a:gd name="connsiteY540" fmla="*/ 579 h 258982"/>
                    <a:gd name="connsiteX541" fmla="*/ 96892 w 308288"/>
                    <a:gd name="connsiteY541" fmla="*/ 864 h 258982"/>
                    <a:gd name="connsiteX542" fmla="*/ 97878 w 308288"/>
                    <a:gd name="connsiteY542" fmla="*/ 717 h 258982"/>
                    <a:gd name="connsiteX543" fmla="*/ 98685 w 308288"/>
                    <a:gd name="connsiteY543" fmla="*/ 114 h 258982"/>
                    <a:gd name="connsiteX544" fmla="*/ 100128 w 308288"/>
                    <a:gd name="connsiteY544" fmla="*/ 0 h 258982"/>
                    <a:gd name="connsiteX545" fmla="*/ 101309 w 308288"/>
                    <a:gd name="connsiteY545" fmla="*/ 98 h 258982"/>
                    <a:gd name="connsiteX546" fmla="*/ 102719 w 308288"/>
                    <a:gd name="connsiteY546" fmla="*/ 1548 h 258982"/>
                    <a:gd name="connsiteX547" fmla="*/ 107797 w 308288"/>
                    <a:gd name="connsiteY547" fmla="*/ 2942 h 258982"/>
                    <a:gd name="connsiteX548" fmla="*/ 109671 w 308288"/>
                    <a:gd name="connsiteY548" fmla="*/ 3692 h 258982"/>
                    <a:gd name="connsiteX549" fmla="*/ 111994 w 308288"/>
                    <a:gd name="connsiteY549" fmla="*/ 4458 h 258982"/>
                    <a:gd name="connsiteX550" fmla="*/ 112581 w 308288"/>
                    <a:gd name="connsiteY550" fmla="*/ 4711 h 258982"/>
                    <a:gd name="connsiteX551" fmla="*/ 112972 w 308288"/>
                    <a:gd name="connsiteY551" fmla="*/ 5534 h 258982"/>
                    <a:gd name="connsiteX552" fmla="*/ 113827 w 308288"/>
                    <a:gd name="connsiteY552" fmla="*/ 5884 h 258982"/>
                    <a:gd name="connsiteX553" fmla="*/ 115156 w 308288"/>
                    <a:gd name="connsiteY553" fmla="*/ 5754 h 258982"/>
                    <a:gd name="connsiteX554" fmla="*/ 116557 w 308288"/>
                    <a:gd name="connsiteY554" fmla="*/ 6023 h 258982"/>
                    <a:gd name="connsiteX555" fmla="*/ 118929 w 308288"/>
                    <a:gd name="connsiteY555" fmla="*/ 7294 h 258982"/>
                    <a:gd name="connsiteX556" fmla="*/ 121105 w 308288"/>
                    <a:gd name="connsiteY556" fmla="*/ 8142 h 258982"/>
                    <a:gd name="connsiteX557" fmla="*/ 124553 w 308288"/>
                    <a:gd name="connsiteY557" fmla="*/ 8027 h 258982"/>
                    <a:gd name="connsiteX558" fmla="*/ 126435 w 308288"/>
                    <a:gd name="connsiteY558" fmla="*/ 7677 h 258982"/>
                    <a:gd name="connsiteX559" fmla="*/ 129442 w 308288"/>
                    <a:gd name="connsiteY559" fmla="*/ 8264 h 258982"/>
                    <a:gd name="connsiteX560" fmla="*/ 131121 w 308288"/>
                    <a:gd name="connsiteY560" fmla="*/ 8264 h 258982"/>
                    <a:gd name="connsiteX561" fmla="*/ 132816 w 308288"/>
                    <a:gd name="connsiteY561" fmla="*/ 7253 h 258982"/>
                    <a:gd name="connsiteX562" fmla="*/ 134275 w 308288"/>
                    <a:gd name="connsiteY562" fmla="*/ 6992 h 258982"/>
                    <a:gd name="connsiteX563" fmla="*/ 135506 w 308288"/>
                    <a:gd name="connsiteY563" fmla="*/ 7473 h 258982"/>
                    <a:gd name="connsiteX564" fmla="*/ 136035 w 308288"/>
                    <a:gd name="connsiteY564" fmla="*/ 8093 h 258982"/>
                    <a:gd name="connsiteX565" fmla="*/ 137038 w 308288"/>
                    <a:gd name="connsiteY565" fmla="*/ 8973 h 258982"/>
                    <a:gd name="connsiteX566" fmla="*/ 140061 w 308288"/>
                    <a:gd name="connsiteY566" fmla="*/ 8549 h 258982"/>
                    <a:gd name="connsiteX567" fmla="*/ 140730 w 308288"/>
                    <a:gd name="connsiteY567" fmla="*/ 8794 h 258982"/>
                    <a:gd name="connsiteX568" fmla="*/ 141626 w 308288"/>
                    <a:gd name="connsiteY568" fmla="*/ 9763 h 258982"/>
                    <a:gd name="connsiteX569" fmla="*/ 141781 w 308288"/>
                    <a:gd name="connsiteY569" fmla="*/ 10383 h 258982"/>
                    <a:gd name="connsiteX570" fmla="*/ 142254 w 308288"/>
                    <a:gd name="connsiteY570" fmla="*/ 11344 h 258982"/>
                    <a:gd name="connsiteX571" fmla="*/ 143403 w 308288"/>
                    <a:gd name="connsiteY571" fmla="*/ 13178 h 258982"/>
                    <a:gd name="connsiteX572" fmla="*/ 143672 w 308288"/>
                    <a:gd name="connsiteY572" fmla="*/ 13814 h 258982"/>
                    <a:gd name="connsiteX573" fmla="*/ 144454 w 308288"/>
                    <a:gd name="connsiteY573" fmla="*/ 14572 h 258982"/>
                    <a:gd name="connsiteX574" fmla="*/ 145098 w 308288"/>
                    <a:gd name="connsiteY574" fmla="*/ 16348 h 258982"/>
                    <a:gd name="connsiteX575" fmla="*/ 145579 w 308288"/>
                    <a:gd name="connsiteY575" fmla="*/ 19160 h 258982"/>
                    <a:gd name="connsiteX576" fmla="*/ 146117 w 308288"/>
                    <a:gd name="connsiteY576" fmla="*/ 20872 h 258982"/>
                    <a:gd name="connsiteX577" fmla="*/ 146720 w 308288"/>
                    <a:gd name="connsiteY577" fmla="*/ 21507 h 258982"/>
                    <a:gd name="connsiteX578" fmla="*/ 146980 w 308288"/>
                    <a:gd name="connsiteY578" fmla="*/ 22224 h 258982"/>
                    <a:gd name="connsiteX579" fmla="*/ 147527 w 308288"/>
                    <a:gd name="connsiteY579" fmla="*/ 25150 h 258982"/>
                    <a:gd name="connsiteX580" fmla="*/ 148888 w 308288"/>
                    <a:gd name="connsiteY580" fmla="*/ 28516 h 258982"/>
                    <a:gd name="connsiteX581" fmla="*/ 150909 w 308288"/>
                    <a:gd name="connsiteY581" fmla="*/ 31800 h 258982"/>
                    <a:gd name="connsiteX582" fmla="*/ 153615 w 308288"/>
                    <a:gd name="connsiteY582" fmla="*/ 35011 h 258982"/>
                    <a:gd name="connsiteX583" fmla="*/ 156988 w 308288"/>
                    <a:gd name="connsiteY583" fmla="*/ 37138 h 258982"/>
                    <a:gd name="connsiteX584" fmla="*/ 161031 w 308288"/>
                    <a:gd name="connsiteY584" fmla="*/ 38190 h 258982"/>
                    <a:gd name="connsiteX585" fmla="*/ 164625 w 308288"/>
                    <a:gd name="connsiteY585" fmla="*/ 38426 h 258982"/>
                    <a:gd name="connsiteX586" fmla="*/ 167779 w 308288"/>
                    <a:gd name="connsiteY586" fmla="*/ 37847 h 258982"/>
                    <a:gd name="connsiteX587" fmla="*/ 171959 w 308288"/>
                    <a:gd name="connsiteY587" fmla="*/ 37530 h 258982"/>
                    <a:gd name="connsiteX588" fmla="*/ 177175 w 308288"/>
                    <a:gd name="connsiteY588" fmla="*/ 37489 h 258982"/>
                    <a:gd name="connsiteX589" fmla="*/ 179873 w 308288"/>
                    <a:gd name="connsiteY589" fmla="*/ 37856 h 258982"/>
                    <a:gd name="connsiteX590" fmla="*/ 180052 w 308288"/>
                    <a:gd name="connsiteY590" fmla="*/ 38638 h 258982"/>
                    <a:gd name="connsiteX591" fmla="*/ 179555 w 308288"/>
                    <a:gd name="connsiteY591" fmla="*/ 39779 h 258982"/>
                    <a:gd name="connsiteX592" fmla="*/ 178365 w 308288"/>
                    <a:gd name="connsiteY592" fmla="*/ 41262 h 258982"/>
                    <a:gd name="connsiteX593" fmla="*/ 178243 w 308288"/>
                    <a:gd name="connsiteY593" fmla="*/ 42232 h 258982"/>
                    <a:gd name="connsiteX594" fmla="*/ 178186 w 308288"/>
                    <a:gd name="connsiteY594" fmla="*/ 43503 h 258982"/>
                    <a:gd name="connsiteX595" fmla="*/ 177232 w 308288"/>
                    <a:gd name="connsiteY595" fmla="*/ 45182 h 258982"/>
                    <a:gd name="connsiteX596" fmla="*/ 176727 w 308288"/>
                    <a:gd name="connsiteY596" fmla="*/ 46193 h 258982"/>
                    <a:gd name="connsiteX597" fmla="*/ 176890 w 308288"/>
                    <a:gd name="connsiteY597" fmla="*/ 46894 h 258982"/>
                    <a:gd name="connsiteX598" fmla="*/ 176613 w 308288"/>
                    <a:gd name="connsiteY598" fmla="*/ 47831 h 258982"/>
                    <a:gd name="connsiteX599" fmla="*/ 175912 w 308288"/>
                    <a:gd name="connsiteY599" fmla="*/ 49013 h 258982"/>
                    <a:gd name="connsiteX600" fmla="*/ 176328 w 308288"/>
                    <a:gd name="connsiteY600" fmla="*/ 50585 h 258982"/>
                    <a:gd name="connsiteX601" fmla="*/ 177860 w 308288"/>
                    <a:gd name="connsiteY601" fmla="*/ 52549 h 258982"/>
                    <a:gd name="connsiteX602" fmla="*/ 179726 w 308288"/>
                    <a:gd name="connsiteY602" fmla="*/ 54139 h 258982"/>
                    <a:gd name="connsiteX603" fmla="*/ 181935 w 308288"/>
                    <a:gd name="connsiteY603" fmla="*/ 55345 h 258982"/>
                    <a:gd name="connsiteX604" fmla="*/ 183312 w 308288"/>
                    <a:gd name="connsiteY604" fmla="*/ 56592 h 258982"/>
                    <a:gd name="connsiteX605" fmla="*/ 183866 w 308288"/>
                    <a:gd name="connsiteY605" fmla="*/ 57879 h 258982"/>
                    <a:gd name="connsiteX606" fmla="*/ 184477 w 308288"/>
                    <a:gd name="connsiteY606" fmla="*/ 58597 h 258982"/>
                    <a:gd name="connsiteX607" fmla="*/ 185154 w 308288"/>
                    <a:gd name="connsiteY607" fmla="*/ 58727 h 258982"/>
                    <a:gd name="connsiteX608" fmla="*/ 185773 w 308288"/>
                    <a:gd name="connsiteY608" fmla="*/ 59322 h 258982"/>
                    <a:gd name="connsiteX609" fmla="*/ 186311 w 308288"/>
                    <a:gd name="connsiteY609" fmla="*/ 60398 h 258982"/>
                    <a:gd name="connsiteX610" fmla="*/ 185716 w 308288"/>
                    <a:gd name="connsiteY610" fmla="*/ 62280 h 258982"/>
                    <a:gd name="connsiteX611" fmla="*/ 183989 w 308288"/>
                    <a:gd name="connsiteY611" fmla="*/ 64994 h 258982"/>
                    <a:gd name="connsiteX612" fmla="*/ 183206 w 308288"/>
                    <a:gd name="connsiteY612" fmla="*/ 66738 h 258982"/>
                    <a:gd name="connsiteX613" fmla="*/ 183385 w 308288"/>
                    <a:gd name="connsiteY613" fmla="*/ 67529 h 258982"/>
                    <a:gd name="connsiteX614" fmla="*/ 181910 w 308288"/>
                    <a:gd name="connsiteY614" fmla="*/ 70495 h 258982"/>
                    <a:gd name="connsiteX615" fmla="*/ 181829 w 308288"/>
                    <a:gd name="connsiteY615" fmla="*/ 71661 h 258982"/>
                    <a:gd name="connsiteX616" fmla="*/ 182440 w 308288"/>
                    <a:gd name="connsiteY616" fmla="*/ 72467 h 258982"/>
                    <a:gd name="connsiteX617" fmla="*/ 184787 w 308288"/>
                    <a:gd name="connsiteY617" fmla="*/ 73617 h 258982"/>
                    <a:gd name="connsiteX618" fmla="*/ 185553 w 308288"/>
                    <a:gd name="connsiteY618" fmla="*/ 74570 h 258982"/>
                    <a:gd name="connsiteX619" fmla="*/ 186164 w 308288"/>
                    <a:gd name="connsiteY619" fmla="*/ 74717 h 258982"/>
                    <a:gd name="connsiteX620" fmla="*/ 186613 w 308288"/>
                    <a:gd name="connsiteY620" fmla="*/ 74048 h 258982"/>
                    <a:gd name="connsiteX621" fmla="*/ 187550 w 308288"/>
                    <a:gd name="connsiteY621" fmla="*/ 73739 h 258982"/>
                    <a:gd name="connsiteX622" fmla="*/ 188952 w 308288"/>
                    <a:gd name="connsiteY622" fmla="*/ 73804 h 258982"/>
                    <a:gd name="connsiteX623" fmla="*/ 190272 w 308288"/>
                    <a:gd name="connsiteY623" fmla="*/ 74277 h 258982"/>
                    <a:gd name="connsiteX624" fmla="*/ 191503 w 308288"/>
                    <a:gd name="connsiteY624" fmla="*/ 75173 h 258982"/>
                    <a:gd name="connsiteX625" fmla="*/ 191943 w 308288"/>
                    <a:gd name="connsiteY625" fmla="*/ 76086 h 258982"/>
                    <a:gd name="connsiteX626" fmla="*/ 191584 w 308288"/>
                    <a:gd name="connsiteY626" fmla="*/ 77039 h 258982"/>
                    <a:gd name="connsiteX627" fmla="*/ 190948 w 308288"/>
                    <a:gd name="connsiteY627" fmla="*/ 77374 h 258982"/>
                    <a:gd name="connsiteX628" fmla="*/ 189041 w 308288"/>
                    <a:gd name="connsiteY628" fmla="*/ 77227 h 258982"/>
                    <a:gd name="connsiteX629" fmla="*/ 187974 w 308288"/>
                    <a:gd name="connsiteY629" fmla="*/ 77716 h 258982"/>
                    <a:gd name="connsiteX630" fmla="*/ 187338 w 308288"/>
                    <a:gd name="connsiteY630" fmla="*/ 78726 h 258982"/>
                    <a:gd name="connsiteX631" fmla="*/ 187151 w 308288"/>
                    <a:gd name="connsiteY631" fmla="*/ 81432 h 258982"/>
                    <a:gd name="connsiteX632" fmla="*/ 187672 w 308288"/>
                    <a:gd name="connsiteY632" fmla="*/ 82581 h 258982"/>
                    <a:gd name="connsiteX633" fmla="*/ 187982 w 308288"/>
                    <a:gd name="connsiteY633" fmla="*/ 82581 h 258982"/>
                    <a:gd name="connsiteX634" fmla="*/ 188406 w 308288"/>
                    <a:gd name="connsiteY634" fmla="*/ 82035 h 258982"/>
                    <a:gd name="connsiteX635" fmla="*/ 188952 w 308288"/>
                    <a:gd name="connsiteY635" fmla="*/ 80951 h 258982"/>
                    <a:gd name="connsiteX636" fmla="*/ 189547 w 308288"/>
                    <a:gd name="connsiteY636" fmla="*/ 80829 h 258982"/>
                    <a:gd name="connsiteX637" fmla="*/ 190190 w 308288"/>
                    <a:gd name="connsiteY637" fmla="*/ 81669 h 258982"/>
                    <a:gd name="connsiteX638" fmla="*/ 189498 w 308288"/>
                    <a:gd name="connsiteY638" fmla="*/ 83413 h 258982"/>
                    <a:gd name="connsiteX639" fmla="*/ 187477 w 308288"/>
                    <a:gd name="connsiteY639" fmla="*/ 86045 h 258982"/>
                    <a:gd name="connsiteX640" fmla="*/ 186955 w 308288"/>
                    <a:gd name="connsiteY640" fmla="*/ 86876 h 258982"/>
                    <a:gd name="connsiteX641" fmla="*/ 186955 w 308288"/>
                    <a:gd name="connsiteY641" fmla="*/ 88058 h 258982"/>
                    <a:gd name="connsiteX642" fmla="*/ 188642 w 308288"/>
                    <a:gd name="connsiteY642" fmla="*/ 90185 h 258982"/>
                    <a:gd name="connsiteX643" fmla="*/ 189261 w 308288"/>
                    <a:gd name="connsiteY643" fmla="*/ 89981 h 258982"/>
                    <a:gd name="connsiteX644" fmla="*/ 189669 w 308288"/>
                    <a:gd name="connsiteY644" fmla="*/ 89460 h 258982"/>
                    <a:gd name="connsiteX645" fmla="*/ 190321 w 308288"/>
                    <a:gd name="connsiteY645" fmla="*/ 88808 h 258982"/>
                    <a:gd name="connsiteX646" fmla="*/ 192521 w 308288"/>
                    <a:gd name="connsiteY646" fmla="*/ 88482 h 258982"/>
                    <a:gd name="connsiteX647" fmla="*/ 195203 w 308288"/>
                    <a:gd name="connsiteY647" fmla="*/ 87569 h 258982"/>
                    <a:gd name="connsiteX648" fmla="*/ 196947 w 308288"/>
                    <a:gd name="connsiteY648" fmla="*/ 87365 h 258982"/>
                    <a:gd name="connsiteX649" fmla="*/ 198120 w 308288"/>
                    <a:gd name="connsiteY649" fmla="*/ 88188 h 258982"/>
                    <a:gd name="connsiteX650" fmla="*/ 198894 w 308288"/>
                    <a:gd name="connsiteY650" fmla="*/ 89345 h 258982"/>
                    <a:gd name="connsiteX651" fmla="*/ 198976 w 308288"/>
                    <a:gd name="connsiteY651" fmla="*/ 90568 h 258982"/>
                    <a:gd name="connsiteX652" fmla="*/ 198422 w 308288"/>
                    <a:gd name="connsiteY652" fmla="*/ 92059 h 258982"/>
                    <a:gd name="connsiteX653" fmla="*/ 198357 w 308288"/>
                    <a:gd name="connsiteY653" fmla="*/ 93380 h 258982"/>
                    <a:gd name="connsiteX654" fmla="*/ 198780 w 308288"/>
                    <a:gd name="connsiteY654" fmla="*/ 94529 h 258982"/>
                    <a:gd name="connsiteX655" fmla="*/ 200223 w 308288"/>
                    <a:gd name="connsiteY655" fmla="*/ 95132 h 258982"/>
                    <a:gd name="connsiteX656" fmla="*/ 202692 w 308288"/>
                    <a:gd name="connsiteY656" fmla="*/ 95197 h 258982"/>
                    <a:gd name="connsiteX657" fmla="*/ 203996 w 308288"/>
                    <a:gd name="connsiteY657" fmla="*/ 95523 h 258982"/>
                    <a:gd name="connsiteX658" fmla="*/ 204461 w 308288"/>
                    <a:gd name="connsiteY658" fmla="*/ 96468 h 258982"/>
                    <a:gd name="connsiteX659" fmla="*/ 204966 w 308288"/>
                    <a:gd name="connsiteY659" fmla="*/ 96615 h 258982"/>
                    <a:gd name="connsiteX660" fmla="*/ 209481 w 308288"/>
                    <a:gd name="connsiteY660" fmla="*/ 97039 h 258982"/>
                    <a:gd name="connsiteX661" fmla="*/ 211168 w 308288"/>
                    <a:gd name="connsiteY661" fmla="*/ 97463 h 258982"/>
                    <a:gd name="connsiteX662" fmla="*/ 211681 w 308288"/>
                    <a:gd name="connsiteY662" fmla="*/ 98074 h 258982"/>
                    <a:gd name="connsiteX663" fmla="*/ 214477 w 308288"/>
                    <a:gd name="connsiteY663" fmla="*/ 98889 h 258982"/>
                    <a:gd name="connsiteX664" fmla="*/ 225226 w 308288"/>
                    <a:gd name="connsiteY664" fmla="*/ 100877 h 258982"/>
                    <a:gd name="connsiteX665" fmla="*/ 228470 w 308288"/>
                    <a:gd name="connsiteY665" fmla="*/ 100625 h 258982"/>
                    <a:gd name="connsiteX666" fmla="*/ 232822 w 308288"/>
                    <a:gd name="connsiteY666" fmla="*/ 99965 h 258982"/>
                    <a:gd name="connsiteX667" fmla="*/ 234199 w 308288"/>
                    <a:gd name="connsiteY667" fmla="*/ 101073 h 258982"/>
                    <a:gd name="connsiteX668" fmla="*/ 234827 w 308288"/>
                    <a:gd name="connsiteY668" fmla="*/ 101195 h 258982"/>
                    <a:gd name="connsiteX669" fmla="*/ 235837 w 308288"/>
                    <a:gd name="connsiteY669" fmla="*/ 101024 h 258982"/>
                    <a:gd name="connsiteX670" fmla="*/ 241974 w 308288"/>
                    <a:gd name="connsiteY670" fmla="*/ 100445 h 258982"/>
                    <a:gd name="connsiteX671" fmla="*/ 242772 w 308288"/>
                    <a:gd name="connsiteY671" fmla="*/ 101521 h 258982"/>
                    <a:gd name="connsiteX672" fmla="*/ 245796 w 308288"/>
                    <a:gd name="connsiteY672" fmla="*/ 102540 h 258982"/>
                    <a:gd name="connsiteX673" fmla="*/ 247785 w 308288"/>
                    <a:gd name="connsiteY673" fmla="*/ 102622 h 258982"/>
                    <a:gd name="connsiteX674" fmla="*/ 250360 w 308288"/>
                    <a:gd name="connsiteY674" fmla="*/ 102727 h 258982"/>
                    <a:gd name="connsiteX675" fmla="*/ 255209 w 308288"/>
                    <a:gd name="connsiteY675" fmla="*/ 103216 h 258982"/>
                    <a:gd name="connsiteX676" fmla="*/ 256383 w 308288"/>
                    <a:gd name="connsiteY676" fmla="*/ 103583 h 258982"/>
                    <a:gd name="connsiteX677" fmla="*/ 256472 w 308288"/>
                    <a:gd name="connsiteY677" fmla="*/ 104757 h 258982"/>
                    <a:gd name="connsiteX678" fmla="*/ 256480 w 308288"/>
                    <a:gd name="connsiteY678" fmla="*/ 105238 h 258982"/>
                    <a:gd name="connsiteX679" fmla="*/ 256847 w 308288"/>
                    <a:gd name="connsiteY679" fmla="*/ 105254 h 258982"/>
                    <a:gd name="connsiteX680" fmla="*/ 257426 w 308288"/>
                    <a:gd name="connsiteY680" fmla="*/ 104700 h 258982"/>
                    <a:gd name="connsiteX681" fmla="*/ 258379 w 308288"/>
                    <a:gd name="connsiteY681" fmla="*/ 104504 h 258982"/>
                    <a:gd name="connsiteX682" fmla="*/ 259056 w 308288"/>
                    <a:gd name="connsiteY682" fmla="*/ 103999 h 258982"/>
                    <a:gd name="connsiteX683" fmla="*/ 259439 w 308288"/>
                    <a:gd name="connsiteY683" fmla="*/ 103208 h 258982"/>
                    <a:gd name="connsiteX684" fmla="*/ 260205 w 308288"/>
                    <a:gd name="connsiteY684" fmla="*/ 103062 h 258982"/>
                    <a:gd name="connsiteX685" fmla="*/ 261957 w 308288"/>
                    <a:gd name="connsiteY685" fmla="*/ 104088 h 258982"/>
                    <a:gd name="connsiteX686" fmla="*/ 262030 w 308288"/>
                    <a:gd name="connsiteY686" fmla="*/ 104651 h 258982"/>
                    <a:gd name="connsiteX687" fmla="*/ 259585 w 308288"/>
                    <a:gd name="connsiteY687" fmla="*/ 105865 h 258982"/>
                    <a:gd name="connsiteX688" fmla="*/ 259854 w 308288"/>
                    <a:gd name="connsiteY688" fmla="*/ 106387 h 258982"/>
                    <a:gd name="connsiteX689" fmla="*/ 259993 w 308288"/>
                    <a:gd name="connsiteY689" fmla="*/ 106696 h 258982"/>
                    <a:gd name="connsiteX690" fmla="*/ 260653 w 308288"/>
                    <a:gd name="connsiteY690" fmla="*/ 106867 h 258982"/>
                    <a:gd name="connsiteX691" fmla="*/ 260710 w 308288"/>
                    <a:gd name="connsiteY691" fmla="*/ 107414 h 258982"/>
                    <a:gd name="connsiteX692" fmla="*/ 259912 w 308288"/>
                    <a:gd name="connsiteY692" fmla="*/ 108057 h 258982"/>
                    <a:gd name="connsiteX693" fmla="*/ 260669 w 308288"/>
                    <a:gd name="connsiteY693" fmla="*/ 108465 h 258982"/>
                    <a:gd name="connsiteX694" fmla="*/ 263008 w 308288"/>
                    <a:gd name="connsiteY694" fmla="*/ 107536 h 258982"/>
                    <a:gd name="connsiteX695" fmla="*/ 264320 w 308288"/>
                    <a:gd name="connsiteY695" fmla="*/ 107487 h 258982"/>
                    <a:gd name="connsiteX696" fmla="*/ 267939 w 308288"/>
                    <a:gd name="connsiteY696" fmla="*/ 108204 h 258982"/>
                    <a:gd name="connsiteX697" fmla="*/ 269593 w 308288"/>
                    <a:gd name="connsiteY697" fmla="*/ 108204 h 258982"/>
                    <a:gd name="connsiteX698" fmla="*/ 270579 w 308288"/>
                    <a:gd name="connsiteY698" fmla="*/ 107609 h 258982"/>
                    <a:gd name="connsiteX699" fmla="*/ 270726 w 308288"/>
                    <a:gd name="connsiteY699" fmla="*/ 107071 h 258982"/>
                    <a:gd name="connsiteX700" fmla="*/ 271166 w 308288"/>
                    <a:gd name="connsiteY700" fmla="*/ 106729 h 258982"/>
                    <a:gd name="connsiteX701" fmla="*/ 271460 w 308288"/>
                    <a:gd name="connsiteY701" fmla="*/ 106876 h 258982"/>
                    <a:gd name="connsiteX702" fmla="*/ 271566 w 308288"/>
                    <a:gd name="connsiteY702" fmla="*/ 107585 h 258982"/>
                    <a:gd name="connsiteX703" fmla="*/ 271500 w 308288"/>
                    <a:gd name="connsiteY703" fmla="*/ 108889 h 258982"/>
                    <a:gd name="connsiteX704" fmla="*/ 273065 w 308288"/>
                    <a:gd name="connsiteY704" fmla="*/ 109353 h 258982"/>
                    <a:gd name="connsiteX705" fmla="*/ 276268 w 308288"/>
                    <a:gd name="connsiteY705" fmla="*/ 108995 h 258982"/>
                    <a:gd name="connsiteX706" fmla="*/ 278191 w 308288"/>
                    <a:gd name="connsiteY706" fmla="*/ 109019 h 258982"/>
                    <a:gd name="connsiteX707" fmla="*/ 279992 w 308288"/>
                    <a:gd name="connsiteY707" fmla="*/ 109019 h 258982"/>
                    <a:gd name="connsiteX708" fmla="*/ 280310 w 308288"/>
                    <a:gd name="connsiteY708" fmla="*/ 109321 h 258982"/>
                    <a:gd name="connsiteX709" fmla="*/ 280767 w 308288"/>
                    <a:gd name="connsiteY709" fmla="*/ 110144 h 258982"/>
                    <a:gd name="connsiteX710" fmla="*/ 282128 w 308288"/>
                    <a:gd name="connsiteY710" fmla="*/ 111627 h 258982"/>
                    <a:gd name="connsiteX711" fmla="*/ 282584 w 308288"/>
                    <a:gd name="connsiteY711" fmla="*/ 112287 h 258982"/>
                    <a:gd name="connsiteX712" fmla="*/ 283008 w 308288"/>
                    <a:gd name="connsiteY712" fmla="*/ 113795 h 258982"/>
                    <a:gd name="connsiteX713" fmla="*/ 284002 w 308288"/>
                    <a:gd name="connsiteY713" fmla="*/ 114699 h 258982"/>
                    <a:gd name="connsiteX714" fmla="*/ 284328 w 308288"/>
                    <a:gd name="connsiteY714" fmla="*/ 115514 h 258982"/>
                    <a:gd name="connsiteX715" fmla="*/ 284385 w 308288"/>
                    <a:gd name="connsiteY715" fmla="*/ 116215 h 258982"/>
                    <a:gd name="connsiteX716" fmla="*/ 284687 w 308288"/>
                    <a:gd name="connsiteY716" fmla="*/ 116916 h 258982"/>
                    <a:gd name="connsiteX717" fmla="*/ 285583 w 308288"/>
                    <a:gd name="connsiteY717" fmla="*/ 118513 h 258982"/>
                    <a:gd name="connsiteX718" fmla="*/ 286757 w 308288"/>
                    <a:gd name="connsiteY718" fmla="*/ 119646 h 258982"/>
                    <a:gd name="connsiteX719" fmla="*/ 287392 w 308288"/>
                    <a:gd name="connsiteY719" fmla="*/ 120616 h 258982"/>
                    <a:gd name="connsiteX720" fmla="*/ 287621 w 308288"/>
                    <a:gd name="connsiteY720" fmla="*/ 121765 h 258982"/>
                    <a:gd name="connsiteX721" fmla="*/ 288248 w 308288"/>
                    <a:gd name="connsiteY721" fmla="*/ 122222 h 258982"/>
                    <a:gd name="connsiteX722" fmla="*/ 289267 w 308288"/>
                    <a:gd name="connsiteY722" fmla="*/ 121969 h 258982"/>
                    <a:gd name="connsiteX723" fmla="*/ 289699 w 308288"/>
                    <a:gd name="connsiteY723" fmla="*/ 121488 h 258982"/>
                    <a:gd name="connsiteX724" fmla="*/ 289633 w 308288"/>
                    <a:gd name="connsiteY724" fmla="*/ 120526 h 258982"/>
                    <a:gd name="connsiteX725" fmla="*/ 290017 w 308288"/>
                    <a:gd name="connsiteY725" fmla="*/ 120714 h 258982"/>
                    <a:gd name="connsiteX726" fmla="*/ 290644 w 308288"/>
                    <a:gd name="connsiteY726" fmla="*/ 122336 h 258982"/>
                    <a:gd name="connsiteX727" fmla="*/ 290571 w 308288"/>
                    <a:gd name="connsiteY727" fmla="*/ 124911 h 258982"/>
                    <a:gd name="connsiteX728" fmla="*/ 290734 w 308288"/>
                    <a:gd name="connsiteY728" fmla="*/ 126402 h 258982"/>
                    <a:gd name="connsiteX729" fmla="*/ 291614 w 308288"/>
                    <a:gd name="connsiteY729" fmla="*/ 128472 h 258982"/>
                    <a:gd name="connsiteX730" fmla="*/ 292788 w 308288"/>
                    <a:gd name="connsiteY730" fmla="*/ 129035 h 258982"/>
                    <a:gd name="connsiteX731" fmla="*/ 293578 w 308288"/>
                    <a:gd name="connsiteY731" fmla="*/ 129850 h 258982"/>
                    <a:gd name="connsiteX732" fmla="*/ 295892 w 308288"/>
                    <a:gd name="connsiteY732" fmla="*/ 130420 h 258982"/>
                    <a:gd name="connsiteX733" fmla="*/ 296129 w 308288"/>
                    <a:gd name="connsiteY733" fmla="*/ 130257 h 258982"/>
                    <a:gd name="connsiteX734" fmla="*/ 295689 w 308288"/>
                    <a:gd name="connsiteY734" fmla="*/ 128913 h 258982"/>
                    <a:gd name="connsiteX735" fmla="*/ 295917 w 308288"/>
                    <a:gd name="connsiteY735" fmla="*/ 128562 h 258982"/>
                    <a:gd name="connsiteX736" fmla="*/ 296691 w 308288"/>
                    <a:gd name="connsiteY736" fmla="*/ 128481 h 258982"/>
                    <a:gd name="connsiteX737" fmla="*/ 298011 w 308288"/>
                    <a:gd name="connsiteY737" fmla="*/ 128668 h 258982"/>
                    <a:gd name="connsiteX738" fmla="*/ 298867 w 308288"/>
                    <a:gd name="connsiteY738" fmla="*/ 129328 h 258982"/>
                    <a:gd name="connsiteX739" fmla="*/ 299266 w 308288"/>
                    <a:gd name="connsiteY739" fmla="*/ 130461 h 258982"/>
                    <a:gd name="connsiteX740" fmla="*/ 299055 w 308288"/>
                    <a:gd name="connsiteY740" fmla="*/ 131920 h 258982"/>
                    <a:gd name="connsiteX741" fmla="*/ 297522 w 308288"/>
                    <a:gd name="connsiteY741" fmla="*/ 133395 h 258982"/>
                    <a:gd name="connsiteX742" fmla="*/ 297286 w 308288"/>
                    <a:gd name="connsiteY742" fmla="*/ 134658 h 258982"/>
                    <a:gd name="connsiteX743" fmla="*/ 297628 w 308288"/>
                    <a:gd name="connsiteY743" fmla="*/ 135440 h 258982"/>
                    <a:gd name="connsiteX744" fmla="*/ 298011 w 308288"/>
                    <a:gd name="connsiteY744" fmla="*/ 135587 h 258982"/>
                    <a:gd name="connsiteX745" fmla="*/ 298435 w 308288"/>
                    <a:gd name="connsiteY745" fmla="*/ 135090 h 258982"/>
                    <a:gd name="connsiteX746" fmla="*/ 299071 w 308288"/>
                    <a:gd name="connsiteY746" fmla="*/ 135334 h 258982"/>
                    <a:gd name="connsiteX747" fmla="*/ 299919 w 308288"/>
                    <a:gd name="connsiteY747" fmla="*/ 136321 h 258982"/>
                    <a:gd name="connsiteX748" fmla="*/ 300138 w 308288"/>
                    <a:gd name="connsiteY748" fmla="*/ 137111 h 258982"/>
                    <a:gd name="connsiteX749" fmla="*/ 299739 w 308288"/>
                    <a:gd name="connsiteY749" fmla="*/ 137714 h 258982"/>
                    <a:gd name="connsiteX750" fmla="*/ 298232 w 308288"/>
                    <a:gd name="connsiteY750" fmla="*/ 138056 h 258982"/>
                    <a:gd name="connsiteX751" fmla="*/ 298166 w 308288"/>
                    <a:gd name="connsiteY751" fmla="*/ 138660 h 258982"/>
                    <a:gd name="connsiteX752" fmla="*/ 299764 w 308288"/>
                    <a:gd name="connsiteY752" fmla="*/ 139972 h 258982"/>
                    <a:gd name="connsiteX753" fmla="*/ 301002 w 308288"/>
                    <a:gd name="connsiteY753" fmla="*/ 141716 h 258982"/>
                    <a:gd name="connsiteX754" fmla="*/ 301638 w 308288"/>
                    <a:gd name="connsiteY754" fmla="*/ 141895 h 258982"/>
                    <a:gd name="connsiteX755" fmla="*/ 301989 w 308288"/>
                    <a:gd name="connsiteY755" fmla="*/ 142457 h 258982"/>
                    <a:gd name="connsiteX756" fmla="*/ 302070 w 308288"/>
                    <a:gd name="connsiteY756" fmla="*/ 143395 h 258982"/>
                    <a:gd name="connsiteX757" fmla="*/ 302730 w 308288"/>
                    <a:gd name="connsiteY757" fmla="*/ 144022 h 258982"/>
                    <a:gd name="connsiteX758" fmla="*/ 304564 w 308288"/>
                    <a:gd name="connsiteY758" fmla="*/ 144723 h 258982"/>
                    <a:gd name="connsiteX759" fmla="*/ 305265 w 308288"/>
                    <a:gd name="connsiteY759" fmla="*/ 146532 h 258982"/>
                    <a:gd name="connsiteX760" fmla="*/ 305640 w 308288"/>
                    <a:gd name="connsiteY760" fmla="*/ 147600 h 258982"/>
                    <a:gd name="connsiteX761" fmla="*/ 305965 w 308288"/>
                    <a:gd name="connsiteY761" fmla="*/ 148822 h 258982"/>
                    <a:gd name="connsiteX762" fmla="*/ 306512 w 308288"/>
                    <a:gd name="connsiteY762" fmla="*/ 148961 h 258982"/>
                    <a:gd name="connsiteX763" fmla="*/ 306927 w 308288"/>
                    <a:gd name="connsiteY763" fmla="*/ 148382 h 258982"/>
                    <a:gd name="connsiteX764" fmla="*/ 306935 w 308288"/>
                    <a:gd name="connsiteY764" fmla="*/ 147298 h 258982"/>
                    <a:gd name="connsiteX765" fmla="*/ 307840 w 308288"/>
                    <a:gd name="connsiteY765" fmla="*/ 146866 h 258982"/>
                    <a:gd name="connsiteX766" fmla="*/ 307930 w 308288"/>
                    <a:gd name="connsiteY766" fmla="*/ 147437 h 258982"/>
                    <a:gd name="connsiteX767" fmla="*/ 307408 w 308288"/>
                    <a:gd name="connsiteY767" fmla="*/ 148757 h 258982"/>
                    <a:gd name="connsiteX768" fmla="*/ 307530 w 308288"/>
                    <a:gd name="connsiteY768" fmla="*/ 149808 h 258982"/>
                    <a:gd name="connsiteX769" fmla="*/ 308288 w 308288"/>
                    <a:gd name="connsiteY769" fmla="*/ 150591 h 258982"/>
                    <a:gd name="connsiteX770" fmla="*/ 307310 w 308288"/>
                    <a:gd name="connsiteY770" fmla="*/ 150868 h 258982"/>
                    <a:gd name="connsiteX771" fmla="*/ 304596 w 308288"/>
                    <a:gd name="connsiteY771" fmla="*/ 150623 h 258982"/>
                    <a:gd name="connsiteX772" fmla="*/ 303374 w 308288"/>
                    <a:gd name="connsiteY772" fmla="*/ 149556 h 258982"/>
                    <a:gd name="connsiteX773" fmla="*/ 302999 w 308288"/>
                    <a:gd name="connsiteY773" fmla="*/ 149173 h 258982"/>
                    <a:gd name="connsiteX774" fmla="*/ 302160 w 308288"/>
                    <a:gd name="connsiteY774" fmla="*/ 149050 h 258982"/>
                    <a:gd name="connsiteX775" fmla="*/ 301907 w 308288"/>
                    <a:gd name="connsiteY775" fmla="*/ 148676 h 258982"/>
                    <a:gd name="connsiteX776" fmla="*/ 302274 w 308288"/>
                    <a:gd name="connsiteY776" fmla="*/ 147592 h 258982"/>
                    <a:gd name="connsiteX777" fmla="*/ 302046 w 308288"/>
                    <a:gd name="connsiteY777" fmla="*/ 147298 h 258982"/>
                    <a:gd name="connsiteX778" fmla="*/ 300375 w 308288"/>
                    <a:gd name="connsiteY778" fmla="*/ 147551 h 258982"/>
                    <a:gd name="connsiteX779" fmla="*/ 298688 w 308288"/>
                    <a:gd name="connsiteY779" fmla="*/ 148333 h 258982"/>
                    <a:gd name="connsiteX780" fmla="*/ 297604 w 308288"/>
                    <a:gd name="connsiteY780" fmla="*/ 149279 h 258982"/>
                    <a:gd name="connsiteX781" fmla="*/ 297612 w 308288"/>
                    <a:gd name="connsiteY781" fmla="*/ 150371 h 258982"/>
                    <a:gd name="connsiteX782" fmla="*/ 298337 w 308288"/>
                    <a:gd name="connsiteY782" fmla="*/ 151504 h 258982"/>
                    <a:gd name="connsiteX783" fmla="*/ 299764 w 308288"/>
                    <a:gd name="connsiteY783" fmla="*/ 152685 h 258982"/>
                    <a:gd name="connsiteX784" fmla="*/ 300350 w 308288"/>
                    <a:gd name="connsiteY784" fmla="*/ 154690 h 258982"/>
                    <a:gd name="connsiteX785" fmla="*/ 300090 w 308288"/>
                    <a:gd name="connsiteY785" fmla="*/ 157510 h 258982"/>
                    <a:gd name="connsiteX786" fmla="*/ 299372 w 308288"/>
                    <a:gd name="connsiteY786" fmla="*/ 159409 h 258982"/>
                    <a:gd name="connsiteX787" fmla="*/ 298183 w 308288"/>
                    <a:gd name="connsiteY787" fmla="*/ 160387 h 258982"/>
                    <a:gd name="connsiteX788" fmla="*/ 294686 w 308288"/>
                    <a:gd name="connsiteY788" fmla="*/ 159678 h 258982"/>
                    <a:gd name="connsiteX789" fmla="*/ 288876 w 308288"/>
                    <a:gd name="connsiteY789" fmla="*/ 157290 h 258982"/>
                    <a:gd name="connsiteX790" fmla="*/ 285583 w 308288"/>
                    <a:gd name="connsiteY790" fmla="*/ 155163 h 258982"/>
                    <a:gd name="connsiteX791" fmla="*/ 284181 w 308288"/>
                    <a:gd name="connsiteY791" fmla="*/ 152270 h 258982"/>
                    <a:gd name="connsiteX792" fmla="*/ 283668 w 308288"/>
                    <a:gd name="connsiteY792" fmla="*/ 152074 h 258982"/>
                    <a:gd name="connsiteX793" fmla="*/ 280701 w 308288"/>
                    <a:gd name="connsiteY793" fmla="*/ 153011 h 258982"/>
                    <a:gd name="connsiteX794" fmla="*/ 279112 w 308288"/>
                    <a:gd name="connsiteY794" fmla="*/ 154209 h 258982"/>
                    <a:gd name="connsiteX795" fmla="*/ 277735 w 308288"/>
                    <a:gd name="connsiteY795" fmla="*/ 155904 h 258982"/>
                    <a:gd name="connsiteX796" fmla="*/ 277344 w 308288"/>
                    <a:gd name="connsiteY796" fmla="*/ 155375 h 258982"/>
                    <a:gd name="connsiteX797" fmla="*/ 277947 w 308288"/>
                    <a:gd name="connsiteY797" fmla="*/ 152604 h 258982"/>
                    <a:gd name="connsiteX798" fmla="*/ 278191 w 308288"/>
                    <a:gd name="connsiteY798" fmla="*/ 150884 h 258982"/>
                    <a:gd name="connsiteX799" fmla="*/ 278093 w 308288"/>
                    <a:gd name="connsiteY799" fmla="*/ 150191 h 258982"/>
                    <a:gd name="connsiteX800" fmla="*/ 277499 w 308288"/>
                    <a:gd name="connsiteY800" fmla="*/ 149637 h 258982"/>
                    <a:gd name="connsiteX801" fmla="*/ 276406 w 308288"/>
                    <a:gd name="connsiteY801" fmla="*/ 149205 h 258982"/>
                    <a:gd name="connsiteX802" fmla="*/ 274948 w 308288"/>
                    <a:gd name="connsiteY802" fmla="*/ 149442 h 258982"/>
                    <a:gd name="connsiteX803" fmla="*/ 272764 w 308288"/>
                    <a:gd name="connsiteY803" fmla="*/ 150737 h 258982"/>
                    <a:gd name="connsiteX804" fmla="*/ 272266 w 308288"/>
                    <a:gd name="connsiteY804" fmla="*/ 150583 h 258982"/>
                    <a:gd name="connsiteX805" fmla="*/ 272323 w 308288"/>
                    <a:gd name="connsiteY805" fmla="*/ 150134 h 258982"/>
                    <a:gd name="connsiteX806" fmla="*/ 274589 w 308288"/>
                    <a:gd name="connsiteY806" fmla="*/ 148015 h 258982"/>
                    <a:gd name="connsiteX807" fmla="*/ 275331 w 308288"/>
                    <a:gd name="connsiteY807" fmla="*/ 146842 h 258982"/>
                    <a:gd name="connsiteX808" fmla="*/ 275339 w 308288"/>
                    <a:gd name="connsiteY808" fmla="*/ 145774 h 258982"/>
                    <a:gd name="connsiteX809" fmla="*/ 275673 w 308288"/>
                    <a:gd name="connsiteY809" fmla="*/ 144804 h 258982"/>
                    <a:gd name="connsiteX810" fmla="*/ 276325 w 308288"/>
                    <a:gd name="connsiteY810" fmla="*/ 143949 h 258982"/>
                    <a:gd name="connsiteX811" fmla="*/ 276162 w 308288"/>
                    <a:gd name="connsiteY811" fmla="*/ 143566 h 258982"/>
                    <a:gd name="connsiteX812" fmla="*/ 275184 w 308288"/>
                    <a:gd name="connsiteY812" fmla="*/ 143647 h 258982"/>
                    <a:gd name="connsiteX813" fmla="*/ 274687 w 308288"/>
                    <a:gd name="connsiteY813" fmla="*/ 144014 h 258982"/>
                    <a:gd name="connsiteX814" fmla="*/ 273644 w 308288"/>
                    <a:gd name="connsiteY814" fmla="*/ 145530 h 258982"/>
                    <a:gd name="connsiteX815" fmla="*/ 272160 w 308288"/>
                    <a:gd name="connsiteY815" fmla="*/ 145391 h 258982"/>
                    <a:gd name="connsiteX816" fmla="*/ 271973 w 308288"/>
                    <a:gd name="connsiteY816" fmla="*/ 145041 h 258982"/>
                    <a:gd name="connsiteX817" fmla="*/ 272372 w 308288"/>
                    <a:gd name="connsiteY817" fmla="*/ 144177 h 258982"/>
                    <a:gd name="connsiteX818" fmla="*/ 272046 w 308288"/>
                    <a:gd name="connsiteY818" fmla="*/ 143631 h 258982"/>
                    <a:gd name="connsiteX819" fmla="*/ 271003 w 308288"/>
                    <a:gd name="connsiteY819" fmla="*/ 143411 h 258982"/>
                    <a:gd name="connsiteX820" fmla="*/ 270669 w 308288"/>
                    <a:gd name="connsiteY820" fmla="*/ 142417 h 258982"/>
                    <a:gd name="connsiteX821" fmla="*/ 270327 w 308288"/>
                    <a:gd name="connsiteY821" fmla="*/ 142205 h 258982"/>
                    <a:gd name="connsiteX822" fmla="*/ 269039 w 308288"/>
                    <a:gd name="connsiteY822" fmla="*/ 141520 h 258982"/>
                    <a:gd name="connsiteX823" fmla="*/ 268917 w 308288"/>
                    <a:gd name="connsiteY823" fmla="*/ 139662 h 258982"/>
                    <a:gd name="connsiteX824" fmla="*/ 268477 w 308288"/>
                    <a:gd name="connsiteY824" fmla="*/ 138162 h 258982"/>
                    <a:gd name="connsiteX825" fmla="*/ 267719 w 308288"/>
                    <a:gd name="connsiteY825" fmla="*/ 137021 h 258982"/>
                    <a:gd name="connsiteX826" fmla="*/ 267637 w 308288"/>
                    <a:gd name="connsiteY826" fmla="*/ 135881 h 258982"/>
                    <a:gd name="connsiteX827" fmla="*/ 268395 w 308288"/>
                    <a:gd name="connsiteY827" fmla="*/ 134030 h 258982"/>
                    <a:gd name="connsiteX828" fmla="*/ 268110 w 308288"/>
                    <a:gd name="connsiteY828" fmla="*/ 133770 h 258982"/>
                    <a:gd name="connsiteX829" fmla="*/ 265551 w 308288"/>
                    <a:gd name="connsiteY829" fmla="*/ 133525 h 258982"/>
                    <a:gd name="connsiteX830" fmla="*/ 260694 w 308288"/>
                    <a:gd name="connsiteY830" fmla="*/ 133305 h 258982"/>
                    <a:gd name="connsiteX831" fmla="*/ 258167 w 308288"/>
                    <a:gd name="connsiteY831" fmla="*/ 133680 h 258982"/>
                    <a:gd name="connsiteX832" fmla="*/ 257955 w 308288"/>
                    <a:gd name="connsiteY832" fmla="*/ 134658 h 258982"/>
                    <a:gd name="connsiteX833" fmla="*/ 258526 w 308288"/>
                    <a:gd name="connsiteY833" fmla="*/ 135383 h 258982"/>
                    <a:gd name="connsiteX834" fmla="*/ 259871 w 308288"/>
                    <a:gd name="connsiteY834" fmla="*/ 135864 h 258982"/>
                    <a:gd name="connsiteX835" fmla="*/ 260824 w 308288"/>
                    <a:gd name="connsiteY835" fmla="*/ 136679 h 258982"/>
                    <a:gd name="connsiteX836" fmla="*/ 261142 w 308288"/>
                    <a:gd name="connsiteY836" fmla="*/ 137396 h 258982"/>
                    <a:gd name="connsiteX837" fmla="*/ 262030 w 308288"/>
                    <a:gd name="connsiteY837" fmla="*/ 138114 h 258982"/>
                    <a:gd name="connsiteX838" fmla="*/ 263074 w 308288"/>
                    <a:gd name="connsiteY838" fmla="*/ 139646 h 258982"/>
                    <a:gd name="connsiteX839" fmla="*/ 264263 w 308288"/>
                    <a:gd name="connsiteY839" fmla="*/ 141968 h 258982"/>
                    <a:gd name="connsiteX840" fmla="*/ 265152 w 308288"/>
                    <a:gd name="connsiteY840" fmla="*/ 142938 h 258982"/>
                    <a:gd name="connsiteX841" fmla="*/ 266105 w 308288"/>
                    <a:gd name="connsiteY841" fmla="*/ 143052 h 258982"/>
                    <a:gd name="connsiteX842" fmla="*/ 266643 w 308288"/>
                    <a:gd name="connsiteY842" fmla="*/ 143281 h 258982"/>
                    <a:gd name="connsiteX843" fmla="*/ 266570 w 308288"/>
                    <a:gd name="connsiteY843" fmla="*/ 145620 h 258982"/>
                    <a:gd name="connsiteX844" fmla="*/ 267002 w 308288"/>
                    <a:gd name="connsiteY844" fmla="*/ 147054 h 258982"/>
                    <a:gd name="connsiteX845" fmla="*/ 268020 w 308288"/>
                    <a:gd name="connsiteY845" fmla="*/ 148382 h 258982"/>
                    <a:gd name="connsiteX846" fmla="*/ 268558 w 308288"/>
                    <a:gd name="connsiteY846" fmla="*/ 149857 h 258982"/>
                    <a:gd name="connsiteX847" fmla="*/ 268501 w 308288"/>
                    <a:gd name="connsiteY847" fmla="*/ 152433 h 258982"/>
                    <a:gd name="connsiteX848" fmla="*/ 268575 w 308288"/>
                    <a:gd name="connsiteY848" fmla="*/ 154975 h 258982"/>
                    <a:gd name="connsiteX849" fmla="*/ 268086 w 308288"/>
                    <a:gd name="connsiteY849" fmla="*/ 156622 h 258982"/>
                    <a:gd name="connsiteX850" fmla="*/ 266733 w 308288"/>
                    <a:gd name="connsiteY850" fmla="*/ 158520 h 258982"/>
                    <a:gd name="connsiteX851" fmla="*/ 265869 w 308288"/>
                    <a:gd name="connsiteY851" fmla="*/ 160110 h 258982"/>
                    <a:gd name="connsiteX852" fmla="*/ 265486 w 308288"/>
                    <a:gd name="connsiteY852" fmla="*/ 161381 h 258982"/>
                    <a:gd name="connsiteX853" fmla="*/ 264769 w 308288"/>
                    <a:gd name="connsiteY853" fmla="*/ 162220 h 258982"/>
                    <a:gd name="connsiteX854" fmla="*/ 263701 w 308288"/>
                    <a:gd name="connsiteY854" fmla="*/ 162636 h 258982"/>
                    <a:gd name="connsiteX855" fmla="*/ 262601 w 308288"/>
                    <a:gd name="connsiteY855" fmla="*/ 163533 h 258982"/>
                    <a:gd name="connsiteX856" fmla="*/ 261452 w 308288"/>
                    <a:gd name="connsiteY856" fmla="*/ 164902 h 258982"/>
                    <a:gd name="connsiteX857" fmla="*/ 260710 w 308288"/>
                    <a:gd name="connsiteY857" fmla="*/ 166605 h 258982"/>
                    <a:gd name="connsiteX858" fmla="*/ 260368 w 308288"/>
                    <a:gd name="connsiteY858" fmla="*/ 168642 h 258982"/>
                    <a:gd name="connsiteX859" fmla="*/ 259431 w 308288"/>
                    <a:gd name="connsiteY859" fmla="*/ 170737 h 258982"/>
                    <a:gd name="connsiteX860" fmla="*/ 257898 w 308288"/>
                    <a:gd name="connsiteY860" fmla="*/ 172888 h 258982"/>
                    <a:gd name="connsiteX861" fmla="*/ 257312 w 308288"/>
                    <a:gd name="connsiteY861" fmla="*/ 175341 h 258982"/>
                    <a:gd name="connsiteX862" fmla="*/ 257654 w 308288"/>
                    <a:gd name="connsiteY862" fmla="*/ 178088 h 258982"/>
                    <a:gd name="connsiteX863" fmla="*/ 257703 w 308288"/>
                    <a:gd name="connsiteY863" fmla="*/ 189897 h 258982"/>
                    <a:gd name="connsiteX864" fmla="*/ 257980 w 308288"/>
                    <a:gd name="connsiteY864" fmla="*/ 192831 h 258982"/>
                    <a:gd name="connsiteX865" fmla="*/ 257793 w 308288"/>
                    <a:gd name="connsiteY865" fmla="*/ 195724 h 258982"/>
                    <a:gd name="connsiteX866" fmla="*/ 257132 w 308288"/>
                    <a:gd name="connsiteY866" fmla="*/ 198593 h 258982"/>
                    <a:gd name="connsiteX867" fmla="*/ 256008 w 308288"/>
                    <a:gd name="connsiteY867" fmla="*/ 200826 h 258982"/>
                    <a:gd name="connsiteX868" fmla="*/ 254435 w 308288"/>
                    <a:gd name="connsiteY868" fmla="*/ 202456 h 258982"/>
                    <a:gd name="connsiteX869" fmla="*/ 252870 w 308288"/>
                    <a:gd name="connsiteY869" fmla="*/ 203654 h 258982"/>
                    <a:gd name="connsiteX870" fmla="*/ 251313 w 308288"/>
                    <a:gd name="connsiteY870" fmla="*/ 204420 h 258982"/>
                    <a:gd name="connsiteX871" fmla="*/ 249855 w 308288"/>
                    <a:gd name="connsiteY871" fmla="*/ 205724 h 258982"/>
                    <a:gd name="connsiteX872" fmla="*/ 248494 w 308288"/>
                    <a:gd name="connsiteY872" fmla="*/ 207557 h 258982"/>
                    <a:gd name="connsiteX873" fmla="*/ 246187 w 308288"/>
                    <a:gd name="connsiteY873" fmla="*/ 209212 h 258982"/>
                    <a:gd name="connsiteX874" fmla="*/ 242936 w 308288"/>
                    <a:gd name="connsiteY874" fmla="*/ 210654 h 258982"/>
                    <a:gd name="connsiteX875" fmla="*/ 240336 w 308288"/>
                    <a:gd name="connsiteY875" fmla="*/ 211551 h 258982"/>
                    <a:gd name="connsiteX876" fmla="*/ 239969 w 308288"/>
                    <a:gd name="connsiteY876" fmla="*/ 210825 h 258982"/>
                    <a:gd name="connsiteX877" fmla="*/ 239244 w 308288"/>
                    <a:gd name="connsiteY877" fmla="*/ 209350 h 258982"/>
                    <a:gd name="connsiteX878" fmla="*/ 237883 w 308288"/>
                    <a:gd name="connsiteY878" fmla="*/ 202472 h 258982"/>
                    <a:gd name="connsiteX879" fmla="*/ 235878 w 308288"/>
                    <a:gd name="connsiteY879" fmla="*/ 190166 h 258982"/>
                    <a:gd name="connsiteX880" fmla="*/ 234232 w 308288"/>
                    <a:gd name="connsiteY880" fmla="*/ 182521 h 258982"/>
                    <a:gd name="connsiteX881" fmla="*/ 232920 w 308288"/>
                    <a:gd name="connsiteY881" fmla="*/ 179571 h 258982"/>
                    <a:gd name="connsiteX882" fmla="*/ 231143 w 308288"/>
                    <a:gd name="connsiteY882" fmla="*/ 177322 h 258982"/>
                    <a:gd name="connsiteX883" fmla="*/ 228894 w 308288"/>
                    <a:gd name="connsiteY883" fmla="*/ 175790 h 258982"/>
                    <a:gd name="connsiteX884" fmla="*/ 227190 w 308288"/>
                    <a:gd name="connsiteY884" fmla="*/ 175113 h 258982"/>
                    <a:gd name="connsiteX885" fmla="*/ 226009 w 308288"/>
                    <a:gd name="connsiteY885" fmla="*/ 175317 h 258982"/>
                    <a:gd name="connsiteX886" fmla="*/ 224158 w 308288"/>
                    <a:gd name="connsiteY886" fmla="*/ 176564 h 258982"/>
                    <a:gd name="connsiteX887" fmla="*/ 220687 w 308288"/>
                    <a:gd name="connsiteY887" fmla="*/ 177664 h 258982"/>
                    <a:gd name="connsiteX888" fmla="*/ 219269 w 308288"/>
                    <a:gd name="connsiteY888" fmla="*/ 178390 h 258982"/>
                    <a:gd name="connsiteX889" fmla="*/ 218446 w 308288"/>
                    <a:gd name="connsiteY889" fmla="*/ 179359 h 258982"/>
                    <a:gd name="connsiteX890" fmla="*/ 217484 w 308288"/>
                    <a:gd name="connsiteY890" fmla="*/ 179922 h 258982"/>
                    <a:gd name="connsiteX891" fmla="*/ 216392 w 308288"/>
                    <a:gd name="connsiteY891" fmla="*/ 180093 h 258982"/>
                    <a:gd name="connsiteX892" fmla="*/ 216270 w 308288"/>
                    <a:gd name="connsiteY892" fmla="*/ 180354 h 258982"/>
                    <a:gd name="connsiteX893" fmla="*/ 217125 w 308288"/>
                    <a:gd name="connsiteY893" fmla="*/ 180712 h 258982"/>
                    <a:gd name="connsiteX894" fmla="*/ 217125 w 308288"/>
                    <a:gd name="connsiteY894" fmla="*/ 181649 h 258982"/>
                    <a:gd name="connsiteX895" fmla="*/ 214754 w 308288"/>
                    <a:gd name="connsiteY895" fmla="*/ 185773 h 258982"/>
                    <a:gd name="connsiteX896" fmla="*/ 214754 w 308288"/>
                    <a:gd name="connsiteY896" fmla="*/ 185773 h 258982"/>
                    <a:gd name="connsiteX897" fmla="*/ 214754 w 308288"/>
                    <a:gd name="connsiteY897" fmla="*/ 185773 h 258982"/>
                    <a:gd name="connsiteX898" fmla="*/ 214754 w 308288"/>
                    <a:gd name="connsiteY898" fmla="*/ 185773 h 258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Lst>
                  <a:rect l="l" t="t" r="r" b="b"/>
                  <a:pathLst>
                    <a:path w="308288" h="258982">
                      <a:moveTo>
                        <a:pt x="214754" y="185773"/>
                      </a:moveTo>
                      <a:lnTo>
                        <a:pt x="214216" y="186735"/>
                      </a:lnTo>
                      <a:lnTo>
                        <a:pt x="212806" y="187077"/>
                      </a:lnTo>
                      <a:lnTo>
                        <a:pt x="211632" y="187900"/>
                      </a:lnTo>
                      <a:lnTo>
                        <a:pt x="210426" y="190019"/>
                      </a:lnTo>
                      <a:lnTo>
                        <a:pt x="209277" y="190549"/>
                      </a:lnTo>
                      <a:lnTo>
                        <a:pt x="207607" y="190353"/>
                      </a:lnTo>
                      <a:lnTo>
                        <a:pt x="204811" y="189074"/>
                      </a:lnTo>
                      <a:lnTo>
                        <a:pt x="203132" y="187794"/>
                      </a:lnTo>
                      <a:lnTo>
                        <a:pt x="202578" y="186507"/>
                      </a:lnTo>
                      <a:lnTo>
                        <a:pt x="202546" y="184966"/>
                      </a:lnTo>
                      <a:lnTo>
                        <a:pt x="203042" y="183157"/>
                      </a:lnTo>
                      <a:lnTo>
                        <a:pt x="202994" y="181706"/>
                      </a:lnTo>
                      <a:lnTo>
                        <a:pt x="204045" y="178683"/>
                      </a:lnTo>
                      <a:lnTo>
                        <a:pt x="205471" y="177599"/>
                      </a:lnTo>
                      <a:lnTo>
                        <a:pt x="207541" y="177355"/>
                      </a:lnTo>
                      <a:lnTo>
                        <a:pt x="208690" y="176866"/>
                      </a:lnTo>
                      <a:lnTo>
                        <a:pt x="208910" y="176157"/>
                      </a:lnTo>
                      <a:lnTo>
                        <a:pt x="209554" y="175643"/>
                      </a:lnTo>
                      <a:lnTo>
                        <a:pt x="210614" y="175350"/>
                      </a:lnTo>
                      <a:lnTo>
                        <a:pt x="211518" y="173426"/>
                      </a:lnTo>
                      <a:lnTo>
                        <a:pt x="212260" y="169889"/>
                      </a:lnTo>
                      <a:lnTo>
                        <a:pt x="213132" y="167942"/>
                      </a:lnTo>
                      <a:lnTo>
                        <a:pt x="213751" y="167599"/>
                      </a:lnTo>
                      <a:lnTo>
                        <a:pt x="214330" y="167713"/>
                      </a:lnTo>
                      <a:lnTo>
                        <a:pt x="214362" y="168145"/>
                      </a:lnTo>
                      <a:lnTo>
                        <a:pt x="216759" y="165871"/>
                      </a:lnTo>
                      <a:lnTo>
                        <a:pt x="217639" y="164299"/>
                      </a:lnTo>
                      <a:lnTo>
                        <a:pt x="217688" y="162677"/>
                      </a:lnTo>
                      <a:lnTo>
                        <a:pt x="217916" y="157950"/>
                      </a:lnTo>
                      <a:lnTo>
                        <a:pt x="218193" y="154902"/>
                      </a:lnTo>
                      <a:lnTo>
                        <a:pt x="218535" y="153517"/>
                      </a:lnTo>
                      <a:lnTo>
                        <a:pt x="218405" y="149947"/>
                      </a:lnTo>
                      <a:lnTo>
                        <a:pt x="217704" y="146997"/>
                      </a:lnTo>
                      <a:lnTo>
                        <a:pt x="215015" y="143769"/>
                      </a:lnTo>
                      <a:lnTo>
                        <a:pt x="214632" y="142702"/>
                      </a:lnTo>
                      <a:lnTo>
                        <a:pt x="214713" y="141553"/>
                      </a:lnTo>
                      <a:lnTo>
                        <a:pt x="215267" y="140355"/>
                      </a:lnTo>
                      <a:lnTo>
                        <a:pt x="216457" y="140078"/>
                      </a:lnTo>
                      <a:lnTo>
                        <a:pt x="218560" y="141015"/>
                      </a:lnTo>
                      <a:lnTo>
                        <a:pt x="218910" y="140787"/>
                      </a:lnTo>
                      <a:lnTo>
                        <a:pt x="218323" y="140249"/>
                      </a:lnTo>
                      <a:lnTo>
                        <a:pt x="217981" y="139165"/>
                      </a:lnTo>
                      <a:lnTo>
                        <a:pt x="217875" y="137559"/>
                      </a:lnTo>
                      <a:lnTo>
                        <a:pt x="217606" y="136671"/>
                      </a:lnTo>
                      <a:lnTo>
                        <a:pt x="217158" y="136508"/>
                      </a:lnTo>
                      <a:lnTo>
                        <a:pt x="215993" y="134666"/>
                      </a:lnTo>
                      <a:lnTo>
                        <a:pt x="215829" y="133721"/>
                      </a:lnTo>
                      <a:lnTo>
                        <a:pt x="215968" y="132833"/>
                      </a:lnTo>
                      <a:lnTo>
                        <a:pt x="215520" y="131936"/>
                      </a:lnTo>
                      <a:lnTo>
                        <a:pt x="213955" y="130542"/>
                      </a:lnTo>
                      <a:lnTo>
                        <a:pt x="211103" y="129116"/>
                      </a:lnTo>
                      <a:lnTo>
                        <a:pt x="204281" y="126402"/>
                      </a:lnTo>
                      <a:lnTo>
                        <a:pt x="203059" y="125359"/>
                      </a:lnTo>
                      <a:lnTo>
                        <a:pt x="201364" y="124740"/>
                      </a:lnTo>
                      <a:lnTo>
                        <a:pt x="199220" y="124552"/>
                      </a:lnTo>
                      <a:lnTo>
                        <a:pt x="197859" y="123729"/>
                      </a:lnTo>
                      <a:lnTo>
                        <a:pt x="197281" y="122270"/>
                      </a:lnTo>
                      <a:lnTo>
                        <a:pt x="196335" y="120958"/>
                      </a:lnTo>
                      <a:lnTo>
                        <a:pt x="195015" y="119785"/>
                      </a:lnTo>
                      <a:lnTo>
                        <a:pt x="192937" y="119011"/>
                      </a:lnTo>
                      <a:lnTo>
                        <a:pt x="190076" y="118660"/>
                      </a:lnTo>
                      <a:lnTo>
                        <a:pt x="187061" y="117389"/>
                      </a:lnTo>
                      <a:lnTo>
                        <a:pt x="183883" y="115221"/>
                      </a:lnTo>
                      <a:lnTo>
                        <a:pt x="181870" y="114479"/>
                      </a:lnTo>
                      <a:lnTo>
                        <a:pt x="181022" y="115172"/>
                      </a:lnTo>
                      <a:lnTo>
                        <a:pt x="179531" y="115400"/>
                      </a:lnTo>
                      <a:lnTo>
                        <a:pt x="177412" y="115164"/>
                      </a:lnTo>
                      <a:lnTo>
                        <a:pt x="176670" y="115457"/>
                      </a:lnTo>
                      <a:lnTo>
                        <a:pt x="177314" y="116297"/>
                      </a:lnTo>
                      <a:lnTo>
                        <a:pt x="176768" y="117592"/>
                      </a:lnTo>
                      <a:lnTo>
                        <a:pt x="175040" y="119361"/>
                      </a:lnTo>
                      <a:lnTo>
                        <a:pt x="174029" y="121162"/>
                      </a:lnTo>
                      <a:lnTo>
                        <a:pt x="173761" y="122996"/>
                      </a:lnTo>
                      <a:lnTo>
                        <a:pt x="174038" y="124626"/>
                      </a:lnTo>
                      <a:lnTo>
                        <a:pt x="174853" y="126052"/>
                      </a:lnTo>
                      <a:lnTo>
                        <a:pt x="176051" y="126965"/>
                      </a:lnTo>
                      <a:lnTo>
                        <a:pt x="177624" y="127380"/>
                      </a:lnTo>
                      <a:lnTo>
                        <a:pt x="177950" y="127943"/>
                      </a:lnTo>
                      <a:lnTo>
                        <a:pt x="177020" y="128644"/>
                      </a:lnTo>
                      <a:lnTo>
                        <a:pt x="175391" y="129043"/>
                      </a:lnTo>
                      <a:lnTo>
                        <a:pt x="173043" y="129141"/>
                      </a:lnTo>
                      <a:lnTo>
                        <a:pt x="170680" y="129923"/>
                      </a:lnTo>
                      <a:lnTo>
                        <a:pt x="168276" y="131398"/>
                      </a:lnTo>
                      <a:lnTo>
                        <a:pt x="166882" y="132718"/>
                      </a:lnTo>
                      <a:lnTo>
                        <a:pt x="166499" y="133884"/>
                      </a:lnTo>
                      <a:lnTo>
                        <a:pt x="166434" y="135579"/>
                      </a:lnTo>
                      <a:lnTo>
                        <a:pt x="166744" y="139703"/>
                      </a:lnTo>
                      <a:lnTo>
                        <a:pt x="166556" y="141292"/>
                      </a:lnTo>
                      <a:lnTo>
                        <a:pt x="165537" y="144226"/>
                      </a:lnTo>
                      <a:lnTo>
                        <a:pt x="164193" y="148048"/>
                      </a:lnTo>
                      <a:lnTo>
                        <a:pt x="162587" y="150444"/>
                      </a:lnTo>
                      <a:lnTo>
                        <a:pt x="162286" y="150118"/>
                      </a:lnTo>
                      <a:lnTo>
                        <a:pt x="162546" y="148945"/>
                      </a:lnTo>
                      <a:lnTo>
                        <a:pt x="163883" y="145114"/>
                      </a:lnTo>
                      <a:lnTo>
                        <a:pt x="164087" y="143492"/>
                      </a:lnTo>
                      <a:lnTo>
                        <a:pt x="163956" y="142637"/>
                      </a:lnTo>
                      <a:lnTo>
                        <a:pt x="163492" y="142555"/>
                      </a:lnTo>
                      <a:lnTo>
                        <a:pt x="162970" y="143297"/>
                      </a:lnTo>
                      <a:lnTo>
                        <a:pt x="162375" y="144862"/>
                      </a:lnTo>
                      <a:lnTo>
                        <a:pt x="162245" y="145709"/>
                      </a:lnTo>
                      <a:lnTo>
                        <a:pt x="162587" y="145839"/>
                      </a:lnTo>
                      <a:lnTo>
                        <a:pt x="162335" y="146899"/>
                      </a:lnTo>
                      <a:lnTo>
                        <a:pt x="161495" y="148896"/>
                      </a:lnTo>
                      <a:lnTo>
                        <a:pt x="160770" y="149303"/>
                      </a:lnTo>
                      <a:lnTo>
                        <a:pt x="160159" y="148130"/>
                      </a:lnTo>
                      <a:lnTo>
                        <a:pt x="160199" y="146589"/>
                      </a:lnTo>
                      <a:lnTo>
                        <a:pt x="161210" y="143492"/>
                      </a:lnTo>
                      <a:lnTo>
                        <a:pt x="160851" y="142889"/>
                      </a:lnTo>
                      <a:lnTo>
                        <a:pt x="161430" y="140966"/>
                      </a:lnTo>
                      <a:lnTo>
                        <a:pt x="161691" y="139564"/>
                      </a:lnTo>
                      <a:lnTo>
                        <a:pt x="161389" y="138105"/>
                      </a:lnTo>
                      <a:lnTo>
                        <a:pt x="161626" y="136777"/>
                      </a:lnTo>
                      <a:lnTo>
                        <a:pt x="162408" y="135563"/>
                      </a:lnTo>
                      <a:lnTo>
                        <a:pt x="162163" y="135188"/>
                      </a:lnTo>
                      <a:lnTo>
                        <a:pt x="160949" y="135652"/>
                      </a:lnTo>
                      <a:lnTo>
                        <a:pt x="159140" y="137926"/>
                      </a:lnTo>
                      <a:lnTo>
                        <a:pt x="156793" y="141993"/>
                      </a:lnTo>
                      <a:lnTo>
                        <a:pt x="154967" y="143778"/>
                      </a:lnTo>
                      <a:lnTo>
                        <a:pt x="153663" y="143256"/>
                      </a:lnTo>
                      <a:lnTo>
                        <a:pt x="152612" y="143598"/>
                      </a:lnTo>
                      <a:lnTo>
                        <a:pt x="151813" y="144796"/>
                      </a:lnTo>
                      <a:lnTo>
                        <a:pt x="150949" y="145383"/>
                      </a:lnTo>
                      <a:lnTo>
                        <a:pt x="150012" y="145367"/>
                      </a:lnTo>
                      <a:lnTo>
                        <a:pt x="149450" y="146777"/>
                      </a:lnTo>
                      <a:lnTo>
                        <a:pt x="149246" y="149637"/>
                      </a:lnTo>
                      <a:lnTo>
                        <a:pt x="148317" y="151267"/>
                      </a:lnTo>
                      <a:lnTo>
                        <a:pt x="145563" y="152221"/>
                      </a:lnTo>
                      <a:lnTo>
                        <a:pt x="145025" y="152971"/>
                      </a:lnTo>
                      <a:lnTo>
                        <a:pt x="144976" y="154022"/>
                      </a:lnTo>
                      <a:lnTo>
                        <a:pt x="145416" y="155399"/>
                      </a:lnTo>
                      <a:lnTo>
                        <a:pt x="145432" y="158137"/>
                      </a:lnTo>
                      <a:lnTo>
                        <a:pt x="145008" y="162245"/>
                      </a:lnTo>
                      <a:lnTo>
                        <a:pt x="144095" y="165847"/>
                      </a:lnTo>
                      <a:lnTo>
                        <a:pt x="142686" y="168920"/>
                      </a:lnTo>
                      <a:lnTo>
                        <a:pt x="141129" y="171462"/>
                      </a:lnTo>
                      <a:lnTo>
                        <a:pt x="138562" y="174804"/>
                      </a:lnTo>
                      <a:lnTo>
                        <a:pt x="138521" y="175472"/>
                      </a:lnTo>
                      <a:lnTo>
                        <a:pt x="139784" y="178080"/>
                      </a:lnTo>
                      <a:lnTo>
                        <a:pt x="140314" y="180028"/>
                      </a:lnTo>
                      <a:lnTo>
                        <a:pt x="140575" y="183899"/>
                      </a:lnTo>
                      <a:lnTo>
                        <a:pt x="140518" y="184543"/>
                      </a:lnTo>
                      <a:lnTo>
                        <a:pt x="138040" y="189318"/>
                      </a:lnTo>
                      <a:lnTo>
                        <a:pt x="138000" y="190003"/>
                      </a:lnTo>
                      <a:lnTo>
                        <a:pt x="140656" y="197990"/>
                      </a:lnTo>
                      <a:lnTo>
                        <a:pt x="143012" y="203727"/>
                      </a:lnTo>
                      <a:lnTo>
                        <a:pt x="143281" y="204338"/>
                      </a:lnTo>
                      <a:lnTo>
                        <a:pt x="143982" y="206620"/>
                      </a:lnTo>
                      <a:lnTo>
                        <a:pt x="145286" y="211094"/>
                      </a:lnTo>
                      <a:lnTo>
                        <a:pt x="145954" y="215528"/>
                      </a:lnTo>
                      <a:lnTo>
                        <a:pt x="145994" y="219937"/>
                      </a:lnTo>
                      <a:lnTo>
                        <a:pt x="145676" y="224183"/>
                      </a:lnTo>
                      <a:lnTo>
                        <a:pt x="145008" y="228282"/>
                      </a:lnTo>
                      <a:lnTo>
                        <a:pt x="144014" y="232194"/>
                      </a:lnTo>
                      <a:lnTo>
                        <a:pt x="142702" y="235927"/>
                      </a:lnTo>
                      <a:lnTo>
                        <a:pt x="141341" y="238869"/>
                      </a:lnTo>
                      <a:lnTo>
                        <a:pt x="138545" y="243734"/>
                      </a:lnTo>
                      <a:lnTo>
                        <a:pt x="137176" y="246978"/>
                      </a:lnTo>
                      <a:lnTo>
                        <a:pt x="135758" y="249594"/>
                      </a:lnTo>
                      <a:lnTo>
                        <a:pt x="134292" y="251590"/>
                      </a:lnTo>
                      <a:lnTo>
                        <a:pt x="131651" y="253807"/>
                      </a:lnTo>
                      <a:lnTo>
                        <a:pt x="124846" y="257890"/>
                      </a:lnTo>
                      <a:lnTo>
                        <a:pt x="122711" y="258681"/>
                      </a:lnTo>
                      <a:lnTo>
                        <a:pt x="120364" y="258982"/>
                      </a:lnTo>
                      <a:lnTo>
                        <a:pt x="117813" y="258787"/>
                      </a:lnTo>
                      <a:lnTo>
                        <a:pt x="116419" y="258330"/>
                      </a:lnTo>
                      <a:lnTo>
                        <a:pt x="116109" y="257572"/>
                      </a:lnTo>
                      <a:lnTo>
                        <a:pt x="115571" y="257499"/>
                      </a:lnTo>
                      <a:lnTo>
                        <a:pt x="114830" y="256994"/>
                      </a:lnTo>
                      <a:lnTo>
                        <a:pt x="113893" y="256130"/>
                      </a:lnTo>
                      <a:lnTo>
                        <a:pt x="112849" y="254573"/>
                      </a:lnTo>
                      <a:lnTo>
                        <a:pt x="111725" y="251379"/>
                      </a:lnTo>
                      <a:lnTo>
                        <a:pt x="110511" y="246538"/>
                      </a:lnTo>
                      <a:lnTo>
                        <a:pt x="109435" y="243653"/>
                      </a:lnTo>
                      <a:lnTo>
                        <a:pt x="108498" y="242715"/>
                      </a:lnTo>
                      <a:lnTo>
                        <a:pt x="107650" y="241256"/>
                      </a:lnTo>
                      <a:lnTo>
                        <a:pt x="106892" y="239284"/>
                      </a:lnTo>
                      <a:lnTo>
                        <a:pt x="106517" y="234818"/>
                      </a:lnTo>
                      <a:lnTo>
                        <a:pt x="106533" y="227858"/>
                      </a:lnTo>
                      <a:lnTo>
                        <a:pt x="106794" y="223123"/>
                      </a:lnTo>
                      <a:lnTo>
                        <a:pt x="107300" y="220597"/>
                      </a:lnTo>
                      <a:lnTo>
                        <a:pt x="107153" y="218674"/>
                      </a:lnTo>
                      <a:lnTo>
                        <a:pt x="106370" y="217337"/>
                      </a:lnTo>
                      <a:lnTo>
                        <a:pt x="105881" y="215683"/>
                      </a:lnTo>
                      <a:lnTo>
                        <a:pt x="105702" y="213702"/>
                      </a:lnTo>
                      <a:lnTo>
                        <a:pt x="105295" y="212349"/>
                      </a:lnTo>
                      <a:lnTo>
                        <a:pt x="104659" y="211649"/>
                      </a:lnTo>
                      <a:lnTo>
                        <a:pt x="104512" y="210646"/>
                      </a:lnTo>
                      <a:lnTo>
                        <a:pt x="104871" y="209383"/>
                      </a:lnTo>
                      <a:lnTo>
                        <a:pt x="104871" y="208511"/>
                      </a:lnTo>
                      <a:lnTo>
                        <a:pt x="104529" y="208030"/>
                      </a:lnTo>
                      <a:lnTo>
                        <a:pt x="104447" y="207321"/>
                      </a:lnTo>
                      <a:lnTo>
                        <a:pt x="104626" y="206376"/>
                      </a:lnTo>
                      <a:lnTo>
                        <a:pt x="104309" y="203605"/>
                      </a:lnTo>
                      <a:lnTo>
                        <a:pt x="104390" y="201910"/>
                      </a:lnTo>
                      <a:lnTo>
                        <a:pt x="104830" y="200068"/>
                      </a:lnTo>
                      <a:lnTo>
                        <a:pt x="106240" y="196726"/>
                      </a:lnTo>
                      <a:lnTo>
                        <a:pt x="106696" y="195105"/>
                      </a:lnTo>
                      <a:lnTo>
                        <a:pt x="106819" y="193434"/>
                      </a:lnTo>
                      <a:lnTo>
                        <a:pt x="107487" y="191323"/>
                      </a:lnTo>
                      <a:lnTo>
                        <a:pt x="109329" y="186979"/>
                      </a:lnTo>
                      <a:lnTo>
                        <a:pt x="109378" y="185985"/>
                      </a:lnTo>
                      <a:lnTo>
                        <a:pt x="108742" y="184013"/>
                      </a:lnTo>
                      <a:lnTo>
                        <a:pt x="108595" y="182546"/>
                      </a:lnTo>
                      <a:lnTo>
                        <a:pt x="108742" y="180598"/>
                      </a:lnTo>
                      <a:lnTo>
                        <a:pt x="109321" y="178186"/>
                      </a:lnTo>
                      <a:lnTo>
                        <a:pt x="110347" y="175309"/>
                      </a:lnTo>
                      <a:lnTo>
                        <a:pt x="111717" y="173019"/>
                      </a:lnTo>
                      <a:lnTo>
                        <a:pt x="113412" y="171299"/>
                      </a:lnTo>
                      <a:lnTo>
                        <a:pt x="113966" y="169343"/>
                      </a:lnTo>
                      <a:lnTo>
                        <a:pt x="113379" y="167159"/>
                      </a:lnTo>
                      <a:lnTo>
                        <a:pt x="113599" y="163924"/>
                      </a:lnTo>
                      <a:lnTo>
                        <a:pt x="114610" y="159629"/>
                      </a:lnTo>
                      <a:lnTo>
                        <a:pt x="115751" y="156410"/>
                      </a:lnTo>
                      <a:lnTo>
                        <a:pt x="116998" y="154266"/>
                      </a:lnTo>
                      <a:lnTo>
                        <a:pt x="117854" y="152221"/>
                      </a:lnTo>
                      <a:lnTo>
                        <a:pt x="118318" y="150289"/>
                      </a:lnTo>
                      <a:lnTo>
                        <a:pt x="118106" y="149425"/>
                      </a:lnTo>
                      <a:lnTo>
                        <a:pt x="117177" y="148496"/>
                      </a:lnTo>
                      <a:lnTo>
                        <a:pt x="116272" y="147135"/>
                      </a:lnTo>
                      <a:lnTo>
                        <a:pt x="114773" y="146842"/>
                      </a:lnTo>
                      <a:lnTo>
                        <a:pt x="112906" y="147738"/>
                      </a:lnTo>
                      <a:lnTo>
                        <a:pt x="112646" y="147673"/>
                      </a:lnTo>
                      <a:lnTo>
                        <a:pt x="111700" y="147795"/>
                      </a:lnTo>
                      <a:lnTo>
                        <a:pt x="109907" y="149784"/>
                      </a:lnTo>
                      <a:lnTo>
                        <a:pt x="108318" y="153223"/>
                      </a:lnTo>
                      <a:lnTo>
                        <a:pt x="107153" y="154641"/>
                      </a:lnTo>
                      <a:lnTo>
                        <a:pt x="105580" y="155611"/>
                      </a:lnTo>
                      <a:lnTo>
                        <a:pt x="104414" y="156679"/>
                      </a:lnTo>
                      <a:lnTo>
                        <a:pt x="103648" y="157868"/>
                      </a:lnTo>
                      <a:lnTo>
                        <a:pt x="102654" y="158129"/>
                      </a:lnTo>
                      <a:lnTo>
                        <a:pt x="101423" y="157453"/>
                      </a:lnTo>
                      <a:lnTo>
                        <a:pt x="101195" y="155823"/>
                      </a:lnTo>
                      <a:lnTo>
                        <a:pt x="101945" y="153215"/>
                      </a:lnTo>
                      <a:lnTo>
                        <a:pt x="103094" y="150721"/>
                      </a:lnTo>
                      <a:lnTo>
                        <a:pt x="105450" y="146630"/>
                      </a:lnTo>
                      <a:lnTo>
                        <a:pt x="105523" y="145652"/>
                      </a:lnTo>
                      <a:lnTo>
                        <a:pt x="106101" y="144462"/>
                      </a:lnTo>
                      <a:lnTo>
                        <a:pt x="109744" y="142702"/>
                      </a:lnTo>
                      <a:lnTo>
                        <a:pt x="111146" y="141316"/>
                      </a:lnTo>
                      <a:lnTo>
                        <a:pt x="111627" y="139548"/>
                      </a:lnTo>
                      <a:lnTo>
                        <a:pt x="111757" y="136940"/>
                      </a:lnTo>
                      <a:lnTo>
                        <a:pt x="111994" y="136206"/>
                      </a:lnTo>
                      <a:lnTo>
                        <a:pt x="112532" y="135897"/>
                      </a:lnTo>
                      <a:lnTo>
                        <a:pt x="114137" y="133705"/>
                      </a:lnTo>
                      <a:lnTo>
                        <a:pt x="116810" y="129638"/>
                      </a:lnTo>
                      <a:lnTo>
                        <a:pt x="119206" y="125433"/>
                      </a:lnTo>
                      <a:lnTo>
                        <a:pt x="121333" y="121097"/>
                      </a:lnTo>
                      <a:lnTo>
                        <a:pt x="122890" y="118652"/>
                      </a:lnTo>
                      <a:lnTo>
                        <a:pt x="123876" y="118098"/>
                      </a:lnTo>
                      <a:lnTo>
                        <a:pt x="124601" y="116778"/>
                      </a:lnTo>
                      <a:lnTo>
                        <a:pt x="125734" y="112727"/>
                      </a:lnTo>
                      <a:lnTo>
                        <a:pt x="126582" y="110877"/>
                      </a:lnTo>
                      <a:lnTo>
                        <a:pt x="127144" y="110168"/>
                      </a:lnTo>
                      <a:lnTo>
                        <a:pt x="127421" y="110600"/>
                      </a:lnTo>
                      <a:lnTo>
                        <a:pt x="126875" y="112817"/>
                      </a:lnTo>
                      <a:lnTo>
                        <a:pt x="126875" y="114667"/>
                      </a:lnTo>
                      <a:lnTo>
                        <a:pt x="127340" y="117014"/>
                      </a:lnTo>
                      <a:lnTo>
                        <a:pt x="128236" y="117821"/>
                      </a:lnTo>
                      <a:lnTo>
                        <a:pt x="129581" y="117087"/>
                      </a:lnTo>
                      <a:lnTo>
                        <a:pt x="130730" y="115547"/>
                      </a:lnTo>
                      <a:lnTo>
                        <a:pt x="131700" y="113183"/>
                      </a:lnTo>
                      <a:lnTo>
                        <a:pt x="132816" y="112206"/>
                      </a:lnTo>
                      <a:lnTo>
                        <a:pt x="134071" y="112613"/>
                      </a:lnTo>
                      <a:lnTo>
                        <a:pt x="135123" y="112458"/>
                      </a:lnTo>
                      <a:lnTo>
                        <a:pt x="135954" y="111749"/>
                      </a:lnTo>
                      <a:lnTo>
                        <a:pt x="137535" y="111399"/>
                      </a:lnTo>
                      <a:lnTo>
                        <a:pt x="137828" y="112287"/>
                      </a:lnTo>
                      <a:lnTo>
                        <a:pt x="137633" y="114080"/>
                      </a:lnTo>
                      <a:lnTo>
                        <a:pt x="137128" y="114944"/>
                      </a:lnTo>
                      <a:lnTo>
                        <a:pt x="136313" y="114879"/>
                      </a:lnTo>
                      <a:lnTo>
                        <a:pt x="135392" y="115824"/>
                      </a:lnTo>
                      <a:lnTo>
                        <a:pt x="134357" y="117780"/>
                      </a:lnTo>
                      <a:lnTo>
                        <a:pt x="134397" y="119328"/>
                      </a:lnTo>
                      <a:lnTo>
                        <a:pt x="135522" y="120494"/>
                      </a:lnTo>
                      <a:lnTo>
                        <a:pt x="136084" y="120551"/>
                      </a:lnTo>
                      <a:lnTo>
                        <a:pt x="136076" y="119524"/>
                      </a:lnTo>
                      <a:lnTo>
                        <a:pt x="136598" y="118489"/>
                      </a:lnTo>
                      <a:lnTo>
                        <a:pt x="138268" y="116590"/>
                      </a:lnTo>
                      <a:lnTo>
                        <a:pt x="138432" y="115971"/>
                      </a:lnTo>
                      <a:lnTo>
                        <a:pt x="141602" y="114292"/>
                      </a:lnTo>
                      <a:lnTo>
                        <a:pt x="142800" y="113224"/>
                      </a:lnTo>
                      <a:lnTo>
                        <a:pt x="143126" y="112002"/>
                      </a:lnTo>
                      <a:lnTo>
                        <a:pt x="144764" y="109492"/>
                      </a:lnTo>
                      <a:lnTo>
                        <a:pt x="146329" y="108693"/>
                      </a:lnTo>
                      <a:lnTo>
                        <a:pt x="148456" y="108351"/>
                      </a:lnTo>
                      <a:lnTo>
                        <a:pt x="150526" y="108571"/>
                      </a:lnTo>
                      <a:lnTo>
                        <a:pt x="152522" y="109345"/>
                      </a:lnTo>
                      <a:lnTo>
                        <a:pt x="153655" y="109337"/>
                      </a:lnTo>
                      <a:lnTo>
                        <a:pt x="153924" y="108522"/>
                      </a:lnTo>
                      <a:lnTo>
                        <a:pt x="155627" y="107976"/>
                      </a:lnTo>
                      <a:lnTo>
                        <a:pt x="158765" y="107691"/>
                      </a:lnTo>
                      <a:lnTo>
                        <a:pt x="161071" y="106533"/>
                      </a:lnTo>
                      <a:lnTo>
                        <a:pt x="162546" y="104496"/>
                      </a:lnTo>
                      <a:lnTo>
                        <a:pt x="164437" y="103461"/>
                      </a:lnTo>
                      <a:lnTo>
                        <a:pt x="166744" y="103420"/>
                      </a:lnTo>
                      <a:lnTo>
                        <a:pt x="169873" y="104145"/>
                      </a:lnTo>
                      <a:lnTo>
                        <a:pt x="173818" y="105637"/>
                      </a:lnTo>
                      <a:lnTo>
                        <a:pt x="177012" y="107650"/>
                      </a:lnTo>
                      <a:lnTo>
                        <a:pt x="181234" y="111700"/>
                      </a:lnTo>
                      <a:lnTo>
                        <a:pt x="182342" y="112108"/>
                      </a:lnTo>
                      <a:lnTo>
                        <a:pt x="183076" y="112157"/>
                      </a:lnTo>
                      <a:lnTo>
                        <a:pt x="183426" y="111831"/>
                      </a:lnTo>
                      <a:lnTo>
                        <a:pt x="183442" y="111448"/>
                      </a:lnTo>
                      <a:lnTo>
                        <a:pt x="183125" y="110975"/>
                      </a:lnTo>
                      <a:lnTo>
                        <a:pt x="183328" y="109255"/>
                      </a:lnTo>
                      <a:lnTo>
                        <a:pt x="183133" y="108758"/>
                      </a:lnTo>
                      <a:lnTo>
                        <a:pt x="184380" y="106085"/>
                      </a:lnTo>
                      <a:lnTo>
                        <a:pt x="185447" y="105409"/>
                      </a:lnTo>
                      <a:lnTo>
                        <a:pt x="186686" y="105653"/>
                      </a:lnTo>
                      <a:lnTo>
                        <a:pt x="187477" y="106224"/>
                      </a:lnTo>
                      <a:lnTo>
                        <a:pt x="187802" y="107128"/>
                      </a:lnTo>
                      <a:lnTo>
                        <a:pt x="188186" y="107446"/>
                      </a:lnTo>
                      <a:lnTo>
                        <a:pt x="188960" y="107479"/>
                      </a:lnTo>
                      <a:lnTo>
                        <a:pt x="189392" y="107609"/>
                      </a:lnTo>
                      <a:lnTo>
                        <a:pt x="189636" y="107536"/>
                      </a:lnTo>
                      <a:lnTo>
                        <a:pt x="190019" y="107039"/>
                      </a:lnTo>
                      <a:lnTo>
                        <a:pt x="192660" y="107259"/>
                      </a:lnTo>
                      <a:lnTo>
                        <a:pt x="201641" y="108612"/>
                      </a:lnTo>
                      <a:lnTo>
                        <a:pt x="202871" y="108400"/>
                      </a:lnTo>
                      <a:lnTo>
                        <a:pt x="203572" y="107927"/>
                      </a:lnTo>
                      <a:lnTo>
                        <a:pt x="203743" y="107202"/>
                      </a:lnTo>
                      <a:lnTo>
                        <a:pt x="203165" y="106517"/>
                      </a:lnTo>
                      <a:lnTo>
                        <a:pt x="200818" y="105083"/>
                      </a:lnTo>
                      <a:lnTo>
                        <a:pt x="200109" y="104137"/>
                      </a:lnTo>
                      <a:lnTo>
                        <a:pt x="199921" y="103241"/>
                      </a:lnTo>
                      <a:lnTo>
                        <a:pt x="200264" y="102393"/>
                      </a:lnTo>
                      <a:lnTo>
                        <a:pt x="199758" y="101635"/>
                      </a:lnTo>
                      <a:lnTo>
                        <a:pt x="198422" y="100951"/>
                      </a:lnTo>
                      <a:lnTo>
                        <a:pt x="195488" y="100763"/>
                      </a:lnTo>
                      <a:lnTo>
                        <a:pt x="194966" y="100071"/>
                      </a:lnTo>
                      <a:lnTo>
                        <a:pt x="195203" y="99394"/>
                      </a:lnTo>
                      <a:lnTo>
                        <a:pt x="196066" y="98522"/>
                      </a:lnTo>
                      <a:lnTo>
                        <a:pt x="196099" y="97243"/>
                      </a:lnTo>
                      <a:lnTo>
                        <a:pt x="195822" y="96517"/>
                      </a:lnTo>
                      <a:lnTo>
                        <a:pt x="195431" y="94317"/>
                      </a:lnTo>
                      <a:lnTo>
                        <a:pt x="194795" y="92834"/>
                      </a:lnTo>
                      <a:lnTo>
                        <a:pt x="193507" y="90649"/>
                      </a:lnTo>
                      <a:lnTo>
                        <a:pt x="192994" y="89859"/>
                      </a:lnTo>
                      <a:lnTo>
                        <a:pt x="192236" y="89386"/>
                      </a:lnTo>
                      <a:lnTo>
                        <a:pt x="191519" y="89476"/>
                      </a:lnTo>
                      <a:lnTo>
                        <a:pt x="190590" y="89883"/>
                      </a:lnTo>
                      <a:lnTo>
                        <a:pt x="189530" y="90821"/>
                      </a:lnTo>
                      <a:lnTo>
                        <a:pt x="188006" y="91815"/>
                      </a:lnTo>
                      <a:lnTo>
                        <a:pt x="186442" y="91562"/>
                      </a:lnTo>
                      <a:lnTo>
                        <a:pt x="185366" y="90177"/>
                      </a:lnTo>
                      <a:lnTo>
                        <a:pt x="183817" y="89875"/>
                      </a:lnTo>
                      <a:lnTo>
                        <a:pt x="181796" y="90666"/>
                      </a:lnTo>
                      <a:lnTo>
                        <a:pt x="180003" y="90633"/>
                      </a:lnTo>
                      <a:lnTo>
                        <a:pt x="178439" y="89769"/>
                      </a:lnTo>
                      <a:lnTo>
                        <a:pt x="175456" y="89345"/>
                      </a:lnTo>
                      <a:lnTo>
                        <a:pt x="175105" y="88694"/>
                      </a:lnTo>
                      <a:lnTo>
                        <a:pt x="175162" y="88017"/>
                      </a:lnTo>
                      <a:lnTo>
                        <a:pt x="175627" y="87300"/>
                      </a:lnTo>
                      <a:lnTo>
                        <a:pt x="175896" y="85613"/>
                      </a:lnTo>
                      <a:lnTo>
                        <a:pt x="175953" y="82924"/>
                      </a:lnTo>
                      <a:lnTo>
                        <a:pt x="176352" y="81033"/>
                      </a:lnTo>
                      <a:lnTo>
                        <a:pt x="177102" y="79933"/>
                      </a:lnTo>
                      <a:lnTo>
                        <a:pt x="175945" y="79476"/>
                      </a:lnTo>
                      <a:lnTo>
                        <a:pt x="172872" y="79672"/>
                      </a:lnTo>
                      <a:lnTo>
                        <a:pt x="169343" y="80576"/>
                      </a:lnTo>
                      <a:lnTo>
                        <a:pt x="165358" y="82198"/>
                      </a:lnTo>
                      <a:lnTo>
                        <a:pt x="161023" y="82769"/>
                      </a:lnTo>
                      <a:lnTo>
                        <a:pt x="156353" y="82288"/>
                      </a:lnTo>
                      <a:lnTo>
                        <a:pt x="152824" y="82361"/>
                      </a:lnTo>
                      <a:lnTo>
                        <a:pt x="148912" y="83176"/>
                      </a:lnTo>
                      <a:lnTo>
                        <a:pt x="148236" y="82907"/>
                      </a:lnTo>
                      <a:lnTo>
                        <a:pt x="145774" y="83991"/>
                      </a:lnTo>
                      <a:lnTo>
                        <a:pt x="141528" y="86420"/>
                      </a:lnTo>
                      <a:lnTo>
                        <a:pt x="138350" y="88669"/>
                      </a:lnTo>
                      <a:lnTo>
                        <a:pt x="135701" y="91204"/>
                      </a:lnTo>
                      <a:lnTo>
                        <a:pt x="135294" y="91228"/>
                      </a:lnTo>
                      <a:lnTo>
                        <a:pt x="134666" y="90666"/>
                      </a:lnTo>
                      <a:lnTo>
                        <a:pt x="133330" y="89883"/>
                      </a:lnTo>
                      <a:lnTo>
                        <a:pt x="131904" y="89859"/>
                      </a:lnTo>
                      <a:lnTo>
                        <a:pt x="130380" y="90592"/>
                      </a:lnTo>
                      <a:lnTo>
                        <a:pt x="128848" y="90120"/>
                      </a:lnTo>
                      <a:lnTo>
                        <a:pt x="127283" y="88457"/>
                      </a:lnTo>
                      <a:lnTo>
                        <a:pt x="125864" y="87993"/>
                      </a:lnTo>
                      <a:lnTo>
                        <a:pt x="124585" y="88718"/>
                      </a:lnTo>
                      <a:lnTo>
                        <a:pt x="122483" y="89044"/>
                      </a:lnTo>
                      <a:lnTo>
                        <a:pt x="117829" y="88661"/>
                      </a:lnTo>
                      <a:lnTo>
                        <a:pt x="117340" y="88123"/>
                      </a:lnTo>
                      <a:lnTo>
                        <a:pt x="116924" y="86330"/>
                      </a:lnTo>
                      <a:lnTo>
                        <a:pt x="116419" y="85556"/>
                      </a:lnTo>
                      <a:lnTo>
                        <a:pt x="115523" y="85010"/>
                      </a:lnTo>
                      <a:lnTo>
                        <a:pt x="114080" y="83021"/>
                      </a:lnTo>
                      <a:lnTo>
                        <a:pt x="110910" y="77936"/>
                      </a:lnTo>
                      <a:lnTo>
                        <a:pt x="110030" y="77325"/>
                      </a:lnTo>
                      <a:lnTo>
                        <a:pt x="107438" y="75760"/>
                      </a:lnTo>
                      <a:lnTo>
                        <a:pt x="104969" y="75051"/>
                      </a:lnTo>
                      <a:lnTo>
                        <a:pt x="98710" y="74057"/>
                      </a:lnTo>
                      <a:lnTo>
                        <a:pt x="97357" y="73356"/>
                      </a:lnTo>
                      <a:lnTo>
                        <a:pt x="96542" y="73494"/>
                      </a:lnTo>
                      <a:lnTo>
                        <a:pt x="92402" y="76241"/>
                      </a:lnTo>
                      <a:lnTo>
                        <a:pt x="92231" y="76836"/>
                      </a:lnTo>
                      <a:lnTo>
                        <a:pt x="91978" y="77422"/>
                      </a:lnTo>
                      <a:lnTo>
                        <a:pt x="91310" y="78384"/>
                      </a:lnTo>
                      <a:lnTo>
                        <a:pt x="90764" y="78824"/>
                      </a:lnTo>
                      <a:lnTo>
                        <a:pt x="90421" y="78376"/>
                      </a:lnTo>
                      <a:lnTo>
                        <a:pt x="90087" y="77569"/>
                      </a:lnTo>
                      <a:lnTo>
                        <a:pt x="90144" y="75817"/>
                      </a:lnTo>
                      <a:lnTo>
                        <a:pt x="90584" y="73095"/>
                      </a:lnTo>
                      <a:lnTo>
                        <a:pt x="90332" y="71335"/>
                      </a:lnTo>
                      <a:lnTo>
                        <a:pt x="89378" y="70512"/>
                      </a:lnTo>
                      <a:lnTo>
                        <a:pt x="88971" y="69525"/>
                      </a:lnTo>
                      <a:lnTo>
                        <a:pt x="89101" y="68376"/>
                      </a:lnTo>
                      <a:lnTo>
                        <a:pt x="88417" y="67447"/>
                      </a:lnTo>
                      <a:lnTo>
                        <a:pt x="86901" y="66755"/>
                      </a:lnTo>
                      <a:lnTo>
                        <a:pt x="86200" y="65842"/>
                      </a:lnTo>
                      <a:lnTo>
                        <a:pt x="86306" y="64709"/>
                      </a:lnTo>
                      <a:lnTo>
                        <a:pt x="86159" y="63935"/>
                      </a:lnTo>
                      <a:lnTo>
                        <a:pt x="85760" y="63519"/>
                      </a:lnTo>
                      <a:lnTo>
                        <a:pt x="84146" y="64407"/>
                      </a:lnTo>
                      <a:lnTo>
                        <a:pt x="81310" y="66592"/>
                      </a:lnTo>
                      <a:lnTo>
                        <a:pt x="79395" y="68547"/>
                      </a:lnTo>
                      <a:lnTo>
                        <a:pt x="78376" y="70259"/>
                      </a:lnTo>
                      <a:lnTo>
                        <a:pt x="76860" y="71237"/>
                      </a:lnTo>
                      <a:lnTo>
                        <a:pt x="74839" y="71457"/>
                      </a:lnTo>
                      <a:lnTo>
                        <a:pt x="73242" y="72190"/>
                      </a:lnTo>
                      <a:lnTo>
                        <a:pt x="70397" y="74700"/>
                      </a:lnTo>
                      <a:lnTo>
                        <a:pt x="68279" y="75988"/>
                      </a:lnTo>
                      <a:lnTo>
                        <a:pt x="64758" y="76933"/>
                      </a:lnTo>
                      <a:lnTo>
                        <a:pt x="59835" y="77528"/>
                      </a:lnTo>
                      <a:lnTo>
                        <a:pt x="55736" y="79158"/>
                      </a:lnTo>
                      <a:lnTo>
                        <a:pt x="52444" y="81823"/>
                      </a:lnTo>
                      <a:lnTo>
                        <a:pt x="48467" y="84073"/>
                      </a:lnTo>
                      <a:lnTo>
                        <a:pt x="43813" y="85923"/>
                      </a:lnTo>
                      <a:lnTo>
                        <a:pt x="40643" y="86575"/>
                      </a:lnTo>
                      <a:lnTo>
                        <a:pt x="38972" y="86037"/>
                      </a:lnTo>
                      <a:lnTo>
                        <a:pt x="36975" y="84896"/>
                      </a:lnTo>
                      <a:lnTo>
                        <a:pt x="33993" y="82858"/>
                      </a:lnTo>
                      <a:lnTo>
                        <a:pt x="33561" y="83046"/>
                      </a:lnTo>
                      <a:lnTo>
                        <a:pt x="33789" y="83461"/>
                      </a:lnTo>
                      <a:lnTo>
                        <a:pt x="33724" y="83812"/>
                      </a:lnTo>
                      <a:lnTo>
                        <a:pt x="33169" y="84399"/>
                      </a:lnTo>
                      <a:lnTo>
                        <a:pt x="29372" y="85906"/>
                      </a:lnTo>
                      <a:lnTo>
                        <a:pt x="28867" y="85336"/>
                      </a:lnTo>
                      <a:lnTo>
                        <a:pt x="30284" y="83266"/>
                      </a:lnTo>
                      <a:lnTo>
                        <a:pt x="30839" y="81726"/>
                      </a:lnTo>
                      <a:lnTo>
                        <a:pt x="30806" y="80307"/>
                      </a:lnTo>
                      <a:lnTo>
                        <a:pt x="31434" y="78555"/>
                      </a:lnTo>
                      <a:lnTo>
                        <a:pt x="32730" y="76477"/>
                      </a:lnTo>
                      <a:lnTo>
                        <a:pt x="33210" y="75067"/>
                      </a:lnTo>
                      <a:lnTo>
                        <a:pt x="32868" y="74326"/>
                      </a:lnTo>
                      <a:lnTo>
                        <a:pt x="31434" y="73136"/>
                      </a:lnTo>
                      <a:lnTo>
                        <a:pt x="30268" y="73046"/>
                      </a:lnTo>
                      <a:lnTo>
                        <a:pt x="28793" y="73437"/>
                      </a:lnTo>
                      <a:lnTo>
                        <a:pt x="24303" y="76493"/>
                      </a:lnTo>
                      <a:lnTo>
                        <a:pt x="23854" y="76265"/>
                      </a:lnTo>
                      <a:lnTo>
                        <a:pt x="22412" y="75768"/>
                      </a:lnTo>
                      <a:lnTo>
                        <a:pt x="22061" y="75858"/>
                      </a:lnTo>
                      <a:lnTo>
                        <a:pt x="18598" y="78515"/>
                      </a:lnTo>
                      <a:lnTo>
                        <a:pt x="15077" y="80112"/>
                      </a:lnTo>
                      <a:lnTo>
                        <a:pt x="6732" y="82378"/>
                      </a:lnTo>
                      <a:lnTo>
                        <a:pt x="4613" y="82655"/>
                      </a:lnTo>
                      <a:lnTo>
                        <a:pt x="2967" y="82483"/>
                      </a:lnTo>
                      <a:lnTo>
                        <a:pt x="848" y="81163"/>
                      </a:lnTo>
                      <a:lnTo>
                        <a:pt x="0" y="80250"/>
                      </a:lnTo>
                      <a:lnTo>
                        <a:pt x="73" y="79272"/>
                      </a:lnTo>
                      <a:lnTo>
                        <a:pt x="1060" y="78221"/>
                      </a:lnTo>
                      <a:lnTo>
                        <a:pt x="11459" y="69998"/>
                      </a:lnTo>
                      <a:lnTo>
                        <a:pt x="17881" y="64122"/>
                      </a:lnTo>
                      <a:lnTo>
                        <a:pt x="28524" y="53087"/>
                      </a:lnTo>
                      <a:lnTo>
                        <a:pt x="31271" y="50895"/>
                      </a:lnTo>
                      <a:lnTo>
                        <a:pt x="37448" y="47220"/>
                      </a:lnTo>
                      <a:lnTo>
                        <a:pt x="47375" y="43691"/>
                      </a:lnTo>
                      <a:lnTo>
                        <a:pt x="52272" y="41727"/>
                      </a:lnTo>
                      <a:lnTo>
                        <a:pt x="56510" y="39591"/>
                      </a:lnTo>
                      <a:lnTo>
                        <a:pt x="59224" y="37945"/>
                      </a:lnTo>
                      <a:lnTo>
                        <a:pt x="60406" y="36796"/>
                      </a:lnTo>
                      <a:lnTo>
                        <a:pt x="61360" y="36266"/>
                      </a:lnTo>
                      <a:lnTo>
                        <a:pt x="62077" y="36340"/>
                      </a:lnTo>
                      <a:lnTo>
                        <a:pt x="63495" y="35574"/>
                      </a:lnTo>
                      <a:lnTo>
                        <a:pt x="65915" y="32721"/>
                      </a:lnTo>
                      <a:lnTo>
                        <a:pt x="66192" y="32485"/>
                      </a:lnTo>
                      <a:lnTo>
                        <a:pt x="68499" y="31678"/>
                      </a:lnTo>
                      <a:lnTo>
                        <a:pt x="69248" y="30325"/>
                      </a:lnTo>
                      <a:lnTo>
                        <a:pt x="69705" y="28695"/>
                      </a:lnTo>
                      <a:lnTo>
                        <a:pt x="70805" y="25981"/>
                      </a:lnTo>
                      <a:lnTo>
                        <a:pt x="71571" y="24865"/>
                      </a:lnTo>
                      <a:lnTo>
                        <a:pt x="71759" y="23642"/>
                      </a:lnTo>
                      <a:lnTo>
                        <a:pt x="71376" y="22298"/>
                      </a:lnTo>
                      <a:lnTo>
                        <a:pt x="71482" y="21026"/>
                      </a:lnTo>
                      <a:lnTo>
                        <a:pt x="72084" y="19828"/>
                      </a:lnTo>
                      <a:lnTo>
                        <a:pt x="74912" y="18141"/>
                      </a:lnTo>
                      <a:lnTo>
                        <a:pt x="82655" y="15069"/>
                      </a:lnTo>
                      <a:lnTo>
                        <a:pt x="82924" y="15452"/>
                      </a:lnTo>
                      <a:lnTo>
                        <a:pt x="81571" y="17832"/>
                      </a:lnTo>
                      <a:lnTo>
                        <a:pt x="80128" y="22330"/>
                      </a:lnTo>
                      <a:lnTo>
                        <a:pt x="79623" y="22453"/>
                      </a:lnTo>
                      <a:lnTo>
                        <a:pt x="79158" y="23007"/>
                      </a:lnTo>
                      <a:lnTo>
                        <a:pt x="78735" y="23993"/>
                      </a:lnTo>
                      <a:lnTo>
                        <a:pt x="79835" y="23919"/>
                      </a:lnTo>
                      <a:lnTo>
                        <a:pt x="82451" y="22803"/>
                      </a:lnTo>
                      <a:lnTo>
                        <a:pt x="83657" y="22232"/>
                      </a:lnTo>
                      <a:lnTo>
                        <a:pt x="83967" y="21140"/>
                      </a:lnTo>
                      <a:lnTo>
                        <a:pt x="84366" y="18932"/>
                      </a:lnTo>
                      <a:lnTo>
                        <a:pt x="84920" y="17709"/>
                      </a:lnTo>
                      <a:lnTo>
                        <a:pt x="85646" y="17473"/>
                      </a:lnTo>
                      <a:lnTo>
                        <a:pt x="86127" y="16414"/>
                      </a:lnTo>
                      <a:lnTo>
                        <a:pt x="86363" y="14523"/>
                      </a:lnTo>
                      <a:lnTo>
                        <a:pt x="86933" y="13390"/>
                      </a:lnTo>
                      <a:lnTo>
                        <a:pt x="87846" y="13031"/>
                      </a:lnTo>
                      <a:lnTo>
                        <a:pt x="88229" y="12371"/>
                      </a:lnTo>
                      <a:lnTo>
                        <a:pt x="88172" y="11450"/>
                      </a:lnTo>
                      <a:lnTo>
                        <a:pt x="88400" y="8948"/>
                      </a:lnTo>
                      <a:lnTo>
                        <a:pt x="88588" y="7775"/>
                      </a:lnTo>
                      <a:lnTo>
                        <a:pt x="89395" y="6063"/>
                      </a:lnTo>
                      <a:lnTo>
                        <a:pt x="90519" y="5542"/>
                      </a:lnTo>
                      <a:lnTo>
                        <a:pt x="92060" y="5648"/>
                      </a:lnTo>
                      <a:lnTo>
                        <a:pt x="93119" y="6512"/>
                      </a:lnTo>
                      <a:lnTo>
                        <a:pt x="93698" y="8142"/>
                      </a:lnTo>
                      <a:lnTo>
                        <a:pt x="93853" y="9486"/>
                      </a:lnTo>
                      <a:lnTo>
                        <a:pt x="93592" y="10546"/>
                      </a:lnTo>
                      <a:lnTo>
                        <a:pt x="92092" y="12469"/>
                      </a:lnTo>
                      <a:lnTo>
                        <a:pt x="87805" y="17074"/>
                      </a:lnTo>
                      <a:lnTo>
                        <a:pt x="87357" y="18361"/>
                      </a:lnTo>
                      <a:lnTo>
                        <a:pt x="87732" y="19030"/>
                      </a:lnTo>
                      <a:lnTo>
                        <a:pt x="87976" y="20008"/>
                      </a:lnTo>
                      <a:lnTo>
                        <a:pt x="88490" y="20130"/>
                      </a:lnTo>
                      <a:lnTo>
                        <a:pt x="89435" y="19282"/>
                      </a:lnTo>
                      <a:lnTo>
                        <a:pt x="89843" y="18516"/>
                      </a:lnTo>
                      <a:lnTo>
                        <a:pt x="89712" y="17848"/>
                      </a:lnTo>
                      <a:lnTo>
                        <a:pt x="90055" y="16984"/>
                      </a:lnTo>
                      <a:lnTo>
                        <a:pt x="90853" y="15916"/>
                      </a:lnTo>
                      <a:lnTo>
                        <a:pt x="91481" y="15607"/>
                      </a:lnTo>
                      <a:lnTo>
                        <a:pt x="91945" y="16022"/>
                      </a:lnTo>
                      <a:lnTo>
                        <a:pt x="92711" y="15843"/>
                      </a:lnTo>
                      <a:lnTo>
                        <a:pt x="93787" y="15044"/>
                      </a:lnTo>
                      <a:lnTo>
                        <a:pt x="95711" y="14629"/>
                      </a:lnTo>
                      <a:lnTo>
                        <a:pt x="96077" y="14596"/>
                      </a:lnTo>
                      <a:lnTo>
                        <a:pt x="98425" y="11499"/>
                      </a:lnTo>
                      <a:lnTo>
                        <a:pt x="99150" y="9698"/>
                      </a:lnTo>
                      <a:lnTo>
                        <a:pt x="99158" y="8142"/>
                      </a:lnTo>
                      <a:lnTo>
                        <a:pt x="98204" y="6528"/>
                      </a:lnTo>
                      <a:lnTo>
                        <a:pt x="96289" y="4857"/>
                      </a:lnTo>
                      <a:lnTo>
                        <a:pt x="95735" y="3056"/>
                      </a:lnTo>
                      <a:lnTo>
                        <a:pt x="95686" y="2152"/>
                      </a:lnTo>
                      <a:lnTo>
                        <a:pt x="95319" y="1011"/>
                      </a:lnTo>
                      <a:lnTo>
                        <a:pt x="95719" y="579"/>
                      </a:lnTo>
                      <a:lnTo>
                        <a:pt x="96892" y="864"/>
                      </a:lnTo>
                      <a:lnTo>
                        <a:pt x="97878" y="717"/>
                      </a:lnTo>
                      <a:lnTo>
                        <a:pt x="98685" y="114"/>
                      </a:lnTo>
                      <a:lnTo>
                        <a:pt x="100128" y="0"/>
                      </a:lnTo>
                      <a:lnTo>
                        <a:pt x="101309" y="98"/>
                      </a:lnTo>
                      <a:lnTo>
                        <a:pt x="102719" y="1548"/>
                      </a:lnTo>
                      <a:lnTo>
                        <a:pt x="107797" y="2942"/>
                      </a:lnTo>
                      <a:lnTo>
                        <a:pt x="109671" y="3692"/>
                      </a:lnTo>
                      <a:lnTo>
                        <a:pt x="111994" y="4458"/>
                      </a:lnTo>
                      <a:lnTo>
                        <a:pt x="112581" y="4711"/>
                      </a:lnTo>
                      <a:lnTo>
                        <a:pt x="112972" y="5534"/>
                      </a:lnTo>
                      <a:lnTo>
                        <a:pt x="113827" y="5884"/>
                      </a:lnTo>
                      <a:lnTo>
                        <a:pt x="115156" y="5754"/>
                      </a:lnTo>
                      <a:lnTo>
                        <a:pt x="116557" y="6023"/>
                      </a:lnTo>
                      <a:lnTo>
                        <a:pt x="118929" y="7294"/>
                      </a:lnTo>
                      <a:lnTo>
                        <a:pt x="121105" y="8142"/>
                      </a:lnTo>
                      <a:lnTo>
                        <a:pt x="124553" y="8027"/>
                      </a:lnTo>
                      <a:lnTo>
                        <a:pt x="126435" y="7677"/>
                      </a:lnTo>
                      <a:lnTo>
                        <a:pt x="129442" y="8264"/>
                      </a:lnTo>
                      <a:lnTo>
                        <a:pt x="131121" y="8264"/>
                      </a:lnTo>
                      <a:lnTo>
                        <a:pt x="132816" y="7253"/>
                      </a:lnTo>
                      <a:lnTo>
                        <a:pt x="134275" y="6992"/>
                      </a:lnTo>
                      <a:lnTo>
                        <a:pt x="135506" y="7473"/>
                      </a:lnTo>
                      <a:lnTo>
                        <a:pt x="136035" y="8093"/>
                      </a:lnTo>
                      <a:lnTo>
                        <a:pt x="137038" y="8973"/>
                      </a:lnTo>
                      <a:lnTo>
                        <a:pt x="140061" y="8549"/>
                      </a:lnTo>
                      <a:lnTo>
                        <a:pt x="140730" y="8794"/>
                      </a:lnTo>
                      <a:lnTo>
                        <a:pt x="141626" y="9763"/>
                      </a:lnTo>
                      <a:lnTo>
                        <a:pt x="141781" y="10383"/>
                      </a:lnTo>
                      <a:lnTo>
                        <a:pt x="142254" y="11344"/>
                      </a:lnTo>
                      <a:lnTo>
                        <a:pt x="143403" y="13178"/>
                      </a:lnTo>
                      <a:lnTo>
                        <a:pt x="143672" y="13814"/>
                      </a:lnTo>
                      <a:lnTo>
                        <a:pt x="144454" y="14572"/>
                      </a:lnTo>
                      <a:lnTo>
                        <a:pt x="145098" y="16348"/>
                      </a:lnTo>
                      <a:lnTo>
                        <a:pt x="145579" y="19160"/>
                      </a:lnTo>
                      <a:lnTo>
                        <a:pt x="146117" y="20872"/>
                      </a:lnTo>
                      <a:lnTo>
                        <a:pt x="146720" y="21507"/>
                      </a:lnTo>
                      <a:lnTo>
                        <a:pt x="146980" y="22224"/>
                      </a:lnTo>
                      <a:lnTo>
                        <a:pt x="147527" y="25150"/>
                      </a:lnTo>
                      <a:lnTo>
                        <a:pt x="148888" y="28516"/>
                      </a:lnTo>
                      <a:lnTo>
                        <a:pt x="150909" y="31800"/>
                      </a:lnTo>
                      <a:lnTo>
                        <a:pt x="153615" y="35011"/>
                      </a:lnTo>
                      <a:lnTo>
                        <a:pt x="156988" y="37138"/>
                      </a:lnTo>
                      <a:lnTo>
                        <a:pt x="161031" y="38190"/>
                      </a:lnTo>
                      <a:lnTo>
                        <a:pt x="164625" y="38426"/>
                      </a:lnTo>
                      <a:lnTo>
                        <a:pt x="167779" y="37847"/>
                      </a:lnTo>
                      <a:lnTo>
                        <a:pt x="171959" y="37530"/>
                      </a:lnTo>
                      <a:lnTo>
                        <a:pt x="177175" y="37489"/>
                      </a:lnTo>
                      <a:lnTo>
                        <a:pt x="179873" y="37856"/>
                      </a:lnTo>
                      <a:lnTo>
                        <a:pt x="180052" y="38638"/>
                      </a:lnTo>
                      <a:lnTo>
                        <a:pt x="179555" y="39779"/>
                      </a:lnTo>
                      <a:lnTo>
                        <a:pt x="178365" y="41262"/>
                      </a:lnTo>
                      <a:lnTo>
                        <a:pt x="178243" y="42232"/>
                      </a:lnTo>
                      <a:lnTo>
                        <a:pt x="178186" y="43503"/>
                      </a:lnTo>
                      <a:lnTo>
                        <a:pt x="177232" y="45182"/>
                      </a:lnTo>
                      <a:lnTo>
                        <a:pt x="176727" y="46193"/>
                      </a:lnTo>
                      <a:lnTo>
                        <a:pt x="176890" y="46894"/>
                      </a:lnTo>
                      <a:lnTo>
                        <a:pt x="176613" y="47831"/>
                      </a:lnTo>
                      <a:lnTo>
                        <a:pt x="175912" y="49013"/>
                      </a:lnTo>
                      <a:lnTo>
                        <a:pt x="176328" y="50585"/>
                      </a:lnTo>
                      <a:lnTo>
                        <a:pt x="177860" y="52549"/>
                      </a:lnTo>
                      <a:lnTo>
                        <a:pt x="179726" y="54139"/>
                      </a:lnTo>
                      <a:lnTo>
                        <a:pt x="181935" y="55345"/>
                      </a:lnTo>
                      <a:lnTo>
                        <a:pt x="183312" y="56592"/>
                      </a:lnTo>
                      <a:lnTo>
                        <a:pt x="183866" y="57879"/>
                      </a:lnTo>
                      <a:lnTo>
                        <a:pt x="184477" y="58597"/>
                      </a:lnTo>
                      <a:lnTo>
                        <a:pt x="185154" y="58727"/>
                      </a:lnTo>
                      <a:lnTo>
                        <a:pt x="185773" y="59322"/>
                      </a:lnTo>
                      <a:lnTo>
                        <a:pt x="186311" y="60398"/>
                      </a:lnTo>
                      <a:lnTo>
                        <a:pt x="185716" y="62280"/>
                      </a:lnTo>
                      <a:lnTo>
                        <a:pt x="183989" y="64994"/>
                      </a:lnTo>
                      <a:lnTo>
                        <a:pt x="183206" y="66738"/>
                      </a:lnTo>
                      <a:lnTo>
                        <a:pt x="183385" y="67529"/>
                      </a:lnTo>
                      <a:lnTo>
                        <a:pt x="181910" y="70495"/>
                      </a:lnTo>
                      <a:lnTo>
                        <a:pt x="181829" y="71661"/>
                      </a:lnTo>
                      <a:lnTo>
                        <a:pt x="182440" y="72467"/>
                      </a:lnTo>
                      <a:lnTo>
                        <a:pt x="184787" y="73617"/>
                      </a:lnTo>
                      <a:lnTo>
                        <a:pt x="185553" y="74570"/>
                      </a:lnTo>
                      <a:lnTo>
                        <a:pt x="186164" y="74717"/>
                      </a:lnTo>
                      <a:lnTo>
                        <a:pt x="186613" y="74048"/>
                      </a:lnTo>
                      <a:lnTo>
                        <a:pt x="187550" y="73739"/>
                      </a:lnTo>
                      <a:lnTo>
                        <a:pt x="188952" y="73804"/>
                      </a:lnTo>
                      <a:lnTo>
                        <a:pt x="190272" y="74277"/>
                      </a:lnTo>
                      <a:lnTo>
                        <a:pt x="191503" y="75173"/>
                      </a:lnTo>
                      <a:lnTo>
                        <a:pt x="191943" y="76086"/>
                      </a:lnTo>
                      <a:lnTo>
                        <a:pt x="191584" y="77039"/>
                      </a:lnTo>
                      <a:lnTo>
                        <a:pt x="190948" y="77374"/>
                      </a:lnTo>
                      <a:lnTo>
                        <a:pt x="189041" y="77227"/>
                      </a:lnTo>
                      <a:lnTo>
                        <a:pt x="187974" y="77716"/>
                      </a:lnTo>
                      <a:lnTo>
                        <a:pt x="187338" y="78726"/>
                      </a:lnTo>
                      <a:lnTo>
                        <a:pt x="187151" y="81432"/>
                      </a:lnTo>
                      <a:lnTo>
                        <a:pt x="187672" y="82581"/>
                      </a:lnTo>
                      <a:lnTo>
                        <a:pt x="187982" y="82581"/>
                      </a:lnTo>
                      <a:lnTo>
                        <a:pt x="188406" y="82035"/>
                      </a:lnTo>
                      <a:lnTo>
                        <a:pt x="188952" y="80951"/>
                      </a:lnTo>
                      <a:lnTo>
                        <a:pt x="189547" y="80829"/>
                      </a:lnTo>
                      <a:lnTo>
                        <a:pt x="190190" y="81669"/>
                      </a:lnTo>
                      <a:lnTo>
                        <a:pt x="189498" y="83413"/>
                      </a:lnTo>
                      <a:lnTo>
                        <a:pt x="187477" y="86045"/>
                      </a:lnTo>
                      <a:lnTo>
                        <a:pt x="186955" y="86876"/>
                      </a:lnTo>
                      <a:lnTo>
                        <a:pt x="186955" y="88058"/>
                      </a:lnTo>
                      <a:lnTo>
                        <a:pt x="188642" y="90185"/>
                      </a:lnTo>
                      <a:lnTo>
                        <a:pt x="189261" y="89981"/>
                      </a:lnTo>
                      <a:lnTo>
                        <a:pt x="189669" y="89460"/>
                      </a:lnTo>
                      <a:lnTo>
                        <a:pt x="190321" y="88808"/>
                      </a:lnTo>
                      <a:lnTo>
                        <a:pt x="192521" y="88482"/>
                      </a:lnTo>
                      <a:lnTo>
                        <a:pt x="195203" y="87569"/>
                      </a:lnTo>
                      <a:lnTo>
                        <a:pt x="196947" y="87365"/>
                      </a:lnTo>
                      <a:lnTo>
                        <a:pt x="198120" y="88188"/>
                      </a:lnTo>
                      <a:lnTo>
                        <a:pt x="198894" y="89345"/>
                      </a:lnTo>
                      <a:lnTo>
                        <a:pt x="198976" y="90568"/>
                      </a:lnTo>
                      <a:lnTo>
                        <a:pt x="198422" y="92059"/>
                      </a:lnTo>
                      <a:lnTo>
                        <a:pt x="198357" y="93380"/>
                      </a:lnTo>
                      <a:lnTo>
                        <a:pt x="198780" y="94529"/>
                      </a:lnTo>
                      <a:lnTo>
                        <a:pt x="200223" y="95132"/>
                      </a:lnTo>
                      <a:lnTo>
                        <a:pt x="202692" y="95197"/>
                      </a:lnTo>
                      <a:lnTo>
                        <a:pt x="203996" y="95523"/>
                      </a:lnTo>
                      <a:lnTo>
                        <a:pt x="204461" y="96468"/>
                      </a:lnTo>
                      <a:lnTo>
                        <a:pt x="204966" y="96615"/>
                      </a:lnTo>
                      <a:lnTo>
                        <a:pt x="209481" y="97039"/>
                      </a:lnTo>
                      <a:lnTo>
                        <a:pt x="211168" y="97463"/>
                      </a:lnTo>
                      <a:lnTo>
                        <a:pt x="211681" y="98074"/>
                      </a:lnTo>
                      <a:lnTo>
                        <a:pt x="214477" y="98889"/>
                      </a:lnTo>
                      <a:lnTo>
                        <a:pt x="225226" y="100877"/>
                      </a:lnTo>
                      <a:lnTo>
                        <a:pt x="228470" y="100625"/>
                      </a:lnTo>
                      <a:lnTo>
                        <a:pt x="232822" y="99965"/>
                      </a:lnTo>
                      <a:lnTo>
                        <a:pt x="234199" y="101073"/>
                      </a:lnTo>
                      <a:lnTo>
                        <a:pt x="234827" y="101195"/>
                      </a:lnTo>
                      <a:lnTo>
                        <a:pt x="235837" y="101024"/>
                      </a:lnTo>
                      <a:lnTo>
                        <a:pt x="241974" y="100445"/>
                      </a:lnTo>
                      <a:lnTo>
                        <a:pt x="242772" y="101521"/>
                      </a:lnTo>
                      <a:lnTo>
                        <a:pt x="245796" y="102540"/>
                      </a:lnTo>
                      <a:lnTo>
                        <a:pt x="247785" y="102622"/>
                      </a:lnTo>
                      <a:lnTo>
                        <a:pt x="250360" y="102727"/>
                      </a:lnTo>
                      <a:lnTo>
                        <a:pt x="255209" y="103216"/>
                      </a:lnTo>
                      <a:lnTo>
                        <a:pt x="256383" y="103583"/>
                      </a:lnTo>
                      <a:lnTo>
                        <a:pt x="256472" y="104757"/>
                      </a:lnTo>
                      <a:lnTo>
                        <a:pt x="256480" y="105238"/>
                      </a:lnTo>
                      <a:lnTo>
                        <a:pt x="256847" y="105254"/>
                      </a:lnTo>
                      <a:lnTo>
                        <a:pt x="257426" y="104700"/>
                      </a:lnTo>
                      <a:lnTo>
                        <a:pt x="258379" y="104504"/>
                      </a:lnTo>
                      <a:lnTo>
                        <a:pt x="259056" y="103999"/>
                      </a:lnTo>
                      <a:lnTo>
                        <a:pt x="259439" y="103208"/>
                      </a:lnTo>
                      <a:lnTo>
                        <a:pt x="260205" y="103062"/>
                      </a:lnTo>
                      <a:lnTo>
                        <a:pt x="261957" y="104088"/>
                      </a:lnTo>
                      <a:lnTo>
                        <a:pt x="262030" y="104651"/>
                      </a:lnTo>
                      <a:lnTo>
                        <a:pt x="259585" y="105865"/>
                      </a:lnTo>
                      <a:lnTo>
                        <a:pt x="259854" y="106387"/>
                      </a:lnTo>
                      <a:lnTo>
                        <a:pt x="259993" y="106696"/>
                      </a:lnTo>
                      <a:lnTo>
                        <a:pt x="260653" y="106867"/>
                      </a:lnTo>
                      <a:lnTo>
                        <a:pt x="260710" y="107414"/>
                      </a:lnTo>
                      <a:lnTo>
                        <a:pt x="259912" y="108057"/>
                      </a:lnTo>
                      <a:lnTo>
                        <a:pt x="260669" y="108465"/>
                      </a:lnTo>
                      <a:lnTo>
                        <a:pt x="263008" y="107536"/>
                      </a:lnTo>
                      <a:lnTo>
                        <a:pt x="264320" y="107487"/>
                      </a:lnTo>
                      <a:lnTo>
                        <a:pt x="267939" y="108204"/>
                      </a:lnTo>
                      <a:lnTo>
                        <a:pt x="269593" y="108204"/>
                      </a:lnTo>
                      <a:lnTo>
                        <a:pt x="270579" y="107609"/>
                      </a:lnTo>
                      <a:lnTo>
                        <a:pt x="270726" y="107071"/>
                      </a:lnTo>
                      <a:lnTo>
                        <a:pt x="271166" y="106729"/>
                      </a:lnTo>
                      <a:lnTo>
                        <a:pt x="271460" y="106876"/>
                      </a:lnTo>
                      <a:lnTo>
                        <a:pt x="271566" y="107585"/>
                      </a:lnTo>
                      <a:lnTo>
                        <a:pt x="271500" y="108889"/>
                      </a:lnTo>
                      <a:lnTo>
                        <a:pt x="273065" y="109353"/>
                      </a:lnTo>
                      <a:lnTo>
                        <a:pt x="276268" y="108995"/>
                      </a:lnTo>
                      <a:lnTo>
                        <a:pt x="278191" y="109019"/>
                      </a:lnTo>
                      <a:lnTo>
                        <a:pt x="279992" y="109019"/>
                      </a:lnTo>
                      <a:lnTo>
                        <a:pt x="280310" y="109321"/>
                      </a:lnTo>
                      <a:lnTo>
                        <a:pt x="280767" y="110144"/>
                      </a:lnTo>
                      <a:lnTo>
                        <a:pt x="282128" y="111627"/>
                      </a:lnTo>
                      <a:lnTo>
                        <a:pt x="282584" y="112287"/>
                      </a:lnTo>
                      <a:lnTo>
                        <a:pt x="283008" y="113795"/>
                      </a:lnTo>
                      <a:lnTo>
                        <a:pt x="284002" y="114699"/>
                      </a:lnTo>
                      <a:lnTo>
                        <a:pt x="284328" y="115514"/>
                      </a:lnTo>
                      <a:lnTo>
                        <a:pt x="284385" y="116215"/>
                      </a:lnTo>
                      <a:lnTo>
                        <a:pt x="284687" y="116916"/>
                      </a:lnTo>
                      <a:lnTo>
                        <a:pt x="285583" y="118513"/>
                      </a:lnTo>
                      <a:lnTo>
                        <a:pt x="286757" y="119646"/>
                      </a:lnTo>
                      <a:lnTo>
                        <a:pt x="287392" y="120616"/>
                      </a:lnTo>
                      <a:lnTo>
                        <a:pt x="287621" y="121765"/>
                      </a:lnTo>
                      <a:lnTo>
                        <a:pt x="288248" y="122222"/>
                      </a:lnTo>
                      <a:lnTo>
                        <a:pt x="289267" y="121969"/>
                      </a:lnTo>
                      <a:lnTo>
                        <a:pt x="289699" y="121488"/>
                      </a:lnTo>
                      <a:lnTo>
                        <a:pt x="289633" y="120526"/>
                      </a:lnTo>
                      <a:lnTo>
                        <a:pt x="290017" y="120714"/>
                      </a:lnTo>
                      <a:lnTo>
                        <a:pt x="290644" y="122336"/>
                      </a:lnTo>
                      <a:lnTo>
                        <a:pt x="290571" y="124911"/>
                      </a:lnTo>
                      <a:lnTo>
                        <a:pt x="290734" y="126402"/>
                      </a:lnTo>
                      <a:lnTo>
                        <a:pt x="291614" y="128472"/>
                      </a:lnTo>
                      <a:lnTo>
                        <a:pt x="292788" y="129035"/>
                      </a:lnTo>
                      <a:lnTo>
                        <a:pt x="293578" y="129850"/>
                      </a:lnTo>
                      <a:lnTo>
                        <a:pt x="295892" y="130420"/>
                      </a:lnTo>
                      <a:lnTo>
                        <a:pt x="296129" y="130257"/>
                      </a:lnTo>
                      <a:lnTo>
                        <a:pt x="295689" y="128913"/>
                      </a:lnTo>
                      <a:lnTo>
                        <a:pt x="295917" y="128562"/>
                      </a:lnTo>
                      <a:lnTo>
                        <a:pt x="296691" y="128481"/>
                      </a:lnTo>
                      <a:lnTo>
                        <a:pt x="298011" y="128668"/>
                      </a:lnTo>
                      <a:lnTo>
                        <a:pt x="298867" y="129328"/>
                      </a:lnTo>
                      <a:lnTo>
                        <a:pt x="299266" y="130461"/>
                      </a:lnTo>
                      <a:lnTo>
                        <a:pt x="299055" y="131920"/>
                      </a:lnTo>
                      <a:lnTo>
                        <a:pt x="297522" y="133395"/>
                      </a:lnTo>
                      <a:lnTo>
                        <a:pt x="297286" y="134658"/>
                      </a:lnTo>
                      <a:lnTo>
                        <a:pt x="297628" y="135440"/>
                      </a:lnTo>
                      <a:lnTo>
                        <a:pt x="298011" y="135587"/>
                      </a:lnTo>
                      <a:lnTo>
                        <a:pt x="298435" y="135090"/>
                      </a:lnTo>
                      <a:lnTo>
                        <a:pt x="299071" y="135334"/>
                      </a:lnTo>
                      <a:lnTo>
                        <a:pt x="299919" y="136321"/>
                      </a:lnTo>
                      <a:lnTo>
                        <a:pt x="300138" y="137111"/>
                      </a:lnTo>
                      <a:lnTo>
                        <a:pt x="299739" y="137714"/>
                      </a:lnTo>
                      <a:lnTo>
                        <a:pt x="298232" y="138056"/>
                      </a:lnTo>
                      <a:lnTo>
                        <a:pt x="298166" y="138660"/>
                      </a:lnTo>
                      <a:lnTo>
                        <a:pt x="299764" y="139972"/>
                      </a:lnTo>
                      <a:lnTo>
                        <a:pt x="301002" y="141716"/>
                      </a:lnTo>
                      <a:lnTo>
                        <a:pt x="301638" y="141895"/>
                      </a:lnTo>
                      <a:lnTo>
                        <a:pt x="301989" y="142457"/>
                      </a:lnTo>
                      <a:lnTo>
                        <a:pt x="302070" y="143395"/>
                      </a:lnTo>
                      <a:lnTo>
                        <a:pt x="302730" y="144022"/>
                      </a:lnTo>
                      <a:lnTo>
                        <a:pt x="304564" y="144723"/>
                      </a:lnTo>
                      <a:lnTo>
                        <a:pt x="305265" y="146532"/>
                      </a:lnTo>
                      <a:lnTo>
                        <a:pt x="305640" y="147600"/>
                      </a:lnTo>
                      <a:lnTo>
                        <a:pt x="305965" y="148822"/>
                      </a:lnTo>
                      <a:lnTo>
                        <a:pt x="306512" y="148961"/>
                      </a:lnTo>
                      <a:lnTo>
                        <a:pt x="306927" y="148382"/>
                      </a:lnTo>
                      <a:lnTo>
                        <a:pt x="306935" y="147298"/>
                      </a:lnTo>
                      <a:lnTo>
                        <a:pt x="307840" y="146866"/>
                      </a:lnTo>
                      <a:lnTo>
                        <a:pt x="307930" y="147437"/>
                      </a:lnTo>
                      <a:lnTo>
                        <a:pt x="307408" y="148757"/>
                      </a:lnTo>
                      <a:lnTo>
                        <a:pt x="307530" y="149808"/>
                      </a:lnTo>
                      <a:lnTo>
                        <a:pt x="308288" y="150591"/>
                      </a:lnTo>
                      <a:lnTo>
                        <a:pt x="307310" y="150868"/>
                      </a:lnTo>
                      <a:lnTo>
                        <a:pt x="304596" y="150623"/>
                      </a:lnTo>
                      <a:lnTo>
                        <a:pt x="303374" y="149556"/>
                      </a:lnTo>
                      <a:lnTo>
                        <a:pt x="302999" y="149173"/>
                      </a:lnTo>
                      <a:lnTo>
                        <a:pt x="302160" y="149050"/>
                      </a:lnTo>
                      <a:lnTo>
                        <a:pt x="301907" y="148676"/>
                      </a:lnTo>
                      <a:lnTo>
                        <a:pt x="302274" y="147592"/>
                      </a:lnTo>
                      <a:lnTo>
                        <a:pt x="302046" y="147298"/>
                      </a:lnTo>
                      <a:lnTo>
                        <a:pt x="300375" y="147551"/>
                      </a:lnTo>
                      <a:lnTo>
                        <a:pt x="298688" y="148333"/>
                      </a:lnTo>
                      <a:lnTo>
                        <a:pt x="297604" y="149279"/>
                      </a:lnTo>
                      <a:lnTo>
                        <a:pt x="297612" y="150371"/>
                      </a:lnTo>
                      <a:lnTo>
                        <a:pt x="298337" y="151504"/>
                      </a:lnTo>
                      <a:lnTo>
                        <a:pt x="299764" y="152685"/>
                      </a:lnTo>
                      <a:lnTo>
                        <a:pt x="300350" y="154690"/>
                      </a:lnTo>
                      <a:lnTo>
                        <a:pt x="300090" y="157510"/>
                      </a:lnTo>
                      <a:lnTo>
                        <a:pt x="299372" y="159409"/>
                      </a:lnTo>
                      <a:lnTo>
                        <a:pt x="298183" y="160387"/>
                      </a:lnTo>
                      <a:lnTo>
                        <a:pt x="294686" y="159678"/>
                      </a:lnTo>
                      <a:lnTo>
                        <a:pt x="288876" y="157290"/>
                      </a:lnTo>
                      <a:lnTo>
                        <a:pt x="285583" y="155163"/>
                      </a:lnTo>
                      <a:lnTo>
                        <a:pt x="284181" y="152270"/>
                      </a:lnTo>
                      <a:lnTo>
                        <a:pt x="283668" y="152074"/>
                      </a:lnTo>
                      <a:lnTo>
                        <a:pt x="280701" y="153011"/>
                      </a:lnTo>
                      <a:lnTo>
                        <a:pt x="279112" y="154209"/>
                      </a:lnTo>
                      <a:lnTo>
                        <a:pt x="277735" y="155904"/>
                      </a:lnTo>
                      <a:lnTo>
                        <a:pt x="277344" y="155375"/>
                      </a:lnTo>
                      <a:lnTo>
                        <a:pt x="277947" y="152604"/>
                      </a:lnTo>
                      <a:lnTo>
                        <a:pt x="278191" y="150884"/>
                      </a:lnTo>
                      <a:lnTo>
                        <a:pt x="278093" y="150191"/>
                      </a:lnTo>
                      <a:lnTo>
                        <a:pt x="277499" y="149637"/>
                      </a:lnTo>
                      <a:lnTo>
                        <a:pt x="276406" y="149205"/>
                      </a:lnTo>
                      <a:lnTo>
                        <a:pt x="274948" y="149442"/>
                      </a:lnTo>
                      <a:lnTo>
                        <a:pt x="272764" y="150737"/>
                      </a:lnTo>
                      <a:lnTo>
                        <a:pt x="272266" y="150583"/>
                      </a:lnTo>
                      <a:lnTo>
                        <a:pt x="272323" y="150134"/>
                      </a:lnTo>
                      <a:lnTo>
                        <a:pt x="274589" y="148015"/>
                      </a:lnTo>
                      <a:lnTo>
                        <a:pt x="275331" y="146842"/>
                      </a:lnTo>
                      <a:lnTo>
                        <a:pt x="275339" y="145774"/>
                      </a:lnTo>
                      <a:lnTo>
                        <a:pt x="275673" y="144804"/>
                      </a:lnTo>
                      <a:lnTo>
                        <a:pt x="276325" y="143949"/>
                      </a:lnTo>
                      <a:lnTo>
                        <a:pt x="276162" y="143566"/>
                      </a:lnTo>
                      <a:lnTo>
                        <a:pt x="275184" y="143647"/>
                      </a:lnTo>
                      <a:lnTo>
                        <a:pt x="274687" y="144014"/>
                      </a:lnTo>
                      <a:lnTo>
                        <a:pt x="273644" y="145530"/>
                      </a:lnTo>
                      <a:lnTo>
                        <a:pt x="272160" y="145391"/>
                      </a:lnTo>
                      <a:lnTo>
                        <a:pt x="271973" y="145041"/>
                      </a:lnTo>
                      <a:lnTo>
                        <a:pt x="272372" y="144177"/>
                      </a:lnTo>
                      <a:lnTo>
                        <a:pt x="272046" y="143631"/>
                      </a:lnTo>
                      <a:lnTo>
                        <a:pt x="271003" y="143411"/>
                      </a:lnTo>
                      <a:lnTo>
                        <a:pt x="270669" y="142417"/>
                      </a:lnTo>
                      <a:lnTo>
                        <a:pt x="270327" y="142205"/>
                      </a:lnTo>
                      <a:lnTo>
                        <a:pt x="269039" y="141520"/>
                      </a:lnTo>
                      <a:lnTo>
                        <a:pt x="268917" y="139662"/>
                      </a:lnTo>
                      <a:lnTo>
                        <a:pt x="268477" y="138162"/>
                      </a:lnTo>
                      <a:lnTo>
                        <a:pt x="267719" y="137021"/>
                      </a:lnTo>
                      <a:lnTo>
                        <a:pt x="267637" y="135881"/>
                      </a:lnTo>
                      <a:lnTo>
                        <a:pt x="268395" y="134030"/>
                      </a:lnTo>
                      <a:lnTo>
                        <a:pt x="268110" y="133770"/>
                      </a:lnTo>
                      <a:lnTo>
                        <a:pt x="265551" y="133525"/>
                      </a:lnTo>
                      <a:lnTo>
                        <a:pt x="260694" y="133305"/>
                      </a:lnTo>
                      <a:lnTo>
                        <a:pt x="258167" y="133680"/>
                      </a:lnTo>
                      <a:lnTo>
                        <a:pt x="257955" y="134658"/>
                      </a:lnTo>
                      <a:lnTo>
                        <a:pt x="258526" y="135383"/>
                      </a:lnTo>
                      <a:lnTo>
                        <a:pt x="259871" y="135864"/>
                      </a:lnTo>
                      <a:lnTo>
                        <a:pt x="260824" y="136679"/>
                      </a:lnTo>
                      <a:lnTo>
                        <a:pt x="261142" y="137396"/>
                      </a:lnTo>
                      <a:lnTo>
                        <a:pt x="262030" y="138114"/>
                      </a:lnTo>
                      <a:lnTo>
                        <a:pt x="263074" y="139646"/>
                      </a:lnTo>
                      <a:lnTo>
                        <a:pt x="264263" y="141968"/>
                      </a:lnTo>
                      <a:lnTo>
                        <a:pt x="265152" y="142938"/>
                      </a:lnTo>
                      <a:lnTo>
                        <a:pt x="266105" y="143052"/>
                      </a:lnTo>
                      <a:lnTo>
                        <a:pt x="266643" y="143281"/>
                      </a:lnTo>
                      <a:lnTo>
                        <a:pt x="266570" y="145620"/>
                      </a:lnTo>
                      <a:lnTo>
                        <a:pt x="267002" y="147054"/>
                      </a:lnTo>
                      <a:lnTo>
                        <a:pt x="268020" y="148382"/>
                      </a:lnTo>
                      <a:lnTo>
                        <a:pt x="268558" y="149857"/>
                      </a:lnTo>
                      <a:lnTo>
                        <a:pt x="268501" y="152433"/>
                      </a:lnTo>
                      <a:lnTo>
                        <a:pt x="268575" y="154975"/>
                      </a:lnTo>
                      <a:lnTo>
                        <a:pt x="268086" y="156622"/>
                      </a:lnTo>
                      <a:lnTo>
                        <a:pt x="266733" y="158520"/>
                      </a:lnTo>
                      <a:lnTo>
                        <a:pt x="265869" y="160110"/>
                      </a:lnTo>
                      <a:lnTo>
                        <a:pt x="265486" y="161381"/>
                      </a:lnTo>
                      <a:lnTo>
                        <a:pt x="264769" y="162220"/>
                      </a:lnTo>
                      <a:lnTo>
                        <a:pt x="263701" y="162636"/>
                      </a:lnTo>
                      <a:lnTo>
                        <a:pt x="262601" y="163533"/>
                      </a:lnTo>
                      <a:lnTo>
                        <a:pt x="261452" y="164902"/>
                      </a:lnTo>
                      <a:lnTo>
                        <a:pt x="260710" y="166605"/>
                      </a:lnTo>
                      <a:lnTo>
                        <a:pt x="260368" y="168642"/>
                      </a:lnTo>
                      <a:lnTo>
                        <a:pt x="259431" y="170737"/>
                      </a:lnTo>
                      <a:lnTo>
                        <a:pt x="257898" y="172888"/>
                      </a:lnTo>
                      <a:lnTo>
                        <a:pt x="257312" y="175341"/>
                      </a:lnTo>
                      <a:lnTo>
                        <a:pt x="257654" y="178088"/>
                      </a:lnTo>
                      <a:lnTo>
                        <a:pt x="257703" y="189897"/>
                      </a:lnTo>
                      <a:lnTo>
                        <a:pt x="257980" y="192831"/>
                      </a:lnTo>
                      <a:lnTo>
                        <a:pt x="257793" y="195724"/>
                      </a:lnTo>
                      <a:lnTo>
                        <a:pt x="257132" y="198593"/>
                      </a:lnTo>
                      <a:lnTo>
                        <a:pt x="256008" y="200826"/>
                      </a:lnTo>
                      <a:lnTo>
                        <a:pt x="254435" y="202456"/>
                      </a:lnTo>
                      <a:lnTo>
                        <a:pt x="252870" y="203654"/>
                      </a:lnTo>
                      <a:lnTo>
                        <a:pt x="251313" y="204420"/>
                      </a:lnTo>
                      <a:lnTo>
                        <a:pt x="249855" y="205724"/>
                      </a:lnTo>
                      <a:lnTo>
                        <a:pt x="248494" y="207557"/>
                      </a:lnTo>
                      <a:lnTo>
                        <a:pt x="246187" y="209212"/>
                      </a:lnTo>
                      <a:lnTo>
                        <a:pt x="242936" y="210654"/>
                      </a:lnTo>
                      <a:lnTo>
                        <a:pt x="240336" y="211551"/>
                      </a:lnTo>
                      <a:lnTo>
                        <a:pt x="239969" y="210825"/>
                      </a:lnTo>
                      <a:lnTo>
                        <a:pt x="239244" y="209350"/>
                      </a:lnTo>
                      <a:lnTo>
                        <a:pt x="237883" y="202472"/>
                      </a:lnTo>
                      <a:lnTo>
                        <a:pt x="235878" y="190166"/>
                      </a:lnTo>
                      <a:lnTo>
                        <a:pt x="234232" y="182521"/>
                      </a:lnTo>
                      <a:lnTo>
                        <a:pt x="232920" y="179571"/>
                      </a:lnTo>
                      <a:lnTo>
                        <a:pt x="231143" y="177322"/>
                      </a:lnTo>
                      <a:lnTo>
                        <a:pt x="228894" y="175790"/>
                      </a:lnTo>
                      <a:lnTo>
                        <a:pt x="227190" y="175113"/>
                      </a:lnTo>
                      <a:lnTo>
                        <a:pt x="226009" y="175317"/>
                      </a:lnTo>
                      <a:lnTo>
                        <a:pt x="224158" y="176564"/>
                      </a:lnTo>
                      <a:lnTo>
                        <a:pt x="220687" y="177664"/>
                      </a:lnTo>
                      <a:lnTo>
                        <a:pt x="219269" y="178390"/>
                      </a:lnTo>
                      <a:lnTo>
                        <a:pt x="218446" y="179359"/>
                      </a:lnTo>
                      <a:lnTo>
                        <a:pt x="217484" y="179922"/>
                      </a:lnTo>
                      <a:lnTo>
                        <a:pt x="216392" y="180093"/>
                      </a:lnTo>
                      <a:lnTo>
                        <a:pt x="216270" y="180354"/>
                      </a:lnTo>
                      <a:lnTo>
                        <a:pt x="217125" y="180712"/>
                      </a:lnTo>
                      <a:lnTo>
                        <a:pt x="217125" y="181649"/>
                      </a:lnTo>
                      <a:lnTo>
                        <a:pt x="214754" y="185773"/>
                      </a:lnTo>
                      <a:lnTo>
                        <a:pt x="214754" y="185773"/>
                      </a:lnTo>
                      <a:lnTo>
                        <a:pt x="214754" y="185773"/>
                      </a:lnTo>
                      <a:lnTo>
                        <a:pt x="214754" y="185773"/>
                      </a:lnTo>
                      <a:close/>
                    </a:path>
                  </a:pathLst>
                </a:custGeom>
                <a:solidFill>
                  <a:srgbClr val="FFFFFF"/>
                </a:solidFill>
                <a:ln w="8150" cap="flat">
                  <a:noFill/>
                  <a:prstDash val="solid"/>
                  <a:miter/>
                </a:ln>
              </p:spPr>
              <p:txBody>
                <a:bodyPr rtlCol="0" anchor="ctr"/>
                <a:lstStyle/>
                <a:p>
                  <a:endParaRPr lang="en-US"/>
                </a:p>
              </p:txBody>
            </p:sp>
            <p:sp>
              <p:nvSpPr>
                <p:cNvPr id="423" name="Freeform: Shape 422">
                  <a:extLst>
                    <a:ext uri="{FF2B5EF4-FFF2-40B4-BE49-F238E27FC236}">
                      <a16:creationId xmlns:a16="http://schemas.microsoft.com/office/drawing/2014/main" id="{5DB92621-D2AD-4C4A-8906-B0409AFA932A}"/>
                    </a:ext>
                  </a:extLst>
                </p:cNvPr>
                <p:cNvSpPr/>
                <p:nvPr/>
              </p:nvSpPr>
              <p:spPr>
                <a:xfrm>
                  <a:off x="6658682" y="4621421"/>
                  <a:ext cx="53119" cy="163752"/>
                </a:xfrm>
                <a:custGeom>
                  <a:avLst/>
                  <a:gdLst>
                    <a:gd name="connsiteX0" fmla="*/ 43356 w 53119"/>
                    <a:gd name="connsiteY0" fmla="*/ 157339 h 163752"/>
                    <a:gd name="connsiteX1" fmla="*/ 43185 w 53119"/>
                    <a:gd name="connsiteY1" fmla="*/ 156972 h 163752"/>
                    <a:gd name="connsiteX2" fmla="*/ 41017 w 53119"/>
                    <a:gd name="connsiteY2" fmla="*/ 155986 h 163752"/>
                    <a:gd name="connsiteX3" fmla="*/ 40268 w 53119"/>
                    <a:gd name="connsiteY3" fmla="*/ 155399 h 163752"/>
                    <a:gd name="connsiteX4" fmla="*/ 40031 w 53119"/>
                    <a:gd name="connsiteY4" fmla="*/ 155057 h 163752"/>
                    <a:gd name="connsiteX5" fmla="*/ 39599 w 53119"/>
                    <a:gd name="connsiteY5" fmla="*/ 155179 h 163752"/>
                    <a:gd name="connsiteX6" fmla="*/ 38760 w 53119"/>
                    <a:gd name="connsiteY6" fmla="*/ 156295 h 163752"/>
                    <a:gd name="connsiteX7" fmla="*/ 37138 w 53119"/>
                    <a:gd name="connsiteY7" fmla="*/ 157387 h 163752"/>
                    <a:gd name="connsiteX8" fmla="*/ 36625 w 53119"/>
                    <a:gd name="connsiteY8" fmla="*/ 157355 h 163752"/>
                    <a:gd name="connsiteX9" fmla="*/ 37260 w 53119"/>
                    <a:gd name="connsiteY9" fmla="*/ 156670 h 163752"/>
                    <a:gd name="connsiteX10" fmla="*/ 37505 w 53119"/>
                    <a:gd name="connsiteY10" fmla="*/ 156092 h 163752"/>
                    <a:gd name="connsiteX11" fmla="*/ 37456 w 53119"/>
                    <a:gd name="connsiteY11" fmla="*/ 155391 h 163752"/>
                    <a:gd name="connsiteX12" fmla="*/ 36828 w 53119"/>
                    <a:gd name="connsiteY12" fmla="*/ 155097 h 163752"/>
                    <a:gd name="connsiteX13" fmla="*/ 35639 w 53119"/>
                    <a:gd name="connsiteY13" fmla="*/ 155195 h 163752"/>
                    <a:gd name="connsiteX14" fmla="*/ 34889 w 53119"/>
                    <a:gd name="connsiteY14" fmla="*/ 154918 h 163752"/>
                    <a:gd name="connsiteX15" fmla="*/ 34473 w 53119"/>
                    <a:gd name="connsiteY15" fmla="*/ 153443 h 163752"/>
                    <a:gd name="connsiteX16" fmla="*/ 34791 w 53119"/>
                    <a:gd name="connsiteY16" fmla="*/ 151430 h 163752"/>
                    <a:gd name="connsiteX17" fmla="*/ 35239 w 53119"/>
                    <a:gd name="connsiteY17" fmla="*/ 150599 h 163752"/>
                    <a:gd name="connsiteX18" fmla="*/ 35972 w 53119"/>
                    <a:gd name="connsiteY18" fmla="*/ 149914 h 163752"/>
                    <a:gd name="connsiteX19" fmla="*/ 36991 w 53119"/>
                    <a:gd name="connsiteY19" fmla="*/ 149344 h 163752"/>
                    <a:gd name="connsiteX20" fmla="*/ 37595 w 53119"/>
                    <a:gd name="connsiteY20" fmla="*/ 147820 h 163752"/>
                    <a:gd name="connsiteX21" fmla="*/ 37774 w 53119"/>
                    <a:gd name="connsiteY21" fmla="*/ 145375 h 163752"/>
                    <a:gd name="connsiteX22" fmla="*/ 37440 w 53119"/>
                    <a:gd name="connsiteY22" fmla="*/ 143395 h 163752"/>
                    <a:gd name="connsiteX23" fmla="*/ 36576 w 53119"/>
                    <a:gd name="connsiteY23" fmla="*/ 141854 h 163752"/>
                    <a:gd name="connsiteX24" fmla="*/ 35769 w 53119"/>
                    <a:gd name="connsiteY24" fmla="*/ 140925 h 163752"/>
                    <a:gd name="connsiteX25" fmla="*/ 34987 w 53119"/>
                    <a:gd name="connsiteY25" fmla="*/ 140566 h 163752"/>
                    <a:gd name="connsiteX26" fmla="*/ 34334 w 53119"/>
                    <a:gd name="connsiteY26" fmla="*/ 139833 h 163752"/>
                    <a:gd name="connsiteX27" fmla="*/ 33202 w 53119"/>
                    <a:gd name="connsiteY27" fmla="*/ 137771 h 163752"/>
                    <a:gd name="connsiteX28" fmla="*/ 32485 w 53119"/>
                    <a:gd name="connsiteY28" fmla="*/ 136997 h 163752"/>
                    <a:gd name="connsiteX29" fmla="*/ 30675 w 53119"/>
                    <a:gd name="connsiteY29" fmla="*/ 136100 h 163752"/>
                    <a:gd name="connsiteX30" fmla="*/ 30260 w 53119"/>
                    <a:gd name="connsiteY30" fmla="*/ 135367 h 163752"/>
                    <a:gd name="connsiteX31" fmla="*/ 29958 w 53119"/>
                    <a:gd name="connsiteY31" fmla="*/ 132946 h 163752"/>
                    <a:gd name="connsiteX32" fmla="*/ 28858 w 53119"/>
                    <a:gd name="connsiteY32" fmla="*/ 129988 h 163752"/>
                    <a:gd name="connsiteX33" fmla="*/ 28442 w 53119"/>
                    <a:gd name="connsiteY33" fmla="*/ 127486 h 163752"/>
                    <a:gd name="connsiteX34" fmla="*/ 28670 w 53119"/>
                    <a:gd name="connsiteY34" fmla="*/ 126622 h 163752"/>
                    <a:gd name="connsiteX35" fmla="*/ 28524 w 53119"/>
                    <a:gd name="connsiteY35" fmla="*/ 124112 h 163752"/>
                    <a:gd name="connsiteX36" fmla="*/ 27008 w 53119"/>
                    <a:gd name="connsiteY36" fmla="*/ 118856 h 163752"/>
                    <a:gd name="connsiteX37" fmla="*/ 25614 w 53119"/>
                    <a:gd name="connsiteY37" fmla="*/ 116305 h 163752"/>
                    <a:gd name="connsiteX38" fmla="*/ 23699 w 53119"/>
                    <a:gd name="connsiteY38" fmla="*/ 114210 h 163752"/>
                    <a:gd name="connsiteX39" fmla="*/ 21596 w 53119"/>
                    <a:gd name="connsiteY39" fmla="*/ 112719 h 163752"/>
                    <a:gd name="connsiteX40" fmla="*/ 19290 w 53119"/>
                    <a:gd name="connsiteY40" fmla="*/ 111765 h 163752"/>
                    <a:gd name="connsiteX41" fmla="*/ 17220 w 53119"/>
                    <a:gd name="connsiteY41" fmla="*/ 109728 h 163752"/>
                    <a:gd name="connsiteX42" fmla="*/ 13846 w 53119"/>
                    <a:gd name="connsiteY42" fmla="*/ 104520 h 163752"/>
                    <a:gd name="connsiteX43" fmla="*/ 11874 w 53119"/>
                    <a:gd name="connsiteY43" fmla="*/ 102467 h 163752"/>
                    <a:gd name="connsiteX44" fmla="*/ 11255 w 53119"/>
                    <a:gd name="connsiteY44" fmla="*/ 101440 h 163752"/>
                    <a:gd name="connsiteX45" fmla="*/ 10472 w 53119"/>
                    <a:gd name="connsiteY45" fmla="*/ 98840 h 163752"/>
                    <a:gd name="connsiteX46" fmla="*/ 10586 w 53119"/>
                    <a:gd name="connsiteY46" fmla="*/ 95963 h 163752"/>
                    <a:gd name="connsiteX47" fmla="*/ 10374 w 53119"/>
                    <a:gd name="connsiteY47" fmla="*/ 95278 h 163752"/>
                    <a:gd name="connsiteX48" fmla="*/ 9820 w 53119"/>
                    <a:gd name="connsiteY48" fmla="*/ 95344 h 163752"/>
                    <a:gd name="connsiteX49" fmla="*/ 9388 w 53119"/>
                    <a:gd name="connsiteY49" fmla="*/ 95107 h 163752"/>
                    <a:gd name="connsiteX50" fmla="*/ 9087 w 53119"/>
                    <a:gd name="connsiteY50" fmla="*/ 94577 h 163752"/>
                    <a:gd name="connsiteX51" fmla="*/ 6299 w 53119"/>
                    <a:gd name="connsiteY51" fmla="*/ 85556 h 163752"/>
                    <a:gd name="connsiteX52" fmla="*/ 5745 w 53119"/>
                    <a:gd name="connsiteY52" fmla="*/ 85099 h 163752"/>
                    <a:gd name="connsiteX53" fmla="*/ 5256 w 53119"/>
                    <a:gd name="connsiteY53" fmla="*/ 83763 h 163752"/>
                    <a:gd name="connsiteX54" fmla="*/ 4776 w 53119"/>
                    <a:gd name="connsiteY54" fmla="*/ 83095 h 163752"/>
                    <a:gd name="connsiteX55" fmla="*/ 3912 w 53119"/>
                    <a:gd name="connsiteY55" fmla="*/ 82475 h 163752"/>
                    <a:gd name="connsiteX56" fmla="*/ 3358 w 53119"/>
                    <a:gd name="connsiteY56" fmla="*/ 80968 h 163752"/>
                    <a:gd name="connsiteX57" fmla="*/ 3137 w 53119"/>
                    <a:gd name="connsiteY57" fmla="*/ 78555 h 163752"/>
                    <a:gd name="connsiteX58" fmla="*/ 3276 w 53119"/>
                    <a:gd name="connsiteY58" fmla="*/ 77276 h 163752"/>
                    <a:gd name="connsiteX59" fmla="*/ 3895 w 53119"/>
                    <a:gd name="connsiteY59" fmla="*/ 76583 h 163752"/>
                    <a:gd name="connsiteX60" fmla="*/ 6748 w 53119"/>
                    <a:gd name="connsiteY60" fmla="*/ 73779 h 163752"/>
                    <a:gd name="connsiteX61" fmla="*/ 7000 w 53119"/>
                    <a:gd name="connsiteY61" fmla="*/ 72810 h 163752"/>
                    <a:gd name="connsiteX62" fmla="*/ 7017 w 53119"/>
                    <a:gd name="connsiteY62" fmla="*/ 72207 h 163752"/>
                    <a:gd name="connsiteX63" fmla="*/ 6829 w 53119"/>
                    <a:gd name="connsiteY63" fmla="*/ 69680 h 163752"/>
                    <a:gd name="connsiteX64" fmla="*/ 7049 w 53119"/>
                    <a:gd name="connsiteY64" fmla="*/ 68857 h 163752"/>
                    <a:gd name="connsiteX65" fmla="*/ 7766 w 53119"/>
                    <a:gd name="connsiteY65" fmla="*/ 68718 h 163752"/>
                    <a:gd name="connsiteX66" fmla="*/ 7799 w 53119"/>
                    <a:gd name="connsiteY66" fmla="*/ 68311 h 163752"/>
                    <a:gd name="connsiteX67" fmla="*/ 4189 w 53119"/>
                    <a:gd name="connsiteY67" fmla="*/ 60960 h 163752"/>
                    <a:gd name="connsiteX68" fmla="*/ 2469 w 53119"/>
                    <a:gd name="connsiteY68" fmla="*/ 56893 h 163752"/>
                    <a:gd name="connsiteX69" fmla="*/ 1467 w 53119"/>
                    <a:gd name="connsiteY69" fmla="*/ 53544 h 163752"/>
                    <a:gd name="connsiteX70" fmla="*/ 1100 w 53119"/>
                    <a:gd name="connsiteY70" fmla="*/ 51433 h 163752"/>
                    <a:gd name="connsiteX71" fmla="*/ 1352 w 53119"/>
                    <a:gd name="connsiteY71" fmla="*/ 50585 h 163752"/>
                    <a:gd name="connsiteX72" fmla="*/ 1402 w 53119"/>
                    <a:gd name="connsiteY72" fmla="*/ 41238 h 163752"/>
                    <a:gd name="connsiteX73" fmla="*/ 1654 w 53119"/>
                    <a:gd name="connsiteY73" fmla="*/ 37399 h 163752"/>
                    <a:gd name="connsiteX74" fmla="*/ 2224 w 53119"/>
                    <a:gd name="connsiteY74" fmla="*/ 35679 h 163752"/>
                    <a:gd name="connsiteX75" fmla="*/ 2771 w 53119"/>
                    <a:gd name="connsiteY75" fmla="*/ 34946 h 163752"/>
                    <a:gd name="connsiteX76" fmla="*/ 3594 w 53119"/>
                    <a:gd name="connsiteY76" fmla="*/ 35141 h 163752"/>
                    <a:gd name="connsiteX77" fmla="*/ 3561 w 53119"/>
                    <a:gd name="connsiteY77" fmla="*/ 32933 h 163752"/>
                    <a:gd name="connsiteX78" fmla="*/ 4890 w 53119"/>
                    <a:gd name="connsiteY78" fmla="*/ 22868 h 163752"/>
                    <a:gd name="connsiteX79" fmla="*/ 4661 w 53119"/>
                    <a:gd name="connsiteY79" fmla="*/ 21792 h 163752"/>
                    <a:gd name="connsiteX80" fmla="*/ 4221 w 53119"/>
                    <a:gd name="connsiteY80" fmla="*/ 21972 h 163752"/>
                    <a:gd name="connsiteX81" fmla="*/ 3993 w 53119"/>
                    <a:gd name="connsiteY81" fmla="*/ 23365 h 163752"/>
                    <a:gd name="connsiteX82" fmla="*/ 2184 w 53119"/>
                    <a:gd name="connsiteY82" fmla="*/ 29869 h 163752"/>
                    <a:gd name="connsiteX83" fmla="*/ 1858 w 53119"/>
                    <a:gd name="connsiteY83" fmla="*/ 30138 h 163752"/>
                    <a:gd name="connsiteX84" fmla="*/ 130 w 53119"/>
                    <a:gd name="connsiteY84" fmla="*/ 29347 h 163752"/>
                    <a:gd name="connsiteX85" fmla="*/ 0 w 53119"/>
                    <a:gd name="connsiteY85" fmla="*/ 28410 h 163752"/>
                    <a:gd name="connsiteX86" fmla="*/ 782 w 53119"/>
                    <a:gd name="connsiteY86" fmla="*/ 27179 h 163752"/>
                    <a:gd name="connsiteX87" fmla="*/ 1035 w 53119"/>
                    <a:gd name="connsiteY87" fmla="*/ 25989 h 163752"/>
                    <a:gd name="connsiteX88" fmla="*/ 766 w 53119"/>
                    <a:gd name="connsiteY88" fmla="*/ 24881 h 163752"/>
                    <a:gd name="connsiteX89" fmla="*/ 717 w 53119"/>
                    <a:gd name="connsiteY89" fmla="*/ 22583 h 163752"/>
                    <a:gd name="connsiteX90" fmla="*/ 1149 w 53119"/>
                    <a:gd name="connsiteY90" fmla="*/ 16707 h 163752"/>
                    <a:gd name="connsiteX91" fmla="*/ 1483 w 53119"/>
                    <a:gd name="connsiteY91" fmla="*/ 15395 h 163752"/>
                    <a:gd name="connsiteX92" fmla="*/ 1483 w 53119"/>
                    <a:gd name="connsiteY92" fmla="*/ 14335 h 163752"/>
                    <a:gd name="connsiteX93" fmla="*/ 1149 w 53119"/>
                    <a:gd name="connsiteY93" fmla="*/ 13463 h 163752"/>
                    <a:gd name="connsiteX94" fmla="*/ 1304 w 53119"/>
                    <a:gd name="connsiteY94" fmla="*/ 12339 h 163752"/>
                    <a:gd name="connsiteX95" fmla="*/ 1988 w 53119"/>
                    <a:gd name="connsiteY95" fmla="*/ 10945 h 163752"/>
                    <a:gd name="connsiteX96" fmla="*/ 2224 w 53119"/>
                    <a:gd name="connsiteY96" fmla="*/ 8345 h 163752"/>
                    <a:gd name="connsiteX97" fmla="*/ 2021 w 53119"/>
                    <a:gd name="connsiteY97" fmla="*/ 4556 h 163752"/>
                    <a:gd name="connsiteX98" fmla="*/ 2103 w 53119"/>
                    <a:gd name="connsiteY98" fmla="*/ 2078 h 163752"/>
                    <a:gd name="connsiteX99" fmla="*/ 2486 w 53119"/>
                    <a:gd name="connsiteY99" fmla="*/ 937 h 163752"/>
                    <a:gd name="connsiteX100" fmla="*/ 2925 w 53119"/>
                    <a:gd name="connsiteY100" fmla="*/ 236 h 163752"/>
                    <a:gd name="connsiteX101" fmla="*/ 3439 w 53119"/>
                    <a:gd name="connsiteY101" fmla="*/ 0 h 163752"/>
                    <a:gd name="connsiteX102" fmla="*/ 5981 w 53119"/>
                    <a:gd name="connsiteY102" fmla="*/ 497 h 163752"/>
                    <a:gd name="connsiteX103" fmla="*/ 6813 w 53119"/>
                    <a:gd name="connsiteY103" fmla="*/ 1540 h 163752"/>
                    <a:gd name="connsiteX104" fmla="*/ 6780 w 53119"/>
                    <a:gd name="connsiteY104" fmla="*/ 3716 h 163752"/>
                    <a:gd name="connsiteX105" fmla="*/ 6878 w 53119"/>
                    <a:gd name="connsiteY105" fmla="*/ 9723 h 163752"/>
                    <a:gd name="connsiteX106" fmla="*/ 7163 w 53119"/>
                    <a:gd name="connsiteY106" fmla="*/ 13667 h 163752"/>
                    <a:gd name="connsiteX107" fmla="*/ 7612 w 53119"/>
                    <a:gd name="connsiteY107" fmla="*/ 15509 h 163752"/>
                    <a:gd name="connsiteX108" fmla="*/ 9340 w 53119"/>
                    <a:gd name="connsiteY108" fmla="*/ 19136 h 163752"/>
                    <a:gd name="connsiteX109" fmla="*/ 9315 w 53119"/>
                    <a:gd name="connsiteY109" fmla="*/ 19853 h 163752"/>
                    <a:gd name="connsiteX110" fmla="*/ 11556 w 53119"/>
                    <a:gd name="connsiteY110" fmla="*/ 25908 h 163752"/>
                    <a:gd name="connsiteX111" fmla="*/ 12925 w 53119"/>
                    <a:gd name="connsiteY111" fmla="*/ 28817 h 163752"/>
                    <a:gd name="connsiteX112" fmla="*/ 14180 w 53119"/>
                    <a:gd name="connsiteY112" fmla="*/ 30806 h 163752"/>
                    <a:gd name="connsiteX113" fmla="*/ 14759 w 53119"/>
                    <a:gd name="connsiteY113" fmla="*/ 32411 h 163752"/>
                    <a:gd name="connsiteX114" fmla="*/ 14482 w 53119"/>
                    <a:gd name="connsiteY114" fmla="*/ 34506 h 163752"/>
                    <a:gd name="connsiteX115" fmla="*/ 13626 w 53119"/>
                    <a:gd name="connsiteY115" fmla="*/ 43487 h 163752"/>
                    <a:gd name="connsiteX116" fmla="*/ 13797 w 53119"/>
                    <a:gd name="connsiteY116" fmla="*/ 46241 h 163752"/>
                    <a:gd name="connsiteX117" fmla="*/ 13447 w 53119"/>
                    <a:gd name="connsiteY117" fmla="*/ 46706 h 163752"/>
                    <a:gd name="connsiteX118" fmla="*/ 13642 w 53119"/>
                    <a:gd name="connsiteY118" fmla="*/ 47032 h 163752"/>
                    <a:gd name="connsiteX119" fmla="*/ 14392 w 53119"/>
                    <a:gd name="connsiteY119" fmla="*/ 47228 h 163752"/>
                    <a:gd name="connsiteX120" fmla="*/ 15549 w 53119"/>
                    <a:gd name="connsiteY120" fmla="*/ 47986 h 163752"/>
                    <a:gd name="connsiteX121" fmla="*/ 17155 w 53119"/>
                    <a:gd name="connsiteY121" fmla="*/ 49338 h 163752"/>
                    <a:gd name="connsiteX122" fmla="*/ 18222 w 53119"/>
                    <a:gd name="connsiteY122" fmla="*/ 51034 h 163752"/>
                    <a:gd name="connsiteX123" fmla="*/ 18736 w 53119"/>
                    <a:gd name="connsiteY123" fmla="*/ 53087 h 163752"/>
                    <a:gd name="connsiteX124" fmla="*/ 18817 w 53119"/>
                    <a:gd name="connsiteY124" fmla="*/ 54375 h 163752"/>
                    <a:gd name="connsiteX125" fmla="*/ 18483 w 53119"/>
                    <a:gd name="connsiteY125" fmla="*/ 54888 h 163752"/>
                    <a:gd name="connsiteX126" fmla="*/ 18434 w 53119"/>
                    <a:gd name="connsiteY126" fmla="*/ 57512 h 163752"/>
                    <a:gd name="connsiteX127" fmla="*/ 18117 w 53119"/>
                    <a:gd name="connsiteY127" fmla="*/ 57724 h 163752"/>
                    <a:gd name="connsiteX128" fmla="*/ 17766 w 53119"/>
                    <a:gd name="connsiteY128" fmla="*/ 60455 h 163752"/>
                    <a:gd name="connsiteX129" fmla="*/ 17220 w 53119"/>
                    <a:gd name="connsiteY129" fmla="*/ 61979 h 163752"/>
                    <a:gd name="connsiteX130" fmla="*/ 17383 w 53119"/>
                    <a:gd name="connsiteY130" fmla="*/ 63829 h 163752"/>
                    <a:gd name="connsiteX131" fmla="*/ 18720 w 53119"/>
                    <a:gd name="connsiteY131" fmla="*/ 65646 h 163752"/>
                    <a:gd name="connsiteX132" fmla="*/ 20040 w 53119"/>
                    <a:gd name="connsiteY132" fmla="*/ 68727 h 163752"/>
                    <a:gd name="connsiteX133" fmla="*/ 21491 w 53119"/>
                    <a:gd name="connsiteY133" fmla="*/ 72965 h 163752"/>
                    <a:gd name="connsiteX134" fmla="*/ 22175 w 53119"/>
                    <a:gd name="connsiteY134" fmla="*/ 75646 h 163752"/>
                    <a:gd name="connsiteX135" fmla="*/ 22077 w 53119"/>
                    <a:gd name="connsiteY135" fmla="*/ 76795 h 163752"/>
                    <a:gd name="connsiteX136" fmla="*/ 21295 w 53119"/>
                    <a:gd name="connsiteY136" fmla="*/ 77977 h 163752"/>
                    <a:gd name="connsiteX137" fmla="*/ 19820 w 53119"/>
                    <a:gd name="connsiteY137" fmla="*/ 79215 h 163752"/>
                    <a:gd name="connsiteX138" fmla="*/ 18842 w 53119"/>
                    <a:gd name="connsiteY138" fmla="*/ 79721 h 163752"/>
                    <a:gd name="connsiteX139" fmla="*/ 18386 w 53119"/>
                    <a:gd name="connsiteY139" fmla="*/ 79517 h 163752"/>
                    <a:gd name="connsiteX140" fmla="*/ 17815 w 53119"/>
                    <a:gd name="connsiteY140" fmla="*/ 79851 h 163752"/>
                    <a:gd name="connsiteX141" fmla="*/ 17131 w 53119"/>
                    <a:gd name="connsiteY141" fmla="*/ 80739 h 163752"/>
                    <a:gd name="connsiteX142" fmla="*/ 16650 w 53119"/>
                    <a:gd name="connsiteY142" fmla="*/ 82687 h 163752"/>
                    <a:gd name="connsiteX143" fmla="*/ 16365 w 53119"/>
                    <a:gd name="connsiteY143" fmla="*/ 85719 h 163752"/>
                    <a:gd name="connsiteX144" fmla="*/ 16486 w 53119"/>
                    <a:gd name="connsiteY144" fmla="*/ 87153 h 163752"/>
                    <a:gd name="connsiteX145" fmla="*/ 17131 w 53119"/>
                    <a:gd name="connsiteY145" fmla="*/ 88465 h 163752"/>
                    <a:gd name="connsiteX146" fmla="*/ 18907 w 53119"/>
                    <a:gd name="connsiteY146" fmla="*/ 90935 h 163752"/>
                    <a:gd name="connsiteX147" fmla="*/ 21980 w 53119"/>
                    <a:gd name="connsiteY147" fmla="*/ 94211 h 163752"/>
                    <a:gd name="connsiteX148" fmla="*/ 22126 w 53119"/>
                    <a:gd name="connsiteY148" fmla="*/ 94781 h 163752"/>
                    <a:gd name="connsiteX149" fmla="*/ 22509 w 53119"/>
                    <a:gd name="connsiteY149" fmla="*/ 94847 h 163752"/>
                    <a:gd name="connsiteX150" fmla="*/ 23952 w 53119"/>
                    <a:gd name="connsiteY150" fmla="*/ 93909 h 163752"/>
                    <a:gd name="connsiteX151" fmla="*/ 25704 w 53119"/>
                    <a:gd name="connsiteY151" fmla="*/ 93551 h 163752"/>
                    <a:gd name="connsiteX152" fmla="*/ 26772 w 53119"/>
                    <a:gd name="connsiteY152" fmla="*/ 93795 h 163752"/>
                    <a:gd name="connsiteX153" fmla="*/ 27505 w 53119"/>
                    <a:gd name="connsiteY153" fmla="*/ 94317 h 163752"/>
                    <a:gd name="connsiteX154" fmla="*/ 27888 w 53119"/>
                    <a:gd name="connsiteY154" fmla="*/ 95140 h 163752"/>
                    <a:gd name="connsiteX155" fmla="*/ 30798 w 53119"/>
                    <a:gd name="connsiteY155" fmla="*/ 98318 h 163752"/>
                    <a:gd name="connsiteX156" fmla="*/ 32215 w 53119"/>
                    <a:gd name="connsiteY156" fmla="*/ 100559 h 163752"/>
                    <a:gd name="connsiteX157" fmla="*/ 33234 w 53119"/>
                    <a:gd name="connsiteY157" fmla="*/ 103192 h 163752"/>
                    <a:gd name="connsiteX158" fmla="*/ 34652 w 53119"/>
                    <a:gd name="connsiteY158" fmla="*/ 105531 h 163752"/>
                    <a:gd name="connsiteX159" fmla="*/ 36470 w 53119"/>
                    <a:gd name="connsiteY159" fmla="*/ 107544 h 163752"/>
                    <a:gd name="connsiteX160" fmla="*/ 37358 w 53119"/>
                    <a:gd name="connsiteY160" fmla="*/ 109638 h 163752"/>
                    <a:gd name="connsiteX161" fmla="*/ 37293 w 53119"/>
                    <a:gd name="connsiteY161" fmla="*/ 111822 h 163752"/>
                    <a:gd name="connsiteX162" fmla="*/ 36861 w 53119"/>
                    <a:gd name="connsiteY162" fmla="*/ 112988 h 163752"/>
                    <a:gd name="connsiteX163" fmla="*/ 36290 w 53119"/>
                    <a:gd name="connsiteY163" fmla="*/ 113085 h 163752"/>
                    <a:gd name="connsiteX164" fmla="*/ 36087 w 53119"/>
                    <a:gd name="connsiteY164" fmla="*/ 113330 h 163752"/>
                    <a:gd name="connsiteX165" fmla="*/ 36323 w 53119"/>
                    <a:gd name="connsiteY165" fmla="*/ 114830 h 163752"/>
                    <a:gd name="connsiteX166" fmla="*/ 37676 w 53119"/>
                    <a:gd name="connsiteY166" fmla="*/ 118163 h 163752"/>
                    <a:gd name="connsiteX167" fmla="*/ 38230 w 53119"/>
                    <a:gd name="connsiteY167" fmla="*/ 121146 h 163752"/>
                    <a:gd name="connsiteX168" fmla="*/ 37978 w 53119"/>
                    <a:gd name="connsiteY168" fmla="*/ 123811 h 163752"/>
                    <a:gd name="connsiteX169" fmla="*/ 38361 w 53119"/>
                    <a:gd name="connsiteY169" fmla="*/ 126142 h 163752"/>
                    <a:gd name="connsiteX170" fmla="*/ 39396 w 53119"/>
                    <a:gd name="connsiteY170" fmla="*/ 128187 h 163752"/>
                    <a:gd name="connsiteX171" fmla="*/ 41352 w 53119"/>
                    <a:gd name="connsiteY171" fmla="*/ 130933 h 163752"/>
                    <a:gd name="connsiteX172" fmla="*/ 43854 w 53119"/>
                    <a:gd name="connsiteY172" fmla="*/ 137233 h 163752"/>
                    <a:gd name="connsiteX173" fmla="*/ 45842 w 53119"/>
                    <a:gd name="connsiteY173" fmla="*/ 141055 h 163752"/>
                    <a:gd name="connsiteX174" fmla="*/ 46013 w 53119"/>
                    <a:gd name="connsiteY174" fmla="*/ 142172 h 163752"/>
                    <a:gd name="connsiteX175" fmla="*/ 46339 w 53119"/>
                    <a:gd name="connsiteY175" fmla="*/ 142873 h 163752"/>
                    <a:gd name="connsiteX176" fmla="*/ 47113 w 53119"/>
                    <a:gd name="connsiteY176" fmla="*/ 143549 h 163752"/>
                    <a:gd name="connsiteX177" fmla="*/ 47244 w 53119"/>
                    <a:gd name="connsiteY177" fmla="*/ 144103 h 163752"/>
                    <a:gd name="connsiteX178" fmla="*/ 46893 w 53119"/>
                    <a:gd name="connsiteY178" fmla="*/ 144780 h 163752"/>
                    <a:gd name="connsiteX179" fmla="*/ 46942 w 53119"/>
                    <a:gd name="connsiteY179" fmla="*/ 145644 h 163752"/>
                    <a:gd name="connsiteX180" fmla="*/ 47293 w 53119"/>
                    <a:gd name="connsiteY180" fmla="*/ 147094 h 163752"/>
                    <a:gd name="connsiteX181" fmla="*/ 48531 w 53119"/>
                    <a:gd name="connsiteY181" fmla="*/ 149050 h 163752"/>
                    <a:gd name="connsiteX182" fmla="*/ 50699 w 53119"/>
                    <a:gd name="connsiteY182" fmla="*/ 151512 h 163752"/>
                    <a:gd name="connsiteX183" fmla="*/ 51718 w 53119"/>
                    <a:gd name="connsiteY183" fmla="*/ 153500 h 163752"/>
                    <a:gd name="connsiteX184" fmla="*/ 51604 w 53119"/>
                    <a:gd name="connsiteY184" fmla="*/ 154983 h 163752"/>
                    <a:gd name="connsiteX185" fmla="*/ 51938 w 53119"/>
                    <a:gd name="connsiteY185" fmla="*/ 156507 h 163752"/>
                    <a:gd name="connsiteX186" fmla="*/ 52736 w 53119"/>
                    <a:gd name="connsiteY186" fmla="*/ 158064 h 163752"/>
                    <a:gd name="connsiteX187" fmla="*/ 53120 w 53119"/>
                    <a:gd name="connsiteY187" fmla="*/ 159547 h 163752"/>
                    <a:gd name="connsiteX188" fmla="*/ 52875 w 53119"/>
                    <a:gd name="connsiteY188" fmla="*/ 161894 h 163752"/>
                    <a:gd name="connsiteX189" fmla="*/ 52606 w 53119"/>
                    <a:gd name="connsiteY189" fmla="*/ 162261 h 163752"/>
                    <a:gd name="connsiteX190" fmla="*/ 52288 w 53119"/>
                    <a:gd name="connsiteY190" fmla="*/ 162155 h 163752"/>
                    <a:gd name="connsiteX191" fmla="*/ 51905 w 53119"/>
                    <a:gd name="connsiteY191" fmla="*/ 161585 h 163752"/>
                    <a:gd name="connsiteX192" fmla="*/ 51474 w 53119"/>
                    <a:gd name="connsiteY192" fmla="*/ 161731 h 163752"/>
                    <a:gd name="connsiteX193" fmla="*/ 50985 w 53119"/>
                    <a:gd name="connsiteY193" fmla="*/ 162620 h 163752"/>
                    <a:gd name="connsiteX194" fmla="*/ 50267 w 53119"/>
                    <a:gd name="connsiteY194" fmla="*/ 163296 h 163752"/>
                    <a:gd name="connsiteX195" fmla="*/ 49297 w 53119"/>
                    <a:gd name="connsiteY195" fmla="*/ 163752 h 163752"/>
                    <a:gd name="connsiteX196" fmla="*/ 48719 w 53119"/>
                    <a:gd name="connsiteY196" fmla="*/ 163606 h 163752"/>
                    <a:gd name="connsiteX197" fmla="*/ 47464 w 53119"/>
                    <a:gd name="connsiteY197" fmla="*/ 162359 h 163752"/>
                    <a:gd name="connsiteX198" fmla="*/ 43356 w 53119"/>
                    <a:gd name="connsiteY198" fmla="*/ 157339 h 163752"/>
                    <a:gd name="connsiteX199" fmla="*/ 43356 w 53119"/>
                    <a:gd name="connsiteY199" fmla="*/ 157339 h 163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53119" h="163752">
                      <a:moveTo>
                        <a:pt x="43356" y="157339"/>
                      </a:moveTo>
                      <a:lnTo>
                        <a:pt x="43185" y="156972"/>
                      </a:lnTo>
                      <a:lnTo>
                        <a:pt x="41017" y="155986"/>
                      </a:lnTo>
                      <a:lnTo>
                        <a:pt x="40268" y="155399"/>
                      </a:lnTo>
                      <a:lnTo>
                        <a:pt x="40031" y="155057"/>
                      </a:lnTo>
                      <a:lnTo>
                        <a:pt x="39599" y="155179"/>
                      </a:lnTo>
                      <a:lnTo>
                        <a:pt x="38760" y="156295"/>
                      </a:lnTo>
                      <a:lnTo>
                        <a:pt x="37138" y="157387"/>
                      </a:lnTo>
                      <a:lnTo>
                        <a:pt x="36625" y="157355"/>
                      </a:lnTo>
                      <a:lnTo>
                        <a:pt x="37260" y="156670"/>
                      </a:lnTo>
                      <a:lnTo>
                        <a:pt x="37505" y="156092"/>
                      </a:lnTo>
                      <a:lnTo>
                        <a:pt x="37456" y="155391"/>
                      </a:lnTo>
                      <a:lnTo>
                        <a:pt x="36828" y="155097"/>
                      </a:lnTo>
                      <a:lnTo>
                        <a:pt x="35639" y="155195"/>
                      </a:lnTo>
                      <a:lnTo>
                        <a:pt x="34889" y="154918"/>
                      </a:lnTo>
                      <a:lnTo>
                        <a:pt x="34473" y="153443"/>
                      </a:lnTo>
                      <a:lnTo>
                        <a:pt x="34791" y="151430"/>
                      </a:lnTo>
                      <a:lnTo>
                        <a:pt x="35239" y="150599"/>
                      </a:lnTo>
                      <a:lnTo>
                        <a:pt x="35972" y="149914"/>
                      </a:lnTo>
                      <a:lnTo>
                        <a:pt x="36991" y="149344"/>
                      </a:lnTo>
                      <a:lnTo>
                        <a:pt x="37595" y="147820"/>
                      </a:lnTo>
                      <a:lnTo>
                        <a:pt x="37774" y="145375"/>
                      </a:lnTo>
                      <a:lnTo>
                        <a:pt x="37440" y="143395"/>
                      </a:lnTo>
                      <a:lnTo>
                        <a:pt x="36576" y="141854"/>
                      </a:lnTo>
                      <a:lnTo>
                        <a:pt x="35769" y="140925"/>
                      </a:lnTo>
                      <a:lnTo>
                        <a:pt x="34987" y="140566"/>
                      </a:lnTo>
                      <a:lnTo>
                        <a:pt x="34334" y="139833"/>
                      </a:lnTo>
                      <a:lnTo>
                        <a:pt x="33202" y="137771"/>
                      </a:lnTo>
                      <a:lnTo>
                        <a:pt x="32485" y="136997"/>
                      </a:lnTo>
                      <a:lnTo>
                        <a:pt x="30675" y="136100"/>
                      </a:lnTo>
                      <a:lnTo>
                        <a:pt x="30260" y="135367"/>
                      </a:lnTo>
                      <a:lnTo>
                        <a:pt x="29958" y="132946"/>
                      </a:lnTo>
                      <a:lnTo>
                        <a:pt x="28858" y="129988"/>
                      </a:lnTo>
                      <a:lnTo>
                        <a:pt x="28442" y="127486"/>
                      </a:lnTo>
                      <a:lnTo>
                        <a:pt x="28670" y="126622"/>
                      </a:lnTo>
                      <a:lnTo>
                        <a:pt x="28524" y="124112"/>
                      </a:lnTo>
                      <a:lnTo>
                        <a:pt x="27008" y="118856"/>
                      </a:lnTo>
                      <a:lnTo>
                        <a:pt x="25614" y="116305"/>
                      </a:lnTo>
                      <a:lnTo>
                        <a:pt x="23699" y="114210"/>
                      </a:lnTo>
                      <a:lnTo>
                        <a:pt x="21596" y="112719"/>
                      </a:lnTo>
                      <a:lnTo>
                        <a:pt x="19290" y="111765"/>
                      </a:lnTo>
                      <a:lnTo>
                        <a:pt x="17220" y="109728"/>
                      </a:lnTo>
                      <a:lnTo>
                        <a:pt x="13846" y="104520"/>
                      </a:lnTo>
                      <a:lnTo>
                        <a:pt x="11874" y="102467"/>
                      </a:lnTo>
                      <a:lnTo>
                        <a:pt x="11255" y="101440"/>
                      </a:lnTo>
                      <a:lnTo>
                        <a:pt x="10472" y="98840"/>
                      </a:lnTo>
                      <a:lnTo>
                        <a:pt x="10586" y="95963"/>
                      </a:lnTo>
                      <a:lnTo>
                        <a:pt x="10374" y="95278"/>
                      </a:lnTo>
                      <a:lnTo>
                        <a:pt x="9820" y="95344"/>
                      </a:lnTo>
                      <a:lnTo>
                        <a:pt x="9388" y="95107"/>
                      </a:lnTo>
                      <a:lnTo>
                        <a:pt x="9087" y="94577"/>
                      </a:lnTo>
                      <a:lnTo>
                        <a:pt x="6299" y="85556"/>
                      </a:lnTo>
                      <a:lnTo>
                        <a:pt x="5745" y="85099"/>
                      </a:lnTo>
                      <a:lnTo>
                        <a:pt x="5256" y="83763"/>
                      </a:lnTo>
                      <a:lnTo>
                        <a:pt x="4776" y="83095"/>
                      </a:lnTo>
                      <a:lnTo>
                        <a:pt x="3912" y="82475"/>
                      </a:lnTo>
                      <a:lnTo>
                        <a:pt x="3358" y="80968"/>
                      </a:lnTo>
                      <a:lnTo>
                        <a:pt x="3137" y="78555"/>
                      </a:lnTo>
                      <a:lnTo>
                        <a:pt x="3276" y="77276"/>
                      </a:lnTo>
                      <a:lnTo>
                        <a:pt x="3895" y="76583"/>
                      </a:lnTo>
                      <a:lnTo>
                        <a:pt x="6748" y="73779"/>
                      </a:lnTo>
                      <a:lnTo>
                        <a:pt x="7000" y="72810"/>
                      </a:lnTo>
                      <a:lnTo>
                        <a:pt x="7017" y="72207"/>
                      </a:lnTo>
                      <a:lnTo>
                        <a:pt x="6829" y="69680"/>
                      </a:lnTo>
                      <a:lnTo>
                        <a:pt x="7049" y="68857"/>
                      </a:lnTo>
                      <a:lnTo>
                        <a:pt x="7766" y="68718"/>
                      </a:lnTo>
                      <a:lnTo>
                        <a:pt x="7799" y="68311"/>
                      </a:lnTo>
                      <a:lnTo>
                        <a:pt x="4189" y="60960"/>
                      </a:lnTo>
                      <a:lnTo>
                        <a:pt x="2469" y="56893"/>
                      </a:lnTo>
                      <a:lnTo>
                        <a:pt x="1467" y="53544"/>
                      </a:lnTo>
                      <a:lnTo>
                        <a:pt x="1100" y="51433"/>
                      </a:lnTo>
                      <a:lnTo>
                        <a:pt x="1352" y="50585"/>
                      </a:lnTo>
                      <a:lnTo>
                        <a:pt x="1402" y="41238"/>
                      </a:lnTo>
                      <a:lnTo>
                        <a:pt x="1654" y="37399"/>
                      </a:lnTo>
                      <a:lnTo>
                        <a:pt x="2224" y="35679"/>
                      </a:lnTo>
                      <a:lnTo>
                        <a:pt x="2771" y="34946"/>
                      </a:lnTo>
                      <a:lnTo>
                        <a:pt x="3594" y="35141"/>
                      </a:lnTo>
                      <a:lnTo>
                        <a:pt x="3561" y="32933"/>
                      </a:lnTo>
                      <a:lnTo>
                        <a:pt x="4890" y="22868"/>
                      </a:lnTo>
                      <a:lnTo>
                        <a:pt x="4661" y="21792"/>
                      </a:lnTo>
                      <a:lnTo>
                        <a:pt x="4221" y="21972"/>
                      </a:lnTo>
                      <a:lnTo>
                        <a:pt x="3993" y="23365"/>
                      </a:lnTo>
                      <a:lnTo>
                        <a:pt x="2184" y="29869"/>
                      </a:lnTo>
                      <a:lnTo>
                        <a:pt x="1858" y="30138"/>
                      </a:lnTo>
                      <a:lnTo>
                        <a:pt x="130" y="29347"/>
                      </a:lnTo>
                      <a:lnTo>
                        <a:pt x="0" y="28410"/>
                      </a:lnTo>
                      <a:lnTo>
                        <a:pt x="782" y="27179"/>
                      </a:lnTo>
                      <a:lnTo>
                        <a:pt x="1035" y="25989"/>
                      </a:lnTo>
                      <a:lnTo>
                        <a:pt x="766" y="24881"/>
                      </a:lnTo>
                      <a:lnTo>
                        <a:pt x="717" y="22583"/>
                      </a:lnTo>
                      <a:lnTo>
                        <a:pt x="1149" y="16707"/>
                      </a:lnTo>
                      <a:lnTo>
                        <a:pt x="1483" y="15395"/>
                      </a:lnTo>
                      <a:lnTo>
                        <a:pt x="1483" y="14335"/>
                      </a:lnTo>
                      <a:lnTo>
                        <a:pt x="1149" y="13463"/>
                      </a:lnTo>
                      <a:lnTo>
                        <a:pt x="1304" y="12339"/>
                      </a:lnTo>
                      <a:lnTo>
                        <a:pt x="1988" y="10945"/>
                      </a:lnTo>
                      <a:lnTo>
                        <a:pt x="2224" y="8345"/>
                      </a:lnTo>
                      <a:lnTo>
                        <a:pt x="2021" y="4556"/>
                      </a:lnTo>
                      <a:lnTo>
                        <a:pt x="2103" y="2078"/>
                      </a:lnTo>
                      <a:lnTo>
                        <a:pt x="2486" y="937"/>
                      </a:lnTo>
                      <a:lnTo>
                        <a:pt x="2925" y="236"/>
                      </a:lnTo>
                      <a:lnTo>
                        <a:pt x="3439" y="0"/>
                      </a:lnTo>
                      <a:lnTo>
                        <a:pt x="5981" y="497"/>
                      </a:lnTo>
                      <a:lnTo>
                        <a:pt x="6813" y="1540"/>
                      </a:lnTo>
                      <a:lnTo>
                        <a:pt x="6780" y="3716"/>
                      </a:lnTo>
                      <a:lnTo>
                        <a:pt x="6878" y="9723"/>
                      </a:lnTo>
                      <a:lnTo>
                        <a:pt x="7163" y="13667"/>
                      </a:lnTo>
                      <a:lnTo>
                        <a:pt x="7612" y="15509"/>
                      </a:lnTo>
                      <a:lnTo>
                        <a:pt x="9340" y="19136"/>
                      </a:lnTo>
                      <a:lnTo>
                        <a:pt x="9315" y="19853"/>
                      </a:lnTo>
                      <a:lnTo>
                        <a:pt x="11556" y="25908"/>
                      </a:lnTo>
                      <a:lnTo>
                        <a:pt x="12925" y="28817"/>
                      </a:lnTo>
                      <a:lnTo>
                        <a:pt x="14180" y="30806"/>
                      </a:lnTo>
                      <a:lnTo>
                        <a:pt x="14759" y="32411"/>
                      </a:lnTo>
                      <a:lnTo>
                        <a:pt x="14482" y="34506"/>
                      </a:lnTo>
                      <a:lnTo>
                        <a:pt x="13626" y="43487"/>
                      </a:lnTo>
                      <a:lnTo>
                        <a:pt x="13797" y="46241"/>
                      </a:lnTo>
                      <a:lnTo>
                        <a:pt x="13447" y="46706"/>
                      </a:lnTo>
                      <a:lnTo>
                        <a:pt x="13642" y="47032"/>
                      </a:lnTo>
                      <a:lnTo>
                        <a:pt x="14392" y="47228"/>
                      </a:lnTo>
                      <a:lnTo>
                        <a:pt x="15549" y="47986"/>
                      </a:lnTo>
                      <a:lnTo>
                        <a:pt x="17155" y="49338"/>
                      </a:lnTo>
                      <a:lnTo>
                        <a:pt x="18222" y="51034"/>
                      </a:lnTo>
                      <a:lnTo>
                        <a:pt x="18736" y="53087"/>
                      </a:lnTo>
                      <a:lnTo>
                        <a:pt x="18817" y="54375"/>
                      </a:lnTo>
                      <a:lnTo>
                        <a:pt x="18483" y="54888"/>
                      </a:lnTo>
                      <a:lnTo>
                        <a:pt x="18434" y="57512"/>
                      </a:lnTo>
                      <a:lnTo>
                        <a:pt x="18117" y="57724"/>
                      </a:lnTo>
                      <a:lnTo>
                        <a:pt x="17766" y="60455"/>
                      </a:lnTo>
                      <a:lnTo>
                        <a:pt x="17220" y="61979"/>
                      </a:lnTo>
                      <a:lnTo>
                        <a:pt x="17383" y="63829"/>
                      </a:lnTo>
                      <a:lnTo>
                        <a:pt x="18720" y="65646"/>
                      </a:lnTo>
                      <a:lnTo>
                        <a:pt x="20040" y="68727"/>
                      </a:lnTo>
                      <a:lnTo>
                        <a:pt x="21491" y="72965"/>
                      </a:lnTo>
                      <a:lnTo>
                        <a:pt x="22175" y="75646"/>
                      </a:lnTo>
                      <a:lnTo>
                        <a:pt x="22077" y="76795"/>
                      </a:lnTo>
                      <a:lnTo>
                        <a:pt x="21295" y="77977"/>
                      </a:lnTo>
                      <a:lnTo>
                        <a:pt x="19820" y="79215"/>
                      </a:lnTo>
                      <a:lnTo>
                        <a:pt x="18842" y="79721"/>
                      </a:lnTo>
                      <a:lnTo>
                        <a:pt x="18386" y="79517"/>
                      </a:lnTo>
                      <a:lnTo>
                        <a:pt x="17815" y="79851"/>
                      </a:lnTo>
                      <a:lnTo>
                        <a:pt x="17131" y="80739"/>
                      </a:lnTo>
                      <a:lnTo>
                        <a:pt x="16650" y="82687"/>
                      </a:lnTo>
                      <a:lnTo>
                        <a:pt x="16365" y="85719"/>
                      </a:lnTo>
                      <a:lnTo>
                        <a:pt x="16486" y="87153"/>
                      </a:lnTo>
                      <a:lnTo>
                        <a:pt x="17131" y="88465"/>
                      </a:lnTo>
                      <a:lnTo>
                        <a:pt x="18907" y="90935"/>
                      </a:lnTo>
                      <a:lnTo>
                        <a:pt x="21980" y="94211"/>
                      </a:lnTo>
                      <a:lnTo>
                        <a:pt x="22126" y="94781"/>
                      </a:lnTo>
                      <a:lnTo>
                        <a:pt x="22509" y="94847"/>
                      </a:lnTo>
                      <a:lnTo>
                        <a:pt x="23952" y="93909"/>
                      </a:lnTo>
                      <a:lnTo>
                        <a:pt x="25704" y="93551"/>
                      </a:lnTo>
                      <a:lnTo>
                        <a:pt x="26772" y="93795"/>
                      </a:lnTo>
                      <a:lnTo>
                        <a:pt x="27505" y="94317"/>
                      </a:lnTo>
                      <a:lnTo>
                        <a:pt x="27888" y="95140"/>
                      </a:lnTo>
                      <a:lnTo>
                        <a:pt x="30798" y="98318"/>
                      </a:lnTo>
                      <a:lnTo>
                        <a:pt x="32215" y="100559"/>
                      </a:lnTo>
                      <a:lnTo>
                        <a:pt x="33234" y="103192"/>
                      </a:lnTo>
                      <a:lnTo>
                        <a:pt x="34652" y="105531"/>
                      </a:lnTo>
                      <a:lnTo>
                        <a:pt x="36470" y="107544"/>
                      </a:lnTo>
                      <a:lnTo>
                        <a:pt x="37358" y="109638"/>
                      </a:lnTo>
                      <a:lnTo>
                        <a:pt x="37293" y="111822"/>
                      </a:lnTo>
                      <a:lnTo>
                        <a:pt x="36861" y="112988"/>
                      </a:lnTo>
                      <a:lnTo>
                        <a:pt x="36290" y="113085"/>
                      </a:lnTo>
                      <a:lnTo>
                        <a:pt x="36087" y="113330"/>
                      </a:lnTo>
                      <a:lnTo>
                        <a:pt x="36323" y="114830"/>
                      </a:lnTo>
                      <a:lnTo>
                        <a:pt x="37676" y="118163"/>
                      </a:lnTo>
                      <a:lnTo>
                        <a:pt x="38230" y="121146"/>
                      </a:lnTo>
                      <a:lnTo>
                        <a:pt x="37978" y="123811"/>
                      </a:lnTo>
                      <a:lnTo>
                        <a:pt x="38361" y="126142"/>
                      </a:lnTo>
                      <a:lnTo>
                        <a:pt x="39396" y="128187"/>
                      </a:lnTo>
                      <a:lnTo>
                        <a:pt x="41352" y="130933"/>
                      </a:lnTo>
                      <a:lnTo>
                        <a:pt x="43854" y="137233"/>
                      </a:lnTo>
                      <a:lnTo>
                        <a:pt x="45842" y="141055"/>
                      </a:lnTo>
                      <a:lnTo>
                        <a:pt x="46013" y="142172"/>
                      </a:lnTo>
                      <a:lnTo>
                        <a:pt x="46339" y="142873"/>
                      </a:lnTo>
                      <a:lnTo>
                        <a:pt x="47113" y="143549"/>
                      </a:lnTo>
                      <a:lnTo>
                        <a:pt x="47244" y="144103"/>
                      </a:lnTo>
                      <a:lnTo>
                        <a:pt x="46893" y="144780"/>
                      </a:lnTo>
                      <a:lnTo>
                        <a:pt x="46942" y="145644"/>
                      </a:lnTo>
                      <a:lnTo>
                        <a:pt x="47293" y="147094"/>
                      </a:lnTo>
                      <a:lnTo>
                        <a:pt x="48531" y="149050"/>
                      </a:lnTo>
                      <a:lnTo>
                        <a:pt x="50699" y="151512"/>
                      </a:lnTo>
                      <a:lnTo>
                        <a:pt x="51718" y="153500"/>
                      </a:lnTo>
                      <a:lnTo>
                        <a:pt x="51604" y="154983"/>
                      </a:lnTo>
                      <a:lnTo>
                        <a:pt x="51938" y="156507"/>
                      </a:lnTo>
                      <a:lnTo>
                        <a:pt x="52736" y="158064"/>
                      </a:lnTo>
                      <a:lnTo>
                        <a:pt x="53120" y="159547"/>
                      </a:lnTo>
                      <a:lnTo>
                        <a:pt x="52875" y="161894"/>
                      </a:lnTo>
                      <a:lnTo>
                        <a:pt x="52606" y="162261"/>
                      </a:lnTo>
                      <a:lnTo>
                        <a:pt x="52288" y="162155"/>
                      </a:lnTo>
                      <a:lnTo>
                        <a:pt x="51905" y="161585"/>
                      </a:lnTo>
                      <a:lnTo>
                        <a:pt x="51474" y="161731"/>
                      </a:lnTo>
                      <a:lnTo>
                        <a:pt x="50985" y="162620"/>
                      </a:lnTo>
                      <a:lnTo>
                        <a:pt x="50267" y="163296"/>
                      </a:lnTo>
                      <a:lnTo>
                        <a:pt x="49297" y="163752"/>
                      </a:lnTo>
                      <a:lnTo>
                        <a:pt x="48719" y="163606"/>
                      </a:lnTo>
                      <a:lnTo>
                        <a:pt x="47464" y="162359"/>
                      </a:lnTo>
                      <a:lnTo>
                        <a:pt x="43356" y="157339"/>
                      </a:lnTo>
                      <a:lnTo>
                        <a:pt x="43356" y="157339"/>
                      </a:lnTo>
                      <a:close/>
                    </a:path>
                  </a:pathLst>
                </a:custGeom>
                <a:solidFill>
                  <a:srgbClr val="FFFFFF"/>
                </a:solidFill>
                <a:ln w="8150" cap="flat">
                  <a:noFill/>
                  <a:prstDash val="solid"/>
                  <a:miter/>
                </a:ln>
              </p:spPr>
              <p:txBody>
                <a:bodyPr rtlCol="0" anchor="ctr"/>
                <a:lstStyle/>
                <a:p>
                  <a:endParaRPr lang="en-US"/>
                </a:p>
              </p:txBody>
            </p:sp>
            <p:sp>
              <p:nvSpPr>
                <p:cNvPr id="424" name="Freeform: Shape 423">
                  <a:extLst>
                    <a:ext uri="{FF2B5EF4-FFF2-40B4-BE49-F238E27FC236}">
                      <a16:creationId xmlns:a16="http://schemas.microsoft.com/office/drawing/2014/main" id="{EAFD95A9-40A8-479D-B231-C3D9F910838A}"/>
                    </a:ext>
                  </a:extLst>
                </p:cNvPr>
                <p:cNvSpPr/>
                <p:nvPr/>
              </p:nvSpPr>
              <p:spPr>
                <a:xfrm>
                  <a:off x="7382272" y="3037496"/>
                  <a:ext cx="75637" cy="92670"/>
                </a:xfrm>
                <a:custGeom>
                  <a:avLst/>
                  <a:gdLst>
                    <a:gd name="connsiteX0" fmla="*/ 72915 w 75637"/>
                    <a:gd name="connsiteY0" fmla="*/ 11524 h 92670"/>
                    <a:gd name="connsiteX1" fmla="*/ 72915 w 75637"/>
                    <a:gd name="connsiteY1" fmla="*/ 11524 h 92670"/>
                    <a:gd name="connsiteX2" fmla="*/ 72915 w 75637"/>
                    <a:gd name="connsiteY2" fmla="*/ 11524 h 92670"/>
                    <a:gd name="connsiteX3" fmla="*/ 72915 w 75637"/>
                    <a:gd name="connsiteY3" fmla="*/ 11524 h 92670"/>
                    <a:gd name="connsiteX4" fmla="*/ 74301 w 75637"/>
                    <a:gd name="connsiteY4" fmla="*/ 11304 h 92670"/>
                    <a:gd name="connsiteX5" fmla="*/ 75230 w 75637"/>
                    <a:gd name="connsiteY5" fmla="*/ 11882 h 92670"/>
                    <a:gd name="connsiteX6" fmla="*/ 75638 w 75637"/>
                    <a:gd name="connsiteY6" fmla="*/ 13268 h 92670"/>
                    <a:gd name="connsiteX7" fmla="*/ 75287 w 75637"/>
                    <a:gd name="connsiteY7" fmla="*/ 15354 h 92670"/>
                    <a:gd name="connsiteX8" fmla="*/ 74195 w 75637"/>
                    <a:gd name="connsiteY8" fmla="*/ 18133 h 92670"/>
                    <a:gd name="connsiteX9" fmla="*/ 73062 w 75637"/>
                    <a:gd name="connsiteY9" fmla="*/ 19535 h 92670"/>
                    <a:gd name="connsiteX10" fmla="*/ 71881 w 75637"/>
                    <a:gd name="connsiteY10" fmla="*/ 19559 h 92670"/>
                    <a:gd name="connsiteX11" fmla="*/ 65630 w 75637"/>
                    <a:gd name="connsiteY11" fmla="*/ 22827 h 92670"/>
                    <a:gd name="connsiteX12" fmla="*/ 64579 w 75637"/>
                    <a:gd name="connsiteY12" fmla="*/ 23023 h 92670"/>
                    <a:gd name="connsiteX13" fmla="*/ 63193 w 75637"/>
                    <a:gd name="connsiteY13" fmla="*/ 24074 h 92670"/>
                    <a:gd name="connsiteX14" fmla="*/ 61954 w 75637"/>
                    <a:gd name="connsiteY14" fmla="*/ 25892 h 92670"/>
                    <a:gd name="connsiteX15" fmla="*/ 60218 w 75637"/>
                    <a:gd name="connsiteY15" fmla="*/ 27416 h 92670"/>
                    <a:gd name="connsiteX16" fmla="*/ 58002 w 75637"/>
                    <a:gd name="connsiteY16" fmla="*/ 28671 h 92670"/>
                    <a:gd name="connsiteX17" fmla="*/ 56314 w 75637"/>
                    <a:gd name="connsiteY17" fmla="*/ 30268 h 92670"/>
                    <a:gd name="connsiteX18" fmla="*/ 55190 w 75637"/>
                    <a:gd name="connsiteY18" fmla="*/ 32208 h 92670"/>
                    <a:gd name="connsiteX19" fmla="*/ 54195 w 75637"/>
                    <a:gd name="connsiteY19" fmla="*/ 33039 h 92670"/>
                    <a:gd name="connsiteX20" fmla="*/ 51685 w 75637"/>
                    <a:gd name="connsiteY20" fmla="*/ 32517 h 92670"/>
                    <a:gd name="connsiteX21" fmla="*/ 42248 w 75637"/>
                    <a:gd name="connsiteY21" fmla="*/ 30504 h 92670"/>
                    <a:gd name="connsiteX22" fmla="*/ 40944 w 75637"/>
                    <a:gd name="connsiteY22" fmla="*/ 30480 h 92670"/>
                    <a:gd name="connsiteX23" fmla="*/ 40064 w 75637"/>
                    <a:gd name="connsiteY23" fmla="*/ 30692 h 92670"/>
                    <a:gd name="connsiteX24" fmla="*/ 39616 w 75637"/>
                    <a:gd name="connsiteY24" fmla="*/ 31140 h 92670"/>
                    <a:gd name="connsiteX25" fmla="*/ 39697 w 75637"/>
                    <a:gd name="connsiteY25" fmla="*/ 31711 h 92670"/>
                    <a:gd name="connsiteX26" fmla="*/ 39925 w 75637"/>
                    <a:gd name="connsiteY26" fmla="*/ 32281 h 92670"/>
                    <a:gd name="connsiteX27" fmla="*/ 39933 w 75637"/>
                    <a:gd name="connsiteY27" fmla="*/ 32697 h 92670"/>
                    <a:gd name="connsiteX28" fmla="*/ 39477 w 75637"/>
                    <a:gd name="connsiteY28" fmla="*/ 33512 h 92670"/>
                    <a:gd name="connsiteX29" fmla="*/ 39347 w 75637"/>
                    <a:gd name="connsiteY29" fmla="*/ 34889 h 92670"/>
                    <a:gd name="connsiteX30" fmla="*/ 39029 w 75637"/>
                    <a:gd name="connsiteY30" fmla="*/ 35288 h 92670"/>
                    <a:gd name="connsiteX31" fmla="*/ 38711 w 75637"/>
                    <a:gd name="connsiteY31" fmla="*/ 35525 h 92670"/>
                    <a:gd name="connsiteX32" fmla="*/ 38442 w 75637"/>
                    <a:gd name="connsiteY32" fmla="*/ 36006 h 92670"/>
                    <a:gd name="connsiteX33" fmla="*/ 38124 w 75637"/>
                    <a:gd name="connsiteY33" fmla="*/ 37619 h 92670"/>
                    <a:gd name="connsiteX34" fmla="*/ 37578 w 75637"/>
                    <a:gd name="connsiteY34" fmla="*/ 38402 h 92670"/>
                    <a:gd name="connsiteX35" fmla="*/ 37293 w 75637"/>
                    <a:gd name="connsiteY35" fmla="*/ 39583 h 92670"/>
                    <a:gd name="connsiteX36" fmla="*/ 37244 w 75637"/>
                    <a:gd name="connsiteY36" fmla="*/ 41132 h 92670"/>
                    <a:gd name="connsiteX37" fmla="*/ 37537 w 75637"/>
                    <a:gd name="connsiteY37" fmla="*/ 42110 h 92670"/>
                    <a:gd name="connsiteX38" fmla="*/ 38124 w 75637"/>
                    <a:gd name="connsiteY38" fmla="*/ 42517 h 92670"/>
                    <a:gd name="connsiteX39" fmla="*/ 42868 w 75637"/>
                    <a:gd name="connsiteY39" fmla="*/ 42265 h 92670"/>
                    <a:gd name="connsiteX40" fmla="*/ 43870 w 75637"/>
                    <a:gd name="connsiteY40" fmla="*/ 42574 h 92670"/>
                    <a:gd name="connsiteX41" fmla="*/ 44758 w 75637"/>
                    <a:gd name="connsiteY41" fmla="*/ 44571 h 92670"/>
                    <a:gd name="connsiteX42" fmla="*/ 45557 w 75637"/>
                    <a:gd name="connsiteY42" fmla="*/ 48246 h 92670"/>
                    <a:gd name="connsiteX43" fmla="*/ 45777 w 75637"/>
                    <a:gd name="connsiteY43" fmla="*/ 51987 h 92670"/>
                    <a:gd name="connsiteX44" fmla="*/ 45426 w 75637"/>
                    <a:gd name="connsiteY44" fmla="*/ 55801 h 92670"/>
                    <a:gd name="connsiteX45" fmla="*/ 45223 w 75637"/>
                    <a:gd name="connsiteY45" fmla="*/ 68450 h 92670"/>
                    <a:gd name="connsiteX46" fmla="*/ 44742 w 75637"/>
                    <a:gd name="connsiteY46" fmla="*/ 72826 h 92670"/>
                    <a:gd name="connsiteX47" fmla="*/ 43805 w 75637"/>
                    <a:gd name="connsiteY47" fmla="*/ 74440 h 92670"/>
                    <a:gd name="connsiteX48" fmla="*/ 43740 w 75637"/>
                    <a:gd name="connsiteY48" fmla="*/ 77137 h 92670"/>
                    <a:gd name="connsiteX49" fmla="*/ 44554 w 75637"/>
                    <a:gd name="connsiteY49" fmla="*/ 80943 h 92670"/>
                    <a:gd name="connsiteX50" fmla="*/ 44693 w 75637"/>
                    <a:gd name="connsiteY50" fmla="*/ 83624 h 92670"/>
                    <a:gd name="connsiteX51" fmla="*/ 44171 w 75637"/>
                    <a:gd name="connsiteY51" fmla="*/ 85214 h 92670"/>
                    <a:gd name="connsiteX52" fmla="*/ 43251 w 75637"/>
                    <a:gd name="connsiteY52" fmla="*/ 86126 h 92670"/>
                    <a:gd name="connsiteX53" fmla="*/ 41865 w 75637"/>
                    <a:gd name="connsiteY53" fmla="*/ 86355 h 92670"/>
                    <a:gd name="connsiteX54" fmla="*/ 41132 w 75637"/>
                    <a:gd name="connsiteY54" fmla="*/ 86819 h 92670"/>
                    <a:gd name="connsiteX55" fmla="*/ 41017 w 75637"/>
                    <a:gd name="connsiteY55" fmla="*/ 87487 h 92670"/>
                    <a:gd name="connsiteX56" fmla="*/ 41335 w 75637"/>
                    <a:gd name="connsiteY56" fmla="*/ 88042 h 92670"/>
                    <a:gd name="connsiteX57" fmla="*/ 42069 w 75637"/>
                    <a:gd name="connsiteY57" fmla="*/ 88474 h 92670"/>
                    <a:gd name="connsiteX58" fmla="*/ 42264 w 75637"/>
                    <a:gd name="connsiteY58" fmla="*/ 89011 h 92670"/>
                    <a:gd name="connsiteX59" fmla="*/ 41898 w 75637"/>
                    <a:gd name="connsiteY59" fmla="*/ 89663 h 92670"/>
                    <a:gd name="connsiteX60" fmla="*/ 39176 w 75637"/>
                    <a:gd name="connsiteY60" fmla="*/ 91481 h 92670"/>
                    <a:gd name="connsiteX61" fmla="*/ 36869 w 75637"/>
                    <a:gd name="connsiteY61" fmla="*/ 92149 h 92670"/>
                    <a:gd name="connsiteX62" fmla="*/ 32469 w 75637"/>
                    <a:gd name="connsiteY62" fmla="*/ 92671 h 92670"/>
                    <a:gd name="connsiteX63" fmla="*/ 32200 w 75637"/>
                    <a:gd name="connsiteY63" fmla="*/ 91945 h 92670"/>
                    <a:gd name="connsiteX64" fmla="*/ 32444 w 75637"/>
                    <a:gd name="connsiteY64" fmla="*/ 90935 h 92670"/>
                    <a:gd name="connsiteX65" fmla="*/ 33112 w 75637"/>
                    <a:gd name="connsiteY65" fmla="*/ 89386 h 92670"/>
                    <a:gd name="connsiteX66" fmla="*/ 35133 w 75637"/>
                    <a:gd name="connsiteY66" fmla="*/ 86681 h 92670"/>
                    <a:gd name="connsiteX67" fmla="*/ 35150 w 75637"/>
                    <a:gd name="connsiteY67" fmla="*/ 85971 h 92670"/>
                    <a:gd name="connsiteX68" fmla="*/ 26739 w 75637"/>
                    <a:gd name="connsiteY68" fmla="*/ 77414 h 92670"/>
                    <a:gd name="connsiteX69" fmla="*/ 25003 w 75637"/>
                    <a:gd name="connsiteY69" fmla="*/ 74986 h 92670"/>
                    <a:gd name="connsiteX70" fmla="*/ 24131 w 75637"/>
                    <a:gd name="connsiteY70" fmla="*/ 73111 h 92670"/>
                    <a:gd name="connsiteX71" fmla="*/ 24066 w 75637"/>
                    <a:gd name="connsiteY71" fmla="*/ 71815 h 92670"/>
                    <a:gd name="connsiteX72" fmla="*/ 25533 w 75637"/>
                    <a:gd name="connsiteY72" fmla="*/ 67920 h 92670"/>
                    <a:gd name="connsiteX73" fmla="*/ 28508 w 75637"/>
                    <a:gd name="connsiteY73" fmla="*/ 61433 h 92670"/>
                    <a:gd name="connsiteX74" fmla="*/ 30097 w 75637"/>
                    <a:gd name="connsiteY74" fmla="*/ 57097 h 92670"/>
                    <a:gd name="connsiteX75" fmla="*/ 30325 w 75637"/>
                    <a:gd name="connsiteY75" fmla="*/ 54921 h 92670"/>
                    <a:gd name="connsiteX76" fmla="*/ 29991 w 75637"/>
                    <a:gd name="connsiteY76" fmla="*/ 52232 h 92670"/>
                    <a:gd name="connsiteX77" fmla="*/ 29095 w 75637"/>
                    <a:gd name="connsiteY77" fmla="*/ 49045 h 92670"/>
                    <a:gd name="connsiteX78" fmla="*/ 28703 w 75637"/>
                    <a:gd name="connsiteY78" fmla="*/ 46291 h 92670"/>
                    <a:gd name="connsiteX79" fmla="*/ 28793 w 75637"/>
                    <a:gd name="connsiteY79" fmla="*/ 43976 h 92670"/>
                    <a:gd name="connsiteX80" fmla="*/ 28442 w 75637"/>
                    <a:gd name="connsiteY80" fmla="*/ 42843 h 92670"/>
                    <a:gd name="connsiteX81" fmla="*/ 27684 w 75637"/>
                    <a:gd name="connsiteY81" fmla="*/ 42884 h 92670"/>
                    <a:gd name="connsiteX82" fmla="*/ 27220 w 75637"/>
                    <a:gd name="connsiteY82" fmla="*/ 42207 h 92670"/>
                    <a:gd name="connsiteX83" fmla="*/ 27073 w 75637"/>
                    <a:gd name="connsiteY83" fmla="*/ 40814 h 92670"/>
                    <a:gd name="connsiteX84" fmla="*/ 26470 w 75637"/>
                    <a:gd name="connsiteY84" fmla="*/ 39828 h 92670"/>
                    <a:gd name="connsiteX85" fmla="*/ 25419 w 75637"/>
                    <a:gd name="connsiteY85" fmla="*/ 39257 h 92670"/>
                    <a:gd name="connsiteX86" fmla="*/ 24531 w 75637"/>
                    <a:gd name="connsiteY86" fmla="*/ 38116 h 92670"/>
                    <a:gd name="connsiteX87" fmla="*/ 23031 w 75637"/>
                    <a:gd name="connsiteY87" fmla="*/ 35231 h 92670"/>
                    <a:gd name="connsiteX88" fmla="*/ 22265 w 75637"/>
                    <a:gd name="connsiteY88" fmla="*/ 34571 h 92670"/>
                    <a:gd name="connsiteX89" fmla="*/ 21572 w 75637"/>
                    <a:gd name="connsiteY89" fmla="*/ 35337 h 92670"/>
                    <a:gd name="connsiteX90" fmla="*/ 20912 w 75637"/>
                    <a:gd name="connsiteY90" fmla="*/ 37521 h 92670"/>
                    <a:gd name="connsiteX91" fmla="*/ 20374 w 75637"/>
                    <a:gd name="connsiteY91" fmla="*/ 38532 h 92670"/>
                    <a:gd name="connsiteX92" fmla="*/ 19942 w 75637"/>
                    <a:gd name="connsiteY92" fmla="*/ 38353 h 92670"/>
                    <a:gd name="connsiteX93" fmla="*/ 19739 w 75637"/>
                    <a:gd name="connsiteY93" fmla="*/ 37521 h 92670"/>
                    <a:gd name="connsiteX94" fmla="*/ 19771 w 75637"/>
                    <a:gd name="connsiteY94" fmla="*/ 36038 h 92670"/>
                    <a:gd name="connsiteX95" fmla="*/ 19470 w 75637"/>
                    <a:gd name="connsiteY95" fmla="*/ 35386 h 92670"/>
                    <a:gd name="connsiteX96" fmla="*/ 18817 w 75637"/>
                    <a:gd name="connsiteY96" fmla="*/ 35557 h 92670"/>
                    <a:gd name="connsiteX97" fmla="*/ 18353 w 75637"/>
                    <a:gd name="connsiteY97" fmla="*/ 36894 h 92670"/>
                    <a:gd name="connsiteX98" fmla="*/ 18068 w 75637"/>
                    <a:gd name="connsiteY98" fmla="*/ 39388 h 92670"/>
                    <a:gd name="connsiteX99" fmla="*/ 16837 w 75637"/>
                    <a:gd name="connsiteY99" fmla="*/ 41613 h 92670"/>
                    <a:gd name="connsiteX100" fmla="*/ 14661 w 75637"/>
                    <a:gd name="connsiteY100" fmla="*/ 43585 h 92670"/>
                    <a:gd name="connsiteX101" fmla="*/ 13105 w 75637"/>
                    <a:gd name="connsiteY101" fmla="*/ 45687 h 92670"/>
                    <a:gd name="connsiteX102" fmla="*/ 12175 w 75637"/>
                    <a:gd name="connsiteY102" fmla="*/ 47912 h 92670"/>
                    <a:gd name="connsiteX103" fmla="*/ 11907 w 75637"/>
                    <a:gd name="connsiteY103" fmla="*/ 50422 h 92670"/>
                    <a:gd name="connsiteX104" fmla="*/ 12322 w 75637"/>
                    <a:gd name="connsiteY104" fmla="*/ 53218 h 92670"/>
                    <a:gd name="connsiteX105" fmla="*/ 12974 w 75637"/>
                    <a:gd name="connsiteY105" fmla="*/ 55027 h 92670"/>
                    <a:gd name="connsiteX106" fmla="*/ 13863 w 75637"/>
                    <a:gd name="connsiteY106" fmla="*/ 55858 h 92670"/>
                    <a:gd name="connsiteX107" fmla="*/ 13512 w 75637"/>
                    <a:gd name="connsiteY107" fmla="*/ 57073 h 92670"/>
                    <a:gd name="connsiteX108" fmla="*/ 11955 w 75637"/>
                    <a:gd name="connsiteY108" fmla="*/ 58686 h 92670"/>
                    <a:gd name="connsiteX109" fmla="*/ 10904 w 75637"/>
                    <a:gd name="connsiteY109" fmla="*/ 60365 h 92670"/>
                    <a:gd name="connsiteX110" fmla="*/ 10383 w 75637"/>
                    <a:gd name="connsiteY110" fmla="*/ 62101 h 92670"/>
                    <a:gd name="connsiteX111" fmla="*/ 10301 w 75637"/>
                    <a:gd name="connsiteY111" fmla="*/ 63103 h 92670"/>
                    <a:gd name="connsiteX112" fmla="*/ 10668 w 75637"/>
                    <a:gd name="connsiteY112" fmla="*/ 63372 h 92670"/>
                    <a:gd name="connsiteX113" fmla="*/ 14132 w 75637"/>
                    <a:gd name="connsiteY113" fmla="*/ 61156 h 92670"/>
                    <a:gd name="connsiteX114" fmla="*/ 14409 w 75637"/>
                    <a:gd name="connsiteY114" fmla="*/ 61327 h 92670"/>
                    <a:gd name="connsiteX115" fmla="*/ 13911 w 75637"/>
                    <a:gd name="connsiteY115" fmla="*/ 63894 h 92670"/>
                    <a:gd name="connsiteX116" fmla="*/ 13390 w 75637"/>
                    <a:gd name="connsiteY116" fmla="*/ 64782 h 92670"/>
                    <a:gd name="connsiteX117" fmla="*/ 12811 w 75637"/>
                    <a:gd name="connsiteY117" fmla="*/ 64913 h 92670"/>
                    <a:gd name="connsiteX118" fmla="*/ 12558 w 75637"/>
                    <a:gd name="connsiteY118" fmla="*/ 66208 h 92670"/>
                    <a:gd name="connsiteX119" fmla="*/ 12656 w 75637"/>
                    <a:gd name="connsiteY119" fmla="*/ 68637 h 92670"/>
                    <a:gd name="connsiteX120" fmla="*/ 12942 w 75637"/>
                    <a:gd name="connsiteY120" fmla="*/ 70291 h 92670"/>
                    <a:gd name="connsiteX121" fmla="*/ 13447 w 75637"/>
                    <a:gd name="connsiteY121" fmla="*/ 71163 h 92670"/>
                    <a:gd name="connsiteX122" fmla="*/ 13259 w 75637"/>
                    <a:gd name="connsiteY122" fmla="*/ 71742 h 92670"/>
                    <a:gd name="connsiteX123" fmla="*/ 12387 w 75637"/>
                    <a:gd name="connsiteY123" fmla="*/ 72052 h 92670"/>
                    <a:gd name="connsiteX124" fmla="*/ 11809 w 75637"/>
                    <a:gd name="connsiteY124" fmla="*/ 71832 h 92670"/>
                    <a:gd name="connsiteX125" fmla="*/ 11507 w 75637"/>
                    <a:gd name="connsiteY125" fmla="*/ 71090 h 92670"/>
                    <a:gd name="connsiteX126" fmla="*/ 11018 w 75637"/>
                    <a:gd name="connsiteY126" fmla="*/ 70764 h 92670"/>
                    <a:gd name="connsiteX127" fmla="*/ 10334 w 75637"/>
                    <a:gd name="connsiteY127" fmla="*/ 70854 h 92670"/>
                    <a:gd name="connsiteX128" fmla="*/ 9804 w 75637"/>
                    <a:gd name="connsiteY128" fmla="*/ 71481 h 92670"/>
                    <a:gd name="connsiteX129" fmla="*/ 9437 w 75637"/>
                    <a:gd name="connsiteY129" fmla="*/ 72655 h 92670"/>
                    <a:gd name="connsiteX130" fmla="*/ 9755 w 75637"/>
                    <a:gd name="connsiteY130" fmla="*/ 73274 h 92670"/>
                    <a:gd name="connsiteX131" fmla="*/ 11353 w 75637"/>
                    <a:gd name="connsiteY131" fmla="*/ 73641 h 92670"/>
                    <a:gd name="connsiteX132" fmla="*/ 11459 w 75637"/>
                    <a:gd name="connsiteY132" fmla="*/ 74187 h 92670"/>
                    <a:gd name="connsiteX133" fmla="*/ 8581 w 75637"/>
                    <a:gd name="connsiteY133" fmla="*/ 78759 h 92670"/>
                    <a:gd name="connsiteX134" fmla="*/ 6992 w 75637"/>
                    <a:gd name="connsiteY134" fmla="*/ 80715 h 92670"/>
                    <a:gd name="connsiteX135" fmla="*/ 5794 w 75637"/>
                    <a:gd name="connsiteY135" fmla="*/ 81758 h 92670"/>
                    <a:gd name="connsiteX136" fmla="*/ 3390 w 75637"/>
                    <a:gd name="connsiteY136" fmla="*/ 82866 h 92670"/>
                    <a:gd name="connsiteX137" fmla="*/ 2070 w 75637"/>
                    <a:gd name="connsiteY137" fmla="*/ 82964 h 92670"/>
                    <a:gd name="connsiteX138" fmla="*/ 1149 w 75637"/>
                    <a:gd name="connsiteY138" fmla="*/ 82166 h 92670"/>
                    <a:gd name="connsiteX139" fmla="*/ 538 w 75637"/>
                    <a:gd name="connsiteY139" fmla="*/ 81049 h 92670"/>
                    <a:gd name="connsiteX140" fmla="*/ 285 w 75637"/>
                    <a:gd name="connsiteY140" fmla="*/ 79550 h 92670"/>
                    <a:gd name="connsiteX141" fmla="*/ 636 w 75637"/>
                    <a:gd name="connsiteY141" fmla="*/ 77708 h 92670"/>
                    <a:gd name="connsiteX142" fmla="*/ 1605 w 75637"/>
                    <a:gd name="connsiteY142" fmla="*/ 75556 h 92670"/>
                    <a:gd name="connsiteX143" fmla="*/ 1556 w 75637"/>
                    <a:gd name="connsiteY143" fmla="*/ 73103 h 92670"/>
                    <a:gd name="connsiteX144" fmla="*/ 481 w 75637"/>
                    <a:gd name="connsiteY144" fmla="*/ 70373 h 92670"/>
                    <a:gd name="connsiteX145" fmla="*/ 0 w 75637"/>
                    <a:gd name="connsiteY145" fmla="*/ 68099 h 92670"/>
                    <a:gd name="connsiteX146" fmla="*/ 163 w 75637"/>
                    <a:gd name="connsiteY146" fmla="*/ 66282 h 92670"/>
                    <a:gd name="connsiteX147" fmla="*/ 1002 w 75637"/>
                    <a:gd name="connsiteY147" fmla="*/ 63527 h 92670"/>
                    <a:gd name="connsiteX148" fmla="*/ 3627 w 75637"/>
                    <a:gd name="connsiteY148" fmla="*/ 56657 h 92670"/>
                    <a:gd name="connsiteX149" fmla="*/ 4278 w 75637"/>
                    <a:gd name="connsiteY149" fmla="*/ 54008 h 92670"/>
                    <a:gd name="connsiteX150" fmla="*/ 5395 w 75637"/>
                    <a:gd name="connsiteY150" fmla="*/ 51563 h 92670"/>
                    <a:gd name="connsiteX151" fmla="*/ 6992 w 75637"/>
                    <a:gd name="connsiteY151" fmla="*/ 49338 h 92670"/>
                    <a:gd name="connsiteX152" fmla="*/ 8150 w 75637"/>
                    <a:gd name="connsiteY152" fmla="*/ 46812 h 92670"/>
                    <a:gd name="connsiteX153" fmla="*/ 8851 w 75637"/>
                    <a:gd name="connsiteY153" fmla="*/ 44009 h 92670"/>
                    <a:gd name="connsiteX154" fmla="*/ 9405 w 75637"/>
                    <a:gd name="connsiteY154" fmla="*/ 42330 h 92670"/>
                    <a:gd name="connsiteX155" fmla="*/ 9820 w 75637"/>
                    <a:gd name="connsiteY155" fmla="*/ 41792 h 92670"/>
                    <a:gd name="connsiteX156" fmla="*/ 10505 w 75637"/>
                    <a:gd name="connsiteY156" fmla="*/ 37717 h 92670"/>
                    <a:gd name="connsiteX157" fmla="*/ 11141 w 75637"/>
                    <a:gd name="connsiteY157" fmla="*/ 35321 h 92670"/>
                    <a:gd name="connsiteX158" fmla="*/ 12127 w 75637"/>
                    <a:gd name="connsiteY158" fmla="*/ 33055 h 92670"/>
                    <a:gd name="connsiteX159" fmla="*/ 13390 w 75637"/>
                    <a:gd name="connsiteY159" fmla="*/ 31393 h 92670"/>
                    <a:gd name="connsiteX160" fmla="*/ 14930 w 75637"/>
                    <a:gd name="connsiteY160" fmla="*/ 30309 h 92670"/>
                    <a:gd name="connsiteX161" fmla="*/ 16201 w 75637"/>
                    <a:gd name="connsiteY161" fmla="*/ 29869 h 92670"/>
                    <a:gd name="connsiteX162" fmla="*/ 17220 w 75637"/>
                    <a:gd name="connsiteY162" fmla="*/ 30073 h 92670"/>
                    <a:gd name="connsiteX163" fmla="*/ 17815 w 75637"/>
                    <a:gd name="connsiteY163" fmla="*/ 29722 h 92670"/>
                    <a:gd name="connsiteX164" fmla="*/ 17986 w 75637"/>
                    <a:gd name="connsiteY164" fmla="*/ 28801 h 92670"/>
                    <a:gd name="connsiteX165" fmla="*/ 18590 w 75637"/>
                    <a:gd name="connsiteY165" fmla="*/ 28573 h 92670"/>
                    <a:gd name="connsiteX166" fmla="*/ 20945 w 75637"/>
                    <a:gd name="connsiteY166" fmla="*/ 29241 h 92670"/>
                    <a:gd name="connsiteX167" fmla="*/ 22542 w 75637"/>
                    <a:gd name="connsiteY167" fmla="*/ 29192 h 92670"/>
                    <a:gd name="connsiteX168" fmla="*/ 24050 w 75637"/>
                    <a:gd name="connsiteY168" fmla="*/ 28655 h 92670"/>
                    <a:gd name="connsiteX169" fmla="*/ 25468 w 75637"/>
                    <a:gd name="connsiteY169" fmla="*/ 27628 h 92670"/>
                    <a:gd name="connsiteX170" fmla="*/ 26568 w 75637"/>
                    <a:gd name="connsiteY170" fmla="*/ 27603 h 92670"/>
                    <a:gd name="connsiteX171" fmla="*/ 27350 w 75637"/>
                    <a:gd name="connsiteY171" fmla="*/ 28597 h 92670"/>
                    <a:gd name="connsiteX172" fmla="*/ 27090 w 75637"/>
                    <a:gd name="connsiteY172" fmla="*/ 29999 h 92670"/>
                    <a:gd name="connsiteX173" fmla="*/ 25786 w 75637"/>
                    <a:gd name="connsiteY173" fmla="*/ 31833 h 92670"/>
                    <a:gd name="connsiteX174" fmla="*/ 25020 w 75637"/>
                    <a:gd name="connsiteY174" fmla="*/ 33716 h 92670"/>
                    <a:gd name="connsiteX175" fmla="*/ 24816 w 75637"/>
                    <a:gd name="connsiteY175" fmla="*/ 35631 h 92670"/>
                    <a:gd name="connsiteX176" fmla="*/ 25468 w 75637"/>
                    <a:gd name="connsiteY176" fmla="*/ 37220 h 92670"/>
                    <a:gd name="connsiteX177" fmla="*/ 26951 w 75637"/>
                    <a:gd name="connsiteY177" fmla="*/ 38475 h 92670"/>
                    <a:gd name="connsiteX178" fmla="*/ 27774 w 75637"/>
                    <a:gd name="connsiteY178" fmla="*/ 38410 h 92670"/>
                    <a:gd name="connsiteX179" fmla="*/ 27905 w 75637"/>
                    <a:gd name="connsiteY179" fmla="*/ 37041 h 92670"/>
                    <a:gd name="connsiteX180" fmla="*/ 28337 w 75637"/>
                    <a:gd name="connsiteY180" fmla="*/ 36405 h 92670"/>
                    <a:gd name="connsiteX181" fmla="*/ 29062 w 75637"/>
                    <a:gd name="connsiteY181" fmla="*/ 36511 h 92670"/>
                    <a:gd name="connsiteX182" fmla="*/ 29461 w 75637"/>
                    <a:gd name="connsiteY182" fmla="*/ 37081 h 92670"/>
                    <a:gd name="connsiteX183" fmla="*/ 29559 w 75637"/>
                    <a:gd name="connsiteY183" fmla="*/ 38108 h 92670"/>
                    <a:gd name="connsiteX184" fmla="*/ 30211 w 75637"/>
                    <a:gd name="connsiteY184" fmla="*/ 37888 h 92670"/>
                    <a:gd name="connsiteX185" fmla="*/ 31425 w 75637"/>
                    <a:gd name="connsiteY185" fmla="*/ 36421 h 92670"/>
                    <a:gd name="connsiteX186" fmla="*/ 32648 w 75637"/>
                    <a:gd name="connsiteY186" fmla="*/ 35688 h 92670"/>
                    <a:gd name="connsiteX187" fmla="*/ 33886 w 75637"/>
                    <a:gd name="connsiteY187" fmla="*/ 35688 h 92670"/>
                    <a:gd name="connsiteX188" fmla="*/ 34555 w 75637"/>
                    <a:gd name="connsiteY188" fmla="*/ 34922 h 92670"/>
                    <a:gd name="connsiteX189" fmla="*/ 34636 w 75637"/>
                    <a:gd name="connsiteY189" fmla="*/ 33389 h 92670"/>
                    <a:gd name="connsiteX190" fmla="*/ 35304 w 75637"/>
                    <a:gd name="connsiteY190" fmla="*/ 30716 h 92670"/>
                    <a:gd name="connsiteX191" fmla="*/ 36559 w 75637"/>
                    <a:gd name="connsiteY191" fmla="*/ 26902 h 92670"/>
                    <a:gd name="connsiteX192" fmla="*/ 35859 w 75637"/>
                    <a:gd name="connsiteY192" fmla="*/ 22844 h 92670"/>
                    <a:gd name="connsiteX193" fmla="*/ 33235 w 75637"/>
                    <a:gd name="connsiteY193" fmla="*/ 18541 h 92670"/>
                    <a:gd name="connsiteX194" fmla="*/ 32012 w 75637"/>
                    <a:gd name="connsiteY194" fmla="*/ 16112 h 92670"/>
                    <a:gd name="connsiteX195" fmla="*/ 32216 w 75637"/>
                    <a:gd name="connsiteY195" fmla="*/ 15558 h 92670"/>
                    <a:gd name="connsiteX196" fmla="*/ 32664 w 75637"/>
                    <a:gd name="connsiteY196" fmla="*/ 15485 h 92670"/>
                    <a:gd name="connsiteX197" fmla="*/ 33365 w 75637"/>
                    <a:gd name="connsiteY197" fmla="*/ 15884 h 92670"/>
                    <a:gd name="connsiteX198" fmla="*/ 36388 w 75637"/>
                    <a:gd name="connsiteY198" fmla="*/ 15965 h 92670"/>
                    <a:gd name="connsiteX199" fmla="*/ 37643 w 75637"/>
                    <a:gd name="connsiteY199" fmla="*/ 16291 h 92670"/>
                    <a:gd name="connsiteX200" fmla="*/ 38361 w 75637"/>
                    <a:gd name="connsiteY200" fmla="*/ 17025 h 92670"/>
                    <a:gd name="connsiteX201" fmla="*/ 38907 w 75637"/>
                    <a:gd name="connsiteY201" fmla="*/ 18671 h 92670"/>
                    <a:gd name="connsiteX202" fmla="*/ 39265 w 75637"/>
                    <a:gd name="connsiteY202" fmla="*/ 21271 h 92670"/>
                    <a:gd name="connsiteX203" fmla="*/ 39176 w 75637"/>
                    <a:gd name="connsiteY203" fmla="*/ 23219 h 92670"/>
                    <a:gd name="connsiteX204" fmla="*/ 38581 w 75637"/>
                    <a:gd name="connsiteY204" fmla="*/ 24555 h 92670"/>
                    <a:gd name="connsiteX205" fmla="*/ 39013 w 75637"/>
                    <a:gd name="connsiteY205" fmla="*/ 25158 h 92670"/>
                    <a:gd name="connsiteX206" fmla="*/ 40480 w 75637"/>
                    <a:gd name="connsiteY206" fmla="*/ 25052 h 92670"/>
                    <a:gd name="connsiteX207" fmla="*/ 44554 w 75637"/>
                    <a:gd name="connsiteY207" fmla="*/ 23333 h 92670"/>
                    <a:gd name="connsiteX208" fmla="*/ 46445 w 75637"/>
                    <a:gd name="connsiteY208" fmla="*/ 23137 h 92670"/>
                    <a:gd name="connsiteX209" fmla="*/ 47945 w 75637"/>
                    <a:gd name="connsiteY209" fmla="*/ 23854 h 92670"/>
                    <a:gd name="connsiteX210" fmla="*/ 49762 w 75637"/>
                    <a:gd name="connsiteY210" fmla="*/ 24156 h 92670"/>
                    <a:gd name="connsiteX211" fmla="*/ 51873 w 75637"/>
                    <a:gd name="connsiteY211" fmla="*/ 24042 h 92670"/>
                    <a:gd name="connsiteX212" fmla="*/ 60006 w 75637"/>
                    <a:gd name="connsiteY212" fmla="*/ 25175 h 92670"/>
                    <a:gd name="connsiteX213" fmla="*/ 60854 w 75637"/>
                    <a:gd name="connsiteY213" fmla="*/ 24906 h 92670"/>
                    <a:gd name="connsiteX214" fmla="*/ 61921 w 75637"/>
                    <a:gd name="connsiteY214" fmla="*/ 24099 h 92670"/>
                    <a:gd name="connsiteX215" fmla="*/ 63992 w 75637"/>
                    <a:gd name="connsiteY215" fmla="*/ 21719 h 92670"/>
                    <a:gd name="connsiteX216" fmla="*/ 64309 w 75637"/>
                    <a:gd name="connsiteY216" fmla="*/ 20138 h 92670"/>
                    <a:gd name="connsiteX217" fmla="*/ 64261 w 75637"/>
                    <a:gd name="connsiteY217" fmla="*/ 19087 h 92670"/>
                    <a:gd name="connsiteX218" fmla="*/ 62443 w 75637"/>
                    <a:gd name="connsiteY218" fmla="*/ 15175 h 92670"/>
                    <a:gd name="connsiteX219" fmla="*/ 61921 w 75637"/>
                    <a:gd name="connsiteY219" fmla="*/ 13447 h 92670"/>
                    <a:gd name="connsiteX220" fmla="*/ 61490 w 75637"/>
                    <a:gd name="connsiteY220" fmla="*/ 13260 h 92670"/>
                    <a:gd name="connsiteX221" fmla="*/ 61123 w 75637"/>
                    <a:gd name="connsiteY221" fmla="*/ 13504 h 92670"/>
                    <a:gd name="connsiteX222" fmla="*/ 60805 w 75637"/>
                    <a:gd name="connsiteY222" fmla="*/ 14181 h 92670"/>
                    <a:gd name="connsiteX223" fmla="*/ 58914 w 75637"/>
                    <a:gd name="connsiteY223" fmla="*/ 15338 h 92670"/>
                    <a:gd name="connsiteX224" fmla="*/ 58320 w 75637"/>
                    <a:gd name="connsiteY224" fmla="*/ 16136 h 92670"/>
                    <a:gd name="connsiteX225" fmla="*/ 57448 w 75637"/>
                    <a:gd name="connsiteY225" fmla="*/ 16275 h 92670"/>
                    <a:gd name="connsiteX226" fmla="*/ 55011 w 75637"/>
                    <a:gd name="connsiteY226" fmla="*/ 14767 h 92670"/>
                    <a:gd name="connsiteX227" fmla="*/ 53658 w 75637"/>
                    <a:gd name="connsiteY227" fmla="*/ 13333 h 92670"/>
                    <a:gd name="connsiteX228" fmla="*/ 51368 w 75637"/>
                    <a:gd name="connsiteY228" fmla="*/ 13031 h 92670"/>
                    <a:gd name="connsiteX229" fmla="*/ 48132 w 75637"/>
                    <a:gd name="connsiteY229" fmla="*/ 13879 h 92670"/>
                    <a:gd name="connsiteX230" fmla="*/ 45809 w 75637"/>
                    <a:gd name="connsiteY230" fmla="*/ 13463 h 92670"/>
                    <a:gd name="connsiteX231" fmla="*/ 44359 w 75637"/>
                    <a:gd name="connsiteY231" fmla="*/ 11776 h 92670"/>
                    <a:gd name="connsiteX232" fmla="*/ 43788 w 75637"/>
                    <a:gd name="connsiteY232" fmla="*/ 9902 h 92670"/>
                    <a:gd name="connsiteX233" fmla="*/ 44090 w 75637"/>
                    <a:gd name="connsiteY233" fmla="*/ 7824 h 92670"/>
                    <a:gd name="connsiteX234" fmla="*/ 45655 w 75637"/>
                    <a:gd name="connsiteY234" fmla="*/ 5770 h 92670"/>
                    <a:gd name="connsiteX235" fmla="*/ 48548 w 75637"/>
                    <a:gd name="connsiteY235" fmla="*/ 3700 h 92670"/>
                    <a:gd name="connsiteX236" fmla="*/ 50569 w 75637"/>
                    <a:gd name="connsiteY236" fmla="*/ 2893 h 92670"/>
                    <a:gd name="connsiteX237" fmla="*/ 51734 w 75637"/>
                    <a:gd name="connsiteY237" fmla="*/ 3325 h 92670"/>
                    <a:gd name="connsiteX238" fmla="*/ 52769 w 75637"/>
                    <a:gd name="connsiteY238" fmla="*/ 5183 h 92670"/>
                    <a:gd name="connsiteX239" fmla="*/ 53691 w 75637"/>
                    <a:gd name="connsiteY239" fmla="*/ 8451 h 92670"/>
                    <a:gd name="connsiteX240" fmla="*/ 54522 w 75637"/>
                    <a:gd name="connsiteY240" fmla="*/ 8957 h 92670"/>
                    <a:gd name="connsiteX241" fmla="*/ 55247 w 75637"/>
                    <a:gd name="connsiteY241" fmla="*/ 6691 h 92670"/>
                    <a:gd name="connsiteX242" fmla="*/ 56282 w 75637"/>
                    <a:gd name="connsiteY242" fmla="*/ 6023 h 92670"/>
                    <a:gd name="connsiteX243" fmla="*/ 57602 w 75637"/>
                    <a:gd name="connsiteY243" fmla="*/ 6944 h 92670"/>
                    <a:gd name="connsiteX244" fmla="*/ 58849 w 75637"/>
                    <a:gd name="connsiteY244" fmla="*/ 7221 h 92670"/>
                    <a:gd name="connsiteX245" fmla="*/ 60006 w 75637"/>
                    <a:gd name="connsiteY245" fmla="*/ 6829 h 92670"/>
                    <a:gd name="connsiteX246" fmla="*/ 61856 w 75637"/>
                    <a:gd name="connsiteY246" fmla="*/ 5526 h 92670"/>
                    <a:gd name="connsiteX247" fmla="*/ 61921 w 75637"/>
                    <a:gd name="connsiteY247" fmla="*/ 3733 h 92670"/>
                    <a:gd name="connsiteX248" fmla="*/ 59672 w 75637"/>
                    <a:gd name="connsiteY248" fmla="*/ 2143 h 92670"/>
                    <a:gd name="connsiteX249" fmla="*/ 58368 w 75637"/>
                    <a:gd name="connsiteY249" fmla="*/ 937 h 92670"/>
                    <a:gd name="connsiteX250" fmla="*/ 58002 w 75637"/>
                    <a:gd name="connsiteY250" fmla="*/ 122 h 92670"/>
                    <a:gd name="connsiteX251" fmla="*/ 59305 w 75637"/>
                    <a:gd name="connsiteY251" fmla="*/ 0 h 92670"/>
                    <a:gd name="connsiteX252" fmla="*/ 62304 w 75637"/>
                    <a:gd name="connsiteY252" fmla="*/ 579 h 92670"/>
                    <a:gd name="connsiteX253" fmla="*/ 63641 w 75637"/>
                    <a:gd name="connsiteY253" fmla="*/ 2339 h 92670"/>
                    <a:gd name="connsiteX254" fmla="*/ 63291 w 75637"/>
                    <a:gd name="connsiteY254" fmla="*/ 5273 h 92670"/>
                    <a:gd name="connsiteX255" fmla="*/ 63690 w 75637"/>
                    <a:gd name="connsiteY255" fmla="*/ 7539 h 92670"/>
                    <a:gd name="connsiteX256" fmla="*/ 64847 w 75637"/>
                    <a:gd name="connsiteY256" fmla="*/ 9120 h 92670"/>
                    <a:gd name="connsiteX257" fmla="*/ 67121 w 75637"/>
                    <a:gd name="connsiteY257" fmla="*/ 10342 h 92670"/>
                    <a:gd name="connsiteX258" fmla="*/ 70528 w 75637"/>
                    <a:gd name="connsiteY258" fmla="*/ 11206 h 92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Lst>
                  <a:rect l="l" t="t" r="r" b="b"/>
                  <a:pathLst>
                    <a:path w="75637" h="92670">
                      <a:moveTo>
                        <a:pt x="72915" y="11524"/>
                      </a:moveTo>
                      <a:lnTo>
                        <a:pt x="72915" y="11524"/>
                      </a:lnTo>
                      <a:lnTo>
                        <a:pt x="72915" y="11524"/>
                      </a:lnTo>
                      <a:lnTo>
                        <a:pt x="72915" y="11524"/>
                      </a:lnTo>
                      <a:lnTo>
                        <a:pt x="74301" y="11304"/>
                      </a:lnTo>
                      <a:lnTo>
                        <a:pt x="75230" y="11882"/>
                      </a:lnTo>
                      <a:lnTo>
                        <a:pt x="75638" y="13268"/>
                      </a:lnTo>
                      <a:lnTo>
                        <a:pt x="75287" y="15354"/>
                      </a:lnTo>
                      <a:lnTo>
                        <a:pt x="74195" y="18133"/>
                      </a:lnTo>
                      <a:lnTo>
                        <a:pt x="73062" y="19535"/>
                      </a:lnTo>
                      <a:lnTo>
                        <a:pt x="71881" y="19559"/>
                      </a:lnTo>
                      <a:lnTo>
                        <a:pt x="65630" y="22827"/>
                      </a:lnTo>
                      <a:lnTo>
                        <a:pt x="64579" y="23023"/>
                      </a:lnTo>
                      <a:lnTo>
                        <a:pt x="63193" y="24074"/>
                      </a:lnTo>
                      <a:lnTo>
                        <a:pt x="61954" y="25892"/>
                      </a:lnTo>
                      <a:lnTo>
                        <a:pt x="60218" y="27416"/>
                      </a:lnTo>
                      <a:lnTo>
                        <a:pt x="58002" y="28671"/>
                      </a:lnTo>
                      <a:lnTo>
                        <a:pt x="56314" y="30268"/>
                      </a:lnTo>
                      <a:lnTo>
                        <a:pt x="55190" y="32208"/>
                      </a:lnTo>
                      <a:lnTo>
                        <a:pt x="54195" y="33039"/>
                      </a:lnTo>
                      <a:lnTo>
                        <a:pt x="51685" y="32517"/>
                      </a:lnTo>
                      <a:lnTo>
                        <a:pt x="42248" y="30504"/>
                      </a:lnTo>
                      <a:lnTo>
                        <a:pt x="40944" y="30480"/>
                      </a:lnTo>
                      <a:lnTo>
                        <a:pt x="40064" y="30692"/>
                      </a:lnTo>
                      <a:lnTo>
                        <a:pt x="39616" y="31140"/>
                      </a:lnTo>
                      <a:lnTo>
                        <a:pt x="39697" y="31711"/>
                      </a:lnTo>
                      <a:lnTo>
                        <a:pt x="39925" y="32281"/>
                      </a:lnTo>
                      <a:lnTo>
                        <a:pt x="39933" y="32697"/>
                      </a:lnTo>
                      <a:lnTo>
                        <a:pt x="39477" y="33512"/>
                      </a:lnTo>
                      <a:lnTo>
                        <a:pt x="39347" y="34889"/>
                      </a:lnTo>
                      <a:lnTo>
                        <a:pt x="39029" y="35288"/>
                      </a:lnTo>
                      <a:lnTo>
                        <a:pt x="38711" y="35525"/>
                      </a:lnTo>
                      <a:lnTo>
                        <a:pt x="38442" y="36006"/>
                      </a:lnTo>
                      <a:lnTo>
                        <a:pt x="38124" y="37619"/>
                      </a:lnTo>
                      <a:lnTo>
                        <a:pt x="37578" y="38402"/>
                      </a:lnTo>
                      <a:lnTo>
                        <a:pt x="37293" y="39583"/>
                      </a:lnTo>
                      <a:lnTo>
                        <a:pt x="37244" y="41132"/>
                      </a:lnTo>
                      <a:lnTo>
                        <a:pt x="37537" y="42110"/>
                      </a:lnTo>
                      <a:lnTo>
                        <a:pt x="38124" y="42517"/>
                      </a:lnTo>
                      <a:lnTo>
                        <a:pt x="42868" y="42265"/>
                      </a:lnTo>
                      <a:lnTo>
                        <a:pt x="43870" y="42574"/>
                      </a:lnTo>
                      <a:lnTo>
                        <a:pt x="44758" y="44571"/>
                      </a:lnTo>
                      <a:lnTo>
                        <a:pt x="45557" y="48246"/>
                      </a:lnTo>
                      <a:lnTo>
                        <a:pt x="45777" y="51987"/>
                      </a:lnTo>
                      <a:lnTo>
                        <a:pt x="45426" y="55801"/>
                      </a:lnTo>
                      <a:lnTo>
                        <a:pt x="45223" y="68450"/>
                      </a:lnTo>
                      <a:lnTo>
                        <a:pt x="44742" y="72826"/>
                      </a:lnTo>
                      <a:lnTo>
                        <a:pt x="43805" y="74440"/>
                      </a:lnTo>
                      <a:lnTo>
                        <a:pt x="43740" y="77137"/>
                      </a:lnTo>
                      <a:lnTo>
                        <a:pt x="44554" y="80943"/>
                      </a:lnTo>
                      <a:lnTo>
                        <a:pt x="44693" y="83624"/>
                      </a:lnTo>
                      <a:lnTo>
                        <a:pt x="44171" y="85214"/>
                      </a:lnTo>
                      <a:lnTo>
                        <a:pt x="43251" y="86126"/>
                      </a:lnTo>
                      <a:lnTo>
                        <a:pt x="41865" y="86355"/>
                      </a:lnTo>
                      <a:lnTo>
                        <a:pt x="41132" y="86819"/>
                      </a:lnTo>
                      <a:lnTo>
                        <a:pt x="41017" y="87487"/>
                      </a:lnTo>
                      <a:lnTo>
                        <a:pt x="41335" y="88042"/>
                      </a:lnTo>
                      <a:lnTo>
                        <a:pt x="42069" y="88474"/>
                      </a:lnTo>
                      <a:lnTo>
                        <a:pt x="42264" y="89011"/>
                      </a:lnTo>
                      <a:lnTo>
                        <a:pt x="41898" y="89663"/>
                      </a:lnTo>
                      <a:lnTo>
                        <a:pt x="39176" y="91481"/>
                      </a:lnTo>
                      <a:lnTo>
                        <a:pt x="36869" y="92149"/>
                      </a:lnTo>
                      <a:lnTo>
                        <a:pt x="32469" y="92671"/>
                      </a:lnTo>
                      <a:lnTo>
                        <a:pt x="32200" y="91945"/>
                      </a:lnTo>
                      <a:lnTo>
                        <a:pt x="32444" y="90935"/>
                      </a:lnTo>
                      <a:lnTo>
                        <a:pt x="33112" y="89386"/>
                      </a:lnTo>
                      <a:lnTo>
                        <a:pt x="35133" y="86681"/>
                      </a:lnTo>
                      <a:lnTo>
                        <a:pt x="35150" y="85971"/>
                      </a:lnTo>
                      <a:lnTo>
                        <a:pt x="26739" y="77414"/>
                      </a:lnTo>
                      <a:lnTo>
                        <a:pt x="25003" y="74986"/>
                      </a:lnTo>
                      <a:lnTo>
                        <a:pt x="24131" y="73111"/>
                      </a:lnTo>
                      <a:lnTo>
                        <a:pt x="24066" y="71815"/>
                      </a:lnTo>
                      <a:lnTo>
                        <a:pt x="25533" y="67920"/>
                      </a:lnTo>
                      <a:lnTo>
                        <a:pt x="28508" y="61433"/>
                      </a:lnTo>
                      <a:lnTo>
                        <a:pt x="30097" y="57097"/>
                      </a:lnTo>
                      <a:lnTo>
                        <a:pt x="30325" y="54921"/>
                      </a:lnTo>
                      <a:lnTo>
                        <a:pt x="29991" y="52232"/>
                      </a:lnTo>
                      <a:lnTo>
                        <a:pt x="29095" y="49045"/>
                      </a:lnTo>
                      <a:lnTo>
                        <a:pt x="28703" y="46291"/>
                      </a:lnTo>
                      <a:lnTo>
                        <a:pt x="28793" y="43976"/>
                      </a:lnTo>
                      <a:lnTo>
                        <a:pt x="28442" y="42843"/>
                      </a:lnTo>
                      <a:lnTo>
                        <a:pt x="27684" y="42884"/>
                      </a:lnTo>
                      <a:lnTo>
                        <a:pt x="27220" y="42207"/>
                      </a:lnTo>
                      <a:lnTo>
                        <a:pt x="27073" y="40814"/>
                      </a:lnTo>
                      <a:lnTo>
                        <a:pt x="26470" y="39828"/>
                      </a:lnTo>
                      <a:lnTo>
                        <a:pt x="25419" y="39257"/>
                      </a:lnTo>
                      <a:lnTo>
                        <a:pt x="24531" y="38116"/>
                      </a:lnTo>
                      <a:lnTo>
                        <a:pt x="23031" y="35231"/>
                      </a:lnTo>
                      <a:lnTo>
                        <a:pt x="22265" y="34571"/>
                      </a:lnTo>
                      <a:lnTo>
                        <a:pt x="21572" y="35337"/>
                      </a:lnTo>
                      <a:lnTo>
                        <a:pt x="20912" y="37521"/>
                      </a:lnTo>
                      <a:lnTo>
                        <a:pt x="20374" y="38532"/>
                      </a:lnTo>
                      <a:lnTo>
                        <a:pt x="19942" y="38353"/>
                      </a:lnTo>
                      <a:lnTo>
                        <a:pt x="19739" y="37521"/>
                      </a:lnTo>
                      <a:lnTo>
                        <a:pt x="19771" y="36038"/>
                      </a:lnTo>
                      <a:lnTo>
                        <a:pt x="19470" y="35386"/>
                      </a:lnTo>
                      <a:lnTo>
                        <a:pt x="18817" y="35557"/>
                      </a:lnTo>
                      <a:lnTo>
                        <a:pt x="18353" y="36894"/>
                      </a:lnTo>
                      <a:lnTo>
                        <a:pt x="18068" y="39388"/>
                      </a:lnTo>
                      <a:lnTo>
                        <a:pt x="16837" y="41613"/>
                      </a:lnTo>
                      <a:lnTo>
                        <a:pt x="14661" y="43585"/>
                      </a:lnTo>
                      <a:lnTo>
                        <a:pt x="13105" y="45687"/>
                      </a:lnTo>
                      <a:lnTo>
                        <a:pt x="12175" y="47912"/>
                      </a:lnTo>
                      <a:lnTo>
                        <a:pt x="11907" y="50422"/>
                      </a:lnTo>
                      <a:lnTo>
                        <a:pt x="12322" y="53218"/>
                      </a:lnTo>
                      <a:lnTo>
                        <a:pt x="12974" y="55027"/>
                      </a:lnTo>
                      <a:lnTo>
                        <a:pt x="13863" y="55858"/>
                      </a:lnTo>
                      <a:lnTo>
                        <a:pt x="13512" y="57073"/>
                      </a:lnTo>
                      <a:lnTo>
                        <a:pt x="11955" y="58686"/>
                      </a:lnTo>
                      <a:lnTo>
                        <a:pt x="10904" y="60365"/>
                      </a:lnTo>
                      <a:lnTo>
                        <a:pt x="10383" y="62101"/>
                      </a:lnTo>
                      <a:lnTo>
                        <a:pt x="10301" y="63103"/>
                      </a:lnTo>
                      <a:lnTo>
                        <a:pt x="10668" y="63372"/>
                      </a:lnTo>
                      <a:lnTo>
                        <a:pt x="14132" y="61156"/>
                      </a:lnTo>
                      <a:lnTo>
                        <a:pt x="14409" y="61327"/>
                      </a:lnTo>
                      <a:lnTo>
                        <a:pt x="13911" y="63894"/>
                      </a:lnTo>
                      <a:lnTo>
                        <a:pt x="13390" y="64782"/>
                      </a:lnTo>
                      <a:lnTo>
                        <a:pt x="12811" y="64913"/>
                      </a:lnTo>
                      <a:lnTo>
                        <a:pt x="12558" y="66208"/>
                      </a:lnTo>
                      <a:lnTo>
                        <a:pt x="12656" y="68637"/>
                      </a:lnTo>
                      <a:lnTo>
                        <a:pt x="12942" y="70291"/>
                      </a:lnTo>
                      <a:lnTo>
                        <a:pt x="13447" y="71163"/>
                      </a:lnTo>
                      <a:lnTo>
                        <a:pt x="13259" y="71742"/>
                      </a:lnTo>
                      <a:lnTo>
                        <a:pt x="12387" y="72052"/>
                      </a:lnTo>
                      <a:lnTo>
                        <a:pt x="11809" y="71832"/>
                      </a:lnTo>
                      <a:lnTo>
                        <a:pt x="11507" y="71090"/>
                      </a:lnTo>
                      <a:lnTo>
                        <a:pt x="11018" y="70764"/>
                      </a:lnTo>
                      <a:lnTo>
                        <a:pt x="10334" y="70854"/>
                      </a:lnTo>
                      <a:lnTo>
                        <a:pt x="9804" y="71481"/>
                      </a:lnTo>
                      <a:lnTo>
                        <a:pt x="9437" y="72655"/>
                      </a:lnTo>
                      <a:lnTo>
                        <a:pt x="9755" y="73274"/>
                      </a:lnTo>
                      <a:lnTo>
                        <a:pt x="11353" y="73641"/>
                      </a:lnTo>
                      <a:lnTo>
                        <a:pt x="11459" y="74187"/>
                      </a:lnTo>
                      <a:lnTo>
                        <a:pt x="8581" y="78759"/>
                      </a:lnTo>
                      <a:lnTo>
                        <a:pt x="6992" y="80715"/>
                      </a:lnTo>
                      <a:lnTo>
                        <a:pt x="5794" y="81758"/>
                      </a:lnTo>
                      <a:lnTo>
                        <a:pt x="3390" y="82866"/>
                      </a:lnTo>
                      <a:lnTo>
                        <a:pt x="2070" y="82964"/>
                      </a:lnTo>
                      <a:lnTo>
                        <a:pt x="1149" y="82166"/>
                      </a:lnTo>
                      <a:lnTo>
                        <a:pt x="538" y="81049"/>
                      </a:lnTo>
                      <a:lnTo>
                        <a:pt x="285" y="79550"/>
                      </a:lnTo>
                      <a:lnTo>
                        <a:pt x="636" y="77708"/>
                      </a:lnTo>
                      <a:lnTo>
                        <a:pt x="1605" y="75556"/>
                      </a:lnTo>
                      <a:lnTo>
                        <a:pt x="1556" y="73103"/>
                      </a:lnTo>
                      <a:lnTo>
                        <a:pt x="481" y="70373"/>
                      </a:lnTo>
                      <a:lnTo>
                        <a:pt x="0" y="68099"/>
                      </a:lnTo>
                      <a:lnTo>
                        <a:pt x="163" y="66282"/>
                      </a:lnTo>
                      <a:lnTo>
                        <a:pt x="1002" y="63527"/>
                      </a:lnTo>
                      <a:lnTo>
                        <a:pt x="3627" y="56657"/>
                      </a:lnTo>
                      <a:lnTo>
                        <a:pt x="4278" y="54008"/>
                      </a:lnTo>
                      <a:lnTo>
                        <a:pt x="5395" y="51563"/>
                      </a:lnTo>
                      <a:lnTo>
                        <a:pt x="6992" y="49338"/>
                      </a:lnTo>
                      <a:lnTo>
                        <a:pt x="8150" y="46812"/>
                      </a:lnTo>
                      <a:lnTo>
                        <a:pt x="8851" y="44009"/>
                      </a:lnTo>
                      <a:lnTo>
                        <a:pt x="9405" y="42330"/>
                      </a:lnTo>
                      <a:lnTo>
                        <a:pt x="9820" y="41792"/>
                      </a:lnTo>
                      <a:lnTo>
                        <a:pt x="10505" y="37717"/>
                      </a:lnTo>
                      <a:lnTo>
                        <a:pt x="11141" y="35321"/>
                      </a:lnTo>
                      <a:lnTo>
                        <a:pt x="12127" y="33055"/>
                      </a:lnTo>
                      <a:lnTo>
                        <a:pt x="13390" y="31393"/>
                      </a:lnTo>
                      <a:lnTo>
                        <a:pt x="14930" y="30309"/>
                      </a:lnTo>
                      <a:lnTo>
                        <a:pt x="16201" y="29869"/>
                      </a:lnTo>
                      <a:lnTo>
                        <a:pt x="17220" y="30073"/>
                      </a:lnTo>
                      <a:lnTo>
                        <a:pt x="17815" y="29722"/>
                      </a:lnTo>
                      <a:lnTo>
                        <a:pt x="17986" y="28801"/>
                      </a:lnTo>
                      <a:lnTo>
                        <a:pt x="18590" y="28573"/>
                      </a:lnTo>
                      <a:lnTo>
                        <a:pt x="20945" y="29241"/>
                      </a:lnTo>
                      <a:lnTo>
                        <a:pt x="22542" y="29192"/>
                      </a:lnTo>
                      <a:lnTo>
                        <a:pt x="24050" y="28655"/>
                      </a:lnTo>
                      <a:lnTo>
                        <a:pt x="25468" y="27628"/>
                      </a:lnTo>
                      <a:lnTo>
                        <a:pt x="26568" y="27603"/>
                      </a:lnTo>
                      <a:lnTo>
                        <a:pt x="27350" y="28597"/>
                      </a:lnTo>
                      <a:lnTo>
                        <a:pt x="27090" y="29999"/>
                      </a:lnTo>
                      <a:lnTo>
                        <a:pt x="25786" y="31833"/>
                      </a:lnTo>
                      <a:lnTo>
                        <a:pt x="25020" y="33716"/>
                      </a:lnTo>
                      <a:lnTo>
                        <a:pt x="24816" y="35631"/>
                      </a:lnTo>
                      <a:lnTo>
                        <a:pt x="25468" y="37220"/>
                      </a:lnTo>
                      <a:lnTo>
                        <a:pt x="26951" y="38475"/>
                      </a:lnTo>
                      <a:lnTo>
                        <a:pt x="27774" y="38410"/>
                      </a:lnTo>
                      <a:lnTo>
                        <a:pt x="27905" y="37041"/>
                      </a:lnTo>
                      <a:lnTo>
                        <a:pt x="28337" y="36405"/>
                      </a:lnTo>
                      <a:lnTo>
                        <a:pt x="29062" y="36511"/>
                      </a:lnTo>
                      <a:lnTo>
                        <a:pt x="29461" y="37081"/>
                      </a:lnTo>
                      <a:lnTo>
                        <a:pt x="29559" y="38108"/>
                      </a:lnTo>
                      <a:lnTo>
                        <a:pt x="30211" y="37888"/>
                      </a:lnTo>
                      <a:lnTo>
                        <a:pt x="31425" y="36421"/>
                      </a:lnTo>
                      <a:lnTo>
                        <a:pt x="32648" y="35688"/>
                      </a:lnTo>
                      <a:lnTo>
                        <a:pt x="33886" y="35688"/>
                      </a:lnTo>
                      <a:lnTo>
                        <a:pt x="34555" y="34922"/>
                      </a:lnTo>
                      <a:lnTo>
                        <a:pt x="34636" y="33389"/>
                      </a:lnTo>
                      <a:lnTo>
                        <a:pt x="35304" y="30716"/>
                      </a:lnTo>
                      <a:lnTo>
                        <a:pt x="36559" y="26902"/>
                      </a:lnTo>
                      <a:lnTo>
                        <a:pt x="35859" y="22844"/>
                      </a:lnTo>
                      <a:lnTo>
                        <a:pt x="33235" y="18541"/>
                      </a:lnTo>
                      <a:lnTo>
                        <a:pt x="32012" y="16112"/>
                      </a:lnTo>
                      <a:lnTo>
                        <a:pt x="32216" y="15558"/>
                      </a:lnTo>
                      <a:lnTo>
                        <a:pt x="32664" y="15485"/>
                      </a:lnTo>
                      <a:lnTo>
                        <a:pt x="33365" y="15884"/>
                      </a:lnTo>
                      <a:lnTo>
                        <a:pt x="36388" y="15965"/>
                      </a:lnTo>
                      <a:lnTo>
                        <a:pt x="37643" y="16291"/>
                      </a:lnTo>
                      <a:lnTo>
                        <a:pt x="38361" y="17025"/>
                      </a:lnTo>
                      <a:lnTo>
                        <a:pt x="38907" y="18671"/>
                      </a:lnTo>
                      <a:lnTo>
                        <a:pt x="39265" y="21271"/>
                      </a:lnTo>
                      <a:lnTo>
                        <a:pt x="39176" y="23219"/>
                      </a:lnTo>
                      <a:lnTo>
                        <a:pt x="38581" y="24555"/>
                      </a:lnTo>
                      <a:lnTo>
                        <a:pt x="39013" y="25158"/>
                      </a:lnTo>
                      <a:lnTo>
                        <a:pt x="40480" y="25052"/>
                      </a:lnTo>
                      <a:lnTo>
                        <a:pt x="44554" y="23333"/>
                      </a:lnTo>
                      <a:lnTo>
                        <a:pt x="46445" y="23137"/>
                      </a:lnTo>
                      <a:lnTo>
                        <a:pt x="47945" y="23854"/>
                      </a:lnTo>
                      <a:lnTo>
                        <a:pt x="49762" y="24156"/>
                      </a:lnTo>
                      <a:lnTo>
                        <a:pt x="51873" y="24042"/>
                      </a:lnTo>
                      <a:lnTo>
                        <a:pt x="60006" y="25175"/>
                      </a:lnTo>
                      <a:lnTo>
                        <a:pt x="60854" y="24906"/>
                      </a:lnTo>
                      <a:lnTo>
                        <a:pt x="61921" y="24099"/>
                      </a:lnTo>
                      <a:lnTo>
                        <a:pt x="63992" y="21719"/>
                      </a:lnTo>
                      <a:lnTo>
                        <a:pt x="64309" y="20138"/>
                      </a:lnTo>
                      <a:lnTo>
                        <a:pt x="64261" y="19087"/>
                      </a:lnTo>
                      <a:lnTo>
                        <a:pt x="62443" y="15175"/>
                      </a:lnTo>
                      <a:lnTo>
                        <a:pt x="61921" y="13447"/>
                      </a:lnTo>
                      <a:lnTo>
                        <a:pt x="61490" y="13260"/>
                      </a:lnTo>
                      <a:lnTo>
                        <a:pt x="61123" y="13504"/>
                      </a:lnTo>
                      <a:lnTo>
                        <a:pt x="60805" y="14181"/>
                      </a:lnTo>
                      <a:lnTo>
                        <a:pt x="58914" y="15338"/>
                      </a:lnTo>
                      <a:lnTo>
                        <a:pt x="58320" y="16136"/>
                      </a:lnTo>
                      <a:lnTo>
                        <a:pt x="57448" y="16275"/>
                      </a:lnTo>
                      <a:lnTo>
                        <a:pt x="55011" y="14767"/>
                      </a:lnTo>
                      <a:lnTo>
                        <a:pt x="53658" y="13333"/>
                      </a:lnTo>
                      <a:lnTo>
                        <a:pt x="51368" y="13031"/>
                      </a:lnTo>
                      <a:lnTo>
                        <a:pt x="48132" y="13879"/>
                      </a:lnTo>
                      <a:lnTo>
                        <a:pt x="45809" y="13463"/>
                      </a:lnTo>
                      <a:lnTo>
                        <a:pt x="44359" y="11776"/>
                      </a:lnTo>
                      <a:lnTo>
                        <a:pt x="43788" y="9902"/>
                      </a:lnTo>
                      <a:lnTo>
                        <a:pt x="44090" y="7824"/>
                      </a:lnTo>
                      <a:lnTo>
                        <a:pt x="45655" y="5770"/>
                      </a:lnTo>
                      <a:lnTo>
                        <a:pt x="48548" y="3700"/>
                      </a:lnTo>
                      <a:lnTo>
                        <a:pt x="50569" y="2893"/>
                      </a:lnTo>
                      <a:lnTo>
                        <a:pt x="51734" y="3325"/>
                      </a:lnTo>
                      <a:lnTo>
                        <a:pt x="52769" y="5183"/>
                      </a:lnTo>
                      <a:lnTo>
                        <a:pt x="53691" y="8451"/>
                      </a:lnTo>
                      <a:lnTo>
                        <a:pt x="54522" y="8957"/>
                      </a:lnTo>
                      <a:lnTo>
                        <a:pt x="55247" y="6691"/>
                      </a:lnTo>
                      <a:lnTo>
                        <a:pt x="56282" y="6023"/>
                      </a:lnTo>
                      <a:lnTo>
                        <a:pt x="57602" y="6944"/>
                      </a:lnTo>
                      <a:lnTo>
                        <a:pt x="58849" y="7221"/>
                      </a:lnTo>
                      <a:lnTo>
                        <a:pt x="60006" y="6829"/>
                      </a:lnTo>
                      <a:lnTo>
                        <a:pt x="61856" y="5526"/>
                      </a:lnTo>
                      <a:lnTo>
                        <a:pt x="61921" y="3733"/>
                      </a:lnTo>
                      <a:lnTo>
                        <a:pt x="59672" y="2143"/>
                      </a:lnTo>
                      <a:lnTo>
                        <a:pt x="58368" y="937"/>
                      </a:lnTo>
                      <a:lnTo>
                        <a:pt x="58002" y="122"/>
                      </a:lnTo>
                      <a:lnTo>
                        <a:pt x="59305" y="0"/>
                      </a:lnTo>
                      <a:lnTo>
                        <a:pt x="62304" y="579"/>
                      </a:lnTo>
                      <a:lnTo>
                        <a:pt x="63641" y="2339"/>
                      </a:lnTo>
                      <a:lnTo>
                        <a:pt x="63291" y="5273"/>
                      </a:lnTo>
                      <a:lnTo>
                        <a:pt x="63690" y="7539"/>
                      </a:lnTo>
                      <a:lnTo>
                        <a:pt x="64847" y="9120"/>
                      </a:lnTo>
                      <a:lnTo>
                        <a:pt x="67121" y="10342"/>
                      </a:lnTo>
                      <a:lnTo>
                        <a:pt x="70528" y="11206"/>
                      </a:lnTo>
                      <a:close/>
                    </a:path>
                  </a:pathLst>
                </a:custGeom>
                <a:solidFill>
                  <a:srgbClr val="FFFFFF"/>
                </a:solidFill>
                <a:ln w="8150" cap="flat">
                  <a:noFill/>
                  <a:prstDash val="solid"/>
                  <a:miter/>
                </a:ln>
              </p:spPr>
              <p:txBody>
                <a:bodyPr rtlCol="0" anchor="ctr"/>
                <a:lstStyle/>
                <a:p>
                  <a:endParaRPr lang="en-US"/>
                </a:p>
              </p:txBody>
            </p:sp>
            <p:sp>
              <p:nvSpPr>
                <p:cNvPr id="425" name="Freeform: Shape 424">
                  <a:extLst>
                    <a:ext uri="{FF2B5EF4-FFF2-40B4-BE49-F238E27FC236}">
                      <a16:creationId xmlns:a16="http://schemas.microsoft.com/office/drawing/2014/main" id="{62FF0B91-957B-4F73-A66C-D1D593101B33}"/>
                    </a:ext>
                  </a:extLst>
                </p:cNvPr>
                <p:cNvSpPr/>
                <p:nvPr/>
              </p:nvSpPr>
              <p:spPr>
                <a:xfrm>
                  <a:off x="7759393" y="3036184"/>
                  <a:ext cx="144046" cy="64586"/>
                </a:xfrm>
                <a:custGeom>
                  <a:avLst/>
                  <a:gdLst>
                    <a:gd name="connsiteX0" fmla="*/ 137747 w 144046"/>
                    <a:gd name="connsiteY0" fmla="*/ 2469 h 64586"/>
                    <a:gd name="connsiteX1" fmla="*/ 137747 w 144046"/>
                    <a:gd name="connsiteY1" fmla="*/ 2469 h 64586"/>
                    <a:gd name="connsiteX2" fmla="*/ 137747 w 144046"/>
                    <a:gd name="connsiteY2" fmla="*/ 2469 h 64586"/>
                    <a:gd name="connsiteX3" fmla="*/ 137747 w 144046"/>
                    <a:gd name="connsiteY3" fmla="*/ 2469 h 64586"/>
                    <a:gd name="connsiteX4" fmla="*/ 138447 w 144046"/>
                    <a:gd name="connsiteY4" fmla="*/ 1760 h 64586"/>
                    <a:gd name="connsiteX5" fmla="*/ 138529 w 144046"/>
                    <a:gd name="connsiteY5" fmla="*/ 823 h 64586"/>
                    <a:gd name="connsiteX6" fmla="*/ 139254 w 144046"/>
                    <a:gd name="connsiteY6" fmla="*/ 367 h 64586"/>
                    <a:gd name="connsiteX7" fmla="*/ 140070 w 144046"/>
                    <a:gd name="connsiteY7" fmla="*/ 285 h 64586"/>
                    <a:gd name="connsiteX8" fmla="*/ 141007 w 144046"/>
                    <a:gd name="connsiteY8" fmla="*/ 685 h 64586"/>
                    <a:gd name="connsiteX9" fmla="*/ 142360 w 144046"/>
                    <a:gd name="connsiteY9" fmla="*/ 1923 h 64586"/>
                    <a:gd name="connsiteX10" fmla="*/ 143492 w 144046"/>
                    <a:gd name="connsiteY10" fmla="*/ 3464 h 64586"/>
                    <a:gd name="connsiteX11" fmla="*/ 144046 w 144046"/>
                    <a:gd name="connsiteY11" fmla="*/ 4922 h 64586"/>
                    <a:gd name="connsiteX12" fmla="*/ 144046 w 144046"/>
                    <a:gd name="connsiteY12" fmla="*/ 6145 h 64586"/>
                    <a:gd name="connsiteX13" fmla="*/ 143827 w 144046"/>
                    <a:gd name="connsiteY13" fmla="*/ 6560 h 64586"/>
                    <a:gd name="connsiteX14" fmla="*/ 143362 w 144046"/>
                    <a:gd name="connsiteY14" fmla="*/ 7400 h 64586"/>
                    <a:gd name="connsiteX15" fmla="*/ 141887 w 144046"/>
                    <a:gd name="connsiteY15" fmla="*/ 7653 h 64586"/>
                    <a:gd name="connsiteX16" fmla="*/ 140338 w 144046"/>
                    <a:gd name="connsiteY16" fmla="*/ 8402 h 64586"/>
                    <a:gd name="connsiteX17" fmla="*/ 139670 w 144046"/>
                    <a:gd name="connsiteY17" fmla="*/ 10383 h 64586"/>
                    <a:gd name="connsiteX18" fmla="*/ 138545 w 144046"/>
                    <a:gd name="connsiteY18" fmla="*/ 13162 h 64586"/>
                    <a:gd name="connsiteX19" fmla="*/ 137250 w 144046"/>
                    <a:gd name="connsiteY19" fmla="*/ 14629 h 64586"/>
                    <a:gd name="connsiteX20" fmla="*/ 135229 w 144046"/>
                    <a:gd name="connsiteY20" fmla="*/ 15908 h 64586"/>
                    <a:gd name="connsiteX21" fmla="*/ 132702 w 144046"/>
                    <a:gd name="connsiteY21" fmla="*/ 15378 h 64586"/>
                    <a:gd name="connsiteX22" fmla="*/ 130820 w 144046"/>
                    <a:gd name="connsiteY22" fmla="*/ 14971 h 64586"/>
                    <a:gd name="connsiteX23" fmla="*/ 128676 w 144046"/>
                    <a:gd name="connsiteY23" fmla="*/ 15558 h 64586"/>
                    <a:gd name="connsiteX24" fmla="*/ 126679 w 144046"/>
                    <a:gd name="connsiteY24" fmla="*/ 14792 h 64586"/>
                    <a:gd name="connsiteX25" fmla="*/ 124724 w 144046"/>
                    <a:gd name="connsiteY25" fmla="*/ 15110 h 64586"/>
                    <a:gd name="connsiteX26" fmla="*/ 124039 w 144046"/>
                    <a:gd name="connsiteY26" fmla="*/ 15664 h 64586"/>
                    <a:gd name="connsiteX27" fmla="*/ 123958 w 144046"/>
                    <a:gd name="connsiteY27" fmla="*/ 16552 h 64586"/>
                    <a:gd name="connsiteX28" fmla="*/ 124626 w 144046"/>
                    <a:gd name="connsiteY28" fmla="*/ 17929 h 64586"/>
                    <a:gd name="connsiteX29" fmla="*/ 124218 w 144046"/>
                    <a:gd name="connsiteY29" fmla="*/ 18484 h 64586"/>
                    <a:gd name="connsiteX30" fmla="*/ 123305 w 144046"/>
                    <a:gd name="connsiteY30" fmla="*/ 18418 h 64586"/>
                    <a:gd name="connsiteX31" fmla="*/ 122287 w 144046"/>
                    <a:gd name="connsiteY31" fmla="*/ 17025 h 64586"/>
                    <a:gd name="connsiteX32" fmla="*/ 121048 w 144046"/>
                    <a:gd name="connsiteY32" fmla="*/ 16617 h 64586"/>
                    <a:gd name="connsiteX33" fmla="*/ 118962 w 144046"/>
                    <a:gd name="connsiteY33" fmla="*/ 17082 h 64586"/>
                    <a:gd name="connsiteX34" fmla="*/ 117160 w 144046"/>
                    <a:gd name="connsiteY34" fmla="*/ 17726 h 64586"/>
                    <a:gd name="connsiteX35" fmla="*/ 116338 w 144046"/>
                    <a:gd name="connsiteY35" fmla="*/ 17726 h 64586"/>
                    <a:gd name="connsiteX36" fmla="*/ 115033 w 144046"/>
                    <a:gd name="connsiteY36" fmla="*/ 17383 h 64586"/>
                    <a:gd name="connsiteX37" fmla="*/ 113615 w 144046"/>
                    <a:gd name="connsiteY37" fmla="*/ 16870 h 64586"/>
                    <a:gd name="connsiteX38" fmla="*/ 109842 w 144046"/>
                    <a:gd name="connsiteY38" fmla="*/ 13822 h 64586"/>
                    <a:gd name="connsiteX39" fmla="*/ 108652 w 144046"/>
                    <a:gd name="connsiteY39" fmla="*/ 13447 h 64586"/>
                    <a:gd name="connsiteX40" fmla="*/ 107739 w 144046"/>
                    <a:gd name="connsiteY40" fmla="*/ 14026 h 64586"/>
                    <a:gd name="connsiteX41" fmla="*/ 106370 w 144046"/>
                    <a:gd name="connsiteY41" fmla="*/ 14588 h 64586"/>
                    <a:gd name="connsiteX42" fmla="*/ 104561 w 144046"/>
                    <a:gd name="connsiteY42" fmla="*/ 14295 h 64586"/>
                    <a:gd name="connsiteX43" fmla="*/ 102312 w 144046"/>
                    <a:gd name="connsiteY43" fmla="*/ 13577 h 64586"/>
                    <a:gd name="connsiteX44" fmla="*/ 99019 w 144046"/>
                    <a:gd name="connsiteY44" fmla="*/ 11304 h 64586"/>
                    <a:gd name="connsiteX45" fmla="*/ 97185 w 144046"/>
                    <a:gd name="connsiteY45" fmla="*/ 11222 h 64586"/>
                    <a:gd name="connsiteX46" fmla="*/ 95360 w 144046"/>
                    <a:gd name="connsiteY46" fmla="*/ 12257 h 64586"/>
                    <a:gd name="connsiteX47" fmla="*/ 92458 w 144046"/>
                    <a:gd name="connsiteY47" fmla="*/ 11687 h 64586"/>
                    <a:gd name="connsiteX48" fmla="*/ 90951 w 144046"/>
                    <a:gd name="connsiteY48" fmla="*/ 12925 h 64586"/>
                    <a:gd name="connsiteX49" fmla="*/ 88465 w 144046"/>
                    <a:gd name="connsiteY49" fmla="*/ 12583 h 64586"/>
                    <a:gd name="connsiteX50" fmla="*/ 84725 w 144046"/>
                    <a:gd name="connsiteY50" fmla="*/ 11573 h 64586"/>
                    <a:gd name="connsiteX51" fmla="*/ 81970 w 144046"/>
                    <a:gd name="connsiteY51" fmla="*/ 10163 h 64586"/>
                    <a:gd name="connsiteX52" fmla="*/ 75075 w 144046"/>
                    <a:gd name="connsiteY52" fmla="*/ 9804 h 64586"/>
                    <a:gd name="connsiteX53" fmla="*/ 69477 w 144046"/>
                    <a:gd name="connsiteY53" fmla="*/ 9348 h 64586"/>
                    <a:gd name="connsiteX54" fmla="*/ 67928 w 144046"/>
                    <a:gd name="connsiteY54" fmla="*/ 10163 h 64586"/>
                    <a:gd name="connsiteX55" fmla="*/ 64399 w 144046"/>
                    <a:gd name="connsiteY55" fmla="*/ 10880 h 64586"/>
                    <a:gd name="connsiteX56" fmla="*/ 61327 w 144046"/>
                    <a:gd name="connsiteY56" fmla="*/ 10032 h 64586"/>
                    <a:gd name="connsiteX57" fmla="*/ 60275 w 144046"/>
                    <a:gd name="connsiteY57" fmla="*/ 10032 h 64586"/>
                    <a:gd name="connsiteX58" fmla="*/ 56486 w 144046"/>
                    <a:gd name="connsiteY58" fmla="*/ 10709 h 64586"/>
                    <a:gd name="connsiteX59" fmla="*/ 53927 w 144046"/>
                    <a:gd name="connsiteY59" fmla="*/ 11043 h 64586"/>
                    <a:gd name="connsiteX60" fmla="*/ 52607 w 144046"/>
                    <a:gd name="connsiteY60" fmla="*/ 10220 h 64586"/>
                    <a:gd name="connsiteX61" fmla="*/ 51539 w 144046"/>
                    <a:gd name="connsiteY61" fmla="*/ 8924 h 64586"/>
                    <a:gd name="connsiteX62" fmla="*/ 50960 w 144046"/>
                    <a:gd name="connsiteY62" fmla="*/ 7873 h 64586"/>
                    <a:gd name="connsiteX63" fmla="*/ 50936 w 144046"/>
                    <a:gd name="connsiteY63" fmla="*/ 6650 h 64586"/>
                    <a:gd name="connsiteX64" fmla="*/ 51360 w 144046"/>
                    <a:gd name="connsiteY64" fmla="*/ 6471 h 64586"/>
                    <a:gd name="connsiteX65" fmla="*/ 52362 w 144046"/>
                    <a:gd name="connsiteY65" fmla="*/ 6520 h 64586"/>
                    <a:gd name="connsiteX66" fmla="*/ 52713 w 144046"/>
                    <a:gd name="connsiteY66" fmla="*/ 6112 h 64586"/>
                    <a:gd name="connsiteX67" fmla="*/ 52647 w 144046"/>
                    <a:gd name="connsiteY67" fmla="*/ 5868 h 64586"/>
                    <a:gd name="connsiteX68" fmla="*/ 52476 w 144046"/>
                    <a:gd name="connsiteY68" fmla="*/ 5167 h 64586"/>
                    <a:gd name="connsiteX69" fmla="*/ 51392 w 144046"/>
                    <a:gd name="connsiteY69" fmla="*/ 4971 h 64586"/>
                    <a:gd name="connsiteX70" fmla="*/ 50259 w 144046"/>
                    <a:gd name="connsiteY70" fmla="*/ 5240 h 64586"/>
                    <a:gd name="connsiteX71" fmla="*/ 49118 w 144046"/>
                    <a:gd name="connsiteY71" fmla="*/ 6283 h 64586"/>
                    <a:gd name="connsiteX72" fmla="*/ 48784 w 144046"/>
                    <a:gd name="connsiteY72" fmla="*/ 7400 h 64586"/>
                    <a:gd name="connsiteX73" fmla="*/ 49485 w 144046"/>
                    <a:gd name="connsiteY73" fmla="*/ 9804 h 64586"/>
                    <a:gd name="connsiteX74" fmla="*/ 49884 w 144046"/>
                    <a:gd name="connsiteY74" fmla="*/ 11352 h 64586"/>
                    <a:gd name="connsiteX75" fmla="*/ 48833 w 144046"/>
                    <a:gd name="connsiteY75" fmla="*/ 12331 h 64586"/>
                    <a:gd name="connsiteX76" fmla="*/ 47448 w 144046"/>
                    <a:gd name="connsiteY76" fmla="*/ 12363 h 64586"/>
                    <a:gd name="connsiteX77" fmla="*/ 46951 w 144046"/>
                    <a:gd name="connsiteY77" fmla="*/ 10847 h 64586"/>
                    <a:gd name="connsiteX78" fmla="*/ 46298 w 144046"/>
                    <a:gd name="connsiteY78" fmla="*/ 10611 h 64586"/>
                    <a:gd name="connsiteX79" fmla="*/ 45647 w 144046"/>
                    <a:gd name="connsiteY79" fmla="*/ 10766 h 64586"/>
                    <a:gd name="connsiteX80" fmla="*/ 45109 w 144046"/>
                    <a:gd name="connsiteY80" fmla="*/ 12216 h 64586"/>
                    <a:gd name="connsiteX81" fmla="*/ 44742 w 144046"/>
                    <a:gd name="connsiteY81" fmla="*/ 13154 h 64586"/>
                    <a:gd name="connsiteX82" fmla="*/ 44041 w 144046"/>
                    <a:gd name="connsiteY82" fmla="*/ 13895 h 64586"/>
                    <a:gd name="connsiteX83" fmla="*/ 42541 w 144046"/>
                    <a:gd name="connsiteY83" fmla="*/ 13504 h 64586"/>
                    <a:gd name="connsiteX84" fmla="*/ 41775 w 144046"/>
                    <a:gd name="connsiteY84" fmla="*/ 13194 h 64586"/>
                    <a:gd name="connsiteX85" fmla="*/ 41083 w 144046"/>
                    <a:gd name="connsiteY85" fmla="*/ 12681 h 64586"/>
                    <a:gd name="connsiteX86" fmla="*/ 40423 w 144046"/>
                    <a:gd name="connsiteY86" fmla="*/ 13031 h 64586"/>
                    <a:gd name="connsiteX87" fmla="*/ 39070 w 144046"/>
                    <a:gd name="connsiteY87" fmla="*/ 14238 h 64586"/>
                    <a:gd name="connsiteX88" fmla="*/ 36576 w 144046"/>
                    <a:gd name="connsiteY88" fmla="*/ 14670 h 64586"/>
                    <a:gd name="connsiteX89" fmla="*/ 35989 w 144046"/>
                    <a:gd name="connsiteY89" fmla="*/ 15664 h 64586"/>
                    <a:gd name="connsiteX90" fmla="*/ 35207 w 144046"/>
                    <a:gd name="connsiteY90" fmla="*/ 18598 h 64586"/>
                    <a:gd name="connsiteX91" fmla="*/ 34188 w 144046"/>
                    <a:gd name="connsiteY91" fmla="*/ 21369 h 64586"/>
                    <a:gd name="connsiteX92" fmla="*/ 33658 w 144046"/>
                    <a:gd name="connsiteY92" fmla="*/ 24384 h 64586"/>
                    <a:gd name="connsiteX93" fmla="*/ 33088 w 144046"/>
                    <a:gd name="connsiteY93" fmla="*/ 25183 h 64586"/>
                    <a:gd name="connsiteX94" fmla="*/ 28826 w 144046"/>
                    <a:gd name="connsiteY94" fmla="*/ 28206 h 64586"/>
                    <a:gd name="connsiteX95" fmla="*/ 27595 w 144046"/>
                    <a:gd name="connsiteY95" fmla="*/ 28785 h 64586"/>
                    <a:gd name="connsiteX96" fmla="*/ 23137 w 144046"/>
                    <a:gd name="connsiteY96" fmla="*/ 28280 h 64586"/>
                    <a:gd name="connsiteX97" fmla="*/ 20863 w 144046"/>
                    <a:gd name="connsiteY97" fmla="*/ 28850 h 64586"/>
                    <a:gd name="connsiteX98" fmla="*/ 20374 w 144046"/>
                    <a:gd name="connsiteY98" fmla="*/ 29812 h 64586"/>
                    <a:gd name="connsiteX99" fmla="*/ 20244 w 144046"/>
                    <a:gd name="connsiteY99" fmla="*/ 31059 h 64586"/>
                    <a:gd name="connsiteX100" fmla="*/ 21483 w 144046"/>
                    <a:gd name="connsiteY100" fmla="*/ 36413 h 64586"/>
                    <a:gd name="connsiteX101" fmla="*/ 21132 w 144046"/>
                    <a:gd name="connsiteY101" fmla="*/ 37301 h 64586"/>
                    <a:gd name="connsiteX102" fmla="*/ 20179 w 144046"/>
                    <a:gd name="connsiteY102" fmla="*/ 37432 h 64586"/>
                    <a:gd name="connsiteX103" fmla="*/ 19991 w 144046"/>
                    <a:gd name="connsiteY103" fmla="*/ 37758 h 64586"/>
                    <a:gd name="connsiteX104" fmla="*/ 20049 w 144046"/>
                    <a:gd name="connsiteY104" fmla="*/ 38198 h 64586"/>
                    <a:gd name="connsiteX105" fmla="*/ 21678 w 144046"/>
                    <a:gd name="connsiteY105" fmla="*/ 39746 h 64586"/>
                    <a:gd name="connsiteX106" fmla="*/ 21727 w 144046"/>
                    <a:gd name="connsiteY106" fmla="*/ 40610 h 64586"/>
                    <a:gd name="connsiteX107" fmla="*/ 21132 w 144046"/>
                    <a:gd name="connsiteY107" fmla="*/ 41319 h 64586"/>
                    <a:gd name="connsiteX108" fmla="*/ 19690 w 144046"/>
                    <a:gd name="connsiteY108" fmla="*/ 42566 h 64586"/>
                    <a:gd name="connsiteX109" fmla="*/ 16471 w 144046"/>
                    <a:gd name="connsiteY109" fmla="*/ 45329 h 64586"/>
                    <a:gd name="connsiteX110" fmla="*/ 16186 w 144046"/>
                    <a:gd name="connsiteY110" fmla="*/ 46307 h 64586"/>
                    <a:gd name="connsiteX111" fmla="*/ 16006 w 144046"/>
                    <a:gd name="connsiteY111" fmla="*/ 51832 h 64586"/>
                    <a:gd name="connsiteX112" fmla="*/ 16120 w 144046"/>
                    <a:gd name="connsiteY112" fmla="*/ 52142 h 64586"/>
                    <a:gd name="connsiteX113" fmla="*/ 17139 w 144046"/>
                    <a:gd name="connsiteY113" fmla="*/ 52370 h 64586"/>
                    <a:gd name="connsiteX114" fmla="*/ 17709 w 144046"/>
                    <a:gd name="connsiteY114" fmla="*/ 53055 h 64586"/>
                    <a:gd name="connsiteX115" fmla="*/ 17824 w 144046"/>
                    <a:gd name="connsiteY115" fmla="*/ 54701 h 64586"/>
                    <a:gd name="connsiteX116" fmla="*/ 17522 w 144046"/>
                    <a:gd name="connsiteY116" fmla="*/ 60585 h 64586"/>
                    <a:gd name="connsiteX117" fmla="*/ 17318 w 144046"/>
                    <a:gd name="connsiteY117" fmla="*/ 61734 h 64586"/>
                    <a:gd name="connsiteX118" fmla="*/ 16471 w 144046"/>
                    <a:gd name="connsiteY118" fmla="*/ 62142 h 64586"/>
                    <a:gd name="connsiteX119" fmla="*/ 16307 w 144046"/>
                    <a:gd name="connsiteY119" fmla="*/ 62794 h 64586"/>
                    <a:gd name="connsiteX120" fmla="*/ 16935 w 144046"/>
                    <a:gd name="connsiteY120" fmla="*/ 64212 h 64586"/>
                    <a:gd name="connsiteX121" fmla="*/ 16454 w 144046"/>
                    <a:gd name="connsiteY121" fmla="*/ 64587 h 64586"/>
                    <a:gd name="connsiteX122" fmla="*/ 15354 w 144046"/>
                    <a:gd name="connsiteY122" fmla="*/ 64391 h 64586"/>
                    <a:gd name="connsiteX123" fmla="*/ 14384 w 144046"/>
                    <a:gd name="connsiteY123" fmla="*/ 63739 h 64586"/>
                    <a:gd name="connsiteX124" fmla="*/ 14197 w 144046"/>
                    <a:gd name="connsiteY124" fmla="*/ 63014 h 64586"/>
                    <a:gd name="connsiteX125" fmla="*/ 14352 w 144046"/>
                    <a:gd name="connsiteY125" fmla="*/ 62223 h 64586"/>
                    <a:gd name="connsiteX126" fmla="*/ 13814 w 144046"/>
                    <a:gd name="connsiteY126" fmla="*/ 60259 h 64586"/>
                    <a:gd name="connsiteX127" fmla="*/ 14164 w 144046"/>
                    <a:gd name="connsiteY127" fmla="*/ 59053 h 64586"/>
                    <a:gd name="connsiteX128" fmla="*/ 13952 w 144046"/>
                    <a:gd name="connsiteY128" fmla="*/ 57578 h 64586"/>
                    <a:gd name="connsiteX129" fmla="*/ 13496 w 144046"/>
                    <a:gd name="connsiteY129" fmla="*/ 57032 h 64586"/>
                    <a:gd name="connsiteX130" fmla="*/ 10912 w 144046"/>
                    <a:gd name="connsiteY130" fmla="*/ 55801 h 64586"/>
                    <a:gd name="connsiteX131" fmla="*/ 9992 w 144046"/>
                    <a:gd name="connsiteY131" fmla="*/ 54929 h 64586"/>
                    <a:gd name="connsiteX132" fmla="*/ 5599 w 144046"/>
                    <a:gd name="connsiteY132" fmla="*/ 48890 h 64586"/>
                    <a:gd name="connsiteX133" fmla="*/ 4409 w 144046"/>
                    <a:gd name="connsiteY133" fmla="*/ 46152 h 64586"/>
                    <a:gd name="connsiteX134" fmla="*/ 709 w 144046"/>
                    <a:gd name="connsiteY134" fmla="*/ 43723 h 64586"/>
                    <a:gd name="connsiteX135" fmla="*/ 0 w 144046"/>
                    <a:gd name="connsiteY135" fmla="*/ 42770 h 64586"/>
                    <a:gd name="connsiteX136" fmla="*/ 171 w 144046"/>
                    <a:gd name="connsiteY136" fmla="*/ 41099 h 64586"/>
                    <a:gd name="connsiteX137" fmla="*/ 1426 w 144046"/>
                    <a:gd name="connsiteY137" fmla="*/ 40056 h 64586"/>
                    <a:gd name="connsiteX138" fmla="*/ 2372 w 144046"/>
                    <a:gd name="connsiteY138" fmla="*/ 38385 h 64586"/>
                    <a:gd name="connsiteX139" fmla="*/ 2037 w 144046"/>
                    <a:gd name="connsiteY139" fmla="*/ 37366 h 64586"/>
                    <a:gd name="connsiteX140" fmla="*/ 342 w 144046"/>
                    <a:gd name="connsiteY140" fmla="*/ 36780 h 64586"/>
                    <a:gd name="connsiteX141" fmla="*/ 73 w 144046"/>
                    <a:gd name="connsiteY141" fmla="*/ 35851 h 64586"/>
                    <a:gd name="connsiteX142" fmla="*/ 668 w 144046"/>
                    <a:gd name="connsiteY142" fmla="*/ 35125 h 64586"/>
                    <a:gd name="connsiteX143" fmla="*/ 1271 w 144046"/>
                    <a:gd name="connsiteY143" fmla="*/ 34954 h 64586"/>
                    <a:gd name="connsiteX144" fmla="*/ 3056 w 144046"/>
                    <a:gd name="connsiteY144" fmla="*/ 35476 h 64586"/>
                    <a:gd name="connsiteX145" fmla="*/ 4849 w 144046"/>
                    <a:gd name="connsiteY145" fmla="*/ 32289 h 64586"/>
                    <a:gd name="connsiteX146" fmla="*/ 6886 w 144046"/>
                    <a:gd name="connsiteY146" fmla="*/ 29608 h 64586"/>
                    <a:gd name="connsiteX147" fmla="*/ 7449 w 144046"/>
                    <a:gd name="connsiteY147" fmla="*/ 28540 h 64586"/>
                    <a:gd name="connsiteX148" fmla="*/ 5599 w 144046"/>
                    <a:gd name="connsiteY148" fmla="*/ 26788 h 64586"/>
                    <a:gd name="connsiteX149" fmla="*/ 5395 w 144046"/>
                    <a:gd name="connsiteY149" fmla="*/ 25712 h 64586"/>
                    <a:gd name="connsiteX150" fmla="*/ 5167 w 144046"/>
                    <a:gd name="connsiteY150" fmla="*/ 23691 h 64586"/>
                    <a:gd name="connsiteX151" fmla="*/ 6014 w 144046"/>
                    <a:gd name="connsiteY151" fmla="*/ 22526 h 64586"/>
                    <a:gd name="connsiteX152" fmla="*/ 7808 w 144046"/>
                    <a:gd name="connsiteY152" fmla="*/ 21833 h 64586"/>
                    <a:gd name="connsiteX153" fmla="*/ 8386 w 144046"/>
                    <a:gd name="connsiteY153" fmla="*/ 21695 h 64586"/>
                    <a:gd name="connsiteX154" fmla="*/ 9739 w 144046"/>
                    <a:gd name="connsiteY154" fmla="*/ 22452 h 64586"/>
                    <a:gd name="connsiteX155" fmla="*/ 11426 w 144046"/>
                    <a:gd name="connsiteY155" fmla="*/ 21646 h 64586"/>
                    <a:gd name="connsiteX156" fmla="*/ 13512 w 144046"/>
                    <a:gd name="connsiteY156" fmla="*/ 22404 h 64586"/>
                    <a:gd name="connsiteX157" fmla="*/ 14482 w 144046"/>
                    <a:gd name="connsiteY157" fmla="*/ 21752 h 64586"/>
                    <a:gd name="connsiteX158" fmla="*/ 14637 w 144046"/>
                    <a:gd name="connsiteY158" fmla="*/ 21132 h 64586"/>
                    <a:gd name="connsiteX159" fmla="*/ 12714 w 144046"/>
                    <a:gd name="connsiteY159" fmla="*/ 18793 h 64586"/>
                    <a:gd name="connsiteX160" fmla="*/ 14547 w 144046"/>
                    <a:gd name="connsiteY160" fmla="*/ 15925 h 64586"/>
                    <a:gd name="connsiteX161" fmla="*/ 16307 w 144046"/>
                    <a:gd name="connsiteY161" fmla="*/ 13855 h 64586"/>
                    <a:gd name="connsiteX162" fmla="*/ 20912 w 144046"/>
                    <a:gd name="connsiteY162" fmla="*/ 12355 h 64586"/>
                    <a:gd name="connsiteX163" fmla="*/ 23251 w 144046"/>
                    <a:gd name="connsiteY163" fmla="*/ 10660 h 64586"/>
                    <a:gd name="connsiteX164" fmla="*/ 24620 w 144046"/>
                    <a:gd name="connsiteY164" fmla="*/ 8516 h 64586"/>
                    <a:gd name="connsiteX165" fmla="*/ 26959 w 144046"/>
                    <a:gd name="connsiteY165" fmla="*/ 6935 h 64586"/>
                    <a:gd name="connsiteX166" fmla="*/ 27693 w 144046"/>
                    <a:gd name="connsiteY166" fmla="*/ 4548 h 64586"/>
                    <a:gd name="connsiteX167" fmla="*/ 29478 w 144046"/>
                    <a:gd name="connsiteY167" fmla="*/ 2347 h 64586"/>
                    <a:gd name="connsiteX168" fmla="*/ 33919 w 144046"/>
                    <a:gd name="connsiteY168" fmla="*/ 1337 h 64586"/>
                    <a:gd name="connsiteX169" fmla="*/ 37277 w 144046"/>
                    <a:gd name="connsiteY169" fmla="*/ 41 h 64586"/>
                    <a:gd name="connsiteX170" fmla="*/ 38116 w 144046"/>
                    <a:gd name="connsiteY170" fmla="*/ 147 h 64586"/>
                    <a:gd name="connsiteX171" fmla="*/ 40969 w 144046"/>
                    <a:gd name="connsiteY171" fmla="*/ 155 h 64586"/>
                    <a:gd name="connsiteX172" fmla="*/ 42794 w 144046"/>
                    <a:gd name="connsiteY172" fmla="*/ 1548 h 64586"/>
                    <a:gd name="connsiteX173" fmla="*/ 43756 w 144046"/>
                    <a:gd name="connsiteY173" fmla="*/ 2103 h 64586"/>
                    <a:gd name="connsiteX174" fmla="*/ 47162 w 144046"/>
                    <a:gd name="connsiteY174" fmla="*/ 3138 h 64586"/>
                    <a:gd name="connsiteX175" fmla="*/ 49355 w 144046"/>
                    <a:gd name="connsiteY175" fmla="*/ 2861 h 64586"/>
                    <a:gd name="connsiteX176" fmla="*/ 59240 w 144046"/>
                    <a:gd name="connsiteY176" fmla="*/ 0 h 64586"/>
                    <a:gd name="connsiteX177" fmla="*/ 62346 w 144046"/>
                    <a:gd name="connsiteY177" fmla="*/ 815 h 64586"/>
                    <a:gd name="connsiteX178" fmla="*/ 68596 w 144046"/>
                    <a:gd name="connsiteY178" fmla="*/ 1353 h 64586"/>
                    <a:gd name="connsiteX179" fmla="*/ 70959 w 144046"/>
                    <a:gd name="connsiteY179" fmla="*/ 2314 h 64586"/>
                    <a:gd name="connsiteX180" fmla="*/ 71897 w 144046"/>
                    <a:gd name="connsiteY180" fmla="*/ 3178 h 64586"/>
                    <a:gd name="connsiteX181" fmla="*/ 73617 w 144046"/>
                    <a:gd name="connsiteY181" fmla="*/ 5534 h 64586"/>
                    <a:gd name="connsiteX182" fmla="*/ 74741 w 144046"/>
                    <a:gd name="connsiteY182" fmla="*/ 6308 h 64586"/>
                    <a:gd name="connsiteX183" fmla="*/ 75874 w 144046"/>
                    <a:gd name="connsiteY183" fmla="*/ 6487 h 64586"/>
                    <a:gd name="connsiteX184" fmla="*/ 78449 w 144046"/>
                    <a:gd name="connsiteY184" fmla="*/ 5452 h 64586"/>
                    <a:gd name="connsiteX185" fmla="*/ 80144 w 144046"/>
                    <a:gd name="connsiteY185" fmla="*/ 5142 h 64586"/>
                    <a:gd name="connsiteX186" fmla="*/ 80919 w 144046"/>
                    <a:gd name="connsiteY186" fmla="*/ 5354 h 64586"/>
                    <a:gd name="connsiteX187" fmla="*/ 83241 w 144046"/>
                    <a:gd name="connsiteY187" fmla="*/ 6658 h 64586"/>
                    <a:gd name="connsiteX188" fmla="*/ 84888 w 144046"/>
                    <a:gd name="connsiteY188" fmla="*/ 6186 h 64586"/>
                    <a:gd name="connsiteX189" fmla="*/ 90405 w 144046"/>
                    <a:gd name="connsiteY189" fmla="*/ 6870 h 64586"/>
                    <a:gd name="connsiteX190" fmla="*/ 92711 w 144046"/>
                    <a:gd name="connsiteY190" fmla="*/ 9307 h 64586"/>
                    <a:gd name="connsiteX191" fmla="*/ 93991 w 144046"/>
                    <a:gd name="connsiteY191" fmla="*/ 8924 h 64586"/>
                    <a:gd name="connsiteX192" fmla="*/ 94977 w 144046"/>
                    <a:gd name="connsiteY192" fmla="*/ 7343 h 64586"/>
                    <a:gd name="connsiteX193" fmla="*/ 97552 w 144046"/>
                    <a:gd name="connsiteY193" fmla="*/ 6943 h 64586"/>
                    <a:gd name="connsiteX194" fmla="*/ 103281 w 144046"/>
                    <a:gd name="connsiteY194" fmla="*/ 6324 h 64586"/>
                    <a:gd name="connsiteX195" fmla="*/ 104365 w 144046"/>
                    <a:gd name="connsiteY195" fmla="*/ 5762 h 64586"/>
                    <a:gd name="connsiteX196" fmla="*/ 105482 w 144046"/>
                    <a:gd name="connsiteY196" fmla="*/ 5664 h 64586"/>
                    <a:gd name="connsiteX197" fmla="*/ 109696 w 144046"/>
                    <a:gd name="connsiteY197" fmla="*/ 6047 h 64586"/>
                    <a:gd name="connsiteX198" fmla="*/ 116541 w 144046"/>
                    <a:gd name="connsiteY198" fmla="*/ 7930 h 64586"/>
                    <a:gd name="connsiteX199" fmla="*/ 117372 w 144046"/>
                    <a:gd name="connsiteY199" fmla="*/ 8451 h 64586"/>
                    <a:gd name="connsiteX200" fmla="*/ 120543 w 144046"/>
                    <a:gd name="connsiteY200" fmla="*/ 12412 h 64586"/>
                    <a:gd name="connsiteX201" fmla="*/ 121227 w 144046"/>
                    <a:gd name="connsiteY201" fmla="*/ 11923 h 64586"/>
                    <a:gd name="connsiteX202" fmla="*/ 121798 w 144046"/>
                    <a:gd name="connsiteY202" fmla="*/ 10872 h 64586"/>
                    <a:gd name="connsiteX203" fmla="*/ 122066 w 144046"/>
                    <a:gd name="connsiteY203" fmla="*/ 6919 h 64586"/>
                    <a:gd name="connsiteX204" fmla="*/ 122287 w 144046"/>
                    <a:gd name="connsiteY204" fmla="*/ 6226 h 64586"/>
                    <a:gd name="connsiteX205" fmla="*/ 123020 w 144046"/>
                    <a:gd name="connsiteY205" fmla="*/ 5697 h 64586"/>
                    <a:gd name="connsiteX206" fmla="*/ 123917 w 144046"/>
                    <a:gd name="connsiteY206" fmla="*/ 5884 h 64586"/>
                    <a:gd name="connsiteX207" fmla="*/ 124373 w 144046"/>
                    <a:gd name="connsiteY207" fmla="*/ 7107 h 64586"/>
                    <a:gd name="connsiteX208" fmla="*/ 124976 w 144046"/>
                    <a:gd name="connsiteY208" fmla="*/ 6870 h 64586"/>
                    <a:gd name="connsiteX209" fmla="*/ 125661 w 144046"/>
                    <a:gd name="connsiteY209" fmla="*/ 5444 h 64586"/>
                    <a:gd name="connsiteX210" fmla="*/ 126859 w 144046"/>
                    <a:gd name="connsiteY210" fmla="*/ 3928 h 64586"/>
                    <a:gd name="connsiteX211" fmla="*/ 127576 w 144046"/>
                    <a:gd name="connsiteY211" fmla="*/ 3374 h 64586"/>
                    <a:gd name="connsiteX212" fmla="*/ 128799 w 144046"/>
                    <a:gd name="connsiteY212" fmla="*/ 2526 h 64586"/>
                    <a:gd name="connsiteX213" fmla="*/ 132050 w 144046"/>
                    <a:gd name="connsiteY213" fmla="*/ 3350 h 64586"/>
                    <a:gd name="connsiteX214" fmla="*/ 132621 w 144046"/>
                    <a:gd name="connsiteY214" fmla="*/ 2958 h 64586"/>
                    <a:gd name="connsiteX215" fmla="*/ 132702 w 144046"/>
                    <a:gd name="connsiteY215" fmla="*/ 2249 h 64586"/>
                    <a:gd name="connsiteX216" fmla="*/ 132841 w 144046"/>
                    <a:gd name="connsiteY216" fmla="*/ 1353 h 64586"/>
                    <a:gd name="connsiteX217" fmla="*/ 133590 w 144046"/>
                    <a:gd name="connsiteY217" fmla="*/ 831 h 64586"/>
                    <a:gd name="connsiteX218" fmla="*/ 134723 w 144046"/>
                    <a:gd name="connsiteY218" fmla="*/ 693 h 64586"/>
                    <a:gd name="connsiteX219" fmla="*/ 136231 w 144046"/>
                    <a:gd name="connsiteY219" fmla="*/ 1059 h 64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144046" h="64586">
                      <a:moveTo>
                        <a:pt x="137747" y="2469"/>
                      </a:moveTo>
                      <a:lnTo>
                        <a:pt x="137747" y="2469"/>
                      </a:lnTo>
                      <a:lnTo>
                        <a:pt x="137747" y="2469"/>
                      </a:lnTo>
                      <a:lnTo>
                        <a:pt x="137747" y="2469"/>
                      </a:lnTo>
                      <a:lnTo>
                        <a:pt x="138447" y="1760"/>
                      </a:lnTo>
                      <a:lnTo>
                        <a:pt x="138529" y="823"/>
                      </a:lnTo>
                      <a:lnTo>
                        <a:pt x="139254" y="367"/>
                      </a:lnTo>
                      <a:lnTo>
                        <a:pt x="140070" y="285"/>
                      </a:lnTo>
                      <a:lnTo>
                        <a:pt x="141007" y="685"/>
                      </a:lnTo>
                      <a:lnTo>
                        <a:pt x="142360" y="1923"/>
                      </a:lnTo>
                      <a:lnTo>
                        <a:pt x="143492" y="3464"/>
                      </a:lnTo>
                      <a:lnTo>
                        <a:pt x="144046" y="4922"/>
                      </a:lnTo>
                      <a:lnTo>
                        <a:pt x="144046" y="6145"/>
                      </a:lnTo>
                      <a:lnTo>
                        <a:pt x="143827" y="6560"/>
                      </a:lnTo>
                      <a:lnTo>
                        <a:pt x="143362" y="7400"/>
                      </a:lnTo>
                      <a:lnTo>
                        <a:pt x="141887" y="7653"/>
                      </a:lnTo>
                      <a:lnTo>
                        <a:pt x="140338" y="8402"/>
                      </a:lnTo>
                      <a:lnTo>
                        <a:pt x="139670" y="10383"/>
                      </a:lnTo>
                      <a:lnTo>
                        <a:pt x="138545" y="13162"/>
                      </a:lnTo>
                      <a:lnTo>
                        <a:pt x="137250" y="14629"/>
                      </a:lnTo>
                      <a:lnTo>
                        <a:pt x="135229" y="15908"/>
                      </a:lnTo>
                      <a:lnTo>
                        <a:pt x="132702" y="15378"/>
                      </a:lnTo>
                      <a:lnTo>
                        <a:pt x="130820" y="14971"/>
                      </a:lnTo>
                      <a:lnTo>
                        <a:pt x="128676" y="15558"/>
                      </a:lnTo>
                      <a:lnTo>
                        <a:pt x="126679" y="14792"/>
                      </a:lnTo>
                      <a:lnTo>
                        <a:pt x="124724" y="15110"/>
                      </a:lnTo>
                      <a:lnTo>
                        <a:pt x="124039" y="15664"/>
                      </a:lnTo>
                      <a:lnTo>
                        <a:pt x="123958" y="16552"/>
                      </a:lnTo>
                      <a:lnTo>
                        <a:pt x="124626" y="17929"/>
                      </a:lnTo>
                      <a:lnTo>
                        <a:pt x="124218" y="18484"/>
                      </a:lnTo>
                      <a:lnTo>
                        <a:pt x="123305" y="18418"/>
                      </a:lnTo>
                      <a:lnTo>
                        <a:pt x="122287" y="17025"/>
                      </a:lnTo>
                      <a:lnTo>
                        <a:pt x="121048" y="16617"/>
                      </a:lnTo>
                      <a:lnTo>
                        <a:pt x="118962" y="17082"/>
                      </a:lnTo>
                      <a:lnTo>
                        <a:pt x="117160" y="17726"/>
                      </a:lnTo>
                      <a:lnTo>
                        <a:pt x="116338" y="17726"/>
                      </a:lnTo>
                      <a:lnTo>
                        <a:pt x="115033" y="17383"/>
                      </a:lnTo>
                      <a:lnTo>
                        <a:pt x="113615" y="16870"/>
                      </a:lnTo>
                      <a:lnTo>
                        <a:pt x="109842" y="13822"/>
                      </a:lnTo>
                      <a:lnTo>
                        <a:pt x="108652" y="13447"/>
                      </a:lnTo>
                      <a:lnTo>
                        <a:pt x="107739" y="14026"/>
                      </a:lnTo>
                      <a:lnTo>
                        <a:pt x="106370" y="14588"/>
                      </a:lnTo>
                      <a:lnTo>
                        <a:pt x="104561" y="14295"/>
                      </a:lnTo>
                      <a:lnTo>
                        <a:pt x="102312" y="13577"/>
                      </a:lnTo>
                      <a:lnTo>
                        <a:pt x="99019" y="11304"/>
                      </a:lnTo>
                      <a:lnTo>
                        <a:pt x="97185" y="11222"/>
                      </a:lnTo>
                      <a:lnTo>
                        <a:pt x="95360" y="12257"/>
                      </a:lnTo>
                      <a:lnTo>
                        <a:pt x="92458" y="11687"/>
                      </a:lnTo>
                      <a:lnTo>
                        <a:pt x="90951" y="12925"/>
                      </a:lnTo>
                      <a:lnTo>
                        <a:pt x="88465" y="12583"/>
                      </a:lnTo>
                      <a:lnTo>
                        <a:pt x="84725" y="11573"/>
                      </a:lnTo>
                      <a:lnTo>
                        <a:pt x="81970" y="10163"/>
                      </a:lnTo>
                      <a:lnTo>
                        <a:pt x="75075" y="9804"/>
                      </a:lnTo>
                      <a:lnTo>
                        <a:pt x="69477" y="9348"/>
                      </a:lnTo>
                      <a:lnTo>
                        <a:pt x="67928" y="10163"/>
                      </a:lnTo>
                      <a:lnTo>
                        <a:pt x="64399" y="10880"/>
                      </a:lnTo>
                      <a:lnTo>
                        <a:pt x="61327" y="10032"/>
                      </a:lnTo>
                      <a:lnTo>
                        <a:pt x="60275" y="10032"/>
                      </a:lnTo>
                      <a:lnTo>
                        <a:pt x="56486" y="10709"/>
                      </a:lnTo>
                      <a:lnTo>
                        <a:pt x="53927" y="11043"/>
                      </a:lnTo>
                      <a:lnTo>
                        <a:pt x="52607" y="10220"/>
                      </a:lnTo>
                      <a:lnTo>
                        <a:pt x="51539" y="8924"/>
                      </a:lnTo>
                      <a:lnTo>
                        <a:pt x="50960" y="7873"/>
                      </a:lnTo>
                      <a:lnTo>
                        <a:pt x="50936" y="6650"/>
                      </a:lnTo>
                      <a:lnTo>
                        <a:pt x="51360" y="6471"/>
                      </a:lnTo>
                      <a:lnTo>
                        <a:pt x="52362" y="6520"/>
                      </a:lnTo>
                      <a:lnTo>
                        <a:pt x="52713" y="6112"/>
                      </a:lnTo>
                      <a:lnTo>
                        <a:pt x="52647" y="5868"/>
                      </a:lnTo>
                      <a:lnTo>
                        <a:pt x="52476" y="5167"/>
                      </a:lnTo>
                      <a:lnTo>
                        <a:pt x="51392" y="4971"/>
                      </a:lnTo>
                      <a:lnTo>
                        <a:pt x="50259" y="5240"/>
                      </a:lnTo>
                      <a:lnTo>
                        <a:pt x="49118" y="6283"/>
                      </a:lnTo>
                      <a:lnTo>
                        <a:pt x="48784" y="7400"/>
                      </a:lnTo>
                      <a:lnTo>
                        <a:pt x="49485" y="9804"/>
                      </a:lnTo>
                      <a:lnTo>
                        <a:pt x="49884" y="11352"/>
                      </a:lnTo>
                      <a:lnTo>
                        <a:pt x="48833" y="12331"/>
                      </a:lnTo>
                      <a:lnTo>
                        <a:pt x="47448" y="12363"/>
                      </a:lnTo>
                      <a:lnTo>
                        <a:pt x="46951" y="10847"/>
                      </a:lnTo>
                      <a:lnTo>
                        <a:pt x="46298" y="10611"/>
                      </a:lnTo>
                      <a:lnTo>
                        <a:pt x="45647" y="10766"/>
                      </a:lnTo>
                      <a:lnTo>
                        <a:pt x="45109" y="12216"/>
                      </a:lnTo>
                      <a:lnTo>
                        <a:pt x="44742" y="13154"/>
                      </a:lnTo>
                      <a:lnTo>
                        <a:pt x="44041" y="13895"/>
                      </a:lnTo>
                      <a:lnTo>
                        <a:pt x="42541" y="13504"/>
                      </a:lnTo>
                      <a:lnTo>
                        <a:pt x="41775" y="13194"/>
                      </a:lnTo>
                      <a:lnTo>
                        <a:pt x="41083" y="12681"/>
                      </a:lnTo>
                      <a:lnTo>
                        <a:pt x="40423" y="13031"/>
                      </a:lnTo>
                      <a:lnTo>
                        <a:pt x="39070" y="14238"/>
                      </a:lnTo>
                      <a:lnTo>
                        <a:pt x="36576" y="14670"/>
                      </a:lnTo>
                      <a:lnTo>
                        <a:pt x="35989" y="15664"/>
                      </a:lnTo>
                      <a:lnTo>
                        <a:pt x="35207" y="18598"/>
                      </a:lnTo>
                      <a:lnTo>
                        <a:pt x="34188" y="21369"/>
                      </a:lnTo>
                      <a:lnTo>
                        <a:pt x="33658" y="24384"/>
                      </a:lnTo>
                      <a:lnTo>
                        <a:pt x="33088" y="25183"/>
                      </a:lnTo>
                      <a:lnTo>
                        <a:pt x="28826" y="28206"/>
                      </a:lnTo>
                      <a:lnTo>
                        <a:pt x="27595" y="28785"/>
                      </a:lnTo>
                      <a:lnTo>
                        <a:pt x="23137" y="28280"/>
                      </a:lnTo>
                      <a:lnTo>
                        <a:pt x="20863" y="28850"/>
                      </a:lnTo>
                      <a:lnTo>
                        <a:pt x="20374" y="29812"/>
                      </a:lnTo>
                      <a:lnTo>
                        <a:pt x="20244" y="31059"/>
                      </a:lnTo>
                      <a:lnTo>
                        <a:pt x="21483" y="36413"/>
                      </a:lnTo>
                      <a:lnTo>
                        <a:pt x="21132" y="37301"/>
                      </a:lnTo>
                      <a:lnTo>
                        <a:pt x="20179" y="37432"/>
                      </a:lnTo>
                      <a:lnTo>
                        <a:pt x="19991" y="37758"/>
                      </a:lnTo>
                      <a:lnTo>
                        <a:pt x="20049" y="38198"/>
                      </a:lnTo>
                      <a:lnTo>
                        <a:pt x="21678" y="39746"/>
                      </a:lnTo>
                      <a:lnTo>
                        <a:pt x="21727" y="40610"/>
                      </a:lnTo>
                      <a:lnTo>
                        <a:pt x="21132" y="41319"/>
                      </a:lnTo>
                      <a:lnTo>
                        <a:pt x="19690" y="42566"/>
                      </a:lnTo>
                      <a:lnTo>
                        <a:pt x="16471" y="45329"/>
                      </a:lnTo>
                      <a:lnTo>
                        <a:pt x="16186" y="46307"/>
                      </a:lnTo>
                      <a:lnTo>
                        <a:pt x="16006" y="51832"/>
                      </a:lnTo>
                      <a:lnTo>
                        <a:pt x="16120" y="52142"/>
                      </a:lnTo>
                      <a:lnTo>
                        <a:pt x="17139" y="52370"/>
                      </a:lnTo>
                      <a:lnTo>
                        <a:pt x="17709" y="53055"/>
                      </a:lnTo>
                      <a:lnTo>
                        <a:pt x="17824" y="54701"/>
                      </a:lnTo>
                      <a:lnTo>
                        <a:pt x="17522" y="60585"/>
                      </a:lnTo>
                      <a:lnTo>
                        <a:pt x="17318" y="61734"/>
                      </a:lnTo>
                      <a:lnTo>
                        <a:pt x="16471" y="62142"/>
                      </a:lnTo>
                      <a:lnTo>
                        <a:pt x="16307" y="62794"/>
                      </a:lnTo>
                      <a:lnTo>
                        <a:pt x="16935" y="64212"/>
                      </a:lnTo>
                      <a:lnTo>
                        <a:pt x="16454" y="64587"/>
                      </a:lnTo>
                      <a:lnTo>
                        <a:pt x="15354" y="64391"/>
                      </a:lnTo>
                      <a:lnTo>
                        <a:pt x="14384" y="63739"/>
                      </a:lnTo>
                      <a:lnTo>
                        <a:pt x="14197" y="63014"/>
                      </a:lnTo>
                      <a:lnTo>
                        <a:pt x="14352" y="62223"/>
                      </a:lnTo>
                      <a:lnTo>
                        <a:pt x="13814" y="60259"/>
                      </a:lnTo>
                      <a:lnTo>
                        <a:pt x="14164" y="59053"/>
                      </a:lnTo>
                      <a:lnTo>
                        <a:pt x="13952" y="57578"/>
                      </a:lnTo>
                      <a:lnTo>
                        <a:pt x="13496" y="57032"/>
                      </a:lnTo>
                      <a:lnTo>
                        <a:pt x="10912" y="55801"/>
                      </a:lnTo>
                      <a:lnTo>
                        <a:pt x="9992" y="54929"/>
                      </a:lnTo>
                      <a:lnTo>
                        <a:pt x="5599" y="48890"/>
                      </a:lnTo>
                      <a:lnTo>
                        <a:pt x="4409" y="46152"/>
                      </a:lnTo>
                      <a:lnTo>
                        <a:pt x="709" y="43723"/>
                      </a:lnTo>
                      <a:lnTo>
                        <a:pt x="0" y="42770"/>
                      </a:lnTo>
                      <a:lnTo>
                        <a:pt x="171" y="41099"/>
                      </a:lnTo>
                      <a:lnTo>
                        <a:pt x="1426" y="40056"/>
                      </a:lnTo>
                      <a:lnTo>
                        <a:pt x="2372" y="38385"/>
                      </a:lnTo>
                      <a:lnTo>
                        <a:pt x="2037" y="37366"/>
                      </a:lnTo>
                      <a:lnTo>
                        <a:pt x="342" y="36780"/>
                      </a:lnTo>
                      <a:lnTo>
                        <a:pt x="73" y="35851"/>
                      </a:lnTo>
                      <a:lnTo>
                        <a:pt x="668" y="35125"/>
                      </a:lnTo>
                      <a:lnTo>
                        <a:pt x="1271" y="34954"/>
                      </a:lnTo>
                      <a:lnTo>
                        <a:pt x="3056" y="35476"/>
                      </a:lnTo>
                      <a:lnTo>
                        <a:pt x="4849" y="32289"/>
                      </a:lnTo>
                      <a:lnTo>
                        <a:pt x="6886" y="29608"/>
                      </a:lnTo>
                      <a:lnTo>
                        <a:pt x="7449" y="28540"/>
                      </a:lnTo>
                      <a:lnTo>
                        <a:pt x="5599" y="26788"/>
                      </a:lnTo>
                      <a:lnTo>
                        <a:pt x="5395" y="25712"/>
                      </a:lnTo>
                      <a:lnTo>
                        <a:pt x="5167" y="23691"/>
                      </a:lnTo>
                      <a:lnTo>
                        <a:pt x="6014" y="22526"/>
                      </a:lnTo>
                      <a:lnTo>
                        <a:pt x="7808" y="21833"/>
                      </a:lnTo>
                      <a:lnTo>
                        <a:pt x="8386" y="21695"/>
                      </a:lnTo>
                      <a:lnTo>
                        <a:pt x="9739" y="22452"/>
                      </a:lnTo>
                      <a:lnTo>
                        <a:pt x="11426" y="21646"/>
                      </a:lnTo>
                      <a:lnTo>
                        <a:pt x="13512" y="22404"/>
                      </a:lnTo>
                      <a:lnTo>
                        <a:pt x="14482" y="21752"/>
                      </a:lnTo>
                      <a:lnTo>
                        <a:pt x="14637" y="21132"/>
                      </a:lnTo>
                      <a:lnTo>
                        <a:pt x="12714" y="18793"/>
                      </a:lnTo>
                      <a:lnTo>
                        <a:pt x="14547" y="15925"/>
                      </a:lnTo>
                      <a:lnTo>
                        <a:pt x="16307" y="13855"/>
                      </a:lnTo>
                      <a:lnTo>
                        <a:pt x="20912" y="12355"/>
                      </a:lnTo>
                      <a:lnTo>
                        <a:pt x="23251" y="10660"/>
                      </a:lnTo>
                      <a:lnTo>
                        <a:pt x="24620" y="8516"/>
                      </a:lnTo>
                      <a:lnTo>
                        <a:pt x="26959" y="6935"/>
                      </a:lnTo>
                      <a:lnTo>
                        <a:pt x="27693" y="4548"/>
                      </a:lnTo>
                      <a:lnTo>
                        <a:pt x="29478" y="2347"/>
                      </a:lnTo>
                      <a:lnTo>
                        <a:pt x="33919" y="1337"/>
                      </a:lnTo>
                      <a:lnTo>
                        <a:pt x="37277" y="41"/>
                      </a:lnTo>
                      <a:lnTo>
                        <a:pt x="38116" y="147"/>
                      </a:lnTo>
                      <a:lnTo>
                        <a:pt x="40969" y="155"/>
                      </a:lnTo>
                      <a:lnTo>
                        <a:pt x="42794" y="1548"/>
                      </a:lnTo>
                      <a:lnTo>
                        <a:pt x="43756" y="2103"/>
                      </a:lnTo>
                      <a:lnTo>
                        <a:pt x="47162" y="3138"/>
                      </a:lnTo>
                      <a:lnTo>
                        <a:pt x="49355" y="2861"/>
                      </a:lnTo>
                      <a:lnTo>
                        <a:pt x="59240" y="0"/>
                      </a:lnTo>
                      <a:lnTo>
                        <a:pt x="62346" y="815"/>
                      </a:lnTo>
                      <a:lnTo>
                        <a:pt x="68596" y="1353"/>
                      </a:lnTo>
                      <a:lnTo>
                        <a:pt x="70959" y="2314"/>
                      </a:lnTo>
                      <a:lnTo>
                        <a:pt x="71897" y="3178"/>
                      </a:lnTo>
                      <a:lnTo>
                        <a:pt x="73617" y="5534"/>
                      </a:lnTo>
                      <a:lnTo>
                        <a:pt x="74741" y="6308"/>
                      </a:lnTo>
                      <a:lnTo>
                        <a:pt x="75874" y="6487"/>
                      </a:lnTo>
                      <a:lnTo>
                        <a:pt x="78449" y="5452"/>
                      </a:lnTo>
                      <a:lnTo>
                        <a:pt x="80144" y="5142"/>
                      </a:lnTo>
                      <a:lnTo>
                        <a:pt x="80919" y="5354"/>
                      </a:lnTo>
                      <a:lnTo>
                        <a:pt x="83241" y="6658"/>
                      </a:lnTo>
                      <a:lnTo>
                        <a:pt x="84888" y="6186"/>
                      </a:lnTo>
                      <a:lnTo>
                        <a:pt x="90405" y="6870"/>
                      </a:lnTo>
                      <a:lnTo>
                        <a:pt x="92711" y="9307"/>
                      </a:lnTo>
                      <a:lnTo>
                        <a:pt x="93991" y="8924"/>
                      </a:lnTo>
                      <a:lnTo>
                        <a:pt x="94977" y="7343"/>
                      </a:lnTo>
                      <a:lnTo>
                        <a:pt x="97552" y="6943"/>
                      </a:lnTo>
                      <a:lnTo>
                        <a:pt x="103281" y="6324"/>
                      </a:lnTo>
                      <a:lnTo>
                        <a:pt x="104365" y="5762"/>
                      </a:lnTo>
                      <a:lnTo>
                        <a:pt x="105482" y="5664"/>
                      </a:lnTo>
                      <a:lnTo>
                        <a:pt x="109696" y="6047"/>
                      </a:lnTo>
                      <a:lnTo>
                        <a:pt x="116541" y="7930"/>
                      </a:lnTo>
                      <a:lnTo>
                        <a:pt x="117372" y="8451"/>
                      </a:lnTo>
                      <a:lnTo>
                        <a:pt x="120543" y="12412"/>
                      </a:lnTo>
                      <a:lnTo>
                        <a:pt x="121227" y="11923"/>
                      </a:lnTo>
                      <a:lnTo>
                        <a:pt x="121798" y="10872"/>
                      </a:lnTo>
                      <a:lnTo>
                        <a:pt x="122066" y="6919"/>
                      </a:lnTo>
                      <a:lnTo>
                        <a:pt x="122287" y="6226"/>
                      </a:lnTo>
                      <a:lnTo>
                        <a:pt x="123020" y="5697"/>
                      </a:lnTo>
                      <a:lnTo>
                        <a:pt x="123917" y="5884"/>
                      </a:lnTo>
                      <a:lnTo>
                        <a:pt x="124373" y="7107"/>
                      </a:lnTo>
                      <a:lnTo>
                        <a:pt x="124976" y="6870"/>
                      </a:lnTo>
                      <a:lnTo>
                        <a:pt x="125661" y="5444"/>
                      </a:lnTo>
                      <a:lnTo>
                        <a:pt x="126859" y="3928"/>
                      </a:lnTo>
                      <a:lnTo>
                        <a:pt x="127576" y="3374"/>
                      </a:lnTo>
                      <a:lnTo>
                        <a:pt x="128799" y="2526"/>
                      </a:lnTo>
                      <a:lnTo>
                        <a:pt x="132050" y="3350"/>
                      </a:lnTo>
                      <a:lnTo>
                        <a:pt x="132621" y="2958"/>
                      </a:lnTo>
                      <a:lnTo>
                        <a:pt x="132702" y="2249"/>
                      </a:lnTo>
                      <a:lnTo>
                        <a:pt x="132841" y="1353"/>
                      </a:lnTo>
                      <a:lnTo>
                        <a:pt x="133590" y="831"/>
                      </a:lnTo>
                      <a:lnTo>
                        <a:pt x="134723" y="693"/>
                      </a:lnTo>
                      <a:lnTo>
                        <a:pt x="136231" y="1059"/>
                      </a:lnTo>
                      <a:close/>
                    </a:path>
                  </a:pathLst>
                </a:custGeom>
                <a:solidFill>
                  <a:srgbClr val="FFFFFF"/>
                </a:solidFill>
                <a:ln w="8150" cap="flat">
                  <a:noFill/>
                  <a:prstDash val="solid"/>
                  <a:miter/>
                </a:ln>
              </p:spPr>
              <p:txBody>
                <a:bodyPr rtlCol="0" anchor="ctr"/>
                <a:lstStyle/>
                <a:p>
                  <a:endParaRPr lang="en-US"/>
                </a:p>
              </p:txBody>
            </p:sp>
            <p:sp>
              <p:nvSpPr>
                <p:cNvPr id="426" name="Freeform: Shape 425">
                  <a:extLst>
                    <a:ext uri="{FF2B5EF4-FFF2-40B4-BE49-F238E27FC236}">
                      <a16:creationId xmlns:a16="http://schemas.microsoft.com/office/drawing/2014/main" id="{DCDBC9EA-6D35-4DDB-A68C-FC984F4F78C9}"/>
                    </a:ext>
                  </a:extLst>
                </p:cNvPr>
                <p:cNvSpPr/>
                <p:nvPr/>
              </p:nvSpPr>
              <p:spPr>
                <a:xfrm>
                  <a:off x="6677719" y="2469199"/>
                  <a:ext cx="77356" cy="75205"/>
                </a:xfrm>
                <a:custGeom>
                  <a:avLst/>
                  <a:gdLst>
                    <a:gd name="connsiteX0" fmla="*/ 285 w 77356"/>
                    <a:gd name="connsiteY0" fmla="*/ 22249 h 75205"/>
                    <a:gd name="connsiteX1" fmla="*/ 285 w 77356"/>
                    <a:gd name="connsiteY1" fmla="*/ 22249 h 75205"/>
                    <a:gd name="connsiteX2" fmla="*/ 285 w 77356"/>
                    <a:gd name="connsiteY2" fmla="*/ 22249 h 75205"/>
                    <a:gd name="connsiteX3" fmla="*/ 285 w 77356"/>
                    <a:gd name="connsiteY3" fmla="*/ 22249 h 75205"/>
                    <a:gd name="connsiteX4" fmla="*/ 872 w 77356"/>
                    <a:gd name="connsiteY4" fmla="*/ 21719 h 75205"/>
                    <a:gd name="connsiteX5" fmla="*/ 986 w 77356"/>
                    <a:gd name="connsiteY5" fmla="*/ 21246 h 75205"/>
                    <a:gd name="connsiteX6" fmla="*/ 750 w 77356"/>
                    <a:gd name="connsiteY6" fmla="*/ 20431 h 75205"/>
                    <a:gd name="connsiteX7" fmla="*/ 1638 w 77356"/>
                    <a:gd name="connsiteY7" fmla="*/ 19470 h 75205"/>
                    <a:gd name="connsiteX8" fmla="*/ 3088 w 77356"/>
                    <a:gd name="connsiteY8" fmla="*/ 19690 h 75205"/>
                    <a:gd name="connsiteX9" fmla="*/ 5061 w 77356"/>
                    <a:gd name="connsiteY9" fmla="*/ 21108 h 75205"/>
                    <a:gd name="connsiteX10" fmla="*/ 6299 w 77356"/>
                    <a:gd name="connsiteY10" fmla="*/ 21580 h 75205"/>
                    <a:gd name="connsiteX11" fmla="*/ 6666 w 77356"/>
                    <a:gd name="connsiteY11" fmla="*/ 20945 h 75205"/>
                    <a:gd name="connsiteX12" fmla="*/ 6560 w 77356"/>
                    <a:gd name="connsiteY12" fmla="*/ 20456 h 75205"/>
                    <a:gd name="connsiteX13" fmla="*/ 6576 w 77356"/>
                    <a:gd name="connsiteY13" fmla="*/ 19299 h 75205"/>
                    <a:gd name="connsiteX14" fmla="*/ 7563 w 77356"/>
                    <a:gd name="connsiteY14" fmla="*/ 18752 h 75205"/>
                    <a:gd name="connsiteX15" fmla="*/ 8639 w 77356"/>
                    <a:gd name="connsiteY15" fmla="*/ 18695 h 75205"/>
                    <a:gd name="connsiteX16" fmla="*/ 9119 w 77356"/>
                    <a:gd name="connsiteY16" fmla="*/ 18158 h 75205"/>
                    <a:gd name="connsiteX17" fmla="*/ 9201 w 77356"/>
                    <a:gd name="connsiteY17" fmla="*/ 17326 h 75205"/>
                    <a:gd name="connsiteX18" fmla="*/ 8867 w 77356"/>
                    <a:gd name="connsiteY18" fmla="*/ 16788 h 75205"/>
                    <a:gd name="connsiteX19" fmla="*/ 8785 w 77356"/>
                    <a:gd name="connsiteY19" fmla="*/ 16324 h 75205"/>
                    <a:gd name="connsiteX20" fmla="*/ 9323 w 77356"/>
                    <a:gd name="connsiteY20" fmla="*/ 15656 h 75205"/>
                    <a:gd name="connsiteX21" fmla="*/ 9551 w 77356"/>
                    <a:gd name="connsiteY21" fmla="*/ 14490 h 75205"/>
                    <a:gd name="connsiteX22" fmla="*/ 9723 w 77356"/>
                    <a:gd name="connsiteY22" fmla="*/ 13944 h 75205"/>
                    <a:gd name="connsiteX23" fmla="*/ 10236 w 77356"/>
                    <a:gd name="connsiteY23" fmla="*/ 13341 h 75205"/>
                    <a:gd name="connsiteX24" fmla="*/ 10603 w 77356"/>
                    <a:gd name="connsiteY24" fmla="*/ 12836 h 75205"/>
                    <a:gd name="connsiteX25" fmla="*/ 10586 w 77356"/>
                    <a:gd name="connsiteY25" fmla="*/ 12273 h 75205"/>
                    <a:gd name="connsiteX26" fmla="*/ 10171 w 77356"/>
                    <a:gd name="connsiteY26" fmla="*/ 11467 h 75205"/>
                    <a:gd name="connsiteX27" fmla="*/ 10268 w 77356"/>
                    <a:gd name="connsiteY27" fmla="*/ 10562 h 75205"/>
                    <a:gd name="connsiteX28" fmla="*/ 11409 w 77356"/>
                    <a:gd name="connsiteY28" fmla="*/ 10489 h 75205"/>
                    <a:gd name="connsiteX29" fmla="*/ 15900 w 77356"/>
                    <a:gd name="connsiteY29" fmla="*/ 11679 h 75205"/>
                    <a:gd name="connsiteX30" fmla="*/ 16250 w 77356"/>
                    <a:gd name="connsiteY30" fmla="*/ 11564 h 75205"/>
                    <a:gd name="connsiteX31" fmla="*/ 16397 w 77356"/>
                    <a:gd name="connsiteY31" fmla="*/ 10554 h 75205"/>
                    <a:gd name="connsiteX32" fmla="*/ 17049 w 77356"/>
                    <a:gd name="connsiteY32" fmla="*/ 10146 h 75205"/>
                    <a:gd name="connsiteX33" fmla="*/ 18003 w 77356"/>
                    <a:gd name="connsiteY33" fmla="*/ 9731 h 75205"/>
                    <a:gd name="connsiteX34" fmla="*/ 19372 w 77356"/>
                    <a:gd name="connsiteY34" fmla="*/ 9486 h 75205"/>
                    <a:gd name="connsiteX35" fmla="*/ 19641 w 77356"/>
                    <a:gd name="connsiteY35" fmla="*/ 8720 h 75205"/>
                    <a:gd name="connsiteX36" fmla="*/ 19054 w 77356"/>
                    <a:gd name="connsiteY36" fmla="*/ 7938 h 75205"/>
                    <a:gd name="connsiteX37" fmla="*/ 19087 w 77356"/>
                    <a:gd name="connsiteY37" fmla="*/ 6878 h 75205"/>
                    <a:gd name="connsiteX38" fmla="*/ 23129 w 77356"/>
                    <a:gd name="connsiteY38" fmla="*/ 1687 h 75205"/>
                    <a:gd name="connsiteX39" fmla="*/ 25468 w 77356"/>
                    <a:gd name="connsiteY39" fmla="*/ 0 h 75205"/>
                    <a:gd name="connsiteX40" fmla="*/ 26372 w 77356"/>
                    <a:gd name="connsiteY40" fmla="*/ 416 h 75205"/>
                    <a:gd name="connsiteX41" fmla="*/ 26568 w 77356"/>
                    <a:gd name="connsiteY41" fmla="*/ 831 h 75205"/>
                    <a:gd name="connsiteX42" fmla="*/ 26804 w 77356"/>
                    <a:gd name="connsiteY42" fmla="*/ 1328 h 75205"/>
                    <a:gd name="connsiteX43" fmla="*/ 29779 w 77356"/>
                    <a:gd name="connsiteY43" fmla="*/ 2461 h 75205"/>
                    <a:gd name="connsiteX44" fmla="*/ 30545 w 77356"/>
                    <a:gd name="connsiteY44" fmla="*/ 3496 h 75205"/>
                    <a:gd name="connsiteX45" fmla="*/ 30912 w 77356"/>
                    <a:gd name="connsiteY45" fmla="*/ 5273 h 75205"/>
                    <a:gd name="connsiteX46" fmla="*/ 31580 w 77356"/>
                    <a:gd name="connsiteY46" fmla="*/ 6283 h 75205"/>
                    <a:gd name="connsiteX47" fmla="*/ 33120 w 77356"/>
                    <a:gd name="connsiteY47" fmla="*/ 6349 h 75205"/>
                    <a:gd name="connsiteX48" fmla="*/ 33422 w 77356"/>
                    <a:gd name="connsiteY48" fmla="*/ 5892 h 75205"/>
                    <a:gd name="connsiteX49" fmla="*/ 35052 w 77356"/>
                    <a:gd name="connsiteY49" fmla="*/ 5363 h 75205"/>
                    <a:gd name="connsiteX50" fmla="*/ 35524 w 77356"/>
                    <a:gd name="connsiteY50" fmla="*/ 5436 h 75205"/>
                    <a:gd name="connsiteX51" fmla="*/ 36225 w 77356"/>
                    <a:gd name="connsiteY51" fmla="*/ 6495 h 75205"/>
                    <a:gd name="connsiteX52" fmla="*/ 36788 w 77356"/>
                    <a:gd name="connsiteY52" fmla="*/ 6903 h 75205"/>
                    <a:gd name="connsiteX53" fmla="*/ 37277 w 77356"/>
                    <a:gd name="connsiteY53" fmla="*/ 6430 h 75205"/>
                    <a:gd name="connsiteX54" fmla="*/ 37423 w 77356"/>
                    <a:gd name="connsiteY54" fmla="*/ 5998 h 75205"/>
                    <a:gd name="connsiteX55" fmla="*/ 38181 w 77356"/>
                    <a:gd name="connsiteY55" fmla="*/ 5998 h 75205"/>
                    <a:gd name="connsiteX56" fmla="*/ 41197 w 77356"/>
                    <a:gd name="connsiteY56" fmla="*/ 9111 h 75205"/>
                    <a:gd name="connsiteX57" fmla="*/ 42354 w 77356"/>
                    <a:gd name="connsiteY57" fmla="*/ 11271 h 75205"/>
                    <a:gd name="connsiteX58" fmla="*/ 43421 w 77356"/>
                    <a:gd name="connsiteY58" fmla="*/ 13700 h 75205"/>
                    <a:gd name="connsiteX59" fmla="*/ 44106 w 77356"/>
                    <a:gd name="connsiteY59" fmla="*/ 14303 h 75205"/>
                    <a:gd name="connsiteX60" fmla="*/ 44506 w 77356"/>
                    <a:gd name="connsiteY60" fmla="*/ 14123 h 75205"/>
                    <a:gd name="connsiteX61" fmla="*/ 44440 w 77356"/>
                    <a:gd name="connsiteY61" fmla="*/ 13496 h 75205"/>
                    <a:gd name="connsiteX62" fmla="*/ 44522 w 77356"/>
                    <a:gd name="connsiteY62" fmla="*/ 12746 h 75205"/>
                    <a:gd name="connsiteX63" fmla="*/ 44937 w 77356"/>
                    <a:gd name="connsiteY63" fmla="*/ 12681 h 75205"/>
                    <a:gd name="connsiteX64" fmla="*/ 46445 w 77356"/>
                    <a:gd name="connsiteY64" fmla="*/ 14596 h 75205"/>
                    <a:gd name="connsiteX65" fmla="*/ 48051 w 77356"/>
                    <a:gd name="connsiteY65" fmla="*/ 15876 h 75205"/>
                    <a:gd name="connsiteX66" fmla="*/ 50732 w 77356"/>
                    <a:gd name="connsiteY66" fmla="*/ 17343 h 75205"/>
                    <a:gd name="connsiteX67" fmla="*/ 51425 w 77356"/>
                    <a:gd name="connsiteY67" fmla="*/ 18288 h 75205"/>
                    <a:gd name="connsiteX68" fmla="*/ 62858 w 77356"/>
                    <a:gd name="connsiteY68" fmla="*/ 24091 h 75205"/>
                    <a:gd name="connsiteX69" fmla="*/ 67015 w 77356"/>
                    <a:gd name="connsiteY69" fmla="*/ 26641 h 75205"/>
                    <a:gd name="connsiteX70" fmla="*/ 67920 w 77356"/>
                    <a:gd name="connsiteY70" fmla="*/ 28174 h 75205"/>
                    <a:gd name="connsiteX71" fmla="*/ 68352 w 77356"/>
                    <a:gd name="connsiteY71" fmla="*/ 29567 h 75205"/>
                    <a:gd name="connsiteX72" fmla="*/ 68335 w 77356"/>
                    <a:gd name="connsiteY72" fmla="*/ 30822 h 75205"/>
                    <a:gd name="connsiteX73" fmla="*/ 68653 w 77356"/>
                    <a:gd name="connsiteY73" fmla="*/ 31482 h 75205"/>
                    <a:gd name="connsiteX74" fmla="*/ 69656 w 77356"/>
                    <a:gd name="connsiteY74" fmla="*/ 31922 h 75205"/>
                    <a:gd name="connsiteX75" fmla="*/ 69843 w 77356"/>
                    <a:gd name="connsiteY75" fmla="*/ 32623 h 75205"/>
                    <a:gd name="connsiteX76" fmla="*/ 72932 w 77356"/>
                    <a:gd name="connsiteY76" fmla="*/ 35973 h 75205"/>
                    <a:gd name="connsiteX77" fmla="*/ 73983 w 77356"/>
                    <a:gd name="connsiteY77" fmla="*/ 38377 h 75205"/>
                    <a:gd name="connsiteX78" fmla="*/ 74097 w 77356"/>
                    <a:gd name="connsiteY78" fmla="*/ 41189 h 75205"/>
                    <a:gd name="connsiteX79" fmla="*/ 74871 w 77356"/>
                    <a:gd name="connsiteY79" fmla="*/ 42973 h 75205"/>
                    <a:gd name="connsiteX80" fmla="*/ 76338 w 77356"/>
                    <a:gd name="connsiteY80" fmla="*/ 43731 h 75205"/>
                    <a:gd name="connsiteX81" fmla="*/ 77170 w 77356"/>
                    <a:gd name="connsiteY81" fmla="*/ 44652 h 75205"/>
                    <a:gd name="connsiteX82" fmla="*/ 77357 w 77356"/>
                    <a:gd name="connsiteY82" fmla="*/ 45761 h 75205"/>
                    <a:gd name="connsiteX83" fmla="*/ 76436 w 77356"/>
                    <a:gd name="connsiteY83" fmla="*/ 48043 h 75205"/>
                    <a:gd name="connsiteX84" fmla="*/ 74814 w 77356"/>
                    <a:gd name="connsiteY84" fmla="*/ 51604 h 75205"/>
                    <a:gd name="connsiteX85" fmla="*/ 74170 w 77356"/>
                    <a:gd name="connsiteY85" fmla="*/ 52223 h 75205"/>
                    <a:gd name="connsiteX86" fmla="*/ 73331 w 77356"/>
                    <a:gd name="connsiteY86" fmla="*/ 51963 h 75205"/>
                    <a:gd name="connsiteX87" fmla="*/ 71848 w 77356"/>
                    <a:gd name="connsiteY87" fmla="*/ 50642 h 75205"/>
                    <a:gd name="connsiteX88" fmla="*/ 69843 w 77356"/>
                    <a:gd name="connsiteY88" fmla="*/ 50015 h 75205"/>
                    <a:gd name="connsiteX89" fmla="*/ 68824 w 77356"/>
                    <a:gd name="connsiteY89" fmla="*/ 50145 h 75205"/>
                    <a:gd name="connsiteX90" fmla="*/ 68743 w 77356"/>
                    <a:gd name="connsiteY90" fmla="*/ 51050 h 75205"/>
                    <a:gd name="connsiteX91" fmla="*/ 69273 w 77356"/>
                    <a:gd name="connsiteY91" fmla="*/ 52468 h 75205"/>
                    <a:gd name="connsiteX92" fmla="*/ 70422 w 77356"/>
                    <a:gd name="connsiteY92" fmla="*/ 54416 h 75205"/>
                    <a:gd name="connsiteX93" fmla="*/ 70723 w 77356"/>
                    <a:gd name="connsiteY93" fmla="*/ 55809 h 75205"/>
                    <a:gd name="connsiteX94" fmla="*/ 70210 w 77356"/>
                    <a:gd name="connsiteY94" fmla="*/ 56632 h 75205"/>
                    <a:gd name="connsiteX95" fmla="*/ 68702 w 77356"/>
                    <a:gd name="connsiteY95" fmla="*/ 57317 h 75205"/>
                    <a:gd name="connsiteX96" fmla="*/ 68588 w 77356"/>
                    <a:gd name="connsiteY96" fmla="*/ 58295 h 75205"/>
                    <a:gd name="connsiteX97" fmla="*/ 69191 w 77356"/>
                    <a:gd name="connsiteY97" fmla="*/ 60080 h 75205"/>
                    <a:gd name="connsiteX98" fmla="*/ 69142 w 77356"/>
                    <a:gd name="connsiteY98" fmla="*/ 61693 h 75205"/>
                    <a:gd name="connsiteX99" fmla="*/ 68425 w 77356"/>
                    <a:gd name="connsiteY99" fmla="*/ 63144 h 75205"/>
                    <a:gd name="connsiteX100" fmla="*/ 66355 w 77356"/>
                    <a:gd name="connsiteY100" fmla="*/ 64448 h 75205"/>
                    <a:gd name="connsiteX101" fmla="*/ 62908 w 77356"/>
                    <a:gd name="connsiteY101" fmla="*/ 65581 h 75205"/>
                    <a:gd name="connsiteX102" fmla="*/ 60389 w 77356"/>
                    <a:gd name="connsiteY102" fmla="*/ 65336 h 75205"/>
                    <a:gd name="connsiteX103" fmla="*/ 58800 w 77356"/>
                    <a:gd name="connsiteY103" fmla="*/ 63690 h 75205"/>
                    <a:gd name="connsiteX104" fmla="*/ 55377 w 77356"/>
                    <a:gd name="connsiteY104" fmla="*/ 62443 h 75205"/>
                    <a:gd name="connsiteX105" fmla="*/ 50055 w 77356"/>
                    <a:gd name="connsiteY105" fmla="*/ 61587 h 75205"/>
                    <a:gd name="connsiteX106" fmla="*/ 46494 w 77356"/>
                    <a:gd name="connsiteY106" fmla="*/ 62076 h 75205"/>
                    <a:gd name="connsiteX107" fmla="*/ 43992 w 77356"/>
                    <a:gd name="connsiteY107" fmla="*/ 64725 h 75205"/>
                    <a:gd name="connsiteX108" fmla="*/ 43788 w 77356"/>
                    <a:gd name="connsiteY108" fmla="*/ 65288 h 75205"/>
                    <a:gd name="connsiteX109" fmla="*/ 43943 w 77356"/>
                    <a:gd name="connsiteY109" fmla="*/ 65760 h 75205"/>
                    <a:gd name="connsiteX110" fmla="*/ 44171 w 77356"/>
                    <a:gd name="connsiteY110" fmla="*/ 65817 h 75205"/>
                    <a:gd name="connsiteX111" fmla="*/ 44171 w 77356"/>
                    <a:gd name="connsiteY111" fmla="*/ 66159 h 75205"/>
                    <a:gd name="connsiteX112" fmla="*/ 42737 w 77356"/>
                    <a:gd name="connsiteY112" fmla="*/ 68629 h 75205"/>
                    <a:gd name="connsiteX113" fmla="*/ 42566 w 77356"/>
                    <a:gd name="connsiteY113" fmla="*/ 70120 h 75205"/>
                    <a:gd name="connsiteX114" fmla="*/ 43153 w 77356"/>
                    <a:gd name="connsiteY114" fmla="*/ 71587 h 75205"/>
                    <a:gd name="connsiteX115" fmla="*/ 43201 w 77356"/>
                    <a:gd name="connsiteY115" fmla="*/ 72834 h 75205"/>
                    <a:gd name="connsiteX116" fmla="*/ 42705 w 77356"/>
                    <a:gd name="connsiteY116" fmla="*/ 73894 h 75205"/>
                    <a:gd name="connsiteX117" fmla="*/ 41783 w 77356"/>
                    <a:gd name="connsiteY117" fmla="*/ 74676 h 75205"/>
                    <a:gd name="connsiteX118" fmla="*/ 40431 w 77356"/>
                    <a:gd name="connsiteY118" fmla="*/ 75206 h 75205"/>
                    <a:gd name="connsiteX119" fmla="*/ 39094 w 77356"/>
                    <a:gd name="connsiteY119" fmla="*/ 75043 h 75205"/>
                    <a:gd name="connsiteX120" fmla="*/ 37806 w 77356"/>
                    <a:gd name="connsiteY120" fmla="*/ 74187 h 75205"/>
                    <a:gd name="connsiteX121" fmla="*/ 35940 w 77356"/>
                    <a:gd name="connsiteY121" fmla="*/ 73983 h 75205"/>
                    <a:gd name="connsiteX122" fmla="*/ 33520 w 77356"/>
                    <a:gd name="connsiteY122" fmla="*/ 74464 h 75205"/>
                    <a:gd name="connsiteX123" fmla="*/ 31767 w 77356"/>
                    <a:gd name="connsiteY123" fmla="*/ 74383 h 75205"/>
                    <a:gd name="connsiteX124" fmla="*/ 30716 w 77356"/>
                    <a:gd name="connsiteY124" fmla="*/ 73771 h 75205"/>
                    <a:gd name="connsiteX125" fmla="*/ 30211 w 77356"/>
                    <a:gd name="connsiteY125" fmla="*/ 73454 h 75205"/>
                    <a:gd name="connsiteX126" fmla="*/ 30700 w 77356"/>
                    <a:gd name="connsiteY126" fmla="*/ 72981 h 75205"/>
                    <a:gd name="connsiteX127" fmla="*/ 32754 w 77356"/>
                    <a:gd name="connsiteY127" fmla="*/ 71278 h 75205"/>
                    <a:gd name="connsiteX128" fmla="*/ 32696 w 77356"/>
                    <a:gd name="connsiteY128" fmla="*/ 70234 h 75205"/>
                    <a:gd name="connsiteX129" fmla="*/ 31767 w 77356"/>
                    <a:gd name="connsiteY129" fmla="*/ 69248 h 75205"/>
                    <a:gd name="connsiteX130" fmla="*/ 31499 w 77356"/>
                    <a:gd name="connsiteY130" fmla="*/ 68156 h 75205"/>
                    <a:gd name="connsiteX131" fmla="*/ 31996 w 77356"/>
                    <a:gd name="connsiteY131" fmla="*/ 66119 h 75205"/>
                    <a:gd name="connsiteX132" fmla="*/ 31849 w 77356"/>
                    <a:gd name="connsiteY132" fmla="*/ 65654 h 75205"/>
                    <a:gd name="connsiteX133" fmla="*/ 29624 w 77356"/>
                    <a:gd name="connsiteY133" fmla="*/ 63796 h 75205"/>
                    <a:gd name="connsiteX134" fmla="*/ 28075 w 77356"/>
                    <a:gd name="connsiteY134" fmla="*/ 60960 h 75205"/>
                    <a:gd name="connsiteX135" fmla="*/ 25402 w 77356"/>
                    <a:gd name="connsiteY135" fmla="*/ 53796 h 75205"/>
                    <a:gd name="connsiteX136" fmla="*/ 24970 w 77356"/>
                    <a:gd name="connsiteY136" fmla="*/ 53201 h 75205"/>
                    <a:gd name="connsiteX137" fmla="*/ 24604 w 77356"/>
                    <a:gd name="connsiteY137" fmla="*/ 53144 h 75205"/>
                    <a:gd name="connsiteX138" fmla="*/ 24270 w 77356"/>
                    <a:gd name="connsiteY138" fmla="*/ 53633 h 75205"/>
                    <a:gd name="connsiteX139" fmla="*/ 23585 w 77356"/>
                    <a:gd name="connsiteY139" fmla="*/ 53576 h 75205"/>
                    <a:gd name="connsiteX140" fmla="*/ 23544 w 77356"/>
                    <a:gd name="connsiteY140" fmla="*/ 51808 h 75205"/>
                    <a:gd name="connsiteX141" fmla="*/ 23161 w 77356"/>
                    <a:gd name="connsiteY141" fmla="*/ 50504 h 75205"/>
                    <a:gd name="connsiteX142" fmla="*/ 22281 w 77356"/>
                    <a:gd name="connsiteY142" fmla="*/ 49012 h 75205"/>
                    <a:gd name="connsiteX143" fmla="*/ 20790 w 77356"/>
                    <a:gd name="connsiteY143" fmla="*/ 47766 h 75205"/>
                    <a:gd name="connsiteX144" fmla="*/ 17570 w 77356"/>
                    <a:gd name="connsiteY144" fmla="*/ 46266 h 75205"/>
                    <a:gd name="connsiteX145" fmla="*/ 17334 w 77356"/>
                    <a:gd name="connsiteY145" fmla="*/ 45280 h 75205"/>
                    <a:gd name="connsiteX146" fmla="*/ 16837 w 77356"/>
                    <a:gd name="connsiteY146" fmla="*/ 43316 h 75205"/>
                    <a:gd name="connsiteX147" fmla="*/ 16854 w 77356"/>
                    <a:gd name="connsiteY147" fmla="*/ 42191 h 75205"/>
                    <a:gd name="connsiteX148" fmla="*/ 17367 w 77356"/>
                    <a:gd name="connsiteY148" fmla="*/ 41898 h 75205"/>
                    <a:gd name="connsiteX149" fmla="*/ 17554 w 77356"/>
                    <a:gd name="connsiteY149" fmla="*/ 40830 h 75205"/>
                    <a:gd name="connsiteX150" fmla="*/ 17432 w 77356"/>
                    <a:gd name="connsiteY150" fmla="*/ 38964 h 75205"/>
                    <a:gd name="connsiteX151" fmla="*/ 16788 w 77356"/>
                    <a:gd name="connsiteY151" fmla="*/ 37701 h 75205"/>
                    <a:gd name="connsiteX152" fmla="*/ 15647 w 77356"/>
                    <a:gd name="connsiteY152" fmla="*/ 37024 h 75205"/>
                    <a:gd name="connsiteX153" fmla="*/ 15281 w 77356"/>
                    <a:gd name="connsiteY153" fmla="*/ 36470 h 75205"/>
                    <a:gd name="connsiteX154" fmla="*/ 15134 w 77356"/>
                    <a:gd name="connsiteY154" fmla="*/ 35305 h 75205"/>
                    <a:gd name="connsiteX155" fmla="*/ 14465 w 77356"/>
                    <a:gd name="connsiteY155" fmla="*/ 34278 h 75205"/>
                    <a:gd name="connsiteX156" fmla="*/ 11589 w 77356"/>
                    <a:gd name="connsiteY156" fmla="*/ 31181 h 75205"/>
                    <a:gd name="connsiteX157" fmla="*/ 7432 w 77356"/>
                    <a:gd name="connsiteY157" fmla="*/ 27856 h 75205"/>
                    <a:gd name="connsiteX158" fmla="*/ 798 w 77356"/>
                    <a:gd name="connsiteY158" fmla="*/ 23789 h 75205"/>
                    <a:gd name="connsiteX159" fmla="*/ 0 w 77356"/>
                    <a:gd name="connsiteY159" fmla="*/ 22681 h 75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77356" h="75205">
                      <a:moveTo>
                        <a:pt x="285" y="22249"/>
                      </a:moveTo>
                      <a:lnTo>
                        <a:pt x="285" y="22249"/>
                      </a:lnTo>
                      <a:lnTo>
                        <a:pt x="285" y="22249"/>
                      </a:lnTo>
                      <a:lnTo>
                        <a:pt x="285" y="22249"/>
                      </a:lnTo>
                      <a:lnTo>
                        <a:pt x="872" y="21719"/>
                      </a:lnTo>
                      <a:lnTo>
                        <a:pt x="986" y="21246"/>
                      </a:lnTo>
                      <a:lnTo>
                        <a:pt x="750" y="20431"/>
                      </a:lnTo>
                      <a:lnTo>
                        <a:pt x="1638" y="19470"/>
                      </a:lnTo>
                      <a:lnTo>
                        <a:pt x="3088" y="19690"/>
                      </a:lnTo>
                      <a:lnTo>
                        <a:pt x="5061" y="21108"/>
                      </a:lnTo>
                      <a:lnTo>
                        <a:pt x="6299" y="21580"/>
                      </a:lnTo>
                      <a:lnTo>
                        <a:pt x="6666" y="20945"/>
                      </a:lnTo>
                      <a:lnTo>
                        <a:pt x="6560" y="20456"/>
                      </a:lnTo>
                      <a:lnTo>
                        <a:pt x="6576" y="19299"/>
                      </a:lnTo>
                      <a:lnTo>
                        <a:pt x="7563" y="18752"/>
                      </a:lnTo>
                      <a:lnTo>
                        <a:pt x="8639" y="18695"/>
                      </a:lnTo>
                      <a:lnTo>
                        <a:pt x="9119" y="18158"/>
                      </a:lnTo>
                      <a:lnTo>
                        <a:pt x="9201" y="17326"/>
                      </a:lnTo>
                      <a:lnTo>
                        <a:pt x="8867" y="16788"/>
                      </a:lnTo>
                      <a:lnTo>
                        <a:pt x="8785" y="16324"/>
                      </a:lnTo>
                      <a:lnTo>
                        <a:pt x="9323" y="15656"/>
                      </a:lnTo>
                      <a:lnTo>
                        <a:pt x="9551" y="14490"/>
                      </a:lnTo>
                      <a:lnTo>
                        <a:pt x="9723" y="13944"/>
                      </a:lnTo>
                      <a:lnTo>
                        <a:pt x="10236" y="13341"/>
                      </a:lnTo>
                      <a:lnTo>
                        <a:pt x="10603" y="12836"/>
                      </a:lnTo>
                      <a:lnTo>
                        <a:pt x="10586" y="12273"/>
                      </a:lnTo>
                      <a:lnTo>
                        <a:pt x="10171" y="11467"/>
                      </a:lnTo>
                      <a:lnTo>
                        <a:pt x="10268" y="10562"/>
                      </a:lnTo>
                      <a:lnTo>
                        <a:pt x="11409" y="10489"/>
                      </a:lnTo>
                      <a:lnTo>
                        <a:pt x="15900" y="11679"/>
                      </a:lnTo>
                      <a:lnTo>
                        <a:pt x="16250" y="11564"/>
                      </a:lnTo>
                      <a:lnTo>
                        <a:pt x="16397" y="10554"/>
                      </a:lnTo>
                      <a:lnTo>
                        <a:pt x="17049" y="10146"/>
                      </a:lnTo>
                      <a:lnTo>
                        <a:pt x="18003" y="9731"/>
                      </a:lnTo>
                      <a:lnTo>
                        <a:pt x="19372" y="9486"/>
                      </a:lnTo>
                      <a:lnTo>
                        <a:pt x="19641" y="8720"/>
                      </a:lnTo>
                      <a:lnTo>
                        <a:pt x="19054" y="7938"/>
                      </a:lnTo>
                      <a:lnTo>
                        <a:pt x="19087" y="6878"/>
                      </a:lnTo>
                      <a:lnTo>
                        <a:pt x="23129" y="1687"/>
                      </a:lnTo>
                      <a:lnTo>
                        <a:pt x="25468" y="0"/>
                      </a:lnTo>
                      <a:lnTo>
                        <a:pt x="26372" y="416"/>
                      </a:lnTo>
                      <a:lnTo>
                        <a:pt x="26568" y="831"/>
                      </a:lnTo>
                      <a:lnTo>
                        <a:pt x="26804" y="1328"/>
                      </a:lnTo>
                      <a:lnTo>
                        <a:pt x="29779" y="2461"/>
                      </a:lnTo>
                      <a:lnTo>
                        <a:pt x="30545" y="3496"/>
                      </a:lnTo>
                      <a:lnTo>
                        <a:pt x="30912" y="5273"/>
                      </a:lnTo>
                      <a:lnTo>
                        <a:pt x="31580" y="6283"/>
                      </a:lnTo>
                      <a:lnTo>
                        <a:pt x="33120" y="6349"/>
                      </a:lnTo>
                      <a:lnTo>
                        <a:pt x="33422" y="5892"/>
                      </a:lnTo>
                      <a:lnTo>
                        <a:pt x="35052" y="5363"/>
                      </a:lnTo>
                      <a:lnTo>
                        <a:pt x="35524" y="5436"/>
                      </a:lnTo>
                      <a:lnTo>
                        <a:pt x="36225" y="6495"/>
                      </a:lnTo>
                      <a:lnTo>
                        <a:pt x="36788" y="6903"/>
                      </a:lnTo>
                      <a:lnTo>
                        <a:pt x="37277" y="6430"/>
                      </a:lnTo>
                      <a:lnTo>
                        <a:pt x="37423" y="5998"/>
                      </a:lnTo>
                      <a:lnTo>
                        <a:pt x="38181" y="5998"/>
                      </a:lnTo>
                      <a:lnTo>
                        <a:pt x="41197" y="9111"/>
                      </a:lnTo>
                      <a:lnTo>
                        <a:pt x="42354" y="11271"/>
                      </a:lnTo>
                      <a:lnTo>
                        <a:pt x="43421" y="13700"/>
                      </a:lnTo>
                      <a:lnTo>
                        <a:pt x="44106" y="14303"/>
                      </a:lnTo>
                      <a:lnTo>
                        <a:pt x="44506" y="14123"/>
                      </a:lnTo>
                      <a:lnTo>
                        <a:pt x="44440" y="13496"/>
                      </a:lnTo>
                      <a:lnTo>
                        <a:pt x="44522" y="12746"/>
                      </a:lnTo>
                      <a:lnTo>
                        <a:pt x="44937" y="12681"/>
                      </a:lnTo>
                      <a:lnTo>
                        <a:pt x="46445" y="14596"/>
                      </a:lnTo>
                      <a:lnTo>
                        <a:pt x="48051" y="15876"/>
                      </a:lnTo>
                      <a:lnTo>
                        <a:pt x="50732" y="17343"/>
                      </a:lnTo>
                      <a:lnTo>
                        <a:pt x="51425" y="18288"/>
                      </a:lnTo>
                      <a:lnTo>
                        <a:pt x="62858" y="24091"/>
                      </a:lnTo>
                      <a:lnTo>
                        <a:pt x="67015" y="26641"/>
                      </a:lnTo>
                      <a:lnTo>
                        <a:pt x="67920" y="28174"/>
                      </a:lnTo>
                      <a:lnTo>
                        <a:pt x="68352" y="29567"/>
                      </a:lnTo>
                      <a:lnTo>
                        <a:pt x="68335" y="30822"/>
                      </a:lnTo>
                      <a:lnTo>
                        <a:pt x="68653" y="31482"/>
                      </a:lnTo>
                      <a:lnTo>
                        <a:pt x="69656" y="31922"/>
                      </a:lnTo>
                      <a:lnTo>
                        <a:pt x="69843" y="32623"/>
                      </a:lnTo>
                      <a:lnTo>
                        <a:pt x="72932" y="35973"/>
                      </a:lnTo>
                      <a:lnTo>
                        <a:pt x="73983" y="38377"/>
                      </a:lnTo>
                      <a:lnTo>
                        <a:pt x="74097" y="41189"/>
                      </a:lnTo>
                      <a:lnTo>
                        <a:pt x="74871" y="42973"/>
                      </a:lnTo>
                      <a:lnTo>
                        <a:pt x="76338" y="43731"/>
                      </a:lnTo>
                      <a:lnTo>
                        <a:pt x="77170" y="44652"/>
                      </a:lnTo>
                      <a:lnTo>
                        <a:pt x="77357" y="45761"/>
                      </a:lnTo>
                      <a:lnTo>
                        <a:pt x="76436" y="48043"/>
                      </a:lnTo>
                      <a:lnTo>
                        <a:pt x="74814" y="51604"/>
                      </a:lnTo>
                      <a:lnTo>
                        <a:pt x="74170" y="52223"/>
                      </a:lnTo>
                      <a:lnTo>
                        <a:pt x="73331" y="51963"/>
                      </a:lnTo>
                      <a:lnTo>
                        <a:pt x="71848" y="50642"/>
                      </a:lnTo>
                      <a:lnTo>
                        <a:pt x="69843" y="50015"/>
                      </a:lnTo>
                      <a:lnTo>
                        <a:pt x="68824" y="50145"/>
                      </a:lnTo>
                      <a:lnTo>
                        <a:pt x="68743" y="51050"/>
                      </a:lnTo>
                      <a:lnTo>
                        <a:pt x="69273" y="52468"/>
                      </a:lnTo>
                      <a:lnTo>
                        <a:pt x="70422" y="54416"/>
                      </a:lnTo>
                      <a:lnTo>
                        <a:pt x="70723" y="55809"/>
                      </a:lnTo>
                      <a:lnTo>
                        <a:pt x="70210" y="56632"/>
                      </a:lnTo>
                      <a:lnTo>
                        <a:pt x="68702" y="57317"/>
                      </a:lnTo>
                      <a:lnTo>
                        <a:pt x="68588" y="58295"/>
                      </a:lnTo>
                      <a:lnTo>
                        <a:pt x="69191" y="60080"/>
                      </a:lnTo>
                      <a:lnTo>
                        <a:pt x="69142" y="61693"/>
                      </a:lnTo>
                      <a:lnTo>
                        <a:pt x="68425" y="63144"/>
                      </a:lnTo>
                      <a:lnTo>
                        <a:pt x="66355" y="64448"/>
                      </a:lnTo>
                      <a:lnTo>
                        <a:pt x="62908" y="65581"/>
                      </a:lnTo>
                      <a:lnTo>
                        <a:pt x="60389" y="65336"/>
                      </a:lnTo>
                      <a:lnTo>
                        <a:pt x="58800" y="63690"/>
                      </a:lnTo>
                      <a:lnTo>
                        <a:pt x="55377" y="62443"/>
                      </a:lnTo>
                      <a:lnTo>
                        <a:pt x="50055" y="61587"/>
                      </a:lnTo>
                      <a:lnTo>
                        <a:pt x="46494" y="62076"/>
                      </a:lnTo>
                      <a:lnTo>
                        <a:pt x="43992" y="64725"/>
                      </a:lnTo>
                      <a:lnTo>
                        <a:pt x="43788" y="65288"/>
                      </a:lnTo>
                      <a:lnTo>
                        <a:pt x="43943" y="65760"/>
                      </a:lnTo>
                      <a:lnTo>
                        <a:pt x="44171" y="65817"/>
                      </a:lnTo>
                      <a:lnTo>
                        <a:pt x="44171" y="66159"/>
                      </a:lnTo>
                      <a:lnTo>
                        <a:pt x="42737" y="68629"/>
                      </a:lnTo>
                      <a:lnTo>
                        <a:pt x="42566" y="70120"/>
                      </a:lnTo>
                      <a:lnTo>
                        <a:pt x="43153" y="71587"/>
                      </a:lnTo>
                      <a:lnTo>
                        <a:pt x="43201" y="72834"/>
                      </a:lnTo>
                      <a:lnTo>
                        <a:pt x="42705" y="73894"/>
                      </a:lnTo>
                      <a:lnTo>
                        <a:pt x="41783" y="74676"/>
                      </a:lnTo>
                      <a:lnTo>
                        <a:pt x="40431" y="75206"/>
                      </a:lnTo>
                      <a:lnTo>
                        <a:pt x="39094" y="75043"/>
                      </a:lnTo>
                      <a:lnTo>
                        <a:pt x="37806" y="74187"/>
                      </a:lnTo>
                      <a:lnTo>
                        <a:pt x="35940" y="73983"/>
                      </a:lnTo>
                      <a:lnTo>
                        <a:pt x="33520" y="74464"/>
                      </a:lnTo>
                      <a:lnTo>
                        <a:pt x="31767" y="74383"/>
                      </a:lnTo>
                      <a:lnTo>
                        <a:pt x="30716" y="73771"/>
                      </a:lnTo>
                      <a:lnTo>
                        <a:pt x="30211" y="73454"/>
                      </a:lnTo>
                      <a:lnTo>
                        <a:pt x="30700" y="72981"/>
                      </a:lnTo>
                      <a:lnTo>
                        <a:pt x="32754" y="71278"/>
                      </a:lnTo>
                      <a:lnTo>
                        <a:pt x="32696" y="70234"/>
                      </a:lnTo>
                      <a:lnTo>
                        <a:pt x="31767" y="69248"/>
                      </a:lnTo>
                      <a:lnTo>
                        <a:pt x="31499" y="68156"/>
                      </a:lnTo>
                      <a:lnTo>
                        <a:pt x="31996" y="66119"/>
                      </a:lnTo>
                      <a:lnTo>
                        <a:pt x="31849" y="65654"/>
                      </a:lnTo>
                      <a:lnTo>
                        <a:pt x="29624" y="63796"/>
                      </a:lnTo>
                      <a:lnTo>
                        <a:pt x="28075" y="60960"/>
                      </a:lnTo>
                      <a:lnTo>
                        <a:pt x="25402" y="53796"/>
                      </a:lnTo>
                      <a:lnTo>
                        <a:pt x="24970" y="53201"/>
                      </a:lnTo>
                      <a:lnTo>
                        <a:pt x="24604" y="53144"/>
                      </a:lnTo>
                      <a:lnTo>
                        <a:pt x="24270" y="53633"/>
                      </a:lnTo>
                      <a:lnTo>
                        <a:pt x="23585" y="53576"/>
                      </a:lnTo>
                      <a:lnTo>
                        <a:pt x="23544" y="51808"/>
                      </a:lnTo>
                      <a:lnTo>
                        <a:pt x="23161" y="50504"/>
                      </a:lnTo>
                      <a:lnTo>
                        <a:pt x="22281" y="49012"/>
                      </a:lnTo>
                      <a:lnTo>
                        <a:pt x="20790" y="47766"/>
                      </a:lnTo>
                      <a:lnTo>
                        <a:pt x="17570" y="46266"/>
                      </a:lnTo>
                      <a:lnTo>
                        <a:pt x="17334" y="45280"/>
                      </a:lnTo>
                      <a:lnTo>
                        <a:pt x="16837" y="43316"/>
                      </a:lnTo>
                      <a:lnTo>
                        <a:pt x="16854" y="42191"/>
                      </a:lnTo>
                      <a:lnTo>
                        <a:pt x="17367" y="41898"/>
                      </a:lnTo>
                      <a:lnTo>
                        <a:pt x="17554" y="40830"/>
                      </a:lnTo>
                      <a:lnTo>
                        <a:pt x="17432" y="38964"/>
                      </a:lnTo>
                      <a:lnTo>
                        <a:pt x="16788" y="37701"/>
                      </a:lnTo>
                      <a:lnTo>
                        <a:pt x="15647" y="37024"/>
                      </a:lnTo>
                      <a:lnTo>
                        <a:pt x="15281" y="36470"/>
                      </a:lnTo>
                      <a:lnTo>
                        <a:pt x="15134" y="35305"/>
                      </a:lnTo>
                      <a:lnTo>
                        <a:pt x="14465" y="34278"/>
                      </a:lnTo>
                      <a:lnTo>
                        <a:pt x="11589" y="31181"/>
                      </a:lnTo>
                      <a:lnTo>
                        <a:pt x="7432" y="27856"/>
                      </a:lnTo>
                      <a:lnTo>
                        <a:pt x="798" y="23789"/>
                      </a:lnTo>
                      <a:lnTo>
                        <a:pt x="0" y="22681"/>
                      </a:lnTo>
                      <a:close/>
                    </a:path>
                  </a:pathLst>
                </a:custGeom>
                <a:solidFill>
                  <a:srgbClr val="FFFFFF"/>
                </a:solidFill>
                <a:ln w="8150" cap="flat">
                  <a:noFill/>
                  <a:prstDash val="solid"/>
                  <a:miter/>
                </a:ln>
              </p:spPr>
              <p:txBody>
                <a:bodyPr rtlCol="0" anchor="ctr"/>
                <a:lstStyle/>
                <a:p>
                  <a:endParaRPr lang="en-US"/>
                </a:p>
              </p:txBody>
            </p:sp>
          </p:grpSp>
        </p:grpSp>
        <p:pic>
          <p:nvPicPr>
            <p:cNvPr id="404" name="Disputed_Territories">
              <a:extLst>
                <a:ext uri="{FF2B5EF4-FFF2-40B4-BE49-F238E27FC236}">
                  <a16:creationId xmlns:a16="http://schemas.microsoft.com/office/drawing/2014/main" id="{53DF6CD5-C08B-434D-9E72-04234A76902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24000" y="1479969"/>
              <a:ext cx="9144000" cy="4865390"/>
            </a:xfrm>
            <a:prstGeom prst="rect">
              <a:avLst/>
            </a:prstGeom>
          </p:spPr>
        </p:pic>
      </p:grpSp>
    </p:spTree>
    <p:extLst>
      <p:ext uri="{BB962C8B-B14F-4D97-AF65-F5344CB8AC3E}">
        <p14:creationId xmlns:p14="http://schemas.microsoft.com/office/powerpoint/2010/main" val="1668236210"/>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World 2</a:t>
            </a:r>
            <a:endParaRPr lang="de-DE" dirty="0"/>
          </a:p>
        </p:txBody>
      </p:sp>
      <p:sp>
        <p:nvSpPr>
          <p:cNvPr id="3" name="TextBox 2">
            <a:extLst>
              <a:ext uri="{FF2B5EF4-FFF2-40B4-BE49-F238E27FC236}">
                <a16:creationId xmlns:a16="http://schemas.microsoft.com/office/drawing/2014/main" id="{E7FF9FD1-48BD-41EA-954F-BF4E93CBFE71}"/>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ea typeface="+mn-ea"/>
                <a:cs typeface="+mn-cs"/>
              </a:rPr>
              <a:t>Ungroup map to select and shade one or more countries</a:t>
            </a:r>
            <a:endParaRPr kumimoji="0" lang="de-DE" sz="1600" b="0" i="0" u="none" strike="noStrike" kern="1200" cap="none" spc="0" normalizeH="0" baseline="0" noProof="0" dirty="0">
              <a:ln>
                <a:noFill/>
              </a:ln>
              <a:solidFill>
                <a:srgbClr val="000000"/>
              </a:solidFill>
              <a:effectLst/>
              <a:uLnTx/>
              <a:uFillTx/>
              <a:ea typeface="+mn-ea"/>
              <a:cs typeface="+mn-cs"/>
            </a:endParaRPr>
          </a:p>
        </p:txBody>
      </p:sp>
      <p:sp>
        <p:nvSpPr>
          <p:cNvPr id="5" name="Footer Placeholder 4">
            <a:extLst>
              <a:ext uri="{FF2B5EF4-FFF2-40B4-BE49-F238E27FC236}">
                <a16:creationId xmlns:a16="http://schemas.microsoft.com/office/drawing/2014/main" id="{F072DC6E-C45E-44A5-A9CF-A5AABF4646D3}"/>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32D6B543-4EEA-4388-8721-F56C5AA80899}"/>
              </a:ext>
            </a:extLst>
          </p:cNvPr>
          <p:cNvSpPr>
            <a:spLocks noGrp="1"/>
          </p:cNvSpPr>
          <p:nvPr>
            <p:ph type="sldNum" sz="quarter" idx="10"/>
          </p:nvPr>
        </p:nvSpPr>
        <p:spPr/>
        <p:txBody>
          <a:bodyPr/>
          <a:lstStyle/>
          <a:p>
            <a:fld id="{1F90F471-3972-4120-B8B3-0237DE626C35}" type="slidenum">
              <a:rPr lang="en-US" smtClean="0"/>
              <a:pPr/>
              <a:t>353</a:t>
            </a:fld>
            <a:endParaRPr lang="en-US" dirty="0"/>
          </a:p>
        </p:txBody>
      </p:sp>
      <p:grpSp>
        <p:nvGrpSpPr>
          <p:cNvPr id="449" name="Group 448">
            <a:extLst>
              <a:ext uri="{FF2B5EF4-FFF2-40B4-BE49-F238E27FC236}">
                <a16:creationId xmlns:a16="http://schemas.microsoft.com/office/drawing/2014/main" id="{7B59335D-BCFD-4F0B-A32D-794481489E34}"/>
              </a:ext>
            </a:extLst>
          </p:cNvPr>
          <p:cNvGrpSpPr>
            <a:grpSpLocks noChangeAspect="1"/>
          </p:cNvGrpSpPr>
          <p:nvPr/>
        </p:nvGrpSpPr>
        <p:grpSpPr>
          <a:xfrm>
            <a:off x="1528762" y="1727947"/>
            <a:ext cx="9134475" cy="4391025"/>
            <a:chOff x="1528762" y="1727947"/>
            <a:chExt cx="9134475" cy="4391025"/>
          </a:xfrm>
        </p:grpSpPr>
        <p:grpSp>
          <p:nvGrpSpPr>
            <p:cNvPr id="450" name="World_Map2">
              <a:extLst>
                <a:ext uri="{FF2B5EF4-FFF2-40B4-BE49-F238E27FC236}">
                  <a16:creationId xmlns:a16="http://schemas.microsoft.com/office/drawing/2014/main" id="{5CD4E45D-6CCE-4D07-9705-DF7F60A3BCEA}"/>
                </a:ext>
              </a:extLst>
            </p:cNvPr>
            <p:cNvGrpSpPr>
              <a:grpSpLocks noChangeAspect="1"/>
            </p:cNvGrpSpPr>
            <p:nvPr/>
          </p:nvGrpSpPr>
          <p:grpSpPr>
            <a:xfrm>
              <a:off x="1528762" y="1727947"/>
              <a:ext cx="9134475" cy="4391025"/>
              <a:chOff x="1528762" y="1727947"/>
              <a:chExt cx="9134475" cy="4391025"/>
            </a:xfrm>
          </p:grpSpPr>
          <p:grpSp>
            <p:nvGrpSpPr>
              <p:cNvPr id="452" name="Graphic 6">
                <a:extLst>
                  <a:ext uri="{FF2B5EF4-FFF2-40B4-BE49-F238E27FC236}">
                    <a16:creationId xmlns:a16="http://schemas.microsoft.com/office/drawing/2014/main" id="{C7513724-982C-42E3-B73F-BE75C67FE7DE}"/>
                  </a:ext>
                </a:extLst>
              </p:cNvPr>
              <p:cNvGrpSpPr/>
              <p:nvPr/>
            </p:nvGrpSpPr>
            <p:grpSpPr>
              <a:xfrm>
                <a:off x="2179081" y="1731517"/>
                <a:ext cx="8480073" cy="4386145"/>
                <a:chOff x="2179081" y="1731517"/>
                <a:chExt cx="8480073" cy="4386145"/>
              </a:xfrm>
              <a:solidFill>
                <a:srgbClr val="D6D6D2"/>
              </a:solidFill>
            </p:grpSpPr>
            <p:grpSp>
              <p:nvGrpSpPr>
                <p:cNvPr id="537" name="Graphic 6">
                  <a:extLst>
                    <a:ext uri="{FF2B5EF4-FFF2-40B4-BE49-F238E27FC236}">
                      <a16:creationId xmlns:a16="http://schemas.microsoft.com/office/drawing/2014/main" id="{F4BC8AA5-3EF9-4D47-B4FA-4D7C9AC34CDC}"/>
                    </a:ext>
                  </a:extLst>
                </p:cNvPr>
                <p:cNvGrpSpPr/>
                <p:nvPr/>
              </p:nvGrpSpPr>
              <p:grpSpPr>
                <a:xfrm>
                  <a:off x="5707604" y="1829849"/>
                  <a:ext cx="543059" cy="707271"/>
                  <a:chOff x="5707604" y="1829849"/>
                  <a:chExt cx="543059" cy="707271"/>
                </a:xfrm>
                <a:solidFill>
                  <a:srgbClr val="D6D6D2"/>
                </a:solidFill>
              </p:grpSpPr>
              <p:sp>
                <p:nvSpPr>
                  <p:cNvPr id="702" name="Freeform: Shape 701">
                    <a:extLst>
                      <a:ext uri="{FF2B5EF4-FFF2-40B4-BE49-F238E27FC236}">
                        <a16:creationId xmlns:a16="http://schemas.microsoft.com/office/drawing/2014/main" id="{0B27AD74-E728-4EB8-B196-FF29330F9A37}"/>
                      </a:ext>
                    </a:extLst>
                  </p:cNvPr>
                  <p:cNvSpPr/>
                  <p:nvPr/>
                </p:nvSpPr>
                <p:spPr>
                  <a:xfrm>
                    <a:off x="5901317" y="2181819"/>
                    <a:ext cx="47464" cy="35086"/>
                  </a:xfrm>
                  <a:custGeom>
                    <a:avLst/>
                    <a:gdLst>
                      <a:gd name="connsiteX0" fmla="*/ 31224 w 47464"/>
                      <a:gd name="connsiteY0" fmla="*/ 23397 h 35086"/>
                      <a:gd name="connsiteX1" fmla="*/ 37205 w 47464"/>
                      <a:gd name="connsiteY1" fmla="*/ 19111 h 35086"/>
                      <a:gd name="connsiteX2" fmla="*/ 38453 w 47464"/>
                      <a:gd name="connsiteY2" fmla="*/ 14539 h 35086"/>
                      <a:gd name="connsiteX3" fmla="*/ 47378 w 47464"/>
                      <a:gd name="connsiteY3" fmla="*/ 19815 h 35086"/>
                      <a:gd name="connsiteX4" fmla="*/ 22842 w 47464"/>
                      <a:gd name="connsiteY4" fmla="*/ 29159 h 35086"/>
                      <a:gd name="connsiteX5" fmla="*/ 1 w 47464"/>
                      <a:gd name="connsiteY5" fmla="*/ 32979 h 35086"/>
                      <a:gd name="connsiteX6" fmla="*/ 25109 w 47464"/>
                      <a:gd name="connsiteY6" fmla="*/ 14615 h 35086"/>
                      <a:gd name="connsiteX7" fmla="*/ 25728 w 47464"/>
                      <a:gd name="connsiteY7" fmla="*/ 6109 h 35086"/>
                      <a:gd name="connsiteX8" fmla="*/ 35310 w 47464"/>
                      <a:gd name="connsiteY8" fmla="*/ 499 h 35086"/>
                      <a:gd name="connsiteX9" fmla="*/ 31024 w 47464"/>
                      <a:gd name="connsiteY9" fmla="*/ 10309 h 35086"/>
                      <a:gd name="connsiteX10" fmla="*/ 33929 w 47464"/>
                      <a:gd name="connsiteY10" fmla="*/ 16625 h 35086"/>
                      <a:gd name="connsiteX11" fmla="*/ 31224 w 47464"/>
                      <a:gd name="connsiteY11" fmla="*/ 23397 h 35086"/>
                      <a:gd name="connsiteX12" fmla="*/ 31224 w 47464"/>
                      <a:gd name="connsiteY12" fmla="*/ 23397 h 35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64" h="35086">
                        <a:moveTo>
                          <a:pt x="31224" y="23397"/>
                        </a:moveTo>
                        <a:cubicBezTo>
                          <a:pt x="32452" y="21759"/>
                          <a:pt x="35929" y="20501"/>
                          <a:pt x="37205" y="19111"/>
                        </a:cubicBezTo>
                        <a:cubicBezTo>
                          <a:pt x="38082" y="18149"/>
                          <a:pt x="37701" y="14929"/>
                          <a:pt x="38453" y="14539"/>
                        </a:cubicBezTo>
                        <a:cubicBezTo>
                          <a:pt x="41977" y="12729"/>
                          <a:pt x="48273" y="15091"/>
                          <a:pt x="47378" y="19815"/>
                        </a:cubicBezTo>
                        <a:cubicBezTo>
                          <a:pt x="46492" y="24387"/>
                          <a:pt x="24232" y="34170"/>
                          <a:pt x="22842" y="29159"/>
                        </a:cubicBezTo>
                        <a:cubicBezTo>
                          <a:pt x="19832" y="31226"/>
                          <a:pt x="-142" y="38684"/>
                          <a:pt x="1" y="32979"/>
                        </a:cubicBezTo>
                        <a:cubicBezTo>
                          <a:pt x="220" y="24025"/>
                          <a:pt x="27071" y="31512"/>
                          <a:pt x="25109" y="14615"/>
                        </a:cubicBezTo>
                        <a:cubicBezTo>
                          <a:pt x="24604" y="10319"/>
                          <a:pt x="21642" y="11586"/>
                          <a:pt x="25728" y="6109"/>
                        </a:cubicBezTo>
                        <a:cubicBezTo>
                          <a:pt x="27223" y="4118"/>
                          <a:pt x="32433" y="-1730"/>
                          <a:pt x="35310" y="499"/>
                        </a:cubicBezTo>
                        <a:cubicBezTo>
                          <a:pt x="38472" y="2947"/>
                          <a:pt x="31090" y="7976"/>
                          <a:pt x="31024" y="10309"/>
                        </a:cubicBezTo>
                        <a:cubicBezTo>
                          <a:pt x="30986" y="11814"/>
                          <a:pt x="33872" y="14262"/>
                          <a:pt x="33929" y="16625"/>
                        </a:cubicBezTo>
                        <a:cubicBezTo>
                          <a:pt x="33957" y="18787"/>
                          <a:pt x="32300" y="21387"/>
                          <a:pt x="31224" y="23397"/>
                        </a:cubicBezTo>
                        <a:lnTo>
                          <a:pt x="31224" y="23397"/>
                        </a:lnTo>
                        <a:close/>
                      </a:path>
                    </a:pathLst>
                  </a:custGeom>
                  <a:solidFill>
                    <a:srgbClr val="D6D6D2"/>
                  </a:solidFill>
                  <a:ln w="9525" cap="flat">
                    <a:noFill/>
                    <a:prstDash val="solid"/>
                    <a:miter/>
                  </a:ln>
                </p:spPr>
                <p:txBody>
                  <a:bodyPr rtlCol="0" anchor="ctr"/>
                  <a:lstStyle/>
                  <a:p>
                    <a:endParaRPr lang="en-US"/>
                  </a:p>
                </p:txBody>
              </p:sp>
              <p:sp>
                <p:nvSpPr>
                  <p:cNvPr id="703" name="Freeform: Shape 702">
                    <a:extLst>
                      <a:ext uri="{FF2B5EF4-FFF2-40B4-BE49-F238E27FC236}">
                        <a16:creationId xmlns:a16="http://schemas.microsoft.com/office/drawing/2014/main" id="{62F2BC29-6E70-4F02-9D7F-DB90633FBACD}"/>
                      </a:ext>
                    </a:extLst>
                  </p:cNvPr>
                  <p:cNvSpPr/>
                  <p:nvPr/>
                </p:nvSpPr>
                <p:spPr>
                  <a:xfrm>
                    <a:off x="5707604" y="2125846"/>
                    <a:ext cx="543059" cy="411274"/>
                  </a:xfrm>
                  <a:custGeom>
                    <a:avLst/>
                    <a:gdLst>
                      <a:gd name="connsiteX0" fmla="*/ 470758 w 543059"/>
                      <a:gd name="connsiteY0" fmla="*/ 12685 h 411274"/>
                      <a:gd name="connsiteX1" fmla="*/ 476673 w 543059"/>
                      <a:gd name="connsiteY1" fmla="*/ 12019 h 411274"/>
                      <a:gd name="connsiteX2" fmla="*/ 477882 w 543059"/>
                      <a:gd name="connsiteY2" fmla="*/ 15867 h 411274"/>
                      <a:gd name="connsiteX3" fmla="*/ 480073 w 543059"/>
                      <a:gd name="connsiteY3" fmla="*/ 26211 h 411274"/>
                      <a:gd name="connsiteX4" fmla="*/ 483883 w 543059"/>
                      <a:gd name="connsiteY4" fmla="*/ 13390 h 411274"/>
                      <a:gd name="connsiteX5" fmla="*/ 495932 w 543059"/>
                      <a:gd name="connsiteY5" fmla="*/ 7380 h 411274"/>
                      <a:gd name="connsiteX6" fmla="*/ 509058 w 543059"/>
                      <a:gd name="connsiteY6" fmla="*/ 12981 h 411274"/>
                      <a:gd name="connsiteX7" fmla="*/ 514373 w 543059"/>
                      <a:gd name="connsiteY7" fmla="*/ 12123 h 411274"/>
                      <a:gd name="connsiteX8" fmla="*/ 520087 w 543059"/>
                      <a:gd name="connsiteY8" fmla="*/ 15409 h 411274"/>
                      <a:gd name="connsiteX9" fmla="*/ 533613 w 543059"/>
                      <a:gd name="connsiteY9" fmla="*/ 20048 h 411274"/>
                      <a:gd name="connsiteX10" fmla="*/ 529127 w 543059"/>
                      <a:gd name="connsiteY10" fmla="*/ 27640 h 411274"/>
                      <a:gd name="connsiteX11" fmla="*/ 493227 w 543059"/>
                      <a:gd name="connsiteY11" fmla="*/ 29468 h 411274"/>
                      <a:gd name="connsiteX12" fmla="*/ 509439 w 543059"/>
                      <a:gd name="connsiteY12" fmla="*/ 34288 h 411274"/>
                      <a:gd name="connsiteX13" fmla="*/ 514068 w 543059"/>
                      <a:gd name="connsiteY13" fmla="*/ 40975 h 411274"/>
                      <a:gd name="connsiteX14" fmla="*/ 524736 w 543059"/>
                      <a:gd name="connsiteY14" fmla="*/ 42499 h 411274"/>
                      <a:gd name="connsiteX15" fmla="*/ 526822 w 543059"/>
                      <a:gd name="connsiteY15" fmla="*/ 38612 h 411274"/>
                      <a:gd name="connsiteX16" fmla="*/ 531308 w 543059"/>
                      <a:gd name="connsiteY16" fmla="*/ 42794 h 411274"/>
                      <a:gd name="connsiteX17" fmla="*/ 542233 w 543059"/>
                      <a:gd name="connsiteY17" fmla="*/ 48233 h 411274"/>
                      <a:gd name="connsiteX18" fmla="*/ 526336 w 543059"/>
                      <a:gd name="connsiteY18" fmla="*/ 45708 h 411274"/>
                      <a:gd name="connsiteX19" fmla="*/ 511639 w 543059"/>
                      <a:gd name="connsiteY19" fmla="*/ 57862 h 411274"/>
                      <a:gd name="connsiteX20" fmla="*/ 504105 w 543059"/>
                      <a:gd name="connsiteY20" fmla="*/ 63920 h 411274"/>
                      <a:gd name="connsiteX21" fmla="*/ 508153 w 543059"/>
                      <a:gd name="connsiteY21" fmla="*/ 53576 h 411274"/>
                      <a:gd name="connsiteX22" fmla="*/ 484016 w 543059"/>
                      <a:gd name="connsiteY22" fmla="*/ 37841 h 411274"/>
                      <a:gd name="connsiteX23" fmla="*/ 468891 w 543059"/>
                      <a:gd name="connsiteY23" fmla="*/ 32716 h 411274"/>
                      <a:gd name="connsiteX24" fmla="*/ 454689 w 543059"/>
                      <a:gd name="connsiteY24" fmla="*/ 36260 h 411274"/>
                      <a:gd name="connsiteX25" fmla="*/ 436582 w 543059"/>
                      <a:gd name="connsiteY25" fmla="*/ 54005 h 411274"/>
                      <a:gd name="connsiteX26" fmla="*/ 435182 w 543059"/>
                      <a:gd name="connsiteY26" fmla="*/ 68092 h 411274"/>
                      <a:gd name="connsiteX27" fmla="*/ 430619 w 543059"/>
                      <a:gd name="connsiteY27" fmla="*/ 69588 h 411274"/>
                      <a:gd name="connsiteX28" fmla="*/ 425304 w 543059"/>
                      <a:gd name="connsiteY28" fmla="*/ 75855 h 411274"/>
                      <a:gd name="connsiteX29" fmla="*/ 396758 w 543059"/>
                      <a:gd name="connsiteY29" fmla="*/ 72398 h 411274"/>
                      <a:gd name="connsiteX30" fmla="*/ 383232 w 543059"/>
                      <a:gd name="connsiteY30" fmla="*/ 76779 h 411274"/>
                      <a:gd name="connsiteX31" fmla="*/ 368030 w 543059"/>
                      <a:gd name="connsiteY31" fmla="*/ 74360 h 411274"/>
                      <a:gd name="connsiteX32" fmla="*/ 339475 w 543059"/>
                      <a:gd name="connsiteY32" fmla="*/ 56910 h 411274"/>
                      <a:gd name="connsiteX33" fmla="*/ 336988 w 543059"/>
                      <a:gd name="connsiteY33" fmla="*/ 62110 h 411274"/>
                      <a:gd name="connsiteX34" fmla="*/ 337379 w 543059"/>
                      <a:gd name="connsiteY34" fmla="*/ 63396 h 411274"/>
                      <a:gd name="connsiteX35" fmla="*/ 333531 w 543059"/>
                      <a:gd name="connsiteY35" fmla="*/ 63520 h 411274"/>
                      <a:gd name="connsiteX36" fmla="*/ 316253 w 543059"/>
                      <a:gd name="connsiteY36" fmla="*/ 64863 h 411274"/>
                      <a:gd name="connsiteX37" fmla="*/ 315548 w 543059"/>
                      <a:gd name="connsiteY37" fmla="*/ 79951 h 411274"/>
                      <a:gd name="connsiteX38" fmla="*/ 321710 w 543059"/>
                      <a:gd name="connsiteY38" fmla="*/ 81980 h 411274"/>
                      <a:gd name="connsiteX39" fmla="*/ 300641 w 543059"/>
                      <a:gd name="connsiteY39" fmla="*/ 82370 h 411274"/>
                      <a:gd name="connsiteX40" fmla="*/ 279658 w 543059"/>
                      <a:gd name="connsiteY40" fmla="*/ 79551 h 411274"/>
                      <a:gd name="connsiteX41" fmla="*/ 274762 w 543059"/>
                      <a:gd name="connsiteY41" fmla="*/ 97124 h 411274"/>
                      <a:gd name="connsiteX42" fmla="*/ 263313 w 543059"/>
                      <a:gd name="connsiteY42" fmla="*/ 94638 h 411274"/>
                      <a:gd name="connsiteX43" fmla="*/ 252549 w 543059"/>
                      <a:gd name="connsiteY43" fmla="*/ 98839 h 411274"/>
                      <a:gd name="connsiteX44" fmla="*/ 246653 w 543059"/>
                      <a:gd name="connsiteY44" fmla="*/ 108735 h 411274"/>
                      <a:gd name="connsiteX45" fmla="*/ 238024 w 543059"/>
                      <a:gd name="connsiteY45" fmla="*/ 113888 h 411274"/>
                      <a:gd name="connsiteX46" fmla="*/ 241758 w 543059"/>
                      <a:gd name="connsiteY46" fmla="*/ 129281 h 411274"/>
                      <a:gd name="connsiteX47" fmla="*/ 233185 w 543059"/>
                      <a:gd name="connsiteY47" fmla="*/ 137615 h 411274"/>
                      <a:gd name="connsiteX48" fmla="*/ 228518 w 543059"/>
                      <a:gd name="connsiteY48" fmla="*/ 142654 h 411274"/>
                      <a:gd name="connsiteX49" fmla="*/ 225813 w 543059"/>
                      <a:gd name="connsiteY49" fmla="*/ 144607 h 411274"/>
                      <a:gd name="connsiteX50" fmla="*/ 226841 w 543059"/>
                      <a:gd name="connsiteY50" fmla="*/ 147493 h 411274"/>
                      <a:gd name="connsiteX51" fmla="*/ 225679 w 543059"/>
                      <a:gd name="connsiteY51" fmla="*/ 152084 h 411274"/>
                      <a:gd name="connsiteX52" fmla="*/ 219802 w 543059"/>
                      <a:gd name="connsiteY52" fmla="*/ 154379 h 411274"/>
                      <a:gd name="connsiteX53" fmla="*/ 207744 w 543059"/>
                      <a:gd name="connsiteY53" fmla="*/ 155960 h 411274"/>
                      <a:gd name="connsiteX54" fmla="*/ 193256 w 543059"/>
                      <a:gd name="connsiteY54" fmla="*/ 204719 h 411274"/>
                      <a:gd name="connsiteX55" fmla="*/ 205306 w 543059"/>
                      <a:gd name="connsiteY55" fmla="*/ 213748 h 411274"/>
                      <a:gd name="connsiteX56" fmla="*/ 196619 w 543059"/>
                      <a:gd name="connsiteY56" fmla="*/ 221930 h 411274"/>
                      <a:gd name="connsiteX57" fmla="*/ 168729 w 543059"/>
                      <a:gd name="connsiteY57" fmla="*/ 229893 h 411274"/>
                      <a:gd name="connsiteX58" fmla="*/ 162681 w 543059"/>
                      <a:gd name="connsiteY58" fmla="*/ 241285 h 411274"/>
                      <a:gd name="connsiteX59" fmla="*/ 162367 w 543059"/>
                      <a:gd name="connsiteY59" fmla="*/ 249524 h 411274"/>
                      <a:gd name="connsiteX60" fmla="*/ 164977 w 543059"/>
                      <a:gd name="connsiteY60" fmla="*/ 255325 h 411274"/>
                      <a:gd name="connsiteX61" fmla="*/ 164615 w 543059"/>
                      <a:gd name="connsiteY61" fmla="*/ 267393 h 411274"/>
                      <a:gd name="connsiteX62" fmla="*/ 169968 w 543059"/>
                      <a:gd name="connsiteY62" fmla="*/ 280766 h 411274"/>
                      <a:gd name="connsiteX63" fmla="*/ 170596 w 543059"/>
                      <a:gd name="connsiteY63" fmla="*/ 296397 h 411274"/>
                      <a:gd name="connsiteX64" fmla="*/ 183798 w 543059"/>
                      <a:gd name="connsiteY64" fmla="*/ 304293 h 411274"/>
                      <a:gd name="connsiteX65" fmla="*/ 183122 w 543059"/>
                      <a:gd name="connsiteY65" fmla="*/ 314904 h 411274"/>
                      <a:gd name="connsiteX66" fmla="*/ 174187 w 543059"/>
                      <a:gd name="connsiteY66" fmla="*/ 320505 h 411274"/>
                      <a:gd name="connsiteX67" fmla="*/ 181502 w 543059"/>
                      <a:gd name="connsiteY67" fmla="*/ 333344 h 411274"/>
                      <a:gd name="connsiteX68" fmla="*/ 178835 w 543059"/>
                      <a:gd name="connsiteY68" fmla="*/ 347832 h 411274"/>
                      <a:gd name="connsiteX69" fmla="*/ 168291 w 543059"/>
                      <a:gd name="connsiteY69" fmla="*/ 353356 h 411274"/>
                      <a:gd name="connsiteX70" fmla="*/ 164967 w 543059"/>
                      <a:gd name="connsiteY70" fmla="*/ 366996 h 411274"/>
                      <a:gd name="connsiteX71" fmla="*/ 162862 w 543059"/>
                      <a:gd name="connsiteY71" fmla="*/ 383427 h 411274"/>
                      <a:gd name="connsiteX72" fmla="*/ 157595 w 543059"/>
                      <a:gd name="connsiteY72" fmla="*/ 379179 h 411274"/>
                      <a:gd name="connsiteX73" fmla="*/ 152127 w 543059"/>
                      <a:gd name="connsiteY73" fmla="*/ 376236 h 411274"/>
                      <a:gd name="connsiteX74" fmla="*/ 141554 w 543059"/>
                      <a:gd name="connsiteY74" fmla="*/ 371235 h 411274"/>
                      <a:gd name="connsiteX75" fmla="*/ 136897 w 543059"/>
                      <a:gd name="connsiteY75" fmla="*/ 356471 h 411274"/>
                      <a:gd name="connsiteX76" fmla="*/ 136725 w 543059"/>
                      <a:gd name="connsiteY76" fmla="*/ 362062 h 411274"/>
                      <a:gd name="connsiteX77" fmla="*/ 133011 w 543059"/>
                      <a:gd name="connsiteY77" fmla="*/ 365196 h 411274"/>
                      <a:gd name="connsiteX78" fmla="*/ 132229 w 543059"/>
                      <a:gd name="connsiteY78" fmla="*/ 375169 h 411274"/>
                      <a:gd name="connsiteX79" fmla="*/ 125124 w 543059"/>
                      <a:gd name="connsiteY79" fmla="*/ 380598 h 411274"/>
                      <a:gd name="connsiteX80" fmla="*/ 119780 w 543059"/>
                      <a:gd name="connsiteY80" fmla="*/ 379703 h 411274"/>
                      <a:gd name="connsiteX81" fmla="*/ 113780 w 543059"/>
                      <a:gd name="connsiteY81" fmla="*/ 377007 h 411274"/>
                      <a:gd name="connsiteX82" fmla="*/ 108446 w 543059"/>
                      <a:gd name="connsiteY82" fmla="*/ 385065 h 411274"/>
                      <a:gd name="connsiteX83" fmla="*/ 110617 w 543059"/>
                      <a:gd name="connsiteY83" fmla="*/ 386675 h 411274"/>
                      <a:gd name="connsiteX84" fmla="*/ 84157 w 543059"/>
                      <a:gd name="connsiteY84" fmla="*/ 406230 h 411274"/>
                      <a:gd name="connsiteX85" fmla="*/ 52305 w 543059"/>
                      <a:gd name="connsiteY85" fmla="*/ 407554 h 411274"/>
                      <a:gd name="connsiteX86" fmla="*/ 48495 w 543059"/>
                      <a:gd name="connsiteY86" fmla="*/ 409697 h 411274"/>
                      <a:gd name="connsiteX87" fmla="*/ 46905 w 543059"/>
                      <a:gd name="connsiteY87" fmla="*/ 405001 h 411274"/>
                      <a:gd name="connsiteX88" fmla="*/ 34236 w 543059"/>
                      <a:gd name="connsiteY88" fmla="*/ 401429 h 411274"/>
                      <a:gd name="connsiteX89" fmla="*/ 19549 w 543059"/>
                      <a:gd name="connsiteY89" fmla="*/ 392085 h 411274"/>
                      <a:gd name="connsiteX90" fmla="*/ 18301 w 543059"/>
                      <a:gd name="connsiteY90" fmla="*/ 383751 h 411274"/>
                      <a:gd name="connsiteX91" fmla="*/ 23826 w 543059"/>
                      <a:gd name="connsiteY91" fmla="*/ 381284 h 411274"/>
                      <a:gd name="connsiteX92" fmla="*/ 31941 w 543059"/>
                      <a:gd name="connsiteY92" fmla="*/ 384608 h 411274"/>
                      <a:gd name="connsiteX93" fmla="*/ 37827 w 543059"/>
                      <a:gd name="connsiteY93" fmla="*/ 380522 h 411274"/>
                      <a:gd name="connsiteX94" fmla="*/ 29579 w 543059"/>
                      <a:gd name="connsiteY94" fmla="*/ 380931 h 411274"/>
                      <a:gd name="connsiteX95" fmla="*/ 27750 w 543059"/>
                      <a:gd name="connsiteY95" fmla="*/ 376274 h 411274"/>
                      <a:gd name="connsiteX96" fmla="*/ 38247 w 543059"/>
                      <a:gd name="connsiteY96" fmla="*/ 363310 h 411274"/>
                      <a:gd name="connsiteX97" fmla="*/ 8404 w 543059"/>
                      <a:gd name="connsiteY97" fmla="*/ 371778 h 411274"/>
                      <a:gd name="connsiteX98" fmla="*/ 16310 w 543059"/>
                      <a:gd name="connsiteY98" fmla="*/ 358071 h 411274"/>
                      <a:gd name="connsiteX99" fmla="*/ 23883 w 543059"/>
                      <a:gd name="connsiteY99" fmla="*/ 358567 h 411274"/>
                      <a:gd name="connsiteX100" fmla="*/ 33131 w 543059"/>
                      <a:gd name="connsiteY100" fmla="*/ 354776 h 411274"/>
                      <a:gd name="connsiteX101" fmla="*/ 22425 w 543059"/>
                      <a:gd name="connsiteY101" fmla="*/ 355100 h 411274"/>
                      <a:gd name="connsiteX102" fmla="*/ 29283 w 543059"/>
                      <a:gd name="connsiteY102" fmla="*/ 346413 h 411274"/>
                      <a:gd name="connsiteX103" fmla="*/ 35084 w 543059"/>
                      <a:gd name="connsiteY103" fmla="*/ 338221 h 411274"/>
                      <a:gd name="connsiteX104" fmla="*/ 39961 w 543059"/>
                      <a:gd name="connsiteY104" fmla="*/ 344232 h 411274"/>
                      <a:gd name="connsiteX105" fmla="*/ 50419 w 543059"/>
                      <a:gd name="connsiteY105" fmla="*/ 332916 h 411274"/>
                      <a:gd name="connsiteX106" fmla="*/ 15186 w 543059"/>
                      <a:gd name="connsiteY106" fmla="*/ 355090 h 411274"/>
                      <a:gd name="connsiteX107" fmla="*/ 7890 w 543059"/>
                      <a:gd name="connsiteY107" fmla="*/ 353128 h 411274"/>
                      <a:gd name="connsiteX108" fmla="*/ 20235 w 543059"/>
                      <a:gd name="connsiteY108" fmla="*/ 345165 h 411274"/>
                      <a:gd name="connsiteX109" fmla="*/ 8090 w 543059"/>
                      <a:gd name="connsiteY109" fmla="*/ 339326 h 411274"/>
                      <a:gd name="connsiteX110" fmla="*/ 18520 w 543059"/>
                      <a:gd name="connsiteY110" fmla="*/ 327372 h 411274"/>
                      <a:gd name="connsiteX111" fmla="*/ 3642 w 543059"/>
                      <a:gd name="connsiteY111" fmla="*/ 323248 h 411274"/>
                      <a:gd name="connsiteX112" fmla="*/ 14986 w 543059"/>
                      <a:gd name="connsiteY112" fmla="*/ 315742 h 411274"/>
                      <a:gd name="connsiteX113" fmla="*/ 37103 w 543059"/>
                      <a:gd name="connsiteY113" fmla="*/ 314475 h 411274"/>
                      <a:gd name="connsiteX114" fmla="*/ 47276 w 543059"/>
                      <a:gd name="connsiteY114" fmla="*/ 314333 h 411274"/>
                      <a:gd name="connsiteX115" fmla="*/ 51591 w 543059"/>
                      <a:gd name="connsiteY115" fmla="*/ 318609 h 411274"/>
                      <a:gd name="connsiteX116" fmla="*/ 63450 w 543059"/>
                      <a:gd name="connsiteY116" fmla="*/ 310913 h 411274"/>
                      <a:gd name="connsiteX117" fmla="*/ 59278 w 543059"/>
                      <a:gd name="connsiteY117" fmla="*/ 303855 h 411274"/>
                      <a:gd name="connsiteX118" fmla="*/ 50791 w 543059"/>
                      <a:gd name="connsiteY118" fmla="*/ 312408 h 411274"/>
                      <a:gd name="connsiteX119" fmla="*/ 39885 w 543059"/>
                      <a:gd name="connsiteY119" fmla="*/ 308427 h 411274"/>
                      <a:gd name="connsiteX120" fmla="*/ 28731 w 543059"/>
                      <a:gd name="connsiteY120" fmla="*/ 312389 h 411274"/>
                      <a:gd name="connsiteX121" fmla="*/ 13348 w 543059"/>
                      <a:gd name="connsiteY121" fmla="*/ 314333 h 411274"/>
                      <a:gd name="connsiteX122" fmla="*/ 2690 w 543059"/>
                      <a:gd name="connsiteY122" fmla="*/ 307655 h 411274"/>
                      <a:gd name="connsiteX123" fmla="*/ 10233 w 543059"/>
                      <a:gd name="connsiteY123" fmla="*/ 302264 h 411274"/>
                      <a:gd name="connsiteX124" fmla="*/ 261 w 543059"/>
                      <a:gd name="connsiteY124" fmla="*/ 294387 h 411274"/>
                      <a:gd name="connsiteX125" fmla="*/ 9786 w 543059"/>
                      <a:gd name="connsiteY125" fmla="*/ 289425 h 411274"/>
                      <a:gd name="connsiteX126" fmla="*/ 41990 w 543059"/>
                      <a:gd name="connsiteY126" fmla="*/ 290158 h 411274"/>
                      <a:gd name="connsiteX127" fmla="*/ 31188 w 543059"/>
                      <a:gd name="connsiteY127" fmla="*/ 290720 h 411274"/>
                      <a:gd name="connsiteX128" fmla="*/ 17491 w 543059"/>
                      <a:gd name="connsiteY128" fmla="*/ 288539 h 411274"/>
                      <a:gd name="connsiteX129" fmla="*/ 7690 w 543059"/>
                      <a:gd name="connsiteY129" fmla="*/ 280595 h 411274"/>
                      <a:gd name="connsiteX130" fmla="*/ 10510 w 543059"/>
                      <a:gd name="connsiteY130" fmla="*/ 280395 h 411274"/>
                      <a:gd name="connsiteX131" fmla="*/ 13148 w 543059"/>
                      <a:gd name="connsiteY131" fmla="*/ 277385 h 411274"/>
                      <a:gd name="connsiteX132" fmla="*/ 22130 w 543059"/>
                      <a:gd name="connsiteY132" fmla="*/ 272956 h 411274"/>
                      <a:gd name="connsiteX133" fmla="*/ 29598 w 543059"/>
                      <a:gd name="connsiteY133" fmla="*/ 274861 h 411274"/>
                      <a:gd name="connsiteX134" fmla="*/ 40123 w 543059"/>
                      <a:gd name="connsiteY134" fmla="*/ 271308 h 411274"/>
                      <a:gd name="connsiteX135" fmla="*/ 26940 w 543059"/>
                      <a:gd name="connsiteY135" fmla="*/ 271956 h 411274"/>
                      <a:gd name="connsiteX136" fmla="*/ 34608 w 543059"/>
                      <a:gd name="connsiteY136" fmla="*/ 266793 h 411274"/>
                      <a:gd name="connsiteX137" fmla="*/ 62897 w 543059"/>
                      <a:gd name="connsiteY137" fmla="*/ 267593 h 411274"/>
                      <a:gd name="connsiteX138" fmla="*/ 71917 w 543059"/>
                      <a:gd name="connsiteY138" fmla="*/ 262983 h 411274"/>
                      <a:gd name="connsiteX139" fmla="*/ 59925 w 543059"/>
                      <a:gd name="connsiteY139" fmla="*/ 263136 h 411274"/>
                      <a:gd name="connsiteX140" fmla="*/ 50753 w 543059"/>
                      <a:gd name="connsiteY140" fmla="*/ 262345 h 411274"/>
                      <a:gd name="connsiteX141" fmla="*/ 44971 w 543059"/>
                      <a:gd name="connsiteY141" fmla="*/ 256944 h 411274"/>
                      <a:gd name="connsiteX142" fmla="*/ 63650 w 543059"/>
                      <a:gd name="connsiteY142" fmla="*/ 251191 h 411274"/>
                      <a:gd name="connsiteX143" fmla="*/ 83795 w 543059"/>
                      <a:gd name="connsiteY143" fmla="*/ 259383 h 411274"/>
                      <a:gd name="connsiteX144" fmla="*/ 72479 w 543059"/>
                      <a:gd name="connsiteY144" fmla="*/ 249448 h 411274"/>
                      <a:gd name="connsiteX145" fmla="*/ 83014 w 543059"/>
                      <a:gd name="connsiteY145" fmla="*/ 242971 h 411274"/>
                      <a:gd name="connsiteX146" fmla="*/ 77204 w 543059"/>
                      <a:gd name="connsiteY146" fmla="*/ 237685 h 411274"/>
                      <a:gd name="connsiteX147" fmla="*/ 92806 w 543059"/>
                      <a:gd name="connsiteY147" fmla="*/ 235589 h 411274"/>
                      <a:gd name="connsiteX148" fmla="*/ 92710 w 543059"/>
                      <a:gd name="connsiteY148" fmla="*/ 238780 h 411274"/>
                      <a:gd name="connsiteX149" fmla="*/ 97273 w 543059"/>
                      <a:gd name="connsiteY149" fmla="*/ 237485 h 411274"/>
                      <a:gd name="connsiteX150" fmla="*/ 109893 w 543059"/>
                      <a:gd name="connsiteY150" fmla="*/ 238028 h 411274"/>
                      <a:gd name="connsiteX151" fmla="*/ 112961 w 543059"/>
                      <a:gd name="connsiteY151" fmla="*/ 240780 h 411274"/>
                      <a:gd name="connsiteX152" fmla="*/ 116371 w 543059"/>
                      <a:gd name="connsiteY152" fmla="*/ 240742 h 411274"/>
                      <a:gd name="connsiteX153" fmla="*/ 131182 w 543059"/>
                      <a:gd name="connsiteY153" fmla="*/ 240009 h 411274"/>
                      <a:gd name="connsiteX154" fmla="*/ 144126 w 543059"/>
                      <a:gd name="connsiteY154" fmla="*/ 229189 h 411274"/>
                      <a:gd name="connsiteX155" fmla="*/ 139440 w 543059"/>
                      <a:gd name="connsiteY155" fmla="*/ 226217 h 411274"/>
                      <a:gd name="connsiteX156" fmla="*/ 145545 w 543059"/>
                      <a:gd name="connsiteY156" fmla="*/ 222940 h 411274"/>
                      <a:gd name="connsiteX157" fmla="*/ 133458 w 543059"/>
                      <a:gd name="connsiteY157" fmla="*/ 225521 h 411274"/>
                      <a:gd name="connsiteX158" fmla="*/ 136678 w 543059"/>
                      <a:gd name="connsiteY158" fmla="*/ 227912 h 411274"/>
                      <a:gd name="connsiteX159" fmla="*/ 111989 w 543059"/>
                      <a:gd name="connsiteY159" fmla="*/ 238094 h 411274"/>
                      <a:gd name="connsiteX160" fmla="*/ 109655 w 543059"/>
                      <a:gd name="connsiteY160" fmla="*/ 235123 h 411274"/>
                      <a:gd name="connsiteX161" fmla="*/ 105102 w 543059"/>
                      <a:gd name="connsiteY161" fmla="*/ 232732 h 411274"/>
                      <a:gd name="connsiteX162" fmla="*/ 107102 w 543059"/>
                      <a:gd name="connsiteY162" fmla="*/ 226874 h 411274"/>
                      <a:gd name="connsiteX163" fmla="*/ 124667 w 543059"/>
                      <a:gd name="connsiteY163" fmla="*/ 209691 h 411274"/>
                      <a:gd name="connsiteX164" fmla="*/ 147165 w 543059"/>
                      <a:gd name="connsiteY164" fmla="*/ 197404 h 411274"/>
                      <a:gd name="connsiteX165" fmla="*/ 139792 w 543059"/>
                      <a:gd name="connsiteY165" fmla="*/ 199271 h 411274"/>
                      <a:gd name="connsiteX166" fmla="*/ 157404 w 543059"/>
                      <a:gd name="connsiteY166" fmla="*/ 186136 h 411274"/>
                      <a:gd name="connsiteX167" fmla="*/ 164777 w 543059"/>
                      <a:gd name="connsiteY167" fmla="*/ 188536 h 411274"/>
                      <a:gd name="connsiteX168" fmla="*/ 174282 w 543059"/>
                      <a:gd name="connsiteY168" fmla="*/ 180859 h 411274"/>
                      <a:gd name="connsiteX169" fmla="*/ 156509 w 543059"/>
                      <a:gd name="connsiteY169" fmla="*/ 180135 h 411274"/>
                      <a:gd name="connsiteX170" fmla="*/ 174902 w 543059"/>
                      <a:gd name="connsiteY170" fmla="*/ 161428 h 411274"/>
                      <a:gd name="connsiteX171" fmla="*/ 168910 w 543059"/>
                      <a:gd name="connsiteY171" fmla="*/ 156884 h 411274"/>
                      <a:gd name="connsiteX172" fmla="*/ 195885 w 543059"/>
                      <a:gd name="connsiteY172" fmla="*/ 150674 h 411274"/>
                      <a:gd name="connsiteX173" fmla="*/ 181721 w 543059"/>
                      <a:gd name="connsiteY173" fmla="*/ 152350 h 411274"/>
                      <a:gd name="connsiteX174" fmla="*/ 175016 w 543059"/>
                      <a:gd name="connsiteY174" fmla="*/ 149636 h 411274"/>
                      <a:gd name="connsiteX175" fmla="*/ 176473 w 543059"/>
                      <a:gd name="connsiteY175" fmla="*/ 143130 h 411274"/>
                      <a:gd name="connsiteX176" fmla="*/ 192485 w 543059"/>
                      <a:gd name="connsiteY176" fmla="*/ 135024 h 411274"/>
                      <a:gd name="connsiteX177" fmla="*/ 185341 w 543059"/>
                      <a:gd name="connsiteY177" fmla="*/ 131472 h 411274"/>
                      <a:gd name="connsiteX178" fmla="*/ 199524 w 543059"/>
                      <a:gd name="connsiteY178" fmla="*/ 123537 h 411274"/>
                      <a:gd name="connsiteX179" fmla="*/ 222860 w 543059"/>
                      <a:gd name="connsiteY179" fmla="*/ 122166 h 411274"/>
                      <a:gd name="connsiteX180" fmla="*/ 223108 w 543059"/>
                      <a:gd name="connsiteY180" fmla="*/ 120775 h 411274"/>
                      <a:gd name="connsiteX181" fmla="*/ 205753 w 543059"/>
                      <a:gd name="connsiteY181" fmla="*/ 120108 h 411274"/>
                      <a:gd name="connsiteX182" fmla="*/ 204334 w 543059"/>
                      <a:gd name="connsiteY182" fmla="*/ 115917 h 411274"/>
                      <a:gd name="connsiteX183" fmla="*/ 226194 w 543059"/>
                      <a:gd name="connsiteY183" fmla="*/ 117575 h 411274"/>
                      <a:gd name="connsiteX184" fmla="*/ 227622 w 543059"/>
                      <a:gd name="connsiteY184" fmla="*/ 112126 h 411274"/>
                      <a:gd name="connsiteX185" fmla="*/ 219269 w 543059"/>
                      <a:gd name="connsiteY185" fmla="*/ 105421 h 411274"/>
                      <a:gd name="connsiteX186" fmla="*/ 207220 w 543059"/>
                      <a:gd name="connsiteY186" fmla="*/ 107297 h 411274"/>
                      <a:gd name="connsiteX187" fmla="*/ 224394 w 543059"/>
                      <a:gd name="connsiteY187" fmla="*/ 98686 h 411274"/>
                      <a:gd name="connsiteX188" fmla="*/ 224841 w 543059"/>
                      <a:gd name="connsiteY188" fmla="*/ 91800 h 411274"/>
                      <a:gd name="connsiteX189" fmla="*/ 239643 w 543059"/>
                      <a:gd name="connsiteY189" fmla="*/ 100782 h 411274"/>
                      <a:gd name="connsiteX190" fmla="*/ 240500 w 543059"/>
                      <a:gd name="connsiteY190" fmla="*/ 94162 h 411274"/>
                      <a:gd name="connsiteX191" fmla="*/ 244501 w 543059"/>
                      <a:gd name="connsiteY191" fmla="*/ 84380 h 411274"/>
                      <a:gd name="connsiteX192" fmla="*/ 264408 w 543059"/>
                      <a:gd name="connsiteY192" fmla="*/ 82961 h 411274"/>
                      <a:gd name="connsiteX193" fmla="*/ 242053 w 543059"/>
                      <a:gd name="connsiteY193" fmla="*/ 81789 h 411274"/>
                      <a:gd name="connsiteX194" fmla="*/ 259855 w 543059"/>
                      <a:gd name="connsiteY194" fmla="*/ 70626 h 411274"/>
                      <a:gd name="connsiteX195" fmla="*/ 266199 w 543059"/>
                      <a:gd name="connsiteY195" fmla="*/ 61996 h 411274"/>
                      <a:gd name="connsiteX196" fmla="*/ 272761 w 543059"/>
                      <a:gd name="connsiteY196" fmla="*/ 59844 h 411274"/>
                      <a:gd name="connsiteX197" fmla="*/ 271276 w 543059"/>
                      <a:gd name="connsiteY197" fmla="*/ 55310 h 411274"/>
                      <a:gd name="connsiteX198" fmla="*/ 289049 w 543059"/>
                      <a:gd name="connsiteY198" fmla="*/ 54986 h 411274"/>
                      <a:gd name="connsiteX199" fmla="*/ 283496 w 543059"/>
                      <a:gd name="connsiteY199" fmla="*/ 49195 h 411274"/>
                      <a:gd name="connsiteX200" fmla="*/ 288478 w 543059"/>
                      <a:gd name="connsiteY200" fmla="*/ 48480 h 411274"/>
                      <a:gd name="connsiteX201" fmla="*/ 289868 w 543059"/>
                      <a:gd name="connsiteY201" fmla="*/ 45327 h 411274"/>
                      <a:gd name="connsiteX202" fmla="*/ 302356 w 543059"/>
                      <a:gd name="connsiteY202" fmla="*/ 40346 h 411274"/>
                      <a:gd name="connsiteX203" fmla="*/ 304080 w 543059"/>
                      <a:gd name="connsiteY203" fmla="*/ 52214 h 411274"/>
                      <a:gd name="connsiteX204" fmla="*/ 315862 w 543059"/>
                      <a:gd name="connsiteY204" fmla="*/ 35793 h 411274"/>
                      <a:gd name="connsiteX205" fmla="*/ 313328 w 543059"/>
                      <a:gd name="connsiteY205" fmla="*/ 55091 h 411274"/>
                      <a:gd name="connsiteX206" fmla="*/ 326930 w 543059"/>
                      <a:gd name="connsiteY206" fmla="*/ 49166 h 411274"/>
                      <a:gd name="connsiteX207" fmla="*/ 321129 w 543059"/>
                      <a:gd name="connsiteY207" fmla="*/ 39393 h 411274"/>
                      <a:gd name="connsiteX208" fmla="*/ 331169 w 543059"/>
                      <a:gd name="connsiteY208" fmla="*/ 37603 h 411274"/>
                      <a:gd name="connsiteX209" fmla="*/ 339922 w 543059"/>
                      <a:gd name="connsiteY209" fmla="*/ 34250 h 411274"/>
                      <a:gd name="connsiteX210" fmla="*/ 351419 w 543059"/>
                      <a:gd name="connsiteY210" fmla="*/ 39270 h 411274"/>
                      <a:gd name="connsiteX211" fmla="*/ 344313 w 543059"/>
                      <a:gd name="connsiteY211" fmla="*/ 31469 h 411274"/>
                      <a:gd name="connsiteX212" fmla="*/ 336036 w 543059"/>
                      <a:gd name="connsiteY212" fmla="*/ 27497 h 411274"/>
                      <a:gd name="connsiteX213" fmla="*/ 353857 w 543059"/>
                      <a:gd name="connsiteY213" fmla="*/ 24315 h 411274"/>
                      <a:gd name="connsiteX214" fmla="*/ 357229 w 543059"/>
                      <a:gd name="connsiteY214" fmla="*/ 25411 h 411274"/>
                      <a:gd name="connsiteX215" fmla="*/ 358791 w 543059"/>
                      <a:gd name="connsiteY215" fmla="*/ 23239 h 411274"/>
                      <a:gd name="connsiteX216" fmla="*/ 368050 w 543059"/>
                      <a:gd name="connsiteY216" fmla="*/ 23887 h 411274"/>
                      <a:gd name="connsiteX217" fmla="*/ 380489 w 543059"/>
                      <a:gd name="connsiteY217" fmla="*/ 33431 h 411274"/>
                      <a:gd name="connsiteX218" fmla="*/ 384261 w 543059"/>
                      <a:gd name="connsiteY218" fmla="*/ 21134 h 411274"/>
                      <a:gd name="connsiteX219" fmla="*/ 392414 w 543059"/>
                      <a:gd name="connsiteY219" fmla="*/ 16933 h 411274"/>
                      <a:gd name="connsiteX220" fmla="*/ 397730 w 543059"/>
                      <a:gd name="connsiteY220" fmla="*/ 11942 h 411274"/>
                      <a:gd name="connsiteX221" fmla="*/ 400311 w 543059"/>
                      <a:gd name="connsiteY221" fmla="*/ 2970 h 411274"/>
                      <a:gd name="connsiteX222" fmla="*/ 414503 w 543059"/>
                      <a:gd name="connsiteY222" fmla="*/ 7485 h 411274"/>
                      <a:gd name="connsiteX223" fmla="*/ 423028 w 543059"/>
                      <a:gd name="connsiteY223" fmla="*/ 6599 h 411274"/>
                      <a:gd name="connsiteX224" fmla="*/ 418246 w 543059"/>
                      <a:gd name="connsiteY224" fmla="*/ 14762 h 411274"/>
                      <a:gd name="connsiteX225" fmla="*/ 413074 w 543059"/>
                      <a:gd name="connsiteY225" fmla="*/ 28925 h 411274"/>
                      <a:gd name="connsiteX226" fmla="*/ 423533 w 543059"/>
                      <a:gd name="connsiteY226" fmla="*/ 21915 h 411274"/>
                      <a:gd name="connsiteX227" fmla="*/ 435906 w 543059"/>
                      <a:gd name="connsiteY227" fmla="*/ 8761 h 411274"/>
                      <a:gd name="connsiteX228" fmla="*/ 444116 w 543059"/>
                      <a:gd name="connsiteY228" fmla="*/ 5799 h 411274"/>
                      <a:gd name="connsiteX229" fmla="*/ 442764 w 543059"/>
                      <a:gd name="connsiteY229" fmla="*/ 12971 h 411274"/>
                      <a:gd name="connsiteX230" fmla="*/ 445107 w 543059"/>
                      <a:gd name="connsiteY230" fmla="*/ 21124 h 411274"/>
                      <a:gd name="connsiteX231" fmla="*/ 454222 w 543059"/>
                      <a:gd name="connsiteY231" fmla="*/ 14305 h 411274"/>
                      <a:gd name="connsiteX232" fmla="*/ 462509 w 543059"/>
                      <a:gd name="connsiteY232" fmla="*/ 8713 h 411274"/>
                      <a:gd name="connsiteX233" fmla="*/ 454994 w 543059"/>
                      <a:gd name="connsiteY233" fmla="*/ 4199 h 411274"/>
                      <a:gd name="connsiteX234" fmla="*/ 474120 w 543059"/>
                      <a:gd name="connsiteY234" fmla="*/ 1512 h 411274"/>
                      <a:gd name="connsiteX235" fmla="*/ 470758 w 543059"/>
                      <a:gd name="connsiteY235" fmla="*/ 12685 h 411274"/>
                      <a:gd name="connsiteX236" fmla="*/ 470758 w 543059"/>
                      <a:gd name="connsiteY236" fmla="*/ 12685 h 411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Lst>
                    <a:rect l="l" t="t" r="r" b="b"/>
                    <a:pathLst>
                      <a:path w="543059" h="411274">
                        <a:moveTo>
                          <a:pt x="470758" y="12685"/>
                        </a:moveTo>
                        <a:cubicBezTo>
                          <a:pt x="472339" y="13028"/>
                          <a:pt x="475825" y="11580"/>
                          <a:pt x="476673" y="12019"/>
                        </a:cubicBezTo>
                        <a:cubicBezTo>
                          <a:pt x="479606" y="13543"/>
                          <a:pt x="476911" y="13038"/>
                          <a:pt x="477882" y="15867"/>
                        </a:cubicBezTo>
                        <a:cubicBezTo>
                          <a:pt x="479082" y="19362"/>
                          <a:pt x="478101" y="23010"/>
                          <a:pt x="480073" y="26211"/>
                        </a:cubicBezTo>
                        <a:cubicBezTo>
                          <a:pt x="480016" y="21982"/>
                          <a:pt x="482264" y="16829"/>
                          <a:pt x="483883" y="13390"/>
                        </a:cubicBezTo>
                        <a:cubicBezTo>
                          <a:pt x="486540" y="7770"/>
                          <a:pt x="489255" y="5208"/>
                          <a:pt x="495932" y="7380"/>
                        </a:cubicBezTo>
                        <a:cubicBezTo>
                          <a:pt x="500294" y="8799"/>
                          <a:pt x="504162" y="12638"/>
                          <a:pt x="509058" y="12981"/>
                        </a:cubicBezTo>
                        <a:cubicBezTo>
                          <a:pt x="510258" y="13066"/>
                          <a:pt x="513296" y="11933"/>
                          <a:pt x="514373" y="12123"/>
                        </a:cubicBezTo>
                        <a:cubicBezTo>
                          <a:pt x="516916" y="12571"/>
                          <a:pt x="518906" y="14857"/>
                          <a:pt x="520087" y="15409"/>
                        </a:cubicBezTo>
                        <a:cubicBezTo>
                          <a:pt x="522754" y="16648"/>
                          <a:pt x="529679" y="17295"/>
                          <a:pt x="533613" y="20048"/>
                        </a:cubicBezTo>
                        <a:cubicBezTo>
                          <a:pt x="541157" y="25306"/>
                          <a:pt x="535861" y="25496"/>
                          <a:pt x="529127" y="27640"/>
                        </a:cubicBezTo>
                        <a:cubicBezTo>
                          <a:pt x="516925" y="31535"/>
                          <a:pt x="506419" y="30287"/>
                          <a:pt x="493227" y="29468"/>
                        </a:cubicBezTo>
                        <a:cubicBezTo>
                          <a:pt x="496266" y="34231"/>
                          <a:pt x="504838" y="31583"/>
                          <a:pt x="509439" y="34288"/>
                        </a:cubicBezTo>
                        <a:cubicBezTo>
                          <a:pt x="513411" y="36622"/>
                          <a:pt x="511077" y="38346"/>
                          <a:pt x="514068" y="40975"/>
                        </a:cubicBezTo>
                        <a:cubicBezTo>
                          <a:pt x="516306" y="42946"/>
                          <a:pt x="522269" y="43356"/>
                          <a:pt x="524736" y="42499"/>
                        </a:cubicBezTo>
                        <a:cubicBezTo>
                          <a:pt x="526774" y="41784"/>
                          <a:pt x="523612" y="38727"/>
                          <a:pt x="526822" y="38612"/>
                        </a:cubicBezTo>
                        <a:cubicBezTo>
                          <a:pt x="528622" y="38546"/>
                          <a:pt x="530594" y="41575"/>
                          <a:pt x="531308" y="42794"/>
                        </a:cubicBezTo>
                        <a:cubicBezTo>
                          <a:pt x="533061" y="36222"/>
                          <a:pt x="546481" y="43051"/>
                          <a:pt x="542233" y="48233"/>
                        </a:cubicBezTo>
                        <a:cubicBezTo>
                          <a:pt x="539490" y="51585"/>
                          <a:pt x="529498" y="46118"/>
                          <a:pt x="526336" y="45708"/>
                        </a:cubicBezTo>
                        <a:cubicBezTo>
                          <a:pt x="532927" y="53824"/>
                          <a:pt x="514277" y="55024"/>
                          <a:pt x="511639" y="57862"/>
                        </a:cubicBezTo>
                        <a:cubicBezTo>
                          <a:pt x="509162" y="60529"/>
                          <a:pt x="510372" y="67244"/>
                          <a:pt x="504105" y="63920"/>
                        </a:cubicBezTo>
                        <a:cubicBezTo>
                          <a:pt x="497323" y="60329"/>
                          <a:pt x="506867" y="56662"/>
                          <a:pt x="508153" y="53576"/>
                        </a:cubicBezTo>
                        <a:cubicBezTo>
                          <a:pt x="512448" y="43261"/>
                          <a:pt x="491132" y="41403"/>
                          <a:pt x="484016" y="37841"/>
                        </a:cubicBezTo>
                        <a:cubicBezTo>
                          <a:pt x="478416" y="35040"/>
                          <a:pt x="475444" y="30964"/>
                          <a:pt x="468891" y="32716"/>
                        </a:cubicBezTo>
                        <a:cubicBezTo>
                          <a:pt x="462233" y="34498"/>
                          <a:pt x="461509" y="36288"/>
                          <a:pt x="454689" y="36260"/>
                        </a:cubicBezTo>
                        <a:cubicBezTo>
                          <a:pt x="444011" y="36212"/>
                          <a:pt x="437525" y="43765"/>
                          <a:pt x="436582" y="54005"/>
                        </a:cubicBezTo>
                        <a:cubicBezTo>
                          <a:pt x="436220" y="58005"/>
                          <a:pt x="437887" y="64920"/>
                          <a:pt x="435182" y="68092"/>
                        </a:cubicBezTo>
                        <a:cubicBezTo>
                          <a:pt x="433858" y="69645"/>
                          <a:pt x="431991" y="68568"/>
                          <a:pt x="430619" y="69588"/>
                        </a:cubicBezTo>
                        <a:cubicBezTo>
                          <a:pt x="428333" y="71274"/>
                          <a:pt x="426962" y="74588"/>
                          <a:pt x="425304" y="75855"/>
                        </a:cubicBezTo>
                        <a:cubicBezTo>
                          <a:pt x="417732" y="81684"/>
                          <a:pt x="405807" y="70340"/>
                          <a:pt x="396758" y="72398"/>
                        </a:cubicBezTo>
                        <a:cubicBezTo>
                          <a:pt x="392519" y="73360"/>
                          <a:pt x="388804" y="76970"/>
                          <a:pt x="383232" y="76779"/>
                        </a:cubicBezTo>
                        <a:cubicBezTo>
                          <a:pt x="379984" y="76665"/>
                          <a:pt x="370945" y="75646"/>
                          <a:pt x="368030" y="74360"/>
                        </a:cubicBezTo>
                        <a:cubicBezTo>
                          <a:pt x="360391" y="70988"/>
                          <a:pt x="350609" y="52243"/>
                          <a:pt x="339475" y="56910"/>
                        </a:cubicBezTo>
                        <a:cubicBezTo>
                          <a:pt x="333922" y="59243"/>
                          <a:pt x="338474" y="60606"/>
                          <a:pt x="336988" y="62110"/>
                        </a:cubicBezTo>
                        <a:cubicBezTo>
                          <a:pt x="337179" y="61920"/>
                          <a:pt x="337770" y="63073"/>
                          <a:pt x="337379" y="63396"/>
                        </a:cubicBezTo>
                        <a:cubicBezTo>
                          <a:pt x="335646" y="64844"/>
                          <a:pt x="335531" y="62768"/>
                          <a:pt x="333531" y="63520"/>
                        </a:cubicBezTo>
                        <a:cubicBezTo>
                          <a:pt x="329216" y="65130"/>
                          <a:pt x="321072" y="64625"/>
                          <a:pt x="316253" y="64863"/>
                        </a:cubicBezTo>
                        <a:cubicBezTo>
                          <a:pt x="322958" y="69140"/>
                          <a:pt x="324425" y="76284"/>
                          <a:pt x="315548" y="79951"/>
                        </a:cubicBezTo>
                        <a:cubicBezTo>
                          <a:pt x="317605" y="80627"/>
                          <a:pt x="319662" y="81303"/>
                          <a:pt x="321710" y="81980"/>
                        </a:cubicBezTo>
                        <a:cubicBezTo>
                          <a:pt x="314681" y="87952"/>
                          <a:pt x="309080" y="83961"/>
                          <a:pt x="300641" y="82370"/>
                        </a:cubicBezTo>
                        <a:cubicBezTo>
                          <a:pt x="296469" y="81580"/>
                          <a:pt x="283125" y="77960"/>
                          <a:pt x="279658" y="79551"/>
                        </a:cubicBezTo>
                        <a:cubicBezTo>
                          <a:pt x="272609" y="82761"/>
                          <a:pt x="283096" y="92943"/>
                          <a:pt x="274762" y="97124"/>
                        </a:cubicBezTo>
                        <a:cubicBezTo>
                          <a:pt x="271304" y="98858"/>
                          <a:pt x="267418" y="94715"/>
                          <a:pt x="263313" y="94638"/>
                        </a:cubicBezTo>
                        <a:cubicBezTo>
                          <a:pt x="259531" y="94572"/>
                          <a:pt x="256054" y="95915"/>
                          <a:pt x="252549" y="98839"/>
                        </a:cubicBezTo>
                        <a:cubicBezTo>
                          <a:pt x="248930" y="101858"/>
                          <a:pt x="249568" y="105183"/>
                          <a:pt x="246653" y="108735"/>
                        </a:cubicBezTo>
                        <a:cubicBezTo>
                          <a:pt x="244710" y="111107"/>
                          <a:pt x="238652" y="111574"/>
                          <a:pt x="238024" y="113888"/>
                        </a:cubicBezTo>
                        <a:cubicBezTo>
                          <a:pt x="235966" y="121442"/>
                          <a:pt x="249616" y="119918"/>
                          <a:pt x="241758" y="129281"/>
                        </a:cubicBezTo>
                        <a:cubicBezTo>
                          <a:pt x="239233" y="132281"/>
                          <a:pt x="235928" y="134777"/>
                          <a:pt x="233185" y="137615"/>
                        </a:cubicBezTo>
                        <a:cubicBezTo>
                          <a:pt x="231718" y="139139"/>
                          <a:pt x="229632" y="140844"/>
                          <a:pt x="228518" y="142654"/>
                        </a:cubicBezTo>
                        <a:cubicBezTo>
                          <a:pt x="227603" y="143302"/>
                          <a:pt x="226708" y="143949"/>
                          <a:pt x="225813" y="144607"/>
                        </a:cubicBezTo>
                        <a:cubicBezTo>
                          <a:pt x="226118" y="145588"/>
                          <a:pt x="226470" y="146550"/>
                          <a:pt x="226841" y="147493"/>
                        </a:cubicBezTo>
                        <a:cubicBezTo>
                          <a:pt x="225575" y="150703"/>
                          <a:pt x="228461" y="148874"/>
                          <a:pt x="225679" y="152084"/>
                        </a:cubicBezTo>
                        <a:cubicBezTo>
                          <a:pt x="224670" y="153255"/>
                          <a:pt x="221364" y="153932"/>
                          <a:pt x="219802" y="154379"/>
                        </a:cubicBezTo>
                        <a:cubicBezTo>
                          <a:pt x="215916" y="155513"/>
                          <a:pt x="211754" y="155579"/>
                          <a:pt x="207744" y="155960"/>
                        </a:cubicBezTo>
                        <a:cubicBezTo>
                          <a:pt x="214735" y="175772"/>
                          <a:pt x="205658" y="189269"/>
                          <a:pt x="193256" y="204719"/>
                        </a:cubicBezTo>
                        <a:cubicBezTo>
                          <a:pt x="198733" y="207052"/>
                          <a:pt x="204200" y="207091"/>
                          <a:pt x="205306" y="213748"/>
                        </a:cubicBezTo>
                        <a:cubicBezTo>
                          <a:pt x="206525" y="221121"/>
                          <a:pt x="202724" y="222254"/>
                          <a:pt x="196619" y="221930"/>
                        </a:cubicBezTo>
                        <a:cubicBezTo>
                          <a:pt x="184169" y="221264"/>
                          <a:pt x="177588" y="220092"/>
                          <a:pt x="168729" y="229893"/>
                        </a:cubicBezTo>
                        <a:cubicBezTo>
                          <a:pt x="164729" y="234303"/>
                          <a:pt x="163700" y="236151"/>
                          <a:pt x="162681" y="241285"/>
                        </a:cubicBezTo>
                        <a:cubicBezTo>
                          <a:pt x="161424" y="247581"/>
                          <a:pt x="160414" y="242971"/>
                          <a:pt x="162367" y="249524"/>
                        </a:cubicBezTo>
                        <a:cubicBezTo>
                          <a:pt x="163062" y="251858"/>
                          <a:pt x="164700" y="253668"/>
                          <a:pt x="164977" y="255325"/>
                        </a:cubicBezTo>
                        <a:cubicBezTo>
                          <a:pt x="165396" y="257878"/>
                          <a:pt x="163500" y="263707"/>
                          <a:pt x="164615" y="267393"/>
                        </a:cubicBezTo>
                        <a:cubicBezTo>
                          <a:pt x="166167" y="272480"/>
                          <a:pt x="169701" y="275347"/>
                          <a:pt x="169968" y="280766"/>
                        </a:cubicBezTo>
                        <a:cubicBezTo>
                          <a:pt x="170253" y="286910"/>
                          <a:pt x="166386" y="291920"/>
                          <a:pt x="170596" y="296397"/>
                        </a:cubicBezTo>
                        <a:cubicBezTo>
                          <a:pt x="174073" y="300083"/>
                          <a:pt x="180664" y="299902"/>
                          <a:pt x="183798" y="304293"/>
                        </a:cubicBezTo>
                        <a:cubicBezTo>
                          <a:pt x="185741" y="307027"/>
                          <a:pt x="186694" y="311923"/>
                          <a:pt x="183122" y="314904"/>
                        </a:cubicBezTo>
                        <a:cubicBezTo>
                          <a:pt x="179226" y="318162"/>
                          <a:pt x="173939" y="313847"/>
                          <a:pt x="174187" y="320505"/>
                        </a:cubicBezTo>
                        <a:cubicBezTo>
                          <a:pt x="174359" y="325058"/>
                          <a:pt x="180445" y="328906"/>
                          <a:pt x="181502" y="333344"/>
                        </a:cubicBezTo>
                        <a:cubicBezTo>
                          <a:pt x="182379" y="337031"/>
                          <a:pt x="180959" y="344936"/>
                          <a:pt x="178835" y="347832"/>
                        </a:cubicBezTo>
                        <a:cubicBezTo>
                          <a:pt x="175883" y="351823"/>
                          <a:pt x="171196" y="350623"/>
                          <a:pt x="168291" y="353356"/>
                        </a:cubicBezTo>
                        <a:cubicBezTo>
                          <a:pt x="163643" y="357719"/>
                          <a:pt x="164157" y="362034"/>
                          <a:pt x="164967" y="366996"/>
                        </a:cubicBezTo>
                        <a:cubicBezTo>
                          <a:pt x="165538" y="370492"/>
                          <a:pt x="168615" y="381884"/>
                          <a:pt x="162862" y="383427"/>
                        </a:cubicBezTo>
                        <a:cubicBezTo>
                          <a:pt x="158833" y="384494"/>
                          <a:pt x="160109" y="381217"/>
                          <a:pt x="157595" y="379179"/>
                        </a:cubicBezTo>
                        <a:cubicBezTo>
                          <a:pt x="155632" y="377588"/>
                          <a:pt x="155490" y="377359"/>
                          <a:pt x="152127" y="376236"/>
                        </a:cubicBezTo>
                        <a:cubicBezTo>
                          <a:pt x="147041" y="374550"/>
                          <a:pt x="145202" y="375635"/>
                          <a:pt x="141554" y="371235"/>
                        </a:cubicBezTo>
                        <a:cubicBezTo>
                          <a:pt x="137745" y="366653"/>
                          <a:pt x="138468" y="362119"/>
                          <a:pt x="136897" y="356471"/>
                        </a:cubicBezTo>
                        <a:cubicBezTo>
                          <a:pt x="135544" y="358833"/>
                          <a:pt x="137497" y="360414"/>
                          <a:pt x="136725" y="362062"/>
                        </a:cubicBezTo>
                        <a:cubicBezTo>
                          <a:pt x="135735" y="364158"/>
                          <a:pt x="133439" y="363234"/>
                          <a:pt x="133011" y="365196"/>
                        </a:cubicBezTo>
                        <a:cubicBezTo>
                          <a:pt x="132363" y="368177"/>
                          <a:pt x="134773" y="370616"/>
                          <a:pt x="132229" y="375169"/>
                        </a:cubicBezTo>
                        <a:cubicBezTo>
                          <a:pt x="129896" y="379350"/>
                          <a:pt x="129267" y="379960"/>
                          <a:pt x="125124" y="380598"/>
                        </a:cubicBezTo>
                        <a:cubicBezTo>
                          <a:pt x="120771" y="381265"/>
                          <a:pt x="122790" y="380655"/>
                          <a:pt x="119780" y="379703"/>
                        </a:cubicBezTo>
                        <a:cubicBezTo>
                          <a:pt x="117313" y="378912"/>
                          <a:pt x="116551" y="376931"/>
                          <a:pt x="113780" y="377007"/>
                        </a:cubicBezTo>
                        <a:cubicBezTo>
                          <a:pt x="122209" y="380884"/>
                          <a:pt x="111656" y="383560"/>
                          <a:pt x="108446" y="385065"/>
                        </a:cubicBezTo>
                        <a:cubicBezTo>
                          <a:pt x="109170" y="385608"/>
                          <a:pt x="109884" y="386142"/>
                          <a:pt x="110617" y="386675"/>
                        </a:cubicBezTo>
                        <a:cubicBezTo>
                          <a:pt x="101397" y="391285"/>
                          <a:pt x="94244" y="401524"/>
                          <a:pt x="84157" y="406230"/>
                        </a:cubicBezTo>
                        <a:cubicBezTo>
                          <a:pt x="80118" y="408116"/>
                          <a:pt x="50286" y="415755"/>
                          <a:pt x="52305" y="407554"/>
                        </a:cubicBezTo>
                        <a:cubicBezTo>
                          <a:pt x="50715" y="407497"/>
                          <a:pt x="47733" y="409564"/>
                          <a:pt x="48495" y="409697"/>
                        </a:cubicBezTo>
                        <a:cubicBezTo>
                          <a:pt x="44723" y="409049"/>
                          <a:pt x="41904" y="407668"/>
                          <a:pt x="46905" y="405001"/>
                        </a:cubicBezTo>
                        <a:cubicBezTo>
                          <a:pt x="44590" y="402544"/>
                          <a:pt x="37942" y="403191"/>
                          <a:pt x="34236" y="401429"/>
                        </a:cubicBezTo>
                        <a:cubicBezTo>
                          <a:pt x="29655" y="399257"/>
                          <a:pt x="22302" y="396543"/>
                          <a:pt x="19549" y="392085"/>
                        </a:cubicBezTo>
                        <a:cubicBezTo>
                          <a:pt x="18072" y="389704"/>
                          <a:pt x="17206" y="386570"/>
                          <a:pt x="18301" y="383751"/>
                        </a:cubicBezTo>
                        <a:cubicBezTo>
                          <a:pt x="20035" y="379322"/>
                          <a:pt x="18958" y="380760"/>
                          <a:pt x="23826" y="381284"/>
                        </a:cubicBezTo>
                        <a:cubicBezTo>
                          <a:pt x="26540" y="381579"/>
                          <a:pt x="29388" y="384789"/>
                          <a:pt x="31941" y="384608"/>
                        </a:cubicBezTo>
                        <a:cubicBezTo>
                          <a:pt x="33369" y="384513"/>
                          <a:pt x="36008" y="381112"/>
                          <a:pt x="37827" y="380522"/>
                        </a:cubicBezTo>
                        <a:cubicBezTo>
                          <a:pt x="34646" y="379960"/>
                          <a:pt x="32798" y="382579"/>
                          <a:pt x="29579" y="380931"/>
                        </a:cubicBezTo>
                        <a:cubicBezTo>
                          <a:pt x="25388" y="378779"/>
                          <a:pt x="27940" y="378502"/>
                          <a:pt x="27750" y="376274"/>
                        </a:cubicBezTo>
                        <a:cubicBezTo>
                          <a:pt x="27188" y="369730"/>
                          <a:pt x="32131" y="366368"/>
                          <a:pt x="38247" y="363310"/>
                        </a:cubicBezTo>
                        <a:cubicBezTo>
                          <a:pt x="31064" y="362481"/>
                          <a:pt x="10843" y="381922"/>
                          <a:pt x="8404" y="371778"/>
                        </a:cubicBezTo>
                        <a:cubicBezTo>
                          <a:pt x="7195" y="366730"/>
                          <a:pt x="11681" y="358786"/>
                          <a:pt x="16310" y="358071"/>
                        </a:cubicBezTo>
                        <a:cubicBezTo>
                          <a:pt x="18577" y="357719"/>
                          <a:pt x="21606" y="359033"/>
                          <a:pt x="23883" y="358567"/>
                        </a:cubicBezTo>
                        <a:cubicBezTo>
                          <a:pt x="26331" y="358062"/>
                          <a:pt x="30750" y="356119"/>
                          <a:pt x="33131" y="354776"/>
                        </a:cubicBezTo>
                        <a:cubicBezTo>
                          <a:pt x="31684" y="354633"/>
                          <a:pt x="23588" y="356395"/>
                          <a:pt x="22425" y="355100"/>
                        </a:cubicBezTo>
                        <a:cubicBezTo>
                          <a:pt x="19673" y="352042"/>
                          <a:pt x="27502" y="348508"/>
                          <a:pt x="29283" y="346413"/>
                        </a:cubicBezTo>
                        <a:cubicBezTo>
                          <a:pt x="31798" y="343450"/>
                          <a:pt x="30293" y="340574"/>
                          <a:pt x="35084" y="338221"/>
                        </a:cubicBezTo>
                        <a:cubicBezTo>
                          <a:pt x="42180" y="334735"/>
                          <a:pt x="39723" y="338745"/>
                          <a:pt x="39961" y="344232"/>
                        </a:cubicBezTo>
                        <a:cubicBezTo>
                          <a:pt x="42923" y="337145"/>
                          <a:pt x="43990" y="335926"/>
                          <a:pt x="50419" y="332916"/>
                        </a:cubicBezTo>
                        <a:cubicBezTo>
                          <a:pt x="32779" y="333116"/>
                          <a:pt x="25864" y="344746"/>
                          <a:pt x="15186" y="355090"/>
                        </a:cubicBezTo>
                        <a:cubicBezTo>
                          <a:pt x="9043" y="361043"/>
                          <a:pt x="6938" y="361824"/>
                          <a:pt x="7890" y="353128"/>
                        </a:cubicBezTo>
                        <a:cubicBezTo>
                          <a:pt x="9014" y="342803"/>
                          <a:pt x="11700" y="349575"/>
                          <a:pt x="20235" y="345165"/>
                        </a:cubicBezTo>
                        <a:cubicBezTo>
                          <a:pt x="16453" y="342184"/>
                          <a:pt x="10919" y="345527"/>
                          <a:pt x="8090" y="339326"/>
                        </a:cubicBezTo>
                        <a:cubicBezTo>
                          <a:pt x="4490" y="331477"/>
                          <a:pt x="14015" y="331820"/>
                          <a:pt x="18520" y="327372"/>
                        </a:cubicBezTo>
                        <a:cubicBezTo>
                          <a:pt x="11195" y="328420"/>
                          <a:pt x="6442" y="334440"/>
                          <a:pt x="3642" y="323248"/>
                        </a:cubicBezTo>
                        <a:cubicBezTo>
                          <a:pt x="1118" y="313180"/>
                          <a:pt x="7728" y="316485"/>
                          <a:pt x="14986" y="315742"/>
                        </a:cubicBezTo>
                        <a:cubicBezTo>
                          <a:pt x="22511" y="314971"/>
                          <a:pt x="29807" y="315285"/>
                          <a:pt x="37103" y="314475"/>
                        </a:cubicBezTo>
                        <a:cubicBezTo>
                          <a:pt x="41190" y="314018"/>
                          <a:pt x="43199" y="312094"/>
                          <a:pt x="47276" y="314333"/>
                        </a:cubicBezTo>
                        <a:cubicBezTo>
                          <a:pt x="49914" y="315780"/>
                          <a:pt x="48895" y="317914"/>
                          <a:pt x="51591" y="318609"/>
                        </a:cubicBezTo>
                        <a:cubicBezTo>
                          <a:pt x="47362" y="312570"/>
                          <a:pt x="59744" y="313209"/>
                          <a:pt x="63450" y="310913"/>
                        </a:cubicBezTo>
                        <a:cubicBezTo>
                          <a:pt x="57744" y="311913"/>
                          <a:pt x="56468" y="307513"/>
                          <a:pt x="59278" y="303855"/>
                        </a:cubicBezTo>
                        <a:cubicBezTo>
                          <a:pt x="52524" y="307503"/>
                          <a:pt x="59268" y="311142"/>
                          <a:pt x="50791" y="312408"/>
                        </a:cubicBezTo>
                        <a:cubicBezTo>
                          <a:pt x="47171" y="312951"/>
                          <a:pt x="40218" y="311856"/>
                          <a:pt x="39885" y="308427"/>
                        </a:cubicBezTo>
                        <a:cubicBezTo>
                          <a:pt x="37103" y="314399"/>
                          <a:pt x="34694" y="312761"/>
                          <a:pt x="28731" y="312389"/>
                        </a:cubicBezTo>
                        <a:cubicBezTo>
                          <a:pt x="23445" y="312066"/>
                          <a:pt x="18272" y="314371"/>
                          <a:pt x="13348" y="314333"/>
                        </a:cubicBezTo>
                        <a:cubicBezTo>
                          <a:pt x="9376" y="314304"/>
                          <a:pt x="3299" y="312123"/>
                          <a:pt x="2690" y="307655"/>
                        </a:cubicBezTo>
                        <a:cubicBezTo>
                          <a:pt x="1909" y="302007"/>
                          <a:pt x="6004" y="303950"/>
                          <a:pt x="10233" y="302264"/>
                        </a:cubicBezTo>
                        <a:cubicBezTo>
                          <a:pt x="7214" y="301598"/>
                          <a:pt x="946" y="297235"/>
                          <a:pt x="261" y="294387"/>
                        </a:cubicBezTo>
                        <a:cubicBezTo>
                          <a:pt x="-1359" y="287710"/>
                          <a:pt x="4899" y="289072"/>
                          <a:pt x="9786" y="289425"/>
                        </a:cubicBezTo>
                        <a:cubicBezTo>
                          <a:pt x="21435" y="290263"/>
                          <a:pt x="30083" y="294406"/>
                          <a:pt x="41990" y="290158"/>
                        </a:cubicBezTo>
                        <a:cubicBezTo>
                          <a:pt x="38675" y="289244"/>
                          <a:pt x="34779" y="290758"/>
                          <a:pt x="31188" y="290720"/>
                        </a:cubicBezTo>
                        <a:cubicBezTo>
                          <a:pt x="26483" y="290672"/>
                          <a:pt x="22130" y="289234"/>
                          <a:pt x="17491" y="288539"/>
                        </a:cubicBezTo>
                        <a:cubicBezTo>
                          <a:pt x="10481" y="287501"/>
                          <a:pt x="-1254" y="287405"/>
                          <a:pt x="7690" y="280595"/>
                        </a:cubicBezTo>
                        <a:cubicBezTo>
                          <a:pt x="7252" y="280928"/>
                          <a:pt x="10157" y="280585"/>
                          <a:pt x="10510" y="280395"/>
                        </a:cubicBezTo>
                        <a:cubicBezTo>
                          <a:pt x="11643" y="279776"/>
                          <a:pt x="12253" y="278004"/>
                          <a:pt x="13148" y="277385"/>
                        </a:cubicBezTo>
                        <a:cubicBezTo>
                          <a:pt x="15529" y="275747"/>
                          <a:pt x="18682" y="273023"/>
                          <a:pt x="22130" y="272956"/>
                        </a:cubicBezTo>
                        <a:cubicBezTo>
                          <a:pt x="24645" y="272908"/>
                          <a:pt x="26740" y="274756"/>
                          <a:pt x="29598" y="274861"/>
                        </a:cubicBezTo>
                        <a:cubicBezTo>
                          <a:pt x="32941" y="274985"/>
                          <a:pt x="37684" y="273766"/>
                          <a:pt x="40123" y="271308"/>
                        </a:cubicBezTo>
                        <a:cubicBezTo>
                          <a:pt x="37504" y="271518"/>
                          <a:pt x="27683" y="274547"/>
                          <a:pt x="26940" y="271956"/>
                        </a:cubicBezTo>
                        <a:cubicBezTo>
                          <a:pt x="26178" y="269336"/>
                          <a:pt x="33322" y="267193"/>
                          <a:pt x="34608" y="266793"/>
                        </a:cubicBezTo>
                        <a:cubicBezTo>
                          <a:pt x="43123" y="264088"/>
                          <a:pt x="56382" y="271880"/>
                          <a:pt x="62897" y="267593"/>
                        </a:cubicBezTo>
                        <a:cubicBezTo>
                          <a:pt x="51677" y="267450"/>
                          <a:pt x="68888" y="263145"/>
                          <a:pt x="71917" y="262983"/>
                        </a:cubicBezTo>
                        <a:cubicBezTo>
                          <a:pt x="68698" y="260535"/>
                          <a:pt x="63945" y="263021"/>
                          <a:pt x="59925" y="263136"/>
                        </a:cubicBezTo>
                        <a:cubicBezTo>
                          <a:pt x="56630" y="263221"/>
                          <a:pt x="53934" y="262297"/>
                          <a:pt x="50753" y="262345"/>
                        </a:cubicBezTo>
                        <a:cubicBezTo>
                          <a:pt x="45695" y="262421"/>
                          <a:pt x="34675" y="264860"/>
                          <a:pt x="44971" y="256944"/>
                        </a:cubicBezTo>
                        <a:cubicBezTo>
                          <a:pt x="49076" y="253792"/>
                          <a:pt x="58468" y="251639"/>
                          <a:pt x="63650" y="251191"/>
                        </a:cubicBezTo>
                        <a:cubicBezTo>
                          <a:pt x="71279" y="250534"/>
                          <a:pt x="77051" y="255963"/>
                          <a:pt x="83795" y="259383"/>
                        </a:cubicBezTo>
                        <a:cubicBezTo>
                          <a:pt x="81928" y="256097"/>
                          <a:pt x="72879" y="253134"/>
                          <a:pt x="72479" y="249448"/>
                        </a:cubicBezTo>
                        <a:cubicBezTo>
                          <a:pt x="71755" y="242666"/>
                          <a:pt x="82728" y="247457"/>
                          <a:pt x="83014" y="242971"/>
                        </a:cubicBezTo>
                        <a:cubicBezTo>
                          <a:pt x="83252" y="239114"/>
                          <a:pt x="74803" y="243057"/>
                          <a:pt x="77204" y="237685"/>
                        </a:cubicBezTo>
                        <a:cubicBezTo>
                          <a:pt x="78823" y="234056"/>
                          <a:pt x="90224" y="233437"/>
                          <a:pt x="92806" y="235589"/>
                        </a:cubicBezTo>
                        <a:cubicBezTo>
                          <a:pt x="93482" y="236161"/>
                          <a:pt x="95044" y="239476"/>
                          <a:pt x="92710" y="238780"/>
                        </a:cubicBezTo>
                        <a:cubicBezTo>
                          <a:pt x="95949" y="239742"/>
                          <a:pt x="92815" y="238733"/>
                          <a:pt x="97273" y="237485"/>
                        </a:cubicBezTo>
                        <a:cubicBezTo>
                          <a:pt x="103426" y="235770"/>
                          <a:pt x="104588" y="234380"/>
                          <a:pt x="109893" y="238028"/>
                        </a:cubicBezTo>
                        <a:cubicBezTo>
                          <a:pt x="110532" y="238466"/>
                          <a:pt x="112665" y="240666"/>
                          <a:pt x="112961" y="240780"/>
                        </a:cubicBezTo>
                        <a:cubicBezTo>
                          <a:pt x="115818" y="241790"/>
                          <a:pt x="113322" y="240495"/>
                          <a:pt x="116371" y="240742"/>
                        </a:cubicBezTo>
                        <a:cubicBezTo>
                          <a:pt x="120590" y="241085"/>
                          <a:pt x="126848" y="240628"/>
                          <a:pt x="131182" y="240009"/>
                        </a:cubicBezTo>
                        <a:cubicBezTo>
                          <a:pt x="124238" y="233942"/>
                          <a:pt x="140250" y="230694"/>
                          <a:pt x="144126" y="229189"/>
                        </a:cubicBezTo>
                        <a:cubicBezTo>
                          <a:pt x="142412" y="227674"/>
                          <a:pt x="141907" y="226693"/>
                          <a:pt x="139440" y="226217"/>
                        </a:cubicBezTo>
                        <a:cubicBezTo>
                          <a:pt x="141393" y="224978"/>
                          <a:pt x="143431" y="223883"/>
                          <a:pt x="145545" y="222940"/>
                        </a:cubicBezTo>
                        <a:cubicBezTo>
                          <a:pt x="141774" y="219949"/>
                          <a:pt x="136849" y="223197"/>
                          <a:pt x="133458" y="225521"/>
                        </a:cubicBezTo>
                        <a:cubicBezTo>
                          <a:pt x="134820" y="226007"/>
                          <a:pt x="135468" y="227322"/>
                          <a:pt x="136678" y="227912"/>
                        </a:cubicBezTo>
                        <a:cubicBezTo>
                          <a:pt x="133325" y="232008"/>
                          <a:pt x="117685" y="240647"/>
                          <a:pt x="111989" y="238094"/>
                        </a:cubicBezTo>
                        <a:cubicBezTo>
                          <a:pt x="111170" y="237723"/>
                          <a:pt x="110779" y="235685"/>
                          <a:pt x="109655" y="235123"/>
                        </a:cubicBezTo>
                        <a:cubicBezTo>
                          <a:pt x="109836" y="235208"/>
                          <a:pt x="104417" y="231732"/>
                          <a:pt x="105102" y="232732"/>
                        </a:cubicBezTo>
                        <a:cubicBezTo>
                          <a:pt x="103654" y="230627"/>
                          <a:pt x="104188" y="230446"/>
                          <a:pt x="107102" y="226874"/>
                        </a:cubicBezTo>
                        <a:cubicBezTo>
                          <a:pt x="111570" y="221416"/>
                          <a:pt x="118618" y="214082"/>
                          <a:pt x="124667" y="209691"/>
                        </a:cubicBezTo>
                        <a:cubicBezTo>
                          <a:pt x="130925" y="205147"/>
                          <a:pt x="142250" y="203338"/>
                          <a:pt x="147165" y="197404"/>
                        </a:cubicBezTo>
                        <a:cubicBezTo>
                          <a:pt x="144641" y="197480"/>
                          <a:pt x="142221" y="198394"/>
                          <a:pt x="139792" y="199271"/>
                        </a:cubicBezTo>
                        <a:cubicBezTo>
                          <a:pt x="138687" y="192660"/>
                          <a:pt x="152270" y="186488"/>
                          <a:pt x="157404" y="186136"/>
                        </a:cubicBezTo>
                        <a:cubicBezTo>
                          <a:pt x="160262" y="185936"/>
                          <a:pt x="160995" y="189012"/>
                          <a:pt x="164777" y="188536"/>
                        </a:cubicBezTo>
                        <a:cubicBezTo>
                          <a:pt x="168272" y="188098"/>
                          <a:pt x="172206" y="183554"/>
                          <a:pt x="174282" y="180859"/>
                        </a:cubicBezTo>
                        <a:cubicBezTo>
                          <a:pt x="169015" y="183278"/>
                          <a:pt x="158109" y="189193"/>
                          <a:pt x="156509" y="180135"/>
                        </a:cubicBezTo>
                        <a:cubicBezTo>
                          <a:pt x="155137" y="172467"/>
                          <a:pt x="169463" y="161485"/>
                          <a:pt x="174902" y="161428"/>
                        </a:cubicBezTo>
                        <a:cubicBezTo>
                          <a:pt x="173368" y="159199"/>
                          <a:pt x="170720" y="158380"/>
                          <a:pt x="168910" y="156884"/>
                        </a:cubicBezTo>
                        <a:cubicBezTo>
                          <a:pt x="177559" y="155170"/>
                          <a:pt x="188675" y="155722"/>
                          <a:pt x="195885" y="150674"/>
                        </a:cubicBezTo>
                        <a:cubicBezTo>
                          <a:pt x="191828" y="149188"/>
                          <a:pt x="186151" y="152188"/>
                          <a:pt x="181721" y="152350"/>
                        </a:cubicBezTo>
                        <a:cubicBezTo>
                          <a:pt x="176578" y="152531"/>
                          <a:pt x="177121" y="153865"/>
                          <a:pt x="175016" y="149636"/>
                        </a:cubicBezTo>
                        <a:cubicBezTo>
                          <a:pt x="173568" y="146750"/>
                          <a:pt x="173625" y="143654"/>
                          <a:pt x="176473" y="143130"/>
                        </a:cubicBezTo>
                        <a:cubicBezTo>
                          <a:pt x="175216" y="135424"/>
                          <a:pt x="187741" y="135891"/>
                          <a:pt x="192485" y="135024"/>
                        </a:cubicBezTo>
                        <a:cubicBezTo>
                          <a:pt x="189932" y="134129"/>
                          <a:pt x="187055" y="133643"/>
                          <a:pt x="185341" y="131472"/>
                        </a:cubicBezTo>
                        <a:cubicBezTo>
                          <a:pt x="191123" y="129614"/>
                          <a:pt x="193523" y="124823"/>
                          <a:pt x="199524" y="123537"/>
                        </a:cubicBezTo>
                        <a:cubicBezTo>
                          <a:pt x="206677" y="122013"/>
                          <a:pt x="215316" y="122299"/>
                          <a:pt x="222860" y="122166"/>
                        </a:cubicBezTo>
                        <a:cubicBezTo>
                          <a:pt x="222946" y="121699"/>
                          <a:pt x="223031" y="121242"/>
                          <a:pt x="223108" y="120775"/>
                        </a:cubicBezTo>
                        <a:cubicBezTo>
                          <a:pt x="217412" y="120042"/>
                          <a:pt x="211354" y="121061"/>
                          <a:pt x="205753" y="120108"/>
                        </a:cubicBezTo>
                        <a:cubicBezTo>
                          <a:pt x="200819" y="119260"/>
                          <a:pt x="200867" y="120604"/>
                          <a:pt x="204334" y="115917"/>
                        </a:cubicBezTo>
                        <a:cubicBezTo>
                          <a:pt x="210601" y="107421"/>
                          <a:pt x="220355" y="111802"/>
                          <a:pt x="226194" y="117575"/>
                        </a:cubicBezTo>
                        <a:cubicBezTo>
                          <a:pt x="225032" y="115346"/>
                          <a:pt x="225537" y="113536"/>
                          <a:pt x="227622" y="112126"/>
                        </a:cubicBezTo>
                        <a:cubicBezTo>
                          <a:pt x="225279" y="112145"/>
                          <a:pt x="211478" y="109945"/>
                          <a:pt x="219269" y="105421"/>
                        </a:cubicBezTo>
                        <a:cubicBezTo>
                          <a:pt x="216516" y="103735"/>
                          <a:pt x="211392" y="108250"/>
                          <a:pt x="207220" y="107297"/>
                        </a:cubicBezTo>
                        <a:cubicBezTo>
                          <a:pt x="205753" y="94381"/>
                          <a:pt x="218279" y="101515"/>
                          <a:pt x="224394" y="98686"/>
                        </a:cubicBezTo>
                        <a:cubicBezTo>
                          <a:pt x="220984" y="94181"/>
                          <a:pt x="212049" y="96343"/>
                          <a:pt x="224841" y="91800"/>
                        </a:cubicBezTo>
                        <a:cubicBezTo>
                          <a:pt x="236862" y="87533"/>
                          <a:pt x="230785" y="97363"/>
                          <a:pt x="239643" y="100782"/>
                        </a:cubicBezTo>
                        <a:cubicBezTo>
                          <a:pt x="237576" y="98277"/>
                          <a:pt x="238281" y="95839"/>
                          <a:pt x="240500" y="94162"/>
                        </a:cubicBezTo>
                        <a:cubicBezTo>
                          <a:pt x="230728" y="91924"/>
                          <a:pt x="237004" y="84209"/>
                          <a:pt x="244501" y="84380"/>
                        </a:cubicBezTo>
                        <a:cubicBezTo>
                          <a:pt x="251511" y="84542"/>
                          <a:pt x="257731" y="85971"/>
                          <a:pt x="264408" y="82961"/>
                        </a:cubicBezTo>
                        <a:cubicBezTo>
                          <a:pt x="259502" y="80437"/>
                          <a:pt x="245091" y="86104"/>
                          <a:pt x="242053" y="81789"/>
                        </a:cubicBezTo>
                        <a:cubicBezTo>
                          <a:pt x="238605" y="76865"/>
                          <a:pt x="257245" y="74112"/>
                          <a:pt x="259855" y="70626"/>
                        </a:cubicBezTo>
                        <a:cubicBezTo>
                          <a:pt x="262608" y="66921"/>
                          <a:pt x="261312" y="64273"/>
                          <a:pt x="266199" y="61996"/>
                        </a:cubicBezTo>
                        <a:cubicBezTo>
                          <a:pt x="268399" y="60968"/>
                          <a:pt x="271371" y="61720"/>
                          <a:pt x="272761" y="59844"/>
                        </a:cubicBezTo>
                        <a:cubicBezTo>
                          <a:pt x="272733" y="59882"/>
                          <a:pt x="270952" y="56157"/>
                          <a:pt x="271276" y="55310"/>
                        </a:cubicBezTo>
                        <a:cubicBezTo>
                          <a:pt x="275104" y="45232"/>
                          <a:pt x="281315" y="58539"/>
                          <a:pt x="289049" y="54986"/>
                        </a:cubicBezTo>
                        <a:cubicBezTo>
                          <a:pt x="284715" y="53757"/>
                          <a:pt x="281286" y="52471"/>
                          <a:pt x="283496" y="49195"/>
                        </a:cubicBezTo>
                        <a:cubicBezTo>
                          <a:pt x="283753" y="48814"/>
                          <a:pt x="287554" y="49099"/>
                          <a:pt x="288478" y="48480"/>
                        </a:cubicBezTo>
                        <a:cubicBezTo>
                          <a:pt x="289897" y="47537"/>
                          <a:pt x="289011" y="45956"/>
                          <a:pt x="289868" y="45327"/>
                        </a:cubicBezTo>
                        <a:cubicBezTo>
                          <a:pt x="292621" y="43327"/>
                          <a:pt x="297984" y="38079"/>
                          <a:pt x="302356" y="40346"/>
                        </a:cubicBezTo>
                        <a:cubicBezTo>
                          <a:pt x="305994" y="42222"/>
                          <a:pt x="303346" y="48309"/>
                          <a:pt x="304080" y="52214"/>
                        </a:cubicBezTo>
                        <a:cubicBezTo>
                          <a:pt x="306042" y="49671"/>
                          <a:pt x="308690" y="32726"/>
                          <a:pt x="315862" y="35793"/>
                        </a:cubicBezTo>
                        <a:cubicBezTo>
                          <a:pt x="322949" y="38822"/>
                          <a:pt x="313681" y="52347"/>
                          <a:pt x="313328" y="55091"/>
                        </a:cubicBezTo>
                        <a:cubicBezTo>
                          <a:pt x="318996" y="53586"/>
                          <a:pt x="319986" y="46099"/>
                          <a:pt x="326930" y="49166"/>
                        </a:cubicBezTo>
                        <a:cubicBezTo>
                          <a:pt x="324615" y="46928"/>
                          <a:pt x="319453" y="43880"/>
                          <a:pt x="321129" y="39393"/>
                        </a:cubicBezTo>
                        <a:cubicBezTo>
                          <a:pt x="323082" y="34155"/>
                          <a:pt x="327616" y="38631"/>
                          <a:pt x="331169" y="37603"/>
                        </a:cubicBezTo>
                        <a:cubicBezTo>
                          <a:pt x="335512" y="36336"/>
                          <a:pt x="334521" y="33526"/>
                          <a:pt x="339922" y="34250"/>
                        </a:cubicBezTo>
                        <a:cubicBezTo>
                          <a:pt x="343818" y="34783"/>
                          <a:pt x="347799" y="39460"/>
                          <a:pt x="351419" y="39270"/>
                        </a:cubicBezTo>
                        <a:cubicBezTo>
                          <a:pt x="349771" y="34688"/>
                          <a:pt x="347980" y="33631"/>
                          <a:pt x="344313" y="31469"/>
                        </a:cubicBezTo>
                        <a:cubicBezTo>
                          <a:pt x="342770" y="30564"/>
                          <a:pt x="336322" y="29716"/>
                          <a:pt x="336036" y="27497"/>
                        </a:cubicBezTo>
                        <a:cubicBezTo>
                          <a:pt x="335922" y="26706"/>
                          <a:pt x="351228" y="25001"/>
                          <a:pt x="353857" y="24315"/>
                        </a:cubicBezTo>
                        <a:cubicBezTo>
                          <a:pt x="354848" y="24058"/>
                          <a:pt x="355829" y="25763"/>
                          <a:pt x="357229" y="25411"/>
                        </a:cubicBezTo>
                        <a:cubicBezTo>
                          <a:pt x="358439" y="25106"/>
                          <a:pt x="357096" y="23477"/>
                          <a:pt x="358791" y="23239"/>
                        </a:cubicBezTo>
                        <a:cubicBezTo>
                          <a:pt x="362239" y="22753"/>
                          <a:pt x="364859" y="21801"/>
                          <a:pt x="368050" y="23887"/>
                        </a:cubicBezTo>
                        <a:cubicBezTo>
                          <a:pt x="371031" y="25839"/>
                          <a:pt x="375270" y="38193"/>
                          <a:pt x="380489" y="33431"/>
                        </a:cubicBezTo>
                        <a:cubicBezTo>
                          <a:pt x="373393" y="30707"/>
                          <a:pt x="380899" y="23210"/>
                          <a:pt x="384261" y="21134"/>
                        </a:cubicBezTo>
                        <a:cubicBezTo>
                          <a:pt x="387328" y="19238"/>
                          <a:pt x="389871" y="18800"/>
                          <a:pt x="392414" y="16933"/>
                        </a:cubicBezTo>
                        <a:cubicBezTo>
                          <a:pt x="394834" y="15143"/>
                          <a:pt x="394653" y="12657"/>
                          <a:pt x="397730" y="11942"/>
                        </a:cubicBezTo>
                        <a:cubicBezTo>
                          <a:pt x="392786" y="9256"/>
                          <a:pt x="393938" y="4789"/>
                          <a:pt x="400311" y="2970"/>
                        </a:cubicBezTo>
                        <a:cubicBezTo>
                          <a:pt x="405587" y="1455"/>
                          <a:pt x="409379" y="6923"/>
                          <a:pt x="414503" y="7485"/>
                        </a:cubicBezTo>
                        <a:cubicBezTo>
                          <a:pt x="417294" y="7789"/>
                          <a:pt x="418837" y="3570"/>
                          <a:pt x="423028" y="6599"/>
                        </a:cubicBezTo>
                        <a:cubicBezTo>
                          <a:pt x="427190" y="9609"/>
                          <a:pt x="421028" y="10590"/>
                          <a:pt x="418246" y="14762"/>
                        </a:cubicBezTo>
                        <a:cubicBezTo>
                          <a:pt x="416760" y="17010"/>
                          <a:pt x="411931" y="27011"/>
                          <a:pt x="413074" y="28925"/>
                        </a:cubicBezTo>
                        <a:cubicBezTo>
                          <a:pt x="416789" y="35155"/>
                          <a:pt x="421932" y="24115"/>
                          <a:pt x="423533" y="21915"/>
                        </a:cubicBezTo>
                        <a:cubicBezTo>
                          <a:pt x="426543" y="17772"/>
                          <a:pt x="432029" y="12238"/>
                          <a:pt x="435906" y="8761"/>
                        </a:cubicBezTo>
                        <a:cubicBezTo>
                          <a:pt x="438287" y="6627"/>
                          <a:pt x="441478" y="3065"/>
                          <a:pt x="444116" y="5799"/>
                        </a:cubicBezTo>
                        <a:cubicBezTo>
                          <a:pt x="446212" y="7980"/>
                          <a:pt x="444792" y="11247"/>
                          <a:pt x="442764" y="12971"/>
                        </a:cubicBezTo>
                        <a:cubicBezTo>
                          <a:pt x="446012" y="14371"/>
                          <a:pt x="444716" y="18038"/>
                          <a:pt x="445107" y="21124"/>
                        </a:cubicBezTo>
                        <a:cubicBezTo>
                          <a:pt x="450346" y="19753"/>
                          <a:pt x="451450" y="18153"/>
                          <a:pt x="454222" y="14305"/>
                        </a:cubicBezTo>
                        <a:cubicBezTo>
                          <a:pt x="456794" y="10742"/>
                          <a:pt x="456261" y="7294"/>
                          <a:pt x="462509" y="8713"/>
                        </a:cubicBezTo>
                        <a:cubicBezTo>
                          <a:pt x="460909" y="6827"/>
                          <a:pt x="457165" y="6218"/>
                          <a:pt x="454994" y="4199"/>
                        </a:cubicBezTo>
                        <a:cubicBezTo>
                          <a:pt x="460128" y="-764"/>
                          <a:pt x="467405" y="-869"/>
                          <a:pt x="474120" y="1512"/>
                        </a:cubicBezTo>
                        <a:cubicBezTo>
                          <a:pt x="486407" y="5894"/>
                          <a:pt x="474244" y="8542"/>
                          <a:pt x="470758" y="12685"/>
                        </a:cubicBezTo>
                        <a:lnTo>
                          <a:pt x="470758" y="12685"/>
                        </a:lnTo>
                        <a:close/>
                      </a:path>
                    </a:pathLst>
                  </a:custGeom>
                  <a:solidFill>
                    <a:srgbClr val="D6D6D2"/>
                  </a:solidFill>
                  <a:ln w="9525" cap="flat">
                    <a:noFill/>
                    <a:prstDash val="solid"/>
                    <a:miter/>
                  </a:ln>
                </p:spPr>
                <p:txBody>
                  <a:bodyPr rtlCol="0" anchor="ctr"/>
                  <a:lstStyle/>
                  <a:p>
                    <a:endParaRPr lang="en-US"/>
                  </a:p>
                </p:txBody>
              </p:sp>
              <p:sp>
                <p:nvSpPr>
                  <p:cNvPr id="704" name="Freeform: Shape 703">
                    <a:extLst>
                      <a:ext uri="{FF2B5EF4-FFF2-40B4-BE49-F238E27FC236}">
                        <a16:creationId xmlns:a16="http://schemas.microsoft.com/office/drawing/2014/main" id="{8EA5A0C2-DA4B-41FA-A478-AFE53080EEC1}"/>
                      </a:ext>
                    </a:extLst>
                  </p:cNvPr>
                  <p:cNvSpPr/>
                  <p:nvPr/>
                </p:nvSpPr>
                <p:spPr>
                  <a:xfrm>
                    <a:off x="5975812" y="1889031"/>
                    <a:ext cx="93135" cy="42049"/>
                  </a:xfrm>
                  <a:custGeom>
                    <a:avLst/>
                    <a:gdLst>
                      <a:gd name="connsiteX0" fmla="*/ 25394 w 93135"/>
                      <a:gd name="connsiteY0" fmla="*/ 98 h 42049"/>
                      <a:gd name="connsiteX1" fmla="*/ 34357 w 93135"/>
                      <a:gd name="connsiteY1" fmla="*/ 1517 h 42049"/>
                      <a:gd name="connsiteX2" fmla="*/ 41367 w 93135"/>
                      <a:gd name="connsiteY2" fmla="*/ 11776 h 42049"/>
                      <a:gd name="connsiteX3" fmla="*/ 52950 w 93135"/>
                      <a:gd name="connsiteY3" fmla="*/ 10975 h 42049"/>
                      <a:gd name="connsiteX4" fmla="*/ 62989 w 93135"/>
                      <a:gd name="connsiteY4" fmla="*/ 14157 h 42049"/>
                      <a:gd name="connsiteX5" fmla="*/ 69637 w 93135"/>
                      <a:gd name="connsiteY5" fmla="*/ 22834 h 42049"/>
                      <a:gd name="connsiteX6" fmla="*/ 80610 w 93135"/>
                      <a:gd name="connsiteY6" fmla="*/ 22377 h 42049"/>
                      <a:gd name="connsiteX7" fmla="*/ 93136 w 93135"/>
                      <a:gd name="connsiteY7" fmla="*/ 26530 h 42049"/>
                      <a:gd name="connsiteX8" fmla="*/ 79038 w 93135"/>
                      <a:gd name="connsiteY8" fmla="*/ 29625 h 42049"/>
                      <a:gd name="connsiteX9" fmla="*/ 70742 w 93135"/>
                      <a:gd name="connsiteY9" fmla="*/ 36760 h 42049"/>
                      <a:gd name="connsiteX10" fmla="*/ 59684 w 93135"/>
                      <a:gd name="connsiteY10" fmla="*/ 38807 h 42049"/>
                      <a:gd name="connsiteX11" fmla="*/ 48559 w 93135"/>
                      <a:gd name="connsiteY11" fmla="*/ 40417 h 42049"/>
                      <a:gd name="connsiteX12" fmla="*/ 48168 w 93135"/>
                      <a:gd name="connsiteY12" fmla="*/ 36845 h 42049"/>
                      <a:gd name="connsiteX13" fmla="*/ 53064 w 93135"/>
                      <a:gd name="connsiteY13" fmla="*/ 33378 h 42049"/>
                      <a:gd name="connsiteX14" fmla="*/ 17307 w 93135"/>
                      <a:gd name="connsiteY14" fmla="*/ 32559 h 42049"/>
                      <a:gd name="connsiteX15" fmla="*/ 30166 w 93135"/>
                      <a:gd name="connsiteY15" fmla="*/ 21272 h 42049"/>
                      <a:gd name="connsiteX16" fmla="*/ 16240 w 93135"/>
                      <a:gd name="connsiteY16" fmla="*/ 15900 h 42049"/>
                      <a:gd name="connsiteX17" fmla="*/ 6601 w 93135"/>
                      <a:gd name="connsiteY17" fmla="*/ 5651 h 42049"/>
                      <a:gd name="connsiteX18" fmla="*/ 0 w 93135"/>
                      <a:gd name="connsiteY18" fmla="*/ 3813 h 42049"/>
                      <a:gd name="connsiteX19" fmla="*/ 25394 w 93135"/>
                      <a:gd name="connsiteY19" fmla="*/ 98 h 42049"/>
                      <a:gd name="connsiteX20" fmla="*/ 25394 w 93135"/>
                      <a:gd name="connsiteY20" fmla="*/ 98 h 42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135" h="42049">
                        <a:moveTo>
                          <a:pt x="25394" y="98"/>
                        </a:moveTo>
                        <a:cubicBezTo>
                          <a:pt x="28423" y="1079"/>
                          <a:pt x="31947" y="79"/>
                          <a:pt x="34357" y="1517"/>
                        </a:cubicBezTo>
                        <a:cubicBezTo>
                          <a:pt x="37919" y="3641"/>
                          <a:pt x="38148" y="10080"/>
                          <a:pt x="41367" y="11776"/>
                        </a:cubicBezTo>
                        <a:cubicBezTo>
                          <a:pt x="44415" y="13376"/>
                          <a:pt x="49587" y="10728"/>
                          <a:pt x="52950" y="10975"/>
                        </a:cubicBezTo>
                        <a:cubicBezTo>
                          <a:pt x="56512" y="11233"/>
                          <a:pt x="59865" y="12404"/>
                          <a:pt x="62989" y="14157"/>
                        </a:cubicBezTo>
                        <a:cubicBezTo>
                          <a:pt x="51130" y="16919"/>
                          <a:pt x="63541" y="21986"/>
                          <a:pt x="69637" y="22834"/>
                        </a:cubicBezTo>
                        <a:cubicBezTo>
                          <a:pt x="73409" y="23358"/>
                          <a:pt x="76972" y="21996"/>
                          <a:pt x="80610" y="22377"/>
                        </a:cubicBezTo>
                        <a:cubicBezTo>
                          <a:pt x="84677" y="22805"/>
                          <a:pt x="89316" y="25158"/>
                          <a:pt x="93136" y="26530"/>
                        </a:cubicBezTo>
                        <a:cubicBezTo>
                          <a:pt x="89021" y="27435"/>
                          <a:pt x="82591" y="27520"/>
                          <a:pt x="79038" y="29625"/>
                        </a:cubicBezTo>
                        <a:cubicBezTo>
                          <a:pt x="75790" y="31559"/>
                          <a:pt x="74533" y="35045"/>
                          <a:pt x="70742" y="36760"/>
                        </a:cubicBezTo>
                        <a:cubicBezTo>
                          <a:pt x="66961" y="38465"/>
                          <a:pt x="63503" y="37798"/>
                          <a:pt x="59684" y="38807"/>
                        </a:cubicBezTo>
                        <a:cubicBezTo>
                          <a:pt x="55531" y="39903"/>
                          <a:pt x="53731" y="44437"/>
                          <a:pt x="48559" y="40417"/>
                        </a:cubicBezTo>
                        <a:cubicBezTo>
                          <a:pt x="48454" y="39160"/>
                          <a:pt x="48711" y="38903"/>
                          <a:pt x="48168" y="36845"/>
                        </a:cubicBezTo>
                        <a:cubicBezTo>
                          <a:pt x="50416" y="36169"/>
                          <a:pt x="51454" y="34464"/>
                          <a:pt x="53064" y="33378"/>
                        </a:cubicBezTo>
                        <a:cubicBezTo>
                          <a:pt x="45806" y="31540"/>
                          <a:pt x="19279" y="41894"/>
                          <a:pt x="17307" y="32559"/>
                        </a:cubicBezTo>
                        <a:cubicBezTo>
                          <a:pt x="24098" y="31797"/>
                          <a:pt x="25041" y="25368"/>
                          <a:pt x="30166" y="21272"/>
                        </a:cubicBezTo>
                        <a:cubicBezTo>
                          <a:pt x="25413" y="19891"/>
                          <a:pt x="20231" y="18976"/>
                          <a:pt x="16240" y="15900"/>
                        </a:cubicBezTo>
                        <a:cubicBezTo>
                          <a:pt x="13221" y="13566"/>
                          <a:pt x="6096" y="8956"/>
                          <a:pt x="6601" y="5651"/>
                        </a:cubicBezTo>
                        <a:cubicBezTo>
                          <a:pt x="4067" y="6241"/>
                          <a:pt x="1877" y="5632"/>
                          <a:pt x="0" y="3813"/>
                        </a:cubicBezTo>
                        <a:cubicBezTo>
                          <a:pt x="5553" y="603"/>
                          <a:pt x="18812" y="-331"/>
                          <a:pt x="25394" y="98"/>
                        </a:cubicBezTo>
                        <a:lnTo>
                          <a:pt x="25394" y="98"/>
                        </a:lnTo>
                        <a:close/>
                      </a:path>
                    </a:pathLst>
                  </a:custGeom>
                  <a:solidFill>
                    <a:srgbClr val="D6D6D2"/>
                  </a:solidFill>
                  <a:ln w="9525" cap="flat">
                    <a:noFill/>
                    <a:prstDash val="solid"/>
                    <a:miter/>
                  </a:ln>
                </p:spPr>
                <p:txBody>
                  <a:bodyPr rtlCol="0" anchor="ctr"/>
                  <a:lstStyle/>
                  <a:p>
                    <a:endParaRPr lang="en-US"/>
                  </a:p>
                </p:txBody>
              </p:sp>
              <p:sp>
                <p:nvSpPr>
                  <p:cNvPr id="705" name="Freeform: Shape 704">
                    <a:extLst>
                      <a:ext uri="{FF2B5EF4-FFF2-40B4-BE49-F238E27FC236}">
                        <a16:creationId xmlns:a16="http://schemas.microsoft.com/office/drawing/2014/main" id="{A69EF0C0-1B4E-4EDC-8E45-C197E0340171}"/>
                      </a:ext>
                    </a:extLst>
                  </p:cNvPr>
                  <p:cNvSpPr/>
                  <p:nvPr/>
                </p:nvSpPr>
                <p:spPr>
                  <a:xfrm>
                    <a:off x="5791913" y="1843299"/>
                    <a:ext cx="204320" cy="109318"/>
                  </a:xfrm>
                  <a:custGeom>
                    <a:avLst/>
                    <a:gdLst>
                      <a:gd name="connsiteX0" fmla="*/ 112395 w 204320"/>
                      <a:gd name="connsiteY0" fmla="*/ 4529 h 109318"/>
                      <a:gd name="connsiteX1" fmla="*/ 129264 w 204320"/>
                      <a:gd name="connsiteY1" fmla="*/ 6091 h 109318"/>
                      <a:gd name="connsiteX2" fmla="*/ 134321 w 204320"/>
                      <a:gd name="connsiteY2" fmla="*/ 10130 h 109318"/>
                      <a:gd name="connsiteX3" fmla="*/ 132540 w 204320"/>
                      <a:gd name="connsiteY3" fmla="*/ 14121 h 109318"/>
                      <a:gd name="connsiteX4" fmla="*/ 131207 w 204320"/>
                      <a:gd name="connsiteY4" fmla="*/ 20941 h 109318"/>
                      <a:gd name="connsiteX5" fmla="*/ 148209 w 204320"/>
                      <a:gd name="connsiteY5" fmla="*/ 15778 h 109318"/>
                      <a:gd name="connsiteX6" fmla="*/ 150657 w 204320"/>
                      <a:gd name="connsiteY6" fmla="*/ 24856 h 109318"/>
                      <a:gd name="connsiteX7" fmla="*/ 159267 w 204320"/>
                      <a:gd name="connsiteY7" fmla="*/ 28123 h 109318"/>
                      <a:gd name="connsiteX8" fmla="*/ 172136 w 204320"/>
                      <a:gd name="connsiteY8" fmla="*/ 29218 h 109318"/>
                      <a:gd name="connsiteX9" fmla="*/ 177451 w 204320"/>
                      <a:gd name="connsiteY9" fmla="*/ 30856 h 109318"/>
                      <a:gd name="connsiteX10" fmla="*/ 178641 w 204320"/>
                      <a:gd name="connsiteY10" fmla="*/ 28847 h 109318"/>
                      <a:gd name="connsiteX11" fmla="*/ 190833 w 204320"/>
                      <a:gd name="connsiteY11" fmla="*/ 31247 h 109318"/>
                      <a:gd name="connsiteX12" fmla="*/ 186271 w 204320"/>
                      <a:gd name="connsiteY12" fmla="*/ 33695 h 109318"/>
                      <a:gd name="connsiteX13" fmla="*/ 204321 w 204320"/>
                      <a:gd name="connsiteY13" fmla="*/ 41286 h 109318"/>
                      <a:gd name="connsiteX14" fmla="*/ 175127 w 204320"/>
                      <a:gd name="connsiteY14" fmla="*/ 44944 h 109318"/>
                      <a:gd name="connsiteX15" fmla="*/ 161411 w 204320"/>
                      <a:gd name="connsiteY15" fmla="*/ 58888 h 109318"/>
                      <a:gd name="connsiteX16" fmla="*/ 161934 w 204320"/>
                      <a:gd name="connsiteY16" fmla="*/ 62346 h 109318"/>
                      <a:gd name="connsiteX17" fmla="*/ 156210 w 204320"/>
                      <a:gd name="connsiteY17" fmla="*/ 63222 h 109318"/>
                      <a:gd name="connsiteX18" fmla="*/ 152838 w 204320"/>
                      <a:gd name="connsiteY18" fmla="*/ 69880 h 109318"/>
                      <a:gd name="connsiteX19" fmla="*/ 149142 w 204320"/>
                      <a:gd name="connsiteY19" fmla="*/ 80177 h 109318"/>
                      <a:gd name="connsiteX20" fmla="*/ 143656 w 204320"/>
                      <a:gd name="connsiteY20" fmla="*/ 80472 h 109318"/>
                      <a:gd name="connsiteX21" fmla="*/ 138436 w 204320"/>
                      <a:gd name="connsiteY21" fmla="*/ 86330 h 109318"/>
                      <a:gd name="connsiteX22" fmla="*/ 133293 w 204320"/>
                      <a:gd name="connsiteY22" fmla="*/ 95712 h 109318"/>
                      <a:gd name="connsiteX23" fmla="*/ 132959 w 204320"/>
                      <a:gd name="connsiteY23" fmla="*/ 99398 h 109318"/>
                      <a:gd name="connsiteX24" fmla="*/ 130312 w 204320"/>
                      <a:gd name="connsiteY24" fmla="*/ 103075 h 109318"/>
                      <a:gd name="connsiteX25" fmla="*/ 125730 w 204320"/>
                      <a:gd name="connsiteY25" fmla="*/ 109314 h 109318"/>
                      <a:gd name="connsiteX26" fmla="*/ 113843 w 204320"/>
                      <a:gd name="connsiteY26" fmla="*/ 104313 h 109318"/>
                      <a:gd name="connsiteX27" fmla="*/ 88077 w 204320"/>
                      <a:gd name="connsiteY27" fmla="*/ 91835 h 109318"/>
                      <a:gd name="connsiteX28" fmla="*/ 70066 w 204320"/>
                      <a:gd name="connsiteY28" fmla="*/ 79520 h 109318"/>
                      <a:gd name="connsiteX29" fmla="*/ 80067 w 204320"/>
                      <a:gd name="connsiteY29" fmla="*/ 78653 h 109318"/>
                      <a:gd name="connsiteX30" fmla="*/ 85001 w 204320"/>
                      <a:gd name="connsiteY30" fmla="*/ 76976 h 109318"/>
                      <a:gd name="connsiteX31" fmla="*/ 89621 w 204320"/>
                      <a:gd name="connsiteY31" fmla="*/ 74071 h 109318"/>
                      <a:gd name="connsiteX32" fmla="*/ 126682 w 204320"/>
                      <a:gd name="connsiteY32" fmla="*/ 70976 h 109318"/>
                      <a:gd name="connsiteX33" fmla="*/ 107309 w 204320"/>
                      <a:gd name="connsiteY33" fmla="*/ 69423 h 109318"/>
                      <a:gd name="connsiteX34" fmla="*/ 81686 w 204320"/>
                      <a:gd name="connsiteY34" fmla="*/ 71861 h 109318"/>
                      <a:gd name="connsiteX35" fmla="*/ 62912 w 204320"/>
                      <a:gd name="connsiteY35" fmla="*/ 67147 h 109318"/>
                      <a:gd name="connsiteX36" fmla="*/ 73866 w 204320"/>
                      <a:gd name="connsiteY36" fmla="*/ 64451 h 109318"/>
                      <a:gd name="connsiteX37" fmla="*/ 72485 w 204320"/>
                      <a:gd name="connsiteY37" fmla="*/ 62365 h 109318"/>
                      <a:gd name="connsiteX38" fmla="*/ 99374 w 204320"/>
                      <a:gd name="connsiteY38" fmla="*/ 57441 h 109318"/>
                      <a:gd name="connsiteX39" fmla="*/ 126454 w 204320"/>
                      <a:gd name="connsiteY39" fmla="*/ 51468 h 109318"/>
                      <a:gd name="connsiteX40" fmla="*/ 112395 w 204320"/>
                      <a:gd name="connsiteY40" fmla="*/ 48744 h 109318"/>
                      <a:gd name="connsiteX41" fmla="*/ 117977 w 204320"/>
                      <a:gd name="connsiteY41" fmla="*/ 43705 h 109318"/>
                      <a:gd name="connsiteX42" fmla="*/ 101641 w 204320"/>
                      <a:gd name="connsiteY42" fmla="*/ 49259 h 109318"/>
                      <a:gd name="connsiteX43" fmla="*/ 91897 w 204320"/>
                      <a:gd name="connsiteY43" fmla="*/ 49249 h 109318"/>
                      <a:gd name="connsiteX44" fmla="*/ 90611 w 204320"/>
                      <a:gd name="connsiteY44" fmla="*/ 44153 h 109318"/>
                      <a:gd name="connsiteX45" fmla="*/ 89983 w 204320"/>
                      <a:gd name="connsiteY45" fmla="*/ 40000 h 109318"/>
                      <a:gd name="connsiteX46" fmla="*/ 84229 w 204320"/>
                      <a:gd name="connsiteY46" fmla="*/ 44687 h 109318"/>
                      <a:gd name="connsiteX47" fmla="*/ 74295 w 204320"/>
                      <a:gd name="connsiteY47" fmla="*/ 43334 h 109318"/>
                      <a:gd name="connsiteX48" fmla="*/ 78543 w 204320"/>
                      <a:gd name="connsiteY48" fmla="*/ 51545 h 109318"/>
                      <a:gd name="connsiteX49" fmla="*/ 61789 w 204320"/>
                      <a:gd name="connsiteY49" fmla="*/ 56707 h 109318"/>
                      <a:gd name="connsiteX50" fmla="*/ 45139 w 204320"/>
                      <a:gd name="connsiteY50" fmla="*/ 54012 h 109318"/>
                      <a:gd name="connsiteX51" fmla="*/ 30642 w 204320"/>
                      <a:gd name="connsiteY51" fmla="*/ 45534 h 109318"/>
                      <a:gd name="connsiteX52" fmla="*/ 24679 w 204320"/>
                      <a:gd name="connsiteY52" fmla="*/ 38400 h 109318"/>
                      <a:gd name="connsiteX53" fmla="*/ 15002 w 204320"/>
                      <a:gd name="connsiteY53" fmla="*/ 34666 h 109318"/>
                      <a:gd name="connsiteX54" fmla="*/ 34471 w 204320"/>
                      <a:gd name="connsiteY54" fmla="*/ 34581 h 109318"/>
                      <a:gd name="connsiteX55" fmla="*/ 27451 w 204320"/>
                      <a:gd name="connsiteY55" fmla="*/ 24684 h 109318"/>
                      <a:gd name="connsiteX56" fmla="*/ 17983 w 204320"/>
                      <a:gd name="connsiteY56" fmla="*/ 24179 h 109318"/>
                      <a:gd name="connsiteX57" fmla="*/ 11516 w 204320"/>
                      <a:gd name="connsiteY57" fmla="*/ 29027 h 109318"/>
                      <a:gd name="connsiteX58" fmla="*/ 5582 w 204320"/>
                      <a:gd name="connsiteY58" fmla="*/ 22084 h 109318"/>
                      <a:gd name="connsiteX59" fmla="*/ 1238 w 204320"/>
                      <a:gd name="connsiteY59" fmla="*/ 15607 h 109318"/>
                      <a:gd name="connsiteX60" fmla="*/ 0 w 204320"/>
                      <a:gd name="connsiteY60" fmla="*/ 9997 h 109318"/>
                      <a:gd name="connsiteX61" fmla="*/ 3143 w 204320"/>
                      <a:gd name="connsiteY61" fmla="*/ 8015 h 109318"/>
                      <a:gd name="connsiteX62" fmla="*/ 7658 w 204320"/>
                      <a:gd name="connsiteY62" fmla="*/ 9844 h 109318"/>
                      <a:gd name="connsiteX63" fmla="*/ 10315 w 204320"/>
                      <a:gd name="connsiteY63" fmla="*/ 8387 h 109318"/>
                      <a:gd name="connsiteX64" fmla="*/ 29785 w 204320"/>
                      <a:gd name="connsiteY64" fmla="*/ 10654 h 109318"/>
                      <a:gd name="connsiteX65" fmla="*/ 28232 w 204320"/>
                      <a:gd name="connsiteY65" fmla="*/ 7977 h 109318"/>
                      <a:gd name="connsiteX66" fmla="*/ 42472 w 204320"/>
                      <a:gd name="connsiteY66" fmla="*/ 7491 h 109318"/>
                      <a:gd name="connsiteX67" fmla="*/ 58474 w 204320"/>
                      <a:gd name="connsiteY67" fmla="*/ 7025 h 109318"/>
                      <a:gd name="connsiteX68" fmla="*/ 53121 w 204320"/>
                      <a:gd name="connsiteY68" fmla="*/ 10882 h 109318"/>
                      <a:gd name="connsiteX69" fmla="*/ 35242 w 204320"/>
                      <a:gd name="connsiteY69" fmla="*/ 15178 h 109318"/>
                      <a:gd name="connsiteX70" fmla="*/ 49711 w 204320"/>
                      <a:gd name="connsiteY70" fmla="*/ 15007 h 109318"/>
                      <a:gd name="connsiteX71" fmla="*/ 52702 w 204320"/>
                      <a:gd name="connsiteY71" fmla="*/ 18388 h 109318"/>
                      <a:gd name="connsiteX72" fmla="*/ 58550 w 204320"/>
                      <a:gd name="connsiteY72" fmla="*/ 20436 h 109318"/>
                      <a:gd name="connsiteX73" fmla="*/ 63132 w 204320"/>
                      <a:gd name="connsiteY73" fmla="*/ 19588 h 109318"/>
                      <a:gd name="connsiteX74" fmla="*/ 62636 w 204320"/>
                      <a:gd name="connsiteY74" fmla="*/ 15769 h 109318"/>
                      <a:gd name="connsiteX75" fmla="*/ 66094 w 204320"/>
                      <a:gd name="connsiteY75" fmla="*/ 12740 h 109318"/>
                      <a:gd name="connsiteX76" fmla="*/ 88277 w 204320"/>
                      <a:gd name="connsiteY76" fmla="*/ 18864 h 109318"/>
                      <a:gd name="connsiteX77" fmla="*/ 108318 w 204320"/>
                      <a:gd name="connsiteY77" fmla="*/ 33866 h 109318"/>
                      <a:gd name="connsiteX78" fmla="*/ 95726 w 204320"/>
                      <a:gd name="connsiteY78" fmla="*/ 10006 h 109318"/>
                      <a:gd name="connsiteX79" fmla="*/ 99184 w 204320"/>
                      <a:gd name="connsiteY79" fmla="*/ 5644 h 109318"/>
                      <a:gd name="connsiteX80" fmla="*/ 99136 w 204320"/>
                      <a:gd name="connsiteY80" fmla="*/ 1386 h 109318"/>
                      <a:gd name="connsiteX81" fmla="*/ 112395 w 204320"/>
                      <a:gd name="connsiteY81" fmla="*/ 4529 h 109318"/>
                      <a:gd name="connsiteX82" fmla="*/ 112395 w 204320"/>
                      <a:gd name="connsiteY82" fmla="*/ 4529 h 109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04320" h="109318">
                        <a:moveTo>
                          <a:pt x="112395" y="4529"/>
                        </a:moveTo>
                        <a:cubicBezTo>
                          <a:pt x="117034" y="2215"/>
                          <a:pt x="124168" y="3386"/>
                          <a:pt x="129264" y="6091"/>
                        </a:cubicBezTo>
                        <a:cubicBezTo>
                          <a:pt x="130635" y="6815"/>
                          <a:pt x="133883" y="8396"/>
                          <a:pt x="134321" y="10130"/>
                        </a:cubicBezTo>
                        <a:cubicBezTo>
                          <a:pt x="134893" y="12368"/>
                          <a:pt x="132788" y="12073"/>
                          <a:pt x="132540" y="14121"/>
                        </a:cubicBezTo>
                        <a:cubicBezTo>
                          <a:pt x="132302" y="16140"/>
                          <a:pt x="131874" y="18464"/>
                          <a:pt x="131207" y="20941"/>
                        </a:cubicBezTo>
                        <a:cubicBezTo>
                          <a:pt x="137979" y="18283"/>
                          <a:pt x="140741" y="11282"/>
                          <a:pt x="148209" y="15778"/>
                        </a:cubicBezTo>
                        <a:cubicBezTo>
                          <a:pt x="151343" y="17664"/>
                          <a:pt x="155753" y="22665"/>
                          <a:pt x="150657" y="24856"/>
                        </a:cubicBezTo>
                        <a:cubicBezTo>
                          <a:pt x="154133" y="24789"/>
                          <a:pt x="156048" y="27523"/>
                          <a:pt x="159267" y="28123"/>
                        </a:cubicBezTo>
                        <a:cubicBezTo>
                          <a:pt x="163649" y="28942"/>
                          <a:pt x="167754" y="28065"/>
                          <a:pt x="172136" y="29218"/>
                        </a:cubicBezTo>
                        <a:cubicBezTo>
                          <a:pt x="174993" y="29970"/>
                          <a:pt x="174041" y="30894"/>
                          <a:pt x="177451" y="30856"/>
                        </a:cubicBezTo>
                        <a:cubicBezTo>
                          <a:pt x="179537" y="30828"/>
                          <a:pt x="177412" y="29037"/>
                          <a:pt x="178641" y="28847"/>
                        </a:cubicBezTo>
                        <a:cubicBezTo>
                          <a:pt x="182518" y="28227"/>
                          <a:pt x="187271" y="29266"/>
                          <a:pt x="190833" y="31247"/>
                        </a:cubicBezTo>
                        <a:cubicBezTo>
                          <a:pt x="189224" y="31809"/>
                          <a:pt x="187880" y="33152"/>
                          <a:pt x="186271" y="33695"/>
                        </a:cubicBezTo>
                        <a:cubicBezTo>
                          <a:pt x="191700" y="37276"/>
                          <a:pt x="199939" y="36276"/>
                          <a:pt x="204321" y="41286"/>
                        </a:cubicBezTo>
                        <a:cubicBezTo>
                          <a:pt x="196110" y="46611"/>
                          <a:pt x="184032" y="42039"/>
                          <a:pt x="175127" y="44944"/>
                        </a:cubicBezTo>
                        <a:cubicBezTo>
                          <a:pt x="168621" y="47068"/>
                          <a:pt x="164001" y="52649"/>
                          <a:pt x="161411" y="58888"/>
                        </a:cubicBezTo>
                        <a:cubicBezTo>
                          <a:pt x="160820" y="60308"/>
                          <a:pt x="163944" y="60479"/>
                          <a:pt x="161934" y="62346"/>
                        </a:cubicBezTo>
                        <a:cubicBezTo>
                          <a:pt x="160115" y="64041"/>
                          <a:pt x="157924" y="62451"/>
                          <a:pt x="156210" y="63222"/>
                        </a:cubicBezTo>
                        <a:cubicBezTo>
                          <a:pt x="150914" y="65613"/>
                          <a:pt x="153410" y="63651"/>
                          <a:pt x="152838" y="69880"/>
                        </a:cubicBezTo>
                        <a:cubicBezTo>
                          <a:pt x="152419" y="74347"/>
                          <a:pt x="152971" y="77748"/>
                          <a:pt x="149142" y="80177"/>
                        </a:cubicBezTo>
                        <a:cubicBezTo>
                          <a:pt x="147856" y="80996"/>
                          <a:pt x="145123" y="79786"/>
                          <a:pt x="143656" y="80472"/>
                        </a:cubicBezTo>
                        <a:cubicBezTo>
                          <a:pt x="140894" y="81758"/>
                          <a:pt x="140037" y="84120"/>
                          <a:pt x="138436" y="86330"/>
                        </a:cubicBezTo>
                        <a:cubicBezTo>
                          <a:pt x="136417" y="89121"/>
                          <a:pt x="134026" y="94064"/>
                          <a:pt x="133293" y="95712"/>
                        </a:cubicBezTo>
                        <a:cubicBezTo>
                          <a:pt x="133483" y="95283"/>
                          <a:pt x="133035" y="98874"/>
                          <a:pt x="132959" y="99398"/>
                        </a:cubicBezTo>
                        <a:cubicBezTo>
                          <a:pt x="132864" y="100122"/>
                          <a:pt x="130626" y="102208"/>
                          <a:pt x="130312" y="103075"/>
                        </a:cubicBezTo>
                        <a:cubicBezTo>
                          <a:pt x="129178" y="106170"/>
                          <a:pt x="134445" y="109037"/>
                          <a:pt x="125730" y="109314"/>
                        </a:cubicBezTo>
                        <a:cubicBezTo>
                          <a:pt x="120977" y="109466"/>
                          <a:pt x="117786" y="106228"/>
                          <a:pt x="113843" y="104313"/>
                        </a:cubicBezTo>
                        <a:cubicBezTo>
                          <a:pt x="105556" y="100284"/>
                          <a:pt x="96707" y="94693"/>
                          <a:pt x="88077" y="91835"/>
                        </a:cubicBezTo>
                        <a:cubicBezTo>
                          <a:pt x="84772" y="90740"/>
                          <a:pt x="66665" y="86330"/>
                          <a:pt x="70066" y="79520"/>
                        </a:cubicBezTo>
                        <a:cubicBezTo>
                          <a:pt x="71780" y="76081"/>
                          <a:pt x="77410" y="78986"/>
                          <a:pt x="80067" y="78653"/>
                        </a:cubicBezTo>
                        <a:cubicBezTo>
                          <a:pt x="83715" y="78196"/>
                          <a:pt x="81677" y="78357"/>
                          <a:pt x="85001" y="76976"/>
                        </a:cubicBezTo>
                        <a:cubicBezTo>
                          <a:pt x="86792" y="76233"/>
                          <a:pt x="87449" y="74881"/>
                          <a:pt x="89621" y="74071"/>
                        </a:cubicBezTo>
                        <a:cubicBezTo>
                          <a:pt x="100003" y="70242"/>
                          <a:pt x="115586" y="70937"/>
                          <a:pt x="126682" y="70976"/>
                        </a:cubicBezTo>
                        <a:cubicBezTo>
                          <a:pt x="122920" y="64432"/>
                          <a:pt x="113424" y="69309"/>
                          <a:pt x="107309" y="69423"/>
                        </a:cubicBezTo>
                        <a:cubicBezTo>
                          <a:pt x="98327" y="69594"/>
                          <a:pt x="90592" y="71185"/>
                          <a:pt x="81686" y="71861"/>
                        </a:cubicBezTo>
                        <a:cubicBezTo>
                          <a:pt x="76705" y="72242"/>
                          <a:pt x="65522" y="73233"/>
                          <a:pt x="62912" y="67147"/>
                        </a:cubicBezTo>
                        <a:cubicBezTo>
                          <a:pt x="59360" y="58860"/>
                          <a:pt x="70075" y="62889"/>
                          <a:pt x="73866" y="64451"/>
                        </a:cubicBezTo>
                        <a:cubicBezTo>
                          <a:pt x="73409" y="63756"/>
                          <a:pt x="72942" y="63060"/>
                          <a:pt x="72485" y="62365"/>
                        </a:cubicBezTo>
                        <a:cubicBezTo>
                          <a:pt x="80801" y="60851"/>
                          <a:pt x="90973" y="56602"/>
                          <a:pt x="99374" y="57441"/>
                        </a:cubicBezTo>
                        <a:cubicBezTo>
                          <a:pt x="96050" y="52573"/>
                          <a:pt x="122453" y="54078"/>
                          <a:pt x="126454" y="51468"/>
                        </a:cubicBezTo>
                        <a:cubicBezTo>
                          <a:pt x="121634" y="52421"/>
                          <a:pt x="116033" y="52602"/>
                          <a:pt x="112395" y="48744"/>
                        </a:cubicBezTo>
                        <a:cubicBezTo>
                          <a:pt x="114414" y="47239"/>
                          <a:pt x="116338" y="45611"/>
                          <a:pt x="117977" y="43705"/>
                        </a:cubicBezTo>
                        <a:cubicBezTo>
                          <a:pt x="111690" y="42877"/>
                          <a:pt x="107480" y="47973"/>
                          <a:pt x="101641" y="49259"/>
                        </a:cubicBezTo>
                        <a:cubicBezTo>
                          <a:pt x="99412" y="49754"/>
                          <a:pt x="93897" y="50878"/>
                          <a:pt x="91897" y="49249"/>
                        </a:cubicBezTo>
                        <a:cubicBezTo>
                          <a:pt x="88916" y="46820"/>
                          <a:pt x="91297" y="45944"/>
                          <a:pt x="90611" y="44153"/>
                        </a:cubicBezTo>
                        <a:cubicBezTo>
                          <a:pt x="90049" y="42715"/>
                          <a:pt x="93021" y="40648"/>
                          <a:pt x="89983" y="40000"/>
                        </a:cubicBezTo>
                        <a:cubicBezTo>
                          <a:pt x="88830" y="39753"/>
                          <a:pt x="86277" y="44506"/>
                          <a:pt x="84229" y="44687"/>
                        </a:cubicBezTo>
                        <a:cubicBezTo>
                          <a:pt x="79829" y="45068"/>
                          <a:pt x="79572" y="39400"/>
                          <a:pt x="74295" y="43334"/>
                        </a:cubicBezTo>
                        <a:cubicBezTo>
                          <a:pt x="75352" y="47306"/>
                          <a:pt x="73885" y="49687"/>
                          <a:pt x="78543" y="51545"/>
                        </a:cubicBezTo>
                        <a:cubicBezTo>
                          <a:pt x="72323" y="52707"/>
                          <a:pt x="68446" y="56269"/>
                          <a:pt x="61789" y="56707"/>
                        </a:cubicBezTo>
                        <a:cubicBezTo>
                          <a:pt x="54940" y="57164"/>
                          <a:pt x="51044" y="57041"/>
                          <a:pt x="45139" y="54012"/>
                        </a:cubicBezTo>
                        <a:cubicBezTo>
                          <a:pt x="40100" y="51430"/>
                          <a:pt x="35347" y="48058"/>
                          <a:pt x="30642" y="45534"/>
                        </a:cubicBezTo>
                        <a:cubicBezTo>
                          <a:pt x="28356" y="44306"/>
                          <a:pt x="18507" y="41153"/>
                          <a:pt x="24679" y="38400"/>
                        </a:cubicBezTo>
                        <a:cubicBezTo>
                          <a:pt x="21355" y="37409"/>
                          <a:pt x="18126" y="36190"/>
                          <a:pt x="15002" y="34666"/>
                        </a:cubicBezTo>
                        <a:cubicBezTo>
                          <a:pt x="21098" y="31742"/>
                          <a:pt x="29699" y="39286"/>
                          <a:pt x="34471" y="34581"/>
                        </a:cubicBezTo>
                        <a:cubicBezTo>
                          <a:pt x="29585" y="32990"/>
                          <a:pt x="19593" y="31514"/>
                          <a:pt x="27451" y="24684"/>
                        </a:cubicBezTo>
                        <a:cubicBezTo>
                          <a:pt x="24470" y="23455"/>
                          <a:pt x="21155" y="23770"/>
                          <a:pt x="17983" y="24179"/>
                        </a:cubicBezTo>
                        <a:cubicBezTo>
                          <a:pt x="20260" y="28323"/>
                          <a:pt x="14935" y="30180"/>
                          <a:pt x="11516" y="29027"/>
                        </a:cubicBezTo>
                        <a:cubicBezTo>
                          <a:pt x="10515" y="28685"/>
                          <a:pt x="6448" y="23141"/>
                          <a:pt x="5582" y="22084"/>
                        </a:cubicBezTo>
                        <a:cubicBezTo>
                          <a:pt x="4191" y="20379"/>
                          <a:pt x="2134" y="17521"/>
                          <a:pt x="1238" y="15607"/>
                        </a:cubicBezTo>
                        <a:cubicBezTo>
                          <a:pt x="1848" y="16931"/>
                          <a:pt x="1181" y="7920"/>
                          <a:pt x="0" y="9997"/>
                        </a:cubicBezTo>
                        <a:cubicBezTo>
                          <a:pt x="971" y="8301"/>
                          <a:pt x="1048" y="8349"/>
                          <a:pt x="3143" y="8015"/>
                        </a:cubicBezTo>
                        <a:cubicBezTo>
                          <a:pt x="4648" y="7777"/>
                          <a:pt x="6391" y="9854"/>
                          <a:pt x="7658" y="9844"/>
                        </a:cubicBezTo>
                        <a:cubicBezTo>
                          <a:pt x="9420" y="9825"/>
                          <a:pt x="9296" y="8473"/>
                          <a:pt x="10315" y="8387"/>
                        </a:cubicBezTo>
                        <a:cubicBezTo>
                          <a:pt x="17840" y="7730"/>
                          <a:pt x="22460" y="9673"/>
                          <a:pt x="29785" y="10654"/>
                        </a:cubicBezTo>
                        <a:cubicBezTo>
                          <a:pt x="29185" y="9797"/>
                          <a:pt x="28813" y="8806"/>
                          <a:pt x="28232" y="7977"/>
                        </a:cubicBezTo>
                        <a:cubicBezTo>
                          <a:pt x="32175" y="6882"/>
                          <a:pt x="37881" y="8273"/>
                          <a:pt x="42472" y="7491"/>
                        </a:cubicBezTo>
                        <a:cubicBezTo>
                          <a:pt x="46015" y="6891"/>
                          <a:pt x="55588" y="3920"/>
                          <a:pt x="58474" y="7025"/>
                        </a:cubicBezTo>
                        <a:cubicBezTo>
                          <a:pt x="61817" y="10635"/>
                          <a:pt x="56464" y="10397"/>
                          <a:pt x="53121" y="10882"/>
                        </a:cubicBezTo>
                        <a:cubicBezTo>
                          <a:pt x="46025" y="11930"/>
                          <a:pt x="41958" y="12330"/>
                          <a:pt x="35242" y="15178"/>
                        </a:cubicBezTo>
                        <a:cubicBezTo>
                          <a:pt x="39595" y="14969"/>
                          <a:pt x="45472" y="13578"/>
                          <a:pt x="49711" y="15007"/>
                        </a:cubicBezTo>
                        <a:cubicBezTo>
                          <a:pt x="50187" y="15169"/>
                          <a:pt x="51663" y="17798"/>
                          <a:pt x="52702" y="18388"/>
                        </a:cubicBezTo>
                        <a:cubicBezTo>
                          <a:pt x="53759" y="18979"/>
                          <a:pt x="57388" y="20150"/>
                          <a:pt x="58550" y="20436"/>
                        </a:cubicBezTo>
                        <a:cubicBezTo>
                          <a:pt x="64503" y="21912"/>
                          <a:pt x="61093" y="22665"/>
                          <a:pt x="63132" y="19588"/>
                        </a:cubicBezTo>
                        <a:cubicBezTo>
                          <a:pt x="63398" y="19188"/>
                          <a:pt x="62398" y="16521"/>
                          <a:pt x="62636" y="15769"/>
                        </a:cubicBezTo>
                        <a:cubicBezTo>
                          <a:pt x="63208" y="13968"/>
                          <a:pt x="64732" y="14159"/>
                          <a:pt x="66094" y="12740"/>
                        </a:cubicBezTo>
                        <a:cubicBezTo>
                          <a:pt x="74514" y="4015"/>
                          <a:pt x="81572" y="11740"/>
                          <a:pt x="88277" y="18864"/>
                        </a:cubicBezTo>
                        <a:cubicBezTo>
                          <a:pt x="94269" y="25227"/>
                          <a:pt x="99965" y="30685"/>
                          <a:pt x="108318" y="33866"/>
                        </a:cubicBezTo>
                        <a:cubicBezTo>
                          <a:pt x="105327" y="27332"/>
                          <a:pt x="93726" y="17664"/>
                          <a:pt x="95726" y="10006"/>
                        </a:cubicBezTo>
                        <a:cubicBezTo>
                          <a:pt x="96298" y="7815"/>
                          <a:pt x="98345" y="7196"/>
                          <a:pt x="99184" y="5644"/>
                        </a:cubicBezTo>
                        <a:cubicBezTo>
                          <a:pt x="99688" y="4729"/>
                          <a:pt x="97860" y="2329"/>
                          <a:pt x="99136" y="1386"/>
                        </a:cubicBezTo>
                        <a:cubicBezTo>
                          <a:pt x="103861" y="-2148"/>
                          <a:pt x="108433" y="1881"/>
                          <a:pt x="112395" y="4529"/>
                        </a:cubicBezTo>
                        <a:lnTo>
                          <a:pt x="112395" y="4529"/>
                        </a:lnTo>
                        <a:close/>
                      </a:path>
                    </a:pathLst>
                  </a:custGeom>
                  <a:solidFill>
                    <a:srgbClr val="D6D6D2"/>
                  </a:solidFill>
                  <a:ln w="9525" cap="flat">
                    <a:noFill/>
                    <a:prstDash val="solid"/>
                    <a:miter/>
                  </a:ln>
                </p:spPr>
                <p:txBody>
                  <a:bodyPr rtlCol="0" anchor="ctr"/>
                  <a:lstStyle/>
                  <a:p>
                    <a:endParaRPr lang="en-US"/>
                  </a:p>
                </p:txBody>
              </p:sp>
              <p:sp>
                <p:nvSpPr>
                  <p:cNvPr id="706" name="Freeform: Shape 705">
                    <a:extLst>
                      <a:ext uri="{FF2B5EF4-FFF2-40B4-BE49-F238E27FC236}">
                        <a16:creationId xmlns:a16="http://schemas.microsoft.com/office/drawing/2014/main" id="{8C9A8AB1-8430-4019-AF58-DC451290EB65}"/>
                      </a:ext>
                    </a:extLst>
                  </p:cNvPr>
                  <p:cNvSpPr/>
                  <p:nvPr/>
                </p:nvSpPr>
                <p:spPr>
                  <a:xfrm>
                    <a:off x="5924054" y="1829849"/>
                    <a:ext cx="172280" cy="40785"/>
                  </a:xfrm>
                  <a:custGeom>
                    <a:avLst/>
                    <a:gdLst>
                      <a:gd name="connsiteX0" fmla="*/ 54416 w 172280"/>
                      <a:gd name="connsiteY0" fmla="*/ 7168 h 40785"/>
                      <a:gd name="connsiteX1" fmla="*/ 63818 w 172280"/>
                      <a:gd name="connsiteY1" fmla="*/ 7416 h 40785"/>
                      <a:gd name="connsiteX2" fmla="*/ 69647 w 172280"/>
                      <a:gd name="connsiteY2" fmla="*/ 10016 h 40785"/>
                      <a:gd name="connsiteX3" fmla="*/ 82601 w 172280"/>
                      <a:gd name="connsiteY3" fmla="*/ 12207 h 40785"/>
                      <a:gd name="connsiteX4" fmla="*/ 82134 w 172280"/>
                      <a:gd name="connsiteY4" fmla="*/ 4425 h 40785"/>
                      <a:gd name="connsiteX5" fmla="*/ 84934 w 172280"/>
                      <a:gd name="connsiteY5" fmla="*/ 1977 h 40785"/>
                      <a:gd name="connsiteX6" fmla="*/ 97822 w 172280"/>
                      <a:gd name="connsiteY6" fmla="*/ 1643 h 40785"/>
                      <a:gd name="connsiteX7" fmla="*/ 95631 w 172280"/>
                      <a:gd name="connsiteY7" fmla="*/ 9149 h 40785"/>
                      <a:gd name="connsiteX8" fmla="*/ 115538 w 172280"/>
                      <a:gd name="connsiteY8" fmla="*/ 5463 h 40785"/>
                      <a:gd name="connsiteX9" fmla="*/ 116281 w 172280"/>
                      <a:gd name="connsiteY9" fmla="*/ 3710 h 40785"/>
                      <a:gd name="connsiteX10" fmla="*/ 120472 w 172280"/>
                      <a:gd name="connsiteY10" fmla="*/ 5272 h 40785"/>
                      <a:gd name="connsiteX11" fmla="*/ 126911 w 172280"/>
                      <a:gd name="connsiteY11" fmla="*/ 5949 h 40785"/>
                      <a:gd name="connsiteX12" fmla="*/ 146552 w 172280"/>
                      <a:gd name="connsiteY12" fmla="*/ 9549 h 40785"/>
                      <a:gd name="connsiteX13" fmla="*/ 170993 w 172280"/>
                      <a:gd name="connsiteY13" fmla="*/ 13159 h 40785"/>
                      <a:gd name="connsiteX14" fmla="*/ 153876 w 172280"/>
                      <a:gd name="connsiteY14" fmla="*/ 26589 h 40785"/>
                      <a:gd name="connsiteX15" fmla="*/ 137893 w 172280"/>
                      <a:gd name="connsiteY15" fmla="*/ 35743 h 40785"/>
                      <a:gd name="connsiteX16" fmla="*/ 125901 w 172280"/>
                      <a:gd name="connsiteY16" fmla="*/ 36695 h 40785"/>
                      <a:gd name="connsiteX17" fmla="*/ 116396 w 172280"/>
                      <a:gd name="connsiteY17" fmla="*/ 40353 h 40785"/>
                      <a:gd name="connsiteX18" fmla="*/ 93174 w 172280"/>
                      <a:gd name="connsiteY18" fmla="*/ 36181 h 40785"/>
                      <a:gd name="connsiteX19" fmla="*/ 95821 w 172280"/>
                      <a:gd name="connsiteY19" fmla="*/ 33571 h 40785"/>
                      <a:gd name="connsiteX20" fmla="*/ 35376 w 172280"/>
                      <a:gd name="connsiteY20" fmla="*/ 27923 h 40785"/>
                      <a:gd name="connsiteX21" fmla="*/ 45120 w 172280"/>
                      <a:gd name="connsiteY21" fmla="*/ 26628 h 40785"/>
                      <a:gd name="connsiteX22" fmla="*/ 55112 w 172280"/>
                      <a:gd name="connsiteY22" fmla="*/ 22970 h 40785"/>
                      <a:gd name="connsiteX23" fmla="*/ 7306 w 172280"/>
                      <a:gd name="connsiteY23" fmla="*/ 17274 h 40785"/>
                      <a:gd name="connsiteX24" fmla="*/ 17869 w 172280"/>
                      <a:gd name="connsiteY24" fmla="*/ 13893 h 40785"/>
                      <a:gd name="connsiteX25" fmla="*/ 0 w 172280"/>
                      <a:gd name="connsiteY25" fmla="*/ 10540 h 40785"/>
                      <a:gd name="connsiteX26" fmla="*/ 16516 w 172280"/>
                      <a:gd name="connsiteY26" fmla="*/ 9102 h 40785"/>
                      <a:gd name="connsiteX27" fmla="*/ 29785 w 172280"/>
                      <a:gd name="connsiteY27" fmla="*/ 9902 h 40785"/>
                      <a:gd name="connsiteX28" fmla="*/ 25832 w 172280"/>
                      <a:gd name="connsiteY28" fmla="*/ 5225 h 40785"/>
                      <a:gd name="connsiteX29" fmla="*/ 33966 w 172280"/>
                      <a:gd name="connsiteY29" fmla="*/ 5758 h 40785"/>
                      <a:gd name="connsiteX30" fmla="*/ 29623 w 172280"/>
                      <a:gd name="connsiteY30" fmla="*/ 472 h 40785"/>
                      <a:gd name="connsiteX31" fmla="*/ 54416 w 172280"/>
                      <a:gd name="connsiteY31" fmla="*/ 7168 h 40785"/>
                      <a:gd name="connsiteX32" fmla="*/ 54416 w 172280"/>
                      <a:gd name="connsiteY32" fmla="*/ 7168 h 4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72280" h="40785">
                        <a:moveTo>
                          <a:pt x="54416" y="7168"/>
                        </a:moveTo>
                        <a:cubicBezTo>
                          <a:pt x="57521" y="7749"/>
                          <a:pt x="60779" y="6844"/>
                          <a:pt x="63818" y="7416"/>
                        </a:cubicBezTo>
                        <a:cubicBezTo>
                          <a:pt x="66637" y="7949"/>
                          <a:pt x="67608" y="9283"/>
                          <a:pt x="69647" y="10016"/>
                        </a:cubicBezTo>
                        <a:cubicBezTo>
                          <a:pt x="72895" y="11197"/>
                          <a:pt x="80105" y="14874"/>
                          <a:pt x="82601" y="12207"/>
                        </a:cubicBezTo>
                        <a:cubicBezTo>
                          <a:pt x="84696" y="9978"/>
                          <a:pt x="81362" y="6215"/>
                          <a:pt x="82134" y="4425"/>
                        </a:cubicBezTo>
                        <a:cubicBezTo>
                          <a:pt x="83363" y="1596"/>
                          <a:pt x="82182" y="3920"/>
                          <a:pt x="84934" y="1977"/>
                        </a:cubicBezTo>
                        <a:cubicBezTo>
                          <a:pt x="88259" y="-366"/>
                          <a:pt x="94250" y="-23"/>
                          <a:pt x="97822" y="1643"/>
                        </a:cubicBezTo>
                        <a:cubicBezTo>
                          <a:pt x="96822" y="4015"/>
                          <a:pt x="96364" y="6520"/>
                          <a:pt x="95631" y="9149"/>
                        </a:cubicBezTo>
                        <a:cubicBezTo>
                          <a:pt x="103356" y="10283"/>
                          <a:pt x="108452" y="6073"/>
                          <a:pt x="115538" y="5463"/>
                        </a:cubicBezTo>
                        <a:cubicBezTo>
                          <a:pt x="115957" y="5425"/>
                          <a:pt x="116453" y="3720"/>
                          <a:pt x="116281" y="3710"/>
                        </a:cubicBezTo>
                        <a:cubicBezTo>
                          <a:pt x="117796" y="3796"/>
                          <a:pt x="119329" y="5225"/>
                          <a:pt x="120472" y="5272"/>
                        </a:cubicBezTo>
                        <a:cubicBezTo>
                          <a:pt x="122472" y="5358"/>
                          <a:pt x="124787" y="5673"/>
                          <a:pt x="126911" y="5949"/>
                        </a:cubicBezTo>
                        <a:cubicBezTo>
                          <a:pt x="133464" y="6816"/>
                          <a:pt x="140065" y="8749"/>
                          <a:pt x="146552" y="9549"/>
                        </a:cubicBezTo>
                        <a:cubicBezTo>
                          <a:pt x="153038" y="10340"/>
                          <a:pt x="166326" y="6758"/>
                          <a:pt x="170993" y="13159"/>
                        </a:cubicBezTo>
                        <a:cubicBezTo>
                          <a:pt x="177251" y="21751"/>
                          <a:pt x="158925" y="22694"/>
                          <a:pt x="153876" y="26589"/>
                        </a:cubicBezTo>
                        <a:cubicBezTo>
                          <a:pt x="147638" y="31381"/>
                          <a:pt x="147095" y="35467"/>
                          <a:pt x="137893" y="35743"/>
                        </a:cubicBezTo>
                        <a:cubicBezTo>
                          <a:pt x="132931" y="35895"/>
                          <a:pt x="130950" y="34810"/>
                          <a:pt x="125901" y="36695"/>
                        </a:cubicBezTo>
                        <a:cubicBezTo>
                          <a:pt x="122320" y="38038"/>
                          <a:pt x="120310" y="39810"/>
                          <a:pt x="116396" y="40353"/>
                        </a:cubicBezTo>
                        <a:cubicBezTo>
                          <a:pt x="110538" y="41172"/>
                          <a:pt x="97098" y="41325"/>
                          <a:pt x="93174" y="36181"/>
                        </a:cubicBezTo>
                        <a:cubicBezTo>
                          <a:pt x="94145" y="35476"/>
                          <a:pt x="94802" y="34181"/>
                          <a:pt x="95821" y="33571"/>
                        </a:cubicBezTo>
                        <a:cubicBezTo>
                          <a:pt x="75590" y="34686"/>
                          <a:pt x="54226" y="36162"/>
                          <a:pt x="35376" y="27923"/>
                        </a:cubicBezTo>
                        <a:cubicBezTo>
                          <a:pt x="38443" y="25618"/>
                          <a:pt x="41605" y="26980"/>
                          <a:pt x="45120" y="26628"/>
                        </a:cubicBezTo>
                        <a:cubicBezTo>
                          <a:pt x="50082" y="26123"/>
                          <a:pt x="50959" y="25437"/>
                          <a:pt x="55112" y="22970"/>
                        </a:cubicBezTo>
                        <a:cubicBezTo>
                          <a:pt x="43548" y="21236"/>
                          <a:pt x="14459" y="30076"/>
                          <a:pt x="7306" y="17274"/>
                        </a:cubicBezTo>
                        <a:cubicBezTo>
                          <a:pt x="11021" y="16779"/>
                          <a:pt x="14726" y="16007"/>
                          <a:pt x="17869" y="13893"/>
                        </a:cubicBezTo>
                        <a:cubicBezTo>
                          <a:pt x="11525" y="13416"/>
                          <a:pt x="5915" y="13054"/>
                          <a:pt x="0" y="10540"/>
                        </a:cubicBezTo>
                        <a:cubicBezTo>
                          <a:pt x="4858" y="8844"/>
                          <a:pt x="11478" y="8530"/>
                          <a:pt x="16516" y="9102"/>
                        </a:cubicBezTo>
                        <a:cubicBezTo>
                          <a:pt x="21012" y="9606"/>
                          <a:pt x="25556" y="12950"/>
                          <a:pt x="29785" y="9902"/>
                        </a:cubicBezTo>
                        <a:cubicBezTo>
                          <a:pt x="25641" y="9683"/>
                          <a:pt x="18021" y="4911"/>
                          <a:pt x="25832" y="5225"/>
                        </a:cubicBezTo>
                        <a:cubicBezTo>
                          <a:pt x="28661" y="5339"/>
                          <a:pt x="33080" y="10597"/>
                          <a:pt x="33966" y="5758"/>
                        </a:cubicBezTo>
                        <a:cubicBezTo>
                          <a:pt x="34290" y="3977"/>
                          <a:pt x="30804" y="1482"/>
                          <a:pt x="29623" y="472"/>
                        </a:cubicBezTo>
                        <a:cubicBezTo>
                          <a:pt x="37872" y="-1795"/>
                          <a:pt x="46968" y="4711"/>
                          <a:pt x="54416" y="7168"/>
                        </a:cubicBezTo>
                        <a:lnTo>
                          <a:pt x="54416" y="7168"/>
                        </a:lnTo>
                        <a:close/>
                      </a:path>
                    </a:pathLst>
                  </a:custGeom>
                  <a:solidFill>
                    <a:srgbClr val="D6D6D2"/>
                  </a:solidFill>
                  <a:ln w="9525" cap="flat">
                    <a:noFill/>
                    <a:prstDash val="solid"/>
                    <a:miter/>
                  </a:ln>
                </p:spPr>
                <p:txBody>
                  <a:bodyPr rtlCol="0" anchor="ctr"/>
                  <a:lstStyle/>
                  <a:p>
                    <a:endParaRPr lang="en-US"/>
                  </a:p>
                </p:txBody>
              </p:sp>
            </p:grpSp>
            <p:sp>
              <p:nvSpPr>
                <p:cNvPr id="538" name="Freeform: Shape 537">
                  <a:extLst>
                    <a:ext uri="{FF2B5EF4-FFF2-40B4-BE49-F238E27FC236}">
                      <a16:creationId xmlns:a16="http://schemas.microsoft.com/office/drawing/2014/main" id="{82216568-C5BB-4605-BFB8-0C59336AE037}"/>
                    </a:ext>
                  </a:extLst>
                </p:cNvPr>
                <p:cNvSpPr/>
                <p:nvPr/>
              </p:nvSpPr>
              <p:spPr>
                <a:xfrm>
                  <a:off x="6369190" y="4857635"/>
                  <a:ext cx="240349" cy="212919"/>
                </a:xfrm>
                <a:custGeom>
                  <a:avLst/>
                  <a:gdLst>
                    <a:gd name="connsiteX0" fmla="*/ 172770 w 240349"/>
                    <a:gd name="connsiteY0" fmla="*/ 212919 h 212919"/>
                    <a:gd name="connsiteX1" fmla="*/ 150633 w 240349"/>
                    <a:gd name="connsiteY1" fmla="*/ 210281 h 212919"/>
                    <a:gd name="connsiteX2" fmla="*/ 128945 w 240349"/>
                    <a:gd name="connsiteY2" fmla="*/ 205633 h 212919"/>
                    <a:gd name="connsiteX3" fmla="*/ 117782 w 240349"/>
                    <a:gd name="connsiteY3" fmla="*/ 205947 h 212919"/>
                    <a:gd name="connsiteX4" fmla="*/ 110571 w 240349"/>
                    <a:gd name="connsiteY4" fmla="*/ 202642 h 212919"/>
                    <a:gd name="connsiteX5" fmla="*/ 105619 w 240349"/>
                    <a:gd name="connsiteY5" fmla="*/ 200242 h 212919"/>
                    <a:gd name="connsiteX6" fmla="*/ 105752 w 240349"/>
                    <a:gd name="connsiteY6" fmla="*/ 193727 h 212919"/>
                    <a:gd name="connsiteX7" fmla="*/ 86197 w 240349"/>
                    <a:gd name="connsiteY7" fmla="*/ 188278 h 212919"/>
                    <a:gd name="connsiteX8" fmla="*/ 71624 w 240349"/>
                    <a:gd name="connsiteY8" fmla="*/ 176991 h 212919"/>
                    <a:gd name="connsiteX9" fmla="*/ 67004 w 240349"/>
                    <a:gd name="connsiteY9" fmla="*/ 169800 h 212919"/>
                    <a:gd name="connsiteX10" fmla="*/ 68718 w 240349"/>
                    <a:gd name="connsiteY10" fmla="*/ 158979 h 212919"/>
                    <a:gd name="connsiteX11" fmla="*/ 56593 w 240349"/>
                    <a:gd name="connsiteY11" fmla="*/ 152331 h 212919"/>
                    <a:gd name="connsiteX12" fmla="*/ 39724 w 240349"/>
                    <a:gd name="connsiteY12" fmla="*/ 133871 h 212919"/>
                    <a:gd name="connsiteX13" fmla="*/ 20265 w 240349"/>
                    <a:gd name="connsiteY13" fmla="*/ 110621 h 212919"/>
                    <a:gd name="connsiteX14" fmla="*/ 7835 w 240349"/>
                    <a:gd name="connsiteY14" fmla="*/ 86723 h 212919"/>
                    <a:gd name="connsiteX15" fmla="*/ 1215 w 240349"/>
                    <a:gd name="connsiteY15" fmla="*/ 75502 h 212919"/>
                    <a:gd name="connsiteX16" fmla="*/ 3929 w 240349"/>
                    <a:gd name="connsiteY16" fmla="*/ 68530 h 212919"/>
                    <a:gd name="connsiteX17" fmla="*/ 18198 w 240349"/>
                    <a:gd name="connsiteY17" fmla="*/ 71873 h 212919"/>
                    <a:gd name="connsiteX18" fmla="*/ 32809 w 240349"/>
                    <a:gd name="connsiteY18" fmla="*/ 71949 h 212919"/>
                    <a:gd name="connsiteX19" fmla="*/ 46792 w 240349"/>
                    <a:gd name="connsiteY19" fmla="*/ 75531 h 212919"/>
                    <a:gd name="connsiteX20" fmla="*/ 61384 w 240349"/>
                    <a:gd name="connsiteY20" fmla="*/ 66272 h 212919"/>
                    <a:gd name="connsiteX21" fmla="*/ 81539 w 240349"/>
                    <a:gd name="connsiteY21" fmla="*/ 42831 h 212919"/>
                    <a:gd name="connsiteX22" fmla="*/ 94417 w 240349"/>
                    <a:gd name="connsiteY22" fmla="*/ 34725 h 212919"/>
                    <a:gd name="connsiteX23" fmla="*/ 111590 w 240349"/>
                    <a:gd name="connsiteY23" fmla="*/ 28087 h 212919"/>
                    <a:gd name="connsiteX24" fmla="*/ 115867 w 240349"/>
                    <a:gd name="connsiteY24" fmla="*/ 13999 h 212919"/>
                    <a:gd name="connsiteX25" fmla="*/ 128812 w 240349"/>
                    <a:gd name="connsiteY25" fmla="*/ 4617 h 212919"/>
                    <a:gd name="connsiteX26" fmla="*/ 164149 w 240349"/>
                    <a:gd name="connsiteY26" fmla="*/ 7 h 212919"/>
                    <a:gd name="connsiteX27" fmla="*/ 175322 w 240349"/>
                    <a:gd name="connsiteY27" fmla="*/ 11427 h 212919"/>
                    <a:gd name="connsiteX28" fmla="*/ 188552 w 240349"/>
                    <a:gd name="connsiteY28" fmla="*/ 11970 h 212919"/>
                    <a:gd name="connsiteX29" fmla="*/ 197640 w 240349"/>
                    <a:gd name="connsiteY29" fmla="*/ 17085 h 212919"/>
                    <a:gd name="connsiteX30" fmla="*/ 203259 w 240349"/>
                    <a:gd name="connsiteY30" fmla="*/ 18495 h 212919"/>
                    <a:gd name="connsiteX31" fmla="*/ 209431 w 240349"/>
                    <a:gd name="connsiteY31" fmla="*/ 24257 h 212919"/>
                    <a:gd name="connsiteX32" fmla="*/ 220271 w 240349"/>
                    <a:gd name="connsiteY32" fmla="*/ 25715 h 212919"/>
                    <a:gd name="connsiteX33" fmla="*/ 240349 w 240349"/>
                    <a:gd name="connsiteY33" fmla="*/ 33687 h 212919"/>
                    <a:gd name="connsiteX34" fmla="*/ 237549 w 240349"/>
                    <a:gd name="connsiteY34" fmla="*/ 43298 h 212919"/>
                    <a:gd name="connsiteX35" fmla="*/ 239445 w 240349"/>
                    <a:gd name="connsiteY35" fmla="*/ 56090 h 212919"/>
                    <a:gd name="connsiteX36" fmla="*/ 236825 w 240349"/>
                    <a:gd name="connsiteY36" fmla="*/ 79960 h 212919"/>
                    <a:gd name="connsiteX37" fmla="*/ 233139 w 240349"/>
                    <a:gd name="connsiteY37" fmla="*/ 96581 h 212919"/>
                    <a:gd name="connsiteX38" fmla="*/ 227158 w 240349"/>
                    <a:gd name="connsiteY38" fmla="*/ 100982 h 212919"/>
                    <a:gd name="connsiteX39" fmla="*/ 229214 w 240349"/>
                    <a:gd name="connsiteY39" fmla="*/ 107068 h 212919"/>
                    <a:gd name="connsiteX40" fmla="*/ 229472 w 240349"/>
                    <a:gd name="connsiteY40" fmla="*/ 125061 h 212919"/>
                    <a:gd name="connsiteX41" fmla="*/ 227891 w 240349"/>
                    <a:gd name="connsiteY41" fmla="*/ 144111 h 212919"/>
                    <a:gd name="connsiteX42" fmla="*/ 214708 w 240349"/>
                    <a:gd name="connsiteY42" fmla="*/ 158855 h 212919"/>
                    <a:gd name="connsiteX43" fmla="*/ 213375 w 240349"/>
                    <a:gd name="connsiteY43" fmla="*/ 167476 h 212919"/>
                    <a:gd name="connsiteX44" fmla="*/ 209717 w 240349"/>
                    <a:gd name="connsiteY44" fmla="*/ 172438 h 212919"/>
                    <a:gd name="connsiteX45" fmla="*/ 210746 w 240349"/>
                    <a:gd name="connsiteY45" fmla="*/ 177344 h 212919"/>
                    <a:gd name="connsiteX46" fmla="*/ 193106 w 240349"/>
                    <a:gd name="connsiteY46" fmla="*/ 194631 h 212919"/>
                    <a:gd name="connsiteX47" fmla="*/ 172770 w 240349"/>
                    <a:gd name="connsiteY47" fmla="*/ 212919 h 212919"/>
                    <a:gd name="connsiteX48" fmla="*/ 172770 w 240349"/>
                    <a:gd name="connsiteY48" fmla="*/ 212919 h 212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40349" h="212919">
                      <a:moveTo>
                        <a:pt x="172770" y="212919"/>
                      </a:moveTo>
                      <a:cubicBezTo>
                        <a:pt x="166312" y="207585"/>
                        <a:pt x="158130" y="210128"/>
                        <a:pt x="150633" y="210281"/>
                      </a:cubicBezTo>
                      <a:cubicBezTo>
                        <a:pt x="142423" y="210433"/>
                        <a:pt x="136717" y="207042"/>
                        <a:pt x="128945" y="205633"/>
                      </a:cubicBezTo>
                      <a:cubicBezTo>
                        <a:pt x="124859" y="204899"/>
                        <a:pt x="121630" y="206347"/>
                        <a:pt x="117782" y="205947"/>
                      </a:cubicBezTo>
                      <a:cubicBezTo>
                        <a:pt x="114048" y="205557"/>
                        <a:pt x="113905" y="204842"/>
                        <a:pt x="110571" y="202642"/>
                      </a:cubicBezTo>
                      <a:cubicBezTo>
                        <a:pt x="108228" y="201108"/>
                        <a:pt x="107238" y="203032"/>
                        <a:pt x="105619" y="200242"/>
                      </a:cubicBezTo>
                      <a:cubicBezTo>
                        <a:pt x="104352" y="198060"/>
                        <a:pt x="107057" y="195574"/>
                        <a:pt x="105752" y="193727"/>
                      </a:cubicBezTo>
                      <a:cubicBezTo>
                        <a:pt x="103370" y="190345"/>
                        <a:pt x="90283" y="189059"/>
                        <a:pt x="86197" y="188278"/>
                      </a:cubicBezTo>
                      <a:cubicBezTo>
                        <a:pt x="75110" y="186173"/>
                        <a:pt x="77244" y="186202"/>
                        <a:pt x="71624" y="176991"/>
                      </a:cubicBezTo>
                      <a:cubicBezTo>
                        <a:pt x="69861" y="174105"/>
                        <a:pt x="67509" y="173057"/>
                        <a:pt x="67004" y="169800"/>
                      </a:cubicBezTo>
                      <a:cubicBezTo>
                        <a:pt x="66480" y="166456"/>
                        <a:pt x="68642" y="162399"/>
                        <a:pt x="68718" y="158979"/>
                      </a:cubicBezTo>
                      <a:cubicBezTo>
                        <a:pt x="68881" y="150607"/>
                        <a:pt x="64823" y="151950"/>
                        <a:pt x="56593" y="152331"/>
                      </a:cubicBezTo>
                      <a:cubicBezTo>
                        <a:pt x="56993" y="138091"/>
                        <a:pt x="50135" y="140043"/>
                        <a:pt x="39724" y="133871"/>
                      </a:cubicBezTo>
                      <a:cubicBezTo>
                        <a:pt x="30275" y="128280"/>
                        <a:pt x="22951" y="121317"/>
                        <a:pt x="20265" y="110621"/>
                      </a:cubicBezTo>
                      <a:cubicBezTo>
                        <a:pt x="17807" y="100877"/>
                        <a:pt x="13350" y="95514"/>
                        <a:pt x="7835" y="86723"/>
                      </a:cubicBezTo>
                      <a:cubicBezTo>
                        <a:pt x="5882" y="83608"/>
                        <a:pt x="2472" y="78760"/>
                        <a:pt x="1215" y="75502"/>
                      </a:cubicBezTo>
                      <a:cubicBezTo>
                        <a:pt x="-909" y="70006"/>
                        <a:pt x="-395" y="69520"/>
                        <a:pt x="3929" y="68530"/>
                      </a:cubicBezTo>
                      <a:cubicBezTo>
                        <a:pt x="8911" y="67396"/>
                        <a:pt x="14055" y="70425"/>
                        <a:pt x="18198" y="71873"/>
                      </a:cubicBezTo>
                      <a:cubicBezTo>
                        <a:pt x="23494" y="73730"/>
                        <a:pt x="27180" y="71197"/>
                        <a:pt x="32809" y="71949"/>
                      </a:cubicBezTo>
                      <a:cubicBezTo>
                        <a:pt x="37715" y="72597"/>
                        <a:pt x="41486" y="75978"/>
                        <a:pt x="46792" y="75531"/>
                      </a:cubicBezTo>
                      <a:cubicBezTo>
                        <a:pt x="53440" y="74959"/>
                        <a:pt x="57022" y="70701"/>
                        <a:pt x="61384" y="66272"/>
                      </a:cubicBezTo>
                      <a:cubicBezTo>
                        <a:pt x="68623" y="58919"/>
                        <a:pt x="74319" y="49899"/>
                        <a:pt x="81539" y="42831"/>
                      </a:cubicBezTo>
                      <a:cubicBezTo>
                        <a:pt x="85292" y="39174"/>
                        <a:pt x="89702" y="36974"/>
                        <a:pt x="94417" y="34725"/>
                      </a:cubicBezTo>
                      <a:cubicBezTo>
                        <a:pt x="99122" y="32478"/>
                        <a:pt x="107885" y="31297"/>
                        <a:pt x="111590" y="28087"/>
                      </a:cubicBezTo>
                      <a:cubicBezTo>
                        <a:pt x="116163" y="24115"/>
                        <a:pt x="113743" y="18743"/>
                        <a:pt x="115867" y="13999"/>
                      </a:cubicBezTo>
                      <a:cubicBezTo>
                        <a:pt x="118049" y="9122"/>
                        <a:pt x="124049" y="6817"/>
                        <a:pt x="128812" y="4617"/>
                      </a:cubicBezTo>
                      <a:cubicBezTo>
                        <a:pt x="140347" y="-717"/>
                        <a:pt x="151738" y="74"/>
                        <a:pt x="164149" y="7"/>
                      </a:cubicBezTo>
                      <a:cubicBezTo>
                        <a:pt x="163197" y="11685"/>
                        <a:pt x="164292" y="11008"/>
                        <a:pt x="175322" y="11427"/>
                      </a:cubicBezTo>
                      <a:cubicBezTo>
                        <a:pt x="179161" y="11570"/>
                        <a:pt x="185009" y="10780"/>
                        <a:pt x="188552" y="11970"/>
                      </a:cubicBezTo>
                      <a:cubicBezTo>
                        <a:pt x="191600" y="12990"/>
                        <a:pt x="194582" y="15675"/>
                        <a:pt x="197640" y="17085"/>
                      </a:cubicBezTo>
                      <a:cubicBezTo>
                        <a:pt x="199420" y="17904"/>
                        <a:pt x="201545" y="17562"/>
                        <a:pt x="203259" y="18495"/>
                      </a:cubicBezTo>
                      <a:cubicBezTo>
                        <a:pt x="205640" y="19800"/>
                        <a:pt x="207012" y="23058"/>
                        <a:pt x="209431" y="24257"/>
                      </a:cubicBezTo>
                      <a:cubicBezTo>
                        <a:pt x="212479" y="25782"/>
                        <a:pt x="216813" y="24905"/>
                        <a:pt x="220271" y="25715"/>
                      </a:cubicBezTo>
                      <a:cubicBezTo>
                        <a:pt x="227481" y="27391"/>
                        <a:pt x="233101" y="33802"/>
                        <a:pt x="240349" y="33687"/>
                      </a:cubicBezTo>
                      <a:cubicBezTo>
                        <a:pt x="239225" y="37354"/>
                        <a:pt x="237454" y="39202"/>
                        <a:pt x="237549" y="43298"/>
                      </a:cubicBezTo>
                      <a:cubicBezTo>
                        <a:pt x="237654" y="47794"/>
                        <a:pt x="239730" y="51356"/>
                        <a:pt x="239445" y="56090"/>
                      </a:cubicBezTo>
                      <a:cubicBezTo>
                        <a:pt x="238949" y="64072"/>
                        <a:pt x="237140" y="71902"/>
                        <a:pt x="236825" y="79960"/>
                      </a:cubicBezTo>
                      <a:cubicBezTo>
                        <a:pt x="236625" y="85199"/>
                        <a:pt x="236501" y="91980"/>
                        <a:pt x="233139" y="96581"/>
                      </a:cubicBezTo>
                      <a:cubicBezTo>
                        <a:pt x="231691" y="98591"/>
                        <a:pt x="228024" y="99019"/>
                        <a:pt x="227158" y="100982"/>
                      </a:cubicBezTo>
                      <a:cubicBezTo>
                        <a:pt x="225271" y="105268"/>
                        <a:pt x="228577" y="104572"/>
                        <a:pt x="229214" y="107068"/>
                      </a:cubicBezTo>
                      <a:cubicBezTo>
                        <a:pt x="230720" y="112974"/>
                        <a:pt x="226891" y="118241"/>
                        <a:pt x="229472" y="125061"/>
                      </a:cubicBezTo>
                      <a:cubicBezTo>
                        <a:pt x="232939" y="134195"/>
                        <a:pt x="233692" y="135300"/>
                        <a:pt x="227891" y="144111"/>
                      </a:cubicBezTo>
                      <a:cubicBezTo>
                        <a:pt x="224338" y="149502"/>
                        <a:pt x="217375" y="153664"/>
                        <a:pt x="214708" y="158855"/>
                      </a:cubicBezTo>
                      <a:cubicBezTo>
                        <a:pt x="213442" y="161332"/>
                        <a:pt x="214470" y="164866"/>
                        <a:pt x="213375" y="167476"/>
                      </a:cubicBezTo>
                      <a:cubicBezTo>
                        <a:pt x="212641" y="169266"/>
                        <a:pt x="210194" y="170581"/>
                        <a:pt x="209717" y="172438"/>
                      </a:cubicBezTo>
                      <a:cubicBezTo>
                        <a:pt x="209365" y="173819"/>
                        <a:pt x="211203" y="176210"/>
                        <a:pt x="210746" y="177344"/>
                      </a:cubicBezTo>
                      <a:cubicBezTo>
                        <a:pt x="208536" y="182754"/>
                        <a:pt x="197982" y="189964"/>
                        <a:pt x="193106" y="194631"/>
                      </a:cubicBezTo>
                      <a:cubicBezTo>
                        <a:pt x="186629" y="200841"/>
                        <a:pt x="180390" y="208081"/>
                        <a:pt x="172770" y="212919"/>
                      </a:cubicBezTo>
                      <a:lnTo>
                        <a:pt x="172770" y="212919"/>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39" name="Freeform: Shape 538">
                  <a:extLst>
                    <a:ext uri="{FF2B5EF4-FFF2-40B4-BE49-F238E27FC236}">
                      <a16:creationId xmlns:a16="http://schemas.microsoft.com/office/drawing/2014/main" id="{9B0AAC24-6084-40E7-9969-5E409B0A981E}"/>
                    </a:ext>
                  </a:extLst>
                </p:cNvPr>
                <p:cNvSpPr/>
                <p:nvPr/>
              </p:nvSpPr>
              <p:spPr>
                <a:xfrm>
                  <a:off x="6272581" y="4623283"/>
                  <a:ext cx="371420" cy="309386"/>
                </a:xfrm>
                <a:custGeom>
                  <a:avLst/>
                  <a:gdLst>
                    <a:gd name="connsiteX0" fmla="*/ 351007 w 371420"/>
                    <a:gd name="connsiteY0" fmla="*/ 37944 h 309386"/>
                    <a:gd name="connsiteX1" fmla="*/ 352712 w 371420"/>
                    <a:gd name="connsiteY1" fmla="*/ 43173 h 309386"/>
                    <a:gd name="connsiteX2" fmla="*/ 355970 w 371420"/>
                    <a:gd name="connsiteY2" fmla="*/ 44659 h 309386"/>
                    <a:gd name="connsiteX3" fmla="*/ 359542 w 371420"/>
                    <a:gd name="connsiteY3" fmla="*/ 45726 h 309386"/>
                    <a:gd name="connsiteX4" fmla="*/ 363809 w 371420"/>
                    <a:gd name="connsiteY4" fmla="*/ 52260 h 309386"/>
                    <a:gd name="connsiteX5" fmla="*/ 364400 w 371420"/>
                    <a:gd name="connsiteY5" fmla="*/ 60080 h 309386"/>
                    <a:gd name="connsiteX6" fmla="*/ 368781 w 371420"/>
                    <a:gd name="connsiteY6" fmla="*/ 64957 h 309386"/>
                    <a:gd name="connsiteX7" fmla="*/ 369028 w 371420"/>
                    <a:gd name="connsiteY7" fmla="*/ 78254 h 309386"/>
                    <a:gd name="connsiteX8" fmla="*/ 360132 w 371420"/>
                    <a:gd name="connsiteY8" fmla="*/ 87522 h 309386"/>
                    <a:gd name="connsiteX9" fmla="*/ 361294 w 371420"/>
                    <a:gd name="connsiteY9" fmla="*/ 95961 h 309386"/>
                    <a:gd name="connsiteX10" fmla="*/ 357361 w 371420"/>
                    <a:gd name="connsiteY10" fmla="*/ 102228 h 309386"/>
                    <a:gd name="connsiteX11" fmla="*/ 358532 w 371420"/>
                    <a:gd name="connsiteY11" fmla="*/ 116821 h 309386"/>
                    <a:gd name="connsiteX12" fmla="*/ 364428 w 371420"/>
                    <a:gd name="connsiteY12" fmla="*/ 130575 h 309386"/>
                    <a:gd name="connsiteX13" fmla="*/ 354903 w 371420"/>
                    <a:gd name="connsiteY13" fmla="*/ 137385 h 309386"/>
                    <a:gd name="connsiteX14" fmla="*/ 346959 w 371420"/>
                    <a:gd name="connsiteY14" fmla="*/ 147415 h 309386"/>
                    <a:gd name="connsiteX15" fmla="*/ 335701 w 371420"/>
                    <a:gd name="connsiteY15" fmla="*/ 169713 h 309386"/>
                    <a:gd name="connsiteX16" fmla="*/ 338282 w 371420"/>
                    <a:gd name="connsiteY16" fmla="*/ 175095 h 309386"/>
                    <a:gd name="connsiteX17" fmla="*/ 344444 w 371420"/>
                    <a:gd name="connsiteY17" fmla="*/ 182905 h 309386"/>
                    <a:gd name="connsiteX18" fmla="*/ 351284 w 371420"/>
                    <a:gd name="connsiteY18" fmla="*/ 183029 h 309386"/>
                    <a:gd name="connsiteX19" fmla="*/ 292848 w 371420"/>
                    <a:gd name="connsiteY19" fmla="*/ 202403 h 309386"/>
                    <a:gd name="connsiteX20" fmla="*/ 263187 w 371420"/>
                    <a:gd name="connsiteY20" fmla="*/ 211471 h 309386"/>
                    <a:gd name="connsiteX21" fmla="*/ 257481 w 371420"/>
                    <a:gd name="connsiteY21" fmla="*/ 220319 h 309386"/>
                    <a:gd name="connsiteX22" fmla="*/ 260739 w 371420"/>
                    <a:gd name="connsiteY22" fmla="*/ 234369 h 309386"/>
                    <a:gd name="connsiteX23" fmla="*/ 211914 w 371420"/>
                    <a:gd name="connsiteY23" fmla="*/ 251514 h 309386"/>
                    <a:gd name="connsiteX24" fmla="*/ 195264 w 371420"/>
                    <a:gd name="connsiteY24" fmla="*/ 267201 h 309386"/>
                    <a:gd name="connsiteX25" fmla="*/ 172461 w 371420"/>
                    <a:gd name="connsiteY25" fmla="*/ 284642 h 309386"/>
                    <a:gd name="connsiteX26" fmla="*/ 152068 w 371420"/>
                    <a:gd name="connsiteY26" fmla="*/ 306635 h 309386"/>
                    <a:gd name="connsiteX27" fmla="*/ 126208 w 371420"/>
                    <a:gd name="connsiteY27" fmla="*/ 305997 h 309386"/>
                    <a:gd name="connsiteX28" fmla="*/ 114806 w 371420"/>
                    <a:gd name="connsiteY28" fmla="*/ 306140 h 309386"/>
                    <a:gd name="connsiteX29" fmla="*/ 108653 w 371420"/>
                    <a:gd name="connsiteY29" fmla="*/ 303177 h 309386"/>
                    <a:gd name="connsiteX30" fmla="*/ 101719 w 371420"/>
                    <a:gd name="connsiteY30" fmla="*/ 303301 h 309386"/>
                    <a:gd name="connsiteX31" fmla="*/ 90251 w 371420"/>
                    <a:gd name="connsiteY31" fmla="*/ 295119 h 309386"/>
                    <a:gd name="connsiteX32" fmla="*/ 77364 w 371420"/>
                    <a:gd name="connsiteY32" fmla="*/ 293033 h 309386"/>
                    <a:gd name="connsiteX33" fmla="*/ 50189 w 371420"/>
                    <a:gd name="connsiteY33" fmla="*/ 295376 h 309386"/>
                    <a:gd name="connsiteX34" fmla="*/ 37301 w 371420"/>
                    <a:gd name="connsiteY34" fmla="*/ 294710 h 309386"/>
                    <a:gd name="connsiteX35" fmla="*/ 26662 w 371420"/>
                    <a:gd name="connsiteY35" fmla="*/ 285042 h 309386"/>
                    <a:gd name="connsiteX36" fmla="*/ 7812 w 371420"/>
                    <a:gd name="connsiteY36" fmla="*/ 266792 h 309386"/>
                    <a:gd name="connsiteX37" fmla="*/ 78 w 371420"/>
                    <a:gd name="connsiteY37" fmla="*/ 243313 h 309386"/>
                    <a:gd name="connsiteX38" fmla="*/ 2945 w 371420"/>
                    <a:gd name="connsiteY38" fmla="*/ 184791 h 309386"/>
                    <a:gd name="connsiteX39" fmla="*/ 4250 w 371420"/>
                    <a:gd name="connsiteY39" fmla="*/ 154654 h 309386"/>
                    <a:gd name="connsiteX40" fmla="*/ 14365 w 371420"/>
                    <a:gd name="connsiteY40" fmla="*/ 151158 h 309386"/>
                    <a:gd name="connsiteX41" fmla="*/ 29053 w 371420"/>
                    <a:gd name="connsiteY41" fmla="*/ 151187 h 309386"/>
                    <a:gd name="connsiteX42" fmla="*/ 61219 w 371420"/>
                    <a:gd name="connsiteY42" fmla="*/ 151197 h 309386"/>
                    <a:gd name="connsiteX43" fmla="*/ 64467 w 371420"/>
                    <a:gd name="connsiteY43" fmla="*/ 145691 h 309386"/>
                    <a:gd name="connsiteX44" fmla="*/ 67877 w 371420"/>
                    <a:gd name="connsiteY44" fmla="*/ 132785 h 309386"/>
                    <a:gd name="connsiteX45" fmla="*/ 68705 w 371420"/>
                    <a:gd name="connsiteY45" fmla="*/ 106991 h 309386"/>
                    <a:gd name="connsiteX46" fmla="*/ 69144 w 371420"/>
                    <a:gd name="connsiteY46" fmla="*/ 84083 h 309386"/>
                    <a:gd name="connsiteX47" fmla="*/ 76906 w 371420"/>
                    <a:gd name="connsiteY47" fmla="*/ 89436 h 309386"/>
                    <a:gd name="connsiteX48" fmla="*/ 81497 w 371420"/>
                    <a:gd name="connsiteY48" fmla="*/ 93265 h 309386"/>
                    <a:gd name="connsiteX49" fmla="*/ 80621 w 371420"/>
                    <a:gd name="connsiteY49" fmla="*/ 100514 h 309386"/>
                    <a:gd name="connsiteX50" fmla="*/ 107672 w 371420"/>
                    <a:gd name="connsiteY50" fmla="*/ 95304 h 309386"/>
                    <a:gd name="connsiteX51" fmla="*/ 109768 w 371420"/>
                    <a:gd name="connsiteY51" fmla="*/ 102114 h 309386"/>
                    <a:gd name="connsiteX52" fmla="*/ 119531 w 371420"/>
                    <a:gd name="connsiteY52" fmla="*/ 111553 h 309386"/>
                    <a:gd name="connsiteX53" fmla="*/ 150696 w 371420"/>
                    <a:gd name="connsiteY53" fmla="*/ 118773 h 309386"/>
                    <a:gd name="connsiteX54" fmla="*/ 161698 w 371420"/>
                    <a:gd name="connsiteY54" fmla="*/ 114106 h 309386"/>
                    <a:gd name="connsiteX55" fmla="*/ 168346 w 371420"/>
                    <a:gd name="connsiteY55" fmla="*/ 106772 h 309386"/>
                    <a:gd name="connsiteX56" fmla="*/ 170528 w 371420"/>
                    <a:gd name="connsiteY56" fmla="*/ 113325 h 309386"/>
                    <a:gd name="connsiteX57" fmla="*/ 175957 w 371420"/>
                    <a:gd name="connsiteY57" fmla="*/ 118973 h 309386"/>
                    <a:gd name="connsiteX58" fmla="*/ 186054 w 371420"/>
                    <a:gd name="connsiteY58" fmla="*/ 128498 h 309386"/>
                    <a:gd name="connsiteX59" fmla="*/ 200941 w 371420"/>
                    <a:gd name="connsiteY59" fmla="*/ 133718 h 309386"/>
                    <a:gd name="connsiteX60" fmla="*/ 208542 w 371420"/>
                    <a:gd name="connsiteY60" fmla="*/ 144462 h 309386"/>
                    <a:gd name="connsiteX61" fmla="*/ 216362 w 371420"/>
                    <a:gd name="connsiteY61" fmla="*/ 151682 h 309386"/>
                    <a:gd name="connsiteX62" fmla="*/ 228287 w 371420"/>
                    <a:gd name="connsiteY62" fmla="*/ 163646 h 309386"/>
                    <a:gd name="connsiteX63" fmla="*/ 240832 w 371420"/>
                    <a:gd name="connsiteY63" fmla="*/ 159331 h 309386"/>
                    <a:gd name="connsiteX64" fmla="*/ 246842 w 371420"/>
                    <a:gd name="connsiteY64" fmla="*/ 162798 h 309386"/>
                    <a:gd name="connsiteX65" fmla="*/ 247871 w 371420"/>
                    <a:gd name="connsiteY65" fmla="*/ 144719 h 309386"/>
                    <a:gd name="connsiteX66" fmla="*/ 248975 w 371420"/>
                    <a:gd name="connsiteY66" fmla="*/ 124526 h 309386"/>
                    <a:gd name="connsiteX67" fmla="*/ 240765 w 371420"/>
                    <a:gd name="connsiteY67" fmla="*/ 126374 h 309386"/>
                    <a:gd name="connsiteX68" fmla="*/ 239213 w 371420"/>
                    <a:gd name="connsiteY68" fmla="*/ 132318 h 309386"/>
                    <a:gd name="connsiteX69" fmla="*/ 222629 w 371420"/>
                    <a:gd name="connsiteY69" fmla="*/ 127031 h 309386"/>
                    <a:gd name="connsiteX70" fmla="*/ 207637 w 371420"/>
                    <a:gd name="connsiteY70" fmla="*/ 111068 h 309386"/>
                    <a:gd name="connsiteX71" fmla="*/ 209475 w 371420"/>
                    <a:gd name="connsiteY71" fmla="*/ 91170 h 309386"/>
                    <a:gd name="connsiteX72" fmla="*/ 212952 w 371420"/>
                    <a:gd name="connsiteY72" fmla="*/ 80835 h 309386"/>
                    <a:gd name="connsiteX73" fmla="*/ 214695 w 371420"/>
                    <a:gd name="connsiteY73" fmla="*/ 69120 h 309386"/>
                    <a:gd name="connsiteX74" fmla="*/ 215438 w 371420"/>
                    <a:gd name="connsiteY74" fmla="*/ 46136 h 309386"/>
                    <a:gd name="connsiteX75" fmla="*/ 210132 w 371420"/>
                    <a:gd name="connsiteY75" fmla="*/ 34563 h 309386"/>
                    <a:gd name="connsiteX76" fmla="*/ 216743 w 371420"/>
                    <a:gd name="connsiteY76" fmla="*/ 27390 h 309386"/>
                    <a:gd name="connsiteX77" fmla="*/ 226259 w 371420"/>
                    <a:gd name="connsiteY77" fmla="*/ 8921 h 309386"/>
                    <a:gd name="connsiteX78" fmla="*/ 265673 w 371420"/>
                    <a:gd name="connsiteY78" fmla="*/ 2616 h 309386"/>
                    <a:gd name="connsiteX79" fmla="*/ 285028 w 371420"/>
                    <a:gd name="connsiteY79" fmla="*/ 844 h 309386"/>
                    <a:gd name="connsiteX80" fmla="*/ 294781 w 371420"/>
                    <a:gd name="connsiteY80" fmla="*/ 12893 h 309386"/>
                    <a:gd name="connsiteX81" fmla="*/ 305964 w 371420"/>
                    <a:gd name="connsiteY81" fmla="*/ 14227 h 309386"/>
                    <a:gd name="connsiteX82" fmla="*/ 310812 w 371420"/>
                    <a:gd name="connsiteY82" fmla="*/ 20818 h 309386"/>
                    <a:gd name="connsiteX83" fmla="*/ 316603 w 371420"/>
                    <a:gd name="connsiteY83" fmla="*/ 22056 h 309386"/>
                    <a:gd name="connsiteX84" fmla="*/ 320280 w 371420"/>
                    <a:gd name="connsiteY84" fmla="*/ 25743 h 309386"/>
                    <a:gd name="connsiteX85" fmla="*/ 336082 w 371420"/>
                    <a:gd name="connsiteY85" fmla="*/ 30057 h 309386"/>
                    <a:gd name="connsiteX86" fmla="*/ 351007 w 371420"/>
                    <a:gd name="connsiteY86" fmla="*/ 37944 h 309386"/>
                    <a:gd name="connsiteX87" fmla="*/ 351007 w 371420"/>
                    <a:gd name="connsiteY87" fmla="*/ 37944 h 309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371420" h="309386">
                      <a:moveTo>
                        <a:pt x="351007" y="37944"/>
                      </a:moveTo>
                      <a:cubicBezTo>
                        <a:pt x="351560" y="38973"/>
                        <a:pt x="352103" y="42478"/>
                        <a:pt x="352712" y="43173"/>
                      </a:cubicBezTo>
                      <a:cubicBezTo>
                        <a:pt x="353950" y="44583"/>
                        <a:pt x="355389" y="44164"/>
                        <a:pt x="355970" y="44659"/>
                      </a:cubicBezTo>
                      <a:cubicBezTo>
                        <a:pt x="355541" y="44297"/>
                        <a:pt x="359151" y="45469"/>
                        <a:pt x="359542" y="45726"/>
                      </a:cubicBezTo>
                      <a:cubicBezTo>
                        <a:pt x="359475" y="45688"/>
                        <a:pt x="363742" y="52003"/>
                        <a:pt x="363809" y="52260"/>
                      </a:cubicBezTo>
                      <a:cubicBezTo>
                        <a:pt x="364723" y="55880"/>
                        <a:pt x="362514" y="56346"/>
                        <a:pt x="364400" y="60080"/>
                      </a:cubicBezTo>
                      <a:cubicBezTo>
                        <a:pt x="365266" y="61795"/>
                        <a:pt x="367781" y="63233"/>
                        <a:pt x="368781" y="64957"/>
                      </a:cubicBezTo>
                      <a:cubicBezTo>
                        <a:pt x="371610" y="69853"/>
                        <a:pt x="372829" y="74158"/>
                        <a:pt x="369028" y="78254"/>
                      </a:cubicBezTo>
                      <a:cubicBezTo>
                        <a:pt x="364504" y="83131"/>
                        <a:pt x="360485" y="81045"/>
                        <a:pt x="360132" y="87522"/>
                      </a:cubicBezTo>
                      <a:cubicBezTo>
                        <a:pt x="359932" y="91160"/>
                        <a:pt x="362514" y="92046"/>
                        <a:pt x="361294" y="95961"/>
                      </a:cubicBezTo>
                      <a:cubicBezTo>
                        <a:pt x="360580" y="98256"/>
                        <a:pt x="357656" y="100447"/>
                        <a:pt x="357361" y="102228"/>
                      </a:cubicBezTo>
                      <a:cubicBezTo>
                        <a:pt x="356551" y="107115"/>
                        <a:pt x="359609" y="111039"/>
                        <a:pt x="358532" y="116821"/>
                      </a:cubicBezTo>
                      <a:cubicBezTo>
                        <a:pt x="357474" y="122526"/>
                        <a:pt x="355751" y="131308"/>
                        <a:pt x="364428" y="130575"/>
                      </a:cubicBezTo>
                      <a:cubicBezTo>
                        <a:pt x="362428" y="134575"/>
                        <a:pt x="358856" y="135880"/>
                        <a:pt x="354903" y="137385"/>
                      </a:cubicBezTo>
                      <a:cubicBezTo>
                        <a:pt x="347445" y="140233"/>
                        <a:pt x="347664" y="140529"/>
                        <a:pt x="346959" y="147415"/>
                      </a:cubicBezTo>
                      <a:cubicBezTo>
                        <a:pt x="346169" y="155064"/>
                        <a:pt x="344997" y="166760"/>
                        <a:pt x="335701" y="169713"/>
                      </a:cubicBezTo>
                      <a:cubicBezTo>
                        <a:pt x="338311" y="170856"/>
                        <a:pt x="340425" y="172580"/>
                        <a:pt x="338282" y="175095"/>
                      </a:cubicBezTo>
                      <a:cubicBezTo>
                        <a:pt x="342025" y="176733"/>
                        <a:pt x="341911" y="181305"/>
                        <a:pt x="344444" y="182905"/>
                      </a:cubicBezTo>
                      <a:cubicBezTo>
                        <a:pt x="347464" y="184810"/>
                        <a:pt x="348740" y="177724"/>
                        <a:pt x="351284" y="183029"/>
                      </a:cubicBezTo>
                      <a:cubicBezTo>
                        <a:pt x="331843" y="189477"/>
                        <a:pt x="312431" y="196612"/>
                        <a:pt x="292848" y="202403"/>
                      </a:cubicBezTo>
                      <a:cubicBezTo>
                        <a:pt x="282884" y="205356"/>
                        <a:pt x="272864" y="207718"/>
                        <a:pt x="263187" y="211471"/>
                      </a:cubicBezTo>
                      <a:cubicBezTo>
                        <a:pt x="257205" y="213785"/>
                        <a:pt x="255910" y="213814"/>
                        <a:pt x="257481" y="220319"/>
                      </a:cubicBezTo>
                      <a:cubicBezTo>
                        <a:pt x="258700" y="225358"/>
                        <a:pt x="260634" y="228797"/>
                        <a:pt x="260739" y="234369"/>
                      </a:cubicBezTo>
                      <a:cubicBezTo>
                        <a:pt x="245918" y="234359"/>
                        <a:pt x="216448" y="233159"/>
                        <a:pt x="211914" y="251514"/>
                      </a:cubicBezTo>
                      <a:cubicBezTo>
                        <a:pt x="209028" y="263220"/>
                        <a:pt x="206599" y="262477"/>
                        <a:pt x="195264" y="267201"/>
                      </a:cubicBezTo>
                      <a:cubicBezTo>
                        <a:pt x="185177" y="271392"/>
                        <a:pt x="178843" y="275955"/>
                        <a:pt x="172461" y="284642"/>
                      </a:cubicBezTo>
                      <a:cubicBezTo>
                        <a:pt x="167222" y="291747"/>
                        <a:pt x="159450" y="301653"/>
                        <a:pt x="152068" y="306635"/>
                      </a:cubicBezTo>
                      <a:cubicBezTo>
                        <a:pt x="142219" y="313274"/>
                        <a:pt x="136095" y="305787"/>
                        <a:pt x="126208" y="305997"/>
                      </a:cubicBezTo>
                      <a:cubicBezTo>
                        <a:pt x="121312" y="306102"/>
                        <a:pt x="119540" y="307835"/>
                        <a:pt x="114806" y="306140"/>
                      </a:cubicBezTo>
                      <a:cubicBezTo>
                        <a:pt x="112416" y="305282"/>
                        <a:pt x="111435" y="303730"/>
                        <a:pt x="108653" y="303177"/>
                      </a:cubicBezTo>
                      <a:cubicBezTo>
                        <a:pt x="106796" y="302815"/>
                        <a:pt x="104062" y="303853"/>
                        <a:pt x="101719" y="303301"/>
                      </a:cubicBezTo>
                      <a:cubicBezTo>
                        <a:pt x="96290" y="302025"/>
                        <a:pt x="94909" y="297596"/>
                        <a:pt x="90251" y="295119"/>
                      </a:cubicBezTo>
                      <a:cubicBezTo>
                        <a:pt x="86574" y="293176"/>
                        <a:pt x="81450" y="293414"/>
                        <a:pt x="77364" y="293033"/>
                      </a:cubicBezTo>
                      <a:cubicBezTo>
                        <a:pt x="67819" y="292157"/>
                        <a:pt x="59590" y="293595"/>
                        <a:pt x="50189" y="295376"/>
                      </a:cubicBezTo>
                      <a:cubicBezTo>
                        <a:pt x="44360" y="296481"/>
                        <a:pt x="42102" y="297567"/>
                        <a:pt x="37301" y="294710"/>
                      </a:cubicBezTo>
                      <a:cubicBezTo>
                        <a:pt x="33406" y="292386"/>
                        <a:pt x="29929" y="288137"/>
                        <a:pt x="26662" y="285042"/>
                      </a:cubicBezTo>
                      <a:cubicBezTo>
                        <a:pt x="20280" y="279022"/>
                        <a:pt x="14165" y="272716"/>
                        <a:pt x="7812" y="266792"/>
                      </a:cubicBezTo>
                      <a:cubicBezTo>
                        <a:pt x="1706" y="261115"/>
                        <a:pt x="316" y="251980"/>
                        <a:pt x="78" y="243313"/>
                      </a:cubicBezTo>
                      <a:cubicBezTo>
                        <a:pt x="-475" y="223958"/>
                        <a:pt x="2069" y="204117"/>
                        <a:pt x="2945" y="184791"/>
                      </a:cubicBezTo>
                      <a:cubicBezTo>
                        <a:pt x="3335" y="176238"/>
                        <a:pt x="1364" y="162607"/>
                        <a:pt x="4250" y="154654"/>
                      </a:cubicBezTo>
                      <a:cubicBezTo>
                        <a:pt x="6078" y="149577"/>
                        <a:pt x="8431" y="151130"/>
                        <a:pt x="14365" y="151158"/>
                      </a:cubicBezTo>
                      <a:cubicBezTo>
                        <a:pt x="19271" y="151177"/>
                        <a:pt x="24109" y="151197"/>
                        <a:pt x="29053" y="151187"/>
                      </a:cubicBezTo>
                      <a:cubicBezTo>
                        <a:pt x="39149" y="151168"/>
                        <a:pt x="51341" y="153054"/>
                        <a:pt x="61219" y="151197"/>
                      </a:cubicBezTo>
                      <a:cubicBezTo>
                        <a:pt x="68381" y="149844"/>
                        <a:pt x="64133" y="151406"/>
                        <a:pt x="64467" y="145691"/>
                      </a:cubicBezTo>
                      <a:cubicBezTo>
                        <a:pt x="64714" y="141167"/>
                        <a:pt x="67029" y="137376"/>
                        <a:pt x="67877" y="132785"/>
                      </a:cubicBezTo>
                      <a:cubicBezTo>
                        <a:pt x="69391" y="124650"/>
                        <a:pt x="66905" y="115354"/>
                        <a:pt x="68705" y="106991"/>
                      </a:cubicBezTo>
                      <a:cubicBezTo>
                        <a:pt x="70448" y="98904"/>
                        <a:pt x="70401" y="92818"/>
                        <a:pt x="69144" y="84083"/>
                      </a:cubicBezTo>
                      <a:cubicBezTo>
                        <a:pt x="71963" y="83969"/>
                        <a:pt x="75259" y="87884"/>
                        <a:pt x="76906" y="89436"/>
                      </a:cubicBezTo>
                      <a:cubicBezTo>
                        <a:pt x="78935" y="91341"/>
                        <a:pt x="80335" y="90208"/>
                        <a:pt x="81497" y="93265"/>
                      </a:cubicBezTo>
                      <a:cubicBezTo>
                        <a:pt x="82374" y="95599"/>
                        <a:pt x="79935" y="99733"/>
                        <a:pt x="80621" y="100514"/>
                      </a:cubicBezTo>
                      <a:cubicBezTo>
                        <a:pt x="85212" y="105791"/>
                        <a:pt x="101119" y="93570"/>
                        <a:pt x="107672" y="95304"/>
                      </a:cubicBezTo>
                      <a:cubicBezTo>
                        <a:pt x="112130" y="96485"/>
                        <a:pt x="109272" y="96618"/>
                        <a:pt x="109768" y="102114"/>
                      </a:cubicBezTo>
                      <a:cubicBezTo>
                        <a:pt x="110415" y="109344"/>
                        <a:pt x="114435" y="109858"/>
                        <a:pt x="119531" y="111553"/>
                      </a:cubicBezTo>
                      <a:cubicBezTo>
                        <a:pt x="129799" y="114963"/>
                        <a:pt x="139667" y="118430"/>
                        <a:pt x="150696" y="118773"/>
                      </a:cubicBezTo>
                      <a:cubicBezTo>
                        <a:pt x="156402" y="118954"/>
                        <a:pt x="158717" y="118592"/>
                        <a:pt x="161698" y="114106"/>
                      </a:cubicBezTo>
                      <a:cubicBezTo>
                        <a:pt x="163384" y="111582"/>
                        <a:pt x="163508" y="104676"/>
                        <a:pt x="168346" y="106772"/>
                      </a:cubicBezTo>
                      <a:cubicBezTo>
                        <a:pt x="169832" y="107410"/>
                        <a:pt x="169680" y="111934"/>
                        <a:pt x="170528" y="113325"/>
                      </a:cubicBezTo>
                      <a:cubicBezTo>
                        <a:pt x="171861" y="115506"/>
                        <a:pt x="174557" y="116754"/>
                        <a:pt x="175957" y="118973"/>
                      </a:cubicBezTo>
                      <a:cubicBezTo>
                        <a:pt x="180053" y="125479"/>
                        <a:pt x="177900" y="126212"/>
                        <a:pt x="186054" y="128498"/>
                      </a:cubicBezTo>
                      <a:cubicBezTo>
                        <a:pt x="190949" y="129879"/>
                        <a:pt x="196331" y="131175"/>
                        <a:pt x="200941" y="133718"/>
                      </a:cubicBezTo>
                      <a:cubicBezTo>
                        <a:pt x="207209" y="137166"/>
                        <a:pt x="204694" y="139281"/>
                        <a:pt x="208542" y="144462"/>
                      </a:cubicBezTo>
                      <a:cubicBezTo>
                        <a:pt x="210580" y="147196"/>
                        <a:pt x="213876" y="148206"/>
                        <a:pt x="216362" y="151682"/>
                      </a:cubicBezTo>
                      <a:cubicBezTo>
                        <a:pt x="220315" y="157207"/>
                        <a:pt x="219667" y="164284"/>
                        <a:pt x="228287" y="163646"/>
                      </a:cubicBezTo>
                      <a:cubicBezTo>
                        <a:pt x="232164" y="163360"/>
                        <a:pt x="236879" y="157492"/>
                        <a:pt x="240832" y="159331"/>
                      </a:cubicBezTo>
                      <a:cubicBezTo>
                        <a:pt x="243470" y="160550"/>
                        <a:pt x="242489" y="169751"/>
                        <a:pt x="246842" y="162798"/>
                      </a:cubicBezTo>
                      <a:cubicBezTo>
                        <a:pt x="248909" y="159493"/>
                        <a:pt x="247652" y="148825"/>
                        <a:pt x="247871" y="144719"/>
                      </a:cubicBezTo>
                      <a:cubicBezTo>
                        <a:pt x="248242" y="137985"/>
                        <a:pt x="248642" y="131261"/>
                        <a:pt x="248975" y="124526"/>
                      </a:cubicBezTo>
                      <a:cubicBezTo>
                        <a:pt x="246947" y="125479"/>
                        <a:pt x="242089" y="125098"/>
                        <a:pt x="240765" y="126374"/>
                      </a:cubicBezTo>
                      <a:cubicBezTo>
                        <a:pt x="239089" y="128012"/>
                        <a:pt x="240622" y="131194"/>
                        <a:pt x="239213" y="132318"/>
                      </a:cubicBezTo>
                      <a:cubicBezTo>
                        <a:pt x="234993" y="135680"/>
                        <a:pt x="225753" y="129680"/>
                        <a:pt x="222629" y="127031"/>
                      </a:cubicBezTo>
                      <a:cubicBezTo>
                        <a:pt x="217457" y="122650"/>
                        <a:pt x="210523" y="117202"/>
                        <a:pt x="207637" y="111068"/>
                      </a:cubicBezTo>
                      <a:cubicBezTo>
                        <a:pt x="204179" y="103714"/>
                        <a:pt x="207218" y="98523"/>
                        <a:pt x="209475" y="91170"/>
                      </a:cubicBezTo>
                      <a:cubicBezTo>
                        <a:pt x="210551" y="87674"/>
                        <a:pt x="211657" y="84112"/>
                        <a:pt x="212952" y="80835"/>
                      </a:cubicBezTo>
                      <a:cubicBezTo>
                        <a:pt x="215076" y="75463"/>
                        <a:pt x="214657" y="75006"/>
                        <a:pt x="214695" y="69120"/>
                      </a:cubicBezTo>
                      <a:cubicBezTo>
                        <a:pt x="214743" y="61442"/>
                        <a:pt x="217228" y="53803"/>
                        <a:pt x="215438" y="46136"/>
                      </a:cubicBezTo>
                      <a:cubicBezTo>
                        <a:pt x="214647" y="42735"/>
                        <a:pt x="210180" y="37573"/>
                        <a:pt x="210132" y="34563"/>
                      </a:cubicBezTo>
                      <a:cubicBezTo>
                        <a:pt x="210066" y="30610"/>
                        <a:pt x="213504" y="30077"/>
                        <a:pt x="216743" y="27390"/>
                      </a:cubicBezTo>
                      <a:cubicBezTo>
                        <a:pt x="221705" y="23276"/>
                        <a:pt x="229583" y="15913"/>
                        <a:pt x="226259" y="8921"/>
                      </a:cubicBezTo>
                      <a:cubicBezTo>
                        <a:pt x="238831" y="5388"/>
                        <a:pt x="252747" y="4578"/>
                        <a:pt x="265673" y="2616"/>
                      </a:cubicBezTo>
                      <a:cubicBezTo>
                        <a:pt x="270569" y="1873"/>
                        <a:pt x="281741" y="-1565"/>
                        <a:pt x="285028" y="844"/>
                      </a:cubicBezTo>
                      <a:cubicBezTo>
                        <a:pt x="289200" y="3921"/>
                        <a:pt x="288180" y="10922"/>
                        <a:pt x="294781" y="12893"/>
                      </a:cubicBezTo>
                      <a:cubicBezTo>
                        <a:pt x="298839" y="14103"/>
                        <a:pt x="302096" y="11684"/>
                        <a:pt x="305964" y="14227"/>
                      </a:cubicBezTo>
                      <a:cubicBezTo>
                        <a:pt x="308821" y="16094"/>
                        <a:pt x="308193" y="19037"/>
                        <a:pt x="310812" y="20818"/>
                      </a:cubicBezTo>
                      <a:cubicBezTo>
                        <a:pt x="313021" y="22333"/>
                        <a:pt x="314936" y="21009"/>
                        <a:pt x="316603" y="22056"/>
                      </a:cubicBezTo>
                      <a:cubicBezTo>
                        <a:pt x="317355" y="22523"/>
                        <a:pt x="320775" y="26000"/>
                        <a:pt x="320280" y="25743"/>
                      </a:cubicBezTo>
                      <a:cubicBezTo>
                        <a:pt x="324804" y="28029"/>
                        <a:pt x="330938" y="28067"/>
                        <a:pt x="336082" y="30057"/>
                      </a:cubicBezTo>
                      <a:cubicBezTo>
                        <a:pt x="340673" y="31791"/>
                        <a:pt x="346493" y="35401"/>
                        <a:pt x="351007" y="37944"/>
                      </a:cubicBezTo>
                      <a:lnTo>
                        <a:pt x="351007" y="37944"/>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40" name="Freeform: Shape 539">
                  <a:extLst>
                    <a:ext uri="{FF2B5EF4-FFF2-40B4-BE49-F238E27FC236}">
                      <a16:creationId xmlns:a16="http://schemas.microsoft.com/office/drawing/2014/main" id="{37241909-6BCF-47F3-B7D6-100E1A80B1AC}"/>
                    </a:ext>
                  </a:extLst>
                </p:cNvPr>
                <p:cNvSpPr/>
                <p:nvPr/>
              </p:nvSpPr>
              <p:spPr>
                <a:xfrm>
                  <a:off x="6080054" y="5063445"/>
                  <a:ext cx="493604" cy="396661"/>
                </a:xfrm>
                <a:custGeom>
                  <a:avLst/>
                  <a:gdLst>
                    <a:gd name="connsiteX0" fmla="*/ 428987 w 493604"/>
                    <a:gd name="connsiteY0" fmla="*/ 3614 h 396661"/>
                    <a:gd name="connsiteX1" fmla="*/ 459324 w 493604"/>
                    <a:gd name="connsiteY1" fmla="*/ 5291 h 396661"/>
                    <a:gd name="connsiteX2" fmla="*/ 466220 w 493604"/>
                    <a:gd name="connsiteY2" fmla="*/ 33856 h 396661"/>
                    <a:gd name="connsiteX3" fmla="*/ 473230 w 493604"/>
                    <a:gd name="connsiteY3" fmla="*/ 57488 h 396661"/>
                    <a:gd name="connsiteX4" fmla="*/ 474336 w 493604"/>
                    <a:gd name="connsiteY4" fmla="*/ 84786 h 396661"/>
                    <a:gd name="connsiteX5" fmla="*/ 468839 w 493604"/>
                    <a:gd name="connsiteY5" fmla="*/ 116762 h 396661"/>
                    <a:gd name="connsiteX6" fmla="*/ 461743 w 493604"/>
                    <a:gd name="connsiteY6" fmla="*/ 117057 h 396661"/>
                    <a:gd name="connsiteX7" fmla="*/ 451581 w 493604"/>
                    <a:gd name="connsiteY7" fmla="*/ 112733 h 396661"/>
                    <a:gd name="connsiteX8" fmla="*/ 432635 w 493604"/>
                    <a:gd name="connsiteY8" fmla="*/ 134735 h 396661"/>
                    <a:gd name="connsiteX9" fmla="*/ 444046 w 493604"/>
                    <a:gd name="connsiteY9" fmla="*/ 159453 h 396661"/>
                    <a:gd name="connsiteX10" fmla="*/ 460924 w 493604"/>
                    <a:gd name="connsiteY10" fmla="*/ 161624 h 396661"/>
                    <a:gd name="connsiteX11" fmla="*/ 464430 w 493604"/>
                    <a:gd name="connsiteY11" fmla="*/ 156881 h 396661"/>
                    <a:gd name="connsiteX12" fmla="*/ 466792 w 493604"/>
                    <a:gd name="connsiteY12" fmla="*/ 147385 h 396661"/>
                    <a:gd name="connsiteX13" fmla="*/ 493605 w 493604"/>
                    <a:gd name="connsiteY13" fmla="*/ 147194 h 396661"/>
                    <a:gd name="connsiteX14" fmla="*/ 483641 w 493604"/>
                    <a:gd name="connsiteY14" fmla="*/ 171130 h 396661"/>
                    <a:gd name="connsiteX15" fmla="*/ 473897 w 493604"/>
                    <a:gd name="connsiteY15" fmla="*/ 195476 h 396661"/>
                    <a:gd name="connsiteX16" fmla="*/ 455438 w 493604"/>
                    <a:gd name="connsiteY16" fmla="*/ 212183 h 396661"/>
                    <a:gd name="connsiteX17" fmla="*/ 434245 w 493604"/>
                    <a:gd name="connsiteY17" fmla="*/ 230204 h 396661"/>
                    <a:gd name="connsiteX18" fmla="*/ 402070 w 493604"/>
                    <a:gd name="connsiteY18" fmla="*/ 273934 h 396661"/>
                    <a:gd name="connsiteX19" fmla="*/ 360912 w 493604"/>
                    <a:gd name="connsiteY19" fmla="*/ 309976 h 396661"/>
                    <a:gd name="connsiteX20" fmla="*/ 317125 w 493604"/>
                    <a:gd name="connsiteY20" fmla="*/ 343962 h 396661"/>
                    <a:gd name="connsiteX21" fmla="*/ 267348 w 493604"/>
                    <a:gd name="connsiteY21" fmla="*/ 363821 h 396661"/>
                    <a:gd name="connsiteX22" fmla="*/ 257089 w 493604"/>
                    <a:gd name="connsiteY22" fmla="*/ 364745 h 396661"/>
                    <a:gd name="connsiteX23" fmla="*/ 249393 w 493604"/>
                    <a:gd name="connsiteY23" fmla="*/ 373498 h 396661"/>
                    <a:gd name="connsiteX24" fmla="*/ 236296 w 493604"/>
                    <a:gd name="connsiteY24" fmla="*/ 371451 h 396661"/>
                    <a:gd name="connsiteX25" fmla="*/ 226971 w 493604"/>
                    <a:gd name="connsiteY25" fmla="*/ 377775 h 396661"/>
                    <a:gd name="connsiteX26" fmla="*/ 196787 w 493604"/>
                    <a:gd name="connsiteY26" fmla="*/ 372308 h 396661"/>
                    <a:gd name="connsiteX27" fmla="*/ 173765 w 493604"/>
                    <a:gd name="connsiteY27" fmla="*/ 374461 h 396661"/>
                    <a:gd name="connsiteX28" fmla="*/ 144942 w 493604"/>
                    <a:gd name="connsiteY28" fmla="*/ 380833 h 396661"/>
                    <a:gd name="connsiteX29" fmla="*/ 118529 w 493604"/>
                    <a:gd name="connsiteY29" fmla="*/ 383966 h 396661"/>
                    <a:gd name="connsiteX30" fmla="*/ 93107 w 493604"/>
                    <a:gd name="connsiteY30" fmla="*/ 393577 h 396661"/>
                    <a:gd name="connsiteX31" fmla="*/ 81972 w 493604"/>
                    <a:gd name="connsiteY31" fmla="*/ 396263 h 396661"/>
                    <a:gd name="connsiteX32" fmla="*/ 74581 w 493604"/>
                    <a:gd name="connsiteY32" fmla="*/ 394558 h 396661"/>
                    <a:gd name="connsiteX33" fmla="*/ 67628 w 493604"/>
                    <a:gd name="connsiteY33" fmla="*/ 391825 h 396661"/>
                    <a:gd name="connsiteX34" fmla="*/ 54959 w 493604"/>
                    <a:gd name="connsiteY34" fmla="*/ 383919 h 396661"/>
                    <a:gd name="connsiteX35" fmla="*/ 52273 w 493604"/>
                    <a:gd name="connsiteY35" fmla="*/ 374718 h 396661"/>
                    <a:gd name="connsiteX36" fmla="*/ 44377 w 493604"/>
                    <a:gd name="connsiteY36" fmla="*/ 383376 h 396661"/>
                    <a:gd name="connsiteX37" fmla="*/ 41624 w 493604"/>
                    <a:gd name="connsiteY37" fmla="*/ 377451 h 396661"/>
                    <a:gd name="connsiteX38" fmla="*/ 44920 w 493604"/>
                    <a:gd name="connsiteY38" fmla="*/ 369336 h 396661"/>
                    <a:gd name="connsiteX39" fmla="*/ 38367 w 493604"/>
                    <a:gd name="connsiteY39" fmla="*/ 352248 h 396661"/>
                    <a:gd name="connsiteX40" fmla="*/ 31709 w 493604"/>
                    <a:gd name="connsiteY40" fmla="*/ 334303 h 396661"/>
                    <a:gd name="connsiteX41" fmla="*/ 37795 w 493604"/>
                    <a:gd name="connsiteY41" fmla="*/ 333455 h 396661"/>
                    <a:gd name="connsiteX42" fmla="*/ 45568 w 493604"/>
                    <a:gd name="connsiteY42" fmla="*/ 325350 h 396661"/>
                    <a:gd name="connsiteX43" fmla="*/ 35709 w 493604"/>
                    <a:gd name="connsiteY43" fmla="*/ 287297 h 396661"/>
                    <a:gd name="connsiteX44" fmla="*/ 18279 w 493604"/>
                    <a:gd name="connsiteY44" fmla="*/ 248712 h 396661"/>
                    <a:gd name="connsiteX45" fmla="*/ 0 w 493604"/>
                    <a:gd name="connsiteY45" fmla="*/ 202896 h 396661"/>
                    <a:gd name="connsiteX46" fmla="*/ 8201 w 493604"/>
                    <a:gd name="connsiteY46" fmla="*/ 198334 h 396661"/>
                    <a:gd name="connsiteX47" fmla="*/ 11487 w 493604"/>
                    <a:gd name="connsiteY47" fmla="*/ 191771 h 396661"/>
                    <a:gd name="connsiteX48" fmla="*/ 24956 w 493604"/>
                    <a:gd name="connsiteY48" fmla="*/ 190695 h 396661"/>
                    <a:gd name="connsiteX49" fmla="*/ 27756 w 493604"/>
                    <a:gd name="connsiteY49" fmla="*/ 196781 h 396661"/>
                    <a:gd name="connsiteX50" fmla="*/ 29185 w 493604"/>
                    <a:gd name="connsiteY50" fmla="*/ 204858 h 396661"/>
                    <a:gd name="connsiteX51" fmla="*/ 53483 w 493604"/>
                    <a:gd name="connsiteY51" fmla="*/ 211278 h 396661"/>
                    <a:gd name="connsiteX52" fmla="*/ 66475 w 493604"/>
                    <a:gd name="connsiteY52" fmla="*/ 210592 h 396661"/>
                    <a:gd name="connsiteX53" fmla="*/ 79458 w 493604"/>
                    <a:gd name="connsiteY53" fmla="*/ 212983 h 396661"/>
                    <a:gd name="connsiteX54" fmla="*/ 84420 w 493604"/>
                    <a:gd name="connsiteY54" fmla="*/ 206554 h 396661"/>
                    <a:gd name="connsiteX55" fmla="*/ 95688 w 493604"/>
                    <a:gd name="connsiteY55" fmla="*/ 199324 h 396661"/>
                    <a:gd name="connsiteX56" fmla="*/ 105223 w 493604"/>
                    <a:gd name="connsiteY56" fmla="*/ 194400 h 396661"/>
                    <a:gd name="connsiteX57" fmla="*/ 106413 w 493604"/>
                    <a:gd name="connsiteY57" fmla="*/ 179265 h 396661"/>
                    <a:gd name="connsiteX58" fmla="*/ 108728 w 493604"/>
                    <a:gd name="connsiteY58" fmla="*/ 150547 h 396661"/>
                    <a:gd name="connsiteX59" fmla="*/ 113948 w 493604"/>
                    <a:gd name="connsiteY59" fmla="*/ 81910 h 396661"/>
                    <a:gd name="connsiteX60" fmla="*/ 135636 w 493604"/>
                    <a:gd name="connsiteY60" fmla="*/ 121715 h 396661"/>
                    <a:gd name="connsiteX61" fmla="*/ 128731 w 493604"/>
                    <a:gd name="connsiteY61" fmla="*/ 139403 h 396661"/>
                    <a:gd name="connsiteX62" fmla="*/ 144828 w 493604"/>
                    <a:gd name="connsiteY62" fmla="*/ 147070 h 396661"/>
                    <a:gd name="connsiteX63" fmla="*/ 155543 w 493604"/>
                    <a:gd name="connsiteY63" fmla="*/ 147070 h 396661"/>
                    <a:gd name="connsiteX64" fmla="*/ 163630 w 493604"/>
                    <a:gd name="connsiteY64" fmla="*/ 142508 h 396661"/>
                    <a:gd name="connsiteX65" fmla="*/ 172564 w 493604"/>
                    <a:gd name="connsiteY65" fmla="*/ 138765 h 396661"/>
                    <a:gd name="connsiteX66" fmla="*/ 181899 w 493604"/>
                    <a:gd name="connsiteY66" fmla="*/ 129373 h 396661"/>
                    <a:gd name="connsiteX67" fmla="*/ 195710 w 493604"/>
                    <a:gd name="connsiteY67" fmla="*/ 111275 h 396661"/>
                    <a:gd name="connsiteX68" fmla="*/ 208722 w 493604"/>
                    <a:gd name="connsiteY68" fmla="*/ 97835 h 396661"/>
                    <a:gd name="connsiteX69" fmla="*/ 228314 w 493604"/>
                    <a:gd name="connsiteY69" fmla="*/ 107008 h 396661"/>
                    <a:gd name="connsiteX70" fmla="*/ 237468 w 493604"/>
                    <a:gd name="connsiteY70" fmla="*/ 108884 h 396661"/>
                    <a:gd name="connsiteX71" fmla="*/ 248593 w 493604"/>
                    <a:gd name="connsiteY71" fmla="*/ 113609 h 396661"/>
                    <a:gd name="connsiteX72" fmla="*/ 269405 w 493604"/>
                    <a:gd name="connsiteY72" fmla="*/ 112618 h 396661"/>
                    <a:gd name="connsiteX73" fmla="*/ 284759 w 493604"/>
                    <a:gd name="connsiteY73" fmla="*/ 97645 h 396661"/>
                    <a:gd name="connsiteX74" fmla="*/ 296037 w 493604"/>
                    <a:gd name="connsiteY74" fmla="*/ 79538 h 396661"/>
                    <a:gd name="connsiteX75" fmla="*/ 308181 w 493604"/>
                    <a:gd name="connsiteY75" fmla="*/ 76242 h 396661"/>
                    <a:gd name="connsiteX76" fmla="*/ 315306 w 493604"/>
                    <a:gd name="connsiteY76" fmla="*/ 69403 h 396661"/>
                    <a:gd name="connsiteX77" fmla="*/ 322783 w 493604"/>
                    <a:gd name="connsiteY77" fmla="*/ 61764 h 396661"/>
                    <a:gd name="connsiteX78" fmla="*/ 327527 w 493604"/>
                    <a:gd name="connsiteY78" fmla="*/ 48629 h 396661"/>
                    <a:gd name="connsiteX79" fmla="*/ 344738 w 493604"/>
                    <a:gd name="connsiteY79" fmla="*/ 37209 h 396661"/>
                    <a:gd name="connsiteX80" fmla="*/ 380562 w 493604"/>
                    <a:gd name="connsiteY80" fmla="*/ 11882 h 396661"/>
                    <a:gd name="connsiteX81" fmla="*/ 403936 w 493604"/>
                    <a:gd name="connsiteY81" fmla="*/ 585 h 396661"/>
                    <a:gd name="connsiteX82" fmla="*/ 428987 w 493604"/>
                    <a:gd name="connsiteY82" fmla="*/ 3614 h 396661"/>
                    <a:gd name="connsiteX83" fmla="*/ 428987 w 493604"/>
                    <a:gd name="connsiteY83" fmla="*/ 3614 h 396661"/>
                    <a:gd name="connsiteX84" fmla="*/ 335575 w 493604"/>
                    <a:gd name="connsiteY84" fmla="*/ 212088 h 396661"/>
                    <a:gd name="connsiteX85" fmla="*/ 321926 w 493604"/>
                    <a:gd name="connsiteY85" fmla="*/ 226280 h 396661"/>
                    <a:gd name="connsiteX86" fmla="*/ 310887 w 493604"/>
                    <a:gd name="connsiteY86" fmla="*/ 239387 h 396661"/>
                    <a:gd name="connsiteX87" fmla="*/ 334470 w 493604"/>
                    <a:gd name="connsiteY87" fmla="*/ 266666 h 396661"/>
                    <a:gd name="connsiteX88" fmla="*/ 346777 w 493604"/>
                    <a:gd name="connsiteY88" fmla="*/ 251626 h 396661"/>
                    <a:gd name="connsiteX89" fmla="*/ 363979 w 493604"/>
                    <a:gd name="connsiteY89" fmla="*/ 247026 h 396661"/>
                    <a:gd name="connsiteX90" fmla="*/ 370208 w 493604"/>
                    <a:gd name="connsiteY90" fmla="*/ 240168 h 396661"/>
                    <a:gd name="connsiteX91" fmla="*/ 376466 w 493604"/>
                    <a:gd name="connsiteY91" fmla="*/ 232338 h 396661"/>
                    <a:gd name="connsiteX92" fmla="*/ 376009 w 493604"/>
                    <a:gd name="connsiteY92" fmla="*/ 216746 h 396661"/>
                    <a:gd name="connsiteX93" fmla="*/ 360674 w 493604"/>
                    <a:gd name="connsiteY93" fmla="*/ 201991 h 396661"/>
                    <a:gd name="connsiteX94" fmla="*/ 335575 w 493604"/>
                    <a:gd name="connsiteY94" fmla="*/ 212088 h 396661"/>
                    <a:gd name="connsiteX95" fmla="*/ 335575 w 493604"/>
                    <a:gd name="connsiteY95" fmla="*/ 212088 h 39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493604" h="396661">
                      <a:moveTo>
                        <a:pt x="428987" y="3614"/>
                      </a:moveTo>
                      <a:cubicBezTo>
                        <a:pt x="437016" y="4776"/>
                        <a:pt x="452571" y="319"/>
                        <a:pt x="459324" y="5291"/>
                      </a:cubicBezTo>
                      <a:cubicBezTo>
                        <a:pt x="465087" y="9520"/>
                        <a:pt x="465934" y="26579"/>
                        <a:pt x="466220" y="33856"/>
                      </a:cubicBezTo>
                      <a:cubicBezTo>
                        <a:pt x="466563" y="42848"/>
                        <a:pt x="470792" y="48858"/>
                        <a:pt x="473230" y="57488"/>
                      </a:cubicBezTo>
                      <a:cubicBezTo>
                        <a:pt x="475907" y="66974"/>
                        <a:pt x="475412" y="75118"/>
                        <a:pt x="474336" y="84786"/>
                      </a:cubicBezTo>
                      <a:cubicBezTo>
                        <a:pt x="473336" y="93807"/>
                        <a:pt x="473945" y="109494"/>
                        <a:pt x="468839" y="116762"/>
                      </a:cubicBezTo>
                      <a:cubicBezTo>
                        <a:pt x="466420" y="120181"/>
                        <a:pt x="468259" y="120419"/>
                        <a:pt x="461743" y="117057"/>
                      </a:cubicBezTo>
                      <a:cubicBezTo>
                        <a:pt x="458305" y="115285"/>
                        <a:pt x="455495" y="112094"/>
                        <a:pt x="451581" y="112733"/>
                      </a:cubicBezTo>
                      <a:cubicBezTo>
                        <a:pt x="445799" y="113676"/>
                        <a:pt x="434673" y="129792"/>
                        <a:pt x="432635" y="134735"/>
                      </a:cubicBezTo>
                      <a:cubicBezTo>
                        <a:pt x="429368" y="142670"/>
                        <a:pt x="435979" y="155671"/>
                        <a:pt x="444046" y="159453"/>
                      </a:cubicBezTo>
                      <a:cubicBezTo>
                        <a:pt x="447951" y="161272"/>
                        <a:pt x="456800" y="163349"/>
                        <a:pt x="460924" y="161624"/>
                      </a:cubicBezTo>
                      <a:cubicBezTo>
                        <a:pt x="465639" y="159662"/>
                        <a:pt x="462353" y="162234"/>
                        <a:pt x="464430" y="156881"/>
                      </a:cubicBezTo>
                      <a:cubicBezTo>
                        <a:pt x="465220" y="154823"/>
                        <a:pt x="465020" y="149147"/>
                        <a:pt x="466792" y="147385"/>
                      </a:cubicBezTo>
                      <a:cubicBezTo>
                        <a:pt x="469582" y="144575"/>
                        <a:pt x="488118" y="147251"/>
                        <a:pt x="493605" y="147194"/>
                      </a:cubicBezTo>
                      <a:cubicBezTo>
                        <a:pt x="491185" y="155681"/>
                        <a:pt x="486728" y="162910"/>
                        <a:pt x="483641" y="171130"/>
                      </a:cubicBezTo>
                      <a:cubicBezTo>
                        <a:pt x="480470" y="179579"/>
                        <a:pt x="478927" y="187951"/>
                        <a:pt x="473897" y="195476"/>
                      </a:cubicBezTo>
                      <a:cubicBezTo>
                        <a:pt x="468963" y="202830"/>
                        <a:pt x="463153" y="207868"/>
                        <a:pt x="455438" y="212183"/>
                      </a:cubicBezTo>
                      <a:cubicBezTo>
                        <a:pt x="447599" y="216574"/>
                        <a:pt x="440322" y="222956"/>
                        <a:pt x="434245" y="230204"/>
                      </a:cubicBezTo>
                      <a:cubicBezTo>
                        <a:pt x="422710" y="243958"/>
                        <a:pt x="413718" y="259999"/>
                        <a:pt x="402070" y="273934"/>
                      </a:cubicBezTo>
                      <a:cubicBezTo>
                        <a:pt x="390087" y="288278"/>
                        <a:pt x="374456" y="297242"/>
                        <a:pt x="360912" y="309976"/>
                      </a:cubicBezTo>
                      <a:cubicBezTo>
                        <a:pt x="347320" y="322768"/>
                        <a:pt x="332823" y="333989"/>
                        <a:pt x="317125" y="343962"/>
                      </a:cubicBezTo>
                      <a:cubicBezTo>
                        <a:pt x="301409" y="353963"/>
                        <a:pt x="286474" y="365116"/>
                        <a:pt x="267348" y="363821"/>
                      </a:cubicBezTo>
                      <a:cubicBezTo>
                        <a:pt x="263900" y="363592"/>
                        <a:pt x="260271" y="362926"/>
                        <a:pt x="257089" y="364745"/>
                      </a:cubicBezTo>
                      <a:cubicBezTo>
                        <a:pt x="252460" y="367365"/>
                        <a:pt x="253680" y="372146"/>
                        <a:pt x="249393" y="373498"/>
                      </a:cubicBezTo>
                      <a:cubicBezTo>
                        <a:pt x="245450" y="374756"/>
                        <a:pt x="240583" y="370679"/>
                        <a:pt x="236296" y="371451"/>
                      </a:cubicBezTo>
                      <a:cubicBezTo>
                        <a:pt x="231753" y="372279"/>
                        <a:pt x="230677" y="376375"/>
                        <a:pt x="226971" y="377775"/>
                      </a:cubicBezTo>
                      <a:cubicBezTo>
                        <a:pt x="219123" y="380756"/>
                        <a:pt x="205264" y="372584"/>
                        <a:pt x="196787" y="372308"/>
                      </a:cubicBezTo>
                      <a:cubicBezTo>
                        <a:pt x="188729" y="372051"/>
                        <a:pt x="182394" y="375784"/>
                        <a:pt x="173765" y="374461"/>
                      </a:cubicBezTo>
                      <a:cubicBezTo>
                        <a:pt x="161525" y="372575"/>
                        <a:pt x="155477" y="374041"/>
                        <a:pt x="144942" y="380833"/>
                      </a:cubicBezTo>
                      <a:cubicBezTo>
                        <a:pt x="136179" y="386481"/>
                        <a:pt x="128111" y="383614"/>
                        <a:pt x="118529" y="383966"/>
                      </a:cubicBezTo>
                      <a:cubicBezTo>
                        <a:pt x="109376" y="384300"/>
                        <a:pt x="100565" y="388500"/>
                        <a:pt x="93107" y="393577"/>
                      </a:cubicBezTo>
                      <a:cubicBezTo>
                        <a:pt x="88325" y="396844"/>
                        <a:pt x="87449" y="397083"/>
                        <a:pt x="81972" y="396263"/>
                      </a:cubicBezTo>
                      <a:cubicBezTo>
                        <a:pt x="78534" y="395749"/>
                        <a:pt x="77591" y="395711"/>
                        <a:pt x="74581" y="394558"/>
                      </a:cubicBezTo>
                      <a:cubicBezTo>
                        <a:pt x="71561" y="393396"/>
                        <a:pt x="71209" y="390901"/>
                        <a:pt x="67628" y="391825"/>
                      </a:cubicBezTo>
                      <a:cubicBezTo>
                        <a:pt x="73076" y="384843"/>
                        <a:pt x="59236" y="383071"/>
                        <a:pt x="54959" y="383919"/>
                      </a:cubicBezTo>
                      <a:cubicBezTo>
                        <a:pt x="55331" y="379985"/>
                        <a:pt x="56445" y="376223"/>
                        <a:pt x="52273" y="374718"/>
                      </a:cubicBezTo>
                      <a:cubicBezTo>
                        <a:pt x="46254" y="372546"/>
                        <a:pt x="44082" y="378909"/>
                        <a:pt x="44377" y="383376"/>
                      </a:cubicBezTo>
                      <a:cubicBezTo>
                        <a:pt x="42834" y="381709"/>
                        <a:pt x="41977" y="379661"/>
                        <a:pt x="41624" y="377451"/>
                      </a:cubicBezTo>
                      <a:cubicBezTo>
                        <a:pt x="40882" y="372746"/>
                        <a:pt x="44025" y="372060"/>
                        <a:pt x="44920" y="369336"/>
                      </a:cubicBezTo>
                      <a:cubicBezTo>
                        <a:pt x="47092" y="362726"/>
                        <a:pt x="41920" y="357544"/>
                        <a:pt x="38367" y="352248"/>
                      </a:cubicBezTo>
                      <a:cubicBezTo>
                        <a:pt x="35928" y="348600"/>
                        <a:pt x="28928" y="338580"/>
                        <a:pt x="31709" y="334303"/>
                      </a:cubicBezTo>
                      <a:cubicBezTo>
                        <a:pt x="34471" y="330055"/>
                        <a:pt x="34881" y="334417"/>
                        <a:pt x="37795" y="333455"/>
                      </a:cubicBezTo>
                      <a:cubicBezTo>
                        <a:pt x="41405" y="332284"/>
                        <a:pt x="44310" y="328893"/>
                        <a:pt x="45568" y="325350"/>
                      </a:cubicBezTo>
                      <a:cubicBezTo>
                        <a:pt x="50387" y="311786"/>
                        <a:pt x="42367" y="298146"/>
                        <a:pt x="35709" y="287297"/>
                      </a:cubicBezTo>
                      <a:cubicBezTo>
                        <a:pt x="28375" y="275382"/>
                        <a:pt x="22193" y="262161"/>
                        <a:pt x="18279" y="248712"/>
                      </a:cubicBezTo>
                      <a:cubicBezTo>
                        <a:pt x="13916" y="233710"/>
                        <a:pt x="11697" y="214583"/>
                        <a:pt x="0" y="202896"/>
                      </a:cubicBezTo>
                      <a:cubicBezTo>
                        <a:pt x="2200" y="200534"/>
                        <a:pt x="6496" y="199858"/>
                        <a:pt x="8201" y="198334"/>
                      </a:cubicBezTo>
                      <a:cubicBezTo>
                        <a:pt x="10497" y="196286"/>
                        <a:pt x="10068" y="194552"/>
                        <a:pt x="11487" y="191771"/>
                      </a:cubicBezTo>
                      <a:cubicBezTo>
                        <a:pt x="16012" y="182846"/>
                        <a:pt x="20174" y="184218"/>
                        <a:pt x="24956" y="190695"/>
                      </a:cubicBezTo>
                      <a:cubicBezTo>
                        <a:pt x="26880" y="193305"/>
                        <a:pt x="27137" y="192609"/>
                        <a:pt x="27756" y="196781"/>
                      </a:cubicBezTo>
                      <a:cubicBezTo>
                        <a:pt x="27994" y="198420"/>
                        <a:pt x="27080" y="202706"/>
                        <a:pt x="29185" y="204858"/>
                      </a:cubicBezTo>
                      <a:cubicBezTo>
                        <a:pt x="32604" y="208354"/>
                        <a:pt x="48416" y="211050"/>
                        <a:pt x="53483" y="211278"/>
                      </a:cubicBezTo>
                      <a:cubicBezTo>
                        <a:pt x="57836" y="211478"/>
                        <a:pt x="62084" y="210240"/>
                        <a:pt x="66475" y="210592"/>
                      </a:cubicBezTo>
                      <a:cubicBezTo>
                        <a:pt x="70199" y="210888"/>
                        <a:pt x="75905" y="214202"/>
                        <a:pt x="79458" y="212983"/>
                      </a:cubicBezTo>
                      <a:cubicBezTo>
                        <a:pt x="83820" y="211497"/>
                        <a:pt x="81858" y="209011"/>
                        <a:pt x="84420" y="206554"/>
                      </a:cubicBezTo>
                      <a:cubicBezTo>
                        <a:pt x="86639" y="204430"/>
                        <a:pt x="92612" y="200810"/>
                        <a:pt x="95688" y="199324"/>
                      </a:cubicBezTo>
                      <a:cubicBezTo>
                        <a:pt x="101241" y="196648"/>
                        <a:pt x="102813" y="199239"/>
                        <a:pt x="105223" y="194400"/>
                      </a:cubicBezTo>
                      <a:cubicBezTo>
                        <a:pt x="107023" y="190761"/>
                        <a:pt x="106099" y="183294"/>
                        <a:pt x="106413" y="179265"/>
                      </a:cubicBezTo>
                      <a:cubicBezTo>
                        <a:pt x="107175" y="169692"/>
                        <a:pt x="107966" y="160119"/>
                        <a:pt x="108728" y="150547"/>
                      </a:cubicBezTo>
                      <a:cubicBezTo>
                        <a:pt x="110566" y="127677"/>
                        <a:pt x="112319" y="104798"/>
                        <a:pt x="113948" y="81910"/>
                      </a:cubicBezTo>
                      <a:cubicBezTo>
                        <a:pt x="125721" y="90320"/>
                        <a:pt x="136312" y="106341"/>
                        <a:pt x="135636" y="121715"/>
                      </a:cubicBezTo>
                      <a:cubicBezTo>
                        <a:pt x="135341" y="128715"/>
                        <a:pt x="129045" y="132192"/>
                        <a:pt x="128731" y="139403"/>
                      </a:cubicBezTo>
                      <a:cubicBezTo>
                        <a:pt x="128321" y="149318"/>
                        <a:pt x="137198" y="146784"/>
                        <a:pt x="144828" y="147070"/>
                      </a:cubicBezTo>
                      <a:cubicBezTo>
                        <a:pt x="148066" y="147194"/>
                        <a:pt x="152305" y="147375"/>
                        <a:pt x="155543" y="147070"/>
                      </a:cubicBezTo>
                      <a:cubicBezTo>
                        <a:pt x="161592" y="146489"/>
                        <a:pt x="159001" y="145460"/>
                        <a:pt x="163630" y="142508"/>
                      </a:cubicBezTo>
                      <a:cubicBezTo>
                        <a:pt x="166392" y="140736"/>
                        <a:pt x="169831" y="141003"/>
                        <a:pt x="172564" y="138765"/>
                      </a:cubicBezTo>
                      <a:cubicBezTo>
                        <a:pt x="176232" y="135773"/>
                        <a:pt x="177689" y="132163"/>
                        <a:pt x="181899" y="129373"/>
                      </a:cubicBezTo>
                      <a:cubicBezTo>
                        <a:pt x="189595" y="124286"/>
                        <a:pt x="191938" y="119753"/>
                        <a:pt x="195710" y="111275"/>
                      </a:cubicBezTo>
                      <a:cubicBezTo>
                        <a:pt x="198672" y="104636"/>
                        <a:pt x="200768" y="98969"/>
                        <a:pt x="208722" y="97835"/>
                      </a:cubicBezTo>
                      <a:cubicBezTo>
                        <a:pt x="217494" y="96578"/>
                        <a:pt x="221447" y="103255"/>
                        <a:pt x="228314" y="107008"/>
                      </a:cubicBezTo>
                      <a:cubicBezTo>
                        <a:pt x="231543" y="108780"/>
                        <a:pt x="234210" y="107837"/>
                        <a:pt x="237468" y="108884"/>
                      </a:cubicBezTo>
                      <a:cubicBezTo>
                        <a:pt x="241535" y="110218"/>
                        <a:pt x="243764" y="112761"/>
                        <a:pt x="248593" y="113609"/>
                      </a:cubicBezTo>
                      <a:cubicBezTo>
                        <a:pt x="255804" y="114876"/>
                        <a:pt x="262233" y="113552"/>
                        <a:pt x="269405" y="112618"/>
                      </a:cubicBezTo>
                      <a:cubicBezTo>
                        <a:pt x="278997" y="111380"/>
                        <a:pt x="281064" y="105675"/>
                        <a:pt x="284759" y="97645"/>
                      </a:cubicBezTo>
                      <a:cubicBezTo>
                        <a:pt x="287903" y="90825"/>
                        <a:pt x="289551" y="82862"/>
                        <a:pt x="296037" y="79538"/>
                      </a:cubicBezTo>
                      <a:cubicBezTo>
                        <a:pt x="299761" y="77633"/>
                        <a:pt x="304629" y="78405"/>
                        <a:pt x="308181" y="76242"/>
                      </a:cubicBezTo>
                      <a:cubicBezTo>
                        <a:pt x="310782" y="74671"/>
                        <a:pt x="312868" y="71385"/>
                        <a:pt x="315306" y="69403"/>
                      </a:cubicBezTo>
                      <a:cubicBezTo>
                        <a:pt x="318926" y="66441"/>
                        <a:pt x="320659" y="65755"/>
                        <a:pt x="322783" y="61764"/>
                      </a:cubicBezTo>
                      <a:cubicBezTo>
                        <a:pt x="324926" y="57735"/>
                        <a:pt x="325269" y="52535"/>
                        <a:pt x="327527" y="48629"/>
                      </a:cubicBezTo>
                      <a:cubicBezTo>
                        <a:pt x="331499" y="41743"/>
                        <a:pt x="338433" y="40628"/>
                        <a:pt x="344738" y="37209"/>
                      </a:cubicBezTo>
                      <a:cubicBezTo>
                        <a:pt x="357664" y="30208"/>
                        <a:pt x="364017" y="15968"/>
                        <a:pt x="380562" y="11882"/>
                      </a:cubicBezTo>
                      <a:cubicBezTo>
                        <a:pt x="390620" y="9396"/>
                        <a:pt x="393430" y="1804"/>
                        <a:pt x="403936" y="585"/>
                      </a:cubicBezTo>
                      <a:cubicBezTo>
                        <a:pt x="413890" y="-558"/>
                        <a:pt x="419567" y="-262"/>
                        <a:pt x="428987" y="3614"/>
                      </a:cubicBezTo>
                      <a:lnTo>
                        <a:pt x="428987" y="3614"/>
                      </a:lnTo>
                      <a:close/>
                      <a:moveTo>
                        <a:pt x="335575" y="212088"/>
                      </a:moveTo>
                      <a:cubicBezTo>
                        <a:pt x="330137" y="213250"/>
                        <a:pt x="325574" y="222108"/>
                        <a:pt x="321926" y="226280"/>
                      </a:cubicBezTo>
                      <a:cubicBezTo>
                        <a:pt x="316973" y="231957"/>
                        <a:pt x="309696" y="231928"/>
                        <a:pt x="310887" y="239387"/>
                      </a:cubicBezTo>
                      <a:cubicBezTo>
                        <a:pt x="312096" y="246911"/>
                        <a:pt x="322936" y="270695"/>
                        <a:pt x="334470" y="266666"/>
                      </a:cubicBezTo>
                      <a:cubicBezTo>
                        <a:pt x="339910" y="264780"/>
                        <a:pt x="341138" y="254722"/>
                        <a:pt x="346777" y="251626"/>
                      </a:cubicBezTo>
                      <a:cubicBezTo>
                        <a:pt x="351844" y="248826"/>
                        <a:pt x="358407" y="250216"/>
                        <a:pt x="363979" y="247026"/>
                      </a:cubicBezTo>
                      <a:cubicBezTo>
                        <a:pt x="367865" y="244797"/>
                        <a:pt x="367942" y="243587"/>
                        <a:pt x="370208" y="240168"/>
                      </a:cubicBezTo>
                      <a:cubicBezTo>
                        <a:pt x="372237" y="237129"/>
                        <a:pt x="374228" y="235262"/>
                        <a:pt x="376466" y="232338"/>
                      </a:cubicBezTo>
                      <a:cubicBezTo>
                        <a:pt x="381191" y="226156"/>
                        <a:pt x="380657" y="221441"/>
                        <a:pt x="376009" y="216746"/>
                      </a:cubicBezTo>
                      <a:cubicBezTo>
                        <a:pt x="373189" y="213888"/>
                        <a:pt x="363912" y="203087"/>
                        <a:pt x="360674" y="201991"/>
                      </a:cubicBezTo>
                      <a:cubicBezTo>
                        <a:pt x="352663" y="199296"/>
                        <a:pt x="342995" y="211002"/>
                        <a:pt x="335575" y="212088"/>
                      </a:cubicBezTo>
                      <a:lnTo>
                        <a:pt x="335575" y="212088"/>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41" name="Freeform: Shape 540">
                  <a:extLst>
                    <a:ext uri="{FF2B5EF4-FFF2-40B4-BE49-F238E27FC236}">
                      <a16:creationId xmlns:a16="http://schemas.microsoft.com/office/drawing/2014/main" id="{66988E10-3FC1-4D92-B931-C50128E2A6C5}"/>
                    </a:ext>
                  </a:extLst>
                </p:cNvPr>
                <p:cNvSpPr/>
                <p:nvPr/>
              </p:nvSpPr>
              <p:spPr>
                <a:xfrm>
                  <a:off x="6914217" y="3766953"/>
                  <a:ext cx="316524" cy="200605"/>
                </a:xfrm>
                <a:custGeom>
                  <a:avLst/>
                  <a:gdLst>
                    <a:gd name="connsiteX0" fmla="*/ 309247 w 316524"/>
                    <a:gd name="connsiteY0" fmla="*/ 61056 h 200605"/>
                    <a:gd name="connsiteX1" fmla="*/ 316524 w 316524"/>
                    <a:gd name="connsiteY1" fmla="*/ 73515 h 200605"/>
                    <a:gd name="connsiteX2" fmla="*/ 291188 w 316524"/>
                    <a:gd name="connsiteY2" fmla="*/ 95299 h 200605"/>
                    <a:gd name="connsiteX3" fmla="*/ 289025 w 316524"/>
                    <a:gd name="connsiteY3" fmla="*/ 107395 h 200605"/>
                    <a:gd name="connsiteX4" fmla="*/ 275938 w 316524"/>
                    <a:gd name="connsiteY4" fmla="*/ 114834 h 200605"/>
                    <a:gd name="connsiteX5" fmla="*/ 243286 w 316524"/>
                    <a:gd name="connsiteY5" fmla="*/ 124502 h 200605"/>
                    <a:gd name="connsiteX6" fmla="*/ 228046 w 316524"/>
                    <a:gd name="connsiteY6" fmla="*/ 130598 h 200605"/>
                    <a:gd name="connsiteX7" fmla="*/ 211588 w 316524"/>
                    <a:gd name="connsiteY7" fmla="*/ 135532 h 200605"/>
                    <a:gd name="connsiteX8" fmla="*/ 199405 w 316524"/>
                    <a:gd name="connsiteY8" fmla="*/ 144181 h 200605"/>
                    <a:gd name="connsiteX9" fmla="*/ 188337 w 316524"/>
                    <a:gd name="connsiteY9" fmla="*/ 155420 h 200605"/>
                    <a:gd name="connsiteX10" fmla="*/ 170811 w 316524"/>
                    <a:gd name="connsiteY10" fmla="*/ 155839 h 200605"/>
                    <a:gd name="connsiteX11" fmla="*/ 157962 w 316524"/>
                    <a:gd name="connsiteY11" fmla="*/ 161421 h 200605"/>
                    <a:gd name="connsiteX12" fmla="*/ 145750 w 316524"/>
                    <a:gd name="connsiteY12" fmla="*/ 169460 h 200605"/>
                    <a:gd name="connsiteX13" fmla="*/ 129177 w 316524"/>
                    <a:gd name="connsiteY13" fmla="*/ 174813 h 200605"/>
                    <a:gd name="connsiteX14" fmla="*/ 95068 w 316524"/>
                    <a:gd name="connsiteY14" fmla="*/ 180662 h 200605"/>
                    <a:gd name="connsiteX15" fmla="*/ 82009 w 316524"/>
                    <a:gd name="connsiteY15" fmla="*/ 190882 h 200605"/>
                    <a:gd name="connsiteX16" fmla="*/ 75361 w 316524"/>
                    <a:gd name="connsiteY16" fmla="*/ 195330 h 200605"/>
                    <a:gd name="connsiteX17" fmla="*/ 67017 w 316524"/>
                    <a:gd name="connsiteY17" fmla="*/ 194368 h 200605"/>
                    <a:gd name="connsiteX18" fmla="*/ 49624 w 316524"/>
                    <a:gd name="connsiteY18" fmla="*/ 200559 h 200605"/>
                    <a:gd name="connsiteX19" fmla="*/ 32460 w 316524"/>
                    <a:gd name="connsiteY19" fmla="*/ 197931 h 200605"/>
                    <a:gd name="connsiteX20" fmla="*/ 26707 w 316524"/>
                    <a:gd name="connsiteY20" fmla="*/ 185777 h 200605"/>
                    <a:gd name="connsiteX21" fmla="*/ 23326 w 316524"/>
                    <a:gd name="connsiteY21" fmla="*/ 172908 h 200605"/>
                    <a:gd name="connsiteX22" fmla="*/ 21573 w 316524"/>
                    <a:gd name="connsiteY22" fmla="*/ 161793 h 200605"/>
                    <a:gd name="connsiteX23" fmla="*/ 16477 w 316524"/>
                    <a:gd name="connsiteY23" fmla="*/ 156592 h 200605"/>
                    <a:gd name="connsiteX24" fmla="*/ 15801 w 316524"/>
                    <a:gd name="connsiteY24" fmla="*/ 149953 h 200605"/>
                    <a:gd name="connsiteX25" fmla="*/ 8828 w 316524"/>
                    <a:gd name="connsiteY25" fmla="*/ 130827 h 200605"/>
                    <a:gd name="connsiteX26" fmla="*/ 7142 w 316524"/>
                    <a:gd name="connsiteY26" fmla="*/ 124217 h 200605"/>
                    <a:gd name="connsiteX27" fmla="*/ 437 w 316524"/>
                    <a:gd name="connsiteY27" fmla="*/ 115158 h 200605"/>
                    <a:gd name="connsiteX28" fmla="*/ 3418 w 316524"/>
                    <a:gd name="connsiteY28" fmla="*/ 117063 h 200605"/>
                    <a:gd name="connsiteX29" fmla="*/ 1304 w 316524"/>
                    <a:gd name="connsiteY29" fmla="*/ 108214 h 200605"/>
                    <a:gd name="connsiteX30" fmla="*/ 2428 w 316524"/>
                    <a:gd name="connsiteY30" fmla="*/ 93556 h 200605"/>
                    <a:gd name="connsiteX31" fmla="*/ 285 w 316524"/>
                    <a:gd name="connsiteY31" fmla="*/ 82888 h 200605"/>
                    <a:gd name="connsiteX32" fmla="*/ 7381 w 316524"/>
                    <a:gd name="connsiteY32" fmla="*/ 75763 h 200605"/>
                    <a:gd name="connsiteX33" fmla="*/ 7943 w 316524"/>
                    <a:gd name="connsiteY33" fmla="*/ 60504 h 200605"/>
                    <a:gd name="connsiteX34" fmla="*/ 10591 w 316524"/>
                    <a:gd name="connsiteY34" fmla="*/ 54293 h 200605"/>
                    <a:gd name="connsiteX35" fmla="*/ 12639 w 316524"/>
                    <a:gd name="connsiteY35" fmla="*/ 47550 h 200605"/>
                    <a:gd name="connsiteX36" fmla="*/ 28307 w 316524"/>
                    <a:gd name="connsiteY36" fmla="*/ 51522 h 200605"/>
                    <a:gd name="connsiteX37" fmla="*/ 44490 w 316524"/>
                    <a:gd name="connsiteY37" fmla="*/ 49379 h 200605"/>
                    <a:gd name="connsiteX38" fmla="*/ 68474 w 316524"/>
                    <a:gd name="connsiteY38" fmla="*/ 48969 h 200605"/>
                    <a:gd name="connsiteX39" fmla="*/ 88410 w 316524"/>
                    <a:gd name="connsiteY39" fmla="*/ 53570 h 200605"/>
                    <a:gd name="connsiteX40" fmla="*/ 112937 w 316524"/>
                    <a:gd name="connsiteY40" fmla="*/ 54341 h 200605"/>
                    <a:gd name="connsiteX41" fmla="*/ 131491 w 316524"/>
                    <a:gd name="connsiteY41" fmla="*/ 64085 h 200605"/>
                    <a:gd name="connsiteX42" fmla="*/ 144131 w 316524"/>
                    <a:gd name="connsiteY42" fmla="*/ 47578 h 200605"/>
                    <a:gd name="connsiteX43" fmla="*/ 159029 w 316524"/>
                    <a:gd name="connsiteY43" fmla="*/ 25995 h 200605"/>
                    <a:gd name="connsiteX44" fmla="*/ 204148 w 316524"/>
                    <a:gd name="connsiteY44" fmla="*/ 9135 h 200605"/>
                    <a:gd name="connsiteX45" fmla="*/ 250783 w 316524"/>
                    <a:gd name="connsiteY45" fmla="*/ 2563 h 200605"/>
                    <a:gd name="connsiteX46" fmla="*/ 264918 w 316524"/>
                    <a:gd name="connsiteY46" fmla="*/ 582 h 200605"/>
                    <a:gd name="connsiteX47" fmla="*/ 274338 w 316524"/>
                    <a:gd name="connsiteY47" fmla="*/ 3506 h 200605"/>
                    <a:gd name="connsiteX48" fmla="*/ 284987 w 316524"/>
                    <a:gd name="connsiteY48" fmla="*/ 21966 h 200605"/>
                    <a:gd name="connsiteX49" fmla="*/ 309247 w 316524"/>
                    <a:gd name="connsiteY49" fmla="*/ 61056 h 200605"/>
                    <a:gd name="connsiteX50" fmla="*/ 309247 w 316524"/>
                    <a:gd name="connsiteY50" fmla="*/ 61056 h 200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16524" h="200605">
                      <a:moveTo>
                        <a:pt x="309247" y="61056"/>
                      </a:moveTo>
                      <a:cubicBezTo>
                        <a:pt x="311676" y="65209"/>
                        <a:pt x="314095" y="69362"/>
                        <a:pt x="316524" y="73515"/>
                      </a:cubicBezTo>
                      <a:cubicBezTo>
                        <a:pt x="306771" y="77201"/>
                        <a:pt x="289816" y="81316"/>
                        <a:pt x="291188" y="95299"/>
                      </a:cubicBezTo>
                      <a:cubicBezTo>
                        <a:pt x="291902" y="102652"/>
                        <a:pt x="295607" y="102642"/>
                        <a:pt x="289025" y="107395"/>
                      </a:cubicBezTo>
                      <a:cubicBezTo>
                        <a:pt x="285111" y="110215"/>
                        <a:pt x="280119" y="112587"/>
                        <a:pt x="275938" y="114834"/>
                      </a:cubicBezTo>
                      <a:cubicBezTo>
                        <a:pt x="265623" y="120368"/>
                        <a:pt x="253755" y="120102"/>
                        <a:pt x="243286" y="124502"/>
                      </a:cubicBezTo>
                      <a:cubicBezTo>
                        <a:pt x="237410" y="126979"/>
                        <a:pt x="234380" y="129322"/>
                        <a:pt x="228046" y="130598"/>
                      </a:cubicBezTo>
                      <a:cubicBezTo>
                        <a:pt x="222398" y="131732"/>
                        <a:pt x="216892" y="133151"/>
                        <a:pt x="211588" y="135532"/>
                      </a:cubicBezTo>
                      <a:cubicBezTo>
                        <a:pt x="206672" y="137733"/>
                        <a:pt x="202624" y="140323"/>
                        <a:pt x="199405" y="144181"/>
                      </a:cubicBezTo>
                      <a:cubicBezTo>
                        <a:pt x="195719" y="148581"/>
                        <a:pt x="194004" y="153068"/>
                        <a:pt x="188337" y="155420"/>
                      </a:cubicBezTo>
                      <a:cubicBezTo>
                        <a:pt x="182022" y="158049"/>
                        <a:pt x="177002" y="155354"/>
                        <a:pt x="170811" y="155839"/>
                      </a:cubicBezTo>
                      <a:cubicBezTo>
                        <a:pt x="166791" y="156154"/>
                        <a:pt x="161628" y="158878"/>
                        <a:pt x="157962" y="161421"/>
                      </a:cubicBezTo>
                      <a:cubicBezTo>
                        <a:pt x="153218" y="164698"/>
                        <a:pt x="151475" y="167736"/>
                        <a:pt x="145750" y="169460"/>
                      </a:cubicBezTo>
                      <a:cubicBezTo>
                        <a:pt x="140312" y="171099"/>
                        <a:pt x="134702" y="173670"/>
                        <a:pt x="129177" y="174813"/>
                      </a:cubicBezTo>
                      <a:cubicBezTo>
                        <a:pt x="117957" y="177147"/>
                        <a:pt x="104374" y="172318"/>
                        <a:pt x="95068" y="180662"/>
                      </a:cubicBezTo>
                      <a:cubicBezTo>
                        <a:pt x="90401" y="184853"/>
                        <a:pt x="86934" y="187377"/>
                        <a:pt x="82009" y="190882"/>
                      </a:cubicBezTo>
                      <a:cubicBezTo>
                        <a:pt x="78809" y="193159"/>
                        <a:pt x="80371" y="194416"/>
                        <a:pt x="75361" y="195330"/>
                      </a:cubicBezTo>
                      <a:cubicBezTo>
                        <a:pt x="72370" y="195883"/>
                        <a:pt x="69332" y="193863"/>
                        <a:pt x="67017" y="194368"/>
                      </a:cubicBezTo>
                      <a:cubicBezTo>
                        <a:pt x="60587" y="195787"/>
                        <a:pt x="57120" y="201160"/>
                        <a:pt x="49624" y="200559"/>
                      </a:cubicBezTo>
                      <a:cubicBezTo>
                        <a:pt x="44004" y="200112"/>
                        <a:pt x="38261" y="194540"/>
                        <a:pt x="32460" y="197931"/>
                      </a:cubicBezTo>
                      <a:cubicBezTo>
                        <a:pt x="32393" y="193159"/>
                        <a:pt x="29184" y="189596"/>
                        <a:pt x="26707" y="185777"/>
                      </a:cubicBezTo>
                      <a:cubicBezTo>
                        <a:pt x="23144" y="180271"/>
                        <a:pt x="23211" y="179385"/>
                        <a:pt x="23326" y="172908"/>
                      </a:cubicBezTo>
                      <a:cubicBezTo>
                        <a:pt x="23392" y="168879"/>
                        <a:pt x="23745" y="165469"/>
                        <a:pt x="21573" y="161793"/>
                      </a:cubicBezTo>
                      <a:cubicBezTo>
                        <a:pt x="20402" y="159811"/>
                        <a:pt x="17458" y="158630"/>
                        <a:pt x="16477" y="156592"/>
                      </a:cubicBezTo>
                      <a:cubicBezTo>
                        <a:pt x="15639" y="154849"/>
                        <a:pt x="16277" y="151868"/>
                        <a:pt x="15801" y="149953"/>
                      </a:cubicBezTo>
                      <a:cubicBezTo>
                        <a:pt x="14105" y="143219"/>
                        <a:pt x="11143" y="137352"/>
                        <a:pt x="8828" y="130827"/>
                      </a:cubicBezTo>
                      <a:cubicBezTo>
                        <a:pt x="8019" y="128579"/>
                        <a:pt x="8648" y="126960"/>
                        <a:pt x="7142" y="124217"/>
                      </a:cubicBezTo>
                      <a:cubicBezTo>
                        <a:pt x="5066" y="120426"/>
                        <a:pt x="-1782" y="119368"/>
                        <a:pt x="437" y="115158"/>
                      </a:cubicBezTo>
                      <a:cubicBezTo>
                        <a:pt x="1323" y="115949"/>
                        <a:pt x="2609" y="116301"/>
                        <a:pt x="3418" y="117063"/>
                      </a:cubicBezTo>
                      <a:cubicBezTo>
                        <a:pt x="3933" y="113634"/>
                        <a:pt x="2028" y="111472"/>
                        <a:pt x="1304" y="108214"/>
                      </a:cubicBezTo>
                      <a:cubicBezTo>
                        <a:pt x="66" y="102661"/>
                        <a:pt x="2295" y="99328"/>
                        <a:pt x="2428" y="93556"/>
                      </a:cubicBezTo>
                      <a:cubicBezTo>
                        <a:pt x="2504" y="90460"/>
                        <a:pt x="-515" y="85650"/>
                        <a:pt x="285" y="82888"/>
                      </a:cubicBezTo>
                      <a:cubicBezTo>
                        <a:pt x="1028" y="80325"/>
                        <a:pt x="5476" y="78116"/>
                        <a:pt x="7381" y="75763"/>
                      </a:cubicBezTo>
                      <a:cubicBezTo>
                        <a:pt x="13039" y="68772"/>
                        <a:pt x="7219" y="68429"/>
                        <a:pt x="7943" y="60504"/>
                      </a:cubicBezTo>
                      <a:cubicBezTo>
                        <a:pt x="8219" y="57389"/>
                        <a:pt x="10019" y="56332"/>
                        <a:pt x="10591" y="54293"/>
                      </a:cubicBezTo>
                      <a:cubicBezTo>
                        <a:pt x="11410" y="51388"/>
                        <a:pt x="6800" y="51064"/>
                        <a:pt x="12639" y="47550"/>
                      </a:cubicBezTo>
                      <a:cubicBezTo>
                        <a:pt x="18944" y="43759"/>
                        <a:pt x="22507" y="50503"/>
                        <a:pt x="28307" y="51522"/>
                      </a:cubicBezTo>
                      <a:cubicBezTo>
                        <a:pt x="33622" y="52455"/>
                        <a:pt x="38737" y="49655"/>
                        <a:pt x="44490" y="49379"/>
                      </a:cubicBezTo>
                      <a:cubicBezTo>
                        <a:pt x="51996" y="49026"/>
                        <a:pt x="60997" y="47702"/>
                        <a:pt x="68474" y="48969"/>
                      </a:cubicBezTo>
                      <a:cubicBezTo>
                        <a:pt x="75370" y="50141"/>
                        <a:pt x="81076" y="52884"/>
                        <a:pt x="88410" y="53570"/>
                      </a:cubicBezTo>
                      <a:cubicBezTo>
                        <a:pt x="96830" y="54360"/>
                        <a:pt x="104584" y="54436"/>
                        <a:pt x="112937" y="54341"/>
                      </a:cubicBezTo>
                      <a:cubicBezTo>
                        <a:pt x="121909" y="54236"/>
                        <a:pt x="122986" y="64723"/>
                        <a:pt x="131491" y="64085"/>
                      </a:cubicBezTo>
                      <a:cubicBezTo>
                        <a:pt x="141188" y="63361"/>
                        <a:pt x="140883" y="54103"/>
                        <a:pt x="144131" y="47578"/>
                      </a:cubicBezTo>
                      <a:cubicBezTo>
                        <a:pt x="147322" y="41178"/>
                        <a:pt x="153780" y="30729"/>
                        <a:pt x="159029" y="25995"/>
                      </a:cubicBezTo>
                      <a:cubicBezTo>
                        <a:pt x="170887" y="15317"/>
                        <a:pt x="189032" y="11269"/>
                        <a:pt x="204148" y="9135"/>
                      </a:cubicBezTo>
                      <a:cubicBezTo>
                        <a:pt x="219693" y="6945"/>
                        <a:pt x="235247" y="4754"/>
                        <a:pt x="250783" y="2563"/>
                      </a:cubicBezTo>
                      <a:cubicBezTo>
                        <a:pt x="255498" y="1897"/>
                        <a:pt x="260203" y="1239"/>
                        <a:pt x="264918" y="582"/>
                      </a:cubicBezTo>
                      <a:cubicBezTo>
                        <a:pt x="271023" y="-275"/>
                        <a:pt x="270737" y="-780"/>
                        <a:pt x="274338" y="3506"/>
                      </a:cubicBezTo>
                      <a:cubicBezTo>
                        <a:pt x="278663" y="8669"/>
                        <a:pt x="281625" y="16108"/>
                        <a:pt x="284987" y="21966"/>
                      </a:cubicBezTo>
                      <a:cubicBezTo>
                        <a:pt x="292779" y="35472"/>
                        <a:pt x="301475" y="48264"/>
                        <a:pt x="309247" y="61056"/>
                      </a:cubicBezTo>
                      <a:lnTo>
                        <a:pt x="309247" y="61056"/>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42" name="Freeform: Shape 541">
                  <a:extLst>
                    <a:ext uri="{FF2B5EF4-FFF2-40B4-BE49-F238E27FC236}">
                      <a16:creationId xmlns:a16="http://schemas.microsoft.com/office/drawing/2014/main" id="{BD16BE0B-C54C-4BF7-8F4A-7EADACCFE43F}"/>
                    </a:ext>
                  </a:extLst>
                </p:cNvPr>
                <p:cNvSpPr/>
                <p:nvPr/>
              </p:nvSpPr>
              <p:spPr>
                <a:xfrm>
                  <a:off x="8690661" y="3630189"/>
                  <a:ext cx="308920" cy="464302"/>
                </a:xfrm>
                <a:custGeom>
                  <a:avLst/>
                  <a:gdLst>
                    <a:gd name="connsiteX0" fmla="*/ 102980 w 308920"/>
                    <a:gd name="connsiteY0" fmla="*/ 11168 h 464302"/>
                    <a:gd name="connsiteX1" fmla="*/ 114658 w 308920"/>
                    <a:gd name="connsiteY1" fmla="*/ 11377 h 464302"/>
                    <a:gd name="connsiteX2" fmla="*/ 119268 w 308920"/>
                    <a:gd name="connsiteY2" fmla="*/ 14692 h 464302"/>
                    <a:gd name="connsiteX3" fmla="*/ 126640 w 308920"/>
                    <a:gd name="connsiteY3" fmla="*/ 13101 h 464302"/>
                    <a:gd name="connsiteX4" fmla="*/ 135193 w 308920"/>
                    <a:gd name="connsiteY4" fmla="*/ 17712 h 464302"/>
                    <a:gd name="connsiteX5" fmla="*/ 132355 w 308920"/>
                    <a:gd name="connsiteY5" fmla="*/ 23455 h 464302"/>
                    <a:gd name="connsiteX6" fmla="*/ 137279 w 308920"/>
                    <a:gd name="connsiteY6" fmla="*/ 33733 h 464302"/>
                    <a:gd name="connsiteX7" fmla="*/ 140118 w 308920"/>
                    <a:gd name="connsiteY7" fmla="*/ 41134 h 464302"/>
                    <a:gd name="connsiteX8" fmla="*/ 142499 w 308920"/>
                    <a:gd name="connsiteY8" fmla="*/ 41705 h 464302"/>
                    <a:gd name="connsiteX9" fmla="*/ 153548 w 308920"/>
                    <a:gd name="connsiteY9" fmla="*/ 47230 h 464302"/>
                    <a:gd name="connsiteX10" fmla="*/ 168607 w 308920"/>
                    <a:gd name="connsiteY10" fmla="*/ 53668 h 464302"/>
                    <a:gd name="connsiteX11" fmla="*/ 185638 w 308920"/>
                    <a:gd name="connsiteY11" fmla="*/ 57212 h 464302"/>
                    <a:gd name="connsiteX12" fmla="*/ 173941 w 308920"/>
                    <a:gd name="connsiteY12" fmla="*/ 62622 h 464302"/>
                    <a:gd name="connsiteX13" fmla="*/ 171179 w 308920"/>
                    <a:gd name="connsiteY13" fmla="*/ 68137 h 464302"/>
                    <a:gd name="connsiteX14" fmla="*/ 168569 w 308920"/>
                    <a:gd name="connsiteY14" fmla="*/ 73728 h 464302"/>
                    <a:gd name="connsiteX15" fmla="*/ 151843 w 308920"/>
                    <a:gd name="connsiteY15" fmla="*/ 73204 h 464302"/>
                    <a:gd name="connsiteX16" fmla="*/ 155234 w 308920"/>
                    <a:gd name="connsiteY16" fmla="*/ 78938 h 464302"/>
                    <a:gd name="connsiteX17" fmla="*/ 154110 w 308920"/>
                    <a:gd name="connsiteY17" fmla="*/ 85806 h 464302"/>
                    <a:gd name="connsiteX18" fmla="*/ 150719 w 308920"/>
                    <a:gd name="connsiteY18" fmla="*/ 98922 h 464302"/>
                    <a:gd name="connsiteX19" fmla="*/ 140661 w 308920"/>
                    <a:gd name="connsiteY19" fmla="*/ 111009 h 464302"/>
                    <a:gd name="connsiteX20" fmla="*/ 141747 w 308920"/>
                    <a:gd name="connsiteY20" fmla="*/ 126973 h 464302"/>
                    <a:gd name="connsiteX21" fmla="*/ 144290 w 308920"/>
                    <a:gd name="connsiteY21" fmla="*/ 142575 h 464302"/>
                    <a:gd name="connsiteX22" fmla="*/ 152729 w 308920"/>
                    <a:gd name="connsiteY22" fmla="*/ 152319 h 464302"/>
                    <a:gd name="connsiteX23" fmla="*/ 167121 w 308920"/>
                    <a:gd name="connsiteY23" fmla="*/ 161968 h 464302"/>
                    <a:gd name="connsiteX24" fmla="*/ 175075 w 308920"/>
                    <a:gd name="connsiteY24" fmla="*/ 168530 h 464302"/>
                    <a:gd name="connsiteX25" fmla="*/ 177446 w 308920"/>
                    <a:gd name="connsiteY25" fmla="*/ 176550 h 464302"/>
                    <a:gd name="connsiteX26" fmla="*/ 173255 w 308920"/>
                    <a:gd name="connsiteY26" fmla="*/ 175122 h 464302"/>
                    <a:gd name="connsiteX27" fmla="*/ 204602 w 308920"/>
                    <a:gd name="connsiteY27" fmla="*/ 199944 h 464302"/>
                    <a:gd name="connsiteX28" fmla="*/ 219795 w 308920"/>
                    <a:gd name="connsiteY28" fmla="*/ 211555 h 464302"/>
                    <a:gd name="connsiteX29" fmla="*/ 232834 w 308920"/>
                    <a:gd name="connsiteY29" fmla="*/ 220985 h 464302"/>
                    <a:gd name="connsiteX30" fmla="*/ 237197 w 308920"/>
                    <a:gd name="connsiteY30" fmla="*/ 220299 h 464302"/>
                    <a:gd name="connsiteX31" fmla="*/ 243378 w 308920"/>
                    <a:gd name="connsiteY31" fmla="*/ 226128 h 464302"/>
                    <a:gd name="connsiteX32" fmla="*/ 251942 w 308920"/>
                    <a:gd name="connsiteY32" fmla="*/ 234443 h 464302"/>
                    <a:gd name="connsiteX33" fmla="*/ 265972 w 308920"/>
                    <a:gd name="connsiteY33" fmla="*/ 248321 h 464302"/>
                    <a:gd name="connsiteX34" fmla="*/ 276992 w 308920"/>
                    <a:gd name="connsiteY34" fmla="*/ 263609 h 464302"/>
                    <a:gd name="connsiteX35" fmla="*/ 287508 w 308920"/>
                    <a:gd name="connsiteY35" fmla="*/ 282545 h 464302"/>
                    <a:gd name="connsiteX36" fmla="*/ 296042 w 308920"/>
                    <a:gd name="connsiteY36" fmla="*/ 301128 h 464302"/>
                    <a:gd name="connsiteX37" fmla="*/ 294137 w 308920"/>
                    <a:gd name="connsiteY37" fmla="*/ 298299 h 464302"/>
                    <a:gd name="connsiteX38" fmla="*/ 300547 w 308920"/>
                    <a:gd name="connsiteY38" fmla="*/ 318330 h 464302"/>
                    <a:gd name="connsiteX39" fmla="*/ 306053 w 308920"/>
                    <a:gd name="connsiteY39" fmla="*/ 327398 h 464302"/>
                    <a:gd name="connsiteX40" fmla="*/ 308920 w 308920"/>
                    <a:gd name="connsiteY40" fmla="*/ 337847 h 464302"/>
                    <a:gd name="connsiteX41" fmla="*/ 304510 w 308920"/>
                    <a:gd name="connsiteY41" fmla="*/ 333046 h 464302"/>
                    <a:gd name="connsiteX42" fmla="*/ 305901 w 308920"/>
                    <a:gd name="connsiteY42" fmla="*/ 344410 h 464302"/>
                    <a:gd name="connsiteX43" fmla="*/ 302700 w 308920"/>
                    <a:gd name="connsiteY43" fmla="*/ 343648 h 464302"/>
                    <a:gd name="connsiteX44" fmla="*/ 307167 w 308920"/>
                    <a:gd name="connsiteY44" fmla="*/ 359602 h 464302"/>
                    <a:gd name="connsiteX45" fmla="*/ 305510 w 308920"/>
                    <a:gd name="connsiteY45" fmla="*/ 356402 h 464302"/>
                    <a:gd name="connsiteX46" fmla="*/ 306529 w 308920"/>
                    <a:gd name="connsiteY46" fmla="*/ 364631 h 464302"/>
                    <a:gd name="connsiteX47" fmla="*/ 305462 w 308920"/>
                    <a:gd name="connsiteY47" fmla="*/ 369298 h 464302"/>
                    <a:gd name="connsiteX48" fmla="*/ 302615 w 308920"/>
                    <a:gd name="connsiteY48" fmla="*/ 369556 h 464302"/>
                    <a:gd name="connsiteX49" fmla="*/ 302691 w 308920"/>
                    <a:gd name="connsiteY49" fmla="*/ 372966 h 464302"/>
                    <a:gd name="connsiteX50" fmla="*/ 301176 w 308920"/>
                    <a:gd name="connsiteY50" fmla="*/ 377804 h 464302"/>
                    <a:gd name="connsiteX51" fmla="*/ 294756 w 308920"/>
                    <a:gd name="connsiteY51" fmla="*/ 381471 h 464302"/>
                    <a:gd name="connsiteX52" fmla="*/ 282507 w 308920"/>
                    <a:gd name="connsiteY52" fmla="*/ 390292 h 464302"/>
                    <a:gd name="connsiteX53" fmla="*/ 277049 w 308920"/>
                    <a:gd name="connsiteY53" fmla="*/ 391882 h 464302"/>
                    <a:gd name="connsiteX54" fmla="*/ 274030 w 308920"/>
                    <a:gd name="connsiteY54" fmla="*/ 397188 h 464302"/>
                    <a:gd name="connsiteX55" fmla="*/ 261247 w 308920"/>
                    <a:gd name="connsiteY55" fmla="*/ 403312 h 464302"/>
                    <a:gd name="connsiteX56" fmla="*/ 244531 w 308920"/>
                    <a:gd name="connsiteY56" fmla="*/ 398921 h 464302"/>
                    <a:gd name="connsiteX57" fmla="*/ 243426 w 308920"/>
                    <a:gd name="connsiteY57" fmla="*/ 407398 h 464302"/>
                    <a:gd name="connsiteX58" fmla="*/ 233072 w 308920"/>
                    <a:gd name="connsiteY58" fmla="*/ 405084 h 464302"/>
                    <a:gd name="connsiteX59" fmla="*/ 238978 w 308920"/>
                    <a:gd name="connsiteY59" fmla="*/ 408465 h 464302"/>
                    <a:gd name="connsiteX60" fmla="*/ 229529 w 308920"/>
                    <a:gd name="connsiteY60" fmla="*/ 410332 h 464302"/>
                    <a:gd name="connsiteX61" fmla="*/ 240359 w 308920"/>
                    <a:gd name="connsiteY61" fmla="*/ 415228 h 464302"/>
                    <a:gd name="connsiteX62" fmla="*/ 237483 w 308920"/>
                    <a:gd name="connsiteY62" fmla="*/ 422076 h 464302"/>
                    <a:gd name="connsiteX63" fmla="*/ 219689 w 308920"/>
                    <a:gd name="connsiteY63" fmla="*/ 412742 h 464302"/>
                    <a:gd name="connsiteX64" fmla="*/ 235397 w 308920"/>
                    <a:gd name="connsiteY64" fmla="*/ 432211 h 464302"/>
                    <a:gd name="connsiteX65" fmla="*/ 211260 w 308920"/>
                    <a:gd name="connsiteY65" fmla="*/ 419705 h 464302"/>
                    <a:gd name="connsiteX66" fmla="*/ 224500 w 308920"/>
                    <a:gd name="connsiteY66" fmla="*/ 433973 h 464302"/>
                    <a:gd name="connsiteX67" fmla="*/ 212841 w 308920"/>
                    <a:gd name="connsiteY67" fmla="*/ 444593 h 464302"/>
                    <a:gd name="connsiteX68" fmla="*/ 201164 w 308920"/>
                    <a:gd name="connsiteY68" fmla="*/ 457090 h 464302"/>
                    <a:gd name="connsiteX69" fmla="*/ 184647 w 308920"/>
                    <a:gd name="connsiteY69" fmla="*/ 463910 h 464302"/>
                    <a:gd name="connsiteX70" fmla="*/ 187933 w 308920"/>
                    <a:gd name="connsiteY70" fmla="*/ 459214 h 464302"/>
                    <a:gd name="connsiteX71" fmla="*/ 182904 w 308920"/>
                    <a:gd name="connsiteY71" fmla="*/ 438774 h 464302"/>
                    <a:gd name="connsiteX72" fmla="*/ 182923 w 308920"/>
                    <a:gd name="connsiteY72" fmla="*/ 427696 h 464302"/>
                    <a:gd name="connsiteX73" fmla="*/ 188609 w 308920"/>
                    <a:gd name="connsiteY73" fmla="*/ 422162 h 464302"/>
                    <a:gd name="connsiteX74" fmla="*/ 177246 w 308920"/>
                    <a:gd name="connsiteY74" fmla="*/ 413409 h 464302"/>
                    <a:gd name="connsiteX75" fmla="*/ 171703 w 308920"/>
                    <a:gd name="connsiteY75" fmla="*/ 412256 h 464302"/>
                    <a:gd name="connsiteX76" fmla="*/ 165283 w 308920"/>
                    <a:gd name="connsiteY76" fmla="*/ 406779 h 464302"/>
                    <a:gd name="connsiteX77" fmla="*/ 179170 w 308920"/>
                    <a:gd name="connsiteY77" fmla="*/ 401140 h 464302"/>
                    <a:gd name="connsiteX78" fmla="*/ 183114 w 308920"/>
                    <a:gd name="connsiteY78" fmla="*/ 397635 h 464302"/>
                    <a:gd name="connsiteX79" fmla="*/ 182199 w 308920"/>
                    <a:gd name="connsiteY79" fmla="*/ 394244 h 464302"/>
                    <a:gd name="connsiteX80" fmla="*/ 186114 w 308920"/>
                    <a:gd name="connsiteY80" fmla="*/ 391615 h 464302"/>
                    <a:gd name="connsiteX81" fmla="*/ 190191 w 308920"/>
                    <a:gd name="connsiteY81" fmla="*/ 392863 h 464302"/>
                    <a:gd name="connsiteX82" fmla="*/ 192972 w 308920"/>
                    <a:gd name="connsiteY82" fmla="*/ 389768 h 464302"/>
                    <a:gd name="connsiteX83" fmla="*/ 201859 w 308920"/>
                    <a:gd name="connsiteY83" fmla="*/ 388434 h 464302"/>
                    <a:gd name="connsiteX84" fmla="*/ 217509 w 308920"/>
                    <a:gd name="connsiteY84" fmla="*/ 394702 h 464302"/>
                    <a:gd name="connsiteX85" fmla="*/ 214994 w 308920"/>
                    <a:gd name="connsiteY85" fmla="*/ 386415 h 464302"/>
                    <a:gd name="connsiteX86" fmla="*/ 207050 w 308920"/>
                    <a:gd name="connsiteY86" fmla="*/ 380909 h 464302"/>
                    <a:gd name="connsiteX87" fmla="*/ 202945 w 308920"/>
                    <a:gd name="connsiteY87" fmla="*/ 368498 h 464302"/>
                    <a:gd name="connsiteX88" fmla="*/ 214070 w 308920"/>
                    <a:gd name="connsiteY88" fmla="*/ 365745 h 464302"/>
                    <a:gd name="connsiteX89" fmla="*/ 218642 w 308920"/>
                    <a:gd name="connsiteY89" fmla="*/ 358354 h 464302"/>
                    <a:gd name="connsiteX90" fmla="*/ 228110 w 308920"/>
                    <a:gd name="connsiteY90" fmla="*/ 356182 h 464302"/>
                    <a:gd name="connsiteX91" fmla="*/ 239130 w 308920"/>
                    <a:gd name="connsiteY91" fmla="*/ 348848 h 464302"/>
                    <a:gd name="connsiteX92" fmla="*/ 250541 w 308920"/>
                    <a:gd name="connsiteY92" fmla="*/ 340533 h 464302"/>
                    <a:gd name="connsiteX93" fmla="*/ 246788 w 308920"/>
                    <a:gd name="connsiteY93" fmla="*/ 329627 h 464302"/>
                    <a:gd name="connsiteX94" fmla="*/ 245731 w 308920"/>
                    <a:gd name="connsiteY94" fmla="*/ 317006 h 464302"/>
                    <a:gd name="connsiteX95" fmla="*/ 235244 w 308920"/>
                    <a:gd name="connsiteY95" fmla="*/ 293736 h 464302"/>
                    <a:gd name="connsiteX96" fmla="*/ 232425 w 308920"/>
                    <a:gd name="connsiteY96" fmla="*/ 285888 h 464302"/>
                    <a:gd name="connsiteX97" fmla="*/ 234968 w 308920"/>
                    <a:gd name="connsiteY97" fmla="*/ 274877 h 464302"/>
                    <a:gd name="connsiteX98" fmla="*/ 233196 w 308920"/>
                    <a:gd name="connsiteY98" fmla="*/ 266247 h 464302"/>
                    <a:gd name="connsiteX99" fmla="*/ 233044 w 308920"/>
                    <a:gd name="connsiteY99" fmla="*/ 259475 h 464302"/>
                    <a:gd name="connsiteX100" fmla="*/ 221576 w 308920"/>
                    <a:gd name="connsiteY100" fmla="*/ 244130 h 464302"/>
                    <a:gd name="connsiteX101" fmla="*/ 215004 w 308920"/>
                    <a:gd name="connsiteY101" fmla="*/ 236672 h 464302"/>
                    <a:gd name="connsiteX102" fmla="*/ 220804 w 308920"/>
                    <a:gd name="connsiteY102" fmla="*/ 230833 h 464302"/>
                    <a:gd name="connsiteX103" fmla="*/ 203068 w 308920"/>
                    <a:gd name="connsiteY103" fmla="*/ 219623 h 464302"/>
                    <a:gd name="connsiteX104" fmla="*/ 199878 w 308920"/>
                    <a:gd name="connsiteY104" fmla="*/ 215489 h 464302"/>
                    <a:gd name="connsiteX105" fmla="*/ 197668 w 308920"/>
                    <a:gd name="connsiteY105" fmla="*/ 215308 h 464302"/>
                    <a:gd name="connsiteX106" fmla="*/ 192048 w 308920"/>
                    <a:gd name="connsiteY106" fmla="*/ 213317 h 464302"/>
                    <a:gd name="connsiteX107" fmla="*/ 181428 w 308920"/>
                    <a:gd name="connsiteY107" fmla="*/ 198448 h 464302"/>
                    <a:gd name="connsiteX108" fmla="*/ 161749 w 308920"/>
                    <a:gd name="connsiteY108" fmla="*/ 182894 h 464302"/>
                    <a:gd name="connsiteX109" fmla="*/ 145500 w 308920"/>
                    <a:gd name="connsiteY109" fmla="*/ 166063 h 464302"/>
                    <a:gd name="connsiteX110" fmla="*/ 128021 w 308920"/>
                    <a:gd name="connsiteY110" fmla="*/ 153548 h 464302"/>
                    <a:gd name="connsiteX111" fmla="*/ 128126 w 308920"/>
                    <a:gd name="connsiteY111" fmla="*/ 147242 h 464302"/>
                    <a:gd name="connsiteX112" fmla="*/ 116906 w 308920"/>
                    <a:gd name="connsiteY112" fmla="*/ 143289 h 464302"/>
                    <a:gd name="connsiteX113" fmla="*/ 93093 w 308920"/>
                    <a:gd name="connsiteY113" fmla="*/ 131097 h 464302"/>
                    <a:gd name="connsiteX114" fmla="*/ 83464 w 308920"/>
                    <a:gd name="connsiteY114" fmla="*/ 126363 h 464302"/>
                    <a:gd name="connsiteX115" fmla="*/ 85349 w 308920"/>
                    <a:gd name="connsiteY115" fmla="*/ 123820 h 464302"/>
                    <a:gd name="connsiteX116" fmla="*/ 86216 w 308920"/>
                    <a:gd name="connsiteY116" fmla="*/ 119105 h 464302"/>
                    <a:gd name="connsiteX117" fmla="*/ 88168 w 308920"/>
                    <a:gd name="connsiteY117" fmla="*/ 114743 h 464302"/>
                    <a:gd name="connsiteX118" fmla="*/ 101199 w 308920"/>
                    <a:gd name="connsiteY118" fmla="*/ 116905 h 464302"/>
                    <a:gd name="connsiteX119" fmla="*/ 104056 w 308920"/>
                    <a:gd name="connsiteY119" fmla="*/ 98322 h 464302"/>
                    <a:gd name="connsiteX120" fmla="*/ 99199 w 308920"/>
                    <a:gd name="connsiteY120" fmla="*/ 98112 h 464302"/>
                    <a:gd name="connsiteX121" fmla="*/ 97217 w 308920"/>
                    <a:gd name="connsiteY121" fmla="*/ 95016 h 464302"/>
                    <a:gd name="connsiteX122" fmla="*/ 86988 w 308920"/>
                    <a:gd name="connsiteY122" fmla="*/ 90825 h 464302"/>
                    <a:gd name="connsiteX123" fmla="*/ 91550 w 308920"/>
                    <a:gd name="connsiteY123" fmla="*/ 84720 h 464302"/>
                    <a:gd name="connsiteX124" fmla="*/ 79777 w 308920"/>
                    <a:gd name="connsiteY124" fmla="*/ 77395 h 464302"/>
                    <a:gd name="connsiteX125" fmla="*/ 67376 w 308920"/>
                    <a:gd name="connsiteY125" fmla="*/ 77995 h 464302"/>
                    <a:gd name="connsiteX126" fmla="*/ 56012 w 308920"/>
                    <a:gd name="connsiteY126" fmla="*/ 80167 h 464302"/>
                    <a:gd name="connsiteX127" fmla="*/ 32400 w 308920"/>
                    <a:gd name="connsiteY127" fmla="*/ 64298 h 464302"/>
                    <a:gd name="connsiteX128" fmla="*/ 31981 w 308920"/>
                    <a:gd name="connsiteY128" fmla="*/ 53516 h 464302"/>
                    <a:gd name="connsiteX129" fmla="*/ 25741 w 308920"/>
                    <a:gd name="connsiteY129" fmla="*/ 47801 h 464302"/>
                    <a:gd name="connsiteX130" fmla="*/ 17960 w 308920"/>
                    <a:gd name="connsiteY130" fmla="*/ 45144 h 464302"/>
                    <a:gd name="connsiteX131" fmla="*/ 196 w 308920"/>
                    <a:gd name="connsiteY131" fmla="*/ 31332 h 464302"/>
                    <a:gd name="connsiteX132" fmla="*/ 6701 w 308920"/>
                    <a:gd name="connsiteY132" fmla="*/ 18407 h 464302"/>
                    <a:gd name="connsiteX133" fmla="*/ 25428 w 308920"/>
                    <a:gd name="connsiteY133" fmla="*/ 26760 h 464302"/>
                    <a:gd name="connsiteX134" fmla="*/ 28942 w 308920"/>
                    <a:gd name="connsiteY134" fmla="*/ 20436 h 464302"/>
                    <a:gd name="connsiteX135" fmla="*/ 34571 w 308920"/>
                    <a:gd name="connsiteY135" fmla="*/ 20436 h 464302"/>
                    <a:gd name="connsiteX136" fmla="*/ 37915 w 308920"/>
                    <a:gd name="connsiteY136" fmla="*/ 23208 h 464302"/>
                    <a:gd name="connsiteX137" fmla="*/ 38648 w 308920"/>
                    <a:gd name="connsiteY137" fmla="*/ 19598 h 464302"/>
                    <a:gd name="connsiteX138" fmla="*/ 40277 w 308920"/>
                    <a:gd name="connsiteY138" fmla="*/ 17473 h 464302"/>
                    <a:gd name="connsiteX139" fmla="*/ 46801 w 308920"/>
                    <a:gd name="connsiteY139" fmla="*/ 21807 h 464302"/>
                    <a:gd name="connsiteX140" fmla="*/ 57898 w 308920"/>
                    <a:gd name="connsiteY140" fmla="*/ 16873 h 464302"/>
                    <a:gd name="connsiteX141" fmla="*/ 62108 w 308920"/>
                    <a:gd name="connsiteY141" fmla="*/ 19426 h 464302"/>
                    <a:gd name="connsiteX142" fmla="*/ 66385 w 308920"/>
                    <a:gd name="connsiteY142" fmla="*/ 16797 h 464302"/>
                    <a:gd name="connsiteX143" fmla="*/ 72671 w 308920"/>
                    <a:gd name="connsiteY143" fmla="*/ 14635 h 464302"/>
                    <a:gd name="connsiteX144" fmla="*/ 73891 w 308920"/>
                    <a:gd name="connsiteY144" fmla="*/ 5548 h 464302"/>
                    <a:gd name="connsiteX145" fmla="*/ 82520 w 308920"/>
                    <a:gd name="connsiteY145" fmla="*/ 71 h 464302"/>
                    <a:gd name="connsiteX146" fmla="*/ 92303 w 308920"/>
                    <a:gd name="connsiteY146" fmla="*/ 4996 h 464302"/>
                    <a:gd name="connsiteX147" fmla="*/ 102980 w 308920"/>
                    <a:gd name="connsiteY147" fmla="*/ 11168 h 464302"/>
                    <a:gd name="connsiteX148" fmla="*/ 102980 w 308920"/>
                    <a:gd name="connsiteY148" fmla="*/ 11168 h 46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308920" h="464302">
                      <a:moveTo>
                        <a:pt x="102980" y="11168"/>
                      </a:moveTo>
                      <a:cubicBezTo>
                        <a:pt x="106714" y="14387"/>
                        <a:pt x="110333" y="10473"/>
                        <a:pt x="114658" y="11377"/>
                      </a:cubicBezTo>
                      <a:cubicBezTo>
                        <a:pt x="116534" y="11778"/>
                        <a:pt x="117315" y="14302"/>
                        <a:pt x="119268" y="14692"/>
                      </a:cubicBezTo>
                      <a:cubicBezTo>
                        <a:pt x="121677" y="15178"/>
                        <a:pt x="124202" y="12911"/>
                        <a:pt x="126640" y="13101"/>
                      </a:cubicBezTo>
                      <a:cubicBezTo>
                        <a:pt x="128650" y="13254"/>
                        <a:pt x="134803" y="16311"/>
                        <a:pt x="135193" y="17712"/>
                      </a:cubicBezTo>
                      <a:cubicBezTo>
                        <a:pt x="136041" y="20712"/>
                        <a:pt x="132745" y="21826"/>
                        <a:pt x="132355" y="23455"/>
                      </a:cubicBezTo>
                      <a:cubicBezTo>
                        <a:pt x="130888" y="29551"/>
                        <a:pt x="134203" y="29294"/>
                        <a:pt x="137279" y="33733"/>
                      </a:cubicBezTo>
                      <a:cubicBezTo>
                        <a:pt x="138556" y="35590"/>
                        <a:pt x="138661" y="39657"/>
                        <a:pt x="140118" y="41134"/>
                      </a:cubicBezTo>
                      <a:cubicBezTo>
                        <a:pt x="141499" y="42524"/>
                        <a:pt x="141604" y="41134"/>
                        <a:pt x="142499" y="41705"/>
                      </a:cubicBezTo>
                      <a:cubicBezTo>
                        <a:pt x="146128" y="43972"/>
                        <a:pt x="150205" y="45105"/>
                        <a:pt x="153548" y="47230"/>
                      </a:cubicBezTo>
                      <a:cubicBezTo>
                        <a:pt x="158339" y="50278"/>
                        <a:pt x="164302" y="53030"/>
                        <a:pt x="168607" y="53668"/>
                      </a:cubicBezTo>
                      <a:cubicBezTo>
                        <a:pt x="176589" y="54859"/>
                        <a:pt x="177941" y="52125"/>
                        <a:pt x="185638" y="57212"/>
                      </a:cubicBezTo>
                      <a:cubicBezTo>
                        <a:pt x="182419" y="56859"/>
                        <a:pt x="176285" y="60269"/>
                        <a:pt x="173941" y="62622"/>
                      </a:cubicBezTo>
                      <a:cubicBezTo>
                        <a:pt x="170969" y="65613"/>
                        <a:pt x="172570" y="64841"/>
                        <a:pt x="171179" y="68137"/>
                      </a:cubicBezTo>
                      <a:cubicBezTo>
                        <a:pt x="169931" y="71099"/>
                        <a:pt x="173037" y="71385"/>
                        <a:pt x="168569" y="73728"/>
                      </a:cubicBezTo>
                      <a:cubicBezTo>
                        <a:pt x="164921" y="75633"/>
                        <a:pt x="156463" y="73985"/>
                        <a:pt x="151843" y="73204"/>
                      </a:cubicBezTo>
                      <a:cubicBezTo>
                        <a:pt x="152453" y="75347"/>
                        <a:pt x="154720" y="76890"/>
                        <a:pt x="155234" y="78938"/>
                      </a:cubicBezTo>
                      <a:cubicBezTo>
                        <a:pt x="156339" y="83272"/>
                        <a:pt x="154339" y="81624"/>
                        <a:pt x="154110" y="85806"/>
                      </a:cubicBezTo>
                      <a:cubicBezTo>
                        <a:pt x="153805" y="91568"/>
                        <a:pt x="154624" y="93645"/>
                        <a:pt x="150719" y="98922"/>
                      </a:cubicBezTo>
                      <a:cubicBezTo>
                        <a:pt x="146443" y="104694"/>
                        <a:pt x="142528" y="104532"/>
                        <a:pt x="140661" y="111009"/>
                      </a:cubicBezTo>
                      <a:cubicBezTo>
                        <a:pt x="138870" y="117200"/>
                        <a:pt x="141851" y="121220"/>
                        <a:pt x="141747" y="126973"/>
                      </a:cubicBezTo>
                      <a:cubicBezTo>
                        <a:pt x="141604" y="135383"/>
                        <a:pt x="138032" y="135250"/>
                        <a:pt x="144290" y="142575"/>
                      </a:cubicBezTo>
                      <a:cubicBezTo>
                        <a:pt x="147090" y="145842"/>
                        <a:pt x="149652" y="149309"/>
                        <a:pt x="152729" y="152319"/>
                      </a:cubicBezTo>
                      <a:cubicBezTo>
                        <a:pt x="157120" y="156624"/>
                        <a:pt x="162169" y="158748"/>
                        <a:pt x="167121" y="161968"/>
                      </a:cubicBezTo>
                      <a:cubicBezTo>
                        <a:pt x="169417" y="163454"/>
                        <a:pt x="173493" y="166159"/>
                        <a:pt x="175075" y="168530"/>
                      </a:cubicBezTo>
                      <a:cubicBezTo>
                        <a:pt x="176503" y="170674"/>
                        <a:pt x="175560" y="173703"/>
                        <a:pt x="177446" y="176550"/>
                      </a:cubicBezTo>
                      <a:cubicBezTo>
                        <a:pt x="176103" y="176055"/>
                        <a:pt x="174503" y="175788"/>
                        <a:pt x="173255" y="175122"/>
                      </a:cubicBezTo>
                      <a:cubicBezTo>
                        <a:pt x="183933" y="182446"/>
                        <a:pt x="195068" y="191229"/>
                        <a:pt x="204602" y="199944"/>
                      </a:cubicBezTo>
                      <a:cubicBezTo>
                        <a:pt x="208936" y="203897"/>
                        <a:pt x="215328" y="208383"/>
                        <a:pt x="219795" y="211555"/>
                      </a:cubicBezTo>
                      <a:cubicBezTo>
                        <a:pt x="223890" y="214460"/>
                        <a:pt x="228862" y="218899"/>
                        <a:pt x="232834" y="220985"/>
                      </a:cubicBezTo>
                      <a:cubicBezTo>
                        <a:pt x="233539" y="221356"/>
                        <a:pt x="235901" y="219727"/>
                        <a:pt x="237197" y="220299"/>
                      </a:cubicBezTo>
                      <a:cubicBezTo>
                        <a:pt x="239006" y="221118"/>
                        <a:pt x="241883" y="224699"/>
                        <a:pt x="243378" y="226128"/>
                      </a:cubicBezTo>
                      <a:cubicBezTo>
                        <a:pt x="246017" y="228624"/>
                        <a:pt x="248903" y="231091"/>
                        <a:pt x="251942" y="234443"/>
                      </a:cubicBezTo>
                      <a:cubicBezTo>
                        <a:pt x="256504" y="239482"/>
                        <a:pt x="260695" y="243968"/>
                        <a:pt x="265972" y="248321"/>
                      </a:cubicBezTo>
                      <a:cubicBezTo>
                        <a:pt x="271344" y="252760"/>
                        <a:pt x="273373" y="257608"/>
                        <a:pt x="276992" y="263609"/>
                      </a:cubicBezTo>
                      <a:cubicBezTo>
                        <a:pt x="280878" y="270057"/>
                        <a:pt x="283926" y="275896"/>
                        <a:pt x="287508" y="282545"/>
                      </a:cubicBezTo>
                      <a:cubicBezTo>
                        <a:pt x="290318" y="287736"/>
                        <a:pt x="296080" y="295194"/>
                        <a:pt x="296042" y="301128"/>
                      </a:cubicBezTo>
                      <a:cubicBezTo>
                        <a:pt x="295413" y="300185"/>
                        <a:pt x="294766" y="299242"/>
                        <a:pt x="294137" y="298299"/>
                      </a:cubicBezTo>
                      <a:cubicBezTo>
                        <a:pt x="295813" y="305157"/>
                        <a:pt x="297814" y="312196"/>
                        <a:pt x="300547" y="318330"/>
                      </a:cubicBezTo>
                      <a:cubicBezTo>
                        <a:pt x="301966" y="321521"/>
                        <a:pt x="304853" y="324321"/>
                        <a:pt x="306053" y="327398"/>
                      </a:cubicBezTo>
                      <a:cubicBezTo>
                        <a:pt x="307396" y="330817"/>
                        <a:pt x="307167" y="334465"/>
                        <a:pt x="308920" y="337847"/>
                      </a:cubicBezTo>
                      <a:cubicBezTo>
                        <a:pt x="307224" y="336456"/>
                        <a:pt x="305758" y="334856"/>
                        <a:pt x="304510" y="333046"/>
                      </a:cubicBezTo>
                      <a:cubicBezTo>
                        <a:pt x="299281" y="335961"/>
                        <a:pt x="303881" y="340647"/>
                        <a:pt x="305901" y="344410"/>
                      </a:cubicBezTo>
                      <a:cubicBezTo>
                        <a:pt x="304834" y="344162"/>
                        <a:pt x="303767" y="343905"/>
                        <a:pt x="302700" y="343648"/>
                      </a:cubicBezTo>
                      <a:cubicBezTo>
                        <a:pt x="303938" y="349086"/>
                        <a:pt x="306357" y="354458"/>
                        <a:pt x="307167" y="359602"/>
                      </a:cubicBezTo>
                      <a:cubicBezTo>
                        <a:pt x="306815" y="358707"/>
                        <a:pt x="306005" y="357249"/>
                        <a:pt x="305510" y="356402"/>
                      </a:cubicBezTo>
                      <a:cubicBezTo>
                        <a:pt x="303976" y="359783"/>
                        <a:pt x="306882" y="361850"/>
                        <a:pt x="306529" y="364631"/>
                      </a:cubicBezTo>
                      <a:cubicBezTo>
                        <a:pt x="306329" y="366327"/>
                        <a:pt x="305939" y="367546"/>
                        <a:pt x="305462" y="369298"/>
                      </a:cubicBezTo>
                      <a:cubicBezTo>
                        <a:pt x="305367" y="369660"/>
                        <a:pt x="302767" y="369203"/>
                        <a:pt x="302615" y="369556"/>
                      </a:cubicBezTo>
                      <a:cubicBezTo>
                        <a:pt x="302233" y="370508"/>
                        <a:pt x="303215" y="372099"/>
                        <a:pt x="302691" y="372966"/>
                      </a:cubicBezTo>
                      <a:cubicBezTo>
                        <a:pt x="301662" y="374661"/>
                        <a:pt x="302205" y="376518"/>
                        <a:pt x="301176" y="377804"/>
                      </a:cubicBezTo>
                      <a:cubicBezTo>
                        <a:pt x="301433" y="377490"/>
                        <a:pt x="295109" y="381271"/>
                        <a:pt x="294756" y="381471"/>
                      </a:cubicBezTo>
                      <a:cubicBezTo>
                        <a:pt x="290261" y="384062"/>
                        <a:pt x="286974" y="387291"/>
                        <a:pt x="282507" y="390292"/>
                      </a:cubicBezTo>
                      <a:cubicBezTo>
                        <a:pt x="280954" y="391339"/>
                        <a:pt x="278564" y="390587"/>
                        <a:pt x="277049" y="391882"/>
                      </a:cubicBezTo>
                      <a:cubicBezTo>
                        <a:pt x="275544" y="393158"/>
                        <a:pt x="275544" y="395959"/>
                        <a:pt x="274030" y="397188"/>
                      </a:cubicBezTo>
                      <a:cubicBezTo>
                        <a:pt x="271439" y="399302"/>
                        <a:pt x="264629" y="401369"/>
                        <a:pt x="261247" y="403312"/>
                      </a:cubicBezTo>
                      <a:cubicBezTo>
                        <a:pt x="255361" y="406703"/>
                        <a:pt x="247045" y="407798"/>
                        <a:pt x="244531" y="398921"/>
                      </a:cubicBezTo>
                      <a:cubicBezTo>
                        <a:pt x="243988" y="401026"/>
                        <a:pt x="245598" y="406370"/>
                        <a:pt x="243426" y="407398"/>
                      </a:cubicBezTo>
                      <a:cubicBezTo>
                        <a:pt x="238959" y="409494"/>
                        <a:pt x="238092" y="399521"/>
                        <a:pt x="233072" y="405084"/>
                      </a:cubicBezTo>
                      <a:cubicBezTo>
                        <a:pt x="235254" y="404750"/>
                        <a:pt x="238921" y="405608"/>
                        <a:pt x="238978" y="408465"/>
                      </a:cubicBezTo>
                      <a:cubicBezTo>
                        <a:pt x="239064" y="412285"/>
                        <a:pt x="232244" y="410256"/>
                        <a:pt x="229529" y="410332"/>
                      </a:cubicBezTo>
                      <a:cubicBezTo>
                        <a:pt x="231739" y="411475"/>
                        <a:pt x="239512" y="412913"/>
                        <a:pt x="240359" y="415228"/>
                      </a:cubicBezTo>
                      <a:cubicBezTo>
                        <a:pt x="240168" y="414714"/>
                        <a:pt x="237178" y="422324"/>
                        <a:pt x="237483" y="422076"/>
                      </a:cubicBezTo>
                      <a:cubicBezTo>
                        <a:pt x="232549" y="426048"/>
                        <a:pt x="224633" y="416676"/>
                        <a:pt x="219689" y="412742"/>
                      </a:cubicBezTo>
                      <a:cubicBezTo>
                        <a:pt x="222452" y="416838"/>
                        <a:pt x="239426" y="426563"/>
                        <a:pt x="235397" y="432211"/>
                      </a:cubicBezTo>
                      <a:cubicBezTo>
                        <a:pt x="230396" y="439231"/>
                        <a:pt x="216213" y="420952"/>
                        <a:pt x="211260" y="419705"/>
                      </a:cubicBezTo>
                      <a:cubicBezTo>
                        <a:pt x="214927" y="423324"/>
                        <a:pt x="222995" y="428677"/>
                        <a:pt x="224500" y="433973"/>
                      </a:cubicBezTo>
                      <a:cubicBezTo>
                        <a:pt x="226452" y="440841"/>
                        <a:pt x="218556" y="441784"/>
                        <a:pt x="212841" y="444593"/>
                      </a:cubicBezTo>
                      <a:cubicBezTo>
                        <a:pt x="204697" y="448594"/>
                        <a:pt x="206003" y="450480"/>
                        <a:pt x="201164" y="457090"/>
                      </a:cubicBezTo>
                      <a:cubicBezTo>
                        <a:pt x="197421" y="462205"/>
                        <a:pt x="191162" y="465472"/>
                        <a:pt x="184647" y="463910"/>
                      </a:cubicBezTo>
                      <a:cubicBezTo>
                        <a:pt x="186047" y="462710"/>
                        <a:pt x="186619" y="460529"/>
                        <a:pt x="187933" y="459214"/>
                      </a:cubicBezTo>
                      <a:cubicBezTo>
                        <a:pt x="182380" y="456519"/>
                        <a:pt x="183352" y="444555"/>
                        <a:pt x="182904" y="438774"/>
                      </a:cubicBezTo>
                      <a:cubicBezTo>
                        <a:pt x="182666" y="435640"/>
                        <a:pt x="181656" y="430782"/>
                        <a:pt x="182923" y="427696"/>
                      </a:cubicBezTo>
                      <a:cubicBezTo>
                        <a:pt x="183818" y="425515"/>
                        <a:pt x="188438" y="423258"/>
                        <a:pt x="188609" y="422162"/>
                      </a:cubicBezTo>
                      <a:cubicBezTo>
                        <a:pt x="189248" y="418133"/>
                        <a:pt x="179656" y="414266"/>
                        <a:pt x="177246" y="413409"/>
                      </a:cubicBezTo>
                      <a:cubicBezTo>
                        <a:pt x="175094" y="412637"/>
                        <a:pt x="173884" y="413351"/>
                        <a:pt x="171703" y="412256"/>
                      </a:cubicBezTo>
                      <a:cubicBezTo>
                        <a:pt x="169836" y="411323"/>
                        <a:pt x="167255" y="408094"/>
                        <a:pt x="165283" y="406779"/>
                      </a:cubicBezTo>
                      <a:cubicBezTo>
                        <a:pt x="169512" y="402579"/>
                        <a:pt x="174808" y="404408"/>
                        <a:pt x="179170" y="401140"/>
                      </a:cubicBezTo>
                      <a:cubicBezTo>
                        <a:pt x="179675" y="400759"/>
                        <a:pt x="182952" y="398197"/>
                        <a:pt x="183114" y="397635"/>
                      </a:cubicBezTo>
                      <a:cubicBezTo>
                        <a:pt x="183390" y="396654"/>
                        <a:pt x="182028" y="394511"/>
                        <a:pt x="182199" y="394244"/>
                      </a:cubicBezTo>
                      <a:cubicBezTo>
                        <a:pt x="184581" y="390482"/>
                        <a:pt x="179437" y="392587"/>
                        <a:pt x="186114" y="391615"/>
                      </a:cubicBezTo>
                      <a:cubicBezTo>
                        <a:pt x="187372" y="391434"/>
                        <a:pt x="189019" y="393025"/>
                        <a:pt x="190191" y="392863"/>
                      </a:cubicBezTo>
                      <a:cubicBezTo>
                        <a:pt x="191715" y="392663"/>
                        <a:pt x="191334" y="390130"/>
                        <a:pt x="192972" y="389768"/>
                      </a:cubicBezTo>
                      <a:cubicBezTo>
                        <a:pt x="194934" y="389339"/>
                        <a:pt x="199983" y="388063"/>
                        <a:pt x="201859" y="388434"/>
                      </a:cubicBezTo>
                      <a:cubicBezTo>
                        <a:pt x="207555" y="389558"/>
                        <a:pt x="210660" y="394454"/>
                        <a:pt x="217509" y="394702"/>
                      </a:cubicBezTo>
                      <a:cubicBezTo>
                        <a:pt x="215308" y="391634"/>
                        <a:pt x="216842" y="388872"/>
                        <a:pt x="214994" y="386415"/>
                      </a:cubicBezTo>
                      <a:cubicBezTo>
                        <a:pt x="213203" y="384014"/>
                        <a:pt x="208974" y="383281"/>
                        <a:pt x="207050" y="380909"/>
                      </a:cubicBezTo>
                      <a:cubicBezTo>
                        <a:pt x="205202" y="378633"/>
                        <a:pt x="202021" y="371737"/>
                        <a:pt x="202945" y="368498"/>
                      </a:cubicBezTo>
                      <a:cubicBezTo>
                        <a:pt x="204145" y="364279"/>
                        <a:pt x="210851" y="365450"/>
                        <a:pt x="214070" y="365745"/>
                      </a:cubicBezTo>
                      <a:cubicBezTo>
                        <a:pt x="221299" y="366422"/>
                        <a:pt x="220480" y="365898"/>
                        <a:pt x="218642" y="358354"/>
                      </a:cubicBezTo>
                      <a:cubicBezTo>
                        <a:pt x="221947" y="357554"/>
                        <a:pt x="225433" y="356992"/>
                        <a:pt x="228110" y="356182"/>
                      </a:cubicBezTo>
                      <a:cubicBezTo>
                        <a:pt x="233101" y="354668"/>
                        <a:pt x="234873" y="351563"/>
                        <a:pt x="239130" y="348848"/>
                      </a:cubicBezTo>
                      <a:cubicBezTo>
                        <a:pt x="245055" y="345076"/>
                        <a:pt x="250608" y="350810"/>
                        <a:pt x="250541" y="340533"/>
                      </a:cubicBezTo>
                      <a:cubicBezTo>
                        <a:pt x="250522" y="336571"/>
                        <a:pt x="248008" y="333208"/>
                        <a:pt x="246788" y="329627"/>
                      </a:cubicBezTo>
                      <a:cubicBezTo>
                        <a:pt x="245093" y="324683"/>
                        <a:pt x="245426" y="322245"/>
                        <a:pt x="245731" y="317006"/>
                      </a:cubicBezTo>
                      <a:cubicBezTo>
                        <a:pt x="246284" y="307224"/>
                        <a:pt x="239712" y="301985"/>
                        <a:pt x="235244" y="293736"/>
                      </a:cubicBezTo>
                      <a:cubicBezTo>
                        <a:pt x="233644" y="290774"/>
                        <a:pt x="232482" y="289736"/>
                        <a:pt x="232425" y="285888"/>
                      </a:cubicBezTo>
                      <a:cubicBezTo>
                        <a:pt x="232368" y="281545"/>
                        <a:pt x="234720" y="279268"/>
                        <a:pt x="234968" y="274877"/>
                      </a:cubicBezTo>
                      <a:cubicBezTo>
                        <a:pt x="235130" y="272200"/>
                        <a:pt x="233787" y="268991"/>
                        <a:pt x="233196" y="266247"/>
                      </a:cubicBezTo>
                      <a:cubicBezTo>
                        <a:pt x="232225" y="261723"/>
                        <a:pt x="232615" y="263399"/>
                        <a:pt x="233044" y="259475"/>
                      </a:cubicBezTo>
                      <a:cubicBezTo>
                        <a:pt x="234063" y="250217"/>
                        <a:pt x="228538" y="249712"/>
                        <a:pt x="221576" y="244130"/>
                      </a:cubicBezTo>
                      <a:cubicBezTo>
                        <a:pt x="219852" y="242749"/>
                        <a:pt x="214679" y="238920"/>
                        <a:pt x="215004" y="236672"/>
                      </a:cubicBezTo>
                      <a:cubicBezTo>
                        <a:pt x="215413" y="233843"/>
                        <a:pt x="221147" y="234472"/>
                        <a:pt x="220804" y="230833"/>
                      </a:cubicBezTo>
                      <a:cubicBezTo>
                        <a:pt x="220452" y="227138"/>
                        <a:pt x="206021" y="222213"/>
                        <a:pt x="203068" y="219623"/>
                      </a:cubicBezTo>
                      <a:cubicBezTo>
                        <a:pt x="202307" y="218956"/>
                        <a:pt x="200421" y="215708"/>
                        <a:pt x="199878" y="215489"/>
                      </a:cubicBezTo>
                      <a:cubicBezTo>
                        <a:pt x="199316" y="215260"/>
                        <a:pt x="197277" y="215117"/>
                        <a:pt x="197668" y="215308"/>
                      </a:cubicBezTo>
                      <a:cubicBezTo>
                        <a:pt x="196201" y="214584"/>
                        <a:pt x="194744" y="215584"/>
                        <a:pt x="192048" y="213317"/>
                      </a:cubicBezTo>
                      <a:cubicBezTo>
                        <a:pt x="187238" y="209269"/>
                        <a:pt x="185857" y="202878"/>
                        <a:pt x="181428" y="198448"/>
                      </a:cubicBezTo>
                      <a:cubicBezTo>
                        <a:pt x="175389" y="192400"/>
                        <a:pt x="168455" y="188142"/>
                        <a:pt x="161749" y="182894"/>
                      </a:cubicBezTo>
                      <a:cubicBezTo>
                        <a:pt x="155082" y="177665"/>
                        <a:pt x="151138" y="171845"/>
                        <a:pt x="145500" y="166063"/>
                      </a:cubicBezTo>
                      <a:cubicBezTo>
                        <a:pt x="140927" y="161368"/>
                        <a:pt x="130869" y="160272"/>
                        <a:pt x="128021" y="153548"/>
                      </a:cubicBezTo>
                      <a:cubicBezTo>
                        <a:pt x="127202" y="151585"/>
                        <a:pt x="129050" y="148690"/>
                        <a:pt x="128126" y="147242"/>
                      </a:cubicBezTo>
                      <a:cubicBezTo>
                        <a:pt x="126478" y="144699"/>
                        <a:pt x="119477" y="144089"/>
                        <a:pt x="116906" y="143289"/>
                      </a:cubicBezTo>
                      <a:cubicBezTo>
                        <a:pt x="108295" y="140622"/>
                        <a:pt x="101275" y="134898"/>
                        <a:pt x="93093" y="131097"/>
                      </a:cubicBezTo>
                      <a:cubicBezTo>
                        <a:pt x="90807" y="130030"/>
                        <a:pt x="84187" y="128859"/>
                        <a:pt x="83464" y="126363"/>
                      </a:cubicBezTo>
                      <a:cubicBezTo>
                        <a:pt x="82997" y="124773"/>
                        <a:pt x="85463" y="124715"/>
                        <a:pt x="85349" y="123820"/>
                      </a:cubicBezTo>
                      <a:cubicBezTo>
                        <a:pt x="85473" y="124820"/>
                        <a:pt x="86273" y="118810"/>
                        <a:pt x="86216" y="119105"/>
                      </a:cubicBezTo>
                      <a:cubicBezTo>
                        <a:pt x="87140" y="114409"/>
                        <a:pt x="81206" y="115991"/>
                        <a:pt x="88168" y="114743"/>
                      </a:cubicBezTo>
                      <a:cubicBezTo>
                        <a:pt x="92379" y="113981"/>
                        <a:pt x="97550" y="118124"/>
                        <a:pt x="101199" y="116905"/>
                      </a:cubicBezTo>
                      <a:cubicBezTo>
                        <a:pt x="107961" y="114619"/>
                        <a:pt x="108904" y="101627"/>
                        <a:pt x="104056" y="98322"/>
                      </a:cubicBezTo>
                      <a:cubicBezTo>
                        <a:pt x="102599" y="97331"/>
                        <a:pt x="100513" y="98912"/>
                        <a:pt x="99199" y="98112"/>
                      </a:cubicBezTo>
                      <a:cubicBezTo>
                        <a:pt x="98151" y="97474"/>
                        <a:pt x="98113" y="95540"/>
                        <a:pt x="97217" y="95016"/>
                      </a:cubicBezTo>
                      <a:cubicBezTo>
                        <a:pt x="93845" y="93007"/>
                        <a:pt x="91083" y="91835"/>
                        <a:pt x="86988" y="90825"/>
                      </a:cubicBezTo>
                      <a:cubicBezTo>
                        <a:pt x="88464" y="89168"/>
                        <a:pt x="91940" y="87101"/>
                        <a:pt x="91550" y="84720"/>
                      </a:cubicBezTo>
                      <a:cubicBezTo>
                        <a:pt x="91188" y="82520"/>
                        <a:pt x="81854" y="78414"/>
                        <a:pt x="79777" y="77395"/>
                      </a:cubicBezTo>
                      <a:cubicBezTo>
                        <a:pt x="74595" y="74862"/>
                        <a:pt x="72233" y="74328"/>
                        <a:pt x="67376" y="77995"/>
                      </a:cubicBezTo>
                      <a:cubicBezTo>
                        <a:pt x="61575" y="82367"/>
                        <a:pt x="63747" y="82691"/>
                        <a:pt x="56012" y="80167"/>
                      </a:cubicBezTo>
                      <a:cubicBezTo>
                        <a:pt x="46849" y="77176"/>
                        <a:pt x="36638" y="74423"/>
                        <a:pt x="32400" y="64298"/>
                      </a:cubicBezTo>
                      <a:cubicBezTo>
                        <a:pt x="31018" y="60993"/>
                        <a:pt x="33314" y="56421"/>
                        <a:pt x="31981" y="53516"/>
                      </a:cubicBezTo>
                      <a:cubicBezTo>
                        <a:pt x="30562" y="50411"/>
                        <a:pt x="27609" y="50630"/>
                        <a:pt x="25741" y="47801"/>
                      </a:cubicBezTo>
                      <a:cubicBezTo>
                        <a:pt x="26837" y="58050"/>
                        <a:pt x="19598" y="46887"/>
                        <a:pt x="17960" y="45144"/>
                      </a:cubicBezTo>
                      <a:cubicBezTo>
                        <a:pt x="13845" y="40772"/>
                        <a:pt x="2548" y="37085"/>
                        <a:pt x="196" y="31332"/>
                      </a:cubicBezTo>
                      <a:cubicBezTo>
                        <a:pt x="-919" y="28608"/>
                        <a:pt x="2920" y="18893"/>
                        <a:pt x="6701" y="18407"/>
                      </a:cubicBezTo>
                      <a:cubicBezTo>
                        <a:pt x="13311" y="17569"/>
                        <a:pt x="19941" y="29065"/>
                        <a:pt x="25428" y="26760"/>
                      </a:cubicBezTo>
                      <a:cubicBezTo>
                        <a:pt x="28304" y="25551"/>
                        <a:pt x="26827" y="22455"/>
                        <a:pt x="28942" y="20436"/>
                      </a:cubicBezTo>
                      <a:cubicBezTo>
                        <a:pt x="33362" y="16226"/>
                        <a:pt x="28990" y="19036"/>
                        <a:pt x="34571" y="20436"/>
                      </a:cubicBezTo>
                      <a:cubicBezTo>
                        <a:pt x="35372" y="20636"/>
                        <a:pt x="36781" y="23550"/>
                        <a:pt x="37915" y="23208"/>
                      </a:cubicBezTo>
                      <a:cubicBezTo>
                        <a:pt x="39287" y="22788"/>
                        <a:pt x="38201" y="19712"/>
                        <a:pt x="38648" y="19598"/>
                      </a:cubicBezTo>
                      <a:cubicBezTo>
                        <a:pt x="38838" y="19550"/>
                        <a:pt x="39448" y="17654"/>
                        <a:pt x="40277" y="17473"/>
                      </a:cubicBezTo>
                      <a:cubicBezTo>
                        <a:pt x="41391" y="17216"/>
                        <a:pt x="46030" y="21379"/>
                        <a:pt x="46801" y="21807"/>
                      </a:cubicBezTo>
                      <a:cubicBezTo>
                        <a:pt x="57374" y="27665"/>
                        <a:pt x="48735" y="17635"/>
                        <a:pt x="57898" y="16873"/>
                      </a:cubicBezTo>
                      <a:cubicBezTo>
                        <a:pt x="58860" y="16797"/>
                        <a:pt x="60565" y="19426"/>
                        <a:pt x="62108" y="19426"/>
                      </a:cubicBezTo>
                      <a:cubicBezTo>
                        <a:pt x="64290" y="19426"/>
                        <a:pt x="64527" y="17521"/>
                        <a:pt x="66385" y="16797"/>
                      </a:cubicBezTo>
                      <a:cubicBezTo>
                        <a:pt x="68385" y="16026"/>
                        <a:pt x="71271" y="16407"/>
                        <a:pt x="72671" y="14635"/>
                      </a:cubicBezTo>
                      <a:cubicBezTo>
                        <a:pt x="74967" y="11711"/>
                        <a:pt x="71919" y="8539"/>
                        <a:pt x="73891" y="5548"/>
                      </a:cubicBezTo>
                      <a:cubicBezTo>
                        <a:pt x="74519" y="4567"/>
                        <a:pt x="81635" y="214"/>
                        <a:pt x="82520" y="71"/>
                      </a:cubicBezTo>
                      <a:cubicBezTo>
                        <a:pt x="86102" y="-529"/>
                        <a:pt x="89178" y="2795"/>
                        <a:pt x="92303" y="4996"/>
                      </a:cubicBezTo>
                      <a:cubicBezTo>
                        <a:pt x="95760" y="7386"/>
                        <a:pt x="99322" y="8682"/>
                        <a:pt x="102980" y="11168"/>
                      </a:cubicBezTo>
                      <a:lnTo>
                        <a:pt x="102980" y="11168"/>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43" name="Freeform: Shape 542">
                  <a:extLst>
                    <a:ext uri="{FF2B5EF4-FFF2-40B4-BE49-F238E27FC236}">
                      <a16:creationId xmlns:a16="http://schemas.microsoft.com/office/drawing/2014/main" id="{E2C64DCB-9659-4360-BFA5-61C89EE33723}"/>
                    </a:ext>
                  </a:extLst>
                </p:cNvPr>
                <p:cNvSpPr/>
                <p:nvPr/>
              </p:nvSpPr>
              <p:spPr>
                <a:xfrm>
                  <a:off x="3298340" y="3981794"/>
                  <a:ext cx="419141" cy="360564"/>
                </a:xfrm>
                <a:custGeom>
                  <a:avLst/>
                  <a:gdLst>
                    <a:gd name="connsiteX0" fmla="*/ 120467 w 419141"/>
                    <a:gd name="connsiteY0" fmla="*/ 15293 h 360564"/>
                    <a:gd name="connsiteX1" fmla="*/ 136040 w 419141"/>
                    <a:gd name="connsiteY1" fmla="*/ 20265 h 360564"/>
                    <a:gd name="connsiteX2" fmla="*/ 155481 w 419141"/>
                    <a:gd name="connsiteY2" fmla="*/ 27352 h 360564"/>
                    <a:gd name="connsiteX3" fmla="*/ 176636 w 419141"/>
                    <a:gd name="connsiteY3" fmla="*/ 52955 h 360564"/>
                    <a:gd name="connsiteX4" fmla="*/ 225537 w 419141"/>
                    <a:gd name="connsiteY4" fmla="*/ 48202 h 360564"/>
                    <a:gd name="connsiteX5" fmla="*/ 237510 w 419141"/>
                    <a:gd name="connsiteY5" fmla="*/ 59975 h 360564"/>
                    <a:gd name="connsiteX6" fmla="*/ 256627 w 419141"/>
                    <a:gd name="connsiteY6" fmla="*/ 65071 h 360564"/>
                    <a:gd name="connsiteX7" fmla="*/ 282639 w 419141"/>
                    <a:gd name="connsiteY7" fmla="*/ 57565 h 360564"/>
                    <a:gd name="connsiteX8" fmla="*/ 293384 w 419141"/>
                    <a:gd name="connsiteY8" fmla="*/ 53764 h 360564"/>
                    <a:gd name="connsiteX9" fmla="*/ 304509 w 419141"/>
                    <a:gd name="connsiteY9" fmla="*/ 52231 h 360564"/>
                    <a:gd name="connsiteX10" fmla="*/ 287250 w 419141"/>
                    <a:gd name="connsiteY10" fmla="*/ 48078 h 360564"/>
                    <a:gd name="connsiteX11" fmla="*/ 326331 w 419141"/>
                    <a:gd name="connsiteY11" fmla="*/ 45449 h 360564"/>
                    <a:gd name="connsiteX12" fmla="*/ 363116 w 419141"/>
                    <a:gd name="connsiteY12" fmla="*/ 44744 h 360564"/>
                    <a:gd name="connsiteX13" fmla="*/ 348467 w 419141"/>
                    <a:gd name="connsiteY13" fmla="*/ 49954 h 360564"/>
                    <a:gd name="connsiteX14" fmla="*/ 330160 w 419141"/>
                    <a:gd name="connsiteY14" fmla="*/ 51336 h 360564"/>
                    <a:gd name="connsiteX15" fmla="*/ 334103 w 419141"/>
                    <a:gd name="connsiteY15" fmla="*/ 66309 h 360564"/>
                    <a:gd name="connsiteX16" fmla="*/ 338970 w 419141"/>
                    <a:gd name="connsiteY16" fmla="*/ 61232 h 360564"/>
                    <a:gd name="connsiteX17" fmla="*/ 349829 w 419141"/>
                    <a:gd name="connsiteY17" fmla="*/ 71776 h 360564"/>
                    <a:gd name="connsiteX18" fmla="*/ 351772 w 419141"/>
                    <a:gd name="connsiteY18" fmla="*/ 73691 h 360564"/>
                    <a:gd name="connsiteX19" fmla="*/ 357249 w 419141"/>
                    <a:gd name="connsiteY19" fmla="*/ 70195 h 360564"/>
                    <a:gd name="connsiteX20" fmla="*/ 364278 w 419141"/>
                    <a:gd name="connsiteY20" fmla="*/ 79691 h 360564"/>
                    <a:gd name="connsiteX21" fmla="*/ 363869 w 419141"/>
                    <a:gd name="connsiteY21" fmla="*/ 73938 h 360564"/>
                    <a:gd name="connsiteX22" fmla="*/ 369641 w 419141"/>
                    <a:gd name="connsiteY22" fmla="*/ 71395 h 360564"/>
                    <a:gd name="connsiteX23" fmla="*/ 377032 w 419141"/>
                    <a:gd name="connsiteY23" fmla="*/ 78929 h 360564"/>
                    <a:gd name="connsiteX24" fmla="*/ 385614 w 419141"/>
                    <a:gd name="connsiteY24" fmla="*/ 81835 h 360564"/>
                    <a:gd name="connsiteX25" fmla="*/ 392444 w 419141"/>
                    <a:gd name="connsiteY25" fmla="*/ 87445 h 360564"/>
                    <a:gd name="connsiteX26" fmla="*/ 387062 w 419141"/>
                    <a:gd name="connsiteY26" fmla="*/ 92788 h 360564"/>
                    <a:gd name="connsiteX27" fmla="*/ 380833 w 419141"/>
                    <a:gd name="connsiteY27" fmla="*/ 105466 h 360564"/>
                    <a:gd name="connsiteX28" fmla="*/ 365174 w 419141"/>
                    <a:gd name="connsiteY28" fmla="*/ 112248 h 360564"/>
                    <a:gd name="connsiteX29" fmla="*/ 374099 w 419141"/>
                    <a:gd name="connsiteY29" fmla="*/ 117801 h 360564"/>
                    <a:gd name="connsiteX30" fmla="*/ 383138 w 419141"/>
                    <a:gd name="connsiteY30" fmla="*/ 115506 h 360564"/>
                    <a:gd name="connsiteX31" fmla="*/ 402092 w 419141"/>
                    <a:gd name="connsiteY31" fmla="*/ 112696 h 360564"/>
                    <a:gd name="connsiteX32" fmla="*/ 418428 w 419141"/>
                    <a:gd name="connsiteY32" fmla="*/ 118487 h 360564"/>
                    <a:gd name="connsiteX33" fmla="*/ 413751 w 419141"/>
                    <a:gd name="connsiteY33" fmla="*/ 129002 h 360564"/>
                    <a:gd name="connsiteX34" fmla="*/ 405950 w 419141"/>
                    <a:gd name="connsiteY34" fmla="*/ 133260 h 360564"/>
                    <a:gd name="connsiteX35" fmla="*/ 398387 w 419141"/>
                    <a:gd name="connsiteY35" fmla="*/ 136860 h 360564"/>
                    <a:gd name="connsiteX36" fmla="*/ 393882 w 419141"/>
                    <a:gd name="connsiteY36" fmla="*/ 142918 h 360564"/>
                    <a:gd name="connsiteX37" fmla="*/ 392110 w 419141"/>
                    <a:gd name="connsiteY37" fmla="*/ 148976 h 360564"/>
                    <a:gd name="connsiteX38" fmla="*/ 392872 w 419141"/>
                    <a:gd name="connsiteY38" fmla="*/ 155177 h 360564"/>
                    <a:gd name="connsiteX39" fmla="*/ 397521 w 419141"/>
                    <a:gd name="connsiteY39" fmla="*/ 157454 h 360564"/>
                    <a:gd name="connsiteX40" fmla="*/ 402340 w 419141"/>
                    <a:gd name="connsiteY40" fmla="*/ 158997 h 360564"/>
                    <a:gd name="connsiteX41" fmla="*/ 396701 w 419141"/>
                    <a:gd name="connsiteY41" fmla="*/ 165655 h 360564"/>
                    <a:gd name="connsiteX42" fmla="*/ 374260 w 419141"/>
                    <a:gd name="connsiteY42" fmla="*/ 177875 h 360564"/>
                    <a:gd name="connsiteX43" fmla="*/ 371451 w 419141"/>
                    <a:gd name="connsiteY43" fmla="*/ 190686 h 360564"/>
                    <a:gd name="connsiteX44" fmla="*/ 373213 w 419141"/>
                    <a:gd name="connsiteY44" fmla="*/ 204336 h 360564"/>
                    <a:gd name="connsiteX45" fmla="*/ 386738 w 419141"/>
                    <a:gd name="connsiteY45" fmla="*/ 231434 h 360564"/>
                    <a:gd name="connsiteX46" fmla="*/ 360249 w 419141"/>
                    <a:gd name="connsiteY46" fmla="*/ 246198 h 360564"/>
                    <a:gd name="connsiteX47" fmla="*/ 341676 w 419141"/>
                    <a:gd name="connsiteY47" fmla="*/ 253275 h 360564"/>
                    <a:gd name="connsiteX48" fmla="*/ 324702 w 419141"/>
                    <a:gd name="connsiteY48" fmla="*/ 255809 h 360564"/>
                    <a:gd name="connsiteX49" fmla="*/ 317120 w 419141"/>
                    <a:gd name="connsiteY49" fmla="*/ 269820 h 360564"/>
                    <a:gd name="connsiteX50" fmla="*/ 302413 w 419141"/>
                    <a:gd name="connsiteY50" fmla="*/ 258828 h 360564"/>
                    <a:gd name="connsiteX51" fmla="*/ 294774 w 419141"/>
                    <a:gd name="connsiteY51" fmla="*/ 259895 h 360564"/>
                    <a:gd name="connsiteX52" fmla="*/ 285726 w 419141"/>
                    <a:gd name="connsiteY52" fmla="*/ 259200 h 360564"/>
                    <a:gd name="connsiteX53" fmla="*/ 273838 w 419141"/>
                    <a:gd name="connsiteY53" fmla="*/ 252646 h 360564"/>
                    <a:gd name="connsiteX54" fmla="*/ 264142 w 419141"/>
                    <a:gd name="connsiteY54" fmla="*/ 252675 h 360564"/>
                    <a:gd name="connsiteX55" fmla="*/ 258779 w 419141"/>
                    <a:gd name="connsiteY55" fmla="*/ 248370 h 360564"/>
                    <a:gd name="connsiteX56" fmla="*/ 263952 w 419141"/>
                    <a:gd name="connsiteY56" fmla="*/ 260409 h 360564"/>
                    <a:gd name="connsiteX57" fmla="*/ 273781 w 419141"/>
                    <a:gd name="connsiteY57" fmla="*/ 277211 h 360564"/>
                    <a:gd name="connsiteX58" fmla="*/ 279344 w 419141"/>
                    <a:gd name="connsiteY58" fmla="*/ 295252 h 360564"/>
                    <a:gd name="connsiteX59" fmla="*/ 284706 w 419141"/>
                    <a:gd name="connsiteY59" fmla="*/ 305996 h 360564"/>
                    <a:gd name="connsiteX60" fmla="*/ 299289 w 419141"/>
                    <a:gd name="connsiteY60" fmla="*/ 311825 h 360564"/>
                    <a:gd name="connsiteX61" fmla="*/ 285592 w 419141"/>
                    <a:gd name="connsiteY61" fmla="*/ 320436 h 360564"/>
                    <a:gd name="connsiteX62" fmla="*/ 277153 w 419141"/>
                    <a:gd name="connsiteY62" fmla="*/ 328618 h 360564"/>
                    <a:gd name="connsiteX63" fmla="*/ 272076 w 419141"/>
                    <a:gd name="connsiteY63" fmla="*/ 335657 h 360564"/>
                    <a:gd name="connsiteX64" fmla="*/ 263647 w 419141"/>
                    <a:gd name="connsiteY64" fmla="*/ 337629 h 360564"/>
                    <a:gd name="connsiteX65" fmla="*/ 257998 w 419141"/>
                    <a:gd name="connsiteY65" fmla="*/ 342582 h 360564"/>
                    <a:gd name="connsiteX66" fmla="*/ 249816 w 419141"/>
                    <a:gd name="connsiteY66" fmla="*/ 345163 h 360564"/>
                    <a:gd name="connsiteX67" fmla="*/ 235643 w 419141"/>
                    <a:gd name="connsiteY67" fmla="*/ 357097 h 360564"/>
                    <a:gd name="connsiteX68" fmla="*/ 228166 w 419141"/>
                    <a:gd name="connsiteY68" fmla="*/ 352878 h 360564"/>
                    <a:gd name="connsiteX69" fmla="*/ 214907 w 419141"/>
                    <a:gd name="connsiteY69" fmla="*/ 358145 h 360564"/>
                    <a:gd name="connsiteX70" fmla="*/ 198210 w 419141"/>
                    <a:gd name="connsiteY70" fmla="*/ 352983 h 360564"/>
                    <a:gd name="connsiteX71" fmla="*/ 188342 w 419141"/>
                    <a:gd name="connsiteY71" fmla="*/ 339524 h 360564"/>
                    <a:gd name="connsiteX72" fmla="*/ 182722 w 419141"/>
                    <a:gd name="connsiteY72" fmla="*/ 322436 h 360564"/>
                    <a:gd name="connsiteX73" fmla="*/ 179398 w 419141"/>
                    <a:gd name="connsiteY73" fmla="*/ 309596 h 360564"/>
                    <a:gd name="connsiteX74" fmla="*/ 169797 w 419141"/>
                    <a:gd name="connsiteY74" fmla="*/ 299271 h 360564"/>
                    <a:gd name="connsiteX75" fmla="*/ 158948 w 419141"/>
                    <a:gd name="connsiteY75" fmla="*/ 295080 h 360564"/>
                    <a:gd name="connsiteX76" fmla="*/ 175988 w 419141"/>
                    <a:gd name="connsiteY76" fmla="*/ 277745 h 360564"/>
                    <a:gd name="connsiteX77" fmla="*/ 166206 w 419141"/>
                    <a:gd name="connsiteY77" fmla="*/ 260952 h 360564"/>
                    <a:gd name="connsiteX78" fmla="*/ 161234 w 419141"/>
                    <a:gd name="connsiteY78" fmla="*/ 238588 h 360564"/>
                    <a:gd name="connsiteX79" fmla="*/ 164968 w 419141"/>
                    <a:gd name="connsiteY79" fmla="*/ 213461 h 360564"/>
                    <a:gd name="connsiteX80" fmla="*/ 169016 w 419141"/>
                    <a:gd name="connsiteY80" fmla="*/ 208927 h 360564"/>
                    <a:gd name="connsiteX81" fmla="*/ 170140 w 419141"/>
                    <a:gd name="connsiteY81" fmla="*/ 203240 h 360564"/>
                    <a:gd name="connsiteX82" fmla="*/ 176388 w 419141"/>
                    <a:gd name="connsiteY82" fmla="*/ 191820 h 360564"/>
                    <a:gd name="connsiteX83" fmla="*/ 155033 w 419141"/>
                    <a:gd name="connsiteY83" fmla="*/ 187838 h 360564"/>
                    <a:gd name="connsiteX84" fmla="*/ 126610 w 419141"/>
                    <a:gd name="connsiteY84" fmla="*/ 188162 h 360564"/>
                    <a:gd name="connsiteX85" fmla="*/ 110180 w 419141"/>
                    <a:gd name="connsiteY85" fmla="*/ 184600 h 360564"/>
                    <a:gd name="connsiteX86" fmla="*/ 94835 w 419141"/>
                    <a:gd name="connsiteY86" fmla="*/ 164283 h 360564"/>
                    <a:gd name="connsiteX87" fmla="*/ 85653 w 419141"/>
                    <a:gd name="connsiteY87" fmla="*/ 163169 h 360564"/>
                    <a:gd name="connsiteX88" fmla="*/ 75490 w 419141"/>
                    <a:gd name="connsiteY88" fmla="*/ 159721 h 360564"/>
                    <a:gd name="connsiteX89" fmla="*/ 63498 w 419141"/>
                    <a:gd name="connsiteY89" fmla="*/ 162988 h 360564"/>
                    <a:gd name="connsiteX90" fmla="*/ 50172 w 419141"/>
                    <a:gd name="connsiteY90" fmla="*/ 161664 h 360564"/>
                    <a:gd name="connsiteX91" fmla="*/ 38619 w 419141"/>
                    <a:gd name="connsiteY91" fmla="*/ 162692 h 360564"/>
                    <a:gd name="connsiteX92" fmla="*/ 30770 w 419141"/>
                    <a:gd name="connsiteY92" fmla="*/ 152853 h 360564"/>
                    <a:gd name="connsiteX93" fmla="*/ 22617 w 419141"/>
                    <a:gd name="connsiteY93" fmla="*/ 147128 h 360564"/>
                    <a:gd name="connsiteX94" fmla="*/ 23512 w 419141"/>
                    <a:gd name="connsiteY94" fmla="*/ 136480 h 360564"/>
                    <a:gd name="connsiteX95" fmla="*/ 22569 w 419141"/>
                    <a:gd name="connsiteY95" fmla="*/ 114915 h 360564"/>
                    <a:gd name="connsiteX96" fmla="*/ 17864 w 419141"/>
                    <a:gd name="connsiteY96" fmla="*/ 103361 h 360564"/>
                    <a:gd name="connsiteX97" fmla="*/ 12453 w 419141"/>
                    <a:gd name="connsiteY97" fmla="*/ 95465 h 360564"/>
                    <a:gd name="connsiteX98" fmla="*/ 5433 w 419141"/>
                    <a:gd name="connsiteY98" fmla="*/ 92998 h 360564"/>
                    <a:gd name="connsiteX99" fmla="*/ 4 w 419141"/>
                    <a:gd name="connsiteY99" fmla="*/ 91693 h 360564"/>
                    <a:gd name="connsiteX100" fmla="*/ 8701 w 419141"/>
                    <a:gd name="connsiteY100" fmla="*/ 80292 h 360564"/>
                    <a:gd name="connsiteX101" fmla="*/ 14358 w 419141"/>
                    <a:gd name="connsiteY101" fmla="*/ 67128 h 360564"/>
                    <a:gd name="connsiteX102" fmla="*/ 25884 w 419141"/>
                    <a:gd name="connsiteY102" fmla="*/ 41782 h 360564"/>
                    <a:gd name="connsiteX103" fmla="*/ 37838 w 419141"/>
                    <a:gd name="connsiteY103" fmla="*/ 31666 h 360564"/>
                    <a:gd name="connsiteX104" fmla="*/ 49325 w 419141"/>
                    <a:gd name="connsiteY104" fmla="*/ 18579 h 360564"/>
                    <a:gd name="connsiteX105" fmla="*/ 72680 w 419141"/>
                    <a:gd name="connsiteY105" fmla="*/ 9397 h 360564"/>
                    <a:gd name="connsiteX106" fmla="*/ 52906 w 419141"/>
                    <a:gd name="connsiteY106" fmla="*/ 17693 h 360564"/>
                    <a:gd name="connsiteX107" fmla="*/ 59335 w 419141"/>
                    <a:gd name="connsiteY107" fmla="*/ 36124 h 360564"/>
                    <a:gd name="connsiteX108" fmla="*/ 56478 w 419141"/>
                    <a:gd name="connsiteY108" fmla="*/ 36715 h 360564"/>
                    <a:gd name="connsiteX109" fmla="*/ 59183 w 419141"/>
                    <a:gd name="connsiteY109" fmla="*/ 48021 h 360564"/>
                    <a:gd name="connsiteX110" fmla="*/ 51506 w 419141"/>
                    <a:gd name="connsiteY110" fmla="*/ 58870 h 360564"/>
                    <a:gd name="connsiteX111" fmla="*/ 43753 w 419141"/>
                    <a:gd name="connsiteY111" fmla="*/ 82101 h 360564"/>
                    <a:gd name="connsiteX112" fmla="*/ 48048 w 419141"/>
                    <a:gd name="connsiteY112" fmla="*/ 87035 h 360564"/>
                    <a:gd name="connsiteX113" fmla="*/ 48867 w 419141"/>
                    <a:gd name="connsiteY113" fmla="*/ 91655 h 360564"/>
                    <a:gd name="connsiteX114" fmla="*/ 55859 w 419141"/>
                    <a:gd name="connsiteY114" fmla="*/ 98046 h 360564"/>
                    <a:gd name="connsiteX115" fmla="*/ 72375 w 419141"/>
                    <a:gd name="connsiteY115" fmla="*/ 80330 h 360564"/>
                    <a:gd name="connsiteX116" fmla="*/ 63174 w 419141"/>
                    <a:gd name="connsiteY116" fmla="*/ 54326 h 360564"/>
                    <a:gd name="connsiteX117" fmla="*/ 62869 w 419141"/>
                    <a:gd name="connsiteY117" fmla="*/ 42649 h 360564"/>
                    <a:gd name="connsiteX118" fmla="*/ 71470 w 419141"/>
                    <a:gd name="connsiteY118" fmla="*/ 36353 h 360564"/>
                    <a:gd name="connsiteX119" fmla="*/ 98436 w 419141"/>
                    <a:gd name="connsiteY119" fmla="*/ 26932 h 360564"/>
                    <a:gd name="connsiteX120" fmla="*/ 109408 w 419141"/>
                    <a:gd name="connsiteY120" fmla="*/ 20179 h 360564"/>
                    <a:gd name="connsiteX121" fmla="*/ 119019 w 419141"/>
                    <a:gd name="connsiteY121" fmla="*/ 20532 h 360564"/>
                    <a:gd name="connsiteX122" fmla="*/ 109199 w 419141"/>
                    <a:gd name="connsiteY122" fmla="*/ 16455 h 360564"/>
                    <a:gd name="connsiteX123" fmla="*/ 105427 w 419141"/>
                    <a:gd name="connsiteY123" fmla="*/ 7654 h 360564"/>
                    <a:gd name="connsiteX124" fmla="*/ 116847 w 419141"/>
                    <a:gd name="connsiteY124" fmla="*/ 929 h 360564"/>
                    <a:gd name="connsiteX125" fmla="*/ 120467 w 419141"/>
                    <a:gd name="connsiteY125" fmla="*/ 15293 h 360564"/>
                    <a:gd name="connsiteX126" fmla="*/ 120467 w 419141"/>
                    <a:gd name="connsiteY126" fmla="*/ 15293 h 360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419141" h="360564">
                      <a:moveTo>
                        <a:pt x="120467" y="15293"/>
                      </a:moveTo>
                      <a:cubicBezTo>
                        <a:pt x="122296" y="24713"/>
                        <a:pt x="129182" y="19474"/>
                        <a:pt x="136040" y="20265"/>
                      </a:cubicBezTo>
                      <a:cubicBezTo>
                        <a:pt x="142936" y="21056"/>
                        <a:pt x="149794" y="23399"/>
                        <a:pt x="155481" y="27352"/>
                      </a:cubicBezTo>
                      <a:cubicBezTo>
                        <a:pt x="168397" y="36334"/>
                        <a:pt x="155843" y="54526"/>
                        <a:pt x="176636" y="52955"/>
                      </a:cubicBezTo>
                      <a:cubicBezTo>
                        <a:pt x="191428" y="51840"/>
                        <a:pt x="210859" y="44316"/>
                        <a:pt x="225537" y="48202"/>
                      </a:cubicBezTo>
                      <a:cubicBezTo>
                        <a:pt x="232328" y="50002"/>
                        <a:pt x="230785" y="56574"/>
                        <a:pt x="237510" y="59975"/>
                      </a:cubicBezTo>
                      <a:cubicBezTo>
                        <a:pt x="242206" y="62346"/>
                        <a:pt x="251255" y="64232"/>
                        <a:pt x="256627" y="65071"/>
                      </a:cubicBezTo>
                      <a:cubicBezTo>
                        <a:pt x="266923" y="66671"/>
                        <a:pt x="273543" y="62289"/>
                        <a:pt x="282639" y="57565"/>
                      </a:cubicBezTo>
                      <a:cubicBezTo>
                        <a:pt x="286773" y="55422"/>
                        <a:pt x="289031" y="54241"/>
                        <a:pt x="293384" y="53764"/>
                      </a:cubicBezTo>
                      <a:cubicBezTo>
                        <a:pt x="297594" y="53298"/>
                        <a:pt x="300899" y="54888"/>
                        <a:pt x="304509" y="52231"/>
                      </a:cubicBezTo>
                      <a:cubicBezTo>
                        <a:pt x="299832" y="49316"/>
                        <a:pt x="288221" y="52107"/>
                        <a:pt x="287250" y="48078"/>
                      </a:cubicBezTo>
                      <a:cubicBezTo>
                        <a:pt x="300375" y="48850"/>
                        <a:pt x="313377" y="46525"/>
                        <a:pt x="326331" y="45449"/>
                      </a:cubicBezTo>
                      <a:cubicBezTo>
                        <a:pt x="338618" y="44430"/>
                        <a:pt x="350686" y="46154"/>
                        <a:pt x="363116" y="44744"/>
                      </a:cubicBezTo>
                      <a:cubicBezTo>
                        <a:pt x="360726" y="48088"/>
                        <a:pt x="352286" y="49164"/>
                        <a:pt x="348467" y="49954"/>
                      </a:cubicBezTo>
                      <a:cubicBezTo>
                        <a:pt x="342723" y="51145"/>
                        <a:pt x="336284" y="50469"/>
                        <a:pt x="330160" y="51336"/>
                      </a:cubicBezTo>
                      <a:cubicBezTo>
                        <a:pt x="332627" y="53926"/>
                        <a:pt x="340933" y="61318"/>
                        <a:pt x="334103" y="66309"/>
                      </a:cubicBezTo>
                      <a:cubicBezTo>
                        <a:pt x="337399" y="66461"/>
                        <a:pt x="339199" y="64328"/>
                        <a:pt x="338970" y="61232"/>
                      </a:cubicBezTo>
                      <a:cubicBezTo>
                        <a:pt x="343314" y="62565"/>
                        <a:pt x="345505" y="80968"/>
                        <a:pt x="349829" y="71776"/>
                      </a:cubicBezTo>
                      <a:cubicBezTo>
                        <a:pt x="350391" y="72681"/>
                        <a:pt x="351220" y="73043"/>
                        <a:pt x="351772" y="73691"/>
                      </a:cubicBezTo>
                      <a:cubicBezTo>
                        <a:pt x="350496" y="68328"/>
                        <a:pt x="353477" y="68138"/>
                        <a:pt x="357249" y="70195"/>
                      </a:cubicBezTo>
                      <a:cubicBezTo>
                        <a:pt x="361087" y="72281"/>
                        <a:pt x="361535" y="76891"/>
                        <a:pt x="364278" y="79691"/>
                      </a:cubicBezTo>
                      <a:cubicBezTo>
                        <a:pt x="364135" y="77710"/>
                        <a:pt x="364297" y="75967"/>
                        <a:pt x="363869" y="73938"/>
                      </a:cubicBezTo>
                      <a:cubicBezTo>
                        <a:pt x="366574" y="74691"/>
                        <a:pt x="368784" y="73996"/>
                        <a:pt x="369641" y="71395"/>
                      </a:cubicBezTo>
                      <a:cubicBezTo>
                        <a:pt x="372775" y="73338"/>
                        <a:pt x="374156" y="76853"/>
                        <a:pt x="377032" y="78929"/>
                      </a:cubicBezTo>
                      <a:cubicBezTo>
                        <a:pt x="379814" y="80920"/>
                        <a:pt x="382585" y="80463"/>
                        <a:pt x="385614" y="81835"/>
                      </a:cubicBezTo>
                      <a:cubicBezTo>
                        <a:pt x="387491" y="82692"/>
                        <a:pt x="392006" y="84959"/>
                        <a:pt x="392444" y="87445"/>
                      </a:cubicBezTo>
                      <a:cubicBezTo>
                        <a:pt x="393187" y="91722"/>
                        <a:pt x="389129" y="90436"/>
                        <a:pt x="387062" y="92788"/>
                      </a:cubicBezTo>
                      <a:cubicBezTo>
                        <a:pt x="383728" y="96560"/>
                        <a:pt x="383062" y="100999"/>
                        <a:pt x="380833" y="105466"/>
                      </a:cubicBezTo>
                      <a:cubicBezTo>
                        <a:pt x="376823" y="113477"/>
                        <a:pt x="373851" y="112181"/>
                        <a:pt x="365174" y="112248"/>
                      </a:cubicBezTo>
                      <a:cubicBezTo>
                        <a:pt x="367402" y="113486"/>
                        <a:pt x="371917" y="117458"/>
                        <a:pt x="374099" y="117801"/>
                      </a:cubicBezTo>
                      <a:cubicBezTo>
                        <a:pt x="374756" y="117906"/>
                        <a:pt x="381985" y="115886"/>
                        <a:pt x="383138" y="115506"/>
                      </a:cubicBezTo>
                      <a:cubicBezTo>
                        <a:pt x="390234" y="113172"/>
                        <a:pt x="395215" y="113524"/>
                        <a:pt x="402092" y="112696"/>
                      </a:cubicBezTo>
                      <a:cubicBezTo>
                        <a:pt x="408608" y="111914"/>
                        <a:pt x="414961" y="110295"/>
                        <a:pt x="418428" y="118487"/>
                      </a:cubicBezTo>
                      <a:cubicBezTo>
                        <a:pt x="420390" y="123116"/>
                        <a:pt x="418133" y="125602"/>
                        <a:pt x="413751" y="129002"/>
                      </a:cubicBezTo>
                      <a:cubicBezTo>
                        <a:pt x="411694" y="130603"/>
                        <a:pt x="408351" y="131927"/>
                        <a:pt x="405950" y="133260"/>
                      </a:cubicBezTo>
                      <a:cubicBezTo>
                        <a:pt x="404521" y="134051"/>
                        <a:pt x="399321" y="136146"/>
                        <a:pt x="398387" y="136860"/>
                      </a:cubicBezTo>
                      <a:cubicBezTo>
                        <a:pt x="396273" y="138489"/>
                        <a:pt x="395225" y="140480"/>
                        <a:pt x="393882" y="142918"/>
                      </a:cubicBezTo>
                      <a:cubicBezTo>
                        <a:pt x="391339" y="147500"/>
                        <a:pt x="392225" y="144509"/>
                        <a:pt x="392110" y="148976"/>
                      </a:cubicBezTo>
                      <a:cubicBezTo>
                        <a:pt x="392129" y="148205"/>
                        <a:pt x="393634" y="156244"/>
                        <a:pt x="392872" y="155177"/>
                      </a:cubicBezTo>
                      <a:cubicBezTo>
                        <a:pt x="394911" y="158035"/>
                        <a:pt x="395273" y="156311"/>
                        <a:pt x="397521" y="157454"/>
                      </a:cubicBezTo>
                      <a:cubicBezTo>
                        <a:pt x="399473" y="158444"/>
                        <a:pt x="401311" y="156425"/>
                        <a:pt x="402340" y="158997"/>
                      </a:cubicBezTo>
                      <a:cubicBezTo>
                        <a:pt x="403636" y="162273"/>
                        <a:pt x="398406" y="164550"/>
                        <a:pt x="396701" y="165655"/>
                      </a:cubicBezTo>
                      <a:cubicBezTo>
                        <a:pt x="389396" y="170369"/>
                        <a:pt x="375003" y="168083"/>
                        <a:pt x="374260" y="177875"/>
                      </a:cubicBezTo>
                      <a:cubicBezTo>
                        <a:pt x="373756" y="184533"/>
                        <a:pt x="375937" y="185314"/>
                        <a:pt x="371451" y="190686"/>
                      </a:cubicBezTo>
                      <a:cubicBezTo>
                        <a:pt x="365602" y="197687"/>
                        <a:pt x="367155" y="197154"/>
                        <a:pt x="373213" y="204336"/>
                      </a:cubicBezTo>
                      <a:cubicBezTo>
                        <a:pt x="378794" y="210956"/>
                        <a:pt x="395244" y="222738"/>
                        <a:pt x="386738" y="231434"/>
                      </a:cubicBezTo>
                      <a:cubicBezTo>
                        <a:pt x="378413" y="239950"/>
                        <a:pt x="369517" y="240559"/>
                        <a:pt x="360249" y="246198"/>
                      </a:cubicBezTo>
                      <a:cubicBezTo>
                        <a:pt x="355191" y="249275"/>
                        <a:pt x="348152" y="252627"/>
                        <a:pt x="341676" y="253275"/>
                      </a:cubicBezTo>
                      <a:cubicBezTo>
                        <a:pt x="335122" y="253932"/>
                        <a:pt x="330493" y="250865"/>
                        <a:pt x="324702" y="255809"/>
                      </a:cubicBezTo>
                      <a:cubicBezTo>
                        <a:pt x="321178" y="258819"/>
                        <a:pt x="321816" y="268477"/>
                        <a:pt x="317120" y="269820"/>
                      </a:cubicBezTo>
                      <a:cubicBezTo>
                        <a:pt x="310948" y="271582"/>
                        <a:pt x="307614" y="260362"/>
                        <a:pt x="302413" y="258828"/>
                      </a:cubicBezTo>
                      <a:cubicBezTo>
                        <a:pt x="300489" y="258257"/>
                        <a:pt x="296822" y="259828"/>
                        <a:pt x="294774" y="259895"/>
                      </a:cubicBezTo>
                      <a:cubicBezTo>
                        <a:pt x="292327" y="259981"/>
                        <a:pt x="288402" y="259428"/>
                        <a:pt x="285726" y="259200"/>
                      </a:cubicBezTo>
                      <a:cubicBezTo>
                        <a:pt x="279096" y="258628"/>
                        <a:pt x="279477" y="254542"/>
                        <a:pt x="273838" y="252646"/>
                      </a:cubicBezTo>
                      <a:cubicBezTo>
                        <a:pt x="270971" y="251684"/>
                        <a:pt x="266961" y="253723"/>
                        <a:pt x="264142" y="252675"/>
                      </a:cubicBezTo>
                      <a:cubicBezTo>
                        <a:pt x="261894" y="251837"/>
                        <a:pt x="261361" y="248532"/>
                        <a:pt x="258779" y="248370"/>
                      </a:cubicBezTo>
                      <a:cubicBezTo>
                        <a:pt x="253293" y="248017"/>
                        <a:pt x="262399" y="258742"/>
                        <a:pt x="263952" y="260409"/>
                      </a:cubicBezTo>
                      <a:cubicBezTo>
                        <a:pt x="270733" y="267686"/>
                        <a:pt x="273610" y="267048"/>
                        <a:pt x="273781" y="277211"/>
                      </a:cubicBezTo>
                      <a:cubicBezTo>
                        <a:pt x="273896" y="284260"/>
                        <a:pt x="277868" y="288784"/>
                        <a:pt x="279344" y="295252"/>
                      </a:cubicBezTo>
                      <a:cubicBezTo>
                        <a:pt x="281030" y="302624"/>
                        <a:pt x="275801" y="304272"/>
                        <a:pt x="284706" y="305996"/>
                      </a:cubicBezTo>
                      <a:cubicBezTo>
                        <a:pt x="289850" y="306987"/>
                        <a:pt x="301423" y="303739"/>
                        <a:pt x="299289" y="311825"/>
                      </a:cubicBezTo>
                      <a:cubicBezTo>
                        <a:pt x="298022" y="316654"/>
                        <a:pt x="290079" y="318674"/>
                        <a:pt x="285592" y="320436"/>
                      </a:cubicBezTo>
                      <a:cubicBezTo>
                        <a:pt x="278925" y="323055"/>
                        <a:pt x="280344" y="321760"/>
                        <a:pt x="277153" y="328618"/>
                      </a:cubicBezTo>
                      <a:cubicBezTo>
                        <a:pt x="275762" y="331618"/>
                        <a:pt x="275077" y="333752"/>
                        <a:pt x="272076" y="335657"/>
                      </a:cubicBezTo>
                      <a:cubicBezTo>
                        <a:pt x="269085" y="337562"/>
                        <a:pt x="266504" y="336352"/>
                        <a:pt x="263647" y="337629"/>
                      </a:cubicBezTo>
                      <a:cubicBezTo>
                        <a:pt x="261437" y="338610"/>
                        <a:pt x="260132" y="341372"/>
                        <a:pt x="257998" y="342582"/>
                      </a:cubicBezTo>
                      <a:cubicBezTo>
                        <a:pt x="255541" y="343972"/>
                        <a:pt x="252579" y="343963"/>
                        <a:pt x="249816" y="345163"/>
                      </a:cubicBezTo>
                      <a:cubicBezTo>
                        <a:pt x="244235" y="347592"/>
                        <a:pt x="240034" y="353164"/>
                        <a:pt x="235643" y="357097"/>
                      </a:cubicBezTo>
                      <a:cubicBezTo>
                        <a:pt x="226309" y="365480"/>
                        <a:pt x="235262" y="356488"/>
                        <a:pt x="228166" y="352878"/>
                      </a:cubicBezTo>
                      <a:cubicBezTo>
                        <a:pt x="223442" y="350478"/>
                        <a:pt x="219127" y="356574"/>
                        <a:pt x="214907" y="358145"/>
                      </a:cubicBezTo>
                      <a:cubicBezTo>
                        <a:pt x="207344" y="360965"/>
                        <a:pt x="203620" y="357812"/>
                        <a:pt x="198210" y="352983"/>
                      </a:cubicBezTo>
                      <a:cubicBezTo>
                        <a:pt x="192714" y="348087"/>
                        <a:pt x="190247" y="345763"/>
                        <a:pt x="188342" y="339524"/>
                      </a:cubicBezTo>
                      <a:cubicBezTo>
                        <a:pt x="186580" y="333752"/>
                        <a:pt x="184608" y="328237"/>
                        <a:pt x="182722" y="322436"/>
                      </a:cubicBezTo>
                      <a:cubicBezTo>
                        <a:pt x="181560" y="318855"/>
                        <a:pt x="180884" y="312854"/>
                        <a:pt x="179398" y="309596"/>
                      </a:cubicBezTo>
                      <a:cubicBezTo>
                        <a:pt x="177503" y="305443"/>
                        <a:pt x="173207" y="302529"/>
                        <a:pt x="169797" y="299271"/>
                      </a:cubicBezTo>
                      <a:cubicBezTo>
                        <a:pt x="166854" y="296471"/>
                        <a:pt x="164253" y="291775"/>
                        <a:pt x="158948" y="295080"/>
                      </a:cubicBezTo>
                      <a:cubicBezTo>
                        <a:pt x="158710" y="286813"/>
                        <a:pt x="173473" y="284517"/>
                        <a:pt x="175988" y="277745"/>
                      </a:cubicBezTo>
                      <a:cubicBezTo>
                        <a:pt x="178226" y="271715"/>
                        <a:pt x="168730" y="265924"/>
                        <a:pt x="166206" y="260952"/>
                      </a:cubicBezTo>
                      <a:cubicBezTo>
                        <a:pt x="163082" y="254799"/>
                        <a:pt x="161491" y="245007"/>
                        <a:pt x="161234" y="238588"/>
                      </a:cubicBezTo>
                      <a:cubicBezTo>
                        <a:pt x="160977" y="232225"/>
                        <a:pt x="162224" y="218976"/>
                        <a:pt x="164968" y="213461"/>
                      </a:cubicBezTo>
                      <a:cubicBezTo>
                        <a:pt x="165749" y="211898"/>
                        <a:pt x="168044" y="210832"/>
                        <a:pt x="169016" y="208927"/>
                      </a:cubicBezTo>
                      <a:cubicBezTo>
                        <a:pt x="169930" y="207136"/>
                        <a:pt x="169330" y="204964"/>
                        <a:pt x="170140" y="203240"/>
                      </a:cubicBezTo>
                      <a:cubicBezTo>
                        <a:pt x="172073" y="199078"/>
                        <a:pt x="176779" y="196420"/>
                        <a:pt x="176388" y="191820"/>
                      </a:cubicBezTo>
                      <a:cubicBezTo>
                        <a:pt x="175455" y="180847"/>
                        <a:pt x="161253" y="186752"/>
                        <a:pt x="155033" y="187838"/>
                      </a:cubicBezTo>
                      <a:cubicBezTo>
                        <a:pt x="145470" y="189496"/>
                        <a:pt x="135602" y="186572"/>
                        <a:pt x="126610" y="188162"/>
                      </a:cubicBezTo>
                      <a:cubicBezTo>
                        <a:pt x="118305" y="189639"/>
                        <a:pt x="116266" y="192563"/>
                        <a:pt x="110180" y="184600"/>
                      </a:cubicBezTo>
                      <a:cubicBezTo>
                        <a:pt x="106170" y="179351"/>
                        <a:pt x="100483" y="167379"/>
                        <a:pt x="94835" y="164283"/>
                      </a:cubicBezTo>
                      <a:cubicBezTo>
                        <a:pt x="92778" y="163150"/>
                        <a:pt x="88130" y="163854"/>
                        <a:pt x="85653" y="163169"/>
                      </a:cubicBezTo>
                      <a:cubicBezTo>
                        <a:pt x="82100" y="162178"/>
                        <a:pt x="79405" y="159635"/>
                        <a:pt x="75490" y="159721"/>
                      </a:cubicBezTo>
                      <a:cubicBezTo>
                        <a:pt x="71346" y="159816"/>
                        <a:pt x="67708" y="162635"/>
                        <a:pt x="63498" y="162988"/>
                      </a:cubicBezTo>
                      <a:cubicBezTo>
                        <a:pt x="59002" y="163359"/>
                        <a:pt x="54668" y="161759"/>
                        <a:pt x="50172" y="161664"/>
                      </a:cubicBezTo>
                      <a:cubicBezTo>
                        <a:pt x="46705" y="161597"/>
                        <a:pt x="41800" y="163531"/>
                        <a:pt x="38619" y="162692"/>
                      </a:cubicBezTo>
                      <a:cubicBezTo>
                        <a:pt x="32599" y="161111"/>
                        <a:pt x="33885" y="156796"/>
                        <a:pt x="30770" y="152853"/>
                      </a:cubicBezTo>
                      <a:cubicBezTo>
                        <a:pt x="28503" y="149986"/>
                        <a:pt x="24464" y="150529"/>
                        <a:pt x="22617" y="147128"/>
                      </a:cubicBezTo>
                      <a:cubicBezTo>
                        <a:pt x="21121" y="144376"/>
                        <a:pt x="22740" y="139308"/>
                        <a:pt x="23512" y="136480"/>
                      </a:cubicBezTo>
                      <a:cubicBezTo>
                        <a:pt x="26226" y="126592"/>
                        <a:pt x="28951" y="124326"/>
                        <a:pt x="22569" y="114915"/>
                      </a:cubicBezTo>
                      <a:cubicBezTo>
                        <a:pt x="19635" y="110591"/>
                        <a:pt x="18797" y="108838"/>
                        <a:pt x="17864" y="103361"/>
                      </a:cubicBezTo>
                      <a:cubicBezTo>
                        <a:pt x="16559" y="95665"/>
                        <a:pt x="16397" y="98399"/>
                        <a:pt x="12453" y="95465"/>
                      </a:cubicBezTo>
                      <a:cubicBezTo>
                        <a:pt x="7529" y="91807"/>
                        <a:pt x="11539" y="92903"/>
                        <a:pt x="5433" y="92998"/>
                      </a:cubicBezTo>
                      <a:cubicBezTo>
                        <a:pt x="852" y="93065"/>
                        <a:pt x="-72" y="95893"/>
                        <a:pt x="4" y="91693"/>
                      </a:cubicBezTo>
                      <a:cubicBezTo>
                        <a:pt x="52" y="88531"/>
                        <a:pt x="6815" y="82863"/>
                        <a:pt x="8701" y="80292"/>
                      </a:cubicBezTo>
                      <a:cubicBezTo>
                        <a:pt x="11844" y="75986"/>
                        <a:pt x="12920" y="72262"/>
                        <a:pt x="14358" y="67128"/>
                      </a:cubicBezTo>
                      <a:cubicBezTo>
                        <a:pt x="16930" y="57993"/>
                        <a:pt x="20111" y="49430"/>
                        <a:pt x="25884" y="41782"/>
                      </a:cubicBezTo>
                      <a:cubicBezTo>
                        <a:pt x="29379" y="37162"/>
                        <a:pt x="33265" y="34667"/>
                        <a:pt x="37838" y="31666"/>
                      </a:cubicBezTo>
                      <a:cubicBezTo>
                        <a:pt x="43162" y="28180"/>
                        <a:pt x="44753" y="23208"/>
                        <a:pt x="49325" y="18579"/>
                      </a:cubicBezTo>
                      <a:cubicBezTo>
                        <a:pt x="55059" y="12788"/>
                        <a:pt x="65117" y="12750"/>
                        <a:pt x="72680" y="9397"/>
                      </a:cubicBezTo>
                      <a:cubicBezTo>
                        <a:pt x="67898" y="16417"/>
                        <a:pt x="57897" y="12474"/>
                        <a:pt x="52906" y="17693"/>
                      </a:cubicBezTo>
                      <a:cubicBezTo>
                        <a:pt x="47839" y="22989"/>
                        <a:pt x="54725" y="32495"/>
                        <a:pt x="59335" y="36124"/>
                      </a:cubicBezTo>
                      <a:cubicBezTo>
                        <a:pt x="58440" y="36162"/>
                        <a:pt x="57507" y="36696"/>
                        <a:pt x="56478" y="36715"/>
                      </a:cubicBezTo>
                      <a:cubicBezTo>
                        <a:pt x="56183" y="41391"/>
                        <a:pt x="59535" y="43773"/>
                        <a:pt x="59183" y="48021"/>
                      </a:cubicBezTo>
                      <a:cubicBezTo>
                        <a:pt x="58793" y="52707"/>
                        <a:pt x="54392" y="55841"/>
                        <a:pt x="51506" y="58870"/>
                      </a:cubicBezTo>
                      <a:cubicBezTo>
                        <a:pt x="44772" y="65937"/>
                        <a:pt x="37999" y="72786"/>
                        <a:pt x="43753" y="82101"/>
                      </a:cubicBezTo>
                      <a:cubicBezTo>
                        <a:pt x="44781" y="83768"/>
                        <a:pt x="47248" y="85540"/>
                        <a:pt x="48048" y="87035"/>
                      </a:cubicBezTo>
                      <a:cubicBezTo>
                        <a:pt x="49077" y="88969"/>
                        <a:pt x="48258" y="90312"/>
                        <a:pt x="48867" y="91655"/>
                      </a:cubicBezTo>
                      <a:cubicBezTo>
                        <a:pt x="50868" y="96065"/>
                        <a:pt x="50287" y="97865"/>
                        <a:pt x="55859" y="98046"/>
                      </a:cubicBezTo>
                      <a:cubicBezTo>
                        <a:pt x="65651" y="98370"/>
                        <a:pt x="71470" y="88369"/>
                        <a:pt x="72375" y="80330"/>
                      </a:cubicBezTo>
                      <a:cubicBezTo>
                        <a:pt x="73537" y="70052"/>
                        <a:pt x="65831" y="63632"/>
                        <a:pt x="63174" y="54326"/>
                      </a:cubicBezTo>
                      <a:cubicBezTo>
                        <a:pt x="61859" y="49726"/>
                        <a:pt x="61583" y="46459"/>
                        <a:pt x="62869" y="42649"/>
                      </a:cubicBezTo>
                      <a:cubicBezTo>
                        <a:pt x="64765" y="37096"/>
                        <a:pt x="65546" y="38210"/>
                        <a:pt x="71470" y="36353"/>
                      </a:cubicBezTo>
                      <a:cubicBezTo>
                        <a:pt x="80548" y="33514"/>
                        <a:pt x="89330" y="29809"/>
                        <a:pt x="98436" y="26932"/>
                      </a:cubicBezTo>
                      <a:cubicBezTo>
                        <a:pt x="102055" y="25789"/>
                        <a:pt x="106789" y="20779"/>
                        <a:pt x="109408" y="20179"/>
                      </a:cubicBezTo>
                      <a:cubicBezTo>
                        <a:pt x="113123" y="19332"/>
                        <a:pt x="115904" y="25027"/>
                        <a:pt x="119019" y="20532"/>
                      </a:cubicBezTo>
                      <a:cubicBezTo>
                        <a:pt x="124353" y="12835"/>
                        <a:pt x="111028" y="16950"/>
                        <a:pt x="109199" y="16455"/>
                      </a:cubicBezTo>
                      <a:cubicBezTo>
                        <a:pt x="106036" y="15598"/>
                        <a:pt x="104513" y="12292"/>
                        <a:pt x="105427" y="7654"/>
                      </a:cubicBezTo>
                      <a:cubicBezTo>
                        <a:pt x="106418" y="2596"/>
                        <a:pt x="112475" y="-2033"/>
                        <a:pt x="116847" y="929"/>
                      </a:cubicBezTo>
                      <a:cubicBezTo>
                        <a:pt x="121115" y="3882"/>
                        <a:pt x="119429" y="10940"/>
                        <a:pt x="120467" y="15293"/>
                      </a:cubicBezTo>
                      <a:lnTo>
                        <a:pt x="120467" y="15293"/>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44" name="Freeform: Shape 543">
                  <a:extLst>
                    <a:ext uri="{FF2B5EF4-FFF2-40B4-BE49-F238E27FC236}">
                      <a16:creationId xmlns:a16="http://schemas.microsoft.com/office/drawing/2014/main" id="{3E6BA0E0-F8F3-444D-AD47-A90F0593AD86}"/>
                    </a:ext>
                  </a:extLst>
                </p:cNvPr>
                <p:cNvSpPr/>
                <p:nvPr/>
              </p:nvSpPr>
              <p:spPr>
                <a:xfrm>
                  <a:off x="7098610" y="2931201"/>
                  <a:ext cx="517870" cy="262785"/>
                </a:xfrm>
                <a:custGeom>
                  <a:avLst/>
                  <a:gdLst>
                    <a:gd name="connsiteX0" fmla="*/ 179623 w 517870"/>
                    <a:gd name="connsiteY0" fmla="*/ 63684 h 262785"/>
                    <a:gd name="connsiteX1" fmla="*/ 211588 w 517870"/>
                    <a:gd name="connsiteY1" fmla="*/ 59436 h 262785"/>
                    <a:gd name="connsiteX2" fmla="*/ 246155 w 517870"/>
                    <a:gd name="connsiteY2" fmla="*/ 61494 h 262785"/>
                    <a:gd name="connsiteX3" fmla="*/ 258671 w 517870"/>
                    <a:gd name="connsiteY3" fmla="*/ 58198 h 262785"/>
                    <a:gd name="connsiteX4" fmla="*/ 271272 w 517870"/>
                    <a:gd name="connsiteY4" fmla="*/ 66742 h 262785"/>
                    <a:gd name="connsiteX5" fmla="*/ 284922 w 517870"/>
                    <a:gd name="connsiteY5" fmla="*/ 77143 h 262785"/>
                    <a:gd name="connsiteX6" fmla="*/ 297561 w 517870"/>
                    <a:gd name="connsiteY6" fmla="*/ 79468 h 262785"/>
                    <a:gd name="connsiteX7" fmla="*/ 302829 w 517870"/>
                    <a:gd name="connsiteY7" fmla="*/ 97098 h 262785"/>
                    <a:gd name="connsiteX8" fmla="*/ 312249 w 517870"/>
                    <a:gd name="connsiteY8" fmla="*/ 110671 h 262785"/>
                    <a:gd name="connsiteX9" fmla="*/ 324250 w 517870"/>
                    <a:gd name="connsiteY9" fmla="*/ 117615 h 262785"/>
                    <a:gd name="connsiteX10" fmla="*/ 333842 w 517870"/>
                    <a:gd name="connsiteY10" fmla="*/ 133084 h 262785"/>
                    <a:gd name="connsiteX11" fmla="*/ 363750 w 517870"/>
                    <a:gd name="connsiteY11" fmla="*/ 136341 h 262785"/>
                    <a:gd name="connsiteX12" fmla="*/ 373628 w 517870"/>
                    <a:gd name="connsiteY12" fmla="*/ 139142 h 262785"/>
                    <a:gd name="connsiteX13" fmla="*/ 381228 w 517870"/>
                    <a:gd name="connsiteY13" fmla="*/ 150438 h 262785"/>
                    <a:gd name="connsiteX14" fmla="*/ 394726 w 517870"/>
                    <a:gd name="connsiteY14" fmla="*/ 154067 h 262785"/>
                    <a:gd name="connsiteX15" fmla="*/ 393088 w 517870"/>
                    <a:gd name="connsiteY15" fmla="*/ 143437 h 262785"/>
                    <a:gd name="connsiteX16" fmla="*/ 398288 w 517870"/>
                    <a:gd name="connsiteY16" fmla="*/ 136446 h 262785"/>
                    <a:gd name="connsiteX17" fmla="*/ 399107 w 517870"/>
                    <a:gd name="connsiteY17" fmla="*/ 130683 h 262785"/>
                    <a:gd name="connsiteX18" fmla="*/ 405898 w 517870"/>
                    <a:gd name="connsiteY18" fmla="*/ 126778 h 262785"/>
                    <a:gd name="connsiteX19" fmla="*/ 411775 w 517870"/>
                    <a:gd name="connsiteY19" fmla="*/ 121006 h 262785"/>
                    <a:gd name="connsiteX20" fmla="*/ 418872 w 517870"/>
                    <a:gd name="connsiteY20" fmla="*/ 118434 h 262785"/>
                    <a:gd name="connsiteX21" fmla="*/ 424577 w 517870"/>
                    <a:gd name="connsiteY21" fmla="*/ 111100 h 262785"/>
                    <a:gd name="connsiteX22" fmla="*/ 430130 w 517870"/>
                    <a:gd name="connsiteY22" fmla="*/ 108804 h 262785"/>
                    <a:gd name="connsiteX23" fmla="*/ 433588 w 517870"/>
                    <a:gd name="connsiteY23" fmla="*/ 107319 h 262785"/>
                    <a:gd name="connsiteX24" fmla="*/ 442217 w 517870"/>
                    <a:gd name="connsiteY24" fmla="*/ 101994 h 262785"/>
                    <a:gd name="connsiteX25" fmla="*/ 440598 w 517870"/>
                    <a:gd name="connsiteY25" fmla="*/ 109605 h 262785"/>
                    <a:gd name="connsiteX26" fmla="*/ 438026 w 517870"/>
                    <a:gd name="connsiteY26" fmla="*/ 113691 h 262785"/>
                    <a:gd name="connsiteX27" fmla="*/ 432768 w 517870"/>
                    <a:gd name="connsiteY27" fmla="*/ 119339 h 262785"/>
                    <a:gd name="connsiteX28" fmla="*/ 434083 w 517870"/>
                    <a:gd name="connsiteY28" fmla="*/ 127664 h 262785"/>
                    <a:gd name="connsiteX29" fmla="*/ 442113 w 517870"/>
                    <a:gd name="connsiteY29" fmla="*/ 127835 h 262785"/>
                    <a:gd name="connsiteX30" fmla="*/ 447837 w 517870"/>
                    <a:gd name="connsiteY30" fmla="*/ 133970 h 262785"/>
                    <a:gd name="connsiteX31" fmla="*/ 466449 w 517870"/>
                    <a:gd name="connsiteY31" fmla="*/ 138323 h 262785"/>
                    <a:gd name="connsiteX32" fmla="*/ 464391 w 517870"/>
                    <a:gd name="connsiteY32" fmla="*/ 131436 h 262785"/>
                    <a:gd name="connsiteX33" fmla="*/ 473716 w 517870"/>
                    <a:gd name="connsiteY33" fmla="*/ 129207 h 262785"/>
                    <a:gd name="connsiteX34" fmla="*/ 482727 w 517870"/>
                    <a:gd name="connsiteY34" fmla="*/ 136675 h 262785"/>
                    <a:gd name="connsiteX35" fmla="*/ 487699 w 517870"/>
                    <a:gd name="connsiteY35" fmla="*/ 137589 h 262785"/>
                    <a:gd name="connsiteX36" fmla="*/ 490081 w 517870"/>
                    <a:gd name="connsiteY36" fmla="*/ 141628 h 262785"/>
                    <a:gd name="connsiteX37" fmla="*/ 494272 w 517870"/>
                    <a:gd name="connsiteY37" fmla="*/ 140847 h 262785"/>
                    <a:gd name="connsiteX38" fmla="*/ 501187 w 517870"/>
                    <a:gd name="connsiteY38" fmla="*/ 144304 h 262785"/>
                    <a:gd name="connsiteX39" fmla="*/ 512445 w 517870"/>
                    <a:gd name="connsiteY39" fmla="*/ 147162 h 262785"/>
                    <a:gd name="connsiteX40" fmla="*/ 511550 w 517870"/>
                    <a:gd name="connsiteY40" fmla="*/ 152743 h 262785"/>
                    <a:gd name="connsiteX41" fmla="*/ 509435 w 517870"/>
                    <a:gd name="connsiteY41" fmla="*/ 156182 h 262785"/>
                    <a:gd name="connsiteX42" fmla="*/ 503101 w 517870"/>
                    <a:gd name="connsiteY42" fmla="*/ 156077 h 262785"/>
                    <a:gd name="connsiteX43" fmla="*/ 502425 w 517870"/>
                    <a:gd name="connsiteY43" fmla="*/ 161040 h 262785"/>
                    <a:gd name="connsiteX44" fmla="*/ 497453 w 517870"/>
                    <a:gd name="connsiteY44" fmla="*/ 159411 h 262785"/>
                    <a:gd name="connsiteX45" fmla="*/ 493405 w 517870"/>
                    <a:gd name="connsiteY45" fmla="*/ 163764 h 262785"/>
                    <a:gd name="connsiteX46" fmla="*/ 479527 w 517870"/>
                    <a:gd name="connsiteY46" fmla="*/ 166107 h 262785"/>
                    <a:gd name="connsiteX47" fmla="*/ 465658 w 517870"/>
                    <a:gd name="connsiteY47" fmla="*/ 166155 h 262785"/>
                    <a:gd name="connsiteX48" fmla="*/ 453609 w 517870"/>
                    <a:gd name="connsiteY48" fmla="*/ 164364 h 262785"/>
                    <a:gd name="connsiteX49" fmla="*/ 452676 w 517870"/>
                    <a:gd name="connsiteY49" fmla="*/ 150114 h 262785"/>
                    <a:gd name="connsiteX50" fmla="*/ 441408 w 517870"/>
                    <a:gd name="connsiteY50" fmla="*/ 141456 h 262785"/>
                    <a:gd name="connsiteX51" fmla="*/ 432178 w 517870"/>
                    <a:gd name="connsiteY51" fmla="*/ 149638 h 262785"/>
                    <a:gd name="connsiteX52" fmla="*/ 419338 w 517870"/>
                    <a:gd name="connsiteY52" fmla="*/ 149981 h 262785"/>
                    <a:gd name="connsiteX53" fmla="*/ 412975 w 517870"/>
                    <a:gd name="connsiteY53" fmla="*/ 155868 h 262785"/>
                    <a:gd name="connsiteX54" fmla="*/ 418748 w 517870"/>
                    <a:gd name="connsiteY54" fmla="*/ 164373 h 262785"/>
                    <a:gd name="connsiteX55" fmla="*/ 416766 w 517870"/>
                    <a:gd name="connsiteY55" fmla="*/ 164640 h 262785"/>
                    <a:gd name="connsiteX56" fmla="*/ 419415 w 517870"/>
                    <a:gd name="connsiteY56" fmla="*/ 167478 h 262785"/>
                    <a:gd name="connsiteX57" fmla="*/ 407375 w 517870"/>
                    <a:gd name="connsiteY57" fmla="*/ 167145 h 262785"/>
                    <a:gd name="connsiteX58" fmla="*/ 406661 w 517870"/>
                    <a:gd name="connsiteY58" fmla="*/ 169707 h 262785"/>
                    <a:gd name="connsiteX59" fmla="*/ 411147 w 517870"/>
                    <a:gd name="connsiteY59" fmla="*/ 171536 h 262785"/>
                    <a:gd name="connsiteX60" fmla="*/ 408566 w 517870"/>
                    <a:gd name="connsiteY60" fmla="*/ 173698 h 262785"/>
                    <a:gd name="connsiteX61" fmla="*/ 411413 w 517870"/>
                    <a:gd name="connsiteY61" fmla="*/ 177146 h 262785"/>
                    <a:gd name="connsiteX62" fmla="*/ 409184 w 517870"/>
                    <a:gd name="connsiteY62" fmla="*/ 176737 h 262785"/>
                    <a:gd name="connsiteX63" fmla="*/ 406298 w 517870"/>
                    <a:gd name="connsiteY63" fmla="*/ 180290 h 262785"/>
                    <a:gd name="connsiteX64" fmla="*/ 404870 w 517870"/>
                    <a:gd name="connsiteY64" fmla="*/ 188300 h 262785"/>
                    <a:gd name="connsiteX65" fmla="*/ 383972 w 517870"/>
                    <a:gd name="connsiteY65" fmla="*/ 185776 h 262785"/>
                    <a:gd name="connsiteX66" fmla="*/ 377476 w 517870"/>
                    <a:gd name="connsiteY66" fmla="*/ 197997 h 262785"/>
                    <a:gd name="connsiteX67" fmla="*/ 385753 w 517870"/>
                    <a:gd name="connsiteY67" fmla="*/ 200492 h 262785"/>
                    <a:gd name="connsiteX68" fmla="*/ 390316 w 517870"/>
                    <a:gd name="connsiteY68" fmla="*/ 205493 h 262785"/>
                    <a:gd name="connsiteX69" fmla="*/ 403679 w 517870"/>
                    <a:gd name="connsiteY69" fmla="*/ 209760 h 262785"/>
                    <a:gd name="connsiteX70" fmla="*/ 406880 w 517870"/>
                    <a:gd name="connsiteY70" fmla="*/ 221809 h 262785"/>
                    <a:gd name="connsiteX71" fmla="*/ 415052 w 517870"/>
                    <a:gd name="connsiteY71" fmla="*/ 228324 h 262785"/>
                    <a:gd name="connsiteX72" fmla="*/ 414252 w 517870"/>
                    <a:gd name="connsiteY72" fmla="*/ 241869 h 262785"/>
                    <a:gd name="connsiteX73" fmla="*/ 410746 w 517870"/>
                    <a:gd name="connsiteY73" fmla="*/ 251537 h 262785"/>
                    <a:gd name="connsiteX74" fmla="*/ 412518 w 517870"/>
                    <a:gd name="connsiteY74" fmla="*/ 262786 h 262785"/>
                    <a:gd name="connsiteX75" fmla="*/ 398688 w 517870"/>
                    <a:gd name="connsiteY75" fmla="*/ 261405 h 262785"/>
                    <a:gd name="connsiteX76" fmla="*/ 389534 w 517870"/>
                    <a:gd name="connsiteY76" fmla="*/ 257404 h 262785"/>
                    <a:gd name="connsiteX77" fmla="*/ 376447 w 517870"/>
                    <a:gd name="connsiteY77" fmla="*/ 257156 h 262785"/>
                    <a:gd name="connsiteX78" fmla="*/ 372342 w 517870"/>
                    <a:gd name="connsiteY78" fmla="*/ 248879 h 262785"/>
                    <a:gd name="connsiteX79" fmla="*/ 371866 w 517870"/>
                    <a:gd name="connsiteY79" fmla="*/ 238421 h 262785"/>
                    <a:gd name="connsiteX80" fmla="*/ 355940 w 517870"/>
                    <a:gd name="connsiteY80" fmla="*/ 231191 h 262785"/>
                    <a:gd name="connsiteX81" fmla="*/ 340462 w 517870"/>
                    <a:gd name="connsiteY81" fmla="*/ 229296 h 262785"/>
                    <a:gd name="connsiteX82" fmla="*/ 320164 w 517870"/>
                    <a:gd name="connsiteY82" fmla="*/ 219028 h 262785"/>
                    <a:gd name="connsiteX83" fmla="*/ 301886 w 517870"/>
                    <a:gd name="connsiteY83" fmla="*/ 210141 h 262785"/>
                    <a:gd name="connsiteX84" fmla="*/ 281140 w 517870"/>
                    <a:gd name="connsiteY84" fmla="*/ 201778 h 262785"/>
                    <a:gd name="connsiteX85" fmla="*/ 240602 w 517870"/>
                    <a:gd name="connsiteY85" fmla="*/ 178927 h 262785"/>
                    <a:gd name="connsiteX86" fmla="*/ 225666 w 517870"/>
                    <a:gd name="connsiteY86" fmla="*/ 162583 h 262785"/>
                    <a:gd name="connsiteX87" fmla="*/ 210074 w 517870"/>
                    <a:gd name="connsiteY87" fmla="*/ 145561 h 262785"/>
                    <a:gd name="connsiteX88" fmla="*/ 192605 w 517870"/>
                    <a:gd name="connsiteY88" fmla="*/ 133817 h 262785"/>
                    <a:gd name="connsiteX89" fmla="*/ 179061 w 517870"/>
                    <a:gd name="connsiteY89" fmla="*/ 135294 h 262785"/>
                    <a:gd name="connsiteX90" fmla="*/ 159087 w 517870"/>
                    <a:gd name="connsiteY90" fmla="*/ 133227 h 262785"/>
                    <a:gd name="connsiteX91" fmla="*/ 149981 w 517870"/>
                    <a:gd name="connsiteY91" fmla="*/ 122711 h 262785"/>
                    <a:gd name="connsiteX92" fmla="*/ 147247 w 517870"/>
                    <a:gd name="connsiteY92" fmla="*/ 119215 h 262785"/>
                    <a:gd name="connsiteX93" fmla="*/ 148952 w 517870"/>
                    <a:gd name="connsiteY93" fmla="*/ 117501 h 262785"/>
                    <a:gd name="connsiteX94" fmla="*/ 144999 w 517870"/>
                    <a:gd name="connsiteY94" fmla="*/ 113253 h 262785"/>
                    <a:gd name="connsiteX95" fmla="*/ 140904 w 517870"/>
                    <a:gd name="connsiteY95" fmla="*/ 111548 h 262785"/>
                    <a:gd name="connsiteX96" fmla="*/ 140713 w 517870"/>
                    <a:gd name="connsiteY96" fmla="*/ 108071 h 262785"/>
                    <a:gd name="connsiteX97" fmla="*/ 137846 w 517870"/>
                    <a:gd name="connsiteY97" fmla="*/ 103289 h 262785"/>
                    <a:gd name="connsiteX98" fmla="*/ 124730 w 517870"/>
                    <a:gd name="connsiteY98" fmla="*/ 101280 h 262785"/>
                    <a:gd name="connsiteX99" fmla="*/ 114586 w 517870"/>
                    <a:gd name="connsiteY99" fmla="*/ 95317 h 262785"/>
                    <a:gd name="connsiteX100" fmla="*/ 106099 w 517870"/>
                    <a:gd name="connsiteY100" fmla="*/ 93365 h 262785"/>
                    <a:gd name="connsiteX101" fmla="*/ 95012 w 517870"/>
                    <a:gd name="connsiteY101" fmla="*/ 86202 h 262785"/>
                    <a:gd name="connsiteX102" fmla="*/ 90411 w 517870"/>
                    <a:gd name="connsiteY102" fmla="*/ 94793 h 262785"/>
                    <a:gd name="connsiteX103" fmla="*/ 96021 w 517870"/>
                    <a:gd name="connsiteY103" fmla="*/ 101546 h 262785"/>
                    <a:gd name="connsiteX104" fmla="*/ 90440 w 517870"/>
                    <a:gd name="connsiteY104" fmla="*/ 97222 h 262785"/>
                    <a:gd name="connsiteX105" fmla="*/ 79477 w 517870"/>
                    <a:gd name="connsiteY105" fmla="*/ 104956 h 262785"/>
                    <a:gd name="connsiteX106" fmla="*/ 66180 w 517870"/>
                    <a:gd name="connsiteY106" fmla="*/ 107138 h 262785"/>
                    <a:gd name="connsiteX107" fmla="*/ 60750 w 517870"/>
                    <a:gd name="connsiteY107" fmla="*/ 116167 h 262785"/>
                    <a:gd name="connsiteX108" fmla="*/ 67342 w 517870"/>
                    <a:gd name="connsiteY108" fmla="*/ 133922 h 262785"/>
                    <a:gd name="connsiteX109" fmla="*/ 38671 w 517870"/>
                    <a:gd name="connsiteY109" fmla="*/ 132103 h 262785"/>
                    <a:gd name="connsiteX110" fmla="*/ 29518 w 517870"/>
                    <a:gd name="connsiteY110" fmla="*/ 103928 h 262785"/>
                    <a:gd name="connsiteX111" fmla="*/ 20888 w 517870"/>
                    <a:gd name="connsiteY111" fmla="*/ 77839 h 262785"/>
                    <a:gd name="connsiteX112" fmla="*/ 0 w 517870"/>
                    <a:gd name="connsiteY112" fmla="*/ 16383 h 262785"/>
                    <a:gd name="connsiteX113" fmla="*/ 36081 w 517870"/>
                    <a:gd name="connsiteY113" fmla="*/ 5734 h 262785"/>
                    <a:gd name="connsiteX114" fmla="*/ 71000 w 517870"/>
                    <a:gd name="connsiteY114" fmla="*/ 2305 h 262785"/>
                    <a:gd name="connsiteX115" fmla="*/ 109004 w 517870"/>
                    <a:gd name="connsiteY115" fmla="*/ 19927 h 262785"/>
                    <a:gd name="connsiteX116" fmla="*/ 144999 w 517870"/>
                    <a:gd name="connsiteY116" fmla="*/ 37576 h 262785"/>
                    <a:gd name="connsiteX117" fmla="*/ 179623 w 517870"/>
                    <a:gd name="connsiteY117" fmla="*/ 63684 h 262785"/>
                    <a:gd name="connsiteX118" fmla="*/ 179623 w 517870"/>
                    <a:gd name="connsiteY118" fmla="*/ 63684 h 262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517870" h="262785">
                      <a:moveTo>
                        <a:pt x="179623" y="63684"/>
                      </a:moveTo>
                      <a:cubicBezTo>
                        <a:pt x="190224" y="64323"/>
                        <a:pt x="200996" y="59770"/>
                        <a:pt x="211588" y="59436"/>
                      </a:cubicBezTo>
                      <a:cubicBezTo>
                        <a:pt x="222275" y="59103"/>
                        <a:pt x="235877" y="64123"/>
                        <a:pt x="246155" y="61494"/>
                      </a:cubicBezTo>
                      <a:cubicBezTo>
                        <a:pt x="251813" y="60055"/>
                        <a:pt x="252851" y="56131"/>
                        <a:pt x="258671" y="58198"/>
                      </a:cubicBezTo>
                      <a:cubicBezTo>
                        <a:pt x="263062" y="59760"/>
                        <a:pt x="267072" y="64523"/>
                        <a:pt x="271272" y="66742"/>
                      </a:cubicBezTo>
                      <a:cubicBezTo>
                        <a:pt x="276901" y="69714"/>
                        <a:pt x="280378" y="72619"/>
                        <a:pt x="284922" y="77143"/>
                      </a:cubicBezTo>
                      <a:cubicBezTo>
                        <a:pt x="290399" y="82601"/>
                        <a:pt x="290675" y="83135"/>
                        <a:pt x="297561" y="79468"/>
                      </a:cubicBezTo>
                      <a:cubicBezTo>
                        <a:pt x="299361" y="85335"/>
                        <a:pt x="301180" y="91193"/>
                        <a:pt x="302829" y="97098"/>
                      </a:cubicBezTo>
                      <a:cubicBezTo>
                        <a:pt x="304838" y="104280"/>
                        <a:pt x="304619" y="109614"/>
                        <a:pt x="312249" y="110671"/>
                      </a:cubicBezTo>
                      <a:cubicBezTo>
                        <a:pt x="320164" y="111757"/>
                        <a:pt x="320250" y="110424"/>
                        <a:pt x="324250" y="117615"/>
                      </a:cubicBezTo>
                      <a:cubicBezTo>
                        <a:pt x="327060" y="122654"/>
                        <a:pt x="330070" y="128683"/>
                        <a:pt x="333842" y="133084"/>
                      </a:cubicBezTo>
                      <a:cubicBezTo>
                        <a:pt x="340566" y="140932"/>
                        <a:pt x="353968" y="136922"/>
                        <a:pt x="363750" y="136341"/>
                      </a:cubicBezTo>
                      <a:cubicBezTo>
                        <a:pt x="368037" y="136084"/>
                        <a:pt x="370313" y="136370"/>
                        <a:pt x="373628" y="139142"/>
                      </a:cubicBezTo>
                      <a:cubicBezTo>
                        <a:pt x="378010" y="142799"/>
                        <a:pt x="376628" y="146762"/>
                        <a:pt x="381228" y="150438"/>
                      </a:cubicBezTo>
                      <a:cubicBezTo>
                        <a:pt x="382820" y="151715"/>
                        <a:pt x="393040" y="156630"/>
                        <a:pt x="394726" y="154067"/>
                      </a:cubicBezTo>
                      <a:cubicBezTo>
                        <a:pt x="395602" y="152734"/>
                        <a:pt x="391935" y="146847"/>
                        <a:pt x="393088" y="143437"/>
                      </a:cubicBezTo>
                      <a:cubicBezTo>
                        <a:pt x="394145" y="140313"/>
                        <a:pt x="396936" y="139037"/>
                        <a:pt x="398288" y="136446"/>
                      </a:cubicBezTo>
                      <a:cubicBezTo>
                        <a:pt x="399012" y="135055"/>
                        <a:pt x="398764" y="131122"/>
                        <a:pt x="399107" y="130683"/>
                      </a:cubicBezTo>
                      <a:cubicBezTo>
                        <a:pt x="401136" y="128131"/>
                        <a:pt x="403565" y="128493"/>
                        <a:pt x="405898" y="126778"/>
                      </a:cubicBezTo>
                      <a:cubicBezTo>
                        <a:pt x="407584" y="125540"/>
                        <a:pt x="409147" y="122416"/>
                        <a:pt x="411775" y="121006"/>
                      </a:cubicBezTo>
                      <a:cubicBezTo>
                        <a:pt x="413976" y="119825"/>
                        <a:pt x="416709" y="119968"/>
                        <a:pt x="418872" y="118434"/>
                      </a:cubicBezTo>
                      <a:cubicBezTo>
                        <a:pt x="421824" y="116358"/>
                        <a:pt x="422063" y="113157"/>
                        <a:pt x="424577" y="111100"/>
                      </a:cubicBezTo>
                      <a:cubicBezTo>
                        <a:pt x="426844" y="109233"/>
                        <a:pt x="428759" y="109605"/>
                        <a:pt x="430130" y="108804"/>
                      </a:cubicBezTo>
                      <a:cubicBezTo>
                        <a:pt x="429920" y="108928"/>
                        <a:pt x="433492" y="107376"/>
                        <a:pt x="433588" y="107319"/>
                      </a:cubicBezTo>
                      <a:cubicBezTo>
                        <a:pt x="435969" y="106233"/>
                        <a:pt x="438360" y="101861"/>
                        <a:pt x="442217" y="101994"/>
                      </a:cubicBezTo>
                      <a:cubicBezTo>
                        <a:pt x="453952" y="102404"/>
                        <a:pt x="443503" y="107404"/>
                        <a:pt x="440598" y="109605"/>
                      </a:cubicBezTo>
                      <a:cubicBezTo>
                        <a:pt x="439379" y="110528"/>
                        <a:pt x="439208" y="112357"/>
                        <a:pt x="438026" y="113691"/>
                      </a:cubicBezTo>
                      <a:cubicBezTo>
                        <a:pt x="436636" y="115281"/>
                        <a:pt x="434330" y="117682"/>
                        <a:pt x="432768" y="119339"/>
                      </a:cubicBezTo>
                      <a:cubicBezTo>
                        <a:pt x="427768" y="124626"/>
                        <a:pt x="425072" y="125759"/>
                        <a:pt x="434083" y="127664"/>
                      </a:cubicBezTo>
                      <a:cubicBezTo>
                        <a:pt x="436245" y="128121"/>
                        <a:pt x="440760" y="127254"/>
                        <a:pt x="442113" y="127835"/>
                      </a:cubicBezTo>
                      <a:cubicBezTo>
                        <a:pt x="445141" y="129131"/>
                        <a:pt x="445351" y="132207"/>
                        <a:pt x="447837" y="133970"/>
                      </a:cubicBezTo>
                      <a:cubicBezTo>
                        <a:pt x="453219" y="137761"/>
                        <a:pt x="460724" y="136427"/>
                        <a:pt x="466449" y="138323"/>
                      </a:cubicBezTo>
                      <a:cubicBezTo>
                        <a:pt x="466154" y="136179"/>
                        <a:pt x="465201" y="133703"/>
                        <a:pt x="464391" y="131436"/>
                      </a:cubicBezTo>
                      <a:cubicBezTo>
                        <a:pt x="473640" y="136637"/>
                        <a:pt x="462963" y="118272"/>
                        <a:pt x="473716" y="129207"/>
                      </a:cubicBezTo>
                      <a:cubicBezTo>
                        <a:pt x="477212" y="132779"/>
                        <a:pt x="478517" y="134703"/>
                        <a:pt x="482727" y="136675"/>
                      </a:cubicBezTo>
                      <a:cubicBezTo>
                        <a:pt x="484280" y="137408"/>
                        <a:pt x="486023" y="136894"/>
                        <a:pt x="487699" y="137589"/>
                      </a:cubicBezTo>
                      <a:cubicBezTo>
                        <a:pt x="488947" y="138103"/>
                        <a:pt x="488699" y="140923"/>
                        <a:pt x="490081" y="141628"/>
                      </a:cubicBezTo>
                      <a:cubicBezTo>
                        <a:pt x="491261" y="142228"/>
                        <a:pt x="492862" y="140285"/>
                        <a:pt x="494272" y="140847"/>
                      </a:cubicBezTo>
                      <a:cubicBezTo>
                        <a:pt x="496710" y="141818"/>
                        <a:pt x="498853" y="143314"/>
                        <a:pt x="501187" y="144304"/>
                      </a:cubicBezTo>
                      <a:cubicBezTo>
                        <a:pt x="505006" y="145933"/>
                        <a:pt x="508292" y="146590"/>
                        <a:pt x="512445" y="147162"/>
                      </a:cubicBezTo>
                      <a:cubicBezTo>
                        <a:pt x="521456" y="148390"/>
                        <a:pt x="517884" y="148038"/>
                        <a:pt x="511550" y="152743"/>
                      </a:cubicBezTo>
                      <a:cubicBezTo>
                        <a:pt x="510626" y="153429"/>
                        <a:pt x="510635" y="155763"/>
                        <a:pt x="509435" y="156182"/>
                      </a:cubicBezTo>
                      <a:cubicBezTo>
                        <a:pt x="507854" y="156734"/>
                        <a:pt x="503673" y="155772"/>
                        <a:pt x="503101" y="156077"/>
                      </a:cubicBezTo>
                      <a:cubicBezTo>
                        <a:pt x="499043" y="158201"/>
                        <a:pt x="505463" y="158582"/>
                        <a:pt x="502425" y="161040"/>
                      </a:cubicBezTo>
                      <a:cubicBezTo>
                        <a:pt x="501044" y="162164"/>
                        <a:pt x="498605" y="158973"/>
                        <a:pt x="497453" y="159411"/>
                      </a:cubicBezTo>
                      <a:cubicBezTo>
                        <a:pt x="494957" y="160354"/>
                        <a:pt x="495186" y="162087"/>
                        <a:pt x="493405" y="163764"/>
                      </a:cubicBezTo>
                      <a:cubicBezTo>
                        <a:pt x="488013" y="168888"/>
                        <a:pt x="486937" y="167650"/>
                        <a:pt x="479527" y="166107"/>
                      </a:cubicBezTo>
                      <a:cubicBezTo>
                        <a:pt x="474136" y="164983"/>
                        <a:pt x="471164" y="165202"/>
                        <a:pt x="465658" y="166155"/>
                      </a:cubicBezTo>
                      <a:cubicBezTo>
                        <a:pt x="459353" y="167250"/>
                        <a:pt x="458401" y="166412"/>
                        <a:pt x="453609" y="164364"/>
                      </a:cubicBezTo>
                      <a:cubicBezTo>
                        <a:pt x="440836" y="158887"/>
                        <a:pt x="454809" y="157706"/>
                        <a:pt x="452676" y="150114"/>
                      </a:cubicBezTo>
                      <a:cubicBezTo>
                        <a:pt x="452466" y="149324"/>
                        <a:pt x="443236" y="141351"/>
                        <a:pt x="441408" y="141456"/>
                      </a:cubicBezTo>
                      <a:cubicBezTo>
                        <a:pt x="440789" y="141494"/>
                        <a:pt x="435160" y="148000"/>
                        <a:pt x="432178" y="149638"/>
                      </a:cubicBezTo>
                      <a:cubicBezTo>
                        <a:pt x="424196" y="154058"/>
                        <a:pt x="426596" y="151334"/>
                        <a:pt x="419338" y="149981"/>
                      </a:cubicBezTo>
                      <a:cubicBezTo>
                        <a:pt x="410442" y="148314"/>
                        <a:pt x="418329" y="152362"/>
                        <a:pt x="412975" y="155868"/>
                      </a:cubicBezTo>
                      <a:cubicBezTo>
                        <a:pt x="415033" y="158601"/>
                        <a:pt x="417538" y="161287"/>
                        <a:pt x="418748" y="164373"/>
                      </a:cubicBezTo>
                      <a:cubicBezTo>
                        <a:pt x="418091" y="164459"/>
                        <a:pt x="417424" y="164554"/>
                        <a:pt x="416766" y="164640"/>
                      </a:cubicBezTo>
                      <a:cubicBezTo>
                        <a:pt x="417709" y="165478"/>
                        <a:pt x="418405" y="166726"/>
                        <a:pt x="419415" y="167478"/>
                      </a:cubicBezTo>
                      <a:cubicBezTo>
                        <a:pt x="415452" y="167583"/>
                        <a:pt x="411452" y="166402"/>
                        <a:pt x="407375" y="167145"/>
                      </a:cubicBezTo>
                      <a:cubicBezTo>
                        <a:pt x="399479" y="168593"/>
                        <a:pt x="402279" y="168031"/>
                        <a:pt x="406661" y="169707"/>
                      </a:cubicBezTo>
                      <a:cubicBezTo>
                        <a:pt x="411499" y="171555"/>
                        <a:pt x="410290" y="169088"/>
                        <a:pt x="411147" y="171536"/>
                      </a:cubicBezTo>
                      <a:cubicBezTo>
                        <a:pt x="410137" y="168612"/>
                        <a:pt x="408232" y="174479"/>
                        <a:pt x="408566" y="173698"/>
                      </a:cubicBezTo>
                      <a:cubicBezTo>
                        <a:pt x="408832" y="173098"/>
                        <a:pt x="411623" y="177423"/>
                        <a:pt x="411413" y="177146"/>
                      </a:cubicBezTo>
                      <a:cubicBezTo>
                        <a:pt x="410652" y="177223"/>
                        <a:pt x="409937" y="176851"/>
                        <a:pt x="409184" y="176737"/>
                      </a:cubicBezTo>
                      <a:cubicBezTo>
                        <a:pt x="407908" y="178651"/>
                        <a:pt x="406994" y="178318"/>
                        <a:pt x="406298" y="180290"/>
                      </a:cubicBezTo>
                      <a:cubicBezTo>
                        <a:pt x="405222" y="183385"/>
                        <a:pt x="408470" y="185757"/>
                        <a:pt x="404870" y="188300"/>
                      </a:cubicBezTo>
                      <a:cubicBezTo>
                        <a:pt x="400355" y="191481"/>
                        <a:pt x="389011" y="184928"/>
                        <a:pt x="383972" y="185776"/>
                      </a:cubicBezTo>
                      <a:cubicBezTo>
                        <a:pt x="379009" y="186605"/>
                        <a:pt x="373275" y="192291"/>
                        <a:pt x="377476" y="197997"/>
                      </a:cubicBezTo>
                      <a:cubicBezTo>
                        <a:pt x="379162" y="200273"/>
                        <a:pt x="383581" y="199168"/>
                        <a:pt x="385753" y="200492"/>
                      </a:cubicBezTo>
                      <a:cubicBezTo>
                        <a:pt x="387972" y="201835"/>
                        <a:pt x="388182" y="204502"/>
                        <a:pt x="390316" y="205493"/>
                      </a:cubicBezTo>
                      <a:cubicBezTo>
                        <a:pt x="395802" y="208036"/>
                        <a:pt x="400545" y="203235"/>
                        <a:pt x="403679" y="209760"/>
                      </a:cubicBezTo>
                      <a:cubicBezTo>
                        <a:pt x="405651" y="213875"/>
                        <a:pt x="403384" y="217418"/>
                        <a:pt x="406880" y="221809"/>
                      </a:cubicBezTo>
                      <a:cubicBezTo>
                        <a:pt x="409166" y="224676"/>
                        <a:pt x="412699" y="225791"/>
                        <a:pt x="415052" y="228324"/>
                      </a:cubicBezTo>
                      <a:cubicBezTo>
                        <a:pt x="419958" y="233592"/>
                        <a:pt x="417014" y="235973"/>
                        <a:pt x="414252" y="241869"/>
                      </a:cubicBezTo>
                      <a:cubicBezTo>
                        <a:pt x="413109" y="244336"/>
                        <a:pt x="411004" y="249051"/>
                        <a:pt x="410746" y="251537"/>
                      </a:cubicBezTo>
                      <a:cubicBezTo>
                        <a:pt x="410328" y="255432"/>
                        <a:pt x="413099" y="258795"/>
                        <a:pt x="412518" y="262786"/>
                      </a:cubicBezTo>
                      <a:cubicBezTo>
                        <a:pt x="408537" y="258356"/>
                        <a:pt x="402965" y="262033"/>
                        <a:pt x="398688" y="261405"/>
                      </a:cubicBezTo>
                      <a:cubicBezTo>
                        <a:pt x="395174" y="260890"/>
                        <a:pt x="392802" y="258423"/>
                        <a:pt x="389534" y="257404"/>
                      </a:cubicBezTo>
                      <a:cubicBezTo>
                        <a:pt x="385810" y="256252"/>
                        <a:pt x="379381" y="258547"/>
                        <a:pt x="376447" y="257156"/>
                      </a:cubicBezTo>
                      <a:cubicBezTo>
                        <a:pt x="374247" y="256118"/>
                        <a:pt x="373085" y="251575"/>
                        <a:pt x="372342" y="248879"/>
                      </a:cubicBezTo>
                      <a:cubicBezTo>
                        <a:pt x="371875" y="247193"/>
                        <a:pt x="372190" y="238907"/>
                        <a:pt x="371866" y="238421"/>
                      </a:cubicBezTo>
                      <a:cubicBezTo>
                        <a:pt x="369684" y="235144"/>
                        <a:pt x="359807" y="232868"/>
                        <a:pt x="355940" y="231191"/>
                      </a:cubicBezTo>
                      <a:cubicBezTo>
                        <a:pt x="349711" y="228505"/>
                        <a:pt x="346177" y="230191"/>
                        <a:pt x="340462" y="229296"/>
                      </a:cubicBezTo>
                      <a:cubicBezTo>
                        <a:pt x="333804" y="228267"/>
                        <a:pt x="326098" y="222009"/>
                        <a:pt x="320164" y="219028"/>
                      </a:cubicBezTo>
                      <a:cubicBezTo>
                        <a:pt x="314040" y="215951"/>
                        <a:pt x="307734" y="213684"/>
                        <a:pt x="301886" y="210141"/>
                      </a:cubicBezTo>
                      <a:cubicBezTo>
                        <a:pt x="294961" y="205950"/>
                        <a:pt x="288560" y="205721"/>
                        <a:pt x="281140" y="201778"/>
                      </a:cubicBezTo>
                      <a:cubicBezTo>
                        <a:pt x="267548" y="194558"/>
                        <a:pt x="254213" y="186367"/>
                        <a:pt x="240602" y="178927"/>
                      </a:cubicBezTo>
                      <a:cubicBezTo>
                        <a:pt x="232153" y="174308"/>
                        <a:pt x="231429" y="169831"/>
                        <a:pt x="225666" y="162583"/>
                      </a:cubicBezTo>
                      <a:cubicBezTo>
                        <a:pt x="220809" y="156496"/>
                        <a:pt x="214903" y="152029"/>
                        <a:pt x="210074" y="145561"/>
                      </a:cubicBezTo>
                      <a:cubicBezTo>
                        <a:pt x="206330" y="140551"/>
                        <a:pt x="199577" y="133741"/>
                        <a:pt x="192605" y="133817"/>
                      </a:cubicBezTo>
                      <a:cubicBezTo>
                        <a:pt x="187414" y="133874"/>
                        <a:pt x="185309" y="136151"/>
                        <a:pt x="179061" y="135294"/>
                      </a:cubicBezTo>
                      <a:cubicBezTo>
                        <a:pt x="171908" y="134303"/>
                        <a:pt x="165811" y="135865"/>
                        <a:pt x="159087" y="133227"/>
                      </a:cubicBezTo>
                      <a:cubicBezTo>
                        <a:pt x="150857" y="130007"/>
                        <a:pt x="152019" y="129388"/>
                        <a:pt x="149981" y="122711"/>
                      </a:cubicBezTo>
                      <a:cubicBezTo>
                        <a:pt x="149523" y="121206"/>
                        <a:pt x="147457" y="120844"/>
                        <a:pt x="147247" y="119215"/>
                      </a:cubicBezTo>
                      <a:cubicBezTo>
                        <a:pt x="147209" y="118910"/>
                        <a:pt x="147866" y="115243"/>
                        <a:pt x="148952" y="117501"/>
                      </a:cubicBezTo>
                      <a:cubicBezTo>
                        <a:pt x="148409" y="116367"/>
                        <a:pt x="147581" y="115558"/>
                        <a:pt x="144999" y="113253"/>
                      </a:cubicBezTo>
                      <a:cubicBezTo>
                        <a:pt x="143961" y="112329"/>
                        <a:pt x="141799" y="112824"/>
                        <a:pt x="140904" y="111548"/>
                      </a:cubicBezTo>
                      <a:cubicBezTo>
                        <a:pt x="140427" y="110871"/>
                        <a:pt x="141484" y="109205"/>
                        <a:pt x="140713" y="108071"/>
                      </a:cubicBezTo>
                      <a:cubicBezTo>
                        <a:pt x="139065" y="105623"/>
                        <a:pt x="140465" y="105347"/>
                        <a:pt x="137846" y="103289"/>
                      </a:cubicBezTo>
                      <a:cubicBezTo>
                        <a:pt x="133750" y="100070"/>
                        <a:pt x="129540" y="101927"/>
                        <a:pt x="124730" y="101280"/>
                      </a:cubicBezTo>
                      <a:cubicBezTo>
                        <a:pt x="119301" y="100537"/>
                        <a:pt x="118901" y="97536"/>
                        <a:pt x="114586" y="95317"/>
                      </a:cubicBezTo>
                      <a:cubicBezTo>
                        <a:pt x="111843" y="93898"/>
                        <a:pt x="109004" y="94431"/>
                        <a:pt x="106099" y="93365"/>
                      </a:cubicBezTo>
                      <a:cubicBezTo>
                        <a:pt x="102289" y="91974"/>
                        <a:pt x="98450" y="88402"/>
                        <a:pt x="95012" y="86202"/>
                      </a:cubicBezTo>
                      <a:cubicBezTo>
                        <a:pt x="95374" y="94498"/>
                        <a:pt x="77257" y="85392"/>
                        <a:pt x="90411" y="94793"/>
                      </a:cubicBezTo>
                      <a:cubicBezTo>
                        <a:pt x="91373" y="95479"/>
                        <a:pt x="99479" y="101385"/>
                        <a:pt x="96021" y="101546"/>
                      </a:cubicBezTo>
                      <a:cubicBezTo>
                        <a:pt x="93945" y="101642"/>
                        <a:pt x="92316" y="98251"/>
                        <a:pt x="90440" y="97222"/>
                      </a:cubicBezTo>
                      <a:cubicBezTo>
                        <a:pt x="79267" y="91078"/>
                        <a:pt x="84506" y="100784"/>
                        <a:pt x="79477" y="104956"/>
                      </a:cubicBezTo>
                      <a:cubicBezTo>
                        <a:pt x="76191" y="107681"/>
                        <a:pt x="69971" y="104375"/>
                        <a:pt x="66180" y="107138"/>
                      </a:cubicBezTo>
                      <a:cubicBezTo>
                        <a:pt x="64332" y="108490"/>
                        <a:pt x="60903" y="114319"/>
                        <a:pt x="60750" y="116167"/>
                      </a:cubicBezTo>
                      <a:cubicBezTo>
                        <a:pt x="60246" y="122178"/>
                        <a:pt x="73304" y="130931"/>
                        <a:pt x="67342" y="133922"/>
                      </a:cubicBezTo>
                      <a:cubicBezTo>
                        <a:pt x="64951" y="135122"/>
                        <a:pt x="40777" y="133684"/>
                        <a:pt x="38671" y="132103"/>
                      </a:cubicBezTo>
                      <a:cubicBezTo>
                        <a:pt x="34204" y="128731"/>
                        <a:pt x="31366" y="109566"/>
                        <a:pt x="29518" y="103928"/>
                      </a:cubicBezTo>
                      <a:cubicBezTo>
                        <a:pt x="26661" y="95222"/>
                        <a:pt x="23775" y="86526"/>
                        <a:pt x="20888" y="77839"/>
                      </a:cubicBezTo>
                      <a:cubicBezTo>
                        <a:pt x="14050" y="57312"/>
                        <a:pt x="7058" y="36834"/>
                        <a:pt x="0" y="16383"/>
                      </a:cubicBezTo>
                      <a:cubicBezTo>
                        <a:pt x="12030" y="12840"/>
                        <a:pt x="24022" y="9183"/>
                        <a:pt x="36081" y="5734"/>
                      </a:cubicBezTo>
                      <a:cubicBezTo>
                        <a:pt x="48225" y="2267"/>
                        <a:pt x="59207" y="-3114"/>
                        <a:pt x="71000" y="2305"/>
                      </a:cubicBezTo>
                      <a:cubicBezTo>
                        <a:pt x="83687" y="8135"/>
                        <a:pt x="96336" y="14059"/>
                        <a:pt x="109004" y="19927"/>
                      </a:cubicBezTo>
                      <a:cubicBezTo>
                        <a:pt x="120320" y="25156"/>
                        <a:pt x="135722" y="29442"/>
                        <a:pt x="144999" y="37576"/>
                      </a:cubicBezTo>
                      <a:cubicBezTo>
                        <a:pt x="155800" y="46978"/>
                        <a:pt x="167754" y="55255"/>
                        <a:pt x="179623" y="63684"/>
                      </a:cubicBezTo>
                      <a:lnTo>
                        <a:pt x="179623" y="63684"/>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45" name="Freeform: Shape 544">
                  <a:extLst>
                    <a:ext uri="{FF2B5EF4-FFF2-40B4-BE49-F238E27FC236}">
                      <a16:creationId xmlns:a16="http://schemas.microsoft.com/office/drawing/2014/main" id="{1F508D1D-AD64-4006-9200-E30A3440C1EE}"/>
                    </a:ext>
                  </a:extLst>
                </p:cNvPr>
                <p:cNvSpPr/>
                <p:nvPr/>
              </p:nvSpPr>
              <p:spPr>
                <a:xfrm>
                  <a:off x="3898515" y="5312970"/>
                  <a:ext cx="155495" cy="151829"/>
                </a:xfrm>
                <a:custGeom>
                  <a:avLst/>
                  <a:gdLst>
                    <a:gd name="connsiteX0" fmla="*/ 155496 w 155495"/>
                    <a:gd name="connsiteY0" fmla="*/ 114810 h 151829"/>
                    <a:gd name="connsiteX1" fmla="*/ 149409 w 155495"/>
                    <a:gd name="connsiteY1" fmla="*/ 129927 h 151829"/>
                    <a:gd name="connsiteX2" fmla="*/ 147971 w 155495"/>
                    <a:gd name="connsiteY2" fmla="*/ 135632 h 151829"/>
                    <a:gd name="connsiteX3" fmla="*/ 140827 w 155495"/>
                    <a:gd name="connsiteY3" fmla="*/ 143357 h 151829"/>
                    <a:gd name="connsiteX4" fmla="*/ 111547 w 155495"/>
                    <a:gd name="connsiteY4" fmla="*/ 151139 h 151829"/>
                    <a:gd name="connsiteX5" fmla="*/ 96679 w 155495"/>
                    <a:gd name="connsiteY5" fmla="*/ 147634 h 151829"/>
                    <a:gd name="connsiteX6" fmla="*/ 82610 w 155495"/>
                    <a:gd name="connsiteY6" fmla="*/ 151348 h 151829"/>
                    <a:gd name="connsiteX7" fmla="*/ 69247 w 155495"/>
                    <a:gd name="connsiteY7" fmla="*/ 145814 h 151829"/>
                    <a:gd name="connsiteX8" fmla="*/ 52597 w 155495"/>
                    <a:gd name="connsiteY8" fmla="*/ 137490 h 151829"/>
                    <a:gd name="connsiteX9" fmla="*/ 36290 w 155495"/>
                    <a:gd name="connsiteY9" fmla="*/ 137642 h 151829"/>
                    <a:gd name="connsiteX10" fmla="*/ 26365 w 155495"/>
                    <a:gd name="connsiteY10" fmla="*/ 131403 h 151829"/>
                    <a:gd name="connsiteX11" fmla="*/ 12478 w 155495"/>
                    <a:gd name="connsiteY11" fmla="*/ 120668 h 151829"/>
                    <a:gd name="connsiteX12" fmla="*/ 7839 w 155495"/>
                    <a:gd name="connsiteY12" fmla="*/ 104695 h 151829"/>
                    <a:gd name="connsiteX13" fmla="*/ 6877 w 155495"/>
                    <a:gd name="connsiteY13" fmla="*/ 96846 h 151829"/>
                    <a:gd name="connsiteX14" fmla="*/ 11563 w 155495"/>
                    <a:gd name="connsiteY14" fmla="*/ 93455 h 151829"/>
                    <a:gd name="connsiteX15" fmla="*/ 7001 w 155495"/>
                    <a:gd name="connsiteY15" fmla="*/ 77758 h 151829"/>
                    <a:gd name="connsiteX16" fmla="*/ 3715 w 155495"/>
                    <a:gd name="connsiteY16" fmla="*/ 65766 h 151829"/>
                    <a:gd name="connsiteX17" fmla="*/ 1858 w 155495"/>
                    <a:gd name="connsiteY17" fmla="*/ 55327 h 151829"/>
                    <a:gd name="connsiteX18" fmla="*/ 4020 w 155495"/>
                    <a:gd name="connsiteY18" fmla="*/ 49002 h 151829"/>
                    <a:gd name="connsiteX19" fmla="*/ 1829 w 155495"/>
                    <a:gd name="connsiteY19" fmla="*/ 44649 h 151829"/>
                    <a:gd name="connsiteX20" fmla="*/ 2629 w 155495"/>
                    <a:gd name="connsiteY20" fmla="*/ 29438 h 151829"/>
                    <a:gd name="connsiteX21" fmla="*/ 219 w 155495"/>
                    <a:gd name="connsiteY21" fmla="*/ 17417 h 151829"/>
                    <a:gd name="connsiteX22" fmla="*/ 3439 w 155495"/>
                    <a:gd name="connsiteY22" fmla="*/ 2863 h 151829"/>
                    <a:gd name="connsiteX23" fmla="*/ 16097 w 155495"/>
                    <a:gd name="connsiteY23" fmla="*/ 5578 h 151829"/>
                    <a:gd name="connsiteX24" fmla="*/ 24832 w 155495"/>
                    <a:gd name="connsiteY24" fmla="*/ 263 h 151829"/>
                    <a:gd name="connsiteX25" fmla="*/ 48644 w 155495"/>
                    <a:gd name="connsiteY25" fmla="*/ 16522 h 151829"/>
                    <a:gd name="connsiteX26" fmla="*/ 55959 w 155495"/>
                    <a:gd name="connsiteY26" fmla="*/ 24571 h 151829"/>
                    <a:gd name="connsiteX27" fmla="*/ 61284 w 155495"/>
                    <a:gd name="connsiteY27" fmla="*/ 30638 h 151829"/>
                    <a:gd name="connsiteX28" fmla="*/ 71838 w 155495"/>
                    <a:gd name="connsiteY28" fmla="*/ 26590 h 151829"/>
                    <a:gd name="connsiteX29" fmla="*/ 86763 w 155495"/>
                    <a:gd name="connsiteY29" fmla="*/ 37791 h 151829"/>
                    <a:gd name="connsiteX30" fmla="*/ 109185 w 155495"/>
                    <a:gd name="connsiteY30" fmla="*/ 50660 h 151829"/>
                    <a:gd name="connsiteX31" fmla="*/ 129235 w 155495"/>
                    <a:gd name="connsiteY31" fmla="*/ 61175 h 151829"/>
                    <a:gd name="connsiteX32" fmla="*/ 145266 w 155495"/>
                    <a:gd name="connsiteY32" fmla="*/ 77634 h 151829"/>
                    <a:gd name="connsiteX33" fmla="*/ 153057 w 155495"/>
                    <a:gd name="connsiteY33" fmla="*/ 85159 h 151829"/>
                    <a:gd name="connsiteX34" fmla="*/ 146257 w 155495"/>
                    <a:gd name="connsiteY34" fmla="*/ 94875 h 151829"/>
                    <a:gd name="connsiteX35" fmla="*/ 155496 w 155495"/>
                    <a:gd name="connsiteY35" fmla="*/ 114810 h 151829"/>
                    <a:gd name="connsiteX36" fmla="*/ 155496 w 155495"/>
                    <a:gd name="connsiteY36" fmla="*/ 114810 h 151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5495" h="151829">
                      <a:moveTo>
                        <a:pt x="155496" y="114810"/>
                      </a:moveTo>
                      <a:cubicBezTo>
                        <a:pt x="152448" y="117763"/>
                        <a:pt x="151400" y="125888"/>
                        <a:pt x="149409" y="129927"/>
                      </a:cubicBezTo>
                      <a:cubicBezTo>
                        <a:pt x="148438" y="131889"/>
                        <a:pt x="149181" y="133860"/>
                        <a:pt x="147971" y="135632"/>
                      </a:cubicBezTo>
                      <a:cubicBezTo>
                        <a:pt x="146952" y="137128"/>
                        <a:pt x="142132" y="142300"/>
                        <a:pt x="140827" y="143357"/>
                      </a:cubicBezTo>
                      <a:cubicBezTo>
                        <a:pt x="134045" y="148777"/>
                        <a:pt x="120806" y="153682"/>
                        <a:pt x="111547" y="151139"/>
                      </a:cubicBezTo>
                      <a:cubicBezTo>
                        <a:pt x="106070" y="149634"/>
                        <a:pt x="103146" y="146767"/>
                        <a:pt x="96679" y="147634"/>
                      </a:cubicBezTo>
                      <a:cubicBezTo>
                        <a:pt x="91564" y="148310"/>
                        <a:pt x="87878" y="152129"/>
                        <a:pt x="82610" y="151348"/>
                      </a:cubicBezTo>
                      <a:cubicBezTo>
                        <a:pt x="77800" y="150644"/>
                        <a:pt x="74047" y="147215"/>
                        <a:pt x="69247" y="145814"/>
                      </a:cubicBezTo>
                      <a:cubicBezTo>
                        <a:pt x="63046" y="143995"/>
                        <a:pt x="58474" y="139280"/>
                        <a:pt x="52597" y="137490"/>
                      </a:cubicBezTo>
                      <a:cubicBezTo>
                        <a:pt x="47320" y="135870"/>
                        <a:pt x="41510" y="138471"/>
                        <a:pt x="36290" y="137642"/>
                      </a:cubicBezTo>
                      <a:cubicBezTo>
                        <a:pt x="31433" y="136880"/>
                        <a:pt x="30347" y="134699"/>
                        <a:pt x="26365" y="131403"/>
                      </a:cubicBezTo>
                      <a:cubicBezTo>
                        <a:pt x="22050" y="127822"/>
                        <a:pt x="15993" y="125155"/>
                        <a:pt x="12478" y="120668"/>
                      </a:cubicBezTo>
                      <a:cubicBezTo>
                        <a:pt x="8782" y="115944"/>
                        <a:pt x="8592" y="110400"/>
                        <a:pt x="7839" y="104695"/>
                      </a:cubicBezTo>
                      <a:cubicBezTo>
                        <a:pt x="7649" y="103304"/>
                        <a:pt x="6449" y="97885"/>
                        <a:pt x="6877" y="96846"/>
                      </a:cubicBezTo>
                      <a:cubicBezTo>
                        <a:pt x="7611" y="95065"/>
                        <a:pt x="10459" y="95646"/>
                        <a:pt x="11563" y="93455"/>
                      </a:cubicBezTo>
                      <a:cubicBezTo>
                        <a:pt x="14211" y="88140"/>
                        <a:pt x="8573" y="82721"/>
                        <a:pt x="7001" y="77758"/>
                      </a:cubicBezTo>
                      <a:cubicBezTo>
                        <a:pt x="5725" y="73758"/>
                        <a:pt x="4744" y="69767"/>
                        <a:pt x="3715" y="65766"/>
                      </a:cubicBezTo>
                      <a:cubicBezTo>
                        <a:pt x="2715" y="61851"/>
                        <a:pt x="1429" y="58461"/>
                        <a:pt x="1858" y="55327"/>
                      </a:cubicBezTo>
                      <a:cubicBezTo>
                        <a:pt x="2124" y="53336"/>
                        <a:pt x="4134" y="51688"/>
                        <a:pt x="4020" y="49002"/>
                      </a:cubicBezTo>
                      <a:cubicBezTo>
                        <a:pt x="3943" y="47097"/>
                        <a:pt x="1953" y="45802"/>
                        <a:pt x="1829" y="44649"/>
                      </a:cubicBezTo>
                      <a:cubicBezTo>
                        <a:pt x="1343" y="40249"/>
                        <a:pt x="2600" y="34486"/>
                        <a:pt x="2629" y="29438"/>
                      </a:cubicBezTo>
                      <a:cubicBezTo>
                        <a:pt x="2648" y="25561"/>
                        <a:pt x="1267" y="22427"/>
                        <a:pt x="219" y="17417"/>
                      </a:cubicBezTo>
                      <a:cubicBezTo>
                        <a:pt x="-867" y="12198"/>
                        <a:pt x="2381" y="8159"/>
                        <a:pt x="3439" y="2863"/>
                      </a:cubicBezTo>
                      <a:cubicBezTo>
                        <a:pt x="5553" y="5835"/>
                        <a:pt x="12868" y="7188"/>
                        <a:pt x="16097" y="5578"/>
                      </a:cubicBezTo>
                      <a:cubicBezTo>
                        <a:pt x="19917" y="3673"/>
                        <a:pt x="17326" y="-1176"/>
                        <a:pt x="24832" y="263"/>
                      </a:cubicBezTo>
                      <a:cubicBezTo>
                        <a:pt x="32176" y="1673"/>
                        <a:pt x="42691" y="11702"/>
                        <a:pt x="48644" y="16522"/>
                      </a:cubicBezTo>
                      <a:cubicBezTo>
                        <a:pt x="51454" y="18789"/>
                        <a:pt x="54445" y="21513"/>
                        <a:pt x="55959" y="24571"/>
                      </a:cubicBezTo>
                      <a:cubicBezTo>
                        <a:pt x="57817" y="28324"/>
                        <a:pt x="55502" y="31962"/>
                        <a:pt x="61284" y="30638"/>
                      </a:cubicBezTo>
                      <a:cubicBezTo>
                        <a:pt x="68780" y="28914"/>
                        <a:pt x="63189" y="21027"/>
                        <a:pt x="71838" y="26590"/>
                      </a:cubicBezTo>
                      <a:cubicBezTo>
                        <a:pt x="77753" y="30400"/>
                        <a:pt x="80772" y="35162"/>
                        <a:pt x="86763" y="37791"/>
                      </a:cubicBezTo>
                      <a:cubicBezTo>
                        <a:pt x="94612" y="41211"/>
                        <a:pt x="102042" y="44440"/>
                        <a:pt x="109185" y="50660"/>
                      </a:cubicBezTo>
                      <a:cubicBezTo>
                        <a:pt x="115310" y="55994"/>
                        <a:pt x="123196" y="56251"/>
                        <a:pt x="129235" y="61175"/>
                      </a:cubicBezTo>
                      <a:cubicBezTo>
                        <a:pt x="135293" y="66128"/>
                        <a:pt x="137741" y="73510"/>
                        <a:pt x="145266" y="77634"/>
                      </a:cubicBezTo>
                      <a:cubicBezTo>
                        <a:pt x="150324" y="80397"/>
                        <a:pt x="153972" y="79654"/>
                        <a:pt x="153057" y="85159"/>
                      </a:cubicBezTo>
                      <a:cubicBezTo>
                        <a:pt x="152410" y="89074"/>
                        <a:pt x="147171" y="91379"/>
                        <a:pt x="146257" y="94875"/>
                      </a:cubicBezTo>
                      <a:cubicBezTo>
                        <a:pt x="144761" y="100514"/>
                        <a:pt x="148952" y="113801"/>
                        <a:pt x="155496" y="114810"/>
                      </a:cubicBezTo>
                      <a:lnTo>
                        <a:pt x="155496" y="11481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46" name="Freeform: Shape 545">
                  <a:extLst>
                    <a:ext uri="{FF2B5EF4-FFF2-40B4-BE49-F238E27FC236}">
                      <a16:creationId xmlns:a16="http://schemas.microsoft.com/office/drawing/2014/main" id="{473B78D9-AAC2-494F-9ECE-061B6FC1EE50}"/>
                    </a:ext>
                  </a:extLst>
                </p:cNvPr>
                <p:cNvSpPr/>
                <p:nvPr/>
              </p:nvSpPr>
              <p:spPr>
                <a:xfrm>
                  <a:off x="6173263" y="2715998"/>
                  <a:ext cx="468021" cy="250399"/>
                </a:xfrm>
                <a:custGeom>
                  <a:avLst/>
                  <a:gdLst>
                    <a:gd name="connsiteX0" fmla="*/ 269131 w 468021"/>
                    <a:gd name="connsiteY0" fmla="*/ 377 h 250399"/>
                    <a:gd name="connsiteX1" fmla="*/ 287295 w 468021"/>
                    <a:gd name="connsiteY1" fmla="*/ 9702 h 250399"/>
                    <a:gd name="connsiteX2" fmla="*/ 290953 w 468021"/>
                    <a:gd name="connsiteY2" fmla="*/ 20989 h 250399"/>
                    <a:gd name="connsiteX3" fmla="*/ 296430 w 468021"/>
                    <a:gd name="connsiteY3" fmla="*/ 34333 h 250399"/>
                    <a:gd name="connsiteX4" fmla="*/ 309146 w 468021"/>
                    <a:gd name="connsiteY4" fmla="*/ 36715 h 250399"/>
                    <a:gd name="connsiteX5" fmla="*/ 319042 w 468021"/>
                    <a:gd name="connsiteY5" fmla="*/ 36324 h 250399"/>
                    <a:gd name="connsiteX6" fmla="*/ 322062 w 468021"/>
                    <a:gd name="connsiteY6" fmla="*/ 40449 h 250399"/>
                    <a:gd name="connsiteX7" fmla="*/ 325300 w 468021"/>
                    <a:gd name="connsiteY7" fmla="*/ 40925 h 250399"/>
                    <a:gd name="connsiteX8" fmla="*/ 328310 w 468021"/>
                    <a:gd name="connsiteY8" fmla="*/ 45840 h 250399"/>
                    <a:gd name="connsiteX9" fmla="*/ 336302 w 468021"/>
                    <a:gd name="connsiteY9" fmla="*/ 59860 h 250399"/>
                    <a:gd name="connsiteX10" fmla="*/ 346408 w 468021"/>
                    <a:gd name="connsiteY10" fmla="*/ 60251 h 250399"/>
                    <a:gd name="connsiteX11" fmla="*/ 357924 w 468021"/>
                    <a:gd name="connsiteY11" fmla="*/ 64928 h 250399"/>
                    <a:gd name="connsiteX12" fmla="*/ 378526 w 468021"/>
                    <a:gd name="connsiteY12" fmla="*/ 62747 h 250399"/>
                    <a:gd name="connsiteX13" fmla="*/ 387918 w 468021"/>
                    <a:gd name="connsiteY13" fmla="*/ 63156 h 250399"/>
                    <a:gd name="connsiteX14" fmla="*/ 399872 w 468021"/>
                    <a:gd name="connsiteY14" fmla="*/ 73415 h 250399"/>
                    <a:gd name="connsiteX15" fmla="*/ 405367 w 468021"/>
                    <a:gd name="connsiteY15" fmla="*/ 76415 h 250399"/>
                    <a:gd name="connsiteX16" fmla="*/ 407996 w 468021"/>
                    <a:gd name="connsiteY16" fmla="*/ 74215 h 250399"/>
                    <a:gd name="connsiteX17" fmla="*/ 409463 w 468021"/>
                    <a:gd name="connsiteY17" fmla="*/ 72253 h 250399"/>
                    <a:gd name="connsiteX18" fmla="*/ 416826 w 468021"/>
                    <a:gd name="connsiteY18" fmla="*/ 75177 h 250399"/>
                    <a:gd name="connsiteX19" fmla="*/ 428723 w 468021"/>
                    <a:gd name="connsiteY19" fmla="*/ 79425 h 250399"/>
                    <a:gd name="connsiteX20" fmla="*/ 434028 w 468021"/>
                    <a:gd name="connsiteY20" fmla="*/ 78777 h 250399"/>
                    <a:gd name="connsiteX21" fmla="*/ 437543 w 468021"/>
                    <a:gd name="connsiteY21" fmla="*/ 80758 h 250399"/>
                    <a:gd name="connsiteX22" fmla="*/ 449107 w 468021"/>
                    <a:gd name="connsiteY22" fmla="*/ 85216 h 250399"/>
                    <a:gd name="connsiteX23" fmla="*/ 460898 w 468021"/>
                    <a:gd name="connsiteY23" fmla="*/ 87226 h 250399"/>
                    <a:gd name="connsiteX24" fmla="*/ 464375 w 468021"/>
                    <a:gd name="connsiteY24" fmla="*/ 96589 h 250399"/>
                    <a:gd name="connsiteX25" fmla="*/ 455374 w 468021"/>
                    <a:gd name="connsiteY25" fmla="*/ 105142 h 250399"/>
                    <a:gd name="connsiteX26" fmla="*/ 465185 w 468021"/>
                    <a:gd name="connsiteY26" fmla="*/ 110991 h 250399"/>
                    <a:gd name="connsiteX27" fmla="*/ 457717 w 468021"/>
                    <a:gd name="connsiteY27" fmla="*/ 117706 h 250399"/>
                    <a:gd name="connsiteX28" fmla="*/ 463879 w 468021"/>
                    <a:gd name="connsiteY28" fmla="*/ 121182 h 250399"/>
                    <a:gd name="connsiteX29" fmla="*/ 465394 w 468021"/>
                    <a:gd name="connsiteY29" fmla="*/ 126212 h 250399"/>
                    <a:gd name="connsiteX30" fmla="*/ 467975 w 468021"/>
                    <a:gd name="connsiteY30" fmla="*/ 128212 h 250399"/>
                    <a:gd name="connsiteX31" fmla="*/ 467251 w 468021"/>
                    <a:gd name="connsiteY31" fmla="*/ 132670 h 250399"/>
                    <a:gd name="connsiteX32" fmla="*/ 460679 w 468021"/>
                    <a:gd name="connsiteY32" fmla="*/ 142004 h 250399"/>
                    <a:gd name="connsiteX33" fmla="*/ 443144 w 468021"/>
                    <a:gd name="connsiteY33" fmla="*/ 141728 h 250399"/>
                    <a:gd name="connsiteX34" fmla="*/ 438743 w 468021"/>
                    <a:gd name="connsiteY34" fmla="*/ 147405 h 250399"/>
                    <a:gd name="connsiteX35" fmla="*/ 431142 w 468021"/>
                    <a:gd name="connsiteY35" fmla="*/ 149967 h 250399"/>
                    <a:gd name="connsiteX36" fmla="*/ 430676 w 468021"/>
                    <a:gd name="connsiteY36" fmla="*/ 159178 h 250399"/>
                    <a:gd name="connsiteX37" fmla="*/ 431447 w 468021"/>
                    <a:gd name="connsiteY37" fmla="*/ 161492 h 250399"/>
                    <a:gd name="connsiteX38" fmla="*/ 431952 w 468021"/>
                    <a:gd name="connsiteY38" fmla="*/ 165502 h 250399"/>
                    <a:gd name="connsiteX39" fmla="*/ 421712 w 468021"/>
                    <a:gd name="connsiteY39" fmla="*/ 165359 h 250399"/>
                    <a:gd name="connsiteX40" fmla="*/ 410787 w 468021"/>
                    <a:gd name="connsiteY40" fmla="*/ 170227 h 250399"/>
                    <a:gd name="connsiteX41" fmla="*/ 399986 w 468021"/>
                    <a:gd name="connsiteY41" fmla="*/ 173894 h 250399"/>
                    <a:gd name="connsiteX42" fmla="*/ 395576 w 468021"/>
                    <a:gd name="connsiteY42" fmla="*/ 176599 h 250399"/>
                    <a:gd name="connsiteX43" fmla="*/ 389765 w 468021"/>
                    <a:gd name="connsiteY43" fmla="*/ 176104 h 250399"/>
                    <a:gd name="connsiteX44" fmla="*/ 380517 w 468021"/>
                    <a:gd name="connsiteY44" fmla="*/ 179380 h 250399"/>
                    <a:gd name="connsiteX45" fmla="*/ 368334 w 468021"/>
                    <a:gd name="connsiteY45" fmla="*/ 183238 h 250399"/>
                    <a:gd name="connsiteX46" fmla="*/ 354152 w 468021"/>
                    <a:gd name="connsiteY46" fmla="*/ 196554 h 250399"/>
                    <a:gd name="connsiteX47" fmla="*/ 357562 w 468021"/>
                    <a:gd name="connsiteY47" fmla="*/ 186019 h 250399"/>
                    <a:gd name="connsiteX48" fmla="*/ 351304 w 468021"/>
                    <a:gd name="connsiteY48" fmla="*/ 201173 h 250399"/>
                    <a:gd name="connsiteX49" fmla="*/ 365286 w 468021"/>
                    <a:gd name="connsiteY49" fmla="*/ 217309 h 250399"/>
                    <a:gd name="connsiteX50" fmla="*/ 400900 w 468021"/>
                    <a:gd name="connsiteY50" fmla="*/ 219004 h 250399"/>
                    <a:gd name="connsiteX51" fmla="*/ 389508 w 468021"/>
                    <a:gd name="connsiteY51" fmla="*/ 230434 h 250399"/>
                    <a:gd name="connsiteX52" fmla="*/ 373392 w 468021"/>
                    <a:gd name="connsiteY52" fmla="*/ 228310 h 250399"/>
                    <a:gd name="connsiteX53" fmla="*/ 366229 w 468021"/>
                    <a:gd name="connsiteY53" fmla="*/ 234682 h 250399"/>
                    <a:gd name="connsiteX54" fmla="*/ 364201 w 468021"/>
                    <a:gd name="connsiteY54" fmla="*/ 237530 h 250399"/>
                    <a:gd name="connsiteX55" fmla="*/ 358961 w 468021"/>
                    <a:gd name="connsiteY55" fmla="*/ 237045 h 250399"/>
                    <a:gd name="connsiteX56" fmla="*/ 348960 w 468021"/>
                    <a:gd name="connsiteY56" fmla="*/ 240188 h 250399"/>
                    <a:gd name="connsiteX57" fmla="*/ 340997 w 468021"/>
                    <a:gd name="connsiteY57" fmla="*/ 248998 h 250399"/>
                    <a:gd name="connsiteX58" fmla="*/ 323214 w 468021"/>
                    <a:gd name="connsiteY58" fmla="*/ 245846 h 250399"/>
                    <a:gd name="connsiteX59" fmla="*/ 323843 w 468021"/>
                    <a:gd name="connsiteY59" fmla="*/ 231968 h 250399"/>
                    <a:gd name="connsiteX60" fmla="*/ 309213 w 468021"/>
                    <a:gd name="connsiteY60" fmla="*/ 224005 h 250399"/>
                    <a:gd name="connsiteX61" fmla="*/ 299173 w 468021"/>
                    <a:gd name="connsiteY61" fmla="*/ 220080 h 250399"/>
                    <a:gd name="connsiteX62" fmla="*/ 291791 w 468021"/>
                    <a:gd name="connsiteY62" fmla="*/ 218671 h 250399"/>
                    <a:gd name="connsiteX63" fmla="*/ 313423 w 468021"/>
                    <a:gd name="connsiteY63" fmla="*/ 205593 h 250399"/>
                    <a:gd name="connsiteX64" fmla="*/ 309765 w 468021"/>
                    <a:gd name="connsiteY64" fmla="*/ 197011 h 250399"/>
                    <a:gd name="connsiteX65" fmla="*/ 305365 w 468021"/>
                    <a:gd name="connsiteY65" fmla="*/ 194363 h 250399"/>
                    <a:gd name="connsiteX66" fmla="*/ 298773 w 468021"/>
                    <a:gd name="connsiteY66" fmla="*/ 195992 h 250399"/>
                    <a:gd name="connsiteX67" fmla="*/ 287477 w 468021"/>
                    <a:gd name="connsiteY67" fmla="*/ 197097 h 250399"/>
                    <a:gd name="connsiteX68" fmla="*/ 266512 w 468021"/>
                    <a:gd name="connsiteY68" fmla="*/ 189658 h 250399"/>
                    <a:gd name="connsiteX69" fmla="*/ 259063 w 468021"/>
                    <a:gd name="connsiteY69" fmla="*/ 182428 h 250399"/>
                    <a:gd name="connsiteX70" fmla="*/ 285857 w 468021"/>
                    <a:gd name="connsiteY70" fmla="*/ 180495 h 250399"/>
                    <a:gd name="connsiteX71" fmla="*/ 260292 w 468021"/>
                    <a:gd name="connsiteY71" fmla="*/ 161683 h 250399"/>
                    <a:gd name="connsiteX72" fmla="*/ 267141 w 468021"/>
                    <a:gd name="connsiteY72" fmla="*/ 176647 h 250399"/>
                    <a:gd name="connsiteX73" fmla="*/ 257882 w 468021"/>
                    <a:gd name="connsiteY73" fmla="*/ 175408 h 250399"/>
                    <a:gd name="connsiteX74" fmla="*/ 251177 w 468021"/>
                    <a:gd name="connsiteY74" fmla="*/ 180504 h 250399"/>
                    <a:gd name="connsiteX75" fmla="*/ 239547 w 468021"/>
                    <a:gd name="connsiteY75" fmla="*/ 182333 h 250399"/>
                    <a:gd name="connsiteX76" fmla="*/ 232651 w 468021"/>
                    <a:gd name="connsiteY76" fmla="*/ 198221 h 250399"/>
                    <a:gd name="connsiteX77" fmla="*/ 215944 w 468021"/>
                    <a:gd name="connsiteY77" fmla="*/ 207974 h 250399"/>
                    <a:gd name="connsiteX78" fmla="*/ 212715 w 468021"/>
                    <a:gd name="connsiteY78" fmla="*/ 212489 h 250399"/>
                    <a:gd name="connsiteX79" fmla="*/ 217497 w 468021"/>
                    <a:gd name="connsiteY79" fmla="*/ 223205 h 250399"/>
                    <a:gd name="connsiteX80" fmla="*/ 201352 w 468021"/>
                    <a:gd name="connsiteY80" fmla="*/ 219995 h 250399"/>
                    <a:gd name="connsiteX81" fmla="*/ 192979 w 468021"/>
                    <a:gd name="connsiteY81" fmla="*/ 223805 h 250399"/>
                    <a:gd name="connsiteX82" fmla="*/ 176367 w 468021"/>
                    <a:gd name="connsiteY82" fmla="*/ 217204 h 250399"/>
                    <a:gd name="connsiteX83" fmla="*/ 182444 w 468021"/>
                    <a:gd name="connsiteY83" fmla="*/ 215451 h 250399"/>
                    <a:gd name="connsiteX84" fmla="*/ 183483 w 468021"/>
                    <a:gd name="connsiteY84" fmla="*/ 212289 h 250399"/>
                    <a:gd name="connsiteX85" fmla="*/ 183397 w 468021"/>
                    <a:gd name="connsiteY85" fmla="*/ 209317 h 250399"/>
                    <a:gd name="connsiteX86" fmla="*/ 186635 w 468021"/>
                    <a:gd name="connsiteY86" fmla="*/ 206384 h 250399"/>
                    <a:gd name="connsiteX87" fmla="*/ 187845 w 468021"/>
                    <a:gd name="connsiteY87" fmla="*/ 203212 h 250399"/>
                    <a:gd name="connsiteX88" fmla="*/ 190436 w 468021"/>
                    <a:gd name="connsiteY88" fmla="*/ 200564 h 250399"/>
                    <a:gd name="connsiteX89" fmla="*/ 193484 w 468021"/>
                    <a:gd name="connsiteY89" fmla="*/ 194334 h 250399"/>
                    <a:gd name="connsiteX90" fmla="*/ 190179 w 468021"/>
                    <a:gd name="connsiteY90" fmla="*/ 187505 h 250399"/>
                    <a:gd name="connsiteX91" fmla="*/ 197580 w 468021"/>
                    <a:gd name="connsiteY91" fmla="*/ 187943 h 250399"/>
                    <a:gd name="connsiteX92" fmla="*/ 199751 w 468021"/>
                    <a:gd name="connsiteY92" fmla="*/ 185200 h 250399"/>
                    <a:gd name="connsiteX93" fmla="*/ 209600 w 468021"/>
                    <a:gd name="connsiteY93" fmla="*/ 186772 h 250399"/>
                    <a:gd name="connsiteX94" fmla="*/ 221992 w 468021"/>
                    <a:gd name="connsiteY94" fmla="*/ 186572 h 250399"/>
                    <a:gd name="connsiteX95" fmla="*/ 215801 w 468021"/>
                    <a:gd name="connsiteY95" fmla="*/ 182923 h 250399"/>
                    <a:gd name="connsiteX96" fmla="*/ 214429 w 468021"/>
                    <a:gd name="connsiteY96" fmla="*/ 175713 h 250399"/>
                    <a:gd name="connsiteX97" fmla="*/ 203914 w 468021"/>
                    <a:gd name="connsiteY97" fmla="*/ 169531 h 250399"/>
                    <a:gd name="connsiteX98" fmla="*/ 201799 w 468021"/>
                    <a:gd name="connsiteY98" fmla="*/ 162559 h 250399"/>
                    <a:gd name="connsiteX99" fmla="*/ 195570 w 468021"/>
                    <a:gd name="connsiteY99" fmla="*/ 156949 h 250399"/>
                    <a:gd name="connsiteX100" fmla="*/ 188798 w 468021"/>
                    <a:gd name="connsiteY100" fmla="*/ 151310 h 250399"/>
                    <a:gd name="connsiteX101" fmla="*/ 187340 w 468021"/>
                    <a:gd name="connsiteY101" fmla="*/ 139328 h 250399"/>
                    <a:gd name="connsiteX102" fmla="*/ 180054 w 468021"/>
                    <a:gd name="connsiteY102" fmla="*/ 137756 h 250399"/>
                    <a:gd name="connsiteX103" fmla="*/ 168024 w 468021"/>
                    <a:gd name="connsiteY103" fmla="*/ 134060 h 250399"/>
                    <a:gd name="connsiteX104" fmla="*/ 164499 w 468021"/>
                    <a:gd name="connsiteY104" fmla="*/ 132365 h 250399"/>
                    <a:gd name="connsiteX105" fmla="*/ 151945 w 468021"/>
                    <a:gd name="connsiteY105" fmla="*/ 125659 h 250399"/>
                    <a:gd name="connsiteX106" fmla="*/ 135896 w 468021"/>
                    <a:gd name="connsiteY106" fmla="*/ 123773 h 250399"/>
                    <a:gd name="connsiteX107" fmla="*/ 125047 w 468021"/>
                    <a:gd name="connsiteY107" fmla="*/ 125078 h 250399"/>
                    <a:gd name="connsiteX108" fmla="*/ 118084 w 468021"/>
                    <a:gd name="connsiteY108" fmla="*/ 128907 h 250399"/>
                    <a:gd name="connsiteX109" fmla="*/ 112474 w 468021"/>
                    <a:gd name="connsiteY109" fmla="*/ 130088 h 250399"/>
                    <a:gd name="connsiteX110" fmla="*/ 110083 w 468021"/>
                    <a:gd name="connsiteY110" fmla="*/ 134117 h 250399"/>
                    <a:gd name="connsiteX111" fmla="*/ 100701 w 468021"/>
                    <a:gd name="connsiteY111" fmla="*/ 138108 h 250399"/>
                    <a:gd name="connsiteX112" fmla="*/ 89414 w 468021"/>
                    <a:gd name="connsiteY112" fmla="*/ 140013 h 250399"/>
                    <a:gd name="connsiteX113" fmla="*/ 77822 w 468021"/>
                    <a:gd name="connsiteY113" fmla="*/ 145652 h 250399"/>
                    <a:gd name="connsiteX114" fmla="*/ 68963 w 468021"/>
                    <a:gd name="connsiteY114" fmla="*/ 140804 h 250399"/>
                    <a:gd name="connsiteX115" fmla="*/ 58391 w 468021"/>
                    <a:gd name="connsiteY115" fmla="*/ 139747 h 250399"/>
                    <a:gd name="connsiteX116" fmla="*/ 40588 w 468021"/>
                    <a:gd name="connsiteY116" fmla="*/ 137070 h 250399"/>
                    <a:gd name="connsiteX117" fmla="*/ 29454 w 468021"/>
                    <a:gd name="connsiteY117" fmla="*/ 134222 h 250399"/>
                    <a:gd name="connsiteX118" fmla="*/ 22805 w 468021"/>
                    <a:gd name="connsiteY118" fmla="*/ 138032 h 250399"/>
                    <a:gd name="connsiteX119" fmla="*/ 20348 w 468021"/>
                    <a:gd name="connsiteY119" fmla="*/ 135003 h 250399"/>
                    <a:gd name="connsiteX120" fmla="*/ 13337 w 468021"/>
                    <a:gd name="connsiteY120" fmla="*/ 132679 h 250399"/>
                    <a:gd name="connsiteX121" fmla="*/ 279 w 468021"/>
                    <a:gd name="connsiteY121" fmla="*/ 124135 h 250399"/>
                    <a:gd name="connsiteX122" fmla="*/ 4860 w 468021"/>
                    <a:gd name="connsiteY122" fmla="*/ 109391 h 250399"/>
                    <a:gd name="connsiteX123" fmla="*/ 10547 w 468021"/>
                    <a:gd name="connsiteY123" fmla="*/ 103561 h 250399"/>
                    <a:gd name="connsiteX124" fmla="*/ 16043 w 468021"/>
                    <a:gd name="connsiteY124" fmla="*/ 103428 h 250399"/>
                    <a:gd name="connsiteX125" fmla="*/ 11709 w 468021"/>
                    <a:gd name="connsiteY125" fmla="*/ 100018 h 250399"/>
                    <a:gd name="connsiteX126" fmla="*/ 8661 w 468021"/>
                    <a:gd name="connsiteY126" fmla="*/ 88874 h 250399"/>
                    <a:gd name="connsiteX127" fmla="*/ 28959 w 468021"/>
                    <a:gd name="connsiteY127" fmla="*/ 65137 h 250399"/>
                    <a:gd name="connsiteX128" fmla="*/ 36721 w 468021"/>
                    <a:gd name="connsiteY128" fmla="*/ 49164 h 250399"/>
                    <a:gd name="connsiteX129" fmla="*/ 33950 w 468021"/>
                    <a:gd name="connsiteY129" fmla="*/ 41563 h 250399"/>
                    <a:gd name="connsiteX130" fmla="*/ 25377 w 468021"/>
                    <a:gd name="connsiteY130" fmla="*/ 28695 h 250399"/>
                    <a:gd name="connsiteX131" fmla="*/ 29530 w 468021"/>
                    <a:gd name="connsiteY131" fmla="*/ 22780 h 250399"/>
                    <a:gd name="connsiteX132" fmla="*/ 36407 w 468021"/>
                    <a:gd name="connsiteY132" fmla="*/ 21075 h 250399"/>
                    <a:gd name="connsiteX133" fmla="*/ 42608 w 468021"/>
                    <a:gd name="connsiteY133" fmla="*/ 14836 h 250399"/>
                    <a:gd name="connsiteX134" fmla="*/ 61058 w 468021"/>
                    <a:gd name="connsiteY134" fmla="*/ 12959 h 250399"/>
                    <a:gd name="connsiteX135" fmla="*/ 81165 w 468021"/>
                    <a:gd name="connsiteY135" fmla="*/ 13769 h 250399"/>
                    <a:gd name="connsiteX136" fmla="*/ 102063 w 468021"/>
                    <a:gd name="connsiteY136" fmla="*/ 17979 h 250399"/>
                    <a:gd name="connsiteX137" fmla="*/ 111054 w 468021"/>
                    <a:gd name="connsiteY137" fmla="*/ 18465 h 250399"/>
                    <a:gd name="connsiteX138" fmla="*/ 117084 w 468021"/>
                    <a:gd name="connsiteY138" fmla="*/ 23484 h 250399"/>
                    <a:gd name="connsiteX139" fmla="*/ 124066 w 468021"/>
                    <a:gd name="connsiteY139" fmla="*/ 23427 h 250399"/>
                    <a:gd name="connsiteX140" fmla="*/ 129057 w 468021"/>
                    <a:gd name="connsiteY140" fmla="*/ 27237 h 250399"/>
                    <a:gd name="connsiteX141" fmla="*/ 132714 w 468021"/>
                    <a:gd name="connsiteY141" fmla="*/ 24008 h 250399"/>
                    <a:gd name="connsiteX142" fmla="*/ 139401 w 468021"/>
                    <a:gd name="connsiteY142" fmla="*/ 23380 h 250399"/>
                    <a:gd name="connsiteX143" fmla="*/ 148345 w 468021"/>
                    <a:gd name="connsiteY143" fmla="*/ 24675 h 250399"/>
                    <a:gd name="connsiteX144" fmla="*/ 154107 w 468021"/>
                    <a:gd name="connsiteY144" fmla="*/ 28628 h 250399"/>
                    <a:gd name="connsiteX145" fmla="*/ 162394 w 468021"/>
                    <a:gd name="connsiteY145" fmla="*/ 22665 h 250399"/>
                    <a:gd name="connsiteX146" fmla="*/ 173948 w 468021"/>
                    <a:gd name="connsiteY146" fmla="*/ 29533 h 250399"/>
                    <a:gd name="connsiteX147" fmla="*/ 192007 w 468021"/>
                    <a:gd name="connsiteY147" fmla="*/ 27771 h 250399"/>
                    <a:gd name="connsiteX148" fmla="*/ 203733 w 468021"/>
                    <a:gd name="connsiteY148" fmla="*/ 31495 h 250399"/>
                    <a:gd name="connsiteX149" fmla="*/ 201694 w 468021"/>
                    <a:gd name="connsiteY149" fmla="*/ 17455 h 250399"/>
                    <a:gd name="connsiteX150" fmla="*/ 216449 w 468021"/>
                    <a:gd name="connsiteY150" fmla="*/ 8045 h 250399"/>
                    <a:gd name="connsiteX151" fmla="*/ 236327 w 468021"/>
                    <a:gd name="connsiteY151" fmla="*/ 9416 h 250399"/>
                    <a:gd name="connsiteX152" fmla="*/ 246271 w 468021"/>
                    <a:gd name="connsiteY152" fmla="*/ 1444 h 250399"/>
                    <a:gd name="connsiteX153" fmla="*/ 256539 w 468021"/>
                    <a:gd name="connsiteY153" fmla="*/ 2415 h 250399"/>
                    <a:gd name="connsiteX154" fmla="*/ 269131 w 468021"/>
                    <a:gd name="connsiteY154" fmla="*/ 377 h 250399"/>
                    <a:gd name="connsiteX155" fmla="*/ 269131 w 468021"/>
                    <a:gd name="connsiteY155" fmla="*/ 377 h 250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68021" h="250399">
                      <a:moveTo>
                        <a:pt x="269131" y="377"/>
                      </a:moveTo>
                      <a:cubicBezTo>
                        <a:pt x="279228" y="996"/>
                        <a:pt x="280390" y="2434"/>
                        <a:pt x="287295" y="9702"/>
                      </a:cubicBezTo>
                      <a:cubicBezTo>
                        <a:pt x="292134" y="14788"/>
                        <a:pt x="303840" y="19455"/>
                        <a:pt x="290953" y="20989"/>
                      </a:cubicBezTo>
                      <a:cubicBezTo>
                        <a:pt x="292725" y="24332"/>
                        <a:pt x="298811" y="31333"/>
                        <a:pt x="296430" y="34333"/>
                      </a:cubicBezTo>
                      <a:cubicBezTo>
                        <a:pt x="300116" y="35153"/>
                        <a:pt x="305346" y="36343"/>
                        <a:pt x="309146" y="36715"/>
                      </a:cubicBezTo>
                      <a:cubicBezTo>
                        <a:pt x="312261" y="37020"/>
                        <a:pt x="316185" y="35124"/>
                        <a:pt x="319042" y="36324"/>
                      </a:cubicBezTo>
                      <a:cubicBezTo>
                        <a:pt x="320271" y="36839"/>
                        <a:pt x="320947" y="39591"/>
                        <a:pt x="322062" y="40449"/>
                      </a:cubicBezTo>
                      <a:cubicBezTo>
                        <a:pt x="322929" y="41115"/>
                        <a:pt x="324834" y="40449"/>
                        <a:pt x="325300" y="40925"/>
                      </a:cubicBezTo>
                      <a:cubicBezTo>
                        <a:pt x="326729" y="42354"/>
                        <a:pt x="326824" y="43458"/>
                        <a:pt x="328310" y="45840"/>
                      </a:cubicBezTo>
                      <a:cubicBezTo>
                        <a:pt x="331568" y="51050"/>
                        <a:pt x="331272" y="56365"/>
                        <a:pt x="336302" y="59860"/>
                      </a:cubicBezTo>
                      <a:cubicBezTo>
                        <a:pt x="341636" y="63566"/>
                        <a:pt x="340436" y="60937"/>
                        <a:pt x="346408" y="60251"/>
                      </a:cubicBezTo>
                      <a:cubicBezTo>
                        <a:pt x="351228" y="59689"/>
                        <a:pt x="354170" y="63337"/>
                        <a:pt x="357924" y="64928"/>
                      </a:cubicBezTo>
                      <a:cubicBezTo>
                        <a:pt x="365267" y="68042"/>
                        <a:pt x="370639" y="64613"/>
                        <a:pt x="378526" y="62747"/>
                      </a:cubicBezTo>
                      <a:cubicBezTo>
                        <a:pt x="383527" y="61556"/>
                        <a:pt x="383155" y="60032"/>
                        <a:pt x="387918" y="63156"/>
                      </a:cubicBezTo>
                      <a:cubicBezTo>
                        <a:pt x="392366" y="66071"/>
                        <a:pt x="394814" y="70586"/>
                        <a:pt x="399872" y="73415"/>
                      </a:cubicBezTo>
                      <a:cubicBezTo>
                        <a:pt x="401110" y="74100"/>
                        <a:pt x="403977" y="76605"/>
                        <a:pt x="405367" y="76415"/>
                      </a:cubicBezTo>
                      <a:cubicBezTo>
                        <a:pt x="406501" y="76253"/>
                        <a:pt x="408635" y="74119"/>
                        <a:pt x="407996" y="74215"/>
                      </a:cubicBezTo>
                      <a:cubicBezTo>
                        <a:pt x="407739" y="74243"/>
                        <a:pt x="408378" y="72424"/>
                        <a:pt x="409463" y="72253"/>
                      </a:cubicBezTo>
                      <a:cubicBezTo>
                        <a:pt x="410901" y="72033"/>
                        <a:pt x="415178" y="74624"/>
                        <a:pt x="416826" y="75177"/>
                      </a:cubicBezTo>
                      <a:cubicBezTo>
                        <a:pt x="420074" y="76272"/>
                        <a:pt x="425351" y="78968"/>
                        <a:pt x="428723" y="79425"/>
                      </a:cubicBezTo>
                      <a:cubicBezTo>
                        <a:pt x="430266" y="79625"/>
                        <a:pt x="432895" y="78482"/>
                        <a:pt x="434028" y="78777"/>
                      </a:cubicBezTo>
                      <a:cubicBezTo>
                        <a:pt x="435200" y="79082"/>
                        <a:pt x="436590" y="80530"/>
                        <a:pt x="437543" y="80758"/>
                      </a:cubicBezTo>
                      <a:cubicBezTo>
                        <a:pt x="441438" y="81730"/>
                        <a:pt x="445220" y="83730"/>
                        <a:pt x="449107" y="85216"/>
                      </a:cubicBezTo>
                      <a:cubicBezTo>
                        <a:pt x="452192" y="86397"/>
                        <a:pt x="458726" y="85730"/>
                        <a:pt x="460898" y="87226"/>
                      </a:cubicBezTo>
                      <a:cubicBezTo>
                        <a:pt x="461289" y="87483"/>
                        <a:pt x="464375" y="95579"/>
                        <a:pt x="464375" y="96589"/>
                      </a:cubicBezTo>
                      <a:cubicBezTo>
                        <a:pt x="464375" y="101180"/>
                        <a:pt x="459060" y="104037"/>
                        <a:pt x="455374" y="105142"/>
                      </a:cubicBezTo>
                      <a:cubicBezTo>
                        <a:pt x="457260" y="109000"/>
                        <a:pt x="462108" y="109086"/>
                        <a:pt x="465185" y="110991"/>
                      </a:cubicBezTo>
                      <a:cubicBezTo>
                        <a:pt x="462108" y="111819"/>
                        <a:pt x="455460" y="111486"/>
                        <a:pt x="457717" y="117706"/>
                      </a:cubicBezTo>
                      <a:cubicBezTo>
                        <a:pt x="457993" y="118468"/>
                        <a:pt x="462680" y="119668"/>
                        <a:pt x="463879" y="121182"/>
                      </a:cubicBezTo>
                      <a:cubicBezTo>
                        <a:pt x="465299" y="122973"/>
                        <a:pt x="464899" y="125173"/>
                        <a:pt x="465394" y="126212"/>
                      </a:cubicBezTo>
                      <a:cubicBezTo>
                        <a:pt x="465499" y="126421"/>
                        <a:pt x="468070" y="128860"/>
                        <a:pt x="467975" y="128212"/>
                      </a:cubicBezTo>
                      <a:cubicBezTo>
                        <a:pt x="468242" y="129860"/>
                        <a:pt x="467271" y="130450"/>
                        <a:pt x="467251" y="132670"/>
                      </a:cubicBezTo>
                      <a:cubicBezTo>
                        <a:pt x="467204" y="139766"/>
                        <a:pt x="467471" y="141328"/>
                        <a:pt x="460679" y="142004"/>
                      </a:cubicBezTo>
                      <a:cubicBezTo>
                        <a:pt x="455717" y="142499"/>
                        <a:pt x="447592" y="139775"/>
                        <a:pt x="443144" y="141728"/>
                      </a:cubicBezTo>
                      <a:cubicBezTo>
                        <a:pt x="440953" y="142690"/>
                        <a:pt x="440858" y="145833"/>
                        <a:pt x="438743" y="147405"/>
                      </a:cubicBezTo>
                      <a:cubicBezTo>
                        <a:pt x="436600" y="148995"/>
                        <a:pt x="432685" y="148110"/>
                        <a:pt x="431142" y="149967"/>
                      </a:cubicBezTo>
                      <a:cubicBezTo>
                        <a:pt x="429351" y="152129"/>
                        <a:pt x="430447" y="157177"/>
                        <a:pt x="430676" y="159178"/>
                      </a:cubicBezTo>
                      <a:cubicBezTo>
                        <a:pt x="430828" y="160445"/>
                        <a:pt x="431656" y="159302"/>
                        <a:pt x="431447" y="161492"/>
                      </a:cubicBezTo>
                      <a:cubicBezTo>
                        <a:pt x="431295" y="163121"/>
                        <a:pt x="431047" y="163702"/>
                        <a:pt x="431952" y="165502"/>
                      </a:cubicBezTo>
                      <a:cubicBezTo>
                        <a:pt x="428608" y="166055"/>
                        <a:pt x="425151" y="165293"/>
                        <a:pt x="421712" y="165359"/>
                      </a:cubicBezTo>
                      <a:cubicBezTo>
                        <a:pt x="414683" y="165502"/>
                        <a:pt x="415893" y="167884"/>
                        <a:pt x="410787" y="170227"/>
                      </a:cubicBezTo>
                      <a:cubicBezTo>
                        <a:pt x="407758" y="171617"/>
                        <a:pt x="403481" y="172408"/>
                        <a:pt x="399986" y="173894"/>
                      </a:cubicBezTo>
                      <a:cubicBezTo>
                        <a:pt x="397433" y="174970"/>
                        <a:pt x="397890" y="176085"/>
                        <a:pt x="395576" y="176599"/>
                      </a:cubicBezTo>
                      <a:cubicBezTo>
                        <a:pt x="394347" y="176866"/>
                        <a:pt x="391527" y="175770"/>
                        <a:pt x="389765" y="176104"/>
                      </a:cubicBezTo>
                      <a:cubicBezTo>
                        <a:pt x="386432" y="176713"/>
                        <a:pt x="383812" y="178713"/>
                        <a:pt x="380517" y="179380"/>
                      </a:cubicBezTo>
                      <a:cubicBezTo>
                        <a:pt x="375192" y="180447"/>
                        <a:pt x="373173" y="179904"/>
                        <a:pt x="368334" y="183238"/>
                      </a:cubicBezTo>
                      <a:cubicBezTo>
                        <a:pt x="363258" y="186733"/>
                        <a:pt x="360533" y="196354"/>
                        <a:pt x="354152" y="196554"/>
                      </a:cubicBezTo>
                      <a:cubicBezTo>
                        <a:pt x="357466" y="193725"/>
                        <a:pt x="363324" y="189972"/>
                        <a:pt x="357562" y="186019"/>
                      </a:cubicBezTo>
                      <a:cubicBezTo>
                        <a:pt x="354180" y="193553"/>
                        <a:pt x="346922" y="192210"/>
                        <a:pt x="351304" y="201173"/>
                      </a:cubicBezTo>
                      <a:cubicBezTo>
                        <a:pt x="354247" y="207165"/>
                        <a:pt x="360181" y="213137"/>
                        <a:pt x="365286" y="217309"/>
                      </a:cubicBezTo>
                      <a:cubicBezTo>
                        <a:pt x="375897" y="225977"/>
                        <a:pt x="388070" y="214670"/>
                        <a:pt x="400900" y="219004"/>
                      </a:cubicBezTo>
                      <a:cubicBezTo>
                        <a:pt x="397109" y="227062"/>
                        <a:pt x="399910" y="230244"/>
                        <a:pt x="389508" y="230434"/>
                      </a:cubicBezTo>
                      <a:cubicBezTo>
                        <a:pt x="384708" y="230520"/>
                        <a:pt x="377926" y="226491"/>
                        <a:pt x="373392" y="228310"/>
                      </a:cubicBezTo>
                      <a:cubicBezTo>
                        <a:pt x="372249" y="228758"/>
                        <a:pt x="368029" y="233644"/>
                        <a:pt x="366229" y="234682"/>
                      </a:cubicBezTo>
                      <a:cubicBezTo>
                        <a:pt x="364705" y="235559"/>
                        <a:pt x="365905" y="236883"/>
                        <a:pt x="364201" y="237530"/>
                      </a:cubicBezTo>
                      <a:cubicBezTo>
                        <a:pt x="362848" y="238035"/>
                        <a:pt x="360495" y="236825"/>
                        <a:pt x="358961" y="237045"/>
                      </a:cubicBezTo>
                      <a:cubicBezTo>
                        <a:pt x="355771" y="237483"/>
                        <a:pt x="351570" y="237997"/>
                        <a:pt x="348960" y="240188"/>
                      </a:cubicBezTo>
                      <a:cubicBezTo>
                        <a:pt x="345570" y="243036"/>
                        <a:pt x="345312" y="246789"/>
                        <a:pt x="340997" y="248998"/>
                      </a:cubicBezTo>
                      <a:cubicBezTo>
                        <a:pt x="336569" y="251275"/>
                        <a:pt x="326195" y="251142"/>
                        <a:pt x="323214" y="245846"/>
                      </a:cubicBezTo>
                      <a:cubicBezTo>
                        <a:pt x="321510" y="242826"/>
                        <a:pt x="325634" y="236406"/>
                        <a:pt x="323843" y="231968"/>
                      </a:cubicBezTo>
                      <a:cubicBezTo>
                        <a:pt x="321061" y="225043"/>
                        <a:pt x="314823" y="226415"/>
                        <a:pt x="309213" y="224005"/>
                      </a:cubicBezTo>
                      <a:cubicBezTo>
                        <a:pt x="304974" y="222176"/>
                        <a:pt x="303603" y="220843"/>
                        <a:pt x="299173" y="220080"/>
                      </a:cubicBezTo>
                      <a:cubicBezTo>
                        <a:pt x="295916" y="219519"/>
                        <a:pt x="294392" y="222395"/>
                        <a:pt x="291791" y="218671"/>
                      </a:cubicBezTo>
                      <a:cubicBezTo>
                        <a:pt x="298983" y="212842"/>
                        <a:pt x="305498" y="209584"/>
                        <a:pt x="313423" y="205593"/>
                      </a:cubicBezTo>
                      <a:cubicBezTo>
                        <a:pt x="323557" y="200488"/>
                        <a:pt x="316223" y="197668"/>
                        <a:pt x="309765" y="197011"/>
                      </a:cubicBezTo>
                      <a:cubicBezTo>
                        <a:pt x="308003" y="196830"/>
                        <a:pt x="306803" y="194544"/>
                        <a:pt x="305365" y="194363"/>
                      </a:cubicBezTo>
                      <a:cubicBezTo>
                        <a:pt x="303383" y="194115"/>
                        <a:pt x="300774" y="195716"/>
                        <a:pt x="298773" y="195992"/>
                      </a:cubicBezTo>
                      <a:cubicBezTo>
                        <a:pt x="295582" y="196449"/>
                        <a:pt x="290524" y="197230"/>
                        <a:pt x="287477" y="197097"/>
                      </a:cubicBezTo>
                      <a:cubicBezTo>
                        <a:pt x="281895" y="196849"/>
                        <a:pt x="271074" y="192268"/>
                        <a:pt x="266512" y="189658"/>
                      </a:cubicBezTo>
                      <a:cubicBezTo>
                        <a:pt x="279952" y="187457"/>
                        <a:pt x="262788" y="185438"/>
                        <a:pt x="259063" y="182428"/>
                      </a:cubicBezTo>
                      <a:cubicBezTo>
                        <a:pt x="269236" y="181495"/>
                        <a:pt x="277837" y="187943"/>
                        <a:pt x="285857" y="180495"/>
                      </a:cubicBezTo>
                      <a:cubicBezTo>
                        <a:pt x="267789" y="188315"/>
                        <a:pt x="270722" y="168026"/>
                        <a:pt x="260292" y="161683"/>
                      </a:cubicBezTo>
                      <a:cubicBezTo>
                        <a:pt x="262940" y="164912"/>
                        <a:pt x="268417" y="172122"/>
                        <a:pt x="267141" y="176647"/>
                      </a:cubicBezTo>
                      <a:cubicBezTo>
                        <a:pt x="265779" y="181466"/>
                        <a:pt x="256330" y="181057"/>
                        <a:pt x="257882" y="175408"/>
                      </a:cubicBezTo>
                      <a:cubicBezTo>
                        <a:pt x="255301" y="178551"/>
                        <a:pt x="254587" y="179161"/>
                        <a:pt x="251177" y="180504"/>
                      </a:cubicBezTo>
                      <a:cubicBezTo>
                        <a:pt x="248224" y="181657"/>
                        <a:pt x="242252" y="179504"/>
                        <a:pt x="239547" y="182333"/>
                      </a:cubicBezTo>
                      <a:cubicBezTo>
                        <a:pt x="236889" y="185114"/>
                        <a:pt x="235765" y="194058"/>
                        <a:pt x="232651" y="198221"/>
                      </a:cubicBezTo>
                      <a:cubicBezTo>
                        <a:pt x="227298" y="205422"/>
                        <a:pt x="222326" y="204174"/>
                        <a:pt x="215944" y="207974"/>
                      </a:cubicBezTo>
                      <a:cubicBezTo>
                        <a:pt x="212943" y="209765"/>
                        <a:pt x="212439" y="207431"/>
                        <a:pt x="212715" y="212489"/>
                      </a:cubicBezTo>
                      <a:cubicBezTo>
                        <a:pt x="212877" y="215308"/>
                        <a:pt x="217715" y="218833"/>
                        <a:pt x="217497" y="223205"/>
                      </a:cubicBezTo>
                      <a:cubicBezTo>
                        <a:pt x="212619" y="217661"/>
                        <a:pt x="207552" y="218280"/>
                        <a:pt x="201352" y="219995"/>
                      </a:cubicBezTo>
                      <a:cubicBezTo>
                        <a:pt x="197932" y="220947"/>
                        <a:pt x="191589" y="220919"/>
                        <a:pt x="192979" y="223805"/>
                      </a:cubicBezTo>
                      <a:cubicBezTo>
                        <a:pt x="187388" y="224100"/>
                        <a:pt x="179987" y="221776"/>
                        <a:pt x="176367" y="217204"/>
                      </a:cubicBezTo>
                      <a:cubicBezTo>
                        <a:pt x="178072" y="215594"/>
                        <a:pt x="181292" y="216547"/>
                        <a:pt x="182444" y="215451"/>
                      </a:cubicBezTo>
                      <a:cubicBezTo>
                        <a:pt x="183749" y="214204"/>
                        <a:pt x="182644" y="213365"/>
                        <a:pt x="183483" y="212289"/>
                      </a:cubicBezTo>
                      <a:cubicBezTo>
                        <a:pt x="183492" y="212280"/>
                        <a:pt x="183121" y="209917"/>
                        <a:pt x="183397" y="209317"/>
                      </a:cubicBezTo>
                      <a:cubicBezTo>
                        <a:pt x="184073" y="207879"/>
                        <a:pt x="185892" y="207612"/>
                        <a:pt x="186635" y="206384"/>
                      </a:cubicBezTo>
                      <a:cubicBezTo>
                        <a:pt x="187083" y="205660"/>
                        <a:pt x="187664" y="203412"/>
                        <a:pt x="187845" y="203212"/>
                      </a:cubicBezTo>
                      <a:cubicBezTo>
                        <a:pt x="188083" y="202926"/>
                        <a:pt x="190217" y="200964"/>
                        <a:pt x="190436" y="200564"/>
                      </a:cubicBezTo>
                      <a:cubicBezTo>
                        <a:pt x="191579" y="198545"/>
                        <a:pt x="193598" y="197001"/>
                        <a:pt x="193484" y="194334"/>
                      </a:cubicBezTo>
                      <a:cubicBezTo>
                        <a:pt x="193398" y="192106"/>
                        <a:pt x="189779" y="190239"/>
                        <a:pt x="190179" y="187505"/>
                      </a:cubicBezTo>
                      <a:cubicBezTo>
                        <a:pt x="190779" y="183276"/>
                        <a:pt x="198065" y="181018"/>
                        <a:pt x="197580" y="187943"/>
                      </a:cubicBezTo>
                      <a:cubicBezTo>
                        <a:pt x="197865" y="187410"/>
                        <a:pt x="199256" y="186533"/>
                        <a:pt x="199751" y="185200"/>
                      </a:cubicBezTo>
                      <a:cubicBezTo>
                        <a:pt x="202666" y="185724"/>
                        <a:pt x="206819" y="185943"/>
                        <a:pt x="209600" y="186772"/>
                      </a:cubicBezTo>
                      <a:cubicBezTo>
                        <a:pt x="212115" y="187524"/>
                        <a:pt x="218696" y="190410"/>
                        <a:pt x="221992" y="186572"/>
                      </a:cubicBezTo>
                      <a:cubicBezTo>
                        <a:pt x="220278" y="185562"/>
                        <a:pt x="216915" y="184514"/>
                        <a:pt x="215801" y="182923"/>
                      </a:cubicBezTo>
                      <a:cubicBezTo>
                        <a:pt x="214543" y="181133"/>
                        <a:pt x="215906" y="177771"/>
                        <a:pt x="214429" y="175713"/>
                      </a:cubicBezTo>
                      <a:cubicBezTo>
                        <a:pt x="211877" y="172141"/>
                        <a:pt x="206724" y="172760"/>
                        <a:pt x="203914" y="169531"/>
                      </a:cubicBezTo>
                      <a:cubicBezTo>
                        <a:pt x="202256" y="167636"/>
                        <a:pt x="202676" y="164007"/>
                        <a:pt x="201799" y="162559"/>
                      </a:cubicBezTo>
                      <a:cubicBezTo>
                        <a:pt x="199894" y="159378"/>
                        <a:pt x="199418" y="159054"/>
                        <a:pt x="195570" y="156949"/>
                      </a:cubicBezTo>
                      <a:cubicBezTo>
                        <a:pt x="192560" y="155301"/>
                        <a:pt x="189798" y="154453"/>
                        <a:pt x="188798" y="151310"/>
                      </a:cubicBezTo>
                      <a:cubicBezTo>
                        <a:pt x="187540" y="147367"/>
                        <a:pt x="191960" y="143090"/>
                        <a:pt x="187340" y="139328"/>
                      </a:cubicBezTo>
                      <a:cubicBezTo>
                        <a:pt x="184711" y="137184"/>
                        <a:pt x="183245" y="139080"/>
                        <a:pt x="180054" y="137756"/>
                      </a:cubicBezTo>
                      <a:cubicBezTo>
                        <a:pt x="176796" y="136403"/>
                        <a:pt x="171948" y="128050"/>
                        <a:pt x="168024" y="134060"/>
                      </a:cubicBezTo>
                      <a:cubicBezTo>
                        <a:pt x="165966" y="132841"/>
                        <a:pt x="166319" y="132965"/>
                        <a:pt x="164499" y="132365"/>
                      </a:cubicBezTo>
                      <a:cubicBezTo>
                        <a:pt x="164356" y="129041"/>
                        <a:pt x="155422" y="127545"/>
                        <a:pt x="151945" y="125659"/>
                      </a:cubicBezTo>
                      <a:cubicBezTo>
                        <a:pt x="145630" y="122230"/>
                        <a:pt x="141944" y="122078"/>
                        <a:pt x="135896" y="123773"/>
                      </a:cubicBezTo>
                      <a:cubicBezTo>
                        <a:pt x="132381" y="124764"/>
                        <a:pt x="128714" y="124335"/>
                        <a:pt x="125047" y="125078"/>
                      </a:cubicBezTo>
                      <a:cubicBezTo>
                        <a:pt x="122256" y="125650"/>
                        <a:pt x="120351" y="127898"/>
                        <a:pt x="118084" y="128907"/>
                      </a:cubicBezTo>
                      <a:cubicBezTo>
                        <a:pt x="116503" y="129612"/>
                        <a:pt x="113893" y="129088"/>
                        <a:pt x="112474" y="130088"/>
                      </a:cubicBezTo>
                      <a:cubicBezTo>
                        <a:pt x="110616" y="131393"/>
                        <a:pt x="111597" y="132860"/>
                        <a:pt x="110083" y="134117"/>
                      </a:cubicBezTo>
                      <a:cubicBezTo>
                        <a:pt x="106654" y="136984"/>
                        <a:pt x="105778" y="137356"/>
                        <a:pt x="100701" y="138108"/>
                      </a:cubicBezTo>
                      <a:cubicBezTo>
                        <a:pt x="97005" y="138661"/>
                        <a:pt x="92995" y="139089"/>
                        <a:pt x="89414" y="140013"/>
                      </a:cubicBezTo>
                      <a:cubicBezTo>
                        <a:pt x="85270" y="141080"/>
                        <a:pt x="81660" y="145500"/>
                        <a:pt x="77822" y="145652"/>
                      </a:cubicBezTo>
                      <a:cubicBezTo>
                        <a:pt x="74488" y="145786"/>
                        <a:pt x="71945" y="142290"/>
                        <a:pt x="68963" y="140804"/>
                      </a:cubicBezTo>
                      <a:cubicBezTo>
                        <a:pt x="64306" y="138480"/>
                        <a:pt x="63229" y="139709"/>
                        <a:pt x="58391" y="139747"/>
                      </a:cubicBezTo>
                      <a:cubicBezTo>
                        <a:pt x="52704" y="139804"/>
                        <a:pt x="46399" y="137899"/>
                        <a:pt x="40588" y="137070"/>
                      </a:cubicBezTo>
                      <a:cubicBezTo>
                        <a:pt x="37588" y="136642"/>
                        <a:pt x="31968" y="134175"/>
                        <a:pt x="29454" y="134222"/>
                      </a:cubicBezTo>
                      <a:cubicBezTo>
                        <a:pt x="26596" y="134279"/>
                        <a:pt x="26282" y="138099"/>
                        <a:pt x="22805" y="138032"/>
                      </a:cubicBezTo>
                      <a:cubicBezTo>
                        <a:pt x="19748" y="137975"/>
                        <a:pt x="22529" y="135832"/>
                        <a:pt x="20348" y="135003"/>
                      </a:cubicBezTo>
                      <a:cubicBezTo>
                        <a:pt x="18014" y="134117"/>
                        <a:pt x="15738" y="133775"/>
                        <a:pt x="13337" y="132679"/>
                      </a:cubicBezTo>
                      <a:cubicBezTo>
                        <a:pt x="9775" y="131069"/>
                        <a:pt x="3927" y="123164"/>
                        <a:pt x="279" y="124135"/>
                      </a:cubicBezTo>
                      <a:cubicBezTo>
                        <a:pt x="-1102" y="119477"/>
                        <a:pt x="3003" y="113867"/>
                        <a:pt x="4860" y="109391"/>
                      </a:cubicBezTo>
                      <a:cubicBezTo>
                        <a:pt x="6784" y="104752"/>
                        <a:pt x="7318" y="104561"/>
                        <a:pt x="10547" y="103561"/>
                      </a:cubicBezTo>
                      <a:cubicBezTo>
                        <a:pt x="12594" y="102933"/>
                        <a:pt x="14785" y="106381"/>
                        <a:pt x="16043" y="103428"/>
                      </a:cubicBezTo>
                      <a:cubicBezTo>
                        <a:pt x="16528" y="102294"/>
                        <a:pt x="12128" y="100913"/>
                        <a:pt x="11709" y="100018"/>
                      </a:cubicBezTo>
                      <a:cubicBezTo>
                        <a:pt x="11109" y="98722"/>
                        <a:pt x="8651" y="89940"/>
                        <a:pt x="8661" y="88874"/>
                      </a:cubicBezTo>
                      <a:cubicBezTo>
                        <a:pt x="8737" y="82016"/>
                        <a:pt x="23720" y="69004"/>
                        <a:pt x="28959" y="65137"/>
                      </a:cubicBezTo>
                      <a:cubicBezTo>
                        <a:pt x="34464" y="61089"/>
                        <a:pt x="47342" y="57803"/>
                        <a:pt x="36721" y="49164"/>
                      </a:cubicBezTo>
                      <a:cubicBezTo>
                        <a:pt x="42141" y="47221"/>
                        <a:pt x="36607" y="44421"/>
                        <a:pt x="33950" y="41563"/>
                      </a:cubicBezTo>
                      <a:cubicBezTo>
                        <a:pt x="29997" y="37305"/>
                        <a:pt x="27301" y="33467"/>
                        <a:pt x="25377" y="28695"/>
                      </a:cubicBezTo>
                      <a:cubicBezTo>
                        <a:pt x="22662" y="21989"/>
                        <a:pt x="22929" y="23342"/>
                        <a:pt x="29530" y="22780"/>
                      </a:cubicBezTo>
                      <a:cubicBezTo>
                        <a:pt x="33073" y="22484"/>
                        <a:pt x="32778" y="23951"/>
                        <a:pt x="36407" y="21075"/>
                      </a:cubicBezTo>
                      <a:cubicBezTo>
                        <a:pt x="39427" y="18684"/>
                        <a:pt x="39398" y="16226"/>
                        <a:pt x="42608" y="14836"/>
                      </a:cubicBezTo>
                      <a:cubicBezTo>
                        <a:pt x="47056" y="12912"/>
                        <a:pt x="56143" y="13283"/>
                        <a:pt x="61058" y="12959"/>
                      </a:cubicBezTo>
                      <a:cubicBezTo>
                        <a:pt x="67525" y="12540"/>
                        <a:pt x="74755" y="12893"/>
                        <a:pt x="81165" y="13769"/>
                      </a:cubicBezTo>
                      <a:cubicBezTo>
                        <a:pt x="88337" y="14760"/>
                        <a:pt x="94919" y="17093"/>
                        <a:pt x="102063" y="17979"/>
                      </a:cubicBezTo>
                      <a:cubicBezTo>
                        <a:pt x="104644" y="18303"/>
                        <a:pt x="108816" y="17617"/>
                        <a:pt x="111054" y="18465"/>
                      </a:cubicBezTo>
                      <a:cubicBezTo>
                        <a:pt x="113617" y="19427"/>
                        <a:pt x="114664" y="22446"/>
                        <a:pt x="117084" y="23484"/>
                      </a:cubicBezTo>
                      <a:cubicBezTo>
                        <a:pt x="119198" y="24380"/>
                        <a:pt x="121827" y="22684"/>
                        <a:pt x="124066" y="23427"/>
                      </a:cubicBezTo>
                      <a:cubicBezTo>
                        <a:pt x="126933" y="24389"/>
                        <a:pt x="127247" y="27095"/>
                        <a:pt x="129057" y="27237"/>
                      </a:cubicBezTo>
                      <a:cubicBezTo>
                        <a:pt x="129161" y="27247"/>
                        <a:pt x="132219" y="24180"/>
                        <a:pt x="132714" y="24008"/>
                      </a:cubicBezTo>
                      <a:cubicBezTo>
                        <a:pt x="132695" y="24018"/>
                        <a:pt x="139372" y="23380"/>
                        <a:pt x="139401" y="23380"/>
                      </a:cubicBezTo>
                      <a:cubicBezTo>
                        <a:pt x="141563" y="23484"/>
                        <a:pt x="146287" y="23827"/>
                        <a:pt x="148345" y="24675"/>
                      </a:cubicBezTo>
                      <a:cubicBezTo>
                        <a:pt x="150212" y="25447"/>
                        <a:pt x="152269" y="28580"/>
                        <a:pt x="154107" y="28628"/>
                      </a:cubicBezTo>
                      <a:cubicBezTo>
                        <a:pt x="155517" y="28657"/>
                        <a:pt x="159804" y="22446"/>
                        <a:pt x="162394" y="22665"/>
                      </a:cubicBezTo>
                      <a:cubicBezTo>
                        <a:pt x="167538" y="23103"/>
                        <a:pt x="168138" y="29304"/>
                        <a:pt x="173948" y="29533"/>
                      </a:cubicBezTo>
                      <a:cubicBezTo>
                        <a:pt x="179435" y="29742"/>
                        <a:pt x="186559" y="25609"/>
                        <a:pt x="192007" y="27771"/>
                      </a:cubicBezTo>
                      <a:cubicBezTo>
                        <a:pt x="195113" y="28999"/>
                        <a:pt x="201513" y="38467"/>
                        <a:pt x="203733" y="31495"/>
                      </a:cubicBezTo>
                      <a:cubicBezTo>
                        <a:pt x="205152" y="27056"/>
                        <a:pt x="198503" y="23885"/>
                        <a:pt x="201694" y="17455"/>
                      </a:cubicBezTo>
                      <a:cubicBezTo>
                        <a:pt x="205009" y="10788"/>
                        <a:pt x="210086" y="8645"/>
                        <a:pt x="216449" y="8045"/>
                      </a:cubicBezTo>
                      <a:cubicBezTo>
                        <a:pt x="222573" y="7463"/>
                        <a:pt x="230717" y="10626"/>
                        <a:pt x="236327" y="9416"/>
                      </a:cubicBezTo>
                      <a:cubicBezTo>
                        <a:pt x="242995" y="7978"/>
                        <a:pt x="239680" y="2234"/>
                        <a:pt x="246271" y="1444"/>
                      </a:cubicBezTo>
                      <a:cubicBezTo>
                        <a:pt x="249643" y="1044"/>
                        <a:pt x="252949" y="3025"/>
                        <a:pt x="256539" y="2415"/>
                      </a:cubicBezTo>
                      <a:cubicBezTo>
                        <a:pt x="261407" y="1577"/>
                        <a:pt x="263731" y="-947"/>
                        <a:pt x="269131" y="377"/>
                      </a:cubicBezTo>
                      <a:lnTo>
                        <a:pt x="269131" y="377"/>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47" name="Freeform: Shape 546">
                  <a:extLst>
                    <a:ext uri="{FF2B5EF4-FFF2-40B4-BE49-F238E27FC236}">
                      <a16:creationId xmlns:a16="http://schemas.microsoft.com/office/drawing/2014/main" id="{9BAC374A-4568-482F-A51D-51678D36A894}"/>
                    </a:ext>
                  </a:extLst>
                </p:cNvPr>
                <p:cNvSpPr/>
                <p:nvPr/>
              </p:nvSpPr>
              <p:spPr>
                <a:xfrm>
                  <a:off x="6525129" y="4231955"/>
                  <a:ext cx="170211" cy="178626"/>
                </a:xfrm>
                <a:custGeom>
                  <a:avLst/>
                  <a:gdLst>
                    <a:gd name="connsiteX0" fmla="*/ 136313 w 170211"/>
                    <a:gd name="connsiteY0" fmla="*/ 164506 h 178626"/>
                    <a:gd name="connsiteX1" fmla="*/ 57284 w 170211"/>
                    <a:gd name="connsiteY1" fmla="*/ 164506 h 178626"/>
                    <a:gd name="connsiteX2" fmla="*/ 38862 w 170211"/>
                    <a:gd name="connsiteY2" fmla="*/ 164287 h 178626"/>
                    <a:gd name="connsiteX3" fmla="*/ 25527 w 170211"/>
                    <a:gd name="connsiteY3" fmla="*/ 166611 h 178626"/>
                    <a:gd name="connsiteX4" fmla="*/ 13002 w 170211"/>
                    <a:gd name="connsiteY4" fmla="*/ 178518 h 178626"/>
                    <a:gd name="connsiteX5" fmla="*/ 8773 w 170211"/>
                    <a:gd name="connsiteY5" fmla="*/ 176308 h 178626"/>
                    <a:gd name="connsiteX6" fmla="*/ 0 w 170211"/>
                    <a:gd name="connsiteY6" fmla="*/ 176660 h 178626"/>
                    <a:gd name="connsiteX7" fmla="*/ 3925 w 170211"/>
                    <a:gd name="connsiteY7" fmla="*/ 134836 h 178626"/>
                    <a:gd name="connsiteX8" fmla="*/ 11354 w 170211"/>
                    <a:gd name="connsiteY8" fmla="*/ 117215 h 178626"/>
                    <a:gd name="connsiteX9" fmla="*/ 11239 w 170211"/>
                    <a:gd name="connsiteY9" fmla="*/ 107956 h 178626"/>
                    <a:gd name="connsiteX10" fmla="*/ 17745 w 170211"/>
                    <a:gd name="connsiteY10" fmla="*/ 103403 h 178626"/>
                    <a:gd name="connsiteX11" fmla="*/ 23117 w 170211"/>
                    <a:gd name="connsiteY11" fmla="*/ 95926 h 178626"/>
                    <a:gd name="connsiteX12" fmla="*/ 30680 w 170211"/>
                    <a:gd name="connsiteY12" fmla="*/ 91735 h 178626"/>
                    <a:gd name="connsiteX13" fmla="*/ 49445 w 170211"/>
                    <a:gd name="connsiteY13" fmla="*/ 72657 h 178626"/>
                    <a:gd name="connsiteX14" fmla="*/ 49521 w 170211"/>
                    <a:gd name="connsiteY14" fmla="*/ 61141 h 178626"/>
                    <a:gd name="connsiteX15" fmla="*/ 35938 w 170211"/>
                    <a:gd name="connsiteY15" fmla="*/ 55607 h 178626"/>
                    <a:gd name="connsiteX16" fmla="*/ 39148 w 170211"/>
                    <a:gd name="connsiteY16" fmla="*/ 44101 h 178626"/>
                    <a:gd name="connsiteX17" fmla="*/ 38119 w 170211"/>
                    <a:gd name="connsiteY17" fmla="*/ 38938 h 178626"/>
                    <a:gd name="connsiteX18" fmla="*/ 38548 w 170211"/>
                    <a:gd name="connsiteY18" fmla="*/ 30023 h 178626"/>
                    <a:gd name="connsiteX19" fmla="*/ 38977 w 170211"/>
                    <a:gd name="connsiteY19" fmla="*/ 22984 h 178626"/>
                    <a:gd name="connsiteX20" fmla="*/ 63732 w 170211"/>
                    <a:gd name="connsiteY20" fmla="*/ 16345 h 178626"/>
                    <a:gd name="connsiteX21" fmla="*/ 69971 w 170211"/>
                    <a:gd name="connsiteY21" fmla="*/ 13916 h 178626"/>
                    <a:gd name="connsiteX22" fmla="*/ 73629 w 170211"/>
                    <a:gd name="connsiteY22" fmla="*/ 19298 h 178626"/>
                    <a:gd name="connsiteX23" fmla="*/ 82411 w 170211"/>
                    <a:gd name="connsiteY23" fmla="*/ 18602 h 178626"/>
                    <a:gd name="connsiteX24" fmla="*/ 97631 w 170211"/>
                    <a:gd name="connsiteY24" fmla="*/ 14240 h 178626"/>
                    <a:gd name="connsiteX25" fmla="*/ 104213 w 170211"/>
                    <a:gd name="connsiteY25" fmla="*/ 11992 h 178626"/>
                    <a:gd name="connsiteX26" fmla="*/ 111690 w 170211"/>
                    <a:gd name="connsiteY26" fmla="*/ 14030 h 178626"/>
                    <a:gd name="connsiteX27" fmla="*/ 137265 w 170211"/>
                    <a:gd name="connsiteY27" fmla="*/ 0 h 178626"/>
                    <a:gd name="connsiteX28" fmla="*/ 144332 w 170211"/>
                    <a:gd name="connsiteY28" fmla="*/ 13497 h 178626"/>
                    <a:gd name="connsiteX29" fmla="*/ 152152 w 170211"/>
                    <a:gd name="connsiteY29" fmla="*/ 17945 h 178626"/>
                    <a:gd name="connsiteX30" fmla="*/ 151219 w 170211"/>
                    <a:gd name="connsiteY30" fmla="*/ 26318 h 178626"/>
                    <a:gd name="connsiteX31" fmla="*/ 155105 w 170211"/>
                    <a:gd name="connsiteY31" fmla="*/ 34680 h 178626"/>
                    <a:gd name="connsiteX32" fmla="*/ 157125 w 170211"/>
                    <a:gd name="connsiteY32" fmla="*/ 40348 h 178626"/>
                    <a:gd name="connsiteX33" fmla="*/ 161716 w 170211"/>
                    <a:gd name="connsiteY33" fmla="*/ 43567 h 178626"/>
                    <a:gd name="connsiteX34" fmla="*/ 166850 w 170211"/>
                    <a:gd name="connsiteY34" fmla="*/ 57236 h 178626"/>
                    <a:gd name="connsiteX35" fmla="*/ 170002 w 170211"/>
                    <a:gd name="connsiteY35" fmla="*/ 77505 h 178626"/>
                    <a:gd name="connsiteX36" fmla="*/ 164125 w 170211"/>
                    <a:gd name="connsiteY36" fmla="*/ 90259 h 178626"/>
                    <a:gd name="connsiteX37" fmla="*/ 161592 w 170211"/>
                    <a:gd name="connsiteY37" fmla="*/ 94907 h 178626"/>
                    <a:gd name="connsiteX38" fmla="*/ 154543 w 170211"/>
                    <a:gd name="connsiteY38" fmla="*/ 100079 h 178626"/>
                    <a:gd name="connsiteX39" fmla="*/ 149838 w 170211"/>
                    <a:gd name="connsiteY39" fmla="*/ 108461 h 178626"/>
                    <a:gd name="connsiteX40" fmla="*/ 143733 w 170211"/>
                    <a:gd name="connsiteY40" fmla="*/ 115433 h 178626"/>
                    <a:gd name="connsiteX41" fmla="*/ 136313 w 170211"/>
                    <a:gd name="connsiteY41" fmla="*/ 164506 h 178626"/>
                    <a:gd name="connsiteX42" fmla="*/ 136313 w 170211"/>
                    <a:gd name="connsiteY42" fmla="*/ 164506 h 17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0211" h="178626">
                      <a:moveTo>
                        <a:pt x="136313" y="164506"/>
                      </a:moveTo>
                      <a:cubicBezTo>
                        <a:pt x="109967" y="164506"/>
                        <a:pt x="83630" y="164506"/>
                        <a:pt x="57284" y="164506"/>
                      </a:cubicBezTo>
                      <a:cubicBezTo>
                        <a:pt x="51454" y="164506"/>
                        <a:pt x="44539" y="163401"/>
                        <a:pt x="38862" y="164287"/>
                      </a:cubicBezTo>
                      <a:cubicBezTo>
                        <a:pt x="35443" y="164830"/>
                        <a:pt x="28718" y="165278"/>
                        <a:pt x="25527" y="166611"/>
                      </a:cubicBezTo>
                      <a:cubicBezTo>
                        <a:pt x="20803" y="168583"/>
                        <a:pt x="18641" y="177565"/>
                        <a:pt x="13002" y="178518"/>
                      </a:cubicBezTo>
                      <a:cubicBezTo>
                        <a:pt x="9030" y="179184"/>
                        <a:pt x="11049" y="176594"/>
                        <a:pt x="8773" y="176308"/>
                      </a:cubicBezTo>
                      <a:cubicBezTo>
                        <a:pt x="6648" y="176041"/>
                        <a:pt x="3343" y="176298"/>
                        <a:pt x="0" y="176660"/>
                      </a:cubicBezTo>
                      <a:cubicBezTo>
                        <a:pt x="467" y="162516"/>
                        <a:pt x="1067" y="148790"/>
                        <a:pt x="3925" y="134836"/>
                      </a:cubicBezTo>
                      <a:cubicBezTo>
                        <a:pt x="5229" y="128473"/>
                        <a:pt x="10040" y="123501"/>
                        <a:pt x="11354" y="117215"/>
                      </a:cubicBezTo>
                      <a:cubicBezTo>
                        <a:pt x="11916" y="114557"/>
                        <a:pt x="9954" y="110547"/>
                        <a:pt x="11239" y="107956"/>
                      </a:cubicBezTo>
                      <a:cubicBezTo>
                        <a:pt x="12135" y="106166"/>
                        <a:pt x="16136" y="105003"/>
                        <a:pt x="17745" y="103403"/>
                      </a:cubicBezTo>
                      <a:cubicBezTo>
                        <a:pt x="20022" y="101146"/>
                        <a:pt x="20622" y="98145"/>
                        <a:pt x="23117" y="95926"/>
                      </a:cubicBezTo>
                      <a:cubicBezTo>
                        <a:pt x="25003" y="94259"/>
                        <a:pt x="28451" y="93440"/>
                        <a:pt x="30680" y="91735"/>
                      </a:cubicBezTo>
                      <a:cubicBezTo>
                        <a:pt x="37091" y="86858"/>
                        <a:pt x="44654" y="79258"/>
                        <a:pt x="49445" y="72657"/>
                      </a:cubicBezTo>
                      <a:cubicBezTo>
                        <a:pt x="53121" y="67608"/>
                        <a:pt x="54073" y="65475"/>
                        <a:pt x="49521" y="61141"/>
                      </a:cubicBezTo>
                      <a:cubicBezTo>
                        <a:pt x="46673" y="58426"/>
                        <a:pt x="37824" y="58655"/>
                        <a:pt x="35938" y="55607"/>
                      </a:cubicBezTo>
                      <a:cubicBezTo>
                        <a:pt x="33985" y="52445"/>
                        <a:pt x="39034" y="47015"/>
                        <a:pt x="39148" y="44101"/>
                      </a:cubicBezTo>
                      <a:cubicBezTo>
                        <a:pt x="39243" y="41834"/>
                        <a:pt x="38310" y="40795"/>
                        <a:pt x="38119" y="38938"/>
                      </a:cubicBezTo>
                      <a:cubicBezTo>
                        <a:pt x="37758" y="35547"/>
                        <a:pt x="37157" y="34290"/>
                        <a:pt x="38548" y="30023"/>
                      </a:cubicBezTo>
                      <a:cubicBezTo>
                        <a:pt x="39500" y="27089"/>
                        <a:pt x="43177" y="24879"/>
                        <a:pt x="38977" y="22984"/>
                      </a:cubicBezTo>
                      <a:cubicBezTo>
                        <a:pt x="45301" y="8677"/>
                        <a:pt x="53626" y="18288"/>
                        <a:pt x="63732" y="16345"/>
                      </a:cubicBezTo>
                      <a:cubicBezTo>
                        <a:pt x="66466" y="15821"/>
                        <a:pt x="67333" y="12954"/>
                        <a:pt x="69971" y="13916"/>
                      </a:cubicBezTo>
                      <a:cubicBezTo>
                        <a:pt x="72028" y="14669"/>
                        <a:pt x="72171" y="18079"/>
                        <a:pt x="73629" y="19298"/>
                      </a:cubicBezTo>
                      <a:cubicBezTo>
                        <a:pt x="78934" y="23765"/>
                        <a:pt x="78781" y="20584"/>
                        <a:pt x="82411" y="18602"/>
                      </a:cubicBezTo>
                      <a:cubicBezTo>
                        <a:pt x="87602" y="15773"/>
                        <a:pt x="91888" y="15526"/>
                        <a:pt x="97631" y="14240"/>
                      </a:cubicBezTo>
                      <a:cubicBezTo>
                        <a:pt x="99670" y="13783"/>
                        <a:pt x="102289" y="12211"/>
                        <a:pt x="104213" y="11992"/>
                      </a:cubicBezTo>
                      <a:cubicBezTo>
                        <a:pt x="108652" y="11497"/>
                        <a:pt x="106918" y="12506"/>
                        <a:pt x="111690" y="14030"/>
                      </a:cubicBezTo>
                      <a:cubicBezTo>
                        <a:pt x="123883" y="17926"/>
                        <a:pt x="129730" y="7715"/>
                        <a:pt x="137265" y="0"/>
                      </a:cubicBezTo>
                      <a:cubicBezTo>
                        <a:pt x="139237" y="4010"/>
                        <a:pt x="142123" y="11506"/>
                        <a:pt x="144332" y="13497"/>
                      </a:cubicBezTo>
                      <a:cubicBezTo>
                        <a:pt x="146295" y="15269"/>
                        <a:pt x="150981" y="15726"/>
                        <a:pt x="152152" y="17945"/>
                      </a:cubicBezTo>
                      <a:cubicBezTo>
                        <a:pt x="153258" y="20060"/>
                        <a:pt x="151152" y="23965"/>
                        <a:pt x="151219" y="26318"/>
                      </a:cubicBezTo>
                      <a:cubicBezTo>
                        <a:pt x="151352" y="30451"/>
                        <a:pt x="153820" y="31975"/>
                        <a:pt x="155105" y="34680"/>
                      </a:cubicBezTo>
                      <a:cubicBezTo>
                        <a:pt x="155886" y="36328"/>
                        <a:pt x="156001" y="38919"/>
                        <a:pt x="157125" y="40348"/>
                      </a:cubicBezTo>
                      <a:cubicBezTo>
                        <a:pt x="158229" y="41758"/>
                        <a:pt x="160734" y="42110"/>
                        <a:pt x="161716" y="43567"/>
                      </a:cubicBezTo>
                      <a:cubicBezTo>
                        <a:pt x="164859" y="48187"/>
                        <a:pt x="165859" y="52607"/>
                        <a:pt x="166850" y="57236"/>
                      </a:cubicBezTo>
                      <a:cubicBezTo>
                        <a:pt x="168221" y="63589"/>
                        <a:pt x="170993" y="70923"/>
                        <a:pt x="170002" y="77505"/>
                      </a:cubicBezTo>
                      <a:cubicBezTo>
                        <a:pt x="169279" y="82325"/>
                        <a:pt x="166316" y="86173"/>
                        <a:pt x="164125" y="90259"/>
                      </a:cubicBezTo>
                      <a:cubicBezTo>
                        <a:pt x="161897" y="94440"/>
                        <a:pt x="165164" y="91440"/>
                        <a:pt x="161592" y="94907"/>
                      </a:cubicBezTo>
                      <a:cubicBezTo>
                        <a:pt x="159515" y="96926"/>
                        <a:pt x="156515" y="97441"/>
                        <a:pt x="154543" y="100079"/>
                      </a:cubicBezTo>
                      <a:cubicBezTo>
                        <a:pt x="152629" y="102651"/>
                        <a:pt x="151915" y="105823"/>
                        <a:pt x="149838" y="108461"/>
                      </a:cubicBezTo>
                      <a:cubicBezTo>
                        <a:pt x="147914" y="110919"/>
                        <a:pt x="145314" y="112862"/>
                        <a:pt x="143733" y="115433"/>
                      </a:cubicBezTo>
                      <a:cubicBezTo>
                        <a:pt x="135122" y="129454"/>
                        <a:pt x="135703" y="148161"/>
                        <a:pt x="136313" y="164506"/>
                      </a:cubicBezTo>
                      <a:lnTo>
                        <a:pt x="136313" y="164506"/>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48" name="Freeform: Shape 547">
                  <a:extLst>
                    <a:ext uri="{FF2B5EF4-FFF2-40B4-BE49-F238E27FC236}">
                      <a16:creationId xmlns:a16="http://schemas.microsoft.com/office/drawing/2014/main" id="{F8AB2490-ABE5-42BC-B9FE-087EEF79E486}"/>
                    </a:ext>
                  </a:extLst>
                </p:cNvPr>
                <p:cNvSpPr/>
                <p:nvPr/>
              </p:nvSpPr>
              <p:spPr>
                <a:xfrm>
                  <a:off x="6515711" y="4395935"/>
                  <a:ext cx="340760" cy="338333"/>
                </a:xfrm>
                <a:custGeom>
                  <a:avLst/>
                  <a:gdLst>
                    <a:gd name="connsiteX0" fmla="*/ 48738 w 340760"/>
                    <a:gd name="connsiteY0" fmla="*/ 412 h 338333"/>
                    <a:gd name="connsiteX1" fmla="*/ 129338 w 340760"/>
                    <a:gd name="connsiteY1" fmla="*/ 516 h 338333"/>
                    <a:gd name="connsiteX2" fmla="*/ 148779 w 340760"/>
                    <a:gd name="connsiteY2" fmla="*/ 802 h 338333"/>
                    <a:gd name="connsiteX3" fmla="*/ 167057 w 340760"/>
                    <a:gd name="connsiteY3" fmla="*/ 11051 h 338333"/>
                    <a:gd name="connsiteX4" fmla="*/ 206119 w 340760"/>
                    <a:gd name="connsiteY4" fmla="*/ 32958 h 338333"/>
                    <a:gd name="connsiteX5" fmla="*/ 244933 w 340760"/>
                    <a:gd name="connsiteY5" fmla="*/ 54790 h 338333"/>
                    <a:gd name="connsiteX6" fmla="*/ 262449 w 340760"/>
                    <a:gd name="connsiteY6" fmla="*/ 64667 h 338333"/>
                    <a:gd name="connsiteX7" fmla="*/ 261488 w 340760"/>
                    <a:gd name="connsiteY7" fmla="*/ 78507 h 338333"/>
                    <a:gd name="connsiteX8" fmla="*/ 271622 w 340760"/>
                    <a:gd name="connsiteY8" fmla="*/ 87851 h 338333"/>
                    <a:gd name="connsiteX9" fmla="*/ 288691 w 340760"/>
                    <a:gd name="connsiteY9" fmla="*/ 100405 h 338333"/>
                    <a:gd name="connsiteX10" fmla="*/ 305636 w 340760"/>
                    <a:gd name="connsiteY10" fmla="*/ 112902 h 338333"/>
                    <a:gd name="connsiteX11" fmla="*/ 307436 w 340760"/>
                    <a:gd name="connsiteY11" fmla="*/ 129285 h 338333"/>
                    <a:gd name="connsiteX12" fmla="*/ 303893 w 340760"/>
                    <a:gd name="connsiteY12" fmla="*/ 173300 h 338333"/>
                    <a:gd name="connsiteX13" fmla="*/ 310798 w 340760"/>
                    <a:gd name="connsiteY13" fmla="*/ 183129 h 338333"/>
                    <a:gd name="connsiteX14" fmla="*/ 318771 w 340760"/>
                    <a:gd name="connsiteY14" fmla="*/ 191007 h 338333"/>
                    <a:gd name="connsiteX15" fmla="*/ 312237 w 340760"/>
                    <a:gd name="connsiteY15" fmla="*/ 200589 h 338333"/>
                    <a:gd name="connsiteX16" fmla="*/ 309694 w 340760"/>
                    <a:gd name="connsiteY16" fmla="*/ 214267 h 338333"/>
                    <a:gd name="connsiteX17" fmla="*/ 310675 w 340760"/>
                    <a:gd name="connsiteY17" fmla="*/ 228592 h 338333"/>
                    <a:gd name="connsiteX18" fmla="*/ 314066 w 340760"/>
                    <a:gd name="connsiteY18" fmla="*/ 247757 h 338333"/>
                    <a:gd name="connsiteX19" fmla="*/ 315123 w 340760"/>
                    <a:gd name="connsiteY19" fmla="*/ 253643 h 338333"/>
                    <a:gd name="connsiteX20" fmla="*/ 318552 w 340760"/>
                    <a:gd name="connsiteY20" fmla="*/ 258520 h 338333"/>
                    <a:gd name="connsiteX21" fmla="*/ 317723 w 340760"/>
                    <a:gd name="connsiteY21" fmla="*/ 264826 h 338333"/>
                    <a:gd name="connsiteX22" fmla="*/ 319695 w 340760"/>
                    <a:gd name="connsiteY22" fmla="*/ 283971 h 338333"/>
                    <a:gd name="connsiteX23" fmla="*/ 327086 w 340760"/>
                    <a:gd name="connsiteY23" fmla="*/ 288514 h 338333"/>
                    <a:gd name="connsiteX24" fmla="*/ 335383 w 340760"/>
                    <a:gd name="connsiteY24" fmla="*/ 292067 h 338333"/>
                    <a:gd name="connsiteX25" fmla="*/ 335068 w 340760"/>
                    <a:gd name="connsiteY25" fmla="*/ 303468 h 338333"/>
                    <a:gd name="connsiteX26" fmla="*/ 299140 w 340760"/>
                    <a:gd name="connsiteY26" fmla="*/ 320728 h 338333"/>
                    <a:gd name="connsiteX27" fmla="*/ 288634 w 340760"/>
                    <a:gd name="connsiteY27" fmla="*/ 322518 h 338333"/>
                    <a:gd name="connsiteX28" fmla="*/ 279280 w 340760"/>
                    <a:gd name="connsiteY28" fmla="*/ 327938 h 338333"/>
                    <a:gd name="connsiteX29" fmla="*/ 260440 w 340760"/>
                    <a:gd name="connsiteY29" fmla="*/ 324966 h 338333"/>
                    <a:gd name="connsiteX30" fmla="*/ 256354 w 340760"/>
                    <a:gd name="connsiteY30" fmla="*/ 331710 h 338333"/>
                    <a:gd name="connsiteX31" fmla="*/ 246505 w 340760"/>
                    <a:gd name="connsiteY31" fmla="*/ 337063 h 338333"/>
                    <a:gd name="connsiteX32" fmla="*/ 227617 w 340760"/>
                    <a:gd name="connsiteY32" fmla="*/ 333463 h 338333"/>
                    <a:gd name="connsiteX33" fmla="*/ 207005 w 340760"/>
                    <a:gd name="connsiteY33" fmla="*/ 336863 h 338333"/>
                    <a:gd name="connsiteX34" fmla="*/ 193584 w 340760"/>
                    <a:gd name="connsiteY34" fmla="*/ 330005 h 338333"/>
                    <a:gd name="connsiteX35" fmla="*/ 186592 w 340760"/>
                    <a:gd name="connsiteY35" fmla="*/ 334406 h 338333"/>
                    <a:gd name="connsiteX36" fmla="*/ 180554 w 340760"/>
                    <a:gd name="connsiteY36" fmla="*/ 333787 h 338333"/>
                    <a:gd name="connsiteX37" fmla="*/ 169114 w 340760"/>
                    <a:gd name="connsiteY37" fmla="*/ 333691 h 338333"/>
                    <a:gd name="connsiteX38" fmla="*/ 166133 w 340760"/>
                    <a:gd name="connsiteY38" fmla="*/ 327919 h 338333"/>
                    <a:gd name="connsiteX39" fmla="*/ 158265 w 340760"/>
                    <a:gd name="connsiteY39" fmla="*/ 318690 h 338333"/>
                    <a:gd name="connsiteX40" fmla="*/ 159770 w 340760"/>
                    <a:gd name="connsiteY40" fmla="*/ 304383 h 338333"/>
                    <a:gd name="connsiteX41" fmla="*/ 150731 w 340760"/>
                    <a:gd name="connsiteY41" fmla="*/ 275065 h 338333"/>
                    <a:gd name="connsiteX42" fmla="*/ 141644 w 340760"/>
                    <a:gd name="connsiteY42" fmla="*/ 268245 h 338333"/>
                    <a:gd name="connsiteX43" fmla="*/ 139939 w 340760"/>
                    <a:gd name="connsiteY43" fmla="*/ 272741 h 338333"/>
                    <a:gd name="connsiteX44" fmla="*/ 126994 w 340760"/>
                    <a:gd name="connsiteY44" fmla="*/ 271569 h 338333"/>
                    <a:gd name="connsiteX45" fmla="*/ 97334 w 340760"/>
                    <a:gd name="connsiteY45" fmla="*/ 260511 h 338333"/>
                    <a:gd name="connsiteX46" fmla="*/ 79255 w 340760"/>
                    <a:gd name="connsiteY46" fmla="*/ 254405 h 338333"/>
                    <a:gd name="connsiteX47" fmla="*/ 76464 w 340760"/>
                    <a:gd name="connsiteY47" fmla="*/ 250195 h 338333"/>
                    <a:gd name="connsiteX48" fmla="*/ 69997 w 340760"/>
                    <a:gd name="connsiteY48" fmla="*/ 249738 h 338333"/>
                    <a:gd name="connsiteX49" fmla="*/ 64863 w 340760"/>
                    <a:gd name="connsiteY49" fmla="*/ 242880 h 338333"/>
                    <a:gd name="connsiteX50" fmla="*/ 53147 w 340760"/>
                    <a:gd name="connsiteY50" fmla="*/ 240175 h 338333"/>
                    <a:gd name="connsiteX51" fmla="*/ 41908 w 340760"/>
                    <a:gd name="connsiteY51" fmla="*/ 228069 h 338333"/>
                    <a:gd name="connsiteX52" fmla="*/ 25658 w 340760"/>
                    <a:gd name="connsiteY52" fmla="*/ 190207 h 338333"/>
                    <a:gd name="connsiteX53" fmla="*/ 3979 w 340760"/>
                    <a:gd name="connsiteY53" fmla="*/ 158660 h 338333"/>
                    <a:gd name="connsiteX54" fmla="*/ 5760 w 340760"/>
                    <a:gd name="connsiteY54" fmla="*/ 140724 h 338333"/>
                    <a:gd name="connsiteX55" fmla="*/ 7 w 340760"/>
                    <a:gd name="connsiteY55" fmla="*/ 121484 h 338333"/>
                    <a:gd name="connsiteX56" fmla="*/ 2312 w 340760"/>
                    <a:gd name="connsiteY56" fmla="*/ 112349 h 338333"/>
                    <a:gd name="connsiteX57" fmla="*/ 8818 w 340760"/>
                    <a:gd name="connsiteY57" fmla="*/ 109254 h 338333"/>
                    <a:gd name="connsiteX58" fmla="*/ 25877 w 340760"/>
                    <a:gd name="connsiteY58" fmla="*/ 98176 h 338333"/>
                    <a:gd name="connsiteX59" fmla="*/ 35393 w 340760"/>
                    <a:gd name="connsiteY59" fmla="*/ 82069 h 338333"/>
                    <a:gd name="connsiteX60" fmla="*/ 41927 w 340760"/>
                    <a:gd name="connsiteY60" fmla="*/ 76430 h 338333"/>
                    <a:gd name="connsiteX61" fmla="*/ 45803 w 340760"/>
                    <a:gd name="connsiteY61" fmla="*/ 72554 h 338333"/>
                    <a:gd name="connsiteX62" fmla="*/ 43804 w 340760"/>
                    <a:gd name="connsiteY62" fmla="*/ 62457 h 338333"/>
                    <a:gd name="connsiteX63" fmla="*/ 36993 w 340760"/>
                    <a:gd name="connsiteY63" fmla="*/ 54628 h 338333"/>
                    <a:gd name="connsiteX64" fmla="*/ 41193 w 340760"/>
                    <a:gd name="connsiteY64" fmla="*/ 44465 h 338333"/>
                    <a:gd name="connsiteX65" fmla="*/ 49899 w 340760"/>
                    <a:gd name="connsiteY65" fmla="*/ 37845 h 338333"/>
                    <a:gd name="connsiteX66" fmla="*/ 48242 w 340760"/>
                    <a:gd name="connsiteY66" fmla="*/ 29167 h 338333"/>
                    <a:gd name="connsiteX67" fmla="*/ 48385 w 340760"/>
                    <a:gd name="connsiteY67" fmla="*/ 18661 h 338333"/>
                    <a:gd name="connsiteX68" fmla="*/ 37621 w 340760"/>
                    <a:gd name="connsiteY68" fmla="*/ 4174 h 338333"/>
                    <a:gd name="connsiteX69" fmla="*/ 48738 w 340760"/>
                    <a:gd name="connsiteY69" fmla="*/ 412 h 338333"/>
                    <a:gd name="connsiteX70" fmla="*/ 48738 w 340760"/>
                    <a:gd name="connsiteY70" fmla="*/ 412 h 33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340760" h="338333">
                      <a:moveTo>
                        <a:pt x="48738" y="412"/>
                      </a:moveTo>
                      <a:cubicBezTo>
                        <a:pt x="75436" y="1850"/>
                        <a:pt x="102582" y="507"/>
                        <a:pt x="129338" y="516"/>
                      </a:cubicBezTo>
                      <a:cubicBezTo>
                        <a:pt x="135253" y="516"/>
                        <a:pt x="143149" y="-817"/>
                        <a:pt x="148779" y="802"/>
                      </a:cubicBezTo>
                      <a:cubicBezTo>
                        <a:pt x="154893" y="2564"/>
                        <a:pt x="161485" y="7927"/>
                        <a:pt x="167057" y="11051"/>
                      </a:cubicBezTo>
                      <a:cubicBezTo>
                        <a:pt x="180077" y="18347"/>
                        <a:pt x="193098" y="25643"/>
                        <a:pt x="206119" y="32958"/>
                      </a:cubicBezTo>
                      <a:cubicBezTo>
                        <a:pt x="219063" y="40216"/>
                        <a:pt x="231998" y="47503"/>
                        <a:pt x="244933" y="54790"/>
                      </a:cubicBezTo>
                      <a:cubicBezTo>
                        <a:pt x="249410" y="57314"/>
                        <a:pt x="259383" y="60619"/>
                        <a:pt x="262449" y="64667"/>
                      </a:cubicBezTo>
                      <a:cubicBezTo>
                        <a:pt x="266688" y="70249"/>
                        <a:pt x="260792" y="73545"/>
                        <a:pt x="261488" y="78507"/>
                      </a:cubicBezTo>
                      <a:cubicBezTo>
                        <a:pt x="261716" y="80183"/>
                        <a:pt x="269565" y="86270"/>
                        <a:pt x="271622" y="87851"/>
                      </a:cubicBezTo>
                      <a:cubicBezTo>
                        <a:pt x="277242" y="92137"/>
                        <a:pt x="283005" y="96214"/>
                        <a:pt x="288691" y="100405"/>
                      </a:cubicBezTo>
                      <a:cubicBezTo>
                        <a:pt x="294339" y="104577"/>
                        <a:pt x="299978" y="108797"/>
                        <a:pt x="305636" y="112902"/>
                      </a:cubicBezTo>
                      <a:cubicBezTo>
                        <a:pt x="312913" y="118169"/>
                        <a:pt x="310180" y="120836"/>
                        <a:pt x="307436" y="129285"/>
                      </a:cubicBezTo>
                      <a:cubicBezTo>
                        <a:pt x="302388" y="144830"/>
                        <a:pt x="290396" y="159746"/>
                        <a:pt x="303893" y="173300"/>
                      </a:cubicBezTo>
                      <a:cubicBezTo>
                        <a:pt x="306636" y="176053"/>
                        <a:pt x="308303" y="180767"/>
                        <a:pt x="310798" y="183129"/>
                      </a:cubicBezTo>
                      <a:cubicBezTo>
                        <a:pt x="313723" y="185901"/>
                        <a:pt x="319409" y="184787"/>
                        <a:pt x="318771" y="191007"/>
                      </a:cubicBezTo>
                      <a:cubicBezTo>
                        <a:pt x="318457" y="194102"/>
                        <a:pt x="313713" y="197674"/>
                        <a:pt x="312237" y="200589"/>
                      </a:cubicBezTo>
                      <a:cubicBezTo>
                        <a:pt x="309903" y="205189"/>
                        <a:pt x="309961" y="209171"/>
                        <a:pt x="309694" y="214267"/>
                      </a:cubicBezTo>
                      <a:cubicBezTo>
                        <a:pt x="317561" y="208047"/>
                        <a:pt x="311141" y="227211"/>
                        <a:pt x="310675" y="228592"/>
                      </a:cubicBezTo>
                      <a:cubicBezTo>
                        <a:pt x="307893" y="236641"/>
                        <a:pt x="311475" y="240680"/>
                        <a:pt x="314066" y="247757"/>
                      </a:cubicBezTo>
                      <a:cubicBezTo>
                        <a:pt x="314752" y="249624"/>
                        <a:pt x="314256" y="251072"/>
                        <a:pt x="315123" y="253643"/>
                      </a:cubicBezTo>
                      <a:cubicBezTo>
                        <a:pt x="315723" y="255405"/>
                        <a:pt x="318114" y="256720"/>
                        <a:pt x="318552" y="258520"/>
                      </a:cubicBezTo>
                      <a:cubicBezTo>
                        <a:pt x="319019" y="260425"/>
                        <a:pt x="317514" y="262863"/>
                        <a:pt x="317723" y="264826"/>
                      </a:cubicBezTo>
                      <a:cubicBezTo>
                        <a:pt x="318295" y="269921"/>
                        <a:pt x="324496" y="279732"/>
                        <a:pt x="319695" y="283971"/>
                      </a:cubicBezTo>
                      <a:cubicBezTo>
                        <a:pt x="324353" y="283799"/>
                        <a:pt x="324324" y="286933"/>
                        <a:pt x="327086" y="288514"/>
                      </a:cubicBezTo>
                      <a:cubicBezTo>
                        <a:pt x="329639" y="289972"/>
                        <a:pt x="332554" y="290162"/>
                        <a:pt x="335383" y="292067"/>
                      </a:cubicBezTo>
                      <a:cubicBezTo>
                        <a:pt x="343146" y="297306"/>
                        <a:pt x="342031" y="298439"/>
                        <a:pt x="335068" y="303468"/>
                      </a:cubicBezTo>
                      <a:cubicBezTo>
                        <a:pt x="324963" y="310765"/>
                        <a:pt x="311303" y="318489"/>
                        <a:pt x="299140" y="320728"/>
                      </a:cubicBezTo>
                      <a:cubicBezTo>
                        <a:pt x="295339" y="321423"/>
                        <a:pt x="292434" y="320947"/>
                        <a:pt x="288634" y="322518"/>
                      </a:cubicBezTo>
                      <a:cubicBezTo>
                        <a:pt x="285890" y="323642"/>
                        <a:pt x="282214" y="327643"/>
                        <a:pt x="279280" y="327938"/>
                      </a:cubicBezTo>
                      <a:cubicBezTo>
                        <a:pt x="274042" y="328462"/>
                        <a:pt x="266898" y="320518"/>
                        <a:pt x="260440" y="324966"/>
                      </a:cubicBezTo>
                      <a:cubicBezTo>
                        <a:pt x="258182" y="326519"/>
                        <a:pt x="258173" y="329738"/>
                        <a:pt x="256354" y="331710"/>
                      </a:cubicBezTo>
                      <a:cubicBezTo>
                        <a:pt x="253906" y="334377"/>
                        <a:pt x="249991" y="336292"/>
                        <a:pt x="246505" y="337063"/>
                      </a:cubicBezTo>
                      <a:cubicBezTo>
                        <a:pt x="238752" y="338787"/>
                        <a:pt x="234446" y="332444"/>
                        <a:pt x="227617" y="333463"/>
                      </a:cubicBezTo>
                      <a:cubicBezTo>
                        <a:pt x="220558" y="334510"/>
                        <a:pt x="215139" y="341254"/>
                        <a:pt x="207005" y="336863"/>
                      </a:cubicBezTo>
                      <a:cubicBezTo>
                        <a:pt x="202757" y="334577"/>
                        <a:pt x="200556" y="328129"/>
                        <a:pt x="193584" y="330005"/>
                      </a:cubicBezTo>
                      <a:cubicBezTo>
                        <a:pt x="191155" y="330653"/>
                        <a:pt x="189498" y="333777"/>
                        <a:pt x="186592" y="334406"/>
                      </a:cubicBezTo>
                      <a:cubicBezTo>
                        <a:pt x="184707" y="334815"/>
                        <a:pt x="182478" y="333872"/>
                        <a:pt x="180554" y="333787"/>
                      </a:cubicBezTo>
                      <a:cubicBezTo>
                        <a:pt x="178106" y="333663"/>
                        <a:pt x="171038" y="334739"/>
                        <a:pt x="169114" y="333691"/>
                      </a:cubicBezTo>
                      <a:cubicBezTo>
                        <a:pt x="167038" y="332577"/>
                        <a:pt x="167781" y="330262"/>
                        <a:pt x="166133" y="327919"/>
                      </a:cubicBezTo>
                      <a:cubicBezTo>
                        <a:pt x="163999" y="324900"/>
                        <a:pt x="159294" y="323433"/>
                        <a:pt x="158265" y="318690"/>
                      </a:cubicBezTo>
                      <a:cubicBezTo>
                        <a:pt x="157237" y="313927"/>
                        <a:pt x="160485" y="309641"/>
                        <a:pt x="159770" y="304383"/>
                      </a:cubicBezTo>
                      <a:cubicBezTo>
                        <a:pt x="158417" y="294344"/>
                        <a:pt x="157980" y="283275"/>
                        <a:pt x="150731" y="275065"/>
                      </a:cubicBezTo>
                      <a:cubicBezTo>
                        <a:pt x="149826" y="274055"/>
                        <a:pt x="143730" y="267588"/>
                        <a:pt x="141644" y="268245"/>
                      </a:cubicBezTo>
                      <a:cubicBezTo>
                        <a:pt x="139482" y="268921"/>
                        <a:pt x="140653" y="272455"/>
                        <a:pt x="139939" y="272741"/>
                      </a:cubicBezTo>
                      <a:cubicBezTo>
                        <a:pt x="137434" y="273750"/>
                        <a:pt x="130585" y="272150"/>
                        <a:pt x="126994" y="271569"/>
                      </a:cubicBezTo>
                      <a:cubicBezTo>
                        <a:pt x="117803" y="270055"/>
                        <a:pt x="106468" y="265140"/>
                        <a:pt x="97334" y="260511"/>
                      </a:cubicBezTo>
                      <a:cubicBezTo>
                        <a:pt x="91990" y="257806"/>
                        <a:pt x="83951" y="257387"/>
                        <a:pt x="79255" y="254405"/>
                      </a:cubicBezTo>
                      <a:cubicBezTo>
                        <a:pt x="77455" y="253262"/>
                        <a:pt x="77789" y="250814"/>
                        <a:pt x="76464" y="250195"/>
                      </a:cubicBezTo>
                      <a:cubicBezTo>
                        <a:pt x="74455" y="249252"/>
                        <a:pt x="71493" y="250481"/>
                        <a:pt x="69997" y="249738"/>
                      </a:cubicBezTo>
                      <a:cubicBezTo>
                        <a:pt x="66444" y="247966"/>
                        <a:pt x="67215" y="244995"/>
                        <a:pt x="64863" y="242880"/>
                      </a:cubicBezTo>
                      <a:cubicBezTo>
                        <a:pt x="60939" y="239356"/>
                        <a:pt x="57738" y="241108"/>
                        <a:pt x="53147" y="240175"/>
                      </a:cubicBezTo>
                      <a:cubicBezTo>
                        <a:pt x="46566" y="238813"/>
                        <a:pt x="44384" y="234184"/>
                        <a:pt x="41908" y="228069"/>
                      </a:cubicBezTo>
                      <a:cubicBezTo>
                        <a:pt x="37184" y="216315"/>
                        <a:pt x="33297" y="200351"/>
                        <a:pt x="25658" y="190207"/>
                      </a:cubicBezTo>
                      <a:cubicBezTo>
                        <a:pt x="18238" y="180358"/>
                        <a:pt x="1617" y="174271"/>
                        <a:pt x="3979" y="158660"/>
                      </a:cubicBezTo>
                      <a:cubicBezTo>
                        <a:pt x="5303" y="149983"/>
                        <a:pt x="8922" y="150154"/>
                        <a:pt x="5760" y="140724"/>
                      </a:cubicBezTo>
                      <a:cubicBezTo>
                        <a:pt x="3741" y="134695"/>
                        <a:pt x="-193" y="127866"/>
                        <a:pt x="7" y="121484"/>
                      </a:cubicBezTo>
                      <a:cubicBezTo>
                        <a:pt x="74" y="119436"/>
                        <a:pt x="1293" y="114140"/>
                        <a:pt x="2312" y="112349"/>
                      </a:cubicBezTo>
                      <a:cubicBezTo>
                        <a:pt x="4722" y="108149"/>
                        <a:pt x="2941" y="110311"/>
                        <a:pt x="8818" y="109254"/>
                      </a:cubicBezTo>
                      <a:cubicBezTo>
                        <a:pt x="15790" y="107996"/>
                        <a:pt x="21458" y="104377"/>
                        <a:pt x="25877" y="98176"/>
                      </a:cubicBezTo>
                      <a:cubicBezTo>
                        <a:pt x="29478" y="93128"/>
                        <a:pt x="31811" y="86870"/>
                        <a:pt x="35393" y="82069"/>
                      </a:cubicBezTo>
                      <a:cubicBezTo>
                        <a:pt x="37088" y="79802"/>
                        <a:pt x="39898" y="78288"/>
                        <a:pt x="41927" y="76430"/>
                      </a:cubicBezTo>
                      <a:cubicBezTo>
                        <a:pt x="41108" y="77173"/>
                        <a:pt x="46156" y="71954"/>
                        <a:pt x="45803" y="72554"/>
                      </a:cubicBezTo>
                      <a:cubicBezTo>
                        <a:pt x="48747" y="67630"/>
                        <a:pt x="48213" y="65067"/>
                        <a:pt x="43804" y="62457"/>
                      </a:cubicBezTo>
                      <a:cubicBezTo>
                        <a:pt x="36793" y="58323"/>
                        <a:pt x="36755" y="62153"/>
                        <a:pt x="36993" y="54628"/>
                      </a:cubicBezTo>
                      <a:cubicBezTo>
                        <a:pt x="37117" y="51027"/>
                        <a:pt x="36574" y="47065"/>
                        <a:pt x="41193" y="44465"/>
                      </a:cubicBezTo>
                      <a:cubicBezTo>
                        <a:pt x="46089" y="41712"/>
                        <a:pt x="48908" y="45312"/>
                        <a:pt x="49899" y="37845"/>
                      </a:cubicBezTo>
                      <a:cubicBezTo>
                        <a:pt x="50357" y="34406"/>
                        <a:pt x="48556" y="32377"/>
                        <a:pt x="48242" y="29167"/>
                      </a:cubicBezTo>
                      <a:cubicBezTo>
                        <a:pt x="47899" y="25681"/>
                        <a:pt x="49318" y="22138"/>
                        <a:pt x="48385" y="18661"/>
                      </a:cubicBezTo>
                      <a:cubicBezTo>
                        <a:pt x="47222" y="14356"/>
                        <a:pt x="36202" y="8413"/>
                        <a:pt x="37621" y="4174"/>
                      </a:cubicBezTo>
                      <a:cubicBezTo>
                        <a:pt x="38327" y="2021"/>
                        <a:pt x="46261" y="793"/>
                        <a:pt x="48738" y="412"/>
                      </a:cubicBezTo>
                      <a:lnTo>
                        <a:pt x="48738" y="412"/>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49" name="Freeform: Shape 548">
                  <a:extLst>
                    <a:ext uri="{FF2B5EF4-FFF2-40B4-BE49-F238E27FC236}">
                      <a16:creationId xmlns:a16="http://schemas.microsoft.com/office/drawing/2014/main" id="{B5804B56-C5D1-4AC6-A0ED-05560994C865}"/>
                    </a:ext>
                  </a:extLst>
                </p:cNvPr>
                <p:cNvSpPr/>
                <p:nvPr/>
              </p:nvSpPr>
              <p:spPr>
                <a:xfrm>
                  <a:off x="9218765" y="3568662"/>
                  <a:ext cx="44384" cy="105594"/>
                </a:xfrm>
                <a:custGeom>
                  <a:avLst/>
                  <a:gdLst>
                    <a:gd name="connsiteX0" fmla="*/ 39981 w 44384"/>
                    <a:gd name="connsiteY0" fmla="*/ 83696 h 105594"/>
                    <a:gd name="connsiteX1" fmla="*/ 43620 w 44384"/>
                    <a:gd name="connsiteY1" fmla="*/ 105594 h 105594"/>
                    <a:gd name="connsiteX2" fmla="*/ 26742 w 44384"/>
                    <a:gd name="connsiteY2" fmla="*/ 89649 h 105594"/>
                    <a:gd name="connsiteX3" fmla="*/ 13712 w 44384"/>
                    <a:gd name="connsiteY3" fmla="*/ 78477 h 105594"/>
                    <a:gd name="connsiteX4" fmla="*/ 3691 w 44384"/>
                    <a:gd name="connsiteY4" fmla="*/ 59198 h 105594"/>
                    <a:gd name="connsiteX5" fmla="*/ 91 w 44384"/>
                    <a:gd name="connsiteY5" fmla="*/ 50330 h 105594"/>
                    <a:gd name="connsiteX6" fmla="*/ 2205 w 44384"/>
                    <a:gd name="connsiteY6" fmla="*/ 35957 h 105594"/>
                    <a:gd name="connsiteX7" fmla="*/ 7482 w 44384"/>
                    <a:gd name="connsiteY7" fmla="*/ 13735 h 105594"/>
                    <a:gd name="connsiteX8" fmla="*/ 11226 w 44384"/>
                    <a:gd name="connsiteY8" fmla="*/ 6077 h 105594"/>
                    <a:gd name="connsiteX9" fmla="*/ 19941 w 44384"/>
                    <a:gd name="connsiteY9" fmla="*/ 10 h 105594"/>
                    <a:gd name="connsiteX10" fmla="*/ 35410 w 44384"/>
                    <a:gd name="connsiteY10" fmla="*/ 10820 h 105594"/>
                    <a:gd name="connsiteX11" fmla="*/ 39858 w 44384"/>
                    <a:gd name="connsiteY11" fmla="*/ 30899 h 105594"/>
                    <a:gd name="connsiteX12" fmla="*/ 39981 w 44384"/>
                    <a:gd name="connsiteY12" fmla="*/ 83696 h 105594"/>
                    <a:gd name="connsiteX13" fmla="*/ 39981 w 44384"/>
                    <a:gd name="connsiteY13" fmla="*/ 83696 h 105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384" h="105594">
                      <a:moveTo>
                        <a:pt x="39981" y="83696"/>
                      </a:moveTo>
                      <a:cubicBezTo>
                        <a:pt x="38791" y="91754"/>
                        <a:pt x="42515" y="97860"/>
                        <a:pt x="43620" y="105594"/>
                      </a:cubicBezTo>
                      <a:cubicBezTo>
                        <a:pt x="36743" y="104594"/>
                        <a:pt x="32790" y="93602"/>
                        <a:pt x="26742" y="89649"/>
                      </a:cubicBezTo>
                      <a:cubicBezTo>
                        <a:pt x="20903" y="85839"/>
                        <a:pt x="18207" y="84420"/>
                        <a:pt x="13712" y="78477"/>
                      </a:cubicBezTo>
                      <a:cubicBezTo>
                        <a:pt x="8178" y="71152"/>
                        <a:pt x="6092" y="67647"/>
                        <a:pt x="3691" y="59198"/>
                      </a:cubicBezTo>
                      <a:cubicBezTo>
                        <a:pt x="2805" y="56074"/>
                        <a:pt x="491" y="53702"/>
                        <a:pt x="91" y="50330"/>
                      </a:cubicBezTo>
                      <a:cubicBezTo>
                        <a:pt x="-443" y="45930"/>
                        <a:pt x="1519" y="40272"/>
                        <a:pt x="2205" y="35957"/>
                      </a:cubicBezTo>
                      <a:cubicBezTo>
                        <a:pt x="3434" y="28165"/>
                        <a:pt x="5349" y="21193"/>
                        <a:pt x="7482" y="13735"/>
                      </a:cubicBezTo>
                      <a:cubicBezTo>
                        <a:pt x="8673" y="9573"/>
                        <a:pt x="8282" y="8887"/>
                        <a:pt x="11226" y="6077"/>
                      </a:cubicBezTo>
                      <a:cubicBezTo>
                        <a:pt x="12254" y="5086"/>
                        <a:pt x="18703" y="86"/>
                        <a:pt x="19941" y="10"/>
                      </a:cubicBezTo>
                      <a:cubicBezTo>
                        <a:pt x="25218" y="-305"/>
                        <a:pt x="34248" y="7220"/>
                        <a:pt x="35410" y="10820"/>
                      </a:cubicBezTo>
                      <a:cubicBezTo>
                        <a:pt x="37114" y="16050"/>
                        <a:pt x="39886" y="24775"/>
                        <a:pt x="39858" y="30899"/>
                      </a:cubicBezTo>
                      <a:cubicBezTo>
                        <a:pt x="39772" y="48025"/>
                        <a:pt x="50002" y="67513"/>
                        <a:pt x="39981" y="83696"/>
                      </a:cubicBezTo>
                      <a:lnTo>
                        <a:pt x="39981" y="83696"/>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50" name="Freeform: Shape 549">
                  <a:extLst>
                    <a:ext uri="{FF2B5EF4-FFF2-40B4-BE49-F238E27FC236}">
                      <a16:creationId xmlns:a16="http://schemas.microsoft.com/office/drawing/2014/main" id="{915DE708-739C-4381-9F0E-81841199D8E2}"/>
                    </a:ext>
                  </a:extLst>
                </p:cNvPr>
                <p:cNvSpPr/>
                <p:nvPr/>
              </p:nvSpPr>
              <p:spPr>
                <a:xfrm>
                  <a:off x="6314493" y="3039480"/>
                  <a:ext cx="546177" cy="196724"/>
                </a:xfrm>
                <a:custGeom>
                  <a:avLst/>
                  <a:gdLst>
                    <a:gd name="connsiteX0" fmla="*/ 243402 w 546177"/>
                    <a:gd name="connsiteY0" fmla="*/ 3764 h 196724"/>
                    <a:gd name="connsiteX1" fmla="*/ 257747 w 546177"/>
                    <a:gd name="connsiteY1" fmla="*/ 13946 h 196724"/>
                    <a:gd name="connsiteX2" fmla="*/ 273606 w 546177"/>
                    <a:gd name="connsiteY2" fmla="*/ 16451 h 196724"/>
                    <a:gd name="connsiteX3" fmla="*/ 287207 w 546177"/>
                    <a:gd name="connsiteY3" fmla="*/ 24633 h 196724"/>
                    <a:gd name="connsiteX4" fmla="*/ 294142 w 546177"/>
                    <a:gd name="connsiteY4" fmla="*/ 22871 h 196724"/>
                    <a:gd name="connsiteX5" fmla="*/ 302838 w 546177"/>
                    <a:gd name="connsiteY5" fmla="*/ 28224 h 196724"/>
                    <a:gd name="connsiteX6" fmla="*/ 322269 w 546177"/>
                    <a:gd name="connsiteY6" fmla="*/ 31424 h 196724"/>
                    <a:gd name="connsiteX7" fmla="*/ 343900 w 546177"/>
                    <a:gd name="connsiteY7" fmla="*/ 35996 h 196724"/>
                    <a:gd name="connsiteX8" fmla="*/ 363998 w 546177"/>
                    <a:gd name="connsiteY8" fmla="*/ 31272 h 196724"/>
                    <a:gd name="connsiteX9" fmla="*/ 383552 w 546177"/>
                    <a:gd name="connsiteY9" fmla="*/ 34787 h 196724"/>
                    <a:gd name="connsiteX10" fmla="*/ 416528 w 546177"/>
                    <a:gd name="connsiteY10" fmla="*/ 23119 h 196724"/>
                    <a:gd name="connsiteX11" fmla="*/ 423434 w 546177"/>
                    <a:gd name="connsiteY11" fmla="*/ 17889 h 196724"/>
                    <a:gd name="connsiteX12" fmla="*/ 430416 w 546177"/>
                    <a:gd name="connsiteY12" fmla="*/ 20013 h 196724"/>
                    <a:gd name="connsiteX13" fmla="*/ 437140 w 546177"/>
                    <a:gd name="connsiteY13" fmla="*/ 18337 h 196724"/>
                    <a:gd name="connsiteX14" fmla="*/ 445170 w 546177"/>
                    <a:gd name="connsiteY14" fmla="*/ 19289 h 196724"/>
                    <a:gd name="connsiteX15" fmla="*/ 450733 w 546177"/>
                    <a:gd name="connsiteY15" fmla="*/ 17699 h 196724"/>
                    <a:gd name="connsiteX16" fmla="*/ 455171 w 546177"/>
                    <a:gd name="connsiteY16" fmla="*/ 15527 h 196724"/>
                    <a:gd name="connsiteX17" fmla="*/ 469192 w 546177"/>
                    <a:gd name="connsiteY17" fmla="*/ 24214 h 196724"/>
                    <a:gd name="connsiteX18" fmla="*/ 469887 w 546177"/>
                    <a:gd name="connsiteY18" fmla="*/ 26462 h 196724"/>
                    <a:gd name="connsiteX19" fmla="*/ 475897 w 546177"/>
                    <a:gd name="connsiteY19" fmla="*/ 27919 h 196724"/>
                    <a:gd name="connsiteX20" fmla="*/ 484060 w 546177"/>
                    <a:gd name="connsiteY20" fmla="*/ 34872 h 196724"/>
                    <a:gd name="connsiteX21" fmla="*/ 489661 w 546177"/>
                    <a:gd name="connsiteY21" fmla="*/ 42778 h 196724"/>
                    <a:gd name="connsiteX22" fmla="*/ 487756 w 546177"/>
                    <a:gd name="connsiteY22" fmla="*/ 50855 h 196724"/>
                    <a:gd name="connsiteX23" fmla="*/ 495605 w 546177"/>
                    <a:gd name="connsiteY23" fmla="*/ 62704 h 196724"/>
                    <a:gd name="connsiteX24" fmla="*/ 514131 w 546177"/>
                    <a:gd name="connsiteY24" fmla="*/ 65543 h 196724"/>
                    <a:gd name="connsiteX25" fmla="*/ 528456 w 546177"/>
                    <a:gd name="connsiteY25" fmla="*/ 76420 h 196724"/>
                    <a:gd name="connsiteX26" fmla="*/ 520294 w 546177"/>
                    <a:gd name="connsiteY26" fmla="*/ 73277 h 196724"/>
                    <a:gd name="connsiteX27" fmla="*/ 518312 w 546177"/>
                    <a:gd name="connsiteY27" fmla="*/ 82802 h 196724"/>
                    <a:gd name="connsiteX28" fmla="*/ 510331 w 546177"/>
                    <a:gd name="connsiteY28" fmla="*/ 87927 h 196724"/>
                    <a:gd name="connsiteX29" fmla="*/ 514722 w 546177"/>
                    <a:gd name="connsiteY29" fmla="*/ 92937 h 196724"/>
                    <a:gd name="connsiteX30" fmla="*/ 515341 w 546177"/>
                    <a:gd name="connsiteY30" fmla="*/ 98052 h 196724"/>
                    <a:gd name="connsiteX31" fmla="*/ 520065 w 546177"/>
                    <a:gd name="connsiteY31" fmla="*/ 105805 h 196724"/>
                    <a:gd name="connsiteX32" fmla="*/ 523227 w 546177"/>
                    <a:gd name="connsiteY32" fmla="*/ 115187 h 196724"/>
                    <a:gd name="connsiteX33" fmla="*/ 527028 w 546177"/>
                    <a:gd name="connsiteY33" fmla="*/ 122798 h 196724"/>
                    <a:gd name="connsiteX34" fmla="*/ 530666 w 546177"/>
                    <a:gd name="connsiteY34" fmla="*/ 133780 h 196724"/>
                    <a:gd name="connsiteX35" fmla="*/ 538029 w 546177"/>
                    <a:gd name="connsiteY35" fmla="*/ 143962 h 196724"/>
                    <a:gd name="connsiteX36" fmla="*/ 546163 w 546177"/>
                    <a:gd name="connsiteY36" fmla="*/ 155430 h 196724"/>
                    <a:gd name="connsiteX37" fmla="*/ 530638 w 546177"/>
                    <a:gd name="connsiteY37" fmla="*/ 157040 h 196724"/>
                    <a:gd name="connsiteX38" fmla="*/ 524351 w 546177"/>
                    <a:gd name="connsiteY38" fmla="*/ 150049 h 196724"/>
                    <a:gd name="connsiteX39" fmla="*/ 518093 w 546177"/>
                    <a:gd name="connsiteY39" fmla="*/ 152840 h 196724"/>
                    <a:gd name="connsiteX40" fmla="*/ 510073 w 546177"/>
                    <a:gd name="connsiteY40" fmla="*/ 152220 h 196724"/>
                    <a:gd name="connsiteX41" fmla="*/ 496138 w 546177"/>
                    <a:gd name="connsiteY41" fmla="*/ 148687 h 196724"/>
                    <a:gd name="connsiteX42" fmla="*/ 488185 w 546177"/>
                    <a:gd name="connsiteY42" fmla="*/ 148191 h 196724"/>
                    <a:gd name="connsiteX43" fmla="*/ 484461 w 546177"/>
                    <a:gd name="connsiteY43" fmla="*/ 152678 h 196724"/>
                    <a:gd name="connsiteX44" fmla="*/ 473926 w 546177"/>
                    <a:gd name="connsiteY44" fmla="*/ 151049 h 196724"/>
                    <a:gd name="connsiteX45" fmla="*/ 461734 w 546177"/>
                    <a:gd name="connsiteY45" fmla="*/ 155688 h 196724"/>
                    <a:gd name="connsiteX46" fmla="*/ 429263 w 546177"/>
                    <a:gd name="connsiteY46" fmla="*/ 157831 h 196724"/>
                    <a:gd name="connsiteX47" fmla="*/ 396078 w 546177"/>
                    <a:gd name="connsiteY47" fmla="*/ 169965 h 196724"/>
                    <a:gd name="connsiteX48" fmla="*/ 379267 w 546177"/>
                    <a:gd name="connsiteY48" fmla="*/ 169594 h 196724"/>
                    <a:gd name="connsiteX49" fmla="*/ 366055 w 546177"/>
                    <a:gd name="connsiteY49" fmla="*/ 163508 h 196724"/>
                    <a:gd name="connsiteX50" fmla="*/ 334671 w 546177"/>
                    <a:gd name="connsiteY50" fmla="*/ 170775 h 196724"/>
                    <a:gd name="connsiteX51" fmla="*/ 318068 w 546177"/>
                    <a:gd name="connsiteY51" fmla="*/ 166946 h 196724"/>
                    <a:gd name="connsiteX52" fmla="*/ 321516 w 546177"/>
                    <a:gd name="connsiteY52" fmla="*/ 183139 h 196724"/>
                    <a:gd name="connsiteX53" fmla="*/ 317078 w 546177"/>
                    <a:gd name="connsiteY53" fmla="*/ 184472 h 196724"/>
                    <a:gd name="connsiteX54" fmla="*/ 315049 w 546177"/>
                    <a:gd name="connsiteY54" fmla="*/ 185539 h 196724"/>
                    <a:gd name="connsiteX55" fmla="*/ 314678 w 546177"/>
                    <a:gd name="connsiteY55" fmla="*/ 191330 h 196724"/>
                    <a:gd name="connsiteX56" fmla="*/ 310134 w 546177"/>
                    <a:gd name="connsiteY56" fmla="*/ 196664 h 196724"/>
                    <a:gd name="connsiteX57" fmla="*/ 302209 w 546177"/>
                    <a:gd name="connsiteY57" fmla="*/ 194064 h 196724"/>
                    <a:gd name="connsiteX58" fmla="*/ 297618 w 546177"/>
                    <a:gd name="connsiteY58" fmla="*/ 181672 h 196724"/>
                    <a:gd name="connsiteX59" fmla="*/ 305762 w 546177"/>
                    <a:gd name="connsiteY59" fmla="*/ 168022 h 196724"/>
                    <a:gd name="connsiteX60" fmla="*/ 285245 w 546177"/>
                    <a:gd name="connsiteY60" fmla="*/ 173137 h 196724"/>
                    <a:gd name="connsiteX61" fmla="*/ 254918 w 546177"/>
                    <a:gd name="connsiteY61" fmla="*/ 170928 h 196724"/>
                    <a:gd name="connsiteX62" fmla="*/ 230381 w 546177"/>
                    <a:gd name="connsiteY62" fmla="*/ 186749 h 196724"/>
                    <a:gd name="connsiteX63" fmla="*/ 199806 w 546177"/>
                    <a:gd name="connsiteY63" fmla="*/ 184948 h 196724"/>
                    <a:gd name="connsiteX64" fmla="*/ 188652 w 546177"/>
                    <a:gd name="connsiteY64" fmla="*/ 174557 h 196724"/>
                    <a:gd name="connsiteX65" fmla="*/ 171688 w 546177"/>
                    <a:gd name="connsiteY65" fmla="*/ 167765 h 196724"/>
                    <a:gd name="connsiteX66" fmla="*/ 156648 w 546177"/>
                    <a:gd name="connsiteY66" fmla="*/ 164727 h 196724"/>
                    <a:gd name="connsiteX67" fmla="*/ 147066 w 546177"/>
                    <a:gd name="connsiteY67" fmla="*/ 173985 h 196724"/>
                    <a:gd name="connsiteX68" fmla="*/ 143675 w 546177"/>
                    <a:gd name="connsiteY68" fmla="*/ 183777 h 196724"/>
                    <a:gd name="connsiteX69" fmla="*/ 137922 w 546177"/>
                    <a:gd name="connsiteY69" fmla="*/ 182234 h 196724"/>
                    <a:gd name="connsiteX70" fmla="*/ 127873 w 546177"/>
                    <a:gd name="connsiteY70" fmla="*/ 185863 h 196724"/>
                    <a:gd name="connsiteX71" fmla="*/ 113052 w 546177"/>
                    <a:gd name="connsiteY71" fmla="*/ 182729 h 196724"/>
                    <a:gd name="connsiteX72" fmla="*/ 103575 w 546177"/>
                    <a:gd name="connsiteY72" fmla="*/ 170451 h 196724"/>
                    <a:gd name="connsiteX73" fmla="*/ 89421 w 546177"/>
                    <a:gd name="connsiteY73" fmla="*/ 167251 h 196724"/>
                    <a:gd name="connsiteX74" fmla="*/ 81134 w 546177"/>
                    <a:gd name="connsiteY74" fmla="*/ 166889 h 196724"/>
                    <a:gd name="connsiteX75" fmla="*/ 74533 w 546177"/>
                    <a:gd name="connsiteY75" fmla="*/ 171451 h 196724"/>
                    <a:gd name="connsiteX76" fmla="*/ 75838 w 546177"/>
                    <a:gd name="connsiteY76" fmla="*/ 167765 h 196724"/>
                    <a:gd name="connsiteX77" fmla="*/ 58131 w 546177"/>
                    <a:gd name="connsiteY77" fmla="*/ 168994 h 196724"/>
                    <a:gd name="connsiteX78" fmla="*/ 70438 w 546177"/>
                    <a:gd name="connsiteY78" fmla="*/ 166013 h 196724"/>
                    <a:gd name="connsiteX79" fmla="*/ 79019 w 546177"/>
                    <a:gd name="connsiteY79" fmla="*/ 159012 h 196724"/>
                    <a:gd name="connsiteX80" fmla="*/ 55283 w 546177"/>
                    <a:gd name="connsiteY80" fmla="*/ 159374 h 196724"/>
                    <a:gd name="connsiteX81" fmla="*/ 50892 w 546177"/>
                    <a:gd name="connsiteY81" fmla="*/ 158240 h 196724"/>
                    <a:gd name="connsiteX82" fmla="*/ 58388 w 546177"/>
                    <a:gd name="connsiteY82" fmla="*/ 154764 h 196724"/>
                    <a:gd name="connsiteX83" fmla="*/ 53073 w 546177"/>
                    <a:gd name="connsiteY83" fmla="*/ 149191 h 196724"/>
                    <a:gd name="connsiteX84" fmla="*/ 46968 w 546177"/>
                    <a:gd name="connsiteY84" fmla="*/ 143534 h 196724"/>
                    <a:gd name="connsiteX85" fmla="*/ 44091 w 546177"/>
                    <a:gd name="connsiteY85" fmla="*/ 137961 h 196724"/>
                    <a:gd name="connsiteX86" fmla="*/ 47111 w 546177"/>
                    <a:gd name="connsiteY86" fmla="*/ 133418 h 196724"/>
                    <a:gd name="connsiteX87" fmla="*/ 45558 w 546177"/>
                    <a:gd name="connsiteY87" fmla="*/ 129037 h 196724"/>
                    <a:gd name="connsiteX88" fmla="*/ 36233 w 546177"/>
                    <a:gd name="connsiteY88" fmla="*/ 126636 h 196724"/>
                    <a:gd name="connsiteX89" fmla="*/ 28385 w 546177"/>
                    <a:gd name="connsiteY89" fmla="*/ 122693 h 196724"/>
                    <a:gd name="connsiteX90" fmla="*/ 21355 w 546177"/>
                    <a:gd name="connsiteY90" fmla="*/ 116835 h 196724"/>
                    <a:gd name="connsiteX91" fmla="*/ 22384 w 546177"/>
                    <a:gd name="connsiteY91" fmla="*/ 108501 h 196724"/>
                    <a:gd name="connsiteX92" fmla="*/ 28747 w 546177"/>
                    <a:gd name="connsiteY92" fmla="*/ 117845 h 196724"/>
                    <a:gd name="connsiteX93" fmla="*/ 41424 w 546177"/>
                    <a:gd name="connsiteY93" fmla="*/ 114187 h 196724"/>
                    <a:gd name="connsiteX94" fmla="*/ 30204 w 546177"/>
                    <a:gd name="connsiteY94" fmla="*/ 105253 h 196724"/>
                    <a:gd name="connsiteX95" fmla="*/ 34376 w 546177"/>
                    <a:gd name="connsiteY95" fmla="*/ 99490 h 196724"/>
                    <a:gd name="connsiteX96" fmla="*/ 29613 w 546177"/>
                    <a:gd name="connsiteY96" fmla="*/ 97318 h 196724"/>
                    <a:gd name="connsiteX97" fmla="*/ 27965 w 546177"/>
                    <a:gd name="connsiteY97" fmla="*/ 90984 h 196724"/>
                    <a:gd name="connsiteX98" fmla="*/ 26403 w 546177"/>
                    <a:gd name="connsiteY98" fmla="*/ 84945 h 196724"/>
                    <a:gd name="connsiteX99" fmla="*/ 28403 w 546177"/>
                    <a:gd name="connsiteY99" fmla="*/ 79373 h 196724"/>
                    <a:gd name="connsiteX100" fmla="*/ 17545 w 546177"/>
                    <a:gd name="connsiteY100" fmla="*/ 80650 h 196724"/>
                    <a:gd name="connsiteX101" fmla="*/ 7620 w 546177"/>
                    <a:gd name="connsiteY101" fmla="*/ 72811 h 196724"/>
                    <a:gd name="connsiteX102" fmla="*/ 7134 w 546177"/>
                    <a:gd name="connsiteY102" fmla="*/ 68448 h 196724"/>
                    <a:gd name="connsiteX103" fmla="*/ 9982 w 546177"/>
                    <a:gd name="connsiteY103" fmla="*/ 64886 h 196724"/>
                    <a:gd name="connsiteX104" fmla="*/ 16231 w 546177"/>
                    <a:gd name="connsiteY104" fmla="*/ 57513 h 196724"/>
                    <a:gd name="connsiteX105" fmla="*/ 25851 w 546177"/>
                    <a:gd name="connsiteY105" fmla="*/ 52856 h 196724"/>
                    <a:gd name="connsiteX106" fmla="*/ 35795 w 546177"/>
                    <a:gd name="connsiteY106" fmla="*/ 51046 h 196724"/>
                    <a:gd name="connsiteX107" fmla="*/ 41767 w 546177"/>
                    <a:gd name="connsiteY107" fmla="*/ 55323 h 196724"/>
                    <a:gd name="connsiteX108" fmla="*/ 51816 w 546177"/>
                    <a:gd name="connsiteY108" fmla="*/ 53380 h 196724"/>
                    <a:gd name="connsiteX109" fmla="*/ 48082 w 546177"/>
                    <a:gd name="connsiteY109" fmla="*/ 50236 h 196724"/>
                    <a:gd name="connsiteX110" fmla="*/ 54055 w 546177"/>
                    <a:gd name="connsiteY110" fmla="*/ 53427 h 196724"/>
                    <a:gd name="connsiteX111" fmla="*/ 85077 w 546177"/>
                    <a:gd name="connsiteY111" fmla="*/ 52036 h 196724"/>
                    <a:gd name="connsiteX112" fmla="*/ 77105 w 546177"/>
                    <a:gd name="connsiteY112" fmla="*/ 48579 h 196724"/>
                    <a:gd name="connsiteX113" fmla="*/ 105308 w 546177"/>
                    <a:gd name="connsiteY113" fmla="*/ 41464 h 196724"/>
                    <a:gd name="connsiteX114" fmla="*/ 86316 w 546177"/>
                    <a:gd name="connsiteY114" fmla="*/ 37282 h 196724"/>
                    <a:gd name="connsiteX115" fmla="*/ 84763 w 546177"/>
                    <a:gd name="connsiteY115" fmla="*/ 26890 h 196724"/>
                    <a:gd name="connsiteX116" fmla="*/ 105832 w 546177"/>
                    <a:gd name="connsiteY116" fmla="*/ 29062 h 196724"/>
                    <a:gd name="connsiteX117" fmla="*/ 116948 w 546177"/>
                    <a:gd name="connsiteY117" fmla="*/ 27767 h 196724"/>
                    <a:gd name="connsiteX118" fmla="*/ 129549 w 546177"/>
                    <a:gd name="connsiteY118" fmla="*/ 31072 h 196724"/>
                    <a:gd name="connsiteX119" fmla="*/ 140742 w 546177"/>
                    <a:gd name="connsiteY119" fmla="*/ 30605 h 196724"/>
                    <a:gd name="connsiteX120" fmla="*/ 146313 w 546177"/>
                    <a:gd name="connsiteY120" fmla="*/ 24614 h 196724"/>
                    <a:gd name="connsiteX121" fmla="*/ 163258 w 546177"/>
                    <a:gd name="connsiteY121" fmla="*/ 14622 h 196724"/>
                    <a:gd name="connsiteX122" fmla="*/ 201768 w 546177"/>
                    <a:gd name="connsiteY122" fmla="*/ 2316 h 196724"/>
                    <a:gd name="connsiteX123" fmla="*/ 229419 w 546177"/>
                    <a:gd name="connsiteY123" fmla="*/ 3707 h 196724"/>
                    <a:gd name="connsiteX124" fmla="*/ 243402 w 546177"/>
                    <a:gd name="connsiteY124" fmla="*/ 3764 h 196724"/>
                    <a:gd name="connsiteX125" fmla="*/ 243402 w 546177"/>
                    <a:gd name="connsiteY125" fmla="*/ 3764 h 196724"/>
                    <a:gd name="connsiteX126" fmla="*/ 30204 w 546177"/>
                    <a:gd name="connsiteY126" fmla="*/ 1621 h 196724"/>
                    <a:gd name="connsiteX127" fmla="*/ 42939 w 546177"/>
                    <a:gd name="connsiteY127" fmla="*/ 3383 h 196724"/>
                    <a:gd name="connsiteX128" fmla="*/ 51130 w 546177"/>
                    <a:gd name="connsiteY128" fmla="*/ 11536 h 196724"/>
                    <a:gd name="connsiteX129" fmla="*/ 72419 w 546177"/>
                    <a:gd name="connsiteY129" fmla="*/ 23995 h 196724"/>
                    <a:gd name="connsiteX130" fmla="*/ 80782 w 546177"/>
                    <a:gd name="connsiteY130" fmla="*/ 28033 h 196724"/>
                    <a:gd name="connsiteX131" fmla="*/ 76971 w 546177"/>
                    <a:gd name="connsiteY131" fmla="*/ 34149 h 196724"/>
                    <a:gd name="connsiteX132" fmla="*/ 56093 w 546177"/>
                    <a:gd name="connsiteY132" fmla="*/ 31691 h 196724"/>
                    <a:gd name="connsiteX133" fmla="*/ 51911 w 546177"/>
                    <a:gd name="connsiteY133" fmla="*/ 33653 h 196724"/>
                    <a:gd name="connsiteX134" fmla="*/ 45825 w 546177"/>
                    <a:gd name="connsiteY134" fmla="*/ 33520 h 196724"/>
                    <a:gd name="connsiteX135" fmla="*/ 38110 w 546177"/>
                    <a:gd name="connsiteY135" fmla="*/ 38435 h 196724"/>
                    <a:gd name="connsiteX136" fmla="*/ 21384 w 546177"/>
                    <a:gd name="connsiteY136" fmla="*/ 49741 h 196724"/>
                    <a:gd name="connsiteX137" fmla="*/ 7573 w 546177"/>
                    <a:gd name="connsiteY137" fmla="*/ 63038 h 196724"/>
                    <a:gd name="connsiteX138" fmla="*/ 9725 w 546177"/>
                    <a:gd name="connsiteY138" fmla="*/ 53713 h 196724"/>
                    <a:gd name="connsiteX139" fmla="*/ 21336 w 546177"/>
                    <a:gd name="connsiteY139" fmla="*/ 45674 h 196724"/>
                    <a:gd name="connsiteX140" fmla="*/ 0 w 546177"/>
                    <a:gd name="connsiteY140" fmla="*/ 42521 h 196724"/>
                    <a:gd name="connsiteX141" fmla="*/ 7020 w 546177"/>
                    <a:gd name="connsiteY141" fmla="*/ 35349 h 196724"/>
                    <a:gd name="connsiteX142" fmla="*/ 5972 w 546177"/>
                    <a:gd name="connsiteY142" fmla="*/ 29396 h 196724"/>
                    <a:gd name="connsiteX143" fmla="*/ 10020 w 546177"/>
                    <a:gd name="connsiteY143" fmla="*/ 23614 h 196724"/>
                    <a:gd name="connsiteX144" fmla="*/ 12992 w 546177"/>
                    <a:gd name="connsiteY144" fmla="*/ 21252 h 196724"/>
                    <a:gd name="connsiteX145" fmla="*/ 7782 w 546177"/>
                    <a:gd name="connsiteY145" fmla="*/ 13489 h 196724"/>
                    <a:gd name="connsiteX146" fmla="*/ 3400 w 546177"/>
                    <a:gd name="connsiteY146" fmla="*/ 9117 h 196724"/>
                    <a:gd name="connsiteX147" fmla="*/ 9325 w 546177"/>
                    <a:gd name="connsiteY147" fmla="*/ 3926 h 196724"/>
                    <a:gd name="connsiteX148" fmla="*/ 30204 w 546177"/>
                    <a:gd name="connsiteY148" fmla="*/ 1621 h 196724"/>
                    <a:gd name="connsiteX149" fmla="*/ 30204 w 546177"/>
                    <a:gd name="connsiteY149" fmla="*/ 1621 h 196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546177" h="196724">
                      <a:moveTo>
                        <a:pt x="243402" y="3764"/>
                      </a:moveTo>
                      <a:cubicBezTo>
                        <a:pt x="244745" y="8736"/>
                        <a:pt x="252727" y="13698"/>
                        <a:pt x="257747" y="13946"/>
                      </a:cubicBezTo>
                      <a:cubicBezTo>
                        <a:pt x="267310" y="14422"/>
                        <a:pt x="266643" y="8888"/>
                        <a:pt x="273606" y="16451"/>
                      </a:cubicBezTo>
                      <a:cubicBezTo>
                        <a:pt x="278264" y="21499"/>
                        <a:pt x="280226" y="25605"/>
                        <a:pt x="287207" y="24633"/>
                      </a:cubicBezTo>
                      <a:cubicBezTo>
                        <a:pt x="289627" y="24290"/>
                        <a:pt x="290751" y="22395"/>
                        <a:pt x="294142" y="22871"/>
                      </a:cubicBezTo>
                      <a:cubicBezTo>
                        <a:pt x="298209" y="23452"/>
                        <a:pt x="299676" y="26910"/>
                        <a:pt x="302838" y="28224"/>
                      </a:cubicBezTo>
                      <a:cubicBezTo>
                        <a:pt x="308915" y="30758"/>
                        <a:pt x="316040" y="29796"/>
                        <a:pt x="322269" y="31424"/>
                      </a:cubicBezTo>
                      <a:cubicBezTo>
                        <a:pt x="329413" y="33301"/>
                        <a:pt x="335985" y="37006"/>
                        <a:pt x="343900" y="35996"/>
                      </a:cubicBezTo>
                      <a:cubicBezTo>
                        <a:pt x="350692" y="35130"/>
                        <a:pt x="356959" y="31739"/>
                        <a:pt x="363998" y="31272"/>
                      </a:cubicBezTo>
                      <a:cubicBezTo>
                        <a:pt x="370846" y="30824"/>
                        <a:pt x="376714" y="33920"/>
                        <a:pt x="383552" y="34787"/>
                      </a:cubicBezTo>
                      <a:cubicBezTo>
                        <a:pt x="394487" y="36177"/>
                        <a:pt x="407556" y="29462"/>
                        <a:pt x="416528" y="23119"/>
                      </a:cubicBezTo>
                      <a:cubicBezTo>
                        <a:pt x="418500" y="21728"/>
                        <a:pt x="421882" y="18156"/>
                        <a:pt x="423434" y="17889"/>
                      </a:cubicBezTo>
                      <a:cubicBezTo>
                        <a:pt x="425606" y="17508"/>
                        <a:pt x="428320" y="19928"/>
                        <a:pt x="430416" y="20013"/>
                      </a:cubicBezTo>
                      <a:cubicBezTo>
                        <a:pt x="432673" y="20090"/>
                        <a:pt x="434464" y="18594"/>
                        <a:pt x="437140" y="18337"/>
                      </a:cubicBezTo>
                      <a:cubicBezTo>
                        <a:pt x="439865" y="18080"/>
                        <a:pt x="442598" y="19423"/>
                        <a:pt x="445170" y="19289"/>
                      </a:cubicBezTo>
                      <a:cubicBezTo>
                        <a:pt x="448913" y="19099"/>
                        <a:pt x="448485" y="18442"/>
                        <a:pt x="450733" y="17699"/>
                      </a:cubicBezTo>
                      <a:cubicBezTo>
                        <a:pt x="452495" y="17118"/>
                        <a:pt x="452066" y="15613"/>
                        <a:pt x="455171" y="15527"/>
                      </a:cubicBezTo>
                      <a:cubicBezTo>
                        <a:pt x="458143" y="15451"/>
                        <a:pt x="466411" y="22242"/>
                        <a:pt x="469192" y="24214"/>
                      </a:cubicBezTo>
                      <a:cubicBezTo>
                        <a:pt x="470459" y="25100"/>
                        <a:pt x="468592" y="25776"/>
                        <a:pt x="469887" y="26462"/>
                      </a:cubicBezTo>
                      <a:cubicBezTo>
                        <a:pt x="471716" y="27414"/>
                        <a:pt x="474478" y="27138"/>
                        <a:pt x="475897" y="27919"/>
                      </a:cubicBezTo>
                      <a:cubicBezTo>
                        <a:pt x="478584" y="29405"/>
                        <a:pt x="481889" y="32625"/>
                        <a:pt x="484060" y="34872"/>
                      </a:cubicBezTo>
                      <a:cubicBezTo>
                        <a:pt x="485956" y="36844"/>
                        <a:pt x="489166" y="39940"/>
                        <a:pt x="489661" y="42778"/>
                      </a:cubicBezTo>
                      <a:cubicBezTo>
                        <a:pt x="490242" y="46121"/>
                        <a:pt x="487528" y="48427"/>
                        <a:pt x="487756" y="50855"/>
                      </a:cubicBezTo>
                      <a:cubicBezTo>
                        <a:pt x="488127" y="54713"/>
                        <a:pt x="493709" y="61457"/>
                        <a:pt x="495605" y="62704"/>
                      </a:cubicBezTo>
                      <a:cubicBezTo>
                        <a:pt x="501520" y="66591"/>
                        <a:pt x="508016" y="63066"/>
                        <a:pt x="514131" y="65543"/>
                      </a:cubicBezTo>
                      <a:cubicBezTo>
                        <a:pt x="519284" y="67629"/>
                        <a:pt x="524628" y="72430"/>
                        <a:pt x="528456" y="76420"/>
                      </a:cubicBezTo>
                      <a:cubicBezTo>
                        <a:pt x="525818" y="75840"/>
                        <a:pt x="522485" y="72344"/>
                        <a:pt x="520294" y="73277"/>
                      </a:cubicBezTo>
                      <a:cubicBezTo>
                        <a:pt x="516141" y="75049"/>
                        <a:pt x="520074" y="80307"/>
                        <a:pt x="518312" y="82802"/>
                      </a:cubicBezTo>
                      <a:cubicBezTo>
                        <a:pt x="514817" y="87793"/>
                        <a:pt x="507683" y="80326"/>
                        <a:pt x="510331" y="87927"/>
                      </a:cubicBezTo>
                      <a:cubicBezTo>
                        <a:pt x="511216" y="90470"/>
                        <a:pt x="513712" y="90908"/>
                        <a:pt x="514722" y="92937"/>
                      </a:cubicBezTo>
                      <a:cubicBezTo>
                        <a:pt x="515550" y="94632"/>
                        <a:pt x="514521" y="96499"/>
                        <a:pt x="515341" y="98052"/>
                      </a:cubicBezTo>
                      <a:cubicBezTo>
                        <a:pt x="517074" y="101271"/>
                        <a:pt x="518570" y="102576"/>
                        <a:pt x="520065" y="105805"/>
                      </a:cubicBezTo>
                      <a:cubicBezTo>
                        <a:pt x="521180" y="108234"/>
                        <a:pt x="521818" y="113292"/>
                        <a:pt x="523227" y="115187"/>
                      </a:cubicBezTo>
                      <a:cubicBezTo>
                        <a:pt x="526628" y="119788"/>
                        <a:pt x="528647" y="115244"/>
                        <a:pt x="527028" y="122798"/>
                      </a:cubicBezTo>
                      <a:cubicBezTo>
                        <a:pt x="525380" y="130484"/>
                        <a:pt x="523246" y="130132"/>
                        <a:pt x="530666" y="133780"/>
                      </a:cubicBezTo>
                      <a:cubicBezTo>
                        <a:pt x="537677" y="137228"/>
                        <a:pt x="534915" y="138228"/>
                        <a:pt x="538029" y="143962"/>
                      </a:cubicBezTo>
                      <a:cubicBezTo>
                        <a:pt x="540620" y="148753"/>
                        <a:pt x="546497" y="149058"/>
                        <a:pt x="546163" y="155430"/>
                      </a:cubicBezTo>
                      <a:cubicBezTo>
                        <a:pt x="538248" y="150201"/>
                        <a:pt x="536838" y="164584"/>
                        <a:pt x="530638" y="157040"/>
                      </a:cubicBezTo>
                      <a:cubicBezTo>
                        <a:pt x="528028" y="153859"/>
                        <a:pt x="529914" y="150401"/>
                        <a:pt x="524351" y="150049"/>
                      </a:cubicBezTo>
                      <a:cubicBezTo>
                        <a:pt x="522627" y="149934"/>
                        <a:pt x="519980" y="152449"/>
                        <a:pt x="518093" y="152840"/>
                      </a:cubicBezTo>
                      <a:cubicBezTo>
                        <a:pt x="515874" y="153297"/>
                        <a:pt x="512293" y="152697"/>
                        <a:pt x="510073" y="152220"/>
                      </a:cubicBezTo>
                      <a:cubicBezTo>
                        <a:pt x="505197" y="151163"/>
                        <a:pt x="500977" y="149125"/>
                        <a:pt x="496138" y="148687"/>
                      </a:cubicBezTo>
                      <a:cubicBezTo>
                        <a:pt x="496415" y="148715"/>
                        <a:pt x="487366" y="148544"/>
                        <a:pt x="488185" y="148191"/>
                      </a:cubicBezTo>
                      <a:cubicBezTo>
                        <a:pt x="486251" y="149011"/>
                        <a:pt x="486175" y="151525"/>
                        <a:pt x="484461" y="152678"/>
                      </a:cubicBezTo>
                      <a:cubicBezTo>
                        <a:pt x="475612" y="158659"/>
                        <a:pt x="481289" y="153182"/>
                        <a:pt x="473926" y="151049"/>
                      </a:cubicBezTo>
                      <a:cubicBezTo>
                        <a:pt x="470763" y="150134"/>
                        <a:pt x="465496" y="154745"/>
                        <a:pt x="461734" y="155688"/>
                      </a:cubicBezTo>
                      <a:cubicBezTo>
                        <a:pt x="450818" y="158431"/>
                        <a:pt x="439560" y="154487"/>
                        <a:pt x="429263" y="157831"/>
                      </a:cubicBezTo>
                      <a:cubicBezTo>
                        <a:pt x="417710" y="161584"/>
                        <a:pt x="408679" y="168765"/>
                        <a:pt x="396078" y="169965"/>
                      </a:cubicBezTo>
                      <a:cubicBezTo>
                        <a:pt x="391421" y="170404"/>
                        <a:pt x="383839" y="170747"/>
                        <a:pt x="379267" y="169594"/>
                      </a:cubicBezTo>
                      <a:cubicBezTo>
                        <a:pt x="374494" y="168394"/>
                        <a:pt x="371046" y="164308"/>
                        <a:pt x="366055" y="163508"/>
                      </a:cubicBezTo>
                      <a:cubicBezTo>
                        <a:pt x="355311" y="161803"/>
                        <a:pt x="346015" y="172499"/>
                        <a:pt x="334671" y="170775"/>
                      </a:cubicBezTo>
                      <a:cubicBezTo>
                        <a:pt x="331032" y="170213"/>
                        <a:pt x="321459" y="163631"/>
                        <a:pt x="318068" y="166946"/>
                      </a:cubicBezTo>
                      <a:cubicBezTo>
                        <a:pt x="312296" y="172575"/>
                        <a:pt x="322336" y="179471"/>
                        <a:pt x="321516" y="183139"/>
                      </a:cubicBezTo>
                      <a:cubicBezTo>
                        <a:pt x="320935" y="185682"/>
                        <a:pt x="317954" y="183043"/>
                        <a:pt x="317078" y="184472"/>
                      </a:cubicBezTo>
                      <a:cubicBezTo>
                        <a:pt x="316877" y="184786"/>
                        <a:pt x="315421" y="185225"/>
                        <a:pt x="315049" y="185539"/>
                      </a:cubicBezTo>
                      <a:cubicBezTo>
                        <a:pt x="313468" y="186911"/>
                        <a:pt x="315449" y="189644"/>
                        <a:pt x="314678" y="191330"/>
                      </a:cubicBezTo>
                      <a:cubicBezTo>
                        <a:pt x="315258" y="190082"/>
                        <a:pt x="307334" y="197302"/>
                        <a:pt x="310134" y="196664"/>
                      </a:cubicBezTo>
                      <a:cubicBezTo>
                        <a:pt x="307895" y="197178"/>
                        <a:pt x="304790" y="194254"/>
                        <a:pt x="302209" y="194064"/>
                      </a:cubicBezTo>
                      <a:cubicBezTo>
                        <a:pt x="306191" y="189054"/>
                        <a:pt x="297599" y="186272"/>
                        <a:pt x="297618" y="181672"/>
                      </a:cubicBezTo>
                      <a:cubicBezTo>
                        <a:pt x="297637" y="175728"/>
                        <a:pt x="307039" y="174461"/>
                        <a:pt x="305762" y="168022"/>
                      </a:cubicBezTo>
                      <a:cubicBezTo>
                        <a:pt x="303209" y="155240"/>
                        <a:pt x="289674" y="172432"/>
                        <a:pt x="285245" y="173137"/>
                      </a:cubicBezTo>
                      <a:cubicBezTo>
                        <a:pt x="272463" y="175157"/>
                        <a:pt x="267129" y="159993"/>
                        <a:pt x="254918" y="170928"/>
                      </a:cubicBezTo>
                      <a:cubicBezTo>
                        <a:pt x="245821" y="179081"/>
                        <a:pt x="243212" y="184967"/>
                        <a:pt x="230381" y="186749"/>
                      </a:cubicBezTo>
                      <a:cubicBezTo>
                        <a:pt x="219189" y="188292"/>
                        <a:pt x="209712" y="192330"/>
                        <a:pt x="199806" y="184948"/>
                      </a:cubicBezTo>
                      <a:cubicBezTo>
                        <a:pt x="195720" y="181900"/>
                        <a:pt x="193148" y="177090"/>
                        <a:pt x="188652" y="174557"/>
                      </a:cubicBezTo>
                      <a:cubicBezTo>
                        <a:pt x="183909" y="171880"/>
                        <a:pt x="176784" y="169746"/>
                        <a:pt x="171688" y="167765"/>
                      </a:cubicBezTo>
                      <a:cubicBezTo>
                        <a:pt x="166659" y="165803"/>
                        <a:pt x="162096" y="165184"/>
                        <a:pt x="156648" y="164727"/>
                      </a:cubicBezTo>
                      <a:cubicBezTo>
                        <a:pt x="145923" y="163812"/>
                        <a:pt x="147399" y="164432"/>
                        <a:pt x="147066" y="173985"/>
                      </a:cubicBezTo>
                      <a:cubicBezTo>
                        <a:pt x="146942" y="177424"/>
                        <a:pt x="146733" y="181815"/>
                        <a:pt x="143675" y="183777"/>
                      </a:cubicBezTo>
                      <a:cubicBezTo>
                        <a:pt x="143875" y="183643"/>
                        <a:pt x="138351" y="182196"/>
                        <a:pt x="137922" y="182234"/>
                      </a:cubicBezTo>
                      <a:cubicBezTo>
                        <a:pt x="134683" y="182520"/>
                        <a:pt x="131217" y="185406"/>
                        <a:pt x="127873" y="185863"/>
                      </a:cubicBezTo>
                      <a:cubicBezTo>
                        <a:pt x="122863" y="186558"/>
                        <a:pt x="117662" y="185120"/>
                        <a:pt x="113052" y="182729"/>
                      </a:cubicBezTo>
                      <a:cubicBezTo>
                        <a:pt x="107214" y="179691"/>
                        <a:pt x="107852" y="173452"/>
                        <a:pt x="103575" y="170451"/>
                      </a:cubicBezTo>
                      <a:cubicBezTo>
                        <a:pt x="101174" y="168765"/>
                        <a:pt x="93612" y="168546"/>
                        <a:pt x="89421" y="167251"/>
                      </a:cubicBezTo>
                      <a:cubicBezTo>
                        <a:pt x="86096" y="166232"/>
                        <a:pt x="84134" y="165651"/>
                        <a:pt x="81134" y="166889"/>
                      </a:cubicBezTo>
                      <a:cubicBezTo>
                        <a:pt x="78419" y="168022"/>
                        <a:pt x="78781" y="171451"/>
                        <a:pt x="74533" y="171451"/>
                      </a:cubicBezTo>
                      <a:cubicBezTo>
                        <a:pt x="75009" y="170537"/>
                        <a:pt x="74771" y="169070"/>
                        <a:pt x="75838" y="167765"/>
                      </a:cubicBezTo>
                      <a:cubicBezTo>
                        <a:pt x="70333" y="168089"/>
                        <a:pt x="63141" y="171442"/>
                        <a:pt x="58131" y="168994"/>
                      </a:cubicBezTo>
                      <a:cubicBezTo>
                        <a:pt x="60941" y="165717"/>
                        <a:pt x="66332" y="167479"/>
                        <a:pt x="70438" y="166013"/>
                      </a:cubicBezTo>
                      <a:cubicBezTo>
                        <a:pt x="73857" y="164784"/>
                        <a:pt x="76610" y="161698"/>
                        <a:pt x="79019" y="159012"/>
                      </a:cubicBezTo>
                      <a:cubicBezTo>
                        <a:pt x="71123" y="158859"/>
                        <a:pt x="63160" y="160374"/>
                        <a:pt x="55283" y="159374"/>
                      </a:cubicBezTo>
                      <a:cubicBezTo>
                        <a:pt x="53369" y="159136"/>
                        <a:pt x="50721" y="162736"/>
                        <a:pt x="50892" y="158240"/>
                      </a:cubicBezTo>
                      <a:cubicBezTo>
                        <a:pt x="51016" y="154964"/>
                        <a:pt x="55740" y="155954"/>
                        <a:pt x="58388" y="154764"/>
                      </a:cubicBezTo>
                      <a:cubicBezTo>
                        <a:pt x="57912" y="151716"/>
                        <a:pt x="55321" y="150839"/>
                        <a:pt x="53073" y="149191"/>
                      </a:cubicBezTo>
                      <a:cubicBezTo>
                        <a:pt x="49778" y="146772"/>
                        <a:pt x="49692" y="147182"/>
                        <a:pt x="46968" y="143534"/>
                      </a:cubicBezTo>
                      <a:cubicBezTo>
                        <a:pt x="44730" y="140533"/>
                        <a:pt x="43863" y="139771"/>
                        <a:pt x="44091" y="137961"/>
                      </a:cubicBezTo>
                      <a:cubicBezTo>
                        <a:pt x="44291" y="136333"/>
                        <a:pt x="47215" y="137685"/>
                        <a:pt x="47111" y="133418"/>
                      </a:cubicBezTo>
                      <a:cubicBezTo>
                        <a:pt x="47073" y="131608"/>
                        <a:pt x="46606" y="130141"/>
                        <a:pt x="45558" y="129037"/>
                      </a:cubicBezTo>
                      <a:cubicBezTo>
                        <a:pt x="43901" y="127294"/>
                        <a:pt x="38233" y="127579"/>
                        <a:pt x="36233" y="126636"/>
                      </a:cubicBezTo>
                      <a:cubicBezTo>
                        <a:pt x="33490" y="125350"/>
                        <a:pt x="31214" y="123541"/>
                        <a:pt x="28385" y="122693"/>
                      </a:cubicBezTo>
                      <a:cubicBezTo>
                        <a:pt x="27889" y="122541"/>
                        <a:pt x="11106" y="117730"/>
                        <a:pt x="21355" y="116835"/>
                      </a:cubicBezTo>
                      <a:cubicBezTo>
                        <a:pt x="21507" y="113968"/>
                        <a:pt x="16183" y="106996"/>
                        <a:pt x="22384" y="108501"/>
                      </a:cubicBezTo>
                      <a:cubicBezTo>
                        <a:pt x="26889" y="109596"/>
                        <a:pt x="25394" y="115597"/>
                        <a:pt x="28747" y="117845"/>
                      </a:cubicBezTo>
                      <a:cubicBezTo>
                        <a:pt x="29223" y="113644"/>
                        <a:pt x="37338" y="117635"/>
                        <a:pt x="41424" y="114187"/>
                      </a:cubicBezTo>
                      <a:cubicBezTo>
                        <a:pt x="36605" y="115292"/>
                        <a:pt x="28661" y="110406"/>
                        <a:pt x="30204" y="105253"/>
                      </a:cubicBezTo>
                      <a:cubicBezTo>
                        <a:pt x="31128" y="102186"/>
                        <a:pt x="36148" y="103986"/>
                        <a:pt x="34376" y="99490"/>
                      </a:cubicBezTo>
                      <a:cubicBezTo>
                        <a:pt x="34252" y="99166"/>
                        <a:pt x="30271" y="98099"/>
                        <a:pt x="29613" y="97318"/>
                      </a:cubicBezTo>
                      <a:cubicBezTo>
                        <a:pt x="30566" y="98442"/>
                        <a:pt x="27708" y="90070"/>
                        <a:pt x="27965" y="90984"/>
                      </a:cubicBezTo>
                      <a:cubicBezTo>
                        <a:pt x="26299" y="85126"/>
                        <a:pt x="24860" y="90670"/>
                        <a:pt x="26403" y="84945"/>
                      </a:cubicBezTo>
                      <a:cubicBezTo>
                        <a:pt x="27261" y="81783"/>
                        <a:pt x="31223" y="81916"/>
                        <a:pt x="28403" y="79373"/>
                      </a:cubicBezTo>
                      <a:cubicBezTo>
                        <a:pt x="26794" y="77916"/>
                        <a:pt x="19565" y="80297"/>
                        <a:pt x="17545" y="80650"/>
                      </a:cubicBezTo>
                      <a:cubicBezTo>
                        <a:pt x="7230" y="82450"/>
                        <a:pt x="7373" y="82650"/>
                        <a:pt x="7620" y="72811"/>
                      </a:cubicBezTo>
                      <a:cubicBezTo>
                        <a:pt x="7649" y="71477"/>
                        <a:pt x="6706" y="69839"/>
                        <a:pt x="7134" y="68448"/>
                      </a:cubicBezTo>
                      <a:cubicBezTo>
                        <a:pt x="8382" y="64381"/>
                        <a:pt x="7849" y="67743"/>
                        <a:pt x="9982" y="64886"/>
                      </a:cubicBezTo>
                      <a:cubicBezTo>
                        <a:pt x="11678" y="62619"/>
                        <a:pt x="14173" y="59856"/>
                        <a:pt x="16231" y="57513"/>
                      </a:cubicBezTo>
                      <a:cubicBezTo>
                        <a:pt x="20736" y="52408"/>
                        <a:pt x="20231" y="54256"/>
                        <a:pt x="25851" y="52856"/>
                      </a:cubicBezTo>
                      <a:cubicBezTo>
                        <a:pt x="28689" y="52151"/>
                        <a:pt x="32680" y="50303"/>
                        <a:pt x="35795" y="51046"/>
                      </a:cubicBezTo>
                      <a:cubicBezTo>
                        <a:pt x="37405" y="51427"/>
                        <a:pt x="39338" y="54656"/>
                        <a:pt x="41767" y="55323"/>
                      </a:cubicBezTo>
                      <a:cubicBezTo>
                        <a:pt x="44730" y="56132"/>
                        <a:pt x="49339" y="55323"/>
                        <a:pt x="51816" y="53380"/>
                      </a:cubicBezTo>
                      <a:cubicBezTo>
                        <a:pt x="50444" y="52579"/>
                        <a:pt x="49492" y="50970"/>
                        <a:pt x="48082" y="50236"/>
                      </a:cubicBezTo>
                      <a:cubicBezTo>
                        <a:pt x="50987" y="48188"/>
                        <a:pt x="57407" y="48865"/>
                        <a:pt x="54055" y="53427"/>
                      </a:cubicBezTo>
                      <a:cubicBezTo>
                        <a:pt x="59817" y="54065"/>
                        <a:pt x="80820" y="55751"/>
                        <a:pt x="85077" y="52036"/>
                      </a:cubicBezTo>
                      <a:cubicBezTo>
                        <a:pt x="82448" y="50646"/>
                        <a:pt x="79724" y="49998"/>
                        <a:pt x="77105" y="48579"/>
                      </a:cubicBezTo>
                      <a:cubicBezTo>
                        <a:pt x="84563" y="41359"/>
                        <a:pt x="98965" y="46893"/>
                        <a:pt x="105308" y="41464"/>
                      </a:cubicBezTo>
                      <a:cubicBezTo>
                        <a:pt x="98908" y="41149"/>
                        <a:pt x="91755" y="40949"/>
                        <a:pt x="86316" y="37282"/>
                      </a:cubicBezTo>
                      <a:cubicBezTo>
                        <a:pt x="82144" y="34472"/>
                        <a:pt x="79286" y="29672"/>
                        <a:pt x="84763" y="26890"/>
                      </a:cubicBezTo>
                      <a:cubicBezTo>
                        <a:pt x="89916" y="24290"/>
                        <a:pt x="100260" y="29024"/>
                        <a:pt x="105832" y="29062"/>
                      </a:cubicBezTo>
                      <a:cubicBezTo>
                        <a:pt x="109519" y="29091"/>
                        <a:pt x="113271" y="27472"/>
                        <a:pt x="116948" y="27767"/>
                      </a:cubicBezTo>
                      <a:cubicBezTo>
                        <a:pt x="121206" y="28110"/>
                        <a:pt x="125292" y="30624"/>
                        <a:pt x="129549" y="31072"/>
                      </a:cubicBezTo>
                      <a:cubicBezTo>
                        <a:pt x="132436" y="31377"/>
                        <a:pt x="138027" y="31663"/>
                        <a:pt x="140742" y="30605"/>
                      </a:cubicBezTo>
                      <a:cubicBezTo>
                        <a:pt x="144809" y="29015"/>
                        <a:pt x="143504" y="27472"/>
                        <a:pt x="146313" y="24614"/>
                      </a:cubicBezTo>
                      <a:cubicBezTo>
                        <a:pt x="150628" y="20232"/>
                        <a:pt x="158001" y="18137"/>
                        <a:pt x="163258" y="14622"/>
                      </a:cubicBezTo>
                      <a:cubicBezTo>
                        <a:pt x="173784" y="7593"/>
                        <a:pt x="188862" y="1497"/>
                        <a:pt x="201768" y="2316"/>
                      </a:cubicBezTo>
                      <a:cubicBezTo>
                        <a:pt x="210760" y="2897"/>
                        <a:pt x="220380" y="4526"/>
                        <a:pt x="229419" y="3707"/>
                      </a:cubicBezTo>
                      <a:cubicBezTo>
                        <a:pt x="232372" y="3449"/>
                        <a:pt x="246088" y="-1970"/>
                        <a:pt x="243402" y="3764"/>
                      </a:cubicBezTo>
                      <a:lnTo>
                        <a:pt x="243402" y="3764"/>
                      </a:lnTo>
                      <a:close/>
                      <a:moveTo>
                        <a:pt x="30204" y="1621"/>
                      </a:moveTo>
                      <a:cubicBezTo>
                        <a:pt x="34776" y="6278"/>
                        <a:pt x="37824" y="3440"/>
                        <a:pt x="42939" y="3383"/>
                      </a:cubicBezTo>
                      <a:cubicBezTo>
                        <a:pt x="49768" y="3307"/>
                        <a:pt x="47320" y="5821"/>
                        <a:pt x="51130" y="11536"/>
                      </a:cubicBezTo>
                      <a:cubicBezTo>
                        <a:pt x="55931" y="18728"/>
                        <a:pt x="64732" y="21214"/>
                        <a:pt x="72419" y="23995"/>
                      </a:cubicBezTo>
                      <a:cubicBezTo>
                        <a:pt x="74962" y="24909"/>
                        <a:pt x="80296" y="26233"/>
                        <a:pt x="80782" y="28033"/>
                      </a:cubicBezTo>
                      <a:cubicBezTo>
                        <a:pt x="81696" y="31405"/>
                        <a:pt x="79277" y="33158"/>
                        <a:pt x="76971" y="34149"/>
                      </a:cubicBezTo>
                      <a:cubicBezTo>
                        <a:pt x="70961" y="36730"/>
                        <a:pt x="62655" y="30777"/>
                        <a:pt x="56093" y="31691"/>
                      </a:cubicBezTo>
                      <a:cubicBezTo>
                        <a:pt x="54521" y="31910"/>
                        <a:pt x="53378" y="33453"/>
                        <a:pt x="51911" y="33653"/>
                      </a:cubicBezTo>
                      <a:cubicBezTo>
                        <a:pt x="49949" y="33920"/>
                        <a:pt x="47854" y="33263"/>
                        <a:pt x="45825" y="33520"/>
                      </a:cubicBezTo>
                      <a:cubicBezTo>
                        <a:pt x="39662" y="34272"/>
                        <a:pt x="41215" y="34920"/>
                        <a:pt x="38110" y="38435"/>
                      </a:cubicBezTo>
                      <a:cubicBezTo>
                        <a:pt x="32833" y="44416"/>
                        <a:pt x="27813" y="45512"/>
                        <a:pt x="21384" y="49741"/>
                      </a:cubicBezTo>
                      <a:cubicBezTo>
                        <a:pt x="16145" y="53189"/>
                        <a:pt x="13659" y="61209"/>
                        <a:pt x="7573" y="63038"/>
                      </a:cubicBezTo>
                      <a:cubicBezTo>
                        <a:pt x="9001" y="59237"/>
                        <a:pt x="7373" y="56837"/>
                        <a:pt x="9725" y="53713"/>
                      </a:cubicBezTo>
                      <a:cubicBezTo>
                        <a:pt x="12773" y="49655"/>
                        <a:pt x="19155" y="50503"/>
                        <a:pt x="21336" y="45674"/>
                      </a:cubicBezTo>
                      <a:cubicBezTo>
                        <a:pt x="15412" y="45607"/>
                        <a:pt x="2495" y="49170"/>
                        <a:pt x="0" y="42521"/>
                      </a:cubicBezTo>
                      <a:cubicBezTo>
                        <a:pt x="1924" y="41654"/>
                        <a:pt x="6410" y="37463"/>
                        <a:pt x="7020" y="35349"/>
                      </a:cubicBezTo>
                      <a:cubicBezTo>
                        <a:pt x="7725" y="32901"/>
                        <a:pt x="5439" y="31596"/>
                        <a:pt x="5972" y="29396"/>
                      </a:cubicBezTo>
                      <a:cubicBezTo>
                        <a:pt x="7115" y="24719"/>
                        <a:pt x="7144" y="27614"/>
                        <a:pt x="10020" y="23614"/>
                      </a:cubicBezTo>
                      <a:cubicBezTo>
                        <a:pt x="11192" y="21985"/>
                        <a:pt x="12325" y="23538"/>
                        <a:pt x="12992" y="21252"/>
                      </a:cubicBezTo>
                      <a:cubicBezTo>
                        <a:pt x="14107" y="17451"/>
                        <a:pt x="9811" y="15222"/>
                        <a:pt x="7782" y="13489"/>
                      </a:cubicBezTo>
                      <a:cubicBezTo>
                        <a:pt x="5296" y="11365"/>
                        <a:pt x="2743" y="12374"/>
                        <a:pt x="3400" y="9117"/>
                      </a:cubicBezTo>
                      <a:cubicBezTo>
                        <a:pt x="2877" y="11698"/>
                        <a:pt x="10258" y="3478"/>
                        <a:pt x="9325" y="3926"/>
                      </a:cubicBezTo>
                      <a:cubicBezTo>
                        <a:pt x="13430" y="1964"/>
                        <a:pt x="26727" y="-2342"/>
                        <a:pt x="30204" y="1621"/>
                      </a:cubicBezTo>
                      <a:lnTo>
                        <a:pt x="30204" y="1621"/>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51" name="Freeform: Shape 550">
                  <a:extLst>
                    <a:ext uri="{FF2B5EF4-FFF2-40B4-BE49-F238E27FC236}">
                      <a16:creationId xmlns:a16="http://schemas.microsoft.com/office/drawing/2014/main" id="{7DA3B76F-E4DC-4F93-B0C9-8B7267CBD728}"/>
                    </a:ext>
                  </a:extLst>
                </p:cNvPr>
                <p:cNvSpPr/>
                <p:nvPr/>
              </p:nvSpPr>
              <p:spPr>
                <a:xfrm>
                  <a:off x="5809921" y="3188505"/>
                  <a:ext cx="118546" cy="224146"/>
                </a:xfrm>
                <a:custGeom>
                  <a:avLst/>
                  <a:gdLst>
                    <a:gd name="connsiteX0" fmla="*/ 60478 w 118546"/>
                    <a:gd name="connsiteY0" fmla="*/ 4224 h 224146"/>
                    <a:gd name="connsiteX1" fmla="*/ 61907 w 118546"/>
                    <a:gd name="connsiteY1" fmla="*/ 6625 h 224146"/>
                    <a:gd name="connsiteX2" fmla="*/ 63002 w 118546"/>
                    <a:gd name="connsiteY2" fmla="*/ 2881 h 224146"/>
                    <a:gd name="connsiteX3" fmla="*/ 69784 w 118546"/>
                    <a:gd name="connsiteY3" fmla="*/ 3329 h 224146"/>
                    <a:gd name="connsiteX4" fmla="*/ 72222 w 118546"/>
                    <a:gd name="connsiteY4" fmla="*/ 8968 h 224146"/>
                    <a:gd name="connsiteX5" fmla="*/ 78633 w 118546"/>
                    <a:gd name="connsiteY5" fmla="*/ 19131 h 224146"/>
                    <a:gd name="connsiteX6" fmla="*/ 83338 w 118546"/>
                    <a:gd name="connsiteY6" fmla="*/ 14683 h 224146"/>
                    <a:gd name="connsiteX7" fmla="*/ 89158 w 118546"/>
                    <a:gd name="connsiteY7" fmla="*/ 12768 h 224146"/>
                    <a:gd name="connsiteX8" fmla="*/ 99083 w 118546"/>
                    <a:gd name="connsiteY8" fmla="*/ 14854 h 224146"/>
                    <a:gd name="connsiteX9" fmla="*/ 89348 w 118546"/>
                    <a:gd name="connsiteY9" fmla="*/ 27456 h 224146"/>
                    <a:gd name="connsiteX10" fmla="*/ 82938 w 118546"/>
                    <a:gd name="connsiteY10" fmla="*/ 41362 h 224146"/>
                    <a:gd name="connsiteX11" fmla="*/ 97168 w 118546"/>
                    <a:gd name="connsiteY11" fmla="*/ 53468 h 224146"/>
                    <a:gd name="connsiteX12" fmla="*/ 101397 w 118546"/>
                    <a:gd name="connsiteY12" fmla="*/ 66994 h 224146"/>
                    <a:gd name="connsiteX13" fmla="*/ 90510 w 118546"/>
                    <a:gd name="connsiteY13" fmla="*/ 84015 h 224146"/>
                    <a:gd name="connsiteX14" fmla="*/ 75823 w 118546"/>
                    <a:gd name="connsiteY14" fmla="*/ 95521 h 224146"/>
                    <a:gd name="connsiteX15" fmla="*/ 92768 w 118546"/>
                    <a:gd name="connsiteY15" fmla="*/ 115171 h 224146"/>
                    <a:gd name="connsiteX16" fmla="*/ 100426 w 118546"/>
                    <a:gd name="connsiteY16" fmla="*/ 117410 h 224146"/>
                    <a:gd name="connsiteX17" fmla="*/ 109532 w 118546"/>
                    <a:gd name="connsiteY17" fmla="*/ 127859 h 224146"/>
                    <a:gd name="connsiteX18" fmla="*/ 107646 w 118546"/>
                    <a:gd name="connsiteY18" fmla="*/ 129030 h 224146"/>
                    <a:gd name="connsiteX19" fmla="*/ 115780 w 118546"/>
                    <a:gd name="connsiteY19" fmla="*/ 137965 h 224146"/>
                    <a:gd name="connsiteX20" fmla="*/ 115780 w 118546"/>
                    <a:gd name="connsiteY20" fmla="*/ 144899 h 224146"/>
                    <a:gd name="connsiteX21" fmla="*/ 118533 w 118546"/>
                    <a:gd name="connsiteY21" fmla="*/ 152662 h 224146"/>
                    <a:gd name="connsiteX22" fmla="*/ 92215 w 118546"/>
                    <a:gd name="connsiteY22" fmla="*/ 171988 h 224146"/>
                    <a:gd name="connsiteX23" fmla="*/ 85329 w 118546"/>
                    <a:gd name="connsiteY23" fmla="*/ 177427 h 224146"/>
                    <a:gd name="connsiteX24" fmla="*/ 81023 w 118546"/>
                    <a:gd name="connsiteY24" fmla="*/ 181446 h 224146"/>
                    <a:gd name="connsiteX25" fmla="*/ 83214 w 118546"/>
                    <a:gd name="connsiteY25" fmla="*/ 198868 h 224146"/>
                    <a:gd name="connsiteX26" fmla="*/ 63088 w 118546"/>
                    <a:gd name="connsiteY26" fmla="*/ 224147 h 224146"/>
                    <a:gd name="connsiteX27" fmla="*/ 48572 w 118546"/>
                    <a:gd name="connsiteY27" fmla="*/ 172464 h 224146"/>
                    <a:gd name="connsiteX28" fmla="*/ 31751 w 118546"/>
                    <a:gd name="connsiteY28" fmla="*/ 155634 h 224146"/>
                    <a:gd name="connsiteX29" fmla="*/ 24350 w 118546"/>
                    <a:gd name="connsiteY29" fmla="*/ 146080 h 224146"/>
                    <a:gd name="connsiteX30" fmla="*/ 17673 w 118546"/>
                    <a:gd name="connsiteY30" fmla="*/ 134317 h 224146"/>
                    <a:gd name="connsiteX31" fmla="*/ 7691 w 118546"/>
                    <a:gd name="connsiteY31" fmla="*/ 128954 h 224146"/>
                    <a:gd name="connsiteX32" fmla="*/ 2461 w 118546"/>
                    <a:gd name="connsiteY32" fmla="*/ 116953 h 224146"/>
                    <a:gd name="connsiteX33" fmla="*/ 6919 w 118546"/>
                    <a:gd name="connsiteY33" fmla="*/ 96579 h 224146"/>
                    <a:gd name="connsiteX34" fmla="*/ 15310 w 118546"/>
                    <a:gd name="connsiteY34" fmla="*/ 88806 h 224146"/>
                    <a:gd name="connsiteX35" fmla="*/ 20597 w 118546"/>
                    <a:gd name="connsiteY35" fmla="*/ 76909 h 224146"/>
                    <a:gd name="connsiteX36" fmla="*/ 22778 w 118546"/>
                    <a:gd name="connsiteY36" fmla="*/ 64451 h 224146"/>
                    <a:gd name="connsiteX37" fmla="*/ 20568 w 118546"/>
                    <a:gd name="connsiteY37" fmla="*/ 52221 h 224146"/>
                    <a:gd name="connsiteX38" fmla="*/ 20063 w 118546"/>
                    <a:gd name="connsiteY38" fmla="*/ 28608 h 224146"/>
                    <a:gd name="connsiteX39" fmla="*/ 17120 w 118546"/>
                    <a:gd name="connsiteY39" fmla="*/ 25627 h 224146"/>
                    <a:gd name="connsiteX40" fmla="*/ 21749 w 118546"/>
                    <a:gd name="connsiteY40" fmla="*/ 21407 h 224146"/>
                    <a:gd name="connsiteX41" fmla="*/ 26693 w 118546"/>
                    <a:gd name="connsiteY41" fmla="*/ 12863 h 224146"/>
                    <a:gd name="connsiteX42" fmla="*/ 61850 w 118546"/>
                    <a:gd name="connsiteY42" fmla="*/ 1157 h 224146"/>
                    <a:gd name="connsiteX43" fmla="*/ 60478 w 118546"/>
                    <a:gd name="connsiteY43" fmla="*/ 4224 h 224146"/>
                    <a:gd name="connsiteX44" fmla="*/ 60478 w 118546"/>
                    <a:gd name="connsiteY44" fmla="*/ 4224 h 224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8546" h="224146">
                      <a:moveTo>
                        <a:pt x="60478" y="4224"/>
                      </a:moveTo>
                      <a:cubicBezTo>
                        <a:pt x="60954" y="5024"/>
                        <a:pt x="61440" y="5824"/>
                        <a:pt x="61907" y="6625"/>
                      </a:cubicBezTo>
                      <a:cubicBezTo>
                        <a:pt x="62583" y="4291"/>
                        <a:pt x="63526" y="5777"/>
                        <a:pt x="63002" y="2881"/>
                      </a:cubicBezTo>
                      <a:cubicBezTo>
                        <a:pt x="64783" y="2653"/>
                        <a:pt x="68155" y="2319"/>
                        <a:pt x="69784" y="3329"/>
                      </a:cubicBezTo>
                      <a:cubicBezTo>
                        <a:pt x="73765" y="5815"/>
                        <a:pt x="70308" y="5577"/>
                        <a:pt x="72222" y="8968"/>
                      </a:cubicBezTo>
                      <a:cubicBezTo>
                        <a:pt x="73746" y="11692"/>
                        <a:pt x="76052" y="19074"/>
                        <a:pt x="78633" y="19131"/>
                      </a:cubicBezTo>
                      <a:cubicBezTo>
                        <a:pt x="81785" y="19207"/>
                        <a:pt x="81433" y="15950"/>
                        <a:pt x="83338" y="14683"/>
                      </a:cubicBezTo>
                      <a:cubicBezTo>
                        <a:pt x="84976" y="13606"/>
                        <a:pt x="87462" y="13797"/>
                        <a:pt x="89158" y="12768"/>
                      </a:cubicBezTo>
                      <a:cubicBezTo>
                        <a:pt x="96606" y="8244"/>
                        <a:pt x="94606" y="7777"/>
                        <a:pt x="99083" y="14854"/>
                      </a:cubicBezTo>
                      <a:cubicBezTo>
                        <a:pt x="94130" y="17169"/>
                        <a:pt x="92901" y="23884"/>
                        <a:pt x="89348" y="27456"/>
                      </a:cubicBezTo>
                      <a:cubicBezTo>
                        <a:pt x="84595" y="32228"/>
                        <a:pt x="79804" y="33180"/>
                        <a:pt x="82938" y="41362"/>
                      </a:cubicBezTo>
                      <a:cubicBezTo>
                        <a:pt x="85843" y="48954"/>
                        <a:pt x="93053" y="47839"/>
                        <a:pt x="97168" y="53468"/>
                      </a:cubicBezTo>
                      <a:cubicBezTo>
                        <a:pt x="98140" y="54792"/>
                        <a:pt x="101588" y="65841"/>
                        <a:pt x="101397" y="66994"/>
                      </a:cubicBezTo>
                      <a:cubicBezTo>
                        <a:pt x="100683" y="71395"/>
                        <a:pt x="93501" y="80605"/>
                        <a:pt x="90510" y="84015"/>
                      </a:cubicBezTo>
                      <a:cubicBezTo>
                        <a:pt x="86329" y="88787"/>
                        <a:pt x="79861" y="90873"/>
                        <a:pt x="75823" y="95521"/>
                      </a:cubicBezTo>
                      <a:cubicBezTo>
                        <a:pt x="66002" y="106837"/>
                        <a:pt x="82662" y="116314"/>
                        <a:pt x="92768" y="115171"/>
                      </a:cubicBezTo>
                      <a:cubicBezTo>
                        <a:pt x="90386" y="125677"/>
                        <a:pt x="99264" y="117162"/>
                        <a:pt x="100426" y="117410"/>
                      </a:cubicBezTo>
                      <a:cubicBezTo>
                        <a:pt x="105503" y="118448"/>
                        <a:pt x="105055" y="125401"/>
                        <a:pt x="109532" y="127859"/>
                      </a:cubicBezTo>
                      <a:cubicBezTo>
                        <a:pt x="108856" y="128240"/>
                        <a:pt x="108293" y="128621"/>
                        <a:pt x="107646" y="129030"/>
                      </a:cubicBezTo>
                      <a:cubicBezTo>
                        <a:pt x="114913" y="132259"/>
                        <a:pt x="116285" y="128335"/>
                        <a:pt x="115780" y="137965"/>
                      </a:cubicBezTo>
                      <a:cubicBezTo>
                        <a:pt x="115656" y="140194"/>
                        <a:pt x="115418" y="142680"/>
                        <a:pt x="115780" y="144899"/>
                      </a:cubicBezTo>
                      <a:cubicBezTo>
                        <a:pt x="116152" y="147213"/>
                        <a:pt x="118752" y="150842"/>
                        <a:pt x="118533" y="152662"/>
                      </a:cubicBezTo>
                      <a:cubicBezTo>
                        <a:pt x="117847" y="158577"/>
                        <a:pt x="96959" y="167006"/>
                        <a:pt x="92215" y="171988"/>
                      </a:cubicBezTo>
                      <a:cubicBezTo>
                        <a:pt x="89501" y="174826"/>
                        <a:pt x="88301" y="175322"/>
                        <a:pt x="85329" y="177427"/>
                      </a:cubicBezTo>
                      <a:cubicBezTo>
                        <a:pt x="83357" y="178827"/>
                        <a:pt x="82595" y="178903"/>
                        <a:pt x="81023" y="181446"/>
                      </a:cubicBezTo>
                      <a:cubicBezTo>
                        <a:pt x="77175" y="187695"/>
                        <a:pt x="82043" y="192295"/>
                        <a:pt x="83214" y="198868"/>
                      </a:cubicBezTo>
                      <a:cubicBezTo>
                        <a:pt x="85586" y="212088"/>
                        <a:pt x="72765" y="219099"/>
                        <a:pt x="63088" y="224147"/>
                      </a:cubicBezTo>
                      <a:cubicBezTo>
                        <a:pt x="58240" y="206916"/>
                        <a:pt x="53382" y="189695"/>
                        <a:pt x="48572" y="172464"/>
                      </a:cubicBezTo>
                      <a:cubicBezTo>
                        <a:pt x="45981" y="163158"/>
                        <a:pt x="39485" y="160987"/>
                        <a:pt x="31751" y="155634"/>
                      </a:cubicBezTo>
                      <a:cubicBezTo>
                        <a:pt x="26883" y="152262"/>
                        <a:pt x="26512" y="151128"/>
                        <a:pt x="24350" y="146080"/>
                      </a:cubicBezTo>
                      <a:cubicBezTo>
                        <a:pt x="22597" y="142013"/>
                        <a:pt x="21283" y="137231"/>
                        <a:pt x="17673" y="134317"/>
                      </a:cubicBezTo>
                      <a:cubicBezTo>
                        <a:pt x="14806" y="132002"/>
                        <a:pt x="10148" y="131878"/>
                        <a:pt x="7691" y="128954"/>
                      </a:cubicBezTo>
                      <a:cubicBezTo>
                        <a:pt x="5442" y="126287"/>
                        <a:pt x="3947" y="120324"/>
                        <a:pt x="2461" y="116953"/>
                      </a:cubicBezTo>
                      <a:cubicBezTo>
                        <a:pt x="-2082" y="106675"/>
                        <a:pt x="-187" y="103903"/>
                        <a:pt x="6919" y="96579"/>
                      </a:cubicBezTo>
                      <a:cubicBezTo>
                        <a:pt x="9948" y="93454"/>
                        <a:pt x="11777" y="91740"/>
                        <a:pt x="15310" y="88806"/>
                      </a:cubicBezTo>
                      <a:cubicBezTo>
                        <a:pt x="19749" y="85129"/>
                        <a:pt x="19540" y="82139"/>
                        <a:pt x="20597" y="76909"/>
                      </a:cubicBezTo>
                      <a:cubicBezTo>
                        <a:pt x="21569" y="72109"/>
                        <a:pt x="22959" y="68823"/>
                        <a:pt x="22778" y="64451"/>
                      </a:cubicBezTo>
                      <a:cubicBezTo>
                        <a:pt x="22607" y="60726"/>
                        <a:pt x="21254" y="56002"/>
                        <a:pt x="20568" y="52221"/>
                      </a:cubicBezTo>
                      <a:cubicBezTo>
                        <a:pt x="19130" y="44343"/>
                        <a:pt x="21349" y="36238"/>
                        <a:pt x="20063" y="28608"/>
                      </a:cubicBezTo>
                      <a:cubicBezTo>
                        <a:pt x="19759" y="26798"/>
                        <a:pt x="17006" y="27837"/>
                        <a:pt x="17120" y="25627"/>
                      </a:cubicBezTo>
                      <a:cubicBezTo>
                        <a:pt x="17158" y="24951"/>
                        <a:pt x="20940" y="22198"/>
                        <a:pt x="21749" y="21407"/>
                      </a:cubicBezTo>
                      <a:cubicBezTo>
                        <a:pt x="23931" y="19283"/>
                        <a:pt x="28512" y="15816"/>
                        <a:pt x="26693" y="12863"/>
                      </a:cubicBezTo>
                      <a:cubicBezTo>
                        <a:pt x="36513" y="10158"/>
                        <a:pt x="50972" y="-4110"/>
                        <a:pt x="61850" y="1157"/>
                      </a:cubicBezTo>
                      <a:cubicBezTo>
                        <a:pt x="61611" y="2234"/>
                        <a:pt x="61173" y="3338"/>
                        <a:pt x="60478" y="4224"/>
                      </a:cubicBezTo>
                      <a:lnTo>
                        <a:pt x="60478" y="4224"/>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52" name="Freeform: Shape 551">
                  <a:extLst>
                    <a:ext uri="{FF2B5EF4-FFF2-40B4-BE49-F238E27FC236}">
                      <a16:creationId xmlns:a16="http://schemas.microsoft.com/office/drawing/2014/main" id="{29C18AA2-9FCD-4C91-AB3F-FCEBD240DCF2}"/>
                    </a:ext>
                  </a:extLst>
                </p:cNvPr>
                <p:cNvSpPr/>
                <p:nvPr/>
              </p:nvSpPr>
              <p:spPr>
                <a:xfrm>
                  <a:off x="9503930" y="4627345"/>
                  <a:ext cx="77847" cy="37178"/>
                </a:xfrm>
                <a:custGeom>
                  <a:avLst/>
                  <a:gdLst>
                    <a:gd name="connsiteX0" fmla="*/ 77847 w 77847"/>
                    <a:gd name="connsiteY0" fmla="*/ 2917 h 37178"/>
                    <a:gd name="connsiteX1" fmla="*/ 41023 w 77847"/>
                    <a:gd name="connsiteY1" fmla="*/ 20576 h 37178"/>
                    <a:gd name="connsiteX2" fmla="*/ 2218 w 77847"/>
                    <a:gd name="connsiteY2" fmla="*/ 37178 h 37178"/>
                    <a:gd name="connsiteX3" fmla="*/ 504 w 77847"/>
                    <a:gd name="connsiteY3" fmla="*/ 27787 h 37178"/>
                    <a:gd name="connsiteX4" fmla="*/ 6019 w 77847"/>
                    <a:gd name="connsiteY4" fmla="*/ 21176 h 37178"/>
                    <a:gd name="connsiteX5" fmla="*/ 504 w 77847"/>
                    <a:gd name="connsiteY5" fmla="*/ 22567 h 37178"/>
                    <a:gd name="connsiteX6" fmla="*/ 3533 w 77847"/>
                    <a:gd name="connsiteY6" fmla="*/ 17299 h 37178"/>
                    <a:gd name="connsiteX7" fmla="*/ 16135 w 77847"/>
                    <a:gd name="connsiteY7" fmla="*/ 7936 h 37178"/>
                    <a:gd name="connsiteX8" fmla="*/ 53006 w 77847"/>
                    <a:gd name="connsiteY8" fmla="*/ 4431 h 37178"/>
                    <a:gd name="connsiteX9" fmla="*/ 77847 w 77847"/>
                    <a:gd name="connsiteY9" fmla="*/ 2917 h 37178"/>
                    <a:gd name="connsiteX10" fmla="*/ 77847 w 77847"/>
                    <a:gd name="connsiteY10" fmla="*/ 2917 h 37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47" h="37178">
                      <a:moveTo>
                        <a:pt x="77847" y="2917"/>
                      </a:moveTo>
                      <a:cubicBezTo>
                        <a:pt x="66769" y="11451"/>
                        <a:pt x="54006" y="16595"/>
                        <a:pt x="41023" y="20576"/>
                      </a:cubicBezTo>
                      <a:cubicBezTo>
                        <a:pt x="27841" y="24605"/>
                        <a:pt x="13820" y="29110"/>
                        <a:pt x="2218" y="37178"/>
                      </a:cubicBezTo>
                      <a:cubicBezTo>
                        <a:pt x="2418" y="34292"/>
                        <a:pt x="-744" y="30254"/>
                        <a:pt x="504" y="27787"/>
                      </a:cubicBezTo>
                      <a:cubicBezTo>
                        <a:pt x="1199" y="26424"/>
                        <a:pt x="11534" y="25786"/>
                        <a:pt x="6019" y="21176"/>
                      </a:cubicBezTo>
                      <a:cubicBezTo>
                        <a:pt x="5047" y="20366"/>
                        <a:pt x="1971" y="24443"/>
                        <a:pt x="504" y="22567"/>
                      </a:cubicBezTo>
                      <a:cubicBezTo>
                        <a:pt x="-1382" y="20157"/>
                        <a:pt x="2561" y="18662"/>
                        <a:pt x="3533" y="17299"/>
                      </a:cubicBezTo>
                      <a:cubicBezTo>
                        <a:pt x="7019" y="12480"/>
                        <a:pt x="10401" y="9680"/>
                        <a:pt x="16135" y="7936"/>
                      </a:cubicBezTo>
                      <a:cubicBezTo>
                        <a:pt x="28479" y="4174"/>
                        <a:pt x="40518" y="6098"/>
                        <a:pt x="53006" y="4431"/>
                      </a:cubicBezTo>
                      <a:cubicBezTo>
                        <a:pt x="61045" y="3336"/>
                        <a:pt x="70608" y="-3960"/>
                        <a:pt x="77847" y="2917"/>
                      </a:cubicBezTo>
                      <a:lnTo>
                        <a:pt x="77847" y="2917"/>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53" name="Freeform: Shape 552">
                  <a:extLst>
                    <a:ext uri="{FF2B5EF4-FFF2-40B4-BE49-F238E27FC236}">
                      <a16:creationId xmlns:a16="http://schemas.microsoft.com/office/drawing/2014/main" id="{7D541979-A10D-4C15-A422-437C431DAD30}"/>
                    </a:ext>
                  </a:extLst>
                </p:cNvPr>
                <p:cNvSpPr/>
                <p:nvPr/>
              </p:nvSpPr>
              <p:spPr>
                <a:xfrm>
                  <a:off x="7037989" y="3017365"/>
                  <a:ext cx="436211" cy="239563"/>
                </a:xfrm>
                <a:custGeom>
                  <a:avLst/>
                  <a:gdLst>
                    <a:gd name="connsiteX0" fmla="*/ 160653 w 436211"/>
                    <a:gd name="connsiteY0" fmla="*/ 3229 h 239563"/>
                    <a:gd name="connsiteX1" fmla="*/ 175245 w 436211"/>
                    <a:gd name="connsiteY1" fmla="*/ 9115 h 239563"/>
                    <a:gd name="connsiteX2" fmla="*/ 183056 w 436211"/>
                    <a:gd name="connsiteY2" fmla="*/ 14707 h 239563"/>
                    <a:gd name="connsiteX3" fmla="*/ 194362 w 436211"/>
                    <a:gd name="connsiteY3" fmla="*/ 15135 h 239563"/>
                    <a:gd name="connsiteX4" fmla="*/ 201744 w 436211"/>
                    <a:gd name="connsiteY4" fmla="*/ 23155 h 239563"/>
                    <a:gd name="connsiteX5" fmla="*/ 204573 w 436211"/>
                    <a:gd name="connsiteY5" fmla="*/ 26708 h 239563"/>
                    <a:gd name="connsiteX6" fmla="*/ 210421 w 436211"/>
                    <a:gd name="connsiteY6" fmla="*/ 30480 h 239563"/>
                    <a:gd name="connsiteX7" fmla="*/ 207907 w 436211"/>
                    <a:gd name="connsiteY7" fmla="*/ 33033 h 239563"/>
                    <a:gd name="connsiteX8" fmla="*/ 210792 w 436211"/>
                    <a:gd name="connsiteY8" fmla="*/ 38853 h 239563"/>
                    <a:gd name="connsiteX9" fmla="*/ 211935 w 436211"/>
                    <a:gd name="connsiteY9" fmla="*/ 43444 h 239563"/>
                    <a:gd name="connsiteX10" fmla="*/ 221746 w 436211"/>
                    <a:gd name="connsiteY10" fmla="*/ 48006 h 239563"/>
                    <a:gd name="connsiteX11" fmla="*/ 238815 w 436211"/>
                    <a:gd name="connsiteY11" fmla="*/ 48997 h 239563"/>
                    <a:gd name="connsiteX12" fmla="*/ 246016 w 436211"/>
                    <a:gd name="connsiteY12" fmla="*/ 50054 h 239563"/>
                    <a:gd name="connsiteX13" fmla="*/ 251379 w 436211"/>
                    <a:gd name="connsiteY13" fmla="*/ 47377 h 239563"/>
                    <a:gd name="connsiteX14" fmla="*/ 279896 w 436211"/>
                    <a:gd name="connsiteY14" fmla="*/ 70790 h 239563"/>
                    <a:gd name="connsiteX15" fmla="*/ 292917 w 436211"/>
                    <a:gd name="connsiteY15" fmla="*/ 87325 h 239563"/>
                    <a:gd name="connsiteX16" fmla="*/ 310167 w 436211"/>
                    <a:gd name="connsiteY16" fmla="*/ 97298 h 239563"/>
                    <a:gd name="connsiteX17" fmla="*/ 344962 w 436211"/>
                    <a:gd name="connsiteY17" fmla="*/ 117177 h 239563"/>
                    <a:gd name="connsiteX18" fmla="*/ 363602 w 436211"/>
                    <a:gd name="connsiteY18" fmla="*/ 124635 h 239563"/>
                    <a:gd name="connsiteX19" fmla="*/ 378947 w 436211"/>
                    <a:gd name="connsiteY19" fmla="*/ 131931 h 239563"/>
                    <a:gd name="connsiteX20" fmla="*/ 400283 w 436211"/>
                    <a:gd name="connsiteY20" fmla="*/ 142827 h 239563"/>
                    <a:gd name="connsiteX21" fmla="*/ 415304 w 436211"/>
                    <a:gd name="connsiteY21" fmla="*/ 144475 h 239563"/>
                    <a:gd name="connsiteX22" fmla="*/ 432125 w 436211"/>
                    <a:gd name="connsiteY22" fmla="*/ 151571 h 239563"/>
                    <a:gd name="connsiteX23" fmla="*/ 432296 w 436211"/>
                    <a:gd name="connsiteY23" fmla="*/ 160211 h 239563"/>
                    <a:gd name="connsiteX24" fmla="*/ 436211 w 436211"/>
                    <a:gd name="connsiteY24" fmla="*/ 171040 h 239563"/>
                    <a:gd name="connsiteX25" fmla="*/ 410617 w 436211"/>
                    <a:gd name="connsiteY25" fmla="*/ 165706 h 239563"/>
                    <a:gd name="connsiteX26" fmla="*/ 403969 w 436211"/>
                    <a:gd name="connsiteY26" fmla="*/ 174231 h 239563"/>
                    <a:gd name="connsiteX27" fmla="*/ 390301 w 436211"/>
                    <a:gd name="connsiteY27" fmla="*/ 177898 h 239563"/>
                    <a:gd name="connsiteX28" fmla="*/ 390387 w 436211"/>
                    <a:gd name="connsiteY28" fmla="*/ 193005 h 239563"/>
                    <a:gd name="connsiteX29" fmla="*/ 385833 w 436211"/>
                    <a:gd name="connsiteY29" fmla="*/ 207016 h 239563"/>
                    <a:gd name="connsiteX30" fmla="*/ 365745 w 436211"/>
                    <a:gd name="connsiteY30" fmla="*/ 216370 h 239563"/>
                    <a:gd name="connsiteX31" fmla="*/ 355753 w 436211"/>
                    <a:gd name="connsiteY31" fmla="*/ 219637 h 239563"/>
                    <a:gd name="connsiteX32" fmla="*/ 358401 w 436211"/>
                    <a:gd name="connsiteY32" fmla="*/ 223257 h 239563"/>
                    <a:gd name="connsiteX33" fmla="*/ 357411 w 436211"/>
                    <a:gd name="connsiteY33" fmla="*/ 228181 h 239563"/>
                    <a:gd name="connsiteX34" fmla="*/ 349562 w 436211"/>
                    <a:gd name="connsiteY34" fmla="*/ 236753 h 239563"/>
                    <a:gd name="connsiteX35" fmla="*/ 339104 w 436211"/>
                    <a:gd name="connsiteY35" fmla="*/ 239563 h 239563"/>
                    <a:gd name="connsiteX36" fmla="*/ 329807 w 436211"/>
                    <a:gd name="connsiteY36" fmla="*/ 232505 h 239563"/>
                    <a:gd name="connsiteX37" fmla="*/ 315606 w 436211"/>
                    <a:gd name="connsiteY37" fmla="*/ 231000 h 239563"/>
                    <a:gd name="connsiteX38" fmla="*/ 299089 w 436211"/>
                    <a:gd name="connsiteY38" fmla="*/ 214760 h 239563"/>
                    <a:gd name="connsiteX39" fmla="*/ 288250 w 436211"/>
                    <a:gd name="connsiteY39" fmla="*/ 193329 h 239563"/>
                    <a:gd name="connsiteX40" fmla="*/ 269343 w 436211"/>
                    <a:gd name="connsiteY40" fmla="*/ 193415 h 239563"/>
                    <a:gd name="connsiteX41" fmla="*/ 258951 w 436211"/>
                    <a:gd name="connsiteY41" fmla="*/ 184556 h 239563"/>
                    <a:gd name="connsiteX42" fmla="*/ 233605 w 436211"/>
                    <a:gd name="connsiteY42" fmla="*/ 170602 h 239563"/>
                    <a:gd name="connsiteX43" fmla="*/ 212031 w 436211"/>
                    <a:gd name="connsiteY43" fmla="*/ 161334 h 239563"/>
                    <a:gd name="connsiteX44" fmla="*/ 201315 w 436211"/>
                    <a:gd name="connsiteY44" fmla="*/ 161630 h 239563"/>
                    <a:gd name="connsiteX45" fmla="*/ 187133 w 436211"/>
                    <a:gd name="connsiteY45" fmla="*/ 154924 h 239563"/>
                    <a:gd name="connsiteX46" fmla="*/ 173188 w 436211"/>
                    <a:gd name="connsiteY46" fmla="*/ 152152 h 239563"/>
                    <a:gd name="connsiteX47" fmla="*/ 166311 w 436211"/>
                    <a:gd name="connsiteY47" fmla="*/ 144866 h 239563"/>
                    <a:gd name="connsiteX48" fmla="*/ 139889 w 436211"/>
                    <a:gd name="connsiteY48" fmla="*/ 145218 h 239563"/>
                    <a:gd name="connsiteX49" fmla="*/ 137927 w 436211"/>
                    <a:gd name="connsiteY49" fmla="*/ 148142 h 239563"/>
                    <a:gd name="connsiteX50" fmla="*/ 131326 w 436211"/>
                    <a:gd name="connsiteY50" fmla="*/ 147923 h 239563"/>
                    <a:gd name="connsiteX51" fmla="*/ 114733 w 436211"/>
                    <a:gd name="connsiteY51" fmla="*/ 148914 h 239563"/>
                    <a:gd name="connsiteX52" fmla="*/ 102760 w 436211"/>
                    <a:gd name="connsiteY52" fmla="*/ 159220 h 239563"/>
                    <a:gd name="connsiteX53" fmla="*/ 95331 w 436211"/>
                    <a:gd name="connsiteY53" fmla="*/ 168974 h 239563"/>
                    <a:gd name="connsiteX54" fmla="*/ 79224 w 436211"/>
                    <a:gd name="connsiteY54" fmla="*/ 170088 h 239563"/>
                    <a:gd name="connsiteX55" fmla="*/ 71689 w 436211"/>
                    <a:gd name="connsiteY55" fmla="*/ 151800 h 239563"/>
                    <a:gd name="connsiteX56" fmla="*/ 63841 w 436211"/>
                    <a:gd name="connsiteY56" fmla="*/ 120682 h 239563"/>
                    <a:gd name="connsiteX57" fmla="*/ 40991 w 436211"/>
                    <a:gd name="connsiteY57" fmla="*/ 110681 h 239563"/>
                    <a:gd name="connsiteX58" fmla="*/ 40009 w 436211"/>
                    <a:gd name="connsiteY58" fmla="*/ 99860 h 239563"/>
                    <a:gd name="connsiteX59" fmla="*/ 50839 w 436211"/>
                    <a:gd name="connsiteY59" fmla="*/ 101794 h 239563"/>
                    <a:gd name="connsiteX60" fmla="*/ 46048 w 436211"/>
                    <a:gd name="connsiteY60" fmla="*/ 97955 h 239563"/>
                    <a:gd name="connsiteX61" fmla="*/ 44200 w 436211"/>
                    <a:gd name="connsiteY61" fmla="*/ 90383 h 239563"/>
                    <a:gd name="connsiteX62" fmla="*/ 29560 w 436211"/>
                    <a:gd name="connsiteY62" fmla="*/ 87916 h 239563"/>
                    <a:gd name="connsiteX63" fmla="*/ 32904 w 436211"/>
                    <a:gd name="connsiteY63" fmla="*/ 94640 h 239563"/>
                    <a:gd name="connsiteX64" fmla="*/ 18406 w 436211"/>
                    <a:gd name="connsiteY64" fmla="*/ 54826 h 239563"/>
                    <a:gd name="connsiteX65" fmla="*/ 28008 w 436211"/>
                    <a:gd name="connsiteY65" fmla="*/ 62141 h 239563"/>
                    <a:gd name="connsiteX66" fmla="*/ 39838 w 436211"/>
                    <a:gd name="connsiteY66" fmla="*/ 62341 h 239563"/>
                    <a:gd name="connsiteX67" fmla="*/ 50535 w 436211"/>
                    <a:gd name="connsiteY67" fmla="*/ 66180 h 239563"/>
                    <a:gd name="connsiteX68" fmla="*/ 61403 w 436211"/>
                    <a:gd name="connsiteY68" fmla="*/ 65694 h 239563"/>
                    <a:gd name="connsiteX69" fmla="*/ 67841 w 436211"/>
                    <a:gd name="connsiteY69" fmla="*/ 60255 h 239563"/>
                    <a:gd name="connsiteX70" fmla="*/ 63879 w 436211"/>
                    <a:gd name="connsiteY70" fmla="*/ 51054 h 239563"/>
                    <a:gd name="connsiteX71" fmla="*/ 48744 w 436211"/>
                    <a:gd name="connsiteY71" fmla="*/ 42434 h 239563"/>
                    <a:gd name="connsiteX72" fmla="*/ 38723 w 436211"/>
                    <a:gd name="connsiteY72" fmla="*/ 29451 h 239563"/>
                    <a:gd name="connsiteX73" fmla="*/ 29160 w 436211"/>
                    <a:gd name="connsiteY73" fmla="*/ 20393 h 239563"/>
                    <a:gd name="connsiteX74" fmla="*/ 13654 w 436211"/>
                    <a:gd name="connsiteY74" fmla="*/ 21955 h 239563"/>
                    <a:gd name="connsiteX75" fmla="*/ 14282 w 436211"/>
                    <a:gd name="connsiteY75" fmla="*/ 49730 h 239563"/>
                    <a:gd name="connsiteX76" fmla="*/ 5062 w 436211"/>
                    <a:gd name="connsiteY76" fmla="*/ 39900 h 239563"/>
                    <a:gd name="connsiteX77" fmla="*/ 2871 w 436211"/>
                    <a:gd name="connsiteY77" fmla="*/ 26289 h 239563"/>
                    <a:gd name="connsiteX78" fmla="*/ 31885 w 436211"/>
                    <a:gd name="connsiteY78" fmla="*/ 14316 h 239563"/>
                    <a:gd name="connsiteX79" fmla="*/ 80329 w 436211"/>
                    <a:gd name="connsiteY79" fmla="*/ 43177 h 239563"/>
                    <a:gd name="connsiteX80" fmla="*/ 106037 w 436211"/>
                    <a:gd name="connsiteY80" fmla="*/ 46206 h 239563"/>
                    <a:gd name="connsiteX81" fmla="*/ 130516 w 436211"/>
                    <a:gd name="connsiteY81" fmla="*/ 44996 h 239563"/>
                    <a:gd name="connsiteX82" fmla="*/ 123524 w 436211"/>
                    <a:gd name="connsiteY82" fmla="*/ 34947 h 239563"/>
                    <a:gd name="connsiteX83" fmla="*/ 125430 w 436211"/>
                    <a:gd name="connsiteY83" fmla="*/ 22917 h 239563"/>
                    <a:gd name="connsiteX84" fmla="*/ 137584 w 436211"/>
                    <a:gd name="connsiteY84" fmla="*/ 19345 h 239563"/>
                    <a:gd name="connsiteX85" fmla="*/ 143061 w 436211"/>
                    <a:gd name="connsiteY85" fmla="*/ 9620 h 239563"/>
                    <a:gd name="connsiteX86" fmla="*/ 157377 w 436211"/>
                    <a:gd name="connsiteY86" fmla="*/ 13811 h 239563"/>
                    <a:gd name="connsiteX87" fmla="*/ 145356 w 436211"/>
                    <a:gd name="connsiteY87" fmla="*/ 4743 h 239563"/>
                    <a:gd name="connsiteX88" fmla="*/ 155671 w 436211"/>
                    <a:gd name="connsiteY88" fmla="*/ 0 h 239563"/>
                    <a:gd name="connsiteX89" fmla="*/ 160653 w 436211"/>
                    <a:gd name="connsiteY89" fmla="*/ 3229 h 239563"/>
                    <a:gd name="connsiteX90" fmla="*/ 160653 w 436211"/>
                    <a:gd name="connsiteY90" fmla="*/ 3229 h 239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436211" h="239563">
                      <a:moveTo>
                        <a:pt x="160653" y="3229"/>
                      </a:moveTo>
                      <a:cubicBezTo>
                        <a:pt x="165739" y="6906"/>
                        <a:pt x="170207" y="6515"/>
                        <a:pt x="175245" y="9115"/>
                      </a:cubicBezTo>
                      <a:cubicBezTo>
                        <a:pt x="178474" y="10782"/>
                        <a:pt x="179198" y="13554"/>
                        <a:pt x="183056" y="14707"/>
                      </a:cubicBezTo>
                      <a:cubicBezTo>
                        <a:pt x="186704" y="15802"/>
                        <a:pt x="190695" y="14278"/>
                        <a:pt x="194362" y="15135"/>
                      </a:cubicBezTo>
                      <a:cubicBezTo>
                        <a:pt x="201134" y="16716"/>
                        <a:pt x="198944" y="18917"/>
                        <a:pt x="201744" y="23155"/>
                      </a:cubicBezTo>
                      <a:cubicBezTo>
                        <a:pt x="203296" y="25517"/>
                        <a:pt x="201963" y="24384"/>
                        <a:pt x="204573" y="26708"/>
                      </a:cubicBezTo>
                      <a:cubicBezTo>
                        <a:pt x="206164" y="28127"/>
                        <a:pt x="209278" y="28232"/>
                        <a:pt x="210421" y="30480"/>
                      </a:cubicBezTo>
                      <a:cubicBezTo>
                        <a:pt x="210716" y="31061"/>
                        <a:pt x="207697" y="30775"/>
                        <a:pt x="207907" y="33033"/>
                      </a:cubicBezTo>
                      <a:cubicBezTo>
                        <a:pt x="207964" y="33614"/>
                        <a:pt x="210488" y="38291"/>
                        <a:pt x="210792" y="38853"/>
                      </a:cubicBezTo>
                      <a:cubicBezTo>
                        <a:pt x="211545" y="40291"/>
                        <a:pt x="210716" y="41767"/>
                        <a:pt x="211935" y="43444"/>
                      </a:cubicBezTo>
                      <a:cubicBezTo>
                        <a:pt x="213002" y="44901"/>
                        <a:pt x="220223" y="47549"/>
                        <a:pt x="221746" y="48006"/>
                      </a:cubicBezTo>
                      <a:cubicBezTo>
                        <a:pt x="227290" y="49673"/>
                        <a:pt x="232977" y="48197"/>
                        <a:pt x="238815" y="48997"/>
                      </a:cubicBezTo>
                      <a:cubicBezTo>
                        <a:pt x="240968" y="49292"/>
                        <a:pt x="243901" y="50349"/>
                        <a:pt x="246016" y="50054"/>
                      </a:cubicBezTo>
                      <a:cubicBezTo>
                        <a:pt x="248683" y="49682"/>
                        <a:pt x="248874" y="47606"/>
                        <a:pt x="251379" y="47377"/>
                      </a:cubicBezTo>
                      <a:cubicBezTo>
                        <a:pt x="265228" y="46120"/>
                        <a:pt x="271733" y="63360"/>
                        <a:pt x="279896" y="70790"/>
                      </a:cubicBezTo>
                      <a:cubicBezTo>
                        <a:pt x="285488" y="75876"/>
                        <a:pt x="287841" y="81934"/>
                        <a:pt x="292917" y="87325"/>
                      </a:cubicBezTo>
                      <a:cubicBezTo>
                        <a:pt x="297280" y="91945"/>
                        <a:pt x="304604" y="94440"/>
                        <a:pt x="310167" y="97298"/>
                      </a:cubicBezTo>
                      <a:cubicBezTo>
                        <a:pt x="322111" y="103451"/>
                        <a:pt x="332979" y="111347"/>
                        <a:pt x="344962" y="117177"/>
                      </a:cubicBezTo>
                      <a:cubicBezTo>
                        <a:pt x="351915" y="120558"/>
                        <a:pt x="356735" y="120672"/>
                        <a:pt x="363602" y="124635"/>
                      </a:cubicBezTo>
                      <a:cubicBezTo>
                        <a:pt x="368555" y="127492"/>
                        <a:pt x="373823" y="129407"/>
                        <a:pt x="378947" y="131931"/>
                      </a:cubicBezTo>
                      <a:cubicBezTo>
                        <a:pt x="385472" y="135141"/>
                        <a:pt x="393139" y="141494"/>
                        <a:pt x="400283" y="142827"/>
                      </a:cubicBezTo>
                      <a:cubicBezTo>
                        <a:pt x="405741" y="143837"/>
                        <a:pt x="409427" y="142142"/>
                        <a:pt x="415304" y="144475"/>
                      </a:cubicBezTo>
                      <a:cubicBezTo>
                        <a:pt x="418057" y="145571"/>
                        <a:pt x="430801" y="149342"/>
                        <a:pt x="432125" y="151571"/>
                      </a:cubicBezTo>
                      <a:cubicBezTo>
                        <a:pt x="433154" y="153314"/>
                        <a:pt x="431925" y="157753"/>
                        <a:pt x="432296" y="160211"/>
                      </a:cubicBezTo>
                      <a:cubicBezTo>
                        <a:pt x="432849" y="163887"/>
                        <a:pt x="434592" y="167726"/>
                        <a:pt x="436211" y="171040"/>
                      </a:cubicBezTo>
                      <a:cubicBezTo>
                        <a:pt x="430410" y="170879"/>
                        <a:pt x="413646" y="162744"/>
                        <a:pt x="410617" y="165706"/>
                      </a:cubicBezTo>
                      <a:cubicBezTo>
                        <a:pt x="405436" y="170774"/>
                        <a:pt x="414447" y="173107"/>
                        <a:pt x="403969" y="174231"/>
                      </a:cubicBezTo>
                      <a:cubicBezTo>
                        <a:pt x="400054" y="174650"/>
                        <a:pt x="393006" y="173898"/>
                        <a:pt x="390301" y="177898"/>
                      </a:cubicBezTo>
                      <a:cubicBezTo>
                        <a:pt x="388425" y="180680"/>
                        <a:pt x="390301" y="189538"/>
                        <a:pt x="390387" y="193005"/>
                      </a:cubicBezTo>
                      <a:cubicBezTo>
                        <a:pt x="390539" y="199454"/>
                        <a:pt x="390920" y="202530"/>
                        <a:pt x="385833" y="207016"/>
                      </a:cubicBezTo>
                      <a:cubicBezTo>
                        <a:pt x="379261" y="212808"/>
                        <a:pt x="374994" y="213570"/>
                        <a:pt x="365745" y="216370"/>
                      </a:cubicBezTo>
                      <a:cubicBezTo>
                        <a:pt x="362592" y="217332"/>
                        <a:pt x="356897" y="217208"/>
                        <a:pt x="355753" y="219637"/>
                      </a:cubicBezTo>
                      <a:cubicBezTo>
                        <a:pt x="355506" y="220170"/>
                        <a:pt x="358325" y="222514"/>
                        <a:pt x="358401" y="223257"/>
                      </a:cubicBezTo>
                      <a:cubicBezTo>
                        <a:pt x="358497" y="223980"/>
                        <a:pt x="357735" y="227086"/>
                        <a:pt x="357411" y="228181"/>
                      </a:cubicBezTo>
                      <a:cubicBezTo>
                        <a:pt x="356449" y="231534"/>
                        <a:pt x="354106" y="235115"/>
                        <a:pt x="349562" y="236753"/>
                      </a:cubicBezTo>
                      <a:cubicBezTo>
                        <a:pt x="348439" y="237154"/>
                        <a:pt x="339114" y="239563"/>
                        <a:pt x="339104" y="239563"/>
                      </a:cubicBezTo>
                      <a:cubicBezTo>
                        <a:pt x="336275" y="238973"/>
                        <a:pt x="333065" y="233810"/>
                        <a:pt x="329807" y="232505"/>
                      </a:cubicBezTo>
                      <a:cubicBezTo>
                        <a:pt x="324902" y="230543"/>
                        <a:pt x="320683" y="232610"/>
                        <a:pt x="315606" y="231000"/>
                      </a:cubicBezTo>
                      <a:cubicBezTo>
                        <a:pt x="307300" y="228381"/>
                        <a:pt x="301928" y="222161"/>
                        <a:pt x="299089" y="214760"/>
                      </a:cubicBezTo>
                      <a:cubicBezTo>
                        <a:pt x="296727" y="208617"/>
                        <a:pt x="295889" y="195691"/>
                        <a:pt x="288250" y="193329"/>
                      </a:cubicBezTo>
                      <a:cubicBezTo>
                        <a:pt x="282478" y="191548"/>
                        <a:pt x="275010" y="195282"/>
                        <a:pt x="269343" y="193415"/>
                      </a:cubicBezTo>
                      <a:cubicBezTo>
                        <a:pt x="265333" y="192100"/>
                        <a:pt x="262323" y="187262"/>
                        <a:pt x="258951" y="184556"/>
                      </a:cubicBezTo>
                      <a:cubicBezTo>
                        <a:pt x="251112" y="178260"/>
                        <a:pt x="240777" y="177813"/>
                        <a:pt x="233605" y="170602"/>
                      </a:cubicBezTo>
                      <a:cubicBezTo>
                        <a:pt x="227500" y="164478"/>
                        <a:pt x="221489" y="161211"/>
                        <a:pt x="212031" y="161334"/>
                      </a:cubicBezTo>
                      <a:cubicBezTo>
                        <a:pt x="208269" y="161382"/>
                        <a:pt x="205087" y="162201"/>
                        <a:pt x="201315" y="161630"/>
                      </a:cubicBezTo>
                      <a:cubicBezTo>
                        <a:pt x="196629" y="160915"/>
                        <a:pt x="192000" y="156353"/>
                        <a:pt x="187133" y="154924"/>
                      </a:cubicBezTo>
                      <a:cubicBezTo>
                        <a:pt x="183084" y="153734"/>
                        <a:pt x="176760" y="154191"/>
                        <a:pt x="173188" y="152152"/>
                      </a:cubicBezTo>
                      <a:cubicBezTo>
                        <a:pt x="169797" y="150219"/>
                        <a:pt x="169768" y="147009"/>
                        <a:pt x="166311" y="144866"/>
                      </a:cubicBezTo>
                      <a:cubicBezTo>
                        <a:pt x="159853" y="140846"/>
                        <a:pt x="145356" y="142380"/>
                        <a:pt x="139889" y="145218"/>
                      </a:cubicBezTo>
                      <a:cubicBezTo>
                        <a:pt x="139565" y="145390"/>
                        <a:pt x="139450" y="147457"/>
                        <a:pt x="137927" y="148142"/>
                      </a:cubicBezTo>
                      <a:cubicBezTo>
                        <a:pt x="136384" y="148838"/>
                        <a:pt x="133078" y="148009"/>
                        <a:pt x="131326" y="147923"/>
                      </a:cubicBezTo>
                      <a:cubicBezTo>
                        <a:pt x="125610" y="147638"/>
                        <a:pt x="120210" y="146676"/>
                        <a:pt x="114733" y="148914"/>
                      </a:cubicBezTo>
                      <a:cubicBezTo>
                        <a:pt x="110438" y="150686"/>
                        <a:pt x="104684" y="154886"/>
                        <a:pt x="102760" y="159220"/>
                      </a:cubicBezTo>
                      <a:cubicBezTo>
                        <a:pt x="99540" y="166478"/>
                        <a:pt x="102989" y="166126"/>
                        <a:pt x="95331" y="168974"/>
                      </a:cubicBezTo>
                      <a:cubicBezTo>
                        <a:pt x="90473" y="170774"/>
                        <a:pt x="83539" y="173622"/>
                        <a:pt x="79224" y="170088"/>
                      </a:cubicBezTo>
                      <a:cubicBezTo>
                        <a:pt x="75643" y="167164"/>
                        <a:pt x="72966" y="156172"/>
                        <a:pt x="71689" y="151800"/>
                      </a:cubicBezTo>
                      <a:cubicBezTo>
                        <a:pt x="69032" y="142647"/>
                        <a:pt x="68937" y="128683"/>
                        <a:pt x="63841" y="120682"/>
                      </a:cubicBezTo>
                      <a:cubicBezTo>
                        <a:pt x="61031" y="116281"/>
                        <a:pt x="45029" y="102156"/>
                        <a:pt x="40991" y="110681"/>
                      </a:cubicBezTo>
                      <a:cubicBezTo>
                        <a:pt x="38142" y="107499"/>
                        <a:pt x="38362" y="103603"/>
                        <a:pt x="40009" y="99860"/>
                      </a:cubicBezTo>
                      <a:cubicBezTo>
                        <a:pt x="42981" y="102413"/>
                        <a:pt x="47134" y="102679"/>
                        <a:pt x="50839" y="101794"/>
                      </a:cubicBezTo>
                      <a:cubicBezTo>
                        <a:pt x="50020" y="100784"/>
                        <a:pt x="46420" y="98708"/>
                        <a:pt x="46048" y="97955"/>
                      </a:cubicBezTo>
                      <a:cubicBezTo>
                        <a:pt x="45248" y="96355"/>
                        <a:pt x="44924" y="91164"/>
                        <a:pt x="44200" y="90383"/>
                      </a:cubicBezTo>
                      <a:cubicBezTo>
                        <a:pt x="41534" y="87506"/>
                        <a:pt x="33295" y="88040"/>
                        <a:pt x="29560" y="87916"/>
                      </a:cubicBezTo>
                      <a:cubicBezTo>
                        <a:pt x="29037" y="90688"/>
                        <a:pt x="30599" y="92983"/>
                        <a:pt x="32904" y="94640"/>
                      </a:cubicBezTo>
                      <a:cubicBezTo>
                        <a:pt x="18369" y="84639"/>
                        <a:pt x="18416" y="70752"/>
                        <a:pt x="18406" y="54826"/>
                      </a:cubicBezTo>
                      <a:cubicBezTo>
                        <a:pt x="21055" y="57874"/>
                        <a:pt x="24046" y="61008"/>
                        <a:pt x="28008" y="62141"/>
                      </a:cubicBezTo>
                      <a:cubicBezTo>
                        <a:pt x="32532" y="63427"/>
                        <a:pt x="35828" y="60808"/>
                        <a:pt x="39838" y="62341"/>
                      </a:cubicBezTo>
                      <a:cubicBezTo>
                        <a:pt x="45096" y="64351"/>
                        <a:pt x="44286" y="66618"/>
                        <a:pt x="50535" y="66180"/>
                      </a:cubicBezTo>
                      <a:cubicBezTo>
                        <a:pt x="54364" y="65913"/>
                        <a:pt x="57479" y="65599"/>
                        <a:pt x="61403" y="65694"/>
                      </a:cubicBezTo>
                      <a:cubicBezTo>
                        <a:pt x="52287" y="58512"/>
                        <a:pt x="65984" y="62370"/>
                        <a:pt x="67841" y="60255"/>
                      </a:cubicBezTo>
                      <a:cubicBezTo>
                        <a:pt x="70366" y="57379"/>
                        <a:pt x="66031" y="52978"/>
                        <a:pt x="63879" y="51054"/>
                      </a:cubicBezTo>
                      <a:cubicBezTo>
                        <a:pt x="59574" y="47206"/>
                        <a:pt x="53335" y="45968"/>
                        <a:pt x="48744" y="42434"/>
                      </a:cubicBezTo>
                      <a:cubicBezTo>
                        <a:pt x="44267" y="38976"/>
                        <a:pt x="41877" y="34042"/>
                        <a:pt x="38723" y="29451"/>
                      </a:cubicBezTo>
                      <a:cubicBezTo>
                        <a:pt x="35866" y="25279"/>
                        <a:pt x="34056" y="21565"/>
                        <a:pt x="29160" y="20393"/>
                      </a:cubicBezTo>
                      <a:cubicBezTo>
                        <a:pt x="26132" y="19669"/>
                        <a:pt x="16035" y="20698"/>
                        <a:pt x="13654" y="21955"/>
                      </a:cubicBezTo>
                      <a:cubicBezTo>
                        <a:pt x="4462" y="26765"/>
                        <a:pt x="11320" y="42939"/>
                        <a:pt x="14282" y="49730"/>
                      </a:cubicBezTo>
                      <a:cubicBezTo>
                        <a:pt x="11234" y="46511"/>
                        <a:pt x="7986" y="43225"/>
                        <a:pt x="5062" y="39900"/>
                      </a:cubicBezTo>
                      <a:cubicBezTo>
                        <a:pt x="223" y="34414"/>
                        <a:pt x="-2329" y="31976"/>
                        <a:pt x="2871" y="26289"/>
                      </a:cubicBezTo>
                      <a:cubicBezTo>
                        <a:pt x="10101" y="18393"/>
                        <a:pt x="21455" y="15345"/>
                        <a:pt x="31885" y="14316"/>
                      </a:cubicBezTo>
                      <a:cubicBezTo>
                        <a:pt x="52278" y="12297"/>
                        <a:pt x="66194" y="32118"/>
                        <a:pt x="80329" y="43177"/>
                      </a:cubicBezTo>
                      <a:cubicBezTo>
                        <a:pt x="88577" y="49625"/>
                        <a:pt x="96073" y="45730"/>
                        <a:pt x="106037" y="46206"/>
                      </a:cubicBezTo>
                      <a:cubicBezTo>
                        <a:pt x="110266" y="46406"/>
                        <a:pt x="129649" y="50292"/>
                        <a:pt x="130516" y="44996"/>
                      </a:cubicBezTo>
                      <a:cubicBezTo>
                        <a:pt x="130440" y="45434"/>
                        <a:pt x="123811" y="35652"/>
                        <a:pt x="123524" y="34947"/>
                      </a:cubicBezTo>
                      <a:cubicBezTo>
                        <a:pt x="121382" y="29642"/>
                        <a:pt x="120905" y="27099"/>
                        <a:pt x="125430" y="22917"/>
                      </a:cubicBezTo>
                      <a:cubicBezTo>
                        <a:pt x="129916" y="18764"/>
                        <a:pt x="131983" y="21546"/>
                        <a:pt x="137584" y="19345"/>
                      </a:cubicBezTo>
                      <a:cubicBezTo>
                        <a:pt x="143984" y="16831"/>
                        <a:pt x="138974" y="12468"/>
                        <a:pt x="143061" y="9620"/>
                      </a:cubicBezTo>
                      <a:cubicBezTo>
                        <a:pt x="146375" y="7325"/>
                        <a:pt x="158567" y="16735"/>
                        <a:pt x="157377" y="13811"/>
                      </a:cubicBezTo>
                      <a:cubicBezTo>
                        <a:pt x="156310" y="11201"/>
                        <a:pt x="145137" y="6839"/>
                        <a:pt x="145356" y="4743"/>
                      </a:cubicBezTo>
                      <a:cubicBezTo>
                        <a:pt x="145909" y="-448"/>
                        <a:pt x="155967" y="7877"/>
                        <a:pt x="155671" y="0"/>
                      </a:cubicBezTo>
                      <a:cubicBezTo>
                        <a:pt x="157233" y="1019"/>
                        <a:pt x="159339" y="1924"/>
                        <a:pt x="160653" y="3229"/>
                      </a:cubicBezTo>
                      <a:lnTo>
                        <a:pt x="160653" y="3229"/>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54" name="Freeform: Shape 553">
                  <a:extLst>
                    <a:ext uri="{FF2B5EF4-FFF2-40B4-BE49-F238E27FC236}">
                      <a16:creationId xmlns:a16="http://schemas.microsoft.com/office/drawing/2014/main" id="{71F2C28A-03C4-42A5-B0C6-D793D5927B5A}"/>
                    </a:ext>
                  </a:extLst>
                </p:cNvPr>
                <p:cNvSpPr/>
                <p:nvPr/>
              </p:nvSpPr>
              <p:spPr>
                <a:xfrm>
                  <a:off x="7474588" y="3073028"/>
                  <a:ext cx="241835" cy="135651"/>
                </a:xfrm>
                <a:custGeom>
                  <a:avLst/>
                  <a:gdLst>
                    <a:gd name="connsiteX0" fmla="*/ 77174 w 241835"/>
                    <a:gd name="connsiteY0" fmla="*/ 11040 h 135651"/>
                    <a:gd name="connsiteX1" fmla="*/ 71601 w 241835"/>
                    <a:gd name="connsiteY1" fmla="*/ 19765 h 135651"/>
                    <a:gd name="connsiteX2" fmla="*/ 80136 w 241835"/>
                    <a:gd name="connsiteY2" fmla="*/ 25118 h 135651"/>
                    <a:gd name="connsiteX3" fmla="*/ 90013 w 241835"/>
                    <a:gd name="connsiteY3" fmla="*/ 25433 h 135651"/>
                    <a:gd name="connsiteX4" fmla="*/ 83041 w 241835"/>
                    <a:gd name="connsiteY4" fmla="*/ 32662 h 135651"/>
                    <a:gd name="connsiteX5" fmla="*/ 74068 w 241835"/>
                    <a:gd name="connsiteY5" fmla="*/ 29109 h 135651"/>
                    <a:gd name="connsiteX6" fmla="*/ 58247 w 241835"/>
                    <a:gd name="connsiteY6" fmla="*/ 26699 h 135651"/>
                    <a:gd name="connsiteX7" fmla="*/ 51361 w 241835"/>
                    <a:gd name="connsiteY7" fmla="*/ 31919 h 135651"/>
                    <a:gd name="connsiteX8" fmla="*/ 47189 w 241835"/>
                    <a:gd name="connsiteY8" fmla="*/ 32853 h 135651"/>
                    <a:gd name="connsiteX9" fmla="*/ 55742 w 241835"/>
                    <a:gd name="connsiteY9" fmla="*/ 46616 h 135651"/>
                    <a:gd name="connsiteX10" fmla="*/ 75125 w 241835"/>
                    <a:gd name="connsiteY10" fmla="*/ 45778 h 135651"/>
                    <a:gd name="connsiteX11" fmla="*/ 87794 w 241835"/>
                    <a:gd name="connsiteY11" fmla="*/ 45388 h 135651"/>
                    <a:gd name="connsiteX12" fmla="*/ 94804 w 241835"/>
                    <a:gd name="connsiteY12" fmla="*/ 50683 h 135651"/>
                    <a:gd name="connsiteX13" fmla="*/ 102243 w 241835"/>
                    <a:gd name="connsiteY13" fmla="*/ 47635 h 135651"/>
                    <a:gd name="connsiteX14" fmla="*/ 113559 w 241835"/>
                    <a:gd name="connsiteY14" fmla="*/ 45511 h 135651"/>
                    <a:gd name="connsiteX15" fmla="*/ 116007 w 241835"/>
                    <a:gd name="connsiteY15" fmla="*/ 49064 h 135651"/>
                    <a:gd name="connsiteX16" fmla="*/ 120417 w 241835"/>
                    <a:gd name="connsiteY16" fmla="*/ 49588 h 135651"/>
                    <a:gd name="connsiteX17" fmla="*/ 122465 w 241835"/>
                    <a:gd name="connsiteY17" fmla="*/ 52627 h 135651"/>
                    <a:gd name="connsiteX18" fmla="*/ 129704 w 241835"/>
                    <a:gd name="connsiteY18" fmla="*/ 52312 h 135651"/>
                    <a:gd name="connsiteX19" fmla="*/ 137372 w 241835"/>
                    <a:gd name="connsiteY19" fmla="*/ 56360 h 135651"/>
                    <a:gd name="connsiteX20" fmla="*/ 142649 w 241835"/>
                    <a:gd name="connsiteY20" fmla="*/ 52293 h 135651"/>
                    <a:gd name="connsiteX21" fmla="*/ 153154 w 241835"/>
                    <a:gd name="connsiteY21" fmla="*/ 51893 h 135651"/>
                    <a:gd name="connsiteX22" fmla="*/ 162594 w 241835"/>
                    <a:gd name="connsiteY22" fmla="*/ 51750 h 135651"/>
                    <a:gd name="connsiteX23" fmla="*/ 170909 w 241835"/>
                    <a:gd name="connsiteY23" fmla="*/ 48883 h 135651"/>
                    <a:gd name="connsiteX24" fmla="*/ 175862 w 241835"/>
                    <a:gd name="connsiteY24" fmla="*/ 53789 h 135651"/>
                    <a:gd name="connsiteX25" fmla="*/ 182044 w 241835"/>
                    <a:gd name="connsiteY25" fmla="*/ 61542 h 135651"/>
                    <a:gd name="connsiteX26" fmla="*/ 185340 w 241835"/>
                    <a:gd name="connsiteY26" fmla="*/ 70086 h 135651"/>
                    <a:gd name="connsiteX27" fmla="*/ 192150 w 241835"/>
                    <a:gd name="connsiteY27" fmla="*/ 77068 h 135651"/>
                    <a:gd name="connsiteX28" fmla="*/ 197960 w 241835"/>
                    <a:gd name="connsiteY28" fmla="*/ 74410 h 135651"/>
                    <a:gd name="connsiteX29" fmla="*/ 218106 w 241835"/>
                    <a:gd name="connsiteY29" fmla="*/ 79163 h 135651"/>
                    <a:gd name="connsiteX30" fmla="*/ 221477 w 241835"/>
                    <a:gd name="connsiteY30" fmla="*/ 86898 h 135651"/>
                    <a:gd name="connsiteX31" fmla="*/ 228145 w 241835"/>
                    <a:gd name="connsiteY31" fmla="*/ 96146 h 135651"/>
                    <a:gd name="connsiteX32" fmla="*/ 236022 w 241835"/>
                    <a:gd name="connsiteY32" fmla="*/ 109300 h 135651"/>
                    <a:gd name="connsiteX33" fmla="*/ 241784 w 241835"/>
                    <a:gd name="connsiteY33" fmla="*/ 115130 h 135651"/>
                    <a:gd name="connsiteX34" fmla="*/ 236050 w 241835"/>
                    <a:gd name="connsiteY34" fmla="*/ 117930 h 135651"/>
                    <a:gd name="connsiteX35" fmla="*/ 217791 w 241835"/>
                    <a:gd name="connsiteY35" fmla="*/ 113329 h 135651"/>
                    <a:gd name="connsiteX36" fmla="*/ 211971 w 241835"/>
                    <a:gd name="connsiteY36" fmla="*/ 116930 h 135651"/>
                    <a:gd name="connsiteX37" fmla="*/ 201865 w 241835"/>
                    <a:gd name="connsiteY37" fmla="*/ 118244 h 135651"/>
                    <a:gd name="connsiteX38" fmla="*/ 202951 w 241835"/>
                    <a:gd name="connsiteY38" fmla="*/ 114168 h 135651"/>
                    <a:gd name="connsiteX39" fmla="*/ 197294 w 241835"/>
                    <a:gd name="connsiteY39" fmla="*/ 112044 h 135651"/>
                    <a:gd name="connsiteX40" fmla="*/ 178072 w 241835"/>
                    <a:gd name="connsiteY40" fmla="*/ 120892 h 135651"/>
                    <a:gd name="connsiteX41" fmla="*/ 176853 w 241835"/>
                    <a:gd name="connsiteY41" fmla="*/ 125350 h 135651"/>
                    <a:gd name="connsiteX42" fmla="*/ 170109 w 241835"/>
                    <a:gd name="connsiteY42" fmla="*/ 126712 h 135651"/>
                    <a:gd name="connsiteX43" fmla="*/ 161108 w 241835"/>
                    <a:gd name="connsiteY43" fmla="*/ 132389 h 135651"/>
                    <a:gd name="connsiteX44" fmla="*/ 146573 w 241835"/>
                    <a:gd name="connsiteY44" fmla="*/ 130360 h 135651"/>
                    <a:gd name="connsiteX45" fmla="*/ 137857 w 241835"/>
                    <a:gd name="connsiteY45" fmla="*/ 109053 h 135651"/>
                    <a:gd name="connsiteX46" fmla="*/ 136400 w 241835"/>
                    <a:gd name="connsiteY46" fmla="*/ 99632 h 135651"/>
                    <a:gd name="connsiteX47" fmla="*/ 131123 w 241835"/>
                    <a:gd name="connsiteY47" fmla="*/ 97680 h 135651"/>
                    <a:gd name="connsiteX48" fmla="*/ 126227 w 241835"/>
                    <a:gd name="connsiteY48" fmla="*/ 93984 h 135651"/>
                    <a:gd name="connsiteX49" fmla="*/ 121093 w 241835"/>
                    <a:gd name="connsiteY49" fmla="*/ 84764 h 135651"/>
                    <a:gd name="connsiteX50" fmla="*/ 103539 w 241835"/>
                    <a:gd name="connsiteY50" fmla="*/ 84754 h 135651"/>
                    <a:gd name="connsiteX51" fmla="*/ 99776 w 241835"/>
                    <a:gd name="connsiteY51" fmla="*/ 94641 h 135651"/>
                    <a:gd name="connsiteX52" fmla="*/ 99538 w 241835"/>
                    <a:gd name="connsiteY52" fmla="*/ 101233 h 135651"/>
                    <a:gd name="connsiteX53" fmla="*/ 90080 w 241835"/>
                    <a:gd name="connsiteY53" fmla="*/ 107233 h 135651"/>
                    <a:gd name="connsiteX54" fmla="*/ 80660 w 241835"/>
                    <a:gd name="connsiteY54" fmla="*/ 109862 h 135651"/>
                    <a:gd name="connsiteX55" fmla="*/ 82850 w 241835"/>
                    <a:gd name="connsiteY55" fmla="*/ 119168 h 135651"/>
                    <a:gd name="connsiteX56" fmla="*/ 69725 w 241835"/>
                    <a:gd name="connsiteY56" fmla="*/ 116663 h 135651"/>
                    <a:gd name="connsiteX57" fmla="*/ 49370 w 241835"/>
                    <a:gd name="connsiteY57" fmla="*/ 126798 h 135651"/>
                    <a:gd name="connsiteX58" fmla="*/ 36825 w 241835"/>
                    <a:gd name="connsiteY58" fmla="*/ 118692 h 135651"/>
                    <a:gd name="connsiteX59" fmla="*/ 39321 w 241835"/>
                    <a:gd name="connsiteY59" fmla="*/ 97756 h 135651"/>
                    <a:gd name="connsiteX60" fmla="*/ 37588 w 241835"/>
                    <a:gd name="connsiteY60" fmla="*/ 85583 h 135651"/>
                    <a:gd name="connsiteX61" fmla="*/ 29796 w 241835"/>
                    <a:gd name="connsiteY61" fmla="*/ 78125 h 135651"/>
                    <a:gd name="connsiteX62" fmla="*/ 27729 w 241835"/>
                    <a:gd name="connsiteY62" fmla="*/ 66781 h 135651"/>
                    <a:gd name="connsiteX63" fmla="*/ 13547 w 241835"/>
                    <a:gd name="connsiteY63" fmla="*/ 63428 h 135651"/>
                    <a:gd name="connsiteX64" fmla="*/ 9460 w 241835"/>
                    <a:gd name="connsiteY64" fmla="*/ 58513 h 135651"/>
                    <a:gd name="connsiteX65" fmla="*/ 1317 w 241835"/>
                    <a:gd name="connsiteY65" fmla="*/ 55579 h 135651"/>
                    <a:gd name="connsiteX66" fmla="*/ 9679 w 241835"/>
                    <a:gd name="connsiteY66" fmla="*/ 44197 h 135651"/>
                    <a:gd name="connsiteX67" fmla="*/ 29177 w 241835"/>
                    <a:gd name="connsiteY67" fmla="*/ 46159 h 135651"/>
                    <a:gd name="connsiteX68" fmla="*/ 30235 w 241835"/>
                    <a:gd name="connsiteY68" fmla="*/ 37634 h 135651"/>
                    <a:gd name="connsiteX69" fmla="*/ 33225 w 241835"/>
                    <a:gd name="connsiteY69" fmla="*/ 34863 h 135651"/>
                    <a:gd name="connsiteX70" fmla="*/ 35454 w 241835"/>
                    <a:gd name="connsiteY70" fmla="*/ 35272 h 135651"/>
                    <a:gd name="connsiteX71" fmla="*/ 33016 w 241835"/>
                    <a:gd name="connsiteY71" fmla="*/ 32243 h 135651"/>
                    <a:gd name="connsiteX72" fmla="*/ 34863 w 241835"/>
                    <a:gd name="connsiteY72" fmla="*/ 29690 h 135651"/>
                    <a:gd name="connsiteX73" fmla="*/ 35825 w 241835"/>
                    <a:gd name="connsiteY73" fmla="*/ 28071 h 135651"/>
                    <a:gd name="connsiteX74" fmla="*/ 30691 w 241835"/>
                    <a:gd name="connsiteY74" fmla="*/ 27833 h 135651"/>
                    <a:gd name="connsiteX75" fmla="*/ 30253 w 241835"/>
                    <a:gd name="connsiteY75" fmla="*/ 25452 h 135651"/>
                    <a:gd name="connsiteX76" fmla="*/ 43455 w 241835"/>
                    <a:gd name="connsiteY76" fmla="*/ 25595 h 135651"/>
                    <a:gd name="connsiteX77" fmla="*/ 40807 w 241835"/>
                    <a:gd name="connsiteY77" fmla="*/ 22756 h 135651"/>
                    <a:gd name="connsiteX78" fmla="*/ 42788 w 241835"/>
                    <a:gd name="connsiteY78" fmla="*/ 22489 h 135651"/>
                    <a:gd name="connsiteX79" fmla="*/ 37016 w 241835"/>
                    <a:gd name="connsiteY79" fmla="*/ 13984 h 135651"/>
                    <a:gd name="connsiteX80" fmla="*/ 38311 w 241835"/>
                    <a:gd name="connsiteY80" fmla="*/ 8335 h 135651"/>
                    <a:gd name="connsiteX81" fmla="*/ 44960 w 241835"/>
                    <a:gd name="connsiteY81" fmla="*/ 9050 h 135651"/>
                    <a:gd name="connsiteX82" fmla="*/ 59600 w 241835"/>
                    <a:gd name="connsiteY82" fmla="*/ 5983 h 135651"/>
                    <a:gd name="connsiteX83" fmla="*/ 70658 w 241835"/>
                    <a:gd name="connsiteY83" fmla="*/ 3106 h 135651"/>
                    <a:gd name="connsiteX84" fmla="*/ 77174 w 241835"/>
                    <a:gd name="connsiteY84" fmla="*/ 11040 h 135651"/>
                    <a:gd name="connsiteX85" fmla="*/ 77174 w 241835"/>
                    <a:gd name="connsiteY85" fmla="*/ 11040 h 13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241835" h="135651">
                      <a:moveTo>
                        <a:pt x="77174" y="11040"/>
                      </a:moveTo>
                      <a:cubicBezTo>
                        <a:pt x="74964" y="13403"/>
                        <a:pt x="70154" y="16365"/>
                        <a:pt x="71601" y="19765"/>
                      </a:cubicBezTo>
                      <a:cubicBezTo>
                        <a:pt x="71487" y="19518"/>
                        <a:pt x="80165" y="25137"/>
                        <a:pt x="80136" y="25118"/>
                      </a:cubicBezTo>
                      <a:cubicBezTo>
                        <a:pt x="82117" y="25728"/>
                        <a:pt x="90251" y="23156"/>
                        <a:pt x="90013" y="25433"/>
                      </a:cubicBezTo>
                      <a:cubicBezTo>
                        <a:pt x="90242" y="23147"/>
                        <a:pt x="80355" y="33510"/>
                        <a:pt x="83041" y="32662"/>
                      </a:cubicBezTo>
                      <a:cubicBezTo>
                        <a:pt x="80336" y="33519"/>
                        <a:pt x="77117" y="30471"/>
                        <a:pt x="74068" y="29109"/>
                      </a:cubicBezTo>
                      <a:cubicBezTo>
                        <a:pt x="68554" y="26652"/>
                        <a:pt x="63934" y="25537"/>
                        <a:pt x="58247" y="26699"/>
                      </a:cubicBezTo>
                      <a:cubicBezTo>
                        <a:pt x="52685" y="27833"/>
                        <a:pt x="53456" y="30081"/>
                        <a:pt x="51361" y="31919"/>
                      </a:cubicBezTo>
                      <a:cubicBezTo>
                        <a:pt x="50770" y="32434"/>
                        <a:pt x="53085" y="36863"/>
                        <a:pt x="47189" y="32853"/>
                      </a:cubicBezTo>
                      <a:cubicBezTo>
                        <a:pt x="46408" y="39044"/>
                        <a:pt x="50113" y="45930"/>
                        <a:pt x="55742" y="46616"/>
                      </a:cubicBezTo>
                      <a:cubicBezTo>
                        <a:pt x="61076" y="47264"/>
                        <a:pt x="69325" y="46016"/>
                        <a:pt x="75125" y="45778"/>
                      </a:cubicBezTo>
                      <a:cubicBezTo>
                        <a:pt x="78212" y="45645"/>
                        <a:pt x="83936" y="43930"/>
                        <a:pt x="87794" y="45388"/>
                      </a:cubicBezTo>
                      <a:cubicBezTo>
                        <a:pt x="90547" y="46426"/>
                        <a:pt x="91832" y="49817"/>
                        <a:pt x="94804" y="50683"/>
                      </a:cubicBezTo>
                      <a:cubicBezTo>
                        <a:pt x="99815" y="52150"/>
                        <a:pt x="99710" y="48883"/>
                        <a:pt x="102243" y="47635"/>
                      </a:cubicBezTo>
                      <a:cubicBezTo>
                        <a:pt x="105768" y="45892"/>
                        <a:pt x="110302" y="44454"/>
                        <a:pt x="113559" y="45511"/>
                      </a:cubicBezTo>
                      <a:cubicBezTo>
                        <a:pt x="114016" y="45654"/>
                        <a:pt x="114997" y="48436"/>
                        <a:pt x="116007" y="49064"/>
                      </a:cubicBezTo>
                      <a:cubicBezTo>
                        <a:pt x="117179" y="49798"/>
                        <a:pt x="119112" y="48798"/>
                        <a:pt x="120417" y="49588"/>
                      </a:cubicBezTo>
                      <a:cubicBezTo>
                        <a:pt x="121207" y="50074"/>
                        <a:pt x="122227" y="52531"/>
                        <a:pt x="122465" y="52627"/>
                      </a:cubicBezTo>
                      <a:cubicBezTo>
                        <a:pt x="126541" y="54255"/>
                        <a:pt x="125179" y="51960"/>
                        <a:pt x="129704" y="52312"/>
                      </a:cubicBezTo>
                      <a:cubicBezTo>
                        <a:pt x="132418" y="52522"/>
                        <a:pt x="134780" y="56484"/>
                        <a:pt x="137372" y="56360"/>
                      </a:cubicBezTo>
                      <a:cubicBezTo>
                        <a:pt x="138524" y="56313"/>
                        <a:pt x="140372" y="53389"/>
                        <a:pt x="142649" y="52293"/>
                      </a:cubicBezTo>
                      <a:cubicBezTo>
                        <a:pt x="146077" y="50626"/>
                        <a:pt x="149554" y="51674"/>
                        <a:pt x="153154" y="51893"/>
                      </a:cubicBezTo>
                      <a:cubicBezTo>
                        <a:pt x="156212" y="52084"/>
                        <a:pt x="159584" y="52474"/>
                        <a:pt x="162594" y="51750"/>
                      </a:cubicBezTo>
                      <a:cubicBezTo>
                        <a:pt x="165470" y="51074"/>
                        <a:pt x="167852" y="48540"/>
                        <a:pt x="170909" y="48883"/>
                      </a:cubicBezTo>
                      <a:cubicBezTo>
                        <a:pt x="175586" y="49407"/>
                        <a:pt x="173538" y="50398"/>
                        <a:pt x="175862" y="53789"/>
                      </a:cubicBezTo>
                      <a:cubicBezTo>
                        <a:pt x="177672" y="56437"/>
                        <a:pt x="179996" y="58837"/>
                        <a:pt x="182044" y="61542"/>
                      </a:cubicBezTo>
                      <a:cubicBezTo>
                        <a:pt x="185244" y="65752"/>
                        <a:pt x="183530" y="65209"/>
                        <a:pt x="185340" y="70086"/>
                      </a:cubicBezTo>
                      <a:cubicBezTo>
                        <a:pt x="186263" y="72591"/>
                        <a:pt x="189597" y="76239"/>
                        <a:pt x="192150" y="77068"/>
                      </a:cubicBezTo>
                      <a:cubicBezTo>
                        <a:pt x="198836" y="79249"/>
                        <a:pt x="194312" y="75477"/>
                        <a:pt x="197960" y="74410"/>
                      </a:cubicBezTo>
                      <a:cubicBezTo>
                        <a:pt x="202675" y="73020"/>
                        <a:pt x="214238" y="75877"/>
                        <a:pt x="218106" y="79163"/>
                      </a:cubicBezTo>
                      <a:cubicBezTo>
                        <a:pt x="221696" y="82221"/>
                        <a:pt x="219944" y="82916"/>
                        <a:pt x="221477" y="86898"/>
                      </a:cubicBezTo>
                      <a:cubicBezTo>
                        <a:pt x="222944" y="90727"/>
                        <a:pt x="225687" y="93022"/>
                        <a:pt x="228145" y="96146"/>
                      </a:cubicBezTo>
                      <a:cubicBezTo>
                        <a:pt x="231726" y="100690"/>
                        <a:pt x="232317" y="105490"/>
                        <a:pt x="236022" y="109300"/>
                      </a:cubicBezTo>
                      <a:cubicBezTo>
                        <a:pt x="238032" y="111367"/>
                        <a:pt x="242356" y="111529"/>
                        <a:pt x="241784" y="115130"/>
                      </a:cubicBezTo>
                      <a:cubicBezTo>
                        <a:pt x="241251" y="118540"/>
                        <a:pt x="237708" y="118140"/>
                        <a:pt x="236050" y="117930"/>
                      </a:cubicBezTo>
                      <a:cubicBezTo>
                        <a:pt x="230040" y="117178"/>
                        <a:pt x="224983" y="111729"/>
                        <a:pt x="217791" y="113329"/>
                      </a:cubicBezTo>
                      <a:cubicBezTo>
                        <a:pt x="216639" y="113587"/>
                        <a:pt x="213657" y="116168"/>
                        <a:pt x="211971" y="116930"/>
                      </a:cubicBezTo>
                      <a:cubicBezTo>
                        <a:pt x="209257" y="118149"/>
                        <a:pt x="204494" y="120168"/>
                        <a:pt x="201865" y="118244"/>
                      </a:cubicBezTo>
                      <a:cubicBezTo>
                        <a:pt x="200636" y="117349"/>
                        <a:pt x="204618" y="115777"/>
                        <a:pt x="202951" y="114168"/>
                      </a:cubicBezTo>
                      <a:cubicBezTo>
                        <a:pt x="201494" y="112767"/>
                        <a:pt x="199370" y="112396"/>
                        <a:pt x="197294" y="112044"/>
                      </a:cubicBezTo>
                      <a:cubicBezTo>
                        <a:pt x="190168" y="110824"/>
                        <a:pt x="182663" y="115539"/>
                        <a:pt x="178072" y="120892"/>
                      </a:cubicBezTo>
                      <a:cubicBezTo>
                        <a:pt x="177158" y="121949"/>
                        <a:pt x="177910" y="124493"/>
                        <a:pt x="176853" y="125350"/>
                      </a:cubicBezTo>
                      <a:cubicBezTo>
                        <a:pt x="175386" y="126531"/>
                        <a:pt x="171861" y="126141"/>
                        <a:pt x="170109" y="126712"/>
                      </a:cubicBezTo>
                      <a:cubicBezTo>
                        <a:pt x="166261" y="127979"/>
                        <a:pt x="164280" y="130065"/>
                        <a:pt x="161108" y="132389"/>
                      </a:cubicBezTo>
                      <a:cubicBezTo>
                        <a:pt x="154659" y="137113"/>
                        <a:pt x="152021" y="136932"/>
                        <a:pt x="146573" y="130360"/>
                      </a:cubicBezTo>
                      <a:cubicBezTo>
                        <a:pt x="141220" y="123912"/>
                        <a:pt x="139667" y="117054"/>
                        <a:pt x="137857" y="109053"/>
                      </a:cubicBezTo>
                      <a:cubicBezTo>
                        <a:pt x="137305" y="106662"/>
                        <a:pt x="137552" y="101356"/>
                        <a:pt x="136400" y="99632"/>
                      </a:cubicBezTo>
                      <a:cubicBezTo>
                        <a:pt x="133885" y="95861"/>
                        <a:pt x="134571" y="99156"/>
                        <a:pt x="131123" y="97680"/>
                      </a:cubicBezTo>
                      <a:cubicBezTo>
                        <a:pt x="127227" y="96003"/>
                        <a:pt x="128999" y="98356"/>
                        <a:pt x="126227" y="93984"/>
                      </a:cubicBezTo>
                      <a:cubicBezTo>
                        <a:pt x="124027" y="90498"/>
                        <a:pt x="125237" y="87793"/>
                        <a:pt x="121093" y="84764"/>
                      </a:cubicBezTo>
                      <a:cubicBezTo>
                        <a:pt x="115483" y="80687"/>
                        <a:pt x="107701" y="78496"/>
                        <a:pt x="103539" y="84754"/>
                      </a:cubicBezTo>
                      <a:cubicBezTo>
                        <a:pt x="102205" y="86755"/>
                        <a:pt x="100671" y="92251"/>
                        <a:pt x="99776" y="94641"/>
                      </a:cubicBezTo>
                      <a:cubicBezTo>
                        <a:pt x="97690" y="100242"/>
                        <a:pt x="98366" y="95184"/>
                        <a:pt x="99538" y="101233"/>
                      </a:cubicBezTo>
                      <a:cubicBezTo>
                        <a:pt x="101577" y="111729"/>
                        <a:pt x="97919" y="107805"/>
                        <a:pt x="90080" y="107233"/>
                      </a:cubicBezTo>
                      <a:cubicBezTo>
                        <a:pt x="87441" y="107043"/>
                        <a:pt x="82184" y="107252"/>
                        <a:pt x="80660" y="109862"/>
                      </a:cubicBezTo>
                      <a:cubicBezTo>
                        <a:pt x="78440" y="113701"/>
                        <a:pt x="83631" y="115654"/>
                        <a:pt x="82850" y="119168"/>
                      </a:cubicBezTo>
                      <a:cubicBezTo>
                        <a:pt x="80974" y="127788"/>
                        <a:pt x="74078" y="117463"/>
                        <a:pt x="69725" y="116663"/>
                      </a:cubicBezTo>
                      <a:cubicBezTo>
                        <a:pt x="62124" y="115272"/>
                        <a:pt x="55675" y="124540"/>
                        <a:pt x="49370" y="126798"/>
                      </a:cubicBezTo>
                      <a:cubicBezTo>
                        <a:pt x="42788" y="129160"/>
                        <a:pt x="38759" y="123521"/>
                        <a:pt x="36825" y="118692"/>
                      </a:cubicBezTo>
                      <a:cubicBezTo>
                        <a:pt x="33559" y="110558"/>
                        <a:pt x="36245" y="105433"/>
                        <a:pt x="39321" y="97756"/>
                      </a:cubicBezTo>
                      <a:cubicBezTo>
                        <a:pt x="42036" y="90974"/>
                        <a:pt x="43208" y="90698"/>
                        <a:pt x="37588" y="85583"/>
                      </a:cubicBezTo>
                      <a:cubicBezTo>
                        <a:pt x="34739" y="83002"/>
                        <a:pt x="31797" y="81611"/>
                        <a:pt x="29796" y="78125"/>
                      </a:cubicBezTo>
                      <a:cubicBezTo>
                        <a:pt x="27643" y="74372"/>
                        <a:pt x="29368" y="69895"/>
                        <a:pt x="27729" y="66781"/>
                      </a:cubicBezTo>
                      <a:cubicBezTo>
                        <a:pt x="24758" y="61151"/>
                        <a:pt x="17966" y="65590"/>
                        <a:pt x="13547" y="63428"/>
                      </a:cubicBezTo>
                      <a:cubicBezTo>
                        <a:pt x="12156" y="62742"/>
                        <a:pt x="11298" y="59627"/>
                        <a:pt x="9460" y="58513"/>
                      </a:cubicBezTo>
                      <a:cubicBezTo>
                        <a:pt x="6898" y="56960"/>
                        <a:pt x="3079" y="58313"/>
                        <a:pt x="1317" y="55579"/>
                      </a:cubicBezTo>
                      <a:cubicBezTo>
                        <a:pt x="-3122" y="48740"/>
                        <a:pt x="4679" y="44321"/>
                        <a:pt x="9679" y="44197"/>
                      </a:cubicBezTo>
                      <a:cubicBezTo>
                        <a:pt x="14385" y="44073"/>
                        <a:pt x="25062" y="49188"/>
                        <a:pt x="29177" y="46159"/>
                      </a:cubicBezTo>
                      <a:cubicBezTo>
                        <a:pt x="32806" y="43483"/>
                        <a:pt x="28929" y="40606"/>
                        <a:pt x="30235" y="37634"/>
                      </a:cubicBezTo>
                      <a:cubicBezTo>
                        <a:pt x="30396" y="37263"/>
                        <a:pt x="32816" y="35282"/>
                        <a:pt x="33225" y="34863"/>
                      </a:cubicBezTo>
                      <a:cubicBezTo>
                        <a:pt x="33959" y="34977"/>
                        <a:pt x="34721" y="35453"/>
                        <a:pt x="35454" y="35272"/>
                      </a:cubicBezTo>
                      <a:cubicBezTo>
                        <a:pt x="35587" y="35443"/>
                        <a:pt x="33377" y="31576"/>
                        <a:pt x="33016" y="32243"/>
                      </a:cubicBezTo>
                      <a:cubicBezTo>
                        <a:pt x="32244" y="33634"/>
                        <a:pt x="33177" y="26214"/>
                        <a:pt x="34863" y="29690"/>
                      </a:cubicBezTo>
                      <a:cubicBezTo>
                        <a:pt x="35045" y="30071"/>
                        <a:pt x="36902" y="29414"/>
                        <a:pt x="35825" y="28071"/>
                      </a:cubicBezTo>
                      <a:cubicBezTo>
                        <a:pt x="34711" y="26671"/>
                        <a:pt x="31997" y="28300"/>
                        <a:pt x="30691" y="27833"/>
                      </a:cubicBezTo>
                      <a:cubicBezTo>
                        <a:pt x="26605" y="26357"/>
                        <a:pt x="23557" y="27328"/>
                        <a:pt x="30253" y="25452"/>
                      </a:cubicBezTo>
                      <a:cubicBezTo>
                        <a:pt x="34749" y="24204"/>
                        <a:pt x="39083" y="25871"/>
                        <a:pt x="43455" y="25595"/>
                      </a:cubicBezTo>
                      <a:cubicBezTo>
                        <a:pt x="42436" y="24842"/>
                        <a:pt x="41769" y="23575"/>
                        <a:pt x="40807" y="22756"/>
                      </a:cubicBezTo>
                      <a:cubicBezTo>
                        <a:pt x="41464" y="22670"/>
                        <a:pt x="42131" y="22575"/>
                        <a:pt x="42788" y="22489"/>
                      </a:cubicBezTo>
                      <a:cubicBezTo>
                        <a:pt x="41569" y="19403"/>
                        <a:pt x="39064" y="16717"/>
                        <a:pt x="37016" y="13984"/>
                      </a:cubicBezTo>
                      <a:cubicBezTo>
                        <a:pt x="39750" y="12012"/>
                        <a:pt x="36978" y="9354"/>
                        <a:pt x="38311" y="8335"/>
                      </a:cubicBezTo>
                      <a:cubicBezTo>
                        <a:pt x="41522" y="5887"/>
                        <a:pt x="41436" y="8316"/>
                        <a:pt x="44960" y="9050"/>
                      </a:cubicBezTo>
                      <a:cubicBezTo>
                        <a:pt x="50713" y="10250"/>
                        <a:pt x="53904" y="10812"/>
                        <a:pt x="59600" y="5983"/>
                      </a:cubicBezTo>
                      <a:cubicBezTo>
                        <a:pt x="65086" y="1315"/>
                        <a:pt x="62838" y="-3209"/>
                        <a:pt x="70658" y="3106"/>
                      </a:cubicBezTo>
                      <a:cubicBezTo>
                        <a:pt x="72992" y="5030"/>
                        <a:pt x="78336" y="8535"/>
                        <a:pt x="77174" y="11040"/>
                      </a:cubicBezTo>
                      <a:lnTo>
                        <a:pt x="77174" y="1104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55" name="Freeform: Shape 554">
                  <a:extLst>
                    <a:ext uri="{FF2B5EF4-FFF2-40B4-BE49-F238E27FC236}">
                      <a16:creationId xmlns:a16="http://schemas.microsoft.com/office/drawing/2014/main" id="{497584D5-545F-4175-9118-841A55C51BDB}"/>
                    </a:ext>
                  </a:extLst>
                </p:cNvPr>
                <p:cNvSpPr/>
                <p:nvPr/>
              </p:nvSpPr>
              <p:spPr>
                <a:xfrm>
                  <a:off x="8581443" y="3722098"/>
                  <a:ext cx="281945" cy="465225"/>
                </a:xfrm>
                <a:custGeom>
                  <a:avLst/>
                  <a:gdLst>
                    <a:gd name="connsiteX0" fmla="*/ 63665 w 281945"/>
                    <a:gd name="connsiteY0" fmla="*/ 831 h 465225"/>
                    <a:gd name="connsiteX1" fmla="*/ 69494 w 281945"/>
                    <a:gd name="connsiteY1" fmla="*/ 4622 h 465225"/>
                    <a:gd name="connsiteX2" fmla="*/ 74257 w 281945"/>
                    <a:gd name="connsiteY2" fmla="*/ 1355 h 465225"/>
                    <a:gd name="connsiteX3" fmla="*/ 81343 w 281945"/>
                    <a:gd name="connsiteY3" fmla="*/ 7194 h 465225"/>
                    <a:gd name="connsiteX4" fmla="*/ 82334 w 281945"/>
                    <a:gd name="connsiteY4" fmla="*/ 16824 h 465225"/>
                    <a:gd name="connsiteX5" fmla="*/ 96412 w 281945"/>
                    <a:gd name="connsiteY5" fmla="*/ 26882 h 465225"/>
                    <a:gd name="connsiteX6" fmla="*/ 104422 w 281945"/>
                    <a:gd name="connsiteY6" fmla="*/ 25720 h 465225"/>
                    <a:gd name="connsiteX7" fmla="*/ 110033 w 281945"/>
                    <a:gd name="connsiteY7" fmla="*/ 33969 h 465225"/>
                    <a:gd name="connsiteX8" fmla="*/ 115509 w 281945"/>
                    <a:gd name="connsiteY8" fmla="*/ 55448 h 465225"/>
                    <a:gd name="connsiteX9" fmla="*/ 113499 w 281945"/>
                    <a:gd name="connsiteY9" fmla="*/ 62134 h 465225"/>
                    <a:gd name="connsiteX10" fmla="*/ 118720 w 281945"/>
                    <a:gd name="connsiteY10" fmla="*/ 70068 h 465225"/>
                    <a:gd name="connsiteX11" fmla="*/ 121329 w 281945"/>
                    <a:gd name="connsiteY11" fmla="*/ 91214 h 465225"/>
                    <a:gd name="connsiteX12" fmla="*/ 137455 w 281945"/>
                    <a:gd name="connsiteY12" fmla="*/ 79565 h 465225"/>
                    <a:gd name="connsiteX13" fmla="*/ 151581 w 281945"/>
                    <a:gd name="connsiteY13" fmla="*/ 70678 h 465225"/>
                    <a:gd name="connsiteX14" fmla="*/ 163030 w 281945"/>
                    <a:gd name="connsiteY14" fmla="*/ 76746 h 465225"/>
                    <a:gd name="connsiteX15" fmla="*/ 168935 w 281945"/>
                    <a:gd name="connsiteY15" fmla="*/ 81337 h 465225"/>
                    <a:gd name="connsiteX16" fmla="*/ 173041 w 281945"/>
                    <a:gd name="connsiteY16" fmla="*/ 77022 h 465225"/>
                    <a:gd name="connsiteX17" fmla="*/ 177098 w 281945"/>
                    <a:gd name="connsiteY17" fmla="*/ 76203 h 465225"/>
                    <a:gd name="connsiteX18" fmla="*/ 178841 w 281945"/>
                    <a:gd name="connsiteY18" fmla="*/ 71402 h 465225"/>
                    <a:gd name="connsiteX19" fmla="*/ 183137 w 281945"/>
                    <a:gd name="connsiteY19" fmla="*/ 66239 h 465225"/>
                    <a:gd name="connsiteX20" fmla="*/ 183661 w 281945"/>
                    <a:gd name="connsiteY20" fmla="*/ 62725 h 465225"/>
                    <a:gd name="connsiteX21" fmla="*/ 202911 w 281945"/>
                    <a:gd name="connsiteY21" fmla="*/ 66087 h 465225"/>
                    <a:gd name="connsiteX22" fmla="*/ 218951 w 281945"/>
                    <a:gd name="connsiteY22" fmla="*/ 81022 h 465225"/>
                    <a:gd name="connsiteX23" fmla="*/ 235420 w 281945"/>
                    <a:gd name="connsiteY23" fmla="*/ 92757 h 465225"/>
                    <a:gd name="connsiteX24" fmla="*/ 241239 w 281945"/>
                    <a:gd name="connsiteY24" fmla="*/ 113636 h 465225"/>
                    <a:gd name="connsiteX25" fmla="*/ 254803 w 281945"/>
                    <a:gd name="connsiteY25" fmla="*/ 131914 h 465225"/>
                    <a:gd name="connsiteX26" fmla="*/ 262442 w 281945"/>
                    <a:gd name="connsiteY26" fmla="*/ 136705 h 465225"/>
                    <a:gd name="connsiteX27" fmla="*/ 267585 w 281945"/>
                    <a:gd name="connsiteY27" fmla="*/ 138763 h 465225"/>
                    <a:gd name="connsiteX28" fmla="*/ 267909 w 281945"/>
                    <a:gd name="connsiteY28" fmla="*/ 141858 h 465225"/>
                    <a:gd name="connsiteX29" fmla="*/ 278635 w 281945"/>
                    <a:gd name="connsiteY29" fmla="*/ 152612 h 465225"/>
                    <a:gd name="connsiteX30" fmla="*/ 276453 w 281945"/>
                    <a:gd name="connsiteY30" fmla="*/ 159584 h 465225"/>
                    <a:gd name="connsiteX31" fmla="*/ 279035 w 281945"/>
                    <a:gd name="connsiteY31" fmla="*/ 168309 h 465225"/>
                    <a:gd name="connsiteX32" fmla="*/ 281244 w 281945"/>
                    <a:gd name="connsiteY32" fmla="*/ 185578 h 465225"/>
                    <a:gd name="connsiteX33" fmla="*/ 270310 w 281945"/>
                    <a:gd name="connsiteY33" fmla="*/ 194675 h 465225"/>
                    <a:gd name="connsiteX34" fmla="*/ 266909 w 281945"/>
                    <a:gd name="connsiteY34" fmla="*/ 190226 h 465225"/>
                    <a:gd name="connsiteX35" fmla="*/ 255098 w 281945"/>
                    <a:gd name="connsiteY35" fmla="*/ 189417 h 465225"/>
                    <a:gd name="connsiteX36" fmla="*/ 234496 w 281945"/>
                    <a:gd name="connsiteY36" fmla="*/ 190398 h 465225"/>
                    <a:gd name="connsiteX37" fmla="*/ 216198 w 281945"/>
                    <a:gd name="connsiteY37" fmla="*/ 190598 h 465225"/>
                    <a:gd name="connsiteX38" fmla="*/ 201959 w 281945"/>
                    <a:gd name="connsiteY38" fmla="*/ 204695 h 465225"/>
                    <a:gd name="connsiteX39" fmla="*/ 197215 w 281945"/>
                    <a:gd name="connsiteY39" fmla="*/ 213286 h 465225"/>
                    <a:gd name="connsiteX40" fmla="*/ 190538 w 281945"/>
                    <a:gd name="connsiteY40" fmla="*/ 215925 h 465225"/>
                    <a:gd name="connsiteX41" fmla="*/ 200034 w 281945"/>
                    <a:gd name="connsiteY41" fmla="*/ 237804 h 465225"/>
                    <a:gd name="connsiteX42" fmla="*/ 210683 w 281945"/>
                    <a:gd name="connsiteY42" fmla="*/ 253730 h 465225"/>
                    <a:gd name="connsiteX43" fmla="*/ 220837 w 281945"/>
                    <a:gd name="connsiteY43" fmla="*/ 274027 h 465225"/>
                    <a:gd name="connsiteX44" fmla="*/ 207350 w 281945"/>
                    <a:gd name="connsiteY44" fmla="*/ 258387 h 465225"/>
                    <a:gd name="connsiteX45" fmla="*/ 206226 w 281945"/>
                    <a:gd name="connsiteY45" fmla="*/ 261350 h 465225"/>
                    <a:gd name="connsiteX46" fmla="*/ 195767 w 281945"/>
                    <a:gd name="connsiteY46" fmla="*/ 252367 h 465225"/>
                    <a:gd name="connsiteX47" fmla="*/ 195215 w 281945"/>
                    <a:gd name="connsiteY47" fmla="*/ 254339 h 465225"/>
                    <a:gd name="connsiteX48" fmla="*/ 183546 w 281945"/>
                    <a:gd name="connsiteY48" fmla="*/ 246376 h 465225"/>
                    <a:gd name="connsiteX49" fmla="*/ 169869 w 281945"/>
                    <a:gd name="connsiteY49" fmla="*/ 245081 h 465225"/>
                    <a:gd name="connsiteX50" fmla="*/ 155667 w 281945"/>
                    <a:gd name="connsiteY50" fmla="*/ 244376 h 465225"/>
                    <a:gd name="connsiteX51" fmla="*/ 150009 w 281945"/>
                    <a:gd name="connsiteY51" fmla="*/ 234346 h 465225"/>
                    <a:gd name="connsiteX52" fmla="*/ 138369 w 281945"/>
                    <a:gd name="connsiteY52" fmla="*/ 216572 h 465225"/>
                    <a:gd name="connsiteX53" fmla="*/ 126339 w 281945"/>
                    <a:gd name="connsiteY53" fmla="*/ 217954 h 465225"/>
                    <a:gd name="connsiteX54" fmla="*/ 120786 w 281945"/>
                    <a:gd name="connsiteY54" fmla="*/ 221373 h 465225"/>
                    <a:gd name="connsiteX55" fmla="*/ 122520 w 281945"/>
                    <a:gd name="connsiteY55" fmla="*/ 228345 h 465225"/>
                    <a:gd name="connsiteX56" fmla="*/ 122548 w 281945"/>
                    <a:gd name="connsiteY56" fmla="*/ 243052 h 465225"/>
                    <a:gd name="connsiteX57" fmla="*/ 126216 w 281945"/>
                    <a:gd name="connsiteY57" fmla="*/ 257530 h 465225"/>
                    <a:gd name="connsiteX58" fmla="*/ 118833 w 281945"/>
                    <a:gd name="connsiteY58" fmla="*/ 284505 h 465225"/>
                    <a:gd name="connsiteX59" fmla="*/ 117710 w 281945"/>
                    <a:gd name="connsiteY59" fmla="*/ 298745 h 465225"/>
                    <a:gd name="connsiteX60" fmla="*/ 112823 w 281945"/>
                    <a:gd name="connsiteY60" fmla="*/ 312670 h 465225"/>
                    <a:gd name="connsiteX61" fmla="*/ 114252 w 281945"/>
                    <a:gd name="connsiteY61" fmla="*/ 338635 h 465225"/>
                    <a:gd name="connsiteX62" fmla="*/ 118253 w 281945"/>
                    <a:gd name="connsiteY62" fmla="*/ 345541 h 465225"/>
                    <a:gd name="connsiteX63" fmla="*/ 118881 w 281945"/>
                    <a:gd name="connsiteY63" fmla="*/ 351275 h 465225"/>
                    <a:gd name="connsiteX64" fmla="*/ 133721 w 281945"/>
                    <a:gd name="connsiteY64" fmla="*/ 349646 h 465225"/>
                    <a:gd name="connsiteX65" fmla="*/ 141361 w 281945"/>
                    <a:gd name="connsiteY65" fmla="*/ 363819 h 465225"/>
                    <a:gd name="connsiteX66" fmla="*/ 149171 w 281945"/>
                    <a:gd name="connsiteY66" fmla="*/ 377316 h 465225"/>
                    <a:gd name="connsiteX67" fmla="*/ 149914 w 281945"/>
                    <a:gd name="connsiteY67" fmla="*/ 374783 h 465225"/>
                    <a:gd name="connsiteX68" fmla="*/ 166716 w 281945"/>
                    <a:gd name="connsiteY68" fmla="*/ 415150 h 465225"/>
                    <a:gd name="connsiteX69" fmla="*/ 161048 w 281945"/>
                    <a:gd name="connsiteY69" fmla="*/ 406425 h 465225"/>
                    <a:gd name="connsiteX70" fmla="*/ 157839 w 281945"/>
                    <a:gd name="connsiteY70" fmla="*/ 404882 h 465225"/>
                    <a:gd name="connsiteX71" fmla="*/ 158296 w 281945"/>
                    <a:gd name="connsiteY71" fmla="*/ 402043 h 465225"/>
                    <a:gd name="connsiteX72" fmla="*/ 153181 w 281945"/>
                    <a:gd name="connsiteY72" fmla="*/ 402377 h 465225"/>
                    <a:gd name="connsiteX73" fmla="*/ 160658 w 281945"/>
                    <a:gd name="connsiteY73" fmla="*/ 412988 h 465225"/>
                    <a:gd name="connsiteX74" fmla="*/ 169221 w 281945"/>
                    <a:gd name="connsiteY74" fmla="*/ 417550 h 465225"/>
                    <a:gd name="connsiteX75" fmla="*/ 181994 w 281945"/>
                    <a:gd name="connsiteY75" fmla="*/ 426237 h 465225"/>
                    <a:gd name="connsiteX76" fmla="*/ 203196 w 281945"/>
                    <a:gd name="connsiteY76" fmla="*/ 431780 h 465225"/>
                    <a:gd name="connsiteX77" fmla="*/ 217751 w 281945"/>
                    <a:gd name="connsiteY77" fmla="*/ 450783 h 465225"/>
                    <a:gd name="connsiteX78" fmla="*/ 211588 w 281945"/>
                    <a:gd name="connsiteY78" fmla="*/ 460032 h 465225"/>
                    <a:gd name="connsiteX79" fmla="*/ 204206 w 281945"/>
                    <a:gd name="connsiteY79" fmla="*/ 457669 h 465225"/>
                    <a:gd name="connsiteX80" fmla="*/ 194786 w 281945"/>
                    <a:gd name="connsiteY80" fmla="*/ 459908 h 465225"/>
                    <a:gd name="connsiteX81" fmla="*/ 189786 w 281945"/>
                    <a:gd name="connsiteY81" fmla="*/ 465213 h 465225"/>
                    <a:gd name="connsiteX82" fmla="*/ 186575 w 281945"/>
                    <a:gd name="connsiteY82" fmla="*/ 447992 h 465225"/>
                    <a:gd name="connsiteX83" fmla="*/ 183813 w 281945"/>
                    <a:gd name="connsiteY83" fmla="*/ 445658 h 465225"/>
                    <a:gd name="connsiteX84" fmla="*/ 180708 w 281945"/>
                    <a:gd name="connsiteY84" fmla="*/ 446039 h 465225"/>
                    <a:gd name="connsiteX85" fmla="*/ 178175 w 281945"/>
                    <a:gd name="connsiteY85" fmla="*/ 443353 h 465225"/>
                    <a:gd name="connsiteX86" fmla="*/ 175193 w 281945"/>
                    <a:gd name="connsiteY86" fmla="*/ 439000 h 465225"/>
                    <a:gd name="connsiteX87" fmla="*/ 170326 w 281945"/>
                    <a:gd name="connsiteY87" fmla="*/ 439172 h 465225"/>
                    <a:gd name="connsiteX88" fmla="*/ 155934 w 281945"/>
                    <a:gd name="connsiteY88" fmla="*/ 439877 h 465225"/>
                    <a:gd name="connsiteX89" fmla="*/ 141255 w 281945"/>
                    <a:gd name="connsiteY89" fmla="*/ 425427 h 465225"/>
                    <a:gd name="connsiteX90" fmla="*/ 139465 w 281945"/>
                    <a:gd name="connsiteY90" fmla="*/ 417540 h 465225"/>
                    <a:gd name="connsiteX91" fmla="*/ 136521 w 281945"/>
                    <a:gd name="connsiteY91" fmla="*/ 411092 h 465225"/>
                    <a:gd name="connsiteX92" fmla="*/ 127739 w 281945"/>
                    <a:gd name="connsiteY92" fmla="*/ 407587 h 465225"/>
                    <a:gd name="connsiteX93" fmla="*/ 125139 w 281945"/>
                    <a:gd name="connsiteY93" fmla="*/ 402796 h 465225"/>
                    <a:gd name="connsiteX94" fmla="*/ 118939 w 281945"/>
                    <a:gd name="connsiteY94" fmla="*/ 399681 h 465225"/>
                    <a:gd name="connsiteX95" fmla="*/ 114776 w 281945"/>
                    <a:gd name="connsiteY95" fmla="*/ 391975 h 465225"/>
                    <a:gd name="connsiteX96" fmla="*/ 109975 w 281945"/>
                    <a:gd name="connsiteY96" fmla="*/ 389489 h 465225"/>
                    <a:gd name="connsiteX97" fmla="*/ 105451 w 281945"/>
                    <a:gd name="connsiteY97" fmla="*/ 383184 h 465225"/>
                    <a:gd name="connsiteX98" fmla="*/ 91364 w 281945"/>
                    <a:gd name="connsiteY98" fmla="*/ 380583 h 465225"/>
                    <a:gd name="connsiteX99" fmla="*/ 90497 w 281945"/>
                    <a:gd name="connsiteY99" fmla="*/ 353971 h 465225"/>
                    <a:gd name="connsiteX100" fmla="*/ 95079 w 281945"/>
                    <a:gd name="connsiteY100" fmla="*/ 328558 h 465225"/>
                    <a:gd name="connsiteX101" fmla="*/ 97345 w 281945"/>
                    <a:gd name="connsiteY101" fmla="*/ 316756 h 465225"/>
                    <a:gd name="connsiteX102" fmla="*/ 96126 w 281945"/>
                    <a:gd name="connsiteY102" fmla="*/ 306965 h 465225"/>
                    <a:gd name="connsiteX103" fmla="*/ 108795 w 281945"/>
                    <a:gd name="connsiteY103" fmla="*/ 289601 h 465225"/>
                    <a:gd name="connsiteX104" fmla="*/ 113033 w 281945"/>
                    <a:gd name="connsiteY104" fmla="*/ 278390 h 465225"/>
                    <a:gd name="connsiteX105" fmla="*/ 116967 w 281945"/>
                    <a:gd name="connsiteY105" fmla="*/ 272179 h 465225"/>
                    <a:gd name="connsiteX106" fmla="*/ 106680 w 281945"/>
                    <a:gd name="connsiteY106" fmla="*/ 251129 h 465225"/>
                    <a:gd name="connsiteX107" fmla="*/ 94802 w 281945"/>
                    <a:gd name="connsiteY107" fmla="*/ 232879 h 465225"/>
                    <a:gd name="connsiteX108" fmla="*/ 90401 w 281945"/>
                    <a:gd name="connsiteY108" fmla="*/ 210715 h 465225"/>
                    <a:gd name="connsiteX109" fmla="*/ 72285 w 281945"/>
                    <a:gd name="connsiteY109" fmla="*/ 193103 h 465225"/>
                    <a:gd name="connsiteX110" fmla="*/ 55035 w 281945"/>
                    <a:gd name="connsiteY110" fmla="*/ 175329 h 465225"/>
                    <a:gd name="connsiteX111" fmla="*/ 57159 w 281945"/>
                    <a:gd name="connsiteY111" fmla="*/ 159689 h 465225"/>
                    <a:gd name="connsiteX112" fmla="*/ 60084 w 281945"/>
                    <a:gd name="connsiteY112" fmla="*/ 153946 h 465225"/>
                    <a:gd name="connsiteX113" fmla="*/ 57578 w 281945"/>
                    <a:gd name="connsiteY113" fmla="*/ 141154 h 465225"/>
                    <a:gd name="connsiteX114" fmla="*/ 63503 w 281945"/>
                    <a:gd name="connsiteY114" fmla="*/ 132676 h 465225"/>
                    <a:gd name="connsiteX115" fmla="*/ 62569 w 281945"/>
                    <a:gd name="connsiteY115" fmla="*/ 125999 h 465225"/>
                    <a:gd name="connsiteX116" fmla="*/ 57788 w 281945"/>
                    <a:gd name="connsiteY116" fmla="*/ 128800 h 465225"/>
                    <a:gd name="connsiteX117" fmla="*/ 54016 w 281945"/>
                    <a:gd name="connsiteY117" fmla="*/ 123008 h 465225"/>
                    <a:gd name="connsiteX118" fmla="*/ 48006 w 281945"/>
                    <a:gd name="connsiteY118" fmla="*/ 114017 h 465225"/>
                    <a:gd name="connsiteX119" fmla="*/ 28727 w 281945"/>
                    <a:gd name="connsiteY119" fmla="*/ 93729 h 465225"/>
                    <a:gd name="connsiteX120" fmla="*/ 18459 w 281945"/>
                    <a:gd name="connsiteY120" fmla="*/ 84318 h 465225"/>
                    <a:gd name="connsiteX121" fmla="*/ 14659 w 281945"/>
                    <a:gd name="connsiteY121" fmla="*/ 74593 h 465225"/>
                    <a:gd name="connsiteX122" fmla="*/ 0 w 281945"/>
                    <a:gd name="connsiteY122" fmla="*/ 59477 h 465225"/>
                    <a:gd name="connsiteX123" fmla="*/ 10810 w 281945"/>
                    <a:gd name="connsiteY123" fmla="*/ 57000 h 465225"/>
                    <a:gd name="connsiteX124" fmla="*/ 7325 w 281945"/>
                    <a:gd name="connsiteY124" fmla="*/ 48066 h 465225"/>
                    <a:gd name="connsiteX125" fmla="*/ 7686 w 281945"/>
                    <a:gd name="connsiteY125" fmla="*/ 40722 h 465225"/>
                    <a:gd name="connsiteX126" fmla="*/ 8944 w 281945"/>
                    <a:gd name="connsiteY126" fmla="*/ 23691 h 465225"/>
                    <a:gd name="connsiteX127" fmla="*/ 11620 w 281945"/>
                    <a:gd name="connsiteY127" fmla="*/ 20272 h 465225"/>
                    <a:gd name="connsiteX128" fmla="*/ 19059 w 281945"/>
                    <a:gd name="connsiteY128" fmla="*/ 22605 h 465225"/>
                    <a:gd name="connsiteX129" fmla="*/ 33128 w 281945"/>
                    <a:gd name="connsiteY129" fmla="*/ 19767 h 465225"/>
                    <a:gd name="connsiteX130" fmla="*/ 37119 w 281945"/>
                    <a:gd name="connsiteY130" fmla="*/ 18929 h 465225"/>
                    <a:gd name="connsiteX131" fmla="*/ 36843 w 281945"/>
                    <a:gd name="connsiteY131" fmla="*/ 11480 h 465225"/>
                    <a:gd name="connsiteX132" fmla="*/ 47196 w 281945"/>
                    <a:gd name="connsiteY132" fmla="*/ 1355 h 465225"/>
                    <a:gd name="connsiteX133" fmla="*/ 63665 w 281945"/>
                    <a:gd name="connsiteY133" fmla="*/ 831 h 465225"/>
                    <a:gd name="connsiteX134" fmla="*/ 63665 w 281945"/>
                    <a:gd name="connsiteY134" fmla="*/ 831 h 46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281945" h="465225">
                      <a:moveTo>
                        <a:pt x="63665" y="831"/>
                      </a:moveTo>
                      <a:cubicBezTo>
                        <a:pt x="66760" y="1374"/>
                        <a:pt x="67799" y="4746"/>
                        <a:pt x="69494" y="4622"/>
                      </a:cubicBezTo>
                      <a:cubicBezTo>
                        <a:pt x="71551" y="4479"/>
                        <a:pt x="70437" y="707"/>
                        <a:pt x="74257" y="1355"/>
                      </a:cubicBezTo>
                      <a:cubicBezTo>
                        <a:pt x="74980" y="1479"/>
                        <a:pt x="80972" y="6594"/>
                        <a:pt x="81343" y="7194"/>
                      </a:cubicBezTo>
                      <a:cubicBezTo>
                        <a:pt x="83496" y="10642"/>
                        <a:pt x="82334" y="12871"/>
                        <a:pt x="82334" y="16824"/>
                      </a:cubicBezTo>
                      <a:cubicBezTo>
                        <a:pt x="82343" y="26272"/>
                        <a:pt x="87896" y="28539"/>
                        <a:pt x="96412" y="26882"/>
                      </a:cubicBezTo>
                      <a:cubicBezTo>
                        <a:pt x="99631" y="26253"/>
                        <a:pt x="99983" y="24320"/>
                        <a:pt x="104422" y="25720"/>
                      </a:cubicBezTo>
                      <a:cubicBezTo>
                        <a:pt x="110099" y="27511"/>
                        <a:pt x="107985" y="28892"/>
                        <a:pt x="110033" y="33969"/>
                      </a:cubicBezTo>
                      <a:cubicBezTo>
                        <a:pt x="113309" y="42084"/>
                        <a:pt x="117234" y="45932"/>
                        <a:pt x="115509" y="55448"/>
                      </a:cubicBezTo>
                      <a:cubicBezTo>
                        <a:pt x="115128" y="57553"/>
                        <a:pt x="113090" y="60020"/>
                        <a:pt x="113499" y="62134"/>
                      </a:cubicBezTo>
                      <a:cubicBezTo>
                        <a:pt x="114042" y="64934"/>
                        <a:pt x="117872" y="66839"/>
                        <a:pt x="118720" y="70068"/>
                      </a:cubicBezTo>
                      <a:cubicBezTo>
                        <a:pt x="120491" y="76869"/>
                        <a:pt x="111737" y="89414"/>
                        <a:pt x="121329" y="91214"/>
                      </a:cubicBezTo>
                      <a:cubicBezTo>
                        <a:pt x="125558" y="92014"/>
                        <a:pt x="134093" y="83603"/>
                        <a:pt x="137455" y="79565"/>
                      </a:cubicBezTo>
                      <a:cubicBezTo>
                        <a:pt x="141198" y="75079"/>
                        <a:pt x="144342" y="68316"/>
                        <a:pt x="151581" y="70678"/>
                      </a:cubicBezTo>
                      <a:cubicBezTo>
                        <a:pt x="154438" y="71612"/>
                        <a:pt x="160591" y="75136"/>
                        <a:pt x="163030" y="76746"/>
                      </a:cubicBezTo>
                      <a:cubicBezTo>
                        <a:pt x="165478" y="78355"/>
                        <a:pt x="165963" y="80965"/>
                        <a:pt x="168935" y="81337"/>
                      </a:cubicBezTo>
                      <a:cubicBezTo>
                        <a:pt x="168964" y="78698"/>
                        <a:pt x="170897" y="78603"/>
                        <a:pt x="173041" y="77022"/>
                      </a:cubicBezTo>
                      <a:cubicBezTo>
                        <a:pt x="174079" y="76260"/>
                        <a:pt x="176326" y="76936"/>
                        <a:pt x="177098" y="76203"/>
                      </a:cubicBezTo>
                      <a:cubicBezTo>
                        <a:pt x="178832" y="74555"/>
                        <a:pt x="177679" y="72907"/>
                        <a:pt x="178841" y="71402"/>
                      </a:cubicBezTo>
                      <a:cubicBezTo>
                        <a:pt x="180156" y="69678"/>
                        <a:pt x="182099" y="67782"/>
                        <a:pt x="183137" y="66239"/>
                      </a:cubicBezTo>
                      <a:cubicBezTo>
                        <a:pt x="183813" y="65239"/>
                        <a:pt x="180489" y="64649"/>
                        <a:pt x="183661" y="62725"/>
                      </a:cubicBezTo>
                      <a:cubicBezTo>
                        <a:pt x="186947" y="60734"/>
                        <a:pt x="199996" y="64887"/>
                        <a:pt x="202911" y="66087"/>
                      </a:cubicBezTo>
                      <a:cubicBezTo>
                        <a:pt x="209016" y="68592"/>
                        <a:pt x="213798" y="76203"/>
                        <a:pt x="218951" y="81022"/>
                      </a:cubicBezTo>
                      <a:cubicBezTo>
                        <a:pt x="223932" y="85689"/>
                        <a:pt x="230838" y="88033"/>
                        <a:pt x="235420" y="92757"/>
                      </a:cubicBezTo>
                      <a:cubicBezTo>
                        <a:pt x="240859" y="98358"/>
                        <a:pt x="238973" y="106454"/>
                        <a:pt x="241239" y="113636"/>
                      </a:cubicBezTo>
                      <a:cubicBezTo>
                        <a:pt x="243764" y="121618"/>
                        <a:pt x="248593" y="126523"/>
                        <a:pt x="254803" y="131914"/>
                      </a:cubicBezTo>
                      <a:cubicBezTo>
                        <a:pt x="257394" y="134162"/>
                        <a:pt x="259109" y="135162"/>
                        <a:pt x="262442" y="136705"/>
                      </a:cubicBezTo>
                      <a:cubicBezTo>
                        <a:pt x="264061" y="137458"/>
                        <a:pt x="266214" y="137467"/>
                        <a:pt x="267585" y="138763"/>
                      </a:cubicBezTo>
                      <a:cubicBezTo>
                        <a:pt x="268671" y="139791"/>
                        <a:pt x="266824" y="140734"/>
                        <a:pt x="267909" y="141858"/>
                      </a:cubicBezTo>
                      <a:cubicBezTo>
                        <a:pt x="271463" y="145535"/>
                        <a:pt x="278073" y="146907"/>
                        <a:pt x="278635" y="152612"/>
                      </a:cubicBezTo>
                      <a:cubicBezTo>
                        <a:pt x="278920" y="155593"/>
                        <a:pt x="276625" y="157270"/>
                        <a:pt x="276453" y="159584"/>
                      </a:cubicBezTo>
                      <a:cubicBezTo>
                        <a:pt x="276187" y="163118"/>
                        <a:pt x="278006" y="165271"/>
                        <a:pt x="279035" y="168309"/>
                      </a:cubicBezTo>
                      <a:cubicBezTo>
                        <a:pt x="280445" y="172462"/>
                        <a:pt x="283254" y="181301"/>
                        <a:pt x="281244" y="185578"/>
                      </a:cubicBezTo>
                      <a:cubicBezTo>
                        <a:pt x="280758" y="186616"/>
                        <a:pt x="271186" y="194694"/>
                        <a:pt x="270310" y="194675"/>
                      </a:cubicBezTo>
                      <a:cubicBezTo>
                        <a:pt x="267862" y="194636"/>
                        <a:pt x="268214" y="191036"/>
                        <a:pt x="266909" y="190226"/>
                      </a:cubicBezTo>
                      <a:cubicBezTo>
                        <a:pt x="262804" y="187702"/>
                        <a:pt x="259432" y="188940"/>
                        <a:pt x="255098" y="189417"/>
                      </a:cubicBezTo>
                      <a:cubicBezTo>
                        <a:pt x="248364" y="190150"/>
                        <a:pt x="241268" y="190493"/>
                        <a:pt x="234496" y="190398"/>
                      </a:cubicBezTo>
                      <a:cubicBezTo>
                        <a:pt x="227266" y="190293"/>
                        <a:pt x="223351" y="188407"/>
                        <a:pt x="216198" y="190598"/>
                      </a:cubicBezTo>
                      <a:cubicBezTo>
                        <a:pt x="207045" y="193398"/>
                        <a:pt x="205902" y="196589"/>
                        <a:pt x="201959" y="204695"/>
                      </a:cubicBezTo>
                      <a:cubicBezTo>
                        <a:pt x="200853" y="206962"/>
                        <a:pt x="198234" y="212362"/>
                        <a:pt x="197215" y="213286"/>
                      </a:cubicBezTo>
                      <a:cubicBezTo>
                        <a:pt x="196853" y="213620"/>
                        <a:pt x="191005" y="215287"/>
                        <a:pt x="190538" y="215925"/>
                      </a:cubicBezTo>
                      <a:cubicBezTo>
                        <a:pt x="187509" y="220030"/>
                        <a:pt x="198548" y="233717"/>
                        <a:pt x="200034" y="237804"/>
                      </a:cubicBezTo>
                      <a:cubicBezTo>
                        <a:pt x="202568" y="244738"/>
                        <a:pt x="208454" y="247500"/>
                        <a:pt x="210683" y="253730"/>
                      </a:cubicBezTo>
                      <a:cubicBezTo>
                        <a:pt x="213417" y="261321"/>
                        <a:pt x="215522" y="266979"/>
                        <a:pt x="220837" y="274027"/>
                      </a:cubicBezTo>
                      <a:cubicBezTo>
                        <a:pt x="215865" y="269655"/>
                        <a:pt x="213140" y="262721"/>
                        <a:pt x="207350" y="258387"/>
                      </a:cubicBezTo>
                      <a:cubicBezTo>
                        <a:pt x="207197" y="259511"/>
                        <a:pt x="206454" y="260311"/>
                        <a:pt x="206226" y="261350"/>
                      </a:cubicBezTo>
                      <a:cubicBezTo>
                        <a:pt x="201949" y="258987"/>
                        <a:pt x="198472" y="256530"/>
                        <a:pt x="195767" y="252367"/>
                      </a:cubicBezTo>
                      <a:cubicBezTo>
                        <a:pt x="195643" y="253101"/>
                        <a:pt x="195424" y="253644"/>
                        <a:pt x="195215" y="254339"/>
                      </a:cubicBezTo>
                      <a:cubicBezTo>
                        <a:pt x="191528" y="250453"/>
                        <a:pt x="188128" y="248748"/>
                        <a:pt x="183546" y="246376"/>
                      </a:cubicBezTo>
                      <a:cubicBezTo>
                        <a:pt x="177165" y="243071"/>
                        <a:pt x="177032" y="244452"/>
                        <a:pt x="169869" y="245081"/>
                      </a:cubicBezTo>
                      <a:cubicBezTo>
                        <a:pt x="165906" y="245424"/>
                        <a:pt x="159267" y="244986"/>
                        <a:pt x="155667" y="244376"/>
                      </a:cubicBezTo>
                      <a:cubicBezTo>
                        <a:pt x="149961" y="243414"/>
                        <a:pt x="150219" y="241261"/>
                        <a:pt x="150009" y="234346"/>
                      </a:cubicBezTo>
                      <a:cubicBezTo>
                        <a:pt x="149714" y="224307"/>
                        <a:pt x="150485" y="217277"/>
                        <a:pt x="138369" y="216572"/>
                      </a:cubicBezTo>
                      <a:cubicBezTo>
                        <a:pt x="136084" y="216439"/>
                        <a:pt x="129664" y="216830"/>
                        <a:pt x="126339" y="217954"/>
                      </a:cubicBezTo>
                      <a:cubicBezTo>
                        <a:pt x="124558" y="218554"/>
                        <a:pt x="121768" y="219582"/>
                        <a:pt x="120786" y="221373"/>
                      </a:cubicBezTo>
                      <a:cubicBezTo>
                        <a:pt x="118567" y="225497"/>
                        <a:pt x="121558" y="224974"/>
                        <a:pt x="122520" y="228345"/>
                      </a:cubicBezTo>
                      <a:cubicBezTo>
                        <a:pt x="124053" y="233727"/>
                        <a:pt x="121986" y="237499"/>
                        <a:pt x="122548" y="243052"/>
                      </a:cubicBezTo>
                      <a:cubicBezTo>
                        <a:pt x="123053" y="248024"/>
                        <a:pt x="126339" y="252367"/>
                        <a:pt x="126216" y="257530"/>
                      </a:cubicBezTo>
                      <a:cubicBezTo>
                        <a:pt x="125977" y="266550"/>
                        <a:pt x="120539" y="275361"/>
                        <a:pt x="118833" y="284505"/>
                      </a:cubicBezTo>
                      <a:cubicBezTo>
                        <a:pt x="117957" y="289191"/>
                        <a:pt x="118548" y="294201"/>
                        <a:pt x="117710" y="298745"/>
                      </a:cubicBezTo>
                      <a:cubicBezTo>
                        <a:pt x="116871" y="303298"/>
                        <a:pt x="114195" y="308165"/>
                        <a:pt x="112823" y="312670"/>
                      </a:cubicBezTo>
                      <a:cubicBezTo>
                        <a:pt x="110728" y="319585"/>
                        <a:pt x="111300" y="330872"/>
                        <a:pt x="114252" y="338635"/>
                      </a:cubicBezTo>
                      <a:cubicBezTo>
                        <a:pt x="115205" y="341121"/>
                        <a:pt x="117243" y="343103"/>
                        <a:pt x="118253" y="345541"/>
                      </a:cubicBezTo>
                      <a:cubicBezTo>
                        <a:pt x="118986" y="347303"/>
                        <a:pt x="117138" y="349922"/>
                        <a:pt x="118881" y="351275"/>
                      </a:cubicBezTo>
                      <a:cubicBezTo>
                        <a:pt x="123767" y="355047"/>
                        <a:pt x="128806" y="348417"/>
                        <a:pt x="133721" y="349646"/>
                      </a:cubicBezTo>
                      <a:cubicBezTo>
                        <a:pt x="139436" y="351065"/>
                        <a:pt x="139969" y="358790"/>
                        <a:pt x="141361" y="363819"/>
                      </a:cubicBezTo>
                      <a:cubicBezTo>
                        <a:pt x="143027" y="369877"/>
                        <a:pt x="144646" y="372887"/>
                        <a:pt x="149171" y="377316"/>
                      </a:cubicBezTo>
                      <a:cubicBezTo>
                        <a:pt x="149400" y="376431"/>
                        <a:pt x="149933" y="376069"/>
                        <a:pt x="149914" y="374783"/>
                      </a:cubicBezTo>
                      <a:cubicBezTo>
                        <a:pt x="159353" y="383793"/>
                        <a:pt x="161411" y="403234"/>
                        <a:pt x="166716" y="415150"/>
                      </a:cubicBezTo>
                      <a:cubicBezTo>
                        <a:pt x="161906" y="414140"/>
                        <a:pt x="162973" y="409939"/>
                        <a:pt x="161048" y="406425"/>
                      </a:cubicBezTo>
                      <a:cubicBezTo>
                        <a:pt x="160344" y="405120"/>
                        <a:pt x="158058" y="405282"/>
                        <a:pt x="157839" y="404882"/>
                      </a:cubicBezTo>
                      <a:cubicBezTo>
                        <a:pt x="157782" y="404777"/>
                        <a:pt x="157800" y="401510"/>
                        <a:pt x="158296" y="402043"/>
                      </a:cubicBezTo>
                      <a:cubicBezTo>
                        <a:pt x="156048" y="399624"/>
                        <a:pt x="152933" y="395347"/>
                        <a:pt x="153181" y="402377"/>
                      </a:cubicBezTo>
                      <a:cubicBezTo>
                        <a:pt x="153314" y="406072"/>
                        <a:pt x="158429" y="410692"/>
                        <a:pt x="160658" y="412988"/>
                      </a:cubicBezTo>
                      <a:cubicBezTo>
                        <a:pt x="164411" y="416836"/>
                        <a:pt x="165011" y="415588"/>
                        <a:pt x="169221" y="417550"/>
                      </a:cubicBezTo>
                      <a:cubicBezTo>
                        <a:pt x="173821" y="419693"/>
                        <a:pt x="176746" y="424980"/>
                        <a:pt x="181994" y="426237"/>
                      </a:cubicBezTo>
                      <a:cubicBezTo>
                        <a:pt x="191119" y="428418"/>
                        <a:pt x="195624" y="423132"/>
                        <a:pt x="203196" y="431780"/>
                      </a:cubicBezTo>
                      <a:cubicBezTo>
                        <a:pt x="208016" y="437286"/>
                        <a:pt x="219665" y="444144"/>
                        <a:pt x="217751" y="450783"/>
                      </a:cubicBezTo>
                      <a:cubicBezTo>
                        <a:pt x="217408" y="451983"/>
                        <a:pt x="212655" y="459384"/>
                        <a:pt x="211588" y="460032"/>
                      </a:cubicBezTo>
                      <a:cubicBezTo>
                        <a:pt x="206473" y="463127"/>
                        <a:pt x="207483" y="458403"/>
                        <a:pt x="204206" y="457669"/>
                      </a:cubicBezTo>
                      <a:cubicBezTo>
                        <a:pt x="201453" y="457069"/>
                        <a:pt x="197596" y="457783"/>
                        <a:pt x="194786" y="459908"/>
                      </a:cubicBezTo>
                      <a:cubicBezTo>
                        <a:pt x="193034" y="461222"/>
                        <a:pt x="192414" y="465061"/>
                        <a:pt x="189786" y="465213"/>
                      </a:cubicBezTo>
                      <a:cubicBezTo>
                        <a:pt x="181289" y="465699"/>
                        <a:pt x="189262" y="451573"/>
                        <a:pt x="186575" y="447992"/>
                      </a:cubicBezTo>
                      <a:cubicBezTo>
                        <a:pt x="185242" y="446220"/>
                        <a:pt x="185280" y="446858"/>
                        <a:pt x="183813" y="445658"/>
                      </a:cubicBezTo>
                      <a:cubicBezTo>
                        <a:pt x="183318" y="445258"/>
                        <a:pt x="181232" y="446420"/>
                        <a:pt x="180708" y="446039"/>
                      </a:cubicBezTo>
                      <a:cubicBezTo>
                        <a:pt x="179974" y="445506"/>
                        <a:pt x="179079" y="443906"/>
                        <a:pt x="178175" y="443353"/>
                      </a:cubicBezTo>
                      <a:cubicBezTo>
                        <a:pt x="176965" y="442620"/>
                        <a:pt x="176993" y="440010"/>
                        <a:pt x="175193" y="439000"/>
                      </a:cubicBezTo>
                      <a:cubicBezTo>
                        <a:pt x="174069" y="438372"/>
                        <a:pt x="171878" y="439543"/>
                        <a:pt x="170326" y="439172"/>
                      </a:cubicBezTo>
                      <a:cubicBezTo>
                        <a:pt x="159725" y="436676"/>
                        <a:pt x="158877" y="426675"/>
                        <a:pt x="155934" y="439877"/>
                      </a:cubicBezTo>
                      <a:cubicBezTo>
                        <a:pt x="152485" y="436086"/>
                        <a:pt x="143056" y="429485"/>
                        <a:pt x="141255" y="425427"/>
                      </a:cubicBezTo>
                      <a:cubicBezTo>
                        <a:pt x="140208" y="423055"/>
                        <a:pt x="140455" y="419817"/>
                        <a:pt x="139465" y="417540"/>
                      </a:cubicBezTo>
                      <a:cubicBezTo>
                        <a:pt x="138493" y="415302"/>
                        <a:pt x="133426" y="416998"/>
                        <a:pt x="136521" y="411092"/>
                      </a:cubicBezTo>
                      <a:cubicBezTo>
                        <a:pt x="131788" y="413559"/>
                        <a:pt x="130140" y="410606"/>
                        <a:pt x="127739" y="407587"/>
                      </a:cubicBezTo>
                      <a:cubicBezTo>
                        <a:pt x="126587" y="406149"/>
                        <a:pt x="126482" y="404215"/>
                        <a:pt x="125139" y="402796"/>
                      </a:cubicBezTo>
                      <a:cubicBezTo>
                        <a:pt x="123348" y="400891"/>
                        <a:pt x="119862" y="400672"/>
                        <a:pt x="118939" y="399681"/>
                      </a:cubicBezTo>
                      <a:cubicBezTo>
                        <a:pt x="116586" y="397176"/>
                        <a:pt x="117557" y="394633"/>
                        <a:pt x="114776" y="391975"/>
                      </a:cubicBezTo>
                      <a:cubicBezTo>
                        <a:pt x="113499" y="390747"/>
                        <a:pt x="111214" y="390604"/>
                        <a:pt x="109975" y="389489"/>
                      </a:cubicBezTo>
                      <a:cubicBezTo>
                        <a:pt x="108013" y="387727"/>
                        <a:pt x="107375" y="385098"/>
                        <a:pt x="105451" y="383184"/>
                      </a:cubicBezTo>
                      <a:cubicBezTo>
                        <a:pt x="97555" y="375297"/>
                        <a:pt x="97641" y="390908"/>
                        <a:pt x="91364" y="380583"/>
                      </a:cubicBezTo>
                      <a:cubicBezTo>
                        <a:pt x="86468" y="372535"/>
                        <a:pt x="89992" y="362553"/>
                        <a:pt x="90497" y="353971"/>
                      </a:cubicBezTo>
                      <a:cubicBezTo>
                        <a:pt x="91001" y="345484"/>
                        <a:pt x="93221" y="336921"/>
                        <a:pt x="95079" y="328558"/>
                      </a:cubicBezTo>
                      <a:cubicBezTo>
                        <a:pt x="95955" y="324643"/>
                        <a:pt x="97088" y="320776"/>
                        <a:pt x="97345" y="316756"/>
                      </a:cubicBezTo>
                      <a:cubicBezTo>
                        <a:pt x="97536" y="313851"/>
                        <a:pt x="95574" y="309365"/>
                        <a:pt x="96126" y="306965"/>
                      </a:cubicBezTo>
                      <a:cubicBezTo>
                        <a:pt x="97374" y="301583"/>
                        <a:pt x="106146" y="295163"/>
                        <a:pt x="108795" y="289601"/>
                      </a:cubicBezTo>
                      <a:cubicBezTo>
                        <a:pt x="110509" y="286010"/>
                        <a:pt x="111261" y="281904"/>
                        <a:pt x="113033" y="278390"/>
                      </a:cubicBezTo>
                      <a:cubicBezTo>
                        <a:pt x="114147" y="276170"/>
                        <a:pt x="116786" y="274970"/>
                        <a:pt x="116967" y="272179"/>
                      </a:cubicBezTo>
                      <a:cubicBezTo>
                        <a:pt x="117310" y="267007"/>
                        <a:pt x="109042" y="256044"/>
                        <a:pt x="106680" y="251129"/>
                      </a:cubicBezTo>
                      <a:cubicBezTo>
                        <a:pt x="103661" y="244852"/>
                        <a:pt x="96698" y="240156"/>
                        <a:pt x="94802" y="232879"/>
                      </a:cubicBezTo>
                      <a:cubicBezTo>
                        <a:pt x="93011" y="226002"/>
                        <a:pt x="94297" y="218058"/>
                        <a:pt x="90401" y="210715"/>
                      </a:cubicBezTo>
                      <a:cubicBezTo>
                        <a:pt x="86230" y="202847"/>
                        <a:pt x="79038" y="198399"/>
                        <a:pt x="72285" y="193103"/>
                      </a:cubicBezTo>
                      <a:cubicBezTo>
                        <a:pt x="66284" y="188388"/>
                        <a:pt x="59207" y="181806"/>
                        <a:pt x="55035" y="175329"/>
                      </a:cubicBezTo>
                      <a:cubicBezTo>
                        <a:pt x="49673" y="166985"/>
                        <a:pt x="50559" y="164633"/>
                        <a:pt x="57159" y="159689"/>
                      </a:cubicBezTo>
                      <a:cubicBezTo>
                        <a:pt x="61731" y="156260"/>
                        <a:pt x="60550" y="160956"/>
                        <a:pt x="60084" y="153946"/>
                      </a:cubicBezTo>
                      <a:cubicBezTo>
                        <a:pt x="59798" y="149783"/>
                        <a:pt x="57197" y="145411"/>
                        <a:pt x="57578" y="141154"/>
                      </a:cubicBezTo>
                      <a:cubicBezTo>
                        <a:pt x="58131" y="135010"/>
                        <a:pt x="61036" y="137610"/>
                        <a:pt x="63503" y="132676"/>
                      </a:cubicBezTo>
                      <a:cubicBezTo>
                        <a:pt x="64522" y="130619"/>
                        <a:pt x="65189" y="127352"/>
                        <a:pt x="62569" y="125999"/>
                      </a:cubicBezTo>
                      <a:cubicBezTo>
                        <a:pt x="60779" y="125075"/>
                        <a:pt x="59636" y="129419"/>
                        <a:pt x="57788" y="128800"/>
                      </a:cubicBezTo>
                      <a:cubicBezTo>
                        <a:pt x="56264" y="128285"/>
                        <a:pt x="54807" y="124142"/>
                        <a:pt x="54016" y="123008"/>
                      </a:cubicBezTo>
                      <a:cubicBezTo>
                        <a:pt x="51873" y="119951"/>
                        <a:pt x="49701" y="117274"/>
                        <a:pt x="48006" y="114017"/>
                      </a:cubicBezTo>
                      <a:cubicBezTo>
                        <a:pt x="43634" y="105625"/>
                        <a:pt x="35880" y="100310"/>
                        <a:pt x="28727" y="93729"/>
                      </a:cubicBezTo>
                      <a:cubicBezTo>
                        <a:pt x="25479" y="90738"/>
                        <a:pt x="21012" y="87918"/>
                        <a:pt x="18459" y="84318"/>
                      </a:cubicBezTo>
                      <a:cubicBezTo>
                        <a:pt x="15878" y="80689"/>
                        <a:pt x="16421" y="78860"/>
                        <a:pt x="14659" y="74593"/>
                      </a:cubicBezTo>
                      <a:cubicBezTo>
                        <a:pt x="11077" y="65954"/>
                        <a:pt x="4296" y="67135"/>
                        <a:pt x="0" y="59477"/>
                      </a:cubicBezTo>
                      <a:cubicBezTo>
                        <a:pt x="2581" y="60648"/>
                        <a:pt x="9620" y="59534"/>
                        <a:pt x="10810" y="57000"/>
                      </a:cubicBezTo>
                      <a:cubicBezTo>
                        <a:pt x="11725" y="55057"/>
                        <a:pt x="7677" y="49856"/>
                        <a:pt x="7325" y="48066"/>
                      </a:cubicBezTo>
                      <a:cubicBezTo>
                        <a:pt x="6686" y="44837"/>
                        <a:pt x="7858" y="43779"/>
                        <a:pt x="7686" y="40722"/>
                      </a:cubicBezTo>
                      <a:cubicBezTo>
                        <a:pt x="7286" y="33550"/>
                        <a:pt x="3838" y="30263"/>
                        <a:pt x="8944" y="23691"/>
                      </a:cubicBezTo>
                      <a:cubicBezTo>
                        <a:pt x="11220" y="20748"/>
                        <a:pt x="7162" y="20929"/>
                        <a:pt x="11620" y="20272"/>
                      </a:cubicBezTo>
                      <a:cubicBezTo>
                        <a:pt x="13097" y="20062"/>
                        <a:pt x="16878" y="22453"/>
                        <a:pt x="19059" y="22605"/>
                      </a:cubicBezTo>
                      <a:cubicBezTo>
                        <a:pt x="23317" y="22910"/>
                        <a:pt x="29356" y="21415"/>
                        <a:pt x="33128" y="19767"/>
                      </a:cubicBezTo>
                      <a:cubicBezTo>
                        <a:pt x="34661" y="19100"/>
                        <a:pt x="35747" y="20777"/>
                        <a:pt x="37119" y="18929"/>
                      </a:cubicBezTo>
                      <a:cubicBezTo>
                        <a:pt x="38624" y="16900"/>
                        <a:pt x="35804" y="13290"/>
                        <a:pt x="36843" y="11480"/>
                      </a:cubicBezTo>
                      <a:cubicBezTo>
                        <a:pt x="40919" y="4327"/>
                        <a:pt x="54902" y="15824"/>
                        <a:pt x="47196" y="1355"/>
                      </a:cubicBezTo>
                      <a:cubicBezTo>
                        <a:pt x="52883" y="3270"/>
                        <a:pt x="60312" y="-1941"/>
                        <a:pt x="63665" y="831"/>
                      </a:cubicBezTo>
                      <a:lnTo>
                        <a:pt x="63665" y="831"/>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56" name="Freeform: Shape 555">
                  <a:extLst>
                    <a:ext uri="{FF2B5EF4-FFF2-40B4-BE49-F238E27FC236}">
                      <a16:creationId xmlns:a16="http://schemas.microsoft.com/office/drawing/2014/main" id="{83DEE55F-ECFE-4F47-B05C-46E5AAB6CC11}"/>
                    </a:ext>
                  </a:extLst>
                </p:cNvPr>
                <p:cNvSpPr/>
                <p:nvPr/>
              </p:nvSpPr>
              <p:spPr>
                <a:xfrm>
                  <a:off x="5590766" y="4014718"/>
                  <a:ext cx="57831" cy="158334"/>
                </a:xfrm>
                <a:custGeom>
                  <a:avLst/>
                  <a:gdLst>
                    <a:gd name="connsiteX0" fmla="*/ 30926 w 57831"/>
                    <a:gd name="connsiteY0" fmla="*/ 3886 h 158334"/>
                    <a:gd name="connsiteX1" fmla="*/ 26725 w 57831"/>
                    <a:gd name="connsiteY1" fmla="*/ 22241 h 158334"/>
                    <a:gd name="connsiteX2" fmla="*/ 37193 w 57831"/>
                    <a:gd name="connsiteY2" fmla="*/ 30480 h 158334"/>
                    <a:gd name="connsiteX3" fmla="*/ 44890 w 57831"/>
                    <a:gd name="connsiteY3" fmla="*/ 43034 h 158334"/>
                    <a:gd name="connsiteX4" fmla="*/ 48852 w 57831"/>
                    <a:gd name="connsiteY4" fmla="*/ 59207 h 158334"/>
                    <a:gd name="connsiteX5" fmla="*/ 53748 w 57831"/>
                    <a:gd name="connsiteY5" fmla="*/ 95479 h 158334"/>
                    <a:gd name="connsiteX6" fmla="*/ 53786 w 57831"/>
                    <a:gd name="connsiteY6" fmla="*/ 113605 h 158334"/>
                    <a:gd name="connsiteX7" fmla="*/ 50871 w 57831"/>
                    <a:gd name="connsiteY7" fmla="*/ 129893 h 158334"/>
                    <a:gd name="connsiteX8" fmla="*/ 52557 w 57831"/>
                    <a:gd name="connsiteY8" fmla="*/ 139094 h 158334"/>
                    <a:gd name="connsiteX9" fmla="*/ 57729 w 57831"/>
                    <a:gd name="connsiteY9" fmla="*/ 148266 h 158334"/>
                    <a:gd name="connsiteX10" fmla="*/ 40118 w 57831"/>
                    <a:gd name="connsiteY10" fmla="*/ 158334 h 158334"/>
                    <a:gd name="connsiteX11" fmla="*/ 24192 w 57831"/>
                    <a:gd name="connsiteY11" fmla="*/ 142589 h 158334"/>
                    <a:gd name="connsiteX12" fmla="*/ 19591 w 57831"/>
                    <a:gd name="connsiteY12" fmla="*/ 130616 h 158334"/>
                    <a:gd name="connsiteX13" fmla="*/ 22401 w 57831"/>
                    <a:gd name="connsiteY13" fmla="*/ 118234 h 158334"/>
                    <a:gd name="connsiteX14" fmla="*/ 18734 w 57831"/>
                    <a:gd name="connsiteY14" fmla="*/ 115462 h 158334"/>
                    <a:gd name="connsiteX15" fmla="*/ 21296 w 57831"/>
                    <a:gd name="connsiteY15" fmla="*/ 107604 h 158334"/>
                    <a:gd name="connsiteX16" fmla="*/ 21296 w 57831"/>
                    <a:gd name="connsiteY16" fmla="*/ 96669 h 158334"/>
                    <a:gd name="connsiteX17" fmla="*/ 23096 w 57831"/>
                    <a:gd name="connsiteY17" fmla="*/ 90154 h 158334"/>
                    <a:gd name="connsiteX18" fmla="*/ 15276 w 57831"/>
                    <a:gd name="connsiteY18" fmla="*/ 76486 h 158334"/>
                    <a:gd name="connsiteX19" fmla="*/ 17591 w 57831"/>
                    <a:gd name="connsiteY19" fmla="*/ 71904 h 158334"/>
                    <a:gd name="connsiteX20" fmla="*/ 17324 w 57831"/>
                    <a:gd name="connsiteY20" fmla="*/ 65237 h 158334"/>
                    <a:gd name="connsiteX21" fmla="*/ 14448 w 57831"/>
                    <a:gd name="connsiteY21" fmla="*/ 51349 h 158334"/>
                    <a:gd name="connsiteX22" fmla="*/ 10800 w 57831"/>
                    <a:gd name="connsiteY22" fmla="*/ 51283 h 158334"/>
                    <a:gd name="connsiteX23" fmla="*/ 13552 w 57831"/>
                    <a:gd name="connsiteY23" fmla="*/ 47606 h 158334"/>
                    <a:gd name="connsiteX24" fmla="*/ 13695 w 57831"/>
                    <a:gd name="connsiteY24" fmla="*/ 38767 h 158334"/>
                    <a:gd name="connsiteX25" fmla="*/ 14152 w 57831"/>
                    <a:gd name="connsiteY25" fmla="*/ 28051 h 158334"/>
                    <a:gd name="connsiteX26" fmla="*/ 12257 w 57831"/>
                    <a:gd name="connsiteY26" fmla="*/ 24784 h 158334"/>
                    <a:gd name="connsiteX27" fmla="*/ 151 w 57831"/>
                    <a:gd name="connsiteY27" fmla="*/ 13935 h 158334"/>
                    <a:gd name="connsiteX28" fmla="*/ 703 w 57831"/>
                    <a:gd name="connsiteY28" fmla="*/ 0 h 158334"/>
                    <a:gd name="connsiteX29" fmla="*/ 17953 w 57831"/>
                    <a:gd name="connsiteY29" fmla="*/ 3896 h 158334"/>
                    <a:gd name="connsiteX30" fmla="*/ 30926 w 57831"/>
                    <a:gd name="connsiteY30" fmla="*/ 3886 h 158334"/>
                    <a:gd name="connsiteX31" fmla="*/ 30926 w 57831"/>
                    <a:gd name="connsiteY31" fmla="*/ 3886 h 158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7831" h="158334">
                      <a:moveTo>
                        <a:pt x="30926" y="3886"/>
                      </a:moveTo>
                      <a:cubicBezTo>
                        <a:pt x="29907" y="9439"/>
                        <a:pt x="24592" y="16307"/>
                        <a:pt x="26725" y="22241"/>
                      </a:cubicBezTo>
                      <a:cubicBezTo>
                        <a:pt x="28040" y="25908"/>
                        <a:pt x="33841" y="28251"/>
                        <a:pt x="37193" y="30480"/>
                      </a:cubicBezTo>
                      <a:cubicBezTo>
                        <a:pt x="43775" y="34862"/>
                        <a:pt x="44547" y="35033"/>
                        <a:pt x="44890" y="43034"/>
                      </a:cubicBezTo>
                      <a:cubicBezTo>
                        <a:pt x="45147" y="49330"/>
                        <a:pt x="45728" y="53912"/>
                        <a:pt x="48852" y="59207"/>
                      </a:cubicBezTo>
                      <a:cubicBezTo>
                        <a:pt x="54910" y="69485"/>
                        <a:pt x="53681" y="83144"/>
                        <a:pt x="53748" y="95479"/>
                      </a:cubicBezTo>
                      <a:cubicBezTo>
                        <a:pt x="53776" y="101517"/>
                        <a:pt x="53776" y="107566"/>
                        <a:pt x="53786" y="113605"/>
                      </a:cubicBezTo>
                      <a:cubicBezTo>
                        <a:pt x="53796" y="118186"/>
                        <a:pt x="56186" y="130350"/>
                        <a:pt x="50871" y="129893"/>
                      </a:cubicBezTo>
                      <a:cubicBezTo>
                        <a:pt x="52729" y="133074"/>
                        <a:pt x="51786" y="136417"/>
                        <a:pt x="52557" y="139094"/>
                      </a:cubicBezTo>
                      <a:cubicBezTo>
                        <a:pt x="53443" y="142180"/>
                        <a:pt x="57129" y="144961"/>
                        <a:pt x="57729" y="148266"/>
                      </a:cubicBezTo>
                      <a:cubicBezTo>
                        <a:pt x="59091" y="155877"/>
                        <a:pt x="46528" y="154629"/>
                        <a:pt x="40118" y="158334"/>
                      </a:cubicBezTo>
                      <a:cubicBezTo>
                        <a:pt x="38632" y="152991"/>
                        <a:pt x="27402" y="148057"/>
                        <a:pt x="24192" y="142589"/>
                      </a:cubicBezTo>
                      <a:cubicBezTo>
                        <a:pt x="21601" y="138170"/>
                        <a:pt x="19267" y="135541"/>
                        <a:pt x="19591" y="130616"/>
                      </a:cubicBezTo>
                      <a:cubicBezTo>
                        <a:pt x="19801" y="127445"/>
                        <a:pt x="23753" y="122663"/>
                        <a:pt x="22401" y="118234"/>
                      </a:cubicBezTo>
                      <a:cubicBezTo>
                        <a:pt x="21925" y="116662"/>
                        <a:pt x="19267" y="117567"/>
                        <a:pt x="18734" y="115462"/>
                      </a:cubicBezTo>
                      <a:cubicBezTo>
                        <a:pt x="17829" y="111890"/>
                        <a:pt x="20525" y="110833"/>
                        <a:pt x="21296" y="107604"/>
                      </a:cubicBezTo>
                      <a:cubicBezTo>
                        <a:pt x="22125" y="104089"/>
                        <a:pt x="20963" y="100356"/>
                        <a:pt x="21296" y="96669"/>
                      </a:cubicBezTo>
                      <a:cubicBezTo>
                        <a:pt x="21496" y="94317"/>
                        <a:pt x="22925" y="91812"/>
                        <a:pt x="23096" y="90154"/>
                      </a:cubicBezTo>
                      <a:cubicBezTo>
                        <a:pt x="23887" y="82715"/>
                        <a:pt x="16486" y="83087"/>
                        <a:pt x="15276" y="76486"/>
                      </a:cubicBezTo>
                      <a:cubicBezTo>
                        <a:pt x="14619" y="72923"/>
                        <a:pt x="17143" y="74771"/>
                        <a:pt x="17591" y="71904"/>
                      </a:cubicBezTo>
                      <a:cubicBezTo>
                        <a:pt x="17934" y="69656"/>
                        <a:pt x="17172" y="67780"/>
                        <a:pt x="17324" y="65237"/>
                      </a:cubicBezTo>
                      <a:cubicBezTo>
                        <a:pt x="17743" y="58074"/>
                        <a:pt x="21953" y="54359"/>
                        <a:pt x="14448" y="51349"/>
                      </a:cubicBezTo>
                      <a:cubicBezTo>
                        <a:pt x="10600" y="49806"/>
                        <a:pt x="12895" y="55445"/>
                        <a:pt x="10800" y="51283"/>
                      </a:cubicBezTo>
                      <a:cubicBezTo>
                        <a:pt x="9914" y="49521"/>
                        <a:pt x="12238" y="48235"/>
                        <a:pt x="13552" y="47606"/>
                      </a:cubicBezTo>
                      <a:cubicBezTo>
                        <a:pt x="9952" y="46673"/>
                        <a:pt x="13219" y="43053"/>
                        <a:pt x="13695" y="38767"/>
                      </a:cubicBezTo>
                      <a:cubicBezTo>
                        <a:pt x="14038" y="35643"/>
                        <a:pt x="14962" y="30956"/>
                        <a:pt x="14152" y="28051"/>
                      </a:cubicBezTo>
                      <a:cubicBezTo>
                        <a:pt x="13352" y="25203"/>
                        <a:pt x="14105" y="27470"/>
                        <a:pt x="12257" y="24784"/>
                      </a:cubicBezTo>
                      <a:cubicBezTo>
                        <a:pt x="9847" y="21288"/>
                        <a:pt x="1284" y="18040"/>
                        <a:pt x="151" y="13935"/>
                      </a:cubicBezTo>
                      <a:cubicBezTo>
                        <a:pt x="-1173" y="9163"/>
                        <a:pt x="6837" y="3915"/>
                        <a:pt x="703" y="0"/>
                      </a:cubicBezTo>
                      <a:cubicBezTo>
                        <a:pt x="6427" y="1162"/>
                        <a:pt x="12209" y="3019"/>
                        <a:pt x="17953" y="3896"/>
                      </a:cubicBezTo>
                      <a:cubicBezTo>
                        <a:pt x="20744" y="4353"/>
                        <a:pt x="26487" y="4067"/>
                        <a:pt x="30926" y="3886"/>
                      </a:cubicBezTo>
                      <a:lnTo>
                        <a:pt x="30926" y="3886"/>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57" name="Freeform: Shape 556">
                  <a:extLst>
                    <a:ext uri="{FF2B5EF4-FFF2-40B4-BE49-F238E27FC236}">
                      <a16:creationId xmlns:a16="http://schemas.microsoft.com/office/drawing/2014/main" id="{0AB99F39-2466-4BFB-AB65-64B36878524A}"/>
                    </a:ext>
                  </a:extLst>
                </p:cNvPr>
                <p:cNvSpPr/>
                <p:nvPr/>
              </p:nvSpPr>
              <p:spPr>
                <a:xfrm>
                  <a:off x="6011768" y="3627248"/>
                  <a:ext cx="323722" cy="501057"/>
                </a:xfrm>
                <a:custGeom>
                  <a:avLst/>
                  <a:gdLst>
                    <a:gd name="connsiteX0" fmla="*/ 315537 w 323722"/>
                    <a:gd name="connsiteY0" fmla="*/ 123503 h 501057"/>
                    <a:gd name="connsiteX1" fmla="*/ 320842 w 323722"/>
                    <a:gd name="connsiteY1" fmla="*/ 203332 h 501057"/>
                    <a:gd name="connsiteX2" fmla="*/ 321928 w 323722"/>
                    <a:gd name="connsiteY2" fmla="*/ 221239 h 501057"/>
                    <a:gd name="connsiteX3" fmla="*/ 323052 w 323722"/>
                    <a:gd name="connsiteY3" fmla="*/ 240651 h 501057"/>
                    <a:gd name="connsiteX4" fmla="*/ 295305 w 323722"/>
                    <a:gd name="connsiteY4" fmla="*/ 243661 h 501057"/>
                    <a:gd name="connsiteX5" fmla="*/ 292448 w 323722"/>
                    <a:gd name="connsiteY5" fmla="*/ 255844 h 501057"/>
                    <a:gd name="connsiteX6" fmla="*/ 285333 w 323722"/>
                    <a:gd name="connsiteY6" fmla="*/ 268322 h 501057"/>
                    <a:gd name="connsiteX7" fmla="*/ 284409 w 323722"/>
                    <a:gd name="connsiteY7" fmla="*/ 272865 h 501057"/>
                    <a:gd name="connsiteX8" fmla="*/ 279056 w 323722"/>
                    <a:gd name="connsiteY8" fmla="*/ 276237 h 501057"/>
                    <a:gd name="connsiteX9" fmla="*/ 277675 w 323722"/>
                    <a:gd name="connsiteY9" fmla="*/ 285876 h 501057"/>
                    <a:gd name="connsiteX10" fmla="*/ 279142 w 323722"/>
                    <a:gd name="connsiteY10" fmla="*/ 293277 h 501057"/>
                    <a:gd name="connsiteX11" fmla="*/ 268759 w 323722"/>
                    <a:gd name="connsiteY11" fmla="*/ 301373 h 501057"/>
                    <a:gd name="connsiteX12" fmla="*/ 272112 w 323722"/>
                    <a:gd name="connsiteY12" fmla="*/ 313299 h 501057"/>
                    <a:gd name="connsiteX13" fmla="*/ 266292 w 323722"/>
                    <a:gd name="connsiteY13" fmla="*/ 324090 h 501057"/>
                    <a:gd name="connsiteX14" fmla="*/ 261435 w 323722"/>
                    <a:gd name="connsiteY14" fmla="*/ 336282 h 501057"/>
                    <a:gd name="connsiteX15" fmla="*/ 274017 w 323722"/>
                    <a:gd name="connsiteY15" fmla="*/ 337444 h 501057"/>
                    <a:gd name="connsiteX16" fmla="*/ 280446 w 323722"/>
                    <a:gd name="connsiteY16" fmla="*/ 349856 h 501057"/>
                    <a:gd name="connsiteX17" fmla="*/ 281828 w 323722"/>
                    <a:gd name="connsiteY17" fmla="*/ 356628 h 501057"/>
                    <a:gd name="connsiteX18" fmla="*/ 285323 w 323722"/>
                    <a:gd name="connsiteY18" fmla="*/ 360038 h 501057"/>
                    <a:gd name="connsiteX19" fmla="*/ 287809 w 323722"/>
                    <a:gd name="connsiteY19" fmla="*/ 374897 h 501057"/>
                    <a:gd name="connsiteX20" fmla="*/ 297487 w 323722"/>
                    <a:gd name="connsiteY20" fmla="*/ 382784 h 501057"/>
                    <a:gd name="connsiteX21" fmla="*/ 294001 w 323722"/>
                    <a:gd name="connsiteY21" fmla="*/ 393442 h 501057"/>
                    <a:gd name="connsiteX22" fmla="*/ 285076 w 323722"/>
                    <a:gd name="connsiteY22" fmla="*/ 391413 h 501057"/>
                    <a:gd name="connsiteX23" fmla="*/ 277084 w 323722"/>
                    <a:gd name="connsiteY23" fmla="*/ 393975 h 501057"/>
                    <a:gd name="connsiteX24" fmla="*/ 259806 w 323722"/>
                    <a:gd name="connsiteY24" fmla="*/ 405110 h 501057"/>
                    <a:gd name="connsiteX25" fmla="*/ 260558 w 323722"/>
                    <a:gd name="connsiteY25" fmla="*/ 411073 h 501057"/>
                    <a:gd name="connsiteX26" fmla="*/ 256063 w 323722"/>
                    <a:gd name="connsiteY26" fmla="*/ 415740 h 501057"/>
                    <a:gd name="connsiteX27" fmla="*/ 247919 w 323722"/>
                    <a:gd name="connsiteY27" fmla="*/ 423570 h 501057"/>
                    <a:gd name="connsiteX28" fmla="*/ 227459 w 323722"/>
                    <a:gd name="connsiteY28" fmla="*/ 444648 h 501057"/>
                    <a:gd name="connsiteX29" fmla="*/ 211066 w 323722"/>
                    <a:gd name="connsiteY29" fmla="*/ 449973 h 501057"/>
                    <a:gd name="connsiteX30" fmla="*/ 197598 w 323722"/>
                    <a:gd name="connsiteY30" fmla="*/ 453507 h 501057"/>
                    <a:gd name="connsiteX31" fmla="*/ 177995 w 323722"/>
                    <a:gd name="connsiteY31" fmla="*/ 454364 h 501057"/>
                    <a:gd name="connsiteX32" fmla="*/ 179710 w 323722"/>
                    <a:gd name="connsiteY32" fmla="*/ 464060 h 501057"/>
                    <a:gd name="connsiteX33" fmla="*/ 160365 w 323722"/>
                    <a:gd name="connsiteY33" fmla="*/ 484653 h 501057"/>
                    <a:gd name="connsiteX34" fmla="*/ 126046 w 323722"/>
                    <a:gd name="connsiteY34" fmla="*/ 489921 h 501057"/>
                    <a:gd name="connsiteX35" fmla="*/ 100548 w 323722"/>
                    <a:gd name="connsiteY35" fmla="*/ 489911 h 501057"/>
                    <a:gd name="connsiteX36" fmla="*/ 95442 w 323722"/>
                    <a:gd name="connsiteY36" fmla="*/ 495645 h 501057"/>
                    <a:gd name="connsiteX37" fmla="*/ 85241 w 323722"/>
                    <a:gd name="connsiteY37" fmla="*/ 498941 h 501057"/>
                    <a:gd name="connsiteX38" fmla="*/ 67353 w 323722"/>
                    <a:gd name="connsiteY38" fmla="*/ 500674 h 501057"/>
                    <a:gd name="connsiteX39" fmla="*/ 65677 w 323722"/>
                    <a:gd name="connsiteY39" fmla="*/ 489587 h 501057"/>
                    <a:gd name="connsiteX40" fmla="*/ 55780 w 323722"/>
                    <a:gd name="connsiteY40" fmla="*/ 468889 h 501057"/>
                    <a:gd name="connsiteX41" fmla="*/ 29091 w 323722"/>
                    <a:gd name="connsiteY41" fmla="*/ 445782 h 501057"/>
                    <a:gd name="connsiteX42" fmla="*/ 19576 w 323722"/>
                    <a:gd name="connsiteY42" fmla="*/ 431590 h 501057"/>
                    <a:gd name="connsiteX43" fmla="*/ 34720 w 323722"/>
                    <a:gd name="connsiteY43" fmla="*/ 423636 h 501057"/>
                    <a:gd name="connsiteX44" fmla="*/ 53932 w 323722"/>
                    <a:gd name="connsiteY44" fmla="*/ 423484 h 501057"/>
                    <a:gd name="connsiteX45" fmla="*/ 71192 w 323722"/>
                    <a:gd name="connsiteY45" fmla="*/ 422427 h 501057"/>
                    <a:gd name="connsiteX46" fmla="*/ 51761 w 323722"/>
                    <a:gd name="connsiteY46" fmla="*/ 392956 h 501057"/>
                    <a:gd name="connsiteX47" fmla="*/ 53047 w 323722"/>
                    <a:gd name="connsiteY47" fmla="*/ 375163 h 501057"/>
                    <a:gd name="connsiteX48" fmla="*/ 49046 w 323722"/>
                    <a:gd name="connsiteY48" fmla="*/ 358047 h 501057"/>
                    <a:gd name="connsiteX49" fmla="*/ 43293 w 323722"/>
                    <a:gd name="connsiteY49" fmla="*/ 342883 h 501057"/>
                    <a:gd name="connsiteX50" fmla="*/ 37997 w 323722"/>
                    <a:gd name="connsiteY50" fmla="*/ 337406 h 501057"/>
                    <a:gd name="connsiteX51" fmla="*/ 32996 w 323722"/>
                    <a:gd name="connsiteY51" fmla="*/ 328834 h 501057"/>
                    <a:gd name="connsiteX52" fmla="*/ 18395 w 323722"/>
                    <a:gd name="connsiteY52" fmla="*/ 324719 h 501057"/>
                    <a:gd name="connsiteX53" fmla="*/ 4869 w 323722"/>
                    <a:gd name="connsiteY53" fmla="*/ 306707 h 501057"/>
                    <a:gd name="connsiteX54" fmla="*/ 192 w 323722"/>
                    <a:gd name="connsiteY54" fmla="*/ 289658 h 501057"/>
                    <a:gd name="connsiteX55" fmla="*/ 6384 w 323722"/>
                    <a:gd name="connsiteY55" fmla="*/ 272808 h 501057"/>
                    <a:gd name="connsiteX56" fmla="*/ 27091 w 323722"/>
                    <a:gd name="connsiteY56" fmla="*/ 240185 h 501057"/>
                    <a:gd name="connsiteX57" fmla="*/ 53990 w 323722"/>
                    <a:gd name="connsiteY57" fmla="*/ 210286 h 501057"/>
                    <a:gd name="connsiteX58" fmla="*/ 60133 w 323722"/>
                    <a:gd name="connsiteY58" fmla="*/ 172129 h 501057"/>
                    <a:gd name="connsiteX59" fmla="*/ 61781 w 323722"/>
                    <a:gd name="connsiteY59" fmla="*/ 133219 h 501057"/>
                    <a:gd name="connsiteX60" fmla="*/ 62495 w 323722"/>
                    <a:gd name="connsiteY60" fmla="*/ 115045 h 501057"/>
                    <a:gd name="connsiteX61" fmla="*/ 68620 w 323722"/>
                    <a:gd name="connsiteY61" fmla="*/ 98062 h 501057"/>
                    <a:gd name="connsiteX62" fmla="*/ 59190 w 323722"/>
                    <a:gd name="connsiteY62" fmla="*/ 86318 h 501057"/>
                    <a:gd name="connsiteX63" fmla="*/ 56266 w 323722"/>
                    <a:gd name="connsiteY63" fmla="*/ 78812 h 501057"/>
                    <a:gd name="connsiteX64" fmla="*/ 52266 w 323722"/>
                    <a:gd name="connsiteY64" fmla="*/ 70516 h 501057"/>
                    <a:gd name="connsiteX65" fmla="*/ 43045 w 323722"/>
                    <a:gd name="connsiteY65" fmla="*/ 55952 h 501057"/>
                    <a:gd name="connsiteX66" fmla="*/ 39559 w 323722"/>
                    <a:gd name="connsiteY66" fmla="*/ 33378 h 501057"/>
                    <a:gd name="connsiteX67" fmla="*/ 35263 w 323722"/>
                    <a:gd name="connsiteY67" fmla="*/ 14776 h 501057"/>
                    <a:gd name="connsiteX68" fmla="*/ 50275 w 323722"/>
                    <a:gd name="connsiteY68" fmla="*/ 5965 h 501057"/>
                    <a:gd name="connsiteX69" fmla="*/ 66553 w 323722"/>
                    <a:gd name="connsiteY69" fmla="*/ 126 h 501057"/>
                    <a:gd name="connsiteX70" fmla="*/ 86537 w 323722"/>
                    <a:gd name="connsiteY70" fmla="*/ 10137 h 501057"/>
                    <a:gd name="connsiteX71" fmla="*/ 154840 w 323722"/>
                    <a:gd name="connsiteY71" fmla="*/ 44189 h 501057"/>
                    <a:gd name="connsiteX72" fmla="*/ 315537 w 323722"/>
                    <a:gd name="connsiteY72" fmla="*/ 123503 h 501057"/>
                    <a:gd name="connsiteX73" fmla="*/ 315537 w 323722"/>
                    <a:gd name="connsiteY73" fmla="*/ 123503 h 501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23722" h="501057">
                      <a:moveTo>
                        <a:pt x="315537" y="123503"/>
                      </a:moveTo>
                      <a:cubicBezTo>
                        <a:pt x="317404" y="150107"/>
                        <a:pt x="319213" y="176710"/>
                        <a:pt x="320842" y="203332"/>
                      </a:cubicBezTo>
                      <a:cubicBezTo>
                        <a:pt x="321204" y="209295"/>
                        <a:pt x="321566" y="215267"/>
                        <a:pt x="321928" y="221239"/>
                      </a:cubicBezTo>
                      <a:cubicBezTo>
                        <a:pt x="322147" y="225078"/>
                        <a:pt x="324985" y="237022"/>
                        <a:pt x="323052" y="240651"/>
                      </a:cubicBezTo>
                      <a:cubicBezTo>
                        <a:pt x="320489" y="245423"/>
                        <a:pt x="301382" y="240280"/>
                        <a:pt x="295305" y="243661"/>
                      </a:cubicBezTo>
                      <a:cubicBezTo>
                        <a:pt x="289305" y="247005"/>
                        <a:pt x="292991" y="250691"/>
                        <a:pt x="292448" y="255844"/>
                      </a:cubicBezTo>
                      <a:cubicBezTo>
                        <a:pt x="291886" y="261102"/>
                        <a:pt x="287428" y="263569"/>
                        <a:pt x="285333" y="268322"/>
                      </a:cubicBezTo>
                      <a:cubicBezTo>
                        <a:pt x="284856" y="269388"/>
                        <a:pt x="284952" y="272103"/>
                        <a:pt x="284409" y="272865"/>
                      </a:cubicBezTo>
                      <a:cubicBezTo>
                        <a:pt x="282856" y="275056"/>
                        <a:pt x="280713" y="274437"/>
                        <a:pt x="279056" y="276237"/>
                      </a:cubicBezTo>
                      <a:cubicBezTo>
                        <a:pt x="275770" y="279771"/>
                        <a:pt x="275417" y="280761"/>
                        <a:pt x="277675" y="285876"/>
                      </a:cubicBezTo>
                      <a:cubicBezTo>
                        <a:pt x="279494" y="290020"/>
                        <a:pt x="281399" y="289534"/>
                        <a:pt x="279142" y="293277"/>
                      </a:cubicBezTo>
                      <a:cubicBezTo>
                        <a:pt x="277008" y="296811"/>
                        <a:pt x="270455" y="296773"/>
                        <a:pt x="268759" y="301373"/>
                      </a:cubicBezTo>
                      <a:cubicBezTo>
                        <a:pt x="266988" y="306155"/>
                        <a:pt x="271198" y="308850"/>
                        <a:pt x="272112" y="313299"/>
                      </a:cubicBezTo>
                      <a:cubicBezTo>
                        <a:pt x="273455" y="319890"/>
                        <a:pt x="270207" y="319909"/>
                        <a:pt x="266292" y="324090"/>
                      </a:cubicBezTo>
                      <a:cubicBezTo>
                        <a:pt x="264006" y="326538"/>
                        <a:pt x="259025" y="332539"/>
                        <a:pt x="261435" y="336282"/>
                      </a:cubicBezTo>
                      <a:cubicBezTo>
                        <a:pt x="264425" y="340950"/>
                        <a:pt x="269979" y="336321"/>
                        <a:pt x="274017" y="337444"/>
                      </a:cubicBezTo>
                      <a:cubicBezTo>
                        <a:pt x="279646" y="339016"/>
                        <a:pt x="279418" y="344979"/>
                        <a:pt x="280446" y="349856"/>
                      </a:cubicBezTo>
                      <a:cubicBezTo>
                        <a:pt x="280875" y="351894"/>
                        <a:pt x="281142" y="354770"/>
                        <a:pt x="281828" y="356628"/>
                      </a:cubicBezTo>
                      <a:cubicBezTo>
                        <a:pt x="282656" y="358876"/>
                        <a:pt x="284638" y="357799"/>
                        <a:pt x="285323" y="360038"/>
                      </a:cubicBezTo>
                      <a:cubicBezTo>
                        <a:pt x="287000" y="365524"/>
                        <a:pt x="283371" y="370029"/>
                        <a:pt x="287809" y="374897"/>
                      </a:cubicBezTo>
                      <a:cubicBezTo>
                        <a:pt x="291143" y="378545"/>
                        <a:pt x="295887" y="377754"/>
                        <a:pt x="297487" y="382784"/>
                      </a:cubicBezTo>
                      <a:cubicBezTo>
                        <a:pt x="298592" y="386251"/>
                        <a:pt x="296105" y="392585"/>
                        <a:pt x="294001" y="393442"/>
                      </a:cubicBezTo>
                      <a:cubicBezTo>
                        <a:pt x="292200" y="394166"/>
                        <a:pt x="287352" y="391280"/>
                        <a:pt x="285076" y="391413"/>
                      </a:cubicBezTo>
                      <a:cubicBezTo>
                        <a:pt x="282209" y="391575"/>
                        <a:pt x="279770" y="392870"/>
                        <a:pt x="277084" y="393975"/>
                      </a:cubicBezTo>
                      <a:cubicBezTo>
                        <a:pt x="272198" y="395985"/>
                        <a:pt x="262130" y="400071"/>
                        <a:pt x="259806" y="405110"/>
                      </a:cubicBezTo>
                      <a:cubicBezTo>
                        <a:pt x="259139" y="406558"/>
                        <a:pt x="261139" y="409244"/>
                        <a:pt x="260558" y="411073"/>
                      </a:cubicBezTo>
                      <a:cubicBezTo>
                        <a:pt x="259606" y="414045"/>
                        <a:pt x="257653" y="413968"/>
                        <a:pt x="256063" y="415740"/>
                      </a:cubicBezTo>
                      <a:cubicBezTo>
                        <a:pt x="253691" y="418359"/>
                        <a:pt x="250300" y="421483"/>
                        <a:pt x="247919" y="423570"/>
                      </a:cubicBezTo>
                      <a:cubicBezTo>
                        <a:pt x="241004" y="429637"/>
                        <a:pt x="235422" y="439086"/>
                        <a:pt x="227459" y="444648"/>
                      </a:cubicBezTo>
                      <a:cubicBezTo>
                        <a:pt x="220944" y="449201"/>
                        <a:pt x="218382" y="448982"/>
                        <a:pt x="211066" y="449973"/>
                      </a:cubicBezTo>
                      <a:cubicBezTo>
                        <a:pt x="206628" y="450563"/>
                        <a:pt x="202341" y="452992"/>
                        <a:pt x="197598" y="453507"/>
                      </a:cubicBezTo>
                      <a:cubicBezTo>
                        <a:pt x="191655" y="454154"/>
                        <a:pt x="183577" y="452068"/>
                        <a:pt x="177995" y="454364"/>
                      </a:cubicBezTo>
                      <a:cubicBezTo>
                        <a:pt x="167451" y="458717"/>
                        <a:pt x="178424" y="459326"/>
                        <a:pt x="179710" y="464060"/>
                      </a:cubicBezTo>
                      <a:cubicBezTo>
                        <a:pt x="181148" y="469375"/>
                        <a:pt x="164851" y="483348"/>
                        <a:pt x="160365" y="484653"/>
                      </a:cubicBezTo>
                      <a:cubicBezTo>
                        <a:pt x="148944" y="487968"/>
                        <a:pt x="136924" y="484358"/>
                        <a:pt x="126046" y="489921"/>
                      </a:cubicBezTo>
                      <a:cubicBezTo>
                        <a:pt x="117826" y="494131"/>
                        <a:pt x="103615" y="506913"/>
                        <a:pt x="100548" y="489911"/>
                      </a:cubicBezTo>
                      <a:cubicBezTo>
                        <a:pt x="96681" y="491054"/>
                        <a:pt x="97643" y="494140"/>
                        <a:pt x="95442" y="495645"/>
                      </a:cubicBezTo>
                      <a:cubicBezTo>
                        <a:pt x="92728" y="497493"/>
                        <a:pt x="88251" y="497645"/>
                        <a:pt x="85241" y="498941"/>
                      </a:cubicBezTo>
                      <a:cubicBezTo>
                        <a:pt x="78040" y="502036"/>
                        <a:pt x="75278" y="500884"/>
                        <a:pt x="67353" y="500674"/>
                      </a:cubicBezTo>
                      <a:cubicBezTo>
                        <a:pt x="72087" y="494902"/>
                        <a:pt x="68306" y="493702"/>
                        <a:pt x="65677" y="489587"/>
                      </a:cubicBezTo>
                      <a:cubicBezTo>
                        <a:pt x="61562" y="483139"/>
                        <a:pt x="60505" y="475157"/>
                        <a:pt x="55780" y="468889"/>
                      </a:cubicBezTo>
                      <a:cubicBezTo>
                        <a:pt x="48741" y="459536"/>
                        <a:pt x="36949" y="454621"/>
                        <a:pt x="29091" y="445782"/>
                      </a:cubicBezTo>
                      <a:cubicBezTo>
                        <a:pt x="25757" y="442029"/>
                        <a:pt x="18814" y="436447"/>
                        <a:pt x="19576" y="431590"/>
                      </a:cubicBezTo>
                      <a:cubicBezTo>
                        <a:pt x="20709" y="424265"/>
                        <a:pt x="29301" y="423255"/>
                        <a:pt x="34720" y="423636"/>
                      </a:cubicBezTo>
                      <a:cubicBezTo>
                        <a:pt x="41340" y="424103"/>
                        <a:pt x="47379" y="423570"/>
                        <a:pt x="53932" y="423484"/>
                      </a:cubicBezTo>
                      <a:cubicBezTo>
                        <a:pt x="59581" y="423417"/>
                        <a:pt x="65886" y="425484"/>
                        <a:pt x="71192" y="422427"/>
                      </a:cubicBezTo>
                      <a:cubicBezTo>
                        <a:pt x="60324" y="416207"/>
                        <a:pt x="54094" y="404881"/>
                        <a:pt x="51761" y="392956"/>
                      </a:cubicBezTo>
                      <a:cubicBezTo>
                        <a:pt x="50370" y="385917"/>
                        <a:pt x="52628" y="381650"/>
                        <a:pt x="53047" y="375163"/>
                      </a:cubicBezTo>
                      <a:cubicBezTo>
                        <a:pt x="53389" y="369782"/>
                        <a:pt x="51427" y="363086"/>
                        <a:pt x="49046" y="358047"/>
                      </a:cubicBezTo>
                      <a:cubicBezTo>
                        <a:pt x="46731" y="353142"/>
                        <a:pt x="45674" y="347417"/>
                        <a:pt x="43293" y="342883"/>
                      </a:cubicBezTo>
                      <a:cubicBezTo>
                        <a:pt x="41636" y="339730"/>
                        <a:pt x="40054" y="339607"/>
                        <a:pt x="37997" y="337406"/>
                      </a:cubicBezTo>
                      <a:cubicBezTo>
                        <a:pt x="35692" y="334939"/>
                        <a:pt x="34968" y="330815"/>
                        <a:pt x="32996" y="328834"/>
                      </a:cubicBezTo>
                      <a:cubicBezTo>
                        <a:pt x="29158" y="324948"/>
                        <a:pt x="22281" y="327177"/>
                        <a:pt x="18395" y="324719"/>
                      </a:cubicBezTo>
                      <a:cubicBezTo>
                        <a:pt x="14051" y="321985"/>
                        <a:pt x="7288" y="311289"/>
                        <a:pt x="4869" y="306707"/>
                      </a:cubicBezTo>
                      <a:cubicBezTo>
                        <a:pt x="2345" y="301907"/>
                        <a:pt x="1059" y="295144"/>
                        <a:pt x="192" y="289658"/>
                      </a:cubicBezTo>
                      <a:cubicBezTo>
                        <a:pt x="-932" y="282495"/>
                        <a:pt x="3097" y="279504"/>
                        <a:pt x="6384" y="272808"/>
                      </a:cubicBezTo>
                      <a:cubicBezTo>
                        <a:pt x="11956" y="261473"/>
                        <a:pt x="19109" y="250053"/>
                        <a:pt x="27091" y="240185"/>
                      </a:cubicBezTo>
                      <a:cubicBezTo>
                        <a:pt x="35473" y="229812"/>
                        <a:pt x="45112" y="220220"/>
                        <a:pt x="53990" y="210286"/>
                      </a:cubicBezTo>
                      <a:cubicBezTo>
                        <a:pt x="62229" y="201085"/>
                        <a:pt x="59628" y="184302"/>
                        <a:pt x="60133" y="172129"/>
                      </a:cubicBezTo>
                      <a:cubicBezTo>
                        <a:pt x="60676" y="159155"/>
                        <a:pt x="61238" y="146182"/>
                        <a:pt x="61781" y="133219"/>
                      </a:cubicBezTo>
                      <a:cubicBezTo>
                        <a:pt x="62019" y="127190"/>
                        <a:pt x="61962" y="121055"/>
                        <a:pt x="62495" y="115045"/>
                      </a:cubicBezTo>
                      <a:cubicBezTo>
                        <a:pt x="63019" y="109225"/>
                        <a:pt x="68610" y="103101"/>
                        <a:pt x="68620" y="98062"/>
                      </a:cubicBezTo>
                      <a:cubicBezTo>
                        <a:pt x="68620" y="93233"/>
                        <a:pt x="62010" y="89995"/>
                        <a:pt x="59190" y="86318"/>
                      </a:cubicBezTo>
                      <a:cubicBezTo>
                        <a:pt x="56637" y="82984"/>
                        <a:pt x="57152" y="82051"/>
                        <a:pt x="56266" y="78812"/>
                      </a:cubicBezTo>
                      <a:cubicBezTo>
                        <a:pt x="55561" y="76231"/>
                        <a:pt x="54532" y="73650"/>
                        <a:pt x="52266" y="70516"/>
                      </a:cubicBezTo>
                      <a:cubicBezTo>
                        <a:pt x="48475" y="65277"/>
                        <a:pt x="44369" y="62039"/>
                        <a:pt x="43045" y="55952"/>
                      </a:cubicBezTo>
                      <a:cubicBezTo>
                        <a:pt x="41455" y="48608"/>
                        <a:pt x="41207" y="40846"/>
                        <a:pt x="39559" y="33378"/>
                      </a:cubicBezTo>
                      <a:cubicBezTo>
                        <a:pt x="38502" y="28530"/>
                        <a:pt x="34225" y="19329"/>
                        <a:pt x="35263" y="14776"/>
                      </a:cubicBezTo>
                      <a:cubicBezTo>
                        <a:pt x="36197" y="10708"/>
                        <a:pt x="45779" y="8108"/>
                        <a:pt x="50275" y="5965"/>
                      </a:cubicBezTo>
                      <a:cubicBezTo>
                        <a:pt x="55485" y="3488"/>
                        <a:pt x="61181" y="-788"/>
                        <a:pt x="66553" y="126"/>
                      </a:cubicBezTo>
                      <a:cubicBezTo>
                        <a:pt x="72497" y="1136"/>
                        <a:pt x="81288" y="7508"/>
                        <a:pt x="86537" y="10137"/>
                      </a:cubicBezTo>
                      <a:cubicBezTo>
                        <a:pt x="109282" y="21519"/>
                        <a:pt x="132047" y="32873"/>
                        <a:pt x="154840" y="44189"/>
                      </a:cubicBezTo>
                      <a:cubicBezTo>
                        <a:pt x="208323" y="70735"/>
                        <a:pt x="261901" y="97186"/>
                        <a:pt x="315537" y="123503"/>
                      </a:cubicBezTo>
                      <a:lnTo>
                        <a:pt x="315537" y="123503"/>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58" name="Freeform: Shape 557">
                  <a:extLst>
                    <a:ext uri="{FF2B5EF4-FFF2-40B4-BE49-F238E27FC236}">
                      <a16:creationId xmlns:a16="http://schemas.microsoft.com/office/drawing/2014/main" id="{EB2F4FD0-CDEE-4F39-ADBA-F037B84888F6}"/>
                    </a:ext>
                  </a:extLst>
                </p:cNvPr>
                <p:cNvSpPr/>
                <p:nvPr/>
              </p:nvSpPr>
              <p:spPr>
                <a:xfrm>
                  <a:off x="6614998" y="3191112"/>
                  <a:ext cx="177792" cy="155201"/>
                </a:xfrm>
                <a:custGeom>
                  <a:avLst/>
                  <a:gdLst>
                    <a:gd name="connsiteX0" fmla="*/ 177793 w 177792"/>
                    <a:gd name="connsiteY0" fmla="*/ 4856 h 155201"/>
                    <a:gd name="connsiteX1" fmla="*/ 171268 w 177792"/>
                    <a:gd name="connsiteY1" fmla="*/ 14515 h 155201"/>
                    <a:gd name="connsiteX2" fmla="*/ 165134 w 177792"/>
                    <a:gd name="connsiteY2" fmla="*/ 20935 h 155201"/>
                    <a:gd name="connsiteX3" fmla="*/ 156124 w 177792"/>
                    <a:gd name="connsiteY3" fmla="*/ 23268 h 155201"/>
                    <a:gd name="connsiteX4" fmla="*/ 158829 w 177792"/>
                    <a:gd name="connsiteY4" fmla="*/ 52548 h 155201"/>
                    <a:gd name="connsiteX5" fmla="*/ 158695 w 177792"/>
                    <a:gd name="connsiteY5" fmla="*/ 69483 h 155201"/>
                    <a:gd name="connsiteX6" fmla="*/ 158657 w 177792"/>
                    <a:gd name="connsiteY6" fmla="*/ 83399 h 155201"/>
                    <a:gd name="connsiteX7" fmla="*/ 131635 w 177792"/>
                    <a:gd name="connsiteY7" fmla="*/ 102783 h 155201"/>
                    <a:gd name="connsiteX8" fmla="*/ 70541 w 177792"/>
                    <a:gd name="connsiteY8" fmla="*/ 141178 h 155201"/>
                    <a:gd name="connsiteX9" fmla="*/ 38385 w 177792"/>
                    <a:gd name="connsiteY9" fmla="*/ 154370 h 155201"/>
                    <a:gd name="connsiteX10" fmla="*/ 24755 w 177792"/>
                    <a:gd name="connsiteY10" fmla="*/ 148331 h 155201"/>
                    <a:gd name="connsiteX11" fmla="*/ 19640 w 177792"/>
                    <a:gd name="connsiteY11" fmla="*/ 143283 h 155201"/>
                    <a:gd name="connsiteX12" fmla="*/ 16363 w 177792"/>
                    <a:gd name="connsiteY12" fmla="*/ 141911 h 155201"/>
                    <a:gd name="connsiteX13" fmla="*/ 18297 w 177792"/>
                    <a:gd name="connsiteY13" fmla="*/ 137216 h 155201"/>
                    <a:gd name="connsiteX14" fmla="*/ 16259 w 177792"/>
                    <a:gd name="connsiteY14" fmla="*/ 118518 h 155201"/>
                    <a:gd name="connsiteX15" fmla="*/ 18221 w 177792"/>
                    <a:gd name="connsiteY15" fmla="*/ 115251 h 155201"/>
                    <a:gd name="connsiteX16" fmla="*/ 16592 w 177792"/>
                    <a:gd name="connsiteY16" fmla="*/ 110565 h 155201"/>
                    <a:gd name="connsiteX17" fmla="*/ 27041 w 177792"/>
                    <a:gd name="connsiteY17" fmla="*/ 107822 h 155201"/>
                    <a:gd name="connsiteX18" fmla="*/ 29393 w 177792"/>
                    <a:gd name="connsiteY18" fmla="*/ 99744 h 155201"/>
                    <a:gd name="connsiteX19" fmla="*/ 22326 w 177792"/>
                    <a:gd name="connsiteY19" fmla="*/ 87019 h 155201"/>
                    <a:gd name="connsiteX20" fmla="*/ 20002 w 177792"/>
                    <a:gd name="connsiteY20" fmla="*/ 82094 h 155201"/>
                    <a:gd name="connsiteX21" fmla="*/ 8115 w 177792"/>
                    <a:gd name="connsiteY21" fmla="*/ 76218 h 155201"/>
                    <a:gd name="connsiteX22" fmla="*/ 6581 w 177792"/>
                    <a:gd name="connsiteY22" fmla="*/ 62978 h 155201"/>
                    <a:gd name="connsiteX23" fmla="*/ 161 w 177792"/>
                    <a:gd name="connsiteY23" fmla="*/ 51215 h 155201"/>
                    <a:gd name="connsiteX24" fmla="*/ 1457 w 177792"/>
                    <a:gd name="connsiteY24" fmla="*/ 42899 h 155201"/>
                    <a:gd name="connsiteX25" fmla="*/ 6438 w 177792"/>
                    <a:gd name="connsiteY25" fmla="*/ 43852 h 155201"/>
                    <a:gd name="connsiteX26" fmla="*/ 9572 w 177792"/>
                    <a:gd name="connsiteY26" fmla="*/ 44956 h 155201"/>
                    <a:gd name="connsiteX27" fmla="*/ 10449 w 177792"/>
                    <a:gd name="connsiteY27" fmla="*/ 41747 h 155201"/>
                    <a:gd name="connsiteX28" fmla="*/ 12153 w 177792"/>
                    <a:gd name="connsiteY28" fmla="*/ 40356 h 155201"/>
                    <a:gd name="connsiteX29" fmla="*/ 13982 w 177792"/>
                    <a:gd name="connsiteY29" fmla="*/ 35746 h 155201"/>
                    <a:gd name="connsiteX30" fmla="*/ 21011 w 177792"/>
                    <a:gd name="connsiteY30" fmla="*/ 32403 h 155201"/>
                    <a:gd name="connsiteX31" fmla="*/ 16973 w 177792"/>
                    <a:gd name="connsiteY31" fmla="*/ 20754 h 155201"/>
                    <a:gd name="connsiteX32" fmla="*/ 38214 w 177792"/>
                    <a:gd name="connsiteY32" fmla="*/ 19353 h 155201"/>
                    <a:gd name="connsiteX33" fmla="*/ 65550 w 177792"/>
                    <a:gd name="connsiteY33" fmla="*/ 11819 h 155201"/>
                    <a:gd name="connsiteX34" fmla="*/ 77476 w 177792"/>
                    <a:gd name="connsiteY34" fmla="*/ 17553 h 155201"/>
                    <a:gd name="connsiteX35" fmla="*/ 92001 w 177792"/>
                    <a:gd name="connsiteY35" fmla="*/ 18315 h 155201"/>
                    <a:gd name="connsiteX36" fmla="*/ 122653 w 177792"/>
                    <a:gd name="connsiteY36" fmla="*/ 8885 h 155201"/>
                    <a:gd name="connsiteX37" fmla="*/ 154009 w 177792"/>
                    <a:gd name="connsiteY37" fmla="*/ 5456 h 155201"/>
                    <a:gd name="connsiteX38" fmla="*/ 177793 w 177792"/>
                    <a:gd name="connsiteY38" fmla="*/ 4856 h 155201"/>
                    <a:gd name="connsiteX39" fmla="*/ 177793 w 177792"/>
                    <a:gd name="connsiteY39" fmla="*/ 4856 h 155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77792" h="155201">
                      <a:moveTo>
                        <a:pt x="177793" y="4856"/>
                      </a:moveTo>
                      <a:cubicBezTo>
                        <a:pt x="177098" y="8457"/>
                        <a:pt x="173821" y="11610"/>
                        <a:pt x="171268" y="14515"/>
                      </a:cubicBezTo>
                      <a:cubicBezTo>
                        <a:pt x="169545" y="16486"/>
                        <a:pt x="167325" y="19639"/>
                        <a:pt x="165134" y="20935"/>
                      </a:cubicBezTo>
                      <a:cubicBezTo>
                        <a:pt x="162582" y="22449"/>
                        <a:pt x="158534" y="21639"/>
                        <a:pt x="156124" y="23268"/>
                      </a:cubicBezTo>
                      <a:cubicBezTo>
                        <a:pt x="145646" y="30326"/>
                        <a:pt x="159200" y="43814"/>
                        <a:pt x="158829" y="52548"/>
                      </a:cubicBezTo>
                      <a:cubicBezTo>
                        <a:pt x="158581" y="58568"/>
                        <a:pt x="157619" y="63168"/>
                        <a:pt x="158695" y="69483"/>
                      </a:cubicBezTo>
                      <a:cubicBezTo>
                        <a:pt x="159705" y="75360"/>
                        <a:pt x="160410" y="77780"/>
                        <a:pt x="158657" y="83399"/>
                      </a:cubicBezTo>
                      <a:cubicBezTo>
                        <a:pt x="155714" y="92905"/>
                        <a:pt x="140427" y="97392"/>
                        <a:pt x="131635" y="102783"/>
                      </a:cubicBezTo>
                      <a:cubicBezTo>
                        <a:pt x="111128" y="115375"/>
                        <a:pt x="90563" y="127824"/>
                        <a:pt x="70541" y="141178"/>
                      </a:cubicBezTo>
                      <a:cubicBezTo>
                        <a:pt x="60664" y="147769"/>
                        <a:pt x="50854" y="158228"/>
                        <a:pt x="38385" y="154370"/>
                      </a:cubicBezTo>
                      <a:cubicBezTo>
                        <a:pt x="34537" y="153180"/>
                        <a:pt x="28050" y="150465"/>
                        <a:pt x="24755" y="148331"/>
                      </a:cubicBezTo>
                      <a:cubicBezTo>
                        <a:pt x="23507" y="147531"/>
                        <a:pt x="20611" y="144598"/>
                        <a:pt x="19640" y="143283"/>
                      </a:cubicBezTo>
                      <a:cubicBezTo>
                        <a:pt x="18678" y="142007"/>
                        <a:pt x="16878" y="143845"/>
                        <a:pt x="16363" y="141911"/>
                      </a:cubicBezTo>
                      <a:cubicBezTo>
                        <a:pt x="15954" y="140388"/>
                        <a:pt x="18373" y="138673"/>
                        <a:pt x="18297" y="137216"/>
                      </a:cubicBezTo>
                      <a:cubicBezTo>
                        <a:pt x="17935" y="130386"/>
                        <a:pt x="15106" y="125662"/>
                        <a:pt x="16259" y="118518"/>
                      </a:cubicBezTo>
                      <a:cubicBezTo>
                        <a:pt x="16468" y="117194"/>
                        <a:pt x="18088" y="116232"/>
                        <a:pt x="18221" y="115251"/>
                      </a:cubicBezTo>
                      <a:cubicBezTo>
                        <a:pt x="18373" y="114175"/>
                        <a:pt x="15259" y="113632"/>
                        <a:pt x="16592" y="110565"/>
                      </a:cubicBezTo>
                      <a:cubicBezTo>
                        <a:pt x="18278" y="106669"/>
                        <a:pt x="24069" y="107983"/>
                        <a:pt x="27041" y="107822"/>
                      </a:cubicBezTo>
                      <a:cubicBezTo>
                        <a:pt x="19840" y="105288"/>
                        <a:pt x="27974" y="102364"/>
                        <a:pt x="29393" y="99744"/>
                      </a:cubicBezTo>
                      <a:cubicBezTo>
                        <a:pt x="32222" y="94563"/>
                        <a:pt x="28927" y="87267"/>
                        <a:pt x="22326" y="87019"/>
                      </a:cubicBezTo>
                      <a:cubicBezTo>
                        <a:pt x="26336" y="83276"/>
                        <a:pt x="22764" y="82523"/>
                        <a:pt x="20002" y="82094"/>
                      </a:cubicBezTo>
                      <a:cubicBezTo>
                        <a:pt x="13391" y="81085"/>
                        <a:pt x="11429" y="85438"/>
                        <a:pt x="8115" y="76218"/>
                      </a:cubicBezTo>
                      <a:cubicBezTo>
                        <a:pt x="6457" y="71607"/>
                        <a:pt x="7514" y="67435"/>
                        <a:pt x="6581" y="62978"/>
                      </a:cubicBezTo>
                      <a:cubicBezTo>
                        <a:pt x="5562" y="58101"/>
                        <a:pt x="1152" y="55520"/>
                        <a:pt x="161" y="51215"/>
                      </a:cubicBezTo>
                      <a:cubicBezTo>
                        <a:pt x="-153" y="49824"/>
                        <a:pt x="-143" y="44004"/>
                        <a:pt x="1457" y="42899"/>
                      </a:cubicBezTo>
                      <a:cubicBezTo>
                        <a:pt x="3438" y="41528"/>
                        <a:pt x="4743" y="44347"/>
                        <a:pt x="6438" y="43852"/>
                      </a:cubicBezTo>
                      <a:cubicBezTo>
                        <a:pt x="7372" y="43575"/>
                        <a:pt x="8391" y="45233"/>
                        <a:pt x="9572" y="44956"/>
                      </a:cubicBezTo>
                      <a:cubicBezTo>
                        <a:pt x="9915" y="44871"/>
                        <a:pt x="10277" y="41890"/>
                        <a:pt x="10449" y="41747"/>
                      </a:cubicBezTo>
                      <a:cubicBezTo>
                        <a:pt x="10744" y="41480"/>
                        <a:pt x="11991" y="40623"/>
                        <a:pt x="12153" y="40356"/>
                      </a:cubicBezTo>
                      <a:cubicBezTo>
                        <a:pt x="12077" y="40470"/>
                        <a:pt x="14516" y="35165"/>
                        <a:pt x="13982" y="35746"/>
                      </a:cubicBezTo>
                      <a:cubicBezTo>
                        <a:pt x="14487" y="35184"/>
                        <a:pt x="21288" y="31860"/>
                        <a:pt x="21011" y="32403"/>
                      </a:cubicBezTo>
                      <a:cubicBezTo>
                        <a:pt x="21459" y="31488"/>
                        <a:pt x="16925" y="23582"/>
                        <a:pt x="16973" y="20754"/>
                      </a:cubicBezTo>
                      <a:cubicBezTo>
                        <a:pt x="17173" y="8009"/>
                        <a:pt x="30336" y="20153"/>
                        <a:pt x="38214" y="19353"/>
                      </a:cubicBezTo>
                      <a:cubicBezTo>
                        <a:pt x="47148" y="18439"/>
                        <a:pt x="56645" y="10400"/>
                        <a:pt x="65550" y="11819"/>
                      </a:cubicBezTo>
                      <a:cubicBezTo>
                        <a:pt x="70122" y="12552"/>
                        <a:pt x="73228" y="16267"/>
                        <a:pt x="77476" y="17553"/>
                      </a:cubicBezTo>
                      <a:cubicBezTo>
                        <a:pt x="81610" y="18810"/>
                        <a:pt x="87658" y="18401"/>
                        <a:pt x="92001" y="18315"/>
                      </a:cubicBezTo>
                      <a:cubicBezTo>
                        <a:pt x="103327" y="18086"/>
                        <a:pt x="112671" y="13686"/>
                        <a:pt x="122653" y="8885"/>
                      </a:cubicBezTo>
                      <a:cubicBezTo>
                        <a:pt x="133807" y="3532"/>
                        <a:pt x="142408" y="7104"/>
                        <a:pt x="154009" y="5456"/>
                      </a:cubicBezTo>
                      <a:cubicBezTo>
                        <a:pt x="163001" y="4189"/>
                        <a:pt x="173230" y="-5783"/>
                        <a:pt x="177793" y="4856"/>
                      </a:cubicBezTo>
                      <a:lnTo>
                        <a:pt x="177793" y="4856"/>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59" name="Freeform: Shape 558">
                  <a:extLst>
                    <a:ext uri="{FF2B5EF4-FFF2-40B4-BE49-F238E27FC236}">
                      <a16:creationId xmlns:a16="http://schemas.microsoft.com/office/drawing/2014/main" id="{4F924470-12D1-47D9-AE79-95DB7A538E27}"/>
                    </a:ext>
                  </a:extLst>
                </p:cNvPr>
                <p:cNvSpPr/>
                <p:nvPr/>
              </p:nvSpPr>
              <p:spPr>
                <a:xfrm>
                  <a:off x="6511374" y="5176809"/>
                  <a:ext cx="40607" cy="48369"/>
                </a:xfrm>
                <a:custGeom>
                  <a:avLst/>
                  <a:gdLst>
                    <a:gd name="connsiteX0" fmla="*/ 37814 w 40607"/>
                    <a:gd name="connsiteY0" fmla="*/ 5741 h 48369"/>
                    <a:gd name="connsiteX1" fmla="*/ 39281 w 40607"/>
                    <a:gd name="connsiteY1" fmla="*/ 33516 h 48369"/>
                    <a:gd name="connsiteX2" fmla="*/ 33719 w 40607"/>
                    <a:gd name="connsiteY2" fmla="*/ 40669 h 48369"/>
                    <a:gd name="connsiteX3" fmla="*/ 23537 w 40607"/>
                    <a:gd name="connsiteY3" fmla="*/ 48146 h 48369"/>
                    <a:gd name="connsiteX4" fmla="*/ 7373 w 40607"/>
                    <a:gd name="connsiteY4" fmla="*/ 42412 h 48369"/>
                    <a:gd name="connsiteX5" fmla="*/ 3658 w 40607"/>
                    <a:gd name="connsiteY5" fmla="*/ 34906 h 48369"/>
                    <a:gd name="connsiteX6" fmla="*/ 296 w 40607"/>
                    <a:gd name="connsiteY6" fmla="*/ 30544 h 48369"/>
                    <a:gd name="connsiteX7" fmla="*/ 15422 w 40607"/>
                    <a:gd name="connsiteY7" fmla="*/ 2835 h 48369"/>
                    <a:gd name="connsiteX8" fmla="*/ 37814 w 40607"/>
                    <a:gd name="connsiteY8" fmla="*/ 5741 h 48369"/>
                    <a:gd name="connsiteX9" fmla="*/ 37814 w 40607"/>
                    <a:gd name="connsiteY9" fmla="*/ 5741 h 48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07" h="48369">
                      <a:moveTo>
                        <a:pt x="37814" y="5741"/>
                      </a:moveTo>
                      <a:cubicBezTo>
                        <a:pt x="42672" y="7388"/>
                        <a:pt x="39834" y="28267"/>
                        <a:pt x="39281" y="33516"/>
                      </a:cubicBezTo>
                      <a:cubicBezTo>
                        <a:pt x="34595" y="30744"/>
                        <a:pt x="34386" y="37249"/>
                        <a:pt x="33719" y="40669"/>
                      </a:cubicBezTo>
                      <a:cubicBezTo>
                        <a:pt x="32157" y="48651"/>
                        <a:pt x="32071" y="48756"/>
                        <a:pt x="23537" y="48146"/>
                      </a:cubicBezTo>
                      <a:cubicBezTo>
                        <a:pt x="17888" y="47746"/>
                        <a:pt x="11478" y="46984"/>
                        <a:pt x="7373" y="42412"/>
                      </a:cubicBezTo>
                      <a:cubicBezTo>
                        <a:pt x="5534" y="40354"/>
                        <a:pt x="5048" y="37268"/>
                        <a:pt x="3658" y="34906"/>
                      </a:cubicBezTo>
                      <a:cubicBezTo>
                        <a:pt x="2667" y="33220"/>
                        <a:pt x="581" y="31649"/>
                        <a:pt x="296" y="30544"/>
                      </a:cubicBezTo>
                      <a:cubicBezTo>
                        <a:pt x="-1962" y="21447"/>
                        <a:pt x="9249" y="8351"/>
                        <a:pt x="15422" y="2835"/>
                      </a:cubicBezTo>
                      <a:cubicBezTo>
                        <a:pt x="25566" y="-6213"/>
                        <a:pt x="28699" y="9636"/>
                        <a:pt x="37814" y="5741"/>
                      </a:cubicBezTo>
                      <a:lnTo>
                        <a:pt x="37814" y="5741"/>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60" name="Freeform: Shape 559">
                  <a:extLst>
                    <a:ext uri="{FF2B5EF4-FFF2-40B4-BE49-F238E27FC236}">
                      <a16:creationId xmlns:a16="http://schemas.microsoft.com/office/drawing/2014/main" id="{4FDEFDED-2E43-495C-9616-A4FA756DDFDB}"/>
                    </a:ext>
                  </a:extLst>
                </p:cNvPr>
                <p:cNvSpPr/>
                <p:nvPr/>
              </p:nvSpPr>
              <p:spPr>
                <a:xfrm>
                  <a:off x="5860363" y="2190639"/>
                  <a:ext cx="269602" cy="429771"/>
                </a:xfrm>
                <a:custGeom>
                  <a:avLst/>
                  <a:gdLst>
                    <a:gd name="connsiteX0" fmla="*/ 225873 w 269602"/>
                    <a:gd name="connsiteY0" fmla="*/ 20682 h 429771"/>
                    <a:gd name="connsiteX1" fmla="*/ 240570 w 269602"/>
                    <a:gd name="connsiteY1" fmla="*/ 31121 h 429771"/>
                    <a:gd name="connsiteX2" fmla="*/ 244266 w 269602"/>
                    <a:gd name="connsiteY2" fmla="*/ 33169 h 429771"/>
                    <a:gd name="connsiteX3" fmla="*/ 244047 w 269602"/>
                    <a:gd name="connsiteY3" fmla="*/ 35264 h 429771"/>
                    <a:gd name="connsiteX4" fmla="*/ 244532 w 269602"/>
                    <a:gd name="connsiteY4" fmla="*/ 43113 h 429771"/>
                    <a:gd name="connsiteX5" fmla="*/ 244123 w 269602"/>
                    <a:gd name="connsiteY5" fmla="*/ 47733 h 429771"/>
                    <a:gd name="connsiteX6" fmla="*/ 247495 w 269602"/>
                    <a:gd name="connsiteY6" fmla="*/ 49733 h 429771"/>
                    <a:gd name="connsiteX7" fmla="*/ 251829 w 269602"/>
                    <a:gd name="connsiteY7" fmla="*/ 53962 h 429771"/>
                    <a:gd name="connsiteX8" fmla="*/ 249762 w 269602"/>
                    <a:gd name="connsiteY8" fmla="*/ 58363 h 429771"/>
                    <a:gd name="connsiteX9" fmla="*/ 259391 w 269602"/>
                    <a:gd name="connsiteY9" fmla="*/ 68831 h 429771"/>
                    <a:gd name="connsiteX10" fmla="*/ 256496 w 269602"/>
                    <a:gd name="connsiteY10" fmla="*/ 79499 h 429771"/>
                    <a:gd name="connsiteX11" fmla="*/ 269602 w 269602"/>
                    <a:gd name="connsiteY11" fmla="*/ 101368 h 429771"/>
                    <a:gd name="connsiteX12" fmla="*/ 254248 w 269602"/>
                    <a:gd name="connsiteY12" fmla="*/ 101387 h 429771"/>
                    <a:gd name="connsiteX13" fmla="*/ 242846 w 269602"/>
                    <a:gd name="connsiteY13" fmla="*/ 102168 h 429771"/>
                    <a:gd name="connsiteX14" fmla="*/ 239074 w 269602"/>
                    <a:gd name="connsiteY14" fmla="*/ 99996 h 429771"/>
                    <a:gd name="connsiteX15" fmla="*/ 236122 w 269602"/>
                    <a:gd name="connsiteY15" fmla="*/ 100825 h 429771"/>
                    <a:gd name="connsiteX16" fmla="*/ 231073 w 269602"/>
                    <a:gd name="connsiteY16" fmla="*/ 99730 h 429771"/>
                    <a:gd name="connsiteX17" fmla="*/ 228540 w 269602"/>
                    <a:gd name="connsiteY17" fmla="*/ 107912 h 429771"/>
                    <a:gd name="connsiteX18" fmla="*/ 224739 w 269602"/>
                    <a:gd name="connsiteY18" fmla="*/ 107493 h 429771"/>
                    <a:gd name="connsiteX19" fmla="*/ 226416 w 269602"/>
                    <a:gd name="connsiteY19" fmla="*/ 109321 h 429771"/>
                    <a:gd name="connsiteX20" fmla="*/ 221539 w 269602"/>
                    <a:gd name="connsiteY20" fmla="*/ 111026 h 429771"/>
                    <a:gd name="connsiteX21" fmla="*/ 221844 w 269602"/>
                    <a:gd name="connsiteY21" fmla="*/ 112969 h 429771"/>
                    <a:gd name="connsiteX22" fmla="*/ 217958 w 269602"/>
                    <a:gd name="connsiteY22" fmla="*/ 113865 h 429771"/>
                    <a:gd name="connsiteX23" fmla="*/ 216005 w 269602"/>
                    <a:gd name="connsiteY23" fmla="*/ 118503 h 429771"/>
                    <a:gd name="connsiteX24" fmla="*/ 211262 w 269602"/>
                    <a:gd name="connsiteY24" fmla="*/ 116741 h 429771"/>
                    <a:gd name="connsiteX25" fmla="*/ 208566 w 269602"/>
                    <a:gd name="connsiteY25" fmla="*/ 131162 h 429771"/>
                    <a:gd name="connsiteX26" fmla="*/ 215338 w 269602"/>
                    <a:gd name="connsiteY26" fmla="*/ 147564 h 429771"/>
                    <a:gd name="connsiteX27" fmla="*/ 206385 w 269602"/>
                    <a:gd name="connsiteY27" fmla="*/ 157527 h 429771"/>
                    <a:gd name="connsiteX28" fmla="*/ 196955 w 269602"/>
                    <a:gd name="connsiteY28" fmla="*/ 166176 h 429771"/>
                    <a:gd name="connsiteX29" fmla="*/ 185630 w 269602"/>
                    <a:gd name="connsiteY29" fmla="*/ 171081 h 429771"/>
                    <a:gd name="connsiteX30" fmla="*/ 177429 w 269602"/>
                    <a:gd name="connsiteY30" fmla="*/ 173710 h 429771"/>
                    <a:gd name="connsiteX31" fmla="*/ 177657 w 269602"/>
                    <a:gd name="connsiteY31" fmla="*/ 176377 h 429771"/>
                    <a:gd name="connsiteX32" fmla="*/ 171818 w 269602"/>
                    <a:gd name="connsiteY32" fmla="*/ 179073 h 429771"/>
                    <a:gd name="connsiteX33" fmla="*/ 162503 w 269602"/>
                    <a:gd name="connsiteY33" fmla="*/ 182245 h 429771"/>
                    <a:gd name="connsiteX34" fmla="*/ 164179 w 269602"/>
                    <a:gd name="connsiteY34" fmla="*/ 183235 h 429771"/>
                    <a:gd name="connsiteX35" fmla="*/ 152635 w 269602"/>
                    <a:gd name="connsiteY35" fmla="*/ 189855 h 429771"/>
                    <a:gd name="connsiteX36" fmla="*/ 156997 w 269602"/>
                    <a:gd name="connsiteY36" fmla="*/ 190093 h 429771"/>
                    <a:gd name="connsiteX37" fmla="*/ 148320 w 269602"/>
                    <a:gd name="connsiteY37" fmla="*/ 194904 h 429771"/>
                    <a:gd name="connsiteX38" fmla="*/ 143815 w 269602"/>
                    <a:gd name="connsiteY38" fmla="*/ 193303 h 429771"/>
                    <a:gd name="connsiteX39" fmla="*/ 144729 w 269602"/>
                    <a:gd name="connsiteY39" fmla="*/ 200466 h 429771"/>
                    <a:gd name="connsiteX40" fmla="*/ 148082 w 269602"/>
                    <a:gd name="connsiteY40" fmla="*/ 202323 h 429771"/>
                    <a:gd name="connsiteX41" fmla="*/ 134052 w 269602"/>
                    <a:gd name="connsiteY41" fmla="*/ 205229 h 429771"/>
                    <a:gd name="connsiteX42" fmla="*/ 140367 w 269602"/>
                    <a:gd name="connsiteY42" fmla="*/ 213906 h 429771"/>
                    <a:gd name="connsiteX43" fmla="*/ 138805 w 269602"/>
                    <a:gd name="connsiteY43" fmla="*/ 231184 h 429771"/>
                    <a:gd name="connsiteX44" fmla="*/ 132395 w 269602"/>
                    <a:gd name="connsiteY44" fmla="*/ 229917 h 429771"/>
                    <a:gd name="connsiteX45" fmla="*/ 136357 w 269602"/>
                    <a:gd name="connsiteY45" fmla="*/ 255406 h 429771"/>
                    <a:gd name="connsiteX46" fmla="*/ 145777 w 269602"/>
                    <a:gd name="connsiteY46" fmla="*/ 264236 h 429771"/>
                    <a:gd name="connsiteX47" fmla="*/ 149654 w 269602"/>
                    <a:gd name="connsiteY47" fmla="*/ 267284 h 429771"/>
                    <a:gd name="connsiteX48" fmla="*/ 153959 w 269602"/>
                    <a:gd name="connsiteY48" fmla="*/ 265817 h 429771"/>
                    <a:gd name="connsiteX49" fmla="*/ 156569 w 269602"/>
                    <a:gd name="connsiteY49" fmla="*/ 268132 h 429771"/>
                    <a:gd name="connsiteX50" fmla="*/ 163789 w 269602"/>
                    <a:gd name="connsiteY50" fmla="*/ 273056 h 429771"/>
                    <a:gd name="connsiteX51" fmla="*/ 168504 w 269602"/>
                    <a:gd name="connsiteY51" fmla="*/ 274942 h 429771"/>
                    <a:gd name="connsiteX52" fmla="*/ 170457 w 269602"/>
                    <a:gd name="connsiteY52" fmla="*/ 279428 h 429771"/>
                    <a:gd name="connsiteX53" fmla="*/ 182163 w 269602"/>
                    <a:gd name="connsiteY53" fmla="*/ 288734 h 429771"/>
                    <a:gd name="connsiteX54" fmla="*/ 160369 w 269602"/>
                    <a:gd name="connsiteY54" fmla="*/ 304422 h 429771"/>
                    <a:gd name="connsiteX55" fmla="*/ 176047 w 269602"/>
                    <a:gd name="connsiteY55" fmla="*/ 305441 h 429771"/>
                    <a:gd name="connsiteX56" fmla="*/ 167970 w 269602"/>
                    <a:gd name="connsiteY56" fmla="*/ 312680 h 429771"/>
                    <a:gd name="connsiteX57" fmla="*/ 154578 w 269602"/>
                    <a:gd name="connsiteY57" fmla="*/ 318624 h 429771"/>
                    <a:gd name="connsiteX58" fmla="*/ 139319 w 269602"/>
                    <a:gd name="connsiteY58" fmla="*/ 326644 h 429771"/>
                    <a:gd name="connsiteX59" fmla="*/ 121517 w 269602"/>
                    <a:gd name="connsiteY59" fmla="*/ 327196 h 429771"/>
                    <a:gd name="connsiteX60" fmla="*/ 139081 w 269602"/>
                    <a:gd name="connsiteY60" fmla="*/ 331730 h 429771"/>
                    <a:gd name="connsiteX61" fmla="*/ 132785 w 269602"/>
                    <a:gd name="connsiteY61" fmla="*/ 333568 h 429771"/>
                    <a:gd name="connsiteX62" fmla="*/ 135833 w 269602"/>
                    <a:gd name="connsiteY62" fmla="*/ 349847 h 429771"/>
                    <a:gd name="connsiteX63" fmla="*/ 134157 w 269602"/>
                    <a:gd name="connsiteY63" fmla="*/ 358048 h 429771"/>
                    <a:gd name="connsiteX64" fmla="*/ 134604 w 269602"/>
                    <a:gd name="connsiteY64" fmla="*/ 367792 h 429771"/>
                    <a:gd name="connsiteX65" fmla="*/ 130661 w 269602"/>
                    <a:gd name="connsiteY65" fmla="*/ 389775 h 429771"/>
                    <a:gd name="connsiteX66" fmla="*/ 125451 w 269602"/>
                    <a:gd name="connsiteY66" fmla="*/ 402577 h 429771"/>
                    <a:gd name="connsiteX67" fmla="*/ 116916 w 269602"/>
                    <a:gd name="connsiteY67" fmla="*/ 404568 h 429771"/>
                    <a:gd name="connsiteX68" fmla="*/ 95438 w 269602"/>
                    <a:gd name="connsiteY68" fmla="*/ 409206 h 429771"/>
                    <a:gd name="connsiteX69" fmla="*/ 83817 w 269602"/>
                    <a:gd name="connsiteY69" fmla="*/ 413788 h 429771"/>
                    <a:gd name="connsiteX70" fmla="*/ 85722 w 269602"/>
                    <a:gd name="connsiteY70" fmla="*/ 426475 h 429771"/>
                    <a:gd name="connsiteX71" fmla="*/ 70587 w 269602"/>
                    <a:gd name="connsiteY71" fmla="*/ 429009 h 429771"/>
                    <a:gd name="connsiteX72" fmla="*/ 51375 w 269602"/>
                    <a:gd name="connsiteY72" fmla="*/ 428790 h 429771"/>
                    <a:gd name="connsiteX73" fmla="*/ 38640 w 269602"/>
                    <a:gd name="connsiteY73" fmla="*/ 401101 h 429771"/>
                    <a:gd name="connsiteX74" fmla="*/ 46812 w 269602"/>
                    <a:gd name="connsiteY74" fmla="*/ 401929 h 429771"/>
                    <a:gd name="connsiteX75" fmla="*/ 42736 w 269602"/>
                    <a:gd name="connsiteY75" fmla="*/ 396367 h 429771"/>
                    <a:gd name="connsiteX76" fmla="*/ 39583 w 269602"/>
                    <a:gd name="connsiteY76" fmla="*/ 384318 h 429771"/>
                    <a:gd name="connsiteX77" fmla="*/ 25343 w 269602"/>
                    <a:gd name="connsiteY77" fmla="*/ 365030 h 429771"/>
                    <a:gd name="connsiteX78" fmla="*/ 22362 w 269602"/>
                    <a:gd name="connsiteY78" fmla="*/ 363820 h 429771"/>
                    <a:gd name="connsiteX79" fmla="*/ 20495 w 269602"/>
                    <a:gd name="connsiteY79" fmla="*/ 358400 h 429771"/>
                    <a:gd name="connsiteX80" fmla="*/ 16751 w 269602"/>
                    <a:gd name="connsiteY80" fmla="*/ 356152 h 429771"/>
                    <a:gd name="connsiteX81" fmla="*/ 15875 w 269602"/>
                    <a:gd name="connsiteY81" fmla="*/ 351390 h 429771"/>
                    <a:gd name="connsiteX82" fmla="*/ 15285 w 269602"/>
                    <a:gd name="connsiteY82" fmla="*/ 348104 h 429771"/>
                    <a:gd name="connsiteX83" fmla="*/ 12475 w 269602"/>
                    <a:gd name="connsiteY83" fmla="*/ 347446 h 429771"/>
                    <a:gd name="connsiteX84" fmla="*/ 8770 w 269602"/>
                    <a:gd name="connsiteY84" fmla="*/ 343532 h 429771"/>
                    <a:gd name="connsiteX85" fmla="*/ 3274 w 269602"/>
                    <a:gd name="connsiteY85" fmla="*/ 335626 h 429771"/>
                    <a:gd name="connsiteX86" fmla="*/ 2502 w 269602"/>
                    <a:gd name="connsiteY86" fmla="*/ 313023 h 429771"/>
                    <a:gd name="connsiteX87" fmla="*/ 11932 w 269602"/>
                    <a:gd name="connsiteY87" fmla="*/ 316633 h 429771"/>
                    <a:gd name="connsiteX88" fmla="*/ 11770 w 269602"/>
                    <a:gd name="connsiteY88" fmla="*/ 301136 h 429771"/>
                    <a:gd name="connsiteX89" fmla="*/ 15247 w 269602"/>
                    <a:gd name="connsiteY89" fmla="*/ 289172 h 429771"/>
                    <a:gd name="connsiteX90" fmla="*/ 26524 w 269602"/>
                    <a:gd name="connsiteY90" fmla="*/ 282476 h 429771"/>
                    <a:gd name="connsiteX91" fmla="*/ 29258 w 269602"/>
                    <a:gd name="connsiteY91" fmla="*/ 270065 h 429771"/>
                    <a:gd name="connsiteX92" fmla="*/ 21523 w 269602"/>
                    <a:gd name="connsiteY92" fmla="*/ 256149 h 429771"/>
                    <a:gd name="connsiteX93" fmla="*/ 33325 w 269602"/>
                    <a:gd name="connsiteY93" fmla="*/ 241662 h 429771"/>
                    <a:gd name="connsiteX94" fmla="*/ 19456 w 269602"/>
                    <a:gd name="connsiteY94" fmla="*/ 232565 h 429771"/>
                    <a:gd name="connsiteX95" fmla="*/ 16818 w 269602"/>
                    <a:gd name="connsiteY95" fmla="*/ 218983 h 429771"/>
                    <a:gd name="connsiteX96" fmla="*/ 10722 w 269602"/>
                    <a:gd name="connsiteY96" fmla="*/ 192294 h 429771"/>
                    <a:gd name="connsiteX97" fmla="*/ 12027 w 269602"/>
                    <a:gd name="connsiteY97" fmla="*/ 188446 h 429771"/>
                    <a:gd name="connsiteX98" fmla="*/ 7998 w 269602"/>
                    <a:gd name="connsiteY98" fmla="*/ 182016 h 429771"/>
                    <a:gd name="connsiteX99" fmla="*/ 12560 w 269602"/>
                    <a:gd name="connsiteY99" fmla="*/ 168900 h 429771"/>
                    <a:gd name="connsiteX100" fmla="*/ 42326 w 269602"/>
                    <a:gd name="connsiteY100" fmla="*/ 156908 h 429771"/>
                    <a:gd name="connsiteX101" fmla="*/ 52842 w 269602"/>
                    <a:gd name="connsiteY101" fmla="*/ 150727 h 429771"/>
                    <a:gd name="connsiteX102" fmla="*/ 40469 w 269602"/>
                    <a:gd name="connsiteY102" fmla="*/ 139925 h 429771"/>
                    <a:gd name="connsiteX103" fmla="*/ 54956 w 269602"/>
                    <a:gd name="connsiteY103" fmla="*/ 91167 h 429771"/>
                    <a:gd name="connsiteX104" fmla="*/ 67015 w 269602"/>
                    <a:gd name="connsiteY104" fmla="*/ 89586 h 429771"/>
                    <a:gd name="connsiteX105" fmla="*/ 72892 w 269602"/>
                    <a:gd name="connsiteY105" fmla="*/ 87290 h 429771"/>
                    <a:gd name="connsiteX106" fmla="*/ 74054 w 269602"/>
                    <a:gd name="connsiteY106" fmla="*/ 82699 h 429771"/>
                    <a:gd name="connsiteX107" fmla="*/ 73025 w 269602"/>
                    <a:gd name="connsiteY107" fmla="*/ 79813 h 429771"/>
                    <a:gd name="connsiteX108" fmla="*/ 75730 w 269602"/>
                    <a:gd name="connsiteY108" fmla="*/ 77860 h 429771"/>
                    <a:gd name="connsiteX109" fmla="*/ 80398 w 269602"/>
                    <a:gd name="connsiteY109" fmla="*/ 72822 h 429771"/>
                    <a:gd name="connsiteX110" fmla="*/ 88970 w 269602"/>
                    <a:gd name="connsiteY110" fmla="*/ 64487 h 429771"/>
                    <a:gd name="connsiteX111" fmla="*/ 85236 w 269602"/>
                    <a:gd name="connsiteY111" fmla="*/ 49095 h 429771"/>
                    <a:gd name="connsiteX112" fmla="*/ 93866 w 269602"/>
                    <a:gd name="connsiteY112" fmla="*/ 43942 h 429771"/>
                    <a:gd name="connsiteX113" fmla="*/ 99762 w 269602"/>
                    <a:gd name="connsiteY113" fmla="*/ 34045 h 429771"/>
                    <a:gd name="connsiteX114" fmla="*/ 110525 w 269602"/>
                    <a:gd name="connsiteY114" fmla="*/ 29845 h 429771"/>
                    <a:gd name="connsiteX115" fmla="*/ 121974 w 269602"/>
                    <a:gd name="connsiteY115" fmla="*/ 32331 h 429771"/>
                    <a:gd name="connsiteX116" fmla="*/ 126870 w 269602"/>
                    <a:gd name="connsiteY116" fmla="*/ 14757 h 429771"/>
                    <a:gd name="connsiteX117" fmla="*/ 147854 w 269602"/>
                    <a:gd name="connsiteY117" fmla="*/ 17577 h 429771"/>
                    <a:gd name="connsiteX118" fmla="*/ 168923 w 269602"/>
                    <a:gd name="connsiteY118" fmla="*/ 17186 h 429771"/>
                    <a:gd name="connsiteX119" fmla="*/ 162760 w 269602"/>
                    <a:gd name="connsiteY119" fmla="*/ 15157 h 429771"/>
                    <a:gd name="connsiteX120" fmla="*/ 163465 w 269602"/>
                    <a:gd name="connsiteY120" fmla="*/ 70 h 429771"/>
                    <a:gd name="connsiteX121" fmla="*/ 193307 w 269602"/>
                    <a:gd name="connsiteY121" fmla="*/ 9671 h 429771"/>
                    <a:gd name="connsiteX122" fmla="*/ 225873 w 269602"/>
                    <a:gd name="connsiteY122" fmla="*/ 20682 h 429771"/>
                    <a:gd name="connsiteX123" fmla="*/ 225873 w 269602"/>
                    <a:gd name="connsiteY123" fmla="*/ 20682 h 429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269602" h="429771">
                      <a:moveTo>
                        <a:pt x="225873" y="20682"/>
                      </a:moveTo>
                      <a:cubicBezTo>
                        <a:pt x="231645" y="23730"/>
                        <a:pt x="235655" y="27464"/>
                        <a:pt x="240570" y="31121"/>
                      </a:cubicBezTo>
                      <a:cubicBezTo>
                        <a:pt x="241351" y="31702"/>
                        <a:pt x="243990" y="32617"/>
                        <a:pt x="244266" y="33169"/>
                      </a:cubicBezTo>
                      <a:cubicBezTo>
                        <a:pt x="246047" y="36722"/>
                        <a:pt x="243037" y="31721"/>
                        <a:pt x="244047" y="35264"/>
                      </a:cubicBezTo>
                      <a:cubicBezTo>
                        <a:pt x="244037" y="35226"/>
                        <a:pt x="244418" y="41970"/>
                        <a:pt x="244532" y="43113"/>
                      </a:cubicBezTo>
                      <a:cubicBezTo>
                        <a:pt x="244485" y="42684"/>
                        <a:pt x="244504" y="48323"/>
                        <a:pt x="244123" y="47733"/>
                      </a:cubicBezTo>
                      <a:cubicBezTo>
                        <a:pt x="245618" y="50066"/>
                        <a:pt x="245656" y="47933"/>
                        <a:pt x="247495" y="49733"/>
                      </a:cubicBezTo>
                      <a:cubicBezTo>
                        <a:pt x="249381" y="51600"/>
                        <a:pt x="250828" y="50390"/>
                        <a:pt x="251829" y="53962"/>
                      </a:cubicBezTo>
                      <a:cubicBezTo>
                        <a:pt x="251743" y="53648"/>
                        <a:pt x="249419" y="56743"/>
                        <a:pt x="249762" y="58363"/>
                      </a:cubicBezTo>
                      <a:cubicBezTo>
                        <a:pt x="250847" y="63554"/>
                        <a:pt x="257601" y="64411"/>
                        <a:pt x="259391" y="68831"/>
                      </a:cubicBezTo>
                      <a:cubicBezTo>
                        <a:pt x="260601" y="71821"/>
                        <a:pt x="256896" y="76822"/>
                        <a:pt x="256496" y="79499"/>
                      </a:cubicBezTo>
                      <a:cubicBezTo>
                        <a:pt x="255048" y="89157"/>
                        <a:pt x="264363" y="92595"/>
                        <a:pt x="269602" y="101368"/>
                      </a:cubicBezTo>
                      <a:cubicBezTo>
                        <a:pt x="264221" y="102749"/>
                        <a:pt x="259572" y="100663"/>
                        <a:pt x="254248" y="101387"/>
                      </a:cubicBezTo>
                      <a:cubicBezTo>
                        <a:pt x="249019" y="102101"/>
                        <a:pt x="247733" y="102892"/>
                        <a:pt x="242846" y="102168"/>
                      </a:cubicBezTo>
                      <a:cubicBezTo>
                        <a:pt x="241437" y="101968"/>
                        <a:pt x="240437" y="100263"/>
                        <a:pt x="239074" y="99996"/>
                      </a:cubicBezTo>
                      <a:cubicBezTo>
                        <a:pt x="237732" y="99730"/>
                        <a:pt x="236931" y="100968"/>
                        <a:pt x="236122" y="100825"/>
                      </a:cubicBezTo>
                      <a:cubicBezTo>
                        <a:pt x="236369" y="100873"/>
                        <a:pt x="230178" y="100234"/>
                        <a:pt x="231073" y="99730"/>
                      </a:cubicBezTo>
                      <a:cubicBezTo>
                        <a:pt x="228673" y="101082"/>
                        <a:pt x="227730" y="104635"/>
                        <a:pt x="228540" y="107912"/>
                      </a:cubicBezTo>
                      <a:cubicBezTo>
                        <a:pt x="227340" y="107635"/>
                        <a:pt x="225892" y="107902"/>
                        <a:pt x="224739" y="107493"/>
                      </a:cubicBezTo>
                      <a:cubicBezTo>
                        <a:pt x="225340" y="108121"/>
                        <a:pt x="225682" y="108721"/>
                        <a:pt x="226416" y="109321"/>
                      </a:cubicBezTo>
                      <a:cubicBezTo>
                        <a:pt x="224482" y="109455"/>
                        <a:pt x="221977" y="110750"/>
                        <a:pt x="221539" y="111026"/>
                      </a:cubicBezTo>
                      <a:cubicBezTo>
                        <a:pt x="221901" y="110807"/>
                        <a:pt x="222930" y="112474"/>
                        <a:pt x="221844" y="112969"/>
                      </a:cubicBezTo>
                      <a:cubicBezTo>
                        <a:pt x="220815" y="113436"/>
                        <a:pt x="218682" y="113331"/>
                        <a:pt x="217958" y="113865"/>
                      </a:cubicBezTo>
                      <a:cubicBezTo>
                        <a:pt x="215357" y="115741"/>
                        <a:pt x="211433" y="114265"/>
                        <a:pt x="216005" y="118503"/>
                      </a:cubicBezTo>
                      <a:cubicBezTo>
                        <a:pt x="214881" y="117999"/>
                        <a:pt x="212309" y="117513"/>
                        <a:pt x="211262" y="116741"/>
                      </a:cubicBezTo>
                      <a:cubicBezTo>
                        <a:pt x="220567" y="124561"/>
                        <a:pt x="209938" y="123180"/>
                        <a:pt x="208566" y="131162"/>
                      </a:cubicBezTo>
                      <a:cubicBezTo>
                        <a:pt x="207375" y="138077"/>
                        <a:pt x="221434" y="140049"/>
                        <a:pt x="215338" y="147564"/>
                      </a:cubicBezTo>
                      <a:cubicBezTo>
                        <a:pt x="212223" y="151412"/>
                        <a:pt x="209071" y="152927"/>
                        <a:pt x="206385" y="157527"/>
                      </a:cubicBezTo>
                      <a:cubicBezTo>
                        <a:pt x="203137" y="163090"/>
                        <a:pt x="202841" y="163319"/>
                        <a:pt x="196955" y="166176"/>
                      </a:cubicBezTo>
                      <a:cubicBezTo>
                        <a:pt x="193440" y="167881"/>
                        <a:pt x="188916" y="169167"/>
                        <a:pt x="185630" y="171081"/>
                      </a:cubicBezTo>
                      <a:cubicBezTo>
                        <a:pt x="181953" y="173215"/>
                        <a:pt x="182534" y="177273"/>
                        <a:pt x="177429" y="173710"/>
                      </a:cubicBezTo>
                      <a:cubicBezTo>
                        <a:pt x="177600" y="174539"/>
                        <a:pt x="177524" y="175511"/>
                        <a:pt x="177657" y="176377"/>
                      </a:cubicBezTo>
                      <a:cubicBezTo>
                        <a:pt x="172571" y="172120"/>
                        <a:pt x="174543" y="177778"/>
                        <a:pt x="171818" y="179073"/>
                      </a:cubicBezTo>
                      <a:cubicBezTo>
                        <a:pt x="167618" y="181064"/>
                        <a:pt x="167027" y="181711"/>
                        <a:pt x="162503" y="182245"/>
                      </a:cubicBezTo>
                      <a:cubicBezTo>
                        <a:pt x="163379" y="182692"/>
                        <a:pt x="163494" y="182712"/>
                        <a:pt x="164179" y="183235"/>
                      </a:cubicBezTo>
                      <a:cubicBezTo>
                        <a:pt x="158741" y="183550"/>
                        <a:pt x="156636" y="187179"/>
                        <a:pt x="152635" y="189855"/>
                      </a:cubicBezTo>
                      <a:cubicBezTo>
                        <a:pt x="153883" y="189560"/>
                        <a:pt x="155702" y="190074"/>
                        <a:pt x="156997" y="190093"/>
                      </a:cubicBezTo>
                      <a:cubicBezTo>
                        <a:pt x="157283" y="194322"/>
                        <a:pt x="149187" y="197342"/>
                        <a:pt x="148320" y="194904"/>
                      </a:cubicBezTo>
                      <a:cubicBezTo>
                        <a:pt x="145463" y="194542"/>
                        <a:pt x="145920" y="194656"/>
                        <a:pt x="143815" y="193303"/>
                      </a:cubicBezTo>
                      <a:cubicBezTo>
                        <a:pt x="144129" y="195437"/>
                        <a:pt x="146834" y="198180"/>
                        <a:pt x="144729" y="200466"/>
                      </a:cubicBezTo>
                      <a:cubicBezTo>
                        <a:pt x="145815" y="200780"/>
                        <a:pt x="147063" y="202047"/>
                        <a:pt x="148082" y="202323"/>
                      </a:cubicBezTo>
                      <a:cubicBezTo>
                        <a:pt x="143767" y="205057"/>
                        <a:pt x="139129" y="208924"/>
                        <a:pt x="134052" y="205229"/>
                      </a:cubicBezTo>
                      <a:cubicBezTo>
                        <a:pt x="132375" y="209277"/>
                        <a:pt x="136776" y="212820"/>
                        <a:pt x="140367" y="213906"/>
                      </a:cubicBezTo>
                      <a:cubicBezTo>
                        <a:pt x="134747" y="216230"/>
                        <a:pt x="135385" y="227155"/>
                        <a:pt x="138805" y="231184"/>
                      </a:cubicBezTo>
                      <a:cubicBezTo>
                        <a:pt x="136595" y="231156"/>
                        <a:pt x="134452" y="230737"/>
                        <a:pt x="132395" y="229917"/>
                      </a:cubicBezTo>
                      <a:cubicBezTo>
                        <a:pt x="133423" y="238538"/>
                        <a:pt x="134033" y="245767"/>
                        <a:pt x="136357" y="255406"/>
                      </a:cubicBezTo>
                      <a:cubicBezTo>
                        <a:pt x="138109" y="262693"/>
                        <a:pt x="139167" y="262321"/>
                        <a:pt x="145777" y="264236"/>
                      </a:cubicBezTo>
                      <a:cubicBezTo>
                        <a:pt x="147654" y="264779"/>
                        <a:pt x="147644" y="266798"/>
                        <a:pt x="149654" y="267284"/>
                      </a:cubicBezTo>
                      <a:cubicBezTo>
                        <a:pt x="151092" y="267636"/>
                        <a:pt x="152473" y="265341"/>
                        <a:pt x="153959" y="265817"/>
                      </a:cubicBezTo>
                      <a:cubicBezTo>
                        <a:pt x="155388" y="266274"/>
                        <a:pt x="155197" y="267379"/>
                        <a:pt x="156569" y="268132"/>
                      </a:cubicBezTo>
                      <a:cubicBezTo>
                        <a:pt x="159065" y="269484"/>
                        <a:pt x="161322" y="271665"/>
                        <a:pt x="163789" y="273056"/>
                      </a:cubicBezTo>
                      <a:cubicBezTo>
                        <a:pt x="165408" y="273970"/>
                        <a:pt x="166961" y="273580"/>
                        <a:pt x="168504" y="274942"/>
                      </a:cubicBezTo>
                      <a:cubicBezTo>
                        <a:pt x="169952" y="276228"/>
                        <a:pt x="169828" y="278914"/>
                        <a:pt x="170457" y="279428"/>
                      </a:cubicBezTo>
                      <a:cubicBezTo>
                        <a:pt x="174028" y="282295"/>
                        <a:pt x="181334" y="282610"/>
                        <a:pt x="182163" y="288734"/>
                      </a:cubicBezTo>
                      <a:cubicBezTo>
                        <a:pt x="183287" y="296935"/>
                        <a:pt x="165799" y="300669"/>
                        <a:pt x="160369" y="304422"/>
                      </a:cubicBezTo>
                      <a:cubicBezTo>
                        <a:pt x="164865" y="308699"/>
                        <a:pt x="172857" y="298993"/>
                        <a:pt x="176047" y="305441"/>
                      </a:cubicBezTo>
                      <a:cubicBezTo>
                        <a:pt x="170952" y="306108"/>
                        <a:pt x="171323" y="309689"/>
                        <a:pt x="167970" y="312680"/>
                      </a:cubicBezTo>
                      <a:cubicBezTo>
                        <a:pt x="164560" y="315738"/>
                        <a:pt x="158388" y="316776"/>
                        <a:pt x="154578" y="318624"/>
                      </a:cubicBezTo>
                      <a:cubicBezTo>
                        <a:pt x="149701" y="320986"/>
                        <a:pt x="144682" y="325377"/>
                        <a:pt x="139319" y="326644"/>
                      </a:cubicBezTo>
                      <a:cubicBezTo>
                        <a:pt x="133528" y="328006"/>
                        <a:pt x="127099" y="324958"/>
                        <a:pt x="121517" y="327196"/>
                      </a:cubicBezTo>
                      <a:cubicBezTo>
                        <a:pt x="127337" y="329035"/>
                        <a:pt x="134557" y="326387"/>
                        <a:pt x="139081" y="331730"/>
                      </a:cubicBezTo>
                      <a:cubicBezTo>
                        <a:pt x="137100" y="332721"/>
                        <a:pt x="134995" y="333330"/>
                        <a:pt x="132785" y="333568"/>
                      </a:cubicBezTo>
                      <a:cubicBezTo>
                        <a:pt x="135947" y="340274"/>
                        <a:pt x="135033" y="342436"/>
                        <a:pt x="135833" y="349847"/>
                      </a:cubicBezTo>
                      <a:cubicBezTo>
                        <a:pt x="131509" y="349732"/>
                        <a:pt x="133414" y="355057"/>
                        <a:pt x="134157" y="358048"/>
                      </a:cubicBezTo>
                      <a:cubicBezTo>
                        <a:pt x="135480" y="363296"/>
                        <a:pt x="135271" y="362925"/>
                        <a:pt x="134604" y="367792"/>
                      </a:cubicBezTo>
                      <a:cubicBezTo>
                        <a:pt x="133585" y="375259"/>
                        <a:pt x="134423" y="381860"/>
                        <a:pt x="130661" y="389775"/>
                      </a:cubicBezTo>
                      <a:cubicBezTo>
                        <a:pt x="129042" y="393176"/>
                        <a:pt x="127499" y="399843"/>
                        <a:pt x="125451" y="402577"/>
                      </a:cubicBezTo>
                      <a:cubicBezTo>
                        <a:pt x="121993" y="407178"/>
                        <a:pt x="121717" y="404596"/>
                        <a:pt x="116916" y="404568"/>
                      </a:cubicBezTo>
                      <a:cubicBezTo>
                        <a:pt x="112373" y="404539"/>
                        <a:pt x="91513" y="403072"/>
                        <a:pt x="95438" y="409206"/>
                      </a:cubicBezTo>
                      <a:cubicBezTo>
                        <a:pt x="91656" y="408797"/>
                        <a:pt x="85960" y="409387"/>
                        <a:pt x="83817" y="413788"/>
                      </a:cubicBezTo>
                      <a:cubicBezTo>
                        <a:pt x="81131" y="419322"/>
                        <a:pt x="87789" y="422246"/>
                        <a:pt x="85722" y="426475"/>
                      </a:cubicBezTo>
                      <a:cubicBezTo>
                        <a:pt x="83226" y="431590"/>
                        <a:pt x="75149" y="428476"/>
                        <a:pt x="70587" y="429009"/>
                      </a:cubicBezTo>
                      <a:cubicBezTo>
                        <a:pt x="63015" y="429895"/>
                        <a:pt x="59119" y="430228"/>
                        <a:pt x="51375" y="428790"/>
                      </a:cubicBezTo>
                      <a:cubicBezTo>
                        <a:pt x="56480" y="417969"/>
                        <a:pt x="45326" y="408787"/>
                        <a:pt x="38640" y="401101"/>
                      </a:cubicBezTo>
                      <a:cubicBezTo>
                        <a:pt x="41612" y="401529"/>
                        <a:pt x="43993" y="403587"/>
                        <a:pt x="46812" y="401929"/>
                      </a:cubicBezTo>
                      <a:cubicBezTo>
                        <a:pt x="45422" y="400043"/>
                        <a:pt x="44098" y="398243"/>
                        <a:pt x="42736" y="396367"/>
                      </a:cubicBezTo>
                      <a:cubicBezTo>
                        <a:pt x="55271" y="397805"/>
                        <a:pt x="42669" y="387470"/>
                        <a:pt x="39583" y="384318"/>
                      </a:cubicBezTo>
                      <a:cubicBezTo>
                        <a:pt x="33487" y="378107"/>
                        <a:pt x="30048" y="372278"/>
                        <a:pt x="25343" y="365030"/>
                      </a:cubicBezTo>
                      <a:cubicBezTo>
                        <a:pt x="24495" y="363744"/>
                        <a:pt x="23848" y="366230"/>
                        <a:pt x="22362" y="363820"/>
                      </a:cubicBezTo>
                      <a:cubicBezTo>
                        <a:pt x="21362" y="362201"/>
                        <a:pt x="21381" y="359943"/>
                        <a:pt x="20495" y="358400"/>
                      </a:cubicBezTo>
                      <a:cubicBezTo>
                        <a:pt x="19771" y="357143"/>
                        <a:pt x="17199" y="357076"/>
                        <a:pt x="16751" y="356152"/>
                      </a:cubicBezTo>
                      <a:cubicBezTo>
                        <a:pt x="16132" y="354838"/>
                        <a:pt x="16771" y="352485"/>
                        <a:pt x="15875" y="351390"/>
                      </a:cubicBezTo>
                      <a:cubicBezTo>
                        <a:pt x="15675" y="350294"/>
                        <a:pt x="15485" y="349199"/>
                        <a:pt x="15285" y="348104"/>
                      </a:cubicBezTo>
                      <a:cubicBezTo>
                        <a:pt x="14342" y="347885"/>
                        <a:pt x="13418" y="347665"/>
                        <a:pt x="12475" y="347446"/>
                      </a:cubicBezTo>
                      <a:cubicBezTo>
                        <a:pt x="11637" y="346303"/>
                        <a:pt x="9684" y="345198"/>
                        <a:pt x="8770" y="343532"/>
                      </a:cubicBezTo>
                      <a:cubicBezTo>
                        <a:pt x="6798" y="339950"/>
                        <a:pt x="9570" y="334378"/>
                        <a:pt x="3274" y="335626"/>
                      </a:cubicBezTo>
                      <a:cubicBezTo>
                        <a:pt x="3893" y="331073"/>
                        <a:pt x="-3813" y="312861"/>
                        <a:pt x="2502" y="313023"/>
                      </a:cubicBezTo>
                      <a:cubicBezTo>
                        <a:pt x="7589" y="313147"/>
                        <a:pt x="6331" y="323148"/>
                        <a:pt x="11932" y="316633"/>
                      </a:cubicBezTo>
                      <a:cubicBezTo>
                        <a:pt x="15704" y="312252"/>
                        <a:pt x="12246" y="305479"/>
                        <a:pt x="11770" y="301136"/>
                      </a:cubicBezTo>
                      <a:cubicBezTo>
                        <a:pt x="11351" y="297240"/>
                        <a:pt x="11217" y="292430"/>
                        <a:pt x="15247" y="289172"/>
                      </a:cubicBezTo>
                      <a:cubicBezTo>
                        <a:pt x="18571" y="286486"/>
                        <a:pt x="23695" y="286934"/>
                        <a:pt x="26524" y="282476"/>
                      </a:cubicBezTo>
                      <a:cubicBezTo>
                        <a:pt x="27743" y="280552"/>
                        <a:pt x="29667" y="272751"/>
                        <a:pt x="29258" y="270065"/>
                      </a:cubicBezTo>
                      <a:cubicBezTo>
                        <a:pt x="28467" y="264884"/>
                        <a:pt x="22124" y="261188"/>
                        <a:pt x="21523" y="256149"/>
                      </a:cubicBezTo>
                      <a:cubicBezTo>
                        <a:pt x="20619" y="248567"/>
                        <a:pt x="35973" y="253054"/>
                        <a:pt x="33325" y="241662"/>
                      </a:cubicBezTo>
                      <a:cubicBezTo>
                        <a:pt x="32230" y="236928"/>
                        <a:pt x="22648" y="235118"/>
                        <a:pt x="19456" y="232565"/>
                      </a:cubicBezTo>
                      <a:cubicBezTo>
                        <a:pt x="14027" y="228222"/>
                        <a:pt x="16228" y="225898"/>
                        <a:pt x="16818" y="218983"/>
                      </a:cubicBezTo>
                      <a:cubicBezTo>
                        <a:pt x="17647" y="209401"/>
                        <a:pt x="11389" y="202076"/>
                        <a:pt x="10722" y="192294"/>
                      </a:cubicBezTo>
                      <a:cubicBezTo>
                        <a:pt x="10598" y="190522"/>
                        <a:pt x="12513" y="190636"/>
                        <a:pt x="12027" y="188446"/>
                      </a:cubicBezTo>
                      <a:cubicBezTo>
                        <a:pt x="11532" y="186236"/>
                        <a:pt x="8255" y="184388"/>
                        <a:pt x="7998" y="182016"/>
                      </a:cubicBezTo>
                      <a:cubicBezTo>
                        <a:pt x="7636" y="178825"/>
                        <a:pt x="11199" y="171491"/>
                        <a:pt x="12560" y="168900"/>
                      </a:cubicBezTo>
                      <a:cubicBezTo>
                        <a:pt x="18904" y="156937"/>
                        <a:pt x="30267" y="155375"/>
                        <a:pt x="42326" y="156908"/>
                      </a:cubicBezTo>
                      <a:cubicBezTo>
                        <a:pt x="48365" y="157680"/>
                        <a:pt x="52537" y="158270"/>
                        <a:pt x="52842" y="150727"/>
                      </a:cubicBezTo>
                      <a:cubicBezTo>
                        <a:pt x="53175" y="142802"/>
                        <a:pt x="46146" y="142392"/>
                        <a:pt x="40469" y="139925"/>
                      </a:cubicBezTo>
                      <a:cubicBezTo>
                        <a:pt x="52851" y="124485"/>
                        <a:pt x="61948" y="110979"/>
                        <a:pt x="54956" y="91167"/>
                      </a:cubicBezTo>
                      <a:cubicBezTo>
                        <a:pt x="58966" y="90786"/>
                        <a:pt x="63119" y="90719"/>
                        <a:pt x="67015" y="89586"/>
                      </a:cubicBezTo>
                      <a:cubicBezTo>
                        <a:pt x="68577" y="89138"/>
                        <a:pt x="71882" y="88462"/>
                        <a:pt x="72892" y="87290"/>
                      </a:cubicBezTo>
                      <a:cubicBezTo>
                        <a:pt x="75673" y="84080"/>
                        <a:pt x="72787" y="85909"/>
                        <a:pt x="74054" y="82699"/>
                      </a:cubicBezTo>
                      <a:cubicBezTo>
                        <a:pt x="73683" y="81746"/>
                        <a:pt x="73330" y="80784"/>
                        <a:pt x="73025" y="79813"/>
                      </a:cubicBezTo>
                      <a:cubicBezTo>
                        <a:pt x="73921" y="79156"/>
                        <a:pt x="74816" y="78508"/>
                        <a:pt x="75730" y="77860"/>
                      </a:cubicBezTo>
                      <a:cubicBezTo>
                        <a:pt x="76845" y="76051"/>
                        <a:pt x="78931" y="74346"/>
                        <a:pt x="80398" y="72822"/>
                      </a:cubicBezTo>
                      <a:cubicBezTo>
                        <a:pt x="83141" y="69983"/>
                        <a:pt x="86456" y="67497"/>
                        <a:pt x="88970" y="64487"/>
                      </a:cubicBezTo>
                      <a:cubicBezTo>
                        <a:pt x="96828" y="55124"/>
                        <a:pt x="83188" y="56658"/>
                        <a:pt x="85236" y="49095"/>
                      </a:cubicBezTo>
                      <a:cubicBezTo>
                        <a:pt x="85865" y="46780"/>
                        <a:pt x="91923" y="46313"/>
                        <a:pt x="93866" y="43942"/>
                      </a:cubicBezTo>
                      <a:cubicBezTo>
                        <a:pt x="96781" y="40389"/>
                        <a:pt x="96142" y="37065"/>
                        <a:pt x="99762" y="34045"/>
                      </a:cubicBezTo>
                      <a:cubicBezTo>
                        <a:pt x="103267" y="31112"/>
                        <a:pt x="106734" y="29778"/>
                        <a:pt x="110525" y="29845"/>
                      </a:cubicBezTo>
                      <a:cubicBezTo>
                        <a:pt x="114630" y="29921"/>
                        <a:pt x="118517" y="34064"/>
                        <a:pt x="121974" y="32331"/>
                      </a:cubicBezTo>
                      <a:cubicBezTo>
                        <a:pt x="130308" y="28149"/>
                        <a:pt x="119812" y="17967"/>
                        <a:pt x="126870" y="14757"/>
                      </a:cubicBezTo>
                      <a:cubicBezTo>
                        <a:pt x="130337" y="13166"/>
                        <a:pt x="143682" y="16786"/>
                        <a:pt x="147854" y="17577"/>
                      </a:cubicBezTo>
                      <a:cubicBezTo>
                        <a:pt x="156293" y="19177"/>
                        <a:pt x="161893" y="23158"/>
                        <a:pt x="168923" y="17186"/>
                      </a:cubicBezTo>
                      <a:cubicBezTo>
                        <a:pt x="166865" y="16510"/>
                        <a:pt x="164808" y="15833"/>
                        <a:pt x="162760" y="15157"/>
                      </a:cubicBezTo>
                      <a:cubicBezTo>
                        <a:pt x="171647" y="11490"/>
                        <a:pt x="170171" y="4346"/>
                        <a:pt x="163465" y="70"/>
                      </a:cubicBezTo>
                      <a:cubicBezTo>
                        <a:pt x="176962" y="-588"/>
                        <a:pt x="181982" y="3470"/>
                        <a:pt x="193307" y="9671"/>
                      </a:cubicBezTo>
                      <a:cubicBezTo>
                        <a:pt x="203784" y="15424"/>
                        <a:pt x="215157" y="16062"/>
                        <a:pt x="225873" y="20682"/>
                      </a:cubicBezTo>
                      <a:lnTo>
                        <a:pt x="225873" y="20682"/>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61" name="Freeform: Shape 560">
                  <a:extLst>
                    <a:ext uri="{FF2B5EF4-FFF2-40B4-BE49-F238E27FC236}">
                      <a16:creationId xmlns:a16="http://schemas.microsoft.com/office/drawing/2014/main" id="{57FA50F5-77D3-4427-8BC0-0E88B33CB3E1}"/>
                    </a:ext>
                  </a:extLst>
                </p:cNvPr>
                <p:cNvSpPr/>
                <p:nvPr/>
              </p:nvSpPr>
              <p:spPr>
                <a:xfrm>
                  <a:off x="5951144" y="2888607"/>
                  <a:ext cx="81627" cy="44768"/>
                </a:xfrm>
                <a:custGeom>
                  <a:avLst/>
                  <a:gdLst>
                    <a:gd name="connsiteX0" fmla="*/ 81628 w 81627"/>
                    <a:gd name="connsiteY0" fmla="*/ 11533 h 44768"/>
                    <a:gd name="connsiteX1" fmla="*/ 74503 w 81627"/>
                    <a:gd name="connsiteY1" fmla="*/ 11657 h 44768"/>
                    <a:gd name="connsiteX2" fmla="*/ 74370 w 81627"/>
                    <a:gd name="connsiteY2" fmla="*/ 15534 h 44768"/>
                    <a:gd name="connsiteX3" fmla="*/ 70093 w 81627"/>
                    <a:gd name="connsiteY3" fmla="*/ 15582 h 44768"/>
                    <a:gd name="connsiteX4" fmla="*/ 58187 w 81627"/>
                    <a:gd name="connsiteY4" fmla="*/ 22878 h 44768"/>
                    <a:gd name="connsiteX5" fmla="*/ 60930 w 81627"/>
                    <a:gd name="connsiteY5" fmla="*/ 30298 h 44768"/>
                    <a:gd name="connsiteX6" fmla="*/ 54367 w 81627"/>
                    <a:gd name="connsiteY6" fmla="*/ 34193 h 44768"/>
                    <a:gd name="connsiteX7" fmla="*/ 52110 w 81627"/>
                    <a:gd name="connsiteY7" fmla="*/ 37099 h 44768"/>
                    <a:gd name="connsiteX8" fmla="*/ 51719 w 81627"/>
                    <a:gd name="connsiteY8" fmla="*/ 39499 h 44768"/>
                    <a:gd name="connsiteX9" fmla="*/ 53481 w 81627"/>
                    <a:gd name="connsiteY9" fmla="*/ 44080 h 44768"/>
                    <a:gd name="connsiteX10" fmla="*/ 39546 w 81627"/>
                    <a:gd name="connsiteY10" fmla="*/ 43899 h 44768"/>
                    <a:gd name="connsiteX11" fmla="*/ 31069 w 81627"/>
                    <a:gd name="connsiteY11" fmla="*/ 39251 h 44768"/>
                    <a:gd name="connsiteX12" fmla="*/ 26287 w 81627"/>
                    <a:gd name="connsiteY12" fmla="*/ 43537 h 44768"/>
                    <a:gd name="connsiteX13" fmla="*/ 17277 w 81627"/>
                    <a:gd name="connsiteY13" fmla="*/ 42737 h 44768"/>
                    <a:gd name="connsiteX14" fmla="*/ 6142 w 81627"/>
                    <a:gd name="connsiteY14" fmla="*/ 42509 h 44768"/>
                    <a:gd name="connsiteX15" fmla="*/ 10162 w 81627"/>
                    <a:gd name="connsiteY15" fmla="*/ 35498 h 44768"/>
                    <a:gd name="connsiteX16" fmla="*/ 5170 w 81627"/>
                    <a:gd name="connsiteY16" fmla="*/ 32022 h 44768"/>
                    <a:gd name="connsiteX17" fmla="*/ 2265 w 81627"/>
                    <a:gd name="connsiteY17" fmla="*/ 26973 h 44768"/>
                    <a:gd name="connsiteX18" fmla="*/ 5771 w 81627"/>
                    <a:gd name="connsiteY18" fmla="*/ 22697 h 44768"/>
                    <a:gd name="connsiteX19" fmla="*/ 817 w 81627"/>
                    <a:gd name="connsiteY19" fmla="*/ 20230 h 44768"/>
                    <a:gd name="connsiteX20" fmla="*/ 6047 w 81627"/>
                    <a:gd name="connsiteY20" fmla="*/ 12829 h 44768"/>
                    <a:gd name="connsiteX21" fmla="*/ 10885 w 81627"/>
                    <a:gd name="connsiteY21" fmla="*/ 11286 h 44768"/>
                    <a:gd name="connsiteX22" fmla="*/ 19734 w 81627"/>
                    <a:gd name="connsiteY22" fmla="*/ 13076 h 44768"/>
                    <a:gd name="connsiteX23" fmla="*/ 32383 w 81627"/>
                    <a:gd name="connsiteY23" fmla="*/ 12896 h 44768"/>
                    <a:gd name="connsiteX24" fmla="*/ 42832 w 81627"/>
                    <a:gd name="connsiteY24" fmla="*/ 7381 h 44768"/>
                    <a:gd name="connsiteX25" fmla="*/ 61701 w 81627"/>
                    <a:gd name="connsiteY25" fmla="*/ 5009 h 44768"/>
                    <a:gd name="connsiteX26" fmla="*/ 66550 w 81627"/>
                    <a:gd name="connsiteY26" fmla="*/ 5314 h 44768"/>
                    <a:gd name="connsiteX27" fmla="*/ 67083 w 81627"/>
                    <a:gd name="connsiteY27" fmla="*/ 1351 h 44768"/>
                    <a:gd name="connsiteX28" fmla="*/ 75075 w 81627"/>
                    <a:gd name="connsiteY28" fmla="*/ 1199 h 44768"/>
                    <a:gd name="connsiteX29" fmla="*/ 81628 w 81627"/>
                    <a:gd name="connsiteY29" fmla="*/ 11533 h 44768"/>
                    <a:gd name="connsiteX30" fmla="*/ 81628 w 81627"/>
                    <a:gd name="connsiteY30" fmla="*/ 11533 h 44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1627" h="44768">
                      <a:moveTo>
                        <a:pt x="81628" y="11533"/>
                      </a:moveTo>
                      <a:cubicBezTo>
                        <a:pt x="78751" y="10095"/>
                        <a:pt x="76932" y="10714"/>
                        <a:pt x="74503" y="11657"/>
                      </a:cubicBezTo>
                      <a:cubicBezTo>
                        <a:pt x="73665" y="11991"/>
                        <a:pt x="75370" y="14591"/>
                        <a:pt x="74370" y="15534"/>
                      </a:cubicBezTo>
                      <a:cubicBezTo>
                        <a:pt x="73731" y="16134"/>
                        <a:pt x="71217" y="14943"/>
                        <a:pt x="70093" y="15582"/>
                      </a:cubicBezTo>
                      <a:cubicBezTo>
                        <a:pt x="67788" y="16886"/>
                        <a:pt x="58930" y="20525"/>
                        <a:pt x="58187" y="22878"/>
                      </a:cubicBezTo>
                      <a:cubicBezTo>
                        <a:pt x="57625" y="24659"/>
                        <a:pt x="61987" y="27116"/>
                        <a:pt x="60930" y="30298"/>
                      </a:cubicBezTo>
                      <a:cubicBezTo>
                        <a:pt x="59758" y="33822"/>
                        <a:pt x="57053" y="32174"/>
                        <a:pt x="54367" y="34193"/>
                      </a:cubicBezTo>
                      <a:cubicBezTo>
                        <a:pt x="49767" y="37641"/>
                        <a:pt x="53005" y="34584"/>
                        <a:pt x="52110" y="37099"/>
                      </a:cubicBezTo>
                      <a:cubicBezTo>
                        <a:pt x="53053" y="34460"/>
                        <a:pt x="51719" y="41766"/>
                        <a:pt x="51719" y="39499"/>
                      </a:cubicBezTo>
                      <a:cubicBezTo>
                        <a:pt x="51719" y="41109"/>
                        <a:pt x="52319" y="42890"/>
                        <a:pt x="53481" y="44080"/>
                      </a:cubicBezTo>
                      <a:cubicBezTo>
                        <a:pt x="50567" y="45252"/>
                        <a:pt x="42013" y="44747"/>
                        <a:pt x="39546" y="43899"/>
                      </a:cubicBezTo>
                      <a:cubicBezTo>
                        <a:pt x="35241" y="42413"/>
                        <a:pt x="34136" y="38384"/>
                        <a:pt x="31069" y="39251"/>
                      </a:cubicBezTo>
                      <a:cubicBezTo>
                        <a:pt x="29907" y="39585"/>
                        <a:pt x="28211" y="42842"/>
                        <a:pt x="26287" y="43537"/>
                      </a:cubicBezTo>
                      <a:cubicBezTo>
                        <a:pt x="23287" y="44633"/>
                        <a:pt x="19934" y="42461"/>
                        <a:pt x="17277" y="42737"/>
                      </a:cubicBezTo>
                      <a:cubicBezTo>
                        <a:pt x="14257" y="43061"/>
                        <a:pt x="10828" y="47252"/>
                        <a:pt x="6142" y="42509"/>
                      </a:cubicBezTo>
                      <a:cubicBezTo>
                        <a:pt x="10914" y="38851"/>
                        <a:pt x="16258" y="41766"/>
                        <a:pt x="10162" y="35498"/>
                      </a:cubicBezTo>
                      <a:cubicBezTo>
                        <a:pt x="8638" y="33927"/>
                        <a:pt x="6390" y="33279"/>
                        <a:pt x="5170" y="32022"/>
                      </a:cubicBezTo>
                      <a:cubicBezTo>
                        <a:pt x="7009" y="33927"/>
                        <a:pt x="2741" y="23611"/>
                        <a:pt x="2265" y="26973"/>
                      </a:cubicBezTo>
                      <a:cubicBezTo>
                        <a:pt x="2446" y="25697"/>
                        <a:pt x="5951" y="23344"/>
                        <a:pt x="5771" y="22697"/>
                      </a:cubicBezTo>
                      <a:cubicBezTo>
                        <a:pt x="5161" y="20354"/>
                        <a:pt x="1913" y="21887"/>
                        <a:pt x="817" y="20230"/>
                      </a:cubicBezTo>
                      <a:cubicBezTo>
                        <a:pt x="-1278" y="17058"/>
                        <a:pt x="722" y="15248"/>
                        <a:pt x="6047" y="12829"/>
                      </a:cubicBezTo>
                      <a:cubicBezTo>
                        <a:pt x="8580" y="11676"/>
                        <a:pt x="6514" y="11391"/>
                        <a:pt x="10885" y="11286"/>
                      </a:cubicBezTo>
                      <a:cubicBezTo>
                        <a:pt x="13791" y="11219"/>
                        <a:pt x="16877" y="12600"/>
                        <a:pt x="19734" y="13076"/>
                      </a:cubicBezTo>
                      <a:cubicBezTo>
                        <a:pt x="24735" y="13905"/>
                        <a:pt x="28354" y="14829"/>
                        <a:pt x="32383" y="12896"/>
                      </a:cubicBezTo>
                      <a:cubicBezTo>
                        <a:pt x="36793" y="10781"/>
                        <a:pt x="37689" y="8228"/>
                        <a:pt x="42832" y="7381"/>
                      </a:cubicBezTo>
                      <a:cubicBezTo>
                        <a:pt x="49395" y="6314"/>
                        <a:pt x="55377" y="6752"/>
                        <a:pt x="61701" y="5009"/>
                      </a:cubicBezTo>
                      <a:cubicBezTo>
                        <a:pt x="63492" y="4523"/>
                        <a:pt x="65045" y="6199"/>
                        <a:pt x="66550" y="5314"/>
                      </a:cubicBezTo>
                      <a:cubicBezTo>
                        <a:pt x="67531" y="4742"/>
                        <a:pt x="65635" y="2304"/>
                        <a:pt x="67083" y="1351"/>
                      </a:cubicBezTo>
                      <a:cubicBezTo>
                        <a:pt x="69493" y="-239"/>
                        <a:pt x="72769" y="-592"/>
                        <a:pt x="75075" y="1199"/>
                      </a:cubicBezTo>
                      <a:cubicBezTo>
                        <a:pt x="77399" y="3028"/>
                        <a:pt x="79094" y="8971"/>
                        <a:pt x="81628" y="11533"/>
                      </a:cubicBezTo>
                      <a:lnTo>
                        <a:pt x="81628" y="11533"/>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62" name="Freeform: Shape 561">
                  <a:extLst>
                    <a:ext uri="{FF2B5EF4-FFF2-40B4-BE49-F238E27FC236}">
                      <a16:creationId xmlns:a16="http://schemas.microsoft.com/office/drawing/2014/main" id="{B8EEC416-D5D1-405C-8B33-21A2E173C4F5}"/>
                    </a:ext>
                  </a:extLst>
                </p:cNvPr>
                <p:cNvSpPr/>
                <p:nvPr/>
              </p:nvSpPr>
              <p:spPr>
                <a:xfrm>
                  <a:off x="6036260" y="2803426"/>
                  <a:ext cx="144863" cy="57050"/>
                </a:xfrm>
                <a:custGeom>
                  <a:avLst/>
                  <a:gdLst>
                    <a:gd name="connsiteX0" fmla="*/ 144864 w 144863"/>
                    <a:gd name="connsiteY0" fmla="*/ 15676 h 57050"/>
                    <a:gd name="connsiteX1" fmla="*/ 140273 w 144863"/>
                    <a:gd name="connsiteY1" fmla="*/ 27839 h 57050"/>
                    <a:gd name="connsiteX2" fmla="*/ 136930 w 144863"/>
                    <a:gd name="connsiteY2" fmla="*/ 31592 h 57050"/>
                    <a:gd name="connsiteX3" fmla="*/ 137263 w 144863"/>
                    <a:gd name="connsiteY3" fmla="*/ 36640 h 57050"/>
                    <a:gd name="connsiteX4" fmla="*/ 128052 w 144863"/>
                    <a:gd name="connsiteY4" fmla="*/ 38812 h 57050"/>
                    <a:gd name="connsiteX5" fmla="*/ 120347 w 144863"/>
                    <a:gd name="connsiteY5" fmla="*/ 33030 h 57050"/>
                    <a:gd name="connsiteX6" fmla="*/ 103602 w 144863"/>
                    <a:gd name="connsiteY6" fmla="*/ 32306 h 57050"/>
                    <a:gd name="connsiteX7" fmla="*/ 94867 w 144863"/>
                    <a:gd name="connsiteY7" fmla="*/ 32668 h 57050"/>
                    <a:gd name="connsiteX8" fmla="*/ 90629 w 144863"/>
                    <a:gd name="connsiteY8" fmla="*/ 40088 h 57050"/>
                    <a:gd name="connsiteX9" fmla="*/ 82399 w 144863"/>
                    <a:gd name="connsiteY9" fmla="*/ 44194 h 57050"/>
                    <a:gd name="connsiteX10" fmla="*/ 74646 w 144863"/>
                    <a:gd name="connsiteY10" fmla="*/ 43165 h 57050"/>
                    <a:gd name="connsiteX11" fmla="*/ 61330 w 144863"/>
                    <a:gd name="connsiteY11" fmla="*/ 47337 h 57050"/>
                    <a:gd name="connsiteX12" fmla="*/ 51433 w 144863"/>
                    <a:gd name="connsiteY12" fmla="*/ 49471 h 57050"/>
                    <a:gd name="connsiteX13" fmla="*/ 51395 w 144863"/>
                    <a:gd name="connsiteY13" fmla="*/ 54433 h 57050"/>
                    <a:gd name="connsiteX14" fmla="*/ 32574 w 144863"/>
                    <a:gd name="connsiteY14" fmla="*/ 56852 h 57050"/>
                    <a:gd name="connsiteX15" fmla="*/ 14114 w 144863"/>
                    <a:gd name="connsiteY15" fmla="*/ 50804 h 57050"/>
                    <a:gd name="connsiteX16" fmla="*/ 884 w 144863"/>
                    <a:gd name="connsiteY16" fmla="*/ 30782 h 57050"/>
                    <a:gd name="connsiteX17" fmla="*/ 11495 w 144863"/>
                    <a:gd name="connsiteY17" fmla="*/ 23134 h 57050"/>
                    <a:gd name="connsiteX18" fmla="*/ 24439 w 144863"/>
                    <a:gd name="connsiteY18" fmla="*/ 18228 h 57050"/>
                    <a:gd name="connsiteX19" fmla="*/ 28878 w 144863"/>
                    <a:gd name="connsiteY19" fmla="*/ 15542 h 57050"/>
                    <a:gd name="connsiteX20" fmla="*/ 29878 w 144863"/>
                    <a:gd name="connsiteY20" fmla="*/ 10104 h 57050"/>
                    <a:gd name="connsiteX21" fmla="*/ 39346 w 144863"/>
                    <a:gd name="connsiteY21" fmla="*/ 3103 h 57050"/>
                    <a:gd name="connsiteX22" fmla="*/ 45556 w 144863"/>
                    <a:gd name="connsiteY22" fmla="*/ 2036 h 57050"/>
                    <a:gd name="connsiteX23" fmla="*/ 50557 w 144863"/>
                    <a:gd name="connsiteY23" fmla="*/ 5417 h 57050"/>
                    <a:gd name="connsiteX24" fmla="*/ 63454 w 144863"/>
                    <a:gd name="connsiteY24" fmla="*/ 312 h 57050"/>
                    <a:gd name="connsiteX25" fmla="*/ 72102 w 144863"/>
                    <a:gd name="connsiteY25" fmla="*/ 7913 h 57050"/>
                    <a:gd name="connsiteX26" fmla="*/ 72455 w 144863"/>
                    <a:gd name="connsiteY26" fmla="*/ 11742 h 57050"/>
                    <a:gd name="connsiteX27" fmla="*/ 79713 w 144863"/>
                    <a:gd name="connsiteY27" fmla="*/ 12247 h 57050"/>
                    <a:gd name="connsiteX28" fmla="*/ 90476 w 144863"/>
                    <a:gd name="connsiteY28" fmla="*/ 5808 h 57050"/>
                    <a:gd name="connsiteX29" fmla="*/ 99325 w 144863"/>
                    <a:gd name="connsiteY29" fmla="*/ 7818 h 57050"/>
                    <a:gd name="connsiteX30" fmla="*/ 105659 w 144863"/>
                    <a:gd name="connsiteY30" fmla="*/ 4789 h 57050"/>
                    <a:gd name="connsiteX31" fmla="*/ 144864 w 144863"/>
                    <a:gd name="connsiteY31" fmla="*/ 15676 h 57050"/>
                    <a:gd name="connsiteX32" fmla="*/ 144864 w 144863"/>
                    <a:gd name="connsiteY32" fmla="*/ 15676 h 5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4863" h="57050">
                      <a:moveTo>
                        <a:pt x="144864" y="15676"/>
                      </a:moveTo>
                      <a:cubicBezTo>
                        <a:pt x="143759" y="19533"/>
                        <a:pt x="141940" y="24124"/>
                        <a:pt x="140273" y="27839"/>
                      </a:cubicBezTo>
                      <a:cubicBezTo>
                        <a:pt x="139606" y="29335"/>
                        <a:pt x="137682" y="30106"/>
                        <a:pt x="136930" y="31592"/>
                      </a:cubicBezTo>
                      <a:cubicBezTo>
                        <a:pt x="136320" y="32811"/>
                        <a:pt x="138101" y="35631"/>
                        <a:pt x="137263" y="36640"/>
                      </a:cubicBezTo>
                      <a:cubicBezTo>
                        <a:pt x="136320" y="37774"/>
                        <a:pt x="129567" y="39164"/>
                        <a:pt x="128052" y="38812"/>
                      </a:cubicBezTo>
                      <a:cubicBezTo>
                        <a:pt x="124585" y="38002"/>
                        <a:pt x="123566" y="34326"/>
                        <a:pt x="120347" y="33030"/>
                      </a:cubicBezTo>
                      <a:cubicBezTo>
                        <a:pt x="116051" y="31287"/>
                        <a:pt x="108650" y="32697"/>
                        <a:pt x="103602" y="32306"/>
                      </a:cubicBezTo>
                      <a:cubicBezTo>
                        <a:pt x="101382" y="32135"/>
                        <a:pt x="96963" y="31440"/>
                        <a:pt x="94867" y="32668"/>
                      </a:cubicBezTo>
                      <a:cubicBezTo>
                        <a:pt x="92391" y="34116"/>
                        <a:pt x="92724" y="37907"/>
                        <a:pt x="90629" y="40088"/>
                      </a:cubicBezTo>
                      <a:cubicBezTo>
                        <a:pt x="89524" y="41241"/>
                        <a:pt x="84066" y="43841"/>
                        <a:pt x="82399" y="44194"/>
                      </a:cubicBezTo>
                      <a:cubicBezTo>
                        <a:pt x="78875" y="44946"/>
                        <a:pt x="78103" y="43203"/>
                        <a:pt x="74646" y="43165"/>
                      </a:cubicBezTo>
                      <a:cubicBezTo>
                        <a:pt x="69331" y="43108"/>
                        <a:pt x="67407" y="46594"/>
                        <a:pt x="61330" y="47337"/>
                      </a:cubicBezTo>
                      <a:cubicBezTo>
                        <a:pt x="58463" y="47689"/>
                        <a:pt x="53634" y="46946"/>
                        <a:pt x="51433" y="49471"/>
                      </a:cubicBezTo>
                      <a:cubicBezTo>
                        <a:pt x="50119" y="50956"/>
                        <a:pt x="51700" y="54128"/>
                        <a:pt x="51395" y="54433"/>
                      </a:cubicBezTo>
                      <a:cubicBezTo>
                        <a:pt x="47795" y="58091"/>
                        <a:pt x="37946" y="56843"/>
                        <a:pt x="32574" y="56852"/>
                      </a:cubicBezTo>
                      <a:cubicBezTo>
                        <a:pt x="24144" y="56852"/>
                        <a:pt x="21344" y="53862"/>
                        <a:pt x="14114" y="50804"/>
                      </a:cubicBezTo>
                      <a:cubicBezTo>
                        <a:pt x="5656" y="47232"/>
                        <a:pt x="-2793" y="41622"/>
                        <a:pt x="884" y="30782"/>
                      </a:cubicBezTo>
                      <a:cubicBezTo>
                        <a:pt x="3418" y="23315"/>
                        <a:pt x="4265" y="23105"/>
                        <a:pt x="11495" y="23134"/>
                      </a:cubicBezTo>
                      <a:cubicBezTo>
                        <a:pt x="17505" y="23153"/>
                        <a:pt x="19981" y="21848"/>
                        <a:pt x="24439" y="18228"/>
                      </a:cubicBezTo>
                      <a:cubicBezTo>
                        <a:pt x="25963" y="16990"/>
                        <a:pt x="27678" y="17162"/>
                        <a:pt x="28878" y="15542"/>
                      </a:cubicBezTo>
                      <a:cubicBezTo>
                        <a:pt x="29821" y="14266"/>
                        <a:pt x="28745" y="11685"/>
                        <a:pt x="29878" y="10104"/>
                      </a:cubicBezTo>
                      <a:cubicBezTo>
                        <a:pt x="30640" y="9037"/>
                        <a:pt x="37670" y="3951"/>
                        <a:pt x="39346" y="3103"/>
                      </a:cubicBezTo>
                      <a:cubicBezTo>
                        <a:pt x="40594" y="2474"/>
                        <a:pt x="44127" y="1807"/>
                        <a:pt x="45556" y="2036"/>
                      </a:cubicBezTo>
                      <a:cubicBezTo>
                        <a:pt x="48147" y="2446"/>
                        <a:pt x="49728" y="5274"/>
                        <a:pt x="50557" y="5417"/>
                      </a:cubicBezTo>
                      <a:cubicBezTo>
                        <a:pt x="56662" y="6475"/>
                        <a:pt x="58148" y="-1669"/>
                        <a:pt x="63454" y="312"/>
                      </a:cubicBezTo>
                      <a:cubicBezTo>
                        <a:pt x="65444" y="1055"/>
                        <a:pt x="70750" y="6618"/>
                        <a:pt x="72102" y="7913"/>
                      </a:cubicBezTo>
                      <a:cubicBezTo>
                        <a:pt x="73312" y="9075"/>
                        <a:pt x="71140" y="10685"/>
                        <a:pt x="72455" y="11742"/>
                      </a:cubicBezTo>
                      <a:cubicBezTo>
                        <a:pt x="73493" y="12571"/>
                        <a:pt x="77770" y="11123"/>
                        <a:pt x="79713" y="12247"/>
                      </a:cubicBezTo>
                      <a:cubicBezTo>
                        <a:pt x="80341" y="6856"/>
                        <a:pt x="86247" y="5922"/>
                        <a:pt x="90476" y="5808"/>
                      </a:cubicBezTo>
                      <a:cubicBezTo>
                        <a:pt x="93705" y="5722"/>
                        <a:pt x="96553" y="7827"/>
                        <a:pt x="99325" y="7818"/>
                      </a:cubicBezTo>
                      <a:cubicBezTo>
                        <a:pt x="103344" y="7808"/>
                        <a:pt x="102659" y="5665"/>
                        <a:pt x="105659" y="4789"/>
                      </a:cubicBezTo>
                      <a:cubicBezTo>
                        <a:pt x="120994" y="322"/>
                        <a:pt x="131053" y="13428"/>
                        <a:pt x="144864" y="15676"/>
                      </a:cubicBezTo>
                      <a:lnTo>
                        <a:pt x="144864" y="15676"/>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63" name="Freeform: Shape 562">
                  <a:extLst>
                    <a:ext uri="{FF2B5EF4-FFF2-40B4-BE49-F238E27FC236}">
                      <a16:creationId xmlns:a16="http://schemas.microsoft.com/office/drawing/2014/main" id="{FCFADEEE-1402-411F-AE06-159643F5C597}"/>
                    </a:ext>
                  </a:extLst>
                </p:cNvPr>
                <p:cNvSpPr/>
                <p:nvPr/>
              </p:nvSpPr>
              <p:spPr>
                <a:xfrm>
                  <a:off x="3768074" y="4176111"/>
                  <a:ext cx="127323" cy="130385"/>
                </a:xfrm>
                <a:custGeom>
                  <a:avLst/>
                  <a:gdLst>
                    <a:gd name="connsiteX0" fmla="*/ 123326 w 127323"/>
                    <a:gd name="connsiteY0" fmla="*/ 19972 h 130385"/>
                    <a:gd name="connsiteX1" fmla="*/ 114115 w 127323"/>
                    <a:gd name="connsiteY1" fmla="*/ 53643 h 130385"/>
                    <a:gd name="connsiteX2" fmla="*/ 118440 w 127323"/>
                    <a:gd name="connsiteY2" fmla="*/ 65921 h 130385"/>
                    <a:gd name="connsiteX3" fmla="*/ 125926 w 127323"/>
                    <a:gd name="connsiteY3" fmla="*/ 77589 h 130385"/>
                    <a:gd name="connsiteX4" fmla="*/ 120535 w 127323"/>
                    <a:gd name="connsiteY4" fmla="*/ 87790 h 130385"/>
                    <a:gd name="connsiteX5" fmla="*/ 120211 w 127323"/>
                    <a:gd name="connsiteY5" fmla="*/ 94953 h 130385"/>
                    <a:gd name="connsiteX6" fmla="*/ 112629 w 127323"/>
                    <a:gd name="connsiteY6" fmla="*/ 111241 h 130385"/>
                    <a:gd name="connsiteX7" fmla="*/ 103190 w 127323"/>
                    <a:gd name="connsiteY7" fmla="*/ 113851 h 130385"/>
                    <a:gd name="connsiteX8" fmla="*/ 98456 w 127323"/>
                    <a:gd name="connsiteY8" fmla="*/ 111927 h 130385"/>
                    <a:gd name="connsiteX9" fmla="*/ 94579 w 127323"/>
                    <a:gd name="connsiteY9" fmla="*/ 106955 h 130385"/>
                    <a:gd name="connsiteX10" fmla="*/ 83454 w 127323"/>
                    <a:gd name="connsiteY10" fmla="*/ 110269 h 130385"/>
                    <a:gd name="connsiteX11" fmla="*/ 74948 w 127323"/>
                    <a:gd name="connsiteY11" fmla="*/ 112432 h 130385"/>
                    <a:gd name="connsiteX12" fmla="*/ 66576 w 127323"/>
                    <a:gd name="connsiteY12" fmla="*/ 110803 h 130385"/>
                    <a:gd name="connsiteX13" fmla="*/ 59194 w 127323"/>
                    <a:gd name="connsiteY13" fmla="*/ 115346 h 130385"/>
                    <a:gd name="connsiteX14" fmla="*/ 64557 w 127323"/>
                    <a:gd name="connsiteY14" fmla="*/ 126024 h 130385"/>
                    <a:gd name="connsiteX15" fmla="*/ 40468 w 127323"/>
                    <a:gd name="connsiteY15" fmla="*/ 124814 h 130385"/>
                    <a:gd name="connsiteX16" fmla="*/ 28257 w 127323"/>
                    <a:gd name="connsiteY16" fmla="*/ 102830 h 130385"/>
                    <a:gd name="connsiteX17" fmla="*/ 24190 w 127323"/>
                    <a:gd name="connsiteY17" fmla="*/ 94143 h 130385"/>
                    <a:gd name="connsiteX18" fmla="*/ 22475 w 127323"/>
                    <a:gd name="connsiteY18" fmla="*/ 83637 h 130385"/>
                    <a:gd name="connsiteX19" fmla="*/ 11559 w 127323"/>
                    <a:gd name="connsiteY19" fmla="*/ 82037 h 130385"/>
                    <a:gd name="connsiteX20" fmla="*/ 9607 w 127323"/>
                    <a:gd name="connsiteY20" fmla="*/ 76274 h 130385"/>
                    <a:gd name="connsiteX21" fmla="*/ 4692 w 127323"/>
                    <a:gd name="connsiteY21" fmla="*/ 69464 h 130385"/>
                    <a:gd name="connsiteX22" fmla="*/ 920 w 127323"/>
                    <a:gd name="connsiteY22" fmla="*/ 54929 h 130385"/>
                    <a:gd name="connsiteX23" fmla="*/ 5768 w 127323"/>
                    <a:gd name="connsiteY23" fmla="*/ 39975 h 130385"/>
                    <a:gd name="connsiteX24" fmla="*/ 10083 w 127323"/>
                    <a:gd name="connsiteY24" fmla="*/ 32450 h 130385"/>
                    <a:gd name="connsiteX25" fmla="*/ 23875 w 127323"/>
                    <a:gd name="connsiteY25" fmla="*/ 29669 h 130385"/>
                    <a:gd name="connsiteX26" fmla="*/ 24075 w 127323"/>
                    <a:gd name="connsiteY26" fmla="*/ 20325 h 130385"/>
                    <a:gd name="connsiteX27" fmla="*/ 27714 w 127323"/>
                    <a:gd name="connsiteY27" fmla="*/ 14410 h 130385"/>
                    <a:gd name="connsiteX28" fmla="*/ 30514 w 127323"/>
                    <a:gd name="connsiteY28" fmla="*/ 7380 h 130385"/>
                    <a:gd name="connsiteX29" fmla="*/ 50421 w 127323"/>
                    <a:gd name="connsiteY29" fmla="*/ 1618 h 130385"/>
                    <a:gd name="connsiteX30" fmla="*/ 69110 w 127323"/>
                    <a:gd name="connsiteY30" fmla="*/ 9266 h 130385"/>
                    <a:gd name="connsiteX31" fmla="*/ 82835 w 127323"/>
                    <a:gd name="connsiteY31" fmla="*/ 922 h 130385"/>
                    <a:gd name="connsiteX32" fmla="*/ 102628 w 127323"/>
                    <a:gd name="connsiteY32" fmla="*/ 151 h 130385"/>
                    <a:gd name="connsiteX33" fmla="*/ 123469 w 127323"/>
                    <a:gd name="connsiteY33" fmla="*/ 4056 h 130385"/>
                    <a:gd name="connsiteX34" fmla="*/ 123326 w 127323"/>
                    <a:gd name="connsiteY34" fmla="*/ 19972 h 130385"/>
                    <a:gd name="connsiteX35" fmla="*/ 123326 w 127323"/>
                    <a:gd name="connsiteY35" fmla="*/ 19972 h 13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7323" h="130385">
                      <a:moveTo>
                        <a:pt x="123326" y="19972"/>
                      </a:moveTo>
                      <a:cubicBezTo>
                        <a:pt x="111496" y="28773"/>
                        <a:pt x="111420" y="40413"/>
                        <a:pt x="114115" y="53643"/>
                      </a:cubicBezTo>
                      <a:cubicBezTo>
                        <a:pt x="114972" y="57853"/>
                        <a:pt x="115830" y="62130"/>
                        <a:pt x="118440" y="65921"/>
                      </a:cubicBezTo>
                      <a:cubicBezTo>
                        <a:pt x="121468" y="70321"/>
                        <a:pt x="125974" y="72455"/>
                        <a:pt x="125926" y="77589"/>
                      </a:cubicBezTo>
                      <a:cubicBezTo>
                        <a:pt x="125888" y="82228"/>
                        <a:pt x="121878" y="83780"/>
                        <a:pt x="120535" y="87790"/>
                      </a:cubicBezTo>
                      <a:cubicBezTo>
                        <a:pt x="119621" y="90505"/>
                        <a:pt x="120525" y="92010"/>
                        <a:pt x="120211" y="94953"/>
                      </a:cubicBezTo>
                      <a:cubicBezTo>
                        <a:pt x="119630" y="100430"/>
                        <a:pt x="116363" y="107183"/>
                        <a:pt x="112629" y="111241"/>
                      </a:cubicBezTo>
                      <a:cubicBezTo>
                        <a:pt x="108314" y="115946"/>
                        <a:pt x="107152" y="114708"/>
                        <a:pt x="103190" y="113851"/>
                      </a:cubicBezTo>
                      <a:cubicBezTo>
                        <a:pt x="104781" y="114194"/>
                        <a:pt x="96970" y="110641"/>
                        <a:pt x="98456" y="111927"/>
                      </a:cubicBezTo>
                      <a:cubicBezTo>
                        <a:pt x="96656" y="110365"/>
                        <a:pt x="95084" y="109469"/>
                        <a:pt x="94579" y="106955"/>
                      </a:cubicBezTo>
                      <a:cubicBezTo>
                        <a:pt x="91798" y="109012"/>
                        <a:pt x="86797" y="109288"/>
                        <a:pt x="83454" y="110269"/>
                      </a:cubicBezTo>
                      <a:cubicBezTo>
                        <a:pt x="80511" y="111136"/>
                        <a:pt x="78796" y="112450"/>
                        <a:pt x="74948" y="112432"/>
                      </a:cubicBezTo>
                      <a:cubicBezTo>
                        <a:pt x="71700" y="112412"/>
                        <a:pt x="69414" y="110955"/>
                        <a:pt x="66576" y="110803"/>
                      </a:cubicBezTo>
                      <a:cubicBezTo>
                        <a:pt x="63671" y="110650"/>
                        <a:pt x="60013" y="110898"/>
                        <a:pt x="59194" y="115346"/>
                      </a:cubicBezTo>
                      <a:cubicBezTo>
                        <a:pt x="58384" y="119708"/>
                        <a:pt x="64566" y="120756"/>
                        <a:pt x="64557" y="126024"/>
                      </a:cubicBezTo>
                      <a:cubicBezTo>
                        <a:pt x="64547" y="134596"/>
                        <a:pt x="44992" y="128519"/>
                        <a:pt x="40468" y="124814"/>
                      </a:cubicBezTo>
                      <a:cubicBezTo>
                        <a:pt x="34391" y="119842"/>
                        <a:pt x="31933" y="109460"/>
                        <a:pt x="28257" y="102830"/>
                      </a:cubicBezTo>
                      <a:cubicBezTo>
                        <a:pt x="26247" y="99211"/>
                        <a:pt x="25437" y="98077"/>
                        <a:pt x="24190" y="94143"/>
                      </a:cubicBezTo>
                      <a:cubicBezTo>
                        <a:pt x="23551" y="92124"/>
                        <a:pt x="23580" y="84771"/>
                        <a:pt x="22475" y="83637"/>
                      </a:cubicBezTo>
                      <a:cubicBezTo>
                        <a:pt x="19684" y="80761"/>
                        <a:pt x="15217" y="84923"/>
                        <a:pt x="11559" y="82037"/>
                      </a:cubicBezTo>
                      <a:cubicBezTo>
                        <a:pt x="10531" y="81228"/>
                        <a:pt x="10407" y="77675"/>
                        <a:pt x="9607" y="76274"/>
                      </a:cubicBezTo>
                      <a:cubicBezTo>
                        <a:pt x="8378" y="74141"/>
                        <a:pt x="6092" y="71560"/>
                        <a:pt x="4692" y="69464"/>
                      </a:cubicBezTo>
                      <a:cubicBezTo>
                        <a:pt x="682" y="63444"/>
                        <a:pt x="-1290" y="61673"/>
                        <a:pt x="920" y="54929"/>
                      </a:cubicBezTo>
                      <a:cubicBezTo>
                        <a:pt x="2663" y="49633"/>
                        <a:pt x="5054" y="45223"/>
                        <a:pt x="5768" y="39975"/>
                      </a:cubicBezTo>
                      <a:cubicBezTo>
                        <a:pt x="6359" y="35660"/>
                        <a:pt x="4501" y="34869"/>
                        <a:pt x="10083" y="32450"/>
                      </a:cubicBezTo>
                      <a:cubicBezTo>
                        <a:pt x="14407" y="30564"/>
                        <a:pt x="20027" y="32336"/>
                        <a:pt x="23875" y="29669"/>
                      </a:cubicBezTo>
                      <a:cubicBezTo>
                        <a:pt x="29419" y="25840"/>
                        <a:pt x="23980" y="23963"/>
                        <a:pt x="24075" y="20325"/>
                      </a:cubicBezTo>
                      <a:cubicBezTo>
                        <a:pt x="24104" y="18858"/>
                        <a:pt x="26971" y="15810"/>
                        <a:pt x="27714" y="14410"/>
                      </a:cubicBezTo>
                      <a:cubicBezTo>
                        <a:pt x="28476" y="12952"/>
                        <a:pt x="29571" y="9857"/>
                        <a:pt x="30514" y="7380"/>
                      </a:cubicBezTo>
                      <a:cubicBezTo>
                        <a:pt x="34229" y="-2364"/>
                        <a:pt x="41173" y="141"/>
                        <a:pt x="50421" y="1618"/>
                      </a:cubicBezTo>
                      <a:cubicBezTo>
                        <a:pt x="55317" y="2399"/>
                        <a:pt x="68176" y="3627"/>
                        <a:pt x="69110" y="9266"/>
                      </a:cubicBezTo>
                      <a:cubicBezTo>
                        <a:pt x="67224" y="-1116"/>
                        <a:pt x="75786" y="951"/>
                        <a:pt x="82835" y="922"/>
                      </a:cubicBezTo>
                      <a:cubicBezTo>
                        <a:pt x="89436" y="894"/>
                        <a:pt x="95894" y="-440"/>
                        <a:pt x="102628" y="151"/>
                      </a:cubicBezTo>
                      <a:cubicBezTo>
                        <a:pt x="108286" y="646"/>
                        <a:pt x="118325" y="1046"/>
                        <a:pt x="123469" y="4056"/>
                      </a:cubicBezTo>
                      <a:cubicBezTo>
                        <a:pt x="129898" y="7818"/>
                        <a:pt x="127174" y="14172"/>
                        <a:pt x="123326" y="19972"/>
                      </a:cubicBezTo>
                      <a:lnTo>
                        <a:pt x="123326" y="19972"/>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64" name="Freeform: Shape 563">
                  <a:extLst>
                    <a:ext uri="{FF2B5EF4-FFF2-40B4-BE49-F238E27FC236}">
                      <a16:creationId xmlns:a16="http://schemas.microsoft.com/office/drawing/2014/main" id="{F468149B-5D96-45AE-B55B-048E66D40C75}"/>
                    </a:ext>
                  </a:extLst>
                </p:cNvPr>
                <p:cNvSpPr/>
                <p:nvPr/>
              </p:nvSpPr>
              <p:spPr>
                <a:xfrm>
                  <a:off x="6097066" y="2910759"/>
                  <a:ext cx="121492" cy="123549"/>
                </a:xfrm>
                <a:custGeom>
                  <a:avLst/>
                  <a:gdLst>
                    <a:gd name="connsiteX0" fmla="*/ 22384 w 121492"/>
                    <a:gd name="connsiteY0" fmla="*/ 345 h 123549"/>
                    <a:gd name="connsiteX1" fmla="*/ 42272 w 121492"/>
                    <a:gd name="connsiteY1" fmla="*/ 6994 h 123549"/>
                    <a:gd name="connsiteX2" fmla="*/ 50359 w 121492"/>
                    <a:gd name="connsiteY2" fmla="*/ 13471 h 123549"/>
                    <a:gd name="connsiteX3" fmla="*/ 52121 w 121492"/>
                    <a:gd name="connsiteY3" fmla="*/ 13442 h 123549"/>
                    <a:gd name="connsiteX4" fmla="*/ 52435 w 121492"/>
                    <a:gd name="connsiteY4" fmla="*/ 17805 h 123549"/>
                    <a:gd name="connsiteX5" fmla="*/ 65665 w 121492"/>
                    <a:gd name="connsiteY5" fmla="*/ 28625 h 123549"/>
                    <a:gd name="connsiteX6" fmla="*/ 70609 w 121492"/>
                    <a:gd name="connsiteY6" fmla="*/ 36350 h 123549"/>
                    <a:gd name="connsiteX7" fmla="*/ 71361 w 121492"/>
                    <a:gd name="connsiteY7" fmla="*/ 40988 h 123549"/>
                    <a:gd name="connsiteX8" fmla="*/ 90392 w 121492"/>
                    <a:gd name="connsiteY8" fmla="*/ 48609 h 123549"/>
                    <a:gd name="connsiteX9" fmla="*/ 95336 w 121492"/>
                    <a:gd name="connsiteY9" fmla="*/ 50475 h 123549"/>
                    <a:gd name="connsiteX10" fmla="*/ 99879 w 121492"/>
                    <a:gd name="connsiteY10" fmla="*/ 46589 h 123549"/>
                    <a:gd name="connsiteX11" fmla="*/ 109681 w 121492"/>
                    <a:gd name="connsiteY11" fmla="*/ 50180 h 123549"/>
                    <a:gd name="connsiteX12" fmla="*/ 110347 w 121492"/>
                    <a:gd name="connsiteY12" fmla="*/ 60648 h 123549"/>
                    <a:gd name="connsiteX13" fmla="*/ 107328 w 121492"/>
                    <a:gd name="connsiteY13" fmla="*/ 66239 h 123549"/>
                    <a:gd name="connsiteX14" fmla="*/ 102994 w 121492"/>
                    <a:gd name="connsiteY14" fmla="*/ 73754 h 123549"/>
                    <a:gd name="connsiteX15" fmla="*/ 115357 w 121492"/>
                    <a:gd name="connsiteY15" fmla="*/ 88194 h 123549"/>
                    <a:gd name="connsiteX16" fmla="*/ 118301 w 121492"/>
                    <a:gd name="connsiteY16" fmla="*/ 100101 h 123549"/>
                    <a:gd name="connsiteX17" fmla="*/ 109985 w 121492"/>
                    <a:gd name="connsiteY17" fmla="*/ 110721 h 123549"/>
                    <a:gd name="connsiteX18" fmla="*/ 112138 w 121492"/>
                    <a:gd name="connsiteY18" fmla="*/ 118560 h 123549"/>
                    <a:gd name="connsiteX19" fmla="*/ 106213 w 121492"/>
                    <a:gd name="connsiteY19" fmla="*/ 119989 h 123549"/>
                    <a:gd name="connsiteX20" fmla="*/ 88297 w 121492"/>
                    <a:gd name="connsiteY20" fmla="*/ 123408 h 123549"/>
                    <a:gd name="connsiteX21" fmla="*/ 90831 w 121492"/>
                    <a:gd name="connsiteY21" fmla="*/ 109959 h 123549"/>
                    <a:gd name="connsiteX22" fmla="*/ 80829 w 121492"/>
                    <a:gd name="connsiteY22" fmla="*/ 107454 h 123549"/>
                    <a:gd name="connsiteX23" fmla="*/ 78505 w 121492"/>
                    <a:gd name="connsiteY23" fmla="*/ 103577 h 123549"/>
                    <a:gd name="connsiteX24" fmla="*/ 74657 w 121492"/>
                    <a:gd name="connsiteY24" fmla="*/ 100310 h 123549"/>
                    <a:gd name="connsiteX25" fmla="*/ 59150 w 121492"/>
                    <a:gd name="connsiteY25" fmla="*/ 92947 h 123549"/>
                    <a:gd name="connsiteX26" fmla="*/ 58922 w 121492"/>
                    <a:gd name="connsiteY26" fmla="*/ 98300 h 123549"/>
                    <a:gd name="connsiteX27" fmla="*/ 51978 w 121492"/>
                    <a:gd name="connsiteY27" fmla="*/ 105063 h 123549"/>
                    <a:gd name="connsiteX28" fmla="*/ 36614 w 121492"/>
                    <a:gd name="connsiteY28" fmla="*/ 96386 h 123549"/>
                    <a:gd name="connsiteX29" fmla="*/ 22174 w 121492"/>
                    <a:gd name="connsiteY29" fmla="*/ 87175 h 123549"/>
                    <a:gd name="connsiteX30" fmla="*/ 18002 w 121492"/>
                    <a:gd name="connsiteY30" fmla="*/ 83222 h 123549"/>
                    <a:gd name="connsiteX31" fmla="*/ 22898 w 121492"/>
                    <a:gd name="connsiteY31" fmla="*/ 81346 h 123549"/>
                    <a:gd name="connsiteX32" fmla="*/ 25794 w 121492"/>
                    <a:gd name="connsiteY32" fmla="*/ 79384 h 123549"/>
                    <a:gd name="connsiteX33" fmla="*/ 20650 w 121492"/>
                    <a:gd name="connsiteY33" fmla="*/ 72221 h 123549"/>
                    <a:gd name="connsiteX34" fmla="*/ 26822 w 121492"/>
                    <a:gd name="connsiteY34" fmla="*/ 67792 h 123549"/>
                    <a:gd name="connsiteX35" fmla="*/ 13335 w 121492"/>
                    <a:gd name="connsiteY35" fmla="*/ 57743 h 123549"/>
                    <a:gd name="connsiteX36" fmla="*/ 17221 w 121492"/>
                    <a:gd name="connsiteY36" fmla="*/ 43551 h 123549"/>
                    <a:gd name="connsiteX37" fmla="*/ 7639 w 121492"/>
                    <a:gd name="connsiteY37" fmla="*/ 39664 h 123549"/>
                    <a:gd name="connsiteX38" fmla="*/ 8592 w 121492"/>
                    <a:gd name="connsiteY38" fmla="*/ 32321 h 123549"/>
                    <a:gd name="connsiteX39" fmla="*/ 10363 w 121492"/>
                    <a:gd name="connsiteY39" fmla="*/ 30463 h 123549"/>
                    <a:gd name="connsiteX40" fmla="*/ 14907 w 121492"/>
                    <a:gd name="connsiteY40" fmla="*/ 28120 h 123549"/>
                    <a:gd name="connsiteX41" fmla="*/ 7230 w 121492"/>
                    <a:gd name="connsiteY41" fmla="*/ 20414 h 123549"/>
                    <a:gd name="connsiteX42" fmla="*/ 0 w 121492"/>
                    <a:gd name="connsiteY42" fmla="*/ 10318 h 123549"/>
                    <a:gd name="connsiteX43" fmla="*/ 8477 w 121492"/>
                    <a:gd name="connsiteY43" fmla="*/ 5594 h 123549"/>
                    <a:gd name="connsiteX44" fmla="*/ 22384 w 121492"/>
                    <a:gd name="connsiteY44" fmla="*/ 345 h 123549"/>
                    <a:gd name="connsiteX45" fmla="*/ 22384 w 121492"/>
                    <a:gd name="connsiteY45" fmla="*/ 345 h 12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21492" h="123549">
                      <a:moveTo>
                        <a:pt x="22384" y="345"/>
                      </a:moveTo>
                      <a:cubicBezTo>
                        <a:pt x="32318" y="860"/>
                        <a:pt x="34662" y="1050"/>
                        <a:pt x="42272" y="6994"/>
                      </a:cubicBezTo>
                      <a:cubicBezTo>
                        <a:pt x="45082" y="9194"/>
                        <a:pt x="48063" y="10451"/>
                        <a:pt x="50359" y="13471"/>
                      </a:cubicBezTo>
                      <a:cubicBezTo>
                        <a:pt x="50797" y="14052"/>
                        <a:pt x="51292" y="12137"/>
                        <a:pt x="52121" y="13442"/>
                      </a:cubicBezTo>
                      <a:cubicBezTo>
                        <a:pt x="52892" y="14671"/>
                        <a:pt x="51883" y="16709"/>
                        <a:pt x="52435" y="17805"/>
                      </a:cubicBezTo>
                      <a:cubicBezTo>
                        <a:pt x="55245" y="23358"/>
                        <a:pt x="59131" y="26244"/>
                        <a:pt x="65665" y="28625"/>
                      </a:cubicBezTo>
                      <a:cubicBezTo>
                        <a:pt x="69913" y="30187"/>
                        <a:pt x="77772" y="32387"/>
                        <a:pt x="70609" y="36350"/>
                      </a:cubicBezTo>
                      <a:cubicBezTo>
                        <a:pt x="73485" y="38598"/>
                        <a:pt x="79134" y="40950"/>
                        <a:pt x="71361" y="40988"/>
                      </a:cubicBezTo>
                      <a:cubicBezTo>
                        <a:pt x="74752" y="45141"/>
                        <a:pt x="84811" y="47161"/>
                        <a:pt x="90392" y="48609"/>
                      </a:cubicBezTo>
                      <a:cubicBezTo>
                        <a:pt x="93021" y="49285"/>
                        <a:pt x="91802" y="51066"/>
                        <a:pt x="95336" y="50475"/>
                      </a:cubicBezTo>
                      <a:cubicBezTo>
                        <a:pt x="96936" y="50209"/>
                        <a:pt x="98012" y="47104"/>
                        <a:pt x="99879" y="46589"/>
                      </a:cubicBezTo>
                      <a:cubicBezTo>
                        <a:pt x="103546" y="45579"/>
                        <a:pt x="107518" y="47123"/>
                        <a:pt x="109681" y="50180"/>
                      </a:cubicBezTo>
                      <a:cubicBezTo>
                        <a:pt x="97965" y="49266"/>
                        <a:pt x="108499" y="57667"/>
                        <a:pt x="110347" y="60648"/>
                      </a:cubicBezTo>
                      <a:cubicBezTo>
                        <a:pt x="107823" y="62525"/>
                        <a:pt x="108776" y="64153"/>
                        <a:pt x="107328" y="66239"/>
                      </a:cubicBezTo>
                      <a:cubicBezTo>
                        <a:pt x="104889" y="69735"/>
                        <a:pt x="102060" y="67325"/>
                        <a:pt x="102994" y="73754"/>
                      </a:cubicBezTo>
                      <a:cubicBezTo>
                        <a:pt x="103994" y="80736"/>
                        <a:pt x="110185" y="84680"/>
                        <a:pt x="115357" y="88194"/>
                      </a:cubicBezTo>
                      <a:cubicBezTo>
                        <a:pt x="121472" y="92347"/>
                        <a:pt x="124006" y="94757"/>
                        <a:pt x="118301" y="100101"/>
                      </a:cubicBezTo>
                      <a:cubicBezTo>
                        <a:pt x="114090" y="104034"/>
                        <a:pt x="107785" y="103177"/>
                        <a:pt x="109985" y="110721"/>
                      </a:cubicBezTo>
                      <a:cubicBezTo>
                        <a:pt x="111023" y="114331"/>
                        <a:pt x="114043" y="115007"/>
                        <a:pt x="112138" y="118560"/>
                      </a:cubicBezTo>
                      <a:cubicBezTo>
                        <a:pt x="109985" y="122589"/>
                        <a:pt x="108956" y="119427"/>
                        <a:pt x="106213" y="119989"/>
                      </a:cubicBezTo>
                      <a:cubicBezTo>
                        <a:pt x="103661" y="120503"/>
                        <a:pt x="90488" y="124323"/>
                        <a:pt x="88297" y="123408"/>
                      </a:cubicBezTo>
                      <a:cubicBezTo>
                        <a:pt x="82410" y="120932"/>
                        <a:pt x="93536" y="114341"/>
                        <a:pt x="90831" y="109959"/>
                      </a:cubicBezTo>
                      <a:cubicBezTo>
                        <a:pt x="89906" y="108464"/>
                        <a:pt x="82601" y="108587"/>
                        <a:pt x="80829" y="107454"/>
                      </a:cubicBezTo>
                      <a:cubicBezTo>
                        <a:pt x="80724" y="107387"/>
                        <a:pt x="79381" y="104415"/>
                        <a:pt x="78505" y="103577"/>
                      </a:cubicBezTo>
                      <a:cubicBezTo>
                        <a:pt x="77467" y="102568"/>
                        <a:pt x="75829" y="101186"/>
                        <a:pt x="74657" y="100310"/>
                      </a:cubicBezTo>
                      <a:cubicBezTo>
                        <a:pt x="71076" y="97624"/>
                        <a:pt x="62684" y="89756"/>
                        <a:pt x="59150" y="92947"/>
                      </a:cubicBezTo>
                      <a:cubicBezTo>
                        <a:pt x="57083" y="94805"/>
                        <a:pt x="59979" y="95662"/>
                        <a:pt x="58922" y="98300"/>
                      </a:cubicBezTo>
                      <a:cubicBezTo>
                        <a:pt x="58150" y="100215"/>
                        <a:pt x="53321" y="104968"/>
                        <a:pt x="51978" y="105063"/>
                      </a:cubicBezTo>
                      <a:cubicBezTo>
                        <a:pt x="51083" y="100101"/>
                        <a:pt x="40795" y="98062"/>
                        <a:pt x="36614" y="96386"/>
                      </a:cubicBezTo>
                      <a:cubicBezTo>
                        <a:pt x="31109" y="94186"/>
                        <a:pt x="26546" y="91357"/>
                        <a:pt x="22174" y="87175"/>
                      </a:cubicBezTo>
                      <a:cubicBezTo>
                        <a:pt x="21126" y="86185"/>
                        <a:pt x="17421" y="85470"/>
                        <a:pt x="18002" y="83222"/>
                      </a:cubicBezTo>
                      <a:cubicBezTo>
                        <a:pt x="18917" y="79679"/>
                        <a:pt x="21650" y="82337"/>
                        <a:pt x="22898" y="81346"/>
                      </a:cubicBezTo>
                      <a:cubicBezTo>
                        <a:pt x="24117" y="80384"/>
                        <a:pt x="25194" y="82889"/>
                        <a:pt x="25794" y="79384"/>
                      </a:cubicBezTo>
                      <a:cubicBezTo>
                        <a:pt x="26298" y="76421"/>
                        <a:pt x="21898" y="74326"/>
                        <a:pt x="20650" y="72221"/>
                      </a:cubicBezTo>
                      <a:cubicBezTo>
                        <a:pt x="14887" y="62439"/>
                        <a:pt x="24555" y="74316"/>
                        <a:pt x="26822" y="67792"/>
                      </a:cubicBezTo>
                      <a:cubicBezTo>
                        <a:pt x="28070" y="64220"/>
                        <a:pt x="14507" y="59753"/>
                        <a:pt x="13335" y="57743"/>
                      </a:cubicBezTo>
                      <a:cubicBezTo>
                        <a:pt x="10163" y="52314"/>
                        <a:pt x="17574" y="48428"/>
                        <a:pt x="17221" y="43551"/>
                      </a:cubicBezTo>
                      <a:cubicBezTo>
                        <a:pt x="16669" y="35959"/>
                        <a:pt x="11259" y="42570"/>
                        <a:pt x="7639" y="39664"/>
                      </a:cubicBezTo>
                      <a:cubicBezTo>
                        <a:pt x="11297" y="39236"/>
                        <a:pt x="10182" y="35483"/>
                        <a:pt x="8592" y="32321"/>
                      </a:cubicBezTo>
                      <a:cubicBezTo>
                        <a:pt x="9106" y="31759"/>
                        <a:pt x="9944" y="30863"/>
                        <a:pt x="10363" y="30463"/>
                      </a:cubicBezTo>
                      <a:cubicBezTo>
                        <a:pt x="14392" y="32302"/>
                        <a:pt x="19441" y="31883"/>
                        <a:pt x="14907" y="28120"/>
                      </a:cubicBezTo>
                      <a:cubicBezTo>
                        <a:pt x="12583" y="26196"/>
                        <a:pt x="2029" y="25377"/>
                        <a:pt x="7230" y="20414"/>
                      </a:cubicBezTo>
                      <a:cubicBezTo>
                        <a:pt x="2172" y="19424"/>
                        <a:pt x="3229" y="13956"/>
                        <a:pt x="0" y="10318"/>
                      </a:cubicBezTo>
                      <a:cubicBezTo>
                        <a:pt x="2000" y="5651"/>
                        <a:pt x="5067" y="6698"/>
                        <a:pt x="8477" y="5594"/>
                      </a:cubicBezTo>
                      <a:cubicBezTo>
                        <a:pt x="12754" y="4184"/>
                        <a:pt x="18079" y="-1436"/>
                        <a:pt x="22384" y="345"/>
                      </a:cubicBezTo>
                      <a:lnTo>
                        <a:pt x="22384" y="345"/>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65" name="Freeform: Shape 564">
                  <a:extLst>
                    <a:ext uri="{FF2B5EF4-FFF2-40B4-BE49-F238E27FC236}">
                      <a16:creationId xmlns:a16="http://schemas.microsoft.com/office/drawing/2014/main" id="{E6C21D54-988D-45D1-927C-7F82D50B06FE}"/>
                    </a:ext>
                  </a:extLst>
                </p:cNvPr>
                <p:cNvSpPr/>
                <p:nvPr/>
              </p:nvSpPr>
              <p:spPr>
                <a:xfrm>
                  <a:off x="6883017" y="3987914"/>
                  <a:ext cx="315929" cy="430377"/>
                </a:xfrm>
                <a:custGeom>
                  <a:avLst/>
                  <a:gdLst>
                    <a:gd name="connsiteX0" fmla="*/ 18559 w 315929"/>
                    <a:gd name="connsiteY0" fmla="*/ 430378 h 430377"/>
                    <a:gd name="connsiteX1" fmla="*/ 1338 w 315929"/>
                    <a:gd name="connsiteY1" fmla="*/ 404346 h 430377"/>
                    <a:gd name="connsiteX2" fmla="*/ 1224 w 315929"/>
                    <a:gd name="connsiteY2" fmla="*/ 369428 h 430377"/>
                    <a:gd name="connsiteX3" fmla="*/ 357 w 315929"/>
                    <a:gd name="connsiteY3" fmla="*/ 297980 h 430377"/>
                    <a:gd name="connsiteX4" fmla="*/ 1338 w 315929"/>
                    <a:gd name="connsiteY4" fmla="*/ 286693 h 430377"/>
                    <a:gd name="connsiteX5" fmla="*/ 12901 w 315929"/>
                    <a:gd name="connsiteY5" fmla="*/ 274539 h 430377"/>
                    <a:gd name="connsiteX6" fmla="*/ 31618 w 315929"/>
                    <a:gd name="connsiteY6" fmla="*/ 247546 h 430377"/>
                    <a:gd name="connsiteX7" fmla="*/ 60383 w 315929"/>
                    <a:gd name="connsiteY7" fmla="*/ 238345 h 430377"/>
                    <a:gd name="connsiteX8" fmla="*/ 69985 w 315929"/>
                    <a:gd name="connsiteY8" fmla="*/ 229020 h 430377"/>
                    <a:gd name="connsiteX9" fmla="*/ 83624 w 315929"/>
                    <a:gd name="connsiteY9" fmla="*/ 223428 h 430377"/>
                    <a:gd name="connsiteX10" fmla="*/ 113695 w 315929"/>
                    <a:gd name="connsiteY10" fmla="*/ 222104 h 430377"/>
                    <a:gd name="connsiteX11" fmla="*/ 125668 w 315929"/>
                    <a:gd name="connsiteY11" fmla="*/ 219894 h 430377"/>
                    <a:gd name="connsiteX12" fmla="*/ 138650 w 315929"/>
                    <a:gd name="connsiteY12" fmla="*/ 205121 h 430377"/>
                    <a:gd name="connsiteX13" fmla="*/ 184608 w 315929"/>
                    <a:gd name="connsiteY13" fmla="*/ 155658 h 430377"/>
                    <a:gd name="connsiteX14" fmla="*/ 207183 w 315929"/>
                    <a:gd name="connsiteY14" fmla="*/ 132626 h 430377"/>
                    <a:gd name="connsiteX15" fmla="*/ 227347 w 315929"/>
                    <a:gd name="connsiteY15" fmla="*/ 103547 h 430377"/>
                    <a:gd name="connsiteX16" fmla="*/ 241339 w 315929"/>
                    <a:gd name="connsiteY16" fmla="*/ 74972 h 430377"/>
                    <a:gd name="connsiteX17" fmla="*/ 238691 w 315929"/>
                    <a:gd name="connsiteY17" fmla="*/ 39539 h 430377"/>
                    <a:gd name="connsiteX18" fmla="*/ 238453 w 315929"/>
                    <a:gd name="connsiteY18" fmla="*/ 22279 h 430377"/>
                    <a:gd name="connsiteX19" fmla="*/ 257846 w 315929"/>
                    <a:gd name="connsiteY19" fmla="*/ 16650 h 430377"/>
                    <a:gd name="connsiteX20" fmla="*/ 273781 w 315929"/>
                    <a:gd name="connsiteY20" fmla="*/ 13412 h 430377"/>
                    <a:gd name="connsiteX21" fmla="*/ 283735 w 315929"/>
                    <a:gd name="connsiteY21" fmla="*/ 7392 h 430377"/>
                    <a:gd name="connsiteX22" fmla="*/ 289536 w 315929"/>
                    <a:gd name="connsiteY22" fmla="*/ 439 h 430377"/>
                    <a:gd name="connsiteX23" fmla="*/ 307043 w 315929"/>
                    <a:gd name="connsiteY23" fmla="*/ 4068 h 430377"/>
                    <a:gd name="connsiteX24" fmla="*/ 304081 w 315929"/>
                    <a:gd name="connsiteY24" fmla="*/ 19584 h 430377"/>
                    <a:gd name="connsiteX25" fmla="*/ 304747 w 315929"/>
                    <a:gd name="connsiteY25" fmla="*/ 47968 h 430377"/>
                    <a:gd name="connsiteX26" fmla="*/ 309500 w 315929"/>
                    <a:gd name="connsiteY26" fmla="*/ 44511 h 430377"/>
                    <a:gd name="connsiteX27" fmla="*/ 315929 w 315929"/>
                    <a:gd name="connsiteY27" fmla="*/ 49807 h 430377"/>
                    <a:gd name="connsiteX28" fmla="*/ 301080 w 315929"/>
                    <a:gd name="connsiteY28" fmla="*/ 56731 h 430377"/>
                    <a:gd name="connsiteX29" fmla="*/ 300118 w 315929"/>
                    <a:gd name="connsiteY29" fmla="*/ 80887 h 430377"/>
                    <a:gd name="connsiteX30" fmla="*/ 287764 w 315929"/>
                    <a:gd name="connsiteY30" fmla="*/ 102956 h 430377"/>
                    <a:gd name="connsiteX31" fmla="*/ 277020 w 315929"/>
                    <a:gd name="connsiteY31" fmla="*/ 122454 h 430377"/>
                    <a:gd name="connsiteX32" fmla="*/ 267124 w 315929"/>
                    <a:gd name="connsiteY32" fmla="*/ 144409 h 430377"/>
                    <a:gd name="connsiteX33" fmla="*/ 255846 w 315929"/>
                    <a:gd name="connsiteY33" fmla="*/ 164097 h 430377"/>
                    <a:gd name="connsiteX34" fmla="*/ 248807 w 315929"/>
                    <a:gd name="connsiteY34" fmla="*/ 186786 h 430377"/>
                    <a:gd name="connsiteX35" fmla="*/ 234834 w 315929"/>
                    <a:gd name="connsiteY35" fmla="*/ 210303 h 430377"/>
                    <a:gd name="connsiteX36" fmla="*/ 205363 w 315929"/>
                    <a:gd name="connsiteY36" fmla="*/ 251975 h 430377"/>
                    <a:gd name="connsiteX37" fmla="*/ 168797 w 315929"/>
                    <a:gd name="connsiteY37" fmla="*/ 290713 h 430377"/>
                    <a:gd name="connsiteX38" fmla="*/ 126068 w 315929"/>
                    <a:gd name="connsiteY38" fmla="*/ 319479 h 430377"/>
                    <a:gd name="connsiteX39" fmla="*/ 88015 w 315929"/>
                    <a:gd name="connsiteY39" fmla="*/ 349625 h 430377"/>
                    <a:gd name="connsiteX40" fmla="*/ 48982 w 315929"/>
                    <a:gd name="connsiteY40" fmla="*/ 390240 h 430377"/>
                    <a:gd name="connsiteX41" fmla="*/ 32408 w 315929"/>
                    <a:gd name="connsiteY41" fmla="*/ 408261 h 430377"/>
                    <a:gd name="connsiteX42" fmla="*/ 18559 w 315929"/>
                    <a:gd name="connsiteY42" fmla="*/ 430378 h 430377"/>
                    <a:gd name="connsiteX43" fmla="*/ 18559 w 315929"/>
                    <a:gd name="connsiteY43" fmla="*/ 430378 h 430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15929" h="430377">
                      <a:moveTo>
                        <a:pt x="18559" y="430378"/>
                      </a:moveTo>
                      <a:cubicBezTo>
                        <a:pt x="20207" y="420948"/>
                        <a:pt x="4119" y="412671"/>
                        <a:pt x="1338" y="404346"/>
                      </a:cubicBezTo>
                      <a:cubicBezTo>
                        <a:pt x="-1634" y="395412"/>
                        <a:pt x="1281" y="378838"/>
                        <a:pt x="1224" y="369428"/>
                      </a:cubicBezTo>
                      <a:cubicBezTo>
                        <a:pt x="1090" y="345615"/>
                        <a:pt x="804" y="321793"/>
                        <a:pt x="357" y="297980"/>
                      </a:cubicBezTo>
                      <a:cubicBezTo>
                        <a:pt x="281" y="294037"/>
                        <a:pt x="-443" y="290065"/>
                        <a:pt x="1338" y="286693"/>
                      </a:cubicBezTo>
                      <a:cubicBezTo>
                        <a:pt x="3710" y="282207"/>
                        <a:pt x="9739" y="278588"/>
                        <a:pt x="12901" y="274539"/>
                      </a:cubicBezTo>
                      <a:cubicBezTo>
                        <a:pt x="19055" y="266634"/>
                        <a:pt x="23702" y="253708"/>
                        <a:pt x="31618" y="247546"/>
                      </a:cubicBezTo>
                      <a:cubicBezTo>
                        <a:pt x="39857" y="241135"/>
                        <a:pt x="52735" y="245936"/>
                        <a:pt x="60383" y="238345"/>
                      </a:cubicBezTo>
                      <a:cubicBezTo>
                        <a:pt x="64012" y="234753"/>
                        <a:pt x="65013" y="231763"/>
                        <a:pt x="69985" y="229020"/>
                      </a:cubicBezTo>
                      <a:cubicBezTo>
                        <a:pt x="74356" y="226591"/>
                        <a:pt x="78881" y="224847"/>
                        <a:pt x="83624" y="223428"/>
                      </a:cubicBezTo>
                      <a:cubicBezTo>
                        <a:pt x="93797" y="220390"/>
                        <a:pt x="103198" y="221523"/>
                        <a:pt x="113695" y="222104"/>
                      </a:cubicBezTo>
                      <a:cubicBezTo>
                        <a:pt x="120029" y="222447"/>
                        <a:pt x="121258" y="223200"/>
                        <a:pt x="125668" y="219894"/>
                      </a:cubicBezTo>
                      <a:cubicBezTo>
                        <a:pt x="130573" y="216227"/>
                        <a:pt x="134650" y="209693"/>
                        <a:pt x="138650" y="205121"/>
                      </a:cubicBezTo>
                      <a:cubicBezTo>
                        <a:pt x="153519" y="188148"/>
                        <a:pt x="168797" y="171746"/>
                        <a:pt x="184608" y="155658"/>
                      </a:cubicBezTo>
                      <a:cubicBezTo>
                        <a:pt x="192143" y="147990"/>
                        <a:pt x="199677" y="140323"/>
                        <a:pt x="207183" y="132626"/>
                      </a:cubicBezTo>
                      <a:cubicBezTo>
                        <a:pt x="215698" y="123892"/>
                        <a:pt x="221156" y="114015"/>
                        <a:pt x="227347" y="103547"/>
                      </a:cubicBezTo>
                      <a:cubicBezTo>
                        <a:pt x="232472" y="94879"/>
                        <a:pt x="240892" y="84887"/>
                        <a:pt x="241339" y="74972"/>
                      </a:cubicBezTo>
                      <a:cubicBezTo>
                        <a:pt x="241873" y="63408"/>
                        <a:pt x="239606" y="51083"/>
                        <a:pt x="238691" y="39539"/>
                      </a:cubicBezTo>
                      <a:cubicBezTo>
                        <a:pt x="238358" y="35300"/>
                        <a:pt x="236205" y="24613"/>
                        <a:pt x="238453" y="22279"/>
                      </a:cubicBezTo>
                      <a:cubicBezTo>
                        <a:pt x="240463" y="20174"/>
                        <a:pt x="254227" y="17841"/>
                        <a:pt x="257846" y="16650"/>
                      </a:cubicBezTo>
                      <a:cubicBezTo>
                        <a:pt x="262961" y="14964"/>
                        <a:pt x="268800" y="15345"/>
                        <a:pt x="273781" y="13412"/>
                      </a:cubicBezTo>
                      <a:cubicBezTo>
                        <a:pt x="276686" y="12278"/>
                        <a:pt x="281440" y="9630"/>
                        <a:pt x="283735" y="7392"/>
                      </a:cubicBezTo>
                      <a:cubicBezTo>
                        <a:pt x="286031" y="5163"/>
                        <a:pt x="286288" y="1820"/>
                        <a:pt x="289536" y="439"/>
                      </a:cubicBezTo>
                      <a:cubicBezTo>
                        <a:pt x="293022" y="-1038"/>
                        <a:pt x="305128" y="1477"/>
                        <a:pt x="307043" y="4068"/>
                      </a:cubicBezTo>
                      <a:cubicBezTo>
                        <a:pt x="309776" y="7763"/>
                        <a:pt x="304281" y="14878"/>
                        <a:pt x="304081" y="19584"/>
                      </a:cubicBezTo>
                      <a:cubicBezTo>
                        <a:pt x="303766" y="27432"/>
                        <a:pt x="312434" y="42120"/>
                        <a:pt x="304747" y="47968"/>
                      </a:cubicBezTo>
                      <a:cubicBezTo>
                        <a:pt x="307453" y="48483"/>
                        <a:pt x="309881" y="47406"/>
                        <a:pt x="309500" y="44511"/>
                      </a:cubicBezTo>
                      <a:cubicBezTo>
                        <a:pt x="312234" y="45892"/>
                        <a:pt x="315977" y="46349"/>
                        <a:pt x="315929" y="49807"/>
                      </a:cubicBezTo>
                      <a:cubicBezTo>
                        <a:pt x="308386" y="48454"/>
                        <a:pt x="302499" y="48216"/>
                        <a:pt x="301080" y="56731"/>
                      </a:cubicBezTo>
                      <a:cubicBezTo>
                        <a:pt x="299804" y="64351"/>
                        <a:pt x="302290" y="73733"/>
                        <a:pt x="300118" y="80887"/>
                      </a:cubicBezTo>
                      <a:cubicBezTo>
                        <a:pt x="297718" y="88802"/>
                        <a:pt x="290889" y="95212"/>
                        <a:pt x="287764" y="102956"/>
                      </a:cubicBezTo>
                      <a:cubicBezTo>
                        <a:pt x="284783" y="110328"/>
                        <a:pt x="282106" y="116272"/>
                        <a:pt x="277020" y="122454"/>
                      </a:cubicBezTo>
                      <a:cubicBezTo>
                        <a:pt x="271695" y="128902"/>
                        <a:pt x="271153" y="136865"/>
                        <a:pt x="267124" y="144409"/>
                      </a:cubicBezTo>
                      <a:cubicBezTo>
                        <a:pt x="263523" y="151153"/>
                        <a:pt x="258703" y="156934"/>
                        <a:pt x="255846" y="164097"/>
                      </a:cubicBezTo>
                      <a:cubicBezTo>
                        <a:pt x="252817" y="171669"/>
                        <a:pt x="252189" y="179566"/>
                        <a:pt x="248807" y="186786"/>
                      </a:cubicBezTo>
                      <a:cubicBezTo>
                        <a:pt x="244940" y="195053"/>
                        <a:pt x="240187" y="202940"/>
                        <a:pt x="234834" y="210303"/>
                      </a:cubicBezTo>
                      <a:cubicBezTo>
                        <a:pt x="224613" y="224381"/>
                        <a:pt x="216908" y="238744"/>
                        <a:pt x="205363" y="251975"/>
                      </a:cubicBezTo>
                      <a:cubicBezTo>
                        <a:pt x="193647" y="265405"/>
                        <a:pt x="181389" y="278111"/>
                        <a:pt x="168797" y="290713"/>
                      </a:cubicBezTo>
                      <a:cubicBezTo>
                        <a:pt x="155957" y="303543"/>
                        <a:pt x="141413" y="310001"/>
                        <a:pt x="126068" y="319479"/>
                      </a:cubicBezTo>
                      <a:cubicBezTo>
                        <a:pt x="112276" y="327994"/>
                        <a:pt x="100236" y="339100"/>
                        <a:pt x="88015" y="349625"/>
                      </a:cubicBezTo>
                      <a:cubicBezTo>
                        <a:pt x="73919" y="361779"/>
                        <a:pt x="61250" y="376362"/>
                        <a:pt x="48982" y="390240"/>
                      </a:cubicBezTo>
                      <a:cubicBezTo>
                        <a:pt x="43752" y="396145"/>
                        <a:pt x="37123" y="401946"/>
                        <a:pt x="32408" y="408261"/>
                      </a:cubicBezTo>
                      <a:cubicBezTo>
                        <a:pt x="27179" y="415262"/>
                        <a:pt x="24798" y="423834"/>
                        <a:pt x="18559" y="430378"/>
                      </a:cubicBezTo>
                      <a:lnTo>
                        <a:pt x="18559" y="430378"/>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66" name="Freeform: Shape 565">
                  <a:extLst>
                    <a:ext uri="{FF2B5EF4-FFF2-40B4-BE49-F238E27FC236}">
                      <a16:creationId xmlns:a16="http://schemas.microsoft.com/office/drawing/2014/main" id="{2D79F84E-D571-49D5-8EB2-7C5C7450EFAB}"/>
                    </a:ext>
                  </a:extLst>
                </p:cNvPr>
                <p:cNvSpPr/>
                <p:nvPr/>
              </p:nvSpPr>
              <p:spPr>
                <a:xfrm>
                  <a:off x="6926015" y="4002659"/>
                  <a:ext cx="198468" cy="111618"/>
                </a:xfrm>
                <a:custGeom>
                  <a:avLst/>
                  <a:gdLst>
                    <a:gd name="connsiteX0" fmla="*/ 194302 w 198468"/>
                    <a:gd name="connsiteY0" fmla="*/ 7591 h 111618"/>
                    <a:gd name="connsiteX1" fmla="*/ 197331 w 198468"/>
                    <a:gd name="connsiteY1" fmla="*/ 46253 h 111618"/>
                    <a:gd name="connsiteX2" fmla="*/ 198398 w 198468"/>
                    <a:gd name="connsiteY2" fmla="*/ 60950 h 111618"/>
                    <a:gd name="connsiteX3" fmla="*/ 190435 w 198468"/>
                    <a:gd name="connsiteY3" fmla="*/ 78524 h 111618"/>
                    <a:gd name="connsiteX4" fmla="*/ 181472 w 198468"/>
                    <a:gd name="connsiteY4" fmla="*/ 93640 h 111618"/>
                    <a:gd name="connsiteX5" fmla="*/ 171956 w 198468"/>
                    <a:gd name="connsiteY5" fmla="*/ 109633 h 111618"/>
                    <a:gd name="connsiteX6" fmla="*/ 138286 w 198468"/>
                    <a:gd name="connsiteY6" fmla="*/ 109414 h 111618"/>
                    <a:gd name="connsiteX7" fmla="*/ 72801 w 198468"/>
                    <a:gd name="connsiteY7" fmla="*/ 87935 h 111618"/>
                    <a:gd name="connsiteX8" fmla="*/ 40988 w 198468"/>
                    <a:gd name="connsiteY8" fmla="*/ 75400 h 111618"/>
                    <a:gd name="connsiteX9" fmla="*/ 29739 w 198468"/>
                    <a:gd name="connsiteY9" fmla="*/ 67494 h 111618"/>
                    <a:gd name="connsiteX10" fmla="*/ 19062 w 198468"/>
                    <a:gd name="connsiteY10" fmla="*/ 54426 h 111618"/>
                    <a:gd name="connsiteX11" fmla="*/ 7555 w 198468"/>
                    <a:gd name="connsiteY11" fmla="*/ 41805 h 111618"/>
                    <a:gd name="connsiteX12" fmla="*/ 30 w 198468"/>
                    <a:gd name="connsiteY12" fmla="*/ 28927 h 111618"/>
                    <a:gd name="connsiteX13" fmla="*/ 6774 w 198468"/>
                    <a:gd name="connsiteY13" fmla="*/ 17012 h 111618"/>
                    <a:gd name="connsiteX14" fmla="*/ 16147 w 198468"/>
                    <a:gd name="connsiteY14" fmla="*/ 0 h 111618"/>
                    <a:gd name="connsiteX15" fmla="*/ 53294 w 198468"/>
                    <a:gd name="connsiteY15" fmla="*/ 33347 h 111618"/>
                    <a:gd name="connsiteX16" fmla="*/ 102367 w 198468"/>
                    <a:gd name="connsiteY16" fmla="*/ 21803 h 111618"/>
                    <a:gd name="connsiteX17" fmla="*/ 125427 w 198468"/>
                    <a:gd name="connsiteY17" fmla="*/ 21955 h 111618"/>
                    <a:gd name="connsiteX18" fmla="*/ 147744 w 198468"/>
                    <a:gd name="connsiteY18" fmla="*/ 10249 h 111618"/>
                    <a:gd name="connsiteX19" fmla="*/ 158898 w 198468"/>
                    <a:gd name="connsiteY19" fmla="*/ 11992 h 111618"/>
                    <a:gd name="connsiteX20" fmla="*/ 172233 w 198468"/>
                    <a:gd name="connsiteY20" fmla="*/ 8982 h 111618"/>
                    <a:gd name="connsiteX21" fmla="*/ 194302 w 198468"/>
                    <a:gd name="connsiteY21" fmla="*/ 7591 h 111618"/>
                    <a:gd name="connsiteX22" fmla="*/ 194302 w 198468"/>
                    <a:gd name="connsiteY22" fmla="*/ 7591 h 11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8468" h="111618">
                      <a:moveTo>
                        <a:pt x="194302" y="7591"/>
                      </a:moveTo>
                      <a:cubicBezTo>
                        <a:pt x="195360" y="20479"/>
                        <a:pt x="196369" y="33366"/>
                        <a:pt x="197331" y="46253"/>
                      </a:cubicBezTo>
                      <a:cubicBezTo>
                        <a:pt x="197684" y="51006"/>
                        <a:pt x="198751" y="56226"/>
                        <a:pt x="198398" y="60950"/>
                      </a:cubicBezTo>
                      <a:cubicBezTo>
                        <a:pt x="197912" y="67504"/>
                        <a:pt x="193836" y="72723"/>
                        <a:pt x="190435" y="78524"/>
                      </a:cubicBezTo>
                      <a:cubicBezTo>
                        <a:pt x="187464" y="83582"/>
                        <a:pt x="184453" y="88611"/>
                        <a:pt x="181472" y="93640"/>
                      </a:cubicBezTo>
                      <a:cubicBezTo>
                        <a:pt x="179043" y="97745"/>
                        <a:pt x="175814" y="106985"/>
                        <a:pt x="171956" y="109633"/>
                      </a:cubicBezTo>
                      <a:cubicBezTo>
                        <a:pt x="166442" y="113414"/>
                        <a:pt x="144734" y="110899"/>
                        <a:pt x="138286" y="109414"/>
                      </a:cubicBezTo>
                      <a:cubicBezTo>
                        <a:pt x="116226" y="104299"/>
                        <a:pt x="94366" y="94926"/>
                        <a:pt x="72801" y="87935"/>
                      </a:cubicBezTo>
                      <a:cubicBezTo>
                        <a:pt x="62172" y="84487"/>
                        <a:pt x="49751" y="82382"/>
                        <a:pt x="40988" y="75400"/>
                      </a:cubicBezTo>
                      <a:cubicBezTo>
                        <a:pt x="37311" y="72476"/>
                        <a:pt x="33178" y="70018"/>
                        <a:pt x="29739" y="67494"/>
                      </a:cubicBezTo>
                      <a:cubicBezTo>
                        <a:pt x="24814" y="63884"/>
                        <a:pt x="22690" y="59198"/>
                        <a:pt x="19062" y="54426"/>
                      </a:cubicBezTo>
                      <a:cubicBezTo>
                        <a:pt x="15775" y="50092"/>
                        <a:pt x="11051" y="46701"/>
                        <a:pt x="7555" y="41805"/>
                      </a:cubicBezTo>
                      <a:cubicBezTo>
                        <a:pt x="5640" y="39129"/>
                        <a:pt x="364" y="31909"/>
                        <a:pt x="30" y="28927"/>
                      </a:cubicBezTo>
                      <a:cubicBezTo>
                        <a:pt x="-437" y="24765"/>
                        <a:pt x="4631" y="20393"/>
                        <a:pt x="6774" y="17012"/>
                      </a:cubicBezTo>
                      <a:cubicBezTo>
                        <a:pt x="10155" y="11649"/>
                        <a:pt x="13003" y="5572"/>
                        <a:pt x="16147" y="0"/>
                      </a:cubicBezTo>
                      <a:cubicBezTo>
                        <a:pt x="28929" y="9573"/>
                        <a:pt x="36311" y="28861"/>
                        <a:pt x="53294" y="33347"/>
                      </a:cubicBezTo>
                      <a:cubicBezTo>
                        <a:pt x="72649" y="38462"/>
                        <a:pt x="84451" y="20660"/>
                        <a:pt x="102367" y="21803"/>
                      </a:cubicBezTo>
                      <a:cubicBezTo>
                        <a:pt x="110625" y="22336"/>
                        <a:pt x="117588" y="24974"/>
                        <a:pt x="125427" y="21955"/>
                      </a:cubicBezTo>
                      <a:cubicBezTo>
                        <a:pt x="132780" y="19126"/>
                        <a:pt x="139981" y="10916"/>
                        <a:pt x="147744" y="10249"/>
                      </a:cubicBezTo>
                      <a:cubicBezTo>
                        <a:pt x="151345" y="9935"/>
                        <a:pt x="155183" y="11916"/>
                        <a:pt x="158898" y="11992"/>
                      </a:cubicBezTo>
                      <a:cubicBezTo>
                        <a:pt x="163851" y="12087"/>
                        <a:pt x="167708" y="10678"/>
                        <a:pt x="172233" y="8982"/>
                      </a:cubicBezTo>
                      <a:cubicBezTo>
                        <a:pt x="181272" y="5591"/>
                        <a:pt x="185254" y="7020"/>
                        <a:pt x="194302" y="7591"/>
                      </a:cubicBezTo>
                      <a:lnTo>
                        <a:pt x="194302" y="7591"/>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67" name="Freeform: Shape 566">
                  <a:extLst>
                    <a:ext uri="{FF2B5EF4-FFF2-40B4-BE49-F238E27FC236}">
                      <a16:creationId xmlns:a16="http://schemas.microsoft.com/office/drawing/2014/main" id="{24A2784F-633F-491B-AB44-AE79320F1186}"/>
                    </a:ext>
                  </a:extLst>
                </p:cNvPr>
                <p:cNvSpPr/>
                <p:nvPr/>
              </p:nvSpPr>
              <p:spPr>
                <a:xfrm>
                  <a:off x="2796320" y="3910483"/>
                  <a:ext cx="72777" cy="39307"/>
                </a:xfrm>
                <a:custGeom>
                  <a:avLst/>
                  <a:gdLst>
                    <a:gd name="connsiteX0" fmla="*/ 26660 w 72777"/>
                    <a:gd name="connsiteY0" fmla="*/ 298 h 39307"/>
                    <a:gd name="connsiteX1" fmla="*/ 36890 w 72777"/>
                    <a:gd name="connsiteY1" fmla="*/ 5451 h 39307"/>
                    <a:gd name="connsiteX2" fmla="*/ 47101 w 72777"/>
                    <a:gd name="connsiteY2" fmla="*/ 13157 h 39307"/>
                    <a:gd name="connsiteX3" fmla="*/ 50444 w 72777"/>
                    <a:gd name="connsiteY3" fmla="*/ 16405 h 39307"/>
                    <a:gd name="connsiteX4" fmla="*/ 52701 w 72777"/>
                    <a:gd name="connsiteY4" fmla="*/ 17510 h 39307"/>
                    <a:gd name="connsiteX5" fmla="*/ 61160 w 72777"/>
                    <a:gd name="connsiteY5" fmla="*/ 13976 h 39307"/>
                    <a:gd name="connsiteX6" fmla="*/ 65703 w 72777"/>
                    <a:gd name="connsiteY6" fmla="*/ 16986 h 39307"/>
                    <a:gd name="connsiteX7" fmla="*/ 72275 w 72777"/>
                    <a:gd name="connsiteY7" fmla="*/ 23615 h 39307"/>
                    <a:gd name="connsiteX8" fmla="*/ 68789 w 72777"/>
                    <a:gd name="connsiteY8" fmla="*/ 32302 h 39307"/>
                    <a:gd name="connsiteX9" fmla="*/ 41024 w 72777"/>
                    <a:gd name="connsiteY9" fmla="*/ 36036 h 39307"/>
                    <a:gd name="connsiteX10" fmla="*/ 46824 w 72777"/>
                    <a:gd name="connsiteY10" fmla="*/ 38693 h 39307"/>
                    <a:gd name="connsiteX11" fmla="*/ 22079 w 72777"/>
                    <a:gd name="connsiteY11" fmla="*/ 29616 h 39307"/>
                    <a:gd name="connsiteX12" fmla="*/ 57 w 72777"/>
                    <a:gd name="connsiteY12" fmla="*/ 18996 h 39307"/>
                    <a:gd name="connsiteX13" fmla="*/ 16544 w 72777"/>
                    <a:gd name="connsiteY13" fmla="*/ 7289 h 39307"/>
                    <a:gd name="connsiteX14" fmla="*/ 19869 w 72777"/>
                    <a:gd name="connsiteY14" fmla="*/ 5508 h 39307"/>
                    <a:gd name="connsiteX15" fmla="*/ 19783 w 72777"/>
                    <a:gd name="connsiteY15" fmla="*/ 1784 h 39307"/>
                    <a:gd name="connsiteX16" fmla="*/ 26660 w 72777"/>
                    <a:gd name="connsiteY16" fmla="*/ 298 h 39307"/>
                    <a:gd name="connsiteX17" fmla="*/ 26660 w 72777"/>
                    <a:gd name="connsiteY17" fmla="*/ 298 h 39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2777" h="39307">
                      <a:moveTo>
                        <a:pt x="26660" y="298"/>
                      </a:moveTo>
                      <a:cubicBezTo>
                        <a:pt x="31975" y="2270"/>
                        <a:pt x="33108" y="2432"/>
                        <a:pt x="36890" y="5451"/>
                      </a:cubicBezTo>
                      <a:cubicBezTo>
                        <a:pt x="40224" y="8109"/>
                        <a:pt x="44062" y="10604"/>
                        <a:pt x="47101" y="13157"/>
                      </a:cubicBezTo>
                      <a:cubicBezTo>
                        <a:pt x="46596" y="12738"/>
                        <a:pt x="52339" y="17024"/>
                        <a:pt x="50444" y="16405"/>
                      </a:cubicBezTo>
                      <a:cubicBezTo>
                        <a:pt x="51796" y="16843"/>
                        <a:pt x="50330" y="17434"/>
                        <a:pt x="52701" y="17510"/>
                      </a:cubicBezTo>
                      <a:cubicBezTo>
                        <a:pt x="55349" y="17596"/>
                        <a:pt x="58274" y="13986"/>
                        <a:pt x="61160" y="13976"/>
                      </a:cubicBezTo>
                      <a:cubicBezTo>
                        <a:pt x="64065" y="13967"/>
                        <a:pt x="63484" y="16395"/>
                        <a:pt x="65703" y="16986"/>
                      </a:cubicBezTo>
                      <a:cubicBezTo>
                        <a:pt x="73447" y="19072"/>
                        <a:pt x="73304" y="15224"/>
                        <a:pt x="72275" y="23615"/>
                      </a:cubicBezTo>
                      <a:cubicBezTo>
                        <a:pt x="71628" y="28816"/>
                        <a:pt x="70494" y="28692"/>
                        <a:pt x="68789" y="32302"/>
                      </a:cubicBezTo>
                      <a:cubicBezTo>
                        <a:pt x="62417" y="45818"/>
                        <a:pt x="52511" y="35522"/>
                        <a:pt x="41024" y="36036"/>
                      </a:cubicBezTo>
                      <a:cubicBezTo>
                        <a:pt x="42900" y="36884"/>
                        <a:pt x="44853" y="37779"/>
                        <a:pt x="46824" y="38693"/>
                      </a:cubicBezTo>
                      <a:cubicBezTo>
                        <a:pt x="38566" y="40179"/>
                        <a:pt x="29632" y="31673"/>
                        <a:pt x="22079" y="29616"/>
                      </a:cubicBezTo>
                      <a:cubicBezTo>
                        <a:pt x="16497" y="28102"/>
                        <a:pt x="-1124" y="27435"/>
                        <a:pt x="57" y="18996"/>
                      </a:cubicBezTo>
                      <a:cubicBezTo>
                        <a:pt x="781" y="13776"/>
                        <a:pt x="13268" y="10814"/>
                        <a:pt x="16544" y="7289"/>
                      </a:cubicBezTo>
                      <a:cubicBezTo>
                        <a:pt x="17287" y="6499"/>
                        <a:pt x="19116" y="6299"/>
                        <a:pt x="19869" y="5508"/>
                      </a:cubicBezTo>
                      <a:cubicBezTo>
                        <a:pt x="20535" y="4803"/>
                        <a:pt x="18897" y="2527"/>
                        <a:pt x="19783" y="1784"/>
                      </a:cubicBezTo>
                      <a:cubicBezTo>
                        <a:pt x="21631" y="231"/>
                        <a:pt x="23993" y="-435"/>
                        <a:pt x="26660" y="298"/>
                      </a:cubicBezTo>
                      <a:lnTo>
                        <a:pt x="26660" y="298"/>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68" name="Freeform: Shape 567">
                  <a:extLst>
                    <a:ext uri="{FF2B5EF4-FFF2-40B4-BE49-F238E27FC236}">
                      <a16:creationId xmlns:a16="http://schemas.microsoft.com/office/drawing/2014/main" id="{C670104D-2222-4561-B83F-CD96C25FB2EF}"/>
                    </a:ext>
                  </a:extLst>
                </p:cNvPr>
                <p:cNvSpPr/>
                <p:nvPr/>
              </p:nvSpPr>
              <p:spPr>
                <a:xfrm>
                  <a:off x="5178526" y="4049746"/>
                  <a:ext cx="93005" cy="96330"/>
                </a:xfrm>
                <a:custGeom>
                  <a:avLst/>
                  <a:gdLst>
                    <a:gd name="connsiteX0" fmla="*/ 65500 w 93005"/>
                    <a:gd name="connsiteY0" fmla="*/ 2500 h 96330"/>
                    <a:gd name="connsiteX1" fmla="*/ 76016 w 93005"/>
                    <a:gd name="connsiteY1" fmla="*/ 16454 h 96330"/>
                    <a:gd name="connsiteX2" fmla="*/ 80674 w 93005"/>
                    <a:gd name="connsiteY2" fmla="*/ 22979 h 96330"/>
                    <a:gd name="connsiteX3" fmla="*/ 78654 w 93005"/>
                    <a:gd name="connsiteY3" fmla="*/ 28656 h 96330"/>
                    <a:gd name="connsiteX4" fmla="*/ 82731 w 93005"/>
                    <a:gd name="connsiteY4" fmla="*/ 29789 h 96330"/>
                    <a:gd name="connsiteX5" fmla="*/ 82998 w 93005"/>
                    <a:gd name="connsiteY5" fmla="*/ 34076 h 96330"/>
                    <a:gd name="connsiteX6" fmla="*/ 86189 w 93005"/>
                    <a:gd name="connsiteY6" fmla="*/ 41505 h 96330"/>
                    <a:gd name="connsiteX7" fmla="*/ 79407 w 93005"/>
                    <a:gd name="connsiteY7" fmla="*/ 52602 h 96330"/>
                    <a:gd name="connsiteX8" fmla="*/ 88998 w 93005"/>
                    <a:gd name="connsiteY8" fmla="*/ 48506 h 96330"/>
                    <a:gd name="connsiteX9" fmla="*/ 90580 w 93005"/>
                    <a:gd name="connsiteY9" fmla="*/ 56755 h 96330"/>
                    <a:gd name="connsiteX10" fmla="*/ 84588 w 93005"/>
                    <a:gd name="connsiteY10" fmla="*/ 60079 h 96330"/>
                    <a:gd name="connsiteX11" fmla="*/ 81931 w 93005"/>
                    <a:gd name="connsiteY11" fmla="*/ 67556 h 96330"/>
                    <a:gd name="connsiteX12" fmla="*/ 70025 w 93005"/>
                    <a:gd name="connsiteY12" fmla="*/ 80091 h 96330"/>
                    <a:gd name="connsiteX13" fmla="*/ 58071 w 93005"/>
                    <a:gd name="connsiteY13" fmla="*/ 91692 h 96330"/>
                    <a:gd name="connsiteX14" fmla="*/ 46869 w 93005"/>
                    <a:gd name="connsiteY14" fmla="*/ 91873 h 96330"/>
                    <a:gd name="connsiteX15" fmla="*/ 27743 w 93005"/>
                    <a:gd name="connsiteY15" fmla="*/ 83901 h 96330"/>
                    <a:gd name="connsiteX16" fmla="*/ 24362 w 93005"/>
                    <a:gd name="connsiteY16" fmla="*/ 79110 h 96330"/>
                    <a:gd name="connsiteX17" fmla="*/ 23743 w 93005"/>
                    <a:gd name="connsiteY17" fmla="*/ 70937 h 96330"/>
                    <a:gd name="connsiteX18" fmla="*/ 11922 w 93005"/>
                    <a:gd name="connsiteY18" fmla="*/ 68575 h 96330"/>
                    <a:gd name="connsiteX19" fmla="*/ 9941 w 93005"/>
                    <a:gd name="connsiteY19" fmla="*/ 61422 h 96330"/>
                    <a:gd name="connsiteX20" fmla="*/ 4045 w 93005"/>
                    <a:gd name="connsiteY20" fmla="*/ 56516 h 96330"/>
                    <a:gd name="connsiteX21" fmla="*/ 1435 w 93005"/>
                    <a:gd name="connsiteY21" fmla="*/ 47906 h 96330"/>
                    <a:gd name="connsiteX22" fmla="*/ 3978 w 93005"/>
                    <a:gd name="connsiteY22" fmla="*/ 49506 h 96330"/>
                    <a:gd name="connsiteX23" fmla="*/ 7264 w 93005"/>
                    <a:gd name="connsiteY23" fmla="*/ 47410 h 96330"/>
                    <a:gd name="connsiteX24" fmla="*/ 10903 w 93005"/>
                    <a:gd name="connsiteY24" fmla="*/ 42486 h 96330"/>
                    <a:gd name="connsiteX25" fmla="*/ 6160 w 93005"/>
                    <a:gd name="connsiteY25" fmla="*/ 35400 h 96330"/>
                    <a:gd name="connsiteX26" fmla="*/ 1226 w 93005"/>
                    <a:gd name="connsiteY26" fmla="*/ 29513 h 96330"/>
                    <a:gd name="connsiteX27" fmla="*/ 7969 w 93005"/>
                    <a:gd name="connsiteY27" fmla="*/ 27370 h 96330"/>
                    <a:gd name="connsiteX28" fmla="*/ 11532 w 93005"/>
                    <a:gd name="connsiteY28" fmla="*/ 22750 h 96330"/>
                    <a:gd name="connsiteX29" fmla="*/ 16523 w 93005"/>
                    <a:gd name="connsiteY29" fmla="*/ 18988 h 96330"/>
                    <a:gd name="connsiteX30" fmla="*/ 21180 w 93005"/>
                    <a:gd name="connsiteY30" fmla="*/ 10806 h 96330"/>
                    <a:gd name="connsiteX31" fmla="*/ 42307 w 93005"/>
                    <a:gd name="connsiteY31" fmla="*/ 2586 h 96330"/>
                    <a:gd name="connsiteX32" fmla="*/ 42707 w 93005"/>
                    <a:gd name="connsiteY32" fmla="*/ 367 h 96330"/>
                    <a:gd name="connsiteX33" fmla="*/ 46927 w 93005"/>
                    <a:gd name="connsiteY33" fmla="*/ 347 h 96330"/>
                    <a:gd name="connsiteX34" fmla="*/ 53813 w 93005"/>
                    <a:gd name="connsiteY34" fmla="*/ 319 h 96330"/>
                    <a:gd name="connsiteX35" fmla="*/ 65500 w 93005"/>
                    <a:gd name="connsiteY35" fmla="*/ 2500 h 96330"/>
                    <a:gd name="connsiteX36" fmla="*/ 65500 w 93005"/>
                    <a:gd name="connsiteY36" fmla="*/ 2500 h 9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3005" h="96330">
                      <a:moveTo>
                        <a:pt x="65500" y="2500"/>
                      </a:moveTo>
                      <a:cubicBezTo>
                        <a:pt x="69139" y="7091"/>
                        <a:pt x="72444" y="11749"/>
                        <a:pt x="76016" y="16454"/>
                      </a:cubicBezTo>
                      <a:cubicBezTo>
                        <a:pt x="77473" y="18378"/>
                        <a:pt x="80359" y="20655"/>
                        <a:pt x="80674" y="22979"/>
                      </a:cubicBezTo>
                      <a:cubicBezTo>
                        <a:pt x="80931" y="24836"/>
                        <a:pt x="78216" y="26570"/>
                        <a:pt x="78654" y="28656"/>
                      </a:cubicBezTo>
                      <a:cubicBezTo>
                        <a:pt x="78911" y="29894"/>
                        <a:pt x="82445" y="28951"/>
                        <a:pt x="82731" y="29789"/>
                      </a:cubicBezTo>
                      <a:cubicBezTo>
                        <a:pt x="83159" y="31009"/>
                        <a:pt x="82474" y="33047"/>
                        <a:pt x="82998" y="34076"/>
                      </a:cubicBezTo>
                      <a:cubicBezTo>
                        <a:pt x="83245" y="34571"/>
                        <a:pt x="86217" y="41067"/>
                        <a:pt x="86189" y="41505"/>
                      </a:cubicBezTo>
                      <a:cubicBezTo>
                        <a:pt x="86027" y="43610"/>
                        <a:pt x="80740" y="50087"/>
                        <a:pt x="79407" y="52602"/>
                      </a:cubicBezTo>
                      <a:cubicBezTo>
                        <a:pt x="84845" y="54735"/>
                        <a:pt x="84703" y="50020"/>
                        <a:pt x="88998" y="48506"/>
                      </a:cubicBezTo>
                      <a:cubicBezTo>
                        <a:pt x="94647" y="46525"/>
                        <a:pt x="93504" y="52992"/>
                        <a:pt x="90580" y="56755"/>
                      </a:cubicBezTo>
                      <a:cubicBezTo>
                        <a:pt x="88932" y="58869"/>
                        <a:pt x="86331" y="58164"/>
                        <a:pt x="84588" y="60079"/>
                      </a:cubicBezTo>
                      <a:cubicBezTo>
                        <a:pt x="82712" y="62136"/>
                        <a:pt x="83017" y="65079"/>
                        <a:pt x="81931" y="67556"/>
                      </a:cubicBezTo>
                      <a:cubicBezTo>
                        <a:pt x="79502" y="73099"/>
                        <a:pt x="74873" y="76109"/>
                        <a:pt x="70025" y="80091"/>
                      </a:cubicBezTo>
                      <a:cubicBezTo>
                        <a:pt x="65681" y="83653"/>
                        <a:pt x="61490" y="87206"/>
                        <a:pt x="58071" y="91692"/>
                      </a:cubicBezTo>
                      <a:cubicBezTo>
                        <a:pt x="52518" y="98979"/>
                        <a:pt x="54442" y="96617"/>
                        <a:pt x="46869" y="91873"/>
                      </a:cubicBezTo>
                      <a:cubicBezTo>
                        <a:pt x="40992" y="88197"/>
                        <a:pt x="33534" y="87482"/>
                        <a:pt x="27743" y="83901"/>
                      </a:cubicBezTo>
                      <a:cubicBezTo>
                        <a:pt x="21704" y="80167"/>
                        <a:pt x="25857" y="83634"/>
                        <a:pt x="24362" y="79110"/>
                      </a:cubicBezTo>
                      <a:cubicBezTo>
                        <a:pt x="23790" y="77395"/>
                        <a:pt x="22743" y="73023"/>
                        <a:pt x="23743" y="70937"/>
                      </a:cubicBezTo>
                      <a:cubicBezTo>
                        <a:pt x="20314" y="73442"/>
                        <a:pt x="14589" y="72223"/>
                        <a:pt x="11922" y="68575"/>
                      </a:cubicBezTo>
                      <a:cubicBezTo>
                        <a:pt x="10389" y="66480"/>
                        <a:pt x="11094" y="63660"/>
                        <a:pt x="9941" y="61422"/>
                      </a:cubicBezTo>
                      <a:cubicBezTo>
                        <a:pt x="7960" y="57583"/>
                        <a:pt x="6321" y="58736"/>
                        <a:pt x="4045" y="56516"/>
                      </a:cubicBezTo>
                      <a:cubicBezTo>
                        <a:pt x="711" y="53268"/>
                        <a:pt x="-1108" y="50211"/>
                        <a:pt x="1435" y="47906"/>
                      </a:cubicBezTo>
                      <a:cubicBezTo>
                        <a:pt x="1187" y="48134"/>
                        <a:pt x="3645" y="49639"/>
                        <a:pt x="3978" y="49506"/>
                      </a:cubicBezTo>
                      <a:cubicBezTo>
                        <a:pt x="6264" y="48630"/>
                        <a:pt x="4512" y="49249"/>
                        <a:pt x="7264" y="47410"/>
                      </a:cubicBezTo>
                      <a:cubicBezTo>
                        <a:pt x="9426" y="45963"/>
                        <a:pt x="10970" y="44963"/>
                        <a:pt x="10903" y="42486"/>
                      </a:cubicBezTo>
                      <a:cubicBezTo>
                        <a:pt x="2245" y="49030"/>
                        <a:pt x="-3832" y="37343"/>
                        <a:pt x="6160" y="35400"/>
                      </a:cubicBezTo>
                      <a:cubicBezTo>
                        <a:pt x="1187" y="35123"/>
                        <a:pt x="-1823" y="32075"/>
                        <a:pt x="1226" y="29513"/>
                      </a:cubicBezTo>
                      <a:cubicBezTo>
                        <a:pt x="2016" y="28856"/>
                        <a:pt x="6102" y="28837"/>
                        <a:pt x="7969" y="27370"/>
                      </a:cubicBezTo>
                      <a:cubicBezTo>
                        <a:pt x="8998" y="26560"/>
                        <a:pt x="10551" y="23712"/>
                        <a:pt x="11532" y="22750"/>
                      </a:cubicBezTo>
                      <a:cubicBezTo>
                        <a:pt x="12913" y="21398"/>
                        <a:pt x="14999" y="20722"/>
                        <a:pt x="16523" y="18988"/>
                      </a:cubicBezTo>
                      <a:cubicBezTo>
                        <a:pt x="18485" y="16769"/>
                        <a:pt x="19828" y="13444"/>
                        <a:pt x="21180" y="10806"/>
                      </a:cubicBezTo>
                      <a:cubicBezTo>
                        <a:pt x="27019" y="-548"/>
                        <a:pt x="32001" y="5986"/>
                        <a:pt x="42307" y="2586"/>
                      </a:cubicBezTo>
                      <a:cubicBezTo>
                        <a:pt x="42640" y="2481"/>
                        <a:pt x="42392" y="452"/>
                        <a:pt x="42707" y="367"/>
                      </a:cubicBezTo>
                      <a:cubicBezTo>
                        <a:pt x="44021" y="5"/>
                        <a:pt x="45593" y="633"/>
                        <a:pt x="46927" y="347"/>
                      </a:cubicBezTo>
                      <a:cubicBezTo>
                        <a:pt x="48994" y="-91"/>
                        <a:pt x="51717" y="328"/>
                        <a:pt x="53813" y="319"/>
                      </a:cubicBezTo>
                      <a:cubicBezTo>
                        <a:pt x="57690" y="290"/>
                        <a:pt x="63471" y="-1196"/>
                        <a:pt x="65500" y="2500"/>
                      </a:cubicBezTo>
                      <a:lnTo>
                        <a:pt x="65500" y="250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69" name="Freeform: Shape 568">
                  <a:extLst>
                    <a:ext uri="{FF2B5EF4-FFF2-40B4-BE49-F238E27FC236}">
                      <a16:creationId xmlns:a16="http://schemas.microsoft.com/office/drawing/2014/main" id="{6EB4B0CF-1B18-458F-B463-1C1965F2B37C}"/>
                    </a:ext>
                  </a:extLst>
                </p:cNvPr>
                <p:cNvSpPr/>
                <p:nvPr/>
              </p:nvSpPr>
              <p:spPr>
                <a:xfrm>
                  <a:off x="5050325" y="3840491"/>
                  <a:ext cx="188690" cy="135643"/>
                </a:xfrm>
                <a:custGeom>
                  <a:avLst/>
                  <a:gdLst>
                    <a:gd name="connsiteX0" fmla="*/ 162839 w 188690"/>
                    <a:gd name="connsiteY0" fmla="*/ 57917 h 135643"/>
                    <a:gd name="connsiteX1" fmla="*/ 165345 w 188690"/>
                    <a:gd name="connsiteY1" fmla="*/ 70890 h 135643"/>
                    <a:gd name="connsiteX2" fmla="*/ 169707 w 188690"/>
                    <a:gd name="connsiteY2" fmla="*/ 75834 h 135643"/>
                    <a:gd name="connsiteX3" fmla="*/ 170402 w 188690"/>
                    <a:gd name="connsiteY3" fmla="*/ 82673 h 135643"/>
                    <a:gd name="connsiteX4" fmla="*/ 171983 w 188690"/>
                    <a:gd name="connsiteY4" fmla="*/ 87340 h 135643"/>
                    <a:gd name="connsiteX5" fmla="*/ 169774 w 188690"/>
                    <a:gd name="connsiteY5" fmla="*/ 91369 h 135643"/>
                    <a:gd name="connsiteX6" fmla="*/ 173927 w 188690"/>
                    <a:gd name="connsiteY6" fmla="*/ 102770 h 135643"/>
                    <a:gd name="connsiteX7" fmla="*/ 179222 w 188690"/>
                    <a:gd name="connsiteY7" fmla="*/ 102675 h 135643"/>
                    <a:gd name="connsiteX8" fmla="*/ 185528 w 188690"/>
                    <a:gd name="connsiteY8" fmla="*/ 111514 h 135643"/>
                    <a:gd name="connsiteX9" fmla="*/ 188138 w 188690"/>
                    <a:gd name="connsiteY9" fmla="*/ 121087 h 135643"/>
                    <a:gd name="connsiteX10" fmla="*/ 188691 w 188690"/>
                    <a:gd name="connsiteY10" fmla="*/ 133660 h 135643"/>
                    <a:gd name="connsiteX11" fmla="*/ 151009 w 188690"/>
                    <a:gd name="connsiteY11" fmla="*/ 134060 h 135643"/>
                    <a:gd name="connsiteX12" fmla="*/ 141780 w 188690"/>
                    <a:gd name="connsiteY12" fmla="*/ 129898 h 135643"/>
                    <a:gd name="connsiteX13" fmla="*/ 138437 w 188690"/>
                    <a:gd name="connsiteY13" fmla="*/ 131250 h 135643"/>
                    <a:gd name="connsiteX14" fmla="*/ 132312 w 188690"/>
                    <a:gd name="connsiteY14" fmla="*/ 126240 h 135643"/>
                    <a:gd name="connsiteX15" fmla="*/ 87811 w 188690"/>
                    <a:gd name="connsiteY15" fmla="*/ 125059 h 135643"/>
                    <a:gd name="connsiteX16" fmla="*/ 67551 w 188690"/>
                    <a:gd name="connsiteY16" fmla="*/ 126402 h 135643"/>
                    <a:gd name="connsiteX17" fmla="*/ 46587 w 188690"/>
                    <a:gd name="connsiteY17" fmla="*/ 132384 h 135643"/>
                    <a:gd name="connsiteX18" fmla="*/ 33909 w 188690"/>
                    <a:gd name="connsiteY18" fmla="*/ 134070 h 135643"/>
                    <a:gd name="connsiteX19" fmla="*/ 23803 w 188690"/>
                    <a:gd name="connsiteY19" fmla="*/ 135070 h 135643"/>
                    <a:gd name="connsiteX20" fmla="*/ 31309 w 188690"/>
                    <a:gd name="connsiteY20" fmla="*/ 128107 h 135643"/>
                    <a:gd name="connsiteX21" fmla="*/ 21317 w 188690"/>
                    <a:gd name="connsiteY21" fmla="*/ 125907 h 135643"/>
                    <a:gd name="connsiteX22" fmla="*/ 22050 w 188690"/>
                    <a:gd name="connsiteY22" fmla="*/ 116286 h 135643"/>
                    <a:gd name="connsiteX23" fmla="*/ 31395 w 188690"/>
                    <a:gd name="connsiteY23" fmla="*/ 109962 h 135643"/>
                    <a:gd name="connsiteX24" fmla="*/ 44377 w 188690"/>
                    <a:gd name="connsiteY24" fmla="*/ 109914 h 135643"/>
                    <a:gd name="connsiteX25" fmla="*/ 50549 w 188690"/>
                    <a:gd name="connsiteY25" fmla="*/ 109971 h 135643"/>
                    <a:gd name="connsiteX26" fmla="*/ 52302 w 188690"/>
                    <a:gd name="connsiteY26" fmla="*/ 104561 h 135643"/>
                    <a:gd name="connsiteX27" fmla="*/ 63189 w 188690"/>
                    <a:gd name="connsiteY27" fmla="*/ 102951 h 135643"/>
                    <a:gd name="connsiteX28" fmla="*/ 69333 w 188690"/>
                    <a:gd name="connsiteY28" fmla="*/ 101646 h 135643"/>
                    <a:gd name="connsiteX29" fmla="*/ 71666 w 188690"/>
                    <a:gd name="connsiteY29" fmla="*/ 97884 h 135643"/>
                    <a:gd name="connsiteX30" fmla="*/ 91993 w 188690"/>
                    <a:gd name="connsiteY30" fmla="*/ 105514 h 135643"/>
                    <a:gd name="connsiteX31" fmla="*/ 113329 w 188690"/>
                    <a:gd name="connsiteY31" fmla="*/ 100932 h 135643"/>
                    <a:gd name="connsiteX32" fmla="*/ 102641 w 188690"/>
                    <a:gd name="connsiteY32" fmla="*/ 98436 h 135643"/>
                    <a:gd name="connsiteX33" fmla="*/ 92650 w 188690"/>
                    <a:gd name="connsiteY33" fmla="*/ 97246 h 135643"/>
                    <a:gd name="connsiteX34" fmla="*/ 68637 w 188690"/>
                    <a:gd name="connsiteY34" fmla="*/ 90255 h 135643"/>
                    <a:gd name="connsiteX35" fmla="*/ 61808 w 188690"/>
                    <a:gd name="connsiteY35" fmla="*/ 95922 h 135643"/>
                    <a:gd name="connsiteX36" fmla="*/ 54931 w 188690"/>
                    <a:gd name="connsiteY36" fmla="*/ 96322 h 135643"/>
                    <a:gd name="connsiteX37" fmla="*/ 37052 w 188690"/>
                    <a:gd name="connsiteY37" fmla="*/ 96112 h 135643"/>
                    <a:gd name="connsiteX38" fmla="*/ 26013 w 188690"/>
                    <a:gd name="connsiteY38" fmla="*/ 90340 h 135643"/>
                    <a:gd name="connsiteX39" fmla="*/ 27604 w 188690"/>
                    <a:gd name="connsiteY39" fmla="*/ 82139 h 135643"/>
                    <a:gd name="connsiteX40" fmla="*/ 22184 w 188690"/>
                    <a:gd name="connsiteY40" fmla="*/ 83292 h 135643"/>
                    <a:gd name="connsiteX41" fmla="*/ 2677 w 188690"/>
                    <a:gd name="connsiteY41" fmla="*/ 62889 h 135643"/>
                    <a:gd name="connsiteX42" fmla="*/ 0 w 188690"/>
                    <a:gd name="connsiteY42" fmla="*/ 59632 h 135643"/>
                    <a:gd name="connsiteX43" fmla="*/ 34481 w 188690"/>
                    <a:gd name="connsiteY43" fmla="*/ 16960 h 135643"/>
                    <a:gd name="connsiteX44" fmla="*/ 39757 w 188690"/>
                    <a:gd name="connsiteY44" fmla="*/ 7416 h 135643"/>
                    <a:gd name="connsiteX45" fmla="*/ 47787 w 188690"/>
                    <a:gd name="connsiteY45" fmla="*/ 4425 h 135643"/>
                    <a:gd name="connsiteX46" fmla="*/ 73505 w 188690"/>
                    <a:gd name="connsiteY46" fmla="*/ 2072 h 135643"/>
                    <a:gd name="connsiteX47" fmla="*/ 87278 w 188690"/>
                    <a:gd name="connsiteY47" fmla="*/ 81 h 135643"/>
                    <a:gd name="connsiteX48" fmla="*/ 111928 w 188690"/>
                    <a:gd name="connsiteY48" fmla="*/ 10654 h 135643"/>
                    <a:gd name="connsiteX49" fmla="*/ 117253 w 188690"/>
                    <a:gd name="connsiteY49" fmla="*/ 15826 h 135643"/>
                    <a:gd name="connsiteX50" fmla="*/ 124673 w 188690"/>
                    <a:gd name="connsiteY50" fmla="*/ 15883 h 135643"/>
                    <a:gd name="connsiteX51" fmla="*/ 134931 w 188690"/>
                    <a:gd name="connsiteY51" fmla="*/ 32457 h 135643"/>
                    <a:gd name="connsiteX52" fmla="*/ 139694 w 188690"/>
                    <a:gd name="connsiteY52" fmla="*/ 36219 h 135643"/>
                    <a:gd name="connsiteX53" fmla="*/ 145380 w 188690"/>
                    <a:gd name="connsiteY53" fmla="*/ 43201 h 135643"/>
                    <a:gd name="connsiteX54" fmla="*/ 151762 w 188690"/>
                    <a:gd name="connsiteY54" fmla="*/ 49526 h 135643"/>
                    <a:gd name="connsiteX55" fmla="*/ 162839 w 188690"/>
                    <a:gd name="connsiteY55" fmla="*/ 57917 h 135643"/>
                    <a:gd name="connsiteX56" fmla="*/ 162839 w 188690"/>
                    <a:gd name="connsiteY56" fmla="*/ 57917 h 135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88690" h="135643">
                      <a:moveTo>
                        <a:pt x="162839" y="57917"/>
                      </a:moveTo>
                      <a:cubicBezTo>
                        <a:pt x="166821" y="62670"/>
                        <a:pt x="163392" y="66156"/>
                        <a:pt x="165345" y="70890"/>
                      </a:cubicBezTo>
                      <a:cubicBezTo>
                        <a:pt x="166145" y="72833"/>
                        <a:pt x="168793" y="73814"/>
                        <a:pt x="169707" y="75834"/>
                      </a:cubicBezTo>
                      <a:cubicBezTo>
                        <a:pt x="170774" y="78196"/>
                        <a:pt x="170059" y="80187"/>
                        <a:pt x="170402" y="82673"/>
                      </a:cubicBezTo>
                      <a:cubicBezTo>
                        <a:pt x="170555" y="83806"/>
                        <a:pt x="172098" y="86311"/>
                        <a:pt x="171983" y="87340"/>
                      </a:cubicBezTo>
                      <a:cubicBezTo>
                        <a:pt x="171831" y="88730"/>
                        <a:pt x="169783" y="90702"/>
                        <a:pt x="169774" y="91369"/>
                      </a:cubicBezTo>
                      <a:cubicBezTo>
                        <a:pt x="169707" y="94246"/>
                        <a:pt x="170869" y="100922"/>
                        <a:pt x="173927" y="102770"/>
                      </a:cubicBezTo>
                      <a:cubicBezTo>
                        <a:pt x="177956" y="105199"/>
                        <a:pt x="176108" y="101551"/>
                        <a:pt x="179222" y="102675"/>
                      </a:cubicBezTo>
                      <a:cubicBezTo>
                        <a:pt x="183528" y="104237"/>
                        <a:pt x="183642" y="107571"/>
                        <a:pt x="185528" y="111514"/>
                      </a:cubicBezTo>
                      <a:cubicBezTo>
                        <a:pt x="187681" y="116020"/>
                        <a:pt x="188395" y="115943"/>
                        <a:pt x="188138" y="121087"/>
                      </a:cubicBezTo>
                      <a:cubicBezTo>
                        <a:pt x="187852" y="126840"/>
                        <a:pt x="187814" y="128831"/>
                        <a:pt x="188691" y="133660"/>
                      </a:cubicBezTo>
                      <a:cubicBezTo>
                        <a:pt x="176051" y="130517"/>
                        <a:pt x="163278" y="137565"/>
                        <a:pt x="151009" y="134060"/>
                      </a:cubicBezTo>
                      <a:cubicBezTo>
                        <a:pt x="147933" y="133184"/>
                        <a:pt x="144580" y="130526"/>
                        <a:pt x="141780" y="129898"/>
                      </a:cubicBezTo>
                      <a:cubicBezTo>
                        <a:pt x="140980" y="129717"/>
                        <a:pt x="138475" y="131279"/>
                        <a:pt x="138437" y="131250"/>
                      </a:cubicBezTo>
                      <a:cubicBezTo>
                        <a:pt x="134284" y="128402"/>
                        <a:pt x="138360" y="128097"/>
                        <a:pt x="132312" y="126240"/>
                      </a:cubicBezTo>
                      <a:cubicBezTo>
                        <a:pt x="119196" y="122192"/>
                        <a:pt x="101451" y="125116"/>
                        <a:pt x="87811" y="125059"/>
                      </a:cubicBezTo>
                      <a:cubicBezTo>
                        <a:pt x="80972" y="125030"/>
                        <a:pt x="73914" y="124135"/>
                        <a:pt x="67551" y="126402"/>
                      </a:cubicBezTo>
                      <a:cubicBezTo>
                        <a:pt x="59998" y="129097"/>
                        <a:pt x="54940" y="132346"/>
                        <a:pt x="46587" y="132384"/>
                      </a:cubicBezTo>
                      <a:cubicBezTo>
                        <a:pt x="41377" y="132403"/>
                        <a:pt x="38834" y="132984"/>
                        <a:pt x="33909" y="134070"/>
                      </a:cubicBezTo>
                      <a:cubicBezTo>
                        <a:pt x="31166" y="134670"/>
                        <a:pt x="26546" y="136594"/>
                        <a:pt x="23803" y="135070"/>
                      </a:cubicBezTo>
                      <a:cubicBezTo>
                        <a:pt x="16555" y="131060"/>
                        <a:pt x="26299" y="126392"/>
                        <a:pt x="31309" y="128107"/>
                      </a:cubicBezTo>
                      <a:cubicBezTo>
                        <a:pt x="27404" y="120239"/>
                        <a:pt x="24032" y="130202"/>
                        <a:pt x="21317" y="125907"/>
                      </a:cubicBezTo>
                      <a:cubicBezTo>
                        <a:pt x="20574" y="124726"/>
                        <a:pt x="21650" y="118087"/>
                        <a:pt x="22050" y="116286"/>
                      </a:cubicBezTo>
                      <a:cubicBezTo>
                        <a:pt x="23441" y="110143"/>
                        <a:pt x="24860" y="110343"/>
                        <a:pt x="31395" y="109962"/>
                      </a:cubicBezTo>
                      <a:cubicBezTo>
                        <a:pt x="35700" y="109714"/>
                        <a:pt x="40072" y="109876"/>
                        <a:pt x="44377" y="109914"/>
                      </a:cubicBezTo>
                      <a:cubicBezTo>
                        <a:pt x="45777" y="109924"/>
                        <a:pt x="49511" y="110590"/>
                        <a:pt x="50549" y="109971"/>
                      </a:cubicBezTo>
                      <a:cubicBezTo>
                        <a:pt x="52035" y="109095"/>
                        <a:pt x="50873" y="105618"/>
                        <a:pt x="52302" y="104561"/>
                      </a:cubicBezTo>
                      <a:cubicBezTo>
                        <a:pt x="54569" y="102885"/>
                        <a:pt x="60522" y="103389"/>
                        <a:pt x="63189" y="102951"/>
                      </a:cubicBezTo>
                      <a:cubicBezTo>
                        <a:pt x="65561" y="102561"/>
                        <a:pt x="67285" y="102704"/>
                        <a:pt x="69333" y="101646"/>
                      </a:cubicBezTo>
                      <a:cubicBezTo>
                        <a:pt x="70514" y="101046"/>
                        <a:pt x="70542" y="98198"/>
                        <a:pt x="71666" y="97884"/>
                      </a:cubicBezTo>
                      <a:cubicBezTo>
                        <a:pt x="76762" y="96455"/>
                        <a:pt x="86773" y="103885"/>
                        <a:pt x="91993" y="105514"/>
                      </a:cubicBezTo>
                      <a:cubicBezTo>
                        <a:pt x="95907" y="106733"/>
                        <a:pt x="115748" y="108362"/>
                        <a:pt x="113329" y="100932"/>
                      </a:cubicBezTo>
                      <a:cubicBezTo>
                        <a:pt x="111900" y="96550"/>
                        <a:pt x="105823" y="98141"/>
                        <a:pt x="102641" y="98436"/>
                      </a:cubicBezTo>
                      <a:cubicBezTo>
                        <a:pt x="97870" y="98884"/>
                        <a:pt x="97289" y="99103"/>
                        <a:pt x="92650" y="97246"/>
                      </a:cubicBezTo>
                      <a:cubicBezTo>
                        <a:pt x="84944" y="94160"/>
                        <a:pt x="77819" y="86816"/>
                        <a:pt x="68637" y="90255"/>
                      </a:cubicBezTo>
                      <a:cubicBezTo>
                        <a:pt x="65313" y="91493"/>
                        <a:pt x="64103" y="95008"/>
                        <a:pt x="61808" y="95922"/>
                      </a:cubicBezTo>
                      <a:cubicBezTo>
                        <a:pt x="59912" y="96674"/>
                        <a:pt x="57255" y="96341"/>
                        <a:pt x="54931" y="96322"/>
                      </a:cubicBezTo>
                      <a:cubicBezTo>
                        <a:pt x="48978" y="96255"/>
                        <a:pt x="43015" y="96055"/>
                        <a:pt x="37052" y="96112"/>
                      </a:cubicBezTo>
                      <a:cubicBezTo>
                        <a:pt x="30042" y="96170"/>
                        <a:pt x="28842" y="96932"/>
                        <a:pt x="26013" y="90340"/>
                      </a:cubicBezTo>
                      <a:cubicBezTo>
                        <a:pt x="23908" y="85444"/>
                        <a:pt x="21574" y="86502"/>
                        <a:pt x="27604" y="82139"/>
                      </a:cubicBezTo>
                      <a:cubicBezTo>
                        <a:pt x="26023" y="82873"/>
                        <a:pt x="23794" y="82730"/>
                        <a:pt x="22184" y="83292"/>
                      </a:cubicBezTo>
                      <a:cubicBezTo>
                        <a:pt x="22746" y="77405"/>
                        <a:pt x="5496" y="53926"/>
                        <a:pt x="2677" y="62889"/>
                      </a:cubicBezTo>
                      <a:cubicBezTo>
                        <a:pt x="1848" y="62232"/>
                        <a:pt x="495" y="60565"/>
                        <a:pt x="0" y="59632"/>
                      </a:cubicBezTo>
                      <a:cubicBezTo>
                        <a:pt x="20022" y="55069"/>
                        <a:pt x="27785" y="33476"/>
                        <a:pt x="34481" y="16960"/>
                      </a:cubicBezTo>
                      <a:cubicBezTo>
                        <a:pt x="35681" y="13988"/>
                        <a:pt x="37814" y="10006"/>
                        <a:pt x="39757" y="7416"/>
                      </a:cubicBezTo>
                      <a:cubicBezTo>
                        <a:pt x="43367" y="2586"/>
                        <a:pt x="43253" y="4358"/>
                        <a:pt x="47787" y="4425"/>
                      </a:cubicBezTo>
                      <a:cubicBezTo>
                        <a:pt x="56779" y="4568"/>
                        <a:pt x="64694" y="3806"/>
                        <a:pt x="73505" y="2072"/>
                      </a:cubicBezTo>
                      <a:cubicBezTo>
                        <a:pt x="79591" y="881"/>
                        <a:pt x="80220" y="-328"/>
                        <a:pt x="87278" y="81"/>
                      </a:cubicBezTo>
                      <a:cubicBezTo>
                        <a:pt x="98127" y="701"/>
                        <a:pt x="104280" y="2053"/>
                        <a:pt x="111928" y="10654"/>
                      </a:cubicBezTo>
                      <a:cubicBezTo>
                        <a:pt x="114367" y="13407"/>
                        <a:pt x="113338" y="14350"/>
                        <a:pt x="117253" y="15826"/>
                      </a:cubicBezTo>
                      <a:cubicBezTo>
                        <a:pt x="118653" y="16360"/>
                        <a:pt x="123035" y="15226"/>
                        <a:pt x="124673" y="15883"/>
                      </a:cubicBezTo>
                      <a:cubicBezTo>
                        <a:pt x="131902" y="18817"/>
                        <a:pt x="130816" y="26513"/>
                        <a:pt x="134931" y="32457"/>
                      </a:cubicBezTo>
                      <a:cubicBezTo>
                        <a:pt x="135436" y="33190"/>
                        <a:pt x="138808" y="35524"/>
                        <a:pt x="139694" y="36219"/>
                      </a:cubicBezTo>
                      <a:cubicBezTo>
                        <a:pt x="142656" y="38534"/>
                        <a:pt x="143275" y="39848"/>
                        <a:pt x="145380" y="43201"/>
                      </a:cubicBezTo>
                      <a:cubicBezTo>
                        <a:pt x="146685" y="45277"/>
                        <a:pt x="149257" y="47697"/>
                        <a:pt x="151762" y="49526"/>
                      </a:cubicBezTo>
                      <a:cubicBezTo>
                        <a:pt x="154962" y="51821"/>
                        <a:pt x="159163" y="56546"/>
                        <a:pt x="162839" y="57917"/>
                      </a:cubicBezTo>
                      <a:lnTo>
                        <a:pt x="162839" y="57917"/>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70" name="Freeform: Shape 569">
                  <a:extLst>
                    <a:ext uri="{FF2B5EF4-FFF2-40B4-BE49-F238E27FC236}">
                      <a16:creationId xmlns:a16="http://schemas.microsoft.com/office/drawing/2014/main" id="{A765ED15-AB78-4045-B2B5-C364224F9691}"/>
                    </a:ext>
                  </a:extLst>
                </p:cNvPr>
                <p:cNvSpPr/>
                <p:nvPr/>
              </p:nvSpPr>
              <p:spPr>
                <a:xfrm>
                  <a:off x="6349897" y="3979322"/>
                  <a:ext cx="351882" cy="275625"/>
                </a:xfrm>
                <a:custGeom>
                  <a:avLst/>
                  <a:gdLst>
                    <a:gd name="connsiteX0" fmla="*/ 305524 w 351882"/>
                    <a:gd name="connsiteY0" fmla="*/ 75439 h 275625"/>
                    <a:gd name="connsiteX1" fmla="*/ 303809 w 351882"/>
                    <a:gd name="connsiteY1" fmla="*/ 87440 h 275625"/>
                    <a:gd name="connsiteX2" fmla="*/ 309819 w 351882"/>
                    <a:gd name="connsiteY2" fmla="*/ 87555 h 275625"/>
                    <a:gd name="connsiteX3" fmla="*/ 310486 w 351882"/>
                    <a:gd name="connsiteY3" fmla="*/ 96146 h 275625"/>
                    <a:gd name="connsiteX4" fmla="*/ 311515 w 351882"/>
                    <a:gd name="connsiteY4" fmla="*/ 115530 h 275625"/>
                    <a:gd name="connsiteX5" fmla="*/ 294599 w 351882"/>
                    <a:gd name="connsiteY5" fmla="*/ 119616 h 275625"/>
                    <a:gd name="connsiteX6" fmla="*/ 281168 w 351882"/>
                    <a:gd name="connsiteY6" fmla="*/ 129874 h 275625"/>
                    <a:gd name="connsiteX7" fmla="*/ 285959 w 351882"/>
                    <a:gd name="connsiteY7" fmla="*/ 141209 h 275625"/>
                    <a:gd name="connsiteX8" fmla="*/ 303162 w 351882"/>
                    <a:gd name="connsiteY8" fmla="*/ 146429 h 275625"/>
                    <a:gd name="connsiteX9" fmla="*/ 315439 w 351882"/>
                    <a:gd name="connsiteY9" fmla="*/ 160954 h 275625"/>
                    <a:gd name="connsiteX10" fmla="*/ 329812 w 351882"/>
                    <a:gd name="connsiteY10" fmla="*/ 172889 h 275625"/>
                    <a:gd name="connsiteX11" fmla="*/ 339528 w 351882"/>
                    <a:gd name="connsiteY11" fmla="*/ 190958 h 275625"/>
                    <a:gd name="connsiteX12" fmla="*/ 346786 w 351882"/>
                    <a:gd name="connsiteY12" fmla="*/ 207627 h 275625"/>
                    <a:gd name="connsiteX13" fmla="*/ 351882 w 351882"/>
                    <a:gd name="connsiteY13" fmla="*/ 212808 h 275625"/>
                    <a:gd name="connsiteX14" fmla="*/ 344148 w 351882"/>
                    <a:gd name="connsiteY14" fmla="*/ 220609 h 275625"/>
                    <a:gd name="connsiteX15" fmla="*/ 312791 w 351882"/>
                    <a:gd name="connsiteY15" fmla="*/ 252337 h 275625"/>
                    <a:gd name="connsiteX16" fmla="*/ 298999 w 351882"/>
                    <a:gd name="connsiteY16" fmla="*/ 266301 h 275625"/>
                    <a:gd name="connsiteX17" fmla="*/ 281140 w 351882"/>
                    <a:gd name="connsiteY17" fmla="*/ 263720 h 275625"/>
                    <a:gd name="connsiteX18" fmla="*/ 271300 w 351882"/>
                    <a:gd name="connsiteY18" fmla="*/ 267091 h 275625"/>
                    <a:gd name="connsiteX19" fmla="*/ 259852 w 351882"/>
                    <a:gd name="connsiteY19" fmla="*/ 269692 h 275625"/>
                    <a:gd name="connsiteX20" fmla="*/ 254165 w 351882"/>
                    <a:gd name="connsiteY20" fmla="*/ 274502 h 275625"/>
                    <a:gd name="connsiteX21" fmla="*/ 247545 w 351882"/>
                    <a:gd name="connsiteY21" fmla="*/ 269539 h 275625"/>
                    <a:gd name="connsiteX22" fmla="*/ 239887 w 351882"/>
                    <a:gd name="connsiteY22" fmla="*/ 268425 h 275625"/>
                    <a:gd name="connsiteX23" fmla="*/ 230829 w 351882"/>
                    <a:gd name="connsiteY23" fmla="*/ 268025 h 275625"/>
                    <a:gd name="connsiteX24" fmla="*/ 214208 w 351882"/>
                    <a:gd name="connsiteY24" fmla="*/ 275626 h 275625"/>
                    <a:gd name="connsiteX25" fmla="*/ 207169 w 351882"/>
                    <a:gd name="connsiteY25" fmla="*/ 271273 h 275625"/>
                    <a:gd name="connsiteX26" fmla="*/ 200110 w 351882"/>
                    <a:gd name="connsiteY26" fmla="*/ 262910 h 275625"/>
                    <a:gd name="connsiteX27" fmla="*/ 186042 w 351882"/>
                    <a:gd name="connsiteY27" fmla="*/ 251861 h 275625"/>
                    <a:gd name="connsiteX28" fmla="*/ 175984 w 351882"/>
                    <a:gd name="connsiteY28" fmla="*/ 240679 h 275625"/>
                    <a:gd name="connsiteX29" fmla="*/ 162916 w 351882"/>
                    <a:gd name="connsiteY29" fmla="*/ 247213 h 275625"/>
                    <a:gd name="connsiteX30" fmla="*/ 145837 w 351882"/>
                    <a:gd name="connsiteY30" fmla="*/ 244479 h 275625"/>
                    <a:gd name="connsiteX31" fmla="*/ 133217 w 351882"/>
                    <a:gd name="connsiteY31" fmla="*/ 248775 h 275625"/>
                    <a:gd name="connsiteX32" fmla="*/ 122682 w 351882"/>
                    <a:gd name="connsiteY32" fmla="*/ 242250 h 275625"/>
                    <a:gd name="connsiteX33" fmla="*/ 101079 w 351882"/>
                    <a:gd name="connsiteY33" fmla="*/ 219800 h 275625"/>
                    <a:gd name="connsiteX34" fmla="*/ 98060 w 351882"/>
                    <a:gd name="connsiteY34" fmla="*/ 207255 h 275625"/>
                    <a:gd name="connsiteX35" fmla="*/ 85544 w 351882"/>
                    <a:gd name="connsiteY35" fmla="*/ 198321 h 275625"/>
                    <a:gd name="connsiteX36" fmla="*/ 73914 w 351882"/>
                    <a:gd name="connsiteY36" fmla="*/ 189396 h 275625"/>
                    <a:gd name="connsiteX37" fmla="*/ 70352 w 351882"/>
                    <a:gd name="connsiteY37" fmla="*/ 184110 h 275625"/>
                    <a:gd name="connsiteX38" fmla="*/ 70066 w 351882"/>
                    <a:gd name="connsiteY38" fmla="*/ 175556 h 275625"/>
                    <a:gd name="connsiteX39" fmla="*/ 59274 w 351882"/>
                    <a:gd name="connsiteY39" fmla="*/ 165355 h 275625"/>
                    <a:gd name="connsiteX40" fmla="*/ 42881 w 351882"/>
                    <a:gd name="connsiteY40" fmla="*/ 156230 h 275625"/>
                    <a:gd name="connsiteX41" fmla="*/ 35204 w 351882"/>
                    <a:gd name="connsiteY41" fmla="*/ 150163 h 275625"/>
                    <a:gd name="connsiteX42" fmla="*/ 35280 w 351882"/>
                    <a:gd name="connsiteY42" fmla="*/ 143457 h 275625"/>
                    <a:gd name="connsiteX43" fmla="*/ 23165 w 351882"/>
                    <a:gd name="connsiteY43" fmla="*/ 129827 h 275625"/>
                    <a:gd name="connsiteX44" fmla="*/ 6220 w 351882"/>
                    <a:gd name="connsiteY44" fmla="*/ 124931 h 275625"/>
                    <a:gd name="connsiteX45" fmla="*/ 0 w 351882"/>
                    <a:gd name="connsiteY45" fmla="*/ 112615 h 275625"/>
                    <a:gd name="connsiteX46" fmla="*/ 12173 w 351882"/>
                    <a:gd name="connsiteY46" fmla="*/ 103319 h 275625"/>
                    <a:gd name="connsiteX47" fmla="*/ 16869 w 351882"/>
                    <a:gd name="connsiteY47" fmla="*/ 88183 h 275625"/>
                    <a:gd name="connsiteX48" fmla="*/ 18955 w 351882"/>
                    <a:gd name="connsiteY48" fmla="*/ 80249 h 275625"/>
                    <a:gd name="connsiteX49" fmla="*/ 23765 w 351882"/>
                    <a:gd name="connsiteY49" fmla="*/ 71315 h 275625"/>
                    <a:gd name="connsiteX50" fmla="*/ 31385 w 351882"/>
                    <a:gd name="connsiteY50" fmla="*/ 60199 h 275625"/>
                    <a:gd name="connsiteX51" fmla="*/ 51559 w 351882"/>
                    <a:gd name="connsiteY51" fmla="*/ 57808 h 275625"/>
                    <a:gd name="connsiteX52" fmla="*/ 53311 w 351882"/>
                    <a:gd name="connsiteY52" fmla="*/ 64752 h 275625"/>
                    <a:gd name="connsiteX53" fmla="*/ 59169 w 351882"/>
                    <a:gd name="connsiteY53" fmla="*/ 70029 h 275625"/>
                    <a:gd name="connsiteX54" fmla="*/ 75990 w 351882"/>
                    <a:gd name="connsiteY54" fmla="*/ 86164 h 275625"/>
                    <a:gd name="connsiteX55" fmla="*/ 96841 w 351882"/>
                    <a:gd name="connsiteY55" fmla="*/ 82983 h 275625"/>
                    <a:gd name="connsiteX56" fmla="*/ 113100 w 351882"/>
                    <a:gd name="connsiteY56" fmla="*/ 83602 h 275625"/>
                    <a:gd name="connsiteX57" fmla="*/ 119510 w 351882"/>
                    <a:gd name="connsiteY57" fmla="*/ 89822 h 275625"/>
                    <a:gd name="connsiteX58" fmla="*/ 146295 w 351882"/>
                    <a:gd name="connsiteY58" fmla="*/ 91822 h 275625"/>
                    <a:gd name="connsiteX59" fmla="*/ 168554 w 351882"/>
                    <a:gd name="connsiteY59" fmla="*/ 74210 h 275625"/>
                    <a:gd name="connsiteX60" fmla="*/ 170421 w 351882"/>
                    <a:gd name="connsiteY60" fmla="*/ 67524 h 275625"/>
                    <a:gd name="connsiteX61" fmla="*/ 179241 w 351882"/>
                    <a:gd name="connsiteY61" fmla="*/ 63018 h 275625"/>
                    <a:gd name="connsiteX62" fmla="*/ 196053 w 351882"/>
                    <a:gd name="connsiteY62" fmla="*/ 71057 h 275625"/>
                    <a:gd name="connsiteX63" fmla="*/ 207350 w 351882"/>
                    <a:gd name="connsiteY63" fmla="*/ 78363 h 275625"/>
                    <a:gd name="connsiteX64" fmla="*/ 223971 w 351882"/>
                    <a:gd name="connsiteY64" fmla="*/ 72896 h 275625"/>
                    <a:gd name="connsiteX65" fmla="*/ 238306 w 351882"/>
                    <a:gd name="connsiteY65" fmla="*/ 56236 h 275625"/>
                    <a:gd name="connsiteX66" fmla="*/ 251603 w 351882"/>
                    <a:gd name="connsiteY66" fmla="*/ 40263 h 275625"/>
                    <a:gd name="connsiteX67" fmla="*/ 252241 w 351882"/>
                    <a:gd name="connsiteY67" fmla="*/ 24585 h 275625"/>
                    <a:gd name="connsiteX68" fmla="*/ 242925 w 351882"/>
                    <a:gd name="connsiteY68" fmla="*/ 7383 h 275625"/>
                    <a:gd name="connsiteX69" fmla="*/ 263623 w 351882"/>
                    <a:gd name="connsiteY69" fmla="*/ 7288 h 275625"/>
                    <a:gd name="connsiteX70" fmla="*/ 277644 w 351882"/>
                    <a:gd name="connsiteY70" fmla="*/ 744 h 275625"/>
                    <a:gd name="connsiteX71" fmla="*/ 274872 w 351882"/>
                    <a:gd name="connsiteY71" fmla="*/ 20213 h 275625"/>
                    <a:gd name="connsiteX72" fmla="*/ 278006 w 351882"/>
                    <a:gd name="connsiteY72" fmla="*/ 36986 h 275625"/>
                    <a:gd name="connsiteX73" fmla="*/ 278187 w 351882"/>
                    <a:gd name="connsiteY73" fmla="*/ 46711 h 275625"/>
                    <a:gd name="connsiteX74" fmla="*/ 286455 w 351882"/>
                    <a:gd name="connsiteY74" fmla="*/ 50617 h 275625"/>
                    <a:gd name="connsiteX75" fmla="*/ 298628 w 351882"/>
                    <a:gd name="connsiteY75" fmla="*/ 60989 h 275625"/>
                    <a:gd name="connsiteX76" fmla="*/ 305524 w 351882"/>
                    <a:gd name="connsiteY76" fmla="*/ 75439 h 275625"/>
                    <a:gd name="connsiteX77" fmla="*/ 305524 w 351882"/>
                    <a:gd name="connsiteY77" fmla="*/ 75439 h 27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351882" h="275625">
                      <a:moveTo>
                        <a:pt x="305524" y="75439"/>
                      </a:moveTo>
                      <a:cubicBezTo>
                        <a:pt x="304124" y="77944"/>
                        <a:pt x="301390" y="84611"/>
                        <a:pt x="303809" y="87440"/>
                      </a:cubicBezTo>
                      <a:cubicBezTo>
                        <a:pt x="304724" y="88507"/>
                        <a:pt x="308867" y="86583"/>
                        <a:pt x="309819" y="87555"/>
                      </a:cubicBezTo>
                      <a:cubicBezTo>
                        <a:pt x="310925" y="88669"/>
                        <a:pt x="310343" y="94365"/>
                        <a:pt x="310486" y="96146"/>
                      </a:cubicBezTo>
                      <a:cubicBezTo>
                        <a:pt x="310915" y="101223"/>
                        <a:pt x="313697" y="110834"/>
                        <a:pt x="311515" y="115530"/>
                      </a:cubicBezTo>
                      <a:cubicBezTo>
                        <a:pt x="308543" y="121902"/>
                        <a:pt x="300199" y="119730"/>
                        <a:pt x="294599" y="119616"/>
                      </a:cubicBezTo>
                      <a:cubicBezTo>
                        <a:pt x="285292" y="119425"/>
                        <a:pt x="284788" y="121721"/>
                        <a:pt x="281168" y="129874"/>
                      </a:cubicBezTo>
                      <a:cubicBezTo>
                        <a:pt x="278035" y="136951"/>
                        <a:pt x="277606" y="138513"/>
                        <a:pt x="285959" y="141209"/>
                      </a:cubicBezTo>
                      <a:cubicBezTo>
                        <a:pt x="292189" y="143219"/>
                        <a:pt x="297494" y="142819"/>
                        <a:pt x="303162" y="146429"/>
                      </a:cubicBezTo>
                      <a:cubicBezTo>
                        <a:pt x="309515" y="150467"/>
                        <a:pt x="310648" y="155801"/>
                        <a:pt x="315439" y="160954"/>
                      </a:cubicBezTo>
                      <a:cubicBezTo>
                        <a:pt x="319944" y="165803"/>
                        <a:pt x="325488" y="167955"/>
                        <a:pt x="329812" y="172889"/>
                      </a:cubicBezTo>
                      <a:cubicBezTo>
                        <a:pt x="334670" y="178414"/>
                        <a:pt x="336547" y="184005"/>
                        <a:pt x="339528" y="190958"/>
                      </a:cubicBezTo>
                      <a:cubicBezTo>
                        <a:pt x="341900" y="196492"/>
                        <a:pt x="342824" y="202864"/>
                        <a:pt x="346786" y="207627"/>
                      </a:cubicBezTo>
                      <a:cubicBezTo>
                        <a:pt x="347882" y="208951"/>
                        <a:pt x="351901" y="211380"/>
                        <a:pt x="351882" y="212808"/>
                      </a:cubicBezTo>
                      <a:cubicBezTo>
                        <a:pt x="351854" y="214361"/>
                        <a:pt x="345700" y="219038"/>
                        <a:pt x="344148" y="220609"/>
                      </a:cubicBezTo>
                      <a:cubicBezTo>
                        <a:pt x="333699" y="231192"/>
                        <a:pt x="323202" y="241717"/>
                        <a:pt x="312791" y="252337"/>
                      </a:cubicBezTo>
                      <a:cubicBezTo>
                        <a:pt x="308963" y="256242"/>
                        <a:pt x="303914" y="263815"/>
                        <a:pt x="298999" y="266301"/>
                      </a:cubicBezTo>
                      <a:cubicBezTo>
                        <a:pt x="291836" y="269930"/>
                        <a:pt x="287036" y="263891"/>
                        <a:pt x="281140" y="263720"/>
                      </a:cubicBezTo>
                      <a:cubicBezTo>
                        <a:pt x="278959" y="263653"/>
                        <a:pt x="273872" y="266577"/>
                        <a:pt x="271300" y="267091"/>
                      </a:cubicBezTo>
                      <a:cubicBezTo>
                        <a:pt x="267471" y="267863"/>
                        <a:pt x="263252" y="267482"/>
                        <a:pt x="259852" y="269692"/>
                      </a:cubicBezTo>
                      <a:cubicBezTo>
                        <a:pt x="257632" y="271139"/>
                        <a:pt x="256375" y="274369"/>
                        <a:pt x="254165" y="274502"/>
                      </a:cubicBezTo>
                      <a:cubicBezTo>
                        <a:pt x="251146" y="274683"/>
                        <a:pt x="249298" y="270768"/>
                        <a:pt x="247545" y="269539"/>
                      </a:cubicBezTo>
                      <a:cubicBezTo>
                        <a:pt x="241888" y="265577"/>
                        <a:pt x="246983" y="267082"/>
                        <a:pt x="239887" y="268425"/>
                      </a:cubicBezTo>
                      <a:cubicBezTo>
                        <a:pt x="235353" y="269273"/>
                        <a:pt x="235448" y="269158"/>
                        <a:pt x="230829" y="268025"/>
                      </a:cubicBezTo>
                      <a:cubicBezTo>
                        <a:pt x="223342" y="266187"/>
                        <a:pt x="217875" y="267501"/>
                        <a:pt x="214208" y="275626"/>
                      </a:cubicBezTo>
                      <a:cubicBezTo>
                        <a:pt x="212617" y="270558"/>
                        <a:pt x="209322" y="273045"/>
                        <a:pt x="207169" y="271273"/>
                      </a:cubicBezTo>
                      <a:cubicBezTo>
                        <a:pt x="204378" y="268996"/>
                        <a:pt x="204292" y="265586"/>
                        <a:pt x="200110" y="262910"/>
                      </a:cubicBezTo>
                      <a:cubicBezTo>
                        <a:pt x="194405" y="259262"/>
                        <a:pt x="190785" y="257252"/>
                        <a:pt x="186042" y="251861"/>
                      </a:cubicBezTo>
                      <a:cubicBezTo>
                        <a:pt x="183118" y="248537"/>
                        <a:pt x="180213" y="242298"/>
                        <a:pt x="175984" y="240679"/>
                      </a:cubicBezTo>
                      <a:cubicBezTo>
                        <a:pt x="168507" y="237812"/>
                        <a:pt x="169440" y="246117"/>
                        <a:pt x="162916" y="247213"/>
                      </a:cubicBezTo>
                      <a:cubicBezTo>
                        <a:pt x="157124" y="248194"/>
                        <a:pt x="152562" y="242364"/>
                        <a:pt x="145837" y="244479"/>
                      </a:cubicBezTo>
                      <a:cubicBezTo>
                        <a:pt x="140551" y="246156"/>
                        <a:pt x="139312" y="249804"/>
                        <a:pt x="133217" y="248775"/>
                      </a:cubicBezTo>
                      <a:cubicBezTo>
                        <a:pt x="128454" y="247975"/>
                        <a:pt x="126254" y="245089"/>
                        <a:pt x="122682" y="242250"/>
                      </a:cubicBezTo>
                      <a:cubicBezTo>
                        <a:pt x="115634" y="236659"/>
                        <a:pt x="105203" y="228496"/>
                        <a:pt x="101079" y="219800"/>
                      </a:cubicBezTo>
                      <a:cubicBezTo>
                        <a:pt x="99203" y="215828"/>
                        <a:pt x="100269" y="211113"/>
                        <a:pt x="98060" y="207255"/>
                      </a:cubicBezTo>
                      <a:cubicBezTo>
                        <a:pt x="95745" y="203217"/>
                        <a:pt x="89668" y="200302"/>
                        <a:pt x="85544" y="198321"/>
                      </a:cubicBezTo>
                      <a:cubicBezTo>
                        <a:pt x="79400" y="195387"/>
                        <a:pt x="77648" y="195225"/>
                        <a:pt x="73914" y="189396"/>
                      </a:cubicBezTo>
                      <a:cubicBezTo>
                        <a:pt x="72961" y="187910"/>
                        <a:pt x="70818" y="185891"/>
                        <a:pt x="70352" y="184110"/>
                      </a:cubicBezTo>
                      <a:cubicBezTo>
                        <a:pt x="69475" y="180757"/>
                        <a:pt x="71447" y="178318"/>
                        <a:pt x="70066" y="175556"/>
                      </a:cubicBezTo>
                      <a:cubicBezTo>
                        <a:pt x="68732" y="172908"/>
                        <a:pt x="61665" y="167365"/>
                        <a:pt x="59274" y="165355"/>
                      </a:cubicBezTo>
                      <a:cubicBezTo>
                        <a:pt x="54454" y="161297"/>
                        <a:pt x="48187" y="159545"/>
                        <a:pt x="42881" y="156230"/>
                      </a:cubicBezTo>
                      <a:cubicBezTo>
                        <a:pt x="40491" y="154744"/>
                        <a:pt x="36528" y="152858"/>
                        <a:pt x="35204" y="150163"/>
                      </a:cubicBezTo>
                      <a:cubicBezTo>
                        <a:pt x="33442" y="146591"/>
                        <a:pt x="36109" y="146924"/>
                        <a:pt x="35280" y="143457"/>
                      </a:cubicBezTo>
                      <a:cubicBezTo>
                        <a:pt x="34185" y="138866"/>
                        <a:pt x="27270" y="132751"/>
                        <a:pt x="23165" y="129827"/>
                      </a:cubicBezTo>
                      <a:cubicBezTo>
                        <a:pt x="18059" y="126188"/>
                        <a:pt x="11468" y="127893"/>
                        <a:pt x="6220" y="124931"/>
                      </a:cubicBezTo>
                      <a:cubicBezTo>
                        <a:pt x="390" y="121635"/>
                        <a:pt x="4020" y="113787"/>
                        <a:pt x="0" y="112615"/>
                      </a:cubicBezTo>
                      <a:cubicBezTo>
                        <a:pt x="2038" y="107071"/>
                        <a:pt x="9506" y="107176"/>
                        <a:pt x="12173" y="103319"/>
                      </a:cubicBezTo>
                      <a:cubicBezTo>
                        <a:pt x="14916" y="99366"/>
                        <a:pt x="15630" y="92679"/>
                        <a:pt x="16869" y="88183"/>
                      </a:cubicBezTo>
                      <a:cubicBezTo>
                        <a:pt x="17583" y="85573"/>
                        <a:pt x="18307" y="83183"/>
                        <a:pt x="18955" y="80249"/>
                      </a:cubicBezTo>
                      <a:cubicBezTo>
                        <a:pt x="19926" y="75829"/>
                        <a:pt x="21507" y="75372"/>
                        <a:pt x="23765" y="71315"/>
                      </a:cubicBezTo>
                      <a:cubicBezTo>
                        <a:pt x="26975" y="65533"/>
                        <a:pt x="24051" y="62275"/>
                        <a:pt x="31385" y="60199"/>
                      </a:cubicBezTo>
                      <a:cubicBezTo>
                        <a:pt x="34833" y="59227"/>
                        <a:pt x="48854" y="55770"/>
                        <a:pt x="51559" y="57808"/>
                      </a:cubicBezTo>
                      <a:cubicBezTo>
                        <a:pt x="53283" y="59104"/>
                        <a:pt x="52206" y="62923"/>
                        <a:pt x="53311" y="64752"/>
                      </a:cubicBezTo>
                      <a:cubicBezTo>
                        <a:pt x="54283" y="66352"/>
                        <a:pt x="57569" y="68619"/>
                        <a:pt x="59169" y="70029"/>
                      </a:cubicBezTo>
                      <a:cubicBezTo>
                        <a:pt x="64141" y="74410"/>
                        <a:pt x="69875" y="84183"/>
                        <a:pt x="75990" y="86164"/>
                      </a:cubicBezTo>
                      <a:cubicBezTo>
                        <a:pt x="81715" y="88021"/>
                        <a:pt x="90107" y="82849"/>
                        <a:pt x="96841" y="82983"/>
                      </a:cubicBezTo>
                      <a:cubicBezTo>
                        <a:pt x="101584" y="83078"/>
                        <a:pt x="108566" y="82221"/>
                        <a:pt x="113100" y="83602"/>
                      </a:cubicBezTo>
                      <a:cubicBezTo>
                        <a:pt x="117643" y="84992"/>
                        <a:pt x="115405" y="86193"/>
                        <a:pt x="119510" y="89822"/>
                      </a:cubicBezTo>
                      <a:cubicBezTo>
                        <a:pt x="125035" y="94708"/>
                        <a:pt x="138922" y="91822"/>
                        <a:pt x="146295" y="91822"/>
                      </a:cubicBezTo>
                      <a:cubicBezTo>
                        <a:pt x="141713" y="80916"/>
                        <a:pt x="165221" y="80049"/>
                        <a:pt x="168554" y="74210"/>
                      </a:cubicBezTo>
                      <a:cubicBezTo>
                        <a:pt x="169926" y="71810"/>
                        <a:pt x="168726" y="69657"/>
                        <a:pt x="170421" y="67524"/>
                      </a:cubicBezTo>
                      <a:cubicBezTo>
                        <a:pt x="171755" y="65866"/>
                        <a:pt x="177346" y="63294"/>
                        <a:pt x="179241" y="63018"/>
                      </a:cubicBezTo>
                      <a:cubicBezTo>
                        <a:pt x="184509" y="62256"/>
                        <a:pt x="191167" y="67504"/>
                        <a:pt x="196053" y="71057"/>
                      </a:cubicBezTo>
                      <a:cubicBezTo>
                        <a:pt x="200406" y="74220"/>
                        <a:pt x="203168" y="77639"/>
                        <a:pt x="207350" y="78363"/>
                      </a:cubicBezTo>
                      <a:cubicBezTo>
                        <a:pt x="214474" y="79601"/>
                        <a:pt x="219199" y="77477"/>
                        <a:pt x="223971" y="72896"/>
                      </a:cubicBezTo>
                      <a:cubicBezTo>
                        <a:pt x="229038" y="68038"/>
                        <a:pt x="234915" y="62475"/>
                        <a:pt x="238306" y="56236"/>
                      </a:cubicBezTo>
                      <a:cubicBezTo>
                        <a:pt x="242221" y="49026"/>
                        <a:pt x="245964" y="46673"/>
                        <a:pt x="251603" y="40263"/>
                      </a:cubicBezTo>
                      <a:cubicBezTo>
                        <a:pt x="257004" y="34119"/>
                        <a:pt x="252889" y="32776"/>
                        <a:pt x="252241" y="24585"/>
                      </a:cubicBezTo>
                      <a:cubicBezTo>
                        <a:pt x="251536" y="15536"/>
                        <a:pt x="249603" y="14336"/>
                        <a:pt x="242925" y="7383"/>
                      </a:cubicBezTo>
                      <a:cubicBezTo>
                        <a:pt x="249831" y="7354"/>
                        <a:pt x="256717" y="7316"/>
                        <a:pt x="263623" y="7288"/>
                      </a:cubicBezTo>
                      <a:cubicBezTo>
                        <a:pt x="261128" y="-3114"/>
                        <a:pt x="268329" y="639"/>
                        <a:pt x="277644" y="744"/>
                      </a:cubicBezTo>
                      <a:cubicBezTo>
                        <a:pt x="277825" y="7145"/>
                        <a:pt x="275063" y="14231"/>
                        <a:pt x="274872" y="20213"/>
                      </a:cubicBezTo>
                      <a:cubicBezTo>
                        <a:pt x="274701" y="25547"/>
                        <a:pt x="277025" y="31757"/>
                        <a:pt x="278006" y="36986"/>
                      </a:cubicBezTo>
                      <a:cubicBezTo>
                        <a:pt x="278149" y="37768"/>
                        <a:pt x="278092" y="46569"/>
                        <a:pt x="278187" y="46711"/>
                      </a:cubicBezTo>
                      <a:cubicBezTo>
                        <a:pt x="279406" y="48778"/>
                        <a:pt x="284236" y="49150"/>
                        <a:pt x="286455" y="50617"/>
                      </a:cubicBezTo>
                      <a:cubicBezTo>
                        <a:pt x="290560" y="53322"/>
                        <a:pt x="294799" y="57799"/>
                        <a:pt x="298628" y="60989"/>
                      </a:cubicBezTo>
                      <a:cubicBezTo>
                        <a:pt x="304524" y="65895"/>
                        <a:pt x="304248" y="68590"/>
                        <a:pt x="305524" y="75439"/>
                      </a:cubicBezTo>
                      <a:lnTo>
                        <a:pt x="305524" y="75439"/>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71" name="Freeform: Shape 570">
                  <a:extLst>
                    <a:ext uri="{FF2B5EF4-FFF2-40B4-BE49-F238E27FC236}">
                      <a16:creationId xmlns:a16="http://schemas.microsoft.com/office/drawing/2014/main" id="{D45D0BDE-A21A-4743-9EE4-A0BA55746D7A}"/>
                    </a:ext>
                  </a:extLst>
                </p:cNvPr>
                <p:cNvSpPr/>
                <p:nvPr/>
              </p:nvSpPr>
              <p:spPr>
                <a:xfrm>
                  <a:off x="6272369" y="3665600"/>
                  <a:ext cx="506551" cy="426266"/>
                </a:xfrm>
                <a:custGeom>
                  <a:avLst/>
                  <a:gdLst>
                    <a:gd name="connsiteX0" fmla="*/ 276039 w 506551"/>
                    <a:gd name="connsiteY0" fmla="*/ 3627 h 426266"/>
                    <a:gd name="connsiteX1" fmla="*/ 275363 w 506551"/>
                    <a:gd name="connsiteY1" fmla="*/ 6418 h 426266"/>
                    <a:gd name="connsiteX2" fmla="*/ 379032 w 506551"/>
                    <a:gd name="connsiteY2" fmla="*/ 6408 h 426266"/>
                    <a:gd name="connsiteX3" fmla="*/ 430096 w 506551"/>
                    <a:gd name="connsiteY3" fmla="*/ 6389 h 426266"/>
                    <a:gd name="connsiteX4" fmla="*/ 440516 w 506551"/>
                    <a:gd name="connsiteY4" fmla="*/ 7151 h 426266"/>
                    <a:gd name="connsiteX5" fmla="*/ 443622 w 506551"/>
                    <a:gd name="connsiteY5" fmla="*/ 19305 h 426266"/>
                    <a:gd name="connsiteX6" fmla="*/ 455699 w 506551"/>
                    <a:gd name="connsiteY6" fmla="*/ 36545 h 426266"/>
                    <a:gd name="connsiteX7" fmla="*/ 452223 w 506551"/>
                    <a:gd name="connsiteY7" fmla="*/ 34526 h 426266"/>
                    <a:gd name="connsiteX8" fmla="*/ 454232 w 506551"/>
                    <a:gd name="connsiteY8" fmla="*/ 46184 h 426266"/>
                    <a:gd name="connsiteX9" fmla="*/ 456338 w 506551"/>
                    <a:gd name="connsiteY9" fmla="*/ 59900 h 426266"/>
                    <a:gd name="connsiteX10" fmla="*/ 461166 w 506551"/>
                    <a:gd name="connsiteY10" fmla="*/ 84113 h 426266"/>
                    <a:gd name="connsiteX11" fmla="*/ 473225 w 506551"/>
                    <a:gd name="connsiteY11" fmla="*/ 109173 h 426266"/>
                    <a:gd name="connsiteX12" fmla="*/ 483303 w 506551"/>
                    <a:gd name="connsiteY12" fmla="*/ 113822 h 426266"/>
                    <a:gd name="connsiteX13" fmla="*/ 492418 w 506551"/>
                    <a:gd name="connsiteY13" fmla="*/ 122461 h 426266"/>
                    <a:gd name="connsiteX14" fmla="*/ 506468 w 506551"/>
                    <a:gd name="connsiteY14" fmla="*/ 133195 h 426266"/>
                    <a:gd name="connsiteX15" fmla="*/ 498381 w 506551"/>
                    <a:gd name="connsiteY15" fmla="*/ 144378 h 426266"/>
                    <a:gd name="connsiteX16" fmla="*/ 487303 w 506551"/>
                    <a:gd name="connsiteY16" fmla="*/ 148626 h 426266"/>
                    <a:gd name="connsiteX17" fmla="*/ 475530 w 506551"/>
                    <a:gd name="connsiteY17" fmla="*/ 157560 h 426266"/>
                    <a:gd name="connsiteX18" fmla="*/ 468786 w 506551"/>
                    <a:gd name="connsiteY18" fmla="*/ 162018 h 426266"/>
                    <a:gd name="connsiteX19" fmla="*/ 461024 w 506551"/>
                    <a:gd name="connsiteY19" fmla="*/ 164399 h 426266"/>
                    <a:gd name="connsiteX20" fmla="*/ 458937 w 506551"/>
                    <a:gd name="connsiteY20" fmla="*/ 175629 h 426266"/>
                    <a:gd name="connsiteX21" fmla="*/ 459652 w 506551"/>
                    <a:gd name="connsiteY21" fmla="*/ 189793 h 426266"/>
                    <a:gd name="connsiteX22" fmla="*/ 452594 w 506551"/>
                    <a:gd name="connsiteY22" fmla="*/ 214787 h 426266"/>
                    <a:gd name="connsiteX23" fmla="*/ 448955 w 506551"/>
                    <a:gd name="connsiteY23" fmla="*/ 223645 h 426266"/>
                    <a:gd name="connsiteX24" fmla="*/ 451537 w 506551"/>
                    <a:gd name="connsiteY24" fmla="*/ 236989 h 426266"/>
                    <a:gd name="connsiteX25" fmla="*/ 452632 w 506551"/>
                    <a:gd name="connsiteY25" fmla="*/ 263288 h 426266"/>
                    <a:gd name="connsiteX26" fmla="*/ 445536 w 506551"/>
                    <a:gd name="connsiteY26" fmla="*/ 286453 h 426266"/>
                    <a:gd name="connsiteX27" fmla="*/ 445164 w 506551"/>
                    <a:gd name="connsiteY27" fmla="*/ 297073 h 426266"/>
                    <a:gd name="connsiteX28" fmla="*/ 435802 w 506551"/>
                    <a:gd name="connsiteY28" fmla="*/ 299721 h 426266"/>
                    <a:gd name="connsiteX29" fmla="*/ 420714 w 506551"/>
                    <a:gd name="connsiteY29" fmla="*/ 320609 h 426266"/>
                    <a:gd name="connsiteX30" fmla="*/ 412008 w 506551"/>
                    <a:gd name="connsiteY30" fmla="*/ 344936 h 426266"/>
                    <a:gd name="connsiteX31" fmla="*/ 411018 w 506551"/>
                    <a:gd name="connsiteY31" fmla="*/ 357842 h 426266"/>
                    <a:gd name="connsiteX32" fmla="*/ 402016 w 506551"/>
                    <a:gd name="connsiteY32" fmla="*/ 357547 h 426266"/>
                    <a:gd name="connsiteX33" fmla="*/ 393520 w 506551"/>
                    <a:gd name="connsiteY33" fmla="*/ 377369 h 426266"/>
                    <a:gd name="connsiteX34" fmla="*/ 387395 w 506551"/>
                    <a:gd name="connsiteY34" fmla="*/ 401248 h 426266"/>
                    <a:gd name="connsiteX35" fmla="*/ 382814 w 506551"/>
                    <a:gd name="connsiteY35" fmla="*/ 387399 h 426266"/>
                    <a:gd name="connsiteX36" fmla="*/ 364345 w 506551"/>
                    <a:gd name="connsiteY36" fmla="*/ 364720 h 426266"/>
                    <a:gd name="connsiteX37" fmla="*/ 356268 w 506551"/>
                    <a:gd name="connsiteY37" fmla="*/ 359214 h 426266"/>
                    <a:gd name="connsiteX38" fmla="*/ 353696 w 506551"/>
                    <a:gd name="connsiteY38" fmla="*/ 340964 h 426266"/>
                    <a:gd name="connsiteX39" fmla="*/ 355172 w 506551"/>
                    <a:gd name="connsiteY39" fmla="*/ 314447 h 426266"/>
                    <a:gd name="connsiteX40" fmla="*/ 341152 w 506551"/>
                    <a:gd name="connsiteY40" fmla="*/ 320990 h 426266"/>
                    <a:gd name="connsiteX41" fmla="*/ 320453 w 506551"/>
                    <a:gd name="connsiteY41" fmla="*/ 321086 h 426266"/>
                    <a:gd name="connsiteX42" fmla="*/ 329864 w 506551"/>
                    <a:gd name="connsiteY42" fmla="*/ 334516 h 426266"/>
                    <a:gd name="connsiteX43" fmla="*/ 330464 w 506551"/>
                    <a:gd name="connsiteY43" fmla="*/ 344489 h 426266"/>
                    <a:gd name="connsiteX44" fmla="*/ 332446 w 506551"/>
                    <a:gd name="connsiteY44" fmla="*/ 350975 h 426266"/>
                    <a:gd name="connsiteX45" fmla="*/ 317777 w 506551"/>
                    <a:gd name="connsiteY45" fmla="*/ 364824 h 426266"/>
                    <a:gd name="connsiteX46" fmla="*/ 308081 w 506551"/>
                    <a:gd name="connsiteY46" fmla="*/ 379760 h 426266"/>
                    <a:gd name="connsiteX47" fmla="*/ 277296 w 506551"/>
                    <a:gd name="connsiteY47" fmla="*/ 387846 h 426266"/>
                    <a:gd name="connsiteX48" fmla="*/ 246654 w 506551"/>
                    <a:gd name="connsiteY48" fmla="*/ 382827 h 426266"/>
                    <a:gd name="connsiteX49" fmla="*/ 243253 w 506551"/>
                    <a:gd name="connsiteY49" fmla="*/ 391256 h 426266"/>
                    <a:gd name="connsiteX50" fmla="*/ 233033 w 506551"/>
                    <a:gd name="connsiteY50" fmla="*/ 394190 h 426266"/>
                    <a:gd name="connsiteX51" fmla="*/ 223823 w 506551"/>
                    <a:gd name="connsiteY51" fmla="*/ 405525 h 426266"/>
                    <a:gd name="connsiteX52" fmla="*/ 200306 w 506551"/>
                    <a:gd name="connsiteY52" fmla="*/ 405439 h 426266"/>
                    <a:gd name="connsiteX53" fmla="*/ 190876 w 506551"/>
                    <a:gd name="connsiteY53" fmla="*/ 397248 h 426266"/>
                    <a:gd name="connsiteX54" fmla="*/ 169435 w 506551"/>
                    <a:gd name="connsiteY54" fmla="*/ 396505 h 426266"/>
                    <a:gd name="connsiteX55" fmla="*/ 152861 w 506551"/>
                    <a:gd name="connsiteY55" fmla="*/ 399572 h 426266"/>
                    <a:gd name="connsiteX56" fmla="*/ 139802 w 506551"/>
                    <a:gd name="connsiteY56" fmla="*/ 385770 h 426266"/>
                    <a:gd name="connsiteX57" fmla="*/ 130020 w 506551"/>
                    <a:gd name="connsiteY57" fmla="*/ 376254 h 426266"/>
                    <a:gd name="connsiteX58" fmla="*/ 128068 w 506551"/>
                    <a:gd name="connsiteY58" fmla="*/ 371178 h 426266"/>
                    <a:gd name="connsiteX59" fmla="*/ 119172 w 506551"/>
                    <a:gd name="connsiteY59" fmla="*/ 372644 h 426266"/>
                    <a:gd name="connsiteX60" fmla="*/ 103846 w 506551"/>
                    <a:gd name="connsiteY60" fmla="*/ 375902 h 426266"/>
                    <a:gd name="connsiteX61" fmla="*/ 102960 w 506551"/>
                    <a:gd name="connsiteY61" fmla="*/ 381655 h 426266"/>
                    <a:gd name="connsiteX62" fmla="*/ 99407 w 506551"/>
                    <a:gd name="connsiteY62" fmla="*/ 386989 h 426266"/>
                    <a:gd name="connsiteX63" fmla="*/ 94921 w 506551"/>
                    <a:gd name="connsiteY63" fmla="*/ 401410 h 426266"/>
                    <a:gd name="connsiteX64" fmla="*/ 90254 w 506551"/>
                    <a:gd name="connsiteY64" fmla="*/ 414250 h 426266"/>
                    <a:gd name="connsiteX65" fmla="*/ 89549 w 506551"/>
                    <a:gd name="connsiteY65" fmla="*/ 419060 h 426266"/>
                    <a:gd name="connsiteX66" fmla="*/ 80843 w 506551"/>
                    <a:gd name="connsiteY66" fmla="*/ 422232 h 426266"/>
                    <a:gd name="connsiteX67" fmla="*/ 77414 w 506551"/>
                    <a:gd name="connsiteY67" fmla="*/ 426165 h 426266"/>
                    <a:gd name="connsiteX68" fmla="*/ 69575 w 506551"/>
                    <a:gd name="connsiteY68" fmla="*/ 424794 h 426266"/>
                    <a:gd name="connsiteX69" fmla="*/ 58259 w 506551"/>
                    <a:gd name="connsiteY69" fmla="*/ 417060 h 426266"/>
                    <a:gd name="connsiteX70" fmla="*/ 55706 w 506551"/>
                    <a:gd name="connsiteY70" fmla="*/ 413088 h 426266"/>
                    <a:gd name="connsiteX71" fmla="*/ 59593 w 506551"/>
                    <a:gd name="connsiteY71" fmla="*/ 407487 h 426266"/>
                    <a:gd name="connsiteX72" fmla="*/ 60240 w 506551"/>
                    <a:gd name="connsiteY72" fmla="*/ 389046 h 426266"/>
                    <a:gd name="connsiteX73" fmla="*/ 38199 w 506551"/>
                    <a:gd name="connsiteY73" fmla="*/ 360481 h 426266"/>
                    <a:gd name="connsiteX74" fmla="*/ 36866 w 506551"/>
                    <a:gd name="connsiteY74" fmla="*/ 346603 h 426266"/>
                    <a:gd name="connsiteX75" fmla="*/ 29055 w 506551"/>
                    <a:gd name="connsiteY75" fmla="*/ 337602 h 426266"/>
                    <a:gd name="connsiteX76" fmla="*/ 24731 w 506551"/>
                    <a:gd name="connsiteY76" fmla="*/ 321629 h 426266"/>
                    <a:gd name="connsiteX77" fmla="*/ 21483 w 506551"/>
                    <a:gd name="connsiteY77" fmla="*/ 319676 h 426266"/>
                    <a:gd name="connsiteX78" fmla="*/ 19807 w 506551"/>
                    <a:gd name="connsiteY78" fmla="*/ 311437 h 426266"/>
                    <a:gd name="connsiteX79" fmla="*/ 12768 w 506551"/>
                    <a:gd name="connsiteY79" fmla="*/ 298978 h 426266"/>
                    <a:gd name="connsiteX80" fmla="*/ 404 w 506551"/>
                    <a:gd name="connsiteY80" fmla="*/ 297216 h 426266"/>
                    <a:gd name="connsiteX81" fmla="*/ 7405 w 506551"/>
                    <a:gd name="connsiteY81" fmla="*/ 284614 h 426266"/>
                    <a:gd name="connsiteX82" fmla="*/ 10472 w 506551"/>
                    <a:gd name="connsiteY82" fmla="*/ 272137 h 426266"/>
                    <a:gd name="connsiteX83" fmla="*/ 10748 w 506551"/>
                    <a:gd name="connsiteY83" fmla="*/ 259983 h 426266"/>
                    <a:gd name="connsiteX84" fmla="*/ 20283 w 506551"/>
                    <a:gd name="connsiteY84" fmla="*/ 252506 h 426266"/>
                    <a:gd name="connsiteX85" fmla="*/ 15558 w 506551"/>
                    <a:gd name="connsiteY85" fmla="*/ 242495 h 426266"/>
                    <a:gd name="connsiteX86" fmla="*/ 23559 w 506551"/>
                    <a:gd name="connsiteY86" fmla="*/ 235437 h 426266"/>
                    <a:gd name="connsiteX87" fmla="*/ 24693 w 506551"/>
                    <a:gd name="connsiteY87" fmla="*/ 229903 h 426266"/>
                    <a:gd name="connsiteX88" fmla="*/ 29036 w 506551"/>
                    <a:gd name="connsiteY88" fmla="*/ 223692 h 426266"/>
                    <a:gd name="connsiteX89" fmla="*/ 30951 w 506551"/>
                    <a:gd name="connsiteY89" fmla="*/ 209186 h 426266"/>
                    <a:gd name="connsiteX90" fmla="*/ 62460 w 506551"/>
                    <a:gd name="connsiteY90" fmla="*/ 202309 h 426266"/>
                    <a:gd name="connsiteX91" fmla="*/ 61250 w 506551"/>
                    <a:gd name="connsiteY91" fmla="*/ 181373 h 426266"/>
                    <a:gd name="connsiteX92" fmla="*/ 59669 w 506551"/>
                    <a:gd name="connsiteY92" fmla="*/ 155970 h 426266"/>
                    <a:gd name="connsiteX93" fmla="*/ 53839 w 506551"/>
                    <a:gd name="connsiteY93" fmla="*/ 69387 h 426266"/>
                    <a:gd name="connsiteX94" fmla="*/ 76404 w 506551"/>
                    <a:gd name="connsiteY94" fmla="*/ 69397 h 426266"/>
                    <a:gd name="connsiteX95" fmla="*/ 83462 w 506551"/>
                    <a:gd name="connsiteY95" fmla="*/ 57538 h 426266"/>
                    <a:gd name="connsiteX96" fmla="*/ 79462 w 506551"/>
                    <a:gd name="connsiteY96" fmla="*/ 6380 h 426266"/>
                    <a:gd name="connsiteX97" fmla="*/ 184465 w 506551"/>
                    <a:gd name="connsiteY97" fmla="*/ 6399 h 426266"/>
                    <a:gd name="connsiteX98" fmla="*/ 239491 w 506551"/>
                    <a:gd name="connsiteY98" fmla="*/ 6408 h 426266"/>
                    <a:gd name="connsiteX99" fmla="*/ 265009 w 506551"/>
                    <a:gd name="connsiteY99" fmla="*/ 6408 h 426266"/>
                    <a:gd name="connsiteX100" fmla="*/ 270066 w 506551"/>
                    <a:gd name="connsiteY100" fmla="*/ 6189 h 426266"/>
                    <a:gd name="connsiteX101" fmla="*/ 272428 w 506551"/>
                    <a:gd name="connsiteY101" fmla="*/ 331 h 426266"/>
                    <a:gd name="connsiteX102" fmla="*/ 276039 w 506551"/>
                    <a:gd name="connsiteY102" fmla="*/ 3627 h 426266"/>
                    <a:gd name="connsiteX103" fmla="*/ 276039 w 506551"/>
                    <a:gd name="connsiteY103" fmla="*/ 3627 h 426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506551" h="426266">
                      <a:moveTo>
                        <a:pt x="276039" y="3627"/>
                      </a:moveTo>
                      <a:cubicBezTo>
                        <a:pt x="275820" y="4560"/>
                        <a:pt x="275581" y="5494"/>
                        <a:pt x="275363" y="6418"/>
                      </a:cubicBezTo>
                      <a:cubicBezTo>
                        <a:pt x="309919" y="6418"/>
                        <a:pt x="344476" y="6408"/>
                        <a:pt x="379032" y="6408"/>
                      </a:cubicBezTo>
                      <a:cubicBezTo>
                        <a:pt x="396053" y="6408"/>
                        <a:pt x="413075" y="6399"/>
                        <a:pt x="430096" y="6389"/>
                      </a:cubicBezTo>
                      <a:cubicBezTo>
                        <a:pt x="432954" y="6389"/>
                        <a:pt x="438954" y="5360"/>
                        <a:pt x="440516" y="7151"/>
                      </a:cubicBezTo>
                      <a:cubicBezTo>
                        <a:pt x="442221" y="9104"/>
                        <a:pt x="442288" y="16590"/>
                        <a:pt x="443622" y="19305"/>
                      </a:cubicBezTo>
                      <a:cubicBezTo>
                        <a:pt x="446450" y="25030"/>
                        <a:pt x="455223" y="30306"/>
                        <a:pt x="455699" y="36545"/>
                      </a:cubicBezTo>
                      <a:cubicBezTo>
                        <a:pt x="454585" y="35459"/>
                        <a:pt x="453451" y="35336"/>
                        <a:pt x="452223" y="34526"/>
                      </a:cubicBezTo>
                      <a:cubicBezTo>
                        <a:pt x="452051" y="38336"/>
                        <a:pt x="453232" y="42536"/>
                        <a:pt x="454232" y="46184"/>
                      </a:cubicBezTo>
                      <a:cubicBezTo>
                        <a:pt x="455613" y="51290"/>
                        <a:pt x="455937" y="54605"/>
                        <a:pt x="456338" y="59900"/>
                      </a:cubicBezTo>
                      <a:cubicBezTo>
                        <a:pt x="456938" y="67797"/>
                        <a:pt x="459443" y="76455"/>
                        <a:pt x="461166" y="84113"/>
                      </a:cubicBezTo>
                      <a:cubicBezTo>
                        <a:pt x="462910" y="91838"/>
                        <a:pt x="466529" y="104392"/>
                        <a:pt x="473225" y="109173"/>
                      </a:cubicBezTo>
                      <a:cubicBezTo>
                        <a:pt x="476054" y="111193"/>
                        <a:pt x="480102" y="111545"/>
                        <a:pt x="483303" y="113822"/>
                      </a:cubicBezTo>
                      <a:cubicBezTo>
                        <a:pt x="486684" y="116222"/>
                        <a:pt x="489132" y="120241"/>
                        <a:pt x="492418" y="122461"/>
                      </a:cubicBezTo>
                      <a:cubicBezTo>
                        <a:pt x="495847" y="124775"/>
                        <a:pt x="507658" y="127233"/>
                        <a:pt x="506468" y="133195"/>
                      </a:cubicBezTo>
                      <a:cubicBezTo>
                        <a:pt x="506077" y="135158"/>
                        <a:pt x="500362" y="142663"/>
                        <a:pt x="498381" y="144378"/>
                      </a:cubicBezTo>
                      <a:cubicBezTo>
                        <a:pt x="495409" y="146950"/>
                        <a:pt x="491218" y="147283"/>
                        <a:pt x="487303" y="148626"/>
                      </a:cubicBezTo>
                      <a:cubicBezTo>
                        <a:pt x="481159" y="150740"/>
                        <a:pt x="479054" y="153255"/>
                        <a:pt x="475530" y="157560"/>
                      </a:cubicBezTo>
                      <a:cubicBezTo>
                        <a:pt x="472311" y="161485"/>
                        <a:pt x="474845" y="161323"/>
                        <a:pt x="468786" y="162018"/>
                      </a:cubicBezTo>
                      <a:cubicBezTo>
                        <a:pt x="463843" y="162590"/>
                        <a:pt x="463071" y="160827"/>
                        <a:pt x="461024" y="164399"/>
                      </a:cubicBezTo>
                      <a:cubicBezTo>
                        <a:pt x="460481" y="165342"/>
                        <a:pt x="459014" y="174353"/>
                        <a:pt x="458937" y="175629"/>
                      </a:cubicBezTo>
                      <a:cubicBezTo>
                        <a:pt x="458652" y="180639"/>
                        <a:pt x="460509" y="184649"/>
                        <a:pt x="459652" y="189793"/>
                      </a:cubicBezTo>
                      <a:cubicBezTo>
                        <a:pt x="458271" y="198013"/>
                        <a:pt x="455118" y="206871"/>
                        <a:pt x="452594" y="214787"/>
                      </a:cubicBezTo>
                      <a:cubicBezTo>
                        <a:pt x="451651" y="217739"/>
                        <a:pt x="449318" y="220940"/>
                        <a:pt x="448955" y="223645"/>
                      </a:cubicBezTo>
                      <a:cubicBezTo>
                        <a:pt x="448460" y="227379"/>
                        <a:pt x="450832" y="233265"/>
                        <a:pt x="451537" y="236989"/>
                      </a:cubicBezTo>
                      <a:cubicBezTo>
                        <a:pt x="453299" y="246295"/>
                        <a:pt x="453603" y="254001"/>
                        <a:pt x="452632" y="263288"/>
                      </a:cubicBezTo>
                      <a:cubicBezTo>
                        <a:pt x="451765" y="271622"/>
                        <a:pt x="446774" y="278223"/>
                        <a:pt x="445536" y="286453"/>
                      </a:cubicBezTo>
                      <a:cubicBezTo>
                        <a:pt x="445184" y="288824"/>
                        <a:pt x="446479" y="295216"/>
                        <a:pt x="445164" y="297073"/>
                      </a:cubicBezTo>
                      <a:cubicBezTo>
                        <a:pt x="443155" y="299931"/>
                        <a:pt x="439126" y="298549"/>
                        <a:pt x="435802" y="299721"/>
                      </a:cubicBezTo>
                      <a:cubicBezTo>
                        <a:pt x="426857" y="302874"/>
                        <a:pt x="425438" y="313189"/>
                        <a:pt x="420714" y="320609"/>
                      </a:cubicBezTo>
                      <a:cubicBezTo>
                        <a:pt x="415513" y="328791"/>
                        <a:pt x="413246" y="334944"/>
                        <a:pt x="412008" y="344936"/>
                      </a:cubicBezTo>
                      <a:cubicBezTo>
                        <a:pt x="411589" y="348308"/>
                        <a:pt x="412980" y="355318"/>
                        <a:pt x="411018" y="357842"/>
                      </a:cubicBezTo>
                      <a:cubicBezTo>
                        <a:pt x="406807" y="363281"/>
                        <a:pt x="406464" y="358062"/>
                        <a:pt x="402016" y="357547"/>
                      </a:cubicBezTo>
                      <a:cubicBezTo>
                        <a:pt x="390719" y="356233"/>
                        <a:pt x="393948" y="370720"/>
                        <a:pt x="393520" y="377369"/>
                      </a:cubicBezTo>
                      <a:cubicBezTo>
                        <a:pt x="392987" y="385560"/>
                        <a:pt x="387424" y="392418"/>
                        <a:pt x="387395" y="401248"/>
                      </a:cubicBezTo>
                      <a:cubicBezTo>
                        <a:pt x="376108" y="403010"/>
                        <a:pt x="382528" y="393876"/>
                        <a:pt x="382814" y="387399"/>
                      </a:cubicBezTo>
                      <a:cubicBezTo>
                        <a:pt x="383252" y="377207"/>
                        <a:pt x="372127" y="369892"/>
                        <a:pt x="364345" y="364720"/>
                      </a:cubicBezTo>
                      <a:cubicBezTo>
                        <a:pt x="360916" y="362443"/>
                        <a:pt x="357449" y="361900"/>
                        <a:pt x="356268" y="359214"/>
                      </a:cubicBezTo>
                      <a:cubicBezTo>
                        <a:pt x="354534" y="355271"/>
                        <a:pt x="354601" y="345727"/>
                        <a:pt x="353696" y="340964"/>
                      </a:cubicBezTo>
                      <a:cubicBezTo>
                        <a:pt x="351972" y="331830"/>
                        <a:pt x="355096" y="323838"/>
                        <a:pt x="355172" y="314447"/>
                      </a:cubicBezTo>
                      <a:cubicBezTo>
                        <a:pt x="345866" y="314332"/>
                        <a:pt x="338627" y="310580"/>
                        <a:pt x="341152" y="320990"/>
                      </a:cubicBezTo>
                      <a:cubicBezTo>
                        <a:pt x="334246" y="321019"/>
                        <a:pt x="327359" y="321057"/>
                        <a:pt x="320453" y="321086"/>
                      </a:cubicBezTo>
                      <a:cubicBezTo>
                        <a:pt x="324930" y="325743"/>
                        <a:pt x="328779" y="328410"/>
                        <a:pt x="329864" y="334516"/>
                      </a:cubicBezTo>
                      <a:cubicBezTo>
                        <a:pt x="330455" y="337830"/>
                        <a:pt x="329617" y="341107"/>
                        <a:pt x="330464" y="344489"/>
                      </a:cubicBezTo>
                      <a:cubicBezTo>
                        <a:pt x="331160" y="347241"/>
                        <a:pt x="333293" y="348184"/>
                        <a:pt x="332446" y="350975"/>
                      </a:cubicBezTo>
                      <a:cubicBezTo>
                        <a:pt x="330950" y="355976"/>
                        <a:pt x="320873" y="360110"/>
                        <a:pt x="317777" y="364824"/>
                      </a:cubicBezTo>
                      <a:cubicBezTo>
                        <a:pt x="314367" y="370006"/>
                        <a:pt x="312453" y="374940"/>
                        <a:pt x="308081" y="379760"/>
                      </a:cubicBezTo>
                      <a:cubicBezTo>
                        <a:pt x="298756" y="390075"/>
                        <a:pt x="288897" y="397390"/>
                        <a:pt x="277296" y="387846"/>
                      </a:cubicBezTo>
                      <a:cubicBezTo>
                        <a:pt x="268761" y="380826"/>
                        <a:pt x="255084" y="369577"/>
                        <a:pt x="246654" y="382827"/>
                      </a:cubicBezTo>
                      <a:cubicBezTo>
                        <a:pt x="244825" y="385713"/>
                        <a:pt x="247025" y="388475"/>
                        <a:pt x="243253" y="391256"/>
                      </a:cubicBezTo>
                      <a:cubicBezTo>
                        <a:pt x="240691" y="393133"/>
                        <a:pt x="236110" y="392904"/>
                        <a:pt x="233033" y="394190"/>
                      </a:cubicBezTo>
                      <a:cubicBezTo>
                        <a:pt x="228814" y="395962"/>
                        <a:pt x="221518" y="399991"/>
                        <a:pt x="223823" y="405525"/>
                      </a:cubicBezTo>
                      <a:cubicBezTo>
                        <a:pt x="217564" y="405506"/>
                        <a:pt x="205906" y="407906"/>
                        <a:pt x="200306" y="405439"/>
                      </a:cubicBezTo>
                      <a:cubicBezTo>
                        <a:pt x="195781" y="403448"/>
                        <a:pt x="195114" y="398676"/>
                        <a:pt x="190876" y="397248"/>
                      </a:cubicBezTo>
                      <a:cubicBezTo>
                        <a:pt x="185618" y="395476"/>
                        <a:pt x="174797" y="395876"/>
                        <a:pt x="169435" y="396505"/>
                      </a:cubicBezTo>
                      <a:cubicBezTo>
                        <a:pt x="163748" y="397181"/>
                        <a:pt x="158462" y="401858"/>
                        <a:pt x="152861" y="399572"/>
                      </a:cubicBezTo>
                      <a:cubicBezTo>
                        <a:pt x="147660" y="397438"/>
                        <a:pt x="143803" y="389647"/>
                        <a:pt x="139802" y="385770"/>
                      </a:cubicBezTo>
                      <a:cubicBezTo>
                        <a:pt x="136326" y="382398"/>
                        <a:pt x="132640" y="380017"/>
                        <a:pt x="130020" y="376254"/>
                      </a:cubicBezTo>
                      <a:cubicBezTo>
                        <a:pt x="128687" y="374349"/>
                        <a:pt x="130925" y="372711"/>
                        <a:pt x="128068" y="371178"/>
                      </a:cubicBezTo>
                      <a:cubicBezTo>
                        <a:pt x="126191" y="370168"/>
                        <a:pt x="121000" y="372282"/>
                        <a:pt x="119172" y="372644"/>
                      </a:cubicBezTo>
                      <a:cubicBezTo>
                        <a:pt x="115638" y="373368"/>
                        <a:pt x="106141" y="373178"/>
                        <a:pt x="103846" y="375902"/>
                      </a:cubicBezTo>
                      <a:cubicBezTo>
                        <a:pt x="102302" y="377721"/>
                        <a:pt x="103798" y="379741"/>
                        <a:pt x="102960" y="381655"/>
                      </a:cubicBezTo>
                      <a:cubicBezTo>
                        <a:pt x="102026" y="383798"/>
                        <a:pt x="100569" y="385017"/>
                        <a:pt x="99407" y="386989"/>
                      </a:cubicBezTo>
                      <a:cubicBezTo>
                        <a:pt x="96635" y="391694"/>
                        <a:pt x="96311" y="396305"/>
                        <a:pt x="94921" y="401410"/>
                      </a:cubicBezTo>
                      <a:cubicBezTo>
                        <a:pt x="93806" y="405525"/>
                        <a:pt x="92187" y="410087"/>
                        <a:pt x="90254" y="414250"/>
                      </a:cubicBezTo>
                      <a:cubicBezTo>
                        <a:pt x="89653" y="415545"/>
                        <a:pt x="90387" y="418241"/>
                        <a:pt x="89549" y="419060"/>
                      </a:cubicBezTo>
                      <a:cubicBezTo>
                        <a:pt x="87520" y="421050"/>
                        <a:pt x="83396" y="420898"/>
                        <a:pt x="80843" y="422232"/>
                      </a:cubicBezTo>
                      <a:cubicBezTo>
                        <a:pt x="79452" y="422965"/>
                        <a:pt x="78319" y="425899"/>
                        <a:pt x="77414" y="426165"/>
                      </a:cubicBezTo>
                      <a:cubicBezTo>
                        <a:pt x="75623" y="426680"/>
                        <a:pt x="71527" y="425070"/>
                        <a:pt x="69575" y="424794"/>
                      </a:cubicBezTo>
                      <a:cubicBezTo>
                        <a:pt x="60783" y="423546"/>
                        <a:pt x="60393" y="424489"/>
                        <a:pt x="58259" y="417060"/>
                      </a:cubicBezTo>
                      <a:cubicBezTo>
                        <a:pt x="57792" y="415440"/>
                        <a:pt x="55430" y="415755"/>
                        <a:pt x="55706" y="413088"/>
                      </a:cubicBezTo>
                      <a:cubicBezTo>
                        <a:pt x="55954" y="410706"/>
                        <a:pt x="58764" y="409535"/>
                        <a:pt x="59593" y="407487"/>
                      </a:cubicBezTo>
                      <a:cubicBezTo>
                        <a:pt x="61555" y="402639"/>
                        <a:pt x="61755" y="394104"/>
                        <a:pt x="60240" y="389046"/>
                      </a:cubicBezTo>
                      <a:cubicBezTo>
                        <a:pt x="56659" y="377007"/>
                        <a:pt x="45267" y="369892"/>
                        <a:pt x="38199" y="360481"/>
                      </a:cubicBezTo>
                      <a:cubicBezTo>
                        <a:pt x="33361" y="354052"/>
                        <a:pt x="37428" y="353547"/>
                        <a:pt x="36866" y="346603"/>
                      </a:cubicBezTo>
                      <a:cubicBezTo>
                        <a:pt x="36361" y="340440"/>
                        <a:pt x="33113" y="340964"/>
                        <a:pt x="29055" y="337602"/>
                      </a:cubicBezTo>
                      <a:cubicBezTo>
                        <a:pt x="22464" y="332154"/>
                        <a:pt x="26979" y="328734"/>
                        <a:pt x="24731" y="321629"/>
                      </a:cubicBezTo>
                      <a:cubicBezTo>
                        <a:pt x="24226" y="320028"/>
                        <a:pt x="21778" y="320428"/>
                        <a:pt x="21483" y="319676"/>
                      </a:cubicBezTo>
                      <a:cubicBezTo>
                        <a:pt x="20569" y="317390"/>
                        <a:pt x="20302" y="313894"/>
                        <a:pt x="19807" y="311437"/>
                      </a:cubicBezTo>
                      <a:cubicBezTo>
                        <a:pt x="18749" y="306189"/>
                        <a:pt x="19044" y="300397"/>
                        <a:pt x="12768" y="298978"/>
                      </a:cubicBezTo>
                      <a:cubicBezTo>
                        <a:pt x="8872" y="298092"/>
                        <a:pt x="2766" y="302779"/>
                        <a:pt x="404" y="297216"/>
                      </a:cubicBezTo>
                      <a:cubicBezTo>
                        <a:pt x="-1682" y="292301"/>
                        <a:pt x="4862" y="287396"/>
                        <a:pt x="7405" y="284614"/>
                      </a:cubicBezTo>
                      <a:cubicBezTo>
                        <a:pt x="11729" y="279890"/>
                        <a:pt x="12787" y="278804"/>
                        <a:pt x="10472" y="272137"/>
                      </a:cubicBezTo>
                      <a:cubicBezTo>
                        <a:pt x="8472" y="266374"/>
                        <a:pt x="6024" y="265117"/>
                        <a:pt x="10748" y="259983"/>
                      </a:cubicBezTo>
                      <a:cubicBezTo>
                        <a:pt x="13253" y="257268"/>
                        <a:pt x="19578" y="256173"/>
                        <a:pt x="20283" y="252506"/>
                      </a:cubicBezTo>
                      <a:cubicBezTo>
                        <a:pt x="20635" y="250686"/>
                        <a:pt x="15111" y="245600"/>
                        <a:pt x="15558" y="242495"/>
                      </a:cubicBezTo>
                      <a:cubicBezTo>
                        <a:pt x="16311" y="237275"/>
                        <a:pt x="20521" y="239037"/>
                        <a:pt x="23559" y="235437"/>
                      </a:cubicBezTo>
                      <a:cubicBezTo>
                        <a:pt x="24398" y="234446"/>
                        <a:pt x="24064" y="231331"/>
                        <a:pt x="24693" y="229903"/>
                      </a:cubicBezTo>
                      <a:cubicBezTo>
                        <a:pt x="25893" y="227217"/>
                        <a:pt x="27665" y="226017"/>
                        <a:pt x="29036" y="223692"/>
                      </a:cubicBezTo>
                      <a:cubicBezTo>
                        <a:pt x="32361" y="218035"/>
                        <a:pt x="28960" y="214301"/>
                        <a:pt x="30951" y="209186"/>
                      </a:cubicBezTo>
                      <a:cubicBezTo>
                        <a:pt x="35294" y="198032"/>
                        <a:pt x="59021" y="208862"/>
                        <a:pt x="62460" y="202309"/>
                      </a:cubicBezTo>
                      <a:cubicBezTo>
                        <a:pt x="64650" y="198137"/>
                        <a:pt x="61517" y="186012"/>
                        <a:pt x="61250" y="181373"/>
                      </a:cubicBezTo>
                      <a:cubicBezTo>
                        <a:pt x="60774" y="172905"/>
                        <a:pt x="60193" y="164447"/>
                        <a:pt x="59669" y="155970"/>
                      </a:cubicBezTo>
                      <a:cubicBezTo>
                        <a:pt x="57887" y="127099"/>
                        <a:pt x="55916" y="98239"/>
                        <a:pt x="53839" y="69387"/>
                      </a:cubicBezTo>
                      <a:cubicBezTo>
                        <a:pt x="61364" y="69387"/>
                        <a:pt x="68879" y="69397"/>
                        <a:pt x="76404" y="69397"/>
                      </a:cubicBezTo>
                      <a:cubicBezTo>
                        <a:pt x="87282" y="69397"/>
                        <a:pt x="84310" y="68673"/>
                        <a:pt x="83462" y="57538"/>
                      </a:cubicBezTo>
                      <a:cubicBezTo>
                        <a:pt x="82176" y="40479"/>
                        <a:pt x="80814" y="23429"/>
                        <a:pt x="79462" y="6380"/>
                      </a:cubicBezTo>
                      <a:cubicBezTo>
                        <a:pt x="114466" y="6380"/>
                        <a:pt x="149470" y="6389"/>
                        <a:pt x="184465" y="6399"/>
                      </a:cubicBezTo>
                      <a:cubicBezTo>
                        <a:pt x="202811" y="6399"/>
                        <a:pt x="221155" y="6399"/>
                        <a:pt x="239491" y="6408"/>
                      </a:cubicBezTo>
                      <a:cubicBezTo>
                        <a:pt x="247464" y="6408"/>
                        <a:pt x="257189" y="7856"/>
                        <a:pt x="265009" y="6408"/>
                      </a:cubicBezTo>
                      <a:cubicBezTo>
                        <a:pt x="266390" y="6151"/>
                        <a:pt x="268800" y="6999"/>
                        <a:pt x="270066" y="6189"/>
                      </a:cubicBezTo>
                      <a:cubicBezTo>
                        <a:pt x="271333" y="5379"/>
                        <a:pt x="271057" y="836"/>
                        <a:pt x="272428" y="331"/>
                      </a:cubicBezTo>
                      <a:cubicBezTo>
                        <a:pt x="275363" y="-707"/>
                        <a:pt x="276658" y="779"/>
                        <a:pt x="276039" y="3627"/>
                      </a:cubicBezTo>
                      <a:lnTo>
                        <a:pt x="276039" y="3627"/>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72" name="Freeform: Shape 571">
                  <a:extLst>
                    <a:ext uri="{FF2B5EF4-FFF2-40B4-BE49-F238E27FC236}">
                      <a16:creationId xmlns:a16="http://schemas.microsoft.com/office/drawing/2014/main" id="{F7E4DCCD-1ECC-4C32-A21E-3E94063E54AA}"/>
                    </a:ext>
                  </a:extLst>
                </p:cNvPr>
                <p:cNvSpPr/>
                <p:nvPr/>
              </p:nvSpPr>
              <p:spPr>
                <a:xfrm>
                  <a:off x="6619767" y="3353826"/>
                  <a:ext cx="662283" cy="495347"/>
                </a:xfrm>
                <a:custGeom>
                  <a:avLst/>
                  <a:gdLst>
                    <a:gd name="connsiteX0" fmla="*/ 292924 w 662283"/>
                    <a:gd name="connsiteY0" fmla="*/ 91469 h 495347"/>
                    <a:gd name="connsiteX1" fmla="*/ 341435 w 662283"/>
                    <a:gd name="connsiteY1" fmla="*/ 95507 h 495347"/>
                    <a:gd name="connsiteX2" fmla="*/ 361904 w 662283"/>
                    <a:gd name="connsiteY2" fmla="*/ 96288 h 495347"/>
                    <a:gd name="connsiteX3" fmla="*/ 378716 w 662283"/>
                    <a:gd name="connsiteY3" fmla="*/ 104356 h 495347"/>
                    <a:gd name="connsiteX4" fmla="*/ 394060 w 662283"/>
                    <a:gd name="connsiteY4" fmla="*/ 112167 h 495347"/>
                    <a:gd name="connsiteX5" fmla="*/ 405691 w 662283"/>
                    <a:gd name="connsiteY5" fmla="*/ 111995 h 495347"/>
                    <a:gd name="connsiteX6" fmla="*/ 411063 w 662283"/>
                    <a:gd name="connsiteY6" fmla="*/ 118624 h 495347"/>
                    <a:gd name="connsiteX7" fmla="*/ 423007 w 662283"/>
                    <a:gd name="connsiteY7" fmla="*/ 135912 h 495347"/>
                    <a:gd name="connsiteX8" fmla="*/ 437209 w 662283"/>
                    <a:gd name="connsiteY8" fmla="*/ 145047 h 495347"/>
                    <a:gd name="connsiteX9" fmla="*/ 469546 w 662283"/>
                    <a:gd name="connsiteY9" fmla="*/ 171193 h 495347"/>
                    <a:gd name="connsiteX10" fmla="*/ 465632 w 662283"/>
                    <a:gd name="connsiteY10" fmla="*/ 170041 h 495347"/>
                    <a:gd name="connsiteX11" fmla="*/ 469651 w 662283"/>
                    <a:gd name="connsiteY11" fmla="*/ 177708 h 495347"/>
                    <a:gd name="connsiteX12" fmla="*/ 473156 w 662283"/>
                    <a:gd name="connsiteY12" fmla="*/ 188900 h 495347"/>
                    <a:gd name="connsiteX13" fmla="*/ 469394 w 662283"/>
                    <a:gd name="connsiteY13" fmla="*/ 188567 h 495347"/>
                    <a:gd name="connsiteX14" fmla="*/ 484053 w 662283"/>
                    <a:gd name="connsiteY14" fmla="*/ 208607 h 495347"/>
                    <a:gd name="connsiteX15" fmla="*/ 497293 w 662283"/>
                    <a:gd name="connsiteY15" fmla="*/ 227286 h 495347"/>
                    <a:gd name="connsiteX16" fmla="*/ 512228 w 662283"/>
                    <a:gd name="connsiteY16" fmla="*/ 236744 h 495347"/>
                    <a:gd name="connsiteX17" fmla="*/ 520286 w 662283"/>
                    <a:gd name="connsiteY17" fmla="*/ 238011 h 495347"/>
                    <a:gd name="connsiteX18" fmla="*/ 518752 w 662283"/>
                    <a:gd name="connsiteY18" fmla="*/ 242183 h 495347"/>
                    <a:gd name="connsiteX19" fmla="*/ 522191 w 662283"/>
                    <a:gd name="connsiteY19" fmla="*/ 245183 h 495347"/>
                    <a:gd name="connsiteX20" fmla="*/ 526725 w 662283"/>
                    <a:gd name="connsiteY20" fmla="*/ 247984 h 495347"/>
                    <a:gd name="connsiteX21" fmla="*/ 532707 w 662283"/>
                    <a:gd name="connsiteY21" fmla="*/ 257042 h 495347"/>
                    <a:gd name="connsiteX22" fmla="*/ 549471 w 662283"/>
                    <a:gd name="connsiteY22" fmla="*/ 274063 h 495347"/>
                    <a:gd name="connsiteX23" fmla="*/ 566511 w 662283"/>
                    <a:gd name="connsiteY23" fmla="*/ 288998 h 495347"/>
                    <a:gd name="connsiteX24" fmla="*/ 589828 w 662283"/>
                    <a:gd name="connsiteY24" fmla="*/ 291894 h 495347"/>
                    <a:gd name="connsiteX25" fmla="*/ 644816 w 662283"/>
                    <a:gd name="connsiteY25" fmla="*/ 295875 h 495347"/>
                    <a:gd name="connsiteX26" fmla="*/ 660875 w 662283"/>
                    <a:gd name="connsiteY26" fmla="*/ 315725 h 495347"/>
                    <a:gd name="connsiteX27" fmla="*/ 659056 w 662283"/>
                    <a:gd name="connsiteY27" fmla="*/ 343872 h 495347"/>
                    <a:gd name="connsiteX28" fmla="*/ 654607 w 662283"/>
                    <a:gd name="connsiteY28" fmla="*/ 373514 h 495347"/>
                    <a:gd name="connsiteX29" fmla="*/ 647873 w 662283"/>
                    <a:gd name="connsiteY29" fmla="*/ 383229 h 495347"/>
                    <a:gd name="connsiteX30" fmla="*/ 634176 w 662283"/>
                    <a:gd name="connsiteY30" fmla="*/ 388201 h 495347"/>
                    <a:gd name="connsiteX31" fmla="*/ 576969 w 662283"/>
                    <a:gd name="connsiteY31" fmla="*/ 408909 h 495347"/>
                    <a:gd name="connsiteX32" fmla="*/ 526315 w 662283"/>
                    <a:gd name="connsiteY32" fmla="*/ 418357 h 495347"/>
                    <a:gd name="connsiteX33" fmla="*/ 474118 w 662283"/>
                    <a:gd name="connsiteY33" fmla="*/ 428044 h 495347"/>
                    <a:gd name="connsiteX34" fmla="*/ 451477 w 662283"/>
                    <a:gd name="connsiteY34" fmla="*/ 441979 h 495347"/>
                    <a:gd name="connsiteX35" fmla="*/ 437218 w 662283"/>
                    <a:gd name="connsiteY35" fmla="*/ 464554 h 495347"/>
                    <a:gd name="connsiteX36" fmla="*/ 418864 w 662283"/>
                    <a:gd name="connsiteY36" fmla="*/ 474088 h 495347"/>
                    <a:gd name="connsiteX37" fmla="*/ 411558 w 662283"/>
                    <a:gd name="connsiteY37" fmla="*/ 467144 h 495347"/>
                    <a:gd name="connsiteX38" fmla="*/ 399061 w 662283"/>
                    <a:gd name="connsiteY38" fmla="*/ 468202 h 495347"/>
                    <a:gd name="connsiteX39" fmla="*/ 350036 w 662283"/>
                    <a:gd name="connsiteY39" fmla="*/ 462087 h 495347"/>
                    <a:gd name="connsiteX40" fmla="*/ 325433 w 662283"/>
                    <a:gd name="connsiteY40" fmla="*/ 465173 h 495347"/>
                    <a:gd name="connsiteX41" fmla="*/ 306764 w 662283"/>
                    <a:gd name="connsiteY41" fmla="*/ 460944 h 495347"/>
                    <a:gd name="connsiteX42" fmla="*/ 304707 w 662283"/>
                    <a:gd name="connsiteY42" fmla="*/ 468021 h 495347"/>
                    <a:gd name="connsiteX43" fmla="*/ 302830 w 662283"/>
                    <a:gd name="connsiteY43" fmla="*/ 478098 h 495347"/>
                    <a:gd name="connsiteX44" fmla="*/ 303116 w 662283"/>
                    <a:gd name="connsiteY44" fmla="*/ 486194 h 495347"/>
                    <a:gd name="connsiteX45" fmla="*/ 294667 w 662283"/>
                    <a:gd name="connsiteY45" fmla="*/ 495348 h 495347"/>
                    <a:gd name="connsiteX46" fmla="*/ 284180 w 662283"/>
                    <a:gd name="connsiteY46" fmla="*/ 476098 h 495347"/>
                    <a:gd name="connsiteX47" fmla="*/ 268855 w 662283"/>
                    <a:gd name="connsiteY47" fmla="*/ 455933 h 495347"/>
                    <a:gd name="connsiteX48" fmla="*/ 248814 w 662283"/>
                    <a:gd name="connsiteY48" fmla="*/ 436579 h 495347"/>
                    <a:gd name="connsiteX49" fmla="*/ 235974 w 662283"/>
                    <a:gd name="connsiteY49" fmla="*/ 415652 h 495347"/>
                    <a:gd name="connsiteX50" fmla="*/ 202827 w 662283"/>
                    <a:gd name="connsiteY50" fmla="*/ 376257 h 495347"/>
                    <a:gd name="connsiteX51" fmla="*/ 181034 w 662283"/>
                    <a:gd name="connsiteY51" fmla="*/ 363179 h 495347"/>
                    <a:gd name="connsiteX52" fmla="*/ 163327 w 662283"/>
                    <a:gd name="connsiteY52" fmla="*/ 340005 h 495347"/>
                    <a:gd name="connsiteX53" fmla="*/ 164213 w 662283"/>
                    <a:gd name="connsiteY53" fmla="*/ 334566 h 495347"/>
                    <a:gd name="connsiteX54" fmla="*/ 161108 w 662283"/>
                    <a:gd name="connsiteY54" fmla="*/ 327717 h 495347"/>
                    <a:gd name="connsiteX55" fmla="*/ 158021 w 662283"/>
                    <a:gd name="connsiteY55" fmla="*/ 315240 h 495347"/>
                    <a:gd name="connsiteX56" fmla="*/ 150458 w 662283"/>
                    <a:gd name="connsiteY56" fmla="*/ 290265 h 495347"/>
                    <a:gd name="connsiteX57" fmla="*/ 152221 w 662283"/>
                    <a:gd name="connsiteY57" fmla="*/ 290275 h 495347"/>
                    <a:gd name="connsiteX58" fmla="*/ 138905 w 662283"/>
                    <a:gd name="connsiteY58" fmla="*/ 271034 h 495347"/>
                    <a:gd name="connsiteX59" fmla="*/ 122484 w 662283"/>
                    <a:gd name="connsiteY59" fmla="*/ 253708 h 495347"/>
                    <a:gd name="connsiteX60" fmla="*/ 114397 w 662283"/>
                    <a:gd name="connsiteY60" fmla="*/ 249174 h 495347"/>
                    <a:gd name="connsiteX61" fmla="*/ 104082 w 662283"/>
                    <a:gd name="connsiteY61" fmla="*/ 245859 h 495347"/>
                    <a:gd name="connsiteX62" fmla="*/ 91909 w 662283"/>
                    <a:gd name="connsiteY62" fmla="*/ 227543 h 495347"/>
                    <a:gd name="connsiteX63" fmla="*/ 90642 w 662283"/>
                    <a:gd name="connsiteY63" fmla="*/ 218808 h 495347"/>
                    <a:gd name="connsiteX64" fmla="*/ 82221 w 662283"/>
                    <a:gd name="connsiteY64" fmla="*/ 206845 h 495347"/>
                    <a:gd name="connsiteX65" fmla="*/ 75192 w 662283"/>
                    <a:gd name="connsiteY65" fmla="*/ 200368 h 495347"/>
                    <a:gd name="connsiteX66" fmla="*/ 70477 w 662283"/>
                    <a:gd name="connsiteY66" fmla="*/ 190834 h 495347"/>
                    <a:gd name="connsiteX67" fmla="*/ 63638 w 662283"/>
                    <a:gd name="connsiteY67" fmla="*/ 185938 h 495347"/>
                    <a:gd name="connsiteX68" fmla="*/ 55294 w 662283"/>
                    <a:gd name="connsiteY68" fmla="*/ 173327 h 495347"/>
                    <a:gd name="connsiteX69" fmla="*/ 39569 w 662283"/>
                    <a:gd name="connsiteY69" fmla="*/ 155372 h 495347"/>
                    <a:gd name="connsiteX70" fmla="*/ 22871 w 662283"/>
                    <a:gd name="connsiteY70" fmla="*/ 134446 h 495347"/>
                    <a:gd name="connsiteX71" fmla="*/ 402 w 662283"/>
                    <a:gd name="connsiteY71" fmla="*/ 127026 h 495347"/>
                    <a:gd name="connsiteX72" fmla="*/ 2650 w 662283"/>
                    <a:gd name="connsiteY72" fmla="*/ 107414 h 495347"/>
                    <a:gd name="connsiteX73" fmla="*/ 4107 w 662283"/>
                    <a:gd name="connsiteY73" fmla="*/ 86420 h 495347"/>
                    <a:gd name="connsiteX74" fmla="*/ 31587 w 662283"/>
                    <a:gd name="connsiteY74" fmla="*/ 90811 h 495347"/>
                    <a:gd name="connsiteX75" fmla="*/ 50941 w 662283"/>
                    <a:gd name="connsiteY75" fmla="*/ 76572 h 495347"/>
                    <a:gd name="connsiteX76" fmla="*/ 73335 w 662283"/>
                    <a:gd name="connsiteY76" fmla="*/ 66551 h 495347"/>
                    <a:gd name="connsiteX77" fmla="*/ 78145 w 662283"/>
                    <a:gd name="connsiteY77" fmla="*/ 56588 h 495347"/>
                    <a:gd name="connsiteX78" fmla="*/ 87451 w 662283"/>
                    <a:gd name="connsiteY78" fmla="*/ 50302 h 495347"/>
                    <a:gd name="connsiteX79" fmla="*/ 52313 w 662283"/>
                    <a:gd name="connsiteY79" fmla="*/ 19069 h 495347"/>
                    <a:gd name="connsiteX80" fmla="*/ 102338 w 662283"/>
                    <a:gd name="connsiteY80" fmla="*/ 4829 h 495347"/>
                    <a:gd name="connsiteX81" fmla="*/ 110768 w 662283"/>
                    <a:gd name="connsiteY81" fmla="*/ 972 h 495347"/>
                    <a:gd name="connsiteX82" fmla="*/ 124198 w 662283"/>
                    <a:gd name="connsiteY82" fmla="*/ 934 h 495347"/>
                    <a:gd name="connsiteX83" fmla="*/ 150164 w 662283"/>
                    <a:gd name="connsiteY83" fmla="*/ 5353 h 495347"/>
                    <a:gd name="connsiteX84" fmla="*/ 240480 w 662283"/>
                    <a:gd name="connsiteY84" fmla="*/ 57064 h 495347"/>
                    <a:gd name="connsiteX85" fmla="*/ 292924 w 662283"/>
                    <a:gd name="connsiteY85" fmla="*/ 91469 h 495347"/>
                    <a:gd name="connsiteX86" fmla="*/ 292924 w 662283"/>
                    <a:gd name="connsiteY86" fmla="*/ 91469 h 495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662283" h="495347">
                      <a:moveTo>
                        <a:pt x="292924" y="91469"/>
                      </a:moveTo>
                      <a:cubicBezTo>
                        <a:pt x="308783" y="92793"/>
                        <a:pt x="325528" y="95879"/>
                        <a:pt x="341435" y="95507"/>
                      </a:cubicBezTo>
                      <a:cubicBezTo>
                        <a:pt x="348464" y="95336"/>
                        <a:pt x="354732" y="95393"/>
                        <a:pt x="361904" y="96288"/>
                      </a:cubicBezTo>
                      <a:cubicBezTo>
                        <a:pt x="370439" y="97346"/>
                        <a:pt x="374115" y="96774"/>
                        <a:pt x="378716" y="104356"/>
                      </a:cubicBezTo>
                      <a:cubicBezTo>
                        <a:pt x="383345" y="112005"/>
                        <a:pt x="384965" y="112281"/>
                        <a:pt x="394060" y="112167"/>
                      </a:cubicBezTo>
                      <a:cubicBezTo>
                        <a:pt x="396928" y="112129"/>
                        <a:pt x="402957" y="110881"/>
                        <a:pt x="405691" y="111995"/>
                      </a:cubicBezTo>
                      <a:cubicBezTo>
                        <a:pt x="408843" y="113281"/>
                        <a:pt x="409196" y="115567"/>
                        <a:pt x="411063" y="118624"/>
                      </a:cubicBezTo>
                      <a:cubicBezTo>
                        <a:pt x="414787" y="124711"/>
                        <a:pt x="419578" y="130293"/>
                        <a:pt x="423007" y="135912"/>
                      </a:cubicBezTo>
                      <a:cubicBezTo>
                        <a:pt x="426027" y="140875"/>
                        <a:pt x="430865" y="142618"/>
                        <a:pt x="437209" y="145047"/>
                      </a:cubicBezTo>
                      <a:cubicBezTo>
                        <a:pt x="432923" y="149381"/>
                        <a:pt x="465422" y="167535"/>
                        <a:pt x="469546" y="171193"/>
                      </a:cubicBezTo>
                      <a:cubicBezTo>
                        <a:pt x="468508" y="170707"/>
                        <a:pt x="466812" y="170574"/>
                        <a:pt x="465632" y="170041"/>
                      </a:cubicBezTo>
                      <a:cubicBezTo>
                        <a:pt x="464803" y="174041"/>
                        <a:pt x="467575" y="174974"/>
                        <a:pt x="469651" y="177708"/>
                      </a:cubicBezTo>
                      <a:cubicBezTo>
                        <a:pt x="473109" y="182271"/>
                        <a:pt x="473632" y="182413"/>
                        <a:pt x="473156" y="188900"/>
                      </a:cubicBezTo>
                      <a:cubicBezTo>
                        <a:pt x="471918" y="188395"/>
                        <a:pt x="470347" y="188814"/>
                        <a:pt x="469394" y="188567"/>
                      </a:cubicBezTo>
                      <a:cubicBezTo>
                        <a:pt x="473166" y="196596"/>
                        <a:pt x="477976" y="202549"/>
                        <a:pt x="484053" y="208607"/>
                      </a:cubicBezTo>
                      <a:cubicBezTo>
                        <a:pt x="489501" y="214056"/>
                        <a:pt x="491997" y="221352"/>
                        <a:pt x="497293" y="227286"/>
                      </a:cubicBezTo>
                      <a:cubicBezTo>
                        <a:pt x="502750" y="233429"/>
                        <a:pt x="504246" y="236420"/>
                        <a:pt x="512228" y="236744"/>
                      </a:cubicBezTo>
                      <a:cubicBezTo>
                        <a:pt x="514390" y="236830"/>
                        <a:pt x="519238" y="235754"/>
                        <a:pt x="520286" y="238011"/>
                      </a:cubicBezTo>
                      <a:cubicBezTo>
                        <a:pt x="520734" y="238992"/>
                        <a:pt x="518095" y="240821"/>
                        <a:pt x="518752" y="242183"/>
                      </a:cubicBezTo>
                      <a:cubicBezTo>
                        <a:pt x="520200" y="245155"/>
                        <a:pt x="519876" y="242716"/>
                        <a:pt x="522191" y="245183"/>
                      </a:cubicBezTo>
                      <a:cubicBezTo>
                        <a:pt x="523467" y="246536"/>
                        <a:pt x="525468" y="246593"/>
                        <a:pt x="526725" y="247984"/>
                      </a:cubicBezTo>
                      <a:cubicBezTo>
                        <a:pt x="528859" y="250336"/>
                        <a:pt x="530030" y="254280"/>
                        <a:pt x="532707" y="257042"/>
                      </a:cubicBezTo>
                      <a:cubicBezTo>
                        <a:pt x="538241" y="262766"/>
                        <a:pt x="543879" y="268386"/>
                        <a:pt x="549471" y="274063"/>
                      </a:cubicBezTo>
                      <a:cubicBezTo>
                        <a:pt x="554528" y="279207"/>
                        <a:pt x="559910" y="286788"/>
                        <a:pt x="566511" y="288998"/>
                      </a:cubicBezTo>
                      <a:cubicBezTo>
                        <a:pt x="573454" y="291322"/>
                        <a:pt x="582561" y="290989"/>
                        <a:pt x="589828" y="291894"/>
                      </a:cubicBezTo>
                      <a:cubicBezTo>
                        <a:pt x="597000" y="292780"/>
                        <a:pt x="642501" y="302371"/>
                        <a:pt x="644816" y="295875"/>
                      </a:cubicBezTo>
                      <a:cubicBezTo>
                        <a:pt x="649769" y="302019"/>
                        <a:pt x="657389" y="308705"/>
                        <a:pt x="660875" y="315725"/>
                      </a:cubicBezTo>
                      <a:cubicBezTo>
                        <a:pt x="664437" y="322907"/>
                        <a:pt x="660265" y="335575"/>
                        <a:pt x="659056" y="343872"/>
                      </a:cubicBezTo>
                      <a:cubicBezTo>
                        <a:pt x="657618" y="353759"/>
                        <a:pt x="656132" y="363636"/>
                        <a:pt x="654607" y="373514"/>
                      </a:cubicBezTo>
                      <a:cubicBezTo>
                        <a:pt x="653617" y="379981"/>
                        <a:pt x="653845" y="380600"/>
                        <a:pt x="647873" y="383229"/>
                      </a:cubicBezTo>
                      <a:cubicBezTo>
                        <a:pt x="643473" y="385172"/>
                        <a:pt x="638701" y="386553"/>
                        <a:pt x="634176" y="388201"/>
                      </a:cubicBezTo>
                      <a:cubicBezTo>
                        <a:pt x="615117" y="395126"/>
                        <a:pt x="596048" y="402012"/>
                        <a:pt x="576969" y="408909"/>
                      </a:cubicBezTo>
                      <a:cubicBezTo>
                        <a:pt x="560758" y="414766"/>
                        <a:pt x="543375" y="415967"/>
                        <a:pt x="526315" y="418357"/>
                      </a:cubicBezTo>
                      <a:cubicBezTo>
                        <a:pt x="509637" y="420700"/>
                        <a:pt x="489253" y="420548"/>
                        <a:pt x="474118" y="428044"/>
                      </a:cubicBezTo>
                      <a:cubicBezTo>
                        <a:pt x="466565" y="431778"/>
                        <a:pt x="456926" y="435721"/>
                        <a:pt x="451477" y="441979"/>
                      </a:cubicBezTo>
                      <a:cubicBezTo>
                        <a:pt x="446124" y="448132"/>
                        <a:pt x="440057" y="456991"/>
                        <a:pt x="437218" y="464554"/>
                      </a:cubicBezTo>
                      <a:cubicBezTo>
                        <a:pt x="434056" y="473002"/>
                        <a:pt x="428179" y="481784"/>
                        <a:pt x="418864" y="474088"/>
                      </a:cubicBezTo>
                      <a:cubicBezTo>
                        <a:pt x="416235" y="471916"/>
                        <a:pt x="414882" y="468078"/>
                        <a:pt x="411558" y="467144"/>
                      </a:cubicBezTo>
                      <a:cubicBezTo>
                        <a:pt x="408110" y="466173"/>
                        <a:pt x="402690" y="468230"/>
                        <a:pt x="399061" y="468202"/>
                      </a:cubicBezTo>
                      <a:cubicBezTo>
                        <a:pt x="381935" y="468068"/>
                        <a:pt x="366810" y="461258"/>
                        <a:pt x="350036" y="462087"/>
                      </a:cubicBezTo>
                      <a:cubicBezTo>
                        <a:pt x="341959" y="462487"/>
                        <a:pt x="332805" y="465192"/>
                        <a:pt x="325433" y="465173"/>
                      </a:cubicBezTo>
                      <a:cubicBezTo>
                        <a:pt x="318518" y="465154"/>
                        <a:pt x="313679" y="456210"/>
                        <a:pt x="306764" y="460944"/>
                      </a:cubicBezTo>
                      <a:cubicBezTo>
                        <a:pt x="301506" y="464534"/>
                        <a:pt x="305469" y="464630"/>
                        <a:pt x="304707" y="468021"/>
                      </a:cubicBezTo>
                      <a:cubicBezTo>
                        <a:pt x="303954" y="471364"/>
                        <a:pt x="301925" y="473345"/>
                        <a:pt x="302830" y="478098"/>
                      </a:cubicBezTo>
                      <a:cubicBezTo>
                        <a:pt x="303859" y="483518"/>
                        <a:pt x="305469" y="481222"/>
                        <a:pt x="303116" y="486194"/>
                      </a:cubicBezTo>
                      <a:cubicBezTo>
                        <a:pt x="301125" y="490404"/>
                        <a:pt x="298382" y="492395"/>
                        <a:pt x="294667" y="495348"/>
                      </a:cubicBezTo>
                      <a:cubicBezTo>
                        <a:pt x="293400" y="488375"/>
                        <a:pt x="288429" y="480908"/>
                        <a:pt x="284180" y="476098"/>
                      </a:cubicBezTo>
                      <a:cubicBezTo>
                        <a:pt x="278265" y="469392"/>
                        <a:pt x="275941" y="461725"/>
                        <a:pt x="268855" y="455933"/>
                      </a:cubicBezTo>
                      <a:cubicBezTo>
                        <a:pt x="261044" y="449542"/>
                        <a:pt x="254138" y="445513"/>
                        <a:pt x="248814" y="436579"/>
                      </a:cubicBezTo>
                      <a:cubicBezTo>
                        <a:pt x="244385" y="429140"/>
                        <a:pt x="239175" y="423625"/>
                        <a:pt x="235974" y="415652"/>
                      </a:cubicBezTo>
                      <a:cubicBezTo>
                        <a:pt x="229126" y="398631"/>
                        <a:pt x="217791" y="385915"/>
                        <a:pt x="202827" y="376257"/>
                      </a:cubicBezTo>
                      <a:cubicBezTo>
                        <a:pt x="194902" y="371142"/>
                        <a:pt x="187235" y="371275"/>
                        <a:pt x="181034" y="363179"/>
                      </a:cubicBezTo>
                      <a:cubicBezTo>
                        <a:pt x="176071" y="356692"/>
                        <a:pt x="165241" y="348215"/>
                        <a:pt x="163327" y="340005"/>
                      </a:cubicBezTo>
                      <a:cubicBezTo>
                        <a:pt x="162927" y="338309"/>
                        <a:pt x="164641" y="336509"/>
                        <a:pt x="164213" y="334566"/>
                      </a:cubicBezTo>
                      <a:cubicBezTo>
                        <a:pt x="163670" y="332051"/>
                        <a:pt x="162279" y="329994"/>
                        <a:pt x="161108" y="327717"/>
                      </a:cubicBezTo>
                      <a:cubicBezTo>
                        <a:pt x="158669" y="322974"/>
                        <a:pt x="157669" y="320774"/>
                        <a:pt x="158021" y="315240"/>
                      </a:cubicBezTo>
                      <a:cubicBezTo>
                        <a:pt x="158660" y="305143"/>
                        <a:pt x="157936" y="297114"/>
                        <a:pt x="150458" y="290265"/>
                      </a:cubicBezTo>
                      <a:cubicBezTo>
                        <a:pt x="151049" y="290265"/>
                        <a:pt x="151630" y="290265"/>
                        <a:pt x="152221" y="290275"/>
                      </a:cubicBezTo>
                      <a:cubicBezTo>
                        <a:pt x="146267" y="285512"/>
                        <a:pt x="143334" y="277244"/>
                        <a:pt x="138905" y="271034"/>
                      </a:cubicBezTo>
                      <a:cubicBezTo>
                        <a:pt x="134037" y="264224"/>
                        <a:pt x="129532" y="258490"/>
                        <a:pt x="122484" y="253708"/>
                      </a:cubicBezTo>
                      <a:cubicBezTo>
                        <a:pt x="119884" y="251936"/>
                        <a:pt x="116873" y="250470"/>
                        <a:pt x="114397" y="249174"/>
                      </a:cubicBezTo>
                      <a:cubicBezTo>
                        <a:pt x="111568" y="247698"/>
                        <a:pt x="106663" y="247469"/>
                        <a:pt x="104082" y="245859"/>
                      </a:cubicBezTo>
                      <a:cubicBezTo>
                        <a:pt x="99548" y="243040"/>
                        <a:pt x="92623" y="230981"/>
                        <a:pt x="91909" y="227543"/>
                      </a:cubicBezTo>
                      <a:cubicBezTo>
                        <a:pt x="91280" y="224533"/>
                        <a:pt x="92404" y="222333"/>
                        <a:pt x="90642" y="218808"/>
                      </a:cubicBezTo>
                      <a:cubicBezTo>
                        <a:pt x="88517" y="214579"/>
                        <a:pt x="85241" y="210436"/>
                        <a:pt x="82221" y="206845"/>
                      </a:cubicBezTo>
                      <a:cubicBezTo>
                        <a:pt x="80117" y="204330"/>
                        <a:pt x="77164" y="202673"/>
                        <a:pt x="75192" y="200368"/>
                      </a:cubicBezTo>
                      <a:cubicBezTo>
                        <a:pt x="73011" y="197815"/>
                        <a:pt x="72563" y="193139"/>
                        <a:pt x="70477" y="190834"/>
                      </a:cubicBezTo>
                      <a:cubicBezTo>
                        <a:pt x="68706" y="188890"/>
                        <a:pt x="65648" y="188157"/>
                        <a:pt x="63638" y="185938"/>
                      </a:cubicBezTo>
                      <a:cubicBezTo>
                        <a:pt x="60285" y="182242"/>
                        <a:pt x="58476" y="177165"/>
                        <a:pt x="55294" y="173327"/>
                      </a:cubicBezTo>
                      <a:cubicBezTo>
                        <a:pt x="50208" y="167183"/>
                        <a:pt x="44560" y="161535"/>
                        <a:pt x="39569" y="155372"/>
                      </a:cubicBezTo>
                      <a:cubicBezTo>
                        <a:pt x="33996" y="148504"/>
                        <a:pt x="28653" y="141294"/>
                        <a:pt x="22871" y="134446"/>
                      </a:cubicBezTo>
                      <a:cubicBezTo>
                        <a:pt x="18833" y="129654"/>
                        <a:pt x="6384" y="119691"/>
                        <a:pt x="402" y="127026"/>
                      </a:cubicBezTo>
                      <a:cubicBezTo>
                        <a:pt x="-1217" y="122254"/>
                        <a:pt x="2573" y="112938"/>
                        <a:pt x="2650" y="107414"/>
                      </a:cubicBezTo>
                      <a:cubicBezTo>
                        <a:pt x="2745" y="100432"/>
                        <a:pt x="3583" y="93402"/>
                        <a:pt x="4107" y="86420"/>
                      </a:cubicBezTo>
                      <a:cubicBezTo>
                        <a:pt x="13194" y="87868"/>
                        <a:pt x="22424" y="89973"/>
                        <a:pt x="31587" y="90811"/>
                      </a:cubicBezTo>
                      <a:cubicBezTo>
                        <a:pt x="40892" y="91659"/>
                        <a:pt x="46722" y="84544"/>
                        <a:pt x="50941" y="76572"/>
                      </a:cubicBezTo>
                      <a:cubicBezTo>
                        <a:pt x="56552" y="65970"/>
                        <a:pt x="64524" y="72085"/>
                        <a:pt x="73335" y="66551"/>
                      </a:cubicBezTo>
                      <a:cubicBezTo>
                        <a:pt x="77393" y="63999"/>
                        <a:pt x="75468" y="60493"/>
                        <a:pt x="78145" y="56588"/>
                      </a:cubicBezTo>
                      <a:cubicBezTo>
                        <a:pt x="80174" y="53626"/>
                        <a:pt x="84308" y="52102"/>
                        <a:pt x="87451" y="50302"/>
                      </a:cubicBezTo>
                      <a:cubicBezTo>
                        <a:pt x="75897" y="39681"/>
                        <a:pt x="64220" y="29299"/>
                        <a:pt x="52313" y="19069"/>
                      </a:cubicBezTo>
                      <a:cubicBezTo>
                        <a:pt x="68982" y="14297"/>
                        <a:pt x="85717" y="9735"/>
                        <a:pt x="102338" y="4829"/>
                      </a:cubicBezTo>
                      <a:cubicBezTo>
                        <a:pt x="105634" y="3858"/>
                        <a:pt x="107997" y="2010"/>
                        <a:pt x="110768" y="972"/>
                      </a:cubicBezTo>
                      <a:cubicBezTo>
                        <a:pt x="115216" y="-686"/>
                        <a:pt x="118883" y="105"/>
                        <a:pt x="124198" y="934"/>
                      </a:cubicBezTo>
                      <a:cubicBezTo>
                        <a:pt x="132637" y="2239"/>
                        <a:pt x="142067" y="2667"/>
                        <a:pt x="150164" y="5353"/>
                      </a:cubicBezTo>
                      <a:cubicBezTo>
                        <a:pt x="182777" y="16212"/>
                        <a:pt x="212219" y="38319"/>
                        <a:pt x="240480" y="57064"/>
                      </a:cubicBezTo>
                      <a:cubicBezTo>
                        <a:pt x="257529" y="68399"/>
                        <a:pt x="274655" y="82277"/>
                        <a:pt x="292924" y="91469"/>
                      </a:cubicBezTo>
                      <a:lnTo>
                        <a:pt x="292924" y="91469"/>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73" name="Freeform: Shape 572">
                  <a:extLst>
                    <a:ext uri="{FF2B5EF4-FFF2-40B4-BE49-F238E27FC236}">
                      <a16:creationId xmlns:a16="http://schemas.microsoft.com/office/drawing/2014/main" id="{79339AA7-A628-4F23-8E2D-330681538258}"/>
                    </a:ext>
                  </a:extLst>
                </p:cNvPr>
                <p:cNvSpPr/>
                <p:nvPr/>
              </p:nvSpPr>
              <p:spPr>
                <a:xfrm>
                  <a:off x="5073057" y="3493546"/>
                  <a:ext cx="262646" cy="215953"/>
                </a:xfrm>
                <a:custGeom>
                  <a:avLst/>
                  <a:gdLst>
                    <a:gd name="connsiteX0" fmla="*/ 262218 w 262646"/>
                    <a:gd name="connsiteY0" fmla="*/ 11842 h 215953"/>
                    <a:gd name="connsiteX1" fmla="*/ 261008 w 262646"/>
                    <a:gd name="connsiteY1" fmla="*/ 47532 h 215953"/>
                    <a:gd name="connsiteX2" fmla="*/ 252008 w 262646"/>
                    <a:gd name="connsiteY2" fmla="*/ 52495 h 215953"/>
                    <a:gd name="connsiteX3" fmla="*/ 237206 w 262646"/>
                    <a:gd name="connsiteY3" fmla="*/ 52495 h 215953"/>
                    <a:gd name="connsiteX4" fmla="*/ 177646 w 262646"/>
                    <a:gd name="connsiteY4" fmla="*/ 52495 h 215953"/>
                    <a:gd name="connsiteX5" fmla="*/ 164473 w 262646"/>
                    <a:gd name="connsiteY5" fmla="*/ 52504 h 215953"/>
                    <a:gd name="connsiteX6" fmla="*/ 160996 w 262646"/>
                    <a:gd name="connsiteY6" fmla="*/ 56257 h 215953"/>
                    <a:gd name="connsiteX7" fmla="*/ 160596 w 262646"/>
                    <a:gd name="connsiteY7" fmla="*/ 64801 h 215953"/>
                    <a:gd name="connsiteX8" fmla="*/ 159272 w 262646"/>
                    <a:gd name="connsiteY8" fmla="*/ 94824 h 215953"/>
                    <a:gd name="connsiteX9" fmla="*/ 157957 w 262646"/>
                    <a:gd name="connsiteY9" fmla="*/ 124894 h 215953"/>
                    <a:gd name="connsiteX10" fmla="*/ 151166 w 262646"/>
                    <a:gd name="connsiteY10" fmla="*/ 134972 h 215953"/>
                    <a:gd name="connsiteX11" fmla="*/ 136422 w 262646"/>
                    <a:gd name="connsiteY11" fmla="*/ 140134 h 215953"/>
                    <a:gd name="connsiteX12" fmla="*/ 123496 w 262646"/>
                    <a:gd name="connsiteY12" fmla="*/ 150488 h 215953"/>
                    <a:gd name="connsiteX13" fmla="*/ 123801 w 262646"/>
                    <a:gd name="connsiteY13" fmla="*/ 164566 h 215953"/>
                    <a:gd name="connsiteX14" fmla="*/ 124573 w 262646"/>
                    <a:gd name="connsiteY14" fmla="*/ 199323 h 215953"/>
                    <a:gd name="connsiteX15" fmla="*/ 54906 w 262646"/>
                    <a:gd name="connsiteY15" fmla="*/ 199399 h 215953"/>
                    <a:gd name="connsiteX16" fmla="*/ 20016 w 262646"/>
                    <a:gd name="connsiteY16" fmla="*/ 199437 h 215953"/>
                    <a:gd name="connsiteX17" fmla="*/ 4329 w 262646"/>
                    <a:gd name="connsiteY17" fmla="*/ 199923 h 215953"/>
                    <a:gd name="connsiteX18" fmla="*/ 1033 w 262646"/>
                    <a:gd name="connsiteY18" fmla="*/ 215953 h 215953"/>
                    <a:gd name="connsiteX19" fmla="*/ 3062 w 262646"/>
                    <a:gd name="connsiteY19" fmla="*/ 198418 h 215953"/>
                    <a:gd name="connsiteX20" fmla="*/ 15187 w 262646"/>
                    <a:gd name="connsiteY20" fmla="*/ 194789 h 215953"/>
                    <a:gd name="connsiteX21" fmla="*/ 50382 w 262646"/>
                    <a:gd name="connsiteY21" fmla="*/ 195636 h 215953"/>
                    <a:gd name="connsiteX22" fmla="*/ 66289 w 262646"/>
                    <a:gd name="connsiteY22" fmla="*/ 195856 h 215953"/>
                    <a:gd name="connsiteX23" fmla="*/ 76585 w 262646"/>
                    <a:gd name="connsiteY23" fmla="*/ 185102 h 215953"/>
                    <a:gd name="connsiteX24" fmla="*/ 90283 w 262646"/>
                    <a:gd name="connsiteY24" fmla="*/ 164766 h 215953"/>
                    <a:gd name="connsiteX25" fmla="*/ 97074 w 262646"/>
                    <a:gd name="connsiteY25" fmla="*/ 133895 h 215953"/>
                    <a:gd name="connsiteX26" fmla="*/ 119324 w 262646"/>
                    <a:gd name="connsiteY26" fmla="*/ 115950 h 215953"/>
                    <a:gd name="connsiteX27" fmla="*/ 126973 w 262646"/>
                    <a:gd name="connsiteY27" fmla="*/ 103530 h 215953"/>
                    <a:gd name="connsiteX28" fmla="*/ 138365 w 262646"/>
                    <a:gd name="connsiteY28" fmla="*/ 95500 h 215953"/>
                    <a:gd name="connsiteX29" fmla="*/ 154700 w 262646"/>
                    <a:gd name="connsiteY29" fmla="*/ 68220 h 215953"/>
                    <a:gd name="connsiteX30" fmla="*/ 159491 w 262646"/>
                    <a:gd name="connsiteY30" fmla="*/ 53714 h 215953"/>
                    <a:gd name="connsiteX31" fmla="*/ 170254 w 262646"/>
                    <a:gd name="connsiteY31" fmla="*/ 49047 h 215953"/>
                    <a:gd name="connsiteX32" fmla="*/ 177589 w 262646"/>
                    <a:gd name="connsiteY32" fmla="*/ 36731 h 215953"/>
                    <a:gd name="connsiteX33" fmla="*/ 181075 w 262646"/>
                    <a:gd name="connsiteY33" fmla="*/ 24520 h 215953"/>
                    <a:gd name="connsiteX34" fmla="*/ 210221 w 262646"/>
                    <a:gd name="connsiteY34" fmla="*/ 23024 h 215953"/>
                    <a:gd name="connsiteX35" fmla="*/ 232348 w 262646"/>
                    <a:gd name="connsiteY35" fmla="*/ 23663 h 215953"/>
                    <a:gd name="connsiteX36" fmla="*/ 243616 w 262646"/>
                    <a:gd name="connsiteY36" fmla="*/ 17747 h 215953"/>
                    <a:gd name="connsiteX37" fmla="*/ 257332 w 262646"/>
                    <a:gd name="connsiteY37" fmla="*/ 17309 h 215953"/>
                    <a:gd name="connsiteX38" fmla="*/ 258656 w 262646"/>
                    <a:gd name="connsiteY38" fmla="*/ 164 h 215953"/>
                    <a:gd name="connsiteX39" fmla="*/ 262647 w 262646"/>
                    <a:gd name="connsiteY39" fmla="*/ 164 h 215953"/>
                    <a:gd name="connsiteX40" fmla="*/ 262218 w 262646"/>
                    <a:gd name="connsiteY40" fmla="*/ 11842 h 215953"/>
                    <a:gd name="connsiteX41" fmla="*/ 262218 w 262646"/>
                    <a:gd name="connsiteY41" fmla="*/ 11842 h 215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62646" h="215953">
                      <a:moveTo>
                        <a:pt x="262218" y="11842"/>
                      </a:moveTo>
                      <a:cubicBezTo>
                        <a:pt x="261818" y="22939"/>
                        <a:pt x="263685" y="36826"/>
                        <a:pt x="261008" y="47532"/>
                      </a:cubicBezTo>
                      <a:cubicBezTo>
                        <a:pt x="259399" y="53962"/>
                        <a:pt x="259427" y="52485"/>
                        <a:pt x="252008" y="52495"/>
                      </a:cubicBezTo>
                      <a:cubicBezTo>
                        <a:pt x="247074" y="52495"/>
                        <a:pt x="242140" y="52495"/>
                        <a:pt x="237206" y="52495"/>
                      </a:cubicBezTo>
                      <a:cubicBezTo>
                        <a:pt x="217356" y="52514"/>
                        <a:pt x="197496" y="52476"/>
                        <a:pt x="177646" y="52495"/>
                      </a:cubicBezTo>
                      <a:cubicBezTo>
                        <a:pt x="173874" y="52495"/>
                        <a:pt x="168025" y="51304"/>
                        <a:pt x="164473" y="52504"/>
                      </a:cubicBezTo>
                      <a:cubicBezTo>
                        <a:pt x="159405" y="54228"/>
                        <a:pt x="162806" y="51333"/>
                        <a:pt x="160996" y="56257"/>
                      </a:cubicBezTo>
                      <a:cubicBezTo>
                        <a:pt x="160224" y="58353"/>
                        <a:pt x="160691" y="62601"/>
                        <a:pt x="160596" y="64801"/>
                      </a:cubicBezTo>
                      <a:cubicBezTo>
                        <a:pt x="160158" y="74812"/>
                        <a:pt x="159710" y="84823"/>
                        <a:pt x="159272" y="94824"/>
                      </a:cubicBezTo>
                      <a:cubicBezTo>
                        <a:pt x="158834" y="104844"/>
                        <a:pt x="158539" y="114883"/>
                        <a:pt x="157957" y="124894"/>
                      </a:cubicBezTo>
                      <a:cubicBezTo>
                        <a:pt x="157567" y="131524"/>
                        <a:pt x="157472" y="132543"/>
                        <a:pt x="151166" y="134972"/>
                      </a:cubicBezTo>
                      <a:cubicBezTo>
                        <a:pt x="146070" y="136934"/>
                        <a:pt x="141213" y="137572"/>
                        <a:pt x="136422" y="140134"/>
                      </a:cubicBezTo>
                      <a:cubicBezTo>
                        <a:pt x="132221" y="142373"/>
                        <a:pt x="125716" y="146164"/>
                        <a:pt x="123496" y="150488"/>
                      </a:cubicBezTo>
                      <a:cubicBezTo>
                        <a:pt x="120962" y="155412"/>
                        <a:pt x="123277" y="159384"/>
                        <a:pt x="123801" y="164566"/>
                      </a:cubicBezTo>
                      <a:cubicBezTo>
                        <a:pt x="124963" y="175958"/>
                        <a:pt x="124325" y="187874"/>
                        <a:pt x="124573" y="199323"/>
                      </a:cubicBezTo>
                      <a:cubicBezTo>
                        <a:pt x="101350" y="199342"/>
                        <a:pt x="78129" y="199361"/>
                        <a:pt x="54906" y="199399"/>
                      </a:cubicBezTo>
                      <a:cubicBezTo>
                        <a:pt x="43277" y="199418"/>
                        <a:pt x="31647" y="199418"/>
                        <a:pt x="20016" y="199437"/>
                      </a:cubicBezTo>
                      <a:cubicBezTo>
                        <a:pt x="16426" y="199446"/>
                        <a:pt x="6805" y="197827"/>
                        <a:pt x="4329" y="199923"/>
                      </a:cubicBezTo>
                      <a:cubicBezTo>
                        <a:pt x="2033" y="201866"/>
                        <a:pt x="500" y="213220"/>
                        <a:pt x="1033" y="215953"/>
                      </a:cubicBezTo>
                      <a:cubicBezTo>
                        <a:pt x="-1291" y="213191"/>
                        <a:pt x="709" y="201475"/>
                        <a:pt x="3062" y="198418"/>
                      </a:cubicBezTo>
                      <a:cubicBezTo>
                        <a:pt x="5548" y="195179"/>
                        <a:pt x="10463" y="195141"/>
                        <a:pt x="15187" y="194789"/>
                      </a:cubicBezTo>
                      <a:cubicBezTo>
                        <a:pt x="27132" y="193874"/>
                        <a:pt x="38533" y="194674"/>
                        <a:pt x="50382" y="195636"/>
                      </a:cubicBezTo>
                      <a:cubicBezTo>
                        <a:pt x="55107" y="196017"/>
                        <a:pt x="61622" y="196732"/>
                        <a:pt x="66289" y="195856"/>
                      </a:cubicBezTo>
                      <a:cubicBezTo>
                        <a:pt x="73395" y="194531"/>
                        <a:pt x="73976" y="191093"/>
                        <a:pt x="76585" y="185102"/>
                      </a:cubicBezTo>
                      <a:cubicBezTo>
                        <a:pt x="79653" y="178053"/>
                        <a:pt x="88063" y="172938"/>
                        <a:pt x="90283" y="164766"/>
                      </a:cubicBezTo>
                      <a:cubicBezTo>
                        <a:pt x="93026" y="154650"/>
                        <a:pt x="93264" y="143963"/>
                        <a:pt x="97074" y="133895"/>
                      </a:cubicBezTo>
                      <a:cubicBezTo>
                        <a:pt x="101998" y="120865"/>
                        <a:pt x="109990" y="123561"/>
                        <a:pt x="119324" y="115950"/>
                      </a:cubicBezTo>
                      <a:cubicBezTo>
                        <a:pt x="123067" y="112893"/>
                        <a:pt x="124039" y="107187"/>
                        <a:pt x="126973" y="103530"/>
                      </a:cubicBezTo>
                      <a:cubicBezTo>
                        <a:pt x="130107" y="99634"/>
                        <a:pt x="134174" y="98081"/>
                        <a:pt x="138365" y="95500"/>
                      </a:cubicBezTo>
                      <a:cubicBezTo>
                        <a:pt x="149461" y="88661"/>
                        <a:pt x="150795" y="80127"/>
                        <a:pt x="154700" y="68220"/>
                      </a:cubicBezTo>
                      <a:cubicBezTo>
                        <a:pt x="155995" y="64258"/>
                        <a:pt x="157081" y="56952"/>
                        <a:pt x="159491" y="53714"/>
                      </a:cubicBezTo>
                      <a:cubicBezTo>
                        <a:pt x="162530" y="49628"/>
                        <a:pt x="166806" y="52019"/>
                        <a:pt x="170254" y="49047"/>
                      </a:cubicBezTo>
                      <a:cubicBezTo>
                        <a:pt x="173007" y="46685"/>
                        <a:pt x="174807" y="39846"/>
                        <a:pt x="177589" y="36731"/>
                      </a:cubicBezTo>
                      <a:cubicBezTo>
                        <a:pt x="181961" y="31835"/>
                        <a:pt x="184285" y="31102"/>
                        <a:pt x="181075" y="24520"/>
                      </a:cubicBezTo>
                      <a:cubicBezTo>
                        <a:pt x="192486" y="22177"/>
                        <a:pt x="198906" y="19357"/>
                        <a:pt x="210221" y="23024"/>
                      </a:cubicBezTo>
                      <a:cubicBezTo>
                        <a:pt x="216117" y="24939"/>
                        <a:pt x="226881" y="26587"/>
                        <a:pt x="232348" y="23663"/>
                      </a:cubicBezTo>
                      <a:cubicBezTo>
                        <a:pt x="236691" y="21348"/>
                        <a:pt x="238539" y="18414"/>
                        <a:pt x="243616" y="17747"/>
                      </a:cubicBezTo>
                      <a:cubicBezTo>
                        <a:pt x="247540" y="17233"/>
                        <a:pt x="253789" y="19548"/>
                        <a:pt x="257332" y="17309"/>
                      </a:cubicBezTo>
                      <a:cubicBezTo>
                        <a:pt x="260875" y="15071"/>
                        <a:pt x="259980" y="5032"/>
                        <a:pt x="258656" y="164"/>
                      </a:cubicBezTo>
                      <a:cubicBezTo>
                        <a:pt x="259551" y="-45"/>
                        <a:pt x="261761" y="-64"/>
                        <a:pt x="262647" y="164"/>
                      </a:cubicBezTo>
                      <a:cubicBezTo>
                        <a:pt x="262494" y="4060"/>
                        <a:pt x="262352" y="7946"/>
                        <a:pt x="262218" y="11842"/>
                      </a:cubicBezTo>
                      <a:lnTo>
                        <a:pt x="262218" y="11842"/>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74" name="Freeform: Shape 573">
                  <a:extLst>
                    <a:ext uri="{FF2B5EF4-FFF2-40B4-BE49-F238E27FC236}">
                      <a16:creationId xmlns:a16="http://schemas.microsoft.com/office/drawing/2014/main" id="{627FE083-BE47-40E1-9C4F-5FE0E4FF273B}"/>
                    </a:ext>
                  </a:extLst>
                </p:cNvPr>
                <p:cNvSpPr/>
                <p:nvPr/>
              </p:nvSpPr>
              <p:spPr>
                <a:xfrm>
                  <a:off x="6502158" y="4398303"/>
                  <a:ext cx="63222" cy="55358"/>
                </a:xfrm>
                <a:custGeom>
                  <a:avLst/>
                  <a:gdLst>
                    <a:gd name="connsiteX0" fmla="*/ 52412 w 63222"/>
                    <a:gd name="connsiteY0" fmla="*/ 205 h 55358"/>
                    <a:gd name="connsiteX1" fmla="*/ 59480 w 63222"/>
                    <a:gd name="connsiteY1" fmla="*/ 11569 h 55358"/>
                    <a:gd name="connsiteX2" fmla="*/ 61956 w 63222"/>
                    <a:gd name="connsiteY2" fmla="*/ 28571 h 55358"/>
                    <a:gd name="connsiteX3" fmla="*/ 60042 w 63222"/>
                    <a:gd name="connsiteY3" fmla="*/ 41296 h 55358"/>
                    <a:gd name="connsiteX4" fmla="*/ 48926 w 63222"/>
                    <a:gd name="connsiteY4" fmla="*/ 39448 h 55358"/>
                    <a:gd name="connsiteX5" fmla="*/ 42602 w 63222"/>
                    <a:gd name="connsiteY5" fmla="*/ 41001 h 55358"/>
                    <a:gd name="connsiteX6" fmla="*/ 40106 w 63222"/>
                    <a:gd name="connsiteY6" fmla="*/ 42677 h 55358"/>
                    <a:gd name="connsiteX7" fmla="*/ 36162 w 63222"/>
                    <a:gd name="connsiteY7" fmla="*/ 40830 h 55358"/>
                    <a:gd name="connsiteX8" fmla="*/ 33314 w 63222"/>
                    <a:gd name="connsiteY8" fmla="*/ 45849 h 55358"/>
                    <a:gd name="connsiteX9" fmla="*/ 30409 w 63222"/>
                    <a:gd name="connsiteY9" fmla="*/ 52945 h 55358"/>
                    <a:gd name="connsiteX10" fmla="*/ 15398 w 63222"/>
                    <a:gd name="connsiteY10" fmla="*/ 54517 h 55358"/>
                    <a:gd name="connsiteX11" fmla="*/ 4873 w 63222"/>
                    <a:gd name="connsiteY11" fmla="*/ 52279 h 55358"/>
                    <a:gd name="connsiteX12" fmla="*/ 330 w 63222"/>
                    <a:gd name="connsiteY12" fmla="*/ 42934 h 55358"/>
                    <a:gd name="connsiteX13" fmla="*/ 8721 w 63222"/>
                    <a:gd name="connsiteY13" fmla="*/ 35753 h 55358"/>
                    <a:gd name="connsiteX14" fmla="*/ 9102 w 63222"/>
                    <a:gd name="connsiteY14" fmla="*/ 24151 h 55358"/>
                    <a:gd name="connsiteX15" fmla="*/ 17036 w 63222"/>
                    <a:gd name="connsiteY15" fmla="*/ 14159 h 55358"/>
                    <a:gd name="connsiteX16" fmla="*/ 25075 w 63222"/>
                    <a:gd name="connsiteY16" fmla="*/ 10026 h 55358"/>
                    <a:gd name="connsiteX17" fmla="*/ 35029 w 63222"/>
                    <a:gd name="connsiteY17" fmla="*/ 12521 h 55358"/>
                    <a:gd name="connsiteX18" fmla="*/ 52412 w 63222"/>
                    <a:gd name="connsiteY18" fmla="*/ 205 h 55358"/>
                    <a:gd name="connsiteX19" fmla="*/ 52412 w 63222"/>
                    <a:gd name="connsiteY19" fmla="*/ 205 h 55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222" h="55358">
                      <a:moveTo>
                        <a:pt x="52412" y="205"/>
                      </a:moveTo>
                      <a:cubicBezTo>
                        <a:pt x="48202" y="4396"/>
                        <a:pt x="57489" y="8797"/>
                        <a:pt x="59480" y="11569"/>
                      </a:cubicBezTo>
                      <a:cubicBezTo>
                        <a:pt x="63423" y="17065"/>
                        <a:pt x="61280" y="22341"/>
                        <a:pt x="61956" y="28571"/>
                      </a:cubicBezTo>
                      <a:cubicBezTo>
                        <a:pt x="62471" y="33429"/>
                        <a:pt x="65414" y="37991"/>
                        <a:pt x="60042" y="41296"/>
                      </a:cubicBezTo>
                      <a:cubicBezTo>
                        <a:pt x="55612" y="44020"/>
                        <a:pt x="52307" y="39744"/>
                        <a:pt x="48926" y="39448"/>
                      </a:cubicBezTo>
                      <a:cubicBezTo>
                        <a:pt x="46935" y="39277"/>
                        <a:pt x="44478" y="40753"/>
                        <a:pt x="42602" y="41001"/>
                      </a:cubicBezTo>
                      <a:cubicBezTo>
                        <a:pt x="41535" y="41153"/>
                        <a:pt x="41183" y="42668"/>
                        <a:pt x="40106" y="42677"/>
                      </a:cubicBezTo>
                      <a:cubicBezTo>
                        <a:pt x="39106" y="42687"/>
                        <a:pt x="36515" y="40696"/>
                        <a:pt x="36162" y="40830"/>
                      </a:cubicBezTo>
                      <a:cubicBezTo>
                        <a:pt x="33134" y="41896"/>
                        <a:pt x="34610" y="40906"/>
                        <a:pt x="33314" y="45849"/>
                      </a:cubicBezTo>
                      <a:cubicBezTo>
                        <a:pt x="32477" y="49050"/>
                        <a:pt x="33048" y="50812"/>
                        <a:pt x="30409" y="52945"/>
                      </a:cubicBezTo>
                      <a:cubicBezTo>
                        <a:pt x="27495" y="55298"/>
                        <a:pt x="18655" y="56146"/>
                        <a:pt x="15398" y="54517"/>
                      </a:cubicBezTo>
                      <a:cubicBezTo>
                        <a:pt x="13827" y="53736"/>
                        <a:pt x="5692" y="42268"/>
                        <a:pt x="4873" y="52279"/>
                      </a:cubicBezTo>
                      <a:cubicBezTo>
                        <a:pt x="1501" y="51698"/>
                        <a:pt x="-909" y="45982"/>
                        <a:pt x="330" y="42934"/>
                      </a:cubicBezTo>
                      <a:cubicBezTo>
                        <a:pt x="1720" y="39544"/>
                        <a:pt x="7111" y="39039"/>
                        <a:pt x="8721" y="35753"/>
                      </a:cubicBezTo>
                      <a:cubicBezTo>
                        <a:pt x="10483" y="32181"/>
                        <a:pt x="8045" y="27799"/>
                        <a:pt x="9102" y="24151"/>
                      </a:cubicBezTo>
                      <a:cubicBezTo>
                        <a:pt x="10264" y="20122"/>
                        <a:pt x="14150" y="16465"/>
                        <a:pt x="17036" y="14159"/>
                      </a:cubicBezTo>
                      <a:cubicBezTo>
                        <a:pt x="19551" y="12140"/>
                        <a:pt x="22161" y="10959"/>
                        <a:pt x="25075" y="10026"/>
                      </a:cubicBezTo>
                      <a:cubicBezTo>
                        <a:pt x="32638" y="7626"/>
                        <a:pt x="29943" y="12550"/>
                        <a:pt x="35029" y="12521"/>
                      </a:cubicBezTo>
                      <a:cubicBezTo>
                        <a:pt x="42830" y="12483"/>
                        <a:pt x="43735" y="-1871"/>
                        <a:pt x="52412" y="205"/>
                      </a:cubicBezTo>
                      <a:lnTo>
                        <a:pt x="52412" y="205"/>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75" name="Freeform: Shape 574">
                  <a:extLst>
                    <a:ext uri="{FF2B5EF4-FFF2-40B4-BE49-F238E27FC236}">
                      <a16:creationId xmlns:a16="http://schemas.microsoft.com/office/drawing/2014/main" id="{A4F563A9-6D08-48A8-91C2-1AF0909ED0A3}"/>
                    </a:ext>
                  </a:extLst>
                </p:cNvPr>
                <p:cNvSpPr/>
                <p:nvPr/>
              </p:nvSpPr>
              <p:spPr>
                <a:xfrm>
                  <a:off x="6133423" y="2844929"/>
                  <a:ext cx="257643" cy="144706"/>
                </a:xfrm>
                <a:custGeom>
                  <a:avLst/>
                  <a:gdLst>
                    <a:gd name="connsiteX0" fmla="*/ 216227 w 257643"/>
                    <a:gd name="connsiteY0" fmla="*/ 88273 h 144706"/>
                    <a:gd name="connsiteX1" fmla="*/ 232839 w 257643"/>
                    <a:gd name="connsiteY1" fmla="*/ 94874 h 144706"/>
                    <a:gd name="connsiteX2" fmla="*/ 239563 w 257643"/>
                    <a:gd name="connsiteY2" fmla="*/ 91959 h 144706"/>
                    <a:gd name="connsiteX3" fmla="*/ 255604 w 257643"/>
                    <a:gd name="connsiteY3" fmla="*/ 92569 h 144706"/>
                    <a:gd name="connsiteX4" fmla="*/ 256880 w 257643"/>
                    <a:gd name="connsiteY4" fmla="*/ 104113 h 144706"/>
                    <a:gd name="connsiteX5" fmla="*/ 242545 w 257643"/>
                    <a:gd name="connsiteY5" fmla="*/ 110095 h 144706"/>
                    <a:gd name="connsiteX6" fmla="*/ 242592 w 257643"/>
                    <a:gd name="connsiteY6" fmla="*/ 103246 h 144706"/>
                    <a:gd name="connsiteX7" fmla="*/ 237125 w 257643"/>
                    <a:gd name="connsiteY7" fmla="*/ 116162 h 144706"/>
                    <a:gd name="connsiteX8" fmla="*/ 239268 w 257643"/>
                    <a:gd name="connsiteY8" fmla="*/ 115857 h 144706"/>
                    <a:gd name="connsiteX9" fmla="*/ 234791 w 257643"/>
                    <a:gd name="connsiteY9" fmla="*/ 127192 h 144706"/>
                    <a:gd name="connsiteX10" fmla="*/ 235658 w 257643"/>
                    <a:gd name="connsiteY10" fmla="*/ 142080 h 144706"/>
                    <a:gd name="connsiteX11" fmla="*/ 226752 w 257643"/>
                    <a:gd name="connsiteY11" fmla="*/ 141327 h 144706"/>
                    <a:gd name="connsiteX12" fmla="*/ 216370 w 257643"/>
                    <a:gd name="connsiteY12" fmla="*/ 135469 h 144706"/>
                    <a:gd name="connsiteX13" fmla="*/ 199349 w 257643"/>
                    <a:gd name="connsiteY13" fmla="*/ 131802 h 144706"/>
                    <a:gd name="connsiteX14" fmla="*/ 177775 w 257643"/>
                    <a:gd name="connsiteY14" fmla="*/ 131173 h 144706"/>
                    <a:gd name="connsiteX15" fmla="*/ 159611 w 257643"/>
                    <a:gd name="connsiteY15" fmla="*/ 141756 h 144706"/>
                    <a:gd name="connsiteX16" fmla="*/ 114595 w 257643"/>
                    <a:gd name="connsiteY16" fmla="*/ 141156 h 144706"/>
                    <a:gd name="connsiteX17" fmla="*/ 89659 w 257643"/>
                    <a:gd name="connsiteY17" fmla="*/ 137965 h 144706"/>
                    <a:gd name="connsiteX18" fmla="*/ 79991 w 257643"/>
                    <a:gd name="connsiteY18" fmla="*/ 138251 h 144706"/>
                    <a:gd name="connsiteX19" fmla="*/ 82077 w 257643"/>
                    <a:gd name="connsiteY19" fmla="*/ 133660 h 144706"/>
                    <a:gd name="connsiteX20" fmla="*/ 78524 w 257643"/>
                    <a:gd name="connsiteY20" fmla="*/ 128897 h 144706"/>
                    <a:gd name="connsiteX21" fmla="*/ 72628 w 257643"/>
                    <a:gd name="connsiteY21" fmla="*/ 124487 h 144706"/>
                    <a:gd name="connsiteX22" fmla="*/ 73305 w 257643"/>
                    <a:gd name="connsiteY22" fmla="*/ 116019 h 144706"/>
                    <a:gd name="connsiteX23" fmla="*/ 64418 w 257643"/>
                    <a:gd name="connsiteY23" fmla="*/ 112200 h 144706"/>
                    <a:gd name="connsiteX24" fmla="*/ 59417 w 257643"/>
                    <a:gd name="connsiteY24" fmla="*/ 115838 h 144706"/>
                    <a:gd name="connsiteX25" fmla="*/ 54026 w 257643"/>
                    <a:gd name="connsiteY25" fmla="*/ 114448 h 144706"/>
                    <a:gd name="connsiteX26" fmla="*/ 34995 w 257643"/>
                    <a:gd name="connsiteY26" fmla="*/ 106828 h 144706"/>
                    <a:gd name="connsiteX27" fmla="*/ 34242 w 257643"/>
                    <a:gd name="connsiteY27" fmla="*/ 102189 h 144706"/>
                    <a:gd name="connsiteX28" fmla="*/ 17364 w 257643"/>
                    <a:gd name="connsiteY28" fmla="*/ 87730 h 144706"/>
                    <a:gd name="connsiteX29" fmla="*/ 16126 w 257643"/>
                    <a:gd name="connsiteY29" fmla="*/ 82634 h 144706"/>
                    <a:gd name="connsiteX30" fmla="*/ 15697 w 257643"/>
                    <a:gd name="connsiteY30" fmla="*/ 78853 h 144706"/>
                    <a:gd name="connsiteX31" fmla="*/ 14002 w 257643"/>
                    <a:gd name="connsiteY31" fmla="*/ 79310 h 144706"/>
                    <a:gd name="connsiteX32" fmla="*/ 0 w 257643"/>
                    <a:gd name="connsiteY32" fmla="*/ 67556 h 144706"/>
                    <a:gd name="connsiteX33" fmla="*/ 12602 w 257643"/>
                    <a:gd name="connsiteY33" fmla="*/ 65013 h 144706"/>
                    <a:gd name="connsiteX34" fmla="*/ 15621 w 257643"/>
                    <a:gd name="connsiteY34" fmla="*/ 62832 h 144706"/>
                    <a:gd name="connsiteX35" fmla="*/ 23298 w 257643"/>
                    <a:gd name="connsiteY35" fmla="*/ 61565 h 144706"/>
                    <a:gd name="connsiteX36" fmla="*/ 26384 w 257643"/>
                    <a:gd name="connsiteY36" fmla="*/ 52459 h 144706"/>
                    <a:gd name="connsiteX37" fmla="*/ 32480 w 257643"/>
                    <a:gd name="connsiteY37" fmla="*/ 43315 h 144706"/>
                    <a:gd name="connsiteX38" fmla="*/ 43806 w 257643"/>
                    <a:gd name="connsiteY38" fmla="*/ 20998 h 144706"/>
                    <a:gd name="connsiteX39" fmla="*/ 54378 w 257643"/>
                    <a:gd name="connsiteY39" fmla="*/ 15531 h 144706"/>
                    <a:gd name="connsiteX40" fmla="*/ 63598 w 257643"/>
                    <a:gd name="connsiteY40" fmla="*/ 8777 h 144706"/>
                    <a:gd name="connsiteX41" fmla="*/ 77448 w 257643"/>
                    <a:gd name="connsiteY41" fmla="*/ 8253 h 144706"/>
                    <a:gd name="connsiteX42" fmla="*/ 92326 w 257643"/>
                    <a:gd name="connsiteY42" fmla="*/ 9882 h 144706"/>
                    <a:gd name="connsiteX43" fmla="*/ 108804 w 257643"/>
                    <a:gd name="connsiteY43" fmla="*/ 11863 h 144706"/>
                    <a:gd name="connsiteX44" fmla="*/ 123511 w 257643"/>
                    <a:gd name="connsiteY44" fmla="*/ 13292 h 144706"/>
                    <a:gd name="connsiteX45" fmla="*/ 143551 w 257643"/>
                    <a:gd name="connsiteY45" fmla="*/ 8739 h 144706"/>
                    <a:gd name="connsiteX46" fmla="*/ 157687 w 257643"/>
                    <a:gd name="connsiteY46" fmla="*/ 43 h 144706"/>
                    <a:gd name="connsiteX47" fmla="*/ 181699 w 257643"/>
                    <a:gd name="connsiteY47" fmla="*/ 20017 h 144706"/>
                    <a:gd name="connsiteX48" fmla="*/ 209598 w 257643"/>
                    <a:gd name="connsiteY48" fmla="*/ 49725 h 144706"/>
                    <a:gd name="connsiteX49" fmla="*/ 210255 w 257643"/>
                    <a:gd name="connsiteY49" fmla="*/ 71156 h 144706"/>
                    <a:gd name="connsiteX50" fmla="*/ 211712 w 257643"/>
                    <a:gd name="connsiteY50" fmla="*/ 83625 h 144706"/>
                    <a:gd name="connsiteX51" fmla="*/ 216227 w 257643"/>
                    <a:gd name="connsiteY51" fmla="*/ 88273 h 144706"/>
                    <a:gd name="connsiteX52" fmla="*/ 216227 w 257643"/>
                    <a:gd name="connsiteY52" fmla="*/ 88273 h 14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57643" h="144706">
                      <a:moveTo>
                        <a:pt x="216227" y="88273"/>
                      </a:moveTo>
                      <a:cubicBezTo>
                        <a:pt x="220085" y="92959"/>
                        <a:pt x="227029" y="94940"/>
                        <a:pt x="232839" y="94874"/>
                      </a:cubicBezTo>
                      <a:cubicBezTo>
                        <a:pt x="231496" y="91683"/>
                        <a:pt x="236211" y="92702"/>
                        <a:pt x="239563" y="91959"/>
                      </a:cubicBezTo>
                      <a:cubicBezTo>
                        <a:pt x="244888" y="90768"/>
                        <a:pt x="250641" y="86758"/>
                        <a:pt x="255604" y="92569"/>
                      </a:cubicBezTo>
                      <a:cubicBezTo>
                        <a:pt x="257680" y="94998"/>
                        <a:pt x="258289" y="100808"/>
                        <a:pt x="256880" y="104113"/>
                      </a:cubicBezTo>
                      <a:cubicBezTo>
                        <a:pt x="254546" y="109571"/>
                        <a:pt x="248364" y="108904"/>
                        <a:pt x="242545" y="110095"/>
                      </a:cubicBezTo>
                      <a:cubicBezTo>
                        <a:pt x="242783" y="107485"/>
                        <a:pt x="241830" y="105656"/>
                        <a:pt x="242592" y="103246"/>
                      </a:cubicBezTo>
                      <a:cubicBezTo>
                        <a:pt x="236096" y="100732"/>
                        <a:pt x="237573" y="111838"/>
                        <a:pt x="237125" y="116162"/>
                      </a:cubicBezTo>
                      <a:cubicBezTo>
                        <a:pt x="237839" y="116057"/>
                        <a:pt x="238544" y="115962"/>
                        <a:pt x="239268" y="115857"/>
                      </a:cubicBezTo>
                      <a:cubicBezTo>
                        <a:pt x="238144" y="120610"/>
                        <a:pt x="234801" y="122106"/>
                        <a:pt x="234791" y="127192"/>
                      </a:cubicBezTo>
                      <a:cubicBezTo>
                        <a:pt x="234772" y="131831"/>
                        <a:pt x="235363" y="137384"/>
                        <a:pt x="235658" y="142080"/>
                      </a:cubicBezTo>
                      <a:cubicBezTo>
                        <a:pt x="232601" y="142375"/>
                        <a:pt x="229724" y="142032"/>
                        <a:pt x="226752" y="141327"/>
                      </a:cubicBezTo>
                      <a:cubicBezTo>
                        <a:pt x="222009" y="140203"/>
                        <a:pt x="220304" y="137222"/>
                        <a:pt x="216370" y="135469"/>
                      </a:cubicBezTo>
                      <a:cubicBezTo>
                        <a:pt x="212027" y="133526"/>
                        <a:pt x="204826" y="133707"/>
                        <a:pt x="199349" y="131802"/>
                      </a:cubicBezTo>
                      <a:cubicBezTo>
                        <a:pt x="191110" y="128935"/>
                        <a:pt x="186766" y="128754"/>
                        <a:pt x="177775" y="131173"/>
                      </a:cubicBezTo>
                      <a:cubicBezTo>
                        <a:pt x="169936" y="133279"/>
                        <a:pt x="165964" y="137917"/>
                        <a:pt x="159611" y="141756"/>
                      </a:cubicBezTo>
                      <a:cubicBezTo>
                        <a:pt x="148295" y="148585"/>
                        <a:pt x="127111" y="141460"/>
                        <a:pt x="114595" y="141156"/>
                      </a:cubicBezTo>
                      <a:cubicBezTo>
                        <a:pt x="106194" y="140946"/>
                        <a:pt x="98127" y="137698"/>
                        <a:pt x="89659" y="137965"/>
                      </a:cubicBezTo>
                      <a:cubicBezTo>
                        <a:pt x="87430" y="138031"/>
                        <a:pt x="81649" y="140641"/>
                        <a:pt x="79991" y="138251"/>
                      </a:cubicBezTo>
                      <a:cubicBezTo>
                        <a:pt x="78057" y="135441"/>
                        <a:pt x="82172" y="134879"/>
                        <a:pt x="82077" y="133660"/>
                      </a:cubicBezTo>
                      <a:cubicBezTo>
                        <a:pt x="81829" y="130383"/>
                        <a:pt x="82810" y="132031"/>
                        <a:pt x="78524" y="128897"/>
                      </a:cubicBezTo>
                      <a:cubicBezTo>
                        <a:pt x="76419" y="127364"/>
                        <a:pt x="74400" y="125916"/>
                        <a:pt x="72628" y="124487"/>
                      </a:cubicBezTo>
                      <a:cubicBezTo>
                        <a:pt x="68790" y="121391"/>
                        <a:pt x="64218" y="115429"/>
                        <a:pt x="73305" y="116019"/>
                      </a:cubicBezTo>
                      <a:cubicBezTo>
                        <a:pt x="71419" y="113314"/>
                        <a:pt x="67732" y="111524"/>
                        <a:pt x="64418" y="112200"/>
                      </a:cubicBezTo>
                      <a:cubicBezTo>
                        <a:pt x="62208" y="112657"/>
                        <a:pt x="61131" y="115524"/>
                        <a:pt x="59417" y="115838"/>
                      </a:cubicBezTo>
                      <a:cubicBezTo>
                        <a:pt x="55483" y="116572"/>
                        <a:pt x="57369" y="115314"/>
                        <a:pt x="54026" y="114448"/>
                      </a:cubicBezTo>
                      <a:cubicBezTo>
                        <a:pt x="48892" y="113114"/>
                        <a:pt x="37757" y="110971"/>
                        <a:pt x="34995" y="106828"/>
                      </a:cubicBezTo>
                      <a:cubicBezTo>
                        <a:pt x="42758" y="106789"/>
                        <a:pt x="37119" y="104437"/>
                        <a:pt x="34242" y="102189"/>
                      </a:cubicBezTo>
                      <a:cubicBezTo>
                        <a:pt x="44768" y="96703"/>
                        <a:pt x="20317" y="92226"/>
                        <a:pt x="17364" y="87730"/>
                      </a:cubicBezTo>
                      <a:cubicBezTo>
                        <a:pt x="16469" y="86377"/>
                        <a:pt x="16974" y="84177"/>
                        <a:pt x="16126" y="82634"/>
                      </a:cubicBezTo>
                      <a:cubicBezTo>
                        <a:pt x="15640" y="81739"/>
                        <a:pt x="16326" y="79834"/>
                        <a:pt x="15697" y="78853"/>
                      </a:cubicBezTo>
                      <a:cubicBezTo>
                        <a:pt x="15107" y="77938"/>
                        <a:pt x="14469" y="79919"/>
                        <a:pt x="14002" y="79310"/>
                      </a:cubicBezTo>
                      <a:cubicBezTo>
                        <a:pt x="10125" y="74204"/>
                        <a:pt x="4039" y="72490"/>
                        <a:pt x="0" y="67556"/>
                      </a:cubicBezTo>
                      <a:cubicBezTo>
                        <a:pt x="3581" y="65432"/>
                        <a:pt x="9058" y="65832"/>
                        <a:pt x="12602" y="65013"/>
                      </a:cubicBezTo>
                      <a:cubicBezTo>
                        <a:pt x="12497" y="65032"/>
                        <a:pt x="14869" y="63117"/>
                        <a:pt x="15621" y="62832"/>
                      </a:cubicBezTo>
                      <a:cubicBezTo>
                        <a:pt x="18650" y="61698"/>
                        <a:pt x="20336" y="63860"/>
                        <a:pt x="23298" y="61565"/>
                      </a:cubicBezTo>
                      <a:cubicBezTo>
                        <a:pt x="26356" y="59184"/>
                        <a:pt x="24651" y="55669"/>
                        <a:pt x="26384" y="52459"/>
                      </a:cubicBezTo>
                      <a:cubicBezTo>
                        <a:pt x="28270" y="48963"/>
                        <a:pt x="30937" y="47735"/>
                        <a:pt x="32480" y="43315"/>
                      </a:cubicBezTo>
                      <a:cubicBezTo>
                        <a:pt x="35147" y="35628"/>
                        <a:pt x="39472" y="26856"/>
                        <a:pt x="43806" y="20998"/>
                      </a:cubicBezTo>
                      <a:cubicBezTo>
                        <a:pt x="47816" y="15588"/>
                        <a:pt x="49159" y="17540"/>
                        <a:pt x="54378" y="15531"/>
                      </a:cubicBezTo>
                      <a:cubicBezTo>
                        <a:pt x="57941" y="14159"/>
                        <a:pt x="60579" y="11035"/>
                        <a:pt x="63598" y="8777"/>
                      </a:cubicBezTo>
                      <a:cubicBezTo>
                        <a:pt x="69609" y="4282"/>
                        <a:pt x="70114" y="6758"/>
                        <a:pt x="77448" y="8253"/>
                      </a:cubicBezTo>
                      <a:cubicBezTo>
                        <a:pt x="82048" y="9196"/>
                        <a:pt x="87659" y="9234"/>
                        <a:pt x="92326" y="9882"/>
                      </a:cubicBezTo>
                      <a:cubicBezTo>
                        <a:pt x="98288" y="10711"/>
                        <a:pt x="103327" y="9120"/>
                        <a:pt x="108804" y="11863"/>
                      </a:cubicBezTo>
                      <a:cubicBezTo>
                        <a:pt x="116996" y="15969"/>
                        <a:pt x="115472" y="17321"/>
                        <a:pt x="123511" y="13292"/>
                      </a:cubicBezTo>
                      <a:cubicBezTo>
                        <a:pt x="129959" y="10063"/>
                        <a:pt x="136808" y="10654"/>
                        <a:pt x="143551" y="8739"/>
                      </a:cubicBezTo>
                      <a:cubicBezTo>
                        <a:pt x="150838" y="6663"/>
                        <a:pt x="149600" y="605"/>
                        <a:pt x="157687" y="43"/>
                      </a:cubicBezTo>
                      <a:cubicBezTo>
                        <a:pt x="170640" y="-833"/>
                        <a:pt x="174374" y="11921"/>
                        <a:pt x="181699" y="20017"/>
                      </a:cubicBezTo>
                      <a:cubicBezTo>
                        <a:pt x="190462" y="29704"/>
                        <a:pt x="204473" y="37533"/>
                        <a:pt x="209598" y="49725"/>
                      </a:cubicBezTo>
                      <a:cubicBezTo>
                        <a:pt x="212579" y="56850"/>
                        <a:pt x="209140" y="63660"/>
                        <a:pt x="210255" y="71156"/>
                      </a:cubicBezTo>
                      <a:cubicBezTo>
                        <a:pt x="210817" y="74852"/>
                        <a:pt x="215637" y="81405"/>
                        <a:pt x="211712" y="83625"/>
                      </a:cubicBezTo>
                      <a:cubicBezTo>
                        <a:pt x="213389" y="84968"/>
                        <a:pt x="214903" y="86549"/>
                        <a:pt x="216227" y="88273"/>
                      </a:cubicBezTo>
                      <a:lnTo>
                        <a:pt x="216227" y="88273"/>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76" name="Freeform: Shape 575">
                  <a:extLst>
                    <a:ext uri="{FF2B5EF4-FFF2-40B4-BE49-F238E27FC236}">
                      <a16:creationId xmlns:a16="http://schemas.microsoft.com/office/drawing/2014/main" id="{EF29EC43-C832-425B-B2CF-0E8C5323BCDC}"/>
                    </a:ext>
                  </a:extLst>
                </p:cNvPr>
                <p:cNvSpPr/>
                <p:nvPr/>
              </p:nvSpPr>
              <p:spPr>
                <a:xfrm>
                  <a:off x="7115932" y="3542223"/>
                  <a:ext cx="26285" cy="48667"/>
                </a:xfrm>
                <a:custGeom>
                  <a:avLst/>
                  <a:gdLst>
                    <a:gd name="connsiteX0" fmla="*/ 19273 w 26285"/>
                    <a:gd name="connsiteY0" fmla="*/ 47538 h 48667"/>
                    <a:gd name="connsiteX1" fmla="*/ 3090 w 26285"/>
                    <a:gd name="connsiteY1" fmla="*/ 34126 h 48667"/>
                    <a:gd name="connsiteX2" fmla="*/ 4347 w 26285"/>
                    <a:gd name="connsiteY2" fmla="*/ 2694 h 48667"/>
                    <a:gd name="connsiteX3" fmla="*/ 18882 w 26285"/>
                    <a:gd name="connsiteY3" fmla="*/ 6218 h 48667"/>
                    <a:gd name="connsiteX4" fmla="*/ 21644 w 26285"/>
                    <a:gd name="connsiteY4" fmla="*/ 21449 h 48667"/>
                    <a:gd name="connsiteX5" fmla="*/ 19273 w 26285"/>
                    <a:gd name="connsiteY5" fmla="*/ 47538 h 48667"/>
                    <a:gd name="connsiteX6" fmla="*/ 19273 w 26285"/>
                    <a:gd name="connsiteY6" fmla="*/ 47538 h 48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285" h="48667">
                      <a:moveTo>
                        <a:pt x="19273" y="47538"/>
                      </a:moveTo>
                      <a:cubicBezTo>
                        <a:pt x="7119" y="51871"/>
                        <a:pt x="5947" y="42956"/>
                        <a:pt x="3090" y="34126"/>
                      </a:cubicBezTo>
                      <a:cubicBezTo>
                        <a:pt x="22" y="24639"/>
                        <a:pt x="-2464" y="11714"/>
                        <a:pt x="4347" y="2694"/>
                      </a:cubicBezTo>
                      <a:cubicBezTo>
                        <a:pt x="8604" y="-2955"/>
                        <a:pt x="15243" y="1284"/>
                        <a:pt x="18882" y="6218"/>
                      </a:cubicBezTo>
                      <a:cubicBezTo>
                        <a:pt x="22320" y="10876"/>
                        <a:pt x="19844" y="16000"/>
                        <a:pt x="21644" y="21449"/>
                      </a:cubicBezTo>
                      <a:cubicBezTo>
                        <a:pt x="23473" y="26944"/>
                        <a:pt x="32351" y="46918"/>
                        <a:pt x="19273" y="47538"/>
                      </a:cubicBezTo>
                      <a:lnTo>
                        <a:pt x="19273" y="47538"/>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77" name="Freeform: Shape 576">
                  <a:extLst>
                    <a:ext uri="{FF2B5EF4-FFF2-40B4-BE49-F238E27FC236}">
                      <a16:creationId xmlns:a16="http://schemas.microsoft.com/office/drawing/2014/main" id="{DFD56BBA-8654-40D3-ACC5-64342E6F1A98}"/>
                    </a:ext>
                  </a:extLst>
                </p:cNvPr>
                <p:cNvSpPr/>
                <p:nvPr/>
              </p:nvSpPr>
              <p:spPr>
                <a:xfrm>
                  <a:off x="6610284" y="3340567"/>
                  <a:ext cx="18867" cy="36495"/>
                </a:xfrm>
                <a:custGeom>
                  <a:avLst/>
                  <a:gdLst>
                    <a:gd name="connsiteX0" fmla="*/ 17582 w 18867"/>
                    <a:gd name="connsiteY0" fmla="*/ 16802 h 36495"/>
                    <a:gd name="connsiteX1" fmla="*/ 7761 w 18867"/>
                    <a:gd name="connsiteY1" fmla="*/ 36319 h 36495"/>
                    <a:gd name="connsiteX2" fmla="*/ 9247 w 18867"/>
                    <a:gd name="connsiteY2" fmla="*/ 24203 h 36495"/>
                    <a:gd name="connsiteX3" fmla="*/ 2961 w 18867"/>
                    <a:gd name="connsiteY3" fmla="*/ 21936 h 36495"/>
                    <a:gd name="connsiteX4" fmla="*/ 2199 w 18867"/>
                    <a:gd name="connsiteY4" fmla="*/ 19059 h 36495"/>
                    <a:gd name="connsiteX5" fmla="*/ 1094 w 18867"/>
                    <a:gd name="connsiteY5" fmla="*/ 3753 h 36495"/>
                    <a:gd name="connsiteX6" fmla="*/ 11428 w 18867"/>
                    <a:gd name="connsiteY6" fmla="*/ 2134 h 36495"/>
                    <a:gd name="connsiteX7" fmla="*/ 17582 w 18867"/>
                    <a:gd name="connsiteY7" fmla="*/ 16802 h 36495"/>
                    <a:gd name="connsiteX8" fmla="*/ 17582 w 18867"/>
                    <a:gd name="connsiteY8" fmla="*/ 16802 h 36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67" h="36495">
                      <a:moveTo>
                        <a:pt x="17582" y="16802"/>
                      </a:moveTo>
                      <a:cubicBezTo>
                        <a:pt x="20401" y="26860"/>
                        <a:pt x="19191" y="34557"/>
                        <a:pt x="7761" y="36319"/>
                      </a:cubicBezTo>
                      <a:cubicBezTo>
                        <a:pt x="-3554" y="38062"/>
                        <a:pt x="2618" y="26384"/>
                        <a:pt x="9247" y="24203"/>
                      </a:cubicBezTo>
                      <a:cubicBezTo>
                        <a:pt x="7342" y="21507"/>
                        <a:pt x="4352" y="23117"/>
                        <a:pt x="2961" y="21936"/>
                      </a:cubicBezTo>
                      <a:cubicBezTo>
                        <a:pt x="875" y="20164"/>
                        <a:pt x="3428" y="21336"/>
                        <a:pt x="2199" y="19059"/>
                      </a:cubicBezTo>
                      <a:cubicBezTo>
                        <a:pt x="170" y="15335"/>
                        <a:pt x="-973" y="7649"/>
                        <a:pt x="1094" y="3753"/>
                      </a:cubicBezTo>
                      <a:cubicBezTo>
                        <a:pt x="4018" y="-1762"/>
                        <a:pt x="7380" y="-200"/>
                        <a:pt x="11428" y="2134"/>
                      </a:cubicBezTo>
                      <a:cubicBezTo>
                        <a:pt x="18648" y="6287"/>
                        <a:pt x="15876" y="9068"/>
                        <a:pt x="17582" y="16802"/>
                      </a:cubicBezTo>
                      <a:lnTo>
                        <a:pt x="17582" y="16802"/>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78" name="Freeform: Shape 577">
                  <a:extLst>
                    <a:ext uri="{FF2B5EF4-FFF2-40B4-BE49-F238E27FC236}">
                      <a16:creationId xmlns:a16="http://schemas.microsoft.com/office/drawing/2014/main" id="{071B8832-3C11-4651-B423-724707FC2883}"/>
                    </a:ext>
                  </a:extLst>
                </p:cNvPr>
                <p:cNvSpPr/>
                <p:nvPr/>
              </p:nvSpPr>
              <p:spPr>
                <a:xfrm>
                  <a:off x="3693395" y="4971396"/>
                  <a:ext cx="267016" cy="261274"/>
                </a:xfrm>
                <a:custGeom>
                  <a:avLst/>
                  <a:gdLst>
                    <a:gd name="connsiteX0" fmla="*/ 124300 w 267016"/>
                    <a:gd name="connsiteY0" fmla="*/ 28674 h 261274"/>
                    <a:gd name="connsiteX1" fmla="*/ 134683 w 267016"/>
                    <a:gd name="connsiteY1" fmla="*/ 45228 h 261274"/>
                    <a:gd name="connsiteX2" fmla="*/ 139064 w 267016"/>
                    <a:gd name="connsiteY2" fmla="*/ 62449 h 261274"/>
                    <a:gd name="connsiteX3" fmla="*/ 140245 w 267016"/>
                    <a:gd name="connsiteY3" fmla="*/ 80137 h 261274"/>
                    <a:gd name="connsiteX4" fmla="*/ 140722 w 267016"/>
                    <a:gd name="connsiteY4" fmla="*/ 88433 h 261274"/>
                    <a:gd name="connsiteX5" fmla="*/ 150066 w 267016"/>
                    <a:gd name="connsiteY5" fmla="*/ 90100 h 261274"/>
                    <a:gd name="connsiteX6" fmla="*/ 177345 w 267016"/>
                    <a:gd name="connsiteY6" fmla="*/ 94768 h 261274"/>
                    <a:gd name="connsiteX7" fmla="*/ 182870 w 267016"/>
                    <a:gd name="connsiteY7" fmla="*/ 93463 h 261274"/>
                    <a:gd name="connsiteX8" fmla="*/ 184937 w 267016"/>
                    <a:gd name="connsiteY8" fmla="*/ 89967 h 261274"/>
                    <a:gd name="connsiteX9" fmla="*/ 194462 w 267016"/>
                    <a:gd name="connsiteY9" fmla="*/ 94825 h 261274"/>
                    <a:gd name="connsiteX10" fmla="*/ 206330 w 267016"/>
                    <a:gd name="connsiteY10" fmla="*/ 96168 h 261274"/>
                    <a:gd name="connsiteX11" fmla="*/ 215007 w 267016"/>
                    <a:gd name="connsiteY11" fmla="*/ 106493 h 261274"/>
                    <a:gd name="connsiteX12" fmla="*/ 217588 w 267016"/>
                    <a:gd name="connsiteY12" fmla="*/ 117161 h 261274"/>
                    <a:gd name="connsiteX13" fmla="*/ 222456 w 267016"/>
                    <a:gd name="connsiteY13" fmla="*/ 128991 h 261274"/>
                    <a:gd name="connsiteX14" fmla="*/ 235400 w 267016"/>
                    <a:gd name="connsiteY14" fmla="*/ 149832 h 261274"/>
                    <a:gd name="connsiteX15" fmla="*/ 250764 w 267016"/>
                    <a:gd name="connsiteY15" fmla="*/ 144469 h 261274"/>
                    <a:gd name="connsiteX16" fmla="*/ 265699 w 267016"/>
                    <a:gd name="connsiteY16" fmla="*/ 150994 h 261274"/>
                    <a:gd name="connsiteX17" fmla="*/ 266518 w 267016"/>
                    <a:gd name="connsiteY17" fmla="*/ 166186 h 261274"/>
                    <a:gd name="connsiteX18" fmla="*/ 266413 w 267016"/>
                    <a:gd name="connsiteY18" fmla="*/ 184798 h 261274"/>
                    <a:gd name="connsiteX19" fmla="*/ 264413 w 267016"/>
                    <a:gd name="connsiteY19" fmla="*/ 201210 h 261274"/>
                    <a:gd name="connsiteX20" fmla="*/ 266995 w 267016"/>
                    <a:gd name="connsiteY20" fmla="*/ 222555 h 261274"/>
                    <a:gd name="connsiteX21" fmla="*/ 261822 w 267016"/>
                    <a:gd name="connsiteY21" fmla="*/ 235509 h 261274"/>
                    <a:gd name="connsiteX22" fmla="*/ 257755 w 267016"/>
                    <a:gd name="connsiteY22" fmla="*/ 239795 h 261274"/>
                    <a:gd name="connsiteX23" fmla="*/ 252869 w 267016"/>
                    <a:gd name="connsiteY23" fmla="*/ 243043 h 261274"/>
                    <a:gd name="connsiteX24" fmla="*/ 246087 w 267016"/>
                    <a:gd name="connsiteY24" fmla="*/ 251825 h 261274"/>
                    <a:gd name="connsiteX25" fmla="*/ 233505 w 267016"/>
                    <a:gd name="connsiteY25" fmla="*/ 253854 h 261274"/>
                    <a:gd name="connsiteX26" fmla="*/ 223132 w 267016"/>
                    <a:gd name="connsiteY26" fmla="*/ 261274 h 261274"/>
                    <a:gd name="connsiteX27" fmla="*/ 214540 w 267016"/>
                    <a:gd name="connsiteY27" fmla="*/ 259483 h 261274"/>
                    <a:gd name="connsiteX28" fmla="*/ 205149 w 267016"/>
                    <a:gd name="connsiteY28" fmla="*/ 258064 h 261274"/>
                    <a:gd name="connsiteX29" fmla="*/ 165658 w 267016"/>
                    <a:gd name="connsiteY29" fmla="*/ 252978 h 261274"/>
                    <a:gd name="connsiteX30" fmla="*/ 156162 w 267016"/>
                    <a:gd name="connsiteY30" fmla="*/ 247377 h 261274"/>
                    <a:gd name="connsiteX31" fmla="*/ 161562 w 267016"/>
                    <a:gd name="connsiteY31" fmla="*/ 238500 h 261274"/>
                    <a:gd name="connsiteX32" fmla="*/ 163591 w 267016"/>
                    <a:gd name="connsiteY32" fmla="*/ 220040 h 261274"/>
                    <a:gd name="connsiteX33" fmla="*/ 168906 w 267016"/>
                    <a:gd name="connsiteY33" fmla="*/ 212049 h 261274"/>
                    <a:gd name="connsiteX34" fmla="*/ 172764 w 267016"/>
                    <a:gd name="connsiteY34" fmla="*/ 200952 h 261274"/>
                    <a:gd name="connsiteX35" fmla="*/ 168430 w 267016"/>
                    <a:gd name="connsiteY35" fmla="*/ 188379 h 261274"/>
                    <a:gd name="connsiteX36" fmla="*/ 152037 w 267016"/>
                    <a:gd name="connsiteY36" fmla="*/ 179731 h 261274"/>
                    <a:gd name="connsiteX37" fmla="*/ 140893 w 267016"/>
                    <a:gd name="connsiteY37" fmla="*/ 175692 h 261274"/>
                    <a:gd name="connsiteX38" fmla="*/ 120148 w 267016"/>
                    <a:gd name="connsiteY38" fmla="*/ 167243 h 261274"/>
                    <a:gd name="connsiteX39" fmla="*/ 87267 w 267016"/>
                    <a:gd name="connsiteY39" fmla="*/ 149812 h 261274"/>
                    <a:gd name="connsiteX40" fmla="*/ 54692 w 267016"/>
                    <a:gd name="connsiteY40" fmla="*/ 137173 h 261274"/>
                    <a:gd name="connsiteX41" fmla="*/ 26726 w 267016"/>
                    <a:gd name="connsiteY41" fmla="*/ 119237 h 261274"/>
                    <a:gd name="connsiteX42" fmla="*/ 15173 w 267016"/>
                    <a:gd name="connsiteY42" fmla="*/ 105169 h 261274"/>
                    <a:gd name="connsiteX43" fmla="*/ 542 w 267016"/>
                    <a:gd name="connsiteY43" fmla="*/ 94377 h 261274"/>
                    <a:gd name="connsiteX44" fmla="*/ 1800 w 267016"/>
                    <a:gd name="connsiteY44" fmla="*/ 77994 h 261274"/>
                    <a:gd name="connsiteX45" fmla="*/ 3924 w 267016"/>
                    <a:gd name="connsiteY45" fmla="*/ 57677 h 261274"/>
                    <a:gd name="connsiteX46" fmla="*/ 2123 w 267016"/>
                    <a:gd name="connsiteY46" fmla="*/ 39008 h 261274"/>
                    <a:gd name="connsiteX47" fmla="*/ 10248 w 267016"/>
                    <a:gd name="connsiteY47" fmla="*/ 18358 h 261274"/>
                    <a:gd name="connsiteX48" fmla="*/ 16211 w 267016"/>
                    <a:gd name="connsiteY48" fmla="*/ 11510 h 261274"/>
                    <a:gd name="connsiteX49" fmla="*/ 27050 w 267016"/>
                    <a:gd name="connsiteY49" fmla="*/ 9262 h 261274"/>
                    <a:gd name="connsiteX50" fmla="*/ 49415 w 267016"/>
                    <a:gd name="connsiteY50" fmla="*/ 4375 h 261274"/>
                    <a:gd name="connsiteX51" fmla="*/ 91563 w 267016"/>
                    <a:gd name="connsiteY51" fmla="*/ 1299 h 261274"/>
                    <a:gd name="connsiteX52" fmla="*/ 112461 w 267016"/>
                    <a:gd name="connsiteY52" fmla="*/ 12653 h 261274"/>
                    <a:gd name="connsiteX53" fmla="*/ 124300 w 267016"/>
                    <a:gd name="connsiteY53" fmla="*/ 28674 h 261274"/>
                    <a:gd name="connsiteX54" fmla="*/ 124300 w 267016"/>
                    <a:gd name="connsiteY54" fmla="*/ 28674 h 261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67016" h="261274">
                      <a:moveTo>
                        <a:pt x="124300" y="28674"/>
                      </a:moveTo>
                      <a:cubicBezTo>
                        <a:pt x="126272" y="34817"/>
                        <a:pt x="132320" y="40142"/>
                        <a:pt x="134683" y="45228"/>
                      </a:cubicBezTo>
                      <a:cubicBezTo>
                        <a:pt x="137188" y="50610"/>
                        <a:pt x="139255" y="56077"/>
                        <a:pt x="139064" y="62449"/>
                      </a:cubicBezTo>
                      <a:cubicBezTo>
                        <a:pt x="138883" y="68440"/>
                        <a:pt x="139769" y="73870"/>
                        <a:pt x="140245" y="80137"/>
                      </a:cubicBezTo>
                      <a:cubicBezTo>
                        <a:pt x="140360" y="81642"/>
                        <a:pt x="139941" y="87348"/>
                        <a:pt x="140722" y="88433"/>
                      </a:cubicBezTo>
                      <a:cubicBezTo>
                        <a:pt x="143732" y="92605"/>
                        <a:pt x="146437" y="89519"/>
                        <a:pt x="150066" y="90100"/>
                      </a:cubicBezTo>
                      <a:cubicBezTo>
                        <a:pt x="158648" y="91463"/>
                        <a:pt x="168163" y="95701"/>
                        <a:pt x="177345" y="94768"/>
                      </a:cubicBezTo>
                      <a:cubicBezTo>
                        <a:pt x="178831" y="94615"/>
                        <a:pt x="181803" y="94063"/>
                        <a:pt x="182870" y="93463"/>
                      </a:cubicBezTo>
                      <a:cubicBezTo>
                        <a:pt x="183765" y="92958"/>
                        <a:pt x="184184" y="90129"/>
                        <a:pt x="184937" y="89967"/>
                      </a:cubicBezTo>
                      <a:cubicBezTo>
                        <a:pt x="190528" y="88700"/>
                        <a:pt x="189461" y="92634"/>
                        <a:pt x="194462" y="94825"/>
                      </a:cubicBezTo>
                      <a:cubicBezTo>
                        <a:pt x="198100" y="96425"/>
                        <a:pt x="202787" y="94406"/>
                        <a:pt x="206330" y="96168"/>
                      </a:cubicBezTo>
                      <a:cubicBezTo>
                        <a:pt x="209063" y="97530"/>
                        <a:pt x="213978" y="104064"/>
                        <a:pt x="215007" y="106493"/>
                      </a:cubicBezTo>
                      <a:cubicBezTo>
                        <a:pt x="216417" y="109846"/>
                        <a:pt x="216141" y="113494"/>
                        <a:pt x="217588" y="117161"/>
                      </a:cubicBezTo>
                      <a:cubicBezTo>
                        <a:pt x="219151" y="121123"/>
                        <a:pt x="221465" y="124924"/>
                        <a:pt x="222456" y="128991"/>
                      </a:cubicBezTo>
                      <a:cubicBezTo>
                        <a:pt x="224265" y="136430"/>
                        <a:pt x="226723" y="148489"/>
                        <a:pt x="235400" y="149832"/>
                      </a:cubicBezTo>
                      <a:cubicBezTo>
                        <a:pt x="241849" y="150822"/>
                        <a:pt x="245125" y="145488"/>
                        <a:pt x="250764" y="144469"/>
                      </a:cubicBezTo>
                      <a:cubicBezTo>
                        <a:pt x="256793" y="143383"/>
                        <a:pt x="260279" y="148574"/>
                        <a:pt x="265699" y="150994"/>
                      </a:cubicBezTo>
                      <a:cubicBezTo>
                        <a:pt x="262251" y="154080"/>
                        <a:pt x="266566" y="161909"/>
                        <a:pt x="266518" y="166186"/>
                      </a:cubicBezTo>
                      <a:cubicBezTo>
                        <a:pt x="266471" y="171939"/>
                        <a:pt x="266823" y="179426"/>
                        <a:pt x="266413" y="184798"/>
                      </a:cubicBezTo>
                      <a:cubicBezTo>
                        <a:pt x="265918" y="191170"/>
                        <a:pt x="263270" y="194552"/>
                        <a:pt x="264413" y="201210"/>
                      </a:cubicBezTo>
                      <a:cubicBezTo>
                        <a:pt x="265613" y="208201"/>
                        <a:pt x="267223" y="215411"/>
                        <a:pt x="266995" y="222555"/>
                      </a:cubicBezTo>
                      <a:cubicBezTo>
                        <a:pt x="266785" y="228956"/>
                        <a:pt x="265156" y="231489"/>
                        <a:pt x="261822" y="235509"/>
                      </a:cubicBezTo>
                      <a:cubicBezTo>
                        <a:pt x="260451" y="237166"/>
                        <a:pt x="259422" y="238300"/>
                        <a:pt x="257755" y="239795"/>
                      </a:cubicBezTo>
                      <a:cubicBezTo>
                        <a:pt x="256269" y="241138"/>
                        <a:pt x="254564" y="241700"/>
                        <a:pt x="252869" y="243043"/>
                      </a:cubicBezTo>
                      <a:cubicBezTo>
                        <a:pt x="249097" y="246034"/>
                        <a:pt x="248354" y="247949"/>
                        <a:pt x="246087" y="251825"/>
                      </a:cubicBezTo>
                      <a:cubicBezTo>
                        <a:pt x="241258" y="260093"/>
                        <a:pt x="242306" y="253749"/>
                        <a:pt x="233505" y="253854"/>
                      </a:cubicBezTo>
                      <a:cubicBezTo>
                        <a:pt x="226951" y="253921"/>
                        <a:pt x="227532" y="259903"/>
                        <a:pt x="223132" y="261274"/>
                      </a:cubicBezTo>
                      <a:cubicBezTo>
                        <a:pt x="224046" y="260998"/>
                        <a:pt x="214616" y="259493"/>
                        <a:pt x="214540" y="259483"/>
                      </a:cubicBezTo>
                      <a:cubicBezTo>
                        <a:pt x="211292" y="258855"/>
                        <a:pt x="208425" y="258350"/>
                        <a:pt x="205149" y="258064"/>
                      </a:cubicBezTo>
                      <a:cubicBezTo>
                        <a:pt x="192309" y="256912"/>
                        <a:pt x="178850" y="252340"/>
                        <a:pt x="165658" y="252978"/>
                      </a:cubicBezTo>
                      <a:cubicBezTo>
                        <a:pt x="159191" y="253292"/>
                        <a:pt x="154542" y="255273"/>
                        <a:pt x="156162" y="247377"/>
                      </a:cubicBezTo>
                      <a:cubicBezTo>
                        <a:pt x="156781" y="244320"/>
                        <a:pt x="160476" y="240405"/>
                        <a:pt x="161562" y="238500"/>
                      </a:cubicBezTo>
                      <a:cubicBezTo>
                        <a:pt x="165277" y="232051"/>
                        <a:pt x="161086" y="226889"/>
                        <a:pt x="163591" y="220040"/>
                      </a:cubicBezTo>
                      <a:cubicBezTo>
                        <a:pt x="164829" y="216650"/>
                        <a:pt x="167096" y="215268"/>
                        <a:pt x="168906" y="212049"/>
                      </a:cubicBezTo>
                      <a:cubicBezTo>
                        <a:pt x="170325" y="209525"/>
                        <a:pt x="171745" y="203724"/>
                        <a:pt x="172764" y="200952"/>
                      </a:cubicBezTo>
                      <a:cubicBezTo>
                        <a:pt x="175107" y="194656"/>
                        <a:pt x="174316" y="193523"/>
                        <a:pt x="168430" y="188379"/>
                      </a:cubicBezTo>
                      <a:cubicBezTo>
                        <a:pt x="163353" y="183941"/>
                        <a:pt x="158457" y="181750"/>
                        <a:pt x="152037" y="179731"/>
                      </a:cubicBezTo>
                      <a:cubicBezTo>
                        <a:pt x="148246" y="178540"/>
                        <a:pt x="145236" y="177606"/>
                        <a:pt x="140893" y="175692"/>
                      </a:cubicBezTo>
                      <a:cubicBezTo>
                        <a:pt x="134121" y="172711"/>
                        <a:pt x="126901" y="170644"/>
                        <a:pt x="120148" y="167243"/>
                      </a:cubicBezTo>
                      <a:cubicBezTo>
                        <a:pt x="108994" y="161643"/>
                        <a:pt x="99831" y="152384"/>
                        <a:pt x="87267" y="149812"/>
                      </a:cubicBezTo>
                      <a:cubicBezTo>
                        <a:pt x="74275" y="147165"/>
                        <a:pt x="65131" y="145555"/>
                        <a:pt x="54692" y="137173"/>
                      </a:cubicBezTo>
                      <a:cubicBezTo>
                        <a:pt x="45967" y="130163"/>
                        <a:pt x="35032" y="127191"/>
                        <a:pt x="26726" y="119237"/>
                      </a:cubicBezTo>
                      <a:cubicBezTo>
                        <a:pt x="22307" y="114999"/>
                        <a:pt x="19297" y="109627"/>
                        <a:pt x="15173" y="105169"/>
                      </a:cubicBezTo>
                      <a:cubicBezTo>
                        <a:pt x="11525" y="101245"/>
                        <a:pt x="2657" y="98882"/>
                        <a:pt x="542" y="94377"/>
                      </a:cubicBezTo>
                      <a:cubicBezTo>
                        <a:pt x="-1077" y="90929"/>
                        <a:pt x="1409" y="81938"/>
                        <a:pt x="1800" y="77994"/>
                      </a:cubicBezTo>
                      <a:cubicBezTo>
                        <a:pt x="2438" y="71470"/>
                        <a:pt x="4124" y="64211"/>
                        <a:pt x="3924" y="57677"/>
                      </a:cubicBezTo>
                      <a:cubicBezTo>
                        <a:pt x="3724" y="51162"/>
                        <a:pt x="514" y="45200"/>
                        <a:pt x="2123" y="39008"/>
                      </a:cubicBezTo>
                      <a:cubicBezTo>
                        <a:pt x="3952" y="31950"/>
                        <a:pt x="8400" y="25673"/>
                        <a:pt x="10248" y="18358"/>
                      </a:cubicBezTo>
                      <a:cubicBezTo>
                        <a:pt x="11839" y="12110"/>
                        <a:pt x="10762" y="13615"/>
                        <a:pt x="16211" y="11510"/>
                      </a:cubicBezTo>
                      <a:cubicBezTo>
                        <a:pt x="19449" y="10262"/>
                        <a:pt x="23659" y="9995"/>
                        <a:pt x="27050" y="9262"/>
                      </a:cubicBezTo>
                      <a:cubicBezTo>
                        <a:pt x="34499" y="7633"/>
                        <a:pt x="41957" y="6023"/>
                        <a:pt x="49415" y="4375"/>
                      </a:cubicBezTo>
                      <a:cubicBezTo>
                        <a:pt x="61817" y="1632"/>
                        <a:pt x="79076" y="-1968"/>
                        <a:pt x="91563" y="1299"/>
                      </a:cubicBezTo>
                      <a:cubicBezTo>
                        <a:pt x="98297" y="3061"/>
                        <a:pt x="106308" y="9300"/>
                        <a:pt x="112461" y="12653"/>
                      </a:cubicBezTo>
                      <a:cubicBezTo>
                        <a:pt x="120700" y="17148"/>
                        <a:pt x="124310" y="18625"/>
                        <a:pt x="124300" y="28674"/>
                      </a:cubicBezTo>
                      <a:lnTo>
                        <a:pt x="124300" y="28674"/>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79" name="Freeform: Shape 578">
                  <a:extLst>
                    <a:ext uri="{FF2B5EF4-FFF2-40B4-BE49-F238E27FC236}">
                      <a16:creationId xmlns:a16="http://schemas.microsoft.com/office/drawing/2014/main" id="{67B583CD-F93B-48F8-A850-9B8F131F33A1}"/>
                    </a:ext>
                  </a:extLst>
                </p:cNvPr>
                <p:cNvSpPr/>
                <p:nvPr/>
              </p:nvSpPr>
              <p:spPr>
                <a:xfrm>
                  <a:off x="5328484" y="3038396"/>
                  <a:ext cx="93457" cy="160645"/>
                </a:xfrm>
                <a:custGeom>
                  <a:avLst/>
                  <a:gdLst>
                    <a:gd name="connsiteX0" fmla="*/ 40433 w 93457"/>
                    <a:gd name="connsiteY0" fmla="*/ 9163 h 160645"/>
                    <a:gd name="connsiteX1" fmla="*/ 55064 w 93457"/>
                    <a:gd name="connsiteY1" fmla="*/ 7468 h 160645"/>
                    <a:gd name="connsiteX2" fmla="*/ 62074 w 93457"/>
                    <a:gd name="connsiteY2" fmla="*/ 8630 h 160645"/>
                    <a:gd name="connsiteX3" fmla="*/ 67541 w 93457"/>
                    <a:gd name="connsiteY3" fmla="*/ 4925 h 160645"/>
                    <a:gd name="connsiteX4" fmla="*/ 79000 w 93457"/>
                    <a:gd name="connsiteY4" fmla="*/ 4801 h 160645"/>
                    <a:gd name="connsiteX5" fmla="*/ 84972 w 93457"/>
                    <a:gd name="connsiteY5" fmla="*/ 13583 h 160645"/>
                    <a:gd name="connsiteX6" fmla="*/ 93354 w 93457"/>
                    <a:gd name="connsiteY6" fmla="*/ 18583 h 160645"/>
                    <a:gd name="connsiteX7" fmla="*/ 78324 w 93457"/>
                    <a:gd name="connsiteY7" fmla="*/ 31147 h 160645"/>
                    <a:gd name="connsiteX8" fmla="*/ 73685 w 93457"/>
                    <a:gd name="connsiteY8" fmla="*/ 34709 h 160645"/>
                    <a:gd name="connsiteX9" fmla="*/ 76219 w 93457"/>
                    <a:gd name="connsiteY9" fmla="*/ 45387 h 160645"/>
                    <a:gd name="connsiteX10" fmla="*/ 75771 w 93457"/>
                    <a:gd name="connsiteY10" fmla="*/ 55998 h 160645"/>
                    <a:gd name="connsiteX11" fmla="*/ 69751 w 93457"/>
                    <a:gd name="connsiteY11" fmla="*/ 61208 h 160645"/>
                    <a:gd name="connsiteX12" fmla="*/ 72799 w 93457"/>
                    <a:gd name="connsiteY12" fmla="*/ 68456 h 160645"/>
                    <a:gd name="connsiteX13" fmla="*/ 55064 w 93457"/>
                    <a:gd name="connsiteY13" fmla="*/ 77153 h 160645"/>
                    <a:gd name="connsiteX14" fmla="*/ 59645 w 93457"/>
                    <a:gd name="connsiteY14" fmla="*/ 82925 h 160645"/>
                    <a:gd name="connsiteX15" fmla="*/ 62274 w 93457"/>
                    <a:gd name="connsiteY15" fmla="*/ 89592 h 160645"/>
                    <a:gd name="connsiteX16" fmla="*/ 67199 w 93457"/>
                    <a:gd name="connsiteY16" fmla="*/ 101556 h 160645"/>
                    <a:gd name="connsiteX17" fmla="*/ 59083 w 93457"/>
                    <a:gd name="connsiteY17" fmla="*/ 114053 h 160645"/>
                    <a:gd name="connsiteX18" fmla="*/ 69399 w 93457"/>
                    <a:gd name="connsiteY18" fmla="*/ 123578 h 160645"/>
                    <a:gd name="connsiteX19" fmla="*/ 64379 w 93457"/>
                    <a:gd name="connsiteY19" fmla="*/ 128921 h 160645"/>
                    <a:gd name="connsiteX20" fmla="*/ 57054 w 93457"/>
                    <a:gd name="connsiteY20" fmla="*/ 136227 h 160645"/>
                    <a:gd name="connsiteX21" fmla="*/ 55530 w 93457"/>
                    <a:gd name="connsiteY21" fmla="*/ 155343 h 160645"/>
                    <a:gd name="connsiteX22" fmla="*/ 43738 w 93457"/>
                    <a:gd name="connsiteY22" fmla="*/ 160535 h 160645"/>
                    <a:gd name="connsiteX23" fmla="*/ 33985 w 93457"/>
                    <a:gd name="connsiteY23" fmla="*/ 158515 h 160645"/>
                    <a:gd name="connsiteX24" fmla="*/ 10267 w 93457"/>
                    <a:gd name="connsiteY24" fmla="*/ 159982 h 160645"/>
                    <a:gd name="connsiteX25" fmla="*/ 17040 w 93457"/>
                    <a:gd name="connsiteY25" fmla="*/ 137351 h 160645"/>
                    <a:gd name="connsiteX26" fmla="*/ 16630 w 93457"/>
                    <a:gd name="connsiteY26" fmla="*/ 126206 h 160645"/>
                    <a:gd name="connsiteX27" fmla="*/ 15687 w 93457"/>
                    <a:gd name="connsiteY27" fmla="*/ 115434 h 160645"/>
                    <a:gd name="connsiteX28" fmla="*/ 21631 w 93457"/>
                    <a:gd name="connsiteY28" fmla="*/ 116138 h 160645"/>
                    <a:gd name="connsiteX29" fmla="*/ 6639 w 93457"/>
                    <a:gd name="connsiteY29" fmla="*/ 112043 h 160645"/>
                    <a:gd name="connsiteX30" fmla="*/ 12211 w 93457"/>
                    <a:gd name="connsiteY30" fmla="*/ 105985 h 160645"/>
                    <a:gd name="connsiteX31" fmla="*/ 19154 w 93457"/>
                    <a:gd name="connsiteY31" fmla="*/ 95545 h 160645"/>
                    <a:gd name="connsiteX32" fmla="*/ 5686 w 93457"/>
                    <a:gd name="connsiteY32" fmla="*/ 107052 h 160645"/>
                    <a:gd name="connsiteX33" fmla="*/ 38 w 93457"/>
                    <a:gd name="connsiteY33" fmla="*/ 101756 h 160645"/>
                    <a:gd name="connsiteX34" fmla="*/ 13639 w 93457"/>
                    <a:gd name="connsiteY34" fmla="*/ 73609 h 160645"/>
                    <a:gd name="connsiteX35" fmla="*/ 23622 w 93457"/>
                    <a:gd name="connsiteY35" fmla="*/ 45196 h 160645"/>
                    <a:gd name="connsiteX36" fmla="*/ 25612 w 93457"/>
                    <a:gd name="connsiteY36" fmla="*/ 30137 h 160645"/>
                    <a:gd name="connsiteX37" fmla="*/ 24250 w 93457"/>
                    <a:gd name="connsiteY37" fmla="*/ 13011 h 160645"/>
                    <a:gd name="connsiteX38" fmla="*/ 36328 w 93457"/>
                    <a:gd name="connsiteY38" fmla="*/ 0 h 160645"/>
                    <a:gd name="connsiteX39" fmla="*/ 40433 w 93457"/>
                    <a:gd name="connsiteY39" fmla="*/ 9163 h 160645"/>
                    <a:gd name="connsiteX40" fmla="*/ 40433 w 93457"/>
                    <a:gd name="connsiteY40" fmla="*/ 9163 h 16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3457" h="160645">
                      <a:moveTo>
                        <a:pt x="40433" y="9163"/>
                      </a:moveTo>
                      <a:cubicBezTo>
                        <a:pt x="45034" y="9887"/>
                        <a:pt x="49930" y="7011"/>
                        <a:pt x="55064" y="7468"/>
                      </a:cubicBezTo>
                      <a:cubicBezTo>
                        <a:pt x="57454" y="7677"/>
                        <a:pt x="59407" y="9106"/>
                        <a:pt x="62074" y="8630"/>
                      </a:cubicBezTo>
                      <a:cubicBezTo>
                        <a:pt x="65055" y="8087"/>
                        <a:pt x="66275" y="5325"/>
                        <a:pt x="67541" y="4925"/>
                      </a:cubicBezTo>
                      <a:cubicBezTo>
                        <a:pt x="70170" y="4096"/>
                        <a:pt x="75971" y="4353"/>
                        <a:pt x="79000" y="4801"/>
                      </a:cubicBezTo>
                      <a:cubicBezTo>
                        <a:pt x="88058" y="6144"/>
                        <a:pt x="80895" y="8744"/>
                        <a:pt x="84972" y="13583"/>
                      </a:cubicBezTo>
                      <a:cubicBezTo>
                        <a:pt x="87210" y="16250"/>
                        <a:pt x="94402" y="12859"/>
                        <a:pt x="93354" y="18583"/>
                      </a:cubicBezTo>
                      <a:cubicBezTo>
                        <a:pt x="92630" y="22555"/>
                        <a:pt x="81295" y="28023"/>
                        <a:pt x="78324" y="31147"/>
                      </a:cubicBezTo>
                      <a:cubicBezTo>
                        <a:pt x="76895" y="32652"/>
                        <a:pt x="74276" y="32633"/>
                        <a:pt x="73685" y="34709"/>
                      </a:cubicBezTo>
                      <a:cubicBezTo>
                        <a:pt x="73180" y="36452"/>
                        <a:pt x="76238" y="42882"/>
                        <a:pt x="76219" y="45387"/>
                      </a:cubicBezTo>
                      <a:cubicBezTo>
                        <a:pt x="76209" y="47006"/>
                        <a:pt x="76295" y="55026"/>
                        <a:pt x="75771" y="55998"/>
                      </a:cubicBezTo>
                      <a:cubicBezTo>
                        <a:pt x="74475" y="58379"/>
                        <a:pt x="70408" y="58331"/>
                        <a:pt x="69751" y="61208"/>
                      </a:cubicBezTo>
                      <a:cubicBezTo>
                        <a:pt x="69513" y="62246"/>
                        <a:pt x="72980" y="65856"/>
                        <a:pt x="72799" y="68456"/>
                      </a:cubicBezTo>
                      <a:cubicBezTo>
                        <a:pt x="72056" y="79115"/>
                        <a:pt x="61664" y="75343"/>
                        <a:pt x="55064" y="77153"/>
                      </a:cubicBezTo>
                      <a:cubicBezTo>
                        <a:pt x="56150" y="79572"/>
                        <a:pt x="58464" y="80867"/>
                        <a:pt x="59645" y="82925"/>
                      </a:cubicBezTo>
                      <a:cubicBezTo>
                        <a:pt x="60741" y="84820"/>
                        <a:pt x="61036" y="87392"/>
                        <a:pt x="62274" y="89592"/>
                      </a:cubicBezTo>
                      <a:cubicBezTo>
                        <a:pt x="65408" y="95126"/>
                        <a:pt x="71666" y="94460"/>
                        <a:pt x="67199" y="101556"/>
                      </a:cubicBezTo>
                      <a:cubicBezTo>
                        <a:pt x="64560" y="105756"/>
                        <a:pt x="58435" y="107718"/>
                        <a:pt x="59083" y="114053"/>
                      </a:cubicBezTo>
                      <a:cubicBezTo>
                        <a:pt x="59531" y="118348"/>
                        <a:pt x="64474" y="125149"/>
                        <a:pt x="69399" y="123578"/>
                      </a:cubicBezTo>
                      <a:cubicBezTo>
                        <a:pt x="68761" y="127864"/>
                        <a:pt x="66589" y="126978"/>
                        <a:pt x="64379" y="128921"/>
                      </a:cubicBezTo>
                      <a:cubicBezTo>
                        <a:pt x="61550" y="131417"/>
                        <a:pt x="59426" y="132788"/>
                        <a:pt x="57054" y="136227"/>
                      </a:cubicBezTo>
                      <a:cubicBezTo>
                        <a:pt x="52282" y="143151"/>
                        <a:pt x="54035" y="147085"/>
                        <a:pt x="55530" y="155343"/>
                      </a:cubicBezTo>
                      <a:cubicBezTo>
                        <a:pt x="51073" y="155743"/>
                        <a:pt x="47929" y="159906"/>
                        <a:pt x="43738" y="160535"/>
                      </a:cubicBezTo>
                      <a:cubicBezTo>
                        <a:pt x="39928" y="161106"/>
                        <a:pt x="37652" y="159315"/>
                        <a:pt x="33985" y="158515"/>
                      </a:cubicBezTo>
                      <a:cubicBezTo>
                        <a:pt x="25050" y="156582"/>
                        <a:pt x="17830" y="160306"/>
                        <a:pt x="10267" y="159982"/>
                      </a:cubicBezTo>
                      <a:cubicBezTo>
                        <a:pt x="14106" y="153315"/>
                        <a:pt x="17583" y="145133"/>
                        <a:pt x="17040" y="137351"/>
                      </a:cubicBezTo>
                      <a:cubicBezTo>
                        <a:pt x="16687" y="132388"/>
                        <a:pt x="16116" y="131045"/>
                        <a:pt x="16630" y="126206"/>
                      </a:cubicBezTo>
                      <a:cubicBezTo>
                        <a:pt x="17069" y="122034"/>
                        <a:pt x="17973" y="119625"/>
                        <a:pt x="15687" y="115434"/>
                      </a:cubicBezTo>
                      <a:cubicBezTo>
                        <a:pt x="17602" y="115834"/>
                        <a:pt x="19774" y="115548"/>
                        <a:pt x="21631" y="116138"/>
                      </a:cubicBezTo>
                      <a:cubicBezTo>
                        <a:pt x="16687" y="108299"/>
                        <a:pt x="7553" y="120644"/>
                        <a:pt x="6639" y="112043"/>
                      </a:cubicBezTo>
                      <a:cubicBezTo>
                        <a:pt x="5981" y="105851"/>
                        <a:pt x="8467" y="110061"/>
                        <a:pt x="12211" y="105985"/>
                      </a:cubicBezTo>
                      <a:cubicBezTo>
                        <a:pt x="15535" y="102356"/>
                        <a:pt x="12773" y="98098"/>
                        <a:pt x="19154" y="95545"/>
                      </a:cubicBezTo>
                      <a:cubicBezTo>
                        <a:pt x="12030" y="96479"/>
                        <a:pt x="11858" y="105309"/>
                        <a:pt x="5686" y="107052"/>
                      </a:cubicBezTo>
                      <a:cubicBezTo>
                        <a:pt x="-248" y="108728"/>
                        <a:pt x="-86" y="106090"/>
                        <a:pt x="38" y="101756"/>
                      </a:cubicBezTo>
                      <a:cubicBezTo>
                        <a:pt x="390" y="89764"/>
                        <a:pt x="8410" y="83582"/>
                        <a:pt x="13639" y="73609"/>
                      </a:cubicBezTo>
                      <a:cubicBezTo>
                        <a:pt x="18697" y="63941"/>
                        <a:pt x="20097" y="55693"/>
                        <a:pt x="23622" y="45196"/>
                      </a:cubicBezTo>
                      <a:cubicBezTo>
                        <a:pt x="25222" y="40434"/>
                        <a:pt x="26231" y="35205"/>
                        <a:pt x="25612" y="30137"/>
                      </a:cubicBezTo>
                      <a:cubicBezTo>
                        <a:pt x="24993" y="25051"/>
                        <a:pt x="19783" y="17231"/>
                        <a:pt x="24250" y="13011"/>
                      </a:cubicBezTo>
                      <a:cubicBezTo>
                        <a:pt x="14849" y="13097"/>
                        <a:pt x="30146" y="-57"/>
                        <a:pt x="36328" y="0"/>
                      </a:cubicBezTo>
                      <a:cubicBezTo>
                        <a:pt x="45862" y="67"/>
                        <a:pt x="36623" y="4401"/>
                        <a:pt x="40433" y="9163"/>
                      </a:cubicBezTo>
                      <a:lnTo>
                        <a:pt x="40433" y="9163"/>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80" name="Freeform: Shape 579">
                  <a:extLst>
                    <a:ext uri="{FF2B5EF4-FFF2-40B4-BE49-F238E27FC236}">
                      <a16:creationId xmlns:a16="http://schemas.microsoft.com/office/drawing/2014/main" id="{68E1E4DB-0477-42F6-9F2E-77E102D1F710}"/>
                    </a:ext>
                  </a:extLst>
                </p:cNvPr>
                <p:cNvSpPr/>
                <p:nvPr/>
              </p:nvSpPr>
              <p:spPr>
                <a:xfrm>
                  <a:off x="9052480" y="3010458"/>
                  <a:ext cx="142587" cy="166195"/>
                </a:xfrm>
                <a:custGeom>
                  <a:avLst/>
                  <a:gdLst>
                    <a:gd name="connsiteX0" fmla="*/ 86033 w 142587"/>
                    <a:gd name="connsiteY0" fmla="*/ 726 h 166195"/>
                    <a:gd name="connsiteX1" fmla="*/ 104102 w 142587"/>
                    <a:gd name="connsiteY1" fmla="*/ 11136 h 166195"/>
                    <a:gd name="connsiteX2" fmla="*/ 121761 w 142587"/>
                    <a:gd name="connsiteY2" fmla="*/ 21900 h 166195"/>
                    <a:gd name="connsiteX3" fmla="*/ 115484 w 142587"/>
                    <a:gd name="connsiteY3" fmla="*/ 21928 h 166195"/>
                    <a:gd name="connsiteX4" fmla="*/ 112807 w 142587"/>
                    <a:gd name="connsiteY4" fmla="*/ 28377 h 166195"/>
                    <a:gd name="connsiteX5" fmla="*/ 110988 w 142587"/>
                    <a:gd name="connsiteY5" fmla="*/ 43245 h 166195"/>
                    <a:gd name="connsiteX6" fmla="*/ 120704 w 142587"/>
                    <a:gd name="connsiteY6" fmla="*/ 54256 h 166195"/>
                    <a:gd name="connsiteX7" fmla="*/ 126467 w 142587"/>
                    <a:gd name="connsiteY7" fmla="*/ 62952 h 166195"/>
                    <a:gd name="connsiteX8" fmla="*/ 126657 w 142587"/>
                    <a:gd name="connsiteY8" fmla="*/ 68886 h 166195"/>
                    <a:gd name="connsiteX9" fmla="*/ 120904 w 142587"/>
                    <a:gd name="connsiteY9" fmla="*/ 74459 h 166195"/>
                    <a:gd name="connsiteX10" fmla="*/ 121066 w 142587"/>
                    <a:gd name="connsiteY10" fmla="*/ 78973 h 166195"/>
                    <a:gd name="connsiteX11" fmla="*/ 117951 w 142587"/>
                    <a:gd name="connsiteY11" fmla="*/ 80964 h 166195"/>
                    <a:gd name="connsiteX12" fmla="*/ 115217 w 142587"/>
                    <a:gd name="connsiteY12" fmla="*/ 83793 h 166195"/>
                    <a:gd name="connsiteX13" fmla="*/ 113874 w 142587"/>
                    <a:gd name="connsiteY13" fmla="*/ 87222 h 166195"/>
                    <a:gd name="connsiteX14" fmla="*/ 109731 w 142587"/>
                    <a:gd name="connsiteY14" fmla="*/ 92461 h 166195"/>
                    <a:gd name="connsiteX15" fmla="*/ 102140 w 142587"/>
                    <a:gd name="connsiteY15" fmla="*/ 93985 h 166195"/>
                    <a:gd name="connsiteX16" fmla="*/ 96234 w 142587"/>
                    <a:gd name="connsiteY16" fmla="*/ 100119 h 166195"/>
                    <a:gd name="connsiteX17" fmla="*/ 97511 w 142587"/>
                    <a:gd name="connsiteY17" fmla="*/ 106824 h 166195"/>
                    <a:gd name="connsiteX18" fmla="*/ 102111 w 142587"/>
                    <a:gd name="connsiteY18" fmla="*/ 114035 h 166195"/>
                    <a:gd name="connsiteX19" fmla="*/ 99768 w 142587"/>
                    <a:gd name="connsiteY19" fmla="*/ 113292 h 166195"/>
                    <a:gd name="connsiteX20" fmla="*/ 120637 w 142587"/>
                    <a:gd name="connsiteY20" fmla="*/ 126198 h 166195"/>
                    <a:gd name="connsiteX21" fmla="*/ 142535 w 142587"/>
                    <a:gd name="connsiteY21" fmla="*/ 142610 h 166195"/>
                    <a:gd name="connsiteX22" fmla="*/ 124866 w 142587"/>
                    <a:gd name="connsiteY22" fmla="*/ 147772 h 166195"/>
                    <a:gd name="connsiteX23" fmla="*/ 112074 w 142587"/>
                    <a:gd name="connsiteY23" fmla="*/ 151887 h 166195"/>
                    <a:gd name="connsiteX24" fmla="*/ 112388 w 142587"/>
                    <a:gd name="connsiteY24" fmla="*/ 163708 h 166195"/>
                    <a:gd name="connsiteX25" fmla="*/ 106159 w 142587"/>
                    <a:gd name="connsiteY25" fmla="*/ 162546 h 166195"/>
                    <a:gd name="connsiteX26" fmla="*/ 101492 w 142587"/>
                    <a:gd name="connsiteY26" fmla="*/ 161669 h 166195"/>
                    <a:gd name="connsiteX27" fmla="*/ 98891 w 142587"/>
                    <a:gd name="connsiteY27" fmla="*/ 163851 h 166195"/>
                    <a:gd name="connsiteX28" fmla="*/ 98177 w 142587"/>
                    <a:gd name="connsiteY28" fmla="*/ 165527 h 166195"/>
                    <a:gd name="connsiteX29" fmla="*/ 94339 w 142587"/>
                    <a:gd name="connsiteY29" fmla="*/ 162155 h 166195"/>
                    <a:gd name="connsiteX30" fmla="*/ 84890 w 142587"/>
                    <a:gd name="connsiteY30" fmla="*/ 158698 h 166195"/>
                    <a:gd name="connsiteX31" fmla="*/ 77908 w 142587"/>
                    <a:gd name="connsiteY31" fmla="*/ 166194 h 166195"/>
                    <a:gd name="connsiteX32" fmla="*/ 72288 w 142587"/>
                    <a:gd name="connsiteY32" fmla="*/ 162184 h 166195"/>
                    <a:gd name="connsiteX33" fmla="*/ 62401 w 142587"/>
                    <a:gd name="connsiteY33" fmla="*/ 159603 h 166195"/>
                    <a:gd name="connsiteX34" fmla="*/ 67002 w 142587"/>
                    <a:gd name="connsiteY34" fmla="*/ 155650 h 166195"/>
                    <a:gd name="connsiteX35" fmla="*/ 49828 w 142587"/>
                    <a:gd name="connsiteY35" fmla="*/ 153373 h 166195"/>
                    <a:gd name="connsiteX36" fmla="*/ 50810 w 142587"/>
                    <a:gd name="connsiteY36" fmla="*/ 141115 h 166195"/>
                    <a:gd name="connsiteX37" fmla="*/ 62192 w 142587"/>
                    <a:gd name="connsiteY37" fmla="*/ 135828 h 166195"/>
                    <a:gd name="connsiteX38" fmla="*/ 47923 w 142587"/>
                    <a:gd name="connsiteY38" fmla="*/ 131037 h 166195"/>
                    <a:gd name="connsiteX39" fmla="*/ 44342 w 142587"/>
                    <a:gd name="connsiteY39" fmla="*/ 115673 h 166195"/>
                    <a:gd name="connsiteX40" fmla="*/ 16434 w 142587"/>
                    <a:gd name="connsiteY40" fmla="*/ 102595 h 166195"/>
                    <a:gd name="connsiteX41" fmla="*/ 12528 w 142587"/>
                    <a:gd name="connsiteY41" fmla="*/ 102767 h 166195"/>
                    <a:gd name="connsiteX42" fmla="*/ 1318 w 142587"/>
                    <a:gd name="connsiteY42" fmla="*/ 95985 h 166195"/>
                    <a:gd name="connsiteX43" fmla="*/ 7613 w 142587"/>
                    <a:gd name="connsiteY43" fmla="*/ 79821 h 166195"/>
                    <a:gd name="connsiteX44" fmla="*/ 17815 w 142587"/>
                    <a:gd name="connsiteY44" fmla="*/ 69915 h 166195"/>
                    <a:gd name="connsiteX45" fmla="*/ 20272 w 142587"/>
                    <a:gd name="connsiteY45" fmla="*/ 66991 h 166195"/>
                    <a:gd name="connsiteX46" fmla="*/ 25206 w 142587"/>
                    <a:gd name="connsiteY46" fmla="*/ 65953 h 166195"/>
                    <a:gd name="connsiteX47" fmla="*/ 25387 w 142587"/>
                    <a:gd name="connsiteY47" fmla="*/ 62200 h 166195"/>
                    <a:gd name="connsiteX48" fmla="*/ 28102 w 142587"/>
                    <a:gd name="connsiteY48" fmla="*/ 49703 h 166195"/>
                    <a:gd name="connsiteX49" fmla="*/ 30283 w 142587"/>
                    <a:gd name="connsiteY49" fmla="*/ 38349 h 166195"/>
                    <a:gd name="connsiteX50" fmla="*/ 46447 w 142587"/>
                    <a:gd name="connsiteY50" fmla="*/ 46579 h 166195"/>
                    <a:gd name="connsiteX51" fmla="*/ 68535 w 142587"/>
                    <a:gd name="connsiteY51" fmla="*/ 48808 h 166195"/>
                    <a:gd name="connsiteX52" fmla="*/ 74060 w 142587"/>
                    <a:gd name="connsiteY52" fmla="*/ 49303 h 166195"/>
                    <a:gd name="connsiteX53" fmla="*/ 70459 w 142587"/>
                    <a:gd name="connsiteY53" fmla="*/ 42302 h 166195"/>
                    <a:gd name="connsiteX54" fmla="*/ 56810 w 142587"/>
                    <a:gd name="connsiteY54" fmla="*/ 31834 h 166195"/>
                    <a:gd name="connsiteX55" fmla="*/ 82651 w 142587"/>
                    <a:gd name="connsiteY55" fmla="*/ 25357 h 166195"/>
                    <a:gd name="connsiteX56" fmla="*/ 83118 w 142587"/>
                    <a:gd name="connsiteY56" fmla="*/ 17661 h 166195"/>
                    <a:gd name="connsiteX57" fmla="*/ 91167 w 142587"/>
                    <a:gd name="connsiteY57" fmla="*/ 17328 h 166195"/>
                    <a:gd name="connsiteX58" fmla="*/ 83328 w 142587"/>
                    <a:gd name="connsiteY58" fmla="*/ 2 h 166195"/>
                    <a:gd name="connsiteX59" fmla="*/ 86033 w 142587"/>
                    <a:gd name="connsiteY59" fmla="*/ 726 h 166195"/>
                    <a:gd name="connsiteX60" fmla="*/ 86033 w 142587"/>
                    <a:gd name="connsiteY60" fmla="*/ 726 h 166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42587" h="166195">
                      <a:moveTo>
                        <a:pt x="86033" y="726"/>
                      </a:moveTo>
                      <a:cubicBezTo>
                        <a:pt x="94053" y="78"/>
                        <a:pt x="97692" y="7812"/>
                        <a:pt x="104102" y="11136"/>
                      </a:cubicBezTo>
                      <a:cubicBezTo>
                        <a:pt x="110417" y="14403"/>
                        <a:pt x="116142" y="17413"/>
                        <a:pt x="121761" y="21900"/>
                      </a:cubicBezTo>
                      <a:cubicBezTo>
                        <a:pt x="120027" y="22757"/>
                        <a:pt x="117085" y="20995"/>
                        <a:pt x="115484" y="21928"/>
                      </a:cubicBezTo>
                      <a:cubicBezTo>
                        <a:pt x="112398" y="23728"/>
                        <a:pt x="113570" y="26272"/>
                        <a:pt x="112807" y="28377"/>
                      </a:cubicBezTo>
                      <a:cubicBezTo>
                        <a:pt x="111255" y="32691"/>
                        <a:pt x="109388" y="38092"/>
                        <a:pt x="110988" y="43245"/>
                      </a:cubicBezTo>
                      <a:cubicBezTo>
                        <a:pt x="112436" y="47893"/>
                        <a:pt x="117865" y="50398"/>
                        <a:pt x="120704" y="54256"/>
                      </a:cubicBezTo>
                      <a:cubicBezTo>
                        <a:pt x="122171" y="56237"/>
                        <a:pt x="125504" y="60790"/>
                        <a:pt x="126467" y="62952"/>
                      </a:cubicBezTo>
                      <a:cubicBezTo>
                        <a:pt x="128438" y="67401"/>
                        <a:pt x="129362" y="65105"/>
                        <a:pt x="126657" y="68886"/>
                      </a:cubicBezTo>
                      <a:cubicBezTo>
                        <a:pt x="125019" y="71163"/>
                        <a:pt x="122456" y="71982"/>
                        <a:pt x="120904" y="74459"/>
                      </a:cubicBezTo>
                      <a:cubicBezTo>
                        <a:pt x="120247" y="75516"/>
                        <a:pt x="121609" y="77840"/>
                        <a:pt x="121066" y="78973"/>
                      </a:cubicBezTo>
                      <a:cubicBezTo>
                        <a:pt x="120609" y="79916"/>
                        <a:pt x="118589" y="80097"/>
                        <a:pt x="117951" y="80964"/>
                      </a:cubicBezTo>
                      <a:cubicBezTo>
                        <a:pt x="117198" y="81983"/>
                        <a:pt x="115751" y="83031"/>
                        <a:pt x="115217" y="83793"/>
                      </a:cubicBezTo>
                      <a:cubicBezTo>
                        <a:pt x="114570" y="84736"/>
                        <a:pt x="114436" y="86470"/>
                        <a:pt x="113874" y="87222"/>
                      </a:cubicBezTo>
                      <a:cubicBezTo>
                        <a:pt x="112464" y="89156"/>
                        <a:pt x="112341" y="91051"/>
                        <a:pt x="109731" y="92461"/>
                      </a:cubicBezTo>
                      <a:cubicBezTo>
                        <a:pt x="107502" y="93670"/>
                        <a:pt x="104664" y="92823"/>
                        <a:pt x="102140" y="93985"/>
                      </a:cubicBezTo>
                      <a:cubicBezTo>
                        <a:pt x="102149" y="93985"/>
                        <a:pt x="96206" y="100214"/>
                        <a:pt x="96234" y="100119"/>
                      </a:cubicBezTo>
                      <a:cubicBezTo>
                        <a:pt x="94986" y="103967"/>
                        <a:pt x="94748" y="102395"/>
                        <a:pt x="97511" y="106824"/>
                      </a:cubicBezTo>
                      <a:cubicBezTo>
                        <a:pt x="99082" y="109349"/>
                        <a:pt x="101006" y="111168"/>
                        <a:pt x="102111" y="114035"/>
                      </a:cubicBezTo>
                      <a:cubicBezTo>
                        <a:pt x="101330" y="113787"/>
                        <a:pt x="100549" y="113540"/>
                        <a:pt x="99768" y="113292"/>
                      </a:cubicBezTo>
                      <a:cubicBezTo>
                        <a:pt x="98482" y="121064"/>
                        <a:pt x="115179" y="122960"/>
                        <a:pt x="120637" y="126198"/>
                      </a:cubicBezTo>
                      <a:cubicBezTo>
                        <a:pt x="127581" y="130323"/>
                        <a:pt x="143621" y="133790"/>
                        <a:pt x="142535" y="142610"/>
                      </a:cubicBezTo>
                      <a:cubicBezTo>
                        <a:pt x="141545" y="150640"/>
                        <a:pt x="131934" y="147639"/>
                        <a:pt x="124866" y="147772"/>
                      </a:cubicBezTo>
                      <a:cubicBezTo>
                        <a:pt x="118665" y="147887"/>
                        <a:pt x="115265" y="146496"/>
                        <a:pt x="112074" y="151887"/>
                      </a:cubicBezTo>
                      <a:cubicBezTo>
                        <a:pt x="110283" y="154907"/>
                        <a:pt x="109845" y="161422"/>
                        <a:pt x="112388" y="163708"/>
                      </a:cubicBezTo>
                      <a:cubicBezTo>
                        <a:pt x="110274" y="164270"/>
                        <a:pt x="108731" y="162812"/>
                        <a:pt x="106159" y="162546"/>
                      </a:cubicBezTo>
                      <a:cubicBezTo>
                        <a:pt x="104292" y="162346"/>
                        <a:pt x="103302" y="161346"/>
                        <a:pt x="101492" y="161669"/>
                      </a:cubicBezTo>
                      <a:cubicBezTo>
                        <a:pt x="101006" y="161755"/>
                        <a:pt x="97777" y="163822"/>
                        <a:pt x="98891" y="163851"/>
                      </a:cubicBezTo>
                      <a:cubicBezTo>
                        <a:pt x="99797" y="163879"/>
                        <a:pt x="98501" y="165499"/>
                        <a:pt x="98177" y="165527"/>
                      </a:cubicBezTo>
                      <a:cubicBezTo>
                        <a:pt x="97301" y="165584"/>
                        <a:pt x="95072" y="162403"/>
                        <a:pt x="94339" y="162155"/>
                      </a:cubicBezTo>
                      <a:cubicBezTo>
                        <a:pt x="92538" y="161546"/>
                        <a:pt x="86424" y="158612"/>
                        <a:pt x="84890" y="158698"/>
                      </a:cubicBezTo>
                      <a:cubicBezTo>
                        <a:pt x="79308" y="158974"/>
                        <a:pt x="83985" y="165775"/>
                        <a:pt x="77908" y="166194"/>
                      </a:cubicBezTo>
                      <a:cubicBezTo>
                        <a:pt x="76565" y="166289"/>
                        <a:pt x="73793" y="162936"/>
                        <a:pt x="72288" y="162184"/>
                      </a:cubicBezTo>
                      <a:cubicBezTo>
                        <a:pt x="69536" y="160812"/>
                        <a:pt x="65373" y="160822"/>
                        <a:pt x="62401" y="159603"/>
                      </a:cubicBezTo>
                      <a:cubicBezTo>
                        <a:pt x="64068" y="158412"/>
                        <a:pt x="65192" y="156659"/>
                        <a:pt x="67002" y="155650"/>
                      </a:cubicBezTo>
                      <a:cubicBezTo>
                        <a:pt x="62097" y="152764"/>
                        <a:pt x="55144" y="155497"/>
                        <a:pt x="49828" y="153373"/>
                      </a:cubicBezTo>
                      <a:cubicBezTo>
                        <a:pt x="55344" y="149963"/>
                        <a:pt x="48771" y="146144"/>
                        <a:pt x="50810" y="141115"/>
                      </a:cubicBezTo>
                      <a:cubicBezTo>
                        <a:pt x="52695" y="136447"/>
                        <a:pt x="57972" y="136142"/>
                        <a:pt x="62192" y="135828"/>
                      </a:cubicBezTo>
                      <a:cubicBezTo>
                        <a:pt x="57753" y="133018"/>
                        <a:pt x="51505" y="135257"/>
                        <a:pt x="47923" y="131037"/>
                      </a:cubicBezTo>
                      <a:cubicBezTo>
                        <a:pt x="44637" y="127160"/>
                        <a:pt x="46809" y="120140"/>
                        <a:pt x="44342" y="115673"/>
                      </a:cubicBezTo>
                      <a:cubicBezTo>
                        <a:pt x="40370" y="108463"/>
                        <a:pt x="23692" y="103091"/>
                        <a:pt x="16434" y="102595"/>
                      </a:cubicBezTo>
                      <a:cubicBezTo>
                        <a:pt x="20739" y="109149"/>
                        <a:pt x="14786" y="104157"/>
                        <a:pt x="12528" y="102767"/>
                      </a:cubicBezTo>
                      <a:cubicBezTo>
                        <a:pt x="8804" y="100490"/>
                        <a:pt x="3918" y="99300"/>
                        <a:pt x="1318" y="95985"/>
                      </a:cubicBezTo>
                      <a:cubicBezTo>
                        <a:pt x="-2026" y="91727"/>
                        <a:pt x="1327" y="79307"/>
                        <a:pt x="7613" y="79821"/>
                      </a:cubicBezTo>
                      <a:cubicBezTo>
                        <a:pt x="6804" y="76392"/>
                        <a:pt x="15452" y="71763"/>
                        <a:pt x="17815" y="69915"/>
                      </a:cubicBezTo>
                      <a:cubicBezTo>
                        <a:pt x="18739" y="69201"/>
                        <a:pt x="18929" y="68048"/>
                        <a:pt x="20272" y="66991"/>
                      </a:cubicBezTo>
                      <a:cubicBezTo>
                        <a:pt x="21472" y="66029"/>
                        <a:pt x="24244" y="66867"/>
                        <a:pt x="25206" y="65953"/>
                      </a:cubicBezTo>
                      <a:cubicBezTo>
                        <a:pt x="26330" y="64867"/>
                        <a:pt x="24959" y="63086"/>
                        <a:pt x="25387" y="62200"/>
                      </a:cubicBezTo>
                      <a:cubicBezTo>
                        <a:pt x="27016" y="58828"/>
                        <a:pt x="28578" y="52675"/>
                        <a:pt x="28102" y="49703"/>
                      </a:cubicBezTo>
                      <a:cubicBezTo>
                        <a:pt x="27473" y="45731"/>
                        <a:pt x="23349" y="39111"/>
                        <a:pt x="30283" y="38349"/>
                      </a:cubicBezTo>
                      <a:cubicBezTo>
                        <a:pt x="35150" y="37806"/>
                        <a:pt x="41837" y="45160"/>
                        <a:pt x="46447" y="46579"/>
                      </a:cubicBezTo>
                      <a:cubicBezTo>
                        <a:pt x="53734" y="48817"/>
                        <a:pt x="61068" y="48665"/>
                        <a:pt x="68535" y="48808"/>
                      </a:cubicBezTo>
                      <a:cubicBezTo>
                        <a:pt x="71355" y="48865"/>
                        <a:pt x="72393" y="52465"/>
                        <a:pt x="74060" y="49303"/>
                      </a:cubicBezTo>
                      <a:cubicBezTo>
                        <a:pt x="75546" y="46474"/>
                        <a:pt x="71974" y="43769"/>
                        <a:pt x="70459" y="42302"/>
                      </a:cubicBezTo>
                      <a:cubicBezTo>
                        <a:pt x="66564" y="38530"/>
                        <a:pt x="59020" y="37454"/>
                        <a:pt x="56810" y="31834"/>
                      </a:cubicBezTo>
                      <a:cubicBezTo>
                        <a:pt x="63944" y="29462"/>
                        <a:pt x="80565" y="34701"/>
                        <a:pt x="82651" y="25357"/>
                      </a:cubicBezTo>
                      <a:cubicBezTo>
                        <a:pt x="83423" y="21871"/>
                        <a:pt x="79127" y="20366"/>
                        <a:pt x="83118" y="17661"/>
                      </a:cubicBezTo>
                      <a:cubicBezTo>
                        <a:pt x="85490" y="16061"/>
                        <a:pt x="88214" y="19776"/>
                        <a:pt x="91167" y="17328"/>
                      </a:cubicBezTo>
                      <a:cubicBezTo>
                        <a:pt x="89205" y="11289"/>
                        <a:pt x="84271" y="6317"/>
                        <a:pt x="83328" y="2"/>
                      </a:cubicBezTo>
                      <a:cubicBezTo>
                        <a:pt x="84376" y="-27"/>
                        <a:pt x="85080" y="325"/>
                        <a:pt x="86033" y="726"/>
                      </a:cubicBezTo>
                      <a:lnTo>
                        <a:pt x="86033" y="726"/>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81" name="Freeform: Shape 580">
                  <a:extLst>
                    <a:ext uri="{FF2B5EF4-FFF2-40B4-BE49-F238E27FC236}">
                      <a16:creationId xmlns:a16="http://schemas.microsoft.com/office/drawing/2014/main" id="{FB0736A7-1780-44D5-B252-699B36BE34DC}"/>
                    </a:ext>
                  </a:extLst>
                </p:cNvPr>
                <p:cNvSpPr/>
                <p:nvPr/>
              </p:nvSpPr>
              <p:spPr>
                <a:xfrm>
                  <a:off x="3529741" y="3781095"/>
                  <a:ext cx="49194" cy="18583"/>
                </a:xfrm>
                <a:custGeom>
                  <a:avLst/>
                  <a:gdLst>
                    <a:gd name="connsiteX0" fmla="*/ 34275 w 49194"/>
                    <a:gd name="connsiteY0" fmla="*/ 2785 h 18583"/>
                    <a:gd name="connsiteX1" fmla="*/ 36056 w 49194"/>
                    <a:gd name="connsiteY1" fmla="*/ 3318 h 18583"/>
                    <a:gd name="connsiteX2" fmla="*/ 35542 w 49194"/>
                    <a:gd name="connsiteY2" fmla="*/ 2023 h 18583"/>
                    <a:gd name="connsiteX3" fmla="*/ 49153 w 49194"/>
                    <a:gd name="connsiteY3" fmla="*/ 5937 h 18583"/>
                    <a:gd name="connsiteX4" fmla="*/ 37237 w 49194"/>
                    <a:gd name="connsiteY4" fmla="*/ 17205 h 18583"/>
                    <a:gd name="connsiteX5" fmla="*/ 22931 w 49194"/>
                    <a:gd name="connsiteY5" fmla="*/ 18339 h 18583"/>
                    <a:gd name="connsiteX6" fmla="*/ 6424 w 49194"/>
                    <a:gd name="connsiteY6" fmla="*/ 18282 h 18583"/>
                    <a:gd name="connsiteX7" fmla="*/ 890 w 49194"/>
                    <a:gd name="connsiteY7" fmla="*/ 10290 h 18583"/>
                    <a:gd name="connsiteX8" fmla="*/ 2824 w 49194"/>
                    <a:gd name="connsiteY8" fmla="*/ 1556 h 18583"/>
                    <a:gd name="connsiteX9" fmla="*/ 34275 w 49194"/>
                    <a:gd name="connsiteY9" fmla="*/ 2785 h 18583"/>
                    <a:gd name="connsiteX10" fmla="*/ 34275 w 49194"/>
                    <a:gd name="connsiteY10" fmla="*/ 2785 h 18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194" h="18583">
                      <a:moveTo>
                        <a:pt x="34275" y="2785"/>
                      </a:moveTo>
                      <a:cubicBezTo>
                        <a:pt x="34809" y="2708"/>
                        <a:pt x="35199" y="3566"/>
                        <a:pt x="36056" y="3318"/>
                      </a:cubicBezTo>
                      <a:cubicBezTo>
                        <a:pt x="35885" y="2889"/>
                        <a:pt x="35714" y="2461"/>
                        <a:pt x="35542" y="2023"/>
                      </a:cubicBezTo>
                      <a:cubicBezTo>
                        <a:pt x="38571" y="2261"/>
                        <a:pt x="48639" y="3356"/>
                        <a:pt x="49153" y="5937"/>
                      </a:cubicBezTo>
                      <a:cubicBezTo>
                        <a:pt x="49896" y="9681"/>
                        <a:pt x="40514" y="15786"/>
                        <a:pt x="37237" y="17205"/>
                      </a:cubicBezTo>
                      <a:cubicBezTo>
                        <a:pt x="33161" y="18968"/>
                        <a:pt x="27227" y="18653"/>
                        <a:pt x="22931" y="18339"/>
                      </a:cubicBezTo>
                      <a:cubicBezTo>
                        <a:pt x="17283" y="17920"/>
                        <a:pt x="12111" y="18196"/>
                        <a:pt x="6424" y="18282"/>
                      </a:cubicBezTo>
                      <a:cubicBezTo>
                        <a:pt x="-2063" y="18406"/>
                        <a:pt x="471" y="16920"/>
                        <a:pt x="890" y="10290"/>
                      </a:cubicBezTo>
                      <a:cubicBezTo>
                        <a:pt x="1147" y="6280"/>
                        <a:pt x="-2282" y="4575"/>
                        <a:pt x="2824" y="1556"/>
                      </a:cubicBezTo>
                      <a:cubicBezTo>
                        <a:pt x="7624" y="-1302"/>
                        <a:pt x="30065" y="175"/>
                        <a:pt x="34275" y="2785"/>
                      </a:cubicBezTo>
                      <a:lnTo>
                        <a:pt x="34275" y="2785"/>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82" name="Freeform: Shape 581">
                  <a:extLst>
                    <a:ext uri="{FF2B5EF4-FFF2-40B4-BE49-F238E27FC236}">
                      <a16:creationId xmlns:a16="http://schemas.microsoft.com/office/drawing/2014/main" id="{D5591181-57FE-4446-AE25-1797908A950B}"/>
                    </a:ext>
                  </a:extLst>
                </p:cNvPr>
                <p:cNvSpPr/>
                <p:nvPr/>
              </p:nvSpPr>
              <p:spPr>
                <a:xfrm>
                  <a:off x="5949119" y="2637636"/>
                  <a:ext cx="264686" cy="183119"/>
                </a:xfrm>
                <a:custGeom>
                  <a:avLst/>
                  <a:gdLst>
                    <a:gd name="connsiteX0" fmla="*/ 132716 w 264686"/>
                    <a:gd name="connsiteY0" fmla="*/ 11787 h 183119"/>
                    <a:gd name="connsiteX1" fmla="*/ 190362 w 264686"/>
                    <a:gd name="connsiteY1" fmla="*/ 14654 h 183119"/>
                    <a:gd name="connsiteX2" fmla="*/ 231462 w 264686"/>
                    <a:gd name="connsiteY2" fmla="*/ 24894 h 183119"/>
                    <a:gd name="connsiteX3" fmla="*/ 243244 w 264686"/>
                    <a:gd name="connsiteY3" fmla="*/ 49268 h 183119"/>
                    <a:gd name="connsiteX4" fmla="*/ 247474 w 264686"/>
                    <a:gd name="connsiteY4" fmla="*/ 68490 h 183119"/>
                    <a:gd name="connsiteX5" fmla="*/ 233853 w 264686"/>
                    <a:gd name="connsiteY5" fmla="*/ 81329 h 183119"/>
                    <a:gd name="connsiteX6" fmla="*/ 243092 w 264686"/>
                    <a:gd name="connsiteY6" fmla="*/ 85444 h 183119"/>
                    <a:gd name="connsiteX7" fmla="*/ 246007 w 264686"/>
                    <a:gd name="connsiteY7" fmla="*/ 93636 h 183119"/>
                    <a:gd name="connsiteX8" fmla="*/ 251303 w 264686"/>
                    <a:gd name="connsiteY8" fmla="*/ 112105 h 183119"/>
                    <a:gd name="connsiteX9" fmla="*/ 260894 w 264686"/>
                    <a:gd name="connsiteY9" fmla="*/ 127516 h 183119"/>
                    <a:gd name="connsiteX10" fmla="*/ 263247 w 264686"/>
                    <a:gd name="connsiteY10" fmla="*/ 137860 h 183119"/>
                    <a:gd name="connsiteX11" fmla="*/ 256084 w 264686"/>
                    <a:gd name="connsiteY11" fmla="*/ 140384 h 183119"/>
                    <a:gd name="connsiteX12" fmla="*/ 249293 w 264686"/>
                    <a:gd name="connsiteY12" fmla="*/ 146766 h 183119"/>
                    <a:gd name="connsiteX13" fmla="*/ 237234 w 264686"/>
                    <a:gd name="connsiteY13" fmla="*/ 160396 h 183119"/>
                    <a:gd name="connsiteX14" fmla="*/ 235996 w 264686"/>
                    <a:gd name="connsiteY14" fmla="*/ 175293 h 183119"/>
                    <a:gd name="connsiteX15" fmla="*/ 237482 w 264686"/>
                    <a:gd name="connsiteY15" fmla="*/ 179465 h 183119"/>
                    <a:gd name="connsiteX16" fmla="*/ 238634 w 264686"/>
                    <a:gd name="connsiteY16" fmla="*/ 182971 h 183119"/>
                    <a:gd name="connsiteX17" fmla="*/ 222194 w 264686"/>
                    <a:gd name="connsiteY17" fmla="*/ 178713 h 183119"/>
                    <a:gd name="connsiteX18" fmla="*/ 207535 w 264686"/>
                    <a:gd name="connsiteY18" fmla="*/ 171017 h 183119"/>
                    <a:gd name="connsiteX19" fmla="*/ 191152 w 264686"/>
                    <a:gd name="connsiteY19" fmla="*/ 172426 h 183119"/>
                    <a:gd name="connsiteX20" fmla="*/ 166854 w 264686"/>
                    <a:gd name="connsiteY20" fmla="*/ 178046 h 183119"/>
                    <a:gd name="connsiteX21" fmla="*/ 160586 w 264686"/>
                    <a:gd name="connsiteY21" fmla="*/ 177598 h 183119"/>
                    <a:gd name="connsiteX22" fmla="*/ 159367 w 264686"/>
                    <a:gd name="connsiteY22" fmla="*/ 175522 h 183119"/>
                    <a:gd name="connsiteX23" fmla="*/ 157472 w 264686"/>
                    <a:gd name="connsiteY23" fmla="*/ 171483 h 183119"/>
                    <a:gd name="connsiteX24" fmla="*/ 154148 w 264686"/>
                    <a:gd name="connsiteY24" fmla="*/ 170026 h 183119"/>
                    <a:gd name="connsiteX25" fmla="*/ 145146 w 264686"/>
                    <a:gd name="connsiteY25" fmla="*/ 167435 h 183119"/>
                    <a:gd name="connsiteX26" fmla="*/ 138860 w 264686"/>
                    <a:gd name="connsiteY26" fmla="*/ 171245 h 183119"/>
                    <a:gd name="connsiteX27" fmla="*/ 134345 w 264686"/>
                    <a:gd name="connsiteY27" fmla="*/ 167769 h 183119"/>
                    <a:gd name="connsiteX28" fmla="*/ 125744 w 264686"/>
                    <a:gd name="connsiteY28" fmla="*/ 157263 h 183119"/>
                    <a:gd name="connsiteX29" fmla="*/ 116486 w 264686"/>
                    <a:gd name="connsiteY29" fmla="*/ 153910 h 183119"/>
                    <a:gd name="connsiteX30" fmla="*/ 98969 w 264686"/>
                    <a:gd name="connsiteY30" fmla="*/ 147290 h 183119"/>
                    <a:gd name="connsiteX31" fmla="*/ 101827 w 264686"/>
                    <a:gd name="connsiteY31" fmla="*/ 142842 h 183119"/>
                    <a:gd name="connsiteX32" fmla="*/ 95921 w 264686"/>
                    <a:gd name="connsiteY32" fmla="*/ 144147 h 183119"/>
                    <a:gd name="connsiteX33" fmla="*/ 79681 w 264686"/>
                    <a:gd name="connsiteY33" fmla="*/ 138794 h 183119"/>
                    <a:gd name="connsiteX34" fmla="*/ 78786 w 264686"/>
                    <a:gd name="connsiteY34" fmla="*/ 146833 h 183119"/>
                    <a:gd name="connsiteX35" fmla="*/ 70604 w 264686"/>
                    <a:gd name="connsiteY35" fmla="*/ 144937 h 183119"/>
                    <a:gd name="connsiteX36" fmla="*/ 62765 w 264686"/>
                    <a:gd name="connsiteY36" fmla="*/ 138413 h 183119"/>
                    <a:gd name="connsiteX37" fmla="*/ 65603 w 264686"/>
                    <a:gd name="connsiteY37" fmla="*/ 132679 h 183119"/>
                    <a:gd name="connsiteX38" fmla="*/ 55050 w 264686"/>
                    <a:gd name="connsiteY38" fmla="*/ 131412 h 183119"/>
                    <a:gd name="connsiteX39" fmla="*/ 41972 w 264686"/>
                    <a:gd name="connsiteY39" fmla="*/ 127240 h 183119"/>
                    <a:gd name="connsiteX40" fmla="*/ 33551 w 264686"/>
                    <a:gd name="connsiteY40" fmla="*/ 121249 h 183119"/>
                    <a:gd name="connsiteX41" fmla="*/ 24941 w 264686"/>
                    <a:gd name="connsiteY41" fmla="*/ 125182 h 183119"/>
                    <a:gd name="connsiteX42" fmla="*/ 27236 w 264686"/>
                    <a:gd name="connsiteY42" fmla="*/ 109361 h 183119"/>
                    <a:gd name="connsiteX43" fmla="*/ 24255 w 264686"/>
                    <a:gd name="connsiteY43" fmla="*/ 105647 h 183119"/>
                    <a:gd name="connsiteX44" fmla="*/ 20255 w 264686"/>
                    <a:gd name="connsiteY44" fmla="*/ 103570 h 183119"/>
                    <a:gd name="connsiteX45" fmla="*/ 20474 w 264686"/>
                    <a:gd name="connsiteY45" fmla="*/ 100436 h 183119"/>
                    <a:gd name="connsiteX46" fmla="*/ 18626 w 264686"/>
                    <a:gd name="connsiteY46" fmla="*/ 89978 h 183119"/>
                    <a:gd name="connsiteX47" fmla="*/ 17616 w 264686"/>
                    <a:gd name="connsiteY47" fmla="*/ 82034 h 183119"/>
                    <a:gd name="connsiteX48" fmla="*/ 14178 w 264686"/>
                    <a:gd name="connsiteY48" fmla="*/ 78986 h 183119"/>
                    <a:gd name="connsiteX49" fmla="*/ 14806 w 264686"/>
                    <a:gd name="connsiteY49" fmla="*/ 72585 h 183119"/>
                    <a:gd name="connsiteX50" fmla="*/ 1338 w 264686"/>
                    <a:gd name="connsiteY50" fmla="*/ 60708 h 183119"/>
                    <a:gd name="connsiteX51" fmla="*/ 7310 w 264686"/>
                    <a:gd name="connsiteY51" fmla="*/ 49849 h 183119"/>
                    <a:gd name="connsiteX52" fmla="*/ 1909 w 264686"/>
                    <a:gd name="connsiteY52" fmla="*/ 34752 h 183119"/>
                    <a:gd name="connsiteX53" fmla="*/ 10339 w 264686"/>
                    <a:gd name="connsiteY53" fmla="*/ 37591 h 183119"/>
                    <a:gd name="connsiteX54" fmla="*/ 8291 w 264686"/>
                    <a:gd name="connsiteY54" fmla="*/ 31628 h 183119"/>
                    <a:gd name="connsiteX55" fmla="*/ 24 w 264686"/>
                    <a:gd name="connsiteY55" fmla="*/ 27799 h 183119"/>
                    <a:gd name="connsiteX56" fmla="*/ 28208 w 264686"/>
                    <a:gd name="connsiteY56" fmla="*/ 21369 h 183119"/>
                    <a:gd name="connsiteX57" fmla="*/ 45620 w 264686"/>
                    <a:gd name="connsiteY57" fmla="*/ 17645 h 183119"/>
                    <a:gd name="connsiteX58" fmla="*/ 54478 w 264686"/>
                    <a:gd name="connsiteY58" fmla="*/ 10625 h 183119"/>
                    <a:gd name="connsiteX59" fmla="*/ 84710 w 264686"/>
                    <a:gd name="connsiteY59" fmla="*/ 1034 h 183119"/>
                    <a:gd name="connsiteX60" fmla="*/ 111952 w 264686"/>
                    <a:gd name="connsiteY60" fmla="*/ 6282 h 183119"/>
                    <a:gd name="connsiteX61" fmla="*/ 102455 w 264686"/>
                    <a:gd name="connsiteY61" fmla="*/ 2767 h 183119"/>
                    <a:gd name="connsiteX62" fmla="*/ 132716 w 264686"/>
                    <a:gd name="connsiteY62" fmla="*/ 11787 h 183119"/>
                    <a:gd name="connsiteX63" fmla="*/ 132716 w 264686"/>
                    <a:gd name="connsiteY63" fmla="*/ 11787 h 183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64686" h="183119">
                      <a:moveTo>
                        <a:pt x="132716" y="11787"/>
                      </a:moveTo>
                      <a:cubicBezTo>
                        <a:pt x="150385" y="16245"/>
                        <a:pt x="172140" y="13959"/>
                        <a:pt x="190362" y="14654"/>
                      </a:cubicBezTo>
                      <a:cubicBezTo>
                        <a:pt x="203868" y="15178"/>
                        <a:pt x="224023" y="10597"/>
                        <a:pt x="231462" y="24894"/>
                      </a:cubicBezTo>
                      <a:cubicBezTo>
                        <a:pt x="235520" y="32685"/>
                        <a:pt x="238815" y="41315"/>
                        <a:pt x="243244" y="49268"/>
                      </a:cubicBezTo>
                      <a:cubicBezTo>
                        <a:pt x="245940" y="54107"/>
                        <a:pt x="251588" y="63756"/>
                        <a:pt x="247474" y="68490"/>
                      </a:cubicBezTo>
                      <a:cubicBezTo>
                        <a:pt x="244749" y="71633"/>
                        <a:pt x="229205" y="73919"/>
                        <a:pt x="233853" y="81329"/>
                      </a:cubicBezTo>
                      <a:cubicBezTo>
                        <a:pt x="235186" y="83453"/>
                        <a:pt x="241016" y="83634"/>
                        <a:pt x="243092" y="85444"/>
                      </a:cubicBezTo>
                      <a:cubicBezTo>
                        <a:pt x="246569" y="88454"/>
                        <a:pt x="246111" y="88730"/>
                        <a:pt x="246007" y="93636"/>
                      </a:cubicBezTo>
                      <a:cubicBezTo>
                        <a:pt x="245845" y="100103"/>
                        <a:pt x="247397" y="106409"/>
                        <a:pt x="251303" y="112105"/>
                      </a:cubicBezTo>
                      <a:cubicBezTo>
                        <a:pt x="253970" y="116019"/>
                        <a:pt x="267352" y="125068"/>
                        <a:pt x="260894" y="127516"/>
                      </a:cubicBezTo>
                      <a:cubicBezTo>
                        <a:pt x="264390" y="130383"/>
                        <a:pt x="266104" y="134260"/>
                        <a:pt x="263247" y="137860"/>
                      </a:cubicBezTo>
                      <a:cubicBezTo>
                        <a:pt x="261256" y="140365"/>
                        <a:pt x="258980" y="138889"/>
                        <a:pt x="256084" y="140384"/>
                      </a:cubicBezTo>
                      <a:cubicBezTo>
                        <a:pt x="253932" y="141499"/>
                        <a:pt x="251150" y="145004"/>
                        <a:pt x="249293" y="146766"/>
                      </a:cubicBezTo>
                      <a:cubicBezTo>
                        <a:pt x="244854" y="150986"/>
                        <a:pt x="240920" y="155520"/>
                        <a:pt x="237234" y="160396"/>
                      </a:cubicBezTo>
                      <a:cubicBezTo>
                        <a:pt x="232595" y="166549"/>
                        <a:pt x="232719" y="168293"/>
                        <a:pt x="235996" y="175293"/>
                      </a:cubicBezTo>
                      <a:cubicBezTo>
                        <a:pt x="236196" y="175703"/>
                        <a:pt x="237444" y="179294"/>
                        <a:pt x="237482" y="179465"/>
                      </a:cubicBezTo>
                      <a:cubicBezTo>
                        <a:pt x="238006" y="181732"/>
                        <a:pt x="242044" y="181285"/>
                        <a:pt x="238634" y="182971"/>
                      </a:cubicBezTo>
                      <a:cubicBezTo>
                        <a:pt x="236586" y="183980"/>
                        <a:pt x="224051" y="179542"/>
                        <a:pt x="222194" y="178713"/>
                      </a:cubicBezTo>
                      <a:cubicBezTo>
                        <a:pt x="216832" y="176322"/>
                        <a:pt x="213831" y="172284"/>
                        <a:pt x="207535" y="171017"/>
                      </a:cubicBezTo>
                      <a:cubicBezTo>
                        <a:pt x="200915" y="169683"/>
                        <a:pt x="196219" y="171321"/>
                        <a:pt x="191152" y="172426"/>
                      </a:cubicBezTo>
                      <a:cubicBezTo>
                        <a:pt x="185980" y="173560"/>
                        <a:pt x="168197" y="167073"/>
                        <a:pt x="166854" y="178046"/>
                      </a:cubicBezTo>
                      <a:cubicBezTo>
                        <a:pt x="165120" y="177027"/>
                        <a:pt x="161358" y="178132"/>
                        <a:pt x="160586" y="177598"/>
                      </a:cubicBezTo>
                      <a:cubicBezTo>
                        <a:pt x="159558" y="176903"/>
                        <a:pt x="159529" y="175627"/>
                        <a:pt x="159367" y="175522"/>
                      </a:cubicBezTo>
                      <a:cubicBezTo>
                        <a:pt x="159596" y="175693"/>
                        <a:pt x="157672" y="171760"/>
                        <a:pt x="157472" y="171483"/>
                      </a:cubicBezTo>
                      <a:cubicBezTo>
                        <a:pt x="157291" y="171245"/>
                        <a:pt x="154719" y="170531"/>
                        <a:pt x="154148" y="170026"/>
                      </a:cubicBezTo>
                      <a:cubicBezTo>
                        <a:pt x="149223" y="165654"/>
                        <a:pt x="150909" y="164787"/>
                        <a:pt x="145146" y="167435"/>
                      </a:cubicBezTo>
                      <a:cubicBezTo>
                        <a:pt x="142051" y="168855"/>
                        <a:pt x="143327" y="171522"/>
                        <a:pt x="138860" y="171245"/>
                      </a:cubicBezTo>
                      <a:cubicBezTo>
                        <a:pt x="138393" y="171217"/>
                        <a:pt x="134745" y="168169"/>
                        <a:pt x="134345" y="167769"/>
                      </a:cubicBezTo>
                      <a:cubicBezTo>
                        <a:pt x="131926" y="165349"/>
                        <a:pt x="128383" y="159253"/>
                        <a:pt x="125744" y="157263"/>
                      </a:cubicBezTo>
                      <a:cubicBezTo>
                        <a:pt x="122829" y="155081"/>
                        <a:pt x="119848" y="155043"/>
                        <a:pt x="116486" y="153910"/>
                      </a:cubicBezTo>
                      <a:cubicBezTo>
                        <a:pt x="109142" y="151433"/>
                        <a:pt x="105713" y="152995"/>
                        <a:pt x="98969" y="147290"/>
                      </a:cubicBezTo>
                      <a:cubicBezTo>
                        <a:pt x="100731" y="147071"/>
                        <a:pt x="104199" y="145033"/>
                        <a:pt x="101827" y="142842"/>
                      </a:cubicBezTo>
                      <a:cubicBezTo>
                        <a:pt x="101169" y="142232"/>
                        <a:pt x="97131" y="144299"/>
                        <a:pt x="95921" y="144147"/>
                      </a:cubicBezTo>
                      <a:cubicBezTo>
                        <a:pt x="90340" y="143461"/>
                        <a:pt x="85663" y="139508"/>
                        <a:pt x="79681" y="138794"/>
                      </a:cubicBezTo>
                      <a:cubicBezTo>
                        <a:pt x="81253" y="143947"/>
                        <a:pt x="85110" y="143718"/>
                        <a:pt x="78786" y="146833"/>
                      </a:cubicBezTo>
                      <a:cubicBezTo>
                        <a:pt x="73433" y="149471"/>
                        <a:pt x="75681" y="149357"/>
                        <a:pt x="70604" y="144937"/>
                      </a:cubicBezTo>
                      <a:cubicBezTo>
                        <a:pt x="69061" y="143585"/>
                        <a:pt x="62727" y="140013"/>
                        <a:pt x="62765" y="138413"/>
                      </a:cubicBezTo>
                      <a:cubicBezTo>
                        <a:pt x="62851" y="135336"/>
                        <a:pt x="69880" y="136698"/>
                        <a:pt x="65603" y="132679"/>
                      </a:cubicBezTo>
                      <a:cubicBezTo>
                        <a:pt x="63650" y="130840"/>
                        <a:pt x="57231" y="131974"/>
                        <a:pt x="55050" y="131412"/>
                      </a:cubicBezTo>
                      <a:cubicBezTo>
                        <a:pt x="51182" y="130421"/>
                        <a:pt x="45696" y="128916"/>
                        <a:pt x="41972" y="127240"/>
                      </a:cubicBezTo>
                      <a:cubicBezTo>
                        <a:pt x="38400" y="125630"/>
                        <a:pt x="36838" y="122430"/>
                        <a:pt x="33551" y="121249"/>
                      </a:cubicBezTo>
                      <a:cubicBezTo>
                        <a:pt x="25350" y="118296"/>
                        <a:pt x="32808" y="126306"/>
                        <a:pt x="24941" y="125182"/>
                      </a:cubicBezTo>
                      <a:cubicBezTo>
                        <a:pt x="27560" y="119953"/>
                        <a:pt x="30265" y="114857"/>
                        <a:pt x="27236" y="109361"/>
                      </a:cubicBezTo>
                      <a:cubicBezTo>
                        <a:pt x="26151" y="107380"/>
                        <a:pt x="25427" y="107123"/>
                        <a:pt x="24255" y="105647"/>
                      </a:cubicBezTo>
                      <a:cubicBezTo>
                        <a:pt x="23407" y="104580"/>
                        <a:pt x="21264" y="104704"/>
                        <a:pt x="20255" y="103570"/>
                      </a:cubicBezTo>
                      <a:cubicBezTo>
                        <a:pt x="19788" y="103037"/>
                        <a:pt x="21026" y="101265"/>
                        <a:pt x="20474" y="100436"/>
                      </a:cubicBezTo>
                      <a:cubicBezTo>
                        <a:pt x="16778" y="94988"/>
                        <a:pt x="18331" y="95750"/>
                        <a:pt x="18626" y="89978"/>
                      </a:cubicBezTo>
                      <a:cubicBezTo>
                        <a:pt x="18788" y="86835"/>
                        <a:pt x="19169" y="85111"/>
                        <a:pt x="17616" y="82034"/>
                      </a:cubicBezTo>
                      <a:cubicBezTo>
                        <a:pt x="16911" y="80634"/>
                        <a:pt x="14654" y="80643"/>
                        <a:pt x="14178" y="78986"/>
                      </a:cubicBezTo>
                      <a:cubicBezTo>
                        <a:pt x="13578" y="76957"/>
                        <a:pt x="15349" y="74071"/>
                        <a:pt x="14806" y="72585"/>
                      </a:cubicBezTo>
                      <a:cubicBezTo>
                        <a:pt x="12968" y="67489"/>
                        <a:pt x="1290" y="65727"/>
                        <a:pt x="1338" y="60708"/>
                      </a:cubicBezTo>
                      <a:cubicBezTo>
                        <a:pt x="1376" y="56783"/>
                        <a:pt x="7529" y="55364"/>
                        <a:pt x="7310" y="49849"/>
                      </a:cubicBezTo>
                      <a:cubicBezTo>
                        <a:pt x="7110" y="44972"/>
                        <a:pt x="2976" y="39734"/>
                        <a:pt x="1909" y="34752"/>
                      </a:cubicBezTo>
                      <a:cubicBezTo>
                        <a:pt x="4767" y="35543"/>
                        <a:pt x="7615" y="36428"/>
                        <a:pt x="10339" y="37591"/>
                      </a:cubicBezTo>
                      <a:cubicBezTo>
                        <a:pt x="9901" y="35724"/>
                        <a:pt x="9406" y="32561"/>
                        <a:pt x="8291" y="31628"/>
                      </a:cubicBezTo>
                      <a:cubicBezTo>
                        <a:pt x="5634" y="29418"/>
                        <a:pt x="-424" y="32618"/>
                        <a:pt x="24" y="27799"/>
                      </a:cubicBezTo>
                      <a:cubicBezTo>
                        <a:pt x="6177" y="30752"/>
                        <a:pt x="21645" y="23036"/>
                        <a:pt x="28208" y="21369"/>
                      </a:cubicBezTo>
                      <a:cubicBezTo>
                        <a:pt x="33533" y="20017"/>
                        <a:pt x="40619" y="19750"/>
                        <a:pt x="45620" y="17645"/>
                      </a:cubicBezTo>
                      <a:cubicBezTo>
                        <a:pt x="49620" y="15969"/>
                        <a:pt x="50897" y="13140"/>
                        <a:pt x="54478" y="10625"/>
                      </a:cubicBezTo>
                      <a:cubicBezTo>
                        <a:pt x="61869" y="5434"/>
                        <a:pt x="75471" y="2577"/>
                        <a:pt x="84710" y="1034"/>
                      </a:cubicBezTo>
                      <a:cubicBezTo>
                        <a:pt x="93454" y="-433"/>
                        <a:pt x="105637" y="-1491"/>
                        <a:pt x="111952" y="6282"/>
                      </a:cubicBezTo>
                      <a:cubicBezTo>
                        <a:pt x="108618" y="5367"/>
                        <a:pt x="105799" y="3262"/>
                        <a:pt x="102455" y="2767"/>
                      </a:cubicBezTo>
                      <a:cubicBezTo>
                        <a:pt x="109028" y="13006"/>
                        <a:pt x="120639" y="20865"/>
                        <a:pt x="132716" y="11787"/>
                      </a:cubicBezTo>
                      <a:lnTo>
                        <a:pt x="132716" y="11787"/>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83" name="Freeform: Shape 582">
                  <a:extLst>
                    <a:ext uri="{FF2B5EF4-FFF2-40B4-BE49-F238E27FC236}">
                      <a16:creationId xmlns:a16="http://schemas.microsoft.com/office/drawing/2014/main" id="{E53293FE-A824-48E3-B91C-067905F9D5FC}"/>
                    </a:ext>
                  </a:extLst>
                </p:cNvPr>
                <p:cNvSpPr/>
                <p:nvPr/>
              </p:nvSpPr>
              <p:spPr>
                <a:xfrm>
                  <a:off x="10007095" y="4445934"/>
                  <a:ext cx="482453" cy="254592"/>
                </a:xfrm>
                <a:custGeom>
                  <a:avLst/>
                  <a:gdLst>
                    <a:gd name="connsiteX0" fmla="*/ 482453 w 482453"/>
                    <a:gd name="connsiteY0" fmla="*/ 129597 h 254592"/>
                    <a:gd name="connsiteX1" fmla="*/ 480557 w 482453"/>
                    <a:gd name="connsiteY1" fmla="*/ 133055 h 254592"/>
                    <a:gd name="connsiteX2" fmla="*/ 466670 w 482453"/>
                    <a:gd name="connsiteY2" fmla="*/ 133360 h 254592"/>
                    <a:gd name="connsiteX3" fmla="*/ 460574 w 482453"/>
                    <a:gd name="connsiteY3" fmla="*/ 126892 h 254592"/>
                    <a:gd name="connsiteX4" fmla="*/ 460555 w 482453"/>
                    <a:gd name="connsiteY4" fmla="*/ 117643 h 254592"/>
                    <a:gd name="connsiteX5" fmla="*/ 454535 w 482453"/>
                    <a:gd name="connsiteY5" fmla="*/ 113709 h 254592"/>
                    <a:gd name="connsiteX6" fmla="*/ 448887 w 482453"/>
                    <a:gd name="connsiteY6" fmla="*/ 107023 h 254592"/>
                    <a:gd name="connsiteX7" fmla="*/ 449468 w 482453"/>
                    <a:gd name="connsiteY7" fmla="*/ 90449 h 254592"/>
                    <a:gd name="connsiteX8" fmla="*/ 459860 w 482453"/>
                    <a:gd name="connsiteY8" fmla="*/ 95660 h 254592"/>
                    <a:gd name="connsiteX9" fmla="*/ 462527 w 482453"/>
                    <a:gd name="connsiteY9" fmla="*/ 101746 h 254592"/>
                    <a:gd name="connsiteX10" fmla="*/ 466747 w 482453"/>
                    <a:gd name="connsiteY10" fmla="*/ 106480 h 254592"/>
                    <a:gd name="connsiteX11" fmla="*/ 474662 w 482453"/>
                    <a:gd name="connsiteY11" fmla="*/ 114910 h 254592"/>
                    <a:gd name="connsiteX12" fmla="*/ 482453 w 482453"/>
                    <a:gd name="connsiteY12" fmla="*/ 129597 h 254592"/>
                    <a:gd name="connsiteX13" fmla="*/ 482453 w 482453"/>
                    <a:gd name="connsiteY13" fmla="*/ 129597 h 254592"/>
                    <a:gd name="connsiteX14" fmla="*/ 365105 w 482453"/>
                    <a:gd name="connsiteY14" fmla="*/ 54302 h 254592"/>
                    <a:gd name="connsiteX15" fmla="*/ 371706 w 482453"/>
                    <a:gd name="connsiteY15" fmla="*/ 51645 h 254592"/>
                    <a:gd name="connsiteX16" fmla="*/ 380373 w 482453"/>
                    <a:gd name="connsiteY16" fmla="*/ 55693 h 254592"/>
                    <a:gd name="connsiteX17" fmla="*/ 374754 w 482453"/>
                    <a:gd name="connsiteY17" fmla="*/ 73676 h 254592"/>
                    <a:gd name="connsiteX18" fmla="*/ 365229 w 482453"/>
                    <a:gd name="connsiteY18" fmla="*/ 82001 h 254592"/>
                    <a:gd name="connsiteX19" fmla="*/ 367258 w 482453"/>
                    <a:gd name="connsiteY19" fmla="*/ 89306 h 254592"/>
                    <a:gd name="connsiteX20" fmla="*/ 359419 w 482453"/>
                    <a:gd name="connsiteY20" fmla="*/ 94164 h 254592"/>
                    <a:gd name="connsiteX21" fmla="*/ 348989 w 482453"/>
                    <a:gd name="connsiteY21" fmla="*/ 93831 h 254592"/>
                    <a:gd name="connsiteX22" fmla="*/ 345522 w 482453"/>
                    <a:gd name="connsiteY22" fmla="*/ 98593 h 254592"/>
                    <a:gd name="connsiteX23" fmla="*/ 315232 w 482453"/>
                    <a:gd name="connsiteY23" fmla="*/ 114462 h 254592"/>
                    <a:gd name="connsiteX24" fmla="*/ 296754 w 482453"/>
                    <a:gd name="connsiteY24" fmla="*/ 117167 h 254592"/>
                    <a:gd name="connsiteX25" fmla="*/ 287067 w 482453"/>
                    <a:gd name="connsiteY25" fmla="*/ 117243 h 254592"/>
                    <a:gd name="connsiteX26" fmla="*/ 279552 w 482453"/>
                    <a:gd name="connsiteY26" fmla="*/ 110776 h 254592"/>
                    <a:gd name="connsiteX27" fmla="*/ 269788 w 482453"/>
                    <a:gd name="connsiteY27" fmla="*/ 111643 h 254592"/>
                    <a:gd name="connsiteX28" fmla="*/ 260149 w 482453"/>
                    <a:gd name="connsiteY28" fmla="*/ 104594 h 254592"/>
                    <a:gd name="connsiteX29" fmla="*/ 248748 w 482453"/>
                    <a:gd name="connsiteY29" fmla="*/ 93326 h 254592"/>
                    <a:gd name="connsiteX30" fmla="*/ 262359 w 482453"/>
                    <a:gd name="connsiteY30" fmla="*/ 92564 h 254592"/>
                    <a:gd name="connsiteX31" fmla="*/ 281942 w 482453"/>
                    <a:gd name="connsiteY31" fmla="*/ 94707 h 254592"/>
                    <a:gd name="connsiteX32" fmla="*/ 299602 w 482453"/>
                    <a:gd name="connsiteY32" fmla="*/ 90535 h 254592"/>
                    <a:gd name="connsiteX33" fmla="*/ 306631 w 482453"/>
                    <a:gd name="connsiteY33" fmla="*/ 77457 h 254592"/>
                    <a:gd name="connsiteX34" fmla="*/ 305641 w 482453"/>
                    <a:gd name="connsiteY34" fmla="*/ 92021 h 254592"/>
                    <a:gd name="connsiteX35" fmla="*/ 312556 w 482453"/>
                    <a:gd name="connsiteY35" fmla="*/ 91869 h 254592"/>
                    <a:gd name="connsiteX36" fmla="*/ 320347 w 482453"/>
                    <a:gd name="connsiteY36" fmla="*/ 92821 h 254592"/>
                    <a:gd name="connsiteX37" fmla="*/ 335177 w 482453"/>
                    <a:gd name="connsiteY37" fmla="*/ 83230 h 254592"/>
                    <a:gd name="connsiteX38" fmla="*/ 343617 w 482453"/>
                    <a:gd name="connsiteY38" fmla="*/ 75772 h 254592"/>
                    <a:gd name="connsiteX39" fmla="*/ 351656 w 482453"/>
                    <a:gd name="connsiteY39" fmla="*/ 74504 h 254592"/>
                    <a:gd name="connsiteX40" fmla="*/ 353618 w 482453"/>
                    <a:gd name="connsiteY40" fmla="*/ 56179 h 254592"/>
                    <a:gd name="connsiteX41" fmla="*/ 365105 w 482453"/>
                    <a:gd name="connsiteY41" fmla="*/ 54302 h 254592"/>
                    <a:gd name="connsiteX42" fmla="*/ 365105 w 482453"/>
                    <a:gd name="connsiteY42" fmla="*/ 54302 h 254592"/>
                    <a:gd name="connsiteX43" fmla="*/ 121313 w 482453"/>
                    <a:gd name="connsiteY43" fmla="*/ 39138 h 254592"/>
                    <a:gd name="connsiteX44" fmla="*/ 133848 w 482453"/>
                    <a:gd name="connsiteY44" fmla="*/ 40405 h 254592"/>
                    <a:gd name="connsiteX45" fmla="*/ 139201 w 482453"/>
                    <a:gd name="connsiteY45" fmla="*/ 45587 h 254592"/>
                    <a:gd name="connsiteX46" fmla="*/ 145259 w 482453"/>
                    <a:gd name="connsiteY46" fmla="*/ 50187 h 254592"/>
                    <a:gd name="connsiteX47" fmla="*/ 151136 w 482453"/>
                    <a:gd name="connsiteY47" fmla="*/ 56207 h 254592"/>
                    <a:gd name="connsiteX48" fmla="*/ 158108 w 482453"/>
                    <a:gd name="connsiteY48" fmla="*/ 57417 h 254592"/>
                    <a:gd name="connsiteX49" fmla="*/ 170452 w 482453"/>
                    <a:gd name="connsiteY49" fmla="*/ 73019 h 254592"/>
                    <a:gd name="connsiteX50" fmla="*/ 167252 w 482453"/>
                    <a:gd name="connsiteY50" fmla="*/ 89135 h 254592"/>
                    <a:gd name="connsiteX51" fmla="*/ 186197 w 482453"/>
                    <a:gd name="connsiteY51" fmla="*/ 95536 h 254592"/>
                    <a:gd name="connsiteX52" fmla="*/ 204342 w 482453"/>
                    <a:gd name="connsiteY52" fmla="*/ 104718 h 254592"/>
                    <a:gd name="connsiteX53" fmla="*/ 217706 w 482453"/>
                    <a:gd name="connsiteY53" fmla="*/ 106899 h 254592"/>
                    <a:gd name="connsiteX54" fmla="*/ 227240 w 482453"/>
                    <a:gd name="connsiteY54" fmla="*/ 129473 h 254592"/>
                    <a:gd name="connsiteX55" fmla="*/ 199161 w 482453"/>
                    <a:gd name="connsiteY55" fmla="*/ 137989 h 254592"/>
                    <a:gd name="connsiteX56" fmla="*/ 219182 w 482453"/>
                    <a:gd name="connsiteY56" fmla="*/ 168012 h 254592"/>
                    <a:gd name="connsiteX57" fmla="*/ 229745 w 482453"/>
                    <a:gd name="connsiteY57" fmla="*/ 176889 h 254592"/>
                    <a:gd name="connsiteX58" fmla="*/ 232574 w 482453"/>
                    <a:gd name="connsiteY58" fmla="*/ 190138 h 254592"/>
                    <a:gd name="connsiteX59" fmla="*/ 236318 w 482453"/>
                    <a:gd name="connsiteY59" fmla="*/ 197834 h 254592"/>
                    <a:gd name="connsiteX60" fmla="*/ 240499 w 482453"/>
                    <a:gd name="connsiteY60" fmla="*/ 205359 h 254592"/>
                    <a:gd name="connsiteX61" fmla="*/ 257758 w 482453"/>
                    <a:gd name="connsiteY61" fmla="*/ 204073 h 254592"/>
                    <a:gd name="connsiteX62" fmla="*/ 259292 w 482453"/>
                    <a:gd name="connsiteY62" fmla="*/ 219808 h 254592"/>
                    <a:gd name="connsiteX63" fmla="*/ 278123 w 482453"/>
                    <a:gd name="connsiteY63" fmla="*/ 224133 h 254592"/>
                    <a:gd name="connsiteX64" fmla="*/ 269303 w 482453"/>
                    <a:gd name="connsiteY64" fmla="*/ 228829 h 254592"/>
                    <a:gd name="connsiteX65" fmla="*/ 275056 w 482453"/>
                    <a:gd name="connsiteY65" fmla="*/ 236096 h 254592"/>
                    <a:gd name="connsiteX66" fmla="*/ 300412 w 482453"/>
                    <a:gd name="connsiteY66" fmla="*/ 241402 h 254592"/>
                    <a:gd name="connsiteX67" fmla="*/ 291982 w 482453"/>
                    <a:gd name="connsiteY67" fmla="*/ 250289 h 254592"/>
                    <a:gd name="connsiteX68" fmla="*/ 276275 w 482453"/>
                    <a:gd name="connsiteY68" fmla="*/ 253679 h 254592"/>
                    <a:gd name="connsiteX69" fmla="*/ 266426 w 482453"/>
                    <a:gd name="connsiteY69" fmla="*/ 245812 h 254592"/>
                    <a:gd name="connsiteX70" fmla="*/ 246890 w 482453"/>
                    <a:gd name="connsiteY70" fmla="*/ 242545 h 254592"/>
                    <a:gd name="connsiteX71" fmla="*/ 230812 w 482453"/>
                    <a:gd name="connsiteY71" fmla="*/ 239430 h 254592"/>
                    <a:gd name="connsiteX72" fmla="*/ 201627 w 482453"/>
                    <a:gd name="connsiteY72" fmla="*/ 233134 h 254592"/>
                    <a:gd name="connsiteX73" fmla="*/ 193388 w 482453"/>
                    <a:gd name="connsiteY73" fmla="*/ 220228 h 254592"/>
                    <a:gd name="connsiteX74" fmla="*/ 186959 w 482453"/>
                    <a:gd name="connsiteY74" fmla="*/ 204349 h 254592"/>
                    <a:gd name="connsiteX75" fmla="*/ 164918 w 482453"/>
                    <a:gd name="connsiteY75" fmla="*/ 174565 h 254592"/>
                    <a:gd name="connsiteX76" fmla="*/ 129495 w 482453"/>
                    <a:gd name="connsiteY76" fmla="*/ 159353 h 254592"/>
                    <a:gd name="connsiteX77" fmla="*/ 117693 w 482453"/>
                    <a:gd name="connsiteY77" fmla="*/ 157829 h 254592"/>
                    <a:gd name="connsiteX78" fmla="*/ 114769 w 482453"/>
                    <a:gd name="connsiteY78" fmla="*/ 161001 h 254592"/>
                    <a:gd name="connsiteX79" fmla="*/ 111893 w 482453"/>
                    <a:gd name="connsiteY79" fmla="*/ 161087 h 254592"/>
                    <a:gd name="connsiteX80" fmla="*/ 92452 w 482453"/>
                    <a:gd name="connsiteY80" fmla="*/ 153972 h 254592"/>
                    <a:gd name="connsiteX81" fmla="*/ 98901 w 482453"/>
                    <a:gd name="connsiteY81" fmla="*/ 169221 h 254592"/>
                    <a:gd name="connsiteX82" fmla="*/ 95729 w 482453"/>
                    <a:gd name="connsiteY82" fmla="*/ 169135 h 254592"/>
                    <a:gd name="connsiteX83" fmla="*/ 96805 w 482453"/>
                    <a:gd name="connsiteY83" fmla="*/ 171536 h 254592"/>
                    <a:gd name="connsiteX84" fmla="*/ 85289 w 482453"/>
                    <a:gd name="connsiteY84" fmla="*/ 170993 h 254592"/>
                    <a:gd name="connsiteX85" fmla="*/ 81413 w 482453"/>
                    <a:gd name="connsiteY85" fmla="*/ 178584 h 254592"/>
                    <a:gd name="connsiteX86" fmla="*/ 65277 w 482453"/>
                    <a:gd name="connsiteY86" fmla="*/ 180861 h 254592"/>
                    <a:gd name="connsiteX87" fmla="*/ 58409 w 482453"/>
                    <a:gd name="connsiteY87" fmla="*/ 179546 h 254592"/>
                    <a:gd name="connsiteX88" fmla="*/ 51171 w 482453"/>
                    <a:gd name="connsiteY88" fmla="*/ 181003 h 254592"/>
                    <a:gd name="connsiteX89" fmla="*/ 43113 w 482453"/>
                    <a:gd name="connsiteY89" fmla="*/ 177127 h 254592"/>
                    <a:gd name="connsiteX90" fmla="*/ 48237 w 482453"/>
                    <a:gd name="connsiteY90" fmla="*/ 180861 h 254592"/>
                    <a:gd name="connsiteX91" fmla="*/ 60286 w 482453"/>
                    <a:gd name="connsiteY91" fmla="*/ 181823 h 254592"/>
                    <a:gd name="connsiteX92" fmla="*/ 75373 w 482453"/>
                    <a:gd name="connsiteY92" fmla="*/ 192700 h 254592"/>
                    <a:gd name="connsiteX93" fmla="*/ 65135 w 482453"/>
                    <a:gd name="connsiteY93" fmla="*/ 205397 h 254592"/>
                    <a:gd name="connsiteX94" fmla="*/ 55076 w 482453"/>
                    <a:gd name="connsiteY94" fmla="*/ 210179 h 254592"/>
                    <a:gd name="connsiteX95" fmla="*/ 43770 w 482453"/>
                    <a:gd name="connsiteY95" fmla="*/ 209750 h 254592"/>
                    <a:gd name="connsiteX96" fmla="*/ 22977 w 482453"/>
                    <a:gd name="connsiteY96" fmla="*/ 209112 h 254592"/>
                    <a:gd name="connsiteX97" fmla="*/ 12461 w 482453"/>
                    <a:gd name="connsiteY97" fmla="*/ 207264 h 254592"/>
                    <a:gd name="connsiteX98" fmla="*/ 3069 w 482453"/>
                    <a:gd name="connsiteY98" fmla="*/ 209245 h 254592"/>
                    <a:gd name="connsiteX99" fmla="*/ 6251 w 482453"/>
                    <a:gd name="connsiteY99" fmla="*/ 166926 h 254592"/>
                    <a:gd name="connsiteX100" fmla="*/ 10137 w 482453"/>
                    <a:gd name="connsiteY100" fmla="*/ 142837 h 254592"/>
                    <a:gd name="connsiteX101" fmla="*/ 8908 w 482453"/>
                    <a:gd name="connsiteY101" fmla="*/ 132855 h 254592"/>
                    <a:gd name="connsiteX102" fmla="*/ 12128 w 482453"/>
                    <a:gd name="connsiteY102" fmla="*/ 122196 h 254592"/>
                    <a:gd name="connsiteX103" fmla="*/ 18576 w 482453"/>
                    <a:gd name="connsiteY103" fmla="*/ 77714 h 254592"/>
                    <a:gd name="connsiteX104" fmla="*/ 22805 w 482453"/>
                    <a:gd name="connsiteY104" fmla="*/ 31813 h 254592"/>
                    <a:gd name="connsiteX105" fmla="*/ 24463 w 482453"/>
                    <a:gd name="connsiteY105" fmla="*/ 7763 h 254592"/>
                    <a:gd name="connsiteX106" fmla="*/ 33130 w 482453"/>
                    <a:gd name="connsiteY106" fmla="*/ 2543 h 254592"/>
                    <a:gd name="connsiteX107" fmla="*/ 79774 w 482453"/>
                    <a:gd name="connsiteY107" fmla="*/ 22117 h 254592"/>
                    <a:gd name="connsiteX108" fmla="*/ 102853 w 482453"/>
                    <a:gd name="connsiteY108" fmla="*/ 27061 h 254592"/>
                    <a:gd name="connsiteX109" fmla="*/ 121313 w 482453"/>
                    <a:gd name="connsiteY109" fmla="*/ 39138 h 254592"/>
                    <a:gd name="connsiteX110" fmla="*/ 121313 w 482453"/>
                    <a:gd name="connsiteY110" fmla="*/ 39138 h 254592"/>
                    <a:gd name="connsiteX111" fmla="*/ 396624 w 482453"/>
                    <a:gd name="connsiteY111" fmla="*/ 68790 h 254592"/>
                    <a:gd name="connsiteX112" fmla="*/ 394023 w 482453"/>
                    <a:gd name="connsiteY112" fmla="*/ 71171 h 254592"/>
                    <a:gd name="connsiteX113" fmla="*/ 388708 w 482453"/>
                    <a:gd name="connsiteY113" fmla="*/ 61227 h 254592"/>
                    <a:gd name="connsiteX114" fmla="*/ 389508 w 482453"/>
                    <a:gd name="connsiteY114" fmla="*/ 51483 h 254592"/>
                    <a:gd name="connsiteX115" fmla="*/ 374783 w 482453"/>
                    <a:gd name="connsiteY115" fmla="*/ 28956 h 254592"/>
                    <a:gd name="connsiteX116" fmla="*/ 355047 w 482453"/>
                    <a:gd name="connsiteY116" fmla="*/ 17078 h 254592"/>
                    <a:gd name="connsiteX117" fmla="*/ 344226 w 482453"/>
                    <a:gd name="connsiteY117" fmla="*/ 9373 h 254592"/>
                    <a:gd name="connsiteX118" fmla="*/ 332282 w 482453"/>
                    <a:gd name="connsiteY118" fmla="*/ 5220 h 254592"/>
                    <a:gd name="connsiteX119" fmla="*/ 335092 w 482453"/>
                    <a:gd name="connsiteY119" fmla="*/ 0 h 254592"/>
                    <a:gd name="connsiteX120" fmla="*/ 346408 w 482453"/>
                    <a:gd name="connsiteY120" fmla="*/ 8087 h 254592"/>
                    <a:gd name="connsiteX121" fmla="*/ 357295 w 482453"/>
                    <a:gd name="connsiteY121" fmla="*/ 13049 h 254592"/>
                    <a:gd name="connsiteX122" fmla="*/ 376602 w 482453"/>
                    <a:gd name="connsiteY122" fmla="*/ 26937 h 254592"/>
                    <a:gd name="connsiteX123" fmla="*/ 399700 w 482453"/>
                    <a:gd name="connsiteY123" fmla="*/ 47720 h 254592"/>
                    <a:gd name="connsiteX124" fmla="*/ 402634 w 482453"/>
                    <a:gd name="connsiteY124" fmla="*/ 57007 h 254592"/>
                    <a:gd name="connsiteX125" fmla="*/ 396624 w 482453"/>
                    <a:gd name="connsiteY125" fmla="*/ 68790 h 254592"/>
                    <a:gd name="connsiteX126" fmla="*/ 396624 w 482453"/>
                    <a:gd name="connsiteY126" fmla="*/ 68790 h 254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482453" h="254592">
                      <a:moveTo>
                        <a:pt x="482453" y="129597"/>
                      </a:moveTo>
                      <a:cubicBezTo>
                        <a:pt x="482177" y="130883"/>
                        <a:pt x="481434" y="132169"/>
                        <a:pt x="480557" y="133055"/>
                      </a:cubicBezTo>
                      <a:cubicBezTo>
                        <a:pt x="477767" y="131264"/>
                        <a:pt x="472090" y="136331"/>
                        <a:pt x="466670" y="133360"/>
                      </a:cubicBezTo>
                      <a:cubicBezTo>
                        <a:pt x="464118" y="131959"/>
                        <a:pt x="461594" y="129692"/>
                        <a:pt x="460574" y="126892"/>
                      </a:cubicBezTo>
                      <a:cubicBezTo>
                        <a:pt x="459374" y="123587"/>
                        <a:pt x="462203" y="120920"/>
                        <a:pt x="460555" y="117643"/>
                      </a:cubicBezTo>
                      <a:cubicBezTo>
                        <a:pt x="460012" y="116577"/>
                        <a:pt x="455717" y="114748"/>
                        <a:pt x="454535" y="113709"/>
                      </a:cubicBezTo>
                      <a:cubicBezTo>
                        <a:pt x="453211" y="112557"/>
                        <a:pt x="449725" y="108680"/>
                        <a:pt x="448887" y="107023"/>
                      </a:cubicBezTo>
                      <a:cubicBezTo>
                        <a:pt x="445915" y="101184"/>
                        <a:pt x="449906" y="96326"/>
                        <a:pt x="449468" y="90449"/>
                      </a:cubicBezTo>
                      <a:cubicBezTo>
                        <a:pt x="452735" y="92811"/>
                        <a:pt x="456993" y="92688"/>
                        <a:pt x="459860" y="95660"/>
                      </a:cubicBezTo>
                      <a:cubicBezTo>
                        <a:pt x="461441" y="97298"/>
                        <a:pt x="461413" y="100003"/>
                        <a:pt x="462527" y="101746"/>
                      </a:cubicBezTo>
                      <a:cubicBezTo>
                        <a:pt x="463622" y="103461"/>
                        <a:pt x="465575" y="104718"/>
                        <a:pt x="466747" y="106480"/>
                      </a:cubicBezTo>
                      <a:cubicBezTo>
                        <a:pt x="470071" y="111481"/>
                        <a:pt x="470404" y="111585"/>
                        <a:pt x="474662" y="114910"/>
                      </a:cubicBezTo>
                      <a:cubicBezTo>
                        <a:pt x="479424" y="118624"/>
                        <a:pt x="482406" y="123435"/>
                        <a:pt x="482453" y="129597"/>
                      </a:cubicBezTo>
                      <a:lnTo>
                        <a:pt x="482453" y="129597"/>
                      </a:lnTo>
                      <a:close/>
                      <a:moveTo>
                        <a:pt x="365105" y="54302"/>
                      </a:moveTo>
                      <a:cubicBezTo>
                        <a:pt x="368220" y="55321"/>
                        <a:pt x="369049" y="51597"/>
                        <a:pt x="371706" y="51645"/>
                      </a:cubicBezTo>
                      <a:cubicBezTo>
                        <a:pt x="373259" y="51673"/>
                        <a:pt x="377774" y="55321"/>
                        <a:pt x="380373" y="55693"/>
                      </a:cubicBezTo>
                      <a:cubicBezTo>
                        <a:pt x="376897" y="61970"/>
                        <a:pt x="381269" y="68351"/>
                        <a:pt x="374754" y="73676"/>
                      </a:cubicBezTo>
                      <a:cubicBezTo>
                        <a:pt x="370239" y="77372"/>
                        <a:pt x="363943" y="74829"/>
                        <a:pt x="365229" y="82001"/>
                      </a:cubicBezTo>
                      <a:cubicBezTo>
                        <a:pt x="365858" y="85506"/>
                        <a:pt x="368953" y="85411"/>
                        <a:pt x="367258" y="89306"/>
                      </a:cubicBezTo>
                      <a:cubicBezTo>
                        <a:pt x="366191" y="91764"/>
                        <a:pt x="361857" y="93707"/>
                        <a:pt x="359419" y="94164"/>
                      </a:cubicBezTo>
                      <a:cubicBezTo>
                        <a:pt x="356313" y="94745"/>
                        <a:pt x="352037" y="92288"/>
                        <a:pt x="348989" y="93831"/>
                      </a:cubicBezTo>
                      <a:cubicBezTo>
                        <a:pt x="346427" y="95136"/>
                        <a:pt x="347417" y="96479"/>
                        <a:pt x="345522" y="98593"/>
                      </a:cubicBezTo>
                      <a:cubicBezTo>
                        <a:pt x="337721" y="107299"/>
                        <a:pt x="325662" y="110300"/>
                        <a:pt x="315232" y="114462"/>
                      </a:cubicBezTo>
                      <a:cubicBezTo>
                        <a:pt x="309022" y="116957"/>
                        <a:pt x="303583" y="117015"/>
                        <a:pt x="296754" y="117167"/>
                      </a:cubicBezTo>
                      <a:cubicBezTo>
                        <a:pt x="294201" y="117224"/>
                        <a:pt x="289448" y="118215"/>
                        <a:pt x="287067" y="117243"/>
                      </a:cubicBezTo>
                      <a:cubicBezTo>
                        <a:pt x="283685" y="115853"/>
                        <a:pt x="282990" y="112043"/>
                        <a:pt x="279552" y="110776"/>
                      </a:cubicBezTo>
                      <a:cubicBezTo>
                        <a:pt x="276056" y="109480"/>
                        <a:pt x="272875" y="112490"/>
                        <a:pt x="269788" y="111643"/>
                      </a:cubicBezTo>
                      <a:cubicBezTo>
                        <a:pt x="266340" y="110709"/>
                        <a:pt x="263407" y="106356"/>
                        <a:pt x="260149" y="104594"/>
                      </a:cubicBezTo>
                      <a:cubicBezTo>
                        <a:pt x="256444" y="102575"/>
                        <a:pt x="242947" y="100432"/>
                        <a:pt x="248748" y="93326"/>
                      </a:cubicBezTo>
                      <a:cubicBezTo>
                        <a:pt x="251434" y="90030"/>
                        <a:pt x="258530" y="92755"/>
                        <a:pt x="262359" y="92564"/>
                      </a:cubicBezTo>
                      <a:cubicBezTo>
                        <a:pt x="269388" y="92212"/>
                        <a:pt x="275208" y="95193"/>
                        <a:pt x="281942" y="94707"/>
                      </a:cubicBezTo>
                      <a:cubicBezTo>
                        <a:pt x="285924" y="94412"/>
                        <a:pt x="296963" y="93354"/>
                        <a:pt x="299602" y="90535"/>
                      </a:cubicBezTo>
                      <a:cubicBezTo>
                        <a:pt x="300288" y="89802"/>
                        <a:pt x="303012" y="73466"/>
                        <a:pt x="306631" y="77457"/>
                      </a:cubicBezTo>
                      <a:cubicBezTo>
                        <a:pt x="308441" y="79458"/>
                        <a:pt x="300078" y="87411"/>
                        <a:pt x="305641" y="92021"/>
                      </a:cubicBezTo>
                      <a:cubicBezTo>
                        <a:pt x="308574" y="94450"/>
                        <a:pt x="309546" y="92107"/>
                        <a:pt x="312556" y="91869"/>
                      </a:cubicBezTo>
                      <a:cubicBezTo>
                        <a:pt x="315604" y="91630"/>
                        <a:pt x="317919" y="92869"/>
                        <a:pt x="320347" y="92821"/>
                      </a:cubicBezTo>
                      <a:cubicBezTo>
                        <a:pt x="328081" y="92650"/>
                        <a:pt x="330844" y="88611"/>
                        <a:pt x="335177" y="83230"/>
                      </a:cubicBezTo>
                      <a:cubicBezTo>
                        <a:pt x="337406" y="80458"/>
                        <a:pt x="340321" y="77267"/>
                        <a:pt x="343617" y="75772"/>
                      </a:cubicBezTo>
                      <a:cubicBezTo>
                        <a:pt x="346227" y="74571"/>
                        <a:pt x="349370" y="75476"/>
                        <a:pt x="351656" y="74504"/>
                      </a:cubicBezTo>
                      <a:cubicBezTo>
                        <a:pt x="360933" y="70590"/>
                        <a:pt x="352951" y="63151"/>
                        <a:pt x="353618" y="56179"/>
                      </a:cubicBezTo>
                      <a:cubicBezTo>
                        <a:pt x="354227" y="49797"/>
                        <a:pt x="361133" y="49682"/>
                        <a:pt x="365105" y="54302"/>
                      </a:cubicBezTo>
                      <a:lnTo>
                        <a:pt x="365105" y="54302"/>
                      </a:lnTo>
                      <a:close/>
                      <a:moveTo>
                        <a:pt x="121313" y="39138"/>
                      </a:moveTo>
                      <a:cubicBezTo>
                        <a:pt x="126047" y="39510"/>
                        <a:pt x="129552" y="38243"/>
                        <a:pt x="133848" y="40405"/>
                      </a:cubicBezTo>
                      <a:cubicBezTo>
                        <a:pt x="134609" y="40786"/>
                        <a:pt x="138067" y="44672"/>
                        <a:pt x="139201" y="45587"/>
                      </a:cubicBezTo>
                      <a:cubicBezTo>
                        <a:pt x="141153" y="47158"/>
                        <a:pt x="143373" y="48339"/>
                        <a:pt x="145259" y="50187"/>
                      </a:cubicBezTo>
                      <a:cubicBezTo>
                        <a:pt x="147373" y="52264"/>
                        <a:pt x="148411" y="54912"/>
                        <a:pt x="151136" y="56207"/>
                      </a:cubicBezTo>
                      <a:cubicBezTo>
                        <a:pt x="153317" y="57236"/>
                        <a:pt x="156212" y="56359"/>
                        <a:pt x="158108" y="57417"/>
                      </a:cubicBezTo>
                      <a:cubicBezTo>
                        <a:pt x="162213" y="59693"/>
                        <a:pt x="169452" y="68456"/>
                        <a:pt x="170452" y="73019"/>
                      </a:cubicBezTo>
                      <a:cubicBezTo>
                        <a:pt x="171329" y="77000"/>
                        <a:pt x="166061" y="86220"/>
                        <a:pt x="167252" y="89135"/>
                      </a:cubicBezTo>
                      <a:cubicBezTo>
                        <a:pt x="168795" y="92907"/>
                        <a:pt x="182530" y="94002"/>
                        <a:pt x="186197" y="95536"/>
                      </a:cubicBezTo>
                      <a:cubicBezTo>
                        <a:pt x="192398" y="98136"/>
                        <a:pt x="198027" y="102441"/>
                        <a:pt x="204342" y="104718"/>
                      </a:cubicBezTo>
                      <a:cubicBezTo>
                        <a:pt x="208733" y="106299"/>
                        <a:pt x="213610" y="105318"/>
                        <a:pt x="217706" y="106899"/>
                      </a:cubicBezTo>
                      <a:cubicBezTo>
                        <a:pt x="223735" y="109223"/>
                        <a:pt x="233603" y="123387"/>
                        <a:pt x="227240" y="129473"/>
                      </a:cubicBezTo>
                      <a:cubicBezTo>
                        <a:pt x="220763" y="135655"/>
                        <a:pt x="198561" y="124435"/>
                        <a:pt x="199161" y="137989"/>
                      </a:cubicBezTo>
                      <a:cubicBezTo>
                        <a:pt x="199637" y="148704"/>
                        <a:pt x="211076" y="161763"/>
                        <a:pt x="219182" y="168012"/>
                      </a:cubicBezTo>
                      <a:cubicBezTo>
                        <a:pt x="223364" y="171240"/>
                        <a:pt x="227726" y="171460"/>
                        <a:pt x="229745" y="176889"/>
                      </a:cubicBezTo>
                      <a:cubicBezTo>
                        <a:pt x="231641" y="181966"/>
                        <a:pt x="230317" y="185804"/>
                        <a:pt x="232574" y="190138"/>
                      </a:cubicBezTo>
                      <a:cubicBezTo>
                        <a:pt x="234565" y="193929"/>
                        <a:pt x="235136" y="192777"/>
                        <a:pt x="236318" y="197834"/>
                      </a:cubicBezTo>
                      <a:cubicBezTo>
                        <a:pt x="237194" y="201559"/>
                        <a:pt x="236594" y="203683"/>
                        <a:pt x="240499" y="205359"/>
                      </a:cubicBezTo>
                      <a:cubicBezTo>
                        <a:pt x="245338" y="207445"/>
                        <a:pt x="253806" y="199577"/>
                        <a:pt x="257758" y="204073"/>
                      </a:cubicBezTo>
                      <a:cubicBezTo>
                        <a:pt x="262778" y="209807"/>
                        <a:pt x="249138" y="213970"/>
                        <a:pt x="259292" y="219808"/>
                      </a:cubicBezTo>
                      <a:cubicBezTo>
                        <a:pt x="265017" y="223104"/>
                        <a:pt x="272446" y="220371"/>
                        <a:pt x="278123" y="224133"/>
                      </a:cubicBezTo>
                      <a:cubicBezTo>
                        <a:pt x="276037" y="226752"/>
                        <a:pt x="270265" y="226161"/>
                        <a:pt x="269303" y="228829"/>
                      </a:cubicBezTo>
                      <a:cubicBezTo>
                        <a:pt x="268122" y="232134"/>
                        <a:pt x="272913" y="234858"/>
                        <a:pt x="275056" y="236096"/>
                      </a:cubicBezTo>
                      <a:cubicBezTo>
                        <a:pt x="281171" y="239621"/>
                        <a:pt x="293658" y="243126"/>
                        <a:pt x="300412" y="241402"/>
                      </a:cubicBezTo>
                      <a:cubicBezTo>
                        <a:pt x="293249" y="244878"/>
                        <a:pt x="280171" y="242640"/>
                        <a:pt x="291982" y="250289"/>
                      </a:cubicBezTo>
                      <a:cubicBezTo>
                        <a:pt x="287781" y="254175"/>
                        <a:pt x="281818" y="255746"/>
                        <a:pt x="276275" y="253679"/>
                      </a:cubicBezTo>
                      <a:cubicBezTo>
                        <a:pt x="271313" y="251831"/>
                        <a:pt x="271084" y="248231"/>
                        <a:pt x="266426" y="245812"/>
                      </a:cubicBezTo>
                      <a:cubicBezTo>
                        <a:pt x="261435" y="243211"/>
                        <a:pt x="252643" y="243097"/>
                        <a:pt x="246890" y="242545"/>
                      </a:cubicBezTo>
                      <a:cubicBezTo>
                        <a:pt x="241109" y="241983"/>
                        <a:pt x="236060" y="239801"/>
                        <a:pt x="230812" y="239430"/>
                      </a:cubicBezTo>
                      <a:cubicBezTo>
                        <a:pt x="222754" y="238849"/>
                        <a:pt x="207609" y="239630"/>
                        <a:pt x="201627" y="233134"/>
                      </a:cubicBezTo>
                      <a:cubicBezTo>
                        <a:pt x="198075" y="229276"/>
                        <a:pt x="197503" y="224199"/>
                        <a:pt x="193388" y="220228"/>
                      </a:cubicBezTo>
                      <a:cubicBezTo>
                        <a:pt x="188226" y="215255"/>
                        <a:pt x="181511" y="212465"/>
                        <a:pt x="186959" y="204349"/>
                      </a:cubicBezTo>
                      <a:cubicBezTo>
                        <a:pt x="176015" y="211017"/>
                        <a:pt x="170490" y="179984"/>
                        <a:pt x="164918" y="174565"/>
                      </a:cubicBezTo>
                      <a:cubicBezTo>
                        <a:pt x="158736" y="168545"/>
                        <a:pt x="127656" y="168640"/>
                        <a:pt x="129495" y="159353"/>
                      </a:cubicBezTo>
                      <a:cubicBezTo>
                        <a:pt x="125132" y="160344"/>
                        <a:pt x="121703" y="157306"/>
                        <a:pt x="117693" y="157829"/>
                      </a:cubicBezTo>
                      <a:cubicBezTo>
                        <a:pt x="116255" y="158020"/>
                        <a:pt x="115950" y="160353"/>
                        <a:pt x="114769" y="161001"/>
                      </a:cubicBezTo>
                      <a:cubicBezTo>
                        <a:pt x="114350" y="161230"/>
                        <a:pt x="112797" y="160658"/>
                        <a:pt x="111893" y="161087"/>
                      </a:cubicBezTo>
                      <a:cubicBezTo>
                        <a:pt x="101739" y="165906"/>
                        <a:pt x="100434" y="158325"/>
                        <a:pt x="92452" y="153972"/>
                      </a:cubicBezTo>
                      <a:cubicBezTo>
                        <a:pt x="96338" y="157715"/>
                        <a:pt x="97252" y="164306"/>
                        <a:pt x="98901" y="169221"/>
                      </a:cubicBezTo>
                      <a:cubicBezTo>
                        <a:pt x="97767" y="169135"/>
                        <a:pt x="96910" y="169421"/>
                        <a:pt x="95729" y="169135"/>
                      </a:cubicBezTo>
                      <a:cubicBezTo>
                        <a:pt x="96091" y="169936"/>
                        <a:pt x="96443" y="170736"/>
                        <a:pt x="96805" y="171536"/>
                      </a:cubicBezTo>
                      <a:cubicBezTo>
                        <a:pt x="92785" y="172555"/>
                        <a:pt x="89213" y="169774"/>
                        <a:pt x="85289" y="170993"/>
                      </a:cubicBezTo>
                      <a:cubicBezTo>
                        <a:pt x="88442" y="176755"/>
                        <a:pt x="86766" y="176955"/>
                        <a:pt x="81413" y="178584"/>
                      </a:cubicBezTo>
                      <a:cubicBezTo>
                        <a:pt x="76622" y="180042"/>
                        <a:pt x="70259" y="181137"/>
                        <a:pt x="65277" y="180861"/>
                      </a:cubicBezTo>
                      <a:cubicBezTo>
                        <a:pt x="62972" y="180737"/>
                        <a:pt x="60762" y="179537"/>
                        <a:pt x="58409" y="179546"/>
                      </a:cubicBezTo>
                      <a:cubicBezTo>
                        <a:pt x="56276" y="179556"/>
                        <a:pt x="53105" y="181728"/>
                        <a:pt x="51171" y="181003"/>
                      </a:cubicBezTo>
                      <a:cubicBezTo>
                        <a:pt x="47570" y="179680"/>
                        <a:pt x="48751" y="173917"/>
                        <a:pt x="43113" y="177127"/>
                      </a:cubicBezTo>
                      <a:cubicBezTo>
                        <a:pt x="48513" y="175736"/>
                        <a:pt x="45665" y="179708"/>
                        <a:pt x="48237" y="180861"/>
                      </a:cubicBezTo>
                      <a:cubicBezTo>
                        <a:pt x="52285" y="182661"/>
                        <a:pt x="55581" y="180708"/>
                        <a:pt x="60286" y="181823"/>
                      </a:cubicBezTo>
                      <a:cubicBezTo>
                        <a:pt x="65830" y="183118"/>
                        <a:pt x="73107" y="187109"/>
                        <a:pt x="75373" y="192700"/>
                      </a:cubicBezTo>
                      <a:cubicBezTo>
                        <a:pt x="78851" y="201244"/>
                        <a:pt x="71754" y="202549"/>
                        <a:pt x="65135" y="205397"/>
                      </a:cubicBezTo>
                      <a:cubicBezTo>
                        <a:pt x="61744" y="206855"/>
                        <a:pt x="58486" y="208788"/>
                        <a:pt x="55076" y="210179"/>
                      </a:cubicBezTo>
                      <a:cubicBezTo>
                        <a:pt x="48866" y="212722"/>
                        <a:pt x="49733" y="211989"/>
                        <a:pt x="43770" y="209750"/>
                      </a:cubicBezTo>
                      <a:cubicBezTo>
                        <a:pt x="36645" y="207083"/>
                        <a:pt x="30473" y="209160"/>
                        <a:pt x="22977" y="209112"/>
                      </a:cubicBezTo>
                      <a:cubicBezTo>
                        <a:pt x="19405" y="209093"/>
                        <a:pt x="15728" y="207245"/>
                        <a:pt x="12461" y="207264"/>
                      </a:cubicBezTo>
                      <a:cubicBezTo>
                        <a:pt x="9299" y="207283"/>
                        <a:pt x="6079" y="210236"/>
                        <a:pt x="3069" y="209245"/>
                      </a:cubicBezTo>
                      <a:cubicBezTo>
                        <a:pt x="-4884" y="206645"/>
                        <a:pt x="4984" y="174460"/>
                        <a:pt x="6251" y="166926"/>
                      </a:cubicBezTo>
                      <a:cubicBezTo>
                        <a:pt x="7603" y="158915"/>
                        <a:pt x="9128" y="150886"/>
                        <a:pt x="10137" y="142837"/>
                      </a:cubicBezTo>
                      <a:cubicBezTo>
                        <a:pt x="10690" y="138417"/>
                        <a:pt x="9165" y="136493"/>
                        <a:pt x="8908" y="132855"/>
                      </a:cubicBezTo>
                      <a:cubicBezTo>
                        <a:pt x="8575" y="128226"/>
                        <a:pt x="10442" y="126464"/>
                        <a:pt x="12128" y="122196"/>
                      </a:cubicBezTo>
                      <a:cubicBezTo>
                        <a:pt x="17319" y="108995"/>
                        <a:pt x="17081" y="91830"/>
                        <a:pt x="18576" y="77714"/>
                      </a:cubicBezTo>
                      <a:cubicBezTo>
                        <a:pt x="20205" y="62436"/>
                        <a:pt x="21662" y="47130"/>
                        <a:pt x="22805" y="31813"/>
                      </a:cubicBezTo>
                      <a:cubicBezTo>
                        <a:pt x="23396" y="23794"/>
                        <a:pt x="23948" y="15773"/>
                        <a:pt x="24463" y="7763"/>
                      </a:cubicBezTo>
                      <a:cubicBezTo>
                        <a:pt x="24948" y="286"/>
                        <a:pt x="25510" y="95"/>
                        <a:pt x="33130" y="2543"/>
                      </a:cubicBezTo>
                      <a:cubicBezTo>
                        <a:pt x="49304" y="7725"/>
                        <a:pt x="63401" y="16945"/>
                        <a:pt x="79774" y="22117"/>
                      </a:cubicBezTo>
                      <a:cubicBezTo>
                        <a:pt x="87032" y="24403"/>
                        <a:pt x="96072" y="23784"/>
                        <a:pt x="102853" y="27061"/>
                      </a:cubicBezTo>
                      <a:cubicBezTo>
                        <a:pt x="109206" y="30080"/>
                        <a:pt x="114160" y="38033"/>
                        <a:pt x="121313" y="39138"/>
                      </a:cubicBezTo>
                      <a:lnTo>
                        <a:pt x="121313" y="39138"/>
                      </a:lnTo>
                      <a:close/>
                      <a:moveTo>
                        <a:pt x="396624" y="68790"/>
                      </a:moveTo>
                      <a:cubicBezTo>
                        <a:pt x="395757" y="69580"/>
                        <a:pt x="394880" y="70380"/>
                        <a:pt x="394023" y="71171"/>
                      </a:cubicBezTo>
                      <a:cubicBezTo>
                        <a:pt x="392156" y="67913"/>
                        <a:pt x="389289" y="65103"/>
                        <a:pt x="388708" y="61227"/>
                      </a:cubicBezTo>
                      <a:cubicBezTo>
                        <a:pt x="388222" y="57969"/>
                        <a:pt x="389813" y="54864"/>
                        <a:pt x="389508" y="51483"/>
                      </a:cubicBezTo>
                      <a:cubicBezTo>
                        <a:pt x="388832" y="44025"/>
                        <a:pt x="381431" y="32423"/>
                        <a:pt x="374783" y="28956"/>
                      </a:cubicBezTo>
                      <a:cubicBezTo>
                        <a:pt x="367715" y="25270"/>
                        <a:pt x="361753" y="22117"/>
                        <a:pt x="355047" y="17078"/>
                      </a:cubicBezTo>
                      <a:cubicBezTo>
                        <a:pt x="351551" y="14459"/>
                        <a:pt x="348217" y="11573"/>
                        <a:pt x="344226" y="9373"/>
                      </a:cubicBezTo>
                      <a:cubicBezTo>
                        <a:pt x="340188" y="7153"/>
                        <a:pt x="336083" y="7373"/>
                        <a:pt x="332282" y="5220"/>
                      </a:cubicBezTo>
                      <a:cubicBezTo>
                        <a:pt x="335159" y="4677"/>
                        <a:pt x="336054" y="2810"/>
                        <a:pt x="335092" y="0"/>
                      </a:cubicBezTo>
                      <a:cubicBezTo>
                        <a:pt x="338588" y="2553"/>
                        <a:pt x="342903" y="6067"/>
                        <a:pt x="346408" y="8087"/>
                      </a:cubicBezTo>
                      <a:cubicBezTo>
                        <a:pt x="349389" y="9811"/>
                        <a:pt x="353770" y="10925"/>
                        <a:pt x="357295" y="13049"/>
                      </a:cubicBezTo>
                      <a:cubicBezTo>
                        <a:pt x="364324" y="17288"/>
                        <a:pt x="371011" y="21127"/>
                        <a:pt x="376602" y="26937"/>
                      </a:cubicBezTo>
                      <a:cubicBezTo>
                        <a:pt x="383574" y="34214"/>
                        <a:pt x="393547" y="39738"/>
                        <a:pt x="399700" y="47720"/>
                      </a:cubicBezTo>
                      <a:cubicBezTo>
                        <a:pt x="402376" y="51206"/>
                        <a:pt x="403310" y="52787"/>
                        <a:pt x="402634" y="57007"/>
                      </a:cubicBezTo>
                      <a:cubicBezTo>
                        <a:pt x="402252" y="59350"/>
                        <a:pt x="398367" y="66856"/>
                        <a:pt x="396624" y="68790"/>
                      </a:cubicBezTo>
                      <a:lnTo>
                        <a:pt x="396624" y="6879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84" name="Freeform: Shape 583">
                  <a:extLst>
                    <a:ext uri="{FF2B5EF4-FFF2-40B4-BE49-F238E27FC236}">
                      <a16:creationId xmlns:a16="http://schemas.microsoft.com/office/drawing/2014/main" id="{5DEBA984-DB06-4058-ACC4-F1DC5B01B728}"/>
                    </a:ext>
                  </a:extLst>
                </p:cNvPr>
                <p:cNvSpPr/>
                <p:nvPr/>
              </p:nvSpPr>
              <p:spPr>
                <a:xfrm>
                  <a:off x="9266225" y="3778508"/>
                  <a:ext cx="298714" cy="409563"/>
                </a:xfrm>
                <a:custGeom>
                  <a:avLst/>
                  <a:gdLst>
                    <a:gd name="connsiteX0" fmla="*/ 270347 w 298714"/>
                    <a:gd name="connsiteY0" fmla="*/ 292770 h 409563"/>
                    <a:gd name="connsiteX1" fmla="*/ 274843 w 298714"/>
                    <a:gd name="connsiteY1" fmla="*/ 294418 h 409563"/>
                    <a:gd name="connsiteX2" fmla="*/ 276862 w 298714"/>
                    <a:gd name="connsiteY2" fmla="*/ 296561 h 409563"/>
                    <a:gd name="connsiteX3" fmla="*/ 279872 w 298714"/>
                    <a:gd name="connsiteY3" fmla="*/ 302362 h 409563"/>
                    <a:gd name="connsiteX4" fmla="*/ 282139 w 298714"/>
                    <a:gd name="connsiteY4" fmla="*/ 309353 h 409563"/>
                    <a:gd name="connsiteX5" fmla="*/ 278348 w 298714"/>
                    <a:gd name="connsiteY5" fmla="*/ 314611 h 409563"/>
                    <a:gd name="connsiteX6" fmla="*/ 281434 w 298714"/>
                    <a:gd name="connsiteY6" fmla="*/ 317049 h 409563"/>
                    <a:gd name="connsiteX7" fmla="*/ 284644 w 298714"/>
                    <a:gd name="connsiteY7" fmla="*/ 318249 h 409563"/>
                    <a:gd name="connsiteX8" fmla="*/ 287006 w 298714"/>
                    <a:gd name="connsiteY8" fmla="*/ 322793 h 409563"/>
                    <a:gd name="connsiteX9" fmla="*/ 290912 w 298714"/>
                    <a:gd name="connsiteY9" fmla="*/ 337404 h 409563"/>
                    <a:gd name="connsiteX10" fmla="*/ 297788 w 298714"/>
                    <a:gd name="connsiteY10" fmla="*/ 348644 h 409563"/>
                    <a:gd name="connsiteX11" fmla="*/ 296179 w 298714"/>
                    <a:gd name="connsiteY11" fmla="*/ 363798 h 409563"/>
                    <a:gd name="connsiteX12" fmla="*/ 288730 w 298714"/>
                    <a:gd name="connsiteY12" fmla="*/ 371494 h 409563"/>
                    <a:gd name="connsiteX13" fmla="*/ 290483 w 298714"/>
                    <a:gd name="connsiteY13" fmla="*/ 379381 h 409563"/>
                    <a:gd name="connsiteX14" fmla="*/ 290292 w 298714"/>
                    <a:gd name="connsiteY14" fmla="*/ 387629 h 409563"/>
                    <a:gd name="connsiteX15" fmla="*/ 279110 w 298714"/>
                    <a:gd name="connsiteY15" fmla="*/ 363541 h 409563"/>
                    <a:gd name="connsiteX16" fmla="*/ 271880 w 298714"/>
                    <a:gd name="connsiteY16" fmla="*/ 356683 h 409563"/>
                    <a:gd name="connsiteX17" fmla="*/ 267871 w 298714"/>
                    <a:gd name="connsiteY17" fmla="*/ 364627 h 409563"/>
                    <a:gd name="connsiteX18" fmla="*/ 263489 w 298714"/>
                    <a:gd name="connsiteY18" fmla="*/ 374809 h 409563"/>
                    <a:gd name="connsiteX19" fmla="*/ 270804 w 298714"/>
                    <a:gd name="connsiteY19" fmla="*/ 382696 h 409563"/>
                    <a:gd name="connsiteX20" fmla="*/ 269556 w 298714"/>
                    <a:gd name="connsiteY20" fmla="*/ 407965 h 409563"/>
                    <a:gd name="connsiteX21" fmla="*/ 260479 w 298714"/>
                    <a:gd name="connsiteY21" fmla="*/ 395297 h 409563"/>
                    <a:gd name="connsiteX22" fmla="*/ 254716 w 298714"/>
                    <a:gd name="connsiteY22" fmla="*/ 401517 h 409563"/>
                    <a:gd name="connsiteX23" fmla="*/ 242248 w 298714"/>
                    <a:gd name="connsiteY23" fmla="*/ 397240 h 409563"/>
                    <a:gd name="connsiteX24" fmla="*/ 222169 w 298714"/>
                    <a:gd name="connsiteY24" fmla="*/ 380086 h 409563"/>
                    <a:gd name="connsiteX25" fmla="*/ 218493 w 298714"/>
                    <a:gd name="connsiteY25" fmla="*/ 368113 h 409563"/>
                    <a:gd name="connsiteX26" fmla="*/ 223046 w 298714"/>
                    <a:gd name="connsiteY26" fmla="*/ 358588 h 409563"/>
                    <a:gd name="connsiteX27" fmla="*/ 207749 w 298714"/>
                    <a:gd name="connsiteY27" fmla="*/ 342129 h 409563"/>
                    <a:gd name="connsiteX28" fmla="*/ 197967 w 298714"/>
                    <a:gd name="connsiteY28" fmla="*/ 353035 h 409563"/>
                    <a:gd name="connsiteX29" fmla="*/ 187441 w 298714"/>
                    <a:gd name="connsiteY29" fmla="*/ 343805 h 409563"/>
                    <a:gd name="connsiteX30" fmla="*/ 182565 w 298714"/>
                    <a:gd name="connsiteY30" fmla="*/ 349129 h 409563"/>
                    <a:gd name="connsiteX31" fmla="*/ 178002 w 298714"/>
                    <a:gd name="connsiteY31" fmla="*/ 343929 h 409563"/>
                    <a:gd name="connsiteX32" fmla="*/ 167620 w 298714"/>
                    <a:gd name="connsiteY32" fmla="*/ 348482 h 409563"/>
                    <a:gd name="connsiteX33" fmla="*/ 161352 w 298714"/>
                    <a:gd name="connsiteY33" fmla="*/ 366179 h 409563"/>
                    <a:gd name="connsiteX34" fmla="*/ 152818 w 298714"/>
                    <a:gd name="connsiteY34" fmla="*/ 360102 h 409563"/>
                    <a:gd name="connsiteX35" fmla="*/ 156152 w 298714"/>
                    <a:gd name="connsiteY35" fmla="*/ 352882 h 409563"/>
                    <a:gd name="connsiteX36" fmla="*/ 156504 w 298714"/>
                    <a:gd name="connsiteY36" fmla="*/ 341767 h 409563"/>
                    <a:gd name="connsiteX37" fmla="*/ 168743 w 298714"/>
                    <a:gd name="connsiteY37" fmla="*/ 331661 h 409563"/>
                    <a:gd name="connsiteX38" fmla="*/ 176306 w 298714"/>
                    <a:gd name="connsiteY38" fmla="*/ 330146 h 409563"/>
                    <a:gd name="connsiteX39" fmla="*/ 181516 w 298714"/>
                    <a:gd name="connsiteY39" fmla="*/ 324250 h 409563"/>
                    <a:gd name="connsiteX40" fmla="*/ 189899 w 298714"/>
                    <a:gd name="connsiteY40" fmla="*/ 317087 h 409563"/>
                    <a:gd name="connsiteX41" fmla="*/ 195309 w 298714"/>
                    <a:gd name="connsiteY41" fmla="*/ 312915 h 409563"/>
                    <a:gd name="connsiteX42" fmla="*/ 203948 w 298714"/>
                    <a:gd name="connsiteY42" fmla="*/ 316535 h 409563"/>
                    <a:gd name="connsiteX43" fmla="*/ 206348 w 298714"/>
                    <a:gd name="connsiteY43" fmla="*/ 332537 h 409563"/>
                    <a:gd name="connsiteX44" fmla="*/ 219464 w 298714"/>
                    <a:gd name="connsiteY44" fmla="*/ 327136 h 409563"/>
                    <a:gd name="connsiteX45" fmla="*/ 224094 w 298714"/>
                    <a:gd name="connsiteY45" fmla="*/ 315468 h 409563"/>
                    <a:gd name="connsiteX46" fmla="*/ 234781 w 298714"/>
                    <a:gd name="connsiteY46" fmla="*/ 311725 h 409563"/>
                    <a:gd name="connsiteX47" fmla="*/ 235819 w 298714"/>
                    <a:gd name="connsiteY47" fmla="*/ 304495 h 409563"/>
                    <a:gd name="connsiteX48" fmla="*/ 242667 w 298714"/>
                    <a:gd name="connsiteY48" fmla="*/ 306305 h 409563"/>
                    <a:gd name="connsiteX49" fmla="*/ 247049 w 298714"/>
                    <a:gd name="connsiteY49" fmla="*/ 302000 h 409563"/>
                    <a:gd name="connsiteX50" fmla="*/ 253402 w 298714"/>
                    <a:gd name="connsiteY50" fmla="*/ 302924 h 409563"/>
                    <a:gd name="connsiteX51" fmla="*/ 252469 w 298714"/>
                    <a:gd name="connsiteY51" fmla="*/ 287969 h 409563"/>
                    <a:gd name="connsiteX52" fmla="*/ 270347 w 298714"/>
                    <a:gd name="connsiteY52" fmla="*/ 292770 h 409563"/>
                    <a:gd name="connsiteX53" fmla="*/ 270347 w 298714"/>
                    <a:gd name="connsiteY53" fmla="*/ 292770 h 409563"/>
                    <a:gd name="connsiteX54" fmla="*/ 181764 w 298714"/>
                    <a:gd name="connsiteY54" fmla="*/ 300866 h 409563"/>
                    <a:gd name="connsiteX55" fmla="*/ 169686 w 298714"/>
                    <a:gd name="connsiteY55" fmla="*/ 291589 h 409563"/>
                    <a:gd name="connsiteX56" fmla="*/ 156752 w 298714"/>
                    <a:gd name="connsiteY56" fmla="*/ 282140 h 409563"/>
                    <a:gd name="connsiteX57" fmla="*/ 161028 w 298714"/>
                    <a:gd name="connsiteY57" fmla="*/ 271986 h 409563"/>
                    <a:gd name="connsiteX58" fmla="*/ 165591 w 298714"/>
                    <a:gd name="connsiteY58" fmla="*/ 259404 h 409563"/>
                    <a:gd name="connsiteX59" fmla="*/ 177288 w 298714"/>
                    <a:gd name="connsiteY59" fmla="*/ 240859 h 409563"/>
                    <a:gd name="connsiteX60" fmla="*/ 180231 w 298714"/>
                    <a:gd name="connsiteY60" fmla="*/ 269929 h 409563"/>
                    <a:gd name="connsiteX61" fmla="*/ 182555 w 298714"/>
                    <a:gd name="connsiteY61" fmla="*/ 287693 h 409563"/>
                    <a:gd name="connsiteX62" fmla="*/ 181764 w 298714"/>
                    <a:gd name="connsiteY62" fmla="*/ 300866 h 409563"/>
                    <a:gd name="connsiteX63" fmla="*/ 181764 w 298714"/>
                    <a:gd name="connsiteY63" fmla="*/ 300866 h 409563"/>
                    <a:gd name="connsiteX64" fmla="*/ 2647 w 298714"/>
                    <a:gd name="connsiteY64" fmla="*/ 320535 h 409563"/>
                    <a:gd name="connsiteX65" fmla="*/ 85 w 298714"/>
                    <a:gd name="connsiteY65" fmla="*/ 322812 h 409563"/>
                    <a:gd name="connsiteX66" fmla="*/ 15430 w 298714"/>
                    <a:gd name="connsiteY66" fmla="*/ 296780 h 409563"/>
                    <a:gd name="connsiteX67" fmla="*/ 23697 w 298714"/>
                    <a:gd name="connsiteY67" fmla="*/ 291370 h 409563"/>
                    <a:gd name="connsiteX68" fmla="*/ 34289 w 298714"/>
                    <a:gd name="connsiteY68" fmla="*/ 277320 h 409563"/>
                    <a:gd name="connsiteX69" fmla="*/ 42756 w 298714"/>
                    <a:gd name="connsiteY69" fmla="*/ 265652 h 409563"/>
                    <a:gd name="connsiteX70" fmla="*/ 51110 w 298714"/>
                    <a:gd name="connsiteY70" fmla="*/ 256937 h 409563"/>
                    <a:gd name="connsiteX71" fmla="*/ 50672 w 298714"/>
                    <a:gd name="connsiteY71" fmla="*/ 243707 h 409563"/>
                    <a:gd name="connsiteX72" fmla="*/ 54844 w 298714"/>
                    <a:gd name="connsiteY72" fmla="*/ 228962 h 409563"/>
                    <a:gd name="connsiteX73" fmla="*/ 58358 w 298714"/>
                    <a:gd name="connsiteY73" fmla="*/ 241745 h 409563"/>
                    <a:gd name="connsiteX74" fmla="*/ 64197 w 298714"/>
                    <a:gd name="connsiteY74" fmla="*/ 257785 h 409563"/>
                    <a:gd name="connsiteX75" fmla="*/ 58501 w 298714"/>
                    <a:gd name="connsiteY75" fmla="*/ 260213 h 409563"/>
                    <a:gd name="connsiteX76" fmla="*/ 53730 w 298714"/>
                    <a:gd name="connsiteY76" fmla="*/ 266586 h 409563"/>
                    <a:gd name="connsiteX77" fmla="*/ 50453 w 298714"/>
                    <a:gd name="connsiteY77" fmla="*/ 270205 h 409563"/>
                    <a:gd name="connsiteX78" fmla="*/ 42109 w 298714"/>
                    <a:gd name="connsiteY78" fmla="*/ 273234 h 409563"/>
                    <a:gd name="connsiteX79" fmla="*/ 41470 w 298714"/>
                    <a:gd name="connsiteY79" fmla="*/ 279025 h 409563"/>
                    <a:gd name="connsiteX80" fmla="*/ 37079 w 298714"/>
                    <a:gd name="connsiteY80" fmla="*/ 289570 h 409563"/>
                    <a:gd name="connsiteX81" fmla="*/ 24755 w 298714"/>
                    <a:gd name="connsiteY81" fmla="*/ 300647 h 409563"/>
                    <a:gd name="connsiteX82" fmla="*/ 14477 w 298714"/>
                    <a:gd name="connsiteY82" fmla="*/ 312230 h 409563"/>
                    <a:gd name="connsiteX83" fmla="*/ 2647 w 298714"/>
                    <a:gd name="connsiteY83" fmla="*/ 320535 h 409563"/>
                    <a:gd name="connsiteX84" fmla="*/ 2647 w 298714"/>
                    <a:gd name="connsiteY84" fmla="*/ 320535 h 409563"/>
                    <a:gd name="connsiteX85" fmla="*/ 213140 w 298714"/>
                    <a:gd name="connsiteY85" fmla="*/ 229076 h 409563"/>
                    <a:gd name="connsiteX86" fmla="*/ 226075 w 298714"/>
                    <a:gd name="connsiteY86" fmla="*/ 230867 h 409563"/>
                    <a:gd name="connsiteX87" fmla="*/ 230456 w 298714"/>
                    <a:gd name="connsiteY87" fmla="*/ 245945 h 409563"/>
                    <a:gd name="connsiteX88" fmla="*/ 237943 w 298714"/>
                    <a:gd name="connsiteY88" fmla="*/ 262795 h 409563"/>
                    <a:gd name="connsiteX89" fmla="*/ 238257 w 298714"/>
                    <a:gd name="connsiteY89" fmla="*/ 265405 h 409563"/>
                    <a:gd name="connsiteX90" fmla="*/ 232323 w 298714"/>
                    <a:gd name="connsiteY90" fmla="*/ 259794 h 409563"/>
                    <a:gd name="connsiteX91" fmla="*/ 235581 w 298714"/>
                    <a:gd name="connsiteY91" fmla="*/ 270329 h 409563"/>
                    <a:gd name="connsiteX92" fmla="*/ 225789 w 298714"/>
                    <a:gd name="connsiteY92" fmla="*/ 260137 h 409563"/>
                    <a:gd name="connsiteX93" fmla="*/ 221598 w 298714"/>
                    <a:gd name="connsiteY93" fmla="*/ 244059 h 409563"/>
                    <a:gd name="connsiteX94" fmla="*/ 210625 w 298714"/>
                    <a:gd name="connsiteY94" fmla="*/ 238706 h 409563"/>
                    <a:gd name="connsiteX95" fmla="*/ 204224 w 298714"/>
                    <a:gd name="connsiteY95" fmla="*/ 223018 h 409563"/>
                    <a:gd name="connsiteX96" fmla="*/ 213140 w 298714"/>
                    <a:gd name="connsiteY96" fmla="*/ 229076 h 409563"/>
                    <a:gd name="connsiteX97" fmla="*/ 213140 w 298714"/>
                    <a:gd name="connsiteY97" fmla="*/ 229076 h 409563"/>
                    <a:gd name="connsiteX98" fmla="*/ 146484 w 298714"/>
                    <a:gd name="connsiteY98" fmla="*/ 220513 h 409563"/>
                    <a:gd name="connsiteX99" fmla="*/ 160076 w 298714"/>
                    <a:gd name="connsiteY99" fmla="*/ 225990 h 409563"/>
                    <a:gd name="connsiteX100" fmla="*/ 167706 w 298714"/>
                    <a:gd name="connsiteY100" fmla="*/ 232277 h 409563"/>
                    <a:gd name="connsiteX101" fmla="*/ 161305 w 298714"/>
                    <a:gd name="connsiteY101" fmla="*/ 239182 h 409563"/>
                    <a:gd name="connsiteX102" fmla="*/ 160495 w 298714"/>
                    <a:gd name="connsiteY102" fmla="*/ 243678 h 409563"/>
                    <a:gd name="connsiteX103" fmla="*/ 143598 w 298714"/>
                    <a:gd name="connsiteY103" fmla="*/ 251765 h 409563"/>
                    <a:gd name="connsiteX104" fmla="*/ 136568 w 298714"/>
                    <a:gd name="connsiteY104" fmla="*/ 252441 h 409563"/>
                    <a:gd name="connsiteX105" fmla="*/ 136025 w 298714"/>
                    <a:gd name="connsiteY105" fmla="*/ 236801 h 409563"/>
                    <a:gd name="connsiteX106" fmla="*/ 133730 w 298714"/>
                    <a:gd name="connsiteY106" fmla="*/ 218418 h 409563"/>
                    <a:gd name="connsiteX107" fmla="*/ 129996 w 298714"/>
                    <a:gd name="connsiteY107" fmla="*/ 211674 h 409563"/>
                    <a:gd name="connsiteX108" fmla="*/ 146484 w 298714"/>
                    <a:gd name="connsiteY108" fmla="*/ 220513 h 409563"/>
                    <a:gd name="connsiteX109" fmla="*/ 146484 w 298714"/>
                    <a:gd name="connsiteY109" fmla="*/ 220513 h 409563"/>
                    <a:gd name="connsiteX110" fmla="*/ 225436 w 298714"/>
                    <a:gd name="connsiteY110" fmla="*/ 191757 h 409563"/>
                    <a:gd name="connsiteX111" fmla="*/ 229418 w 298714"/>
                    <a:gd name="connsiteY111" fmla="*/ 197730 h 409563"/>
                    <a:gd name="connsiteX112" fmla="*/ 235009 w 298714"/>
                    <a:gd name="connsiteY112" fmla="*/ 200454 h 409563"/>
                    <a:gd name="connsiteX113" fmla="*/ 238286 w 298714"/>
                    <a:gd name="connsiteY113" fmla="*/ 216037 h 409563"/>
                    <a:gd name="connsiteX114" fmla="*/ 245106 w 298714"/>
                    <a:gd name="connsiteY114" fmla="*/ 228838 h 409563"/>
                    <a:gd name="connsiteX115" fmla="*/ 245858 w 298714"/>
                    <a:gd name="connsiteY115" fmla="*/ 232448 h 409563"/>
                    <a:gd name="connsiteX116" fmla="*/ 251326 w 298714"/>
                    <a:gd name="connsiteY116" fmla="*/ 238325 h 409563"/>
                    <a:gd name="connsiteX117" fmla="*/ 241429 w 298714"/>
                    <a:gd name="connsiteY117" fmla="*/ 236334 h 409563"/>
                    <a:gd name="connsiteX118" fmla="*/ 231780 w 298714"/>
                    <a:gd name="connsiteY118" fmla="*/ 231477 h 409563"/>
                    <a:gd name="connsiteX119" fmla="*/ 223779 w 298714"/>
                    <a:gd name="connsiteY119" fmla="*/ 224790 h 409563"/>
                    <a:gd name="connsiteX120" fmla="*/ 223351 w 298714"/>
                    <a:gd name="connsiteY120" fmla="*/ 215798 h 409563"/>
                    <a:gd name="connsiteX121" fmla="*/ 216207 w 298714"/>
                    <a:gd name="connsiteY121" fmla="*/ 211665 h 409563"/>
                    <a:gd name="connsiteX122" fmla="*/ 208101 w 298714"/>
                    <a:gd name="connsiteY122" fmla="*/ 206664 h 409563"/>
                    <a:gd name="connsiteX123" fmla="*/ 195719 w 298714"/>
                    <a:gd name="connsiteY123" fmla="*/ 190462 h 409563"/>
                    <a:gd name="connsiteX124" fmla="*/ 225436 w 298714"/>
                    <a:gd name="connsiteY124" fmla="*/ 191757 h 409563"/>
                    <a:gd name="connsiteX125" fmla="*/ 225436 w 298714"/>
                    <a:gd name="connsiteY125" fmla="*/ 191757 h 409563"/>
                    <a:gd name="connsiteX126" fmla="*/ 77180 w 298714"/>
                    <a:gd name="connsiteY126" fmla="*/ 161782 h 409563"/>
                    <a:gd name="connsiteX127" fmla="*/ 85181 w 298714"/>
                    <a:gd name="connsiteY127" fmla="*/ 161458 h 409563"/>
                    <a:gd name="connsiteX128" fmla="*/ 90534 w 298714"/>
                    <a:gd name="connsiteY128" fmla="*/ 164640 h 409563"/>
                    <a:gd name="connsiteX129" fmla="*/ 94515 w 298714"/>
                    <a:gd name="connsiteY129" fmla="*/ 164182 h 409563"/>
                    <a:gd name="connsiteX130" fmla="*/ 98297 w 298714"/>
                    <a:gd name="connsiteY130" fmla="*/ 167630 h 409563"/>
                    <a:gd name="connsiteX131" fmla="*/ 105269 w 298714"/>
                    <a:gd name="connsiteY131" fmla="*/ 172745 h 409563"/>
                    <a:gd name="connsiteX132" fmla="*/ 105279 w 298714"/>
                    <a:gd name="connsiteY132" fmla="*/ 179032 h 409563"/>
                    <a:gd name="connsiteX133" fmla="*/ 109146 w 298714"/>
                    <a:gd name="connsiteY133" fmla="*/ 187623 h 409563"/>
                    <a:gd name="connsiteX134" fmla="*/ 107374 w 298714"/>
                    <a:gd name="connsiteY134" fmla="*/ 198911 h 409563"/>
                    <a:gd name="connsiteX135" fmla="*/ 102383 w 298714"/>
                    <a:gd name="connsiteY135" fmla="*/ 201349 h 409563"/>
                    <a:gd name="connsiteX136" fmla="*/ 96801 w 298714"/>
                    <a:gd name="connsiteY136" fmla="*/ 197368 h 409563"/>
                    <a:gd name="connsiteX137" fmla="*/ 84152 w 298714"/>
                    <a:gd name="connsiteY137" fmla="*/ 182289 h 409563"/>
                    <a:gd name="connsiteX138" fmla="*/ 70465 w 298714"/>
                    <a:gd name="connsiteY138" fmla="*/ 165125 h 409563"/>
                    <a:gd name="connsiteX139" fmla="*/ 66893 w 298714"/>
                    <a:gd name="connsiteY139" fmla="*/ 161287 h 409563"/>
                    <a:gd name="connsiteX140" fmla="*/ 77180 w 298714"/>
                    <a:gd name="connsiteY140" fmla="*/ 161782 h 409563"/>
                    <a:gd name="connsiteX141" fmla="*/ 77180 w 298714"/>
                    <a:gd name="connsiteY141" fmla="*/ 161782 h 409563"/>
                    <a:gd name="connsiteX142" fmla="*/ 42280 w 298714"/>
                    <a:gd name="connsiteY142" fmla="*/ 0 h 409563"/>
                    <a:gd name="connsiteX143" fmla="*/ 67369 w 298714"/>
                    <a:gd name="connsiteY143" fmla="*/ 9811 h 409563"/>
                    <a:gd name="connsiteX144" fmla="*/ 81304 w 298714"/>
                    <a:gd name="connsiteY144" fmla="*/ 6667 h 409563"/>
                    <a:gd name="connsiteX145" fmla="*/ 81162 w 298714"/>
                    <a:gd name="connsiteY145" fmla="*/ 17345 h 409563"/>
                    <a:gd name="connsiteX146" fmla="*/ 85247 w 298714"/>
                    <a:gd name="connsiteY146" fmla="*/ 31356 h 409563"/>
                    <a:gd name="connsiteX147" fmla="*/ 97211 w 298714"/>
                    <a:gd name="connsiteY147" fmla="*/ 45282 h 409563"/>
                    <a:gd name="connsiteX148" fmla="*/ 100925 w 298714"/>
                    <a:gd name="connsiteY148" fmla="*/ 51197 h 409563"/>
                    <a:gd name="connsiteX149" fmla="*/ 99221 w 298714"/>
                    <a:gd name="connsiteY149" fmla="*/ 66780 h 409563"/>
                    <a:gd name="connsiteX150" fmla="*/ 97182 w 298714"/>
                    <a:gd name="connsiteY150" fmla="*/ 76791 h 409563"/>
                    <a:gd name="connsiteX151" fmla="*/ 85553 w 298714"/>
                    <a:gd name="connsiteY151" fmla="*/ 82582 h 409563"/>
                    <a:gd name="connsiteX152" fmla="*/ 86353 w 298714"/>
                    <a:gd name="connsiteY152" fmla="*/ 91040 h 409563"/>
                    <a:gd name="connsiteX153" fmla="*/ 84276 w 298714"/>
                    <a:gd name="connsiteY153" fmla="*/ 100746 h 409563"/>
                    <a:gd name="connsiteX154" fmla="*/ 94963 w 298714"/>
                    <a:gd name="connsiteY154" fmla="*/ 119034 h 409563"/>
                    <a:gd name="connsiteX155" fmla="*/ 104193 w 298714"/>
                    <a:gd name="connsiteY155" fmla="*/ 139075 h 409563"/>
                    <a:gd name="connsiteX156" fmla="*/ 122243 w 298714"/>
                    <a:gd name="connsiteY156" fmla="*/ 145514 h 409563"/>
                    <a:gd name="connsiteX157" fmla="*/ 121767 w 298714"/>
                    <a:gd name="connsiteY157" fmla="*/ 138236 h 409563"/>
                    <a:gd name="connsiteX158" fmla="*/ 137797 w 298714"/>
                    <a:gd name="connsiteY158" fmla="*/ 137493 h 409563"/>
                    <a:gd name="connsiteX159" fmla="*/ 147351 w 298714"/>
                    <a:gd name="connsiteY159" fmla="*/ 149362 h 409563"/>
                    <a:gd name="connsiteX160" fmla="*/ 154475 w 298714"/>
                    <a:gd name="connsiteY160" fmla="*/ 148180 h 409563"/>
                    <a:gd name="connsiteX161" fmla="*/ 153313 w 298714"/>
                    <a:gd name="connsiteY161" fmla="*/ 144037 h 409563"/>
                    <a:gd name="connsiteX162" fmla="*/ 158562 w 298714"/>
                    <a:gd name="connsiteY162" fmla="*/ 146628 h 409563"/>
                    <a:gd name="connsiteX163" fmla="*/ 172191 w 298714"/>
                    <a:gd name="connsiteY163" fmla="*/ 151409 h 409563"/>
                    <a:gd name="connsiteX164" fmla="*/ 166658 w 298714"/>
                    <a:gd name="connsiteY164" fmla="*/ 159772 h 409563"/>
                    <a:gd name="connsiteX165" fmla="*/ 175792 w 298714"/>
                    <a:gd name="connsiteY165" fmla="*/ 173412 h 409563"/>
                    <a:gd name="connsiteX166" fmla="*/ 187489 w 298714"/>
                    <a:gd name="connsiteY166" fmla="*/ 175765 h 409563"/>
                    <a:gd name="connsiteX167" fmla="*/ 188460 w 298714"/>
                    <a:gd name="connsiteY167" fmla="*/ 190529 h 409563"/>
                    <a:gd name="connsiteX168" fmla="*/ 181536 w 298714"/>
                    <a:gd name="connsiteY168" fmla="*/ 183032 h 409563"/>
                    <a:gd name="connsiteX169" fmla="*/ 178764 w 298714"/>
                    <a:gd name="connsiteY169" fmla="*/ 179470 h 409563"/>
                    <a:gd name="connsiteX170" fmla="*/ 160304 w 298714"/>
                    <a:gd name="connsiteY170" fmla="*/ 172822 h 409563"/>
                    <a:gd name="connsiteX171" fmla="*/ 155066 w 298714"/>
                    <a:gd name="connsiteY171" fmla="*/ 164201 h 409563"/>
                    <a:gd name="connsiteX172" fmla="*/ 145102 w 298714"/>
                    <a:gd name="connsiteY172" fmla="*/ 158601 h 409563"/>
                    <a:gd name="connsiteX173" fmla="*/ 128957 w 298714"/>
                    <a:gd name="connsiteY173" fmla="*/ 147609 h 409563"/>
                    <a:gd name="connsiteX174" fmla="*/ 139245 w 298714"/>
                    <a:gd name="connsiteY174" fmla="*/ 169859 h 409563"/>
                    <a:gd name="connsiteX175" fmla="*/ 118080 w 298714"/>
                    <a:gd name="connsiteY175" fmla="*/ 152762 h 409563"/>
                    <a:gd name="connsiteX176" fmla="*/ 105012 w 298714"/>
                    <a:gd name="connsiteY176" fmla="*/ 147285 h 409563"/>
                    <a:gd name="connsiteX177" fmla="*/ 97077 w 298714"/>
                    <a:gd name="connsiteY177" fmla="*/ 155467 h 409563"/>
                    <a:gd name="connsiteX178" fmla="*/ 72570 w 298714"/>
                    <a:gd name="connsiteY178" fmla="*/ 151552 h 409563"/>
                    <a:gd name="connsiteX179" fmla="*/ 68855 w 298714"/>
                    <a:gd name="connsiteY179" fmla="*/ 139475 h 409563"/>
                    <a:gd name="connsiteX180" fmla="*/ 74542 w 298714"/>
                    <a:gd name="connsiteY180" fmla="*/ 131312 h 409563"/>
                    <a:gd name="connsiteX181" fmla="*/ 62064 w 298714"/>
                    <a:gd name="connsiteY181" fmla="*/ 117634 h 409563"/>
                    <a:gd name="connsiteX182" fmla="*/ 61626 w 298714"/>
                    <a:gd name="connsiteY182" fmla="*/ 131216 h 409563"/>
                    <a:gd name="connsiteX183" fmla="*/ 55263 w 298714"/>
                    <a:gd name="connsiteY183" fmla="*/ 124473 h 409563"/>
                    <a:gd name="connsiteX184" fmla="*/ 52510 w 298714"/>
                    <a:gd name="connsiteY184" fmla="*/ 120415 h 409563"/>
                    <a:gd name="connsiteX185" fmla="*/ 48929 w 298714"/>
                    <a:gd name="connsiteY185" fmla="*/ 120177 h 409563"/>
                    <a:gd name="connsiteX186" fmla="*/ 37156 w 298714"/>
                    <a:gd name="connsiteY186" fmla="*/ 100317 h 409563"/>
                    <a:gd name="connsiteX187" fmla="*/ 32498 w 298714"/>
                    <a:gd name="connsiteY187" fmla="*/ 88078 h 409563"/>
                    <a:gd name="connsiteX188" fmla="*/ 27374 w 298714"/>
                    <a:gd name="connsiteY188" fmla="*/ 82525 h 409563"/>
                    <a:gd name="connsiteX189" fmla="*/ 30765 w 298714"/>
                    <a:gd name="connsiteY189" fmla="*/ 75228 h 409563"/>
                    <a:gd name="connsiteX190" fmla="*/ 44595 w 298714"/>
                    <a:gd name="connsiteY190" fmla="*/ 78534 h 409563"/>
                    <a:gd name="connsiteX191" fmla="*/ 37118 w 298714"/>
                    <a:gd name="connsiteY191" fmla="*/ 59341 h 409563"/>
                    <a:gd name="connsiteX192" fmla="*/ 33746 w 298714"/>
                    <a:gd name="connsiteY192" fmla="*/ 37529 h 409563"/>
                    <a:gd name="connsiteX193" fmla="*/ 29316 w 298714"/>
                    <a:gd name="connsiteY193" fmla="*/ 26080 h 409563"/>
                    <a:gd name="connsiteX194" fmla="*/ 29098 w 298714"/>
                    <a:gd name="connsiteY194" fmla="*/ 11097 h 409563"/>
                    <a:gd name="connsiteX195" fmla="*/ 33613 w 298714"/>
                    <a:gd name="connsiteY195" fmla="*/ 419 h 409563"/>
                    <a:gd name="connsiteX196" fmla="*/ 42280 w 298714"/>
                    <a:gd name="connsiteY196" fmla="*/ 0 h 409563"/>
                    <a:gd name="connsiteX197" fmla="*/ 42280 w 298714"/>
                    <a:gd name="connsiteY197" fmla="*/ 0 h 409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298714" h="409563">
                      <a:moveTo>
                        <a:pt x="270347" y="292770"/>
                      </a:moveTo>
                      <a:cubicBezTo>
                        <a:pt x="271871" y="294265"/>
                        <a:pt x="273757" y="293637"/>
                        <a:pt x="274843" y="294418"/>
                      </a:cubicBezTo>
                      <a:cubicBezTo>
                        <a:pt x="276167" y="295380"/>
                        <a:pt x="275490" y="295056"/>
                        <a:pt x="276862" y="296561"/>
                      </a:cubicBezTo>
                      <a:cubicBezTo>
                        <a:pt x="276890" y="296589"/>
                        <a:pt x="279758" y="302076"/>
                        <a:pt x="279872" y="302362"/>
                      </a:cubicBezTo>
                      <a:cubicBezTo>
                        <a:pt x="281187" y="305381"/>
                        <a:pt x="282958" y="305657"/>
                        <a:pt x="282139" y="309353"/>
                      </a:cubicBezTo>
                      <a:cubicBezTo>
                        <a:pt x="281853" y="310696"/>
                        <a:pt x="278262" y="313963"/>
                        <a:pt x="278348" y="314611"/>
                      </a:cubicBezTo>
                      <a:cubicBezTo>
                        <a:pt x="278662" y="316992"/>
                        <a:pt x="280338" y="315792"/>
                        <a:pt x="281434" y="317049"/>
                      </a:cubicBezTo>
                      <a:cubicBezTo>
                        <a:pt x="281958" y="317640"/>
                        <a:pt x="283863" y="317497"/>
                        <a:pt x="284644" y="318249"/>
                      </a:cubicBezTo>
                      <a:cubicBezTo>
                        <a:pt x="287054" y="320573"/>
                        <a:pt x="285025" y="319754"/>
                        <a:pt x="287006" y="322793"/>
                      </a:cubicBezTo>
                      <a:cubicBezTo>
                        <a:pt x="290683" y="328422"/>
                        <a:pt x="288892" y="331403"/>
                        <a:pt x="290912" y="337404"/>
                      </a:cubicBezTo>
                      <a:cubicBezTo>
                        <a:pt x="292455" y="341986"/>
                        <a:pt x="296303" y="343662"/>
                        <a:pt x="297788" y="348644"/>
                      </a:cubicBezTo>
                      <a:cubicBezTo>
                        <a:pt x="299379" y="354044"/>
                        <a:pt x="298969" y="359045"/>
                        <a:pt x="296179" y="363798"/>
                      </a:cubicBezTo>
                      <a:cubicBezTo>
                        <a:pt x="293807" y="367827"/>
                        <a:pt x="289349" y="368932"/>
                        <a:pt x="288730" y="371494"/>
                      </a:cubicBezTo>
                      <a:cubicBezTo>
                        <a:pt x="288559" y="372189"/>
                        <a:pt x="290378" y="378181"/>
                        <a:pt x="290483" y="379381"/>
                      </a:cubicBezTo>
                      <a:cubicBezTo>
                        <a:pt x="290702" y="382114"/>
                        <a:pt x="290588" y="384915"/>
                        <a:pt x="290292" y="387629"/>
                      </a:cubicBezTo>
                      <a:cubicBezTo>
                        <a:pt x="285263" y="380638"/>
                        <a:pt x="283529" y="371104"/>
                        <a:pt x="279110" y="363541"/>
                      </a:cubicBezTo>
                      <a:cubicBezTo>
                        <a:pt x="277157" y="360188"/>
                        <a:pt x="275976" y="353806"/>
                        <a:pt x="271880" y="356683"/>
                      </a:cubicBezTo>
                      <a:cubicBezTo>
                        <a:pt x="270223" y="357854"/>
                        <a:pt x="268794" y="362712"/>
                        <a:pt x="267871" y="364627"/>
                      </a:cubicBezTo>
                      <a:cubicBezTo>
                        <a:pt x="266356" y="367751"/>
                        <a:pt x="262698" y="370808"/>
                        <a:pt x="263489" y="374809"/>
                      </a:cubicBezTo>
                      <a:cubicBezTo>
                        <a:pt x="264223" y="378524"/>
                        <a:pt x="268547" y="379733"/>
                        <a:pt x="270804" y="382696"/>
                      </a:cubicBezTo>
                      <a:cubicBezTo>
                        <a:pt x="275605" y="389010"/>
                        <a:pt x="277405" y="402755"/>
                        <a:pt x="269556" y="407965"/>
                      </a:cubicBezTo>
                      <a:cubicBezTo>
                        <a:pt x="258583" y="415252"/>
                        <a:pt x="265537" y="395259"/>
                        <a:pt x="260479" y="395297"/>
                      </a:cubicBezTo>
                      <a:cubicBezTo>
                        <a:pt x="258040" y="395316"/>
                        <a:pt x="257440" y="400669"/>
                        <a:pt x="254716" y="401517"/>
                      </a:cubicBezTo>
                      <a:cubicBezTo>
                        <a:pt x="251259" y="402584"/>
                        <a:pt x="245229" y="398574"/>
                        <a:pt x="242248" y="397240"/>
                      </a:cubicBezTo>
                      <a:cubicBezTo>
                        <a:pt x="233323" y="393240"/>
                        <a:pt x="225589" y="389620"/>
                        <a:pt x="222169" y="380086"/>
                      </a:cubicBezTo>
                      <a:cubicBezTo>
                        <a:pt x="221065" y="377000"/>
                        <a:pt x="218569" y="371351"/>
                        <a:pt x="218493" y="368113"/>
                      </a:cubicBezTo>
                      <a:cubicBezTo>
                        <a:pt x="218388" y="363284"/>
                        <a:pt x="222008" y="362388"/>
                        <a:pt x="223046" y="358588"/>
                      </a:cubicBezTo>
                      <a:cubicBezTo>
                        <a:pt x="225503" y="349501"/>
                        <a:pt x="214912" y="345043"/>
                        <a:pt x="207749" y="342129"/>
                      </a:cubicBezTo>
                      <a:cubicBezTo>
                        <a:pt x="197395" y="337918"/>
                        <a:pt x="199786" y="343367"/>
                        <a:pt x="197967" y="353035"/>
                      </a:cubicBezTo>
                      <a:cubicBezTo>
                        <a:pt x="192870" y="350720"/>
                        <a:pt x="190032" y="348596"/>
                        <a:pt x="187441" y="343805"/>
                      </a:cubicBezTo>
                      <a:cubicBezTo>
                        <a:pt x="186898" y="346329"/>
                        <a:pt x="185270" y="348987"/>
                        <a:pt x="182565" y="349129"/>
                      </a:cubicBezTo>
                      <a:cubicBezTo>
                        <a:pt x="177659" y="349387"/>
                        <a:pt x="180726" y="346348"/>
                        <a:pt x="178002" y="343929"/>
                      </a:cubicBezTo>
                      <a:cubicBezTo>
                        <a:pt x="172468" y="338985"/>
                        <a:pt x="170096" y="343614"/>
                        <a:pt x="167620" y="348482"/>
                      </a:cubicBezTo>
                      <a:cubicBezTo>
                        <a:pt x="165372" y="352901"/>
                        <a:pt x="164619" y="362702"/>
                        <a:pt x="161352" y="366179"/>
                      </a:cubicBezTo>
                      <a:cubicBezTo>
                        <a:pt x="157256" y="370542"/>
                        <a:pt x="152113" y="365836"/>
                        <a:pt x="152818" y="360102"/>
                      </a:cubicBezTo>
                      <a:cubicBezTo>
                        <a:pt x="153094" y="357864"/>
                        <a:pt x="155494" y="355264"/>
                        <a:pt x="156152" y="352882"/>
                      </a:cubicBezTo>
                      <a:cubicBezTo>
                        <a:pt x="157114" y="349348"/>
                        <a:pt x="155656" y="345091"/>
                        <a:pt x="156504" y="341767"/>
                      </a:cubicBezTo>
                      <a:cubicBezTo>
                        <a:pt x="158190" y="335137"/>
                        <a:pt x="162753" y="333165"/>
                        <a:pt x="168743" y="331661"/>
                      </a:cubicBezTo>
                      <a:cubicBezTo>
                        <a:pt x="170963" y="331099"/>
                        <a:pt x="174316" y="330889"/>
                        <a:pt x="176306" y="330146"/>
                      </a:cubicBezTo>
                      <a:cubicBezTo>
                        <a:pt x="182079" y="327993"/>
                        <a:pt x="179440" y="327898"/>
                        <a:pt x="181516" y="324250"/>
                      </a:cubicBezTo>
                      <a:cubicBezTo>
                        <a:pt x="184431" y="319135"/>
                        <a:pt x="184841" y="320631"/>
                        <a:pt x="189899" y="317087"/>
                      </a:cubicBezTo>
                      <a:cubicBezTo>
                        <a:pt x="193004" y="314906"/>
                        <a:pt x="191851" y="313306"/>
                        <a:pt x="195309" y="312915"/>
                      </a:cubicBezTo>
                      <a:cubicBezTo>
                        <a:pt x="197318" y="312687"/>
                        <a:pt x="202348" y="315306"/>
                        <a:pt x="203948" y="316535"/>
                      </a:cubicBezTo>
                      <a:cubicBezTo>
                        <a:pt x="208215" y="319811"/>
                        <a:pt x="212378" y="328955"/>
                        <a:pt x="206348" y="332537"/>
                      </a:cubicBezTo>
                      <a:cubicBezTo>
                        <a:pt x="208444" y="332699"/>
                        <a:pt x="217788" y="328765"/>
                        <a:pt x="219464" y="327136"/>
                      </a:cubicBezTo>
                      <a:cubicBezTo>
                        <a:pt x="222312" y="324364"/>
                        <a:pt x="220198" y="317278"/>
                        <a:pt x="224094" y="315468"/>
                      </a:cubicBezTo>
                      <a:cubicBezTo>
                        <a:pt x="230304" y="312582"/>
                        <a:pt x="232933" y="322697"/>
                        <a:pt x="234781" y="311725"/>
                      </a:cubicBezTo>
                      <a:cubicBezTo>
                        <a:pt x="235142" y="309591"/>
                        <a:pt x="233542" y="305962"/>
                        <a:pt x="235819" y="304495"/>
                      </a:cubicBezTo>
                      <a:cubicBezTo>
                        <a:pt x="238762" y="302600"/>
                        <a:pt x="239962" y="306314"/>
                        <a:pt x="242667" y="306305"/>
                      </a:cubicBezTo>
                      <a:cubicBezTo>
                        <a:pt x="249106" y="306295"/>
                        <a:pt x="243363" y="303409"/>
                        <a:pt x="247049" y="302000"/>
                      </a:cubicBezTo>
                      <a:cubicBezTo>
                        <a:pt x="249030" y="301238"/>
                        <a:pt x="251335" y="303638"/>
                        <a:pt x="253402" y="302924"/>
                      </a:cubicBezTo>
                      <a:cubicBezTo>
                        <a:pt x="259622" y="300780"/>
                        <a:pt x="254507" y="292770"/>
                        <a:pt x="252469" y="287969"/>
                      </a:cubicBezTo>
                      <a:cubicBezTo>
                        <a:pt x="245077" y="270586"/>
                        <a:pt x="266642" y="285845"/>
                        <a:pt x="270347" y="292770"/>
                      </a:cubicBezTo>
                      <a:lnTo>
                        <a:pt x="270347" y="292770"/>
                      </a:lnTo>
                      <a:close/>
                      <a:moveTo>
                        <a:pt x="181764" y="300866"/>
                      </a:moveTo>
                      <a:cubicBezTo>
                        <a:pt x="175335" y="303048"/>
                        <a:pt x="173830" y="294504"/>
                        <a:pt x="169686" y="291589"/>
                      </a:cubicBezTo>
                      <a:cubicBezTo>
                        <a:pt x="164895" y="288217"/>
                        <a:pt x="160076" y="288046"/>
                        <a:pt x="156752" y="282140"/>
                      </a:cubicBezTo>
                      <a:cubicBezTo>
                        <a:pt x="152542" y="274672"/>
                        <a:pt x="155713" y="274329"/>
                        <a:pt x="161028" y="271986"/>
                      </a:cubicBezTo>
                      <a:cubicBezTo>
                        <a:pt x="168763" y="268576"/>
                        <a:pt x="167057" y="267357"/>
                        <a:pt x="165591" y="259404"/>
                      </a:cubicBezTo>
                      <a:cubicBezTo>
                        <a:pt x="164067" y="251079"/>
                        <a:pt x="165334" y="238935"/>
                        <a:pt x="177288" y="240859"/>
                      </a:cubicBezTo>
                      <a:cubicBezTo>
                        <a:pt x="190908" y="243059"/>
                        <a:pt x="182146" y="260861"/>
                        <a:pt x="180231" y="269929"/>
                      </a:cubicBezTo>
                      <a:cubicBezTo>
                        <a:pt x="178611" y="277597"/>
                        <a:pt x="178050" y="281073"/>
                        <a:pt x="182555" y="287693"/>
                      </a:cubicBezTo>
                      <a:cubicBezTo>
                        <a:pt x="185412" y="291903"/>
                        <a:pt x="189403" y="298152"/>
                        <a:pt x="181764" y="300866"/>
                      </a:cubicBezTo>
                      <a:lnTo>
                        <a:pt x="181764" y="300866"/>
                      </a:lnTo>
                      <a:close/>
                      <a:moveTo>
                        <a:pt x="2647" y="320535"/>
                      </a:moveTo>
                      <a:cubicBezTo>
                        <a:pt x="1790" y="321297"/>
                        <a:pt x="942" y="322059"/>
                        <a:pt x="85" y="322812"/>
                      </a:cubicBezTo>
                      <a:cubicBezTo>
                        <a:pt x="-1001" y="313734"/>
                        <a:pt x="8610" y="302095"/>
                        <a:pt x="15430" y="296780"/>
                      </a:cubicBezTo>
                      <a:cubicBezTo>
                        <a:pt x="18306" y="294542"/>
                        <a:pt x="20782" y="294246"/>
                        <a:pt x="23697" y="291370"/>
                      </a:cubicBezTo>
                      <a:cubicBezTo>
                        <a:pt x="27469" y="287655"/>
                        <a:pt x="31222" y="281683"/>
                        <a:pt x="34289" y="277320"/>
                      </a:cubicBezTo>
                      <a:cubicBezTo>
                        <a:pt x="37127" y="273291"/>
                        <a:pt x="39814" y="269529"/>
                        <a:pt x="42756" y="265652"/>
                      </a:cubicBezTo>
                      <a:cubicBezTo>
                        <a:pt x="45300" y="262309"/>
                        <a:pt x="48929" y="260023"/>
                        <a:pt x="51110" y="256937"/>
                      </a:cubicBezTo>
                      <a:cubicBezTo>
                        <a:pt x="55053" y="251374"/>
                        <a:pt x="51138" y="248984"/>
                        <a:pt x="50672" y="243707"/>
                      </a:cubicBezTo>
                      <a:cubicBezTo>
                        <a:pt x="50310" y="239459"/>
                        <a:pt x="53187" y="232696"/>
                        <a:pt x="54844" y="228962"/>
                      </a:cubicBezTo>
                      <a:cubicBezTo>
                        <a:pt x="58997" y="230924"/>
                        <a:pt x="57101" y="238306"/>
                        <a:pt x="58358" y="241745"/>
                      </a:cubicBezTo>
                      <a:cubicBezTo>
                        <a:pt x="60283" y="247031"/>
                        <a:pt x="67798" y="252593"/>
                        <a:pt x="64197" y="257785"/>
                      </a:cubicBezTo>
                      <a:cubicBezTo>
                        <a:pt x="62702" y="259937"/>
                        <a:pt x="60159" y="258861"/>
                        <a:pt x="58501" y="260213"/>
                      </a:cubicBezTo>
                      <a:cubicBezTo>
                        <a:pt x="56035" y="262223"/>
                        <a:pt x="55529" y="264347"/>
                        <a:pt x="53730" y="266586"/>
                      </a:cubicBezTo>
                      <a:cubicBezTo>
                        <a:pt x="52110" y="268596"/>
                        <a:pt x="52996" y="268405"/>
                        <a:pt x="50453" y="270205"/>
                      </a:cubicBezTo>
                      <a:cubicBezTo>
                        <a:pt x="48348" y="271701"/>
                        <a:pt x="43909" y="271072"/>
                        <a:pt x="42109" y="273234"/>
                      </a:cubicBezTo>
                      <a:cubicBezTo>
                        <a:pt x="39718" y="276101"/>
                        <a:pt x="42309" y="275854"/>
                        <a:pt x="41470" y="279025"/>
                      </a:cubicBezTo>
                      <a:cubicBezTo>
                        <a:pt x="40585" y="282302"/>
                        <a:pt x="38737" y="286607"/>
                        <a:pt x="37079" y="289570"/>
                      </a:cubicBezTo>
                      <a:cubicBezTo>
                        <a:pt x="33689" y="295627"/>
                        <a:pt x="28736" y="295970"/>
                        <a:pt x="24755" y="300647"/>
                      </a:cubicBezTo>
                      <a:cubicBezTo>
                        <a:pt x="20944" y="305124"/>
                        <a:pt x="19811" y="308601"/>
                        <a:pt x="14477" y="312230"/>
                      </a:cubicBezTo>
                      <a:cubicBezTo>
                        <a:pt x="10000" y="315287"/>
                        <a:pt x="7561" y="317792"/>
                        <a:pt x="2647" y="320535"/>
                      </a:cubicBezTo>
                      <a:lnTo>
                        <a:pt x="2647" y="320535"/>
                      </a:lnTo>
                      <a:close/>
                      <a:moveTo>
                        <a:pt x="213140" y="229076"/>
                      </a:moveTo>
                      <a:cubicBezTo>
                        <a:pt x="218750" y="232867"/>
                        <a:pt x="220207" y="224514"/>
                        <a:pt x="226075" y="230867"/>
                      </a:cubicBezTo>
                      <a:cubicBezTo>
                        <a:pt x="230514" y="235658"/>
                        <a:pt x="227932" y="240906"/>
                        <a:pt x="230456" y="245945"/>
                      </a:cubicBezTo>
                      <a:cubicBezTo>
                        <a:pt x="231628" y="248307"/>
                        <a:pt x="247544" y="264633"/>
                        <a:pt x="237943" y="262795"/>
                      </a:cubicBezTo>
                      <a:cubicBezTo>
                        <a:pt x="238038" y="263719"/>
                        <a:pt x="238029" y="264471"/>
                        <a:pt x="238257" y="265405"/>
                      </a:cubicBezTo>
                      <a:cubicBezTo>
                        <a:pt x="236247" y="263566"/>
                        <a:pt x="234647" y="261290"/>
                        <a:pt x="232323" y="259794"/>
                      </a:cubicBezTo>
                      <a:cubicBezTo>
                        <a:pt x="233247" y="263376"/>
                        <a:pt x="234609" y="266776"/>
                        <a:pt x="235581" y="270329"/>
                      </a:cubicBezTo>
                      <a:cubicBezTo>
                        <a:pt x="229608" y="266167"/>
                        <a:pt x="227761" y="267567"/>
                        <a:pt x="225789" y="260137"/>
                      </a:cubicBezTo>
                      <a:cubicBezTo>
                        <a:pt x="224522" y="255365"/>
                        <a:pt x="225589" y="248155"/>
                        <a:pt x="221598" y="244059"/>
                      </a:cubicBezTo>
                      <a:cubicBezTo>
                        <a:pt x="216168" y="238477"/>
                        <a:pt x="214769" y="245307"/>
                        <a:pt x="210625" y="238706"/>
                      </a:cubicBezTo>
                      <a:cubicBezTo>
                        <a:pt x="208453" y="235258"/>
                        <a:pt x="204072" y="226619"/>
                        <a:pt x="204224" y="223018"/>
                      </a:cubicBezTo>
                      <a:cubicBezTo>
                        <a:pt x="207177" y="224809"/>
                        <a:pt x="211225" y="226066"/>
                        <a:pt x="213140" y="229076"/>
                      </a:cubicBezTo>
                      <a:lnTo>
                        <a:pt x="213140" y="229076"/>
                      </a:lnTo>
                      <a:close/>
                      <a:moveTo>
                        <a:pt x="146484" y="220513"/>
                      </a:moveTo>
                      <a:cubicBezTo>
                        <a:pt x="149570" y="222685"/>
                        <a:pt x="162610" y="218304"/>
                        <a:pt x="160076" y="225990"/>
                      </a:cubicBezTo>
                      <a:cubicBezTo>
                        <a:pt x="167172" y="222142"/>
                        <a:pt x="170477" y="223676"/>
                        <a:pt x="167706" y="232277"/>
                      </a:cubicBezTo>
                      <a:cubicBezTo>
                        <a:pt x="166286" y="236696"/>
                        <a:pt x="163114" y="236182"/>
                        <a:pt x="161305" y="239182"/>
                      </a:cubicBezTo>
                      <a:cubicBezTo>
                        <a:pt x="160628" y="240325"/>
                        <a:pt x="160904" y="243145"/>
                        <a:pt x="160495" y="243678"/>
                      </a:cubicBezTo>
                      <a:cubicBezTo>
                        <a:pt x="156180" y="249374"/>
                        <a:pt x="149875" y="248412"/>
                        <a:pt x="143598" y="251765"/>
                      </a:cubicBezTo>
                      <a:cubicBezTo>
                        <a:pt x="136473" y="255575"/>
                        <a:pt x="139302" y="259632"/>
                        <a:pt x="136568" y="252441"/>
                      </a:cubicBezTo>
                      <a:cubicBezTo>
                        <a:pt x="134473" y="246917"/>
                        <a:pt x="136054" y="242592"/>
                        <a:pt x="136025" y="236801"/>
                      </a:cubicBezTo>
                      <a:cubicBezTo>
                        <a:pt x="136006" y="233286"/>
                        <a:pt x="135606" y="220856"/>
                        <a:pt x="133730" y="218418"/>
                      </a:cubicBezTo>
                      <a:cubicBezTo>
                        <a:pt x="132425" y="216713"/>
                        <a:pt x="120652" y="212846"/>
                        <a:pt x="129996" y="211674"/>
                      </a:cubicBezTo>
                      <a:cubicBezTo>
                        <a:pt x="133882" y="211188"/>
                        <a:pt x="143560" y="218027"/>
                        <a:pt x="146484" y="220513"/>
                      </a:cubicBezTo>
                      <a:lnTo>
                        <a:pt x="146484" y="220513"/>
                      </a:lnTo>
                      <a:close/>
                      <a:moveTo>
                        <a:pt x="225436" y="191757"/>
                      </a:moveTo>
                      <a:cubicBezTo>
                        <a:pt x="228237" y="193472"/>
                        <a:pt x="227703" y="196167"/>
                        <a:pt x="229418" y="197730"/>
                      </a:cubicBezTo>
                      <a:cubicBezTo>
                        <a:pt x="230827" y="199015"/>
                        <a:pt x="233628" y="199034"/>
                        <a:pt x="235009" y="200454"/>
                      </a:cubicBezTo>
                      <a:cubicBezTo>
                        <a:pt x="238553" y="204092"/>
                        <a:pt x="236495" y="210684"/>
                        <a:pt x="238286" y="216037"/>
                      </a:cubicBezTo>
                      <a:cubicBezTo>
                        <a:pt x="239848" y="220771"/>
                        <a:pt x="242286" y="224523"/>
                        <a:pt x="245106" y="228838"/>
                      </a:cubicBezTo>
                      <a:cubicBezTo>
                        <a:pt x="245944" y="230124"/>
                        <a:pt x="245182" y="231438"/>
                        <a:pt x="245858" y="232448"/>
                      </a:cubicBezTo>
                      <a:cubicBezTo>
                        <a:pt x="247449" y="234820"/>
                        <a:pt x="250744" y="234429"/>
                        <a:pt x="251326" y="238325"/>
                      </a:cubicBezTo>
                      <a:cubicBezTo>
                        <a:pt x="248411" y="234391"/>
                        <a:pt x="245563" y="236534"/>
                        <a:pt x="241429" y="236334"/>
                      </a:cubicBezTo>
                      <a:cubicBezTo>
                        <a:pt x="236133" y="236087"/>
                        <a:pt x="235590" y="234163"/>
                        <a:pt x="231780" y="231477"/>
                      </a:cubicBezTo>
                      <a:cubicBezTo>
                        <a:pt x="229047" y="229553"/>
                        <a:pt x="225265" y="228514"/>
                        <a:pt x="223779" y="224790"/>
                      </a:cubicBezTo>
                      <a:cubicBezTo>
                        <a:pt x="222445" y="221456"/>
                        <a:pt x="225056" y="219075"/>
                        <a:pt x="223351" y="215798"/>
                      </a:cubicBezTo>
                      <a:cubicBezTo>
                        <a:pt x="223789" y="216646"/>
                        <a:pt x="216711" y="212065"/>
                        <a:pt x="216207" y="211665"/>
                      </a:cubicBezTo>
                      <a:cubicBezTo>
                        <a:pt x="213483" y="209483"/>
                        <a:pt x="210854" y="208417"/>
                        <a:pt x="208101" y="206664"/>
                      </a:cubicBezTo>
                      <a:cubicBezTo>
                        <a:pt x="201767" y="202644"/>
                        <a:pt x="198376" y="197491"/>
                        <a:pt x="195719" y="190462"/>
                      </a:cubicBezTo>
                      <a:cubicBezTo>
                        <a:pt x="203081" y="191586"/>
                        <a:pt x="219855" y="188014"/>
                        <a:pt x="225436" y="191757"/>
                      </a:cubicBezTo>
                      <a:lnTo>
                        <a:pt x="225436" y="191757"/>
                      </a:lnTo>
                      <a:close/>
                      <a:moveTo>
                        <a:pt x="77180" y="161782"/>
                      </a:moveTo>
                      <a:cubicBezTo>
                        <a:pt x="79942" y="162173"/>
                        <a:pt x="82457" y="160868"/>
                        <a:pt x="85181" y="161458"/>
                      </a:cubicBezTo>
                      <a:cubicBezTo>
                        <a:pt x="86857" y="161820"/>
                        <a:pt x="88619" y="164021"/>
                        <a:pt x="90534" y="164640"/>
                      </a:cubicBezTo>
                      <a:cubicBezTo>
                        <a:pt x="92449" y="165259"/>
                        <a:pt x="91877" y="162944"/>
                        <a:pt x="94515" y="164182"/>
                      </a:cubicBezTo>
                      <a:cubicBezTo>
                        <a:pt x="96230" y="164973"/>
                        <a:pt x="96858" y="166488"/>
                        <a:pt x="98297" y="167630"/>
                      </a:cubicBezTo>
                      <a:cubicBezTo>
                        <a:pt x="99697" y="168754"/>
                        <a:pt x="104469" y="171345"/>
                        <a:pt x="105269" y="172745"/>
                      </a:cubicBezTo>
                      <a:cubicBezTo>
                        <a:pt x="106479" y="174870"/>
                        <a:pt x="104755" y="176479"/>
                        <a:pt x="105279" y="179032"/>
                      </a:cubicBezTo>
                      <a:cubicBezTo>
                        <a:pt x="105879" y="182013"/>
                        <a:pt x="108888" y="184861"/>
                        <a:pt x="109146" y="187623"/>
                      </a:cubicBezTo>
                      <a:cubicBezTo>
                        <a:pt x="109517" y="191453"/>
                        <a:pt x="106850" y="194767"/>
                        <a:pt x="107374" y="198911"/>
                      </a:cubicBezTo>
                      <a:cubicBezTo>
                        <a:pt x="104821" y="198682"/>
                        <a:pt x="103945" y="201511"/>
                        <a:pt x="102383" y="201349"/>
                      </a:cubicBezTo>
                      <a:cubicBezTo>
                        <a:pt x="99106" y="201006"/>
                        <a:pt x="98992" y="199168"/>
                        <a:pt x="96801" y="197368"/>
                      </a:cubicBezTo>
                      <a:cubicBezTo>
                        <a:pt x="91924" y="193329"/>
                        <a:pt x="87476" y="187547"/>
                        <a:pt x="84152" y="182289"/>
                      </a:cubicBezTo>
                      <a:cubicBezTo>
                        <a:pt x="79818" y="175422"/>
                        <a:pt x="76351" y="170783"/>
                        <a:pt x="70465" y="165125"/>
                      </a:cubicBezTo>
                      <a:cubicBezTo>
                        <a:pt x="69122" y="163849"/>
                        <a:pt x="64311" y="164325"/>
                        <a:pt x="66893" y="161287"/>
                      </a:cubicBezTo>
                      <a:cubicBezTo>
                        <a:pt x="68826" y="159039"/>
                        <a:pt x="74656" y="160982"/>
                        <a:pt x="77180" y="161782"/>
                      </a:cubicBezTo>
                      <a:lnTo>
                        <a:pt x="77180" y="161782"/>
                      </a:lnTo>
                      <a:close/>
                      <a:moveTo>
                        <a:pt x="42280" y="0"/>
                      </a:moveTo>
                      <a:cubicBezTo>
                        <a:pt x="50872" y="2238"/>
                        <a:pt x="58463" y="8896"/>
                        <a:pt x="67369" y="9811"/>
                      </a:cubicBezTo>
                      <a:cubicBezTo>
                        <a:pt x="74665" y="10563"/>
                        <a:pt x="76408" y="57"/>
                        <a:pt x="81304" y="6667"/>
                      </a:cubicBezTo>
                      <a:cubicBezTo>
                        <a:pt x="84324" y="10773"/>
                        <a:pt x="81162" y="13145"/>
                        <a:pt x="81162" y="17345"/>
                      </a:cubicBezTo>
                      <a:cubicBezTo>
                        <a:pt x="81162" y="21546"/>
                        <a:pt x="83285" y="27594"/>
                        <a:pt x="85247" y="31356"/>
                      </a:cubicBezTo>
                      <a:cubicBezTo>
                        <a:pt x="88086" y="36805"/>
                        <a:pt x="93458" y="40815"/>
                        <a:pt x="97211" y="45282"/>
                      </a:cubicBezTo>
                      <a:cubicBezTo>
                        <a:pt x="100173" y="48806"/>
                        <a:pt x="99992" y="46053"/>
                        <a:pt x="100925" y="51197"/>
                      </a:cubicBezTo>
                      <a:cubicBezTo>
                        <a:pt x="101907" y="56607"/>
                        <a:pt x="99964" y="61493"/>
                        <a:pt x="99221" y="66780"/>
                      </a:cubicBezTo>
                      <a:cubicBezTo>
                        <a:pt x="98697" y="70504"/>
                        <a:pt x="99783" y="74314"/>
                        <a:pt x="97182" y="76791"/>
                      </a:cubicBezTo>
                      <a:cubicBezTo>
                        <a:pt x="94411" y="79438"/>
                        <a:pt x="88258" y="78419"/>
                        <a:pt x="85553" y="82582"/>
                      </a:cubicBezTo>
                      <a:cubicBezTo>
                        <a:pt x="82409" y="87401"/>
                        <a:pt x="86029" y="87049"/>
                        <a:pt x="86353" y="91040"/>
                      </a:cubicBezTo>
                      <a:cubicBezTo>
                        <a:pt x="86638" y="94602"/>
                        <a:pt x="84600" y="97088"/>
                        <a:pt x="84276" y="100746"/>
                      </a:cubicBezTo>
                      <a:cubicBezTo>
                        <a:pt x="83561" y="108623"/>
                        <a:pt x="91220" y="111938"/>
                        <a:pt x="94963" y="119034"/>
                      </a:cubicBezTo>
                      <a:cubicBezTo>
                        <a:pt x="98116" y="124997"/>
                        <a:pt x="98392" y="131921"/>
                        <a:pt x="104193" y="139075"/>
                      </a:cubicBezTo>
                      <a:cubicBezTo>
                        <a:pt x="107974" y="143751"/>
                        <a:pt x="117890" y="150924"/>
                        <a:pt x="122243" y="145514"/>
                      </a:cubicBezTo>
                      <a:cubicBezTo>
                        <a:pt x="118423" y="140999"/>
                        <a:pt x="117756" y="141846"/>
                        <a:pt x="121767" y="138236"/>
                      </a:cubicBezTo>
                      <a:cubicBezTo>
                        <a:pt x="126186" y="134255"/>
                        <a:pt x="132520" y="134760"/>
                        <a:pt x="137797" y="137493"/>
                      </a:cubicBezTo>
                      <a:cubicBezTo>
                        <a:pt x="143407" y="140408"/>
                        <a:pt x="144246" y="145161"/>
                        <a:pt x="147351" y="149362"/>
                      </a:cubicBezTo>
                      <a:cubicBezTo>
                        <a:pt x="150818" y="154067"/>
                        <a:pt x="152828" y="155229"/>
                        <a:pt x="154475" y="148180"/>
                      </a:cubicBezTo>
                      <a:cubicBezTo>
                        <a:pt x="154723" y="147123"/>
                        <a:pt x="150818" y="145456"/>
                        <a:pt x="153313" y="144037"/>
                      </a:cubicBezTo>
                      <a:cubicBezTo>
                        <a:pt x="155190" y="142961"/>
                        <a:pt x="156695" y="145885"/>
                        <a:pt x="158562" y="146628"/>
                      </a:cubicBezTo>
                      <a:cubicBezTo>
                        <a:pt x="160943" y="147571"/>
                        <a:pt x="170935" y="148533"/>
                        <a:pt x="172191" y="151409"/>
                      </a:cubicBezTo>
                      <a:cubicBezTo>
                        <a:pt x="174554" y="156867"/>
                        <a:pt x="161524" y="150800"/>
                        <a:pt x="166658" y="159772"/>
                      </a:cubicBezTo>
                      <a:cubicBezTo>
                        <a:pt x="169429" y="164630"/>
                        <a:pt x="177955" y="166221"/>
                        <a:pt x="175792" y="173412"/>
                      </a:cubicBezTo>
                      <a:cubicBezTo>
                        <a:pt x="180345" y="172564"/>
                        <a:pt x="183393" y="176365"/>
                        <a:pt x="187489" y="175765"/>
                      </a:cubicBezTo>
                      <a:cubicBezTo>
                        <a:pt x="188699" y="181223"/>
                        <a:pt x="189032" y="184975"/>
                        <a:pt x="188460" y="190529"/>
                      </a:cubicBezTo>
                      <a:cubicBezTo>
                        <a:pt x="182793" y="189871"/>
                        <a:pt x="183355" y="186757"/>
                        <a:pt x="181536" y="183032"/>
                      </a:cubicBezTo>
                      <a:cubicBezTo>
                        <a:pt x="179193" y="178213"/>
                        <a:pt x="184117" y="180832"/>
                        <a:pt x="178764" y="179470"/>
                      </a:cubicBezTo>
                      <a:cubicBezTo>
                        <a:pt x="172011" y="177765"/>
                        <a:pt x="165391" y="178232"/>
                        <a:pt x="160304" y="172822"/>
                      </a:cubicBezTo>
                      <a:cubicBezTo>
                        <a:pt x="158447" y="170840"/>
                        <a:pt x="157523" y="166402"/>
                        <a:pt x="155066" y="164201"/>
                      </a:cubicBezTo>
                      <a:cubicBezTo>
                        <a:pt x="152161" y="161611"/>
                        <a:pt x="148303" y="160772"/>
                        <a:pt x="145102" y="158601"/>
                      </a:cubicBezTo>
                      <a:cubicBezTo>
                        <a:pt x="139968" y="155124"/>
                        <a:pt x="135720" y="147923"/>
                        <a:pt x="128957" y="147609"/>
                      </a:cubicBezTo>
                      <a:cubicBezTo>
                        <a:pt x="129700" y="151914"/>
                        <a:pt x="142293" y="167335"/>
                        <a:pt x="139245" y="169859"/>
                      </a:cubicBezTo>
                      <a:cubicBezTo>
                        <a:pt x="138273" y="170660"/>
                        <a:pt x="121395" y="154924"/>
                        <a:pt x="118080" y="152762"/>
                      </a:cubicBezTo>
                      <a:cubicBezTo>
                        <a:pt x="114708" y="150562"/>
                        <a:pt x="109108" y="146971"/>
                        <a:pt x="105012" y="147285"/>
                      </a:cubicBezTo>
                      <a:cubicBezTo>
                        <a:pt x="98849" y="147771"/>
                        <a:pt x="99745" y="153676"/>
                        <a:pt x="97077" y="155467"/>
                      </a:cubicBezTo>
                      <a:cubicBezTo>
                        <a:pt x="89419" y="160620"/>
                        <a:pt x="75675" y="143361"/>
                        <a:pt x="72570" y="151552"/>
                      </a:cubicBezTo>
                      <a:cubicBezTo>
                        <a:pt x="71503" y="148742"/>
                        <a:pt x="68389" y="142523"/>
                        <a:pt x="68855" y="139475"/>
                      </a:cubicBezTo>
                      <a:cubicBezTo>
                        <a:pt x="69426" y="135760"/>
                        <a:pt x="73046" y="134503"/>
                        <a:pt x="74542" y="131312"/>
                      </a:cubicBezTo>
                      <a:cubicBezTo>
                        <a:pt x="79133" y="121491"/>
                        <a:pt x="66797" y="123158"/>
                        <a:pt x="62064" y="117634"/>
                      </a:cubicBezTo>
                      <a:cubicBezTo>
                        <a:pt x="61321" y="121206"/>
                        <a:pt x="69341" y="133693"/>
                        <a:pt x="61626" y="131216"/>
                      </a:cubicBezTo>
                      <a:cubicBezTo>
                        <a:pt x="59320" y="130473"/>
                        <a:pt x="56901" y="126292"/>
                        <a:pt x="55263" y="124473"/>
                      </a:cubicBezTo>
                      <a:cubicBezTo>
                        <a:pt x="54329" y="123444"/>
                        <a:pt x="53520" y="121206"/>
                        <a:pt x="52510" y="120415"/>
                      </a:cubicBezTo>
                      <a:cubicBezTo>
                        <a:pt x="51520" y="119644"/>
                        <a:pt x="49539" y="120701"/>
                        <a:pt x="48929" y="120177"/>
                      </a:cubicBezTo>
                      <a:cubicBezTo>
                        <a:pt x="43957" y="115891"/>
                        <a:pt x="40185" y="106404"/>
                        <a:pt x="37156" y="100317"/>
                      </a:cubicBezTo>
                      <a:cubicBezTo>
                        <a:pt x="35260" y="96498"/>
                        <a:pt x="34765" y="91688"/>
                        <a:pt x="32498" y="88078"/>
                      </a:cubicBezTo>
                      <a:cubicBezTo>
                        <a:pt x="31108" y="85858"/>
                        <a:pt x="28717" y="84677"/>
                        <a:pt x="27374" y="82525"/>
                      </a:cubicBezTo>
                      <a:cubicBezTo>
                        <a:pt x="23230" y="75886"/>
                        <a:pt x="23259" y="70637"/>
                        <a:pt x="30765" y="75228"/>
                      </a:cubicBezTo>
                      <a:cubicBezTo>
                        <a:pt x="33822" y="77095"/>
                        <a:pt x="42309" y="85392"/>
                        <a:pt x="44595" y="78534"/>
                      </a:cubicBezTo>
                      <a:cubicBezTo>
                        <a:pt x="46090" y="74047"/>
                        <a:pt x="37518" y="64989"/>
                        <a:pt x="37118" y="59341"/>
                      </a:cubicBezTo>
                      <a:cubicBezTo>
                        <a:pt x="36556" y="51721"/>
                        <a:pt x="37003" y="44968"/>
                        <a:pt x="33746" y="37529"/>
                      </a:cubicBezTo>
                      <a:cubicBezTo>
                        <a:pt x="31698" y="32852"/>
                        <a:pt x="29879" y="31480"/>
                        <a:pt x="29316" y="26080"/>
                      </a:cubicBezTo>
                      <a:cubicBezTo>
                        <a:pt x="28783" y="21060"/>
                        <a:pt x="29326" y="16031"/>
                        <a:pt x="29098" y="11097"/>
                      </a:cubicBezTo>
                      <a:cubicBezTo>
                        <a:pt x="28840" y="5439"/>
                        <a:pt x="26964" y="2467"/>
                        <a:pt x="33613" y="419"/>
                      </a:cubicBezTo>
                      <a:cubicBezTo>
                        <a:pt x="35965" y="-314"/>
                        <a:pt x="39537" y="648"/>
                        <a:pt x="42280" y="0"/>
                      </a:cubicBezTo>
                      <a:lnTo>
                        <a:pt x="42280" y="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85" name="Freeform: Shape 584">
                  <a:extLst>
                    <a:ext uri="{FF2B5EF4-FFF2-40B4-BE49-F238E27FC236}">
                      <a16:creationId xmlns:a16="http://schemas.microsoft.com/office/drawing/2014/main" id="{EE0CCB55-AE26-42EA-9E86-25A79CAC4F1C}"/>
                    </a:ext>
                  </a:extLst>
                </p:cNvPr>
                <p:cNvSpPr/>
                <p:nvPr/>
              </p:nvSpPr>
              <p:spPr>
                <a:xfrm>
                  <a:off x="3035649" y="4366298"/>
                  <a:ext cx="432596" cy="576301"/>
                </a:xfrm>
                <a:custGeom>
                  <a:avLst/>
                  <a:gdLst>
                    <a:gd name="connsiteX0" fmla="*/ 357022 w 432596"/>
                    <a:gd name="connsiteY0" fmla="*/ 132033 h 576301"/>
                    <a:gd name="connsiteX1" fmla="*/ 348526 w 432596"/>
                    <a:gd name="connsiteY1" fmla="*/ 134071 h 576301"/>
                    <a:gd name="connsiteX2" fmla="*/ 334543 w 432596"/>
                    <a:gd name="connsiteY2" fmla="*/ 129776 h 576301"/>
                    <a:gd name="connsiteX3" fmla="*/ 322846 w 432596"/>
                    <a:gd name="connsiteY3" fmla="*/ 136195 h 576301"/>
                    <a:gd name="connsiteX4" fmla="*/ 307225 w 432596"/>
                    <a:gd name="connsiteY4" fmla="*/ 139548 h 576301"/>
                    <a:gd name="connsiteX5" fmla="*/ 278736 w 432596"/>
                    <a:gd name="connsiteY5" fmla="*/ 153521 h 576301"/>
                    <a:gd name="connsiteX6" fmla="*/ 266249 w 432596"/>
                    <a:gd name="connsiteY6" fmla="*/ 160532 h 576301"/>
                    <a:gd name="connsiteX7" fmla="*/ 264753 w 432596"/>
                    <a:gd name="connsiteY7" fmla="*/ 175401 h 576301"/>
                    <a:gd name="connsiteX8" fmla="*/ 257609 w 432596"/>
                    <a:gd name="connsiteY8" fmla="*/ 190726 h 576301"/>
                    <a:gd name="connsiteX9" fmla="*/ 260934 w 432596"/>
                    <a:gd name="connsiteY9" fmla="*/ 203233 h 576301"/>
                    <a:gd name="connsiteX10" fmla="*/ 248570 w 432596"/>
                    <a:gd name="connsiteY10" fmla="*/ 210671 h 576301"/>
                    <a:gd name="connsiteX11" fmla="*/ 243055 w 432596"/>
                    <a:gd name="connsiteY11" fmla="*/ 223959 h 576301"/>
                    <a:gd name="connsiteX12" fmla="*/ 244989 w 432596"/>
                    <a:gd name="connsiteY12" fmla="*/ 229055 h 576301"/>
                    <a:gd name="connsiteX13" fmla="*/ 241112 w 432596"/>
                    <a:gd name="connsiteY13" fmla="*/ 230112 h 576301"/>
                    <a:gd name="connsiteX14" fmla="*/ 238188 w 432596"/>
                    <a:gd name="connsiteY14" fmla="*/ 235075 h 576301"/>
                    <a:gd name="connsiteX15" fmla="*/ 242455 w 432596"/>
                    <a:gd name="connsiteY15" fmla="*/ 241637 h 576301"/>
                    <a:gd name="connsiteX16" fmla="*/ 246627 w 432596"/>
                    <a:gd name="connsiteY16" fmla="*/ 244485 h 576301"/>
                    <a:gd name="connsiteX17" fmla="*/ 245122 w 432596"/>
                    <a:gd name="connsiteY17" fmla="*/ 247972 h 576301"/>
                    <a:gd name="connsiteX18" fmla="*/ 259886 w 432596"/>
                    <a:gd name="connsiteY18" fmla="*/ 266250 h 576301"/>
                    <a:gd name="connsiteX19" fmla="*/ 264506 w 432596"/>
                    <a:gd name="connsiteY19" fmla="*/ 272708 h 576301"/>
                    <a:gd name="connsiteX20" fmla="*/ 270411 w 432596"/>
                    <a:gd name="connsiteY20" fmla="*/ 278814 h 576301"/>
                    <a:gd name="connsiteX21" fmla="*/ 267373 w 432596"/>
                    <a:gd name="connsiteY21" fmla="*/ 295063 h 576301"/>
                    <a:gd name="connsiteX22" fmla="*/ 294719 w 432596"/>
                    <a:gd name="connsiteY22" fmla="*/ 298911 h 576301"/>
                    <a:gd name="connsiteX23" fmla="*/ 300481 w 432596"/>
                    <a:gd name="connsiteY23" fmla="*/ 308112 h 576301"/>
                    <a:gd name="connsiteX24" fmla="*/ 306720 w 432596"/>
                    <a:gd name="connsiteY24" fmla="*/ 313770 h 576301"/>
                    <a:gd name="connsiteX25" fmla="*/ 334886 w 432596"/>
                    <a:gd name="connsiteY25" fmla="*/ 308684 h 576301"/>
                    <a:gd name="connsiteX26" fmla="*/ 350945 w 432596"/>
                    <a:gd name="connsiteY26" fmla="*/ 295892 h 576301"/>
                    <a:gd name="connsiteX27" fmla="*/ 350678 w 432596"/>
                    <a:gd name="connsiteY27" fmla="*/ 305293 h 576301"/>
                    <a:gd name="connsiteX28" fmla="*/ 350297 w 432596"/>
                    <a:gd name="connsiteY28" fmla="*/ 318809 h 576301"/>
                    <a:gd name="connsiteX29" fmla="*/ 353202 w 432596"/>
                    <a:gd name="connsiteY29" fmla="*/ 345431 h 576301"/>
                    <a:gd name="connsiteX30" fmla="*/ 362051 w 432596"/>
                    <a:gd name="connsiteY30" fmla="*/ 347098 h 576301"/>
                    <a:gd name="connsiteX31" fmla="*/ 375405 w 432596"/>
                    <a:gd name="connsiteY31" fmla="*/ 342822 h 576301"/>
                    <a:gd name="connsiteX32" fmla="*/ 398694 w 432596"/>
                    <a:gd name="connsiteY32" fmla="*/ 361776 h 576301"/>
                    <a:gd name="connsiteX33" fmla="*/ 416820 w 432596"/>
                    <a:gd name="connsiteY33" fmla="*/ 387903 h 576301"/>
                    <a:gd name="connsiteX34" fmla="*/ 413048 w 432596"/>
                    <a:gd name="connsiteY34" fmla="*/ 408896 h 576301"/>
                    <a:gd name="connsiteX35" fmla="*/ 414648 w 432596"/>
                    <a:gd name="connsiteY35" fmla="*/ 425298 h 576301"/>
                    <a:gd name="connsiteX36" fmla="*/ 416934 w 432596"/>
                    <a:gd name="connsiteY36" fmla="*/ 437662 h 576301"/>
                    <a:gd name="connsiteX37" fmla="*/ 420744 w 432596"/>
                    <a:gd name="connsiteY37" fmla="*/ 446082 h 576301"/>
                    <a:gd name="connsiteX38" fmla="*/ 418020 w 432596"/>
                    <a:gd name="connsiteY38" fmla="*/ 450730 h 576301"/>
                    <a:gd name="connsiteX39" fmla="*/ 414648 w 432596"/>
                    <a:gd name="connsiteY39" fmla="*/ 455483 h 576301"/>
                    <a:gd name="connsiteX40" fmla="*/ 410505 w 432596"/>
                    <a:gd name="connsiteY40" fmla="*/ 463770 h 576301"/>
                    <a:gd name="connsiteX41" fmla="*/ 416096 w 432596"/>
                    <a:gd name="connsiteY41" fmla="*/ 476733 h 576301"/>
                    <a:gd name="connsiteX42" fmla="*/ 412819 w 432596"/>
                    <a:gd name="connsiteY42" fmla="*/ 486906 h 576301"/>
                    <a:gd name="connsiteX43" fmla="*/ 417353 w 432596"/>
                    <a:gd name="connsiteY43" fmla="*/ 501679 h 576301"/>
                    <a:gd name="connsiteX44" fmla="*/ 425554 w 432596"/>
                    <a:gd name="connsiteY44" fmla="*/ 509471 h 576301"/>
                    <a:gd name="connsiteX45" fmla="*/ 432279 w 432596"/>
                    <a:gd name="connsiteY45" fmla="*/ 512081 h 576301"/>
                    <a:gd name="connsiteX46" fmla="*/ 429650 w 432596"/>
                    <a:gd name="connsiteY46" fmla="*/ 515691 h 576301"/>
                    <a:gd name="connsiteX47" fmla="*/ 427459 w 432596"/>
                    <a:gd name="connsiteY47" fmla="*/ 524397 h 576301"/>
                    <a:gd name="connsiteX48" fmla="*/ 419068 w 432596"/>
                    <a:gd name="connsiteY48" fmla="*/ 536141 h 576301"/>
                    <a:gd name="connsiteX49" fmla="*/ 414496 w 432596"/>
                    <a:gd name="connsiteY49" fmla="*/ 543380 h 576301"/>
                    <a:gd name="connsiteX50" fmla="*/ 417172 w 432596"/>
                    <a:gd name="connsiteY50" fmla="*/ 552076 h 576301"/>
                    <a:gd name="connsiteX51" fmla="*/ 410676 w 432596"/>
                    <a:gd name="connsiteY51" fmla="*/ 559268 h 576301"/>
                    <a:gd name="connsiteX52" fmla="*/ 409257 w 432596"/>
                    <a:gd name="connsiteY52" fmla="*/ 572831 h 576301"/>
                    <a:gd name="connsiteX53" fmla="*/ 382025 w 432596"/>
                    <a:gd name="connsiteY53" fmla="*/ 567221 h 576301"/>
                    <a:gd name="connsiteX54" fmla="*/ 369700 w 432596"/>
                    <a:gd name="connsiteY54" fmla="*/ 559182 h 576301"/>
                    <a:gd name="connsiteX55" fmla="*/ 359803 w 432596"/>
                    <a:gd name="connsiteY55" fmla="*/ 546637 h 576301"/>
                    <a:gd name="connsiteX56" fmla="*/ 331285 w 432596"/>
                    <a:gd name="connsiteY56" fmla="*/ 530807 h 576301"/>
                    <a:gd name="connsiteX57" fmla="*/ 303072 w 432596"/>
                    <a:gd name="connsiteY57" fmla="*/ 517319 h 576301"/>
                    <a:gd name="connsiteX58" fmla="*/ 270687 w 432596"/>
                    <a:gd name="connsiteY58" fmla="*/ 502289 h 576301"/>
                    <a:gd name="connsiteX59" fmla="*/ 236131 w 432596"/>
                    <a:gd name="connsiteY59" fmla="*/ 484801 h 576301"/>
                    <a:gd name="connsiteX60" fmla="*/ 210832 w 432596"/>
                    <a:gd name="connsiteY60" fmla="*/ 463732 h 576301"/>
                    <a:gd name="connsiteX61" fmla="*/ 196745 w 432596"/>
                    <a:gd name="connsiteY61" fmla="*/ 449454 h 576301"/>
                    <a:gd name="connsiteX62" fmla="*/ 190953 w 432596"/>
                    <a:gd name="connsiteY62" fmla="*/ 442910 h 576301"/>
                    <a:gd name="connsiteX63" fmla="*/ 187105 w 432596"/>
                    <a:gd name="connsiteY63" fmla="*/ 435271 h 576301"/>
                    <a:gd name="connsiteX64" fmla="*/ 171884 w 432596"/>
                    <a:gd name="connsiteY64" fmla="*/ 397352 h 576301"/>
                    <a:gd name="connsiteX65" fmla="*/ 165769 w 432596"/>
                    <a:gd name="connsiteY65" fmla="*/ 387646 h 576301"/>
                    <a:gd name="connsiteX66" fmla="*/ 156749 w 432596"/>
                    <a:gd name="connsiteY66" fmla="*/ 379559 h 576301"/>
                    <a:gd name="connsiteX67" fmla="*/ 143671 w 432596"/>
                    <a:gd name="connsiteY67" fmla="*/ 359395 h 576301"/>
                    <a:gd name="connsiteX68" fmla="*/ 135337 w 432596"/>
                    <a:gd name="connsiteY68" fmla="*/ 350327 h 576301"/>
                    <a:gd name="connsiteX69" fmla="*/ 130813 w 432596"/>
                    <a:gd name="connsiteY69" fmla="*/ 339612 h 576301"/>
                    <a:gd name="connsiteX70" fmla="*/ 114096 w 432596"/>
                    <a:gd name="connsiteY70" fmla="*/ 316371 h 576301"/>
                    <a:gd name="connsiteX71" fmla="*/ 91227 w 432596"/>
                    <a:gd name="connsiteY71" fmla="*/ 271994 h 576301"/>
                    <a:gd name="connsiteX72" fmla="*/ 61328 w 432596"/>
                    <a:gd name="connsiteY72" fmla="*/ 232188 h 576301"/>
                    <a:gd name="connsiteX73" fmla="*/ 46821 w 432596"/>
                    <a:gd name="connsiteY73" fmla="*/ 211767 h 576301"/>
                    <a:gd name="connsiteX74" fmla="*/ 23228 w 432596"/>
                    <a:gd name="connsiteY74" fmla="*/ 198118 h 576301"/>
                    <a:gd name="connsiteX75" fmla="*/ 7645 w 432596"/>
                    <a:gd name="connsiteY75" fmla="*/ 185278 h 576301"/>
                    <a:gd name="connsiteX76" fmla="*/ 15131 w 432596"/>
                    <a:gd name="connsiteY76" fmla="*/ 173496 h 576301"/>
                    <a:gd name="connsiteX77" fmla="*/ 6749 w 432596"/>
                    <a:gd name="connsiteY77" fmla="*/ 161885 h 576301"/>
                    <a:gd name="connsiteX78" fmla="*/ 5425 w 432596"/>
                    <a:gd name="connsiteY78" fmla="*/ 153045 h 576301"/>
                    <a:gd name="connsiteX79" fmla="*/ 196 w 432596"/>
                    <a:gd name="connsiteY79" fmla="*/ 144292 h 576301"/>
                    <a:gd name="connsiteX80" fmla="*/ 2987 w 432596"/>
                    <a:gd name="connsiteY80" fmla="*/ 131519 h 576301"/>
                    <a:gd name="connsiteX81" fmla="*/ 23009 w 432596"/>
                    <a:gd name="connsiteY81" fmla="*/ 110107 h 576301"/>
                    <a:gd name="connsiteX82" fmla="*/ 32715 w 432596"/>
                    <a:gd name="connsiteY82" fmla="*/ 111221 h 576301"/>
                    <a:gd name="connsiteX83" fmla="*/ 32515 w 432596"/>
                    <a:gd name="connsiteY83" fmla="*/ 122984 h 576301"/>
                    <a:gd name="connsiteX84" fmla="*/ 25476 w 432596"/>
                    <a:gd name="connsiteY84" fmla="*/ 125347 h 576301"/>
                    <a:gd name="connsiteX85" fmla="*/ 30219 w 432596"/>
                    <a:gd name="connsiteY85" fmla="*/ 131138 h 576301"/>
                    <a:gd name="connsiteX86" fmla="*/ 39544 w 432596"/>
                    <a:gd name="connsiteY86" fmla="*/ 134900 h 576301"/>
                    <a:gd name="connsiteX87" fmla="*/ 50155 w 432596"/>
                    <a:gd name="connsiteY87" fmla="*/ 139339 h 576301"/>
                    <a:gd name="connsiteX88" fmla="*/ 58575 w 432596"/>
                    <a:gd name="connsiteY88" fmla="*/ 147226 h 576301"/>
                    <a:gd name="connsiteX89" fmla="*/ 76434 w 432596"/>
                    <a:gd name="connsiteY89" fmla="*/ 151626 h 576301"/>
                    <a:gd name="connsiteX90" fmla="*/ 78863 w 432596"/>
                    <a:gd name="connsiteY90" fmla="*/ 144901 h 576301"/>
                    <a:gd name="connsiteX91" fmla="*/ 83416 w 432596"/>
                    <a:gd name="connsiteY91" fmla="*/ 141558 h 576301"/>
                    <a:gd name="connsiteX92" fmla="*/ 83388 w 432596"/>
                    <a:gd name="connsiteY92" fmla="*/ 137310 h 576301"/>
                    <a:gd name="connsiteX93" fmla="*/ 90360 w 432596"/>
                    <a:gd name="connsiteY93" fmla="*/ 116965 h 576301"/>
                    <a:gd name="connsiteX94" fmla="*/ 92189 w 432596"/>
                    <a:gd name="connsiteY94" fmla="*/ 106668 h 576301"/>
                    <a:gd name="connsiteX95" fmla="*/ 96551 w 432596"/>
                    <a:gd name="connsiteY95" fmla="*/ 108449 h 576301"/>
                    <a:gd name="connsiteX96" fmla="*/ 97285 w 432596"/>
                    <a:gd name="connsiteY96" fmla="*/ 104077 h 576301"/>
                    <a:gd name="connsiteX97" fmla="*/ 106943 w 432596"/>
                    <a:gd name="connsiteY97" fmla="*/ 92543 h 576301"/>
                    <a:gd name="connsiteX98" fmla="*/ 138461 w 432596"/>
                    <a:gd name="connsiteY98" fmla="*/ 81227 h 576301"/>
                    <a:gd name="connsiteX99" fmla="*/ 167741 w 432596"/>
                    <a:gd name="connsiteY99" fmla="*/ 58738 h 576301"/>
                    <a:gd name="connsiteX100" fmla="*/ 178161 w 432596"/>
                    <a:gd name="connsiteY100" fmla="*/ 45756 h 576301"/>
                    <a:gd name="connsiteX101" fmla="*/ 182724 w 432596"/>
                    <a:gd name="connsiteY101" fmla="*/ 27696 h 576301"/>
                    <a:gd name="connsiteX102" fmla="*/ 187162 w 432596"/>
                    <a:gd name="connsiteY102" fmla="*/ 17657 h 576301"/>
                    <a:gd name="connsiteX103" fmla="*/ 175685 w 432596"/>
                    <a:gd name="connsiteY103" fmla="*/ 2436 h 576301"/>
                    <a:gd name="connsiteX104" fmla="*/ 186448 w 432596"/>
                    <a:gd name="connsiteY104" fmla="*/ 1922 h 576301"/>
                    <a:gd name="connsiteX105" fmla="*/ 190325 w 432596"/>
                    <a:gd name="connsiteY105" fmla="*/ 7 h 576301"/>
                    <a:gd name="connsiteX106" fmla="*/ 196221 w 432596"/>
                    <a:gd name="connsiteY106" fmla="*/ 3979 h 576301"/>
                    <a:gd name="connsiteX107" fmla="*/ 200831 w 432596"/>
                    <a:gd name="connsiteY107" fmla="*/ 4941 h 576301"/>
                    <a:gd name="connsiteX108" fmla="*/ 203145 w 432596"/>
                    <a:gd name="connsiteY108" fmla="*/ 7970 h 576301"/>
                    <a:gd name="connsiteX109" fmla="*/ 213061 w 432596"/>
                    <a:gd name="connsiteY109" fmla="*/ 15857 h 576301"/>
                    <a:gd name="connsiteX110" fmla="*/ 217319 w 432596"/>
                    <a:gd name="connsiteY110" fmla="*/ 26573 h 576301"/>
                    <a:gd name="connsiteX111" fmla="*/ 228520 w 432596"/>
                    <a:gd name="connsiteY111" fmla="*/ 33583 h 576301"/>
                    <a:gd name="connsiteX112" fmla="*/ 239102 w 432596"/>
                    <a:gd name="connsiteY112" fmla="*/ 39488 h 576301"/>
                    <a:gd name="connsiteX113" fmla="*/ 244141 w 432596"/>
                    <a:gd name="connsiteY113" fmla="*/ 52604 h 576301"/>
                    <a:gd name="connsiteX114" fmla="*/ 253028 w 432596"/>
                    <a:gd name="connsiteY114" fmla="*/ 57024 h 576301"/>
                    <a:gd name="connsiteX115" fmla="*/ 254485 w 432596"/>
                    <a:gd name="connsiteY115" fmla="*/ 70311 h 576301"/>
                    <a:gd name="connsiteX116" fmla="*/ 265382 w 432596"/>
                    <a:gd name="connsiteY116" fmla="*/ 74340 h 576301"/>
                    <a:gd name="connsiteX117" fmla="*/ 271173 w 432596"/>
                    <a:gd name="connsiteY117" fmla="*/ 72654 h 576301"/>
                    <a:gd name="connsiteX118" fmla="*/ 278498 w 432596"/>
                    <a:gd name="connsiteY118" fmla="*/ 75074 h 576301"/>
                    <a:gd name="connsiteX119" fmla="*/ 303701 w 432596"/>
                    <a:gd name="connsiteY119" fmla="*/ 68311 h 576301"/>
                    <a:gd name="connsiteX120" fmla="*/ 314512 w 432596"/>
                    <a:gd name="connsiteY120" fmla="*/ 71778 h 576301"/>
                    <a:gd name="connsiteX121" fmla="*/ 328285 w 432596"/>
                    <a:gd name="connsiteY121" fmla="*/ 70387 h 576301"/>
                    <a:gd name="connsiteX122" fmla="*/ 352126 w 432596"/>
                    <a:gd name="connsiteY122" fmla="*/ 84580 h 576301"/>
                    <a:gd name="connsiteX123" fmla="*/ 342896 w 432596"/>
                    <a:gd name="connsiteY123" fmla="*/ 99915 h 576301"/>
                    <a:gd name="connsiteX124" fmla="*/ 332190 w 432596"/>
                    <a:gd name="connsiteY124" fmla="*/ 117660 h 576301"/>
                    <a:gd name="connsiteX125" fmla="*/ 339448 w 432596"/>
                    <a:gd name="connsiteY125" fmla="*/ 120384 h 576301"/>
                    <a:gd name="connsiteX126" fmla="*/ 345001 w 432596"/>
                    <a:gd name="connsiteY126" fmla="*/ 118936 h 576301"/>
                    <a:gd name="connsiteX127" fmla="*/ 357022 w 432596"/>
                    <a:gd name="connsiteY127" fmla="*/ 132033 h 576301"/>
                    <a:gd name="connsiteX128" fmla="*/ 357022 w 432596"/>
                    <a:gd name="connsiteY128" fmla="*/ 132033 h 57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432596" h="576301">
                      <a:moveTo>
                        <a:pt x="357022" y="132033"/>
                      </a:moveTo>
                      <a:cubicBezTo>
                        <a:pt x="356650" y="135891"/>
                        <a:pt x="351431" y="135415"/>
                        <a:pt x="348526" y="134071"/>
                      </a:cubicBezTo>
                      <a:cubicBezTo>
                        <a:pt x="342953" y="131481"/>
                        <a:pt x="342115" y="128233"/>
                        <a:pt x="334543" y="129776"/>
                      </a:cubicBezTo>
                      <a:cubicBezTo>
                        <a:pt x="329371" y="130823"/>
                        <a:pt x="327637" y="134253"/>
                        <a:pt x="322846" y="136195"/>
                      </a:cubicBezTo>
                      <a:cubicBezTo>
                        <a:pt x="318522" y="137948"/>
                        <a:pt x="311854" y="138777"/>
                        <a:pt x="307225" y="139548"/>
                      </a:cubicBezTo>
                      <a:cubicBezTo>
                        <a:pt x="295585" y="141444"/>
                        <a:pt x="287775" y="145921"/>
                        <a:pt x="278736" y="153521"/>
                      </a:cubicBezTo>
                      <a:cubicBezTo>
                        <a:pt x="275193" y="156493"/>
                        <a:pt x="268811" y="157474"/>
                        <a:pt x="266249" y="160532"/>
                      </a:cubicBezTo>
                      <a:cubicBezTo>
                        <a:pt x="264267" y="162894"/>
                        <a:pt x="265696" y="171991"/>
                        <a:pt x="264753" y="175401"/>
                      </a:cubicBezTo>
                      <a:cubicBezTo>
                        <a:pt x="263362" y="180392"/>
                        <a:pt x="257457" y="185421"/>
                        <a:pt x="257609" y="190726"/>
                      </a:cubicBezTo>
                      <a:cubicBezTo>
                        <a:pt x="257733" y="195013"/>
                        <a:pt x="263591" y="198403"/>
                        <a:pt x="260934" y="203233"/>
                      </a:cubicBezTo>
                      <a:cubicBezTo>
                        <a:pt x="259124" y="206519"/>
                        <a:pt x="251780" y="208043"/>
                        <a:pt x="248570" y="210671"/>
                      </a:cubicBezTo>
                      <a:cubicBezTo>
                        <a:pt x="243150" y="215129"/>
                        <a:pt x="242179" y="217444"/>
                        <a:pt x="243055" y="223959"/>
                      </a:cubicBezTo>
                      <a:cubicBezTo>
                        <a:pt x="243255" y="225464"/>
                        <a:pt x="245875" y="227169"/>
                        <a:pt x="244989" y="229055"/>
                      </a:cubicBezTo>
                      <a:cubicBezTo>
                        <a:pt x="244312" y="230484"/>
                        <a:pt x="241817" y="229141"/>
                        <a:pt x="241112" y="230112"/>
                      </a:cubicBezTo>
                      <a:cubicBezTo>
                        <a:pt x="238788" y="233341"/>
                        <a:pt x="237931" y="229503"/>
                        <a:pt x="238188" y="235075"/>
                      </a:cubicBezTo>
                      <a:cubicBezTo>
                        <a:pt x="238340" y="238237"/>
                        <a:pt x="239264" y="238589"/>
                        <a:pt x="242455" y="241637"/>
                      </a:cubicBezTo>
                      <a:cubicBezTo>
                        <a:pt x="243836" y="242952"/>
                        <a:pt x="245598" y="242761"/>
                        <a:pt x="246627" y="244485"/>
                      </a:cubicBezTo>
                      <a:cubicBezTo>
                        <a:pt x="247713" y="246295"/>
                        <a:pt x="244646" y="246962"/>
                        <a:pt x="245122" y="247972"/>
                      </a:cubicBezTo>
                      <a:cubicBezTo>
                        <a:pt x="248418" y="255030"/>
                        <a:pt x="254990" y="260697"/>
                        <a:pt x="259886" y="266250"/>
                      </a:cubicBezTo>
                      <a:cubicBezTo>
                        <a:pt x="261353" y="267917"/>
                        <a:pt x="262619" y="270698"/>
                        <a:pt x="264506" y="272708"/>
                      </a:cubicBezTo>
                      <a:cubicBezTo>
                        <a:pt x="266410" y="274737"/>
                        <a:pt x="268715" y="276499"/>
                        <a:pt x="270411" y="278814"/>
                      </a:cubicBezTo>
                      <a:cubicBezTo>
                        <a:pt x="275631" y="285890"/>
                        <a:pt x="272230" y="288339"/>
                        <a:pt x="267373" y="295063"/>
                      </a:cubicBezTo>
                      <a:cubicBezTo>
                        <a:pt x="275059" y="294873"/>
                        <a:pt x="288308" y="293834"/>
                        <a:pt x="294719" y="298911"/>
                      </a:cubicBezTo>
                      <a:cubicBezTo>
                        <a:pt x="296795" y="300549"/>
                        <a:pt x="299576" y="306045"/>
                        <a:pt x="300481" y="308112"/>
                      </a:cubicBezTo>
                      <a:cubicBezTo>
                        <a:pt x="302825" y="313437"/>
                        <a:pt x="300234" y="312903"/>
                        <a:pt x="306720" y="313770"/>
                      </a:cubicBezTo>
                      <a:cubicBezTo>
                        <a:pt x="316455" y="315075"/>
                        <a:pt x="327475" y="314675"/>
                        <a:pt x="334886" y="308684"/>
                      </a:cubicBezTo>
                      <a:cubicBezTo>
                        <a:pt x="339905" y="304626"/>
                        <a:pt x="344811" y="298311"/>
                        <a:pt x="350945" y="295892"/>
                      </a:cubicBezTo>
                      <a:cubicBezTo>
                        <a:pt x="348840" y="299368"/>
                        <a:pt x="350707" y="301950"/>
                        <a:pt x="350678" y="305293"/>
                      </a:cubicBezTo>
                      <a:cubicBezTo>
                        <a:pt x="350650" y="309560"/>
                        <a:pt x="349792" y="313865"/>
                        <a:pt x="350297" y="318809"/>
                      </a:cubicBezTo>
                      <a:cubicBezTo>
                        <a:pt x="351221" y="327686"/>
                        <a:pt x="352193" y="336554"/>
                        <a:pt x="353202" y="345431"/>
                      </a:cubicBezTo>
                      <a:cubicBezTo>
                        <a:pt x="356879" y="341488"/>
                        <a:pt x="358203" y="346288"/>
                        <a:pt x="362051" y="347098"/>
                      </a:cubicBezTo>
                      <a:cubicBezTo>
                        <a:pt x="366928" y="348127"/>
                        <a:pt x="370919" y="343488"/>
                        <a:pt x="375405" y="342822"/>
                      </a:cubicBezTo>
                      <a:cubicBezTo>
                        <a:pt x="388283" y="340878"/>
                        <a:pt x="392379" y="352670"/>
                        <a:pt x="398694" y="361776"/>
                      </a:cubicBezTo>
                      <a:cubicBezTo>
                        <a:pt x="404675" y="370406"/>
                        <a:pt x="411495" y="378864"/>
                        <a:pt x="416820" y="387903"/>
                      </a:cubicBezTo>
                      <a:cubicBezTo>
                        <a:pt x="422544" y="397619"/>
                        <a:pt x="412772" y="398981"/>
                        <a:pt x="413048" y="408896"/>
                      </a:cubicBezTo>
                      <a:cubicBezTo>
                        <a:pt x="413210" y="414478"/>
                        <a:pt x="414858" y="419698"/>
                        <a:pt x="414648" y="425298"/>
                      </a:cubicBezTo>
                      <a:cubicBezTo>
                        <a:pt x="414458" y="430623"/>
                        <a:pt x="413638" y="431880"/>
                        <a:pt x="416934" y="437662"/>
                      </a:cubicBezTo>
                      <a:cubicBezTo>
                        <a:pt x="418830" y="440986"/>
                        <a:pt x="420963" y="442872"/>
                        <a:pt x="420744" y="446082"/>
                      </a:cubicBezTo>
                      <a:cubicBezTo>
                        <a:pt x="420877" y="444129"/>
                        <a:pt x="417267" y="451835"/>
                        <a:pt x="418020" y="450730"/>
                      </a:cubicBezTo>
                      <a:cubicBezTo>
                        <a:pt x="417067" y="452130"/>
                        <a:pt x="415448" y="453864"/>
                        <a:pt x="414648" y="455483"/>
                      </a:cubicBezTo>
                      <a:cubicBezTo>
                        <a:pt x="413257" y="458303"/>
                        <a:pt x="411200" y="461036"/>
                        <a:pt x="410505" y="463770"/>
                      </a:cubicBezTo>
                      <a:cubicBezTo>
                        <a:pt x="408438" y="471837"/>
                        <a:pt x="413638" y="470133"/>
                        <a:pt x="416096" y="476733"/>
                      </a:cubicBezTo>
                      <a:cubicBezTo>
                        <a:pt x="417515" y="480524"/>
                        <a:pt x="413857" y="482591"/>
                        <a:pt x="412819" y="486906"/>
                      </a:cubicBezTo>
                      <a:cubicBezTo>
                        <a:pt x="411295" y="493212"/>
                        <a:pt x="414000" y="495841"/>
                        <a:pt x="417353" y="501679"/>
                      </a:cubicBezTo>
                      <a:cubicBezTo>
                        <a:pt x="420382" y="506928"/>
                        <a:pt x="420792" y="507328"/>
                        <a:pt x="425554" y="509471"/>
                      </a:cubicBezTo>
                      <a:cubicBezTo>
                        <a:pt x="427116" y="510166"/>
                        <a:pt x="431431" y="510052"/>
                        <a:pt x="432279" y="512081"/>
                      </a:cubicBezTo>
                      <a:cubicBezTo>
                        <a:pt x="433612" y="515281"/>
                        <a:pt x="430364" y="513176"/>
                        <a:pt x="429650" y="515691"/>
                      </a:cubicBezTo>
                      <a:cubicBezTo>
                        <a:pt x="428859" y="518501"/>
                        <a:pt x="428640" y="521891"/>
                        <a:pt x="427459" y="524397"/>
                      </a:cubicBezTo>
                      <a:cubicBezTo>
                        <a:pt x="426088" y="527321"/>
                        <a:pt x="421287" y="533598"/>
                        <a:pt x="419068" y="536141"/>
                      </a:cubicBezTo>
                      <a:cubicBezTo>
                        <a:pt x="416363" y="539237"/>
                        <a:pt x="413429" y="538951"/>
                        <a:pt x="414496" y="543380"/>
                      </a:cubicBezTo>
                      <a:cubicBezTo>
                        <a:pt x="415534" y="547685"/>
                        <a:pt x="421115" y="546818"/>
                        <a:pt x="417172" y="552076"/>
                      </a:cubicBezTo>
                      <a:cubicBezTo>
                        <a:pt x="413124" y="557477"/>
                        <a:pt x="411019" y="552457"/>
                        <a:pt x="410676" y="559268"/>
                      </a:cubicBezTo>
                      <a:cubicBezTo>
                        <a:pt x="410400" y="565011"/>
                        <a:pt x="415096" y="567383"/>
                        <a:pt x="409257" y="572831"/>
                      </a:cubicBezTo>
                      <a:cubicBezTo>
                        <a:pt x="400341" y="581147"/>
                        <a:pt x="389788" y="572593"/>
                        <a:pt x="382025" y="567221"/>
                      </a:cubicBezTo>
                      <a:cubicBezTo>
                        <a:pt x="377901" y="564373"/>
                        <a:pt x="374052" y="561754"/>
                        <a:pt x="369700" y="559182"/>
                      </a:cubicBezTo>
                      <a:cubicBezTo>
                        <a:pt x="362861" y="555143"/>
                        <a:pt x="364318" y="552257"/>
                        <a:pt x="359803" y="546637"/>
                      </a:cubicBezTo>
                      <a:cubicBezTo>
                        <a:pt x="353926" y="539294"/>
                        <a:pt x="339134" y="536550"/>
                        <a:pt x="331285" y="530807"/>
                      </a:cubicBezTo>
                      <a:cubicBezTo>
                        <a:pt x="322598" y="524454"/>
                        <a:pt x="313026" y="521596"/>
                        <a:pt x="303072" y="517319"/>
                      </a:cubicBezTo>
                      <a:cubicBezTo>
                        <a:pt x="291890" y="512519"/>
                        <a:pt x="281117" y="508556"/>
                        <a:pt x="270687" y="502289"/>
                      </a:cubicBezTo>
                      <a:cubicBezTo>
                        <a:pt x="259819" y="495745"/>
                        <a:pt x="246798" y="491916"/>
                        <a:pt x="236131" y="484801"/>
                      </a:cubicBezTo>
                      <a:cubicBezTo>
                        <a:pt x="226901" y="478639"/>
                        <a:pt x="220471" y="469742"/>
                        <a:pt x="210832" y="463732"/>
                      </a:cubicBezTo>
                      <a:cubicBezTo>
                        <a:pt x="204736" y="459922"/>
                        <a:pt x="201498" y="454693"/>
                        <a:pt x="196745" y="449454"/>
                      </a:cubicBezTo>
                      <a:cubicBezTo>
                        <a:pt x="194906" y="447415"/>
                        <a:pt x="192449" y="445034"/>
                        <a:pt x="190953" y="442910"/>
                      </a:cubicBezTo>
                      <a:cubicBezTo>
                        <a:pt x="189001" y="440167"/>
                        <a:pt x="190810" y="437443"/>
                        <a:pt x="187105" y="435271"/>
                      </a:cubicBezTo>
                      <a:cubicBezTo>
                        <a:pt x="201669" y="429823"/>
                        <a:pt x="176733" y="403572"/>
                        <a:pt x="171884" y="397352"/>
                      </a:cubicBezTo>
                      <a:cubicBezTo>
                        <a:pt x="169608" y="394438"/>
                        <a:pt x="168160" y="390304"/>
                        <a:pt x="165769" y="387646"/>
                      </a:cubicBezTo>
                      <a:cubicBezTo>
                        <a:pt x="162978" y="384550"/>
                        <a:pt x="159245" y="382922"/>
                        <a:pt x="156749" y="379559"/>
                      </a:cubicBezTo>
                      <a:cubicBezTo>
                        <a:pt x="152063" y="373263"/>
                        <a:pt x="150977" y="365100"/>
                        <a:pt x="143671" y="359395"/>
                      </a:cubicBezTo>
                      <a:cubicBezTo>
                        <a:pt x="138956" y="355699"/>
                        <a:pt x="137747" y="355032"/>
                        <a:pt x="135337" y="350327"/>
                      </a:cubicBezTo>
                      <a:cubicBezTo>
                        <a:pt x="133556" y="346841"/>
                        <a:pt x="132984" y="343078"/>
                        <a:pt x="130813" y="339612"/>
                      </a:cubicBezTo>
                      <a:cubicBezTo>
                        <a:pt x="125764" y="331544"/>
                        <a:pt x="118630" y="324771"/>
                        <a:pt x="114096" y="316371"/>
                      </a:cubicBezTo>
                      <a:cubicBezTo>
                        <a:pt x="106190" y="301712"/>
                        <a:pt x="98713" y="286729"/>
                        <a:pt x="91227" y="271994"/>
                      </a:cubicBezTo>
                      <a:cubicBezTo>
                        <a:pt x="83597" y="256982"/>
                        <a:pt x="69433" y="247381"/>
                        <a:pt x="61328" y="232188"/>
                      </a:cubicBezTo>
                      <a:cubicBezTo>
                        <a:pt x="57365" y="224778"/>
                        <a:pt x="52812" y="217949"/>
                        <a:pt x="46821" y="211767"/>
                      </a:cubicBezTo>
                      <a:cubicBezTo>
                        <a:pt x="40468" y="205223"/>
                        <a:pt x="31200" y="202299"/>
                        <a:pt x="23228" y="198118"/>
                      </a:cubicBezTo>
                      <a:cubicBezTo>
                        <a:pt x="18989" y="195898"/>
                        <a:pt x="6778" y="191488"/>
                        <a:pt x="7645" y="185278"/>
                      </a:cubicBezTo>
                      <a:cubicBezTo>
                        <a:pt x="8521" y="178963"/>
                        <a:pt x="20113" y="185773"/>
                        <a:pt x="15131" y="173496"/>
                      </a:cubicBezTo>
                      <a:cubicBezTo>
                        <a:pt x="13312" y="169019"/>
                        <a:pt x="8512" y="166199"/>
                        <a:pt x="6749" y="161885"/>
                      </a:cubicBezTo>
                      <a:cubicBezTo>
                        <a:pt x="5425" y="158627"/>
                        <a:pt x="7550" y="157151"/>
                        <a:pt x="5425" y="153045"/>
                      </a:cubicBezTo>
                      <a:cubicBezTo>
                        <a:pt x="3663" y="149664"/>
                        <a:pt x="901" y="148083"/>
                        <a:pt x="196" y="144292"/>
                      </a:cubicBezTo>
                      <a:cubicBezTo>
                        <a:pt x="-556" y="140253"/>
                        <a:pt x="958" y="134929"/>
                        <a:pt x="2987" y="131519"/>
                      </a:cubicBezTo>
                      <a:cubicBezTo>
                        <a:pt x="7426" y="124070"/>
                        <a:pt x="16246" y="115374"/>
                        <a:pt x="23009" y="110107"/>
                      </a:cubicBezTo>
                      <a:cubicBezTo>
                        <a:pt x="29209" y="105278"/>
                        <a:pt x="30733" y="104077"/>
                        <a:pt x="32715" y="111221"/>
                      </a:cubicBezTo>
                      <a:cubicBezTo>
                        <a:pt x="33924" y="115545"/>
                        <a:pt x="35906" y="120137"/>
                        <a:pt x="32515" y="122984"/>
                      </a:cubicBezTo>
                      <a:cubicBezTo>
                        <a:pt x="30209" y="124928"/>
                        <a:pt x="27057" y="123108"/>
                        <a:pt x="25476" y="125347"/>
                      </a:cubicBezTo>
                      <a:cubicBezTo>
                        <a:pt x="23256" y="128480"/>
                        <a:pt x="27523" y="131576"/>
                        <a:pt x="30219" y="131138"/>
                      </a:cubicBezTo>
                      <a:cubicBezTo>
                        <a:pt x="21504" y="144701"/>
                        <a:pt x="33734" y="133957"/>
                        <a:pt x="39544" y="134900"/>
                      </a:cubicBezTo>
                      <a:cubicBezTo>
                        <a:pt x="42573" y="135396"/>
                        <a:pt x="47174" y="138453"/>
                        <a:pt x="50155" y="139339"/>
                      </a:cubicBezTo>
                      <a:cubicBezTo>
                        <a:pt x="56860" y="141339"/>
                        <a:pt x="55098" y="141073"/>
                        <a:pt x="58575" y="147226"/>
                      </a:cubicBezTo>
                      <a:cubicBezTo>
                        <a:pt x="62309" y="153836"/>
                        <a:pt x="71681" y="159427"/>
                        <a:pt x="76434" y="151626"/>
                      </a:cubicBezTo>
                      <a:cubicBezTo>
                        <a:pt x="77663" y="149597"/>
                        <a:pt x="76958" y="147464"/>
                        <a:pt x="78863" y="144901"/>
                      </a:cubicBezTo>
                      <a:cubicBezTo>
                        <a:pt x="80073" y="143273"/>
                        <a:pt x="82549" y="143349"/>
                        <a:pt x="83416" y="141558"/>
                      </a:cubicBezTo>
                      <a:cubicBezTo>
                        <a:pt x="84302" y="139729"/>
                        <a:pt x="83092" y="138567"/>
                        <a:pt x="83388" y="137310"/>
                      </a:cubicBezTo>
                      <a:cubicBezTo>
                        <a:pt x="84988" y="130481"/>
                        <a:pt x="88483" y="123680"/>
                        <a:pt x="90360" y="116965"/>
                      </a:cubicBezTo>
                      <a:cubicBezTo>
                        <a:pt x="91055" y="114469"/>
                        <a:pt x="90065" y="108573"/>
                        <a:pt x="92189" y="106668"/>
                      </a:cubicBezTo>
                      <a:cubicBezTo>
                        <a:pt x="95065" y="104087"/>
                        <a:pt x="94865" y="109249"/>
                        <a:pt x="96551" y="108449"/>
                      </a:cubicBezTo>
                      <a:cubicBezTo>
                        <a:pt x="99828" y="106878"/>
                        <a:pt x="95903" y="106306"/>
                        <a:pt x="97285" y="104077"/>
                      </a:cubicBezTo>
                      <a:cubicBezTo>
                        <a:pt x="99590" y="100353"/>
                        <a:pt x="103266" y="94924"/>
                        <a:pt x="106943" y="92543"/>
                      </a:cubicBezTo>
                      <a:cubicBezTo>
                        <a:pt x="115563" y="86980"/>
                        <a:pt x="128841" y="85037"/>
                        <a:pt x="138461" y="81227"/>
                      </a:cubicBezTo>
                      <a:cubicBezTo>
                        <a:pt x="149720" y="76769"/>
                        <a:pt x="160045" y="67997"/>
                        <a:pt x="167741" y="58738"/>
                      </a:cubicBezTo>
                      <a:cubicBezTo>
                        <a:pt x="171037" y="54766"/>
                        <a:pt x="176047" y="50375"/>
                        <a:pt x="178161" y="45756"/>
                      </a:cubicBezTo>
                      <a:cubicBezTo>
                        <a:pt x="180619" y="40393"/>
                        <a:pt x="181085" y="33411"/>
                        <a:pt x="182724" y="27696"/>
                      </a:cubicBezTo>
                      <a:cubicBezTo>
                        <a:pt x="189096" y="32602"/>
                        <a:pt x="188420" y="21429"/>
                        <a:pt x="187162" y="17657"/>
                      </a:cubicBezTo>
                      <a:cubicBezTo>
                        <a:pt x="185372" y="12275"/>
                        <a:pt x="177847" y="7122"/>
                        <a:pt x="175685" y="2436"/>
                      </a:cubicBezTo>
                      <a:cubicBezTo>
                        <a:pt x="180228" y="3570"/>
                        <a:pt x="182333" y="2569"/>
                        <a:pt x="186448" y="1922"/>
                      </a:cubicBezTo>
                      <a:cubicBezTo>
                        <a:pt x="188382" y="1617"/>
                        <a:pt x="187915" y="-126"/>
                        <a:pt x="190325" y="7"/>
                      </a:cubicBezTo>
                      <a:cubicBezTo>
                        <a:pt x="192306" y="122"/>
                        <a:pt x="194392" y="2969"/>
                        <a:pt x="196221" y="3979"/>
                      </a:cubicBezTo>
                      <a:cubicBezTo>
                        <a:pt x="197583" y="4732"/>
                        <a:pt x="199697" y="4265"/>
                        <a:pt x="200831" y="4941"/>
                      </a:cubicBezTo>
                      <a:cubicBezTo>
                        <a:pt x="201869" y="5551"/>
                        <a:pt x="202088" y="7294"/>
                        <a:pt x="203145" y="7970"/>
                      </a:cubicBezTo>
                      <a:cubicBezTo>
                        <a:pt x="206755" y="10275"/>
                        <a:pt x="210556" y="12142"/>
                        <a:pt x="213061" y="15857"/>
                      </a:cubicBezTo>
                      <a:cubicBezTo>
                        <a:pt x="215204" y="19038"/>
                        <a:pt x="215252" y="23820"/>
                        <a:pt x="217319" y="26573"/>
                      </a:cubicBezTo>
                      <a:cubicBezTo>
                        <a:pt x="219871" y="29982"/>
                        <a:pt x="224872" y="31554"/>
                        <a:pt x="228520" y="33583"/>
                      </a:cubicBezTo>
                      <a:cubicBezTo>
                        <a:pt x="231987" y="35507"/>
                        <a:pt x="236235" y="36993"/>
                        <a:pt x="239102" y="39488"/>
                      </a:cubicBezTo>
                      <a:cubicBezTo>
                        <a:pt x="243550" y="43346"/>
                        <a:pt x="240931" y="49366"/>
                        <a:pt x="244141" y="52604"/>
                      </a:cubicBezTo>
                      <a:cubicBezTo>
                        <a:pt x="247237" y="55728"/>
                        <a:pt x="250285" y="53900"/>
                        <a:pt x="253028" y="57024"/>
                      </a:cubicBezTo>
                      <a:cubicBezTo>
                        <a:pt x="256905" y="61443"/>
                        <a:pt x="252247" y="66368"/>
                        <a:pt x="254485" y="70311"/>
                      </a:cubicBezTo>
                      <a:cubicBezTo>
                        <a:pt x="255647" y="72359"/>
                        <a:pt x="263277" y="74254"/>
                        <a:pt x="265382" y="74340"/>
                      </a:cubicBezTo>
                      <a:cubicBezTo>
                        <a:pt x="267601" y="74426"/>
                        <a:pt x="269220" y="72616"/>
                        <a:pt x="271173" y="72654"/>
                      </a:cubicBezTo>
                      <a:cubicBezTo>
                        <a:pt x="273621" y="72692"/>
                        <a:pt x="276021" y="74893"/>
                        <a:pt x="278498" y="75074"/>
                      </a:cubicBezTo>
                      <a:cubicBezTo>
                        <a:pt x="289089" y="75798"/>
                        <a:pt x="294166" y="64453"/>
                        <a:pt x="303701" y="68311"/>
                      </a:cubicBezTo>
                      <a:cubicBezTo>
                        <a:pt x="308139" y="70102"/>
                        <a:pt x="309282" y="72550"/>
                        <a:pt x="314512" y="71778"/>
                      </a:cubicBezTo>
                      <a:cubicBezTo>
                        <a:pt x="321236" y="70788"/>
                        <a:pt x="321236" y="66635"/>
                        <a:pt x="328285" y="70387"/>
                      </a:cubicBezTo>
                      <a:cubicBezTo>
                        <a:pt x="332781" y="72788"/>
                        <a:pt x="351278" y="79970"/>
                        <a:pt x="352126" y="84580"/>
                      </a:cubicBezTo>
                      <a:cubicBezTo>
                        <a:pt x="352726" y="87866"/>
                        <a:pt x="344754" y="96838"/>
                        <a:pt x="342896" y="99915"/>
                      </a:cubicBezTo>
                      <a:cubicBezTo>
                        <a:pt x="339324" y="105820"/>
                        <a:pt x="335752" y="111735"/>
                        <a:pt x="332190" y="117660"/>
                      </a:cubicBezTo>
                      <a:cubicBezTo>
                        <a:pt x="334562" y="118470"/>
                        <a:pt x="336972" y="120165"/>
                        <a:pt x="339448" y="120384"/>
                      </a:cubicBezTo>
                      <a:cubicBezTo>
                        <a:pt x="341639" y="120584"/>
                        <a:pt x="343020" y="118317"/>
                        <a:pt x="345001" y="118936"/>
                      </a:cubicBezTo>
                      <a:cubicBezTo>
                        <a:pt x="347363" y="119708"/>
                        <a:pt x="355650" y="129842"/>
                        <a:pt x="357022" y="132033"/>
                      </a:cubicBezTo>
                      <a:lnTo>
                        <a:pt x="357022" y="132033"/>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86" name="Freeform: Shape 585">
                  <a:extLst>
                    <a:ext uri="{FF2B5EF4-FFF2-40B4-BE49-F238E27FC236}">
                      <a16:creationId xmlns:a16="http://schemas.microsoft.com/office/drawing/2014/main" id="{32F9C472-A40C-4E1B-A309-6B57C5D43449}"/>
                    </a:ext>
                  </a:extLst>
                </p:cNvPr>
                <p:cNvSpPr/>
                <p:nvPr/>
              </p:nvSpPr>
              <p:spPr>
                <a:xfrm>
                  <a:off x="2992266" y="4063229"/>
                  <a:ext cx="180725" cy="74180"/>
                </a:xfrm>
                <a:custGeom>
                  <a:avLst/>
                  <a:gdLst>
                    <a:gd name="connsiteX0" fmla="*/ 119017 w 180725"/>
                    <a:gd name="connsiteY0" fmla="*/ 238 h 74180"/>
                    <a:gd name="connsiteX1" fmla="*/ 148040 w 180725"/>
                    <a:gd name="connsiteY1" fmla="*/ 6629 h 74180"/>
                    <a:gd name="connsiteX2" fmla="*/ 177920 w 180725"/>
                    <a:gd name="connsiteY2" fmla="*/ 28927 h 74180"/>
                    <a:gd name="connsiteX3" fmla="*/ 180615 w 180725"/>
                    <a:gd name="connsiteY3" fmla="*/ 47339 h 74180"/>
                    <a:gd name="connsiteX4" fmla="*/ 178482 w 180725"/>
                    <a:gd name="connsiteY4" fmla="*/ 52559 h 74180"/>
                    <a:gd name="connsiteX5" fmla="*/ 174338 w 180725"/>
                    <a:gd name="connsiteY5" fmla="*/ 59931 h 74180"/>
                    <a:gd name="connsiteX6" fmla="*/ 163365 w 180725"/>
                    <a:gd name="connsiteY6" fmla="*/ 58741 h 74180"/>
                    <a:gd name="connsiteX7" fmla="*/ 157184 w 180725"/>
                    <a:gd name="connsiteY7" fmla="*/ 73943 h 74180"/>
                    <a:gd name="connsiteX8" fmla="*/ 148754 w 180725"/>
                    <a:gd name="connsiteY8" fmla="*/ 62275 h 74180"/>
                    <a:gd name="connsiteX9" fmla="*/ 144115 w 180725"/>
                    <a:gd name="connsiteY9" fmla="*/ 52807 h 74180"/>
                    <a:gd name="connsiteX10" fmla="*/ 145363 w 180725"/>
                    <a:gd name="connsiteY10" fmla="*/ 47463 h 74180"/>
                    <a:gd name="connsiteX11" fmla="*/ 148697 w 180725"/>
                    <a:gd name="connsiteY11" fmla="*/ 45291 h 74180"/>
                    <a:gd name="connsiteX12" fmla="*/ 151974 w 180725"/>
                    <a:gd name="connsiteY12" fmla="*/ 38814 h 74180"/>
                    <a:gd name="connsiteX13" fmla="*/ 164175 w 180725"/>
                    <a:gd name="connsiteY13" fmla="*/ 45463 h 74180"/>
                    <a:gd name="connsiteX14" fmla="*/ 154679 w 180725"/>
                    <a:gd name="connsiteY14" fmla="*/ 34004 h 74180"/>
                    <a:gd name="connsiteX15" fmla="*/ 145316 w 180725"/>
                    <a:gd name="connsiteY15" fmla="*/ 33728 h 74180"/>
                    <a:gd name="connsiteX16" fmla="*/ 142515 w 180725"/>
                    <a:gd name="connsiteY16" fmla="*/ 32728 h 74180"/>
                    <a:gd name="connsiteX17" fmla="*/ 131952 w 180725"/>
                    <a:gd name="connsiteY17" fmla="*/ 22755 h 74180"/>
                    <a:gd name="connsiteX18" fmla="*/ 101367 w 180725"/>
                    <a:gd name="connsiteY18" fmla="*/ 29518 h 74180"/>
                    <a:gd name="connsiteX19" fmla="*/ 103272 w 180725"/>
                    <a:gd name="connsiteY19" fmla="*/ 30899 h 74180"/>
                    <a:gd name="connsiteX20" fmla="*/ 89490 w 180725"/>
                    <a:gd name="connsiteY20" fmla="*/ 39205 h 74180"/>
                    <a:gd name="connsiteX21" fmla="*/ 79726 w 180725"/>
                    <a:gd name="connsiteY21" fmla="*/ 43510 h 74180"/>
                    <a:gd name="connsiteX22" fmla="*/ 91423 w 180725"/>
                    <a:gd name="connsiteY22" fmla="*/ 63827 h 74180"/>
                    <a:gd name="connsiteX23" fmla="*/ 82355 w 180725"/>
                    <a:gd name="connsiteY23" fmla="*/ 68056 h 74180"/>
                    <a:gd name="connsiteX24" fmla="*/ 71173 w 180725"/>
                    <a:gd name="connsiteY24" fmla="*/ 73866 h 74180"/>
                    <a:gd name="connsiteX25" fmla="*/ 63239 w 180725"/>
                    <a:gd name="connsiteY25" fmla="*/ 67361 h 74180"/>
                    <a:gd name="connsiteX26" fmla="*/ 59914 w 180725"/>
                    <a:gd name="connsiteY26" fmla="*/ 52816 h 74180"/>
                    <a:gd name="connsiteX27" fmla="*/ 54209 w 180725"/>
                    <a:gd name="connsiteY27" fmla="*/ 61598 h 74180"/>
                    <a:gd name="connsiteX28" fmla="*/ 42798 w 180725"/>
                    <a:gd name="connsiteY28" fmla="*/ 52683 h 74180"/>
                    <a:gd name="connsiteX29" fmla="*/ 34911 w 180725"/>
                    <a:gd name="connsiteY29" fmla="*/ 44034 h 74180"/>
                    <a:gd name="connsiteX30" fmla="*/ 24500 w 180725"/>
                    <a:gd name="connsiteY30" fmla="*/ 39862 h 74180"/>
                    <a:gd name="connsiteX31" fmla="*/ 10623 w 180725"/>
                    <a:gd name="connsiteY31" fmla="*/ 39519 h 74180"/>
                    <a:gd name="connsiteX32" fmla="*/ 3536 w 180725"/>
                    <a:gd name="connsiteY32" fmla="*/ 47435 h 74180"/>
                    <a:gd name="connsiteX33" fmla="*/ 31 w 180725"/>
                    <a:gd name="connsiteY33" fmla="*/ 38786 h 74180"/>
                    <a:gd name="connsiteX34" fmla="*/ 6231 w 180725"/>
                    <a:gd name="connsiteY34" fmla="*/ 30775 h 74180"/>
                    <a:gd name="connsiteX35" fmla="*/ 4917 w 180725"/>
                    <a:gd name="connsiteY35" fmla="*/ 25832 h 74180"/>
                    <a:gd name="connsiteX36" fmla="*/ 9480 w 180725"/>
                    <a:gd name="connsiteY36" fmla="*/ 22003 h 74180"/>
                    <a:gd name="connsiteX37" fmla="*/ 4984 w 180725"/>
                    <a:gd name="connsiteY37" fmla="*/ 16269 h 74180"/>
                    <a:gd name="connsiteX38" fmla="*/ 9337 w 180725"/>
                    <a:gd name="connsiteY38" fmla="*/ 1591 h 74180"/>
                    <a:gd name="connsiteX39" fmla="*/ 18671 w 180725"/>
                    <a:gd name="connsiteY39" fmla="*/ 0 h 74180"/>
                    <a:gd name="connsiteX40" fmla="*/ 23939 w 180725"/>
                    <a:gd name="connsiteY40" fmla="*/ 6839 h 74180"/>
                    <a:gd name="connsiteX41" fmla="*/ 28549 w 180725"/>
                    <a:gd name="connsiteY41" fmla="*/ 11382 h 74180"/>
                    <a:gd name="connsiteX42" fmla="*/ 40922 w 180725"/>
                    <a:gd name="connsiteY42" fmla="*/ 19517 h 74180"/>
                    <a:gd name="connsiteX43" fmla="*/ 37997 w 180725"/>
                    <a:gd name="connsiteY43" fmla="*/ 13754 h 74180"/>
                    <a:gd name="connsiteX44" fmla="*/ 53637 w 180725"/>
                    <a:gd name="connsiteY44" fmla="*/ 25079 h 74180"/>
                    <a:gd name="connsiteX45" fmla="*/ 76259 w 180725"/>
                    <a:gd name="connsiteY45" fmla="*/ 17231 h 74180"/>
                    <a:gd name="connsiteX46" fmla="*/ 99215 w 180725"/>
                    <a:gd name="connsiteY46" fmla="*/ 7201 h 74180"/>
                    <a:gd name="connsiteX47" fmla="*/ 119017 w 180725"/>
                    <a:gd name="connsiteY47" fmla="*/ 238 h 74180"/>
                    <a:gd name="connsiteX48" fmla="*/ 119017 w 180725"/>
                    <a:gd name="connsiteY48" fmla="*/ 238 h 7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80725" h="74180">
                      <a:moveTo>
                        <a:pt x="119017" y="238"/>
                      </a:moveTo>
                      <a:cubicBezTo>
                        <a:pt x="128723" y="3981"/>
                        <a:pt x="137896" y="3200"/>
                        <a:pt x="148040" y="6629"/>
                      </a:cubicBezTo>
                      <a:cubicBezTo>
                        <a:pt x="161222" y="11087"/>
                        <a:pt x="167433" y="20765"/>
                        <a:pt x="177920" y="28927"/>
                      </a:cubicBezTo>
                      <a:cubicBezTo>
                        <a:pt x="170014" y="34271"/>
                        <a:pt x="180015" y="40643"/>
                        <a:pt x="180615" y="47339"/>
                      </a:cubicBezTo>
                      <a:cubicBezTo>
                        <a:pt x="181082" y="52530"/>
                        <a:pt x="180015" y="49282"/>
                        <a:pt x="178482" y="52559"/>
                      </a:cubicBezTo>
                      <a:cubicBezTo>
                        <a:pt x="177405" y="54855"/>
                        <a:pt x="175815" y="58322"/>
                        <a:pt x="174338" y="59931"/>
                      </a:cubicBezTo>
                      <a:cubicBezTo>
                        <a:pt x="165804" y="69247"/>
                        <a:pt x="168319" y="57445"/>
                        <a:pt x="163365" y="58741"/>
                      </a:cubicBezTo>
                      <a:cubicBezTo>
                        <a:pt x="163966" y="58579"/>
                        <a:pt x="157603" y="72971"/>
                        <a:pt x="157184" y="73943"/>
                      </a:cubicBezTo>
                      <a:cubicBezTo>
                        <a:pt x="154060" y="70333"/>
                        <a:pt x="151097" y="66427"/>
                        <a:pt x="148754" y="62275"/>
                      </a:cubicBezTo>
                      <a:cubicBezTo>
                        <a:pt x="147382" y="59855"/>
                        <a:pt x="144554" y="55607"/>
                        <a:pt x="144115" y="52807"/>
                      </a:cubicBezTo>
                      <a:cubicBezTo>
                        <a:pt x="143344" y="47920"/>
                        <a:pt x="144554" y="49425"/>
                        <a:pt x="145363" y="47463"/>
                      </a:cubicBezTo>
                      <a:cubicBezTo>
                        <a:pt x="145049" y="48216"/>
                        <a:pt x="148611" y="45377"/>
                        <a:pt x="148697" y="45291"/>
                      </a:cubicBezTo>
                      <a:cubicBezTo>
                        <a:pt x="150097" y="43863"/>
                        <a:pt x="148078" y="40329"/>
                        <a:pt x="151974" y="38814"/>
                      </a:cubicBezTo>
                      <a:cubicBezTo>
                        <a:pt x="155241" y="37548"/>
                        <a:pt x="159032" y="44396"/>
                        <a:pt x="164175" y="45463"/>
                      </a:cubicBezTo>
                      <a:cubicBezTo>
                        <a:pt x="160518" y="41443"/>
                        <a:pt x="155726" y="39881"/>
                        <a:pt x="154679" y="34004"/>
                      </a:cubicBezTo>
                      <a:cubicBezTo>
                        <a:pt x="150764" y="38595"/>
                        <a:pt x="149288" y="35662"/>
                        <a:pt x="145316" y="33728"/>
                      </a:cubicBezTo>
                      <a:cubicBezTo>
                        <a:pt x="147497" y="41510"/>
                        <a:pt x="144211" y="35957"/>
                        <a:pt x="142515" y="32728"/>
                      </a:cubicBezTo>
                      <a:cubicBezTo>
                        <a:pt x="139801" y="27565"/>
                        <a:pt x="136895" y="26137"/>
                        <a:pt x="131952" y="22755"/>
                      </a:cubicBezTo>
                      <a:cubicBezTo>
                        <a:pt x="118312" y="13449"/>
                        <a:pt x="111016" y="19269"/>
                        <a:pt x="101367" y="29518"/>
                      </a:cubicBezTo>
                      <a:cubicBezTo>
                        <a:pt x="102005" y="29975"/>
                        <a:pt x="102634" y="30432"/>
                        <a:pt x="103272" y="30899"/>
                      </a:cubicBezTo>
                      <a:cubicBezTo>
                        <a:pt x="98872" y="33614"/>
                        <a:pt x="94338" y="37386"/>
                        <a:pt x="89490" y="39205"/>
                      </a:cubicBezTo>
                      <a:cubicBezTo>
                        <a:pt x="86403" y="40367"/>
                        <a:pt x="81165" y="39738"/>
                        <a:pt x="79726" y="43510"/>
                      </a:cubicBezTo>
                      <a:cubicBezTo>
                        <a:pt x="76821" y="51111"/>
                        <a:pt x="92242" y="56426"/>
                        <a:pt x="91423" y="63827"/>
                      </a:cubicBezTo>
                      <a:cubicBezTo>
                        <a:pt x="90833" y="69123"/>
                        <a:pt x="86146" y="66313"/>
                        <a:pt x="82355" y="68056"/>
                      </a:cubicBezTo>
                      <a:cubicBezTo>
                        <a:pt x="77869" y="70123"/>
                        <a:pt x="77250" y="73085"/>
                        <a:pt x="71173" y="73866"/>
                      </a:cubicBezTo>
                      <a:cubicBezTo>
                        <a:pt x="63229" y="74895"/>
                        <a:pt x="64867" y="73562"/>
                        <a:pt x="63239" y="67361"/>
                      </a:cubicBezTo>
                      <a:cubicBezTo>
                        <a:pt x="61867" y="62122"/>
                        <a:pt x="59914" y="58350"/>
                        <a:pt x="59914" y="52816"/>
                      </a:cubicBezTo>
                      <a:cubicBezTo>
                        <a:pt x="54695" y="54245"/>
                        <a:pt x="57600" y="59627"/>
                        <a:pt x="54209" y="61598"/>
                      </a:cubicBezTo>
                      <a:cubicBezTo>
                        <a:pt x="49789" y="64170"/>
                        <a:pt x="43998" y="55236"/>
                        <a:pt x="42798" y="52683"/>
                      </a:cubicBezTo>
                      <a:cubicBezTo>
                        <a:pt x="40226" y="47263"/>
                        <a:pt x="40674" y="46063"/>
                        <a:pt x="34911" y="44034"/>
                      </a:cubicBezTo>
                      <a:cubicBezTo>
                        <a:pt x="31006" y="42663"/>
                        <a:pt x="24319" y="44767"/>
                        <a:pt x="24500" y="39862"/>
                      </a:cubicBezTo>
                      <a:cubicBezTo>
                        <a:pt x="19281" y="41996"/>
                        <a:pt x="15518" y="39014"/>
                        <a:pt x="10623" y="39519"/>
                      </a:cubicBezTo>
                      <a:cubicBezTo>
                        <a:pt x="4450" y="40148"/>
                        <a:pt x="5298" y="42958"/>
                        <a:pt x="3536" y="47435"/>
                      </a:cubicBezTo>
                      <a:cubicBezTo>
                        <a:pt x="3812" y="44206"/>
                        <a:pt x="-398" y="40481"/>
                        <a:pt x="31" y="38786"/>
                      </a:cubicBezTo>
                      <a:cubicBezTo>
                        <a:pt x="850" y="35528"/>
                        <a:pt x="5422" y="35471"/>
                        <a:pt x="6231" y="30775"/>
                      </a:cubicBezTo>
                      <a:cubicBezTo>
                        <a:pt x="6555" y="28927"/>
                        <a:pt x="4374" y="27499"/>
                        <a:pt x="4917" y="25832"/>
                      </a:cubicBezTo>
                      <a:cubicBezTo>
                        <a:pt x="5603" y="23755"/>
                        <a:pt x="8870" y="23508"/>
                        <a:pt x="9480" y="22003"/>
                      </a:cubicBezTo>
                      <a:cubicBezTo>
                        <a:pt x="10632" y="19174"/>
                        <a:pt x="10289" y="16888"/>
                        <a:pt x="4984" y="16269"/>
                      </a:cubicBezTo>
                      <a:cubicBezTo>
                        <a:pt x="5479" y="11125"/>
                        <a:pt x="4784" y="4467"/>
                        <a:pt x="9337" y="1591"/>
                      </a:cubicBezTo>
                      <a:cubicBezTo>
                        <a:pt x="12651" y="-505"/>
                        <a:pt x="16061" y="4077"/>
                        <a:pt x="18671" y="0"/>
                      </a:cubicBezTo>
                      <a:cubicBezTo>
                        <a:pt x="21300" y="2534"/>
                        <a:pt x="22624" y="4505"/>
                        <a:pt x="23939" y="6839"/>
                      </a:cubicBezTo>
                      <a:cubicBezTo>
                        <a:pt x="25358" y="9363"/>
                        <a:pt x="23167" y="13935"/>
                        <a:pt x="28549" y="11382"/>
                      </a:cubicBezTo>
                      <a:cubicBezTo>
                        <a:pt x="25281" y="20326"/>
                        <a:pt x="32644" y="20041"/>
                        <a:pt x="40922" y="19517"/>
                      </a:cubicBezTo>
                      <a:cubicBezTo>
                        <a:pt x="39712" y="17688"/>
                        <a:pt x="38540" y="15383"/>
                        <a:pt x="37997" y="13754"/>
                      </a:cubicBezTo>
                      <a:cubicBezTo>
                        <a:pt x="43779" y="17497"/>
                        <a:pt x="46294" y="24156"/>
                        <a:pt x="53637" y="25079"/>
                      </a:cubicBezTo>
                      <a:cubicBezTo>
                        <a:pt x="62572" y="26203"/>
                        <a:pt x="69135" y="21193"/>
                        <a:pt x="76259" y="17231"/>
                      </a:cubicBezTo>
                      <a:cubicBezTo>
                        <a:pt x="83822" y="13030"/>
                        <a:pt x="91871" y="11820"/>
                        <a:pt x="99215" y="7201"/>
                      </a:cubicBezTo>
                      <a:cubicBezTo>
                        <a:pt x="105844" y="3029"/>
                        <a:pt x="111064" y="-819"/>
                        <a:pt x="119017" y="238"/>
                      </a:cubicBezTo>
                      <a:lnTo>
                        <a:pt x="119017" y="238"/>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87" name="Freeform: Shape 586">
                  <a:extLst>
                    <a:ext uri="{FF2B5EF4-FFF2-40B4-BE49-F238E27FC236}">
                      <a16:creationId xmlns:a16="http://schemas.microsoft.com/office/drawing/2014/main" id="{2B54A2FA-E210-458C-8F93-5F0D25E99964}"/>
                    </a:ext>
                  </a:extLst>
                </p:cNvPr>
                <p:cNvSpPr/>
                <p:nvPr/>
              </p:nvSpPr>
              <p:spPr>
                <a:xfrm>
                  <a:off x="7382960" y="3198803"/>
                  <a:ext cx="416333" cy="417884"/>
                </a:xfrm>
                <a:custGeom>
                  <a:avLst/>
                  <a:gdLst>
                    <a:gd name="connsiteX0" fmla="*/ 402050 w 416333"/>
                    <a:gd name="connsiteY0" fmla="*/ 42743 h 417884"/>
                    <a:gd name="connsiteX1" fmla="*/ 413880 w 416333"/>
                    <a:gd name="connsiteY1" fmla="*/ 56620 h 417884"/>
                    <a:gd name="connsiteX2" fmla="*/ 411461 w 416333"/>
                    <a:gd name="connsiteY2" fmla="*/ 68146 h 417884"/>
                    <a:gd name="connsiteX3" fmla="*/ 405898 w 416333"/>
                    <a:gd name="connsiteY3" fmla="*/ 71708 h 417884"/>
                    <a:gd name="connsiteX4" fmla="*/ 396544 w 416333"/>
                    <a:gd name="connsiteY4" fmla="*/ 74042 h 417884"/>
                    <a:gd name="connsiteX5" fmla="*/ 378590 w 416333"/>
                    <a:gd name="connsiteY5" fmla="*/ 78337 h 417884"/>
                    <a:gd name="connsiteX6" fmla="*/ 336204 w 416333"/>
                    <a:gd name="connsiteY6" fmla="*/ 73670 h 417884"/>
                    <a:gd name="connsiteX7" fmla="*/ 334146 w 416333"/>
                    <a:gd name="connsiteY7" fmla="*/ 85167 h 417884"/>
                    <a:gd name="connsiteX8" fmla="*/ 339490 w 416333"/>
                    <a:gd name="connsiteY8" fmla="*/ 89425 h 417884"/>
                    <a:gd name="connsiteX9" fmla="*/ 339652 w 416333"/>
                    <a:gd name="connsiteY9" fmla="*/ 93730 h 417884"/>
                    <a:gd name="connsiteX10" fmla="*/ 348919 w 416333"/>
                    <a:gd name="connsiteY10" fmla="*/ 99054 h 417884"/>
                    <a:gd name="connsiteX11" fmla="*/ 345177 w 416333"/>
                    <a:gd name="connsiteY11" fmla="*/ 104693 h 417884"/>
                    <a:gd name="connsiteX12" fmla="*/ 351587 w 416333"/>
                    <a:gd name="connsiteY12" fmla="*/ 109713 h 417884"/>
                    <a:gd name="connsiteX13" fmla="*/ 352996 w 416333"/>
                    <a:gd name="connsiteY13" fmla="*/ 121714 h 417884"/>
                    <a:gd name="connsiteX14" fmla="*/ 359797 w 416333"/>
                    <a:gd name="connsiteY14" fmla="*/ 125934 h 417884"/>
                    <a:gd name="connsiteX15" fmla="*/ 364645 w 416333"/>
                    <a:gd name="connsiteY15" fmla="*/ 131382 h 417884"/>
                    <a:gd name="connsiteX16" fmla="*/ 376066 w 416333"/>
                    <a:gd name="connsiteY16" fmla="*/ 136545 h 417884"/>
                    <a:gd name="connsiteX17" fmla="*/ 380742 w 416333"/>
                    <a:gd name="connsiteY17" fmla="*/ 143117 h 417884"/>
                    <a:gd name="connsiteX18" fmla="*/ 391030 w 416333"/>
                    <a:gd name="connsiteY18" fmla="*/ 144498 h 417884"/>
                    <a:gd name="connsiteX19" fmla="*/ 396573 w 416333"/>
                    <a:gd name="connsiteY19" fmla="*/ 154795 h 417884"/>
                    <a:gd name="connsiteX20" fmla="*/ 382400 w 416333"/>
                    <a:gd name="connsiteY20" fmla="*/ 165453 h 417884"/>
                    <a:gd name="connsiteX21" fmla="*/ 386591 w 416333"/>
                    <a:gd name="connsiteY21" fmla="*/ 173140 h 417884"/>
                    <a:gd name="connsiteX22" fmla="*/ 388191 w 416333"/>
                    <a:gd name="connsiteY22" fmla="*/ 182541 h 417884"/>
                    <a:gd name="connsiteX23" fmla="*/ 388220 w 416333"/>
                    <a:gd name="connsiteY23" fmla="*/ 192380 h 417884"/>
                    <a:gd name="connsiteX24" fmla="*/ 378209 w 416333"/>
                    <a:gd name="connsiteY24" fmla="*/ 208325 h 417884"/>
                    <a:gd name="connsiteX25" fmla="*/ 381238 w 416333"/>
                    <a:gd name="connsiteY25" fmla="*/ 214107 h 417884"/>
                    <a:gd name="connsiteX26" fmla="*/ 374675 w 416333"/>
                    <a:gd name="connsiteY26" fmla="*/ 220212 h 417884"/>
                    <a:gd name="connsiteX27" fmla="*/ 367875 w 416333"/>
                    <a:gd name="connsiteY27" fmla="*/ 225708 h 417884"/>
                    <a:gd name="connsiteX28" fmla="*/ 367312 w 416333"/>
                    <a:gd name="connsiteY28" fmla="*/ 235671 h 417884"/>
                    <a:gd name="connsiteX29" fmla="*/ 358368 w 416333"/>
                    <a:gd name="connsiteY29" fmla="*/ 254378 h 417884"/>
                    <a:gd name="connsiteX30" fmla="*/ 349244 w 416333"/>
                    <a:gd name="connsiteY30" fmla="*/ 260189 h 417884"/>
                    <a:gd name="connsiteX31" fmla="*/ 347281 w 416333"/>
                    <a:gd name="connsiteY31" fmla="*/ 269609 h 417884"/>
                    <a:gd name="connsiteX32" fmla="*/ 342966 w 416333"/>
                    <a:gd name="connsiteY32" fmla="*/ 278086 h 417884"/>
                    <a:gd name="connsiteX33" fmla="*/ 339280 w 416333"/>
                    <a:gd name="connsiteY33" fmla="*/ 286354 h 417884"/>
                    <a:gd name="connsiteX34" fmla="*/ 319173 w 416333"/>
                    <a:gd name="connsiteY34" fmla="*/ 291269 h 417884"/>
                    <a:gd name="connsiteX35" fmla="*/ 304705 w 416333"/>
                    <a:gd name="connsiteY35" fmla="*/ 285335 h 417884"/>
                    <a:gd name="connsiteX36" fmla="*/ 291512 w 416333"/>
                    <a:gd name="connsiteY36" fmla="*/ 291269 h 417884"/>
                    <a:gd name="connsiteX37" fmla="*/ 288169 w 416333"/>
                    <a:gd name="connsiteY37" fmla="*/ 300689 h 417884"/>
                    <a:gd name="connsiteX38" fmla="*/ 282416 w 416333"/>
                    <a:gd name="connsiteY38" fmla="*/ 308109 h 417884"/>
                    <a:gd name="connsiteX39" fmla="*/ 282702 w 416333"/>
                    <a:gd name="connsiteY39" fmla="*/ 323463 h 417884"/>
                    <a:gd name="connsiteX40" fmla="*/ 302771 w 416333"/>
                    <a:gd name="connsiteY40" fmla="*/ 329835 h 417884"/>
                    <a:gd name="connsiteX41" fmla="*/ 306105 w 416333"/>
                    <a:gd name="connsiteY41" fmla="*/ 346123 h 417884"/>
                    <a:gd name="connsiteX42" fmla="*/ 320097 w 416333"/>
                    <a:gd name="connsiteY42" fmla="*/ 357115 h 417884"/>
                    <a:gd name="connsiteX43" fmla="*/ 328413 w 416333"/>
                    <a:gd name="connsiteY43" fmla="*/ 365240 h 417884"/>
                    <a:gd name="connsiteX44" fmla="*/ 341195 w 416333"/>
                    <a:gd name="connsiteY44" fmla="*/ 381185 h 417884"/>
                    <a:gd name="connsiteX45" fmla="*/ 345662 w 416333"/>
                    <a:gd name="connsiteY45" fmla="*/ 393920 h 417884"/>
                    <a:gd name="connsiteX46" fmla="*/ 343814 w 416333"/>
                    <a:gd name="connsiteY46" fmla="*/ 399920 h 417884"/>
                    <a:gd name="connsiteX47" fmla="*/ 339118 w 416333"/>
                    <a:gd name="connsiteY47" fmla="*/ 402492 h 417884"/>
                    <a:gd name="connsiteX48" fmla="*/ 334080 w 416333"/>
                    <a:gd name="connsiteY48" fmla="*/ 397692 h 417884"/>
                    <a:gd name="connsiteX49" fmla="*/ 320087 w 416333"/>
                    <a:gd name="connsiteY49" fmla="*/ 402902 h 417884"/>
                    <a:gd name="connsiteX50" fmla="*/ 301418 w 416333"/>
                    <a:gd name="connsiteY50" fmla="*/ 401435 h 417884"/>
                    <a:gd name="connsiteX51" fmla="*/ 283978 w 416333"/>
                    <a:gd name="connsiteY51" fmla="*/ 401654 h 417884"/>
                    <a:gd name="connsiteX52" fmla="*/ 280092 w 416333"/>
                    <a:gd name="connsiteY52" fmla="*/ 400930 h 417884"/>
                    <a:gd name="connsiteX53" fmla="*/ 282130 w 416333"/>
                    <a:gd name="connsiteY53" fmla="*/ 411227 h 417884"/>
                    <a:gd name="connsiteX54" fmla="*/ 265386 w 416333"/>
                    <a:gd name="connsiteY54" fmla="*/ 417885 h 417884"/>
                    <a:gd name="connsiteX55" fmla="*/ 256556 w 416333"/>
                    <a:gd name="connsiteY55" fmla="*/ 413179 h 417884"/>
                    <a:gd name="connsiteX56" fmla="*/ 249964 w 416333"/>
                    <a:gd name="connsiteY56" fmla="*/ 412636 h 417884"/>
                    <a:gd name="connsiteX57" fmla="*/ 237077 w 416333"/>
                    <a:gd name="connsiteY57" fmla="*/ 401835 h 417884"/>
                    <a:gd name="connsiteX58" fmla="*/ 221799 w 416333"/>
                    <a:gd name="connsiteY58" fmla="*/ 384280 h 417884"/>
                    <a:gd name="connsiteX59" fmla="*/ 213170 w 416333"/>
                    <a:gd name="connsiteY59" fmla="*/ 379947 h 417884"/>
                    <a:gd name="connsiteX60" fmla="*/ 208921 w 416333"/>
                    <a:gd name="connsiteY60" fmla="*/ 369079 h 417884"/>
                    <a:gd name="connsiteX61" fmla="*/ 192348 w 416333"/>
                    <a:gd name="connsiteY61" fmla="*/ 363059 h 417884"/>
                    <a:gd name="connsiteX62" fmla="*/ 202816 w 416333"/>
                    <a:gd name="connsiteY62" fmla="*/ 364573 h 417884"/>
                    <a:gd name="connsiteX63" fmla="*/ 179461 w 416333"/>
                    <a:gd name="connsiteY63" fmla="*/ 367374 h 417884"/>
                    <a:gd name="connsiteX64" fmla="*/ 152505 w 416333"/>
                    <a:gd name="connsiteY64" fmla="*/ 369917 h 417884"/>
                    <a:gd name="connsiteX65" fmla="*/ 148476 w 416333"/>
                    <a:gd name="connsiteY65" fmla="*/ 372098 h 417884"/>
                    <a:gd name="connsiteX66" fmla="*/ 144780 w 416333"/>
                    <a:gd name="connsiteY66" fmla="*/ 370660 h 417884"/>
                    <a:gd name="connsiteX67" fmla="*/ 133131 w 416333"/>
                    <a:gd name="connsiteY67" fmla="*/ 366821 h 417884"/>
                    <a:gd name="connsiteX68" fmla="*/ 115357 w 416333"/>
                    <a:gd name="connsiteY68" fmla="*/ 371955 h 417884"/>
                    <a:gd name="connsiteX69" fmla="*/ 84058 w 416333"/>
                    <a:gd name="connsiteY69" fmla="*/ 372374 h 417884"/>
                    <a:gd name="connsiteX70" fmla="*/ 79400 w 416333"/>
                    <a:gd name="connsiteY70" fmla="*/ 373355 h 417884"/>
                    <a:gd name="connsiteX71" fmla="*/ 74457 w 416333"/>
                    <a:gd name="connsiteY71" fmla="*/ 372898 h 417884"/>
                    <a:gd name="connsiteX72" fmla="*/ 57798 w 416333"/>
                    <a:gd name="connsiteY72" fmla="*/ 372727 h 417884"/>
                    <a:gd name="connsiteX73" fmla="*/ 57178 w 416333"/>
                    <a:gd name="connsiteY73" fmla="*/ 360516 h 417884"/>
                    <a:gd name="connsiteX74" fmla="*/ 58569 w 416333"/>
                    <a:gd name="connsiteY74" fmla="*/ 351438 h 417884"/>
                    <a:gd name="connsiteX75" fmla="*/ 58417 w 416333"/>
                    <a:gd name="connsiteY75" fmla="*/ 340037 h 417884"/>
                    <a:gd name="connsiteX76" fmla="*/ 69228 w 416333"/>
                    <a:gd name="connsiteY76" fmla="*/ 335798 h 417884"/>
                    <a:gd name="connsiteX77" fmla="*/ 72904 w 416333"/>
                    <a:gd name="connsiteY77" fmla="*/ 329712 h 417884"/>
                    <a:gd name="connsiteX78" fmla="*/ 83439 w 416333"/>
                    <a:gd name="connsiteY78" fmla="*/ 326788 h 417884"/>
                    <a:gd name="connsiteX79" fmla="*/ 94555 w 416333"/>
                    <a:gd name="connsiteY79" fmla="*/ 326349 h 417884"/>
                    <a:gd name="connsiteX80" fmla="*/ 94631 w 416333"/>
                    <a:gd name="connsiteY80" fmla="*/ 317539 h 417884"/>
                    <a:gd name="connsiteX81" fmla="*/ 83487 w 416333"/>
                    <a:gd name="connsiteY81" fmla="*/ 308604 h 417884"/>
                    <a:gd name="connsiteX82" fmla="*/ 75790 w 416333"/>
                    <a:gd name="connsiteY82" fmla="*/ 295136 h 417884"/>
                    <a:gd name="connsiteX83" fmla="*/ 70951 w 416333"/>
                    <a:gd name="connsiteY83" fmla="*/ 281963 h 417884"/>
                    <a:gd name="connsiteX84" fmla="*/ 66323 w 416333"/>
                    <a:gd name="connsiteY84" fmla="*/ 276381 h 417884"/>
                    <a:gd name="connsiteX85" fmla="*/ 41662 w 416333"/>
                    <a:gd name="connsiteY85" fmla="*/ 266856 h 417884"/>
                    <a:gd name="connsiteX86" fmla="*/ 19841 w 416333"/>
                    <a:gd name="connsiteY86" fmla="*/ 244692 h 417884"/>
                    <a:gd name="connsiteX87" fmla="*/ 0 w 416333"/>
                    <a:gd name="connsiteY87" fmla="*/ 225546 h 417884"/>
                    <a:gd name="connsiteX88" fmla="*/ 51816 w 416333"/>
                    <a:gd name="connsiteY88" fmla="*/ 239729 h 417884"/>
                    <a:gd name="connsiteX89" fmla="*/ 82125 w 416333"/>
                    <a:gd name="connsiteY89" fmla="*/ 236995 h 417884"/>
                    <a:gd name="connsiteX90" fmla="*/ 93736 w 416333"/>
                    <a:gd name="connsiteY90" fmla="*/ 238700 h 417884"/>
                    <a:gd name="connsiteX91" fmla="*/ 98707 w 416333"/>
                    <a:gd name="connsiteY91" fmla="*/ 239919 h 417884"/>
                    <a:gd name="connsiteX92" fmla="*/ 101965 w 416333"/>
                    <a:gd name="connsiteY92" fmla="*/ 237729 h 417884"/>
                    <a:gd name="connsiteX93" fmla="*/ 121891 w 416333"/>
                    <a:gd name="connsiteY93" fmla="*/ 235071 h 417884"/>
                    <a:gd name="connsiteX94" fmla="*/ 145018 w 416333"/>
                    <a:gd name="connsiteY94" fmla="*/ 229966 h 417884"/>
                    <a:gd name="connsiteX95" fmla="*/ 157039 w 416333"/>
                    <a:gd name="connsiteY95" fmla="*/ 226289 h 417884"/>
                    <a:gd name="connsiteX96" fmla="*/ 157048 w 416333"/>
                    <a:gd name="connsiteY96" fmla="*/ 219184 h 417884"/>
                    <a:gd name="connsiteX97" fmla="*/ 153162 w 416333"/>
                    <a:gd name="connsiteY97" fmla="*/ 197819 h 417884"/>
                    <a:gd name="connsiteX98" fmla="*/ 164687 w 416333"/>
                    <a:gd name="connsiteY98" fmla="*/ 180284 h 417884"/>
                    <a:gd name="connsiteX99" fmla="*/ 177327 w 416333"/>
                    <a:gd name="connsiteY99" fmla="*/ 182655 h 417884"/>
                    <a:gd name="connsiteX100" fmla="*/ 188680 w 416333"/>
                    <a:gd name="connsiteY100" fmla="*/ 178760 h 417884"/>
                    <a:gd name="connsiteX101" fmla="*/ 183023 w 416333"/>
                    <a:gd name="connsiteY101" fmla="*/ 173121 h 417884"/>
                    <a:gd name="connsiteX102" fmla="*/ 194224 w 416333"/>
                    <a:gd name="connsiteY102" fmla="*/ 167530 h 417884"/>
                    <a:gd name="connsiteX103" fmla="*/ 201101 w 416333"/>
                    <a:gd name="connsiteY103" fmla="*/ 165291 h 417884"/>
                    <a:gd name="connsiteX104" fmla="*/ 211226 w 416333"/>
                    <a:gd name="connsiteY104" fmla="*/ 165329 h 417884"/>
                    <a:gd name="connsiteX105" fmla="*/ 221580 w 416333"/>
                    <a:gd name="connsiteY105" fmla="*/ 168558 h 417884"/>
                    <a:gd name="connsiteX106" fmla="*/ 226809 w 416333"/>
                    <a:gd name="connsiteY106" fmla="*/ 157500 h 417884"/>
                    <a:gd name="connsiteX107" fmla="*/ 221847 w 416333"/>
                    <a:gd name="connsiteY107" fmla="*/ 142964 h 417884"/>
                    <a:gd name="connsiteX108" fmla="*/ 223647 w 416333"/>
                    <a:gd name="connsiteY108" fmla="*/ 131906 h 417884"/>
                    <a:gd name="connsiteX109" fmla="*/ 227819 w 416333"/>
                    <a:gd name="connsiteY109" fmla="*/ 123705 h 417884"/>
                    <a:gd name="connsiteX110" fmla="*/ 241163 w 416333"/>
                    <a:gd name="connsiteY110" fmla="*/ 118266 h 417884"/>
                    <a:gd name="connsiteX111" fmla="*/ 226371 w 416333"/>
                    <a:gd name="connsiteY111" fmla="*/ 99740 h 417884"/>
                    <a:gd name="connsiteX112" fmla="*/ 245307 w 416333"/>
                    <a:gd name="connsiteY112" fmla="*/ 96625 h 417884"/>
                    <a:gd name="connsiteX113" fmla="*/ 253308 w 416333"/>
                    <a:gd name="connsiteY113" fmla="*/ 82443 h 417884"/>
                    <a:gd name="connsiteX114" fmla="*/ 250746 w 416333"/>
                    <a:gd name="connsiteY114" fmla="*/ 76928 h 417884"/>
                    <a:gd name="connsiteX115" fmla="*/ 255813 w 416333"/>
                    <a:gd name="connsiteY115" fmla="*/ 66812 h 417884"/>
                    <a:gd name="connsiteX116" fmla="*/ 260395 w 416333"/>
                    <a:gd name="connsiteY116" fmla="*/ 58859 h 417884"/>
                    <a:gd name="connsiteX117" fmla="*/ 257023 w 416333"/>
                    <a:gd name="connsiteY117" fmla="*/ 53887 h 417884"/>
                    <a:gd name="connsiteX118" fmla="*/ 255422 w 416333"/>
                    <a:gd name="connsiteY118" fmla="*/ 47067 h 417884"/>
                    <a:gd name="connsiteX119" fmla="*/ 246879 w 416333"/>
                    <a:gd name="connsiteY119" fmla="*/ 36532 h 417884"/>
                    <a:gd name="connsiteX120" fmla="*/ 238363 w 416333"/>
                    <a:gd name="connsiteY120" fmla="*/ 30798 h 417884"/>
                    <a:gd name="connsiteX121" fmla="*/ 245126 w 416333"/>
                    <a:gd name="connsiteY121" fmla="*/ 19711 h 417884"/>
                    <a:gd name="connsiteX122" fmla="*/ 252374 w 416333"/>
                    <a:gd name="connsiteY122" fmla="*/ 16063 h 417884"/>
                    <a:gd name="connsiteX123" fmla="*/ 261585 w 416333"/>
                    <a:gd name="connsiteY123" fmla="*/ 8862 h 417884"/>
                    <a:gd name="connsiteX124" fmla="*/ 286398 w 416333"/>
                    <a:gd name="connsiteY124" fmla="*/ 4614 h 417884"/>
                    <a:gd name="connsiteX125" fmla="*/ 300409 w 416333"/>
                    <a:gd name="connsiteY125" fmla="*/ 4157 h 417884"/>
                    <a:gd name="connsiteX126" fmla="*/ 309924 w 416333"/>
                    <a:gd name="connsiteY126" fmla="*/ 6100 h 417884"/>
                    <a:gd name="connsiteX127" fmla="*/ 320716 w 416333"/>
                    <a:gd name="connsiteY127" fmla="*/ 490 h 417884"/>
                    <a:gd name="connsiteX128" fmla="*/ 330975 w 416333"/>
                    <a:gd name="connsiteY128" fmla="*/ 1252 h 417884"/>
                    <a:gd name="connsiteX129" fmla="*/ 343024 w 416333"/>
                    <a:gd name="connsiteY129" fmla="*/ 2414 h 417884"/>
                    <a:gd name="connsiteX130" fmla="*/ 351682 w 416333"/>
                    <a:gd name="connsiteY130" fmla="*/ 9214 h 417884"/>
                    <a:gd name="connsiteX131" fmla="*/ 358321 w 416333"/>
                    <a:gd name="connsiteY131" fmla="*/ 9138 h 417884"/>
                    <a:gd name="connsiteX132" fmla="*/ 364360 w 416333"/>
                    <a:gd name="connsiteY132" fmla="*/ 12424 h 417884"/>
                    <a:gd name="connsiteX133" fmla="*/ 372160 w 416333"/>
                    <a:gd name="connsiteY133" fmla="*/ 24359 h 417884"/>
                    <a:gd name="connsiteX134" fmla="*/ 374237 w 416333"/>
                    <a:gd name="connsiteY134" fmla="*/ 31579 h 417884"/>
                    <a:gd name="connsiteX135" fmla="*/ 382867 w 416333"/>
                    <a:gd name="connsiteY135" fmla="*/ 37789 h 417884"/>
                    <a:gd name="connsiteX136" fmla="*/ 392773 w 416333"/>
                    <a:gd name="connsiteY136" fmla="*/ 35761 h 417884"/>
                    <a:gd name="connsiteX137" fmla="*/ 402050 w 416333"/>
                    <a:gd name="connsiteY137" fmla="*/ 42743 h 417884"/>
                    <a:gd name="connsiteX138" fmla="*/ 402050 w 416333"/>
                    <a:gd name="connsiteY138" fmla="*/ 42743 h 417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416333" h="417884">
                      <a:moveTo>
                        <a:pt x="402050" y="42743"/>
                      </a:moveTo>
                      <a:cubicBezTo>
                        <a:pt x="405917" y="47286"/>
                        <a:pt x="410508" y="51706"/>
                        <a:pt x="413880" y="56620"/>
                      </a:cubicBezTo>
                      <a:cubicBezTo>
                        <a:pt x="418005" y="62602"/>
                        <a:pt x="416747" y="64059"/>
                        <a:pt x="411461" y="68146"/>
                      </a:cubicBezTo>
                      <a:cubicBezTo>
                        <a:pt x="409175" y="69917"/>
                        <a:pt x="408956" y="70603"/>
                        <a:pt x="405898" y="71708"/>
                      </a:cubicBezTo>
                      <a:cubicBezTo>
                        <a:pt x="403412" y="72594"/>
                        <a:pt x="399421" y="72994"/>
                        <a:pt x="396544" y="74042"/>
                      </a:cubicBezTo>
                      <a:cubicBezTo>
                        <a:pt x="390258" y="76309"/>
                        <a:pt x="386076" y="80061"/>
                        <a:pt x="378590" y="78337"/>
                      </a:cubicBezTo>
                      <a:cubicBezTo>
                        <a:pt x="368475" y="76023"/>
                        <a:pt x="345281" y="66393"/>
                        <a:pt x="336204" y="73670"/>
                      </a:cubicBezTo>
                      <a:cubicBezTo>
                        <a:pt x="332374" y="76737"/>
                        <a:pt x="331118" y="81185"/>
                        <a:pt x="334146" y="85167"/>
                      </a:cubicBezTo>
                      <a:cubicBezTo>
                        <a:pt x="335261" y="86643"/>
                        <a:pt x="338204" y="87577"/>
                        <a:pt x="339490" y="89425"/>
                      </a:cubicBezTo>
                      <a:cubicBezTo>
                        <a:pt x="340090" y="90301"/>
                        <a:pt x="337871" y="91882"/>
                        <a:pt x="339652" y="93730"/>
                      </a:cubicBezTo>
                      <a:cubicBezTo>
                        <a:pt x="344005" y="98273"/>
                        <a:pt x="350796" y="91358"/>
                        <a:pt x="348919" y="99054"/>
                      </a:cubicBezTo>
                      <a:cubicBezTo>
                        <a:pt x="348215" y="101912"/>
                        <a:pt x="343652" y="99721"/>
                        <a:pt x="345177" y="104693"/>
                      </a:cubicBezTo>
                      <a:cubicBezTo>
                        <a:pt x="346091" y="107646"/>
                        <a:pt x="350129" y="107341"/>
                        <a:pt x="351587" y="109713"/>
                      </a:cubicBezTo>
                      <a:cubicBezTo>
                        <a:pt x="354520" y="114485"/>
                        <a:pt x="349910" y="117352"/>
                        <a:pt x="352996" y="121714"/>
                      </a:cubicBezTo>
                      <a:cubicBezTo>
                        <a:pt x="354511" y="123867"/>
                        <a:pt x="357807" y="124448"/>
                        <a:pt x="359797" y="125934"/>
                      </a:cubicBezTo>
                      <a:cubicBezTo>
                        <a:pt x="362016" y="127601"/>
                        <a:pt x="362826" y="129734"/>
                        <a:pt x="364645" y="131382"/>
                      </a:cubicBezTo>
                      <a:cubicBezTo>
                        <a:pt x="368112" y="134525"/>
                        <a:pt x="373046" y="133268"/>
                        <a:pt x="376066" y="136545"/>
                      </a:cubicBezTo>
                      <a:cubicBezTo>
                        <a:pt x="378476" y="139155"/>
                        <a:pt x="376961" y="141364"/>
                        <a:pt x="380742" y="143117"/>
                      </a:cubicBezTo>
                      <a:cubicBezTo>
                        <a:pt x="383734" y="144508"/>
                        <a:pt x="387734" y="143622"/>
                        <a:pt x="391030" y="144498"/>
                      </a:cubicBezTo>
                      <a:cubicBezTo>
                        <a:pt x="398212" y="146413"/>
                        <a:pt x="403622" y="149718"/>
                        <a:pt x="396573" y="154795"/>
                      </a:cubicBezTo>
                      <a:cubicBezTo>
                        <a:pt x="392344" y="157843"/>
                        <a:pt x="382943" y="158776"/>
                        <a:pt x="382400" y="165453"/>
                      </a:cubicBezTo>
                      <a:cubicBezTo>
                        <a:pt x="382143" y="168539"/>
                        <a:pt x="385467" y="170511"/>
                        <a:pt x="386591" y="173140"/>
                      </a:cubicBezTo>
                      <a:cubicBezTo>
                        <a:pt x="387877" y="176121"/>
                        <a:pt x="386943" y="179683"/>
                        <a:pt x="388191" y="182541"/>
                      </a:cubicBezTo>
                      <a:cubicBezTo>
                        <a:pt x="391030" y="189037"/>
                        <a:pt x="395183" y="186265"/>
                        <a:pt x="388220" y="192380"/>
                      </a:cubicBezTo>
                      <a:cubicBezTo>
                        <a:pt x="385077" y="195143"/>
                        <a:pt x="378295" y="203639"/>
                        <a:pt x="378209" y="208325"/>
                      </a:cubicBezTo>
                      <a:cubicBezTo>
                        <a:pt x="378161" y="210687"/>
                        <a:pt x="381448" y="211935"/>
                        <a:pt x="381238" y="214107"/>
                      </a:cubicBezTo>
                      <a:cubicBezTo>
                        <a:pt x="380905" y="217641"/>
                        <a:pt x="377209" y="218831"/>
                        <a:pt x="374675" y="220212"/>
                      </a:cubicBezTo>
                      <a:cubicBezTo>
                        <a:pt x="370237" y="222622"/>
                        <a:pt x="369637" y="221431"/>
                        <a:pt x="367875" y="225708"/>
                      </a:cubicBezTo>
                      <a:cubicBezTo>
                        <a:pt x="366732" y="228489"/>
                        <a:pt x="367732" y="232671"/>
                        <a:pt x="367312" y="235671"/>
                      </a:cubicBezTo>
                      <a:cubicBezTo>
                        <a:pt x="366217" y="243672"/>
                        <a:pt x="364550" y="249711"/>
                        <a:pt x="358368" y="254378"/>
                      </a:cubicBezTo>
                      <a:cubicBezTo>
                        <a:pt x="355739" y="256360"/>
                        <a:pt x="351139" y="257598"/>
                        <a:pt x="349244" y="260189"/>
                      </a:cubicBezTo>
                      <a:cubicBezTo>
                        <a:pt x="347100" y="263103"/>
                        <a:pt x="348100" y="266209"/>
                        <a:pt x="347281" y="269609"/>
                      </a:cubicBezTo>
                      <a:cubicBezTo>
                        <a:pt x="346472" y="273009"/>
                        <a:pt x="344138" y="274933"/>
                        <a:pt x="342966" y="278086"/>
                      </a:cubicBezTo>
                      <a:cubicBezTo>
                        <a:pt x="341204" y="282849"/>
                        <a:pt x="343338" y="283592"/>
                        <a:pt x="339280" y="286354"/>
                      </a:cubicBezTo>
                      <a:cubicBezTo>
                        <a:pt x="334251" y="289773"/>
                        <a:pt x="325069" y="289192"/>
                        <a:pt x="319173" y="291269"/>
                      </a:cubicBezTo>
                      <a:cubicBezTo>
                        <a:pt x="309391" y="294698"/>
                        <a:pt x="311601" y="290297"/>
                        <a:pt x="304705" y="285335"/>
                      </a:cubicBezTo>
                      <a:cubicBezTo>
                        <a:pt x="298256" y="280696"/>
                        <a:pt x="294170" y="285744"/>
                        <a:pt x="291512" y="291269"/>
                      </a:cubicBezTo>
                      <a:cubicBezTo>
                        <a:pt x="290103" y="294231"/>
                        <a:pt x="289750" y="297774"/>
                        <a:pt x="288169" y="300689"/>
                      </a:cubicBezTo>
                      <a:cubicBezTo>
                        <a:pt x="286721" y="303366"/>
                        <a:pt x="283693" y="305442"/>
                        <a:pt x="282416" y="308109"/>
                      </a:cubicBezTo>
                      <a:cubicBezTo>
                        <a:pt x="280330" y="312414"/>
                        <a:pt x="279159" y="319510"/>
                        <a:pt x="282702" y="323463"/>
                      </a:cubicBezTo>
                      <a:cubicBezTo>
                        <a:pt x="287731" y="329064"/>
                        <a:pt x="297713" y="325892"/>
                        <a:pt x="302771" y="329835"/>
                      </a:cubicBezTo>
                      <a:cubicBezTo>
                        <a:pt x="307705" y="333684"/>
                        <a:pt x="304619" y="341189"/>
                        <a:pt x="306105" y="346123"/>
                      </a:cubicBezTo>
                      <a:cubicBezTo>
                        <a:pt x="308134" y="352915"/>
                        <a:pt x="313773" y="356191"/>
                        <a:pt x="320097" y="357115"/>
                      </a:cubicBezTo>
                      <a:cubicBezTo>
                        <a:pt x="328250" y="358306"/>
                        <a:pt x="324241" y="357191"/>
                        <a:pt x="328413" y="365240"/>
                      </a:cubicBezTo>
                      <a:cubicBezTo>
                        <a:pt x="331298" y="370793"/>
                        <a:pt x="337480" y="375937"/>
                        <a:pt x="341195" y="381185"/>
                      </a:cubicBezTo>
                      <a:cubicBezTo>
                        <a:pt x="345338" y="387043"/>
                        <a:pt x="344852" y="388005"/>
                        <a:pt x="345662" y="393920"/>
                      </a:cubicBezTo>
                      <a:cubicBezTo>
                        <a:pt x="346320" y="398797"/>
                        <a:pt x="350168" y="396377"/>
                        <a:pt x="343814" y="399920"/>
                      </a:cubicBezTo>
                      <a:cubicBezTo>
                        <a:pt x="341595" y="401159"/>
                        <a:pt x="342195" y="402654"/>
                        <a:pt x="339118" y="402492"/>
                      </a:cubicBezTo>
                      <a:cubicBezTo>
                        <a:pt x="335080" y="402283"/>
                        <a:pt x="335813" y="398349"/>
                        <a:pt x="334080" y="397692"/>
                      </a:cubicBezTo>
                      <a:cubicBezTo>
                        <a:pt x="328946" y="395739"/>
                        <a:pt x="323926" y="400997"/>
                        <a:pt x="320087" y="402902"/>
                      </a:cubicBezTo>
                      <a:cubicBezTo>
                        <a:pt x="312934" y="406464"/>
                        <a:pt x="308905" y="402321"/>
                        <a:pt x="301418" y="401435"/>
                      </a:cubicBezTo>
                      <a:cubicBezTo>
                        <a:pt x="296046" y="400797"/>
                        <a:pt x="288827" y="401054"/>
                        <a:pt x="283978" y="401654"/>
                      </a:cubicBezTo>
                      <a:cubicBezTo>
                        <a:pt x="282559" y="401835"/>
                        <a:pt x="281435" y="399130"/>
                        <a:pt x="280092" y="400930"/>
                      </a:cubicBezTo>
                      <a:cubicBezTo>
                        <a:pt x="278835" y="402616"/>
                        <a:pt x="281711" y="409426"/>
                        <a:pt x="282130" y="411227"/>
                      </a:cubicBezTo>
                      <a:cubicBezTo>
                        <a:pt x="276197" y="411122"/>
                        <a:pt x="266176" y="410179"/>
                        <a:pt x="265386" y="417885"/>
                      </a:cubicBezTo>
                      <a:cubicBezTo>
                        <a:pt x="262794" y="413551"/>
                        <a:pt x="259746" y="417123"/>
                        <a:pt x="256556" y="413179"/>
                      </a:cubicBezTo>
                      <a:cubicBezTo>
                        <a:pt x="255861" y="417427"/>
                        <a:pt x="250498" y="416856"/>
                        <a:pt x="249964" y="412636"/>
                      </a:cubicBezTo>
                      <a:cubicBezTo>
                        <a:pt x="246355" y="415132"/>
                        <a:pt x="238801" y="404769"/>
                        <a:pt x="237077" y="401835"/>
                      </a:cubicBezTo>
                      <a:cubicBezTo>
                        <a:pt x="232096" y="393310"/>
                        <a:pt x="232143" y="386376"/>
                        <a:pt x="221799" y="384280"/>
                      </a:cubicBezTo>
                      <a:cubicBezTo>
                        <a:pt x="216627" y="383233"/>
                        <a:pt x="215617" y="383928"/>
                        <a:pt x="213170" y="379947"/>
                      </a:cubicBezTo>
                      <a:cubicBezTo>
                        <a:pt x="211150" y="376660"/>
                        <a:pt x="211426" y="372669"/>
                        <a:pt x="208921" y="369079"/>
                      </a:cubicBezTo>
                      <a:cubicBezTo>
                        <a:pt x="206587" y="365726"/>
                        <a:pt x="194062" y="353029"/>
                        <a:pt x="192348" y="363059"/>
                      </a:cubicBezTo>
                      <a:cubicBezTo>
                        <a:pt x="196215" y="362801"/>
                        <a:pt x="199596" y="361973"/>
                        <a:pt x="202816" y="364573"/>
                      </a:cubicBezTo>
                      <a:cubicBezTo>
                        <a:pt x="194377" y="363525"/>
                        <a:pt x="187547" y="366392"/>
                        <a:pt x="179461" y="367374"/>
                      </a:cubicBezTo>
                      <a:cubicBezTo>
                        <a:pt x="170621" y="368440"/>
                        <a:pt x="160744" y="367859"/>
                        <a:pt x="152505" y="369917"/>
                      </a:cubicBezTo>
                      <a:cubicBezTo>
                        <a:pt x="150343" y="370460"/>
                        <a:pt x="151095" y="371812"/>
                        <a:pt x="148476" y="372098"/>
                      </a:cubicBezTo>
                      <a:cubicBezTo>
                        <a:pt x="147914" y="372155"/>
                        <a:pt x="145494" y="370841"/>
                        <a:pt x="144780" y="370660"/>
                      </a:cubicBezTo>
                      <a:cubicBezTo>
                        <a:pt x="141370" y="369793"/>
                        <a:pt x="136055" y="367202"/>
                        <a:pt x="133131" y="366821"/>
                      </a:cubicBezTo>
                      <a:cubicBezTo>
                        <a:pt x="129768" y="366383"/>
                        <a:pt x="112947" y="364640"/>
                        <a:pt x="115357" y="371955"/>
                      </a:cubicBezTo>
                      <a:cubicBezTo>
                        <a:pt x="104432" y="371441"/>
                        <a:pt x="94526" y="370260"/>
                        <a:pt x="84058" y="372374"/>
                      </a:cubicBezTo>
                      <a:cubicBezTo>
                        <a:pt x="82496" y="372689"/>
                        <a:pt x="80819" y="373174"/>
                        <a:pt x="79400" y="373355"/>
                      </a:cubicBezTo>
                      <a:cubicBezTo>
                        <a:pt x="78734" y="373441"/>
                        <a:pt x="75457" y="372831"/>
                        <a:pt x="74457" y="372898"/>
                      </a:cubicBezTo>
                      <a:cubicBezTo>
                        <a:pt x="68485" y="373298"/>
                        <a:pt x="64265" y="374736"/>
                        <a:pt x="57798" y="372727"/>
                      </a:cubicBezTo>
                      <a:cubicBezTo>
                        <a:pt x="59217" y="368840"/>
                        <a:pt x="57435" y="364697"/>
                        <a:pt x="57178" y="360516"/>
                      </a:cubicBezTo>
                      <a:cubicBezTo>
                        <a:pt x="56912" y="356296"/>
                        <a:pt x="58350" y="354696"/>
                        <a:pt x="58569" y="351438"/>
                      </a:cubicBezTo>
                      <a:cubicBezTo>
                        <a:pt x="58778" y="348181"/>
                        <a:pt x="56598" y="342970"/>
                        <a:pt x="58417" y="340037"/>
                      </a:cubicBezTo>
                      <a:cubicBezTo>
                        <a:pt x="60503" y="336674"/>
                        <a:pt x="67408" y="337417"/>
                        <a:pt x="69228" y="335798"/>
                      </a:cubicBezTo>
                      <a:cubicBezTo>
                        <a:pt x="70638" y="334550"/>
                        <a:pt x="70295" y="331379"/>
                        <a:pt x="72904" y="329712"/>
                      </a:cubicBezTo>
                      <a:cubicBezTo>
                        <a:pt x="74952" y="328397"/>
                        <a:pt x="81000" y="327102"/>
                        <a:pt x="83439" y="326788"/>
                      </a:cubicBezTo>
                      <a:cubicBezTo>
                        <a:pt x="86296" y="326435"/>
                        <a:pt x="92373" y="328712"/>
                        <a:pt x="94555" y="326349"/>
                      </a:cubicBezTo>
                      <a:cubicBezTo>
                        <a:pt x="95240" y="325606"/>
                        <a:pt x="94555" y="318615"/>
                        <a:pt x="94631" y="317539"/>
                      </a:cubicBezTo>
                      <a:cubicBezTo>
                        <a:pt x="95364" y="307795"/>
                        <a:pt x="92154" y="309166"/>
                        <a:pt x="83487" y="308604"/>
                      </a:cubicBezTo>
                      <a:cubicBezTo>
                        <a:pt x="74905" y="308052"/>
                        <a:pt x="78048" y="302165"/>
                        <a:pt x="75790" y="295136"/>
                      </a:cubicBezTo>
                      <a:cubicBezTo>
                        <a:pt x="74371" y="290678"/>
                        <a:pt x="72476" y="286316"/>
                        <a:pt x="70951" y="281963"/>
                      </a:cubicBezTo>
                      <a:cubicBezTo>
                        <a:pt x="68409" y="274705"/>
                        <a:pt x="71075" y="279153"/>
                        <a:pt x="66323" y="276381"/>
                      </a:cubicBezTo>
                      <a:cubicBezTo>
                        <a:pt x="59188" y="272219"/>
                        <a:pt x="49387" y="270904"/>
                        <a:pt x="41662" y="266856"/>
                      </a:cubicBezTo>
                      <a:cubicBezTo>
                        <a:pt x="32738" y="262189"/>
                        <a:pt x="25946" y="252369"/>
                        <a:pt x="19841" y="244692"/>
                      </a:cubicBezTo>
                      <a:cubicBezTo>
                        <a:pt x="14211" y="237605"/>
                        <a:pt x="7220" y="231709"/>
                        <a:pt x="0" y="225546"/>
                      </a:cubicBezTo>
                      <a:cubicBezTo>
                        <a:pt x="16230" y="230156"/>
                        <a:pt x="35023" y="238672"/>
                        <a:pt x="51816" y="239729"/>
                      </a:cubicBezTo>
                      <a:cubicBezTo>
                        <a:pt x="61817" y="240348"/>
                        <a:pt x="72094" y="236814"/>
                        <a:pt x="82125" y="236995"/>
                      </a:cubicBezTo>
                      <a:cubicBezTo>
                        <a:pt x="86001" y="237062"/>
                        <a:pt x="89868" y="238110"/>
                        <a:pt x="93736" y="238700"/>
                      </a:cubicBezTo>
                      <a:cubicBezTo>
                        <a:pt x="94898" y="238881"/>
                        <a:pt x="97774" y="240091"/>
                        <a:pt x="98707" y="239919"/>
                      </a:cubicBezTo>
                      <a:cubicBezTo>
                        <a:pt x="100441" y="239615"/>
                        <a:pt x="100165" y="238367"/>
                        <a:pt x="101965" y="237729"/>
                      </a:cubicBezTo>
                      <a:cubicBezTo>
                        <a:pt x="109156" y="235148"/>
                        <a:pt x="114233" y="235071"/>
                        <a:pt x="121891" y="235071"/>
                      </a:cubicBezTo>
                      <a:cubicBezTo>
                        <a:pt x="129930" y="235071"/>
                        <a:pt x="137350" y="232271"/>
                        <a:pt x="145018" y="229966"/>
                      </a:cubicBezTo>
                      <a:cubicBezTo>
                        <a:pt x="147666" y="229175"/>
                        <a:pt x="154934" y="228080"/>
                        <a:pt x="157039" y="226289"/>
                      </a:cubicBezTo>
                      <a:cubicBezTo>
                        <a:pt x="161591" y="222403"/>
                        <a:pt x="157839" y="223222"/>
                        <a:pt x="157048" y="219184"/>
                      </a:cubicBezTo>
                      <a:cubicBezTo>
                        <a:pt x="155810" y="212945"/>
                        <a:pt x="152905" y="204296"/>
                        <a:pt x="153162" y="197819"/>
                      </a:cubicBezTo>
                      <a:cubicBezTo>
                        <a:pt x="153295" y="194533"/>
                        <a:pt x="160696" y="181522"/>
                        <a:pt x="164687" y="180284"/>
                      </a:cubicBezTo>
                      <a:cubicBezTo>
                        <a:pt x="168593" y="179074"/>
                        <a:pt x="173069" y="182712"/>
                        <a:pt x="177327" y="182655"/>
                      </a:cubicBezTo>
                      <a:cubicBezTo>
                        <a:pt x="181527" y="182608"/>
                        <a:pt x="185223" y="180979"/>
                        <a:pt x="188680" y="178760"/>
                      </a:cubicBezTo>
                      <a:cubicBezTo>
                        <a:pt x="187071" y="177226"/>
                        <a:pt x="182127" y="175740"/>
                        <a:pt x="183023" y="173121"/>
                      </a:cubicBezTo>
                      <a:cubicBezTo>
                        <a:pt x="183137" y="172816"/>
                        <a:pt x="192919" y="168339"/>
                        <a:pt x="194224" y="167530"/>
                      </a:cubicBezTo>
                      <a:cubicBezTo>
                        <a:pt x="199263" y="164396"/>
                        <a:pt x="195215" y="166072"/>
                        <a:pt x="201101" y="165291"/>
                      </a:cubicBezTo>
                      <a:cubicBezTo>
                        <a:pt x="204416" y="164853"/>
                        <a:pt x="208188" y="164472"/>
                        <a:pt x="211226" y="165329"/>
                      </a:cubicBezTo>
                      <a:cubicBezTo>
                        <a:pt x="215760" y="166615"/>
                        <a:pt x="215875" y="171244"/>
                        <a:pt x="221580" y="168558"/>
                      </a:cubicBezTo>
                      <a:cubicBezTo>
                        <a:pt x="225837" y="166558"/>
                        <a:pt x="227219" y="161157"/>
                        <a:pt x="226809" y="157500"/>
                      </a:cubicBezTo>
                      <a:cubicBezTo>
                        <a:pt x="226219" y="152385"/>
                        <a:pt x="221799" y="148175"/>
                        <a:pt x="221847" y="142964"/>
                      </a:cubicBezTo>
                      <a:cubicBezTo>
                        <a:pt x="221885" y="139507"/>
                        <a:pt x="223523" y="135611"/>
                        <a:pt x="223647" y="131906"/>
                      </a:cubicBezTo>
                      <a:cubicBezTo>
                        <a:pt x="223847" y="125924"/>
                        <a:pt x="222199" y="126039"/>
                        <a:pt x="227819" y="123705"/>
                      </a:cubicBezTo>
                      <a:cubicBezTo>
                        <a:pt x="231591" y="122143"/>
                        <a:pt x="238839" y="123257"/>
                        <a:pt x="241163" y="118266"/>
                      </a:cubicBezTo>
                      <a:cubicBezTo>
                        <a:pt x="244430" y="111275"/>
                        <a:pt x="230248" y="104960"/>
                        <a:pt x="226371" y="99740"/>
                      </a:cubicBezTo>
                      <a:cubicBezTo>
                        <a:pt x="218894" y="89701"/>
                        <a:pt x="239039" y="97044"/>
                        <a:pt x="245307" y="96625"/>
                      </a:cubicBezTo>
                      <a:cubicBezTo>
                        <a:pt x="256489" y="95882"/>
                        <a:pt x="259127" y="91720"/>
                        <a:pt x="253308" y="82443"/>
                      </a:cubicBezTo>
                      <a:cubicBezTo>
                        <a:pt x="250707" y="78290"/>
                        <a:pt x="250327" y="80833"/>
                        <a:pt x="250746" y="76928"/>
                      </a:cubicBezTo>
                      <a:cubicBezTo>
                        <a:pt x="251117" y="73565"/>
                        <a:pt x="254089" y="69594"/>
                        <a:pt x="255813" y="66812"/>
                      </a:cubicBezTo>
                      <a:cubicBezTo>
                        <a:pt x="257004" y="64879"/>
                        <a:pt x="260680" y="61573"/>
                        <a:pt x="260395" y="58859"/>
                      </a:cubicBezTo>
                      <a:cubicBezTo>
                        <a:pt x="260166" y="56497"/>
                        <a:pt x="257956" y="56106"/>
                        <a:pt x="257023" y="53887"/>
                      </a:cubicBezTo>
                      <a:cubicBezTo>
                        <a:pt x="256080" y="51648"/>
                        <a:pt x="256851" y="49839"/>
                        <a:pt x="255422" y="47067"/>
                      </a:cubicBezTo>
                      <a:cubicBezTo>
                        <a:pt x="253860" y="44028"/>
                        <a:pt x="249479" y="38942"/>
                        <a:pt x="246879" y="36532"/>
                      </a:cubicBezTo>
                      <a:cubicBezTo>
                        <a:pt x="244954" y="34751"/>
                        <a:pt x="239163" y="33037"/>
                        <a:pt x="238363" y="30798"/>
                      </a:cubicBezTo>
                      <a:cubicBezTo>
                        <a:pt x="237687" y="28903"/>
                        <a:pt x="243744" y="20854"/>
                        <a:pt x="245126" y="19711"/>
                      </a:cubicBezTo>
                      <a:cubicBezTo>
                        <a:pt x="247126" y="18063"/>
                        <a:pt x="249917" y="17635"/>
                        <a:pt x="252374" y="16063"/>
                      </a:cubicBezTo>
                      <a:cubicBezTo>
                        <a:pt x="256089" y="13691"/>
                        <a:pt x="257984" y="10767"/>
                        <a:pt x="261585" y="8862"/>
                      </a:cubicBezTo>
                      <a:cubicBezTo>
                        <a:pt x="268748" y="5062"/>
                        <a:pt x="278454" y="5223"/>
                        <a:pt x="286398" y="4614"/>
                      </a:cubicBezTo>
                      <a:cubicBezTo>
                        <a:pt x="290884" y="4261"/>
                        <a:pt x="295932" y="3776"/>
                        <a:pt x="300409" y="4157"/>
                      </a:cubicBezTo>
                      <a:cubicBezTo>
                        <a:pt x="303381" y="4414"/>
                        <a:pt x="307077" y="6547"/>
                        <a:pt x="309924" y="6100"/>
                      </a:cubicBezTo>
                      <a:cubicBezTo>
                        <a:pt x="313430" y="5547"/>
                        <a:pt x="317087" y="1518"/>
                        <a:pt x="320716" y="490"/>
                      </a:cubicBezTo>
                      <a:cubicBezTo>
                        <a:pt x="325050" y="-739"/>
                        <a:pt x="326746" y="661"/>
                        <a:pt x="330975" y="1252"/>
                      </a:cubicBezTo>
                      <a:cubicBezTo>
                        <a:pt x="334861" y="1785"/>
                        <a:pt x="338842" y="775"/>
                        <a:pt x="343024" y="2414"/>
                      </a:cubicBezTo>
                      <a:cubicBezTo>
                        <a:pt x="347129" y="4023"/>
                        <a:pt x="348262" y="7681"/>
                        <a:pt x="351682" y="9214"/>
                      </a:cubicBezTo>
                      <a:cubicBezTo>
                        <a:pt x="352558" y="9605"/>
                        <a:pt x="356635" y="8710"/>
                        <a:pt x="358321" y="9138"/>
                      </a:cubicBezTo>
                      <a:cubicBezTo>
                        <a:pt x="360483" y="9691"/>
                        <a:pt x="362645" y="11062"/>
                        <a:pt x="364360" y="12424"/>
                      </a:cubicBezTo>
                      <a:cubicBezTo>
                        <a:pt x="368084" y="15387"/>
                        <a:pt x="370865" y="19797"/>
                        <a:pt x="372160" y="24359"/>
                      </a:cubicBezTo>
                      <a:cubicBezTo>
                        <a:pt x="373132" y="27741"/>
                        <a:pt x="371923" y="28769"/>
                        <a:pt x="374237" y="31579"/>
                      </a:cubicBezTo>
                      <a:cubicBezTo>
                        <a:pt x="374332" y="31693"/>
                        <a:pt x="382991" y="37837"/>
                        <a:pt x="382867" y="37789"/>
                      </a:cubicBezTo>
                      <a:cubicBezTo>
                        <a:pt x="386410" y="39171"/>
                        <a:pt x="389791" y="35027"/>
                        <a:pt x="392773" y="35761"/>
                      </a:cubicBezTo>
                      <a:cubicBezTo>
                        <a:pt x="394154" y="36075"/>
                        <a:pt x="399040" y="41542"/>
                        <a:pt x="402050" y="42743"/>
                      </a:cubicBezTo>
                      <a:lnTo>
                        <a:pt x="402050" y="42743"/>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88" name="Freeform: Shape 587">
                  <a:extLst>
                    <a:ext uri="{FF2B5EF4-FFF2-40B4-BE49-F238E27FC236}">
                      <a16:creationId xmlns:a16="http://schemas.microsoft.com/office/drawing/2014/main" id="{01E3D64E-2B96-4DE2-9F9A-273C386AC0C3}"/>
                    </a:ext>
                  </a:extLst>
                </p:cNvPr>
                <p:cNvSpPr/>
                <p:nvPr/>
              </p:nvSpPr>
              <p:spPr>
                <a:xfrm>
                  <a:off x="7186307" y="3578044"/>
                  <a:ext cx="221392" cy="261080"/>
                </a:xfrm>
                <a:custGeom>
                  <a:avLst/>
                  <a:gdLst>
                    <a:gd name="connsiteX0" fmla="*/ 100432 w 221392"/>
                    <a:gd name="connsiteY0" fmla="*/ 0 h 261080"/>
                    <a:gd name="connsiteX1" fmla="*/ 132607 w 221392"/>
                    <a:gd name="connsiteY1" fmla="*/ 33385 h 261080"/>
                    <a:gd name="connsiteX2" fmla="*/ 158315 w 221392"/>
                    <a:gd name="connsiteY2" fmla="*/ 39405 h 261080"/>
                    <a:gd name="connsiteX3" fmla="*/ 167478 w 221392"/>
                    <a:gd name="connsiteY3" fmla="*/ 42682 h 261080"/>
                    <a:gd name="connsiteX4" fmla="*/ 177441 w 221392"/>
                    <a:gd name="connsiteY4" fmla="*/ 43482 h 261080"/>
                    <a:gd name="connsiteX5" fmla="*/ 210769 w 221392"/>
                    <a:gd name="connsiteY5" fmla="*/ 75600 h 261080"/>
                    <a:gd name="connsiteX6" fmla="*/ 220418 w 221392"/>
                    <a:gd name="connsiteY6" fmla="*/ 79181 h 261080"/>
                    <a:gd name="connsiteX7" fmla="*/ 219760 w 221392"/>
                    <a:gd name="connsiteY7" fmla="*/ 89516 h 261080"/>
                    <a:gd name="connsiteX8" fmla="*/ 211626 w 221392"/>
                    <a:gd name="connsiteY8" fmla="*/ 110576 h 261080"/>
                    <a:gd name="connsiteX9" fmla="*/ 200930 w 221392"/>
                    <a:gd name="connsiteY9" fmla="*/ 120853 h 261080"/>
                    <a:gd name="connsiteX10" fmla="*/ 195263 w 221392"/>
                    <a:gd name="connsiteY10" fmla="*/ 132960 h 261080"/>
                    <a:gd name="connsiteX11" fmla="*/ 188671 w 221392"/>
                    <a:gd name="connsiteY11" fmla="*/ 144466 h 261080"/>
                    <a:gd name="connsiteX12" fmla="*/ 183346 w 221392"/>
                    <a:gd name="connsiteY12" fmla="*/ 137951 h 261080"/>
                    <a:gd name="connsiteX13" fmla="*/ 172298 w 221392"/>
                    <a:gd name="connsiteY13" fmla="*/ 164068 h 261080"/>
                    <a:gd name="connsiteX14" fmla="*/ 175622 w 221392"/>
                    <a:gd name="connsiteY14" fmla="*/ 178489 h 261080"/>
                    <a:gd name="connsiteX15" fmla="*/ 174803 w 221392"/>
                    <a:gd name="connsiteY15" fmla="*/ 189614 h 261080"/>
                    <a:gd name="connsiteX16" fmla="*/ 145352 w 221392"/>
                    <a:gd name="connsiteY16" fmla="*/ 201578 h 261080"/>
                    <a:gd name="connsiteX17" fmla="*/ 140722 w 221392"/>
                    <a:gd name="connsiteY17" fmla="*/ 219304 h 261080"/>
                    <a:gd name="connsiteX18" fmla="*/ 123758 w 221392"/>
                    <a:gd name="connsiteY18" fmla="*/ 222466 h 261080"/>
                    <a:gd name="connsiteX19" fmla="*/ 109308 w 221392"/>
                    <a:gd name="connsiteY19" fmla="*/ 229772 h 261080"/>
                    <a:gd name="connsiteX20" fmla="*/ 108632 w 221392"/>
                    <a:gd name="connsiteY20" fmla="*/ 242021 h 261080"/>
                    <a:gd name="connsiteX21" fmla="*/ 82248 w 221392"/>
                    <a:gd name="connsiteY21" fmla="*/ 250298 h 261080"/>
                    <a:gd name="connsiteX22" fmla="*/ 67418 w 221392"/>
                    <a:gd name="connsiteY22" fmla="*/ 254899 h 261080"/>
                    <a:gd name="connsiteX23" fmla="*/ 51378 w 221392"/>
                    <a:gd name="connsiteY23" fmla="*/ 259956 h 261080"/>
                    <a:gd name="connsiteX24" fmla="*/ 39519 w 221392"/>
                    <a:gd name="connsiteY24" fmla="*/ 254013 h 261080"/>
                    <a:gd name="connsiteX25" fmla="*/ 29784 w 221392"/>
                    <a:gd name="connsiteY25" fmla="*/ 240316 h 261080"/>
                    <a:gd name="connsiteX26" fmla="*/ 0 w 221392"/>
                    <a:gd name="connsiteY26" fmla="*/ 188452 h 261080"/>
                    <a:gd name="connsiteX27" fmla="*/ 44005 w 221392"/>
                    <a:gd name="connsiteY27" fmla="*/ 172536 h 261080"/>
                    <a:gd name="connsiteX28" fmla="*/ 66427 w 221392"/>
                    <a:gd name="connsiteY28" fmla="*/ 164411 h 261080"/>
                    <a:gd name="connsiteX29" fmla="*/ 86992 w 221392"/>
                    <a:gd name="connsiteY29" fmla="*/ 155858 h 261080"/>
                    <a:gd name="connsiteX30" fmla="*/ 90601 w 221392"/>
                    <a:gd name="connsiteY30" fmla="*/ 132740 h 261080"/>
                    <a:gd name="connsiteX31" fmla="*/ 93993 w 221392"/>
                    <a:gd name="connsiteY31" fmla="*/ 109147 h 261080"/>
                    <a:gd name="connsiteX32" fmla="*/ 92030 w 221392"/>
                    <a:gd name="connsiteY32" fmla="*/ 88640 h 261080"/>
                    <a:gd name="connsiteX33" fmla="*/ 79000 w 221392"/>
                    <a:gd name="connsiteY33" fmla="*/ 72571 h 261080"/>
                    <a:gd name="connsiteX34" fmla="*/ 79420 w 221392"/>
                    <a:gd name="connsiteY34" fmla="*/ 49540 h 261080"/>
                    <a:gd name="connsiteX35" fmla="*/ 79372 w 221392"/>
                    <a:gd name="connsiteY35" fmla="*/ 32690 h 261080"/>
                    <a:gd name="connsiteX36" fmla="*/ 91573 w 221392"/>
                    <a:gd name="connsiteY36" fmla="*/ 29528 h 261080"/>
                    <a:gd name="connsiteX37" fmla="*/ 89563 w 221392"/>
                    <a:gd name="connsiteY37" fmla="*/ 23946 h 261080"/>
                    <a:gd name="connsiteX38" fmla="*/ 86639 w 221392"/>
                    <a:gd name="connsiteY38" fmla="*/ 21517 h 261080"/>
                    <a:gd name="connsiteX39" fmla="*/ 86125 w 221392"/>
                    <a:gd name="connsiteY39" fmla="*/ 17812 h 261080"/>
                    <a:gd name="connsiteX40" fmla="*/ 84296 w 221392"/>
                    <a:gd name="connsiteY40" fmla="*/ 7763 h 261080"/>
                    <a:gd name="connsiteX41" fmla="*/ 86296 w 221392"/>
                    <a:gd name="connsiteY41" fmla="*/ 219 h 261080"/>
                    <a:gd name="connsiteX42" fmla="*/ 88859 w 221392"/>
                    <a:gd name="connsiteY42" fmla="*/ 3362 h 261080"/>
                    <a:gd name="connsiteX43" fmla="*/ 100432 w 221392"/>
                    <a:gd name="connsiteY43" fmla="*/ 0 h 261080"/>
                    <a:gd name="connsiteX44" fmla="*/ 100432 w 221392"/>
                    <a:gd name="connsiteY44" fmla="*/ 0 h 26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21392" h="261080">
                      <a:moveTo>
                        <a:pt x="100432" y="0"/>
                      </a:moveTo>
                      <a:cubicBezTo>
                        <a:pt x="107794" y="12745"/>
                        <a:pt x="118748" y="27156"/>
                        <a:pt x="132607" y="33385"/>
                      </a:cubicBezTo>
                      <a:cubicBezTo>
                        <a:pt x="140732" y="37033"/>
                        <a:pt x="149809" y="37414"/>
                        <a:pt x="158315" y="39405"/>
                      </a:cubicBezTo>
                      <a:cubicBezTo>
                        <a:pt x="161382" y="40129"/>
                        <a:pt x="164468" y="42205"/>
                        <a:pt x="167478" y="42682"/>
                      </a:cubicBezTo>
                      <a:cubicBezTo>
                        <a:pt x="171516" y="43320"/>
                        <a:pt x="173488" y="41758"/>
                        <a:pt x="177441" y="43482"/>
                      </a:cubicBezTo>
                      <a:cubicBezTo>
                        <a:pt x="191138" y="49482"/>
                        <a:pt x="196910" y="69009"/>
                        <a:pt x="210769" y="75600"/>
                      </a:cubicBezTo>
                      <a:cubicBezTo>
                        <a:pt x="214150" y="77210"/>
                        <a:pt x="218304" y="75943"/>
                        <a:pt x="220418" y="79181"/>
                      </a:cubicBezTo>
                      <a:cubicBezTo>
                        <a:pt x="222580" y="82496"/>
                        <a:pt x="220589" y="86382"/>
                        <a:pt x="219760" y="89516"/>
                      </a:cubicBezTo>
                      <a:cubicBezTo>
                        <a:pt x="218198" y="95460"/>
                        <a:pt x="215246" y="105566"/>
                        <a:pt x="211626" y="110576"/>
                      </a:cubicBezTo>
                      <a:cubicBezTo>
                        <a:pt x="208683" y="114643"/>
                        <a:pt x="203835" y="116396"/>
                        <a:pt x="200930" y="120853"/>
                      </a:cubicBezTo>
                      <a:cubicBezTo>
                        <a:pt x="198520" y="124539"/>
                        <a:pt x="196796" y="128826"/>
                        <a:pt x="195263" y="132960"/>
                      </a:cubicBezTo>
                      <a:cubicBezTo>
                        <a:pt x="193586" y="137436"/>
                        <a:pt x="193596" y="143399"/>
                        <a:pt x="188671" y="144466"/>
                      </a:cubicBezTo>
                      <a:cubicBezTo>
                        <a:pt x="183689" y="145542"/>
                        <a:pt x="182613" y="142265"/>
                        <a:pt x="183346" y="137951"/>
                      </a:cubicBezTo>
                      <a:cubicBezTo>
                        <a:pt x="173945" y="137208"/>
                        <a:pt x="172317" y="157858"/>
                        <a:pt x="172298" y="164068"/>
                      </a:cubicBezTo>
                      <a:cubicBezTo>
                        <a:pt x="172288" y="169126"/>
                        <a:pt x="174136" y="173679"/>
                        <a:pt x="175622" y="178489"/>
                      </a:cubicBezTo>
                      <a:cubicBezTo>
                        <a:pt x="177279" y="183880"/>
                        <a:pt x="180289" y="186938"/>
                        <a:pt x="174803" y="189614"/>
                      </a:cubicBezTo>
                      <a:cubicBezTo>
                        <a:pt x="165239" y="194291"/>
                        <a:pt x="151057" y="188395"/>
                        <a:pt x="145352" y="201578"/>
                      </a:cubicBezTo>
                      <a:cubicBezTo>
                        <a:pt x="142713" y="207702"/>
                        <a:pt x="146847" y="214417"/>
                        <a:pt x="140722" y="219304"/>
                      </a:cubicBezTo>
                      <a:cubicBezTo>
                        <a:pt x="136350" y="222799"/>
                        <a:pt x="129216" y="221809"/>
                        <a:pt x="123758" y="222466"/>
                      </a:cubicBezTo>
                      <a:cubicBezTo>
                        <a:pt x="117224" y="223257"/>
                        <a:pt x="112633" y="223447"/>
                        <a:pt x="109308" y="229772"/>
                      </a:cubicBezTo>
                      <a:cubicBezTo>
                        <a:pt x="106413" y="235277"/>
                        <a:pt x="109385" y="236458"/>
                        <a:pt x="108632" y="242021"/>
                      </a:cubicBezTo>
                      <a:cubicBezTo>
                        <a:pt x="106718" y="256089"/>
                        <a:pt x="91021" y="250050"/>
                        <a:pt x="82248" y="250298"/>
                      </a:cubicBezTo>
                      <a:cubicBezTo>
                        <a:pt x="75924" y="250479"/>
                        <a:pt x="72523" y="251879"/>
                        <a:pt x="67418" y="254899"/>
                      </a:cubicBezTo>
                      <a:cubicBezTo>
                        <a:pt x="61989" y="258118"/>
                        <a:pt x="57416" y="258537"/>
                        <a:pt x="51378" y="259956"/>
                      </a:cubicBezTo>
                      <a:cubicBezTo>
                        <a:pt x="42863" y="261957"/>
                        <a:pt x="44158" y="262004"/>
                        <a:pt x="39519" y="254013"/>
                      </a:cubicBezTo>
                      <a:cubicBezTo>
                        <a:pt x="36519" y="248831"/>
                        <a:pt x="32928" y="244688"/>
                        <a:pt x="29784" y="240316"/>
                      </a:cubicBezTo>
                      <a:cubicBezTo>
                        <a:pt x="18355" y="224447"/>
                        <a:pt x="9810" y="205397"/>
                        <a:pt x="0" y="188452"/>
                      </a:cubicBezTo>
                      <a:cubicBezTo>
                        <a:pt x="14649" y="183099"/>
                        <a:pt x="29337" y="177851"/>
                        <a:pt x="44005" y="172536"/>
                      </a:cubicBezTo>
                      <a:cubicBezTo>
                        <a:pt x="51473" y="169821"/>
                        <a:pt x="58950" y="167126"/>
                        <a:pt x="66427" y="164411"/>
                      </a:cubicBezTo>
                      <a:cubicBezTo>
                        <a:pt x="71628" y="162516"/>
                        <a:pt x="84315" y="160096"/>
                        <a:pt x="86992" y="155858"/>
                      </a:cubicBezTo>
                      <a:cubicBezTo>
                        <a:pt x="90211" y="150752"/>
                        <a:pt x="89697" y="138751"/>
                        <a:pt x="90601" y="132740"/>
                      </a:cubicBezTo>
                      <a:cubicBezTo>
                        <a:pt x="91773" y="124882"/>
                        <a:pt x="92887" y="117015"/>
                        <a:pt x="93993" y="109147"/>
                      </a:cubicBezTo>
                      <a:cubicBezTo>
                        <a:pt x="95174" y="100784"/>
                        <a:pt x="97402" y="95345"/>
                        <a:pt x="92030" y="88640"/>
                      </a:cubicBezTo>
                      <a:cubicBezTo>
                        <a:pt x="88011" y="83630"/>
                        <a:pt x="81858" y="78296"/>
                        <a:pt x="79000" y="72571"/>
                      </a:cubicBezTo>
                      <a:cubicBezTo>
                        <a:pt x="75409" y="65361"/>
                        <a:pt x="77676" y="57017"/>
                        <a:pt x="79420" y="49540"/>
                      </a:cubicBezTo>
                      <a:cubicBezTo>
                        <a:pt x="80610" y="44415"/>
                        <a:pt x="84601" y="36547"/>
                        <a:pt x="79372" y="32690"/>
                      </a:cubicBezTo>
                      <a:cubicBezTo>
                        <a:pt x="83201" y="29337"/>
                        <a:pt x="87811" y="31899"/>
                        <a:pt x="91573" y="29528"/>
                      </a:cubicBezTo>
                      <a:cubicBezTo>
                        <a:pt x="96326" y="26537"/>
                        <a:pt x="92183" y="26842"/>
                        <a:pt x="89563" y="23946"/>
                      </a:cubicBezTo>
                      <a:cubicBezTo>
                        <a:pt x="88382" y="22641"/>
                        <a:pt x="87639" y="22917"/>
                        <a:pt x="86639" y="21517"/>
                      </a:cubicBezTo>
                      <a:cubicBezTo>
                        <a:pt x="86801" y="21736"/>
                        <a:pt x="86210" y="18193"/>
                        <a:pt x="86125" y="17812"/>
                      </a:cubicBezTo>
                      <a:cubicBezTo>
                        <a:pt x="85401" y="14497"/>
                        <a:pt x="84391" y="11230"/>
                        <a:pt x="84296" y="7763"/>
                      </a:cubicBezTo>
                      <a:cubicBezTo>
                        <a:pt x="84201" y="4782"/>
                        <a:pt x="82229" y="1638"/>
                        <a:pt x="86296" y="219"/>
                      </a:cubicBezTo>
                      <a:cubicBezTo>
                        <a:pt x="89821" y="-1010"/>
                        <a:pt x="89239" y="3724"/>
                        <a:pt x="88859" y="3362"/>
                      </a:cubicBezTo>
                      <a:cubicBezTo>
                        <a:pt x="94850" y="9154"/>
                        <a:pt x="94716" y="4906"/>
                        <a:pt x="100432" y="0"/>
                      </a:cubicBezTo>
                      <a:lnTo>
                        <a:pt x="100432" y="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89" name="Freeform: Shape 588">
                  <a:extLst>
                    <a:ext uri="{FF2B5EF4-FFF2-40B4-BE49-F238E27FC236}">
                      <a16:creationId xmlns:a16="http://schemas.microsoft.com/office/drawing/2014/main" id="{B2F58A4E-8F59-4A7F-857D-4427BBCC357F}"/>
                    </a:ext>
                  </a:extLst>
                </p:cNvPr>
                <p:cNvSpPr/>
                <p:nvPr/>
              </p:nvSpPr>
              <p:spPr>
                <a:xfrm>
                  <a:off x="10037235" y="5449319"/>
                  <a:ext cx="593037" cy="384167"/>
                </a:xfrm>
                <a:custGeom>
                  <a:avLst/>
                  <a:gdLst>
                    <a:gd name="connsiteX0" fmla="*/ 331946 w 593037"/>
                    <a:gd name="connsiteY0" fmla="*/ 215863 h 384167"/>
                    <a:gd name="connsiteX1" fmla="*/ 351234 w 593037"/>
                    <a:gd name="connsiteY1" fmla="*/ 209690 h 384167"/>
                    <a:gd name="connsiteX2" fmla="*/ 367769 w 593037"/>
                    <a:gd name="connsiteY2" fmla="*/ 204480 h 384167"/>
                    <a:gd name="connsiteX3" fmla="*/ 350987 w 593037"/>
                    <a:gd name="connsiteY3" fmla="*/ 215643 h 384167"/>
                    <a:gd name="connsiteX4" fmla="*/ 371427 w 593037"/>
                    <a:gd name="connsiteY4" fmla="*/ 206614 h 384167"/>
                    <a:gd name="connsiteX5" fmla="*/ 370532 w 593037"/>
                    <a:gd name="connsiteY5" fmla="*/ 207842 h 384167"/>
                    <a:gd name="connsiteX6" fmla="*/ 372866 w 593037"/>
                    <a:gd name="connsiteY6" fmla="*/ 207681 h 384167"/>
                    <a:gd name="connsiteX7" fmla="*/ 358568 w 593037"/>
                    <a:gd name="connsiteY7" fmla="*/ 214682 h 384167"/>
                    <a:gd name="connsiteX8" fmla="*/ 372075 w 593037"/>
                    <a:gd name="connsiteY8" fmla="*/ 210338 h 384167"/>
                    <a:gd name="connsiteX9" fmla="*/ 356397 w 593037"/>
                    <a:gd name="connsiteY9" fmla="*/ 218596 h 384167"/>
                    <a:gd name="connsiteX10" fmla="*/ 346234 w 593037"/>
                    <a:gd name="connsiteY10" fmla="*/ 228198 h 384167"/>
                    <a:gd name="connsiteX11" fmla="*/ 345605 w 593037"/>
                    <a:gd name="connsiteY11" fmla="*/ 232969 h 384167"/>
                    <a:gd name="connsiteX12" fmla="*/ 331298 w 593037"/>
                    <a:gd name="connsiteY12" fmla="*/ 240475 h 384167"/>
                    <a:gd name="connsiteX13" fmla="*/ 306286 w 593037"/>
                    <a:gd name="connsiteY13" fmla="*/ 253839 h 384167"/>
                    <a:gd name="connsiteX14" fmla="*/ 280187 w 593037"/>
                    <a:gd name="connsiteY14" fmla="*/ 269517 h 384167"/>
                    <a:gd name="connsiteX15" fmla="*/ 253946 w 593037"/>
                    <a:gd name="connsiteY15" fmla="*/ 279509 h 384167"/>
                    <a:gd name="connsiteX16" fmla="*/ 245830 w 593037"/>
                    <a:gd name="connsiteY16" fmla="*/ 284709 h 384167"/>
                    <a:gd name="connsiteX17" fmla="*/ 253765 w 593037"/>
                    <a:gd name="connsiteY17" fmla="*/ 291367 h 384167"/>
                    <a:gd name="connsiteX18" fmla="*/ 240468 w 593037"/>
                    <a:gd name="connsiteY18" fmla="*/ 295682 h 384167"/>
                    <a:gd name="connsiteX19" fmla="*/ 232381 w 593037"/>
                    <a:gd name="connsiteY19" fmla="*/ 296320 h 384167"/>
                    <a:gd name="connsiteX20" fmla="*/ 237277 w 593037"/>
                    <a:gd name="connsiteY20" fmla="*/ 294434 h 384167"/>
                    <a:gd name="connsiteX21" fmla="*/ 224752 w 593037"/>
                    <a:gd name="connsiteY21" fmla="*/ 292177 h 384167"/>
                    <a:gd name="connsiteX22" fmla="*/ 206302 w 593037"/>
                    <a:gd name="connsiteY22" fmla="*/ 303359 h 384167"/>
                    <a:gd name="connsiteX23" fmla="*/ 195786 w 593037"/>
                    <a:gd name="connsiteY23" fmla="*/ 305579 h 384167"/>
                    <a:gd name="connsiteX24" fmla="*/ 184804 w 593037"/>
                    <a:gd name="connsiteY24" fmla="*/ 309884 h 384167"/>
                    <a:gd name="connsiteX25" fmla="*/ 156905 w 593037"/>
                    <a:gd name="connsiteY25" fmla="*/ 330286 h 384167"/>
                    <a:gd name="connsiteX26" fmla="*/ 158343 w 593037"/>
                    <a:gd name="connsiteY26" fmla="*/ 332372 h 384167"/>
                    <a:gd name="connsiteX27" fmla="*/ 123749 w 593037"/>
                    <a:gd name="connsiteY27" fmla="*/ 354242 h 384167"/>
                    <a:gd name="connsiteX28" fmla="*/ 117586 w 593037"/>
                    <a:gd name="connsiteY28" fmla="*/ 360681 h 384167"/>
                    <a:gd name="connsiteX29" fmla="*/ 100565 w 593037"/>
                    <a:gd name="connsiteY29" fmla="*/ 365748 h 384167"/>
                    <a:gd name="connsiteX30" fmla="*/ 66199 w 593037"/>
                    <a:gd name="connsiteY30" fmla="*/ 382064 h 384167"/>
                    <a:gd name="connsiteX31" fmla="*/ 45596 w 593037"/>
                    <a:gd name="connsiteY31" fmla="*/ 383883 h 384167"/>
                    <a:gd name="connsiteX32" fmla="*/ 30346 w 593037"/>
                    <a:gd name="connsiteY32" fmla="*/ 383645 h 384167"/>
                    <a:gd name="connsiteX33" fmla="*/ 23984 w 593037"/>
                    <a:gd name="connsiteY33" fmla="*/ 376111 h 384167"/>
                    <a:gd name="connsiteX34" fmla="*/ 16764 w 593037"/>
                    <a:gd name="connsiteY34" fmla="*/ 371892 h 384167"/>
                    <a:gd name="connsiteX35" fmla="*/ 0 w 593037"/>
                    <a:gd name="connsiteY35" fmla="*/ 370825 h 384167"/>
                    <a:gd name="connsiteX36" fmla="*/ 12897 w 593037"/>
                    <a:gd name="connsiteY36" fmla="*/ 363233 h 384167"/>
                    <a:gd name="connsiteX37" fmla="*/ 2991 w 593037"/>
                    <a:gd name="connsiteY37" fmla="*/ 365891 h 384167"/>
                    <a:gd name="connsiteX38" fmla="*/ 9830 w 593037"/>
                    <a:gd name="connsiteY38" fmla="*/ 361090 h 384167"/>
                    <a:gd name="connsiteX39" fmla="*/ 1362 w 593037"/>
                    <a:gd name="connsiteY39" fmla="*/ 363443 h 384167"/>
                    <a:gd name="connsiteX40" fmla="*/ 23289 w 593037"/>
                    <a:gd name="connsiteY40" fmla="*/ 355499 h 384167"/>
                    <a:gd name="connsiteX41" fmla="*/ 18545 w 593037"/>
                    <a:gd name="connsiteY41" fmla="*/ 355090 h 384167"/>
                    <a:gd name="connsiteX42" fmla="*/ 28870 w 593037"/>
                    <a:gd name="connsiteY42" fmla="*/ 349822 h 384167"/>
                    <a:gd name="connsiteX43" fmla="*/ 21603 w 593037"/>
                    <a:gd name="connsiteY43" fmla="*/ 350194 h 384167"/>
                    <a:gd name="connsiteX44" fmla="*/ 31089 w 593037"/>
                    <a:gd name="connsiteY44" fmla="*/ 345288 h 384167"/>
                    <a:gd name="connsiteX45" fmla="*/ 37233 w 593037"/>
                    <a:gd name="connsiteY45" fmla="*/ 346012 h 384167"/>
                    <a:gd name="connsiteX46" fmla="*/ 43176 w 593037"/>
                    <a:gd name="connsiteY46" fmla="*/ 342221 h 384167"/>
                    <a:gd name="connsiteX47" fmla="*/ 48244 w 593037"/>
                    <a:gd name="connsiteY47" fmla="*/ 334668 h 384167"/>
                    <a:gd name="connsiteX48" fmla="*/ 50749 w 593037"/>
                    <a:gd name="connsiteY48" fmla="*/ 335668 h 384167"/>
                    <a:gd name="connsiteX49" fmla="*/ 63084 w 593037"/>
                    <a:gd name="connsiteY49" fmla="*/ 327648 h 384167"/>
                    <a:gd name="connsiteX50" fmla="*/ 60360 w 593037"/>
                    <a:gd name="connsiteY50" fmla="*/ 331753 h 384167"/>
                    <a:gd name="connsiteX51" fmla="*/ 81810 w 593037"/>
                    <a:gd name="connsiteY51" fmla="*/ 322495 h 384167"/>
                    <a:gd name="connsiteX52" fmla="*/ 111480 w 593037"/>
                    <a:gd name="connsiteY52" fmla="*/ 304893 h 384167"/>
                    <a:gd name="connsiteX53" fmla="*/ 126797 w 593037"/>
                    <a:gd name="connsiteY53" fmla="*/ 301454 h 384167"/>
                    <a:gd name="connsiteX54" fmla="*/ 140436 w 593037"/>
                    <a:gd name="connsiteY54" fmla="*/ 298835 h 384167"/>
                    <a:gd name="connsiteX55" fmla="*/ 161391 w 593037"/>
                    <a:gd name="connsiteY55" fmla="*/ 289205 h 384167"/>
                    <a:gd name="connsiteX56" fmla="*/ 175241 w 593037"/>
                    <a:gd name="connsiteY56" fmla="*/ 284128 h 384167"/>
                    <a:gd name="connsiteX57" fmla="*/ 174564 w 593037"/>
                    <a:gd name="connsiteY57" fmla="*/ 283490 h 384167"/>
                    <a:gd name="connsiteX58" fmla="*/ 196996 w 593037"/>
                    <a:gd name="connsiteY58" fmla="*/ 275813 h 384167"/>
                    <a:gd name="connsiteX59" fmla="*/ 196843 w 593037"/>
                    <a:gd name="connsiteY59" fmla="*/ 273470 h 384167"/>
                    <a:gd name="connsiteX60" fmla="*/ 205778 w 593037"/>
                    <a:gd name="connsiteY60" fmla="*/ 272955 h 384167"/>
                    <a:gd name="connsiteX61" fmla="*/ 211426 w 593037"/>
                    <a:gd name="connsiteY61" fmla="*/ 268841 h 384167"/>
                    <a:gd name="connsiteX62" fmla="*/ 211150 w 593037"/>
                    <a:gd name="connsiteY62" fmla="*/ 271003 h 384167"/>
                    <a:gd name="connsiteX63" fmla="*/ 227486 w 593037"/>
                    <a:gd name="connsiteY63" fmla="*/ 261202 h 384167"/>
                    <a:gd name="connsiteX64" fmla="*/ 223314 w 593037"/>
                    <a:gd name="connsiteY64" fmla="*/ 266450 h 384167"/>
                    <a:gd name="connsiteX65" fmla="*/ 239839 w 593037"/>
                    <a:gd name="connsiteY65" fmla="*/ 254686 h 384167"/>
                    <a:gd name="connsiteX66" fmla="*/ 247450 w 593037"/>
                    <a:gd name="connsiteY66" fmla="*/ 249676 h 384167"/>
                    <a:gd name="connsiteX67" fmla="*/ 278768 w 593037"/>
                    <a:gd name="connsiteY67" fmla="*/ 230141 h 384167"/>
                    <a:gd name="connsiteX68" fmla="*/ 313506 w 593037"/>
                    <a:gd name="connsiteY68" fmla="*/ 207004 h 384167"/>
                    <a:gd name="connsiteX69" fmla="*/ 350844 w 593037"/>
                    <a:gd name="connsiteY69" fmla="*/ 191917 h 384167"/>
                    <a:gd name="connsiteX70" fmla="*/ 339614 w 593037"/>
                    <a:gd name="connsiteY70" fmla="*/ 196603 h 384167"/>
                    <a:gd name="connsiteX71" fmla="*/ 341881 w 593037"/>
                    <a:gd name="connsiteY71" fmla="*/ 202299 h 384167"/>
                    <a:gd name="connsiteX72" fmla="*/ 331946 w 593037"/>
                    <a:gd name="connsiteY72" fmla="*/ 215863 h 384167"/>
                    <a:gd name="connsiteX73" fmla="*/ 331946 w 593037"/>
                    <a:gd name="connsiteY73" fmla="*/ 215863 h 384167"/>
                    <a:gd name="connsiteX74" fmla="*/ 522580 w 593037"/>
                    <a:gd name="connsiteY74" fmla="*/ 16019 h 384167"/>
                    <a:gd name="connsiteX75" fmla="*/ 521779 w 593037"/>
                    <a:gd name="connsiteY75" fmla="*/ 17466 h 384167"/>
                    <a:gd name="connsiteX76" fmla="*/ 530171 w 593037"/>
                    <a:gd name="connsiteY76" fmla="*/ 13171 h 384167"/>
                    <a:gd name="connsiteX77" fmla="*/ 527609 w 593037"/>
                    <a:gd name="connsiteY77" fmla="*/ 15818 h 384167"/>
                    <a:gd name="connsiteX78" fmla="*/ 532781 w 593037"/>
                    <a:gd name="connsiteY78" fmla="*/ 19781 h 384167"/>
                    <a:gd name="connsiteX79" fmla="*/ 536905 w 593037"/>
                    <a:gd name="connsiteY79" fmla="*/ 19143 h 384167"/>
                    <a:gd name="connsiteX80" fmla="*/ 537572 w 593037"/>
                    <a:gd name="connsiteY80" fmla="*/ 27525 h 384167"/>
                    <a:gd name="connsiteX81" fmla="*/ 544116 w 593037"/>
                    <a:gd name="connsiteY81" fmla="*/ 25848 h 384167"/>
                    <a:gd name="connsiteX82" fmla="*/ 539582 w 593037"/>
                    <a:gd name="connsiteY82" fmla="*/ 37831 h 384167"/>
                    <a:gd name="connsiteX83" fmla="*/ 534971 w 593037"/>
                    <a:gd name="connsiteY83" fmla="*/ 43079 h 384167"/>
                    <a:gd name="connsiteX84" fmla="*/ 530943 w 593037"/>
                    <a:gd name="connsiteY84" fmla="*/ 43194 h 384167"/>
                    <a:gd name="connsiteX85" fmla="*/ 530133 w 593037"/>
                    <a:gd name="connsiteY85" fmla="*/ 47841 h 384167"/>
                    <a:gd name="connsiteX86" fmla="*/ 522980 w 593037"/>
                    <a:gd name="connsiteY86" fmla="*/ 63939 h 384167"/>
                    <a:gd name="connsiteX87" fmla="*/ 510559 w 593037"/>
                    <a:gd name="connsiteY87" fmla="*/ 76064 h 384167"/>
                    <a:gd name="connsiteX88" fmla="*/ 513379 w 593037"/>
                    <a:gd name="connsiteY88" fmla="*/ 78217 h 384167"/>
                    <a:gd name="connsiteX89" fmla="*/ 521618 w 593037"/>
                    <a:gd name="connsiteY89" fmla="*/ 80160 h 384167"/>
                    <a:gd name="connsiteX90" fmla="*/ 518741 w 593037"/>
                    <a:gd name="connsiteY90" fmla="*/ 87580 h 384167"/>
                    <a:gd name="connsiteX91" fmla="*/ 542020 w 593037"/>
                    <a:gd name="connsiteY91" fmla="*/ 64548 h 384167"/>
                    <a:gd name="connsiteX92" fmla="*/ 540477 w 593037"/>
                    <a:gd name="connsiteY92" fmla="*/ 73083 h 384167"/>
                    <a:gd name="connsiteX93" fmla="*/ 543401 w 593037"/>
                    <a:gd name="connsiteY93" fmla="*/ 72711 h 384167"/>
                    <a:gd name="connsiteX94" fmla="*/ 532257 w 593037"/>
                    <a:gd name="connsiteY94" fmla="*/ 90114 h 384167"/>
                    <a:gd name="connsiteX95" fmla="*/ 528894 w 593037"/>
                    <a:gd name="connsiteY95" fmla="*/ 99181 h 384167"/>
                    <a:gd name="connsiteX96" fmla="*/ 525789 w 593037"/>
                    <a:gd name="connsiteY96" fmla="*/ 100315 h 384167"/>
                    <a:gd name="connsiteX97" fmla="*/ 538105 w 593037"/>
                    <a:gd name="connsiteY97" fmla="*/ 109240 h 384167"/>
                    <a:gd name="connsiteX98" fmla="*/ 559089 w 593037"/>
                    <a:gd name="connsiteY98" fmla="*/ 109554 h 384167"/>
                    <a:gd name="connsiteX99" fmla="*/ 576919 w 593037"/>
                    <a:gd name="connsiteY99" fmla="*/ 100801 h 384167"/>
                    <a:gd name="connsiteX100" fmla="*/ 593036 w 593037"/>
                    <a:gd name="connsiteY100" fmla="*/ 102334 h 384167"/>
                    <a:gd name="connsiteX101" fmla="*/ 577948 w 593037"/>
                    <a:gd name="connsiteY101" fmla="*/ 114278 h 384167"/>
                    <a:gd name="connsiteX102" fmla="*/ 561346 w 593037"/>
                    <a:gd name="connsiteY102" fmla="*/ 128804 h 384167"/>
                    <a:gd name="connsiteX103" fmla="*/ 540982 w 593037"/>
                    <a:gd name="connsiteY103" fmla="*/ 139643 h 384167"/>
                    <a:gd name="connsiteX104" fmla="*/ 528123 w 593037"/>
                    <a:gd name="connsiteY104" fmla="*/ 151169 h 384167"/>
                    <a:gd name="connsiteX105" fmla="*/ 492880 w 593037"/>
                    <a:gd name="connsiteY105" fmla="*/ 165256 h 384167"/>
                    <a:gd name="connsiteX106" fmla="*/ 431654 w 593037"/>
                    <a:gd name="connsiteY106" fmla="*/ 202899 h 384167"/>
                    <a:gd name="connsiteX107" fmla="*/ 403279 w 593037"/>
                    <a:gd name="connsiteY107" fmla="*/ 218149 h 384167"/>
                    <a:gd name="connsiteX108" fmla="*/ 386410 w 593037"/>
                    <a:gd name="connsiteY108" fmla="*/ 224673 h 384167"/>
                    <a:gd name="connsiteX109" fmla="*/ 384086 w 593037"/>
                    <a:gd name="connsiteY109" fmla="*/ 220216 h 384167"/>
                    <a:gd name="connsiteX110" fmla="*/ 376047 w 593037"/>
                    <a:gd name="connsiteY110" fmla="*/ 220416 h 384167"/>
                    <a:gd name="connsiteX111" fmla="*/ 382314 w 593037"/>
                    <a:gd name="connsiteY111" fmla="*/ 214710 h 384167"/>
                    <a:gd name="connsiteX112" fmla="*/ 372989 w 593037"/>
                    <a:gd name="connsiteY112" fmla="*/ 216910 h 384167"/>
                    <a:gd name="connsiteX113" fmla="*/ 408908 w 593037"/>
                    <a:gd name="connsiteY113" fmla="*/ 195289 h 384167"/>
                    <a:gd name="connsiteX114" fmla="*/ 424196 w 593037"/>
                    <a:gd name="connsiteY114" fmla="*/ 180506 h 384167"/>
                    <a:gd name="connsiteX115" fmla="*/ 423120 w 593037"/>
                    <a:gd name="connsiteY115" fmla="*/ 171152 h 384167"/>
                    <a:gd name="connsiteX116" fmla="*/ 418852 w 593037"/>
                    <a:gd name="connsiteY116" fmla="*/ 170200 h 384167"/>
                    <a:gd name="connsiteX117" fmla="*/ 416947 w 593037"/>
                    <a:gd name="connsiteY117" fmla="*/ 165761 h 384167"/>
                    <a:gd name="connsiteX118" fmla="*/ 411623 w 593037"/>
                    <a:gd name="connsiteY118" fmla="*/ 152836 h 384167"/>
                    <a:gd name="connsiteX119" fmla="*/ 430673 w 593037"/>
                    <a:gd name="connsiteY119" fmla="*/ 144359 h 384167"/>
                    <a:gd name="connsiteX120" fmla="*/ 466877 w 593037"/>
                    <a:gd name="connsiteY120" fmla="*/ 122079 h 384167"/>
                    <a:gd name="connsiteX121" fmla="*/ 484927 w 593037"/>
                    <a:gd name="connsiteY121" fmla="*/ 107563 h 384167"/>
                    <a:gd name="connsiteX122" fmla="*/ 490328 w 593037"/>
                    <a:gd name="connsiteY122" fmla="*/ 100772 h 384167"/>
                    <a:gd name="connsiteX123" fmla="*/ 497405 w 593037"/>
                    <a:gd name="connsiteY123" fmla="*/ 91723 h 384167"/>
                    <a:gd name="connsiteX124" fmla="*/ 500063 w 593037"/>
                    <a:gd name="connsiteY124" fmla="*/ 87827 h 384167"/>
                    <a:gd name="connsiteX125" fmla="*/ 509264 w 593037"/>
                    <a:gd name="connsiteY125" fmla="*/ 79284 h 384167"/>
                    <a:gd name="connsiteX126" fmla="*/ 502215 w 593037"/>
                    <a:gd name="connsiteY126" fmla="*/ 80408 h 384167"/>
                    <a:gd name="connsiteX127" fmla="*/ 502577 w 593037"/>
                    <a:gd name="connsiteY127" fmla="*/ 75550 h 384167"/>
                    <a:gd name="connsiteX128" fmla="*/ 508292 w 593037"/>
                    <a:gd name="connsiteY128" fmla="*/ 68520 h 384167"/>
                    <a:gd name="connsiteX129" fmla="*/ 514131 w 593037"/>
                    <a:gd name="connsiteY129" fmla="*/ 62339 h 384167"/>
                    <a:gd name="connsiteX130" fmla="*/ 518341 w 593037"/>
                    <a:gd name="connsiteY130" fmla="*/ 57128 h 384167"/>
                    <a:gd name="connsiteX131" fmla="*/ 514140 w 593037"/>
                    <a:gd name="connsiteY131" fmla="*/ 57405 h 384167"/>
                    <a:gd name="connsiteX132" fmla="*/ 514055 w 593037"/>
                    <a:gd name="connsiteY132" fmla="*/ 46689 h 384167"/>
                    <a:gd name="connsiteX133" fmla="*/ 505663 w 593037"/>
                    <a:gd name="connsiteY133" fmla="*/ 61872 h 384167"/>
                    <a:gd name="connsiteX134" fmla="*/ 509292 w 593037"/>
                    <a:gd name="connsiteY134" fmla="*/ 40317 h 384167"/>
                    <a:gd name="connsiteX135" fmla="*/ 522237 w 593037"/>
                    <a:gd name="connsiteY135" fmla="*/ 28106 h 384167"/>
                    <a:gd name="connsiteX136" fmla="*/ 510101 w 593037"/>
                    <a:gd name="connsiteY136" fmla="*/ 33811 h 384167"/>
                    <a:gd name="connsiteX137" fmla="*/ 510607 w 593037"/>
                    <a:gd name="connsiteY137" fmla="*/ 27839 h 384167"/>
                    <a:gd name="connsiteX138" fmla="*/ 518093 w 593037"/>
                    <a:gd name="connsiteY138" fmla="*/ 18562 h 384167"/>
                    <a:gd name="connsiteX139" fmla="*/ 519093 w 593037"/>
                    <a:gd name="connsiteY139" fmla="*/ 5608 h 384167"/>
                    <a:gd name="connsiteX140" fmla="*/ 529800 w 593037"/>
                    <a:gd name="connsiteY140" fmla="*/ 74 h 384167"/>
                    <a:gd name="connsiteX141" fmla="*/ 522580 w 593037"/>
                    <a:gd name="connsiteY141" fmla="*/ 16019 h 384167"/>
                    <a:gd name="connsiteX142" fmla="*/ 522580 w 593037"/>
                    <a:gd name="connsiteY142" fmla="*/ 16019 h 38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593037" h="384167">
                      <a:moveTo>
                        <a:pt x="331946" y="215863"/>
                      </a:moveTo>
                      <a:cubicBezTo>
                        <a:pt x="337366" y="216777"/>
                        <a:pt x="346110" y="211672"/>
                        <a:pt x="351234" y="209690"/>
                      </a:cubicBezTo>
                      <a:cubicBezTo>
                        <a:pt x="356864" y="207519"/>
                        <a:pt x="361969" y="205900"/>
                        <a:pt x="367769" y="204480"/>
                      </a:cubicBezTo>
                      <a:cubicBezTo>
                        <a:pt x="362835" y="208204"/>
                        <a:pt x="356701" y="212976"/>
                        <a:pt x="350987" y="215643"/>
                      </a:cubicBezTo>
                      <a:cubicBezTo>
                        <a:pt x="359197" y="214215"/>
                        <a:pt x="363245" y="207795"/>
                        <a:pt x="371427" y="206614"/>
                      </a:cubicBezTo>
                      <a:cubicBezTo>
                        <a:pt x="371132" y="207023"/>
                        <a:pt x="370837" y="207433"/>
                        <a:pt x="370532" y="207842"/>
                      </a:cubicBezTo>
                      <a:cubicBezTo>
                        <a:pt x="371313" y="207786"/>
                        <a:pt x="372084" y="207738"/>
                        <a:pt x="372866" y="207681"/>
                      </a:cubicBezTo>
                      <a:cubicBezTo>
                        <a:pt x="368522" y="210719"/>
                        <a:pt x="363664" y="213234"/>
                        <a:pt x="358568" y="214682"/>
                      </a:cubicBezTo>
                      <a:cubicBezTo>
                        <a:pt x="363026" y="215358"/>
                        <a:pt x="368151" y="212348"/>
                        <a:pt x="372075" y="210338"/>
                      </a:cubicBezTo>
                      <a:cubicBezTo>
                        <a:pt x="367732" y="215386"/>
                        <a:pt x="361664" y="215463"/>
                        <a:pt x="356397" y="218596"/>
                      </a:cubicBezTo>
                      <a:cubicBezTo>
                        <a:pt x="351339" y="221606"/>
                        <a:pt x="351424" y="225016"/>
                        <a:pt x="346234" y="228198"/>
                      </a:cubicBezTo>
                      <a:cubicBezTo>
                        <a:pt x="352777" y="226759"/>
                        <a:pt x="347872" y="231188"/>
                        <a:pt x="345605" y="232969"/>
                      </a:cubicBezTo>
                      <a:cubicBezTo>
                        <a:pt x="341538" y="236141"/>
                        <a:pt x="335909" y="238113"/>
                        <a:pt x="331298" y="240475"/>
                      </a:cubicBezTo>
                      <a:cubicBezTo>
                        <a:pt x="323021" y="244704"/>
                        <a:pt x="314649" y="249314"/>
                        <a:pt x="306286" y="253839"/>
                      </a:cubicBezTo>
                      <a:cubicBezTo>
                        <a:pt x="297361" y="258677"/>
                        <a:pt x="289446" y="265269"/>
                        <a:pt x="280187" y="269517"/>
                      </a:cubicBezTo>
                      <a:cubicBezTo>
                        <a:pt x="271758" y="273375"/>
                        <a:pt x="262242" y="276042"/>
                        <a:pt x="253946" y="279509"/>
                      </a:cubicBezTo>
                      <a:cubicBezTo>
                        <a:pt x="257375" y="282595"/>
                        <a:pt x="248335" y="283662"/>
                        <a:pt x="245830" y="284709"/>
                      </a:cubicBezTo>
                      <a:cubicBezTo>
                        <a:pt x="257203" y="280918"/>
                        <a:pt x="242811" y="291148"/>
                        <a:pt x="253765" y="291367"/>
                      </a:cubicBezTo>
                      <a:cubicBezTo>
                        <a:pt x="252213" y="294863"/>
                        <a:pt x="241182" y="302493"/>
                        <a:pt x="240468" y="295682"/>
                      </a:cubicBezTo>
                      <a:cubicBezTo>
                        <a:pt x="237801" y="295854"/>
                        <a:pt x="234810" y="296339"/>
                        <a:pt x="232381" y="296320"/>
                      </a:cubicBezTo>
                      <a:cubicBezTo>
                        <a:pt x="234029" y="296073"/>
                        <a:pt x="235686" y="294930"/>
                        <a:pt x="237277" y="294434"/>
                      </a:cubicBezTo>
                      <a:cubicBezTo>
                        <a:pt x="233515" y="288748"/>
                        <a:pt x="226486" y="304235"/>
                        <a:pt x="224752" y="292177"/>
                      </a:cubicBezTo>
                      <a:cubicBezTo>
                        <a:pt x="220885" y="300445"/>
                        <a:pt x="215055" y="300711"/>
                        <a:pt x="206302" y="303359"/>
                      </a:cubicBezTo>
                      <a:cubicBezTo>
                        <a:pt x="202835" y="304407"/>
                        <a:pt x="199082" y="304502"/>
                        <a:pt x="195786" y="305579"/>
                      </a:cubicBezTo>
                      <a:cubicBezTo>
                        <a:pt x="191776" y="306874"/>
                        <a:pt x="189452" y="310074"/>
                        <a:pt x="184804" y="309884"/>
                      </a:cubicBezTo>
                      <a:cubicBezTo>
                        <a:pt x="185728" y="312084"/>
                        <a:pt x="162163" y="331553"/>
                        <a:pt x="156905" y="330286"/>
                      </a:cubicBezTo>
                      <a:cubicBezTo>
                        <a:pt x="157448" y="330953"/>
                        <a:pt x="157219" y="331429"/>
                        <a:pt x="158343" y="332372"/>
                      </a:cubicBezTo>
                      <a:cubicBezTo>
                        <a:pt x="147999" y="340640"/>
                        <a:pt x="133512" y="345098"/>
                        <a:pt x="123749" y="354242"/>
                      </a:cubicBezTo>
                      <a:cubicBezTo>
                        <a:pt x="121005" y="356814"/>
                        <a:pt x="121215" y="358690"/>
                        <a:pt x="117586" y="360681"/>
                      </a:cubicBezTo>
                      <a:cubicBezTo>
                        <a:pt x="112614" y="363405"/>
                        <a:pt x="105927" y="363005"/>
                        <a:pt x="100565" y="365748"/>
                      </a:cubicBezTo>
                      <a:cubicBezTo>
                        <a:pt x="89697" y="371301"/>
                        <a:pt x="77762" y="378359"/>
                        <a:pt x="66199" y="382064"/>
                      </a:cubicBezTo>
                      <a:cubicBezTo>
                        <a:pt x="59598" y="384179"/>
                        <a:pt x="52368" y="384512"/>
                        <a:pt x="45596" y="383883"/>
                      </a:cubicBezTo>
                      <a:cubicBezTo>
                        <a:pt x="40434" y="383407"/>
                        <a:pt x="35633" y="383683"/>
                        <a:pt x="30346" y="383645"/>
                      </a:cubicBezTo>
                      <a:cubicBezTo>
                        <a:pt x="33194" y="375635"/>
                        <a:pt x="35623" y="376178"/>
                        <a:pt x="23984" y="376111"/>
                      </a:cubicBezTo>
                      <a:cubicBezTo>
                        <a:pt x="29851" y="367424"/>
                        <a:pt x="20393" y="371025"/>
                        <a:pt x="16764" y="371892"/>
                      </a:cubicBezTo>
                      <a:cubicBezTo>
                        <a:pt x="11754" y="373082"/>
                        <a:pt x="4686" y="372911"/>
                        <a:pt x="0" y="370825"/>
                      </a:cubicBezTo>
                      <a:cubicBezTo>
                        <a:pt x="2648" y="366862"/>
                        <a:pt x="8754" y="365272"/>
                        <a:pt x="12897" y="363233"/>
                      </a:cubicBezTo>
                      <a:cubicBezTo>
                        <a:pt x="9601" y="364243"/>
                        <a:pt x="6382" y="366434"/>
                        <a:pt x="2991" y="365891"/>
                      </a:cubicBezTo>
                      <a:cubicBezTo>
                        <a:pt x="5648" y="364767"/>
                        <a:pt x="8153" y="363434"/>
                        <a:pt x="9830" y="361090"/>
                      </a:cubicBezTo>
                      <a:cubicBezTo>
                        <a:pt x="7258" y="362509"/>
                        <a:pt x="4305" y="363519"/>
                        <a:pt x="1362" y="363443"/>
                      </a:cubicBezTo>
                      <a:cubicBezTo>
                        <a:pt x="6944" y="355880"/>
                        <a:pt x="15754" y="359395"/>
                        <a:pt x="23289" y="355499"/>
                      </a:cubicBezTo>
                      <a:cubicBezTo>
                        <a:pt x="21745" y="355651"/>
                        <a:pt x="20098" y="355061"/>
                        <a:pt x="18545" y="355090"/>
                      </a:cubicBezTo>
                      <a:cubicBezTo>
                        <a:pt x="21031" y="351775"/>
                        <a:pt x="25117" y="351070"/>
                        <a:pt x="28870" y="349822"/>
                      </a:cubicBezTo>
                      <a:cubicBezTo>
                        <a:pt x="26479" y="350365"/>
                        <a:pt x="24032" y="350508"/>
                        <a:pt x="21603" y="350194"/>
                      </a:cubicBezTo>
                      <a:cubicBezTo>
                        <a:pt x="24603" y="347327"/>
                        <a:pt x="27956" y="345955"/>
                        <a:pt x="31089" y="345288"/>
                      </a:cubicBezTo>
                      <a:cubicBezTo>
                        <a:pt x="34194" y="344622"/>
                        <a:pt x="33204" y="341440"/>
                        <a:pt x="37233" y="346012"/>
                      </a:cubicBezTo>
                      <a:cubicBezTo>
                        <a:pt x="38166" y="343383"/>
                        <a:pt x="40281" y="342050"/>
                        <a:pt x="43176" y="342221"/>
                      </a:cubicBezTo>
                      <a:cubicBezTo>
                        <a:pt x="36423" y="340116"/>
                        <a:pt x="45044" y="335687"/>
                        <a:pt x="48244" y="334668"/>
                      </a:cubicBezTo>
                      <a:cubicBezTo>
                        <a:pt x="49568" y="336535"/>
                        <a:pt x="48406" y="334925"/>
                        <a:pt x="50749" y="335668"/>
                      </a:cubicBezTo>
                      <a:cubicBezTo>
                        <a:pt x="50416" y="330820"/>
                        <a:pt x="59360" y="329200"/>
                        <a:pt x="63084" y="327648"/>
                      </a:cubicBezTo>
                      <a:cubicBezTo>
                        <a:pt x="62093" y="328944"/>
                        <a:pt x="61417" y="330515"/>
                        <a:pt x="60360" y="331753"/>
                      </a:cubicBezTo>
                      <a:cubicBezTo>
                        <a:pt x="63570" y="329239"/>
                        <a:pt x="80743" y="316409"/>
                        <a:pt x="81810" y="322495"/>
                      </a:cubicBezTo>
                      <a:cubicBezTo>
                        <a:pt x="86858" y="313494"/>
                        <a:pt x="102165" y="309065"/>
                        <a:pt x="111480" y="304893"/>
                      </a:cubicBezTo>
                      <a:cubicBezTo>
                        <a:pt x="116853" y="302483"/>
                        <a:pt x="121672" y="302493"/>
                        <a:pt x="126797" y="301454"/>
                      </a:cubicBezTo>
                      <a:cubicBezTo>
                        <a:pt x="131369" y="300521"/>
                        <a:pt x="136760" y="295768"/>
                        <a:pt x="140436" y="298835"/>
                      </a:cubicBezTo>
                      <a:cubicBezTo>
                        <a:pt x="143218" y="292272"/>
                        <a:pt x="155343" y="290977"/>
                        <a:pt x="161391" y="289205"/>
                      </a:cubicBezTo>
                      <a:cubicBezTo>
                        <a:pt x="166544" y="287691"/>
                        <a:pt x="170640" y="285500"/>
                        <a:pt x="175241" y="284128"/>
                      </a:cubicBezTo>
                      <a:cubicBezTo>
                        <a:pt x="175022" y="283919"/>
                        <a:pt x="174784" y="283700"/>
                        <a:pt x="174564" y="283490"/>
                      </a:cubicBezTo>
                      <a:cubicBezTo>
                        <a:pt x="178737" y="282014"/>
                        <a:pt x="194234" y="272946"/>
                        <a:pt x="196996" y="275813"/>
                      </a:cubicBezTo>
                      <a:cubicBezTo>
                        <a:pt x="196701" y="274041"/>
                        <a:pt x="198205" y="275232"/>
                        <a:pt x="196843" y="273470"/>
                      </a:cubicBezTo>
                      <a:cubicBezTo>
                        <a:pt x="199834" y="272222"/>
                        <a:pt x="203282" y="270088"/>
                        <a:pt x="205778" y="272955"/>
                      </a:cubicBezTo>
                      <a:cubicBezTo>
                        <a:pt x="205064" y="269726"/>
                        <a:pt x="208521" y="269136"/>
                        <a:pt x="211426" y="268841"/>
                      </a:cubicBezTo>
                      <a:cubicBezTo>
                        <a:pt x="211331" y="269555"/>
                        <a:pt x="211236" y="270279"/>
                        <a:pt x="211150" y="271003"/>
                      </a:cubicBezTo>
                      <a:cubicBezTo>
                        <a:pt x="214693" y="266288"/>
                        <a:pt x="222418" y="263907"/>
                        <a:pt x="227486" y="261202"/>
                      </a:cubicBezTo>
                      <a:cubicBezTo>
                        <a:pt x="226809" y="263316"/>
                        <a:pt x="225295" y="265183"/>
                        <a:pt x="223314" y="266450"/>
                      </a:cubicBezTo>
                      <a:cubicBezTo>
                        <a:pt x="229228" y="263335"/>
                        <a:pt x="233515" y="257916"/>
                        <a:pt x="239839" y="254686"/>
                      </a:cubicBezTo>
                      <a:cubicBezTo>
                        <a:pt x="243916" y="252591"/>
                        <a:pt x="244373" y="252105"/>
                        <a:pt x="247450" y="249676"/>
                      </a:cubicBezTo>
                      <a:cubicBezTo>
                        <a:pt x="257480" y="241799"/>
                        <a:pt x="266776" y="233836"/>
                        <a:pt x="278768" y="230141"/>
                      </a:cubicBezTo>
                      <a:cubicBezTo>
                        <a:pt x="292512" y="225911"/>
                        <a:pt x="302514" y="215605"/>
                        <a:pt x="313506" y="207004"/>
                      </a:cubicBezTo>
                      <a:cubicBezTo>
                        <a:pt x="320850" y="201261"/>
                        <a:pt x="341186" y="187126"/>
                        <a:pt x="350844" y="191917"/>
                      </a:cubicBezTo>
                      <a:cubicBezTo>
                        <a:pt x="347091" y="192364"/>
                        <a:pt x="341614" y="192479"/>
                        <a:pt x="339614" y="196603"/>
                      </a:cubicBezTo>
                      <a:cubicBezTo>
                        <a:pt x="338185" y="199575"/>
                        <a:pt x="337661" y="201509"/>
                        <a:pt x="341881" y="202299"/>
                      </a:cubicBezTo>
                      <a:cubicBezTo>
                        <a:pt x="339614" y="207557"/>
                        <a:pt x="334384" y="210662"/>
                        <a:pt x="331946" y="215863"/>
                      </a:cubicBezTo>
                      <a:lnTo>
                        <a:pt x="331946" y="215863"/>
                      </a:lnTo>
                      <a:close/>
                      <a:moveTo>
                        <a:pt x="522580" y="16019"/>
                      </a:moveTo>
                      <a:cubicBezTo>
                        <a:pt x="522313" y="16504"/>
                        <a:pt x="522046" y="16990"/>
                        <a:pt x="521779" y="17466"/>
                      </a:cubicBezTo>
                      <a:cubicBezTo>
                        <a:pt x="524694" y="16228"/>
                        <a:pt x="527266" y="14466"/>
                        <a:pt x="530171" y="13171"/>
                      </a:cubicBezTo>
                      <a:cubicBezTo>
                        <a:pt x="529199" y="13837"/>
                        <a:pt x="528485" y="15028"/>
                        <a:pt x="527609" y="15818"/>
                      </a:cubicBezTo>
                      <a:cubicBezTo>
                        <a:pt x="529237" y="16514"/>
                        <a:pt x="532409" y="19629"/>
                        <a:pt x="532781" y="19781"/>
                      </a:cubicBezTo>
                      <a:cubicBezTo>
                        <a:pt x="534152" y="20333"/>
                        <a:pt x="535971" y="18381"/>
                        <a:pt x="536905" y="19143"/>
                      </a:cubicBezTo>
                      <a:cubicBezTo>
                        <a:pt x="540991" y="22448"/>
                        <a:pt x="540905" y="23534"/>
                        <a:pt x="537572" y="27525"/>
                      </a:cubicBezTo>
                      <a:cubicBezTo>
                        <a:pt x="539734" y="27410"/>
                        <a:pt x="542020" y="26820"/>
                        <a:pt x="544116" y="25848"/>
                      </a:cubicBezTo>
                      <a:cubicBezTo>
                        <a:pt x="542134" y="29992"/>
                        <a:pt x="541991" y="33792"/>
                        <a:pt x="539582" y="37831"/>
                      </a:cubicBezTo>
                      <a:cubicBezTo>
                        <a:pt x="538372" y="39850"/>
                        <a:pt x="536334" y="41774"/>
                        <a:pt x="534971" y="43079"/>
                      </a:cubicBezTo>
                      <a:cubicBezTo>
                        <a:pt x="534057" y="43955"/>
                        <a:pt x="532200" y="41812"/>
                        <a:pt x="530943" y="43194"/>
                      </a:cubicBezTo>
                      <a:cubicBezTo>
                        <a:pt x="530552" y="43622"/>
                        <a:pt x="530476" y="46946"/>
                        <a:pt x="530133" y="47841"/>
                      </a:cubicBezTo>
                      <a:cubicBezTo>
                        <a:pt x="527447" y="55109"/>
                        <a:pt x="528342" y="58167"/>
                        <a:pt x="522980" y="63939"/>
                      </a:cubicBezTo>
                      <a:cubicBezTo>
                        <a:pt x="519065" y="68168"/>
                        <a:pt x="515035" y="71911"/>
                        <a:pt x="510559" y="76064"/>
                      </a:cubicBezTo>
                      <a:cubicBezTo>
                        <a:pt x="511902" y="77007"/>
                        <a:pt x="512407" y="77350"/>
                        <a:pt x="513379" y="78217"/>
                      </a:cubicBezTo>
                      <a:cubicBezTo>
                        <a:pt x="515255" y="76283"/>
                        <a:pt x="520675" y="77350"/>
                        <a:pt x="521618" y="80160"/>
                      </a:cubicBezTo>
                      <a:cubicBezTo>
                        <a:pt x="522541" y="82875"/>
                        <a:pt x="519703" y="84389"/>
                        <a:pt x="518741" y="87580"/>
                      </a:cubicBezTo>
                      <a:cubicBezTo>
                        <a:pt x="531419" y="90771"/>
                        <a:pt x="532866" y="65777"/>
                        <a:pt x="542020" y="64548"/>
                      </a:cubicBezTo>
                      <a:cubicBezTo>
                        <a:pt x="541048" y="67196"/>
                        <a:pt x="540334" y="70244"/>
                        <a:pt x="540477" y="73083"/>
                      </a:cubicBezTo>
                      <a:cubicBezTo>
                        <a:pt x="541458" y="72959"/>
                        <a:pt x="542420" y="72835"/>
                        <a:pt x="543401" y="72711"/>
                      </a:cubicBezTo>
                      <a:cubicBezTo>
                        <a:pt x="539591" y="77617"/>
                        <a:pt x="535581" y="84494"/>
                        <a:pt x="532257" y="90114"/>
                      </a:cubicBezTo>
                      <a:cubicBezTo>
                        <a:pt x="530076" y="93819"/>
                        <a:pt x="530142" y="95657"/>
                        <a:pt x="528894" y="99181"/>
                      </a:cubicBezTo>
                      <a:cubicBezTo>
                        <a:pt x="528733" y="99619"/>
                        <a:pt x="525170" y="98057"/>
                        <a:pt x="525789" y="100315"/>
                      </a:cubicBezTo>
                      <a:cubicBezTo>
                        <a:pt x="526104" y="101486"/>
                        <a:pt x="536600" y="108373"/>
                        <a:pt x="538105" y="109240"/>
                      </a:cubicBezTo>
                      <a:cubicBezTo>
                        <a:pt x="545220" y="113345"/>
                        <a:pt x="551907" y="112669"/>
                        <a:pt x="559089" y="109554"/>
                      </a:cubicBezTo>
                      <a:cubicBezTo>
                        <a:pt x="565261" y="106887"/>
                        <a:pt x="570547" y="103106"/>
                        <a:pt x="576919" y="100801"/>
                      </a:cubicBezTo>
                      <a:cubicBezTo>
                        <a:pt x="580187" y="99619"/>
                        <a:pt x="592617" y="95838"/>
                        <a:pt x="593036" y="102334"/>
                      </a:cubicBezTo>
                      <a:cubicBezTo>
                        <a:pt x="593198" y="104830"/>
                        <a:pt x="580673" y="111964"/>
                        <a:pt x="577948" y="114278"/>
                      </a:cubicBezTo>
                      <a:cubicBezTo>
                        <a:pt x="572367" y="119031"/>
                        <a:pt x="567385" y="124661"/>
                        <a:pt x="561346" y="128804"/>
                      </a:cubicBezTo>
                      <a:cubicBezTo>
                        <a:pt x="554727" y="133357"/>
                        <a:pt x="547088" y="134433"/>
                        <a:pt x="540982" y="139643"/>
                      </a:cubicBezTo>
                      <a:cubicBezTo>
                        <a:pt x="537353" y="142730"/>
                        <a:pt x="532619" y="150892"/>
                        <a:pt x="528123" y="151169"/>
                      </a:cubicBezTo>
                      <a:cubicBezTo>
                        <a:pt x="536029" y="140082"/>
                        <a:pt x="480631" y="155512"/>
                        <a:pt x="492880" y="165256"/>
                      </a:cubicBezTo>
                      <a:cubicBezTo>
                        <a:pt x="472764" y="178524"/>
                        <a:pt x="452199" y="190355"/>
                        <a:pt x="431654" y="202899"/>
                      </a:cubicBezTo>
                      <a:cubicBezTo>
                        <a:pt x="422453" y="208528"/>
                        <a:pt x="413242" y="213996"/>
                        <a:pt x="403279" y="218149"/>
                      </a:cubicBezTo>
                      <a:cubicBezTo>
                        <a:pt x="397916" y="220377"/>
                        <a:pt x="392049" y="223464"/>
                        <a:pt x="386410" y="224673"/>
                      </a:cubicBezTo>
                      <a:cubicBezTo>
                        <a:pt x="380429" y="225950"/>
                        <a:pt x="379600" y="225569"/>
                        <a:pt x="384086" y="220216"/>
                      </a:cubicBezTo>
                      <a:cubicBezTo>
                        <a:pt x="381543" y="219196"/>
                        <a:pt x="378485" y="219882"/>
                        <a:pt x="376047" y="220416"/>
                      </a:cubicBezTo>
                      <a:cubicBezTo>
                        <a:pt x="377828" y="218215"/>
                        <a:pt x="379905" y="216196"/>
                        <a:pt x="382314" y="214710"/>
                      </a:cubicBezTo>
                      <a:cubicBezTo>
                        <a:pt x="379657" y="214748"/>
                        <a:pt x="376809" y="218158"/>
                        <a:pt x="372989" y="216910"/>
                      </a:cubicBezTo>
                      <a:cubicBezTo>
                        <a:pt x="382152" y="207719"/>
                        <a:pt x="398126" y="202928"/>
                        <a:pt x="408908" y="195289"/>
                      </a:cubicBezTo>
                      <a:cubicBezTo>
                        <a:pt x="414499" y="191326"/>
                        <a:pt x="421414" y="186859"/>
                        <a:pt x="424196" y="180506"/>
                      </a:cubicBezTo>
                      <a:cubicBezTo>
                        <a:pt x="426044" y="176296"/>
                        <a:pt x="425968" y="174353"/>
                        <a:pt x="423120" y="171152"/>
                      </a:cubicBezTo>
                      <a:cubicBezTo>
                        <a:pt x="422348" y="170276"/>
                        <a:pt x="419805" y="171324"/>
                        <a:pt x="418852" y="170200"/>
                      </a:cubicBezTo>
                      <a:cubicBezTo>
                        <a:pt x="417776" y="168943"/>
                        <a:pt x="417805" y="166828"/>
                        <a:pt x="416947" y="165761"/>
                      </a:cubicBezTo>
                      <a:cubicBezTo>
                        <a:pt x="412947" y="160799"/>
                        <a:pt x="405632" y="159922"/>
                        <a:pt x="411623" y="152836"/>
                      </a:cubicBezTo>
                      <a:cubicBezTo>
                        <a:pt x="415985" y="147692"/>
                        <a:pt x="424482" y="145835"/>
                        <a:pt x="430673" y="144359"/>
                      </a:cubicBezTo>
                      <a:cubicBezTo>
                        <a:pt x="446561" y="140586"/>
                        <a:pt x="454180" y="131947"/>
                        <a:pt x="466877" y="122079"/>
                      </a:cubicBezTo>
                      <a:cubicBezTo>
                        <a:pt x="473173" y="117183"/>
                        <a:pt x="479307" y="112888"/>
                        <a:pt x="484927" y="107563"/>
                      </a:cubicBezTo>
                      <a:cubicBezTo>
                        <a:pt x="487851" y="104791"/>
                        <a:pt x="488252" y="105030"/>
                        <a:pt x="490328" y="100772"/>
                      </a:cubicBezTo>
                      <a:cubicBezTo>
                        <a:pt x="492261" y="96810"/>
                        <a:pt x="493528" y="94181"/>
                        <a:pt x="497405" y="91723"/>
                      </a:cubicBezTo>
                      <a:cubicBezTo>
                        <a:pt x="493566" y="87589"/>
                        <a:pt x="505092" y="79083"/>
                        <a:pt x="500063" y="87827"/>
                      </a:cubicBezTo>
                      <a:cubicBezTo>
                        <a:pt x="503444" y="84122"/>
                        <a:pt x="511245" y="85303"/>
                        <a:pt x="509264" y="79284"/>
                      </a:cubicBezTo>
                      <a:cubicBezTo>
                        <a:pt x="507806" y="79560"/>
                        <a:pt x="503577" y="81294"/>
                        <a:pt x="502215" y="80408"/>
                      </a:cubicBezTo>
                      <a:cubicBezTo>
                        <a:pt x="499463" y="78636"/>
                        <a:pt x="502262" y="78122"/>
                        <a:pt x="502577" y="75550"/>
                      </a:cubicBezTo>
                      <a:cubicBezTo>
                        <a:pt x="502968" y="72302"/>
                        <a:pt x="507035" y="58881"/>
                        <a:pt x="508292" y="68520"/>
                      </a:cubicBezTo>
                      <a:cubicBezTo>
                        <a:pt x="511502" y="66891"/>
                        <a:pt x="512254" y="64711"/>
                        <a:pt x="514131" y="62339"/>
                      </a:cubicBezTo>
                      <a:cubicBezTo>
                        <a:pt x="514007" y="62491"/>
                        <a:pt x="518074" y="57891"/>
                        <a:pt x="518341" y="57128"/>
                      </a:cubicBezTo>
                      <a:cubicBezTo>
                        <a:pt x="520055" y="52194"/>
                        <a:pt x="513683" y="56986"/>
                        <a:pt x="514140" y="57405"/>
                      </a:cubicBezTo>
                      <a:cubicBezTo>
                        <a:pt x="510435" y="54014"/>
                        <a:pt x="512140" y="50508"/>
                        <a:pt x="514055" y="46689"/>
                      </a:cubicBezTo>
                      <a:cubicBezTo>
                        <a:pt x="509073" y="50747"/>
                        <a:pt x="512321" y="61005"/>
                        <a:pt x="505663" y="61872"/>
                      </a:cubicBezTo>
                      <a:cubicBezTo>
                        <a:pt x="506301" y="55481"/>
                        <a:pt x="507863" y="46842"/>
                        <a:pt x="509292" y="40317"/>
                      </a:cubicBezTo>
                      <a:cubicBezTo>
                        <a:pt x="511121" y="31935"/>
                        <a:pt x="516169" y="33440"/>
                        <a:pt x="522237" y="28106"/>
                      </a:cubicBezTo>
                      <a:cubicBezTo>
                        <a:pt x="517855" y="27934"/>
                        <a:pt x="513750" y="31687"/>
                        <a:pt x="510101" y="33811"/>
                      </a:cubicBezTo>
                      <a:cubicBezTo>
                        <a:pt x="510559" y="31887"/>
                        <a:pt x="510454" y="28249"/>
                        <a:pt x="510607" y="27839"/>
                      </a:cubicBezTo>
                      <a:cubicBezTo>
                        <a:pt x="512264" y="23324"/>
                        <a:pt x="515626" y="23010"/>
                        <a:pt x="518093" y="18562"/>
                      </a:cubicBezTo>
                      <a:cubicBezTo>
                        <a:pt x="520360" y="14457"/>
                        <a:pt x="518227" y="9799"/>
                        <a:pt x="519093" y="5608"/>
                      </a:cubicBezTo>
                      <a:cubicBezTo>
                        <a:pt x="520436" y="-793"/>
                        <a:pt x="522780" y="-12"/>
                        <a:pt x="529800" y="74"/>
                      </a:cubicBezTo>
                      <a:cubicBezTo>
                        <a:pt x="523770" y="3303"/>
                        <a:pt x="522303" y="9589"/>
                        <a:pt x="522580" y="16019"/>
                      </a:cubicBezTo>
                      <a:lnTo>
                        <a:pt x="522580" y="16019"/>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90" name="Freeform: Shape 589">
                  <a:extLst>
                    <a:ext uri="{FF2B5EF4-FFF2-40B4-BE49-F238E27FC236}">
                      <a16:creationId xmlns:a16="http://schemas.microsoft.com/office/drawing/2014/main" id="{F38B3366-3250-4E53-BDDF-DED01C5D8E9F}"/>
                    </a:ext>
                  </a:extLst>
                </p:cNvPr>
                <p:cNvSpPr/>
                <p:nvPr/>
              </p:nvSpPr>
              <p:spPr>
                <a:xfrm>
                  <a:off x="7958256" y="3407611"/>
                  <a:ext cx="264957" cy="126339"/>
                </a:xfrm>
                <a:custGeom>
                  <a:avLst/>
                  <a:gdLst>
                    <a:gd name="connsiteX0" fmla="*/ 249816 w 264957"/>
                    <a:gd name="connsiteY0" fmla="*/ 79355 h 126339"/>
                    <a:gd name="connsiteX1" fmla="*/ 252350 w 264957"/>
                    <a:gd name="connsiteY1" fmla="*/ 93109 h 126339"/>
                    <a:gd name="connsiteX2" fmla="*/ 260760 w 264957"/>
                    <a:gd name="connsiteY2" fmla="*/ 109511 h 126339"/>
                    <a:gd name="connsiteX3" fmla="*/ 263542 w 264957"/>
                    <a:gd name="connsiteY3" fmla="*/ 125742 h 126339"/>
                    <a:gd name="connsiteX4" fmla="*/ 246559 w 264957"/>
                    <a:gd name="connsiteY4" fmla="*/ 125189 h 126339"/>
                    <a:gd name="connsiteX5" fmla="*/ 239301 w 264957"/>
                    <a:gd name="connsiteY5" fmla="*/ 126190 h 126339"/>
                    <a:gd name="connsiteX6" fmla="*/ 232309 w 264957"/>
                    <a:gd name="connsiteY6" fmla="*/ 121027 h 126339"/>
                    <a:gd name="connsiteX7" fmla="*/ 225652 w 264957"/>
                    <a:gd name="connsiteY7" fmla="*/ 124161 h 126339"/>
                    <a:gd name="connsiteX8" fmla="*/ 217889 w 264957"/>
                    <a:gd name="connsiteY8" fmla="*/ 122494 h 126339"/>
                    <a:gd name="connsiteX9" fmla="*/ 200744 w 264957"/>
                    <a:gd name="connsiteY9" fmla="*/ 117874 h 126339"/>
                    <a:gd name="connsiteX10" fmla="*/ 193790 w 264957"/>
                    <a:gd name="connsiteY10" fmla="*/ 118760 h 126339"/>
                    <a:gd name="connsiteX11" fmla="*/ 188628 w 264957"/>
                    <a:gd name="connsiteY11" fmla="*/ 112521 h 126339"/>
                    <a:gd name="connsiteX12" fmla="*/ 179674 w 264957"/>
                    <a:gd name="connsiteY12" fmla="*/ 114417 h 126339"/>
                    <a:gd name="connsiteX13" fmla="*/ 174112 w 264957"/>
                    <a:gd name="connsiteY13" fmla="*/ 113121 h 126339"/>
                    <a:gd name="connsiteX14" fmla="*/ 161501 w 264957"/>
                    <a:gd name="connsiteY14" fmla="*/ 107263 h 126339"/>
                    <a:gd name="connsiteX15" fmla="*/ 150766 w 264957"/>
                    <a:gd name="connsiteY15" fmla="*/ 96786 h 126339"/>
                    <a:gd name="connsiteX16" fmla="*/ 132630 w 264957"/>
                    <a:gd name="connsiteY16" fmla="*/ 92452 h 126339"/>
                    <a:gd name="connsiteX17" fmla="*/ 126220 w 264957"/>
                    <a:gd name="connsiteY17" fmla="*/ 94528 h 126339"/>
                    <a:gd name="connsiteX18" fmla="*/ 115990 w 264957"/>
                    <a:gd name="connsiteY18" fmla="*/ 92195 h 126339"/>
                    <a:gd name="connsiteX19" fmla="*/ 111447 w 264957"/>
                    <a:gd name="connsiteY19" fmla="*/ 94814 h 126339"/>
                    <a:gd name="connsiteX20" fmla="*/ 101855 w 264957"/>
                    <a:gd name="connsiteY20" fmla="*/ 92290 h 126339"/>
                    <a:gd name="connsiteX21" fmla="*/ 86463 w 264957"/>
                    <a:gd name="connsiteY21" fmla="*/ 85308 h 126339"/>
                    <a:gd name="connsiteX22" fmla="*/ 68889 w 264957"/>
                    <a:gd name="connsiteY22" fmla="*/ 78260 h 126339"/>
                    <a:gd name="connsiteX23" fmla="*/ 57897 w 264957"/>
                    <a:gd name="connsiteY23" fmla="*/ 76507 h 126339"/>
                    <a:gd name="connsiteX24" fmla="*/ 41609 w 264957"/>
                    <a:gd name="connsiteY24" fmla="*/ 67211 h 126339"/>
                    <a:gd name="connsiteX25" fmla="*/ 26236 w 264957"/>
                    <a:gd name="connsiteY25" fmla="*/ 59048 h 126339"/>
                    <a:gd name="connsiteX26" fmla="*/ 20693 w 264957"/>
                    <a:gd name="connsiteY26" fmla="*/ 55981 h 126339"/>
                    <a:gd name="connsiteX27" fmla="*/ 15815 w 264957"/>
                    <a:gd name="connsiteY27" fmla="*/ 55733 h 126339"/>
                    <a:gd name="connsiteX28" fmla="*/ 1471 w 264957"/>
                    <a:gd name="connsiteY28" fmla="*/ 49161 h 126339"/>
                    <a:gd name="connsiteX29" fmla="*/ 1862 w 264957"/>
                    <a:gd name="connsiteY29" fmla="*/ 35673 h 126339"/>
                    <a:gd name="connsiteX30" fmla="*/ 3671 w 264957"/>
                    <a:gd name="connsiteY30" fmla="*/ 15804 h 126339"/>
                    <a:gd name="connsiteX31" fmla="*/ 12834 w 264957"/>
                    <a:gd name="connsiteY31" fmla="*/ 6670 h 126339"/>
                    <a:gd name="connsiteX32" fmla="*/ 18826 w 264957"/>
                    <a:gd name="connsiteY32" fmla="*/ 10889 h 126339"/>
                    <a:gd name="connsiteX33" fmla="*/ 23493 w 264957"/>
                    <a:gd name="connsiteY33" fmla="*/ 5489 h 126339"/>
                    <a:gd name="connsiteX34" fmla="*/ 30437 w 264957"/>
                    <a:gd name="connsiteY34" fmla="*/ 40 h 126339"/>
                    <a:gd name="connsiteX35" fmla="*/ 40905 w 264957"/>
                    <a:gd name="connsiteY35" fmla="*/ 1545 h 126339"/>
                    <a:gd name="connsiteX36" fmla="*/ 53430 w 264957"/>
                    <a:gd name="connsiteY36" fmla="*/ 11232 h 126339"/>
                    <a:gd name="connsiteX37" fmla="*/ 73242 w 264957"/>
                    <a:gd name="connsiteY37" fmla="*/ 21795 h 126339"/>
                    <a:gd name="connsiteX38" fmla="*/ 89949 w 264957"/>
                    <a:gd name="connsiteY38" fmla="*/ 28730 h 126339"/>
                    <a:gd name="connsiteX39" fmla="*/ 105218 w 264957"/>
                    <a:gd name="connsiteY39" fmla="*/ 37350 h 126339"/>
                    <a:gd name="connsiteX40" fmla="*/ 113933 w 264957"/>
                    <a:gd name="connsiteY40" fmla="*/ 35988 h 126339"/>
                    <a:gd name="connsiteX41" fmla="*/ 120238 w 264957"/>
                    <a:gd name="connsiteY41" fmla="*/ 42589 h 126339"/>
                    <a:gd name="connsiteX42" fmla="*/ 135240 w 264957"/>
                    <a:gd name="connsiteY42" fmla="*/ 52990 h 126339"/>
                    <a:gd name="connsiteX43" fmla="*/ 146156 w 264957"/>
                    <a:gd name="connsiteY43" fmla="*/ 57714 h 126339"/>
                    <a:gd name="connsiteX44" fmla="*/ 153452 w 264957"/>
                    <a:gd name="connsiteY44" fmla="*/ 56333 h 126339"/>
                    <a:gd name="connsiteX45" fmla="*/ 154747 w 264957"/>
                    <a:gd name="connsiteY45" fmla="*/ 63353 h 126339"/>
                    <a:gd name="connsiteX46" fmla="*/ 173531 w 264957"/>
                    <a:gd name="connsiteY46" fmla="*/ 66725 h 126339"/>
                    <a:gd name="connsiteX47" fmla="*/ 186304 w 264957"/>
                    <a:gd name="connsiteY47" fmla="*/ 78031 h 126339"/>
                    <a:gd name="connsiteX48" fmla="*/ 187399 w 264957"/>
                    <a:gd name="connsiteY48" fmla="*/ 73345 h 126339"/>
                    <a:gd name="connsiteX49" fmla="*/ 191990 w 264957"/>
                    <a:gd name="connsiteY49" fmla="*/ 74450 h 126339"/>
                    <a:gd name="connsiteX50" fmla="*/ 200420 w 264957"/>
                    <a:gd name="connsiteY50" fmla="*/ 77250 h 126339"/>
                    <a:gd name="connsiteX51" fmla="*/ 201963 w 264957"/>
                    <a:gd name="connsiteY51" fmla="*/ 72211 h 126339"/>
                    <a:gd name="connsiteX52" fmla="*/ 216050 w 264957"/>
                    <a:gd name="connsiteY52" fmla="*/ 77164 h 126339"/>
                    <a:gd name="connsiteX53" fmla="*/ 234348 w 264957"/>
                    <a:gd name="connsiteY53" fmla="*/ 80965 h 126339"/>
                    <a:gd name="connsiteX54" fmla="*/ 249816 w 264957"/>
                    <a:gd name="connsiteY54" fmla="*/ 79355 h 126339"/>
                    <a:gd name="connsiteX55" fmla="*/ 249816 w 264957"/>
                    <a:gd name="connsiteY55" fmla="*/ 79355 h 126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64957" h="126339">
                      <a:moveTo>
                        <a:pt x="249816" y="79355"/>
                      </a:moveTo>
                      <a:cubicBezTo>
                        <a:pt x="254074" y="81822"/>
                        <a:pt x="251893" y="88928"/>
                        <a:pt x="252350" y="93109"/>
                      </a:cubicBezTo>
                      <a:cubicBezTo>
                        <a:pt x="253331" y="102044"/>
                        <a:pt x="255846" y="103139"/>
                        <a:pt x="260760" y="109511"/>
                      </a:cubicBezTo>
                      <a:cubicBezTo>
                        <a:pt x="262856" y="112226"/>
                        <a:pt x="267200" y="122837"/>
                        <a:pt x="263542" y="125742"/>
                      </a:cubicBezTo>
                      <a:cubicBezTo>
                        <a:pt x="262056" y="126933"/>
                        <a:pt x="249845" y="124894"/>
                        <a:pt x="246559" y="125189"/>
                      </a:cubicBezTo>
                      <a:cubicBezTo>
                        <a:pt x="243549" y="125456"/>
                        <a:pt x="242444" y="126780"/>
                        <a:pt x="239301" y="126190"/>
                      </a:cubicBezTo>
                      <a:cubicBezTo>
                        <a:pt x="236234" y="125618"/>
                        <a:pt x="234357" y="121370"/>
                        <a:pt x="232309" y="121027"/>
                      </a:cubicBezTo>
                      <a:cubicBezTo>
                        <a:pt x="229890" y="120627"/>
                        <a:pt x="228004" y="123780"/>
                        <a:pt x="225652" y="124161"/>
                      </a:cubicBezTo>
                      <a:cubicBezTo>
                        <a:pt x="222794" y="124627"/>
                        <a:pt x="220651" y="123475"/>
                        <a:pt x="217889" y="122494"/>
                      </a:cubicBezTo>
                      <a:cubicBezTo>
                        <a:pt x="212574" y="120608"/>
                        <a:pt x="206439" y="118036"/>
                        <a:pt x="200744" y="117874"/>
                      </a:cubicBezTo>
                      <a:cubicBezTo>
                        <a:pt x="197972" y="117798"/>
                        <a:pt x="196743" y="120075"/>
                        <a:pt x="193790" y="118760"/>
                      </a:cubicBezTo>
                      <a:cubicBezTo>
                        <a:pt x="191076" y="117550"/>
                        <a:pt x="191238" y="113626"/>
                        <a:pt x="188628" y="112521"/>
                      </a:cubicBezTo>
                      <a:cubicBezTo>
                        <a:pt x="184789" y="110892"/>
                        <a:pt x="183246" y="114245"/>
                        <a:pt x="179674" y="114417"/>
                      </a:cubicBezTo>
                      <a:cubicBezTo>
                        <a:pt x="176941" y="114550"/>
                        <a:pt x="176436" y="113845"/>
                        <a:pt x="174112" y="113121"/>
                      </a:cubicBezTo>
                      <a:cubicBezTo>
                        <a:pt x="170721" y="112073"/>
                        <a:pt x="165120" y="109130"/>
                        <a:pt x="161501" y="107263"/>
                      </a:cubicBezTo>
                      <a:cubicBezTo>
                        <a:pt x="155776" y="104320"/>
                        <a:pt x="155690" y="100063"/>
                        <a:pt x="150766" y="96786"/>
                      </a:cubicBezTo>
                      <a:cubicBezTo>
                        <a:pt x="146423" y="93900"/>
                        <a:pt x="136850" y="91833"/>
                        <a:pt x="132630" y="92452"/>
                      </a:cubicBezTo>
                      <a:cubicBezTo>
                        <a:pt x="129963" y="92842"/>
                        <a:pt x="128820" y="94462"/>
                        <a:pt x="126220" y="94528"/>
                      </a:cubicBezTo>
                      <a:cubicBezTo>
                        <a:pt x="122819" y="94624"/>
                        <a:pt x="119600" y="91757"/>
                        <a:pt x="115990" y="92195"/>
                      </a:cubicBezTo>
                      <a:cubicBezTo>
                        <a:pt x="113676" y="92481"/>
                        <a:pt x="113980" y="94624"/>
                        <a:pt x="111447" y="94814"/>
                      </a:cubicBezTo>
                      <a:cubicBezTo>
                        <a:pt x="108999" y="95005"/>
                        <a:pt x="104427" y="92871"/>
                        <a:pt x="101855" y="92290"/>
                      </a:cubicBezTo>
                      <a:cubicBezTo>
                        <a:pt x="94997" y="90728"/>
                        <a:pt x="92349" y="87061"/>
                        <a:pt x="86463" y="85308"/>
                      </a:cubicBezTo>
                      <a:cubicBezTo>
                        <a:pt x="81005" y="83689"/>
                        <a:pt x="74633" y="79374"/>
                        <a:pt x="68889" y="78260"/>
                      </a:cubicBezTo>
                      <a:cubicBezTo>
                        <a:pt x="64650" y="77431"/>
                        <a:pt x="63050" y="78926"/>
                        <a:pt x="57897" y="76507"/>
                      </a:cubicBezTo>
                      <a:cubicBezTo>
                        <a:pt x="52144" y="73811"/>
                        <a:pt x="46829" y="70811"/>
                        <a:pt x="41609" y="67211"/>
                      </a:cubicBezTo>
                      <a:cubicBezTo>
                        <a:pt x="36704" y="63839"/>
                        <a:pt x="31665" y="61724"/>
                        <a:pt x="26236" y="59048"/>
                      </a:cubicBezTo>
                      <a:cubicBezTo>
                        <a:pt x="24645" y="58257"/>
                        <a:pt x="22283" y="56400"/>
                        <a:pt x="20693" y="55981"/>
                      </a:cubicBezTo>
                      <a:cubicBezTo>
                        <a:pt x="19035" y="55543"/>
                        <a:pt x="15521" y="55666"/>
                        <a:pt x="15815" y="55733"/>
                      </a:cubicBezTo>
                      <a:cubicBezTo>
                        <a:pt x="12320" y="55000"/>
                        <a:pt x="4186" y="52761"/>
                        <a:pt x="1471" y="49161"/>
                      </a:cubicBezTo>
                      <a:cubicBezTo>
                        <a:pt x="-2006" y="44541"/>
                        <a:pt x="1757" y="40341"/>
                        <a:pt x="1862" y="35673"/>
                      </a:cubicBezTo>
                      <a:cubicBezTo>
                        <a:pt x="2042" y="28139"/>
                        <a:pt x="-720" y="23272"/>
                        <a:pt x="3671" y="15804"/>
                      </a:cubicBezTo>
                      <a:cubicBezTo>
                        <a:pt x="5338" y="12985"/>
                        <a:pt x="9262" y="6756"/>
                        <a:pt x="12834" y="6670"/>
                      </a:cubicBezTo>
                      <a:cubicBezTo>
                        <a:pt x="15616" y="6603"/>
                        <a:pt x="16254" y="10842"/>
                        <a:pt x="18826" y="10889"/>
                      </a:cubicBezTo>
                      <a:cubicBezTo>
                        <a:pt x="22893" y="10966"/>
                        <a:pt x="21692" y="8308"/>
                        <a:pt x="23493" y="5489"/>
                      </a:cubicBezTo>
                      <a:cubicBezTo>
                        <a:pt x="25779" y="1945"/>
                        <a:pt x="24521" y="536"/>
                        <a:pt x="30437" y="40"/>
                      </a:cubicBezTo>
                      <a:cubicBezTo>
                        <a:pt x="32980" y="-179"/>
                        <a:pt x="38447" y="517"/>
                        <a:pt x="40905" y="1545"/>
                      </a:cubicBezTo>
                      <a:cubicBezTo>
                        <a:pt x="45829" y="3603"/>
                        <a:pt x="48458" y="8641"/>
                        <a:pt x="53430" y="11232"/>
                      </a:cubicBezTo>
                      <a:cubicBezTo>
                        <a:pt x="59992" y="14661"/>
                        <a:pt x="66584" y="18538"/>
                        <a:pt x="73242" y="21795"/>
                      </a:cubicBezTo>
                      <a:cubicBezTo>
                        <a:pt x="79195" y="24720"/>
                        <a:pt x="84548" y="24462"/>
                        <a:pt x="89949" y="28730"/>
                      </a:cubicBezTo>
                      <a:cubicBezTo>
                        <a:pt x="95207" y="32873"/>
                        <a:pt x="98312" y="38045"/>
                        <a:pt x="105218" y="37350"/>
                      </a:cubicBezTo>
                      <a:cubicBezTo>
                        <a:pt x="108961" y="36969"/>
                        <a:pt x="109789" y="34416"/>
                        <a:pt x="113933" y="35988"/>
                      </a:cubicBezTo>
                      <a:cubicBezTo>
                        <a:pt x="117066" y="37178"/>
                        <a:pt x="118191" y="40131"/>
                        <a:pt x="120238" y="42589"/>
                      </a:cubicBezTo>
                      <a:cubicBezTo>
                        <a:pt x="124420" y="47618"/>
                        <a:pt x="129639" y="49742"/>
                        <a:pt x="135240" y="52990"/>
                      </a:cubicBezTo>
                      <a:cubicBezTo>
                        <a:pt x="138650" y="54971"/>
                        <a:pt x="142079" y="57648"/>
                        <a:pt x="146156" y="57714"/>
                      </a:cubicBezTo>
                      <a:cubicBezTo>
                        <a:pt x="148270" y="57743"/>
                        <a:pt x="151242" y="54923"/>
                        <a:pt x="153452" y="56333"/>
                      </a:cubicBezTo>
                      <a:cubicBezTo>
                        <a:pt x="155757" y="57810"/>
                        <a:pt x="153347" y="61086"/>
                        <a:pt x="154747" y="63353"/>
                      </a:cubicBezTo>
                      <a:cubicBezTo>
                        <a:pt x="158300" y="69125"/>
                        <a:pt x="168206" y="64991"/>
                        <a:pt x="173531" y="66725"/>
                      </a:cubicBezTo>
                      <a:cubicBezTo>
                        <a:pt x="177407" y="67982"/>
                        <a:pt x="183256" y="78269"/>
                        <a:pt x="186304" y="78031"/>
                      </a:cubicBezTo>
                      <a:cubicBezTo>
                        <a:pt x="190437" y="77698"/>
                        <a:pt x="186361" y="73935"/>
                        <a:pt x="187399" y="73345"/>
                      </a:cubicBezTo>
                      <a:cubicBezTo>
                        <a:pt x="190580" y="71526"/>
                        <a:pt x="188095" y="73069"/>
                        <a:pt x="191990" y="74450"/>
                      </a:cubicBezTo>
                      <a:cubicBezTo>
                        <a:pt x="194381" y="75288"/>
                        <a:pt x="197629" y="78507"/>
                        <a:pt x="200420" y="77250"/>
                      </a:cubicBezTo>
                      <a:cubicBezTo>
                        <a:pt x="202658" y="76231"/>
                        <a:pt x="200144" y="72926"/>
                        <a:pt x="201963" y="72211"/>
                      </a:cubicBezTo>
                      <a:cubicBezTo>
                        <a:pt x="204916" y="71059"/>
                        <a:pt x="213250" y="75964"/>
                        <a:pt x="216050" y="77164"/>
                      </a:cubicBezTo>
                      <a:cubicBezTo>
                        <a:pt x="222442" y="79898"/>
                        <a:pt x="226938" y="81727"/>
                        <a:pt x="234348" y="80965"/>
                      </a:cubicBezTo>
                      <a:cubicBezTo>
                        <a:pt x="239901" y="80403"/>
                        <a:pt x="243949" y="78269"/>
                        <a:pt x="249816" y="79355"/>
                      </a:cubicBezTo>
                      <a:lnTo>
                        <a:pt x="249816" y="79355"/>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91" name="Freeform: Shape 590">
                  <a:extLst>
                    <a:ext uri="{FF2B5EF4-FFF2-40B4-BE49-F238E27FC236}">
                      <a16:creationId xmlns:a16="http://schemas.microsoft.com/office/drawing/2014/main" id="{2AFCF6F5-DBCF-4437-BBD8-249929B82916}"/>
                    </a:ext>
                  </a:extLst>
                </p:cNvPr>
                <p:cNvSpPr/>
                <p:nvPr/>
              </p:nvSpPr>
              <p:spPr>
                <a:xfrm>
                  <a:off x="5681690" y="2680884"/>
                  <a:ext cx="93334" cy="85529"/>
                </a:xfrm>
                <a:custGeom>
                  <a:avLst/>
                  <a:gdLst>
                    <a:gd name="connsiteX0" fmla="*/ 19993 w 93334"/>
                    <a:gd name="connsiteY0" fmla="*/ 65333 h 85529"/>
                    <a:gd name="connsiteX1" fmla="*/ 0 w 93334"/>
                    <a:gd name="connsiteY1" fmla="*/ 60475 h 85529"/>
                    <a:gd name="connsiteX2" fmla="*/ 21155 w 93334"/>
                    <a:gd name="connsiteY2" fmla="*/ 62656 h 85529"/>
                    <a:gd name="connsiteX3" fmla="*/ 14164 w 93334"/>
                    <a:gd name="connsiteY3" fmla="*/ 58742 h 85529"/>
                    <a:gd name="connsiteX4" fmla="*/ 18688 w 93334"/>
                    <a:gd name="connsiteY4" fmla="*/ 58284 h 85529"/>
                    <a:gd name="connsiteX5" fmla="*/ 12878 w 93334"/>
                    <a:gd name="connsiteY5" fmla="*/ 51379 h 85529"/>
                    <a:gd name="connsiteX6" fmla="*/ 19574 w 93334"/>
                    <a:gd name="connsiteY6" fmla="*/ 43482 h 85529"/>
                    <a:gd name="connsiteX7" fmla="*/ 27527 w 93334"/>
                    <a:gd name="connsiteY7" fmla="*/ 32110 h 85529"/>
                    <a:gd name="connsiteX8" fmla="*/ 31604 w 93334"/>
                    <a:gd name="connsiteY8" fmla="*/ 17413 h 85529"/>
                    <a:gd name="connsiteX9" fmla="*/ 40453 w 93334"/>
                    <a:gd name="connsiteY9" fmla="*/ 15288 h 85529"/>
                    <a:gd name="connsiteX10" fmla="*/ 51835 w 93334"/>
                    <a:gd name="connsiteY10" fmla="*/ 5783 h 85529"/>
                    <a:gd name="connsiteX11" fmla="*/ 82163 w 93334"/>
                    <a:gd name="connsiteY11" fmla="*/ 620 h 85529"/>
                    <a:gd name="connsiteX12" fmla="*/ 92173 w 93334"/>
                    <a:gd name="connsiteY12" fmla="*/ 5392 h 85529"/>
                    <a:gd name="connsiteX13" fmla="*/ 92383 w 93334"/>
                    <a:gd name="connsiteY13" fmla="*/ 16793 h 85529"/>
                    <a:gd name="connsiteX14" fmla="*/ 90021 w 93334"/>
                    <a:gd name="connsiteY14" fmla="*/ 23966 h 85529"/>
                    <a:gd name="connsiteX15" fmla="*/ 86001 w 93334"/>
                    <a:gd name="connsiteY15" fmla="*/ 26023 h 85529"/>
                    <a:gd name="connsiteX16" fmla="*/ 81734 w 93334"/>
                    <a:gd name="connsiteY16" fmla="*/ 30281 h 85529"/>
                    <a:gd name="connsiteX17" fmla="*/ 88345 w 93334"/>
                    <a:gd name="connsiteY17" fmla="*/ 40111 h 85529"/>
                    <a:gd name="connsiteX18" fmla="*/ 82753 w 93334"/>
                    <a:gd name="connsiteY18" fmla="*/ 44854 h 85529"/>
                    <a:gd name="connsiteX19" fmla="*/ 84382 w 93334"/>
                    <a:gd name="connsiteY19" fmla="*/ 47931 h 85529"/>
                    <a:gd name="connsiteX20" fmla="*/ 78905 w 93334"/>
                    <a:gd name="connsiteY20" fmla="*/ 50312 h 85529"/>
                    <a:gd name="connsiteX21" fmla="*/ 65656 w 93334"/>
                    <a:gd name="connsiteY21" fmla="*/ 55922 h 85529"/>
                    <a:gd name="connsiteX22" fmla="*/ 70380 w 93334"/>
                    <a:gd name="connsiteY22" fmla="*/ 63295 h 85529"/>
                    <a:gd name="connsiteX23" fmla="*/ 69171 w 93334"/>
                    <a:gd name="connsiteY23" fmla="*/ 72305 h 85529"/>
                    <a:gd name="connsiteX24" fmla="*/ 62446 w 93334"/>
                    <a:gd name="connsiteY24" fmla="*/ 76077 h 85529"/>
                    <a:gd name="connsiteX25" fmla="*/ 64761 w 93334"/>
                    <a:gd name="connsiteY25" fmla="*/ 78354 h 85529"/>
                    <a:gd name="connsiteX26" fmla="*/ 66199 w 93334"/>
                    <a:gd name="connsiteY26" fmla="*/ 84735 h 85529"/>
                    <a:gd name="connsiteX27" fmla="*/ 58979 w 93334"/>
                    <a:gd name="connsiteY27" fmla="*/ 84850 h 85529"/>
                    <a:gd name="connsiteX28" fmla="*/ 54235 w 93334"/>
                    <a:gd name="connsiteY28" fmla="*/ 70286 h 85529"/>
                    <a:gd name="connsiteX29" fmla="*/ 43167 w 93334"/>
                    <a:gd name="connsiteY29" fmla="*/ 67133 h 85529"/>
                    <a:gd name="connsiteX30" fmla="*/ 40672 w 93334"/>
                    <a:gd name="connsiteY30" fmla="*/ 62837 h 85529"/>
                    <a:gd name="connsiteX31" fmla="*/ 35890 w 93334"/>
                    <a:gd name="connsiteY31" fmla="*/ 64799 h 85529"/>
                    <a:gd name="connsiteX32" fmla="*/ 33433 w 93334"/>
                    <a:gd name="connsiteY32" fmla="*/ 62018 h 85529"/>
                    <a:gd name="connsiteX33" fmla="*/ 27756 w 93334"/>
                    <a:gd name="connsiteY33" fmla="*/ 63361 h 85529"/>
                    <a:gd name="connsiteX34" fmla="*/ 19993 w 93334"/>
                    <a:gd name="connsiteY34" fmla="*/ 65333 h 85529"/>
                    <a:gd name="connsiteX35" fmla="*/ 19993 w 93334"/>
                    <a:gd name="connsiteY35" fmla="*/ 65333 h 8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3334" h="85529">
                      <a:moveTo>
                        <a:pt x="19993" y="65333"/>
                      </a:moveTo>
                      <a:cubicBezTo>
                        <a:pt x="13745" y="63094"/>
                        <a:pt x="4620" y="66323"/>
                        <a:pt x="0" y="60475"/>
                      </a:cubicBezTo>
                      <a:cubicBezTo>
                        <a:pt x="7106" y="53912"/>
                        <a:pt x="14326" y="64818"/>
                        <a:pt x="21155" y="62656"/>
                      </a:cubicBezTo>
                      <a:cubicBezTo>
                        <a:pt x="18983" y="61170"/>
                        <a:pt x="16326" y="60466"/>
                        <a:pt x="14164" y="58742"/>
                      </a:cubicBezTo>
                      <a:cubicBezTo>
                        <a:pt x="15621" y="58932"/>
                        <a:pt x="17212" y="58218"/>
                        <a:pt x="18688" y="58284"/>
                      </a:cubicBezTo>
                      <a:cubicBezTo>
                        <a:pt x="17193" y="56036"/>
                        <a:pt x="12935" y="53331"/>
                        <a:pt x="12878" y="51379"/>
                      </a:cubicBezTo>
                      <a:cubicBezTo>
                        <a:pt x="12783" y="47854"/>
                        <a:pt x="17555" y="45530"/>
                        <a:pt x="19574" y="43482"/>
                      </a:cubicBezTo>
                      <a:cubicBezTo>
                        <a:pt x="22974" y="40044"/>
                        <a:pt x="25794" y="36691"/>
                        <a:pt x="27527" y="32110"/>
                      </a:cubicBezTo>
                      <a:cubicBezTo>
                        <a:pt x="29051" y="28061"/>
                        <a:pt x="28175" y="20546"/>
                        <a:pt x="31604" y="17413"/>
                      </a:cubicBezTo>
                      <a:cubicBezTo>
                        <a:pt x="32842" y="16279"/>
                        <a:pt x="37948" y="16298"/>
                        <a:pt x="40453" y="15288"/>
                      </a:cubicBezTo>
                      <a:cubicBezTo>
                        <a:pt x="45977" y="13069"/>
                        <a:pt x="47473" y="8907"/>
                        <a:pt x="51835" y="5783"/>
                      </a:cubicBezTo>
                      <a:cubicBezTo>
                        <a:pt x="57988" y="1382"/>
                        <a:pt x="74924" y="-1275"/>
                        <a:pt x="82163" y="620"/>
                      </a:cubicBezTo>
                      <a:cubicBezTo>
                        <a:pt x="82782" y="791"/>
                        <a:pt x="91945" y="5116"/>
                        <a:pt x="92173" y="5392"/>
                      </a:cubicBezTo>
                      <a:cubicBezTo>
                        <a:pt x="94221" y="8011"/>
                        <a:pt x="93078" y="13393"/>
                        <a:pt x="92383" y="16793"/>
                      </a:cubicBezTo>
                      <a:cubicBezTo>
                        <a:pt x="92183" y="17803"/>
                        <a:pt x="90602" y="23318"/>
                        <a:pt x="90021" y="23966"/>
                      </a:cubicBezTo>
                      <a:cubicBezTo>
                        <a:pt x="88373" y="25804"/>
                        <a:pt x="87954" y="24594"/>
                        <a:pt x="86001" y="26023"/>
                      </a:cubicBezTo>
                      <a:cubicBezTo>
                        <a:pt x="84935" y="26814"/>
                        <a:pt x="78829" y="26214"/>
                        <a:pt x="81734" y="30281"/>
                      </a:cubicBezTo>
                      <a:cubicBezTo>
                        <a:pt x="84544" y="34234"/>
                        <a:pt x="95565" y="31271"/>
                        <a:pt x="88345" y="40111"/>
                      </a:cubicBezTo>
                      <a:cubicBezTo>
                        <a:pt x="86430" y="42454"/>
                        <a:pt x="84106" y="42463"/>
                        <a:pt x="82753" y="44854"/>
                      </a:cubicBezTo>
                      <a:cubicBezTo>
                        <a:pt x="82487" y="45321"/>
                        <a:pt x="85630" y="46016"/>
                        <a:pt x="84382" y="47931"/>
                      </a:cubicBezTo>
                      <a:cubicBezTo>
                        <a:pt x="83411" y="49417"/>
                        <a:pt x="80505" y="49855"/>
                        <a:pt x="78905" y="50312"/>
                      </a:cubicBezTo>
                      <a:cubicBezTo>
                        <a:pt x="72790" y="52045"/>
                        <a:pt x="62084" y="46864"/>
                        <a:pt x="65656" y="55922"/>
                      </a:cubicBezTo>
                      <a:cubicBezTo>
                        <a:pt x="66637" y="58380"/>
                        <a:pt x="70238" y="60208"/>
                        <a:pt x="70380" y="63295"/>
                      </a:cubicBezTo>
                      <a:cubicBezTo>
                        <a:pt x="70542" y="66800"/>
                        <a:pt x="65294" y="70353"/>
                        <a:pt x="69171" y="72305"/>
                      </a:cubicBezTo>
                      <a:cubicBezTo>
                        <a:pt x="69190" y="72286"/>
                        <a:pt x="62322" y="77315"/>
                        <a:pt x="62446" y="76077"/>
                      </a:cubicBezTo>
                      <a:cubicBezTo>
                        <a:pt x="62227" y="78277"/>
                        <a:pt x="64627" y="77506"/>
                        <a:pt x="64761" y="78354"/>
                      </a:cubicBezTo>
                      <a:cubicBezTo>
                        <a:pt x="65094" y="80382"/>
                        <a:pt x="69847" y="80640"/>
                        <a:pt x="66199" y="84735"/>
                      </a:cubicBezTo>
                      <a:cubicBezTo>
                        <a:pt x="65589" y="85421"/>
                        <a:pt x="60455" y="86059"/>
                        <a:pt x="58979" y="84850"/>
                      </a:cubicBezTo>
                      <a:cubicBezTo>
                        <a:pt x="52769" y="79735"/>
                        <a:pt x="68180" y="74172"/>
                        <a:pt x="54235" y="70286"/>
                      </a:cubicBezTo>
                      <a:cubicBezTo>
                        <a:pt x="50959" y="69371"/>
                        <a:pt x="46654" y="69152"/>
                        <a:pt x="43167" y="67133"/>
                      </a:cubicBezTo>
                      <a:cubicBezTo>
                        <a:pt x="41643" y="66247"/>
                        <a:pt x="42139" y="63409"/>
                        <a:pt x="40672" y="62837"/>
                      </a:cubicBezTo>
                      <a:cubicBezTo>
                        <a:pt x="40443" y="62752"/>
                        <a:pt x="36947" y="64818"/>
                        <a:pt x="35890" y="64799"/>
                      </a:cubicBezTo>
                      <a:cubicBezTo>
                        <a:pt x="34585" y="64761"/>
                        <a:pt x="35033" y="62218"/>
                        <a:pt x="33433" y="62018"/>
                      </a:cubicBezTo>
                      <a:cubicBezTo>
                        <a:pt x="35805" y="62313"/>
                        <a:pt x="26318" y="63999"/>
                        <a:pt x="27756" y="63361"/>
                      </a:cubicBezTo>
                      <a:cubicBezTo>
                        <a:pt x="25594" y="64342"/>
                        <a:pt x="23451" y="67181"/>
                        <a:pt x="19993" y="65333"/>
                      </a:cubicBezTo>
                      <a:lnTo>
                        <a:pt x="19993" y="65333"/>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92" name="Freeform: Shape 591">
                  <a:extLst>
                    <a:ext uri="{FF2B5EF4-FFF2-40B4-BE49-F238E27FC236}">
                      <a16:creationId xmlns:a16="http://schemas.microsoft.com/office/drawing/2014/main" id="{C1D42DCF-BFBD-4DF3-8059-0E149E3FD3E0}"/>
                    </a:ext>
                  </a:extLst>
                </p:cNvPr>
                <p:cNvSpPr/>
                <p:nvPr/>
              </p:nvSpPr>
              <p:spPr>
                <a:xfrm>
                  <a:off x="2866869" y="3892540"/>
                  <a:ext cx="151841" cy="134313"/>
                </a:xfrm>
                <a:custGeom>
                  <a:avLst/>
                  <a:gdLst>
                    <a:gd name="connsiteX0" fmla="*/ 151841 w 151841"/>
                    <a:gd name="connsiteY0" fmla="*/ 67 h 134313"/>
                    <a:gd name="connsiteX1" fmla="*/ 146250 w 151841"/>
                    <a:gd name="connsiteY1" fmla="*/ 6087 h 134313"/>
                    <a:gd name="connsiteX2" fmla="*/ 143773 w 151841"/>
                    <a:gd name="connsiteY2" fmla="*/ 7230 h 134313"/>
                    <a:gd name="connsiteX3" fmla="*/ 146040 w 151841"/>
                    <a:gd name="connsiteY3" fmla="*/ 8040 h 134313"/>
                    <a:gd name="connsiteX4" fmla="*/ 146859 w 151841"/>
                    <a:gd name="connsiteY4" fmla="*/ 17603 h 134313"/>
                    <a:gd name="connsiteX5" fmla="*/ 134096 w 151841"/>
                    <a:gd name="connsiteY5" fmla="*/ 40158 h 134313"/>
                    <a:gd name="connsiteX6" fmla="*/ 127352 w 151841"/>
                    <a:gd name="connsiteY6" fmla="*/ 73410 h 134313"/>
                    <a:gd name="connsiteX7" fmla="*/ 124142 w 151841"/>
                    <a:gd name="connsiteY7" fmla="*/ 81878 h 134313"/>
                    <a:gd name="connsiteX8" fmla="*/ 125809 w 151841"/>
                    <a:gd name="connsiteY8" fmla="*/ 71905 h 134313"/>
                    <a:gd name="connsiteX9" fmla="*/ 120456 w 151841"/>
                    <a:gd name="connsiteY9" fmla="*/ 81554 h 134313"/>
                    <a:gd name="connsiteX10" fmla="*/ 121675 w 151841"/>
                    <a:gd name="connsiteY10" fmla="*/ 85792 h 134313"/>
                    <a:gd name="connsiteX11" fmla="*/ 119713 w 151841"/>
                    <a:gd name="connsiteY11" fmla="*/ 93603 h 134313"/>
                    <a:gd name="connsiteX12" fmla="*/ 114960 w 151841"/>
                    <a:gd name="connsiteY12" fmla="*/ 97632 h 134313"/>
                    <a:gd name="connsiteX13" fmla="*/ 118799 w 151841"/>
                    <a:gd name="connsiteY13" fmla="*/ 104985 h 134313"/>
                    <a:gd name="connsiteX14" fmla="*/ 115837 w 151841"/>
                    <a:gd name="connsiteY14" fmla="*/ 128464 h 134313"/>
                    <a:gd name="connsiteX15" fmla="*/ 98415 w 151841"/>
                    <a:gd name="connsiteY15" fmla="*/ 132436 h 134313"/>
                    <a:gd name="connsiteX16" fmla="*/ 84918 w 151841"/>
                    <a:gd name="connsiteY16" fmla="*/ 124359 h 134313"/>
                    <a:gd name="connsiteX17" fmla="*/ 75574 w 151841"/>
                    <a:gd name="connsiteY17" fmla="*/ 127264 h 134313"/>
                    <a:gd name="connsiteX18" fmla="*/ 63240 w 151841"/>
                    <a:gd name="connsiteY18" fmla="*/ 122664 h 134313"/>
                    <a:gd name="connsiteX19" fmla="*/ 50867 w 151841"/>
                    <a:gd name="connsiteY19" fmla="*/ 123902 h 134313"/>
                    <a:gd name="connsiteX20" fmla="*/ 28007 w 151841"/>
                    <a:gd name="connsiteY20" fmla="*/ 96889 h 134313"/>
                    <a:gd name="connsiteX21" fmla="*/ 6251 w 151841"/>
                    <a:gd name="connsiteY21" fmla="*/ 71076 h 134313"/>
                    <a:gd name="connsiteX22" fmla="*/ 3413 w 151841"/>
                    <a:gd name="connsiteY22" fmla="*/ 61523 h 134313"/>
                    <a:gd name="connsiteX23" fmla="*/ 6737 w 151841"/>
                    <a:gd name="connsiteY23" fmla="*/ 64409 h 134313"/>
                    <a:gd name="connsiteX24" fmla="*/ 10662 w 151841"/>
                    <a:gd name="connsiteY24" fmla="*/ 63723 h 134313"/>
                    <a:gd name="connsiteX25" fmla="*/ 23482 w 151841"/>
                    <a:gd name="connsiteY25" fmla="*/ 60161 h 134313"/>
                    <a:gd name="connsiteX26" fmla="*/ 25902 w 151841"/>
                    <a:gd name="connsiteY26" fmla="*/ 55160 h 134313"/>
                    <a:gd name="connsiteX27" fmla="*/ 31712 w 151841"/>
                    <a:gd name="connsiteY27" fmla="*/ 53484 h 134313"/>
                    <a:gd name="connsiteX28" fmla="*/ 32636 w 151841"/>
                    <a:gd name="connsiteY28" fmla="*/ 40139 h 134313"/>
                    <a:gd name="connsiteX29" fmla="*/ 44866 w 151841"/>
                    <a:gd name="connsiteY29" fmla="*/ 39072 h 134313"/>
                    <a:gd name="connsiteX30" fmla="*/ 55439 w 151841"/>
                    <a:gd name="connsiteY30" fmla="*/ 30223 h 134313"/>
                    <a:gd name="connsiteX31" fmla="*/ 65688 w 151841"/>
                    <a:gd name="connsiteY31" fmla="*/ 35262 h 134313"/>
                    <a:gd name="connsiteX32" fmla="*/ 74717 w 151841"/>
                    <a:gd name="connsiteY32" fmla="*/ 28004 h 134313"/>
                    <a:gd name="connsiteX33" fmla="*/ 85080 w 151841"/>
                    <a:gd name="connsiteY33" fmla="*/ 19184 h 134313"/>
                    <a:gd name="connsiteX34" fmla="*/ 100778 w 151841"/>
                    <a:gd name="connsiteY34" fmla="*/ 7744 h 134313"/>
                    <a:gd name="connsiteX35" fmla="*/ 109617 w 151841"/>
                    <a:gd name="connsiteY35" fmla="*/ 11031 h 134313"/>
                    <a:gd name="connsiteX36" fmla="*/ 114846 w 151841"/>
                    <a:gd name="connsiteY36" fmla="*/ 9716 h 134313"/>
                    <a:gd name="connsiteX37" fmla="*/ 121161 w 151841"/>
                    <a:gd name="connsiteY37" fmla="*/ 7697 h 134313"/>
                    <a:gd name="connsiteX38" fmla="*/ 151841 w 151841"/>
                    <a:gd name="connsiteY38" fmla="*/ 67 h 134313"/>
                    <a:gd name="connsiteX39" fmla="*/ 151841 w 151841"/>
                    <a:gd name="connsiteY39" fmla="*/ 67 h 134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51841" h="134313">
                      <a:moveTo>
                        <a:pt x="151841" y="67"/>
                      </a:moveTo>
                      <a:cubicBezTo>
                        <a:pt x="149765" y="1858"/>
                        <a:pt x="147984" y="4144"/>
                        <a:pt x="146250" y="6087"/>
                      </a:cubicBezTo>
                      <a:cubicBezTo>
                        <a:pt x="147136" y="906"/>
                        <a:pt x="143745" y="3887"/>
                        <a:pt x="143773" y="7230"/>
                      </a:cubicBezTo>
                      <a:cubicBezTo>
                        <a:pt x="143773" y="7068"/>
                        <a:pt x="145907" y="7497"/>
                        <a:pt x="146040" y="8040"/>
                      </a:cubicBezTo>
                      <a:cubicBezTo>
                        <a:pt x="146669" y="10678"/>
                        <a:pt x="147069" y="14974"/>
                        <a:pt x="146859" y="17603"/>
                      </a:cubicBezTo>
                      <a:cubicBezTo>
                        <a:pt x="146164" y="26261"/>
                        <a:pt x="137468" y="31900"/>
                        <a:pt x="134096" y="40158"/>
                      </a:cubicBezTo>
                      <a:cubicBezTo>
                        <a:pt x="129715" y="50874"/>
                        <a:pt x="128972" y="62094"/>
                        <a:pt x="127352" y="73410"/>
                      </a:cubicBezTo>
                      <a:cubicBezTo>
                        <a:pt x="127209" y="74391"/>
                        <a:pt x="126552" y="85068"/>
                        <a:pt x="124142" y="81878"/>
                      </a:cubicBezTo>
                      <a:cubicBezTo>
                        <a:pt x="121971" y="78991"/>
                        <a:pt x="126209" y="75115"/>
                        <a:pt x="125809" y="71905"/>
                      </a:cubicBezTo>
                      <a:cubicBezTo>
                        <a:pt x="124419" y="77096"/>
                        <a:pt x="121113" y="76363"/>
                        <a:pt x="120456" y="81554"/>
                      </a:cubicBezTo>
                      <a:cubicBezTo>
                        <a:pt x="120332" y="82506"/>
                        <a:pt x="121666" y="84554"/>
                        <a:pt x="121675" y="85792"/>
                      </a:cubicBezTo>
                      <a:cubicBezTo>
                        <a:pt x="121685" y="87916"/>
                        <a:pt x="120142" y="91526"/>
                        <a:pt x="119713" y="93603"/>
                      </a:cubicBezTo>
                      <a:cubicBezTo>
                        <a:pt x="117456" y="91641"/>
                        <a:pt x="114913" y="95517"/>
                        <a:pt x="114960" y="97632"/>
                      </a:cubicBezTo>
                      <a:cubicBezTo>
                        <a:pt x="115056" y="100975"/>
                        <a:pt x="119894" y="99346"/>
                        <a:pt x="118799" y="104985"/>
                      </a:cubicBezTo>
                      <a:cubicBezTo>
                        <a:pt x="117904" y="109595"/>
                        <a:pt x="101016" y="124178"/>
                        <a:pt x="115837" y="128464"/>
                      </a:cubicBezTo>
                      <a:cubicBezTo>
                        <a:pt x="114522" y="135122"/>
                        <a:pt x="103035" y="135570"/>
                        <a:pt x="98415" y="132436"/>
                      </a:cubicBezTo>
                      <a:cubicBezTo>
                        <a:pt x="93786" y="129302"/>
                        <a:pt x="92691" y="124559"/>
                        <a:pt x="84918" y="124359"/>
                      </a:cubicBezTo>
                      <a:cubicBezTo>
                        <a:pt x="81470" y="124273"/>
                        <a:pt x="78765" y="127293"/>
                        <a:pt x="75574" y="127264"/>
                      </a:cubicBezTo>
                      <a:cubicBezTo>
                        <a:pt x="72212" y="127236"/>
                        <a:pt x="66497" y="123902"/>
                        <a:pt x="63240" y="122664"/>
                      </a:cubicBezTo>
                      <a:cubicBezTo>
                        <a:pt x="56182" y="119959"/>
                        <a:pt x="56391" y="119787"/>
                        <a:pt x="50867" y="123902"/>
                      </a:cubicBezTo>
                      <a:cubicBezTo>
                        <a:pt x="48171" y="112758"/>
                        <a:pt x="33445" y="107014"/>
                        <a:pt x="28007" y="96889"/>
                      </a:cubicBezTo>
                      <a:cubicBezTo>
                        <a:pt x="22587" y="86802"/>
                        <a:pt x="14634" y="79115"/>
                        <a:pt x="6251" y="71076"/>
                      </a:cubicBezTo>
                      <a:cubicBezTo>
                        <a:pt x="4870" y="69752"/>
                        <a:pt x="-5121" y="62523"/>
                        <a:pt x="3413" y="61523"/>
                      </a:cubicBezTo>
                      <a:cubicBezTo>
                        <a:pt x="5623" y="61265"/>
                        <a:pt x="5147" y="64390"/>
                        <a:pt x="6737" y="64409"/>
                      </a:cubicBezTo>
                      <a:cubicBezTo>
                        <a:pt x="7433" y="64418"/>
                        <a:pt x="10690" y="63723"/>
                        <a:pt x="10662" y="63723"/>
                      </a:cubicBezTo>
                      <a:cubicBezTo>
                        <a:pt x="15795" y="63856"/>
                        <a:pt x="19891" y="63647"/>
                        <a:pt x="23482" y="60161"/>
                      </a:cubicBezTo>
                      <a:cubicBezTo>
                        <a:pt x="24873" y="58808"/>
                        <a:pt x="24349" y="56560"/>
                        <a:pt x="25902" y="55160"/>
                      </a:cubicBezTo>
                      <a:cubicBezTo>
                        <a:pt x="27416" y="53788"/>
                        <a:pt x="30616" y="54903"/>
                        <a:pt x="31712" y="53484"/>
                      </a:cubicBezTo>
                      <a:cubicBezTo>
                        <a:pt x="34045" y="50445"/>
                        <a:pt x="29988" y="43206"/>
                        <a:pt x="32636" y="40139"/>
                      </a:cubicBezTo>
                      <a:cubicBezTo>
                        <a:pt x="35808" y="36453"/>
                        <a:pt x="40913" y="40301"/>
                        <a:pt x="44866" y="39072"/>
                      </a:cubicBezTo>
                      <a:cubicBezTo>
                        <a:pt x="48942" y="37805"/>
                        <a:pt x="50952" y="30738"/>
                        <a:pt x="55439" y="30223"/>
                      </a:cubicBezTo>
                      <a:cubicBezTo>
                        <a:pt x="58772" y="29833"/>
                        <a:pt x="60849" y="36624"/>
                        <a:pt x="65688" y="35262"/>
                      </a:cubicBezTo>
                      <a:cubicBezTo>
                        <a:pt x="66164" y="35129"/>
                        <a:pt x="73184" y="29109"/>
                        <a:pt x="74717" y="28004"/>
                      </a:cubicBezTo>
                      <a:cubicBezTo>
                        <a:pt x="78470" y="25289"/>
                        <a:pt x="82918" y="21737"/>
                        <a:pt x="85080" y="19184"/>
                      </a:cubicBezTo>
                      <a:cubicBezTo>
                        <a:pt x="89891" y="13498"/>
                        <a:pt x="92700" y="5097"/>
                        <a:pt x="100778" y="7744"/>
                      </a:cubicBezTo>
                      <a:cubicBezTo>
                        <a:pt x="104283" y="8887"/>
                        <a:pt x="104988" y="11221"/>
                        <a:pt x="109617" y="11031"/>
                      </a:cubicBezTo>
                      <a:cubicBezTo>
                        <a:pt x="110522" y="10993"/>
                        <a:pt x="113960" y="9907"/>
                        <a:pt x="114846" y="9716"/>
                      </a:cubicBezTo>
                      <a:cubicBezTo>
                        <a:pt x="116684" y="9307"/>
                        <a:pt x="118761" y="8278"/>
                        <a:pt x="121161" y="7697"/>
                      </a:cubicBezTo>
                      <a:cubicBezTo>
                        <a:pt x="131277" y="5211"/>
                        <a:pt x="140983" y="-695"/>
                        <a:pt x="151841" y="67"/>
                      </a:cubicBezTo>
                      <a:lnTo>
                        <a:pt x="151841" y="67"/>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93" name="Freeform: Shape 592">
                  <a:extLst>
                    <a:ext uri="{FF2B5EF4-FFF2-40B4-BE49-F238E27FC236}">
                      <a16:creationId xmlns:a16="http://schemas.microsoft.com/office/drawing/2014/main" id="{C0F22D1E-5161-46CA-9E76-BDD4D34A284F}"/>
                    </a:ext>
                  </a:extLst>
                </p:cNvPr>
                <p:cNvSpPr/>
                <p:nvPr/>
              </p:nvSpPr>
              <p:spPr>
                <a:xfrm>
                  <a:off x="5678281" y="3927876"/>
                  <a:ext cx="370892" cy="301956"/>
                </a:xfrm>
                <a:custGeom>
                  <a:avLst/>
                  <a:gdLst>
                    <a:gd name="connsiteX0" fmla="*/ 96563 w 370892"/>
                    <a:gd name="connsiteY0" fmla="*/ 3404 h 301956"/>
                    <a:gd name="connsiteX1" fmla="*/ 121223 w 370892"/>
                    <a:gd name="connsiteY1" fmla="*/ 16024 h 301956"/>
                    <a:gd name="connsiteX2" fmla="*/ 142969 w 370892"/>
                    <a:gd name="connsiteY2" fmla="*/ 24044 h 301956"/>
                    <a:gd name="connsiteX3" fmla="*/ 170649 w 370892"/>
                    <a:gd name="connsiteY3" fmla="*/ 20720 h 301956"/>
                    <a:gd name="connsiteX4" fmla="*/ 202272 w 370892"/>
                    <a:gd name="connsiteY4" fmla="*/ 33141 h 301956"/>
                    <a:gd name="connsiteX5" fmla="*/ 218350 w 370892"/>
                    <a:gd name="connsiteY5" fmla="*/ 29321 h 301956"/>
                    <a:gd name="connsiteX6" fmla="*/ 231952 w 370892"/>
                    <a:gd name="connsiteY6" fmla="*/ 18996 h 301956"/>
                    <a:gd name="connsiteX7" fmla="*/ 265603 w 370892"/>
                    <a:gd name="connsiteY7" fmla="*/ 16186 h 301956"/>
                    <a:gd name="connsiteX8" fmla="*/ 280177 w 370892"/>
                    <a:gd name="connsiteY8" fmla="*/ 18625 h 301956"/>
                    <a:gd name="connsiteX9" fmla="*/ 297436 w 370892"/>
                    <a:gd name="connsiteY9" fmla="*/ 25140 h 301956"/>
                    <a:gd name="connsiteX10" fmla="*/ 308837 w 370892"/>
                    <a:gd name="connsiteY10" fmla="*/ 17100 h 301956"/>
                    <a:gd name="connsiteX11" fmla="*/ 322125 w 370892"/>
                    <a:gd name="connsiteY11" fmla="*/ 10281 h 301956"/>
                    <a:gd name="connsiteX12" fmla="*/ 337584 w 370892"/>
                    <a:gd name="connsiteY12" fmla="*/ 5289 h 301956"/>
                    <a:gd name="connsiteX13" fmla="*/ 347899 w 370892"/>
                    <a:gd name="connsiteY13" fmla="*/ 18825 h 301956"/>
                    <a:gd name="connsiteX14" fmla="*/ 354814 w 370892"/>
                    <a:gd name="connsiteY14" fmla="*/ 34703 h 301956"/>
                    <a:gd name="connsiteX15" fmla="*/ 356996 w 370892"/>
                    <a:gd name="connsiteY15" fmla="*/ 46018 h 301956"/>
                    <a:gd name="connsiteX16" fmla="*/ 369007 w 370892"/>
                    <a:gd name="connsiteY16" fmla="*/ 51495 h 301956"/>
                    <a:gd name="connsiteX17" fmla="*/ 370416 w 370892"/>
                    <a:gd name="connsiteY17" fmla="*/ 63097 h 301956"/>
                    <a:gd name="connsiteX18" fmla="*/ 356424 w 370892"/>
                    <a:gd name="connsiteY18" fmla="*/ 82756 h 301956"/>
                    <a:gd name="connsiteX19" fmla="*/ 336927 w 370892"/>
                    <a:gd name="connsiteY19" fmla="*/ 107655 h 301956"/>
                    <a:gd name="connsiteX20" fmla="*/ 334641 w 370892"/>
                    <a:gd name="connsiteY20" fmla="*/ 116275 h 301956"/>
                    <a:gd name="connsiteX21" fmla="*/ 329964 w 370892"/>
                    <a:gd name="connsiteY21" fmla="*/ 121399 h 301956"/>
                    <a:gd name="connsiteX22" fmla="*/ 328525 w 370892"/>
                    <a:gd name="connsiteY22" fmla="*/ 134591 h 301956"/>
                    <a:gd name="connsiteX23" fmla="*/ 318353 w 370892"/>
                    <a:gd name="connsiteY23" fmla="*/ 143573 h 301956"/>
                    <a:gd name="connsiteX24" fmla="*/ 315905 w 370892"/>
                    <a:gd name="connsiteY24" fmla="*/ 158194 h 301956"/>
                    <a:gd name="connsiteX25" fmla="*/ 304094 w 370892"/>
                    <a:gd name="connsiteY25" fmla="*/ 166186 h 301956"/>
                    <a:gd name="connsiteX26" fmla="*/ 298369 w 370892"/>
                    <a:gd name="connsiteY26" fmla="*/ 178625 h 301956"/>
                    <a:gd name="connsiteX27" fmla="*/ 292178 w 370892"/>
                    <a:gd name="connsiteY27" fmla="*/ 195904 h 301956"/>
                    <a:gd name="connsiteX28" fmla="*/ 284958 w 370892"/>
                    <a:gd name="connsiteY28" fmla="*/ 209077 h 301956"/>
                    <a:gd name="connsiteX29" fmla="*/ 285158 w 370892"/>
                    <a:gd name="connsiteY29" fmla="*/ 214735 h 301956"/>
                    <a:gd name="connsiteX30" fmla="*/ 278472 w 370892"/>
                    <a:gd name="connsiteY30" fmla="*/ 220612 h 301956"/>
                    <a:gd name="connsiteX31" fmla="*/ 271528 w 370892"/>
                    <a:gd name="connsiteY31" fmla="*/ 232404 h 301956"/>
                    <a:gd name="connsiteX32" fmla="*/ 251125 w 370892"/>
                    <a:gd name="connsiteY32" fmla="*/ 216192 h 301956"/>
                    <a:gd name="connsiteX33" fmla="*/ 243258 w 370892"/>
                    <a:gd name="connsiteY33" fmla="*/ 220164 h 301956"/>
                    <a:gd name="connsiteX34" fmla="*/ 233656 w 370892"/>
                    <a:gd name="connsiteY34" fmla="*/ 216630 h 301956"/>
                    <a:gd name="connsiteX35" fmla="*/ 223588 w 370892"/>
                    <a:gd name="connsiteY35" fmla="*/ 223326 h 301956"/>
                    <a:gd name="connsiteX36" fmla="*/ 216626 w 370892"/>
                    <a:gd name="connsiteY36" fmla="*/ 232718 h 301956"/>
                    <a:gd name="connsiteX37" fmla="*/ 197471 w 370892"/>
                    <a:gd name="connsiteY37" fmla="*/ 251730 h 301956"/>
                    <a:gd name="connsiteX38" fmla="*/ 174802 w 370892"/>
                    <a:gd name="connsiteY38" fmla="*/ 281905 h 301956"/>
                    <a:gd name="connsiteX39" fmla="*/ 168248 w 370892"/>
                    <a:gd name="connsiteY39" fmla="*/ 293516 h 301956"/>
                    <a:gd name="connsiteX40" fmla="*/ 152151 w 370892"/>
                    <a:gd name="connsiteY40" fmla="*/ 290373 h 301956"/>
                    <a:gd name="connsiteX41" fmla="*/ 137863 w 370892"/>
                    <a:gd name="connsiteY41" fmla="*/ 288449 h 301956"/>
                    <a:gd name="connsiteX42" fmla="*/ 134501 w 370892"/>
                    <a:gd name="connsiteY42" fmla="*/ 298593 h 301956"/>
                    <a:gd name="connsiteX43" fmla="*/ 128148 w 370892"/>
                    <a:gd name="connsiteY43" fmla="*/ 288182 h 301956"/>
                    <a:gd name="connsiteX44" fmla="*/ 131120 w 370892"/>
                    <a:gd name="connsiteY44" fmla="*/ 299250 h 301956"/>
                    <a:gd name="connsiteX45" fmla="*/ 122281 w 370892"/>
                    <a:gd name="connsiteY45" fmla="*/ 296011 h 301956"/>
                    <a:gd name="connsiteX46" fmla="*/ 112565 w 370892"/>
                    <a:gd name="connsiteY46" fmla="*/ 297393 h 301956"/>
                    <a:gd name="connsiteX47" fmla="*/ 84562 w 370892"/>
                    <a:gd name="connsiteY47" fmla="*/ 275447 h 301956"/>
                    <a:gd name="connsiteX48" fmla="*/ 87476 w 370892"/>
                    <a:gd name="connsiteY48" fmla="*/ 274657 h 301956"/>
                    <a:gd name="connsiteX49" fmla="*/ 89743 w 370892"/>
                    <a:gd name="connsiteY49" fmla="*/ 264560 h 301956"/>
                    <a:gd name="connsiteX50" fmla="*/ 79247 w 370892"/>
                    <a:gd name="connsiteY50" fmla="*/ 263484 h 301956"/>
                    <a:gd name="connsiteX51" fmla="*/ 86800 w 370892"/>
                    <a:gd name="connsiteY51" fmla="*/ 260236 h 301956"/>
                    <a:gd name="connsiteX52" fmla="*/ 82723 w 370892"/>
                    <a:gd name="connsiteY52" fmla="*/ 257226 h 301956"/>
                    <a:gd name="connsiteX53" fmla="*/ 74151 w 370892"/>
                    <a:gd name="connsiteY53" fmla="*/ 254626 h 301956"/>
                    <a:gd name="connsiteX54" fmla="*/ 60854 w 370892"/>
                    <a:gd name="connsiteY54" fmla="*/ 241166 h 301956"/>
                    <a:gd name="connsiteX55" fmla="*/ 23678 w 370892"/>
                    <a:gd name="connsiteY55" fmla="*/ 234556 h 301956"/>
                    <a:gd name="connsiteX56" fmla="*/ 33108 w 370892"/>
                    <a:gd name="connsiteY56" fmla="*/ 229613 h 301956"/>
                    <a:gd name="connsiteX57" fmla="*/ 25316 w 370892"/>
                    <a:gd name="connsiteY57" fmla="*/ 231261 h 301956"/>
                    <a:gd name="connsiteX58" fmla="*/ 19820 w 370892"/>
                    <a:gd name="connsiteY58" fmla="*/ 235509 h 301956"/>
                    <a:gd name="connsiteX59" fmla="*/ 304 w 370892"/>
                    <a:gd name="connsiteY59" fmla="*/ 236375 h 301956"/>
                    <a:gd name="connsiteX60" fmla="*/ 1723 w 370892"/>
                    <a:gd name="connsiteY60" fmla="*/ 223650 h 301956"/>
                    <a:gd name="connsiteX61" fmla="*/ 1618 w 370892"/>
                    <a:gd name="connsiteY61" fmla="*/ 211144 h 301956"/>
                    <a:gd name="connsiteX62" fmla="*/ 27 w 370892"/>
                    <a:gd name="connsiteY62" fmla="*/ 183417 h 301956"/>
                    <a:gd name="connsiteX63" fmla="*/ 932 w 370892"/>
                    <a:gd name="connsiteY63" fmla="*/ 166500 h 301956"/>
                    <a:gd name="connsiteX64" fmla="*/ 1380 w 370892"/>
                    <a:gd name="connsiteY64" fmla="*/ 157394 h 301956"/>
                    <a:gd name="connsiteX65" fmla="*/ 6609 w 370892"/>
                    <a:gd name="connsiteY65" fmla="*/ 151479 h 301956"/>
                    <a:gd name="connsiteX66" fmla="*/ 12667 w 370892"/>
                    <a:gd name="connsiteY66" fmla="*/ 147555 h 301956"/>
                    <a:gd name="connsiteX67" fmla="*/ 13458 w 370892"/>
                    <a:gd name="connsiteY67" fmla="*/ 139240 h 301956"/>
                    <a:gd name="connsiteX68" fmla="*/ 17058 w 370892"/>
                    <a:gd name="connsiteY68" fmla="*/ 134810 h 301956"/>
                    <a:gd name="connsiteX69" fmla="*/ 20963 w 370892"/>
                    <a:gd name="connsiteY69" fmla="*/ 127524 h 301956"/>
                    <a:gd name="connsiteX70" fmla="*/ 26507 w 370892"/>
                    <a:gd name="connsiteY70" fmla="*/ 124923 h 301956"/>
                    <a:gd name="connsiteX71" fmla="*/ 28688 w 370892"/>
                    <a:gd name="connsiteY71" fmla="*/ 116046 h 301956"/>
                    <a:gd name="connsiteX72" fmla="*/ 28583 w 370892"/>
                    <a:gd name="connsiteY72" fmla="*/ 110017 h 301956"/>
                    <a:gd name="connsiteX73" fmla="*/ 33146 w 370892"/>
                    <a:gd name="connsiteY73" fmla="*/ 108826 h 301956"/>
                    <a:gd name="connsiteX74" fmla="*/ 27802 w 370892"/>
                    <a:gd name="connsiteY74" fmla="*/ 83375 h 301956"/>
                    <a:gd name="connsiteX75" fmla="*/ 28297 w 370892"/>
                    <a:gd name="connsiteY75" fmla="*/ 68002 h 301956"/>
                    <a:gd name="connsiteX76" fmla="*/ 28440 w 370892"/>
                    <a:gd name="connsiteY76" fmla="*/ 60611 h 301956"/>
                    <a:gd name="connsiteX77" fmla="*/ 28764 w 370892"/>
                    <a:gd name="connsiteY77" fmla="*/ 45209 h 301956"/>
                    <a:gd name="connsiteX78" fmla="*/ 39528 w 370892"/>
                    <a:gd name="connsiteY78" fmla="*/ 32074 h 301956"/>
                    <a:gd name="connsiteX79" fmla="*/ 44176 w 370892"/>
                    <a:gd name="connsiteY79" fmla="*/ 13081 h 301956"/>
                    <a:gd name="connsiteX80" fmla="*/ 58549 w 370892"/>
                    <a:gd name="connsiteY80" fmla="*/ 4889 h 301956"/>
                    <a:gd name="connsiteX81" fmla="*/ 78037 w 370892"/>
                    <a:gd name="connsiteY81" fmla="*/ 3651 h 301956"/>
                    <a:gd name="connsiteX82" fmla="*/ 85838 w 370892"/>
                    <a:gd name="connsiteY82" fmla="*/ 3 h 301956"/>
                    <a:gd name="connsiteX83" fmla="*/ 96563 w 370892"/>
                    <a:gd name="connsiteY83" fmla="*/ 3404 h 301956"/>
                    <a:gd name="connsiteX84" fmla="*/ 96563 w 370892"/>
                    <a:gd name="connsiteY84" fmla="*/ 3404 h 301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70892" h="301956">
                      <a:moveTo>
                        <a:pt x="96563" y="3404"/>
                      </a:moveTo>
                      <a:cubicBezTo>
                        <a:pt x="107069" y="6328"/>
                        <a:pt x="113937" y="7156"/>
                        <a:pt x="121223" y="16024"/>
                      </a:cubicBezTo>
                      <a:cubicBezTo>
                        <a:pt x="129634" y="26254"/>
                        <a:pt x="130644" y="29121"/>
                        <a:pt x="142969" y="24044"/>
                      </a:cubicBezTo>
                      <a:cubicBezTo>
                        <a:pt x="154342" y="19358"/>
                        <a:pt x="158885" y="14291"/>
                        <a:pt x="170649" y="20720"/>
                      </a:cubicBezTo>
                      <a:cubicBezTo>
                        <a:pt x="181469" y="26645"/>
                        <a:pt x="189584" y="32083"/>
                        <a:pt x="202272" y="33141"/>
                      </a:cubicBezTo>
                      <a:cubicBezTo>
                        <a:pt x="210311" y="33807"/>
                        <a:pt x="212778" y="34188"/>
                        <a:pt x="218350" y="29321"/>
                      </a:cubicBezTo>
                      <a:cubicBezTo>
                        <a:pt x="223170" y="25111"/>
                        <a:pt x="225627" y="21225"/>
                        <a:pt x="231952" y="18996"/>
                      </a:cubicBezTo>
                      <a:cubicBezTo>
                        <a:pt x="242210" y="15376"/>
                        <a:pt x="254897" y="15519"/>
                        <a:pt x="265603" y="16186"/>
                      </a:cubicBezTo>
                      <a:cubicBezTo>
                        <a:pt x="270671" y="16500"/>
                        <a:pt x="275290" y="17167"/>
                        <a:pt x="280177" y="18625"/>
                      </a:cubicBezTo>
                      <a:cubicBezTo>
                        <a:pt x="286034" y="20377"/>
                        <a:pt x="291388" y="25521"/>
                        <a:pt x="297436" y="25140"/>
                      </a:cubicBezTo>
                      <a:cubicBezTo>
                        <a:pt x="304132" y="24711"/>
                        <a:pt x="303751" y="20929"/>
                        <a:pt x="308837" y="17100"/>
                      </a:cubicBezTo>
                      <a:cubicBezTo>
                        <a:pt x="312771" y="14129"/>
                        <a:pt x="317753" y="12357"/>
                        <a:pt x="322125" y="10281"/>
                      </a:cubicBezTo>
                      <a:cubicBezTo>
                        <a:pt x="326078" y="8395"/>
                        <a:pt x="332650" y="3232"/>
                        <a:pt x="337584" y="5289"/>
                      </a:cubicBezTo>
                      <a:cubicBezTo>
                        <a:pt x="340708" y="6604"/>
                        <a:pt x="345832" y="16043"/>
                        <a:pt x="347899" y="18825"/>
                      </a:cubicBezTo>
                      <a:cubicBezTo>
                        <a:pt x="352119" y="24501"/>
                        <a:pt x="353290" y="27645"/>
                        <a:pt x="354814" y="34703"/>
                      </a:cubicBezTo>
                      <a:cubicBezTo>
                        <a:pt x="355281" y="36874"/>
                        <a:pt x="355500" y="44247"/>
                        <a:pt x="356996" y="46018"/>
                      </a:cubicBezTo>
                      <a:cubicBezTo>
                        <a:pt x="360034" y="49619"/>
                        <a:pt x="365654" y="47152"/>
                        <a:pt x="369007" y="51495"/>
                      </a:cubicBezTo>
                      <a:cubicBezTo>
                        <a:pt x="371769" y="55077"/>
                        <a:pt x="370788" y="58839"/>
                        <a:pt x="370416" y="63097"/>
                      </a:cubicBezTo>
                      <a:cubicBezTo>
                        <a:pt x="369416" y="74631"/>
                        <a:pt x="367997" y="77737"/>
                        <a:pt x="356424" y="82756"/>
                      </a:cubicBezTo>
                      <a:cubicBezTo>
                        <a:pt x="346128" y="87233"/>
                        <a:pt x="340365" y="96501"/>
                        <a:pt x="336927" y="107655"/>
                      </a:cubicBezTo>
                      <a:cubicBezTo>
                        <a:pt x="336088" y="110350"/>
                        <a:pt x="336041" y="113836"/>
                        <a:pt x="334641" y="116275"/>
                      </a:cubicBezTo>
                      <a:cubicBezTo>
                        <a:pt x="333488" y="118294"/>
                        <a:pt x="330907" y="119285"/>
                        <a:pt x="329964" y="121399"/>
                      </a:cubicBezTo>
                      <a:cubicBezTo>
                        <a:pt x="328230" y="125276"/>
                        <a:pt x="330735" y="131000"/>
                        <a:pt x="328525" y="134591"/>
                      </a:cubicBezTo>
                      <a:cubicBezTo>
                        <a:pt x="325878" y="138897"/>
                        <a:pt x="320763" y="138001"/>
                        <a:pt x="318353" y="143573"/>
                      </a:cubicBezTo>
                      <a:cubicBezTo>
                        <a:pt x="316467" y="147955"/>
                        <a:pt x="317734" y="153756"/>
                        <a:pt x="315905" y="158194"/>
                      </a:cubicBezTo>
                      <a:cubicBezTo>
                        <a:pt x="312905" y="165529"/>
                        <a:pt x="308790" y="162595"/>
                        <a:pt x="304094" y="166186"/>
                      </a:cubicBezTo>
                      <a:cubicBezTo>
                        <a:pt x="301151" y="168434"/>
                        <a:pt x="299388" y="175368"/>
                        <a:pt x="298369" y="178625"/>
                      </a:cubicBezTo>
                      <a:cubicBezTo>
                        <a:pt x="296522" y="184617"/>
                        <a:pt x="294855" y="190398"/>
                        <a:pt x="292178" y="195904"/>
                      </a:cubicBezTo>
                      <a:cubicBezTo>
                        <a:pt x="290063" y="200219"/>
                        <a:pt x="286025" y="204391"/>
                        <a:pt x="284958" y="209077"/>
                      </a:cubicBezTo>
                      <a:cubicBezTo>
                        <a:pt x="284072" y="212963"/>
                        <a:pt x="288063" y="209829"/>
                        <a:pt x="285158" y="214735"/>
                      </a:cubicBezTo>
                      <a:cubicBezTo>
                        <a:pt x="283701" y="217211"/>
                        <a:pt x="279824" y="218011"/>
                        <a:pt x="278472" y="220612"/>
                      </a:cubicBezTo>
                      <a:cubicBezTo>
                        <a:pt x="275662" y="225993"/>
                        <a:pt x="278443" y="228755"/>
                        <a:pt x="271528" y="232404"/>
                      </a:cubicBezTo>
                      <a:cubicBezTo>
                        <a:pt x="260517" y="238204"/>
                        <a:pt x="261374" y="219726"/>
                        <a:pt x="251125" y="216192"/>
                      </a:cubicBezTo>
                      <a:cubicBezTo>
                        <a:pt x="244248" y="213820"/>
                        <a:pt x="248735" y="217392"/>
                        <a:pt x="243258" y="220164"/>
                      </a:cubicBezTo>
                      <a:cubicBezTo>
                        <a:pt x="239819" y="221907"/>
                        <a:pt x="234657" y="220431"/>
                        <a:pt x="233656" y="216630"/>
                      </a:cubicBezTo>
                      <a:cubicBezTo>
                        <a:pt x="230675" y="218802"/>
                        <a:pt x="226065" y="220897"/>
                        <a:pt x="223588" y="223326"/>
                      </a:cubicBezTo>
                      <a:cubicBezTo>
                        <a:pt x="220807" y="226050"/>
                        <a:pt x="219502" y="229889"/>
                        <a:pt x="216626" y="232718"/>
                      </a:cubicBezTo>
                      <a:cubicBezTo>
                        <a:pt x="210215" y="238957"/>
                        <a:pt x="201757" y="243395"/>
                        <a:pt x="197471" y="251730"/>
                      </a:cubicBezTo>
                      <a:cubicBezTo>
                        <a:pt x="192851" y="260741"/>
                        <a:pt x="189194" y="300603"/>
                        <a:pt x="174802" y="281905"/>
                      </a:cubicBezTo>
                      <a:cubicBezTo>
                        <a:pt x="174135" y="291144"/>
                        <a:pt x="181279" y="292563"/>
                        <a:pt x="168248" y="293516"/>
                      </a:cubicBezTo>
                      <a:cubicBezTo>
                        <a:pt x="163419" y="293868"/>
                        <a:pt x="153427" y="297421"/>
                        <a:pt x="152151" y="290373"/>
                      </a:cubicBezTo>
                      <a:cubicBezTo>
                        <a:pt x="150122" y="298907"/>
                        <a:pt x="141245" y="290173"/>
                        <a:pt x="137863" y="288449"/>
                      </a:cubicBezTo>
                      <a:cubicBezTo>
                        <a:pt x="141407" y="291516"/>
                        <a:pt x="140731" y="299250"/>
                        <a:pt x="134501" y="298593"/>
                      </a:cubicBezTo>
                      <a:cubicBezTo>
                        <a:pt x="129119" y="298031"/>
                        <a:pt x="131206" y="290963"/>
                        <a:pt x="128148" y="288182"/>
                      </a:cubicBezTo>
                      <a:cubicBezTo>
                        <a:pt x="129281" y="292021"/>
                        <a:pt x="128005" y="296259"/>
                        <a:pt x="131120" y="299250"/>
                      </a:cubicBezTo>
                      <a:cubicBezTo>
                        <a:pt x="126824" y="300783"/>
                        <a:pt x="122986" y="301184"/>
                        <a:pt x="122281" y="296011"/>
                      </a:cubicBezTo>
                      <a:cubicBezTo>
                        <a:pt x="122909" y="301917"/>
                        <a:pt x="110317" y="304336"/>
                        <a:pt x="112565" y="297393"/>
                      </a:cubicBezTo>
                      <a:cubicBezTo>
                        <a:pt x="104983" y="313118"/>
                        <a:pt x="87495" y="283829"/>
                        <a:pt x="84562" y="275447"/>
                      </a:cubicBezTo>
                      <a:cubicBezTo>
                        <a:pt x="85562" y="275428"/>
                        <a:pt x="86772" y="274704"/>
                        <a:pt x="87476" y="274657"/>
                      </a:cubicBezTo>
                      <a:cubicBezTo>
                        <a:pt x="77951" y="274399"/>
                        <a:pt x="89248" y="266646"/>
                        <a:pt x="89743" y="264560"/>
                      </a:cubicBezTo>
                      <a:cubicBezTo>
                        <a:pt x="87353" y="266189"/>
                        <a:pt x="80447" y="268046"/>
                        <a:pt x="79247" y="263484"/>
                      </a:cubicBezTo>
                      <a:cubicBezTo>
                        <a:pt x="78313" y="259950"/>
                        <a:pt x="84238" y="261845"/>
                        <a:pt x="86800" y="260236"/>
                      </a:cubicBezTo>
                      <a:cubicBezTo>
                        <a:pt x="83076" y="259864"/>
                        <a:pt x="84019" y="259721"/>
                        <a:pt x="82723" y="257226"/>
                      </a:cubicBezTo>
                      <a:cubicBezTo>
                        <a:pt x="78694" y="263826"/>
                        <a:pt x="76332" y="257921"/>
                        <a:pt x="74151" y="254626"/>
                      </a:cubicBezTo>
                      <a:cubicBezTo>
                        <a:pt x="70750" y="249510"/>
                        <a:pt x="65807" y="244834"/>
                        <a:pt x="60854" y="241166"/>
                      </a:cubicBezTo>
                      <a:cubicBezTo>
                        <a:pt x="48567" y="232080"/>
                        <a:pt x="36403" y="239300"/>
                        <a:pt x="23678" y="234556"/>
                      </a:cubicBezTo>
                      <a:cubicBezTo>
                        <a:pt x="26659" y="232727"/>
                        <a:pt x="29955" y="231261"/>
                        <a:pt x="33108" y="229613"/>
                      </a:cubicBezTo>
                      <a:cubicBezTo>
                        <a:pt x="30726" y="229232"/>
                        <a:pt x="27612" y="230070"/>
                        <a:pt x="25316" y="231261"/>
                      </a:cubicBezTo>
                      <a:cubicBezTo>
                        <a:pt x="23602" y="232146"/>
                        <a:pt x="21268" y="234956"/>
                        <a:pt x="19820" y="235509"/>
                      </a:cubicBezTo>
                      <a:cubicBezTo>
                        <a:pt x="14429" y="237557"/>
                        <a:pt x="6180" y="235785"/>
                        <a:pt x="304" y="236375"/>
                      </a:cubicBezTo>
                      <a:cubicBezTo>
                        <a:pt x="504" y="231946"/>
                        <a:pt x="1856" y="227727"/>
                        <a:pt x="1723" y="223650"/>
                      </a:cubicBezTo>
                      <a:cubicBezTo>
                        <a:pt x="1580" y="219202"/>
                        <a:pt x="1408" y="215621"/>
                        <a:pt x="1618" y="211144"/>
                      </a:cubicBezTo>
                      <a:cubicBezTo>
                        <a:pt x="2075" y="201400"/>
                        <a:pt x="-278" y="193332"/>
                        <a:pt x="27" y="183417"/>
                      </a:cubicBezTo>
                      <a:cubicBezTo>
                        <a:pt x="208" y="177635"/>
                        <a:pt x="513" y="172225"/>
                        <a:pt x="932" y="166500"/>
                      </a:cubicBezTo>
                      <a:cubicBezTo>
                        <a:pt x="1161" y="163405"/>
                        <a:pt x="789" y="160471"/>
                        <a:pt x="1380" y="157394"/>
                      </a:cubicBezTo>
                      <a:cubicBezTo>
                        <a:pt x="2723" y="150346"/>
                        <a:pt x="1970" y="154327"/>
                        <a:pt x="6609" y="151479"/>
                      </a:cubicBezTo>
                      <a:cubicBezTo>
                        <a:pt x="10010" y="149393"/>
                        <a:pt x="10343" y="151603"/>
                        <a:pt x="12667" y="147555"/>
                      </a:cubicBezTo>
                      <a:cubicBezTo>
                        <a:pt x="14305" y="144697"/>
                        <a:pt x="12438" y="141745"/>
                        <a:pt x="13458" y="139240"/>
                      </a:cubicBezTo>
                      <a:cubicBezTo>
                        <a:pt x="14181" y="137458"/>
                        <a:pt x="16239" y="136420"/>
                        <a:pt x="17058" y="134810"/>
                      </a:cubicBezTo>
                      <a:cubicBezTo>
                        <a:pt x="18382" y="132229"/>
                        <a:pt x="19220" y="129648"/>
                        <a:pt x="20963" y="127524"/>
                      </a:cubicBezTo>
                      <a:cubicBezTo>
                        <a:pt x="22078" y="126162"/>
                        <a:pt x="25059" y="126514"/>
                        <a:pt x="26507" y="124923"/>
                      </a:cubicBezTo>
                      <a:cubicBezTo>
                        <a:pt x="28659" y="122552"/>
                        <a:pt x="28459" y="118446"/>
                        <a:pt x="28688" y="116046"/>
                      </a:cubicBezTo>
                      <a:cubicBezTo>
                        <a:pt x="28983" y="112922"/>
                        <a:pt x="26431" y="113655"/>
                        <a:pt x="28583" y="110017"/>
                      </a:cubicBezTo>
                      <a:cubicBezTo>
                        <a:pt x="29869" y="107855"/>
                        <a:pt x="32336" y="109922"/>
                        <a:pt x="33146" y="108826"/>
                      </a:cubicBezTo>
                      <a:cubicBezTo>
                        <a:pt x="37708" y="102740"/>
                        <a:pt x="31355" y="88776"/>
                        <a:pt x="27802" y="83375"/>
                      </a:cubicBezTo>
                      <a:cubicBezTo>
                        <a:pt x="22335" y="75051"/>
                        <a:pt x="26240" y="75651"/>
                        <a:pt x="28297" y="68002"/>
                      </a:cubicBezTo>
                      <a:cubicBezTo>
                        <a:pt x="28888" y="65783"/>
                        <a:pt x="28717" y="63583"/>
                        <a:pt x="28440" y="60611"/>
                      </a:cubicBezTo>
                      <a:cubicBezTo>
                        <a:pt x="28059" y="56477"/>
                        <a:pt x="27678" y="49247"/>
                        <a:pt x="28764" y="45209"/>
                      </a:cubicBezTo>
                      <a:cubicBezTo>
                        <a:pt x="30241" y="39675"/>
                        <a:pt x="36241" y="37236"/>
                        <a:pt x="39528" y="32074"/>
                      </a:cubicBezTo>
                      <a:cubicBezTo>
                        <a:pt x="43166" y="26349"/>
                        <a:pt x="40927" y="18148"/>
                        <a:pt x="44176" y="13081"/>
                      </a:cubicBezTo>
                      <a:cubicBezTo>
                        <a:pt x="46386" y="9623"/>
                        <a:pt x="54567" y="6099"/>
                        <a:pt x="58549" y="4889"/>
                      </a:cubicBezTo>
                      <a:cubicBezTo>
                        <a:pt x="65083" y="2918"/>
                        <a:pt x="71598" y="5385"/>
                        <a:pt x="78037" y="3651"/>
                      </a:cubicBezTo>
                      <a:cubicBezTo>
                        <a:pt x="80990" y="2861"/>
                        <a:pt x="82437" y="127"/>
                        <a:pt x="85838" y="3"/>
                      </a:cubicBezTo>
                      <a:cubicBezTo>
                        <a:pt x="88953" y="-102"/>
                        <a:pt x="93534" y="2451"/>
                        <a:pt x="96563" y="3404"/>
                      </a:cubicBezTo>
                      <a:lnTo>
                        <a:pt x="96563" y="3404"/>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94" name="Freeform: Shape 593">
                  <a:extLst>
                    <a:ext uri="{FF2B5EF4-FFF2-40B4-BE49-F238E27FC236}">
                      <a16:creationId xmlns:a16="http://schemas.microsoft.com/office/drawing/2014/main" id="{FA895CA1-4F3B-4CBF-AF31-F8B75DD40F5B}"/>
                    </a:ext>
                  </a:extLst>
                </p:cNvPr>
                <p:cNvSpPr/>
                <p:nvPr/>
              </p:nvSpPr>
              <p:spPr>
                <a:xfrm>
                  <a:off x="5599377" y="3625137"/>
                  <a:ext cx="481234" cy="370213"/>
                </a:xfrm>
                <a:custGeom>
                  <a:avLst/>
                  <a:gdLst>
                    <a:gd name="connsiteX0" fmla="*/ 447292 w 481234"/>
                    <a:gd name="connsiteY0" fmla="*/ 15372 h 370213"/>
                    <a:gd name="connsiteX1" fmla="*/ 454874 w 481234"/>
                    <a:gd name="connsiteY1" fmla="*/ 49253 h 370213"/>
                    <a:gd name="connsiteX2" fmla="*/ 456265 w 481234"/>
                    <a:gd name="connsiteY2" fmla="*/ 62683 h 370213"/>
                    <a:gd name="connsiteX3" fmla="*/ 467352 w 481234"/>
                    <a:gd name="connsiteY3" fmla="*/ 76580 h 370213"/>
                    <a:gd name="connsiteX4" fmla="*/ 471295 w 481234"/>
                    <a:gd name="connsiteY4" fmla="*/ 88115 h 370213"/>
                    <a:gd name="connsiteX5" fmla="*/ 481220 w 481234"/>
                    <a:gd name="connsiteY5" fmla="*/ 99526 h 370213"/>
                    <a:gd name="connsiteX6" fmla="*/ 475448 w 481234"/>
                    <a:gd name="connsiteY6" fmla="*/ 111537 h 370213"/>
                    <a:gd name="connsiteX7" fmla="*/ 474496 w 481234"/>
                    <a:gd name="connsiteY7" fmla="*/ 126357 h 370213"/>
                    <a:gd name="connsiteX8" fmla="*/ 471819 w 481234"/>
                    <a:gd name="connsiteY8" fmla="*/ 190918 h 370213"/>
                    <a:gd name="connsiteX9" fmla="*/ 471143 w 481234"/>
                    <a:gd name="connsiteY9" fmla="*/ 206596 h 370213"/>
                    <a:gd name="connsiteX10" fmla="*/ 461789 w 481234"/>
                    <a:gd name="connsiteY10" fmla="*/ 217540 h 370213"/>
                    <a:gd name="connsiteX11" fmla="*/ 438310 w 481234"/>
                    <a:gd name="connsiteY11" fmla="*/ 243629 h 370213"/>
                    <a:gd name="connsiteX12" fmla="*/ 418860 w 481234"/>
                    <a:gd name="connsiteY12" fmla="*/ 274728 h 370213"/>
                    <a:gd name="connsiteX13" fmla="*/ 411688 w 481234"/>
                    <a:gd name="connsiteY13" fmla="*/ 288521 h 370213"/>
                    <a:gd name="connsiteX14" fmla="*/ 416707 w 481234"/>
                    <a:gd name="connsiteY14" fmla="*/ 308066 h 370213"/>
                    <a:gd name="connsiteX15" fmla="*/ 394514 w 481234"/>
                    <a:gd name="connsiteY15" fmla="*/ 315895 h 370213"/>
                    <a:gd name="connsiteX16" fmla="*/ 377817 w 481234"/>
                    <a:gd name="connsiteY16" fmla="*/ 327887 h 370213"/>
                    <a:gd name="connsiteX17" fmla="*/ 354614 w 481234"/>
                    <a:gd name="connsiteY17" fmla="*/ 320210 h 370213"/>
                    <a:gd name="connsiteX18" fmla="*/ 330849 w 481234"/>
                    <a:gd name="connsiteY18" fmla="*/ 318896 h 370213"/>
                    <a:gd name="connsiteX19" fmla="*/ 306970 w 481234"/>
                    <a:gd name="connsiteY19" fmla="*/ 323506 h 370213"/>
                    <a:gd name="connsiteX20" fmla="*/ 288120 w 481234"/>
                    <a:gd name="connsiteY20" fmla="*/ 336079 h 370213"/>
                    <a:gd name="connsiteX21" fmla="*/ 263927 w 481234"/>
                    <a:gd name="connsiteY21" fmla="*/ 331878 h 370213"/>
                    <a:gd name="connsiteX22" fmla="*/ 241457 w 481234"/>
                    <a:gd name="connsiteY22" fmla="*/ 320086 h 370213"/>
                    <a:gd name="connsiteX23" fmla="*/ 205548 w 481234"/>
                    <a:gd name="connsiteY23" fmla="*/ 326535 h 370213"/>
                    <a:gd name="connsiteX24" fmla="*/ 189851 w 481234"/>
                    <a:gd name="connsiteY24" fmla="*/ 309504 h 370213"/>
                    <a:gd name="connsiteX25" fmla="*/ 168953 w 481234"/>
                    <a:gd name="connsiteY25" fmla="*/ 304084 h 370213"/>
                    <a:gd name="connsiteX26" fmla="*/ 148836 w 481234"/>
                    <a:gd name="connsiteY26" fmla="*/ 306732 h 370213"/>
                    <a:gd name="connsiteX27" fmla="*/ 127262 w 481234"/>
                    <a:gd name="connsiteY27" fmla="*/ 313428 h 370213"/>
                    <a:gd name="connsiteX28" fmla="*/ 122756 w 481234"/>
                    <a:gd name="connsiteY28" fmla="*/ 317867 h 370213"/>
                    <a:gd name="connsiteX29" fmla="*/ 120204 w 481234"/>
                    <a:gd name="connsiteY29" fmla="*/ 331297 h 370213"/>
                    <a:gd name="connsiteX30" fmla="*/ 107688 w 481234"/>
                    <a:gd name="connsiteY30" fmla="*/ 347957 h 370213"/>
                    <a:gd name="connsiteX31" fmla="*/ 107450 w 481234"/>
                    <a:gd name="connsiteY31" fmla="*/ 367616 h 370213"/>
                    <a:gd name="connsiteX32" fmla="*/ 104287 w 481234"/>
                    <a:gd name="connsiteY32" fmla="*/ 368493 h 370213"/>
                    <a:gd name="connsiteX33" fmla="*/ 95753 w 481234"/>
                    <a:gd name="connsiteY33" fmla="*/ 361711 h 370213"/>
                    <a:gd name="connsiteX34" fmla="*/ 85552 w 481234"/>
                    <a:gd name="connsiteY34" fmla="*/ 351747 h 370213"/>
                    <a:gd name="connsiteX35" fmla="*/ 78075 w 481234"/>
                    <a:gd name="connsiteY35" fmla="*/ 351614 h 370213"/>
                    <a:gd name="connsiteX36" fmla="*/ 69521 w 481234"/>
                    <a:gd name="connsiteY36" fmla="*/ 354091 h 370213"/>
                    <a:gd name="connsiteX37" fmla="*/ 68683 w 481234"/>
                    <a:gd name="connsiteY37" fmla="*/ 365006 h 370213"/>
                    <a:gd name="connsiteX38" fmla="*/ 59282 w 481234"/>
                    <a:gd name="connsiteY38" fmla="*/ 349585 h 370213"/>
                    <a:gd name="connsiteX39" fmla="*/ 62654 w 481234"/>
                    <a:gd name="connsiteY39" fmla="*/ 344023 h 370213"/>
                    <a:gd name="connsiteX40" fmla="*/ 56053 w 481234"/>
                    <a:gd name="connsiteY40" fmla="*/ 339327 h 370213"/>
                    <a:gd name="connsiteX41" fmla="*/ 47195 w 481234"/>
                    <a:gd name="connsiteY41" fmla="*/ 342280 h 370213"/>
                    <a:gd name="connsiteX42" fmla="*/ 36298 w 481234"/>
                    <a:gd name="connsiteY42" fmla="*/ 336603 h 370213"/>
                    <a:gd name="connsiteX43" fmla="*/ 24944 w 481234"/>
                    <a:gd name="connsiteY43" fmla="*/ 318753 h 370213"/>
                    <a:gd name="connsiteX44" fmla="*/ 31555 w 481234"/>
                    <a:gd name="connsiteY44" fmla="*/ 318982 h 370213"/>
                    <a:gd name="connsiteX45" fmla="*/ 5523 w 481234"/>
                    <a:gd name="connsiteY45" fmla="*/ 295321 h 370213"/>
                    <a:gd name="connsiteX46" fmla="*/ 5656 w 481234"/>
                    <a:gd name="connsiteY46" fmla="*/ 290283 h 370213"/>
                    <a:gd name="connsiteX47" fmla="*/ 1999 w 481234"/>
                    <a:gd name="connsiteY47" fmla="*/ 286244 h 370213"/>
                    <a:gd name="connsiteX48" fmla="*/ 360 w 481234"/>
                    <a:gd name="connsiteY48" fmla="*/ 275195 h 370213"/>
                    <a:gd name="connsiteX49" fmla="*/ 14495 w 481234"/>
                    <a:gd name="connsiteY49" fmla="*/ 268518 h 370213"/>
                    <a:gd name="connsiteX50" fmla="*/ 33888 w 481234"/>
                    <a:gd name="connsiteY50" fmla="*/ 259155 h 370213"/>
                    <a:gd name="connsiteX51" fmla="*/ 58348 w 481234"/>
                    <a:gd name="connsiteY51" fmla="*/ 257517 h 370213"/>
                    <a:gd name="connsiteX52" fmla="*/ 102630 w 481234"/>
                    <a:gd name="connsiteY52" fmla="*/ 256021 h 370213"/>
                    <a:gd name="connsiteX53" fmla="*/ 114536 w 481234"/>
                    <a:gd name="connsiteY53" fmla="*/ 241458 h 370213"/>
                    <a:gd name="connsiteX54" fmla="*/ 122061 w 481234"/>
                    <a:gd name="connsiteY54" fmla="*/ 222055 h 370213"/>
                    <a:gd name="connsiteX55" fmla="*/ 124300 w 481234"/>
                    <a:gd name="connsiteY55" fmla="*/ 176564 h 370213"/>
                    <a:gd name="connsiteX56" fmla="*/ 123909 w 481234"/>
                    <a:gd name="connsiteY56" fmla="*/ 150475 h 370213"/>
                    <a:gd name="connsiteX57" fmla="*/ 123728 w 481234"/>
                    <a:gd name="connsiteY57" fmla="*/ 139426 h 370213"/>
                    <a:gd name="connsiteX58" fmla="*/ 133863 w 481234"/>
                    <a:gd name="connsiteY58" fmla="*/ 134720 h 370213"/>
                    <a:gd name="connsiteX59" fmla="*/ 158570 w 481234"/>
                    <a:gd name="connsiteY59" fmla="*/ 129853 h 370213"/>
                    <a:gd name="connsiteX60" fmla="*/ 181707 w 481234"/>
                    <a:gd name="connsiteY60" fmla="*/ 118137 h 370213"/>
                    <a:gd name="connsiteX61" fmla="*/ 218816 w 481234"/>
                    <a:gd name="connsiteY61" fmla="*/ 85105 h 370213"/>
                    <a:gd name="connsiteX62" fmla="*/ 263269 w 481234"/>
                    <a:gd name="connsiteY62" fmla="*/ 56730 h 370213"/>
                    <a:gd name="connsiteX63" fmla="*/ 348985 w 481234"/>
                    <a:gd name="connsiteY63" fmla="*/ 3056 h 370213"/>
                    <a:gd name="connsiteX64" fmla="*/ 373397 w 481234"/>
                    <a:gd name="connsiteY64" fmla="*/ 3028 h 370213"/>
                    <a:gd name="connsiteX65" fmla="*/ 402753 w 481234"/>
                    <a:gd name="connsiteY65" fmla="*/ 10076 h 370213"/>
                    <a:gd name="connsiteX66" fmla="*/ 424480 w 481234"/>
                    <a:gd name="connsiteY66" fmla="*/ 27116 h 370213"/>
                    <a:gd name="connsiteX67" fmla="*/ 447292 w 481234"/>
                    <a:gd name="connsiteY67" fmla="*/ 15372 h 370213"/>
                    <a:gd name="connsiteX68" fmla="*/ 447292 w 481234"/>
                    <a:gd name="connsiteY68" fmla="*/ 15372 h 370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81234" h="370213">
                      <a:moveTo>
                        <a:pt x="447292" y="15372"/>
                      </a:moveTo>
                      <a:cubicBezTo>
                        <a:pt x="449893" y="26507"/>
                        <a:pt x="453264" y="37918"/>
                        <a:pt x="454874" y="49253"/>
                      </a:cubicBezTo>
                      <a:cubicBezTo>
                        <a:pt x="455446" y="53310"/>
                        <a:pt x="454360" y="58920"/>
                        <a:pt x="456265" y="62683"/>
                      </a:cubicBezTo>
                      <a:cubicBezTo>
                        <a:pt x="458741" y="67569"/>
                        <a:pt x="465276" y="70903"/>
                        <a:pt x="467352" y="76580"/>
                      </a:cubicBezTo>
                      <a:cubicBezTo>
                        <a:pt x="469114" y="81399"/>
                        <a:pt x="467609" y="83514"/>
                        <a:pt x="471295" y="88115"/>
                      </a:cubicBezTo>
                      <a:cubicBezTo>
                        <a:pt x="473943" y="91420"/>
                        <a:pt x="480820" y="95096"/>
                        <a:pt x="481220" y="99526"/>
                      </a:cubicBezTo>
                      <a:cubicBezTo>
                        <a:pt x="481544" y="103107"/>
                        <a:pt x="476410" y="107927"/>
                        <a:pt x="475448" y="111537"/>
                      </a:cubicBezTo>
                      <a:cubicBezTo>
                        <a:pt x="474200" y="116166"/>
                        <a:pt x="474686" y="121547"/>
                        <a:pt x="474496" y="126357"/>
                      </a:cubicBezTo>
                      <a:cubicBezTo>
                        <a:pt x="473619" y="147874"/>
                        <a:pt x="472724" y="169401"/>
                        <a:pt x="471819" y="190918"/>
                      </a:cubicBezTo>
                      <a:cubicBezTo>
                        <a:pt x="471619" y="195385"/>
                        <a:pt x="472676" y="202434"/>
                        <a:pt x="471143" y="206596"/>
                      </a:cubicBezTo>
                      <a:cubicBezTo>
                        <a:pt x="469676" y="210558"/>
                        <a:pt x="464742" y="214254"/>
                        <a:pt x="461789" y="217540"/>
                      </a:cubicBezTo>
                      <a:cubicBezTo>
                        <a:pt x="454074" y="226122"/>
                        <a:pt x="445378" y="234504"/>
                        <a:pt x="438310" y="243629"/>
                      </a:cubicBezTo>
                      <a:cubicBezTo>
                        <a:pt x="430919" y="253192"/>
                        <a:pt x="424175" y="263927"/>
                        <a:pt x="418860" y="274728"/>
                      </a:cubicBezTo>
                      <a:cubicBezTo>
                        <a:pt x="416679" y="279167"/>
                        <a:pt x="411907" y="284187"/>
                        <a:pt x="411688" y="288521"/>
                      </a:cubicBezTo>
                      <a:cubicBezTo>
                        <a:pt x="411411" y="294188"/>
                        <a:pt x="415317" y="302694"/>
                        <a:pt x="416707" y="308066"/>
                      </a:cubicBezTo>
                      <a:cubicBezTo>
                        <a:pt x="409011" y="307532"/>
                        <a:pt x="401239" y="312447"/>
                        <a:pt x="394514" y="315895"/>
                      </a:cubicBezTo>
                      <a:cubicBezTo>
                        <a:pt x="388247" y="319115"/>
                        <a:pt x="383551" y="326592"/>
                        <a:pt x="377817" y="327887"/>
                      </a:cubicBezTo>
                      <a:cubicBezTo>
                        <a:pt x="370845" y="329459"/>
                        <a:pt x="361700" y="321858"/>
                        <a:pt x="354614" y="320210"/>
                      </a:cubicBezTo>
                      <a:cubicBezTo>
                        <a:pt x="346880" y="318410"/>
                        <a:pt x="338726" y="318439"/>
                        <a:pt x="330849" y="318896"/>
                      </a:cubicBezTo>
                      <a:cubicBezTo>
                        <a:pt x="322991" y="319353"/>
                        <a:pt x="314057" y="319724"/>
                        <a:pt x="306970" y="323506"/>
                      </a:cubicBezTo>
                      <a:cubicBezTo>
                        <a:pt x="299093" y="327716"/>
                        <a:pt x="297140" y="335422"/>
                        <a:pt x="288120" y="336079"/>
                      </a:cubicBezTo>
                      <a:cubicBezTo>
                        <a:pt x="280100" y="336660"/>
                        <a:pt x="271223" y="335022"/>
                        <a:pt x="263927" y="331878"/>
                      </a:cubicBezTo>
                      <a:cubicBezTo>
                        <a:pt x="256278" y="328573"/>
                        <a:pt x="249734" y="321334"/>
                        <a:pt x="241457" y="320086"/>
                      </a:cubicBezTo>
                      <a:cubicBezTo>
                        <a:pt x="229141" y="318229"/>
                        <a:pt x="216187" y="336955"/>
                        <a:pt x="205548" y="326535"/>
                      </a:cubicBezTo>
                      <a:cubicBezTo>
                        <a:pt x="200080" y="321163"/>
                        <a:pt x="197461" y="312866"/>
                        <a:pt x="189851" y="309504"/>
                      </a:cubicBezTo>
                      <a:cubicBezTo>
                        <a:pt x="184288" y="307047"/>
                        <a:pt x="175258" y="305532"/>
                        <a:pt x="168953" y="304084"/>
                      </a:cubicBezTo>
                      <a:cubicBezTo>
                        <a:pt x="161437" y="302370"/>
                        <a:pt x="156627" y="306532"/>
                        <a:pt x="148836" y="306732"/>
                      </a:cubicBezTo>
                      <a:cubicBezTo>
                        <a:pt x="140244" y="306952"/>
                        <a:pt x="134043" y="307675"/>
                        <a:pt x="127262" y="313428"/>
                      </a:cubicBezTo>
                      <a:cubicBezTo>
                        <a:pt x="124785" y="315524"/>
                        <a:pt x="124061" y="315067"/>
                        <a:pt x="122756" y="317867"/>
                      </a:cubicBezTo>
                      <a:cubicBezTo>
                        <a:pt x="120956" y="321734"/>
                        <a:pt x="121813" y="327116"/>
                        <a:pt x="120204" y="331297"/>
                      </a:cubicBezTo>
                      <a:cubicBezTo>
                        <a:pt x="117451" y="338470"/>
                        <a:pt x="109469" y="341441"/>
                        <a:pt x="107688" y="347957"/>
                      </a:cubicBezTo>
                      <a:cubicBezTo>
                        <a:pt x="106011" y="354062"/>
                        <a:pt x="108821" y="362130"/>
                        <a:pt x="107450" y="367616"/>
                      </a:cubicBezTo>
                      <a:cubicBezTo>
                        <a:pt x="106469" y="371512"/>
                        <a:pt x="109021" y="370350"/>
                        <a:pt x="104287" y="368493"/>
                      </a:cubicBezTo>
                      <a:cubicBezTo>
                        <a:pt x="100516" y="367016"/>
                        <a:pt x="98410" y="364263"/>
                        <a:pt x="95753" y="361711"/>
                      </a:cubicBezTo>
                      <a:cubicBezTo>
                        <a:pt x="92572" y="358663"/>
                        <a:pt x="89438" y="353872"/>
                        <a:pt x="85552" y="351747"/>
                      </a:cubicBezTo>
                      <a:cubicBezTo>
                        <a:pt x="81313" y="349443"/>
                        <a:pt x="82447" y="350690"/>
                        <a:pt x="78075" y="351614"/>
                      </a:cubicBezTo>
                      <a:cubicBezTo>
                        <a:pt x="76074" y="352033"/>
                        <a:pt x="70893" y="352748"/>
                        <a:pt x="69521" y="354091"/>
                      </a:cubicBezTo>
                      <a:cubicBezTo>
                        <a:pt x="66397" y="357148"/>
                        <a:pt x="70455" y="360472"/>
                        <a:pt x="68683" y="365006"/>
                      </a:cubicBezTo>
                      <a:cubicBezTo>
                        <a:pt x="65130" y="361215"/>
                        <a:pt x="58072" y="354157"/>
                        <a:pt x="59282" y="349585"/>
                      </a:cubicBezTo>
                      <a:cubicBezTo>
                        <a:pt x="60234" y="345985"/>
                        <a:pt x="64721" y="350919"/>
                        <a:pt x="62654" y="344023"/>
                      </a:cubicBezTo>
                      <a:cubicBezTo>
                        <a:pt x="61568" y="340394"/>
                        <a:pt x="59406" y="339175"/>
                        <a:pt x="56053" y="339327"/>
                      </a:cubicBezTo>
                      <a:cubicBezTo>
                        <a:pt x="52824" y="339479"/>
                        <a:pt x="50976" y="342346"/>
                        <a:pt x="47195" y="342280"/>
                      </a:cubicBezTo>
                      <a:cubicBezTo>
                        <a:pt x="42251" y="342194"/>
                        <a:pt x="39936" y="339546"/>
                        <a:pt x="36298" y="336603"/>
                      </a:cubicBezTo>
                      <a:cubicBezTo>
                        <a:pt x="28868" y="330593"/>
                        <a:pt x="22563" y="329497"/>
                        <a:pt x="24944" y="318753"/>
                      </a:cubicBezTo>
                      <a:cubicBezTo>
                        <a:pt x="27268" y="319743"/>
                        <a:pt x="29564" y="320039"/>
                        <a:pt x="31555" y="318982"/>
                      </a:cubicBezTo>
                      <a:cubicBezTo>
                        <a:pt x="22249" y="311695"/>
                        <a:pt x="9895" y="307475"/>
                        <a:pt x="5523" y="295321"/>
                      </a:cubicBezTo>
                      <a:cubicBezTo>
                        <a:pt x="4856" y="293445"/>
                        <a:pt x="6456" y="292035"/>
                        <a:pt x="5656" y="290283"/>
                      </a:cubicBezTo>
                      <a:cubicBezTo>
                        <a:pt x="4904" y="288654"/>
                        <a:pt x="2703" y="287844"/>
                        <a:pt x="1999" y="286244"/>
                      </a:cubicBezTo>
                      <a:cubicBezTo>
                        <a:pt x="-21" y="281672"/>
                        <a:pt x="-392" y="280720"/>
                        <a:pt x="360" y="275195"/>
                      </a:cubicBezTo>
                      <a:cubicBezTo>
                        <a:pt x="1703" y="265394"/>
                        <a:pt x="5275" y="268385"/>
                        <a:pt x="14495" y="268518"/>
                      </a:cubicBezTo>
                      <a:cubicBezTo>
                        <a:pt x="24916" y="268670"/>
                        <a:pt x="25506" y="263051"/>
                        <a:pt x="33888" y="259155"/>
                      </a:cubicBezTo>
                      <a:cubicBezTo>
                        <a:pt x="39975" y="256326"/>
                        <a:pt x="51510" y="257755"/>
                        <a:pt x="58348" y="257517"/>
                      </a:cubicBezTo>
                      <a:cubicBezTo>
                        <a:pt x="75265" y="256945"/>
                        <a:pt x="87200" y="253450"/>
                        <a:pt x="102630" y="256021"/>
                      </a:cubicBezTo>
                      <a:cubicBezTo>
                        <a:pt x="101906" y="249297"/>
                        <a:pt x="111679" y="246639"/>
                        <a:pt x="114536" y="241458"/>
                      </a:cubicBezTo>
                      <a:cubicBezTo>
                        <a:pt x="117527" y="236047"/>
                        <a:pt x="120109" y="228037"/>
                        <a:pt x="122061" y="222055"/>
                      </a:cubicBezTo>
                      <a:cubicBezTo>
                        <a:pt x="126605" y="208149"/>
                        <a:pt x="124518" y="191185"/>
                        <a:pt x="124300" y="176564"/>
                      </a:cubicBezTo>
                      <a:cubicBezTo>
                        <a:pt x="124176" y="167867"/>
                        <a:pt x="124033" y="159171"/>
                        <a:pt x="123909" y="150475"/>
                      </a:cubicBezTo>
                      <a:cubicBezTo>
                        <a:pt x="123871" y="147732"/>
                        <a:pt x="122690" y="142093"/>
                        <a:pt x="123728" y="139426"/>
                      </a:cubicBezTo>
                      <a:cubicBezTo>
                        <a:pt x="125347" y="135282"/>
                        <a:pt x="128833" y="135692"/>
                        <a:pt x="133863" y="134720"/>
                      </a:cubicBezTo>
                      <a:cubicBezTo>
                        <a:pt x="142092" y="133130"/>
                        <a:pt x="150331" y="131491"/>
                        <a:pt x="158570" y="129853"/>
                      </a:cubicBezTo>
                      <a:cubicBezTo>
                        <a:pt x="169467" y="127691"/>
                        <a:pt x="173449" y="125567"/>
                        <a:pt x="181707" y="118137"/>
                      </a:cubicBezTo>
                      <a:cubicBezTo>
                        <a:pt x="193994" y="107079"/>
                        <a:pt x="205967" y="95496"/>
                        <a:pt x="218816" y="85105"/>
                      </a:cubicBezTo>
                      <a:cubicBezTo>
                        <a:pt x="232303" y="74208"/>
                        <a:pt x="248525" y="65902"/>
                        <a:pt x="263269" y="56730"/>
                      </a:cubicBezTo>
                      <a:cubicBezTo>
                        <a:pt x="291901" y="38927"/>
                        <a:pt x="320419" y="20954"/>
                        <a:pt x="348985" y="3056"/>
                      </a:cubicBezTo>
                      <a:cubicBezTo>
                        <a:pt x="357757" y="-2449"/>
                        <a:pt x="363396" y="713"/>
                        <a:pt x="373397" y="3028"/>
                      </a:cubicBezTo>
                      <a:cubicBezTo>
                        <a:pt x="382541" y="5142"/>
                        <a:pt x="394314" y="6104"/>
                        <a:pt x="402753" y="10076"/>
                      </a:cubicBezTo>
                      <a:cubicBezTo>
                        <a:pt x="409487" y="13248"/>
                        <a:pt x="417584" y="26145"/>
                        <a:pt x="424480" y="27116"/>
                      </a:cubicBezTo>
                      <a:cubicBezTo>
                        <a:pt x="429414" y="27840"/>
                        <a:pt x="442958" y="17658"/>
                        <a:pt x="447292" y="15372"/>
                      </a:cubicBezTo>
                      <a:lnTo>
                        <a:pt x="447292" y="15372"/>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95" name="Freeform: Shape 594">
                  <a:extLst>
                    <a:ext uri="{FF2B5EF4-FFF2-40B4-BE49-F238E27FC236}">
                      <a16:creationId xmlns:a16="http://schemas.microsoft.com/office/drawing/2014/main" id="{9C62AB06-4D77-4CB3-A0C0-6DEC2FAD64C1}"/>
                    </a:ext>
                  </a:extLst>
                </p:cNvPr>
                <p:cNvSpPr/>
                <p:nvPr/>
              </p:nvSpPr>
              <p:spPr>
                <a:xfrm>
                  <a:off x="10601724" y="4999355"/>
                  <a:ext cx="57431" cy="69875"/>
                </a:xfrm>
                <a:custGeom>
                  <a:avLst/>
                  <a:gdLst>
                    <a:gd name="connsiteX0" fmla="*/ 4439 w 57431"/>
                    <a:gd name="connsiteY0" fmla="*/ 3296 h 69875"/>
                    <a:gd name="connsiteX1" fmla="*/ 13307 w 57431"/>
                    <a:gd name="connsiteY1" fmla="*/ 6753 h 69875"/>
                    <a:gd name="connsiteX2" fmla="*/ 21212 w 57431"/>
                    <a:gd name="connsiteY2" fmla="*/ 17031 h 69875"/>
                    <a:gd name="connsiteX3" fmla="*/ 29032 w 57431"/>
                    <a:gd name="connsiteY3" fmla="*/ 27937 h 69875"/>
                    <a:gd name="connsiteX4" fmla="*/ 37805 w 57431"/>
                    <a:gd name="connsiteY4" fmla="*/ 40177 h 69875"/>
                    <a:gd name="connsiteX5" fmla="*/ 52226 w 57431"/>
                    <a:gd name="connsiteY5" fmla="*/ 57065 h 69875"/>
                    <a:gd name="connsiteX6" fmla="*/ 56617 w 57431"/>
                    <a:gd name="connsiteY6" fmla="*/ 65885 h 69875"/>
                    <a:gd name="connsiteX7" fmla="*/ 49130 w 57431"/>
                    <a:gd name="connsiteY7" fmla="*/ 69866 h 69875"/>
                    <a:gd name="connsiteX8" fmla="*/ 38148 w 57431"/>
                    <a:gd name="connsiteY8" fmla="*/ 64075 h 69875"/>
                    <a:gd name="connsiteX9" fmla="*/ 34147 w 57431"/>
                    <a:gd name="connsiteY9" fmla="*/ 60655 h 69875"/>
                    <a:gd name="connsiteX10" fmla="*/ 34490 w 57431"/>
                    <a:gd name="connsiteY10" fmla="*/ 58188 h 69875"/>
                    <a:gd name="connsiteX11" fmla="*/ 27060 w 57431"/>
                    <a:gd name="connsiteY11" fmla="*/ 52740 h 69875"/>
                    <a:gd name="connsiteX12" fmla="*/ 11916 w 57431"/>
                    <a:gd name="connsiteY12" fmla="*/ 37586 h 69875"/>
                    <a:gd name="connsiteX13" fmla="*/ 1677 w 57431"/>
                    <a:gd name="connsiteY13" fmla="*/ 15450 h 69875"/>
                    <a:gd name="connsiteX14" fmla="*/ 1734 w 57431"/>
                    <a:gd name="connsiteY14" fmla="*/ 0 h 69875"/>
                    <a:gd name="connsiteX15" fmla="*/ 4439 w 57431"/>
                    <a:gd name="connsiteY15" fmla="*/ 3296 h 69875"/>
                    <a:gd name="connsiteX16" fmla="*/ 4439 w 57431"/>
                    <a:gd name="connsiteY16" fmla="*/ 3296 h 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431" h="69875">
                      <a:moveTo>
                        <a:pt x="4439" y="3296"/>
                      </a:moveTo>
                      <a:cubicBezTo>
                        <a:pt x="7030" y="6020"/>
                        <a:pt x="10192" y="4734"/>
                        <a:pt x="13307" y="6753"/>
                      </a:cubicBezTo>
                      <a:cubicBezTo>
                        <a:pt x="16793" y="9011"/>
                        <a:pt x="18174" y="14249"/>
                        <a:pt x="21212" y="17031"/>
                      </a:cubicBezTo>
                      <a:cubicBezTo>
                        <a:pt x="26356" y="21727"/>
                        <a:pt x="26861" y="22041"/>
                        <a:pt x="29032" y="27937"/>
                      </a:cubicBezTo>
                      <a:cubicBezTo>
                        <a:pt x="30823" y="32785"/>
                        <a:pt x="33957" y="36852"/>
                        <a:pt x="37805" y="40177"/>
                      </a:cubicBezTo>
                      <a:cubicBezTo>
                        <a:pt x="43891" y="45434"/>
                        <a:pt x="47130" y="51073"/>
                        <a:pt x="52226" y="57065"/>
                      </a:cubicBezTo>
                      <a:cubicBezTo>
                        <a:pt x="55102" y="60436"/>
                        <a:pt x="59188" y="60370"/>
                        <a:pt x="56617" y="65885"/>
                      </a:cubicBezTo>
                      <a:cubicBezTo>
                        <a:pt x="55302" y="68685"/>
                        <a:pt x="52254" y="69999"/>
                        <a:pt x="49130" y="69866"/>
                      </a:cubicBezTo>
                      <a:cubicBezTo>
                        <a:pt x="45348" y="69695"/>
                        <a:pt x="40681" y="66142"/>
                        <a:pt x="38148" y="64075"/>
                      </a:cubicBezTo>
                      <a:cubicBezTo>
                        <a:pt x="36642" y="62846"/>
                        <a:pt x="35433" y="62008"/>
                        <a:pt x="34147" y="60655"/>
                      </a:cubicBezTo>
                      <a:cubicBezTo>
                        <a:pt x="33671" y="60150"/>
                        <a:pt x="34747" y="58484"/>
                        <a:pt x="34490" y="58188"/>
                      </a:cubicBezTo>
                      <a:cubicBezTo>
                        <a:pt x="32918" y="56426"/>
                        <a:pt x="29156" y="54340"/>
                        <a:pt x="27060" y="52740"/>
                      </a:cubicBezTo>
                      <a:cubicBezTo>
                        <a:pt x="21050" y="48178"/>
                        <a:pt x="15945" y="44206"/>
                        <a:pt x="11916" y="37586"/>
                      </a:cubicBezTo>
                      <a:cubicBezTo>
                        <a:pt x="7925" y="31042"/>
                        <a:pt x="3467" y="23260"/>
                        <a:pt x="1677" y="15450"/>
                      </a:cubicBezTo>
                      <a:cubicBezTo>
                        <a:pt x="762" y="11487"/>
                        <a:pt x="-1619" y="2610"/>
                        <a:pt x="1734" y="0"/>
                      </a:cubicBezTo>
                      <a:cubicBezTo>
                        <a:pt x="2543" y="991"/>
                        <a:pt x="3876" y="2143"/>
                        <a:pt x="4439" y="3296"/>
                      </a:cubicBezTo>
                      <a:lnTo>
                        <a:pt x="4439" y="3296"/>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96" name="Freeform: Shape 595">
                  <a:extLst>
                    <a:ext uri="{FF2B5EF4-FFF2-40B4-BE49-F238E27FC236}">
                      <a16:creationId xmlns:a16="http://schemas.microsoft.com/office/drawing/2014/main" id="{78FD2959-4C11-43FA-8CB4-7B1CE37BE98B}"/>
                    </a:ext>
                  </a:extLst>
                </p:cNvPr>
                <p:cNvSpPr/>
                <p:nvPr/>
              </p:nvSpPr>
              <p:spPr>
                <a:xfrm>
                  <a:off x="5954211" y="4899448"/>
                  <a:ext cx="415994" cy="377138"/>
                </a:xfrm>
                <a:custGeom>
                  <a:avLst/>
                  <a:gdLst>
                    <a:gd name="connsiteX0" fmla="*/ 358558 w 415994"/>
                    <a:gd name="connsiteY0" fmla="*/ 21126 h 377138"/>
                    <a:gd name="connsiteX1" fmla="*/ 415994 w 415994"/>
                    <a:gd name="connsiteY1" fmla="*/ 25946 h 377138"/>
                    <a:gd name="connsiteX2" fmla="*/ 398392 w 415994"/>
                    <a:gd name="connsiteY2" fmla="*/ 30384 h 377138"/>
                    <a:gd name="connsiteX3" fmla="*/ 390496 w 415994"/>
                    <a:gd name="connsiteY3" fmla="*/ 32766 h 377138"/>
                    <a:gd name="connsiteX4" fmla="*/ 382952 w 415994"/>
                    <a:gd name="connsiteY4" fmla="*/ 33833 h 377138"/>
                    <a:gd name="connsiteX5" fmla="*/ 367636 w 415994"/>
                    <a:gd name="connsiteY5" fmla="*/ 45072 h 377138"/>
                    <a:gd name="connsiteX6" fmla="*/ 358806 w 415994"/>
                    <a:gd name="connsiteY6" fmla="*/ 38338 h 377138"/>
                    <a:gd name="connsiteX7" fmla="*/ 323640 w 415994"/>
                    <a:gd name="connsiteY7" fmla="*/ 37195 h 377138"/>
                    <a:gd name="connsiteX8" fmla="*/ 300561 w 415994"/>
                    <a:gd name="connsiteY8" fmla="*/ 40767 h 377138"/>
                    <a:gd name="connsiteX9" fmla="*/ 290874 w 415994"/>
                    <a:gd name="connsiteY9" fmla="*/ 42100 h 377138"/>
                    <a:gd name="connsiteX10" fmla="*/ 283111 w 415994"/>
                    <a:gd name="connsiteY10" fmla="*/ 46910 h 377138"/>
                    <a:gd name="connsiteX11" fmla="*/ 280587 w 415994"/>
                    <a:gd name="connsiteY11" fmla="*/ 89420 h 377138"/>
                    <a:gd name="connsiteX12" fmla="*/ 277720 w 415994"/>
                    <a:gd name="connsiteY12" fmla="*/ 134693 h 377138"/>
                    <a:gd name="connsiteX13" fmla="*/ 276434 w 415994"/>
                    <a:gd name="connsiteY13" fmla="*/ 155524 h 377138"/>
                    <a:gd name="connsiteX14" fmla="*/ 259889 w 415994"/>
                    <a:gd name="connsiteY14" fmla="*/ 158439 h 377138"/>
                    <a:gd name="connsiteX15" fmla="*/ 247383 w 415994"/>
                    <a:gd name="connsiteY15" fmla="*/ 158439 h 377138"/>
                    <a:gd name="connsiteX16" fmla="*/ 245163 w 415994"/>
                    <a:gd name="connsiteY16" fmla="*/ 167001 h 377138"/>
                    <a:gd name="connsiteX17" fmla="*/ 243849 w 415994"/>
                    <a:gd name="connsiteY17" fmla="*/ 187499 h 377138"/>
                    <a:gd name="connsiteX18" fmla="*/ 237753 w 415994"/>
                    <a:gd name="connsiteY18" fmla="*/ 273053 h 377138"/>
                    <a:gd name="connsiteX19" fmla="*/ 234162 w 415994"/>
                    <a:gd name="connsiteY19" fmla="*/ 319630 h 377138"/>
                    <a:gd name="connsiteX20" fmla="*/ 232238 w 415994"/>
                    <a:gd name="connsiteY20" fmla="*/ 343528 h 377138"/>
                    <a:gd name="connsiteX21" fmla="*/ 231219 w 415994"/>
                    <a:gd name="connsiteY21" fmla="*/ 356492 h 377138"/>
                    <a:gd name="connsiteX22" fmla="*/ 226618 w 415994"/>
                    <a:gd name="connsiteY22" fmla="*/ 362007 h 377138"/>
                    <a:gd name="connsiteX23" fmla="*/ 209264 w 415994"/>
                    <a:gd name="connsiteY23" fmla="*/ 371570 h 377138"/>
                    <a:gd name="connsiteX24" fmla="*/ 205225 w 415994"/>
                    <a:gd name="connsiteY24" fmla="*/ 376904 h 377138"/>
                    <a:gd name="connsiteX25" fmla="*/ 195719 w 415994"/>
                    <a:gd name="connsiteY25" fmla="*/ 374865 h 377138"/>
                    <a:gd name="connsiteX26" fmla="*/ 173021 w 415994"/>
                    <a:gd name="connsiteY26" fmla="*/ 374389 h 377138"/>
                    <a:gd name="connsiteX27" fmla="*/ 154923 w 415994"/>
                    <a:gd name="connsiteY27" fmla="*/ 368827 h 377138"/>
                    <a:gd name="connsiteX28" fmla="*/ 153533 w 415994"/>
                    <a:gd name="connsiteY28" fmla="*/ 356101 h 377138"/>
                    <a:gd name="connsiteX29" fmla="*/ 149066 w 415994"/>
                    <a:gd name="connsiteY29" fmla="*/ 353206 h 377138"/>
                    <a:gd name="connsiteX30" fmla="*/ 143284 w 415994"/>
                    <a:gd name="connsiteY30" fmla="*/ 348967 h 377138"/>
                    <a:gd name="connsiteX31" fmla="*/ 122881 w 415994"/>
                    <a:gd name="connsiteY31" fmla="*/ 364398 h 377138"/>
                    <a:gd name="connsiteX32" fmla="*/ 107946 w 415994"/>
                    <a:gd name="connsiteY32" fmla="*/ 349329 h 377138"/>
                    <a:gd name="connsiteX33" fmla="*/ 95821 w 415994"/>
                    <a:gd name="connsiteY33" fmla="*/ 328555 h 377138"/>
                    <a:gd name="connsiteX34" fmla="*/ 90591 w 415994"/>
                    <a:gd name="connsiteY34" fmla="*/ 309696 h 377138"/>
                    <a:gd name="connsiteX35" fmla="*/ 91515 w 415994"/>
                    <a:gd name="connsiteY35" fmla="*/ 301923 h 377138"/>
                    <a:gd name="connsiteX36" fmla="*/ 86382 w 415994"/>
                    <a:gd name="connsiteY36" fmla="*/ 293846 h 377138"/>
                    <a:gd name="connsiteX37" fmla="*/ 84467 w 415994"/>
                    <a:gd name="connsiteY37" fmla="*/ 271653 h 377138"/>
                    <a:gd name="connsiteX38" fmla="*/ 83962 w 415994"/>
                    <a:gd name="connsiteY38" fmla="*/ 250145 h 377138"/>
                    <a:gd name="connsiteX39" fmla="*/ 76276 w 415994"/>
                    <a:gd name="connsiteY39" fmla="*/ 228419 h 377138"/>
                    <a:gd name="connsiteX40" fmla="*/ 76618 w 415994"/>
                    <a:gd name="connsiteY40" fmla="*/ 207664 h 377138"/>
                    <a:gd name="connsiteX41" fmla="*/ 76304 w 415994"/>
                    <a:gd name="connsiteY41" fmla="*/ 186185 h 377138"/>
                    <a:gd name="connsiteX42" fmla="*/ 77971 w 415994"/>
                    <a:gd name="connsiteY42" fmla="*/ 187480 h 377138"/>
                    <a:gd name="connsiteX43" fmla="*/ 72770 w 415994"/>
                    <a:gd name="connsiteY43" fmla="*/ 163115 h 377138"/>
                    <a:gd name="connsiteX44" fmla="*/ 57987 w 415994"/>
                    <a:gd name="connsiteY44" fmla="*/ 138331 h 377138"/>
                    <a:gd name="connsiteX45" fmla="*/ 32270 w 415994"/>
                    <a:gd name="connsiteY45" fmla="*/ 84810 h 377138"/>
                    <a:gd name="connsiteX46" fmla="*/ 17240 w 415994"/>
                    <a:gd name="connsiteY46" fmla="*/ 55883 h 377138"/>
                    <a:gd name="connsiteX47" fmla="*/ 1075 w 415994"/>
                    <a:gd name="connsiteY47" fmla="*/ 31604 h 377138"/>
                    <a:gd name="connsiteX48" fmla="*/ 142 w 415994"/>
                    <a:gd name="connsiteY48" fmla="*/ 17116 h 377138"/>
                    <a:gd name="connsiteX49" fmla="*/ 6943 w 415994"/>
                    <a:gd name="connsiteY49" fmla="*/ 7620 h 377138"/>
                    <a:gd name="connsiteX50" fmla="*/ 30184 w 415994"/>
                    <a:gd name="connsiteY50" fmla="*/ 5629 h 377138"/>
                    <a:gd name="connsiteX51" fmla="*/ 53473 w 415994"/>
                    <a:gd name="connsiteY51" fmla="*/ 1714 h 377138"/>
                    <a:gd name="connsiteX52" fmla="*/ 70884 w 415994"/>
                    <a:gd name="connsiteY52" fmla="*/ 13820 h 377138"/>
                    <a:gd name="connsiteX53" fmla="*/ 100345 w 415994"/>
                    <a:gd name="connsiteY53" fmla="*/ 13173 h 377138"/>
                    <a:gd name="connsiteX54" fmla="*/ 129530 w 415994"/>
                    <a:gd name="connsiteY54" fmla="*/ 13249 h 377138"/>
                    <a:gd name="connsiteX55" fmla="*/ 189280 w 415994"/>
                    <a:gd name="connsiteY55" fmla="*/ 13363 h 377138"/>
                    <a:gd name="connsiteX56" fmla="*/ 211473 w 415994"/>
                    <a:gd name="connsiteY56" fmla="*/ 19212 h 377138"/>
                    <a:gd name="connsiteX57" fmla="*/ 234771 w 415994"/>
                    <a:gd name="connsiteY57" fmla="*/ 26908 h 377138"/>
                    <a:gd name="connsiteX58" fmla="*/ 267214 w 415994"/>
                    <a:gd name="connsiteY58" fmla="*/ 29413 h 377138"/>
                    <a:gd name="connsiteX59" fmla="*/ 280272 w 415994"/>
                    <a:gd name="connsiteY59" fmla="*/ 32785 h 377138"/>
                    <a:gd name="connsiteX60" fmla="*/ 294779 w 415994"/>
                    <a:gd name="connsiteY60" fmla="*/ 31870 h 377138"/>
                    <a:gd name="connsiteX61" fmla="*/ 358558 w 415994"/>
                    <a:gd name="connsiteY61" fmla="*/ 21126 h 377138"/>
                    <a:gd name="connsiteX62" fmla="*/ 358558 w 415994"/>
                    <a:gd name="connsiteY62" fmla="*/ 21126 h 377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15994" h="377138">
                      <a:moveTo>
                        <a:pt x="358558" y="21126"/>
                      </a:moveTo>
                      <a:cubicBezTo>
                        <a:pt x="377627" y="17430"/>
                        <a:pt x="401011" y="10258"/>
                        <a:pt x="415994" y="25946"/>
                      </a:cubicBezTo>
                      <a:cubicBezTo>
                        <a:pt x="409346" y="25527"/>
                        <a:pt x="403907" y="26984"/>
                        <a:pt x="398392" y="30384"/>
                      </a:cubicBezTo>
                      <a:cubicBezTo>
                        <a:pt x="393829" y="33175"/>
                        <a:pt x="394134" y="32385"/>
                        <a:pt x="390496" y="32766"/>
                      </a:cubicBezTo>
                      <a:cubicBezTo>
                        <a:pt x="387724" y="33051"/>
                        <a:pt x="386228" y="32528"/>
                        <a:pt x="382952" y="33833"/>
                      </a:cubicBezTo>
                      <a:cubicBezTo>
                        <a:pt x="376751" y="36328"/>
                        <a:pt x="373217" y="42491"/>
                        <a:pt x="367636" y="45072"/>
                      </a:cubicBezTo>
                      <a:cubicBezTo>
                        <a:pt x="361530" y="47891"/>
                        <a:pt x="362406" y="43558"/>
                        <a:pt x="358806" y="38338"/>
                      </a:cubicBezTo>
                      <a:cubicBezTo>
                        <a:pt x="351405" y="27613"/>
                        <a:pt x="335003" y="35033"/>
                        <a:pt x="323640" y="37195"/>
                      </a:cubicBezTo>
                      <a:cubicBezTo>
                        <a:pt x="315972" y="38652"/>
                        <a:pt x="308285" y="39709"/>
                        <a:pt x="300561" y="40767"/>
                      </a:cubicBezTo>
                      <a:cubicBezTo>
                        <a:pt x="297331" y="41205"/>
                        <a:pt x="294112" y="41833"/>
                        <a:pt x="290874" y="42100"/>
                      </a:cubicBezTo>
                      <a:cubicBezTo>
                        <a:pt x="283787" y="42681"/>
                        <a:pt x="284816" y="41167"/>
                        <a:pt x="283111" y="46910"/>
                      </a:cubicBezTo>
                      <a:cubicBezTo>
                        <a:pt x="279415" y="59302"/>
                        <a:pt x="281368" y="76447"/>
                        <a:pt x="280587" y="89420"/>
                      </a:cubicBezTo>
                      <a:cubicBezTo>
                        <a:pt x="279672" y="104508"/>
                        <a:pt x="278701" y="119605"/>
                        <a:pt x="277720" y="134693"/>
                      </a:cubicBezTo>
                      <a:cubicBezTo>
                        <a:pt x="277348" y="140379"/>
                        <a:pt x="278996" y="150666"/>
                        <a:pt x="276434" y="155524"/>
                      </a:cubicBezTo>
                      <a:cubicBezTo>
                        <a:pt x="273786" y="160524"/>
                        <a:pt x="266233" y="158457"/>
                        <a:pt x="259889" y="158439"/>
                      </a:cubicBezTo>
                      <a:cubicBezTo>
                        <a:pt x="257803" y="158429"/>
                        <a:pt x="249230" y="157334"/>
                        <a:pt x="247383" y="158439"/>
                      </a:cubicBezTo>
                      <a:cubicBezTo>
                        <a:pt x="244773" y="159991"/>
                        <a:pt x="245458" y="163182"/>
                        <a:pt x="245163" y="167001"/>
                      </a:cubicBezTo>
                      <a:cubicBezTo>
                        <a:pt x="244639" y="173831"/>
                        <a:pt x="244306" y="180679"/>
                        <a:pt x="243849" y="187499"/>
                      </a:cubicBezTo>
                      <a:cubicBezTo>
                        <a:pt x="241934" y="216017"/>
                        <a:pt x="239915" y="244535"/>
                        <a:pt x="237753" y="273053"/>
                      </a:cubicBezTo>
                      <a:cubicBezTo>
                        <a:pt x="236581" y="288579"/>
                        <a:pt x="235391" y="304104"/>
                        <a:pt x="234162" y="319630"/>
                      </a:cubicBezTo>
                      <a:cubicBezTo>
                        <a:pt x="233524" y="327593"/>
                        <a:pt x="232867" y="335566"/>
                        <a:pt x="232238" y="343528"/>
                      </a:cubicBezTo>
                      <a:cubicBezTo>
                        <a:pt x="231914" y="347729"/>
                        <a:pt x="232076" y="352377"/>
                        <a:pt x="231219" y="356492"/>
                      </a:cubicBezTo>
                      <a:cubicBezTo>
                        <a:pt x="230009" y="362245"/>
                        <a:pt x="231057" y="359921"/>
                        <a:pt x="226618" y="362007"/>
                      </a:cubicBezTo>
                      <a:cubicBezTo>
                        <a:pt x="220617" y="364817"/>
                        <a:pt x="214102" y="367131"/>
                        <a:pt x="209264" y="371570"/>
                      </a:cubicBezTo>
                      <a:cubicBezTo>
                        <a:pt x="207073" y="373589"/>
                        <a:pt x="209387" y="375504"/>
                        <a:pt x="205225" y="376904"/>
                      </a:cubicBezTo>
                      <a:cubicBezTo>
                        <a:pt x="202196" y="377914"/>
                        <a:pt x="198548" y="375361"/>
                        <a:pt x="195719" y="374865"/>
                      </a:cubicBezTo>
                      <a:cubicBezTo>
                        <a:pt x="188051" y="373523"/>
                        <a:pt x="180565" y="376380"/>
                        <a:pt x="173021" y="374389"/>
                      </a:cubicBezTo>
                      <a:cubicBezTo>
                        <a:pt x="168735" y="373256"/>
                        <a:pt x="157990" y="371922"/>
                        <a:pt x="154923" y="368827"/>
                      </a:cubicBezTo>
                      <a:cubicBezTo>
                        <a:pt x="151075" y="364922"/>
                        <a:pt x="154952" y="360092"/>
                        <a:pt x="153533" y="356101"/>
                      </a:cubicBezTo>
                      <a:cubicBezTo>
                        <a:pt x="153009" y="354616"/>
                        <a:pt x="150247" y="354320"/>
                        <a:pt x="149066" y="353206"/>
                      </a:cubicBezTo>
                      <a:cubicBezTo>
                        <a:pt x="146922" y="351168"/>
                        <a:pt x="147732" y="348119"/>
                        <a:pt x="143284" y="348967"/>
                      </a:cubicBezTo>
                      <a:cubicBezTo>
                        <a:pt x="133959" y="350748"/>
                        <a:pt x="136340" y="371503"/>
                        <a:pt x="122881" y="364398"/>
                      </a:cubicBezTo>
                      <a:cubicBezTo>
                        <a:pt x="118042" y="361845"/>
                        <a:pt x="111623" y="353739"/>
                        <a:pt x="107946" y="349329"/>
                      </a:cubicBezTo>
                      <a:cubicBezTo>
                        <a:pt x="103069" y="343490"/>
                        <a:pt x="98774" y="335527"/>
                        <a:pt x="95821" y="328555"/>
                      </a:cubicBezTo>
                      <a:cubicBezTo>
                        <a:pt x="93592" y="323316"/>
                        <a:pt x="91020" y="315334"/>
                        <a:pt x="90591" y="309696"/>
                      </a:cubicBezTo>
                      <a:cubicBezTo>
                        <a:pt x="90392" y="306924"/>
                        <a:pt x="91954" y="304333"/>
                        <a:pt x="91515" y="301923"/>
                      </a:cubicBezTo>
                      <a:cubicBezTo>
                        <a:pt x="90839" y="298132"/>
                        <a:pt x="87563" y="296913"/>
                        <a:pt x="86382" y="293846"/>
                      </a:cubicBezTo>
                      <a:cubicBezTo>
                        <a:pt x="84238" y="288359"/>
                        <a:pt x="84781" y="277491"/>
                        <a:pt x="84467" y="271653"/>
                      </a:cubicBezTo>
                      <a:cubicBezTo>
                        <a:pt x="84086" y="264614"/>
                        <a:pt x="85324" y="256965"/>
                        <a:pt x="83962" y="250145"/>
                      </a:cubicBezTo>
                      <a:cubicBezTo>
                        <a:pt x="82448" y="242535"/>
                        <a:pt x="77599" y="236229"/>
                        <a:pt x="76276" y="228419"/>
                      </a:cubicBezTo>
                      <a:cubicBezTo>
                        <a:pt x="75142" y="221666"/>
                        <a:pt x="76542" y="214465"/>
                        <a:pt x="76618" y="207664"/>
                      </a:cubicBezTo>
                      <a:cubicBezTo>
                        <a:pt x="76685" y="201930"/>
                        <a:pt x="73475" y="190938"/>
                        <a:pt x="76304" y="186185"/>
                      </a:cubicBezTo>
                      <a:cubicBezTo>
                        <a:pt x="76942" y="186661"/>
                        <a:pt x="77218" y="187042"/>
                        <a:pt x="77971" y="187480"/>
                      </a:cubicBezTo>
                      <a:cubicBezTo>
                        <a:pt x="80533" y="178765"/>
                        <a:pt x="77533" y="170497"/>
                        <a:pt x="72770" y="163115"/>
                      </a:cubicBezTo>
                      <a:cubicBezTo>
                        <a:pt x="67303" y="154629"/>
                        <a:pt x="62750" y="146951"/>
                        <a:pt x="57987" y="138331"/>
                      </a:cubicBezTo>
                      <a:cubicBezTo>
                        <a:pt x="48215" y="120662"/>
                        <a:pt x="40871" y="102765"/>
                        <a:pt x="32270" y="84810"/>
                      </a:cubicBezTo>
                      <a:cubicBezTo>
                        <a:pt x="27755" y="75381"/>
                        <a:pt x="24116" y="63884"/>
                        <a:pt x="17240" y="55883"/>
                      </a:cubicBezTo>
                      <a:cubicBezTo>
                        <a:pt x="10848" y="48463"/>
                        <a:pt x="4190" y="41310"/>
                        <a:pt x="1075" y="31604"/>
                      </a:cubicBezTo>
                      <a:cubicBezTo>
                        <a:pt x="-248" y="27451"/>
                        <a:pt x="-58" y="21402"/>
                        <a:pt x="142" y="17116"/>
                      </a:cubicBezTo>
                      <a:cubicBezTo>
                        <a:pt x="485" y="9972"/>
                        <a:pt x="304" y="9334"/>
                        <a:pt x="6943" y="7620"/>
                      </a:cubicBezTo>
                      <a:cubicBezTo>
                        <a:pt x="14706" y="5619"/>
                        <a:pt x="21983" y="8782"/>
                        <a:pt x="30184" y="5629"/>
                      </a:cubicBezTo>
                      <a:cubicBezTo>
                        <a:pt x="37871" y="2676"/>
                        <a:pt x="44919" y="-2791"/>
                        <a:pt x="53473" y="1714"/>
                      </a:cubicBezTo>
                      <a:cubicBezTo>
                        <a:pt x="59397" y="4829"/>
                        <a:pt x="63693" y="12334"/>
                        <a:pt x="70884" y="13820"/>
                      </a:cubicBezTo>
                      <a:cubicBezTo>
                        <a:pt x="79352" y="15582"/>
                        <a:pt x="91611" y="13173"/>
                        <a:pt x="100345" y="13173"/>
                      </a:cubicBezTo>
                      <a:cubicBezTo>
                        <a:pt x="110070" y="13173"/>
                        <a:pt x="119805" y="13249"/>
                        <a:pt x="129530" y="13249"/>
                      </a:cubicBezTo>
                      <a:cubicBezTo>
                        <a:pt x="149446" y="13249"/>
                        <a:pt x="169373" y="13258"/>
                        <a:pt x="189280" y="13363"/>
                      </a:cubicBezTo>
                      <a:cubicBezTo>
                        <a:pt x="199729" y="13411"/>
                        <a:pt x="204596" y="11830"/>
                        <a:pt x="211473" y="19212"/>
                      </a:cubicBezTo>
                      <a:cubicBezTo>
                        <a:pt x="218760" y="27013"/>
                        <a:pt x="224875" y="25841"/>
                        <a:pt x="234771" y="26908"/>
                      </a:cubicBezTo>
                      <a:cubicBezTo>
                        <a:pt x="244820" y="27965"/>
                        <a:pt x="257793" y="26317"/>
                        <a:pt x="267214" y="29413"/>
                      </a:cubicBezTo>
                      <a:cubicBezTo>
                        <a:pt x="272166" y="31042"/>
                        <a:pt x="274633" y="33232"/>
                        <a:pt x="280272" y="32785"/>
                      </a:cubicBezTo>
                      <a:cubicBezTo>
                        <a:pt x="285530" y="32347"/>
                        <a:pt x="289645" y="31623"/>
                        <a:pt x="294779" y="31870"/>
                      </a:cubicBezTo>
                      <a:cubicBezTo>
                        <a:pt x="314934" y="32842"/>
                        <a:pt x="338470" y="24898"/>
                        <a:pt x="358558" y="21126"/>
                      </a:cubicBezTo>
                      <a:lnTo>
                        <a:pt x="358558" y="21126"/>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97" name="Freeform: Shape 596">
                  <a:extLst>
                    <a:ext uri="{FF2B5EF4-FFF2-40B4-BE49-F238E27FC236}">
                      <a16:creationId xmlns:a16="http://schemas.microsoft.com/office/drawing/2014/main" id="{ED95AD60-41D1-42FB-A8E7-97B15844AF5F}"/>
                    </a:ext>
                  </a:extLst>
                </p:cNvPr>
                <p:cNvSpPr/>
                <p:nvPr/>
              </p:nvSpPr>
              <p:spPr>
                <a:xfrm>
                  <a:off x="8737022" y="4144802"/>
                  <a:ext cx="605834" cy="192660"/>
                </a:xfrm>
                <a:custGeom>
                  <a:avLst/>
                  <a:gdLst>
                    <a:gd name="connsiteX0" fmla="*/ 14243 w 605834"/>
                    <a:gd name="connsiteY0" fmla="*/ 16363 h 192660"/>
                    <a:gd name="connsiteX1" fmla="*/ 19624 w 605834"/>
                    <a:gd name="connsiteY1" fmla="*/ 16278 h 192660"/>
                    <a:gd name="connsiteX2" fmla="*/ 22615 w 605834"/>
                    <a:gd name="connsiteY2" fmla="*/ 20650 h 192660"/>
                    <a:gd name="connsiteX3" fmla="*/ 31331 w 605834"/>
                    <a:gd name="connsiteY3" fmla="*/ 26355 h 192660"/>
                    <a:gd name="connsiteX4" fmla="*/ 36750 w 605834"/>
                    <a:gd name="connsiteY4" fmla="*/ 40519 h 192660"/>
                    <a:gd name="connsiteX5" fmla="*/ 47380 w 605834"/>
                    <a:gd name="connsiteY5" fmla="*/ 34070 h 192660"/>
                    <a:gd name="connsiteX6" fmla="*/ 54809 w 605834"/>
                    <a:gd name="connsiteY6" fmla="*/ 38061 h 192660"/>
                    <a:gd name="connsiteX7" fmla="*/ 71336 w 605834"/>
                    <a:gd name="connsiteY7" fmla="*/ 26212 h 192660"/>
                    <a:gd name="connsiteX8" fmla="*/ 83175 w 605834"/>
                    <a:gd name="connsiteY8" fmla="*/ 39585 h 192660"/>
                    <a:gd name="connsiteX9" fmla="*/ 95614 w 605834"/>
                    <a:gd name="connsiteY9" fmla="*/ 48520 h 192660"/>
                    <a:gd name="connsiteX10" fmla="*/ 110331 w 605834"/>
                    <a:gd name="connsiteY10" fmla="*/ 76066 h 192660"/>
                    <a:gd name="connsiteX11" fmla="*/ 110436 w 605834"/>
                    <a:gd name="connsiteY11" fmla="*/ 93516 h 192660"/>
                    <a:gd name="connsiteX12" fmla="*/ 111836 w 605834"/>
                    <a:gd name="connsiteY12" fmla="*/ 108470 h 192660"/>
                    <a:gd name="connsiteX13" fmla="*/ 119570 w 605834"/>
                    <a:gd name="connsiteY13" fmla="*/ 135074 h 192660"/>
                    <a:gd name="connsiteX14" fmla="*/ 138715 w 605834"/>
                    <a:gd name="connsiteY14" fmla="*/ 165830 h 192660"/>
                    <a:gd name="connsiteX15" fmla="*/ 137658 w 605834"/>
                    <a:gd name="connsiteY15" fmla="*/ 177098 h 192660"/>
                    <a:gd name="connsiteX16" fmla="*/ 131315 w 605834"/>
                    <a:gd name="connsiteY16" fmla="*/ 168954 h 192660"/>
                    <a:gd name="connsiteX17" fmla="*/ 125790 w 605834"/>
                    <a:gd name="connsiteY17" fmla="*/ 173678 h 192660"/>
                    <a:gd name="connsiteX18" fmla="*/ 115484 w 605834"/>
                    <a:gd name="connsiteY18" fmla="*/ 177850 h 192660"/>
                    <a:gd name="connsiteX19" fmla="*/ 110188 w 605834"/>
                    <a:gd name="connsiteY19" fmla="*/ 170630 h 192660"/>
                    <a:gd name="connsiteX20" fmla="*/ 96139 w 605834"/>
                    <a:gd name="connsiteY20" fmla="*/ 163315 h 192660"/>
                    <a:gd name="connsiteX21" fmla="*/ 72574 w 605834"/>
                    <a:gd name="connsiteY21" fmla="*/ 149037 h 192660"/>
                    <a:gd name="connsiteX22" fmla="*/ 61010 w 605834"/>
                    <a:gd name="connsiteY22" fmla="*/ 139007 h 192660"/>
                    <a:gd name="connsiteX23" fmla="*/ 49523 w 605834"/>
                    <a:gd name="connsiteY23" fmla="*/ 132149 h 192660"/>
                    <a:gd name="connsiteX24" fmla="*/ 46218 w 605834"/>
                    <a:gd name="connsiteY24" fmla="*/ 129968 h 192660"/>
                    <a:gd name="connsiteX25" fmla="*/ 46961 w 605834"/>
                    <a:gd name="connsiteY25" fmla="*/ 125263 h 192660"/>
                    <a:gd name="connsiteX26" fmla="*/ 41875 w 605834"/>
                    <a:gd name="connsiteY26" fmla="*/ 114185 h 192660"/>
                    <a:gd name="connsiteX27" fmla="*/ 25301 w 605834"/>
                    <a:gd name="connsiteY27" fmla="*/ 95145 h 192660"/>
                    <a:gd name="connsiteX28" fmla="*/ 27702 w 605834"/>
                    <a:gd name="connsiteY28" fmla="*/ 93344 h 192660"/>
                    <a:gd name="connsiteX29" fmla="*/ 23939 w 605834"/>
                    <a:gd name="connsiteY29" fmla="*/ 88030 h 192660"/>
                    <a:gd name="connsiteX30" fmla="*/ 20681 w 605834"/>
                    <a:gd name="connsiteY30" fmla="*/ 73542 h 192660"/>
                    <a:gd name="connsiteX31" fmla="*/ 10442 w 605834"/>
                    <a:gd name="connsiteY31" fmla="*/ 45043 h 192660"/>
                    <a:gd name="connsiteX32" fmla="*/ 8766 w 605834"/>
                    <a:gd name="connsiteY32" fmla="*/ 31603 h 192660"/>
                    <a:gd name="connsiteX33" fmla="*/ 755 w 605834"/>
                    <a:gd name="connsiteY33" fmla="*/ 18126 h 192660"/>
                    <a:gd name="connsiteX34" fmla="*/ 14243 w 605834"/>
                    <a:gd name="connsiteY34" fmla="*/ 16363 h 192660"/>
                    <a:gd name="connsiteX35" fmla="*/ 14243 w 605834"/>
                    <a:gd name="connsiteY35" fmla="*/ 16363 h 192660"/>
                    <a:gd name="connsiteX36" fmla="*/ 523468 w 605834"/>
                    <a:gd name="connsiteY36" fmla="*/ 9324 h 192660"/>
                    <a:gd name="connsiteX37" fmla="*/ 523173 w 605834"/>
                    <a:gd name="connsiteY37" fmla="*/ 11991 h 192660"/>
                    <a:gd name="connsiteX38" fmla="*/ 535774 w 605834"/>
                    <a:gd name="connsiteY38" fmla="*/ 1476 h 192660"/>
                    <a:gd name="connsiteX39" fmla="*/ 542242 w 605834"/>
                    <a:gd name="connsiteY39" fmla="*/ 11972 h 192660"/>
                    <a:gd name="connsiteX40" fmla="*/ 552710 w 605834"/>
                    <a:gd name="connsiteY40" fmla="*/ 21297 h 192660"/>
                    <a:gd name="connsiteX41" fmla="*/ 550643 w 605834"/>
                    <a:gd name="connsiteY41" fmla="*/ 24907 h 192660"/>
                    <a:gd name="connsiteX42" fmla="*/ 552129 w 605834"/>
                    <a:gd name="connsiteY42" fmla="*/ 28784 h 192660"/>
                    <a:gd name="connsiteX43" fmla="*/ 548090 w 605834"/>
                    <a:gd name="connsiteY43" fmla="*/ 34737 h 192660"/>
                    <a:gd name="connsiteX44" fmla="*/ 557520 w 605834"/>
                    <a:gd name="connsiteY44" fmla="*/ 33032 h 192660"/>
                    <a:gd name="connsiteX45" fmla="*/ 563406 w 605834"/>
                    <a:gd name="connsiteY45" fmla="*/ 29517 h 192660"/>
                    <a:gd name="connsiteX46" fmla="*/ 567416 w 605834"/>
                    <a:gd name="connsiteY46" fmla="*/ 35471 h 192660"/>
                    <a:gd name="connsiteX47" fmla="*/ 561902 w 605834"/>
                    <a:gd name="connsiteY47" fmla="*/ 38338 h 192660"/>
                    <a:gd name="connsiteX48" fmla="*/ 571741 w 605834"/>
                    <a:gd name="connsiteY48" fmla="*/ 36823 h 192660"/>
                    <a:gd name="connsiteX49" fmla="*/ 582409 w 605834"/>
                    <a:gd name="connsiteY49" fmla="*/ 41681 h 192660"/>
                    <a:gd name="connsiteX50" fmla="*/ 595268 w 605834"/>
                    <a:gd name="connsiteY50" fmla="*/ 49053 h 192660"/>
                    <a:gd name="connsiteX51" fmla="*/ 604850 w 605834"/>
                    <a:gd name="connsiteY51" fmla="*/ 51101 h 192660"/>
                    <a:gd name="connsiteX52" fmla="*/ 584952 w 605834"/>
                    <a:gd name="connsiteY52" fmla="*/ 63665 h 192660"/>
                    <a:gd name="connsiteX53" fmla="*/ 574389 w 605834"/>
                    <a:gd name="connsiteY53" fmla="*/ 63760 h 192660"/>
                    <a:gd name="connsiteX54" fmla="*/ 583523 w 605834"/>
                    <a:gd name="connsiteY54" fmla="*/ 76961 h 192660"/>
                    <a:gd name="connsiteX55" fmla="*/ 582799 w 605834"/>
                    <a:gd name="connsiteY55" fmla="*/ 82914 h 192660"/>
                    <a:gd name="connsiteX56" fmla="*/ 566207 w 605834"/>
                    <a:gd name="connsiteY56" fmla="*/ 85896 h 192660"/>
                    <a:gd name="connsiteX57" fmla="*/ 559968 w 605834"/>
                    <a:gd name="connsiteY57" fmla="*/ 83477 h 192660"/>
                    <a:gd name="connsiteX58" fmla="*/ 556710 w 605834"/>
                    <a:gd name="connsiteY58" fmla="*/ 86172 h 192660"/>
                    <a:gd name="connsiteX59" fmla="*/ 553491 w 605834"/>
                    <a:gd name="connsiteY59" fmla="*/ 88572 h 192660"/>
                    <a:gd name="connsiteX60" fmla="*/ 545261 w 605834"/>
                    <a:gd name="connsiteY60" fmla="*/ 84591 h 192660"/>
                    <a:gd name="connsiteX61" fmla="*/ 519268 w 605834"/>
                    <a:gd name="connsiteY61" fmla="*/ 83896 h 192660"/>
                    <a:gd name="connsiteX62" fmla="*/ 507894 w 605834"/>
                    <a:gd name="connsiteY62" fmla="*/ 83915 h 192660"/>
                    <a:gd name="connsiteX63" fmla="*/ 496503 w 605834"/>
                    <a:gd name="connsiteY63" fmla="*/ 87439 h 192660"/>
                    <a:gd name="connsiteX64" fmla="*/ 492388 w 605834"/>
                    <a:gd name="connsiteY64" fmla="*/ 114185 h 192660"/>
                    <a:gd name="connsiteX65" fmla="*/ 489807 w 605834"/>
                    <a:gd name="connsiteY65" fmla="*/ 124929 h 192660"/>
                    <a:gd name="connsiteX66" fmla="*/ 479634 w 605834"/>
                    <a:gd name="connsiteY66" fmla="*/ 130625 h 192660"/>
                    <a:gd name="connsiteX67" fmla="*/ 479158 w 605834"/>
                    <a:gd name="connsiteY67" fmla="*/ 143913 h 192660"/>
                    <a:gd name="connsiteX68" fmla="*/ 470224 w 605834"/>
                    <a:gd name="connsiteY68" fmla="*/ 152009 h 192660"/>
                    <a:gd name="connsiteX69" fmla="*/ 471747 w 605834"/>
                    <a:gd name="connsiteY69" fmla="*/ 160419 h 192660"/>
                    <a:gd name="connsiteX70" fmla="*/ 468509 w 605834"/>
                    <a:gd name="connsiteY70" fmla="*/ 162306 h 192660"/>
                    <a:gd name="connsiteX71" fmla="*/ 467137 w 605834"/>
                    <a:gd name="connsiteY71" fmla="*/ 168173 h 192660"/>
                    <a:gd name="connsiteX72" fmla="*/ 458298 w 605834"/>
                    <a:gd name="connsiteY72" fmla="*/ 173078 h 192660"/>
                    <a:gd name="connsiteX73" fmla="*/ 443963 w 605834"/>
                    <a:gd name="connsiteY73" fmla="*/ 174955 h 192660"/>
                    <a:gd name="connsiteX74" fmla="*/ 438296 w 605834"/>
                    <a:gd name="connsiteY74" fmla="*/ 179660 h 192660"/>
                    <a:gd name="connsiteX75" fmla="*/ 431733 w 605834"/>
                    <a:gd name="connsiteY75" fmla="*/ 178917 h 192660"/>
                    <a:gd name="connsiteX76" fmla="*/ 418093 w 605834"/>
                    <a:gd name="connsiteY76" fmla="*/ 175174 h 192660"/>
                    <a:gd name="connsiteX77" fmla="*/ 413045 w 605834"/>
                    <a:gd name="connsiteY77" fmla="*/ 170716 h 192660"/>
                    <a:gd name="connsiteX78" fmla="*/ 393347 w 605834"/>
                    <a:gd name="connsiteY78" fmla="*/ 172916 h 192660"/>
                    <a:gd name="connsiteX79" fmla="*/ 388785 w 605834"/>
                    <a:gd name="connsiteY79" fmla="*/ 179374 h 192660"/>
                    <a:gd name="connsiteX80" fmla="*/ 381879 w 605834"/>
                    <a:gd name="connsiteY80" fmla="*/ 185023 h 192660"/>
                    <a:gd name="connsiteX81" fmla="*/ 368934 w 605834"/>
                    <a:gd name="connsiteY81" fmla="*/ 188775 h 192660"/>
                    <a:gd name="connsiteX82" fmla="*/ 351646 w 605834"/>
                    <a:gd name="connsiteY82" fmla="*/ 187937 h 192660"/>
                    <a:gd name="connsiteX83" fmla="*/ 335883 w 605834"/>
                    <a:gd name="connsiteY83" fmla="*/ 192300 h 192660"/>
                    <a:gd name="connsiteX84" fmla="*/ 321719 w 605834"/>
                    <a:gd name="connsiteY84" fmla="*/ 180460 h 192660"/>
                    <a:gd name="connsiteX85" fmla="*/ 310613 w 605834"/>
                    <a:gd name="connsiteY85" fmla="*/ 169925 h 192660"/>
                    <a:gd name="connsiteX86" fmla="*/ 307013 w 605834"/>
                    <a:gd name="connsiteY86" fmla="*/ 162829 h 192660"/>
                    <a:gd name="connsiteX87" fmla="*/ 308812 w 605834"/>
                    <a:gd name="connsiteY87" fmla="*/ 156238 h 192660"/>
                    <a:gd name="connsiteX88" fmla="*/ 332196 w 605834"/>
                    <a:gd name="connsiteY88" fmla="*/ 166087 h 192660"/>
                    <a:gd name="connsiteX89" fmla="*/ 347370 w 605834"/>
                    <a:gd name="connsiteY89" fmla="*/ 172011 h 192660"/>
                    <a:gd name="connsiteX90" fmla="*/ 359600 w 605834"/>
                    <a:gd name="connsiteY90" fmla="*/ 176136 h 192660"/>
                    <a:gd name="connsiteX91" fmla="*/ 357381 w 605834"/>
                    <a:gd name="connsiteY91" fmla="*/ 161515 h 192660"/>
                    <a:gd name="connsiteX92" fmla="*/ 360315 w 605834"/>
                    <a:gd name="connsiteY92" fmla="*/ 152695 h 192660"/>
                    <a:gd name="connsiteX93" fmla="*/ 359143 w 605834"/>
                    <a:gd name="connsiteY93" fmla="*/ 143370 h 192660"/>
                    <a:gd name="connsiteX94" fmla="*/ 365191 w 605834"/>
                    <a:gd name="connsiteY94" fmla="*/ 137655 h 192660"/>
                    <a:gd name="connsiteX95" fmla="*/ 384489 w 605834"/>
                    <a:gd name="connsiteY95" fmla="*/ 128530 h 192660"/>
                    <a:gd name="connsiteX96" fmla="*/ 406139 w 605834"/>
                    <a:gd name="connsiteY96" fmla="*/ 123072 h 192660"/>
                    <a:gd name="connsiteX97" fmla="*/ 422189 w 605834"/>
                    <a:gd name="connsiteY97" fmla="*/ 108594 h 192660"/>
                    <a:gd name="connsiteX98" fmla="*/ 436457 w 605834"/>
                    <a:gd name="connsiteY98" fmla="*/ 91173 h 192660"/>
                    <a:gd name="connsiteX99" fmla="*/ 441449 w 605834"/>
                    <a:gd name="connsiteY99" fmla="*/ 82934 h 192660"/>
                    <a:gd name="connsiteX100" fmla="*/ 442249 w 605834"/>
                    <a:gd name="connsiteY100" fmla="*/ 75952 h 192660"/>
                    <a:gd name="connsiteX101" fmla="*/ 462641 w 605834"/>
                    <a:gd name="connsiteY101" fmla="*/ 93211 h 192660"/>
                    <a:gd name="connsiteX102" fmla="*/ 467699 w 605834"/>
                    <a:gd name="connsiteY102" fmla="*/ 80314 h 192660"/>
                    <a:gd name="connsiteX103" fmla="*/ 473309 w 605834"/>
                    <a:gd name="connsiteY103" fmla="*/ 65741 h 192660"/>
                    <a:gd name="connsiteX104" fmla="*/ 482654 w 605834"/>
                    <a:gd name="connsiteY104" fmla="*/ 83010 h 192660"/>
                    <a:gd name="connsiteX105" fmla="*/ 476862 w 605834"/>
                    <a:gd name="connsiteY105" fmla="*/ 65741 h 192660"/>
                    <a:gd name="connsiteX106" fmla="*/ 489787 w 605834"/>
                    <a:gd name="connsiteY106" fmla="*/ 57254 h 192660"/>
                    <a:gd name="connsiteX107" fmla="*/ 484340 w 605834"/>
                    <a:gd name="connsiteY107" fmla="*/ 50863 h 192660"/>
                    <a:gd name="connsiteX108" fmla="*/ 489397 w 605834"/>
                    <a:gd name="connsiteY108" fmla="*/ 43567 h 192660"/>
                    <a:gd name="connsiteX109" fmla="*/ 507800 w 605834"/>
                    <a:gd name="connsiteY109" fmla="*/ 22821 h 192660"/>
                    <a:gd name="connsiteX110" fmla="*/ 514857 w 605834"/>
                    <a:gd name="connsiteY110" fmla="*/ 13687 h 192660"/>
                    <a:gd name="connsiteX111" fmla="*/ 519363 w 605834"/>
                    <a:gd name="connsiteY111" fmla="*/ 3238 h 192660"/>
                    <a:gd name="connsiteX112" fmla="*/ 523296 w 605834"/>
                    <a:gd name="connsiteY112" fmla="*/ 1085 h 192660"/>
                    <a:gd name="connsiteX113" fmla="*/ 523468 w 605834"/>
                    <a:gd name="connsiteY113" fmla="*/ 9324 h 192660"/>
                    <a:gd name="connsiteX114" fmla="*/ 523468 w 605834"/>
                    <a:gd name="connsiteY114" fmla="*/ 9324 h 192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5834" h="192660">
                      <a:moveTo>
                        <a:pt x="14243" y="16363"/>
                      </a:moveTo>
                      <a:cubicBezTo>
                        <a:pt x="15557" y="16363"/>
                        <a:pt x="18586" y="15801"/>
                        <a:pt x="19624" y="16278"/>
                      </a:cubicBezTo>
                      <a:cubicBezTo>
                        <a:pt x="21843" y="17297"/>
                        <a:pt x="21063" y="19602"/>
                        <a:pt x="22615" y="20650"/>
                      </a:cubicBezTo>
                      <a:cubicBezTo>
                        <a:pt x="26149" y="23069"/>
                        <a:pt x="29359" y="22355"/>
                        <a:pt x="31331" y="26355"/>
                      </a:cubicBezTo>
                      <a:cubicBezTo>
                        <a:pt x="33836" y="31441"/>
                        <a:pt x="25892" y="45481"/>
                        <a:pt x="36750" y="40519"/>
                      </a:cubicBezTo>
                      <a:cubicBezTo>
                        <a:pt x="39503" y="39261"/>
                        <a:pt x="42465" y="33127"/>
                        <a:pt x="47380" y="34070"/>
                      </a:cubicBezTo>
                      <a:cubicBezTo>
                        <a:pt x="50809" y="34728"/>
                        <a:pt x="49990" y="39585"/>
                        <a:pt x="54809" y="38061"/>
                      </a:cubicBezTo>
                      <a:cubicBezTo>
                        <a:pt x="62915" y="35489"/>
                        <a:pt x="59258" y="16754"/>
                        <a:pt x="71336" y="26212"/>
                      </a:cubicBezTo>
                      <a:cubicBezTo>
                        <a:pt x="75898" y="29784"/>
                        <a:pt x="78317" y="35804"/>
                        <a:pt x="83175" y="39585"/>
                      </a:cubicBezTo>
                      <a:cubicBezTo>
                        <a:pt x="87233" y="42729"/>
                        <a:pt x="91872" y="45119"/>
                        <a:pt x="95614" y="48520"/>
                      </a:cubicBezTo>
                      <a:cubicBezTo>
                        <a:pt x="103035" y="55273"/>
                        <a:pt x="108854" y="66265"/>
                        <a:pt x="110331" y="76066"/>
                      </a:cubicBezTo>
                      <a:cubicBezTo>
                        <a:pt x="111198" y="81810"/>
                        <a:pt x="111140" y="87744"/>
                        <a:pt x="110436" y="93516"/>
                      </a:cubicBezTo>
                      <a:cubicBezTo>
                        <a:pt x="109578" y="100488"/>
                        <a:pt x="110455" y="102241"/>
                        <a:pt x="111836" y="108470"/>
                      </a:cubicBezTo>
                      <a:cubicBezTo>
                        <a:pt x="114160" y="118871"/>
                        <a:pt x="109750" y="127663"/>
                        <a:pt x="119570" y="135074"/>
                      </a:cubicBezTo>
                      <a:cubicBezTo>
                        <a:pt x="128504" y="141817"/>
                        <a:pt x="134524" y="155285"/>
                        <a:pt x="138715" y="165830"/>
                      </a:cubicBezTo>
                      <a:cubicBezTo>
                        <a:pt x="139611" y="168078"/>
                        <a:pt x="143802" y="177774"/>
                        <a:pt x="137658" y="177098"/>
                      </a:cubicBezTo>
                      <a:cubicBezTo>
                        <a:pt x="135267" y="176831"/>
                        <a:pt x="133438" y="170497"/>
                        <a:pt x="131315" y="168954"/>
                      </a:cubicBezTo>
                      <a:cubicBezTo>
                        <a:pt x="133934" y="176440"/>
                        <a:pt x="129305" y="172488"/>
                        <a:pt x="125790" y="173678"/>
                      </a:cubicBezTo>
                      <a:cubicBezTo>
                        <a:pt x="122780" y="174698"/>
                        <a:pt x="118236" y="179050"/>
                        <a:pt x="115484" y="177850"/>
                      </a:cubicBezTo>
                      <a:cubicBezTo>
                        <a:pt x="114227" y="177298"/>
                        <a:pt x="111826" y="171945"/>
                        <a:pt x="110188" y="170630"/>
                      </a:cubicBezTo>
                      <a:cubicBezTo>
                        <a:pt x="106235" y="167458"/>
                        <a:pt x="100615" y="165696"/>
                        <a:pt x="96139" y="163315"/>
                      </a:cubicBezTo>
                      <a:cubicBezTo>
                        <a:pt x="88338" y="159162"/>
                        <a:pt x="80336" y="153914"/>
                        <a:pt x="72574" y="149037"/>
                      </a:cubicBezTo>
                      <a:cubicBezTo>
                        <a:pt x="68202" y="146294"/>
                        <a:pt x="65125" y="141750"/>
                        <a:pt x="61010" y="139007"/>
                      </a:cubicBezTo>
                      <a:cubicBezTo>
                        <a:pt x="56762" y="136178"/>
                        <a:pt x="53086" y="136064"/>
                        <a:pt x="49523" y="132149"/>
                      </a:cubicBezTo>
                      <a:cubicBezTo>
                        <a:pt x="48799" y="131359"/>
                        <a:pt x="46637" y="130921"/>
                        <a:pt x="46218" y="129968"/>
                      </a:cubicBezTo>
                      <a:cubicBezTo>
                        <a:pt x="45351" y="127977"/>
                        <a:pt x="47304" y="127415"/>
                        <a:pt x="46961" y="125263"/>
                      </a:cubicBezTo>
                      <a:cubicBezTo>
                        <a:pt x="46199" y="120376"/>
                        <a:pt x="44723" y="117966"/>
                        <a:pt x="41875" y="114185"/>
                      </a:cubicBezTo>
                      <a:cubicBezTo>
                        <a:pt x="37341" y="108156"/>
                        <a:pt x="27883" y="102155"/>
                        <a:pt x="25301" y="95145"/>
                      </a:cubicBezTo>
                      <a:cubicBezTo>
                        <a:pt x="25149" y="94754"/>
                        <a:pt x="27739" y="93449"/>
                        <a:pt x="27702" y="93344"/>
                      </a:cubicBezTo>
                      <a:cubicBezTo>
                        <a:pt x="26987" y="91182"/>
                        <a:pt x="25015" y="89934"/>
                        <a:pt x="23939" y="88030"/>
                      </a:cubicBezTo>
                      <a:cubicBezTo>
                        <a:pt x="21082" y="82896"/>
                        <a:pt x="22043" y="79124"/>
                        <a:pt x="20681" y="73542"/>
                      </a:cubicBezTo>
                      <a:cubicBezTo>
                        <a:pt x="18300" y="63788"/>
                        <a:pt x="12081" y="55254"/>
                        <a:pt x="10442" y="45043"/>
                      </a:cubicBezTo>
                      <a:cubicBezTo>
                        <a:pt x="9709" y="40452"/>
                        <a:pt x="10414" y="36185"/>
                        <a:pt x="8766" y="31603"/>
                      </a:cubicBezTo>
                      <a:cubicBezTo>
                        <a:pt x="6966" y="26622"/>
                        <a:pt x="2050" y="23079"/>
                        <a:pt x="755" y="18126"/>
                      </a:cubicBezTo>
                      <a:cubicBezTo>
                        <a:pt x="-3045" y="3562"/>
                        <a:pt x="8442" y="14239"/>
                        <a:pt x="14243" y="16363"/>
                      </a:cubicBezTo>
                      <a:lnTo>
                        <a:pt x="14243" y="16363"/>
                      </a:lnTo>
                      <a:close/>
                      <a:moveTo>
                        <a:pt x="523468" y="9324"/>
                      </a:moveTo>
                      <a:cubicBezTo>
                        <a:pt x="523363" y="10210"/>
                        <a:pt x="523268" y="11106"/>
                        <a:pt x="523173" y="11991"/>
                      </a:cubicBezTo>
                      <a:cubicBezTo>
                        <a:pt x="529336" y="10658"/>
                        <a:pt x="529716" y="-1591"/>
                        <a:pt x="535774" y="1476"/>
                      </a:cubicBezTo>
                      <a:cubicBezTo>
                        <a:pt x="537746" y="2466"/>
                        <a:pt x="538804" y="9715"/>
                        <a:pt x="542242" y="11972"/>
                      </a:cubicBezTo>
                      <a:cubicBezTo>
                        <a:pt x="547090" y="15144"/>
                        <a:pt x="551462" y="14515"/>
                        <a:pt x="552710" y="21297"/>
                      </a:cubicBezTo>
                      <a:cubicBezTo>
                        <a:pt x="553138" y="23631"/>
                        <a:pt x="550605" y="23098"/>
                        <a:pt x="550643" y="24907"/>
                      </a:cubicBezTo>
                      <a:cubicBezTo>
                        <a:pt x="550662" y="26041"/>
                        <a:pt x="552424" y="27717"/>
                        <a:pt x="552129" y="28784"/>
                      </a:cubicBezTo>
                      <a:cubicBezTo>
                        <a:pt x="551291" y="31823"/>
                        <a:pt x="552501" y="33765"/>
                        <a:pt x="548090" y="34737"/>
                      </a:cubicBezTo>
                      <a:cubicBezTo>
                        <a:pt x="551091" y="34185"/>
                        <a:pt x="554663" y="34108"/>
                        <a:pt x="557520" y="33032"/>
                      </a:cubicBezTo>
                      <a:cubicBezTo>
                        <a:pt x="558597" y="32632"/>
                        <a:pt x="562845" y="29413"/>
                        <a:pt x="563406" y="29517"/>
                      </a:cubicBezTo>
                      <a:cubicBezTo>
                        <a:pt x="564568" y="29736"/>
                        <a:pt x="567607" y="34737"/>
                        <a:pt x="567416" y="35471"/>
                      </a:cubicBezTo>
                      <a:cubicBezTo>
                        <a:pt x="566873" y="37442"/>
                        <a:pt x="562092" y="36423"/>
                        <a:pt x="561902" y="38338"/>
                      </a:cubicBezTo>
                      <a:cubicBezTo>
                        <a:pt x="561368" y="43672"/>
                        <a:pt x="571188" y="36880"/>
                        <a:pt x="571741" y="36823"/>
                      </a:cubicBezTo>
                      <a:cubicBezTo>
                        <a:pt x="576179" y="36337"/>
                        <a:pt x="579208" y="39490"/>
                        <a:pt x="582409" y="41681"/>
                      </a:cubicBezTo>
                      <a:cubicBezTo>
                        <a:pt x="585704" y="43938"/>
                        <a:pt x="590496" y="47882"/>
                        <a:pt x="595268" y="49053"/>
                      </a:cubicBezTo>
                      <a:cubicBezTo>
                        <a:pt x="598706" y="49901"/>
                        <a:pt x="602668" y="47701"/>
                        <a:pt x="604850" y="51101"/>
                      </a:cubicBezTo>
                      <a:cubicBezTo>
                        <a:pt x="610546" y="60026"/>
                        <a:pt x="589895" y="63979"/>
                        <a:pt x="584952" y="63665"/>
                      </a:cubicBezTo>
                      <a:cubicBezTo>
                        <a:pt x="581171" y="63426"/>
                        <a:pt x="577218" y="60378"/>
                        <a:pt x="574389" y="63760"/>
                      </a:cubicBezTo>
                      <a:cubicBezTo>
                        <a:pt x="569083" y="70084"/>
                        <a:pt x="580313" y="73571"/>
                        <a:pt x="583523" y="76961"/>
                      </a:cubicBezTo>
                      <a:cubicBezTo>
                        <a:pt x="587162" y="80809"/>
                        <a:pt x="587314" y="80391"/>
                        <a:pt x="582799" y="82914"/>
                      </a:cubicBezTo>
                      <a:cubicBezTo>
                        <a:pt x="579409" y="84800"/>
                        <a:pt x="569950" y="86344"/>
                        <a:pt x="566207" y="85896"/>
                      </a:cubicBezTo>
                      <a:cubicBezTo>
                        <a:pt x="564445" y="85686"/>
                        <a:pt x="561473" y="83162"/>
                        <a:pt x="559968" y="83477"/>
                      </a:cubicBezTo>
                      <a:cubicBezTo>
                        <a:pt x="557882" y="83896"/>
                        <a:pt x="557930" y="85781"/>
                        <a:pt x="556710" y="86172"/>
                      </a:cubicBezTo>
                      <a:cubicBezTo>
                        <a:pt x="555425" y="86582"/>
                        <a:pt x="555549" y="88163"/>
                        <a:pt x="553491" y="88572"/>
                      </a:cubicBezTo>
                      <a:cubicBezTo>
                        <a:pt x="550852" y="89106"/>
                        <a:pt x="547538" y="85391"/>
                        <a:pt x="545261" y="84591"/>
                      </a:cubicBezTo>
                      <a:cubicBezTo>
                        <a:pt x="536832" y="81638"/>
                        <a:pt x="526697" y="84267"/>
                        <a:pt x="519268" y="83896"/>
                      </a:cubicBezTo>
                      <a:cubicBezTo>
                        <a:pt x="515686" y="83715"/>
                        <a:pt x="511638" y="83791"/>
                        <a:pt x="507894" y="83915"/>
                      </a:cubicBezTo>
                      <a:cubicBezTo>
                        <a:pt x="502656" y="84086"/>
                        <a:pt x="500398" y="82086"/>
                        <a:pt x="496503" y="87439"/>
                      </a:cubicBezTo>
                      <a:cubicBezTo>
                        <a:pt x="491083" y="94888"/>
                        <a:pt x="492950" y="105708"/>
                        <a:pt x="492388" y="114185"/>
                      </a:cubicBezTo>
                      <a:cubicBezTo>
                        <a:pt x="492169" y="117538"/>
                        <a:pt x="492436" y="122748"/>
                        <a:pt x="489807" y="124929"/>
                      </a:cubicBezTo>
                      <a:cubicBezTo>
                        <a:pt x="485939" y="128130"/>
                        <a:pt x="482120" y="123167"/>
                        <a:pt x="479634" y="130625"/>
                      </a:cubicBezTo>
                      <a:cubicBezTo>
                        <a:pt x="477053" y="138350"/>
                        <a:pt x="486092" y="137321"/>
                        <a:pt x="479158" y="143913"/>
                      </a:cubicBezTo>
                      <a:cubicBezTo>
                        <a:pt x="476101" y="146818"/>
                        <a:pt x="470814" y="147647"/>
                        <a:pt x="470224" y="152009"/>
                      </a:cubicBezTo>
                      <a:cubicBezTo>
                        <a:pt x="469766" y="155381"/>
                        <a:pt x="472614" y="156743"/>
                        <a:pt x="471747" y="160419"/>
                      </a:cubicBezTo>
                      <a:cubicBezTo>
                        <a:pt x="471538" y="161353"/>
                        <a:pt x="469033" y="161305"/>
                        <a:pt x="468509" y="162306"/>
                      </a:cubicBezTo>
                      <a:cubicBezTo>
                        <a:pt x="467604" y="164058"/>
                        <a:pt x="467880" y="166306"/>
                        <a:pt x="467137" y="168173"/>
                      </a:cubicBezTo>
                      <a:cubicBezTo>
                        <a:pt x="464347" y="175317"/>
                        <a:pt x="464232" y="172783"/>
                        <a:pt x="458298" y="173078"/>
                      </a:cubicBezTo>
                      <a:cubicBezTo>
                        <a:pt x="454422" y="173278"/>
                        <a:pt x="447592" y="173478"/>
                        <a:pt x="443963" y="174955"/>
                      </a:cubicBezTo>
                      <a:cubicBezTo>
                        <a:pt x="441734" y="175859"/>
                        <a:pt x="440582" y="178889"/>
                        <a:pt x="438296" y="179660"/>
                      </a:cubicBezTo>
                      <a:cubicBezTo>
                        <a:pt x="434162" y="181060"/>
                        <a:pt x="435476" y="179498"/>
                        <a:pt x="431733" y="178917"/>
                      </a:cubicBezTo>
                      <a:cubicBezTo>
                        <a:pt x="427313" y="178222"/>
                        <a:pt x="422151" y="177622"/>
                        <a:pt x="418093" y="175174"/>
                      </a:cubicBezTo>
                      <a:cubicBezTo>
                        <a:pt x="415455" y="173583"/>
                        <a:pt x="415807" y="171849"/>
                        <a:pt x="413045" y="170716"/>
                      </a:cubicBezTo>
                      <a:cubicBezTo>
                        <a:pt x="408902" y="169001"/>
                        <a:pt x="397452" y="170297"/>
                        <a:pt x="393347" y="172916"/>
                      </a:cubicBezTo>
                      <a:cubicBezTo>
                        <a:pt x="389433" y="175412"/>
                        <a:pt x="391118" y="175459"/>
                        <a:pt x="388785" y="179374"/>
                      </a:cubicBezTo>
                      <a:cubicBezTo>
                        <a:pt x="385765" y="184432"/>
                        <a:pt x="386994" y="182356"/>
                        <a:pt x="381879" y="185023"/>
                      </a:cubicBezTo>
                      <a:cubicBezTo>
                        <a:pt x="377212" y="187461"/>
                        <a:pt x="374631" y="189233"/>
                        <a:pt x="368934" y="188775"/>
                      </a:cubicBezTo>
                      <a:cubicBezTo>
                        <a:pt x="362781" y="188271"/>
                        <a:pt x="357943" y="186365"/>
                        <a:pt x="351646" y="187937"/>
                      </a:cubicBezTo>
                      <a:cubicBezTo>
                        <a:pt x="346436" y="189242"/>
                        <a:pt x="341341" y="193995"/>
                        <a:pt x="335883" y="192300"/>
                      </a:cubicBezTo>
                      <a:cubicBezTo>
                        <a:pt x="331216" y="190852"/>
                        <a:pt x="325329" y="183622"/>
                        <a:pt x="321719" y="180460"/>
                      </a:cubicBezTo>
                      <a:cubicBezTo>
                        <a:pt x="318243" y="177412"/>
                        <a:pt x="313156" y="173821"/>
                        <a:pt x="310613" y="169925"/>
                      </a:cubicBezTo>
                      <a:cubicBezTo>
                        <a:pt x="310070" y="169097"/>
                        <a:pt x="307041" y="163067"/>
                        <a:pt x="307013" y="162829"/>
                      </a:cubicBezTo>
                      <a:cubicBezTo>
                        <a:pt x="306622" y="160096"/>
                        <a:pt x="306070" y="158705"/>
                        <a:pt x="308812" y="156238"/>
                      </a:cubicBezTo>
                      <a:cubicBezTo>
                        <a:pt x="312566" y="167887"/>
                        <a:pt x="323614" y="164515"/>
                        <a:pt x="332196" y="166087"/>
                      </a:cubicBezTo>
                      <a:cubicBezTo>
                        <a:pt x="336978" y="166963"/>
                        <a:pt x="342674" y="170611"/>
                        <a:pt x="347370" y="172011"/>
                      </a:cubicBezTo>
                      <a:cubicBezTo>
                        <a:pt x="351142" y="173135"/>
                        <a:pt x="355428" y="177136"/>
                        <a:pt x="359600" y="176136"/>
                      </a:cubicBezTo>
                      <a:cubicBezTo>
                        <a:pt x="350656" y="173021"/>
                        <a:pt x="354971" y="167658"/>
                        <a:pt x="357381" y="161515"/>
                      </a:cubicBezTo>
                      <a:cubicBezTo>
                        <a:pt x="358286" y="159229"/>
                        <a:pt x="360248" y="155228"/>
                        <a:pt x="360315" y="152695"/>
                      </a:cubicBezTo>
                      <a:cubicBezTo>
                        <a:pt x="360391" y="149542"/>
                        <a:pt x="356428" y="147837"/>
                        <a:pt x="359143" y="143370"/>
                      </a:cubicBezTo>
                      <a:cubicBezTo>
                        <a:pt x="366305" y="150818"/>
                        <a:pt x="364258" y="140912"/>
                        <a:pt x="365191" y="137655"/>
                      </a:cubicBezTo>
                      <a:cubicBezTo>
                        <a:pt x="367563" y="129378"/>
                        <a:pt x="377622" y="129911"/>
                        <a:pt x="384489" y="128530"/>
                      </a:cubicBezTo>
                      <a:cubicBezTo>
                        <a:pt x="391709" y="127091"/>
                        <a:pt x="399119" y="125320"/>
                        <a:pt x="406139" y="123072"/>
                      </a:cubicBezTo>
                      <a:cubicBezTo>
                        <a:pt x="414360" y="120443"/>
                        <a:pt x="417265" y="115547"/>
                        <a:pt x="422189" y="108594"/>
                      </a:cubicBezTo>
                      <a:cubicBezTo>
                        <a:pt x="426599" y="102364"/>
                        <a:pt x="431600" y="97059"/>
                        <a:pt x="436457" y="91173"/>
                      </a:cubicBezTo>
                      <a:cubicBezTo>
                        <a:pt x="438857" y="88268"/>
                        <a:pt x="440506" y="86429"/>
                        <a:pt x="441449" y="82934"/>
                      </a:cubicBezTo>
                      <a:cubicBezTo>
                        <a:pt x="441896" y="81295"/>
                        <a:pt x="440839" y="76799"/>
                        <a:pt x="442249" y="75952"/>
                      </a:cubicBezTo>
                      <a:cubicBezTo>
                        <a:pt x="448297" y="72323"/>
                        <a:pt x="456479" y="93554"/>
                        <a:pt x="462641" y="93211"/>
                      </a:cubicBezTo>
                      <a:cubicBezTo>
                        <a:pt x="468480" y="92897"/>
                        <a:pt x="468290" y="83181"/>
                        <a:pt x="467699" y="80314"/>
                      </a:cubicBezTo>
                      <a:cubicBezTo>
                        <a:pt x="465918" y="71475"/>
                        <a:pt x="464042" y="70751"/>
                        <a:pt x="473309" y="65741"/>
                      </a:cubicBezTo>
                      <a:cubicBezTo>
                        <a:pt x="473691" y="69227"/>
                        <a:pt x="475253" y="87467"/>
                        <a:pt x="482654" y="83010"/>
                      </a:cubicBezTo>
                      <a:cubicBezTo>
                        <a:pt x="485463" y="81314"/>
                        <a:pt x="479463" y="68617"/>
                        <a:pt x="476862" y="65741"/>
                      </a:cubicBezTo>
                      <a:cubicBezTo>
                        <a:pt x="480796" y="65179"/>
                        <a:pt x="490816" y="63903"/>
                        <a:pt x="489787" y="57254"/>
                      </a:cubicBezTo>
                      <a:cubicBezTo>
                        <a:pt x="489397" y="54701"/>
                        <a:pt x="484577" y="54797"/>
                        <a:pt x="484340" y="50863"/>
                      </a:cubicBezTo>
                      <a:cubicBezTo>
                        <a:pt x="484168" y="48129"/>
                        <a:pt x="487368" y="45357"/>
                        <a:pt x="489397" y="43567"/>
                      </a:cubicBezTo>
                      <a:cubicBezTo>
                        <a:pt x="495179" y="54749"/>
                        <a:pt x="505580" y="26126"/>
                        <a:pt x="507800" y="22821"/>
                      </a:cubicBezTo>
                      <a:cubicBezTo>
                        <a:pt x="509943" y="19630"/>
                        <a:pt x="512905" y="16992"/>
                        <a:pt x="514857" y="13687"/>
                      </a:cubicBezTo>
                      <a:cubicBezTo>
                        <a:pt x="516658" y="10639"/>
                        <a:pt x="517020" y="5705"/>
                        <a:pt x="519363" y="3238"/>
                      </a:cubicBezTo>
                      <a:cubicBezTo>
                        <a:pt x="521087" y="1428"/>
                        <a:pt x="520144" y="-1648"/>
                        <a:pt x="523296" y="1085"/>
                      </a:cubicBezTo>
                      <a:cubicBezTo>
                        <a:pt x="525030" y="2619"/>
                        <a:pt x="524202" y="7629"/>
                        <a:pt x="523468" y="9324"/>
                      </a:cubicBezTo>
                      <a:lnTo>
                        <a:pt x="523468" y="9324"/>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98" name="Freeform: Shape 597">
                  <a:extLst>
                    <a:ext uri="{FF2B5EF4-FFF2-40B4-BE49-F238E27FC236}">
                      <a16:creationId xmlns:a16="http://schemas.microsoft.com/office/drawing/2014/main" id="{FDCB34D6-9BAF-48C5-B5FC-D4C924EACCB8}"/>
                    </a:ext>
                  </a:extLst>
                </p:cNvPr>
                <p:cNvSpPr/>
                <p:nvPr/>
              </p:nvSpPr>
              <p:spPr>
                <a:xfrm>
                  <a:off x="6608272" y="4661257"/>
                  <a:ext cx="96307" cy="243212"/>
                </a:xfrm>
                <a:custGeom>
                  <a:avLst/>
                  <a:gdLst>
                    <a:gd name="connsiteX0" fmla="*/ 28004 w 96307"/>
                    <a:gd name="connsiteY0" fmla="*/ 3485 h 243212"/>
                    <a:gd name="connsiteX1" fmla="*/ 40434 w 96307"/>
                    <a:gd name="connsiteY1" fmla="*/ 6161 h 243212"/>
                    <a:gd name="connsiteX2" fmla="*/ 46101 w 96307"/>
                    <a:gd name="connsiteY2" fmla="*/ 8276 h 243212"/>
                    <a:gd name="connsiteX3" fmla="*/ 47301 w 96307"/>
                    <a:gd name="connsiteY3" fmla="*/ 4933 h 243212"/>
                    <a:gd name="connsiteX4" fmla="*/ 51683 w 96307"/>
                    <a:gd name="connsiteY4" fmla="*/ 4066 h 243212"/>
                    <a:gd name="connsiteX5" fmla="*/ 58636 w 96307"/>
                    <a:gd name="connsiteY5" fmla="*/ 10162 h 243212"/>
                    <a:gd name="connsiteX6" fmla="*/ 65027 w 96307"/>
                    <a:gd name="connsiteY6" fmla="*/ 23564 h 243212"/>
                    <a:gd name="connsiteX7" fmla="*/ 65551 w 96307"/>
                    <a:gd name="connsiteY7" fmla="*/ 35165 h 243212"/>
                    <a:gd name="connsiteX8" fmla="*/ 67685 w 96307"/>
                    <a:gd name="connsiteY8" fmla="*/ 43604 h 243212"/>
                    <a:gd name="connsiteX9" fmla="*/ 65247 w 96307"/>
                    <a:gd name="connsiteY9" fmla="*/ 50567 h 243212"/>
                    <a:gd name="connsiteX10" fmla="*/ 75352 w 96307"/>
                    <a:gd name="connsiteY10" fmla="*/ 68341 h 243212"/>
                    <a:gd name="connsiteX11" fmla="*/ 61436 w 96307"/>
                    <a:gd name="connsiteY11" fmla="*/ 77666 h 243212"/>
                    <a:gd name="connsiteX12" fmla="*/ 56569 w 96307"/>
                    <a:gd name="connsiteY12" fmla="*/ 93668 h 243212"/>
                    <a:gd name="connsiteX13" fmla="*/ 59170 w 96307"/>
                    <a:gd name="connsiteY13" fmla="*/ 115499 h 243212"/>
                    <a:gd name="connsiteX14" fmla="*/ 59636 w 96307"/>
                    <a:gd name="connsiteY14" fmla="*/ 125034 h 243212"/>
                    <a:gd name="connsiteX15" fmla="*/ 67818 w 96307"/>
                    <a:gd name="connsiteY15" fmla="*/ 129377 h 243212"/>
                    <a:gd name="connsiteX16" fmla="*/ 95165 w 96307"/>
                    <a:gd name="connsiteY16" fmla="*/ 164343 h 243212"/>
                    <a:gd name="connsiteX17" fmla="*/ 93688 w 96307"/>
                    <a:gd name="connsiteY17" fmla="*/ 182860 h 243212"/>
                    <a:gd name="connsiteX18" fmla="*/ 91154 w 96307"/>
                    <a:gd name="connsiteY18" fmla="*/ 205596 h 243212"/>
                    <a:gd name="connsiteX19" fmla="*/ 76448 w 96307"/>
                    <a:gd name="connsiteY19" fmla="*/ 213244 h 243212"/>
                    <a:gd name="connsiteX20" fmla="*/ 72390 w 96307"/>
                    <a:gd name="connsiteY20" fmla="*/ 220484 h 243212"/>
                    <a:gd name="connsiteX21" fmla="*/ 71943 w 96307"/>
                    <a:gd name="connsiteY21" fmla="*/ 228228 h 243212"/>
                    <a:gd name="connsiteX22" fmla="*/ 69038 w 96307"/>
                    <a:gd name="connsiteY22" fmla="*/ 243210 h 243212"/>
                    <a:gd name="connsiteX23" fmla="*/ 65723 w 96307"/>
                    <a:gd name="connsiteY23" fmla="*/ 233657 h 243212"/>
                    <a:gd name="connsiteX24" fmla="*/ 51588 w 96307"/>
                    <a:gd name="connsiteY24" fmla="*/ 218579 h 243212"/>
                    <a:gd name="connsiteX25" fmla="*/ 45844 w 96307"/>
                    <a:gd name="connsiteY25" fmla="*/ 206939 h 243212"/>
                    <a:gd name="connsiteX26" fmla="*/ 44301 w 96307"/>
                    <a:gd name="connsiteY26" fmla="*/ 201338 h 243212"/>
                    <a:gd name="connsiteX27" fmla="*/ 50102 w 96307"/>
                    <a:gd name="connsiteY27" fmla="*/ 191880 h 243212"/>
                    <a:gd name="connsiteX28" fmla="*/ 55140 w 96307"/>
                    <a:gd name="connsiteY28" fmla="*/ 170839 h 243212"/>
                    <a:gd name="connsiteX29" fmla="*/ 25308 w 96307"/>
                    <a:gd name="connsiteY29" fmla="*/ 159695 h 243212"/>
                    <a:gd name="connsiteX30" fmla="*/ 13059 w 96307"/>
                    <a:gd name="connsiteY30" fmla="*/ 143150 h 243212"/>
                    <a:gd name="connsiteX31" fmla="*/ 8497 w 96307"/>
                    <a:gd name="connsiteY31" fmla="*/ 144188 h 243212"/>
                    <a:gd name="connsiteX32" fmla="*/ 2581 w 96307"/>
                    <a:gd name="connsiteY32" fmla="*/ 137102 h 243212"/>
                    <a:gd name="connsiteX33" fmla="*/ 0 w 96307"/>
                    <a:gd name="connsiteY33" fmla="*/ 131720 h 243212"/>
                    <a:gd name="connsiteX34" fmla="*/ 11259 w 96307"/>
                    <a:gd name="connsiteY34" fmla="*/ 109422 h 243212"/>
                    <a:gd name="connsiteX35" fmla="*/ 19202 w 96307"/>
                    <a:gd name="connsiteY35" fmla="*/ 99392 h 243212"/>
                    <a:gd name="connsiteX36" fmla="*/ 28727 w 96307"/>
                    <a:gd name="connsiteY36" fmla="*/ 92582 h 243212"/>
                    <a:gd name="connsiteX37" fmla="*/ 23032 w 96307"/>
                    <a:gd name="connsiteY37" fmla="*/ 78075 h 243212"/>
                    <a:gd name="connsiteX38" fmla="*/ 22898 w 96307"/>
                    <a:gd name="connsiteY38" fmla="*/ 62826 h 243212"/>
                    <a:gd name="connsiteX39" fmla="*/ 26232 w 96307"/>
                    <a:gd name="connsiteY39" fmla="*/ 53939 h 243212"/>
                    <a:gd name="connsiteX40" fmla="*/ 24108 w 96307"/>
                    <a:gd name="connsiteY40" fmla="*/ 46109 h 243212"/>
                    <a:gd name="connsiteX41" fmla="*/ 36166 w 96307"/>
                    <a:gd name="connsiteY41" fmla="*/ 35022 h 243212"/>
                    <a:gd name="connsiteX42" fmla="*/ 28385 w 96307"/>
                    <a:gd name="connsiteY42" fmla="*/ 21754 h 243212"/>
                    <a:gd name="connsiteX43" fmla="*/ 23603 w 96307"/>
                    <a:gd name="connsiteY43" fmla="*/ 6857 h 243212"/>
                    <a:gd name="connsiteX44" fmla="*/ 16573 w 96307"/>
                    <a:gd name="connsiteY44" fmla="*/ 2961 h 243212"/>
                    <a:gd name="connsiteX45" fmla="*/ 28004 w 96307"/>
                    <a:gd name="connsiteY45" fmla="*/ 3485 h 243212"/>
                    <a:gd name="connsiteX46" fmla="*/ 28004 w 96307"/>
                    <a:gd name="connsiteY46" fmla="*/ 3485 h 243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96307" h="243212">
                      <a:moveTo>
                        <a:pt x="28004" y="3485"/>
                      </a:moveTo>
                      <a:cubicBezTo>
                        <a:pt x="30852" y="8505"/>
                        <a:pt x="35881" y="5485"/>
                        <a:pt x="40434" y="6161"/>
                      </a:cubicBezTo>
                      <a:cubicBezTo>
                        <a:pt x="42167" y="6409"/>
                        <a:pt x="44177" y="8886"/>
                        <a:pt x="46101" y="8276"/>
                      </a:cubicBezTo>
                      <a:cubicBezTo>
                        <a:pt x="47759" y="7733"/>
                        <a:pt x="47006" y="5038"/>
                        <a:pt x="47301" y="4933"/>
                      </a:cubicBezTo>
                      <a:cubicBezTo>
                        <a:pt x="49882" y="4037"/>
                        <a:pt x="47701" y="2952"/>
                        <a:pt x="51683" y="4066"/>
                      </a:cubicBezTo>
                      <a:cubicBezTo>
                        <a:pt x="53845" y="4666"/>
                        <a:pt x="57141" y="8419"/>
                        <a:pt x="58636" y="10162"/>
                      </a:cubicBezTo>
                      <a:cubicBezTo>
                        <a:pt x="61960" y="14039"/>
                        <a:pt x="64198" y="18620"/>
                        <a:pt x="65027" y="23564"/>
                      </a:cubicBezTo>
                      <a:cubicBezTo>
                        <a:pt x="65684" y="27536"/>
                        <a:pt x="65075" y="31298"/>
                        <a:pt x="65551" y="35165"/>
                      </a:cubicBezTo>
                      <a:cubicBezTo>
                        <a:pt x="65913" y="38194"/>
                        <a:pt x="67961" y="40252"/>
                        <a:pt x="67685" y="43604"/>
                      </a:cubicBezTo>
                      <a:cubicBezTo>
                        <a:pt x="67485" y="45976"/>
                        <a:pt x="65170" y="48310"/>
                        <a:pt x="65247" y="50567"/>
                      </a:cubicBezTo>
                      <a:cubicBezTo>
                        <a:pt x="65532" y="58730"/>
                        <a:pt x="75419" y="60587"/>
                        <a:pt x="75352" y="68341"/>
                      </a:cubicBezTo>
                      <a:cubicBezTo>
                        <a:pt x="65094" y="67750"/>
                        <a:pt x="65875" y="69846"/>
                        <a:pt x="61436" y="77666"/>
                      </a:cubicBezTo>
                      <a:cubicBezTo>
                        <a:pt x="57465" y="84686"/>
                        <a:pt x="54998" y="85505"/>
                        <a:pt x="56569" y="93668"/>
                      </a:cubicBezTo>
                      <a:cubicBezTo>
                        <a:pt x="57979" y="100973"/>
                        <a:pt x="58941" y="108041"/>
                        <a:pt x="59170" y="115499"/>
                      </a:cubicBezTo>
                      <a:cubicBezTo>
                        <a:pt x="59265" y="118337"/>
                        <a:pt x="58312" y="122471"/>
                        <a:pt x="59636" y="125034"/>
                      </a:cubicBezTo>
                      <a:cubicBezTo>
                        <a:pt x="62046" y="129710"/>
                        <a:pt x="63722" y="127215"/>
                        <a:pt x="67818" y="129377"/>
                      </a:cubicBezTo>
                      <a:cubicBezTo>
                        <a:pt x="77410" y="134425"/>
                        <a:pt x="91087" y="154352"/>
                        <a:pt x="95165" y="164343"/>
                      </a:cubicBezTo>
                      <a:cubicBezTo>
                        <a:pt x="98089" y="171516"/>
                        <a:pt x="94583" y="175621"/>
                        <a:pt x="93688" y="182860"/>
                      </a:cubicBezTo>
                      <a:cubicBezTo>
                        <a:pt x="92783" y="190080"/>
                        <a:pt x="93974" y="198567"/>
                        <a:pt x="91154" y="205596"/>
                      </a:cubicBezTo>
                      <a:cubicBezTo>
                        <a:pt x="87763" y="214073"/>
                        <a:pt x="82553" y="208806"/>
                        <a:pt x="76448" y="213244"/>
                      </a:cubicBezTo>
                      <a:cubicBezTo>
                        <a:pt x="74590" y="214607"/>
                        <a:pt x="73114" y="218436"/>
                        <a:pt x="72390" y="220484"/>
                      </a:cubicBezTo>
                      <a:cubicBezTo>
                        <a:pt x="70590" y="225541"/>
                        <a:pt x="71495" y="223808"/>
                        <a:pt x="71943" y="228228"/>
                      </a:cubicBezTo>
                      <a:cubicBezTo>
                        <a:pt x="72362" y="232437"/>
                        <a:pt x="75781" y="243401"/>
                        <a:pt x="69038" y="243210"/>
                      </a:cubicBezTo>
                      <a:cubicBezTo>
                        <a:pt x="62779" y="243039"/>
                        <a:pt x="67428" y="236810"/>
                        <a:pt x="65723" y="233657"/>
                      </a:cubicBezTo>
                      <a:cubicBezTo>
                        <a:pt x="63389" y="229332"/>
                        <a:pt x="55255" y="222817"/>
                        <a:pt x="51588" y="218579"/>
                      </a:cubicBezTo>
                      <a:cubicBezTo>
                        <a:pt x="47996" y="214426"/>
                        <a:pt x="47263" y="212245"/>
                        <a:pt x="45844" y="206939"/>
                      </a:cubicBezTo>
                      <a:cubicBezTo>
                        <a:pt x="45072" y="204024"/>
                        <a:pt x="43492" y="204758"/>
                        <a:pt x="44301" y="201338"/>
                      </a:cubicBezTo>
                      <a:cubicBezTo>
                        <a:pt x="44748" y="199471"/>
                        <a:pt x="48978" y="194033"/>
                        <a:pt x="50102" y="191880"/>
                      </a:cubicBezTo>
                      <a:cubicBezTo>
                        <a:pt x="53997" y="184422"/>
                        <a:pt x="55455" y="179402"/>
                        <a:pt x="55140" y="170839"/>
                      </a:cubicBezTo>
                      <a:cubicBezTo>
                        <a:pt x="54245" y="146169"/>
                        <a:pt x="35986" y="167744"/>
                        <a:pt x="25308" y="159695"/>
                      </a:cubicBezTo>
                      <a:cubicBezTo>
                        <a:pt x="19688" y="155466"/>
                        <a:pt x="18945" y="145608"/>
                        <a:pt x="13059" y="143150"/>
                      </a:cubicBezTo>
                      <a:cubicBezTo>
                        <a:pt x="11659" y="142560"/>
                        <a:pt x="10563" y="145284"/>
                        <a:pt x="8497" y="144188"/>
                      </a:cubicBezTo>
                      <a:cubicBezTo>
                        <a:pt x="6248" y="143007"/>
                        <a:pt x="5925" y="138521"/>
                        <a:pt x="2581" y="137102"/>
                      </a:cubicBezTo>
                      <a:cubicBezTo>
                        <a:pt x="4934" y="134625"/>
                        <a:pt x="2381" y="132796"/>
                        <a:pt x="0" y="131720"/>
                      </a:cubicBezTo>
                      <a:cubicBezTo>
                        <a:pt x="9401" y="128672"/>
                        <a:pt x="10306" y="117137"/>
                        <a:pt x="11259" y="109422"/>
                      </a:cubicBezTo>
                      <a:cubicBezTo>
                        <a:pt x="12116" y="102478"/>
                        <a:pt x="11573" y="102364"/>
                        <a:pt x="19202" y="99392"/>
                      </a:cubicBezTo>
                      <a:cubicBezTo>
                        <a:pt x="23165" y="97859"/>
                        <a:pt x="26718" y="96611"/>
                        <a:pt x="28727" y="92582"/>
                      </a:cubicBezTo>
                      <a:cubicBezTo>
                        <a:pt x="19441" y="93144"/>
                        <a:pt x="22098" y="83924"/>
                        <a:pt x="23032" y="78075"/>
                      </a:cubicBezTo>
                      <a:cubicBezTo>
                        <a:pt x="24042" y="71798"/>
                        <a:pt x="21307" y="67607"/>
                        <a:pt x="22898" y="62826"/>
                      </a:cubicBezTo>
                      <a:cubicBezTo>
                        <a:pt x="24032" y="59397"/>
                        <a:pt x="26365" y="57463"/>
                        <a:pt x="26232" y="53939"/>
                      </a:cubicBezTo>
                      <a:cubicBezTo>
                        <a:pt x="26137" y="51443"/>
                        <a:pt x="22860" y="48500"/>
                        <a:pt x="24108" y="46109"/>
                      </a:cubicBezTo>
                      <a:cubicBezTo>
                        <a:pt x="26689" y="41147"/>
                        <a:pt x="36100" y="42623"/>
                        <a:pt x="36166" y="35022"/>
                      </a:cubicBezTo>
                      <a:cubicBezTo>
                        <a:pt x="36214" y="30155"/>
                        <a:pt x="29995" y="25345"/>
                        <a:pt x="28385" y="21754"/>
                      </a:cubicBezTo>
                      <a:cubicBezTo>
                        <a:pt x="26889" y="18411"/>
                        <a:pt x="28118" y="9705"/>
                        <a:pt x="23603" y="6857"/>
                      </a:cubicBezTo>
                      <a:cubicBezTo>
                        <a:pt x="19145" y="4047"/>
                        <a:pt x="18517" y="9972"/>
                        <a:pt x="16573" y="2961"/>
                      </a:cubicBezTo>
                      <a:cubicBezTo>
                        <a:pt x="14735" y="-3725"/>
                        <a:pt x="22679" y="2923"/>
                        <a:pt x="28004" y="3485"/>
                      </a:cubicBezTo>
                      <a:lnTo>
                        <a:pt x="28004" y="3485"/>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99" name="Freeform: Shape 598">
                  <a:extLst>
                    <a:ext uri="{FF2B5EF4-FFF2-40B4-BE49-F238E27FC236}">
                      <a16:creationId xmlns:a16="http://schemas.microsoft.com/office/drawing/2014/main" id="{DF6B46BD-309C-47B9-BD14-498E1AB14BF8}"/>
                    </a:ext>
                  </a:extLst>
                </p:cNvPr>
                <p:cNvSpPr/>
                <p:nvPr/>
              </p:nvSpPr>
              <p:spPr>
                <a:xfrm>
                  <a:off x="5073934" y="3505407"/>
                  <a:ext cx="374831" cy="394309"/>
                </a:xfrm>
                <a:custGeom>
                  <a:avLst/>
                  <a:gdLst>
                    <a:gd name="connsiteX0" fmla="*/ 331959 w 374831"/>
                    <a:gd name="connsiteY0" fmla="*/ 188995 h 394309"/>
                    <a:gd name="connsiteX1" fmla="*/ 343504 w 374831"/>
                    <a:gd name="connsiteY1" fmla="*/ 311544 h 394309"/>
                    <a:gd name="connsiteX2" fmla="*/ 347790 w 374831"/>
                    <a:gd name="connsiteY2" fmla="*/ 339557 h 394309"/>
                    <a:gd name="connsiteX3" fmla="*/ 353181 w 374831"/>
                    <a:gd name="connsiteY3" fmla="*/ 351149 h 394309"/>
                    <a:gd name="connsiteX4" fmla="*/ 349981 w 374831"/>
                    <a:gd name="connsiteY4" fmla="*/ 367846 h 394309"/>
                    <a:gd name="connsiteX5" fmla="*/ 337417 w 374831"/>
                    <a:gd name="connsiteY5" fmla="*/ 371361 h 394309"/>
                    <a:gd name="connsiteX6" fmla="*/ 322634 w 374831"/>
                    <a:gd name="connsiteY6" fmla="*/ 371351 h 394309"/>
                    <a:gd name="connsiteX7" fmla="*/ 292221 w 374831"/>
                    <a:gd name="connsiteY7" fmla="*/ 371361 h 394309"/>
                    <a:gd name="connsiteX8" fmla="*/ 257550 w 374831"/>
                    <a:gd name="connsiteY8" fmla="*/ 371361 h 394309"/>
                    <a:gd name="connsiteX9" fmla="*/ 230575 w 374831"/>
                    <a:gd name="connsiteY9" fmla="*/ 365655 h 394309"/>
                    <a:gd name="connsiteX10" fmla="*/ 227508 w 374831"/>
                    <a:gd name="connsiteY10" fmla="*/ 368884 h 394309"/>
                    <a:gd name="connsiteX11" fmla="*/ 224441 w 374831"/>
                    <a:gd name="connsiteY11" fmla="*/ 373047 h 394309"/>
                    <a:gd name="connsiteX12" fmla="*/ 206287 w 374831"/>
                    <a:gd name="connsiteY12" fmla="*/ 374904 h 394309"/>
                    <a:gd name="connsiteX13" fmla="*/ 190485 w 374831"/>
                    <a:gd name="connsiteY13" fmla="*/ 373504 h 394309"/>
                    <a:gd name="connsiteX14" fmla="*/ 179416 w 374831"/>
                    <a:gd name="connsiteY14" fmla="*/ 380514 h 394309"/>
                    <a:gd name="connsiteX15" fmla="*/ 166158 w 374831"/>
                    <a:gd name="connsiteY15" fmla="*/ 368008 h 394309"/>
                    <a:gd name="connsiteX16" fmla="*/ 154613 w 374831"/>
                    <a:gd name="connsiteY16" fmla="*/ 376209 h 394309"/>
                    <a:gd name="connsiteX17" fmla="*/ 136182 w 374831"/>
                    <a:gd name="connsiteY17" fmla="*/ 391116 h 394309"/>
                    <a:gd name="connsiteX18" fmla="*/ 124924 w 374831"/>
                    <a:gd name="connsiteY18" fmla="*/ 382029 h 394309"/>
                    <a:gd name="connsiteX19" fmla="*/ 119666 w 374831"/>
                    <a:gd name="connsiteY19" fmla="*/ 372713 h 394309"/>
                    <a:gd name="connsiteX20" fmla="*/ 113275 w 374831"/>
                    <a:gd name="connsiteY20" fmla="*/ 367998 h 394309"/>
                    <a:gd name="connsiteX21" fmla="*/ 104798 w 374831"/>
                    <a:gd name="connsiteY21" fmla="*/ 353130 h 394309"/>
                    <a:gd name="connsiteX22" fmla="*/ 97044 w 374831"/>
                    <a:gd name="connsiteY22" fmla="*/ 351501 h 394309"/>
                    <a:gd name="connsiteX23" fmla="*/ 88348 w 374831"/>
                    <a:gd name="connsiteY23" fmla="*/ 346548 h 394309"/>
                    <a:gd name="connsiteX24" fmla="*/ 57840 w 374831"/>
                    <a:gd name="connsiteY24" fmla="*/ 334146 h 394309"/>
                    <a:gd name="connsiteX25" fmla="*/ 28169 w 374831"/>
                    <a:gd name="connsiteY25" fmla="*/ 340033 h 394309"/>
                    <a:gd name="connsiteX26" fmla="*/ 15215 w 374831"/>
                    <a:gd name="connsiteY26" fmla="*/ 344643 h 394309"/>
                    <a:gd name="connsiteX27" fmla="*/ 8652 w 374831"/>
                    <a:gd name="connsiteY27" fmla="*/ 360588 h 394309"/>
                    <a:gd name="connsiteX28" fmla="*/ 15063 w 374831"/>
                    <a:gd name="connsiteY28" fmla="*/ 328346 h 394309"/>
                    <a:gd name="connsiteX29" fmla="*/ 26626 w 374831"/>
                    <a:gd name="connsiteY29" fmla="*/ 297390 h 394309"/>
                    <a:gd name="connsiteX30" fmla="*/ 23778 w 374831"/>
                    <a:gd name="connsiteY30" fmla="*/ 266462 h 394309"/>
                    <a:gd name="connsiteX31" fmla="*/ 16834 w 374831"/>
                    <a:gd name="connsiteY31" fmla="*/ 253375 h 394309"/>
                    <a:gd name="connsiteX32" fmla="*/ 20759 w 374831"/>
                    <a:gd name="connsiteY32" fmla="*/ 244840 h 394309"/>
                    <a:gd name="connsiteX33" fmla="*/ 16434 w 374831"/>
                    <a:gd name="connsiteY33" fmla="*/ 246088 h 394309"/>
                    <a:gd name="connsiteX34" fmla="*/ 23949 w 374831"/>
                    <a:gd name="connsiteY34" fmla="*/ 224361 h 394309"/>
                    <a:gd name="connsiteX35" fmla="*/ 15749 w 374831"/>
                    <a:gd name="connsiteY35" fmla="*/ 207140 h 394309"/>
                    <a:gd name="connsiteX36" fmla="*/ 7366 w 374831"/>
                    <a:gd name="connsiteY36" fmla="*/ 198634 h 394309"/>
                    <a:gd name="connsiteX37" fmla="*/ 127 w 374831"/>
                    <a:gd name="connsiteY37" fmla="*/ 204102 h 394309"/>
                    <a:gd name="connsiteX38" fmla="*/ 3309 w 374831"/>
                    <a:gd name="connsiteY38" fmla="*/ 188547 h 394309"/>
                    <a:gd name="connsiteX39" fmla="*/ 17911 w 374831"/>
                    <a:gd name="connsiteY39" fmla="*/ 187604 h 394309"/>
                    <a:gd name="connsiteX40" fmla="*/ 54001 w 374831"/>
                    <a:gd name="connsiteY40" fmla="*/ 187566 h 394309"/>
                    <a:gd name="connsiteX41" fmla="*/ 123657 w 374831"/>
                    <a:gd name="connsiteY41" fmla="*/ 187481 h 394309"/>
                    <a:gd name="connsiteX42" fmla="*/ 122981 w 374831"/>
                    <a:gd name="connsiteY42" fmla="*/ 157277 h 394309"/>
                    <a:gd name="connsiteX43" fmla="*/ 129715 w 374831"/>
                    <a:gd name="connsiteY43" fmla="*/ 132131 h 394309"/>
                    <a:gd name="connsiteX44" fmla="*/ 141021 w 374831"/>
                    <a:gd name="connsiteY44" fmla="*/ 125740 h 394309"/>
                    <a:gd name="connsiteX45" fmla="*/ 156528 w 374831"/>
                    <a:gd name="connsiteY45" fmla="*/ 120301 h 394309"/>
                    <a:gd name="connsiteX46" fmla="*/ 158042 w 374831"/>
                    <a:gd name="connsiteY46" fmla="*/ 90468 h 394309"/>
                    <a:gd name="connsiteX47" fmla="*/ 159357 w 374831"/>
                    <a:gd name="connsiteY47" fmla="*/ 60465 h 394309"/>
                    <a:gd name="connsiteX48" fmla="*/ 160043 w 374831"/>
                    <a:gd name="connsiteY48" fmla="*/ 45529 h 394309"/>
                    <a:gd name="connsiteX49" fmla="*/ 161452 w 374831"/>
                    <a:gd name="connsiteY49" fmla="*/ 40643 h 394309"/>
                    <a:gd name="connsiteX50" fmla="*/ 170292 w 374831"/>
                    <a:gd name="connsiteY50" fmla="*/ 40653 h 394309"/>
                    <a:gd name="connsiteX51" fmla="*/ 228823 w 374831"/>
                    <a:gd name="connsiteY51" fmla="*/ 40643 h 394309"/>
                    <a:gd name="connsiteX52" fmla="*/ 260017 w 374831"/>
                    <a:gd name="connsiteY52" fmla="*/ 39691 h 394309"/>
                    <a:gd name="connsiteX53" fmla="*/ 260693 w 374831"/>
                    <a:gd name="connsiteY53" fmla="*/ 18850 h 394309"/>
                    <a:gd name="connsiteX54" fmla="*/ 261322 w 374831"/>
                    <a:gd name="connsiteY54" fmla="*/ 0 h 394309"/>
                    <a:gd name="connsiteX55" fmla="*/ 374832 w 374831"/>
                    <a:gd name="connsiteY55" fmla="*/ 72142 h 394309"/>
                    <a:gd name="connsiteX56" fmla="*/ 321644 w 374831"/>
                    <a:gd name="connsiteY56" fmla="*/ 72171 h 394309"/>
                    <a:gd name="connsiteX57" fmla="*/ 331959 w 374831"/>
                    <a:gd name="connsiteY57" fmla="*/ 188995 h 394309"/>
                    <a:gd name="connsiteX58" fmla="*/ 331959 w 374831"/>
                    <a:gd name="connsiteY58" fmla="*/ 188995 h 3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74831" h="394309">
                      <a:moveTo>
                        <a:pt x="331959" y="188995"/>
                      </a:moveTo>
                      <a:cubicBezTo>
                        <a:pt x="335627" y="229867"/>
                        <a:pt x="339494" y="270720"/>
                        <a:pt x="343504" y="311544"/>
                      </a:cubicBezTo>
                      <a:cubicBezTo>
                        <a:pt x="344361" y="320269"/>
                        <a:pt x="343494" y="332165"/>
                        <a:pt x="347790" y="339557"/>
                      </a:cubicBezTo>
                      <a:cubicBezTo>
                        <a:pt x="351114" y="345272"/>
                        <a:pt x="353248" y="344519"/>
                        <a:pt x="353181" y="351149"/>
                      </a:cubicBezTo>
                      <a:cubicBezTo>
                        <a:pt x="353143" y="355397"/>
                        <a:pt x="351905" y="364074"/>
                        <a:pt x="349981" y="367846"/>
                      </a:cubicBezTo>
                      <a:cubicBezTo>
                        <a:pt x="347342" y="373018"/>
                        <a:pt x="343675" y="371361"/>
                        <a:pt x="337417" y="371361"/>
                      </a:cubicBezTo>
                      <a:cubicBezTo>
                        <a:pt x="332493" y="371361"/>
                        <a:pt x="327568" y="371351"/>
                        <a:pt x="322634" y="371351"/>
                      </a:cubicBezTo>
                      <a:cubicBezTo>
                        <a:pt x="312500" y="371351"/>
                        <a:pt x="302365" y="371351"/>
                        <a:pt x="292221" y="371361"/>
                      </a:cubicBezTo>
                      <a:cubicBezTo>
                        <a:pt x="280667" y="371361"/>
                        <a:pt x="269114" y="371361"/>
                        <a:pt x="257550" y="371361"/>
                      </a:cubicBezTo>
                      <a:cubicBezTo>
                        <a:pt x="251740" y="371361"/>
                        <a:pt x="228280" y="375133"/>
                        <a:pt x="230575" y="365655"/>
                      </a:cubicBezTo>
                      <a:cubicBezTo>
                        <a:pt x="228689" y="366341"/>
                        <a:pt x="228813" y="367903"/>
                        <a:pt x="227508" y="368884"/>
                      </a:cubicBezTo>
                      <a:cubicBezTo>
                        <a:pt x="225870" y="370113"/>
                        <a:pt x="227651" y="371246"/>
                        <a:pt x="224441" y="373047"/>
                      </a:cubicBezTo>
                      <a:cubicBezTo>
                        <a:pt x="220003" y="375542"/>
                        <a:pt x="211163" y="375447"/>
                        <a:pt x="206287" y="374904"/>
                      </a:cubicBezTo>
                      <a:cubicBezTo>
                        <a:pt x="201315" y="374352"/>
                        <a:pt x="195552" y="371627"/>
                        <a:pt x="190485" y="373504"/>
                      </a:cubicBezTo>
                      <a:cubicBezTo>
                        <a:pt x="184465" y="375733"/>
                        <a:pt x="185131" y="382562"/>
                        <a:pt x="179416" y="380514"/>
                      </a:cubicBezTo>
                      <a:cubicBezTo>
                        <a:pt x="174368" y="378705"/>
                        <a:pt x="171130" y="369341"/>
                        <a:pt x="166158" y="368008"/>
                      </a:cubicBezTo>
                      <a:cubicBezTo>
                        <a:pt x="161529" y="366760"/>
                        <a:pt x="156738" y="371599"/>
                        <a:pt x="154613" y="376209"/>
                      </a:cubicBezTo>
                      <a:cubicBezTo>
                        <a:pt x="150480" y="385181"/>
                        <a:pt x="149718" y="401136"/>
                        <a:pt x="136182" y="391116"/>
                      </a:cubicBezTo>
                      <a:cubicBezTo>
                        <a:pt x="132715" y="388544"/>
                        <a:pt x="128077" y="385058"/>
                        <a:pt x="124924" y="382029"/>
                      </a:cubicBezTo>
                      <a:cubicBezTo>
                        <a:pt x="121485" y="378724"/>
                        <a:pt x="122667" y="376628"/>
                        <a:pt x="119666" y="372713"/>
                      </a:cubicBezTo>
                      <a:cubicBezTo>
                        <a:pt x="118266" y="370884"/>
                        <a:pt x="115180" y="369922"/>
                        <a:pt x="113275" y="367998"/>
                      </a:cubicBezTo>
                      <a:cubicBezTo>
                        <a:pt x="109598" y="364284"/>
                        <a:pt x="109389" y="356673"/>
                        <a:pt x="104798" y="353130"/>
                      </a:cubicBezTo>
                      <a:cubicBezTo>
                        <a:pt x="101893" y="350901"/>
                        <a:pt x="100702" y="351892"/>
                        <a:pt x="97044" y="351501"/>
                      </a:cubicBezTo>
                      <a:cubicBezTo>
                        <a:pt x="92996" y="351063"/>
                        <a:pt x="91529" y="349996"/>
                        <a:pt x="88348" y="346548"/>
                      </a:cubicBezTo>
                      <a:cubicBezTo>
                        <a:pt x="80109" y="337604"/>
                        <a:pt x="70336" y="332765"/>
                        <a:pt x="57840" y="334146"/>
                      </a:cubicBezTo>
                      <a:cubicBezTo>
                        <a:pt x="49400" y="335080"/>
                        <a:pt x="38656" y="341319"/>
                        <a:pt x="28169" y="340033"/>
                      </a:cubicBezTo>
                      <a:cubicBezTo>
                        <a:pt x="20349" y="339071"/>
                        <a:pt x="19949" y="337099"/>
                        <a:pt x="15215" y="344643"/>
                      </a:cubicBezTo>
                      <a:cubicBezTo>
                        <a:pt x="11881" y="349958"/>
                        <a:pt x="11424" y="355016"/>
                        <a:pt x="8652" y="360588"/>
                      </a:cubicBezTo>
                      <a:cubicBezTo>
                        <a:pt x="9100" y="349101"/>
                        <a:pt x="10357" y="338938"/>
                        <a:pt x="15063" y="328346"/>
                      </a:cubicBezTo>
                      <a:cubicBezTo>
                        <a:pt x="19654" y="318030"/>
                        <a:pt x="25435" y="308943"/>
                        <a:pt x="26626" y="297390"/>
                      </a:cubicBezTo>
                      <a:cubicBezTo>
                        <a:pt x="27712" y="286817"/>
                        <a:pt x="26007" y="276720"/>
                        <a:pt x="23778" y="266462"/>
                      </a:cubicBezTo>
                      <a:cubicBezTo>
                        <a:pt x="22387" y="260071"/>
                        <a:pt x="19454" y="258489"/>
                        <a:pt x="16834" y="253375"/>
                      </a:cubicBezTo>
                      <a:cubicBezTo>
                        <a:pt x="12996" y="245869"/>
                        <a:pt x="18158" y="251822"/>
                        <a:pt x="20759" y="244840"/>
                      </a:cubicBezTo>
                      <a:cubicBezTo>
                        <a:pt x="19415" y="245469"/>
                        <a:pt x="17787" y="245478"/>
                        <a:pt x="16434" y="246088"/>
                      </a:cubicBezTo>
                      <a:cubicBezTo>
                        <a:pt x="20149" y="239306"/>
                        <a:pt x="24588" y="232410"/>
                        <a:pt x="23949" y="224361"/>
                      </a:cubicBezTo>
                      <a:cubicBezTo>
                        <a:pt x="23626" y="220418"/>
                        <a:pt x="20521" y="209026"/>
                        <a:pt x="15749" y="207140"/>
                      </a:cubicBezTo>
                      <a:cubicBezTo>
                        <a:pt x="14853" y="216589"/>
                        <a:pt x="8567" y="200206"/>
                        <a:pt x="7366" y="198634"/>
                      </a:cubicBezTo>
                      <a:cubicBezTo>
                        <a:pt x="2318" y="192053"/>
                        <a:pt x="1966" y="197034"/>
                        <a:pt x="127" y="204102"/>
                      </a:cubicBezTo>
                      <a:cubicBezTo>
                        <a:pt x="-454" y="201273"/>
                        <a:pt x="1013" y="190605"/>
                        <a:pt x="3309" y="188547"/>
                      </a:cubicBezTo>
                      <a:cubicBezTo>
                        <a:pt x="5833" y="186271"/>
                        <a:pt x="13910" y="187604"/>
                        <a:pt x="17911" y="187604"/>
                      </a:cubicBezTo>
                      <a:cubicBezTo>
                        <a:pt x="29941" y="187595"/>
                        <a:pt x="41971" y="187576"/>
                        <a:pt x="54001" y="187566"/>
                      </a:cubicBezTo>
                      <a:cubicBezTo>
                        <a:pt x="77223" y="187538"/>
                        <a:pt x="100435" y="187509"/>
                        <a:pt x="123657" y="187481"/>
                      </a:cubicBezTo>
                      <a:cubicBezTo>
                        <a:pt x="123429" y="177413"/>
                        <a:pt x="123200" y="167345"/>
                        <a:pt x="122981" y="157277"/>
                      </a:cubicBezTo>
                      <a:cubicBezTo>
                        <a:pt x="122714" y="145266"/>
                        <a:pt x="118790" y="140303"/>
                        <a:pt x="129715" y="132131"/>
                      </a:cubicBezTo>
                      <a:cubicBezTo>
                        <a:pt x="133277" y="129464"/>
                        <a:pt x="136983" y="127273"/>
                        <a:pt x="141021" y="125740"/>
                      </a:cubicBezTo>
                      <a:cubicBezTo>
                        <a:pt x="145050" y="124206"/>
                        <a:pt x="153728" y="124216"/>
                        <a:pt x="156528" y="120301"/>
                      </a:cubicBezTo>
                      <a:cubicBezTo>
                        <a:pt x="160271" y="115081"/>
                        <a:pt x="157747" y="96993"/>
                        <a:pt x="158042" y="90468"/>
                      </a:cubicBezTo>
                      <a:cubicBezTo>
                        <a:pt x="158480" y="80467"/>
                        <a:pt x="158909" y="70466"/>
                        <a:pt x="159357" y="60465"/>
                      </a:cubicBezTo>
                      <a:cubicBezTo>
                        <a:pt x="159566" y="55836"/>
                        <a:pt x="158804" y="49978"/>
                        <a:pt x="160043" y="45529"/>
                      </a:cubicBezTo>
                      <a:cubicBezTo>
                        <a:pt x="160795" y="42815"/>
                        <a:pt x="159519" y="42015"/>
                        <a:pt x="161452" y="40643"/>
                      </a:cubicBezTo>
                      <a:cubicBezTo>
                        <a:pt x="162567" y="39853"/>
                        <a:pt x="169110" y="40653"/>
                        <a:pt x="170292" y="40653"/>
                      </a:cubicBezTo>
                      <a:cubicBezTo>
                        <a:pt x="189799" y="40653"/>
                        <a:pt x="209315" y="40653"/>
                        <a:pt x="228823" y="40643"/>
                      </a:cubicBezTo>
                      <a:cubicBezTo>
                        <a:pt x="234547" y="40643"/>
                        <a:pt x="257322" y="43301"/>
                        <a:pt x="260017" y="39691"/>
                      </a:cubicBezTo>
                      <a:cubicBezTo>
                        <a:pt x="262503" y="36366"/>
                        <a:pt x="260550" y="23174"/>
                        <a:pt x="260693" y="18850"/>
                      </a:cubicBezTo>
                      <a:cubicBezTo>
                        <a:pt x="260893" y="12563"/>
                        <a:pt x="261141" y="6287"/>
                        <a:pt x="261322" y="0"/>
                      </a:cubicBezTo>
                      <a:cubicBezTo>
                        <a:pt x="299155" y="24041"/>
                        <a:pt x="337312" y="47606"/>
                        <a:pt x="374832" y="72142"/>
                      </a:cubicBezTo>
                      <a:cubicBezTo>
                        <a:pt x="357105" y="72152"/>
                        <a:pt x="339370" y="72161"/>
                        <a:pt x="321644" y="72171"/>
                      </a:cubicBezTo>
                      <a:cubicBezTo>
                        <a:pt x="325073" y="111100"/>
                        <a:pt x="328416" y="150057"/>
                        <a:pt x="331959" y="188995"/>
                      </a:cubicBezTo>
                      <a:lnTo>
                        <a:pt x="331959" y="188995"/>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00" name="Freeform: Shape 599">
                  <a:extLst>
                    <a:ext uri="{FF2B5EF4-FFF2-40B4-BE49-F238E27FC236}">
                      <a16:creationId xmlns:a16="http://schemas.microsoft.com/office/drawing/2014/main" id="{B1206A8A-21BC-41F9-81C4-5B7C2DE9D844}"/>
                    </a:ext>
                  </a:extLst>
                </p:cNvPr>
                <p:cNvSpPr/>
                <p:nvPr/>
              </p:nvSpPr>
              <p:spPr>
                <a:xfrm>
                  <a:off x="6529086" y="4694546"/>
                  <a:ext cx="332675" cy="516106"/>
                </a:xfrm>
                <a:custGeom>
                  <a:avLst/>
                  <a:gdLst>
                    <a:gd name="connsiteX0" fmla="*/ 44573 w 332675"/>
                    <a:gd name="connsiteY0" fmla="*/ 516103 h 516106"/>
                    <a:gd name="connsiteX1" fmla="*/ 21569 w 332675"/>
                    <a:gd name="connsiteY1" fmla="*/ 515788 h 516106"/>
                    <a:gd name="connsiteX2" fmla="*/ 21836 w 332675"/>
                    <a:gd name="connsiteY2" fmla="*/ 497691 h 516106"/>
                    <a:gd name="connsiteX3" fmla="*/ 22579 w 332675"/>
                    <a:gd name="connsiteY3" fmla="*/ 489556 h 516106"/>
                    <a:gd name="connsiteX4" fmla="*/ 19979 w 332675"/>
                    <a:gd name="connsiteY4" fmla="*/ 482212 h 516106"/>
                    <a:gd name="connsiteX5" fmla="*/ 24351 w 332675"/>
                    <a:gd name="connsiteY5" fmla="*/ 462153 h 516106"/>
                    <a:gd name="connsiteX6" fmla="*/ 26589 w 332675"/>
                    <a:gd name="connsiteY6" fmla="*/ 442693 h 516106"/>
                    <a:gd name="connsiteX7" fmla="*/ 18160 w 332675"/>
                    <a:gd name="connsiteY7" fmla="*/ 411718 h 516106"/>
                    <a:gd name="connsiteX8" fmla="*/ 16112 w 332675"/>
                    <a:gd name="connsiteY8" fmla="*/ 394440 h 516106"/>
                    <a:gd name="connsiteX9" fmla="*/ 12845 w 332675"/>
                    <a:gd name="connsiteY9" fmla="*/ 376418 h 516106"/>
                    <a:gd name="connsiteX10" fmla="*/ 27313 w 332675"/>
                    <a:gd name="connsiteY10" fmla="*/ 363388 h 516106"/>
                    <a:gd name="connsiteX11" fmla="*/ 41896 w 332675"/>
                    <a:gd name="connsiteY11" fmla="*/ 349415 h 516106"/>
                    <a:gd name="connsiteX12" fmla="*/ 49201 w 332675"/>
                    <a:gd name="connsiteY12" fmla="*/ 342424 h 516106"/>
                    <a:gd name="connsiteX13" fmla="*/ 49468 w 332675"/>
                    <a:gd name="connsiteY13" fmla="*/ 336566 h 516106"/>
                    <a:gd name="connsiteX14" fmla="*/ 53764 w 332675"/>
                    <a:gd name="connsiteY14" fmla="*/ 329784 h 516106"/>
                    <a:gd name="connsiteX15" fmla="*/ 54793 w 332675"/>
                    <a:gd name="connsiteY15" fmla="*/ 321973 h 516106"/>
                    <a:gd name="connsiteX16" fmla="*/ 72824 w 332675"/>
                    <a:gd name="connsiteY16" fmla="*/ 295151 h 516106"/>
                    <a:gd name="connsiteX17" fmla="*/ 68737 w 332675"/>
                    <a:gd name="connsiteY17" fmla="*/ 278787 h 516106"/>
                    <a:gd name="connsiteX18" fmla="*/ 70623 w 332675"/>
                    <a:gd name="connsiteY18" fmla="*/ 271777 h 516106"/>
                    <a:gd name="connsiteX19" fmla="*/ 66832 w 332675"/>
                    <a:gd name="connsiteY19" fmla="*/ 267957 h 516106"/>
                    <a:gd name="connsiteX20" fmla="*/ 73928 w 332675"/>
                    <a:gd name="connsiteY20" fmla="*/ 256699 h 516106"/>
                    <a:gd name="connsiteX21" fmla="*/ 76929 w 332675"/>
                    <a:gd name="connsiteY21" fmla="*/ 240449 h 516106"/>
                    <a:gd name="connsiteX22" fmla="*/ 79558 w 332675"/>
                    <a:gd name="connsiteY22" fmla="*/ 217722 h 516106"/>
                    <a:gd name="connsiteX23" fmla="*/ 80425 w 332675"/>
                    <a:gd name="connsiteY23" fmla="*/ 196805 h 516106"/>
                    <a:gd name="connsiteX24" fmla="*/ 65137 w 332675"/>
                    <a:gd name="connsiteY24" fmla="*/ 190443 h 516106"/>
                    <a:gd name="connsiteX25" fmla="*/ 54717 w 332675"/>
                    <a:gd name="connsiteY25" fmla="*/ 188195 h 516106"/>
                    <a:gd name="connsiteX26" fmla="*/ 44706 w 332675"/>
                    <a:gd name="connsiteY26" fmla="*/ 182880 h 516106"/>
                    <a:gd name="connsiteX27" fmla="*/ 27952 w 332675"/>
                    <a:gd name="connsiteY27" fmla="*/ 175050 h 516106"/>
                    <a:gd name="connsiteX28" fmla="*/ 5568 w 332675"/>
                    <a:gd name="connsiteY28" fmla="*/ 174250 h 516106"/>
                    <a:gd name="connsiteX29" fmla="*/ 3996 w 332675"/>
                    <a:gd name="connsiteY29" fmla="*/ 158353 h 516106"/>
                    <a:gd name="connsiteX30" fmla="*/ 634 w 332675"/>
                    <a:gd name="connsiteY30" fmla="*/ 142580 h 516106"/>
                    <a:gd name="connsiteX31" fmla="*/ 21236 w 332675"/>
                    <a:gd name="connsiteY31" fmla="*/ 135360 h 516106"/>
                    <a:gd name="connsiteX32" fmla="*/ 42658 w 332675"/>
                    <a:gd name="connsiteY32" fmla="*/ 129216 h 516106"/>
                    <a:gd name="connsiteX33" fmla="*/ 81320 w 332675"/>
                    <a:gd name="connsiteY33" fmla="*/ 116224 h 516106"/>
                    <a:gd name="connsiteX34" fmla="*/ 96465 w 332675"/>
                    <a:gd name="connsiteY34" fmla="*/ 113605 h 516106"/>
                    <a:gd name="connsiteX35" fmla="*/ 107990 w 332675"/>
                    <a:gd name="connsiteY35" fmla="*/ 128797 h 516106"/>
                    <a:gd name="connsiteX36" fmla="*/ 134250 w 332675"/>
                    <a:gd name="connsiteY36" fmla="*/ 136312 h 516106"/>
                    <a:gd name="connsiteX37" fmla="*/ 130126 w 332675"/>
                    <a:gd name="connsiteY37" fmla="*/ 156924 h 516106"/>
                    <a:gd name="connsiteX38" fmla="*/ 123545 w 332675"/>
                    <a:gd name="connsiteY38" fmla="*/ 171993 h 516106"/>
                    <a:gd name="connsiteX39" fmla="*/ 126764 w 332675"/>
                    <a:gd name="connsiteY39" fmla="*/ 177698 h 516106"/>
                    <a:gd name="connsiteX40" fmla="*/ 127716 w 332675"/>
                    <a:gd name="connsiteY40" fmla="*/ 183042 h 516106"/>
                    <a:gd name="connsiteX41" fmla="*/ 141185 w 332675"/>
                    <a:gd name="connsiteY41" fmla="*/ 197996 h 516106"/>
                    <a:gd name="connsiteX42" fmla="*/ 146585 w 332675"/>
                    <a:gd name="connsiteY42" fmla="*/ 202787 h 516106"/>
                    <a:gd name="connsiteX43" fmla="*/ 145090 w 332675"/>
                    <a:gd name="connsiteY43" fmla="*/ 208893 h 516106"/>
                    <a:gd name="connsiteX44" fmla="*/ 152062 w 332675"/>
                    <a:gd name="connsiteY44" fmla="*/ 200692 h 516106"/>
                    <a:gd name="connsiteX45" fmla="*/ 152357 w 332675"/>
                    <a:gd name="connsiteY45" fmla="*/ 185690 h 516106"/>
                    <a:gd name="connsiteX46" fmla="*/ 166331 w 332675"/>
                    <a:gd name="connsiteY46" fmla="*/ 177641 h 516106"/>
                    <a:gd name="connsiteX47" fmla="*/ 172303 w 332675"/>
                    <a:gd name="connsiteY47" fmla="*/ 160191 h 516106"/>
                    <a:gd name="connsiteX48" fmla="*/ 176075 w 332675"/>
                    <a:gd name="connsiteY48" fmla="*/ 139494 h 516106"/>
                    <a:gd name="connsiteX49" fmla="*/ 156758 w 332675"/>
                    <a:gd name="connsiteY49" fmla="*/ 106023 h 516106"/>
                    <a:gd name="connsiteX50" fmla="*/ 149081 w 332675"/>
                    <a:gd name="connsiteY50" fmla="*/ 97602 h 516106"/>
                    <a:gd name="connsiteX51" fmla="*/ 140889 w 332675"/>
                    <a:gd name="connsiteY51" fmla="*/ 94831 h 516106"/>
                    <a:gd name="connsiteX52" fmla="*/ 138032 w 332675"/>
                    <a:gd name="connsiteY52" fmla="*/ 76638 h 516106"/>
                    <a:gd name="connsiteX53" fmla="*/ 134660 w 332675"/>
                    <a:gd name="connsiteY53" fmla="*/ 55435 h 516106"/>
                    <a:gd name="connsiteX54" fmla="*/ 141870 w 332675"/>
                    <a:gd name="connsiteY54" fmla="*/ 41920 h 516106"/>
                    <a:gd name="connsiteX55" fmla="*/ 156558 w 332675"/>
                    <a:gd name="connsiteY55" fmla="*/ 35052 h 516106"/>
                    <a:gd name="connsiteX56" fmla="*/ 173398 w 332675"/>
                    <a:gd name="connsiteY56" fmla="*/ 35795 h 516106"/>
                    <a:gd name="connsiteX57" fmla="*/ 189581 w 332675"/>
                    <a:gd name="connsiteY57" fmla="*/ 33804 h 516106"/>
                    <a:gd name="connsiteX58" fmla="*/ 205374 w 332675"/>
                    <a:gd name="connsiteY58" fmla="*/ 38881 h 516106"/>
                    <a:gd name="connsiteX59" fmla="*/ 214013 w 332675"/>
                    <a:gd name="connsiteY59" fmla="*/ 34919 h 516106"/>
                    <a:gd name="connsiteX60" fmla="*/ 223080 w 332675"/>
                    <a:gd name="connsiteY60" fmla="*/ 37852 h 516106"/>
                    <a:gd name="connsiteX61" fmla="*/ 242436 w 332675"/>
                    <a:gd name="connsiteY61" fmla="*/ 33594 h 516106"/>
                    <a:gd name="connsiteX62" fmla="*/ 256618 w 332675"/>
                    <a:gd name="connsiteY62" fmla="*/ 25917 h 516106"/>
                    <a:gd name="connsiteX63" fmla="*/ 265400 w 332675"/>
                    <a:gd name="connsiteY63" fmla="*/ 29661 h 516106"/>
                    <a:gd name="connsiteX64" fmla="*/ 274459 w 332675"/>
                    <a:gd name="connsiteY64" fmla="*/ 24270 h 516106"/>
                    <a:gd name="connsiteX65" fmla="*/ 294280 w 332675"/>
                    <a:gd name="connsiteY65" fmla="*/ 18707 h 516106"/>
                    <a:gd name="connsiteX66" fmla="*/ 312530 w 332675"/>
                    <a:gd name="connsiteY66" fmla="*/ 11421 h 516106"/>
                    <a:gd name="connsiteX67" fmla="*/ 328465 w 332675"/>
                    <a:gd name="connsiteY67" fmla="*/ 0 h 516106"/>
                    <a:gd name="connsiteX68" fmla="*/ 332675 w 332675"/>
                    <a:gd name="connsiteY68" fmla="*/ 6201 h 516106"/>
                    <a:gd name="connsiteX69" fmla="*/ 328561 w 332675"/>
                    <a:gd name="connsiteY69" fmla="*/ 9477 h 516106"/>
                    <a:gd name="connsiteX70" fmla="*/ 331875 w 332675"/>
                    <a:gd name="connsiteY70" fmla="*/ 11544 h 516106"/>
                    <a:gd name="connsiteX71" fmla="*/ 329494 w 332675"/>
                    <a:gd name="connsiteY71" fmla="*/ 18307 h 516106"/>
                    <a:gd name="connsiteX72" fmla="*/ 325456 w 332675"/>
                    <a:gd name="connsiteY72" fmla="*/ 25241 h 516106"/>
                    <a:gd name="connsiteX73" fmla="*/ 326655 w 332675"/>
                    <a:gd name="connsiteY73" fmla="*/ 45748 h 516106"/>
                    <a:gd name="connsiteX74" fmla="*/ 325617 w 332675"/>
                    <a:gd name="connsiteY74" fmla="*/ 64427 h 516106"/>
                    <a:gd name="connsiteX75" fmla="*/ 326322 w 332675"/>
                    <a:gd name="connsiteY75" fmla="*/ 73314 h 516106"/>
                    <a:gd name="connsiteX76" fmla="*/ 321941 w 332675"/>
                    <a:gd name="connsiteY76" fmla="*/ 79343 h 516106"/>
                    <a:gd name="connsiteX77" fmla="*/ 326036 w 332675"/>
                    <a:gd name="connsiteY77" fmla="*/ 79391 h 516106"/>
                    <a:gd name="connsiteX78" fmla="*/ 324493 w 332675"/>
                    <a:gd name="connsiteY78" fmla="*/ 106499 h 516106"/>
                    <a:gd name="connsiteX79" fmla="*/ 323903 w 332675"/>
                    <a:gd name="connsiteY79" fmla="*/ 115252 h 516106"/>
                    <a:gd name="connsiteX80" fmla="*/ 325865 w 332675"/>
                    <a:gd name="connsiteY80" fmla="*/ 117777 h 516106"/>
                    <a:gd name="connsiteX81" fmla="*/ 325817 w 332675"/>
                    <a:gd name="connsiteY81" fmla="*/ 122110 h 516106"/>
                    <a:gd name="connsiteX82" fmla="*/ 324322 w 332675"/>
                    <a:gd name="connsiteY82" fmla="*/ 128359 h 516106"/>
                    <a:gd name="connsiteX83" fmla="*/ 329580 w 332675"/>
                    <a:gd name="connsiteY83" fmla="*/ 135741 h 516106"/>
                    <a:gd name="connsiteX84" fmla="*/ 324255 w 332675"/>
                    <a:gd name="connsiteY84" fmla="*/ 143675 h 516106"/>
                    <a:gd name="connsiteX85" fmla="*/ 322417 w 332675"/>
                    <a:gd name="connsiteY85" fmla="*/ 145742 h 516106"/>
                    <a:gd name="connsiteX86" fmla="*/ 322541 w 332675"/>
                    <a:gd name="connsiteY86" fmla="*/ 150019 h 516106"/>
                    <a:gd name="connsiteX87" fmla="*/ 307349 w 332675"/>
                    <a:gd name="connsiteY87" fmla="*/ 169764 h 516106"/>
                    <a:gd name="connsiteX88" fmla="*/ 302595 w 332675"/>
                    <a:gd name="connsiteY88" fmla="*/ 176841 h 516106"/>
                    <a:gd name="connsiteX89" fmla="*/ 292727 w 332675"/>
                    <a:gd name="connsiteY89" fmla="*/ 183661 h 516106"/>
                    <a:gd name="connsiteX90" fmla="*/ 292651 w 332675"/>
                    <a:gd name="connsiteY90" fmla="*/ 188614 h 516106"/>
                    <a:gd name="connsiteX91" fmla="*/ 287460 w 332675"/>
                    <a:gd name="connsiteY91" fmla="*/ 192081 h 516106"/>
                    <a:gd name="connsiteX92" fmla="*/ 274496 w 332675"/>
                    <a:gd name="connsiteY92" fmla="*/ 199206 h 516106"/>
                    <a:gd name="connsiteX93" fmla="*/ 267743 w 332675"/>
                    <a:gd name="connsiteY93" fmla="*/ 205292 h 516106"/>
                    <a:gd name="connsiteX94" fmla="*/ 257180 w 332675"/>
                    <a:gd name="connsiteY94" fmla="*/ 207321 h 516106"/>
                    <a:gd name="connsiteX95" fmla="*/ 212069 w 332675"/>
                    <a:gd name="connsiteY95" fmla="*/ 227809 h 516106"/>
                    <a:gd name="connsiteX96" fmla="*/ 194753 w 332675"/>
                    <a:gd name="connsiteY96" fmla="*/ 245078 h 516106"/>
                    <a:gd name="connsiteX97" fmla="*/ 184962 w 332675"/>
                    <a:gd name="connsiteY97" fmla="*/ 254603 h 516106"/>
                    <a:gd name="connsiteX98" fmla="*/ 176551 w 332675"/>
                    <a:gd name="connsiteY98" fmla="*/ 260042 h 516106"/>
                    <a:gd name="connsiteX99" fmla="*/ 165197 w 332675"/>
                    <a:gd name="connsiteY99" fmla="*/ 267386 h 516106"/>
                    <a:gd name="connsiteX100" fmla="*/ 150662 w 332675"/>
                    <a:gd name="connsiteY100" fmla="*/ 280102 h 516106"/>
                    <a:gd name="connsiteX101" fmla="*/ 135746 w 332675"/>
                    <a:gd name="connsiteY101" fmla="*/ 292303 h 516106"/>
                    <a:gd name="connsiteX102" fmla="*/ 124011 w 332675"/>
                    <a:gd name="connsiteY102" fmla="*/ 290960 h 516106"/>
                    <a:gd name="connsiteX103" fmla="*/ 123192 w 332675"/>
                    <a:gd name="connsiteY103" fmla="*/ 313096 h 516106"/>
                    <a:gd name="connsiteX104" fmla="*/ 131898 w 332675"/>
                    <a:gd name="connsiteY104" fmla="*/ 331879 h 516106"/>
                    <a:gd name="connsiteX105" fmla="*/ 136108 w 332675"/>
                    <a:gd name="connsiteY105" fmla="*/ 354111 h 516106"/>
                    <a:gd name="connsiteX106" fmla="*/ 136803 w 332675"/>
                    <a:gd name="connsiteY106" fmla="*/ 377685 h 516106"/>
                    <a:gd name="connsiteX107" fmla="*/ 141756 w 332675"/>
                    <a:gd name="connsiteY107" fmla="*/ 370256 h 516106"/>
                    <a:gd name="connsiteX108" fmla="*/ 139441 w 332675"/>
                    <a:gd name="connsiteY108" fmla="*/ 388144 h 516106"/>
                    <a:gd name="connsiteX109" fmla="*/ 138156 w 332675"/>
                    <a:gd name="connsiteY109" fmla="*/ 399097 h 516106"/>
                    <a:gd name="connsiteX110" fmla="*/ 134231 w 332675"/>
                    <a:gd name="connsiteY110" fmla="*/ 410137 h 516106"/>
                    <a:gd name="connsiteX111" fmla="*/ 131469 w 332675"/>
                    <a:gd name="connsiteY111" fmla="*/ 420310 h 516106"/>
                    <a:gd name="connsiteX112" fmla="*/ 135946 w 332675"/>
                    <a:gd name="connsiteY112" fmla="*/ 419595 h 516106"/>
                    <a:gd name="connsiteX113" fmla="*/ 127030 w 332675"/>
                    <a:gd name="connsiteY113" fmla="*/ 437779 h 516106"/>
                    <a:gd name="connsiteX114" fmla="*/ 108114 w 332675"/>
                    <a:gd name="connsiteY114" fmla="*/ 450552 h 516106"/>
                    <a:gd name="connsiteX115" fmla="*/ 64489 w 332675"/>
                    <a:gd name="connsiteY115" fmla="*/ 466220 h 516106"/>
                    <a:gd name="connsiteX116" fmla="*/ 44687 w 332675"/>
                    <a:gd name="connsiteY116" fmla="*/ 481898 h 516106"/>
                    <a:gd name="connsiteX117" fmla="*/ 45801 w 332675"/>
                    <a:gd name="connsiteY117" fmla="*/ 497814 h 516106"/>
                    <a:gd name="connsiteX118" fmla="*/ 49707 w 332675"/>
                    <a:gd name="connsiteY118" fmla="*/ 492014 h 516106"/>
                    <a:gd name="connsiteX119" fmla="*/ 44573 w 332675"/>
                    <a:gd name="connsiteY119" fmla="*/ 516103 h 516106"/>
                    <a:gd name="connsiteX120" fmla="*/ 44573 w 332675"/>
                    <a:gd name="connsiteY120" fmla="*/ 516103 h 51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332675" h="516106">
                      <a:moveTo>
                        <a:pt x="44573" y="516103"/>
                      </a:moveTo>
                      <a:cubicBezTo>
                        <a:pt x="37162" y="516188"/>
                        <a:pt x="28752" y="515007"/>
                        <a:pt x="21569" y="515788"/>
                      </a:cubicBezTo>
                      <a:cubicBezTo>
                        <a:pt x="22236" y="509521"/>
                        <a:pt x="21379" y="503720"/>
                        <a:pt x="21836" y="497691"/>
                      </a:cubicBezTo>
                      <a:cubicBezTo>
                        <a:pt x="22055" y="494614"/>
                        <a:pt x="23170" y="492347"/>
                        <a:pt x="22579" y="489556"/>
                      </a:cubicBezTo>
                      <a:cubicBezTo>
                        <a:pt x="22018" y="486861"/>
                        <a:pt x="19312" y="486928"/>
                        <a:pt x="19979" y="482212"/>
                      </a:cubicBezTo>
                      <a:cubicBezTo>
                        <a:pt x="20874" y="475907"/>
                        <a:pt x="23465" y="468963"/>
                        <a:pt x="24351" y="462153"/>
                      </a:cubicBezTo>
                      <a:cubicBezTo>
                        <a:pt x="25170" y="455828"/>
                        <a:pt x="26503" y="449066"/>
                        <a:pt x="26589" y="442693"/>
                      </a:cubicBezTo>
                      <a:cubicBezTo>
                        <a:pt x="26780" y="431197"/>
                        <a:pt x="21217" y="422253"/>
                        <a:pt x="18160" y="411718"/>
                      </a:cubicBezTo>
                      <a:cubicBezTo>
                        <a:pt x="16607" y="406327"/>
                        <a:pt x="16969" y="400374"/>
                        <a:pt x="16112" y="394440"/>
                      </a:cubicBezTo>
                      <a:cubicBezTo>
                        <a:pt x="15492" y="390125"/>
                        <a:pt x="11378" y="380390"/>
                        <a:pt x="12845" y="376418"/>
                      </a:cubicBezTo>
                      <a:cubicBezTo>
                        <a:pt x="14197" y="372770"/>
                        <a:pt x="24132" y="366427"/>
                        <a:pt x="27313" y="363388"/>
                      </a:cubicBezTo>
                      <a:cubicBezTo>
                        <a:pt x="32171" y="358730"/>
                        <a:pt x="37038" y="354063"/>
                        <a:pt x="41896" y="349415"/>
                      </a:cubicBezTo>
                      <a:cubicBezTo>
                        <a:pt x="44077" y="347339"/>
                        <a:pt x="47868" y="345034"/>
                        <a:pt x="49201" y="342424"/>
                      </a:cubicBezTo>
                      <a:cubicBezTo>
                        <a:pt x="50554" y="339747"/>
                        <a:pt x="48621" y="339557"/>
                        <a:pt x="49468" y="336566"/>
                      </a:cubicBezTo>
                      <a:cubicBezTo>
                        <a:pt x="50154" y="334137"/>
                        <a:pt x="52879" y="332270"/>
                        <a:pt x="53764" y="329784"/>
                      </a:cubicBezTo>
                      <a:cubicBezTo>
                        <a:pt x="54641" y="327355"/>
                        <a:pt x="53640" y="324250"/>
                        <a:pt x="54793" y="321973"/>
                      </a:cubicBezTo>
                      <a:cubicBezTo>
                        <a:pt x="59184" y="313306"/>
                        <a:pt x="74310" y="307219"/>
                        <a:pt x="72824" y="295151"/>
                      </a:cubicBezTo>
                      <a:cubicBezTo>
                        <a:pt x="72033" y="288665"/>
                        <a:pt x="67538" y="285779"/>
                        <a:pt x="68737" y="278787"/>
                      </a:cubicBezTo>
                      <a:cubicBezTo>
                        <a:pt x="69137" y="276425"/>
                        <a:pt x="71176" y="274339"/>
                        <a:pt x="70623" y="271777"/>
                      </a:cubicBezTo>
                      <a:cubicBezTo>
                        <a:pt x="70157" y="269624"/>
                        <a:pt x="67128" y="269986"/>
                        <a:pt x="66832" y="267957"/>
                      </a:cubicBezTo>
                      <a:cubicBezTo>
                        <a:pt x="66137" y="263338"/>
                        <a:pt x="71909" y="260804"/>
                        <a:pt x="73928" y="256699"/>
                      </a:cubicBezTo>
                      <a:cubicBezTo>
                        <a:pt x="76996" y="250498"/>
                        <a:pt x="76929" y="246964"/>
                        <a:pt x="76929" y="240449"/>
                      </a:cubicBezTo>
                      <a:cubicBezTo>
                        <a:pt x="76929" y="232781"/>
                        <a:pt x="79529" y="225304"/>
                        <a:pt x="79558" y="217722"/>
                      </a:cubicBezTo>
                      <a:cubicBezTo>
                        <a:pt x="79596" y="209169"/>
                        <a:pt x="77815" y="205026"/>
                        <a:pt x="80425" y="196805"/>
                      </a:cubicBezTo>
                      <a:cubicBezTo>
                        <a:pt x="74262" y="196672"/>
                        <a:pt x="70757" y="192491"/>
                        <a:pt x="65137" y="190443"/>
                      </a:cubicBezTo>
                      <a:cubicBezTo>
                        <a:pt x="61432" y="189100"/>
                        <a:pt x="58355" y="189071"/>
                        <a:pt x="54717" y="188195"/>
                      </a:cubicBezTo>
                      <a:cubicBezTo>
                        <a:pt x="49364" y="186890"/>
                        <a:pt x="49440" y="185985"/>
                        <a:pt x="44706" y="182880"/>
                      </a:cubicBezTo>
                      <a:cubicBezTo>
                        <a:pt x="40772" y="180308"/>
                        <a:pt x="32466" y="176327"/>
                        <a:pt x="27952" y="175050"/>
                      </a:cubicBezTo>
                      <a:cubicBezTo>
                        <a:pt x="22112" y="173384"/>
                        <a:pt x="10464" y="177451"/>
                        <a:pt x="5568" y="174250"/>
                      </a:cubicBezTo>
                      <a:cubicBezTo>
                        <a:pt x="1824" y="171802"/>
                        <a:pt x="4682" y="163106"/>
                        <a:pt x="3996" y="158353"/>
                      </a:cubicBezTo>
                      <a:cubicBezTo>
                        <a:pt x="3425" y="154448"/>
                        <a:pt x="-1776" y="146228"/>
                        <a:pt x="634" y="142580"/>
                      </a:cubicBezTo>
                      <a:cubicBezTo>
                        <a:pt x="3110" y="138855"/>
                        <a:pt x="17017" y="136512"/>
                        <a:pt x="21236" y="135360"/>
                      </a:cubicBezTo>
                      <a:cubicBezTo>
                        <a:pt x="28380" y="133436"/>
                        <a:pt x="35695" y="131683"/>
                        <a:pt x="42658" y="129216"/>
                      </a:cubicBezTo>
                      <a:cubicBezTo>
                        <a:pt x="55479" y="124692"/>
                        <a:pt x="68394" y="120491"/>
                        <a:pt x="81320" y="116224"/>
                      </a:cubicBezTo>
                      <a:cubicBezTo>
                        <a:pt x="86121" y="114633"/>
                        <a:pt x="92635" y="110776"/>
                        <a:pt x="96465" y="113605"/>
                      </a:cubicBezTo>
                      <a:cubicBezTo>
                        <a:pt x="101304" y="117195"/>
                        <a:pt x="101313" y="127559"/>
                        <a:pt x="107990" y="128797"/>
                      </a:cubicBezTo>
                      <a:cubicBezTo>
                        <a:pt x="119725" y="130978"/>
                        <a:pt x="132907" y="115186"/>
                        <a:pt x="134250" y="136312"/>
                      </a:cubicBezTo>
                      <a:cubicBezTo>
                        <a:pt x="134774" y="144551"/>
                        <a:pt x="133593" y="149695"/>
                        <a:pt x="130126" y="156924"/>
                      </a:cubicBezTo>
                      <a:cubicBezTo>
                        <a:pt x="127812" y="161754"/>
                        <a:pt x="122706" y="167478"/>
                        <a:pt x="123545" y="171993"/>
                      </a:cubicBezTo>
                      <a:cubicBezTo>
                        <a:pt x="123716" y="172936"/>
                        <a:pt x="126250" y="176574"/>
                        <a:pt x="126764" y="177698"/>
                      </a:cubicBezTo>
                      <a:cubicBezTo>
                        <a:pt x="127402" y="179089"/>
                        <a:pt x="126840" y="181289"/>
                        <a:pt x="127716" y="183042"/>
                      </a:cubicBezTo>
                      <a:cubicBezTo>
                        <a:pt x="129745" y="187119"/>
                        <a:pt x="137641" y="194529"/>
                        <a:pt x="141185" y="197996"/>
                      </a:cubicBezTo>
                      <a:cubicBezTo>
                        <a:pt x="143242" y="200015"/>
                        <a:pt x="145909" y="200015"/>
                        <a:pt x="146585" y="202787"/>
                      </a:cubicBezTo>
                      <a:cubicBezTo>
                        <a:pt x="147262" y="205616"/>
                        <a:pt x="142575" y="205921"/>
                        <a:pt x="145090" y="208893"/>
                      </a:cubicBezTo>
                      <a:cubicBezTo>
                        <a:pt x="150681" y="215494"/>
                        <a:pt x="152262" y="203768"/>
                        <a:pt x="152062" y="200692"/>
                      </a:cubicBezTo>
                      <a:cubicBezTo>
                        <a:pt x="151586" y="193215"/>
                        <a:pt x="148566" y="192796"/>
                        <a:pt x="152357" y="185690"/>
                      </a:cubicBezTo>
                      <a:cubicBezTo>
                        <a:pt x="156644" y="177651"/>
                        <a:pt x="159301" y="181756"/>
                        <a:pt x="166331" y="177641"/>
                      </a:cubicBezTo>
                      <a:cubicBezTo>
                        <a:pt x="171607" y="174555"/>
                        <a:pt x="171731" y="166002"/>
                        <a:pt x="172303" y="160191"/>
                      </a:cubicBezTo>
                      <a:cubicBezTo>
                        <a:pt x="172998" y="153019"/>
                        <a:pt x="175189" y="146371"/>
                        <a:pt x="176075" y="139494"/>
                      </a:cubicBezTo>
                      <a:cubicBezTo>
                        <a:pt x="177427" y="129102"/>
                        <a:pt x="163102" y="113985"/>
                        <a:pt x="156758" y="106023"/>
                      </a:cubicBezTo>
                      <a:cubicBezTo>
                        <a:pt x="154577" y="103270"/>
                        <a:pt x="152110" y="99546"/>
                        <a:pt x="149081" y="97602"/>
                      </a:cubicBezTo>
                      <a:cubicBezTo>
                        <a:pt x="146671" y="96060"/>
                        <a:pt x="142842" y="96488"/>
                        <a:pt x="140889" y="94831"/>
                      </a:cubicBezTo>
                      <a:cubicBezTo>
                        <a:pt x="136479" y="91078"/>
                        <a:pt x="138356" y="81839"/>
                        <a:pt x="138032" y="76638"/>
                      </a:cubicBezTo>
                      <a:cubicBezTo>
                        <a:pt x="137613" y="70094"/>
                        <a:pt x="134136" y="61731"/>
                        <a:pt x="134660" y="55435"/>
                      </a:cubicBezTo>
                      <a:cubicBezTo>
                        <a:pt x="135079" y="50378"/>
                        <a:pt x="139527" y="46434"/>
                        <a:pt x="141870" y="41920"/>
                      </a:cubicBezTo>
                      <a:cubicBezTo>
                        <a:pt x="145852" y="34242"/>
                        <a:pt x="147471" y="35090"/>
                        <a:pt x="156558" y="35052"/>
                      </a:cubicBezTo>
                      <a:cubicBezTo>
                        <a:pt x="161511" y="35023"/>
                        <a:pt x="168731" y="36881"/>
                        <a:pt x="173398" y="35795"/>
                      </a:cubicBezTo>
                      <a:cubicBezTo>
                        <a:pt x="180495" y="34137"/>
                        <a:pt x="181732" y="28413"/>
                        <a:pt x="189581" y="33804"/>
                      </a:cubicBezTo>
                      <a:cubicBezTo>
                        <a:pt x="195077" y="37576"/>
                        <a:pt x="196973" y="41024"/>
                        <a:pt x="205374" y="38881"/>
                      </a:cubicBezTo>
                      <a:cubicBezTo>
                        <a:pt x="208545" y="38071"/>
                        <a:pt x="210755" y="35490"/>
                        <a:pt x="214013" y="34919"/>
                      </a:cubicBezTo>
                      <a:cubicBezTo>
                        <a:pt x="218489" y="34147"/>
                        <a:pt x="219452" y="36490"/>
                        <a:pt x="223080" y="37852"/>
                      </a:cubicBezTo>
                      <a:cubicBezTo>
                        <a:pt x="229491" y="40252"/>
                        <a:pt x="237568" y="38633"/>
                        <a:pt x="242436" y="33594"/>
                      </a:cubicBezTo>
                      <a:cubicBezTo>
                        <a:pt x="247627" y="28222"/>
                        <a:pt x="246760" y="23813"/>
                        <a:pt x="256618" y="25917"/>
                      </a:cubicBezTo>
                      <a:cubicBezTo>
                        <a:pt x="259447" y="26527"/>
                        <a:pt x="262990" y="29766"/>
                        <a:pt x="265400" y="29661"/>
                      </a:cubicBezTo>
                      <a:cubicBezTo>
                        <a:pt x="267877" y="29546"/>
                        <a:pt x="272344" y="25232"/>
                        <a:pt x="274459" y="24270"/>
                      </a:cubicBezTo>
                      <a:cubicBezTo>
                        <a:pt x="281012" y="21288"/>
                        <a:pt x="287717" y="21736"/>
                        <a:pt x="294280" y="18707"/>
                      </a:cubicBezTo>
                      <a:cubicBezTo>
                        <a:pt x="300262" y="15945"/>
                        <a:pt x="306758" y="14869"/>
                        <a:pt x="312530" y="11421"/>
                      </a:cubicBezTo>
                      <a:cubicBezTo>
                        <a:pt x="318064" y="8115"/>
                        <a:pt x="323217" y="3762"/>
                        <a:pt x="328465" y="0"/>
                      </a:cubicBezTo>
                      <a:cubicBezTo>
                        <a:pt x="329237" y="2410"/>
                        <a:pt x="330742" y="4563"/>
                        <a:pt x="332675" y="6201"/>
                      </a:cubicBezTo>
                      <a:cubicBezTo>
                        <a:pt x="331180" y="7010"/>
                        <a:pt x="330237" y="8801"/>
                        <a:pt x="328561" y="9477"/>
                      </a:cubicBezTo>
                      <a:cubicBezTo>
                        <a:pt x="329761" y="9877"/>
                        <a:pt x="330684" y="11116"/>
                        <a:pt x="331875" y="11544"/>
                      </a:cubicBezTo>
                      <a:cubicBezTo>
                        <a:pt x="328237" y="14154"/>
                        <a:pt x="330437" y="16050"/>
                        <a:pt x="329494" y="18307"/>
                      </a:cubicBezTo>
                      <a:cubicBezTo>
                        <a:pt x="328751" y="20107"/>
                        <a:pt x="325989" y="23374"/>
                        <a:pt x="325456" y="25241"/>
                      </a:cubicBezTo>
                      <a:cubicBezTo>
                        <a:pt x="323836" y="30918"/>
                        <a:pt x="326389" y="39405"/>
                        <a:pt x="326655" y="45748"/>
                      </a:cubicBezTo>
                      <a:cubicBezTo>
                        <a:pt x="326903" y="51663"/>
                        <a:pt x="325103" y="59446"/>
                        <a:pt x="325617" y="64427"/>
                      </a:cubicBezTo>
                      <a:cubicBezTo>
                        <a:pt x="325913" y="67303"/>
                        <a:pt x="327979" y="69675"/>
                        <a:pt x="326322" y="73314"/>
                      </a:cubicBezTo>
                      <a:cubicBezTo>
                        <a:pt x="325084" y="76029"/>
                        <a:pt x="322084" y="76029"/>
                        <a:pt x="321941" y="79343"/>
                      </a:cubicBezTo>
                      <a:cubicBezTo>
                        <a:pt x="323227" y="79029"/>
                        <a:pt x="324741" y="79667"/>
                        <a:pt x="326036" y="79391"/>
                      </a:cubicBezTo>
                      <a:cubicBezTo>
                        <a:pt x="325398" y="88887"/>
                        <a:pt x="324589" y="96821"/>
                        <a:pt x="324493" y="106499"/>
                      </a:cubicBezTo>
                      <a:cubicBezTo>
                        <a:pt x="324465" y="109280"/>
                        <a:pt x="323360" y="112547"/>
                        <a:pt x="323903" y="115252"/>
                      </a:cubicBezTo>
                      <a:cubicBezTo>
                        <a:pt x="324112" y="116319"/>
                        <a:pt x="325836" y="117491"/>
                        <a:pt x="325865" y="117777"/>
                      </a:cubicBezTo>
                      <a:cubicBezTo>
                        <a:pt x="325989" y="118872"/>
                        <a:pt x="326017" y="119920"/>
                        <a:pt x="325817" y="122110"/>
                      </a:cubicBezTo>
                      <a:cubicBezTo>
                        <a:pt x="325598" y="124520"/>
                        <a:pt x="323617" y="125149"/>
                        <a:pt x="324322" y="128359"/>
                      </a:cubicBezTo>
                      <a:cubicBezTo>
                        <a:pt x="328332" y="118386"/>
                        <a:pt x="331294" y="131607"/>
                        <a:pt x="329580" y="135741"/>
                      </a:cubicBezTo>
                      <a:cubicBezTo>
                        <a:pt x="328465" y="138427"/>
                        <a:pt x="325550" y="140713"/>
                        <a:pt x="324255" y="143675"/>
                      </a:cubicBezTo>
                      <a:cubicBezTo>
                        <a:pt x="324007" y="144237"/>
                        <a:pt x="322474" y="145504"/>
                        <a:pt x="322417" y="145742"/>
                      </a:cubicBezTo>
                      <a:cubicBezTo>
                        <a:pt x="322074" y="147075"/>
                        <a:pt x="323084" y="148676"/>
                        <a:pt x="322541" y="150019"/>
                      </a:cubicBezTo>
                      <a:cubicBezTo>
                        <a:pt x="319102" y="158477"/>
                        <a:pt x="313196" y="162992"/>
                        <a:pt x="307349" y="169764"/>
                      </a:cubicBezTo>
                      <a:cubicBezTo>
                        <a:pt x="305224" y="172221"/>
                        <a:pt x="304329" y="174584"/>
                        <a:pt x="302595" y="176841"/>
                      </a:cubicBezTo>
                      <a:cubicBezTo>
                        <a:pt x="299328" y="181099"/>
                        <a:pt x="295852" y="180346"/>
                        <a:pt x="292727" y="183661"/>
                      </a:cubicBezTo>
                      <a:cubicBezTo>
                        <a:pt x="292213" y="184204"/>
                        <a:pt x="293575" y="187395"/>
                        <a:pt x="292651" y="188614"/>
                      </a:cubicBezTo>
                      <a:cubicBezTo>
                        <a:pt x="291994" y="189490"/>
                        <a:pt x="288412" y="191519"/>
                        <a:pt x="287460" y="192081"/>
                      </a:cubicBezTo>
                      <a:cubicBezTo>
                        <a:pt x="283307" y="194529"/>
                        <a:pt x="278364" y="196348"/>
                        <a:pt x="274496" y="199206"/>
                      </a:cubicBezTo>
                      <a:cubicBezTo>
                        <a:pt x="271982" y="201054"/>
                        <a:pt x="270258" y="203768"/>
                        <a:pt x="267743" y="205292"/>
                      </a:cubicBezTo>
                      <a:cubicBezTo>
                        <a:pt x="264448" y="207283"/>
                        <a:pt x="260504" y="206530"/>
                        <a:pt x="257180" y="207321"/>
                      </a:cubicBezTo>
                      <a:cubicBezTo>
                        <a:pt x="241930" y="210931"/>
                        <a:pt x="225186" y="219046"/>
                        <a:pt x="212069" y="227809"/>
                      </a:cubicBezTo>
                      <a:cubicBezTo>
                        <a:pt x="204097" y="233134"/>
                        <a:pt x="200697" y="238306"/>
                        <a:pt x="194753" y="245078"/>
                      </a:cubicBezTo>
                      <a:cubicBezTo>
                        <a:pt x="191753" y="248507"/>
                        <a:pt x="187885" y="251127"/>
                        <a:pt x="184962" y="254603"/>
                      </a:cubicBezTo>
                      <a:cubicBezTo>
                        <a:pt x="182571" y="257451"/>
                        <a:pt x="179780" y="265519"/>
                        <a:pt x="176551" y="260042"/>
                      </a:cubicBezTo>
                      <a:cubicBezTo>
                        <a:pt x="176398" y="266024"/>
                        <a:pt x="169684" y="264605"/>
                        <a:pt x="165197" y="267386"/>
                      </a:cubicBezTo>
                      <a:cubicBezTo>
                        <a:pt x="159568" y="270881"/>
                        <a:pt x="155196" y="275358"/>
                        <a:pt x="150662" y="280102"/>
                      </a:cubicBezTo>
                      <a:cubicBezTo>
                        <a:pt x="146280" y="284664"/>
                        <a:pt x="141337" y="289246"/>
                        <a:pt x="135746" y="292303"/>
                      </a:cubicBezTo>
                      <a:cubicBezTo>
                        <a:pt x="128669" y="296170"/>
                        <a:pt x="131041" y="291665"/>
                        <a:pt x="124011" y="290960"/>
                      </a:cubicBezTo>
                      <a:cubicBezTo>
                        <a:pt x="130945" y="296275"/>
                        <a:pt x="122706" y="306610"/>
                        <a:pt x="123192" y="313096"/>
                      </a:cubicBezTo>
                      <a:cubicBezTo>
                        <a:pt x="123678" y="319640"/>
                        <a:pt x="130326" y="324879"/>
                        <a:pt x="131898" y="331879"/>
                      </a:cubicBezTo>
                      <a:cubicBezTo>
                        <a:pt x="133574" y="339319"/>
                        <a:pt x="134898" y="346796"/>
                        <a:pt x="136108" y="354111"/>
                      </a:cubicBezTo>
                      <a:cubicBezTo>
                        <a:pt x="136955" y="359178"/>
                        <a:pt x="133374" y="374980"/>
                        <a:pt x="136803" y="377685"/>
                      </a:cubicBezTo>
                      <a:cubicBezTo>
                        <a:pt x="138061" y="374266"/>
                        <a:pt x="139194" y="362607"/>
                        <a:pt x="141756" y="370256"/>
                      </a:cubicBezTo>
                      <a:cubicBezTo>
                        <a:pt x="143632" y="375885"/>
                        <a:pt x="139261" y="382305"/>
                        <a:pt x="139441" y="388144"/>
                      </a:cubicBezTo>
                      <a:cubicBezTo>
                        <a:pt x="139632" y="394078"/>
                        <a:pt x="140432" y="393335"/>
                        <a:pt x="138156" y="399097"/>
                      </a:cubicBezTo>
                      <a:cubicBezTo>
                        <a:pt x="136727" y="402736"/>
                        <a:pt x="135489" y="406432"/>
                        <a:pt x="134231" y="410137"/>
                      </a:cubicBezTo>
                      <a:cubicBezTo>
                        <a:pt x="133765" y="411518"/>
                        <a:pt x="130402" y="418595"/>
                        <a:pt x="131469" y="420310"/>
                      </a:cubicBezTo>
                      <a:cubicBezTo>
                        <a:pt x="133431" y="423472"/>
                        <a:pt x="135451" y="418795"/>
                        <a:pt x="135946" y="419595"/>
                      </a:cubicBezTo>
                      <a:cubicBezTo>
                        <a:pt x="138765" y="424158"/>
                        <a:pt x="129640" y="434730"/>
                        <a:pt x="127030" y="437779"/>
                      </a:cubicBezTo>
                      <a:cubicBezTo>
                        <a:pt x="121630" y="444112"/>
                        <a:pt x="115743" y="447389"/>
                        <a:pt x="108114" y="450552"/>
                      </a:cubicBezTo>
                      <a:cubicBezTo>
                        <a:pt x="93864" y="456457"/>
                        <a:pt x="78425" y="459467"/>
                        <a:pt x="64489" y="466220"/>
                      </a:cubicBezTo>
                      <a:cubicBezTo>
                        <a:pt x="56174" y="470249"/>
                        <a:pt x="49916" y="474650"/>
                        <a:pt x="44687" y="481898"/>
                      </a:cubicBezTo>
                      <a:cubicBezTo>
                        <a:pt x="39563" y="489023"/>
                        <a:pt x="38467" y="491861"/>
                        <a:pt x="45801" y="497814"/>
                      </a:cubicBezTo>
                      <a:cubicBezTo>
                        <a:pt x="46420" y="495138"/>
                        <a:pt x="47573" y="492928"/>
                        <a:pt x="49707" y="492014"/>
                      </a:cubicBezTo>
                      <a:cubicBezTo>
                        <a:pt x="47602" y="499929"/>
                        <a:pt x="46373" y="508082"/>
                        <a:pt x="44573" y="516103"/>
                      </a:cubicBezTo>
                      <a:lnTo>
                        <a:pt x="44573" y="516103"/>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01" name="Freeform: Shape 600">
                  <a:extLst>
                    <a:ext uri="{FF2B5EF4-FFF2-40B4-BE49-F238E27FC236}">
                      <a16:creationId xmlns:a16="http://schemas.microsoft.com/office/drawing/2014/main" id="{D3346A6F-F399-4DEF-A1FC-62C84295FA6E}"/>
                    </a:ext>
                  </a:extLst>
                </p:cNvPr>
                <p:cNvSpPr/>
                <p:nvPr/>
              </p:nvSpPr>
              <p:spPr>
                <a:xfrm>
                  <a:off x="7881060" y="2723147"/>
                  <a:ext cx="894595" cy="330402"/>
                </a:xfrm>
                <a:custGeom>
                  <a:avLst/>
                  <a:gdLst>
                    <a:gd name="connsiteX0" fmla="*/ 735902 w 894595"/>
                    <a:gd name="connsiteY0" fmla="*/ 72295 h 330402"/>
                    <a:gd name="connsiteX1" fmla="*/ 744245 w 894595"/>
                    <a:gd name="connsiteY1" fmla="*/ 106642 h 330402"/>
                    <a:gd name="connsiteX2" fmla="*/ 744121 w 894595"/>
                    <a:gd name="connsiteY2" fmla="*/ 112605 h 330402"/>
                    <a:gd name="connsiteX3" fmla="*/ 748969 w 894595"/>
                    <a:gd name="connsiteY3" fmla="*/ 119624 h 330402"/>
                    <a:gd name="connsiteX4" fmla="*/ 746484 w 894595"/>
                    <a:gd name="connsiteY4" fmla="*/ 125644 h 330402"/>
                    <a:gd name="connsiteX5" fmla="*/ 752494 w 894595"/>
                    <a:gd name="connsiteY5" fmla="*/ 132045 h 330402"/>
                    <a:gd name="connsiteX6" fmla="*/ 766820 w 894595"/>
                    <a:gd name="connsiteY6" fmla="*/ 139589 h 330402"/>
                    <a:gd name="connsiteX7" fmla="*/ 771449 w 894595"/>
                    <a:gd name="connsiteY7" fmla="*/ 134217 h 330402"/>
                    <a:gd name="connsiteX8" fmla="*/ 778916 w 894595"/>
                    <a:gd name="connsiteY8" fmla="*/ 134769 h 330402"/>
                    <a:gd name="connsiteX9" fmla="*/ 793766 w 894595"/>
                    <a:gd name="connsiteY9" fmla="*/ 135569 h 330402"/>
                    <a:gd name="connsiteX10" fmla="*/ 806319 w 894595"/>
                    <a:gd name="connsiteY10" fmla="*/ 138922 h 330402"/>
                    <a:gd name="connsiteX11" fmla="*/ 808301 w 894595"/>
                    <a:gd name="connsiteY11" fmla="*/ 132683 h 330402"/>
                    <a:gd name="connsiteX12" fmla="*/ 813082 w 894595"/>
                    <a:gd name="connsiteY12" fmla="*/ 129759 h 330402"/>
                    <a:gd name="connsiteX13" fmla="*/ 828094 w 894595"/>
                    <a:gd name="connsiteY13" fmla="*/ 130226 h 330402"/>
                    <a:gd name="connsiteX14" fmla="*/ 841553 w 894595"/>
                    <a:gd name="connsiteY14" fmla="*/ 137674 h 330402"/>
                    <a:gd name="connsiteX15" fmla="*/ 855288 w 894595"/>
                    <a:gd name="connsiteY15" fmla="*/ 143904 h 330402"/>
                    <a:gd name="connsiteX16" fmla="*/ 882910 w 894595"/>
                    <a:gd name="connsiteY16" fmla="*/ 158420 h 330402"/>
                    <a:gd name="connsiteX17" fmla="*/ 893397 w 894595"/>
                    <a:gd name="connsiteY17" fmla="*/ 167821 h 330402"/>
                    <a:gd name="connsiteX18" fmla="*/ 886453 w 894595"/>
                    <a:gd name="connsiteY18" fmla="*/ 172983 h 330402"/>
                    <a:gd name="connsiteX19" fmla="*/ 866517 w 894595"/>
                    <a:gd name="connsiteY19" fmla="*/ 168793 h 330402"/>
                    <a:gd name="connsiteX20" fmla="*/ 861955 w 894595"/>
                    <a:gd name="connsiteY20" fmla="*/ 170802 h 330402"/>
                    <a:gd name="connsiteX21" fmla="*/ 853440 w 894595"/>
                    <a:gd name="connsiteY21" fmla="*/ 170193 h 330402"/>
                    <a:gd name="connsiteX22" fmla="*/ 840019 w 894595"/>
                    <a:gd name="connsiteY22" fmla="*/ 175774 h 330402"/>
                    <a:gd name="connsiteX23" fmla="*/ 835828 w 894595"/>
                    <a:gd name="connsiteY23" fmla="*/ 181327 h 330402"/>
                    <a:gd name="connsiteX24" fmla="*/ 817559 w 894595"/>
                    <a:gd name="connsiteY24" fmla="*/ 186223 h 330402"/>
                    <a:gd name="connsiteX25" fmla="*/ 817636 w 894595"/>
                    <a:gd name="connsiteY25" fmla="*/ 197025 h 330402"/>
                    <a:gd name="connsiteX26" fmla="*/ 816235 w 894595"/>
                    <a:gd name="connsiteY26" fmla="*/ 203702 h 330402"/>
                    <a:gd name="connsiteX27" fmla="*/ 792842 w 894595"/>
                    <a:gd name="connsiteY27" fmla="*/ 212074 h 330402"/>
                    <a:gd name="connsiteX28" fmla="*/ 783707 w 894595"/>
                    <a:gd name="connsiteY28" fmla="*/ 213531 h 330402"/>
                    <a:gd name="connsiteX29" fmla="*/ 784327 w 894595"/>
                    <a:gd name="connsiteY29" fmla="*/ 217837 h 330402"/>
                    <a:gd name="connsiteX30" fmla="*/ 780716 w 894595"/>
                    <a:gd name="connsiteY30" fmla="*/ 224037 h 330402"/>
                    <a:gd name="connsiteX31" fmla="*/ 763343 w 894595"/>
                    <a:gd name="connsiteY31" fmla="*/ 230791 h 330402"/>
                    <a:gd name="connsiteX32" fmla="*/ 735959 w 894595"/>
                    <a:gd name="connsiteY32" fmla="*/ 223437 h 330402"/>
                    <a:gd name="connsiteX33" fmla="*/ 721214 w 894595"/>
                    <a:gd name="connsiteY33" fmla="*/ 221875 h 330402"/>
                    <a:gd name="connsiteX34" fmla="*/ 718795 w 894595"/>
                    <a:gd name="connsiteY34" fmla="*/ 234629 h 330402"/>
                    <a:gd name="connsiteX35" fmla="*/ 735092 w 894595"/>
                    <a:gd name="connsiteY35" fmla="*/ 253937 h 330402"/>
                    <a:gd name="connsiteX36" fmla="*/ 747513 w 894595"/>
                    <a:gd name="connsiteY36" fmla="*/ 261585 h 330402"/>
                    <a:gd name="connsiteX37" fmla="*/ 745903 w 894595"/>
                    <a:gd name="connsiteY37" fmla="*/ 267710 h 330402"/>
                    <a:gd name="connsiteX38" fmla="*/ 730939 w 894595"/>
                    <a:gd name="connsiteY38" fmla="*/ 281168 h 330402"/>
                    <a:gd name="connsiteX39" fmla="*/ 720737 w 894595"/>
                    <a:gd name="connsiteY39" fmla="*/ 297866 h 330402"/>
                    <a:gd name="connsiteX40" fmla="*/ 693153 w 894595"/>
                    <a:gd name="connsiteY40" fmla="*/ 305267 h 330402"/>
                    <a:gd name="connsiteX41" fmla="*/ 634146 w 894595"/>
                    <a:gd name="connsiteY41" fmla="*/ 311544 h 330402"/>
                    <a:gd name="connsiteX42" fmla="*/ 608247 w 894595"/>
                    <a:gd name="connsiteY42" fmla="*/ 325965 h 330402"/>
                    <a:gd name="connsiteX43" fmla="*/ 599522 w 894595"/>
                    <a:gd name="connsiteY43" fmla="*/ 330356 h 330402"/>
                    <a:gd name="connsiteX44" fmla="*/ 586501 w 894595"/>
                    <a:gd name="connsiteY44" fmla="*/ 326908 h 330402"/>
                    <a:gd name="connsiteX45" fmla="*/ 580587 w 894595"/>
                    <a:gd name="connsiteY45" fmla="*/ 323231 h 330402"/>
                    <a:gd name="connsiteX46" fmla="*/ 572405 w 894595"/>
                    <a:gd name="connsiteY46" fmla="*/ 324936 h 330402"/>
                    <a:gd name="connsiteX47" fmla="*/ 557660 w 894595"/>
                    <a:gd name="connsiteY47" fmla="*/ 324079 h 330402"/>
                    <a:gd name="connsiteX48" fmla="*/ 527695 w 894595"/>
                    <a:gd name="connsiteY48" fmla="*/ 315944 h 330402"/>
                    <a:gd name="connsiteX49" fmla="*/ 498186 w 894595"/>
                    <a:gd name="connsiteY49" fmla="*/ 305381 h 330402"/>
                    <a:gd name="connsiteX50" fmla="*/ 469039 w 894595"/>
                    <a:gd name="connsiteY50" fmla="*/ 300285 h 330402"/>
                    <a:gd name="connsiteX51" fmla="*/ 439807 w 894595"/>
                    <a:gd name="connsiteY51" fmla="*/ 298856 h 330402"/>
                    <a:gd name="connsiteX52" fmla="*/ 406622 w 894595"/>
                    <a:gd name="connsiteY52" fmla="*/ 298114 h 330402"/>
                    <a:gd name="connsiteX53" fmla="*/ 370837 w 894595"/>
                    <a:gd name="connsiteY53" fmla="*/ 294275 h 330402"/>
                    <a:gd name="connsiteX54" fmla="*/ 343805 w 894595"/>
                    <a:gd name="connsiteY54" fmla="*/ 294189 h 330402"/>
                    <a:gd name="connsiteX55" fmla="*/ 333460 w 894595"/>
                    <a:gd name="connsiteY55" fmla="*/ 285941 h 330402"/>
                    <a:gd name="connsiteX56" fmla="*/ 320764 w 894595"/>
                    <a:gd name="connsiteY56" fmla="*/ 277454 h 330402"/>
                    <a:gd name="connsiteX57" fmla="*/ 299132 w 894595"/>
                    <a:gd name="connsiteY57" fmla="*/ 256604 h 330402"/>
                    <a:gd name="connsiteX58" fmla="*/ 293275 w 894595"/>
                    <a:gd name="connsiteY58" fmla="*/ 254422 h 330402"/>
                    <a:gd name="connsiteX59" fmla="*/ 290560 w 894595"/>
                    <a:gd name="connsiteY59" fmla="*/ 248364 h 330402"/>
                    <a:gd name="connsiteX60" fmla="*/ 278616 w 894595"/>
                    <a:gd name="connsiteY60" fmla="*/ 246812 h 330402"/>
                    <a:gd name="connsiteX61" fmla="*/ 250917 w 894595"/>
                    <a:gd name="connsiteY61" fmla="*/ 235296 h 330402"/>
                    <a:gd name="connsiteX62" fmla="*/ 222237 w 894595"/>
                    <a:gd name="connsiteY62" fmla="*/ 224933 h 330402"/>
                    <a:gd name="connsiteX63" fmla="*/ 192452 w 894595"/>
                    <a:gd name="connsiteY63" fmla="*/ 223361 h 330402"/>
                    <a:gd name="connsiteX64" fmla="*/ 143742 w 894595"/>
                    <a:gd name="connsiteY64" fmla="*/ 210112 h 330402"/>
                    <a:gd name="connsiteX65" fmla="*/ 138541 w 894595"/>
                    <a:gd name="connsiteY65" fmla="*/ 198406 h 330402"/>
                    <a:gd name="connsiteX66" fmla="*/ 140160 w 894595"/>
                    <a:gd name="connsiteY66" fmla="*/ 190490 h 330402"/>
                    <a:gd name="connsiteX67" fmla="*/ 133607 w 894595"/>
                    <a:gd name="connsiteY67" fmla="*/ 180451 h 330402"/>
                    <a:gd name="connsiteX68" fmla="*/ 128311 w 894595"/>
                    <a:gd name="connsiteY68" fmla="*/ 170374 h 330402"/>
                    <a:gd name="connsiteX69" fmla="*/ 105423 w 894595"/>
                    <a:gd name="connsiteY69" fmla="*/ 152800 h 330402"/>
                    <a:gd name="connsiteX70" fmla="*/ 96602 w 894595"/>
                    <a:gd name="connsiteY70" fmla="*/ 143656 h 330402"/>
                    <a:gd name="connsiteX71" fmla="*/ 87344 w 894595"/>
                    <a:gd name="connsiteY71" fmla="*/ 138417 h 330402"/>
                    <a:gd name="connsiteX72" fmla="*/ 79210 w 894595"/>
                    <a:gd name="connsiteY72" fmla="*/ 133950 h 330402"/>
                    <a:gd name="connsiteX73" fmla="*/ 71618 w 894595"/>
                    <a:gd name="connsiteY73" fmla="*/ 133045 h 330402"/>
                    <a:gd name="connsiteX74" fmla="*/ 59036 w 894595"/>
                    <a:gd name="connsiteY74" fmla="*/ 129654 h 330402"/>
                    <a:gd name="connsiteX75" fmla="*/ 47177 w 894595"/>
                    <a:gd name="connsiteY75" fmla="*/ 126721 h 330402"/>
                    <a:gd name="connsiteX76" fmla="*/ 22107 w 894595"/>
                    <a:gd name="connsiteY76" fmla="*/ 114024 h 330402"/>
                    <a:gd name="connsiteX77" fmla="*/ 15583 w 894595"/>
                    <a:gd name="connsiteY77" fmla="*/ 112262 h 330402"/>
                    <a:gd name="connsiteX78" fmla="*/ 14707 w 894595"/>
                    <a:gd name="connsiteY78" fmla="*/ 109509 h 330402"/>
                    <a:gd name="connsiteX79" fmla="*/ 14058 w 894595"/>
                    <a:gd name="connsiteY79" fmla="*/ 106975 h 330402"/>
                    <a:gd name="connsiteX80" fmla="*/ 7248 w 894595"/>
                    <a:gd name="connsiteY80" fmla="*/ 104718 h 330402"/>
                    <a:gd name="connsiteX81" fmla="*/ 4667 w 894595"/>
                    <a:gd name="connsiteY81" fmla="*/ 99250 h 330402"/>
                    <a:gd name="connsiteX82" fmla="*/ 0 w 894595"/>
                    <a:gd name="connsiteY82" fmla="*/ 93097 h 330402"/>
                    <a:gd name="connsiteX83" fmla="*/ 5743 w 894595"/>
                    <a:gd name="connsiteY83" fmla="*/ 90430 h 330402"/>
                    <a:gd name="connsiteX84" fmla="*/ 8258 w 894595"/>
                    <a:gd name="connsiteY84" fmla="*/ 83248 h 330402"/>
                    <a:gd name="connsiteX85" fmla="*/ 20593 w 894595"/>
                    <a:gd name="connsiteY85" fmla="*/ 81601 h 330402"/>
                    <a:gd name="connsiteX86" fmla="*/ 27451 w 894595"/>
                    <a:gd name="connsiteY86" fmla="*/ 82420 h 330402"/>
                    <a:gd name="connsiteX87" fmla="*/ 28365 w 894595"/>
                    <a:gd name="connsiteY87" fmla="*/ 78953 h 330402"/>
                    <a:gd name="connsiteX88" fmla="*/ 32204 w 894595"/>
                    <a:gd name="connsiteY88" fmla="*/ 78953 h 330402"/>
                    <a:gd name="connsiteX89" fmla="*/ 36757 w 894595"/>
                    <a:gd name="connsiteY89" fmla="*/ 74000 h 330402"/>
                    <a:gd name="connsiteX90" fmla="*/ 34661 w 894595"/>
                    <a:gd name="connsiteY90" fmla="*/ 69056 h 330402"/>
                    <a:gd name="connsiteX91" fmla="*/ 40881 w 894595"/>
                    <a:gd name="connsiteY91" fmla="*/ 67208 h 330402"/>
                    <a:gd name="connsiteX92" fmla="*/ 41071 w 894595"/>
                    <a:gd name="connsiteY92" fmla="*/ 63684 h 330402"/>
                    <a:gd name="connsiteX93" fmla="*/ 45558 w 894595"/>
                    <a:gd name="connsiteY93" fmla="*/ 62493 h 330402"/>
                    <a:gd name="connsiteX94" fmla="*/ 54702 w 894595"/>
                    <a:gd name="connsiteY94" fmla="*/ 58541 h 330402"/>
                    <a:gd name="connsiteX95" fmla="*/ 68761 w 894595"/>
                    <a:gd name="connsiteY95" fmla="*/ 51968 h 330402"/>
                    <a:gd name="connsiteX96" fmla="*/ 75390 w 894595"/>
                    <a:gd name="connsiteY96" fmla="*/ 44825 h 330402"/>
                    <a:gd name="connsiteX97" fmla="*/ 83963 w 894595"/>
                    <a:gd name="connsiteY97" fmla="*/ 39938 h 330402"/>
                    <a:gd name="connsiteX98" fmla="*/ 96459 w 894595"/>
                    <a:gd name="connsiteY98" fmla="*/ 45177 h 330402"/>
                    <a:gd name="connsiteX99" fmla="*/ 98640 w 894595"/>
                    <a:gd name="connsiteY99" fmla="*/ 41967 h 330402"/>
                    <a:gd name="connsiteX100" fmla="*/ 103994 w 894595"/>
                    <a:gd name="connsiteY100" fmla="*/ 44253 h 330402"/>
                    <a:gd name="connsiteX101" fmla="*/ 135207 w 894595"/>
                    <a:gd name="connsiteY101" fmla="*/ 48644 h 330402"/>
                    <a:gd name="connsiteX102" fmla="*/ 160877 w 894595"/>
                    <a:gd name="connsiteY102" fmla="*/ 65951 h 330402"/>
                    <a:gd name="connsiteX103" fmla="*/ 166249 w 894595"/>
                    <a:gd name="connsiteY103" fmla="*/ 65218 h 330402"/>
                    <a:gd name="connsiteX104" fmla="*/ 173641 w 894595"/>
                    <a:gd name="connsiteY104" fmla="*/ 68370 h 330402"/>
                    <a:gd name="connsiteX105" fmla="*/ 186118 w 894595"/>
                    <a:gd name="connsiteY105" fmla="*/ 69037 h 330402"/>
                    <a:gd name="connsiteX106" fmla="*/ 191500 w 894595"/>
                    <a:gd name="connsiteY106" fmla="*/ 66256 h 330402"/>
                    <a:gd name="connsiteX107" fmla="*/ 196177 w 894595"/>
                    <a:gd name="connsiteY107" fmla="*/ 67847 h 330402"/>
                    <a:gd name="connsiteX108" fmla="*/ 207407 w 894595"/>
                    <a:gd name="connsiteY108" fmla="*/ 69913 h 330402"/>
                    <a:gd name="connsiteX109" fmla="*/ 215026 w 894595"/>
                    <a:gd name="connsiteY109" fmla="*/ 69913 h 330402"/>
                    <a:gd name="connsiteX110" fmla="*/ 230667 w 894595"/>
                    <a:gd name="connsiteY110" fmla="*/ 74181 h 330402"/>
                    <a:gd name="connsiteX111" fmla="*/ 239935 w 894595"/>
                    <a:gd name="connsiteY111" fmla="*/ 69094 h 330402"/>
                    <a:gd name="connsiteX112" fmla="*/ 249221 w 894595"/>
                    <a:gd name="connsiteY112" fmla="*/ 64246 h 330402"/>
                    <a:gd name="connsiteX113" fmla="*/ 234572 w 894595"/>
                    <a:gd name="connsiteY113" fmla="*/ 45491 h 330402"/>
                    <a:gd name="connsiteX114" fmla="*/ 219217 w 894595"/>
                    <a:gd name="connsiteY114" fmla="*/ 23308 h 330402"/>
                    <a:gd name="connsiteX115" fmla="*/ 222361 w 894595"/>
                    <a:gd name="connsiteY115" fmla="*/ 19231 h 330402"/>
                    <a:gd name="connsiteX116" fmla="*/ 221085 w 894595"/>
                    <a:gd name="connsiteY116" fmla="*/ 13230 h 330402"/>
                    <a:gd name="connsiteX117" fmla="*/ 227657 w 894595"/>
                    <a:gd name="connsiteY117" fmla="*/ 6677 h 330402"/>
                    <a:gd name="connsiteX118" fmla="*/ 226514 w 894595"/>
                    <a:gd name="connsiteY118" fmla="*/ 0 h 330402"/>
                    <a:gd name="connsiteX119" fmla="*/ 251250 w 894595"/>
                    <a:gd name="connsiteY119" fmla="*/ 7401 h 330402"/>
                    <a:gd name="connsiteX120" fmla="*/ 265119 w 894595"/>
                    <a:gd name="connsiteY120" fmla="*/ 12030 h 330402"/>
                    <a:gd name="connsiteX121" fmla="*/ 280797 w 894595"/>
                    <a:gd name="connsiteY121" fmla="*/ 13821 h 330402"/>
                    <a:gd name="connsiteX122" fmla="*/ 308181 w 894595"/>
                    <a:gd name="connsiteY122" fmla="*/ 20450 h 330402"/>
                    <a:gd name="connsiteX123" fmla="*/ 331565 w 894595"/>
                    <a:gd name="connsiteY123" fmla="*/ 31794 h 330402"/>
                    <a:gd name="connsiteX124" fmla="*/ 339937 w 894595"/>
                    <a:gd name="connsiteY124" fmla="*/ 41167 h 330402"/>
                    <a:gd name="connsiteX125" fmla="*/ 346453 w 894595"/>
                    <a:gd name="connsiteY125" fmla="*/ 48254 h 330402"/>
                    <a:gd name="connsiteX126" fmla="*/ 371227 w 894595"/>
                    <a:gd name="connsiteY126" fmla="*/ 57074 h 330402"/>
                    <a:gd name="connsiteX127" fmla="*/ 395192 w 894595"/>
                    <a:gd name="connsiteY127" fmla="*/ 61208 h 330402"/>
                    <a:gd name="connsiteX128" fmla="*/ 419185 w 894595"/>
                    <a:gd name="connsiteY128" fmla="*/ 54826 h 330402"/>
                    <a:gd name="connsiteX129" fmla="*/ 445808 w 894595"/>
                    <a:gd name="connsiteY129" fmla="*/ 54807 h 330402"/>
                    <a:gd name="connsiteX130" fmla="*/ 472573 w 894595"/>
                    <a:gd name="connsiteY130" fmla="*/ 59312 h 330402"/>
                    <a:gd name="connsiteX131" fmla="*/ 484861 w 894595"/>
                    <a:gd name="connsiteY131" fmla="*/ 66018 h 330402"/>
                    <a:gd name="connsiteX132" fmla="*/ 498977 w 894595"/>
                    <a:gd name="connsiteY132" fmla="*/ 67427 h 330402"/>
                    <a:gd name="connsiteX133" fmla="*/ 516960 w 894595"/>
                    <a:gd name="connsiteY133" fmla="*/ 79467 h 330402"/>
                    <a:gd name="connsiteX134" fmla="*/ 576091 w 894595"/>
                    <a:gd name="connsiteY134" fmla="*/ 91611 h 330402"/>
                    <a:gd name="connsiteX135" fmla="*/ 588673 w 894595"/>
                    <a:gd name="connsiteY135" fmla="*/ 91545 h 330402"/>
                    <a:gd name="connsiteX136" fmla="*/ 600942 w 894595"/>
                    <a:gd name="connsiteY136" fmla="*/ 91964 h 330402"/>
                    <a:gd name="connsiteX137" fmla="*/ 612743 w 894595"/>
                    <a:gd name="connsiteY137" fmla="*/ 86830 h 330402"/>
                    <a:gd name="connsiteX138" fmla="*/ 624192 w 894595"/>
                    <a:gd name="connsiteY138" fmla="*/ 84963 h 330402"/>
                    <a:gd name="connsiteX139" fmla="*/ 631603 w 894595"/>
                    <a:gd name="connsiteY139" fmla="*/ 81991 h 330402"/>
                    <a:gd name="connsiteX140" fmla="*/ 640080 w 894595"/>
                    <a:gd name="connsiteY140" fmla="*/ 82210 h 330402"/>
                    <a:gd name="connsiteX141" fmla="*/ 646443 w 894595"/>
                    <a:gd name="connsiteY141" fmla="*/ 71866 h 330402"/>
                    <a:gd name="connsiteX142" fmla="*/ 658463 w 894595"/>
                    <a:gd name="connsiteY142" fmla="*/ 61093 h 330402"/>
                    <a:gd name="connsiteX143" fmla="*/ 672960 w 894595"/>
                    <a:gd name="connsiteY143" fmla="*/ 58998 h 330402"/>
                    <a:gd name="connsiteX144" fmla="*/ 704916 w 894595"/>
                    <a:gd name="connsiteY144" fmla="*/ 70218 h 330402"/>
                    <a:gd name="connsiteX145" fmla="*/ 718223 w 894595"/>
                    <a:gd name="connsiteY145" fmla="*/ 66399 h 330402"/>
                    <a:gd name="connsiteX146" fmla="*/ 735902 w 894595"/>
                    <a:gd name="connsiteY146" fmla="*/ 72295 h 330402"/>
                    <a:gd name="connsiteX147" fmla="*/ 735902 w 894595"/>
                    <a:gd name="connsiteY147" fmla="*/ 72295 h 33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894595" h="330402">
                      <a:moveTo>
                        <a:pt x="735902" y="72295"/>
                      </a:moveTo>
                      <a:cubicBezTo>
                        <a:pt x="738464" y="83734"/>
                        <a:pt x="741883" y="95402"/>
                        <a:pt x="744245" y="106642"/>
                      </a:cubicBezTo>
                      <a:cubicBezTo>
                        <a:pt x="744712" y="108861"/>
                        <a:pt x="743407" y="110509"/>
                        <a:pt x="744121" y="112605"/>
                      </a:cubicBezTo>
                      <a:cubicBezTo>
                        <a:pt x="745017" y="115214"/>
                        <a:pt x="748350" y="117081"/>
                        <a:pt x="748969" y="119624"/>
                      </a:cubicBezTo>
                      <a:cubicBezTo>
                        <a:pt x="749989" y="123835"/>
                        <a:pt x="746284" y="122444"/>
                        <a:pt x="746484" y="125644"/>
                      </a:cubicBezTo>
                      <a:cubicBezTo>
                        <a:pt x="746598" y="127330"/>
                        <a:pt x="751046" y="130893"/>
                        <a:pt x="752494" y="132045"/>
                      </a:cubicBezTo>
                      <a:cubicBezTo>
                        <a:pt x="754904" y="133950"/>
                        <a:pt x="763514" y="140113"/>
                        <a:pt x="766820" y="139589"/>
                      </a:cubicBezTo>
                      <a:cubicBezTo>
                        <a:pt x="769811" y="139113"/>
                        <a:pt x="768382" y="135522"/>
                        <a:pt x="771449" y="134217"/>
                      </a:cubicBezTo>
                      <a:cubicBezTo>
                        <a:pt x="773335" y="133426"/>
                        <a:pt x="776897" y="134807"/>
                        <a:pt x="778916" y="134769"/>
                      </a:cubicBezTo>
                      <a:cubicBezTo>
                        <a:pt x="784317" y="134674"/>
                        <a:pt x="788336" y="133883"/>
                        <a:pt x="793766" y="135569"/>
                      </a:cubicBezTo>
                      <a:cubicBezTo>
                        <a:pt x="798395" y="137008"/>
                        <a:pt x="803396" y="141627"/>
                        <a:pt x="806319" y="138922"/>
                      </a:cubicBezTo>
                      <a:cubicBezTo>
                        <a:pt x="807691" y="137655"/>
                        <a:pt x="807262" y="134160"/>
                        <a:pt x="808301" y="132683"/>
                      </a:cubicBezTo>
                      <a:cubicBezTo>
                        <a:pt x="810749" y="129245"/>
                        <a:pt x="808796" y="130978"/>
                        <a:pt x="813082" y="129759"/>
                      </a:cubicBezTo>
                      <a:cubicBezTo>
                        <a:pt x="817093" y="128616"/>
                        <a:pt x="823941" y="129083"/>
                        <a:pt x="828094" y="130226"/>
                      </a:cubicBezTo>
                      <a:cubicBezTo>
                        <a:pt x="832990" y="131578"/>
                        <a:pt x="836857" y="135826"/>
                        <a:pt x="841553" y="137674"/>
                      </a:cubicBezTo>
                      <a:cubicBezTo>
                        <a:pt x="846715" y="139694"/>
                        <a:pt x="850525" y="141399"/>
                        <a:pt x="855288" y="143904"/>
                      </a:cubicBezTo>
                      <a:cubicBezTo>
                        <a:pt x="864260" y="148638"/>
                        <a:pt x="874528" y="152533"/>
                        <a:pt x="882910" y="158420"/>
                      </a:cubicBezTo>
                      <a:cubicBezTo>
                        <a:pt x="885977" y="160582"/>
                        <a:pt x="891721" y="164563"/>
                        <a:pt x="893397" y="167821"/>
                      </a:cubicBezTo>
                      <a:cubicBezTo>
                        <a:pt x="896807" y="174469"/>
                        <a:pt x="892454" y="173345"/>
                        <a:pt x="886453" y="172983"/>
                      </a:cubicBezTo>
                      <a:cubicBezTo>
                        <a:pt x="879767" y="172583"/>
                        <a:pt x="872918" y="168735"/>
                        <a:pt x="866517" y="168793"/>
                      </a:cubicBezTo>
                      <a:cubicBezTo>
                        <a:pt x="865127" y="168802"/>
                        <a:pt x="864318" y="170545"/>
                        <a:pt x="861955" y="170802"/>
                      </a:cubicBezTo>
                      <a:cubicBezTo>
                        <a:pt x="859117" y="171107"/>
                        <a:pt x="856202" y="169907"/>
                        <a:pt x="853440" y="170193"/>
                      </a:cubicBezTo>
                      <a:cubicBezTo>
                        <a:pt x="846982" y="170869"/>
                        <a:pt x="845420" y="175403"/>
                        <a:pt x="840019" y="175774"/>
                      </a:cubicBezTo>
                      <a:cubicBezTo>
                        <a:pt x="832790" y="176270"/>
                        <a:pt x="832237" y="172412"/>
                        <a:pt x="835828" y="181327"/>
                      </a:cubicBezTo>
                      <a:cubicBezTo>
                        <a:pt x="826941" y="182489"/>
                        <a:pt x="820578" y="178060"/>
                        <a:pt x="817559" y="186223"/>
                      </a:cubicBezTo>
                      <a:cubicBezTo>
                        <a:pt x="815950" y="190567"/>
                        <a:pt x="816654" y="192738"/>
                        <a:pt x="817636" y="197025"/>
                      </a:cubicBezTo>
                      <a:cubicBezTo>
                        <a:pt x="818950" y="202721"/>
                        <a:pt x="819522" y="198901"/>
                        <a:pt x="816235" y="203702"/>
                      </a:cubicBezTo>
                      <a:cubicBezTo>
                        <a:pt x="810692" y="211760"/>
                        <a:pt x="802643" y="212550"/>
                        <a:pt x="792842" y="212074"/>
                      </a:cubicBezTo>
                      <a:cubicBezTo>
                        <a:pt x="788022" y="211846"/>
                        <a:pt x="786269" y="210093"/>
                        <a:pt x="783707" y="213531"/>
                      </a:cubicBezTo>
                      <a:cubicBezTo>
                        <a:pt x="783679" y="213570"/>
                        <a:pt x="784564" y="217151"/>
                        <a:pt x="784327" y="217837"/>
                      </a:cubicBezTo>
                      <a:cubicBezTo>
                        <a:pt x="783660" y="219723"/>
                        <a:pt x="781869" y="222599"/>
                        <a:pt x="780716" y="224037"/>
                      </a:cubicBezTo>
                      <a:cubicBezTo>
                        <a:pt x="775116" y="231019"/>
                        <a:pt x="772287" y="231810"/>
                        <a:pt x="763343" y="230791"/>
                      </a:cubicBezTo>
                      <a:cubicBezTo>
                        <a:pt x="753056" y="229619"/>
                        <a:pt x="745341" y="226971"/>
                        <a:pt x="735959" y="223437"/>
                      </a:cubicBezTo>
                      <a:cubicBezTo>
                        <a:pt x="732987" y="222313"/>
                        <a:pt x="724185" y="220409"/>
                        <a:pt x="721214" y="221875"/>
                      </a:cubicBezTo>
                      <a:cubicBezTo>
                        <a:pt x="715794" y="224561"/>
                        <a:pt x="717699" y="229829"/>
                        <a:pt x="718795" y="234629"/>
                      </a:cubicBezTo>
                      <a:cubicBezTo>
                        <a:pt x="721090" y="244621"/>
                        <a:pt x="725976" y="248698"/>
                        <a:pt x="735092" y="253937"/>
                      </a:cubicBezTo>
                      <a:cubicBezTo>
                        <a:pt x="738521" y="255918"/>
                        <a:pt x="745321" y="258023"/>
                        <a:pt x="747513" y="261585"/>
                      </a:cubicBezTo>
                      <a:cubicBezTo>
                        <a:pt x="750370" y="266252"/>
                        <a:pt x="748769" y="264300"/>
                        <a:pt x="745903" y="267710"/>
                      </a:cubicBezTo>
                      <a:cubicBezTo>
                        <a:pt x="741216" y="273282"/>
                        <a:pt x="733673" y="274082"/>
                        <a:pt x="730939" y="281168"/>
                      </a:cubicBezTo>
                      <a:cubicBezTo>
                        <a:pt x="727662" y="289655"/>
                        <a:pt x="729482" y="293770"/>
                        <a:pt x="720737" y="297866"/>
                      </a:cubicBezTo>
                      <a:cubicBezTo>
                        <a:pt x="710765" y="302543"/>
                        <a:pt x="704316" y="304857"/>
                        <a:pt x="693153" y="305267"/>
                      </a:cubicBezTo>
                      <a:cubicBezTo>
                        <a:pt x="674018" y="305962"/>
                        <a:pt x="652233" y="303800"/>
                        <a:pt x="634146" y="311544"/>
                      </a:cubicBezTo>
                      <a:cubicBezTo>
                        <a:pt x="625450" y="315268"/>
                        <a:pt x="615419" y="319773"/>
                        <a:pt x="608247" y="325965"/>
                      </a:cubicBezTo>
                      <a:cubicBezTo>
                        <a:pt x="603837" y="329765"/>
                        <a:pt x="604904" y="330051"/>
                        <a:pt x="599522" y="330356"/>
                      </a:cubicBezTo>
                      <a:cubicBezTo>
                        <a:pt x="594274" y="330660"/>
                        <a:pt x="590112" y="329479"/>
                        <a:pt x="586501" y="326908"/>
                      </a:cubicBezTo>
                      <a:cubicBezTo>
                        <a:pt x="581816" y="323564"/>
                        <a:pt x="586035" y="323602"/>
                        <a:pt x="580587" y="323231"/>
                      </a:cubicBezTo>
                      <a:cubicBezTo>
                        <a:pt x="578215" y="323069"/>
                        <a:pt x="574672" y="324469"/>
                        <a:pt x="572405" y="324936"/>
                      </a:cubicBezTo>
                      <a:cubicBezTo>
                        <a:pt x="566013" y="326250"/>
                        <a:pt x="563851" y="326317"/>
                        <a:pt x="557660" y="324079"/>
                      </a:cubicBezTo>
                      <a:cubicBezTo>
                        <a:pt x="547640" y="320469"/>
                        <a:pt x="538210" y="317754"/>
                        <a:pt x="527695" y="315944"/>
                      </a:cubicBezTo>
                      <a:cubicBezTo>
                        <a:pt x="515645" y="313877"/>
                        <a:pt x="508539" y="311506"/>
                        <a:pt x="498186" y="305381"/>
                      </a:cubicBezTo>
                      <a:cubicBezTo>
                        <a:pt x="489566" y="300285"/>
                        <a:pt x="478850" y="301485"/>
                        <a:pt x="469039" y="300285"/>
                      </a:cubicBezTo>
                      <a:cubicBezTo>
                        <a:pt x="459228" y="299085"/>
                        <a:pt x="449418" y="296523"/>
                        <a:pt x="439807" y="298856"/>
                      </a:cubicBezTo>
                      <a:cubicBezTo>
                        <a:pt x="428749" y="301533"/>
                        <a:pt x="417928" y="299314"/>
                        <a:pt x="406622" y="298114"/>
                      </a:cubicBezTo>
                      <a:cubicBezTo>
                        <a:pt x="394745" y="296856"/>
                        <a:pt x="382762" y="294989"/>
                        <a:pt x="370837" y="294275"/>
                      </a:cubicBezTo>
                      <a:cubicBezTo>
                        <a:pt x="362712" y="293789"/>
                        <a:pt x="350444" y="297942"/>
                        <a:pt x="343805" y="294189"/>
                      </a:cubicBezTo>
                      <a:cubicBezTo>
                        <a:pt x="340452" y="292303"/>
                        <a:pt x="337299" y="288122"/>
                        <a:pt x="333460" y="285941"/>
                      </a:cubicBezTo>
                      <a:cubicBezTo>
                        <a:pt x="328926" y="283359"/>
                        <a:pt x="324526" y="280978"/>
                        <a:pt x="320764" y="277454"/>
                      </a:cubicBezTo>
                      <a:cubicBezTo>
                        <a:pt x="313658" y="270815"/>
                        <a:pt x="307467" y="261928"/>
                        <a:pt x="299132" y="256604"/>
                      </a:cubicBezTo>
                      <a:cubicBezTo>
                        <a:pt x="297237" y="255384"/>
                        <a:pt x="294960" y="256051"/>
                        <a:pt x="293275" y="254422"/>
                      </a:cubicBezTo>
                      <a:cubicBezTo>
                        <a:pt x="291817" y="253022"/>
                        <a:pt x="291827" y="249412"/>
                        <a:pt x="290560" y="248364"/>
                      </a:cubicBezTo>
                      <a:cubicBezTo>
                        <a:pt x="287807" y="246069"/>
                        <a:pt x="282644" y="247498"/>
                        <a:pt x="278616" y="246812"/>
                      </a:cubicBezTo>
                      <a:cubicBezTo>
                        <a:pt x="268519" y="245097"/>
                        <a:pt x="260270" y="238496"/>
                        <a:pt x="250917" y="235296"/>
                      </a:cubicBezTo>
                      <a:cubicBezTo>
                        <a:pt x="241449" y="232058"/>
                        <a:pt x="232362" y="226562"/>
                        <a:pt x="222237" y="224933"/>
                      </a:cubicBezTo>
                      <a:cubicBezTo>
                        <a:pt x="212121" y="223314"/>
                        <a:pt x="202416" y="224676"/>
                        <a:pt x="192452" y="223361"/>
                      </a:cubicBezTo>
                      <a:cubicBezTo>
                        <a:pt x="175479" y="221123"/>
                        <a:pt x="155657" y="222752"/>
                        <a:pt x="143742" y="210112"/>
                      </a:cubicBezTo>
                      <a:cubicBezTo>
                        <a:pt x="140475" y="206645"/>
                        <a:pt x="138036" y="203644"/>
                        <a:pt x="138541" y="198406"/>
                      </a:cubicBezTo>
                      <a:cubicBezTo>
                        <a:pt x="138817" y="195510"/>
                        <a:pt x="141170" y="193805"/>
                        <a:pt x="140160" y="190490"/>
                      </a:cubicBezTo>
                      <a:cubicBezTo>
                        <a:pt x="139217" y="187471"/>
                        <a:pt x="134874" y="183613"/>
                        <a:pt x="133607" y="180451"/>
                      </a:cubicBezTo>
                      <a:cubicBezTo>
                        <a:pt x="131969" y="176308"/>
                        <a:pt x="131407" y="173926"/>
                        <a:pt x="128311" y="170374"/>
                      </a:cubicBezTo>
                      <a:cubicBezTo>
                        <a:pt x="121605" y="162668"/>
                        <a:pt x="112766" y="159868"/>
                        <a:pt x="105423" y="152800"/>
                      </a:cubicBezTo>
                      <a:cubicBezTo>
                        <a:pt x="102336" y="149828"/>
                        <a:pt x="99889" y="146485"/>
                        <a:pt x="96602" y="143656"/>
                      </a:cubicBezTo>
                      <a:cubicBezTo>
                        <a:pt x="93202" y="140713"/>
                        <a:pt x="91154" y="140579"/>
                        <a:pt x="87344" y="138417"/>
                      </a:cubicBezTo>
                      <a:cubicBezTo>
                        <a:pt x="83705" y="136350"/>
                        <a:pt x="82353" y="134693"/>
                        <a:pt x="79210" y="133950"/>
                      </a:cubicBezTo>
                      <a:cubicBezTo>
                        <a:pt x="77457" y="133540"/>
                        <a:pt x="74819" y="134531"/>
                        <a:pt x="71618" y="133045"/>
                      </a:cubicBezTo>
                      <a:cubicBezTo>
                        <a:pt x="65732" y="130331"/>
                        <a:pt x="65313" y="129635"/>
                        <a:pt x="59036" y="129654"/>
                      </a:cubicBezTo>
                      <a:cubicBezTo>
                        <a:pt x="54397" y="129673"/>
                        <a:pt x="51711" y="128597"/>
                        <a:pt x="47177" y="126721"/>
                      </a:cubicBezTo>
                      <a:cubicBezTo>
                        <a:pt x="37852" y="122873"/>
                        <a:pt x="31775" y="117110"/>
                        <a:pt x="22107" y="114024"/>
                      </a:cubicBezTo>
                      <a:cubicBezTo>
                        <a:pt x="20593" y="113538"/>
                        <a:pt x="16793" y="113309"/>
                        <a:pt x="15583" y="112262"/>
                      </a:cubicBezTo>
                      <a:cubicBezTo>
                        <a:pt x="14840" y="111614"/>
                        <a:pt x="14659" y="109471"/>
                        <a:pt x="14707" y="109509"/>
                      </a:cubicBezTo>
                      <a:cubicBezTo>
                        <a:pt x="14430" y="109261"/>
                        <a:pt x="15059" y="107794"/>
                        <a:pt x="14058" y="106975"/>
                      </a:cubicBezTo>
                      <a:cubicBezTo>
                        <a:pt x="12154" y="105432"/>
                        <a:pt x="9220" y="105947"/>
                        <a:pt x="7248" y="104718"/>
                      </a:cubicBezTo>
                      <a:cubicBezTo>
                        <a:pt x="2524" y="101765"/>
                        <a:pt x="5343" y="100432"/>
                        <a:pt x="4667" y="99250"/>
                      </a:cubicBezTo>
                      <a:cubicBezTo>
                        <a:pt x="3496" y="97212"/>
                        <a:pt x="1200" y="95479"/>
                        <a:pt x="0" y="93097"/>
                      </a:cubicBezTo>
                      <a:cubicBezTo>
                        <a:pt x="2171" y="93440"/>
                        <a:pt x="4763" y="92488"/>
                        <a:pt x="5743" y="90430"/>
                      </a:cubicBezTo>
                      <a:cubicBezTo>
                        <a:pt x="7925" y="85820"/>
                        <a:pt x="867" y="86068"/>
                        <a:pt x="8258" y="83248"/>
                      </a:cubicBezTo>
                      <a:cubicBezTo>
                        <a:pt x="11544" y="81991"/>
                        <a:pt x="22812" y="86258"/>
                        <a:pt x="20593" y="81601"/>
                      </a:cubicBezTo>
                      <a:cubicBezTo>
                        <a:pt x="22870" y="82620"/>
                        <a:pt x="24812" y="83144"/>
                        <a:pt x="27451" y="82420"/>
                      </a:cubicBezTo>
                      <a:cubicBezTo>
                        <a:pt x="29927" y="81753"/>
                        <a:pt x="27203" y="79772"/>
                        <a:pt x="28365" y="78953"/>
                      </a:cubicBezTo>
                      <a:cubicBezTo>
                        <a:pt x="29356" y="78257"/>
                        <a:pt x="30975" y="79743"/>
                        <a:pt x="32204" y="78953"/>
                      </a:cubicBezTo>
                      <a:cubicBezTo>
                        <a:pt x="35080" y="77095"/>
                        <a:pt x="36252" y="75971"/>
                        <a:pt x="36757" y="74000"/>
                      </a:cubicBezTo>
                      <a:cubicBezTo>
                        <a:pt x="37233" y="72161"/>
                        <a:pt x="33204" y="71618"/>
                        <a:pt x="34661" y="69056"/>
                      </a:cubicBezTo>
                      <a:cubicBezTo>
                        <a:pt x="35490" y="67608"/>
                        <a:pt x="39319" y="68266"/>
                        <a:pt x="40881" y="67208"/>
                      </a:cubicBezTo>
                      <a:cubicBezTo>
                        <a:pt x="41062" y="67085"/>
                        <a:pt x="39881" y="64665"/>
                        <a:pt x="41071" y="63684"/>
                      </a:cubicBezTo>
                      <a:cubicBezTo>
                        <a:pt x="42062" y="62865"/>
                        <a:pt x="44367" y="63036"/>
                        <a:pt x="45558" y="62493"/>
                      </a:cubicBezTo>
                      <a:cubicBezTo>
                        <a:pt x="48596" y="61112"/>
                        <a:pt x="52292" y="60084"/>
                        <a:pt x="54702" y="58541"/>
                      </a:cubicBezTo>
                      <a:cubicBezTo>
                        <a:pt x="59245" y="55616"/>
                        <a:pt x="61741" y="51768"/>
                        <a:pt x="68761" y="51968"/>
                      </a:cubicBezTo>
                      <a:cubicBezTo>
                        <a:pt x="69170" y="48978"/>
                        <a:pt x="72199" y="45825"/>
                        <a:pt x="75390" y="44825"/>
                      </a:cubicBezTo>
                      <a:cubicBezTo>
                        <a:pt x="79010" y="43682"/>
                        <a:pt x="87287" y="46958"/>
                        <a:pt x="83963" y="39938"/>
                      </a:cubicBezTo>
                      <a:cubicBezTo>
                        <a:pt x="87944" y="40024"/>
                        <a:pt x="92230" y="45301"/>
                        <a:pt x="96459" y="45177"/>
                      </a:cubicBezTo>
                      <a:cubicBezTo>
                        <a:pt x="99155" y="45091"/>
                        <a:pt x="96821" y="41948"/>
                        <a:pt x="98640" y="41967"/>
                      </a:cubicBezTo>
                      <a:cubicBezTo>
                        <a:pt x="101708" y="42005"/>
                        <a:pt x="101755" y="43186"/>
                        <a:pt x="103994" y="44253"/>
                      </a:cubicBezTo>
                      <a:cubicBezTo>
                        <a:pt x="113976" y="49016"/>
                        <a:pt x="124091" y="46987"/>
                        <a:pt x="135207" y="48644"/>
                      </a:cubicBezTo>
                      <a:cubicBezTo>
                        <a:pt x="146037" y="50254"/>
                        <a:pt x="149752" y="63475"/>
                        <a:pt x="160877" y="65951"/>
                      </a:cubicBezTo>
                      <a:cubicBezTo>
                        <a:pt x="162344" y="66284"/>
                        <a:pt x="164439" y="64799"/>
                        <a:pt x="166249" y="65218"/>
                      </a:cubicBezTo>
                      <a:cubicBezTo>
                        <a:pt x="169050" y="65865"/>
                        <a:pt x="171059" y="67704"/>
                        <a:pt x="173641" y="68370"/>
                      </a:cubicBezTo>
                      <a:cubicBezTo>
                        <a:pt x="176584" y="69123"/>
                        <a:pt x="183470" y="69599"/>
                        <a:pt x="186118" y="69037"/>
                      </a:cubicBezTo>
                      <a:cubicBezTo>
                        <a:pt x="187766" y="68685"/>
                        <a:pt x="189776" y="66637"/>
                        <a:pt x="191500" y="66256"/>
                      </a:cubicBezTo>
                      <a:cubicBezTo>
                        <a:pt x="193110" y="65903"/>
                        <a:pt x="194662" y="67742"/>
                        <a:pt x="196177" y="67847"/>
                      </a:cubicBezTo>
                      <a:cubicBezTo>
                        <a:pt x="199263" y="68066"/>
                        <a:pt x="203368" y="69056"/>
                        <a:pt x="207407" y="69913"/>
                      </a:cubicBezTo>
                      <a:cubicBezTo>
                        <a:pt x="209502" y="70361"/>
                        <a:pt x="213293" y="69894"/>
                        <a:pt x="215026" y="69913"/>
                      </a:cubicBezTo>
                      <a:cubicBezTo>
                        <a:pt x="221761" y="69990"/>
                        <a:pt x="224742" y="72285"/>
                        <a:pt x="230667" y="74181"/>
                      </a:cubicBezTo>
                      <a:cubicBezTo>
                        <a:pt x="238668" y="76752"/>
                        <a:pt x="235925" y="72142"/>
                        <a:pt x="239935" y="69094"/>
                      </a:cubicBezTo>
                      <a:cubicBezTo>
                        <a:pt x="243087" y="66694"/>
                        <a:pt x="247364" y="69294"/>
                        <a:pt x="249221" y="64246"/>
                      </a:cubicBezTo>
                      <a:cubicBezTo>
                        <a:pt x="253269" y="53207"/>
                        <a:pt x="240106" y="49863"/>
                        <a:pt x="234572" y="45491"/>
                      </a:cubicBezTo>
                      <a:cubicBezTo>
                        <a:pt x="228276" y="40510"/>
                        <a:pt x="218180" y="31871"/>
                        <a:pt x="219217" y="23308"/>
                      </a:cubicBezTo>
                      <a:cubicBezTo>
                        <a:pt x="219618" y="19936"/>
                        <a:pt x="222028" y="20879"/>
                        <a:pt x="222361" y="19231"/>
                      </a:cubicBezTo>
                      <a:cubicBezTo>
                        <a:pt x="222685" y="17640"/>
                        <a:pt x="220066" y="15230"/>
                        <a:pt x="221085" y="13230"/>
                      </a:cubicBezTo>
                      <a:cubicBezTo>
                        <a:pt x="222856" y="9773"/>
                        <a:pt x="226476" y="11373"/>
                        <a:pt x="227657" y="6677"/>
                      </a:cubicBezTo>
                      <a:cubicBezTo>
                        <a:pt x="228142" y="4734"/>
                        <a:pt x="226780" y="1943"/>
                        <a:pt x="226514" y="0"/>
                      </a:cubicBezTo>
                      <a:cubicBezTo>
                        <a:pt x="234610" y="2915"/>
                        <a:pt x="242840" y="5001"/>
                        <a:pt x="251250" y="7401"/>
                      </a:cubicBezTo>
                      <a:cubicBezTo>
                        <a:pt x="256098" y="8792"/>
                        <a:pt x="260004" y="11335"/>
                        <a:pt x="265119" y="12030"/>
                      </a:cubicBezTo>
                      <a:cubicBezTo>
                        <a:pt x="270548" y="12763"/>
                        <a:pt x="275434" y="12430"/>
                        <a:pt x="280797" y="13821"/>
                      </a:cubicBezTo>
                      <a:cubicBezTo>
                        <a:pt x="290113" y="16221"/>
                        <a:pt x="299018" y="19469"/>
                        <a:pt x="308181" y="20450"/>
                      </a:cubicBezTo>
                      <a:cubicBezTo>
                        <a:pt x="319316" y="21641"/>
                        <a:pt x="324850" y="23698"/>
                        <a:pt x="331565" y="31794"/>
                      </a:cubicBezTo>
                      <a:cubicBezTo>
                        <a:pt x="334080" y="34823"/>
                        <a:pt x="337252" y="38271"/>
                        <a:pt x="339937" y="41167"/>
                      </a:cubicBezTo>
                      <a:cubicBezTo>
                        <a:pt x="341709" y="43062"/>
                        <a:pt x="344519" y="46768"/>
                        <a:pt x="346453" y="48254"/>
                      </a:cubicBezTo>
                      <a:cubicBezTo>
                        <a:pt x="352444" y="52864"/>
                        <a:pt x="363788" y="55426"/>
                        <a:pt x="371227" y="57074"/>
                      </a:cubicBezTo>
                      <a:cubicBezTo>
                        <a:pt x="379866" y="58979"/>
                        <a:pt x="386515" y="61274"/>
                        <a:pt x="395192" y="61208"/>
                      </a:cubicBezTo>
                      <a:cubicBezTo>
                        <a:pt x="404383" y="61141"/>
                        <a:pt x="409870" y="57531"/>
                        <a:pt x="419185" y="54826"/>
                      </a:cubicBezTo>
                      <a:cubicBezTo>
                        <a:pt x="428491" y="52121"/>
                        <a:pt x="435721" y="52530"/>
                        <a:pt x="445808" y="54807"/>
                      </a:cubicBezTo>
                      <a:cubicBezTo>
                        <a:pt x="454723" y="56807"/>
                        <a:pt x="464220" y="55197"/>
                        <a:pt x="472573" y="59312"/>
                      </a:cubicBezTo>
                      <a:cubicBezTo>
                        <a:pt x="476783" y="61389"/>
                        <a:pt x="480317" y="64570"/>
                        <a:pt x="484861" y="66018"/>
                      </a:cubicBezTo>
                      <a:cubicBezTo>
                        <a:pt x="489471" y="67494"/>
                        <a:pt x="494128" y="67008"/>
                        <a:pt x="498977" y="67427"/>
                      </a:cubicBezTo>
                      <a:cubicBezTo>
                        <a:pt x="508825" y="68275"/>
                        <a:pt x="509225" y="75409"/>
                        <a:pt x="516960" y="79467"/>
                      </a:cubicBezTo>
                      <a:cubicBezTo>
                        <a:pt x="535495" y="89202"/>
                        <a:pt x="555660" y="88306"/>
                        <a:pt x="576091" y="91611"/>
                      </a:cubicBezTo>
                      <a:cubicBezTo>
                        <a:pt x="581215" y="92440"/>
                        <a:pt x="584111" y="91135"/>
                        <a:pt x="588673" y="91545"/>
                      </a:cubicBezTo>
                      <a:cubicBezTo>
                        <a:pt x="594255" y="92050"/>
                        <a:pt x="595284" y="94450"/>
                        <a:pt x="600942" y="91964"/>
                      </a:cubicBezTo>
                      <a:cubicBezTo>
                        <a:pt x="605904" y="89783"/>
                        <a:pt x="607647" y="87897"/>
                        <a:pt x="612743" y="86830"/>
                      </a:cubicBezTo>
                      <a:cubicBezTo>
                        <a:pt x="616477" y="86039"/>
                        <a:pt x="620487" y="85839"/>
                        <a:pt x="624192" y="84963"/>
                      </a:cubicBezTo>
                      <a:cubicBezTo>
                        <a:pt x="626773" y="84353"/>
                        <a:pt x="629069" y="82544"/>
                        <a:pt x="631603" y="81991"/>
                      </a:cubicBezTo>
                      <a:cubicBezTo>
                        <a:pt x="634517" y="81372"/>
                        <a:pt x="637365" y="82753"/>
                        <a:pt x="640080" y="82210"/>
                      </a:cubicBezTo>
                      <a:cubicBezTo>
                        <a:pt x="648185" y="80591"/>
                        <a:pt x="644547" y="77067"/>
                        <a:pt x="646443" y="71866"/>
                      </a:cubicBezTo>
                      <a:cubicBezTo>
                        <a:pt x="647919" y="67818"/>
                        <a:pt x="655205" y="63036"/>
                        <a:pt x="658463" y="61093"/>
                      </a:cubicBezTo>
                      <a:cubicBezTo>
                        <a:pt x="663483" y="58093"/>
                        <a:pt x="666692" y="58122"/>
                        <a:pt x="672960" y="58998"/>
                      </a:cubicBezTo>
                      <a:cubicBezTo>
                        <a:pt x="684286" y="60589"/>
                        <a:pt x="693487" y="70028"/>
                        <a:pt x="704916" y="70218"/>
                      </a:cubicBezTo>
                      <a:cubicBezTo>
                        <a:pt x="710460" y="70314"/>
                        <a:pt x="713013" y="66837"/>
                        <a:pt x="718223" y="66399"/>
                      </a:cubicBezTo>
                      <a:cubicBezTo>
                        <a:pt x="723538" y="65980"/>
                        <a:pt x="731663" y="69313"/>
                        <a:pt x="735902" y="72295"/>
                      </a:cubicBezTo>
                      <a:lnTo>
                        <a:pt x="735902" y="72295"/>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02" name="Freeform: Shape 601">
                  <a:extLst>
                    <a:ext uri="{FF2B5EF4-FFF2-40B4-BE49-F238E27FC236}">
                      <a16:creationId xmlns:a16="http://schemas.microsoft.com/office/drawing/2014/main" id="{CCE6410D-1C2E-46AF-8C94-105D5C038677}"/>
                    </a:ext>
                  </a:extLst>
                </p:cNvPr>
                <p:cNvSpPr/>
                <p:nvPr/>
              </p:nvSpPr>
              <p:spPr>
                <a:xfrm>
                  <a:off x="6096557" y="2993506"/>
                  <a:ext cx="52449" cy="52491"/>
                </a:xfrm>
                <a:custGeom>
                  <a:avLst/>
                  <a:gdLst>
                    <a:gd name="connsiteX0" fmla="*/ 18511 w 52449"/>
                    <a:gd name="connsiteY0" fmla="*/ 85 h 52491"/>
                    <a:gd name="connsiteX1" fmla="*/ 39371 w 52449"/>
                    <a:gd name="connsiteY1" fmla="*/ 14077 h 52491"/>
                    <a:gd name="connsiteX2" fmla="*/ 52449 w 52449"/>
                    <a:gd name="connsiteY2" fmla="*/ 21525 h 52491"/>
                    <a:gd name="connsiteX3" fmla="*/ 47724 w 52449"/>
                    <a:gd name="connsiteY3" fmla="*/ 24526 h 52491"/>
                    <a:gd name="connsiteX4" fmla="*/ 44791 w 52449"/>
                    <a:gd name="connsiteY4" fmla="*/ 26050 h 52491"/>
                    <a:gd name="connsiteX5" fmla="*/ 39514 w 52449"/>
                    <a:gd name="connsiteY5" fmla="*/ 33222 h 52491"/>
                    <a:gd name="connsiteX6" fmla="*/ 34351 w 52449"/>
                    <a:gd name="connsiteY6" fmla="*/ 28574 h 52491"/>
                    <a:gd name="connsiteX7" fmla="*/ 26017 w 52449"/>
                    <a:gd name="connsiteY7" fmla="*/ 42328 h 52491"/>
                    <a:gd name="connsiteX8" fmla="*/ 28522 w 52449"/>
                    <a:gd name="connsiteY8" fmla="*/ 52491 h 52491"/>
                    <a:gd name="connsiteX9" fmla="*/ 7415 w 52449"/>
                    <a:gd name="connsiteY9" fmla="*/ 34413 h 52491"/>
                    <a:gd name="connsiteX10" fmla="*/ 2052 w 52449"/>
                    <a:gd name="connsiteY10" fmla="*/ 32546 h 52491"/>
                    <a:gd name="connsiteX11" fmla="*/ 3938 w 52449"/>
                    <a:gd name="connsiteY11" fmla="*/ 27888 h 52491"/>
                    <a:gd name="connsiteX12" fmla="*/ 166 w 52449"/>
                    <a:gd name="connsiteY12" fmla="*/ 18363 h 52491"/>
                    <a:gd name="connsiteX13" fmla="*/ 2081 w 52449"/>
                    <a:gd name="connsiteY13" fmla="*/ 16353 h 52491"/>
                    <a:gd name="connsiteX14" fmla="*/ 4767 w 52449"/>
                    <a:gd name="connsiteY14" fmla="*/ 15992 h 52491"/>
                    <a:gd name="connsiteX15" fmla="*/ 4405 w 52449"/>
                    <a:gd name="connsiteY15" fmla="*/ 12715 h 52491"/>
                    <a:gd name="connsiteX16" fmla="*/ 8577 w 52449"/>
                    <a:gd name="connsiteY16" fmla="*/ 6952 h 52491"/>
                    <a:gd name="connsiteX17" fmla="*/ 14816 w 52449"/>
                    <a:gd name="connsiteY17" fmla="*/ 7657 h 52491"/>
                    <a:gd name="connsiteX18" fmla="*/ 12206 w 52449"/>
                    <a:gd name="connsiteY18" fmla="*/ 28 h 52491"/>
                    <a:gd name="connsiteX19" fmla="*/ 18511 w 52449"/>
                    <a:gd name="connsiteY19" fmla="*/ 85 h 52491"/>
                    <a:gd name="connsiteX20" fmla="*/ 18511 w 52449"/>
                    <a:gd name="connsiteY20" fmla="*/ 85 h 52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2449" h="52491">
                      <a:moveTo>
                        <a:pt x="18511" y="85"/>
                      </a:moveTo>
                      <a:cubicBezTo>
                        <a:pt x="19416" y="6943"/>
                        <a:pt x="33761" y="11734"/>
                        <a:pt x="39371" y="14077"/>
                      </a:cubicBezTo>
                      <a:cubicBezTo>
                        <a:pt x="41705" y="15058"/>
                        <a:pt x="52325" y="18516"/>
                        <a:pt x="52449" y="21525"/>
                      </a:cubicBezTo>
                      <a:cubicBezTo>
                        <a:pt x="52496" y="22745"/>
                        <a:pt x="48505" y="23831"/>
                        <a:pt x="47724" y="24526"/>
                      </a:cubicBezTo>
                      <a:cubicBezTo>
                        <a:pt x="46381" y="25717"/>
                        <a:pt x="45562" y="24945"/>
                        <a:pt x="44791" y="26050"/>
                      </a:cubicBezTo>
                      <a:cubicBezTo>
                        <a:pt x="43971" y="27231"/>
                        <a:pt x="47648" y="35280"/>
                        <a:pt x="39514" y="33222"/>
                      </a:cubicBezTo>
                      <a:cubicBezTo>
                        <a:pt x="35999" y="32327"/>
                        <a:pt x="37914" y="27669"/>
                        <a:pt x="34351" y="28574"/>
                      </a:cubicBezTo>
                      <a:cubicBezTo>
                        <a:pt x="32675" y="28993"/>
                        <a:pt x="26150" y="40452"/>
                        <a:pt x="26017" y="42328"/>
                      </a:cubicBezTo>
                      <a:cubicBezTo>
                        <a:pt x="25845" y="44700"/>
                        <a:pt x="28827" y="48691"/>
                        <a:pt x="28522" y="52491"/>
                      </a:cubicBezTo>
                      <a:cubicBezTo>
                        <a:pt x="25179" y="51358"/>
                        <a:pt x="7157" y="35242"/>
                        <a:pt x="7415" y="34413"/>
                      </a:cubicBezTo>
                      <a:cubicBezTo>
                        <a:pt x="5243" y="35232"/>
                        <a:pt x="3204" y="34813"/>
                        <a:pt x="2052" y="32546"/>
                      </a:cubicBezTo>
                      <a:cubicBezTo>
                        <a:pt x="490" y="29498"/>
                        <a:pt x="4319" y="30651"/>
                        <a:pt x="3938" y="27888"/>
                      </a:cubicBezTo>
                      <a:cubicBezTo>
                        <a:pt x="3509" y="24783"/>
                        <a:pt x="-901" y="22221"/>
                        <a:pt x="166" y="18363"/>
                      </a:cubicBezTo>
                      <a:cubicBezTo>
                        <a:pt x="499" y="17154"/>
                        <a:pt x="1871" y="16896"/>
                        <a:pt x="2081" y="16353"/>
                      </a:cubicBezTo>
                      <a:cubicBezTo>
                        <a:pt x="2261" y="15896"/>
                        <a:pt x="4519" y="16439"/>
                        <a:pt x="4767" y="15992"/>
                      </a:cubicBezTo>
                      <a:cubicBezTo>
                        <a:pt x="5224" y="15172"/>
                        <a:pt x="3814" y="13544"/>
                        <a:pt x="4405" y="12715"/>
                      </a:cubicBezTo>
                      <a:cubicBezTo>
                        <a:pt x="5871" y="10629"/>
                        <a:pt x="5624" y="8267"/>
                        <a:pt x="8577" y="6952"/>
                      </a:cubicBezTo>
                      <a:cubicBezTo>
                        <a:pt x="9672" y="6457"/>
                        <a:pt x="15320" y="6847"/>
                        <a:pt x="14816" y="7657"/>
                      </a:cubicBezTo>
                      <a:cubicBezTo>
                        <a:pt x="16549" y="4876"/>
                        <a:pt x="10396" y="2599"/>
                        <a:pt x="12206" y="28"/>
                      </a:cubicBezTo>
                      <a:cubicBezTo>
                        <a:pt x="12301" y="-87"/>
                        <a:pt x="17701" y="199"/>
                        <a:pt x="18511" y="85"/>
                      </a:cubicBezTo>
                      <a:lnTo>
                        <a:pt x="18511" y="85"/>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03" name="Freeform: Shape 602">
                  <a:extLst>
                    <a:ext uri="{FF2B5EF4-FFF2-40B4-BE49-F238E27FC236}">
                      <a16:creationId xmlns:a16="http://schemas.microsoft.com/office/drawing/2014/main" id="{3D0C7B3E-AF05-4335-9CA6-6875A98EC5E0}"/>
                    </a:ext>
                  </a:extLst>
                </p:cNvPr>
                <p:cNvSpPr/>
                <p:nvPr/>
              </p:nvSpPr>
              <p:spPr>
                <a:xfrm>
                  <a:off x="8398159" y="3466687"/>
                  <a:ext cx="299492" cy="582092"/>
                </a:xfrm>
                <a:custGeom>
                  <a:avLst/>
                  <a:gdLst>
                    <a:gd name="connsiteX0" fmla="*/ 88577 w 299492"/>
                    <a:gd name="connsiteY0" fmla="*/ 3382 h 582092"/>
                    <a:gd name="connsiteX1" fmla="*/ 104541 w 299492"/>
                    <a:gd name="connsiteY1" fmla="*/ 14450 h 582092"/>
                    <a:gd name="connsiteX2" fmla="*/ 112723 w 299492"/>
                    <a:gd name="connsiteY2" fmla="*/ 26261 h 582092"/>
                    <a:gd name="connsiteX3" fmla="*/ 115914 w 299492"/>
                    <a:gd name="connsiteY3" fmla="*/ 29966 h 582092"/>
                    <a:gd name="connsiteX4" fmla="*/ 118572 w 299492"/>
                    <a:gd name="connsiteY4" fmla="*/ 28833 h 582092"/>
                    <a:gd name="connsiteX5" fmla="*/ 124629 w 299492"/>
                    <a:gd name="connsiteY5" fmla="*/ 28880 h 582092"/>
                    <a:gd name="connsiteX6" fmla="*/ 131106 w 299492"/>
                    <a:gd name="connsiteY6" fmla="*/ 39091 h 582092"/>
                    <a:gd name="connsiteX7" fmla="*/ 140936 w 299492"/>
                    <a:gd name="connsiteY7" fmla="*/ 60389 h 582092"/>
                    <a:gd name="connsiteX8" fmla="*/ 144003 w 299492"/>
                    <a:gd name="connsiteY8" fmla="*/ 72372 h 582092"/>
                    <a:gd name="connsiteX9" fmla="*/ 143841 w 299492"/>
                    <a:gd name="connsiteY9" fmla="*/ 79077 h 582092"/>
                    <a:gd name="connsiteX10" fmla="*/ 145498 w 299492"/>
                    <a:gd name="connsiteY10" fmla="*/ 84745 h 582092"/>
                    <a:gd name="connsiteX11" fmla="*/ 142022 w 299492"/>
                    <a:gd name="connsiteY11" fmla="*/ 89355 h 582092"/>
                    <a:gd name="connsiteX12" fmla="*/ 139108 w 299492"/>
                    <a:gd name="connsiteY12" fmla="*/ 92584 h 582092"/>
                    <a:gd name="connsiteX13" fmla="*/ 135516 w 299492"/>
                    <a:gd name="connsiteY13" fmla="*/ 92727 h 582092"/>
                    <a:gd name="connsiteX14" fmla="*/ 135888 w 299492"/>
                    <a:gd name="connsiteY14" fmla="*/ 98670 h 582092"/>
                    <a:gd name="connsiteX15" fmla="*/ 129363 w 299492"/>
                    <a:gd name="connsiteY15" fmla="*/ 103518 h 582092"/>
                    <a:gd name="connsiteX16" fmla="*/ 130868 w 299492"/>
                    <a:gd name="connsiteY16" fmla="*/ 113996 h 582092"/>
                    <a:gd name="connsiteX17" fmla="*/ 127849 w 299492"/>
                    <a:gd name="connsiteY17" fmla="*/ 122330 h 582092"/>
                    <a:gd name="connsiteX18" fmla="*/ 134335 w 299492"/>
                    <a:gd name="connsiteY18" fmla="*/ 129903 h 582092"/>
                    <a:gd name="connsiteX19" fmla="*/ 137193 w 299492"/>
                    <a:gd name="connsiteY19" fmla="*/ 134341 h 582092"/>
                    <a:gd name="connsiteX20" fmla="*/ 136345 w 299492"/>
                    <a:gd name="connsiteY20" fmla="*/ 141990 h 582092"/>
                    <a:gd name="connsiteX21" fmla="*/ 154185 w 299492"/>
                    <a:gd name="connsiteY21" fmla="*/ 138723 h 582092"/>
                    <a:gd name="connsiteX22" fmla="*/ 165120 w 299492"/>
                    <a:gd name="connsiteY22" fmla="*/ 139323 h 582092"/>
                    <a:gd name="connsiteX23" fmla="*/ 172930 w 299492"/>
                    <a:gd name="connsiteY23" fmla="*/ 138875 h 582092"/>
                    <a:gd name="connsiteX24" fmla="*/ 171207 w 299492"/>
                    <a:gd name="connsiteY24" fmla="*/ 147190 h 582092"/>
                    <a:gd name="connsiteX25" fmla="*/ 175902 w 299492"/>
                    <a:gd name="connsiteY25" fmla="*/ 150924 h 582092"/>
                    <a:gd name="connsiteX26" fmla="*/ 178274 w 299492"/>
                    <a:gd name="connsiteY26" fmla="*/ 157316 h 582092"/>
                    <a:gd name="connsiteX27" fmla="*/ 183379 w 299492"/>
                    <a:gd name="connsiteY27" fmla="*/ 164974 h 582092"/>
                    <a:gd name="connsiteX28" fmla="*/ 194676 w 299492"/>
                    <a:gd name="connsiteY28" fmla="*/ 170317 h 582092"/>
                    <a:gd name="connsiteX29" fmla="*/ 203858 w 299492"/>
                    <a:gd name="connsiteY29" fmla="*/ 172584 h 582092"/>
                    <a:gd name="connsiteX30" fmla="*/ 203477 w 299492"/>
                    <a:gd name="connsiteY30" fmla="*/ 181366 h 582092"/>
                    <a:gd name="connsiteX31" fmla="*/ 205087 w 299492"/>
                    <a:gd name="connsiteY31" fmla="*/ 188129 h 582092"/>
                    <a:gd name="connsiteX32" fmla="*/ 203925 w 299492"/>
                    <a:gd name="connsiteY32" fmla="*/ 193539 h 582092"/>
                    <a:gd name="connsiteX33" fmla="*/ 205659 w 299492"/>
                    <a:gd name="connsiteY33" fmla="*/ 201493 h 582092"/>
                    <a:gd name="connsiteX34" fmla="*/ 229252 w 299492"/>
                    <a:gd name="connsiteY34" fmla="*/ 205569 h 582092"/>
                    <a:gd name="connsiteX35" fmla="*/ 230604 w 299492"/>
                    <a:gd name="connsiteY35" fmla="*/ 211332 h 582092"/>
                    <a:gd name="connsiteX36" fmla="*/ 234691 w 299492"/>
                    <a:gd name="connsiteY36" fmla="*/ 215047 h 582092"/>
                    <a:gd name="connsiteX37" fmla="*/ 240205 w 299492"/>
                    <a:gd name="connsiteY37" fmla="*/ 221333 h 582092"/>
                    <a:gd name="connsiteX38" fmla="*/ 252407 w 299492"/>
                    <a:gd name="connsiteY38" fmla="*/ 222276 h 582092"/>
                    <a:gd name="connsiteX39" fmla="*/ 262037 w 299492"/>
                    <a:gd name="connsiteY39" fmla="*/ 214799 h 582092"/>
                    <a:gd name="connsiteX40" fmla="*/ 268523 w 299492"/>
                    <a:gd name="connsiteY40" fmla="*/ 215513 h 582092"/>
                    <a:gd name="connsiteX41" fmla="*/ 262647 w 299492"/>
                    <a:gd name="connsiteY41" fmla="*/ 226810 h 582092"/>
                    <a:gd name="connsiteX42" fmla="*/ 261180 w 299492"/>
                    <a:gd name="connsiteY42" fmla="*/ 241126 h 582092"/>
                    <a:gd name="connsiteX43" fmla="*/ 251483 w 299492"/>
                    <a:gd name="connsiteY43" fmla="*/ 244679 h 582092"/>
                    <a:gd name="connsiteX44" fmla="*/ 251188 w 299492"/>
                    <a:gd name="connsiteY44" fmla="*/ 258223 h 582092"/>
                    <a:gd name="connsiteX45" fmla="*/ 241168 w 299492"/>
                    <a:gd name="connsiteY45" fmla="*/ 256423 h 582092"/>
                    <a:gd name="connsiteX46" fmla="*/ 230490 w 299492"/>
                    <a:gd name="connsiteY46" fmla="*/ 256757 h 582092"/>
                    <a:gd name="connsiteX47" fmla="*/ 220203 w 299492"/>
                    <a:gd name="connsiteY47" fmla="*/ 266634 h 582092"/>
                    <a:gd name="connsiteX48" fmla="*/ 220412 w 299492"/>
                    <a:gd name="connsiteY48" fmla="*/ 274340 h 582092"/>
                    <a:gd name="connsiteX49" fmla="*/ 216422 w 299492"/>
                    <a:gd name="connsiteY49" fmla="*/ 275178 h 582092"/>
                    <a:gd name="connsiteX50" fmla="*/ 202353 w 299492"/>
                    <a:gd name="connsiteY50" fmla="*/ 278016 h 582092"/>
                    <a:gd name="connsiteX51" fmla="*/ 194914 w 299492"/>
                    <a:gd name="connsiteY51" fmla="*/ 275683 h 582092"/>
                    <a:gd name="connsiteX52" fmla="*/ 192238 w 299492"/>
                    <a:gd name="connsiteY52" fmla="*/ 279102 h 582092"/>
                    <a:gd name="connsiteX53" fmla="*/ 191190 w 299492"/>
                    <a:gd name="connsiteY53" fmla="*/ 295580 h 582092"/>
                    <a:gd name="connsiteX54" fmla="*/ 190228 w 299492"/>
                    <a:gd name="connsiteY54" fmla="*/ 302562 h 582092"/>
                    <a:gd name="connsiteX55" fmla="*/ 194095 w 299492"/>
                    <a:gd name="connsiteY55" fmla="*/ 312144 h 582092"/>
                    <a:gd name="connsiteX56" fmla="*/ 183294 w 299492"/>
                    <a:gd name="connsiteY56" fmla="*/ 314869 h 582092"/>
                    <a:gd name="connsiteX57" fmla="*/ 193114 w 299492"/>
                    <a:gd name="connsiteY57" fmla="*/ 322793 h 582092"/>
                    <a:gd name="connsiteX58" fmla="*/ 199553 w 299492"/>
                    <a:gd name="connsiteY58" fmla="*/ 337576 h 582092"/>
                    <a:gd name="connsiteX59" fmla="*/ 227128 w 299492"/>
                    <a:gd name="connsiteY59" fmla="*/ 362217 h 582092"/>
                    <a:gd name="connsiteX60" fmla="*/ 235719 w 299492"/>
                    <a:gd name="connsiteY60" fmla="*/ 376190 h 582092"/>
                    <a:gd name="connsiteX61" fmla="*/ 240529 w 299492"/>
                    <a:gd name="connsiteY61" fmla="*/ 383734 h 582092"/>
                    <a:gd name="connsiteX62" fmla="*/ 246197 w 299492"/>
                    <a:gd name="connsiteY62" fmla="*/ 381553 h 582092"/>
                    <a:gd name="connsiteX63" fmla="*/ 240815 w 299492"/>
                    <a:gd name="connsiteY63" fmla="*/ 392374 h 582092"/>
                    <a:gd name="connsiteX64" fmla="*/ 244083 w 299492"/>
                    <a:gd name="connsiteY64" fmla="*/ 411690 h 582092"/>
                    <a:gd name="connsiteX65" fmla="*/ 235691 w 299492"/>
                    <a:gd name="connsiteY65" fmla="*/ 417824 h 582092"/>
                    <a:gd name="connsiteX66" fmla="*/ 238758 w 299492"/>
                    <a:gd name="connsiteY66" fmla="*/ 431521 h 582092"/>
                    <a:gd name="connsiteX67" fmla="*/ 268000 w 299492"/>
                    <a:gd name="connsiteY67" fmla="*/ 458429 h 582092"/>
                    <a:gd name="connsiteX68" fmla="*/ 279725 w 299492"/>
                    <a:gd name="connsiteY68" fmla="*/ 490548 h 582092"/>
                    <a:gd name="connsiteX69" fmla="*/ 289355 w 299492"/>
                    <a:gd name="connsiteY69" fmla="*/ 504673 h 582092"/>
                    <a:gd name="connsiteX70" fmla="*/ 296556 w 299492"/>
                    <a:gd name="connsiteY70" fmla="*/ 519332 h 582092"/>
                    <a:gd name="connsiteX71" fmla="*/ 296527 w 299492"/>
                    <a:gd name="connsiteY71" fmla="*/ 533334 h 582092"/>
                    <a:gd name="connsiteX72" fmla="*/ 287973 w 299492"/>
                    <a:gd name="connsiteY72" fmla="*/ 552146 h 582092"/>
                    <a:gd name="connsiteX73" fmla="*/ 280297 w 299492"/>
                    <a:gd name="connsiteY73" fmla="*/ 565109 h 582092"/>
                    <a:gd name="connsiteX74" fmla="*/ 280277 w 299492"/>
                    <a:gd name="connsiteY74" fmla="*/ 574139 h 582092"/>
                    <a:gd name="connsiteX75" fmla="*/ 276391 w 299492"/>
                    <a:gd name="connsiteY75" fmla="*/ 582092 h 582092"/>
                    <a:gd name="connsiteX76" fmla="*/ 272295 w 299492"/>
                    <a:gd name="connsiteY76" fmla="*/ 568072 h 582092"/>
                    <a:gd name="connsiteX77" fmla="*/ 273277 w 299492"/>
                    <a:gd name="connsiteY77" fmla="*/ 556470 h 582092"/>
                    <a:gd name="connsiteX78" fmla="*/ 275591 w 299492"/>
                    <a:gd name="connsiteY78" fmla="*/ 542707 h 582092"/>
                    <a:gd name="connsiteX79" fmla="*/ 277553 w 299492"/>
                    <a:gd name="connsiteY79" fmla="*/ 529019 h 582092"/>
                    <a:gd name="connsiteX80" fmla="*/ 269295 w 299492"/>
                    <a:gd name="connsiteY80" fmla="*/ 525904 h 582092"/>
                    <a:gd name="connsiteX81" fmla="*/ 270419 w 299492"/>
                    <a:gd name="connsiteY81" fmla="*/ 521552 h 582092"/>
                    <a:gd name="connsiteX82" fmla="*/ 269104 w 299492"/>
                    <a:gd name="connsiteY82" fmla="*/ 513093 h 582092"/>
                    <a:gd name="connsiteX83" fmla="*/ 266266 w 299492"/>
                    <a:gd name="connsiteY83" fmla="*/ 510731 h 582092"/>
                    <a:gd name="connsiteX84" fmla="*/ 267266 w 299492"/>
                    <a:gd name="connsiteY84" fmla="*/ 508455 h 582092"/>
                    <a:gd name="connsiteX85" fmla="*/ 265942 w 299492"/>
                    <a:gd name="connsiteY85" fmla="*/ 504740 h 582092"/>
                    <a:gd name="connsiteX86" fmla="*/ 261447 w 299492"/>
                    <a:gd name="connsiteY86" fmla="*/ 489119 h 582092"/>
                    <a:gd name="connsiteX87" fmla="*/ 252950 w 299492"/>
                    <a:gd name="connsiteY87" fmla="*/ 473441 h 582092"/>
                    <a:gd name="connsiteX88" fmla="*/ 246149 w 299492"/>
                    <a:gd name="connsiteY88" fmla="*/ 465868 h 582092"/>
                    <a:gd name="connsiteX89" fmla="*/ 242911 w 299492"/>
                    <a:gd name="connsiteY89" fmla="*/ 457801 h 582092"/>
                    <a:gd name="connsiteX90" fmla="*/ 243482 w 299492"/>
                    <a:gd name="connsiteY90" fmla="*/ 468278 h 582092"/>
                    <a:gd name="connsiteX91" fmla="*/ 238272 w 299492"/>
                    <a:gd name="connsiteY91" fmla="*/ 451657 h 582092"/>
                    <a:gd name="connsiteX92" fmla="*/ 229728 w 299492"/>
                    <a:gd name="connsiteY92" fmla="*/ 435255 h 582092"/>
                    <a:gd name="connsiteX93" fmla="*/ 232795 w 299492"/>
                    <a:gd name="connsiteY93" fmla="*/ 436617 h 582092"/>
                    <a:gd name="connsiteX94" fmla="*/ 226890 w 299492"/>
                    <a:gd name="connsiteY94" fmla="*/ 432912 h 582092"/>
                    <a:gd name="connsiteX95" fmla="*/ 223337 w 299492"/>
                    <a:gd name="connsiteY95" fmla="*/ 423739 h 582092"/>
                    <a:gd name="connsiteX96" fmla="*/ 218432 w 299492"/>
                    <a:gd name="connsiteY96" fmla="*/ 408461 h 582092"/>
                    <a:gd name="connsiteX97" fmla="*/ 214679 w 299492"/>
                    <a:gd name="connsiteY97" fmla="*/ 398327 h 582092"/>
                    <a:gd name="connsiteX98" fmla="*/ 209592 w 299492"/>
                    <a:gd name="connsiteY98" fmla="*/ 392526 h 582092"/>
                    <a:gd name="connsiteX99" fmla="*/ 209859 w 299492"/>
                    <a:gd name="connsiteY99" fmla="*/ 376248 h 582092"/>
                    <a:gd name="connsiteX100" fmla="*/ 191504 w 299492"/>
                    <a:gd name="connsiteY100" fmla="*/ 366046 h 582092"/>
                    <a:gd name="connsiteX101" fmla="*/ 176417 w 299492"/>
                    <a:gd name="connsiteY101" fmla="*/ 350035 h 582092"/>
                    <a:gd name="connsiteX102" fmla="*/ 178474 w 299492"/>
                    <a:gd name="connsiteY102" fmla="*/ 354664 h 582092"/>
                    <a:gd name="connsiteX103" fmla="*/ 181074 w 299492"/>
                    <a:gd name="connsiteY103" fmla="*/ 361684 h 582092"/>
                    <a:gd name="connsiteX104" fmla="*/ 176359 w 299492"/>
                    <a:gd name="connsiteY104" fmla="*/ 375676 h 582092"/>
                    <a:gd name="connsiteX105" fmla="*/ 160939 w 299492"/>
                    <a:gd name="connsiteY105" fmla="*/ 369961 h 582092"/>
                    <a:gd name="connsiteX106" fmla="*/ 164863 w 299492"/>
                    <a:gd name="connsiteY106" fmla="*/ 377296 h 582092"/>
                    <a:gd name="connsiteX107" fmla="*/ 163605 w 299492"/>
                    <a:gd name="connsiteY107" fmla="*/ 382829 h 582092"/>
                    <a:gd name="connsiteX108" fmla="*/ 159691 w 299492"/>
                    <a:gd name="connsiteY108" fmla="*/ 384334 h 582092"/>
                    <a:gd name="connsiteX109" fmla="*/ 153900 w 299492"/>
                    <a:gd name="connsiteY109" fmla="*/ 388240 h 582092"/>
                    <a:gd name="connsiteX110" fmla="*/ 144299 w 299492"/>
                    <a:gd name="connsiteY110" fmla="*/ 402622 h 582092"/>
                    <a:gd name="connsiteX111" fmla="*/ 139936 w 299492"/>
                    <a:gd name="connsiteY111" fmla="*/ 391097 h 582092"/>
                    <a:gd name="connsiteX112" fmla="*/ 129983 w 299492"/>
                    <a:gd name="connsiteY112" fmla="*/ 399813 h 582092"/>
                    <a:gd name="connsiteX113" fmla="*/ 125315 w 299492"/>
                    <a:gd name="connsiteY113" fmla="*/ 388421 h 582092"/>
                    <a:gd name="connsiteX114" fmla="*/ 120162 w 299492"/>
                    <a:gd name="connsiteY114" fmla="*/ 397184 h 582092"/>
                    <a:gd name="connsiteX115" fmla="*/ 117047 w 299492"/>
                    <a:gd name="connsiteY115" fmla="*/ 378048 h 582092"/>
                    <a:gd name="connsiteX116" fmla="*/ 105065 w 299492"/>
                    <a:gd name="connsiteY116" fmla="*/ 391088 h 582092"/>
                    <a:gd name="connsiteX117" fmla="*/ 105951 w 299492"/>
                    <a:gd name="connsiteY117" fmla="*/ 363665 h 582092"/>
                    <a:gd name="connsiteX118" fmla="*/ 100560 w 299492"/>
                    <a:gd name="connsiteY118" fmla="*/ 336709 h 582092"/>
                    <a:gd name="connsiteX119" fmla="*/ 83224 w 299492"/>
                    <a:gd name="connsiteY119" fmla="*/ 308106 h 582092"/>
                    <a:gd name="connsiteX120" fmla="*/ 85453 w 299492"/>
                    <a:gd name="connsiteY120" fmla="*/ 307830 h 582092"/>
                    <a:gd name="connsiteX121" fmla="*/ 74680 w 299492"/>
                    <a:gd name="connsiteY121" fmla="*/ 290628 h 582092"/>
                    <a:gd name="connsiteX122" fmla="*/ 74413 w 299492"/>
                    <a:gd name="connsiteY122" fmla="*/ 302839 h 582092"/>
                    <a:gd name="connsiteX123" fmla="*/ 57097 w 299492"/>
                    <a:gd name="connsiteY123" fmla="*/ 288037 h 582092"/>
                    <a:gd name="connsiteX124" fmla="*/ 70451 w 299492"/>
                    <a:gd name="connsiteY124" fmla="*/ 284493 h 582092"/>
                    <a:gd name="connsiteX125" fmla="*/ 58935 w 299492"/>
                    <a:gd name="connsiteY125" fmla="*/ 270939 h 582092"/>
                    <a:gd name="connsiteX126" fmla="*/ 41000 w 299492"/>
                    <a:gd name="connsiteY126" fmla="*/ 266891 h 582092"/>
                    <a:gd name="connsiteX127" fmla="*/ 43695 w 299492"/>
                    <a:gd name="connsiteY127" fmla="*/ 272854 h 582092"/>
                    <a:gd name="connsiteX128" fmla="*/ 37904 w 299492"/>
                    <a:gd name="connsiteY128" fmla="*/ 262462 h 582092"/>
                    <a:gd name="connsiteX129" fmla="*/ 35409 w 299492"/>
                    <a:gd name="connsiteY129" fmla="*/ 262338 h 582092"/>
                    <a:gd name="connsiteX130" fmla="*/ 34066 w 299492"/>
                    <a:gd name="connsiteY130" fmla="*/ 255385 h 582092"/>
                    <a:gd name="connsiteX131" fmla="*/ 32189 w 299492"/>
                    <a:gd name="connsiteY131" fmla="*/ 262272 h 582092"/>
                    <a:gd name="connsiteX132" fmla="*/ 29065 w 299492"/>
                    <a:gd name="connsiteY132" fmla="*/ 259833 h 582092"/>
                    <a:gd name="connsiteX133" fmla="*/ 28827 w 299492"/>
                    <a:gd name="connsiteY133" fmla="*/ 255690 h 582092"/>
                    <a:gd name="connsiteX134" fmla="*/ 22702 w 299492"/>
                    <a:gd name="connsiteY134" fmla="*/ 250403 h 582092"/>
                    <a:gd name="connsiteX135" fmla="*/ 25512 w 299492"/>
                    <a:gd name="connsiteY135" fmla="*/ 258852 h 582092"/>
                    <a:gd name="connsiteX136" fmla="*/ 8643 w 299492"/>
                    <a:gd name="connsiteY136" fmla="*/ 242631 h 582092"/>
                    <a:gd name="connsiteX137" fmla="*/ 23 w 299492"/>
                    <a:gd name="connsiteY137" fmla="*/ 226934 h 582092"/>
                    <a:gd name="connsiteX138" fmla="*/ 12072 w 299492"/>
                    <a:gd name="connsiteY138" fmla="*/ 228334 h 582092"/>
                    <a:gd name="connsiteX139" fmla="*/ 8700 w 299492"/>
                    <a:gd name="connsiteY139" fmla="*/ 215409 h 582092"/>
                    <a:gd name="connsiteX140" fmla="*/ 7767 w 299492"/>
                    <a:gd name="connsiteY140" fmla="*/ 200978 h 582092"/>
                    <a:gd name="connsiteX141" fmla="*/ 14216 w 299492"/>
                    <a:gd name="connsiteY141" fmla="*/ 205036 h 582092"/>
                    <a:gd name="connsiteX142" fmla="*/ 17673 w 299492"/>
                    <a:gd name="connsiteY142" fmla="*/ 199988 h 582092"/>
                    <a:gd name="connsiteX143" fmla="*/ 20474 w 299492"/>
                    <a:gd name="connsiteY143" fmla="*/ 198130 h 582092"/>
                    <a:gd name="connsiteX144" fmla="*/ 16702 w 299492"/>
                    <a:gd name="connsiteY144" fmla="*/ 188853 h 582092"/>
                    <a:gd name="connsiteX145" fmla="*/ 13968 w 299492"/>
                    <a:gd name="connsiteY145" fmla="*/ 172536 h 582092"/>
                    <a:gd name="connsiteX146" fmla="*/ 18178 w 299492"/>
                    <a:gd name="connsiteY146" fmla="*/ 171012 h 582092"/>
                    <a:gd name="connsiteX147" fmla="*/ 16397 w 299492"/>
                    <a:gd name="connsiteY147" fmla="*/ 161040 h 582092"/>
                    <a:gd name="connsiteX148" fmla="*/ 12949 w 299492"/>
                    <a:gd name="connsiteY148" fmla="*/ 150715 h 582092"/>
                    <a:gd name="connsiteX149" fmla="*/ 7338 w 299492"/>
                    <a:gd name="connsiteY149" fmla="*/ 141504 h 582092"/>
                    <a:gd name="connsiteX150" fmla="*/ 12377 w 299492"/>
                    <a:gd name="connsiteY150" fmla="*/ 142666 h 582092"/>
                    <a:gd name="connsiteX151" fmla="*/ 18778 w 299492"/>
                    <a:gd name="connsiteY151" fmla="*/ 141980 h 582092"/>
                    <a:gd name="connsiteX152" fmla="*/ 29694 w 299492"/>
                    <a:gd name="connsiteY152" fmla="*/ 145228 h 582092"/>
                    <a:gd name="connsiteX153" fmla="*/ 33808 w 299492"/>
                    <a:gd name="connsiteY153" fmla="*/ 140837 h 582092"/>
                    <a:gd name="connsiteX154" fmla="*/ 36618 w 299492"/>
                    <a:gd name="connsiteY154" fmla="*/ 121606 h 582092"/>
                    <a:gd name="connsiteX155" fmla="*/ 38371 w 299492"/>
                    <a:gd name="connsiteY155" fmla="*/ 110986 h 582092"/>
                    <a:gd name="connsiteX156" fmla="*/ 34370 w 299492"/>
                    <a:gd name="connsiteY156" fmla="*/ 105490 h 582092"/>
                    <a:gd name="connsiteX157" fmla="*/ 35523 w 299492"/>
                    <a:gd name="connsiteY157" fmla="*/ 94317 h 582092"/>
                    <a:gd name="connsiteX158" fmla="*/ 38581 w 299492"/>
                    <a:gd name="connsiteY158" fmla="*/ 85230 h 582092"/>
                    <a:gd name="connsiteX159" fmla="*/ 39819 w 299492"/>
                    <a:gd name="connsiteY159" fmla="*/ 78287 h 582092"/>
                    <a:gd name="connsiteX160" fmla="*/ 33008 w 299492"/>
                    <a:gd name="connsiteY160" fmla="*/ 63047 h 582092"/>
                    <a:gd name="connsiteX161" fmla="*/ 49039 w 299492"/>
                    <a:gd name="connsiteY161" fmla="*/ 47730 h 582092"/>
                    <a:gd name="connsiteX162" fmla="*/ 67127 w 299492"/>
                    <a:gd name="connsiteY162" fmla="*/ 37558 h 582092"/>
                    <a:gd name="connsiteX163" fmla="*/ 86015 w 299492"/>
                    <a:gd name="connsiteY163" fmla="*/ 44035 h 582092"/>
                    <a:gd name="connsiteX164" fmla="*/ 73537 w 299492"/>
                    <a:gd name="connsiteY164" fmla="*/ 29195 h 582092"/>
                    <a:gd name="connsiteX165" fmla="*/ 82786 w 299492"/>
                    <a:gd name="connsiteY165" fmla="*/ 18127 h 582092"/>
                    <a:gd name="connsiteX166" fmla="*/ 79633 w 299492"/>
                    <a:gd name="connsiteY166" fmla="*/ 12364 h 582092"/>
                    <a:gd name="connsiteX167" fmla="*/ 80386 w 299492"/>
                    <a:gd name="connsiteY167" fmla="*/ 5020 h 582092"/>
                    <a:gd name="connsiteX168" fmla="*/ 88577 w 299492"/>
                    <a:gd name="connsiteY168" fmla="*/ 3382 h 582092"/>
                    <a:gd name="connsiteX169" fmla="*/ 88577 w 299492"/>
                    <a:gd name="connsiteY169" fmla="*/ 3382 h 58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299492" h="582092">
                      <a:moveTo>
                        <a:pt x="88577" y="3382"/>
                      </a:moveTo>
                      <a:cubicBezTo>
                        <a:pt x="94197" y="6878"/>
                        <a:pt x="99722" y="8535"/>
                        <a:pt x="104541" y="14450"/>
                      </a:cubicBezTo>
                      <a:cubicBezTo>
                        <a:pt x="107513" y="18098"/>
                        <a:pt x="109523" y="22680"/>
                        <a:pt x="112723" y="26261"/>
                      </a:cubicBezTo>
                      <a:cubicBezTo>
                        <a:pt x="113332" y="26947"/>
                        <a:pt x="114990" y="29690"/>
                        <a:pt x="115914" y="29966"/>
                      </a:cubicBezTo>
                      <a:cubicBezTo>
                        <a:pt x="118514" y="30728"/>
                        <a:pt x="117609" y="28823"/>
                        <a:pt x="118572" y="28833"/>
                      </a:cubicBezTo>
                      <a:cubicBezTo>
                        <a:pt x="119409" y="28842"/>
                        <a:pt x="120838" y="26537"/>
                        <a:pt x="124629" y="28880"/>
                      </a:cubicBezTo>
                      <a:cubicBezTo>
                        <a:pt x="128306" y="31147"/>
                        <a:pt x="129201" y="35234"/>
                        <a:pt x="131106" y="39091"/>
                      </a:cubicBezTo>
                      <a:cubicBezTo>
                        <a:pt x="134497" y="46025"/>
                        <a:pt x="138707" y="52826"/>
                        <a:pt x="140936" y="60389"/>
                      </a:cubicBezTo>
                      <a:cubicBezTo>
                        <a:pt x="141793" y="63247"/>
                        <a:pt x="144089" y="69505"/>
                        <a:pt x="144003" y="72372"/>
                      </a:cubicBezTo>
                      <a:cubicBezTo>
                        <a:pt x="143870" y="76572"/>
                        <a:pt x="142384" y="74486"/>
                        <a:pt x="143841" y="79077"/>
                      </a:cubicBezTo>
                      <a:cubicBezTo>
                        <a:pt x="145461" y="84230"/>
                        <a:pt x="146832" y="81068"/>
                        <a:pt x="145498" y="84745"/>
                      </a:cubicBezTo>
                      <a:cubicBezTo>
                        <a:pt x="146070" y="83173"/>
                        <a:pt x="141212" y="90107"/>
                        <a:pt x="142022" y="89355"/>
                      </a:cubicBezTo>
                      <a:cubicBezTo>
                        <a:pt x="141393" y="89945"/>
                        <a:pt x="139374" y="92288"/>
                        <a:pt x="139108" y="92584"/>
                      </a:cubicBezTo>
                      <a:cubicBezTo>
                        <a:pt x="138431" y="93355"/>
                        <a:pt x="136459" y="91136"/>
                        <a:pt x="135516" y="92727"/>
                      </a:cubicBezTo>
                      <a:cubicBezTo>
                        <a:pt x="134707" y="94098"/>
                        <a:pt x="136497" y="97013"/>
                        <a:pt x="135888" y="98670"/>
                      </a:cubicBezTo>
                      <a:cubicBezTo>
                        <a:pt x="134126" y="103499"/>
                        <a:pt x="130878" y="101280"/>
                        <a:pt x="129363" y="103518"/>
                      </a:cubicBezTo>
                      <a:cubicBezTo>
                        <a:pt x="126791" y="107338"/>
                        <a:pt x="131239" y="111053"/>
                        <a:pt x="130868" y="113996"/>
                      </a:cubicBezTo>
                      <a:cubicBezTo>
                        <a:pt x="130478" y="117139"/>
                        <a:pt x="127372" y="117587"/>
                        <a:pt x="127849" y="122330"/>
                      </a:cubicBezTo>
                      <a:cubicBezTo>
                        <a:pt x="128392" y="127674"/>
                        <a:pt x="131773" y="126835"/>
                        <a:pt x="134335" y="129903"/>
                      </a:cubicBezTo>
                      <a:cubicBezTo>
                        <a:pt x="135030" y="130741"/>
                        <a:pt x="136888" y="133427"/>
                        <a:pt x="137193" y="134341"/>
                      </a:cubicBezTo>
                      <a:cubicBezTo>
                        <a:pt x="138098" y="137123"/>
                        <a:pt x="135821" y="140323"/>
                        <a:pt x="136345" y="141990"/>
                      </a:cubicBezTo>
                      <a:cubicBezTo>
                        <a:pt x="138850" y="149962"/>
                        <a:pt x="147784" y="139789"/>
                        <a:pt x="154185" y="138723"/>
                      </a:cubicBezTo>
                      <a:cubicBezTo>
                        <a:pt x="158024" y="138085"/>
                        <a:pt x="161586" y="139304"/>
                        <a:pt x="165120" y="139323"/>
                      </a:cubicBezTo>
                      <a:cubicBezTo>
                        <a:pt x="166187" y="139323"/>
                        <a:pt x="172026" y="137646"/>
                        <a:pt x="172930" y="138875"/>
                      </a:cubicBezTo>
                      <a:cubicBezTo>
                        <a:pt x="173436" y="139542"/>
                        <a:pt x="170082" y="144562"/>
                        <a:pt x="171207" y="147190"/>
                      </a:cubicBezTo>
                      <a:cubicBezTo>
                        <a:pt x="171883" y="148762"/>
                        <a:pt x="174931" y="149553"/>
                        <a:pt x="175902" y="150924"/>
                      </a:cubicBezTo>
                      <a:cubicBezTo>
                        <a:pt x="177674" y="153401"/>
                        <a:pt x="177065" y="155134"/>
                        <a:pt x="178274" y="157316"/>
                      </a:cubicBezTo>
                      <a:cubicBezTo>
                        <a:pt x="179417" y="159382"/>
                        <a:pt x="182008" y="163269"/>
                        <a:pt x="183379" y="164974"/>
                      </a:cubicBezTo>
                      <a:cubicBezTo>
                        <a:pt x="186351" y="168679"/>
                        <a:pt x="189085" y="169288"/>
                        <a:pt x="194676" y="170317"/>
                      </a:cubicBezTo>
                      <a:cubicBezTo>
                        <a:pt x="197210" y="170784"/>
                        <a:pt x="201992" y="170241"/>
                        <a:pt x="203858" y="172584"/>
                      </a:cubicBezTo>
                      <a:cubicBezTo>
                        <a:pt x="206573" y="175975"/>
                        <a:pt x="203687" y="177042"/>
                        <a:pt x="203477" y="181366"/>
                      </a:cubicBezTo>
                      <a:cubicBezTo>
                        <a:pt x="203354" y="183919"/>
                        <a:pt x="205020" y="185700"/>
                        <a:pt x="205087" y="188129"/>
                      </a:cubicBezTo>
                      <a:cubicBezTo>
                        <a:pt x="205144" y="190148"/>
                        <a:pt x="204039" y="191567"/>
                        <a:pt x="203925" y="193539"/>
                      </a:cubicBezTo>
                      <a:cubicBezTo>
                        <a:pt x="203734" y="196854"/>
                        <a:pt x="202801" y="199502"/>
                        <a:pt x="205659" y="201493"/>
                      </a:cubicBezTo>
                      <a:cubicBezTo>
                        <a:pt x="211335" y="205464"/>
                        <a:pt x="223899" y="199349"/>
                        <a:pt x="229252" y="205569"/>
                      </a:cubicBezTo>
                      <a:cubicBezTo>
                        <a:pt x="230462" y="206979"/>
                        <a:pt x="229576" y="209836"/>
                        <a:pt x="230604" y="211332"/>
                      </a:cubicBezTo>
                      <a:cubicBezTo>
                        <a:pt x="231814" y="213113"/>
                        <a:pt x="233643" y="213770"/>
                        <a:pt x="234691" y="215047"/>
                      </a:cubicBezTo>
                      <a:cubicBezTo>
                        <a:pt x="235605" y="216161"/>
                        <a:pt x="238777" y="220552"/>
                        <a:pt x="240205" y="221333"/>
                      </a:cubicBezTo>
                      <a:cubicBezTo>
                        <a:pt x="241777" y="222190"/>
                        <a:pt x="250712" y="222657"/>
                        <a:pt x="252407" y="222276"/>
                      </a:cubicBezTo>
                      <a:cubicBezTo>
                        <a:pt x="257265" y="221200"/>
                        <a:pt x="257875" y="216866"/>
                        <a:pt x="262037" y="214799"/>
                      </a:cubicBezTo>
                      <a:cubicBezTo>
                        <a:pt x="265847" y="212903"/>
                        <a:pt x="266323" y="212351"/>
                        <a:pt x="268523" y="215513"/>
                      </a:cubicBezTo>
                      <a:cubicBezTo>
                        <a:pt x="272543" y="221276"/>
                        <a:pt x="265885" y="223448"/>
                        <a:pt x="262647" y="226810"/>
                      </a:cubicBezTo>
                      <a:cubicBezTo>
                        <a:pt x="260637" y="228886"/>
                        <a:pt x="253274" y="240107"/>
                        <a:pt x="261180" y="241126"/>
                      </a:cubicBezTo>
                      <a:cubicBezTo>
                        <a:pt x="257941" y="243736"/>
                        <a:pt x="254331" y="241164"/>
                        <a:pt x="251483" y="244679"/>
                      </a:cubicBezTo>
                      <a:cubicBezTo>
                        <a:pt x="249130" y="247584"/>
                        <a:pt x="250645" y="254861"/>
                        <a:pt x="251188" y="258223"/>
                      </a:cubicBezTo>
                      <a:cubicBezTo>
                        <a:pt x="245787" y="255995"/>
                        <a:pt x="245816" y="255871"/>
                        <a:pt x="241168" y="256423"/>
                      </a:cubicBezTo>
                      <a:cubicBezTo>
                        <a:pt x="237339" y="256880"/>
                        <a:pt x="235357" y="258281"/>
                        <a:pt x="230490" y="256757"/>
                      </a:cubicBezTo>
                      <a:cubicBezTo>
                        <a:pt x="237920" y="271311"/>
                        <a:pt x="224603" y="259681"/>
                        <a:pt x="220203" y="266634"/>
                      </a:cubicBezTo>
                      <a:cubicBezTo>
                        <a:pt x="219003" y="268539"/>
                        <a:pt x="221975" y="272225"/>
                        <a:pt x="220412" y="274340"/>
                      </a:cubicBezTo>
                      <a:cubicBezTo>
                        <a:pt x="218956" y="276311"/>
                        <a:pt x="218070" y="274425"/>
                        <a:pt x="216422" y="275178"/>
                      </a:cubicBezTo>
                      <a:cubicBezTo>
                        <a:pt x="212688" y="276873"/>
                        <a:pt x="206611" y="278321"/>
                        <a:pt x="202353" y="278016"/>
                      </a:cubicBezTo>
                      <a:cubicBezTo>
                        <a:pt x="200153" y="277854"/>
                        <a:pt x="196534" y="275445"/>
                        <a:pt x="194914" y="275683"/>
                      </a:cubicBezTo>
                      <a:cubicBezTo>
                        <a:pt x="190542" y="276330"/>
                        <a:pt x="194419" y="276292"/>
                        <a:pt x="192238" y="279102"/>
                      </a:cubicBezTo>
                      <a:cubicBezTo>
                        <a:pt x="186990" y="285817"/>
                        <a:pt x="190924" y="288361"/>
                        <a:pt x="191190" y="295580"/>
                      </a:cubicBezTo>
                      <a:cubicBezTo>
                        <a:pt x="191285" y="298257"/>
                        <a:pt x="189809" y="299695"/>
                        <a:pt x="190228" y="302562"/>
                      </a:cubicBezTo>
                      <a:cubicBezTo>
                        <a:pt x="190514" y="304515"/>
                        <a:pt x="194943" y="310201"/>
                        <a:pt x="194095" y="312144"/>
                      </a:cubicBezTo>
                      <a:cubicBezTo>
                        <a:pt x="192952" y="314773"/>
                        <a:pt x="186075" y="316183"/>
                        <a:pt x="183294" y="314869"/>
                      </a:cubicBezTo>
                      <a:cubicBezTo>
                        <a:pt x="186170" y="319669"/>
                        <a:pt x="190304" y="320317"/>
                        <a:pt x="193114" y="322793"/>
                      </a:cubicBezTo>
                      <a:cubicBezTo>
                        <a:pt x="197753" y="326860"/>
                        <a:pt x="197191" y="333242"/>
                        <a:pt x="199553" y="337576"/>
                      </a:cubicBezTo>
                      <a:cubicBezTo>
                        <a:pt x="204934" y="347444"/>
                        <a:pt x="219441" y="354178"/>
                        <a:pt x="227128" y="362217"/>
                      </a:cubicBezTo>
                      <a:cubicBezTo>
                        <a:pt x="230900" y="366180"/>
                        <a:pt x="232472" y="371599"/>
                        <a:pt x="235719" y="376190"/>
                      </a:cubicBezTo>
                      <a:cubicBezTo>
                        <a:pt x="236863" y="377819"/>
                        <a:pt x="239053" y="383163"/>
                        <a:pt x="240529" y="383734"/>
                      </a:cubicBezTo>
                      <a:cubicBezTo>
                        <a:pt x="243063" y="384696"/>
                        <a:pt x="244063" y="380248"/>
                        <a:pt x="246197" y="381553"/>
                      </a:cubicBezTo>
                      <a:cubicBezTo>
                        <a:pt x="252912" y="385668"/>
                        <a:pt x="241796" y="390402"/>
                        <a:pt x="240815" y="392374"/>
                      </a:cubicBezTo>
                      <a:cubicBezTo>
                        <a:pt x="238053" y="397927"/>
                        <a:pt x="245159" y="406261"/>
                        <a:pt x="244083" y="411690"/>
                      </a:cubicBezTo>
                      <a:cubicBezTo>
                        <a:pt x="243130" y="416462"/>
                        <a:pt x="238396" y="413624"/>
                        <a:pt x="235691" y="417824"/>
                      </a:cubicBezTo>
                      <a:cubicBezTo>
                        <a:pt x="233176" y="421711"/>
                        <a:pt x="236157" y="427645"/>
                        <a:pt x="238758" y="431521"/>
                      </a:cubicBezTo>
                      <a:cubicBezTo>
                        <a:pt x="246378" y="442875"/>
                        <a:pt x="258970" y="448723"/>
                        <a:pt x="268000" y="458429"/>
                      </a:cubicBezTo>
                      <a:cubicBezTo>
                        <a:pt x="277296" y="468412"/>
                        <a:pt x="274915" y="480251"/>
                        <a:pt x="279725" y="490548"/>
                      </a:cubicBezTo>
                      <a:cubicBezTo>
                        <a:pt x="282354" y="496167"/>
                        <a:pt x="286611" y="499806"/>
                        <a:pt x="289355" y="504673"/>
                      </a:cubicBezTo>
                      <a:cubicBezTo>
                        <a:pt x="291965" y="509321"/>
                        <a:pt x="293927" y="514589"/>
                        <a:pt x="296556" y="519332"/>
                      </a:cubicBezTo>
                      <a:cubicBezTo>
                        <a:pt x="301003" y="527362"/>
                        <a:pt x="299908" y="526819"/>
                        <a:pt x="296527" y="533334"/>
                      </a:cubicBezTo>
                      <a:cubicBezTo>
                        <a:pt x="293298" y="539563"/>
                        <a:pt x="292108" y="546269"/>
                        <a:pt x="287973" y="552146"/>
                      </a:cubicBezTo>
                      <a:cubicBezTo>
                        <a:pt x="284173" y="557537"/>
                        <a:pt x="280782" y="559280"/>
                        <a:pt x="280297" y="565109"/>
                      </a:cubicBezTo>
                      <a:cubicBezTo>
                        <a:pt x="280049" y="568157"/>
                        <a:pt x="281077" y="570929"/>
                        <a:pt x="280277" y="574139"/>
                      </a:cubicBezTo>
                      <a:cubicBezTo>
                        <a:pt x="279458" y="577406"/>
                        <a:pt x="277258" y="578492"/>
                        <a:pt x="276391" y="582092"/>
                      </a:cubicBezTo>
                      <a:cubicBezTo>
                        <a:pt x="272858" y="578416"/>
                        <a:pt x="273562" y="572729"/>
                        <a:pt x="272295" y="568072"/>
                      </a:cubicBezTo>
                      <a:cubicBezTo>
                        <a:pt x="270514" y="561518"/>
                        <a:pt x="270933" y="562195"/>
                        <a:pt x="273277" y="556470"/>
                      </a:cubicBezTo>
                      <a:cubicBezTo>
                        <a:pt x="275048" y="552155"/>
                        <a:pt x="275724" y="547126"/>
                        <a:pt x="275591" y="542707"/>
                      </a:cubicBezTo>
                      <a:cubicBezTo>
                        <a:pt x="275439" y="538030"/>
                        <a:pt x="271772" y="531734"/>
                        <a:pt x="277553" y="529019"/>
                      </a:cubicBezTo>
                      <a:cubicBezTo>
                        <a:pt x="273781" y="525038"/>
                        <a:pt x="272210" y="531477"/>
                        <a:pt x="269295" y="525904"/>
                      </a:cubicBezTo>
                      <a:cubicBezTo>
                        <a:pt x="268343" y="524095"/>
                        <a:pt x="270514" y="522771"/>
                        <a:pt x="270419" y="521552"/>
                      </a:cubicBezTo>
                      <a:cubicBezTo>
                        <a:pt x="270152" y="518227"/>
                        <a:pt x="268390" y="516541"/>
                        <a:pt x="269104" y="513093"/>
                      </a:cubicBezTo>
                      <a:cubicBezTo>
                        <a:pt x="265914" y="513160"/>
                        <a:pt x="266952" y="512874"/>
                        <a:pt x="266266" y="510731"/>
                      </a:cubicBezTo>
                      <a:cubicBezTo>
                        <a:pt x="266342" y="510969"/>
                        <a:pt x="267324" y="508807"/>
                        <a:pt x="267266" y="508455"/>
                      </a:cubicBezTo>
                      <a:cubicBezTo>
                        <a:pt x="266933" y="506407"/>
                        <a:pt x="266190" y="506921"/>
                        <a:pt x="265942" y="504740"/>
                      </a:cubicBezTo>
                      <a:cubicBezTo>
                        <a:pt x="265342" y="499025"/>
                        <a:pt x="263523" y="494586"/>
                        <a:pt x="261447" y="489119"/>
                      </a:cubicBezTo>
                      <a:cubicBezTo>
                        <a:pt x="259313" y="483509"/>
                        <a:pt x="256484" y="478441"/>
                        <a:pt x="252950" y="473441"/>
                      </a:cubicBezTo>
                      <a:cubicBezTo>
                        <a:pt x="251083" y="470793"/>
                        <a:pt x="247673" y="468726"/>
                        <a:pt x="246149" y="465868"/>
                      </a:cubicBezTo>
                      <a:cubicBezTo>
                        <a:pt x="244626" y="463001"/>
                        <a:pt x="245454" y="460268"/>
                        <a:pt x="242911" y="457801"/>
                      </a:cubicBezTo>
                      <a:cubicBezTo>
                        <a:pt x="243101" y="461296"/>
                        <a:pt x="243292" y="464783"/>
                        <a:pt x="243482" y="468278"/>
                      </a:cubicBezTo>
                      <a:cubicBezTo>
                        <a:pt x="239301" y="463516"/>
                        <a:pt x="240663" y="456762"/>
                        <a:pt x="238272" y="451657"/>
                      </a:cubicBezTo>
                      <a:cubicBezTo>
                        <a:pt x="235834" y="446457"/>
                        <a:pt x="229700" y="441284"/>
                        <a:pt x="229728" y="435255"/>
                      </a:cubicBezTo>
                      <a:cubicBezTo>
                        <a:pt x="230747" y="435712"/>
                        <a:pt x="231776" y="436160"/>
                        <a:pt x="232795" y="436617"/>
                      </a:cubicBezTo>
                      <a:cubicBezTo>
                        <a:pt x="231014" y="433321"/>
                        <a:pt x="228328" y="434522"/>
                        <a:pt x="226890" y="432912"/>
                      </a:cubicBezTo>
                      <a:cubicBezTo>
                        <a:pt x="224499" y="430235"/>
                        <a:pt x="224432" y="427016"/>
                        <a:pt x="223337" y="423739"/>
                      </a:cubicBezTo>
                      <a:cubicBezTo>
                        <a:pt x="221527" y="418348"/>
                        <a:pt x="219965" y="413910"/>
                        <a:pt x="218432" y="408461"/>
                      </a:cubicBezTo>
                      <a:cubicBezTo>
                        <a:pt x="217584" y="405432"/>
                        <a:pt x="216479" y="400956"/>
                        <a:pt x="214679" y="398327"/>
                      </a:cubicBezTo>
                      <a:cubicBezTo>
                        <a:pt x="213164" y="396107"/>
                        <a:pt x="210526" y="394983"/>
                        <a:pt x="209592" y="392526"/>
                      </a:cubicBezTo>
                      <a:cubicBezTo>
                        <a:pt x="208297" y="389144"/>
                        <a:pt x="207078" y="378638"/>
                        <a:pt x="209859" y="376248"/>
                      </a:cubicBezTo>
                      <a:cubicBezTo>
                        <a:pt x="200315" y="379972"/>
                        <a:pt x="195715" y="374428"/>
                        <a:pt x="191504" y="366046"/>
                      </a:cubicBezTo>
                      <a:cubicBezTo>
                        <a:pt x="187885" y="358826"/>
                        <a:pt x="184484" y="354340"/>
                        <a:pt x="176417" y="350035"/>
                      </a:cubicBezTo>
                      <a:cubicBezTo>
                        <a:pt x="178303" y="351616"/>
                        <a:pt x="177979" y="353054"/>
                        <a:pt x="178474" y="354664"/>
                      </a:cubicBezTo>
                      <a:cubicBezTo>
                        <a:pt x="178941" y="356207"/>
                        <a:pt x="180836" y="359950"/>
                        <a:pt x="181074" y="361684"/>
                      </a:cubicBezTo>
                      <a:cubicBezTo>
                        <a:pt x="181656" y="365789"/>
                        <a:pt x="179589" y="372866"/>
                        <a:pt x="176359" y="375676"/>
                      </a:cubicBezTo>
                      <a:cubicBezTo>
                        <a:pt x="167034" y="383811"/>
                        <a:pt x="166292" y="369952"/>
                        <a:pt x="160939" y="369961"/>
                      </a:cubicBezTo>
                      <a:cubicBezTo>
                        <a:pt x="162406" y="371876"/>
                        <a:pt x="164072" y="375114"/>
                        <a:pt x="164863" y="377296"/>
                      </a:cubicBezTo>
                      <a:cubicBezTo>
                        <a:pt x="167197" y="383744"/>
                        <a:pt x="167740" y="377876"/>
                        <a:pt x="163605" y="382829"/>
                      </a:cubicBezTo>
                      <a:cubicBezTo>
                        <a:pt x="163605" y="382829"/>
                        <a:pt x="159586" y="384392"/>
                        <a:pt x="159691" y="384334"/>
                      </a:cubicBezTo>
                      <a:cubicBezTo>
                        <a:pt x="159443" y="384477"/>
                        <a:pt x="154233" y="387897"/>
                        <a:pt x="153900" y="388240"/>
                      </a:cubicBezTo>
                      <a:cubicBezTo>
                        <a:pt x="151223" y="390954"/>
                        <a:pt x="150099" y="402070"/>
                        <a:pt x="144299" y="402622"/>
                      </a:cubicBezTo>
                      <a:cubicBezTo>
                        <a:pt x="138022" y="403213"/>
                        <a:pt x="142193" y="394679"/>
                        <a:pt x="139936" y="391097"/>
                      </a:cubicBezTo>
                      <a:cubicBezTo>
                        <a:pt x="140203" y="396041"/>
                        <a:pt x="135678" y="402784"/>
                        <a:pt x="129983" y="399813"/>
                      </a:cubicBezTo>
                      <a:cubicBezTo>
                        <a:pt x="126877" y="398193"/>
                        <a:pt x="125868" y="391821"/>
                        <a:pt x="125315" y="388421"/>
                      </a:cubicBezTo>
                      <a:cubicBezTo>
                        <a:pt x="125125" y="392593"/>
                        <a:pt x="124667" y="395726"/>
                        <a:pt x="120162" y="397184"/>
                      </a:cubicBezTo>
                      <a:cubicBezTo>
                        <a:pt x="117352" y="391164"/>
                        <a:pt x="120295" y="383791"/>
                        <a:pt x="117047" y="378048"/>
                      </a:cubicBezTo>
                      <a:cubicBezTo>
                        <a:pt x="117543" y="383715"/>
                        <a:pt x="109894" y="398650"/>
                        <a:pt x="105065" y="391088"/>
                      </a:cubicBezTo>
                      <a:cubicBezTo>
                        <a:pt x="100845" y="384477"/>
                        <a:pt x="105617" y="370876"/>
                        <a:pt x="105951" y="363665"/>
                      </a:cubicBezTo>
                      <a:cubicBezTo>
                        <a:pt x="106446" y="352950"/>
                        <a:pt x="105665" y="346311"/>
                        <a:pt x="100560" y="336709"/>
                      </a:cubicBezTo>
                      <a:cubicBezTo>
                        <a:pt x="95597" y="327375"/>
                        <a:pt x="91635" y="315031"/>
                        <a:pt x="83224" y="308106"/>
                      </a:cubicBezTo>
                      <a:cubicBezTo>
                        <a:pt x="83967" y="308011"/>
                        <a:pt x="84710" y="307925"/>
                        <a:pt x="85453" y="307830"/>
                      </a:cubicBezTo>
                      <a:cubicBezTo>
                        <a:pt x="78480" y="303620"/>
                        <a:pt x="76081" y="298886"/>
                        <a:pt x="74680" y="290628"/>
                      </a:cubicBezTo>
                      <a:cubicBezTo>
                        <a:pt x="72756" y="295371"/>
                        <a:pt x="76023" y="298086"/>
                        <a:pt x="74413" y="302839"/>
                      </a:cubicBezTo>
                      <a:cubicBezTo>
                        <a:pt x="66546" y="299981"/>
                        <a:pt x="62307" y="294285"/>
                        <a:pt x="57097" y="288037"/>
                      </a:cubicBezTo>
                      <a:cubicBezTo>
                        <a:pt x="58287" y="287227"/>
                        <a:pt x="78786" y="296638"/>
                        <a:pt x="70451" y="284493"/>
                      </a:cubicBezTo>
                      <a:cubicBezTo>
                        <a:pt x="67765" y="280579"/>
                        <a:pt x="53468" y="277635"/>
                        <a:pt x="58935" y="270939"/>
                      </a:cubicBezTo>
                      <a:cubicBezTo>
                        <a:pt x="51925" y="272444"/>
                        <a:pt x="48420" y="263357"/>
                        <a:pt x="41000" y="266891"/>
                      </a:cubicBezTo>
                      <a:cubicBezTo>
                        <a:pt x="42400" y="268625"/>
                        <a:pt x="43372" y="270711"/>
                        <a:pt x="43695" y="272854"/>
                      </a:cubicBezTo>
                      <a:cubicBezTo>
                        <a:pt x="39437" y="272454"/>
                        <a:pt x="34333" y="266129"/>
                        <a:pt x="37904" y="262462"/>
                      </a:cubicBezTo>
                      <a:cubicBezTo>
                        <a:pt x="37047" y="262443"/>
                        <a:pt x="36323" y="262233"/>
                        <a:pt x="35409" y="262338"/>
                      </a:cubicBezTo>
                      <a:cubicBezTo>
                        <a:pt x="35742" y="259786"/>
                        <a:pt x="35818" y="257052"/>
                        <a:pt x="34066" y="255385"/>
                      </a:cubicBezTo>
                      <a:cubicBezTo>
                        <a:pt x="34199" y="257338"/>
                        <a:pt x="33847" y="260976"/>
                        <a:pt x="32189" y="262272"/>
                      </a:cubicBezTo>
                      <a:cubicBezTo>
                        <a:pt x="29160" y="264653"/>
                        <a:pt x="29799" y="260976"/>
                        <a:pt x="29065" y="259833"/>
                      </a:cubicBezTo>
                      <a:cubicBezTo>
                        <a:pt x="29313" y="260224"/>
                        <a:pt x="29075" y="256261"/>
                        <a:pt x="28827" y="255690"/>
                      </a:cubicBezTo>
                      <a:cubicBezTo>
                        <a:pt x="28141" y="254099"/>
                        <a:pt x="23836" y="251356"/>
                        <a:pt x="22702" y="250403"/>
                      </a:cubicBezTo>
                      <a:cubicBezTo>
                        <a:pt x="24198" y="252966"/>
                        <a:pt x="25160" y="255909"/>
                        <a:pt x="25512" y="258852"/>
                      </a:cubicBezTo>
                      <a:cubicBezTo>
                        <a:pt x="20293" y="253185"/>
                        <a:pt x="13168" y="248727"/>
                        <a:pt x="8643" y="242631"/>
                      </a:cubicBezTo>
                      <a:cubicBezTo>
                        <a:pt x="6595" y="239878"/>
                        <a:pt x="-453" y="230029"/>
                        <a:pt x="23" y="226934"/>
                      </a:cubicBezTo>
                      <a:cubicBezTo>
                        <a:pt x="1595" y="216590"/>
                        <a:pt x="9472" y="229534"/>
                        <a:pt x="12072" y="228334"/>
                      </a:cubicBezTo>
                      <a:cubicBezTo>
                        <a:pt x="15063" y="226943"/>
                        <a:pt x="9663" y="218390"/>
                        <a:pt x="8700" y="215409"/>
                      </a:cubicBezTo>
                      <a:cubicBezTo>
                        <a:pt x="8015" y="213284"/>
                        <a:pt x="3766" y="202312"/>
                        <a:pt x="7767" y="200978"/>
                      </a:cubicBezTo>
                      <a:cubicBezTo>
                        <a:pt x="10329" y="200121"/>
                        <a:pt x="12120" y="205026"/>
                        <a:pt x="14216" y="205036"/>
                      </a:cubicBezTo>
                      <a:cubicBezTo>
                        <a:pt x="18625" y="205064"/>
                        <a:pt x="16054" y="203559"/>
                        <a:pt x="17673" y="199988"/>
                      </a:cubicBezTo>
                      <a:cubicBezTo>
                        <a:pt x="18235" y="198759"/>
                        <a:pt x="20407" y="198768"/>
                        <a:pt x="20474" y="198130"/>
                      </a:cubicBezTo>
                      <a:cubicBezTo>
                        <a:pt x="20826" y="194558"/>
                        <a:pt x="18254" y="191863"/>
                        <a:pt x="16702" y="188853"/>
                      </a:cubicBezTo>
                      <a:cubicBezTo>
                        <a:pt x="14358" y="184281"/>
                        <a:pt x="12111" y="176232"/>
                        <a:pt x="13968" y="172536"/>
                      </a:cubicBezTo>
                      <a:cubicBezTo>
                        <a:pt x="13987" y="172498"/>
                        <a:pt x="17178" y="172956"/>
                        <a:pt x="18178" y="171012"/>
                      </a:cubicBezTo>
                      <a:cubicBezTo>
                        <a:pt x="19368" y="168698"/>
                        <a:pt x="16987" y="163497"/>
                        <a:pt x="16397" y="161040"/>
                      </a:cubicBezTo>
                      <a:cubicBezTo>
                        <a:pt x="15530" y="157335"/>
                        <a:pt x="14616" y="154039"/>
                        <a:pt x="12949" y="150715"/>
                      </a:cubicBezTo>
                      <a:cubicBezTo>
                        <a:pt x="11901" y="148619"/>
                        <a:pt x="6891" y="143676"/>
                        <a:pt x="7338" y="141504"/>
                      </a:cubicBezTo>
                      <a:cubicBezTo>
                        <a:pt x="8110" y="137827"/>
                        <a:pt x="10119" y="142437"/>
                        <a:pt x="12377" y="142666"/>
                      </a:cubicBezTo>
                      <a:cubicBezTo>
                        <a:pt x="14577" y="142895"/>
                        <a:pt x="16568" y="141742"/>
                        <a:pt x="18778" y="141980"/>
                      </a:cubicBezTo>
                      <a:cubicBezTo>
                        <a:pt x="22397" y="142371"/>
                        <a:pt x="25941" y="145324"/>
                        <a:pt x="29694" y="145228"/>
                      </a:cubicBezTo>
                      <a:cubicBezTo>
                        <a:pt x="34503" y="145114"/>
                        <a:pt x="32951" y="146600"/>
                        <a:pt x="33808" y="140837"/>
                      </a:cubicBezTo>
                      <a:cubicBezTo>
                        <a:pt x="34809" y="134084"/>
                        <a:pt x="34818" y="128274"/>
                        <a:pt x="36618" y="121606"/>
                      </a:cubicBezTo>
                      <a:cubicBezTo>
                        <a:pt x="37466" y="118444"/>
                        <a:pt x="39133" y="114329"/>
                        <a:pt x="38371" y="110986"/>
                      </a:cubicBezTo>
                      <a:cubicBezTo>
                        <a:pt x="37475" y="107014"/>
                        <a:pt x="36247" y="108300"/>
                        <a:pt x="34370" y="105490"/>
                      </a:cubicBezTo>
                      <a:cubicBezTo>
                        <a:pt x="30627" y="99918"/>
                        <a:pt x="32113" y="100099"/>
                        <a:pt x="35523" y="94317"/>
                      </a:cubicBezTo>
                      <a:cubicBezTo>
                        <a:pt x="37352" y="91231"/>
                        <a:pt x="37904" y="88469"/>
                        <a:pt x="38581" y="85230"/>
                      </a:cubicBezTo>
                      <a:cubicBezTo>
                        <a:pt x="38533" y="85469"/>
                        <a:pt x="39771" y="78058"/>
                        <a:pt x="39819" y="78287"/>
                      </a:cubicBezTo>
                      <a:cubicBezTo>
                        <a:pt x="38904" y="73477"/>
                        <a:pt x="31598" y="69143"/>
                        <a:pt x="33008" y="63047"/>
                      </a:cubicBezTo>
                      <a:cubicBezTo>
                        <a:pt x="34303" y="57446"/>
                        <a:pt x="44801" y="52636"/>
                        <a:pt x="49039" y="47730"/>
                      </a:cubicBezTo>
                      <a:cubicBezTo>
                        <a:pt x="54687" y="41177"/>
                        <a:pt x="57431" y="38253"/>
                        <a:pt x="67127" y="37558"/>
                      </a:cubicBezTo>
                      <a:cubicBezTo>
                        <a:pt x="74928" y="36996"/>
                        <a:pt x="78833" y="45321"/>
                        <a:pt x="86015" y="44035"/>
                      </a:cubicBezTo>
                      <a:cubicBezTo>
                        <a:pt x="83786" y="38806"/>
                        <a:pt x="73737" y="35462"/>
                        <a:pt x="73537" y="29195"/>
                      </a:cubicBezTo>
                      <a:cubicBezTo>
                        <a:pt x="73366" y="23746"/>
                        <a:pt x="82252" y="21461"/>
                        <a:pt x="82786" y="18127"/>
                      </a:cubicBezTo>
                      <a:cubicBezTo>
                        <a:pt x="83167" y="15736"/>
                        <a:pt x="80072" y="14345"/>
                        <a:pt x="79633" y="12364"/>
                      </a:cubicBezTo>
                      <a:cubicBezTo>
                        <a:pt x="78957" y="9335"/>
                        <a:pt x="79338" y="8106"/>
                        <a:pt x="80386" y="5020"/>
                      </a:cubicBezTo>
                      <a:cubicBezTo>
                        <a:pt x="81986" y="420"/>
                        <a:pt x="84320" y="-2714"/>
                        <a:pt x="88577" y="3382"/>
                      </a:cubicBezTo>
                      <a:lnTo>
                        <a:pt x="88577" y="3382"/>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04" name="Freeform: Shape 603">
                  <a:extLst>
                    <a:ext uri="{FF2B5EF4-FFF2-40B4-BE49-F238E27FC236}">
                      <a16:creationId xmlns:a16="http://schemas.microsoft.com/office/drawing/2014/main" id="{21828EF8-3F5A-4417-B010-3BC42BCB093E}"/>
                    </a:ext>
                  </a:extLst>
                </p:cNvPr>
                <p:cNvSpPr/>
                <p:nvPr/>
              </p:nvSpPr>
              <p:spPr>
                <a:xfrm>
                  <a:off x="5213184" y="3577569"/>
                  <a:ext cx="511627" cy="467229"/>
                </a:xfrm>
                <a:custGeom>
                  <a:avLst/>
                  <a:gdLst>
                    <a:gd name="connsiteX0" fmla="*/ 509892 w 511627"/>
                    <a:gd name="connsiteY0" fmla="*/ 184327 h 467229"/>
                    <a:gd name="connsiteX1" fmla="*/ 510883 w 511627"/>
                    <a:gd name="connsiteY1" fmla="*/ 251936 h 467229"/>
                    <a:gd name="connsiteX2" fmla="*/ 503215 w 511627"/>
                    <a:gd name="connsiteY2" fmla="*/ 282206 h 467229"/>
                    <a:gd name="connsiteX3" fmla="*/ 498796 w 511627"/>
                    <a:gd name="connsiteY3" fmla="*/ 293160 h 467229"/>
                    <a:gd name="connsiteX4" fmla="*/ 488813 w 511627"/>
                    <a:gd name="connsiteY4" fmla="*/ 303599 h 467229"/>
                    <a:gd name="connsiteX5" fmla="*/ 475069 w 511627"/>
                    <a:gd name="connsiteY5" fmla="*/ 301371 h 467229"/>
                    <a:gd name="connsiteX6" fmla="*/ 473316 w 511627"/>
                    <a:gd name="connsiteY6" fmla="*/ 303561 h 467229"/>
                    <a:gd name="connsiteX7" fmla="*/ 466115 w 511627"/>
                    <a:gd name="connsiteY7" fmla="*/ 304352 h 467229"/>
                    <a:gd name="connsiteX8" fmla="*/ 436435 w 511627"/>
                    <a:gd name="connsiteY8" fmla="*/ 305400 h 467229"/>
                    <a:gd name="connsiteX9" fmla="*/ 421062 w 511627"/>
                    <a:gd name="connsiteY9" fmla="*/ 306228 h 467229"/>
                    <a:gd name="connsiteX10" fmla="*/ 410537 w 511627"/>
                    <a:gd name="connsiteY10" fmla="*/ 314896 h 467229"/>
                    <a:gd name="connsiteX11" fmla="*/ 387144 w 511627"/>
                    <a:gd name="connsiteY11" fmla="*/ 317611 h 467229"/>
                    <a:gd name="connsiteX12" fmla="*/ 351406 w 511627"/>
                    <a:gd name="connsiteY12" fmla="*/ 317582 h 467229"/>
                    <a:gd name="connsiteX13" fmla="*/ 333318 w 511627"/>
                    <a:gd name="connsiteY13" fmla="*/ 327098 h 467229"/>
                    <a:gd name="connsiteX14" fmla="*/ 325593 w 511627"/>
                    <a:gd name="connsiteY14" fmla="*/ 331032 h 467229"/>
                    <a:gd name="connsiteX15" fmla="*/ 319945 w 511627"/>
                    <a:gd name="connsiteY15" fmla="*/ 331755 h 467229"/>
                    <a:gd name="connsiteX16" fmla="*/ 317211 w 511627"/>
                    <a:gd name="connsiteY16" fmla="*/ 338309 h 467229"/>
                    <a:gd name="connsiteX17" fmla="*/ 300152 w 511627"/>
                    <a:gd name="connsiteY17" fmla="*/ 339156 h 467229"/>
                    <a:gd name="connsiteX18" fmla="*/ 289808 w 511627"/>
                    <a:gd name="connsiteY18" fmla="*/ 355073 h 467229"/>
                    <a:gd name="connsiteX19" fmla="*/ 278825 w 511627"/>
                    <a:gd name="connsiteY19" fmla="*/ 359635 h 467229"/>
                    <a:gd name="connsiteX20" fmla="*/ 270015 w 511627"/>
                    <a:gd name="connsiteY20" fmla="*/ 371884 h 467229"/>
                    <a:gd name="connsiteX21" fmla="*/ 249507 w 511627"/>
                    <a:gd name="connsiteY21" fmla="*/ 370217 h 467229"/>
                    <a:gd name="connsiteX22" fmla="*/ 248183 w 511627"/>
                    <a:gd name="connsiteY22" fmla="*/ 379352 h 467229"/>
                    <a:gd name="connsiteX23" fmla="*/ 240992 w 511627"/>
                    <a:gd name="connsiteY23" fmla="*/ 388143 h 467229"/>
                    <a:gd name="connsiteX24" fmla="*/ 215160 w 511627"/>
                    <a:gd name="connsiteY24" fmla="*/ 416861 h 467229"/>
                    <a:gd name="connsiteX25" fmla="*/ 217265 w 511627"/>
                    <a:gd name="connsiteY25" fmla="*/ 424967 h 467229"/>
                    <a:gd name="connsiteX26" fmla="*/ 212960 w 511627"/>
                    <a:gd name="connsiteY26" fmla="*/ 437054 h 467229"/>
                    <a:gd name="connsiteX27" fmla="*/ 209235 w 511627"/>
                    <a:gd name="connsiteY27" fmla="*/ 440407 h 467229"/>
                    <a:gd name="connsiteX28" fmla="*/ 209998 w 511627"/>
                    <a:gd name="connsiteY28" fmla="*/ 447379 h 467229"/>
                    <a:gd name="connsiteX29" fmla="*/ 207864 w 511627"/>
                    <a:gd name="connsiteY29" fmla="*/ 458905 h 467229"/>
                    <a:gd name="connsiteX30" fmla="*/ 194024 w 511627"/>
                    <a:gd name="connsiteY30" fmla="*/ 464229 h 467229"/>
                    <a:gd name="connsiteX31" fmla="*/ 186118 w 511627"/>
                    <a:gd name="connsiteY31" fmla="*/ 464553 h 467229"/>
                    <a:gd name="connsiteX32" fmla="*/ 186976 w 511627"/>
                    <a:gd name="connsiteY32" fmla="*/ 460210 h 467229"/>
                    <a:gd name="connsiteX33" fmla="*/ 180432 w 511627"/>
                    <a:gd name="connsiteY33" fmla="*/ 450742 h 467229"/>
                    <a:gd name="connsiteX34" fmla="*/ 180280 w 511627"/>
                    <a:gd name="connsiteY34" fmla="*/ 454295 h 467229"/>
                    <a:gd name="connsiteX35" fmla="*/ 176660 w 511627"/>
                    <a:gd name="connsiteY35" fmla="*/ 454247 h 467229"/>
                    <a:gd name="connsiteX36" fmla="*/ 171526 w 511627"/>
                    <a:gd name="connsiteY36" fmla="*/ 454638 h 467229"/>
                    <a:gd name="connsiteX37" fmla="*/ 170345 w 511627"/>
                    <a:gd name="connsiteY37" fmla="*/ 461200 h 467229"/>
                    <a:gd name="connsiteX38" fmla="*/ 163011 w 511627"/>
                    <a:gd name="connsiteY38" fmla="*/ 461886 h 467229"/>
                    <a:gd name="connsiteX39" fmla="*/ 156562 w 511627"/>
                    <a:gd name="connsiteY39" fmla="*/ 465401 h 467229"/>
                    <a:gd name="connsiteX40" fmla="*/ 151200 w 511627"/>
                    <a:gd name="connsiteY40" fmla="*/ 464334 h 467229"/>
                    <a:gd name="connsiteX41" fmla="*/ 149200 w 511627"/>
                    <a:gd name="connsiteY41" fmla="*/ 461610 h 467229"/>
                    <a:gd name="connsiteX42" fmla="*/ 144847 w 511627"/>
                    <a:gd name="connsiteY42" fmla="*/ 458705 h 467229"/>
                    <a:gd name="connsiteX43" fmla="*/ 130673 w 511627"/>
                    <a:gd name="connsiteY43" fmla="*/ 467229 h 467229"/>
                    <a:gd name="connsiteX44" fmla="*/ 122177 w 511627"/>
                    <a:gd name="connsiteY44" fmla="*/ 457028 h 467229"/>
                    <a:gd name="connsiteX45" fmla="*/ 120396 w 511627"/>
                    <a:gd name="connsiteY45" fmla="*/ 441436 h 467229"/>
                    <a:gd name="connsiteX46" fmla="*/ 110233 w 511627"/>
                    <a:gd name="connsiteY46" fmla="*/ 439407 h 467229"/>
                    <a:gd name="connsiteX47" fmla="*/ 118167 w 511627"/>
                    <a:gd name="connsiteY47" fmla="*/ 428691 h 467229"/>
                    <a:gd name="connsiteX48" fmla="*/ 112366 w 511627"/>
                    <a:gd name="connsiteY48" fmla="*/ 425691 h 467229"/>
                    <a:gd name="connsiteX49" fmla="*/ 108147 w 511627"/>
                    <a:gd name="connsiteY49" fmla="*/ 420786 h 467229"/>
                    <a:gd name="connsiteX50" fmla="*/ 105499 w 511627"/>
                    <a:gd name="connsiteY50" fmla="*/ 416004 h 467229"/>
                    <a:gd name="connsiteX51" fmla="*/ 102965 w 511627"/>
                    <a:gd name="connsiteY51" fmla="*/ 406374 h 467229"/>
                    <a:gd name="connsiteX52" fmla="*/ 92888 w 511627"/>
                    <a:gd name="connsiteY52" fmla="*/ 394078 h 467229"/>
                    <a:gd name="connsiteX53" fmla="*/ 89411 w 511627"/>
                    <a:gd name="connsiteY53" fmla="*/ 400669 h 467229"/>
                    <a:gd name="connsiteX54" fmla="*/ 77143 w 511627"/>
                    <a:gd name="connsiteY54" fmla="*/ 408194 h 467229"/>
                    <a:gd name="connsiteX55" fmla="*/ 59398 w 511627"/>
                    <a:gd name="connsiteY55" fmla="*/ 403021 h 467229"/>
                    <a:gd name="connsiteX56" fmla="*/ 48492 w 511627"/>
                    <a:gd name="connsiteY56" fmla="*/ 411927 h 467229"/>
                    <a:gd name="connsiteX57" fmla="*/ 41205 w 511627"/>
                    <a:gd name="connsiteY57" fmla="*/ 404126 h 467229"/>
                    <a:gd name="connsiteX58" fmla="*/ 28546 w 511627"/>
                    <a:gd name="connsiteY58" fmla="*/ 408975 h 467229"/>
                    <a:gd name="connsiteX59" fmla="*/ 24908 w 511627"/>
                    <a:gd name="connsiteY59" fmla="*/ 397468 h 467229"/>
                    <a:gd name="connsiteX60" fmla="*/ 25289 w 511627"/>
                    <a:gd name="connsiteY60" fmla="*/ 384029 h 467229"/>
                    <a:gd name="connsiteX61" fmla="*/ 21136 w 511627"/>
                    <a:gd name="connsiteY61" fmla="*/ 370913 h 467229"/>
                    <a:gd name="connsiteX62" fmla="*/ 17021 w 511627"/>
                    <a:gd name="connsiteY62" fmla="*/ 365703 h 467229"/>
                    <a:gd name="connsiteX63" fmla="*/ 12735 w 511627"/>
                    <a:gd name="connsiteY63" fmla="*/ 367903 h 467229"/>
                    <a:gd name="connsiteX64" fmla="*/ 9449 w 511627"/>
                    <a:gd name="connsiteY64" fmla="*/ 362293 h 467229"/>
                    <a:gd name="connsiteX65" fmla="*/ 6067 w 511627"/>
                    <a:gd name="connsiteY65" fmla="*/ 357902 h 467229"/>
                    <a:gd name="connsiteX66" fmla="*/ 8334 w 511627"/>
                    <a:gd name="connsiteY66" fmla="*/ 353053 h 467229"/>
                    <a:gd name="connsiteX67" fmla="*/ 6515 w 511627"/>
                    <a:gd name="connsiteY67" fmla="*/ 338251 h 467229"/>
                    <a:gd name="connsiteX68" fmla="*/ 1543 w 511627"/>
                    <a:gd name="connsiteY68" fmla="*/ 330984 h 467229"/>
                    <a:gd name="connsiteX69" fmla="*/ 0 w 511627"/>
                    <a:gd name="connsiteY69" fmla="*/ 320868 h 467229"/>
                    <a:gd name="connsiteX70" fmla="*/ 16640 w 511627"/>
                    <a:gd name="connsiteY70" fmla="*/ 301447 h 467229"/>
                    <a:gd name="connsiteX71" fmla="*/ 28242 w 511627"/>
                    <a:gd name="connsiteY71" fmla="*/ 297227 h 467229"/>
                    <a:gd name="connsiteX72" fmla="*/ 41538 w 511627"/>
                    <a:gd name="connsiteY72" fmla="*/ 310096 h 467229"/>
                    <a:gd name="connsiteX73" fmla="*/ 52949 w 511627"/>
                    <a:gd name="connsiteY73" fmla="*/ 301161 h 467229"/>
                    <a:gd name="connsiteX74" fmla="*/ 67961 w 511627"/>
                    <a:gd name="connsiteY74" fmla="*/ 302818 h 467229"/>
                    <a:gd name="connsiteX75" fmla="*/ 84677 w 511627"/>
                    <a:gd name="connsiteY75" fmla="*/ 300999 h 467229"/>
                    <a:gd name="connsiteX76" fmla="*/ 88325 w 511627"/>
                    <a:gd name="connsiteY76" fmla="*/ 297246 h 467229"/>
                    <a:gd name="connsiteX77" fmla="*/ 91354 w 511627"/>
                    <a:gd name="connsiteY77" fmla="*/ 293513 h 467229"/>
                    <a:gd name="connsiteX78" fmla="*/ 126578 w 511627"/>
                    <a:gd name="connsiteY78" fmla="*/ 299218 h 467229"/>
                    <a:gd name="connsiteX79" fmla="*/ 167583 w 511627"/>
                    <a:gd name="connsiteY79" fmla="*/ 299218 h 467229"/>
                    <a:gd name="connsiteX80" fmla="*/ 189624 w 511627"/>
                    <a:gd name="connsiteY80" fmla="*/ 299218 h 467229"/>
                    <a:gd name="connsiteX81" fmla="*/ 209836 w 511627"/>
                    <a:gd name="connsiteY81" fmla="*/ 299132 h 467229"/>
                    <a:gd name="connsiteX82" fmla="*/ 214179 w 511627"/>
                    <a:gd name="connsiteY82" fmla="*/ 277996 h 467229"/>
                    <a:gd name="connsiteX83" fmla="*/ 206312 w 511627"/>
                    <a:gd name="connsiteY83" fmla="*/ 260670 h 467229"/>
                    <a:gd name="connsiteX84" fmla="*/ 198358 w 511627"/>
                    <a:gd name="connsiteY84" fmla="*/ 177784 h 467229"/>
                    <a:gd name="connsiteX85" fmla="*/ 190624 w 511627"/>
                    <a:gd name="connsiteY85" fmla="*/ 93735 h 467229"/>
                    <a:gd name="connsiteX86" fmla="*/ 182423 w 511627"/>
                    <a:gd name="connsiteY86" fmla="*/ 38 h 467229"/>
                    <a:gd name="connsiteX87" fmla="*/ 225895 w 511627"/>
                    <a:gd name="connsiteY87" fmla="*/ 28 h 467229"/>
                    <a:gd name="connsiteX88" fmla="*/ 245316 w 511627"/>
                    <a:gd name="connsiteY88" fmla="*/ 6477 h 467229"/>
                    <a:gd name="connsiteX89" fmla="*/ 263928 w 511627"/>
                    <a:gd name="connsiteY89" fmla="*/ 19354 h 467229"/>
                    <a:gd name="connsiteX90" fmla="*/ 340690 w 511627"/>
                    <a:gd name="connsiteY90" fmla="*/ 72037 h 467229"/>
                    <a:gd name="connsiteX91" fmla="*/ 378000 w 511627"/>
                    <a:gd name="connsiteY91" fmla="*/ 97421 h 467229"/>
                    <a:gd name="connsiteX92" fmla="*/ 396935 w 511627"/>
                    <a:gd name="connsiteY92" fmla="*/ 110252 h 467229"/>
                    <a:gd name="connsiteX93" fmla="*/ 414966 w 511627"/>
                    <a:gd name="connsiteY93" fmla="*/ 122424 h 467229"/>
                    <a:gd name="connsiteX94" fmla="*/ 419976 w 511627"/>
                    <a:gd name="connsiteY94" fmla="*/ 135026 h 467229"/>
                    <a:gd name="connsiteX95" fmla="*/ 429492 w 511627"/>
                    <a:gd name="connsiteY95" fmla="*/ 139865 h 467229"/>
                    <a:gd name="connsiteX96" fmla="*/ 432892 w 511627"/>
                    <a:gd name="connsiteY96" fmla="*/ 146161 h 467229"/>
                    <a:gd name="connsiteX97" fmla="*/ 450351 w 511627"/>
                    <a:gd name="connsiteY97" fmla="*/ 151114 h 467229"/>
                    <a:gd name="connsiteX98" fmla="*/ 456914 w 511627"/>
                    <a:gd name="connsiteY98" fmla="*/ 156486 h 467229"/>
                    <a:gd name="connsiteX99" fmla="*/ 466649 w 511627"/>
                    <a:gd name="connsiteY99" fmla="*/ 158448 h 467229"/>
                    <a:gd name="connsiteX100" fmla="*/ 478355 w 511627"/>
                    <a:gd name="connsiteY100" fmla="*/ 170554 h 467229"/>
                    <a:gd name="connsiteX101" fmla="*/ 479469 w 511627"/>
                    <a:gd name="connsiteY101" fmla="*/ 177546 h 467229"/>
                    <a:gd name="connsiteX102" fmla="*/ 476259 w 511627"/>
                    <a:gd name="connsiteY102" fmla="*/ 182689 h 467229"/>
                    <a:gd name="connsiteX103" fmla="*/ 509892 w 511627"/>
                    <a:gd name="connsiteY103" fmla="*/ 184327 h 467229"/>
                    <a:gd name="connsiteX104" fmla="*/ 509892 w 511627"/>
                    <a:gd name="connsiteY104" fmla="*/ 184327 h 46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511627" h="467229">
                      <a:moveTo>
                        <a:pt x="509892" y="184327"/>
                      </a:moveTo>
                      <a:cubicBezTo>
                        <a:pt x="510235" y="206445"/>
                        <a:pt x="512893" y="229933"/>
                        <a:pt x="510883" y="251936"/>
                      </a:cubicBezTo>
                      <a:cubicBezTo>
                        <a:pt x="509902" y="262575"/>
                        <a:pt x="506835" y="272015"/>
                        <a:pt x="503215" y="282206"/>
                      </a:cubicBezTo>
                      <a:cubicBezTo>
                        <a:pt x="502053" y="285483"/>
                        <a:pt x="501062" y="290512"/>
                        <a:pt x="498796" y="293160"/>
                      </a:cubicBezTo>
                      <a:cubicBezTo>
                        <a:pt x="495700" y="296770"/>
                        <a:pt x="487889" y="296608"/>
                        <a:pt x="488813" y="303599"/>
                      </a:cubicBezTo>
                      <a:cubicBezTo>
                        <a:pt x="484956" y="302961"/>
                        <a:pt x="478955" y="300904"/>
                        <a:pt x="475069" y="301371"/>
                      </a:cubicBezTo>
                      <a:cubicBezTo>
                        <a:pt x="473535" y="301552"/>
                        <a:pt x="473688" y="303485"/>
                        <a:pt x="473316" y="303561"/>
                      </a:cubicBezTo>
                      <a:cubicBezTo>
                        <a:pt x="471602" y="303933"/>
                        <a:pt x="468544" y="304266"/>
                        <a:pt x="466115" y="304352"/>
                      </a:cubicBezTo>
                      <a:cubicBezTo>
                        <a:pt x="456228" y="304714"/>
                        <a:pt x="446322" y="304943"/>
                        <a:pt x="436435" y="305400"/>
                      </a:cubicBezTo>
                      <a:cubicBezTo>
                        <a:pt x="432216" y="305600"/>
                        <a:pt x="424958" y="304781"/>
                        <a:pt x="421062" y="306228"/>
                      </a:cubicBezTo>
                      <a:cubicBezTo>
                        <a:pt x="416909" y="307781"/>
                        <a:pt x="414480" y="312972"/>
                        <a:pt x="410537" y="314896"/>
                      </a:cubicBezTo>
                      <a:cubicBezTo>
                        <a:pt x="405155" y="317516"/>
                        <a:pt x="389077" y="312286"/>
                        <a:pt x="387144" y="317611"/>
                      </a:cubicBezTo>
                      <a:cubicBezTo>
                        <a:pt x="374752" y="313220"/>
                        <a:pt x="362369" y="309734"/>
                        <a:pt x="351406" y="317582"/>
                      </a:cubicBezTo>
                      <a:cubicBezTo>
                        <a:pt x="345786" y="321602"/>
                        <a:pt x="339500" y="323821"/>
                        <a:pt x="333318" y="327098"/>
                      </a:cubicBezTo>
                      <a:cubicBezTo>
                        <a:pt x="330613" y="328526"/>
                        <a:pt x="328536" y="330136"/>
                        <a:pt x="325593" y="331032"/>
                      </a:cubicBezTo>
                      <a:cubicBezTo>
                        <a:pt x="323964" y="331517"/>
                        <a:pt x="321469" y="330622"/>
                        <a:pt x="319945" y="331755"/>
                      </a:cubicBezTo>
                      <a:cubicBezTo>
                        <a:pt x="318002" y="333213"/>
                        <a:pt x="318773" y="336470"/>
                        <a:pt x="317211" y="338309"/>
                      </a:cubicBezTo>
                      <a:cubicBezTo>
                        <a:pt x="312782" y="343500"/>
                        <a:pt x="306772" y="336308"/>
                        <a:pt x="300152" y="339156"/>
                      </a:cubicBezTo>
                      <a:cubicBezTo>
                        <a:pt x="291903" y="342709"/>
                        <a:pt x="293446" y="349710"/>
                        <a:pt x="289808" y="355073"/>
                      </a:cubicBezTo>
                      <a:cubicBezTo>
                        <a:pt x="286493" y="359949"/>
                        <a:pt x="281626" y="354263"/>
                        <a:pt x="278825" y="359635"/>
                      </a:cubicBezTo>
                      <a:cubicBezTo>
                        <a:pt x="276254" y="364560"/>
                        <a:pt x="279749" y="372532"/>
                        <a:pt x="270015" y="371884"/>
                      </a:cubicBezTo>
                      <a:cubicBezTo>
                        <a:pt x="260661" y="371265"/>
                        <a:pt x="258604" y="359959"/>
                        <a:pt x="249507" y="370217"/>
                      </a:cubicBezTo>
                      <a:cubicBezTo>
                        <a:pt x="244783" y="375551"/>
                        <a:pt x="248145" y="373884"/>
                        <a:pt x="248183" y="379352"/>
                      </a:cubicBezTo>
                      <a:cubicBezTo>
                        <a:pt x="248231" y="385905"/>
                        <a:pt x="247898" y="384810"/>
                        <a:pt x="240992" y="388143"/>
                      </a:cubicBezTo>
                      <a:cubicBezTo>
                        <a:pt x="255270" y="406241"/>
                        <a:pt x="216627" y="406860"/>
                        <a:pt x="215160" y="416861"/>
                      </a:cubicBezTo>
                      <a:cubicBezTo>
                        <a:pt x="214741" y="419719"/>
                        <a:pt x="217141" y="422233"/>
                        <a:pt x="217265" y="424967"/>
                      </a:cubicBezTo>
                      <a:cubicBezTo>
                        <a:pt x="217465" y="429549"/>
                        <a:pt x="215017" y="433501"/>
                        <a:pt x="212960" y="437054"/>
                      </a:cubicBezTo>
                      <a:cubicBezTo>
                        <a:pt x="211969" y="438769"/>
                        <a:pt x="209912" y="438521"/>
                        <a:pt x="209235" y="440407"/>
                      </a:cubicBezTo>
                      <a:cubicBezTo>
                        <a:pt x="208731" y="441807"/>
                        <a:pt x="209998" y="445798"/>
                        <a:pt x="209998" y="447379"/>
                      </a:cubicBezTo>
                      <a:cubicBezTo>
                        <a:pt x="209998" y="451104"/>
                        <a:pt x="209283" y="455447"/>
                        <a:pt x="207864" y="458905"/>
                      </a:cubicBezTo>
                      <a:cubicBezTo>
                        <a:pt x="200577" y="456733"/>
                        <a:pt x="198758" y="461819"/>
                        <a:pt x="194024" y="464229"/>
                      </a:cubicBezTo>
                      <a:cubicBezTo>
                        <a:pt x="191719" y="465410"/>
                        <a:pt x="188690" y="467725"/>
                        <a:pt x="186118" y="464553"/>
                      </a:cubicBezTo>
                      <a:cubicBezTo>
                        <a:pt x="184604" y="462677"/>
                        <a:pt x="187338" y="462276"/>
                        <a:pt x="186976" y="460210"/>
                      </a:cubicBezTo>
                      <a:cubicBezTo>
                        <a:pt x="186042" y="454933"/>
                        <a:pt x="187100" y="447989"/>
                        <a:pt x="180432" y="450742"/>
                      </a:cubicBezTo>
                      <a:cubicBezTo>
                        <a:pt x="178889" y="451380"/>
                        <a:pt x="180261" y="454304"/>
                        <a:pt x="180280" y="454295"/>
                      </a:cubicBezTo>
                      <a:cubicBezTo>
                        <a:pt x="179079" y="454647"/>
                        <a:pt x="177737" y="453999"/>
                        <a:pt x="176660" y="454247"/>
                      </a:cubicBezTo>
                      <a:cubicBezTo>
                        <a:pt x="171631" y="455390"/>
                        <a:pt x="174460" y="449456"/>
                        <a:pt x="171526" y="454638"/>
                      </a:cubicBezTo>
                      <a:cubicBezTo>
                        <a:pt x="169888" y="457552"/>
                        <a:pt x="173203" y="459257"/>
                        <a:pt x="170345" y="461200"/>
                      </a:cubicBezTo>
                      <a:cubicBezTo>
                        <a:pt x="168783" y="462257"/>
                        <a:pt x="164782" y="460467"/>
                        <a:pt x="163011" y="461886"/>
                      </a:cubicBezTo>
                      <a:cubicBezTo>
                        <a:pt x="157867" y="466010"/>
                        <a:pt x="166554" y="468677"/>
                        <a:pt x="156562" y="465401"/>
                      </a:cubicBezTo>
                      <a:cubicBezTo>
                        <a:pt x="154934" y="464867"/>
                        <a:pt x="152657" y="465153"/>
                        <a:pt x="151200" y="464334"/>
                      </a:cubicBezTo>
                      <a:cubicBezTo>
                        <a:pt x="149914" y="463600"/>
                        <a:pt x="150323" y="462219"/>
                        <a:pt x="149200" y="461610"/>
                      </a:cubicBezTo>
                      <a:cubicBezTo>
                        <a:pt x="147295" y="460571"/>
                        <a:pt x="146942" y="458943"/>
                        <a:pt x="144847" y="458705"/>
                      </a:cubicBezTo>
                      <a:cubicBezTo>
                        <a:pt x="137855" y="457904"/>
                        <a:pt x="137579" y="467039"/>
                        <a:pt x="130673" y="467229"/>
                      </a:cubicBezTo>
                      <a:cubicBezTo>
                        <a:pt x="133131" y="460857"/>
                        <a:pt x="124835" y="460991"/>
                        <a:pt x="122177" y="457028"/>
                      </a:cubicBezTo>
                      <a:cubicBezTo>
                        <a:pt x="119234" y="452647"/>
                        <a:pt x="123120" y="444884"/>
                        <a:pt x="120396" y="441436"/>
                      </a:cubicBezTo>
                      <a:cubicBezTo>
                        <a:pt x="117034" y="437178"/>
                        <a:pt x="110680" y="443912"/>
                        <a:pt x="110233" y="439407"/>
                      </a:cubicBezTo>
                      <a:cubicBezTo>
                        <a:pt x="109785" y="434968"/>
                        <a:pt x="119310" y="432739"/>
                        <a:pt x="118167" y="428691"/>
                      </a:cubicBezTo>
                      <a:cubicBezTo>
                        <a:pt x="117910" y="427777"/>
                        <a:pt x="113128" y="426301"/>
                        <a:pt x="112366" y="425691"/>
                      </a:cubicBezTo>
                      <a:cubicBezTo>
                        <a:pt x="110442" y="424167"/>
                        <a:pt x="109642" y="422986"/>
                        <a:pt x="108147" y="420786"/>
                      </a:cubicBezTo>
                      <a:cubicBezTo>
                        <a:pt x="106623" y="418547"/>
                        <a:pt x="106680" y="419357"/>
                        <a:pt x="105499" y="416004"/>
                      </a:cubicBezTo>
                      <a:cubicBezTo>
                        <a:pt x="104404" y="412908"/>
                        <a:pt x="104327" y="409822"/>
                        <a:pt x="102965" y="406374"/>
                      </a:cubicBezTo>
                      <a:cubicBezTo>
                        <a:pt x="100879" y="401097"/>
                        <a:pt x="100069" y="394497"/>
                        <a:pt x="92888" y="394078"/>
                      </a:cubicBezTo>
                      <a:cubicBezTo>
                        <a:pt x="84582" y="393592"/>
                        <a:pt x="91630" y="396573"/>
                        <a:pt x="89411" y="400669"/>
                      </a:cubicBezTo>
                      <a:cubicBezTo>
                        <a:pt x="89573" y="400383"/>
                        <a:pt x="76943" y="408241"/>
                        <a:pt x="77143" y="408194"/>
                      </a:cubicBezTo>
                      <a:cubicBezTo>
                        <a:pt x="71485" y="409708"/>
                        <a:pt x="65189" y="402278"/>
                        <a:pt x="59398" y="403021"/>
                      </a:cubicBezTo>
                      <a:cubicBezTo>
                        <a:pt x="53921" y="403726"/>
                        <a:pt x="52426" y="411213"/>
                        <a:pt x="48492" y="411927"/>
                      </a:cubicBezTo>
                      <a:cubicBezTo>
                        <a:pt x="43367" y="412861"/>
                        <a:pt x="45139" y="406289"/>
                        <a:pt x="41205" y="404126"/>
                      </a:cubicBezTo>
                      <a:cubicBezTo>
                        <a:pt x="34947" y="400697"/>
                        <a:pt x="34433" y="409527"/>
                        <a:pt x="28546" y="408975"/>
                      </a:cubicBezTo>
                      <a:cubicBezTo>
                        <a:pt x="19926" y="408165"/>
                        <a:pt x="24193" y="401345"/>
                        <a:pt x="24908" y="397468"/>
                      </a:cubicBezTo>
                      <a:cubicBezTo>
                        <a:pt x="25603" y="393725"/>
                        <a:pt x="25041" y="389210"/>
                        <a:pt x="25289" y="384029"/>
                      </a:cubicBezTo>
                      <a:cubicBezTo>
                        <a:pt x="25546" y="378609"/>
                        <a:pt x="24174" y="375875"/>
                        <a:pt x="21136" y="370913"/>
                      </a:cubicBezTo>
                      <a:cubicBezTo>
                        <a:pt x="19669" y="368531"/>
                        <a:pt x="19955" y="366731"/>
                        <a:pt x="17021" y="365703"/>
                      </a:cubicBezTo>
                      <a:cubicBezTo>
                        <a:pt x="14478" y="364807"/>
                        <a:pt x="14202" y="368474"/>
                        <a:pt x="12735" y="367903"/>
                      </a:cubicBezTo>
                      <a:cubicBezTo>
                        <a:pt x="11335" y="367360"/>
                        <a:pt x="10106" y="363455"/>
                        <a:pt x="9449" y="362293"/>
                      </a:cubicBezTo>
                      <a:cubicBezTo>
                        <a:pt x="8687" y="360949"/>
                        <a:pt x="6239" y="359397"/>
                        <a:pt x="6067" y="357902"/>
                      </a:cubicBezTo>
                      <a:cubicBezTo>
                        <a:pt x="5753" y="355301"/>
                        <a:pt x="8277" y="354558"/>
                        <a:pt x="8334" y="353053"/>
                      </a:cubicBezTo>
                      <a:cubicBezTo>
                        <a:pt x="8487" y="348748"/>
                        <a:pt x="8534" y="342452"/>
                        <a:pt x="6515" y="338251"/>
                      </a:cubicBezTo>
                      <a:cubicBezTo>
                        <a:pt x="5086" y="335280"/>
                        <a:pt x="2410" y="334213"/>
                        <a:pt x="1543" y="330984"/>
                      </a:cubicBezTo>
                      <a:cubicBezTo>
                        <a:pt x="419" y="326841"/>
                        <a:pt x="3705" y="325307"/>
                        <a:pt x="0" y="320868"/>
                      </a:cubicBezTo>
                      <a:cubicBezTo>
                        <a:pt x="12744" y="328184"/>
                        <a:pt x="12363" y="307743"/>
                        <a:pt x="16640" y="301447"/>
                      </a:cubicBezTo>
                      <a:cubicBezTo>
                        <a:pt x="20288" y="296075"/>
                        <a:pt x="23641" y="294789"/>
                        <a:pt x="28242" y="297227"/>
                      </a:cubicBezTo>
                      <a:cubicBezTo>
                        <a:pt x="31318" y="298856"/>
                        <a:pt x="38443" y="310048"/>
                        <a:pt x="41538" y="310096"/>
                      </a:cubicBezTo>
                      <a:cubicBezTo>
                        <a:pt x="45072" y="310162"/>
                        <a:pt x="47987" y="302238"/>
                        <a:pt x="52949" y="301161"/>
                      </a:cubicBezTo>
                      <a:cubicBezTo>
                        <a:pt x="58074" y="300037"/>
                        <a:pt x="62979" y="302428"/>
                        <a:pt x="67961" y="302818"/>
                      </a:cubicBezTo>
                      <a:cubicBezTo>
                        <a:pt x="72800" y="303200"/>
                        <a:pt x="80172" y="303180"/>
                        <a:pt x="84677" y="300999"/>
                      </a:cubicBezTo>
                      <a:cubicBezTo>
                        <a:pt x="89545" y="298637"/>
                        <a:pt x="85773" y="299580"/>
                        <a:pt x="88325" y="297246"/>
                      </a:cubicBezTo>
                      <a:cubicBezTo>
                        <a:pt x="89678" y="296018"/>
                        <a:pt x="89020" y="294389"/>
                        <a:pt x="91354" y="293513"/>
                      </a:cubicBezTo>
                      <a:cubicBezTo>
                        <a:pt x="89392" y="303247"/>
                        <a:pt x="119758" y="299218"/>
                        <a:pt x="126578" y="299218"/>
                      </a:cubicBezTo>
                      <a:cubicBezTo>
                        <a:pt x="140246" y="299218"/>
                        <a:pt x="153914" y="299208"/>
                        <a:pt x="167583" y="299218"/>
                      </a:cubicBezTo>
                      <a:cubicBezTo>
                        <a:pt x="174927" y="299218"/>
                        <a:pt x="182280" y="299218"/>
                        <a:pt x="189624" y="299218"/>
                      </a:cubicBezTo>
                      <a:cubicBezTo>
                        <a:pt x="193586" y="299218"/>
                        <a:pt x="206892" y="301437"/>
                        <a:pt x="209836" y="299132"/>
                      </a:cubicBezTo>
                      <a:cubicBezTo>
                        <a:pt x="212036" y="297408"/>
                        <a:pt x="214169" y="281073"/>
                        <a:pt x="214179" y="277996"/>
                      </a:cubicBezTo>
                      <a:cubicBezTo>
                        <a:pt x="214208" y="271129"/>
                        <a:pt x="207626" y="267947"/>
                        <a:pt x="206312" y="260670"/>
                      </a:cubicBezTo>
                      <a:cubicBezTo>
                        <a:pt x="201435" y="233686"/>
                        <a:pt x="200930" y="205101"/>
                        <a:pt x="198358" y="177784"/>
                      </a:cubicBezTo>
                      <a:cubicBezTo>
                        <a:pt x="195720" y="149780"/>
                        <a:pt x="193148" y="121758"/>
                        <a:pt x="190624" y="93735"/>
                      </a:cubicBezTo>
                      <a:cubicBezTo>
                        <a:pt x="187814" y="62512"/>
                        <a:pt x="185156" y="31270"/>
                        <a:pt x="182423" y="38"/>
                      </a:cubicBezTo>
                      <a:cubicBezTo>
                        <a:pt x="196910" y="0"/>
                        <a:pt x="211407" y="-19"/>
                        <a:pt x="225895" y="28"/>
                      </a:cubicBezTo>
                      <a:cubicBezTo>
                        <a:pt x="234982" y="57"/>
                        <a:pt x="237734" y="1314"/>
                        <a:pt x="245316" y="6477"/>
                      </a:cubicBezTo>
                      <a:cubicBezTo>
                        <a:pt x="251546" y="10725"/>
                        <a:pt x="257727" y="15059"/>
                        <a:pt x="263928" y="19354"/>
                      </a:cubicBezTo>
                      <a:cubicBezTo>
                        <a:pt x="289465" y="36995"/>
                        <a:pt x="315049" y="54559"/>
                        <a:pt x="340690" y="72037"/>
                      </a:cubicBezTo>
                      <a:cubicBezTo>
                        <a:pt x="353120" y="80515"/>
                        <a:pt x="365550" y="88973"/>
                        <a:pt x="378000" y="97421"/>
                      </a:cubicBezTo>
                      <a:cubicBezTo>
                        <a:pt x="384305" y="101708"/>
                        <a:pt x="390620" y="105975"/>
                        <a:pt x="396935" y="110252"/>
                      </a:cubicBezTo>
                      <a:cubicBezTo>
                        <a:pt x="401898" y="113614"/>
                        <a:pt x="411747" y="117471"/>
                        <a:pt x="414966" y="122424"/>
                      </a:cubicBezTo>
                      <a:cubicBezTo>
                        <a:pt x="418204" y="127416"/>
                        <a:pt x="414538" y="130730"/>
                        <a:pt x="419976" y="135026"/>
                      </a:cubicBezTo>
                      <a:cubicBezTo>
                        <a:pt x="422605" y="137103"/>
                        <a:pt x="427139" y="137483"/>
                        <a:pt x="429492" y="139865"/>
                      </a:cubicBezTo>
                      <a:cubicBezTo>
                        <a:pt x="431235" y="141627"/>
                        <a:pt x="430959" y="144322"/>
                        <a:pt x="432892" y="146161"/>
                      </a:cubicBezTo>
                      <a:cubicBezTo>
                        <a:pt x="437540" y="150561"/>
                        <a:pt x="445265" y="147970"/>
                        <a:pt x="450351" y="151114"/>
                      </a:cubicBezTo>
                      <a:cubicBezTo>
                        <a:pt x="453057" y="152781"/>
                        <a:pt x="453847" y="155105"/>
                        <a:pt x="456914" y="156486"/>
                      </a:cubicBezTo>
                      <a:cubicBezTo>
                        <a:pt x="459819" y="157791"/>
                        <a:pt x="463591" y="157638"/>
                        <a:pt x="466649" y="158448"/>
                      </a:cubicBezTo>
                      <a:cubicBezTo>
                        <a:pt x="475488" y="160772"/>
                        <a:pt x="477250" y="162277"/>
                        <a:pt x="478355" y="170554"/>
                      </a:cubicBezTo>
                      <a:cubicBezTo>
                        <a:pt x="478726" y="173317"/>
                        <a:pt x="479946" y="175212"/>
                        <a:pt x="479469" y="177546"/>
                      </a:cubicBezTo>
                      <a:cubicBezTo>
                        <a:pt x="479145" y="179117"/>
                        <a:pt x="476440" y="180870"/>
                        <a:pt x="476259" y="182689"/>
                      </a:cubicBezTo>
                      <a:cubicBezTo>
                        <a:pt x="475031" y="195091"/>
                        <a:pt x="503949" y="185451"/>
                        <a:pt x="509892" y="184327"/>
                      </a:cubicBezTo>
                      <a:lnTo>
                        <a:pt x="509892" y="184327"/>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05" name="Freeform: Shape 604">
                  <a:extLst>
                    <a:ext uri="{FF2B5EF4-FFF2-40B4-BE49-F238E27FC236}">
                      <a16:creationId xmlns:a16="http://schemas.microsoft.com/office/drawing/2014/main" id="{9C8CD29F-AD56-4979-B93E-B0AACE0E39F0}"/>
                    </a:ext>
                  </a:extLst>
                </p:cNvPr>
                <p:cNvSpPr/>
                <p:nvPr/>
              </p:nvSpPr>
              <p:spPr>
                <a:xfrm>
                  <a:off x="6157536" y="3030750"/>
                  <a:ext cx="68431" cy="46476"/>
                </a:xfrm>
                <a:custGeom>
                  <a:avLst/>
                  <a:gdLst>
                    <a:gd name="connsiteX0" fmla="*/ 48200 w 68431"/>
                    <a:gd name="connsiteY0" fmla="*/ 1255 h 46476"/>
                    <a:gd name="connsiteX1" fmla="*/ 66317 w 68431"/>
                    <a:gd name="connsiteY1" fmla="*/ 17314 h 46476"/>
                    <a:gd name="connsiteX2" fmla="*/ 67850 w 68431"/>
                    <a:gd name="connsiteY2" fmla="*/ 23962 h 46476"/>
                    <a:gd name="connsiteX3" fmla="*/ 68250 w 68431"/>
                    <a:gd name="connsiteY3" fmla="*/ 31001 h 46476"/>
                    <a:gd name="connsiteX4" fmla="*/ 64841 w 68431"/>
                    <a:gd name="connsiteY4" fmla="*/ 32144 h 46476"/>
                    <a:gd name="connsiteX5" fmla="*/ 59411 w 68431"/>
                    <a:gd name="connsiteY5" fmla="*/ 38393 h 46476"/>
                    <a:gd name="connsiteX6" fmla="*/ 48200 w 68431"/>
                    <a:gd name="connsiteY6" fmla="*/ 37764 h 46476"/>
                    <a:gd name="connsiteX7" fmla="*/ 39923 w 68431"/>
                    <a:gd name="connsiteY7" fmla="*/ 41698 h 46476"/>
                    <a:gd name="connsiteX8" fmla="*/ 35237 w 68431"/>
                    <a:gd name="connsiteY8" fmla="*/ 45460 h 46476"/>
                    <a:gd name="connsiteX9" fmla="*/ 29446 w 68431"/>
                    <a:gd name="connsiteY9" fmla="*/ 45679 h 46476"/>
                    <a:gd name="connsiteX10" fmla="*/ 994 w 68431"/>
                    <a:gd name="connsiteY10" fmla="*/ 31230 h 46476"/>
                    <a:gd name="connsiteX11" fmla="*/ 1556 w 68431"/>
                    <a:gd name="connsiteY11" fmla="*/ 15380 h 46476"/>
                    <a:gd name="connsiteX12" fmla="*/ 5528 w 68431"/>
                    <a:gd name="connsiteY12" fmla="*/ 15161 h 46476"/>
                    <a:gd name="connsiteX13" fmla="*/ 5728 w 68431"/>
                    <a:gd name="connsiteY13" fmla="*/ 11532 h 46476"/>
                    <a:gd name="connsiteX14" fmla="*/ 14739 w 68431"/>
                    <a:gd name="connsiteY14" fmla="*/ 5684 h 46476"/>
                    <a:gd name="connsiteX15" fmla="*/ 19244 w 68431"/>
                    <a:gd name="connsiteY15" fmla="*/ 8027 h 46476"/>
                    <a:gd name="connsiteX16" fmla="*/ 20959 w 68431"/>
                    <a:gd name="connsiteY16" fmla="*/ 5284 h 46476"/>
                    <a:gd name="connsiteX17" fmla="*/ 30198 w 68431"/>
                    <a:gd name="connsiteY17" fmla="*/ 3141 h 46476"/>
                    <a:gd name="connsiteX18" fmla="*/ 48200 w 68431"/>
                    <a:gd name="connsiteY18" fmla="*/ 1255 h 46476"/>
                    <a:gd name="connsiteX19" fmla="*/ 48200 w 68431"/>
                    <a:gd name="connsiteY19" fmla="*/ 1255 h 46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431" h="46476">
                      <a:moveTo>
                        <a:pt x="48200" y="1255"/>
                      </a:moveTo>
                      <a:cubicBezTo>
                        <a:pt x="54525" y="7398"/>
                        <a:pt x="62640" y="9198"/>
                        <a:pt x="66317" y="17314"/>
                      </a:cubicBezTo>
                      <a:cubicBezTo>
                        <a:pt x="67965" y="20933"/>
                        <a:pt x="67403" y="19409"/>
                        <a:pt x="67850" y="23962"/>
                      </a:cubicBezTo>
                      <a:cubicBezTo>
                        <a:pt x="67984" y="25324"/>
                        <a:pt x="68784" y="29782"/>
                        <a:pt x="68250" y="31001"/>
                      </a:cubicBezTo>
                      <a:cubicBezTo>
                        <a:pt x="67403" y="32944"/>
                        <a:pt x="65650" y="30868"/>
                        <a:pt x="64841" y="32144"/>
                      </a:cubicBezTo>
                      <a:cubicBezTo>
                        <a:pt x="62907" y="35173"/>
                        <a:pt x="63726" y="36745"/>
                        <a:pt x="59411" y="38393"/>
                      </a:cubicBezTo>
                      <a:cubicBezTo>
                        <a:pt x="55658" y="39812"/>
                        <a:pt x="51944" y="37631"/>
                        <a:pt x="48200" y="37764"/>
                      </a:cubicBezTo>
                      <a:cubicBezTo>
                        <a:pt x="43838" y="37916"/>
                        <a:pt x="43019" y="39659"/>
                        <a:pt x="39923" y="41698"/>
                      </a:cubicBezTo>
                      <a:cubicBezTo>
                        <a:pt x="37780" y="43107"/>
                        <a:pt x="38047" y="44431"/>
                        <a:pt x="35237" y="45460"/>
                      </a:cubicBezTo>
                      <a:cubicBezTo>
                        <a:pt x="32494" y="46451"/>
                        <a:pt x="32198" y="45260"/>
                        <a:pt x="29446" y="45679"/>
                      </a:cubicBezTo>
                      <a:cubicBezTo>
                        <a:pt x="15806" y="47718"/>
                        <a:pt x="5252" y="46813"/>
                        <a:pt x="994" y="31230"/>
                      </a:cubicBezTo>
                      <a:cubicBezTo>
                        <a:pt x="-187" y="26925"/>
                        <a:pt x="-663" y="18952"/>
                        <a:pt x="1556" y="15380"/>
                      </a:cubicBezTo>
                      <a:cubicBezTo>
                        <a:pt x="1880" y="14856"/>
                        <a:pt x="4642" y="16190"/>
                        <a:pt x="5528" y="15161"/>
                      </a:cubicBezTo>
                      <a:cubicBezTo>
                        <a:pt x="6309" y="14256"/>
                        <a:pt x="5204" y="11999"/>
                        <a:pt x="5728" y="11532"/>
                      </a:cubicBezTo>
                      <a:cubicBezTo>
                        <a:pt x="8062" y="9418"/>
                        <a:pt x="9748" y="5798"/>
                        <a:pt x="14739" y="5684"/>
                      </a:cubicBezTo>
                      <a:cubicBezTo>
                        <a:pt x="16263" y="5655"/>
                        <a:pt x="18111" y="8275"/>
                        <a:pt x="19244" y="8027"/>
                      </a:cubicBezTo>
                      <a:cubicBezTo>
                        <a:pt x="20730" y="7694"/>
                        <a:pt x="19863" y="5608"/>
                        <a:pt x="20959" y="5284"/>
                      </a:cubicBezTo>
                      <a:cubicBezTo>
                        <a:pt x="24035" y="4350"/>
                        <a:pt x="27045" y="3817"/>
                        <a:pt x="30198" y="3141"/>
                      </a:cubicBezTo>
                      <a:cubicBezTo>
                        <a:pt x="34989" y="2102"/>
                        <a:pt x="44076" y="-2051"/>
                        <a:pt x="48200" y="1255"/>
                      </a:cubicBezTo>
                      <a:lnTo>
                        <a:pt x="48200" y="1255"/>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06" name="Freeform: Shape 605">
                  <a:extLst>
                    <a:ext uri="{FF2B5EF4-FFF2-40B4-BE49-F238E27FC236}">
                      <a16:creationId xmlns:a16="http://schemas.microsoft.com/office/drawing/2014/main" id="{B8497DFF-CF07-4645-9DC5-637B58BAA6DF}"/>
                    </a:ext>
                  </a:extLst>
                </p:cNvPr>
                <p:cNvSpPr/>
                <p:nvPr/>
              </p:nvSpPr>
              <p:spPr>
                <a:xfrm>
                  <a:off x="2179081" y="3334338"/>
                  <a:ext cx="773157" cy="571029"/>
                </a:xfrm>
                <a:custGeom>
                  <a:avLst/>
                  <a:gdLst>
                    <a:gd name="connsiteX0" fmla="*/ 125834 w 773157"/>
                    <a:gd name="connsiteY0" fmla="*/ 25194 h 571029"/>
                    <a:gd name="connsiteX1" fmla="*/ 164668 w 773157"/>
                    <a:gd name="connsiteY1" fmla="*/ 41034 h 571029"/>
                    <a:gd name="connsiteX2" fmla="*/ 205292 w 773157"/>
                    <a:gd name="connsiteY2" fmla="*/ 43777 h 571029"/>
                    <a:gd name="connsiteX3" fmla="*/ 246592 w 773157"/>
                    <a:gd name="connsiteY3" fmla="*/ 43691 h 571029"/>
                    <a:gd name="connsiteX4" fmla="*/ 259127 w 773157"/>
                    <a:gd name="connsiteY4" fmla="*/ 33966 h 571029"/>
                    <a:gd name="connsiteX5" fmla="*/ 274100 w 773157"/>
                    <a:gd name="connsiteY5" fmla="*/ 29566 h 571029"/>
                    <a:gd name="connsiteX6" fmla="*/ 293303 w 773157"/>
                    <a:gd name="connsiteY6" fmla="*/ 29689 h 571029"/>
                    <a:gd name="connsiteX7" fmla="*/ 312419 w 773157"/>
                    <a:gd name="connsiteY7" fmla="*/ 29775 h 571029"/>
                    <a:gd name="connsiteX8" fmla="*/ 314572 w 773157"/>
                    <a:gd name="connsiteY8" fmla="*/ 35785 h 571029"/>
                    <a:gd name="connsiteX9" fmla="*/ 319887 w 773157"/>
                    <a:gd name="connsiteY9" fmla="*/ 42329 h 571029"/>
                    <a:gd name="connsiteX10" fmla="*/ 331622 w 773157"/>
                    <a:gd name="connsiteY10" fmla="*/ 59293 h 571029"/>
                    <a:gd name="connsiteX11" fmla="*/ 339861 w 773157"/>
                    <a:gd name="connsiteY11" fmla="*/ 72180 h 571029"/>
                    <a:gd name="connsiteX12" fmla="*/ 337737 w 773157"/>
                    <a:gd name="connsiteY12" fmla="*/ 91011 h 571029"/>
                    <a:gd name="connsiteX13" fmla="*/ 361864 w 773157"/>
                    <a:gd name="connsiteY13" fmla="*/ 114833 h 571029"/>
                    <a:gd name="connsiteX14" fmla="*/ 390896 w 773157"/>
                    <a:gd name="connsiteY14" fmla="*/ 96250 h 571029"/>
                    <a:gd name="connsiteX15" fmla="*/ 408308 w 773157"/>
                    <a:gd name="connsiteY15" fmla="*/ 90307 h 571029"/>
                    <a:gd name="connsiteX16" fmla="*/ 427386 w 773157"/>
                    <a:gd name="connsiteY16" fmla="*/ 91593 h 571029"/>
                    <a:gd name="connsiteX17" fmla="*/ 443131 w 773157"/>
                    <a:gd name="connsiteY17" fmla="*/ 116405 h 571029"/>
                    <a:gd name="connsiteX18" fmla="*/ 444474 w 773157"/>
                    <a:gd name="connsiteY18" fmla="*/ 135074 h 571029"/>
                    <a:gd name="connsiteX19" fmla="*/ 450427 w 773157"/>
                    <a:gd name="connsiteY19" fmla="*/ 152743 h 571029"/>
                    <a:gd name="connsiteX20" fmla="*/ 456609 w 773157"/>
                    <a:gd name="connsiteY20" fmla="*/ 160706 h 571029"/>
                    <a:gd name="connsiteX21" fmla="*/ 455723 w 773157"/>
                    <a:gd name="connsiteY21" fmla="*/ 168431 h 571029"/>
                    <a:gd name="connsiteX22" fmla="*/ 455028 w 773157"/>
                    <a:gd name="connsiteY22" fmla="*/ 174184 h 571029"/>
                    <a:gd name="connsiteX23" fmla="*/ 454933 w 773157"/>
                    <a:gd name="connsiteY23" fmla="*/ 182451 h 571029"/>
                    <a:gd name="connsiteX24" fmla="*/ 457619 w 773157"/>
                    <a:gd name="connsiteY24" fmla="*/ 198606 h 571029"/>
                    <a:gd name="connsiteX25" fmla="*/ 465258 w 773157"/>
                    <a:gd name="connsiteY25" fmla="*/ 201320 h 571029"/>
                    <a:gd name="connsiteX26" fmla="*/ 473916 w 773157"/>
                    <a:gd name="connsiteY26" fmla="*/ 205473 h 571029"/>
                    <a:gd name="connsiteX27" fmla="*/ 494966 w 773157"/>
                    <a:gd name="connsiteY27" fmla="*/ 211750 h 571029"/>
                    <a:gd name="connsiteX28" fmla="*/ 501396 w 773157"/>
                    <a:gd name="connsiteY28" fmla="*/ 215608 h 571029"/>
                    <a:gd name="connsiteX29" fmla="*/ 508796 w 773157"/>
                    <a:gd name="connsiteY29" fmla="*/ 212760 h 571029"/>
                    <a:gd name="connsiteX30" fmla="*/ 483184 w 773157"/>
                    <a:gd name="connsiteY30" fmla="*/ 249069 h 571029"/>
                    <a:gd name="connsiteX31" fmla="*/ 463867 w 773157"/>
                    <a:gd name="connsiteY31" fmla="*/ 288569 h 571029"/>
                    <a:gd name="connsiteX32" fmla="*/ 456323 w 773157"/>
                    <a:gd name="connsiteY32" fmla="*/ 309648 h 571029"/>
                    <a:gd name="connsiteX33" fmla="*/ 449522 w 773157"/>
                    <a:gd name="connsiteY33" fmla="*/ 326193 h 571029"/>
                    <a:gd name="connsiteX34" fmla="*/ 452085 w 773157"/>
                    <a:gd name="connsiteY34" fmla="*/ 345996 h 571029"/>
                    <a:gd name="connsiteX35" fmla="*/ 456133 w 773157"/>
                    <a:gd name="connsiteY35" fmla="*/ 351777 h 571029"/>
                    <a:gd name="connsiteX36" fmla="*/ 450646 w 773157"/>
                    <a:gd name="connsiteY36" fmla="*/ 360455 h 571029"/>
                    <a:gd name="connsiteX37" fmla="*/ 453428 w 773157"/>
                    <a:gd name="connsiteY37" fmla="*/ 350473 h 571029"/>
                    <a:gd name="connsiteX38" fmla="*/ 447646 w 773157"/>
                    <a:gd name="connsiteY38" fmla="*/ 336709 h 571029"/>
                    <a:gd name="connsiteX39" fmla="*/ 449160 w 773157"/>
                    <a:gd name="connsiteY39" fmla="*/ 356854 h 571029"/>
                    <a:gd name="connsiteX40" fmla="*/ 456056 w 773157"/>
                    <a:gd name="connsiteY40" fmla="*/ 385715 h 571029"/>
                    <a:gd name="connsiteX41" fmla="*/ 466572 w 773157"/>
                    <a:gd name="connsiteY41" fmla="*/ 414176 h 571029"/>
                    <a:gd name="connsiteX42" fmla="*/ 470820 w 773157"/>
                    <a:gd name="connsiteY42" fmla="*/ 425768 h 571029"/>
                    <a:gd name="connsiteX43" fmla="*/ 478040 w 773157"/>
                    <a:gd name="connsiteY43" fmla="*/ 438169 h 571029"/>
                    <a:gd name="connsiteX44" fmla="*/ 473821 w 773157"/>
                    <a:gd name="connsiteY44" fmla="*/ 436759 h 571029"/>
                    <a:gd name="connsiteX45" fmla="*/ 483193 w 773157"/>
                    <a:gd name="connsiteY45" fmla="*/ 441798 h 571029"/>
                    <a:gd name="connsiteX46" fmla="*/ 479507 w 773157"/>
                    <a:gd name="connsiteY46" fmla="*/ 439341 h 571029"/>
                    <a:gd name="connsiteX47" fmla="*/ 496071 w 773157"/>
                    <a:gd name="connsiteY47" fmla="*/ 442103 h 571029"/>
                    <a:gd name="connsiteX48" fmla="*/ 507873 w 773157"/>
                    <a:gd name="connsiteY48" fmla="*/ 452552 h 571029"/>
                    <a:gd name="connsiteX49" fmla="*/ 521750 w 773157"/>
                    <a:gd name="connsiteY49" fmla="*/ 457372 h 571029"/>
                    <a:gd name="connsiteX50" fmla="*/ 537724 w 773157"/>
                    <a:gd name="connsiteY50" fmla="*/ 451733 h 571029"/>
                    <a:gd name="connsiteX51" fmla="*/ 556183 w 773157"/>
                    <a:gd name="connsiteY51" fmla="*/ 450199 h 571029"/>
                    <a:gd name="connsiteX52" fmla="*/ 570290 w 773157"/>
                    <a:gd name="connsiteY52" fmla="*/ 444560 h 571029"/>
                    <a:gd name="connsiteX53" fmla="*/ 586349 w 773157"/>
                    <a:gd name="connsiteY53" fmla="*/ 441960 h 571029"/>
                    <a:gd name="connsiteX54" fmla="*/ 593674 w 773157"/>
                    <a:gd name="connsiteY54" fmla="*/ 445780 h 571029"/>
                    <a:gd name="connsiteX55" fmla="*/ 609800 w 773157"/>
                    <a:gd name="connsiteY55" fmla="*/ 446056 h 571029"/>
                    <a:gd name="connsiteX56" fmla="*/ 614781 w 773157"/>
                    <a:gd name="connsiteY56" fmla="*/ 435159 h 571029"/>
                    <a:gd name="connsiteX57" fmla="*/ 610371 w 773157"/>
                    <a:gd name="connsiteY57" fmla="*/ 437283 h 571029"/>
                    <a:gd name="connsiteX58" fmla="*/ 626068 w 773157"/>
                    <a:gd name="connsiteY58" fmla="*/ 428492 h 571029"/>
                    <a:gd name="connsiteX59" fmla="*/ 636365 w 773157"/>
                    <a:gd name="connsiteY59" fmla="*/ 421415 h 571029"/>
                    <a:gd name="connsiteX60" fmla="*/ 640851 w 773157"/>
                    <a:gd name="connsiteY60" fmla="*/ 410889 h 571029"/>
                    <a:gd name="connsiteX61" fmla="*/ 651567 w 773157"/>
                    <a:gd name="connsiteY61" fmla="*/ 395516 h 571029"/>
                    <a:gd name="connsiteX62" fmla="*/ 658006 w 773157"/>
                    <a:gd name="connsiteY62" fmla="*/ 377009 h 571029"/>
                    <a:gd name="connsiteX63" fmla="*/ 696553 w 773157"/>
                    <a:gd name="connsiteY63" fmla="*/ 358169 h 571029"/>
                    <a:gd name="connsiteX64" fmla="*/ 736006 w 773157"/>
                    <a:gd name="connsiteY64" fmla="*/ 349625 h 571029"/>
                    <a:gd name="connsiteX65" fmla="*/ 759056 w 773157"/>
                    <a:gd name="connsiteY65" fmla="*/ 354692 h 571029"/>
                    <a:gd name="connsiteX66" fmla="*/ 764400 w 773157"/>
                    <a:gd name="connsiteY66" fmla="*/ 352577 h 571029"/>
                    <a:gd name="connsiteX67" fmla="*/ 758056 w 773157"/>
                    <a:gd name="connsiteY67" fmla="*/ 351654 h 571029"/>
                    <a:gd name="connsiteX68" fmla="*/ 772668 w 773157"/>
                    <a:gd name="connsiteY68" fmla="*/ 362179 h 571029"/>
                    <a:gd name="connsiteX69" fmla="*/ 756208 w 773157"/>
                    <a:gd name="connsiteY69" fmla="*/ 383162 h 571029"/>
                    <a:gd name="connsiteX70" fmla="*/ 745055 w 773157"/>
                    <a:gd name="connsiteY70" fmla="*/ 394278 h 571029"/>
                    <a:gd name="connsiteX71" fmla="*/ 741235 w 773157"/>
                    <a:gd name="connsiteY71" fmla="*/ 405765 h 571029"/>
                    <a:gd name="connsiteX72" fmla="*/ 732358 w 773157"/>
                    <a:gd name="connsiteY72" fmla="*/ 412976 h 571029"/>
                    <a:gd name="connsiteX73" fmla="*/ 740282 w 773157"/>
                    <a:gd name="connsiteY73" fmla="*/ 413642 h 571029"/>
                    <a:gd name="connsiteX74" fmla="*/ 730605 w 773157"/>
                    <a:gd name="connsiteY74" fmla="*/ 423901 h 571029"/>
                    <a:gd name="connsiteX75" fmla="*/ 735558 w 773157"/>
                    <a:gd name="connsiteY75" fmla="*/ 422024 h 571029"/>
                    <a:gd name="connsiteX76" fmla="*/ 721414 w 773157"/>
                    <a:gd name="connsiteY76" fmla="*/ 448437 h 571029"/>
                    <a:gd name="connsiteX77" fmla="*/ 715003 w 773157"/>
                    <a:gd name="connsiteY77" fmla="*/ 450037 h 571029"/>
                    <a:gd name="connsiteX78" fmla="*/ 712822 w 773157"/>
                    <a:gd name="connsiteY78" fmla="*/ 446494 h 571029"/>
                    <a:gd name="connsiteX79" fmla="*/ 715784 w 773157"/>
                    <a:gd name="connsiteY79" fmla="*/ 437083 h 571029"/>
                    <a:gd name="connsiteX80" fmla="*/ 704849 w 773157"/>
                    <a:gd name="connsiteY80" fmla="*/ 448628 h 571029"/>
                    <a:gd name="connsiteX81" fmla="*/ 697677 w 773157"/>
                    <a:gd name="connsiteY81" fmla="*/ 449456 h 571029"/>
                    <a:gd name="connsiteX82" fmla="*/ 692867 w 773157"/>
                    <a:gd name="connsiteY82" fmla="*/ 456133 h 571029"/>
                    <a:gd name="connsiteX83" fmla="*/ 681237 w 773157"/>
                    <a:gd name="connsiteY83" fmla="*/ 465592 h 571029"/>
                    <a:gd name="connsiteX84" fmla="*/ 677389 w 773157"/>
                    <a:gd name="connsiteY84" fmla="*/ 463734 h 571029"/>
                    <a:gd name="connsiteX85" fmla="*/ 673903 w 773157"/>
                    <a:gd name="connsiteY85" fmla="*/ 466582 h 571029"/>
                    <a:gd name="connsiteX86" fmla="*/ 672265 w 773157"/>
                    <a:gd name="connsiteY86" fmla="*/ 469325 h 571029"/>
                    <a:gd name="connsiteX87" fmla="*/ 666816 w 773157"/>
                    <a:gd name="connsiteY87" fmla="*/ 469325 h 571029"/>
                    <a:gd name="connsiteX88" fmla="*/ 626144 w 773157"/>
                    <a:gd name="connsiteY88" fmla="*/ 469287 h 571029"/>
                    <a:gd name="connsiteX89" fmla="*/ 616858 w 773157"/>
                    <a:gd name="connsiteY89" fmla="*/ 470249 h 571029"/>
                    <a:gd name="connsiteX90" fmla="*/ 614429 w 773157"/>
                    <a:gd name="connsiteY90" fmla="*/ 480060 h 571029"/>
                    <a:gd name="connsiteX91" fmla="*/ 611752 w 773157"/>
                    <a:gd name="connsiteY91" fmla="*/ 487042 h 571029"/>
                    <a:gd name="connsiteX92" fmla="*/ 599922 w 773157"/>
                    <a:gd name="connsiteY92" fmla="*/ 486947 h 571029"/>
                    <a:gd name="connsiteX93" fmla="*/ 606732 w 773157"/>
                    <a:gd name="connsiteY93" fmla="*/ 495233 h 571029"/>
                    <a:gd name="connsiteX94" fmla="*/ 617439 w 773157"/>
                    <a:gd name="connsiteY94" fmla="*/ 504187 h 571029"/>
                    <a:gd name="connsiteX95" fmla="*/ 619915 w 773157"/>
                    <a:gd name="connsiteY95" fmla="*/ 511778 h 571029"/>
                    <a:gd name="connsiteX96" fmla="*/ 621811 w 773157"/>
                    <a:gd name="connsiteY96" fmla="*/ 519808 h 571029"/>
                    <a:gd name="connsiteX97" fmla="*/ 613610 w 773157"/>
                    <a:gd name="connsiteY97" fmla="*/ 524256 h 571029"/>
                    <a:gd name="connsiteX98" fmla="*/ 597646 w 773157"/>
                    <a:gd name="connsiteY98" fmla="*/ 524285 h 571029"/>
                    <a:gd name="connsiteX99" fmla="*/ 576224 w 773157"/>
                    <a:gd name="connsiteY99" fmla="*/ 530514 h 571029"/>
                    <a:gd name="connsiteX100" fmla="*/ 561603 w 773157"/>
                    <a:gd name="connsiteY100" fmla="*/ 551326 h 571029"/>
                    <a:gd name="connsiteX101" fmla="*/ 563556 w 773157"/>
                    <a:gd name="connsiteY101" fmla="*/ 556422 h 571029"/>
                    <a:gd name="connsiteX102" fmla="*/ 561108 w 773157"/>
                    <a:gd name="connsiteY102" fmla="*/ 558575 h 571029"/>
                    <a:gd name="connsiteX103" fmla="*/ 558917 w 773157"/>
                    <a:gd name="connsiteY103" fmla="*/ 567709 h 571029"/>
                    <a:gd name="connsiteX104" fmla="*/ 545753 w 773157"/>
                    <a:gd name="connsiteY104" fmla="*/ 559327 h 571029"/>
                    <a:gd name="connsiteX105" fmla="*/ 529761 w 773157"/>
                    <a:gd name="connsiteY105" fmla="*/ 540877 h 571029"/>
                    <a:gd name="connsiteX106" fmla="*/ 503910 w 773157"/>
                    <a:gd name="connsiteY106" fmla="*/ 519456 h 571029"/>
                    <a:gd name="connsiteX107" fmla="*/ 501777 w 773157"/>
                    <a:gd name="connsiteY107" fmla="*/ 520741 h 571029"/>
                    <a:gd name="connsiteX108" fmla="*/ 510968 w 773157"/>
                    <a:gd name="connsiteY108" fmla="*/ 525904 h 571029"/>
                    <a:gd name="connsiteX109" fmla="*/ 497671 w 773157"/>
                    <a:gd name="connsiteY109" fmla="*/ 520627 h 571029"/>
                    <a:gd name="connsiteX110" fmla="*/ 495014 w 773157"/>
                    <a:gd name="connsiteY110" fmla="*/ 516560 h 571029"/>
                    <a:gd name="connsiteX111" fmla="*/ 488518 w 773157"/>
                    <a:gd name="connsiteY111" fmla="*/ 517465 h 571029"/>
                    <a:gd name="connsiteX112" fmla="*/ 481345 w 773157"/>
                    <a:gd name="connsiteY112" fmla="*/ 517770 h 571029"/>
                    <a:gd name="connsiteX113" fmla="*/ 488251 w 773157"/>
                    <a:gd name="connsiteY113" fmla="*/ 519303 h 571029"/>
                    <a:gd name="connsiteX114" fmla="*/ 477202 w 773157"/>
                    <a:gd name="connsiteY114" fmla="*/ 520922 h 571029"/>
                    <a:gd name="connsiteX115" fmla="*/ 464686 w 773157"/>
                    <a:gd name="connsiteY115" fmla="*/ 527514 h 571029"/>
                    <a:gd name="connsiteX116" fmla="*/ 437340 w 773157"/>
                    <a:gd name="connsiteY116" fmla="*/ 536324 h 571029"/>
                    <a:gd name="connsiteX117" fmla="*/ 411784 w 773157"/>
                    <a:gd name="connsiteY117" fmla="*/ 529371 h 571029"/>
                    <a:gd name="connsiteX118" fmla="*/ 396468 w 773157"/>
                    <a:gd name="connsiteY118" fmla="*/ 527780 h 571029"/>
                    <a:gd name="connsiteX119" fmla="*/ 385562 w 773157"/>
                    <a:gd name="connsiteY119" fmla="*/ 520789 h 571029"/>
                    <a:gd name="connsiteX120" fmla="*/ 373465 w 773157"/>
                    <a:gd name="connsiteY120" fmla="*/ 516903 h 571029"/>
                    <a:gd name="connsiteX121" fmla="*/ 369408 w 773157"/>
                    <a:gd name="connsiteY121" fmla="*/ 511588 h 571029"/>
                    <a:gd name="connsiteX122" fmla="*/ 363959 w 773157"/>
                    <a:gd name="connsiteY122" fmla="*/ 509445 h 571029"/>
                    <a:gd name="connsiteX123" fmla="*/ 338032 w 773157"/>
                    <a:gd name="connsiteY123" fmla="*/ 501996 h 571029"/>
                    <a:gd name="connsiteX124" fmla="*/ 293217 w 773157"/>
                    <a:gd name="connsiteY124" fmla="*/ 476441 h 571029"/>
                    <a:gd name="connsiteX125" fmla="*/ 285083 w 773157"/>
                    <a:gd name="connsiteY125" fmla="*/ 467192 h 571029"/>
                    <a:gd name="connsiteX126" fmla="*/ 273015 w 773157"/>
                    <a:gd name="connsiteY126" fmla="*/ 464858 h 571029"/>
                    <a:gd name="connsiteX127" fmla="*/ 248631 w 773157"/>
                    <a:gd name="connsiteY127" fmla="*/ 456972 h 571029"/>
                    <a:gd name="connsiteX128" fmla="*/ 237382 w 773157"/>
                    <a:gd name="connsiteY128" fmla="*/ 450885 h 571029"/>
                    <a:gd name="connsiteX129" fmla="*/ 229847 w 773157"/>
                    <a:gd name="connsiteY129" fmla="*/ 438788 h 571029"/>
                    <a:gd name="connsiteX130" fmla="*/ 209292 w 773157"/>
                    <a:gd name="connsiteY130" fmla="*/ 426434 h 571029"/>
                    <a:gd name="connsiteX131" fmla="*/ 193814 w 773157"/>
                    <a:gd name="connsiteY131" fmla="*/ 406594 h 571029"/>
                    <a:gd name="connsiteX132" fmla="*/ 194129 w 773157"/>
                    <a:gd name="connsiteY132" fmla="*/ 385334 h 571029"/>
                    <a:gd name="connsiteX133" fmla="*/ 205120 w 773157"/>
                    <a:gd name="connsiteY133" fmla="*/ 381372 h 571029"/>
                    <a:gd name="connsiteX134" fmla="*/ 199520 w 773157"/>
                    <a:gd name="connsiteY134" fmla="*/ 376057 h 571029"/>
                    <a:gd name="connsiteX135" fmla="*/ 212921 w 773157"/>
                    <a:gd name="connsiteY135" fmla="*/ 360036 h 571029"/>
                    <a:gd name="connsiteX136" fmla="*/ 215598 w 773157"/>
                    <a:gd name="connsiteY136" fmla="*/ 353473 h 571029"/>
                    <a:gd name="connsiteX137" fmla="*/ 210207 w 773157"/>
                    <a:gd name="connsiteY137" fmla="*/ 349139 h 571029"/>
                    <a:gd name="connsiteX138" fmla="*/ 207797 w 773157"/>
                    <a:gd name="connsiteY138" fmla="*/ 337261 h 571029"/>
                    <a:gd name="connsiteX139" fmla="*/ 210845 w 773157"/>
                    <a:gd name="connsiteY139" fmla="*/ 322488 h 571029"/>
                    <a:gd name="connsiteX140" fmla="*/ 205158 w 773157"/>
                    <a:gd name="connsiteY140" fmla="*/ 310620 h 571029"/>
                    <a:gd name="connsiteX141" fmla="*/ 192814 w 773157"/>
                    <a:gd name="connsiteY141" fmla="*/ 285426 h 571029"/>
                    <a:gd name="connsiteX142" fmla="*/ 172383 w 773157"/>
                    <a:gd name="connsiteY142" fmla="*/ 259661 h 571029"/>
                    <a:gd name="connsiteX143" fmla="*/ 179498 w 773157"/>
                    <a:gd name="connsiteY143" fmla="*/ 262461 h 571029"/>
                    <a:gd name="connsiteX144" fmla="*/ 176012 w 773157"/>
                    <a:gd name="connsiteY144" fmla="*/ 258775 h 571029"/>
                    <a:gd name="connsiteX145" fmla="*/ 168163 w 773157"/>
                    <a:gd name="connsiteY145" fmla="*/ 253918 h 571029"/>
                    <a:gd name="connsiteX146" fmla="*/ 168182 w 773157"/>
                    <a:gd name="connsiteY146" fmla="*/ 248898 h 571029"/>
                    <a:gd name="connsiteX147" fmla="*/ 164468 w 773157"/>
                    <a:gd name="connsiteY147" fmla="*/ 240449 h 571029"/>
                    <a:gd name="connsiteX148" fmla="*/ 171173 w 773157"/>
                    <a:gd name="connsiteY148" fmla="*/ 240897 h 571029"/>
                    <a:gd name="connsiteX149" fmla="*/ 156686 w 773157"/>
                    <a:gd name="connsiteY149" fmla="*/ 231534 h 571029"/>
                    <a:gd name="connsiteX150" fmla="*/ 155105 w 773157"/>
                    <a:gd name="connsiteY150" fmla="*/ 226076 h 571029"/>
                    <a:gd name="connsiteX151" fmla="*/ 148294 w 773157"/>
                    <a:gd name="connsiteY151" fmla="*/ 227629 h 571029"/>
                    <a:gd name="connsiteX152" fmla="*/ 154666 w 773157"/>
                    <a:gd name="connsiteY152" fmla="*/ 219913 h 571029"/>
                    <a:gd name="connsiteX153" fmla="*/ 139960 w 773157"/>
                    <a:gd name="connsiteY153" fmla="*/ 220856 h 571029"/>
                    <a:gd name="connsiteX154" fmla="*/ 152828 w 773157"/>
                    <a:gd name="connsiteY154" fmla="*/ 201911 h 571029"/>
                    <a:gd name="connsiteX155" fmla="*/ 154609 w 773157"/>
                    <a:gd name="connsiteY155" fmla="*/ 203559 h 571029"/>
                    <a:gd name="connsiteX156" fmla="*/ 149818 w 773157"/>
                    <a:gd name="connsiteY156" fmla="*/ 189147 h 571029"/>
                    <a:gd name="connsiteX157" fmla="*/ 140960 w 773157"/>
                    <a:gd name="connsiteY157" fmla="*/ 188328 h 571029"/>
                    <a:gd name="connsiteX158" fmla="*/ 140665 w 773157"/>
                    <a:gd name="connsiteY158" fmla="*/ 179918 h 571029"/>
                    <a:gd name="connsiteX159" fmla="*/ 128473 w 773157"/>
                    <a:gd name="connsiteY159" fmla="*/ 168716 h 571029"/>
                    <a:gd name="connsiteX160" fmla="*/ 134654 w 773157"/>
                    <a:gd name="connsiteY160" fmla="*/ 152810 h 571029"/>
                    <a:gd name="connsiteX161" fmla="*/ 118157 w 773157"/>
                    <a:gd name="connsiteY161" fmla="*/ 148857 h 571029"/>
                    <a:gd name="connsiteX162" fmla="*/ 114395 w 773157"/>
                    <a:gd name="connsiteY162" fmla="*/ 137331 h 571029"/>
                    <a:gd name="connsiteX163" fmla="*/ 108680 w 773157"/>
                    <a:gd name="connsiteY163" fmla="*/ 130759 h 571029"/>
                    <a:gd name="connsiteX164" fmla="*/ 103955 w 773157"/>
                    <a:gd name="connsiteY164" fmla="*/ 112700 h 571029"/>
                    <a:gd name="connsiteX165" fmla="*/ 104384 w 773157"/>
                    <a:gd name="connsiteY165" fmla="*/ 107699 h 571029"/>
                    <a:gd name="connsiteX166" fmla="*/ 101746 w 773157"/>
                    <a:gd name="connsiteY166" fmla="*/ 106080 h 571029"/>
                    <a:gd name="connsiteX167" fmla="*/ 102908 w 773157"/>
                    <a:gd name="connsiteY167" fmla="*/ 98250 h 571029"/>
                    <a:gd name="connsiteX168" fmla="*/ 102746 w 773157"/>
                    <a:gd name="connsiteY168" fmla="*/ 79772 h 571029"/>
                    <a:gd name="connsiteX169" fmla="*/ 103641 w 773157"/>
                    <a:gd name="connsiteY169" fmla="*/ 59055 h 571029"/>
                    <a:gd name="connsiteX170" fmla="*/ 110413 w 773157"/>
                    <a:gd name="connsiteY170" fmla="*/ 47949 h 571029"/>
                    <a:gd name="connsiteX171" fmla="*/ 104374 w 773157"/>
                    <a:gd name="connsiteY171" fmla="*/ 45577 h 571029"/>
                    <a:gd name="connsiteX172" fmla="*/ 99021 w 773157"/>
                    <a:gd name="connsiteY172" fmla="*/ 44358 h 571029"/>
                    <a:gd name="connsiteX173" fmla="*/ 97802 w 773157"/>
                    <a:gd name="connsiteY173" fmla="*/ 40310 h 571029"/>
                    <a:gd name="connsiteX174" fmla="*/ 91706 w 773157"/>
                    <a:gd name="connsiteY174" fmla="*/ 34223 h 571029"/>
                    <a:gd name="connsiteX175" fmla="*/ 84343 w 773157"/>
                    <a:gd name="connsiteY175" fmla="*/ 38043 h 571029"/>
                    <a:gd name="connsiteX176" fmla="*/ 67494 w 773157"/>
                    <a:gd name="connsiteY176" fmla="*/ 25670 h 571029"/>
                    <a:gd name="connsiteX177" fmla="*/ 56854 w 773157"/>
                    <a:gd name="connsiteY177" fmla="*/ 48863 h 571029"/>
                    <a:gd name="connsiteX178" fmla="*/ 52244 w 773157"/>
                    <a:gd name="connsiteY178" fmla="*/ 71781 h 571029"/>
                    <a:gd name="connsiteX179" fmla="*/ 48196 w 773157"/>
                    <a:gd name="connsiteY179" fmla="*/ 84296 h 571029"/>
                    <a:gd name="connsiteX180" fmla="*/ 54635 w 773157"/>
                    <a:gd name="connsiteY180" fmla="*/ 93907 h 571029"/>
                    <a:gd name="connsiteX181" fmla="*/ 62283 w 773157"/>
                    <a:gd name="connsiteY181" fmla="*/ 119339 h 571029"/>
                    <a:gd name="connsiteX182" fmla="*/ 65855 w 773157"/>
                    <a:gd name="connsiteY182" fmla="*/ 122920 h 571029"/>
                    <a:gd name="connsiteX183" fmla="*/ 69294 w 773157"/>
                    <a:gd name="connsiteY183" fmla="*/ 133674 h 571029"/>
                    <a:gd name="connsiteX184" fmla="*/ 72361 w 773157"/>
                    <a:gd name="connsiteY184" fmla="*/ 134636 h 571029"/>
                    <a:gd name="connsiteX185" fmla="*/ 72399 w 773157"/>
                    <a:gd name="connsiteY185" fmla="*/ 137494 h 571029"/>
                    <a:gd name="connsiteX186" fmla="*/ 70561 w 773157"/>
                    <a:gd name="connsiteY186" fmla="*/ 145209 h 571029"/>
                    <a:gd name="connsiteX187" fmla="*/ 72351 w 773157"/>
                    <a:gd name="connsiteY187" fmla="*/ 160001 h 571029"/>
                    <a:gd name="connsiteX188" fmla="*/ 76352 w 773157"/>
                    <a:gd name="connsiteY188" fmla="*/ 163563 h 571029"/>
                    <a:gd name="connsiteX189" fmla="*/ 75437 w 773157"/>
                    <a:gd name="connsiteY189" fmla="*/ 168231 h 571029"/>
                    <a:gd name="connsiteX190" fmla="*/ 75514 w 773157"/>
                    <a:gd name="connsiteY190" fmla="*/ 172812 h 571029"/>
                    <a:gd name="connsiteX191" fmla="*/ 78295 w 773157"/>
                    <a:gd name="connsiteY191" fmla="*/ 175936 h 571029"/>
                    <a:gd name="connsiteX192" fmla="*/ 78000 w 773157"/>
                    <a:gd name="connsiteY192" fmla="*/ 181032 h 571029"/>
                    <a:gd name="connsiteX193" fmla="*/ 79990 w 773157"/>
                    <a:gd name="connsiteY193" fmla="*/ 185119 h 571029"/>
                    <a:gd name="connsiteX194" fmla="*/ 78657 w 773157"/>
                    <a:gd name="connsiteY194" fmla="*/ 189367 h 571029"/>
                    <a:gd name="connsiteX195" fmla="*/ 81829 w 773157"/>
                    <a:gd name="connsiteY195" fmla="*/ 185309 h 571029"/>
                    <a:gd name="connsiteX196" fmla="*/ 87087 w 773157"/>
                    <a:gd name="connsiteY196" fmla="*/ 194377 h 571029"/>
                    <a:gd name="connsiteX197" fmla="*/ 84534 w 773157"/>
                    <a:gd name="connsiteY197" fmla="*/ 212693 h 571029"/>
                    <a:gd name="connsiteX198" fmla="*/ 87248 w 773157"/>
                    <a:gd name="connsiteY198" fmla="*/ 228162 h 571029"/>
                    <a:gd name="connsiteX199" fmla="*/ 86829 w 773157"/>
                    <a:gd name="connsiteY199" fmla="*/ 238496 h 571029"/>
                    <a:gd name="connsiteX200" fmla="*/ 89154 w 773157"/>
                    <a:gd name="connsiteY200" fmla="*/ 248393 h 571029"/>
                    <a:gd name="connsiteX201" fmla="*/ 83600 w 773157"/>
                    <a:gd name="connsiteY201" fmla="*/ 263785 h 571029"/>
                    <a:gd name="connsiteX202" fmla="*/ 92059 w 773157"/>
                    <a:gd name="connsiteY202" fmla="*/ 269319 h 571029"/>
                    <a:gd name="connsiteX203" fmla="*/ 97374 w 773157"/>
                    <a:gd name="connsiteY203" fmla="*/ 265557 h 571029"/>
                    <a:gd name="connsiteX204" fmla="*/ 105537 w 773157"/>
                    <a:gd name="connsiteY204" fmla="*/ 280635 h 571029"/>
                    <a:gd name="connsiteX205" fmla="*/ 104994 w 773157"/>
                    <a:gd name="connsiteY205" fmla="*/ 285264 h 571029"/>
                    <a:gd name="connsiteX206" fmla="*/ 107984 w 773157"/>
                    <a:gd name="connsiteY206" fmla="*/ 286684 h 571029"/>
                    <a:gd name="connsiteX207" fmla="*/ 109708 w 773157"/>
                    <a:gd name="connsiteY207" fmla="*/ 293275 h 571029"/>
                    <a:gd name="connsiteX208" fmla="*/ 95230 w 773157"/>
                    <a:gd name="connsiteY208" fmla="*/ 306600 h 571029"/>
                    <a:gd name="connsiteX209" fmla="*/ 84953 w 773157"/>
                    <a:gd name="connsiteY209" fmla="*/ 303095 h 571029"/>
                    <a:gd name="connsiteX210" fmla="*/ 84724 w 773157"/>
                    <a:gd name="connsiteY210" fmla="*/ 291408 h 571029"/>
                    <a:gd name="connsiteX211" fmla="*/ 77781 w 773157"/>
                    <a:gd name="connsiteY211" fmla="*/ 283350 h 571029"/>
                    <a:gd name="connsiteX212" fmla="*/ 65922 w 773157"/>
                    <a:gd name="connsiteY212" fmla="*/ 268434 h 571029"/>
                    <a:gd name="connsiteX213" fmla="*/ 51796 w 773157"/>
                    <a:gd name="connsiteY213" fmla="*/ 257442 h 571029"/>
                    <a:gd name="connsiteX214" fmla="*/ 48844 w 773157"/>
                    <a:gd name="connsiteY214" fmla="*/ 241021 h 571029"/>
                    <a:gd name="connsiteX215" fmla="*/ 57445 w 773157"/>
                    <a:gd name="connsiteY215" fmla="*/ 221047 h 571029"/>
                    <a:gd name="connsiteX216" fmla="*/ 57635 w 773157"/>
                    <a:gd name="connsiteY216" fmla="*/ 209541 h 571029"/>
                    <a:gd name="connsiteX217" fmla="*/ 50520 w 773157"/>
                    <a:gd name="connsiteY217" fmla="*/ 201911 h 571029"/>
                    <a:gd name="connsiteX218" fmla="*/ 43567 w 773157"/>
                    <a:gd name="connsiteY218" fmla="*/ 181728 h 571029"/>
                    <a:gd name="connsiteX219" fmla="*/ 33985 w 773157"/>
                    <a:gd name="connsiteY219" fmla="*/ 186490 h 571029"/>
                    <a:gd name="connsiteX220" fmla="*/ 24736 w 773157"/>
                    <a:gd name="connsiteY220" fmla="*/ 184728 h 571029"/>
                    <a:gd name="connsiteX221" fmla="*/ 17849 w 773157"/>
                    <a:gd name="connsiteY221" fmla="*/ 177651 h 571029"/>
                    <a:gd name="connsiteX222" fmla="*/ 9020 w 773157"/>
                    <a:gd name="connsiteY222" fmla="*/ 172641 h 571029"/>
                    <a:gd name="connsiteX223" fmla="*/ 9639 w 773157"/>
                    <a:gd name="connsiteY223" fmla="*/ 167745 h 571029"/>
                    <a:gd name="connsiteX224" fmla="*/ 6143 w 773157"/>
                    <a:gd name="connsiteY224" fmla="*/ 163487 h 571029"/>
                    <a:gd name="connsiteX225" fmla="*/ 66 w 773157"/>
                    <a:gd name="connsiteY225" fmla="*/ 154886 h 571029"/>
                    <a:gd name="connsiteX226" fmla="*/ 10163 w 773157"/>
                    <a:gd name="connsiteY226" fmla="*/ 154629 h 571029"/>
                    <a:gd name="connsiteX227" fmla="*/ 22869 w 773157"/>
                    <a:gd name="connsiteY227" fmla="*/ 152533 h 571029"/>
                    <a:gd name="connsiteX228" fmla="*/ 26850 w 773157"/>
                    <a:gd name="connsiteY228" fmla="*/ 158753 h 571029"/>
                    <a:gd name="connsiteX229" fmla="*/ 27774 w 773157"/>
                    <a:gd name="connsiteY229" fmla="*/ 151067 h 571029"/>
                    <a:gd name="connsiteX230" fmla="*/ 24812 w 773157"/>
                    <a:gd name="connsiteY230" fmla="*/ 151429 h 571029"/>
                    <a:gd name="connsiteX231" fmla="*/ 37547 w 773157"/>
                    <a:gd name="connsiteY231" fmla="*/ 136579 h 571029"/>
                    <a:gd name="connsiteX232" fmla="*/ 32918 w 773157"/>
                    <a:gd name="connsiteY232" fmla="*/ 119796 h 571029"/>
                    <a:gd name="connsiteX233" fmla="*/ 25203 w 773157"/>
                    <a:gd name="connsiteY233" fmla="*/ 104918 h 571029"/>
                    <a:gd name="connsiteX234" fmla="*/ 18135 w 773157"/>
                    <a:gd name="connsiteY234" fmla="*/ 100279 h 571029"/>
                    <a:gd name="connsiteX235" fmla="*/ 11029 w 773157"/>
                    <a:gd name="connsiteY235" fmla="*/ 92764 h 571029"/>
                    <a:gd name="connsiteX236" fmla="*/ 15239 w 773157"/>
                    <a:gd name="connsiteY236" fmla="*/ 76686 h 571029"/>
                    <a:gd name="connsiteX237" fmla="*/ 12030 w 773157"/>
                    <a:gd name="connsiteY237" fmla="*/ 72476 h 571029"/>
                    <a:gd name="connsiteX238" fmla="*/ 15582 w 773157"/>
                    <a:gd name="connsiteY238" fmla="*/ 63303 h 571029"/>
                    <a:gd name="connsiteX239" fmla="*/ 12287 w 773157"/>
                    <a:gd name="connsiteY239" fmla="*/ 54959 h 571029"/>
                    <a:gd name="connsiteX240" fmla="*/ 15039 w 773157"/>
                    <a:gd name="connsiteY240" fmla="*/ 47635 h 571029"/>
                    <a:gd name="connsiteX241" fmla="*/ 11915 w 773157"/>
                    <a:gd name="connsiteY241" fmla="*/ 38300 h 571029"/>
                    <a:gd name="connsiteX242" fmla="*/ 12592 w 773157"/>
                    <a:gd name="connsiteY242" fmla="*/ 30890 h 571029"/>
                    <a:gd name="connsiteX243" fmla="*/ 16840 w 773157"/>
                    <a:gd name="connsiteY243" fmla="*/ 26499 h 571029"/>
                    <a:gd name="connsiteX244" fmla="*/ 13868 w 773157"/>
                    <a:gd name="connsiteY244" fmla="*/ 20526 h 571029"/>
                    <a:gd name="connsiteX245" fmla="*/ 14058 w 773157"/>
                    <a:gd name="connsiteY245" fmla="*/ 14592 h 571029"/>
                    <a:gd name="connsiteX246" fmla="*/ 14868 w 773157"/>
                    <a:gd name="connsiteY246" fmla="*/ 5686 h 571029"/>
                    <a:gd name="connsiteX247" fmla="*/ 30851 w 773157"/>
                    <a:gd name="connsiteY247" fmla="*/ 4448 h 571029"/>
                    <a:gd name="connsiteX248" fmla="*/ 87296 w 773157"/>
                    <a:gd name="connsiteY248" fmla="*/ 0 h 571029"/>
                    <a:gd name="connsiteX249" fmla="*/ 80552 w 773157"/>
                    <a:gd name="connsiteY249" fmla="*/ 6525 h 571029"/>
                    <a:gd name="connsiteX250" fmla="*/ 125834 w 773157"/>
                    <a:gd name="connsiteY250" fmla="*/ 25194 h 571029"/>
                    <a:gd name="connsiteX251" fmla="*/ 125834 w 773157"/>
                    <a:gd name="connsiteY251" fmla="*/ 25194 h 571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773157" h="571029">
                      <a:moveTo>
                        <a:pt x="125834" y="25194"/>
                      </a:moveTo>
                      <a:cubicBezTo>
                        <a:pt x="138769" y="30490"/>
                        <a:pt x="151714" y="35766"/>
                        <a:pt x="164668" y="41034"/>
                      </a:cubicBezTo>
                      <a:cubicBezTo>
                        <a:pt x="177060" y="46072"/>
                        <a:pt x="191966" y="43805"/>
                        <a:pt x="205292" y="43777"/>
                      </a:cubicBezTo>
                      <a:cubicBezTo>
                        <a:pt x="219065" y="43748"/>
                        <a:pt x="232829" y="43720"/>
                        <a:pt x="246592" y="43691"/>
                      </a:cubicBezTo>
                      <a:cubicBezTo>
                        <a:pt x="256679" y="43672"/>
                        <a:pt x="253965" y="41081"/>
                        <a:pt x="259127" y="33966"/>
                      </a:cubicBezTo>
                      <a:cubicBezTo>
                        <a:pt x="263451" y="28013"/>
                        <a:pt x="266233" y="29518"/>
                        <a:pt x="274100" y="29566"/>
                      </a:cubicBezTo>
                      <a:cubicBezTo>
                        <a:pt x="280501" y="29604"/>
                        <a:pt x="286902" y="29661"/>
                        <a:pt x="293303" y="29689"/>
                      </a:cubicBezTo>
                      <a:cubicBezTo>
                        <a:pt x="297132" y="29709"/>
                        <a:pt x="309638" y="27718"/>
                        <a:pt x="312419" y="29775"/>
                      </a:cubicBezTo>
                      <a:cubicBezTo>
                        <a:pt x="314534" y="31328"/>
                        <a:pt x="313505" y="33833"/>
                        <a:pt x="314572" y="35785"/>
                      </a:cubicBezTo>
                      <a:cubicBezTo>
                        <a:pt x="316201" y="38776"/>
                        <a:pt x="317811" y="39796"/>
                        <a:pt x="319887" y="42329"/>
                      </a:cubicBezTo>
                      <a:cubicBezTo>
                        <a:pt x="324259" y="47682"/>
                        <a:pt x="326802" y="54302"/>
                        <a:pt x="331622" y="59293"/>
                      </a:cubicBezTo>
                      <a:cubicBezTo>
                        <a:pt x="336489" y="64332"/>
                        <a:pt x="339223" y="64761"/>
                        <a:pt x="339861" y="72180"/>
                      </a:cubicBezTo>
                      <a:cubicBezTo>
                        <a:pt x="340452" y="79105"/>
                        <a:pt x="337261" y="84458"/>
                        <a:pt x="337737" y="91011"/>
                      </a:cubicBezTo>
                      <a:cubicBezTo>
                        <a:pt x="338537" y="102194"/>
                        <a:pt x="353006" y="109804"/>
                        <a:pt x="361864" y="114833"/>
                      </a:cubicBezTo>
                      <a:cubicBezTo>
                        <a:pt x="374989" y="122301"/>
                        <a:pt x="382428" y="102603"/>
                        <a:pt x="390896" y="96250"/>
                      </a:cubicBezTo>
                      <a:cubicBezTo>
                        <a:pt x="395458" y="92831"/>
                        <a:pt x="403364" y="90288"/>
                        <a:pt x="408308" y="90307"/>
                      </a:cubicBezTo>
                      <a:cubicBezTo>
                        <a:pt x="414613" y="90335"/>
                        <a:pt x="420681" y="93583"/>
                        <a:pt x="427386" y="91593"/>
                      </a:cubicBezTo>
                      <a:cubicBezTo>
                        <a:pt x="433225" y="95602"/>
                        <a:pt x="441579" y="107318"/>
                        <a:pt x="443131" y="116405"/>
                      </a:cubicBezTo>
                      <a:cubicBezTo>
                        <a:pt x="444179" y="122520"/>
                        <a:pt x="444007" y="129578"/>
                        <a:pt x="444474" y="135074"/>
                      </a:cubicBezTo>
                      <a:cubicBezTo>
                        <a:pt x="444903" y="140132"/>
                        <a:pt x="448256" y="147676"/>
                        <a:pt x="450427" y="152743"/>
                      </a:cubicBezTo>
                      <a:cubicBezTo>
                        <a:pt x="451837" y="156048"/>
                        <a:pt x="455390" y="157801"/>
                        <a:pt x="456609" y="160706"/>
                      </a:cubicBezTo>
                      <a:cubicBezTo>
                        <a:pt x="458228" y="164564"/>
                        <a:pt x="456399" y="164925"/>
                        <a:pt x="455723" y="168431"/>
                      </a:cubicBezTo>
                      <a:cubicBezTo>
                        <a:pt x="455333" y="170440"/>
                        <a:pt x="455399" y="172136"/>
                        <a:pt x="455028" y="174184"/>
                      </a:cubicBezTo>
                      <a:cubicBezTo>
                        <a:pt x="454113" y="179146"/>
                        <a:pt x="454275" y="177413"/>
                        <a:pt x="454933" y="182451"/>
                      </a:cubicBezTo>
                      <a:cubicBezTo>
                        <a:pt x="455542" y="187119"/>
                        <a:pt x="454190" y="195453"/>
                        <a:pt x="457619" y="198606"/>
                      </a:cubicBezTo>
                      <a:cubicBezTo>
                        <a:pt x="458743" y="199644"/>
                        <a:pt x="463648" y="200616"/>
                        <a:pt x="465258" y="201320"/>
                      </a:cubicBezTo>
                      <a:cubicBezTo>
                        <a:pt x="467867" y="202473"/>
                        <a:pt x="471011" y="204169"/>
                        <a:pt x="473916" y="205473"/>
                      </a:cubicBezTo>
                      <a:cubicBezTo>
                        <a:pt x="480621" y="208493"/>
                        <a:pt x="488137" y="208693"/>
                        <a:pt x="494966" y="211750"/>
                      </a:cubicBezTo>
                      <a:cubicBezTo>
                        <a:pt x="497319" y="212798"/>
                        <a:pt x="498652" y="215341"/>
                        <a:pt x="501396" y="215608"/>
                      </a:cubicBezTo>
                      <a:cubicBezTo>
                        <a:pt x="502319" y="215703"/>
                        <a:pt x="506853" y="212817"/>
                        <a:pt x="508796" y="212760"/>
                      </a:cubicBezTo>
                      <a:cubicBezTo>
                        <a:pt x="502586" y="226409"/>
                        <a:pt x="490909" y="236201"/>
                        <a:pt x="483184" y="249069"/>
                      </a:cubicBezTo>
                      <a:cubicBezTo>
                        <a:pt x="475487" y="261890"/>
                        <a:pt x="469353" y="274987"/>
                        <a:pt x="463867" y="288569"/>
                      </a:cubicBezTo>
                      <a:cubicBezTo>
                        <a:pt x="461124" y="295361"/>
                        <a:pt x="459695" y="303276"/>
                        <a:pt x="456323" y="309648"/>
                      </a:cubicBezTo>
                      <a:cubicBezTo>
                        <a:pt x="452894" y="316144"/>
                        <a:pt x="450637" y="318783"/>
                        <a:pt x="449522" y="326193"/>
                      </a:cubicBezTo>
                      <a:cubicBezTo>
                        <a:pt x="448427" y="333480"/>
                        <a:pt x="448132" y="339290"/>
                        <a:pt x="452085" y="345996"/>
                      </a:cubicBezTo>
                      <a:cubicBezTo>
                        <a:pt x="453342" y="348139"/>
                        <a:pt x="456114" y="349291"/>
                        <a:pt x="456133" y="351777"/>
                      </a:cubicBezTo>
                      <a:cubicBezTo>
                        <a:pt x="456152" y="354873"/>
                        <a:pt x="451713" y="357578"/>
                        <a:pt x="450646" y="360455"/>
                      </a:cubicBezTo>
                      <a:cubicBezTo>
                        <a:pt x="450342" y="356264"/>
                        <a:pt x="453970" y="353444"/>
                        <a:pt x="453428" y="350473"/>
                      </a:cubicBezTo>
                      <a:cubicBezTo>
                        <a:pt x="452751" y="346796"/>
                        <a:pt x="448789" y="340852"/>
                        <a:pt x="447646" y="336709"/>
                      </a:cubicBezTo>
                      <a:cubicBezTo>
                        <a:pt x="447246" y="344491"/>
                        <a:pt x="447627" y="350492"/>
                        <a:pt x="449160" y="356854"/>
                      </a:cubicBezTo>
                      <a:cubicBezTo>
                        <a:pt x="451561" y="366817"/>
                        <a:pt x="450818" y="377038"/>
                        <a:pt x="456056" y="385715"/>
                      </a:cubicBezTo>
                      <a:cubicBezTo>
                        <a:pt x="462200" y="395907"/>
                        <a:pt x="466163" y="402203"/>
                        <a:pt x="466572" y="414176"/>
                      </a:cubicBezTo>
                      <a:cubicBezTo>
                        <a:pt x="466763" y="419652"/>
                        <a:pt x="467982" y="421348"/>
                        <a:pt x="470820" y="425768"/>
                      </a:cubicBezTo>
                      <a:cubicBezTo>
                        <a:pt x="473249" y="429568"/>
                        <a:pt x="473563" y="435769"/>
                        <a:pt x="478040" y="438169"/>
                      </a:cubicBezTo>
                      <a:cubicBezTo>
                        <a:pt x="476802" y="437655"/>
                        <a:pt x="475183" y="437455"/>
                        <a:pt x="473821" y="436759"/>
                      </a:cubicBezTo>
                      <a:cubicBezTo>
                        <a:pt x="475040" y="440103"/>
                        <a:pt x="479698" y="441446"/>
                        <a:pt x="483193" y="441798"/>
                      </a:cubicBezTo>
                      <a:cubicBezTo>
                        <a:pt x="481860" y="441046"/>
                        <a:pt x="480783" y="440122"/>
                        <a:pt x="479507" y="439341"/>
                      </a:cubicBezTo>
                      <a:cubicBezTo>
                        <a:pt x="484641" y="441236"/>
                        <a:pt x="491070" y="440226"/>
                        <a:pt x="496071" y="442103"/>
                      </a:cubicBezTo>
                      <a:cubicBezTo>
                        <a:pt x="501234" y="444037"/>
                        <a:pt x="505253" y="448161"/>
                        <a:pt x="507873" y="452552"/>
                      </a:cubicBezTo>
                      <a:cubicBezTo>
                        <a:pt x="511711" y="459010"/>
                        <a:pt x="513864" y="459210"/>
                        <a:pt x="521750" y="457372"/>
                      </a:cubicBezTo>
                      <a:cubicBezTo>
                        <a:pt x="527275" y="456086"/>
                        <a:pt x="532409" y="453562"/>
                        <a:pt x="537724" y="451733"/>
                      </a:cubicBezTo>
                      <a:cubicBezTo>
                        <a:pt x="544201" y="449504"/>
                        <a:pt x="549668" y="450552"/>
                        <a:pt x="556183" y="450199"/>
                      </a:cubicBezTo>
                      <a:cubicBezTo>
                        <a:pt x="562689" y="449847"/>
                        <a:pt x="565270" y="446932"/>
                        <a:pt x="570290" y="444560"/>
                      </a:cubicBezTo>
                      <a:cubicBezTo>
                        <a:pt x="575224" y="442227"/>
                        <a:pt x="580977" y="442436"/>
                        <a:pt x="586349" y="441960"/>
                      </a:cubicBezTo>
                      <a:cubicBezTo>
                        <a:pt x="589111" y="441722"/>
                        <a:pt x="601627" y="442693"/>
                        <a:pt x="593674" y="445780"/>
                      </a:cubicBezTo>
                      <a:cubicBezTo>
                        <a:pt x="597512" y="452009"/>
                        <a:pt x="605218" y="448999"/>
                        <a:pt x="609800" y="446056"/>
                      </a:cubicBezTo>
                      <a:cubicBezTo>
                        <a:pt x="618115" y="440703"/>
                        <a:pt x="610819" y="440303"/>
                        <a:pt x="614781" y="435159"/>
                      </a:cubicBezTo>
                      <a:cubicBezTo>
                        <a:pt x="613448" y="436121"/>
                        <a:pt x="611609" y="436550"/>
                        <a:pt x="610371" y="437283"/>
                      </a:cubicBezTo>
                      <a:cubicBezTo>
                        <a:pt x="613391" y="432826"/>
                        <a:pt x="621401" y="431244"/>
                        <a:pt x="626068" y="428492"/>
                      </a:cubicBezTo>
                      <a:cubicBezTo>
                        <a:pt x="629459" y="426491"/>
                        <a:pt x="633841" y="424529"/>
                        <a:pt x="636365" y="421415"/>
                      </a:cubicBezTo>
                      <a:cubicBezTo>
                        <a:pt x="638717" y="418490"/>
                        <a:pt x="638946" y="414157"/>
                        <a:pt x="640851" y="410889"/>
                      </a:cubicBezTo>
                      <a:cubicBezTo>
                        <a:pt x="644594" y="404470"/>
                        <a:pt x="649262" y="403193"/>
                        <a:pt x="651567" y="395516"/>
                      </a:cubicBezTo>
                      <a:cubicBezTo>
                        <a:pt x="653472" y="389144"/>
                        <a:pt x="654805" y="382829"/>
                        <a:pt x="658006" y="377009"/>
                      </a:cubicBezTo>
                      <a:cubicBezTo>
                        <a:pt x="666054" y="362379"/>
                        <a:pt x="681227" y="360445"/>
                        <a:pt x="696553" y="358169"/>
                      </a:cubicBezTo>
                      <a:cubicBezTo>
                        <a:pt x="709660" y="356226"/>
                        <a:pt x="723566" y="349996"/>
                        <a:pt x="736006" y="349625"/>
                      </a:cubicBezTo>
                      <a:cubicBezTo>
                        <a:pt x="743807" y="349387"/>
                        <a:pt x="751436" y="355483"/>
                        <a:pt x="759056" y="354692"/>
                      </a:cubicBezTo>
                      <a:cubicBezTo>
                        <a:pt x="760380" y="354559"/>
                        <a:pt x="764438" y="355178"/>
                        <a:pt x="764400" y="352577"/>
                      </a:cubicBezTo>
                      <a:cubicBezTo>
                        <a:pt x="764390" y="352197"/>
                        <a:pt x="759028" y="351892"/>
                        <a:pt x="758056" y="351654"/>
                      </a:cubicBezTo>
                      <a:cubicBezTo>
                        <a:pt x="767095" y="348834"/>
                        <a:pt x="775268" y="351253"/>
                        <a:pt x="772668" y="362179"/>
                      </a:cubicBezTo>
                      <a:cubicBezTo>
                        <a:pt x="770372" y="371818"/>
                        <a:pt x="764086" y="376800"/>
                        <a:pt x="756208" y="383162"/>
                      </a:cubicBezTo>
                      <a:cubicBezTo>
                        <a:pt x="752255" y="386353"/>
                        <a:pt x="747788" y="389925"/>
                        <a:pt x="745055" y="394278"/>
                      </a:cubicBezTo>
                      <a:cubicBezTo>
                        <a:pt x="742616" y="398155"/>
                        <a:pt x="743569" y="402327"/>
                        <a:pt x="741235" y="405765"/>
                      </a:cubicBezTo>
                      <a:cubicBezTo>
                        <a:pt x="740178" y="407327"/>
                        <a:pt x="731405" y="408861"/>
                        <a:pt x="732358" y="412976"/>
                      </a:cubicBezTo>
                      <a:cubicBezTo>
                        <a:pt x="732977" y="415633"/>
                        <a:pt x="737854" y="413633"/>
                        <a:pt x="740282" y="413642"/>
                      </a:cubicBezTo>
                      <a:cubicBezTo>
                        <a:pt x="738863" y="419767"/>
                        <a:pt x="730862" y="417728"/>
                        <a:pt x="730605" y="423901"/>
                      </a:cubicBezTo>
                      <a:cubicBezTo>
                        <a:pt x="731558" y="423301"/>
                        <a:pt x="734539" y="422710"/>
                        <a:pt x="735558" y="422024"/>
                      </a:cubicBezTo>
                      <a:cubicBezTo>
                        <a:pt x="733729" y="430454"/>
                        <a:pt x="725566" y="440731"/>
                        <a:pt x="721414" y="448437"/>
                      </a:cubicBezTo>
                      <a:cubicBezTo>
                        <a:pt x="717946" y="454866"/>
                        <a:pt x="717594" y="456400"/>
                        <a:pt x="715003" y="450037"/>
                      </a:cubicBezTo>
                      <a:cubicBezTo>
                        <a:pt x="714213" y="448104"/>
                        <a:pt x="712727" y="448837"/>
                        <a:pt x="712822" y="446494"/>
                      </a:cubicBezTo>
                      <a:cubicBezTo>
                        <a:pt x="712965" y="443075"/>
                        <a:pt x="715975" y="440922"/>
                        <a:pt x="715784" y="437083"/>
                      </a:cubicBezTo>
                      <a:cubicBezTo>
                        <a:pt x="709755" y="439312"/>
                        <a:pt x="709917" y="445799"/>
                        <a:pt x="704849" y="448628"/>
                      </a:cubicBezTo>
                      <a:cubicBezTo>
                        <a:pt x="703078" y="449618"/>
                        <a:pt x="699954" y="447989"/>
                        <a:pt x="697677" y="449456"/>
                      </a:cubicBezTo>
                      <a:cubicBezTo>
                        <a:pt x="695925" y="450580"/>
                        <a:pt x="694343" y="454371"/>
                        <a:pt x="692867" y="456133"/>
                      </a:cubicBezTo>
                      <a:cubicBezTo>
                        <a:pt x="689467" y="460210"/>
                        <a:pt x="685914" y="465011"/>
                        <a:pt x="681237" y="465592"/>
                      </a:cubicBezTo>
                      <a:cubicBezTo>
                        <a:pt x="679780" y="465782"/>
                        <a:pt x="679142" y="463220"/>
                        <a:pt x="677389" y="463734"/>
                      </a:cubicBezTo>
                      <a:cubicBezTo>
                        <a:pt x="675455" y="464306"/>
                        <a:pt x="675255" y="466011"/>
                        <a:pt x="673903" y="466582"/>
                      </a:cubicBezTo>
                      <a:cubicBezTo>
                        <a:pt x="673303" y="466830"/>
                        <a:pt x="673207" y="468821"/>
                        <a:pt x="672265" y="469325"/>
                      </a:cubicBezTo>
                      <a:cubicBezTo>
                        <a:pt x="671093" y="469954"/>
                        <a:pt x="668083" y="469325"/>
                        <a:pt x="666816" y="469325"/>
                      </a:cubicBezTo>
                      <a:cubicBezTo>
                        <a:pt x="653262" y="469316"/>
                        <a:pt x="639698" y="469297"/>
                        <a:pt x="626144" y="469287"/>
                      </a:cubicBezTo>
                      <a:cubicBezTo>
                        <a:pt x="623049" y="469287"/>
                        <a:pt x="618677" y="468421"/>
                        <a:pt x="616858" y="470249"/>
                      </a:cubicBezTo>
                      <a:cubicBezTo>
                        <a:pt x="615457" y="471650"/>
                        <a:pt x="614924" y="478022"/>
                        <a:pt x="614429" y="480060"/>
                      </a:cubicBezTo>
                      <a:cubicBezTo>
                        <a:pt x="613790" y="482670"/>
                        <a:pt x="613524" y="485832"/>
                        <a:pt x="611752" y="487042"/>
                      </a:cubicBezTo>
                      <a:cubicBezTo>
                        <a:pt x="610266" y="488052"/>
                        <a:pt x="601646" y="486956"/>
                        <a:pt x="599922" y="486947"/>
                      </a:cubicBezTo>
                      <a:cubicBezTo>
                        <a:pt x="603113" y="489299"/>
                        <a:pt x="604227" y="492252"/>
                        <a:pt x="606732" y="495233"/>
                      </a:cubicBezTo>
                      <a:cubicBezTo>
                        <a:pt x="609571" y="498615"/>
                        <a:pt x="615286" y="500501"/>
                        <a:pt x="617439" y="504187"/>
                      </a:cubicBezTo>
                      <a:cubicBezTo>
                        <a:pt x="619039" y="506930"/>
                        <a:pt x="618448" y="509454"/>
                        <a:pt x="619915" y="511778"/>
                      </a:cubicBezTo>
                      <a:cubicBezTo>
                        <a:pt x="622744" y="516284"/>
                        <a:pt x="625411" y="512388"/>
                        <a:pt x="621811" y="519808"/>
                      </a:cubicBezTo>
                      <a:cubicBezTo>
                        <a:pt x="619334" y="524913"/>
                        <a:pt x="620182" y="524218"/>
                        <a:pt x="613610" y="524256"/>
                      </a:cubicBezTo>
                      <a:cubicBezTo>
                        <a:pt x="608295" y="524285"/>
                        <a:pt x="602970" y="524275"/>
                        <a:pt x="597646" y="524285"/>
                      </a:cubicBezTo>
                      <a:cubicBezTo>
                        <a:pt x="587797" y="524294"/>
                        <a:pt x="582596" y="522646"/>
                        <a:pt x="576224" y="530514"/>
                      </a:cubicBezTo>
                      <a:cubicBezTo>
                        <a:pt x="571547" y="536296"/>
                        <a:pt x="562270" y="544344"/>
                        <a:pt x="561603" y="551326"/>
                      </a:cubicBezTo>
                      <a:cubicBezTo>
                        <a:pt x="561441" y="552945"/>
                        <a:pt x="563689" y="554698"/>
                        <a:pt x="563556" y="556422"/>
                      </a:cubicBezTo>
                      <a:cubicBezTo>
                        <a:pt x="563460" y="557575"/>
                        <a:pt x="561460" y="557498"/>
                        <a:pt x="561108" y="558575"/>
                      </a:cubicBezTo>
                      <a:cubicBezTo>
                        <a:pt x="560317" y="560975"/>
                        <a:pt x="559993" y="565718"/>
                        <a:pt x="558917" y="567709"/>
                      </a:cubicBezTo>
                      <a:cubicBezTo>
                        <a:pt x="554002" y="576815"/>
                        <a:pt x="549744" y="564899"/>
                        <a:pt x="545753" y="559327"/>
                      </a:cubicBezTo>
                      <a:cubicBezTo>
                        <a:pt x="540962" y="552631"/>
                        <a:pt x="535438" y="546830"/>
                        <a:pt x="529761" y="540877"/>
                      </a:cubicBezTo>
                      <a:cubicBezTo>
                        <a:pt x="522846" y="533638"/>
                        <a:pt x="513911" y="521923"/>
                        <a:pt x="503910" y="519456"/>
                      </a:cubicBezTo>
                      <a:cubicBezTo>
                        <a:pt x="501034" y="518751"/>
                        <a:pt x="497386" y="516817"/>
                        <a:pt x="501777" y="520741"/>
                      </a:cubicBezTo>
                      <a:cubicBezTo>
                        <a:pt x="504367" y="523056"/>
                        <a:pt x="508892" y="521846"/>
                        <a:pt x="510968" y="525904"/>
                      </a:cubicBezTo>
                      <a:cubicBezTo>
                        <a:pt x="506587" y="524161"/>
                        <a:pt x="502186" y="521999"/>
                        <a:pt x="497671" y="520627"/>
                      </a:cubicBezTo>
                      <a:cubicBezTo>
                        <a:pt x="494214" y="519579"/>
                        <a:pt x="487889" y="520437"/>
                        <a:pt x="495014" y="516560"/>
                      </a:cubicBezTo>
                      <a:cubicBezTo>
                        <a:pt x="493166" y="514845"/>
                        <a:pt x="490794" y="516360"/>
                        <a:pt x="488518" y="517465"/>
                      </a:cubicBezTo>
                      <a:cubicBezTo>
                        <a:pt x="489880" y="510445"/>
                        <a:pt x="483422" y="514779"/>
                        <a:pt x="481345" y="517770"/>
                      </a:cubicBezTo>
                      <a:cubicBezTo>
                        <a:pt x="483689" y="518084"/>
                        <a:pt x="486003" y="518589"/>
                        <a:pt x="488251" y="519303"/>
                      </a:cubicBezTo>
                      <a:cubicBezTo>
                        <a:pt x="485022" y="520446"/>
                        <a:pt x="480755" y="519722"/>
                        <a:pt x="477202" y="520922"/>
                      </a:cubicBezTo>
                      <a:cubicBezTo>
                        <a:pt x="472792" y="522408"/>
                        <a:pt x="469039" y="525847"/>
                        <a:pt x="464686" y="527514"/>
                      </a:cubicBezTo>
                      <a:cubicBezTo>
                        <a:pt x="456085" y="530809"/>
                        <a:pt x="446208" y="534505"/>
                        <a:pt x="437340" y="536324"/>
                      </a:cubicBezTo>
                      <a:cubicBezTo>
                        <a:pt x="426243" y="538610"/>
                        <a:pt x="421643" y="532486"/>
                        <a:pt x="411784" y="529371"/>
                      </a:cubicBezTo>
                      <a:cubicBezTo>
                        <a:pt x="406993" y="527847"/>
                        <a:pt x="401278" y="529209"/>
                        <a:pt x="396468" y="527780"/>
                      </a:cubicBezTo>
                      <a:cubicBezTo>
                        <a:pt x="392191" y="526504"/>
                        <a:pt x="389543" y="522885"/>
                        <a:pt x="385562" y="520789"/>
                      </a:cubicBezTo>
                      <a:cubicBezTo>
                        <a:pt x="382000" y="518903"/>
                        <a:pt x="376723" y="519122"/>
                        <a:pt x="373465" y="516903"/>
                      </a:cubicBezTo>
                      <a:cubicBezTo>
                        <a:pt x="371760" y="515741"/>
                        <a:pt x="371036" y="512845"/>
                        <a:pt x="369408" y="511588"/>
                      </a:cubicBezTo>
                      <a:cubicBezTo>
                        <a:pt x="366931" y="509683"/>
                        <a:pt x="366922" y="510731"/>
                        <a:pt x="363959" y="509445"/>
                      </a:cubicBezTo>
                      <a:cubicBezTo>
                        <a:pt x="355644" y="505844"/>
                        <a:pt x="345757" y="506273"/>
                        <a:pt x="338032" y="501996"/>
                      </a:cubicBezTo>
                      <a:cubicBezTo>
                        <a:pt x="322526" y="493395"/>
                        <a:pt x="306685" y="488109"/>
                        <a:pt x="293217" y="476441"/>
                      </a:cubicBezTo>
                      <a:cubicBezTo>
                        <a:pt x="290026" y="473669"/>
                        <a:pt x="288274" y="470049"/>
                        <a:pt x="285083" y="467192"/>
                      </a:cubicBezTo>
                      <a:cubicBezTo>
                        <a:pt x="280873" y="463420"/>
                        <a:pt x="278415" y="465411"/>
                        <a:pt x="273015" y="464858"/>
                      </a:cubicBezTo>
                      <a:cubicBezTo>
                        <a:pt x="264623" y="464001"/>
                        <a:pt x="256346" y="460058"/>
                        <a:pt x="248631" y="456972"/>
                      </a:cubicBezTo>
                      <a:cubicBezTo>
                        <a:pt x="243925" y="455085"/>
                        <a:pt x="240458" y="454505"/>
                        <a:pt x="237382" y="450885"/>
                      </a:cubicBezTo>
                      <a:cubicBezTo>
                        <a:pt x="234295" y="447237"/>
                        <a:pt x="233248" y="442408"/>
                        <a:pt x="229847" y="438788"/>
                      </a:cubicBezTo>
                      <a:cubicBezTo>
                        <a:pt x="224313" y="432902"/>
                        <a:pt x="216427" y="429835"/>
                        <a:pt x="209292" y="426434"/>
                      </a:cubicBezTo>
                      <a:cubicBezTo>
                        <a:pt x="201158" y="422558"/>
                        <a:pt x="197510" y="414471"/>
                        <a:pt x="193814" y="406594"/>
                      </a:cubicBezTo>
                      <a:cubicBezTo>
                        <a:pt x="190842" y="400260"/>
                        <a:pt x="188347" y="389125"/>
                        <a:pt x="194129" y="385334"/>
                      </a:cubicBezTo>
                      <a:cubicBezTo>
                        <a:pt x="196967" y="383477"/>
                        <a:pt x="203520" y="385582"/>
                        <a:pt x="205120" y="381372"/>
                      </a:cubicBezTo>
                      <a:cubicBezTo>
                        <a:pt x="207292" y="375676"/>
                        <a:pt x="199958" y="377723"/>
                        <a:pt x="199520" y="376057"/>
                      </a:cubicBezTo>
                      <a:cubicBezTo>
                        <a:pt x="199234" y="374961"/>
                        <a:pt x="211512" y="363274"/>
                        <a:pt x="212921" y="360036"/>
                      </a:cubicBezTo>
                      <a:cubicBezTo>
                        <a:pt x="213198" y="359388"/>
                        <a:pt x="215665" y="353682"/>
                        <a:pt x="215598" y="353473"/>
                      </a:cubicBezTo>
                      <a:cubicBezTo>
                        <a:pt x="215169" y="352025"/>
                        <a:pt x="211045" y="350644"/>
                        <a:pt x="210207" y="349139"/>
                      </a:cubicBezTo>
                      <a:cubicBezTo>
                        <a:pt x="209111" y="347205"/>
                        <a:pt x="207778" y="339414"/>
                        <a:pt x="207797" y="337261"/>
                      </a:cubicBezTo>
                      <a:cubicBezTo>
                        <a:pt x="207854" y="331803"/>
                        <a:pt x="211531" y="328336"/>
                        <a:pt x="210845" y="322488"/>
                      </a:cubicBezTo>
                      <a:cubicBezTo>
                        <a:pt x="210197" y="317021"/>
                        <a:pt x="207902" y="315049"/>
                        <a:pt x="205158" y="310620"/>
                      </a:cubicBezTo>
                      <a:cubicBezTo>
                        <a:pt x="200063" y="302400"/>
                        <a:pt x="196681" y="294246"/>
                        <a:pt x="192814" y="285426"/>
                      </a:cubicBezTo>
                      <a:cubicBezTo>
                        <a:pt x="187880" y="274225"/>
                        <a:pt x="181365" y="268234"/>
                        <a:pt x="172383" y="259661"/>
                      </a:cubicBezTo>
                      <a:cubicBezTo>
                        <a:pt x="175364" y="260337"/>
                        <a:pt x="176812" y="263166"/>
                        <a:pt x="179498" y="262461"/>
                      </a:cubicBezTo>
                      <a:cubicBezTo>
                        <a:pt x="185394" y="260918"/>
                        <a:pt x="175107" y="258299"/>
                        <a:pt x="176012" y="258775"/>
                      </a:cubicBezTo>
                      <a:cubicBezTo>
                        <a:pt x="172831" y="257099"/>
                        <a:pt x="170287" y="257337"/>
                        <a:pt x="168163" y="253918"/>
                      </a:cubicBezTo>
                      <a:cubicBezTo>
                        <a:pt x="167249" y="252441"/>
                        <a:pt x="168630" y="250488"/>
                        <a:pt x="168182" y="248898"/>
                      </a:cubicBezTo>
                      <a:cubicBezTo>
                        <a:pt x="167306" y="245793"/>
                        <a:pt x="165020" y="243792"/>
                        <a:pt x="164468" y="240449"/>
                      </a:cubicBezTo>
                      <a:cubicBezTo>
                        <a:pt x="165668" y="241630"/>
                        <a:pt x="171135" y="244278"/>
                        <a:pt x="171173" y="240897"/>
                      </a:cubicBezTo>
                      <a:cubicBezTo>
                        <a:pt x="171183" y="239763"/>
                        <a:pt x="158238" y="233601"/>
                        <a:pt x="156686" y="231534"/>
                      </a:cubicBezTo>
                      <a:cubicBezTo>
                        <a:pt x="156676" y="231524"/>
                        <a:pt x="153171" y="225323"/>
                        <a:pt x="155105" y="226076"/>
                      </a:cubicBezTo>
                      <a:cubicBezTo>
                        <a:pt x="152771" y="225162"/>
                        <a:pt x="150714" y="228267"/>
                        <a:pt x="148294" y="227629"/>
                      </a:cubicBezTo>
                      <a:cubicBezTo>
                        <a:pt x="143703" y="226409"/>
                        <a:pt x="153076" y="222685"/>
                        <a:pt x="154666" y="219913"/>
                      </a:cubicBezTo>
                      <a:cubicBezTo>
                        <a:pt x="150561" y="223028"/>
                        <a:pt x="142617" y="227133"/>
                        <a:pt x="139960" y="220856"/>
                      </a:cubicBezTo>
                      <a:cubicBezTo>
                        <a:pt x="136845" y="213493"/>
                        <a:pt x="147837" y="204959"/>
                        <a:pt x="152828" y="201911"/>
                      </a:cubicBezTo>
                      <a:cubicBezTo>
                        <a:pt x="153523" y="202644"/>
                        <a:pt x="154009" y="202997"/>
                        <a:pt x="154609" y="203559"/>
                      </a:cubicBezTo>
                      <a:cubicBezTo>
                        <a:pt x="151923" y="199615"/>
                        <a:pt x="155352" y="191843"/>
                        <a:pt x="149818" y="189147"/>
                      </a:cubicBezTo>
                      <a:cubicBezTo>
                        <a:pt x="146780" y="187671"/>
                        <a:pt x="143570" y="190986"/>
                        <a:pt x="140960" y="188328"/>
                      </a:cubicBezTo>
                      <a:cubicBezTo>
                        <a:pt x="138550" y="185861"/>
                        <a:pt x="141408" y="182375"/>
                        <a:pt x="140665" y="179918"/>
                      </a:cubicBezTo>
                      <a:cubicBezTo>
                        <a:pt x="139045" y="174584"/>
                        <a:pt x="130587" y="176565"/>
                        <a:pt x="128473" y="168716"/>
                      </a:cubicBezTo>
                      <a:cubicBezTo>
                        <a:pt x="126815" y="162563"/>
                        <a:pt x="129882" y="156667"/>
                        <a:pt x="134654" y="152810"/>
                      </a:cubicBezTo>
                      <a:cubicBezTo>
                        <a:pt x="129149" y="151086"/>
                        <a:pt x="122043" y="153095"/>
                        <a:pt x="118157" y="148857"/>
                      </a:cubicBezTo>
                      <a:cubicBezTo>
                        <a:pt x="115052" y="145475"/>
                        <a:pt x="116633" y="140779"/>
                        <a:pt x="114395" y="137331"/>
                      </a:cubicBezTo>
                      <a:cubicBezTo>
                        <a:pt x="112575" y="134522"/>
                        <a:pt x="110309" y="133941"/>
                        <a:pt x="108680" y="130759"/>
                      </a:cubicBezTo>
                      <a:cubicBezTo>
                        <a:pt x="105879" y="125263"/>
                        <a:pt x="104298" y="118453"/>
                        <a:pt x="103955" y="112700"/>
                      </a:cubicBezTo>
                      <a:cubicBezTo>
                        <a:pt x="103860" y="111081"/>
                        <a:pt x="104470" y="109071"/>
                        <a:pt x="104384" y="107699"/>
                      </a:cubicBezTo>
                      <a:cubicBezTo>
                        <a:pt x="104327" y="106651"/>
                        <a:pt x="101803" y="106623"/>
                        <a:pt x="101746" y="106080"/>
                      </a:cubicBezTo>
                      <a:cubicBezTo>
                        <a:pt x="101526" y="103746"/>
                        <a:pt x="103031" y="100813"/>
                        <a:pt x="102908" y="98250"/>
                      </a:cubicBezTo>
                      <a:cubicBezTo>
                        <a:pt x="102555" y="90983"/>
                        <a:pt x="101479" y="87097"/>
                        <a:pt x="102746" y="79772"/>
                      </a:cubicBezTo>
                      <a:cubicBezTo>
                        <a:pt x="103993" y="72552"/>
                        <a:pt x="101145" y="65894"/>
                        <a:pt x="103641" y="59055"/>
                      </a:cubicBezTo>
                      <a:cubicBezTo>
                        <a:pt x="104593" y="56464"/>
                        <a:pt x="110975" y="49349"/>
                        <a:pt x="110413" y="47949"/>
                      </a:cubicBezTo>
                      <a:cubicBezTo>
                        <a:pt x="109823" y="46501"/>
                        <a:pt x="105727" y="46015"/>
                        <a:pt x="104374" y="45577"/>
                      </a:cubicBezTo>
                      <a:cubicBezTo>
                        <a:pt x="102784" y="45063"/>
                        <a:pt x="100364" y="45491"/>
                        <a:pt x="99021" y="44358"/>
                      </a:cubicBezTo>
                      <a:cubicBezTo>
                        <a:pt x="95992" y="41777"/>
                        <a:pt x="99221" y="42558"/>
                        <a:pt x="97802" y="40310"/>
                      </a:cubicBezTo>
                      <a:cubicBezTo>
                        <a:pt x="96640" y="38462"/>
                        <a:pt x="96021" y="34138"/>
                        <a:pt x="91706" y="34223"/>
                      </a:cubicBezTo>
                      <a:cubicBezTo>
                        <a:pt x="89239" y="34271"/>
                        <a:pt x="87953" y="38329"/>
                        <a:pt x="84343" y="38043"/>
                      </a:cubicBezTo>
                      <a:cubicBezTo>
                        <a:pt x="80657" y="37757"/>
                        <a:pt x="70932" y="28413"/>
                        <a:pt x="67494" y="25670"/>
                      </a:cubicBezTo>
                      <a:cubicBezTo>
                        <a:pt x="71361" y="34509"/>
                        <a:pt x="58978" y="40805"/>
                        <a:pt x="56854" y="48863"/>
                      </a:cubicBezTo>
                      <a:cubicBezTo>
                        <a:pt x="54883" y="56340"/>
                        <a:pt x="55378" y="64275"/>
                        <a:pt x="52244" y="71781"/>
                      </a:cubicBezTo>
                      <a:cubicBezTo>
                        <a:pt x="50272" y="76486"/>
                        <a:pt x="47520" y="78877"/>
                        <a:pt x="48196" y="84296"/>
                      </a:cubicBezTo>
                      <a:cubicBezTo>
                        <a:pt x="48815" y="89297"/>
                        <a:pt x="52368" y="90402"/>
                        <a:pt x="54635" y="93907"/>
                      </a:cubicBezTo>
                      <a:cubicBezTo>
                        <a:pt x="60102" y="102365"/>
                        <a:pt x="63779" y="109252"/>
                        <a:pt x="62283" y="119339"/>
                      </a:cubicBezTo>
                      <a:cubicBezTo>
                        <a:pt x="66103" y="117777"/>
                        <a:pt x="67122" y="119805"/>
                        <a:pt x="65855" y="122920"/>
                      </a:cubicBezTo>
                      <a:cubicBezTo>
                        <a:pt x="71332" y="122263"/>
                        <a:pt x="68008" y="130150"/>
                        <a:pt x="69294" y="133674"/>
                      </a:cubicBezTo>
                      <a:cubicBezTo>
                        <a:pt x="69456" y="134122"/>
                        <a:pt x="72151" y="133988"/>
                        <a:pt x="72361" y="134636"/>
                      </a:cubicBezTo>
                      <a:cubicBezTo>
                        <a:pt x="72751" y="135798"/>
                        <a:pt x="72123" y="136246"/>
                        <a:pt x="72399" y="137494"/>
                      </a:cubicBezTo>
                      <a:cubicBezTo>
                        <a:pt x="72980" y="140027"/>
                        <a:pt x="71037" y="142713"/>
                        <a:pt x="70561" y="145209"/>
                      </a:cubicBezTo>
                      <a:cubicBezTo>
                        <a:pt x="69256" y="152019"/>
                        <a:pt x="68627" y="153743"/>
                        <a:pt x="72351" y="160001"/>
                      </a:cubicBezTo>
                      <a:cubicBezTo>
                        <a:pt x="73123" y="161296"/>
                        <a:pt x="75866" y="162116"/>
                        <a:pt x="76352" y="163563"/>
                      </a:cubicBezTo>
                      <a:cubicBezTo>
                        <a:pt x="76790" y="164849"/>
                        <a:pt x="75161" y="166850"/>
                        <a:pt x="75437" y="168231"/>
                      </a:cubicBezTo>
                      <a:cubicBezTo>
                        <a:pt x="75695" y="169555"/>
                        <a:pt x="75028" y="171383"/>
                        <a:pt x="75514" y="172812"/>
                      </a:cubicBezTo>
                      <a:cubicBezTo>
                        <a:pt x="76057" y="174393"/>
                        <a:pt x="77933" y="174631"/>
                        <a:pt x="78295" y="175936"/>
                      </a:cubicBezTo>
                      <a:cubicBezTo>
                        <a:pt x="79000" y="178441"/>
                        <a:pt x="77743" y="178603"/>
                        <a:pt x="78000" y="181032"/>
                      </a:cubicBezTo>
                      <a:cubicBezTo>
                        <a:pt x="78152" y="182451"/>
                        <a:pt x="79952" y="183671"/>
                        <a:pt x="79990" y="185119"/>
                      </a:cubicBezTo>
                      <a:cubicBezTo>
                        <a:pt x="80029" y="186309"/>
                        <a:pt x="78257" y="188233"/>
                        <a:pt x="78657" y="189367"/>
                      </a:cubicBezTo>
                      <a:cubicBezTo>
                        <a:pt x="82276" y="199701"/>
                        <a:pt x="79524" y="187900"/>
                        <a:pt x="81829" y="185309"/>
                      </a:cubicBezTo>
                      <a:cubicBezTo>
                        <a:pt x="85791" y="180832"/>
                        <a:pt x="87039" y="192091"/>
                        <a:pt x="87087" y="194377"/>
                      </a:cubicBezTo>
                      <a:cubicBezTo>
                        <a:pt x="87220" y="200473"/>
                        <a:pt x="86039" y="206359"/>
                        <a:pt x="84534" y="212693"/>
                      </a:cubicBezTo>
                      <a:cubicBezTo>
                        <a:pt x="82848" y="219789"/>
                        <a:pt x="86401" y="223295"/>
                        <a:pt x="87248" y="228162"/>
                      </a:cubicBezTo>
                      <a:cubicBezTo>
                        <a:pt x="87782" y="231229"/>
                        <a:pt x="86296" y="235210"/>
                        <a:pt x="86829" y="238496"/>
                      </a:cubicBezTo>
                      <a:cubicBezTo>
                        <a:pt x="87429" y="242316"/>
                        <a:pt x="90058" y="244183"/>
                        <a:pt x="89154" y="248393"/>
                      </a:cubicBezTo>
                      <a:cubicBezTo>
                        <a:pt x="88030" y="253603"/>
                        <a:pt x="81581" y="257118"/>
                        <a:pt x="83600" y="263785"/>
                      </a:cubicBezTo>
                      <a:cubicBezTo>
                        <a:pt x="85105" y="268748"/>
                        <a:pt x="89096" y="271644"/>
                        <a:pt x="92059" y="269319"/>
                      </a:cubicBezTo>
                      <a:cubicBezTo>
                        <a:pt x="95488" y="266633"/>
                        <a:pt x="91306" y="262157"/>
                        <a:pt x="97374" y="265557"/>
                      </a:cubicBezTo>
                      <a:cubicBezTo>
                        <a:pt x="101965" y="268129"/>
                        <a:pt x="103860" y="276225"/>
                        <a:pt x="105537" y="280635"/>
                      </a:cubicBezTo>
                      <a:cubicBezTo>
                        <a:pt x="106098" y="282112"/>
                        <a:pt x="104279" y="283826"/>
                        <a:pt x="104994" y="285264"/>
                      </a:cubicBezTo>
                      <a:cubicBezTo>
                        <a:pt x="105384" y="286055"/>
                        <a:pt x="107565" y="285750"/>
                        <a:pt x="107984" y="286684"/>
                      </a:cubicBezTo>
                      <a:cubicBezTo>
                        <a:pt x="109156" y="289255"/>
                        <a:pt x="110394" y="289722"/>
                        <a:pt x="109708" y="293275"/>
                      </a:cubicBezTo>
                      <a:cubicBezTo>
                        <a:pt x="108518" y="299466"/>
                        <a:pt x="100155" y="303933"/>
                        <a:pt x="95230" y="306600"/>
                      </a:cubicBezTo>
                      <a:cubicBezTo>
                        <a:pt x="89011" y="309972"/>
                        <a:pt x="85105" y="311248"/>
                        <a:pt x="84953" y="303095"/>
                      </a:cubicBezTo>
                      <a:cubicBezTo>
                        <a:pt x="84867" y="298714"/>
                        <a:pt x="86077" y="295532"/>
                        <a:pt x="84724" y="291408"/>
                      </a:cubicBezTo>
                      <a:cubicBezTo>
                        <a:pt x="83010" y="286169"/>
                        <a:pt x="81676" y="287160"/>
                        <a:pt x="77781" y="283350"/>
                      </a:cubicBezTo>
                      <a:cubicBezTo>
                        <a:pt x="73294" y="278959"/>
                        <a:pt x="70694" y="272834"/>
                        <a:pt x="65922" y="268434"/>
                      </a:cubicBezTo>
                      <a:cubicBezTo>
                        <a:pt x="62674" y="265443"/>
                        <a:pt x="55664" y="255775"/>
                        <a:pt x="51796" y="257442"/>
                      </a:cubicBezTo>
                      <a:cubicBezTo>
                        <a:pt x="53892" y="251022"/>
                        <a:pt x="45853" y="248774"/>
                        <a:pt x="48844" y="241021"/>
                      </a:cubicBezTo>
                      <a:cubicBezTo>
                        <a:pt x="51758" y="233467"/>
                        <a:pt x="56235" y="228610"/>
                        <a:pt x="57445" y="221047"/>
                      </a:cubicBezTo>
                      <a:cubicBezTo>
                        <a:pt x="58112" y="216875"/>
                        <a:pt x="59026" y="213846"/>
                        <a:pt x="57635" y="209541"/>
                      </a:cubicBezTo>
                      <a:cubicBezTo>
                        <a:pt x="55730" y="203664"/>
                        <a:pt x="55235" y="205226"/>
                        <a:pt x="50520" y="201911"/>
                      </a:cubicBezTo>
                      <a:cubicBezTo>
                        <a:pt x="43310" y="196825"/>
                        <a:pt x="39671" y="190005"/>
                        <a:pt x="43567" y="181728"/>
                      </a:cubicBezTo>
                      <a:cubicBezTo>
                        <a:pt x="40128" y="185747"/>
                        <a:pt x="38471" y="185195"/>
                        <a:pt x="33985" y="186490"/>
                      </a:cubicBezTo>
                      <a:cubicBezTo>
                        <a:pt x="27136" y="188462"/>
                        <a:pt x="28879" y="188576"/>
                        <a:pt x="24736" y="184728"/>
                      </a:cubicBezTo>
                      <a:cubicBezTo>
                        <a:pt x="22621" y="182766"/>
                        <a:pt x="20459" y="179003"/>
                        <a:pt x="17849" y="177651"/>
                      </a:cubicBezTo>
                      <a:cubicBezTo>
                        <a:pt x="15497" y="176432"/>
                        <a:pt x="10477" y="174927"/>
                        <a:pt x="9020" y="172641"/>
                      </a:cubicBezTo>
                      <a:cubicBezTo>
                        <a:pt x="8124" y="171241"/>
                        <a:pt x="10229" y="169116"/>
                        <a:pt x="9639" y="167745"/>
                      </a:cubicBezTo>
                      <a:cubicBezTo>
                        <a:pt x="8810" y="165830"/>
                        <a:pt x="7372" y="165202"/>
                        <a:pt x="6143" y="163487"/>
                      </a:cubicBezTo>
                      <a:cubicBezTo>
                        <a:pt x="4914" y="161773"/>
                        <a:pt x="-667" y="156905"/>
                        <a:pt x="66" y="154886"/>
                      </a:cubicBezTo>
                      <a:cubicBezTo>
                        <a:pt x="1190" y="151781"/>
                        <a:pt x="7429" y="154362"/>
                        <a:pt x="10163" y="154629"/>
                      </a:cubicBezTo>
                      <a:cubicBezTo>
                        <a:pt x="15440" y="155143"/>
                        <a:pt x="17926" y="154543"/>
                        <a:pt x="22869" y="152533"/>
                      </a:cubicBezTo>
                      <a:cubicBezTo>
                        <a:pt x="20564" y="155801"/>
                        <a:pt x="22717" y="159201"/>
                        <a:pt x="26850" y="158753"/>
                      </a:cubicBezTo>
                      <a:cubicBezTo>
                        <a:pt x="24774" y="156258"/>
                        <a:pt x="26022" y="153410"/>
                        <a:pt x="27774" y="151067"/>
                      </a:cubicBezTo>
                      <a:cubicBezTo>
                        <a:pt x="26784" y="151190"/>
                        <a:pt x="25793" y="151305"/>
                        <a:pt x="24812" y="151429"/>
                      </a:cubicBezTo>
                      <a:cubicBezTo>
                        <a:pt x="28489" y="147247"/>
                        <a:pt x="35261" y="142484"/>
                        <a:pt x="37547" y="136579"/>
                      </a:cubicBezTo>
                      <a:cubicBezTo>
                        <a:pt x="39995" y="130264"/>
                        <a:pt x="35575" y="125625"/>
                        <a:pt x="32918" y="119796"/>
                      </a:cubicBezTo>
                      <a:cubicBezTo>
                        <a:pt x="30756" y="115072"/>
                        <a:pt x="28765" y="108585"/>
                        <a:pt x="25203" y="104918"/>
                      </a:cubicBezTo>
                      <a:cubicBezTo>
                        <a:pt x="24031" y="103718"/>
                        <a:pt x="19773" y="101622"/>
                        <a:pt x="18135" y="100279"/>
                      </a:cubicBezTo>
                      <a:cubicBezTo>
                        <a:pt x="15630" y="98212"/>
                        <a:pt x="12363" y="95612"/>
                        <a:pt x="11029" y="92764"/>
                      </a:cubicBezTo>
                      <a:cubicBezTo>
                        <a:pt x="8048" y="86354"/>
                        <a:pt x="15497" y="83125"/>
                        <a:pt x="15239" y="76686"/>
                      </a:cubicBezTo>
                      <a:cubicBezTo>
                        <a:pt x="15163" y="74724"/>
                        <a:pt x="12030" y="72828"/>
                        <a:pt x="12030" y="72476"/>
                      </a:cubicBezTo>
                      <a:cubicBezTo>
                        <a:pt x="12068" y="69180"/>
                        <a:pt x="15392" y="66351"/>
                        <a:pt x="15582" y="63303"/>
                      </a:cubicBezTo>
                      <a:cubicBezTo>
                        <a:pt x="15868" y="58998"/>
                        <a:pt x="12811" y="58655"/>
                        <a:pt x="12287" y="54959"/>
                      </a:cubicBezTo>
                      <a:cubicBezTo>
                        <a:pt x="11972" y="52788"/>
                        <a:pt x="14878" y="49959"/>
                        <a:pt x="15039" y="47635"/>
                      </a:cubicBezTo>
                      <a:cubicBezTo>
                        <a:pt x="15278" y="44082"/>
                        <a:pt x="11991" y="41405"/>
                        <a:pt x="11915" y="38300"/>
                      </a:cubicBezTo>
                      <a:cubicBezTo>
                        <a:pt x="11839" y="35366"/>
                        <a:pt x="13173" y="33309"/>
                        <a:pt x="12592" y="30890"/>
                      </a:cubicBezTo>
                      <a:cubicBezTo>
                        <a:pt x="15916" y="31014"/>
                        <a:pt x="16659" y="28956"/>
                        <a:pt x="16840" y="26499"/>
                      </a:cubicBezTo>
                      <a:cubicBezTo>
                        <a:pt x="16868" y="26118"/>
                        <a:pt x="14106" y="21527"/>
                        <a:pt x="13868" y="20526"/>
                      </a:cubicBezTo>
                      <a:cubicBezTo>
                        <a:pt x="13696" y="19822"/>
                        <a:pt x="14039" y="15535"/>
                        <a:pt x="14058" y="14592"/>
                      </a:cubicBezTo>
                      <a:cubicBezTo>
                        <a:pt x="14125" y="11840"/>
                        <a:pt x="11944" y="8125"/>
                        <a:pt x="14868" y="5686"/>
                      </a:cubicBezTo>
                      <a:cubicBezTo>
                        <a:pt x="16878" y="4020"/>
                        <a:pt x="28127" y="4658"/>
                        <a:pt x="30851" y="4448"/>
                      </a:cubicBezTo>
                      <a:cubicBezTo>
                        <a:pt x="49653" y="2981"/>
                        <a:pt x="68532" y="1886"/>
                        <a:pt x="87296" y="0"/>
                      </a:cubicBezTo>
                      <a:cubicBezTo>
                        <a:pt x="85134" y="2324"/>
                        <a:pt x="83162" y="4696"/>
                        <a:pt x="80552" y="6525"/>
                      </a:cubicBezTo>
                      <a:cubicBezTo>
                        <a:pt x="95650" y="12773"/>
                        <a:pt x="110737" y="18993"/>
                        <a:pt x="125834" y="25194"/>
                      </a:cubicBezTo>
                      <a:lnTo>
                        <a:pt x="125834" y="25194"/>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07" name="Freeform: Shape 606">
                  <a:extLst>
                    <a:ext uri="{FF2B5EF4-FFF2-40B4-BE49-F238E27FC236}">
                      <a16:creationId xmlns:a16="http://schemas.microsoft.com/office/drawing/2014/main" id="{292CAA4C-338E-4076-A56B-899C5DD557A8}"/>
                    </a:ext>
                  </a:extLst>
                </p:cNvPr>
                <p:cNvSpPr/>
                <p:nvPr/>
              </p:nvSpPr>
              <p:spPr>
                <a:xfrm>
                  <a:off x="6904825" y="4745358"/>
                  <a:ext cx="249914" cy="425430"/>
                </a:xfrm>
                <a:custGeom>
                  <a:avLst/>
                  <a:gdLst>
                    <a:gd name="connsiteX0" fmla="*/ 230923 w 249914"/>
                    <a:gd name="connsiteY0" fmla="*/ 11148 h 425430"/>
                    <a:gd name="connsiteX1" fmla="*/ 241620 w 249914"/>
                    <a:gd name="connsiteY1" fmla="*/ 36503 h 425430"/>
                    <a:gd name="connsiteX2" fmla="*/ 245601 w 249914"/>
                    <a:gd name="connsiteY2" fmla="*/ 61678 h 425430"/>
                    <a:gd name="connsiteX3" fmla="*/ 246496 w 249914"/>
                    <a:gd name="connsiteY3" fmla="*/ 88662 h 425430"/>
                    <a:gd name="connsiteX4" fmla="*/ 247306 w 249914"/>
                    <a:gd name="connsiteY4" fmla="*/ 111484 h 425430"/>
                    <a:gd name="connsiteX5" fmla="*/ 234457 w 249914"/>
                    <a:gd name="connsiteY5" fmla="*/ 116846 h 425430"/>
                    <a:gd name="connsiteX6" fmla="*/ 231828 w 249914"/>
                    <a:gd name="connsiteY6" fmla="*/ 106359 h 425430"/>
                    <a:gd name="connsiteX7" fmla="*/ 224094 w 249914"/>
                    <a:gd name="connsiteY7" fmla="*/ 110274 h 425430"/>
                    <a:gd name="connsiteX8" fmla="*/ 226123 w 249914"/>
                    <a:gd name="connsiteY8" fmla="*/ 128791 h 425430"/>
                    <a:gd name="connsiteX9" fmla="*/ 226056 w 249914"/>
                    <a:gd name="connsiteY9" fmla="*/ 139716 h 425430"/>
                    <a:gd name="connsiteX10" fmla="*/ 222617 w 249914"/>
                    <a:gd name="connsiteY10" fmla="*/ 148508 h 425430"/>
                    <a:gd name="connsiteX11" fmla="*/ 211407 w 249914"/>
                    <a:gd name="connsiteY11" fmla="*/ 162681 h 425430"/>
                    <a:gd name="connsiteX12" fmla="*/ 208330 w 249914"/>
                    <a:gd name="connsiteY12" fmla="*/ 186541 h 425430"/>
                    <a:gd name="connsiteX13" fmla="*/ 185422 w 249914"/>
                    <a:gd name="connsiteY13" fmla="*/ 234537 h 425430"/>
                    <a:gd name="connsiteX14" fmla="*/ 164877 w 249914"/>
                    <a:gd name="connsiteY14" fmla="*/ 278886 h 425430"/>
                    <a:gd name="connsiteX15" fmla="*/ 140588 w 249914"/>
                    <a:gd name="connsiteY15" fmla="*/ 327235 h 425430"/>
                    <a:gd name="connsiteX16" fmla="*/ 121614 w 249914"/>
                    <a:gd name="connsiteY16" fmla="*/ 373221 h 425430"/>
                    <a:gd name="connsiteX17" fmla="*/ 91953 w 249914"/>
                    <a:gd name="connsiteY17" fmla="*/ 411302 h 425430"/>
                    <a:gd name="connsiteX18" fmla="*/ 67303 w 249914"/>
                    <a:gd name="connsiteY18" fmla="*/ 417027 h 425430"/>
                    <a:gd name="connsiteX19" fmla="*/ 43395 w 249914"/>
                    <a:gd name="connsiteY19" fmla="*/ 424990 h 425430"/>
                    <a:gd name="connsiteX20" fmla="*/ 33089 w 249914"/>
                    <a:gd name="connsiteY20" fmla="*/ 417989 h 425430"/>
                    <a:gd name="connsiteX21" fmla="*/ 21335 w 249914"/>
                    <a:gd name="connsiteY21" fmla="*/ 415179 h 425430"/>
                    <a:gd name="connsiteX22" fmla="*/ 10086 w 249914"/>
                    <a:gd name="connsiteY22" fmla="*/ 402425 h 425430"/>
                    <a:gd name="connsiteX23" fmla="*/ 3933 w 249914"/>
                    <a:gd name="connsiteY23" fmla="*/ 379765 h 425430"/>
                    <a:gd name="connsiteX24" fmla="*/ 8733 w 249914"/>
                    <a:gd name="connsiteY24" fmla="*/ 359001 h 425430"/>
                    <a:gd name="connsiteX25" fmla="*/ 1314 w 249914"/>
                    <a:gd name="connsiteY25" fmla="*/ 337693 h 425430"/>
                    <a:gd name="connsiteX26" fmla="*/ 2190 w 249914"/>
                    <a:gd name="connsiteY26" fmla="*/ 313119 h 425430"/>
                    <a:gd name="connsiteX27" fmla="*/ 10924 w 249914"/>
                    <a:gd name="connsiteY27" fmla="*/ 295564 h 425430"/>
                    <a:gd name="connsiteX28" fmla="*/ 25221 w 249914"/>
                    <a:gd name="connsiteY28" fmla="*/ 280181 h 425430"/>
                    <a:gd name="connsiteX29" fmla="*/ 47900 w 249914"/>
                    <a:gd name="connsiteY29" fmla="*/ 237852 h 425430"/>
                    <a:gd name="connsiteX30" fmla="*/ 44281 w 249914"/>
                    <a:gd name="connsiteY30" fmla="*/ 217916 h 425430"/>
                    <a:gd name="connsiteX31" fmla="*/ 44385 w 249914"/>
                    <a:gd name="connsiteY31" fmla="*/ 207315 h 425430"/>
                    <a:gd name="connsiteX32" fmla="*/ 40956 w 249914"/>
                    <a:gd name="connsiteY32" fmla="*/ 195618 h 425430"/>
                    <a:gd name="connsiteX33" fmla="*/ 40709 w 249914"/>
                    <a:gd name="connsiteY33" fmla="*/ 173539 h 425430"/>
                    <a:gd name="connsiteX34" fmla="*/ 55825 w 249914"/>
                    <a:gd name="connsiteY34" fmla="*/ 149269 h 425430"/>
                    <a:gd name="connsiteX35" fmla="*/ 60987 w 249914"/>
                    <a:gd name="connsiteY35" fmla="*/ 130924 h 425430"/>
                    <a:gd name="connsiteX36" fmla="*/ 71351 w 249914"/>
                    <a:gd name="connsiteY36" fmla="*/ 129362 h 425430"/>
                    <a:gd name="connsiteX37" fmla="*/ 81285 w 249914"/>
                    <a:gd name="connsiteY37" fmla="*/ 125314 h 425430"/>
                    <a:gd name="connsiteX38" fmla="*/ 87772 w 249914"/>
                    <a:gd name="connsiteY38" fmla="*/ 123238 h 425430"/>
                    <a:gd name="connsiteX39" fmla="*/ 96001 w 249914"/>
                    <a:gd name="connsiteY39" fmla="*/ 123085 h 425430"/>
                    <a:gd name="connsiteX40" fmla="*/ 99830 w 249914"/>
                    <a:gd name="connsiteY40" fmla="*/ 118475 h 425430"/>
                    <a:gd name="connsiteX41" fmla="*/ 109613 w 249914"/>
                    <a:gd name="connsiteY41" fmla="*/ 116789 h 425430"/>
                    <a:gd name="connsiteX42" fmla="*/ 117928 w 249914"/>
                    <a:gd name="connsiteY42" fmla="*/ 117732 h 425430"/>
                    <a:gd name="connsiteX43" fmla="*/ 123710 w 249914"/>
                    <a:gd name="connsiteY43" fmla="*/ 120228 h 425430"/>
                    <a:gd name="connsiteX44" fmla="*/ 143350 w 249914"/>
                    <a:gd name="connsiteY44" fmla="*/ 106264 h 425430"/>
                    <a:gd name="connsiteX45" fmla="*/ 146712 w 249914"/>
                    <a:gd name="connsiteY45" fmla="*/ 100140 h 425430"/>
                    <a:gd name="connsiteX46" fmla="*/ 146398 w 249914"/>
                    <a:gd name="connsiteY46" fmla="*/ 96739 h 425430"/>
                    <a:gd name="connsiteX47" fmla="*/ 152161 w 249914"/>
                    <a:gd name="connsiteY47" fmla="*/ 91024 h 425430"/>
                    <a:gd name="connsiteX48" fmla="*/ 159391 w 249914"/>
                    <a:gd name="connsiteY48" fmla="*/ 82966 h 425430"/>
                    <a:gd name="connsiteX49" fmla="*/ 157342 w 249914"/>
                    <a:gd name="connsiteY49" fmla="*/ 91872 h 425430"/>
                    <a:gd name="connsiteX50" fmla="*/ 175002 w 249914"/>
                    <a:gd name="connsiteY50" fmla="*/ 81690 h 425430"/>
                    <a:gd name="connsiteX51" fmla="*/ 175392 w 249914"/>
                    <a:gd name="connsiteY51" fmla="*/ 64526 h 425430"/>
                    <a:gd name="connsiteX52" fmla="*/ 178059 w 249914"/>
                    <a:gd name="connsiteY52" fmla="*/ 59649 h 425430"/>
                    <a:gd name="connsiteX53" fmla="*/ 175297 w 249914"/>
                    <a:gd name="connsiteY53" fmla="*/ 54439 h 425430"/>
                    <a:gd name="connsiteX54" fmla="*/ 179421 w 249914"/>
                    <a:gd name="connsiteY54" fmla="*/ 48228 h 425430"/>
                    <a:gd name="connsiteX55" fmla="*/ 185051 w 249914"/>
                    <a:gd name="connsiteY55" fmla="*/ 51257 h 425430"/>
                    <a:gd name="connsiteX56" fmla="*/ 198434 w 249914"/>
                    <a:gd name="connsiteY56" fmla="*/ 42761 h 425430"/>
                    <a:gd name="connsiteX57" fmla="*/ 209882 w 249914"/>
                    <a:gd name="connsiteY57" fmla="*/ 26978 h 425430"/>
                    <a:gd name="connsiteX58" fmla="*/ 208053 w 249914"/>
                    <a:gd name="connsiteY58" fmla="*/ 11348 h 425430"/>
                    <a:gd name="connsiteX59" fmla="*/ 214692 w 249914"/>
                    <a:gd name="connsiteY59" fmla="*/ 8452 h 425430"/>
                    <a:gd name="connsiteX60" fmla="*/ 221636 w 249914"/>
                    <a:gd name="connsiteY60" fmla="*/ 3 h 425430"/>
                    <a:gd name="connsiteX61" fmla="*/ 230923 w 249914"/>
                    <a:gd name="connsiteY61" fmla="*/ 11148 h 425430"/>
                    <a:gd name="connsiteX62" fmla="*/ 230923 w 249914"/>
                    <a:gd name="connsiteY62" fmla="*/ 11148 h 425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49914" h="425430">
                      <a:moveTo>
                        <a:pt x="230923" y="11148"/>
                      </a:moveTo>
                      <a:cubicBezTo>
                        <a:pt x="233771" y="20415"/>
                        <a:pt x="240019" y="27016"/>
                        <a:pt x="241620" y="36503"/>
                      </a:cubicBezTo>
                      <a:cubicBezTo>
                        <a:pt x="243039" y="44942"/>
                        <a:pt x="245306" y="53020"/>
                        <a:pt x="245601" y="61678"/>
                      </a:cubicBezTo>
                      <a:cubicBezTo>
                        <a:pt x="245915" y="70802"/>
                        <a:pt x="243706" y="79737"/>
                        <a:pt x="246496" y="88662"/>
                      </a:cubicBezTo>
                      <a:cubicBezTo>
                        <a:pt x="249354" y="97796"/>
                        <a:pt x="252097" y="102102"/>
                        <a:pt x="247306" y="111484"/>
                      </a:cubicBezTo>
                      <a:cubicBezTo>
                        <a:pt x="243944" y="118056"/>
                        <a:pt x="239591" y="126657"/>
                        <a:pt x="234457" y="116846"/>
                      </a:cubicBezTo>
                      <a:cubicBezTo>
                        <a:pt x="233733" y="115456"/>
                        <a:pt x="233162" y="107198"/>
                        <a:pt x="231828" y="106359"/>
                      </a:cubicBezTo>
                      <a:cubicBezTo>
                        <a:pt x="228589" y="104321"/>
                        <a:pt x="225151" y="107531"/>
                        <a:pt x="224094" y="110274"/>
                      </a:cubicBezTo>
                      <a:cubicBezTo>
                        <a:pt x="222122" y="115437"/>
                        <a:pt x="225446" y="124400"/>
                        <a:pt x="226123" y="128791"/>
                      </a:cubicBezTo>
                      <a:cubicBezTo>
                        <a:pt x="226703" y="132477"/>
                        <a:pt x="227380" y="135992"/>
                        <a:pt x="226056" y="139716"/>
                      </a:cubicBezTo>
                      <a:cubicBezTo>
                        <a:pt x="225351" y="141678"/>
                        <a:pt x="223408" y="147450"/>
                        <a:pt x="222617" y="148508"/>
                      </a:cubicBezTo>
                      <a:cubicBezTo>
                        <a:pt x="219340" y="152946"/>
                        <a:pt x="213530" y="155842"/>
                        <a:pt x="211407" y="162681"/>
                      </a:cubicBezTo>
                      <a:cubicBezTo>
                        <a:pt x="209015" y="170396"/>
                        <a:pt x="211044" y="178521"/>
                        <a:pt x="208330" y="186541"/>
                      </a:cubicBezTo>
                      <a:cubicBezTo>
                        <a:pt x="202586" y="203486"/>
                        <a:pt x="192690" y="218307"/>
                        <a:pt x="185422" y="234537"/>
                      </a:cubicBezTo>
                      <a:cubicBezTo>
                        <a:pt x="178764" y="249406"/>
                        <a:pt x="171230" y="263893"/>
                        <a:pt x="164877" y="278886"/>
                      </a:cubicBezTo>
                      <a:cubicBezTo>
                        <a:pt x="157799" y="295593"/>
                        <a:pt x="147789" y="310756"/>
                        <a:pt x="140588" y="327235"/>
                      </a:cubicBezTo>
                      <a:cubicBezTo>
                        <a:pt x="133997" y="342341"/>
                        <a:pt x="129749" y="358858"/>
                        <a:pt x="121614" y="373221"/>
                      </a:cubicBezTo>
                      <a:cubicBezTo>
                        <a:pt x="114328" y="386090"/>
                        <a:pt x="107345" y="406435"/>
                        <a:pt x="91953" y="411302"/>
                      </a:cubicBezTo>
                      <a:cubicBezTo>
                        <a:pt x="83543" y="413960"/>
                        <a:pt x="75665" y="413046"/>
                        <a:pt x="67303" y="417027"/>
                      </a:cubicBezTo>
                      <a:cubicBezTo>
                        <a:pt x="60006" y="420494"/>
                        <a:pt x="52129" y="427209"/>
                        <a:pt x="43395" y="424990"/>
                      </a:cubicBezTo>
                      <a:cubicBezTo>
                        <a:pt x="38937" y="423866"/>
                        <a:pt x="36994" y="420046"/>
                        <a:pt x="33089" y="417989"/>
                      </a:cubicBezTo>
                      <a:cubicBezTo>
                        <a:pt x="29422" y="416055"/>
                        <a:pt x="24821" y="417027"/>
                        <a:pt x="21335" y="415179"/>
                      </a:cubicBezTo>
                      <a:cubicBezTo>
                        <a:pt x="16182" y="412445"/>
                        <a:pt x="11838" y="407778"/>
                        <a:pt x="10086" y="402425"/>
                      </a:cubicBezTo>
                      <a:cubicBezTo>
                        <a:pt x="7647" y="394948"/>
                        <a:pt x="3161" y="387594"/>
                        <a:pt x="3933" y="379765"/>
                      </a:cubicBezTo>
                      <a:cubicBezTo>
                        <a:pt x="4628" y="372688"/>
                        <a:pt x="8210" y="365401"/>
                        <a:pt x="8733" y="359001"/>
                      </a:cubicBezTo>
                      <a:cubicBezTo>
                        <a:pt x="9381" y="351028"/>
                        <a:pt x="3390" y="344704"/>
                        <a:pt x="1314" y="337693"/>
                      </a:cubicBezTo>
                      <a:cubicBezTo>
                        <a:pt x="-849" y="330416"/>
                        <a:pt x="-192" y="320253"/>
                        <a:pt x="2190" y="313119"/>
                      </a:cubicBezTo>
                      <a:cubicBezTo>
                        <a:pt x="4209" y="307051"/>
                        <a:pt x="8010" y="301203"/>
                        <a:pt x="10924" y="295564"/>
                      </a:cubicBezTo>
                      <a:cubicBezTo>
                        <a:pt x="14344" y="288916"/>
                        <a:pt x="21249" y="287420"/>
                        <a:pt x="25221" y="280181"/>
                      </a:cubicBezTo>
                      <a:cubicBezTo>
                        <a:pt x="33356" y="265341"/>
                        <a:pt x="44348" y="255283"/>
                        <a:pt x="47900" y="237852"/>
                      </a:cubicBezTo>
                      <a:cubicBezTo>
                        <a:pt x="49548" y="229737"/>
                        <a:pt x="44805" y="225441"/>
                        <a:pt x="44281" y="217916"/>
                      </a:cubicBezTo>
                      <a:cubicBezTo>
                        <a:pt x="44014" y="214135"/>
                        <a:pt x="45271" y="211268"/>
                        <a:pt x="44385" y="207315"/>
                      </a:cubicBezTo>
                      <a:cubicBezTo>
                        <a:pt x="43481" y="203276"/>
                        <a:pt x="41337" y="199971"/>
                        <a:pt x="40956" y="195618"/>
                      </a:cubicBezTo>
                      <a:cubicBezTo>
                        <a:pt x="40404" y="189160"/>
                        <a:pt x="40357" y="179826"/>
                        <a:pt x="40709" y="173539"/>
                      </a:cubicBezTo>
                      <a:cubicBezTo>
                        <a:pt x="41213" y="164395"/>
                        <a:pt x="51158" y="156413"/>
                        <a:pt x="55825" y="149269"/>
                      </a:cubicBezTo>
                      <a:cubicBezTo>
                        <a:pt x="59092" y="144279"/>
                        <a:pt x="57263" y="134401"/>
                        <a:pt x="60987" y="130924"/>
                      </a:cubicBezTo>
                      <a:cubicBezTo>
                        <a:pt x="63150" y="128915"/>
                        <a:pt x="68722" y="129781"/>
                        <a:pt x="71351" y="129362"/>
                      </a:cubicBezTo>
                      <a:cubicBezTo>
                        <a:pt x="75856" y="128657"/>
                        <a:pt x="77418" y="127714"/>
                        <a:pt x="81285" y="125314"/>
                      </a:cubicBezTo>
                      <a:cubicBezTo>
                        <a:pt x="85095" y="122952"/>
                        <a:pt x="84933" y="123561"/>
                        <a:pt x="87772" y="123238"/>
                      </a:cubicBezTo>
                      <a:cubicBezTo>
                        <a:pt x="89134" y="123085"/>
                        <a:pt x="93582" y="124533"/>
                        <a:pt x="96001" y="123085"/>
                      </a:cubicBezTo>
                      <a:cubicBezTo>
                        <a:pt x="97640" y="122114"/>
                        <a:pt x="98240" y="119371"/>
                        <a:pt x="99830" y="118475"/>
                      </a:cubicBezTo>
                      <a:cubicBezTo>
                        <a:pt x="102659" y="116875"/>
                        <a:pt x="106384" y="117323"/>
                        <a:pt x="109613" y="116789"/>
                      </a:cubicBezTo>
                      <a:cubicBezTo>
                        <a:pt x="115423" y="115846"/>
                        <a:pt x="113956" y="115989"/>
                        <a:pt x="117928" y="117732"/>
                      </a:cubicBezTo>
                      <a:cubicBezTo>
                        <a:pt x="120833" y="119009"/>
                        <a:pt x="119690" y="122514"/>
                        <a:pt x="123710" y="120228"/>
                      </a:cubicBezTo>
                      <a:cubicBezTo>
                        <a:pt x="112765" y="114379"/>
                        <a:pt x="145293" y="87633"/>
                        <a:pt x="143350" y="106264"/>
                      </a:cubicBezTo>
                      <a:cubicBezTo>
                        <a:pt x="147703" y="106064"/>
                        <a:pt x="145884" y="102578"/>
                        <a:pt x="146712" y="100140"/>
                      </a:cubicBezTo>
                      <a:cubicBezTo>
                        <a:pt x="146998" y="99292"/>
                        <a:pt x="146017" y="97816"/>
                        <a:pt x="146398" y="96739"/>
                      </a:cubicBezTo>
                      <a:cubicBezTo>
                        <a:pt x="146998" y="94996"/>
                        <a:pt x="150913" y="92701"/>
                        <a:pt x="152161" y="91024"/>
                      </a:cubicBezTo>
                      <a:cubicBezTo>
                        <a:pt x="153380" y="89396"/>
                        <a:pt x="156056" y="81223"/>
                        <a:pt x="159391" y="82966"/>
                      </a:cubicBezTo>
                      <a:cubicBezTo>
                        <a:pt x="161800" y="84242"/>
                        <a:pt x="157857" y="90595"/>
                        <a:pt x="157342" y="91872"/>
                      </a:cubicBezTo>
                      <a:cubicBezTo>
                        <a:pt x="164686" y="93910"/>
                        <a:pt x="164210" y="77022"/>
                        <a:pt x="175002" y="81690"/>
                      </a:cubicBezTo>
                      <a:cubicBezTo>
                        <a:pt x="166267" y="76051"/>
                        <a:pt x="171897" y="71060"/>
                        <a:pt x="175392" y="64526"/>
                      </a:cubicBezTo>
                      <a:cubicBezTo>
                        <a:pt x="175926" y="63516"/>
                        <a:pt x="177974" y="60621"/>
                        <a:pt x="178059" y="59649"/>
                      </a:cubicBezTo>
                      <a:cubicBezTo>
                        <a:pt x="178221" y="57858"/>
                        <a:pt x="175164" y="56648"/>
                        <a:pt x="175297" y="54439"/>
                      </a:cubicBezTo>
                      <a:cubicBezTo>
                        <a:pt x="175421" y="52486"/>
                        <a:pt x="177412" y="48771"/>
                        <a:pt x="179421" y="48228"/>
                      </a:cubicBezTo>
                      <a:cubicBezTo>
                        <a:pt x="182802" y="47314"/>
                        <a:pt x="182308" y="51114"/>
                        <a:pt x="185051" y="51257"/>
                      </a:cubicBezTo>
                      <a:cubicBezTo>
                        <a:pt x="188803" y="51467"/>
                        <a:pt x="194776" y="45095"/>
                        <a:pt x="198434" y="42761"/>
                      </a:cubicBezTo>
                      <a:cubicBezTo>
                        <a:pt x="204253" y="39084"/>
                        <a:pt x="208349" y="33988"/>
                        <a:pt x="209882" y="26978"/>
                      </a:cubicBezTo>
                      <a:cubicBezTo>
                        <a:pt x="210930" y="22158"/>
                        <a:pt x="206491" y="14805"/>
                        <a:pt x="208053" y="11348"/>
                      </a:cubicBezTo>
                      <a:cubicBezTo>
                        <a:pt x="206853" y="13986"/>
                        <a:pt x="215274" y="7976"/>
                        <a:pt x="214692" y="8452"/>
                      </a:cubicBezTo>
                      <a:cubicBezTo>
                        <a:pt x="216645" y="6804"/>
                        <a:pt x="219579" y="184"/>
                        <a:pt x="221636" y="3"/>
                      </a:cubicBezTo>
                      <a:cubicBezTo>
                        <a:pt x="224360" y="-197"/>
                        <a:pt x="229666" y="8738"/>
                        <a:pt x="230923" y="11148"/>
                      </a:cubicBezTo>
                      <a:lnTo>
                        <a:pt x="230923" y="11148"/>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08" name="Freeform: Shape 607">
                  <a:extLst>
                    <a:ext uri="{FF2B5EF4-FFF2-40B4-BE49-F238E27FC236}">
                      <a16:creationId xmlns:a16="http://schemas.microsoft.com/office/drawing/2014/main" id="{B5EBFEFB-1B01-4681-B5EF-1397C6F65567}"/>
                    </a:ext>
                  </a:extLst>
                </p:cNvPr>
                <p:cNvSpPr/>
                <p:nvPr/>
              </p:nvSpPr>
              <p:spPr>
                <a:xfrm>
                  <a:off x="6291928" y="2838242"/>
                  <a:ext cx="103336" cy="94959"/>
                </a:xfrm>
                <a:custGeom>
                  <a:avLst/>
                  <a:gdLst>
                    <a:gd name="connsiteX0" fmla="*/ 57721 w 103336"/>
                    <a:gd name="connsiteY0" fmla="*/ 94960 h 94959"/>
                    <a:gd name="connsiteX1" fmla="*/ 53216 w 103336"/>
                    <a:gd name="connsiteY1" fmla="*/ 90283 h 94959"/>
                    <a:gd name="connsiteX2" fmla="*/ 53045 w 103336"/>
                    <a:gd name="connsiteY2" fmla="*/ 83139 h 94959"/>
                    <a:gd name="connsiteX3" fmla="*/ 52235 w 103336"/>
                    <a:gd name="connsiteY3" fmla="*/ 67728 h 94959"/>
                    <a:gd name="connsiteX4" fmla="*/ 39357 w 103336"/>
                    <a:gd name="connsiteY4" fmla="*/ 42829 h 94959"/>
                    <a:gd name="connsiteX5" fmla="*/ 20041 w 103336"/>
                    <a:gd name="connsiteY5" fmla="*/ 23027 h 94959"/>
                    <a:gd name="connsiteX6" fmla="*/ 0 w 103336"/>
                    <a:gd name="connsiteY6" fmla="*/ 6463 h 94959"/>
                    <a:gd name="connsiteX7" fmla="*/ 12497 w 103336"/>
                    <a:gd name="connsiteY7" fmla="*/ 2996 h 94959"/>
                    <a:gd name="connsiteX8" fmla="*/ 23889 w 103336"/>
                    <a:gd name="connsiteY8" fmla="*/ 5 h 94959"/>
                    <a:gd name="connsiteX9" fmla="*/ 45844 w 103336"/>
                    <a:gd name="connsiteY9" fmla="*/ 10101 h 94959"/>
                    <a:gd name="connsiteX10" fmla="*/ 49368 w 103336"/>
                    <a:gd name="connsiteY10" fmla="*/ 11797 h 94959"/>
                    <a:gd name="connsiteX11" fmla="*/ 60950 w 103336"/>
                    <a:gd name="connsiteY11" fmla="*/ 15140 h 94959"/>
                    <a:gd name="connsiteX12" fmla="*/ 68685 w 103336"/>
                    <a:gd name="connsiteY12" fmla="*/ 17064 h 94959"/>
                    <a:gd name="connsiteX13" fmla="*/ 70247 w 103336"/>
                    <a:gd name="connsiteY13" fmla="*/ 28647 h 94959"/>
                    <a:gd name="connsiteX14" fmla="*/ 76905 w 103336"/>
                    <a:gd name="connsiteY14" fmla="*/ 34685 h 94959"/>
                    <a:gd name="connsiteX15" fmla="*/ 83096 w 103336"/>
                    <a:gd name="connsiteY15" fmla="*/ 39819 h 94959"/>
                    <a:gd name="connsiteX16" fmla="*/ 85258 w 103336"/>
                    <a:gd name="connsiteY16" fmla="*/ 47277 h 94959"/>
                    <a:gd name="connsiteX17" fmla="*/ 95526 w 103336"/>
                    <a:gd name="connsiteY17" fmla="*/ 53002 h 94959"/>
                    <a:gd name="connsiteX18" fmla="*/ 97088 w 103336"/>
                    <a:gd name="connsiteY18" fmla="*/ 59993 h 94959"/>
                    <a:gd name="connsiteX19" fmla="*/ 103337 w 103336"/>
                    <a:gd name="connsiteY19" fmla="*/ 64318 h 94959"/>
                    <a:gd name="connsiteX20" fmla="*/ 90945 w 103336"/>
                    <a:gd name="connsiteY20" fmla="*/ 64518 h 94959"/>
                    <a:gd name="connsiteX21" fmla="*/ 81096 w 103336"/>
                    <a:gd name="connsiteY21" fmla="*/ 62946 h 94959"/>
                    <a:gd name="connsiteX22" fmla="*/ 78924 w 103336"/>
                    <a:gd name="connsiteY22" fmla="*/ 65689 h 94959"/>
                    <a:gd name="connsiteX23" fmla="*/ 71409 w 103336"/>
                    <a:gd name="connsiteY23" fmla="*/ 64765 h 94959"/>
                    <a:gd name="connsiteX24" fmla="*/ 74819 w 103336"/>
                    <a:gd name="connsiteY24" fmla="*/ 72090 h 94959"/>
                    <a:gd name="connsiteX25" fmla="*/ 71771 w 103336"/>
                    <a:gd name="connsiteY25" fmla="*/ 78319 h 94959"/>
                    <a:gd name="connsiteX26" fmla="*/ 69170 w 103336"/>
                    <a:gd name="connsiteY26" fmla="*/ 80967 h 94959"/>
                    <a:gd name="connsiteX27" fmla="*/ 67970 w 103336"/>
                    <a:gd name="connsiteY27" fmla="*/ 84139 h 94959"/>
                    <a:gd name="connsiteX28" fmla="*/ 64722 w 103336"/>
                    <a:gd name="connsiteY28" fmla="*/ 89683 h 94959"/>
                    <a:gd name="connsiteX29" fmla="*/ 64322 w 103336"/>
                    <a:gd name="connsiteY29" fmla="*/ 93169 h 94959"/>
                    <a:gd name="connsiteX30" fmla="*/ 57721 w 103336"/>
                    <a:gd name="connsiteY30" fmla="*/ 94960 h 94959"/>
                    <a:gd name="connsiteX31" fmla="*/ 57721 w 103336"/>
                    <a:gd name="connsiteY31" fmla="*/ 94960 h 94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3336" h="94959">
                      <a:moveTo>
                        <a:pt x="57721" y="94960"/>
                      </a:moveTo>
                      <a:cubicBezTo>
                        <a:pt x="56397" y="93236"/>
                        <a:pt x="54883" y="91664"/>
                        <a:pt x="53216" y="90283"/>
                      </a:cubicBezTo>
                      <a:cubicBezTo>
                        <a:pt x="56712" y="88178"/>
                        <a:pt x="53826" y="86254"/>
                        <a:pt x="53045" y="83139"/>
                      </a:cubicBezTo>
                      <a:cubicBezTo>
                        <a:pt x="51654" y="77586"/>
                        <a:pt x="52016" y="73357"/>
                        <a:pt x="52235" y="67728"/>
                      </a:cubicBezTo>
                      <a:cubicBezTo>
                        <a:pt x="52673" y="56317"/>
                        <a:pt x="47892" y="50068"/>
                        <a:pt x="39357" y="42829"/>
                      </a:cubicBezTo>
                      <a:cubicBezTo>
                        <a:pt x="32718" y="37200"/>
                        <a:pt x="25375" y="29980"/>
                        <a:pt x="20041" y="23027"/>
                      </a:cubicBezTo>
                      <a:cubicBezTo>
                        <a:pt x="14954" y="16388"/>
                        <a:pt x="10420" y="5053"/>
                        <a:pt x="0" y="6463"/>
                      </a:cubicBezTo>
                      <a:cubicBezTo>
                        <a:pt x="3000" y="1129"/>
                        <a:pt x="7629" y="3605"/>
                        <a:pt x="12497" y="2996"/>
                      </a:cubicBezTo>
                      <a:cubicBezTo>
                        <a:pt x="16555" y="2491"/>
                        <a:pt x="20126" y="-128"/>
                        <a:pt x="23889" y="5"/>
                      </a:cubicBezTo>
                      <a:cubicBezTo>
                        <a:pt x="28060" y="148"/>
                        <a:pt x="45825" y="7511"/>
                        <a:pt x="45844" y="10101"/>
                      </a:cubicBezTo>
                      <a:cubicBezTo>
                        <a:pt x="48101" y="10606"/>
                        <a:pt x="47072" y="10320"/>
                        <a:pt x="49368" y="11797"/>
                      </a:cubicBezTo>
                      <a:cubicBezTo>
                        <a:pt x="53664" y="6339"/>
                        <a:pt x="57340" y="13597"/>
                        <a:pt x="60950" y="15140"/>
                      </a:cubicBezTo>
                      <a:cubicBezTo>
                        <a:pt x="64189" y="16521"/>
                        <a:pt x="66142" y="14988"/>
                        <a:pt x="68685" y="17064"/>
                      </a:cubicBezTo>
                      <a:cubicBezTo>
                        <a:pt x="73162" y="20712"/>
                        <a:pt x="69113" y="24770"/>
                        <a:pt x="70247" y="28647"/>
                      </a:cubicBezTo>
                      <a:cubicBezTo>
                        <a:pt x="71276" y="32142"/>
                        <a:pt x="73333" y="32771"/>
                        <a:pt x="76905" y="34685"/>
                      </a:cubicBezTo>
                      <a:cubicBezTo>
                        <a:pt x="80267" y="36486"/>
                        <a:pt x="81372" y="37114"/>
                        <a:pt x="83096" y="39819"/>
                      </a:cubicBezTo>
                      <a:cubicBezTo>
                        <a:pt x="84096" y="41382"/>
                        <a:pt x="83401" y="45268"/>
                        <a:pt x="85258" y="47277"/>
                      </a:cubicBezTo>
                      <a:cubicBezTo>
                        <a:pt x="88001" y="50259"/>
                        <a:pt x="93088" y="49783"/>
                        <a:pt x="95526" y="53002"/>
                      </a:cubicBezTo>
                      <a:cubicBezTo>
                        <a:pt x="97098" y="55088"/>
                        <a:pt x="95850" y="58145"/>
                        <a:pt x="97088" y="59993"/>
                      </a:cubicBezTo>
                      <a:cubicBezTo>
                        <a:pt x="98327" y="61860"/>
                        <a:pt x="101203" y="63060"/>
                        <a:pt x="103337" y="64318"/>
                      </a:cubicBezTo>
                      <a:cubicBezTo>
                        <a:pt x="100022" y="68175"/>
                        <a:pt x="93478" y="65270"/>
                        <a:pt x="90945" y="64518"/>
                      </a:cubicBezTo>
                      <a:cubicBezTo>
                        <a:pt x="88163" y="63699"/>
                        <a:pt x="84011" y="63489"/>
                        <a:pt x="81096" y="62946"/>
                      </a:cubicBezTo>
                      <a:cubicBezTo>
                        <a:pt x="80601" y="64280"/>
                        <a:pt x="79219" y="65156"/>
                        <a:pt x="78924" y="65689"/>
                      </a:cubicBezTo>
                      <a:cubicBezTo>
                        <a:pt x="79391" y="59384"/>
                        <a:pt x="72495" y="60489"/>
                        <a:pt x="71409" y="64765"/>
                      </a:cubicBezTo>
                      <a:cubicBezTo>
                        <a:pt x="70675" y="67651"/>
                        <a:pt x="74733" y="69766"/>
                        <a:pt x="74819" y="72090"/>
                      </a:cubicBezTo>
                      <a:cubicBezTo>
                        <a:pt x="74933" y="74871"/>
                        <a:pt x="72952" y="76233"/>
                        <a:pt x="71771" y="78319"/>
                      </a:cubicBezTo>
                      <a:cubicBezTo>
                        <a:pt x="71904" y="78100"/>
                        <a:pt x="68904" y="81282"/>
                        <a:pt x="69170" y="80967"/>
                      </a:cubicBezTo>
                      <a:cubicBezTo>
                        <a:pt x="69294" y="80834"/>
                        <a:pt x="68161" y="83825"/>
                        <a:pt x="67970" y="84139"/>
                      </a:cubicBezTo>
                      <a:cubicBezTo>
                        <a:pt x="67227" y="85358"/>
                        <a:pt x="64903" y="89454"/>
                        <a:pt x="64722" y="89683"/>
                      </a:cubicBezTo>
                      <a:cubicBezTo>
                        <a:pt x="64151" y="90435"/>
                        <a:pt x="65256" y="92112"/>
                        <a:pt x="64322" y="93169"/>
                      </a:cubicBezTo>
                      <a:cubicBezTo>
                        <a:pt x="63589" y="94036"/>
                        <a:pt x="59341" y="93521"/>
                        <a:pt x="57721" y="94960"/>
                      </a:cubicBezTo>
                      <a:lnTo>
                        <a:pt x="57721" y="9496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09" name="Freeform: Shape 608">
                  <a:extLst>
                    <a:ext uri="{FF2B5EF4-FFF2-40B4-BE49-F238E27FC236}">
                      <a16:creationId xmlns:a16="http://schemas.microsoft.com/office/drawing/2014/main" id="{58F0A68D-669B-42AC-8B21-601D140E4477}"/>
                    </a:ext>
                  </a:extLst>
                </p:cNvPr>
                <p:cNvSpPr/>
                <p:nvPr/>
              </p:nvSpPr>
              <p:spPr>
                <a:xfrm>
                  <a:off x="5076519" y="3233511"/>
                  <a:ext cx="485330" cy="456613"/>
                </a:xfrm>
                <a:custGeom>
                  <a:avLst/>
                  <a:gdLst>
                    <a:gd name="connsiteX0" fmla="*/ 384610 w 485330"/>
                    <a:gd name="connsiteY0" fmla="*/ 22379 h 456613"/>
                    <a:gd name="connsiteX1" fmla="*/ 410737 w 485330"/>
                    <a:gd name="connsiteY1" fmla="*/ 20340 h 456613"/>
                    <a:gd name="connsiteX2" fmla="*/ 432102 w 485330"/>
                    <a:gd name="connsiteY2" fmla="*/ 16054 h 456613"/>
                    <a:gd name="connsiteX3" fmla="*/ 444694 w 485330"/>
                    <a:gd name="connsiteY3" fmla="*/ 25179 h 456613"/>
                    <a:gd name="connsiteX4" fmla="*/ 451676 w 485330"/>
                    <a:gd name="connsiteY4" fmla="*/ 25426 h 456613"/>
                    <a:gd name="connsiteX5" fmla="*/ 454752 w 485330"/>
                    <a:gd name="connsiteY5" fmla="*/ 28446 h 456613"/>
                    <a:gd name="connsiteX6" fmla="*/ 465163 w 485330"/>
                    <a:gd name="connsiteY6" fmla="*/ 36447 h 456613"/>
                    <a:gd name="connsiteX7" fmla="*/ 464649 w 485330"/>
                    <a:gd name="connsiteY7" fmla="*/ 42410 h 456613"/>
                    <a:gd name="connsiteX8" fmla="*/ 467306 w 485330"/>
                    <a:gd name="connsiteY8" fmla="*/ 45686 h 456613"/>
                    <a:gd name="connsiteX9" fmla="*/ 465696 w 485330"/>
                    <a:gd name="connsiteY9" fmla="*/ 49210 h 456613"/>
                    <a:gd name="connsiteX10" fmla="*/ 469745 w 485330"/>
                    <a:gd name="connsiteY10" fmla="*/ 73490 h 456613"/>
                    <a:gd name="connsiteX11" fmla="*/ 470106 w 485330"/>
                    <a:gd name="connsiteY11" fmla="*/ 86139 h 456613"/>
                    <a:gd name="connsiteX12" fmla="*/ 475040 w 485330"/>
                    <a:gd name="connsiteY12" fmla="*/ 98626 h 456613"/>
                    <a:gd name="connsiteX13" fmla="*/ 482584 w 485330"/>
                    <a:gd name="connsiteY13" fmla="*/ 104227 h 456613"/>
                    <a:gd name="connsiteX14" fmla="*/ 481041 w 485330"/>
                    <a:gd name="connsiteY14" fmla="*/ 112742 h 456613"/>
                    <a:gd name="connsiteX15" fmla="*/ 480013 w 485330"/>
                    <a:gd name="connsiteY15" fmla="*/ 120581 h 456613"/>
                    <a:gd name="connsiteX16" fmla="*/ 465658 w 485330"/>
                    <a:gd name="connsiteY16" fmla="*/ 120143 h 456613"/>
                    <a:gd name="connsiteX17" fmla="*/ 440684 w 485330"/>
                    <a:gd name="connsiteY17" fmla="*/ 119905 h 456613"/>
                    <a:gd name="connsiteX18" fmla="*/ 425291 w 485330"/>
                    <a:gd name="connsiteY18" fmla="*/ 129916 h 456613"/>
                    <a:gd name="connsiteX19" fmla="*/ 404851 w 485330"/>
                    <a:gd name="connsiteY19" fmla="*/ 136221 h 456613"/>
                    <a:gd name="connsiteX20" fmla="*/ 407137 w 485330"/>
                    <a:gd name="connsiteY20" fmla="*/ 149994 h 456613"/>
                    <a:gd name="connsiteX21" fmla="*/ 410699 w 485330"/>
                    <a:gd name="connsiteY21" fmla="*/ 155176 h 456613"/>
                    <a:gd name="connsiteX22" fmla="*/ 400869 w 485330"/>
                    <a:gd name="connsiteY22" fmla="*/ 157576 h 456613"/>
                    <a:gd name="connsiteX23" fmla="*/ 390325 w 485330"/>
                    <a:gd name="connsiteY23" fmla="*/ 164425 h 456613"/>
                    <a:gd name="connsiteX24" fmla="*/ 377505 w 485330"/>
                    <a:gd name="connsiteY24" fmla="*/ 168825 h 456613"/>
                    <a:gd name="connsiteX25" fmla="*/ 357635 w 485330"/>
                    <a:gd name="connsiteY25" fmla="*/ 187247 h 456613"/>
                    <a:gd name="connsiteX26" fmla="*/ 334185 w 485330"/>
                    <a:gd name="connsiteY26" fmla="*/ 192352 h 456613"/>
                    <a:gd name="connsiteX27" fmla="*/ 325860 w 485330"/>
                    <a:gd name="connsiteY27" fmla="*/ 192400 h 456613"/>
                    <a:gd name="connsiteX28" fmla="*/ 322802 w 485330"/>
                    <a:gd name="connsiteY28" fmla="*/ 199658 h 456613"/>
                    <a:gd name="connsiteX29" fmla="*/ 308696 w 485330"/>
                    <a:gd name="connsiteY29" fmla="*/ 198239 h 456613"/>
                    <a:gd name="connsiteX30" fmla="*/ 299333 w 485330"/>
                    <a:gd name="connsiteY30" fmla="*/ 203439 h 456613"/>
                    <a:gd name="connsiteX31" fmla="*/ 276987 w 485330"/>
                    <a:gd name="connsiteY31" fmla="*/ 216155 h 456613"/>
                    <a:gd name="connsiteX32" fmla="*/ 260090 w 485330"/>
                    <a:gd name="connsiteY32" fmla="*/ 234034 h 456613"/>
                    <a:gd name="connsiteX33" fmla="*/ 259566 w 485330"/>
                    <a:gd name="connsiteY33" fmla="*/ 249112 h 456613"/>
                    <a:gd name="connsiteX34" fmla="*/ 255184 w 485330"/>
                    <a:gd name="connsiteY34" fmla="*/ 260199 h 456613"/>
                    <a:gd name="connsiteX35" fmla="*/ 254556 w 485330"/>
                    <a:gd name="connsiteY35" fmla="*/ 277220 h 456613"/>
                    <a:gd name="connsiteX36" fmla="*/ 240621 w 485330"/>
                    <a:gd name="connsiteY36" fmla="*/ 277782 h 456613"/>
                    <a:gd name="connsiteX37" fmla="*/ 228876 w 485330"/>
                    <a:gd name="connsiteY37" fmla="*/ 283706 h 456613"/>
                    <a:gd name="connsiteX38" fmla="*/ 207607 w 485330"/>
                    <a:gd name="connsiteY38" fmla="*/ 283516 h 456613"/>
                    <a:gd name="connsiteX39" fmla="*/ 177613 w 485330"/>
                    <a:gd name="connsiteY39" fmla="*/ 284554 h 456613"/>
                    <a:gd name="connsiteX40" fmla="*/ 167955 w 485330"/>
                    <a:gd name="connsiteY40" fmla="*/ 305652 h 456613"/>
                    <a:gd name="connsiteX41" fmla="*/ 160668 w 485330"/>
                    <a:gd name="connsiteY41" fmla="*/ 310462 h 456613"/>
                    <a:gd name="connsiteX42" fmla="*/ 155286 w 485330"/>
                    <a:gd name="connsiteY42" fmla="*/ 317063 h 456613"/>
                    <a:gd name="connsiteX43" fmla="*/ 144332 w 485330"/>
                    <a:gd name="connsiteY43" fmla="*/ 348029 h 456613"/>
                    <a:gd name="connsiteX44" fmla="*/ 123530 w 485330"/>
                    <a:gd name="connsiteY44" fmla="*/ 363583 h 456613"/>
                    <a:gd name="connsiteX45" fmla="*/ 116357 w 485330"/>
                    <a:gd name="connsiteY45" fmla="*/ 375404 h 456613"/>
                    <a:gd name="connsiteX46" fmla="*/ 102613 w 485330"/>
                    <a:gd name="connsiteY46" fmla="*/ 381604 h 456613"/>
                    <a:gd name="connsiteX47" fmla="*/ 90116 w 485330"/>
                    <a:gd name="connsiteY47" fmla="*/ 406941 h 456613"/>
                    <a:gd name="connsiteX48" fmla="*/ 83001 w 485330"/>
                    <a:gd name="connsiteY48" fmla="*/ 432363 h 456613"/>
                    <a:gd name="connsiteX49" fmla="*/ 74009 w 485330"/>
                    <a:gd name="connsiteY49" fmla="*/ 441583 h 456613"/>
                    <a:gd name="connsiteX50" fmla="*/ 69895 w 485330"/>
                    <a:gd name="connsiteY50" fmla="*/ 452518 h 456613"/>
                    <a:gd name="connsiteX51" fmla="*/ 35614 w 485330"/>
                    <a:gd name="connsiteY51" fmla="*/ 454261 h 456613"/>
                    <a:gd name="connsiteX52" fmla="*/ 0 w 485330"/>
                    <a:gd name="connsiteY52" fmla="*/ 456614 h 456613"/>
                    <a:gd name="connsiteX53" fmla="*/ 7639 w 485330"/>
                    <a:gd name="connsiteY53" fmla="*/ 433335 h 456613"/>
                    <a:gd name="connsiteX54" fmla="*/ 16783 w 485330"/>
                    <a:gd name="connsiteY54" fmla="*/ 427248 h 456613"/>
                    <a:gd name="connsiteX55" fmla="*/ 22298 w 485330"/>
                    <a:gd name="connsiteY55" fmla="*/ 416971 h 456613"/>
                    <a:gd name="connsiteX56" fmla="*/ 31452 w 485330"/>
                    <a:gd name="connsiteY56" fmla="*/ 397502 h 456613"/>
                    <a:gd name="connsiteX57" fmla="*/ 40577 w 485330"/>
                    <a:gd name="connsiteY57" fmla="*/ 380328 h 456613"/>
                    <a:gd name="connsiteX58" fmla="*/ 34871 w 485330"/>
                    <a:gd name="connsiteY58" fmla="*/ 385748 h 456613"/>
                    <a:gd name="connsiteX59" fmla="*/ 70876 w 485330"/>
                    <a:gd name="connsiteY59" fmla="*/ 347305 h 456613"/>
                    <a:gd name="connsiteX60" fmla="*/ 78248 w 485330"/>
                    <a:gd name="connsiteY60" fmla="*/ 322502 h 456613"/>
                    <a:gd name="connsiteX61" fmla="*/ 91831 w 485330"/>
                    <a:gd name="connsiteY61" fmla="*/ 301147 h 456613"/>
                    <a:gd name="connsiteX62" fmla="*/ 114233 w 485330"/>
                    <a:gd name="connsiteY62" fmla="*/ 286002 h 456613"/>
                    <a:gd name="connsiteX63" fmla="*/ 125425 w 485330"/>
                    <a:gd name="connsiteY63" fmla="*/ 261046 h 456613"/>
                    <a:gd name="connsiteX64" fmla="*/ 171536 w 485330"/>
                    <a:gd name="connsiteY64" fmla="*/ 241072 h 456613"/>
                    <a:gd name="connsiteX65" fmla="*/ 189919 w 485330"/>
                    <a:gd name="connsiteY65" fmla="*/ 226652 h 456613"/>
                    <a:gd name="connsiteX66" fmla="*/ 213636 w 485330"/>
                    <a:gd name="connsiteY66" fmla="*/ 209021 h 456613"/>
                    <a:gd name="connsiteX67" fmla="*/ 230134 w 485330"/>
                    <a:gd name="connsiteY67" fmla="*/ 188428 h 456613"/>
                    <a:gd name="connsiteX68" fmla="*/ 234144 w 485330"/>
                    <a:gd name="connsiteY68" fmla="*/ 177960 h 456613"/>
                    <a:gd name="connsiteX69" fmla="*/ 229534 w 485330"/>
                    <a:gd name="connsiteY69" fmla="*/ 166701 h 456613"/>
                    <a:gd name="connsiteX70" fmla="*/ 230734 w 485330"/>
                    <a:gd name="connsiteY70" fmla="*/ 141784 h 456613"/>
                    <a:gd name="connsiteX71" fmla="*/ 246126 w 485330"/>
                    <a:gd name="connsiteY71" fmla="*/ 118219 h 456613"/>
                    <a:gd name="connsiteX72" fmla="*/ 248746 w 485330"/>
                    <a:gd name="connsiteY72" fmla="*/ 105332 h 456613"/>
                    <a:gd name="connsiteX73" fmla="*/ 260280 w 485330"/>
                    <a:gd name="connsiteY73" fmla="*/ 95064 h 456613"/>
                    <a:gd name="connsiteX74" fmla="*/ 277911 w 485330"/>
                    <a:gd name="connsiteY74" fmla="*/ 79786 h 456613"/>
                    <a:gd name="connsiteX75" fmla="*/ 309858 w 485330"/>
                    <a:gd name="connsiteY75" fmla="*/ 66308 h 456613"/>
                    <a:gd name="connsiteX76" fmla="*/ 330651 w 485330"/>
                    <a:gd name="connsiteY76" fmla="*/ 42857 h 456613"/>
                    <a:gd name="connsiteX77" fmla="*/ 345119 w 485330"/>
                    <a:gd name="connsiteY77" fmla="*/ 11892 h 456613"/>
                    <a:gd name="connsiteX78" fmla="*/ 353149 w 485330"/>
                    <a:gd name="connsiteY78" fmla="*/ 3157 h 456613"/>
                    <a:gd name="connsiteX79" fmla="*/ 366636 w 485330"/>
                    <a:gd name="connsiteY79" fmla="*/ 423 h 456613"/>
                    <a:gd name="connsiteX80" fmla="*/ 384610 w 485330"/>
                    <a:gd name="connsiteY80" fmla="*/ 22379 h 456613"/>
                    <a:gd name="connsiteX81" fmla="*/ 384610 w 485330"/>
                    <a:gd name="connsiteY81" fmla="*/ 22379 h 456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85330" h="456613">
                      <a:moveTo>
                        <a:pt x="384610" y="22379"/>
                      </a:moveTo>
                      <a:cubicBezTo>
                        <a:pt x="394097" y="23960"/>
                        <a:pt x="401689" y="19816"/>
                        <a:pt x="410737" y="20340"/>
                      </a:cubicBezTo>
                      <a:cubicBezTo>
                        <a:pt x="418738" y="20797"/>
                        <a:pt x="425701" y="24379"/>
                        <a:pt x="432102" y="16054"/>
                      </a:cubicBezTo>
                      <a:cubicBezTo>
                        <a:pt x="433654" y="24350"/>
                        <a:pt x="436921" y="24731"/>
                        <a:pt x="444694" y="25179"/>
                      </a:cubicBezTo>
                      <a:cubicBezTo>
                        <a:pt x="446847" y="25303"/>
                        <a:pt x="449590" y="24541"/>
                        <a:pt x="451676" y="25426"/>
                      </a:cubicBezTo>
                      <a:cubicBezTo>
                        <a:pt x="454123" y="26455"/>
                        <a:pt x="452752" y="27036"/>
                        <a:pt x="454752" y="28446"/>
                      </a:cubicBezTo>
                      <a:cubicBezTo>
                        <a:pt x="457095" y="30103"/>
                        <a:pt x="463963" y="33894"/>
                        <a:pt x="465163" y="36447"/>
                      </a:cubicBezTo>
                      <a:cubicBezTo>
                        <a:pt x="465801" y="37809"/>
                        <a:pt x="464563" y="40686"/>
                        <a:pt x="464649" y="42410"/>
                      </a:cubicBezTo>
                      <a:cubicBezTo>
                        <a:pt x="464706" y="43591"/>
                        <a:pt x="466973" y="44276"/>
                        <a:pt x="467306" y="45686"/>
                      </a:cubicBezTo>
                      <a:cubicBezTo>
                        <a:pt x="467516" y="46601"/>
                        <a:pt x="465496" y="48001"/>
                        <a:pt x="465696" y="49210"/>
                      </a:cubicBezTo>
                      <a:cubicBezTo>
                        <a:pt x="467078" y="57240"/>
                        <a:pt x="468887" y="65479"/>
                        <a:pt x="469745" y="73490"/>
                      </a:cubicBezTo>
                      <a:cubicBezTo>
                        <a:pt x="470259" y="78300"/>
                        <a:pt x="468754" y="81262"/>
                        <a:pt x="470106" y="86139"/>
                      </a:cubicBezTo>
                      <a:cubicBezTo>
                        <a:pt x="471097" y="89692"/>
                        <a:pt x="472859" y="95683"/>
                        <a:pt x="475040" y="98626"/>
                      </a:cubicBezTo>
                      <a:cubicBezTo>
                        <a:pt x="477022" y="101293"/>
                        <a:pt x="480355" y="101941"/>
                        <a:pt x="482584" y="104227"/>
                      </a:cubicBezTo>
                      <a:cubicBezTo>
                        <a:pt x="488490" y="110323"/>
                        <a:pt x="483384" y="107551"/>
                        <a:pt x="481041" y="112742"/>
                      </a:cubicBezTo>
                      <a:cubicBezTo>
                        <a:pt x="479555" y="116038"/>
                        <a:pt x="482832" y="118343"/>
                        <a:pt x="480013" y="120581"/>
                      </a:cubicBezTo>
                      <a:cubicBezTo>
                        <a:pt x="478231" y="121991"/>
                        <a:pt x="468106" y="120229"/>
                        <a:pt x="465658" y="120143"/>
                      </a:cubicBezTo>
                      <a:cubicBezTo>
                        <a:pt x="457324" y="119848"/>
                        <a:pt x="448971" y="118933"/>
                        <a:pt x="440684" y="119905"/>
                      </a:cubicBezTo>
                      <a:cubicBezTo>
                        <a:pt x="431016" y="121039"/>
                        <a:pt x="432568" y="126182"/>
                        <a:pt x="425291" y="129916"/>
                      </a:cubicBezTo>
                      <a:cubicBezTo>
                        <a:pt x="419815" y="132716"/>
                        <a:pt x="406775" y="130744"/>
                        <a:pt x="404851" y="136221"/>
                      </a:cubicBezTo>
                      <a:cubicBezTo>
                        <a:pt x="403746" y="139384"/>
                        <a:pt x="406280" y="148270"/>
                        <a:pt x="407137" y="149994"/>
                      </a:cubicBezTo>
                      <a:cubicBezTo>
                        <a:pt x="408289" y="152290"/>
                        <a:pt x="412404" y="151318"/>
                        <a:pt x="410699" y="155176"/>
                      </a:cubicBezTo>
                      <a:cubicBezTo>
                        <a:pt x="409394" y="158138"/>
                        <a:pt x="403355" y="156729"/>
                        <a:pt x="400869" y="157576"/>
                      </a:cubicBezTo>
                      <a:cubicBezTo>
                        <a:pt x="397078" y="158891"/>
                        <a:pt x="393926" y="162568"/>
                        <a:pt x="390325" y="164425"/>
                      </a:cubicBezTo>
                      <a:cubicBezTo>
                        <a:pt x="386306" y="166492"/>
                        <a:pt x="381686" y="167168"/>
                        <a:pt x="377505" y="168825"/>
                      </a:cubicBezTo>
                      <a:cubicBezTo>
                        <a:pt x="368360" y="172454"/>
                        <a:pt x="366274" y="182513"/>
                        <a:pt x="357635" y="187247"/>
                      </a:cubicBezTo>
                      <a:cubicBezTo>
                        <a:pt x="351177" y="190790"/>
                        <a:pt x="341443" y="192085"/>
                        <a:pt x="334185" y="192352"/>
                      </a:cubicBezTo>
                      <a:cubicBezTo>
                        <a:pt x="332442" y="192419"/>
                        <a:pt x="327308" y="191352"/>
                        <a:pt x="325860" y="192400"/>
                      </a:cubicBezTo>
                      <a:cubicBezTo>
                        <a:pt x="324117" y="193667"/>
                        <a:pt x="325755" y="197953"/>
                        <a:pt x="322802" y="199658"/>
                      </a:cubicBezTo>
                      <a:cubicBezTo>
                        <a:pt x="319488" y="201572"/>
                        <a:pt x="312439" y="197743"/>
                        <a:pt x="308696" y="198239"/>
                      </a:cubicBezTo>
                      <a:cubicBezTo>
                        <a:pt x="304610" y="198782"/>
                        <a:pt x="302800" y="201496"/>
                        <a:pt x="299333" y="203439"/>
                      </a:cubicBezTo>
                      <a:cubicBezTo>
                        <a:pt x="291989" y="207554"/>
                        <a:pt x="284464" y="211326"/>
                        <a:pt x="276987" y="216155"/>
                      </a:cubicBezTo>
                      <a:cubicBezTo>
                        <a:pt x="269053" y="221280"/>
                        <a:pt x="260671" y="224318"/>
                        <a:pt x="260090" y="234034"/>
                      </a:cubicBezTo>
                      <a:cubicBezTo>
                        <a:pt x="259785" y="239053"/>
                        <a:pt x="259747" y="244092"/>
                        <a:pt x="259566" y="249112"/>
                      </a:cubicBezTo>
                      <a:cubicBezTo>
                        <a:pt x="259414" y="253322"/>
                        <a:pt x="261538" y="262056"/>
                        <a:pt x="255184" y="260199"/>
                      </a:cubicBezTo>
                      <a:cubicBezTo>
                        <a:pt x="256156" y="264466"/>
                        <a:pt x="257404" y="274915"/>
                        <a:pt x="254556" y="277220"/>
                      </a:cubicBezTo>
                      <a:cubicBezTo>
                        <a:pt x="251460" y="279715"/>
                        <a:pt x="244259" y="277296"/>
                        <a:pt x="240621" y="277782"/>
                      </a:cubicBezTo>
                      <a:cubicBezTo>
                        <a:pt x="235287" y="278496"/>
                        <a:pt x="233477" y="281363"/>
                        <a:pt x="228876" y="283706"/>
                      </a:cubicBezTo>
                      <a:cubicBezTo>
                        <a:pt x="223771" y="286307"/>
                        <a:pt x="213208" y="285221"/>
                        <a:pt x="207607" y="283516"/>
                      </a:cubicBezTo>
                      <a:cubicBezTo>
                        <a:pt x="195625" y="279858"/>
                        <a:pt x="189814" y="282116"/>
                        <a:pt x="177613" y="284554"/>
                      </a:cubicBezTo>
                      <a:cubicBezTo>
                        <a:pt x="181537" y="292412"/>
                        <a:pt x="173184" y="299213"/>
                        <a:pt x="167955" y="305652"/>
                      </a:cubicBezTo>
                      <a:cubicBezTo>
                        <a:pt x="164830" y="309500"/>
                        <a:pt x="165011" y="307929"/>
                        <a:pt x="160668" y="310462"/>
                      </a:cubicBezTo>
                      <a:cubicBezTo>
                        <a:pt x="156210" y="313063"/>
                        <a:pt x="157401" y="312310"/>
                        <a:pt x="155286" y="317063"/>
                      </a:cubicBezTo>
                      <a:cubicBezTo>
                        <a:pt x="151067" y="326531"/>
                        <a:pt x="150476" y="339647"/>
                        <a:pt x="144332" y="348029"/>
                      </a:cubicBezTo>
                      <a:cubicBezTo>
                        <a:pt x="139075" y="355182"/>
                        <a:pt x="129035" y="356763"/>
                        <a:pt x="123530" y="363583"/>
                      </a:cubicBezTo>
                      <a:cubicBezTo>
                        <a:pt x="120691" y="367098"/>
                        <a:pt x="119796" y="372375"/>
                        <a:pt x="116357" y="375404"/>
                      </a:cubicBezTo>
                      <a:cubicBezTo>
                        <a:pt x="112652" y="378661"/>
                        <a:pt x="106775" y="379061"/>
                        <a:pt x="102613" y="381604"/>
                      </a:cubicBezTo>
                      <a:cubicBezTo>
                        <a:pt x="93974" y="386900"/>
                        <a:pt x="92450" y="397711"/>
                        <a:pt x="90116" y="406941"/>
                      </a:cubicBezTo>
                      <a:cubicBezTo>
                        <a:pt x="87982" y="415352"/>
                        <a:pt x="88335" y="425467"/>
                        <a:pt x="83001" y="432363"/>
                      </a:cubicBezTo>
                      <a:cubicBezTo>
                        <a:pt x="80344" y="435792"/>
                        <a:pt x="76219" y="437640"/>
                        <a:pt x="74009" y="441583"/>
                      </a:cubicBezTo>
                      <a:cubicBezTo>
                        <a:pt x="72200" y="444803"/>
                        <a:pt x="73190" y="449146"/>
                        <a:pt x="69895" y="452518"/>
                      </a:cubicBezTo>
                      <a:cubicBezTo>
                        <a:pt x="62417" y="460157"/>
                        <a:pt x="45215" y="454842"/>
                        <a:pt x="35614" y="454261"/>
                      </a:cubicBezTo>
                      <a:cubicBezTo>
                        <a:pt x="23927" y="453547"/>
                        <a:pt x="11497" y="454471"/>
                        <a:pt x="0" y="456614"/>
                      </a:cubicBezTo>
                      <a:cubicBezTo>
                        <a:pt x="1562" y="448803"/>
                        <a:pt x="2181" y="439697"/>
                        <a:pt x="7639" y="433335"/>
                      </a:cubicBezTo>
                      <a:cubicBezTo>
                        <a:pt x="10478" y="430030"/>
                        <a:pt x="14049" y="429877"/>
                        <a:pt x="16783" y="427248"/>
                      </a:cubicBezTo>
                      <a:cubicBezTo>
                        <a:pt x="19622" y="424524"/>
                        <a:pt x="20650" y="420304"/>
                        <a:pt x="22298" y="416971"/>
                      </a:cubicBezTo>
                      <a:cubicBezTo>
                        <a:pt x="25899" y="409665"/>
                        <a:pt x="27251" y="404064"/>
                        <a:pt x="31452" y="397502"/>
                      </a:cubicBezTo>
                      <a:cubicBezTo>
                        <a:pt x="34280" y="393082"/>
                        <a:pt x="40910" y="385205"/>
                        <a:pt x="40577" y="380328"/>
                      </a:cubicBezTo>
                      <a:cubicBezTo>
                        <a:pt x="38567" y="382062"/>
                        <a:pt x="36890" y="384005"/>
                        <a:pt x="34871" y="385748"/>
                      </a:cubicBezTo>
                      <a:cubicBezTo>
                        <a:pt x="40938" y="369527"/>
                        <a:pt x="66742" y="364612"/>
                        <a:pt x="70876" y="347305"/>
                      </a:cubicBezTo>
                      <a:cubicBezTo>
                        <a:pt x="73133" y="337866"/>
                        <a:pt x="73638" y="331312"/>
                        <a:pt x="78248" y="322502"/>
                      </a:cubicBezTo>
                      <a:cubicBezTo>
                        <a:pt x="82553" y="314301"/>
                        <a:pt x="83811" y="306128"/>
                        <a:pt x="91831" y="301147"/>
                      </a:cubicBezTo>
                      <a:cubicBezTo>
                        <a:pt x="99498" y="296384"/>
                        <a:pt x="109138" y="294213"/>
                        <a:pt x="114233" y="286002"/>
                      </a:cubicBezTo>
                      <a:cubicBezTo>
                        <a:pt x="118891" y="278487"/>
                        <a:pt x="120463" y="268495"/>
                        <a:pt x="125425" y="261046"/>
                      </a:cubicBezTo>
                      <a:cubicBezTo>
                        <a:pt x="135379" y="246102"/>
                        <a:pt x="155867" y="248464"/>
                        <a:pt x="171536" y="241072"/>
                      </a:cubicBezTo>
                      <a:cubicBezTo>
                        <a:pt x="179061" y="237520"/>
                        <a:pt x="183232" y="231395"/>
                        <a:pt x="189919" y="226652"/>
                      </a:cubicBezTo>
                      <a:cubicBezTo>
                        <a:pt x="198558" y="220508"/>
                        <a:pt x="206569" y="217260"/>
                        <a:pt x="213636" y="209021"/>
                      </a:cubicBezTo>
                      <a:cubicBezTo>
                        <a:pt x="219180" y="202563"/>
                        <a:pt x="225571" y="195610"/>
                        <a:pt x="230134" y="188428"/>
                      </a:cubicBezTo>
                      <a:cubicBezTo>
                        <a:pt x="232172" y="185208"/>
                        <a:pt x="233829" y="181837"/>
                        <a:pt x="234144" y="177960"/>
                      </a:cubicBezTo>
                      <a:cubicBezTo>
                        <a:pt x="234630" y="172007"/>
                        <a:pt x="231629" y="171454"/>
                        <a:pt x="229534" y="166701"/>
                      </a:cubicBezTo>
                      <a:cubicBezTo>
                        <a:pt x="227343" y="161729"/>
                        <a:pt x="229057" y="148137"/>
                        <a:pt x="230734" y="141784"/>
                      </a:cubicBezTo>
                      <a:cubicBezTo>
                        <a:pt x="233315" y="132059"/>
                        <a:pt x="242154" y="126887"/>
                        <a:pt x="246126" y="118219"/>
                      </a:cubicBezTo>
                      <a:cubicBezTo>
                        <a:pt x="247898" y="114361"/>
                        <a:pt x="246850" y="108770"/>
                        <a:pt x="248746" y="105332"/>
                      </a:cubicBezTo>
                      <a:cubicBezTo>
                        <a:pt x="250927" y="101388"/>
                        <a:pt x="257070" y="98255"/>
                        <a:pt x="260280" y="95064"/>
                      </a:cubicBezTo>
                      <a:cubicBezTo>
                        <a:pt x="266195" y="89206"/>
                        <a:pt x="270205" y="83481"/>
                        <a:pt x="277911" y="79786"/>
                      </a:cubicBezTo>
                      <a:cubicBezTo>
                        <a:pt x="288370" y="74766"/>
                        <a:pt x="299581" y="71842"/>
                        <a:pt x="309858" y="66308"/>
                      </a:cubicBezTo>
                      <a:cubicBezTo>
                        <a:pt x="320431" y="60612"/>
                        <a:pt x="324574" y="52925"/>
                        <a:pt x="330651" y="42857"/>
                      </a:cubicBezTo>
                      <a:cubicBezTo>
                        <a:pt x="336566" y="33056"/>
                        <a:pt x="340776" y="22474"/>
                        <a:pt x="345119" y="11892"/>
                      </a:cubicBezTo>
                      <a:cubicBezTo>
                        <a:pt x="347444" y="6234"/>
                        <a:pt x="347396" y="5072"/>
                        <a:pt x="353149" y="3157"/>
                      </a:cubicBezTo>
                      <a:cubicBezTo>
                        <a:pt x="356502" y="2043"/>
                        <a:pt x="363617" y="-1139"/>
                        <a:pt x="366636" y="423"/>
                      </a:cubicBezTo>
                      <a:cubicBezTo>
                        <a:pt x="357692" y="7024"/>
                        <a:pt x="379371" y="20635"/>
                        <a:pt x="384610" y="22379"/>
                      </a:cubicBezTo>
                      <a:lnTo>
                        <a:pt x="384610" y="22379"/>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10" name="Freeform: Shape 609">
                  <a:extLst>
                    <a:ext uri="{FF2B5EF4-FFF2-40B4-BE49-F238E27FC236}">
                      <a16:creationId xmlns:a16="http://schemas.microsoft.com/office/drawing/2014/main" id="{7160B721-9051-40F6-BF31-C54F5222FCBA}"/>
                    </a:ext>
                  </a:extLst>
                </p:cNvPr>
                <p:cNvSpPr/>
                <p:nvPr/>
              </p:nvSpPr>
              <p:spPr>
                <a:xfrm>
                  <a:off x="6106918" y="2536362"/>
                  <a:ext cx="177285" cy="74780"/>
                </a:xfrm>
                <a:custGeom>
                  <a:avLst/>
                  <a:gdLst>
                    <a:gd name="connsiteX0" fmla="*/ 148748 w 177285"/>
                    <a:gd name="connsiteY0" fmla="*/ 16393 h 74780"/>
                    <a:gd name="connsiteX1" fmla="*/ 161798 w 177285"/>
                    <a:gd name="connsiteY1" fmla="*/ 23784 h 74780"/>
                    <a:gd name="connsiteX2" fmla="*/ 160064 w 177285"/>
                    <a:gd name="connsiteY2" fmla="*/ 37890 h 74780"/>
                    <a:gd name="connsiteX3" fmla="*/ 171999 w 177285"/>
                    <a:gd name="connsiteY3" fmla="*/ 46511 h 74780"/>
                    <a:gd name="connsiteX4" fmla="*/ 176980 w 177285"/>
                    <a:gd name="connsiteY4" fmla="*/ 54616 h 74780"/>
                    <a:gd name="connsiteX5" fmla="*/ 174161 w 177285"/>
                    <a:gd name="connsiteY5" fmla="*/ 60360 h 74780"/>
                    <a:gd name="connsiteX6" fmla="*/ 166017 w 177285"/>
                    <a:gd name="connsiteY6" fmla="*/ 67351 h 74780"/>
                    <a:gd name="connsiteX7" fmla="*/ 163674 w 177285"/>
                    <a:gd name="connsiteY7" fmla="*/ 70818 h 74780"/>
                    <a:gd name="connsiteX8" fmla="*/ 157502 w 177285"/>
                    <a:gd name="connsiteY8" fmla="*/ 70561 h 74780"/>
                    <a:gd name="connsiteX9" fmla="*/ 147110 w 177285"/>
                    <a:gd name="connsiteY9" fmla="*/ 73657 h 74780"/>
                    <a:gd name="connsiteX10" fmla="*/ 139528 w 177285"/>
                    <a:gd name="connsiteY10" fmla="*/ 74609 h 74780"/>
                    <a:gd name="connsiteX11" fmla="*/ 117192 w 177285"/>
                    <a:gd name="connsiteY11" fmla="*/ 61770 h 74780"/>
                    <a:gd name="connsiteX12" fmla="*/ 105381 w 177285"/>
                    <a:gd name="connsiteY12" fmla="*/ 59007 h 74780"/>
                    <a:gd name="connsiteX13" fmla="*/ 96637 w 177285"/>
                    <a:gd name="connsiteY13" fmla="*/ 53111 h 74780"/>
                    <a:gd name="connsiteX14" fmla="*/ 79482 w 177285"/>
                    <a:gd name="connsiteY14" fmla="*/ 55988 h 74780"/>
                    <a:gd name="connsiteX15" fmla="*/ 53946 w 177285"/>
                    <a:gd name="connsiteY15" fmla="*/ 53235 h 74780"/>
                    <a:gd name="connsiteX16" fmla="*/ 29172 w 177285"/>
                    <a:gd name="connsiteY16" fmla="*/ 51835 h 74780"/>
                    <a:gd name="connsiteX17" fmla="*/ 3159 w 177285"/>
                    <a:gd name="connsiteY17" fmla="*/ 62313 h 74780"/>
                    <a:gd name="connsiteX18" fmla="*/ 92 w 177285"/>
                    <a:gd name="connsiteY18" fmla="*/ 43548 h 74780"/>
                    <a:gd name="connsiteX19" fmla="*/ 6740 w 177285"/>
                    <a:gd name="connsiteY19" fmla="*/ 28070 h 74780"/>
                    <a:gd name="connsiteX20" fmla="*/ 16141 w 177285"/>
                    <a:gd name="connsiteY20" fmla="*/ 14402 h 74780"/>
                    <a:gd name="connsiteX21" fmla="*/ 33486 w 177285"/>
                    <a:gd name="connsiteY21" fmla="*/ 12506 h 74780"/>
                    <a:gd name="connsiteX22" fmla="*/ 48069 w 177285"/>
                    <a:gd name="connsiteY22" fmla="*/ 23203 h 74780"/>
                    <a:gd name="connsiteX23" fmla="*/ 63166 w 177285"/>
                    <a:gd name="connsiteY23" fmla="*/ 33747 h 74780"/>
                    <a:gd name="connsiteX24" fmla="*/ 78463 w 177285"/>
                    <a:gd name="connsiteY24" fmla="*/ 23965 h 74780"/>
                    <a:gd name="connsiteX25" fmla="*/ 73472 w 177285"/>
                    <a:gd name="connsiteY25" fmla="*/ 5601 h 74780"/>
                    <a:gd name="connsiteX26" fmla="*/ 86074 w 177285"/>
                    <a:gd name="connsiteY26" fmla="*/ 1629 h 74780"/>
                    <a:gd name="connsiteX27" fmla="*/ 95580 w 177285"/>
                    <a:gd name="connsiteY27" fmla="*/ 0 h 74780"/>
                    <a:gd name="connsiteX28" fmla="*/ 120383 w 177285"/>
                    <a:gd name="connsiteY28" fmla="*/ 12144 h 74780"/>
                    <a:gd name="connsiteX29" fmla="*/ 135470 w 177285"/>
                    <a:gd name="connsiteY29" fmla="*/ 14478 h 74780"/>
                    <a:gd name="connsiteX30" fmla="*/ 148748 w 177285"/>
                    <a:gd name="connsiteY30" fmla="*/ 16393 h 74780"/>
                    <a:gd name="connsiteX31" fmla="*/ 148748 w 177285"/>
                    <a:gd name="connsiteY31" fmla="*/ 16393 h 7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77285" h="74780">
                      <a:moveTo>
                        <a:pt x="148748" y="16393"/>
                      </a:moveTo>
                      <a:cubicBezTo>
                        <a:pt x="150730" y="16031"/>
                        <a:pt x="160788" y="21717"/>
                        <a:pt x="161798" y="23784"/>
                      </a:cubicBezTo>
                      <a:cubicBezTo>
                        <a:pt x="163122" y="26489"/>
                        <a:pt x="161102" y="35081"/>
                        <a:pt x="160064" y="37890"/>
                      </a:cubicBezTo>
                      <a:cubicBezTo>
                        <a:pt x="165836" y="35414"/>
                        <a:pt x="168922" y="42701"/>
                        <a:pt x="171999" y="46511"/>
                      </a:cubicBezTo>
                      <a:cubicBezTo>
                        <a:pt x="173732" y="48673"/>
                        <a:pt x="176466" y="51549"/>
                        <a:pt x="176980" y="54616"/>
                      </a:cubicBezTo>
                      <a:cubicBezTo>
                        <a:pt x="177866" y="59827"/>
                        <a:pt x="176790" y="57883"/>
                        <a:pt x="174161" y="60360"/>
                      </a:cubicBezTo>
                      <a:cubicBezTo>
                        <a:pt x="171618" y="62751"/>
                        <a:pt x="168608" y="64884"/>
                        <a:pt x="166017" y="67351"/>
                      </a:cubicBezTo>
                      <a:cubicBezTo>
                        <a:pt x="163874" y="69380"/>
                        <a:pt x="166436" y="69628"/>
                        <a:pt x="163674" y="70818"/>
                      </a:cubicBezTo>
                      <a:cubicBezTo>
                        <a:pt x="162359" y="71390"/>
                        <a:pt x="158950" y="70628"/>
                        <a:pt x="157502" y="70561"/>
                      </a:cubicBezTo>
                      <a:cubicBezTo>
                        <a:pt x="150310" y="70199"/>
                        <a:pt x="152406" y="71256"/>
                        <a:pt x="147110" y="73657"/>
                      </a:cubicBezTo>
                      <a:cubicBezTo>
                        <a:pt x="144767" y="74714"/>
                        <a:pt x="141976" y="75009"/>
                        <a:pt x="139528" y="74609"/>
                      </a:cubicBezTo>
                      <a:cubicBezTo>
                        <a:pt x="131470" y="73304"/>
                        <a:pt x="124745" y="65056"/>
                        <a:pt x="117192" y="61770"/>
                      </a:cubicBezTo>
                      <a:cubicBezTo>
                        <a:pt x="113325" y="60093"/>
                        <a:pt x="109420" y="60179"/>
                        <a:pt x="105381" y="59007"/>
                      </a:cubicBezTo>
                      <a:cubicBezTo>
                        <a:pt x="100999" y="57750"/>
                        <a:pt x="100190" y="54931"/>
                        <a:pt x="96637" y="53111"/>
                      </a:cubicBezTo>
                      <a:cubicBezTo>
                        <a:pt x="91436" y="50454"/>
                        <a:pt x="86150" y="56312"/>
                        <a:pt x="79482" y="55988"/>
                      </a:cubicBezTo>
                      <a:cubicBezTo>
                        <a:pt x="71348" y="55588"/>
                        <a:pt x="62099" y="53997"/>
                        <a:pt x="53946" y="53235"/>
                      </a:cubicBezTo>
                      <a:cubicBezTo>
                        <a:pt x="47145" y="52607"/>
                        <a:pt x="37401" y="51464"/>
                        <a:pt x="29172" y="51835"/>
                      </a:cubicBezTo>
                      <a:cubicBezTo>
                        <a:pt x="19627" y="52264"/>
                        <a:pt x="11169" y="57369"/>
                        <a:pt x="3159" y="62313"/>
                      </a:cubicBezTo>
                      <a:cubicBezTo>
                        <a:pt x="1454" y="56569"/>
                        <a:pt x="-442" y="49539"/>
                        <a:pt x="92" y="43548"/>
                      </a:cubicBezTo>
                      <a:cubicBezTo>
                        <a:pt x="663" y="37176"/>
                        <a:pt x="4930" y="34385"/>
                        <a:pt x="6740" y="28070"/>
                      </a:cubicBezTo>
                      <a:cubicBezTo>
                        <a:pt x="8769" y="20984"/>
                        <a:pt x="9140" y="17574"/>
                        <a:pt x="16141" y="14402"/>
                      </a:cubicBezTo>
                      <a:cubicBezTo>
                        <a:pt x="21923" y="11792"/>
                        <a:pt x="28791" y="10049"/>
                        <a:pt x="33486" y="12506"/>
                      </a:cubicBezTo>
                      <a:cubicBezTo>
                        <a:pt x="37620" y="14669"/>
                        <a:pt x="44526" y="19507"/>
                        <a:pt x="48069" y="23203"/>
                      </a:cubicBezTo>
                      <a:cubicBezTo>
                        <a:pt x="52974" y="28318"/>
                        <a:pt x="54641" y="33738"/>
                        <a:pt x="63166" y="33747"/>
                      </a:cubicBezTo>
                      <a:cubicBezTo>
                        <a:pt x="68291" y="33747"/>
                        <a:pt x="77377" y="29223"/>
                        <a:pt x="78463" y="23965"/>
                      </a:cubicBezTo>
                      <a:cubicBezTo>
                        <a:pt x="79749" y="17793"/>
                        <a:pt x="73206" y="11525"/>
                        <a:pt x="73472" y="5601"/>
                      </a:cubicBezTo>
                      <a:cubicBezTo>
                        <a:pt x="77425" y="4372"/>
                        <a:pt x="81835" y="2762"/>
                        <a:pt x="86074" y="1629"/>
                      </a:cubicBezTo>
                      <a:cubicBezTo>
                        <a:pt x="89465" y="714"/>
                        <a:pt x="95123" y="1343"/>
                        <a:pt x="95580" y="0"/>
                      </a:cubicBezTo>
                      <a:cubicBezTo>
                        <a:pt x="105067" y="2467"/>
                        <a:pt x="112563" y="6972"/>
                        <a:pt x="120383" y="12144"/>
                      </a:cubicBezTo>
                      <a:cubicBezTo>
                        <a:pt x="127260" y="16697"/>
                        <a:pt x="127822" y="15116"/>
                        <a:pt x="135470" y="14478"/>
                      </a:cubicBezTo>
                      <a:cubicBezTo>
                        <a:pt x="140138" y="14097"/>
                        <a:pt x="143862" y="16526"/>
                        <a:pt x="148748" y="16393"/>
                      </a:cubicBezTo>
                      <a:lnTo>
                        <a:pt x="148748" y="16393"/>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11" name="Freeform: Shape 610">
                  <a:extLst>
                    <a:ext uri="{FF2B5EF4-FFF2-40B4-BE49-F238E27FC236}">
                      <a16:creationId xmlns:a16="http://schemas.microsoft.com/office/drawing/2014/main" id="{9D071F4F-FD10-4311-8F57-FC0B0A370C19}"/>
                    </a:ext>
                  </a:extLst>
                </p:cNvPr>
                <p:cNvSpPr/>
                <p:nvPr/>
              </p:nvSpPr>
              <p:spPr>
                <a:xfrm>
                  <a:off x="6110617" y="2587894"/>
                  <a:ext cx="144916" cy="79202"/>
                </a:xfrm>
                <a:custGeom>
                  <a:avLst/>
                  <a:gdLst>
                    <a:gd name="connsiteX0" fmla="*/ 93671 w 144916"/>
                    <a:gd name="connsiteY0" fmla="*/ 2741 h 79202"/>
                    <a:gd name="connsiteX1" fmla="*/ 111550 w 144916"/>
                    <a:gd name="connsiteY1" fmla="*/ 9294 h 79202"/>
                    <a:gd name="connsiteX2" fmla="*/ 127723 w 144916"/>
                    <a:gd name="connsiteY2" fmla="*/ 18914 h 79202"/>
                    <a:gd name="connsiteX3" fmla="*/ 138106 w 144916"/>
                    <a:gd name="connsiteY3" fmla="*/ 27287 h 79202"/>
                    <a:gd name="connsiteX4" fmla="*/ 137182 w 144916"/>
                    <a:gd name="connsiteY4" fmla="*/ 34088 h 79202"/>
                    <a:gd name="connsiteX5" fmla="*/ 144916 w 144916"/>
                    <a:gd name="connsiteY5" fmla="*/ 35888 h 79202"/>
                    <a:gd name="connsiteX6" fmla="*/ 141449 w 144916"/>
                    <a:gd name="connsiteY6" fmla="*/ 40384 h 79202"/>
                    <a:gd name="connsiteX7" fmla="*/ 132819 w 144916"/>
                    <a:gd name="connsiteY7" fmla="*/ 40574 h 79202"/>
                    <a:gd name="connsiteX8" fmla="*/ 131219 w 144916"/>
                    <a:gd name="connsiteY8" fmla="*/ 44718 h 79202"/>
                    <a:gd name="connsiteX9" fmla="*/ 122875 w 144916"/>
                    <a:gd name="connsiteY9" fmla="*/ 49747 h 79202"/>
                    <a:gd name="connsiteX10" fmla="*/ 122951 w 144916"/>
                    <a:gd name="connsiteY10" fmla="*/ 57052 h 79202"/>
                    <a:gd name="connsiteX11" fmla="*/ 120199 w 144916"/>
                    <a:gd name="connsiteY11" fmla="*/ 64110 h 79202"/>
                    <a:gd name="connsiteX12" fmla="*/ 126114 w 144916"/>
                    <a:gd name="connsiteY12" fmla="*/ 70711 h 79202"/>
                    <a:gd name="connsiteX13" fmla="*/ 117541 w 144916"/>
                    <a:gd name="connsiteY13" fmla="*/ 67120 h 79202"/>
                    <a:gd name="connsiteX14" fmla="*/ 110445 w 144916"/>
                    <a:gd name="connsiteY14" fmla="*/ 70673 h 79202"/>
                    <a:gd name="connsiteX15" fmla="*/ 103358 w 144916"/>
                    <a:gd name="connsiteY15" fmla="*/ 72026 h 79202"/>
                    <a:gd name="connsiteX16" fmla="*/ 102882 w 144916"/>
                    <a:gd name="connsiteY16" fmla="*/ 76036 h 79202"/>
                    <a:gd name="connsiteX17" fmla="*/ 99730 w 144916"/>
                    <a:gd name="connsiteY17" fmla="*/ 76655 h 79202"/>
                    <a:gd name="connsiteX18" fmla="*/ 91148 w 144916"/>
                    <a:gd name="connsiteY18" fmla="*/ 79198 h 79202"/>
                    <a:gd name="connsiteX19" fmla="*/ 84889 w 144916"/>
                    <a:gd name="connsiteY19" fmla="*/ 77969 h 79202"/>
                    <a:gd name="connsiteX20" fmla="*/ 76393 w 144916"/>
                    <a:gd name="connsiteY20" fmla="*/ 78731 h 79202"/>
                    <a:gd name="connsiteX21" fmla="*/ 63963 w 144916"/>
                    <a:gd name="connsiteY21" fmla="*/ 68444 h 79202"/>
                    <a:gd name="connsiteX22" fmla="*/ 50485 w 144916"/>
                    <a:gd name="connsiteY22" fmla="*/ 64768 h 79202"/>
                    <a:gd name="connsiteX23" fmla="*/ 49456 w 144916"/>
                    <a:gd name="connsiteY23" fmla="*/ 48775 h 79202"/>
                    <a:gd name="connsiteX24" fmla="*/ 31359 w 144916"/>
                    <a:gd name="connsiteY24" fmla="*/ 42641 h 79202"/>
                    <a:gd name="connsiteX25" fmla="*/ 12976 w 144916"/>
                    <a:gd name="connsiteY25" fmla="*/ 36783 h 79202"/>
                    <a:gd name="connsiteX26" fmla="*/ 8032 w 144916"/>
                    <a:gd name="connsiteY26" fmla="*/ 35907 h 79202"/>
                    <a:gd name="connsiteX27" fmla="*/ 5089 w 144916"/>
                    <a:gd name="connsiteY27" fmla="*/ 25858 h 79202"/>
                    <a:gd name="connsiteX28" fmla="*/ 1355 w 144916"/>
                    <a:gd name="connsiteY28" fmla="*/ 9580 h 79202"/>
                    <a:gd name="connsiteX29" fmla="*/ 21491 w 144916"/>
                    <a:gd name="connsiteY29" fmla="*/ 645 h 79202"/>
                    <a:gd name="connsiteX30" fmla="*/ 55905 w 144916"/>
                    <a:gd name="connsiteY30" fmla="*/ 1998 h 79202"/>
                    <a:gd name="connsiteX31" fmla="*/ 79375 w 144916"/>
                    <a:gd name="connsiteY31" fmla="*/ 4151 h 79202"/>
                    <a:gd name="connsiteX32" fmla="*/ 93671 w 144916"/>
                    <a:gd name="connsiteY32" fmla="*/ 2741 h 79202"/>
                    <a:gd name="connsiteX33" fmla="*/ 93671 w 144916"/>
                    <a:gd name="connsiteY33" fmla="*/ 2741 h 79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4916" h="79202">
                      <a:moveTo>
                        <a:pt x="93671" y="2741"/>
                      </a:moveTo>
                      <a:cubicBezTo>
                        <a:pt x="97501" y="9227"/>
                        <a:pt x="105454" y="7056"/>
                        <a:pt x="111550" y="9294"/>
                      </a:cubicBezTo>
                      <a:cubicBezTo>
                        <a:pt x="117274" y="11399"/>
                        <a:pt x="122685" y="15581"/>
                        <a:pt x="127723" y="18914"/>
                      </a:cubicBezTo>
                      <a:cubicBezTo>
                        <a:pt x="132819" y="22286"/>
                        <a:pt x="137410" y="21724"/>
                        <a:pt x="138106" y="27287"/>
                      </a:cubicBezTo>
                      <a:cubicBezTo>
                        <a:pt x="138382" y="29487"/>
                        <a:pt x="135867" y="32364"/>
                        <a:pt x="137182" y="34088"/>
                      </a:cubicBezTo>
                      <a:cubicBezTo>
                        <a:pt x="138325" y="35583"/>
                        <a:pt x="143116" y="34821"/>
                        <a:pt x="144916" y="35888"/>
                      </a:cubicBezTo>
                      <a:cubicBezTo>
                        <a:pt x="143830" y="36697"/>
                        <a:pt x="141935" y="40136"/>
                        <a:pt x="141449" y="40384"/>
                      </a:cubicBezTo>
                      <a:cubicBezTo>
                        <a:pt x="139077" y="41574"/>
                        <a:pt x="135381" y="39260"/>
                        <a:pt x="132819" y="40574"/>
                      </a:cubicBezTo>
                      <a:cubicBezTo>
                        <a:pt x="132057" y="40965"/>
                        <a:pt x="132343" y="43917"/>
                        <a:pt x="131219" y="44718"/>
                      </a:cubicBezTo>
                      <a:cubicBezTo>
                        <a:pt x="127847" y="47118"/>
                        <a:pt x="124990" y="45460"/>
                        <a:pt x="122875" y="49747"/>
                      </a:cubicBezTo>
                      <a:cubicBezTo>
                        <a:pt x="121551" y="52423"/>
                        <a:pt x="123361" y="54652"/>
                        <a:pt x="122951" y="57052"/>
                      </a:cubicBezTo>
                      <a:cubicBezTo>
                        <a:pt x="122618" y="59005"/>
                        <a:pt x="119865" y="61929"/>
                        <a:pt x="120199" y="64110"/>
                      </a:cubicBezTo>
                      <a:cubicBezTo>
                        <a:pt x="120551" y="66415"/>
                        <a:pt x="127847" y="67273"/>
                        <a:pt x="126114" y="70711"/>
                      </a:cubicBezTo>
                      <a:cubicBezTo>
                        <a:pt x="123532" y="75845"/>
                        <a:pt x="118341" y="67273"/>
                        <a:pt x="117541" y="67120"/>
                      </a:cubicBezTo>
                      <a:cubicBezTo>
                        <a:pt x="115036" y="66616"/>
                        <a:pt x="112255" y="70149"/>
                        <a:pt x="110445" y="70673"/>
                      </a:cubicBezTo>
                      <a:cubicBezTo>
                        <a:pt x="108388" y="71254"/>
                        <a:pt x="105054" y="71026"/>
                        <a:pt x="103358" y="72026"/>
                      </a:cubicBezTo>
                      <a:cubicBezTo>
                        <a:pt x="102415" y="72588"/>
                        <a:pt x="103625" y="75626"/>
                        <a:pt x="102882" y="76036"/>
                      </a:cubicBezTo>
                      <a:cubicBezTo>
                        <a:pt x="102177" y="76426"/>
                        <a:pt x="100320" y="76274"/>
                        <a:pt x="99730" y="76655"/>
                      </a:cubicBezTo>
                      <a:cubicBezTo>
                        <a:pt x="97882" y="77845"/>
                        <a:pt x="93253" y="79074"/>
                        <a:pt x="91148" y="79198"/>
                      </a:cubicBezTo>
                      <a:cubicBezTo>
                        <a:pt x="89528" y="79284"/>
                        <a:pt x="86804" y="78084"/>
                        <a:pt x="84889" y="77969"/>
                      </a:cubicBezTo>
                      <a:cubicBezTo>
                        <a:pt x="82061" y="77798"/>
                        <a:pt x="79146" y="78893"/>
                        <a:pt x="76393" y="78731"/>
                      </a:cubicBezTo>
                      <a:cubicBezTo>
                        <a:pt x="68059" y="78236"/>
                        <a:pt x="71155" y="72178"/>
                        <a:pt x="63963" y="68444"/>
                      </a:cubicBezTo>
                      <a:cubicBezTo>
                        <a:pt x="60848" y="66825"/>
                        <a:pt x="53248" y="62320"/>
                        <a:pt x="50485" y="64768"/>
                      </a:cubicBezTo>
                      <a:cubicBezTo>
                        <a:pt x="44122" y="58557"/>
                        <a:pt x="51943" y="54538"/>
                        <a:pt x="49456" y="48775"/>
                      </a:cubicBezTo>
                      <a:cubicBezTo>
                        <a:pt x="46485" y="41908"/>
                        <a:pt x="37084" y="43203"/>
                        <a:pt x="31359" y="42641"/>
                      </a:cubicBezTo>
                      <a:cubicBezTo>
                        <a:pt x="24816" y="42003"/>
                        <a:pt x="18977" y="39098"/>
                        <a:pt x="12976" y="36783"/>
                      </a:cubicBezTo>
                      <a:cubicBezTo>
                        <a:pt x="11852" y="36355"/>
                        <a:pt x="8537" y="36469"/>
                        <a:pt x="8032" y="35907"/>
                      </a:cubicBezTo>
                      <a:cubicBezTo>
                        <a:pt x="6184" y="33802"/>
                        <a:pt x="6394" y="28830"/>
                        <a:pt x="5089" y="25858"/>
                      </a:cubicBezTo>
                      <a:cubicBezTo>
                        <a:pt x="2679" y="20362"/>
                        <a:pt x="-2436" y="14600"/>
                        <a:pt x="1355" y="9580"/>
                      </a:cubicBezTo>
                      <a:cubicBezTo>
                        <a:pt x="4718" y="5132"/>
                        <a:pt x="16081" y="1569"/>
                        <a:pt x="21491" y="645"/>
                      </a:cubicBezTo>
                      <a:cubicBezTo>
                        <a:pt x="33045" y="-1336"/>
                        <a:pt x="45265" y="1865"/>
                        <a:pt x="55905" y="1998"/>
                      </a:cubicBezTo>
                      <a:cubicBezTo>
                        <a:pt x="63801" y="2093"/>
                        <a:pt x="71678" y="5332"/>
                        <a:pt x="79375" y="4151"/>
                      </a:cubicBezTo>
                      <a:cubicBezTo>
                        <a:pt x="83404" y="3512"/>
                        <a:pt x="91433" y="-2955"/>
                        <a:pt x="93671" y="2741"/>
                      </a:cubicBezTo>
                      <a:lnTo>
                        <a:pt x="93671" y="2741"/>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12" name="Freeform: Shape 611">
                  <a:extLst>
                    <a:ext uri="{FF2B5EF4-FFF2-40B4-BE49-F238E27FC236}">
                      <a16:creationId xmlns:a16="http://schemas.microsoft.com/office/drawing/2014/main" id="{4646E035-4ECC-43ED-AC5C-DBBD44F05DC7}"/>
                    </a:ext>
                  </a:extLst>
                </p:cNvPr>
                <p:cNvSpPr/>
                <p:nvPr/>
              </p:nvSpPr>
              <p:spPr>
                <a:xfrm>
                  <a:off x="6390191" y="5266121"/>
                  <a:ext cx="69456" cy="64115"/>
                </a:xfrm>
                <a:custGeom>
                  <a:avLst/>
                  <a:gdLst>
                    <a:gd name="connsiteX0" fmla="*/ 47565 w 69456"/>
                    <a:gd name="connsiteY0" fmla="*/ 46988 h 64115"/>
                    <a:gd name="connsiteX1" fmla="*/ 30411 w 69456"/>
                    <a:gd name="connsiteY1" fmla="*/ 56036 h 64115"/>
                    <a:gd name="connsiteX2" fmla="*/ 16161 w 69456"/>
                    <a:gd name="connsiteY2" fmla="*/ 62237 h 64115"/>
                    <a:gd name="connsiteX3" fmla="*/ 6303 w 69456"/>
                    <a:gd name="connsiteY3" fmla="*/ 51512 h 64115"/>
                    <a:gd name="connsiteX4" fmla="*/ 2779 w 69456"/>
                    <a:gd name="connsiteY4" fmla="*/ 41901 h 64115"/>
                    <a:gd name="connsiteX5" fmla="*/ 598 w 69456"/>
                    <a:gd name="connsiteY5" fmla="*/ 31586 h 64115"/>
                    <a:gd name="connsiteX6" fmla="*/ 9465 w 69456"/>
                    <a:gd name="connsiteY6" fmla="*/ 26604 h 64115"/>
                    <a:gd name="connsiteX7" fmla="*/ 14980 w 69456"/>
                    <a:gd name="connsiteY7" fmla="*/ 20032 h 64115"/>
                    <a:gd name="connsiteX8" fmla="*/ 20590 w 69456"/>
                    <a:gd name="connsiteY8" fmla="*/ 12840 h 64115"/>
                    <a:gd name="connsiteX9" fmla="*/ 32326 w 69456"/>
                    <a:gd name="connsiteY9" fmla="*/ 6154 h 64115"/>
                    <a:gd name="connsiteX10" fmla="*/ 51413 w 69456"/>
                    <a:gd name="connsiteY10" fmla="*/ 792 h 64115"/>
                    <a:gd name="connsiteX11" fmla="*/ 65901 w 69456"/>
                    <a:gd name="connsiteY11" fmla="*/ 14126 h 64115"/>
                    <a:gd name="connsiteX12" fmla="*/ 64567 w 69456"/>
                    <a:gd name="connsiteY12" fmla="*/ 31776 h 64115"/>
                    <a:gd name="connsiteX13" fmla="*/ 47565 w 69456"/>
                    <a:gd name="connsiteY13" fmla="*/ 46988 h 64115"/>
                    <a:gd name="connsiteX14" fmla="*/ 47565 w 69456"/>
                    <a:gd name="connsiteY14" fmla="*/ 46988 h 6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456" h="64115">
                      <a:moveTo>
                        <a:pt x="47565" y="46988"/>
                      </a:moveTo>
                      <a:cubicBezTo>
                        <a:pt x="39440" y="49464"/>
                        <a:pt x="36040" y="47835"/>
                        <a:pt x="30411" y="56036"/>
                      </a:cubicBezTo>
                      <a:cubicBezTo>
                        <a:pt x="26591" y="61608"/>
                        <a:pt x="24391" y="67104"/>
                        <a:pt x="16161" y="62237"/>
                      </a:cubicBezTo>
                      <a:cubicBezTo>
                        <a:pt x="13151" y="60447"/>
                        <a:pt x="7884" y="54398"/>
                        <a:pt x="6303" y="51512"/>
                      </a:cubicBezTo>
                      <a:cubicBezTo>
                        <a:pt x="5169" y="49464"/>
                        <a:pt x="4122" y="44740"/>
                        <a:pt x="2779" y="41901"/>
                      </a:cubicBezTo>
                      <a:cubicBezTo>
                        <a:pt x="1398" y="38958"/>
                        <a:pt x="-1164" y="34319"/>
                        <a:pt x="598" y="31586"/>
                      </a:cubicBezTo>
                      <a:cubicBezTo>
                        <a:pt x="1893" y="29576"/>
                        <a:pt x="7446" y="28424"/>
                        <a:pt x="9465" y="26604"/>
                      </a:cubicBezTo>
                      <a:cubicBezTo>
                        <a:pt x="11389" y="24871"/>
                        <a:pt x="13304" y="22051"/>
                        <a:pt x="14980" y="20032"/>
                      </a:cubicBezTo>
                      <a:cubicBezTo>
                        <a:pt x="16818" y="17784"/>
                        <a:pt x="18467" y="14793"/>
                        <a:pt x="20590" y="12840"/>
                      </a:cubicBezTo>
                      <a:cubicBezTo>
                        <a:pt x="24010" y="9688"/>
                        <a:pt x="28135" y="8430"/>
                        <a:pt x="32326" y="6154"/>
                      </a:cubicBezTo>
                      <a:cubicBezTo>
                        <a:pt x="38269" y="2925"/>
                        <a:pt x="45889" y="-1914"/>
                        <a:pt x="51413" y="792"/>
                      </a:cubicBezTo>
                      <a:cubicBezTo>
                        <a:pt x="55709" y="2887"/>
                        <a:pt x="62329" y="10612"/>
                        <a:pt x="65901" y="14126"/>
                      </a:cubicBezTo>
                      <a:cubicBezTo>
                        <a:pt x="71902" y="20013"/>
                        <a:pt x="69520" y="24871"/>
                        <a:pt x="64567" y="31776"/>
                      </a:cubicBezTo>
                      <a:cubicBezTo>
                        <a:pt x="59452" y="38892"/>
                        <a:pt x="56719" y="43711"/>
                        <a:pt x="47565" y="46988"/>
                      </a:cubicBezTo>
                      <a:lnTo>
                        <a:pt x="47565" y="46988"/>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13" name="Freeform: Shape 612">
                  <a:extLst>
                    <a:ext uri="{FF2B5EF4-FFF2-40B4-BE49-F238E27FC236}">
                      <a16:creationId xmlns:a16="http://schemas.microsoft.com/office/drawing/2014/main" id="{FCBF8808-A933-4A46-A74D-7F7C99836C55}"/>
                    </a:ext>
                  </a:extLst>
                </p:cNvPr>
                <p:cNvSpPr/>
                <p:nvPr/>
              </p:nvSpPr>
              <p:spPr>
                <a:xfrm>
                  <a:off x="8091761" y="4055790"/>
                  <a:ext cx="71058" cy="120988"/>
                </a:xfrm>
                <a:custGeom>
                  <a:avLst/>
                  <a:gdLst>
                    <a:gd name="connsiteX0" fmla="*/ 2830 w 71058"/>
                    <a:gd name="connsiteY0" fmla="*/ 0 h 120988"/>
                    <a:gd name="connsiteX1" fmla="*/ 39635 w 71058"/>
                    <a:gd name="connsiteY1" fmla="*/ 29385 h 120988"/>
                    <a:gd name="connsiteX2" fmla="*/ 45874 w 71058"/>
                    <a:gd name="connsiteY2" fmla="*/ 39319 h 120988"/>
                    <a:gd name="connsiteX3" fmla="*/ 51351 w 71058"/>
                    <a:gd name="connsiteY3" fmla="*/ 43882 h 120988"/>
                    <a:gd name="connsiteX4" fmla="*/ 54179 w 71058"/>
                    <a:gd name="connsiteY4" fmla="*/ 53378 h 120988"/>
                    <a:gd name="connsiteX5" fmla="*/ 62857 w 71058"/>
                    <a:gd name="connsiteY5" fmla="*/ 64951 h 120988"/>
                    <a:gd name="connsiteX6" fmla="*/ 61523 w 71058"/>
                    <a:gd name="connsiteY6" fmla="*/ 109614 h 120988"/>
                    <a:gd name="connsiteX7" fmla="*/ 14965 w 71058"/>
                    <a:gd name="connsiteY7" fmla="*/ 110052 h 120988"/>
                    <a:gd name="connsiteX8" fmla="*/ 5659 w 71058"/>
                    <a:gd name="connsiteY8" fmla="*/ 78200 h 120988"/>
                    <a:gd name="connsiteX9" fmla="*/ 783 w 71058"/>
                    <a:gd name="connsiteY9" fmla="*/ 47834 h 120988"/>
                    <a:gd name="connsiteX10" fmla="*/ 2697 w 71058"/>
                    <a:gd name="connsiteY10" fmla="*/ 56521 h 120988"/>
                    <a:gd name="connsiteX11" fmla="*/ 4545 w 71058"/>
                    <a:gd name="connsiteY11" fmla="*/ 30432 h 120988"/>
                    <a:gd name="connsiteX12" fmla="*/ 6936 w 71058"/>
                    <a:gd name="connsiteY12" fmla="*/ 7391 h 120988"/>
                    <a:gd name="connsiteX13" fmla="*/ 17985 w 71058"/>
                    <a:gd name="connsiteY13" fmla="*/ 10449 h 120988"/>
                    <a:gd name="connsiteX14" fmla="*/ 2830 w 71058"/>
                    <a:gd name="connsiteY14" fmla="*/ 0 h 120988"/>
                    <a:gd name="connsiteX15" fmla="*/ 2830 w 71058"/>
                    <a:gd name="connsiteY15" fmla="*/ 0 h 120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058" h="120988">
                      <a:moveTo>
                        <a:pt x="2830" y="0"/>
                      </a:moveTo>
                      <a:cubicBezTo>
                        <a:pt x="19023" y="810"/>
                        <a:pt x="29672" y="18440"/>
                        <a:pt x="39635" y="29385"/>
                      </a:cubicBezTo>
                      <a:cubicBezTo>
                        <a:pt x="42255" y="32261"/>
                        <a:pt x="43721" y="36833"/>
                        <a:pt x="45874" y="39319"/>
                      </a:cubicBezTo>
                      <a:cubicBezTo>
                        <a:pt x="47455" y="41158"/>
                        <a:pt x="49808" y="41815"/>
                        <a:pt x="51351" y="43882"/>
                      </a:cubicBezTo>
                      <a:cubicBezTo>
                        <a:pt x="53294" y="46463"/>
                        <a:pt x="52751" y="50635"/>
                        <a:pt x="54179" y="53378"/>
                      </a:cubicBezTo>
                      <a:cubicBezTo>
                        <a:pt x="56361" y="57541"/>
                        <a:pt x="60409" y="60931"/>
                        <a:pt x="62857" y="64951"/>
                      </a:cubicBezTo>
                      <a:cubicBezTo>
                        <a:pt x="71191" y="78648"/>
                        <a:pt x="76659" y="97784"/>
                        <a:pt x="61523" y="109614"/>
                      </a:cubicBezTo>
                      <a:cubicBezTo>
                        <a:pt x="48560" y="119758"/>
                        <a:pt x="23900" y="128902"/>
                        <a:pt x="14965" y="110052"/>
                      </a:cubicBezTo>
                      <a:cubicBezTo>
                        <a:pt x="10041" y="99679"/>
                        <a:pt x="7640" y="89459"/>
                        <a:pt x="5659" y="78200"/>
                      </a:cubicBezTo>
                      <a:cubicBezTo>
                        <a:pt x="4069" y="69218"/>
                        <a:pt x="-2170" y="56683"/>
                        <a:pt x="783" y="47834"/>
                      </a:cubicBezTo>
                      <a:cubicBezTo>
                        <a:pt x="1078" y="50902"/>
                        <a:pt x="668" y="54312"/>
                        <a:pt x="2697" y="56521"/>
                      </a:cubicBezTo>
                      <a:cubicBezTo>
                        <a:pt x="5993" y="49768"/>
                        <a:pt x="3583" y="37700"/>
                        <a:pt x="4545" y="30432"/>
                      </a:cubicBezTo>
                      <a:cubicBezTo>
                        <a:pt x="5735" y="21507"/>
                        <a:pt x="10565" y="17374"/>
                        <a:pt x="6936" y="7391"/>
                      </a:cubicBezTo>
                      <a:cubicBezTo>
                        <a:pt x="10975" y="8506"/>
                        <a:pt x="13680" y="11640"/>
                        <a:pt x="17985" y="10449"/>
                      </a:cubicBezTo>
                      <a:cubicBezTo>
                        <a:pt x="15060" y="5905"/>
                        <a:pt x="78" y="6420"/>
                        <a:pt x="2830" y="0"/>
                      </a:cubicBezTo>
                      <a:lnTo>
                        <a:pt x="2830" y="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14" name="Freeform: Shape 613">
                  <a:extLst>
                    <a:ext uri="{FF2B5EF4-FFF2-40B4-BE49-F238E27FC236}">
                      <a16:creationId xmlns:a16="http://schemas.microsoft.com/office/drawing/2014/main" id="{E19F5264-A6ED-4318-964D-FF10AD38DC80}"/>
                    </a:ext>
                  </a:extLst>
                </p:cNvPr>
                <p:cNvSpPr/>
                <p:nvPr/>
              </p:nvSpPr>
              <p:spPr>
                <a:xfrm>
                  <a:off x="5867056" y="3319650"/>
                  <a:ext cx="489384" cy="431092"/>
                </a:xfrm>
                <a:custGeom>
                  <a:avLst/>
                  <a:gdLst>
                    <a:gd name="connsiteX0" fmla="*/ 459839 w 489384"/>
                    <a:gd name="connsiteY0" fmla="*/ 48111 h 431092"/>
                    <a:gd name="connsiteX1" fmla="*/ 452457 w 489384"/>
                    <a:gd name="connsiteY1" fmla="*/ 59331 h 431092"/>
                    <a:gd name="connsiteX2" fmla="*/ 457810 w 489384"/>
                    <a:gd name="connsiteY2" fmla="*/ 78819 h 431092"/>
                    <a:gd name="connsiteX3" fmla="*/ 451876 w 489384"/>
                    <a:gd name="connsiteY3" fmla="*/ 93907 h 431092"/>
                    <a:gd name="connsiteX4" fmla="*/ 457962 w 489384"/>
                    <a:gd name="connsiteY4" fmla="*/ 111128 h 431092"/>
                    <a:gd name="connsiteX5" fmla="*/ 465706 w 489384"/>
                    <a:gd name="connsiteY5" fmla="*/ 147237 h 431092"/>
                    <a:gd name="connsiteX6" fmla="*/ 469907 w 489384"/>
                    <a:gd name="connsiteY6" fmla="*/ 188557 h 431092"/>
                    <a:gd name="connsiteX7" fmla="*/ 485508 w 489384"/>
                    <a:gd name="connsiteY7" fmla="*/ 361531 h 431092"/>
                    <a:gd name="connsiteX8" fmla="*/ 489156 w 489384"/>
                    <a:gd name="connsiteY8" fmla="*/ 408613 h 431092"/>
                    <a:gd name="connsiteX9" fmla="*/ 480974 w 489384"/>
                    <a:gd name="connsiteY9" fmla="*/ 415376 h 431092"/>
                    <a:gd name="connsiteX10" fmla="*/ 459153 w 489384"/>
                    <a:gd name="connsiteY10" fmla="*/ 415366 h 431092"/>
                    <a:gd name="connsiteX11" fmla="*/ 460258 w 489384"/>
                    <a:gd name="connsiteY11" fmla="*/ 431092 h 431092"/>
                    <a:gd name="connsiteX12" fmla="*/ 336042 w 489384"/>
                    <a:gd name="connsiteY12" fmla="*/ 369827 h 431092"/>
                    <a:gd name="connsiteX13" fmla="*/ 273996 w 489384"/>
                    <a:gd name="connsiteY13" fmla="*/ 339023 h 431092"/>
                    <a:gd name="connsiteX14" fmla="*/ 241926 w 489384"/>
                    <a:gd name="connsiteY14" fmla="*/ 323059 h 431092"/>
                    <a:gd name="connsiteX15" fmla="*/ 211207 w 489384"/>
                    <a:gd name="connsiteY15" fmla="*/ 307772 h 431092"/>
                    <a:gd name="connsiteX16" fmla="*/ 180318 w 489384"/>
                    <a:gd name="connsiteY16" fmla="*/ 320564 h 431092"/>
                    <a:gd name="connsiteX17" fmla="*/ 155715 w 489384"/>
                    <a:gd name="connsiteY17" fmla="*/ 331813 h 431092"/>
                    <a:gd name="connsiteX18" fmla="*/ 142742 w 489384"/>
                    <a:gd name="connsiteY18" fmla="*/ 321097 h 431092"/>
                    <a:gd name="connsiteX19" fmla="*/ 127864 w 489384"/>
                    <a:gd name="connsiteY19" fmla="*/ 313630 h 431092"/>
                    <a:gd name="connsiteX20" fmla="*/ 91354 w 489384"/>
                    <a:gd name="connsiteY20" fmla="*/ 305191 h 431092"/>
                    <a:gd name="connsiteX21" fmla="*/ 75238 w 489384"/>
                    <a:gd name="connsiteY21" fmla="*/ 282407 h 431092"/>
                    <a:gd name="connsiteX22" fmla="*/ 47035 w 489384"/>
                    <a:gd name="connsiteY22" fmla="*/ 272129 h 431092"/>
                    <a:gd name="connsiteX23" fmla="*/ 35062 w 489384"/>
                    <a:gd name="connsiteY23" fmla="*/ 270605 h 431092"/>
                    <a:gd name="connsiteX24" fmla="*/ 27527 w 489384"/>
                    <a:gd name="connsiteY24" fmla="*/ 255746 h 431092"/>
                    <a:gd name="connsiteX25" fmla="*/ 21565 w 489384"/>
                    <a:gd name="connsiteY25" fmla="*/ 240811 h 431092"/>
                    <a:gd name="connsiteX26" fmla="*/ 11125 w 489384"/>
                    <a:gd name="connsiteY26" fmla="*/ 226866 h 431092"/>
                    <a:gd name="connsiteX27" fmla="*/ 15716 w 489384"/>
                    <a:gd name="connsiteY27" fmla="*/ 212331 h 431092"/>
                    <a:gd name="connsiteX28" fmla="*/ 20393 w 489384"/>
                    <a:gd name="connsiteY28" fmla="*/ 198339 h 431092"/>
                    <a:gd name="connsiteX29" fmla="*/ 17183 w 489384"/>
                    <a:gd name="connsiteY29" fmla="*/ 181785 h 431092"/>
                    <a:gd name="connsiteX30" fmla="*/ 19517 w 489384"/>
                    <a:gd name="connsiteY30" fmla="*/ 164716 h 431092"/>
                    <a:gd name="connsiteX31" fmla="*/ 16221 w 489384"/>
                    <a:gd name="connsiteY31" fmla="*/ 127711 h 431092"/>
                    <a:gd name="connsiteX32" fmla="*/ 0 w 489384"/>
                    <a:gd name="connsiteY32" fmla="*/ 96603 h 431092"/>
                    <a:gd name="connsiteX33" fmla="*/ 25670 w 489384"/>
                    <a:gd name="connsiteY33" fmla="*/ 75571 h 431092"/>
                    <a:gd name="connsiteX34" fmla="*/ 27575 w 489384"/>
                    <a:gd name="connsiteY34" fmla="*/ 46406 h 431092"/>
                    <a:gd name="connsiteX35" fmla="*/ 32309 w 489384"/>
                    <a:gd name="connsiteY35" fmla="*/ 45025 h 431092"/>
                    <a:gd name="connsiteX36" fmla="*/ 34747 w 489384"/>
                    <a:gd name="connsiteY36" fmla="*/ 41491 h 431092"/>
                    <a:gd name="connsiteX37" fmla="*/ 39386 w 489384"/>
                    <a:gd name="connsiteY37" fmla="*/ 36928 h 431092"/>
                    <a:gd name="connsiteX38" fmla="*/ 54778 w 489384"/>
                    <a:gd name="connsiteY38" fmla="*/ 27270 h 431092"/>
                    <a:gd name="connsiteX39" fmla="*/ 58788 w 489384"/>
                    <a:gd name="connsiteY39" fmla="*/ 16421 h 431092"/>
                    <a:gd name="connsiteX40" fmla="*/ 59360 w 489384"/>
                    <a:gd name="connsiteY40" fmla="*/ 0 h 431092"/>
                    <a:gd name="connsiteX41" fmla="*/ 70190 w 489384"/>
                    <a:gd name="connsiteY41" fmla="*/ 3705 h 431092"/>
                    <a:gd name="connsiteX42" fmla="*/ 83591 w 489384"/>
                    <a:gd name="connsiteY42" fmla="*/ 10449 h 431092"/>
                    <a:gd name="connsiteX43" fmla="*/ 108328 w 489384"/>
                    <a:gd name="connsiteY43" fmla="*/ 8830 h 431092"/>
                    <a:gd name="connsiteX44" fmla="*/ 156486 w 489384"/>
                    <a:gd name="connsiteY44" fmla="*/ 22822 h 431092"/>
                    <a:gd name="connsiteX45" fmla="*/ 173574 w 489384"/>
                    <a:gd name="connsiteY45" fmla="*/ 36214 h 431092"/>
                    <a:gd name="connsiteX46" fmla="*/ 186881 w 489384"/>
                    <a:gd name="connsiteY46" fmla="*/ 56340 h 431092"/>
                    <a:gd name="connsiteX47" fmla="*/ 212017 w 489384"/>
                    <a:gd name="connsiteY47" fmla="*/ 61770 h 431092"/>
                    <a:gd name="connsiteX48" fmla="*/ 237544 w 489384"/>
                    <a:gd name="connsiteY48" fmla="*/ 67427 h 431092"/>
                    <a:gd name="connsiteX49" fmla="*/ 260461 w 489384"/>
                    <a:gd name="connsiteY49" fmla="*/ 76733 h 431092"/>
                    <a:gd name="connsiteX50" fmla="*/ 283178 w 489384"/>
                    <a:gd name="connsiteY50" fmla="*/ 91211 h 431092"/>
                    <a:gd name="connsiteX51" fmla="*/ 315249 w 489384"/>
                    <a:gd name="connsiteY51" fmla="*/ 63532 h 431092"/>
                    <a:gd name="connsiteX52" fmla="*/ 307172 w 489384"/>
                    <a:gd name="connsiteY52" fmla="*/ 42053 h 431092"/>
                    <a:gd name="connsiteX53" fmla="*/ 318888 w 489384"/>
                    <a:gd name="connsiteY53" fmla="*/ 23174 h 431092"/>
                    <a:gd name="connsiteX54" fmla="*/ 331070 w 489384"/>
                    <a:gd name="connsiteY54" fmla="*/ 15888 h 431092"/>
                    <a:gd name="connsiteX55" fmla="*/ 344214 w 489384"/>
                    <a:gd name="connsiteY55" fmla="*/ 12735 h 431092"/>
                    <a:gd name="connsiteX56" fmla="*/ 353225 w 489384"/>
                    <a:gd name="connsiteY56" fmla="*/ 7706 h 431092"/>
                    <a:gd name="connsiteX57" fmla="*/ 365579 w 489384"/>
                    <a:gd name="connsiteY57" fmla="*/ 8439 h 431092"/>
                    <a:gd name="connsiteX58" fmla="*/ 392906 w 489384"/>
                    <a:gd name="connsiteY58" fmla="*/ 16278 h 431092"/>
                    <a:gd name="connsiteX59" fmla="*/ 397869 w 489384"/>
                    <a:gd name="connsiteY59" fmla="*/ 25232 h 431092"/>
                    <a:gd name="connsiteX60" fmla="*/ 408708 w 489384"/>
                    <a:gd name="connsiteY60" fmla="*/ 31109 h 431092"/>
                    <a:gd name="connsiteX61" fmla="*/ 438655 w 489384"/>
                    <a:gd name="connsiteY61" fmla="*/ 37309 h 431092"/>
                    <a:gd name="connsiteX62" fmla="*/ 459839 w 489384"/>
                    <a:gd name="connsiteY62" fmla="*/ 48111 h 431092"/>
                    <a:gd name="connsiteX63" fmla="*/ 459839 w 489384"/>
                    <a:gd name="connsiteY63" fmla="*/ 48111 h 431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89384" h="431092">
                      <a:moveTo>
                        <a:pt x="459839" y="48111"/>
                      </a:moveTo>
                      <a:cubicBezTo>
                        <a:pt x="457162" y="50759"/>
                        <a:pt x="452933" y="55836"/>
                        <a:pt x="452457" y="59331"/>
                      </a:cubicBezTo>
                      <a:cubicBezTo>
                        <a:pt x="451523" y="66065"/>
                        <a:pt x="457886" y="72142"/>
                        <a:pt x="457810" y="78819"/>
                      </a:cubicBezTo>
                      <a:cubicBezTo>
                        <a:pt x="457733" y="84630"/>
                        <a:pt x="452161" y="88706"/>
                        <a:pt x="451876" y="93907"/>
                      </a:cubicBezTo>
                      <a:cubicBezTo>
                        <a:pt x="451628" y="98555"/>
                        <a:pt x="456524" y="106470"/>
                        <a:pt x="457962" y="111128"/>
                      </a:cubicBezTo>
                      <a:cubicBezTo>
                        <a:pt x="461839" y="123692"/>
                        <a:pt x="464334" y="134036"/>
                        <a:pt x="465706" y="147237"/>
                      </a:cubicBezTo>
                      <a:cubicBezTo>
                        <a:pt x="467144" y="161011"/>
                        <a:pt x="468535" y="174784"/>
                        <a:pt x="469907" y="188557"/>
                      </a:cubicBezTo>
                      <a:cubicBezTo>
                        <a:pt x="475669" y="246164"/>
                        <a:pt x="480879" y="303828"/>
                        <a:pt x="485508" y="361531"/>
                      </a:cubicBezTo>
                      <a:cubicBezTo>
                        <a:pt x="486766" y="377219"/>
                        <a:pt x="487994" y="392916"/>
                        <a:pt x="489156" y="408613"/>
                      </a:cubicBezTo>
                      <a:cubicBezTo>
                        <a:pt x="489795" y="417243"/>
                        <a:pt x="489661" y="415385"/>
                        <a:pt x="480974" y="415376"/>
                      </a:cubicBezTo>
                      <a:cubicBezTo>
                        <a:pt x="473698" y="415376"/>
                        <a:pt x="466430" y="415357"/>
                        <a:pt x="459153" y="415366"/>
                      </a:cubicBezTo>
                      <a:cubicBezTo>
                        <a:pt x="459524" y="420605"/>
                        <a:pt x="459886" y="425853"/>
                        <a:pt x="460258" y="431092"/>
                      </a:cubicBezTo>
                      <a:cubicBezTo>
                        <a:pt x="418881" y="410604"/>
                        <a:pt x="377428" y="390287"/>
                        <a:pt x="336042" y="369827"/>
                      </a:cubicBezTo>
                      <a:cubicBezTo>
                        <a:pt x="315344" y="359597"/>
                        <a:pt x="294647" y="349348"/>
                        <a:pt x="273996" y="339023"/>
                      </a:cubicBezTo>
                      <a:cubicBezTo>
                        <a:pt x="263309" y="333680"/>
                        <a:pt x="252584" y="328432"/>
                        <a:pt x="241926" y="323059"/>
                      </a:cubicBezTo>
                      <a:cubicBezTo>
                        <a:pt x="232905" y="318516"/>
                        <a:pt x="221075" y="309324"/>
                        <a:pt x="211207" y="307772"/>
                      </a:cubicBezTo>
                      <a:cubicBezTo>
                        <a:pt x="203121" y="306505"/>
                        <a:pt x="188290" y="316621"/>
                        <a:pt x="180318" y="320564"/>
                      </a:cubicBezTo>
                      <a:cubicBezTo>
                        <a:pt x="174488" y="323450"/>
                        <a:pt x="162030" y="333194"/>
                        <a:pt x="155715" y="331813"/>
                      </a:cubicBezTo>
                      <a:cubicBezTo>
                        <a:pt x="151790" y="330956"/>
                        <a:pt x="146190" y="323926"/>
                        <a:pt x="142742" y="321097"/>
                      </a:cubicBezTo>
                      <a:cubicBezTo>
                        <a:pt x="137732" y="316973"/>
                        <a:pt x="134179" y="315068"/>
                        <a:pt x="127864" y="313630"/>
                      </a:cubicBezTo>
                      <a:cubicBezTo>
                        <a:pt x="116339" y="311001"/>
                        <a:pt x="102146" y="309943"/>
                        <a:pt x="91354" y="305191"/>
                      </a:cubicBezTo>
                      <a:cubicBezTo>
                        <a:pt x="82830" y="301438"/>
                        <a:pt x="81591" y="289465"/>
                        <a:pt x="75238" y="282407"/>
                      </a:cubicBezTo>
                      <a:cubicBezTo>
                        <a:pt x="70333" y="276968"/>
                        <a:pt x="54502" y="271758"/>
                        <a:pt x="47035" y="272129"/>
                      </a:cubicBezTo>
                      <a:cubicBezTo>
                        <a:pt x="40767" y="272444"/>
                        <a:pt x="40319" y="275549"/>
                        <a:pt x="35062" y="270605"/>
                      </a:cubicBezTo>
                      <a:cubicBezTo>
                        <a:pt x="31461" y="267224"/>
                        <a:pt x="28642" y="260499"/>
                        <a:pt x="27527" y="255746"/>
                      </a:cubicBezTo>
                      <a:cubicBezTo>
                        <a:pt x="25822" y="248479"/>
                        <a:pt x="26327" y="247145"/>
                        <a:pt x="21565" y="240811"/>
                      </a:cubicBezTo>
                      <a:cubicBezTo>
                        <a:pt x="18145" y="236249"/>
                        <a:pt x="13916" y="231838"/>
                        <a:pt x="11125" y="226866"/>
                      </a:cubicBezTo>
                      <a:cubicBezTo>
                        <a:pt x="6677" y="218961"/>
                        <a:pt x="8763" y="217351"/>
                        <a:pt x="15716" y="212331"/>
                      </a:cubicBezTo>
                      <a:cubicBezTo>
                        <a:pt x="21660" y="208045"/>
                        <a:pt x="22374" y="205445"/>
                        <a:pt x="20393" y="198339"/>
                      </a:cubicBezTo>
                      <a:cubicBezTo>
                        <a:pt x="18717" y="192319"/>
                        <a:pt x="16145" y="188319"/>
                        <a:pt x="17183" y="181785"/>
                      </a:cubicBezTo>
                      <a:cubicBezTo>
                        <a:pt x="18260" y="175050"/>
                        <a:pt x="20450" y="171555"/>
                        <a:pt x="19517" y="164716"/>
                      </a:cubicBezTo>
                      <a:cubicBezTo>
                        <a:pt x="17879" y="152714"/>
                        <a:pt x="18831" y="139332"/>
                        <a:pt x="16221" y="127711"/>
                      </a:cubicBezTo>
                      <a:cubicBezTo>
                        <a:pt x="13449" y="115357"/>
                        <a:pt x="6496" y="106985"/>
                        <a:pt x="0" y="96603"/>
                      </a:cubicBezTo>
                      <a:cubicBezTo>
                        <a:pt x="9630" y="90202"/>
                        <a:pt x="21336" y="87935"/>
                        <a:pt x="25670" y="75571"/>
                      </a:cubicBezTo>
                      <a:cubicBezTo>
                        <a:pt x="29480" y="64684"/>
                        <a:pt x="16145" y="54988"/>
                        <a:pt x="27575" y="46406"/>
                      </a:cubicBezTo>
                      <a:cubicBezTo>
                        <a:pt x="28861" y="45444"/>
                        <a:pt x="30994" y="46139"/>
                        <a:pt x="32309" y="45025"/>
                      </a:cubicBezTo>
                      <a:cubicBezTo>
                        <a:pt x="33433" y="44072"/>
                        <a:pt x="33738" y="42367"/>
                        <a:pt x="34747" y="41491"/>
                      </a:cubicBezTo>
                      <a:cubicBezTo>
                        <a:pt x="36148" y="40262"/>
                        <a:pt x="37690" y="38414"/>
                        <a:pt x="39386" y="36928"/>
                      </a:cubicBezTo>
                      <a:cubicBezTo>
                        <a:pt x="43948" y="32947"/>
                        <a:pt x="49330" y="30166"/>
                        <a:pt x="54778" y="27270"/>
                      </a:cubicBezTo>
                      <a:cubicBezTo>
                        <a:pt x="62875" y="22974"/>
                        <a:pt x="60446" y="23555"/>
                        <a:pt x="58788" y="16421"/>
                      </a:cubicBezTo>
                      <a:cubicBezTo>
                        <a:pt x="57588" y="11258"/>
                        <a:pt x="58969" y="5162"/>
                        <a:pt x="59360" y="0"/>
                      </a:cubicBezTo>
                      <a:cubicBezTo>
                        <a:pt x="62798" y="1896"/>
                        <a:pt x="66628" y="2324"/>
                        <a:pt x="70190" y="3705"/>
                      </a:cubicBezTo>
                      <a:cubicBezTo>
                        <a:pt x="74829" y="5515"/>
                        <a:pt x="78810" y="9001"/>
                        <a:pt x="83591" y="10449"/>
                      </a:cubicBezTo>
                      <a:cubicBezTo>
                        <a:pt x="93164" y="13345"/>
                        <a:pt x="99203" y="9192"/>
                        <a:pt x="108328" y="8830"/>
                      </a:cubicBezTo>
                      <a:cubicBezTo>
                        <a:pt x="125397" y="8144"/>
                        <a:pt x="140380" y="19698"/>
                        <a:pt x="156486" y="22822"/>
                      </a:cubicBezTo>
                      <a:cubicBezTo>
                        <a:pt x="167345" y="24936"/>
                        <a:pt x="170383" y="25632"/>
                        <a:pt x="173574" y="36214"/>
                      </a:cubicBezTo>
                      <a:cubicBezTo>
                        <a:pt x="175956" y="44110"/>
                        <a:pt x="179346" y="51940"/>
                        <a:pt x="186881" y="56340"/>
                      </a:cubicBezTo>
                      <a:cubicBezTo>
                        <a:pt x="194605" y="60846"/>
                        <a:pt x="203378" y="61055"/>
                        <a:pt x="212017" y="61770"/>
                      </a:cubicBezTo>
                      <a:cubicBezTo>
                        <a:pt x="220742" y="62503"/>
                        <a:pt x="229171" y="64789"/>
                        <a:pt x="237544" y="67427"/>
                      </a:cubicBezTo>
                      <a:cubicBezTo>
                        <a:pt x="245193" y="69837"/>
                        <a:pt x="253613" y="72780"/>
                        <a:pt x="260461" y="76733"/>
                      </a:cubicBezTo>
                      <a:cubicBezTo>
                        <a:pt x="268272" y="81248"/>
                        <a:pt x="274034" y="89030"/>
                        <a:pt x="283178" y="91211"/>
                      </a:cubicBezTo>
                      <a:cubicBezTo>
                        <a:pt x="296799" y="94469"/>
                        <a:pt x="318030" y="78315"/>
                        <a:pt x="315249" y="63532"/>
                      </a:cubicBezTo>
                      <a:cubicBezTo>
                        <a:pt x="313792" y="55731"/>
                        <a:pt x="306991" y="50911"/>
                        <a:pt x="307172" y="42053"/>
                      </a:cubicBezTo>
                      <a:cubicBezTo>
                        <a:pt x="307353" y="34052"/>
                        <a:pt x="313011" y="27927"/>
                        <a:pt x="318888" y="23174"/>
                      </a:cubicBezTo>
                      <a:cubicBezTo>
                        <a:pt x="322640" y="20145"/>
                        <a:pt x="326803" y="18040"/>
                        <a:pt x="331070" y="15888"/>
                      </a:cubicBezTo>
                      <a:cubicBezTo>
                        <a:pt x="336461" y="13154"/>
                        <a:pt x="338642" y="13935"/>
                        <a:pt x="344214" y="12735"/>
                      </a:cubicBezTo>
                      <a:cubicBezTo>
                        <a:pt x="347986" y="11935"/>
                        <a:pt x="349911" y="8639"/>
                        <a:pt x="353225" y="7706"/>
                      </a:cubicBezTo>
                      <a:cubicBezTo>
                        <a:pt x="356292" y="6848"/>
                        <a:pt x="362331" y="8334"/>
                        <a:pt x="365579" y="8439"/>
                      </a:cubicBezTo>
                      <a:cubicBezTo>
                        <a:pt x="373399" y="8696"/>
                        <a:pt x="386067" y="12154"/>
                        <a:pt x="392906" y="16278"/>
                      </a:cubicBezTo>
                      <a:cubicBezTo>
                        <a:pt x="398212" y="19469"/>
                        <a:pt x="395611" y="20717"/>
                        <a:pt x="397869" y="25232"/>
                      </a:cubicBezTo>
                      <a:cubicBezTo>
                        <a:pt x="400174" y="29851"/>
                        <a:pt x="403803" y="30175"/>
                        <a:pt x="408708" y="31109"/>
                      </a:cubicBezTo>
                      <a:cubicBezTo>
                        <a:pt x="418986" y="33061"/>
                        <a:pt x="428158" y="37538"/>
                        <a:pt x="438655" y="37309"/>
                      </a:cubicBezTo>
                      <a:cubicBezTo>
                        <a:pt x="450447" y="37062"/>
                        <a:pt x="453085" y="38500"/>
                        <a:pt x="459839" y="48111"/>
                      </a:cubicBezTo>
                      <a:lnTo>
                        <a:pt x="459839" y="48111"/>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15" name="Freeform: Shape 614">
                  <a:extLst>
                    <a:ext uri="{FF2B5EF4-FFF2-40B4-BE49-F238E27FC236}">
                      <a16:creationId xmlns:a16="http://schemas.microsoft.com/office/drawing/2014/main" id="{A31D1EF6-DE65-4911-B26B-10561C0EE517}"/>
                    </a:ext>
                  </a:extLst>
                </p:cNvPr>
                <p:cNvSpPr/>
                <p:nvPr/>
              </p:nvSpPr>
              <p:spPr>
                <a:xfrm>
                  <a:off x="5232405" y="4096426"/>
                  <a:ext cx="128406" cy="131403"/>
                </a:xfrm>
                <a:custGeom>
                  <a:avLst/>
                  <a:gdLst>
                    <a:gd name="connsiteX0" fmla="*/ 95021 w 128406"/>
                    <a:gd name="connsiteY0" fmla="*/ 30372 h 131403"/>
                    <a:gd name="connsiteX1" fmla="*/ 100451 w 128406"/>
                    <a:gd name="connsiteY1" fmla="*/ 49041 h 131403"/>
                    <a:gd name="connsiteX2" fmla="*/ 91040 w 128406"/>
                    <a:gd name="connsiteY2" fmla="*/ 63462 h 131403"/>
                    <a:gd name="connsiteX3" fmla="*/ 98279 w 128406"/>
                    <a:gd name="connsiteY3" fmla="*/ 67434 h 131403"/>
                    <a:gd name="connsiteX4" fmla="*/ 109156 w 128406"/>
                    <a:gd name="connsiteY4" fmla="*/ 70263 h 131403"/>
                    <a:gd name="connsiteX5" fmla="*/ 116205 w 128406"/>
                    <a:gd name="connsiteY5" fmla="*/ 79255 h 131403"/>
                    <a:gd name="connsiteX6" fmla="*/ 126092 w 128406"/>
                    <a:gd name="connsiteY6" fmla="*/ 84341 h 131403"/>
                    <a:gd name="connsiteX7" fmla="*/ 125463 w 128406"/>
                    <a:gd name="connsiteY7" fmla="*/ 106810 h 131403"/>
                    <a:gd name="connsiteX8" fmla="*/ 123853 w 128406"/>
                    <a:gd name="connsiteY8" fmla="*/ 131404 h 131403"/>
                    <a:gd name="connsiteX9" fmla="*/ 90030 w 128406"/>
                    <a:gd name="connsiteY9" fmla="*/ 117783 h 131403"/>
                    <a:gd name="connsiteX10" fmla="*/ 57769 w 128406"/>
                    <a:gd name="connsiteY10" fmla="*/ 94638 h 131403"/>
                    <a:gd name="connsiteX11" fmla="*/ 27451 w 128406"/>
                    <a:gd name="connsiteY11" fmla="*/ 72444 h 131403"/>
                    <a:gd name="connsiteX12" fmla="*/ 15669 w 128406"/>
                    <a:gd name="connsiteY12" fmla="*/ 61919 h 131403"/>
                    <a:gd name="connsiteX13" fmla="*/ 0 w 128406"/>
                    <a:gd name="connsiteY13" fmla="*/ 50927 h 131403"/>
                    <a:gd name="connsiteX14" fmla="*/ 13440 w 128406"/>
                    <a:gd name="connsiteY14" fmla="*/ 35430 h 131403"/>
                    <a:gd name="connsiteX15" fmla="*/ 28175 w 128406"/>
                    <a:gd name="connsiteY15" fmla="*/ 20304 h 131403"/>
                    <a:gd name="connsiteX16" fmla="*/ 32595 w 128406"/>
                    <a:gd name="connsiteY16" fmla="*/ 12275 h 131403"/>
                    <a:gd name="connsiteX17" fmla="*/ 37967 w 128406"/>
                    <a:gd name="connsiteY17" fmla="*/ 6703 h 131403"/>
                    <a:gd name="connsiteX18" fmla="*/ 40595 w 128406"/>
                    <a:gd name="connsiteY18" fmla="*/ 1093 h 131403"/>
                    <a:gd name="connsiteX19" fmla="*/ 45863 w 128406"/>
                    <a:gd name="connsiteY19" fmla="*/ 2950 h 131403"/>
                    <a:gd name="connsiteX20" fmla="*/ 56169 w 128406"/>
                    <a:gd name="connsiteY20" fmla="*/ 2197 h 131403"/>
                    <a:gd name="connsiteX21" fmla="*/ 64618 w 128406"/>
                    <a:gd name="connsiteY21" fmla="*/ 15104 h 131403"/>
                    <a:gd name="connsiteX22" fmla="*/ 67380 w 128406"/>
                    <a:gd name="connsiteY22" fmla="*/ 25838 h 131403"/>
                    <a:gd name="connsiteX23" fmla="*/ 65903 w 128406"/>
                    <a:gd name="connsiteY23" fmla="*/ 35506 h 131403"/>
                    <a:gd name="connsiteX24" fmla="*/ 71352 w 128406"/>
                    <a:gd name="connsiteY24" fmla="*/ 36792 h 131403"/>
                    <a:gd name="connsiteX25" fmla="*/ 74723 w 128406"/>
                    <a:gd name="connsiteY25" fmla="*/ 40374 h 131403"/>
                    <a:gd name="connsiteX26" fmla="*/ 83363 w 128406"/>
                    <a:gd name="connsiteY26" fmla="*/ 37821 h 131403"/>
                    <a:gd name="connsiteX27" fmla="*/ 95021 w 128406"/>
                    <a:gd name="connsiteY27" fmla="*/ 30372 h 131403"/>
                    <a:gd name="connsiteX28" fmla="*/ 95021 w 128406"/>
                    <a:gd name="connsiteY28" fmla="*/ 30372 h 131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8406" h="131403">
                      <a:moveTo>
                        <a:pt x="95021" y="30372"/>
                      </a:moveTo>
                      <a:cubicBezTo>
                        <a:pt x="98927" y="33811"/>
                        <a:pt x="100879" y="44107"/>
                        <a:pt x="100451" y="49041"/>
                      </a:cubicBezTo>
                      <a:cubicBezTo>
                        <a:pt x="99869" y="55776"/>
                        <a:pt x="95802" y="58843"/>
                        <a:pt x="91040" y="63462"/>
                      </a:cubicBezTo>
                      <a:cubicBezTo>
                        <a:pt x="93907" y="64577"/>
                        <a:pt x="95717" y="66129"/>
                        <a:pt x="98279" y="67434"/>
                      </a:cubicBezTo>
                      <a:cubicBezTo>
                        <a:pt x="102175" y="69415"/>
                        <a:pt x="105442" y="68882"/>
                        <a:pt x="109156" y="70263"/>
                      </a:cubicBezTo>
                      <a:cubicBezTo>
                        <a:pt x="114786" y="72368"/>
                        <a:pt x="113128" y="75388"/>
                        <a:pt x="116205" y="79255"/>
                      </a:cubicBezTo>
                      <a:cubicBezTo>
                        <a:pt x="118700" y="82388"/>
                        <a:pt x="123501" y="81760"/>
                        <a:pt x="126092" y="84341"/>
                      </a:cubicBezTo>
                      <a:cubicBezTo>
                        <a:pt x="130464" y="88694"/>
                        <a:pt x="127702" y="101353"/>
                        <a:pt x="125463" y="106810"/>
                      </a:cubicBezTo>
                      <a:cubicBezTo>
                        <a:pt x="123091" y="112563"/>
                        <a:pt x="120024" y="124413"/>
                        <a:pt x="123853" y="131404"/>
                      </a:cubicBezTo>
                      <a:cubicBezTo>
                        <a:pt x="112795" y="130623"/>
                        <a:pt x="99726" y="122965"/>
                        <a:pt x="90030" y="117783"/>
                      </a:cubicBezTo>
                      <a:cubicBezTo>
                        <a:pt x="77295" y="110973"/>
                        <a:pt x="68208" y="104582"/>
                        <a:pt x="57769" y="94638"/>
                      </a:cubicBezTo>
                      <a:cubicBezTo>
                        <a:pt x="47777" y="85113"/>
                        <a:pt x="39500" y="78083"/>
                        <a:pt x="27451" y="72444"/>
                      </a:cubicBezTo>
                      <a:cubicBezTo>
                        <a:pt x="21879" y="69825"/>
                        <a:pt x="20983" y="65148"/>
                        <a:pt x="15669" y="61919"/>
                      </a:cubicBezTo>
                      <a:cubicBezTo>
                        <a:pt x="9201" y="57976"/>
                        <a:pt x="5420" y="56490"/>
                        <a:pt x="0" y="50927"/>
                      </a:cubicBezTo>
                      <a:cubicBezTo>
                        <a:pt x="5124" y="46689"/>
                        <a:pt x="7906" y="39812"/>
                        <a:pt x="13440" y="35430"/>
                      </a:cubicBezTo>
                      <a:cubicBezTo>
                        <a:pt x="19593" y="30534"/>
                        <a:pt x="24870" y="27143"/>
                        <a:pt x="28175" y="20304"/>
                      </a:cubicBezTo>
                      <a:cubicBezTo>
                        <a:pt x="29918" y="16704"/>
                        <a:pt x="30308" y="15047"/>
                        <a:pt x="32595" y="12275"/>
                      </a:cubicBezTo>
                      <a:cubicBezTo>
                        <a:pt x="34652" y="9779"/>
                        <a:pt x="35785" y="10532"/>
                        <a:pt x="37967" y="6703"/>
                      </a:cubicBezTo>
                      <a:cubicBezTo>
                        <a:pt x="39862" y="3369"/>
                        <a:pt x="37690" y="2388"/>
                        <a:pt x="40595" y="1093"/>
                      </a:cubicBezTo>
                      <a:cubicBezTo>
                        <a:pt x="43348" y="-136"/>
                        <a:pt x="45082" y="-117"/>
                        <a:pt x="45863" y="2950"/>
                      </a:cubicBezTo>
                      <a:cubicBezTo>
                        <a:pt x="49358" y="1750"/>
                        <a:pt x="55083" y="-2584"/>
                        <a:pt x="56169" y="2197"/>
                      </a:cubicBezTo>
                      <a:cubicBezTo>
                        <a:pt x="61674" y="-1041"/>
                        <a:pt x="63684" y="11265"/>
                        <a:pt x="64618" y="15104"/>
                      </a:cubicBezTo>
                      <a:cubicBezTo>
                        <a:pt x="65361" y="18190"/>
                        <a:pt x="67208" y="22819"/>
                        <a:pt x="67380" y="25838"/>
                      </a:cubicBezTo>
                      <a:cubicBezTo>
                        <a:pt x="67627" y="30210"/>
                        <a:pt x="63817" y="32992"/>
                        <a:pt x="65903" y="35506"/>
                      </a:cubicBezTo>
                      <a:cubicBezTo>
                        <a:pt x="65817" y="35402"/>
                        <a:pt x="70895" y="36564"/>
                        <a:pt x="71352" y="36792"/>
                      </a:cubicBezTo>
                      <a:cubicBezTo>
                        <a:pt x="72714" y="37478"/>
                        <a:pt x="73218" y="39897"/>
                        <a:pt x="74723" y="40374"/>
                      </a:cubicBezTo>
                      <a:cubicBezTo>
                        <a:pt x="77610" y="41288"/>
                        <a:pt x="81201" y="39783"/>
                        <a:pt x="83363" y="37821"/>
                      </a:cubicBezTo>
                      <a:cubicBezTo>
                        <a:pt x="88382" y="33230"/>
                        <a:pt x="87573" y="20600"/>
                        <a:pt x="95021" y="30372"/>
                      </a:cubicBezTo>
                      <a:lnTo>
                        <a:pt x="95021" y="30372"/>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16" name="Freeform: Shape 615">
                  <a:extLst>
                    <a:ext uri="{FF2B5EF4-FFF2-40B4-BE49-F238E27FC236}">
                      <a16:creationId xmlns:a16="http://schemas.microsoft.com/office/drawing/2014/main" id="{63645D82-A251-450C-90A1-E05C5C8FB483}"/>
                    </a:ext>
                  </a:extLst>
                </p:cNvPr>
                <p:cNvSpPr/>
                <p:nvPr/>
              </p:nvSpPr>
              <p:spPr>
                <a:xfrm>
                  <a:off x="6609863" y="3273554"/>
                  <a:ext cx="35576" cy="49370"/>
                </a:xfrm>
                <a:custGeom>
                  <a:avLst/>
                  <a:gdLst>
                    <a:gd name="connsiteX0" fmla="*/ 20127 w 35576"/>
                    <a:gd name="connsiteY0" fmla="*/ 38239 h 49370"/>
                    <a:gd name="connsiteX1" fmla="*/ 13468 w 35576"/>
                    <a:gd name="connsiteY1" fmla="*/ 44258 h 49370"/>
                    <a:gd name="connsiteX2" fmla="*/ 10411 w 35576"/>
                    <a:gd name="connsiteY2" fmla="*/ 48421 h 49370"/>
                    <a:gd name="connsiteX3" fmla="*/ 0 w 35576"/>
                    <a:gd name="connsiteY3" fmla="*/ 49202 h 49370"/>
                    <a:gd name="connsiteX4" fmla="*/ 7354 w 35576"/>
                    <a:gd name="connsiteY4" fmla="*/ 24132 h 49370"/>
                    <a:gd name="connsiteX5" fmla="*/ 9820 w 35576"/>
                    <a:gd name="connsiteY5" fmla="*/ 11588 h 49370"/>
                    <a:gd name="connsiteX6" fmla="*/ 16602 w 35576"/>
                    <a:gd name="connsiteY6" fmla="*/ 519 h 49370"/>
                    <a:gd name="connsiteX7" fmla="*/ 27490 w 35576"/>
                    <a:gd name="connsiteY7" fmla="*/ 4606 h 49370"/>
                    <a:gd name="connsiteX8" fmla="*/ 34557 w 35576"/>
                    <a:gd name="connsiteY8" fmla="*/ 17331 h 49370"/>
                    <a:gd name="connsiteX9" fmla="*/ 32204 w 35576"/>
                    <a:gd name="connsiteY9" fmla="*/ 25408 h 49370"/>
                    <a:gd name="connsiteX10" fmla="*/ 21165 w 35576"/>
                    <a:gd name="connsiteY10" fmla="*/ 29790 h 49370"/>
                    <a:gd name="connsiteX11" fmla="*/ 23842 w 35576"/>
                    <a:gd name="connsiteY11" fmla="*/ 34124 h 49370"/>
                    <a:gd name="connsiteX12" fmla="*/ 20127 w 35576"/>
                    <a:gd name="connsiteY12" fmla="*/ 38239 h 49370"/>
                    <a:gd name="connsiteX13" fmla="*/ 20127 w 35576"/>
                    <a:gd name="connsiteY13" fmla="*/ 38239 h 49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576" h="49370">
                      <a:moveTo>
                        <a:pt x="20127" y="38239"/>
                      </a:moveTo>
                      <a:cubicBezTo>
                        <a:pt x="18031" y="40420"/>
                        <a:pt x="15383" y="42096"/>
                        <a:pt x="13468" y="44258"/>
                      </a:cubicBezTo>
                      <a:cubicBezTo>
                        <a:pt x="9783" y="42134"/>
                        <a:pt x="12725" y="47068"/>
                        <a:pt x="10411" y="48421"/>
                      </a:cubicBezTo>
                      <a:cubicBezTo>
                        <a:pt x="7306" y="50221"/>
                        <a:pt x="3563" y="48840"/>
                        <a:pt x="0" y="49202"/>
                      </a:cubicBezTo>
                      <a:cubicBezTo>
                        <a:pt x="3410" y="41410"/>
                        <a:pt x="5115" y="32381"/>
                        <a:pt x="7354" y="24132"/>
                      </a:cubicBezTo>
                      <a:cubicBezTo>
                        <a:pt x="8458" y="20065"/>
                        <a:pt x="8534" y="15331"/>
                        <a:pt x="9820" y="11588"/>
                      </a:cubicBezTo>
                      <a:cubicBezTo>
                        <a:pt x="11297" y="7282"/>
                        <a:pt x="18288" y="5091"/>
                        <a:pt x="16602" y="519"/>
                      </a:cubicBezTo>
                      <a:cubicBezTo>
                        <a:pt x="20060" y="596"/>
                        <a:pt x="34862" y="-2243"/>
                        <a:pt x="27490" y="4606"/>
                      </a:cubicBezTo>
                      <a:cubicBezTo>
                        <a:pt x="34128" y="4834"/>
                        <a:pt x="37376" y="12150"/>
                        <a:pt x="34557" y="17331"/>
                      </a:cubicBezTo>
                      <a:cubicBezTo>
                        <a:pt x="33119" y="19979"/>
                        <a:pt x="25022" y="22846"/>
                        <a:pt x="32204" y="25408"/>
                      </a:cubicBezTo>
                      <a:cubicBezTo>
                        <a:pt x="27975" y="25580"/>
                        <a:pt x="22746" y="24361"/>
                        <a:pt x="21165" y="29790"/>
                      </a:cubicBezTo>
                      <a:cubicBezTo>
                        <a:pt x="20374" y="32523"/>
                        <a:pt x="24308" y="32000"/>
                        <a:pt x="23842" y="34124"/>
                      </a:cubicBezTo>
                      <a:cubicBezTo>
                        <a:pt x="23708" y="34695"/>
                        <a:pt x="20660" y="37438"/>
                        <a:pt x="20127" y="38239"/>
                      </a:cubicBezTo>
                      <a:lnTo>
                        <a:pt x="20127" y="38239"/>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17" name="Freeform: Shape 616">
                  <a:extLst>
                    <a:ext uri="{FF2B5EF4-FFF2-40B4-BE49-F238E27FC236}">
                      <a16:creationId xmlns:a16="http://schemas.microsoft.com/office/drawing/2014/main" id="{91A94250-E0FE-4B10-8A6C-5FF88AAA49BC}"/>
                    </a:ext>
                  </a:extLst>
                </p:cNvPr>
                <p:cNvSpPr/>
                <p:nvPr/>
              </p:nvSpPr>
              <p:spPr>
                <a:xfrm>
                  <a:off x="8648306" y="3656217"/>
                  <a:ext cx="276524" cy="270718"/>
                </a:xfrm>
                <a:custGeom>
                  <a:avLst/>
                  <a:gdLst>
                    <a:gd name="connsiteX0" fmla="*/ 41150 w 276524"/>
                    <a:gd name="connsiteY0" fmla="*/ 3724 h 270718"/>
                    <a:gd name="connsiteX1" fmla="*/ 59991 w 276524"/>
                    <a:gd name="connsiteY1" fmla="*/ 18678 h 270718"/>
                    <a:gd name="connsiteX2" fmla="*/ 68106 w 276524"/>
                    <a:gd name="connsiteY2" fmla="*/ 21735 h 270718"/>
                    <a:gd name="connsiteX3" fmla="*/ 74136 w 276524"/>
                    <a:gd name="connsiteY3" fmla="*/ 27012 h 270718"/>
                    <a:gd name="connsiteX4" fmla="*/ 74745 w 276524"/>
                    <a:gd name="connsiteY4" fmla="*/ 37661 h 270718"/>
                    <a:gd name="connsiteX5" fmla="*/ 98377 w 276524"/>
                    <a:gd name="connsiteY5" fmla="*/ 54101 h 270718"/>
                    <a:gd name="connsiteX6" fmla="*/ 109178 w 276524"/>
                    <a:gd name="connsiteY6" fmla="*/ 52349 h 270718"/>
                    <a:gd name="connsiteX7" fmla="*/ 121170 w 276524"/>
                    <a:gd name="connsiteY7" fmla="*/ 50834 h 270718"/>
                    <a:gd name="connsiteX8" fmla="*/ 133858 w 276524"/>
                    <a:gd name="connsiteY8" fmla="*/ 58292 h 270718"/>
                    <a:gd name="connsiteX9" fmla="*/ 129352 w 276524"/>
                    <a:gd name="connsiteY9" fmla="*/ 64760 h 270718"/>
                    <a:gd name="connsiteX10" fmla="*/ 137639 w 276524"/>
                    <a:gd name="connsiteY10" fmla="*/ 66874 h 270718"/>
                    <a:gd name="connsiteX11" fmla="*/ 141591 w 276524"/>
                    <a:gd name="connsiteY11" fmla="*/ 72046 h 270718"/>
                    <a:gd name="connsiteX12" fmla="*/ 147983 w 276524"/>
                    <a:gd name="connsiteY12" fmla="*/ 73351 h 270718"/>
                    <a:gd name="connsiteX13" fmla="*/ 148335 w 276524"/>
                    <a:gd name="connsiteY13" fmla="*/ 81705 h 270718"/>
                    <a:gd name="connsiteX14" fmla="*/ 135991 w 276524"/>
                    <a:gd name="connsiteY14" fmla="*/ 89210 h 270718"/>
                    <a:gd name="connsiteX15" fmla="*/ 127552 w 276524"/>
                    <a:gd name="connsiteY15" fmla="*/ 88791 h 270718"/>
                    <a:gd name="connsiteX16" fmla="*/ 129181 w 276524"/>
                    <a:gd name="connsiteY16" fmla="*/ 94344 h 270718"/>
                    <a:gd name="connsiteX17" fmla="*/ 131848 w 276524"/>
                    <a:gd name="connsiteY17" fmla="*/ 103469 h 270718"/>
                    <a:gd name="connsiteX18" fmla="*/ 152145 w 276524"/>
                    <a:gd name="connsiteY18" fmla="*/ 114575 h 270718"/>
                    <a:gd name="connsiteX19" fmla="*/ 170509 w 276524"/>
                    <a:gd name="connsiteY19" fmla="*/ 121443 h 270718"/>
                    <a:gd name="connsiteX20" fmla="*/ 170205 w 276524"/>
                    <a:gd name="connsiteY20" fmla="*/ 126748 h 270718"/>
                    <a:gd name="connsiteX21" fmla="*/ 176710 w 276524"/>
                    <a:gd name="connsiteY21" fmla="*/ 133187 h 270718"/>
                    <a:gd name="connsiteX22" fmla="*/ 190941 w 276524"/>
                    <a:gd name="connsiteY22" fmla="*/ 144274 h 270718"/>
                    <a:gd name="connsiteX23" fmla="*/ 206314 w 276524"/>
                    <a:gd name="connsiteY23" fmla="*/ 158790 h 270718"/>
                    <a:gd name="connsiteX24" fmla="*/ 223125 w 276524"/>
                    <a:gd name="connsiteY24" fmla="*/ 171649 h 270718"/>
                    <a:gd name="connsiteX25" fmla="*/ 232079 w 276524"/>
                    <a:gd name="connsiteY25" fmla="*/ 184984 h 270718"/>
                    <a:gd name="connsiteX26" fmla="*/ 237347 w 276524"/>
                    <a:gd name="connsiteY26" fmla="*/ 190194 h 270718"/>
                    <a:gd name="connsiteX27" fmla="*/ 241947 w 276524"/>
                    <a:gd name="connsiteY27" fmla="*/ 188928 h 270718"/>
                    <a:gd name="connsiteX28" fmla="*/ 248005 w 276524"/>
                    <a:gd name="connsiteY28" fmla="*/ 194833 h 270718"/>
                    <a:gd name="connsiteX29" fmla="*/ 256834 w 276524"/>
                    <a:gd name="connsiteY29" fmla="*/ 200796 h 270718"/>
                    <a:gd name="connsiteX30" fmla="*/ 262969 w 276524"/>
                    <a:gd name="connsiteY30" fmla="*/ 204368 h 270718"/>
                    <a:gd name="connsiteX31" fmla="*/ 257701 w 276524"/>
                    <a:gd name="connsiteY31" fmla="*/ 209721 h 270718"/>
                    <a:gd name="connsiteX32" fmla="*/ 269446 w 276524"/>
                    <a:gd name="connsiteY32" fmla="*/ 221770 h 270718"/>
                    <a:gd name="connsiteX33" fmla="*/ 276523 w 276524"/>
                    <a:gd name="connsiteY33" fmla="*/ 229666 h 270718"/>
                    <a:gd name="connsiteX34" fmla="*/ 273418 w 276524"/>
                    <a:gd name="connsiteY34" fmla="*/ 236467 h 270718"/>
                    <a:gd name="connsiteX35" fmla="*/ 276170 w 276524"/>
                    <a:gd name="connsiteY35" fmla="*/ 243696 h 270718"/>
                    <a:gd name="connsiteX36" fmla="*/ 272732 w 276524"/>
                    <a:gd name="connsiteY36" fmla="*/ 249859 h 270718"/>
                    <a:gd name="connsiteX37" fmla="*/ 269427 w 276524"/>
                    <a:gd name="connsiteY37" fmla="*/ 250202 h 270718"/>
                    <a:gd name="connsiteX38" fmla="*/ 265693 w 276524"/>
                    <a:gd name="connsiteY38" fmla="*/ 254593 h 270718"/>
                    <a:gd name="connsiteX39" fmla="*/ 261073 w 276524"/>
                    <a:gd name="connsiteY39" fmla="*/ 257317 h 270718"/>
                    <a:gd name="connsiteX40" fmla="*/ 246062 w 276524"/>
                    <a:gd name="connsiteY40" fmla="*/ 249430 h 270718"/>
                    <a:gd name="connsiteX41" fmla="*/ 238270 w 276524"/>
                    <a:gd name="connsiteY41" fmla="*/ 252650 h 270718"/>
                    <a:gd name="connsiteX42" fmla="*/ 231593 w 276524"/>
                    <a:gd name="connsiteY42" fmla="*/ 256841 h 270718"/>
                    <a:gd name="connsiteX43" fmla="*/ 237556 w 276524"/>
                    <a:gd name="connsiteY43" fmla="*/ 269061 h 270718"/>
                    <a:gd name="connsiteX44" fmla="*/ 226021 w 276524"/>
                    <a:gd name="connsiteY44" fmla="*/ 264994 h 270718"/>
                    <a:gd name="connsiteX45" fmla="*/ 206971 w 276524"/>
                    <a:gd name="connsiteY45" fmla="*/ 256965 h 270718"/>
                    <a:gd name="connsiteX46" fmla="*/ 214763 w 276524"/>
                    <a:gd name="connsiteY46" fmla="*/ 250021 h 270718"/>
                    <a:gd name="connsiteX47" fmla="*/ 213534 w 276524"/>
                    <a:gd name="connsiteY47" fmla="*/ 237334 h 270718"/>
                    <a:gd name="connsiteX48" fmla="*/ 209610 w 276524"/>
                    <a:gd name="connsiteY48" fmla="*/ 225389 h 270718"/>
                    <a:gd name="connsiteX49" fmla="*/ 210781 w 276524"/>
                    <a:gd name="connsiteY49" fmla="*/ 214817 h 270718"/>
                    <a:gd name="connsiteX50" fmla="*/ 201771 w 276524"/>
                    <a:gd name="connsiteY50" fmla="*/ 209073 h 270718"/>
                    <a:gd name="connsiteX51" fmla="*/ 201361 w 276524"/>
                    <a:gd name="connsiteY51" fmla="*/ 205053 h 270718"/>
                    <a:gd name="connsiteX52" fmla="*/ 193027 w 276524"/>
                    <a:gd name="connsiteY52" fmla="*/ 201834 h 270718"/>
                    <a:gd name="connsiteX53" fmla="*/ 174377 w 276524"/>
                    <a:gd name="connsiteY53" fmla="*/ 179422 h 270718"/>
                    <a:gd name="connsiteX54" fmla="*/ 172310 w 276524"/>
                    <a:gd name="connsiteY54" fmla="*/ 163696 h 270718"/>
                    <a:gd name="connsiteX55" fmla="*/ 161118 w 276524"/>
                    <a:gd name="connsiteY55" fmla="*/ 153952 h 270718"/>
                    <a:gd name="connsiteX56" fmla="*/ 138696 w 276524"/>
                    <a:gd name="connsiteY56" fmla="*/ 133216 h 270718"/>
                    <a:gd name="connsiteX57" fmla="*/ 123970 w 276524"/>
                    <a:gd name="connsiteY57" fmla="*/ 129044 h 270718"/>
                    <a:gd name="connsiteX58" fmla="*/ 116779 w 276524"/>
                    <a:gd name="connsiteY58" fmla="*/ 128549 h 270718"/>
                    <a:gd name="connsiteX59" fmla="*/ 115331 w 276524"/>
                    <a:gd name="connsiteY59" fmla="*/ 131254 h 270718"/>
                    <a:gd name="connsiteX60" fmla="*/ 111330 w 276524"/>
                    <a:gd name="connsiteY60" fmla="*/ 141093 h 270718"/>
                    <a:gd name="connsiteX61" fmla="*/ 102082 w 276524"/>
                    <a:gd name="connsiteY61" fmla="*/ 147199 h 270718"/>
                    <a:gd name="connsiteX62" fmla="*/ 96938 w 276524"/>
                    <a:gd name="connsiteY62" fmla="*/ 142760 h 270718"/>
                    <a:gd name="connsiteX63" fmla="*/ 85490 w 276524"/>
                    <a:gd name="connsiteY63" fmla="*/ 136950 h 270718"/>
                    <a:gd name="connsiteX64" fmla="*/ 76869 w 276524"/>
                    <a:gd name="connsiteY64" fmla="*/ 139341 h 270718"/>
                    <a:gd name="connsiteX65" fmla="*/ 72993 w 276524"/>
                    <a:gd name="connsiteY65" fmla="*/ 140083 h 270718"/>
                    <a:gd name="connsiteX66" fmla="*/ 71288 w 276524"/>
                    <a:gd name="connsiteY66" fmla="*/ 144655 h 270718"/>
                    <a:gd name="connsiteX67" fmla="*/ 54486 w 276524"/>
                    <a:gd name="connsiteY67" fmla="*/ 157066 h 270718"/>
                    <a:gd name="connsiteX68" fmla="*/ 51114 w 276524"/>
                    <a:gd name="connsiteY68" fmla="*/ 133654 h 270718"/>
                    <a:gd name="connsiteX69" fmla="*/ 46589 w 276524"/>
                    <a:gd name="connsiteY69" fmla="*/ 126872 h 270718"/>
                    <a:gd name="connsiteX70" fmla="*/ 48809 w 276524"/>
                    <a:gd name="connsiteY70" fmla="*/ 115776 h 270718"/>
                    <a:gd name="connsiteX71" fmla="*/ 45837 w 276524"/>
                    <a:gd name="connsiteY71" fmla="*/ 104488 h 270718"/>
                    <a:gd name="connsiteX72" fmla="*/ 41055 w 276524"/>
                    <a:gd name="connsiteY72" fmla="*/ 92630 h 270718"/>
                    <a:gd name="connsiteX73" fmla="*/ 21177 w 276524"/>
                    <a:gd name="connsiteY73" fmla="*/ 93173 h 270718"/>
                    <a:gd name="connsiteX74" fmla="*/ 14471 w 276524"/>
                    <a:gd name="connsiteY74" fmla="*/ 73027 h 270718"/>
                    <a:gd name="connsiteX75" fmla="*/ 5584 w 276524"/>
                    <a:gd name="connsiteY75" fmla="*/ 66617 h 270718"/>
                    <a:gd name="connsiteX76" fmla="*/ 1193 w 276524"/>
                    <a:gd name="connsiteY76" fmla="*/ 69589 h 270718"/>
                    <a:gd name="connsiteX77" fmla="*/ 822 w 276524"/>
                    <a:gd name="connsiteY77" fmla="*/ 56216 h 270718"/>
                    <a:gd name="connsiteX78" fmla="*/ 11013 w 276524"/>
                    <a:gd name="connsiteY78" fmla="*/ 51577 h 270718"/>
                    <a:gd name="connsiteX79" fmla="*/ 9461 w 276524"/>
                    <a:gd name="connsiteY79" fmla="*/ 42557 h 270718"/>
                    <a:gd name="connsiteX80" fmla="*/ 12462 w 276524"/>
                    <a:gd name="connsiteY80" fmla="*/ 37252 h 270718"/>
                    <a:gd name="connsiteX81" fmla="*/ 19605 w 276524"/>
                    <a:gd name="connsiteY81" fmla="*/ 29279 h 270718"/>
                    <a:gd name="connsiteX82" fmla="*/ 24996 w 276524"/>
                    <a:gd name="connsiteY82" fmla="*/ 38814 h 270718"/>
                    <a:gd name="connsiteX83" fmla="*/ 36045 w 276524"/>
                    <a:gd name="connsiteY83" fmla="*/ 40252 h 270718"/>
                    <a:gd name="connsiteX84" fmla="*/ 43332 w 276524"/>
                    <a:gd name="connsiteY84" fmla="*/ 40442 h 270718"/>
                    <a:gd name="connsiteX85" fmla="*/ 37855 w 276524"/>
                    <a:gd name="connsiteY85" fmla="*/ 28622 h 270718"/>
                    <a:gd name="connsiteX86" fmla="*/ 24720 w 276524"/>
                    <a:gd name="connsiteY86" fmla="*/ 7295 h 270718"/>
                    <a:gd name="connsiteX87" fmla="*/ 28101 w 276524"/>
                    <a:gd name="connsiteY87" fmla="*/ 37 h 270718"/>
                    <a:gd name="connsiteX88" fmla="*/ 31445 w 276524"/>
                    <a:gd name="connsiteY88" fmla="*/ 2581 h 270718"/>
                    <a:gd name="connsiteX89" fmla="*/ 34969 w 276524"/>
                    <a:gd name="connsiteY89" fmla="*/ 1799 h 270718"/>
                    <a:gd name="connsiteX90" fmla="*/ 41150 w 276524"/>
                    <a:gd name="connsiteY90" fmla="*/ 3724 h 270718"/>
                    <a:gd name="connsiteX91" fmla="*/ 41150 w 276524"/>
                    <a:gd name="connsiteY91" fmla="*/ 3724 h 270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276524" h="270718">
                      <a:moveTo>
                        <a:pt x="41150" y="3724"/>
                      </a:moveTo>
                      <a:cubicBezTo>
                        <a:pt x="46027" y="10105"/>
                        <a:pt x="54695" y="13125"/>
                        <a:pt x="59991" y="18678"/>
                      </a:cubicBezTo>
                      <a:cubicBezTo>
                        <a:pt x="61667" y="20440"/>
                        <a:pt x="69221" y="32108"/>
                        <a:pt x="68106" y="21735"/>
                      </a:cubicBezTo>
                      <a:cubicBezTo>
                        <a:pt x="69878" y="24155"/>
                        <a:pt x="72945" y="24355"/>
                        <a:pt x="74136" y="27012"/>
                      </a:cubicBezTo>
                      <a:cubicBezTo>
                        <a:pt x="75526" y="30089"/>
                        <a:pt x="73507" y="34213"/>
                        <a:pt x="74745" y="37661"/>
                      </a:cubicBezTo>
                      <a:cubicBezTo>
                        <a:pt x="78517" y="48139"/>
                        <a:pt x="89080" y="51015"/>
                        <a:pt x="98377" y="54101"/>
                      </a:cubicBezTo>
                      <a:cubicBezTo>
                        <a:pt x="105873" y="56587"/>
                        <a:pt x="103634" y="56482"/>
                        <a:pt x="109178" y="52349"/>
                      </a:cubicBezTo>
                      <a:cubicBezTo>
                        <a:pt x="113998" y="48758"/>
                        <a:pt x="115845" y="48615"/>
                        <a:pt x="121170" y="50834"/>
                      </a:cubicBezTo>
                      <a:cubicBezTo>
                        <a:pt x="123266" y="51710"/>
                        <a:pt x="133276" y="56178"/>
                        <a:pt x="133858" y="58292"/>
                      </a:cubicBezTo>
                      <a:cubicBezTo>
                        <a:pt x="134601" y="60997"/>
                        <a:pt x="130886" y="62874"/>
                        <a:pt x="129352" y="64760"/>
                      </a:cubicBezTo>
                      <a:cubicBezTo>
                        <a:pt x="131714" y="65331"/>
                        <a:pt x="135534" y="65522"/>
                        <a:pt x="137639" y="66874"/>
                      </a:cubicBezTo>
                      <a:cubicBezTo>
                        <a:pt x="139639" y="68151"/>
                        <a:pt x="139725" y="70846"/>
                        <a:pt x="141591" y="72046"/>
                      </a:cubicBezTo>
                      <a:cubicBezTo>
                        <a:pt x="143354" y="73170"/>
                        <a:pt x="145830" y="71589"/>
                        <a:pt x="147983" y="73351"/>
                      </a:cubicBezTo>
                      <a:cubicBezTo>
                        <a:pt x="152031" y="76694"/>
                        <a:pt x="149402" y="78171"/>
                        <a:pt x="148335" y="81705"/>
                      </a:cubicBezTo>
                      <a:cubicBezTo>
                        <a:pt x="145668" y="90553"/>
                        <a:pt x="145145" y="90677"/>
                        <a:pt x="135991" y="89210"/>
                      </a:cubicBezTo>
                      <a:cubicBezTo>
                        <a:pt x="134429" y="88963"/>
                        <a:pt x="128866" y="87524"/>
                        <a:pt x="127552" y="88791"/>
                      </a:cubicBezTo>
                      <a:cubicBezTo>
                        <a:pt x="125142" y="91106"/>
                        <a:pt x="129504" y="91049"/>
                        <a:pt x="129181" y="94344"/>
                      </a:cubicBezTo>
                      <a:cubicBezTo>
                        <a:pt x="128466" y="101412"/>
                        <a:pt x="122523" y="98935"/>
                        <a:pt x="131848" y="103469"/>
                      </a:cubicBezTo>
                      <a:cubicBezTo>
                        <a:pt x="138772" y="106832"/>
                        <a:pt x="145278" y="111127"/>
                        <a:pt x="152145" y="114575"/>
                      </a:cubicBezTo>
                      <a:cubicBezTo>
                        <a:pt x="156793" y="116919"/>
                        <a:pt x="167604" y="117090"/>
                        <a:pt x="170509" y="121443"/>
                      </a:cubicBezTo>
                      <a:cubicBezTo>
                        <a:pt x="171348" y="122691"/>
                        <a:pt x="169500" y="125101"/>
                        <a:pt x="170205" y="126748"/>
                      </a:cubicBezTo>
                      <a:cubicBezTo>
                        <a:pt x="171329" y="129377"/>
                        <a:pt x="174339" y="131625"/>
                        <a:pt x="176710" y="133187"/>
                      </a:cubicBezTo>
                      <a:cubicBezTo>
                        <a:pt x="182520" y="137026"/>
                        <a:pt x="186511" y="138550"/>
                        <a:pt x="190941" y="144274"/>
                      </a:cubicBezTo>
                      <a:cubicBezTo>
                        <a:pt x="195332" y="149961"/>
                        <a:pt x="200542" y="154438"/>
                        <a:pt x="206314" y="158790"/>
                      </a:cubicBezTo>
                      <a:cubicBezTo>
                        <a:pt x="212115" y="163153"/>
                        <a:pt x="217830" y="166658"/>
                        <a:pt x="223125" y="171649"/>
                      </a:cubicBezTo>
                      <a:cubicBezTo>
                        <a:pt x="227688" y="175945"/>
                        <a:pt x="228631" y="179917"/>
                        <a:pt x="232079" y="184984"/>
                      </a:cubicBezTo>
                      <a:cubicBezTo>
                        <a:pt x="232936" y="186232"/>
                        <a:pt x="235813" y="189604"/>
                        <a:pt x="237347" y="190194"/>
                      </a:cubicBezTo>
                      <a:cubicBezTo>
                        <a:pt x="239813" y="191156"/>
                        <a:pt x="239813" y="187928"/>
                        <a:pt x="241947" y="188928"/>
                      </a:cubicBezTo>
                      <a:cubicBezTo>
                        <a:pt x="243185" y="189509"/>
                        <a:pt x="246452" y="193661"/>
                        <a:pt x="248005" y="194833"/>
                      </a:cubicBezTo>
                      <a:cubicBezTo>
                        <a:pt x="250691" y="196852"/>
                        <a:pt x="253929" y="198996"/>
                        <a:pt x="256834" y="200796"/>
                      </a:cubicBezTo>
                      <a:cubicBezTo>
                        <a:pt x="258263" y="201682"/>
                        <a:pt x="262483" y="202510"/>
                        <a:pt x="262969" y="204368"/>
                      </a:cubicBezTo>
                      <a:cubicBezTo>
                        <a:pt x="263978" y="208330"/>
                        <a:pt x="258549" y="206987"/>
                        <a:pt x="257701" y="209721"/>
                      </a:cubicBezTo>
                      <a:cubicBezTo>
                        <a:pt x="256282" y="214321"/>
                        <a:pt x="266283" y="219465"/>
                        <a:pt x="269446" y="221770"/>
                      </a:cubicBezTo>
                      <a:cubicBezTo>
                        <a:pt x="272332" y="223865"/>
                        <a:pt x="276399" y="225780"/>
                        <a:pt x="276523" y="229666"/>
                      </a:cubicBezTo>
                      <a:cubicBezTo>
                        <a:pt x="276609" y="232495"/>
                        <a:pt x="273522" y="234371"/>
                        <a:pt x="273418" y="236467"/>
                      </a:cubicBezTo>
                      <a:cubicBezTo>
                        <a:pt x="273322" y="238486"/>
                        <a:pt x="275999" y="241229"/>
                        <a:pt x="276170" y="243696"/>
                      </a:cubicBezTo>
                      <a:cubicBezTo>
                        <a:pt x="276399" y="247116"/>
                        <a:pt x="274428" y="248478"/>
                        <a:pt x="272732" y="249859"/>
                      </a:cubicBezTo>
                      <a:cubicBezTo>
                        <a:pt x="272875" y="249745"/>
                        <a:pt x="270074" y="249840"/>
                        <a:pt x="269427" y="250202"/>
                      </a:cubicBezTo>
                      <a:cubicBezTo>
                        <a:pt x="268436" y="250764"/>
                        <a:pt x="266674" y="253764"/>
                        <a:pt x="265693" y="254593"/>
                      </a:cubicBezTo>
                      <a:cubicBezTo>
                        <a:pt x="266407" y="253993"/>
                        <a:pt x="259730" y="257450"/>
                        <a:pt x="261073" y="257317"/>
                      </a:cubicBezTo>
                      <a:cubicBezTo>
                        <a:pt x="256015" y="257831"/>
                        <a:pt x="249672" y="253298"/>
                        <a:pt x="246062" y="249430"/>
                      </a:cubicBezTo>
                      <a:cubicBezTo>
                        <a:pt x="244690" y="252755"/>
                        <a:pt x="241547" y="254060"/>
                        <a:pt x="238270" y="252650"/>
                      </a:cubicBezTo>
                      <a:cubicBezTo>
                        <a:pt x="238347" y="256888"/>
                        <a:pt x="234813" y="256165"/>
                        <a:pt x="231593" y="256841"/>
                      </a:cubicBezTo>
                      <a:cubicBezTo>
                        <a:pt x="233241" y="260108"/>
                        <a:pt x="240204" y="265013"/>
                        <a:pt x="237556" y="269061"/>
                      </a:cubicBezTo>
                      <a:cubicBezTo>
                        <a:pt x="234346" y="273948"/>
                        <a:pt x="228936" y="266633"/>
                        <a:pt x="226021" y="264994"/>
                      </a:cubicBezTo>
                      <a:cubicBezTo>
                        <a:pt x="222783" y="263166"/>
                        <a:pt x="205390" y="265509"/>
                        <a:pt x="206971" y="256965"/>
                      </a:cubicBezTo>
                      <a:cubicBezTo>
                        <a:pt x="207276" y="255317"/>
                        <a:pt x="213763" y="253202"/>
                        <a:pt x="214763" y="250021"/>
                      </a:cubicBezTo>
                      <a:cubicBezTo>
                        <a:pt x="215601" y="247344"/>
                        <a:pt x="214277" y="240020"/>
                        <a:pt x="213534" y="237334"/>
                      </a:cubicBezTo>
                      <a:cubicBezTo>
                        <a:pt x="212353" y="233057"/>
                        <a:pt x="209209" y="230219"/>
                        <a:pt x="209610" y="225389"/>
                      </a:cubicBezTo>
                      <a:cubicBezTo>
                        <a:pt x="209895" y="222008"/>
                        <a:pt x="213600" y="218941"/>
                        <a:pt x="210781" y="214817"/>
                      </a:cubicBezTo>
                      <a:cubicBezTo>
                        <a:pt x="208829" y="211940"/>
                        <a:pt x="204209" y="211692"/>
                        <a:pt x="201771" y="209073"/>
                      </a:cubicBezTo>
                      <a:cubicBezTo>
                        <a:pt x="200847" y="208082"/>
                        <a:pt x="201504" y="205187"/>
                        <a:pt x="201361" y="205053"/>
                      </a:cubicBezTo>
                      <a:cubicBezTo>
                        <a:pt x="199151" y="202863"/>
                        <a:pt x="195589" y="203215"/>
                        <a:pt x="193027" y="201834"/>
                      </a:cubicBezTo>
                      <a:cubicBezTo>
                        <a:pt x="185054" y="197538"/>
                        <a:pt x="177082" y="188194"/>
                        <a:pt x="174377" y="179422"/>
                      </a:cubicBezTo>
                      <a:cubicBezTo>
                        <a:pt x="172834" y="174421"/>
                        <a:pt x="173891" y="168306"/>
                        <a:pt x="172310" y="163696"/>
                      </a:cubicBezTo>
                      <a:cubicBezTo>
                        <a:pt x="170529" y="158486"/>
                        <a:pt x="165156" y="156609"/>
                        <a:pt x="161118" y="153952"/>
                      </a:cubicBezTo>
                      <a:cubicBezTo>
                        <a:pt x="152726" y="148418"/>
                        <a:pt x="147088" y="137997"/>
                        <a:pt x="138696" y="133216"/>
                      </a:cubicBezTo>
                      <a:cubicBezTo>
                        <a:pt x="135477" y="131387"/>
                        <a:pt x="128447" y="129939"/>
                        <a:pt x="123970" y="129044"/>
                      </a:cubicBezTo>
                      <a:cubicBezTo>
                        <a:pt x="121970" y="128644"/>
                        <a:pt x="118789" y="127568"/>
                        <a:pt x="116779" y="128549"/>
                      </a:cubicBezTo>
                      <a:cubicBezTo>
                        <a:pt x="114579" y="129615"/>
                        <a:pt x="116064" y="130501"/>
                        <a:pt x="115331" y="131254"/>
                      </a:cubicBezTo>
                      <a:cubicBezTo>
                        <a:pt x="114655" y="131940"/>
                        <a:pt x="112874" y="139388"/>
                        <a:pt x="111330" y="141093"/>
                      </a:cubicBezTo>
                      <a:cubicBezTo>
                        <a:pt x="108845" y="143846"/>
                        <a:pt x="102187" y="142169"/>
                        <a:pt x="102082" y="147199"/>
                      </a:cubicBezTo>
                      <a:cubicBezTo>
                        <a:pt x="98872" y="146770"/>
                        <a:pt x="99472" y="144436"/>
                        <a:pt x="96938" y="142760"/>
                      </a:cubicBezTo>
                      <a:cubicBezTo>
                        <a:pt x="94338" y="141036"/>
                        <a:pt x="88499" y="138197"/>
                        <a:pt x="85490" y="136950"/>
                      </a:cubicBezTo>
                      <a:cubicBezTo>
                        <a:pt x="79508" y="134492"/>
                        <a:pt x="81508" y="135578"/>
                        <a:pt x="76869" y="139341"/>
                      </a:cubicBezTo>
                      <a:cubicBezTo>
                        <a:pt x="75441" y="140493"/>
                        <a:pt x="73955" y="139140"/>
                        <a:pt x="72993" y="140083"/>
                      </a:cubicBezTo>
                      <a:cubicBezTo>
                        <a:pt x="71783" y="141284"/>
                        <a:pt x="72611" y="143255"/>
                        <a:pt x="71288" y="144655"/>
                      </a:cubicBezTo>
                      <a:cubicBezTo>
                        <a:pt x="67420" y="148780"/>
                        <a:pt x="59153" y="157971"/>
                        <a:pt x="54486" y="157066"/>
                      </a:cubicBezTo>
                      <a:cubicBezTo>
                        <a:pt x="44608" y="155133"/>
                        <a:pt x="54523" y="140893"/>
                        <a:pt x="51114" y="133654"/>
                      </a:cubicBezTo>
                      <a:cubicBezTo>
                        <a:pt x="49837" y="130958"/>
                        <a:pt x="47132" y="129787"/>
                        <a:pt x="46589" y="126872"/>
                      </a:cubicBezTo>
                      <a:cubicBezTo>
                        <a:pt x="46161" y="124596"/>
                        <a:pt x="48856" y="118843"/>
                        <a:pt x="48809" y="115776"/>
                      </a:cubicBezTo>
                      <a:cubicBezTo>
                        <a:pt x="48723" y="110556"/>
                        <a:pt x="48104" y="109051"/>
                        <a:pt x="45837" y="104488"/>
                      </a:cubicBezTo>
                      <a:cubicBezTo>
                        <a:pt x="44265" y="101298"/>
                        <a:pt x="43370" y="94792"/>
                        <a:pt x="41055" y="92630"/>
                      </a:cubicBezTo>
                      <a:cubicBezTo>
                        <a:pt x="34674" y="86658"/>
                        <a:pt x="27701" y="95954"/>
                        <a:pt x="21177" y="93173"/>
                      </a:cubicBezTo>
                      <a:cubicBezTo>
                        <a:pt x="10585" y="88658"/>
                        <a:pt x="19033" y="80314"/>
                        <a:pt x="14471" y="73027"/>
                      </a:cubicBezTo>
                      <a:cubicBezTo>
                        <a:pt x="13652" y="71723"/>
                        <a:pt x="7232" y="66627"/>
                        <a:pt x="5584" y="66617"/>
                      </a:cubicBezTo>
                      <a:cubicBezTo>
                        <a:pt x="1727" y="66608"/>
                        <a:pt x="4660" y="72008"/>
                        <a:pt x="1193" y="69589"/>
                      </a:cubicBezTo>
                      <a:cubicBezTo>
                        <a:pt x="-541" y="68389"/>
                        <a:pt x="-131" y="57883"/>
                        <a:pt x="822" y="56216"/>
                      </a:cubicBezTo>
                      <a:cubicBezTo>
                        <a:pt x="3613" y="51263"/>
                        <a:pt x="7298" y="54644"/>
                        <a:pt x="11013" y="51577"/>
                      </a:cubicBezTo>
                      <a:cubicBezTo>
                        <a:pt x="4860" y="50882"/>
                        <a:pt x="8156" y="45891"/>
                        <a:pt x="9461" y="42557"/>
                      </a:cubicBezTo>
                      <a:cubicBezTo>
                        <a:pt x="11080" y="38404"/>
                        <a:pt x="10147" y="39661"/>
                        <a:pt x="12462" y="37252"/>
                      </a:cubicBezTo>
                      <a:cubicBezTo>
                        <a:pt x="15214" y="34394"/>
                        <a:pt x="19205" y="34108"/>
                        <a:pt x="19605" y="29279"/>
                      </a:cubicBezTo>
                      <a:cubicBezTo>
                        <a:pt x="23024" y="31584"/>
                        <a:pt x="22148" y="36270"/>
                        <a:pt x="24996" y="38814"/>
                      </a:cubicBezTo>
                      <a:cubicBezTo>
                        <a:pt x="28673" y="42090"/>
                        <a:pt x="31035" y="40042"/>
                        <a:pt x="36045" y="40252"/>
                      </a:cubicBezTo>
                      <a:cubicBezTo>
                        <a:pt x="38226" y="40338"/>
                        <a:pt x="42008" y="44662"/>
                        <a:pt x="43332" y="40442"/>
                      </a:cubicBezTo>
                      <a:cubicBezTo>
                        <a:pt x="43160" y="40985"/>
                        <a:pt x="38198" y="29822"/>
                        <a:pt x="37855" y="28622"/>
                      </a:cubicBezTo>
                      <a:cubicBezTo>
                        <a:pt x="35512" y="20478"/>
                        <a:pt x="25253" y="14611"/>
                        <a:pt x="24720" y="7295"/>
                      </a:cubicBezTo>
                      <a:cubicBezTo>
                        <a:pt x="24625" y="6143"/>
                        <a:pt x="26663" y="647"/>
                        <a:pt x="28101" y="37"/>
                      </a:cubicBezTo>
                      <a:cubicBezTo>
                        <a:pt x="29073" y="-363"/>
                        <a:pt x="30939" y="2581"/>
                        <a:pt x="31445" y="2581"/>
                      </a:cubicBezTo>
                      <a:cubicBezTo>
                        <a:pt x="31006" y="2581"/>
                        <a:pt x="35550" y="1942"/>
                        <a:pt x="34969" y="1799"/>
                      </a:cubicBezTo>
                      <a:cubicBezTo>
                        <a:pt x="37350" y="2380"/>
                        <a:pt x="39103" y="2038"/>
                        <a:pt x="41150" y="3724"/>
                      </a:cubicBezTo>
                      <a:lnTo>
                        <a:pt x="41150" y="3724"/>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18" name="Freeform: Shape 617">
                  <a:extLst>
                    <a:ext uri="{FF2B5EF4-FFF2-40B4-BE49-F238E27FC236}">
                      <a16:creationId xmlns:a16="http://schemas.microsoft.com/office/drawing/2014/main" id="{D8AD3C21-5B1C-4A37-A978-7F65B2A49088}"/>
                    </a:ext>
                  </a:extLst>
                </p:cNvPr>
                <p:cNvSpPr/>
                <p:nvPr/>
              </p:nvSpPr>
              <p:spPr>
                <a:xfrm>
                  <a:off x="6966841" y="3416534"/>
                  <a:ext cx="59950" cy="49689"/>
                </a:xfrm>
                <a:custGeom>
                  <a:avLst/>
                  <a:gdLst>
                    <a:gd name="connsiteX0" fmla="*/ 43977 w 59950"/>
                    <a:gd name="connsiteY0" fmla="*/ 15396 h 49689"/>
                    <a:gd name="connsiteX1" fmla="*/ 36014 w 59950"/>
                    <a:gd name="connsiteY1" fmla="*/ 18864 h 49689"/>
                    <a:gd name="connsiteX2" fmla="*/ 41863 w 59950"/>
                    <a:gd name="connsiteY2" fmla="*/ 22940 h 49689"/>
                    <a:gd name="connsiteX3" fmla="*/ 50149 w 59950"/>
                    <a:gd name="connsiteY3" fmla="*/ 36113 h 49689"/>
                    <a:gd name="connsiteX4" fmla="*/ 59950 w 59950"/>
                    <a:gd name="connsiteY4" fmla="*/ 49248 h 49689"/>
                    <a:gd name="connsiteX5" fmla="*/ 42186 w 59950"/>
                    <a:gd name="connsiteY5" fmla="*/ 49496 h 49689"/>
                    <a:gd name="connsiteX6" fmla="*/ 31052 w 59950"/>
                    <a:gd name="connsiteY6" fmla="*/ 40390 h 49689"/>
                    <a:gd name="connsiteX7" fmla="*/ 0 w 59950"/>
                    <a:gd name="connsiteY7" fmla="*/ 31818 h 49689"/>
                    <a:gd name="connsiteX8" fmla="*/ 9458 w 59950"/>
                    <a:gd name="connsiteY8" fmla="*/ 13653 h 49689"/>
                    <a:gd name="connsiteX9" fmla="*/ 16545 w 59950"/>
                    <a:gd name="connsiteY9" fmla="*/ 1138 h 49689"/>
                    <a:gd name="connsiteX10" fmla="*/ 34395 w 59950"/>
                    <a:gd name="connsiteY10" fmla="*/ 2852 h 49689"/>
                    <a:gd name="connsiteX11" fmla="*/ 43977 w 59950"/>
                    <a:gd name="connsiteY11" fmla="*/ 15396 h 49689"/>
                    <a:gd name="connsiteX12" fmla="*/ 43977 w 59950"/>
                    <a:gd name="connsiteY12" fmla="*/ 15396 h 49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950" h="49689">
                      <a:moveTo>
                        <a:pt x="43977" y="15396"/>
                      </a:moveTo>
                      <a:cubicBezTo>
                        <a:pt x="43862" y="16920"/>
                        <a:pt x="38891" y="15454"/>
                        <a:pt x="36014" y="18864"/>
                      </a:cubicBezTo>
                      <a:cubicBezTo>
                        <a:pt x="29899" y="26112"/>
                        <a:pt x="38395" y="20959"/>
                        <a:pt x="41863" y="22940"/>
                      </a:cubicBezTo>
                      <a:cubicBezTo>
                        <a:pt x="45825" y="25198"/>
                        <a:pt x="47549" y="32513"/>
                        <a:pt x="50149" y="36113"/>
                      </a:cubicBezTo>
                      <a:cubicBezTo>
                        <a:pt x="53254" y="40400"/>
                        <a:pt x="56598" y="45153"/>
                        <a:pt x="59950" y="49248"/>
                      </a:cubicBezTo>
                      <a:cubicBezTo>
                        <a:pt x="54140" y="49324"/>
                        <a:pt x="47977" y="50020"/>
                        <a:pt x="42186" y="49496"/>
                      </a:cubicBezTo>
                      <a:cubicBezTo>
                        <a:pt x="34547" y="48801"/>
                        <a:pt x="34766" y="46629"/>
                        <a:pt x="31052" y="40390"/>
                      </a:cubicBezTo>
                      <a:cubicBezTo>
                        <a:pt x="25708" y="31418"/>
                        <a:pt x="9753" y="32951"/>
                        <a:pt x="0" y="31818"/>
                      </a:cubicBezTo>
                      <a:cubicBezTo>
                        <a:pt x="4363" y="26226"/>
                        <a:pt x="7496" y="20464"/>
                        <a:pt x="9458" y="13653"/>
                      </a:cubicBezTo>
                      <a:cubicBezTo>
                        <a:pt x="11154" y="7796"/>
                        <a:pt x="10411" y="3719"/>
                        <a:pt x="16545" y="1138"/>
                      </a:cubicBezTo>
                      <a:cubicBezTo>
                        <a:pt x="21250" y="-844"/>
                        <a:pt x="30128" y="-215"/>
                        <a:pt x="34395" y="2852"/>
                      </a:cubicBezTo>
                      <a:cubicBezTo>
                        <a:pt x="38243" y="5605"/>
                        <a:pt x="40672" y="11110"/>
                        <a:pt x="43977" y="15396"/>
                      </a:cubicBezTo>
                      <a:lnTo>
                        <a:pt x="43977" y="15396"/>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19" name="Freeform: Shape 618">
                  <a:extLst>
                    <a:ext uri="{FF2B5EF4-FFF2-40B4-BE49-F238E27FC236}">
                      <a16:creationId xmlns:a16="http://schemas.microsoft.com/office/drawing/2014/main" id="{5456E1AD-CE7B-426A-BF4D-56F6E206A316}"/>
                    </a:ext>
                  </a:extLst>
                </p:cNvPr>
                <p:cNvSpPr/>
                <p:nvPr/>
              </p:nvSpPr>
              <p:spPr>
                <a:xfrm>
                  <a:off x="6141270" y="3002620"/>
                  <a:ext cx="47177" cy="44177"/>
                </a:xfrm>
                <a:custGeom>
                  <a:avLst/>
                  <a:gdLst>
                    <a:gd name="connsiteX0" fmla="*/ 43321 w 47177"/>
                    <a:gd name="connsiteY0" fmla="*/ 31471 h 44177"/>
                    <a:gd name="connsiteX1" fmla="*/ 36873 w 47177"/>
                    <a:gd name="connsiteY1" fmla="*/ 34271 h 44177"/>
                    <a:gd name="connsiteX2" fmla="*/ 35930 w 47177"/>
                    <a:gd name="connsiteY2" fmla="*/ 36119 h 44177"/>
                    <a:gd name="connsiteX3" fmla="*/ 32549 w 47177"/>
                    <a:gd name="connsiteY3" fmla="*/ 34109 h 44177"/>
                    <a:gd name="connsiteX4" fmla="*/ 22852 w 47177"/>
                    <a:gd name="connsiteY4" fmla="*/ 36862 h 44177"/>
                    <a:gd name="connsiteX5" fmla="*/ 21766 w 47177"/>
                    <a:gd name="connsiteY5" fmla="*/ 43244 h 44177"/>
                    <a:gd name="connsiteX6" fmla="*/ 14518 w 47177"/>
                    <a:gd name="connsiteY6" fmla="*/ 33052 h 44177"/>
                    <a:gd name="connsiteX7" fmla="*/ 1192 w 47177"/>
                    <a:gd name="connsiteY7" fmla="*/ 21898 h 44177"/>
                    <a:gd name="connsiteX8" fmla="*/ 4354 w 47177"/>
                    <a:gd name="connsiteY8" fmla="*/ 14107 h 44177"/>
                    <a:gd name="connsiteX9" fmla="*/ 15118 w 47177"/>
                    <a:gd name="connsiteY9" fmla="*/ 5306 h 44177"/>
                    <a:gd name="connsiteX10" fmla="*/ 14413 w 47177"/>
                    <a:gd name="connsiteY10" fmla="*/ 1296 h 44177"/>
                    <a:gd name="connsiteX11" fmla="*/ 19223 w 47177"/>
                    <a:gd name="connsiteY11" fmla="*/ 277 h 44177"/>
                    <a:gd name="connsiteX12" fmla="*/ 31186 w 47177"/>
                    <a:gd name="connsiteY12" fmla="*/ 9154 h 44177"/>
                    <a:gd name="connsiteX13" fmla="*/ 36949 w 47177"/>
                    <a:gd name="connsiteY13" fmla="*/ 15726 h 44177"/>
                    <a:gd name="connsiteX14" fmla="*/ 46607 w 47177"/>
                    <a:gd name="connsiteY14" fmla="*/ 18079 h 44177"/>
                    <a:gd name="connsiteX15" fmla="*/ 43321 w 47177"/>
                    <a:gd name="connsiteY15" fmla="*/ 31471 h 44177"/>
                    <a:gd name="connsiteX16" fmla="*/ 43321 w 47177"/>
                    <a:gd name="connsiteY16" fmla="*/ 31471 h 44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177" h="44177">
                      <a:moveTo>
                        <a:pt x="43321" y="31471"/>
                      </a:moveTo>
                      <a:cubicBezTo>
                        <a:pt x="40407" y="31538"/>
                        <a:pt x="38597" y="33967"/>
                        <a:pt x="36873" y="34271"/>
                      </a:cubicBezTo>
                      <a:cubicBezTo>
                        <a:pt x="36244" y="34386"/>
                        <a:pt x="36797" y="35995"/>
                        <a:pt x="35930" y="36119"/>
                      </a:cubicBezTo>
                      <a:cubicBezTo>
                        <a:pt x="34673" y="36310"/>
                        <a:pt x="33510" y="33957"/>
                        <a:pt x="32549" y="34109"/>
                      </a:cubicBezTo>
                      <a:cubicBezTo>
                        <a:pt x="30044" y="34491"/>
                        <a:pt x="24890" y="34262"/>
                        <a:pt x="22852" y="36862"/>
                      </a:cubicBezTo>
                      <a:cubicBezTo>
                        <a:pt x="21461" y="38643"/>
                        <a:pt x="23224" y="41872"/>
                        <a:pt x="21766" y="43244"/>
                      </a:cubicBezTo>
                      <a:cubicBezTo>
                        <a:pt x="17099" y="47635"/>
                        <a:pt x="16337" y="35233"/>
                        <a:pt x="14518" y="33052"/>
                      </a:cubicBezTo>
                      <a:cubicBezTo>
                        <a:pt x="10717" y="28490"/>
                        <a:pt x="4154" y="27423"/>
                        <a:pt x="1192" y="21898"/>
                      </a:cubicBezTo>
                      <a:cubicBezTo>
                        <a:pt x="-1570" y="16736"/>
                        <a:pt x="878" y="15460"/>
                        <a:pt x="4354" y="14107"/>
                      </a:cubicBezTo>
                      <a:cubicBezTo>
                        <a:pt x="10174" y="11840"/>
                        <a:pt x="11908" y="10878"/>
                        <a:pt x="15118" y="5306"/>
                      </a:cubicBezTo>
                      <a:cubicBezTo>
                        <a:pt x="16061" y="3677"/>
                        <a:pt x="12832" y="3125"/>
                        <a:pt x="14413" y="1296"/>
                      </a:cubicBezTo>
                      <a:cubicBezTo>
                        <a:pt x="15946" y="-476"/>
                        <a:pt x="17775" y="-9"/>
                        <a:pt x="19223" y="277"/>
                      </a:cubicBezTo>
                      <a:cubicBezTo>
                        <a:pt x="21395" y="696"/>
                        <a:pt x="28758" y="7220"/>
                        <a:pt x="31186" y="9154"/>
                      </a:cubicBezTo>
                      <a:cubicBezTo>
                        <a:pt x="33006" y="10602"/>
                        <a:pt x="35949" y="15107"/>
                        <a:pt x="36949" y="15726"/>
                      </a:cubicBezTo>
                      <a:cubicBezTo>
                        <a:pt x="38702" y="16812"/>
                        <a:pt x="45655" y="16622"/>
                        <a:pt x="46607" y="18079"/>
                      </a:cubicBezTo>
                      <a:cubicBezTo>
                        <a:pt x="49627" y="22737"/>
                        <a:pt x="39492" y="27223"/>
                        <a:pt x="43321" y="31471"/>
                      </a:cubicBezTo>
                      <a:lnTo>
                        <a:pt x="43321" y="31471"/>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20" name="Freeform: Shape 619">
                  <a:extLst>
                    <a:ext uri="{FF2B5EF4-FFF2-40B4-BE49-F238E27FC236}">
                      <a16:creationId xmlns:a16="http://schemas.microsoft.com/office/drawing/2014/main" id="{2D5F4F8D-C7E4-4BA8-BB1E-07CA04FA8F7E}"/>
                    </a:ext>
                  </a:extLst>
                </p:cNvPr>
                <p:cNvSpPr/>
                <p:nvPr/>
              </p:nvSpPr>
              <p:spPr>
                <a:xfrm>
                  <a:off x="9163356" y="3148257"/>
                  <a:ext cx="128751" cy="135626"/>
                </a:xfrm>
                <a:custGeom>
                  <a:avLst/>
                  <a:gdLst>
                    <a:gd name="connsiteX0" fmla="*/ 31773 w 128751"/>
                    <a:gd name="connsiteY0" fmla="*/ 0 h 135626"/>
                    <a:gd name="connsiteX1" fmla="*/ 107221 w 128751"/>
                    <a:gd name="connsiteY1" fmla="*/ 66094 h 135626"/>
                    <a:gd name="connsiteX2" fmla="*/ 117403 w 128751"/>
                    <a:gd name="connsiteY2" fmla="*/ 82010 h 135626"/>
                    <a:gd name="connsiteX3" fmla="*/ 122309 w 128751"/>
                    <a:gd name="connsiteY3" fmla="*/ 83410 h 135626"/>
                    <a:gd name="connsiteX4" fmla="*/ 126347 w 128751"/>
                    <a:gd name="connsiteY4" fmla="*/ 93412 h 135626"/>
                    <a:gd name="connsiteX5" fmla="*/ 119870 w 128751"/>
                    <a:gd name="connsiteY5" fmla="*/ 111138 h 135626"/>
                    <a:gd name="connsiteX6" fmla="*/ 112974 w 128751"/>
                    <a:gd name="connsiteY6" fmla="*/ 118215 h 135626"/>
                    <a:gd name="connsiteX7" fmla="*/ 89857 w 128751"/>
                    <a:gd name="connsiteY7" fmla="*/ 116005 h 135626"/>
                    <a:gd name="connsiteX8" fmla="*/ 95086 w 128751"/>
                    <a:gd name="connsiteY8" fmla="*/ 122920 h 135626"/>
                    <a:gd name="connsiteX9" fmla="*/ 84113 w 128751"/>
                    <a:gd name="connsiteY9" fmla="*/ 119701 h 135626"/>
                    <a:gd name="connsiteX10" fmla="*/ 88990 w 128751"/>
                    <a:gd name="connsiteY10" fmla="*/ 131026 h 135626"/>
                    <a:gd name="connsiteX11" fmla="*/ 80960 w 128751"/>
                    <a:gd name="connsiteY11" fmla="*/ 121844 h 135626"/>
                    <a:gd name="connsiteX12" fmla="*/ 77198 w 128751"/>
                    <a:gd name="connsiteY12" fmla="*/ 131807 h 135626"/>
                    <a:gd name="connsiteX13" fmla="*/ 70579 w 128751"/>
                    <a:gd name="connsiteY13" fmla="*/ 135626 h 135626"/>
                    <a:gd name="connsiteX14" fmla="*/ 54510 w 128751"/>
                    <a:gd name="connsiteY14" fmla="*/ 122939 h 135626"/>
                    <a:gd name="connsiteX15" fmla="*/ 61358 w 128751"/>
                    <a:gd name="connsiteY15" fmla="*/ 123634 h 135626"/>
                    <a:gd name="connsiteX16" fmla="*/ 58729 w 128751"/>
                    <a:gd name="connsiteY16" fmla="*/ 121796 h 135626"/>
                    <a:gd name="connsiteX17" fmla="*/ 60844 w 128751"/>
                    <a:gd name="connsiteY17" fmla="*/ 119653 h 135626"/>
                    <a:gd name="connsiteX18" fmla="*/ 46156 w 128751"/>
                    <a:gd name="connsiteY18" fmla="*/ 107785 h 135626"/>
                    <a:gd name="connsiteX19" fmla="*/ 45337 w 128751"/>
                    <a:gd name="connsiteY19" fmla="*/ 97812 h 135626"/>
                    <a:gd name="connsiteX20" fmla="*/ 45556 w 128751"/>
                    <a:gd name="connsiteY20" fmla="*/ 95841 h 135626"/>
                    <a:gd name="connsiteX21" fmla="*/ 41327 w 128751"/>
                    <a:gd name="connsiteY21" fmla="*/ 93736 h 135626"/>
                    <a:gd name="connsiteX22" fmla="*/ 43927 w 128751"/>
                    <a:gd name="connsiteY22" fmla="*/ 86449 h 135626"/>
                    <a:gd name="connsiteX23" fmla="*/ 39098 w 128751"/>
                    <a:gd name="connsiteY23" fmla="*/ 81610 h 135626"/>
                    <a:gd name="connsiteX24" fmla="*/ 30621 w 128751"/>
                    <a:gd name="connsiteY24" fmla="*/ 74324 h 135626"/>
                    <a:gd name="connsiteX25" fmla="*/ 22611 w 128751"/>
                    <a:gd name="connsiteY25" fmla="*/ 64170 h 135626"/>
                    <a:gd name="connsiteX26" fmla="*/ 16162 w 128751"/>
                    <a:gd name="connsiteY26" fmla="*/ 61713 h 135626"/>
                    <a:gd name="connsiteX27" fmla="*/ 8456 w 128751"/>
                    <a:gd name="connsiteY27" fmla="*/ 55188 h 135626"/>
                    <a:gd name="connsiteX28" fmla="*/ 27992 w 128751"/>
                    <a:gd name="connsiteY28" fmla="*/ 56645 h 135626"/>
                    <a:gd name="connsiteX29" fmla="*/ 23953 w 128751"/>
                    <a:gd name="connsiteY29" fmla="*/ 51235 h 135626"/>
                    <a:gd name="connsiteX30" fmla="*/ 13247 w 128751"/>
                    <a:gd name="connsiteY30" fmla="*/ 39976 h 135626"/>
                    <a:gd name="connsiteX31" fmla="*/ 26 w 128751"/>
                    <a:gd name="connsiteY31" fmla="*/ 23632 h 135626"/>
                    <a:gd name="connsiteX32" fmla="*/ 16238 w 128751"/>
                    <a:gd name="connsiteY32" fmla="*/ 9773 h 135626"/>
                    <a:gd name="connsiteX33" fmla="*/ 28764 w 128751"/>
                    <a:gd name="connsiteY33" fmla="*/ 9925 h 135626"/>
                    <a:gd name="connsiteX34" fmla="*/ 31773 w 128751"/>
                    <a:gd name="connsiteY34" fmla="*/ 0 h 135626"/>
                    <a:gd name="connsiteX35" fmla="*/ 31773 w 128751"/>
                    <a:gd name="connsiteY35" fmla="*/ 0 h 135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8751" h="135626">
                      <a:moveTo>
                        <a:pt x="31773" y="0"/>
                      </a:moveTo>
                      <a:cubicBezTo>
                        <a:pt x="56015" y="20488"/>
                        <a:pt x="92781" y="36881"/>
                        <a:pt x="107221" y="66094"/>
                      </a:cubicBezTo>
                      <a:cubicBezTo>
                        <a:pt x="109774" y="71257"/>
                        <a:pt x="112470" y="78486"/>
                        <a:pt x="117403" y="82010"/>
                      </a:cubicBezTo>
                      <a:cubicBezTo>
                        <a:pt x="119803" y="83715"/>
                        <a:pt x="119175" y="80172"/>
                        <a:pt x="122309" y="83410"/>
                      </a:cubicBezTo>
                      <a:cubicBezTo>
                        <a:pt x="124480" y="85658"/>
                        <a:pt x="125328" y="90478"/>
                        <a:pt x="126347" y="93412"/>
                      </a:cubicBezTo>
                      <a:cubicBezTo>
                        <a:pt x="129510" y="102603"/>
                        <a:pt x="131377" y="110090"/>
                        <a:pt x="119870" y="111138"/>
                      </a:cubicBezTo>
                      <a:cubicBezTo>
                        <a:pt x="112364" y="111824"/>
                        <a:pt x="106107" y="109299"/>
                        <a:pt x="112974" y="118215"/>
                      </a:cubicBezTo>
                      <a:cubicBezTo>
                        <a:pt x="108669" y="117472"/>
                        <a:pt x="91952" y="110557"/>
                        <a:pt x="89857" y="116005"/>
                      </a:cubicBezTo>
                      <a:cubicBezTo>
                        <a:pt x="88400" y="119815"/>
                        <a:pt x="96134" y="119377"/>
                        <a:pt x="95086" y="122920"/>
                      </a:cubicBezTo>
                      <a:cubicBezTo>
                        <a:pt x="94400" y="125244"/>
                        <a:pt x="86885" y="118377"/>
                        <a:pt x="84113" y="119701"/>
                      </a:cubicBezTo>
                      <a:cubicBezTo>
                        <a:pt x="84942" y="121891"/>
                        <a:pt x="93762" y="129035"/>
                        <a:pt x="88990" y="131026"/>
                      </a:cubicBezTo>
                      <a:cubicBezTo>
                        <a:pt x="82875" y="133569"/>
                        <a:pt x="83170" y="123587"/>
                        <a:pt x="80960" y="121844"/>
                      </a:cubicBezTo>
                      <a:cubicBezTo>
                        <a:pt x="78351" y="124454"/>
                        <a:pt x="76769" y="128083"/>
                        <a:pt x="77198" y="131807"/>
                      </a:cubicBezTo>
                      <a:cubicBezTo>
                        <a:pt x="73827" y="130416"/>
                        <a:pt x="66883" y="128730"/>
                        <a:pt x="70579" y="135626"/>
                      </a:cubicBezTo>
                      <a:cubicBezTo>
                        <a:pt x="67978" y="135426"/>
                        <a:pt x="54710" y="125387"/>
                        <a:pt x="54510" y="122939"/>
                      </a:cubicBezTo>
                      <a:cubicBezTo>
                        <a:pt x="56748" y="123596"/>
                        <a:pt x="59044" y="123835"/>
                        <a:pt x="61358" y="123634"/>
                      </a:cubicBezTo>
                      <a:cubicBezTo>
                        <a:pt x="60482" y="123244"/>
                        <a:pt x="59644" y="122272"/>
                        <a:pt x="58729" y="121796"/>
                      </a:cubicBezTo>
                      <a:cubicBezTo>
                        <a:pt x="59405" y="121206"/>
                        <a:pt x="60234" y="120101"/>
                        <a:pt x="60844" y="119653"/>
                      </a:cubicBezTo>
                      <a:cubicBezTo>
                        <a:pt x="54653" y="121234"/>
                        <a:pt x="47928" y="112385"/>
                        <a:pt x="46156" y="107785"/>
                      </a:cubicBezTo>
                      <a:cubicBezTo>
                        <a:pt x="45146" y="105175"/>
                        <a:pt x="45775" y="99070"/>
                        <a:pt x="45337" y="97812"/>
                      </a:cubicBezTo>
                      <a:cubicBezTo>
                        <a:pt x="45642" y="98698"/>
                        <a:pt x="45489" y="95450"/>
                        <a:pt x="45556" y="95841"/>
                      </a:cubicBezTo>
                      <a:cubicBezTo>
                        <a:pt x="45661" y="96336"/>
                        <a:pt x="41518" y="93878"/>
                        <a:pt x="41327" y="93736"/>
                      </a:cubicBezTo>
                      <a:cubicBezTo>
                        <a:pt x="44566" y="91240"/>
                        <a:pt x="45194" y="90040"/>
                        <a:pt x="43927" y="86449"/>
                      </a:cubicBezTo>
                      <a:cubicBezTo>
                        <a:pt x="44232" y="87325"/>
                        <a:pt x="38946" y="81486"/>
                        <a:pt x="39098" y="81610"/>
                      </a:cubicBezTo>
                      <a:cubicBezTo>
                        <a:pt x="35745" y="78877"/>
                        <a:pt x="33240" y="77724"/>
                        <a:pt x="30621" y="74324"/>
                      </a:cubicBezTo>
                      <a:cubicBezTo>
                        <a:pt x="27964" y="70866"/>
                        <a:pt x="26116" y="66932"/>
                        <a:pt x="22611" y="64170"/>
                      </a:cubicBezTo>
                      <a:cubicBezTo>
                        <a:pt x="18163" y="60665"/>
                        <a:pt x="20210" y="62970"/>
                        <a:pt x="16162" y="61713"/>
                      </a:cubicBezTo>
                      <a:cubicBezTo>
                        <a:pt x="12847" y="60684"/>
                        <a:pt x="7418" y="60446"/>
                        <a:pt x="8456" y="55188"/>
                      </a:cubicBezTo>
                      <a:cubicBezTo>
                        <a:pt x="10400" y="45425"/>
                        <a:pt x="24134" y="54664"/>
                        <a:pt x="27992" y="56645"/>
                      </a:cubicBezTo>
                      <a:cubicBezTo>
                        <a:pt x="30011" y="52426"/>
                        <a:pt x="26811" y="53511"/>
                        <a:pt x="23953" y="51235"/>
                      </a:cubicBezTo>
                      <a:cubicBezTo>
                        <a:pt x="19382" y="47606"/>
                        <a:pt x="16972" y="43786"/>
                        <a:pt x="13247" y="39976"/>
                      </a:cubicBezTo>
                      <a:cubicBezTo>
                        <a:pt x="7466" y="34061"/>
                        <a:pt x="274" y="30842"/>
                        <a:pt x="26" y="23632"/>
                      </a:cubicBezTo>
                      <a:cubicBezTo>
                        <a:pt x="-392" y="11440"/>
                        <a:pt x="4123" y="9592"/>
                        <a:pt x="16238" y="9773"/>
                      </a:cubicBezTo>
                      <a:cubicBezTo>
                        <a:pt x="19182" y="9811"/>
                        <a:pt x="26096" y="11240"/>
                        <a:pt x="28764" y="9925"/>
                      </a:cubicBezTo>
                      <a:cubicBezTo>
                        <a:pt x="34069" y="7334"/>
                        <a:pt x="29954" y="4401"/>
                        <a:pt x="31773" y="0"/>
                      </a:cubicBezTo>
                      <a:lnTo>
                        <a:pt x="31773" y="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21" name="Freeform: Shape 620">
                  <a:extLst>
                    <a:ext uri="{FF2B5EF4-FFF2-40B4-BE49-F238E27FC236}">
                      <a16:creationId xmlns:a16="http://schemas.microsoft.com/office/drawing/2014/main" id="{DB3DB5B2-03DA-40DC-B8D0-DBCBDA180FD6}"/>
                    </a:ext>
                  </a:extLst>
                </p:cNvPr>
                <p:cNvSpPr/>
                <p:nvPr/>
              </p:nvSpPr>
              <p:spPr>
                <a:xfrm>
                  <a:off x="8771464" y="3901675"/>
                  <a:ext cx="170048" cy="135093"/>
                </a:xfrm>
                <a:custGeom>
                  <a:avLst/>
                  <a:gdLst>
                    <a:gd name="connsiteX0" fmla="*/ 154432 w 170048"/>
                    <a:gd name="connsiteY0" fmla="*/ 1743 h 135093"/>
                    <a:gd name="connsiteX1" fmla="*/ 151813 w 170048"/>
                    <a:gd name="connsiteY1" fmla="*/ 16345 h 135093"/>
                    <a:gd name="connsiteX2" fmla="*/ 157670 w 170048"/>
                    <a:gd name="connsiteY2" fmla="*/ 27137 h 135093"/>
                    <a:gd name="connsiteX3" fmla="*/ 165262 w 170048"/>
                    <a:gd name="connsiteY3" fmla="*/ 40434 h 135093"/>
                    <a:gd name="connsiteX4" fmla="*/ 165633 w 170048"/>
                    <a:gd name="connsiteY4" fmla="*/ 57341 h 135093"/>
                    <a:gd name="connsiteX5" fmla="*/ 169853 w 170048"/>
                    <a:gd name="connsiteY5" fmla="*/ 71599 h 135093"/>
                    <a:gd name="connsiteX6" fmla="*/ 162004 w 170048"/>
                    <a:gd name="connsiteY6" fmla="*/ 75219 h 135093"/>
                    <a:gd name="connsiteX7" fmla="*/ 151860 w 170048"/>
                    <a:gd name="connsiteY7" fmla="*/ 82972 h 135093"/>
                    <a:gd name="connsiteX8" fmla="*/ 137849 w 170048"/>
                    <a:gd name="connsiteY8" fmla="*/ 86839 h 135093"/>
                    <a:gd name="connsiteX9" fmla="*/ 133848 w 170048"/>
                    <a:gd name="connsiteY9" fmla="*/ 94402 h 135093"/>
                    <a:gd name="connsiteX10" fmla="*/ 122142 w 170048"/>
                    <a:gd name="connsiteY10" fmla="*/ 96984 h 135093"/>
                    <a:gd name="connsiteX11" fmla="*/ 125961 w 170048"/>
                    <a:gd name="connsiteY11" fmla="*/ 109204 h 135093"/>
                    <a:gd name="connsiteX12" fmla="*/ 134182 w 170048"/>
                    <a:gd name="connsiteY12" fmla="*/ 114900 h 135093"/>
                    <a:gd name="connsiteX13" fmla="*/ 136696 w 170048"/>
                    <a:gd name="connsiteY13" fmla="*/ 123187 h 135093"/>
                    <a:gd name="connsiteX14" fmla="*/ 117408 w 170048"/>
                    <a:gd name="connsiteY14" fmla="*/ 117710 h 135093"/>
                    <a:gd name="connsiteX15" fmla="*/ 108873 w 170048"/>
                    <a:gd name="connsiteY15" fmla="*/ 121091 h 135093"/>
                    <a:gd name="connsiteX16" fmla="*/ 101187 w 170048"/>
                    <a:gd name="connsiteY16" fmla="*/ 122120 h 135093"/>
                    <a:gd name="connsiteX17" fmla="*/ 102311 w 170048"/>
                    <a:gd name="connsiteY17" fmla="*/ 126121 h 135093"/>
                    <a:gd name="connsiteX18" fmla="*/ 97739 w 170048"/>
                    <a:gd name="connsiteY18" fmla="*/ 130502 h 135093"/>
                    <a:gd name="connsiteX19" fmla="*/ 87919 w 170048"/>
                    <a:gd name="connsiteY19" fmla="*/ 132378 h 135093"/>
                    <a:gd name="connsiteX20" fmla="*/ 85090 w 170048"/>
                    <a:gd name="connsiteY20" fmla="*/ 135093 h 135093"/>
                    <a:gd name="connsiteX21" fmla="*/ 78679 w 170048"/>
                    <a:gd name="connsiteY21" fmla="*/ 131169 h 135093"/>
                    <a:gd name="connsiteX22" fmla="*/ 65840 w 170048"/>
                    <a:gd name="connsiteY22" fmla="*/ 127587 h 135093"/>
                    <a:gd name="connsiteX23" fmla="*/ 57524 w 170048"/>
                    <a:gd name="connsiteY23" fmla="*/ 130826 h 135093"/>
                    <a:gd name="connsiteX24" fmla="*/ 58086 w 170048"/>
                    <a:gd name="connsiteY24" fmla="*/ 124911 h 135093"/>
                    <a:gd name="connsiteX25" fmla="*/ 56924 w 170048"/>
                    <a:gd name="connsiteY25" fmla="*/ 114862 h 135093"/>
                    <a:gd name="connsiteX26" fmla="*/ 50638 w 170048"/>
                    <a:gd name="connsiteY26" fmla="*/ 114938 h 135093"/>
                    <a:gd name="connsiteX27" fmla="*/ 44837 w 170048"/>
                    <a:gd name="connsiteY27" fmla="*/ 119529 h 135093"/>
                    <a:gd name="connsiteX28" fmla="*/ 38846 w 170048"/>
                    <a:gd name="connsiteY28" fmla="*/ 111185 h 135093"/>
                    <a:gd name="connsiteX29" fmla="*/ 30902 w 170048"/>
                    <a:gd name="connsiteY29" fmla="*/ 92345 h 135093"/>
                    <a:gd name="connsiteX30" fmla="*/ 30826 w 170048"/>
                    <a:gd name="connsiteY30" fmla="*/ 94459 h 135093"/>
                    <a:gd name="connsiteX31" fmla="*/ 20663 w 170048"/>
                    <a:gd name="connsiteY31" fmla="*/ 74171 h 135093"/>
                    <a:gd name="connsiteX32" fmla="*/ 9975 w 170048"/>
                    <a:gd name="connsiteY32" fmla="*/ 58198 h 135093"/>
                    <a:gd name="connsiteX33" fmla="*/ 422 w 170048"/>
                    <a:gd name="connsiteY33" fmla="*/ 36643 h 135093"/>
                    <a:gd name="connsiteX34" fmla="*/ 7499 w 170048"/>
                    <a:gd name="connsiteY34" fmla="*/ 33976 h 135093"/>
                    <a:gd name="connsiteX35" fmla="*/ 11567 w 170048"/>
                    <a:gd name="connsiteY35" fmla="*/ 26137 h 135093"/>
                    <a:gd name="connsiteX36" fmla="*/ 28282 w 170048"/>
                    <a:gd name="connsiteY36" fmla="*/ 10516 h 135093"/>
                    <a:gd name="connsiteX37" fmla="*/ 47533 w 170048"/>
                    <a:gd name="connsiteY37" fmla="*/ 10878 h 135093"/>
                    <a:gd name="connsiteX38" fmla="*/ 72231 w 170048"/>
                    <a:gd name="connsiteY38" fmla="*/ 9106 h 135093"/>
                    <a:gd name="connsiteX39" fmla="*/ 83747 w 170048"/>
                    <a:gd name="connsiteY39" fmla="*/ 11306 h 135093"/>
                    <a:gd name="connsiteX40" fmla="*/ 102873 w 170048"/>
                    <a:gd name="connsiteY40" fmla="*/ 19536 h 135093"/>
                    <a:gd name="connsiteX41" fmla="*/ 114293 w 170048"/>
                    <a:gd name="connsiteY41" fmla="*/ 24175 h 135093"/>
                    <a:gd name="connsiteX42" fmla="*/ 108445 w 170048"/>
                    <a:gd name="connsiteY42" fmla="*/ 11411 h 135093"/>
                    <a:gd name="connsiteX43" fmla="*/ 115122 w 170048"/>
                    <a:gd name="connsiteY43" fmla="*/ 7220 h 135093"/>
                    <a:gd name="connsiteX44" fmla="*/ 122914 w 170048"/>
                    <a:gd name="connsiteY44" fmla="*/ 4000 h 135093"/>
                    <a:gd name="connsiteX45" fmla="*/ 131657 w 170048"/>
                    <a:gd name="connsiteY45" fmla="*/ 10001 h 135093"/>
                    <a:gd name="connsiteX46" fmla="*/ 139753 w 170048"/>
                    <a:gd name="connsiteY46" fmla="*/ 9620 h 135093"/>
                    <a:gd name="connsiteX47" fmla="*/ 146555 w 170048"/>
                    <a:gd name="connsiteY47" fmla="*/ 4191 h 135093"/>
                    <a:gd name="connsiteX48" fmla="*/ 153527 w 170048"/>
                    <a:gd name="connsiteY48" fmla="*/ 0 h 135093"/>
                    <a:gd name="connsiteX49" fmla="*/ 154432 w 170048"/>
                    <a:gd name="connsiteY49" fmla="*/ 1743 h 135093"/>
                    <a:gd name="connsiteX50" fmla="*/ 154432 w 170048"/>
                    <a:gd name="connsiteY50" fmla="*/ 1743 h 135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70048" h="135093">
                      <a:moveTo>
                        <a:pt x="154432" y="1743"/>
                      </a:moveTo>
                      <a:cubicBezTo>
                        <a:pt x="154203" y="7563"/>
                        <a:pt x="150479" y="10411"/>
                        <a:pt x="151813" y="16345"/>
                      </a:cubicBezTo>
                      <a:cubicBezTo>
                        <a:pt x="152784" y="20707"/>
                        <a:pt x="155155" y="23346"/>
                        <a:pt x="157670" y="27137"/>
                      </a:cubicBezTo>
                      <a:cubicBezTo>
                        <a:pt x="160309" y="31118"/>
                        <a:pt x="164357" y="35757"/>
                        <a:pt x="165262" y="40434"/>
                      </a:cubicBezTo>
                      <a:cubicBezTo>
                        <a:pt x="166424" y="46377"/>
                        <a:pt x="163728" y="51340"/>
                        <a:pt x="165633" y="57341"/>
                      </a:cubicBezTo>
                      <a:cubicBezTo>
                        <a:pt x="167024" y="61713"/>
                        <a:pt x="170967" y="66637"/>
                        <a:pt x="169853" y="71599"/>
                      </a:cubicBezTo>
                      <a:cubicBezTo>
                        <a:pt x="168176" y="79077"/>
                        <a:pt x="166147" y="73971"/>
                        <a:pt x="162004" y="75219"/>
                      </a:cubicBezTo>
                      <a:cubicBezTo>
                        <a:pt x="157994" y="76429"/>
                        <a:pt x="155146" y="80772"/>
                        <a:pt x="151860" y="82972"/>
                      </a:cubicBezTo>
                      <a:cubicBezTo>
                        <a:pt x="147488" y="85906"/>
                        <a:pt x="143211" y="85544"/>
                        <a:pt x="137849" y="86839"/>
                      </a:cubicBezTo>
                      <a:cubicBezTo>
                        <a:pt x="139601" y="93974"/>
                        <a:pt x="140716" y="94736"/>
                        <a:pt x="133848" y="94402"/>
                      </a:cubicBezTo>
                      <a:cubicBezTo>
                        <a:pt x="130381" y="94240"/>
                        <a:pt x="123485" y="92307"/>
                        <a:pt x="122142" y="96984"/>
                      </a:cubicBezTo>
                      <a:cubicBezTo>
                        <a:pt x="121266" y="99984"/>
                        <a:pt x="124266" y="107071"/>
                        <a:pt x="125961" y="109204"/>
                      </a:cubicBezTo>
                      <a:cubicBezTo>
                        <a:pt x="127923" y="111662"/>
                        <a:pt x="132324" y="112414"/>
                        <a:pt x="134182" y="114900"/>
                      </a:cubicBezTo>
                      <a:cubicBezTo>
                        <a:pt x="136068" y="117415"/>
                        <a:pt x="134477" y="120110"/>
                        <a:pt x="136696" y="123187"/>
                      </a:cubicBezTo>
                      <a:cubicBezTo>
                        <a:pt x="128562" y="122958"/>
                        <a:pt x="125276" y="116672"/>
                        <a:pt x="117408" y="117710"/>
                      </a:cubicBezTo>
                      <a:cubicBezTo>
                        <a:pt x="113436" y="118234"/>
                        <a:pt x="111102" y="120806"/>
                        <a:pt x="108873" y="121091"/>
                      </a:cubicBezTo>
                      <a:cubicBezTo>
                        <a:pt x="102930" y="121872"/>
                        <a:pt x="103625" y="117786"/>
                        <a:pt x="101187" y="122120"/>
                      </a:cubicBezTo>
                      <a:cubicBezTo>
                        <a:pt x="100825" y="122758"/>
                        <a:pt x="102635" y="124959"/>
                        <a:pt x="102311" y="126121"/>
                      </a:cubicBezTo>
                      <a:cubicBezTo>
                        <a:pt x="102216" y="126464"/>
                        <a:pt x="98177" y="130264"/>
                        <a:pt x="97739" y="130502"/>
                      </a:cubicBezTo>
                      <a:cubicBezTo>
                        <a:pt x="94863" y="132074"/>
                        <a:pt x="91205" y="131817"/>
                        <a:pt x="87919" y="132378"/>
                      </a:cubicBezTo>
                      <a:cubicBezTo>
                        <a:pt x="86900" y="132560"/>
                        <a:pt x="86490" y="135084"/>
                        <a:pt x="85090" y="135093"/>
                      </a:cubicBezTo>
                      <a:cubicBezTo>
                        <a:pt x="82737" y="135112"/>
                        <a:pt x="80899" y="132045"/>
                        <a:pt x="78679" y="131169"/>
                      </a:cubicBezTo>
                      <a:cubicBezTo>
                        <a:pt x="74193" y="129407"/>
                        <a:pt x="69278" y="131264"/>
                        <a:pt x="65840" y="127587"/>
                      </a:cubicBezTo>
                      <a:cubicBezTo>
                        <a:pt x="65259" y="131159"/>
                        <a:pt x="60487" y="133255"/>
                        <a:pt x="57524" y="130826"/>
                      </a:cubicBezTo>
                      <a:cubicBezTo>
                        <a:pt x="53076" y="127197"/>
                        <a:pt x="57248" y="127892"/>
                        <a:pt x="58086" y="124911"/>
                      </a:cubicBezTo>
                      <a:cubicBezTo>
                        <a:pt x="59039" y="121539"/>
                        <a:pt x="61125" y="118758"/>
                        <a:pt x="56924" y="114862"/>
                      </a:cubicBezTo>
                      <a:cubicBezTo>
                        <a:pt x="53172" y="111385"/>
                        <a:pt x="53543" y="113186"/>
                        <a:pt x="50638" y="114938"/>
                      </a:cubicBezTo>
                      <a:cubicBezTo>
                        <a:pt x="48028" y="116510"/>
                        <a:pt x="49447" y="119786"/>
                        <a:pt x="44837" y="119529"/>
                      </a:cubicBezTo>
                      <a:cubicBezTo>
                        <a:pt x="40589" y="119291"/>
                        <a:pt x="39751" y="115157"/>
                        <a:pt x="38846" y="111185"/>
                      </a:cubicBezTo>
                      <a:cubicBezTo>
                        <a:pt x="37350" y="104565"/>
                        <a:pt x="36836" y="96707"/>
                        <a:pt x="30902" y="92345"/>
                      </a:cubicBezTo>
                      <a:cubicBezTo>
                        <a:pt x="30864" y="92878"/>
                        <a:pt x="30930" y="94002"/>
                        <a:pt x="30826" y="94459"/>
                      </a:cubicBezTo>
                      <a:cubicBezTo>
                        <a:pt x="25492" y="87325"/>
                        <a:pt x="23482" y="81772"/>
                        <a:pt x="20663" y="74171"/>
                      </a:cubicBezTo>
                      <a:cubicBezTo>
                        <a:pt x="18396" y="68028"/>
                        <a:pt x="12671" y="64980"/>
                        <a:pt x="9975" y="58198"/>
                      </a:cubicBezTo>
                      <a:cubicBezTo>
                        <a:pt x="8471" y="54397"/>
                        <a:pt x="-2236" y="40900"/>
                        <a:pt x="422" y="36643"/>
                      </a:cubicBezTo>
                      <a:cubicBezTo>
                        <a:pt x="1175" y="35433"/>
                        <a:pt x="6299" y="34985"/>
                        <a:pt x="7499" y="33976"/>
                      </a:cubicBezTo>
                      <a:cubicBezTo>
                        <a:pt x="7404" y="34052"/>
                        <a:pt x="10747" y="27642"/>
                        <a:pt x="11567" y="26137"/>
                      </a:cubicBezTo>
                      <a:cubicBezTo>
                        <a:pt x="16405" y="17155"/>
                        <a:pt x="17205" y="12878"/>
                        <a:pt x="28282" y="10516"/>
                      </a:cubicBezTo>
                      <a:cubicBezTo>
                        <a:pt x="35198" y="9049"/>
                        <a:pt x="40389" y="11259"/>
                        <a:pt x="47533" y="10878"/>
                      </a:cubicBezTo>
                      <a:cubicBezTo>
                        <a:pt x="54619" y="10497"/>
                        <a:pt x="65459" y="7553"/>
                        <a:pt x="72231" y="9106"/>
                      </a:cubicBezTo>
                      <a:cubicBezTo>
                        <a:pt x="76556" y="10096"/>
                        <a:pt x="80984" y="19421"/>
                        <a:pt x="83747" y="11306"/>
                      </a:cubicBezTo>
                      <a:cubicBezTo>
                        <a:pt x="87490" y="21955"/>
                        <a:pt x="95520" y="15421"/>
                        <a:pt x="102873" y="19536"/>
                      </a:cubicBezTo>
                      <a:cubicBezTo>
                        <a:pt x="105425" y="20965"/>
                        <a:pt x="110902" y="28232"/>
                        <a:pt x="114293" y="24175"/>
                      </a:cubicBezTo>
                      <a:cubicBezTo>
                        <a:pt x="117627" y="20184"/>
                        <a:pt x="110026" y="14583"/>
                        <a:pt x="108445" y="11411"/>
                      </a:cubicBezTo>
                      <a:cubicBezTo>
                        <a:pt x="111665" y="10735"/>
                        <a:pt x="115198" y="11459"/>
                        <a:pt x="115122" y="7220"/>
                      </a:cubicBezTo>
                      <a:cubicBezTo>
                        <a:pt x="118408" y="8630"/>
                        <a:pt x="121552" y="7325"/>
                        <a:pt x="122914" y="4000"/>
                      </a:cubicBezTo>
                      <a:cubicBezTo>
                        <a:pt x="125257" y="6448"/>
                        <a:pt x="128581" y="8611"/>
                        <a:pt x="131657" y="10001"/>
                      </a:cubicBezTo>
                      <a:cubicBezTo>
                        <a:pt x="136591" y="12230"/>
                        <a:pt x="135334" y="11840"/>
                        <a:pt x="139753" y="9620"/>
                      </a:cubicBezTo>
                      <a:cubicBezTo>
                        <a:pt x="142440" y="8268"/>
                        <a:pt x="143859" y="5953"/>
                        <a:pt x="146555" y="4191"/>
                      </a:cubicBezTo>
                      <a:cubicBezTo>
                        <a:pt x="149908" y="2000"/>
                        <a:pt x="151460" y="6410"/>
                        <a:pt x="153527" y="0"/>
                      </a:cubicBezTo>
                      <a:cubicBezTo>
                        <a:pt x="153822" y="581"/>
                        <a:pt x="154117" y="1162"/>
                        <a:pt x="154432" y="1743"/>
                      </a:cubicBezTo>
                      <a:lnTo>
                        <a:pt x="154432" y="1743"/>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22" name="Freeform: Shape 621">
                  <a:extLst>
                    <a:ext uri="{FF2B5EF4-FFF2-40B4-BE49-F238E27FC236}">
                      <a16:creationId xmlns:a16="http://schemas.microsoft.com/office/drawing/2014/main" id="{40522A93-CAE2-49EE-AF62-5E9C57D15278}"/>
                    </a:ext>
                  </a:extLst>
                </p:cNvPr>
                <p:cNvSpPr/>
                <p:nvPr/>
              </p:nvSpPr>
              <p:spPr>
                <a:xfrm>
                  <a:off x="7521642" y="3002858"/>
                  <a:ext cx="273603" cy="125700"/>
                </a:xfrm>
                <a:custGeom>
                  <a:avLst/>
                  <a:gdLst>
                    <a:gd name="connsiteX0" fmla="*/ 271246 w 273603"/>
                    <a:gd name="connsiteY0" fmla="*/ 33042 h 125700"/>
                    <a:gd name="connsiteX1" fmla="*/ 263664 w 273603"/>
                    <a:gd name="connsiteY1" fmla="*/ 40681 h 125700"/>
                    <a:gd name="connsiteX2" fmla="*/ 248681 w 273603"/>
                    <a:gd name="connsiteY2" fmla="*/ 48073 h 125700"/>
                    <a:gd name="connsiteX3" fmla="*/ 232479 w 273603"/>
                    <a:gd name="connsiteY3" fmla="*/ 59550 h 125700"/>
                    <a:gd name="connsiteX4" fmla="*/ 230278 w 273603"/>
                    <a:gd name="connsiteY4" fmla="*/ 67475 h 125700"/>
                    <a:gd name="connsiteX5" fmla="*/ 221735 w 273603"/>
                    <a:gd name="connsiteY5" fmla="*/ 68790 h 125700"/>
                    <a:gd name="connsiteX6" fmla="*/ 200951 w 273603"/>
                    <a:gd name="connsiteY6" fmla="*/ 69609 h 125700"/>
                    <a:gd name="connsiteX7" fmla="*/ 194027 w 273603"/>
                    <a:gd name="connsiteY7" fmla="*/ 80534 h 125700"/>
                    <a:gd name="connsiteX8" fmla="*/ 193150 w 273603"/>
                    <a:gd name="connsiteY8" fmla="*/ 87868 h 125700"/>
                    <a:gd name="connsiteX9" fmla="*/ 187254 w 273603"/>
                    <a:gd name="connsiteY9" fmla="*/ 88478 h 125700"/>
                    <a:gd name="connsiteX10" fmla="*/ 172814 w 273603"/>
                    <a:gd name="connsiteY10" fmla="*/ 92402 h 125700"/>
                    <a:gd name="connsiteX11" fmla="*/ 166718 w 273603"/>
                    <a:gd name="connsiteY11" fmla="*/ 83668 h 125700"/>
                    <a:gd name="connsiteX12" fmla="*/ 160403 w 273603"/>
                    <a:gd name="connsiteY12" fmla="*/ 85277 h 125700"/>
                    <a:gd name="connsiteX13" fmla="*/ 149002 w 273603"/>
                    <a:gd name="connsiteY13" fmla="*/ 91697 h 125700"/>
                    <a:gd name="connsiteX14" fmla="*/ 141153 w 273603"/>
                    <a:gd name="connsiteY14" fmla="*/ 96336 h 125700"/>
                    <a:gd name="connsiteX15" fmla="*/ 130476 w 273603"/>
                    <a:gd name="connsiteY15" fmla="*/ 100041 h 125700"/>
                    <a:gd name="connsiteX16" fmla="*/ 133066 w 273603"/>
                    <a:gd name="connsiteY16" fmla="*/ 114900 h 125700"/>
                    <a:gd name="connsiteX17" fmla="*/ 118769 w 273603"/>
                    <a:gd name="connsiteY17" fmla="*/ 120844 h 125700"/>
                    <a:gd name="connsiteX18" fmla="*/ 94747 w 273603"/>
                    <a:gd name="connsiteY18" fmla="*/ 122634 h 125700"/>
                    <a:gd name="connsiteX19" fmla="*/ 88109 w 273603"/>
                    <a:gd name="connsiteY19" fmla="*/ 125358 h 125700"/>
                    <a:gd name="connsiteX20" fmla="*/ 83670 w 273603"/>
                    <a:gd name="connsiteY20" fmla="*/ 122482 h 125700"/>
                    <a:gd name="connsiteX21" fmla="*/ 78355 w 273603"/>
                    <a:gd name="connsiteY21" fmla="*/ 124854 h 125700"/>
                    <a:gd name="connsiteX22" fmla="*/ 72983 w 273603"/>
                    <a:gd name="connsiteY22" fmla="*/ 119644 h 125700"/>
                    <a:gd name="connsiteX23" fmla="*/ 68144 w 273603"/>
                    <a:gd name="connsiteY23" fmla="*/ 118863 h 125700"/>
                    <a:gd name="connsiteX24" fmla="*/ 66791 w 273603"/>
                    <a:gd name="connsiteY24" fmla="*/ 116100 h 125700"/>
                    <a:gd name="connsiteX25" fmla="*/ 54647 w 273603"/>
                    <a:gd name="connsiteY25" fmla="*/ 119291 h 125700"/>
                    <a:gd name="connsiteX26" fmla="*/ 35826 w 273603"/>
                    <a:gd name="connsiteY26" fmla="*/ 115167 h 125700"/>
                    <a:gd name="connsiteX27" fmla="*/ 28263 w 273603"/>
                    <a:gd name="connsiteY27" fmla="*/ 115986 h 125700"/>
                    <a:gd name="connsiteX28" fmla="*/ 14957 w 273603"/>
                    <a:gd name="connsiteY28" fmla="*/ 115443 h 125700"/>
                    <a:gd name="connsiteX29" fmla="*/ 3641 w 273603"/>
                    <a:gd name="connsiteY29" fmla="*/ 113729 h 125700"/>
                    <a:gd name="connsiteX30" fmla="*/ 126 w 273603"/>
                    <a:gd name="connsiteY30" fmla="*/ 103032 h 125700"/>
                    <a:gd name="connsiteX31" fmla="*/ 4669 w 273603"/>
                    <a:gd name="connsiteY31" fmla="*/ 102651 h 125700"/>
                    <a:gd name="connsiteX32" fmla="*/ 10127 w 273603"/>
                    <a:gd name="connsiteY32" fmla="*/ 97174 h 125700"/>
                    <a:gd name="connsiteX33" fmla="*/ 25377 w 273603"/>
                    <a:gd name="connsiteY33" fmla="*/ 98736 h 125700"/>
                    <a:gd name="connsiteX34" fmla="*/ 35369 w 273603"/>
                    <a:gd name="connsiteY34" fmla="*/ 103365 h 125700"/>
                    <a:gd name="connsiteX35" fmla="*/ 35930 w 273603"/>
                    <a:gd name="connsiteY35" fmla="*/ 99441 h 125700"/>
                    <a:gd name="connsiteX36" fmla="*/ 42160 w 273603"/>
                    <a:gd name="connsiteY36" fmla="*/ 96393 h 125700"/>
                    <a:gd name="connsiteX37" fmla="*/ 50828 w 273603"/>
                    <a:gd name="connsiteY37" fmla="*/ 93088 h 125700"/>
                    <a:gd name="connsiteX38" fmla="*/ 66677 w 273603"/>
                    <a:gd name="connsiteY38" fmla="*/ 95336 h 125700"/>
                    <a:gd name="connsiteX39" fmla="*/ 70621 w 273603"/>
                    <a:gd name="connsiteY39" fmla="*/ 91364 h 125700"/>
                    <a:gd name="connsiteX40" fmla="*/ 74193 w 273603"/>
                    <a:gd name="connsiteY40" fmla="*/ 87744 h 125700"/>
                    <a:gd name="connsiteX41" fmla="*/ 77821 w 273603"/>
                    <a:gd name="connsiteY41" fmla="*/ 89059 h 125700"/>
                    <a:gd name="connsiteX42" fmla="*/ 78041 w 273603"/>
                    <a:gd name="connsiteY42" fmla="*/ 84220 h 125700"/>
                    <a:gd name="connsiteX43" fmla="*/ 86994 w 273603"/>
                    <a:gd name="connsiteY43" fmla="*/ 83687 h 125700"/>
                    <a:gd name="connsiteX44" fmla="*/ 95519 w 273603"/>
                    <a:gd name="connsiteY44" fmla="*/ 76181 h 125700"/>
                    <a:gd name="connsiteX45" fmla="*/ 85975 w 273603"/>
                    <a:gd name="connsiteY45" fmla="*/ 74838 h 125700"/>
                    <a:gd name="connsiteX46" fmla="*/ 75421 w 273603"/>
                    <a:gd name="connsiteY46" fmla="*/ 70866 h 125700"/>
                    <a:gd name="connsiteX47" fmla="*/ 66458 w 273603"/>
                    <a:gd name="connsiteY47" fmla="*/ 69437 h 125700"/>
                    <a:gd name="connsiteX48" fmla="*/ 64077 w 273603"/>
                    <a:gd name="connsiteY48" fmla="*/ 65094 h 125700"/>
                    <a:gd name="connsiteX49" fmla="*/ 59648 w 273603"/>
                    <a:gd name="connsiteY49" fmla="*/ 64980 h 125700"/>
                    <a:gd name="connsiteX50" fmla="*/ 50142 w 273603"/>
                    <a:gd name="connsiteY50" fmla="*/ 57302 h 125700"/>
                    <a:gd name="connsiteX51" fmla="*/ 41379 w 273603"/>
                    <a:gd name="connsiteY51" fmla="*/ 59779 h 125700"/>
                    <a:gd name="connsiteX52" fmla="*/ 43436 w 273603"/>
                    <a:gd name="connsiteY52" fmla="*/ 66666 h 125700"/>
                    <a:gd name="connsiteX53" fmla="*/ 26129 w 273603"/>
                    <a:gd name="connsiteY53" fmla="*/ 62855 h 125700"/>
                    <a:gd name="connsiteX54" fmla="*/ 19462 w 273603"/>
                    <a:gd name="connsiteY54" fmla="*/ 56264 h 125700"/>
                    <a:gd name="connsiteX55" fmla="*/ 12089 w 273603"/>
                    <a:gd name="connsiteY55" fmla="*/ 56388 h 125700"/>
                    <a:gd name="connsiteX56" fmla="*/ 9203 w 273603"/>
                    <a:gd name="connsiteY56" fmla="*/ 48235 h 125700"/>
                    <a:gd name="connsiteX57" fmla="*/ 13271 w 273603"/>
                    <a:gd name="connsiteY57" fmla="*/ 42739 h 125700"/>
                    <a:gd name="connsiteX58" fmla="*/ 16423 w 273603"/>
                    <a:gd name="connsiteY58" fmla="*/ 41662 h 125700"/>
                    <a:gd name="connsiteX59" fmla="*/ 16938 w 273603"/>
                    <a:gd name="connsiteY59" fmla="*/ 38110 h 125700"/>
                    <a:gd name="connsiteX60" fmla="*/ 20005 w 273603"/>
                    <a:gd name="connsiteY60" fmla="*/ 30671 h 125700"/>
                    <a:gd name="connsiteX61" fmla="*/ 15014 w 273603"/>
                    <a:gd name="connsiteY61" fmla="*/ 23317 h 125700"/>
                    <a:gd name="connsiteX62" fmla="*/ 45408 w 273603"/>
                    <a:gd name="connsiteY62" fmla="*/ 15164 h 125700"/>
                    <a:gd name="connsiteX63" fmla="*/ 64629 w 273603"/>
                    <a:gd name="connsiteY63" fmla="*/ 21384 h 125700"/>
                    <a:gd name="connsiteX64" fmla="*/ 75716 w 273603"/>
                    <a:gd name="connsiteY64" fmla="*/ 22860 h 125700"/>
                    <a:gd name="connsiteX65" fmla="*/ 84137 w 273603"/>
                    <a:gd name="connsiteY65" fmla="*/ 26184 h 125700"/>
                    <a:gd name="connsiteX66" fmla="*/ 79203 w 273603"/>
                    <a:gd name="connsiteY66" fmla="*/ 5744 h 125700"/>
                    <a:gd name="connsiteX67" fmla="*/ 92214 w 273603"/>
                    <a:gd name="connsiteY67" fmla="*/ 0 h 125700"/>
                    <a:gd name="connsiteX68" fmla="*/ 131171 w 273603"/>
                    <a:gd name="connsiteY68" fmla="*/ 12868 h 125700"/>
                    <a:gd name="connsiteX69" fmla="*/ 145354 w 273603"/>
                    <a:gd name="connsiteY69" fmla="*/ 9858 h 125700"/>
                    <a:gd name="connsiteX70" fmla="*/ 164766 w 273603"/>
                    <a:gd name="connsiteY70" fmla="*/ 9506 h 125700"/>
                    <a:gd name="connsiteX71" fmla="*/ 200618 w 273603"/>
                    <a:gd name="connsiteY71" fmla="*/ 11868 h 125700"/>
                    <a:gd name="connsiteX72" fmla="*/ 233612 w 273603"/>
                    <a:gd name="connsiteY72" fmla="*/ 14897 h 125700"/>
                    <a:gd name="connsiteX73" fmla="*/ 250586 w 273603"/>
                    <a:gd name="connsiteY73" fmla="*/ 24689 h 125700"/>
                    <a:gd name="connsiteX74" fmla="*/ 271246 w 273603"/>
                    <a:gd name="connsiteY74" fmla="*/ 33042 h 125700"/>
                    <a:gd name="connsiteX75" fmla="*/ 271246 w 273603"/>
                    <a:gd name="connsiteY75" fmla="*/ 33042 h 12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73603" h="125700">
                      <a:moveTo>
                        <a:pt x="271246" y="33042"/>
                      </a:moveTo>
                      <a:cubicBezTo>
                        <a:pt x="278446" y="39272"/>
                        <a:pt x="267188" y="38805"/>
                        <a:pt x="263664" y="40681"/>
                      </a:cubicBezTo>
                      <a:cubicBezTo>
                        <a:pt x="259511" y="42882"/>
                        <a:pt x="253567" y="45720"/>
                        <a:pt x="248681" y="48073"/>
                      </a:cubicBezTo>
                      <a:cubicBezTo>
                        <a:pt x="243537" y="50549"/>
                        <a:pt x="235194" y="54835"/>
                        <a:pt x="232479" y="59550"/>
                      </a:cubicBezTo>
                      <a:cubicBezTo>
                        <a:pt x="231460" y="61322"/>
                        <a:pt x="233146" y="65065"/>
                        <a:pt x="230278" y="67475"/>
                      </a:cubicBezTo>
                      <a:cubicBezTo>
                        <a:pt x="227831" y="69533"/>
                        <a:pt x="224754" y="68256"/>
                        <a:pt x="221735" y="68790"/>
                      </a:cubicBezTo>
                      <a:cubicBezTo>
                        <a:pt x="214753" y="70009"/>
                        <a:pt x="207876" y="68694"/>
                        <a:pt x="200951" y="69609"/>
                      </a:cubicBezTo>
                      <a:cubicBezTo>
                        <a:pt x="193893" y="70533"/>
                        <a:pt x="194722" y="74438"/>
                        <a:pt x="194027" y="80534"/>
                      </a:cubicBezTo>
                      <a:cubicBezTo>
                        <a:pt x="193798" y="82544"/>
                        <a:pt x="194465" y="86077"/>
                        <a:pt x="193150" y="87868"/>
                      </a:cubicBezTo>
                      <a:cubicBezTo>
                        <a:pt x="189779" y="92497"/>
                        <a:pt x="190302" y="88068"/>
                        <a:pt x="187254" y="88478"/>
                      </a:cubicBezTo>
                      <a:cubicBezTo>
                        <a:pt x="183168" y="89030"/>
                        <a:pt x="177558" y="94574"/>
                        <a:pt x="172814" y="92402"/>
                      </a:cubicBezTo>
                      <a:cubicBezTo>
                        <a:pt x="169709" y="90973"/>
                        <a:pt x="169738" y="85115"/>
                        <a:pt x="166718" y="83668"/>
                      </a:cubicBezTo>
                      <a:cubicBezTo>
                        <a:pt x="162908" y="81829"/>
                        <a:pt x="164575" y="83477"/>
                        <a:pt x="160403" y="85277"/>
                      </a:cubicBezTo>
                      <a:cubicBezTo>
                        <a:pt x="155936" y="87201"/>
                        <a:pt x="142124" y="85449"/>
                        <a:pt x="149002" y="91697"/>
                      </a:cubicBezTo>
                      <a:cubicBezTo>
                        <a:pt x="144573" y="91135"/>
                        <a:pt x="144211" y="94297"/>
                        <a:pt x="141153" y="96336"/>
                      </a:cubicBezTo>
                      <a:cubicBezTo>
                        <a:pt x="138362" y="98193"/>
                        <a:pt x="132647" y="98136"/>
                        <a:pt x="130476" y="100041"/>
                      </a:cubicBezTo>
                      <a:cubicBezTo>
                        <a:pt x="123332" y="106280"/>
                        <a:pt x="133142" y="109795"/>
                        <a:pt x="133066" y="114900"/>
                      </a:cubicBezTo>
                      <a:cubicBezTo>
                        <a:pt x="133000" y="120063"/>
                        <a:pt x="122474" y="119948"/>
                        <a:pt x="118769" y="120844"/>
                      </a:cubicBezTo>
                      <a:cubicBezTo>
                        <a:pt x="111673" y="122539"/>
                        <a:pt x="101005" y="119177"/>
                        <a:pt x="94747" y="122634"/>
                      </a:cubicBezTo>
                      <a:cubicBezTo>
                        <a:pt x="89985" y="125263"/>
                        <a:pt x="93538" y="126301"/>
                        <a:pt x="88109" y="125358"/>
                      </a:cubicBezTo>
                      <a:cubicBezTo>
                        <a:pt x="86460" y="125073"/>
                        <a:pt x="85270" y="122625"/>
                        <a:pt x="83670" y="122482"/>
                      </a:cubicBezTo>
                      <a:cubicBezTo>
                        <a:pt x="81889" y="122320"/>
                        <a:pt x="79593" y="125254"/>
                        <a:pt x="78355" y="124854"/>
                      </a:cubicBezTo>
                      <a:cubicBezTo>
                        <a:pt x="75164" y="123806"/>
                        <a:pt x="75555" y="121387"/>
                        <a:pt x="72983" y="119644"/>
                      </a:cubicBezTo>
                      <a:cubicBezTo>
                        <a:pt x="71687" y="118758"/>
                        <a:pt x="69602" y="119634"/>
                        <a:pt x="68144" y="118863"/>
                      </a:cubicBezTo>
                      <a:cubicBezTo>
                        <a:pt x="67392" y="118462"/>
                        <a:pt x="66973" y="116157"/>
                        <a:pt x="66791" y="116100"/>
                      </a:cubicBezTo>
                      <a:cubicBezTo>
                        <a:pt x="61581" y="114481"/>
                        <a:pt x="59191" y="117538"/>
                        <a:pt x="54647" y="119291"/>
                      </a:cubicBezTo>
                      <a:cubicBezTo>
                        <a:pt x="46741" y="122320"/>
                        <a:pt x="44103" y="116005"/>
                        <a:pt x="35826" y="115167"/>
                      </a:cubicBezTo>
                      <a:cubicBezTo>
                        <a:pt x="33368" y="114919"/>
                        <a:pt x="30035" y="115919"/>
                        <a:pt x="28263" y="115986"/>
                      </a:cubicBezTo>
                      <a:cubicBezTo>
                        <a:pt x="23900" y="116157"/>
                        <a:pt x="19214" y="115186"/>
                        <a:pt x="14957" y="115443"/>
                      </a:cubicBezTo>
                      <a:cubicBezTo>
                        <a:pt x="8632" y="115833"/>
                        <a:pt x="7965" y="118367"/>
                        <a:pt x="3641" y="113729"/>
                      </a:cubicBezTo>
                      <a:cubicBezTo>
                        <a:pt x="698" y="110576"/>
                        <a:pt x="-398" y="107375"/>
                        <a:pt x="126" y="103032"/>
                      </a:cubicBezTo>
                      <a:cubicBezTo>
                        <a:pt x="4698" y="106137"/>
                        <a:pt x="4060" y="103127"/>
                        <a:pt x="4669" y="102651"/>
                      </a:cubicBezTo>
                      <a:cubicBezTo>
                        <a:pt x="6460" y="101241"/>
                        <a:pt x="3783" y="99193"/>
                        <a:pt x="10127" y="97174"/>
                      </a:cubicBezTo>
                      <a:cubicBezTo>
                        <a:pt x="16033" y="95298"/>
                        <a:pt x="19614" y="96641"/>
                        <a:pt x="25377" y="98736"/>
                      </a:cubicBezTo>
                      <a:cubicBezTo>
                        <a:pt x="27701" y="99574"/>
                        <a:pt x="33797" y="103803"/>
                        <a:pt x="35369" y="103365"/>
                      </a:cubicBezTo>
                      <a:cubicBezTo>
                        <a:pt x="37359" y="102822"/>
                        <a:pt x="35254" y="99908"/>
                        <a:pt x="35930" y="99441"/>
                      </a:cubicBezTo>
                      <a:cubicBezTo>
                        <a:pt x="38035" y="97955"/>
                        <a:pt x="39950" y="97650"/>
                        <a:pt x="42160" y="96393"/>
                      </a:cubicBezTo>
                      <a:cubicBezTo>
                        <a:pt x="44655" y="94983"/>
                        <a:pt x="45494" y="92688"/>
                        <a:pt x="50828" y="93088"/>
                      </a:cubicBezTo>
                      <a:cubicBezTo>
                        <a:pt x="57066" y="93555"/>
                        <a:pt x="61858" y="97393"/>
                        <a:pt x="66677" y="95336"/>
                      </a:cubicBezTo>
                      <a:cubicBezTo>
                        <a:pt x="69659" y="94059"/>
                        <a:pt x="68792" y="92983"/>
                        <a:pt x="70621" y="91364"/>
                      </a:cubicBezTo>
                      <a:cubicBezTo>
                        <a:pt x="72354" y="89840"/>
                        <a:pt x="72011" y="88583"/>
                        <a:pt x="74193" y="87744"/>
                      </a:cubicBezTo>
                      <a:cubicBezTo>
                        <a:pt x="75497" y="87239"/>
                        <a:pt x="76516" y="89916"/>
                        <a:pt x="77821" y="89059"/>
                      </a:cubicBezTo>
                      <a:cubicBezTo>
                        <a:pt x="79470" y="87982"/>
                        <a:pt x="79088" y="83772"/>
                        <a:pt x="78041" y="84220"/>
                      </a:cubicBezTo>
                      <a:cubicBezTo>
                        <a:pt x="80813" y="83039"/>
                        <a:pt x="83527" y="85430"/>
                        <a:pt x="86994" y="83687"/>
                      </a:cubicBezTo>
                      <a:cubicBezTo>
                        <a:pt x="87842" y="83258"/>
                        <a:pt x="95557" y="76324"/>
                        <a:pt x="95519" y="76181"/>
                      </a:cubicBezTo>
                      <a:cubicBezTo>
                        <a:pt x="95109" y="74895"/>
                        <a:pt x="87385" y="75009"/>
                        <a:pt x="85975" y="74838"/>
                      </a:cubicBezTo>
                      <a:cubicBezTo>
                        <a:pt x="80755" y="74190"/>
                        <a:pt x="80126" y="72762"/>
                        <a:pt x="75421" y="70866"/>
                      </a:cubicBezTo>
                      <a:cubicBezTo>
                        <a:pt x="72430" y="69666"/>
                        <a:pt x="68506" y="70552"/>
                        <a:pt x="66458" y="69437"/>
                      </a:cubicBezTo>
                      <a:cubicBezTo>
                        <a:pt x="65229" y="68771"/>
                        <a:pt x="65477" y="65837"/>
                        <a:pt x="64077" y="65094"/>
                      </a:cubicBezTo>
                      <a:cubicBezTo>
                        <a:pt x="62400" y="64208"/>
                        <a:pt x="61363" y="65780"/>
                        <a:pt x="59648" y="64980"/>
                      </a:cubicBezTo>
                      <a:cubicBezTo>
                        <a:pt x="55380" y="62979"/>
                        <a:pt x="53914" y="60655"/>
                        <a:pt x="50142" y="57302"/>
                      </a:cubicBezTo>
                      <a:cubicBezTo>
                        <a:pt x="39045" y="47434"/>
                        <a:pt x="50865" y="65322"/>
                        <a:pt x="41379" y="59779"/>
                      </a:cubicBezTo>
                      <a:cubicBezTo>
                        <a:pt x="42189" y="62036"/>
                        <a:pt x="43246" y="64513"/>
                        <a:pt x="43436" y="66666"/>
                      </a:cubicBezTo>
                      <a:cubicBezTo>
                        <a:pt x="38026" y="64913"/>
                        <a:pt x="31330" y="66046"/>
                        <a:pt x="26129" y="62855"/>
                      </a:cubicBezTo>
                      <a:cubicBezTo>
                        <a:pt x="23510" y="61246"/>
                        <a:pt x="22453" y="57417"/>
                        <a:pt x="19462" y="56264"/>
                      </a:cubicBezTo>
                      <a:cubicBezTo>
                        <a:pt x="17776" y="55617"/>
                        <a:pt x="14109" y="56664"/>
                        <a:pt x="12089" y="56388"/>
                      </a:cubicBezTo>
                      <a:cubicBezTo>
                        <a:pt x="2612" y="55093"/>
                        <a:pt x="4669" y="53397"/>
                        <a:pt x="9203" y="48235"/>
                      </a:cubicBezTo>
                      <a:cubicBezTo>
                        <a:pt x="10632" y="46615"/>
                        <a:pt x="12004" y="44434"/>
                        <a:pt x="13271" y="42739"/>
                      </a:cubicBezTo>
                      <a:cubicBezTo>
                        <a:pt x="13861" y="41948"/>
                        <a:pt x="15766" y="42262"/>
                        <a:pt x="16423" y="41662"/>
                      </a:cubicBezTo>
                      <a:cubicBezTo>
                        <a:pt x="17356" y="40796"/>
                        <a:pt x="15947" y="38891"/>
                        <a:pt x="16938" y="38110"/>
                      </a:cubicBezTo>
                      <a:cubicBezTo>
                        <a:pt x="21424" y="34604"/>
                        <a:pt x="29787" y="34347"/>
                        <a:pt x="20005" y="30671"/>
                      </a:cubicBezTo>
                      <a:cubicBezTo>
                        <a:pt x="15118" y="28832"/>
                        <a:pt x="13108" y="30556"/>
                        <a:pt x="15014" y="23317"/>
                      </a:cubicBezTo>
                      <a:cubicBezTo>
                        <a:pt x="18347" y="10611"/>
                        <a:pt x="34759" y="12973"/>
                        <a:pt x="45408" y="15164"/>
                      </a:cubicBezTo>
                      <a:cubicBezTo>
                        <a:pt x="52228" y="16564"/>
                        <a:pt x="58248" y="19479"/>
                        <a:pt x="64629" y="21384"/>
                      </a:cubicBezTo>
                      <a:cubicBezTo>
                        <a:pt x="68163" y="22441"/>
                        <a:pt x="72154" y="21736"/>
                        <a:pt x="75716" y="22860"/>
                      </a:cubicBezTo>
                      <a:cubicBezTo>
                        <a:pt x="78679" y="23793"/>
                        <a:pt x="80793" y="25898"/>
                        <a:pt x="84137" y="26184"/>
                      </a:cubicBezTo>
                      <a:cubicBezTo>
                        <a:pt x="80222" y="21079"/>
                        <a:pt x="75040" y="11706"/>
                        <a:pt x="79203" y="5744"/>
                      </a:cubicBezTo>
                      <a:cubicBezTo>
                        <a:pt x="82184" y="1486"/>
                        <a:pt x="90471" y="3505"/>
                        <a:pt x="92214" y="0"/>
                      </a:cubicBezTo>
                      <a:cubicBezTo>
                        <a:pt x="105215" y="4629"/>
                        <a:pt x="117217" y="11278"/>
                        <a:pt x="131171" y="12868"/>
                      </a:cubicBezTo>
                      <a:cubicBezTo>
                        <a:pt x="138582" y="13716"/>
                        <a:pt x="138515" y="10116"/>
                        <a:pt x="145354" y="9858"/>
                      </a:cubicBezTo>
                      <a:cubicBezTo>
                        <a:pt x="151879" y="9611"/>
                        <a:pt x="158260" y="10325"/>
                        <a:pt x="164766" y="9506"/>
                      </a:cubicBezTo>
                      <a:cubicBezTo>
                        <a:pt x="176500" y="8020"/>
                        <a:pt x="188654" y="10954"/>
                        <a:pt x="200618" y="11868"/>
                      </a:cubicBezTo>
                      <a:cubicBezTo>
                        <a:pt x="210762" y="12649"/>
                        <a:pt x="224154" y="11287"/>
                        <a:pt x="233612" y="14897"/>
                      </a:cubicBezTo>
                      <a:cubicBezTo>
                        <a:pt x="239813" y="17269"/>
                        <a:pt x="243375" y="23241"/>
                        <a:pt x="250586" y="24689"/>
                      </a:cubicBezTo>
                      <a:cubicBezTo>
                        <a:pt x="259006" y="26346"/>
                        <a:pt x="263797" y="28204"/>
                        <a:pt x="271246" y="33042"/>
                      </a:cubicBezTo>
                      <a:lnTo>
                        <a:pt x="271246" y="33042"/>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23" name="Freeform: Shape 622">
                  <a:extLst>
                    <a:ext uri="{FF2B5EF4-FFF2-40B4-BE49-F238E27FC236}">
                      <a16:creationId xmlns:a16="http://schemas.microsoft.com/office/drawing/2014/main" id="{BCE64097-625F-47F6-A6DB-FF909E62DBF4}"/>
                    </a:ext>
                  </a:extLst>
                </p:cNvPr>
                <p:cNvSpPr/>
                <p:nvPr/>
              </p:nvSpPr>
              <p:spPr>
                <a:xfrm>
                  <a:off x="6660765" y="4191902"/>
                  <a:ext cx="250573" cy="320811"/>
                </a:xfrm>
                <a:custGeom>
                  <a:avLst/>
                  <a:gdLst>
                    <a:gd name="connsiteX0" fmla="*/ 41929 w 250573"/>
                    <a:gd name="connsiteY0" fmla="*/ 3391 h 320811"/>
                    <a:gd name="connsiteX1" fmla="*/ 57855 w 250573"/>
                    <a:gd name="connsiteY1" fmla="*/ 7829 h 320811"/>
                    <a:gd name="connsiteX2" fmla="*/ 57055 w 250573"/>
                    <a:gd name="connsiteY2" fmla="*/ 17059 h 320811"/>
                    <a:gd name="connsiteX3" fmla="*/ 62684 w 250573"/>
                    <a:gd name="connsiteY3" fmla="*/ 27927 h 320811"/>
                    <a:gd name="connsiteX4" fmla="*/ 83429 w 250573"/>
                    <a:gd name="connsiteY4" fmla="*/ 33252 h 320811"/>
                    <a:gd name="connsiteX5" fmla="*/ 108080 w 250573"/>
                    <a:gd name="connsiteY5" fmla="*/ 43015 h 320811"/>
                    <a:gd name="connsiteX6" fmla="*/ 129854 w 250573"/>
                    <a:gd name="connsiteY6" fmla="*/ 57045 h 320811"/>
                    <a:gd name="connsiteX7" fmla="*/ 153419 w 250573"/>
                    <a:gd name="connsiteY7" fmla="*/ 61074 h 320811"/>
                    <a:gd name="connsiteX8" fmla="*/ 178994 w 250573"/>
                    <a:gd name="connsiteY8" fmla="*/ 61998 h 320811"/>
                    <a:gd name="connsiteX9" fmla="*/ 186842 w 250573"/>
                    <a:gd name="connsiteY9" fmla="*/ 51435 h 320811"/>
                    <a:gd name="connsiteX10" fmla="*/ 200482 w 250573"/>
                    <a:gd name="connsiteY10" fmla="*/ 44710 h 320811"/>
                    <a:gd name="connsiteX11" fmla="*/ 213483 w 250573"/>
                    <a:gd name="connsiteY11" fmla="*/ 39081 h 320811"/>
                    <a:gd name="connsiteX12" fmla="*/ 224437 w 250573"/>
                    <a:gd name="connsiteY12" fmla="*/ 46225 h 320811"/>
                    <a:gd name="connsiteX13" fmla="*/ 250574 w 250573"/>
                    <a:gd name="connsiteY13" fmla="*/ 47701 h 320811"/>
                    <a:gd name="connsiteX14" fmla="*/ 238201 w 250573"/>
                    <a:gd name="connsiteY14" fmla="*/ 66037 h 320811"/>
                    <a:gd name="connsiteX15" fmla="*/ 223628 w 250573"/>
                    <a:gd name="connsiteY15" fmla="*/ 82715 h 320811"/>
                    <a:gd name="connsiteX16" fmla="*/ 223151 w 250573"/>
                    <a:gd name="connsiteY16" fmla="*/ 126835 h 320811"/>
                    <a:gd name="connsiteX17" fmla="*/ 223523 w 250573"/>
                    <a:gd name="connsiteY17" fmla="*/ 172031 h 320811"/>
                    <a:gd name="connsiteX18" fmla="*/ 223580 w 250573"/>
                    <a:gd name="connsiteY18" fmla="*/ 195348 h 320811"/>
                    <a:gd name="connsiteX19" fmla="*/ 232972 w 250573"/>
                    <a:gd name="connsiteY19" fmla="*/ 212645 h 320811"/>
                    <a:gd name="connsiteX20" fmla="*/ 237210 w 250573"/>
                    <a:gd name="connsiteY20" fmla="*/ 230562 h 320811"/>
                    <a:gd name="connsiteX21" fmla="*/ 222389 w 250573"/>
                    <a:gd name="connsiteY21" fmla="*/ 237763 h 320811"/>
                    <a:gd name="connsiteX22" fmla="*/ 220436 w 250573"/>
                    <a:gd name="connsiteY22" fmla="*/ 236734 h 320811"/>
                    <a:gd name="connsiteX23" fmla="*/ 217989 w 250573"/>
                    <a:gd name="connsiteY23" fmla="*/ 247479 h 320811"/>
                    <a:gd name="connsiteX24" fmla="*/ 204921 w 250573"/>
                    <a:gd name="connsiteY24" fmla="*/ 253498 h 320811"/>
                    <a:gd name="connsiteX25" fmla="*/ 197834 w 250573"/>
                    <a:gd name="connsiteY25" fmla="*/ 263862 h 320811"/>
                    <a:gd name="connsiteX26" fmla="*/ 191995 w 250573"/>
                    <a:gd name="connsiteY26" fmla="*/ 278139 h 320811"/>
                    <a:gd name="connsiteX27" fmla="*/ 181384 w 250573"/>
                    <a:gd name="connsiteY27" fmla="*/ 301133 h 320811"/>
                    <a:gd name="connsiteX28" fmla="*/ 175155 w 250573"/>
                    <a:gd name="connsiteY28" fmla="*/ 313506 h 320811"/>
                    <a:gd name="connsiteX29" fmla="*/ 166230 w 250573"/>
                    <a:gd name="connsiteY29" fmla="*/ 320812 h 320811"/>
                    <a:gd name="connsiteX30" fmla="*/ 129444 w 250573"/>
                    <a:gd name="connsiteY30" fmla="*/ 294046 h 320811"/>
                    <a:gd name="connsiteX31" fmla="*/ 116395 w 250573"/>
                    <a:gd name="connsiteY31" fmla="*/ 282616 h 320811"/>
                    <a:gd name="connsiteX32" fmla="*/ 115471 w 250573"/>
                    <a:gd name="connsiteY32" fmla="*/ 267662 h 320811"/>
                    <a:gd name="connsiteX33" fmla="*/ 94669 w 250573"/>
                    <a:gd name="connsiteY33" fmla="*/ 255927 h 320811"/>
                    <a:gd name="connsiteX34" fmla="*/ 73943 w 250573"/>
                    <a:gd name="connsiteY34" fmla="*/ 244269 h 320811"/>
                    <a:gd name="connsiteX35" fmla="*/ 29375 w 250573"/>
                    <a:gd name="connsiteY35" fmla="*/ 219218 h 320811"/>
                    <a:gd name="connsiteX36" fmla="*/ 7801 w 250573"/>
                    <a:gd name="connsiteY36" fmla="*/ 207121 h 320811"/>
                    <a:gd name="connsiteX37" fmla="*/ 676 w 250573"/>
                    <a:gd name="connsiteY37" fmla="*/ 202863 h 320811"/>
                    <a:gd name="connsiteX38" fmla="*/ 1285 w 250573"/>
                    <a:gd name="connsiteY38" fmla="*/ 187680 h 320811"/>
                    <a:gd name="connsiteX39" fmla="*/ 4953 w 250573"/>
                    <a:gd name="connsiteY39" fmla="*/ 163763 h 320811"/>
                    <a:gd name="connsiteX40" fmla="*/ 9782 w 250573"/>
                    <a:gd name="connsiteY40" fmla="*/ 153228 h 320811"/>
                    <a:gd name="connsiteX41" fmla="*/ 16649 w 250573"/>
                    <a:gd name="connsiteY41" fmla="*/ 145732 h 320811"/>
                    <a:gd name="connsiteX42" fmla="*/ 22660 w 250573"/>
                    <a:gd name="connsiteY42" fmla="*/ 136598 h 320811"/>
                    <a:gd name="connsiteX43" fmla="*/ 28975 w 250573"/>
                    <a:gd name="connsiteY43" fmla="*/ 133169 h 320811"/>
                    <a:gd name="connsiteX44" fmla="*/ 31156 w 250573"/>
                    <a:gd name="connsiteY44" fmla="*/ 125092 h 320811"/>
                    <a:gd name="connsiteX45" fmla="*/ 34347 w 250573"/>
                    <a:gd name="connsiteY45" fmla="*/ 117624 h 320811"/>
                    <a:gd name="connsiteX46" fmla="*/ 31794 w 250573"/>
                    <a:gd name="connsiteY46" fmla="*/ 94888 h 320811"/>
                    <a:gd name="connsiteX47" fmla="*/ 21317 w 250573"/>
                    <a:gd name="connsiteY47" fmla="*/ 79829 h 320811"/>
                    <a:gd name="connsiteX48" fmla="*/ 15707 w 250573"/>
                    <a:gd name="connsiteY48" fmla="*/ 67332 h 320811"/>
                    <a:gd name="connsiteX49" fmla="*/ 15763 w 250573"/>
                    <a:gd name="connsiteY49" fmla="*/ 57359 h 320811"/>
                    <a:gd name="connsiteX50" fmla="*/ 8191 w 250573"/>
                    <a:gd name="connsiteY50" fmla="*/ 52025 h 320811"/>
                    <a:gd name="connsiteX51" fmla="*/ 2657 w 250573"/>
                    <a:gd name="connsiteY51" fmla="*/ 42120 h 320811"/>
                    <a:gd name="connsiteX52" fmla="*/ 21002 w 250573"/>
                    <a:gd name="connsiteY52" fmla="*/ 20431 h 320811"/>
                    <a:gd name="connsiteX53" fmla="*/ 41195 w 250573"/>
                    <a:gd name="connsiteY53" fmla="*/ 0 h 320811"/>
                    <a:gd name="connsiteX54" fmla="*/ 41929 w 250573"/>
                    <a:gd name="connsiteY54" fmla="*/ 3391 h 320811"/>
                    <a:gd name="connsiteX55" fmla="*/ 41929 w 250573"/>
                    <a:gd name="connsiteY55" fmla="*/ 3391 h 32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50573" h="320811">
                      <a:moveTo>
                        <a:pt x="41929" y="3391"/>
                      </a:moveTo>
                      <a:cubicBezTo>
                        <a:pt x="47148" y="3400"/>
                        <a:pt x="55178" y="895"/>
                        <a:pt x="57855" y="7829"/>
                      </a:cubicBezTo>
                      <a:cubicBezTo>
                        <a:pt x="58959" y="10687"/>
                        <a:pt x="56931" y="14087"/>
                        <a:pt x="57055" y="17059"/>
                      </a:cubicBezTo>
                      <a:cubicBezTo>
                        <a:pt x="57245" y="22050"/>
                        <a:pt x="59426" y="24279"/>
                        <a:pt x="62684" y="27927"/>
                      </a:cubicBezTo>
                      <a:cubicBezTo>
                        <a:pt x="68532" y="34471"/>
                        <a:pt x="74285" y="33013"/>
                        <a:pt x="83429" y="33252"/>
                      </a:cubicBezTo>
                      <a:cubicBezTo>
                        <a:pt x="93859" y="33518"/>
                        <a:pt x="99298" y="37490"/>
                        <a:pt x="108080" y="43015"/>
                      </a:cubicBezTo>
                      <a:cubicBezTo>
                        <a:pt x="115176" y="47482"/>
                        <a:pt x="122291" y="53473"/>
                        <a:pt x="129854" y="57045"/>
                      </a:cubicBezTo>
                      <a:cubicBezTo>
                        <a:pt x="136807" y="60341"/>
                        <a:pt x="145828" y="59598"/>
                        <a:pt x="153419" y="61074"/>
                      </a:cubicBezTo>
                      <a:cubicBezTo>
                        <a:pt x="160972" y="62541"/>
                        <a:pt x="172517" y="66322"/>
                        <a:pt x="178994" y="61998"/>
                      </a:cubicBezTo>
                      <a:cubicBezTo>
                        <a:pt x="182775" y="59464"/>
                        <a:pt x="183746" y="54245"/>
                        <a:pt x="186842" y="51435"/>
                      </a:cubicBezTo>
                      <a:cubicBezTo>
                        <a:pt x="190281" y="48320"/>
                        <a:pt x="196376" y="46568"/>
                        <a:pt x="200482" y="44710"/>
                      </a:cubicBezTo>
                      <a:cubicBezTo>
                        <a:pt x="203844" y="43186"/>
                        <a:pt x="209769" y="39195"/>
                        <a:pt x="213483" y="39081"/>
                      </a:cubicBezTo>
                      <a:cubicBezTo>
                        <a:pt x="218246" y="38928"/>
                        <a:pt x="220294" y="43634"/>
                        <a:pt x="224437" y="46225"/>
                      </a:cubicBezTo>
                      <a:cubicBezTo>
                        <a:pt x="232114" y="51016"/>
                        <a:pt x="241782" y="47349"/>
                        <a:pt x="250574" y="47701"/>
                      </a:cubicBezTo>
                      <a:cubicBezTo>
                        <a:pt x="246469" y="53826"/>
                        <a:pt x="242344" y="59931"/>
                        <a:pt x="238201" y="66037"/>
                      </a:cubicBezTo>
                      <a:cubicBezTo>
                        <a:pt x="234258" y="71876"/>
                        <a:pt x="226799" y="76762"/>
                        <a:pt x="223628" y="82715"/>
                      </a:cubicBezTo>
                      <a:cubicBezTo>
                        <a:pt x="218494" y="92354"/>
                        <a:pt x="223008" y="115909"/>
                        <a:pt x="223151" y="126835"/>
                      </a:cubicBezTo>
                      <a:cubicBezTo>
                        <a:pt x="223351" y="141903"/>
                        <a:pt x="223437" y="156972"/>
                        <a:pt x="223523" y="172031"/>
                      </a:cubicBezTo>
                      <a:cubicBezTo>
                        <a:pt x="223571" y="179603"/>
                        <a:pt x="222780" y="187842"/>
                        <a:pt x="223580" y="195348"/>
                      </a:cubicBezTo>
                      <a:cubicBezTo>
                        <a:pt x="224371" y="202730"/>
                        <a:pt x="228381" y="206645"/>
                        <a:pt x="232972" y="212645"/>
                      </a:cubicBezTo>
                      <a:cubicBezTo>
                        <a:pt x="237972" y="219189"/>
                        <a:pt x="244211" y="223437"/>
                        <a:pt x="237210" y="230562"/>
                      </a:cubicBezTo>
                      <a:cubicBezTo>
                        <a:pt x="233296" y="234553"/>
                        <a:pt x="222828" y="233696"/>
                        <a:pt x="222389" y="237763"/>
                      </a:cubicBezTo>
                      <a:cubicBezTo>
                        <a:pt x="221989" y="237563"/>
                        <a:pt x="220827" y="236772"/>
                        <a:pt x="220436" y="236734"/>
                      </a:cubicBezTo>
                      <a:cubicBezTo>
                        <a:pt x="221608" y="241668"/>
                        <a:pt x="220922" y="243764"/>
                        <a:pt x="217989" y="247479"/>
                      </a:cubicBezTo>
                      <a:cubicBezTo>
                        <a:pt x="213264" y="253470"/>
                        <a:pt x="211388" y="251222"/>
                        <a:pt x="204921" y="253498"/>
                      </a:cubicBezTo>
                      <a:cubicBezTo>
                        <a:pt x="199463" y="255422"/>
                        <a:pt x="198748" y="258966"/>
                        <a:pt x="197834" y="263862"/>
                      </a:cubicBezTo>
                      <a:cubicBezTo>
                        <a:pt x="196586" y="270577"/>
                        <a:pt x="195643" y="272710"/>
                        <a:pt x="191995" y="278139"/>
                      </a:cubicBezTo>
                      <a:cubicBezTo>
                        <a:pt x="187157" y="285331"/>
                        <a:pt x="185394" y="293418"/>
                        <a:pt x="181384" y="301133"/>
                      </a:cubicBezTo>
                      <a:cubicBezTo>
                        <a:pt x="179289" y="305171"/>
                        <a:pt x="177527" y="309667"/>
                        <a:pt x="175155" y="313506"/>
                      </a:cubicBezTo>
                      <a:cubicBezTo>
                        <a:pt x="172288" y="318135"/>
                        <a:pt x="168020" y="317087"/>
                        <a:pt x="166230" y="320812"/>
                      </a:cubicBezTo>
                      <a:cubicBezTo>
                        <a:pt x="153352" y="313249"/>
                        <a:pt x="141513" y="302885"/>
                        <a:pt x="129444" y="294046"/>
                      </a:cubicBezTo>
                      <a:cubicBezTo>
                        <a:pt x="126758" y="292084"/>
                        <a:pt x="116767" y="285207"/>
                        <a:pt x="116395" y="282616"/>
                      </a:cubicBezTo>
                      <a:cubicBezTo>
                        <a:pt x="115433" y="276072"/>
                        <a:pt x="121815" y="273729"/>
                        <a:pt x="115471" y="267662"/>
                      </a:cubicBezTo>
                      <a:cubicBezTo>
                        <a:pt x="110327" y="262747"/>
                        <a:pt x="100898" y="259432"/>
                        <a:pt x="94669" y="255927"/>
                      </a:cubicBezTo>
                      <a:cubicBezTo>
                        <a:pt x="87772" y="252031"/>
                        <a:pt x="80857" y="248164"/>
                        <a:pt x="73943" y="244269"/>
                      </a:cubicBezTo>
                      <a:cubicBezTo>
                        <a:pt x="59093" y="235896"/>
                        <a:pt x="44253" y="227533"/>
                        <a:pt x="29375" y="219218"/>
                      </a:cubicBezTo>
                      <a:cubicBezTo>
                        <a:pt x="22221" y="215227"/>
                        <a:pt x="15154" y="210721"/>
                        <a:pt x="7801" y="207121"/>
                      </a:cubicBezTo>
                      <a:cubicBezTo>
                        <a:pt x="4772" y="205645"/>
                        <a:pt x="1657" y="204759"/>
                        <a:pt x="676" y="202863"/>
                      </a:cubicBezTo>
                      <a:cubicBezTo>
                        <a:pt x="-1096" y="199463"/>
                        <a:pt x="1161" y="191319"/>
                        <a:pt x="1285" y="187680"/>
                      </a:cubicBezTo>
                      <a:cubicBezTo>
                        <a:pt x="1619" y="178203"/>
                        <a:pt x="1200" y="172031"/>
                        <a:pt x="4953" y="163763"/>
                      </a:cubicBezTo>
                      <a:cubicBezTo>
                        <a:pt x="6629" y="160077"/>
                        <a:pt x="7515" y="156496"/>
                        <a:pt x="9782" y="153228"/>
                      </a:cubicBezTo>
                      <a:cubicBezTo>
                        <a:pt x="11592" y="150609"/>
                        <a:pt x="14792" y="148657"/>
                        <a:pt x="16649" y="145732"/>
                      </a:cubicBezTo>
                      <a:cubicBezTo>
                        <a:pt x="18926" y="142122"/>
                        <a:pt x="18992" y="139284"/>
                        <a:pt x="22660" y="136598"/>
                      </a:cubicBezTo>
                      <a:cubicBezTo>
                        <a:pt x="24746" y="135064"/>
                        <a:pt x="27660" y="135074"/>
                        <a:pt x="28975" y="133169"/>
                      </a:cubicBezTo>
                      <a:cubicBezTo>
                        <a:pt x="29203" y="132836"/>
                        <a:pt x="30527" y="126492"/>
                        <a:pt x="31156" y="125092"/>
                      </a:cubicBezTo>
                      <a:cubicBezTo>
                        <a:pt x="32547" y="121996"/>
                        <a:pt x="33823" y="121310"/>
                        <a:pt x="34347" y="117624"/>
                      </a:cubicBezTo>
                      <a:cubicBezTo>
                        <a:pt x="35166" y="111785"/>
                        <a:pt x="33347" y="100174"/>
                        <a:pt x="31794" y="94888"/>
                      </a:cubicBezTo>
                      <a:cubicBezTo>
                        <a:pt x="29984" y="88697"/>
                        <a:pt x="25108" y="84477"/>
                        <a:pt x="21317" y="79829"/>
                      </a:cubicBezTo>
                      <a:cubicBezTo>
                        <a:pt x="18916" y="76886"/>
                        <a:pt x="16078" y="71218"/>
                        <a:pt x="15707" y="67332"/>
                      </a:cubicBezTo>
                      <a:cubicBezTo>
                        <a:pt x="15383" y="63893"/>
                        <a:pt x="17469" y="60293"/>
                        <a:pt x="15763" y="57359"/>
                      </a:cubicBezTo>
                      <a:cubicBezTo>
                        <a:pt x="15077" y="56169"/>
                        <a:pt x="9010" y="52949"/>
                        <a:pt x="8191" y="52025"/>
                      </a:cubicBezTo>
                      <a:cubicBezTo>
                        <a:pt x="6801" y="50463"/>
                        <a:pt x="2914" y="45205"/>
                        <a:pt x="2657" y="42120"/>
                      </a:cubicBezTo>
                      <a:cubicBezTo>
                        <a:pt x="2143" y="35976"/>
                        <a:pt x="15897" y="25575"/>
                        <a:pt x="21002" y="20431"/>
                      </a:cubicBezTo>
                      <a:cubicBezTo>
                        <a:pt x="27755" y="13640"/>
                        <a:pt x="34480" y="6829"/>
                        <a:pt x="41195" y="0"/>
                      </a:cubicBezTo>
                      <a:cubicBezTo>
                        <a:pt x="40795" y="1524"/>
                        <a:pt x="41767" y="2219"/>
                        <a:pt x="41929" y="3391"/>
                      </a:cubicBezTo>
                      <a:lnTo>
                        <a:pt x="41929" y="3391"/>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24" name="Freeform: Shape 623">
                  <a:extLst>
                    <a:ext uri="{FF2B5EF4-FFF2-40B4-BE49-F238E27FC236}">
                      <a16:creationId xmlns:a16="http://schemas.microsoft.com/office/drawing/2014/main" id="{B4065544-D897-4965-A0C5-3406C5D7DDA9}"/>
                    </a:ext>
                  </a:extLst>
                </p:cNvPr>
                <p:cNvSpPr/>
                <p:nvPr/>
              </p:nvSpPr>
              <p:spPr>
                <a:xfrm>
                  <a:off x="6809358" y="2620523"/>
                  <a:ext cx="1060281" cy="466002"/>
                </a:xfrm>
                <a:custGeom>
                  <a:avLst/>
                  <a:gdLst>
                    <a:gd name="connsiteX0" fmla="*/ 518461 w 1060281"/>
                    <a:gd name="connsiteY0" fmla="*/ 6298 h 466002"/>
                    <a:gd name="connsiteX1" fmla="*/ 527596 w 1060281"/>
                    <a:gd name="connsiteY1" fmla="*/ 2859 h 466002"/>
                    <a:gd name="connsiteX2" fmla="*/ 541293 w 1060281"/>
                    <a:gd name="connsiteY2" fmla="*/ 9813 h 466002"/>
                    <a:gd name="connsiteX3" fmla="*/ 554018 w 1060281"/>
                    <a:gd name="connsiteY3" fmla="*/ 23557 h 466002"/>
                    <a:gd name="connsiteX4" fmla="*/ 558733 w 1060281"/>
                    <a:gd name="connsiteY4" fmla="*/ 36683 h 466002"/>
                    <a:gd name="connsiteX5" fmla="*/ 573869 w 1060281"/>
                    <a:gd name="connsiteY5" fmla="*/ 37769 h 466002"/>
                    <a:gd name="connsiteX6" fmla="*/ 582145 w 1060281"/>
                    <a:gd name="connsiteY6" fmla="*/ 36502 h 466002"/>
                    <a:gd name="connsiteX7" fmla="*/ 585641 w 1060281"/>
                    <a:gd name="connsiteY7" fmla="*/ 33940 h 466002"/>
                    <a:gd name="connsiteX8" fmla="*/ 595424 w 1060281"/>
                    <a:gd name="connsiteY8" fmla="*/ 44465 h 466002"/>
                    <a:gd name="connsiteX9" fmla="*/ 597452 w 1060281"/>
                    <a:gd name="connsiteY9" fmla="*/ 40293 h 466002"/>
                    <a:gd name="connsiteX10" fmla="*/ 610577 w 1060281"/>
                    <a:gd name="connsiteY10" fmla="*/ 42579 h 466002"/>
                    <a:gd name="connsiteX11" fmla="*/ 623113 w 1060281"/>
                    <a:gd name="connsiteY11" fmla="*/ 42655 h 466002"/>
                    <a:gd name="connsiteX12" fmla="*/ 626103 w 1060281"/>
                    <a:gd name="connsiteY12" fmla="*/ 58352 h 466002"/>
                    <a:gd name="connsiteX13" fmla="*/ 633666 w 1060281"/>
                    <a:gd name="connsiteY13" fmla="*/ 56323 h 466002"/>
                    <a:gd name="connsiteX14" fmla="*/ 648230 w 1060281"/>
                    <a:gd name="connsiteY14" fmla="*/ 57447 h 466002"/>
                    <a:gd name="connsiteX15" fmla="*/ 651973 w 1060281"/>
                    <a:gd name="connsiteY15" fmla="*/ 55142 h 466002"/>
                    <a:gd name="connsiteX16" fmla="*/ 664013 w 1060281"/>
                    <a:gd name="connsiteY16" fmla="*/ 48837 h 466002"/>
                    <a:gd name="connsiteX17" fmla="*/ 669719 w 1060281"/>
                    <a:gd name="connsiteY17" fmla="*/ 44312 h 466002"/>
                    <a:gd name="connsiteX18" fmla="*/ 669232 w 1060281"/>
                    <a:gd name="connsiteY18" fmla="*/ 40540 h 466002"/>
                    <a:gd name="connsiteX19" fmla="*/ 678005 w 1060281"/>
                    <a:gd name="connsiteY19" fmla="*/ 38521 h 466002"/>
                    <a:gd name="connsiteX20" fmla="*/ 685034 w 1060281"/>
                    <a:gd name="connsiteY20" fmla="*/ 34387 h 466002"/>
                    <a:gd name="connsiteX21" fmla="*/ 697227 w 1060281"/>
                    <a:gd name="connsiteY21" fmla="*/ 29520 h 466002"/>
                    <a:gd name="connsiteX22" fmla="*/ 692769 w 1060281"/>
                    <a:gd name="connsiteY22" fmla="*/ 38597 h 466002"/>
                    <a:gd name="connsiteX23" fmla="*/ 729659 w 1060281"/>
                    <a:gd name="connsiteY23" fmla="*/ 58924 h 466002"/>
                    <a:gd name="connsiteX24" fmla="*/ 768750 w 1060281"/>
                    <a:gd name="connsiteY24" fmla="*/ 85098 h 466002"/>
                    <a:gd name="connsiteX25" fmla="*/ 804926 w 1060281"/>
                    <a:gd name="connsiteY25" fmla="*/ 114073 h 466002"/>
                    <a:gd name="connsiteX26" fmla="*/ 825119 w 1060281"/>
                    <a:gd name="connsiteY26" fmla="*/ 131047 h 466002"/>
                    <a:gd name="connsiteX27" fmla="*/ 842978 w 1060281"/>
                    <a:gd name="connsiteY27" fmla="*/ 145487 h 466002"/>
                    <a:gd name="connsiteX28" fmla="*/ 847417 w 1060281"/>
                    <a:gd name="connsiteY28" fmla="*/ 140391 h 466002"/>
                    <a:gd name="connsiteX29" fmla="*/ 845912 w 1060281"/>
                    <a:gd name="connsiteY29" fmla="*/ 131828 h 466002"/>
                    <a:gd name="connsiteX30" fmla="*/ 863886 w 1060281"/>
                    <a:gd name="connsiteY30" fmla="*/ 133247 h 466002"/>
                    <a:gd name="connsiteX31" fmla="*/ 865181 w 1060281"/>
                    <a:gd name="connsiteY31" fmla="*/ 138848 h 466002"/>
                    <a:gd name="connsiteX32" fmla="*/ 872544 w 1060281"/>
                    <a:gd name="connsiteY32" fmla="*/ 139076 h 466002"/>
                    <a:gd name="connsiteX33" fmla="*/ 880468 w 1060281"/>
                    <a:gd name="connsiteY33" fmla="*/ 146058 h 466002"/>
                    <a:gd name="connsiteX34" fmla="*/ 887460 w 1060281"/>
                    <a:gd name="connsiteY34" fmla="*/ 145268 h 466002"/>
                    <a:gd name="connsiteX35" fmla="*/ 896070 w 1060281"/>
                    <a:gd name="connsiteY35" fmla="*/ 146973 h 466002"/>
                    <a:gd name="connsiteX36" fmla="*/ 904757 w 1060281"/>
                    <a:gd name="connsiteY36" fmla="*/ 146344 h 466002"/>
                    <a:gd name="connsiteX37" fmla="*/ 909320 w 1060281"/>
                    <a:gd name="connsiteY37" fmla="*/ 142629 h 466002"/>
                    <a:gd name="connsiteX38" fmla="*/ 935342 w 1060281"/>
                    <a:gd name="connsiteY38" fmla="*/ 141753 h 466002"/>
                    <a:gd name="connsiteX39" fmla="*/ 949439 w 1060281"/>
                    <a:gd name="connsiteY39" fmla="*/ 150306 h 466002"/>
                    <a:gd name="connsiteX40" fmla="*/ 962736 w 1060281"/>
                    <a:gd name="connsiteY40" fmla="*/ 161822 h 466002"/>
                    <a:gd name="connsiteX41" fmla="*/ 978833 w 1060281"/>
                    <a:gd name="connsiteY41" fmla="*/ 166537 h 466002"/>
                    <a:gd name="connsiteX42" fmla="*/ 989377 w 1060281"/>
                    <a:gd name="connsiteY42" fmla="*/ 175548 h 466002"/>
                    <a:gd name="connsiteX43" fmla="*/ 999845 w 1060281"/>
                    <a:gd name="connsiteY43" fmla="*/ 181196 h 466002"/>
                    <a:gd name="connsiteX44" fmla="*/ 1015761 w 1060281"/>
                    <a:gd name="connsiteY44" fmla="*/ 183520 h 466002"/>
                    <a:gd name="connsiteX45" fmla="*/ 1025572 w 1060281"/>
                    <a:gd name="connsiteY45" fmla="*/ 181539 h 466002"/>
                    <a:gd name="connsiteX46" fmla="*/ 1030887 w 1060281"/>
                    <a:gd name="connsiteY46" fmla="*/ 176386 h 466002"/>
                    <a:gd name="connsiteX47" fmla="*/ 1032821 w 1060281"/>
                    <a:gd name="connsiteY47" fmla="*/ 180148 h 466002"/>
                    <a:gd name="connsiteX48" fmla="*/ 1032945 w 1060281"/>
                    <a:gd name="connsiteY48" fmla="*/ 182406 h 466002"/>
                    <a:gd name="connsiteX49" fmla="*/ 1036879 w 1060281"/>
                    <a:gd name="connsiteY49" fmla="*/ 183853 h 466002"/>
                    <a:gd name="connsiteX50" fmla="*/ 1045670 w 1060281"/>
                    <a:gd name="connsiteY50" fmla="*/ 190159 h 466002"/>
                    <a:gd name="connsiteX51" fmla="*/ 1060281 w 1060281"/>
                    <a:gd name="connsiteY51" fmla="*/ 198151 h 466002"/>
                    <a:gd name="connsiteX52" fmla="*/ 1049413 w 1060281"/>
                    <a:gd name="connsiteY52" fmla="*/ 197903 h 466002"/>
                    <a:gd name="connsiteX53" fmla="*/ 1048527 w 1060281"/>
                    <a:gd name="connsiteY53" fmla="*/ 203980 h 466002"/>
                    <a:gd name="connsiteX54" fmla="*/ 1041498 w 1060281"/>
                    <a:gd name="connsiteY54" fmla="*/ 218515 h 466002"/>
                    <a:gd name="connsiteX55" fmla="*/ 1032488 w 1060281"/>
                    <a:gd name="connsiteY55" fmla="*/ 230088 h 466002"/>
                    <a:gd name="connsiteX56" fmla="*/ 1044575 w 1060281"/>
                    <a:gd name="connsiteY56" fmla="*/ 249833 h 466002"/>
                    <a:gd name="connsiteX57" fmla="*/ 1048051 w 1060281"/>
                    <a:gd name="connsiteY57" fmla="*/ 258596 h 466002"/>
                    <a:gd name="connsiteX58" fmla="*/ 1040594 w 1060281"/>
                    <a:gd name="connsiteY58" fmla="*/ 263883 h 466002"/>
                    <a:gd name="connsiteX59" fmla="*/ 1033621 w 1060281"/>
                    <a:gd name="connsiteY59" fmla="*/ 269055 h 466002"/>
                    <a:gd name="connsiteX60" fmla="*/ 1025639 w 1060281"/>
                    <a:gd name="connsiteY60" fmla="*/ 264644 h 466002"/>
                    <a:gd name="connsiteX61" fmla="*/ 1005151 w 1060281"/>
                    <a:gd name="connsiteY61" fmla="*/ 263921 h 466002"/>
                    <a:gd name="connsiteX62" fmla="*/ 981872 w 1060281"/>
                    <a:gd name="connsiteY62" fmla="*/ 257225 h 466002"/>
                    <a:gd name="connsiteX63" fmla="*/ 983938 w 1060281"/>
                    <a:gd name="connsiteY63" fmla="*/ 275636 h 466002"/>
                    <a:gd name="connsiteX64" fmla="*/ 987329 w 1060281"/>
                    <a:gd name="connsiteY64" fmla="*/ 300840 h 466002"/>
                    <a:gd name="connsiteX65" fmla="*/ 988272 w 1060281"/>
                    <a:gd name="connsiteY65" fmla="*/ 309098 h 466002"/>
                    <a:gd name="connsiteX66" fmla="*/ 997750 w 1060281"/>
                    <a:gd name="connsiteY66" fmla="*/ 313041 h 466002"/>
                    <a:gd name="connsiteX67" fmla="*/ 1001522 w 1060281"/>
                    <a:gd name="connsiteY67" fmla="*/ 320518 h 466002"/>
                    <a:gd name="connsiteX68" fmla="*/ 995664 w 1060281"/>
                    <a:gd name="connsiteY68" fmla="*/ 321033 h 466002"/>
                    <a:gd name="connsiteX69" fmla="*/ 986844 w 1060281"/>
                    <a:gd name="connsiteY69" fmla="*/ 321480 h 466002"/>
                    <a:gd name="connsiteX70" fmla="*/ 977481 w 1060281"/>
                    <a:gd name="connsiteY70" fmla="*/ 317051 h 466002"/>
                    <a:gd name="connsiteX71" fmla="*/ 955078 w 1060281"/>
                    <a:gd name="connsiteY71" fmla="*/ 322652 h 466002"/>
                    <a:gd name="connsiteX72" fmla="*/ 934694 w 1060281"/>
                    <a:gd name="connsiteY72" fmla="*/ 328586 h 466002"/>
                    <a:gd name="connsiteX73" fmla="*/ 951354 w 1060281"/>
                    <a:gd name="connsiteY73" fmla="*/ 334825 h 466002"/>
                    <a:gd name="connsiteX74" fmla="*/ 955640 w 1060281"/>
                    <a:gd name="connsiteY74" fmla="*/ 348903 h 466002"/>
                    <a:gd name="connsiteX75" fmla="*/ 971909 w 1060281"/>
                    <a:gd name="connsiteY75" fmla="*/ 368743 h 466002"/>
                    <a:gd name="connsiteX76" fmla="*/ 978690 w 1060281"/>
                    <a:gd name="connsiteY76" fmla="*/ 379078 h 466002"/>
                    <a:gd name="connsiteX77" fmla="*/ 984996 w 1060281"/>
                    <a:gd name="connsiteY77" fmla="*/ 385755 h 466002"/>
                    <a:gd name="connsiteX78" fmla="*/ 975633 w 1060281"/>
                    <a:gd name="connsiteY78" fmla="*/ 388812 h 466002"/>
                    <a:gd name="connsiteX79" fmla="*/ 982319 w 1060281"/>
                    <a:gd name="connsiteY79" fmla="*/ 393823 h 466002"/>
                    <a:gd name="connsiteX80" fmla="*/ 983520 w 1060281"/>
                    <a:gd name="connsiteY80" fmla="*/ 415349 h 466002"/>
                    <a:gd name="connsiteX81" fmla="*/ 965774 w 1060281"/>
                    <a:gd name="connsiteY81" fmla="*/ 407243 h 466002"/>
                    <a:gd name="connsiteX82" fmla="*/ 948620 w 1060281"/>
                    <a:gd name="connsiteY82" fmla="*/ 399966 h 466002"/>
                    <a:gd name="connsiteX83" fmla="*/ 917482 w 1060281"/>
                    <a:gd name="connsiteY83" fmla="*/ 394213 h 466002"/>
                    <a:gd name="connsiteX84" fmla="*/ 882793 w 1060281"/>
                    <a:gd name="connsiteY84" fmla="*/ 390727 h 466002"/>
                    <a:gd name="connsiteX85" fmla="*/ 863676 w 1060281"/>
                    <a:gd name="connsiteY85" fmla="*/ 392222 h 466002"/>
                    <a:gd name="connsiteX86" fmla="*/ 854485 w 1060281"/>
                    <a:gd name="connsiteY86" fmla="*/ 391937 h 466002"/>
                    <a:gd name="connsiteX87" fmla="*/ 849322 w 1060281"/>
                    <a:gd name="connsiteY87" fmla="*/ 395670 h 466002"/>
                    <a:gd name="connsiteX88" fmla="*/ 804449 w 1060281"/>
                    <a:gd name="connsiteY88" fmla="*/ 382259 h 466002"/>
                    <a:gd name="connsiteX89" fmla="*/ 791438 w 1060281"/>
                    <a:gd name="connsiteY89" fmla="*/ 388003 h 466002"/>
                    <a:gd name="connsiteX90" fmla="*/ 796372 w 1060281"/>
                    <a:gd name="connsiteY90" fmla="*/ 408443 h 466002"/>
                    <a:gd name="connsiteX91" fmla="*/ 787895 w 1060281"/>
                    <a:gd name="connsiteY91" fmla="*/ 405100 h 466002"/>
                    <a:gd name="connsiteX92" fmla="*/ 775722 w 1060281"/>
                    <a:gd name="connsiteY92" fmla="*/ 402986 h 466002"/>
                    <a:gd name="connsiteX93" fmla="*/ 753491 w 1060281"/>
                    <a:gd name="connsiteY93" fmla="*/ 397052 h 466002"/>
                    <a:gd name="connsiteX94" fmla="*/ 731336 w 1060281"/>
                    <a:gd name="connsiteY94" fmla="*/ 398014 h 466002"/>
                    <a:gd name="connsiteX95" fmla="*/ 728764 w 1060281"/>
                    <a:gd name="connsiteY95" fmla="*/ 413501 h 466002"/>
                    <a:gd name="connsiteX96" fmla="*/ 722830 w 1060281"/>
                    <a:gd name="connsiteY96" fmla="*/ 417940 h 466002"/>
                    <a:gd name="connsiteX97" fmla="*/ 720982 w 1060281"/>
                    <a:gd name="connsiteY97" fmla="*/ 420150 h 466002"/>
                    <a:gd name="connsiteX98" fmla="*/ 716438 w 1060281"/>
                    <a:gd name="connsiteY98" fmla="*/ 418835 h 466002"/>
                    <a:gd name="connsiteX99" fmla="*/ 709514 w 1060281"/>
                    <a:gd name="connsiteY99" fmla="*/ 428017 h 466002"/>
                    <a:gd name="connsiteX100" fmla="*/ 697894 w 1060281"/>
                    <a:gd name="connsiteY100" fmla="*/ 433732 h 466002"/>
                    <a:gd name="connsiteX101" fmla="*/ 685797 w 1060281"/>
                    <a:gd name="connsiteY101" fmla="*/ 448610 h 466002"/>
                    <a:gd name="connsiteX102" fmla="*/ 681043 w 1060281"/>
                    <a:gd name="connsiteY102" fmla="*/ 458221 h 466002"/>
                    <a:gd name="connsiteX103" fmla="*/ 683501 w 1060281"/>
                    <a:gd name="connsiteY103" fmla="*/ 464822 h 466002"/>
                    <a:gd name="connsiteX104" fmla="*/ 666594 w 1060281"/>
                    <a:gd name="connsiteY104" fmla="*/ 455621 h 466002"/>
                    <a:gd name="connsiteX105" fmla="*/ 661984 w 1060281"/>
                    <a:gd name="connsiteY105" fmla="*/ 449029 h 466002"/>
                    <a:gd name="connsiteX106" fmla="*/ 653926 w 1060281"/>
                    <a:gd name="connsiteY106" fmla="*/ 446944 h 466002"/>
                    <a:gd name="connsiteX107" fmla="*/ 628961 w 1060281"/>
                    <a:gd name="connsiteY107" fmla="*/ 448315 h 466002"/>
                    <a:gd name="connsiteX108" fmla="*/ 616045 w 1060281"/>
                    <a:gd name="connsiteY108" fmla="*/ 432608 h 466002"/>
                    <a:gd name="connsiteX109" fmla="*/ 608701 w 1060281"/>
                    <a:gd name="connsiteY109" fmla="*/ 421512 h 466002"/>
                    <a:gd name="connsiteX110" fmla="*/ 595738 w 1060281"/>
                    <a:gd name="connsiteY110" fmla="*/ 419169 h 466002"/>
                    <a:gd name="connsiteX111" fmla="*/ 586803 w 1060281"/>
                    <a:gd name="connsiteY111" fmla="*/ 390117 h 466002"/>
                    <a:gd name="connsiteX112" fmla="*/ 574935 w 1060281"/>
                    <a:gd name="connsiteY112" fmla="*/ 388584 h 466002"/>
                    <a:gd name="connsiteX113" fmla="*/ 562076 w 1060281"/>
                    <a:gd name="connsiteY113" fmla="*/ 378087 h 466002"/>
                    <a:gd name="connsiteX114" fmla="*/ 549618 w 1060281"/>
                    <a:gd name="connsiteY114" fmla="*/ 370001 h 466002"/>
                    <a:gd name="connsiteX115" fmla="*/ 537197 w 1060281"/>
                    <a:gd name="connsiteY115" fmla="*/ 371163 h 466002"/>
                    <a:gd name="connsiteX116" fmla="*/ 505888 w 1060281"/>
                    <a:gd name="connsiteY116" fmla="*/ 370439 h 466002"/>
                    <a:gd name="connsiteX117" fmla="*/ 474275 w 1060281"/>
                    <a:gd name="connsiteY117" fmla="*/ 373944 h 466002"/>
                    <a:gd name="connsiteX118" fmla="*/ 446566 w 1060281"/>
                    <a:gd name="connsiteY118" fmla="*/ 358533 h 466002"/>
                    <a:gd name="connsiteX119" fmla="*/ 421821 w 1060281"/>
                    <a:gd name="connsiteY119" fmla="*/ 341387 h 466002"/>
                    <a:gd name="connsiteX120" fmla="*/ 356946 w 1060281"/>
                    <a:gd name="connsiteY120" fmla="*/ 311374 h 466002"/>
                    <a:gd name="connsiteX121" fmla="*/ 324875 w 1060281"/>
                    <a:gd name="connsiteY121" fmla="*/ 316480 h 466002"/>
                    <a:gd name="connsiteX122" fmla="*/ 289271 w 1060281"/>
                    <a:gd name="connsiteY122" fmla="*/ 326995 h 466002"/>
                    <a:gd name="connsiteX123" fmla="*/ 327971 w 1060281"/>
                    <a:gd name="connsiteY123" fmla="*/ 442686 h 466002"/>
                    <a:gd name="connsiteX124" fmla="*/ 315369 w 1060281"/>
                    <a:gd name="connsiteY124" fmla="*/ 444334 h 466002"/>
                    <a:gd name="connsiteX125" fmla="*/ 303987 w 1060281"/>
                    <a:gd name="connsiteY125" fmla="*/ 436018 h 466002"/>
                    <a:gd name="connsiteX126" fmla="*/ 281232 w 1060281"/>
                    <a:gd name="connsiteY126" fmla="*/ 417254 h 466002"/>
                    <a:gd name="connsiteX127" fmla="*/ 253952 w 1060281"/>
                    <a:gd name="connsiteY127" fmla="*/ 412282 h 466002"/>
                    <a:gd name="connsiteX128" fmla="*/ 227520 w 1060281"/>
                    <a:gd name="connsiteY128" fmla="*/ 428246 h 466002"/>
                    <a:gd name="connsiteX129" fmla="*/ 224215 w 1060281"/>
                    <a:gd name="connsiteY129" fmla="*/ 411644 h 466002"/>
                    <a:gd name="connsiteX130" fmla="*/ 218252 w 1060281"/>
                    <a:gd name="connsiteY130" fmla="*/ 395747 h 466002"/>
                    <a:gd name="connsiteX131" fmla="*/ 204365 w 1060281"/>
                    <a:gd name="connsiteY131" fmla="*/ 394042 h 466002"/>
                    <a:gd name="connsiteX132" fmla="*/ 192992 w 1060281"/>
                    <a:gd name="connsiteY132" fmla="*/ 386545 h 466002"/>
                    <a:gd name="connsiteX133" fmla="*/ 183353 w 1060281"/>
                    <a:gd name="connsiteY133" fmla="*/ 384526 h 466002"/>
                    <a:gd name="connsiteX134" fmla="*/ 180086 w 1060281"/>
                    <a:gd name="connsiteY134" fmla="*/ 379154 h 466002"/>
                    <a:gd name="connsiteX135" fmla="*/ 170237 w 1060281"/>
                    <a:gd name="connsiteY135" fmla="*/ 367038 h 466002"/>
                    <a:gd name="connsiteX136" fmla="*/ 157607 w 1060281"/>
                    <a:gd name="connsiteY136" fmla="*/ 351436 h 466002"/>
                    <a:gd name="connsiteX137" fmla="*/ 141119 w 1060281"/>
                    <a:gd name="connsiteY137" fmla="*/ 345521 h 466002"/>
                    <a:gd name="connsiteX138" fmla="*/ 154939 w 1060281"/>
                    <a:gd name="connsiteY138" fmla="*/ 338520 h 466002"/>
                    <a:gd name="connsiteX139" fmla="*/ 164207 w 1060281"/>
                    <a:gd name="connsiteY139" fmla="*/ 342435 h 466002"/>
                    <a:gd name="connsiteX140" fmla="*/ 174723 w 1060281"/>
                    <a:gd name="connsiteY140" fmla="*/ 341616 h 466002"/>
                    <a:gd name="connsiteX141" fmla="*/ 158169 w 1060281"/>
                    <a:gd name="connsiteY141" fmla="*/ 332120 h 466002"/>
                    <a:gd name="connsiteX142" fmla="*/ 159160 w 1060281"/>
                    <a:gd name="connsiteY142" fmla="*/ 325576 h 466002"/>
                    <a:gd name="connsiteX143" fmla="*/ 163017 w 1060281"/>
                    <a:gd name="connsiteY143" fmla="*/ 315594 h 466002"/>
                    <a:gd name="connsiteX144" fmla="*/ 176685 w 1060281"/>
                    <a:gd name="connsiteY144" fmla="*/ 314498 h 466002"/>
                    <a:gd name="connsiteX145" fmla="*/ 188934 w 1060281"/>
                    <a:gd name="connsiteY145" fmla="*/ 314127 h 466002"/>
                    <a:gd name="connsiteX146" fmla="*/ 211146 w 1060281"/>
                    <a:gd name="connsiteY146" fmla="*/ 316384 h 466002"/>
                    <a:gd name="connsiteX147" fmla="*/ 199717 w 1060281"/>
                    <a:gd name="connsiteY147" fmla="*/ 311174 h 466002"/>
                    <a:gd name="connsiteX148" fmla="*/ 199202 w 1060281"/>
                    <a:gd name="connsiteY148" fmla="*/ 299325 h 466002"/>
                    <a:gd name="connsiteX149" fmla="*/ 195145 w 1060281"/>
                    <a:gd name="connsiteY149" fmla="*/ 278132 h 466002"/>
                    <a:gd name="connsiteX150" fmla="*/ 192402 w 1060281"/>
                    <a:gd name="connsiteY150" fmla="*/ 269321 h 466002"/>
                    <a:gd name="connsiteX151" fmla="*/ 183324 w 1060281"/>
                    <a:gd name="connsiteY151" fmla="*/ 265245 h 466002"/>
                    <a:gd name="connsiteX152" fmla="*/ 173276 w 1060281"/>
                    <a:gd name="connsiteY152" fmla="*/ 264997 h 466002"/>
                    <a:gd name="connsiteX153" fmla="*/ 168151 w 1060281"/>
                    <a:gd name="connsiteY153" fmla="*/ 268969 h 466002"/>
                    <a:gd name="connsiteX154" fmla="*/ 151797 w 1060281"/>
                    <a:gd name="connsiteY154" fmla="*/ 263092 h 466002"/>
                    <a:gd name="connsiteX155" fmla="*/ 129146 w 1060281"/>
                    <a:gd name="connsiteY155" fmla="*/ 265035 h 466002"/>
                    <a:gd name="connsiteX156" fmla="*/ 115240 w 1060281"/>
                    <a:gd name="connsiteY156" fmla="*/ 272912 h 466002"/>
                    <a:gd name="connsiteX157" fmla="*/ 96227 w 1060281"/>
                    <a:gd name="connsiteY157" fmla="*/ 278989 h 466002"/>
                    <a:gd name="connsiteX158" fmla="*/ 97695 w 1060281"/>
                    <a:gd name="connsiteY158" fmla="*/ 282418 h 466002"/>
                    <a:gd name="connsiteX159" fmla="*/ 94951 w 1060281"/>
                    <a:gd name="connsiteY159" fmla="*/ 284723 h 466002"/>
                    <a:gd name="connsiteX160" fmla="*/ 72053 w 1060281"/>
                    <a:gd name="connsiteY160" fmla="*/ 273350 h 466002"/>
                    <a:gd name="connsiteX161" fmla="*/ 80826 w 1060281"/>
                    <a:gd name="connsiteY161" fmla="*/ 268064 h 466002"/>
                    <a:gd name="connsiteX162" fmla="*/ 57299 w 1060281"/>
                    <a:gd name="connsiteY162" fmla="*/ 245233 h 466002"/>
                    <a:gd name="connsiteX163" fmla="*/ 45964 w 1060281"/>
                    <a:gd name="connsiteY163" fmla="*/ 239813 h 466002"/>
                    <a:gd name="connsiteX164" fmla="*/ 37582 w 1060281"/>
                    <a:gd name="connsiteY164" fmla="*/ 239003 h 466002"/>
                    <a:gd name="connsiteX165" fmla="*/ 29924 w 1060281"/>
                    <a:gd name="connsiteY165" fmla="*/ 240451 h 466002"/>
                    <a:gd name="connsiteX166" fmla="*/ 22095 w 1060281"/>
                    <a:gd name="connsiteY166" fmla="*/ 230059 h 466002"/>
                    <a:gd name="connsiteX167" fmla="*/ 10845 w 1060281"/>
                    <a:gd name="connsiteY167" fmla="*/ 221201 h 466002"/>
                    <a:gd name="connsiteX168" fmla="*/ 4140 w 1060281"/>
                    <a:gd name="connsiteY168" fmla="*/ 209561 h 466002"/>
                    <a:gd name="connsiteX169" fmla="*/ 9483 w 1060281"/>
                    <a:gd name="connsiteY169" fmla="*/ 196912 h 466002"/>
                    <a:gd name="connsiteX170" fmla="*/ 1140 w 1060281"/>
                    <a:gd name="connsiteY170" fmla="*/ 188149 h 466002"/>
                    <a:gd name="connsiteX171" fmla="*/ 3521 w 1060281"/>
                    <a:gd name="connsiteY171" fmla="*/ 171957 h 466002"/>
                    <a:gd name="connsiteX172" fmla="*/ 7293 w 1060281"/>
                    <a:gd name="connsiteY172" fmla="*/ 167470 h 466002"/>
                    <a:gd name="connsiteX173" fmla="*/ 5759 w 1060281"/>
                    <a:gd name="connsiteY173" fmla="*/ 162022 h 466002"/>
                    <a:gd name="connsiteX174" fmla="*/ 13179 w 1060281"/>
                    <a:gd name="connsiteY174" fmla="*/ 156879 h 466002"/>
                    <a:gd name="connsiteX175" fmla="*/ 40106 w 1060281"/>
                    <a:gd name="connsiteY175" fmla="*/ 174338 h 466002"/>
                    <a:gd name="connsiteX176" fmla="*/ 36020 w 1060281"/>
                    <a:gd name="connsiteY176" fmla="*/ 150040 h 466002"/>
                    <a:gd name="connsiteX177" fmla="*/ 51965 w 1060281"/>
                    <a:gd name="connsiteY177" fmla="*/ 140619 h 466002"/>
                    <a:gd name="connsiteX178" fmla="*/ 57585 w 1060281"/>
                    <a:gd name="connsiteY178" fmla="*/ 134628 h 466002"/>
                    <a:gd name="connsiteX179" fmla="*/ 67272 w 1060281"/>
                    <a:gd name="connsiteY179" fmla="*/ 129856 h 466002"/>
                    <a:gd name="connsiteX180" fmla="*/ 73701 w 1060281"/>
                    <a:gd name="connsiteY180" fmla="*/ 124056 h 466002"/>
                    <a:gd name="connsiteX181" fmla="*/ 80273 w 1060281"/>
                    <a:gd name="connsiteY181" fmla="*/ 114940 h 466002"/>
                    <a:gd name="connsiteX182" fmla="*/ 95904 w 1060281"/>
                    <a:gd name="connsiteY182" fmla="*/ 122531 h 466002"/>
                    <a:gd name="connsiteX183" fmla="*/ 113725 w 1060281"/>
                    <a:gd name="connsiteY183" fmla="*/ 116112 h 466002"/>
                    <a:gd name="connsiteX184" fmla="*/ 130546 w 1060281"/>
                    <a:gd name="connsiteY184" fmla="*/ 122465 h 466002"/>
                    <a:gd name="connsiteX185" fmla="*/ 149882 w 1060281"/>
                    <a:gd name="connsiteY185" fmla="*/ 123570 h 466002"/>
                    <a:gd name="connsiteX186" fmla="*/ 159054 w 1060281"/>
                    <a:gd name="connsiteY186" fmla="*/ 129923 h 466002"/>
                    <a:gd name="connsiteX187" fmla="*/ 169694 w 1060281"/>
                    <a:gd name="connsiteY187" fmla="*/ 134257 h 466002"/>
                    <a:gd name="connsiteX188" fmla="*/ 185496 w 1060281"/>
                    <a:gd name="connsiteY188" fmla="*/ 148792 h 466002"/>
                    <a:gd name="connsiteX189" fmla="*/ 188354 w 1060281"/>
                    <a:gd name="connsiteY189" fmla="*/ 143944 h 466002"/>
                    <a:gd name="connsiteX190" fmla="*/ 193392 w 1060281"/>
                    <a:gd name="connsiteY190" fmla="*/ 139972 h 466002"/>
                    <a:gd name="connsiteX191" fmla="*/ 214233 w 1060281"/>
                    <a:gd name="connsiteY191" fmla="*/ 150392 h 466002"/>
                    <a:gd name="connsiteX192" fmla="*/ 229996 w 1060281"/>
                    <a:gd name="connsiteY192" fmla="*/ 140219 h 466002"/>
                    <a:gd name="connsiteX193" fmla="*/ 246465 w 1060281"/>
                    <a:gd name="connsiteY193" fmla="*/ 135847 h 466002"/>
                    <a:gd name="connsiteX194" fmla="*/ 257524 w 1060281"/>
                    <a:gd name="connsiteY194" fmla="*/ 140429 h 466002"/>
                    <a:gd name="connsiteX195" fmla="*/ 265687 w 1060281"/>
                    <a:gd name="connsiteY195" fmla="*/ 137943 h 466002"/>
                    <a:gd name="connsiteX196" fmla="*/ 271983 w 1060281"/>
                    <a:gd name="connsiteY196" fmla="*/ 135571 h 466002"/>
                    <a:gd name="connsiteX197" fmla="*/ 282051 w 1060281"/>
                    <a:gd name="connsiteY197" fmla="*/ 136333 h 466002"/>
                    <a:gd name="connsiteX198" fmla="*/ 302491 w 1060281"/>
                    <a:gd name="connsiteY198" fmla="*/ 148135 h 466002"/>
                    <a:gd name="connsiteX199" fmla="*/ 313807 w 1060281"/>
                    <a:gd name="connsiteY199" fmla="*/ 149735 h 466002"/>
                    <a:gd name="connsiteX200" fmla="*/ 317655 w 1060281"/>
                    <a:gd name="connsiteY200" fmla="*/ 153545 h 466002"/>
                    <a:gd name="connsiteX201" fmla="*/ 327695 w 1060281"/>
                    <a:gd name="connsiteY201" fmla="*/ 142705 h 466002"/>
                    <a:gd name="connsiteX202" fmla="*/ 336096 w 1060281"/>
                    <a:gd name="connsiteY202" fmla="*/ 147439 h 466002"/>
                    <a:gd name="connsiteX203" fmla="*/ 347259 w 1060281"/>
                    <a:gd name="connsiteY203" fmla="*/ 148078 h 466002"/>
                    <a:gd name="connsiteX204" fmla="*/ 360956 w 1060281"/>
                    <a:gd name="connsiteY204" fmla="*/ 134095 h 466002"/>
                    <a:gd name="connsiteX205" fmla="*/ 346116 w 1060281"/>
                    <a:gd name="connsiteY205" fmla="*/ 122789 h 466002"/>
                    <a:gd name="connsiteX206" fmla="*/ 326028 w 1060281"/>
                    <a:gd name="connsiteY206" fmla="*/ 116131 h 466002"/>
                    <a:gd name="connsiteX207" fmla="*/ 317341 w 1060281"/>
                    <a:gd name="connsiteY207" fmla="*/ 110701 h 466002"/>
                    <a:gd name="connsiteX208" fmla="*/ 315579 w 1060281"/>
                    <a:gd name="connsiteY208" fmla="*/ 105977 h 466002"/>
                    <a:gd name="connsiteX209" fmla="*/ 331714 w 1060281"/>
                    <a:gd name="connsiteY209" fmla="*/ 96223 h 466002"/>
                    <a:gd name="connsiteX210" fmla="*/ 323208 w 1060281"/>
                    <a:gd name="connsiteY210" fmla="*/ 79907 h 466002"/>
                    <a:gd name="connsiteX211" fmla="*/ 338182 w 1060281"/>
                    <a:gd name="connsiteY211" fmla="*/ 75611 h 466002"/>
                    <a:gd name="connsiteX212" fmla="*/ 346478 w 1060281"/>
                    <a:gd name="connsiteY212" fmla="*/ 71211 h 466002"/>
                    <a:gd name="connsiteX213" fmla="*/ 327228 w 1060281"/>
                    <a:gd name="connsiteY213" fmla="*/ 66239 h 466002"/>
                    <a:gd name="connsiteX214" fmla="*/ 329600 w 1060281"/>
                    <a:gd name="connsiteY214" fmla="*/ 58419 h 466002"/>
                    <a:gd name="connsiteX215" fmla="*/ 315122 w 1060281"/>
                    <a:gd name="connsiteY215" fmla="*/ 55599 h 466002"/>
                    <a:gd name="connsiteX216" fmla="*/ 316255 w 1060281"/>
                    <a:gd name="connsiteY216" fmla="*/ 42302 h 466002"/>
                    <a:gd name="connsiteX217" fmla="*/ 334953 w 1060281"/>
                    <a:gd name="connsiteY217" fmla="*/ 43988 h 466002"/>
                    <a:gd name="connsiteX218" fmla="*/ 354679 w 1060281"/>
                    <a:gd name="connsiteY218" fmla="*/ 40636 h 466002"/>
                    <a:gd name="connsiteX219" fmla="*/ 372415 w 1060281"/>
                    <a:gd name="connsiteY219" fmla="*/ 36035 h 466002"/>
                    <a:gd name="connsiteX220" fmla="*/ 391245 w 1060281"/>
                    <a:gd name="connsiteY220" fmla="*/ 31406 h 466002"/>
                    <a:gd name="connsiteX221" fmla="*/ 408162 w 1060281"/>
                    <a:gd name="connsiteY221" fmla="*/ 30625 h 466002"/>
                    <a:gd name="connsiteX222" fmla="*/ 411171 w 1060281"/>
                    <a:gd name="connsiteY222" fmla="*/ 25367 h 466002"/>
                    <a:gd name="connsiteX223" fmla="*/ 418811 w 1060281"/>
                    <a:gd name="connsiteY223" fmla="*/ 23653 h 466002"/>
                    <a:gd name="connsiteX224" fmla="*/ 429308 w 1060281"/>
                    <a:gd name="connsiteY224" fmla="*/ 22376 h 466002"/>
                    <a:gd name="connsiteX225" fmla="*/ 441338 w 1060281"/>
                    <a:gd name="connsiteY225" fmla="*/ 20319 h 466002"/>
                    <a:gd name="connsiteX226" fmla="*/ 464483 w 1060281"/>
                    <a:gd name="connsiteY226" fmla="*/ 15385 h 466002"/>
                    <a:gd name="connsiteX227" fmla="*/ 472132 w 1060281"/>
                    <a:gd name="connsiteY227" fmla="*/ 6793 h 466002"/>
                    <a:gd name="connsiteX228" fmla="*/ 481590 w 1060281"/>
                    <a:gd name="connsiteY228" fmla="*/ 3002 h 466002"/>
                    <a:gd name="connsiteX229" fmla="*/ 494049 w 1060281"/>
                    <a:gd name="connsiteY229" fmla="*/ 97 h 466002"/>
                    <a:gd name="connsiteX230" fmla="*/ 518461 w 1060281"/>
                    <a:gd name="connsiteY230" fmla="*/ 6298 h 466002"/>
                    <a:gd name="connsiteX231" fmla="*/ 518461 w 1060281"/>
                    <a:gd name="connsiteY231" fmla="*/ 6298 h 46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Lst>
                  <a:rect l="l" t="t" r="r" b="b"/>
                  <a:pathLst>
                    <a:path w="1060281" h="466002">
                      <a:moveTo>
                        <a:pt x="518461" y="6298"/>
                      </a:moveTo>
                      <a:cubicBezTo>
                        <a:pt x="523643" y="7870"/>
                        <a:pt x="523948" y="3774"/>
                        <a:pt x="527596" y="2859"/>
                      </a:cubicBezTo>
                      <a:cubicBezTo>
                        <a:pt x="533892" y="1269"/>
                        <a:pt x="537168" y="5584"/>
                        <a:pt x="541293" y="9813"/>
                      </a:cubicBezTo>
                      <a:cubicBezTo>
                        <a:pt x="545446" y="14061"/>
                        <a:pt x="550780" y="18652"/>
                        <a:pt x="554018" y="23557"/>
                      </a:cubicBezTo>
                      <a:cubicBezTo>
                        <a:pt x="556438" y="27234"/>
                        <a:pt x="556266" y="34549"/>
                        <a:pt x="558733" y="36683"/>
                      </a:cubicBezTo>
                      <a:cubicBezTo>
                        <a:pt x="561952" y="39473"/>
                        <a:pt x="570334" y="38111"/>
                        <a:pt x="573869" y="37769"/>
                      </a:cubicBezTo>
                      <a:cubicBezTo>
                        <a:pt x="575992" y="37569"/>
                        <a:pt x="580355" y="37111"/>
                        <a:pt x="582145" y="36502"/>
                      </a:cubicBezTo>
                      <a:cubicBezTo>
                        <a:pt x="584965" y="35549"/>
                        <a:pt x="580526" y="33168"/>
                        <a:pt x="585641" y="33940"/>
                      </a:cubicBezTo>
                      <a:cubicBezTo>
                        <a:pt x="590708" y="34701"/>
                        <a:pt x="591804" y="42941"/>
                        <a:pt x="595424" y="44465"/>
                      </a:cubicBezTo>
                      <a:cubicBezTo>
                        <a:pt x="601453" y="47008"/>
                        <a:pt x="597510" y="40255"/>
                        <a:pt x="597452" y="40293"/>
                      </a:cubicBezTo>
                      <a:cubicBezTo>
                        <a:pt x="601052" y="37416"/>
                        <a:pt x="606387" y="40883"/>
                        <a:pt x="610577" y="42579"/>
                      </a:cubicBezTo>
                      <a:cubicBezTo>
                        <a:pt x="616855" y="45112"/>
                        <a:pt x="617397" y="42969"/>
                        <a:pt x="623113" y="42655"/>
                      </a:cubicBezTo>
                      <a:cubicBezTo>
                        <a:pt x="634438" y="42045"/>
                        <a:pt x="616093" y="51532"/>
                        <a:pt x="626103" y="58352"/>
                      </a:cubicBezTo>
                      <a:cubicBezTo>
                        <a:pt x="631390" y="61952"/>
                        <a:pt x="627980" y="58981"/>
                        <a:pt x="633666" y="56323"/>
                      </a:cubicBezTo>
                      <a:cubicBezTo>
                        <a:pt x="638915" y="53856"/>
                        <a:pt x="643277" y="56485"/>
                        <a:pt x="648230" y="57447"/>
                      </a:cubicBezTo>
                      <a:cubicBezTo>
                        <a:pt x="656355" y="59009"/>
                        <a:pt x="649116" y="59086"/>
                        <a:pt x="651973" y="55142"/>
                      </a:cubicBezTo>
                      <a:cubicBezTo>
                        <a:pt x="656498" y="48913"/>
                        <a:pt x="658708" y="51246"/>
                        <a:pt x="664013" y="48837"/>
                      </a:cubicBezTo>
                      <a:cubicBezTo>
                        <a:pt x="666070" y="47894"/>
                        <a:pt x="668137" y="45893"/>
                        <a:pt x="669719" y="44312"/>
                      </a:cubicBezTo>
                      <a:cubicBezTo>
                        <a:pt x="670509" y="43522"/>
                        <a:pt x="667813" y="41721"/>
                        <a:pt x="669232" y="40540"/>
                      </a:cubicBezTo>
                      <a:cubicBezTo>
                        <a:pt x="669995" y="39912"/>
                        <a:pt x="676452" y="39150"/>
                        <a:pt x="678005" y="38521"/>
                      </a:cubicBezTo>
                      <a:cubicBezTo>
                        <a:pt x="680520" y="37502"/>
                        <a:pt x="682606" y="35387"/>
                        <a:pt x="685034" y="34387"/>
                      </a:cubicBezTo>
                      <a:cubicBezTo>
                        <a:pt x="685844" y="34054"/>
                        <a:pt x="696636" y="29348"/>
                        <a:pt x="697227" y="29520"/>
                      </a:cubicBezTo>
                      <a:cubicBezTo>
                        <a:pt x="701684" y="30815"/>
                        <a:pt x="700360" y="40074"/>
                        <a:pt x="692769" y="38597"/>
                      </a:cubicBezTo>
                      <a:cubicBezTo>
                        <a:pt x="699627" y="49132"/>
                        <a:pt x="718753" y="53751"/>
                        <a:pt x="729659" y="58924"/>
                      </a:cubicBezTo>
                      <a:cubicBezTo>
                        <a:pt x="744061" y="65743"/>
                        <a:pt x="756186" y="75354"/>
                        <a:pt x="768750" y="85098"/>
                      </a:cubicBezTo>
                      <a:cubicBezTo>
                        <a:pt x="780942" y="94566"/>
                        <a:pt x="792914" y="104358"/>
                        <a:pt x="804926" y="114073"/>
                      </a:cubicBezTo>
                      <a:cubicBezTo>
                        <a:pt x="811784" y="119617"/>
                        <a:pt x="818508" y="125227"/>
                        <a:pt x="825119" y="131047"/>
                      </a:cubicBezTo>
                      <a:cubicBezTo>
                        <a:pt x="830072" y="135400"/>
                        <a:pt x="836615" y="144163"/>
                        <a:pt x="842978" y="145487"/>
                      </a:cubicBezTo>
                      <a:cubicBezTo>
                        <a:pt x="840140" y="140534"/>
                        <a:pt x="846531" y="142029"/>
                        <a:pt x="847417" y="140391"/>
                      </a:cubicBezTo>
                      <a:cubicBezTo>
                        <a:pt x="849445" y="136676"/>
                        <a:pt x="844883" y="135543"/>
                        <a:pt x="845912" y="131828"/>
                      </a:cubicBezTo>
                      <a:cubicBezTo>
                        <a:pt x="847531" y="125970"/>
                        <a:pt x="861275" y="130618"/>
                        <a:pt x="863886" y="133247"/>
                      </a:cubicBezTo>
                      <a:cubicBezTo>
                        <a:pt x="865143" y="134524"/>
                        <a:pt x="863695" y="137724"/>
                        <a:pt x="865181" y="138848"/>
                      </a:cubicBezTo>
                      <a:cubicBezTo>
                        <a:pt x="867429" y="140553"/>
                        <a:pt x="870181" y="138219"/>
                        <a:pt x="872544" y="139076"/>
                      </a:cubicBezTo>
                      <a:cubicBezTo>
                        <a:pt x="876382" y="140458"/>
                        <a:pt x="877030" y="144887"/>
                        <a:pt x="880468" y="146058"/>
                      </a:cubicBezTo>
                      <a:cubicBezTo>
                        <a:pt x="882821" y="146858"/>
                        <a:pt x="885145" y="145211"/>
                        <a:pt x="887460" y="145268"/>
                      </a:cubicBezTo>
                      <a:cubicBezTo>
                        <a:pt x="890593" y="145353"/>
                        <a:pt x="893108" y="146792"/>
                        <a:pt x="896070" y="146973"/>
                      </a:cubicBezTo>
                      <a:cubicBezTo>
                        <a:pt x="897613" y="147077"/>
                        <a:pt x="903529" y="146830"/>
                        <a:pt x="904757" y="146344"/>
                      </a:cubicBezTo>
                      <a:cubicBezTo>
                        <a:pt x="906738" y="145563"/>
                        <a:pt x="908120" y="143239"/>
                        <a:pt x="909320" y="142629"/>
                      </a:cubicBezTo>
                      <a:cubicBezTo>
                        <a:pt x="917568" y="138438"/>
                        <a:pt x="924265" y="137362"/>
                        <a:pt x="935342" y="141753"/>
                      </a:cubicBezTo>
                      <a:cubicBezTo>
                        <a:pt x="940476" y="143791"/>
                        <a:pt x="945258" y="146763"/>
                        <a:pt x="949439" y="150306"/>
                      </a:cubicBezTo>
                      <a:cubicBezTo>
                        <a:pt x="953944" y="154116"/>
                        <a:pt x="957326" y="159689"/>
                        <a:pt x="962736" y="161822"/>
                      </a:cubicBezTo>
                      <a:cubicBezTo>
                        <a:pt x="967746" y="163803"/>
                        <a:pt x="974013" y="163765"/>
                        <a:pt x="978833" y="166537"/>
                      </a:cubicBezTo>
                      <a:cubicBezTo>
                        <a:pt x="983024" y="168937"/>
                        <a:pt x="985167" y="172176"/>
                        <a:pt x="989377" y="175548"/>
                      </a:cubicBezTo>
                      <a:cubicBezTo>
                        <a:pt x="993473" y="178834"/>
                        <a:pt x="995807" y="180177"/>
                        <a:pt x="999845" y="181196"/>
                      </a:cubicBezTo>
                      <a:cubicBezTo>
                        <a:pt x="1005017" y="182510"/>
                        <a:pt x="1010523" y="182558"/>
                        <a:pt x="1015761" y="183520"/>
                      </a:cubicBezTo>
                      <a:cubicBezTo>
                        <a:pt x="1021657" y="184606"/>
                        <a:pt x="1020953" y="185654"/>
                        <a:pt x="1025572" y="181539"/>
                      </a:cubicBezTo>
                      <a:cubicBezTo>
                        <a:pt x="1027172" y="180120"/>
                        <a:pt x="1028592" y="176319"/>
                        <a:pt x="1030887" y="176386"/>
                      </a:cubicBezTo>
                      <a:cubicBezTo>
                        <a:pt x="1034383" y="176500"/>
                        <a:pt x="1032554" y="179882"/>
                        <a:pt x="1032821" y="180148"/>
                      </a:cubicBezTo>
                      <a:cubicBezTo>
                        <a:pt x="1033068" y="180386"/>
                        <a:pt x="1032240" y="181634"/>
                        <a:pt x="1032945" y="182406"/>
                      </a:cubicBezTo>
                      <a:cubicBezTo>
                        <a:pt x="1034107" y="183701"/>
                        <a:pt x="1035507" y="182768"/>
                        <a:pt x="1036879" y="183853"/>
                      </a:cubicBezTo>
                      <a:cubicBezTo>
                        <a:pt x="1039527" y="185959"/>
                        <a:pt x="1042784" y="188368"/>
                        <a:pt x="1045670" y="190159"/>
                      </a:cubicBezTo>
                      <a:cubicBezTo>
                        <a:pt x="1050556" y="193197"/>
                        <a:pt x="1056624" y="193283"/>
                        <a:pt x="1060281" y="198151"/>
                      </a:cubicBezTo>
                      <a:cubicBezTo>
                        <a:pt x="1057815" y="197465"/>
                        <a:pt x="1051747" y="196284"/>
                        <a:pt x="1049413" y="197903"/>
                      </a:cubicBezTo>
                      <a:cubicBezTo>
                        <a:pt x="1045861" y="200370"/>
                        <a:pt x="1047823" y="200713"/>
                        <a:pt x="1048527" y="203980"/>
                      </a:cubicBezTo>
                      <a:cubicBezTo>
                        <a:pt x="1050471" y="212905"/>
                        <a:pt x="1052842" y="216200"/>
                        <a:pt x="1041498" y="218515"/>
                      </a:cubicBezTo>
                      <a:cubicBezTo>
                        <a:pt x="1032792" y="220287"/>
                        <a:pt x="1029697" y="220115"/>
                        <a:pt x="1032488" y="230088"/>
                      </a:cubicBezTo>
                      <a:cubicBezTo>
                        <a:pt x="1034554" y="237432"/>
                        <a:pt x="1040165" y="243775"/>
                        <a:pt x="1044575" y="249833"/>
                      </a:cubicBezTo>
                      <a:cubicBezTo>
                        <a:pt x="1047137" y="253357"/>
                        <a:pt x="1049394" y="253948"/>
                        <a:pt x="1048051" y="258596"/>
                      </a:cubicBezTo>
                      <a:cubicBezTo>
                        <a:pt x="1046699" y="263301"/>
                        <a:pt x="1044937" y="261377"/>
                        <a:pt x="1040594" y="263883"/>
                      </a:cubicBezTo>
                      <a:cubicBezTo>
                        <a:pt x="1038345" y="265178"/>
                        <a:pt x="1036774" y="269217"/>
                        <a:pt x="1033621" y="269055"/>
                      </a:cubicBezTo>
                      <a:cubicBezTo>
                        <a:pt x="1031440" y="268950"/>
                        <a:pt x="1028249" y="265464"/>
                        <a:pt x="1025639" y="264644"/>
                      </a:cubicBezTo>
                      <a:cubicBezTo>
                        <a:pt x="1019086" y="262597"/>
                        <a:pt x="1011837" y="265102"/>
                        <a:pt x="1005151" y="263921"/>
                      </a:cubicBezTo>
                      <a:cubicBezTo>
                        <a:pt x="1001408" y="263263"/>
                        <a:pt x="984215" y="255358"/>
                        <a:pt x="981872" y="257225"/>
                      </a:cubicBezTo>
                      <a:cubicBezTo>
                        <a:pt x="980481" y="258329"/>
                        <a:pt x="983644" y="273046"/>
                        <a:pt x="983938" y="275636"/>
                      </a:cubicBezTo>
                      <a:cubicBezTo>
                        <a:pt x="984929" y="284152"/>
                        <a:pt x="986320" y="292381"/>
                        <a:pt x="987329" y="300840"/>
                      </a:cubicBezTo>
                      <a:cubicBezTo>
                        <a:pt x="987615" y="303221"/>
                        <a:pt x="986796" y="306964"/>
                        <a:pt x="988272" y="309098"/>
                      </a:cubicBezTo>
                      <a:cubicBezTo>
                        <a:pt x="990558" y="312393"/>
                        <a:pt x="994968" y="310965"/>
                        <a:pt x="997750" y="313041"/>
                      </a:cubicBezTo>
                      <a:cubicBezTo>
                        <a:pt x="999474" y="314327"/>
                        <a:pt x="1002236" y="318118"/>
                        <a:pt x="1001522" y="320518"/>
                      </a:cubicBezTo>
                      <a:cubicBezTo>
                        <a:pt x="1000207" y="324909"/>
                        <a:pt x="999436" y="321414"/>
                        <a:pt x="995664" y="321033"/>
                      </a:cubicBezTo>
                      <a:cubicBezTo>
                        <a:pt x="992483" y="320718"/>
                        <a:pt x="990034" y="321509"/>
                        <a:pt x="986844" y="321480"/>
                      </a:cubicBezTo>
                      <a:cubicBezTo>
                        <a:pt x="982110" y="321442"/>
                        <a:pt x="981215" y="318289"/>
                        <a:pt x="977481" y="317051"/>
                      </a:cubicBezTo>
                      <a:cubicBezTo>
                        <a:pt x="971623" y="315118"/>
                        <a:pt x="961745" y="321480"/>
                        <a:pt x="955078" y="322652"/>
                      </a:cubicBezTo>
                      <a:cubicBezTo>
                        <a:pt x="950554" y="323442"/>
                        <a:pt x="937018" y="323833"/>
                        <a:pt x="934694" y="328586"/>
                      </a:cubicBezTo>
                      <a:cubicBezTo>
                        <a:pt x="931275" y="335606"/>
                        <a:pt x="947953" y="331453"/>
                        <a:pt x="951354" y="334825"/>
                      </a:cubicBezTo>
                      <a:cubicBezTo>
                        <a:pt x="952001" y="335472"/>
                        <a:pt x="953649" y="344978"/>
                        <a:pt x="955640" y="348903"/>
                      </a:cubicBezTo>
                      <a:cubicBezTo>
                        <a:pt x="959745" y="356970"/>
                        <a:pt x="965898" y="361923"/>
                        <a:pt x="971909" y="368743"/>
                      </a:cubicBezTo>
                      <a:cubicBezTo>
                        <a:pt x="974795" y="372020"/>
                        <a:pt x="976490" y="376182"/>
                        <a:pt x="978690" y="379078"/>
                      </a:cubicBezTo>
                      <a:cubicBezTo>
                        <a:pt x="979709" y="380440"/>
                        <a:pt x="985539" y="383621"/>
                        <a:pt x="984996" y="385755"/>
                      </a:cubicBezTo>
                      <a:cubicBezTo>
                        <a:pt x="984643" y="387184"/>
                        <a:pt x="976061" y="385012"/>
                        <a:pt x="975633" y="388812"/>
                      </a:cubicBezTo>
                      <a:cubicBezTo>
                        <a:pt x="975347" y="391394"/>
                        <a:pt x="981157" y="392603"/>
                        <a:pt x="982319" y="393823"/>
                      </a:cubicBezTo>
                      <a:cubicBezTo>
                        <a:pt x="964346" y="396318"/>
                        <a:pt x="986072" y="408863"/>
                        <a:pt x="983520" y="415349"/>
                      </a:cubicBezTo>
                      <a:cubicBezTo>
                        <a:pt x="977567" y="411491"/>
                        <a:pt x="972852" y="408120"/>
                        <a:pt x="965774" y="407243"/>
                      </a:cubicBezTo>
                      <a:cubicBezTo>
                        <a:pt x="958297" y="406329"/>
                        <a:pt x="955106" y="403557"/>
                        <a:pt x="948620" y="399966"/>
                      </a:cubicBezTo>
                      <a:cubicBezTo>
                        <a:pt x="940238" y="395318"/>
                        <a:pt x="927941" y="394375"/>
                        <a:pt x="917482" y="394213"/>
                      </a:cubicBezTo>
                      <a:cubicBezTo>
                        <a:pt x="905986" y="394051"/>
                        <a:pt x="894032" y="390679"/>
                        <a:pt x="882793" y="390727"/>
                      </a:cubicBezTo>
                      <a:cubicBezTo>
                        <a:pt x="876440" y="390746"/>
                        <a:pt x="870210" y="392346"/>
                        <a:pt x="863676" y="392222"/>
                      </a:cubicBezTo>
                      <a:cubicBezTo>
                        <a:pt x="861075" y="392175"/>
                        <a:pt x="856970" y="391232"/>
                        <a:pt x="854485" y="391937"/>
                      </a:cubicBezTo>
                      <a:cubicBezTo>
                        <a:pt x="851856" y="392689"/>
                        <a:pt x="851522" y="395137"/>
                        <a:pt x="849322" y="395670"/>
                      </a:cubicBezTo>
                      <a:cubicBezTo>
                        <a:pt x="835653" y="398956"/>
                        <a:pt x="816756" y="386593"/>
                        <a:pt x="804449" y="382259"/>
                      </a:cubicBezTo>
                      <a:cubicBezTo>
                        <a:pt x="802697" y="385764"/>
                        <a:pt x="794420" y="383745"/>
                        <a:pt x="791438" y="388003"/>
                      </a:cubicBezTo>
                      <a:cubicBezTo>
                        <a:pt x="787267" y="393956"/>
                        <a:pt x="792448" y="403338"/>
                        <a:pt x="796372" y="408443"/>
                      </a:cubicBezTo>
                      <a:cubicBezTo>
                        <a:pt x="793029" y="408167"/>
                        <a:pt x="790867" y="406053"/>
                        <a:pt x="787895" y="405100"/>
                      </a:cubicBezTo>
                      <a:cubicBezTo>
                        <a:pt x="783971" y="403843"/>
                        <a:pt x="779608" y="404195"/>
                        <a:pt x="775722" y="402986"/>
                      </a:cubicBezTo>
                      <a:cubicBezTo>
                        <a:pt x="768388" y="400709"/>
                        <a:pt x="761273" y="398366"/>
                        <a:pt x="753491" y="397052"/>
                      </a:cubicBezTo>
                      <a:cubicBezTo>
                        <a:pt x="747033" y="395966"/>
                        <a:pt x="737165" y="394365"/>
                        <a:pt x="731336" y="398014"/>
                      </a:cubicBezTo>
                      <a:cubicBezTo>
                        <a:pt x="727668" y="400300"/>
                        <a:pt x="723934" y="411292"/>
                        <a:pt x="728764" y="413501"/>
                      </a:cubicBezTo>
                      <a:cubicBezTo>
                        <a:pt x="726030" y="414339"/>
                        <a:pt x="724468" y="417197"/>
                        <a:pt x="722830" y="417940"/>
                      </a:cubicBezTo>
                      <a:cubicBezTo>
                        <a:pt x="722296" y="418178"/>
                        <a:pt x="721706" y="419769"/>
                        <a:pt x="720982" y="420150"/>
                      </a:cubicBezTo>
                      <a:cubicBezTo>
                        <a:pt x="719849" y="420750"/>
                        <a:pt x="718143" y="417978"/>
                        <a:pt x="716438" y="418835"/>
                      </a:cubicBezTo>
                      <a:cubicBezTo>
                        <a:pt x="713019" y="420550"/>
                        <a:pt x="712238" y="425655"/>
                        <a:pt x="709514" y="428017"/>
                      </a:cubicBezTo>
                      <a:cubicBezTo>
                        <a:pt x="706285" y="430827"/>
                        <a:pt x="701503" y="431484"/>
                        <a:pt x="697894" y="433732"/>
                      </a:cubicBezTo>
                      <a:cubicBezTo>
                        <a:pt x="691178" y="437904"/>
                        <a:pt x="689511" y="442267"/>
                        <a:pt x="685797" y="448610"/>
                      </a:cubicBezTo>
                      <a:cubicBezTo>
                        <a:pt x="684120" y="451468"/>
                        <a:pt x="680729" y="454449"/>
                        <a:pt x="681043" y="458221"/>
                      </a:cubicBezTo>
                      <a:cubicBezTo>
                        <a:pt x="681253" y="460755"/>
                        <a:pt x="685673" y="462669"/>
                        <a:pt x="683501" y="464822"/>
                      </a:cubicBezTo>
                      <a:cubicBezTo>
                        <a:pt x="678605" y="469680"/>
                        <a:pt x="668185" y="458135"/>
                        <a:pt x="666594" y="455621"/>
                      </a:cubicBezTo>
                      <a:cubicBezTo>
                        <a:pt x="664698" y="452639"/>
                        <a:pt x="665765" y="451287"/>
                        <a:pt x="661984" y="449029"/>
                      </a:cubicBezTo>
                      <a:cubicBezTo>
                        <a:pt x="658765" y="447105"/>
                        <a:pt x="657707" y="447048"/>
                        <a:pt x="653926" y="446944"/>
                      </a:cubicBezTo>
                      <a:cubicBezTo>
                        <a:pt x="646544" y="446743"/>
                        <a:pt x="635971" y="450373"/>
                        <a:pt x="628961" y="448315"/>
                      </a:cubicBezTo>
                      <a:cubicBezTo>
                        <a:pt x="622703" y="446477"/>
                        <a:pt x="619255" y="437999"/>
                        <a:pt x="616045" y="432608"/>
                      </a:cubicBezTo>
                      <a:cubicBezTo>
                        <a:pt x="613911" y="429036"/>
                        <a:pt x="611997" y="423169"/>
                        <a:pt x="608701" y="421512"/>
                      </a:cubicBezTo>
                      <a:cubicBezTo>
                        <a:pt x="603986" y="419131"/>
                        <a:pt x="599472" y="423093"/>
                        <a:pt x="595738" y="419169"/>
                      </a:cubicBezTo>
                      <a:cubicBezTo>
                        <a:pt x="590480" y="413663"/>
                        <a:pt x="589061" y="397442"/>
                        <a:pt x="586803" y="390117"/>
                      </a:cubicBezTo>
                      <a:cubicBezTo>
                        <a:pt x="580269" y="393537"/>
                        <a:pt x="580269" y="393899"/>
                        <a:pt x="574935" y="388584"/>
                      </a:cubicBezTo>
                      <a:cubicBezTo>
                        <a:pt x="570620" y="384278"/>
                        <a:pt x="567267" y="381078"/>
                        <a:pt x="562076" y="378087"/>
                      </a:cubicBezTo>
                      <a:cubicBezTo>
                        <a:pt x="557857" y="375649"/>
                        <a:pt x="553894" y="372258"/>
                        <a:pt x="549618" y="370001"/>
                      </a:cubicBezTo>
                      <a:cubicBezTo>
                        <a:pt x="543188" y="366610"/>
                        <a:pt x="543693" y="368915"/>
                        <a:pt x="537197" y="371163"/>
                      </a:cubicBezTo>
                      <a:cubicBezTo>
                        <a:pt x="528263" y="374258"/>
                        <a:pt x="515490" y="370963"/>
                        <a:pt x="505888" y="370439"/>
                      </a:cubicBezTo>
                      <a:cubicBezTo>
                        <a:pt x="495106" y="369858"/>
                        <a:pt x="484972" y="373420"/>
                        <a:pt x="474275" y="373944"/>
                      </a:cubicBezTo>
                      <a:cubicBezTo>
                        <a:pt x="464197" y="374439"/>
                        <a:pt x="454825" y="364257"/>
                        <a:pt x="446566" y="358533"/>
                      </a:cubicBezTo>
                      <a:cubicBezTo>
                        <a:pt x="437699" y="352379"/>
                        <a:pt x="431689" y="345940"/>
                        <a:pt x="421821" y="341387"/>
                      </a:cubicBezTo>
                      <a:cubicBezTo>
                        <a:pt x="400380" y="331500"/>
                        <a:pt x="379034" y="319690"/>
                        <a:pt x="356946" y="311374"/>
                      </a:cubicBezTo>
                      <a:cubicBezTo>
                        <a:pt x="347202" y="307698"/>
                        <a:pt x="334801" y="313651"/>
                        <a:pt x="324875" y="316480"/>
                      </a:cubicBezTo>
                      <a:cubicBezTo>
                        <a:pt x="312979" y="319870"/>
                        <a:pt x="301139" y="323480"/>
                        <a:pt x="289271" y="326995"/>
                      </a:cubicBezTo>
                      <a:cubicBezTo>
                        <a:pt x="302530" y="365448"/>
                        <a:pt x="315445" y="403995"/>
                        <a:pt x="327971" y="442686"/>
                      </a:cubicBezTo>
                      <a:cubicBezTo>
                        <a:pt x="323866" y="442724"/>
                        <a:pt x="319389" y="445296"/>
                        <a:pt x="315369" y="444334"/>
                      </a:cubicBezTo>
                      <a:cubicBezTo>
                        <a:pt x="311340" y="443362"/>
                        <a:pt x="307035" y="438695"/>
                        <a:pt x="303987" y="436018"/>
                      </a:cubicBezTo>
                      <a:cubicBezTo>
                        <a:pt x="295976" y="429017"/>
                        <a:pt x="290881" y="422169"/>
                        <a:pt x="281232" y="417254"/>
                      </a:cubicBezTo>
                      <a:cubicBezTo>
                        <a:pt x="271383" y="412244"/>
                        <a:pt x="264991" y="409853"/>
                        <a:pt x="253952" y="412282"/>
                      </a:cubicBezTo>
                      <a:cubicBezTo>
                        <a:pt x="241950" y="414930"/>
                        <a:pt x="235045" y="418492"/>
                        <a:pt x="227520" y="428246"/>
                      </a:cubicBezTo>
                      <a:cubicBezTo>
                        <a:pt x="224025" y="422359"/>
                        <a:pt x="223929" y="418121"/>
                        <a:pt x="224215" y="411644"/>
                      </a:cubicBezTo>
                      <a:cubicBezTo>
                        <a:pt x="224443" y="406338"/>
                        <a:pt x="224063" y="398204"/>
                        <a:pt x="218252" y="395747"/>
                      </a:cubicBezTo>
                      <a:cubicBezTo>
                        <a:pt x="214347" y="394099"/>
                        <a:pt x="208375" y="395108"/>
                        <a:pt x="204365" y="394042"/>
                      </a:cubicBezTo>
                      <a:cubicBezTo>
                        <a:pt x="198764" y="392565"/>
                        <a:pt x="198107" y="389851"/>
                        <a:pt x="192992" y="386545"/>
                      </a:cubicBezTo>
                      <a:cubicBezTo>
                        <a:pt x="189630" y="384383"/>
                        <a:pt x="186258" y="386022"/>
                        <a:pt x="183353" y="384526"/>
                      </a:cubicBezTo>
                      <a:cubicBezTo>
                        <a:pt x="180048" y="382821"/>
                        <a:pt x="181743" y="382812"/>
                        <a:pt x="180086" y="379154"/>
                      </a:cubicBezTo>
                      <a:cubicBezTo>
                        <a:pt x="177514" y="373449"/>
                        <a:pt x="174685" y="371467"/>
                        <a:pt x="170237" y="367038"/>
                      </a:cubicBezTo>
                      <a:cubicBezTo>
                        <a:pt x="165817" y="362647"/>
                        <a:pt x="162693" y="354751"/>
                        <a:pt x="157607" y="351436"/>
                      </a:cubicBezTo>
                      <a:cubicBezTo>
                        <a:pt x="152977" y="348407"/>
                        <a:pt x="144005" y="350874"/>
                        <a:pt x="141119" y="345521"/>
                      </a:cubicBezTo>
                      <a:cubicBezTo>
                        <a:pt x="136738" y="337425"/>
                        <a:pt x="150006" y="337349"/>
                        <a:pt x="154939" y="338520"/>
                      </a:cubicBezTo>
                      <a:cubicBezTo>
                        <a:pt x="158178" y="339292"/>
                        <a:pt x="160788" y="342083"/>
                        <a:pt x="164207" y="342435"/>
                      </a:cubicBezTo>
                      <a:cubicBezTo>
                        <a:pt x="167722" y="342797"/>
                        <a:pt x="170904" y="340911"/>
                        <a:pt x="174723" y="341616"/>
                      </a:cubicBezTo>
                      <a:cubicBezTo>
                        <a:pt x="170465" y="337673"/>
                        <a:pt x="161645" y="337797"/>
                        <a:pt x="158169" y="332120"/>
                      </a:cubicBezTo>
                      <a:cubicBezTo>
                        <a:pt x="155197" y="327271"/>
                        <a:pt x="157931" y="329424"/>
                        <a:pt x="159160" y="325576"/>
                      </a:cubicBezTo>
                      <a:cubicBezTo>
                        <a:pt x="159893" y="323299"/>
                        <a:pt x="160902" y="317356"/>
                        <a:pt x="163017" y="315594"/>
                      </a:cubicBezTo>
                      <a:cubicBezTo>
                        <a:pt x="164788" y="314136"/>
                        <a:pt x="174019" y="314575"/>
                        <a:pt x="176685" y="314498"/>
                      </a:cubicBezTo>
                      <a:cubicBezTo>
                        <a:pt x="180715" y="314384"/>
                        <a:pt x="184934" y="313974"/>
                        <a:pt x="188934" y="314127"/>
                      </a:cubicBezTo>
                      <a:cubicBezTo>
                        <a:pt x="196031" y="314403"/>
                        <a:pt x="204146" y="318947"/>
                        <a:pt x="211146" y="316384"/>
                      </a:cubicBezTo>
                      <a:cubicBezTo>
                        <a:pt x="208041" y="314089"/>
                        <a:pt x="202212" y="313632"/>
                        <a:pt x="199717" y="311174"/>
                      </a:cubicBezTo>
                      <a:cubicBezTo>
                        <a:pt x="195821" y="307326"/>
                        <a:pt x="198183" y="304154"/>
                        <a:pt x="199202" y="299325"/>
                      </a:cubicBezTo>
                      <a:cubicBezTo>
                        <a:pt x="201222" y="289819"/>
                        <a:pt x="197507" y="286438"/>
                        <a:pt x="195145" y="278132"/>
                      </a:cubicBezTo>
                      <a:cubicBezTo>
                        <a:pt x="194059" y="274322"/>
                        <a:pt x="196402" y="273446"/>
                        <a:pt x="192402" y="269321"/>
                      </a:cubicBezTo>
                      <a:cubicBezTo>
                        <a:pt x="189458" y="266292"/>
                        <a:pt x="187220" y="266035"/>
                        <a:pt x="183324" y="265245"/>
                      </a:cubicBezTo>
                      <a:cubicBezTo>
                        <a:pt x="180257" y="264625"/>
                        <a:pt x="175990" y="264035"/>
                        <a:pt x="173276" y="264997"/>
                      </a:cubicBezTo>
                      <a:cubicBezTo>
                        <a:pt x="171818" y="265511"/>
                        <a:pt x="170741" y="268512"/>
                        <a:pt x="168151" y="268969"/>
                      </a:cubicBezTo>
                      <a:cubicBezTo>
                        <a:pt x="163245" y="269817"/>
                        <a:pt x="156340" y="264759"/>
                        <a:pt x="151797" y="263092"/>
                      </a:cubicBezTo>
                      <a:cubicBezTo>
                        <a:pt x="142338" y="259644"/>
                        <a:pt x="137604" y="260892"/>
                        <a:pt x="129146" y="265035"/>
                      </a:cubicBezTo>
                      <a:cubicBezTo>
                        <a:pt x="123641" y="267740"/>
                        <a:pt x="120383" y="268978"/>
                        <a:pt x="115240" y="272912"/>
                      </a:cubicBezTo>
                      <a:cubicBezTo>
                        <a:pt x="109277" y="277475"/>
                        <a:pt x="103305" y="277570"/>
                        <a:pt x="96227" y="278989"/>
                      </a:cubicBezTo>
                      <a:cubicBezTo>
                        <a:pt x="96876" y="279942"/>
                        <a:pt x="96913" y="281428"/>
                        <a:pt x="97695" y="282418"/>
                      </a:cubicBezTo>
                      <a:cubicBezTo>
                        <a:pt x="94856" y="281485"/>
                        <a:pt x="93570" y="282037"/>
                        <a:pt x="94951" y="284723"/>
                      </a:cubicBezTo>
                      <a:cubicBezTo>
                        <a:pt x="90865" y="283409"/>
                        <a:pt x="71977" y="278646"/>
                        <a:pt x="72053" y="273350"/>
                      </a:cubicBezTo>
                      <a:cubicBezTo>
                        <a:pt x="72158" y="266397"/>
                        <a:pt x="88227" y="280246"/>
                        <a:pt x="80826" y="268064"/>
                      </a:cubicBezTo>
                      <a:cubicBezTo>
                        <a:pt x="75491" y="259311"/>
                        <a:pt x="64986" y="251833"/>
                        <a:pt x="57299" y="245233"/>
                      </a:cubicBezTo>
                      <a:cubicBezTo>
                        <a:pt x="52965" y="241499"/>
                        <a:pt x="51698" y="240642"/>
                        <a:pt x="45964" y="239813"/>
                      </a:cubicBezTo>
                      <a:cubicBezTo>
                        <a:pt x="43345" y="239441"/>
                        <a:pt x="40239" y="238908"/>
                        <a:pt x="37582" y="239003"/>
                      </a:cubicBezTo>
                      <a:cubicBezTo>
                        <a:pt x="35915" y="239060"/>
                        <a:pt x="31200" y="240680"/>
                        <a:pt x="29924" y="240451"/>
                      </a:cubicBezTo>
                      <a:cubicBezTo>
                        <a:pt x="24333" y="239451"/>
                        <a:pt x="23961" y="233755"/>
                        <a:pt x="22095" y="230059"/>
                      </a:cubicBezTo>
                      <a:cubicBezTo>
                        <a:pt x="18951" y="223877"/>
                        <a:pt x="16589" y="224325"/>
                        <a:pt x="10845" y="221201"/>
                      </a:cubicBezTo>
                      <a:cubicBezTo>
                        <a:pt x="5702" y="218401"/>
                        <a:pt x="3711" y="215696"/>
                        <a:pt x="4140" y="209561"/>
                      </a:cubicBezTo>
                      <a:cubicBezTo>
                        <a:pt x="4464" y="204970"/>
                        <a:pt x="9874" y="200760"/>
                        <a:pt x="9483" y="196912"/>
                      </a:cubicBezTo>
                      <a:cubicBezTo>
                        <a:pt x="9045" y="192645"/>
                        <a:pt x="3016" y="191797"/>
                        <a:pt x="1140" y="188149"/>
                      </a:cubicBezTo>
                      <a:cubicBezTo>
                        <a:pt x="-1537" y="182977"/>
                        <a:pt x="1016" y="176119"/>
                        <a:pt x="3521" y="171957"/>
                      </a:cubicBezTo>
                      <a:cubicBezTo>
                        <a:pt x="4645" y="170090"/>
                        <a:pt x="6712" y="169871"/>
                        <a:pt x="7293" y="167470"/>
                      </a:cubicBezTo>
                      <a:cubicBezTo>
                        <a:pt x="7712" y="165794"/>
                        <a:pt x="5426" y="163765"/>
                        <a:pt x="5759" y="162022"/>
                      </a:cubicBezTo>
                      <a:cubicBezTo>
                        <a:pt x="6559" y="157869"/>
                        <a:pt x="9312" y="156336"/>
                        <a:pt x="13179" y="156879"/>
                      </a:cubicBezTo>
                      <a:cubicBezTo>
                        <a:pt x="23552" y="158346"/>
                        <a:pt x="29372" y="175005"/>
                        <a:pt x="40106" y="174338"/>
                      </a:cubicBezTo>
                      <a:cubicBezTo>
                        <a:pt x="54775" y="173424"/>
                        <a:pt x="40669" y="155298"/>
                        <a:pt x="36020" y="150040"/>
                      </a:cubicBezTo>
                      <a:cubicBezTo>
                        <a:pt x="42507" y="151392"/>
                        <a:pt x="48584" y="145382"/>
                        <a:pt x="51965" y="140619"/>
                      </a:cubicBezTo>
                      <a:cubicBezTo>
                        <a:pt x="55404" y="135762"/>
                        <a:pt x="51850" y="137667"/>
                        <a:pt x="57585" y="134628"/>
                      </a:cubicBezTo>
                      <a:cubicBezTo>
                        <a:pt x="60756" y="132942"/>
                        <a:pt x="64147" y="131971"/>
                        <a:pt x="67272" y="129856"/>
                      </a:cubicBezTo>
                      <a:cubicBezTo>
                        <a:pt x="70939" y="127370"/>
                        <a:pt x="70948" y="127551"/>
                        <a:pt x="73701" y="124056"/>
                      </a:cubicBezTo>
                      <a:cubicBezTo>
                        <a:pt x="75263" y="122074"/>
                        <a:pt x="78635" y="115550"/>
                        <a:pt x="80273" y="114940"/>
                      </a:cubicBezTo>
                      <a:cubicBezTo>
                        <a:pt x="86408" y="112664"/>
                        <a:pt x="91999" y="120979"/>
                        <a:pt x="95904" y="122531"/>
                      </a:cubicBezTo>
                      <a:cubicBezTo>
                        <a:pt x="103352" y="125503"/>
                        <a:pt x="107410" y="117283"/>
                        <a:pt x="113725" y="116112"/>
                      </a:cubicBezTo>
                      <a:cubicBezTo>
                        <a:pt x="120021" y="114940"/>
                        <a:pt x="124678" y="121236"/>
                        <a:pt x="130546" y="122465"/>
                      </a:cubicBezTo>
                      <a:cubicBezTo>
                        <a:pt x="136832" y="123779"/>
                        <a:pt x="143758" y="121369"/>
                        <a:pt x="149882" y="123570"/>
                      </a:cubicBezTo>
                      <a:cubicBezTo>
                        <a:pt x="153644" y="124913"/>
                        <a:pt x="155721" y="127970"/>
                        <a:pt x="159054" y="129923"/>
                      </a:cubicBezTo>
                      <a:cubicBezTo>
                        <a:pt x="162388" y="131866"/>
                        <a:pt x="166313" y="132361"/>
                        <a:pt x="169694" y="134257"/>
                      </a:cubicBezTo>
                      <a:cubicBezTo>
                        <a:pt x="176504" y="138048"/>
                        <a:pt x="180400" y="143601"/>
                        <a:pt x="185496" y="148792"/>
                      </a:cubicBezTo>
                      <a:cubicBezTo>
                        <a:pt x="191573" y="154983"/>
                        <a:pt x="191725" y="149964"/>
                        <a:pt x="188354" y="143944"/>
                      </a:cubicBezTo>
                      <a:cubicBezTo>
                        <a:pt x="184724" y="137467"/>
                        <a:pt x="184581" y="136000"/>
                        <a:pt x="193392" y="139972"/>
                      </a:cubicBezTo>
                      <a:cubicBezTo>
                        <a:pt x="200336" y="143106"/>
                        <a:pt x="206546" y="148963"/>
                        <a:pt x="214233" y="150392"/>
                      </a:cubicBezTo>
                      <a:cubicBezTo>
                        <a:pt x="224320" y="152269"/>
                        <a:pt x="224253" y="145011"/>
                        <a:pt x="229996" y="140219"/>
                      </a:cubicBezTo>
                      <a:cubicBezTo>
                        <a:pt x="233321" y="137448"/>
                        <a:pt x="241522" y="135733"/>
                        <a:pt x="246465" y="135847"/>
                      </a:cubicBezTo>
                      <a:cubicBezTo>
                        <a:pt x="251095" y="135952"/>
                        <a:pt x="253409" y="139267"/>
                        <a:pt x="257524" y="140429"/>
                      </a:cubicBezTo>
                      <a:cubicBezTo>
                        <a:pt x="262849" y="141943"/>
                        <a:pt x="262267" y="139886"/>
                        <a:pt x="265687" y="137943"/>
                      </a:cubicBezTo>
                      <a:cubicBezTo>
                        <a:pt x="269411" y="135819"/>
                        <a:pt x="265897" y="135990"/>
                        <a:pt x="271983" y="135571"/>
                      </a:cubicBezTo>
                      <a:cubicBezTo>
                        <a:pt x="275431" y="135333"/>
                        <a:pt x="278698" y="135257"/>
                        <a:pt x="282051" y="136333"/>
                      </a:cubicBezTo>
                      <a:cubicBezTo>
                        <a:pt x="289804" y="138810"/>
                        <a:pt x="294566" y="146011"/>
                        <a:pt x="302491" y="148135"/>
                      </a:cubicBezTo>
                      <a:cubicBezTo>
                        <a:pt x="305863" y="149040"/>
                        <a:pt x="310711" y="148316"/>
                        <a:pt x="313807" y="149735"/>
                      </a:cubicBezTo>
                      <a:cubicBezTo>
                        <a:pt x="314788" y="150183"/>
                        <a:pt x="318208" y="153612"/>
                        <a:pt x="317655" y="153545"/>
                      </a:cubicBezTo>
                      <a:cubicBezTo>
                        <a:pt x="327332" y="154783"/>
                        <a:pt x="321989" y="143782"/>
                        <a:pt x="327695" y="142705"/>
                      </a:cubicBezTo>
                      <a:cubicBezTo>
                        <a:pt x="329667" y="142324"/>
                        <a:pt x="333934" y="146696"/>
                        <a:pt x="336096" y="147439"/>
                      </a:cubicBezTo>
                      <a:cubicBezTo>
                        <a:pt x="339610" y="148640"/>
                        <a:pt x="343649" y="148459"/>
                        <a:pt x="347259" y="148078"/>
                      </a:cubicBezTo>
                      <a:cubicBezTo>
                        <a:pt x="357127" y="147039"/>
                        <a:pt x="362309" y="144191"/>
                        <a:pt x="360956" y="134095"/>
                      </a:cubicBezTo>
                      <a:cubicBezTo>
                        <a:pt x="359727" y="124979"/>
                        <a:pt x="354536" y="125113"/>
                        <a:pt x="346116" y="122789"/>
                      </a:cubicBezTo>
                      <a:cubicBezTo>
                        <a:pt x="339972" y="121093"/>
                        <a:pt x="331695" y="119322"/>
                        <a:pt x="326028" y="116131"/>
                      </a:cubicBezTo>
                      <a:cubicBezTo>
                        <a:pt x="323313" y="114597"/>
                        <a:pt x="320170" y="112368"/>
                        <a:pt x="317341" y="110701"/>
                      </a:cubicBezTo>
                      <a:cubicBezTo>
                        <a:pt x="312388" y="107806"/>
                        <a:pt x="312512" y="109816"/>
                        <a:pt x="315579" y="105977"/>
                      </a:cubicBezTo>
                      <a:cubicBezTo>
                        <a:pt x="318817" y="101929"/>
                        <a:pt x="331219" y="101948"/>
                        <a:pt x="331714" y="96223"/>
                      </a:cubicBezTo>
                      <a:cubicBezTo>
                        <a:pt x="332352" y="88870"/>
                        <a:pt x="319179" y="89546"/>
                        <a:pt x="323208" y="79907"/>
                      </a:cubicBezTo>
                      <a:cubicBezTo>
                        <a:pt x="325971" y="73287"/>
                        <a:pt x="331390" y="75116"/>
                        <a:pt x="338182" y="75611"/>
                      </a:cubicBezTo>
                      <a:cubicBezTo>
                        <a:pt x="342840" y="75954"/>
                        <a:pt x="356250" y="77554"/>
                        <a:pt x="346478" y="71211"/>
                      </a:cubicBezTo>
                      <a:cubicBezTo>
                        <a:pt x="340725" y="67477"/>
                        <a:pt x="333181" y="68982"/>
                        <a:pt x="327228" y="66239"/>
                      </a:cubicBezTo>
                      <a:cubicBezTo>
                        <a:pt x="314893" y="60562"/>
                        <a:pt x="329914" y="62181"/>
                        <a:pt x="329600" y="58419"/>
                      </a:cubicBezTo>
                      <a:cubicBezTo>
                        <a:pt x="329285" y="54752"/>
                        <a:pt x="317484" y="58419"/>
                        <a:pt x="315122" y="55599"/>
                      </a:cubicBezTo>
                      <a:cubicBezTo>
                        <a:pt x="314169" y="54466"/>
                        <a:pt x="313636" y="43788"/>
                        <a:pt x="316255" y="42302"/>
                      </a:cubicBezTo>
                      <a:cubicBezTo>
                        <a:pt x="319027" y="40731"/>
                        <a:pt x="332400" y="44198"/>
                        <a:pt x="334953" y="43988"/>
                      </a:cubicBezTo>
                      <a:cubicBezTo>
                        <a:pt x="341458" y="43436"/>
                        <a:pt x="348250" y="42188"/>
                        <a:pt x="354679" y="40636"/>
                      </a:cubicBezTo>
                      <a:cubicBezTo>
                        <a:pt x="360747" y="39178"/>
                        <a:pt x="365918" y="37292"/>
                        <a:pt x="372415" y="36035"/>
                      </a:cubicBezTo>
                      <a:cubicBezTo>
                        <a:pt x="378635" y="34835"/>
                        <a:pt x="384911" y="31596"/>
                        <a:pt x="391245" y="31406"/>
                      </a:cubicBezTo>
                      <a:cubicBezTo>
                        <a:pt x="396837" y="31234"/>
                        <a:pt x="405228" y="32996"/>
                        <a:pt x="408162" y="30625"/>
                      </a:cubicBezTo>
                      <a:cubicBezTo>
                        <a:pt x="409172" y="29796"/>
                        <a:pt x="408972" y="26967"/>
                        <a:pt x="411171" y="25367"/>
                      </a:cubicBezTo>
                      <a:cubicBezTo>
                        <a:pt x="413800" y="23462"/>
                        <a:pt x="415229" y="24119"/>
                        <a:pt x="418811" y="23653"/>
                      </a:cubicBezTo>
                      <a:cubicBezTo>
                        <a:pt x="422745" y="23148"/>
                        <a:pt x="424564" y="22605"/>
                        <a:pt x="429308" y="22376"/>
                      </a:cubicBezTo>
                      <a:cubicBezTo>
                        <a:pt x="433270" y="22176"/>
                        <a:pt x="437413" y="21052"/>
                        <a:pt x="441338" y="20319"/>
                      </a:cubicBezTo>
                      <a:cubicBezTo>
                        <a:pt x="448977" y="18890"/>
                        <a:pt x="457111" y="17385"/>
                        <a:pt x="464483" y="15385"/>
                      </a:cubicBezTo>
                      <a:cubicBezTo>
                        <a:pt x="468188" y="14375"/>
                        <a:pt x="479380" y="12470"/>
                        <a:pt x="472132" y="6793"/>
                      </a:cubicBezTo>
                      <a:cubicBezTo>
                        <a:pt x="475837" y="5326"/>
                        <a:pt x="478276" y="4745"/>
                        <a:pt x="481590" y="3002"/>
                      </a:cubicBezTo>
                      <a:cubicBezTo>
                        <a:pt x="486715" y="316"/>
                        <a:pt x="487781" y="-265"/>
                        <a:pt x="494049" y="97"/>
                      </a:cubicBezTo>
                      <a:cubicBezTo>
                        <a:pt x="503107" y="612"/>
                        <a:pt x="509936" y="4622"/>
                        <a:pt x="518461" y="6298"/>
                      </a:cubicBezTo>
                      <a:lnTo>
                        <a:pt x="518461" y="6298"/>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25" name="Freeform: Shape 624">
                  <a:extLst>
                    <a:ext uri="{FF2B5EF4-FFF2-40B4-BE49-F238E27FC236}">
                      <a16:creationId xmlns:a16="http://schemas.microsoft.com/office/drawing/2014/main" id="{2BC560DE-09C8-40A3-B495-CE523DA5E803}"/>
                    </a:ext>
                  </a:extLst>
                </p:cNvPr>
                <p:cNvSpPr/>
                <p:nvPr/>
              </p:nvSpPr>
              <p:spPr>
                <a:xfrm>
                  <a:off x="9341144" y="2931582"/>
                  <a:ext cx="272456" cy="456333"/>
                </a:xfrm>
                <a:custGeom>
                  <a:avLst/>
                  <a:gdLst>
                    <a:gd name="connsiteX0" fmla="*/ 39209 w 272456"/>
                    <a:gd name="connsiteY0" fmla="*/ 374828 h 456333"/>
                    <a:gd name="connsiteX1" fmla="*/ 49058 w 272456"/>
                    <a:gd name="connsiteY1" fmla="*/ 373723 h 456333"/>
                    <a:gd name="connsiteX2" fmla="*/ 56258 w 272456"/>
                    <a:gd name="connsiteY2" fmla="*/ 380610 h 456333"/>
                    <a:gd name="connsiteX3" fmla="*/ 58059 w 272456"/>
                    <a:gd name="connsiteY3" fmla="*/ 385410 h 456333"/>
                    <a:gd name="connsiteX4" fmla="*/ 66317 w 272456"/>
                    <a:gd name="connsiteY4" fmla="*/ 385811 h 456333"/>
                    <a:gd name="connsiteX5" fmla="*/ 73013 w 272456"/>
                    <a:gd name="connsiteY5" fmla="*/ 393507 h 456333"/>
                    <a:gd name="connsiteX6" fmla="*/ 76918 w 272456"/>
                    <a:gd name="connsiteY6" fmla="*/ 415071 h 456333"/>
                    <a:gd name="connsiteX7" fmla="*/ 86529 w 272456"/>
                    <a:gd name="connsiteY7" fmla="*/ 444065 h 456333"/>
                    <a:gd name="connsiteX8" fmla="*/ 80062 w 272456"/>
                    <a:gd name="connsiteY8" fmla="*/ 442894 h 456333"/>
                    <a:gd name="connsiteX9" fmla="*/ 79556 w 272456"/>
                    <a:gd name="connsiteY9" fmla="*/ 446170 h 456333"/>
                    <a:gd name="connsiteX10" fmla="*/ 80280 w 272456"/>
                    <a:gd name="connsiteY10" fmla="*/ 451790 h 456333"/>
                    <a:gd name="connsiteX11" fmla="*/ 74756 w 272456"/>
                    <a:gd name="connsiteY11" fmla="*/ 456334 h 456333"/>
                    <a:gd name="connsiteX12" fmla="*/ 64793 w 272456"/>
                    <a:gd name="connsiteY12" fmla="*/ 438617 h 456333"/>
                    <a:gd name="connsiteX13" fmla="*/ 60564 w 272456"/>
                    <a:gd name="connsiteY13" fmla="*/ 436645 h 456333"/>
                    <a:gd name="connsiteX14" fmla="*/ 68888 w 272456"/>
                    <a:gd name="connsiteY14" fmla="*/ 451181 h 456333"/>
                    <a:gd name="connsiteX15" fmla="*/ 51705 w 272456"/>
                    <a:gd name="connsiteY15" fmla="*/ 443932 h 456333"/>
                    <a:gd name="connsiteX16" fmla="*/ 40333 w 272456"/>
                    <a:gd name="connsiteY16" fmla="*/ 421691 h 456333"/>
                    <a:gd name="connsiteX17" fmla="*/ 43904 w 272456"/>
                    <a:gd name="connsiteY17" fmla="*/ 415709 h 456333"/>
                    <a:gd name="connsiteX18" fmla="*/ 43038 w 272456"/>
                    <a:gd name="connsiteY18" fmla="*/ 405804 h 456333"/>
                    <a:gd name="connsiteX19" fmla="*/ 39409 w 272456"/>
                    <a:gd name="connsiteY19" fmla="*/ 405099 h 456333"/>
                    <a:gd name="connsiteX20" fmla="*/ 38742 w 272456"/>
                    <a:gd name="connsiteY20" fmla="*/ 402184 h 456333"/>
                    <a:gd name="connsiteX21" fmla="*/ 31208 w 272456"/>
                    <a:gd name="connsiteY21" fmla="*/ 395631 h 456333"/>
                    <a:gd name="connsiteX22" fmla="*/ 19225 w 272456"/>
                    <a:gd name="connsiteY22" fmla="*/ 389563 h 456333"/>
                    <a:gd name="connsiteX23" fmla="*/ 27483 w 272456"/>
                    <a:gd name="connsiteY23" fmla="*/ 398145 h 456333"/>
                    <a:gd name="connsiteX24" fmla="*/ 30865 w 272456"/>
                    <a:gd name="connsiteY24" fmla="*/ 403975 h 456333"/>
                    <a:gd name="connsiteX25" fmla="*/ 23921 w 272456"/>
                    <a:gd name="connsiteY25" fmla="*/ 401193 h 456333"/>
                    <a:gd name="connsiteX26" fmla="*/ 18663 w 272456"/>
                    <a:gd name="connsiteY26" fmla="*/ 407309 h 456333"/>
                    <a:gd name="connsiteX27" fmla="*/ 6633 w 272456"/>
                    <a:gd name="connsiteY27" fmla="*/ 391907 h 456333"/>
                    <a:gd name="connsiteX28" fmla="*/ 19721 w 272456"/>
                    <a:gd name="connsiteY28" fmla="*/ 398469 h 456333"/>
                    <a:gd name="connsiteX29" fmla="*/ 3747 w 272456"/>
                    <a:gd name="connsiteY29" fmla="*/ 387916 h 456333"/>
                    <a:gd name="connsiteX30" fmla="*/ 6300 w 272456"/>
                    <a:gd name="connsiteY30" fmla="*/ 383658 h 456333"/>
                    <a:gd name="connsiteX31" fmla="*/ 3490 w 272456"/>
                    <a:gd name="connsiteY31" fmla="*/ 380029 h 456333"/>
                    <a:gd name="connsiteX32" fmla="*/ 10196 w 272456"/>
                    <a:gd name="connsiteY32" fmla="*/ 374952 h 456333"/>
                    <a:gd name="connsiteX33" fmla="*/ 15253 w 272456"/>
                    <a:gd name="connsiteY33" fmla="*/ 372237 h 456333"/>
                    <a:gd name="connsiteX34" fmla="*/ 14615 w 272456"/>
                    <a:gd name="connsiteY34" fmla="*/ 367504 h 456333"/>
                    <a:gd name="connsiteX35" fmla="*/ 39209 w 272456"/>
                    <a:gd name="connsiteY35" fmla="*/ 374828 h 456333"/>
                    <a:gd name="connsiteX36" fmla="*/ 39209 w 272456"/>
                    <a:gd name="connsiteY36" fmla="*/ 374828 h 456333"/>
                    <a:gd name="connsiteX37" fmla="*/ 117619 w 272456"/>
                    <a:gd name="connsiteY37" fmla="*/ 354235 h 456333"/>
                    <a:gd name="connsiteX38" fmla="*/ 124372 w 272456"/>
                    <a:gd name="connsiteY38" fmla="*/ 355359 h 456333"/>
                    <a:gd name="connsiteX39" fmla="*/ 129430 w 272456"/>
                    <a:gd name="connsiteY39" fmla="*/ 360026 h 456333"/>
                    <a:gd name="connsiteX40" fmla="*/ 137612 w 272456"/>
                    <a:gd name="connsiteY40" fmla="*/ 367961 h 456333"/>
                    <a:gd name="connsiteX41" fmla="*/ 133221 w 272456"/>
                    <a:gd name="connsiteY41" fmla="*/ 386020 h 456333"/>
                    <a:gd name="connsiteX42" fmla="*/ 105283 w 272456"/>
                    <a:gd name="connsiteY42" fmla="*/ 383372 h 456333"/>
                    <a:gd name="connsiteX43" fmla="*/ 106484 w 272456"/>
                    <a:gd name="connsiteY43" fmla="*/ 391630 h 456333"/>
                    <a:gd name="connsiteX44" fmla="*/ 104769 w 272456"/>
                    <a:gd name="connsiteY44" fmla="*/ 394335 h 456333"/>
                    <a:gd name="connsiteX45" fmla="*/ 104169 w 272456"/>
                    <a:gd name="connsiteY45" fmla="*/ 401593 h 456333"/>
                    <a:gd name="connsiteX46" fmla="*/ 98321 w 272456"/>
                    <a:gd name="connsiteY46" fmla="*/ 401298 h 456333"/>
                    <a:gd name="connsiteX47" fmla="*/ 89139 w 272456"/>
                    <a:gd name="connsiteY47" fmla="*/ 393573 h 456333"/>
                    <a:gd name="connsiteX48" fmla="*/ 85005 w 272456"/>
                    <a:gd name="connsiteY48" fmla="*/ 386115 h 456333"/>
                    <a:gd name="connsiteX49" fmla="*/ 69222 w 272456"/>
                    <a:gd name="connsiteY49" fmla="*/ 383105 h 456333"/>
                    <a:gd name="connsiteX50" fmla="*/ 79709 w 272456"/>
                    <a:gd name="connsiteY50" fmla="*/ 371294 h 456333"/>
                    <a:gd name="connsiteX51" fmla="*/ 80852 w 272456"/>
                    <a:gd name="connsiteY51" fmla="*/ 359426 h 456333"/>
                    <a:gd name="connsiteX52" fmla="*/ 88167 w 272456"/>
                    <a:gd name="connsiteY52" fmla="*/ 364036 h 456333"/>
                    <a:gd name="connsiteX53" fmla="*/ 93711 w 272456"/>
                    <a:gd name="connsiteY53" fmla="*/ 363170 h 456333"/>
                    <a:gd name="connsiteX54" fmla="*/ 96149 w 272456"/>
                    <a:gd name="connsiteY54" fmla="*/ 354635 h 456333"/>
                    <a:gd name="connsiteX55" fmla="*/ 104798 w 272456"/>
                    <a:gd name="connsiteY55" fmla="*/ 351273 h 456333"/>
                    <a:gd name="connsiteX56" fmla="*/ 117619 w 272456"/>
                    <a:gd name="connsiteY56" fmla="*/ 354235 h 456333"/>
                    <a:gd name="connsiteX57" fmla="*/ 117619 w 272456"/>
                    <a:gd name="connsiteY57" fmla="*/ 354235 h 456333"/>
                    <a:gd name="connsiteX58" fmla="*/ 146022 w 272456"/>
                    <a:gd name="connsiteY58" fmla="*/ 130064 h 456333"/>
                    <a:gd name="connsiteX59" fmla="*/ 151899 w 272456"/>
                    <a:gd name="connsiteY59" fmla="*/ 129807 h 456333"/>
                    <a:gd name="connsiteX60" fmla="*/ 157262 w 272456"/>
                    <a:gd name="connsiteY60" fmla="*/ 138008 h 456333"/>
                    <a:gd name="connsiteX61" fmla="*/ 170901 w 272456"/>
                    <a:gd name="connsiteY61" fmla="*/ 153134 h 456333"/>
                    <a:gd name="connsiteX62" fmla="*/ 202058 w 272456"/>
                    <a:gd name="connsiteY62" fmla="*/ 175165 h 456333"/>
                    <a:gd name="connsiteX63" fmla="*/ 220945 w 272456"/>
                    <a:gd name="connsiteY63" fmla="*/ 201626 h 456333"/>
                    <a:gd name="connsiteX64" fmla="*/ 219193 w 272456"/>
                    <a:gd name="connsiteY64" fmla="*/ 204883 h 456333"/>
                    <a:gd name="connsiteX65" fmla="*/ 219583 w 272456"/>
                    <a:gd name="connsiteY65" fmla="*/ 208636 h 456333"/>
                    <a:gd name="connsiteX66" fmla="*/ 226594 w 272456"/>
                    <a:gd name="connsiteY66" fmla="*/ 223571 h 456333"/>
                    <a:gd name="connsiteX67" fmla="*/ 218536 w 272456"/>
                    <a:gd name="connsiteY67" fmla="*/ 231620 h 456333"/>
                    <a:gd name="connsiteX68" fmla="*/ 226899 w 272456"/>
                    <a:gd name="connsiteY68" fmla="*/ 242507 h 456333"/>
                    <a:gd name="connsiteX69" fmla="*/ 245796 w 272456"/>
                    <a:gd name="connsiteY69" fmla="*/ 267748 h 456333"/>
                    <a:gd name="connsiteX70" fmla="*/ 245568 w 272456"/>
                    <a:gd name="connsiteY70" fmla="*/ 277006 h 456333"/>
                    <a:gd name="connsiteX71" fmla="*/ 250902 w 272456"/>
                    <a:gd name="connsiteY71" fmla="*/ 288998 h 456333"/>
                    <a:gd name="connsiteX72" fmla="*/ 272457 w 272456"/>
                    <a:gd name="connsiteY72" fmla="*/ 307972 h 456333"/>
                    <a:gd name="connsiteX73" fmla="*/ 265722 w 272456"/>
                    <a:gd name="connsiteY73" fmla="*/ 313735 h 456333"/>
                    <a:gd name="connsiteX74" fmla="*/ 269666 w 272456"/>
                    <a:gd name="connsiteY74" fmla="*/ 322393 h 456333"/>
                    <a:gd name="connsiteX75" fmla="*/ 263589 w 272456"/>
                    <a:gd name="connsiteY75" fmla="*/ 333966 h 456333"/>
                    <a:gd name="connsiteX76" fmla="*/ 253188 w 272456"/>
                    <a:gd name="connsiteY76" fmla="*/ 322460 h 456333"/>
                    <a:gd name="connsiteX77" fmla="*/ 252121 w 272456"/>
                    <a:gd name="connsiteY77" fmla="*/ 311601 h 456333"/>
                    <a:gd name="connsiteX78" fmla="*/ 245253 w 272456"/>
                    <a:gd name="connsiteY78" fmla="*/ 309906 h 456333"/>
                    <a:gd name="connsiteX79" fmla="*/ 245453 w 272456"/>
                    <a:gd name="connsiteY79" fmla="*/ 314173 h 456333"/>
                    <a:gd name="connsiteX80" fmla="*/ 246396 w 272456"/>
                    <a:gd name="connsiteY80" fmla="*/ 319993 h 456333"/>
                    <a:gd name="connsiteX81" fmla="*/ 250911 w 272456"/>
                    <a:gd name="connsiteY81" fmla="*/ 323327 h 456333"/>
                    <a:gd name="connsiteX82" fmla="*/ 242015 w 272456"/>
                    <a:gd name="connsiteY82" fmla="*/ 321383 h 456333"/>
                    <a:gd name="connsiteX83" fmla="*/ 238957 w 272456"/>
                    <a:gd name="connsiteY83" fmla="*/ 331470 h 456333"/>
                    <a:gd name="connsiteX84" fmla="*/ 231699 w 272456"/>
                    <a:gd name="connsiteY84" fmla="*/ 330003 h 456333"/>
                    <a:gd name="connsiteX85" fmla="*/ 220526 w 272456"/>
                    <a:gd name="connsiteY85" fmla="*/ 343510 h 456333"/>
                    <a:gd name="connsiteX86" fmla="*/ 188446 w 272456"/>
                    <a:gd name="connsiteY86" fmla="*/ 343939 h 456333"/>
                    <a:gd name="connsiteX87" fmla="*/ 189742 w 272456"/>
                    <a:gd name="connsiteY87" fmla="*/ 337928 h 456333"/>
                    <a:gd name="connsiteX88" fmla="*/ 180217 w 272456"/>
                    <a:gd name="connsiteY88" fmla="*/ 335995 h 456333"/>
                    <a:gd name="connsiteX89" fmla="*/ 182093 w 272456"/>
                    <a:gd name="connsiteY89" fmla="*/ 339567 h 456333"/>
                    <a:gd name="connsiteX90" fmla="*/ 169882 w 272456"/>
                    <a:gd name="connsiteY90" fmla="*/ 330080 h 456333"/>
                    <a:gd name="connsiteX91" fmla="*/ 171244 w 272456"/>
                    <a:gd name="connsiteY91" fmla="*/ 340938 h 456333"/>
                    <a:gd name="connsiteX92" fmla="*/ 184636 w 272456"/>
                    <a:gd name="connsiteY92" fmla="*/ 347672 h 456333"/>
                    <a:gd name="connsiteX93" fmla="*/ 176073 w 272456"/>
                    <a:gd name="connsiteY93" fmla="*/ 360064 h 456333"/>
                    <a:gd name="connsiteX94" fmla="*/ 176968 w 272456"/>
                    <a:gd name="connsiteY94" fmla="*/ 376124 h 456333"/>
                    <a:gd name="connsiteX95" fmla="*/ 163691 w 272456"/>
                    <a:gd name="connsiteY95" fmla="*/ 376371 h 456333"/>
                    <a:gd name="connsiteX96" fmla="*/ 142079 w 272456"/>
                    <a:gd name="connsiteY96" fmla="*/ 357436 h 456333"/>
                    <a:gd name="connsiteX97" fmla="*/ 138402 w 272456"/>
                    <a:gd name="connsiteY97" fmla="*/ 353025 h 456333"/>
                    <a:gd name="connsiteX98" fmla="*/ 141393 w 272456"/>
                    <a:gd name="connsiteY98" fmla="*/ 349768 h 456333"/>
                    <a:gd name="connsiteX99" fmla="*/ 137907 w 272456"/>
                    <a:gd name="connsiteY99" fmla="*/ 341691 h 456333"/>
                    <a:gd name="connsiteX100" fmla="*/ 125543 w 272456"/>
                    <a:gd name="connsiteY100" fmla="*/ 341462 h 456333"/>
                    <a:gd name="connsiteX101" fmla="*/ 113342 w 272456"/>
                    <a:gd name="connsiteY101" fmla="*/ 338052 h 456333"/>
                    <a:gd name="connsiteX102" fmla="*/ 103674 w 272456"/>
                    <a:gd name="connsiteY102" fmla="*/ 341205 h 456333"/>
                    <a:gd name="connsiteX103" fmla="*/ 94149 w 272456"/>
                    <a:gd name="connsiteY103" fmla="*/ 346958 h 456333"/>
                    <a:gd name="connsiteX104" fmla="*/ 72089 w 272456"/>
                    <a:gd name="connsiteY104" fmla="*/ 354273 h 456333"/>
                    <a:gd name="connsiteX105" fmla="*/ 57334 w 272456"/>
                    <a:gd name="connsiteY105" fmla="*/ 352845 h 456333"/>
                    <a:gd name="connsiteX106" fmla="*/ 62488 w 272456"/>
                    <a:gd name="connsiteY106" fmla="*/ 367399 h 456333"/>
                    <a:gd name="connsiteX107" fmla="*/ 39551 w 272456"/>
                    <a:gd name="connsiteY107" fmla="*/ 361703 h 456333"/>
                    <a:gd name="connsiteX108" fmla="*/ 23045 w 272456"/>
                    <a:gd name="connsiteY108" fmla="*/ 361293 h 456333"/>
                    <a:gd name="connsiteX109" fmla="*/ 17558 w 272456"/>
                    <a:gd name="connsiteY109" fmla="*/ 352092 h 456333"/>
                    <a:gd name="connsiteX110" fmla="*/ 26360 w 272456"/>
                    <a:gd name="connsiteY110" fmla="*/ 349787 h 456333"/>
                    <a:gd name="connsiteX111" fmla="*/ 38751 w 272456"/>
                    <a:gd name="connsiteY111" fmla="*/ 333452 h 456333"/>
                    <a:gd name="connsiteX112" fmla="*/ 48296 w 272456"/>
                    <a:gd name="connsiteY112" fmla="*/ 315735 h 456333"/>
                    <a:gd name="connsiteX113" fmla="*/ 58992 w 272456"/>
                    <a:gd name="connsiteY113" fmla="*/ 313287 h 456333"/>
                    <a:gd name="connsiteX114" fmla="*/ 64174 w 272456"/>
                    <a:gd name="connsiteY114" fmla="*/ 316354 h 456333"/>
                    <a:gd name="connsiteX115" fmla="*/ 67555 w 272456"/>
                    <a:gd name="connsiteY115" fmla="*/ 315078 h 456333"/>
                    <a:gd name="connsiteX116" fmla="*/ 91415 w 272456"/>
                    <a:gd name="connsiteY116" fmla="*/ 311068 h 456333"/>
                    <a:gd name="connsiteX117" fmla="*/ 113218 w 272456"/>
                    <a:gd name="connsiteY117" fmla="*/ 309058 h 456333"/>
                    <a:gd name="connsiteX118" fmla="*/ 118895 w 272456"/>
                    <a:gd name="connsiteY118" fmla="*/ 314297 h 456333"/>
                    <a:gd name="connsiteX119" fmla="*/ 131344 w 272456"/>
                    <a:gd name="connsiteY119" fmla="*/ 313535 h 456333"/>
                    <a:gd name="connsiteX120" fmla="*/ 126686 w 272456"/>
                    <a:gd name="connsiteY120" fmla="*/ 295647 h 456333"/>
                    <a:gd name="connsiteX121" fmla="*/ 129553 w 272456"/>
                    <a:gd name="connsiteY121" fmla="*/ 273568 h 456333"/>
                    <a:gd name="connsiteX122" fmla="*/ 121476 w 272456"/>
                    <a:gd name="connsiteY122" fmla="*/ 262138 h 456333"/>
                    <a:gd name="connsiteX123" fmla="*/ 123696 w 272456"/>
                    <a:gd name="connsiteY123" fmla="*/ 254375 h 456333"/>
                    <a:gd name="connsiteX124" fmla="*/ 132535 w 272456"/>
                    <a:gd name="connsiteY124" fmla="*/ 253280 h 456333"/>
                    <a:gd name="connsiteX125" fmla="*/ 128410 w 272456"/>
                    <a:gd name="connsiteY125" fmla="*/ 261519 h 456333"/>
                    <a:gd name="connsiteX126" fmla="*/ 140907 w 272456"/>
                    <a:gd name="connsiteY126" fmla="*/ 274397 h 456333"/>
                    <a:gd name="connsiteX127" fmla="*/ 148327 w 272456"/>
                    <a:gd name="connsiteY127" fmla="*/ 275025 h 456333"/>
                    <a:gd name="connsiteX128" fmla="*/ 148927 w 272456"/>
                    <a:gd name="connsiteY128" fmla="*/ 269767 h 456333"/>
                    <a:gd name="connsiteX129" fmla="*/ 154576 w 272456"/>
                    <a:gd name="connsiteY129" fmla="*/ 267129 h 456333"/>
                    <a:gd name="connsiteX130" fmla="*/ 168844 w 272456"/>
                    <a:gd name="connsiteY130" fmla="*/ 252232 h 456333"/>
                    <a:gd name="connsiteX131" fmla="*/ 167577 w 272456"/>
                    <a:gd name="connsiteY131" fmla="*/ 241012 h 456333"/>
                    <a:gd name="connsiteX132" fmla="*/ 174521 w 272456"/>
                    <a:gd name="connsiteY132" fmla="*/ 231382 h 456333"/>
                    <a:gd name="connsiteX133" fmla="*/ 169120 w 272456"/>
                    <a:gd name="connsiteY133" fmla="*/ 218237 h 456333"/>
                    <a:gd name="connsiteX134" fmla="*/ 166748 w 272456"/>
                    <a:gd name="connsiteY134" fmla="*/ 205055 h 456333"/>
                    <a:gd name="connsiteX135" fmla="*/ 158747 w 272456"/>
                    <a:gd name="connsiteY135" fmla="*/ 186776 h 456333"/>
                    <a:gd name="connsiteX136" fmla="*/ 149489 w 272456"/>
                    <a:gd name="connsiteY136" fmla="*/ 177661 h 456333"/>
                    <a:gd name="connsiteX137" fmla="*/ 140783 w 272456"/>
                    <a:gd name="connsiteY137" fmla="*/ 174622 h 456333"/>
                    <a:gd name="connsiteX138" fmla="*/ 133221 w 272456"/>
                    <a:gd name="connsiteY138" fmla="*/ 158392 h 456333"/>
                    <a:gd name="connsiteX139" fmla="*/ 130010 w 272456"/>
                    <a:gd name="connsiteY139" fmla="*/ 149914 h 456333"/>
                    <a:gd name="connsiteX140" fmla="*/ 132592 w 272456"/>
                    <a:gd name="connsiteY140" fmla="*/ 145095 h 456333"/>
                    <a:gd name="connsiteX141" fmla="*/ 125943 w 272456"/>
                    <a:gd name="connsiteY141" fmla="*/ 135417 h 456333"/>
                    <a:gd name="connsiteX142" fmla="*/ 133411 w 272456"/>
                    <a:gd name="connsiteY142" fmla="*/ 135532 h 456333"/>
                    <a:gd name="connsiteX143" fmla="*/ 147574 w 272456"/>
                    <a:gd name="connsiteY143" fmla="*/ 144047 h 456333"/>
                    <a:gd name="connsiteX144" fmla="*/ 154328 w 272456"/>
                    <a:gd name="connsiteY144" fmla="*/ 139532 h 456333"/>
                    <a:gd name="connsiteX145" fmla="*/ 146222 w 272456"/>
                    <a:gd name="connsiteY145" fmla="*/ 135751 h 456333"/>
                    <a:gd name="connsiteX146" fmla="*/ 138031 w 272456"/>
                    <a:gd name="connsiteY146" fmla="*/ 134779 h 456333"/>
                    <a:gd name="connsiteX147" fmla="*/ 134230 w 272456"/>
                    <a:gd name="connsiteY147" fmla="*/ 127578 h 456333"/>
                    <a:gd name="connsiteX148" fmla="*/ 146022 w 272456"/>
                    <a:gd name="connsiteY148" fmla="*/ 130064 h 456333"/>
                    <a:gd name="connsiteX149" fmla="*/ 146022 w 272456"/>
                    <a:gd name="connsiteY149" fmla="*/ 130064 h 456333"/>
                    <a:gd name="connsiteX150" fmla="*/ 143936 w 272456"/>
                    <a:gd name="connsiteY150" fmla="*/ 43625 h 456333"/>
                    <a:gd name="connsiteX151" fmla="*/ 170797 w 272456"/>
                    <a:gd name="connsiteY151" fmla="*/ 49521 h 456333"/>
                    <a:gd name="connsiteX152" fmla="*/ 177111 w 272456"/>
                    <a:gd name="connsiteY152" fmla="*/ 42072 h 456333"/>
                    <a:gd name="connsiteX153" fmla="*/ 181884 w 272456"/>
                    <a:gd name="connsiteY153" fmla="*/ 39662 h 456333"/>
                    <a:gd name="connsiteX154" fmla="*/ 187123 w 272456"/>
                    <a:gd name="connsiteY154" fmla="*/ 53074 h 456333"/>
                    <a:gd name="connsiteX155" fmla="*/ 198829 w 272456"/>
                    <a:gd name="connsiteY155" fmla="*/ 62408 h 456333"/>
                    <a:gd name="connsiteX156" fmla="*/ 210601 w 272456"/>
                    <a:gd name="connsiteY156" fmla="*/ 69923 h 456333"/>
                    <a:gd name="connsiteX157" fmla="*/ 218546 w 272456"/>
                    <a:gd name="connsiteY157" fmla="*/ 66666 h 456333"/>
                    <a:gd name="connsiteX158" fmla="*/ 214707 w 272456"/>
                    <a:gd name="connsiteY158" fmla="*/ 73276 h 456333"/>
                    <a:gd name="connsiteX159" fmla="*/ 207477 w 272456"/>
                    <a:gd name="connsiteY159" fmla="*/ 76010 h 456333"/>
                    <a:gd name="connsiteX160" fmla="*/ 200419 w 272456"/>
                    <a:gd name="connsiteY160" fmla="*/ 79391 h 456333"/>
                    <a:gd name="connsiteX161" fmla="*/ 188904 w 272456"/>
                    <a:gd name="connsiteY161" fmla="*/ 79506 h 456333"/>
                    <a:gd name="connsiteX162" fmla="*/ 178807 w 272456"/>
                    <a:gd name="connsiteY162" fmla="*/ 94288 h 456333"/>
                    <a:gd name="connsiteX163" fmla="*/ 184941 w 272456"/>
                    <a:gd name="connsiteY163" fmla="*/ 110319 h 456333"/>
                    <a:gd name="connsiteX164" fmla="*/ 128324 w 272456"/>
                    <a:gd name="connsiteY164" fmla="*/ 92374 h 456333"/>
                    <a:gd name="connsiteX165" fmla="*/ 115837 w 272456"/>
                    <a:gd name="connsiteY165" fmla="*/ 97860 h 456333"/>
                    <a:gd name="connsiteX166" fmla="*/ 104655 w 272456"/>
                    <a:gd name="connsiteY166" fmla="*/ 94574 h 456333"/>
                    <a:gd name="connsiteX167" fmla="*/ 96759 w 272456"/>
                    <a:gd name="connsiteY167" fmla="*/ 100432 h 456333"/>
                    <a:gd name="connsiteX168" fmla="*/ 119523 w 272456"/>
                    <a:gd name="connsiteY168" fmla="*/ 109909 h 456333"/>
                    <a:gd name="connsiteX169" fmla="*/ 124257 w 272456"/>
                    <a:gd name="connsiteY169" fmla="*/ 117758 h 456333"/>
                    <a:gd name="connsiteX170" fmla="*/ 118533 w 272456"/>
                    <a:gd name="connsiteY170" fmla="*/ 122340 h 456333"/>
                    <a:gd name="connsiteX171" fmla="*/ 112322 w 272456"/>
                    <a:gd name="connsiteY171" fmla="*/ 127835 h 456333"/>
                    <a:gd name="connsiteX172" fmla="*/ 95864 w 272456"/>
                    <a:gd name="connsiteY172" fmla="*/ 108195 h 456333"/>
                    <a:gd name="connsiteX173" fmla="*/ 76823 w 272456"/>
                    <a:gd name="connsiteY173" fmla="*/ 89545 h 456333"/>
                    <a:gd name="connsiteX174" fmla="*/ 82852 w 272456"/>
                    <a:gd name="connsiteY174" fmla="*/ 81696 h 456333"/>
                    <a:gd name="connsiteX175" fmla="*/ 72765 w 272456"/>
                    <a:gd name="connsiteY175" fmla="*/ 69285 h 456333"/>
                    <a:gd name="connsiteX176" fmla="*/ 99597 w 272456"/>
                    <a:gd name="connsiteY176" fmla="*/ 72771 h 456333"/>
                    <a:gd name="connsiteX177" fmla="*/ 94272 w 272456"/>
                    <a:gd name="connsiteY177" fmla="*/ 62370 h 456333"/>
                    <a:gd name="connsiteX178" fmla="*/ 89120 w 272456"/>
                    <a:gd name="connsiteY178" fmla="*/ 49883 h 456333"/>
                    <a:gd name="connsiteX179" fmla="*/ 80347 w 272456"/>
                    <a:gd name="connsiteY179" fmla="*/ 36519 h 456333"/>
                    <a:gd name="connsiteX180" fmla="*/ 72013 w 272456"/>
                    <a:gd name="connsiteY180" fmla="*/ 24508 h 456333"/>
                    <a:gd name="connsiteX181" fmla="*/ 50381 w 272456"/>
                    <a:gd name="connsiteY181" fmla="*/ 3210 h 456333"/>
                    <a:gd name="connsiteX182" fmla="*/ 55058 w 272456"/>
                    <a:gd name="connsiteY182" fmla="*/ 0 h 456333"/>
                    <a:gd name="connsiteX183" fmla="*/ 66231 w 272456"/>
                    <a:gd name="connsiteY183" fmla="*/ 5725 h 456333"/>
                    <a:gd name="connsiteX184" fmla="*/ 93949 w 272456"/>
                    <a:gd name="connsiteY184" fmla="*/ 21327 h 456333"/>
                    <a:gd name="connsiteX185" fmla="*/ 143936 w 272456"/>
                    <a:gd name="connsiteY185" fmla="*/ 43625 h 456333"/>
                    <a:gd name="connsiteX186" fmla="*/ 143936 w 272456"/>
                    <a:gd name="connsiteY186" fmla="*/ 43625 h 45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72456" h="456333">
                      <a:moveTo>
                        <a:pt x="39209" y="374828"/>
                      </a:moveTo>
                      <a:cubicBezTo>
                        <a:pt x="44285" y="376562"/>
                        <a:pt x="45171" y="373771"/>
                        <a:pt x="49058" y="373723"/>
                      </a:cubicBezTo>
                      <a:cubicBezTo>
                        <a:pt x="55420" y="373647"/>
                        <a:pt x="54649" y="376124"/>
                        <a:pt x="56258" y="380610"/>
                      </a:cubicBezTo>
                      <a:cubicBezTo>
                        <a:pt x="57534" y="384134"/>
                        <a:pt x="55211" y="383401"/>
                        <a:pt x="58059" y="385410"/>
                      </a:cubicBezTo>
                      <a:cubicBezTo>
                        <a:pt x="60230" y="386934"/>
                        <a:pt x="64240" y="384668"/>
                        <a:pt x="66317" y="385811"/>
                      </a:cubicBezTo>
                      <a:cubicBezTo>
                        <a:pt x="67498" y="386458"/>
                        <a:pt x="71060" y="391868"/>
                        <a:pt x="73013" y="393507"/>
                      </a:cubicBezTo>
                      <a:cubicBezTo>
                        <a:pt x="79614" y="399069"/>
                        <a:pt x="74728" y="405927"/>
                        <a:pt x="76918" y="415071"/>
                      </a:cubicBezTo>
                      <a:cubicBezTo>
                        <a:pt x="79385" y="425377"/>
                        <a:pt x="84719" y="433674"/>
                        <a:pt x="86529" y="444065"/>
                      </a:cubicBezTo>
                      <a:cubicBezTo>
                        <a:pt x="85129" y="444037"/>
                        <a:pt x="81062" y="442456"/>
                        <a:pt x="80062" y="442894"/>
                      </a:cubicBezTo>
                      <a:cubicBezTo>
                        <a:pt x="76442" y="444494"/>
                        <a:pt x="79623" y="443532"/>
                        <a:pt x="79556" y="446170"/>
                      </a:cubicBezTo>
                      <a:cubicBezTo>
                        <a:pt x="79461" y="450342"/>
                        <a:pt x="83119" y="446199"/>
                        <a:pt x="80280" y="451790"/>
                      </a:cubicBezTo>
                      <a:cubicBezTo>
                        <a:pt x="79290" y="453733"/>
                        <a:pt x="76614" y="455429"/>
                        <a:pt x="74756" y="456334"/>
                      </a:cubicBezTo>
                      <a:cubicBezTo>
                        <a:pt x="72899" y="448818"/>
                        <a:pt x="69565" y="445370"/>
                        <a:pt x="64793" y="438617"/>
                      </a:cubicBezTo>
                      <a:cubicBezTo>
                        <a:pt x="68412" y="435998"/>
                        <a:pt x="62040" y="431645"/>
                        <a:pt x="60564" y="436645"/>
                      </a:cubicBezTo>
                      <a:cubicBezTo>
                        <a:pt x="58344" y="444132"/>
                        <a:pt x="69812" y="445456"/>
                        <a:pt x="68888" y="451181"/>
                      </a:cubicBezTo>
                      <a:cubicBezTo>
                        <a:pt x="63192" y="449561"/>
                        <a:pt x="55335" y="449199"/>
                        <a:pt x="51705" y="443932"/>
                      </a:cubicBezTo>
                      <a:cubicBezTo>
                        <a:pt x="60773" y="442761"/>
                        <a:pt x="40056" y="427178"/>
                        <a:pt x="40333" y="421691"/>
                      </a:cubicBezTo>
                      <a:cubicBezTo>
                        <a:pt x="40304" y="422187"/>
                        <a:pt x="43628" y="417233"/>
                        <a:pt x="43904" y="415709"/>
                      </a:cubicBezTo>
                      <a:cubicBezTo>
                        <a:pt x="44333" y="413405"/>
                        <a:pt x="44124" y="407842"/>
                        <a:pt x="43038" y="405804"/>
                      </a:cubicBezTo>
                      <a:cubicBezTo>
                        <a:pt x="42705" y="405175"/>
                        <a:pt x="40018" y="405965"/>
                        <a:pt x="39409" y="405099"/>
                      </a:cubicBezTo>
                      <a:cubicBezTo>
                        <a:pt x="39133" y="404699"/>
                        <a:pt x="38780" y="402213"/>
                        <a:pt x="38742" y="402184"/>
                      </a:cubicBezTo>
                      <a:cubicBezTo>
                        <a:pt x="36218" y="399898"/>
                        <a:pt x="33884" y="397869"/>
                        <a:pt x="31208" y="395631"/>
                      </a:cubicBezTo>
                      <a:cubicBezTo>
                        <a:pt x="29493" y="394202"/>
                        <a:pt x="21397" y="385115"/>
                        <a:pt x="19225" y="389563"/>
                      </a:cubicBezTo>
                      <a:cubicBezTo>
                        <a:pt x="17663" y="392754"/>
                        <a:pt x="26531" y="397412"/>
                        <a:pt x="27483" y="398145"/>
                      </a:cubicBezTo>
                      <a:cubicBezTo>
                        <a:pt x="28865" y="399212"/>
                        <a:pt x="36075" y="402413"/>
                        <a:pt x="30865" y="403975"/>
                      </a:cubicBezTo>
                      <a:cubicBezTo>
                        <a:pt x="28703" y="404622"/>
                        <a:pt x="26360" y="400650"/>
                        <a:pt x="23921" y="401193"/>
                      </a:cubicBezTo>
                      <a:cubicBezTo>
                        <a:pt x="20949" y="401851"/>
                        <a:pt x="20225" y="404708"/>
                        <a:pt x="18663" y="407309"/>
                      </a:cubicBezTo>
                      <a:cubicBezTo>
                        <a:pt x="18901" y="399774"/>
                        <a:pt x="8805" y="398755"/>
                        <a:pt x="6633" y="391907"/>
                      </a:cubicBezTo>
                      <a:cubicBezTo>
                        <a:pt x="11195" y="393869"/>
                        <a:pt x="14387" y="399012"/>
                        <a:pt x="19721" y="398469"/>
                      </a:cubicBezTo>
                      <a:cubicBezTo>
                        <a:pt x="14720" y="393631"/>
                        <a:pt x="9243" y="391916"/>
                        <a:pt x="3747" y="387916"/>
                      </a:cubicBezTo>
                      <a:cubicBezTo>
                        <a:pt x="-1492" y="384115"/>
                        <a:pt x="-1758" y="380048"/>
                        <a:pt x="6300" y="383658"/>
                      </a:cubicBezTo>
                      <a:cubicBezTo>
                        <a:pt x="5262" y="382562"/>
                        <a:pt x="4795" y="381143"/>
                        <a:pt x="3490" y="380029"/>
                      </a:cubicBezTo>
                      <a:cubicBezTo>
                        <a:pt x="5595" y="378295"/>
                        <a:pt x="8462" y="376047"/>
                        <a:pt x="10196" y="374952"/>
                      </a:cubicBezTo>
                      <a:cubicBezTo>
                        <a:pt x="13281" y="372999"/>
                        <a:pt x="13062" y="375209"/>
                        <a:pt x="15253" y="372237"/>
                      </a:cubicBezTo>
                      <a:cubicBezTo>
                        <a:pt x="16244" y="370885"/>
                        <a:pt x="13891" y="368818"/>
                        <a:pt x="14615" y="367504"/>
                      </a:cubicBezTo>
                      <a:cubicBezTo>
                        <a:pt x="20206" y="357302"/>
                        <a:pt x="33989" y="373114"/>
                        <a:pt x="39209" y="374828"/>
                      </a:cubicBezTo>
                      <a:lnTo>
                        <a:pt x="39209" y="374828"/>
                      </a:lnTo>
                      <a:close/>
                      <a:moveTo>
                        <a:pt x="117619" y="354235"/>
                      </a:moveTo>
                      <a:cubicBezTo>
                        <a:pt x="119647" y="355073"/>
                        <a:pt x="122657" y="354597"/>
                        <a:pt x="124372" y="355359"/>
                      </a:cubicBezTo>
                      <a:cubicBezTo>
                        <a:pt x="127296" y="356674"/>
                        <a:pt x="126591" y="357045"/>
                        <a:pt x="129430" y="360026"/>
                      </a:cubicBezTo>
                      <a:cubicBezTo>
                        <a:pt x="132020" y="362750"/>
                        <a:pt x="134287" y="366780"/>
                        <a:pt x="137612" y="367961"/>
                      </a:cubicBezTo>
                      <a:cubicBezTo>
                        <a:pt x="130592" y="372199"/>
                        <a:pt x="129934" y="379076"/>
                        <a:pt x="133221" y="386020"/>
                      </a:cubicBezTo>
                      <a:cubicBezTo>
                        <a:pt x="126905" y="382905"/>
                        <a:pt x="109227" y="370009"/>
                        <a:pt x="105283" y="383372"/>
                      </a:cubicBezTo>
                      <a:cubicBezTo>
                        <a:pt x="104740" y="385201"/>
                        <a:pt x="106436" y="389554"/>
                        <a:pt x="106484" y="391630"/>
                      </a:cubicBezTo>
                      <a:cubicBezTo>
                        <a:pt x="106531" y="393421"/>
                        <a:pt x="104864" y="392878"/>
                        <a:pt x="104769" y="394335"/>
                      </a:cubicBezTo>
                      <a:cubicBezTo>
                        <a:pt x="104550" y="397593"/>
                        <a:pt x="107988" y="399403"/>
                        <a:pt x="104169" y="401593"/>
                      </a:cubicBezTo>
                      <a:cubicBezTo>
                        <a:pt x="103121" y="402194"/>
                        <a:pt x="99749" y="401193"/>
                        <a:pt x="98321" y="401298"/>
                      </a:cubicBezTo>
                      <a:cubicBezTo>
                        <a:pt x="98969" y="395669"/>
                        <a:pt x="92263" y="396364"/>
                        <a:pt x="89139" y="393573"/>
                      </a:cubicBezTo>
                      <a:cubicBezTo>
                        <a:pt x="86109" y="390868"/>
                        <a:pt x="87129" y="388925"/>
                        <a:pt x="85005" y="386115"/>
                      </a:cubicBezTo>
                      <a:cubicBezTo>
                        <a:pt x="79690" y="379095"/>
                        <a:pt x="76528" y="381848"/>
                        <a:pt x="69222" y="383105"/>
                      </a:cubicBezTo>
                      <a:cubicBezTo>
                        <a:pt x="72203" y="379333"/>
                        <a:pt x="78699" y="376181"/>
                        <a:pt x="79709" y="371294"/>
                      </a:cubicBezTo>
                      <a:cubicBezTo>
                        <a:pt x="80356" y="368142"/>
                        <a:pt x="75080" y="360169"/>
                        <a:pt x="80852" y="359426"/>
                      </a:cubicBezTo>
                      <a:cubicBezTo>
                        <a:pt x="83328" y="359112"/>
                        <a:pt x="85643" y="363446"/>
                        <a:pt x="88167" y="364036"/>
                      </a:cubicBezTo>
                      <a:cubicBezTo>
                        <a:pt x="90577" y="364598"/>
                        <a:pt x="91215" y="363465"/>
                        <a:pt x="93711" y="363170"/>
                      </a:cubicBezTo>
                      <a:cubicBezTo>
                        <a:pt x="100007" y="362427"/>
                        <a:pt x="103188" y="359684"/>
                        <a:pt x="96149" y="354635"/>
                      </a:cubicBezTo>
                      <a:cubicBezTo>
                        <a:pt x="99940" y="355673"/>
                        <a:pt x="101207" y="352111"/>
                        <a:pt x="104798" y="351273"/>
                      </a:cubicBezTo>
                      <a:cubicBezTo>
                        <a:pt x="108837" y="350320"/>
                        <a:pt x="113923" y="352711"/>
                        <a:pt x="117619" y="354235"/>
                      </a:cubicBezTo>
                      <a:lnTo>
                        <a:pt x="117619" y="354235"/>
                      </a:lnTo>
                      <a:close/>
                      <a:moveTo>
                        <a:pt x="146022" y="130064"/>
                      </a:moveTo>
                      <a:cubicBezTo>
                        <a:pt x="147946" y="130169"/>
                        <a:pt x="150737" y="129188"/>
                        <a:pt x="151899" y="129807"/>
                      </a:cubicBezTo>
                      <a:cubicBezTo>
                        <a:pt x="153470" y="130645"/>
                        <a:pt x="156128" y="136484"/>
                        <a:pt x="157262" y="138008"/>
                      </a:cubicBezTo>
                      <a:cubicBezTo>
                        <a:pt x="161157" y="143199"/>
                        <a:pt x="165796" y="149048"/>
                        <a:pt x="170901" y="153134"/>
                      </a:cubicBezTo>
                      <a:cubicBezTo>
                        <a:pt x="180807" y="161049"/>
                        <a:pt x="192190" y="166631"/>
                        <a:pt x="202058" y="175165"/>
                      </a:cubicBezTo>
                      <a:cubicBezTo>
                        <a:pt x="208611" y="180852"/>
                        <a:pt x="220574" y="193615"/>
                        <a:pt x="220945" y="201626"/>
                      </a:cubicBezTo>
                      <a:cubicBezTo>
                        <a:pt x="220974" y="202340"/>
                        <a:pt x="219193" y="204797"/>
                        <a:pt x="219193" y="204883"/>
                      </a:cubicBezTo>
                      <a:cubicBezTo>
                        <a:pt x="219155" y="205674"/>
                        <a:pt x="219403" y="206788"/>
                        <a:pt x="219583" y="208636"/>
                      </a:cubicBezTo>
                      <a:cubicBezTo>
                        <a:pt x="220126" y="214503"/>
                        <a:pt x="224917" y="218085"/>
                        <a:pt x="226594" y="223571"/>
                      </a:cubicBezTo>
                      <a:cubicBezTo>
                        <a:pt x="220774" y="225505"/>
                        <a:pt x="216631" y="223590"/>
                        <a:pt x="218536" y="231620"/>
                      </a:cubicBezTo>
                      <a:cubicBezTo>
                        <a:pt x="219574" y="236001"/>
                        <a:pt x="223889" y="239478"/>
                        <a:pt x="226899" y="242507"/>
                      </a:cubicBezTo>
                      <a:cubicBezTo>
                        <a:pt x="233357" y="248993"/>
                        <a:pt x="243767" y="258404"/>
                        <a:pt x="245796" y="267748"/>
                      </a:cubicBezTo>
                      <a:cubicBezTo>
                        <a:pt x="246406" y="270558"/>
                        <a:pt x="244863" y="273577"/>
                        <a:pt x="245568" y="277006"/>
                      </a:cubicBezTo>
                      <a:cubicBezTo>
                        <a:pt x="246435" y="281302"/>
                        <a:pt x="248625" y="285360"/>
                        <a:pt x="250902" y="288998"/>
                      </a:cubicBezTo>
                      <a:cubicBezTo>
                        <a:pt x="256026" y="297209"/>
                        <a:pt x="264056" y="303095"/>
                        <a:pt x="272457" y="307972"/>
                      </a:cubicBezTo>
                      <a:cubicBezTo>
                        <a:pt x="268599" y="308706"/>
                        <a:pt x="266532" y="309982"/>
                        <a:pt x="265722" y="313735"/>
                      </a:cubicBezTo>
                      <a:cubicBezTo>
                        <a:pt x="264922" y="317459"/>
                        <a:pt x="269695" y="319478"/>
                        <a:pt x="269666" y="322393"/>
                      </a:cubicBezTo>
                      <a:cubicBezTo>
                        <a:pt x="269609" y="327775"/>
                        <a:pt x="263494" y="327813"/>
                        <a:pt x="263589" y="333966"/>
                      </a:cubicBezTo>
                      <a:cubicBezTo>
                        <a:pt x="259645" y="333966"/>
                        <a:pt x="254388" y="326184"/>
                        <a:pt x="253188" y="322460"/>
                      </a:cubicBezTo>
                      <a:cubicBezTo>
                        <a:pt x="252112" y="319107"/>
                        <a:pt x="255283" y="314916"/>
                        <a:pt x="252121" y="311601"/>
                      </a:cubicBezTo>
                      <a:cubicBezTo>
                        <a:pt x="251045" y="310468"/>
                        <a:pt x="246778" y="308744"/>
                        <a:pt x="245253" y="309906"/>
                      </a:cubicBezTo>
                      <a:cubicBezTo>
                        <a:pt x="242720" y="311830"/>
                        <a:pt x="245453" y="311620"/>
                        <a:pt x="245453" y="314173"/>
                      </a:cubicBezTo>
                      <a:cubicBezTo>
                        <a:pt x="245444" y="316821"/>
                        <a:pt x="244977" y="317345"/>
                        <a:pt x="246396" y="319993"/>
                      </a:cubicBezTo>
                      <a:cubicBezTo>
                        <a:pt x="247215" y="321517"/>
                        <a:pt x="250549" y="322003"/>
                        <a:pt x="250911" y="323327"/>
                      </a:cubicBezTo>
                      <a:cubicBezTo>
                        <a:pt x="252768" y="329975"/>
                        <a:pt x="244558" y="321774"/>
                        <a:pt x="242015" y="321383"/>
                      </a:cubicBezTo>
                      <a:cubicBezTo>
                        <a:pt x="231585" y="319793"/>
                        <a:pt x="236690" y="326822"/>
                        <a:pt x="238957" y="331470"/>
                      </a:cubicBezTo>
                      <a:cubicBezTo>
                        <a:pt x="248959" y="352044"/>
                        <a:pt x="225442" y="335557"/>
                        <a:pt x="231699" y="330003"/>
                      </a:cubicBezTo>
                      <a:cubicBezTo>
                        <a:pt x="221203" y="322565"/>
                        <a:pt x="216888" y="334328"/>
                        <a:pt x="220526" y="343510"/>
                      </a:cubicBezTo>
                      <a:cubicBezTo>
                        <a:pt x="209458" y="341300"/>
                        <a:pt x="199362" y="340967"/>
                        <a:pt x="188446" y="343939"/>
                      </a:cubicBezTo>
                      <a:cubicBezTo>
                        <a:pt x="189399" y="340176"/>
                        <a:pt x="194247" y="341110"/>
                        <a:pt x="189742" y="337928"/>
                      </a:cubicBezTo>
                      <a:cubicBezTo>
                        <a:pt x="187675" y="336481"/>
                        <a:pt x="183188" y="338281"/>
                        <a:pt x="180217" y="335995"/>
                      </a:cubicBezTo>
                      <a:cubicBezTo>
                        <a:pt x="180569" y="336547"/>
                        <a:pt x="181131" y="338452"/>
                        <a:pt x="182093" y="339567"/>
                      </a:cubicBezTo>
                      <a:cubicBezTo>
                        <a:pt x="178483" y="338824"/>
                        <a:pt x="173216" y="326108"/>
                        <a:pt x="169882" y="330080"/>
                      </a:cubicBezTo>
                      <a:cubicBezTo>
                        <a:pt x="168310" y="331956"/>
                        <a:pt x="169806" y="338948"/>
                        <a:pt x="171244" y="340938"/>
                      </a:cubicBezTo>
                      <a:cubicBezTo>
                        <a:pt x="174178" y="345005"/>
                        <a:pt x="181169" y="344615"/>
                        <a:pt x="184636" y="347672"/>
                      </a:cubicBezTo>
                      <a:cubicBezTo>
                        <a:pt x="192694" y="354778"/>
                        <a:pt x="177531" y="352435"/>
                        <a:pt x="176073" y="360064"/>
                      </a:cubicBezTo>
                      <a:cubicBezTo>
                        <a:pt x="175359" y="363789"/>
                        <a:pt x="179302" y="372771"/>
                        <a:pt x="176968" y="376124"/>
                      </a:cubicBezTo>
                      <a:cubicBezTo>
                        <a:pt x="174359" y="379876"/>
                        <a:pt x="166720" y="377848"/>
                        <a:pt x="163691" y="376371"/>
                      </a:cubicBezTo>
                      <a:cubicBezTo>
                        <a:pt x="155652" y="372428"/>
                        <a:pt x="147031" y="364674"/>
                        <a:pt x="142079" y="357436"/>
                      </a:cubicBezTo>
                      <a:cubicBezTo>
                        <a:pt x="141307" y="356302"/>
                        <a:pt x="138449" y="354140"/>
                        <a:pt x="138402" y="353025"/>
                      </a:cubicBezTo>
                      <a:cubicBezTo>
                        <a:pt x="138345" y="351387"/>
                        <a:pt x="141317" y="351273"/>
                        <a:pt x="141393" y="349768"/>
                      </a:cubicBezTo>
                      <a:cubicBezTo>
                        <a:pt x="141603" y="345787"/>
                        <a:pt x="142593" y="343520"/>
                        <a:pt x="137907" y="341691"/>
                      </a:cubicBezTo>
                      <a:cubicBezTo>
                        <a:pt x="134401" y="340329"/>
                        <a:pt x="129449" y="342481"/>
                        <a:pt x="125543" y="341462"/>
                      </a:cubicBezTo>
                      <a:cubicBezTo>
                        <a:pt x="120685" y="340195"/>
                        <a:pt x="118580" y="337833"/>
                        <a:pt x="113342" y="338052"/>
                      </a:cubicBezTo>
                      <a:cubicBezTo>
                        <a:pt x="110113" y="338186"/>
                        <a:pt x="105884" y="339471"/>
                        <a:pt x="103674" y="341205"/>
                      </a:cubicBezTo>
                      <a:cubicBezTo>
                        <a:pt x="98892" y="344958"/>
                        <a:pt x="100750" y="345463"/>
                        <a:pt x="94149" y="346958"/>
                      </a:cubicBezTo>
                      <a:cubicBezTo>
                        <a:pt x="85957" y="348815"/>
                        <a:pt x="80319" y="353464"/>
                        <a:pt x="72089" y="354273"/>
                      </a:cubicBezTo>
                      <a:cubicBezTo>
                        <a:pt x="67888" y="354683"/>
                        <a:pt x="59487" y="349558"/>
                        <a:pt x="57334" y="352845"/>
                      </a:cubicBezTo>
                      <a:cubicBezTo>
                        <a:pt x="55982" y="354921"/>
                        <a:pt x="60992" y="365179"/>
                        <a:pt x="62488" y="367399"/>
                      </a:cubicBezTo>
                      <a:cubicBezTo>
                        <a:pt x="53953" y="364960"/>
                        <a:pt x="48724" y="359579"/>
                        <a:pt x="39551" y="361703"/>
                      </a:cubicBezTo>
                      <a:cubicBezTo>
                        <a:pt x="34075" y="362979"/>
                        <a:pt x="27045" y="364141"/>
                        <a:pt x="23045" y="361293"/>
                      </a:cubicBezTo>
                      <a:cubicBezTo>
                        <a:pt x="21263" y="360036"/>
                        <a:pt x="16892" y="354616"/>
                        <a:pt x="17558" y="352092"/>
                      </a:cubicBezTo>
                      <a:cubicBezTo>
                        <a:pt x="18835" y="347215"/>
                        <a:pt x="23388" y="351435"/>
                        <a:pt x="26360" y="349787"/>
                      </a:cubicBezTo>
                      <a:cubicBezTo>
                        <a:pt x="30988" y="347206"/>
                        <a:pt x="36018" y="338443"/>
                        <a:pt x="38751" y="333452"/>
                      </a:cubicBezTo>
                      <a:cubicBezTo>
                        <a:pt x="41647" y="328146"/>
                        <a:pt x="44485" y="319012"/>
                        <a:pt x="48296" y="315735"/>
                      </a:cubicBezTo>
                      <a:cubicBezTo>
                        <a:pt x="50667" y="313697"/>
                        <a:pt x="55954" y="312763"/>
                        <a:pt x="58992" y="313287"/>
                      </a:cubicBezTo>
                      <a:cubicBezTo>
                        <a:pt x="60821" y="313601"/>
                        <a:pt x="62326" y="316145"/>
                        <a:pt x="64174" y="316354"/>
                      </a:cubicBezTo>
                      <a:cubicBezTo>
                        <a:pt x="65517" y="316507"/>
                        <a:pt x="66269" y="315030"/>
                        <a:pt x="67555" y="315078"/>
                      </a:cubicBezTo>
                      <a:cubicBezTo>
                        <a:pt x="76766" y="315440"/>
                        <a:pt x="82967" y="313487"/>
                        <a:pt x="91415" y="311068"/>
                      </a:cubicBezTo>
                      <a:cubicBezTo>
                        <a:pt x="96797" y="309525"/>
                        <a:pt x="108770" y="306572"/>
                        <a:pt x="113218" y="309058"/>
                      </a:cubicBezTo>
                      <a:cubicBezTo>
                        <a:pt x="115590" y="310382"/>
                        <a:pt x="115161" y="312992"/>
                        <a:pt x="118895" y="314297"/>
                      </a:cubicBezTo>
                      <a:cubicBezTo>
                        <a:pt x="121838" y="315325"/>
                        <a:pt x="128839" y="315249"/>
                        <a:pt x="131344" y="313535"/>
                      </a:cubicBezTo>
                      <a:cubicBezTo>
                        <a:pt x="141069" y="306877"/>
                        <a:pt x="127020" y="303133"/>
                        <a:pt x="126686" y="295647"/>
                      </a:cubicBezTo>
                      <a:cubicBezTo>
                        <a:pt x="126334" y="288008"/>
                        <a:pt x="132563" y="282093"/>
                        <a:pt x="129553" y="273568"/>
                      </a:cubicBezTo>
                      <a:cubicBezTo>
                        <a:pt x="127905" y="268920"/>
                        <a:pt x="123448" y="266396"/>
                        <a:pt x="121476" y="262138"/>
                      </a:cubicBezTo>
                      <a:cubicBezTo>
                        <a:pt x="119314" y="257480"/>
                        <a:pt x="120590" y="256833"/>
                        <a:pt x="123696" y="254375"/>
                      </a:cubicBezTo>
                      <a:cubicBezTo>
                        <a:pt x="126105" y="252480"/>
                        <a:pt x="130563" y="250013"/>
                        <a:pt x="132535" y="253280"/>
                      </a:cubicBezTo>
                      <a:cubicBezTo>
                        <a:pt x="134820" y="257080"/>
                        <a:pt x="128696" y="259433"/>
                        <a:pt x="128410" y="261519"/>
                      </a:cubicBezTo>
                      <a:cubicBezTo>
                        <a:pt x="127981" y="264681"/>
                        <a:pt x="136602" y="272520"/>
                        <a:pt x="140907" y="274397"/>
                      </a:cubicBezTo>
                      <a:cubicBezTo>
                        <a:pt x="142907" y="275263"/>
                        <a:pt x="146508" y="276425"/>
                        <a:pt x="148327" y="275025"/>
                      </a:cubicBezTo>
                      <a:cubicBezTo>
                        <a:pt x="149384" y="274216"/>
                        <a:pt x="147974" y="270796"/>
                        <a:pt x="148927" y="269767"/>
                      </a:cubicBezTo>
                      <a:cubicBezTo>
                        <a:pt x="150165" y="268434"/>
                        <a:pt x="152814" y="268034"/>
                        <a:pt x="154576" y="267129"/>
                      </a:cubicBezTo>
                      <a:cubicBezTo>
                        <a:pt x="161490" y="263586"/>
                        <a:pt x="168301" y="261224"/>
                        <a:pt x="168844" y="252232"/>
                      </a:cubicBezTo>
                      <a:cubicBezTo>
                        <a:pt x="169063" y="248489"/>
                        <a:pt x="166177" y="244307"/>
                        <a:pt x="167577" y="241012"/>
                      </a:cubicBezTo>
                      <a:cubicBezTo>
                        <a:pt x="169501" y="236506"/>
                        <a:pt x="174711" y="237268"/>
                        <a:pt x="174521" y="231382"/>
                      </a:cubicBezTo>
                      <a:cubicBezTo>
                        <a:pt x="174397" y="227153"/>
                        <a:pt x="169844" y="222666"/>
                        <a:pt x="169120" y="218237"/>
                      </a:cubicBezTo>
                      <a:cubicBezTo>
                        <a:pt x="168292" y="213218"/>
                        <a:pt x="168825" y="209922"/>
                        <a:pt x="166748" y="205055"/>
                      </a:cubicBezTo>
                      <a:cubicBezTo>
                        <a:pt x="164062" y="198768"/>
                        <a:pt x="162681" y="192339"/>
                        <a:pt x="158747" y="186776"/>
                      </a:cubicBezTo>
                      <a:cubicBezTo>
                        <a:pt x="156385" y="183442"/>
                        <a:pt x="153347" y="179404"/>
                        <a:pt x="149489" y="177661"/>
                      </a:cubicBezTo>
                      <a:cubicBezTo>
                        <a:pt x="146384" y="176261"/>
                        <a:pt x="142755" y="178061"/>
                        <a:pt x="140783" y="174622"/>
                      </a:cubicBezTo>
                      <a:cubicBezTo>
                        <a:pt x="149679" y="173879"/>
                        <a:pt x="135030" y="160268"/>
                        <a:pt x="133221" y="158392"/>
                      </a:cubicBezTo>
                      <a:cubicBezTo>
                        <a:pt x="129773" y="154820"/>
                        <a:pt x="129220" y="153782"/>
                        <a:pt x="130010" y="149914"/>
                      </a:cubicBezTo>
                      <a:cubicBezTo>
                        <a:pt x="130486" y="147562"/>
                        <a:pt x="133268" y="149991"/>
                        <a:pt x="132592" y="145095"/>
                      </a:cubicBezTo>
                      <a:cubicBezTo>
                        <a:pt x="132192" y="142218"/>
                        <a:pt x="125000" y="137427"/>
                        <a:pt x="125943" y="135417"/>
                      </a:cubicBezTo>
                      <a:cubicBezTo>
                        <a:pt x="126305" y="134646"/>
                        <a:pt x="132163" y="134951"/>
                        <a:pt x="133411" y="135532"/>
                      </a:cubicBezTo>
                      <a:cubicBezTo>
                        <a:pt x="134668" y="136122"/>
                        <a:pt x="150432" y="152820"/>
                        <a:pt x="147574" y="144047"/>
                      </a:cubicBezTo>
                      <a:cubicBezTo>
                        <a:pt x="152927" y="143228"/>
                        <a:pt x="158804" y="147971"/>
                        <a:pt x="154328" y="139532"/>
                      </a:cubicBezTo>
                      <a:cubicBezTo>
                        <a:pt x="151394" y="134008"/>
                        <a:pt x="149442" y="135732"/>
                        <a:pt x="146222" y="135751"/>
                      </a:cubicBezTo>
                      <a:cubicBezTo>
                        <a:pt x="140421" y="135789"/>
                        <a:pt x="142336" y="138494"/>
                        <a:pt x="138031" y="134779"/>
                      </a:cubicBezTo>
                      <a:cubicBezTo>
                        <a:pt x="137078" y="133960"/>
                        <a:pt x="133792" y="128864"/>
                        <a:pt x="134230" y="127578"/>
                      </a:cubicBezTo>
                      <a:cubicBezTo>
                        <a:pt x="135363" y="124111"/>
                        <a:pt x="143174" y="128550"/>
                        <a:pt x="146022" y="130064"/>
                      </a:cubicBezTo>
                      <a:lnTo>
                        <a:pt x="146022" y="130064"/>
                      </a:lnTo>
                      <a:close/>
                      <a:moveTo>
                        <a:pt x="143936" y="43625"/>
                      </a:moveTo>
                      <a:cubicBezTo>
                        <a:pt x="153232" y="43606"/>
                        <a:pt x="161843" y="50188"/>
                        <a:pt x="170797" y="49521"/>
                      </a:cubicBezTo>
                      <a:cubicBezTo>
                        <a:pt x="177283" y="49026"/>
                        <a:pt x="175016" y="47673"/>
                        <a:pt x="177111" y="42072"/>
                      </a:cubicBezTo>
                      <a:cubicBezTo>
                        <a:pt x="178912" y="37234"/>
                        <a:pt x="178512" y="35576"/>
                        <a:pt x="181884" y="39662"/>
                      </a:cubicBezTo>
                      <a:cubicBezTo>
                        <a:pt x="184636" y="43015"/>
                        <a:pt x="184465" y="49273"/>
                        <a:pt x="187123" y="53074"/>
                      </a:cubicBezTo>
                      <a:cubicBezTo>
                        <a:pt x="190028" y="57227"/>
                        <a:pt x="194790" y="59474"/>
                        <a:pt x="198829" y="62408"/>
                      </a:cubicBezTo>
                      <a:cubicBezTo>
                        <a:pt x="202105" y="64799"/>
                        <a:pt x="206210" y="70333"/>
                        <a:pt x="210601" y="69923"/>
                      </a:cubicBezTo>
                      <a:cubicBezTo>
                        <a:pt x="214259" y="69581"/>
                        <a:pt x="213659" y="64818"/>
                        <a:pt x="218546" y="66666"/>
                      </a:cubicBezTo>
                      <a:cubicBezTo>
                        <a:pt x="215068" y="68457"/>
                        <a:pt x="216450" y="71714"/>
                        <a:pt x="214707" y="73276"/>
                      </a:cubicBezTo>
                      <a:cubicBezTo>
                        <a:pt x="214583" y="73381"/>
                        <a:pt x="208239" y="75658"/>
                        <a:pt x="207477" y="76010"/>
                      </a:cubicBezTo>
                      <a:cubicBezTo>
                        <a:pt x="205067" y="77115"/>
                        <a:pt x="203705" y="78610"/>
                        <a:pt x="200419" y="79391"/>
                      </a:cubicBezTo>
                      <a:cubicBezTo>
                        <a:pt x="196085" y="80420"/>
                        <a:pt x="193199" y="79067"/>
                        <a:pt x="188904" y="79506"/>
                      </a:cubicBezTo>
                      <a:cubicBezTo>
                        <a:pt x="181141" y="80296"/>
                        <a:pt x="178150" y="86716"/>
                        <a:pt x="178807" y="94288"/>
                      </a:cubicBezTo>
                      <a:cubicBezTo>
                        <a:pt x="179312" y="99975"/>
                        <a:pt x="185503" y="105280"/>
                        <a:pt x="184941" y="110319"/>
                      </a:cubicBezTo>
                      <a:cubicBezTo>
                        <a:pt x="165577" y="108366"/>
                        <a:pt x="147451" y="92688"/>
                        <a:pt x="128324" y="92374"/>
                      </a:cubicBezTo>
                      <a:cubicBezTo>
                        <a:pt x="120076" y="92241"/>
                        <a:pt x="121857" y="94927"/>
                        <a:pt x="115837" y="97860"/>
                      </a:cubicBezTo>
                      <a:cubicBezTo>
                        <a:pt x="111551" y="99956"/>
                        <a:pt x="109550" y="96717"/>
                        <a:pt x="104655" y="94574"/>
                      </a:cubicBezTo>
                      <a:cubicBezTo>
                        <a:pt x="98111" y="91698"/>
                        <a:pt x="90044" y="92450"/>
                        <a:pt x="96759" y="100432"/>
                      </a:cubicBezTo>
                      <a:cubicBezTo>
                        <a:pt x="101997" y="106661"/>
                        <a:pt x="112694" y="106490"/>
                        <a:pt x="119523" y="109909"/>
                      </a:cubicBezTo>
                      <a:cubicBezTo>
                        <a:pt x="126610" y="113462"/>
                        <a:pt x="139516" y="118977"/>
                        <a:pt x="124257" y="117758"/>
                      </a:cubicBezTo>
                      <a:cubicBezTo>
                        <a:pt x="116866" y="117167"/>
                        <a:pt x="119952" y="115510"/>
                        <a:pt x="118533" y="122340"/>
                      </a:cubicBezTo>
                      <a:cubicBezTo>
                        <a:pt x="117714" y="126292"/>
                        <a:pt x="118123" y="129140"/>
                        <a:pt x="112322" y="127835"/>
                      </a:cubicBezTo>
                      <a:cubicBezTo>
                        <a:pt x="104236" y="126016"/>
                        <a:pt x="102550" y="112853"/>
                        <a:pt x="95864" y="108195"/>
                      </a:cubicBezTo>
                      <a:cubicBezTo>
                        <a:pt x="90567" y="104509"/>
                        <a:pt x="74813" y="98051"/>
                        <a:pt x="76823" y="89545"/>
                      </a:cubicBezTo>
                      <a:cubicBezTo>
                        <a:pt x="77347" y="87364"/>
                        <a:pt x="82719" y="85811"/>
                        <a:pt x="82852" y="81696"/>
                      </a:cubicBezTo>
                      <a:cubicBezTo>
                        <a:pt x="83052" y="75391"/>
                        <a:pt x="75765" y="74295"/>
                        <a:pt x="72765" y="69285"/>
                      </a:cubicBezTo>
                      <a:cubicBezTo>
                        <a:pt x="77566" y="66532"/>
                        <a:pt x="95197" y="78391"/>
                        <a:pt x="99597" y="72771"/>
                      </a:cubicBezTo>
                      <a:cubicBezTo>
                        <a:pt x="102217" y="69409"/>
                        <a:pt x="96197" y="64770"/>
                        <a:pt x="94272" y="62370"/>
                      </a:cubicBezTo>
                      <a:cubicBezTo>
                        <a:pt x="90482" y="57598"/>
                        <a:pt x="91139" y="55131"/>
                        <a:pt x="89120" y="49883"/>
                      </a:cubicBezTo>
                      <a:cubicBezTo>
                        <a:pt x="87234" y="44987"/>
                        <a:pt x="83014" y="40958"/>
                        <a:pt x="80347" y="36519"/>
                      </a:cubicBezTo>
                      <a:cubicBezTo>
                        <a:pt x="77766" y="32252"/>
                        <a:pt x="75518" y="28204"/>
                        <a:pt x="72013" y="24508"/>
                      </a:cubicBezTo>
                      <a:cubicBezTo>
                        <a:pt x="64717" y="16812"/>
                        <a:pt x="54687" y="13069"/>
                        <a:pt x="50381" y="3210"/>
                      </a:cubicBezTo>
                      <a:cubicBezTo>
                        <a:pt x="52430" y="2553"/>
                        <a:pt x="53972" y="19"/>
                        <a:pt x="55058" y="0"/>
                      </a:cubicBezTo>
                      <a:cubicBezTo>
                        <a:pt x="57640" y="-47"/>
                        <a:pt x="64069" y="4630"/>
                        <a:pt x="66231" y="5725"/>
                      </a:cubicBezTo>
                      <a:cubicBezTo>
                        <a:pt x="75756" y="10526"/>
                        <a:pt x="84671" y="16126"/>
                        <a:pt x="93949" y="21327"/>
                      </a:cubicBezTo>
                      <a:cubicBezTo>
                        <a:pt x="108617" y="29499"/>
                        <a:pt x="127448" y="40339"/>
                        <a:pt x="143936" y="43625"/>
                      </a:cubicBezTo>
                      <a:lnTo>
                        <a:pt x="143936" y="43625"/>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26" name="Freeform: Shape 625">
                  <a:extLst>
                    <a:ext uri="{FF2B5EF4-FFF2-40B4-BE49-F238E27FC236}">
                      <a16:creationId xmlns:a16="http://schemas.microsoft.com/office/drawing/2014/main" id="{0910A142-737D-44DC-A0C4-97E1CA610706}"/>
                    </a:ext>
                  </a:extLst>
                </p:cNvPr>
                <p:cNvSpPr/>
                <p:nvPr/>
              </p:nvSpPr>
              <p:spPr>
                <a:xfrm>
                  <a:off x="6623212" y="3313659"/>
                  <a:ext cx="112215" cy="130958"/>
                </a:xfrm>
                <a:custGeom>
                  <a:avLst/>
                  <a:gdLst>
                    <a:gd name="connsiteX0" fmla="*/ 109057 w 112215"/>
                    <a:gd name="connsiteY0" fmla="*/ 39310 h 130958"/>
                    <a:gd name="connsiteX1" fmla="*/ 80882 w 112215"/>
                    <a:gd name="connsiteY1" fmla="*/ 50120 h 130958"/>
                    <a:gd name="connsiteX2" fmla="*/ 48840 w 112215"/>
                    <a:gd name="connsiteY2" fmla="*/ 59246 h 130958"/>
                    <a:gd name="connsiteX3" fmla="*/ 83977 w 112215"/>
                    <a:gd name="connsiteY3" fmla="*/ 90478 h 130958"/>
                    <a:gd name="connsiteX4" fmla="*/ 74338 w 112215"/>
                    <a:gd name="connsiteY4" fmla="*/ 98060 h 130958"/>
                    <a:gd name="connsiteX5" fmla="*/ 64280 w 112215"/>
                    <a:gd name="connsiteY5" fmla="*/ 107842 h 130958"/>
                    <a:gd name="connsiteX6" fmla="*/ 49945 w 112215"/>
                    <a:gd name="connsiteY6" fmla="*/ 111519 h 130958"/>
                    <a:gd name="connsiteX7" fmla="*/ 40686 w 112215"/>
                    <a:gd name="connsiteY7" fmla="*/ 125816 h 130958"/>
                    <a:gd name="connsiteX8" fmla="*/ 12454 w 112215"/>
                    <a:gd name="connsiteY8" fmla="*/ 128445 h 130958"/>
                    <a:gd name="connsiteX9" fmla="*/ 6034 w 112215"/>
                    <a:gd name="connsiteY9" fmla="*/ 127492 h 130958"/>
                    <a:gd name="connsiteX10" fmla="*/ 862 w 112215"/>
                    <a:gd name="connsiteY10" fmla="*/ 123606 h 130958"/>
                    <a:gd name="connsiteX11" fmla="*/ 1110 w 112215"/>
                    <a:gd name="connsiteY11" fmla="*/ 108071 h 130958"/>
                    <a:gd name="connsiteX12" fmla="*/ 4025 w 112215"/>
                    <a:gd name="connsiteY12" fmla="*/ 79962 h 130958"/>
                    <a:gd name="connsiteX13" fmla="*/ 4710 w 112215"/>
                    <a:gd name="connsiteY13" fmla="*/ 66875 h 130958"/>
                    <a:gd name="connsiteX14" fmla="*/ 6539 w 112215"/>
                    <a:gd name="connsiteY14" fmla="*/ 50644 h 130958"/>
                    <a:gd name="connsiteX15" fmla="*/ 2882 w 112215"/>
                    <a:gd name="connsiteY15" fmla="*/ 22155 h 130958"/>
                    <a:gd name="connsiteX16" fmla="*/ 26094 w 112215"/>
                    <a:gd name="connsiteY16" fmla="*/ 30432 h 130958"/>
                    <a:gd name="connsiteX17" fmla="*/ 60051 w 112215"/>
                    <a:gd name="connsiteY17" fmla="*/ 20136 h 130958"/>
                    <a:gd name="connsiteX18" fmla="*/ 91026 w 112215"/>
                    <a:gd name="connsiteY18" fmla="*/ 0 h 130958"/>
                    <a:gd name="connsiteX19" fmla="*/ 104380 w 112215"/>
                    <a:gd name="connsiteY19" fmla="*/ 27689 h 130958"/>
                    <a:gd name="connsiteX20" fmla="*/ 102265 w 112215"/>
                    <a:gd name="connsiteY20" fmla="*/ 28337 h 130958"/>
                    <a:gd name="connsiteX21" fmla="*/ 109200 w 112215"/>
                    <a:gd name="connsiteY21" fmla="*/ 32490 h 130958"/>
                    <a:gd name="connsiteX22" fmla="*/ 109057 w 112215"/>
                    <a:gd name="connsiteY22" fmla="*/ 39310 h 130958"/>
                    <a:gd name="connsiteX23" fmla="*/ 109057 w 112215"/>
                    <a:gd name="connsiteY23" fmla="*/ 39310 h 130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2215" h="130958">
                      <a:moveTo>
                        <a:pt x="109057" y="39310"/>
                      </a:moveTo>
                      <a:cubicBezTo>
                        <a:pt x="103942" y="46834"/>
                        <a:pt x="89064" y="47787"/>
                        <a:pt x="80882" y="50120"/>
                      </a:cubicBezTo>
                      <a:cubicBezTo>
                        <a:pt x="70204" y="53169"/>
                        <a:pt x="59517" y="56207"/>
                        <a:pt x="48840" y="59246"/>
                      </a:cubicBezTo>
                      <a:cubicBezTo>
                        <a:pt x="60746" y="69475"/>
                        <a:pt x="72433" y="79858"/>
                        <a:pt x="83977" y="90478"/>
                      </a:cubicBezTo>
                      <a:cubicBezTo>
                        <a:pt x="79939" y="92812"/>
                        <a:pt x="76538" y="94155"/>
                        <a:pt x="74338" y="98060"/>
                      </a:cubicBezTo>
                      <a:cubicBezTo>
                        <a:pt x="70137" y="105508"/>
                        <a:pt x="74100" y="105889"/>
                        <a:pt x="64280" y="107842"/>
                      </a:cubicBezTo>
                      <a:cubicBezTo>
                        <a:pt x="60441" y="108604"/>
                        <a:pt x="52964" y="108833"/>
                        <a:pt x="49945" y="111519"/>
                      </a:cubicBezTo>
                      <a:cubicBezTo>
                        <a:pt x="46020" y="114995"/>
                        <a:pt x="44963" y="121834"/>
                        <a:pt x="40686" y="125816"/>
                      </a:cubicBezTo>
                      <a:cubicBezTo>
                        <a:pt x="31714" y="134217"/>
                        <a:pt x="23922" y="130207"/>
                        <a:pt x="12454" y="128445"/>
                      </a:cubicBezTo>
                      <a:cubicBezTo>
                        <a:pt x="10378" y="128121"/>
                        <a:pt x="8082" y="128016"/>
                        <a:pt x="6034" y="127492"/>
                      </a:cubicBezTo>
                      <a:cubicBezTo>
                        <a:pt x="-33" y="125940"/>
                        <a:pt x="2606" y="127578"/>
                        <a:pt x="862" y="123606"/>
                      </a:cubicBezTo>
                      <a:cubicBezTo>
                        <a:pt x="-909" y="119586"/>
                        <a:pt x="500" y="112347"/>
                        <a:pt x="1110" y="108071"/>
                      </a:cubicBezTo>
                      <a:cubicBezTo>
                        <a:pt x="2500" y="98374"/>
                        <a:pt x="1453" y="89811"/>
                        <a:pt x="4025" y="79962"/>
                      </a:cubicBezTo>
                      <a:cubicBezTo>
                        <a:pt x="5472" y="74390"/>
                        <a:pt x="4987" y="72009"/>
                        <a:pt x="4710" y="66875"/>
                      </a:cubicBezTo>
                      <a:cubicBezTo>
                        <a:pt x="4415" y="61341"/>
                        <a:pt x="6549" y="55759"/>
                        <a:pt x="6539" y="50644"/>
                      </a:cubicBezTo>
                      <a:cubicBezTo>
                        <a:pt x="6530" y="44253"/>
                        <a:pt x="-1176" y="27461"/>
                        <a:pt x="2882" y="22155"/>
                      </a:cubicBezTo>
                      <a:cubicBezTo>
                        <a:pt x="8320" y="15021"/>
                        <a:pt x="20789" y="28480"/>
                        <a:pt x="26094" y="30432"/>
                      </a:cubicBezTo>
                      <a:cubicBezTo>
                        <a:pt x="40791" y="35833"/>
                        <a:pt x="48145" y="28051"/>
                        <a:pt x="60051" y="20136"/>
                      </a:cubicBezTo>
                      <a:cubicBezTo>
                        <a:pt x="70300" y="13316"/>
                        <a:pt x="80644" y="6639"/>
                        <a:pt x="91026" y="0"/>
                      </a:cubicBezTo>
                      <a:cubicBezTo>
                        <a:pt x="95474" y="9239"/>
                        <a:pt x="99941" y="18459"/>
                        <a:pt x="104380" y="27689"/>
                      </a:cubicBezTo>
                      <a:cubicBezTo>
                        <a:pt x="103675" y="27899"/>
                        <a:pt x="102980" y="28118"/>
                        <a:pt x="102265" y="28337"/>
                      </a:cubicBezTo>
                      <a:cubicBezTo>
                        <a:pt x="104704" y="36176"/>
                        <a:pt x="105875" y="30099"/>
                        <a:pt x="109200" y="32490"/>
                      </a:cubicBezTo>
                      <a:cubicBezTo>
                        <a:pt x="111486" y="34128"/>
                        <a:pt x="114724" y="36195"/>
                        <a:pt x="109057" y="39310"/>
                      </a:cubicBezTo>
                      <a:lnTo>
                        <a:pt x="109057" y="3931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27" name="Freeform: Shape 626">
                  <a:extLst>
                    <a:ext uri="{FF2B5EF4-FFF2-40B4-BE49-F238E27FC236}">
                      <a16:creationId xmlns:a16="http://schemas.microsoft.com/office/drawing/2014/main" id="{093AC0BE-C6F7-4032-9FC0-3E4EEA5BFFB4}"/>
                    </a:ext>
                  </a:extLst>
                </p:cNvPr>
                <p:cNvSpPr/>
                <p:nvPr/>
              </p:nvSpPr>
              <p:spPr>
                <a:xfrm>
                  <a:off x="3188276" y="3782421"/>
                  <a:ext cx="62495" cy="24461"/>
                </a:xfrm>
                <a:custGeom>
                  <a:avLst/>
                  <a:gdLst>
                    <a:gd name="connsiteX0" fmla="*/ 34164 w 62495"/>
                    <a:gd name="connsiteY0" fmla="*/ 1058 h 24461"/>
                    <a:gd name="connsiteX1" fmla="*/ 44555 w 62495"/>
                    <a:gd name="connsiteY1" fmla="*/ 3173 h 24461"/>
                    <a:gd name="connsiteX2" fmla="*/ 50042 w 62495"/>
                    <a:gd name="connsiteY2" fmla="*/ 7373 h 24461"/>
                    <a:gd name="connsiteX3" fmla="*/ 59376 w 62495"/>
                    <a:gd name="connsiteY3" fmla="*/ 10450 h 24461"/>
                    <a:gd name="connsiteX4" fmla="*/ 59376 w 62495"/>
                    <a:gd name="connsiteY4" fmla="*/ 19308 h 24461"/>
                    <a:gd name="connsiteX5" fmla="*/ 45698 w 62495"/>
                    <a:gd name="connsiteY5" fmla="*/ 17346 h 24461"/>
                    <a:gd name="connsiteX6" fmla="*/ 46660 w 62495"/>
                    <a:gd name="connsiteY6" fmla="*/ 16584 h 24461"/>
                    <a:gd name="connsiteX7" fmla="*/ 37793 w 62495"/>
                    <a:gd name="connsiteY7" fmla="*/ 20108 h 24461"/>
                    <a:gd name="connsiteX8" fmla="*/ 34697 w 62495"/>
                    <a:gd name="connsiteY8" fmla="*/ 19251 h 24461"/>
                    <a:gd name="connsiteX9" fmla="*/ 30992 w 62495"/>
                    <a:gd name="connsiteY9" fmla="*/ 24461 h 24461"/>
                    <a:gd name="connsiteX10" fmla="*/ 20771 w 62495"/>
                    <a:gd name="connsiteY10" fmla="*/ 19946 h 24461"/>
                    <a:gd name="connsiteX11" fmla="*/ 12951 w 62495"/>
                    <a:gd name="connsiteY11" fmla="*/ 15860 h 24461"/>
                    <a:gd name="connsiteX12" fmla="*/ 8189 w 62495"/>
                    <a:gd name="connsiteY12" fmla="*/ 9983 h 24461"/>
                    <a:gd name="connsiteX13" fmla="*/ 131 w 62495"/>
                    <a:gd name="connsiteY13" fmla="*/ 6964 h 24461"/>
                    <a:gd name="connsiteX14" fmla="*/ 34164 w 62495"/>
                    <a:gd name="connsiteY14" fmla="*/ 1058 h 24461"/>
                    <a:gd name="connsiteX15" fmla="*/ 34164 w 62495"/>
                    <a:gd name="connsiteY15" fmla="*/ 1058 h 24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95" h="24461">
                      <a:moveTo>
                        <a:pt x="34164" y="1058"/>
                      </a:moveTo>
                      <a:cubicBezTo>
                        <a:pt x="37497" y="2344"/>
                        <a:pt x="41412" y="1849"/>
                        <a:pt x="44555" y="3173"/>
                      </a:cubicBezTo>
                      <a:cubicBezTo>
                        <a:pt x="46394" y="3944"/>
                        <a:pt x="48118" y="6354"/>
                        <a:pt x="50042" y="7373"/>
                      </a:cubicBezTo>
                      <a:cubicBezTo>
                        <a:pt x="52623" y="8735"/>
                        <a:pt x="57147" y="8593"/>
                        <a:pt x="59376" y="10450"/>
                      </a:cubicBezTo>
                      <a:cubicBezTo>
                        <a:pt x="63643" y="14022"/>
                        <a:pt x="63424" y="17460"/>
                        <a:pt x="59376" y="19308"/>
                      </a:cubicBezTo>
                      <a:cubicBezTo>
                        <a:pt x="54690" y="21442"/>
                        <a:pt x="50108" y="17775"/>
                        <a:pt x="45698" y="17346"/>
                      </a:cubicBezTo>
                      <a:cubicBezTo>
                        <a:pt x="46022" y="17089"/>
                        <a:pt x="46336" y="16841"/>
                        <a:pt x="46660" y="16584"/>
                      </a:cubicBezTo>
                      <a:cubicBezTo>
                        <a:pt x="43555" y="15479"/>
                        <a:pt x="40317" y="18994"/>
                        <a:pt x="37793" y="20108"/>
                      </a:cubicBezTo>
                      <a:cubicBezTo>
                        <a:pt x="36621" y="20623"/>
                        <a:pt x="36840" y="18108"/>
                        <a:pt x="34697" y="19251"/>
                      </a:cubicBezTo>
                      <a:cubicBezTo>
                        <a:pt x="32925" y="20194"/>
                        <a:pt x="31668" y="22680"/>
                        <a:pt x="30992" y="24461"/>
                      </a:cubicBezTo>
                      <a:cubicBezTo>
                        <a:pt x="28068" y="20270"/>
                        <a:pt x="25077" y="20937"/>
                        <a:pt x="20771" y="19946"/>
                      </a:cubicBezTo>
                      <a:cubicBezTo>
                        <a:pt x="15790" y="18803"/>
                        <a:pt x="16599" y="19451"/>
                        <a:pt x="12951" y="15860"/>
                      </a:cubicBezTo>
                      <a:cubicBezTo>
                        <a:pt x="12056" y="14984"/>
                        <a:pt x="8779" y="10326"/>
                        <a:pt x="8189" y="9983"/>
                      </a:cubicBezTo>
                      <a:cubicBezTo>
                        <a:pt x="5712" y="8555"/>
                        <a:pt x="912" y="10260"/>
                        <a:pt x="131" y="6964"/>
                      </a:cubicBezTo>
                      <a:cubicBezTo>
                        <a:pt x="-2317" y="-3437"/>
                        <a:pt x="30382" y="830"/>
                        <a:pt x="34164" y="1058"/>
                      </a:cubicBezTo>
                      <a:lnTo>
                        <a:pt x="34164" y="1058"/>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28" name="Freeform: Shape 627">
                  <a:extLst>
                    <a:ext uri="{FF2B5EF4-FFF2-40B4-BE49-F238E27FC236}">
                      <a16:creationId xmlns:a16="http://schemas.microsoft.com/office/drawing/2014/main" id="{BAAB8A66-11F4-4E78-A91C-305D31352201}"/>
                    </a:ext>
                  </a:extLst>
                </p:cNvPr>
                <p:cNvSpPr/>
                <p:nvPr/>
              </p:nvSpPr>
              <p:spPr>
                <a:xfrm>
                  <a:off x="5772516" y="2882061"/>
                  <a:ext cx="334062" cy="327165"/>
                </a:xfrm>
                <a:custGeom>
                  <a:avLst/>
                  <a:gdLst>
                    <a:gd name="connsiteX0" fmla="*/ 259132 w 334062"/>
                    <a:gd name="connsiteY0" fmla="*/ 278883 h 327165"/>
                    <a:gd name="connsiteX1" fmla="*/ 251903 w 334062"/>
                    <a:gd name="connsiteY1" fmla="*/ 309630 h 327165"/>
                    <a:gd name="connsiteX2" fmla="*/ 250398 w 334062"/>
                    <a:gd name="connsiteY2" fmla="*/ 310735 h 327165"/>
                    <a:gd name="connsiteX3" fmla="*/ 249960 w 334062"/>
                    <a:gd name="connsiteY3" fmla="*/ 327166 h 327165"/>
                    <a:gd name="connsiteX4" fmla="*/ 234768 w 334062"/>
                    <a:gd name="connsiteY4" fmla="*/ 324518 h 327165"/>
                    <a:gd name="connsiteX5" fmla="*/ 224890 w 334062"/>
                    <a:gd name="connsiteY5" fmla="*/ 315859 h 327165"/>
                    <a:gd name="connsiteX6" fmla="*/ 211041 w 334062"/>
                    <a:gd name="connsiteY6" fmla="*/ 312659 h 327165"/>
                    <a:gd name="connsiteX7" fmla="*/ 196639 w 334062"/>
                    <a:gd name="connsiteY7" fmla="*/ 304887 h 327165"/>
                    <a:gd name="connsiteX8" fmla="*/ 186390 w 334062"/>
                    <a:gd name="connsiteY8" fmla="*/ 299619 h 327165"/>
                    <a:gd name="connsiteX9" fmla="*/ 176208 w 334062"/>
                    <a:gd name="connsiteY9" fmla="*/ 297429 h 327165"/>
                    <a:gd name="connsiteX10" fmla="*/ 179294 w 334062"/>
                    <a:gd name="connsiteY10" fmla="*/ 280064 h 327165"/>
                    <a:gd name="connsiteX11" fmla="*/ 197172 w 334062"/>
                    <a:gd name="connsiteY11" fmla="*/ 280998 h 327165"/>
                    <a:gd name="connsiteX12" fmla="*/ 206736 w 334062"/>
                    <a:gd name="connsiteY12" fmla="*/ 285951 h 327165"/>
                    <a:gd name="connsiteX13" fmla="*/ 217689 w 334062"/>
                    <a:gd name="connsiteY13" fmla="*/ 284684 h 327165"/>
                    <a:gd name="connsiteX14" fmla="*/ 230386 w 334062"/>
                    <a:gd name="connsiteY14" fmla="*/ 284084 h 327165"/>
                    <a:gd name="connsiteX15" fmla="*/ 240635 w 334062"/>
                    <a:gd name="connsiteY15" fmla="*/ 280493 h 327165"/>
                    <a:gd name="connsiteX16" fmla="*/ 249998 w 334062"/>
                    <a:gd name="connsiteY16" fmla="*/ 278883 h 327165"/>
                    <a:gd name="connsiteX17" fmla="*/ 260637 w 334062"/>
                    <a:gd name="connsiteY17" fmla="*/ 277407 h 327165"/>
                    <a:gd name="connsiteX18" fmla="*/ 259132 w 334062"/>
                    <a:gd name="connsiteY18" fmla="*/ 278883 h 327165"/>
                    <a:gd name="connsiteX19" fmla="*/ 259132 w 334062"/>
                    <a:gd name="connsiteY19" fmla="*/ 278883 h 327165"/>
                    <a:gd name="connsiteX20" fmla="*/ 87473 w 334062"/>
                    <a:gd name="connsiteY20" fmla="*/ 195054 h 327165"/>
                    <a:gd name="connsiteX21" fmla="*/ 91693 w 334062"/>
                    <a:gd name="connsiteY21" fmla="*/ 210227 h 327165"/>
                    <a:gd name="connsiteX22" fmla="*/ 88835 w 334062"/>
                    <a:gd name="connsiteY22" fmla="*/ 214380 h 327165"/>
                    <a:gd name="connsiteX23" fmla="*/ 90730 w 334062"/>
                    <a:gd name="connsiteY23" fmla="*/ 219943 h 327165"/>
                    <a:gd name="connsiteX24" fmla="*/ 90492 w 334062"/>
                    <a:gd name="connsiteY24" fmla="*/ 227639 h 327165"/>
                    <a:gd name="connsiteX25" fmla="*/ 87406 w 334062"/>
                    <a:gd name="connsiteY25" fmla="*/ 249518 h 327165"/>
                    <a:gd name="connsiteX26" fmla="*/ 74176 w 334062"/>
                    <a:gd name="connsiteY26" fmla="*/ 246794 h 327165"/>
                    <a:gd name="connsiteX27" fmla="*/ 58936 w 334062"/>
                    <a:gd name="connsiteY27" fmla="*/ 251489 h 327165"/>
                    <a:gd name="connsiteX28" fmla="*/ 57060 w 334062"/>
                    <a:gd name="connsiteY28" fmla="*/ 230763 h 327165"/>
                    <a:gd name="connsiteX29" fmla="*/ 59022 w 334062"/>
                    <a:gd name="connsiteY29" fmla="*/ 231277 h 327165"/>
                    <a:gd name="connsiteX30" fmla="*/ 54821 w 334062"/>
                    <a:gd name="connsiteY30" fmla="*/ 223991 h 327165"/>
                    <a:gd name="connsiteX31" fmla="*/ 56250 w 334062"/>
                    <a:gd name="connsiteY31" fmla="*/ 213599 h 327165"/>
                    <a:gd name="connsiteX32" fmla="*/ 48487 w 334062"/>
                    <a:gd name="connsiteY32" fmla="*/ 194054 h 327165"/>
                    <a:gd name="connsiteX33" fmla="*/ 72519 w 334062"/>
                    <a:gd name="connsiteY33" fmla="*/ 186824 h 327165"/>
                    <a:gd name="connsiteX34" fmla="*/ 79158 w 334062"/>
                    <a:gd name="connsiteY34" fmla="*/ 185148 h 327165"/>
                    <a:gd name="connsiteX35" fmla="*/ 86949 w 334062"/>
                    <a:gd name="connsiteY35" fmla="*/ 191168 h 327165"/>
                    <a:gd name="connsiteX36" fmla="*/ 87473 w 334062"/>
                    <a:gd name="connsiteY36" fmla="*/ 195054 h 327165"/>
                    <a:gd name="connsiteX37" fmla="*/ 87473 w 334062"/>
                    <a:gd name="connsiteY37" fmla="*/ 195054 h 327165"/>
                    <a:gd name="connsiteX38" fmla="*/ 142470 w 334062"/>
                    <a:gd name="connsiteY38" fmla="*/ 2811 h 327165"/>
                    <a:gd name="connsiteX39" fmla="*/ 185314 w 334062"/>
                    <a:gd name="connsiteY39" fmla="*/ 17441 h 327165"/>
                    <a:gd name="connsiteX40" fmla="*/ 178113 w 334062"/>
                    <a:gd name="connsiteY40" fmla="*/ 26747 h 327165"/>
                    <a:gd name="connsiteX41" fmla="*/ 182056 w 334062"/>
                    <a:gd name="connsiteY41" fmla="*/ 27642 h 327165"/>
                    <a:gd name="connsiteX42" fmla="*/ 184152 w 334062"/>
                    <a:gd name="connsiteY42" fmla="*/ 29633 h 327165"/>
                    <a:gd name="connsiteX43" fmla="*/ 181685 w 334062"/>
                    <a:gd name="connsiteY43" fmla="*/ 31805 h 327165"/>
                    <a:gd name="connsiteX44" fmla="*/ 180846 w 334062"/>
                    <a:gd name="connsiteY44" fmla="*/ 33538 h 327165"/>
                    <a:gd name="connsiteX45" fmla="*/ 183533 w 334062"/>
                    <a:gd name="connsiteY45" fmla="*/ 34519 h 327165"/>
                    <a:gd name="connsiteX46" fmla="*/ 185228 w 334062"/>
                    <a:gd name="connsiteY46" fmla="*/ 40073 h 327165"/>
                    <a:gd name="connsiteX47" fmla="*/ 188371 w 334062"/>
                    <a:gd name="connsiteY47" fmla="*/ 46826 h 327165"/>
                    <a:gd name="connsiteX48" fmla="*/ 189962 w 334062"/>
                    <a:gd name="connsiteY48" fmla="*/ 45578 h 327165"/>
                    <a:gd name="connsiteX49" fmla="*/ 185428 w 334062"/>
                    <a:gd name="connsiteY49" fmla="*/ 41044 h 327165"/>
                    <a:gd name="connsiteX50" fmla="*/ 181228 w 334062"/>
                    <a:gd name="connsiteY50" fmla="*/ 42968 h 327165"/>
                    <a:gd name="connsiteX51" fmla="*/ 172674 w 334062"/>
                    <a:gd name="connsiteY51" fmla="*/ 42197 h 327165"/>
                    <a:gd name="connsiteX52" fmla="*/ 163759 w 334062"/>
                    <a:gd name="connsiteY52" fmla="*/ 47645 h 327165"/>
                    <a:gd name="connsiteX53" fmla="*/ 154195 w 334062"/>
                    <a:gd name="connsiteY53" fmla="*/ 50598 h 327165"/>
                    <a:gd name="connsiteX54" fmla="*/ 156786 w 334062"/>
                    <a:gd name="connsiteY54" fmla="*/ 48169 h 327165"/>
                    <a:gd name="connsiteX55" fmla="*/ 149424 w 334062"/>
                    <a:gd name="connsiteY55" fmla="*/ 54770 h 327165"/>
                    <a:gd name="connsiteX56" fmla="*/ 157825 w 334062"/>
                    <a:gd name="connsiteY56" fmla="*/ 66381 h 327165"/>
                    <a:gd name="connsiteX57" fmla="*/ 151871 w 334062"/>
                    <a:gd name="connsiteY57" fmla="*/ 70534 h 327165"/>
                    <a:gd name="connsiteX58" fmla="*/ 154262 w 334062"/>
                    <a:gd name="connsiteY58" fmla="*/ 85488 h 327165"/>
                    <a:gd name="connsiteX59" fmla="*/ 179265 w 334062"/>
                    <a:gd name="connsiteY59" fmla="*/ 104995 h 327165"/>
                    <a:gd name="connsiteX60" fmla="*/ 198715 w 334062"/>
                    <a:gd name="connsiteY60" fmla="*/ 126845 h 327165"/>
                    <a:gd name="connsiteX61" fmla="*/ 247169 w 334062"/>
                    <a:gd name="connsiteY61" fmla="*/ 162402 h 327165"/>
                    <a:gd name="connsiteX62" fmla="*/ 263809 w 334062"/>
                    <a:gd name="connsiteY62" fmla="*/ 162593 h 327165"/>
                    <a:gd name="connsiteX63" fmla="*/ 259047 w 334062"/>
                    <a:gd name="connsiteY63" fmla="*/ 171937 h 327165"/>
                    <a:gd name="connsiteX64" fmla="*/ 285736 w 334062"/>
                    <a:gd name="connsiteY64" fmla="*/ 186691 h 327165"/>
                    <a:gd name="connsiteX65" fmla="*/ 316492 w 334062"/>
                    <a:gd name="connsiteY65" fmla="*/ 201350 h 327165"/>
                    <a:gd name="connsiteX66" fmla="*/ 333932 w 334062"/>
                    <a:gd name="connsiteY66" fmla="*/ 222181 h 327165"/>
                    <a:gd name="connsiteX67" fmla="*/ 316359 w 334062"/>
                    <a:gd name="connsiteY67" fmla="*/ 213923 h 327165"/>
                    <a:gd name="connsiteX68" fmla="*/ 301033 w 334062"/>
                    <a:gd name="connsiteY68" fmla="*/ 210799 h 327165"/>
                    <a:gd name="connsiteX69" fmla="*/ 291994 w 334062"/>
                    <a:gd name="connsiteY69" fmla="*/ 207484 h 327165"/>
                    <a:gd name="connsiteX70" fmla="*/ 284821 w 334062"/>
                    <a:gd name="connsiteY70" fmla="*/ 234468 h 327165"/>
                    <a:gd name="connsiteX71" fmla="*/ 298985 w 334062"/>
                    <a:gd name="connsiteY71" fmla="*/ 242393 h 327165"/>
                    <a:gd name="connsiteX72" fmla="*/ 299480 w 334062"/>
                    <a:gd name="connsiteY72" fmla="*/ 256852 h 327165"/>
                    <a:gd name="connsiteX73" fmla="*/ 286888 w 334062"/>
                    <a:gd name="connsiteY73" fmla="*/ 260662 h 327165"/>
                    <a:gd name="connsiteX74" fmla="*/ 286317 w 334062"/>
                    <a:gd name="connsiteY74" fmla="*/ 268977 h 327165"/>
                    <a:gd name="connsiteX75" fmla="*/ 281230 w 334062"/>
                    <a:gd name="connsiteY75" fmla="*/ 276321 h 327165"/>
                    <a:gd name="connsiteX76" fmla="*/ 273411 w 334062"/>
                    <a:gd name="connsiteY76" fmla="*/ 287570 h 327165"/>
                    <a:gd name="connsiteX77" fmla="*/ 261495 w 334062"/>
                    <a:gd name="connsiteY77" fmla="*/ 283398 h 327165"/>
                    <a:gd name="connsiteX78" fmla="*/ 264962 w 334062"/>
                    <a:gd name="connsiteY78" fmla="*/ 276674 h 327165"/>
                    <a:gd name="connsiteX79" fmla="*/ 267391 w 334062"/>
                    <a:gd name="connsiteY79" fmla="*/ 269654 h 327165"/>
                    <a:gd name="connsiteX80" fmla="*/ 268324 w 334062"/>
                    <a:gd name="connsiteY80" fmla="*/ 263939 h 327165"/>
                    <a:gd name="connsiteX81" fmla="*/ 275011 w 334062"/>
                    <a:gd name="connsiteY81" fmla="*/ 261996 h 327165"/>
                    <a:gd name="connsiteX82" fmla="*/ 269924 w 334062"/>
                    <a:gd name="connsiteY82" fmla="*/ 247832 h 327165"/>
                    <a:gd name="connsiteX83" fmla="*/ 260952 w 334062"/>
                    <a:gd name="connsiteY83" fmla="*/ 229496 h 327165"/>
                    <a:gd name="connsiteX84" fmla="*/ 249931 w 334062"/>
                    <a:gd name="connsiteY84" fmla="*/ 221171 h 327165"/>
                    <a:gd name="connsiteX85" fmla="*/ 235615 w 334062"/>
                    <a:gd name="connsiteY85" fmla="*/ 214485 h 327165"/>
                    <a:gd name="connsiteX86" fmla="*/ 236187 w 334062"/>
                    <a:gd name="connsiteY86" fmla="*/ 209417 h 327165"/>
                    <a:gd name="connsiteX87" fmla="*/ 231186 w 334062"/>
                    <a:gd name="connsiteY87" fmla="*/ 202312 h 327165"/>
                    <a:gd name="connsiteX88" fmla="*/ 218423 w 334062"/>
                    <a:gd name="connsiteY88" fmla="*/ 203950 h 327165"/>
                    <a:gd name="connsiteX89" fmla="*/ 210622 w 334062"/>
                    <a:gd name="connsiteY89" fmla="*/ 197807 h 327165"/>
                    <a:gd name="connsiteX90" fmla="*/ 191486 w 334062"/>
                    <a:gd name="connsiteY90" fmla="*/ 183024 h 327165"/>
                    <a:gd name="connsiteX91" fmla="*/ 180875 w 334062"/>
                    <a:gd name="connsiteY91" fmla="*/ 182928 h 327165"/>
                    <a:gd name="connsiteX92" fmla="*/ 169093 w 334062"/>
                    <a:gd name="connsiteY92" fmla="*/ 176518 h 327165"/>
                    <a:gd name="connsiteX93" fmla="*/ 156796 w 334062"/>
                    <a:gd name="connsiteY93" fmla="*/ 165860 h 327165"/>
                    <a:gd name="connsiteX94" fmla="*/ 145090 w 334062"/>
                    <a:gd name="connsiteY94" fmla="*/ 157230 h 327165"/>
                    <a:gd name="connsiteX95" fmla="*/ 133193 w 334062"/>
                    <a:gd name="connsiteY95" fmla="*/ 147429 h 327165"/>
                    <a:gd name="connsiteX96" fmla="*/ 125087 w 334062"/>
                    <a:gd name="connsiteY96" fmla="*/ 146686 h 327165"/>
                    <a:gd name="connsiteX97" fmla="*/ 118896 w 334062"/>
                    <a:gd name="connsiteY97" fmla="*/ 135989 h 327165"/>
                    <a:gd name="connsiteX98" fmla="*/ 113857 w 334062"/>
                    <a:gd name="connsiteY98" fmla="*/ 131170 h 327165"/>
                    <a:gd name="connsiteX99" fmla="*/ 108904 w 334062"/>
                    <a:gd name="connsiteY99" fmla="*/ 129560 h 327165"/>
                    <a:gd name="connsiteX100" fmla="*/ 107780 w 334062"/>
                    <a:gd name="connsiteY100" fmla="*/ 122911 h 327165"/>
                    <a:gd name="connsiteX101" fmla="*/ 103399 w 334062"/>
                    <a:gd name="connsiteY101" fmla="*/ 114396 h 327165"/>
                    <a:gd name="connsiteX102" fmla="*/ 95150 w 334062"/>
                    <a:gd name="connsiteY102" fmla="*/ 97327 h 327165"/>
                    <a:gd name="connsiteX103" fmla="*/ 76005 w 334062"/>
                    <a:gd name="connsiteY103" fmla="*/ 88936 h 327165"/>
                    <a:gd name="connsiteX104" fmla="*/ 57774 w 334062"/>
                    <a:gd name="connsiteY104" fmla="*/ 83507 h 327165"/>
                    <a:gd name="connsiteX105" fmla="*/ 41972 w 334062"/>
                    <a:gd name="connsiteY105" fmla="*/ 96946 h 327165"/>
                    <a:gd name="connsiteX106" fmla="*/ 24341 w 334062"/>
                    <a:gd name="connsiteY106" fmla="*/ 104138 h 327165"/>
                    <a:gd name="connsiteX107" fmla="*/ 28666 w 334062"/>
                    <a:gd name="connsiteY107" fmla="*/ 93670 h 327165"/>
                    <a:gd name="connsiteX108" fmla="*/ 15607 w 334062"/>
                    <a:gd name="connsiteY108" fmla="*/ 90945 h 327165"/>
                    <a:gd name="connsiteX109" fmla="*/ 6720 w 334062"/>
                    <a:gd name="connsiteY109" fmla="*/ 82202 h 327165"/>
                    <a:gd name="connsiteX110" fmla="*/ 9920 w 334062"/>
                    <a:gd name="connsiteY110" fmla="*/ 72448 h 327165"/>
                    <a:gd name="connsiteX111" fmla="*/ 1710 w 334062"/>
                    <a:gd name="connsiteY111" fmla="*/ 65752 h 327165"/>
                    <a:gd name="connsiteX112" fmla="*/ 6701 w 334062"/>
                    <a:gd name="connsiteY112" fmla="*/ 59780 h 327165"/>
                    <a:gd name="connsiteX113" fmla="*/ 2615 w 334062"/>
                    <a:gd name="connsiteY113" fmla="*/ 41035 h 327165"/>
                    <a:gd name="connsiteX114" fmla="*/ 13235 w 334062"/>
                    <a:gd name="connsiteY114" fmla="*/ 37263 h 327165"/>
                    <a:gd name="connsiteX115" fmla="*/ 22293 w 334062"/>
                    <a:gd name="connsiteY115" fmla="*/ 34519 h 327165"/>
                    <a:gd name="connsiteX116" fmla="*/ 29456 w 334062"/>
                    <a:gd name="connsiteY116" fmla="*/ 36110 h 327165"/>
                    <a:gd name="connsiteX117" fmla="*/ 34866 w 334062"/>
                    <a:gd name="connsiteY117" fmla="*/ 32195 h 327165"/>
                    <a:gd name="connsiteX118" fmla="*/ 36495 w 334062"/>
                    <a:gd name="connsiteY118" fmla="*/ 25537 h 327165"/>
                    <a:gd name="connsiteX119" fmla="*/ 42839 w 334062"/>
                    <a:gd name="connsiteY119" fmla="*/ 20470 h 327165"/>
                    <a:gd name="connsiteX120" fmla="*/ 45801 w 334062"/>
                    <a:gd name="connsiteY120" fmla="*/ 22080 h 327165"/>
                    <a:gd name="connsiteX121" fmla="*/ 48668 w 334062"/>
                    <a:gd name="connsiteY121" fmla="*/ 28090 h 327165"/>
                    <a:gd name="connsiteX122" fmla="*/ 56555 w 334062"/>
                    <a:gd name="connsiteY122" fmla="*/ 31910 h 327165"/>
                    <a:gd name="connsiteX123" fmla="*/ 58707 w 334062"/>
                    <a:gd name="connsiteY123" fmla="*/ 37263 h 327165"/>
                    <a:gd name="connsiteX124" fmla="*/ 62746 w 334062"/>
                    <a:gd name="connsiteY124" fmla="*/ 37748 h 327165"/>
                    <a:gd name="connsiteX125" fmla="*/ 61394 w 334062"/>
                    <a:gd name="connsiteY125" fmla="*/ 33338 h 327165"/>
                    <a:gd name="connsiteX126" fmla="*/ 66337 w 334062"/>
                    <a:gd name="connsiteY126" fmla="*/ 26918 h 327165"/>
                    <a:gd name="connsiteX127" fmla="*/ 72261 w 334062"/>
                    <a:gd name="connsiteY127" fmla="*/ 20260 h 327165"/>
                    <a:gd name="connsiteX128" fmla="*/ 77424 w 334062"/>
                    <a:gd name="connsiteY128" fmla="*/ 24499 h 327165"/>
                    <a:gd name="connsiteX129" fmla="*/ 85282 w 334062"/>
                    <a:gd name="connsiteY129" fmla="*/ 22327 h 327165"/>
                    <a:gd name="connsiteX130" fmla="*/ 90311 w 334062"/>
                    <a:gd name="connsiteY130" fmla="*/ 26461 h 327165"/>
                    <a:gd name="connsiteX131" fmla="*/ 89759 w 334062"/>
                    <a:gd name="connsiteY131" fmla="*/ 21442 h 327165"/>
                    <a:gd name="connsiteX132" fmla="*/ 88683 w 334062"/>
                    <a:gd name="connsiteY132" fmla="*/ 16174 h 327165"/>
                    <a:gd name="connsiteX133" fmla="*/ 94102 w 334062"/>
                    <a:gd name="connsiteY133" fmla="*/ 16022 h 327165"/>
                    <a:gd name="connsiteX134" fmla="*/ 98274 w 334062"/>
                    <a:gd name="connsiteY134" fmla="*/ 6564 h 327165"/>
                    <a:gd name="connsiteX135" fmla="*/ 111076 w 334062"/>
                    <a:gd name="connsiteY135" fmla="*/ 9564 h 327165"/>
                    <a:gd name="connsiteX136" fmla="*/ 121515 w 334062"/>
                    <a:gd name="connsiteY136" fmla="*/ 2954 h 327165"/>
                    <a:gd name="connsiteX137" fmla="*/ 135584 w 334062"/>
                    <a:gd name="connsiteY137" fmla="*/ 1896 h 327165"/>
                    <a:gd name="connsiteX138" fmla="*/ 142470 w 334062"/>
                    <a:gd name="connsiteY138" fmla="*/ 2811 h 327165"/>
                    <a:gd name="connsiteX139" fmla="*/ 142470 w 334062"/>
                    <a:gd name="connsiteY139" fmla="*/ 2811 h 327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334062" h="327165">
                      <a:moveTo>
                        <a:pt x="259132" y="278883"/>
                      </a:moveTo>
                      <a:cubicBezTo>
                        <a:pt x="256503" y="285875"/>
                        <a:pt x="240302" y="303420"/>
                        <a:pt x="251903" y="309630"/>
                      </a:cubicBezTo>
                      <a:cubicBezTo>
                        <a:pt x="251398" y="310001"/>
                        <a:pt x="250903" y="310373"/>
                        <a:pt x="250398" y="310735"/>
                      </a:cubicBezTo>
                      <a:cubicBezTo>
                        <a:pt x="258647" y="316974"/>
                        <a:pt x="247969" y="319222"/>
                        <a:pt x="249960" y="327166"/>
                      </a:cubicBezTo>
                      <a:cubicBezTo>
                        <a:pt x="245264" y="327175"/>
                        <a:pt x="238987" y="326661"/>
                        <a:pt x="234768" y="324518"/>
                      </a:cubicBezTo>
                      <a:cubicBezTo>
                        <a:pt x="230719" y="322460"/>
                        <a:pt x="228995" y="318174"/>
                        <a:pt x="224890" y="315859"/>
                      </a:cubicBezTo>
                      <a:cubicBezTo>
                        <a:pt x="220366" y="313307"/>
                        <a:pt x="215775" y="314497"/>
                        <a:pt x="211041" y="312659"/>
                      </a:cubicBezTo>
                      <a:cubicBezTo>
                        <a:pt x="206173" y="310773"/>
                        <a:pt x="201259" y="307306"/>
                        <a:pt x="196639" y="304887"/>
                      </a:cubicBezTo>
                      <a:cubicBezTo>
                        <a:pt x="193372" y="303172"/>
                        <a:pt x="190143" y="300419"/>
                        <a:pt x="186390" y="299619"/>
                      </a:cubicBezTo>
                      <a:cubicBezTo>
                        <a:pt x="182475" y="298781"/>
                        <a:pt x="179780" y="299838"/>
                        <a:pt x="176208" y="297429"/>
                      </a:cubicBezTo>
                      <a:cubicBezTo>
                        <a:pt x="166673" y="290971"/>
                        <a:pt x="175732" y="285684"/>
                        <a:pt x="179294" y="280064"/>
                      </a:cubicBezTo>
                      <a:cubicBezTo>
                        <a:pt x="186142" y="289361"/>
                        <a:pt x="188943" y="278255"/>
                        <a:pt x="197172" y="280998"/>
                      </a:cubicBezTo>
                      <a:cubicBezTo>
                        <a:pt x="200078" y="281969"/>
                        <a:pt x="203468" y="285284"/>
                        <a:pt x="206736" y="285951"/>
                      </a:cubicBezTo>
                      <a:cubicBezTo>
                        <a:pt x="210469" y="286713"/>
                        <a:pt x="213879" y="284903"/>
                        <a:pt x="217689" y="284684"/>
                      </a:cubicBezTo>
                      <a:cubicBezTo>
                        <a:pt x="221975" y="284436"/>
                        <a:pt x="226147" y="285570"/>
                        <a:pt x="230386" y="284084"/>
                      </a:cubicBezTo>
                      <a:cubicBezTo>
                        <a:pt x="234434" y="282665"/>
                        <a:pt x="236358" y="280931"/>
                        <a:pt x="240635" y="280493"/>
                      </a:cubicBezTo>
                      <a:cubicBezTo>
                        <a:pt x="244731" y="280074"/>
                        <a:pt x="246445" y="279941"/>
                        <a:pt x="249998" y="278883"/>
                      </a:cubicBezTo>
                      <a:cubicBezTo>
                        <a:pt x="253017" y="277978"/>
                        <a:pt x="257399" y="275692"/>
                        <a:pt x="260637" y="277407"/>
                      </a:cubicBezTo>
                      <a:cubicBezTo>
                        <a:pt x="260152" y="277893"/>
                        <a:pt x="259637" y="278388"/>
                        <a:pt x="259132" y="278883"/>
                      </a:cubicBezTo>
                      <a:lnTo>
                        <a:pt x="259132" y="278883"/>
                      </a:lnTo>
                      <a:close/>
                      <a:moveTo>
                        <a:pt x="87473" y="195054"/>
                      </a:moveTo>
                      <a:cubicBezTo>
                        <a:pt x="91264" y="199854"/>
                        <a:pt x="92874" y="204769"/>
                        <a:pt x="91693" y="210227"/>
                      </a:cubicBezTo>
                      <a:cubicBezTo>
                        <a:pt x="91378" y="211713"/>
                        <a:pt x="89054" y="212885"/>
                        <a:pt x="88835" y="214380"/>
                      </a:cubicBezTo>
                      <a:cubicBezTo>
                        <a:pt x="88521" y="216628"/>
                        <a:pt x="90540" y="218104"/>
                        <a:pt x="90730" y="219943"/>
                      </a:cubicBezTo>
                      <a:cubicBezTo>
                        <a:pt x="91007" y="222552"/>
                        <a:pt x="90635" y="225019"/>
                        <a:pt x="90492" y="227639"/>
                      </a:cubicBezTo>
                      <a:cubicBezTo>
                        <a:pt x="90283" y="231315"/>
                        <a:pt x="91464" y="247479"/>
                        <a:pt x="87406" y="249518"/>
                      </a:cubicBezTo>
                      <a:cubicBezTo>
                        <a:pt x="85501" y="250480"/>
                        <a:pt x="76329" y="247803"/>
                        <a:pt x="74176" y="246794"/>
                      </a:cubicBezTo>
                      <a:cubicBezTo>
                        <a:pt x="73766" y="257633"/>
                        <a:pt x="64813" y="260691"/>
                        <a:pt x="58936" y="251489"/>
                      </a:cubicBezTo>
                      <a:cubicBezTo>
                        <a:pt x="54288" y="244212"/>
                        <a:pt x="56650" y="238364"/>
                        <a:pt x="57060" y="230763"/>
                      </a:cubicBezTo>
                      <a:cubicBezTo>
                        <a:pt x="57784" y="230963"/>
                        <a:pt x="58431" y="231134"/>
                        <a:pt x="59022" y="231277"/>
                      </a:cubicBezTo>
                      <a:cubicBezTo>
                        <a:pt x="59974" y="226486"/>
                        <a:pt x="55621" y="226953"/>
                        <a:pt x="54821" y="223991"/>
                      </a:cubicBezTo>
                      <a:cubicBezTo>
                        <a:pt x="53993" y="220962"/>
                        <a:pt x="57231" y="217590"/>
                        <a:pt x="56250" y="213599"/>
                      </a:cubicBezTo>
                      <a:cubicBezTo>
                        <a:pt x="54316" y="205731"/>
                        <a:pt x="44677" y="203550"/>
                        <a:pt x="48487" y="194054"/>
                      </a:cubicBezTo>
                      <a:cubicBezTo>
                        <a:pt x="56783" y="201397"/>
                        <a:pt x="66118" y="190815"/>
                        <a:pt x="72519" y="186824"/>
                      </a:cubicBezTo>
                      <a:cubicBezTo>
                        <a:pt x="76538" y="184319"/>
                        <a:pt x="73757" y="182738"/>
                        <a:pt x="79158" y="185148"/>
                      </a:cubicBezTo>
                      <a:cubicBezTo>
                        <a:pt x="82453" y="186615"/>
                        <a:pt x="84110" y="189453"/>
                        <a:pt x="86949" y="191168"/>
                      </a:cubicBezTo>
                      <a:cubicBezTo>
                        <a:pt x="84387" y="192930"/>
                        <a:pt x="85616" y="193530"/>
                        <a:pt x="87473" y="195054"/>
                      </a:cubicBezTo>
                      <a:lnTo>
                        <a:pt x="87473" y="195054"/>
                      </a:lnTo>
                      <a:close/>
                      <a:moveTo>
                        <a:pt x="142470" y="2811"/>
                      </a:moveTo>
                      <a:cubicBezTo>
                        <a:pt x="151167" y="18108"/>
                        <a:pt x="170407" y="13841"/>
                        <a:pt x="185314" y="17441"/>
                      </a:cubicBezTo>
                      <a:cubicBezTo>
                        <a:pt x="184209" y="20803"/>
                        <a:pt x="175627" y="22404"/>
                        <a:pt x="178113" y="26747"/>
                      </a:cubicBezTo>
                      <a:cubicBezTo>
                        <a:pt x="178599" y="27595"/>
                        <a:pt x="181228" y="26356"/>
                        <a:pt x="182056" y="27642"/>
                      </a:cubicBezTo>
                      <a:cubicBezTo>
                        <a:pt x="183152" y="29338"/>
                        <a:pt x="183580" y="27709"/>
                        <a:pt x="184152" y="29633"/>
                      </a:cubicBezTo>
                      <a:cubicBezTo>
                        <a:pt x="184285" y="30052"/>
                        <a:pt x="181475" y="31224"/>
                        <a:pt x="181685" y="31805"/>
                      </a:cubicBezTo>
                      <a:cubicBezTo>
                        <a:pt x="181304" y="30786"/>
                        <a:pt x="180837" y="33643"/>
                        <a:pt x="180846" y="33538"/>
                      </a:cubicBezTo>
                      <a:cubicBezTo>
                        <a:pt x="180646" y="35339"/>
                        <a:pt x="183437" y="34196"/>
                        <a:pt x="183533" y="34519"/>
                      </a:cubicBezTo>
                      <a:cubicBezTo>
                        <a:pt x="183961" y="36082"/>
                        <a:pt x="184037" y="38406"/>
                        <a:pt x="185228" y="40073"/>
                      </a:cubicBezTo>
                      <a:cubicBezTo>
                        <a:pt x="186209" y="41463"/>
                        <a:pt x="197915" y="48293"/>
                        <a:pt x="188371" y="46826"/>
                      </a:cubicBezTo>
                      <a:cubicBezTo>
                        <a:pt x="188905" y="46407"/>
                        <a:pt x="189428" y="45997"/>
                        <a:pt x="189962" y="45578"/>
                      </a:cubicBezTo>
                      <a:cubicBezTo>
                        <a:pt x="188781" y="44397"/>
                        <a:pt x="186971" y="41596"/>
                        <a:pt x="185428" y="41044"/>
                      </a:cubicBezTo>
                      <a:cubicBezTo>
                        <a:pt x="183371" y="40301"/>
                        <a:pt x="182532" y="43159"/>
                        <a:pt x="181228" y="42968"/>
                      </a:cubicBezTo>
                      <a:cubicBezTo>
                        <a:pt x="177503" y="42435"/>
                        <a:pt x="175760" y="41368"/>
                        <a:pt x="172674" y="42197"/>
                      </a:cubicBezTo>
                      <a:cubicBezTo>
                        <a:pt x="170540" y="42778"/>
                        <a:pt x="166521" y="46540"/>
                        <a:pt x="163759" y="47645"/>
                      </a:cubicBezTo>
                      <a:cubicBezTo>
                        <a:pt x="160530" y="48950"/>
                        <a:pt x="157672" y="50579"/>
                        <a:pt x="154195" y="50598"/>
                      </a:cubicBezTo>
                      <a:cubicBezTo>
                        <a:pt x="155062" y="49788"/>
                        <a:pt x="155929" y="48978"/>
                        <a:pt x="156786" y="48169"/>
                      </a:cubicBezTo>
                      <a:cubicBezTo>
                        <a:pt x="152700" y="48597"/>
                        <a:pt x="149900" y="50664"/>
                        <a:pt x="149424" y="54770"/>
                      </a:cubicBezTo>
                      <a:cubicBezTo>
                        <a:pt x="148766" y="60351"/>
                        <a:pt x="157434" y="62847"/>
                        <a:pt x="157825" y="66381"/>
                      </a:cubicBezTo>
                      <a:cubicBezTo>
                        <a:pt x="158472" y="72210"/>
                        <a:pt x="152329" y="69762"/>
                        <a:pt x="151871" y="70534"/>
                      </a:cubicBezTo>
                      <a:cubicBezTo>
                        <a:pt x="149547" y="74439"/>
                        <a:pt x="152529" y="81640"/>
                        <a:pt x="154262" y="85488"/>
                      </a:cubicBezTo>
                      <a:cubicBezTo>
                        <a:pt x="158768" y="95518"/>
                        <a:pt x="170217" y="99728"/>
                        <a:pt x="179265" y="104995"/>
                      </a:cubicBezTo>
                      <a:cubicBezTo>
                        <a:pt x="189514" y="110958"/>
                        <a:pt x="193915" y="115501"/>
                        <a:pt x="198715" y="126845"/>
                      </a:cubicBezTo>
                      <a:cubicBezTo>
                        <a:pt x="206535" y="145314"/>
                        <a:pt x="226233" y="162507"/>
                        <a:pt x="247169" y="162402"/>
                      </a:cubicBezTo>
                      <a:cubicBezTo>
                        <a:pt x="250865" y="162393"/>
                        <a:pt x="260294" y="159840"/>
                        <a:pt x="263809" y="162593"/>
                      </a:cubicBezTo>
                      <a:cubicBezTo>
                        <a:pt x="270372" y="167708"/>
                        <a:pt x="260218" y="167860"/>
                        <a:pt x="259047" y="171937"/>
                      </a:cubicBezTo>
                      <a:cubicBezTo>
                        <a:pt x="256904" y="179395"/>
                        <a:pt x="280059" y="184767"/>
                        <a:pt x="285736" y="186691"/>
                      </a:cubicBezTo>
                      <a:cubicBezTo>
                        <a:pt x="295918" y="190139"/>
                        <a:pt x="307300" y="195835"/>
                        <a:pt x="316492" y="201350"/>
                      </a:cubicBezTo>
                      <a:cubicBezTo>
                        <a:pt x="323893" y="205788"/>
                        <a:pt x="335418" y="212808"/>
                        <a:pt x="333932" y="222181"/>
                      </a:cubicBezTo>
                      <a:cubicBezTo>
                        <a:pt x="331313" y="238593"/>
                        <a:pt x="320426" y="216209"/>
                        <a:pt x="316359" y="213923"/>
                      </a:cubicBezTo>
                      <a:cubicBezTo>
                        <a:pt x="312215" y="211589"/>
                        <a:pt x="305729" y="213313"/>
                        <a:pt x="301033" y="210799"/>
                      </a:cubicBezTo>
                      <a:cubicBezTo>
                        <a:pt x="297471" y="208894"/>
                        <a:pt x="297756" y="204826"/>
                        <a:pt x="291994" y="207484"/>
                      </a:cubicBezTo>
                      <a:cubicBezTo>
                        <a:pt x="284593" y="210903"/>
                        <a:pt x="277849" y="229306"/>
                        <a:pt x="284821" y="234468"/>
                      </a:cubicBezTo>
                      <a:cubicBezTo>
                        <a:pt x="288927" y="237507"/>
                        <a:pt x="296089" y="236992"/>
                        <a:pt x="298985" y="242393"/>
                      </a:cubicBezTo>
                      <a:cubicBezTo>
                        <a:pt x="300671" y="245527"/>
                        <a:pt x="302014" y="254918"/>
                        <a:pt x="299480" y="256852"/>
                      </a:cubicBezTo>
                      <a:cubicBezTo>
                        <a:pt x="296432" y="259167"/>
                        <a:pt x="290384" y="255404"/>
                        <a:pt x="286888" y="260662"/>
                      </a:cubicBezTo>
                      <a:cubicBezTo>
                        <a:pt x="284526" y="264224"/>
                        <a:pt x="287079" y="265367"/>
                        <a:pt x="286317" y="268977"/>
                      </a:cubicBezTo>
                      <a:cubicBezTo>
                        <a:pt x="285250" y="274121"/>
                        <a:pt x="285040" y="272359"/>
                        <a:pt x="281230" y="276321"/>
                      </a:cubicBezTo>
                      <a:cubicBezTo>
                        <a:pt x="278935" y="278702"/>
                        <a:pt x="275773" y="286199"/>
                        <a:pt x="273411" y="287570"/>
                      </a:cubicBezTo>
                      <a:cubicBezTo>
                        <a:pt x="269172" y="290028"/>
                        <a:pt x="262580" y="287846"/>
                        <a:pt x="261495" y="283398"/>
                      </a:cubicBezTo>
                      <a:cubicBezTo>
                        <a:pt x="260190" y="278064"/>
                        <a:pt x="263323" y="279502"/>
                        <a:pt x="264962" y="276674"/>
                      </a:cubicBezTo>
                      <a:cubicBezTo>
                        <a:pt x="266210" y="274521"/>
                        <a:pt x="266791" y="272168"/>
                        <a:pt x="267391" y="269654"/>
                      </a:cubicBezTo>
                      <a:cubicBezTo>
                        <a:pt x="267962" y="267215"/>
                        <a:pt x="266162" y="266358"/>
                        <a:pt x="268324" y="263939"/>
                      </a:cubicBezTo>
                      <a:cubicBezTo>
                        <a:pt x="269658" y="262443"/>
                        <a:pt x="274230" y="263167"/>
                        <a:pt x="275011" y="261996"/>
                      </a:cubicBezTo>
                      <a:cubicBezTo>
                        <a:pt x="277354" y="258462"/>
                        <a:pt x="271182" y="251232"/>
                        <a:pt x="269924" y="247832"/>
                      </a:cubicBezTo>
                      <a:cubicBezTo>
                        <a:pt x="267562" y="241421"/>
                        <a:pt x="264095" y="235611"/>
                        <a:pt x="260952" y="229496"/>
                      </a:cubicBezTo>
                      <a:cubicBezTo>
                        <a:pt x="257475" y="222695"/>
                        <a:pt x="256713" y="223038"/>
                        <a:pt x="249931" y="221171"/>
                      </a:cubicBezTo>
                      <a:cubicBezTo>
                        <a:pt x="245769" y="220028"/>
                        <a:pt x="237920" y="218552"/>
                        <a:pt x="235615" y="214485"/>
                      </a:cubicBezTo>
                      <a:cubicBezTo>
                        <a:pt x="234777" y="213008"/>
                        <a:pt x="236730" y="211246"/>
                        <a:pt x="236187" y="209417"/>
                      </a:cubicBezTo>
                      <a:cubicBezTo>
                        <a:pt x="235472" y="207065"/>
                        <a:pt x="233663" y="203360"/>
                        <a:pt x="231186" y="202312"/>
                      </a:cubicBezTo>
                      <a:cubicBezTo>
                        <a:pt x="228195" y="201045"/>
                        <a:pt x="221452" y="202979"/>
                        <a:pt x="218423" y="203950"/>
                      </a:cubicBezTo>
                      <a:cubicBezTo>
                        <a:pt x="225890" y="198188"/>
                        <a:pt x="213974" y="195187"/>
                        <a:pt x="210622" y="197807"/>
                      </a:cubicBezTo>
                      <a:cubicBezTo>
                        <a:pt x="206307" y="188872"/>
                        <a:pt x="201620" y="183576"/>
                        <a:pt x="191486" y="183024"/>
                      </a:cubicBezTo>
                      <a:cubicBezTo>
                        <a:pt x="188419" y="182852"/>
                        <a:pt x="183285" y="183671"/>
                        <a:pt x="180875" y="182928"/>
                      </a:cubicBezTo>
                      <a:cubicBezTo>
                        <a:pt x="178608" y="182233"/>
                        <a:pt x="171683" y="177947"/>
                        <a:pt x="169093" y="176518"/>
                      </a:cubicBezTo>
                      <a:cubicBezTo>
                        <a:pt x="164711" y="174118"/>
                        <a:pt x="160501" y="169251"/>
                        <a:pt x="156796" y="165860"/>
                      </a:cubicBezTo>
                      <a:cubicBezTo>
                        <a:pt x="153072" y="162459"/>
                        <a:pt x="148833" y="160440"/>
                        <a:pt x="145090" y="157230"/>
                      </a:cubicBezTo>
                      <a:cubicBezTo>
                        <a:pt x="140699" y="153458"/>
                        <a:pt x="139441" y="148877"/>
                        <a:pt x="133193" y="147429"/>
                      </a:cubicBezTo>
                      <a:cubicBezTo>
                        <a:pt x="130088" y="146714"/>
                        <a:pt x="127764" y="147553"/>
                        <a:pt x="125087" y="146686"/>
                      </a:cubicBezTo>
                      <a:cubicBezTo>
                        <a:pt x="130783" y="144019"/>
                        <a:pt x="121315" y="138237"/>
                        <a:pt x="118896" y="135989"/>
                      </a:cubicBezTo>
                      <a:cubicBezTo>
                        <a:pt x="118248" y="135389"/>
                        <a:pt x="114495" y="131541"/>
                        <a:pt x="113857" y="131170"/>
                      </a:cubicBezTo>
                      <a:cubicBezTo>
                        <a:pt x="113524" y="130970"/>
                        <a:pt x="108923" y="129579"/>
                        <a:pt x="108904" y="129560"/>
                      </a:cubicBezTo>
                      <a:cubicBezTo>
                        <a:pt x="107513" y="127664"/>
                        <a:pt x="108333" y="125674"/>
                        <a:pt x="107780" y="122911"/>
                      </a:cubicBezTo>
                      <a:cubicBezTo>
                        <a:pt x="107085" y="119416"/>
                        <a:pt x="104894" y="117349"/>
                        <a:pt x="103399" y="114396"/>
                      </a:cubicBezTo>
                      <a:cubicBezTo>
                        <a:pt x="100608" y="108900"/>
                        <a:pt x="100265" y="101128"/>
                        <a:pt x="95150" y="97327"/>
                      </a:cubicBezTo>
                      <a:cubicBezTo>
                        <a:pt x="90550" y="93898"/>
                        <a:pt x="81453" y="91374"/>
                        <a:pt x="76005" y="88936"/>
                      </a:cubicBezTo>
                      <a:cubicBezTo>
                        <a:pt x="71014" y="86697"/>
                        <a:pt x="63489" y="82773"/>
                        <a:pt x="57774" y="83507"/>
                      </a:cubicBezTo>
                      <a:cubicBezTo>
                        <a:pt x="50325" y="84469"/>
                        <a:pt x="46849" y="92450"/>
                        <a:pt x="41972" y="96946"/>
                      </a:cubicBezTo>
                      <a:cubicBezTo>
                        <a:pt x="36714" y="101785"/>
                        <a:pt x="31494" y="102909"/>
                        <a:pt x="24341" y="104138"/>
                      </a:cubicBezTo>
                      <a:cubicBezTo>
                        <a:pt x="22798" y="99375"/>
                        <a:pt x="29847" y="97556"/>
                        <a:pt x="28666" y="93670"/>
                      </a:cubicBezTo>
                      <a:cubicBezTo>
                        <a:pt x="27685" y="90460"/>
                        <a:pt x="19312" y="92241"/>
                        <a:pt x="15607" y="90945"/>
                      </a:cubicBezTo>
                      <a:cubicBezTo>
                        <a:pt x="10577" y="89183"/>
                        <a:pt x="7167" y="87136"/>
                        <a:pt x="6720" y="82202"/>
                      </a:cubicBezTo>
                      <a:cubicBezTo>
                        <a:pt x="6377" y="78334"/>
                        <a:pt x="10863" y="75610"/>
                        <a:pt x="9920" y="72448"/>
                      </a:cubicBezTo>
                      <a:cubicBezTo>
                        <a:pt x="8815" y="68762"/>
                        <a:pt x="3929" y="69048"/>
                        <a:pt x="1710" y="65752"/>
                      </a:cubicBezTo>
                      <a:cubicBezTo>
                        <a:pt x="-2462" y="59542"/>
                        <a:pt x="1700" y="62009"/>
                        <a:pt x="6701" y="59780"/>
                      </a:cubicBezTo>
                      <a:cubicBezTo>
                        <a:pt x="21960" y="52988"/>
                        <a:pt x="1681" y="48674"/>
                        <a:pt x="2615" y="41035"/>
                      </a:cubicBezTo>
                      <a:cubicBezTo>
                        <a:pt x="3253" y="35777"/>
                        <a:pt x="10235" y="37596"/>
                        <a:pt x="13235" y="37263"/>
                      </a:cubicBezTo>
                      <a:cubicBezTo>
                        <a:pt x="16236" y="36929"/>
                        <a:pt x="19522" y="34634"/>
                        <a:pt x="22293" y="34519"/>
                      </a:cubicBezTo>
                      <a:cubicBezTo>
                        <a:pt x="24713" y="34424"/>
                        <a:pt x="27161" y="36529"/>
                        <a:pt x="29456" y="36110"/>
                      </a:cubicBezTo>
                      <a:cubicBezTo>
                        <a:pt x="31666" y="35701"/>
                        <a:pt x="33666" y="33710"/>
                        <a:pt x="34866" y="32195"/>
                      </a:cubicBezTo>
                      <a:cubicBezTo>
                        <a:pt x="37152" y="29309"/>
                        <a:pt x="35704" y="26795"/>
                        <a:pt x="36495" y="25537"/>
                      </a:cubicBezTo>
                      <a:cubicBezTo>
                        <a:pt x="36714" y="25185"/>
                        <a:pt x="42201" y="20546"/>
                        <a:pt x="42839" y="20470"/>
                      </a:cubicBezTo>
                      <a:cubicBezTo>
                        <a:pt x="46601" y="20041"/>
                        <a:pt x="43706" y="20289"/>
                        <a:pt x="45801" y="22080"/>
                      </a:cubicBezTo>
                      <a:cubicBezTo>
                        <a:pt x="46392" y="22585"/>
                        <a:pt x="47296" y="26747"/>
                        <a:pt x="48668" y="28090"/>
                      </a:cubicBezTo>
                      <a:cubicBezTo>
                        <a:pt x="51002" y="30395"/>
                        <a:pt x="54536" y="30081"/>
                        <a:pt x="56555" y="31910"/>
                      </a:cubicBezTo>
                      <a:cubicBezTo>
                        <a:pt x="56412" y="31786"/>
                        <a:pt x="56879" y="35901"/>
                        <a:pt x="58707" y="37263"/>
                      </a:cubicBezTo>
                      <a:cubicBezTo>
                        <a:pt x="60413" y="38520"/>
                        <a:pt x="60641" y="40082"/>
                        <a:pt x="62746" y="37748"/>
                      </a:cubicBezTo>
                      <a:cubicBezTo>
                        <a:pt x="63003" y="37463"/>
                        <a:pt x="61022" y="34338"/>
                        <a:pt x="61394" y="33338"/>
                      </a:cubicBezTo>
                      <a:cubicBezTo>
                        <a:pt x="62375" y="30690"/>
                        <a:pt x="65175" y="29357"/>
                        <a:pt x="66337" y="26918"/>
                      </a:cubicBezTo>
                      <a:cubicBezTo>
                        <a:pt x="69109" y="21061"/>
                        <a:pt x="65823" y="16898"/>
                        <a:pt x="72261" y="20260"/>
                      </a:cubicBezTo>
                      <a:cubicBezTo>
                        <a:pt x="74890" y="21632"/>
                        <a:pt x="73624" y="24013"/>
                        <a:pt x="77424" y="24499"/>
                      </a:cubicBezTo>
                      <a:cubicBezTo>
                        <a:pt x="79996" y="24823"/>
                        <a:pt x="82472" y="21689"/>
                        <a:pt x="85282" y="22327"/>
                      </a:cubicBezTo>
                      <a:cubicBezTo>
                        <a:pt x="87406" y="22813"/>
                        <a:pt x="87682" y="27471"/>
                        <a:pt x="90311" y="26461"/>
                      </a:cubicBezTo>
                      <a:cubicBezTo>
                        <a:pt x="92464" y="25623"/>
                        <a:pt x="89864" y="23166"/>
                        <a:pt x="89759" y="21442"/>
                      </a:cubicBezTo>
                      <a:cubicBezTo>
                        <a:pt x="89616" y="19203"/>
                        <a:pt x="86978" y="19184"/>
                        <a:pt x="88683" y="16174"/>
                      </a:cubicBezTo>
                      <a:cubicBezTo>
                        <a:pt x="90768" y="12488"/>
                        <a:pt x="91731" y="16384"/>
                        <a:pt x="94102" y="16022"/>
                      </a:cubicBezTo>
                      <a:cubicBezTo>
                        <a:pt x="101551" y="14888"/>
                        <a:pt x="95788" y="14107"/>
                        <a:pt x="98274" y="6564"/>
                      </a:cubicBezTo>
                      <a:cubicBezTo>
                        <a:pt x="102722" y="6564"/>
                        <a:pt x="106894" y="10335"/>
                        <a:pt x="111076" y="9564"/>
                      </a:cubicBezTo>
                      <a:cubicBezTo>
                        <a:pt x="115362" y="8773"/>
                        <a:pt x="116334" y="4192"/>
                        <a:pt x="121515" y="2954"/>
                      </a:cubicBezTo>
                      <a:cubicBezTo>
                        <a:pt x="126135" y="1849"/>
                        <a:pt x="130974" y="2715"/>
                        <a:pt x="135584" y="1896"/>
                      </a:cubicBezTo>
                      <a:cubicBezTo>
                        <a:pt x="138289" y="1430"/>
                        <a:pt x="146966" y="-2638"/>
                        <a:pt x="142470" y="2811"/>
                      </a:cubicBezTo>
                      <a:lnTo>
                        <a:pt x="142470" y="2811"/>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29" name="Freeform: Shape 628">
                  <a:extLst>
                    <a:ext uri="{FF2B5EF4-FFF2-40B4-BE49-F238E27FC236}">
                      <a16:creationId xmlns:a16="http://schemas.microsoft.com/office/drawing/2014/main" id="{07A1FE41-EC47-40BF-A03F-372B5D184358}"/>
                    </a:ext>
                  </a:extLst>
                </p:cNvPr>
                <p:cNvSpPr/>
                <p:nvPr/>
              </p:nvSpPr>
              <p:spPr>
                <a:xfrm>
                  <a:off x="6595762" y="3311811"/>
                  <a:ext cx="37082" cy="124548"/>
                </a:xfrm>
                <a:custGeom>
                  <a:avLst/>
                  <a:gdLst>
                    <a:gd name="connsiteX0" fmla="*/ 35609 w 37082"/>
                    <a:gd name="connsiteY0" fmla="*/ 21927 h 124548"/>
                    <a:gd name="connsiteX1" fmla="*/ 30551 w 37082"/>
                    <a:gd name="connsiteY1" fmla="*/ 32623 h 124548"/>
                    <a:gd name="connsiteX2" fmla="*/ 21922 w 37082"/>
                    <a:gd name="connsiteY2" fmla="*/ 28756 h 124548"/>
                    <a:gd name="connsiteX3" fmla="*/ 14949 w 37082"/>
                    <a:gd name="connsiteY3" fmla="*/ 37205 h 124548"/>
                    <a:gd name="connsiteX4" fmla="*/ 16616 w 37082"/>
                    <a:gd name="connsiteY4" fmla="*/ 49282 h 124548"/>
                    <a:gd name="connsiteX5" fmla="*/ 23779 w 37082"/>
                    <a:gd name="connsiteY5" fmla="*/ 52959 h 124548"/>
                    <a:gd name="connsiteX6" fmla="*/ 16264 w 37082"/>
                    <a:gd name="connsiteY6" fmla="*/ 64979 h 124548"/>
                    <a:gd name="connsiteX7" fmla="*/ 32351 w 37082"/>
                    <a:gd name="connsiteY7" fmla="*/ 61484 h 124548"/>
                    <a:gd name="connsiteX8" fmla="*/ 32885 w 37082"/>
                    <a:gd name="connsiteY8" fmla="*/ 77143 h 124548"/>
                    <a:gd name="connsiteX9" fmla="*/ 28913 w 37082"/>
                    <a:gd name="connsiteY9" fmla="*/ 92392 h 124548"/>
                    <a:gd name="connsiteX10" fmla="*/ 26160 w 37082"/>
                    <a:gd name="connsiteY10" fmla="*/ 124549 h 124548"/>
                    <a:gd name="connsiteX11" fmla="*/ 9586 w 37082"/>
                    <a:gd name="connsiteY11" fmla="*/ 91402 h 124548"/>
                    <a:gd name="connsiteX12" fmla="*/ 767 w 37082"/>
                    <a:gd name="connsiteY12" fmla="*/ 74381 h 124548"/>
                    <a:gd name="connsiteX13" fmla="*/ 5148 w 37082"/>
                    <a:gd name="connsiteY13" fmla="*/ 60046 h 124548"/>
                    <a:gd name="connsiteX14" fmla="*/ 4672 w 37082"/>
                    <a:gd name="connsiteY14" fmla="*/ 55474 h 124548"/>
                    <a:gd name="connsiteX15" fmla="*/ 8291 w 37082"/>
                    <a:gd name="connsiteY15" fmla="*/ 45939 h 124548"/>
                    <a:gd name="connsiteX16" fmla="*/ 11148 w 37082"/>
                    <a:gd name="connsiteY16" fmla="*/ 25775 h 124548"/>
                    <a:gd name="connsiteX17" fmla="*/ 13463 w 37082"/>
                    <a:gd name="connsiteY17" fmla="*/ 15792 h 124548"/>
                    <a:gd name="connsiteX18" fmla="*/ 17378 w 37082"/>
                    <a:gd name="connsiteY18" fmla="*/ 10716 h 124548"/>
                    <a:gd name="connsiteX19" fmla="*/ 25103 w 37082"/>
                    <a:gd name="connsiteY19" fmla="*/ 9306 h 124548"/>
                    <a:gd name="connsiteX20" fmla="*/ 27579 w 37082"/>
                    <a:gd name="connsiteY20" fmla="*/ 6020 h 124548"/>
                    <a:gd name="connsiteX21" fmla="*/ 34237 w 37082"/>
                    <a:gd name="connsiteY21" fmla="*/ 0 h 124548"/>
                    <a:gd name="connsiteX22" fmla="*/ 36495 w 37082"/>
                    <a:gd name="connsiteY22" fmla="*/ 10068 h 124548"/>
                    <a:gd name="connsiteX23" fmla="*/ 35609 w 37082"/>
                    <a:gd name="connsiteY23" fmla="*/ 21927 h 124548"/>
                    <a:gd name="connsiteX24" fmla="*/ 35609 w 37082"/>
                    <a:gd name="connsiteY24" fmla="*/ 21927 h 12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082" h="124548">
                      <a:moveTo>
                        <a:pt x="35609" y="21927"/>
                      </a:moveTo>
                      <a:cubicBezTo>
                        <a:pt x="28418" y="22279"/>
                        <a:pt x="30046" y="27222"/>
                        <a:pt x="30551" y="32623"/>
                      </a:cubicBezTo>
                      <a:cubicBezTo>
                        <a:pt x="26684" y="32642"/>
                        <a:pt x="25646" y="29137"/>
                        <a:pt x="21922" y="28756"/>
                      </a:cubicBezTo>
                      <a:cubicBezTo>
                        <a:pt x="16245" y="28165"/>
                        <a:pt x="15130" y="32147"/>
                        <a:pt x="14949" y="37205"/>
                      </a:cubicBezTo>
                      <a:cubicBezTo>
                        <a:pt x="14844" y="39891"/>
                        <a:pt x="14949" y="47054"/>
                        <a:pt x="16616" y="49282"/>
                      </a:cubicBezTo>
                      <a:cubicBezTo>
                        <a:pt x="17607" y="50606"/>
                        <a:pt x="21626" y="49901"/>
                        <a:pt x="23779" y="52959"/>
                      </a:cubicBezTo>
                      <a:cubicBezTo>
                        <a:pt x="20502" y="54007"/>
                        <a:pt x="12720" y="60884"/>
                        <a:pt x="16264" y="64979"/>
                      </a:cubicBezTo>
                      <a:cubicBezTo>
                        <a:pt x="19235" y="68418"/>
                        <a:pt x="29237" y="61893"/>
                        <a:pt x="32351" y="61484"/>
                      </a:cubicBezTo>
                      <a:cubicBezTo>
                        <a:pt x="32475" y="67066"/>
                        <a:pt x="33637" y="71847"/>
                        <a:pt x="32885" y="77143"/>
                      </a:cubicBezTo>
                      <a:cubicBezTo>
                        <a:pt x="32151" y="82286"/>
                        <a:pt x="29399" y="87144"/>
                        <a:pt x="28913" y="92392"/>
                      </a:cubicBezTo>
                      <a:cubicBezTo>
                        <a:pt x="28094" y="101260"/>
                        <a:pt x="32190" y="117005"/>
                        <a:pt x="26160" y="124549"/>
                      </a:cubicBezTo>
                      <a:cubicBezTo>
                        <a:pt x="20350" y="113738"/>
                        <a:pt x="15083" y="102308"/>
                        <a:pt x="9586" y="91402"/>
                      </a:cubicBezTo>
                      <a:cubicBezTo>
                        <a:pt x="6881" y="86049"/>
                        <a:pt x="2509" y="80096"/>
                        <a:pt x="767" y="74381"/>
                      </a:cubicBezTo>
                      <a:cubicBezTo>
                        <a:pt x="-1596" y="66589"/>
                        <a:pt x="1966" y="67351"/>
                        <a:pt x="5148" y="60046"/>
                      </a:cubicBezTo>
                      <a:cubicBezTo>
                        <a:pt x="5081" y="60198"/>
                        <a:pt x="4376" y="56702"/>
                        <a:pt x="4672" y="55474"/>
                      </a:cubicBezTo>
                      <a:cubicBezTo>
                        <a:pt x="5462" y="52235"/>
                        <a:pt x="7367" y="49187"/>
                        <a:pt x="8291" y="45939"/>
                      </a:cubicBezTo>
                      <a:cubicBezTo>
                        <a:pt x="10187" y="39300"/>
                        <a:pt x="10149" y="32547"/>
                        <a:pt x="11148" y="25775"/>
                      </a:cubicBezTo>
                      <a:cubicBezTo>
                        <a:pt x="11634" y="22450"/>
                        <a:pt x="12358" y="18983"/>
                        <a:pt x="13463" y="15792"/>
                      </a:cubicBezTo>
                      <a:cubicBezTo>
                        <a:pt x="14959" y="11468"/>
                        <a:pt x="13197" y="12354"/>
                        <a:pt x="17378" y="10716"/>
                      </a:cubicBezTo>
                      <a:cubicBezTo>
                        <a:pt x="20350" y="9553"/>
                        <a:pt x="22159" y="11078"/>
                        <a:pt x="25103" y="9306"/>
                      </a:cubicBezTo>
                      <a:cubicBezTo>
                        <a:pt x="27265" y="8001"/>
                        <a:pt x="23865" y="3886"/>
                        <a:pt x="27579" y="6020"/>
                      </a:cubicBezTo>
                      <a:cubicBezTo>
                        <a:pt x="29475" y="3839"/>
                        <a:pt x="32151" y="2191"/>
                        <a:pt x="34237" y="0"/>
                      </a:cubicBezTo>
                      <a:cubicBezTo>
                        <a:pt x="33085" y="3753"/>
                        <a:pt x="35647" y="7096"/>
                        <a:pt x="36495" y="10068"/>
                      </a:cubicBezTo>
                      <a:cubicBezTo>
                        <a:pt x="37781" y="14573"/>
                        <a:pt x="36714" y="17040"/>
                        <a:pt x="35609" y="21927"/>
                      </a:cubicBezTo>
                      <a:lnTo>
                        <a:pt x="35609" y="21927"/>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30" name="Freeform: Shape 629">
                  <a:extLst>
                    <a:ext uri="{FF2B5EF4-FFF2-40B4-BE49-F238E27FC236}">
                      <a16:creationId xmlns:a16="http://schemas.microsoft.com/office/drawing/2014/main" id="{1EF80915-CD25-4B23-90EB-F80B48F953E3}"/>
                    </a:ext>
                  </a:extLst>
                </p:cNvPr>
                <p:cNvSpPr/>
                <p:nvPr/>
              </p:nvSpPr>
              <p:spPr>
                <a:xfrm>
                  <a:off x="5048401" y="2268729"/>
                  <a:ext cx="242006" cy="98497"/>
                </a:xfrm>
                <a:custGeom>
                  <a:avLst/>
                  <a:gdLst>
                    <a:gd name="connsiteX0" fmla="*/ 201701 w 242006"/>
                    <a:gd name="connsiteY0" fmla="*/ 9963 h 98497"/>
                    <a:gd name="connsiteX1" fmla="*/ 223199 w 242006"/>
                    <a:gd name="connsiteY1" fmla="*/ 5143 h 98497"/>
                    <a:gd name="connsiteX2" fmla="*/ 215075 w 242006"/>
                    <a:gd name="connsiteY2" fmla="*/ 9077 h 98497"/>
                    <a:gd name="connsiteX3" fmla="*/ 214703 w 242006"/>
                    <a:gd name="connsiteY3" fmla="*/ 15783 h 98497"/>
                    <a:gd name="connsiteX4" fmla="*/ 219913 w 242006"/>
                    <a:gd name="connsiteY4" fmla="*/ 17250 h 98497"/>
                    <a:gd name="connsiteX5" fmla="*/ 215579 w 242006"/>
                    <a:gd name="connsiteY5" fmla="*/ 24070 h 98497"/>
                    <a:gd name="connsiteX6" fmla="*/ 225905 w 242006"/>
                    <a:gd name="connsiteY6" fmla="*/ 24403 h 98497"/>
                    <a:gd name="connsiteX7" fmla="*/ 222961 w 242006"/>
                    <a:gd name="connsiteY7" fmla="*/ 30547 h 98497"/>
                    <a:gd name="connsiteX8" fmla="*/ 233772 w 242006"/>
                    <a:gd name="connsiteY8" fmla="*/ 29042 h 98497"/>
                    <a:gd name="connsiteX9" fmla="*/ 239982 w 242006"/>
                    <a:gd name="connsiteY9" fmla="*/ 31318 h 98497"/>
                    <a:gd name="connsiteX10" fmla="*/ 237087 w 242006"/>
                    <a:gd name="connsiteY10" fmla="*/ 37490 h 98497"/>
                    <a:gd name="connsiteX11" fmla="*/ 237639 w 242006"/>
                    <a:gd name="connsiteY11" fmla="*/ 42596 h 98497"/>
                    <a:gd name="connsiteX12" fmla="*/ 234972 w 242006"/>
                    <a:gd name="connsiteY12" fmla="*/ 49435 h 98497"/>
                    <a:gd name="connsiteX13" fmla="*/ 230705 w 242006"/>
                    <a:gd name="connsiteY13" fmla="*/ 56140 h 98497"/>
                    <a:gd name="connsiteX14" fmla="*/ 221952 w 242006"/>
                    <a:gd name="connsiteY14" fmla="*/ 56693 h 98497"/>
                    <a:gd name="connsiteX15" fmla="*/ 219018 w 242006"/>
                    <a:gd name="connsiteY15" fmla="*/ 64608 h 98497"/>
                    <a:gd name="connsiteX16" fmla="*/ 208188 w 242006"/>
                    <a:gd name="connsiteY16" fmla="*/ 70104 h 98497"/>
                    <a:gd name="connsiteX17" fmla="*/ 177060 w 242006"/>
                    <a:gd name="connsiteY17" fmla="*/ 79295 h 98497"/>
                    <a:gd name="connsiteX18" fmla="*/ 145837 w 242006"/>
                    <a:gd name="connsiteY18" fmla="*/ 87963 h 98497"/>
                    <a:gd name="connsiteX19" fmla="*/ 129245 w 242006"/>
                    <a:gd name="connsiteY19" fmla="*/ 95145 h 98497"/>
                    <a:gd name="connsiteX20" fmla="*/ 129997 w 242006"/>
                    <a:gd name="connsiteY20" fmla="*/ 96764 h 98497"/>
                    <a:gd name="connsiteX21" fmla="*/ 98050 w 242006"/>
                    <a:gd name="connsiteY21" fmla="*/ 95688 h 98497"/>
                    <a:gd name="connsiteX22" fmla="*/ 84315 w 242006"/>
                    <a:gd name="connsiteY22" fmla="*/ 93497 h 98497"/>
                    <a:gd name="connsiteX23" fmla="*/ 82696 w 242006"/>
                    <a:gd name="connsiteY23" fmla="*/ 87582 h 98497"/>
                    <a:gd name="connsiteX24" fmla="*/ 75619 w 242006"/>
                    <a:gd name="connsiteY24" fmla="*/ 88220 h 98497"/>
                    <a:gd name="connsiteX25" fmla="*/ 65437 w 242006"/>
                    <a:gd name="connsiteY25" fmla="*/ 83105 h 98497"/>
                    <a:gd name="connsiteX26" fmla="*/ 66980 w 242006"/>
                    <a:gd name="connsiteY26" fmla="*/ 82239 h 98497"/>
                    <a:gd name="connsiteX27" fmla="*/ 59255 w 242006"/>
                    <a:gd name="connsiteY27" fmla="*/ 84391 h 98497"/>
                    <a:gd name="connsiteX28" fmla="*/ 44177 w 242006"/>
                    <a:gd name="connsiteY28" fmla="*/ 84944 h 98497"/>
                    <a:gd name="connsiteX29" fmla="*/ 30366 w 242006"/>
                    <a:gd name="connsiteY29" fmla="*/ 78867 h 98497"/>
                    <a:gd name="connsiteX30" fmla="*/ 34147 w 242006"/>
                    <a:gd name="connsiteY30" fmla="*/ 79848 h 98497"/>
                    <a:gd name="connsiteX31" fmla="*/ 45892 w 242006"/>
                    <a:gd name="connsiteY31" fmla="*/ 77914 h 98497"/>
                    <a:gd name="connsiteX32" fmla="*/ 60970 w 242006"/>
                    <a:gd name="connsiteY32" fmla="*/ 68227 h 98497"/>
                    <a:gd name="connsiteX33" fmla="*/ 47301 w 242006"/>
                    <a:gd name="connsiteY33" fmla="*/ 70275 h 98497"/>
                    <a:gd name="connsiteX34" fmla="*/ 51159 w 242006"/>
                    <a:gd name="connsiteY34" fmla="*/ 67837 h 98497"/>
                    <a:gd name="connsiteX35" fmla="*/ 59427 w 242006"/>
                    <a:gd name="connsiteY35" fmla="*/ 60436 h 98497"/>
                    <a:gd name="connsiteX36" fmla="*/ 47320 w 242006"/>
                    <a:gd name="connsiteY36" fmla="*/ 63379 h 98497"/>
                    <a:gd name="connsiteX37" fmla="*/ 45444 w 242006"/>
                    <a:gd name="connsiteY37" fmla="*/ 57683 h 98497"/>
                    <a:gd name="connsiteX38" fmla="*/ 16393 w 242006"/>
                    <a:gd name="connsiteY38" fmla="*/ 55216 h 98497"/>
                    <a:gd name="connsiteX39" fmla="*/ 6791 w 242006"/>
                    <a:gd name="connsiteY39" fmla="*/ 54454 h 98497"/>
                    <a:gd name="connsiteX40" fmla="*/ 13821 w 242006"/>
                    <a:gd name="connsiteY40" fmla="*/ 51416 h 98497"/>
                    <a:gd name="connsiteX41" fmla="*/ 34100 w 242006"/>
                    <a:gd name="connsiteY41" fmla="*/ 47625 h 98497"/>
                    <a:gd name="connsiteX42" fmla="*/ 58503 w 242006"/>
                    <a:gd name="connsiteY42" fmla="*/ 43196 h 98497"/>
                    <a:gd name="connsiteX43" fmla="*/ 41967 w 242006"/>
                    <a:gd name="connsiteY43" fmla="*/ 42462 h 98497"/>
                    <a:gd name="connsiteX44" fmla="*/ 58188 w 242006"/>
                    <a:gd name="connsiteY44" fmla="*/ 34576 h 98497"/>
                    <a:gd name="connsiteX45" fmla="*/ 50225 w 242006"/>
                    <a:gd name="connsiteY45" fmla="*/ 33385 h 98497"/>
                    <a:gd name="connsiteX46" fmla="*/ 43787 w 242006"/>
                    <a:gd name="connsiteY46" fmla="*/ 31280 h 98497"/>
                    <a:gd name="connsiteX47" fmla="*/ 30604 w 242006"/>
                    <a:gd name="connsiteY47" fmla="*/ 31699 h 98497"/>
                    <a:gd name="connsiteX48" fmla="*/ 0 w 242006"/>
                    <a:gd name="connsiteY48" fmla="*/ 32109 h 98497"/>
                    <a:gd name="connsiteX49" fmla="*/ 13868 w 242006"/>
                    <a:gd name="connsiteY49" fmla="*/ 31699 h 98497"/>
                    <a:gd name="connsiteX50" fmla="*/ 10735 w 242006"/>
                    <a:gd name="connsiteY50" fmla="*/ 24108 h 98497"/>
                    <a:gd name="connsiteX51" fmla="*/ 19126 w 242006"/>
                    <a:gd name="connsiteY51" fmla="*/ 26822 h 98497"/>
                    <a:gd name="connsiteX52" fmla="*/ 27823 w 242006"/>
                    <a:gd name="connsiteY52" fmla="*/ 25032 h 98497"/>
                    <a:gd name="connsiteX53" fmla="*/ 17669 w 242006"/>
                    <a:gd name="connsiteY53" fmla="*/ 23450 h 98497"/>
                    <a:gd name="connsiteX54" fmla="*/ 23270 w 242006"/>
                    <a:gd name="connsiteY54" fmla="*/ 20936 h 98497"/>
                    <a:gd name="connsiteX55" fmla="*/ 26127 w 242006"/>
                    <a:gd name="connsiteY55" fmla="*/ 16392 h 98497"/>
                    <a:gd name="connsiteX56" fmla="*/ 22993 w 242006"/>
                    <a:gd name="connsiteY56" fmla="*/ 13725 h 98497"/>
                    <a:gd name="connsiteX57" fmla="*/ 35090 w 242006"/>
                    <a:gd name="connsiteY57" fmla="*/ 17716 h 98497"/>
                    <a:gd name="connsiteX58" fmla="*/ 43367 w 242006"/>
                    <a:gd name="connsiteY58" fmla="*/ 21326 h 98497"/>
                    <a:gd name="connsiteX59" fmla="*/ 48396 w 242006"/>
                    <a:gd name="connsiteY59" fmla="*/ 15145 h 98497"/>
                    <a:gd name="connsiteX60" fmla="*/ 37995 w 242006"/>
                    <a:gd name="connsiteY60" fmla="*/ 10458 h 98497"/>
                    <a:gd name="connsiteX61" fmla="*/ 48539 w 242006"/>
                    <a:gd name="connsiteY61" fmla="*/ 8772 h 98497"/>
                    <a:gd name="connsiteX62" fmla="*/ 34985 w 242006"/>
                    <a:gd name="connsiteY62" fmla="*/ 6496 h 98497"/>
                    <a:gd name="connsiteX63" fmla="*/ 71181 w 242006"/>
                    <a:gd name="connsiteY63" fmla="*/ 16869 h 98497"/>
                    <a:gd name="connsiteX64" fmla="*/ 68304 w 242006"/>
                    <a:gd name="connsiteY64" fmla="*/ 18183 h 98497"/>
                    <a:gd name="connsiteX65" fmla="*/ 63837 w 242006"/>
                    <a:gd name="connsiteY65" fmla="*/ 25870 h 98497"/>
                    <a:gd name="connsiteX66" fmla="*/ 67609 w 242006"/>
                    <a:gd name="connsiteY66" fmla="*/ 30242 h 98497"/>
                    <a:gd name="connsiteX67" fmla="*/ 67523 w 242006"/>
                    <a:gd name="connsiteY67" fmla="*/ 33718 h 98497"/>
                    <a:gd name="connsiteX68" fmla="*/ 73171 w 242006"/>
                    <a:gd name="connsiteY68" fmla="*/ 40262 h 98497"/>
                    <a:gd name="connsiteX69" fmla="*/ 84611 w 242006"/>
                    <a:gd name="connsiteY69" fmla="*/ 27841 h 98497"/>
                    <a:gd name="connsiteX70" fmla="*/ 90421 w 242006"/>
                    <a:gd name="connsiteY70" fmla="*/ 29861 h 98497"/>
                    <a:gd name="connsiteX71" fmla="*/ 93945 w 242006"/>
                    <a:gd name="connsiteY71" fmla="*/ 17450 h 98497"/>
                    <a:gd name="connsiteX72" fmla="*/ 110014 w 242006"/>
                    <a:gd name="connsiteY72" fmla="*/ 24108 h 98497"/>
                    <a:gd name="connsiteX73" fmla="*/ 113900 w 242006"/>
                    <a:gd name="connsiteY73" fmla="*/ 20307 h 98497"/>
                    <a:gd name="connsiteX74" fmla="*/ 120387 w 242006"/>
                    <a:gd name="connsiteY74" fmla="*/ 14068 h 98497"/>
                    <a:gd name="connsiteX75" fmla="*/ 137084 w 242006"/>
                    <a:gd name="connsiteY75" fmla="*/ 18917 h 98497"/>
                    <a:gd name="connsiteX76" fmla="*/ 142647 w 242006"/>
                    <a:gd name="connsiteY76" fmla="*/ 25003 h 98497"/>
                    <a:gd name="connsiteX77" fmla="*/ 139837 w 242006"/>
                    <a:gd name="connsiteY77" fmla="*/ 14221 h 98497"/>
                    <a:gd name="connsiteX78" fmla="*/ 156210 w 242006"/>
                    <a:gd name="connsiteY78" fmla="*/ 18269 h 98497"/>
                    <a:gd name="connsiteX79" fmla="*/ 162249 w 242006"/>
                    <a:gd name="connsiteY79" fmla="*/ 13792 h 98497"/>
                    <a:gd name="connsiteX80" fmla="*/ 170383 w 242006"/>
                    <a:gd name="connsiteY80" fmla="*/ 12268 h 98497"/>
                    <a:gd name="connsiteX81" fmla="*/ 181432 w 242006"/>
                    <a:gd name="connsiteY81" fmla="*/ 10096 h 98497"/>
                    <a:gd name="connsiteX82" fmla="*/ 184556 w 242006"/>
                    <a:gd name="connsiteY82" fmla="*/ 1352 h 98497"/>
                    <a:gd name="connsiteX83" fmla="*/ 201701 w 242006"/>
                    <a:gd name="connsiteY83" fmla="*/ 9963 h 98497"/>
                    <a:gd name="connsiteX84" fmla="*/ 201701 w 242006"/>
                    <a:gd name="connsiteY84" fmla="*/ 9963 h 98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42006" h="98497">
                      <a:moveTo>
                        <a:pt x="201701" y="9963"/>
                      </a:moveTo>
                      <a:cubicBezTo>
                        <a:pt x="209140" y="10573"/>
                        <a:pt x="215598" y="5448"/>
                        <a:pt x="223199" y="5143"/>
                      </a:cubicBezTo>
                      <a:cubicBezTo>
                        <a:pt x="220609" y="6429"/>
                        <a:pt x="217599" y="7220"/>
                        <a:pt x="215075" y="9077"/>
                      </a:cubicBezTo>
                      <a:cubicBezTo>
                        <a:pt x="210121" y="12716"/>
                        <a:pt x="210464" y="13163"/>
                        <a:pt x="214703" y="15783"/>
                      </a:cubicBezTo>
                      <a:cubicBezTo>
                        <a:pt x="216675" y="17002"/>
                        <a:pt x="218704" y="13887"/>
                        <a:pt x="219913" y="17250"/>
                      </a:cubicBezTo>
                      <a:cubicBezTo>
                        <a:pt x="220847" y="19850"/>
                        <a:pt x="217504" y="22927"/>
                        <a:pt x="215579" y="24070"/>
                      </a:cubicBezTo>
                      <a:cubicBezTo>
                        <a:pt x="218208" y="25470"/>
                        <a:pt x="224037" y="22279"/>
                        <a:pt x="225905" y="24403"/>
                      </a:cubicBezTo>
                      <a:cubicBezTo>
                        <a:pt x="227895" y="26660"/>
                        <a:pt x="225314" y="29699"/>
                        <a:pt x="222961" y="30547"/>
                      </a:cubicBezTo>
                      <a:cubicBezTo>
                        <a:pt x="226504" y="28689"/>
                        <a:pt x="229896" y="28127"/>
                        <a:pt x="233772" y="29042"/>
                      </a:cubicBezTo>
                      <a:cubicBezTo>
                        <a:pt x="234553" y="29232"/>
                        <a:pt x="240144" y="31537"/>
                        <a:pt x="239982" y="31318"/>
                      </a:cubicBezTo>
                      <a:cubicBezTo>
                        <a:pt x="241764" y="33709"/>
                        <a:pt x="241535" y="36395"/>
                        <a:pt x="237087" y="37490"/>
                      </a:cubicBezTo>
                      <a:cubicBezTo>
                        <a:pt x="240116" y="39090"/>
                        <a:pt x="241630" y="40843"/>
                        <a:pt x="237639" y="42596"/>
                      </a:cubicBezTo>
                      <a:cubicBezTo>
                        <a:pt x="248631" y="43824"/>
                        <a:pt x="235468" y="49006"/>
                        <a:pt x="234972" y="49435"/>
                      </a:cubicBezTo>
                      <a:cubicBezTo>
                        <a:pt x="233620" y="50606"/>
                        <a:pt x="233753" y="54378"/>
                        <a:pt x="230705" y="56140"/>
                      </a:cubicBezTo>
                      <a:cubicBezTo>
                        <a:pt x="227876" y="57769"/>
                        <a:pt x="225019" y="58055"/>
                        <a:pt x="221952" y="56693"/>
                      </a:cubicBezTo>
                      <a:cubicBezTo>
                        <a:pt x="220133" y="59474"/>
                        <a:pt x="221332" y="62093"/>
                        <a:pt x="219018" y="64608"/>
                      </a:cubicBezTo>
                      <a:cubicBezTo>
                        <a:pt x="216827" y="66999"/>
                        <a:pt x="211207" y="69275"/>
                        <a:pt x="208188" y="70104"/>
                      </a:cubicBezTo>
                      <a:cubicBezTo>
                        <a:pt x="197396" y="73047"/>
                        <a:pt x="187338" y="73571"/>
                        <a:pt x="177060" y="79295"/>
                      </a:cubicBezTo>
                      <a:cubicBezTo>
                        <a:pt x="166611" y="85115"/>
                        <a:pt x="157344" y="85144"/>
                        <a:pt x="145837" y="87963"/>
                      </a:cubicBezTo>
                      <a:cubicBezTo>
                        <a:pt x="138932" y="89659"/>
                        <a:pt x="136112" y="98174"/>
                        <a:pt x="129245" y="95145"/>
                      </a:cubicBezTo>
                      <a:cubicBezTo>
                        <a:pt x="129407" y="95736"/>
                        <a:pt x="129750" y="96126"/>
                        <a:pt x="129997" y="96764"/>
                      </a:cubicBezTo>
                      <a:cubicBezTo>
                        <a:pt x="119139" y="100031"/>
                        <a:pt x="108823" y="98107"/>
                        <a:pt x="98050" y="95688"/>
                      </a:cubicBezTo>
                      <a:cubicBezTo>
                        <a:pt x="93793" y="94726"/>
                        <a:pt x="88125" y="95088"/>
                        <a:pt x="84315" y="93497"/>
                      </a:cubicBezTo>
                      <a:cubicBezTo>
                        <a:pt x="80610" y="91954"/>
                        <a:pt x="76943" y="88268"/>
                        <a:pt x="82696" y="87582"/>
                      </a:cubicBezTo>
                      <a:cubicBezTo>
                        <a:pt x="80639" y="85458"/>
                        <a:pt x="78486" y="88287"/>
                        <a:pt x="75619" y="88220"/>
                      </a:cubicBezTo>
                      <a:cubicBezTo>
                        <a:pt x="73895" y="88182"/>
                        <a:pt x="67361" y="84963"/>
                        <a:pt x="65437" y="83105"/>
                      </a:cubicBezTo>
                      <a:cubicBezTo>
                        <a:pt x="65951" y="82820"/>
                        <a:pt x="66465" y="82524"/>
                        <a:pt x="66980" y="82239"/>
                      </a:cubicBezTo>
                      <a:cubicBezTo>
                        <a:pt x="63760" y="81410"/>
                        <a:pt x="62236" y="83696"/>
                        <a:pt x="59255" y="84391"/>
                      </a:cubicBezTo>
                      <a:cubicBezTo>
                        <a:pt x="54540" y="85487"/>
                        <a:pt x="49025" y="84830"/>
                        <a:pt x="44177" y="84944"/>
                      </a:cubicBezTo>
                      <a:cubicBezTo>
                        <a:pt x="41624" y="85001"/>
                        <a:pt x="23279" y="87011"/>
                        <a:pt x="30366" y="78867"/>
                      </a:cubicBezTo>
                      <a:cubicBezTo>
                        <a:pt x="32976" y="75866"/>
                        <a:pt x="32338" y="79991"/>
                        <a:pt x="34147" y="79848"/>
                      </a:cubicBezTo>
                      <a:cubicBezTo>
                        <a:pt x="37748" y="79572"/>
                        <a:pt x="42148" y="79676"/>
                        <a:pt x="45892" y="77914"/>
                      </a:cubicBezTo>
                      <a:cubicBezTo>
                        <a:pt x="51664" y="75190"/>
                        <a:pt x="53873" y="68085"/>
                        <a:pt x="60970" y="68227"/>
                      </a:cubicBezTo>
                      <a:cubicBezTo>
                        <a:pt x="56188" y="66303"/>
                        <a:pt x="52092" y="70371"/>
                        <a:pt x="47301" y="70275"/>
                      </a:cubicBezTo>
                      <a:cubicBezTo>
                        <a:pt x="48520" y="69637"/>
                        <a:pt x="49654" y="68427"/>
                        <a:pt x="51159" y="67837"/>
                      </a:cubicBezTo>
                      <a:cubicBezTo>
                        <a:pt x="44415" y="65903"/>
                        <a:pt x="57179" y="61255"/>
                        <a:pt x="59427" y="60436"/>
                      </a:cubicBezTo>
                      <a:cubicBezTo>
                        <a:pt x="55226" y="59045"/>
                        <a:pt x="51711" y="64132"/>
                        <a:pt x="47320" y="63379"/>
                      </a:cubicBezTo>
                      <a:cubicBezTo>
                        <a:pt x="43787" y="62770"/>
                        <a:pt x="41110" y="60141"/>
                        <a:pt x="45444" y="57683"/>
                      </a:cubicBezTo>
                      <a:cubicBezTo>
                        <a:pt x="38310" y="53321"/>
                        <a:pt x="24641" y="53616"/>
                        <a:pt x="16393" y="55216"/>
                      </a:cubicBezTo>
                      <a:cubicBezTo>
                        <a:pt x="13640" y="55750"/>
                        <a:pt x="8239" y="58798"/>
                        <a:pt x="6791" y="54454"/>
                      </a:cubicBezTo>
                      <a:cubicBezTo>
                        <a:pt x="5267" y="49892"/>
                        <a:pt x="10935" y="51768"/>
                        <a:pt x="13821" y="51416"/>
                      </a:cubicBezTo>
                      <a:cubicBezTo>
                        <a:pt x="21412" y="50482"/>
                        <a:pt x="27299" y="48768"/>
                        <a:pt x="34100" y="47625"/>
                      </a:cubicBezTo>
                      <a:cubicBezTo>
                        <a:pt x="40377" y="46577"/>
                        <a:pt x="55674" y="50997"/>
                        <a:pt x="58503" y="43196"/>
                      </a:cubicBezTo>
                      <a:cubicBezTo>
                        <a:pt x="52711" y="43015"/>
                        <a:pt x="48368" y="45825"/>
                        <a:pt x="41967" y="42462"/>
                      </a:cubicBezTo>
                      <a:cubicBezTo>
                        <a:pt x="46463" y="38567"/>
                        <a:pt x="54550" y="38567"/>
                        <a:pt x="58188" y="34576"/>
                      </a:cubicBezTo>
                      <a:cubicBezTo>
                        <a:pt x="55207" y="32718"/>
                        <a:pt x="53416" y="33985"/>
                        <a:pt x="50225" y="33385"/>
                      </a:cubicBezTo>
                      <a:cubicBezTo>
                        <a:pt x="47644" y="32899"/>
                        <a:pt x="46577" y="31670"/>
                        <a:pt x="43787" y="31280"/>
                      </a:cubicBezTo>
                      <a:cubicBezTo>
                        <a:pt x="38853" y="30604"/>
                        <a:pt x="35338" y="31137"/>
                        <a:pt x="30604" y="31699"/>
                      </a:cubicBezTo>
                      <a:cubicBezTo>
                        <a:pt x="19945" y="32947"/>
                        <a:pt x="9658" y="38005"/>
                        <a:pt x="0" y="32109"/>
                      </a:cubicBezTo>
                      <a:cubicBezTo>
                        <a:pt x="4915" y="27213"/>
                        <a:pt x="8372" y="30870"/>
                        <a:pt x="13868" y="31699"/>
                      </a:cubicBezTo>
                      <a:cubicBezTo>
                        <a:pt x="11840" y="30461"/>
                        <a:pt x="8811" y="25203"/>
                        <a:pt x="10735" y="24108"/>
                      </a:cubicBezTo>
                      <a:cubicBezTo>
                        <a:pt x="13097" y="22755"/>
                        <a:pt x="16974" y="26603"/>
                        <a:pt x="19126" y="26822"/>
                      </a:cubicBezTo>
                      <a:cubicBezTo>
                        <a:pt x="22298" y="27156"/>
                        <a:pt x="24755" y="26213"/>
                        <a:pt x="27823" y="25032"/>
                      </a:cubicBezTo>
                      <a:cubicBezTo>
                        <a:pt x="25327" y="24565"/>
                        <a:pt x="19698" y="25517"/>
                        <a:pt x="17669" y="23450"/>
                      </a:cubicBezTo>
                      <a:cubicBezTo>
                        <a:pt x="14411" y="20145"/>
                        <a:pt x="20984" y="20583"/>
                        <a:pt x="23270" y="20936"/>
                      </a:cubicBezTo>
                      <a:cubicBezTo>
                        <a:pt x="15707" y="15392"/>
                        <a:pt x="19298" y="15630"/>
                        <a:pt x="26127" y="16392"/>
                      </a:cubicBezTo>
                      <a:cubicBezTo>
                        <a:pt x="24975" y="15888"/>
                        <a:pt x="23756" y="14268"/>
                        <a:pt x="22993" y="13725"/>
                      </a:cubicBezTo>
                      <a:cubicBezTo>
                        <a:pt x="26384" y="10249"/>
                        <a:pt x="36490" y="11563"/>
                        <a:pt x="35090" y="17716"/>
                      </a:cubicBezTo>
                      <a:cubicBezTo>
                        <a:pt x="38405" y="18116"/>
                        <a:pt x="47397" y="13849"/>
                        <a:pt x="43367" y="21326"/>
                      </a:cubicBezTo>
                      <a:cubicBezTo>
                        <a:pt x="45930" y="20907"/>
                        <a:pt x="50054" y="18659"/>
                        <a:pt x="48396" y="15145"/>
                      </a:cubicBezTo>
                      <a:cubicBezTo>
                        <a:pt x="47568" y="13382"/>
                        <a:pt x="40234" y="12268"/>
                        <a:pt x="37995" y="10458"/>
                      </a:cubicBezTo>
                      <a:cubicBezTo>
                        <a:pt x="40853" y="8306"/>
                        <a:pt x="45101" y="9115"/>
                        <a:pt x="48539" y="8772"/>
                      </a:cubicBezTo>
                      <a:cubicBezTo>
                        <a:pt x="43815" y="6363"/>
                        <a:pt x="40519" y="7544"/>
                        <a:pt x="34985" y="6496"/>
                      </a:cubicBezTo>
                      <a:cubicBezTo>
                        <a:pt x="44148" y="-5306"/>
                        <a:pt x="63122" y="12154"/>
                        <a:pt x="71181" y="16869"/>
                      </a:cubicBezTo>
                      <a:cubicBezTo>
                        <a:pt x="70218" y="17183"/>
                        <a:pt x="69323" y="17859"/>
                        <a:pt x="68304" y="18183"/>
                      </a:cubicBezTo>
                      <a:cubicBezTo>
                        <a:pt x="76095" y="19231"/>
                        <a:pt x="70256" y="29042"/>
                        <a:pt x="63837" y="25870"/>
                      </a:cubicBezTo>
                      <a:cubicBezTo>
                        <a:pt x="65856" y="26975"/>
                        <a:pt x="67609" y="28584"/>
                        <a:pt x="67609" y="30242"/>
                      </a:cubicBezTo>
                      <a:cubicBezTo>
                        <a:pt x="70428" y="30461"/>
                        <a:pt x="69380" y="31756"/>
                        <a:pt x="67523" y="33718"/>
                      </a:cubicBezTo>
                      <a:cubicBezTo>
                        <a:pt x="70999" y="33728"/>
                        <a:pt x="72666" y="36719"/>
                        <a:pt x="73171" y="40262"/>
                      </a:cubicBezTo>
                      <a:cubicBezTo>
                        <a:pt x="74400" y="36347"/>
                        <a:pt x="80077" y="27927"/>
                        <a:pt x="84611" y="27841"/>
                      </a:cubicBezTo>
                      <a:cubicBezTo>
                        <a:pt x="87802" y="27784"/>
                        <a:pt x="86963" y="31337"/>
                        <a:pt x="90421" y="29861"/>
                      </a:cubicBezTo>
                      <a:cubicBezTo>
                        <a:pt x="94783" y="28003"/>
                        <a:pt x="92193" y="20393"/>
                        <a:pt x="93945" y="17450"/>
                      </a:cubicBezTo>
                      <a:cubicBezTo>
                        <a:pt x="100174" y="7029"/>
                        <a:pt x="104023" y="23546"/>
                        <a:pt x="110014" y="24108"/>
                      </a:cubicBezTo>
                      <a:cubicBezTo>
                        <a:pt x="115024" y="24574"/>
                        <a:pt x="111938" y="23336"/>
                        <a:pt x="113900" y="20307"/>
                      </a:cubicBezTo>
                      <a:cubicBezTo>
                        <a:pt x="116958" y="15583"/>
                        <a:pt x="114233" y="16564"/>
                        <a:pt x="120387" y="14068"/>
                      </a:cubicBezTo>
                      <a:cubicBezTo>
                        <a:pt x="128883" y="10630"/>
                        <a:pt x="131140" y="11668"/>
                        <a:pt x="137084" y="18917"/>
                      </a:cubicBezTo>
                      <a:cubicBezTo>
                        <a:pt x="138284" y="20383"/>
                        <a:pt x="141761" y="25670"/>
                        <a:pt x="142647" y="25003"/>
                      </a:cubicBezTo>
                      <a:cubicBezTo>
                        <a:pt x="146104" y="22393"/>
                        <a:pt x="139284" y="16583"/>
                        <a:pt x="139837" y="14221"/>
                      </a:cubicBezTo>
                      <a:cubicBezTo>
                        <a:pt x="141884" y="5353"/>
                        <a:pt x="153724" y="18193"/>
                        <a:pt x="156210" y="18269"/>
                      </a:cubicBezTo>
                      <a:cubicBezTo>
                        <a:pt x="158163" y="18326"/>
                        <a:pt x="160715" y="14697"/>
                        <a:pt x="162249" y="13792"/>
                      </a:cubicBezTo>
                      <a:cubicBezTo>
                        <a:pt x="167612" y="10592"/>
                        <a:pt x="165564" y="12211"/>
                        <a:pt x="170383" y="12268"/>
                      </a:cubicBezTo>
                      <a:cubicBezTo>
                        <a:pt x="173298" y="12297"/>
                        <a:pt x="179356" y="13744"/>
                        <a:pt x="181432" y="10096"/>
                      </a:cubicBezTo>
                      <a:cubicBezTo>
                        <a:pt x="184337" y="4972"/>
                        <a:pt x="178337" y="4553"/>
                        <a:pt x="184556" y="1352"/>
                      </a:cubicBezTo>
                      <a:cubicBezTo>
                        <a:pt x="194996" y="-4048"/>
                        <a:pt x="195520" y="8363"/>
                        <a:pt x="201701" y="9963"/>
                      </a:cubicBezTo>
                      <a:lnTo>
                        <a:pt x="201701" y="9963"/>
                      </a:lnTo>
                      <a:close/>
                    </a:path>
                  </a:pathLst>
                </a:custGeom>
                <a:solidFill>
                  <a:srgbClr val="D6D6D2"/>
                </a:solidFill>
                <a:ln w="9525" cap="flat">
                  <a:noFill/>
                  <a:prstDash val="solid"/>
                  <a:miter/>
                </a:ln>
              </p:spPr>
              <p:txBody>
                <a:bodyPr rtlCol="0" anchor="ctr"/>
                <a:lstStyle/>
                <a:p>
                  <a:endParaRPr lang="en-US"/>
                </a:p>
              </p:txBody>
            </p:sp>
            <p:sp>
              <p:nvSpPr>
                <p:cNvPr id="631" name="Freeform: Shape 630">
                  <a:extLst>
                    <a:ext uri="{FF2B5EF4-FFF2-40B4-BE49-F238E27FC236}">
                      <a16:creationId xmlns:a16="http://schemas.microsoft.com/office/drawing/2014/main" id="{66D42E65-125C-470C-B61F-C9993CA69903}"/>
                    </a:ext>
                  </a:extLst>
                </p:cNvPr>
                <p:cNvSpPr/>
                <p:nvPr/>
              </p:nvSpPr>
              <p:spPr>
                <a:xfrm>
                  <a:off x="6714483" y="3187969"/>
                  <a:ext cx="306164" cy="261636"/>
                </a:xfrm>
                <a:custGeom>
                  <a:avLst/>
                  <a:gdLst>
                    <a:gd name="connsiteX0" fmla="*/ 146173 w 306164"/>
                    <a:gd name="connsiteY0" fmla="*/ 6941 h 261636"/>
                    <a:gd name="connsiteX1" fmla="*/ 162080 w 306164"/>
                    <a:gd name="connsiteY1" fmla="*/ 30058 h 261636"/>
                    <a:gd name="connsiteX2" fmla="*/ 166566 w 306164"/>
                    <a:gd name="connsiteY2" fmla="*/ 33592 h 261636"/>
                    <a:gd name="connsiteX3" fmla="*/ 171452 w 306164"/>
                    <a:gd name="connsiteY3" fmla="*/ 42441 h 261636"/>
                    <a:gd name="connsiteX4" fmla="*/ 178787 w 306164"/>
                    <a:gd name="connsiteY4" fmla="*/ 44413 h 261636"/>
                    <a:gd name="connsiteX5" fmla="*/ 185883 w 306164"/>
                    <a:gd name="connsiteY5" fmla="*/ 48423 h 261636"/>
                    <a:gd name="connsiteX6" fmla="*/ 196722 w 306164"/>
                    <a:gd name="connsiteY6" fmla="*/ 48966 h 261636"/>
                    <a:gd name="connsiteX7" fmla="*/ 196046 w 306164"/>
                    <a:gd name="connsiteY7" fmla="*/ 52338 h 261636"/>
                    <a:gd name="connsiteX8" fmla="*/ 192665 w 306164"/>
                    <a:gd name="connsiteY8" fmla="*/ 58672 h 261636"/>
                    <a:gd name="connsiteX9" fmla="*/ 198170 w 306164"/>
                    <a:gd name="connsiteY9" fmla="*/ 64891 h 261636"/>
                    <a:gd name="connsiteX10" fmla="*/ 191969 w 306164"/>
                    <a:gd name="connsiteY10" fmla="*/ 77160 h 261636"/>
                    <a:gd name="connsiteX11" fmla="*/ 185778 w 306164"/>
                    <a:gd name="connsiteY11" fmla="*/ 87609 h 261636"/>
                    <a:gd name="connsiteX12" fmla="*/ 186893 w 306164"/>
                    <a:gd name="connsiteY12" fmla="*/ 94914 h 261636"/>
                    <a:gd name="connsiteX13" fmla="*/ 189579 w 306164"/>
                    <a:gd name="connsiteY13" fmla="*/ 99143 h 261636"/>
                    <a:gd name="connsiteX14" fmla="*/ 187988 w 306164"/>
                    <a:gd name="connsiteY14" fmla="*/ 104544 h 261636"/>
                    <a:gd name="connsiteX15" fmla="*/ 192436 w 306164"/>
                    <a:gd name="connsiteY15" fmla="*/ 111126 h 261636"/>
                    <a:gd name="connsiteX16" fmla="*/ 197370 w 306164"/>
                    <a:gd name="connsiteY16" fmla="*/ 116136 h 261636"/>
                    <a:gd name="connsiteX17" fmla="*/ 201790 w 306164"/>
                    <a:gd name="connsiteY17" fmla="*/ 117746 h 261636"/>
                    <a:gd name="connsiteX18" fmla="*/ 204418 w 306164"/>
                    <a:gd name="connsiteY18" fmla="*/ 120241 h 261636"/>
                    <a:gd name="connsiteX19" fmla="*/ 212144 w 306164"/>
                    <a:gd name="connsiteY19" fmla="*/ 128118 h 261636"/>
                    <a:gd name="connsiteX20" fmla="*/ 213372 w 306164"/>
                    <a:gd name="connsiteY20" fmla="*/ 136529 h 261636"/>
                    <a:gd name="connsiteX21" fmla="*/ 220230 w 306164"/>
                    <a:gd name="connsiteY21" fmla="*/ 138996 h 261636"/>
                    <a:gd name="connsiteX22" fmla="*/ 243118 w 306164"/>
                    <a:gd name="connsiteY22" fmla="*/ 151512 h 261636"/>
                    <a:gd name="connsiteX23" fmla="*/ 253587 w 306164"/>
                    <a:gd name="connsiteY23" fmla="*/ 154569 h 261636"/>
                    <a:gd name="connsiteX24" fmla="*/ 260797 w 306164"/>
                    <a:gd name="connsiteY24" fmla="*/ 163866 h 261636"/>
                    <a:gd name="connsiteX25" fmla="*/ 269074 w 306164"/>
                    <a:gd name="connsiteY25" fmla="*/ 171619 h 261636"/>
                    <a:gd name="connsiteX26" fmla="*/ 271456 w 306164"/>
                    <a:gd name="connsiteY26" fmla="*/ 184630 h 261636"/>
                    <a:gd name="connsiteX27" fmla="*/ 273065 w 306164"/>
                    <a:gd name="connsiteY27" fmla="*/ 197098 h 261636"/>
                    <a:gd name="connsiteX28" fmla="*/ 283619 w 306164"/>
                    <a:gd name="connsiteY28" fmla="*/ 201156 h 261636"/>
                    <a:gd name="connsiteX29" fmla="*/ 286543 w 306164"/>
                    <a:gd name="connsiteY29" fmla="*/ 214253 h 261636"/>
                    <a:gd name="connsiteX30" fmla="*/ 293601 w 306164"/>
                    <a:gd name="connsiteY30" fmla="*/ 221273 h 261636"/>
                    <a:gd name="connsiteX31" fmla="*/ 300392 w 306164"/>
                    <a:gd name="connsiteY31" fmla="*/ 225997 h 261636"/>
                    <a:gd name="connsiteX32" fmla="*/ 306165 w 306164"/>
                    <a:gd name="connsiteY32" fmla="*/ 233122 h 261636"/>
                    <a:gd name="connsiteX33" fmla="*/ 289324 w 306164"/>
                    <a:gd name="connsiteY33" fmla="*/ 232474 h 261636"/>
                    <a:gd name="connsiteX34" fmla="*/ 264283 w 306164"/>
                    <a:gd name="connsiteY34" fmla="*/ 232827 h 261636"/>
                    <a:gd name="connsiteX35" fmla="*/ 253625 w 306164"/>
                    <a:gd name="connsiteY35" fmla="*/ 258773 h 261636"/>
                    <a:gd name="connsiteX36" fmla="*/ 221669 w 306164"/>
                    <a:gd name="connsiteY36" fmla="*/ 259316 h 261636"/>
                    <a:gd name="connsiteX37" fmla="*/ 191874 w 306164"/>
                    <a:gd name="connsiteY37" fmla="*/ 253410 h 261636"/>
                    <a:gd name="connsiteX38" fmla="*/ 83756 w 306164"/>
                    <a:gd name="connsiteY38" fmla="*/ 185173 h 261636"/>
                    <a:gd name="connsiteX39" fmla="*/ 54524 w 306164"/>
                    <a:gd name="connsiteY39" fmla="*/ 170867 h 261636"/>
                    <a:gd name="connsiteX40" fmla="*/ 17814 w 306164"/>
                    <a:gd name="connsiteY40" fmla="*/ 165018 h 261636"/>
                    <a:gd name="connsiteX41" fmla="*/ 17986 w 306164"/>
                    <a:gd name="connsiteY41" fmla="*/ 158198 h 261636"/>
                    <a:gd name="connsiteX42" fmla="*/ 11052 w 306164"/>
                    <a:gd name="connsiteY42" fmla="*/ 154045 h 261636"/>
                    <a:gd name="connsiteX43" fmla="*/ 13166 w 306164"/>
                    <a:gd name="connsiteY43" fmla="*/ 153398 h 261636"/>
                    <a:gd name="connsiteX44" fmla="*/ 145 w 306164"/>
                    <a:gd name="connsiteY44" fmla="*/ 125489 h 261636"/>
                    <a:gd name="connsiteX45" fmla="*/ 13214 w 306164"/>
                    <a:gd name="connsiteY45" fmla="*/ 117555 h 261636"/>
                    <a:gd name="connsiteX46" fmla="*/ 28377 w 306164"/>
                    <a:gd name="connsiteY46" fmla="*/ 108278 h 261636"/>
                    <a:gd name="connsiteX47" fmla="*/ 42103 w 306164"/>
                    <a:gd name="connsiteY47" fmla="*/ 99867 h 261636"/>
                    <a:gd name="connsiteX48" fmla="*/ 56543 w 306164"/>
                    <a:gd name="connsiteY48" fmla="*/ 93085 h 261636"/>
                    <a:gd name="connsiteX49" fmla="*/ 58181 w 306164"/>
                    <a:gd name="connsiteY49" fmla="*/ 65434 h 261636"/>
                    <a:gd name="connsiteX50" fmla="*/ 59344 w 306164"/>
                    <a:gd name="connsiteY50" fmla="*/ 51633 h 261636"/>
                    <a:gd name="connsiteX51" fmla="*/ 53209 w 306164"/>
                    <a:gd name="connsiteY51" fmla="*/ 37097 h 261636"/>
                    <a:gd name="connsiteX52" fmla="*/ 70640 w 306164"/>
                    <a:gd name="connsiteY52" fmla="*/ 18914 h 261636"/>
                    <a:gd name="connsiteX53" fmla="*/ 86823 w 306164"/>
                    <a:gd name="connsiteY53" fmla="*/ 979 h 261636"/>
                    <a:gd name="connsiteX54" fmla="*/ 110159 w 306164"/>
                    <a:gd name="connsiteY54" fmla="*/ 3750 h 261636"/>
                    <a:gd name="connsiteX55" fmla="*/ 118074 w 306164"/>
                    <a:gd name="connsiteY55" fmla="*/ 4389 h 261636"/>
                    <a:gd name="connsiteX56" fmla="*/ 124075 w 306164"/>
                    <a:gd name="connsiteY56" fmla="*/ 1550 h 261636"/>
                    <a:gd name="connsiteX57" fmla="*/ 130657 w 306164"/>
                    <a:gd name="connsiteY57" fmla="*/ 8570 h 261636"/>
                    <a:gd name="connsiteX58" fmla="*/ 146173 w 306164"/>
                    <a:gd name="connsiteY58" fmla="*/ 6941 h 261636"/>
                    <a:gd name="connsiteX59" fmla="*/ 146173 w 306164"/>
                    <a:gd name="connsiteY59" fmla="*/ 6941 h 26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06164" h="261636">
                      <a:moveTo>
                        <a:pt x="146173" y="6941"/>
                      </a:moveTo>
                      <a:cubicBezTo>
                        <a:pt x="151288" y="15019"/>
                        <a:pt x="156051" y="23629"/>
                        <a:pt x="162080" y="30058"/>
                      </a:cubicBezTo>
                      <a:cubicBezTo>
                        <a:pt x="163109" y="31163"/>
                        <a:pt x="165195" y="32040"/>
                        <a:pt x="166566" y="33592"/>
                      </a:cubicBezTo>
                      <a:cubicBezTo>
                        <a:pt x="168528" y="35821"/>
                        <a:pt x="169129" y="40612"/>
                        <a:pt x="171452" y="42441"/>
                      </a:cubicBezTo>
                      <a:cubicBezTo>
                        <a:pt x="172805" y="43498"/>
                        <a:pt x="176939" y="43479"/>
                        <a:pt x="178787" y="44413"/>
                      </a:cubicBezTo>
                      <a:cubicBezTo>
                        <a:pt x="181892" y="45965"/>
                        <a:pt x="182616" y="47632"/>
                        <a:pt x="185883" y="48423"/>
                      </a:cubicBezTo>
                      <a:cubicBezTo>
                        <a:pt x="189207" y="49232"/>
                        <a:pt x="193465" y="46956"/>
                        <a:pt x="196722" y="48966"/>
                      </a:cubicBezTo>
                      <a:cubicBezTo>
                        <a:pt x="201447" y="51890"/>
                        <a:pt x="197751" y="49480"/>
                        <a:pt x="196046" y="52338"/>
                      </a:cubicBezTo>
                      <a:cubicBezTo>
                        <a:pt x="194513" y="54890"/>
                        <a:pt x="191245" y="53395"/>
                        <a:pt x="192665" y="58672"/>
                      </a:cubicBezTo>
                      <a:cubicBezTo>
                        <a:pt x="193398" y="61405"/>
                        <a:pt x="196875" y="62586"/>
                        <a:pt x="198170" y="64891"/>
                      </a:cubicBezTo>
                      <a:cubicBezTo>
                        <a:pt x="202142" y="71997"/>
                        <a:pt x="195770" y="71530"/>
                        <a:pt x="191969" y="77160"/>
                      </a:cubicBezTo>
                      <a:cubicBezTo>
                        <a:pt x="189255" y="81170"/>
                        <a:pt x="191484" y="89561"/>
                        <a:pt x="185778" y="87609"/>
                      </a:cubicBezTo>
                      <a:cubicBezTo>
                        <a:pt x="184902" y="90942"/>
                        <a:pt x="186035" y="92171"/>
                        <a:pt x="186893" y="94914"/>
                      </a:cubicBezTo>
                      <a:cubicBezTo>
                        <a:pt x="187378" y="96476"/>
                        <a:pt x="189293" y="97286"/>
                        <a:pt x="189579" y="99143"/>
                      </a:cubicBezTo>
                      <a:cubicBezTo>
                        <a:pt x="189903" y="101210"/>
                        <a:pt x="187769" y="102896"/>
                        <a:pt x="187988" y="104544"/>
                      </a:cubicBezTo>
                      <a:cubicBezTo>
                        <a:pt x="188493" y="108297"/>
                        <a:pt x="188655" y="107754"/>
                        <a:pt x="192436" y="111126"/>
                      </a:cubicBezTo>
                      <a:cubicBezTo>
                        <a:pt x="194037" y="112564"/>
                        <a:pt x="195503" y="114993"/>
                        <a:pt x="197370" y="116136"/>
                      </a:cubicBezTo>
                      <a:cubicBezTo>
                        <a:pt x="198494" y="116831"/>
                        <a:pt x="201494" y="117527"/>
                        <a:pt x="201790" y="117746"/>
                      </a:cubicBezTo>
                      <a:cubicBezTo>
                        <a:pt x="202380" y="118174"/>
                        <a:pt x="204066" y="120032"/>
                        <a:pt x="204418" y="120241"/>
                      </a:cubicBezTo>
                      <a:cubicBezTo>
                        <a:pt x="205324" y="120765"/>
                        <a:pt x="210905" y="125499"/>
                        <a:pt x="212144" y="128118"/>
                      </a:cubicBezTo>
                      <a:cubicBezTo>
                        <a:pt x="213572" y="131157"/>
                        <a:pt x="212086" y="134119"/>
                        <a:pt x="213372" y="136529"/>
                      </a:cubicBezTo>
                      <a:cubicBezTo>
                        <a:pt x="215268" y="140101"/>
                        <a:pt x="216601" y="137777"/>
                        <a:pt x="220230" y="138996"/>
                      </a:cubicBezTo>
                      <a:cubicBezTo>
                        <a:pt x="228726" y="141853"/>
                        <a:pt x="235222" y="147530"/>
                        <a:pt x="243118" y="151512"/>
                      </a:cubicBezTo>
                      <a:cubicBezTo>
                        <a:pt x="246824" y="153379"/>
                        <a:pt x="250272" y="152902"/>
                        <a:pt x="253587" y="154569"/>
                      </a:cubicBezTo>
                      <a:cubicBezTo>
                        <a:pt x="256977" y="156274"/>
                        <a:pt x="258416" y="161132"/>
                        <a:pt x="260797" y="163866"/>
                      </a:cubicBezTo>
                      <a:cubicBezTo>
                        <a:pt x="263226" y="166647"/>
                        <a:pt x="266760" y="168562"/>
                        <a:pt x="269074" y="171619"/>
                      </a:cubicBezTo>
                      <a:cubicBezTo>
                        <a:pt x="273170" y="177058"/>
                        <a:pt x="271656" y="177915"/>
                        <a:pt x="271456" y="184630"/>
                      </a:cubicBezTo>
                      <a:cubicBezTo>
                        <a:pt x="271341" y="188450"/>
                        <a:pt x="271141" y="193584"/>
                        <a:pt x="273065" y="197098"/>
                      </a:cubicBezTo>
                      <a:cubicBezTo>
                        <a:pt x="276218" y="202852"/>
                        <a:pt x="279456" y="197527"/>
                        <a:pt x="283619" y="201156"/>
                      </a:cubicBezTo>
                      <a:cubicBezTo>
                        <a:pt x="286105" y="203318"/>
                        <a:pt x="284914" y="211272"/>
                        <a:pt x="286543" y="214253"/>
                      </a:cubicBezTo>
                      <a:cubicBezTo>
                        <a:pt x="288162" y="217215"/>
                        <a:pt x="290239" y="219187"/>
                        <a:pt x="293601" y="221273"/>
                      </a:cubicBezTo>
                      <a:cubicBezTo>
                        <a:pt x="296278" y="222940"/>
                        <a:pt x="298145" y="223311"/>
                        <a:pt x="300392" y="225997"/>
                      </a:cubicBezTo>
                      <a:cubicBezTo>
                        <a:pt x="302412" y="228407"/>
                        <a:pt x="302031" y="231408"/>
                        <a:pt x="306165" y="233122"/>
                      </a:cubicBezTo>
                      <a:cubicBezTo>
                        <a:pt x="301002" y="235275"/>
                        <a:pt x="292335" y="227236"/>
                        <a:pt x="289324" y="232474"/>
                      </a:cubicBezTo>
                      <a:cubicBezTo>
                        <a:pt x="282371" y="229626"/>
                        <a:pt x="270027" y="225254"/>
                        <a:pt x="264283" y="232827"/>
                      </a:cubicBezTo>
                      <a:cubicBezTo>
                        <a:pt x="258844" y="239990"/>
                        <a:pt x="261683" y="252134"/>
                        <a:pt x="253625" y="258773"/>
                      </a:cubicBezTo>
                      <a:cubicBezTo>
                        <a:pt x="246700" y="264469"/>
                        <a:pt x="230460" y="260030"/>
                        <a:pt x="221669" y="259316"/>
                      </a:cubicBezTo>
                      <a:cubicBezTo>
                        <a:pt x="211238" y="258468"/>
                        <a:pt x="200713" y="259249"/>
                        <a:pt x="191874" y="253410"/>
                      </a:cubicBezTo>
                      <a:cubicBezTo>
                        <a:pt x="156317" y="229941"/>
                        <a:pt x="121875" y="204156"/>
                        <a:pt x="83756" y="185173"/>
                      </a:cubicBezTo>
                      <a:cubicBezTo>
                        <a:pt x="74364" y="180496"/>
                        <a:pt x="64525" y="173934"/>
                        <a:pt x="54524" y="170867"/>
                      </a:cubicBezTo>
                      <a:cubicBezTo>
                        <a:pt x="43046" y="167342"/>
                        <a:pt x="29673" y="166876"/>
                        <a:pt x="17814" y="165018"/>
                      </a:cubicBezTo>
                      <a:cubicBezTo>
                        <a:pt x="23463" y="161865"/>
                        <a:pt x="20319" y="159884"/>
                        <a:pt x="17986" y="158198"/>
                      </a:cubicBezTo>
                      <a:cubicBezTo>
                        <a:pt x="15157" y="156160"/>
                        <a:pt x="12756" y="161504"/>
                        <a:pt x="11052" y="154045"/>
                      </a:cubicBezTo>
                      <a:cubicBezTo>
                        <a:pt x="11756" y="153836"/>
                        <a:pt x="12452" y="153617"/>
                        <a:pt x="13166" y="153398"/>
                      </a:cubicBezTo>
                      <a:cubicBezTo>
                        <a:pt x="10766" y="148473"/>
                        <a:pt x="-1464" y="130062"/>
                        <a:pt x="145" y="125489"/>
                      </a:cubicBezTo>
                      <a:cubicBezTo>
                        <a:pt x="822" y="123556"/>
                        <a:pt x="11213" y="118774"/>
                        <a:pt x="13214" y="117555"/>
                      </a:cubicBezTo>
                      <a:cubicBezTo>
                        <a:pt x="18272" y="114469"/>
                        <a:pt x="23330" y="111373"/>
                        <a:pt x="28377" y="108278"/>
                      </a:cubicBezTo>
                      <a:cubicBezTo>
                        <a:pt x="32950" y="105477"/>
                        <a:pt x="37541" y="102677"/>
                        <a:pt x="42103" y="99867"/>
                      </a:cubicBezTo>
                      <a:cubicBezTo>
                        <a:pt x="45970" y="97486"/>
                        <a:pt x="53600" y="95810"/>
                        <a:pt x="56543" y="93085"/>
                      </a:cubicBezTo>
                      <a:cubicBezTo>
                        <a:pt x="64296" y="85894"/>
                        <a:pt x="58505" y="73835"/>
                        <a:pt x="58181" y="65434"/>
                      </a:cubicBezTo>
                      <a:cubicBezTo>
                        <a:pt x="58000" y="60681"/>
                        <a:pt x="60039" y="56186"/>
                        <a:pt x="59344" y="51633"/>
                      </a:cubicBezTo>
                      <a:cubicBezTo>
                        <a:pt x="58524" y="46289"/>
                        <a:pt x="54019" y="42555"/>
                        <a:pt x="53209" y="37097"/>
                      </a:cubicBezTo>
                      <a:cubicBezTo>
                        <a:pt x="51333" y="24305"/>
                        <a:pt x="63839" y="26477"/>
                        <a:pt x="70640" y="18914"/>
                      </a:cubicBezTo>
                      <a:cubicBezTo>
                        <a:pt x="75422" y="13590"/>
                        <a:pt x="80508" y="3674"/>
                        <a:pt x="86823" y="979"/>
                      </a:cubicBezTo>
                      <a:cubicBezTo>
                        <a:pt x="93376" y="-1822"/>
                        <a:pt x="102549" y="2112"/>
                        <a:pt x="110159" y="3750"/>
                      </a:cubicBezTo>
                      <a:cubicBezTo>
                        <a:pt x="112331" y="4208"/>
                        <a:pt x="115912" y="4846"/>
                        <a:pt x="118074" y="4389"/>
                      </a:cubicBezTo>
                      <a:cubicBezTo>
                        <a:pt x="119865" y="3998"/>
                        <a:pt x="122589" y="1531"/>
                        <a:pt x="124075" y="1550"/>
                      </a:cubicBezTo>
                      <a:cubicBezTo>
                        <a:pt x="129971" y="1636"/>
                        <a:pt x="128009" y="5322"/>
                        <a:pt x="130657" y="8570"/>
                      </a:cubicBezTo>
                      <a:cubicBezTo>
                        <a:pt x="136858" y="16152"/>
                        <a:pt x="138229" y="1712"/>
                        <a:pt x="146173" y="6941"/>
                      </a:cubicBezTo>
                      <a:lnTo>
                        <a:pt x="146173" y="6941"/>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32" name="Freeform: Shape 631">
                  <a:extLst>
                    <a:ext uri="{FF2B5EF4-FFF2-40B4-BE49-F238E27FC236}">
                      <a16:creationId xmlns:a16="http://schemas.microsoft.com/office/drawing/2014/main" id="{5842F157-399F-4FB5-81FD-1A455F8AF5A5}"/>
                    </a:ext>
                  </a:extLst>
                </p:cNvPr>
                <p:cNvSpPr/>
                <p:nvPr/>
              </p:nvSpPr>
              <p:spPr>
                <a:xfrm>
                  <a:off x="6823768" y="3112881"/>
                  <a:ext cx="654040" cy="460909"/>
                </a:xfrm>
                <a:custGeom>
                  <a:avLst/>
                  <a:gdLst>
                    <a:gd name="connsiteX0" fmla="*/ 26068 w 654040"/>
                    <a:gd name="connsiteY0" fmla="*/ 10173 h 460909"/>
                    <a:gd name="connsiteX1" fmla="*/ 46442 w 654040"/>
                    <a:gd name="connsiteY1" fmla="*/ 24518 h 460909"/>
                    <a:gd name="connsiteX2" fmla="*/ 74178 w 654040"/>
                    <a:gd name="connsiteY2" fmla="*/ 25918 h 460909"/>
                    <a:gd name="connsiteX3" fmla="*/ 84352 w 654040"/>
                    <a:gd name="connsiteY3" fmla="*/ 16688 h 460909"/>
                    <a:gd name="connsiteX4" fmla="*/ 94143 w 654040"/>
                    <a:gd name="connsiteY4" fmla="*/ 8116 h 460909"/>
                    <a:gd name="connsiteX5" fmla="*/ 119004 w 654040"/>
                    <a:gd name="connsiteY5" fmla="*/ 10935 h 460909"/>
                    <a:gd name="connsiteX6" fmla="*/ 121042 w 654040"/>
                    <a:gd name="connsiteY6" fmla="*/ 21641 h 460909"/>
                    <a:gd name="connsiteX7" fmla="*/ 115927 w 654040"/>
                    <a:gd name="connsiteY7" fmla="*/ 29433 h 460909"/>
                    <a:gd name="connsiteX8" fmla="*/ 133405 w 654040"/>
                    <a:gd name="connsiteY8" fmla="*/ 40815 h 460909"/>
                    <a:gd name="connsiteX9" fmla="*/ 142415 w 654040"/>
                    <a:gd name="connsiteY9" fmla="*/ 41301 h 460909"/>
                    <a:gd name="connsiteX10" fmla="*/ 147054 w 654040"/>
                    <a:gd name="connsiteY10" fmla="*/ 53464 h 460909"/>
                    <a:gd name="connsiteX11" fmla="*/ 164247 w 654040"/>
                    <a:gd name="connsiteY11" fmla="*/ 70142 h 460909"/>
                    <a:gd name="connsiteX12" fmla="*/ 188098 w 654040"/>
                    <a:gd name="connsiteY12" fmla="*/ 74533 h 460909"/>
                    <a:gd name="connsiteX13" fmla="*/ 195251 w 654040"/>
                    <a:gd name="connsiteY13" fmla="*/ 82239 h 460909"/>
                    <a:gd name="connsiteX14" fmla="*/ 208748 w 654040"/>
                    <a:gd name="connsiteY14" fmla="*/ 89811 h 460909"/>
                    <a:gd name="connsiteX15" fmla="*/ 236446 w 654040"/>
                    <a:gd name="connsiteY15" fmla="*/ 98013 h 460909"/>
                    <a:gd name="connsiteX16" fmla="*/ 297769 w 654040"/>
                    <a:gd name="connsiteY16" fmla="*/ 88688 h 460909"/>
                    <a:gd name="connsiteX17" fmla="*/ 291768 w 654040"/>
                    <a:gd name="connsiteY17" fmla="*/ 91116 h 460909"/>
                    <a:gd name="connsiteX18" fmla="*/ 294035 w 654040"/>
                    <a:gd name="connsiteY18" fmla="*/ 75667 h 460909"/>
                    <a:gd name="connsiteX19" fmla="*/ 312780 w 654040"/>
                    <a:gd name="connsiteY19" fmla="*/ 72552 h 460909"/>
                    <a:gd name="connsiteX20" fmla="*/ 319829 w 654040"/>
                    <a:gd name="connsiteY20" fmla="*/ 60017 h 460909"/>
                    <a:gd name="connsiteX21" fmla="*/ 336650 w 654040"/>
                    <a:gd name="connsiteY21" fmla="*/ 51902 h 460909"/>
                    <a:gd name="connsiteX22" fmla="*/ 353737 w 654040"/>
                    <a:gd name="connsiteY22" fmla="*/ 52426 h 460909"/>
                    <a:gd name="connsiteX23" fmla="*/ 356357 w 654040"/>
                    <a:gd name="connsiteY23" fmla="*/ 47311 h 460909"/>
                    <a:gd name="connsiteX24" fmla="*/ 366215 w 654040"/>
                    <a:gd name="connsiteY24" fmla="*/ 47130 h 460909"/>
                    <a:gd name="connsiteX25" fmla="*/ 382922 w 654040"/>
                    <a:gd name="connsiteY25" fmla="*/ 51521 h 460909"/>
                    <a:gd name="connsiteX26" fmla="*/ 385732 w 654040"/>
                    <a:gd name="connsiteY26" fmla="*/ 56045 h 460909"/>
                    <a:gd name="connsiteX27" fmla="*/ 395019 w 654040"/>
                    <a:gd name="connsiteY27" fmla="*/ 57855 h 460909"/>
                    <a:gd name="connsiteX28" fmla="*/ 412916 w 654040"/>
                    <a:gd name="connsiteY28" fmla="*/ 64923 h 460909"/>
                    <a:gd name="connsiteX29" fmla="*/ 426261 w 654040"/>
                    <a:gd name="connsiteY29" fmla="*/ 65790 h 460909"/>
                    <a:gd name="connsiteX30" fmla="*/ 443797 w 654040"/>
                    <a:gd name="connsiteY30" fmla="*/ 69990 h 460909"/>
                    <a:gd name="connsiteX31" fmla="*/ 452540 w 654040"/>
                    <a:gd name="connsiteY31" fmla="*/ 79115 h 460909"/>
                    <a:gd name="connsiteX32" fmla="*/ 470600 w 654040"/>
                    <a:gd name="connsiteY32" fmla="*/ 87002 h 460909"/>
                    <a:gd name="connsiteX33" fmla="*/ 483592 w 654040"/>
                    <a:gd name="connsiteY33" fmla="*/ 97879 h 460909"/>
                    <a:gd name="connsiteX34" fmla="*/ 505890 w 654040"/>
                    <a:gd name="connsiteY34" fmla="*/ 98898 h 460909"/>
                    <a:gd name="connsiteX35" fmla="*/ 512691 w 654040"/>
                    <a:gd name="connsiteY35" fmla="*/ 115596 h 460909"/>
                    <a:gd name="connsiteX36" fmla="*/ 517729 w 654040"/>
                    <a:gd name="connsiteY36" fmla="*/ 128007 h 460909"/>
                    <a:gd name="connsiteX37" fmla="*/ 519910 w 654040"/>
                    <a:gd name="connsiteY37" fmla="*/ 139618 h 460909"/>
                    <a:gd name="connsiteX38" fmla="*/ 518005 w 654040"/>
                    <a:gd name="connsiteY38" fmla="*/ 140770 h 460909"/>
                    <a:gd name="connsiteX39" fmla="*/ 519130 w 654040"/>
                    <a:gd name="connsiteY39" fmla="*/ 143723 h 460909"/>
                    <a:gd name="connsiteX40" fmla="*/ 520520 w 654040"/>
                    <a:gd name="connsiteY40" fmla="*/ 150057 h 460909"/>
                    <a:gd name="connsiteX41" fmla="*/ 517844 w 654040"/>
                    <a:gd name="connsiteY41" fmla="*/ 161763 h 460909"/>
                    <a:gd name="connsiteX42" fmla="*/ 514586 w 654040"/>
                    <a:gd name="connsiteY42" fmla="*/ 165078 h 460909"/>
                    <a:gd name="connsiteX43" fmla="*/ 520863 w 654040"/>
                    <a:gd name="connsiteY43" fmla="*/ 170936 h 460909"/>
                    <a:gd name="connsiteX44" fmla="*/ 511824 w 654040"/>
                    <a:gd name="connsiteY44" fmla="*/ 176594 h 460909"/>
                    <a:gd name="connsiteX45" fmla="*/ 514929 w 654040"/>
                    <a:gd name="connsiteY45" fmla="*/ 189129 h 460909"/>
                    <a:gd name="connsiteX46" fmla="*/ 522339 w 654040"/>
                    <a:gd name="connsiteY46" fmla="*/ 194872 h 460909"/>
                    <a:gd name="connsiteX47" fmla="*/ 527997 w 654040"/>
                    <a:gd name="connsiteY47" fmla="*/ 198177 h 460909"/>
                    <a:gd name="connsiteX48" fmla="*/ 522482 w 654040"/>
                    <a:gd name="connsiteY48" fmla="*/ 207741 h 460909"/>
                    <a:gd name="connsiteX49" fmla="*/ 527312 w 654040"/>
                    <a:gd name="connsiteY49" fmla="*/ 218037 h 460909"/>
                    <a:gd name="connsiteX50" fmla="*/ 538694 w 654040"/>
                    <a:gd name="connsiteY50" fmla="*/ 238421 h 460909"/>
                    <a:gd name="connsiteX51" fmla="*/ 544475 w 654040"/>
                    <a:gd name="connsiteY51" fmla="*/ 259785 h 460909"/>
                    <a:gd name="connsiteX52" fmla="*/ 567221 w 654040"/>
                    <a:gd name="connsiteY52" fmla="*/ 263081 h 460909"/>
                    <a:gd name="connsiteX53" fmla="*/ 563783 w 654040"/>
                    <a:gd name="connsiteY53" fmla="*/ 304210 h 460909"/>
                    <a:gd name="connsiteX54" fmla="*/ 559925 w 654040"/>
                    <a:gd name="connsiteY54" fmla="*/ 312144 h 460909"/>
                    <a:gd name="connsiteX55" fmla="*/ 570527 w 654040"/>
                    <a:gd name="connsiteY55" fmla="*/ 321126 h 460909"/>
                    <a:gd name="connsiteX56" fmla="*/ 585643 w 654040"/>
                    <a:gd name="connsiteY56" fmla="*/ 338128 h 460909"/>
                    <a:gd name="connsiteX57" fmla="*/ 604959 w 654040"/>
                    <a:gd name="connsiteY57" fmla="*/ 354321 h 460909"/>
                    <a:gd name="connsiteX58" fmla="*/ 615627 w 654040"/>
                    <a:gd name="connsiteY58" fmla="*/ 356931 h 460909"/>
                    <a:gd name="connsiteX59" fmla="*/ 620552 w 654040"/>
                    <a:gd name="connsiteY59" fmla="*/ 360312 h 460909"/>
                    <a:gd name="connsiteX60" fmla="*/ 626695 w 654040"/>
                    <a:gd name="connsiteY60" fmla="*/ 362141 h 460909"/>
                    <a:gd name="connsiteX61" fmla="*/ 634306 w 654040"/>
                    <a:gd name="connsiteY61" fmla="*/ 379105 h 460909"/>
                    <a:gd name="connsiteX62" fmla="*/ 640602 w 654040"/>
                    <a:gd name="connsiteY62" fmla="*/ 394478 h 460909"/>
                    <a:gd name="connsiteX63" fmla="*/ 650079 w 654040"/>
                    <a:gd name="connsiteY63" fmla="*/ 393821 h 460909"/>
                    <a:gd name="connsiteX64" fmla="*/ 652746 w 654040"/>
                    <a:gd name="connsiteY64" fmla="*/ 399041 h 460909"/>
                    <a:gd name="connsiteX65" fmla="*/ 651041 w 654040"/>
                    <a:gd name="connsiteY65" fmla="*/ 413052 h 460909"/>
                    <a:gd name="connsiteX66" fmla="*/ 630619 w 654040"/>
                    <a:gd name="connsiteY66" fmla="*/ 416510 h 460909"/>
                    <a:gd name="connsiteX67" fmla="*/ 628496 w 654040"/>
                    <a:gd name="connsiteY67" fmla="*/ 420339 h 460909"/>
                    <a:gd name="connsiteX68" fmla="*/ 625733 w 654040"/>
                    <a:gd name="connsiteY68" fmla="*/ 421396 h 460909"/>
                    <a:gd name="connsiteX69" fmla="*/ 617342 w 654040"/>
                    <a:gd name="connsiteY69" fmla="*/ 426625 h 460909"/>
                    <a:gd name="connsiteX70" fmla="*/ 611265 w 654040"/>
                    <a:gd name="connsiteY70" fmla="*/ 460848 h 460909"/>
                    <a:gd name="connsiteX71" fmla="*/ 587767 w 654040"/>
                    <a:gd name="connsiteY71" fmla="*/ 454514 h 460909"/>
                    <a:gd name="connsiteX72" fmla="*/ 584100 w 654040"/>
                    <a:gd name="connsiteY72" fmla="*/ 450809 h 460909"/>
                    <a:gd name="connsiteX73" fmla="*/ 580985 w 654040"/>
                    <a:gd name="connsiteY73" fmla="*/ 454514 h 460909"/>
                    <a:gd name="connsiteX74" fmla="*/ 567383 w 654040"/>
                    <a:gd name="connsiteY74" fmla="*/ 452685 h 460909"/>
                    <a:gd name="connsiteX75" fmla="*/ 556763 w 654040"/>
                    <a:gd name="connsiteY75" fmla="*/ 451704 h 460909"/>
                    <a:gd name="connsiteX76" fmla="*/ 544771 w 654040"/>
                    <a:gd name="connsiteY76" fmla="*/ 451028 h 460909"/>
                    <a:gd name="connsiteX77" fmla="*/ 521130 w 654040"/>
                    <a:gd name="connsiteY77" fmla="*/ 445951 h 460909"/>
                    <a:gd name="connsiteX78" fmla="*/ 508452 w 654040"/>
                    <a:gd name="connsiteY78" fmla="*/ 444561 h 460909"/>
                    <a:gd name="connsiteX79" fmla="*/ 498260 w 654040"/>
                    <a:gd name="connsiteY79" fmla="*/ 441713 h 460909"/>
                    <a:gd name="connsiteX80" fmla="*/ 479572 w 654040"/>
                    <a:gd name="connsiteY80" fmla="*/ 428863 h 460909"/>
                    <a:gd name="connsiteX81" fmla="*/ 447406 w 654040"/>
                    <a:gd name="connsiteY81" fmla="*/ 395231 h 460909"/>
                    <a:gd name="connsiteX82" fmla="*/ 438148 w 654040"/>
                    <a:gd name="connsiteY82" fmla="*/ 398450 h 460909"/>
                    <a:gd name="connsiteX83" fmla="*/ 426727 w 654040"/>
                    <a:gd name="connsiteY83" fmla="*/ 402784 h 460909"/>
                    <a:gd name="connsiteX84" fmla="*/ 423451 w 654040"/>
                    <a:gd name="connsiteY84" fmla="*/ 407708 h 460909"/>
                    <a:gd name="connsiteX85" fmla="*/ 418584 w 654040"/>
                    <a:gd name="connsiteY85" fmla="*/ 408223 h 460909"/>
                    <a:gd name="connsiteX86" fmla="*/ 407954 w 654040"/>
                    <a:gd name="connsiteY86" fmla="*/ 415357 h 460909"/>
                    <a:gd name="connsiteX87" fmla="*/ 384998 w 654040"/>
                    <a:gd name="connsiteY87" fmla="*/ 410518 h 460909"/>
                    <a:gd name="connsiteX88" fmla="*/ 363939 w 654040"/>
                    <a:gd name="connsiteY88" fmla="*/ 405527 h 460909"/>
                    <a:gd name="connsiteX89" fmla="*/ 341136 w 654040"/>
                    <a:gd name="connsiteY89" fmla="*/ 393726 h 460909"/>
                    <a:gd name="connsiteX90" fmla="*/ 322962 w 654040"/>
                    <a:gd name="connsiteY90" fmla="*/ 380067 h 460909"/>
                    <a:gd name="connsiteX91" fmla="*/ 312866 w 654040"/>
                    <a:gd name="connsiteY91" fmla="*/ 375381 h 460909"/>
                    <a:gd name="connsiteX92" fmla="*/ 299940 w 654040"/>
                    <a:gd name="connsiteY92" fmla="*/ 373914 h 460909"/>
                    <a:gd name="connsiteX93" fmla="*/ 283395 w 654040"/>
                    <a:gd name="connsiteY93" fmla="*/ 356531 h 460909"/>
                    <a:gd name="connsiteX94" fmla="*/ 279061 w 654040"/>
                    <a:gd name="connsiteY94" fmla="*/ 346920 h 460909"/>
                    <a:gd name="connsiteX95" fmla="*/ 271537 w 654040"/>
                    <a:gd name="connsiteY95" fmla="*/ 340195 h 460909"/>
                    <a:gd name="connsiteX96" fmla="*/ 271194 w 654040"/>
                    <a:gd name="connsiteY96" fmla="*/ 336433 h 460909"/>
                    <a:gd name="connsiteX97" fmla="*/ 265888 w 654040"/>
                    <a:gd name="connsiteY97" fmla="*/ 334128 h 460909"/>
                    <a:gd name="connsiteX98" fmla="*/ 262079 w 654040"/>
                    <a:gd name="connsiteY98" fmla="*/ 324898 h 460909"/>
                    <a:gd name="connsiteX99" fmla="*/ 244124 w 654040"/>
                    <a:gd name="connsiteY99" fmla="*/ 308105 h 460909"/>
                    <a:gd name="connsiteX100" fmla="*/ 237628 w 654040"/>
                    <a:gd name="connsiteY100" fmla="*/ 300400 h 460909"/>
                    <a:gd name="connsiteX101" fmla="*/ 225845 w 654040"/>
                    <a:gd name="connsiteY101" fmla="*/ 306010 h 460909"/>
                    <a:gd name="connsiteX102" fmla="*/ 215892 w 654040"/>
                    <a:gd name="connsiteY102" fmla="*/ 300285 h 460909"/>
                    <a:gd name="connsiteX103" fmla="*/ 207424 w 654040"/>
                    <a:gd name="connsiteY103" fmla="*/ 295209 h 460909"/>
                    <a:gd name="connsiteX104" fmla="*/ 213987 w 654040"/>
                    <a:gd name="connsiteY104" fmla="*/ 294285 h 460909"/>
                    <a:gd name="connsiteX105" fmla="*/ 206509 w 654040"/>
                    <a:gd name="connsiteY105" fmla="*/ 291037 h 460909"/>
                    <a:gd name="connsiteX106" fmla="*/ 207919 w 654040"/>
                    <a:gd name="connsiteY106" fmla="*/ 292808 h 460909"/>
                    <a:gd name="connsiteX107" fmla="*/ 206395 w 654040"/>
                    <a:gd name="connsiteY107" fmla="*/ 302200 h 460909"/>
                    <a:gd name="connsiteX108" fmla="*/ 198175 w 654040"/>
                    <a:gd name="connsiteY108" fmla="*/ 307772 h 460909"/>
                    <a:gd name="connsiteX109" fmla="*/ 186183 w 654040"/>
                    <a:gd name="connsiteY109" fmla="*/ 296999 h 460909"/>
                    <a:gd name="connsiteX110" fmla="*/ 178620 w 654040"/>
                    <a:gd name="connsiteY110" fmla="*/ 292446 h 460909"/>
                    <a:gd name="connsiteX111" fmla="*/ 175163 w 654040"/>
                    <a:gd name="connsiteY111" fmla="*/ 280216 h 460909"/>
                    <a:gd name="connsiteX112" fmla="*/ 171600 w 654040"/>
                    <a:gd name="connsiteY112" fmla="*/ 275692 h 460909"/>
                    <a:gd name="connsiteX113" fmla="*/ 164409 w 654040"/>
                    <a:gd name="connsiteY113" fmla="*/ 275397 h 460909"/>
                    <a:gd name="connsiteX114" fmla="*/ 161980 w 654040"/>
                    <a:gd name="connsiteY114" fmla="*/ 260804 h 460909"/>
                    <a:gd name="connsiteX115" fmla="*/ 160475 w 654040"/>
                    <a:gd name="connsiteY115" fmla="*/ 247469 h 460909"/>
                    <a:gd name="connsiteX116" fmla="*/ 150207 w 654040"/>
                    <a:gd name="connsiteY116" fmla="*/ 237125 h 460909"/>
                    <a:gd name="connsiteX117" fmla="*/ 142797 w 654040"/>
                    <a:gd name="connsiteY117" fmla="*/ 229048 h 460909"/>
                    <a:gd name="connsiteX118" fmla="*/ 136415 w 654040"/>
                    <a:gd name="connsiteY118" fmla="*/ 228229 h 460909"/>
                    <a:gd name="connsiteX119" fmla="*/ 129071 w 654040"/>
                    <a:gd name="connsiteY119" fmla="*/ 223666 h 460909"/>
                    <a:gd name="connsiteX120" fmla="*/ 116441 w 654040"/>
                    <a:gd name="connsiteY120" fmla="*/ 216237 h 460909"/>
                    <a:gd name="connsiteX121" fmla="*/ 105116 w 654040"/>
                    <a:gd name="connsiteY121" fmla="*/ 213522 h 460909"/>
                    <a:gd name="connsiteX122" fmla="*/ 104545 w 654040"/>
                    <a:gd name="connsiteY122" fmla="*/ 205236 h 460909"/>
                    <a:gd name="connsiteX123" fmla="*/ 94934 w 654040"/>
                    <a:gd name="connsiteY123" fmla="*/ 196168 h 460909"/>
                    <a:gd name="connsiteX124" fmla="*/ 94200 w 654040"/>
                    <a:gd name="connsiteY124" fmla="*/ 193263 h 460909"/>
                    <a:gd name="connsiteX125" fmla="*/ 91276 w 654040"/>
                    <a:gd name="connsiteY125" fmla="*/ 193177 h 460909"/>
                    <a:gd name="connsiteX126" fmla="*/ 79218 w 654040"/>
                    <a:gd name="connsiteY126" fmla="*/ 182899 h 460909"/>
                    <a:gd name="connsiteX127" fmla="*/ 79761 w 654040"/>
                    <a:gd name="connsiteY127" fmla="*/ 173127 h 460909"/>
                    <a:gd name="connsiteX128" fmla="*/ 76426 w 654040"/>
                    <a:gd name="connsiteY128" fmla="*/ 162678 h 460909"/>
                    <a:gd name="connsiteX129" fmla="*/ 80351 w 654040"/>
                    <a:gd name="connsiteY129" fmla="*/ 155305 h 460909"/>
                    <a:gd name="connsiteX130" fmla="*/ 90352 w 654040"/>
                    <a:gd name="connsiteY130" fmla="*/ 142771 h 460909"/>
                    <a:gd name="connsiteX131" fmla="*/ 83323 w 654040"/>
                    <a:gd name="connsiteY131" fmla="*/ 133741 h 460909"/>
                    <a:gd name="connsiteX132" fmla="*/ 89886 w 654040"/>
                    <a:gd name="connsiteY132" fmla="*/ 125159 h 460909"/>
                    <a:gd name="connsiteX133" fmla="*/ 74541 w 654040"/>
                    <a:gd name="connsiteY133" fmla="*/ 123368 h 460909"/>
                    <a:gd name="connsiteX134" fmla="*/ 68064 w 654040"/>
                    <a:gd name="connsiteY134" fmla="*/ 118701 h 460909"/>
                    <a:gd name="connsiteX135" fmla="*/ 61967 w 654040"/>
                    <a:gd name="connsiteY135" fmla="*/ 117215 h 460909"/>
                    <a:gd name="connsiteX136" fmla="*/ 54128 w 654040"/>
                    <a:gd name="connsiteY136" fmla="*/ 105318 h 460909"/>
                    <a:gd name="connsiteX137" fmla="*/ 51157 w 654040"/>
                    <a:gd name="connsiteY137" fmla="*/ 104442 h 460909"/>
                    <a:gd name="connsiteX138" fmla="*/ 48214 w 654040"/>
                    <a:gd name="connsiteY138" fmla="*/ 98213 h 460909"/>
                    <a:gd name="connsiteX139" fmla="*/ 41565 w 654040"/>
                    <a:gd name="connsiteY139" fmla="*/ 90659 h 460909"/>
                    <a:gd name="connsiteX140" fmla="*/ 36793 w 654040"/>
                    <a:gd name="connsiteY140" fmla="*/ 77972 h 460909"/>
                    <a:gd name="connsiteX141" fmla="*/ 28564 w 654040"/>
                    <a:gd name="connsiteY141" fmla="*/ 69676 h 460909"/>
                    <a:gd name="connsiteX142" fmla="*/ 23058 w 654040"/>
                    <a:gd name="connsiteY142" fmla="*/ 61227 h 460909"/>
                    <a:gd name="connsiteX143" fmla="*/ 16114 w 654040"/>
                    <a:gd name="connsiteY143" fmla="*/ 53759 h 460909"/>
                    <a:gd name="connsiteX144" fmla="*/ 18648 w 654040"/>
                    <a:gd name="connsiteY144" fmla="*/ 44092 h 460909"/>
                    <a:gd name="connsiteX145" fmla="*/ 15038 w 654040"/>
                    <a:gd name="connsiteY145" fmla="*/ 43168 h 460909"/>
                    <a:gd name="connsiteX146" fmla="*/ 13057 w 654040"/>
                    <a:gd name="connsiteY146" fmla="*/ 37405 h 460909"/>
                    <a:gd name="connsiteX147" fmla="*/ 5989 w 654040"/>
                    <a:gd name="connsiteY147" fmla="*/ 24603 h 460909"/>
                    <a:gd name="connsiteX148" fmla="*/ 5427 w 654040"/>
                    <a:gd name="connsiteY148" fmla="*/ 19507 h 460909"/>
                    <a:gd name="connsiteX149" fmla="*/ 1646 w 654040"/>
                    <a:gd name="connsiteY149" fmla="*/ 15955 h 460909"/>
                    <a:gd name="connsiteX150" fmla="*/ 6389 w 654040"/>
                    <a:gd name="connsiteY150" fmla="*/ 11011 h 460909"/>
                    <a:gd name="connsiteX151" fmla="*/ 13000 w 654040"/>
                    <a:gd name="connsiteY151" fmla="*/ 0 h 460909"/>
                    <a:gd name="connsiteX152" fmla="*/ 26068 w 654040"/>
                    <a:gd name="connsiteY152" fmla="*/ 10173 h 460909"/>
                    <a:gd name="connsiteX153" fmla="*/ 26068 w 654040"/>
                    <a:gd name="connsiteY153" fmla="*/ 10173 h 460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4040" h="460909">
                      <a:moveTo>
                        <a:pt x="26068" y="10173"/>
                      </a:moveTo>
                      <a:cubicBezTo>
                        <a:pt x="33079" y="14745"/>
                        <a:pt x="38222" y="21574"/>
                        <a:pt x="46442" y="24518"/>
                      </a:cubicBezTo>
                      <a:cubicBezTo>
                        <a:pt x="53338" y="26985"/>
                        <a:pt x="67731" y="29299"/>
                        <a:pt x="74178" y="25918"/>
                      </a:cubicBezTo>
                      <a:cubicBezTo>
                        <a:pt x="76960" y="24461"/>
                        <a:pt x="81960" y="18707"/>
                        <a:pt x="84352" y="16688"/>
                      </a:cubicBezTo>
                      <a:cubicBezTo>
                        <a:pt x="87676" y="13878"/>
                        <a:pt x="90457" y="10687"/>
                        <a:pt x="94143" y="8116"/>
                      </a:cubicBezTo>
                      <a:cubicBezTo>
                        <a:pt x="104678" y="772"/>
                        <a:pt x="109755" y="1600"/>
                        <a:pt x="119004" y="10935"/>
                      </a:cubicBezTo>
                      <a:cubicBezTo>
                        <a:pt x="107745" y="17088"/>
                        <a:pt x="119851" y="15974"/>
                        <a:pt x="121042" y="21641"/>
                      </a:cubicBezTo>
                      <a:cubicBezTo>
                        <a:pt x="122204" y="27166"/>
                        <a:pt x="111402" y="22927"/>
                        <a:pt x="115927" y="29433"/>
                      </a:cubicBezTo>
                      <a:cubicBezTo>
                        <a:pt x="118108" y="32557"/>
                        <a:pt x="129919" y="39119"/>
                        <a:pt x="133405" y="40815"/>
                      </a:cubicBezTo>
                      <a:cubicBezTo>
                        <a:pt x="136377" y="42263"/>
                        <a:pt x="140235" y="40072"/>
                        <a:pt x="142415" y="41301"/>
                      </a:cubicBezTo>
                      <a:cubicBezTo>
                        <a:pt x="144321" y="42377"/>
                        <a:pt x="145959" y="51083"/>
                        <a:pt x="147054" y="53464"/>
                      </a:cubicBezTo>
                      <a:cubicBezTo>
                        <a:pt x="150741" y="61446"/>
                        <a:pt x="155351" y="67752"/>
                        <a:pt x="164247" y="70142"/>
                      </a:cubicBezTo>
                      <a:cubicBezTo>
                        <a:pt x="171696" y="72143"/>
                        <a:pt x="181354" y="70181"/>
                        <a:pt x="188098" y="74533"/>
                      </a:cubicBezTo>
                      <a:cubicBezTo>
                        <a:pt x="191003" y="76410"/>
                        <a:pt x="192612" y="80048"/>
                        <a:pt x="195251" y="82239"/>
                      </a:cubicBezTo>
                      <a:cubicBezTo>
                        <a:pt x="199128" y="85449"/>
                        <a:pt x="204271" y="87630"/>
                        <a:pt x="208748" y="89811"/>
                      </a:cubicBezTo>
                      <a:cubicBezTo>
                        <a:pt x="217568" y="94107"/>
                        <a:pt x="226693" y="96603"/>
                        <a:pt x="236446" y="98013"/>
                      </a:cubicBezTo>
                      <a:cubicBezTo>
                        <a:pt x="257716" y="101089"/>
                        <a:pt x="276842" y="87411"/>
                        <a:pt x="297769" y="88688"/>
                      </a:cubicBezTo>
                      <a:cubicBezTo>
                        <a:pt x="296054" y="90135"/>
                        <a:pt x="294044" y="90945"/>
                        <a:pt x="291768" y="91116"/>
                      </a:cubicBezTo>
                      <a:cubicBezTo>
                        <a:pt x="307436" y="98403"/>
                        <a:pt x="297026" y="81791"/>
                        <a:pt x="294035" y="75667"/>
                      </a:cubicBezTo>
                      <a:cubicBezTo>
                        <a:pt x="299769" y="75943"/>
                        <a:pt x="307798" y="76096"/>
                        <a:pt x="312780" y="72552"/>
                      </a:cubicBezTo>
                      <a:cubicBezTo>
                        <a:pt x="317228" y="69380"/>
                        <a:pt x="316152" y="64532"/>
                        <a:pt x="319829" y="60017"/>
                      </a:cubicBezTo>
                      <a:cubicBezTo>
                        <a:pt x="323981" y="54940"/>
                        <a:pt x="330353" y="52340"/>
                        <a:pt x="336650" y="51902"/>
                      </a:cubicBezTo>
                      <a:cubicBezTo>
                        <a:pt x="341203" y="51588"/>
                        <a:pt x="349766" y="54702"/>
                        <a:pt x="353737" y="52426"/>
                      </a:cubicBezTo>
                      <a:cubicBezTo>
                        <a:pt x="355137" y="51626"/>
                        <a:pt x="354042" y="48740"/>
                        <a:pt x="356357" y="47311"/>
                      </a:cubicBezTo>
                      <a:cubicBezTo>
                        <a:pt x="358376" y="46063"/>
                        <a:pt x="363910" y="46940"/>
                        <a:pt x="366215" y="47130"/>
                      </a:cubicBezTo>
                      <a:cubicBezTo>
                        <a:pt x="372140" y="47606"/>
                        <a:pt x="378426" y="47606"/>
                        <a:pt x="382922" y="51521"/>
                      </a:cubicBezTo>
                      <a:cubicBezTo>
                        <a:pt x="384446" y="52855"/>
                        <a:pt x="383960" y="54883"/>
                        <a:pt x="385732" y="56045"/>
                      </a:cubicBezTo>
                      <a:cubicBezTo>
                        <a:pt x="388161" y="57646"/>
                        <a:pt x="392276" y="57312"/>
                        <a:pt x="395019" y="57855"/>
                      </a:cubicBezTo>
                      <a:cubicBezTo>
                        <a:pt x="401962" y="59236"/>
                        <a:pt x="406677" y="62361"/>
                        <a:pt x="412916" y="64923"/>
                      </a:cubicBezTo>
                      <a:cubicBezTo>
                        <a:pt x="417650" y="66875"/>
                        <a:pt x="421517" y="65780"/>
                        <a:pt x="426261" y="65790"/>
                      </a:cubicBezTo>
                      <a:cubicBezTo>
                        <a:pt x="431500" y="65790"/>
                        <a:pt x="439253" y="66704"/>
                        <a:pt x="443797" y="69990"/>
                      </a:cubicBezTo>
                      <a:cubicBezTo>
                        <a:pt x="447387" y="72590"/>
                        <a:pt x="448635" y="76496"/>
                        <a:pt x="452540" y="79115"/>
                      </a:cubicBezTo>
                      <a:cubicBezTo>
                        <a:pt x="458046" y="82792"/>
                        <a:pt x="465028" y="83363"/>
                        <a:pt x="470600" y="87002"/>
                      </a:cubicBezTo>
                      <a:cubicBezTo>
                        <a:pt x="475057" y="89907"/>
                        <a:pt x="478686" y="96308"/>
                        <a:pt x="483592" y="97879"/>
                      </a:cubicBezTo>
                      <a:cubicBezTo>
                        <a:pt x="489764" y="99860"/>
                        <a:pt x="500794" y="94507"/>
                        <a:pt x="505890" y="98898"/>
                      </a:cubicBezTo>
                      <a:cubicBezTo>
                        <a:pt x="509262" y="101813"/>
                        <a:pt x="510985" y="111538"/>
                        <a:pt x="512691" y="115596"/>
                      </a:cubicBezTo>
                      <a:cubicBezTo>
                        <a:pt x="514215" y="119244"/>
                        <a:pt x="516053" y="123606"/>
                        <a:pt x="517729" y="128007"/>
                      </a:cubicBezTo>
                      <a:cubicBezTo>
                        <a:pt x="519567" y="132798"/>
                        <a:pt x="520349" y="134179"/>
                        <a:pt x="519910" y="139618"/>
                      </a:cubicBezTo>
                      <a:cubicBezTo>
                        <a:pt x="519882" y="140046"/>
                        <a:pt x="517977" y="140504"/>
                        <a:pt x="518005" y="140770"/>
                      </a:cubicBezTo>
                      <a:cubicBezTo>
                        <a:pt x="518063" y="141542"/>
                        <a:pt x="519091" y="142904"/>
                        <a:pt x="519130" y="143723"/>
                      </a:cubicBezTo>
                      <a:cubicBezTo>
                        <a:pt x="519225" y="145504"/>
                        <a:pt x="520320" y="147885"/>
                        <a:pt x="520520" y="150057"/>
                      </a:cubicBezTo>
                      <a:cubicBezTo>
                        <a:pt x="520968" y="154848"/>
                        <a:pt x="519910" y="157906"/>
                        <a:pt x="517844" y="161763"/>
                      </a:cubicBezTo>
                      <a:cubicBezTo>
                        <a:pt x="516758" y="163783"/>
                        <a:pt x="514510" y="163078"/>
                        <a:pt x="514586" y="165078"/>
                      </a:cubicBezTo>
                      <a:cubicBezTo>
                        <a:pt x="514624" y="166212"/>
                        <a:pt x="520073" y="170241"/>
                        <a:pt x="520863" y="170936"/>
                      </a:cubicBezTo>
                      <a:cubicBezTo>
                        <a:pt x="515653" y="171479"/>
                        <a:pt x="512757" y="170450"/>
                        <a:pt x="511824" y="176594"/>
                      </a:cubicBezTo>
                      <a:cubicBezTo>
                        <a:pt x="511433" y="179185"/>
                        <a:pt x="513643" y="186633"/>
                        <a:pt x="514929" y="189129"/>
                      </a:cubicBezTo>
                      <a:cubicBezTo>
                        <a:pt x="516882" y="192939"/>
                        <a:pt x="518053" y="193663"/>
                        <a:pt x="522339" y="194872"/>
                      </a:cubicBezTo>
                      <a:cubicBezTo>
                        <a:pt x="526873" y="196149"/>
                        <a:pt x="528455" y="193710"/>
                        <a:pt x="527997" y="198177"/>
                      </a:cubicBezTo>
                      <a:cubicBezTo>
                        <a:pt x="527673" y="201444"/>
                        <a:pt x="522720" y="204169"/>
                        <a:pt x="522482" y="207741"/>
                      </a:cubicBezTo>
                      <a:cubicBezTo>
                        <a:pt x="522254" y="211217"/>
                        <a:pt x="525644" y="215237"/>
                        <a:pt x="527312" y="218037"/>
                      </a:cubicBezTo>
                      <a:cubicBezTo>
                        <a:pt x="531131" y="224495"/>
                        <a:pt x="536655" y="231229"/>
                        <a:pt x="538694" y="238421"/>
                      </a:cubicBezTo>
                      <a:cubicBezTo>
                        <a:pt x="540266" y="243955"/>
                        <a:pt x="539742" y="255670"/>
                        <a:pt x="544475" y="259785"/>
                      </a:cubicBezTo>
                      <a:cubicBezTo>
                        <a:pt x="548933" y="263643"/>
                        <a:pt x="561535" y="261366"/>
                        <a:pt x="567221" y="263081"/>
                      </a:cubicBezTo>
                      <a:cubicBezTo>
                        <a:pt x="589519" y="269815"/>
                        <a:pt x="570888" y="293018"/>
                        <a:pt x="563783" y="304210"/>
                      </a:cubicBezTo>
                      <a:cubicBezTo>
                        <a:pt x="562145" y="306791"/>
                        <a:pt x="559220" y="309687"/>
                        <a:pt x="559925" y="312144"/>
                      </a:cubicBezTo>
                      <a:cubicBezTo>
                        <a:pt x="560554" y="314402"/>
                        <a:pt x="568459" y="319373"/>
                        <a:pt x="570527" y="321126"/>
                      </a:cubicBezTo>
                      <a:cubicBezTo>
                        <a:pt x="576641" y="326298"/>
                        <a:pt x="580642" y="331842"/>
                        <a:pt x="585643" y="338128"/>
                      </a:cubicBezTo>
                      <a:cubicBezTo>
                        <a:pt x="591015" y="344872"/>
                        <a:pt x="596597" y="351282"/>
                        <a:pt x="604959" y="354321"/>
                      </a:cubicBezTo>
                      <a:cubicBezTo>
                        <a:pt x="608331" y="355540"/>
                        <a:pt x="612303" y="355349"/>
                        <a:pt x="615627" y="356931"/>
                      </a:cubicBezTo>
                      <a:cubicBezTo>
                        <a:pt x="617418" y="357788"/>
                        <a:pt x="618847" y="359493"/>
                        <a:pt x="620552" y="360312"/>
                      </a:cubicBezTo>
                      <a:cubicBezTo>
                        <a:pt x="621580" y="360807"/>
                        <a:pt x="626286" y="361865"/>
                        <a:pt x="626695" y="362141"/>
                      </a:cubicBezTo>
                      <a:cubicBezTo>
                        <a:pt x="630696" y="364846"/>
                        <a:pt x="632058" y="373152"/>
                        <a:pt x="634306" y="379105"/>
                      </a:cubicBezTo>
                      <a:cubicBezTo>
                        <a:pt x="636582" y="385134"/>
                        <a:pt x="634477" y="392630"/>
                        <a:pt x="640602" y="394478"/>
                      </a:cubicBezTo>
                      <a:cubicBezTo>
                        <a:pt x="643631" y="395402"/>
                        <a:pt x="647117" y="392668"/>
                        <a:pt x="650079" y="393821"/>
                      </a:cubicBezTo>
                      <a:cubicBezTo>
                        <a:pt x="654956" y="395707"/>
                        <a:pt x="652175" y="397221"/>
                        <a:pt x="652746" y="399041"/>
                      </a:cubicBezTo>
                      <a:cubicBezTo>
                        <a:pt x="654213" y="403736"/>
                        <a:pt x="655280" y="411128"/>
                        <a:pt x="651041" y="413052"/>
                      </a:cubicBezTo>
                      <a:cubicBezTo>
                        <a:pt x="645088" y="415757"/>
                        <a:pt x="637097" y="412223"/>
                        <a:pt x="630619" y="416510"/>
                      </a:cubicBezTo>
                      <a:cubicBezTo>
                        <a:pt x="629200" y="417453"/>
                        <a:pt x="629391" y="419529"/>
                        <a:pt x="628496" y="420339"/>
                      </a:cubicBezTo>
                      <a:cubicBezTo>
                        <a:pt x="627714" y="421062"/>
                        <a:pt x="626962" y="420500"/>
                        <a:pt x="625733" y="421396"/>
                      </a:cubicBezTo>
                      <a:cubicBezTo>
                        <a:pt x="623762" y="422844"/>
                        <a:pt x="618704" y="424215"/>
                        <a:pt x="617342" y="426625"/>
                      </a:cubicBezTo>
                      <a:cubicBezTo>
                        <a:pt x="612398" y="435397"/>
                        <a:pt x="624476" y="459410"/>
                        <a:pt x="611265" y="460848"/>
                      </a:cubicBezTo>
                      <a:cubicBezTo>
                        <a:pt x="605321" y="461496"/>
                        <a:pt x="592825" y="456829"/>
                        <a:pt x="587767" y="454514"/>
                      </a:cubicBezTo>
                      <a:cubicBezTo>
                        <a:pt x="586119" y="453762"/>
                        <a:pt x="586672" y="450942"/>
                        <a:pt x="584100" y="450809"/>
                      </a:cubicBezTo>
                      <a:cubicBezTo>
                        <a:pt x="582081" y="450704"/>
                        <a:pt x="582575" y="454238"/>
                        <a:pt x="580985" y="454514"/>
                      </a:cubicBezTo>
                      <a:cubicBezTo>
                        <a:pt x="577308" y="455152"/>
                        <a:pt x="571260" y="453143"/>
                        <a:pt x="567383" y="452685"/>
                      </a:cubicBezTo>
                      <a:cubicBezTo>
                        <a:pt x="564144" y="452304"/>
                        <a:pt x="560163" y="452371"/>
                        <a:pt x="556763" y="451704"/>
                      </a:cubicBezTo>
                      <a:cubicBezTo>
                        <a:pt x="551000" y="450580"/>
                        <a:pt x="550953" y="450428"/>
                        <a:pt x="544771" y="451028"/>
                      </a:cubicBezTo>
                      <a:cubicBezTo>
                        <a:pt x="536675" y="451809"/>
                        <a:pt x="529655" y="446285"/>
                        <a:pt x="521130" y="445951"/>
                      </a:cubicBezTo>
                      <a:cubicBezTo>
                        <a:pt x="516577" y="445770"/>
                        <a:pt x="512938" y="445323"/>
                        <a:pt x="508452" y="444561"/>
                      </a:cubicBezTo>
                      <a:cubicBezTo>
                        <a:pt x="504709" y="443932"/>
                        <a:pt x="501442" y="442294"/>
                        <a:pt x="498260" y="441713"/>
                      </a:cubicBezTo>
                      <a:cubicBezTo>
                        <a:pt x="486849" y="439636"/>
                        <a:pt x="484792" y="438922"/>
                        <a:pt x="479572" y="428863"/>
                      </a:cubicBezTo>
                      <a:cubicBezTo>
                        <a:pt x="472076" y="414414"/>
                        <a:pt x="467894" y="394916"/>
                        <a:pt x="447406" y="395231"/>
                      </a:cubicBezTo>
                      <a:cubicBezTo>
                        <a:pt x="443777" y="395288"/>
                        <a:pt x="441253" y="397040"/>
                        <a:pt x="438148" y="398450"/>
                      </a:cubicBezTo>
                      <a:cubicBezTo>
                        <a:pt x="434757" y="399993"/>
                        <a:pt x="429623" y="400707"/>
                        <a:pt x="426727" y="402784"/>
                      </a:cubicBezTo>
                      <a:cubicBezTo>
                        <a:pt x="425089" y="403956"/>
                        <a:pt x="425290" y="406556"/>
                        <a:pt x="423451" y="407708"/>
                      </a:cubicBezTo>
                      <a:cubicBezTo>
                        <a:pt x="421641" y="408861"/>
                        <a:pt x="420069" y="407537"/>
                        <a:pt x="418584" y="408223"/>
                      </a:cubicBezTo>
                      <a:cubicBezTo>
                        <a:pt x="414592" y="410052"/>
                        <a:pt x="411754" y="413442"/>
                        <a:pt x="407954" y="415357"/>
                      </a:cubicBezTo>
                      <a:cubicBezTo>
                        <a:pt x="399800" y="419453"/>
                        <a:pt x="393295" y="411861"/>
                        <a:pt x="384998" y="410518"/>
                      </a:cubicBezTo>
                      <a:cubicBezTo>
                        <a:pt x="376149" y="409080"/>
                        <a:pt x="371854" y="411147"/>
                        <a:pt x="363939" y="405527"/>
                      </a:cubicBezTo>
                      <a:cubicBezTo>
                        <a:pt x="356976" y="400584"/>
                        <a:pt x="348575" y="398403"/>
                        <a:pt x="341136" y="393726"/>
                      </a:cubicBezTo>
                      <a:cubicBezTo>
                        <a:pt x="334059" y="389268"/>
                        <a:pt x="330982" y="383515"/>
                        <a:pt x="322962" y="380067"/>
                      </a:cubicBezTo>
                      <a:cubicBezTo>
                        <a:pt x="319619" y="378629"/>
                        <a:pt x="316257" y="376352"/>
                        <a:pt x="312866" y="375381"/>
                      </a:cubicBezTo>
                      <a:cubicBezTo>
                        <a:pt x="308561" y="374142"/>
                        <a:pt x="304103" y="375638"/>
                        <a:pt x="299940" y="373914"/>
                      </a:cubicBezTo>
                      <a:cubicBezTo>
                        <a:pt x="292996" y="371018"/>
                        <a:pt x="287300" y="362550"/>
                        <a:pt x="283395" y="356531"/>
                      </a:cubicBezTo>
                      <a:cubicBezTo>
                        <a:pt x="281509" y="353635"/>
                        <a:pt x="281081" y="349539"/>
                        <a:pt x="279061" y="346920"/>
                      </a:cubicBezTo>
                      <a:cubicBezTo>
                        <a:pt x="276909" y="344139"/>
                        <a:pt x="273575" y="342815"/>
                        <a:pt x="271537" y="340195"/>
                      </a:cubicBezTo>
                      <a:cubicBezTo>
                        <a:pt x="270946" y="339433"/>
                        <a:pt x="272175" y="337576"/>
                        <a:pt x="271194" y="336433"/>
                      </a:cubicBezTo>
                      <a:cubicBezTo>
                        <a:pt x="269803" y="334833"/>
                        <a:pt x="267022" y="335299"/>
                        <a:pt x="265888" y="334128"/>
                      </a:cubicBezTo>
                      <a:cubicBezTo>
                        <a:pt x="263241" y="331356"/>
                        <a:pt x="264078" y="328299"/>
                        <a:pt x="262079" y="324898"/>
                      </a:cubicBezTo>
                      <a:cubicBezTo>
                        <a:pt x="258211" y="318316"/>
                        <a:pt x="248753" y="314268"/>
                        <a:pt x="244124" y="308105"/>
                      </a:cubicBezTo>
                      <a:cubicBezTo>
                        <a:pt x="241809" y="305029"/>
                        <a:pt x="241838" y="301019"/>
                        <a:pt x="237628" y="300400"/>
                      </a:cubicBezTo>
                      <a:cubicBezTo>
                        <a:pt x="233865" y="299847"/>
                        <a:pt x="229646" y="306248"/>
                        <a:pt x="225845" y="306010"/>
                      </a:cubicBezTo>
                      <a:cubicBezTo>
                        <a:pt x="224398" y="305915"/>
                        <a:pt x="217492" y="301019"/>
                        <a:pt x="215892" y="300285"/>
                      </a:cubicBezTo>
                      <a:cubicBezTo>
                        <a:pt x="212805" y="298876"/>
                        <a:pt x="209510" y="297990"/>
                        <a:pt x="207424" y="295209"/>
                      </a:cubicBezTo>
                      <a:cubicBezTo>
                        <a:pt x="209129" y="294456"/>
                        <a:pt x="213548" y="295323"/>
                        <a:pt x="213987" y="294285"/>
                      </a:cubicBezTo>
                      <a:cubicBezTo>
                        <a:pt x="215310" y="291170"/>
                        <a:pt x="208443" y="290722"/>
                        <a:pt x="206509" y="291037"/>
                      </a:cubicBezTo>
                      <a:cubicBezTo>
                        <a:pt x="206986" y="291627"/>
                        <a:pt x="207452" y="292218"/>
                        <a:pt x="207919" y="292808"/>
                      </a:cubicBezTo>
                      <a:cubicBezTo>
                        <a:pt x="201137" y="294323"/>
                        <a:pt x="207234" y="298571"/>
                        <a:pt x="206395" y="302200"/>
                      </a:cubicBezTo>
                      <a:cubicBezTo>
                        <a:pt x="205662" y="305334"/>
                        <a:pt x="201471" y="308039"/>
                        <a:pt x="198175" y="307772"/>
                      </a:cubicBezTo>
                      <a:cubicBezTo>
                        <a:pt x="192260" y="307296"/>
                        <a:pt x="190603" y="300371"/>
                        <a:pt x="186183" y="296999"/>
                      </a:cubicBezTo>
                      <a:cubicBezTo>
                        <a:pt x="184450" y="295675"/>
                        <a:pt x="179887" y="294085"/>
                        <a:pt x="178620" y="292446"/>
                      </a:cubicBezTo>
                      <a:cubicBezTo>
                        <a:pt x="176267" y="289408"/>
                        <a:pt x="176887" y="284064"/>
                        <a:pt x="175163" y="280216"/>
                      </a:cubicBezTo>
                      <a:cubicBezTo>
                        <a:pt x="173372" y="276206"/>
                        <a:pt x="175305" y="277378"/>
                        <a:pt x="171600" y="275692"/>
                      </a:cubicBezTo>
                      <a:cubicBezTo>
                        <a:pt x="169905" y="274920"/>
                        <a:pt x="165819" y="276578"/>
                        <a:pt x="164409" y="275397"/>
                      </a:cubicBezTo>
                      <a:cubicBezTo>
                        <a:pt x="162123" y="273492"/>
                        <a:pt x="161952" y="263490"/>
                        <a:pt x="161980" y="260804"/>
                      </a:cubicBezTo>
                      <a:cubicBezTo>
                        <a:pt x="162038" y="254413"/>
                        <a:pt x="163971" y="252765"/>
                        <a:pt x="160475" y="247469"/>
                      </a:cubicBezTo>
                      <a:cubicBezTo>
                        <a:pt x="157847" y="243478"/>
                        <a:pt x="153236" y="240716"/>
                        <a:pt x="150207" y="237125"/>
                      </a:cubicBezTo>
                      <a:cubicBezTo>
                        <a:pt x="147616" y="234058"/>
                        <a:pt x="146607" y="230781"/>
                        <a:pt x="142797" y="229048"/>
                      </a:cubicBezTo>
                      <a:cubicBezTo>
                        <a:pt x="141187" y="228314"/>
                        <a:pt x="138311" y="228915"/>
                        <a:pt x="136415" y="228229"/>
                      </a:cubicBezTo>
                      <a:cubicBezTo>
                        <a:pt x="134072" y="227372"/>
                        <a:pt x="131186" y="224990"/>
                        <a:pt x="129071" y="223666"/>
                      </a:cubicBezTo>
                      <a:cubicBezTo>
                        <a:pt x="124928" y="221076"/>
                        <a:pt x="120918" y="218228"/>
                        <a:pt x="116441" y="216237"/>
                      </a:cubicBezTo>
                      <a:cubicBezTo>
                        <a:pt x="114203" y="215237"/>
                        <a:pt x="106221" y="214646"/>
                        <a:pt x="105116" y="213522"/>
                      </a:cubicBezTo>
                      <a:cubicBezTo>
                        <a:pt x="102363" y="210741"/>
                        <a:pt x="105506" y="208179"/>
                        <a:pt x="104545" y="205236"/>
                      </a:cubicBezTo>
                      <a:cubicBezTo>
                        <a:pt x="103259" y="201311"/>
                        <a:pt x="97191" y="197692"/>
                        <a:pt x="94934" y="196168"/>
                      </a:cubicBezTo>
                      <a:cubicBezTo>
                        <a:pt x="94677" y="195987"/>
                        <a:pt x="95067" y="193796"/>
                        <a:pt x="94200" y="193263"/>
                      </a:cubicBezTo>
                      <a:cubicBezTo>
                        <a:pt x="93486" y="192824"/>
                        <a:pt x="91457" y="193320"/>
                        <a:pt x="91276" y="193177"/>
                      </a:cubicBezTo>
                      <a:cubicBezTo>
                        <a:pt x="88552" y="190862"/>
                        <a:pt x="81056" y="186747"/>
                        <a:pt x="79218" y="182899"/>
                      </a:cubicBezTo>
                      <a:cubicBezTo>
                        <a:pt x="77760" y="179823"/>
                        <a:pt x="80837" y="177175"/>
                        <a:pt x="79761" y="173127"/>
                      </a:cubicBezTo>
                      <a:cubicBezTo>
                        <a:pt x="78532" y="168564"/>
                        <a:pt x="74712" y="168040"/>
                        <a:pt x="76426" y="162678"/>
                      </a:cubicBezTo>
                      <a:cubicBezTo>
                        <a:pt x="82942" y="164916"/>
                        <a:pt x="79398" y="158801"/>
                        <a:pt x="80351" y="155305"/>
                      </a:cubicBezTo>
                      <a:cubicBezTo>
                        <a:pt x="81970" y="149352"/>
                        <a:pt x="90742" y="148105"/>
                        <a:pt x="90352" y="142771"/>
                      </a:cubicBezTo>
                      <a:cubicBezTo>
                        <a:pt x="90057" y="138808"/>
                        <a:pt x="84285" y="137265"/>
                        <a:pt x="83323" y="133741"/>
                      </a:cubicBezTo>
                      <a:cubicBezTo>
                        <a:pt x="81541" y="127216"/>
                        <a:pt x="90476" y="127835"/>
                        <a:pt x="89886" y="125159"/>
                      </a:cubicBezTo>
                      <a:cubicBezTo>
                        <a:pt x="89066" y="121444"/>
                        <a:pt x="77065" y="124206"/>
                        <a:pt x="74541" y="123368"/>
                      </a:cubicBezTo>
                      <a:cubicBezTo>
                        <a:pt x="72169" y="122597"/>
                        <a:pt x="70473" y="119853"/>
                        <a:pt x="68064" y="118701"/>
                      </a:cubicBezTo>
                      <a:cubicBezTo>
                        <a:pt x="66063" y="117739"/>
                        <a:pt x="63577" y="118405"/>
                        <a:pt x="61967" y="117215"/>
                      </a:cubicBezTo>
                      <a:cubicBezTo>
                        <a:pt x="58710" y="114815"/>
                        <a:pt x="57157" y="108281"/>
                        <a:pt x="54128" y="105318"/>
                      </a:cubicBezTo>
                      <a:cubicBezTo>
                        <a:pt x="53376" y="104585"/>
                        <a:pt x="52005" y="105480"/>
                        <a:pt x="51157" y="104442"/>
                      </a:cubicBezTo>
                      <a:cubicBezTo>
                        <a:pt x="49528" y="102461"/>
                        <a:pt x="49490" y="100060"/>
                        <a:pt x="48214" y="98213"/>
                      </a:cubicBezTo>
                      <a:cubicBezTo>
                        <a:pt x="46213" y="95317"/>
                        <a:pt x="43717" y="93498"/>
                        <a:pt x="41565" y="90659"/>
                      </a:cubicBezTo>
                      <a:cubicBezTo>
                        <a:pt x="38841" y="87078"/>
                        <a:pt x="38470" y="80448"/>
                        <a:pt x="36793" y="77972"/>
                      </a:cubicBezTo>
                      <a:cubicBezTo>
                        <a:pt x="34183" y="74105"/>
                        <a:pt x="30621" y="73714"/>
                        <a:pt x="28564" y="69676"/>
                      </a:cubicBezTo>
                      <a:cubicBezTo>
                        <a:pt x="26135" y="64875"/>
                        <a:pt x="28239" y="64380"/>
                        <a:pt x="23058" y="61227"/>
                      </a:cubicBezTo>
                      <a:cubicBezTo>
                        <a:pt x="17524" y="57865"/>
                        <a:pt x="15962" y="60322"/>
                        <a:pt x="16114" y="53759"/>
                      </a:cubicBezTo>
                      <a:cubicBezTo>
                        <a:pt x="16181" y="50911"/>
                        <a:pt x="19619" y="46520"/>
                        <a:pt x="18648" y="44092"/>
                      </a:cubicBezTo>
                      <a:cubicBezTo>
                        <a:pt x="18181" y="42958"/>
                        <a:pt x="15352" y="43844"/>
                        <a:pt x="15038" y="43168"/>
                      </a:cubicBezTo>
                      <a:cubicBezTo>
                        <a:pt x="14238" y="41491"/>
                        <a:pt x="13828" y="39367"/>
                        <a:pt x="13057" y="37405"/>
                      </a:cubicBezTo>
                      <a:cubicBezTo>
                        <a:pt x="10952" y="32109"/>
                        <a:pt x="8456" y="29242"/>
                        <a:pt x="5989" y="24603"/>
                      </a:cubicBezTo>
                      <a:cubicBezTo>
                        <a:pt x="5151" y="23032"/>
                        <a:pt x="6256" y="21193"/>
                        <a:pt x="5427" y="19507"/>
                      </a:cubicBezTo>
                      <a:cubicBezTo>
                        <a:pt x="4637" y="17936"/>
                        <a:pt x="2484" y="17631"/>
                        <a:pt x="1646" y="15955"/>
                      </a:cubicBezTo>
                      <a:cubicBezTo>
                        <a:pt x="-2269" y="8268"/>
                        <a:pt x="1398" y="13621"/>
                        <a:pt x="6389" y="11011"/>
                      </a:cubicBezTo>
                      <a:cubicBezTo>
                        <a:pt x="11314" y="8449"/>
                        <a:pt x="6323" y="105"/>
                        <a:pt x="13000" y="0"/>
                      </a:cubicBezTo>
                      <a:cubicBezTo>
                        <a:pt x="17562" y="-47"/>
                        <a:pt x="23554" y="7525"/>
                        <a:pt x="26068" y="10173"/>
                      </a:cubicBezTo>
                      <a:lnTo>
                        <a:pt x="26068" y="10173"/>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33" name="Freeform: Shape 632">
                  <a:extLst>
                    <a:ext uri="{FF2B5EF4-FFF2-40B4-BE49-F238E27FC236}">
                      <a16:creationId xmlns:a16="http://schemas.microsoft.com/office/drawing/2014/main" id="{32988090-4915-4ED2-A7A4-14F5414D2D9E}"/>
                    </a:ext>
                  </a:extLst>
                </p:cNvPr>
                <p:cNvSpPr/>
                <p:nvPr/>
              </p:nvSpPr>
              <p:spPr>
                <a:xfrm>
                  <a:off x="5329484" y="2621045"/>
                  <a:ext cx="111775" cy="122433"/>
                </a:xfrm>
                <a:custGeom>
                  <a:avLst/>
                  <a:gdLst>
                    <a:gd name="connsiteX0" fmla="*/ 80667 w 111775"/>
                    <a:gd name="connsiteY0" fmla="*/ 11243 h 122433"/>
                    <a:gd name="connsiteX1" fmla="*/ 72438 w 111775"/>
                    <a:gd name="connsiteY1" fmla="*/ 20187 h 122433"/>
                    <a:gd name="connsiteX2" fmla="*/ 71447 w 111775"/>
                    <a:gd name="connsiteY2" fmla="*/ 23444 h 122433"/>
                    <a:gd name="connsiteX3" fmla="*/ 67732 w 111775"/>
                    <a:gd name="connsiteY3" fmla="*/ 34988 h 122433"/>
                    <a:gd name="connsiteX4" fmla="*/ 84887 w 111775"/>
                    <a:gd name="connsiteY4" fmla="*/ 33979 h 122433"/>
                    <a:gd name="connsiteX5" fmla="*/ 96984 w 111775"/>
                    <a:gd name="connsiteY5" fmla="*/ 36951 h 122433"/>
                    <a:gd name="connsiteX6" fmla="*/ 98527 w 111775"/>
                    <a:gd name="connsiteY6" fmla="*/ 41018 h 122433"/>
                    <a:gd name="connsiteX7" fmla="*/ 103842 w 111775"/>
                    <a:gd name="connsiteY7" fmla="*/ 40913 h 122433"/>
                    <a:gd name="connsiteX8" fmla="*/ 110157 w 111775"/>
                    <a:gd name="connsiteY8" fmla="*/ 42304 h 122433"/>
                    <a:gd name="connsiteX9" fmla="*/ 107975 w 111775"/>
                    <a:gd name="connsiteY9" fmla="*/ 50857 h 122433"/>
                    <a:gd name="connsiteX10" fmla="*/ 109652 w 111775"/>
                    <a:gd name="connsiteY10" fmla="*/ 64345 h 122433"/>
                    <a:gd name="connsiteX11" fmla="*/ 111776 w 111775"/>
                    <a:gd name="connsiteY11" fmla="*/ 72812 h 122433"/>
                    <a:gd name="connsiteX12" fmla="*/ 108642 w 111775"/>
                    <a:gd name="connsiteY12" fmla="*/ 81509 h 122433"/>
                    <a:gd name="connsiteX13" fmla="*/ 100117 w 111775"/>
                    <a:gd name="connsiteY13" fmla="*/ 94977 h 122433"/>
                    <a:gd name="connsiteX14" fmla="*/ 103489 w 111775"/>
                    <a:gd name="connsiteY14" fmla="*/ 98082 h 122433"/>
                    <a:gd name="connsiteX15" fmla="*/ 87221 w 111775"/>
                    <a:gd name="connsiteY15" fmla="*/ 97996 h 122433"/>
                    <a:gd name="connsiteX16" fmla="*/ 74952 w 111775"/>
                    <a:gd name="connsiteY16" fmla="*/ 101987 h 122433"/>
                    <a:gd name="connsiteX17" fmla="*/ 69285 w 111775"/>
                    <a:gd name="connsiteY17" fmla="*/ 106388 h 122433"/>
                    <a:gd name="connsiteX18" fmla="*/ 58750 w 111775"/>
                    <a:gd name="connsiteY18" fmla="*/ 111350 h 122433"/>
                    <a:gd name="connsiteX19" fmla="*/ 49911 w 111775"/>
                    <a:gd name="connsiteY19" fmla="*/ 109360 h 122433"/>
                    <a:gd name="connsiteX20" fmla="*/ 38500 w 111775"/>
                    <a:gd name="connsiteY20" fmla="*/ 119056 h 122433"/>
                    <a:gd name="connsiteX21" fmla="*/ 12725 w 111775"/>
                    <a:gd name="connsiteY21" fmla="*/ 122133 h 122433"/>
                    <a:gd name="connsiteX22" fmla="*/ 21060 w 111775"/>
                    <a:gd name="connsiteY22" fmla="*/ 115903 h 122433"/>
                    <a:gd name="connsiteX23" fmla="*/ 5686 w 111775"/>
                    <a:gd name="connsiteY23" fmla="*/ 118437 h 122433"/>
                    <a:gd name="connsiteX24" fmla="*/ 19574 w 111775"/>
                    <a:gd name="connsiteY24" fmla="*/ 109817 h 122433"/>
                    <a:gd name="connsiteX25" fmla="*/ 1133 w 111775"/>
                    <a:gd name="connsiteY25" fmla="*/ 112093 h 122433"/>
                    <a:gd name="connsiteX26" fmla="*/ 12182 w 111775"/>
                    <a:gd name="connsiteY26" fmla="*/ 101987 h 122433"/>
                    <a:gd name="connsiteX27" fmla="*/ 0 w 111775"/>
                    <a:gd name="connsiteY27" fmla="*/ 101616 h 122433"/>
                    <a:gd name="connsiteX28" fmla="*/ 15954 w 111775"/>
                    <a:gd name="connsiteY28" fmla="*/ 97987 h 122433"/>
                    <a:gd name="connsiteX29" fmla="*/ 12887 w 111775"/>
                    <a:gd name="connsiteY29" fmla="*/ 93148 h 122433"/>
                    <a:gd name="connsiteX30" fmla="*/ 41881 w 111775"/>
                    <a:gd name="connsiteY30" fmla="*/ 84452 h 122433"/>
                    <a:gd name="connsiteX31" fmla="*/ 26737 w 111775"/>
                    <a:gd name="connsiteY31" fmla="*/ 86376 h 122433"/>
                    <a:gd name="connsiteX32" fmla="*/ 20984 w 111775"/>
                    <a:gd name="connsiteY32" fmla="*/ 85919 h 122433"/>
                    <a:gd name="connsiteX33" fmla="*/ 12973 w 111775"/>
                    <a:gd name="connsiteY33" fmla="*/ 87919 h 122433"/>
                    <a:gd name="connsiteX34" fmla="*/ 25270 w 111775"/>
                    <a:gd name="connsiteY34" fmla="*/ 76022 h 122433"/>
                    <a:gd name="connsiteX35" fmla="*/ 39205 w 111775"/>
                    <a:gd name="connsiteY35" fmla="*/ 67840 h 122433"/>
                    <a:gd name="connsiteX36" fmla="*/ 23813 w 111775"/>
                    <a:gd name="connsiteY36" fmla="*/ 66526 h 122433"/>
                    <a:gd name="connsiteX37" fmla="*/ 20546 w 111775"/>
                    <a:gd name="connsiteY37" fmla="*/ 63830 h 122433"/>
                    <a:gd name="connsiteX38" fmla="*/ 15688 w 111775"/>
                    <a:gd name="connsiteY38" fmla="*/ 63563 h 122433"/>
                    <a:gd name="connsiteX39" fmla="*/ 17821 w 111775"/>
                    <a:gd name="connsiteY39" fmla="*/ 61916 h 122433"/>
                    <a:gd name="connsiteX40" fmla="*/ 10573 w 111775"/>
                    <a:gd name="connsiteY40" fmla="*/ 58553 h 122433"/>
                    <a:gd name="connsiteX41" fmla="*/ 20155 w 111775"/>
                    <a:gd name="connsiteY41" fmla="*/ 55315 h 122433"/>
                    <a:gd name="connsiteX42" fmla="*/ 16935 w 111775"/>
                    <a:gd name="connsiteY42" fmla="*/ 51010 h 122433"/>
                    <a:gd name="connsiteX43" fmla="*/ 24298 w 111775"/>
                    <a:gd name="connsiteY43" fmla="*/ 46647 h 122433"/>
                    <a:gd name="connsiteX44" fmla="*/ 15869 w 111775"/>
                    <a:gd name="connsiteY44" fmla="*/ 47161 h 122433"/>
                    <a:gd name="connsiteX45" fmla="*/ 17821 w 111775"/>
                    <a:gd name="connsiteY45" fmla="*/ 39865 h 122433"/>
                    <a:gd name="connsiteX46" fmla="*/ 15830 w 111775"/>
                    <a:gd name="connsiteY46" fmla="*/ 40503 h 122433"/>
                    <a:gd name="connsiteX47" fmla="*/ 12059 w 111775"/>
                    <a:gd name="connsiteY47" fmla="*/ 37960 h 122433"/>
                    <a:gd name="connsiteX48" fmla="*/ 30804 w 111775"/>
                    <a:gd name="connsiteY48" fmla="*/ 33407 h 122433"/>
                    <a:gd name="connsiteX49" fmla="*/ 35814 w 111775"/>
                    <a:gd name="connsiteY49" fmla="*/ 36255 h 122433"/>
                    <a:gd name="connsiteX50" fmla="*/ 39148 w 111775"/>
                    <a:gd name="connsiteY50" fmla="*/ 33884 h 122433"/>
                    <a:gd name="connsiteX51" fmla="*/ 50854 w 111775"/>
                    <a:gd name="connsiteY51" fmla="*/ 35265 h 122433"/>
                    <a:gd name="connsiteX52" fmla="*/ 61865 w 111775"/>
                    <a:gd name="connsiteY52" fmla="*/ 22673 h 122433"/>
                    <a:gd name="connsiteX53" fmla="*/ 46272 w 111775"/>
                    <a:gd name="connsiteY53" fmla="*/ 21406 h 122433"/>
                    <a:gd name="connsiteX54" fmla="*/ 53111 w 111775"/>
                    <a:gd name="connsiteY54" fmla="*/ 17015 h 122433"/>
                    <a:gd name="connsiteX55" fmla="*/ 56988 w 111775"/>
                    <a:gd name="connsiteY55" fmla="*/ 10147 h 122433"/>
                    <a:gd name="connsiteX56" fmla="*/ 72333 w 111775"/>
                    <a:gd name="connsiteY56" fmla="*/ 5509 h 122433"/>
                    <a:gd name="connsiteX57" fmla="*/ 76781 w 111775"/>
                    <a:gd name="connsiteY57" fmla="*/ 5956 h 122433"/>
                    <a:gd name="connsiteX58" fmla="*/ 74238 w 111775"/>
                    <a:gd name="connsiteY58" fmla="*/ 12281 h 122433"/>
                    <a:gd name="connsiteX59" fmla="*/ 83629 w 111775"/>
                    <a:gd name="connsiteY59" fmla="*/ 1956 h 122433"/>
                    <a:gd name="connsiteX60" fmla="*/ 82144 w 111775"/>
                    <a:gd name="connsiteY60" fmla="*/ 13 h 122433"/>
                    <a:gd name="connsiteX61" fmla="*/ 91935 w 111775"/>
                    <a:gd name="connsiteY61" fmla="*/ 3861 h 122433"/>
                    <a:gd name="connsiteX62" fmla="*/ 80667 w 111775"/>
                    <a:gd name="connsiteY62" fmla="*/ 11243 h 122433"/>
                    <a:gd name="connsiteX63" fmla="*/ 80667 w 111775"/>
                    <a:gd name="connsiteY63" fmla="*/ 11243 h 122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11775" h="122433">
                      <a:moveTo>
                        <a:pt x="80667" y="11243"/>
                      </a:moveTo>
                      <a:cubicBezTo>
                        <a:pt x="79353" y="16491"/>
                        <a:pt x="76771" y="17977"/>
                        <a:pt x="72438" y="20187"/>
                      </a:cubicBezTo>
                      <a:cubicBezTo>
                        <a:pt x="70152" y="21358"/>
                        <a:pt x="63760" y="21053"/>
                        <a:pt x="71447" y="23444"/>
                      </a:cubicBezTo>
                      <a:cubicBezTo>
                        <a:pt x="66323" y="29235"/>
                        <a:pt x="55664" y="26902"/>
                        <a:pt x="67732" y="34988"/>
                      </a:cubicBezTo>
                      <a:cubicBezTo>
                        <a:pt x="75143" y="39951"/>
                        <a:pt x="80134" y="39160"/>
                        <a:pt x="84887" y="33979"/>
                      </a:cubicBezTo>
                      <a:cubicBezTo>
                        <a:pt x="89811" y="28607"/>
                        <a:pt x="92307" y="31960"/>
                        <a:pt x="96984" y="36951"/>
                      </a:cubicBezTo>
                      <a:cubicBezTo>
                        <a:pt x="98069" y="38103"/>
                        <a:pt x="97088" y="40522"/>
                        <a:pt x="98527" y="41018"/>
                      </a:cubicBezTo>
                      <a:cubicBezTo>
                        <a:pt x="100060" y="41532"/>
                        <a:pt x="102222" y="40789"/>
                        <a:pt x="103842" y="40913"/>
                      </a:cubicBezTo>
                      <a:cubicBezTo>
                        <a:pt x="106509" y="41132"/>
                        <a:pt x="108690" y="38303"/>
                        <a:pt x="110157" y="42304"/>
                      </a:cubicBezTo>
                      <a:cubicBezTo>
                        <a:pt x="102584" y="40970"/>
                        <a:pt x="106604" y="47181"/>
                        <a:pt x="107975" y="50857"/>
                      </a:cubicBezTo>
                      <a:cubicBezTo>
                        <a:pt x="109852" y="55877"/>
                        <a:pt x="109071" y="59620"/>
                        <a:pt x="109652" y="64345"/>
                      </a:cubicBezTo>
                      <a:cubicBezTo>
                        <a:pt x="110014" y="67250"/>
                        <a:pt x="111757" y="69821"/>
                        <a:pt x="111776" y="72812"/>
                      </a:cubicBezTo>
                      <a:cubicBezTo>
                        <a:pt x="111795" y="77518"/>
                        <a:pt x="110185" y="77660"/>
                        <a:pt x="108642" y="81509"/>
                      </a:cubicBezTo>
                      <a:cubicBezTo>
                        <a:pt x="106489" y="86862"/>
                        <a:pt x="106032" y="92358"/>
                        <a:pt x="100117" y="94977"/>
                      </a:cubicBezTo>
                      <a:cubicBezTo>
                        <a:pt x="101403" y="95729"/>
                        <a:pt x="102194" y="97358"/>
                        <a:pt x="103489" y="98082"/>
                      </a:cubicBezTo>
                      <a:cubicBezTo>
                        <a:pt x="100165" y="100063"/>
                        <a:pt x="88125" y="101559"/>
                        <a:pt x="87221" y="97996"/>
                      </a:cubicBezTo>
                      <a:cubicBezTo>
                        <a:pt x="86039" y="103740"/>
                        <a:pt x="79010" y="100320"/>
                        <a:pt x="74952" y="101987"/>
                      </a:cubicBezTo>
                      <a:cubicBezTo>
                        <a:pt x="72285" y="103083"/>
                        <a:pt x="71657" y="105092"/>
                        <a:pt x="69285" y="106388"/>
                      </a:cubicBezTo>
                      <a:cubicBezTo>
                        <a:pt x="67742" y="107226"/>
                        <a:pt x="60236" y="111141"/>
                        <a:pt x="58750" y="111350"/>
                      </a:cubicBezTo>
                      <a:cubicBezTo>
                        <a:pt x="55102" y="111884"/>
                        <a:pt x="53826" y="108674"/>
                        <a:pt x="49911" y="109360"/>
                      </a:cubicBezTo>
                      <a:cubicBezTo>
                        <a:pt x="56617" y="113922"/>
                        <a:pt x="41424" y="118227"/>
                        <a:pt x="38500" y="119056"/>
                      </a:cubicBezTo>
                      <a:cubicBezTo>
                        <a:pt x="31690" y="120961"/>
                        <a:pt x="19707" y="123266"/>
                        <a:pt x="12725" y="122133"/>
                      </a:cubicBezTo>
                      <a:cubicBezTo>
                        <a:pt x="14707" y="119056"/>
                        <a:pt x="17879" y="117275"/>
                        <a:pt x="21060" y="115903"/>
                      </a:cubicBezTo>
                      <a:cubicBezTo>
                        <a:pt x="15688" y="115313"/>
                        <a:pt x="10887" y="118056"/>
                        <a:pt x="5686" y="118437"/>
                      </a:cubicBezTo>
                      <a:cubicBezTo>
                        <a:pt x="8306" y="115113"/>
                        <a:pt x="15459" y="110931"/>
                        <a:pt x="19574" y="109817"/>
                      </a:cubicBezTo>
                      <a:cubicBezTo>
                        <a:pt x="16021" y="110731"/>
                        <a:pt x="4077" y="115418"/>
                        <a:pt x="1133" y="112093"/>
                      </a:cubicBezTo>
                      <a:cubicBezTo>
                        <a:pt x="-2886" y="107531"/>
                        <a:pt x="9487" y="105035"/>
                        <a:pt x="12182" y="101987"/>
                      </a:cubicBezTo>
                      <a:cubicBezTo>
                        <a:pt x="8315" y="101044"/>
                        <a:pt x="4048" y="102064"/>
                        <a:pt x="0" y="101616"/>
                      </a:cubicBezTo>
                      <a:cubicBezTo>
                        <a:pt x="2477" y="93815"/>
                        <a:pt x="10820" y="99330"/>
                        <a:pt x="15954" y="97987"/>
                      </a:cubicBezTo>
                      <a:cubicBezTo>
                        <a:pt x="14326" y="96291"/>
                        <a:pt x="14221" y="94901"/>
                        <a:pt x="12887" y="93148"/>
                      </a:cubicBezTo>
                      <a:cubicBezTo>
                        <a:pt x="22384" y="88167"/>
                        <a:pt x="31337" y="87233"/>
                        <a:pt x="41881" y="84452"/>
                      </a:cubicBezTo>
                      <a:cubicBezTo>
                        <a:pt x="35547" y="81194"/>
                        <a:pt x="33804" y="85747"/>
                        <a:pt x="26737" y="86376"/>
                      </a:cubicBezTo>
                      <a:cubicBezTo>
                        <a:pt x="24698" y="86557"/>
                        <a:pt x="22812" y="85738"/>
                        <a:pt x="20984" y="85919"/>
                      </a:cubicBezTo>
                      <a:cubicBezTo>
                        <a:pt x="18317" y="86176"/>
                        <a:pt x="16021" y="87957"/>
                        <a:pt x="12973" y="87919"/>
                      </a:cubicBezTo>
                      <a:cubicBezTo>
                        <a:pt x="16097" y="86471"/>
                        <a:pt x="29632" y="79451"/>
                        <a:pt x="25270" y="76022"/>
                      </a:cubicBezTo>
                      <a:cubicBezTo>
                        <a:pt x="30175" y="70774"/>
                        <a:pt x="34309" y="71822"/>
                        <a:pt x="39205" y="67840"/>
                      </a:cubicBezTo>
                      <a:cubicBezTo>
                        <a:pt x="34195" y="65554"/>
                        <a:pt x="28937" y="67459"/>
                        <a:pt x="23813" y="66526"/>
                      </a:cubicBezTo>
                      <a:cubicBezTo>
                        <a:pt x="23479" y="66469"/>
                        <a:pt x="21241" y="64154"/>
                        <a:pt x="20546" y="63830"/>
                      </a:cubicBezTo>
                      <a:cubicBezTo>
                        <a:pt x="19517" y="63335"/>
                        <a:pt x="17174" y="64154"/>
                        <a:pt x="15688" y="63563"/>
                      </a:cubicBezTo>
                      <a:cubicBezTo>
                        <a:pt x="16402" y="63011"/>
                        <a:pt x="17107" y="62468"/>
                        <a:pt x="17821" y="61916"/>
                      </a:cubicBezTo>
                      <a:cubicBezTo>
                        <a:pt x="13554" y="61735"/>
                        <a:pt x="9715" y="62325"/>
                        <a:pt x="10573" y="58553"/>
                      </a:cubicBezTo>
                      <a:cubicBezTo>
                        <a:pt x="11201" y="55772"/>
                        <a:pt x="16088" y="55515"/>
                        <a:pt x="20155" y="55315"/>
                      </a:cubicBezTo>
                      <a:cubicBezTo>
                        <a:pt x="15964" y="55305"/>
                        <a:pt x="14859" y="53438"/>
                        <a:pt x="16935" y="51010"/>
                      </a:cubicBezTo>
                      <a:cubicBezTo>
                        <a:pt x="19421" y="48085"/>
                        <a:pt x="24251" y="51219"/>
                        <a:pt x="24298" y="46647"/>
                      </a:cubicBezTo>
                      <a:cubicBezTo>
                        <a:pt x="21536" y="46133"/>
                        <a:pt x="18545" y="46276"/>
                        <a:pt x="15869" y="47161"/>
                      </a:cubicBezTo>
                      <a:cubicBezTo>
                        <a:pt x="16878" y="44818"/>
                        <a:pt x="17888" y="42418"/>
                        <a:pt x="17821" y="39865"/>
                      </a:cubicBezTo>
                      <a:cubicBezTo>
                        <a:pt x="17154" y="40075"/>
                        <a:pt x="16488" y="40284"/>
                        <a:pt x="15830" y="40503"/>
                      </a:cubicBezTo>
                      <a:cubicBezTo>
                        <a:pt x="16116" y="37427"/>
                        <a:pt x="14954" y="36417"/>
                        <a:pt x="12059" y="37960"/>
                      </a:cubicBezTo>
                      <a:cubicBezTo>
                        <a:pt x="12211" y="32398"/>
                        <a:pt x="26489" y="32407"/>
                        <a:pt x="30804" y="33407"/>
                      </a:cubicBezTo>
                      <a:cubicBezTo>
                        <a:pt x="32423" y="33788"/>
                        <a:pt x="34376" y="36227"/>
                        <a:pt x="35814" y="36255"/>
                      </a:cubicBezTo>
                      <a:cubicBezTo>
                        <a:pt x="37281" y="36284"/>
                        <a:pt x="37852" y="33922"/>
                        <a:pt x="39148" y="33884"/>
                      </a:cubicBezTo>
                      <a:cubicBezTo>
                        <a:pt x="43091" y="33788"/>
                        <a:pt x="47072" y="35236"/>
                        <a:pt x="50854" y="35265"/>
                      </a:cubicBezTo>
                      <a:cubicBezTo>
                        <a:pt x="46539" y="29559"/>
                        <a:pt x="59084" y="27464"/>
                        <a:pt x="61865" y="22673"/>
                      </a:cubicBezTo>
                      <a:cubicBezTo>
                        <a:pt x="55540" y="23444"/>
                        <a:pt x="52378" y="23244"/>
                        <a:pt x="46272" y="21406"/>
                      </a:cubicBezTo>
                      <a:cubicBezTo>
                        <a:pt x="48130" y="18806"/>
                        <a:pt x="51083" y="18872"/>
                        <a:pt x="53111" y="17015"/>
                      </a:cubicBezTo>
                      <a:cubicBezTo>
                        <a:pt x="56245" y="14138"/>
                        <a:pt x="54750" y="13138"/>
                        <a:pt x="56988" y="10147"/>
                      </a:cubicBezTo>
                      <a:cubicBezTo>
                        <a:pt x="60265" y="5775"/>
                        <a:pt x="66570" y="4185"/>
                        <a:pt x="72333" y="5509"/>
                      </a:cubicBezTo>
                      <a:cubicBezTo>
                        <a:pt x="72876" y="2003"/>
                        <a:pt x="75486" y="3213"/>
                        <a:pt x="76781" y="5956"/>
                      </a:cubicBezTo>
                      <a:cubicBezTo>
                        <a:pt x="77734" y="7976"/>
                        <a:pt x="74809" y="11186"/>
                        <a:pt x="74238" y="12281"/>
                      </a:cubicBezTo>
                      <a:cubicBezTo>
                        <a:pt x="82515" y="10690"/>
                        <a:pt x="73914" y="956"/>
                        <a:pt x="83629" y="1956"/>
                      </a:cubicBezTo>
                      <a:cubicBezTo>
                        <a:pt x="83134" y="1308"/>
                        <a:pt x="82639" y="660"/>
                        <a:pt x="82144" y="13"/>
                      </a:cubicBezTo>
                      <a:cubicBezTo>
                        <a:pt x="85792" y="-216"/>
                        <a:pt x="88487" y="2708"/>
                        <a:pt x="91935" y="3861"/>
                      </a:cubicBezTo>
                      <a:cubicBezTo>
                        <a:pt x="88202" y="6490"/>
                        <a:pt x="84401" y="8700"/>
                        <a:pt x="80667" y="11243"/>
                      </a:cubicBezTo>
                      <a:lnTo>
                        <a:pt x="80667" y="11243"/>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34" name="Freeform: Shape 633">
                  <a:extLst>
                    <a:ext uri="{FF2B5EF4-FFF2-40B4-BE49-F238E27FC236}">
                      <a16:creationId xmlns:a16="http://schemas.microsoft.com/office/drawing/2014/main" id="{43A4F117-6B71-4CCA-8FE7-1043A0586C49}"/>
                    </a:ext>
                  </a:extLst>
                </p:cNvPr>
                <p:cNvSpPr/>
                <p:nvPr/>
              </p:nvSpPr>
              <p:spPr>
                <a:xfrm>
                  <a:off x="7650174" y="3247274"/>
                  <a:ext cx="833980" cy="862260"/>
                </a:xfrm>
                <a:custGeom>
                  <a:avLst/>
                  <a:gdLst>
                    <a:gd name="connsiteX0" fmla="*/ 235972 w 833980"/>
                    <a:gd name="connsiteY0" fmla="*/ 113163 h 862260"/>
                    <a:gd name="connsiteX1" fmla="*/ 233296 w 833980"/>
                    <a:gd name="connsiteY1" fmla="*/ 110715 h 862260"/>
                    <a:gd name="connsiteX2" fmla="*/ 238182 w 833980"/>
                    <a:gd name="connsiteY2" fmla="*/ 118935 h 862260"/>
                    <a:gd name="connsiteX3" fmla="*/ 241154 w 833980"/>
                    <a:gd name="connsiteY3" fmla="*/ 122716 h 862260"/>
                    <a:gd name="connsiteX4" fmla="*/ 241573 w 833980"/>
                    <a:gd name="connsiteY4" fmla="*/ 126812 h 862260"/>
                    <a:gd name="connsiteX5" fmla="*/ 249726 w 833980"/>
                    <a:gd name="connsiteY5" fmla="*/ 130774 h 862260"/>
                    <a:gd name="connsiteX6" fmla="*/ 263928 w 833980"/>
                    <a:gd name="connsiteY6" fmla="*/ 138499 h 862260"/>
                    <a:gd name="connsiteX7" fmla="*/ 282931 w 833980"/>
                    <a:gd name="connsiteY7" fmla="*/ 144900 h 862260"/>
                    <a:gd name="connsiteX8" fmla="*/ 292456 w 833980"/>
                    <a:gd name="connsiteY8" fmla="*/ 149900 h 862260"/>
                    <a:gd name="connsiteX9" fmla="*/ 299676 w 833980"/>
                    <a:gd name="connsiteY9" fmla="*/ 156159 h 862260"/>
                    <a:gd name="connsiteX10" fmla="*/ 322459 w 833980"/>
                    <a:gd name="connsiteY10" fmla="*/ 167446 h 862260"/>
                    <a:gd name="connsiteX11" fmla="*/ 308401 w 833980"/>
                    <a:gd name="connsiteY11" fmla="*/ 190763 h 862260"/>
                    <a:gd name="connsiteX12" fmla="*/ 309667 w 833980"/>
                    <a:gd name="connsiteY12" fmla="*/ 199116 h 862260"/>
                    <a:gd name="connsiteX13" fmla="*/ 307991 w 833980"/>
                    <a:gd name="connsiteY13" fmla="*/ 204288 h 862260"/>
                    <a:gd name="connsiteX14" fmla="*/ 318887 w 833980"/>
                    <a:gd name="connsiteY14" fmla="*/ 214804 h 862260"/>
                    <a:gd name="connsiteX15" fmla="*/ 328003 w 833980"/>
                    <a:gd name="connsiteY15" fmla="*/ 215956 h 862260"/>
                    <a:gd name="connsiteX16" fmla="*/ 341795 w 833980"/>
                    <a:gd name="connsiteY16" fmla="*/ 222767 h 862260"/>
                    <a:gd name="connsiteX17" fmla="*/ 371351 w 833980"/>
                    <a:gd name="connsiteY17" fmla="*/ 239417 h 862260"/>
                    <a:gd name="connsiteX18" fmla="*/ 379924 w 833980"/>
                    <a:gd name="connsiteY18" fmla="*/ 239864 h 862260"/>
                    <a:gd name="connsiteX19" fmla="*/ 387258 w 833980"/>
                    <a:gd name="connsiteY19" fmla="*/ 243741 h 862260"/>
                    <a:gd name="connsiteX20" fmla="*/ 397250 w 833980"/>
                    <a:gd name="connsiteY20" fmla="*/ 245532 h 862260"/>
                    <a:gd name="connsiteX21" fmla="*/ 402079 w 833980"/>
                    <a:gd name="connsiteY21" fmla="*/ 250770 h 862260"/>
                    <a:gd name="connsiteX22" fmla="*/ 409680 w 833980"/>
                    <a:gd name="connsiteY22" fmla="*/ 252590 h 862260"/>
                    <a:gd name="connsiteX23" fmla="*/ 418862 w 833980"/>
                    <a:gd name="connsiteY23" fmla="*/ 254990 h 862260"/>
                    <a:gd name="connsiteX24" fmla="*/ 423872 w 833980"/>
                    <a:gd name="connsiteY24" fmla="*/ 252513 h 862260"/>
                    <a:gd name="connsiteX25" fmla="*/ 432492 w 833980"/>
                    <a:gd name="connsiteY25" fmla="*/ 254380 h 862260"/>
                    <a:gd name="connsiteX26" fmla="*/ 438531 w 833980"/>
                    <a:gd name="connsiteY26" fmla="*/ 253209 h 862260"/>
                    <a:gd name="connsiteX27" fmla="*/ 455828 w 833980"/>
                    <a:gd name="connsiteY27" fmla="*/ 256133 h 862260"/>
                    <a:gd name="connsiteX28" fmla="*/ 464886 w 833980"/>
                    <a:gd name="connsiteY28" fmla="*/ 265496 h 862260"/>
                    <a:gd name="connsiteX29" fmla="*/ 480174 w 833980"/>
                    <a:gd name="connsiteY29" fmla="*/ 271525 h 862260"/>
                    <a:gd name="connsiteX30" fmla="*/ 489528 w 833980"/>
                    <a:gd name="connsiteY30" fmla="*/ 273945 h 862260"/>
                    <a:gd name="connsiteX31" fmla="*/ 501843 w 833980"/>
                    <a:gd name="connsiteY31" fmla="*/ 279069 h 862260"/>
                    <a:gd name="connsiteX32" fmla="*/ 508721 w 833980"/>
                    <a:gd name="connsiteY32" fmla="*/ 278174 h 862260"/>
                    <a:gd name="connsiteX33" fmla="*/ 517255 w 833980"/>
                    <a:gd name="connsiteY33" fmla="*/ 279974 h 862260"/>
                    <a:gd name="connsiteX34" fmla="*/ 532600 w 833980"/>
                    <a:gd name="connsiteY34" fmla="*/ 284813 h 862260"/>
                    <a:gd name="connsiteX35" fmla="*/ 539544 w 833980"/>
                    <a:gd name="connsiteY35" fmla="*/ 281279 h 862260"/>
                    <a:gd name="connsiteX36" fmla="*/ 543325 w 833980"/>
                    <a:gd name="connsiteY36" fmla="*/ 284994 h 862260"/>
                    <a:gd name="connsiteX37" fmla="*/ 558860 w 833980"/>
                    <a:gd name="connsiteY37" fmla="*/ 286022 h 862260"/>
                    <a:gd name="connsiteX38" fmla="*/ 572129 w 833980"/>
                    <a:gd name="connsiteY38" fmla="*/ 285137 h 862260"/>
                    <a:gd name="connsiteX39" fmla="*/ 567881 w 833980"/>
                    <a:gd name="connsiteY39" fmla="*/ 268915 h 862260"/>
                    <a:gd name="connsiteX40" fmla="*/ 560537 w 833980"/>
                    <a:gd name="connsiteY40" fmla="*/ 254295 h 862260"/>
                    <a:gd name="connsiteX41" fmla="*/ 558594 w 833980"/>
                    <a:gd name="connsiteY41" fmla="*/ 240150 h 862260"/>
                    <a:gd name="connsiteX42" fmla="*/ 557537 w 833980"/>
                    <a:gd name="connsiteY42" fmla="*/ 237454 h 862260"/>
                    <a:gd name="connsiteX43" fmla="*/ 564623 w 833980"/>
                    <a:gd name="connsiteY43" fmla="*/ 235625 h 862260"/>
                    <a:gd name="connsiteX44" fmla="*/ 575148 w 833980"/>
                    <a:gd name="connsiteY44" fmla="*/ 234387 h 862260"/>
                    <a:gd name="connsiteX45" fmla="*/ 580530 w 833980"/>
                    <a:gd name="connsiteY45" fmla="*/ 245560 h 862260"/>
                    <a:gd name="connsiteX46" fmla="*/ 583663 w 833980"/>
                    <a:gd name="connsiteY46" fmla="*/ 254656 h 862260"/>
                    <a:gd name="connsiteX47" fmla="*/ 587312 w 833980"/>
                    <a:gd name="connsiteY47" fmla="*/ 257190 h 862260"/>
                    <a:gd name="connsiteX48" fmla="*/ 584759 w 833980"/>
                    <a:gd name="connsiteY48" fmla="*/ 259962 h 862260"/>
                    <a:gd name="connsiteX49" fmla="*/ 606505 w 833980"/>
                    <a:gd name="connsiteY49" fmla="*/ 272211 h 862260"/>
                    <a:gd name="connsiteX50" fmla="*/ 618439 w 833980"/>
                    <a:gd name="connsiteY50" fmla="*/ 276116 h 862260"/>
                    <a:gd name="connsiteX51" fmla="*/ 628993 w 833980"/>
                    <a:gd name="connsiteY51" fmla="*/ 275126 h 862260"/>
                    <a:gd name="connsiteX52" fmla="*/ 634155 w 833980"/>
                    <a:gd name="connsiteY52" fmla="*/ 271144 h 862260"/>
                    <a:gd name="connsiteX53" fmla="*/ 651891 w 833980"/>
                    <a:gd name="connsiteY53" fmla="*/ 274154 h 862260"/>
                    <a:gd name="connsiteX54" fmla="*/ 670093 w 833980"/>
                    <a:gd name="connsiteY54" fmla="*/ 272268 h 862260"/>
                    <a:gd name="connsiteX55" fmla="*/ 684219 w 833980"/>
                    <a:gd name="connsiteY55" fmla="*/ 271630 h 862260"/>
                    <a:gd name="connsiteX56" fmla="*/ 681942 w 833980"/>
                    <a:gd name="connsiteY56" fmla="*/ 263286 h 862260"/>
                    <a:gd name="connsiteX57" fmla="*/ 680561 w 833980"/>
                    <a:gd name="connsiteY57" fmla="*/ 255714 h 862260"/>
                    <a:gd name="connsiteX58" fmla="*/ 675322 w 833980"/>
                    <a:gd name="connsiteY58" fmla="*/ 253037 h 862260"/>
                    <a:gd name="connsiteX59" fmla="*/ 663673 w 833980"/>
                    <a:gd name="connsiteY59" fmla="*/ 243188 h 862260"/>
                    <a:gd name="connsiteX60" fmla="*/ 674636 w 833980"/>
                    <a:gd name="connsiteY60" fmla="*/ 243817 h 862260"/>
                    <a:gd name="connsiteX61" fmla="*/ 682342 w 833980"/>
                    <a:gd name="connsiteY61" fmla="*/ 241055 h 862260"/>
                    <a:gd name="connsiteX62" fmla="*/ 690753 w 833980"/>
                    <a:gd name="connsiteY62" fmla="*/ 238340 h 862260"/>
                    <a:gd name="connsiteX63" fmla="*/ 690048 w 833980"/>
                    <a:gd name="connsiteY63" fmla="*/ 233187 h 862260"/>
                    <a:gd name="connsiteX64" fmla="*/ 698077 w 833980"/>
                    <a:gd name="connsiteY64" fmla="*/ 225710 h 862260"/>
                    <a:gd name="connsiteX65" fmla="*/ 701240 w 833980"/>
                    <a:gd name="connsiteY65" fmla="*/ 215804 h 862260"/>
                    <a:gd name="connsiteX66" fmla="*/ 719766 w 833980"/>
                    <a:gd name="connsiteY66" fmla="*/ 205393 h 862260"/>
                    <a:gd name="connsiteX67" fmla="*/ 729291 w 833980"/>
                    <a:gd name="connsiteY67" fmla="*/ 197602 h 862260"/>
                    <a:gd name="connsiteX68" fmla="*/ 738340 w 833980"/>
                    <a:gd name="connsiteY68" fmla="*/ 197373 h 862260"/>
                    <a:gd name="connsiteX69" fmla="*/ 759276 w 833980"/>
                    <a:gd name="connsiteY69" fmla="*/ 202945 h 862260"/>
                    <a:gd name="connsiteX70" fmla="*/ 760857 w 833980"/>
                    <a:gd name="connsiteY70" fmla="*/ 197630 h 862260"/>
                    <a:gd name="connsiteX71" fmla="*/ 772125 w 833980"/>
                    <a:gd name="connsiteY71" fmla="*/ 190477 h 862260"/>
                    <a:gd name="connsiteX72" fmla="*/ 780431 w 833980"/>
                    <a:gd name="connsiteY72" fmla="*/ 195735 h 862260"/>
                    <a:gd name="connsiteX73" fmla="*/ 784755 w 833980"/>
                    <a:gd name="connsiteY73" fmla="*/ 196078 h 862260"/>
                    <a:gd name="connsiteX74" fmla="*/ 783155 w 833980"/>
                    <a:gd name="connsiteY74" fmla="*/ 199402 h 862260"/>
                    <a:gd name="connsiteX75" fmla="*/ 782803 w 833980"/>
                    <a:gd name="connsiteY75" fmla="*/ 206574 h 862260"/>
                    <a:gd name="connsiteX76" fmla="*/ 790680 w 833980"/>
                    <a:gd name="connsiteY76" fmla="*/ 202974 h 862260"/>
                    <a:gd name="connsiteX77" fmla="*/ 797128 w 833980"/>
                    <a:gd name="connsiteY77" fmla="*/ 210527 h 862260"/>
                    <a:gd name="connsiteX78" fmla="*/ 793909 w 833980"/>
                    <a:gd name="connsiteY78" fmla="*/ 219995 h 862260"/>
                    <a:gd name="connsiteX79" fmla="*/ 804481 w 833980"/>
                    <a:gd name="connsiteY79" fmla="*/ 221662 h 862260"/>
                    <a:gd name="connsiteX80" fmla="*/ 815235 w 833980"/>
                    <a:gd name="connsiteY80" fmla="*/ 224996 h 862260"/>
                    <a:gd name="connsiteX81" fmla="*/ 826227 w 833980"/>
                    <a:gd name="connsiteY81" fmla="*/ 228482 h 862260"/>
                    <a:gd name="connsiteX82" fmla="*/ 830514 w 833980"/>
                    <a:gd name="connsiteY82" fmla="*/ 236549 h 862260"/>
                    <a:gd name="connsiteX83" fmla="*/ 824503 w 833980"/>
                    <a:gd name="connsiteY83" fmla="*/ 243198 h 862260"/>
                    <a:gd name="connsiteX84" fmla="*/ 833980 w 833980"/>
                    <a:gd name="connsiteY84" fmla="*/ 263496 h 862260"/>
                    <a:gd name="connsiteX85" fmla="*/ 821532 w 833980"/>
                    <a:gd name="connsiteY85" fmla="*/ 257238 h 862260"/>
                    <a:gd name="connsiteX86" fmla="*/ 805081 w 833980"/>
                    <a:gd name="connsiteY86" fmla="*/ 258914 h 862260"/>
                    <a:gd name="connsiteX87" fmla="*/ 796442 w 833980"/>
                    <a:gd name="connsiteY87" fmla="*/ 267725 h 862260"/>
                    <a:gd name="connsiteX88" fmla="*/ 782183 w 833980"/>
                    <a:gd name="connsiteY88" fmla="*/ 279098 h 862260"/>
                    <a:gd name="connsiteX89" fmla="*/ 783936 w 833980"/>
                    <a:gd name="connsiteY89" fmla="*/ 291823 h 862260"/>
                    <a:gd name="connsiteX90" fmla="*/ 786841 w 833980"/>
                    <a:gd name="connsiteY90" fmla="*/ 299776 h 862260"/>
                    <a:gd name="connsiteX91" fmla="*/ 784165 w 833980"/>
                    <a:gd name="connsiteY91" fmla="*/ 312559 h 862260"/>
                    <a:gd name="connsiteX92" fmla="*/ 780040 w 833980"/>
                    <a:gd name="connsiteY92" fmla="*/ 323522 h 862260"/>
                    <a:gd name="connsiteX93" fmla="*/ 786346 w 833980"/>
                    <a:gd name="connsiteY93" fmla="*/ 329552 h 862260"/>
                    <a:gd name="connsiteX94" fmla="*/ 782812 w 833980"/>
                    <a:gd name="connsiteY94" fmla="*/ 346087 h 862260"/>
                    <a:gd name="connsiteX95" fmla="*/ 781793 w 833980"/>
                    <a:gd name="connsiteY95" fmla="*/ 361946 h 862260"/>
                    <a:gd name="connsiteX96" fmla="*/ 778840 w 833980"/>
                    <a:gd name="connsiteY96" fmla="*/ 365204 h 862260"/>
                    <a:gd name="connsiteX97" fmla="*/ 769239 w 833980"/>
                    <a:gd name="connsiteY97" fmla="*/ 362346 h 862260"/>
                    <a:gd name="connsiteX98" fmla="*/ 758990 w 833980"/>
                    <a:gd name="connsiteY98" fmla="*/ 361317 h 862260"/>
                    <a:gd name="connsiteX99" fmla="*/ 755257 w 833980"/>
                    <a:gd name="connsiteY99" fmla="*/ 360946 h 862260"/>
                    <a:gd name="connsiteX100" fmla="*/ 759800 w 833980"/>
                    <a:gd name="connsiteY100" fmla="*/ 368747 h 862260"/>
                    <a:gd name="connsiteX101" fmla="*/ 765038 w 833980"/>
                    <a:gd name="connsiteY101" fmla="*/ 383454 h 862260"/>
                    <a:gd name="connsiteX102" fmla="*/ 766134 w 833980"/>
                    <a:gd name="connsiteY102" fmla="*/ 390435 h 862260"/>
                    <a:gd name="connsiteX103" fmla="*/ 761629 w 833980"/>
                    <a:gd name="connsiteY103" fmla="*/ 392045 h 862260"/>
                    <a:gd name="connsiteX104" fmla="*/ 763391 w 833980"/>
                    <a:gd name="connsiteY104" fmla="*/ 406037 h 862260"/>
                    <a:gd name="connsiteX105" fmla="*/ 767991 w 833980"/>
                    <a:gd name="connsiteY105" fmla="*/ 414343 h 862260"/>
                    <a:gd name="connsiteX106" fmla="*/ 766696 w 833980"/>
                    <a:gd name="connsiteY106" fmla="*/ 418058 h 862260"/>
                    <a:gd name="connsiteX107" fmla="*/ 760781 w 833980"/>
                    <a:gd name="connsiteY107" fmla="*/ 423525 h 862260"/>
                    <a:gd name="connsiteX108" fmla="*/ 755504 w 833980"/>
                    <a:gd name="connsiteY108" fmla="*/ 420496 h 862260"/>
                    <a:gd name="connsiteX109" fmla="*/ 753504 w 833980"/>
                    <a:gd name="connsiteY109" fmla="*/ 425316 h 862260"/>
                    <a:gd name="connsiteX110" fmla="*/ 745912 w 833980"/>
                    <a:gd name="connsiteY110" fmla="*/ 407276 h 862260"/>
                    <a:gd name="connsiteX111" fmla="*/ 736301 w 833980"/>
                    <a:gd name="connsiteY111" fmla="*/ 392074 h 862260"/>
                    <a:gd name="connsiteX112" fmla="*/ 728367 w 833980"/>
                    <a:gd name="connsiteY112" fmla="*/ 374605 h 862260"/>
                    <a:gd name="connsiteX113" fmla="*/ 717157 w 833980"/>
                    <a:gd name="connsiteY113" fmla="*/ 371528 h 862260"/>
                    <a:gd name="connsiteX114" fmla="*/ 716042 w 833980"/>
                    <a:gd name="connsiteY114" fmla="*/ 382920 h 862260"/>
                    <a:gd name="connsiteX115" fmla="*/ 717185 w 833980"/>
                    <a:gd name="connsiteY115" fmla="*/ 392598 h 862260"/>
                    <a:gd name="connsiteX116" fmla="*/ 706117 w 833980"/>
                    <a:gd name="connsiteY116" fmla="*/ 390988 h 862260"/>
                    <a:gd name="connsiteX117" fmla="*/ 693868 w 833980"/>
                    <a:gd name="connsiteY117" fmla="*/ 365404 h 862260"/>
                    <a:gd name="connsiteX118" fmla="*/ 705717 w 833980"/>
                    <a:gd name="connsiteY118" fmla="*/ 355193 h 862260"/>
                    <a:gd name="connsiteX119" fmla="*/ 709994 w 833980"/>
                    <a:gd name="connsiteY119" fmla="*/ 355822 h 862260"/>
                    <a:gd name="connsiteX120" fmla="*/ 710641 w 833980"/>
                    <a:gd name="connsiteY120" fmla="*/ 351402 h 862260"/>
                    <a:gd name="connsiteX121" fmla="*/ 714480 w 833980"/>
                    <a:gd name="connsiteY121" fmla="*/ 346116 h 862260"/>
                    <a:gd name="connsiteX122" fmla="*/ 714289 w 833980"/>
                    <a:gd name="connsiteY122" fmla="*/ 333495 h 862260"/>
                    <a:gd name="connsiteX123" fmla="*/ 720690 w 833980"/>
                    <a:gd name="connsiteY123" fmla="*/ 332523 h 862260"/>
                    <a:gd name="connsiteX124" fmla="*/ 707888 w 833980"/>
                    <a:gd name="connsiteY124" fmla="*/ 325732 h 862260"/>
                    <a:gd name="connsiteX125" fmla="*/ 691372 w 833980"/>
                    <a:gd name="connsiteY125" fmla="*/ 325465 h 862260"/>
                    <a:gd name="connsiteX126" fmla="*/ 662130 w 833980"/>
                    <a:gd name="connsiteY126" fmla="*/ 324856 h 862260"/>
                    <a:gd name="connsiteX127" fmla="*/ 636727 w 833980"/>
                    <a:gd name="connsiteY127" fmla="*/ 320522 h 862260"/>
                    <a:gd name="connsiteX128" fmla="*/ 633755 w 833980"/>
                    <a:gd name="connsiteY128" fmla="*/ 311054 h 862260"/>
                    <a:gd name="connsiteX129" fmla="*/ 625859 w 833980"/>
                    <a:gd name="connsiteY129" fmla="*/ 295100 h 862260"/>
                    <a:gd name="connsiteX130" fmla="*/ 621554 w 833980"/>
                    <a:gd name="connsiteY130" fmla="*/ 291890 h 862260"/>
                    <a:gd name="connsiteX131" fmla="*/ 621287 w 833980"/>
                    <a:gd name="connsiteY131" fmla="*/ 295414 h 862260"/>
                    <a:gd name="connsiteX132" fmla="*/ 618325 w 833980"/>
                    <a:gd name="connsiteY132" fmla="*/ 298995 h 862260"/>
                    <a:gd name="connsiteX133" fmla="*/ 610410 w 833980"/>
                    <a:gd name="connsiteY133" fmla="*/ 295852 h 862260"/>
                    <a:gd name="connsiteX134" fmla="*/ 601094 w 833980"/>
                    <a:gd name="connsiteY134" fmla="*/ 285708 h 862260"/>
                    <a:gd name="connsiteX135" fmla="*/ 601390 w 833980"/>
                    <a:gd name="connsiteY135" fmla="*/ 290737 h 862260"/>
                    <a:gd name="connsiteX136" fmla="*/ 592998 w 833980"/>
                    <a:gd name="connsiteY136" fmla="*/ 289604 h 862260"/>
                    <a:gd name="connsiteX137" fmla="*/ 584063 w 833980"/>
                    <a:gd name="connsiteY137" fmla="*/ 281879 h 862260"/>
                    <a:gd name="connsiteX138" fmla="*/ 581549 w 833980"/>
                    <a:gd name="connsiteY138" fmla="*/ 283774 h 862260"/>
                    <a:gd name="connsiteX139" fmla="*/ 582282 w 833980"/>
                    <a:gd name="connsiteY139" fmla="*/ 290518 h 862260"/>
                    <a:gd name="connsiteX140" fmla="*/ 589778 w 833980"/>
                    <a:gd name="connsiteY140" fmla="*/ 308730 h 862260"/>
                    <a:gd name="connsiteX141" fmla="*/ 602114 w 833980"/>
                    <a:gd name="connsiteY141" fmla="*/ 314626 h 862260"/>
                    <a:gd name="connsiteX142" fmla="*/ 611209 w 833980"/>
                    <a:gd name="connsiteY142" fmla="*/ 321713 h 862260"/>
                    <a:gd name="connsiteX143" fmla="*/ 605056 w 833980"/>
                    <a:gd name="connsiteY143" fmla="*/ 324618 h 862260"/>
                    <a:gd name="connsiteX144" fmla="*/ 598103 w 833980"/>
                    <a:gd name="connsiteY144" fmla="*/ 324189 h 862260"/>
                    <a:gd name="connsiteX145" fmla="*/ 597113 w 833980"/>
                    <a:gd name="connsiteY145" fmla="*/ 331342 h 862260"/>
                    <a:gd name="connsiteX146" fmla="*/ 590531 w 833980"/>
                    <a:gd name="connsiteY146" fmla="*/ 334886 h 862260"/>
                    <a:gd name="connsiteX147" fmla="*/ 594427 w 833980"/>
                    <a:gd name="connsiteY147" fmla="*/ 345858 h 862260"/>
                    <a:gd name="connsiteX148" fmla="*/ 615420 w 833980"/>
                    <a:gd name="connsiteY148" fmla="*/ 355050 h 862260"/>
                    <a:gd name="connsiteX149" fmla="*/ 616048 w 833980"/>
                    <a:gd name="connsiteY149" fmla="*/ 366671 h 862260"/>
                    <a:gd name="connsiteX150" fmla="*/ 620268 w 833980"/>
                    <a:gd name="connsiteY150" fmla="*/ 376691 h 862260"/>
                    <a:gd name="connsiteX151" fmla="*/ 623630 w 833980"/>
                    <a:gd name="connsiteY151" fmla="*/ 382730 h 862260"/>
                    <a:gd name="connsiteX152" fmla="*/ 628803 w 833980"/>
                    <a:gd name="connsiteY152" fmla="*/ 386206 h 862260"/>
                    <a:gd name="connsiteX153" fmla="*/ 630908 w 833980"/>
                    <a:gd name="connsiteY153" fmla="*/ 386854 h 862260"/>
                    <a:gd name="connsiteX154" fmla="*/ 630784 w 833980"/>
                    <a:gd name="connsiteY154" fmla="*/ 390626 h 862260"/>
                    <a:gd name="connsiteX155" fmla="*/ 633622 w 833980"/>
                    <a:gd name="connsiteY155" fmla="*/ 397684 h 862260"/>
                    <a:gd name="connsiteX156" fmla="*/ 646204 w 833980"/>
                    <a:gd name="connsiteY156" fmla="*/ 426592 h 862260"/>
                    <a:gd name="connsiteX157" fmla="*/ 643814 w 833980"/>
                    <a:gd name="connsiteY157" fmla="*/ 426573 h 862260"/>
                    <a:gd name="connsiteX158" fmla="*/ 649500 w 833980"/>
                    <a:gd name="connsiteY158" fmla="*/ 435517 h 862260"/>
                    <a:gd name="connsiteX159" fmla="*/ 642785 w 833980"/>
                    <a:gd name="connsiteY159" fmla="*/ 432660 h 862260"/>
                    <a:gd name="connsiteX160" fmla="*/ 640813 w 833980"/>
                    <a:gd name="connsiteY160" fmla="*/ 437718 h 862260"/>
                    <a:gd name="connsiteX161" fmla="*/ 632794 w 833980"/>
                    <a:gd name="connsiteY161" fmla="*/ 420782 h 862260"/>
                    <a:gd name="connsiteX162" fmla="*/ 635241 w 833980"/>
                    <a:gd name="connsiteY162" fmla="*/ 434489 h 862260"/>
                    <a:gd name="connsiteX163" fmla="*/ 625345 w 833980"/>
                    <a:gd name="connsiteY163" fmla="*/ 432231 h 862260"/>
                    <a:gd name="connsiteX164" fmla="*/ 625535 w 833980"/>
                    <a:gd name="connsiteY164" fmla="*/ 436508 h 862260"/>
                    <a:gd name="connsiteX165" fmla="*/ 619611 w 833980"/>
                    <a:gd name="connsiteY165" fmla="*/ 423963 h 862260"/>
                    <a:gd name="connsiteX166" fmla="*/ 609238 w 833980"/>
                    <a:gd name="connsiteY166" fmla="*/ 412819 h 862260"/>
                    <a:gd name="connsiteX167" fmla="*/ 617906 w 833980"/>
                    <a:gd name="connsiteY167" fmla="*/ 421363 h 862260"/>
                    <a:gd name="connsiteX168" fmla="*/ 612286 w 833980"/>
                    <a:gd name="connsiteY168" fmla="*/ 432403 h 862260"/>
                    <a:gd name="connsiteX169" fmla="*/ 587407 w 833980"/>
                    <a:gd name="connsiteY169" fmla="*/ 446633 h 862260"/>
                    <a:gd name="connsiteX170" fmla="*/ 591093 w 833980"/>
                    <a:gd name="connsiteY170" fmla="*/ 459644 h 862260"/>
                    <a:gd name="connsiteX171" fmla="*/ 591626 w 833980"/>
                    <a:gd name="connsiteY171" fmla="*/ 471255 h 862260"/>
                    <a:gd name="connsiteX172" fmla="*/ 586807 w 833980"/>
                    <a:gd name="connsiteY172" fmla="*/ 480637 h 862260"/>
                    <a:gd name="connsiteX173" fmla="*/ 577739 w 833980"/>
                    <a:gd name="connsiteY173" fmla="*/ 485952 h 862260"/>
                    <a:gd name="connsiteX174" fmla="*/ 557717 w 833980"/>
                    <a:gd name="connsiteY174" fmla="*/ 497172 h 862260"/>
                    <a:gd name="connsiteX175" fmla="*/ 555032 w 833980"/>
                    <a:gd name="connsiteY175" fmla="*/ 490896 h 862260"/>
                    <a:gd name="connsiteX176" fmla="*/ 550250 w 833980"/>
                    <a:gd name="connsiteY176" fmla="*/ 500202 h 862260"/>
                    <a:gd name="connsiteX177" fmla="*/ 556184 w 833980"/>
                    <a:gd name="connsiteY177" fmla="*/ 498449 h 862260"/>
                    <a:gd name="connsiteX178" fmla="*/ 551783 w 833980"/>
                    <a:gd name="connsiteY178" fmla="*/ 502545 h 862260"/>
                    <a:gd name="connsiteX179" fmla="*/ 539934 w 833980"/>
                    <a:gd name="connsiteY179" fmla="*/ 515765 h 862260"/>
                    <a:gd name="connsiteX180" fmla="*/ 523808 w 833980"/>
                    <a:gd name="connsiteY180" fmla="*/ 542502 h 862260"/>
                    <a:gd name="connsiteX181" fmla="*/ 509369 w 833980"/>
                    <a:gd name="connsiteY181" fmla="*/ 553932 h 862260"/>
                    <a:gd name="connsiteX182" fmla="*/ 497510 w 833980"/>
                    <a:gd name="connsiteY182" fmla="*/ 567096 h 862260"/>
                    <a:gd name="connsiteX183" fmla="*/ 484260 w 833980"/>
                    <a:gd name="connsiteY183" fmla="*/ 575449 h 862260"/>
                    <a:gd name="connsiteX184" fmla="*/ 481022 w 833980"/>
                    <a:gd name="connsiteY184" fmla="*/ 586822 h 862260"/>
                    <a:gd name="connsiteX185" fmla="*/ 465334 w 833980"/>
                    <a:gd name="connsiteY185" fmla="*/ 603081 h 862260"/>
                    <a:gd name="connsiteX186" fmla="*/ 451190 w 833980"/>
                    <a:gd name="connsiteY186" fmla="*/ 605319 h 862260"/>
                    <a:gd name="connsiteX187" fmla="*/ 446351 w 833980"/>
                    <a:gd name="connsiteY187" fmla="*/ 620035 h 862260"/>
                    <a:gd name="connsiteX188" fmla="*/ 439483 w 833980"/>
                    <a:gd name="connsiteY188" fmla="*/ 617797 h 862260"/>
                    <a:gd name="connsiteX189" fmla="*/ 425387 w 833980"/>
                    <a:gd name="connsiteY189" fmla="*/ 622731 h 862260"/>
                    <a:gd name="connsiteX190" fmla="*/ 427929 w 833980"/>
                    <a:gd name="connsiteY190" fmla="*/ 658374 h 862260"/>
                    <a:gd name="connsiteX191" fmla="*/ 430073 w 833980"/>
                    <a:gd name="connsiteY191" fmla="*/ 674728 h 862260"/>
                    <a:gd name="connsiteX192" fmla="*/ 438160 w 833980"/>
                    <a:gd name="connsiteY192" fmla="*/ 692845 h 862260"/>
                    <a:gd name="connsiteX193" fmla="*/ 432311 w 833980"/>
                    <a:gd name="connsiteY193" fmla="*/ 685644 h 862260"/>
                    <a:gd name="connsiteX194" fmla="*/ 434931 w 833980"/>
                    <a:gd name="connsiteY194" fmla="*/ 692921 h 862260"/>
                    <a:gd name="connsiteX195" fmla="*/ 439883 w 833980"/>
                    <a:gd name="connsiteY195" fmla="*/ 700055 h 862260"/>
                    <a:gd name="connsiteX196" fmla="*/ 438274 w 833980"/>
                    <a:gd name="connsiteY196" fmla="*/ 725001 h 862260"/>
                    <a:gd name="connsiteX197" fmla="*/ 431120 w 833980"/>
                    <a:gd name="connsiteY197" fmla="*/ 742432 h 862260"/>
                    <a:gd name="connsiteX198" fmla="*/ 429330 w 833980"/>
                    <a:gd name="connsiteY198" fmla="*/ 761301 h 862260"/>
                    <a:gd name="connsiteX199" fmla="*/ 436960 w 833980"/>
                    <a:gd name="connsiteY199" fmla="*/ 782875 h 862260"/>
                    <a:gd name="connsiteX200" fmla="*/ 433369 w 833980"/>
                    <a:gd name="connsiteY200" fmla="*/ 793171 h 862260"/>
                    <a:gd name="connsiteX201" fmla="*/ 422910 w 833980"/>
                    <a:gd name="connsiteY201" fmla="*/ 793781 h 862260"/>
                    <a:gd name="connsiteX202" fmla="*/ 419824 w 833980"/>
                    <a:gd name="connsiteY202" fmla="*/ 803268 h 862260"/>
                    <a:gd name="connsiteX203" fmla="*/ 412880 w 833980"/>
                    <a:gd name="connsiteY203" fmla="*/ 815841 h 862260"/>
                    <a:gd name="connsiteX204" fmla="*/ 428787 w 833980"/>
                    <a:gd name="connsiteY204" fmla="*/ 828081 h 862260"/>
                    <a:gd name="connsiteX205" fmla="*/ 391658 w 833980"/>
                    <a:gd name="connsiteY205" fmla="*/ 837596 h 862260"/>
                    <a:gd name="connsiteX206" fmla="*/ 386953 w 833980"/>
                    <a:gd name="connsiteY206" fmla="*/ 855141 h 862260"/>
                    <a:gd name="connsiteX207" fmla="*/ 369599 w 833980"/>
                    <a:gd name="connsiteY207" fmla="*/ 862132 h 862260"/>
                    <a:gd name="connsiteX208" fmla="*/ 339823 w 833980"/>
                    <a:gd name="connsiteY208" fmla="*/ 836234 h 862260"/>
                    <a:gd name="connsiteX209" fmla="*/ 327051 w 833980"/>
                    <a:gd name="connsiteY209" fmla="*/ 804925 h 862260"/>
                    <a:gd name="connsiteX210" fmla="*/ 335204 w 833980"/>
                    <a:gd name="connsiteY210" fmla="*/ 817241 h 862260"/>
                    <a:gd name="connsiteX211" fmla="*/ 316011 w 833980"/>
                    <a:gd name="connsiteY211" fmla="*/ 781741 h 862260"/>
                    <a:gd name="connsiteX212" fmla="*/ 293732 w 833980"/>
                    <a:gd name="connsiteY212" fmla="*/ 745194 h 862260"/>
                    <a:gd name="connsiteX213" fmla="*/ 253356 w 833980"/>
                    <a:gd name="connsiteY213" fmla="*/ 670947 h 862260"/>
                    <a:gd name="connsiteX214" fmla="*/ 241278 w 833980"/>
                    <a:gd name="connsiteY214" fmla="*/ 652163 h 862260"/>
                    <a:gd name="connsiteX215" fmla="*/ 233153 w 833980"/>
                    <a:gd name="connsiteY215" fmla="*/ 643296 h 862260"/>
                    <a:gd name="connsiteX216" fmla="*/ 226381 w 833980"/>
                    <a:gd name="connsiteY216" fmla="*/ 632637 h 862260"/>
                    <a:gd name="connsiteX217" fmla="*/ 230448 w 833980"/>
                    <a:gd name="connsiteY217" fmla="*/ 632637 h 862260"/>
                    <a:gd name="connsiteX218" fmla="*/ 225952 w 833980"/>
                    <a:gd name="connsiteY218" fmla="*/ 624369 h 862260"/>
                    <a:gd name="connsiteX219" fmla="*/ 207226 w 833980"/>
                    <a:gd name="connsiteY219" fmla="*/ 601081 h 862260"/>
                    <a:gd name="connsiteX220" fmla="*/ 195939 w 833980"/>
                    <a:gd name="connsiteY220" fmla="*/ 569610 h 862260"/>
                    <a:gd name="connsiteX221" fmla="*/ 183918 w 833980"/>
                    <a:gd name="connsiteY221" fmla="*/ 542035 h 862260"/>
                    <a:gd name="connsiteX222" fmla="*/ 178423 w 833980"/>
                    <a:gd name="connsiteY222" fmla="*/ 529434 h 862260"/>
                    <a:gd name="connsiteX223" fmla="*/ 178375 w 833980"/>
                    <a:gd name="connsiteY223" fmla="*/ 514308 h 862260"/>
                    <a:gd name="connsiteX224" fmla="*/ 175327 w 833980"/>
                    <a:gd name="connsiteY224" fmla="*/ 519909 h 862260"/>
                    <a:gd name="connsiteX225" fmla="*/ 172498 w 833980"/>
                    <a:gd name="connsiteY225" fmla="*/ 509727 h 862260"/>
                    <a:gd name="connsiteX226" fmla="*/ 178013 w 833980"/>
                    <a:gd name="connsiteY226" fmla="*/ 510403 h 862260"/>
                    <a:gd name="connsiteX227" fmla="*/ 164897 w 833980"/>
                    <a:gd name="connsiteY227" fmla="*/ 478808 h 862260"/>
                    <a:gd name="connsiteX228" fmla="*/ 160925 w 833980"/>
                    <a:gd name="connsiteY228" fmla="*/ 454586 h 862260"/>
                    <a:gd name="connsiteX229" fmla="*/ 155019 w 833980"/>
                    <a:gd name="connsiteY229" fmla="*/ 441308 h 862260"/>
                    <a:gd name="connsiteX230" fmla="*/ 151390 w 833980"/>
                    <a:gd name="connsiteY230" fmla="*/ 441594 h 862260"/>
                    <a:gd name="connsiteX231" fmla="*/ 164440 w 833980"/>
                    <a:gd name="connsiteY231" fmla="*/ 432498 h 862260"/>
                    <a:gd name="connsiteX232" fmla="*/ 149885 w 833980"/>
                    <a:gd name="connsiteY232" fmla="*/ 434269 h 862260"/>
                    <a:gd name="connsiteX233" fmla="*/ 150266 w 833980"/>
                    <a:gd name="connsiteY233" fmla="*/ 425516 h 862260"/>
                    <a:gd name="connsiteX234" fmla="*/ 144456 w 833980"/>
                    <a:gd name="connsiteY234" fmla="*/ 420506 h 862260"/>
                    <a:gd name="connsiteX235" fmla="*/ 151600 w 833980"/>
                    <a:gd name="connsiteY235" fmla="*/ 417296 h 862260"/>
                    <a:gd name="connsiteX236" fmla="*/ 132340 w 833980"/>
                    <a:gd name="connsiteY236" fmla="*/ 416143 h 862260"/>
                    <a:gd name="connsiteX237" fmla="*/ 131245 w 833980"/>
                    <a:gd name="connsiteY237" fmla="*/ 430221 h 862260"/>
                    <a:gd name="connsiteX238" fmla="*/ 134874 w 833980"/>
                    <a:gd name="connsiteY238" fmla="*/ 451519 h 862260"/>
                    <a:gd name="connsiteX239" fmla="*/ 119281 w 833980"/>
                    <a:gd name="connsiteY239" fmla="*/ 459749 h 862260"/>
                    <a:gd name="connsiteX240" fmla="*/ 105032 w 833980"/>
                    <a:gd name="connsiteY240" fmla="*/ 464940 h 862260"/>
                    <a:gd name="connsiteX241" fmla="*/ 51235 w 833980"/>
                    <a:gd name="connsiteY241" fmla="*/ 430250 h 862260"/>
                    <a:gd name="connsiteX242" fmla="*/ 38738 w 833980"/>
                    <a:gd name="connsiteY242" fmla="*/ 411486 h 862260"/>
                    <a:gd name="connsiteX243" fmla="*/ 43463 w 833980"/>
                    <a:gd name="connsiteY243" fmla="*/ 415372 h 862260"/>
                    <a:gd name="connsiteX244" fmla="*/ 49787 w 833980"/>
                    <a:gd name="connsiteY244" fmla="*/ 412629 h 862260"/>
                    <a:gd name="connsiteX245" fmla="*/ 63484 w 833980"/>
                    <a:gd name="connsiteY245" fmla="*/ 407828 h 862260"/>
                    <a:gd name="connsiteX246" fmla="*/ 71895 w 833980"/>
                    <a:gd name="connsiteY246" fmla="*/ 399303 h 862260"/>
                    <a:gd name="connsiteX247" fmla="*/ 74838 w 833980"/>
                    <a:gd name="connsiteY247" fmla="*/ 390302 h 862260"/>
                    <a:gd name="connsiteX248" fmla="*/ 72257 w 833980"/>
                    <a:gd name="connsiteY248" fmla="*/ 393045 h 862260"/>
                    <a:gd name="connsiteX249" fmla="*/ 69285 w 833980"/>
                    <a:gd name="connsiteY249" fmla="*/ 394245 h 862260"/>
                    <a:gd name="connsiteX250" fmla="*/ 56560 w 833980"/>
                    <a:gd name="connsiteY250" fmla="*/ 398332 h 862260"/>
                    <a:gd name="connsiteX251" fmla="*/ 23917 w 833980"/>
                    <a:gd name="connsiteY251" fmla="*/ 390988 h 862260"/>
                    <a:gd name="connsiteX252" fmla="*/ 11811 w 833980"/>
                    <a:gd name="connsiteY252" fmla="*/ 379367 h 862260"/>
                    <a:gd name="connsiteX253" fmla="*/ 17345 w 833980"/>
                    <a:gd name="connsiteY253" fmla="*/ 366280 h 862260"/>
                    <a:gd name="connsiteX254" fmla="*/ 419 w 833980"/>
                    <a:gd name="connsiteY254" fmla="*/ 369652 h 862260"/>
                    <a:gd name="connsiteX255" fmla="*/ 14906 w 833980"/>
                    <a:gd name="connsiteY255" fmla="*/ 362737 h 862260"/>
                    <a:gd name="connsiteX256" fmla="*/ 18888 w 833980"/>
                    <a:gd name="connsiteY256" fmla="*/ 352640 h 862260"/>
                    <a:gd name="connsiteX257" fmla="*/ 29042 w 833980"/>
                    <a:gd name="connsiteY257" fmla="*/ 353116 h 862260"/>
                    <a:gd name="connsiteX258" fmla="*/ 43177 w 833980"/>
                    <a:gd name="connsiteY258" fmla="*/ 356079 h 862260"/>
                    <a:gd name="connsiteX259" fmla="*/ 60693 w 833980"/>
                    <a:gd name="connsiteY259" fmla="*/ 349830 h 862260"/>
                    <a:gd name="connsiteX260" fmla="*/ 74543 w 833980"/>
                    <a:gd name="connsiteY260" fmla="*/ 353755 h 862260"/>
                    <a:gd name="connsiteX261" fmla="*/ 80210 w 833980"/>
                    <a:gd name="connsiteY261" fmla="*/ 349964 h 862260"/>
                    <a:gd name="connsiteX262" fmla="*/ 78486 w 833980"/>
                    <a:gd name="connsiteY262" fmla="*/ 345735 h 862260"/>
                    <a:gd name="connsiteX263" fmla="*/ 71571 w 833980"/>
                    <a:gd name="connsiteY263" fmla="*/ 329113 h 862260"/>
                    <a:gd name="connsiteX264" fmla="*/ 64103 w 833980"/>
                    <a:gd name="connsiteY264" fmla="*/ 320331 h 862260"/>
                    <a:gd name="connsiteX265" fmla="*/ 59293 w 833980"/>
                    <a:gd name="connsiteY265" fmla="*/ 309797 h 862260"/>
                    <a:gd name="connsiteX266" fmla="*/ 44730 w 833980"/>
                    <a:gd name="connsiteY266" fmla="*/ 305453 h 862260"/>
                    <a:gd name="connsiteX267" fmla="*/ 37347 w 833980"/>
                    <a:gd name="connsiteY267" fmla="*/ 283432 h 862260"/>
                    <a:gd name="connsiteX268" fmla="*/ 17288 w 833980"/>
                    <a:gd name="connsiteY268" fmla="*/ 275888 h 862260"/>
                    <a:gd name="connsiteX269" fmla="*/ 15888 w 833980"/>
                    <a:gd name="connsiteY269" fmla="*/ 258771 h 862260"/>
                    <a:gd name="connsiteX270" fmla="*/ 21917 w 833980"/>
                    <a:gd name="connsiteY270" fmla="*/ 249618 h 862260"/>
                    <a:gd name="connsiteX271" fmla="*/ 26679 w 833980"/>
                    <a:gd name="connsiteY271" fmla="*/ 238321 h 862260"/>
                    <a:gd name="connsiteX272" fmla="*/ 43281 w 833980"/>
                    <a:gd name="connsiteY272" fmla="*/ 243912 h 862260"/>
                    <a:gd name="connsiteX273" fmla="*/ 53807 w 833980"/>
                    <a:gd name="connsiteY273" fmla="*/ 241960 h 862260"/>
                    <a:gd name="connsiteX274" fmla="*/ 66027 w 833980"/>
                    <a:gd name="connsiteY274" fmla="*/ 239769 h 862260"/>
                    <a:gd name="connsiteX275" fmla="*/ 74962 w 833980"/>
                    <a:gd name="connsiteY275" fmla="*/ 234759 h 862260"/>
                    <a:gd name="connsiteX276" fmla="*/ 79648 w 833980"/>
                    <a:gd name="connsiteY276" fmla="*/ 223491 h 862260"/>
                    <a:gd name="connsiteX277" fmla="*/ 81210 w 833980"/>
                    <a:gd name="connsiteY277" fmla="*/ 212823 h 862260"/>
                    <a:gd name="connsiteX278" fmla="*/ 93259 w 833980"/>
                    <a:gd name="connsiteY278" fmla="*/ 204641 h 862260"/>
                    <a:gd name="connsiteX279" fmla="*/ 100413 w 833980"/>
                    <a:gd name="connsiteY279" fmla="*/ 183514 h 862260"/>
                    <a:gd name="connsiteX280" fmla="*/ 103699 w 833980"/>
                    <a:gd name="connsiteY280" fmla="*/ 173122 h 862260"/>
                    <a:gd name="connsiteX281" fmla="*/ 113490 w 833980"/>
                    <a:gd name="connsiteY281" fmla="*/ 167026 h 862260"/>
                    <a:gd name="connsiteX282" fmla="*/ 110975 w 833980"/>
                    <a:gd name="connsiteY282" fmla="*/ 159530 h 862260"/>
                    <a:gd name="connsiteX283" fmla="*/ 116910 w 833980"/>
                    <a:gd name="connsiteY283" fmla="*/ 147986 h 862260"/>
                    <a:gd name="connsiteX284" fmla="*/ 123606 w 833980"/>
                    <a:gd name="connsiteY284" fmla="*/ 142204 h 862260"/>
                    <a:gd name="connsiteX285" fmla="*/ 122320 w 833980"/>
                    <a:gd name="connsiteY285" fmla="*/ 136889 h 862260"/>
                    <a:gd name="connsiteX286" fmla="*/ 120243 w 833980"/>
                    <a:gd name="connsiteY286" fmla="*/ 126145 h 862260"/>
                    <a:gd name="connsiteX287" fmla="*/ 115129 w 833980"/>
                    <a:gd name="connsiteY287" fmla="*/ 117039 h 862260"/>
                    <a:gd name="connsiteX288" fmla="*/ 132807 w 833980"/>
                    <a:gd name="connsiteY288" fmla="*/ 104095 h 862260"/>
                    <a:gd name="connsiteX289" fmla="*/ 115186 w 833980"/>
                    <a:gd name="connsiteY289" fmla="*/ 95170 h 862260"/>
                    <a:gd name="connsiteX290" fmla="*/ 109033 w 833980"/>
                    <a:gd name="connsiteY290" fmla="*/ 89321 h 862260"/>
                    <a:gd name="connsiteX291" fmla="*/ 102441 w 833980"/>
                    <a:gd name="connsiteY291" fmla="*/ 85359 h 862260"/>
                    <a:gd name="connsiteX292" fmla="*/ 96774 w 833980"/>
                    <a:gd name="connsiteY292" fmla="*/ 80940 h 862260"/>
                    <a:gd name="connsiteX293" fmla="*/ 89211 w 833980"/>
                    <a:gd name="connsiteY293" fmla="*/ 75758 h 862260"/>
                    <a:gd name="connsiteX294" fmla="*/ 84506 w 833980"/>
                    <a:gd name="connsiteY294" fmla="*/ 61623 h 862260"/>
                    <a:gd name="connsiteX295" fmla="*/ 77952 w 833980"/>
                    <a:gd name="connsiteY295" fmla="*/ 56260 h 862260"/>
                    <a:gd name="connsiteX296" fmla="*/ 82706 w 833980"/>
                    <a:gd name="connsiteY296" fmla="*/ 49345 h 862260"/>
                    <a:gd name="connsiteX297" fmla="*/ 71323 w 833980"/>
                    <a:gd name="connsiteY297" fmla="*/ 42687 h 862260"/>
                    <a:gd name="connsiteX298" fmla="*/ 71971 w 833980"/>
                    <a:gd name="connsiteY298" fmla="*/ 39934 h 862260"/>
                    <a:gd name="connsiteX299" fmla="*/ 68732 w 833980"/>
                    <a:gd name="connsiteY299" fmla="*/ 37220 h 862260"/>
                    <a:gd name="connsiteX300" fmla="*/ 65342 w 833980"/>
                    <a:gd name="connsiteY300" fmla="*/ 31029 h 862260"/>
                    <a:gd name="connsiteX301" fmla="*/ 83839 w 833980"/>
                    <a:gd name="connsiteY301" fmla="*/ 24094 h 862260"/>
                    <a:gd name="connsiteX302" fmla="*/ 109642 w 833980"/>
                    <a:gd name="connsiteY302" fmla="*/ 29447 h 862260"/>
                    <a:gd name="connsiteX303" fmla="*/ 130664 w 833980"/>
                    <a:gd name="connsiteY303" fmla="*/ 25333 h 862260"/>
                    <a:gd name="connsiteX304" fmla="*/ 147133 w 833980"/>
                    <a:gd name="connsiteY304" fmla="*/ 17065 h 862260"/>
                    <a:gd name="connsiteX305" fmla="*/ 161887 w 833980"/>
                    <a:gd name="connsiteY305" fmla="*/ 2758 h 862260"/>
                    <a:gd name="connsiteX306" fmla="*/ 174050 w 833980"/>
                    <a:gd name="connsiteY306" fmla="*/ 1368 h 862260"/>
                    <a:gd name="connsiteX307" fmla="*/ 178936 w 833980"/>
                    <a:gd name="connsiteY307" fmla="*/ 11121 h 862260"/>
                    <a:gd name="connsiteX308" fmla="*/ 187700 w 833980"/>
                    <a:gd name="connsiteY308" fmla="*/ 22323 h 862260"/>
                    <a:gd name="connsiteX309" fmla="*/ 209464 w 833980"/>
                    <a:gd name="connsiteY309" fmla="*/ 33772 h 862260"/>
                    <a:gd name="connsiteX310" fmla="*/ 210941 w 833980"/>
                    <a:gd name="connsiteY310" fmla="*/ 45573 h 862260"/>
                    <a:gd name="connsiteX311" fmla="*/ 223656 w 833980"/>
                    <a:gd name="connsiteY311" fmla="*/ 65614 h 862260"/>
                    <a:gd name="connsiteX312" fmla="*/ 231334 w 833980"/>
                    <a:gd name="connsiteY312" fmla="*/ 70757 h 862260"/>
                    <a:gd name="connsiteX313" fmla="*/ 234306 w 833980"/>
                    <a:gd name="connsiteY313" fmla="*/ 77615 h 862260"/>
                    <a:gd name="connsiteX314" fmla="*/ 239668 w 833980"/>
                    <a:gd name="connsiteY314" fmla="*/ 84578 h 862260"/>
                    <a:gd name="connsiteX315" fmla="*/ 243373 w 833980"/>
                    <a:gd name="connsiteY315" fmla="*/ 93856 h 862260"/>
                    <a:gd name="connsiteX316" fmla="*/ 233324 w 833980"/>
                    <a:gd name="connsiteY316" fmla="*/ 96665 h 862260"/>
                    <a:gd name="connsiteX317" fmla="*/ 221656 w 833980"/>
                    <a:gd name="connsiteY317" fmla="*/ 91769 h 862260"/>
                    <a:gd name="connsiteX318" fmla="*/ 220866 w 833980"/>
                    <a:gd name="connsiteY318" fmla="*/ 95494 h 862260"/>
                    <a:gd name="connsiteX319" fmla="*/ 225399 w 833980"/>
                    <a:gd name="connsiteY319" fmla="*/ 102533 h 862260"/>
                    <a:gd name="connsiteX320" fmla="*/ 235972 w 833980"/>
                    <a:gd name="connsiteY320" fmla="*/ 113163 h 862260"/>
                    <a:gd name="connsiteX321" fmla="*/ 235972 w 833980"/>
                    <a:gd name="connsiteY321" fmla="*/ 113163 h 86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Lst>
                  <a:rect l="l" t="t" r="r" b="b"/>
                  <a:pathLst>
                    <a:path w="833980" h="862260">
                      <a:moveTo>
                        <a:pt x="235972" y="113163"/>
                      </a:moveTo>
                      <a:cubicBezTo>
                        <a:pt x="235077" y="112343"/>
                        <a:pt x="234182" y="111534"/>
                        <a:pt x="233296" y="110715"/>
                      </a:cubicBezTo>
                      <a:cubicBezTo>
                        <a:pt x="235820" y="112429"/>
                        <a:pt x="236982" y="116315"/>
                        <a:pt x="238182" y="118935"/>
                      </a:cubicBezTo>
                      <a:cubicBezTo>
                        <a:pt x="238754" y="120173"/>
                        <a:pt x="240687" y="121802"/>
                        <a:pt x="241154" y="122716"/>
                      </a:cubicBezTo>
                      <a:cubicBezTo>
                        <a:pt x="241478" y="123345"/>
                        <a:pt x="241202" y="125898"/>
                        <a:pt x="241573" y="126812"/>
                      </a:cubicBezTo>
                      <a:cubicBezTo>
                        <a:pt x="243849" y="132489"/>
                        <a:pt x="244355" y="131574"/>
                        <a:pt x="249726" y="130774"/>
                      </a:cubicBezTo>
                      <a:cubicBezTo>
                        <a:pt x="249289" y="122726"/>
                        <a:pt x="261499" y="136737"/>
                        <a:pt x="263928" y="138499"/>
                      </a:cubicBezTo>
                      <a:cubicBezTo>
                        <a:pt x="270195" y="143023"/>
                        <a:pt x="276292" y="141671"/>
                        <a:pt x="282931" y="144900"/>
                      </a:cubicBezTo>
                      <a:cubicBezTo>
                        <a:pt x="286379" y="146567"/>
                        <a:pt x="290008" y="147672"/>
                        <a:pt x="292456" y="149900"/>
                      </a:cubicBezTo>
                      <a:cubicBezTo>
                        <a:pt x="296704" y="153796"/>
                        <a:pt x="292332" y="153758"/>
                        <a:pt x="299676" y="156159"/>
                      </a:cubicBezTo>
                      <a:cubicBezTo>
                        <a:pt x="305905" y="158187"/>
                        <a:pt x="319383" y="161312"/>
                        <a:pt x="322459" y="167446"/>
                      </a:cubicBezTo>
                      <a:cubicBezTo>
                        <a:pt x="313629" y="164483"/>
                        <a:pt x="307838" y="184886"/>
                        <a:pt x="308401" y="190763"/>
                      </a:cubicBezTo>
                      <a:cubicBezTo>
                        <a:pt x="308696" y="193830"/>
                        <a:pt x="309877" y="196078"/>
                        <a:pt x="309667" y="199116"/>
                      </a:cubicBezTo>
                      <a:cubicBezTo>
                        <a:pt x="309534" y="200955"/>
                        <a:pt x="307915" y="201783"/>
                        <a:pt x="307991" y="204288"/>
                      </a:cubicBezTo>
                      <a:cubicBezTo>
                        <a:pt x="308153" y="210003"/>
                        <a:pt x="313572" y="213213"/>
                        <a:pt x="318887" y="214804"/>
                      </a:cubicBezTo>
                      <a:cubicBezTo>
                        <a:pt x="324069" y="216356"/>
                        <a:pt x="323269" y="214928"/>
                        <a:pt x="328003" y="215956"/>
                      </a:cubicBezTo>
                      <a:cubicBezTo>
                        <a:pt x="332127" y="216861"/>
                        <a:pt x="337956" y="220947"/>
                        <a:pt x="341795" y="222767"/>
                      </a:cubicBezTo>
                      <a:cubicBezTo>
                        <a:pt x="351339" y="227282"/>
                        <a:pt x="360445" y="237635"/>
                        <a:pt x="371351" y="239417"/>
                      </a:cubicBezTo>
                      <a:cubicBezTo>
                        <a:pt x="374647" y="239950"/>
                        <a:pt x="376066" y="238721"/>
                        <a:pt x="379924" y="239864"/>
                      </a:cubicBezTo>
                      <a:cubicBezTo>
                        <a:pt x="382496" y="240626"/>
                        <a:pt x="384772" y="242674"/>
                        <a:pt x="387258" y="243741"/>
                      </a:cubicBezTo>
                      <a:cubicBezTo>
                        <a:pt x="390201" y="244998"/>
                        <a:pt x="395135" y="244436"/>
                        <a:pt x="397250" y="245532"/>
                      </a:cubicBezTo>
                      <a:cubicBezTo>
                        <a:pt x="399602" y="246760"/>
                        <a:pt x="400060" y="249494"/>
                        <a:pt x="402079" y="250770"/>
                      </a:cubicBezTo>
                      <a:cubicBezTo>
                        <a:pt x="404060" y="252028"/>
                        <a:pt x="407375" y="252047"/>
                        <a:pt x="409680" y="252590"/>
                      </a:cubicBezTo>
                      <a:cubicBezTo>
                        <a:pt x="412251" y="253180"/>
                        <a:pt x="416433" y="255114"/>
                        <a:pt x="418862" y="254990"/>
                      </a:cubicBezTo>
                      <a:cubicBezTo>
                        <a:pt x="421776" y="254847"/>
                        <a:pt x="421472" y="252790"/>
                        <a:pt x="423872" y="252513"/>
                      </a:cubicBezTo>
                      <a:cubicBezTo>
                        <a:pt x="427015" y="252151"/>
                        <a:pt x="429521" y="254266"/>
                        <a:pt x="432492" y="254380"/>
                      </a:cubicBezTo>
                      <a:cubicBezTo>
                        <a:pt x="435769" y="254514"/>
                        <a:pt x="435959" y="253485"/>
                        <a:pt x="438531" y="253209"/>
                      </a:cubicBezTo>
                      <a:cubicBezTo>
                        <a:pt x="444637" y="252561"/>
                        <a:pt x="449466" y="253466"/>
                        <a:pt x="455828" y="256133"/>
                      </a:cubicBezTo>
                      <a:cubicBezTo>
                        <a:pt x="462267" y="258828"/>
                        <a:pt x="460524" y="261353"/>
                        <a:pt x="464886" y="265496"/>
                      </a:cubicBezTo>
                      <a:cubicBezTo>
                        <a:pt x="468630" y="269068"/>
                        <a:pt x="475764" y="269401"/>
                        <a:pt x="480174" y="271525"/>
                      </a:cubicBezTo>
                      <a:cubicBezTo>
                        <a:pt x="485061" y="273878"/>
                        <a:pt x="483384" y="274859"/>
                        <a:pt x="489528" y="273945"/>
                      </a:cubicBezTo>
                      <a:cubicBezTo>
                        <a:pt x="499110" y="272535"/>
                        <a:pt x="494757" y="275745"/>
                        <a:pt x="501843" y="279069"/>
                      </a:cubicBezTo>
                      <a:cubicBezTo>
                        <a:pt x="504844" y="280469"/>
                        <a:pt x="505882" y="278040"/>
                        <a:pt x="508721" y="278174"/>
                      </a:cubicBezTo>
                      <a:cubicBezTo>
                        <a:pt x="511131" y="278288"/>
                        <a:pt x="514874" y="279364"/>
                        <a:pt x="517255" y="279974"/>
                      </a:cubicBezTo>
                      <a:cubicBezTo>
                        <a:pt x="521875" y="281165"/>
                        <a:pt x="527999" y="285146"/>
                        <a:pt x="532600" y="284813"/>
                      </a:cubicBezTo>
                      <a:cubicBezTo>
                        <a:pt x="535009" y="284641"/>
                        <a:pt x="537372" y="281117"/>
                        <a:pt x="539544" y="281279"/>
                      </a:cubicBezTo>
                      <a:cubicBezTo>
                        <a:pt x="541515" y="281431"/>
                        <a:pt x="541668" y="284308"/>
                        <a:pt x="543325" y="284994"/>
                      </a:cubicBezTo>
                      <a:cubicBezTo>
                        <a:pt x="548897" y="287261"/>
                        <a:pt x="553031" y="286394"/>
                        <a:pt x="558860" y="286022"/>
                      </a:cubicBezTo>
                      <a:cubicBezTo>
                        <a:pt x="562242" y="285803"/>
                        <a:pt x="570576" y="286708"/>
                        <a:pt x="572129" y="285137"/>
                      </a:cubicBezTo>
                      <a:cubicBezTo>
                        <a:pt x="575558" y="281641"/>
                        <a:pt x="569985" y="271421"/>
                        <a:pt x="567881" y="268915"/>
                      </a:cubicBezTo>
                      <a:cubicBezTo>
                        <a:pt x="563242" y="263391"/>
                        <a:pt x="561461" y="262134"/>
                        <a:pt x="560537" y="254295"/>
                      </a:cubicBezTo>
                      <a:cubicBezTo>
                        <a:pt x="560127" y="250856"/>
                        <a:pt x="558394" y="242598"/>
                        <a:pt x="558594" y="240150"/>
                      </a:cubicBezTo>
                      <a:cubicBezTo>
                        <a:pt x="558680" y="239131"/>
                        <a:pt x="556755" y="239083"/>
                        <a:pt x="557537" y="237454"/>
                      </a:cubicBezTo>
                      <a:cubicBezTo>
                        <a:pt x="557822" y="236854"/>
                        <a:pt x="563718" y="235949"/>
                        <a:pt x="564623" y="235625"/>
                      </a:cubicBezTo>
                      <a:cubicBezTo>
                        <a:pt x="569100" y="234016"/>
                        <a:pt x="569928" y="231292"/>
                        <a:pt x="575148" y="234387"/>
                      </a:cubicBezTo>
                      <a:cubicBezTo>
                        <a:pt x="579615" y="237016"/>
                        <a:pt x="579758" y="241017"/>
                        <a:pt x="580530" y="245560"/>
                      </a:cubicBezTo>
                      <a:cubicBezTo>
                        <a:pt x="581272" y="249894"/>
                        <a:pt x="582168" y="250980"/>
                        <a:pt x="583663" y="254656"/>
                      </a:cubicBezTo>
                      <a:cubicBezTo>
                        <a:pt x="584092" y="255723"/>
                        <a:pt x="587045" y="256123"/>
                        <a:pt x="587312" y="257190"/>
                      </a:cubicBezTo>
                      <a:cubicBezTo>
                        <a:pt x="587559" y="258200"/>
                        <a:pt x="584626" y="259562"/>
                        <a:pt x="584759" y="259962"/>
                      </a:cubicBezTo>
                      <a:cubicBezTo>
                        <a:pt x="588055" y="269506"/>
                        <a:pt x="597180" y="271287"/>
                        <a:pt x="606505" y="272211"/>
                      </a:cubicBezTo>
                      <a:cubicBezTo>
                        <a:pt x="611353" y="272687"/>
                        <a:pt x="614601" y="275430"/>
                        <a:pt x="618439" y="276116"/>
                      </a:cubicBezTo>
                      <a:cubicBezTo>
                        <a:pt x="621468" y="276650"/>
                        <a:pt x="626078" y="276364"/>
                        <a:pt x="628993" y="275126"/>
                      </a:cubicBezTo>
                      <a:cubicBezTo>
                        <a:pt x="631317" y="274135"/>
                        <a:pt x="631308" y="271792"/>
                        <a:pt x="634155" y="271144"/>
                      </a:cubicBezTo>
                      <a:cubicBezTo>
                        <a:pt x="638937" y="270039"/>
                        <a:pt x="646128" y="274411"/>
                        <a:pt x="651891" y="274154"/>
                      </a:cubicBezTo>
                      <a:cubicBezTo>
                        <a:pt x="658311" y="273868"/>
                        <a:pt x="665026" y="272554"/>
                        <a:pt x="670093" y="272268"/>
                      </a:cubicBezTo>
                      <a:cubicBezTo>
                        <a:pt x="672798" y="272116"/>
                        <a:pt x="681342" y="274059"/>
                        <a:pt x="684219" y="271630"/>
                      </a:cubicBezTo>
                      <a:cubicBezTo>
                        <a:pt x="688486" y="268049"/>
                        <a:pt x="683666" y="267887"/>
                        <a:pt x="681942" y="263286"/>
                      </a:cubicBezTo>
                      <a:cubicBezTo>
                        <a:pt x="680656" y="259886"/>
                        <a:pt x="683124" y="258990"/>
                        <a:pt x="680561" y="255714"/>
                      </a:cubicBezTo>
                      <a:cubicBezTo>
                        <a:pt x="678028" y="252475"/>
                        <a:pt x="678018" y="254009"/>
                        <a:pt x="675322" y="253037"/>
                      </a:cubicBezTo>
                      <a:cubicBezTo>
                        <a:pt x="669998" y="251123"/>
                        <a:pt x="662178" y="251923"/>
                        <a:pt x="663673" y="243188"/>
                      </a:cubicBezTo>
                      <a:cubicBezTo>
                        <a:pt x="667350" y="243131"/>
                        <a:pt x="671188" y="244484"/>
                        <a:pt x="674636" y="243817"/>
                      </a:cubicBezTo>
                      <a:cubicBezTo>
                        <a:pt x="676818" y="243388"/>
                        <a:pt x="679952" y="241512"/>
                        <a:pt x="682342" y="241055"/>
                      </a:cubicBezTo>
                      <a:cubicBezTo>
                        <a:pt x="685276" y="240493"/>
                        <a:pt x="688619" y="241512"/>
                        <a:pt x="690753" y="238340"/>
                      </a:cubicBezTo>
                      <a:cubicBezTo>
                        <a:pt x="692991" y="234987"/>
                        <a:pt x="689477" y="234587"/>
                        <a:pt x="690048" y="233187"/>
                      </a:cubicBezTo>
                      <a:cubicBezTo>
                        <a:pt x="691553" y="229530"/>
                        <a:pt x="695668" y="229006"/>
                        <a:pt x="698077" y="225710"/>
                      </a:cubicBezTo>
                      <a:cubicBezTo>
                        <a:pt x="700297" y="222671"/>
                        <a:pt x="698887" y="218242"/>
                        <a:pt x="701240" y="215804"/>
                      </a:cubicBezTo>
                      <a:cubicBezTo>
                        <a:pt x="704497" y="212432"/>
                        <a:pt x="722890" y="215461"/>
                        <a:pt x="719766" y="205393"/>
                      </a:cubicBezTo>
                      <a:cubicBezTo>
                        <a:pt x="722881" y="205212"/>
                        <a:pt x="726319" y="199583"/>
                        <a:pt x="729291" y="197602"/>
                      </a:cubicBezTo>
                      <a:cubicBezTo>
                        <a:pt x="735034" y="193773"/>
                        <a:pt x="732853" y="195421"/>
                        <a:pt x="738340" y="197373"/>
                      </a:cubicBezTo>
                      <a:cubicBezTo>
                        <a:pt x="741597" y="198535"/>
                        <a:pt x="755790" y="204536"/>
                        <a:pt x="759276" y="202945"/>
                      </a:cubicBezTo>
                      <a:cubicBezTo>
                        <a:pt x="761514" y="201936"/>
                        <a:pt x="760324" y="198278"/>
                        <a:pt x="760857" y="197630"/>
                      </a:cubicBezTo>
                      <a:cubicBezTo>
                        <a:pt x="762696" y="195344"/>
                        <a:pt x="769115" y="190610"/>
                        <a:pt x="772125" y="190477"/>
                      </a:cubicBezTo>
                      <a:cubicBezTo>
                        <a:pt x="775869" y="190315"/>
                        <a:pt x="777440" y="193601"/>
                        <a:pt x="780431" y="195735"/>
                      </a:cubicBezTo>
                      <a:cubicBezTo>
                        <a:pt x="781040" y="196164"/>
                        <a:pt x="784784" y="196154"/>
                        <a:pt x="784755" y="196078"/>
                      </a:cubicBezTo>
                      <a:cubicBezTo>
                        <a:pt x="785374" y="198268"/>
                        <a:pt x="783250" y="197783"/>
                        <a:pt x="783155" y="199402"/>
                      </a:cubicBezTo>
                      <a:cubicBezTo>
                        <a:pt x="783117" y="200183"/>
                        <a:pt x="777859" y="204888"/>
                        <a:pt x="782803" y="206574"/>
                      </a:cubicBezTo>
                      <a:cubicBezTo>
                        <a:pt x="785479" y="207498"/>
                        <a:pt x="787203" y="202212"/>
                        <a:pt x="790680" y="202974"/>
                      </a:cubicBezTo>
                      <a:cubicBezTo>
                        <a:pt x="791451" y="203145"/>
                        <a:pt x="796985" y="209918"/>
                        <a:pt x="797128" y="210527"/>
                      </a:cubicBezTo>
                      <a:cubicBezTo>
                        <a:pt x="797833" y="213718"/>
                        <a:pt x="793680" y="216242"/>
                        <a:pt x="793909" y="219995"/>
                      </a:cubicBezTo>
                      <a:cubicBezTo>
                        <a:pt x="794356" y="227110"/>
                        <a:pt x="799119" y="221043"/>
                        <a:pt x="804481" y="221662"/>
                      </a:cubicBezTo>
                      <a:cubicBezTo>
                        <a:pt x="807720" y="222033"/>
                        <a:pt x="811568" y="224472"/>
                        <a:pt x="815235" y="224996"/>
                      </a:cubicBezTo>
                      <a:cubicBezTo>
                        <a:pt x="819026" y="225529"/>
                        <a:pt x="822588" y="224786"/>
                        <a:pt x="826227" y="228482"/>
                      </a:cubicBezTo>
                      <a:cubicBezTo>
                        <a:pt x="826884" y="229158"/>
                        <a:pt x="830599" y="235578"/>
                        <a:pt x="830514" y="236549"/>
                      </a:cubicBezTo>
                      <a:cubicBezTo>
                        <a:pt x="830294" y="239255"/>
                        <a:pt x="826541" y="240579"/>
                        <a:pt x="824503" y="243198"/>
                      </a:cubicBezTo>
                      <a:cubicBezTo>
                        <a:pt x="816864" y="252971"/>
                        <a:pt x="830627" y="255209"/>
                        <a:pt x="833980" y="263496"/>
                      </a:cubicBezTo>
                      <a:cubicBezTo>
                        <a:pt x="827913" y="264467"/>
                        <a:pt x="826284" y="259133"/>
                        <a:pt x="821532" y="257238"/>
                      </a:cubicBezTo>
                      <a:cubicBezTo>
                        <a:pt x="817226" y="255514"/>
                        <a:pt x="809168" y="256990"/>
                        <a:pt x="805081" y="258914"/>
                      </a:cubicBezTo>
                      <a:cubicBezTo>
                        <a:pt x="801005" y="260838"/>
                        <a:pt x="799328" y="264420"/>
                        <a:pt x="796442" y="267725"/>
                      </a:cubicBezTo>
                      <a:cubicBezTo>
                        <a:pt x="792985" y="271678"/>
                        <a:pt x="784736" y="275364"/>
                        <a:pt x="782183" y="279098"/>
                      </a:cubicBezTo>
                      <a:cubicBezTo>
                        <a:pt x="779488" y="283051"/>
                        <a:pt x="781726" y="287889"/>
                        <a:pt x="783936" y="291823"/>
                      </a:cubicBezTo>
                      <a:cubicBezTo>
                        <a:pt x="786489" y="296376"/>
                        <a:pt x="786384" y="295852"/>
                        <a:pt x="786841" y="299776"/>
                      </a:cubicBezTo>
                      <a:cubicBezTo>
                        <a:pt x="787260" y="303463"/>
                        <a:pt x="786470" y="308920"/>
                        <a:pt x="784165" y="312559"/>
                      </a:cubicBezTo>
                      <a:cubicBezTo>
                        <a:pt x="781993" y="315959"/>
                        <a:pt x="777049" y="318207"/>
                        <a:pt x="780040" y="323522"/>
                      </a:cubicBezTo>
                      <a:cubicBezTo>
                        <a:pt x="781726" y="326504"/>
                        <a:pt x="785127" y="325627"/>
                        <a:pt x="786346" y="329552"/>
                      </a:cubicBezTo>
                      <a:cubicBezTo>
                        <a:pt x="787975" y="334809"/>
                        <a:pt x="783984" y="341220"/>
                        <a:pt x="782812" y="346087"/>
                      </a:cubicBezTo>
                      <a:cubicBezTo>
                        <a:pt x="781631" y="351002"/>
                        <a:pt x="783450" y="357517"/>
                        <a:pt x="781793" y="361946"/>
                      </a:cubicBezTo>
                      <a:cubicBezTo>
                        <a:pt x="780297" y="365918"/>
                        <a:pt x="782431" y="364556"/>
                        <a:pt x="778840" y="365204"/>
                      </a:cubicBezTo>
                      <a:cubicBezTo>
                        <a:pt x="776392" y="365642"/>
                        <a:pt x="771763" y="362708"/>
                        <a:pt x="769239" y="362346"/>
                      </a:cubicBezTo>
                      <a:cubicBezTo>
                        <a:pt x="766267" y="361918"/>
                        <a:pt x="761619" y="361051"/>
                        <a:pt x="758990" y="361317"/>
                      </a:cubicBezTo>
                      <a:cubicBezTo>
                        <a:pt x="756809" y="361537"/>
                        <a:pt x="756142" y="357241"/>
                        <a:pt x="755257" y="360946"/>
                      </a:cubicBezTo>
                      <a:cubicBezTo>
                        <a:pt x="754885" y="362508"/>
                        <a:pt x="758866" y="367051"/>
                        <a:pt x="759800" y="368747"/>
                      </a:cubicBezTo>
                      <a:cubicBezTo>
                        <a:pt x="762419" y="373548"/>
                        <a:pt x="763943" y="377948"/>
                        <a:pt x="765038" y="383454"/>
                      </a:cubicBezTo>
                      <a:cubicBezTo>
                        <a:pt x="765315" y="384892"/>
                        <a:pt x="766991" y="388892"/>
                        <a:pt x="766134" y="390435"/>
                      </a:cubicBezTo>
                      <a:cubicBezTo>
                        <a:pt x="764895" y="392664"/>
                        <a:pt x="761895" y="391588"/>
                        <a:pt x="761629" y="392045"/>
                      </a:cubicBezTo>
                      <a:cubicBezTo>
                        <a:pt x="760228" y="394522"/>
                        <a:pt x="762000" y="402570"/>
                        <a:pt x="763391" y="406037"/>
                      </a:cubicBezTo>
                      <a:cubicBezTo>
                        <a:pt x="764467" y="408771"/>
                        <a:pt x="767744" y="411371"/>
                        <a:pt x="767991" y="414343"/>
                      </a:cubicBezTo>
                      <a:cubicBezTo>
                        <a:pt x="768239" y="417305"/>
                        <a:pt x="766887" y="417239"/>
                        <a:pt x="766696" y="418058"/>
                      </a:cubicBezTo>
                      <a:cubicBezTo>
                        <a:pt x="765467" y="423639"/>
                        <a:pt x="765543" y="423802"/>
                        <a:pt x="760781" y="423525"/>
                      </a:cubicBezTo>
                      <a:cubicBezTo>
                        <a:pt x="758990" y="423420"/>
                        <a:pt x="757876" y="420363"/>
                        <a:pt x="755504" y="420496"/>
                      </a:cubicBezTo>
                      <a:cubicBezTo>
                        <a:pt x="756647" y="420430"/>
                        <a:pt x="753532" y="425278"/>
                        <a:pt x="753504" y="425316"/>
                      </a:cubicBezTo>
                      <a:cubicBezTo>
                        <a:pt x="750570" y="419487"/>
                        <a:pt x="748798" y="413143"/>
                        <a:pt x="745912" y="407276"/>
                      </a:cubicBezTo>
                      <a:cubicBezTo>
                        <a:pt x="743188" y="401742"/>
                        <a:pt x="739083" y="397427"/>
                        <a:pt x="736301" y="392074"/>
                      </a:cubicBezTo>
                      <a:cubicBezTo>
                        <a:pt x="733349" y="386387"/>
                        <a:pt x="732406" y="379825"/>
                        <a:pt x="728367" y="374605"/>
                      </a:cubicBezTo>
                      <a:cubicBezTo>
                        <a:pt x="724310" y="369366"/>
                        <a:pt x="723081" y="372347"/>
                        <a:pt x="717157" y="371528"/>
                      </a:cubicBezTo>
                      <a:cubicBezTo>
                        <a:pt x="719728" y="378415"/>
                        <a:pt x="716718" y="377043"/>
                        <a:pt x="716042" y="382920"/>
                      </a:cubicBezTo>
                      <a:cubicBezTo>
                        <a:pt x="715671" y="386216"/>
                        <a:pt x="720033" y="389721"/>
                        <a:pt x="717185" y="392598"/>
                      </a:cubicBezTo>
                      <a:cubicBezTo>
                        <a:pt x="713261" y="396569"/>
                        <a:pt x="701649" y="380872"/>
                        <a:pt x="706117" y="390988"/>
                      </a:cubicBezTo>
                      <a:cubicBezTo>
                        <a:pt x="700288" y="387521"/>
                        <a:pt x="692925" y="372281"/>
                        <a:pt x="693868" y="365404"/>
                      </a:cubicBezTo>
                      <a:cubicBezTo>
                        <a:pt x="694849" y="358241"/>
                        <a:pt x="700116" y="358155"/>
                        <a:pt x="705717" y="355193"/>
                      </a:cubicBezTo>
                      <a:cubicBezTo>
                        <a:pt x="707250" y="354383"/>
                        <a:pt x="708851" y="356650"/>
                        <a:pt x="709994" y="355822"/>
                      </a:cubicBezTo>
                      <a:cubicBezTo>
                        <a:pt x="711108" y="355012"/>
                        <a:pt x="709794" y="352488"/>
                        <a:pt x="710641" y="351402"/>
                      </a:cubicBezTo>
                      <a:cubicBezTo>
                        <a:pt x="713051" y="348306"/>
                        <a:pt x="713127" y="350221"/>
                        <a:pt x="714480" y="346116"/>
                      </a:cubicBezTo>
                      <a:cubicBezTo>
                        <a:pt x="715137" y="344144"/>
                        <a:pt x="713775" y="333876"/>
                        <a:pt x="714289" y="333495"/>
                      </a:cubicBezTo>
                      <a:cubicBezTo>
                        <a:pt x="716214" y="332085"/>
                        <a:pt x="722043" y="337905"/>
                        <a:pt x="720690" y="332523"/>
                      </a:cubicBezTo>
                      <a:cubicBezTo>
                        <a:pt x="719976" y="329685"/>
                        <a:pt x="710517" y="326399"/>
                        <a:pt x="707888" y="325732"/>
                      </a:cubicBezTo>
                      <a:cubicBezTo>
                        <a:pt x="702364" y="324313"/>
                        <a:pt x="697049" y="325522"/>
                        <a:pt x="691372" y="325465"/>
                      </a:cubicBezTo>
                      <a:cubicBezTo>
                        <a:pt x="681676" y="325361"/>
                        <a:pt x="671931" y="324894"/>
                        <a:pt x="662130" y="324856"/>
                      </a:cubicBezTo>
                      <a:cubicBezTo>
                        <a:pt x="655968" y="324837"/>
                        <a:pt x="641690" y="324856"/>
                        <a:pt x="636727" y="320522"/>
                      </a:cubicBezTo>
                      <a:cubicBezTo>
                        <a:pt x="634470" y="318541"/>
                        <a:pt x="634613" y="313702"/>
                        <a:pt x="633755" y="311054"/>
                      </a:cubicBezTo>
                      <a:cubicBezTo>
                        <a:pt x="632051" y="305834"/>
                        <a:pt x="630165" y="298757"/>
                        <a:pt x="625859" y="295100"/>
                      </a:cubicBezTo>
                      <a:cubicBezTo>
                        <a:pt x="624869" y="294261"/>
                        <a:pt x="623316" y="291042"/>
                        <a:pt x="621554" y="291890"/>
                      </a:cubicBezTo>
                      <a:cubicBezTo>
                        <a:pt x="619344" y="292947"/>
                        <a:pt x="621897" y="294652"/>
                        <a:pt x="621287" y="295414"/>
                      </a:cubicBezTo>
                      <a:cubicBezTo>
                        <a:pt x="619954" y="297062"/>
                        <a:pt x="622783" y="298252"/>
                        <a:pt x="618325" y="298995"/>
                      </a:cubicBezTo>
                      <a:cubicBezTo>
                        <a:pt x="616106" y="299367"/>
                        <a:pt x="612238" y="297081"/>
                        <a:pt x="610410" y="295852"/>
                      </a:cubicBezTo>
                      <a:cubicBezTo>
                        <a:pt x="606666" y="293357"/>
                        <a:pt x="605219" y="287051"/>
                        <a:pt x="601094" y="285708"/>
                      </a:cubicBezTo>
                      <a:cubicBezTo>
                        <a:pt x="596798" y="284317"/>
                        <a:pt x="600475" y="289642"/>
                        <a:pt x="601390" y="290737"/>
                      </a:cubicBezTo>
                      <a:cubicBezTo>
                        <a:pt x="599008" y="290823"/>
                        <a:pt x="595236" y="290737"/>
                        <a:pt x="592998" y="289604"/>
                      </a:cubicBezTo>
                      <a:cubicBezTo>
                        <a:pt x="590093" y="288137"/>
                        <a:pt x="588254" y="282974"/>
                        <a:pt x="584063" y="281879"/>
                      </a:cubicBezTo>
                      <a:cubicBezTo>
                        <a:pt x="578330" y="280393"/>
                        <a:pt x="581615" y="281184"/>
                        <a:pt x="581549" y="283774"/>
                      </a:cubicBezTo>
                      <a:cubicBezTo>
                        <a:pt x="581473" y="286965"/>
                        <a:pt x="584568" y="285175"/>
                        <a:pt x="582282" y="290518"/>
                      </a:cubicBezTo>
                      <a:cubicBezTo>
                        <a:pt x="576844" y="303186"/>
                        <a:pt x="579310" y="301234"/>
                        <a:pt x="589778" y="308730"/>
                      </a:cubicBezTo>
                      <a:cubicBezTo>
                        <a:pt x="594398" y="312035"/>
                        <a:pt x="597341" y="312388"/>
                        <a:pt x="602114" y="314626"/>
                      </a:cubicBezTo>
                      <a:cubicBezTo>
                        <a:pt x="602857" y="314978"/>
                        <a:pt x="611229" y="321370"/>
                        <a:pt x="611209" y="321713"/>
                      </a:cubicBezTo>
                      <a:cubicBezTo>
                        <a:pt x="611086" y="325075"/>
                        <a:pt x="607581" y="324380"/>
                        <a:pt x="605056" y="324618"/>
                      </a:cubicBezTo>
                      <a:cubicBezTo>
                        <a:pt x="603266" y="324789"/>
                        <a:pt x="599580" y="323151"/>
                        <a:pt x="598103" y="324189"/>
                      </a:cubicBezTo>
                      <a:cubicBezTo>
                        <a:pt x="596008" y="325665"/>
                        <a:pt x="598379" y="329142"/>
                        <a:pt x="597113" y="331342"/>
                      </a:cubicBezTo>
                      <a:cubicBezTo>
                        <a:pt x="594570" y="335781"/>
                        <a:pt x="593093" y="331142"/>
                        <a:pt x="590531" y="334886"/>
                      </a:cubicBezTo>
                      <a:cubicBezTo>
                        <a:pt x="587664" y="339058"/>
                        <a:pt x="590940" y="343849"/>
                        <a:pt x="594427" y="345858"/>
                      </a:cubicBezTo>
                      <a:cubicBezTo>
                        <a:pt x="600104" y="349106"/>
                        <a:pt x="611848" y="348859"/>
                        <a:pt x="615420" y="355050"/>
                      </a:cubicBezTo>
                      <a:cubicBezTo>
                        <a:pt x="617401" y="358498"/>
                        <a:pt x="615963" y="363070"/>
                        <a:pt x="616048" y="366671"/>
                      </a:cubicBezTo>
                      <a:cubicBezTo>
                        <a:pt x="616210" y="372881"/>
                        <a:pt x="617106" y="372424"/>
                        <a:pt x="620268" y="376691"/>
                      </a:cubicBezTo>
                      <a:cubicBezTo>
                        <a:pt x="621554" y="378424"/>
                        <a:pt x="622592" y="381491"/>
                        <a:pt x="623630" y="382730"/>
                      </a:cubicBezTo>
                      <a:cubicBezTo>
                        <a:pt x="624773" y="384111"/>
                        <a:pt x="627878" y="385054"/>
                        <a:pt x="628803" y="386206"/>
                      </a:cubicBezTo>
                      <a:cubicBezTo>
                        <a:pt x="629107" y="386597"/>
                        <a:pt x="630450" y="386340"/>
                        <a:pt x="630908" y="386854"/>
                      </a:cubicBezTo>
                      <a:cubicBezTo>
                        <a:pt x="632193" y="388302"/>
                        <a:pt x="629831" y="388768"/>
                        <a:pt x="630784" y="390626"/>
                      </a:cubicBezTo>
                      <a:cubicBezTo>
                        <a:pt x="631650" y="392302"/>
                        <a:pt x="632593" y="395579"/>
                        <a:pt x="633622" y="397684"/>
                      </a:cubicBezTo>
                      <a:cubicBezTo>
                        <a:pt x="638242" y="407180"/>
                        <a:pt x="645033" y="415753"/>
                        <a:pt x="646204" y="426592"/>
                      </a:cubicBezTo>
                      <a:cubicBezTo>
                        <a:pt x="645404" y="426583"/>
                        <a:pt x="644614" y="426583"/>
                        <a:pt x="643814" y="426573"/>
                      </a:cubicBezTo>
                      <a:cubicBezTo>
                        <a:pt x="646519" y="428955"/>
                        <a:pt x="648567" y="432012"/>
                        <a:pt x="649500" y="435517"/>
                      </a:cubicBezTo>
                      <a:cubicBezTo>
                        <a:pt x="646614" y="436555"/>
                        <a:pt x="644071" y="435470"/>
                        <a:pt x="642785" y="432660"/>
                      </a:cubicBezTo>
                      <a:cubicBezTo>
                        <a:pt x="643071" y="435346"/>
                        <a:pt x="642099" y="435603"/>
                        <a:pt x="640813" y="437718"/>
                      </a:cubicBezTo>
                      <a:cubicBezTo>
                        <a:pt x="634965" y="433307"/>
                        <a:pt x="639108" y="424811"/>
                        <a:pt x="632794" y="420782"/>
                      </a:cubicBezTo>
                      <a:cubicBezTo>
                        <a:pt x="632888" y="423182"/>
                        <a:pt x="635765" y="433088"/>
                        <a:pt x="635241" y="434489"/>
                      </a:cubicBezTo>
                      <a:cubicBezTo>
                        <a:pt x="633441" y="439318"/>
                        <a:pt x="627526" y="434641"/>
                        <a:pt x="625345" y="432231"/>
                      </a:cubicBezTo>
                      <a:cubicBezTo>
                        <a:pt x="625821" y="433669"/>
                        <a:pt x="625278" y="435108"/>
                        <a:pt x="625535" y="436508"/>
                      </a:cubicBezTo>
                      <a:cubicBezTo>
                        <a:pt x="615820" y="437146"/>
                        <a:pt x="621001" y="429688"/>
                        <a:pt x="619611" y="423963"/>
                      </a:cubicBezTo>
                      <a:cubicBezTo>
                        <a:pt x="618029" y="417467"/>
                        <a:pt x="612124" y="418601"/>
                        <a:pt x="609238" y="412819"/>
                      </a:cubicBezTo>
                      <a:cubicBezTo>
                        <a:pt x="610400" y="417972"/>
                        <a:pt x="617029" y="417791"/>
                        <a:pt x="617906" y="421363"/>
                      </a:cubicBezTo>
                      <a:cubicBezTo>
                        <a:pt x="618392" y="423354"/>
                        <a:pt x="613677" y="430964"/>
                        <a:pt x="612286" y="432403"/>
                      </a:cubicBezTo>
                      <a:cubicBezTo>
                        <a:pt x="605219" y="439756"/>
                        <a:pt x="590950" y="434984"/>
                        <a:pt x="587407" y="446633"/>
                      </a:cubicBezTo>
                      <a:cubicBezTo>
                        <a:pt x="585864" y="451738"/>
                        <a:pt x="588559" y="455186"/>
                        <a:pt x="591093" y="459644"/>
                      </a:cubicBezTo>
                      <a:cubicBezTo>
                        <a:pt x="594674" y="465959"/>
                        <a:pt x="593465" y="465149"/>
                        <a:pt x="591626" y="471255"/>
                      </a:cubicBezTo>
                      <a:cubicBezTo>
                        <a:pt x="589769" y="477437"/>
                        <a:pt x="591217" y="475617"/>
                        <a:pt x="586807" y="480637"/>
                      </a:cubicBezTo>
                      <a:cubicBezTo>
                        <a:pt x="583835" y="484018"/>
                        <a:pt x="582673" y="488819"/>
                        <a:pt x="577739" y="485952"/>
                      </a:cubicBezTo>
                      <a:cubicBezTo>
                        <a:pt x="586549" y="490629"/>
                        <a:pt x="561413" y="497630"/>
                        <a:pt x="557717" y="497172"/>
                      </a:cubicBezTo>
                      <a:cubicBezTo>
                        <a:pt x="559689" y="494848"/>
                        <a:pt x="559032" y="490924"/>
                        <a:pt x="555032" y="490896"/>
                      </a:cubicBezTo>
                      <a:cubicBezTo>
                        <a:pt x="551145" y="490876"/>
                        <a:pt x="546287" y="498506"/>
                        <a:pt x="550250" y="500202"/>
                      </a:cubicBezTo>
                      <a:cubicBezTo>
                        <a:pt x="551412" y="500697"/>
                        <a:pt x="554422" y="495687"/>
                        <a:pt x="556184" y="498449"/>
                      </a:cubicBezTo>
                      <a:cubicBezTo>
                        <a:pt x="557384" y="500335"/>
                        <a:pt x="552983" y="501363"/>
                        <a:pt x="551783" y="502545"/>
                      </a:cubicBezTo>
                      <a:cubicBezTo>
                        <a:pt x="547706" y="506517"/>
                        <a:pt x="542849" y="511031"/>
                        <a:pt x="539934" y="515765"/>
                      </a:cubicBezTo>
                      <a:cubicBezTo>
                        <a:pt x="534715" y="524233"/>
                        <a:pt x="531524" y="535577"/>
                        <a:pt x="523808" y="542502"/>
                      </a:cubicBezTo>
                      <a:cubicBezTo>
                        <a:pt x="518427" y="547331"/>
                        <a:pt x="513674" y="547912"/>
                        <a:pt x="509369" y="553932"/>
                      </a:cubicBezTo>
                      <a:cubicBezTo>
                        <a:pt x="505749" y="558999"/>
                        <a:pt x="502749" y="563457"/>
                        <a:pt x="497510" y="567096"/>
                      </a:cubicBezTo>
                      <a:cubicBezTo>
                        <a:pt x="493185" y="570096"/>
                        <a:pt x="488157" y="571858"/>
                        <a:pt x="484260" y="575449"/>
                      </a:cubicBezTo>
                      <a:cubicBezTo>
                        <a:pt x="478650" y="580631"/>
                        <a:pt x="479898" y="580973"/>
                        <a:pt x="481022" y="586822"/>
                      </a:cubicBezTo>
                      <a:cubicBezTo>
                        <a:pt x="482832" y="596347"/>
                        <a:pt x="475974" y="602062"/>
                        <a:pt x="465334" y="603081"/>
                      </a:cubicBezTo>
                      <a:cubicBezTo>
                        <a:pt x="459724" y="603624"/>
                        <a:pt x="454676" y="599881"/>
                        <a:pt x="451190" y="605319"/>
                      </a:cubicBezTo>
                      <a:cubicBezTo>
                        <a:pt x="448656" y="609282"/>
                        <a:pt x="450952" y="616864"/>
                        <a:pt x="446351" y="620035"/>
                      </a:cubicBezTo>
                      <a:cubicBezTo>
                        <a:pt x="441960" y="623055"/>
                        <a:pt x="443037" y="618778"/>
                        <a:pt x="439483" y="617797"/>
                      </a:cubicBezTo>
                      <a:cubicBezTo>
                        <a:pt x="434407" y="616387"/>
                        <a:pt x="428549" y="618292"/>
                        <a:pt x="425387" y="622731"/>
                      </a:cubicBezTo>
                      <a:cubicBezTo>
                        <a:pt x="416995" y="634523"/>
                        <a:pt x="424110" y="647087"/>
                        <a:pt x="427929" y="658374"/>
                      </a:cubicBezTo>
                      <a:cubicBezTo>
                        <a:pt x="429930" y="664298"/>
                        <a:pt x="427835" y="669004"/>
                        <a:pt x="430073" y="674728"/>
                      </a:cubicBezTo>
                      <a:cubicBezTo>
                        <a:pt x="432406" y="680710"/>
                        <a:pt x="435445" y="686996"/>
                        <a:pt x="438160" y="692845"/>
                      </a:cubicBezTo>
                      <a:cubicBezTo>
                        <a:pt x="436169" y="690568"/>
                        <a:pt x="434559" y="687815"/>
                        <a:pt x="432311" y="685644"/>
                      </a:cubicBezTo>
                      <a:cubicBezTo>
                        <a:pt x="427587" y="689492"/>
                        <a:pt x="432178" y="690797"/>
                        <a:pt x="434931" y="692921"/>
                      </a:cubicBezTo>
                      <a:cubicBezTo>
                        <a:pt x="439007" y="696074"/>
                        <a:pt x="439036" y="695226"/>
                        <a:pt x="439883" y="700055"/>
                      </a:cubicBezTo>
                      <a:cubicBezTo>
                        <a:pt x="441122" y="707046"/>
                        <a:pt x="440702" y="718105"/>
                        <a:pt x="438274" y="725001"/>
                      </a:cubicBezTo>
                      <a:cubicBezTo>
                        <a:pt x="436111" y="731116"/>
                        <a:pt x="432492" y="735840"/>
                        <a:pt x="431120" y="742432"/>
                      </a:cubicBezTo>
                      <a:cubicBezTo>
                        <a:pt x="430016" y="747775"/>
                        <a:pt x="433149" y="758091"/>
                        <a:pt x="429330" y="761301"/>
                      </a:cubicBezTo>
                      <a:cubicBezTo>
                        <a:pt x="436502" y="757824"/>
                        <a:pt x="436454" y="778179"/>
                        <a:pt x="436960" y="782875"/>
                      </a:cubicBezTo>
                      <a:cubicBezTo>
                        <a:pt x="437683" y="789704"/>
                        <a:pt x="439817" y="791695"/>
                        <a:pt x="433369" y="793171"/>
                      </a:cubicBezTo>
                      <a:cubicBezTo>
                        <a:pt x="429692" y="794010"/>
                        <a:pt x="426558" y="790866"/>
                        <a:pt x="422910" y="793781"/>
                      </a:cubicBezTo>
                      <a:cubicBezTo>
                        <a:pt x="419576" y="796439"/>
                        <a:pt x="420929" y="799772"/>
                        <a:pt x="419824" y="803268"/>
                      </a:cubicBezTo>
                      <a:cubicBezTo>
                        <a:pt x="418414" y="807707"/>
                        <a:pt x="413566" y="811012"/>
                        <a:pt x="412880" y="815841"/>
                      </a:cubicBezTo>
                      <a:cubicBezTo>
                        <a:pt x="411308" y="826928"/>
                        <a:pt x="423510" y="822204"/>
                        <a:pt x="428787" y="828081"/>
                      </a:cubicBezTo>
                      <a:cubicBezTo>
                        <a:pt x="417900" y="824671"/>
                        <a:pt x="397316" y="825156"/>
                        <a:pt x="391658" y="837596"/>
                      </a:cubicBezTo>
                      <a:cubicBezTo>
                        <a:pt x="388658" y="844187"/>
                        <a:pt x="392440" y="849588"/>
                        <a:pt x="386953" y="855141"/>
                      </a:cubicBezTo>
                      <a:cubicBezTo>
                        <a:pt x="382543" y="859599"/>
                        <a:pt x="375171" y="862971"/>
                        <a:pt x="369599" y="862132"/>
                      </a:cubicBezTo>
                      <a:cubicBezTo>
                        <a:pt x="358978" y="860551"/>
                        <a:pt x="345148" y="844464"/>
                        <a:pt x="339823" y="836234"/>
                      </a:cubicBezTo>
                      <a:cubicBezTo>
                        <a:pt x="333661" y="826699"/>
                        <a:pt x="330489" y="815974"/>
                        <a:pt x="327051" y="804925"/>
                      </a:cubicBezTo>
                      <a:cubicBezTo>
                        <a:pt x="331813" y="807230"/>
                        <a:pt x="331251" y="818222"/>
                        <a:pt x="335204" y="817241"/>
                      </a:cubicBezTo>
                      <a:cubicBezTo>
                        <a:pt x="329927" y="804125"/>
                        <a:pt x="322821" y="794353"/>
                        <a:pt x="316011" y="781741"/>
                      </a:cubicBezTo>
                      <a:cubicBezTo>
                        <a:pt x="308953" y="768692"/>
                        <a:pt x="303990" y="756224"/>
                        <a:pt x="293732" y="745194"/>
                      </a:cubicBezTo>
                      <a:cubicBezTo>
                        <a:pt x="273929" y="723906"/>
                        <a:pt x="265586" y="696683"/>
                        <a:pt x="253356" y="670947"/>
                      </a:cubicBezTo>
                      <a:cubicBezTo>
                        <a:pt x="249831" y="663536"/>
                        <a:pt x="246945" y="658231"/>
                        <a:pt x="241278" y="652163"/>
                      </a:cubicBezTo>
                      <a:cubicBezTo>
                        <a:pt x="238658" y="649373"/>
                        <a:pt x="235343" y="646429"/>
                        <a:pt x="233153" y="643296"/>
                      </a:cubicBezTo>
                      <a:cubicBezTo>
                        <a:pt x="230600" y="639648"/>
                        <a:pt x="230305" y="635333"/>
                        <a:pt x="226381" y="632637"/>
                      </a:cubicBezTo>
                      <a:cubicBezTo>
                        <a:pt x="227704" y="632837"/>
                        <a:pt x="229114" y="632437"/>
                        <a:pt x="230448" y="632637"/>
                      </a:cubicBezTo>
                      <a:cubicBezTo>
                        <a:pt x="227676" y="630218"/>
                        <a:pt x="223447" y="627789"/>
                        <a:pt x="225952" y="624369"/>
                      </a:cubicBezTo>
                      <a:cubicBezTo>
                        <a:pt x="218922" y="625979"/>
                        <a:pt x="209760" y="606482"/>
                        <a:pt x="207226" y="601081"/>
                      </a:cubicBezTo>
                      <a:cubicBezTo>
                        <a:pt x="202559" y="591118"/>
                        <a:pt x="199968" y="579916"/>
                        <a:pt x="195939" y="569610"/>
                      </a:cubicBezTo>
                      <a:cubicBezTo>
                        <a:pt x="192309" y="560295"/>
                        <a:pt x="187481" y="551541"/>
                        <a:pt x="183918" y="542035"/>
                      </a:cubicBezTo>
                      <a:cubicBezTo>
                        <a:pt x="182518" y="538273"/>
                        <a:pt x="178918" y="533101"/>
                        <a:pt x="178423" y="529434"/>
                      </a:cubicBezTo>
                      <a:cubicBezTo>
                        <a:pt x="177670" y="523823"/>
                        <a:pt x="182242" y="519728"/>
                        <a:pt x="178375" y="514308"/>
                      </a:cubicBezTo>
                      <a:cubicBezTo>
                        <a:pt x="178279" y="516727"/>
                        <a:pt x="177270" y="518699"/>
                        <a:pt x="175327" y="519909"/>
                      </a:cubicBezTo>
                      <a:cubicBezTo>
                        <a:pt x="173460" y="516927"/>
                        <a:pt x="172479" y="513098"/>
                        <a:pt x="172498" y="509727"/>
                      </a:cubicBezTo>
                      <a:cubicBezTo>
                        <a:pt x="174231" y="510050"/>
                        <a:pt x="176365" y="509793"/>
                        <a:pt x="178013" y="510403"/>
                      </a:cubicBezTo>
                      <a:cubicBezTo>
                        <a:pt x="166192" y="505631"/>
                        <a:pt x="163306" y="491800"/>
                        <a:pt x="164897" y="478808"/>
                      </a:cubicBezTo>
                      <a:cubicBezTo>
                        <a:pt x="165916" y="470512"/>
                        <a:pt x="166240" y="461787"/>
                        <a:pt x="160925" y="454586"/>
                      </a:cubicBezTo>
                      <a:cubicBezTo>
                        <a:pt x="158582" y="451405"/>
                        <a:pt x="148162" y="445776"/>
                        <a:pt x="155019" y="441308"/>
                      </a:cubicBezTo>
                      <a:cubicBezTo>
                        <a:pt x="153724" y="441680"/>
                        <a:pt x="152600" y="441366"/>
                        <a:pt x="151390" y="441594"/>
                      </a:cubicBezTo>
                      <a:cubicBezTo>
                        <a:pt x="155295" y="436956"/>
                        <a:pt x="159753" y="435955"/>
                        <a:pt x="164440" y="432498"/>
                      </a:cubicBezTo>
                      <a:cubicBezTo>
                        <a:pt x="161201" y="434069"/>
                        <a:pt x="153314" y="436041"/>
                        <a:pt x="149885" y="434269"/>
                      </a:cubicBezTo>
                      <a:cubicBezTo>
                        <a:pt x="147028" y="432803"/>
                        <a:pt x="146056" y="428154"/>
                        <a:pt x="150266" y="425516"/>
                      </a:cubicBezTo>
                      <a:cubicBezTo>
                        <a:pt x="146656" y="426611"/>
                        <a:pt x="142694" y="425192"/>
                        <a:pt x="144456" y="420506"/>
                      </a:cubicBezTo>
                      <a:cubicBezTo>
                        <a:pt x="145409" y="417991"/>
                        <a:pt x="148838" y="417858"/>
                        <a:pt x="151600" y="417296"/>
                      </a:cubicBezTo>
                      <a:cubicBezTo>
                        <a:pt x="145970" y="415486"/>
                        <a:pt x="138246" y="415705"/>
                        <a:pt x="132340" y="416143"/>
                      </a:cubicBezTo>
                      <a:cubicBezTo>
                        <a:pt x="142179" y="418077"/>
                        <a:pt x="132331" y="426011"/>
                        <a:pt x="131245" y="430221"/>
                      </a:cubicBezTo>
                      <a:cubicBezTo>
                        <a:pt x="141703" y="432460"/>
                        <a:pt x="141770" y="444947"/>
                        <a:pt x="134874" y="451519"/>
                      </a:cubicBezTo>
                      <a:cubicBezTo>
                        <a:pt x="131597" y="454643"/>
                        <a:pt x="123596" y="457511"/>
                        <a:pt x="119281" y="459749"/>
                      </a:cubicBezTo>
                      <a:cubicBezTo>
                        <a:pt x="115119" y="461911"/>
                        <a:pt x="109852" y="464588"/>
                        <a:pt x="105032" y="464940"/>
                      </a:cubicBezTo>
                      <a:cubicBezTo>
                        <a:pt x="85296" y="466369"/>
                        <a:pt x="65322" y="441318"/>
                        <a:pt x="51235" y="430250"/>
                      </a:cubicBezTo>
                      <a:cubicBezTo>
                        <a:pt x="48663" y="428240"/>
                        <a:pt x="25870" y="409533"/>
                        <a:pt x="38738" y="411486"/>
                      </a:cubicBezTo>
                      <a:cubicBezTo>
                        <a:pt x="40395" y="411733"/>
                        <a:pt x="41386" y="415191"/>
                        <a:pt x="43463" y="415372"/>
                      </a:cubicBezTo>
                      <a:cubicBezTo>
                        <a:pt x="45663" y="415572"/>
                        <a:pt x="47682" y="413486"/>
                        <a:pt x="49787" y="412629"/>
                      </a:cubicBezTo>
                      <a:cubicBezTo>
                        <a:pt x="54445" y="410743"/>
                        <a:pt x="58550" y="409476"/>
                        <a:pt x="63484" y="407828"/>
                      </a:cubicBezTo>
                      <a:cubicBezTo>
                        <a:pt x="70123" y="405609"/>
                        <a:pt x="68656" y="406228"/>
                        <a:pt x="71895" y="399303"/>
                      </a:cubicBezTo>
                      <a:cubicBezTo>
                        <a:pt x="72875" y="397208"/>
                        <a:pt x="77848" y="391769"/>
                        <a:pt x="74838" y="390302"/>
                      </a:cubicBezTo>
                      <a:cubicBezTo>
                        <a:pt x="73105" y="389464"/>
                        <a:pt x="72790" y="392940"/>
                        <a:pt x="72257" y="393045"/>
                      </a:cubicBezTo>
                      <a:cubicBezTo>
                        <a:pt x="72971" y="392912"/>
                        <a:pt x="68732" y="394512"/>
                        <a:pt x="69285" y="394245"/>
                      </a:cubicBezTo>
                      <a:cubicBezTo>
                        <a:pt x="65979" y="395798"/>
                        <a:pt x="60198" y="397017"/>
                        <a:pt x="56560" y="398332"/>
                      </a:cubicBezTo>
                      <a:cubicBezTo>
                        <a:pt x="46168" y="402094"/>
                        <a:pt x="33814" y="396703"/>
                        <a:pt x="23917" y="390988"/>
                      </a:cubicBezTo>
                      <a:cubicBezTo>
                        <a:pt x="19107" y="388207"/>
                        <a:pt x="14745" y="384111"/>
                        <a:pt x="11811" y="379367"/>
                      </a:cubicBezTo>
                      <a:cubicBezTo>
                        <a:pt x="7515" y="372433"/>
                        <a:pt x="11030" y="371195"/>
                        <a:pt x="17345" y="366280"/>
                      </a:cubicBezTo>
                      <a:cubicBezTo>
                        <a:pt x="10944" y="368395"/>
                        <a:pt x="3353" y="378520"/>
                        <a:pt x="419" y="369652"/>
                      </a:cubicBezTo>
                      <a:cubicBezTo>
                        <a:pt x="-2267" y="361527"/>
                        <a:pt x="8601" y="362632"/>
                        <a:pt x="14906" y="362737"/>
                      </a:cubicBezTo>
                      <a:cubicBezTo>
                        <a:pt x="12849" y="353878"/>
                        <a:pt x="11144" y="351869"/>
                        <a:pt x="18888" y="352640"/>
                      </a:cubicBezTo>
                      <a:cubicBezTo>
                        <a:pt x="22212" y="352974"/>
                        <a:pt x="25593" y="353031"/>
                        <a:pt x="29042" y="353116"/>
                      </a:cubicBezTo>
                      <a:cubicBezTo>
                        <a:pt x="34947" y="353278"/>
                        <a:pt x="37890" y="355002"/>
                        <a:pt x="43177" y="356079"/>
                      </a:cubicBezTo>
                      <a:cubicBezTo>
                        <a:pt x="51769" y="357831"/>
                        <a:pt x="53169" y="351726"/>
                        <a:pt x="60693" y="349830"/>
                      </a:cubicBezTo>
                      <a:cubicBezTo>
                        <a:pt x="68923" y="347754"/>
                        <a:pt x="66618" y="355193"/>
                        <a:pt x="74543" y="353755"/>
                      </a:cubicBezTo>
                      <a:cubicBezTo>
                        <a:pt x="73809" y="353888"/>
                        <a:pt x="80562" y="349154"/>
                        <a:pt x="80210" y="349964"/>
                      </a:cubicBezTo>
                      <a:cubicBezTo>
                        <a:pt x="81772" y="346325"/>
                        <a:pt x="78762" y="349316"/>
                        <a:pt x="78486" y="345735"/>
                      </a:cubicBezTo>
                      <a:cubicBezTo>
                        <a:pt x="77962" y="338734"/>
                        <a:pt x="76410" y="335838"/>
                        <a:pt x="71571" y="329113"/>
                      </a:cubicBezTo>
                      <a:cubicBezTo>
                        <a:pt x="69304" y="325961"/>
                        <a:pt x="66446" y="323370"/>
                        <a:pt x="64103" y="320331"/>
                      </a:cubicBezTo>
                      <a:cubicBezTo>
                        <a:pt x="61970" y="317569"/>
                        <a:pt x="61331" y="311721"/>
                        <a:pt x="59293" y="309797"/>
                      </a:cubicBezTo>
                      <a:cubicBezTo>
                        <a:pt x="55654" y="306349"/>
                        <a:pt x="49597" y="309273"/>
                        <a:pt x="44730" y="305453"/>
                      </a:cubicBezTo>
                      <a:cubicBezTo>
                        <a:pt x="36100" y="298681"/>
                        <a:pt x="42605" y="290794"/>
                        <a:pt x="37347" y="283432"/>
                      </a:cubicBezTo>
                      <a:cubicBezTo>
                        <a:pt x="33176" y="277583"/>
                        <a:pt x="23012" y="280745"/>
                        <a:pt x="17288" y="275888"/>
                      </a:cubicBezTo>
                      <a:cubicBezTo>
                        <a:pt x="12097" y="271497"/>
                        <a:pt x="12468" y="264658"/>
                        <a:pt x="15888" y="258771"/>
                      </a:cubicBezTo>
                      <a:cubicBezTo>
                        <a:pt x="17736" y="255580"/>
                        <a:pt x="20326" y="253066"/>
                        <a:pt x="21917" y="249618"/>
                      </a:cubicBezTo>
                      <a:cubicBezTo>
                        <a:pt x="23660" y="245855"/>
                        <a:pt x="23898" y="241436"/>
                        <a:pt x="26679" y="238321"/>
                      </a:cubicBezTo>
                      <a:cubicBezTo>
                        <a:pt x="34938" y="229091"/>
                        <a:pt x="37033" y="241093"/>
                        <a:pt x="43281" y="243912"/>
                      </a:cubicBezTo>
                      <a:cubicBezTo>
                        <a:pt x="47396" y="245770"/>
                        <a:pt x="49959" y="243369"/>
                        <a:pt x="53807" y="241960"/>
                      </a:cubicBezTo>
                      <a:cubicBezTo>
                        <a:pt x="58055" y="240388"/>
                        <a:pt x="61617" y="240550"/>
                        <a:pt x="66027" y="239769"/>
                      </a:cubicBezTo>
                      <a:cubicBezTo>
                        <a:pt x="70733" y="238931"/>
                        <a:pt x="73038" y="237588"/>
                        <a:pt x="74962" y="234759"/>
                      </a:cubicBezTo>
                      <a:cubicBezTo>
                        <a:pt x="76276" y="232825"/>
                        <a:pt x="78762" y="226024"/>
                        <a:pt x="79648" y="223491"/>
                      </a:cubicBezTo>
                      <a:cubicBezTo>
                        <a:pt x="80781" y="220195"/>
                        <a:pt x="79391" y="215861"/>
                        <a:pt x="81210" y="212823"/>
                      </a:cubicBezTo>
                      <a:cubicBezTo>
                        <a:pt x="83658" y="208746"/>
                        <a:pt x="89887" y="207851"/>
                        <a:pt x="93259" y="204641"/>
                      </a:cubicBezTo>
                      <a:cubicBezTo>
                        <a:pt x="98527" y="199631"/>
                        <a:pt x="99717" y="190896"/>
                        <a:pt x="100413" y="183514"/>
                      </a:cubicBezTo>
                      <a:cubicBezTo>
                        <a:pt x="100908" y="178342"/>
                        <a:pt x="99717" y="176304"/>
                        <a:pt x="103699" y="173122"/>
                      </a:cubicBezTo>
                      <a:cubicBezTo>
                        <a:pt x="106461" y="170932"/>
                        <a:pt x="112481" y="171475"/>
                        <a:pt x="113490" y="167026"/>
                      </a:cubicBezTo>
                      <a:cubicBezTo>
                        <a:pt x="114253" y="163655"/>
                        <a:pt x="110909" y="162750"/>
                        <a:pt x="110975" y="159530"/>
                      </a:cubicBezTo>
                      <a:cubicBezTo>
                        <a:pt x="111014" y="157692"/>
                        <a:pt x="115586" y="149834"/>
                        <a:pt x="116910" y="147986"/>
                      </a:cubicBezTo>
                      <a:cubicBezTo>
                        <a:pt x="118939" y="145119"/>
                        <a:pt x="121853" y="144776"/>
                        <a:pt x="123606" y="142204"/>
                      </a:cubicBezTo>
                      <a:cubicBezTo>
                        <a:pt x="127463" y="136575"/>
                        <a:pt x="123796" y="141080"/>
                        <a:pt x="122320" y="136889"/>
                      </a:cubicBezTo>
                      <a:cubicBezTo>
                        <a:pt x="121158" y="133584"/>
                        <a:pt x="121472" y="129517"/>
                        <a:pt x="120243" y="126145"/>
                      </a:cubicBezTo>
                      <a:cubicBezTo>
                        <a:pt x="119091" y="122945"/>
                        <a:pt x="114976" y="120592"/>
                        <a:pt x="115129" y="117039"/>
                      </a:cubicBezTo>
                      <a:cubicBezTo>
                        <a:pt x="115509" y="108219"/>
                        <a:pt x="130407" y="109810"/>
                        <a:pt x="132807" y="104095"/>
                      </a:cubicBezTo>
                      <a:cubicBezTo>
                        <a:pt x="136284" y="95780"/>
                        <a:pt x="118881" y="96408"/>
                        <a:pt x="115186" y="95170"/>
                      </a:cubicBezTo>
                      <a:cubicBezTo>
                        <a:pt x="110519" y="93608"/>
                        <a:pt x="111900" y="92655"/>
                        <a:pt x="109033" y="89321"/>
                      </a:cubicBezTo>
                      <a:cubicBezTo>
                        <a:pt x="104756" y="84350"/>
                        <a:pt x="109071" y="87817"/>
                        <a:pt x="102441" y="85359"/>
                      </a:cubicBezTo>
                      <a:cubicBezTo>
                        <a:pt x="97355" y="83483"/>
                        <a:pt x="100013" y="84026"/>
                        <a:pt x="96774" y="80940"/>
                      </a:cubicBezTo>
                      <a:cubicBezTo>
                        <a:pt x="94107" y="78396"/>
                        <a:pt x="92592" y="77787"/>
                        <a:pt x="89211" y="75758"/>
                      </a:cubicBezTo>
                      <a:cubicBezTo>
                        <a:pt x="80277" y="70386"/>
                        <a:pt x="88401" y="68395"/>
                        <a:pt x="84506" y="61623"/>
                      </a:cubicBezTo>
                      <a:cubicBezTo>
                        <a:pt x="83077" y="59137"/>
                        <a:pt x="78772" y="59213"/>
                        <a:pt x="77952" y="56260"/>
                      </a:cubicBezTo>
                      <a:cubicBezTo>
                        <a:pt x="76476" y="50955"/>
                        <a:pt x="82267" y="52784"/>
                        <a:pt x="82706" y="49345"/>
                      </a:cubicBezTo>
                      <a:cubicBezTo>
                        <a:pt x="83153" y="45745"/>
                        <a:pt x="73724" y="46049"/>
                        <a:pt x="71323" y="42687"/>
                      </a:cubicBezTo>
                      <a:cubicBezTo>
                        <a:pt x="71066" y="42335"/>
                        <a:pt x="72695" y="40944"/>
                        <a:pt x="71971" y="39934"/>
                      </a:cubicBezTo>
                      <a:cubicBezTo>
                        <a:pt x="71190" y="38830"/>
                        <a:pt x="69456" y="38191"/>
                        <a:pt x="68732" y="37220"/>
                      </a:cubicBezTo>
                      <a:cubicBezTo>
                        <a:pt x="66275" y="33915"/>
                        <a:pt x="64770" y="36363"/>
                        <a:pt x="65342" y="31029"/>
                      </a:cubicBezTo>
                      <a:cubicBezTo>
                        <a:pt x="66332" y="21808"/>
                        <a:pt x="76781" y="22761"/>
                        <a:pt x="83839" y="24094"/>
                      </a:cubicBezTo>
                      <a:cubicBezTo>
                        <a:pt x="92774" y="25771"/>
                        <a:pt x="101022" y="27133"/>
                        <a:pt x="109642" y="29447"/>
                      </a:cubicBezTo>
                      <a:cubicBezTo>
                        <a:pt x="118415" y="31800"/>
                        <a:pt x="123035" y="27761"/>
                        <a:pt x="130664" y="25333"/>
                      </a:cubicBezTo>
                      <a:cubicBezTo>
                        <a:pt x="137608" y="23123"/>
                        <a:pt x="143380" y="22970"/>
                        <a:pt x="147133" y="17065"/>
                      </a:cubicBezTo>
                      <a:cubicBezTo>
                        <a:pt x="150561" y="11655"/>
                        <a:pt x="155086" y="6759"/>
                        <a:pt x="161887" y="2758"/>
                      </a:cubicBezTo>
                      <a:cubicBezTo>
                        <a:pt x="165640" y="558"/>
                        <a:pt x="170840" y="-1414"/>
                        <a:pt x="174050" y="1368"/>
                      </a:cubicBezTo>
                      <a:cubicBezTo>
                        <a:pt x="174927" y="2139"/>
                        <a:pt x="177641" y="9454"/>
                        <a:pt x="178936" y="11121"/>
                      </a:cubicBezTo>
                      <a:cubicBezTo>
                        <a:pt x="181813" y="14865"/>
                        <a:pt x="184661" y="18741"/>
                        <a:pt x="187700" y="22323"/>
                      </a:cubicBezTo>
                      <a:cubicBezTo>
                        <a:pt x="193701" y="29400"/>
                        <a:pt x="201777" y="28876"/>
                        <a:pt x="209464" y="33772"/>
                      </a:cubicBezTo>
                      <a:cubicBezTo>
                        <a:pt x="219704" y="40296"/>
                        <a:pt x="211322" y="37887"/>
                        <a:pt x="210941" y="45573"/>
                      </a:cubicBezTo>
                      <a:cubicBezTo>
                        <a:pt x="210703" y="50488"/>
                        <a:pt x="220323" y="62785"/>
                        <a:pt x="223656" y="65614"/>
                      </a:cubicBezTo>
                      <a:cubicBezTo>
                        <a:pt x="225714" y="67366"/>
                        <a:pt x="229772" y="68881"/>
                        <a:pt x="231334" y="70757"/>
                      </a:cubicBezTo>
                      <a:cubicBezTo>
                        <a:pt x="233210" y="73015"/>
                        <a:pt x="232877" y="75377"/>
                        <a:pt x="234306" y="77615"/>
                      </a:cubicBezTo>
                      <a:cubicBezTo>
                        <a:pt x="235849" y="80016"/>
                        <a:pt x="238211" y="81587"/>
                        <a:pt x="239668" y="84578"/>
                      </a:cubicBezTo>
                      <a:cubicBezTo>
                        <a:pt x="241154" y="87617"/>
                        <a:pt x="242030" y="90693"/>
                        <a:pt x="243373" y="93856"/>
                      </a:cubicBezTo>
                      <a:cubicBezTo>
                        <a:pt x="238991" y="95951"/>
                        <a:pt x="239601" y="99999"/>
                        <a:pt x="233324" y="96665"/>
                      </a:cubicBezTo>
                      <a:cubicBezTo>
                        <a:pt x="229019" y="94379"/>
                        <a:pt x="227676" y="88398"/>
                        <a:pt x="221656" y="91769"/>
                      </a:cubicBezTo>
                      <a:cubicBezTo>
                        <a:pt x="217513" y="94084"/>
                        <a:pt x="219694" y="91360"/>
                        <a:pt x="220866" y="95494"/>
                      </a:cubicBezTo>
                      <a:cubicBezTo>
                        <a:pt x="221494" y="97742"/>
                        <a:pt x="223866" y="100752"/>
                        <a:pt x="225399" y="102533"/>
                      </a:cubicBezTo>
                      <a:cubicBezTo>
                        <a:pt x="228695" y="106286"/>
                        <a:pt x="235134" y="107981"/>
                        <a:pt x="235972" y="113163"/>
                      </a:cubicBezTo>
                      <a:lnTo>
                        <a:pt x="235972" y="113163"/>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35" name="Freeform: Shape 634">
                  <a:extLst>
                    <a:ext uri="{FF2B5EF4-FFF2-40B4-BE49-F238E27FC236}">
                      <a16:creationId xmlns:a16="http://schemas.microsoft.com/office/drawing/2014/main" id="{82702056-1F38-4F7D-A3F3-3C0714FF02E4}"/>
                    </a:ext>
                  </a:extLst>
                </p:cNvPr>
                <p:cNvSpPr/>
                <p:nvPr/>
              </p:nvSpPr>
              <p:spPr>
                <a:xfrm>
                  <a:off x="8586387" y="4187384"/>
                  <a:ext cx="1445589" cy="502565"/>
                </a:xfrm>
                <a:custGeom>
                  <a:avLst/>
                  <a:gdLst>
                    <a:gd name="connsiteX0" fmla="*/ 762343 w 1445589"/>
                    <a:gd name="connsiteY0" fmla="*/ 472814 h 502565"/>
                    <a:gd name="connsiteX1" fmla="*/ 771839 w 1445589"/>
                    <a:gd name="connsiteY1" fmla="*/ 481615 h 502565"/>
                    <a:gd name="connsiteX2" fmla="*/ 778401 w 1445589"/>
                    <a:gd name="connsiteY2" fmla="*/ 485025 h 502565"/>
                    <a:gd name="connsiteX3" fmla="*/ 784298 w 1445589"/>
                    <a:gd name="connsiteY3" fmla="*/ 493684 h 502565"/>
                    <a:gd name="connsiteX4" fmla="*/ 769296 w 1445589"/>
                    <a:gd name="connsiteY4" fmla="*/ 500789 h 502565"/>
                    <a:gd name="connsiteX5" fmla="*/ 753113 w 1445589"/>
                    <a:gd name="connsiteY5" fmla="*/ 489892 h 502565"/>
                    <a:gd name="connsiteX6" fmla="*/ 736910 w 1445589"/>
                    <a:gd name="connsiteY6" fmla="*/ 484578 h 502565"/>
                    <a:gd name="connsiteX7" fmla="*/ 730615 w 1445589"/>
                    <a:gd name="connsiteY7" fmla="*/ 475357 h 502565"/>
                    <a:gd name="connsiteX8" fmla="*/ 749055 w 1445589"/>
                    <a:gd name="connsiteY8" fmla="*/ 472186 h 502565"/>
                    <a:gd name="connsiteX9" fmla="*/ 762343 w 1445589"/>
                    <a:gd name="connsiteY9" fmla="*/ 472814 h 502565"/>
                    <a:gd name="connsiteX10" fmla="*/ 762343 w 1445589"/>
                    <a:gd name="connsiteY10" fmla="*/ 472814 h 502565"/>
                    <a:gd name="connsiteX11" fmla="*/ 918191 w 1445589"/>
                    <a:gd name="connsiteY11" fmla="*/ 462680 h 502565"/>
                    <a:gd name="connsiteX12" fmla="*/ 924687 w 1445589"/>
                    <a:gd name="connsiteY12" fmla="*/ 463623 h 502565"/>
                    <a:gd name="connsiteX13" fmla="*/ 917791 w 1445589"/>
                    <a:gd name="connsiteY13" fmla="*/ 469347 h 502565"/>
                    <a:gd name="connsiteX14" fmla="*/ 919134 w 1445589"/>
                    <a:gd name="connsiteY14" fmla="*/ 477558 h 502565"/>
                    <a:gd name="connsiteX15" fmla="*/ 908713 w 1445589"/>
                    <a:gd name="connsiteY15" fmla="*/ 487378 h 502565"/>
                    <a:gd name="connsiteX16" fmla="*/ 897435 w 1445589"/>
                    <a:gd name="connsiteY16" fmla="*/ 496207 h 502565"/>
                    <a:gd name="connsiteX17" fmla="*/ 883329 w 1445589"/>
                    <a:gd name="connsiteY17" fmla="*/ 500560 h 502565"/>
                    <a:gd name="connsiteX18" fmla="*/ 874194 w 1445589"/>
                    <a:gd name="connsiteY18" fmla="*/ 494988 h 502565"/>
                    <a:gd name="connsiteX19" fmla="*/ 888434 w 1445589"/>
                    <a:gd name="connsiteY19" fmla="*/ 471767 h 502565"/>
                    <a:gd name="connsiteX20" fmla="*/ 900979 w 1445589"/>
                    <a:gd name="connsiteY20" fmla="*/ 469709 h 502565"/>
                    <a:gd name="connsiteX21" fmla="*/ 908732 w 1445589"/>
                    <a:gd name="connsiteY21" fmla="*/ 464689 h 502565"/>
                    <a:gd name="connsiteX22" fmla="*/ 918324 w 1445589"/>
                    <a:gd name="connsiteY22" fmla="*/ 459193 h 502565"/>
                    <a:gd name="connsiteX23" fmla="*/ 918191 w 1445589"/>
                    <a:gd name="connsiteY23" fmla="*/ 462680 h 502565"/>
                    <a:gd name="connsiteX24" fmla="*/ 918191 w 1445589"/>
                    <a:gd name="connsiteY24" fmla="*/ 462680 h 502565"/>
                    <a:gd name="connsiteX25" fmla="*/ 853068 w 1445589"/>
                    <a:gd name="connsiteY25" fmla="*/ 448773 h 502565"/>
                    <a:gd name="connsiteX26" fmla="*/ 822226 w 1445589"/>
                    <a:gd name="connsiteY26" fmla="*/ 456593 h 502565"/>
                    <a:gd name="connsiteX27" fmla="*/ 810520 w 1445589"/>
                    <a:gd name="connsiteY27" fmla="*/ 455117 h 502565"/>
                    <a:gd name="connsiteX28" fmla="*/ 803862 w 1445589"/>
                    <a:gd name="connsiteY28" fmla="*/ 458051 h 502565"/>
                    <a:gd name="connsiteX29" fmla="*/ 798328 w 1445589"/>
                    <a:gd name="connsiteY29" fmla="*/ 458670 h 502565"/>
                    <a:gd name="connsiteX30" fmla="*/ 768848 w 1445589"/>
                    <a:gd name="connsiteY30" fmla="*/ 453993 h 502565"/>
                    <a:gd name="connsiteX31" fmla="*/ 759990 w 1445589"/>
                    <a:gd name="connsiteY31" fmla="*/ 453050 h 502565"/>
                    <a:gd name="connsiteX32" fmla="*/ 762923 w 1445589"/>
                    <a:gd name="connsiteY32" fmla="*/ 442725 h 502565"/>
                    <a:gd name="connsiteX33" fmla="*/ 776706 w 1445589"/>
                    <a:gd name="connsiteY33" fmla="*/ 438134 h 502565"/>
                    <a:gd name="connsiteX34" fmla="*/ 788908 w 1445589"/>
                    <a:gd name="connsiteY34" fmla="*/ 438677 h 502565"/>
                    <a:gd name="connsiteX35" fmla="*/ 814568 w 1445589"/>
                    <a:gd name="connsiteY35" fmla="*/ 447630 h 502565"/>
                    <a:gd name="connsiteX36" fmla="*/ 826407 w 1445589"/>
                    <a:gd name="connsiteY36" fmla="*/ 444696 h 502565"/>
                    <a:gd name="connsiteX37" fmla="*/ 837647 w 1445589"/>
                    <a:gd name="connsiteY37" fmla="*/ 449249 h 502565"/>
                    <a:gd name="connsiteX38" fmla="*/ 846105 w 1445589"/>
                    <a:gd name="connsiteY38" fmla="*/ 443706 h 502565"/>
                    <a:gd name="connsiteX39" fmla="*/ 859259 w 1445589"/>
                    <a:gd name="connsiteY39" fmla="*/ 436486 h 502565"/>
                    <a:gd name="connsiteX40" fmla="*/ 854392 w 1445589"/>
                    <a:gd name="connsiteY40" fmla="*/ 435371 h 502565"/>
                    <a:gd name="connsiteX41" fmla="*/ 860174 w 1445589"/>
                    <a:gd name="connsiteY41" fmla="*/ 440467 h 502565"/>
                    <a:gd name="connsiteX42" fmla="*/ 855421 w 1445589"/>
                    <a:gd name="connsiteY42" fmla="*/ 444135 h 502565"/>
                    <a:gd name="connsiteX43" fmla="*/ 853068 w 1445589"/>
                    <a:gd name="connsiteY43" fmla="*/ 448773 h 502565"/>
                    <a:gd name="connsiteX44" fmla="*/ 853068 w 1445589"/>
                    <a:gd name="connsiteY44" fmla="*/ 448773 h 502565"/>
                    <a:gd name="connsiteX45" fmla="*/ 712250 w 1445589"/>
                    <a:gd name="connsiteY45" fmla="*/ 439524 h 502565"/>
                    <a:gd name="connsiteX46" fmla="*/ 726548 w 1445589"/>
                    <a:gd name="connsiteY46" fmla="*/ 442582 h 502565"/>
                    <a:gd name="connsiteX47" fmla="*/ 735815 w 1445589"/>
                    <a:gd name="connsiteY47" fmla="*/ 441106 h 502565"/>
                    <a:gd name="connsiteX48" fmla="*/ 738092 w 1445589"/>
                    <a:gd name="connsiteY48" fmla="*/ 450878 h 502565"/>
                    <a:gd name="connsiteX49" fmla="*/ 728224 w 1445589"/>
                    <a:gd name="connsiteY49" fmla="*/ 455755 h 502565"/>
                    <a:gd name="connsiteX50" fmla="*/ 714803 w 1445589"/>
                    <a:gd name="connsiteY50" fmla="*/ 450764 h 502565"/>
                    <a:gd name="connsiteX51" fmla="*/ 683008 w 1445589"/>
                    <a:gd name="connsiteY51" fmla="*/ 461813 h 502565"/>
                    <a:gd name="connsiteX52" fmla="*/ 664901 w 1445589"/>
                    <a:gd name="connsiteY52" fmla="*/ 450450 h 502565"/>
                    <a:gd name="connsiteX53" fmla="*/ 692114 w 1445589"/>
                    <a:gd name="connsiteY53" fmla="*/ 444077 h 502565"/>
                    <a:gd name="connsiteX54" fmla="*/ 702335 w 1445589"/>
                    <a:gd name="connsiteY54" fmla="*/ 452164 h 502565"/>
                    <a:gd name="connsiteX55" fmla="*/ 705507 w 1445589"/>
                    <a:gd name="connsiteY55" fmla="*/ 444173 h 502565"/>
                    <a:gd name="connsiteX56" fmla="*/ 698753 w 1445589"/>
                    <a:gd name="connsiteY56" fmla="*/ 433847 h 502565"/>
                    <a:gd name="connsiteX57" fmla="*/ 712250 w 1445589"/>
                    <a:gd name="connsiteY57" fmla="*/ 439524 h 502565"/>
                    <a:gd name="connsiteX58" fmla="*/ 712250 w 1445589"/>
                    <a:gd name="connsiteY58" fmla="*/ 439524 h 502565"/>
                    <a:gd name="connsiteX59" fmla="*/ 1348359 w 1445589"/>
                    <a:gd name="connsiteY59" fmla="*/ 438124 h 502565"/>
                    <a:gd name="connsiteX60" fmla="*/ 1332976 w 1445589"/>
                    <a:gd name="connsiteY60" fmla="*/ 441715 h 502565"/>
                    <a:gd name="connsiteX61" fmla="*/ 1320031 w 1445589"/>
                    <a:gd name="connsiteY61" fmla="*/ 441658 h 502565"/>
                    <a:gd name="connsiteX62" fmla="*/ 1337843 w 1445589"/>
                    <a:gd name="connsiteY62" fmla="*/ 415836 h 502565"/>
                    <a:gd name="connsiteX63" fmla="*/ 1363446 w 1445589"/>
                    <a:gd name="connsiteY63" fmla="*/ 413721 h 502565"/>
                    <a:gd name="connsiteX64" fmla="*/ 1348359 w 1445589"/>
                    <a:gd name="connsiteY64" fmla="*/ 438124 h 502565"/>
                    <a:gd name="connsiteX65" fmla="*/ 1348359 w 1445589"/>
                    <a:gd name="connsiteY65" fmla="*/ 438124 h 502565"/>
                    <a:gd name="connsiteX66" fmla="*/ 380180 w 1445589"/>
                    <a:gd name="connsiteY66" fmla="*/ 366744 h 502565"/>
                    <a:gd name="connsiteX67" fmla="*/ 406240 w 1445589"/>
                    <a:gd name="connsiteY67" fmla="*/ 375269 h 502565"/>
                    <a:gd name="connsiteX68" fmla="*/ 420080 w 1445589"/>
                    <a:gd name="connsiteY68" fmla="*/ 391747 h 502565"/>
                    <a:gd name="connsiteX69" fmla="*/ 447770 w 1445589"/>
                    <a:gd name="connsiteY69" fmla="*/ 393242 h 502565"/>
                    <a:gd name="connsiteX70" fmla="*/ 461800 w 1445589"/>
                    <a:gd name="connsiteY70" fmla="*/ 394766 h 502565"/>
                    <a:gd name="connsiteX71" fmla="*/ 471849 w 1445589"/>
                    <a:gd name="connsiteY71" fmla="*/ 396500 h 502565"/>
                    <a:gd name="connsiteX72" fmla="*/ 487537 w 1445589"/>
                    <a:gd name="connsiteY72" fmla="*/ 379907 h 502565"/>
                    <a:gd name="connsiteX73" fmla="*/ 496604 w 1445589"/>
                    <a:gd name="connsiteY73" fmla="*/ 387337 h 502565"/>
                    <a:gd name="connsiteX74" fmla="*/ 508101 w 1445589"/>
                    <a:gd name="connsiteY74" fmla="*/ 386889 h 502565"/>
                    <a:gd name="connsiteX75" fmla="*/ 518541 w 1445589"/>
                    <a:gd name="connsiteY75" fmla="*/ 391414 h 502565"/>
                    <a:gd name="connsiteX76" fmla="*/ 531294 w 1445589"/>
                    <a:gd name="connsiteY76" fmla="*/ 394690 h 502565"/>
                    <a:gd name="connsiteX77" fmla="*/ 540353 w 1445589"/>
                    <a:gd name="connsiteY77" fmla="*/ 399576 h 502565"/>
                    <a:gd name="connsiteX78" fmla="*/ 541724 w 1445589"/>
                    <a:gd name="connsiteY78" fmla="*/ 404949 h 502565"/>
                    <a:gd name="connsiteX79" fmla="*/ 545030 w 1445589"/>
                    <a:gd name="connsiteY79" fmla="*/ 406720 h 502565"/>
                    <a:gd name="connsiteX80" fmla="*/ 545258 w 1445589"/>
                    <a:gd name="connsiteY80" fmla="*/ 410368 h 502565"/>
                    <a:gd name="connsiteX81" fmla="*/ 551116 w 1445589"/>
                    <a:gd name="connsiteY81" fmla="*/ 418722 h 502565"/>
                    <a:gd name="connsiteX82" fmla="*/ 567118 w 1445589"/>
                    <a:gd name="connsiteY82" fmla="*/ 420732 h 502565"/>
                    <a:gd name="connsiteX83" fmla="*/ 594159 w 1445589"/>
                    <a:gd name="connsiteY83" fmla="*/ 422665 h 502565"/>
                    <a:gd name="connsiteX84" fmla="*/ 592045 w 1445589"/>
                    <a:gd name="connsiteY84" fmla="*/ 436619 h 502565"/>
                    <a:gd name="connsiteX85" fmla="*/ 593359 w 1445589"/>
                    <a:gd name="connsiteY85" fmla="*/ 448859 h 502565"/>
                    <a:gd name="connsiteX86" fmla="*/ 591740 w 1445589"/>
                    <a:gd name="connsiteY86" fmla="*/ 452802 h 502565"/>
                    <a:gd name="connsiteX87" fmla="*/ 587445 w 1445589"/>
                    <a:gd name="connsiteY87" fmla="*/ 449325 h 502565"/>
                    <a:gd name="connsiteX88" fmla="*/ 580891 w 1445589"/>
                    <a:gd name="connsiteY88" fmla="*/ 448678 h 502565"/>
                    <a:gd name="connsiteX89" fmla="*/ 551945 w 1445589"/>
                    <a:gd name="connsiteY89" fmla="*/ 438667 h 502565"/>
                    <a:gd name="connsiteX90" fmla="*/ 538991 w 1445589"/>
                    <a:gd name="connsiteY90" fmla="*/ 442239 h 502565"/>
                    <a:gd name="connsiteX91" fmla="*/ 524731 w 1445589"/>
                    <a:gd name="connsiteY91" fmla="*/ 440325 h 502565"/>
                    <a:gd name="connsiteX92" fmla="*/ 492842 w 1445589"/>
                    <a:gd name="connsiteY92" fmla="*/ 437505 h 502565"/>
                    <a:gd name="connsiteX93" fmla="*/ 458419 w 1445589"/>
                    <a:gd name="connsiteY93" fmla="*/ 426770 h 502565"/>
                    <a:gd name="connsiteX94" fmla="*/ 425148 w 1445589"/>
                    <a:gd name="connsiteY94" fmla="*/ 420208 h 502565"/>
                    <a:gd name="connsiteX95" fmla="*/ 397973 w 1445589"/>
                    <a:gd name="connsiteY95" fmla="*/ 422141 h 502565"/>
                    <a:gd name="connsiteX96" fmla="*/ 366950 w 1445589"/>
                    <a:gd name="connsiteY96" fmla="*/ 412264 h 502565"/>
                    <a:gd name="connsiteX97" fmla="*/ 349872 w 1445589"/>
                    <a:gd name="connsiteY97" fmla="*/ 399729 h 502565"/>
                    <a:gd name="connsiteX98" fmla="*/ 321221 w 1445589"/>
                    <a:gd name="connsiteY98" fmla="*/ 393604 h 502565"/>
                    <a:gd name="connsiteX99" fmla="*/ 312067 w 1445589"/>
                    <a:gd name="connsiteY99" fmla="*/ 392976 h 502565"/>
                    <a:gd name="connsiteX100" fmla="*/ 315172 w 1445589"/>
                    <a:gd name="connsiteY100" fmla="*/ 387461 h 502565"/>
                    <a:gd name="connsiteX101" fmla="*/ 324736 w 1445589"/>
                    <a:gd name="connsiteY101" fmla="*/ 381317 h 502565"/>
                    <a:gd name="connsiteX102" fmla="*/ 331832 w 1445589"/>
                    <a:gd name="connsiteY102" fmla="*/ 372326 h 502565"/>
                    <a:gd name="connsiteX103" fmla="*/ 341699 w 1445589"/>
                    <a:gd name="connsiteY103" fmla="*/ 365020 h 502565"/>
                    <a:gd name="connsiteX104" fmla="*/ 370208 w 1445589"/>
                    <a:gd name="connsiteY104" fmla="*/ 363505 h 502565"/>
                    <a:gd name="connsiteX105" fmla="*/ 380180 w 1445589"/>
                    <a:gd name="connsiteY105" fmla="*/ 366744 h 502565"/>
                    <a:gd name="connsiteX106" fmla="*/ 380180 w 1445589"/>
                    <a:gd name="connsiteY106" fmla="*/ 366744 h 502565"/>
                    <a:gd name="connsiteX107" fmla="*/ 1000420 w 1445589"/>
                    <a:gd name="connsiteY107" fmla="*/ 274780 h 502565"/>
                    <a:gd name="connsiteX108" fmla="*/ 1009726 w 1445589"/>
                    <a:gd name="connsiteY108" fmla="*/ 292182 h 502565"/>
                    <a:gd name="connsiteX109" fmla="*/ 987037 w 1445589"/>
                    <a:gd name="connsiteY109" fmla="*/ 295354 h 502565"/>
                    <a:gd name="connsiteX110" fmla="*/ 974407 w 1445589"/>
                    <a:gd name="connsiteY110" fmla="*/ 276694 h 502565"/>
                    <a:gd name="connsiteX111" fmla="*/ 985713 w 1445589"/>
                    <a:gd name="connsiteY111" fmla="*/ 274837 h 502565"/>
                    <a:gd name="connsiteX112" fmla="*/ 1000420 w 1445589"/>
                    <a:gd name="connsiteY112" fmla="*/ 274780 h 502565"/>
                    <a:gd name="connsiteX113" fmla="*/ 1000420 w 1445589"/>
                    <a:gd name="connsiteY113" fmla="*/ 274780 h 502565"/>
                    <a:gd name="connsiteX114" fmla="*/ 1091917 w 1445589"/>
                    <a:gd name="connsiteY114" fmla="*/ 267779 h 502565"/>
                    <a:gd name="connsiteX115" fmla="*/ 1117863 w 1445589"/>
                    <a:gd name="connsiteY115" fmla="*/ 277657 h 502565"/>
                    <a:gd name="connsiteX116" fmla="*/ 1119730 w 1445589"/>
                    <a:gd name="connsiteY116" fmla="*/ 284334 h 502565"/>
                    <a:gd name="connsiteX117" fmla="*/ 1123159 w 1445589"/>
                    <a:gd name="connsiteY117" fmla="*/ 285658 h 502565"/>
                    <a:gd name="connsiteX118" fmla="*/ 1122902 w 1445589"/>
                    <a:gd name="connsiteY118" fmla="*/ 299021 h 502565"/>
                    <a:gd name="connsiteX119" fmla="*/ 1106699 w 1445589"/>
                    <a:gd name="connsiteY119" fmla="*/ 290249 h 502565"/>
                    <a:gd name="connsiteX120" fmla="*/ 1093850 w 1445589"/>
                    <a:gd name="connsiteY120" fmla="*/ 282305 h 502565"/>
                    <a:gd name="connsiteX121" fmla="*/ 1084431 w 1445589"/>
                    <a:gd name="connsiteY121" fmla="*/ 282038 h 502565"/>
                    <a:gd name="connsiteX122" fmla="*/ 1083458 w 1445589"/>
                    <a:gd name="connsiteY122" fmla="*/ 285676 h 502565"/>
                    <a:gd name="connsiteX123" fmla="*/ 1066809 w 1445589"/>
                    <a:gd name="connsiteY123" fmla="*/ 282371 h 502565"/>
                    <a:gd name="connsiteX124" fmla="*/ 1060732 w 1445589"/>
                    <a:gd name="connsiteY124" fmla="*/ 280647 h 502565"/>
                    <a:gd name="connsiteX125" fmla="*/ 1049855 w 1445589"/>
                    <a:gd name="connsiteY125" fmla="*/ 285658 h 502565"/>
                    <a:gd name="connsiteX126" fmla="*/ 1039872 w 1445589"/>
                    <a:gd name="connsiteY126" fmla="*/ 277171 h 502565"/>
                    <a:gd name="connsiteX127" fmla="*/ 1032919 w 1445589"/>
                    <a:gd name="connsiteY127" fmla="*/ 287925 h 502565"/>
                    <a:gd name="connsiteX128" fmla="*/ 1039672 w 1445589"/>
                    <a:gd name="connsiteY128" fmla="*/ 270427 h 502565"/>
                    <a:gd name="connsiteX129" fmla="*/ 1062066 w 1445589"/>
                    <a:gd name="connsiteY129" fmla="*/ 267446 h 502565"/>
                    <a:gd name="connsiteX130" fmla="*/ 1070228 w 1445589"/>
                    <a:gd name="connsiteY130" fmla="*/ 267798 h 502565"/>
                    <a:gd name="connsiteX131" fmla="*/ 1076020 w 1445589"/>
                    <a:gd name="connsiteY131" fmla="*/ 268855 h 502565"/>
                    <a:gd name="connsiteX132" fmla="*/ 1091917 w 1445589"/>
                    <a:gd name="connsiteY132" fmla="*/ 267779 h 502565"/>
                    <a:gd name="connsiteX133" fmla="*/ 1091917 w 1445589"/>
                    <a:gd name="connsiteY133" fmla="*/ 267779 h 502565"/>
                    <a:gd name="connsiteX134" fmla="*/ 346928 w 1445589"/>
                    <a:gd name="connsiteY134" fmla="*/ 230089 h 502565"/>
                    <a:gd name="connsiteX135" fmla="*/ 352320 w 1445589"/>
                    <a:gd name="connsiteY135" fmla="*/ 247891 h 502565"/>
                    <a:gd name="connsiteX136" fmla="*/ 370284 w 1445589"/>
                    <a:gd name="connsiteY136" fmla="*/ 258559 h 502565"/>
                    <a:gd name="connsiteX137" fmla="*/ 364807 w 1445589"/>
                    <a:gd name="connsiteY137" fmla="*/ 274256 h 502565"/>
                    <a:gd name="connsiteX138" fmla="*/ 343690 w 1445589"/>
                    <a:gd name="connsiteY138" fmla="*/ 265865 h 502565"/>
                    <a:gd name="connsiteX139" fmla="*/ 342128 w 1445589"/>
                    <a:gd name="connsiteY139" fmla="*/ 258416 h 502565"/>
                    <a:gd name="connsiteX140" fmla="*/ 340737 w 1445589"/>
                    <a:gd name="connsiteY140" fmla="*/ 253882 h 502565"/>
                    <a:gd name="connsiteX141" fmla="*/ 332441 w 1445589"/>
                    <a:gd name="connsiteY141" fmla="*/ 243748 h 502565"/>
                    <a:gd name="connsiteX142" fmla="*/ 321392 w 1445589"/>
                    <a:gd name="connsiteY142" fmla="*/ 242995 h 502565"/>
                    <a:gd name="connsiteX143" fmla="*/ 323773 w 1445589"/>
                    <a:gd name="connsiteY143" fmla="*/ 236099 h 502565"/>
                    <a:gd name="connsiteX144" fmla="*/ 327412 w 1445589"/>
                    <a:gd name="connsiteY144" fmla="*/ 227965 h 502565"/>
                    <a:gd name="connsiteX145" fmla="*/ 336013 w 1445589"/>
                    <a:gd name="connsiteY145" fmla="*/ 232032 h 502565"/>
                    <a:gd name="connsiteX146" fmla="*/ 340575 w 1445589"/>
                    <a:gd name="connsiteY146" fmla="*/ 224936 h 502565"/>
                    <a:gd name="connsiteX147" fmla="*/ 346928 w 1445589"/>
                    <a:gd name="connsiteY147" fmla="*/ 230089 h 502565"/>
                    <a:gd name="connsiteX148" fmla="*/ 346928 w 1445589"/>
                    <a:gd name="connsiteY148" fmla="*/ 230089 h 502565"/>
                    <a:gd name="connsiteX149" fmla="*/ 1211427 w 1445589"/>
                    <a:gd name="connsiteY149" fmla="*/ 200380 h 502565"/>
                    <a:gd name="connsiteX150" fmla="*/ 1231287 w 1445589"/>
                    <a:gd name="connsiteY150" fmla="*/ 204562 h 502565"/>
                    <a:gd name="connsiteX151" fmla="*/ 1230468 w 1445589"/>
                    <a:gd name="connsiteY151" fmla="*/ 209858 h 502565"/>
                    <a:gd name="connsiteX152" fmla="*/ 1233382 w 1445589"/>
                    <a:gd name="connsiteY152" fmla="*/ 214992 h 502565"/>
                    <a:gd name="connsiteX153" fmla="*/ 1234982 w 1445589"/>
                    <a:gd name="connsiteY153" fmla="*/ 223926 h 502565"/>
                    <a:gd name="connsiteX154" fmla="*/ 1230772 w 1445589"/>
                    <a:gd name="connsiteY154" fmla="*/ 232737 h 502565"/>
                    <a:gd name="connsiteX155" fmla="*/ 1231325 w 1445589"/>
                    <a:gd name="connsiteY155" fmla="*/ 243119 h 502565"/>
                    <a:gd name="connsiteX156" fmla="*/ 1240126 w 1445589"/>
                    <a:gd name="connsiteY156" fmla="*/ 266731 h 502565"/>
                    <a:gd name="connsiteX157" fmla="*/ 1246126 w 1445589"/>
                    <a:gd name="connsiteY157" fmla="*/ 258264 h 502565"/>
                    <a:gd name="connsiteX158" fmla="*/ 1252051 w 1445589"/>
                    <a:gd name="connsiteY158" fmla="*/ 269151 h 502565"/>
                    <a:gd name="connsiteX159" fmla="*/ 1263996 w 1445589"/>
                    <a:gd name="connsiteY159" fmla="*/ 283629 h 502565"/>
                    <a:gd name="connsiteX160" fmla="*/ 1284132 w 1445589"/>
                    <a:gd name="connsiteY160" fmla="*/ 271513 h 502565"/>
                    <a:gd name="connsiteX161" fmla="*/ 1289456 w 1445589"/>
                    <a:gd name="connsiteY161" fmla="*/ 263483 h 502565"/>
                    <a:gd name="connsiteX162" fmla="*/ 1298514 w 1445589"/>
                    <a:gd name="connsiteY162" fmla="*/ 254739 h 502565"/>
                    <a:gd name="connsiteX163" fmla="*/ 1316974 w 1445589"/>
                    <a:gd name="connsiteY163" fmla="*/ 246453 h 502565"/>
                    <a:gd name="connsiteX164" fmla="*/ 1326860 w 1445589"/>
                    <a:gd name="connsiteY164" fmla="*/ 240518 h 502565"/>
                    <a:gd name="connsiteX165" fmla="*/ 1325489 w 1445589"/>
                    <a:gd name="connsiteY165" fmla="*/ 236175 h 502565"/>
                    <a:gd name="connsiteX166" fmla="*/ 1329528 w 1445589"/>
                    <a:gd name="connsiteY166" fmla="*/ 232975 h 502565"/>
                    <a:gd name="connsiteX167" fmla="*/ 1353254 w 1445589"/>
                    <a:gd name="connsiteY167" fmla="*/ 226269 h 502565"/>
                    <a:gd name="connsiteX168" fmla="*/ 1398517 w 1445589"/>
                    <a:gd name="connsiteY168" fmla="*/ 246824 h 502565"/>
                    <a:gd name="connsiteX169" fmla="*/ 1423177 w 1445589"/>
                    <a:gd name="connsiteY169" fmla="*/ 253501 h 502565"/>
                    <a:gd name="connsiteX170" fmla="*/ 1435579 w 1445589"/>
                    <a:gd name="connsiteY170" fmla="*/ 254977 h 502565"/>
                    <a:gd name="connsiteX171" fmla="*/ 1438475 w 1445589"/>
                    <a:gd name="connsiteY171" fmla="*/ 259635 h 502565"/>
                    <a:gd name="connsiteX172" fmla="*/ 1445590 w 1445589"/>
                    <a:gd name="connsiteY172" fmla="*/ 259721 h 502565"/>
                    <a:gd name="connsiteX173" fmla="*/ 1438684 w 1445589"/>
                    <a:gd name="connsiteY173" fmla="*/ 342169 h 502565"/>
                    <a:gd name="connsiteX174" fmla="*/ 1432893 w 1445589"/>
                    <a:gd name="connsiteY174" fmla="*/ 380765 h 502565"/>
                    <a:gd name="connsiteX175" fmla="*/ 1429293 w 1445589"/>
                    <a:gd name="connsiteY175" fmla="*/ 388785 h 502565"/>
                    <a:gd name="connsiteX176" fmla="*/ 1431245 w 1445589"/>
                    <a:gd name="connsiteY176" fmla="*/ 398938 h 502565"/>
                    <a:gd name="connsiteX177" fmla="*/ 1428102 w 1445589"/>
                    <a:gd name="connsiteY177" fmla="*/ 419008 h 502565"/>
                    <a:gd name="connsiteX178" fmla="*/ 1419911 w 1445589"/>
                    <a:gd name="connsiteY178" fmla="*/ 464747 h 502565"/>
                    <a:gd name="connsiteX179" fmla="*/ 1403347 w 1445589"/>
                    <a:gd name="connsiteY179" fmla="*/ 444858 h 502565"/>
                    <a:gd name="connsiteX180" fmla="*/ 1394698 w 1445589"/>
                    <a:gd name="connsiteY180" fmla="*/ 435448 h 502565"/>
                    <a:gd name="connsiteX181" fmla="*/ 1399841 w 1445589"/>
                    <a:gd name="connsiteY181" fmla="*/ 427123 h 502565"/>
                    <a:gd name="connsiteX182" fmla="*/ 1372314 w 1445589"/>
                    <a:gd name="connsiteY182" fmla="*/ 428952 h 502565"/>
                    <a:gd name="connsiteX183" fmla="*/ 1360008 w 1445589"/>
                    <a:gd name="connsiteY183" fmla="*/ 437200 h 502565"/>
                    <a:gd name="connsiteX184" fmla="*/ 1362875 w 1445589"/>
                    <a:gd name="connsiteY184" fmla="*/ 426770 h 502565"/>
                    <a:gd name="connsiteX185" fmla="*/ 1368409 w 1445589"/>
                    <a:gd name="connsiteY185" fmla="*/ 414655 h 502565"/>
                    <a:gd name="connsiteX186" fmla="*/ 1360303 w 1445589"/>
                    <a:gd name="connsiteY186" fmla="*/ 405939 h 502565"/>
                    <a:gd name="connsiteX187" fmla="*/ 1374048 w 1445589"/>
                    <a:gd name="connsiteY187" fmla="*/ 404015 h 502565"/>
                    <a:gd name="connsiteX188" fmla="*/ 1360750 w 1445589"/>
                    <a:gd name="connsiteY188" fmla="*/ 400481 h 502565"/>
                    <a:gd name="connsiteX189" fmla="*/ 1365789 w 1445589"/>
                    <a:gd name="connsiteY189" fmla="*/ 393547 h 502565"/>
                    <a:gd name="connsiteX190" fmla="*/ 1354674 w 1445589"/>
                    <a:gd name="connsiteY190" fmla="*/ 361591 h 502565"/>
                    <a:gd name="connsiteX191" fmla="*/ 1349321 w 1445589"/>
                    <a:gd name="connsiteY191" fmla="*/ 360429 h 502565"/>
                    <a:gd name="connsiteX192" fmla="*/ 1354216 w 1445589"/>
                    <a:gd name="connsiteY192" fmla="*/ 356295 h 502565"/>
                    <a:gd name="connsiteX193" fmla="*/ 1342662 w 1445589"/>
                    <a:gd name="connsiteY193" fmla="*/ 347122 h 502565"/>
                    <a:gd name="connsiteX194" fmla="*/ 1323470 w 1445589"/>
                    <a:gd name="connsiteY194" fmla="*/ 333301 h 502565"/>
                    <a:gd name="connsiteX195" fmla="*/ 1307791 w 1445589"/>
                    <a:gd name="connsiteY195" fmla="*/ 330825 h 502565"/>
                    <a:gd name="connsiteX196" fmla="*/ 1283874 w 1445589"/>
                    <a:gd name="connsiteY196" fmla="*/ 320233 h 502565"/>
                    <a:gd name="connsiteX197" fmla="*/ 1258386 w 1445589"/>
                    <a:gd name="connsiteY197" fmla="*/ 317080 h 502565"/>
                    <a:gd name="connsiteX198" fmla="*/ 1251118 w 1445589"/>
                    <a:gd name="connsiteY198" fmla="*/ 301574 h 502565"/>
                    <a:gd name="connsiteX199" fmla="*/ 1242984 w 1445589"/>
                    <a:gd name="connsiteY199" fmla="*/ 302393 h 502565"/>
                    <a:gd name="connsiteX200" fmla="*/ 1236744 w 1445589"/>
                    <a:gd name="connsiteY200" fmla="*/ 301298 h 502565"/>
                    <a:gd name="connsiteX201" fmla="*/ 1231582 w 1445589"/>
                    <a:gd name="connsiteY201" fmla="*/ 301812 h 502565"/>
                    <a:gd name="connsiteX202" fmla="*/ 1229439 w 1445589"/>
                    <a:gd name="connsiteY202" fmla="*/ 298993 h 502565"/>
                    <a:gd name="connsiteX203" fmla="*/ 1225172 w 1445589"/>
                    <a:gd name="connsiteY203" fmla="*/ 297745 h 502565"/>
                    <a:gd name="connsiteX204" fmla="*/ 1215085 w 1445589"/>
                    <a:gd name="connsiteY204" fmla="*/ 289458 h 502565"/>
                    <a:gd name="connsiteX205" fmla="*/ 1220228 w 1445589"/>
                    <a:gd name="connsiteY205" fmla="*/ 273751 h 502565"/>
                    <a:gd name="connsiteX206" fmla="*/ 1209303 w 1445589"/>
                    <a:gd name="connsiteY206" fmla="*/ 285000 h 502565"/>
                    <a:gd name="connsiteX207" fmla="*/ 1199807 w 1445589"/>
                    <a:gd name="connsiteY207" fmla="*/ 304936 h 502565"/>
                    <a:gd name="connsiteX208" fmla="*/ 1185452 w 1445589"/>
                    <a:gd name="connsiteY208" fmla="*/ 298135 h 502565"/>
                    <a:gd name="connsiteX209" fmla="*/ 1188357 w 1445589"/>
                    <a:gd name="connsiteY209" fmla="*/ 288239 h 502565"/>
                    <a:gd name="connsiteX210" fmla="*/ 1180871 w 1445589"/>
                    <a:gd name="connsiteY210" fmla="*/ 277314 h 502565"/>
                    <a:gd name="connsiteX211" fmla="*/ 1170489 w 1445589"/>
                    <a:gd name="connsiteY211" fmla="*/ 270256 h 502565"/>
                    <a:gd name="connsiteX212" fmla="*/ 1161840 w 1445589"/>
                    <a:gd name="connsiteY212" fmla="*/ 265369 h 502565"/>
                    <a:gd name="connsiteX213" fmla="*/ 1178214 w 1445589"/>
                    <a:gd name="connsiteY213" fmla="*/ 262960 h 502565"/>
                    <a:gd name="connsiteX214" fmla="*/ 1191577 w 1445589"/>
                    <a:gd name="connsiteY214" fmla="*/ 260845 h 502565"/>
                    <a:gd name="connsiteX215" fmla="*/ 1204302 w 1445589"/>
                    <a:gd name="connsiteY215" fmla="*/ 255320 h 502565"/>
                    <a:gd name="connsiteX216" fmla="*/ 1216552 w 1445589"/>
                    <a:gd name="connsiteY216" fmla="*/ 260207 h 502565"/>
                    <a:gd name="connsiteX217" fmla="*/ 1219943 w 1445589"/>
                    <a:gd name="connsiteY217" fmla="*/ 249777 h 502565"/>
                    <a:gd name="connsiteX218" fmla="*/ 1224305 w 1445589"/>
                    <a:gd name="connsiteY218" fmla="*/ 243738 h 502565"/>
                    <a:gd name="connsiteX219" fmla="*/ 1181500 w 1445589"/>
                    <a:gd name="connsiteY219" fmla="*/ 247824 h 502565"/>
                    <a:gd name="connsiteX220" fmla="*/ 1165517 w 1445589"/>
                    <a:gd name="connsiteY220" fmla="*/ 240880 h 502565"/>
                    <a:gd name="connsiteX221" fmla="*/ 1162316 w 1445589"/>
                    <a:gd name="connsiteY221" fmla="*/ 231565 h 502565"/>
                    <a:gd name="connsiteX222" fmla="*/ 1155449 w 1445589"/>
                    <a:gd name="connsiteY222" fmla="*/ 225869 h 502565"/>
                    <a:gd name="connsiteX223" fmla="*/ 1142885 w 1445589"/>
                    <a:gd name="connsiteY223" fmla="*/ 221621 h 502565"/>
                    <a:gd name="connsiteX224" fmla="*/ 1136265 w 1445589"/>
                    <a:gd name="connsiteY224" fmla="*/ 223326 h 502565"/>
                    <a:gd name="connsiteX225" fmla="*/ 1139628 w 1445589"/>
                    <a:gd name="connsiteY225" fmla="*/ 213401 h 502565"/>
                    <a:gd name="connsiteX226" fmla="*/ 1148057 w 1445589"/>
                    <a:gd name="connsiteY226" fmla="*/ 202152 h 502565"/>
                    <a:gd name="connsiteX227" fmla="*/ 1167536 w 1445589"/>
                    <a:gd name="connsiteY227" fmla="*/ 193370 h 502565"/>
                    <a:gd name="connsiteX228" fmla="*/ 1211427 w 1445589"/>
                    <a:gd name="connsiteY228" fmla="*/ 200380 h 502565"/>
                    <a:gd name="connsiteX229" fmla="*/ 1211427 w 1445589"/>
                    <a:gd name="connsiteY229" fmla="*/ 200380 h 502565"/>
                    <a:gd name="connsiteX230" fmla="*/ 940898 w 1445589"/>
                    <a:gd name="connsiteY230" fmla="*/ 146154 h 502565"/>
                    <a:gd name="connsiteX231" fmla="*/ 920390 w 1445589"/>
                    <a:gd name="connsiteY231" fmla="*/ 165404 h 502565"/>
                    <a:gd name="connsiteX232" fmla="*/ 890787 w 1445589"/>
                    <a:gd name="connsiteY232" fmla="*/ 167414 h 502565"/>
                    <a:gd name="connsiteX233" fmla="*/ 880109 w 1445589"/>
                    <a:gd name="connsiteY233" fmla="*/ 162061 h 502565"/>
                    <a:gd name="connsiteX234" fmla="*/ 860450 w 1445589"/>
                    <a:gd name="connsiteY234" fmla="*/ 162337 h 502565"/>
                    <a:gd name="connsiteX235" fmla="*/ 845200 w 1445589"/>
                    <a:gd name="connsiteY235" fmla="*/ 163747 h 502565"/>
                    <a:gd name="connsiteX236" fmla="*/ 831437 w 1445589"/>
                    <a:gd name="connsiteY236" fmla="*/ 162013 h 502565"/>
                    <a:gd name="connsiteX237" fmla="*/ 814739 w 1445589"/>
                    <a:gd name="connsiteY237" fmla="*/ 163080 h 502565"/>
                    <a:gd name="connsiteX238" fmla="*/ 799014 w 1445589"/>
                    <a:gd name="connsiteY238" fmla="*/ 162842 h 502565"/>
                    <a:gd name="connsiteX239" fmla="*/ 787993 w 1445589"/>
                    <a:gd name="connsiteY239" fmla="*/ 189969 h 502565"/>
                    <a:gd name="connsiteX240" fmla="*/ 794099 w 1445589"/>
                    <a:gd name="connsiteY240" fmla="*/ 204124 h 502565"/>
                    <a:gd name="connsiteX241" fmla="*/ 804128 w 1445589"/>
                    <a:gd name="connsiteY241" fmla="*/ 212706 h 502565"/>
                    <a:gd name="connsiteX242" fmla="*/ 807176 w 1445589"/>
                    <a:gd name="connsiteY242" fmla="*/ 219726 h 502565"/>
                    <a:gd name="connsiteX243" fmla="*/ 811691 w 1445589"/>
                    <a:gd name="connsiteY243" fmla="*/ 220459 h 502565"/>
                    <a:gd name="connsiteX244" fmla="*/ 824360 w 1445589"/>
                    <a:gd name="connsiteY244" fmla="*/ 216773 h 502565"/>
                    <a:gd name="connsiteX245" fmla="*/ 834904 w 1445589"/>
                    <a:gd name="connsiteY245" fmla="*/ 204409 h 502565"/>
                    <a:gd name="connsiteX246" fmla="*/ 846362 w 1445589"/>
                    <a:gd name="connsiteY246" fmla="*/ 207172 h 502565"/>
                    <a:gd name="connsiteX247" fmla="*/ 859735 w 1445589"/>
                    <a:gd name="connsiteY247" fmla="*/ 201314 h 502565"/>
                    <a:gd name="connsiteX248" fmla="*/ 878042 w 1445589"/>
                    <a:gd name="connsiteY248" fmla="*/ 201266 h 502565"/>
                    <a:gd name="connsiteX249" fmla="*/ 876214 w 1445589"/>
                    <a:gd name="connsiteY249" fmla="*/ 198256 h 502565"/>
                    <a:gd name="connsiteX250" fmla="*/ 894568 w 1445589"/>
                    <a:gd name="connsiteY250" fmla="*/ 204905 h 502565"/>
                    <a:gd name="connsiteX251" fmla="*/ 877223 w 1445589"/>
                    <a:gd name="connsiteY251" fmla="*/ 206505 h 502565"/>
                    <a:gd name="connsiteX252" fmla="*/ 860659 w 1445589"/>
                    <a:gd name="connsiteY252" fmla="*/ 224174 h 502565"/>
                    <a:gd name="connsiteX253" fmla="*/ 847382 w 1445589"/>
                    <a:gd name="connsiteY253" fmla="*/ 230003 h 502565"/>
                    <a:gd name="connsiteX254" fmla="*/ 838180 w 1445589"/>
                    <a:gd name="connsiteY254" fmla="*/ 237213 h 502565"/>
                    <a:gd name="connsiteX255" fmla="*/ 829218 w 1445589"/>
                    <a:gd name="connsiteY255" fmla="*/ 236327 h 502565"/>
                    <a:gd name="connsiteX256" fmla="*/ 834913 w 1445589"/>
                    <a:gd name="connsiteY256" fmla="*/ 244348 h 502565"/>
                    <a:gd name="connsiteX257" fmla="*/ 842114 w 1445589"/>
                    <a:gd name="connsiteY257" fmla="*/ 248786 h 502565"/>
                    <a:gd name="connsiteX258" fmla="*/ 848458 w 1445589"/>
                    <a:gd name="connsiteY258" fmla="*/ 260731 h 502565"/>
                    <a:gd name="connsiteX259" fmla="*/ 856945 w 1445589"/>
                    <a:gd name="connsiteY259" fmla="*/ 269103 h 502565"/>
                    <a:gd name="connsiteX260" fmla="*/ 859326 w 1445589"/>
                    <a:gd name="connsiteY260" fmla="*/ 276456 h 502565"/>
                    <a:gd name="connsiteX261" fmla="*/ 856592 w 1445589"/>
                    <a:gd name="connsiteY261" fmla="*/ 293859 h 502565"/>
                    <a:gd name="connsiteX262" fmla="*/ 864469 w 1445589"/>
                    <a:gd name="connsiteY262" fmla="*/ 300421 h 502565"/>
                    <a:gd name="connsiteX263" fmla="*/ 869394 w 1445589"/>
                    <a:gd name="connsiteY263" fmla="*/ 306346 h 502565"/>
                    <a:gd name="connsiteX264" fmla="*/ 873290 w 1445589"/>
                    <a:gd name="connsiteY264" fmla="*/ 309213 h 502565"/>
                    <a:gd name="connsiteX265" fmla="*/ 867355 w 1445589"/>
                    <a:gd name="connsiteY265" fmla="*/ 314204 h 502565"/>
                    <a:gd name="connsiteX266" fmla="*/ 849296 w 1445589"/>
                    <a:gd name="connsiteY266" fmla="*/ 319805 h 502565"/>
                    <a:gd name="connsiteX267" fmla="*/ 845829 w 1445589"/>
                    <a:gd name="connsiteY267" fmla="*/ 328444 h 502565"/>
                    <a:gd name="connsiteX268" fmla="*/ 834752 w 1445589"/>
                    <a:gd name="connsiteY268" fmla="*/ 328977 h 502565"/>
                    <a:gd name="connsiteX269" fmla="*/ 831732 w 1445589"/>
                    <a:gd name="connsiteY269" fmla="*/ 310394 h 502565"/>
                    <a:gd name="connsiteX270" fmla="*/ 829084 w 1445589"/>
                    <a:gd name="connsiteY270" fmla="*/ 303460 h 502565"/>
                    <a:gd name="connsiteX271" fmla="*/ 820016 w 1445589"/>
                    <a:gd name="connsiteY271" fmla="*/ 296916 h 502565"/>
                    <a:gd name="connsiteX272" fmla="*/ 816968 w 1445589"/>
                    <a:gd name="connsiteY272" fmla="*/ 278447 h 502565"/>
                    <a:gd name="connsiteX273" fmla="*/ 811101 w 1445589"/>
                    <a:gd name="connsiteY273" fmla="*/ 260769 h 502565"/>
                    <a:gd name="connsiteX274" fmla="*/ 792756 w 1445589"/>
                    <a:gd name="connsiteY274" fmla="*/ 272018 h 502565"/>
                    <a:gd name="connsiteX275" fmla="*/ 796394 w 1445589"/>
                    <a:gd name="connsiteY275" fmla="*/ 283591 h 502565"/>
                    <a:gd name="connsiteX276" fmla="*/ 796356 w 1445589"/>
                    <a:gd name="connsiteY276" fmla="*/ 296459 h 502565"/>
                    <a:gd name="connsiteX277" fmla="*/ 793794 w 1445589"/>
                    <a:gd name="connsiteY277" fmla="*/ 310108 h 502565"/>
                    <a:gd name="connsiteX278" fmla="*/ 793546 w 1445589"/>
                    <a:gd name="connsiteY278" fmla="*/ 326348 h 502565"/>
                    <a:gd name="connsiteX279" fmla="*/ 788517 w 1445589"/>
                    <a:gd name="connsiteY279" fmla="*/ 338731 h 502565"/>
                    <a:gd name="connsiteX280" fmla="*/ 791774 w 1445589"/>
                    <a:gd name="connsiteY280" fmla="*/ 353609 h 502565"/>
                    <a:gd name="connsiteX281" fmla="*/ 773134 w 1445589"/>
                    <a:gd name="connsiteY281" fmla="*/ 355314 h 502565"/>
                    <a:gd name="connsiteX282" fmla="*/ 758999 w 1445589"/>
                    <a:gd name="connsiteY282" fmla="*/ 344855 h 502565"/>
                    <a:gd name="connsiteX283" fmla="*/ 763171 w 1445589"/>
                    <a:gd name="connsiteY283" fmla="*/ 335207 h 502565"/>
                    <a:gd name="connsiteX284" fmla="*/ 766762 w 1445589"/>
                    <a:gd name="connsiteY284" fmla="*/ 323367 h 502565"/>
                    <a:gd name="connsiteX285" fmla="*/ 768362 w 1445589"/>
                    <a:gd name="connsiteY285" fmla="*/ 298783 h 502565"/>
                    <a:gd name="connsiteX286" fmla="*/ 762723 w 1445589"/>
                    <a:gd name="connsiteY286" fmla="*/ 286572 h 502565"/>
                    <a:gd name="connsiteX287" fmla="*/ 750922 w 1445589"/>
                    <a:gd name="connsiteY287" fmla="*/ 288058 h 502565"/>
                    <a:gd name="connsiteX288" fmla="*/ 747007 w 1445589"/>
                    <a:gd name="connsiteY288" fmla="*/ 276904 h 502565"/>
                    <a:gd name="connsiteX289" fmla="*/ 748045 w 1445589"/>
                    <a:gd name="connsiteY289" fmla="*/ 267265 h 502565"/>
                    <a:gd name="connsiteX290" fmla="*/ 749570 w 1445589"/>
                    <a:gd name="connsiteY290" fmla="*/ 260807 h 502565"/>
                    <a:gd name="connsiteX291" fmla="*/ 757637 w 1445589"/>
                    <a:gd name="connsiteY291" fmla="*/ 254092 h 502565"/>
                    <a:gd name="connsiteX292" fmla="*/ 761018 w 1445589"/>
                    <a:gd name="connsiteY292" fmla="*/ 243176 h 502565"/>
                    <a:gd name="connsiteX293" fmla="*/ 764705 w 1445589"/>
                    <a:gd name="connsiteY293" fmla="*/ 229746 h 502565"/>
                    <a:gd name="connsiteX294" fmla="*/ 766524 w 1445589"/>
                    <a:gd name="connsiteY294" fmla="*/ 217030 h 502565"/>
                    <a:gd name="connsiteX295" fmla="*/ 782136 w 1445589"/>
                    <a:gd name="connsiteY295" fmla="*/ 204628 h 502565"/>
                    <a:gd name="connsiteX296" fmla="*/ 779754 w 1445589"/>
                    <a:gd name="connsiteY296" fmla="*/ 190779 h 502565"/>
                    <a:gd name="connsiteX297" fmla="*/ 778564 w 1445589"/>
                    <a:gd name="connsiteY297" fmla="*/ 180806 h 502565"/>
                    <a:gd name="connsiteX298" fmla="*/ 781307 w 1445589"/>
                    <a:gd name="connsiteY298" fmla="*/ 178711 h 502565"/>
                    <a:gd name="connsiteX299" fmla="*/ 781602 w 1445589"/>
                    <a:gd name="connsiteY299" fmla="*/ 169272 h 502565"/>
                    <a:gd name="connsiteX300" fmla="*/ 785831 w 1445589"/>
                    <a:gd name="connsiteY300" fmla="*/ 162261 h 502565"/>
                    <a:gd name="connsiteX301" fmla="*/ 788860 w 1445589"/>
                    <a:gd name="connsiteY301" fmla="*/ 155670 h 502565"/>
                    <a:gd name="connsiteX302" fmla="*/ 796223 w 1445589"/>
                    <a:gd name="connsiteY302" fmla="*/ 146640 h 502565"/>
                    <a:gd name="connsiteX303" fmla="*/ 805996 w 1445589"/>
                    <a:gd name="connsiteY303" fmla="*/ 150602 h 502565"/>
                    <a:gd name="connsiteX304" fmla="*/ 819864 w 1445589"/>
                    <a:gd name="connsiteY304" fmla="*/ 135696 h 502565"/>
                    <a:gd name="connsiteX305" fmla="*/ 837028 w 1445589"/>
                    <a:gd name="connsiteY305" fmla="*/ 143859 h 502565"/>
                    <a:gd name="connsiteX306" fmla="*/ 853325 w 1445589"/>
                    <a:gd name="connsiteY306" fmla="*/ 145002 h 502565"/>
                    <a:gd name="connsiteX307" fmla="*/ 868203 w 1445589"/>
                    <a:gd name="connsiteY307" fmla="*/ 146850 h 502565"/>
                    <a:gd name="connsiteX308" fmla="*/ 879176 w 1445589"/>
                    <a:gd name="connsiteY308" fmla="*/ 149574 h 502565"/>
                    <a:gd name="connsiteX309" fmla="*/ 891835 w 1445589"/>
                    <a:gd name="connsiteY309" fmla="*/ 148507 h 502565"/>
                    <a:gd name="connsiteX310" fmla="*/ 923668 w 1445589"/>
                    <a:gd name="connsiteY310" fmla="*/ 142706 h 502565"/>
                    <a:gd name="connsiteX311" fmla="*/ 932935 w 1445589"/>
                    <a:gd name="connsiteY311" fmla="*/ 132819 h 502565"/>
                    <a:gd name="connsiteX312" fmla="*/ 939012 w 1445589"/>
                    <a:gd name="connsiteY312" fmla="*/ 128743 h 502565"/>
                    <a:gd name="connsiteX313" fmla="*/ 943575 w 1445589"/>
                    <a:gd name="connsiteY313" fmla="*/ 123942 h 502565"/>
                    <a:gd name="connsiteX314" fmla="*/ 949375 w 1445589"/>
                    <a:gd name="connsiteY314" fmla="*/ 126238 h 502565"/>
                    <a:gd name="connsiteX315" fmla="*/ 948604 w 1445589"/>
                    <a:gd name="connsiteY315" fmla="*/ 133153 h 502565"/>
                    <a:gd name="connsiteX316" fmla="*/ 940898 w 1445589"/>
                    <a:gd name="connsiteY316" fmla="*/ 146154 h 502565"/>
                    <a:gd name="connsiteX317" fmla="*/ 940898 w 1445589"/>
                    <a:gd name="connsiteY317" fmla="*/ 146154 h 502565"/>
                    <a:gd name="connsiteX318" fmla="*/ 1030557 w 1445589"/>
                    <a:gd name="connsiteY318" fmla="*/ 150793 h 502565"/>
                    <a:gd name="connsiteX319" fmla="*/ 1037691 w 1445589"/>
                    <a:gd name="connsiteY319" fmla="*/ 145107 h 502565"/>
                    <a:gd name="connsiteX320" fmla="*/ 1042501 w 1445589"/>
                    <a:gd name="connsiteY320" fmla="*/ 142001 h 502565"/>
                    <a:gd name="connsiteX321" fmla="*/ 1043587 w 1445589"/>
                    <a:gd name="connsiteY321" fmla="*/ 137267 h 502565"/>
                    <a:gd name="connsiteX322" fmla="*/ 1054979 w 1445589"/>
                    <a:gd name="connsiteY322" fmla="*/ 128552 h 502565"/>
                    <a:gd name="connsiteX323" fmla="*/ 1061180 w 1445589"/>
                    <a:gd name="connsiteY323" fmla="*/ 135286 h 502565"/>
                    <a:gd name="connsiteX324" fmla="*/ 1055113 w 1445589"/>
                    <a:gd name="connsiteY324" fmla="*/ 146650 h 502565"/>
                    <a:gd name="connsiteX325" fmla="*/ 1047797 w 1445589"/>
                    <a:gd name="connsiteY325" fmla="*/ 154775 h 502565"/>
                    <a:gd name="connsiteX326" fmla="*/ 1060208 w 1445589"/>
                    <a:gd name="connsiteY326" fmla="*/ 162585 h 502565"/>
                    <a:gd name="connsiteX327" fmla="*/ 1062570 w 1445589"/>
                    <a:gd name="connsiteY327" fmla="*/ 167319 h 502565"/>
                    <a:gd name="connsiteX328" fmla="*/ 1067514 w 1445589"/>
                    <a:gd name="connsiteY328" fmla="*/ 170681 h 502565"/>
                    <a:gd name="connsiteX329" fmla="*/ 1047007 w 1445589"/>
                    <a:gd name="connsiteY329" fmla="*/ 164595 h 502565"/>
                    <a:gd name="connsiteX330" fmla="*/ 1036043 w 1445589"/>
                    <a:gd name="connsiteY330" fmla="*/ 169557 h 502565"/>
                    <a:gd name="connsiteX331" fmla="*/ 1052350 w 1445589"/>
                    <a:gd name="connsiteY331" fmla="*/ 205619 h 502565"/>
                    <a:gd name="connsiteX332" fmla="*/ 1039205 w 1445589"/>
                    <a:gd name="connsiteY332" fmla="*/ 197837 h 502565"/>
                    <a:gd name="connsiteX333" fmla="*/ 1035091 w 1445589"/>
                    <a:gd name="connsiteY333" fmla="*/ 190150 h 502565"/>
                    <a:gd name="connsiteX334" fmla="*/ 1029843 w 1445589"/>
                    <a:gd name="connsiteY334" fmla="*/ 185578 h 502565"/>
                    <a:gd name="connsiteX335" fmla="*/ 1029452 w 1445589"/>
                    <a:gd name="connsiteY335" fmla="*/ 171681 h 502565"/>
                    <a:gd name="connsiteX336" fmla="*/ 1024652 w 1445589"/>
                    <a:gd name="connsiteY336" fmla="*/ 159261 h 502565"/>
                    <a:gd name="connsiteX337" fmla="*/ 1025642 w 1445589"/>
                    <a:gd name="connsiteY337" fmla="*/ 153708 h 502565"/>
                    <a:gd name="connsiteX338" fmla="*/ 1024546 w 1445589"/>
                    <a:gd name="connsiteY338" fmla="*/ 149031 h 502565"/>
                    <a:gd name="connsiteX339" fmla="*/ 1022718 w 1445589"/>
                    <a:gd name="connsiteY339" fmla="*/ 133677 h 502565"/>
                    <a:gd name="connsiteX340" fmla="*/ 1038853 w 1445589"/>
                    <a:gd name="connsiteY340" fmla="*/ 108235 h 502565"/>
                    <a:gd name="connsiteX341" fmla="*/ 1034614 w 1445589"/>
                    <a:gd name="connsiteY341" fmla="*/ 118608 h 502565"/>
                    <a:gd name="connsiteX342" fmla="*/ 1039339 w 1445589"/>
                    <a:gd name="connsiteY342" fmla="*/ 131057 h 502565"/>
                    <a:gd name="connsiteX343" fmla="*/ 1032624 w 1445589"/>
                    <a:gd name="connsiteY343" fmla="*/ 142525 h 502565"/>
                    <a:gd name="connsiteX344" fmla="*/ 1030557 w 1445589"/>
                    <a:gd name="connsiteY344" fmla="*/ 150793 h 502565"/>
                    <a:gd name="connsiteX345" fmla="*/ 1030557 w 1445589"/>
                    <a:gd name="connsiteY345" fmla="*/ 150793 h 502565"/>
                    <a:gd name="connsiteX346" fmla="*/ 673312 w 1445589"/>
                    <a:gd name="connsiteY346" fmla="*/ 40170 h 502565"/>
                    <a:gd name="connsiteX347" fmla="*/ 689743 w 1445589"/>
                    <a:gd name="connsiteY347" fmla="*/ 40875 h 502565"/>
                    <a:gd name="connsiteX348" fmla="*/ 705888 w 1445589"/>
                    <a:gd name="connsiteY348" fmla="*/ 46132 h 502565"/>
                    <a:gd name="connsiteX349" fmla="*/ 710793 w 1445589"/>
                    <a:gd name="connsiteY349" fmla="*/ 57248 h 502565"/>
                    <a:gd name="connsiteX350" fmla="*/ 704830 w 1445589"/>
                    <a:gd name="connsiteY350" fmla="*/ 60001 h 502565"/>
                    <a:gd name="connsiteX351" fmla="*/ 690771 w 1445589"/>
                    <a:gd name="connsiteY351" fmla="*/ 63392 h 502565"/>
                    <a:gd name="connsiteX352" fmla="*/ 698191 w 1445589"/>
                    <a:gd name="connsiteY352" fmla="*/ 67735 h 502565"/>
                    <a:gd name="connsiteX353" fmla="*/ 701287 w 1445589"/>
                    <a:gd name="connsiteY353" fmla="*/ 71012 h 502565"/>
                    <a:gd name="connsiteX354" fmla="*/ 699877 w 1445589"/>
                    <a:gd name="connsiteY354" fmla="*/ 75336 h 502565"/>
                    <a:gd name="connsiteX355" fmla="*/ 710336 w 1445589"/>
                    <a:gd name="connsiteY355" fmla="*/ 84556 h 502565"/>
                    <a:gd name="connsiteX356" fmla="*/ 708202 w 1445589"/>
                    <a:gd name="connsiteY356" fmla="*/ 85233 h 502565"/>
                    <a:gd name="connsiteX357" fmla="*/ 712317 w 1445589"/>
                    <a:gd name="connsiteY357" fmla="*/ 86556 h 502565"/>
                    <a:gd name="connsiteX358" fmla="*/ 710564 w 1445589"/>
                    <a:gd name="connsiteY358" fmla="*/ 88509 h 502565"/>
                    <a:gd name="connsiteX359" fmla="*/ 722557 w 1445589"/>
                    <a:gd name="connsiteY359" fmla="*/ 101434 h 502565"/>
                    <a:gd name="connsiteX360" fmla="*/ 716404 w 1445589"/>
                    <a:gd name="connsiteY360" fmla="*/ 113665 h 502565"/>
                    <a:gd name="connsiteX361" fmla="*/ 730367 w 1445589"/>
                    <a:gd name="connsiteY361" fmla="*/ 127228 h 502565"/>
                    <a:gd name="connsiteX362" fmla="*/ 751132 w 1445589"/>
                    <a:gd name="connsiteY362" fmla="*/ 143173 h 502565"/>
                    <a:gd name="connsiteX363" fmla="*/ 752103 w 1445589"/>
                    <a:gd name="connsiteY363" fmla="*/ 149574 h 502565"/>
                    <a:gd name="connsiteX364" fmla="*/ 740130 w 1445589"/>
                    <a:gd name="connsiteY364" fmla="*/ 151774 h 502565"/>
                    <a:gd name="connsiteX365" fmla="*/ 729338 w 1445589"/>
                    <a:gd name="connsiteY365" fmla="*/ 149507 h 502565"/>
                    <a:gd name="connsiteX366" fmla="*/ 721080 w 1445589"/>
                    <a:gd name="connsiteY366" fmla="*/ 142897 h 502565"/>
                    <a:gd name="connsiteX367" fmla="*/ 720489 w 1445589"/>
                    <a:gd name="connsiteY367" fmla="*/ 151993 h 502565"/>
                    <a:gd name="connsiteX368" fmla="*/ 712517 w 1445589"/>
                    <a:gd name="connsiteY368" fmla="*/ 161756 h 502565"/>
                    <a:gd name="connsiteX369" fmla="*/ 708202 w 1445589"/>
                    <a:gd name="connsiteY369" fmla="*/ 190246 h 502565"/>
                    <a:gd name="connsiteX370" fmla="*/ 710441 w 1445589"/>
                    <a:gd name="connsiteY370" fmla="*/ 201104 h 502565"/>
                    <a:gd name="connsiteX371" fmla="*/ 701002 w 1445589"/>
                    <a:gd name="connsiteY371" fmla="*/ 206181 h 502565"/>
                    <a:gd name="connsiteX372" fmla="*/ 684209 w 1445589"/>
                    <a:gd name="connsiteY372" fmla="*/ 210391 h 502565"/>
                    <a:gd name="connsiteX373" fmla="*/ 685047 w 1445589"/>
                    <a:gd name="connsiteY373" fmla="*/ 217401 h 502565"/>
                    <a:gd name="connsiteX374" fmla="*/ 679903 w 1445589"/>
                    <a:gd name="connsiteY374" fmla="*/ 222497 h 502565"/>
                    <a:gd name="connsiteX375" fmla="*/ 676160 w 1445589"/>
                    <a:gd name="connsiteY375" fmla="*/ 228384 h 502565"/>
                    <a:gd name="connsiteX376" fmla="*/ 668997 w 1445589"/>
                    <a:gd name="connsiteY376" fmla="*/ 233718 h 502565"/>
                    <a:gd name="connsiteX377" fmla="*/ 669826 w 1445589"/>
                    <a:gd name="connsiteY377" fmla="*/ 244909 h 502565"/>
                    <a:gd name="connsiteX378" fmla="*/ 676694 w 1445589"/>
                    <a:gd name="connsiteY378" fmla="*/ 254225 h 502565"/>
                    <a:gd name="connsiteX379" fmla="*/ 668988 w 1445589"/>
                    <a:gd name="connsiteY379" fmla="*/ 259511 h 502565"/>
                    <a:gd name="connsiteX380" fmla="*/ 671169 w 1445589"/>
                    <a:gd name="connsiteY380" fmla="*/ 258711 h 502565"/>
                    <a:gd name="connsiteX381" fmla="*/ 664035 w 1445589"/>
                    <a:gd name="connsiteY381" fmla="*/ 269941 h 502565"/>
                    <a:gd name="connsiteX382" fmla="*/ 666578 w 1445589"/>
                    <a:gd name="connsiteY382" fmla="*/ 275990 h 502565"/>
                    <a:gd name="connsiteX383" fmla="*/ 656243 w 1445589"/>
                    <a:gd name="connsiteY383" fmla="*/ 290734 h 502565"/>
                    <a:gd name="connsiteX384" fmla="*/ 633269 w 1445589"/>
                    <a:gd name="connsiteY384" fmla="*/ 300726 h 502565"/>
                    <a:gd name="connsiteX385" fmla="*/ 613248 w 1445589"/>
                    <a:gd name="connsiteY385" fmla="*/ 307032 h 502565"/>
                    <a:gd name="connsiteX386" fmla="*/ 613514 w 1445589"/>
                    <a:gd name="connsiteY386" fmla="*/ 294725 h 502565"/>
                    <a:gd name="connsiteX387" fmla="*/ 611619 w 1445589"/>
                    <a:gd name="connsiteY387" fmla="*/ 283876 h 502565"/>
                    <a:gd name="connsiteX388" fmla="*/ 606180 w 1445589"/>
                    <a:gd name="connsiteY388" fmla="*/ 279419 h 502565"/>
                    <a:gd name="connsiteX389" fmla="*/ 597217 w 1445589"/>
                    <a:gd name="connsiteY389" fmla="*/ 281362 h 502565"/>
                    <a:gd name="connsiteX390" fmla="*/ 583606 w 1445589"/>
                    <a:gd name="connsiteY390" fmla="*/ 283857 h 502565"/>
                    <a:gd name="connsiteX391" fmla="*/ 582463 w 1445589"/>
                    <a:gd name="connsiteY391" fmla="*/ 277895 h 502565"/>
                    <a:gd name="connsiteX392" fmla="*/ 576748 w 1445589"/>
                    <a:gd name="connsiteY392" fmla="*/ 279228 h 502565"/>
                    <a:gd name="connsiteX393" fmla="*/ 565432 w 1445589"/>
                    <a:gd name="connsiteY393" fmla="*/ 269913 h 502565"/>
                    <a:gd name="connsiteX394" fmla="*/ 556088 w 1445589"/>
                    <a:gd name="connsiteY394" fmla="*/ 282162 h 502565"/>
                    <a:gd name="connsiteX395" fmla="*/ 541200 w 1445589"/>
                    <a:gd name="connsiteY395" fmla="*/ 282124 h 502565"/>
                    <a:gd name="connsiteX396" fmla="*/ 527037 w 1445589"/>
                    <a:gd name="connsiteY396" fmla="*/ 282591 h 502565"/>
                    <a:gd name="connsiteX397" fmla="*/ 525322 w 1445589"/>
                    <a:gd name="connsiteY397" fmla="*/ 270094 h 502565"/>
                    <a:gd name="connsiteX398" fmla="*/ 515902 w 1445589"/>
                    <a:gd name="connsiteY398" fmla="*/ 270837 h 502565"/>
                    <a:gd name="connsiteX399" fmla="*/ 501672 w 1445589"/>
                    <a:gd name="connsiteY399" fmla="*/ 273875 h 502565"/>
                    <a:gd name="connsiteX400" fmla="*/ 498300 w 1445589"/>
                    <a:gd name="connsiteY400" fmla="*/ 269113 h 502565"/>
                    <a:gd name="connsiteX401" fmla="*/ 491128 w 1445589"/>
                    <a:gd name="connsiteY401" fmla="*/ 272285 h 502565"/>
                    <a:gd name="connsiteX402" fmla="*/ 488080 w 1445589"/>
                    <a:gd name="connsiteY402" fmla="*/ 268579 h 502565"/>
                    <a:gd name="connsiteX403" fmla="*/ 482317 w 1445589"/>
                    <a:gd name="connsiteY403" fmla="*/ 269808 h 502565"/>
                    <a:gd name="connsiteX404" fmla="*/ 477621 w 1445589"/>
                    <a:gd name="connsiteY404" fmla="*/ 270294 h 502565"/>
                    <a:gd name="connsiteX405" fmla="*/ 477278 w 1445589"/>
                    <a:gd name="connsiteY405" fmla="*/ 261702 h 502565"/>
                    <a:gd name="connsiteX406" fmla="*/ 473887 w 1445589"/>
                    <a:gd name="connsiteY406" fmla="*/ 239680 h 502565"/>
                    <a:gd name="connsiteX407" fmla="*/ 470277 w 1445589"/>
                    <a:gd name="connsiteY407" fmla="*/ 232403 h 502565"/>
                    <a:gd name="connsiteX408" fmla="*/ 472630 w 1445589"/>
                    <a:gd name="connsiteY408" fmla="*/ 224517 h 502565"/>
                    <a:gd name="connsiteX409" fmla="*/ 462810 w 1445589"/>
                    <a:gd name="connsiteY409" fmla="*/ 207781 h 502565"/>
                    <a:gd name="connsiteX410" fmla="*/ 448913 w 1445589"/>
                    <a:gd name="connsiteY410" fmla="*/ 201733 h 502565"/>
                    <a:gd name="connsiteX411" fmla="*/ 452370 w 1445589"/>
                    <a:gd name="connsiteY411" fmla="*/ 197589 h 502565"/>
                    <a:gd name="connsiteX412" fmla="*/ 445246 w 1445589"/>
                    <a:gd name="connsiteY412" fmla="*/ 192293 h 502565"/>
                    <a:gd name="connsiteX413" fmla="*/ 448837 w 1445589"/>
                    <a:gd name="connsiteY413" fmla="*/ 176501 h 502565"/>
                    <a:gd name="connsiteX414" fmla="*/ 438150 w 1445589"/>
                    <a:gd name="connsiteY414" fmla="*/ 159832 h 502565"/>
                    <a:gd name="connsiteX415" fmla="*/ 444464 w 1445589"/>
                    <a:gd name="connsiteY415" fmla="*/ 137982 h 502565"/>
                    <a:gd name="connsiteX416" fmla="*/ 440645 w 1445589"/>
                    <a:gd name="connsiteY416" fmla="*/ 138430 h 502565"/>
                    <a:gd name="connsiteX417" fmla="*/ 459466 w 1445589"/>
                    <a:gd name="connsiteY417" fmla="*/ 113617 h 502565"/>
                    <a:gd name="connsiteX418" fmla="*/ 461971 w 1445589"/>
                    <a:gd name="connsiteY418" fmla="*/ 128085 h 502565"/>
                    <a:gd name="connsiteX419" fmla="*/ 474259 w 1445589"/>
                    <a:gd name="connsiteY419" fmla="*/ 139268 h 502565"/>
                    <a:gd name="connsiteX420" fmla="*/ 489708 w 1445589"/>
                    <a:gd name="connsiteY420" fmla="*/ 150060 h 502565"/>
                    <a:gd name="connsiteX421" fmla="*/ 508577 w 1445589"/>
                    <a:gd name="connsiteY421" fmla="*/ 144459 h 502565"/>
                    <a:gd name="connsiteX422" fmla="*/ 526417 w 1445589"/>
                    <a:gd name="connsiteY422" fmla="*/ 145754 h 502565"/>
                    <a:gd name="connsiteX423" fmla="*/ 540029 w 1445589"/>
                    <a:gd name="connsiteY423" fmla="*/ 135267 h 502565"/>
                    <a:gd name="connsiteX424" fmla="*/ 556907 w 1445589"/>
                    <a:gd name="connsiteY424" fmla="*/ 128228 h 502565"/>
                    <a:gd name="connsiteX425" fmla="*/ 565699 w 1445589"/>
                    <a:gd name="connsiteY425" fmla="*/ 128733 h 502565"/>
                    <a:gd name="connsiteX426" fmla="*/ 567346 w 1445589"/>
                    <a:gd name="connsiteY426" fmla="*/ 132333 h 502565"/>
                    <a:gd name="connsiteX427" fmla="*/ 583425 w 1445589"/>
                    <a:gd name="connsiteY427" fmla="*/ 136944 h 502565"/>
                    <a:gd name="connsiteX428" fmla="*/ 590769 w 1445589"/>
                    <a:gd name="connsiteY428" fmla="*/ 135648 h 502565"/>
                    <a:gd name="connsiteX429" fmla="*/ 599608 w 1445589"/>
                    <a:gd name="connsiteY429" fmla="*/ 131695 h 502565"/>
                    <a:gd name="connsiteX430" fmla="*/ 615172 w 1445589"/>
                    <a:gd name="connsiteY430" fmla="*/ 130514 h 502565"/>
                    <a:gd name="connsiteX431" fmla="*/ 618391 w 1445589"/>
                    <a:gd name="connsiteY431" fmla="*/ 123780 h 502565"/>
                    <a:gd name="connsiteX432" fmla="*/ 621344 w 1445589"/>
                    <a:gd name="connsiteY432" fmla="*/ 118399 h 502565"/>
                    <a:gd name="connsiteX433" fmla="*/ 623201 w 1445589"/>
                    <a:gd name="connsiteY433" fmla="*/ 114817 h 502565"/>
                    <a:gd name="connsiteX434" fmla="*/ 620906 w 1445589"/>
                    <a:gd name="connsiteY434" fmla="*/ 108978 h 502565"/>
                    <a:gd name="connsiteX435" fmla="*/ 632764 w 1445589"/>
                    <a:gd name="connsiteY435" fmla="*/ 98967 h 502565"/>
                    <a:gd name="connsiteX436" fmla="*/ 630526 w 1445589"/>
                    <a:gd name="connsiteY436" fmla="*/ 90871 h 502565"/>
                    <a:gd name="connsiteX437" fmla="*/ 631116 w 1445589"/>
                    <a:gd name="connsiteY437" fmla="*/ 86318 h 502565"/>
                    <a:gd name="connsiteX438" fmla="*/ 637565 w 1445589"/>
                    <a:gd name="connsiteY438" fmla="*/ 83061 h 502565"/>
                    <a:gd name="connsiteX439" fmla="*/ 643956 w 1445589"/>
                    <a:gd name="connsiteY439" fmla="*/ 69602 h 502565"/>
                    <a:gd name="connsiteX440" fmla="*/ 644699 w 1445589"/>
                    <a:gd name="connsiteY440" fmla="*/ 49771 h 502565"/>
                    <a:gd name="connsiteX441" fmla="*/ 673312 w 1445589"/>
                    <a:gd name="connsiteY441" fmla="*/ 40170 h 502565"/>
                    <a:gd name="connsiteX442" fmla="*/ 673312 w 1445589"/>
                    <a:gd name="connsiteY442" fmla="*/ 40170 h 502565"/>
                    <a:gd name="connsiteX443" fmla="*/ 40395 w 1445589"/>
                    <a:gd name="connsiteY443" fmla="*/ 12776 h 502565"/>
                    <a:gd name="connsiteX444" fmla="*/ 58054 w 1445589"/>
                    <a:gd name="connsiteY444" fmla="*/ 12443 h 502565"/>
                    <a:gd name="connsiteX445" fmla="*/ 73942 w 1445589"/>
                    <a:gd name="connsiteY445" fmla="*/ 13795 h 502565"/>
                    <a:gd name="connsiteX446" fmla="*/ 87515 w 1445589"/>
                    <a:gd name="connsiteY446" fmla="*/ 26587 h 502565"/>
                    <a:gd name="connsiteX447" fmla="*/ 98174 w 1445589"/>
                    <a:gd name="connsiteY447" fmla="*/ 40636 h 502565"/>
                    <a:gd name="connsiteX448" fmla="*/ 99631 w 1445589"/>
                    <a:gd name="connsiteY448" fmla="*/ 48171 h 502565"/>
                    <a:gd name="connsiteX449" fmla="*/ 108166 w 1445589"/>
                    <a:gd name="connsiteY449" fmla="*/ 52143 h 502565"/>
                    <a:gd name="connsiteX450" fmla="*/ 122862 w 1445589"/>
                    <a:gd name="connsiteY450" fmla="*/ 62668 h 502565"/>
                    <a:gd name="connsiteX451" fmla="*/ 154457 w 1445589"/>
                    <a:gd name="connsiteY451" fmla="*/ 86718 h 502565"/>
                    <a:gd name="connsiteX452" fmla="*/ 184242 w 1445589"/>
                    <a:gd name="connsiteY452" fmla="*/ 116132 h 502565"/>
                    <a:gd name="connsiteX453" fmla="*/ 184956 w 1445589"/>
                    <a:gd name="connsiteY453" fmla="*/ 105311 h 502565"/>
                    <a:gd name="connsiteX454" fmla="*/ 196881 w 1445589"/>
                    <a:gd name="connsiteY454" fmla="*/ 113769 h 502565"/>
                    <a:gd name="connsiteX455" fmla="*/ 207854 w 1445589"/>
                    <a:gd name="connsiteY455" fmla="*/ 125028 h 502565"/>
                    <a:gd name="connsiteX456" fmla="*/ 222160 w 1445589"/>
                    <a:gd name="connsiteY456" fmla="*/ 134039 h 502565"/>
                    <a:gd name="connsiteX457" fmla="*/ 240220 w 1445589"/>
                    <a:gd name="connsiteY457" fmla="*/ 154174 h 502565"/>
                    <a:gd name="connsiteX458" fmla="*/ 253717 w 1445589"/>
                    <a:gd name="connsiteY458" fmla="*/ 161994 h 502565"/>
                    <a:gd name="connsiteX459" fmla="*/ 237515 w 1445589"/>
                    <a:gd name="connsiteY459" fmla="*/ 170691 h 502565"/>
                    <a:gd name="connsiteX460" fmla="*/ 254231 w 1445589"/>
                    <a:gd name="connsiteY460" fmla="*/ 165471 h 502565"/>
                    <a:gd name="connsiteX461" fmla="*/ 269071 w 1445589"/>
                    <a:gd name="connsiteY461" fmla="*/ 164557 h 502565"/>
                    <a:gd name="connsiteX462" fmla="*/ 274872 w 1445589"/>
                    <a:gd name="connsiteY462" fmla="*/ 171605 h 502565"/>
                    <a:gd name="connsiteX463" fmla="*/ 273005 w 1445589"/>
                    <a:gd name="connsiteY463" fmla="*/ 178539 h 502565"/>
                    <a:gd name="connsiteX464" fmla="*/ 265004 w 1445589"/>
                    <a:gd name="connsiteY464" fmla="*/ 183969 h 502565"/>
                    <a:gd name="connsiteX465" fmla="*/ 265852 w 1445589"/>
                    <a:gd name="connsiteY465" fmla="*/ 189807 h 502565"/>
                    <a:gd name="connsiteX466" fmla="*/ 267633 w 1445589"/>
                    <a:gd name="connsiteY466" fmla="*/ 192217 h 502565"/>
                    <a:gd name="connsiteX467" fmla="*/ 265309 w 1445589"/>
                    <a:gd name="connsiteY467" fmla="*/ 195332 h 502565"/>
                    <a:gd name="connsiteX468" fmla="*/ 269757 w 1445589"/>
                    <a:gd name="connsiteY468" fmla="*/ 202580 h 502565"/>
                    <a:gd name="connsiteX469" fmla="*/ 288083 w 1445589"/>
                    <a:gd name="connsiteY469" fmla="*/ 210457 h 502565"/>
                    <a:gd name="connsiteX470" fmla="*/ 296674 w 1445589"/>
                    <a:gd name="connsiteY470" fmla="*/ 219544 h 502565"/>
                    <a:gd name="connsiteX471" fmla="*/ 299809 w 1445589"/>
                    <a:gd name="connsiteY471" fmla="*/ 237204 h 502565"/>
                    <a:gd name="connsiteX472" fmla="*/ 307943 w 1445589"/>
                    <a:gd name="connsiteY472" fmla="*/ 247900 h 502565"/>
                    <a:gd name="connsiteX473" fmla="*/ 302790 w 1445589"/>
                    <a:gd name="connsiteY473" fmla="*/ 259273 h 502565"/>
                    <a:gd name="connsiteX474" fmla="*/ 314201 w 1445589"/>
                    <a:gd name="connsiteY474" fmla="*/ 251767 h 502565"/>
                    <a:gd name="connsiteX475" fmla="*/ 332679 w 1445589"/>
                    <a:gd name="connsiteY475" fmla="*/ 257635 h 502565"/>
                    <a:gd name="connsiteX476" fmla="*/ 345242 w 1445589"/>
                    <a:gd name="connsiteY476" fmla="*/ 276209 h 502565"/>
                    <a:gd name="connsiteX477" fmla="*/ 338728 w 1445589"/>
                    <a:gd name="connsiteY477" fmla="*/ 288791 h 502565"/>
                    <a:gd name="connsiteX478" fmla="*/ 338918 w 1445589"/>
                    <a:gd name="connsiteY478" fmla="*/ 302507 h 502565"/>
                    <a:gd name="connsiteX479" fmla="*/ 337280 w 1445589"/>
                    <a:gd name="connsiteY479" fmla="*/ 322615 h 502565"/>
                    <a:gd name="connsiteX480" fmla="*/ 326097 w 1445589"/>
                    <a:gd name="connsiteY480" fmla="*/ 360334 h 502565"/>
                    <a:gd name="connsiteX481" fmla="*/ 314344 w 1445589"/>
                    <a:gd name="connsiteY481" fmla="*/ 354657 h 502565"/>
                    <a:gd name="connsiteX482" fmla="*/ 307095 w 1445589"/>
                    <a:gd name="connsiteY482" fmla="*/ 357867 h 502565"/>
                    <a:gd name="connsiteX483" fmla="*/ 295703 w 1445589"/>
                    <a:gd name="connsiteY483" fmla="*/ 351390 h 502565"/>
                    <a:gd name="connsiteX484" fmla="*/ 289017 w 1445589"/>
                    <a:gd name="connsiteY484" fmla="*/ 359286 h 502565"/>
                    <a:gd name="connsiteX485" fmla="*/ 270605 w 1445589"/>
                    <a:gd name="connsiteY485" fmla="*/ 336788 h 502565"/>
                    <a:gd name="connsiteX486" fmla="*/ 228543 w 1445589"/>
                    <a:gd name="connsiteY486" fmla="*/ 303126 h 502565"/>
                    <a:gd name="connsiteX487" fmla="*/ 221037 w 1445589"/>
                    <a:gd name="connsiteY487" fmla="*/ 290887 h 502565"/>
                    <a:gd name="connsiteX488" fmla="*/ 209187 w 1445589"/>
                    <a:gd name="connsiteY488" fmla="*/ 281857 h 502565"/>
                    <a:gd name="connsiteX489" fmla="*/ 193157 w 1445589"/>
                    <a:gd name="connsiteY489" fmla="*/ 261159 h 502565"/>
                    <a:gd name="connsiteX490" fmla="*/ 185594 w 1445589"/>
                    <a:gd name="connsiteY490" fmla="*/ 251358 h 502565"/>
                    <a:gd name="connsiteX491" fmla="*/ 182794 w 1445589"/>
                    <a:gd name="connsiteY491" fmla="*/ 237613 h 502565"/>
                    <a:gd name="connsiteX492" fmla="*/ 168640 w 1445589"/>
                    <a:gd name="connsiteY492" fmla="*/ 209953 h 502565"/>
                    <a:gd name="connsiteX493" fmla="*/ 152771 w 1445589"/>
                    <a:gd name="connsiteY493" fmla="*/ 187407 h 502565"/>
                    <a:gd name="connsiteX494" fmla="*/ 146237 w 1445589"/>
                    <a:gd name="connsiteY494" fmla="*/ 175625 h 502565"/>
                    <a:gd name="connsiteX495" fmla="*/ 134673 w 1445589"/>
                    <a:gd name="connsiteY495" fmla="*/ 169976 h 502565"/>
                    <a:gd name="connsiteX496" fmla="*/ 124196 w 1445589"/>
                    <a:gd name="connsiteY496" fmla="*/ 147145 h 502565"/>
                    <a:gd name="connsiteX497" fmla="*/ 113871 w 1445589"/>
                    <a:gd name="connsiteY497" fmla="*/ 121342 h 502565"/>
                    <a:gd name="connsiteX498" fmla="*/ 91801 w 1445589"/>
                    <a:gd name="connsiteY498" fmla="*/ 106587 h 502565"/>
                    <a:gd name="connsiteX499" fmla="*/ 83133 w 1445589"/>
                    <a:gd name="connsiteY499" fmla="*/ 102034 h 502565"/>
                    <a:gd name="connsiteX500" fmla="*/ 79667 w 1445589"/>
                    <a:gd name="connsiteY500" fmla="*/ 88376 h 502565"/>
                    <a:gd name="connsiteX501" fmla="*/ 70370 w 1445589"/>
                    <a:gd name="connsiteY501" fmla="*/ 80565 h 502565"/>
                    <a:gd name="connsiteX502" fmla="*/ 61693 w 1445589"/>
                    <a:gd name="connsiteY502" fmla="*/ 68640 h 502565"/>
                    <a:gd name="connsiteX503" fmla="*/ 38090 w 1445589"/>
                    <a:gd name="connsiteY503" fmla="*/ 52847 h 502565"/>
                    <a:gd name="connsiteX504" fmla="*/ 456 w 1445589"/>
                    <a:gd name="connsiteY504" fmla="*/ 8070 h 502565"/>
                    <a:gd name="connsiteX505" fmla="*/ 2247 w 1445589"/>
                    <a:gd name="connsiteY505" fmla="*/ 1050 h 502565"/>
                    <a:gd name="connsiteX506" fmla="*/ 14011 w 1445589"/>
                    <a:gd name="connsiteY506" fmla="*/ 1298 h 502565"/>
                    <a:gd name="connsiteX507" fmla="*/ 25831 w 1445589"/>
                    <a:gd name="connsiteY507" fmla="*/ 9166 h 502565"/>
                    <a:gd name="connsiteX508" fmla="*/ 40395 w 1445589"/>
                    <a:gd name="connsiteY508" fmla="*/ 12776 h 502565"/>
                    <a:gd name="connsiteX509" fmla="*/ 40395 w 1445589"/>
                    <a:gd name="connsiteY509" fmla="*/ 12776 h 50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Lst>
                  <a:rect l="l" t="t" r="r" b="b"/>
                  <a:pathLst>
                    <a:path w="1445589" h="502565">
                      <a:moveTo>
                        <a:pt x="762343" y="472814"/>
                      </a:moveTo>
                      <a:cubicBezTo>
                        <a:pt x="765228" y="476119"/>
                        <a:pt x="769191" y="479796"/>
                        <a:pt x="771839" y="481615"/>
                      </a:cubicBezTo>
                      <a:cubicBezTo>
                        <a:pt x="773982" y="483082"/>
                        <a:pt x="775953" y="482587"/>
                        <a:pt x="778401" y="485025"/>
                      </a:cubicBezTo>
                      <a:cubicBezTo>
                        <a:pt x="779459" y="486073"/>
                        <a:pt x="784459" y="491978"/>
                        <a:pt x="784298" y="493684"/>
                      </a:cubicBezTo>
                      <a:cubicBezTo>
                        <a:pt x="783755" y="499522"/>
                        <a:pt x="772458" y="500980"/>
                        <a:pt x="769296" y="500789"/>
                      </a:cubicBezTo>
                      <a:cubicBezTo>
                        <a:pt x="761495" y="500332"/>
                        <a:pt x="758571" y="494055"/>
                        <a:pt x="753113" y="489892"/>
                      </a:cubicBezTo>
                      <a:cubicBezTo>
                        <a:pt x="747102" y="485321"/>
                        <a:pt x="743778" y="485987"/>
                        <a:pt x="736910" y="484578"/>
                      </a:cubicBezTo>
                      <a:cubicBezTo>
                        <a:pt x="731824" y="483549"/>
                        <a:pt x="726262" y="480434"/>
                        <a:pt x="730615" y="475357"/>
                      </a:cubicBezTo>
                      <a:cubicBezTo>
                        <a:pt x="733710" y="471757"/>
                        <a:pt x="744892" y="472005"/>
                        <a:pt x="749055" y="472186"/>
                      </a:cubicBezTo>
                      <a:cubicBezTo>
                        <a:pt x="752551" y="472348"/>
                        <a:pt x="761352" y="470385"/>
                        <a:pt x="762343" y="472814"/>
                      </a:cubicBezTo>
                      <a:lnTo>
                        <a:pt x="762343" y="472814"/>
                      </a:lnTo>
                      <a:close/>
                      <a:moveTo>
                        <a:pt x="918191" y="462680"/>
                      </a:moveTo>
                      <a:cubicBezTo>
                        <a:pt x="920705" y="462327"/>
                        <a:pt x="924858" y="459613"/>
                        <a:pt x="924687" y="463623"/>
                      </a:cubicBezTo>
                      <a:cubicBezTo>
                        <a:pt x="924487" y="468366"/>
                        <a:pt x="919105" y="465728"/>
                        <a:pt x="917791" y="469347"/>
                      </a:cubicBezTo>
                      <a:cubicBezTo>
                        <a:pt x="917114" y="471233"/>
                        <a:pt x="919991" y="475005"/>
                        <a:pt x="919134" y="477558"/>
                      </a:cubicBezTo>
                      <a:cubicBezTo>
                        <a:pt x="917971" y="481006"/>
                        <a:pt x="911618" y="485054"/>
                        <a:pt x="908713" y="487378"/>
                      </a:cubicBezTo>
                      <a:cubicBezTo>
                        <a:pt x="905189" y="490207"/>
                        <a:pt x="901493" y="494150"/>
                        <a:pt x="897435" y="496207"/>
                      </a:cubicBezTo>
                      <a:cubicBezTo>
                        <a:pt x="893121" y="498389"/>
                        <a:pt x="887949" y="498713"/>
                        <a:pt x="883329" y="500560"/>
                      </a:cubicBezTo>
                      <a:cubicBezTo>
                        <a:pt x="875594" y="503647"/>
                        <a:pt x="865041" y="504123"/>
                        <a:pt x="874194" y="494988"/>
                      </a:cubicBezTo>
                      <a:cubicBezTo>
                        <a:pt x="863336" y="491769"/>
                        <a:pt x="883739" y="473957"/>
                        <a:pt x="888434" y="471767"/>
                      </a:cubicBezTo>
                      <a:cubicBezTo>
                        <a:pt x="891063" y="478605"/>
                        <a:pt x="897902" y="472338"/>
                        <a:pt x="900979" y="469709"/>
                      </a:cubicBezTo>
                      <a:cubicBezTo>
                        <a:pt x="903598" y="467480"/>
                        <a:pt x="904884" y="466404"/>
                        <a:pt x="908732" y="464689"/>
                      </a:cubicBezTo>
                      <a:cubicBezTo>
                        <a:pt x="911856" y="463299"/>
                        <a:pt x="915409" y="461079"/>
                        <a:pt x="918324" y="459193"/>
                      </a:cubicBezTo>
                      <a:cubicBezTo>
                        <a:pt x="917591" y="460508"/>
                        <a:pt x="918333" y="461899"/>
                        <a:pt x="918191" y="462680"/>
                      </a:cubicBezTo>
                      <a:lnTo>
                        <a:pt x="918191" y="462680"/>
                      </a:lnTo>
                      <a:close/>
                      <a:moveTo>
                        <a:pt x="853068" y="448773"/>
                      </a:moveTo>
                      <a:cubicBezTo>
                        <a:pt x="842448" y="450926"/>
                        <a:pt x="832627" y="453974"/>
                        <a:pt x="822226" y="456593"/>
                      </a:cubicBezTo>
                      <a:cubicBezTo>
                        <a:pt x="816149" y="458127"/>
                        <a:pt x="816025" y="454917"/>
                        <a:pt x="810520" y="455117"/>
                      </a:cubicBezTo>
                      <a:cubicBezTo>
                        <a:pt x="808510" y="455193"/>
                        <a:pt x="805738" y="457469"/>
                        <a:pt x="803862" y="458051"/>
                      </a:cubicBezTo>
                      <a:cubicBezTo>
                        <a:pt x="803385" y="458203"/>
                        <a:pt x="798976" y="458708"/>
                        <a:pt x="798328" y="458670"/>
                      </a:cubicBezTo>
                      <a:cubicBezTo>
                        <a:pt x="788698" y="458079"/>
                        <a:pt x="778954" y="453317"/>
                        <a:pt x="768848" y="453993"/>
                      </a:cubicBezTo>
                      <a:cubicBezTo>
                        <a:pt x="764295" y="454298"/>
                        <a:pt x="762180" y="458565"/>
                        <a:pt x="759990" y="453050"/>
                      </a:cubicBezTo>
                      <a:cubicBezTo>
                        <a:pt x="758523" y="449335"/>
                        <a:pt x="761571" y="446020"/>
                        <a:pt x="762923" y="442725"/>
                      </a:cubicBezTo>
                      <a:cubicBezTo>
                        <a:pt x="767295" y="444896"/>
                        <a:pt x="772439" y="439191"/>
                        <a:pt x="776706" y="438134"/>
                      </a:cubicBezTo>
                      <a:cubicBezTo>
                        <a:pt x="781307" y="436981"/>
                        <a:pt x="785012" y="438029"/>
                        <a:pt x="788908" y="438677"/>
                      </a:cubicBezTo>
                      <a:cubicBezTo>
                        <a:pt x="797299" y="440058"/>
                        <a:pt x="806653" y="448106"/>
                        <a:pt x="814568" y="447630"/>
                      </a:cubicBezTo>
                      <a:cubicBezTo>
                        <a:pt x="818073" y="447421"/>
                        <a:pt x="822217" y="444401"/>
                        <a:pt x="826407" y="444696"/>
                      </a:cubicBezTo>
                      <a:cubicBezTo>
                        <a:pt x="830608" y="445001"/>
                        <a:pt x="833542" y="448830"/>
                        <a:pt x="837647" y="449249"/>
                      </a:cubicBezTo>
                      <a:cubicBezTo>
                        <a:pt x="842962" y="449792"/>
                        <a:pt x="842743" y="446011"/>
                        <a:pt x="846105" y="443706"/>
                      </a:cubicBezTo>
                      <a:cubicBezTo>
                        <a:pt x="850315" y="440810"/>
                        <a:pt x="856040" y="440886"/>
                        <a:pt x="859259" y="436486"/>
                      </a:cubicBezTo>
                      <a:cubicBezTo>
                        <a:pt x="857630" y="436467"/>
                        <a:pt x="856021" y="435419"/>
                        <a:pt x="854392" y="435371"/>
                      </a:cubicBezTo>
                      <a:cubicBezTo>
                        <a:pt x="857678" y="428656"/>
                        <a:pt x="863622" y="435181"/>
                        <a:pt x="860174" y="440467"/>
                      </a:cubicBezTo>
                      <a:cubicBezTo>
                        <a:pt x="859192" y="441953"/>
                        <a:pt x="856564" y="442830"/>
                        <a:pt x="855421" y="444135"/>
                      </a:cubicBezTo>
                      <a:cubicBezTo>
                        <a:pt x="853745" y="446030"/>
                        <a:pt x="856107" y="447030"/>
                        <a:pt x="853068" y="448773"/>
                      </a:cubicBezTo>
                      <a:lnTo>
                        <a:pt x="853068" y="448773"/>
                      </a:lnTo>
                      <a:close/>
                      <a:moveTo>
                        <a:pt x="712250" y="439524"/>
                      </a:moveTo>
                      <a:cubicBezTo>
                        <a:pt x="716022" y="443087"/>
                        <a:pt x="725138" y="432724"/>
                        <a:pt x="726548" y="442582"/>
                      </a:cubicBezTo>
                      <a:cubicBezTo>
                        <a:pt x="728071" y="438143"/>
                        <a:pt x="733368" y="437562"/>
                        <a:pt x="735815" y="441106"/>
                      </a:cubicBezTo>
                      <a:cubicBezTo>
                        <a:pt x="735977" y="441334"/>
                        <a:pt x="737930" y="451164"/>
                        <a:pt x="738092" y="450878"/>
                      </a:cubicBezTo>
                      <a:cubicBezTo>
                        <a:pt x="736130" y="454145"/>
                        <a:pt x="720995" y="450383"/>
                        <a:pt x="728224" y="455755"/>
                      </a:cubicBezTo>
                      <a:cubicBezTo>
                        <a:pt x="721928" y="453421"/>
                        <a:pt x="713793" y="460813"/>
                        <a:pt x="714803" y="450764"/>
                      </a:cubicBezTo>
                      <a:cubicBezTo>
                        <a:pt x="706183" y="457755"/>
                        <a:pt x="693915" y="460032"/>
                        <a:pt x="683008" y="461813"/>
                      </a:cubicBezTo>
                      <a:cubicBezTo>
                        <a:pt x="672931" y="463461"/>
                        <a:pt x="658072" y="465585"/>
                        <a:pt x="664901" y="450450"/>
                      </a:cubicBezTo>
                      <a:cubicBezTo>
                        <a:pt x="668721" y="441963"/>
                        <a:pt x="684704" y="439191"/>
                        <a:pt x="692114" y="444077"/>
                      </a:cubicBezTo>
                      <a:cubicBezTo>
                        <a:pt x="696381" y="446887"/>
                        <a:pt x="694419" y="452678"/>
                        <a:pt x="702335" y="452164"/>
                      </a:cubicBezTo>
                      <a:cubicBezTo>
                        <a:pt x="710488" y="451612"/>
                        <a:pt x="711489" y="448087"/>
                        <a:pt x="705507" y="444173"/>
                      </a:cubicBezTo>
                      <a:cubicBezTo>
                        <a:pt x="702249" y="442039"/>
                        <a:pt x="693524" y="439001"/>
                        <a:pt x="698753" y="433847"/>
                      </a:cubicBezTo>
                      <a:cubicBezTo>
                        <a:pt x="704373" y="428304"/>
                        <a:pt x="710327" y="434905"/>
                        <a:pt x="712250" y="439524"/>
                      </a:cubicBezTo>
                      <a:lnTo>
                        <a:pt x="712250" y="439524"/>
                      </a:lnTo>
                      <a:close/>
                      <a:moveTo>
                        <a:pt x="1348359" y="438124"/>
                      </a:moveTo>
                      <a:cubicBezTo>
                        <a:pt x="1342082" y="441296"/>
                        <a:pt x="1339910" y="442077"/>
                        <a:pt x="1332976" y="441715"/>
                      </a:cubicBezTo>
                      <a:cubicBezTo>
                        <a:pt x="1330718" y="441601"/>
                        <a:pt x="1320860" y="443087"/>
                        <a:pt x="1320031" y="441658"/>
                      </a:cubicBezTo>
                      <a:cubicBezTo>
                        <a:pt x="1317831" y="437886"/>
                        <a:pt x="1334728" y="418274"/>
                        <a:pt x="1337843" y="415836"/>
                      </a:cubicBezTo>
                      <a:cubicBezTo>
                        <a:pt x="1344339" y="410787"/>
                        <a:pt x="1357712" y="406282"/>
                        <a:pt x="1363446" y="413721"/>
                      </a:cubicBezTo>
                      <a:cubicBezTo>
                        <a:pt x="1370704" y="423161"/>
                        <a:pt x="1354397" y="432704"/>
                        <a:pt x="1348359" y="438124"/>
                      </a:cubicBezTo>
                      <a:lnTo>
                        <a:pt x="1348359" y="438124"/>
                      </a:lnTo>
                      <a:close/>
                      <a:moveTo>
                        <a:pt x="380180" y="366744"/>
                      </a:moveTo>
                      <a:cubicBezTo>
                        <a:pt x="385886" y="376278"/>
                        <a:pt x="397535" y="373030"/>
                        <a:pt x="406240" y="375269"/>
                      </a:cubicBezTo>
                      <a:cubicBezTo>
                        <a:pt x="415347" y="377593"/>
                        <a:pt x="412899" y="388547"/>
                        <a:pt x="420080" y="391747"/>
                      </a:cubicBezTo>
                      <a:cubicBezTo>
                        <a:pt x="427853" y="395233"/>
                        <a:pt x="440207" y="392490"/>
                        <a:pt x="447770" y="393242"/>
                      </a:cubicBezTo>
                      <a:cubicBezTo>
                        <a:pt x="452704" y="393738"/>
                        <a:pt x="456828" y="394614"/>
                        <a:pt x="461800" y="394766"/>
                      </a:cubicBezTo>
                      <a:cubicBezTo>
                        <a:pt x="464581" y="394862"/>
                        <a:pt x="469391" y="396938"/>
                        <a:pt x="471849" y="396500"/>
                      </a:cubicBezTo>
                      <a:cubicBezTo>
                        <a:pt x="480955" y="394890"/>
                        <a:pt x="479050" y="381250"/>
                        <a:pt x="487537" y="379907"/>
                      </a:cubicBezTo>
                      <a:cubicBezTo>
                        <a:pt x="494033" y="378888"/>
                        <a:pt x="492432" y="384451"/>
                        <a:pt x="496604" y="387337"/>
                      </a:cubicBezTo>
                      <a:cubicBezTo>
                        <a:pt x="500929" y="390337"/>
                        <a:pt x="504053" y="386222"/>
                        <a:pt x="508101" y="386889"/>
                      </a:cubicBezTo>
                      <a:cubicBezTo>
                        <a:pt x="511035" y="387366"/>
                        <a:pt x="515664" y="390261"/>
                        <a:pt x="518541" y="391414"/>
                      </a:cubicBezTo>
                      <a:cubicBezTo>
                        <a:pt x="523475" y="393376"/>
                        <a:pt x="526008" y="394157"/>
                        <a:pt x="531294" y="394690"/>
                      </a:cubicBezTo>
                      <a:cubicBezTo>
                        <a:pt x="537448" y="395309"/>
                        <a:pt x="537324" y="394890"/>
                        <a:pt x="540353" y="399576"/>
                      </a:cubicBezTo>
                      <a:cubicBezTo>
                        <a:pt x="541105" y="400758"/>
                        <a:pt x="541096" y="403568"/>
                        <a:pt x="541724" y="404949"/>
                      </a:cubicBezTo>
                      <a:cubicBezTo>
                        <a:pt x="542172" y="405949"/>
                        <a:pt x="544601" y="405711"/>
                        <a:pt x="545030" y="406720"/>
                      </a:cubicBezTo>
                      <a:cubicBezTo>
                        <a:pt x="545477" y="407777"/>
                        <a:pt x="544934" y="409644"/>
                        <a:pt x="545258" y="410368"/>
                      </a:cubicBezTo>
                      <a:cubicBezTo>
                        <a:pt x="547553" y="415407"/>
                        <a:pt x="543258" y="415721"/>
                        <a:pt x="551116" y="418722"/>
                      </a:cubicBezTo>
                      <a:cubicBezTo>
                        <a:pt x="556250" y="420694"/>
                        <a:pt x="561689" y="420941"/>
                        <a:pt x="567118" y="420732"/>
                      </a:cubicBezTo>
                      <a:cubicBezTo>
                        <a:pt x="574385" y="420436"/>
                        <a:pt x="588778" y="414197"/>
                        <a:pt x="594159" y="422665"/>
                      </a:cubicBezTo>
                      <a:cubicBezTo>
                        <a:pt x="597007" y="427142"/>
                        <a:pt x="593007" y="432333"/>
                        <a:pt x="592045" y="436619"/>
                      </a:cubicBezTo>
                      <a:cubicBezTo>
                        <a:pt x="590950" y="441544"/>
                        <a:pt x="591569" y="444201"/>
                        <a:pt x="593359" y="448859"/>
                      </a:cubicBezTo>
                      <a:cubicBezTo>
                        <a:pt x="594474" y="451783"/>
                        <a:pt x="598960" y="454517"/>
                        <a:pt x="591740" y="452802"/>
                      </a:cubicBezTo>
                      <a:cubicBezTo>
                        <a:pt x="589330" y="452221"/>
                        <a:pt x="589435" y="450068"/>
                        <a:pt x="587445" y="449325"/>
                      </a:cubicBezTo>
                      <a:cubicBezTo>
                        <a:pt x="585425" y="448573"/>
                        <a:pt x="583101" y="449125"/>
                        <a:pt x="580891" y="448678"/>
                      </a:cubicBezTo>
                      <a:cubicBezTo>
                        <a:pt x="571080" y="446716"/>
                        <a:pt x="561775" y="438115"/>
                        <a:pt x="551945" y="438667"/>
                      </a:cubicBezTo>
                      <a:cubicBezTo>
                        <a:pt x="547449" y="438915"/>
                        <a:pt x="543496" y="441868"/>
                        <a:pt x="538991" y="442239"/>
                      </a:cubicBezTo>
                      <a:cubicBezTo>
                        <a:pt x="534209" y="442629"/>
                        <a:pt x="529447" y="440953"/>
                        <a:pt x="524731" y="440325"/>
                      </a:cubicBezTo>
                      <a:cubicBezTo>
                        <a:pt x="514121" y="438896"/>
                        <a:pt x="503434" y="438924"/>
                        <a:pt x="492842" y="437505"/>
                      </a:cubicBezTo>
                      <a:cubicBezTo>
                        <a:pt x="479564" y="435724"/>
                        <a:pt x="470649" y="432095"/>
                        <a:pt x="458419" y="426770"/>
                      </a:cubicBezTo>
                      <a:cubicBezTo>
                        <a:pt x="447684" y="422094"/>
                        <a:pt x="436559" y="420979"/>
                        <a:pt x="425148" y="420208"/>
                      </a:cubicBezTo>
                      <a:cubicBezTo>
                        <a:pt x="415137" y="419531"/>
                        <a:pt x="407669" y="423656"/>
                        <a:pt x="397973" y="422141"/>
                      </a:cubicBezTo>
                      <a:cubicBezTo>
                        <a:pt x="386667" y="420370"/>
                        <a:pt x="378532" y="413569"/>
                        <a:pt x="366950" y="412264"/>
                      </a:cubicBezTo>
                      <a:cubicBezTo>
                        <a:pt x="355901" y="411016"/>
                        <a:pt x="340614" y="413578"/>
                        <a:pt x="349872" y="399729"/>
                      </a:cubicBezTo>
                      <a:cubicBezTo>
                        <a:pt x="339575" y="395471"/>
                        <a:pt x="332079" y="394214"/>
                        <a:pt x="321221" y="393604"/>
                      </a:cubicBezTo>
                      <a:cubicBezTo>
                        <a:pt x="320182" y="393538"/>
                        <a:pt x="312486" y="393357"/>
                        <a:pt x="312067" y="392976"/>
                      </a:cubicBezTo>
                      <a:cubicBezTo>
                        <a:pt x="309971" y="391061"/>
                        <a:pt x="311896" y="388394"/>
                        <a:pt x="315172" y="387461"/>
                      </a:cubicBezTo>
                      <a:cubicBezTo>
                        <a:pt x="315324" y="397481"/>
                        <a:pt x="323687" y="384270"/>
                        <a:pt x="324736" y="381317"/>
                      </a:cubicBezTo>
                      <a:cubicBezTo>
                        <a:pt x="330136" y="384013"/>
                        <a:pt x="330193" y="375697"/>
                        <a:pt x="331832" y="372326"/>
                      </a:cubicBezTo>
                      <a:cubicBezTo>
                        <a:pt x="334537" y="366763"/>
                        <a:pt x="336518" y="365077"/>
                        <a:pt x="341699" y="365020"/>
                      </a:cubicBezTo>
                      <a:cubicBezTo>
                        <a:pt x="349433" y="364944"/>
                        <a:pt x="367264" y="375374"/>
                        <a:pt x="370208" y="363505"/>
                      </a:cubicBezTo>
                      <a:cubicBezTo>
                        <a:pt x="373437" y="365477"/>
                        <a:pt x="377180" y="364829"/>
                        <a:pt x="380180" y="366744"/>
                      </a:cubicBezTo>
                      <a:lnTo>
                        <a:pt x="380180" y="366744"/>
                      </a:lnTo>
                      <a:close/>
                      <a:moveTo>
                        <a:pt x="1000420" y="274780"/>
                      </a:moveTo>
                      <a:cubicBezTo>
                        <a:pt x="1006858" y="277094"/>
                        <a:pt x="1014774" y="286439"/>
                        <a:pt x="1009726" y="292182"/>
                      </a:cubicBezTo>
                      <a:cubicBezTo>
                        <a:pt x="1004763" y="297830"/>
                        <a:pt x="993095" y="298183"/>
                        <a:pt x="987037" y="295354"/>
                      </a:cubicBezTo>
                      <a:cubicBezTo>
                        <a:pt x="982789" y="293373"/>
                        <a:pt x="967311" y="283848"/>
                        <a:pt x="974407" y="276694"/>
                      </a:cubicBezTo>
                      <a:cubicBezTo>
                        <a:pt x="976131" y="274961"/>
                        <a:pt x="982561" y="275437"/>
                        <a:pt x="985713" y="274837"/>
                      </a:cubicBezTo>
                      <a:cubicBezTo>
                        <a:pt x="990352" y="273942"/>
                        <a:pt x="995914" y="273284"/>
                        <a:pt x="1000420" y="274780"/>
                      </a:cubicBezTo>
                      <a:lnTo>
                        <a:pt x="1000420" y="274780"/>
                      </a:lnTo>
                      <a:close/>
                      <a:moveTo>
                        <a:pt x="1091917" y="267779"/>
                      </a:moveTo>
                      <a:cubicBezTo>
                        <a:pt x="1100404" y="271989"/>
                        <a:pt x="1112634" y="268970"/>
                        <a:pt x="1117863" y="277657"/>
                      </a:cubicBezTo>
                      <a:cubicBezTo>
                        <a:pt x="1119092" y="279695"/>
                        <a:pt x="1118463" y="282362"/>
                        <a:pt x="1119730" y="284334"/>
                      </a:cubicBezTo>
                      <a:cubicBezTo>
                        <a:pt x="1120416" y="285400"/>
                        <a:pt x="1122540" y="284572"/>
                        <a:pt x="1123159" y="285658"/>
                      </a:cubicBezTo>
                      <a:cubicBezTo>
                        <a:pt x="1126074" y="290677"/>
                        <a:pt x="1124359" y="293449"/>
                        <a:pt x="1122902" y="299021"/>
                      </a:cubicBezTo>
                      <a:cubicBezTo>
                        <a:pt x="1117406" y="296249"/>
                        <a:pt x="1112205" y="292954"/>
                        <a:pt x="1106699" y="290249"/>
                      </a:cubicBezTo>
                      <a:cubicBezTo>
                        <a:pt x="1102185" y="288029"/>
                        <a:pt x="1098137" y="284029"/>
                        <a:pt x="1093850" y="282305"/>
                      </a:cubicBezTo>
                      <a:cubicBezTo>
                        <a:pt x="1092479" y="281752"/>
                        <a:pt x="1086040" y="281362"/>
                        <a:pt x="1084431" y="282038"/>
                      </a:cubicBezTo>
                      <a:cubicBezTo>
                        <a:pt x="1083040" y="282619"/>
                        <a:pt x="1083964" y="285534"/>
                        <a:pt x="1083458" y="285676"/>
                      </a:cubicBezTo>
                      <a:cubicBezTo>
                        <a:pt x="1079725" y="286677"/>
                        <a:pt x="1070381" y="284048"/>
                        <a:pt x="1066809" y="282371"/>
                      </a:cubicBezTo>
                      <a:cubicBezTo>
                        <a:pt x="1064095" y="281105"/>
                        <a:pt x="1066943" y="277742"/>
                        <a:pt x="1060732" y="280647"/>
                      </a:cubicBezTo>
                      <a:cubicBezTo>
                        <a:pt x="1056560" y="282600"/>
                        <a:pt x="1055769" y="288096"/>
                        <a:pt x="1049855" y="285658"/>
                      </a:cubicBezTo>
                      <a:cubicBezTo>
                        <a:pt x="1046597" y="284324"/>
                        <a:pt x="1044530" y="275866"/>
                        <a:pt x="1039872" y="277171"/>
                      </a:cubicBezTo>
                      <a:cubicBezTo>
                        <a:pt x="1037501" y="277828"/>
                        <a:pt x="1034805" y="285858"/>
                        <a:pt x="1032919" y="287925"/>
                      </a:cubicBezTo>
                      <a:cubicBezTo>
                        <a:pt x="1034443" y="280190"/>
                        <a:pt x="1030947" y="277218"/>
                        <a:pt x="1039672" y="270427"/>
                      </a:cubicBezTo>
                      <a:cubicBezTo>
                        <a:pt x="1046083" y="265436"/>
                        <a:pt x="1054274" y="267636"/>
                        <a:pt x="1062066" y="267446"/>
                      </a:cubicBezTo>
                      <a:cubicBezTo>
                        <a:pt x="1065161" y="267369"/>
                        <a:pt x="1068228" y="267531"/>
                        <a:pt x="1070228" y="267798"/>
                      </a:cubicBezTo>
                      <a:cubicBezTo>
                        <a:pt x="1072448" y="268103"/>
                        <a:pt x="1071886" y="269865"/>
                        <a:pt x="1076020" y="268855"/>
                      </a:cubicBezTo>
                      <a:cubicBezTo>
                        <a:pt x="1083401" y="267065"/>
                        <a:pt x="1083430" y="263979"/>
                        <a:pt x="1091917" y="267779"/>
                      </a:cubicBezTo>
                      <a:lnTo>
                        <a:pt x="1091917" y="267779"/>
                      </a:lnTo>
                      <a:close/>
                      <a:moveTo>
                        <a:pt x="346928" y="230089"/>
                      </a:moveTo>
                      <a:cubicBezTo>
                        <a:pt x="350329" y="236127"/>
                        <a:pt x="350081" y="241538"/>
                        <a:pt x="352320" y="247891"/>
                      </a:cubicBezTo>
                      <a:cubicBezTo>
                        <a:pt x="355558" y="257083"/>
                        <a:pt x="361664" y="256473"/>
                        <a:pt x="370284" y="258559"/>
                      </a:cubicBezTo>
                      <a:cubicBezTo>
                        <a:pt x="364035" y="261226"/>
                        <a:pt x="362750" y="268684"/>
                        <a:pt x="364807" y="274256"/>
                      </a:cubicBezTo>
                      <a:cubicBezTo>
                        <a:pt x="360959" y="274532"/>
                        <a:pt x="345919" y="268160"/>
                        <a:pt x="343690" y="265865"/>
                      </a:cubicBezTo>
                      <a:cubicBezTo>
                        <a:pt x="340985" y="263064"/>
                        <a:pt x="342880" y="261274"/>
                        <a:pt x="342128" y="258416"/>
                      </a:cubicBezTo>
                      <a:cubicBezTo>
                        <a:pt x="341737" y="256978"/>
                        <a:pt x="341109" y="255263"/>
                        <a:pt x="340737" y="253882"/>
                      </a:cubicBezTo>
                      <a:cubicBezTo>
                        <a:pt x="339347" y="248739"/>
                        <a:pt x="338042" y="244948"/>
                        <a:pt x="332441" y="243748"/>
                      </a:cubicBezTo>
                      <a:cubicBezTo>
                        <a:pt x="328498" y="242900"/>
                        <a:pt x="325221" y="245005"/>
                        <a:pt x="321392" y="242995"/>
                      </a:cubicBezTo>
                      <a:cubicBezTo>
                        <a:pt x="314125" y="239204"/>
                        <a:pt x="320801" y="239737"/>
                        <a:pt x="323773" y="236099"/>
                      </a:cubicBezTo>
                      <a:cubicBezTo>
                        <a:pt x="326250" y="233070"/>
                        <a:pt x="324716" y="230746"/>
                        <a:pt x="327412" y="227965"/>
                      </a:cubicBezTo>
                      <a:cubicBezTo>
                        <a:pt x="332146" y="223088"/>
                        <a:pt x="333984" y="228108"/>
                        <a:pt x="336013" y="232032"/>
                      </a:cubicBezTo>
                      <a:cubicBezTo>
                        <a:pt x="339661" y="228555"/>
                        <a:pt x="334279" y="225659"/>
                        <a:pt x="340575" y="224936"/>
                      </a:cubicBezTo>
                      <a:cubicBezTo>
                        <a:pt x="343995" y="224536"/>
                        <a:pt x="346652" y="226650"/>
                        <a:pt x="346928" y="230089"/>
                      </a:cubicBezTo>
                      <a:lnTo>
                        <a:pt x="346928" y="230089"/>
                      </a:lnTo>
                      <a:close/>
                      <a:moveTo>
                        <a:pt x="1211427" y="200380"/>
                      </a:moveTo>
                      <a:cubicBezTo>
                        <a:pt x="1216961" y="200714"/>
                        <a:pt x="1228686" y="198570"/>
                        <a:pt x="1231287" y="204562"/>
                      </a:cubicBezTo>
                      <a:cubicBezTo>
                        <a:pt x="1231601" y="205295"/>
                        <a:pt x="1230182" y="208572"/>
                        <a:pt x="1230468" y="209858"/>
                      </a:cubicBezTo>
                      <a:cubicBezTo>
                        <a:pt x="1230915" y="211905"/>
                        <a:pt x="1232544" y="213201"/>
                        <a:pt x="1233382" y="214992"/>
                      </a:cubicBezTo>
                      <a:cubicBezTo>
                        <a:pt x="1235087" y="218659"/>
                        <a:pt x="1236116" y="219840"/>
                        <a:pt x="1234982" y="223926"/>
                      </a:cubicBezTo>
                      <a:cubicBezTo>
                        <a:pt x="1234049" y="227298"/>
                        <a:pt x="1231297" y="229155"/>
                        <a:pt x="1230772" y="232737"/>
                      </a:cubicBezTo>
                      <a:cubicBezTo>
                        <a:pt x="1230372" y="235423"/>
                        <a:pt x="1231077" y="240318"/>
                        <a:pt x="1231325" y="243119"/>
                      </a:cubicBezTo>
                      <a:cubicBezTo>
                        <a:pt x="1232030" y="251549"/>
                        <a:pt x="1236954" y="258959"/>
                        <a:pt x="1240126" y="266731"/>
                      </a:cubicBezTo>
                      <a:cubicBezTo>
                        <a:pt x="1241469" y="263779"/>
                        <a:pt x="1240992" y="253044"/>
                        <a:pt x="1246126" y="258264"/>
                      </a:cubicBezTo>
                      <a:cubicBezTo>
                        <a:pt x="1248651" y="260816"/>
                        <a:pt x="1243698" y="274427"/>
                        <a:pt x="1252051" y="269151"/>
                      </a:cubicBezTo>
                      <a:cubicBezTo>
                        <a:pt x="1252556" y="278085"/>
                        <a:pt x="1253594" y="283191"/>
                        <a:pt x="1263996" y="283629"/>
                      </a:cubicBezTo>
                      <a:cubicBezTo>
                        <a:pt x="1271873" y="283952"/>
                        <a:pt x="1278922" y="277266"/>
                        <a:pt x="1284132" y="271513"/>
                      </a:cubicBezTo>
                      <a:cubicBezTo>
                        <a:pt x="1286332" y="269075"/>
                        <a:pt x="1287246" y="265827"/>
                        <a:pt x="1289456" y="263483"/>
                      </a:cubicBezTo>
                      <a:cubicBezTo>
                        <a:pt x="1293142" y="259578"/>
                        <a:pt x="1295666" y="259216"/>
                        <a:pt x="1298514" y="254739"/>
                      </a:cubicBezTo>
                      <a:cubicBezTo>
                        <a:pt x="1303562" y="246786"/>
                        <a:pt x="1308258" y="248786"/>
                        <a:pt x="1316974" y="246453"/>
                      </a:cubicBezTo>
                      <a:cubicBezTo>
                        <a:pt x="1320222" y="245576"/>
                        <a:pt x="1325480" y="243681"/>
                        <a:pt x="1326860" y="240518"/>
                      </a:cubicBezTo>
                      <a:cubicBezTo>
                        <a:pt x="1327546" y="238976"/>
                        <a:pt x="1324822" y="237547"/>
                        <a:pt x="1325489" y="236175"/>
                      </a:cubicBezTo>
                      <a:cubicBezTo>
                        <a:pt x="1326337" y="234432"/>
                        <a:pt x="1327966" y="234280"/>
                        <a:pt x="1329528" y="232975"/>
                      </a:cubicBezTo>
                      <a:cubicBezTo>
                        <a:pt x="1335957" y="227612"/>
                        <a:pt x="1346139" y="223326"/>
                        <a:pt x="1353254" y="226269"/>
                      </a:cubicBezTo>
                      <a:cubicBezTo>
                        <a:pt x="1368875" y="232727"/>
                        <a:pt x="1383296" y="239471"/>
                        <a:pt x="1398517" y="246824"/>
                      </a:cubicBezTo>
                      <a:cubicBezTo>
                        <a:pt x="1406775" y="250806"/>
                        <a:pt x="1414871" y="251987"/>
                        <a:pt x="1423177" y="253501"/>
                      </a:cubicBezTo>
                      <a:cubicBezTo>
                        <a:pt x="1426949" y="254187"/>
                        <a:pt x="1432283" y="253130"/>
                        <a:pt x="1435579" y="254977"/>
                      </a:cubicBezTo>
                      <a:cubicBezTo>
                        <a:pt x="1437303" y="255949"/>
                        <a:pt x="1437703" y="259254"/>
                        <a:pt x="1438475" y="259635"/>
                      </a:cubicBezTo>
                      <a:cubicBezTo>
                        <a:pt x="1439922" y="260359"/>
                        <a:pt x="1443952" y="259702"/>
                        <a:pt x="1445590" y="259721"/>
                      </a:cubicBezTo>
                      <a:cubicBezTo>
                        <a:pt x="1444009" y="287267"/>
                        <a:pt x="1441760" y="314756"/>
                        <a:pt x="1438684" y="342169"/>
                      </a:cubicBezTo>
                      <a:cubicBezTo>
                        <a:pt x="1437293" y="354542"/>
                        <a:pt x="1437455" y="369201"/>
                        <a:pt x="1432893" y="380765"/>
                      </a:cubicBezTo>
                      <a:cubicBezTo>
                        <a:pt x="1431826" y="383470"/>
                        <a:pt x="1429330" y="385680"/>
                        <a:pt x="1429293" y="388785"/>
                      </a:cubicBezTo>
                      <a:cubicBezTo>
                        <a:pt x="1429254" y="392461"/>
                        <a:pt x="1431264" y="395004"/>
                        <a:pt x="1431245" y="398938"/>
                      </a:cubicBezTo>
                      <a:cubicBezTo>
                        <a:pt x="1431216" y="405444"/>
                        <a:pt x="1429150" y="412597"/>
                        <a:pt x="1428102" y="419008"/>
                      </a:cubicBezTo>
                      <a:cubicBezTo>
                        <a:pt x="1425587" y="434295"/>
                        <a:pt x="1422740" y="449516"/>
                        <a:pt x="1419911" y="464747"/>
                      </a:cubicBezTo>
                      <a:cubicBezTo>
                        <a:pt x="1412795" y="459260"/>
                        <a:pt x="1409643" y="451088"/>
                        <a:pt x="1403347" y="444858"/>
                      </a:cubicBezTo>
                      <a:cubicBezTo>
                        <a:pt x="1401498" y="443030"/>
                        <a:pt x="1394993" y="438429"/>
                        <a:pt x="1394698" y="435448"/>
                      </a:cubicBezTo>
                      <a:cubicBezTo>
                        <a:pt x="1394450" y="432962"/>
                        <a:pt x="1398403" y="429428"/>
                        <a:pt x="1399841" y="427123"/>
                      </a:cubicBezTo>
                      <a:cubicBezTo>
                        <a:pt x="1395669" y="431876"/>
                        <a:pt x="1370028" y="441601"/>
                        <a:pt x="1372314" y="428952"/>
                      </a:cubicBezTo>
                      <a:cubicBezTo>
                        <a:pt x="1371104" y="431428"/>
                        <a:pt x="1362122" y="438515"/>
                        <a:pt x="1360008" y="437200"/>
                      </a:cubicBezTo>
                      <a:cubicBezTo>
                        <a:pt x="1357407" y="435581"/>
                        <a:pt x="1361894" y="428447"/>
                        <a:pt x="1362875" y="426770"/>
                      </a:cubicBezTo>
                      <a:cubicBezTo>
                        <a:pt x="1365266" y="422694"/>
                        <a:pt x="1369675" y="419465"/>
                        <a:pt x="1368409" y="414655"/>
                      </a:cubicBezTo>
                      <a:cubicBezTo>
                        <a:pt x="1368161" y="413712"/>
                        <a:pt x="1361912" y="407244"/>
                        <a:pt x="1360303" y="405939"/>
                      </a:cubicBezTo>
                      <a:cubicBezTo>
                        <a:pt x="1364560" y="402625"/>
                        <a:pt x="1369371" y="406463"/>
                        <a:pt x="1374048" y="404015"/>
                      </a:cubicBezTo>
                      <a:cubicBezTo>
                        <a:pt x="1369894" y="405110"/>
                        <a:pt x="1363961" y="403234"/>
                        <a:pt x="1360750" y="400481"/>
                      </a:cubicBezTo>
                      <a:cubicBezTo>
                        <a:pt x="1353997" y="394700"/>
                        <a:pt x="1360084" y="394195"/>
                        <a:pt x="1365789" y="393547"/>
                      </a:cubicBezTo>
                      <a:cubicBezTo>
                        <a:pt x="1361646" y="389575"/>
                        <a:pt x="1345691" y="366020"/>
                        <a:pt x="1354674" y="361591"/>
                      </a:cubicBezTo>
                      <a:cubicBezTo>
                        <a:pt x="1352569" y="361791"/>
                        <a:pt x="1351244" y="360829"/>
                        <a:pt x="1349321" y="360429"/>
                      </a:cubicBezTo>
                      <a:cubicBezTo>
                        <a:pt x="1350311" y="358314"/>
                        <a:pt x="1351950" y="356943"/>
                        <a:pt x="1354216" y="356295"/>
                      </a:cubicBezTo>
                      <a:cubicBezTo>
                        <a:pt x="1341862" y="358086"/>
                        <a:pt x="1349530" y="354161"/>
                        <a:pt x="1342662" y="347122"/>
                      </a:cubicBezTo>
                      <a:cubicBezTo>
                        <a:pt x="1338014" y="342350"/>
                        <a:pt x="1325889" y="339941"/>
                        <a:pt x="1323470" y="333301"/>
                      </a:cubicBezTo>
                      <a:cubicBezTo>
                        <a:pt x="1320965" y="335473"/>
                        <a:pt x="1311402" y="331930"/>
                        <a:pt x="1307791" y="330825"/>
                      </a:cubicBezTo>
                      <a:cubicBezTo>
                        <a:pt x="1299391" y="328253"/>
                        <a:pt x="1292056" y="323215"/>
                        <a:pt x="1283874" y="320233"/>
                      </a:cubicBezTo>
                      <a:cubicBezTo>
                        <a:pt x="1275692" y="317252"/>
                        <a:pt x="1266101" y="319595"/>
                        <a:pt x="1258386" y="317080"/>
                      </a:cubicBezTo>
                      <a:cubicBezTo>
                        <a:pt x="1252804" y="315261"/>
                        <a:pt x="1235373" y="299659"/>
                        <a:pt x="1251118" y="301574"/>
                      </a:cubicBezTo>
                      <a:cubicBezTo>
                        <a:pt x="1247346" y="300421"/>
                        <a:pt x="1246193" y="302469"/>
                        <a:pt x="1242984" y="302393"/>
                      </a:cubicBezTo>
                      <a:cubicBezTo>
                        <a:pt x="1240745" y="302336"/>
                        <a:pt x="1238964" y="301564"/>
                        <a:pt x="1236744" y="301298"/>
                      </a:cubicBezTo>
                      <a:cubicBezTo>
                        <a:pt x="1235725" y="301164"/>
                        <a:pt x="1232182" y="302088"/>
                        <a:pt x="1231582" y="301812"/>
                      </a:cubicBezTo>
                      <a:cubicBezTo>
                        <a:pt x="1230763" y="301440"/>
                        <a:pt x="1229782" y="299088"/>
                        <a:pt x="1229439" y="298993"/>
                      </a:cubicBezTo>
                      <a:cubicBezTo>
                        <a:pt x="1229905" y="299126"/>
                        <a:pt x="1224524" y="297354"/>
                        <a:pt x="1225172" y="297745"/>
                      </a:cubicBezTo>
                      <a:cubicBezTo>
                        <a:pt x="1222352" y="296030"/>
                        <a:pt x="1217047" y="293392"/>
                        <a:pt x="1215085" y="289458"/>
                      </a:cubicBezTo>
                      <a:cubicBezTo>
                        <a:pt x="1211837" y="282962"/>
                        <a:pt x="1217114" y="278638"/>
                        <a:pt x="1220228" y="273751"/>
                      </a:cubicBezTo>
                      <a:cubicBezTo>
                        <a:pt x="1210961" y="271332"/>
                        <a:pt x="1217485" y="286191"/>
                        <a:pt x="1209303" y="285000"/>
                      </a:cubicBezTo>
                      <a:cubicBezTo>
                        <a:pt x="1210570" y="289068"/>
                        <a:pt x="1204141" y="302784"/>
                        <a:pt x="1199807" y="304936"/>
                      </a:cubicBezTo>
                      <a:cubicBezTo>
                        <a:pt x="1193139" y="308241"/>
                        <a:pt x="1186481" y="306079"/>
                        <a:pt x="1185452" y="298135"/>
                      </a:cubicBezTo>
                      <a:cubicBezTo>
                        <a:pt x="1184814" y="293059"/>
                        <a:pt x="1188043" y="292534"/>
                        <a:pt x="1188357" y="288239"/>
                      </a:cubicBezTo>
                      <a:cubicBezTo>
                        <a:pt x="1188682" y="283591"/>
                        <a:pt x="1183890" y="279933"/>
                        <a:pt x="1180871" y="277314"/>
                      </a:cubicBezTo>
                      <a:cubicBezTo>
                        <a:pt x="1177585" y="274466"/>
                        <a:pt x="1174537" y="271799"/>
                        <a:pt x="1170489" y="270256"/>
                      </a:cubicBezTo>
                      <a:cubicBezTo>
                        <a:pt x="1166593" y="268779"/>
                        <a:pt x="1163173" y="270703"/>
                        <a:pt x="1161840" y="265369"/>
                      </a:cubicBezTo>
                      <a:cubicBezTo>
                        <a:pt x="1168250" y="263636"/>
                        <a:pt x="1171346" y="261350"/>
                        <a:pt x="1178214" y="262960"/>
                      </a:cubicBezTo>
                      <a:cubicBezTo>
                        <a:pt x="1184615" y="264455"/>
                        <a:pt x="1186034" y="266103"/>
                        <a:pt x="1191577" y="260845"/>
                      </a:cubicBezTo>
                      <a:cubicBezTo>
                        <a:pt x="1196587" y="256102"/>
                        <a:pt x="1197349" y="254006"/>
                        <a:pt x="1204302" y="255320"/>
                      </a:cubicBezTo>
                      <a:cubicBezTo>
                        <a:pt x="1208103" y="256044"/>
                        <a:pt x="1213999" y="257530"/>
                        <a:pt x="1216552" y="260207"/>
                      </a:cubicBezTo>
                      <a:cubicBezTo>
                        <a:pt x="1216742" y="257073"/>
                        <a:pt x="1228286" y="248986"/>
                        <a:pt x="1219943" y="249777"/>
                      </a:cubicBezTo>
                      <a:cubicBezTo>
                        <a:pt x="1222133" y="248034"/>
                        <a:pt x="1223695" y="246291"/>
                        <a:pt x="1224305" y="243738"/>
                      </a:cubicBezTo>
                      <a:cubicBezTo>
                        <a:pt x="1210703" y="249186"/>
                        <a:pt x="1195806" y="248510"/>
                        <a:pt x="1181500" y="247824"/>
                      </a:cubicBezTo>
                      <a:cubicBezTo>
                        <a:pt x="1174308" y="247481"/>
                        <a:pt x="1169898" y="247872"/>
                        <a:pt x="1165517" y="240880"/>
                      </a:cubicBezTo>
                      <a:cubicBezTo>
                        <a:pt x="1163716" y="238004"/>
                        <a:pt x="1163431" y="234918"/>
                        <a:pt x="1162316" y="231565"/>
                      </a:cubicBezTo>
                      <a:cubicBezTo>
                        <a:pt x="1160411" y="225869"/>
                        <a:pt x="1161840" y="227365"/>
                        <a:pt x="1155449" y="225869"/>
                      </a:cubicBezTo>
                      <a:cubicBezTo>
                        <a:pt x="1151458" y="224945"/>
                        <a:pt x="1146962" y="221745"/>
                        <a:pt x="1142885" y="221621"/>
                      </a:cubicBezTo>
                      <a:cubicBezTo>
                        <a:pt x="1140809" y="221554"/>
                        <a:pt x="1138789" y="223917"/>
                        <a:pt x="1136265" y="223326"/>
                      </a:cubicBezTo>
                      <a:cubicBezTo>
                        <a:pt x="1128674" y="221535"/>
                        <a:pt x="1137637" y="216649"/>
                        <a:pt x="1139628" y="213401"/>
                      </a:cubicBezTo>
                      <a:cubicBezTo>
                        <a:pt x="1143780" y="206629"/>
                        <a:pt x="1139037" y="204724"/>
                        <a:pt x="1148057" y="202152"/>
                      </a:cubicBezTo>
                      <a:cubicBezTo>
                        <a:pt x="1156477" y="199751"/>
                        <a:pt x="1160478" y="197999"/>
                        <a:pt x="1167536" y="193370"/>
                      </a:cubicBezTo>
                      <a:cubicBezTo>
                        <a:pt x="1183395" y="182911"/>
                        <a:pt x="1196521" y="193703"/>
                        <a:pt x="1211427" y="200380"/>
                      </a:cubicBezTo>
                      <a:lnTo>
                        <a:pt x="1211427" y="200380"/>
                      </a:lnTo>
                      <a:close/>
                      <a:moveTo>
                        <a:pt x="940898" y="146154"/>
                      </a:moveTo>
                      <a:cubicBezTo>
                        <a:pt x="933916" y="152488"/>
                        <a:pt x="929954" y="162709"/>
                        <a:pt x="920390" y="165404"/>
                      </a:cubicBezTo>
                      <a:cubicBezTo>
                        <a:pt x="912914" y="167510"/>
                        <a:pt x="898493" y="170424"/>
                        <a:pt x="890787" y="167414"/>
                      </a:cubicBezTo>
                      <a:cubicBezTo>
                        <a:pt x="886225" y="165633"/>
                        <a:pt x="885491" y="162661"/>
                        <a:pt x="880109" y="162061"/>
                      </a:cubicBezTo>
                      <a:cubicBezTo>
                        <a:pt x="873871" y="161356"/>
                        <a:pt x="866765" y="162156"/>
                        <a:pt x="860450" y="162337"/>
                      </a:cubicBezTo>
                      <a:cubicBezTo>
                        <a:pt x="855421" y="162480"/>
                        <a:pt x="850153" y="163890"/>
                        <a:pt x="845200" y="163747"/>
                      </a:cubicBezTo>
                      <a:cubicBezTo>
                        <a:pt x="840447" y="163614"/>
                        <a:pt x="836266" y="161861"/>
                        <a:pt x="831437" y="162013"/>
                      </a:cubicBezTo>
                      <a:cubicBezTo>
                        <a:pt x="825703" y="162185"/>
                        <a:pt x="820454" y="163995"/>
                        <a:pt x="814739" y="163080"/>
                      </a:cubicBezTo>
                      <a:cubicBezTo>
                        <a:pt x="808805" y="162128"/>
                        <a:pt x="804748" y="159289"/>
                        <a:pt x="799014" y="162842"/>
                      </a:cubicBezTo>
                      <a:cubicBezTo>
                        <a:pt x="790794" y="167948"/>
                        <a:pt x="786631" y="180949"/>
                        <a:pt x="787993" y="189969"/>
                      </a:cubicBezTo>
                      <a:cubicBezTo>
                        <a:pt x="788698" y="194741"/>
                        <a:pt x="790546" y="200656"/>
                        <a:pt x="794099" y="204124"/>
                      </a:cubicBezTo>
                      <a:cubicBezTo>
                        <a:pt x="797738" y="207667"/>
                        <a:pt x="801252" y="208267"/>
                        <a:pt x="804128" y="212706"/>
                      </a:cubicBezTo>
                      <a:cubicBezTo>
                        <a:pt x="805310" y="214544"/>
                        <a:pt x="805386" y="218287"/>
                        <a:pt x="807176" y="219726"/>
                      </a:cubicBezTo>
                      <a:cubicBezTo>
                        <a:pt x="809072" y="221250"/>
                        <a:pt x="809396" y="219811"/>
                        <a:pt x="811691" y="220459"/>
                      </a:cubicBezTo>
                      <a:cubicBezTo>
                        <a:pt x="818083" y="222269"/>
                        <a:pt x="820397" y="221345"/>
                        <a:pt x="824360" y="216773"/>
                      </a:cubicBezTo>
                      <a:cubicBezTo>
                        <a:pt x="827274" y="213401"/>
                        <a:pt x="830389" y="205848"/>
                        <a:pt x="834904" y="204409"/>
                      </a:cubicBezTo>
                      <a:cubicBezTo>
                        <a:pt x="839114" y="203066"/>
                        <a:pt x="841581" y="207305"/>
                        <a:pt x="846362" y="207172"/>
                      </a:cubicBezTo>
                      <a:cubicBezTo>
                        <a:pt x="851782" y="207038"/>
                        <a:pt x="854840" y="202466"/>
                        <a:pt x="859735" y="201314"/>
                      </a:cubicBezTo>
                      <a:cubicBezTo>
                        <a:pt x="865069" y="200056"/>
                        <a:pt x="872499" y="201618"/>
                        <a:pt x="878042" y="201266"/>
                      </a:cubicBezTo>
                      <a:cubicBezTo>
                        <a:pt x="877452" y="200666"/>
                        <a:pt x="876966" y="199028"/>
                        <a:pt x="876214" y="198256"/>
                      </a:cubicBezTo>
                      <a:cubicBezTo>
                        <a:pt x="882910" y="195580"/>
                        <a:pt x="897579" y="193275"/>
                        <a:pt x="894568" y="204905"/>
                      </a:cubicBezTo>
                      <a:cubicBezTo>
                        <a:pt x="891882" y="215268"/>
                        <a:pt x="885025" y="202304"/>
                        <a:pt x="877223" y="206505"/>
                      </a:cubicBezTo>
                      <a:cubicBezTo>
                        <a:pt x="870575" y="210096"/>
                        <a:pt x="867118" y="219592"/>
                        <a:pt x="860659" y="224174"/>
                      </a:cubicBezTo>
                      <a:cubicBezTo>
                        <a:pt x="856411" y="227193"/>
                        <a:pt x="851953" y="227745"/>
                        <a:pt x="847382" y="230003"/>
                      </a:cubicBezTo>
                      <a:cubicBezTo>
                        <a:pt x="843886" y="231746"/>
                        <a:pt x="841667" y="236156"/>
                        <a:pt x="838180" y="237213"/>
                      </a:cubicBezTo>
                      <a:cubicBezTo>
                        <a:pt x="834913" y="238204"/>
                        <a:pt x="831247" y="234242"/>
                        <a:pt x="829218" y="236327"/>
                      </a:cubicBezTo>
                      <a:cubicBezTo>
                        <a:pt x="827560" y="238023"/>
                        <a:pt x="833209" y="243052"/>
                        <a:pt x="834913" y="244348"/>
                      </a:cubicBezTo>
                      <a:cubicBezTo>
                        <a:pt x="837161" y="246052"/>
                        <a:pt x="839942" y="246776"/>
                        <a:pt x="842114" y="248786"/>
                      </a:cubicBezTo>
                      <a:cubicBezTo>
                        <a:pt x="845591" y="252025"/>
                        <a:pt x="846115" y="256968"/>
                        <a:pt x="848458" y="260731"/>
                      </a:cubicBezTo>
                      <a:cubicBezTo>
                        <a:pt x="850668" y="264283"/>
                        <a:pt x="854725" y="265836"/>
                        <a:pt x="856945" y="269103"/>
                      </a:cubicBezTo>
                      <a:cubicBezTo>
                        <a:pt x="856621" y="268617"/>
                        <a:pt x="859307" y="277552"/>
                        <a:pt x="859326" y="276456"/>
                      </a:cubicBezTo>
                      <a:cubicBezTo>
                        <a:pt x="859240" y="282495"/>
                        <a:pt x="852239" y="287334"/>
                        <a:pt x="856592" y="293859"/>
                      </a:cubicBezTo>
                      <a:cubicBezTo>
                        <a:pt x="857993" y="295964"/>
                        <a:pt x="862727" y="297773"/>
                        <a:pt x="864469" y="300421"/>
                      </a:cubicBezTo>
                      <a:cubicBezTo>
                        <a:pt x="866508" y="303507"/>
                        <a:pt x="866317" y="304317"/>
                        <a:pt x="869394" y="306346"/>
                      </a:cubicBezTo>
                      <a:cubicBezTo>
                        <a:pt x="870880" y="307327"/>
                        <a:pt x="872099" y="304355"/>
                        <a:pt x="873290" y="309213"/>
                      </a:cubicBezTo>
                      <a:cubicBezTo>
                        <a:pt x="874357" y="313613"/>
                        <a:pt x="871804" y="318233"/>
                        <a:pt x="867355" y="314204"/>
                      </a:cubicBezTo>
                      <a:cubicBezTo>
                        <a:pt x="867184" y="318662"/>
                        <a:pt x="853344" y="316966"/>
                        <a:pt x="849296" y="319805"/>
                      </a:cubicBezTo>
                      <a:cubicBezTo>
                        <a:pt x="844772" y="322977"/>
                        <a:pt x="848001" y="326072"/>
                        <a:pt x="845829" y="328444"/>
                      </a:cubicBezTo>
                      <a:cubicBezTo>
                        <a:pt x="843305" y="331197"/>
                        <a:pt x="837943" y="330177"/>
                        <a:pt x="834752" y="328977"/>
                      </a:cubicBezTo>
                      <a:cubicBezTo>
                        <a:pt x="824036" y="324958"/>
                        <a:pt x="830284" y="318442"/>
                        <a:pt x="831732" y="310394"/>
                      </a:cubicBezTo>
                      <a:cubicBezTo>
                        <a:pt x="832608" y="305508"/>
                        <a:pt x="833275" y="306879"/>
                        <a:pt x="829084" y="303460"/>
                      </a:cubicBezTo>
                      <a:cubicBezTo>
                        <a:pt x="826236" y="301136"/>
                        <a:pt x="822931" y="299688"/>
                        <a:pt x="820016" y="296916"/>
                      </a:cubicBezTo>
                      <a:cubicBezTo>
                        <a:pt x="810044" y="287429"/>
                        <a:pt x="812110" y="289382"/>
                        <a:pt x="816968" y="278447"/>
                      </a:cubicBezTo>
                      <a:cubicBezTo>
                        <a:pt x="820054" y="271484"/>
                        <a:pt x="820083" y="261188"/>
                        <a:pt x="811101" y="260769"/>
                      </a:cubicBezTo>
                      <a:cubicBezTo>
                        <a:pt x="805595" y="260502"/>
                        <a:pt x="793727" y="266331"/>
                        <a:pt x="792756" y="272018"/>
                      </a:cubicBezTo>
                      <a:cubicBezTo>
                        <a:pt x="792146" y="275695"/>
                        <a:pt x="795594" y="279933"/>
                        <a:pt x="796394" y="283591"/>
                      </a:cubicBezTo>
                      <a:cubicBezTo>
                        <a:pt x="797308" y="287772"/>
                        <a:pt x="797052" y="292449"/>
                        <a:pt x="796356" y="296459"/>
                      </a:cubicBezTo>
                      <a:cubicBezTo>
                        <a:pt x="795585" y="300983"/>
                        <a:pt x="794013" y="305203"/>
                        <a:pt x="793794" y="310108"/>
                      </a:cubicBezTo>
                      <a:cubicBezTo>
                        <a:pt x="793575" y="315499"/>
                        <a:pt x="794889" y="321138"/>
                        <a:pt x="793546" y="326348"/>
                      </a:cubicBezTo>
                      <a:cubicBezTo>
                        <a:pt x="792451" y="330549"/>
                        <a:pt x="788641" y="334159"/>
                        <a:pt x="788517" y="338731"/>
                      </a:cubicBezTo>
                      <a:cubicBezTo>
                        <a:pt x="788365" y="343636"/>
                        <a:pt x="791879" y="348342"/>
                        <a:pt x="791774" y="353609"/>
                      </a:cubicBezTo>
                      <a:cubicBezTo>
                        <a:pt x="786107" y="349656"/>
                        <a:pt x="778516" y="354304"/>
                        <a:pt x="773134" y="355314"/>
                      </a:cubicBezTo>
                      <a:cubicBezTo>
                        <a:pt x="766914" y="356476"/>
                        <a:pt x="758771" y="353237"/>
                        <a:pt x="758999" y="344855"/>
                      </a:cubicBezTo>
                      <a:cubicBezTo>
                        <a:pt x="759085" y="341693"/>
                        <a:pt x="762000" y="338093"/>
                        <a:pt x="763171" y="335207"/>
                      </a:cubicBezTo>
                      <a:cubicBezTo>
                        <a:pt x="764819" y="331159"/>
                        <a:pt x="765485" y="327558"/>
                        <a:pt x="766762" y="323367"/>
                      </a:cubicBezTo>
                      <a:cubicBezTo>
                        <a:pt x="769582" y="314118"/>
                        <a:pt x="771029" y="308079"/>
                        <a:pt x="768362" y="298783"/>
                      </a:cubicBezTo>
                      <a:cubicBezTo>
                        <a:pt x="766800" y="293325"/>
                        <a:pt x="769334" y="287782"/>
                        <a:pt x="762723" y="286572"/>
                      </a:cubicBezTo>
                      <a:cubicBezTo>
                        <a:pt x="758695" y="285848"/>
                        <a:pt x="754551" y="290020"/>
                        <a:pt x="750922" y="288058"/>
                      </a:cubicBezTo>
                      <a:cubicBezTo>
                        <a:pt x="747807" y="286362"/>
                        <a:pt x="746874" y="280142"/>
                        <a:pt x="747007" y="276904"/>
                      </a:cubicBezTo>
                      <a:cubicBezTo>
                        <a:pt x="747150" y="273618"/>
                        <a:pt x="747807" y="270246"/>
                        <a:pt x="748045" y="267265"/>
                      </a:cubicBezTo>
                      <a:cubicBezTo>
                        <a:pt x="748427" y="262435"/>
                        <a:pt x="746369" y="264779"/>
                        <a:pt x="749570" y="260807"/>
                      </a:cubicBezTo>
                      <a:cubicBezTo>
                        <a:pt x="751693" y="258187"/>
                        <a:pt x="755780" y="257616"/>
                        <a:pt x="757637" y="254092"/>
                      </a:cubicBezTo>
                      <a:cubicBezTo>
                        <a:pt x="759380" y="250796"/>
                        <a:pt x="759256" y="246710"/>
                        <a:pt x="761018" y="243176"/>
                      </a:cubicBezTo>
                      <a:cubicBezTo>
                        <a:pt x="764038" y="237147"/>
                        <a:pt x="764933" y="236813"/>
                        <a:pt x="764705" y="229746"/>
                      </a:cubicBezTo>
                      <a:cubicBezTo>
                        <a:pt x="764552" y="225393"/>
                        <a:pt x="765076" y="221202"/>
                        <a:pt x="766524" y="217030"/>
                      </a:cubicBezTo>
                      <a:cubicBezTo>
                        <a:pt x="768857" y="210324"/>
                        <a:pt x="776220" y="192255"/>
                        <a:pt x="782136" y="204628"/>
                      </a:cubicBezTo>
                      <a:cubicBezTo>
                        <a:pt x="782573" y="199856"/>
                        <a:pt x="780545" y="195399"/>
                        <a:pt x="779754" y="190779"/>
                      </a:cubicBezTo>
                      <a:cubicBezTo>
                        <a:pt x="779421" y="188836"/>
                        <a:pt x="777849" y="182702"/>
                        <a:pt x="778564" y="180806"/>
                      </a:cubicBezTo>
                      <a:cubicBezTo>
                        <a:pt x="779097" y="179416"/>
                        <a:pt x="781154" y="179359"/>
                        <a:pt x="781307" y="178711"/>
                      </a:cubicBezTo>
                      <a:cubicBezTo>
                        <a:pt x="782059" y="175539"/>
                        <a:pt x="781040" y="172805"/>
                        <a:pt x="781602" y="169272"/>
                      </a:cubicBezTo>
                      <a:cubicBezTo>
                        <a:pt x="782050" y="166414"/>
                        <a:pt x="784535" y="164480"/>
                        <a:pt x="785831" y="162261"/>
                      </a:cubicBezTo>
                      <a:cubicBezTo>
                        <a:pt x="786764" y="160670"/>
                        <a:pt x="787993" y="156908"/>
                        <a:pt x="788860" y="155670"/>
                      </a:cubicBezTo>
                      <a:cubicBezTo>
                        <a:pt x="789765" y="154384"/>
                        <a:pt x="795842" y="146707"/>
                        <a:pt x="796223" y="146640"/>
                      </a:cubicBezTo>
                      <a:cubicBezTo>
                        <a:pt x="799252" y="146107"/>
                        <a:pt x="799709" y="153670"/>
                        <a:pt x="805996" y="150602"/>
                      </a:cubicBezTo>
                      <a:cubicBezTo>
                        <a:pt x="812406" y="147469"/>
                        <a:pt x="810977" y="136001"/>
                        <a:pt x="819864" y="135696"/>
                      </a:cubicBezTo>
                      <a:cubicBezTo>
                        <a:pt x="827855" y="135420"/>
                        <a:pt x="830922" y="141602"/>
                        <a:pt x="837028" y="143859"/>
                      </a:cubicBezTo>
                      <a:cubicBezTo>
                        <a:pt x="840314" y="145078"/>
                        <a:pt x="849344" y="144440"/>
                        <a:pt x="853325" y="145002"/>
                      </a:cubicBezTo>
                      <a:cubicBezTo>
                        <a:pt x="858573" y="145745"/>
                        <a:pt x="863155" y="145059"/>
                        <a:pt x="868203" y="146850"/>
                      </a:cubicBezTo>
                      <a:cubicBezTo>
                        <a:pt x="873252" y="148640"/>
                        <a:pt x="874766" y="149974"/>
                        <a:pt x="879176" y="149574"/>
                      </a:cubicBezTo>
                      <a:cubicBezTo>
                        <a:pt x="883186" y="149202"/>
                        <a:pt x="886796" y="147917"/>
                        <a:pt x="891835" y="148507"/>
                      </a:cubicBezTo>
                      <a:cubicBezTo>
                        <a:pt x="906817" y="150279"/>
                        <a:pt x="911218" y="151555"/>
                        <a:pt x="923668" y="142706"/>
                      </a:cubicBezTo>
                      <a:cubicBezTo>
                        <a:pt x="927963" y="139649"/>
                        <a:pt x="929735" y="136306"/>
                        <a:pt x="932935" y="132819"/>
                      </a:cubicBezTo>
                      <a:cubicBezTo>
                        <a:pt x="933611" y="132086"/>
                        <a:pt x="937774" y="129838"/>
                        <a:pt x="939012" y="128743"/>
                      </a:cubicBezTo>
                      <a:cubicBezTo>
                        <a:pt x="940479" y="127466"/>
                        <a:pt x="941460" y="124428"/>
                        <a:pt x="943575" y="123942"/>
                      </a:cubicBezTo>
                      <a:cubicBezTo>
                        <a:pt x="945803" y="123418"/>
                        <a:pt x="948061" y="124647"/>
                        <a:pt x="949375" y="126238"/>
                      </a:cubicBezTo>
                      <a:cubicBezTo>
                        <a:pt x="953243" y="130905"/>
                        <a:pt x="949832" y="129752"/>
                        <a:pt x="948604" y="133153"/>
                      </a:cubicBezTo>
                      <a:cubicBezTo>
                        <a:pt x="946966" y="137601"/>
                        <a:pt x="944279" y="142678"/>
                        <a:pt x="940898" y="146154"/>
                      </a:cubicBezTo>
                      <a:lnTo>
                        <a:pt x="940898" y="146154"/>
                      </a:lnTo>
                      <a:close/>
                      <a:moveTo>
                        <a:pt x="1030557" y="150793"/>
                      </a:moveTo>
                      <a:cubicBezTo>
                        <a:pt x="1036843" y="154032"/>
                        <a:pt x="1035310" y="148012"/>
                        <a:pt x="1037691" y="145107"/>
                      </a:cubicBezTo>
                      <a:cubicBezTo>
                        <a:pt x="1038663" y="143926"/>
                        <a:pt x="1042006" y="142754"/>
                        <a:pt x="1042501" y="142001"/>
                      </a:cubicBezTo>
                      <a:cubicBezTo>
                        <a:pt x="1043559" y="140382"/>
                        <a:pt x="1042673" y="138773"/>
                        <a:pt x="1043587" y="137267"/>
                      </a:cubicBezTo>
                      <a:cubicBezTo>
                        <a:pt x="1045968" y="133381"/>
                        <a:pt x="1049673" y="129362"/>
                        <a:pt x="1054979" y="128552"/>
                      </a:cubicBezTo>
                      <a:cubicBezTo>
                        <a:pt x="1060989" y="127638"/>
                        <a:pt x="1060999" y="129419"/>
                        <a:pt x="1061180" y="135286"/>
                      </a:cubicBezTo>
                      <a:cubicBezTo>
                        <a:pt x="1061409" y="142201"/>
                        <a:pt x="1060903" y="143430"/>
                        <a:pt x="1055113" y="146650"/>
                      </a:cubicBezTo>
                      <a:cubicBezTo>
                        <a:pt x="1051464" y="148678"/>
                        <a:pt x="1045482" y="149574"/>
                        <a:pt x="1047797" y="154775"/>
                      </a:cubicBezTo>
                      <a:cubicBezTo>
                        <a:pt x="1049264" y="158089"/>
                        <a:pt x="1057541" y="159966"/>
                        <a:pt x="1060208" y="162585"/>
                      </a:cubicBezTo>
                      <a:cubicBezTo>
                        <a:pt x="1061275" y="163642"/>
                        <a:pt x="1061513" y="165976"/>
                        <a:pt x="1062570" y="167319"/>
                      </a:cubicBezTo>
                      <a:cubicBezTo>
                        <a:pt x="1063695" y="168738"/>
                        <a:pt x="1066200" y="168500"/>
                        <a:pt x="1067514" y="170681"/>
                      </a:cubicBezTo>
                      <a:cubicBezTo>
                        <a:pt x="1060408" y="168300"/>
                        <a:pt x="1054112" y="166157"/>
                        <a:pt x="1047007" y="164595"/>
                      </a:cubicBezTo>
                      <a:cubicBezTo>
                        <a:pt x="1039348" y="162918"/>
                        <a:pt x="1037243" y="161261"/>
                        <a:pt x="1036043" y="169557"/>
                      </a:cubicBezTo>
                      <a:cubicBezTo>
                        <a:pt x="1034253" y="181826"/>
                        <a:pt x="1042559" y="197970"/>
                        <a:pt x="1052350" y="205619"/>
                      </a:cubicBezTo>
                      <a:cubicBezTo>
                        <a:pt x="1048578" y="205943"/>
                        <a:pt x="1041710" y="200685"/>
                        <a:pt x="1039205" y="197837"/>
                      </a:cubicBezTo>
                      <a:cubicBezTo>
                        <a:pt x="1037339" y="195694"/>
                        <a:pt x="1036948" y="192370"/>
                        <a:pt x="1035091" y="190150"/>
                      </a:cubicBezTo>
                      <a:cubicBezTo>
                        <a:pt x="1033624" y="188398"/>
                        <a:pt x="1030938" y="187664"/>
                        <a:pt x="1029843" y="185578"/>
                      </a:cubicBezTo>
                      <a:cubicBezTo>
                        <a:pt x="1027700" y="181502"/>
                        <a:pt x="1030157" y="176072"/>
                        <a:pt x="1029452" y="171681"/>
                      </a:cubicBezTo>
                      <a:cubicBezTo>
                        <a:pt x="1028728" y="167167"/>
                        <a:pt x="1025023" y="164204"/>
                        <a:pt x="1024652" y="159261"/>
                      </a:cubicBezTo>
                      <a:cubicBezTo>
                        <a:pt x="1024509" y="157442"/>
                        <a:pt x="1025795" y="155108"/>
                        <a:pt x="1025642" y="153708"/>
                      </a:cubicBezTo>
                      <a:cubicBezTo>
                        <a:pt x="1025347" y="151069"/>
                        <a:pt x="1025318" y="151650"/>
                        <a:pt x="1024546" y="149031"/>
                      </a:cubicBezTo>
                      <a:cubicBezTo>
                        <a:pt x="1022366" y="141640"/>
                        <a:pt x="1020641" y="141411"/>
                        <a:pt x="1022718" y="133677"/>
                      </a:cubicBezTo>
                      <a:cubicBezTo>
                        <a:pt x="1025128" y="124704"/>
                        <a:pt x="1027518" y="110988"/>
                        <a:pt x="1038853" y="108235"/>
                      </a:cubicBezTo>
                      <a:cubicBezTo>
                        <a:pt x="1039081" y="112341"/>
                        <a:pt x="1034272" y="114598"/>
                        <a:pt x="1034614" y="118608"/>
                      </a:cubicBezTo>
                      <a:cubicBezTo>
                        <a:pt x="1034967" y="122647"/>
                        <a:pt x="1039806" y="125275"/>
                        <a:pt x="1039339" y="131057"/>
                      </a:cubicBezTo>
                      <a:cubicBezTo>
                        <a:pt x="1038882" y="136848"/>
                        <a:pt x="1037005" y="138801"/>
                        <a:pt x="1032624" y="142525"/>
                      </a:cubicBezTo>
                      <a:cubicBezTo>
                        <a:pt x="1029786" y="144935"/>
                        <a:pt x="1023746" y="147859"/>
                        <a:pt x="1030557" y="150793"/>
                      </a:cubicBezTo>
                      <a:lnTo>
                        <a:pt x="1030557" y="150793"/>
                      </a:lnTo>
                      <a:close/>
                      <a:moveTo>
                        <a:pt x="673312" y="40170"/>
                      </a:moveTo>
                      <a:cubicBezTo>
                        <a:pt x="678389" y="41208"/>
                        <a:pt x="684275" y="40351"/>
                        <a:pt x="689743" y="40875"/>
                      </a:cubicBezTo>
                      <a:cubicBezTo>
                        <a:pt x="695725" y="41456"/>
                        <a:pt x="700144" y="46009"/>
                        <a:pt x="705888" y="46132"/>
                      </a:cubicBezTo>
                      <a:cubicBezTo>
                        <a:pt x="698268" y="49152"/>
                        <a:pt x="708755" y="53933"/>
                        <a:pt x="710793" y="57248"/>
                      </a:cubicBezTo>
                      <a:cubicBezTo>
                        <a:pt x="714298" y="62953"/>
                        <a:pt x="709069" y="65354"/>
                        <a:pt x="704830" y="60001"/>
                      </a:cubicBezTo>
                      <a:cubicBezTo>
                        <a:pt x="704335" y="65268"/>
                        <a:pt x="695020" y="62582"/>
                        <a:pt x="690771" y="63392"/>
                      </a:cubicBezTo>
                      <a:cubicBezTo>
                        <a:pt x="693686" y="63611"/>
                        <a:pt x="696344" y="65535"/>
                        <a:pt x="698191" y="67735"/>
                      </a:cubicBezTo>
                      <a:cubicBezTo>
                        <a:pt x="699173" y="68907"/>
                        <a:pt x="700687" y="69526"/>
                        <a:pt x="701287" y="71012"/>
                      </a:cubicBezTo>
                      <a:cubicBezTo>
                        <a:pt x="701840" y="72364"/>
                        <a:pt x="699401" y="74336"/>
                        <a:pt x="699877" y="75336"/>
                      </a:cubicBezTo>
                      <a:cubicBezTo>
                        <a:pt x="702258" y="80356"/>
                        <a:pt x="709526" y="78146"/>
                        <a:pt x="710336" y="84556"/>
                      </a:cubicBezTo>
                      <a:cubicBezTo>
                        <a:pt x="709631" y="84785"/>
                        <a:pt x="708917" y="85004"/>
                        <a:pt x="708202" y="85233"/>
                      </a:cubicBezTo>
                      <a:cubicBezTo>
                        <a:pt x="709745" y="85299"/>
                        <a:pt x="710888" y="86223"/>
                        <a:pt x="712317" y="86556"/>
                      </a:cubicBezTo>
                      <a:cubicBezTo>
                        <a:pt x="711593" y="87147"/>
                        <a:pt x="711212" y="87871"/>
                        <a:pt x="710564" y="88509"/>
                      </a:cubicBezTo>
                      <a:cubicBezTo>
                        <a:pt x="715251" y="89557"/>
                        <a:pt x="720289" y="97463"/>
                        <a:pt x="722557" y="101434"/>
                      </a:cubicBezTo>
                      <a:cubicBezTo>
                        <a:pt x="725633" y="106835"/>
                        <a:pt x="722994" y="111731"/>
                        <a:pt x="716404" y="113665"/>
                      </a:cubicBezTo>
                      <a:cubicBezTo>
                        <a:pt x="721614" y="116665"/>
                        <a:pt x="725328" y="123409"/>
                        <a:pt x="730367" y="127228"/>
                      </a:cubicBezTo>
                      <a:cubicBezTo>
                        <a:pt x="737501" y="132629"/>
                        <a:pt x="745235" y="136315"/>
                        <a:pt x="751132" y="143173"/>
                      </a:cubicBezTo>
                      <a:cubicBezTo>
                        <a:pt x="753779" y="146249"/>
                        <a:pt x="756827" y="145268"/>
                        <a:pt x="752103" y="149574"/>
                      </a:cubicBezTo>
                      <a:cubicBezTo>
                        <a:pt x="749674" y="151784"/>
                        <a:pt x="743064" y="151879"/>
                        <a:pt x="740130" y="151774"/>
                      </a:cubicBezTo>
                      <a:cubicBezTo>
                        <a:pt x="737006" y="151660"/>
                        <a:pt x="732139" y="151050"/>
                        <a:pt x="729338" y="149507"/>
                      </a:cubicBezTo>
                      <a:cubicBezTo>
                        <a:pt x="726033" y="147697"/>
                        <a:pt x="724747" y="144287"/>
                        <a:pt x="721080" y="142897"/>
                      </a:cubicBezTo>
                      <a:cubicBezTo>
                        <a:pt x="724300" y="146516"/>
                        <a:pt x="722976" y="148964"/>
                        <a:pt x="720489" y="151993"/>
                      </a:cubicBezTo>
                      <a:cubicBezTo>
                        <a:pt x="717127" y="156041"/>
                        <a:pt x="715298" y="155851"/>
                        <a:pt x="712517" y="161756"/>
                      </a:cubicBezTo>
                      <a:cubicBezTo>
                        <a:pt x="708402" y="170500"/>
                        <a:pt x="706269" y="180787"/>
                        <a:pt x="708202" y="190246"/>
                      </a:cubicBezTo>
                      <a:cubicBezTo>
                        <a:pt x="708736" y="192875"/>
                        <a:pt x="711755" y="198409"/>
                        <a:pt x="710441" y="201104"/>
                      </a:cubicBezTo>
                      <a:cubicBezTo>
                        <a:pt x="709050" y="203971"/>
                        <a:pt x="703649" y="204447"/>
                        <a:pt x="701002" y="206181"/>
                      </a:cubicBezTo>
                      <a:cubicBezTo>
                        <a:pt x="697058" y="208762"/>
                        <a:pt x="685590" y="223831"/>
                        <a:pt x="684209" y="210391"/>
                      </a:cubicBezTo>
                      <a:cubicBezTo>
                        <a:pt x="683618" y="212963"/>
                        <a:pt x="685628" y="215325"/>
                        <a:pt x="685047" y="217401"/>
                      </a:cubicBezTo>
                      <a:cubicBezTo>
                        <a:pt x="684104" y="220783"/>
                        <a:pt x="681828" y="220183"/>
                        <a:pt x="679903" y="222497"/>
                      </a:cubicBezTo>
                      <a:cubicBezTo>
                        <a:pt x="678294" y="224421"/>
                        <a:pt x="678027" y="226602"/>
                        <a:pt x="676160" y="228384"/>
                      </a:cubicBezTo>
                      <a:cubicBezTo>
                        <a:pt x="673855" y="230584"/>
                        <a:pt x="670731" y="230841"/>
                        <a:pt x="668997" y="233718"/>
                      </a:cubicBezTo>
                      <a:cubicBezTo>
                        <a:pt x="676760" y="231260"/>
                        <a:pt x="674922" y="242538"/>
                        <a:pt x="669826" y="244909"/>
                      </a:cubicBezTo>
                      <a:cubicBezTo>
                        <a:pt x="674131" y="247015"/>
                        <a:pt x="680037" y="247634"/>
                        <a:pt x="676694" y="254225"/>
                      </a:cubicBezTo>
                      <a:cubicBezTo>
                        <a:pt x="674379" y="258778"/>
                        <a:pt x="670721" y="254997"/>
                        <a:pt x="668988" y="259511"/>
                      </a:cubicBezTo>
                      <a:cubicBezTo>
                        <a:pt x="669712" y="259245"/>
                        <a:pt x="670445" y="258978"/>
                        <a:pt x="671169" y="258711"/>
                      </a:cubicBezTo>
                      <a:cubicBezTo>
                        <a:pt x="671064" y="261969"/>
                        <a:pt x="669826" y="275028"/>
                        <a:pt x="664035" y="269941"/>
                      </a:cubicBezTo>
                      <a:cubicBezTo>
                        <a:pt x="663463" y="272275"/>
                        <a:pt x="664454" y="274399"/>
                        <a:pt x="666578" y="275990"/>
                      </a:cubicBezTo>
                      <a:cubicBezTo>
                        <a:pt x="660263" y="278409"/>
                        <a:pt x="660387" y="286648"/>
                        <a:pt x="656243" y="290734"/>
                      </a:cubicBezTo>
                      <a:cubicBezTo>
                        <a:pt x="651357" y="295535"/>
                        <a:pt x="639689" y="297868"/>
                        <a:pt x="633269" y="300726"/>
                      </a:cubicBezTo>
                      <a:cubicBezTo>
                        <a:pt x="629288" y="302498"/>
                        <a:pt x="616220" y="311356"/>
                        <a:pt x="613248" y="307032"/>
                      </a:cubicBezTo>
                      <a:cubicBezTo>
                        <a:pt x="611676" y="304746"/>
                        <a:pt x="613838" y="297440"/>
                        <a:pt x="613514" y="294725"/>
                      </a:cubicBezTo>
                      <a:cubicBezTo>
                        <a:pt x="613076" y="291001"/>
                        <a:pt x="611419" y="287724"/>
                        <a:pt x="611619" y="283876"/>
                      </a:cubicBezTo>
                      <a:cubicBezTo>
                        <a:pt x="609057" y="290172"/>
                        <a:pt x="601951" y="285343"/>
                        <a:pt x="606180" y="279419"/>
                      </a:cubicBezTo>
                      <a:cubicBezTo>
                        <a:pt x="602808" y="286029"/>
                        <a:pt x="600303" y="280809"/>
                        <a:pt x="597217" y="281362"/>
                      </a:cubicBezTo>
                      <a:cubicBezTo>
                        <a:pt x="591969" y="282314"/>
                        <a:pt x="588197" y="290439"/>
                        <a:pt x="583606" y="283857"/>
                      </a:cubicBezTo>
                      <a:cubicBezTo>
                        <a:pt x="582463" y="282210"/>
                        <a:pt x="584701" y="279381"/>
                        <a:pt x="582463" y="277895"/>
                      </a:cubicBezTo>
                      <a:cubicBezTo>
                        <a:pt x="580662" y="276694"/>
                        <a:pt x="578433" y="279457"/>
                        <a:pt x="576748" y="279228"/>
                      </a:cubicBezTo>
                      <a:cubicBezTo>
                        <a:pt x="572157" y="278600"/>
                        <a:pt x="569271" y="274018"/>
                        <a:pt x="565432" y="269913"/>
                      </a:cubicBezTo>
                      <a:cubicBezTo>
                        <a:pt x="563461" y="276533"/>
                        <a:pt x="562641" y="279057"/>
                        <a:pt x="556088" y="282162"/>
                      </a:cubicBezTo>
                      <a:cubicBezTo>
                        <a:pt x="549316" y="285362"/>
                        <a:pt x="547773" y="281752"/>
                        <a:pt x="541200" y="282124"/>
                      </a:cubicBezTo>
                      <a:cubicBezTo>
                        <a:pt x="533019" y="282591"/>
                        <a:pt x="526332" y="297078"/>
                        <a:pt x="527037" y="282591"/>
                      </a:cubicBezTo>
                      <a:cubicBezTo>
                        <a:pt x="527199" y="279295"/>
                        <a:pt x="528475" y="272589"/>
                        <a:pt x="525322" y="270094"/>
                      </a:cubicBezTo>
                      <a:cubicBezTo>
                        <a:pt x="523284" y="268484"/>
                        <a:pt x="519369" y="270684"/>
                        <a:pt x="515902" y="270837"/>
                      </a:cubicBezTo>
                      <a:cubicBezTo>
                        <a:pt x="511101" y="271056"/>
                        <a:pt x="506348" y="273704"/>
                        <a:pt x="501672" y="273875"/>
                      </a:cubicBezTo>
                      <a:cubicBezTo>
                        <a:pt x="498290" y="274009"/>
                        <a:pt x="493328" y="272285"/>
                        <a:pt x="498300" y="269113"/>
                      </a:cubicBezTo>
                      <a:cubicBezTo>
                        <a:pt x="495643" y="269741"/>
                        <a:pt x="493318" y="272208"/>
                        <a:pt x="491128" y="272285"/>
                      </a:cubicBezTo>
                      <a:cubicBezTo>
                        <a:pt x="489880" y="272323"/>
                        <a:pt x="489213" y="268808"/>
                        <a:pt x="488080" y="268579"/>
                      </a:cubicBezTo>
                      <a:cubicBezTo>
                        <a:pt x="486355" y="268227"/>
                        <a:pt x="484079" y="269798"/>
                        <a:pt x="482317" y="269808"/>
                      </a:cubicBezTo>
                      <a:cubicBezTo>
                        <a:pt x="479974" y="269808"/>
                        <a:pt x="479793" y="272608"/>
                        <a:pt x="477621" y="270294"/>
                      </a:cubicBezTo>
                      <a:cubicBezTo>
                        <a:pt x="476154" y="268741"/>
                        <a:pt x="477449" y="263788"/>
                        <a:pt x="477278" y="261702"/>
                      </a:cubicBezTo>
                      <a:cubicBezTo>
                        <a:pt x="476735" y="255368"/>
                        <a:pt x="475850" y="245824"/>
                        <a:pt x="473887" y="239680"/>
                      </a:cubicBezTo>
                      <a:cubicBezTo>
                        <a:pt x="472668" y="235851"/>
                        <a:pt x="470153" y="237451"/>
                        <a:pt x="470277" y="232403"/>
                      </a:cubicBezTo>
                      <a:cubicBezTo>
                        <a:pt x="470344" y="230127"/>
                        <a:pt x="472582" y="227412"/>
                        <a:pt x="472630" y="224517"/>
                      </a:cubicBezTo>
                      <a:cubicBezTo>
                        <a:pt x="472745" y="217773"/>
                        <a:pt x="468467" y="211153"/>
                        <a:pt x="462810" y="207781"/>
                      </a:cubicBezTo>
                      <a:cubicBezTo>
                        <a:pt x="458152" y="205019"/>
                        <a:pt x="450332" y="206648"/>
                        <a:pt x="448913" y="201733"/>
                      </a:cubicBezTo>
                      <a:cubicBezTo>
                        <a:pt x="448103" y="198942"/>
                        <a:pt x="452818" y="199294"/>
                        <a:pt x="452370" y="197589"/>
                      </a:cubicBezTo>
                      <a:cubicBezTo>
                        <a:pt x="452009" y="196199"/>
                        <a:pt x="446284" y="194322"/>
                        <a:pt x="445246" y="192293"/>
                      </a:cubicBezTo>
                      <a:cubicBezTo>
                        <a:pt x="443312" y="188541"/>
                        <a:pt x="445160" y="178454"/>
                        <a:pt x="448837" y="176501"/>
                      </a:cubicBezTo>
                      <a:cubicBezTo>
                        <a:pt x="444103" y="170958"/>
                        <a:pt x="438893" y="167338"/>
                        <a:pt x="438150" y="159832"/>
                      </a:cubicBezTo>
                      <a:cubicBezTo>
                        <a:pt x="437359" y="151926"/>
                        <a:pt x="436264" y="141725"/>
                        <a:pt x="444464" y="137982"/>
                      </a:cubicBezTo>
                      <a:cubicBezTo>
                        <a:pt x="443388" y="138287"/>
                        <a:pt x="441826" y="138163"/>
                        <a:pt x="440645" y="138430"/>
                      </a:cubicBezTo>
                      <a:cubicBezTo>
                        <a:pt x="442693" y="127742"/>
                        <a:pt x="449704" y="117751"/>
                        <a:pt x="459466" y="113617"/>
                      </a:cubicBezTo>
                      <a:cubicBezTo>
                        <a:pt x="454980" y="117941"/>
                        <a:pt x="459381" y="123951"/>
                        <a:pt x="461971" y="128085"/>
                      </a:cubicBezTo>
                      <a:cubicBezTo>
                        <a:pt x="464705" y="132448"/>
                        <a:pt x="470477" y="135858"/>
                        <a:pt x="474259" y="139268"/>
                      </a:cubicBezTo>
                      <a:cubicBezTo>
                        <a:pt x="478421" y="143011"/>
                        <a:pt x="483984" y="149898"/>
                        <a:pt x="489708" y="150060"/>
                      </a:cubicBezTo>
                      <a:cubicBezTo>
                        <a:pt x="495956" y="150241"/>
                        <a:pt x="501833" y="144507"/>
                        <a:pt x="508577" y="144459"/>
                      </a:cubicBezTo>
                      <a:cubicBezTo>
                        <a:pt x="514483" y="144421"/>
                        <a:pt x="520731" y="147297"/>
                        <a:pt x="526417" y="145754"/>
                      </a:cubicBezTo>
                      <a:cubicBezTo>
                        <a:pt x="533161" y="143916"/>
                        <a:pt x="536514" y="141277"/>
                        <a:pt x="540029" y="135267"/>
                      </a:cubicBezTo>
                      <a:cubicBezTo>
                        <a:pt x="543811" y="128800"/>
                        <a:pt x="548935" y="128352"/>
                        <a:pt x="556907" y="128228"/>
                      </a:cubicBezTo>
                      <a:cubicBezTo>
                        <a:pt x="559736" y="128181"/>
                        <a:pt x="563070" y="127562"/>
                        <a:pt x="565699" y="128733"/>
                      </a:cubicBezTo>
                      <a:cubicBezTo>
                        <a:pt x="566318" y="129009"/>
                        <a:pt x="566166" y="131591"/>
                        <a:pt x="567346" y="132333"/>
                      </a:cubicBezTo>
                      <a:cubicBezTo>
                        <a:pt x="571366" y="134820"/>
                        <a:pt x="578929" y="136420"/>
                        <a:pt x="583425" y="136944"/>
                      </a:cubicBezTo>
                      <a:cubicBezTo>
                        <a:pt x="587835" y="137458"/>
                        <a:pt x="586282" y="138039"/>
                        <a:pt x="590769" y="135648"/>
                      </a:cubicBezTo>
                      <a:cubicBezTo>
                        <a:pt x="594493" y="133667"/>
                        <a:pt x="595312" y="132400"/>
                        <a:pt x="599608" y="131695"/>
                      </a:cubicBezTo>
                      <a:cubicBezTo>
                        <a:pt x="603827" y="131000"/>
                        <a:pt x="612638" y="132143"/>
                        <a:pt x="615172" y="130514"/>
                      </a:cubicBezTo>
                      <a:cubicBezTo>
                        <a:pt x="616857" y="129428"/>
                        <a:pt x="617524" y="125457"/>
                        <a:pt x="618391" y="123780"/>
                      </a:cubicBezTo>
                      <a:cubicBezTo>
                        <a:pt x="618725" y="123113"/>
                        <a:pt x="621258" y="118637"/>
                        <a:pt x="621344" y="118399"/>
                      </a:cubicBezTo>
                      <a:cubicBezTo>
                        <a:pt x="621734" y="117275"/>
                        <a:pt x="622973" y="116493"/>
                        <a:pt x="623201" y="114817"/>
                      </a:cubicBezTo>
                      <a:cubicBezTo>
                        <a:pt x="623430" y="113179"/>
                        <a:pt x="620506" y="111169"/>
                        <a:pt x="620906" y="108978"/>
                      </a:cubicBezTo>
                      <a:cubicBezTo>
                        <a:pt x="621849" y="103854"/>
                        <a:pt x="631240" y="103787"/>
                        <a:pt x="632764" y="98967"/>
                      </a:cubicBezTo>
                      <a:cubicBezTo>
                        <a:pt x="633755" y="95824"/>
                        <a:pt x="630697" y="94662"/>
                        <a:pt x="630526" y="90871"/>
                      </a:cubicBezTo>
                      <a:cubicBezTo>
                        <a:pt x="630431" y="89033"/>
                        <a:pt x="630116" y="88080"/>
                        <a:pt x="631116" y="86318"/>
                      </a:cubicBezTo>
                      <a:cubicBezTo>
                        <a:pt x="633555" y="82061"/>
                        <a:pt x="635174" y="84347"/>
                        <a:pt x="637565" y="83061"/>
                      </a:cubicBezTo>
                      <a:cubicBezTo>
                        <a:pt x="642709" y="80289"/>
                        <a:pt x="643489" y="75917"/>
                        <a:pt x="643956" y="69602"/>
                      </a:cubicBezTo>
                      <a:cubicBezTo>
                        <a:pt x="644452" y="63001"/>
                        <a:pt x="642194" y="56333"/>
                        <a:pt x="644699" y="49771"/>
                      </a:cubicBezTo>
                      <a:cubicBezTo>
                        <a:pt x="649947" y="35931"/>
                        <a:pt x="662549" y="43160"/>
                        <a:pt x="673312" y="40170"/>
                      </a:cubicBezTo>
                      <a:lnTo>
                        <a:pt x="673312" y="40170"/>
                      </a:lnTo>
                      <a:close/>
                      <a:moveTo>
                        <a:pt x="40395" y="12776"/>
                      </a:moveTo>
                      <a:cubicBezTo>
                        <a:pt x="46158" y="13909"/>
                        <a:pt x="52082" y="11661"/>
                        <a:pt x="58054" y="12443"/>
                      </a:cubicBezTo>
                      <a:cubicBezTo>
                        <a:pt x="63170" y="13119"/>
                        <a:pt x="69341" y="11499"/>
                        <a:pt x="73942" y="13795"/>
                      </a:cubicBezTo>
                      <a:cubicBezTo>
                        <a:pt x="78457" y="16043"/>
                        <a:pt x="84543" y="22672"/>
                        <a:pt x="87515" y="26587"/>
                      </a:cubicBezTo>
                      <a:cubicBezTo>
                        <a:pt x="90611" y="30673"/>
                        <a:pt x="96364" y="36131"/>
                        <a:pt x="98174" y="40636"/>
                      </a:cubicBezTo>
                      <a:cubicBezTo>
                        <a:pt x="99441" y="43761"/>
                        <a:pt x="96955" y="44999"/>
                        <a:pt x="99631" y="48171"/>
                      </a:cubicBezTo>
                      <a:cubicBezTo>
                        <a:pt x="101498" y="50371"/>
                        <a:pt x="105708" y="50543"/>
                        <a:pt x="108166" y="52143"/>
                      </a:cubicBezTo>
                      <a:cubicBezTo>
                        <a:pt x="113490" y="55619"/>
                        <a:pt x="116709" y="59677"/>
                        <a:pt x="122862" y="62668"/>
                      </a:cubicBezTo>
                      <a:cubicBezTo>
                        <a:pt x="134464" y="68325"/>
                        <a:pt x="146827" y="76231"/>
                        <a:pt x="154457" y="86718"/>
                      </a:cubicBezTo>
                      <a:cubicBezTo>
                        <a:pt x="162601" y="97910"/>
                        <a:pt x="171935" y="109864"/>
                        <a:pt x="184242" y="116132"/>
                      </a:cubicBezTo>
                      <a:cubicBezTo>
                        <a:pt x="184223" y="112217"/>
                        <a:pt x="178498" y="106883"/>
                        <a:pt x="184956" y="105311"/>
                      </a:cubicBezTo>
                      <a:cubicBezTo>
                        <a:pt x="188880" y="104359"/>
                        <a:pt x="194900" y="110988"/>
                        <a:pt x="196881" y="113769"/>
                      </a:cubicBezTo>
                      <a:cubicBezTo>
                        <a:pt x="201501" y="120237"/>
                        <a:pt x="200015" y="122323"/>
                        <a:pt x="207854" y="125028"/>
                      </a:cubicBezTo>
                      <a:cubicBezTo>
                        <a:pt x="213226" y="126885"/>
                        <a:pt x="218360" y="129371"/>
                        <a:pt x="222160" y="134039"/>
                      </a:cubicBezTo>
                      <a:cubicBezTo>
                        <a:pt x="229095" y="142535"/>
                        <a:pt x="227171" y="151317"/>
                        <a:pt x="240220" y="154174"/>
                      </a:cubicBezTo>
                      <a:cubicBezTo>
                        <a:pt x="243715" y="154946"/>
                        <a:pt x="254555" y="155565"/>
                        <a:pt x="253717" y="161994"/>
                      </a:cubicBezTo>
                      <a:cubicBezTo>
                        <a:pt x="253117" y="166662"/>
                        <a:pt x="240991" y="169491"/>
                        <a:pt x="237515" y="170691"/>
                      </a:cubicBezTo>
                      <a:cubicBezTo>
                        <a:pt x="244049" y="169900"/>
                        <a:pt x="248564" y="168700"/>
                        <a:pt x="254231" y="165471"/>
                      </a:cubicBezTo>
                      <a:cubicBezTo>
                        <a:pt x="260413" y="161937"/>
                        <a:pt x="263204" y="159918"/>
                        <a:pt x="269071" y="164557"/>
                      </a:cubicBezTo>
                      <a:cubicBezTo>
                        <a:pt x="271167" y="166214"/>
                        <a:pt x="273957" y="169052"/>
                        <a:pt x="274872" y="171605"/>
                      </a:cubicBezTo>
                      <a:cubicBezTo>
                        <a:pt x="276625" y="176472"/>
                        <a:pt x="275968" y="175206"/>
                        <a:pt x="273005" y="178539"/>
                      </a:cubicBezTo>
                      <a:cubicBezTo>
                        <a:pt x="271005" y="180778"/>
                        <a:pt x="266643" y="180806"/>
                        <a:pt x="265004" y="183969"/>
                      </a:cubicBezTo>
                      <a:cubicBezTo>
                        <a:pt x="264214" y="185502"/>
                        <a:pt x="265804" y="188912"/>
                        <a:pt x="265852" y="189807"/>
                      </a:cubicBezTo>
                      <a:cubicBezTo>
                        <a:pt x="265871" y="190093"/>
                        <a:pt x="267500" y="191265"/>
                        <a:pt x="267633" y="192217"/>
                      </a:cubicBezTo>
                      <a:cubicBezTo>
                        <a:pt x="267756" y="193113"/>
                        <a:pt x="265071" y="193846"/>
                        <a:pt x="265309" y="195332"/>
                      </a:cubicBezTo>
                      <a:cubicBezTo>
                        <a:pt x="265700" y="197818"/>
                        <a:pt x="267966" y="200856"/>
                        <a:pt x="269757" y="202580"/>
                      </a:cubicBezTo>
                      <a:cubicBezTo>
                        <a:pt x="273862" y="206552"/>
                        <a:pt x="282415" y="209638"/>
                        <a:pt x="288083" y="210457"/>
                      </a:cubicBezTo>
                      <a:cubicBezTo>
                        <a:pt x="295494" y="211524"/>
                        <a:pt x="295341" y="211239"/>
                        <a:pt x="296674" y="219544"/>
                      </a:cubicBezTo>
                      <a:cubicBezTo>
                        <a:pt x="297494" y="224650"/>
                        <a:pt x="297094" y="232851"/>
                        <a:pt x="299809" y="237204"/>
                      </a:cubicBezTo>
                      <a:cubicBezTo>
                        <a:pt x="302733" y="241900"/>
                        <a:pt x="310905" y="240538"/>
                        <a:pt x="307943" y="247900"/>
                      </a:cubicBezTo>
                      <a:cubicBezTo>
                        <a:pt x="307362" y="249339"/>
                        <a:pt x="296951" y="257301"/>
                        <a:pt x="302790" y="259273"/>
                      </a:cubicBezTo>
                      <a:cubicBezTo>
                        <a:pt x="304580" y="259873"/>
                        <a:pt x="310943" y="252587"/>
                        <a:pt x="314201" y="251767"/>
                      </a:cubicBezTo>
                      <a:cubicBezTo>
                        <a:pt x="321192" y="250005"/>
                        <a:pt x="328012" y="252787"/>
                        <a:pt x="332679" y="257635"/>
                      </a:cubicBezTo>
                      <a:cubicBezTo>
                        <a:pt x="335746" y="260826"/>
                        <a:pt x="344947" y="271199"/>
                        <a:pt x="345242" y="276209"/>
                      </a:cubicBezTo>
                      <a:cubicBezTo>
                        <a:pt x="345548" y="281400"/>
                        <a:pt x="340204" y="283800"/>
                        <a:pt x="338728" y="288791"/>
                      </a:cubicBezTo>
                      <a:cubicBezTo>
                        <a:pt x="337080" y="294382"/>
                        <a:pt x="340128" y="297135"/>
                        <a:pt x="338918" y="302507"/>
                      </a:cubicBezTo>
                      <a:cubicBezTo>
                        <a:pt x="337270" y="309784"/>
                        <a:pt x="337566" y="314899"/>
                        <a:pt x="337280" y="322615"/>
                      </a:cubicBezTo>
                      <a:cubicBezTo>
                        <a:pt x="337013" y="330035"/>
                        <a:pt x="335927" y="362934"/>
                        <a:pt x="326097" y="360334"/>
                      </a:cubicBezTo>
                      <a:cubicBezTo>
                        <a:pt x="320325" y="358809"/>
                        <a:pt x="322402" y="351085"/>
                        <a:pt x="314344" y="354657"/>
                      </a:cubicBezTo>
                      <a:cubicBezTo>
                        <a:pt x="310696" y="356266"/>
                        <a:pt x="311038" y="358286"/>
                        <a:pt x="307095" y="357867"/>
                      </a:cubicBezTo>
                      <a:cubicBezTo>
                        <a:pt x="303618" y="357495"/>
                        <a:pt x="298646" y="353114"/>
                        <a:pt x="295703" y="351390"/>
                      </a:cubicBezTo>
                      <a:cubicBezTo>
                        <a:pt x="292798" y="356876"/>
                        <a:pt x="299151" y="369782"/>
                        <a:pt x="289017" y="359286"/>
                      </a:cubicBezTo>
                      <a:cubicBezTo>
                        <a:pt x="282358" y="352390"/>
                        <a:pt x="277444" y="343284"/>
                        <a:pt x="270605" y="336788"/>
                      </a:cubicBezTo>
                      <a:cubicBezTo>
                        <a:pt x="257603" y="324434"/>
                        <a:pt x="239401" y="318319"/>
                        <a:pt x="228543" y="303126"/>
                      </a:cubicBezTo>
                      <a:cubicBezTo>
                        <a:pt x="225790" y="299288"/>
                        <a:pt x="224285" y="294392"/>
                        <a:pt x="221037" y="290887"/>
                      </a:cubicBezTo>
                      <a:cubicBezTo>
                        <a:pt x="217741" y="287344"/>
                        <a:pt x="212855" y="285086"/>
                        <a:pt x="209187" y="281857"/>
                      </a:cubicBezTo>
                      <a:cubicBezTo>
                        <a:pt x="202501" y="275971"/>
                        <a:pt x="199186" y="267455"/>
                        <a:pt x="193157" y="261159"/>
                      </a:cubicBezTo>
                      <a:cubicBezTo>
                        <a:pt x="190290" y="258159"/>
                        <a:pt x="187651" y="255054"/>
                        <a:pt x="185594" y="251358"/>
                      </a:cubicBezTo>
                      <a:cubicBezTo>
                        <a:pt x="182813" y="246329"/>
                        <a:pt x="184137" y="242538"/>
                        <a:pt x="182794" y="237613"/>
                      </a:cubicBezTo>
                      <a:cubicBezTo>
                        <a:pt x="180203" y="228041"/>
                        <a:pt x="171945" y="219583"/>
                        <a:pt x="168640" y="209953"/>
                      </a:cubicBezTo>
                      <a:cubicBezTo>
                        <a:pt x="165277" y="200171"/>
                        <a:pt x="158581" y="195627"/>
                        <a:pt x="152771" y="187407"/>
                      </a:cubicBezTo>
                      <a:cubicBezTo>
                        <a:pt x="150228" y="183816"/>
                        <a:pt x="149599" y="178673"/>
                        <a:pt x="146237" y="175625"/>
                      </a:cubicBezTo>
                      <a:cubicBezTo>
                        <a:pt x="142998" y="172682"/>
                        <a:pt x="138169" y="172529"/>
                        <a:pt x="134673" y="169976"/>
                      </a:cubicBezTo>
                      <a:cubicBezTo>
                        <a:pt x="127882" y="165004"/>
                        <a:pt x="126930" y="154803"/>
                        <a:pt x="124196" y="147145"/>
                      </a:cubicBezTo>
                      <a:cubicBezTo>
                        <a:pt x="121157" y="138572"/>
                        <a:pt x="119471" y="128752"/>
                        <a:pt x="113871" y="121342"/>
                      </a:cubicBezTo>
                      <a:cubicBezTo>
                        <a:pt x="108699" y="114493"/>
                        <a:pt x="99707" y="109893"/>
                        <a:pt x="91801" y="106587"/>
                      </a:cubicBezTo>
                      <a:cubicBezTo>
                        <a:pt x="87830" y="104921"/>
                        <a:pt x="85658" y="105911"/>
                        <a:pt x="83133" y="102034"/>
                      </a:cubicBezTo>
                      <a:cubicBezTo>
                        <a:pt x="80562" y="98101"/>
                        <a:pt x="82381" y="92291"/>
                        <a:pt x="79667" y="88376"/>
                      </a:cubicBezTo>
                      <a:cubicBezTo>
                        <a:pt x="77619" y="85433"/>
                        <a:pt x="72923" y="83566"/>
                        <a:pt x="70370" y="80565"/>
                      </a:cubicBezTo>
                      <a:cubicBezTo>
                        <a:pt x="67237" y="76889"/>
                        <a:pt x="64760" y="72431"/>
                        <a:pt x="61693" y="68640"/>
                      </a:cubicBezTo>
                      <a:cubicBezTo>
                        <a:pt x="54701" y="60020"/>
                        <a:pt x="45529" y="60468"/>
                        <a:pt x="38090" y="52847"/>
                      </a:cubicBezTo>
                      <a:cubicBezTo>
                        <a:pt x="24946" y="39350"/>
                        <a:pt x="3152" y="27968"/>
                        <a:pt x="456" y="8070"/>
                      </a:cubicBezTo>
                      <a:cubicBezTo>
                        <a:pt x="-57" y="4327"/>
                        <a:pt x="-753" y="3136"/>
                        <a:pt x="2247" y="1050"/>
                      </a:cubicBezTo>
                      <a:cubicBezTo>
                        <a:pt x="5077" y="-921"/>
                        <a:pt x="10982" y="308"/>
                        <a:pt x="14011" y="1298"/>
                      </a:cubicBezTo>
                      <a:cubicBezTo>
                        <a:pt x="18859" y="2879"/>
                        <a:pt x="21498" y="6766"/>
                        <a:pt x="25831" y="9166"/>
                      </a:cubicBezTo>
                      <a:cubicBezTo>
                        <a:pt x="30356" y="11652"/>
                        <a:pt x="35356" y="11995"/>
                        <a:pt x="40395" y="12776"/>
                      </a:cubicBezTo>
                      <a:lnTo>
                        <a:pt x="40395" y="12776"/>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36" name="Freeform: Shape 635">
                  <a:extLst>
                    <a:ext uri="{FF2B5EF4-FFF2-40B4-BE49-F238E27FC236}">
                      <a16:creationId xmlns:a16="http://schemas.microsoft.com/office/drawing/2014/main" id="{770A90C7-0286-4BDD-8CC7-D64245C7772D}"/>
                    </a:ext>
                  </a:extLst>
                </p:cNvPr>
                <p:cNvSpPr/>
                <p:nvPr/>
              </p:nvSpPr>
              <p:spPr>
                <a:xfrm>
                  <a:off x="6020352" y="2835534"/>
                  <a:ext cx="174487" cy="87837"/>
                </a:xfrm>
                <a:custGeom>
                  <a:avLst/>
                  <a:gdLst>
                    <a:gd name="connsiteX0" fmla="*/ 153219 w 174487"/>
                    <a:gd name="connsiteY0" fmla="*/ 4590 h 87837"/>
                    <a:gd name="connsiteX1" fmla="*/ 159343 w 174487"/>
                    <a:gd name="connsiteY1" fmla="*/ 9047 h 87837"/>
                    <a:gd name="connsiteX2" fmla="*/ 171250 w 174487"/>
                    <a:gd name="connsiteY2" fmla="*/ 13953 h 87837"/>
                    <a:gd name="connsiteX3" fmla="*/ 162839 w 174487"/>
                    <a:gd name="connsiteY3" fmla="*/ 25240 h 87837"/>
                    <a:gd name="connsiteX4" fmla="*/ 149714 w 174487"/>
                    <a:gd name="connsiteY4" fmla="*/ 44518 h 87837"/>
                    <a:gd name="connsiteX5" fmla="*/ 138798 w 174487"/>
                    <a:gd name="connsiteY5" fmla="*/ 63683 h 87837"/>
                    <a:gd name="connsiteX6" fmla="*/ 136007 w 174487"/>
                    <a:gd name="connsiteY6" fmla="*/ 71274 h 87837"/>
                    <a:gd name="connsiteX7" fmla="*/ 128711 w 174487"/>
                    <a:gd name="connsiteY7" fmla="*/ 72208 h 87837"/>
                    <a:gd name="connsiteX8" fmla="*/ 125520 w 174487"/>
                    <a:gd name="connsiteY8" fmla="*/ 74608 h 87837"/>
                    <a:gd name="connsiteX9" fmla="*/ 113071 w 174487"/>
                    <a:gd name="connsiteY9" fmla="*/ 76894 h 87837"/>
                    <a:gd name="connsiteX10" fmla="*/ 98327 w 174487"/>
                    <a:gd name="connsiteY10" fmla="*/ 75465 h 87837"/>
                    <a:gd name="connsiteX11" fmla="*/ 79219 w 174487"/>
                    <a:gd name="connsiteY11" fmla="*/ 82323 h 87837"/>
                    <a:gd name="connsiteX12" fmla="*/ 53864 w 174487"/>
                    <a:gd name="connsiteY12" fmla="*/ 87610 h 87837"/>
                    <a:gd name="connsiteX13" fmla="*/ 20669 w 174487"/>
                    <a:gd name="connsiteY13" fmla="*/ 68512 h 87837"/>
                    <a:gd name="connsiteX14" fmla="*/ 8344 w 174487"/>
                    <a:gd name="connsiteY14" fmla="*/ 59939 h 87837"/>
                    <a:gd name="connsiteX15" fmla="*/ 0 w 174487"/>
                    <a:gd name="connsiteY15" fmla="*/ 53186 h 87837"/>
                    <a:gd name="connsiteX16" fmla="*/ 9525 w 174487"/>
                    <a:gd name="connsiteY16" fmla="*/ 47052 h 87837"/>
                    <a:gd name="connsiteX17" fmla="*/ 7906 w 174487"/>
                    <a:gd name="connsiteY17" fmla="*/ 40908 h 87837"/>
                    <a:gd name="connsiteX18" fmla="*/ 12087 w 174487"/>
                    <a:gd name="connsiteY18" fmla="*/ 34774 h 87837"/>
                    <a:gd name="connsiteX19" fmla="*/ 6010 w 174487"/>
                    <a:gd name="connsiteY19" fmla="*/ 27631 h 87837"/>
                    <a:gd name="connsiteX20" fmla="*/ 22898 w 174487"/>
                    <a:gd name="connsiteY20" fmla="*/ 26592 h 87837"/>
                    <a:gd name="connsiteX21" fmla="*/ 23288 w 174487"/>
                    <a:gd name="connsiteY21" fmla="*/ 17858 h 87837"/>
                    <a:gd name="connsiteX22" fmla="*/ 36947 w 174487"/>
                    <a:gd name="connsiteY22" fmla="*/ 23040 h 87837"/>
                    <a:gd name="connsiteX23" fmla="*/ 56740 w 174487"/>
                    <a:gd name="connsiteY23" fmla="*/ 24554 h 87837"/>
                    <a:gd name="connsiteX24" fmla="*/ 66465 w 174487"/>
                    <a:gd name="connsiteY24" fmla="*/ 23773 h 87837"/>
                    <a:gd name="connsiteX25" fmla="*/ 66360 w 174487"/>
                    <a:gd name="connsiteY25" fmla="*/ 19277 h 87837"/>
                    <a:gd name="connsiteX26" fmla="*/ 83886 w 174487"/>
                    <a:gd name="connsiteY26" fmla="*/ 14038 h 87837"/>
                    <a:gd name="connsiteX27" fmla="*/ 88249 w 174487"/>
                    <a:gd name="connsiteY27" fmla="*/ 10343 h 87837"/>
                    <a:gd name="connsiteX28" fmla="*/ 96126 w 174487"/>
                    <a:gd name="connsiteY28" fmla="*/ 13105 h 87837"/>
                    <a:gd name="connsiteX29" fmla="*/ 103127 w 174487"/>
                    <a:gd name="connsiteY29" fmla="*/ 9609 h 87837"/>
                    <a:gd name="connsiteX30" fmla="*/ 109394 w 174487"/>
                    <a:gd name="connsiteY30" fmla="*/ 1770 h 87837"/>
                    <a:gd name="connsiteX31" fmla="*/ 124863 w 174487"/>
                    <a:gd name="connsiteY31" fmla="*/ 1437 h 87837"/>
                    <a:gd name="connsiteX32" fmla="*/ 139551 w 174487"/>
                    <a:gd name="connsiteY32" fmla="*/ 3485 h 87837"/>
                    <a:gd name="connsiteX33" fmla="*/ 153219 w 174487"/>
                    <a:gd name="connsiteY33" fmla="*/ 4590 h 87837"/>
                    <a:gd name="connsiteX34" fmla="*/ 153219 w 174487"/>
                    <a:gd name="connsiteY34" fmla="*/ 4590 h 87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74487" h="87837">
                      <a:moveTo>
                        <a:pt x="153219" y="4590"/>
                      </a:moveTo>
                      <a:cubicBezTo>
                        <a:pt x="157486" y="3475"/>
                        <a:pt x="156638" y="7018"/>
                        <a:pt x="159343" y="9047"/>
                      </a:cubicBezTo>
                      <a:cubicBezTo>
                        <a:pt x="162477" y="11400"/>
                        <a:pt x="168630" y="12019"/>
                        <a:pt x="171250" y="13953"/>
                      </a:cubicBezTo>
                      <a:cubicBezTo>
                        <a:pt x="180432" y="20725"/>
                        <a:pt x="167659" y="23230"/>
                        <a:pt x="162839" y="25240"/>
                      </a:cubicBezTo>
                      <a:cubicBezTo>
                        <a:pt x="154696" y="28650"/>
                        <a:pt x="152886" y="37118"/>
                        <a:pt x="149714" y="44518"/>
                      </a:cubicBezTo>
                      <a:cubicBezTo>
                        <a:pt x="146675" y="51634"/>
                        <a:pt x="142589" y="57539"/>
                        <a:pt x="138798" y="63683"/>
                      </a:cubicBezTo>
                      <a:cubicBezTo>
                        <a:pt x="137503" y="65778"/>
                        <a:pt x="138779" y="69388"/>
                        <a:pt x="136007" y="71274"/>
                      </a:cubicBezTo>
                      <a:cubicBezTo>
                        <a:pt x="133159" y="73217"/>
                        <a:pt x="131502" y="71198"/>
                        <a:pt x="128711" y="72208"/>
                      </a:cubicBezTo>
                      <a:cubicBezTo>
                        <a:pt x="127749" y="72560"/>
                        <a:pt x="125654" y="74579"/>
                        <a:pt x="125520" y="74608"/>
                      </a:cubicBezTo>
                      <a:cubicBezTo>
                        <a:pt x="122063" y="75398"/>
                        <a:pt x="116910" y="76799"/>
                        <a:pt x="113071" y="76894"/>
                      </a:cubicBezTo>
                      <a:cubicBezTo>
                        <a:pt x="108518" y="76999"/>
                        <a:pt x="103299" y="74713"/>
                        <a:pt x="98327" y="75465"/>
                      </a:cubicBezTo>
                      <a:cubicBezTo>
                        <a:pt x="91869" y="76446"/>
                        <a:pt x="85334" y="80923"/>
                        <a:pt x="79219" y="82323"/>
                      </a:cubicBezTo>
                      <a:cubicBezTo>
                        <a:pt x="69723" y="84495"/>
                        <a:pt x="64798" y="88886"/>
                        <a:pt x="53864" y="87610"/>
                      </a:cubicBezTo>
                      <a:cubicBezTo>
                        <a:pt x="40691" y="86066"/>
                        <a:pt x="31089" y="75789"/>
                        <a:pt x="20669" y="68512"/>
                      </a:cubicBezTo>
                      <a:cubicBezTo>
                        <a:pt x="16126" y="65340"/>
                        <a:pt x="11544" y="64769"/>
                        <a:pt x="8344" y="59939"/>
                      </a:cubicBezTo>
                      <a:cubicBezTo>
                        <a:pt x="6029" y="56425"/>
                        <a:pt x="6324" y="51662"/>
                        <a:pt x="0" y="53186"/>
                      </a:cubicBezTo>
                      <a:cubicBezTo>
                        <a:pt x="2686" y="50272"/>
                        <a:pt x="8544" y="49671"/>
                        <a:pt x="9525" y="47052"/>
                      </a:cubicBezTo>
                      <a:cubicBezTo>
                        <a:pt x="10363" y="44804"/>
                        <a:pt x="8068" y="43166"/>
                        <a:pt x="7906" y="40908"/>
                      </a:cubicBezTo>
                      <a:cubicBezTo>
                        <a:pt x="7391" y="33689"/>
                        <a:pt x="10315" y="39375"/>
                        <a:pt x="12087" y="34774"/>
                      </a:cubicBezTo>
                      <a:cubicBezTo>
                        <a:pt x="14297" y="29012"/>
                        <a:pt x="9858" y="30012"/>
                        <a:pt x="6010" y="27631"/>
                      </a:cubicBezTo>
                      <a:cubicBezTo>
                        <a:pt x="9935" y="23487"/>
                        <a:pt x="17250" y="27440"/>
                        <a:pt x="22898" y="26592"/>
                      </a:cubicBezTo>
                      <a:cubicBezTo>
                        <a:pt x="21488" y="24297"/>
                        <a:pt x="21050" y="19525"/>
                        <a:pt x="23288" y="17858"/>
                      </a:cubicBezTo>
                      <a:cubicBezTo>
                        <a:pt x="27584" y="14667"/>
                        <a:pt x="33109" y="21449"/>
                        <a:pt x="36947" y="23040"/>
                      </a:cubicBezTo>
                      <a:cubicBezTo>
                        <a:pt x="43139" y="25621"/>
                        <a:pt x="50111" y="24830"/>
                        <a:pt x="56740" y="24554"/>
                      </a:cubicBezTo>
                      <a:cubicBezTo>
                        <a:pt x="58941" y="24459"/>
                        <a:pt x="65036" y="25116"/>
                        <a:pt x="66465" y="23773"/>
                      </a:cubicBezTo>
                      <a:cubicBezTo>
                        <a:pt x="68418" y="21935"/>
                        <a:pt x="65332" y="20687"/>
                        <a:pt x="66360" y="19277"/>
                      </a:cubicBezTo>
                      <a:cubicBezTo>
                        <a:pt x="70609" y="13495"/>
                        <a:pt x="77619" y="16563"/>
                        <a:pt x="83886" y="14038"/>
                      </a:cubicBezTo>
                      <a:cubicBezTo>
                        <a:pt x="85677" y="13315"/>
                        <a:pt x="85592" y="10648"/>
                        <a:pt x="88249" y="10343"/>
                      </a:cubicBezTo>
                      <a:cubicBezTo>
                        <a:pt x="90906" y="10047"/>
                        <a:pt x="93402" y="13295"/>
                        <a:pt x="96126" y="13105"/>
                      </a:cubicBezTo>
                      <a:cubicBezTo>
                        <a:pt x="98069" y="12962"/>
                        <a:pt x="101489" y="10762"/>
                        <a:pt x="103127" y="9609"/>
                      </a:cubicBezTo>
                      <a:cubicBezTo>
                        <a:pt x="106604" y="7161"/>
                        <a:pt x="106461" y="4399"/>
                        <a:pt x="109394" y="1770"/>
                      </a:cubicBezTo>
                      <a:cubicBezTo>
                        <a:pt x="113557" y="-1944"/>
                        <a:pt x="119643" y="1323"/>
                        <a:pt x="124863" y="1437"/>
                      </a:cubicBezTo>
                      <a:cubicBezTo>
                        <a:pt x="132416" y="1599"/>
                        <a:pt x="133235" y="-268"/>
                        <a:pt x="139551" y="3485"/>
                      </a:cubicBezTo>
                      <a:cubicBezTo>
                        <a:pt x="144780" y="6561"/>
                        <a:pt x="146266" y="7133"/>
                        <a:pt x="153219" y="4590"/>
                      </a:cubicBezTo>
                      <a:lnTo>
                        <a:pt x="153219" y="459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37" name="Freeform: Shape 636">
                  <a:extLst>
                    <a:ext uri="{FF2B5EF4-FFF2-40B4-BE49-F238E27FC236}">
                      <a16:creationId xmlns:a16="http://schemas.microsoft.com/office/drawing/2014/main" id="{A6C9BCB7-175D-47B2-B0F4-E81DCBBAB95F}"/>
                    </a:ext>
                  </a:extLst>
                </p:cNvPr>
                <p:cNvSpPr/>
                <p:nvPr/>
              </p:nvSpPr>
              <p:spPr>
                <a:xfrm>
                  <a:off x="3307953" y="3737481"/>
                  <a:ext cx="91651" cy="59181"/>
                </a:xfrm>
                <a:custGeom>
                  <a:avLst/>
                  <a:gdLst>
                    <a:gd name="connsiteX0" fmla="*/ 85546 w 91651"/>
                    <a:gd name="connsiteY0" fmla="*/ 6184 h 59181"/>
                    <a:gd name="connsiteX1" fmla="*/ 91271 w 91651"/>
                    <a:gd name="connsiteY1" fmla="*/ 14605 h 59181"/>
                    <a:gd name="connsiteX2" fmla="*/ 89042 w 91651"/>
                    <a:gd name="connsiteY2" fmla="*/ 19605 h 59181"/>
                    <a:gd name="connsiteX3" fmla="*/ 91195 w 91651"/>
                    <a:gd name="connsiteY3" fmla="*/ 24015 h 59181"/>
                    <a:gd name="connsiteX4" fmla="*/ 86432 w 91651"/>
                    <a:gd name="connsiteY4" fmla="*/ 28397 h 59181"/>
                    <a:gd name="connsiteX5" fmla="*/ 86594 w 91651"/>
                    <a:gd name="connsiteY5" fmla="*/ 34274 h 59181"/>
                    <a:gd name="connsiteX6" fmla="*/ 76850 w 91651"/>
                    <a:gd name="connsiteY6" fmla="*/ 41579 h 59181"/>
                    <a:gd name="connsiteX7" fmla="*/ 82565 w 91651"/>
                    <a:gd name="connsiteY7" fmla="*/ 49666 h 59181"/>
                    <a:gd name="connsiteX8" fmla="*/ 80498 w 91651"/>
                    <a:gd name="connsiteY8" fmla="*/ 59182 h 59181"/>
                    <a:gd name="connsiteX9" fmla="*/ 57086 w 91651"/>
                    <a:gd name="connsiteY9" fmla="*/ 54019 h 59181"/>
                    <a:gd name="connsiteX10" fmla="*/ 32101 w 91651"/>
                    <a:gd name="connsiteY10" fmla="*/ 52514 h 59181"/>
                    <a:gd name="connsiteX11" fmla="*/ 21014 w 91651"/>
                    <a:gd name="connsiteY11" fmla="*/ 54276 h 59181"/>
                    <a:gd name="connsiteX12" fmla="*/ 12890 w 91651"/>
                    <a:gd name="connsiteY12" fmla="*/ 55896 h 59181"/>
                    <a:gd name="connsiteX13" fmla="*/ 564 w 91651"/>
                    <a:gd name="connsiteY13" fmla="*/ 48771 h 59181"/>
                    <a:gd name="connsiteX14" fmla="*/ 7651 w 91651"/>
                    <a:gd name="connsiteY14" fmla="*/ 39674 h 59181"/>
                    <a:gd name="connsiteX15" fmla="*/ 32873 w 91651"/>
                    <a:gd name="connsiteY15" fmla="*/ 44513 h 59181"/>
                    <a:gd name="connsiteX16" fmla="*/ 48265 w 91651"/>
                    <a:gd name="connsiteY16" fmla="*/ 46132 h 59181"/>
                    <a:gd name="connsiteX17" fmla="*/ 56828 w 91651"/>
                    <a:gd name="connsiteY17" fmla="*/ 43608 h 59181"/>
                    <a:gd name="connsiteX18" fmla="*/ 66334 w 91651"/>
                    <a:gd name="connsiteY18" fmla="*/ 40732 h 59181"/>
                    <a:gd name="connsiteX19" fmla="*/ 58791 w 91651"/>
                    <a:gd name="connsiteY19" fmla="*/ 32245 h 59181"/>
                    <a:gd name="connsiteX20" fmla="*/ 58229 w 91651"/>
                    <a:gd name="connsiteY20" fmla="*/ 19758 h 59181"/>
                    <a:gd name="connsiteX21" fmla="*/ 52885 w 91651"/>
                    <a:gd name="connsiteY21" fmla="*/ 10509 h 59181"/>
                    <a:gd name="connsiteX22" fmla="*/ 40236 w 91651"/>
                    <a:gd name="connsiteY22" fmla="*/ 6146 h 59181"/>
                    <a:gd name="connsiteX23" fmla="*/ 53866 w 91651"/>
                    <a:gd name="connsiteY23" fmla="*/ 155 h 59181"/>
                    <a:gd name="connsiteX24" fmla="*/ 85546 w 91651"/>
                    <a:gd name="connsiteY24" fmla="*/ 6184 h 59181"/>
                    <a:gd name="connsiteX25" fmla="*/ 85546 w 91651"/>
                    <a:gd name="connsiteY25" fmla="*/ 6184 h 59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1651" h="59181">
                      <a:moveTo>
                        <a:pt x="85546" y="6184"/>
                      </a:moveTo>
                      <a:cubicBezTo>
                        <a:pt x="91842" y="6661"/>
                        <a:pt x="92195" y="7489"/>
                        <a:pt x="91271" y="14605"/>
                      </a:cubicBezTo>
                      <a:cubicBezTo>
                        <a:pt x="91023" y="16548"/>
                        <a:pt x="89223" y="17681"/>
                        <a:pt x="89042" y="19605"/>
                      </a:cubicBezTo>
                      <a:cubicBezTo>
                        <a:pt x="88861" y="21472"/>
                        <a:pt x="91890" y="21786"/>
                        <a:pt x="91195" y="24015"/>
                      </a:cubicBezTo>
                      <a:cubicBezTo>
                        <a:pt x="90547" y="26101"/>
                        <a:pt x="87270" y="26606"/>
                        <a:pt x="86432" y="28397"/>
                      </a:cubicBezTo>
                      <a:cubicBezTo>
                        <a:pt x="85232" y="30940"/>
                        <a:pt x="87299" y="31978"/>
                        <a:pt x="86594" y="34274"/>
                      </a:cubicBezTo>
                      <a:cubicBezTo>
                        <a:pt x="85203" y="38750"/>
                        <a:pt x="81631" y="41770"/>
                        <a:pt x="76850" y="41579"/>
                      </a:cubicBezTo>
                      <a:cubicBezTo>
                        <a:pt x="77888" y="43989"/>
                        <a:pt x="82051" y="47780"/>
                        <a:pt x="82565" y="49666"/>
                      </a:cubicBezTo>
                      <a:cubicBezTo>
                        <a:pt x="83403" y="52762"/>
                        <a:pt x="80879" y="55972"/>
                        <a:pt x="80498" y="59182"/>
                      </a:cubicBezTo>
                      <a:cubicBezTo>
                        <a:pt x="74583" y="51276"/>
                        <a:pt x="66020" y="52714"/>
                        <a:pt x="57086" y="54019"/>
                      </a:cubicBezTo>
                      <a:cubicBezTo>
                        <a:pt x="47875" y="55362"/>
                        <a:pt x="41331" y="53133"/>
                        <a:pt x="32101" y="52514"/>
                      </a:cubicBezTo>
                      <a:cubicBezTo>
                        <a:pt x="28720" y="52295"/>
                        <a:pt x="24053" y="52657"/>
                        <a:pt x="21014" y="54276"/>
                      </a:cubicBezTo>
                      <a:cubicBezTo>
                        <a:pt x="14299" y="57858"/>
                        <a:pt x="19033" y="59344"/>
                        <a:pt x="12890" y="55896"/>
                      </a:cubicBezTo>
                      <a:cubicBezTo>
                        <a:pt x="10584" y="54600"/>
                        <a:pt x="1517" y="50476"/>
                        <a:pt x="564" y="48771"/>
                      </a:cubicBezTo>
                      <a:cubicBezTo>
                        <a:pt x="-1846" y="44485"/>
                        <a:pt x="4022" y="40408"/>
                        <a:pt x="7651" y="39674"/>
                      </a:cubicBezTo>
                      <a:cubicBezTo>
                        <a:pt x="14747" y="38246"/>
                        <a:pt x="25672" y="43465"/>
                        <a:pt x="32873" y="44513"/>
                      </a:cubicBezTo>
                      <a:cubicBezTo>
                        <a:pt x="37826" y="45237"/>
                        <a:pt x="43265" y="46104"/>
                        <a:pt x="48265" y="46132"/>
                      </a:cubicBezTo>
                      <a:cubicBezTo>
                        <a:pt x="53333" y="46171"/>
                        <a:pt x="52685" y="44751"/>
                        <a:pt x="56828" y="43608"/>
                      </a:cubicBezTo>
                      <a:cubicBezTo>
                        <a:pt x="59248" y="42941"/>
                        <a:pt x="65315" y="44008"/>
                        <a:pt x="66334" y="40732"/>
                      </a:cubicBezTo>
                      <a:cubicBezTo>
                        <a:pt x="67087" y="38322"/>
                        <a:pt x="60391" y="34217"/>
                        <a:pt x="58791" y="32245"/>
                      </a:cubicBezTo>
                      <a:cubicBezTo>
                        <a:pt x="54504" y="26968"/>
                        <a:pt x="56562" y="25511"/>
                        <a:pt x="58229" y="19758"/>
                      </a:cubicBezTo>
                      <a:cubicBezTo>
                        <a:pt x="59914" y="13938"/>
                        <a:pt x="59991" y="13119"/>
                        <a:pt x="52885" y="10509"/>
                      </a:cubicBezTo>
                      <a:cubicBezTo>
                        <a:pt x="50161" y="9509"/>
                        <a:pt x="40293" y="10175"/>
                        <a:pt x="40236" y="6146"/>
                      </a:cubicBezTo>
                      <a:cubicBezTo>
                        <a:pt x="40179" y="1432"/>
                        <a:pt x="50742" y="489"/>
                        <a:pt x="53866" y="155"/>
                      </a:cubicBezTo>
                      <a:cubicBezTo>
                        <a:pt x="65287" y="-1055"/>
                        <a:pt x="74297" y="5175"/>
                        <a:pt x="85546" y="6184"/>
                      </a:cubicBezTo>
                      <a:lnTo>
                        <a:pt x="85546" y="6184"/>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38" name="Freeform: Shape 637">
                  <a:extLst>
                    <a:ext uri="{FF2B5EF4-FFF2-40B4-BE49-F238E27FC236}">
                      <a16:creationId xmlns:a16="http://schemas.microsoft.com/office/drawing/2014/main" id="{6E2B3CC7-A764-49E7-A935-2C824617CA43}"/>
                    </a:ext>
                  </a:extLst>
                </p:cNvPr>
                <p:cNvSpPr/>
                <p:nvPr/>
              </p:nvSpPr>
              <p:spPr>
                <a:xfrm>
                  <a:off x="5955702" y="2899139"/>
                  <a:ext cx="157991" cy="113045"/>
                </a:xfrm>
                <a:custGeom>
                  <a:avLst/>
                  <a:gdLst>
                    <a:gd name="connsiteX0" fmla="*/ 83519 w 157991"/>
                    <a:gd name="connsiteY0" fmla="*/ 3640 h 113045"/>
                    <a:gd name="connsiteX1" fmla="*/ 114456 w 157991"/>
                    <a:gd name="connsiteY1" fmla="*/ 23443 h 113045"/>
                    <a:gd name="connsiteX2" fmla="*/ 131448 w 157991"/>
                    <a:gd name="connsiteY2" fmla="*/ 23852 h 113045"/>
                    <a:gd name="connsiteX3" fmla="*/ 136430 w 157991"/>
                    <a:gd name="connsiteY3" fmla="*/ 19661 h 113045"/>
                    <a:gd name="connsiteX4" fmla="*/ 142726 w 157991"/>
                    <a:gd name="connsiteY4" fmla="*/ 18899 h 113045"/>
                    <a:gd name="connsiteX5" fmla="*/ 141316 w 157991"/>
                    <a:gd name="connsiteY5" fmla="*/ 21919 h 113045"/>
                    <a:gd name="connsiteX6" fmla="*/ 148546 w 157991"/>
                    <a:gd name="connsiteY6" fmla="*/ 32015 h 113045"/>
                    <a:gd name="connsiteX7" fmla="*/ 156223 w 157991"/>
                    <a:gd name="connsiteY7" fmla="*/ 39721 h 113045"/>
                    <a:gd name="connsiteX8" fmla="*/ 151679 w 157991"/>
                    <a:gd name="connsiteY8" fmla="*/ 42064 h 113045"/>
                    <a:gd name="connsiteX9" fmla="*/ 149908 w 157991"/>
                    <a:gd name="connsiteY9" fmla="*/ 43922 h 113045"/>
                    <a:gd name="connsiteX10" fmla="*/ 149403 w 157991"/>
                    <a:gd name="connsiteY10" fmla="*/ 52370 h 113045"/>
                    <a:gd name="connsiteX11" fmla="*/ 142364 w 157991"/>
                    <a:gd name="connsiteY11" fmla="*/ 48198 h 113045"/>
                    <a:gd name="connsiteX12" fmla="*/ 130039 w 157991"/>
                    <a:gd name="connsiteY12" fmla="*/ 44226 h 113045"/>
                    <a:gd name="connsiteX13" fmla="*/ 109245 w 157991"/>
                    <a:gd name="connsiteY13" fmla="*/ 44350 h 113045"/>
                    <a:gd name="connsiteX14" fmla="*/ 100368 w 157991"/>
                    <a:gd name="connsiteY14" fmla="*/ 43226 h 113045"/>
                    <a:gd name="connsiteX15" fmla="*/ 93748 w 157991"/>
                    <a:gd name="connsiteY15" fmla="*/ 40635 h 113045"/>
                    <a:gd name="connsiteX16" fmla="*/ 86405 w 157991"/>
                    <a:gd name="connsiteY16" fmla="*/ 41826 h 113045"/>
                    <a:gd name="connsiteX17" fmla="*/ 79232 w 157991"/>
                    <a:gd name="connsiteY17" fmla="*/ 44007 h 113045"/>
                    <a:gd name="connsiteX18" fmla="*/ 75080 w 157991"/>
                    <a:gd name="connsiteY18" fmla="*/ 47722 h 113045"/>
                    <a:gd name="connsiteX19" fmla="*/ 63506 w 157991"/>
                    <a:gd name="connsiteY19" fmla="*/ 41636 h 113045"/>
                    <a:gd name="connsiteX20" fmla="*/ 61449 w 157991"/>
                    <a:gd name="connsiteY20" fmla="*/ 52751 h 113045"/>
                    <a:gd name="connsiteX21" fmla="*/ 72317 w 157991"/>
                    <a:gd name="connsiteY21" fmla="*/ 63314 h 113045"/>
                    <a:gd name="connsiteX22" fmla="*/ 78908 w 157991"/>
                    <a:gd name="connsiteY22" fmla="*/ 75821 h 113045"/>
                    <a:gd name="connsiteX23" fmla="*/ 90691 w 157991"/>
                    <a:gd name="connsiteY23" fmla="*/ 86070 h 113045"/>
                    <a:gd name="connsiteX24" fmla="*/ 103254 w 157991"/>
                    <a:gd name="connsiteY24" fmla="*/ 95337 h 113045"/>
                    <a:gd name="connsiteX25" fmla="*/ 107645 w 157991"/>
                    <a:gd name="connsiteY25" fmla="*/ 98824 h 113045"/>
                    <a:gd name="connsiteX26" fmla="*/ 111722 w 157991"/>
                    <a:gd name="connsiteY26" fmla="*/ 104948 h 113045"/>
                    <a:gd name="connsiteX27" fmla="*/ 117961 w 157991"/>
                    <a:gd name="connsiteY27" fmla="*/ 113026 h 113045"/>
                    <a:gd name="connsiteX28" fmla="*/ 104683 w 157991"/>
                    <a:gd name="connsiteY28" fmla="*/ 104815 h 113045"/>
                    <a:gd name="connsiteX29" fmla="*/ 87167 w 157991"/>
                    <a:gd name="connsiteY29" fmla="*/ 95804 h 113045"/>
                    <a:gd name="connsiteX30" fmla="*/ 71879 w 157991"/>
                    <a:gd name="connsiteY30" fmla="*/ 94509 h 113045"/>
                    <a:gd name="connsiteX31" fmla="*/ 70146 w 157991"/>
                    <a:gd name="connsiteY31" fmla="*/ 90223 h 113045"/>
                    <a:gd name="connsiteX32" fmla="*/ 62011 w 157991"/>
                    <a:gd name="connsiteY32" fmla="*/ 85451 h 113045"/>
                    <a:gd name="connsiteX33" fmla="*/ 46647 w 157991"/>
                    <a:gd name="connsiteY33" fmla="*/ 71658 h 113045"/>
                    <a:gd name="connsiteX34" fmla="*/ 56001 w 157991"/>
                    <a:gd name="connsiteY34" fmla="*/ 71182 h 113045"/>
                    <a:gd name="connsiteX35" fmla="*/ 39037 w 157991"/>
                    <a:gd name="connsiteY35" fmla="*/ 56609 h 113045"/>
                    <a:gd name="connsiteX36" fmla="*/ 37456 w 157991"/>
                    <a:gd name="connsiteY36" fmla="*/ 46636 h 113045"/>
                    <a:gd name="connsiteX37" fmla="*/ 28245 w 157991"/>
                    <a:gd name="connsiteY37" fmla="*/ 38845 h 113045"/>
                    <a:gd name="connsiteX38" fmla="*/ 16177 w 157991"/>
                    <a:gd name="connsiteY38" fmla="*/ 49446 h 113045"/>
                    <a:gd name="connsiteX39" fmla="*/ 3585 w 157991"/>
                    <a:gd name="connsiteY39" fmla="*/ 43493 h 113045"/>
                    <a:gd name="connsiteX40" fmla="*/ 32 w 157991"/>
                    <a:gd name="connsiteY40" fmla="*/ 33063 h 113045"/>
                    <a:gd name="connsiteX41" fmla="*/ 9061 w 157991"/>
                    <a:gd name="connsiteY41" fmla="*/ 34616 h 113045"/>
                    <a:gd name="connsiteX42" fmla="*/ 12700 w 157991"/>
                    <a:gd name="connsiteY42" fmla="*/ 32177 h 113045"/>
                    <a:gd name="connsiteX43" fmla="*/ 22844 w 157991"/>
                    <a:gd name="connsiteY43" fmla="*/ 33063 h 113045"/>
                    <a:gd name="connsiteX44" fmla="*/ 27721 w 157991"/>
                    <a:gd name="connsiteY44" fmla="*/ 27558 h 113045"/>
                    <a:gd name="connsiteX45" fmla="*/ 32550 w 157991"/>
                    <a:gd name="connsiteY45" fmla="*/ 32206 h 113045"/>
                    <a:gd name="connsiteX46" fmla="*/ 48895 w 157991"/>
                    <a:gd name="connsiteY46" fmla="*/ 33539 h 113045"/>
                    <a:gd name="connsiteX47" fmla="*/ 47552 w 157991"/>
                    <a:gd name="connsiteY47" fmla="*/ 28691 h 113045"/>
                    <a:gd name="connsiteX48" fmla="*/ 46352 w 157991"/>
                    <a:gd name="connsiteY48" fmla="*/ 25643 h 113045"/>
                    <a:gd name="connsiteX49" fmla="*/ 51534 w 157991"/>
                    <a:gd name="connsiteY49" fmla="*/ 22976 h 113045"/>
                    <a:gd name="connsiteX50" fmla="*/ 56306 w 157991"/>
                    <a:gd name="connsiteY50" fmla="*/ 17261 h 113045"/>
                    <a:gd name="connsiteX51" fmla="*/ 54248 w 157991"/>
                    <a:gd name="connsiteY51" fmla="*/ 10879 h 113045"/>
                    <a:gd name="connsiteX52" fmla="*/ 61687 w 157991"/>
                    <a:gd name="connsiteY52" fmla="*/ 8155 h 113045"/>
                    <a:gd name="connsiteX53" fmla="*/ 69774 w 157991"/>
                    <a:gd name="connsiteY53" fmla="*/ 5002 h 113045"/>
                    <a:gd name="connsiteX54" fmla="*/ 73174 w 157991"/>
                    <a:gd name="connsiteY54" fmla="*/ 69 h 113045"/>
                    <a:gd name="connsiteX55" fmla="*/ 83519 w 157991"/>
                    <a:gd name="connsiteY55" fmla="*/ 3640 h 113045"/>
                    <a:gd name="connsiteX56" fmla="*/ 83519 w 157991"/>
                    <a:gd name="connsiteY56" fmla="*/ 3640 h 11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7991" h="113045">
                      <a:moveTo>
                        <a:pt x="83519" y="3640"/>
                      </a:moveTo>
                      <a:cubicBezTo>
                        <a:pt x="94586" y="9517"/>
                        <a:pt x="102245" y="19719"/>
                        <a:pt x="114456" y="23443"/>
                      </a:cubicBezTo>
                      <a:cubicBezTo>
                        <a:pt x="118542" y="24681"/>
                        <a:pt x="127429" y="25529"/>
                        <a:pt x="131448" y="23852"/>
                      </a:cubicBezTo>
                      <a:cubicBezTo>
                        <a:pt x="133687" y="22928"/>
                        <a:pt x="134592" y="20462"/>
                        <a:pt x="136430" y="19661"/>
                      </a:cubicBezTo>
                      <a:cubicBezTo>
                        <a:pt x="138020" y="18976"/>
                        <a:pt x="140783" y="19757"/>
                        <a:pt x="142726" y="18899"/>
                      </a:cubicBezTo>
                      <a:cubicBezTo>
                        <a:pt x="141993" y="20681"/>
                        <a:pt x="142726" y="20423"/>
                        <a:pt x="141316" y="21919"/>
                      </a:cubicBezTo>
                      <a:cubicBezTo>
                        <a:pt x="144498" y="25519"/>
                        <a:pt x="143555" y="31091"/>
                        <a:pt x="148546" y="32015"/>
                      </a:cubicBezTo>
                      <a:cubicBezTo>
                        <a:pt x="143336" y="36987"/>
                        <a:pt x="153947" y="37845"/>
                        <a:pt x="156223" y="39721"/>
                      </a:cubicBezTo>
                      <a:cubicBezTo>
                        <a:pt x="160700" y="43426"/>
                        <a:pt x="155747" y="43922"/>
                        <a:pt x="151679" y="42064"/>
                      </a:cubicBezTo>
                      <a:cubicBezTo>
                        <a:pt x="151260" y="42464"/>
                        <a:pt x="150422" y="43360"/>
                        <a:pt x="149908" y="43922"/>
                      </a:cubicBezTo>
                      <a:cubicBezTo>
                        <a:pt x="151851" y="47913"/>
                        <a:pt x="151241" y="51027"/>
                        <a:pt x="149403" y="52370"/>
                      </a:cubicBezTo>
                      <a:cubicBezTo>
                        <a:pt x="143545" y="53332"/>
                        <a:pt x="145193" y="49846"/>
                        <a:pt x="142364" y="48198"/>
                      </a:cubicBezTo>
                      <a:cubicBezTo>
                        <a:pt x="138840" y="46150"/>
                        <a:pt x="134468" y="44703"/>
                        <a:pt x="130039" y="44226"/>
                      </a:cubicBezTo>
                      <a:cubicBezTo>
                        <a:pt x="122228" y="43369"/>
                        <a:pt x="116085" y="45465"/>
                        <a:pt x="109245" y="44350"/>
                      </a:cubicBezTo>
                      <a:cubicBezTo>
                        <a:pt x="106512" y="43912"/>
                        <a:pt x="102873" y="43836"/>
                        <a:pt x="100368" y="43226"/>
                      </a:cubicBezTo>
                      <a:cubicBezTo>
                        <a:pt x="98330" y="42731"/>
                        <a:pt x="95653" y="40874"/>
                        <a:pt x="93748" y="40635"/>
                      </a:cubicBezTo>
                      <a:cubicBezTo>
                        <a:pt x="91034" y="40302"/>
                        <a:pt x="89424" y="41121"/>
                        <a:pt x="86405" y="41826"/>
                      </a:cubicBezTo>
                      <a:cubicBezTo>
                        <a:pt x="82461" y="42760"/>
                        <a:pt x="82499" y="42321"/>
                        <a:pt x="79232" y="44007"/>
                      </a:cubicBezTo>
                      <a:cubicBezTo>
                        <a:pt x="77270" y="45017"/>
                        <a:pt x="77832" y="47579"/>
                        <a:pt x="75080" y="47722"/>
                      </a:cubicBezTo>
                      <a:cubicBezTo>
                        <a:pt x="71107" y="47922"/>
                        <a:pt x="68307" y="38883"/>
                        <a:pt x="63506" y="41636"/>
                      </a:cubicBezTo>
                      <a:cubicBezTo>
                        <a:pt x="60982" y="43083"/>
                        <a:pt x="60563" y="49760"/>
                        <a:pt x="61449" y="52751"/>
                      </a:cubicBezTo>
                      <a:cubicBezTo>
                        <a:pt x="63078" y="58257"/>
                        <a:pt x="68917" y="58904"/>
                        <a:pt x="72317" y="63314"/>
                      </a:cubicBezTo>
                      <a:cubicBezTo>
                        <a:pt x="75327" y="67239"/>
                        <a:pt x="75451" y="72030"/>
                        <a:pt x="78908" y="75821"/>
                      </a:cubicBezTo>
                      <a:cubicBezTo>
                        <a:pt x="82176" y="79402"/>
                        <a:pt x="87014" y="82831"/>
                        <a:pt x="90691" y="86070"/>
                      </a:cubicBezTo>
                      <a:cubicBezTo>
                        <a:pt x="94558" y="89461"/>
                        <a:pt x="99359" y="92137"/>
                        <a:pt x="103254" y="95337"/>
                      </a:cubicBezTo>
                      <a:cubicBezTo>
                        <a:pt x="105940" y="97547"/>
                        <a:pt x="105807" y="96766"/>
                        <a:pt x="107645" y="98824"/>
                      </a:cubicBezTo>
                      <a:cubicBezTo>
                        <a:pt x="108988" y="100310"/>
                        <a:pt x="109950" y="103110"/>
                        <a:pt x="111722" y="104948"/>
                      </a:cubicBezTo>
                      <a:cubicBezTo>
                        <a:pt x="112322" y="105577"/>
                        <a:pt x="122809" y="111730"/>
                        <a:pt x="117961" y="113026"/>
                      </a:cubicBezTo>
                      <a:cubicBezTo>
                        <a:pt x="116218" y="113483"/>
                        <a:pt x="106445" y="105996"/>
                        <a:pt x="104683" y="104815"/>
                      </a:cubicBezTo>
                      <a:cubicBezTo>
                        <a:pt x="98244" y="100491"/>
                        <a:pt x="94977" y="97700"/>
                        <a:pt x="87167" y="95804"/>
                      </a:cubicBezTo>
                      <a:cubicBezTo>
                        <a:pt x="82661" y="94709"/>
                        <a:pt x="75794" y="96604"/>
                        <a:pt x="71879" y="94509"/>
                      </a:cubicBezTo>
                      <a:cubicBezTo>
                        <a:pt x="70202" y="93613"/>
                        <a:pt x="71450" y="91375"/>
                        <a:pt x="70146" y="90223"/>
                      </a:cubicBezTo>
                      <a:cubicBezTo>
                        <a:pt x="67745" y="88089"/>
                        <a:pt x="64669" y="87137"/>
                        <a:pt x="62011" y="85451"/>
                      </a:cubicBezTo>
                      <a:cubicBezTo>
                        <a:pt x="56468" y="81917"/>
                        <a:pt x="50295" y="77145"/>
                        <a:pt x="46647" y="71658"/>
                      </a:cubicBezTo>
                      <a:cubicBezTo>
                        <a:pt x="49600" y="70820"/>
                        <a:pt x="52962" y="70115"/>
                        <a:pt x="56001" y="71182"/>
                      </a:cubicBezTo>
                      <a:cubicBezTo>
                        <a:pt x="50419" y="67125"/>
                        <a:pt x="41551" y="63448"/>
                        <a:pt x="39037" y="56609"/>
                      </a:cubicBezTo>
                      <a:cubicBezTo>
                        <a:pt x="37760" y="53151"/>
                        <a:pt x="39370" y="49989"/>
                        <a:pt x="37456" y="46636"/>
                      </a:cubicBezTo>
                      <a:cubicBezTo>
                        <a:pt x="36255" y="44531"/>
                        <a:pt x="30645" y="39921"/>
                        <a:pt x="28245" y="38845"/>
                      </a:cubicBezTo>
                      <a:cubicBezTo>
                        <a:pt x="19187" y="34778"/>
                        <a:pt x="20844" y="43874"/>
                        <a:pt x="16177" y="49446"/>
                      </a:cubicBezTo>
                      <a:cubicBezTo>
                        <a:pt x="10519" y="56190"/>
                        <a:pt x="7461" y="50656"/>
                        <a:pt x="3585" y="43493"/>
                      </a:cubicBezTo>
                      <a:cubicBezTo>
                        <a:pt x="2804" y="42045"/>
                        <a:pt x="-349" y="33758"/>
                        <a:pt x="32" y="33063"/>
                      </a:cubicBezTo>
                      <a:cubicBezTo>
                        <a:pt x="1051" y="31253"/>
                        <a:pt x="6919" y="34597"/>
                        <a:pt x="9061" y="34616"/>
                      </a:cubicBezTo>
                      <a:cubicBezTo>
                        <a:pt x="11271" y="34635"/>
                        <a:pt x="11652" y="32282"/>
                        <a:pt x="12700" y="32177"/>
                      </a:cubicBezTo>
                      <a:cubicBezTo>
                        <a:pt x="15377" y="31911"/>
                        <a:pt x="19977" y="34444"/>
                        <a:pt x="22844" y="33063"/>
                      </a:cubicBezTo>
                      <a:cubicBezTo>
                        <a:pt x="24864" y="32082"/>
                        <a:pt x="25902" y="27681"/>
                        <a:pt x="27721" y="27558"/>
                      </a:cubicBezTo>
                      <a:cubicBezTo>
                        <a:pt x="28521" y="27510"/>
                        <a:pt x="31483" y="31749"/>
                        <a:pt x="32550" y="32206"/>
                      </a:cubicBezTo>
                      <a:cubicBezTo>
                        <a:pt x="36132" y="33749"/>
                        <a:pt x="44942" y="35178"/>
                        <a:pt x="48895" y="33539"/>
                      </a:cubicBezTo>
                      <a:cubicBezTo>
                        <a:pt x="47190" y="31796"/>
                        <a:pt x="47562" y="30349"/>
                        <a:pt x="47552" y="28691"/>
                      </a:cubicBezTo>
                      <a:cubicBezTo>
                        <a:pt x="47562" y="30167"/>
                        <a:pt x="47962" y="23300"/>
                        <a:pt x="46352" y="25643"/>
                      </a:cubicBezTo>
                      <a:cubicBezTo>
                        <a:pt x="47400" y="24119"/>
                        <a:pt x="49943" y="24052"/>
                        <a:pt x="51534" y="22976"/>
                      </a:cubicBezTo>
                      <a:cubicBezTo>
                        <a:pt x="55353" y="20395"/>
                        <a:pt x="56210" y="22624"/>
                        <a:pt x="56306" y="17261"/>
                      </a:cubicBezTo>
                      <a:cubicBezTo>
                        <a:pt x="56363" y="14185"/>
                        <a:pt x="52705" y="13965"/>
                        <a:pt x="54248" y="10879"/>
                      </a:cubicBezTo>
                      <a:cubicBezTo>
                        <a:pt x="54924" y="9527"/>
                        <a:pt x="60201" y="8832"/>
                        <a:pt x="61687" y="8155"/>
                      </a:cubicBezTo>
                      <a:cubicBezTo>
                        <a:pt x="62811" y="7641"/>
                        <a:pt x="69564" y="5183"/>
                        <a:pt x="69774" y="5002"/>
                      </a:cubicBezTo>
                      <a:cubicBezTo>
                        <a:pt x="72851" y="2097"/>
                        <a:pt x="67555" y="1221"/>
                        <a:pt x="73174" y="69"/>
                      </a:cubicBezTo>
                      <a:cubicBezTo>
                        <a:pt x="75965" y="-494"/>
                        <a:pt x="81223" y="2554"/>
                        <a:pt x="83519" y="3640"/>
                      </a:cubicBezTo>
                      <a:lnTo>
                        <a:pt x="83519" y="364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39" name="Freeform: Shape 638">
                  <a:extLst>
                    <a:ext uri="{FF2B5EF4-FFF2-40B4-BE49-F238E27FC236}">
                      <a16:creationId xmlns:a16="http://schemas.microsoft.com/office/drawing/2014/main" id="{A552179D-AEA3-416E-A118-E218700155B0}"/>
                    </a:ext>
                  </a:extLst>
                </p:cNvPr>
                <p:cNvSpPr/>
                <p:nvPr/>
              </p:nvSpPr>
              <p:spPr>
                <a:xfrm>
                  <a:off x="2823000" y="3860127"/>
                  <a:ext cx="195719" cy="95907"/>
                </a:xfrm>
                <a:custGeom>
                  <a:avLst/>
                  <a:gdLst>
                    <a:gd name="connsiteX0" fmla="*/ 120748 w 195719"/>
                    <a:gd name="connsiteY0" fmla="*/ 667 h 95907"/>
                    <a:gd name="connsiteX1" fmla="*/ 143294 w 195719"/>
                    <a:gd name="connsiteY1" fmla="*/ 1581 h 95907"/>
                    <a:gd name="connsiteX2" fmla="*/ 161601 w 195719"/>
                    <a:gd name="connsiteY2" fmla="*/ 6134 h 95907"/>
                    <a:gd name="connsiteX3" fmla="*/ 158982 w 195719"/>
                    <a:gd name="connsiteY3" fmla="*/ 4763 h 95907"/>
                    <a:gd name="connsiteX4" fmla="*/ 179394 w 195719"/>
                    <a:gd name="connsiteY4" fmla="*/ 19488 h 95907"/>
                    <a:gd name="connsiteX5" fmla="*/ 169174 w 195719"/>
                    <a:gd name="connsiteY5" fmla="*/ 17240 h 95907"/>
                    <a:gd name="connsiteX6" fmla="*/ 173041 w 195719"/>
                    <a:gd name="connsiteY6" fmla="*/ 19526 h 95907"/>
                    <a:gd name="connsiteX7" fmla="*/ 179099 w 195719"/>
                    <a:gd name="connsiteY7" fmla="*/ 25337 h 95907"/>
                    <a:gd name="connsiteX8" fmla="*/ 186557 w 195719"/>
                    <a:gd name="connsiteY8" fmla="*/ 25260 h 95907"/>
                    <a:gd name="connsiteX9" fmla="*/ 181908 w 195719"/>
                    <a:gd name="connsiteY9" fmla="*/ 20746 h 95907"/>
                    <a:gd name="connsiteX10" fmla="*/ 195720 w 195719"/>
                    <a:gd name="connsiteY10" fmla="*/ 32471 h 95907"/>
                    <a:gd name="connsiteX11" fmla="*/ 161763 w 195719"/>
                    <a:gd name="connsiteY11" fmla="*/ 40719 h 95907"/>
                    <a:gd name="connsiteX12" fmla="*/ 148457 w 195719"/>
                    <a:gd name="connsiteY12" fmla="*/ 43139 h 95907"/>
                    <a:gd name="connsiteX13" fmla="*/ 140799 w 195719"/>
                    <a:gd name="connsiteY13" fmla="*/ 38710 h 95907"/>
                    <a:gd name="connsiteX14" fmla="*/ 135245 w 195719"/>
                    <a:gd name="connsiteY14" fmla="*/ 44625 h 95907"/>
                    <a:gd name="connsiteX15" fmla="*/ 125720 w 195719"/>
                    <a:gd name="connsiteY15" fmla="*/ 54569 h 95907"/>
                    <a:gd name="connsiteX16" fmla="*/ 116853 w 195719"/>
                    <a:gd name="connsiteY16" fmla="*/ 61598 h 95907"/>
                    <a:gd name="connsiteX17" fmla="*/ 109633 w 195719"/>
                    <a:gd name="connsiteY17" fmla="*/ 67227 h 95907"/>
                    <a:gd name="connsiteX18" fmla="*/ 95478 w 195719"/>
                    <a:gd name="connsiteY18" fmla="*/ 65427 h 95907"/>
                    <a:gd name="connsiteX19" fmla="*/ 88735 w 195719"/>
                    <a:gd name="connsiteY19" fmla="*/ 71457 h 95907"/>
                    <a:gd name="connsiteX20" fmla="*/ 77724 w 195719"/>
                    <a:gd name="connsiteY20" fmla="*/ 71199 h 95907"/>
                    <a:gd name="connsiteX21" fmla="*/ 75933 w 195719"/>
                    <a:gd name="connsiteY21" fmla="*/ 79896 h 95907"/>
                    <a:gd name="connsiteX22" fmla="*/ 75724 w 195719"/>
                    <a:gd name="connsiteY22" fmla="*/ 85620 h 95907"/>
                    <a:gd name="connsiteX23" fmla="*/ 71904 w 195719"/>
                    <a:gd name="connsiteY23" fmla="*/ 86649 h 95907"/>
                    <a:gd name="connsiteX24" fmla="*/ 54626 w 195719"/>
                    <a:gd name="connsiteY24" fmla="*/ 95907 h 95907"/>
                    <a:gd name="connsiteX25" fmla="*/ 51845 w 195719"/>
                    <a:gd name="connsiteY25" fmla="*/ 85468 h 95907"/>
                    <a:gd name="connsiteX26" fmla="*/ 42120 w 195719"/>
                    <a:gd name="connsiteY26" fmla="*/ 82677 h 95907"/>
                    <a:gd name="connsiteX27" fmla="*/ 46720 w 195719"/>
                    <a:gd name="connsiteY27" fmla="*/ 68371 h 95907"/>
                    <a:gd name="connsiteX28" fmla="*/ 40948 w 195719"/>
                    <a:gd name="connsiteY28" fmla="*/ 67304 h 95907"/>
                    <a:gd name="connsiteX29" fmla="*/ 37300 w 195719"/>
                    <a:gd name="connsiteY29" fmla="*/ 65437 h 95907"/>
                    <a:gd name="connsiteX30" fmla="*/ 26022 w 195719"/>
                    <a:gd name="connsiteY30" fmla="*/ 67875 h 95907"/>
                    <a:gd name="connsiteX31" fmla="*/ 23746 w 195719"/>
                    <a:gd name="connsiteY31" fmla="*/ 64418 h 95907"/>
                    <a:gd name="connsiteX32" fmla="*/ 15630 w 195719"/>
                    <a:gd name="connsiteY32" fmla="*/ 60646 h 95907"/>
                    <a:gd name="connsiteX33" fmla="*/ 9496 w 195719"/>
                    <a:gd name="connsiteY33" fmla="*/ 54140 h 95907"/>
                    <a:gd name="connsiteX34" fmla="*/ 0 w 195719"/>
                    <a:gd name="connsiteY34" fmla="*/ 50635 h 95907"/>
                    <a:gd name="connsiteX35" fmla="*/ 7086 w 195719"/>
                    <a:gd name="connsiteY35" fmla="*/ 44615 h 95907"/>
                    <a:gd name="connsiteX36" fmla="*/ 7249 w 195719"/>
                    <a:gd name="connsiteY36" fmla="*/ 37071 h 95907"/>
                    <a:gd name="connsiteX37" fmla="*/ 17774 w 195719"/>
                    <a:gd name="connsiteY37" fmla="*/ 26956 h 95907"/>
                    <a:gd name="connsiteX38" fmla="*/ 49787 w 195719"/>
                    <a:gd name="connsiteY38" fmla="*/ 7811 h 95907"/>
                    <a:gd name="connsiteX39" fmla="*/ 64351 w 195719"/>
                    <a:gd name="connsiteY39" fmla="*/ 4801 h 95907"/>
                    <a:gd name="connsiteX40" fmla="*/ 66742 w 195719"/>
                    <a:gd name="connsiteY40" fmla="*/ 7353 h 95907"/>
                    <a:gd name="connsiteX41" fmla="*/ 71809 w 195719"/>
                    <a:gd name="connsiteY41" fmla="*/ 6087 h 95907"/>
                    <a:gd name="connsiteX42" fmla="*/ 82248 w 195719"/>
                    <a:gd name="connsiteY42" fmla="*/ 7782 h 95907"/>
                    <a:gd name="connsiteX43" fmla="*/ 101632 w 195719"/>
                    <a:gd name="connsiteY43" fmla="*/ 7582 h 95907"/>
                    <a:gd name="connsiteX44" fmla="*/ 114662 w 195719"/>
                    <a:gd name="connsiteY44" fmla="*/ 0 h 95907"/>
                    <a:gd name="connsiteX45" fmla="*/ 120748 w 195719"/>
                    <a:gd name="connsiteY45" fmla="*/ 667 h 95907"/>
                    <a:gd name="connsiteX46" fmla="*/ 120748 w 195719"/>
                    <a:gd name="connsiteY46" fmla="*/ 667 h 95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5719" h="95907">
                      <a:moveTo>
                        <a:pt x="120748" y="667"/>
                      </a:moveTo>
                      <a:cubicBezTo>
                        <a:pt x="130197" y="4239"/>
                        <a:pt x="134150" y="2229"/>
                        <a:pt x="143294" y="1581"/>
                      </a:cubicBezTo>
                      <a:cubicBezTo>
                        <a:pt x="149209" y="1162"/>
                        <a:pt x="157467" y="9030"/>
                        <a:pt x="161601" y="6134"/>
                      </a:cubicBezTo>
                      <a:cubicBezTo>
                        <a:pt x="160572" y="5705"/>
                        <a:pt x="159868" y="5220"/>
                        <a:pt x="158982" y="4763"/>
                      </a:cubicBezTo>
                      <a:cubicBezTo>
                        <a:pt x="167002" y="6420"/>
                        <a:pt x="175898" y="11640"/>
                        <a:pt x="179394" y="19488"/>
                      </a:cubicBezTo>
                      <a:cubicBezTo>
                        <a:pt x="177222" y="18126"/>
                        <a:pt x="171107" y="13259"/>
                        <a:pt x="169174" y="17240"/>
                      </a:cubicBezTo>
                      <a:cubicBezTo>
                        <a:pt x="167326" y="21031"/>
                        <a:pt x="171926" y="18688"/>
                        <a:pt x="173041" y="19526"/>
                      </a:cubicBezTo>
                      <a:cubicBezTo>
                        <a:pt x="174841" y="20879"/>
                        <a:pt x="177632" y="24660"/>
                        <a:pt x="179099" y="25337"/>
                      </a:cubicBezTo>
                      <a:cubicBezTo>
                        <a:pt x="180708" y="26089"/>
                        <a:pt x="183956" y="23622"/>
                        <a:pt x="186557" y="25260"/>
                      </a:cubicBezTo>
                      <a:cubicBezTo>
                        <a:pt x="185614" y="23193"/>
                        <a:pt x="184042" y="21689"/>
                        <a:pt x="181908" y="20746"/>
                      </a:cubicBezTo>
                      <a:cubicBezTo>
                        <a:pt x="190624" y="22174"/>
                        <a:pt x="189395" y="29185"/>
                        <a:pt x="195720" y="32471"/>
                      </a:cubicBezTo>
                      <a:cubicBezTo>
                        <a:pt x="184099" y="31785"/>
                        <a:pt x="172383" y="38386"/>
                        <a:pt x="161763" y="40719"/>
                      </a:cubicBezTo>
                      <a:cubicBezTo>
                        <a:pt x="158887" y="41348"/>
                        <a:pt x="152771" y="44729"/>
                        <a:pt x="148457" y="43139"/>
                      </a:cubicBezTo>
                      <a:cubicBezTo>
                        <a:pt x="144818" y="41796"/>
                        <a:pt x="144799" y="38233"/>
                        <a:pt x="140799" y="38710"/>
                      </a:cubicBezTo>
                      <a:cubicBezTo>
                        <a:pt x="136417" y="39224"/>
                        <a:pt x="136950" y="42863"/>
                        <a:pt x="135245" y="44625"/>
                      </a:cubicBezTo>
                      <a:cubicBezTo>
                        <a:pt x="131778" y="48196"/>
                        <a:pt x="128845" y="51654"/>
                        <a:pt x="125720" y="54569"/>
                      </a:cubicBezTo>
                      <a:cubicBezTo>
                        <a:pt x="123120" y="56998"/>
                        <a:pt x="119815" y="59588"/>
                        <a:pt x="116853" y="61598"/>
                      </a:cubicBezTo>
                      <a:cubicBezTo>
                        <a:pt x="115319" y="62636"/>
                        <a:pt x="110319" y="66989"/>
                        <a:pt x="109633" y="67227"/>
                      </a:cubicBezTo>
                      <a:cubicBezTo>
                        <a:pt x="102822" y="69571"/>
                        <a:pt x="103022" y="59398"/>
                        <a:pt x="95478" y="65427"/>
                      </a:cubicBezTo>
                      <a:cubicBezTo>
                        <a:pt x="93097" y="67342"/>
                        <a:pt x="91688" y="70533"/>
                        <a:pt x="88735" y="71457"/>
                      </a:cubicBezTo>
                      <a:cubicBezTo>
                        <a:pt x="85868" y="72361"/>
                        <a:pt x="80515" y="69247"/>
                        <a:pt x="77724" y="71199"/>
                      </a:cubicBezTo>
                      <a:cubicBezTo>
                        <a:pt x="75162" y="72990"/>
                        <a:pt x="76143" y="77134"/>
                        <a:pt x="75933" y="79896"/>
                      </a:cubicBezTo>
                      <a:cubicBezTo>
                        <a:pt x="75829" y="81182"/>
                        <a:pt x="76419" y="84687"/>
                        <a:pt x="75724" y="85620"/>
                      </a:cubicBezTo>
                      <a:cubicBezTo>
                        <a:pt x="74704" y="86992"/>
                        <a:pt x="72904" y="85592"/>
                        <a:pt x="71904" y="86649"/>
                      </a:cubicBezTo>
                      <a:cubicBezTo>
                        <a:pt x="65894" y="92993"/>
                        <a:pt x="65046" y="95450"/>
                        <a:pt x="54626" y="95907"/>
                      </a:cubicBezTo>
                      <a:cubicBezTo>
                        <a:pt x="55226" y="94536"/>
                        <a:pt x="52683" y="86344"/>
                        <a:pt x="51845" y="85468"/>
                      </a:cubicBezTo>
                      <a:cubicBezTo>
                        <a:pt x="49054" y="82582"/>
                        <a:pt x="45844" y="85125"/>
                        <a:pt x="42120" y="82677"/>
                      </a:cubicBezTo>
                      <a:cubicBezTo>
                        <a:pt x="44196" y="81801"/>
                        <a:pt x="48235" y="70533"/>
                        <a:pt x="46720" y="68371"/>
                      </a:cubicBezTo>
                      <a:cubicBezTo>
                        <a:pt x="45053" y="65989"/>
                        <a:pt x="42910" y="68047"/>
                        <a:pt x="40948" y="67304"/>
                      </a:cubicBezTo>
                      <a:cubicBezTo>
                        <a:pt x="40672" y="67199"/>
                        <a:pt x="37128" y="65408"/>
                        <a:pt x="37300" y="65437"/>
                      </a:cubicBezTo>
                      <a:cubicBezTo>
                        <a:pt x="33376" y="64884"/>
                        <a:pt x="29718" y="68180"/>
                        <a:pt x="26022" y="67875"/>
                      </a:cubicBezTo>
                      <a:cubicBezTo>
                        <a:pt x="21984" y="67542"/>
                        <a:pt x="26289" y="66018"/>
                        <a:pt x="23746" y="64418"/>
                      </a:cubicBezTo>
                      <a:cubicBezTo>
                        <a:pt x="21041" y="62713"/>
                        <a:pt x="18345" y="62570"/>
                        <a:pt x="15630" y="60646"/>
                      </a:cubicBezTo>
                      <a:cubicBezTo>
                        <a:pt x="13345" y="59026"/>
                        <a:pt x="11659" y="55674"/>
                        <a:pt x="9496" y="54140"/>
                      </a:cubicBezTo>
                      <a:cubicBezTo>
                        <a:pt x="6467" y="51997"/>
                        <a:pt x="3810" y="52016"/>
                        <a:pt x="0" y="50635"/>
                      </a:cubicBezTo>
                      <a:cubicBezTo>
                        <a:pt x="1514" y="48225"/>
                        <a:pt x="6077" y="46615"/>
                        <a:pt x="7086" y="44615"/>
                      </a:cubicBezTo>
                      <a:cubicBezTo>
                        <a:pt x="8391" y="42043"/>
                        <a:pt x="6772" y="39576"/>
                        <a:pt x="7249" y="37071"/>
                      </a:cubicBezTo>
                      <a:cubicBezTo>
                        <a:pt x="8477" y="30585"/>
                        <a:pt x="12583" y="29794"/>
                        <a:pt x="17774" y="26956"/>
                      </a:cubicBezTo>
                      <a:cubicBezTo>
                        <a:pt x="29127" y="20746"/>
                        <a:pt x="38967" y="12354"/>
                        <a:pt x="49787" y="7811"/>
                      </a:cubicBezTo>
                      <a:cubicBezTo>
                        <a:pt x="55893" y="5248"/>
                        <a:pt x="58198" y="3696"/>
                        <a:pt x="64351" y="4801"/>
                      </a:cubicBezTo>
                      <a:cubicBezTo>
                        <a:pt x="65018" y="4924"/>
                        <a:pt x="65780" y="7201"/>
                        <a:pt x="66742" y="7353"/>
                      </a:cubicBezTo>
                      <a:cubicBezTo>
                        <a:pt x="68275" y="7601"/>
                        <a:pt x="70113" y="5953"/>
                        <a:pt x="71809" y="6087"/>
                      </a:cubicBezTo>
                      <a:cubicBezTo>
                        <a:pt x="75286" y="6353"/>
                        <a:pt x="78762" y="7553"/>
                        <a:pt x="82248" y="7782"/>
                      </a:cubicBezTo>
                      <a:cubicBezTo>
                        <a:pt x="87592" y="8134"/>
                        <a:pt x="96450" y="8658"/>
                        <a:pt x="101632" y="7582"/>
                      </a:cubicBezTo>
                      <a:cubicBezTo>
                        <a:pt x="105061" y="6858"/>
                        <a:pt x="116481" y="2629"/>
                        <a:pt x="114662" y="0"/>
                      </a:cubicBezTo>
                      <a:cubicBezTo>
                        <a:pt x="116672" y="229"/>
                        <a:pt x="118748" y="314"/>
                        <a:pt x="120748" y="667"/>
                      </a:cubicBezTo>
                      <a:lnTo>
                        <a:pt x="120748" y="667"/>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40" name="Freeform: Shape 639">
                  <a:extLst>
                    <a:ext uri="{FF2B5EF4-FFF2-40B4-BE49-F238E27FC236}">
                      <a16:creationId xmlns:a16="http://schemas.microsoft.com/office/drawing/2014/main" id="{D164B1E2-2915-4EAE-BF48-9F9F4D456AC8}"/>
                    </a:ext>
                  </a:extLst>
                </p:cNvPr>
                <p:cNvSpPr/>
                <p:nvPr/>
              </p:nvSpPr>
              <p:spPr>
                <a:xfrm>
                  <a:off x="3665132" y="4095595"/>
                  <a:ext cx="149733" cy="231421"/>
                </a:xfrm>
                <a:custGeom>
                  <a:avLst/>
                  <a:gdLst>
                    <a:gd name="connsiteX0" fmla="*/ 131036 w 149733"/>
                    <a:gd name="connsiteY0" fmla="*/ 94516 h 231421"/>
                    <a:gd name="connsiteX1" fmla="*/ 127036 w 149733"/>
                    <a:gd name="connsiteY1" fmla="*/ 100908 h 231421"/>
                    <a:gd name="connsiteX2" fmla="*/ 130046 w 149733"/>
                    <a:gd name="connsiteY2" fmla="*/ 105661 h 231421"/>
                    <a:gd name="connsiteX3" fmla="*/ 126607 w 149733"/>
                    <a:gd name="connsiteY3" fmla="*/ 110471 h 231421"/>
                    <a:gd name="connsiteX4" fmla="*/ 117196 w 149733"/>
                    <a:gd name="connsiteY4" fmla="*/ 111709 h 231421"/>
                    <a:gd name="connsiteX5" fmla="*/ 107881 w 149733"/>
                    <a:gd name="connsiteY5" fmla="*/ 119177 h 231421"/>
                    <a:gd name="connsiteX6" fmla="*/ 107481 w 149733"/>
                    <a:gd name="connsiteY6" fmla="*/ 126797 h 231421"/>
                    <a:gd name="connsiteX7" fmla="*/ 103233 w 149733"/>
                    <a:gd name="connsiteY7" fmla="*/ 136322 h 231421"/>
                    <a:gd name="connsiteX8" fmla="*/ 109034 w 149733"/>
                    <a:gd name="connsiteY8" fmla="*/ 153838 h 231421"/>
                    <a:gd name="connsiteX9" fmla="*/ 113110 w 149733"/>
                    <a:gd name="connsiteY9" fmla="*/ 157362 h 231421"/>
                    <a:gd name="connsiteX10" fmla="*/ 114025 w 149733"/>
                    <a:gd name="connsiteY10" fmla="*/ 161906 h 231421"/>
                    <a:gd name="connsiteX11" fmla="*/ 119483 w 149733"/>
                    <a:gd name="connsiteY11" fmla="*/ 163544 h 231421"/>
                    <a:gd name="connsiteX12" fmla="*/ 125407 w 149733"/>
                    <a:gd name="connsiteY12" fmla="*/ 164735 h 231421"/>
                    <a:gd name="connsiteX13" fmla="*/ 126845 w 149733"/>
                    <a:gd name="connsiteY13" fmla="*/ 171098 h 231421"/>
                    <a:gd name="connsiteX14" fmla="*/ 130674 w 149733"/>
                    <a:gd name="connsiteY14" fmla="*/ 182118 h 231421"/>
                    <a:gd name="connsiteX15" fmla="*/ 136894 w 149733"/>
                    <a:gd name="connsiteY15" fmla="*/ 195462 h 231421"/>
                    <a:gd name="connsiteX16" fmla="*/ 141942 w 149733"/>
                    <a:gd name="connsiteY16" fmla="*/ 203882 h 231421"/>
                    <a:gd name="connsiteX17" fmla="*/ 149734 w 149733"/>
                    <a:gd name="connsiteY17" fmla="*/ 208093 h 231421"/>
                    <a:gd name="connsiteX18" fmla="*/ 132265 w 149733"/>
                    <a:gd name="connsiteY18" fmla="*/ 208273 h 231421"/>
                    <a:gd name="connsiteX19" fmla="*/ 123445 w 149733"/>
                    <a:gd name="connsiteY19" fmla="*/ 207426 h 231421"/>
                    <a:gd name="connsiteX20" fmla="*/ 115415 w 149733"/>
                    <a:gd name="connsiteY20" fmla="*/ 215275 h 231421"/>
                    <a:gd name="connsiteX21" fmla="*/ 103528 w 149733"/>
                    <a:gd name="connsiteY21" fmla="*/ 217332 h 231421"/>
                    <a:gd name="connsiteX22" fmla="*/ 98928 w 149733"/>
                    <a:gd name="connsiteY22" fmla="*/ 221561 h 231421"/>
                    <a:gd name="connsiteX23" fmla="*/ 86888 w 149733"/>
                    <a:gd name="connsiteY23" fmla="*/ 223085 h 231421"/>
                    <a:gd name="connsiteX24" fmla="*/ 84040 w 149733"/>
                    <a:gd name="connsiteY24" fmla="*/ 228895 h 231421"/>
                    <a:gd name="connsiteX25" fmla="*/ 75134 w 149733"/>
                    <a:gd name="connsiteY25" fmla="*/ 231419 h 231421"/>
                    <a:gd name="connsiteX26" fmla="*/ 65857 w 149733"/>
                    <a:gd name="connsiteY26" fmla="*/ 226647 h 231421"/>
                    <a:gd name="connsiteX27" fmla="*/ 57484 w 149733"/>
                    <a:gd name="connsiteY27" fmla="*/ 220256 h 231421"/>
                    <a:gd name="connsiteX28" fmla="*/ 46702 w 149733"/>
                    <a:gd name="connsiteY28" fmla="*/ 208483 h 231421"/>
                    <a:gd name="connsiteX29" fmla="*/ 47140 w 149733"/>
                    <a:gd name="connsiteY29" fmla="*/ 201987 h 231421"/>
                    <a:gd name="connsiteX30" fmla="*/ 44016 w 149733"/>
                    <a:gd name="connsiteY30" fmla="*/ 195948 h 231421"/>
                    <a:gd name="connsiteX31" fmla="*/ 39606 w 149733"/>
                    <a:gd name="connsiteY31" fmla="*/ 183328 h 231421"/>
                    <a:gd name="connsiteX32" fmla="*/ 41939 w 149733"/>
                    <a:gd name="connsiteY32" fmla="*/ 170936 h 231421"/>
                    <a:gd name="connsiteX33" fmla="*/ 45245 w 149733"/>
                    <a:gd name="connsiteY33" fmla="*/ 159077 h 231421"/>
                    <a:gd name="connsiteX34" fmla="*/ 53227 w 149733"/>
                    <a:gd name="connsiteY34" fmla="*/ 143380 h 231421"/>
                    <a:gd name="connsiteX35" fmla="*/ 49398 w 149733"/>
                    <a:gd name="connsiteY35" fmla="*/ 135217 h 231421"/>
                    <a:gd name="connsiteX36" fmla="*/ 44302 w 149733"/>
                    <a:gd name="connsiteY36" fmla="*/ 128159 h 231421"/>
                    <a:gd name="connsiteX37" fmla="*/ 36834 w 149733"/>
                    <a:gd name="connsiteY37" fmla="*/ 125901 h 231421"/>
                    <a:gd name="connsiteX38" fmla="*/ 41130 w 149733"/>
                    <a:gd name="connsiteY38" fmla="*/ 116215 h 231421"/>
                    <a:gd name="connsiteX39" fmla="*/ 29490 w 149733"/>
                    <a:gd name="connsiteY39" fmla="*/ 105146 h 231421"/>
                    <a:gd name="connsiteX40" fmla="*/ 18994 w 149733"/>
                    <a:gd name="connsiteY40" fmla="*/ 105394 h 231421"/>
                    <a:gd name="connsiteX41" fmla="*/ 8011 w 149733"/>
                    <a:gd name="connsiteY41" fmla="*/ 92488 h 231421"/>
                    <a:gd name="connsiteX42" fmla="*/ 1 w 149733"/>
                    <a:gd name="connsiteY42" fmla="*/ 82753 h 231421"/>
                    <a:gd name="connsiteX43" fmla="*/ 7726 w 149733"/>
                    <a:gd name="connsiteY43" fmla="*/ 74533 h 231421"/>
                    <a:gd name="connsiteX44" fmla="*/ 12593 w 149733"/>
                    <a:gd name="connsiteY44" fmla="*/ 57521 h 231421"/>
                    <a:gd name="connsiteX45" fmla="*/ 34977 w 149733"/>
                    <a:gd name="connsiteY45" fmla="*/ 47349 h 231421"/>
                    <a:gd name="connsiteX46" fmla="*/ 28881 w 149733"/>
                    <a:gd name="connsiteY46" fmla="*/ 44139 h 231421"/>
                    <a:gd name="connsiteX47" fmla="*/ 25890 w 149733"/>
                    <a:gd name="connsiteY47" fmla="*/ 36157 h 231421"/>
                    <a:gd name="connsiteX48" fmla="*/ 25261 w 149733"/>
                    <a:gd name="connsiteY48" fmla="*/ 30928 h 231421"/>
                    <a:gd name="connsiteX49" fmla="*/ 29700 w 149733"/>
                    <a:gd name="connsiteY49" fmla="*/ 24412 h 231421"/>
                    <a:gd name="connsiteX50" fmla="*/ 39653 w 149733"/>
                    <a:gd name="connsiteY50" fmla="*/ 19183 h 231421"/>
                    <a:gd name="connsiteX51" fmla="*/ 50207 w 149733"/>
                    <a:gd name="connsiteY51" fmla="*/ 10773 h 231421"/>
                    <a:gd name="connsiteX52" fmla="*/ 53589 w 149733"/>
                    <a:gd name="connsiteY52" fmla="*/ 7696 h 231421"/>
                    <a:gd name="connsiteX53" fmla="*/ 48369 w 149733"/>
                    <a:gd name="connsiteY53" fmla="*/ 0 h 231421"/>
                    <a:gd name="connsiteX54" fmla="*/ 56684 w 149733"/>
                    <a:gd name="connsiteY54" fmla="*/ 5334 h 231421"/>
                    <a:gd name="connsiteX55" fmla="*/ 89679 w 149733"/>
                    <a:gd name="connsiteY55" fmla="*/ 31594 h 231421"/>
                    <a:gd name="connsiteX56" fmla="*/ 92660 w 149733"/>
                    <a:gd name="connsiteY56" fmla="*/ 48539 h 231421"/>
                    <a:gd name="connsiteX57" fmla="*/ 88574 w 149733"/>
                    <a:gd name="connsiteY57" fmla="*/ 58322 h 231421"/>
                    <a:gd name="connsiteX58" fmla="*/ 85974 w 149733"/>
                    <a:gd name="connsiteY58" fmla="*/ 67980 h 231421"/>
                    <a:gd name="connsiteX59" fmla="*/ 97670 w 149733"/>
                    <a:gd name="connsiteY59" fmla="*/ 52826 h 231421"/>
                    <a:gd name="connsiteX60" fmla="*/ 114263 w 149733"/>
                    <a:gd name="connsiteY60" fmla="*/ 61684 h 231421"/>
                    <a:gd name="connsiteX61" fmla="*/ 120940 w 149733"/>
                    <a:gd name="connsiteY61" fmla="*/ 68885 h 231421"/>
                    <a:gd name="connsiteX62" fmla="*/ 130084 w 149733"/>
                    <a:gd name="connsiteY62" fmla="*/ 73914 h 231421"/>
                    <a:gd name="connsiteX63" fmla="*/ 131036 w 149733"/>
                    <a:gd name="connsiteY63" fmla="*/ 94516 h 231421"/>
                    <a:gd name="connsiteX64" fmla="*/ 131036 w 149733"/>
                    <a:gd name="connsiteY64" fmla="*/ 94516 h 231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49733" h="231421">
                      <a:moveTo>
                        <a:pt x="131036" y="94516"/>
                      </a:moveTo>
                      <a:cubicBezTo>
                        <a:pt x="129998" y="95669"/>
                        <a:pt x="127055" y="99355"/>
                        <a:pt x="127036" y="100908"/>
                      </a:cubicBezTo>
                      <a:cubicBezTo>
                        <a:pt x="126988" y="103889"/>
                        <a:pt x="130170" y="103632"/>
                        <a:pt x="130046" y="105661"/>
                      </a:cubicBezTo>
                      <a:cubicBezTo>
                        <a:pt x="130093" y="104870"/>
                        <a:pt x="125788" y="110985"/>
                        <a:pt x="126607" y="110471"/>
                      </a:cubicBezTo>
                      <a:cubicBezTo>
                        <a:pt x="123692" y="112300"/>
                        <a:pt x="120521" y="111071"/>
                        <a:pt x="117196" y="111709"/>
                      </a:cubicBezTo>
                      <a:cubicBezTo>
                        <a:pt x="111805" y="112747"/>
                        <a:pt x="108776" y="114252"/>
                        <a:pt x="107881" y="119177"/>
                      </a:cubicBezTo>
                      <a:cubicBezTo>
                        <a:pt x="107481" y="121387"/>
                        <a:pt x="108357" y="123701"/>
                        <a:pt x="107481" y="126797"/>
                      </a:cubicBezTo>
                      <a:cubicBezTo>
                        <a:pt x="106548" y="130111"/>
                        <a:pt x="104100" y="133178"/>
                        <a:pt x="103233" y="136322"/>
                      </a:cubicBezTo>
                      <a:cubicBezTo>
                        <a:pt x="101633" y="142180"/>
                        <a:pt x="105424" y="148819"/>
                        <a:pt x="109034" y="153838"/>
                      </a:cubicBezTo>
                      <a:cubicBezTo>
                        <a:pt x="110062" y="155258"/>
                        <a:pt x="112082" y="155877"/>
                        <a:pt x="113110" y="157362"/>
                      </a:cubicBezTo>
                      <a:cubicBezTo>
                        <a:pt x="113758" y="158305"/>
                        <a:pt x="113501" y="161430"/>
                        <a:pt x="114025" y="161906"/>
                      </a:cubicBezTo>
                      <a:cubicBezTo>
                        <a:pt x="115853" y="163582"/>
                        <a:pt x="117149" y="163097"/>
                        <a:pt x="119483" y="163544"/>
                      </a:cubicBezTo>
                      <a:cubicBezTo>
                        <a:pt x="122645" y="164144"/>
                        <a:pt x="123178" y="162096"/>
                        <a:pt x="125407" y="164735"/>
                      </a:cubicBezTo>
                      <a:cubicBezTo>
                        <a:pt x="125369" y="164687"/>
                        <a:pt x="126788" y="170698"/>
                        <a:pt x="126845" y="171098"/>
                      </a:cubicBezTo>
                      <a:cubicBezTo>
                        <a:pt x="127693" y="176393"/>
                        <a:pt x="128607" y="177841"/>
                        <a:pt x="130674" y="182118"/>
                      </a:cubicBezTo>
                      <a:cubicBezTo>
                        <a:pt x="132837" y="186576"/>
                        <a:pt x="134484" y="191081"/>
                        <a:pt x="136894" y="195462"/>
                      </a:cubicBezTo>
                      <a:cubicBezTo>
                        <a:pt x="138151" y="197749"/>
                        <a:pt x="140095" y="202158"/>
                        <a:pt x="141942" y="203882"/>
                      </a:cubicBezTo>
                      <a:cubicBezTo>
                        <a:pt x="144238" y="206035"/>
                        <a:pt x="147372" y="205683"/>
                        <a:pt x="149734" y="208093"/>
                      </a:cubicBezTo>
                      <a:cubicBezTo>
                        <a:pt x="144295" y="210226"/>
                        <a:pt x="137923" y="209741"/>
                        <a:pt x="132265" y="208273"/>
                      </a:cubicBezTo>
                      <a:cubicBezTo>
                        <a:pt x="129446" y="207540"/>
                        <a:pt x="127560" y="205226"/>
                        <a:pt x="123445" y="207426"/>
                      </a:cubicBezTo>
                      <a:cubicBezTo>
                        <a:pt x="119854" y="209340"/>
                        <a:pt x="118863" y="213493"/>
                        <a:pt x="115415" y="215275"/>
                      </a:cubicBezTo>
                      <a:cubicBezTo>
                        <a:pt x="112024" y="217017"/>
                        <a:pt x="107195" y="215217"/>
                        <a:pt x="103528" y="217332"/>
                      </a:cubicBezTo>
                      <a:cubicBezTo>
                        <a:pt x="101347" y="218589"/>
                        <a:pt x="102223" y="220866"/>
                        <a:pt x="98928" y="221561"/>
                      </a:cubicBezTo>
                      <a:cubicBezTo>
                        <a:pt x="93898" y="222637"/>
                        <a:pt x="90831" y="216837"/>
                        <a:pt x="86888" y="223085"/>
                      </a:cubicBezTo>
                      <a:cubicBezTo>
                        <a:pt x="85088" y="225933"/>
                        <a:pt x="86516" y="226752"/>
                        <a:pt x="84040" y="228895"/>
                      </a:cubicBezTo>
                      <a:cubicBezTo>
                        <a:pt x="83935" y="228981"/>
                        <a:pt x="75734" y="231496"/>
                        <a:pt x="75134" y="231419"/>
                      </a:cubicBezTo>
                      <a:cubicBezTo>
                        <a:pt x="73239" y="231162"/>
                        <a:pt x="67790" y="227628"/>
                        <a:pt x="65857" y="226647"/>
                      </a:cubicBezTo>
                      <a:cubicBezTo>
                        <a:pt x="62371" y="224885"/>
                        <a:pt x="60208" y="223094"/>
                        <a:pt x="57484" y="220256"/>
                      </a:cubicBezTo>
                      <a:cubicBezTo>
                        <a:pt x="53627" y="216236"/>
                        <a:pt x="47607" y="213265"/>
                        <a:pt x="46702" y="208483"/>
                      </a:cubicBezTo>
                      <a:cubicBezTo>
                        <a:pt x="46311" y="206445"/>
                        <a:pt x="47483" y="204064"/>
                        <a:pt x="47140" y="201987"/>
                      </a:cubicBezTo>
                      <a:cubicBezTo>
                        <a:pt x="46416" y="197491"/>
                        <a:pt x="45597" y="198977"/>
                        <a:pt x="44016" y="195948"/>
                      </a:cubicBezTo>
                      <a:cubicBezTo>
                        <a:pt x="42139" y="192338"/>
                        <a:pt x="39882" y="187871"/>
                        <a:pt x="39606" y="183328"/>
                      </a:cubicBezTo>
                      <a:cubicBezTo>
                        <a:pt x="39349" y="179242"/>
                        <a:pt x="40615" y="174746"/>
                        <a:pt x="41939" y="170936"/>
                      </a:cubicBezTo>
                      <a:cubicBezTo>
                        <a:pt x="43283" y="167097"/>
                        <a:pt x="43978" y="162458"/>
                        <a:pt x="45245" y="159077"/>
                      </a:cubicBezTo>
                      <a:cubicBezTo>
                        <a:pt x="47321" y="153534"/>
                        <a:pt x="54912" y="150028"/>
                        <a:pt x="53227" y="143380"/>
                      </a:cubicBezTo>
                      <a:cubicBezTo>
                        <a:pt x="52550" y="140684"/>
                        <a:pt x="50274" y="137712"/>
                        <a:pt x="49398" y="135217"/>
                      </a:cubicBezTo>
                      <a:cubicBezTo>
                        <a:pt x="47826" y="130721"/>
                        <a:pt x="51417" y="130311"/>
                        <a:pt x="44302" y="128159"/>
                      </a:cubicBezTo>
                      <a:cubicBezTo>
                        <a:pt x="42111" y="127492"/>
                        <a:pt x="37558" y="128025"/>
                        <a:pt x="36834" y="125901"/>
                      </a:cubicBezTo>
                      <a:cubicBezTo>
                        <a:pt x="36634" y="125330"/>
                        <a:pt x="40758" y="117786"/>
                        <a:pt x="41130" y="116215"/>
                      </a:cubicBezTo>
                      <a:cubicBezTo>
                        <a:pt x="43673" y="105470"/>
                        <a:pt x="37806" y="104241"/>
                        <a:pt x="29490" y="105146"/>
                      </a:cubicBezTo>
                      <a:cubicBezTo>
                        <a:pt x="27033" y="105413"/>
                        <a:pt x="21184" y="106490"/>
                        <a:pt x="18994" y="105394"/>
                      </a:cubicBezTo>
                      <a:cubicBezTo>
                        <a:pt x="15374" y="103594"/>
                        <a:pt x="10716" y="95688"/>
                        <a:pt x="8011" y="92488"/>
                      </a:cubicBezTo>
                      <a:cubicBezTo>
                        <a:pt x="6040" y="90164"/>
                        <a:pt x="68" y="85487"/>
                        <a:pt x="1" y="82753"/>
                      </a:cubicBezTo>
                      <a:cubicBezTo>
                        <a:pt x="-85" y="78915"/>
                        <a:pt x="6240" y="77429"/>
                        <a:pt x="7726" y="74533"/>
                      </a:cubicBezTo>
                      <a:cubicBezTo>
                        <a:pt x="11755" y="66646"/>
                        <a:pt x="2925" y="62103"/>
                        <a:pt x="12593" y="57521"/>
                      </a:cubicBezTo>
                      <a:cubicBezTo>
                        <a:pt x="17984" y="54959"/>
                        <a:pt x="33424" y="55626"/>
                        <a:pt x="34977" y="47349"/>
                      </a:cubicBezTo>
                      <a:cubicBezTo>
                        <a:pt x="36167" y="40976"/>
                        <a:pt x="31757" y="45863"/>
                        <a:pt x="28881" y="44139"/>
                      </a:cubicBezTo>
                      <a:cubicBezTo>
                        <a:pt x="25823" y="42320"/>
                        <a:pt x="25899" y="39481"/>
                        <a:pt x="25890" y="36157"/>
                      </a:cubicBezTo>
                      <a:cubicBezTo>
                        <a:pt x="25890" y="32404"/>
                        <a:pt x="24318" y="34280"/>
                        <a:pt x="25261" y="30928"/>
                      </a:cubicBezTo>
                      <a:cubicBezTo>
                        <a:pt x="25375" y="30527"/>
                        <a:pt x="29662" y="24441"/>
                        <a:pt x="29700" y="24412"/>
                      </a:cubicBezTo>
                      <a:cubicBezTo>
                        <a:pt x="32081" y="22460"/>
                        <a:pt x="36672" y="20955"/>
                        <a:pt x="39653" y="19183"/>
                      </a:cubicBezTo>
                      <a:cubicBezTo>
                        <a:pt x="43921" y="16650"/>
                        <a:pt x="47607" y="14811"/>
                        <a:pt x="50207" y="10773"/>
                      </a:cubicBezTo>
                      <a:cubicBezTo>
                        <a:pt x="51417" y="8887"/>
                        <a:pt x="53293" y="10296"/>
                        <a:pt x="53589" y="7696"/>
                      </a:cubicBezTo>
                      <a:cubicBezTo>
                        <a:pt x="53770" y="6182"/>
                        <a:pt x="49159" y="1172"/>
                        <a:pt x="48369" y="0"/>
                      </a:cubicBezTo>
                      <a:cubicBezTo>
                        <a:pt x="51283" y="1867"/>
                        <a:pt x="54198" y="8334"/>
                        <a:pt x="56684" y="5334"/>
                      </a:cubicBezTo>
                      <a:cubicBezTo>
                        <a:pt x="68933" y="8506"/>
                        <a:pt x="82144" y="21955"/>
                        <a:pt x="89679" y="31594"/>
                      </a:cubicBezTo>
                      <a:cubicBezTo>
                        <a:pt x="93955" y="37062"/>
                        <a:pt x="94841" y="41843"/>
                        <a:pt x="92660" y="48539"/>
                      </a:cubicBezTo>
                      <a:cubicBezTo>
                        <a:pt x="91546" y="51987"/>
                        <a:pt x="89498" y="54683"/>
                        <a:pt x="88574" y="58322"/>
                      </a:cubicBezTo>
                      <a:cubicBezTo>
                        <a:pt x="87631" y="62046"/>
                        <a:pt x="88631" y="64732"/>
                        <a:pt x="85974" y="67980"/>
                      </a:cubicBezTo>
                      <a:cubicBezTo>
                        <a:pt x="91641" y="64846"/>
                        <a:pt x="89336" y="54350"/>
                        <a:pt x="97670" y="52826"/>
                      </a:cubicBezTo>
                      <a:cubicBezTo>
                        <a:pt x="104433" y="51587"/>
                        <a:pt x="109919" y="57626"/>
                        <a:pt x="114263" y="61684"/>
                      </a:cubicBezTo>
                      <a:cubicBezTo>
                        <a:pt x="116273" y="63551"/>
                        <a:pt x="118949" y="67408"/>
                        <a:pt x="120940" y="68885"/>
                      </a:cubicBezTo>
                      <a:cubicBezTo>
                        <a:pt x="123607" y="70866"/>
                        <a:pt x="127617" y="71057"/>
                        <a:pt x="130084" y="73914"/>
                      </a:cubicBezTo>
                      <a:cubicBezTo>
                        <a:pt x="135008" y="79572"/>
                        <a:pt x="130779" y="88135"/>
                        <a:pt x="131036" y="94516"/>
                      </a:cubicBezTo>
                      <a:lnTo>
                        <a:pt x="131036" y="94516"/>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41" name="Freeform: Shape 640">
                  <a:extLst>
                    <a:ext uri="{FF2B5EF4-FFF2-40B4-BE49-F238E27FC236}">
                      <a16:creationId xmlns:a16="http://schemas.microsoft.com/office/drawing/2014/main" id="{FC98DBF2-3B32-4D58-BD8E-4349683D8AB4}"/>
                    </a:ext>
                  </a:extLst>
                </p:cNvPr>
                <p:cNvSpPr/>
                <p:nvPr/>
              </p:nvSpPr>
              <p:spPr>
                <a:xfrm>
                  <a:off x="2734741" y="3803646"/>
                  <a:ext cx="131683" cy="128547"/>
                </a:xfrm>
                <a:custGeom>
                  <a:avLst/>
                  <a:gdLst>
                    <a:gd name="connsiteX0" fmla="*/ 117596 w 131683"/>
                    <a:gd name="connsiteY0" fmla="*/ 74 h 128547"/>
                    <a:gd name="connsiteX1" fmla="*/ 101708 w 131683"/>
                    <a:gd name="connsiteY1" fmla="*/ 60748 h 128547"/>
                    <a:gd name="connsiteX2" fmla="*/ 114643 w 131683"/>
                    <a:gd name="connsiteY2" fmla="*/ 61529 h 128547"/>
                    <a:gd name="connsiteX3" fmla="*/ 121853 w 131683"/>
                    <a:gd name="connsiteY3" fmla="*/ 58815 h 128547"/>
                    <a:gd name="connsiteX4" fmla="*/ 131683 w 131683"/>
                    <a:gd name="connsiteY4" fmla="*/ 65777 h 128547"/>
                    <a:gd name="connsiteX5" fmla="*/ 105289 w 131683"/>
                    <a:gd name="connsiteY5" fmla="*/ 83942 h 128547"/>
                    <a:gd name="connsiteX6" fmla="*/ 95745 w 131683"/>
                    <a:gd name="connsiteY6" fmla="*/ 92419 h 128547"/>
                    <a:gd name="connsiteX7" fmla="*/ 90783 w 131683"/>
                    <a:gd name="connsiteY7" fmla="*/ 104097 h 128547"/>
                    <a:gd name="connsiteX8" fmla="*/ 87135 w 131683"/>
                    <a:gd name="connsiteY8" fmla="*/ 106716 h 128547"/>
                    <a:gd name="connsiteX9" fmla="*/ 82401 w 131683"/>
                    <a:gd name="connsiteY9" fmla="*/ 107487 h 128547"/>
                    <a:gd name="connsiteX10" fmla="*/ 81429 w 131683"/>
                    <a:gd name="connsiteY10" fmla="*/ 111507 h 128547"/>
                    <a:gd name="connsiteX11" fmla="*/ 78943 w 131683"/>
                    <a:gd name="connsiteY11" fmla="*/ 113831 h 128547"/>
                    <a:gd name="connsiteX12" fmla="*/ 61427 w 131683"/>
                    <a:gd name="connsiteY12" fmla="*/ 128547 h 128547"/>
                    <a:gd name="connsiteX13" fmla="*/ 46453 w 131683"/>
                    <a:gd name="connsiteY13" fmla="*/ 122480 h 128547"/>
                    <a:gd name="connsiteX14" fmla="*/ 28870 w 131683"/>
                    <a:gd name="connsiteY14" fmla="*/ 122270 h 128547"/>
                    <a:gd name="connsiteX15" fmla="*/ 0 w 131683"/>
                    <a:gd name="connsiteY15" fmla="*/ 103068 h 128547"/>
                    <a:gd name="connsiteX16" fmla="*/ 5067 w 131683"/>
                    <a:gd name="connsiteY16" fmla="*/ 89904 h 128547"/>
                    <a:gd name="connsiteX17" fmla="*/ 7934 w 131683"/>
                    <a:gd name="connsiteY17" fmla="*/ 85618 h 128547"/>
                    <a:gd name="connsiteX18" fmla="*/ 6553 w 131683"/>
                    <a:gd name="connsiteY18" fmla="*/ 78655 h 128547"/>
                    <a:gd name="connsiteX19" fmla="*/ 21641 w 131683"/>
                    <a:gd name="connsiteY19" fmla="*/ 59920 h 128547"/>
                    <a:gd name="connsiteX20" fmla="*/ 39081 w 131683"/>
                    <a:gd name="connsiteY20" fmla="*/ 55024 h 128547"/>
                    <a:gd name="connsiteX21" fmla="*/ 60293 w 131683"/>
                    <a:gd name="connsiteY21" fmla="*/ 54995 h 128547"/>
                    <a:gd name="connsiteX22" fmla="*/ 66132 w 131683"/>
                    <a:gd name="connsiteY22" fmla="*/ 50566 h 128547"/>
                    <a:gd name="connsiteX23" fmla="*/ 67237 w 131683"/>
                    <a:gd name="connsiteY23" fmla="*/ 43403 h 128547"/>
                    <a:gd name="connsiteX24" fmla="*/ 63465 w 131683"/>
                    <a:gd name="connsiteY24" fmla="*/ 41841 h 128547"/>
                    <a:gd name="connsiteX25" fmla="*/ 62932 w 131683"/>
                    <a:gd name="connsiteY25" fmla="*/ 38422 h 128547"/>
                    <a:gd name="connsiteX26" fmla="*/ 57960 w 131683"/>
                    <a:gd name="connsiteY26" fmla="*/ 31811 h 128547"/>
                    <a:gd name="connsiteX27" fmla="*/ 44244 w 131683"/>
                    <a:gd name="connsiteY27" fmla="*/ 17695 h 128547"/>
                    <a:gd name="connsiteX28" fmla="*/ 56074 w 131683"/>
                    <a:gd name="connsiteY28" fmla="*/ 17800 h 128547"/>
                    <a:gd name="connsiteX29" fmla="*/ 59207 w 131683"/>
                    <a:gd name="connsiteY29" fmla="*/ 8932 h 128547"/>
                    <a:gd name="connsiteX30" fmla="*/ 72695 w 131683"/>
                    <a:gd name="connsiteY30" fmla="*/ 45 h 128547"/>
                    <a:gd name="connsiteX31" fmla="*/ 117596 w 131683"/>
                    <a:gd name="connsiteY31" fmla="*/ 74 h 128547"/>
                    <a:gd name="connsiteX32" fmla="*/ 117596 w 131683"/>
                    <a:gd name="connsiteY32" fmla="*/ 74 h 12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31683" h="128547">
                      <a:moveTo>
                        <a:pt x="117596" y="74"/>
                      </a:moveTo>
                      <a:cubicBezTo>
                        <a:pt x="112109" y="19991"/>
                        <a:pt x="105204" y="40479"/>
                        <a:pt x="101708" y="60748"/>
                      </a:cubicBezTo>
                      <a:cubicBezTo>
                        <a:pt x="105861" y="60053"/>
                        <a:pt x="110699" y="60177"/>
                        <a:pt x="114643" y="61529"/>
                      </a:cubicBezTo>
                      <a:cubicBezTo>
                        <a:pt x="118129" y="62720"/>
                        <a:pt x="125520" y="65568"/>
                        <a:pt x="121853" y="58815"/>
                      </a:cubicBezTo>
                      <a:cubicBezTo>
                        <a:pt x="125130" y="61139"/>
                        <a:pt x="128407" y="63463"/>
                        <a:pt x="131683" y="65777"/>
                      </a:cubicBezTo>
                      <a:cubicBezTo>
                        <a:pt x="123073" y="71807"/>
                        <a:pt x="114586" y="79008"/>
                        <a:pt x="105289" y="83942"/>
                      </a:cubicBezTo>
                      <a:cubicBezTo>
                        <a:pt x="100584" y="86437"/>
                        <a:pt x="97184" y="86532"/>
                        <a:pt x="95745" y="92419"/>
                      </a:cubicBezTo>
                      <a:cubicBezTo>
                        <a:pt x="94164" y="98839"/>
                        <a:pt x="97450" y="99563"/>
                        <a:pt x="90783" y="104097"/>
                      </a:cubicBezTo>
                      <a:cubicBezTo>
                        <a:pt x="88992" y="105306"/>
                        <a:pt x="88402" y="106078"/>
                        <a:pt x="87135" y="106716"/>
                      </a:cubicBezTo>
                      <a:cubicBezTo>
                        <a:pt x="86049" y="107268"/>
                        <a:pt x="83372" y="106611"/>
                        <a:pt x="82401" y="107487"/>
                      </a:cubicBezTo>
                      <a:cubicBezTo>
                        <a:pt x="81096" y="108659"/>
                        <a:pt x="82124" y="110812"/>
                        <a:pt x="81429" y="111507"/>
                      </a:cubicBezTo>
                      <a:cubicBezTo>
                        <a:pt x="81201" y="111745"/>
                        <a:pt x="79248" y="113460"/>
                        <a:pt x="78943" y="113831"/>
                      </a:cubicBezTo>
                      <a:cubicBezTo>
                        <a:pt x="74847" y="118917"/>
                        <a:pt x="60722" y="120032"/>
                        <a:pt x="61427" y="128547"/>
                      </a:cubicBezTo>
                      <a:cubicBezTo>
                        <a:pt x="56588" y="126252"/>
                        <a:pt x="51797" y="123289"/>
                        <a:pt x="46453" y="122480"/>
                      </a:cubicBezTo>
                      <a:cubicBezTo>
                        <a:pt x="40700" y="121623"/>
                        <a:pt x="34604" y="123308"/>
                        <a:pt x="28870" y="122270"/>
                      </a:cubicBezTo>
                      <a:cubicBezTo>
                        <a:pt x="17126" y="120127"/>
                        <a:pt x="8382" y="110745"/>
                        <a:pt x="0" y="103068"/>
                      </a:cubicBezTo>
                      <a:cubicBezTo>
                        <a:pt x="3753" y="99820"/>
                        <a:pt x="3658" y="94314"/>
                        <a:pt x="5067" y="89904"/>
                      </a:cubicBezTo>
                      <a:cubicBezTo>
                        <a:pt x="5810" y="87590"/>
                        <a:pt x="7658" y="88009"/>
                        <a:pt x="7934" y="85618"/>
                      </a:cubicBezTo>
                      <a:cubicBezTo>
                        <a:pt x="8306" y="82322"/>
                        <a:pt x="5477" y="82237"/>
                        <a:pt x="6553" y="78655"/>
                      </a:cubicBezTo>
                      <a:cubicBezTo>
                        <a:pt x="8277" y="72902"/>
                        <a:pt x="17602" y="64501"/>
                        <a:pt x="21641" y="59920"/>
                      </a:cubicBezTo>
                      <a:cubicBezTo>
                        <a:pt x="27108" y="53738"/>
                        <a:pt x="30804" y="55024"/>
                        <a:pt x="39081" y="55024"/>
                      </a:cubicBezTo>
                      <a:cubicBezTo>
                        <a:pt x="45911" y="55024"/>
                        <a:pt x="53549" y="55976"/>
                        <a:pt x="60293" y="54995"/>
                      </a:cubicBezTo>
                      <a:cubicBezTo>
                        <a:pt x="66208" y="54138"/>
                        <a:pt x="63779" y="55586"/>
                        <a:pt x="66132" y="50566"/>
                      </a:cubicBezTo>
                      <a:cubicBezTo>
                        <a:pt x="68008" y="46565"/>
                        <a:pt x="68409" y="46746"/>
                        <a:pt x="67237" y="43403"/>
                      </a:cubicBezTo>
                      <a:cubicBezTo>
                        <a:pt x="66970" y="42632"/>
                        <a:pt x="64141" y="42898"/>
                        <a:pt x="63465" y="41841"/>
                      </a:cubicBezTo>
                      <a:cubicBezTo>
                        <a:pt x="62646" y="40565"/>
                        <a:pt x="63703" y="39631"/>
                        <a:pt x="62932" y="38422"/>
                      </a:cubicBezTo>
                      <a:cubicBezTo>
                        <a:pt x="61141" y="35612"/>
                        <a:pt x="60617" y="34297"/>
                        <a:pt x="57960" y="31811"/>
                      </a:cubicBezTo>
                      <a:cubicBezTo>
                        <a:pt x="53378" y="27506"/>
                        <a:pt x="49301" y="21277"/>
                        <a:pt x="44244" y="17695"/>
                      </a:cubicBezTo>
                      <a:cubicBezTo>
                        <a:pt x="45920" y="17705"/>
                        <a:pt x="54531" y="18848"/>
                        <a:pt x="56074" y="17800"/>
                      </a:cubicBezTo>
                      <a:cubicBezTo>
                        <a:pt x="58141" y="16400"/>
                        <a:pt x="58474" y="11923"/>
                        <a:pt x="59207" y="8932"/>
                      </a:cubicBezTo>
                      <a:cubicBezTo>
                        <a:pt x="61684" y="-1126"/>
                        <a:pt x="62360" y="36"/>
                        <a:pt x="72695" y="45"/>
                      </a:cubicBezTo>
                      <a:cubicBezTo>
                        <a:pt x="87659" y="55"/>
                        <a:pt x="102632" y="64"/>
                        <a:pt x="117596" y="74"/>
                      </a:cubicBezTo>
                      <a:lnTo>
                        <a:pt x="117596" y="74"/>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42" name="Freeform: Shape 641">
                  <a:extLst>
                    <a:ext uri="{FF2B5EF4-FFF2-40B4-BE49-F238E27FC236}">
                      <a16:creationId xmlns:a16="http://schemas.microsoft.com/office/drawing/2014/main" id="{F548ECE4-1EE6-4D27-A913-6DC8CB421276}"/>
                    </a:ext>
                  </a:extLst>
                </p:cNvPr>
                <p:cNvSpPr/>
                <p:nvPr/>
              </p:nvSpPr>
              <p:spPr>
                <a:xfrm>
                  <a:off x="4212572" y="1731517"/>
                  <a:ext cx="1174386" cy="749030"/>
                </a:xfrm>
                <a:custGeom>
                  <a:avLst/>
                  <a:gdLst>
                    <a:gd name="connsiteX0" fmla="*/ 265692 w 1174386"/>
                    <a:gd name="connsiteY0" fmla="*/ 430113 h 749030"/>
                    <a:gd name="connsiteX1" fmla="*/ 277789 w 1174386"/>
                    <a:gd name="connsiteY1" fmla="*/ 438961 h 749030"/>
                    <a:gd name="connsiteX2" fmla="*/ 273093 w 1174386"/>
                    <a:gd name="connsiteY2" fmla="*/ 444229 h 749030"/>
                    <a:gd name="connsiteX3" fmla="*/ 257986 w 1174386"/>
                    <a:gd name="connsiteY3" fmla="*/ 448153 h 749030"/>
                    <a:gd name="connsiteX4" fmla="*/ 233374 w 1174386"/>
                    <a:gd name="connsiteY4" fmla="*/ 451258 h 749030"/>
                    <a:gd name="connsiteX5" fmla="*/ 239450 w 1174386"/>
                    <a:gd name="connsiteY5" fmla="*/ 445229 h 749030"/>
                    <a:gd name="connsiteX6" fmla="*/ 218305 w 1174386"/>
                    <a:gd name="connsiteY6" fmla="*/ 440495 h 749030"/>
                    <a:gd name="connsiteX7" fmla="*/ 220229 w 1174386"/>
                    <a:gd name="connsiteY7" fmla="*/ 431780 h 749030"/>
                    <a:gd name="connsiteX8" fmla="*/ 231992 w 1174386"/>
                    <a:gd name="connsiteY8" fmla="*/ 430217 h 749030"/>
                    <a:gd name="connsiteX9" fmla="*/ 236231 w 1174386"/>
                    <a:gd name="connsiteY9" fmla="*/ 418387 h 749030"/>
                    <a:gd name="connsiteX10" fmla="*/ 265692 w 1174386"/>
                    <a:gd name="connsiteY10" fmla="*/ 430113 h 749030"/>
                    <a:gd name="connsiteX11" fmla="*/ 265692 w 1174386"/>
                    <a:gd name="connsiteY11" fmla="*/ 430113 h 749030"/>
                    <a:gd name="connsiteX12" fmla="*/ 849527 w 1174386"/>
                    <a:gd name="connsiteY12" fmla="*/ 399356 h 749030"/>
                    <a:gd name="connsiteX13" fmla="*/ 847851 w 1174386"/>
                    <a:gd name="connsiteY13" fmla="*/ 403814 h 749030"/>
                    <a:gd name="connsiteX14" fmla="*/ 839059 w 1174386"/>
                    <a:gd name="connsiteY14" fmla="*/ 409710 h 749030"/>
                    <a:gd name="connsiteX15" fmla="*/ 830972 w 1174386"/>
                    <a:gd name="connsiteY15" fmla="*/ 413615 h 749030"/>
                    <a:gd name="connsiteX16" fmla="*/ 826972 w 1174386"/>
                    <a:gd name="connsiteY16" fmla="*/ 412044 h 749030"/>
                    <a:gd name="connsiteX17" fmla="*/ 792091 w 1174386"/>
                    <a:gd name="connsiteY17" fmla="*/ 412615 h 749030"/>
                    <a:gd name="connsiteX18" fmla="*/ 797206 w 1174386"/>
                    <a:gd name="connsiteY18" fmla="*/ 408377 h 749030"/>
                    <a:gd name="connsiteX19" fmla="*/ 801416 w 1174386"/>
                    <a:gd name="connsiteY19" fmla="*/ 401014 h 749030"/>
                    <a:gd name="connsiteX20" fmla="*/ 816894 w 1174386"/>
                    <a:gd name="connsiteY20" fmla="*/ 401223 h 749030"/>
                    <a:gd name="connsiteX21" fmla="*/ 835211 w 1174386"/>
                    <a:gd name="connsiteY21" fmla="*/ 397899 h 749030"/>
                    <a:gd name="connsiteX22" fmla="*/ 849527 w 1174386"/>
                    <a:gd name="connsiteY22" fmla="*/ 399356 h 749030"/>
                    <a:gd name="connsiteX23" fmla="*/ 849527 w 1174386"/>
                    <a:gd name="connsiteY23" fmla="*/ 399356 h 749030"/>
                    <a:gd name="connsiteX24" fmla="*/ 577074 w 1174386"/>
                    <a:gd name="connsiteY24" fmla="*/ 47741 h 749030"/>
                    <a:gd name="connsiteX25" fmla="*/ 553785 w 1174386"/>
                    <a:gd name="connsiteY25" fmla="*/ 41045 h 749030"/>
                    <a:gd name="connsiteX26" fmla="*/ 545746 w 1174386"/>
                    <a:gd name="connsiteY26" fmla="*/ 29548 h 749030"/>
                    <a:gd name="connsiteX27" fmla="*/ 572330 w 1174386"/>
                    <a:gd name="connsiteY27" fmla="*/ 31939 h 749030"/>
                    <a:gd name="connsiteX28" fmla="*/ 577074 w 1174386"/>
                    <a:gd name="connsiteY28" fmla="*/ 47741 h 749030"/>
                    <a:gd name="connsiteX29" fmla="*/ 577074 w 1174386"/>
                    <a:gd name="connsiteY29" fmla="*/ 47741 h 749030"/>
                    <a:gd name="connsiteX30" fmla="*/ 856385 w 1174386"/>
                    <a:gd name="connsiteY30" fmla="*/ 1078 h 749030"/>
                    <a:gd name="connsiteX31" fmla="*/ 892523 w 1174386"/>
                    <a:gd name="connsiteY31" fmla="*/ 5774 h 749030"/>
                    <a:gd name="connsiteX32" fmla="*/ 927070 w 1174386"/>
                    <a:gd name="connsiteY32" fmla="*/ 10651 h 749030"/>
                    <a:gd name="connsiteX33" fmla="*/ 896657 w 1174386"/>
                    <a:gd name="connsiteY33" fmla="*/ 12756 h 749030"/>
                    <a:gd name="connsiteX34" fmla="*/ 867834 w 1174386"/>
                    <a:gd name="connsiteY34" fmla="*/ 13489 h 749030"/>
                    <a:gd name="connsiteX35" fmla="*/ 814875 w 1174386"/>
                    <a:gd name="connsiteY35" fmla="*/ 19395 h 749030"/>
                    <a:gd name="connsiteX36" fmla="*/ 865729 w 1174386"/>
                    <a:gd name="connsiteY36" fmla="*/ 15642 h 749030"/>
                    <a:gd name="connsiteX37" fmla="*/ 913392 w 1174386"/>
                    <a:gd name="connsiteY37" fmla="*/ 16223 h 749030"/>
                    <a:gd name="connsiteX38" fmla="*/ 938195 w 1174386"/>
                    <a:gd name="connsiteY38" fmla="*/ 13851 h 749030"/>
                    <a:gd name="connsiteX39" fmla="*/ 945815 w 1174386"/>
                    <a:gd name="connsiteY39" fmla="*/ 21166 h 749030"/>
                    <a:gd name="connsiteX40" fmla="*/ 956464 w 1174386"/>
                    <a:gd name="connsiteY40" fmla="*/ 22424 h 749030"/>
                    <a:gd name="connsiteX41" fmla="*/ 979772 w 1174386"/>
                    <a:gd name="connsiteY41" fmla="*/ 25348 h 749030"/>
                    <a:gd name="connsiteX42" fmla="*/ 998374 w 1174386"/>
                    <a:gd name="connsiteY42" fmla="*/ 31615 h 749030"/>
                    <a:gd name="connsiteX43" fmla="*/ 929632 w 1174386"/>
                    <a:gd name="connsiteY43" fmla="*/ 42293 h 749030"/>
                    <a:gd name="connsiteX44" fmla="*/ 872349 w 1174386"/>
                    <a:gd name="connsiteY44" fmla="*/ 44483 h 749030"/>
                    <a:gd name="connsiteX45" fmla="*/ 845231 w 1174386"/>
                    <a:gd name="connsiteY45" fmla="*/ 48703 h 749030"/>
                    <a:gd name="connsiteX46" fmla="*/ 881426 w 1174386"/>
                    <a:gd name="connsiteY46" fmla="*/ 48874 h 749030"/>
                    <a:gd name="connsiteX47" fmla="*/ 923955 w 1174386"/>
                    <a:gd name="connsiteY47" fmla="*/ 50094 h 749030"/>
                    <a:gd name="connsiteX48" fmla="*/ 938986 w 1174386"/>
                    <a:gd name="connsiteY48" fmla="*/ 54037 h 749030"/>
                    <a:gd name="connsiteX49" fmla="*/ 945558 w 1174386"/>
                    <a:gd name="connsiteY49" fmla="*/ 59495 h 749030"/>
                    <a:gd name="connsiteX50" fmla="*/ 957378 w 1174386"/>
                    <a:gd name="connsiteY50" fmla="*/ 57771 h 749030"/>
                    <a:gd name="connsiteX51" fmla="*/ 967970 w 1174386"/>
                    <a:gd name="connsiteY51" fmla="*/ 49713 h 749030"/>
                    <a:gd name="connsiteX52" fmla="*/ 989020 w 1174386"/>
                    <a:gd name="connsiteY52" fmla="*/ 48227 h 749030"/>
                    <a:gd name="connsiteX53" fmla="*/ 1001450 w 1174386"/>
                    <a:gd name="connsiteY53" fmla="*/ 53456 h 749030"/>
                    <a:gd name="connsiteX54" fmla="*/ 991754 w 1174386"/>
                    <a:gd name="connsiteY54" fmla="*/ 68153 h 749030"/>
                    <a:gd name="connsiteX55" fmla="*/ 957045 w 1174386"/>
                    <a:gd name="connsiteY55" fmla="*/ 88508 h 749030"/>
                    <a:gd name="connsiteX56" fmla="*/ 963741 w 1174386"/>
                    <a:gd name="connsiteY56" fmla="*/ 85260 h 749030"/>
                    <a:gd name="connsiteX57" fmla="*/ 977019 w 1174386"/>
                    <a:gd name="connsiteY57" fmla="*/ 81660 h 749030"/>
                    <a:gd name="connsiteX58" fmla="*/ 997860 w 1174386"/>
                    <a:gd name="connsiteY58" fmla="*/ 74535 h 749030"/>
                    <a:gd name="connsiteX59" fmla="*/ 1019881 w 1174386"/>
                    <a:gd name="connsiteY59" fmla="*/ 63972 h 749030"/>
                    <a:gd name="connsiteX60" fmla="*/ 1030530 w 1174386"/>
                    <a:gd name="connsiteY60" fmla="*/ 61714 h 749030"/>
                    <a:gd name="connsiteX61" fmla="*/ 1037874 w 1174386"/>
                    <a:gd name="connsiteY61" fmla="*/ 65953 h 749030"/>
                    <a:gd name="connsiteX62" fmla="*/ 1060363 w 1174386"/>
                    <a:gd name="connsiteY62" fmla="*/ 68382 h 749030"/>
                    <a:gd name="connsiteX63" fmla="*/ 1080813 w 1174386"/>
                    <a:gd name="connsiteY63" fmla="*/ 62133 h 749030"/>
                    <a:gd name="connsiteX64" fmla="*/ 1124504 w 1174386"/>
                    <a:gd name="connsiteY64" fmla="*/ 56228 h 749030"/>
                    <a:gd name="connsiteX65" fmla="*/ 1174386 w 1174386"/>
                    <a:gd name="connsiteY65" fmla="*/ 66734 h 749030"/>
                    <a:gd name="connsiteX66" fmla="*/ 1159813 w 1174386"/>
                    <a:gd name="connsiteY66" fmla="*/ 71973 h 749030"/>
                    <a:gd name="connsiteX67" fmla="*/ 1144202 w 1174386"/>
                    <a:gd name="connsiteY67" fmla="*/ 78392 h 749030"/>
                    <a:gd name="connsiteX68" fmla="*/ 1116970 w 1174386"/>
                    <a:gd name="connsiteY68" fmla="*/ 82707 h 749030"/>
                    <a:gd name="connsiteX69" fmla="*/ 1103654 w 1174386"/>
                    <a:gd name="connsiteY69" fmla="*/ 90584 h 749030"/>
                    <a:gd name="connsiteX70" fmla="*/ 1073783 w 1174386"/>
                    <a:gd name="connsiteY70" fmla="*/ 95309 h 749030"/>
                    <a:gd name="connsiteX71" fmla="*/ 1088242 w 1174386"/>
                    <a:gd name="connsiteY71" fmla="*/ 99890 h 749030"/>
                    <a:gd name="connsiteX72" fmla="*/ 1048304 w 1174386"/>
                    <a:gd name="connsiteY72" fmla="*/ 107939 h 749030"/>
                    <a:gd name="connsiteX73" fmla="*/ 1010404 w 1174386"/>
                    <a:gd name="connsiteY73" fmla="*/ 111397 h 749030"/>
                    <a:gd name="connsiteX74" fmla="*/ 1012938 w 1174386"/>
                    <a:gd name="connsiteY74" fmla="*/ 121331 h 749030"/>
                    <a:gd name="connsiteX75" fmla="*/ 1020377 w 1174386"/>
                    <a:gd name="connsiteY75" fmla="*/ 128218 h 749030"/>
                    <a:gd name="connsiteX76" fmla="*/ 1025025 w 1174386"/>
                    <a:gd name="connsiteY76" fmla="*/ 136038 h 749030"/>
                    <a:gd name="connsiteX77" fmla="*/ 1015900 w 1174386"/>
                    <a:gd name="connsiteY77" fmla="*/ 141896 h 749030"/>
                    <a:gd name="connsiteX78" fmla="*/ 1004079 w 1174386"/>
                    <a:gd name="connsiteY78" fmla="*/ 149830 h 749030"/>
                    <a:gd name="connsiteX79" fmla="*/ 982448 w 1174386"/>
                    <a:gd name="connsiteY79" fmla="*/ 156107 h 749030"/>
                    <a:gd name="connsiteX80" fmla="*/ 979076 w 1174386"/>
                    <a:gd name="connsiteY80" fmla="*/ 165756 h 749030"/>
                    <a:gd name="connsiteX81" fmla="*/ 971628 w 1174386"/>
                    <a:gd name="connsiteY81" fmla="*/ 176614 h 749030"/>
                    <a:gd name="connsiteX82" fmla="*/ 969504 w 1174386"/>
                    <a:gd name="connsiteY82" fmla="*/ 186958 h 749030"/>
                    <a:gd name="connsiteX83" fmla="*/ 983163 w 1174386"/>
                    <a:gd name="connsiteY83" fmla="*/ 179291 h 749030"/>
                    <a:gd name="connsiteX84" fmla="*/ 1011518 w 1174386"/>
                    <a:gd name="connsiteY84" fmla="*/ 187835 h 749030"/>
                    <a:gd name="connsiteX85" fmla="*/ 1000403 w 1174386"/>
                    <a:gd name="connsiteY85" fmla="*/ 187177 h 749030"/>
                    <a:gd name="connsiteX86" fmla="*/ 985439 w 1174386"/>
                    <a:gd name="connsiteY86" fmla="*/ 188359 h 749030"/>
                    <a:gd name="connsiteX87" fmla="*/ 1013100 w 1174386"/>
                    <a:gd name="connsiteY87" fmla="*/ 200532 h 749030"/>
                    <a:gd name="connsiteX88" fmla="*/ 1027397 w 1174386"/>
                    <a:gd name="connsiteY88" fmla="*/ 200389 h 749030"/>
                    <a:gd name="connsiteX89" fmla="*/ 1024692 w 1174386"/>
                    <a:gd name="connsiteY89" fmla="*/ 212952 h 749030"/>
                    <a:gd name="connsiteX90" fmla="*/ 996317 w 1174386"/>
                    <a:gd name="connsiteY90" fmla="*/ 210447 h 749030"/>
                    <a:gd name="connsiteX91" fmla="*/ 980848 w 1174386"/>
                    <a:gd name="connsiteY91" fmla="*/ 210876 h 749030"/>
                    <a:gd name="connsiteX92" fmla="*/ 965703 w 1174386"/>
                    <a:gd name="connsiteY92" fmla="*/ 216438 h 749030"/>
                    <a:gd name="connsiteX93" fmla="*/ 953006 w 1174386"/>
                    <a:gd name="connsiteY93" fmla="*/ 214762 h 749030"/>
                    <a:gd name="connsiteX94" fmla="*/ 945682 w 1174386"/>
                    <a:gd name="connsiteY94" fmla="*/ 219658 h 749030"/>
                    <a:gd name="connsiteX95" fmla="*/ 956416 w 1174386"/>
                    <a:gd name="connsiteY95" fmla="*/ 221267 h 749030"/>
                    <a:gd name="connsiteX96" fmla="*/ 963579 w 1174386"/>
                    <a:gd name="connsiteY96" fmla="*/ 231021 h 749030"/>
                    <a:gd name="connsiteX97" fmla="*/ 993088 w 1174386"/>
                    <a:gd name="connsiteY97" fmla="*/ 235545 h 749030"/>
                    <a:gd name="connsiteX98" fmla="*/ 992373 w 1174386"/>
                    <a:gd name="connsiteY98" fmla="*/ 241746 h 749030"/>
                    <a:gd name="connsiteX99" fmla="*/ 997650 w 1174386"/>
                    <a:gd name="connsiteY99" fmla="*/ 246366 h 749030"/>
                    <a:gd name="connsiteX100" fmla="*/ 998927 w 1174386"/>
                    <a:gd name="connsiteY100" fmla="*/ 255291 h 749030"/>
                    <a:gd name="connsiteX101" fmla="*/ 990468 w 1174386"/>
                    <a:gd name="connsiteY101" fmla="*/ 266025 h 749030"/>
                    <a:gd name="connsiteX102" fmla="*/ 975895 w 1174386"/>
                    <a:gd name="connsiteY102" fmla="*/ 261320 h 749030"/>
                    <a:gd name="connsiteX103" fmla="*/ 957874 w 1174386"/>
                    <a:gd name="connsiteY103" fmla="*/ 268235 h 749030"/>
                    <a:gd name="connsiteX104" fmla="*/ 940891 w 1174386"/>
                    <a:gd name="connsiteY104" fmla="*/ 267073 h 749030"/>
                    <a:gd name="connsiteX105" fmla="*/ 950644 w 1174386"/>
                    <a:gd name="connsiteY105" fmla="*/ 271960 h 749030"/>
                    <a:gd name="connsiteX106" fmla="*/ 963094 w 1174386"/>
                    <a:gd name="connsiteY106" fmla="*/ 268511 h 749030"/>
                    <a:gd name="connsiteX107" fmla="*/ 961931 w 1174386"/>
                    <a:gd name="connsiteY107" fmla="*/ 281742 h 749030"/>
                    <a:gd name="connsiteX108" fmla="*/ 977143 w 1174386"/>
                    <a:gd name="connsiteY108" fmla="*/ 271255 h 749030"/>
                    <a:gd name="connsiteX109" fmla="*/ 992183 w 1174386"/>
                    <a:gd name="connsiteY109" fmla="*/ 282847 h 749030"/>
                    <a:gd name="connsiteX110" fmla="*/ 993573 w 1174386"/>
                    <a:gd name="connsiteY110" fmla="*/ 293219 h 749030"/>
                    <a:gd name="connsiteX111" fmla="*/ 975514 w 1174386"/>
                    <a:gd name="connsiteY111" fmla="*/ 293438 h 749030"/>
                    <a:gd name="connsiteX112" fmla="*/ 941291 w 1174386"/>
                    <a:gd name="connsiteY112" fmla="*/ 294648 h 749030"/>
                    <a:gd name="connsiteX113" fmla="*/ 942624 w 1174386"/>
                    <a:gd name="connsiteY113" fmla="*/ 284466 h 749030"/>
                    <a:gd name="connsiteX114" fmla="*/ 933947 w 1174386"/>
                    <a:gd name="connsiteY114" fmla="*/ 293324 h 749030"/>
                    <a:gd name="connsiteX115" fmla="*/ 933128 w 1174386"/>
                    <a:gd name="connsiteY115" fmla="*/ 300877 h 749030"/>
                    <a:gd name="connsiteX116" fmla="*/ 955540 w 1174386"/>
                    <a:gd name="connsiteY116" fmla="*/ 303859 h 749030"/>
                    <a:gd name="connsiteX117" fmla="*/ 969037 w 1174386"/>
                    <a:gd name="connsiteY117" fmla="*/ 306650 h 749030"/>
                    <a:gd name="connsiteX118" fmla="*/ 968751 w 1174386"/>
                    <a:gd name="connsiteY118" fmla="*/ 312441 h 749030"/>
                    <a:gd name="connsiteX119" fmla="*/ 949473 w 1174386"/>
                    <a:gd name="connsiteY119" fmla="*/ 319432 h 749030"/>
                    <a:gd name="connsiteX120" fmla="*/ 927727 w 1174386"/>
                    <a:gd name="connsiteY120" fmla="*/ 325357 h 749030"/>
                    <a:gd name="connsiteX121" fmla="*/ 904610 w 1174386"/>
                    <a:gd name="connsiteY121" fmla="*/ 318546 h 749030"/>
                    <a:gd name="connsiteX122" fmla="*/ 895847 w 1174386"/>
                    <a:gd name="connsiteY122" fmla="*/ 311564 h 749030"/>
                    <a:gd name="connsiteX123" fmla="*/ 886112 w 1174386"/>
                    <a:gd name="connsiteY123" fmla="*/ 314393 h 749030"/>
                    <a:gd name="connsiteX124" fmla="*/ 867224 w 1174386"/>
                    <a:gd name="connsiteY124" fmla="*/ 307012 h 749030"/>
                    <a:gd name="connsiteX125" fmla="*/ 880140 w 1174386"/>
                    <a:gd name="connsiteY125" fmla="*/ 316822 h 749030"/>
                    <a:gd name="connsiteX126" fmla="*/ 868643 w 1174386"/>
                    <a:gd name="connsiteY126" fmla="*/ 320251 h 749030"/>
                    <a:gd name="connsiteX127" fmla="*/ 856718 w 1174386"/>
                    <a:gd name="connsiteY127" fmla="*/ 325338 h 749030"/>
                    <a:gd name="connsiteX128" fmla="*/ 829019 w 1174386"/>
                    <a:gd name="connsiteY128" fmla="*/ 320089 h 749030"/>
                    <a:gd name="connsiteX129" fmla="*/ 842459 w 1174386"/>
                    <a:gd name="connsiteY129" fmla="*/ 325985 h 749030"/>
                    <a:gd name="connsiteX130" fmla="*/ 820971 w 1174386"/>
                    <a:gd name="connsiteY130" fmla="*/ 329462 h 749030"/>
                    <a:gd name="connsiteX131" fmla="*/ 836830 w 1174386"/>
                    <a:gd name="connsiteY131" fmla="*/ 329986 h 749030"/>
                    <a:gd name="connsiteX132" fmla="*/ 862662 w 1174386"/>
                    <a:gd name="connsiteY132" fmla="*/ 325700 h 749030"/>
                    <a:gd name="connsiteX133" fmla="*/ 885646 w 1174386"/>
                    <a:gd name="connsiteY133" fmla="*/ 320613 h 749030"/>
                    <a:gd name="connsiteX134" fmla="*/ 909001 w 1174386"/>
                    <a:gd name="connsiteY134" fmla="*/ 327738 h 749030"/>
                    <a:gd name="connsiteX135" fmla="*/ 919031 w 1174386"/>
                    <a:gd name="connsiteY135" fmla="*/ 332291 h 749030"/>
                    <a:gd name="connsiteX136" fmla="*/ 931966 w 1174386"/>
                    <a:gd name="connsiteY136" fmla="*/ 336844 h 749030"/>
                    <a:gd name="connsiteX137" fmla="*/ 929889 w 1174386"/>
                    <a:gd name="connsiteY137" fmla="*/ 348026 h 749030"/>
                    <a:gd name="connsiteX138" fmla="*/ 926898 w 1174386"/>
                    <a:gd name="connsiteY138" fmla="*/ 353246 h 749030"/>
                    <a:gd name="connsiteX139" fmla="*/ 923736 w 1174386"/>
                    <a:gd name="connsiteY139" fmla="*/ 354494 h 749030"/>
                    <a:gd name="connsiteX140" fmla="*/ 923822 w 1174386"/>
                    <a:gd name="connsiteY140" fmla="*/ 357980 h 749030"/>
                    <a:gd name="connsiteX141" fmla="*/ 916126 w 1174386"/>
                    <a:gd name="connsiteY141" fmla="*/ 359304 h 749030"/>
                    <a:gd name="connsiteX142" fmla="*/ 903772 w 1174386"/>
                    <a:gd name="connsiteY142" fmla="*/ 354865 h 749030"/>
                    <a:gd name="connsiteX143" fmla="*/ 883217 w 1174386"/>
                    <a:gd name="connsiteY143" fmla="*/ 343749 h 749030"/>
                    <a:gd name="connsiteX144" fmla="*/ 878264 w 1174386"/>
                    <a:gd name="connsiteY144" fmla="*/ 332558 h 749030"/>
                    <a:gd name="connsiteX145" fmla="*/ 866453 w 1174386"/>
                    <a:gd name="connsiteY145" fmla="*/ 336225 h 749030"/>
                    <a:gd name="connsiteX146" fmla="*/ 836382 w 1174386"/>
                    <a:gd name="connsiteY146" fmla="*/ 342787 h 749030"/>
                    <a:gd name="connsiteX147" fmla="*/ 868024 w 1174386"/>
                    <a:gd name="connsiteY147" fmla="*/ 338311 h 749030"/>
                    <a:gd name="connsiteX148" fmla="*/ 876368 w 1174386"/>
                    <a:gd name="connsiteY148" fmla="*/ 344654 h 749030"/>
                    <a:gd name="connsiteX149" fmla="*/ 863948 w 1174386"/>
                    <a:gd name="connsiteY149" fmla="*/ 352960 h 749030"/>
                    <a:gd name="connsiteX150" fmla="*/ 871310 w 1174386"/>
                    <a:gd name="connsiteY150" fmla="*/ 353046 h 749030"/>
                    <a:gd name="connsiteX151" fmla="*/ 878435 w 1174386"/>
                    <a:gd name="connsiteY151" fmla="*/ 353246 h 749030"/>
                    <a:gd name="connsiteX152" fmla="*/ 895999 w 1174386"/>
                    <a:gd name="connsiteY152" fmla="*/ 361085 h 749030"/>
                    <a:gd name="connsiteX153" fmla="*/ 913411 w 1174386"/>
                    <a:gd name="connsiteY153" fmla="*/ 367171 h 749030"/>
                    <a:gd name="connsiteX154" fmla="*/ 926775 w 1174386"/>
                    <a:gd name="connsiteY154" fmla="*/ 373391 h 749030"/>
                    <a:gd name="connsiteX155" fmla="*/ 914402 w 1174386"/>
                    <a:gd name="connsiteY155" fmla="*/ 389012 h 749030"/>
                    <a:gd name="connsiteX156" fmla="*/ 925917 w 1174386"/>
                    <a:gd name="connsiteY156" fmla="*/ 380964 h 749030"/>
                    <a:gd name="connsiteX157" fmla="*/ 928584 w 1174386"/>
                    <a:gd name="connsiteY157" fmla="*/ 394813 h 749030"/>
                    <a:gd name="connsiteX158" fmla="*/ 928622 w 1174386"/>
                    <a:gd name="connsiteY158" fmla="*/ 410758 h 749030"/>
                    <a:gd name="connsiteX159" fmla="*/ 910515 w 1174386"/>
                    <a:gd name="connsiteY159" fmla="*/ 413777 h 749030"/>
                    <a:gd name="connsiteX160" fmla="*/ 911716 w 1174386"/>
                    <a:gd name="connsiteY160" fmla="*/ 401252 h 749030"/>
                    <a:gd name="connsiteX161" fmla="*/ 902552 w 1174386"/>
                    <a:gd name="connsiteY161" fmla="*/ 414444 h 749030"/>
                    <a:gd name="connsiteX162" fmla="*/ 879921 w 1174386"/>
                    <a:gd name="connsiteY162" fmla="*/ 409377 h 749030"/>
                    <a:gd name="connsiteX163" fmla="*/ 872530 w 1174386"/>
                    <a:gd name="connsiteY163" fmla="*/ 391917 h 749030"/>
                    <a:gd name="connsiteX164" fmla="*/ 852842 w 1174386"/>
                    <a:gd name="connsiteY164" fmla="*/ 381992 h 749030"/>
                    <a:gd name="connsiteX165" fmla="*/ 830391 w 1174386"/>
                    <a:gd name="connsiteY165" fmla="*/ 378411 h 749030"/>
                    <a:gd name="connsiteX166" fmla="*/ 821438 w 1174386"/>
                    <a:gd name="connsiteY166" fmla="*/ 380411 h 749030"/>
                    <a:gd name="connsiteX167" fmla="*/ 844060 w 1174386"/>
                    <a:gd name="connsiteY167" fmla="*/ 381640 h 749030"/>
                    <a:gd name="connsiteX168" fmla="*/ 836001 w 1174386"/>
                    <a:gd name="connsiteY168" fmla="*/ 394918 h 749030"/>
                    <a:gd name="connsiteX169" fmla="*/ 811732 w 1174386"/>
                    <a:gd name="connsiteY169" fmla="*/ 398413 h 749030"/>
                    <a:gd name="connsiteX170" fmla="*/ 788024 w 1174386"/>
                    <a:gd name="connsiteY170" fmla="*/ 397061 h 749030"/>
                    <a:gd name="connsiteX171" fmla="*/ 795730 w 1174386"/>
                    <a:gd name="connsiteY171" fmla="*/ 401014 h 749030"/>
                    <a:gd name="connsiteX172" fmla="*/ 790843 w 1174386"/>
                    <a:gd name="connsiteY172" fmla="*/ 407681 h 749030"/>
                    <a:gd name="connsiteX173" fmla="*/ 769831 w 1174386"/>
                    <a:gd name="connsiteY173" fmla="*/ 414320 h 749030"/>
                    <a:gd name="connsiteX174" fmla="*/ 783318 w 1174386"/>
                    <a:gd name="connsiteY174" fmla="*/ 413777 h 749030"/>
                    <a:gd name="connsiteX175" fmla="*/ 800130 w 1174386"/>
                    <a:gd name="connsiteY175" fmla="*/ 415539 h 749030"/>
                    <a:gd name="connsiteX176" fmla="*/ 823390 w 1174386"/>
                    <a:gd name="connsiteY176" fmla="*/ 415844 h 749030"/>
                    <a:gd name="connsiteX177" fmla="*/ 797196 w 1174386"/>
                    <a:gd name="connsiteY177" fmla="*/ 427455 h 749030"/>
                    <a:gd name="connsiteX178" fmla="*/ 809665 w 1174386"/>
                    <a:gd name="connsiteY178" fmla="*/ 422959 h 749030"/>
                    <a:gd name="connsiteX179" fmla="*/ 824590 w 1174386"/>
                    <a:gd name="connsiteY179" fmla="*/ 421312 h 749030"/>
                    <a:gd name="connsiteX180" fmla="*/ 854099 w 1174386"/>
                    <a:gd name="connsiteY180" fmla="*/ 418406 h 749030"/>
                    <a:gd name="connsiteX181" fmla="*/ 881578 w 1174386"/>
                    <a:gd name="connsiteY181" fmla="*/ 423959 h 749030"/>
                    <a:gd name="connsiteX182" fmla="*/ 912220 w 1174386"/>
                    <a:gd name="connsiteY182" fmla="*/ 424950 h 749030"/>
                    <a:gd name="connsiteX183" fmla="*/ 892266 w 1174386"/>
                    <a:gd name="connsiteY183" fmla="*/ 432037 h 749030"/>
                    <a:gd name="connsiteX184" fmla="*/ 893361 w 1174386"/>
                    <a:gd name="connsiteY184" fmla="*/ 434504 h 749030"/>
                    <a:gd name="connsiteX185" fmla="*/ 874902 w 1174386"/>
                    <a:gd name="connsiteY185" fmla="*/ 436647 h 749030"/>
                    <a:gd name="connsiteX186" fmla="*/ 864814 w 1174386"/>
                    <a:gd name="connsiteY186" fmla="*/ 441409 h 749030"/>
                    <a:gd name="connsiteX187" fmla="*/ 843764 w 1174386"/>
                    <a:gd name="connsiteY187" fmla="*/ 451649 h 749030"/>
                    <a:gd name="connsiteX188" fmla="*/ 834296 w 1174386"/>
                    <a:gd name="connsiteY188" fmla="*/ 458802 h 749030"/>
                    <a:gd name="connsiteX189" fmla="*/ 831344 w 1174386"/>
                    <a:gd name="connsiteY189" fmla="*/ 462726 h 749030"/>
                    <a:gd name="connsiteX190" fmla="*/ 823362 w 1174386"/>
                    <a:gd name="connsiteY190" fmla="*/ 465908 h 749030"/>
                    <a:gd name="connsiteX191" fmla="*/ 789319 w 1174386"/>
                    <a:gd name="connsiteY191" fmla="*/ 474118 h 749030"/>
                    <a:gd name="connsiteX192" fmla="*/ 751810 w 1174386"/>
                    <a:gd name="connsiteY192" fmla="*/ 481424 h 749030"/>
                    <a:gd name="connsiteX193" fmla="*/ 735074 w 1174386"/>
                    <a:gd name="connsiteY193" fmla="*/ 481843 h 749030"/>
                    <a:gd name="connsiteX194" fmla="*/ 717844 w 1174386"/>
                    <a:gd name="connsiteY194" fmla="*/ 483443 h 749030"/>
                    <a:gd name="connsiteX195" fmla="*/ 706147 w 1174386"/>
                    <a:gd name="connsiteY195" fmla="*/ 488634 h 749030"/>
                    <a:gd name="connsiteX196" fmla="*/ 684687 w 1174386"/>
                    <a:gd name="connsiteY196" fmla="*/ 477576 h 749030"/>
                    <a:gd name="connsiteX197" fmla="*/ 681982 w 1174386"/>
                    <a:gd name="connsiteY197" fmla="*/ 484643 h 749030"/>
                    <a:gd name="connsiteX198" fmla="*/ 662027 w 1174386"/>
                    <a:gd name="connsiteY198" fmla="*/ 501779 h 749030"/>
                    <a:gd name="connsiteX199" fmla="*/ 643158 w 1174386"/>
                    <a:gd name="connsiteY199" fmla="*/ 520229 h 749030"/>
                    <a:gd name="connsiteX200" fmla="*/ 618984 w 1174386"/>
                    <a:gd name="connsiteY200" fmla="*/ 539517 h 749030"/>
                    <a:gd name="connsiteX201" fmla="*/ 590266 w 1174386"/>
                    <a:gd name="connsiteY201" fmla="*/ 540450 h 749030"/>
                    <a:gd name="connsiteX202" fmla="*/ 590256 w 1174386"/>
                    <a:gd name="connsiteY202" fmla="*/ 551137 h 749030"/>
                    <a:gd name="connsiteX203" fmla="*/ 573397 w 1174386"/>
                    <a:gd name="connsiteY203" fmla="*/ 559681 h 749030"/>
                    <a:gd name="connsiteX204" fmla="*/ 571730 w 1174386"/>
                    <a:gd name="connsiteY204" fmla="*/ 554109 h 749030"/>
                    <a:gd name="connsiteX205" fmla="*/ 560672 w 1174386"/>
                    <a:gd name="connsiteY205" fmla="*/ 561196 h 749030"/>
                    <a:gd name="connsiteX206" fmla="*/ 558605 w 1174386"/>
                    <a:gd name="connsiteY206" fmla="*/ 558395 h 749030"/>
                    <a:gd name="connsiteX207" fmla="*/ 553137 w 1174386"/>
                    <a:gd name="connsiteY207" fmla="*/ 560986 h 749030"/>
                    <a:gd name="connsiteX208" fmla="*/ 546270 w 1174386"/>
                    <a:gd name="connsiteY208" fmla="*/ 566044 h 749030"/>
                    <a:gd name="connsiteX209" fmla="*/ 536554 w 1174386"/>
                    <a:gd name="connsiteY209" fmla="*/ 565882 h 749030"/>
                    <a:gd name="connsiteX210" fmla="*/ 542174 w 1174386"/>
                    <a:gd name="connsiteY210" fmla="*/ 558853 h 749030"/>
                    <a:gd name="connsiteX211" fmla="*/ 557862 w 1174386"/>
                    <a:gd name="connsiteY211" fmla="*/ 544765 h 749030"/>
                    <a:gd name="connsiteX212" fmla="*/ 539260 w 1174386"/>
                    <a:gd name="connsiteY212" fmla="*/ 542203 h 749030"/>
                    <a:gd name="connsiteX213" fmla="*/ 546994 w 1174386"/>
                    <a:gd name="connsiteY213" fmla="*/ 546108 h 749030"/>
                    <a:gd name="connsiteX214" fmla="*/ 537450 w 1174386"/>
                    <a:gd name="connsiteY214" fmla="*/ 554795 h 749030"/>
                    <a:gd name="connsiteX215" fmla="*/ 527591 w 1174386"/>
                    <a:gd name="connsiteY215" fmla="*/ 554042 h 749030"/>
                    <a:gd name="connsiteX216" fmla="*/ 529687 w 1174386"/>
                    <a:gd name="connsiteY216" fmla="*/ 563967 h 749030"/>
                    <a:gd name="connsiteX217" fmla="*/ 512790 w 1174386"/>
                    <a:gd name="connsiteY217" fmla="*/ 566520 h 749030"/>
                    <a:gd name="connsiteX218" fmla="*/ 485662 w 1174386"/>
                    <a:gd name="connsiteY218" fmla="*/ 569387 h 749030"/>
                    <a:gd name="connsiteX219" fmla="*/ 497540 w 1174386"/>
                    <a:gd name="connsiteY219" fmla="*/ 575112 h 749030"/>
                    <a:gd name="connsiteX220" fmla="*/ 476490 w 1174386"/>
                    <a:gd name="connsiteY220" fmla="*/ 583646 h 749030"/>
                    <a:gd name="connsiteX221" fmla="*/ 462593 w 1174386"/>
                    <a:gd name="connsiteY221" fmla="*/ 582827 h 749030"/>
                    <a:gd name="connsiteX222" fmla="*/ 461745 w 1174386"/>
                    <a:gd name="connsiteY222" fmla="*/ 589980 h 749030"/>
                    <a:gd name="connsiteX223" fmla="*/ 472441 w 1174386"/>
                    <a:gd name="connsiteY223" fmla="*/ 596781 h 749030"/>
                    <a:gd name="connsiteX224" fmla="*/ 469175 w 1174386"/>
                    <a:gd name="connsiteY224" fmla="*/ 605687 h 749030"/>
                    <a:gd name="connsiteX225" fmla="*/ 462221 w 1174386"/>
                    <a:gd name="connsiteY225" fmla="*/ 607468 h 749030"/>
                    <a:gd name="connsiteX226" fmla="*/ 456049 w 1174386"/>
                    <a:gd name="connsiteY226" fmla="*/ 610059 h 749030"/>
                    <a:gd name="connsiteX227" fmla="*/ 442057 w 1174386"/>
                    <a:gd name="connsiteY227" fmla="*/ 607963 h 749030"/>
                    <a:gd name="connsiteX228" fmla="*/ 452696 w 1174386"/>
                    <a:gd name="connsiteY228" fmla="*/ 613545 h 749030"/>
                    <a:gd name="connsiteX229" fmla="*/ 462135 w 1174386"/>
                    <a:gd name="connsiteY229" fmla="*/ 613212 h 749030"/>
                    <a:gd name="connsiteX230" fmla="*/ 459668 w 1174386"/>
                    <a:gd name="connsiteY230" fmla="*/ 624175 h 749030"/>
                    <a:gd name="connsiteX231" fmla="*/ 454039 w 1174386"/>
                    <a:gd name="connsiteY231" fmla="*/ 628899 h 749030"/>
                    <a:gd name="connsiteX232" fmla="*/ 450934 w 1174386"/>
                    <a:gd name="connsiteY232" fmla="*/ 632471 h 749030"/>
                    <a:gd name="connsiteX233" fmla="*/ 446134 w 1174386"/>
                    <a:gd name="connsiteY233" fmla="*/ 632681 h 749030"/>
                    <a:gd name="connsiteX234" fmla="*/ 442095 w 1174386"/>
                    <a:gd name="connsiteY234" fmla="*/ 639120 h 749030"/>
                    <a:gd name="connsiteX235" fmla="*/ 432513 w 1174386"/>
                    <a:gd name="connsiteY235" fmla="*/ 646692 h 749030"/>
                    <a:gd name="connsiteX236" fmla="*/ 417330 w 1174386"/>
                    <a:gd name="connsiteY236" fmla="*/ 642292 h 749030"/>
                    <a:gd name="connsiteX237" fmla="*/ 427255 w 1174386"/>
                    <a:gd name="connsiteY237" fmla="*/ 649740 h 749030"/>
                    <a:gd name="connsiteX238" fmla="*/ 394660 w 1174386"/>
                    <a:gd name="connsiteY238" fmla="*/ 657684 h 749030"/>
                    <a:gd name="connsiteX239" fmla="*/ 411215 w 1174386"/>
                    <a:gd name="connsiteY239" fmla="*/ 662466 h 749030"/>
                    <a:gd name="connsiteX240" fmla="*/ 407100 w 1174386"/>
                    <a:gd name="connsiteY240" fmla="*/ 669419 h 749030"/>
                    <a:gd name="connsiteX241" fmla="*/ 404490 w 1174386"/>
                    <a:gd name="connsiteY241" fmla="*/ 678868 h 749030"/>
                    <a:gd name="connsiteX242" fmla="*/ 401871 w 1174386"/>
                    <a:gd name="connsiteY242" fmla="*/ 686869 h 749030"/>
                    <a:gd name="connsiteX243" fmla="*/ 392460 w 1174386"/>
                    <a:gd name="connsiteY243" fmla="*/ 689269 h 749030"/>
                    <a:gd name="connsiteX244" fmla="*/ 398166 w 1174386"/>
                    <a:gd name="connsiteY244" fmla="*/ 690402 h 749030"/>
                    <a:gd name="connsiteX245" fmla="*/ 387641 w 1174386"/>
                    <a:gd name="connsiteY245" fmla="*/ 705157 h 749030"/>
                    <a:gd name="connsiteX246" fmla="*/ 378039 w 1174386"/>
                    <a:gd name="connsiteY246" fmla="*/ 720416 h 749030"/>
                    <a:gd name="connsiteX247" fmla="*/ 363190 w 1174386"/>
                    <a:gd name="connsiteY247" fmla="*/ 727112 h 749030"/>
                    <a:gd name="connsiteX248" fmla="*/ 348864 w 1174386"/>
                    <a:gd name="connsiteY248" fmla="*/ 725502 h 749030"/>
                    <a:gd name="connsiteX249" fmla="*/ 363914 w 1174386"/>
                    <a:gd name="connsiteY249" fmla="*/ 735094 h 749030"/>
                    <a:gd name="connsiteX250" fmla="*/ 342816 w 1174386"/>
                    <a:gd name="connsiteY250" fmla="*/ 742580 h 749030"/>
                    <a:gd name="connsiteX251" fmla="*/ 348102 w 1174386"/>
                    <a:gd name="connsiteY251" fmla="*/ 747838 h 749030"/>
                    <a:gd name="connsiteX252" fmla="*/ 336958 w 1174386"/>
                    <a:gd name="connsiteY252" fmla="*/ 748676 h 749030"/>
                    <a:gd name="connsiteX253" fmla="*/ 339149 w 1174386"/>
                    <a:gd name="connsiteY253" fmla="*/ 745752 h 749030"/>
                    <a:gd name="connsiteX254" fmla="*/ 330910 w 1174386"/>
                    <a:gd name="connsiteY254" fmla="*/ 745095 h 749030"/>
                    <a:gd name="connsiteX255" fmla="*/ 339901 w 1174386"/>
                    <a:gd name="connsiteY255" fmla="*/ 735684 h 749030"/>
                    <a:gd name="connsiteX256" fmla="*/ 339073 w 1174386"/>
                    <a:gd name="connsiteY256" fmla="*/ 734770 h 749030"/>
                    <a:gd name="connsiteX257" fmla="*/ 327176 w 1174386"/>
                    <a:gd name="connsiteY257" fmla="*/ 742866 h 749030"/>
                    <a:gd name="connsiteX258" fmla="*/ 311098 w 1174386"/>
                    <a:gd name="connsiteY258" fmla="*/ 736989 h 749030"/>
                    <a:gd name="connsiteX259" fmla="*/ 330948 w 1174386"/>
                    <a:gd name="connsiteY259" fmla="*/ 722740 h 749030"/>
                    <a:gd name="connsiteX260" fmla="*/ 304744 w 1174386"/>
                    <a:gd name="connsiteY260" fmla="*/ 725721 h 749030"/>
                    <a:gd name="connsiteX261" fmla="*/ 310688 w 1174386"/>
                    <a:gd name="connsiteY261" fmla="*/ 704995 h 749030"/>
                    <a:gd name="connsiteX262" fmla="*/ 301191 w 1174386"/>
                    <a:gd name="connsiteY262" fmla="*/ 710338 h 749030"/>
                    <a:gd name="connsiteX263" fmla="*/ 285466 w 1174386"/>
                    <a:gd name="connsiteY263" fmla="*/ 715920 h 749030"/>
                    <a:gd name="connsiteX264" fmla="*/ 270502 w 1174386"/>
                    <a:gd name="connsiteY264" fmla="*/ 717825 h 749030"/>
                    <a:gd name="connsiteX265" fmla="*/ 261692 w 1174386"/>
                    <a:gd name="connsiteY265" fmla="*/ 720397 h 749030"/>
                    <a:gd name="connsiteX266" fmla="*/ 250814 w 1174386"/>
                    <a:gd name="connsiteY266" fmla="*/ 718253 h 749030"/>
                    <a:gd name="connsiteX267" fmla="*/ 263816 w 1174386"/>
                    <a:gd name="connsiteY267" fmla="*/ 711948 h 749030"/>
                    <a:gd name="connsiteX268" fmla="*/ 249490 w 1174386"/>
                    <a:gd name="connsiteY268" fmla="*/ 711729 h 749030"/>
                    <a:gd name="connsiteX269" fmla="*/ 244861 w 1174386"/>
                    <a:gd name="connsiteY269" fmla="*/ 703756 h 749030"/>
                    <a:gd name="connsiteX270" fmla="*/ 240175 w 1174386"/>
                    <a:gd name="connsiteY270" fmla="*/ 703147 h 749030"/>
                    <a:gd name="connsiteX271" fmla="*/ 240251 w 1174386"/>
                    <a:gd name="connsiteY271" fmla="*/ 699584 h 749030"/>
                    <a:gd name="connsiteX272" fmla="*/ 235336 w 1174386"/>
                    <a:gd name="connsiteY272" fmla="*/ 693298 h 749030"/>
                    <a:gd name="connsiteX273" fmla="*/ 238707 w 1174386"/>
                    <a:gd name="connsiteY273" fmla="*/ 690279 h 749030"/>
                    <a:gd name="connsiteX274" fmla="*/ 251833 w 1174386"/>
                    <a:gd name="connsiteY274" fmla="*/ 677867 h 749030"/>
                    <a:gd name="connsiteX275" fmla="*/ 237965 w 1174386"/>
                    <a:gd name="connsiteY275" fmla="*/ 680106 h 749030"/>
                    <a:gd name="connsiteX276" fmla="*/ 236917 w 1174386"/>
                    <a:gd name="connsiteY276" fmla="*/ 673038 h 749030"/>
                    <a:gd name="connsiteX277" fmla="*/ 222182 w 1174386"/>
                    <a:gd name="connsiteY277" fmla="*/ 665466 h 749030"/>
                    <a:gd name="connsiteX278" fmla="*/ 228116 w 1174386"/>
                    <a:gd name="connsiteY278" fmla="*/ 655608 h 749030"/>
                    <a:gd name="connsiteX279" fmla="*/ 241251 w 1174386"/>
                    <a:gd name="connsiteY279" fmla="*/ 647473 h 749030"/>
                    <a:gd name="connsiteX280" fmla="*/ 224839 w 1174386"/>
                    <a:gd name="connsiteY280" fmla="*/ 654484 h 749030"/>
                    <a:gd name="connsiteX281" fmla="*/ 215419 w 1174386"/>
                    <a:gd name="connsiteY281" fmla="*/ 638910 h 749030"/>
                    <a:gd name="connsiteX282" fmla="*/ 210437 w 1174386"/>
                    <a:gd name="connsiteY282" fmla="*/ 628175 h 749030"/>
                    <a:gd name="connsiteX283" fmla="*/ 213286 w 1174386"/>
                    <a:gd name="connsiteY283" fmla="*/ 617193 h 749030"/>
                    <a:gd name="connsiteX284" fmla="*/ 229916 w 1174386"/>
                    <a:gd name="connsiteY284" fmla="*/ 613878 h 749030"/>
                    <a:gd name="connsiteX285" fmla="*/ 245023 w 1174386"/>
                    <a:gd name="connsiteY285" fmla="*/ 610630 h 749030"/>
                    <a:gd name="connsiteX286" fmla="*/ 239851 w 1174386"/>
                    <a:gd name="connsiteY286" fmla="*/ 610802 h 749030"/>
                    <a:gd name="connsiteX287" fmla="*/ 242270 w 1174386"/>
                    <a:gd name="connsiteY287" fmla="*/ 607525 h 749030"/>
                    <a:gd name="connsiteX288" fmla="*/ 213904 w 1174386"/>
                    <a:gd name="connsiteY288" fmla="*/ 614183 h 749030"/>
                    <a:gd name="connsiteX289" fmla="*/ 221601 w 1174386"/>
                    <a:gd name="connsiteY289" fmla="*/ 603534 h 749030"/>
                    <a:gd name="connsiteX290" fmla="*/ 236393 w 1174386"/>
                    <a:gd name="connsiteY290" fmla="*/ 599772 h 749030"/>
                    <a:gd name="connsiteX291" fmla="*/ 245204 w 1174386"/>
                    <a:gd name="connsiteY291" fmla="*/ 595600 h 749030"/>
                    <a:gd name="connsiteX292" fmla="*/ 253595 w 1174386"/>
                    <a:gd name="connsiteY292" fmla="*/ 603287 h 749030"/>
                    <a:gd name="connsiteX293" fmla="*/ 254243 w 1174386"/>
                    <a:gd name="connsiteY293" fmla="*/ 595209 h 749030"/>
                    <a:gd name="connsiteX294" fmla="*/ 246147 w 1174386"/>
                    <a:gd name="connsiteY294" fmla="*/ 593228 h 749030"/>
                    <a:gd name="connsiteX295" fmla="*/ 241699 w 1174386"/>
                    <a:gd name="connsiteY295" fmla="*/ 579541 h 749030"/>
                    <a:gd name="connsiteX296" fmla="*/ 241451 w 1174386"/>
                    <a:gd name="connsiteY296" fmla="*/ 592647 h 749030"/>
                    <a:gd name="connsiteX297" fmla="*/ 228583 w 1174386"/>
                    <a:gd name="connsiteY297" fmla="*/ 597572 h 749030"/>
                    <a:gd name="connsiteX298" fmla="*/ 232421 w 1174386"/>
                    <a:gd name="connsiteY298" fmla="*/ 592619 h 749030"/>
                    <a:gd name="connsiteX299" fmla="*/ 208599 w 1174386"/>
                    <a:gd name="connsiteY299" fmla="*/ 610288 h 749030"/>
                    <a:gd name="connsiteX300" fmla="*/ 211285 w 1174386"/>
                    <a:gd name="connsiteY300" fmla="*/ 584846 h 749030"/>
                    <a:gd name="connsiteX301" fmla="*/ 217229 w 1174386"/>
                    <a:gd name="connsiteY301" fmla="*/ 572083 h 749030"/>
                    <a:gd name="connsiteX302" fmla="*/ 231488 w 1174386"/>
                    <a:gd name="connsiteY302" fmla="*/ 564425 h 749030"/>
                    <a:gd name="connsiteX303" fmla="*/ 246118 w 1174386"/>
                    <a:gd name="connsiteY303" fmla="*/ 561434 h 749030"/>
                    <a:gd name="connsiteX304" fmla="*/ 214400 w 1174386"/>
                    <a:gd name="connsiteY304" fmla="*/ 571216 h 749030"/>
                    <a:gd name="connsiteX305" fmla="*/ 207361 w 1174386"/>
                    <a:gd name="connsiteY305" fmla="*/ 568320 h 749030"/>
                    <a:gd name="connsiteX306" fmla="*/ 199350 w 1174386"/>
                    <a:gd name="connsiteY306" fmla="*/ 567911 h 749030"/>
                    <a:gd name="connsiteX307" fmla="*/ 204056 w 1174386"/>
                    <a:gd name="connsiteY307" fmla="*/ 555090 h 749030"/>
                    <a:gd name="connsiteX308" fmla="*/ 198683 w 1174386"/>
                    <a:gd name="connsiteY308" fmla="*/ 552852 h 749030"/>
                    <a:gd name="connsiteX309" fmla="*/ 230697 w 1174386"/>
                    <a:gd name="connsiteY309" fmla="*/ 539822 h 749030"/>
                    <a:gd name="connsiteX310" fmla="*/ 243127 w 1174386"/>
                    <a:gd name="connsiteY310" fmla="*/ 533345 h 749030"/>
                    <a:gd name="connsiteX311" fmla="*/ 257424 w 1174386"/>
                    <a:gd name="connsiteY311" fmla="*/ 526601 h 749030"/>
                    <a:gd name="connsiteX312" fmla="*/ 225430 w 1174386"/>
                    <a:gd name="connsiteY312" fmla="*/ 540307 h 749030"/>
                    <a:gd name="connsiteX313" fmla="*/ 195178 w 1174386"/>
                    <a:gd name="connsiteY313" fmla="*/ 549509 h 749030"/>
                    <a:gd name="connsiteX314" fmla="*/ 207894 w 1174386"/>
                    <a:gd name="connsiteY314" fmla="*/ 533192 h 749030"/>
                    <a:gd name="connsiteX315" fmla="*/ 220667 w 1174386"/>
                    <a:gd name="connsiteY315" fmla="*/ 528030 h 749030"/>
                    <a:gd name="connsiteX316" fmla="*/ 231926 w 1174386"/>
                    <a:gd name="connsiteY316" fmla="*/ 526629 h 749030"/>
                    <a:gd name="connsiteX317" fmla="*/ 206484 w 1174386"/>
                    <a:gd name="connsiteY317" fmla="*/ 524286 h 749030"/>
                    <a:gd name="connsiteX318" fmla="*/ 206856 w 1174386"/>
                    <a:gd name="connsiteY318" fmla="*/ 512599 h 749030"/>
                    <a:gd name="connsiteX319" fmla="*/ 221782 w 1174386"/>
                    <a:gd name="connsiteY319" fmla="*/ 504951 h 749030"/>
                    <a:gd name="connsiteX320" fmla="*/ 250328 w 1174386"/>
                    <a:gd name="connsiteY320" fmla="*/ 501226 h 749030"/>
                    <a:gd name="connsiteX321" fmla="*/ 265406 w 1174386"/>
                    <a:gd name="connsiteY321" fmla="*/ 502312 h 749030"/>
                    <a:gd name="connsiteX322" fmla="*/ 279113 w 1174386"/>
                    <a:gd name="connsiteY322" fmla="*/ 506246 h 749030"/>
                    <a:gd name="connsiteX323" fmla="*/ 269130 w 1174386"/>
                    <a:gd name="connsiteY323" fmla="*/ 501026 h 749030"/>
                    <a:gd name="connsiteX324" fmla="*/ 276465 w 1174386"/>
                    <a:gd name="connsiteY324" fmla="*/ 498197 h 749030"/>
                    <a:gd name="connsiteX325" fmla="*/ 261749 w 1174386"/>
                    <a:gd name="connsiteY325" fmla="*/ 499293 h 749030"/>
                    <a:gd name="connsiteX326" fmla="*/ 244927 w 1174386"/>
                    <a:gd name="connsiteY326" fmla="*/ 496597 h 749030"/>
                    <a:gd name="connsiteX327" fmla="*/ 211438 w 1174386"/>
                    <a:gd name="connsiteY327" fmla="*/ 505579 h 749030"/>
                    <a:gd name="connsiteX328" fmla="*/ 239003 w 1174386"/>
                    <a:gd name="connsiteY328" fmla="*/ 484986 h 749030"/>
                    <a:gd name="connsiteX329" fmla="*/ 270445 w 1174386"/>
                    <a:gd name="connsiteY329" fmla="*/ 485139 h 749030"/>
                    <a:gd name="connsiteX330" fmla="*/ 276322 w 1174386"/>
                    <a:gd name="connsiteY330" fmla="*/ 478271 h 749030"/>
                    <a:gd name="connsiteX331" fmla="*/ 262796 w 1174386"/>
                    <a:gd name="connsiteY331" fmla="*/ 483443 h 749030"/>
                    <a:gd name="connsiteX332" fmla="*/ 243585 w 1174386"/>
                    <a:gd name="connsiteY332" fmla="*/ 483129 h 749030"/>
                    <a:gd name="connsiteX333" fmla="*/ 229278 w 1174386"/>
                    <a:gd name="connsiteY333" fmla="*/ 482005 h 749030"/>
                    <a:gd name="connsiteX334" fmla="*/ 259520 w 1174386"/>
                    <a:gd name="connsiteY334" fmla="*/ 470089 h 749030"/>
                    <a:gd name="connsiteX335" fmla="*/ 278903 w 1174386"/>
                    <a:gd name="connsiteY335" fmla="*/ 473089 h 749030"/>
                    <a:gd name="connsiteX336" fmla="*/ 291600 w 1174386"/>
                    <a:gd name="connsiteY336" fmla="*/ 465641 h 749030"/>
                    <a:gd name="connsiteX337" fmla="*/ 281113 w 1174386"/>
                    <a:gd name="connsiteY337" fmla="*/ 468070 h 749030"/>
                    <a:gd name="connsiteX338" fmla="*/ 290209 w 1174386"/>
                    <a:gd name="connsiteY338" fmla="*/ 455859 h 749030"/>
                    <a:gd name="connsiteX339" fmla="*/ 307268 w 1174386"/>
                    <a:gd name="connsiteY339" fmla="*/ 454039 h 749030"/>
                    <a:gd name="connsiteX340" fmla="*/ 290971 w 1174386"/>
                    <a:gd name="connsiteY340" fmla="*/ 453277 h 749030"/>
                    <a:gd name="connsiteX341" fmla="*/ 306278 w 1174386"/>
                    <a:gd name="connsiteY341" fmla="*/ 436809 h 749030"/>
                    <a:gd name="connsiteX342" fmla="*/ 314126 w 1174386"/>
                    <a:gd name="connsiteY342" fmla="*/ 432980 h 749030"/>
                    <a:gd name="connsiteX343" fmla="*/ 313974 w 1174386"/>
                    <a:gd name="connsiteY343" fmla="*/ 429427 h 749030"/>
                    <a:gd name="connsiteX344" fmla="*/ 318156 w 1174386"/>
                    <a:gd name="connsiteY344" fmla="*/ 427912 h 749030"/>
                    <a:gd name="connsiteX345" fmla="*/ 308354 w 1174386"/>
                    <a:gd name="connsiteY345" fmla="*/ 428189 h 749030"/>
                    <a:gd name="connsiteX346" fmla="*/ 299696 w 1174386"/>
                    <a:gd name="connsiteY346" fmla="*/ 426750 h 749030"/>
                    <a:gd name="connsiteX347" fmla="*/ 277865 w 1174386"/>
                    <a:gd name="connsiteY347" fmla="*/ 426598 h 749030"/>
                    <a:gd name="connsiteX348" fmla="*/ 261263 w 1174386"/>
                    <a:gd name="connsiteY348" fmla="*/ 418063 h 749030"/>
                    <a:gd name="connsiteX349" fmla="*/ 240346 w 1174386"/>
                    <a:gd name="connsiteY349" fmla="*/ 410348 h 749030"/>
                    <a:gd name="connsiteX350" fmla="*/ 253881 w 1174386"/>
                    <a:gd name="connsiteY350" fmla="*/ 402862 h 749030"/>
                    <a:gd name="connsiteX351" fmla="*/ 275179 w 1174386"/>
                    <a:gd name="connsiteY351" fmla="*/ 404729 h 749030"/>
                    <a:gd name="connsiteX352" fmla="*/ 315584 w 1174386"/>
                    <a:gd name="connsiteY352" fmla="*/ 415225 h 749030"/>
                    <a:gd name="connsiteX353" fmla="*/ 308364 w 1174386"/>
                    <a:gd name="connsiteY353" fmla="*/ 412901 h 749030"/>
                    <a:gd name="connsiteX354" fmla="*/ 305516 w 1174386"/>
                    <a:gd name="connsiteY354" fmla="*/ 405852 h 749030"/>
                    <a:gd name="connsiteX355" fmla="*/ 307764 w 1174386"/>
                    <a:gd name="connsiteY355" fmla="*/ 400728 h 749030"/>
                    <a:gd name="connsiteX356" fmla="*/ 300182 w 1174386"/>
                    <a:gd name="connsiteY356" fmla="*/ 396556 h 749030"/>
                    <a:gd name="connsiteX357" fmla="*/ 315832 w 1174386"/>
                    <a:gd name="connsiteY357" fmla="*/ 396842 h 749030"/>
                    <a:gd name="connsiteX358" fmla="*/ 305716 w 1174386"/>
                    <a:gd name="connsiteY358" fmla="*/ 392975 h 749030"/>
                    <a:gd name="connsiteX359" fmla="*/ 294115 w 1174386"/>
                    <a:gd name="connsiteY359" fmla="*/ 392660 h 749030"/>
                    <a:gd name="connsiteX360" fmla="*/ 276665 w 1174386"/>
                    <a:gd name="connsiteY360" fmla="*/ 390127 h 749030"/>
                    <a:gd name="connsiteX361" fmla="*/ 309174 w 1174386"/>
                    <a:gd name="connsiteY361" fmla="*/ 375372 h 749030"/>
                    <a:gd name="connsiteX362" fmla="*/ 282523 w 1174386"/>
                    <a:gd name="connsiteY362" fmla="*/ 378601 h 749030"/>
                    <a:gd name="connsiteX363" fmla="*/ 273445 w 1174386"/>
                    <a:gd name="connsiteY363" fmla="*/ 376725 h 749030"/>
                    <a:gd name="connsiteX364" fmla="*/ 282618 w 1174386"/>
                    <a:gd name="connsiteY364" fmla="*/ 371448 h 749030"/>
                    <a:gd name="connsiteX365" fmla="*/ 278465 w 1174386"/>
                    <a:gd name="connsiteY365" fmla="*/ 372010 h 749030"/>
                    <a:gd name="connsiteX366" fmla="*/ 277541 w 1174386"/>
                    <a:gd name="connsiteY366" fmla="*/ 362095 h 749030"/>
                    <a:gd name="connsiteX367" fmla="*/ 279922 w 1174386"/>
                    <a:gd name="connsiteY367" fmla="*/ 353960 h 749030"/>
                    <a:gd name="connsiteX368" fmla="*/ 277007 w 1174386"/>
                    <a:gd name="connsiteY368" fmla="*/ 365533 h 749030"/>
                    <a:gd name="connsiteX369" fmla="*/ 262415 w 1174386"/>
                    <a:gd name="connsiteY369" fmla="*/ 376154 h 749030"/>
                    <a:gd name="connsiteX370" fmla="*/ 230173 w 1174386"/>
                    <a:gd name="connsiteY370" fmla="*/ 382011 h 749030"/>
                    <a:gd name="connsiteX371" fmla="*/ 255777 w 1174386"/>
                    <a:gd name="connsiteY371" fmla="*/ 353427 h 749030"/>
                    <a:gd name="connsiteX372" fmla="*/ 239517 w 1174386"/>
                    <a:gd name="connsiteY372" fmla="*/ 359532 h 749030"/>
                    <a:gd name="connsiteX373" fmla="*/ 246070 w 1174386"/>
                    <a:gd name="connsiteY373" fmla="*/ 354217 h 749030"/>
                    <a:gd name="connsiteX374" fmla="*/ 241232 w 1174386"/>
                    <a:gd name="connsiteY374" fmla="*/ 351093 h 749030"/>
                    <a:gd name="connsiteX375" fmla="*/ 263149 w 1174386"/>
                    <a:gd name="connsiteY375" fmla="*/ 342130 h 749030"/>
                    <a:gd name="connsiteX376" fmla="*/ 264882 w 1174386"/>
                    <a:gd name="connsiteY376" fmla="*/ 336463 h 749030"/>
                    <a:gd name="connsiteX377" fmla="*/ 256519 w 1174386"/>
                    <a:gd name="connsiteY377" fmla="*/ 335825 h 749030"/>
                    <a:gd name="connsiteX378" fmla="*/ 251462 w 1174386"/>
                    <a:gd name="connsiteY378" fmla="*/ 329471 h 749030"/>
                    <a:gd name="connsiteX379" fmla="*/ 260424 w 1174386"/>
                    <a:gd name="connsiteY379" fmla="*/ 322480 h 749030"/>
                    <a:gd name="connsiteX380" fmla="*/ 252062 w 1174386"/>
                    <a:gd name="connsiteY380" fmla="*/ 321775 h 749030"/>
                    <a:gd name="connsiteX381" fmla="*/ 247242 w 1174386"/>
                    <a:gd name="connsiteY381" fmla="*/ 316289 h 749030"/>
                    <a:gd name="connsiteX382" fmla="*/ 254852 w 1174386"/>
                    <a:gd name="connsiteY382" fmla="*/ 302830 h 749030"/>
                    <a:gd name="connsiteX383" fmla="*/ 233050 w 1174386"/>
                    <a:gd name="connsiteY383" fmla="*/ 298420 h 749030"/>
                    <a:gd name="connsiteX384" fmla="*/ 241270 w 1174386"/>
                    <a:gd name="connsiteY384" fmla="*/ 296020 h 749030"/>
                    <a:gd name="connsiteX385" fmla="*/ 247709 w 1174386"/>
                    <a:gd name="connsiteY385" fmla="*/ 291600 h 749030"/>
                    <a:gd name="connsiteX386" fmla="*/ 250157 w 1174386"/>
                    <a:gd name="connsiteY386" fmla="*/ 287828 h 749030"/>
                    <a:gd name="connsiteX387" fmla="*/ 258586 w 1174386"/>
                    <a:gd name="connsiteY387" fmla="*/ 285761 h 749030"/>
                    <a:gd name="connsiteX388" fmla="*/ 248509 w 1174386"/>
                    <a:gd name="connsiteY388" fmla="*/ 279865 h 749030"/>
                    <a:gd name="connsiteX389" fmla="*/ 242432 w 1174386"/>
                    <a:gd name="connsiteY389" fmla="*/ 272426 h 749030"/>
                    <a:gd name="connsiteX390" fmla="*/ 235374 w 1174386"/>
                    <a:gd name="connsiteY390" fmla="*/ 269597 h 749030"/>
                    <a:gd name="connsiteX391" fmla="*/ 231869 w 1174386"/>
                    <a:gd name="connsiteY391" fmla="*/ 264063 h 749030"/>
                    <a:gd name="connsiteX392" fmla="*/ 225087 w 1174386"/>
                    <a:gd name="connsiteY392" fmla="*/ 258720 h 749030"/>
                    <a:gd name="connsiteX393" fmla="*/ 228049 w 1174386"/>
                    <a:gd name="connsiteY393" fmla="*/ 248176 h 749030"/>
                    <a:gd name="connsiteX394" fmla="*/ 208647 w 1174386"/>
                    <a:gd name="connsiteY394" fmla="*/ 241546 h 749030"/>
                    <a:gd name="connsiteX395" fmla="*/ 166642 w 1174386"/>
                    <a:gd name="connsiteY395" fmla="*/ 231440 h 749030"/>
                    <a:gd name="connsiteX396" fmla="*/ 156897 w 1174386"/>
                    <a:gd name="connsiteY396" fmla="*/ 231202 h 749030"/>
                    <a:gd name="connsiteX397" fmla="*/ 146591 w 1174386"/>
                    <a:gd name="connsiteY397" fmla="*/ 228573 h 749030"/>
                    <a:gd name="connsiteX398" fmla="*/ 136285 w 1174386"/>
                    <a:gd name="connsiteY398" fmla="*/ 232383 h 749030"/>
                    <a:gd name="connsiteX399" fmla="*/ 129608 w 1174386"/>
                    <a:gd name="connsiteY399" fmla="*/ 229688 h 749030"/>
                    <a:gd name="connsiteX400" fmla="*/ 112377 w 1174386"/>
                    <a:gd name="connsiteY400" fmla="*/ 234260 h 749030"/>
                    <a:gd name="connsiteX401" fmla="*/ 98261 w 1174386"/>
                    <a:gd name="connsiteY401" fmla="*/ 232907 h 749030"/>
                    <a:gd name="connsiteX402" fmla="*/ 81745 w 1174386"/>
                    <a:gd name="connsiteY402" fmla="*/ 234755 h 749030"/>
                    <a:gd name="connsiteX403" fmla="*/ 73868 w 1174386"/>
                    <a:gd name="connsiteY403" fmla="*/ 232783 h 749030"/>
                    <a:gd name="connsiteX404" fmla="*/ 76392 w 1174386"/>
                    <a:gd name="connsiteY404" fmla="*/ 240060 h 749030"/>
                    <a:gd name="connsiteX405" fmla="*/ 33834 w 1174386"/>
                    <a:gd name="connsiteY405" fmla="*/ 230288 h 749030"/>
                    <a:gd name="connsiteX406" fmla="*/ 30415 w 1174386"/>
                    <a:gd name="connsiteY406" fmla="*/ 226182 h 749030"/>
                    <a:gd name="connsiteX407" fmla="*/ 42302 w 1174386"/>
                    <a:gd name="connsiteY407" fmla="*/ 222277 h 749030"/>
                    <a:gd name="connsiteX408" fmla="*/ 60485 w 1174386"/>
                    <a:gd name="connsiteY408" fmla="*/ 218848 h 749030"/>
                    <a:gd name="connsiteX409" fmla="*/ 36540 w 1174386"/>
                    <a:gd name="connsiteY409" fmla="*/ 217181 h 749030"/>
                    <a:gd name="connsiteX410" fmla="*/ 36168 w 1174386"/>
                    <a:gd name="connsiteY410" fmla="*/ 208180 h 749030"/>
                    <a:gd name="connsiteX411" fmla="*/ 17556 w 1174386"/>
                    <a:gd name="connsiteY411" fmla="*/ 213800 h 749030"/>
                    <a:gd name="connsiteX412" fmla="*/ 14956 w 1174386"/>
                    <a:gd name="connsiteY412" fmla="*/ 210076 h 749030"/>
                    <a:gd name="connsiteX413" fmla="*/ 18061 w 1174386"/>
                    <a:gd name="connsiteY413" fmla="*/ 202227 h 749030"/>
                    <a:gd name="connsiteX414" fmla="*/ 41626 w 1174386"/>
                    <a:gd name="connsiteY414" fmla="*/ 200646 h 749030"/>
                    <a:gd name="connsiteX415" fmla="*/ 53513 w 1174386"/>
                    <a:gd name="connsiteY415" fmla="*/ 201694 h 749030"/>
                    <a:gd name="connsiteX416" fmla="*/ 62171 w 1174386"/>
                    <a:gd name="connsiteY416" fmla="*/ 197617 h 749030"/>
                    <a:gd name="connsiteX417" fmla="*/ 86346 w 1174386"/>
                    <a:gd name="connsiteY417" fmla="*/ 195740 h 749030"/>
                    <a:gd name="connsiteX418" fmla="*/ 105053 w 1174386"/>
                    <a:gd name="connsiteY418" fmla="*/ 198950 h 749030"/>
                    <a:gd name="connsiteX419" fmla="*/ 108710 w 1174386"/>
                    <a:gd name="connsiteY419" fmla="*/ 193721 h 749030"/>
                    <a:gd name="connsiteX420" fmla="*/ 110006 w 1174386"/>
                    <a:gd name="connsiteY420" fmla="*/ 188435 h 749030"/>
                    <a:gd name="connsiteX421" fmla="*/ 89641 w 1174386"/>
                    <a:gd name="connsiteY421" fmla="*/ 190292 h 749030"/>
                    <a:gd name="connsiteX422" fmla="*/ 71496 w 1174386"/>
                    <a:gd name="connsiteY422" fmla="*/ 189959 h 749030"/>
                    <a:gd name="connsiteX423" fmla="*/ 52332 w 1174386"/>
                    <a:gd name="connsiteY423" fmla="*/ 193178 h 749030"/>
                    <a:gd name="connsiteX424" fmla="*/ 40616 w 1174386"/>
                    <a:gd name="connsiteY424" fmla="*/ 190330 h 749030"/>
                    <a:gd name="connsiteX425" fmla="*/ 33377 w 1174386"/>
                    <a:gd name="connsiteY425" fmla="*/ 185806 h 749030"/>
                    <a:gd name="connsiteX426" fmla="*/ 44531 w 1174386"/>
                    <a:gd name="connsiteY426" fmla="*/ 181653 h 749030"/>
                    <a:gd name="connsiteX427" fmla="*/ 30139 w 1174386"/>
                    <a:gd name="connsiteY427" fmla="*/ 182882 h 749030"/>
                    <a:gd name="connsiteX428" fmla="*/ 15946 w 1174386"/>
                    <a:gd name="connsiteY428" fmla="*/ 179500 h 749030"/>
                    <a:gd name="connsiteX429" fmla="*/ 4021 w 1174386"/>
                    <a:gd name="connsiteY429" fmla="*/ 175147 h 749030"/>
                    <a:gd name="connsiteX430" fmla="*/ 6174 w 1174386"/>
                    <a:gd name="connsiteY430" fmla="*/ 166927 h 749030"/>
                    <a:gd name="connsiteX431" fmla="*/ 39635 w 1174386"/>
                    <a:gd name="connsiteY431" fmla="*/ 156164 h 749030"/>
                    <a:gd name="connsiteX432" fmla="*/ 62000 w 1174386"/>
                    <a:gd name="connsiteY432" fmla="*/ 152268 h 749030"/>
                    <a:gd name="connsiteX433" fmla="*/ 84327 w 1174386"/>
                    <a:gd name="connsiteY433" fmla="*/ 149335 h 749030"/>
                    <a:gd name="connsiteX434" fmla="*/ 86374 w 1174386"/>
                    <a:gd name="connsiteY434" fmla="*/ 146344 h 749030"/>
                    <a:gd name="connsiteX435" fmla="*/ 98538 w 1174386"/>
                    <a:gd name="connsiteY435" fmla="*/ 143791 h 749030"/>
                    <a:gd name="connsiteX436" fmla="*/ 118702 w 1174386"/>
                    <a:gd name="connsiteY436" fmla="*/ 141057 h 749030"/>
                    <a:gd name="connsiteX437" fmla="*/ 159041 w 1174386"/>
                    <a:gd name="connsiteY437" fmla="*/ 134647 h 749030"/>
                    <a:gd name="connsiteX438" fmla="*/ 196350 w 1174386"/>
                    <a:gd name="connsiteY438" fmla="*/ 110215 h 749030"/>
                    <a:gd name="connsiteX439" fmla="*/ 180091 w 1174386"/>
                    <a:gd name="connsiteY439" fmla="*/ 110711 h 749030"/>
                    <a:gd name="connsiteX440" fmla="*/ 160460 w 1174386"/>
                    <a:gd name="connsiteY440" fmla="*/ 112054 h 749030"/>
                    <a:gd name="connsiteX441" fmla="*/ 143229 w 1174386"/>
                    <a:gd name="connsiteY441" fmla="*/ 108806 h 749030"/>
                    <a:gd name="connsiteX442" fmla="*/ 153525 w 1174386"/>
                    <a:gd name="connsiteY442" fmla="*/ 98947 h 749030"/>
                    <a:gd name="connsiteX443" fmla="*/ 193369 w 1174386"/>
                    <a:gd name="connsiteY443" fmla="*/ 86841 h 749030"/>
                    <a:gd name="connsiteX444" fmla="*/ 214343 w 1174386"/>
                    <a:gd name="connsiteY444" fmla="*/ 80631 h 749030"/>
                    <a:gd name="connsiteX445" fmla="*/ 231078 w 1174386"/>
                    <a:gd name="connsiteY445" fmla="*/ 85317 h 749030"/>
                    <a:gd name="connsiteX446" fmla="*/ 257043 w 1174386"/>
                    <a:gd name="connsiteY446" fmla="*/ 77583 h 749030"/>
                    <a:gd name="connsiteX447" fmla="*/ 272426 w 1174386"/>
                    <a:gd name="connsiteY447" fmla="*/ 72020 h 749030"/>
                    <a:gd name="connsiteX448" fmla="*/ 281913 w 1174386"/>
                    <a:gd name="connsiteY448" fmla="*/ 56837 h 749030"/>
                    <a:gd name="connsiteX449" fmla="*/ 320346 w 1174386"/>
                    <a:gd name="connsiteY449" fmla="*/ 55856 h 749030"/>
                    <a:gd name="connsiteX450" fmla="*/ 338796 w 1174386"/>
                    <a:gd name="connsiteY450" fmla="*/ 63629 h 749030"/>
                    <a:gd name="connsiteX451" fmla="*/ 355360 w 1174386"/>
                    <a:gd name="connsiteY451" fmla="*/ 70411 h 749030"/>
                    <a:gd name="connsiteX452" fmla="*/ 336806 w 1174386"/>
                    <a:gd name="connsiteY452" fmla="*/ 60533 h 749030"/>
                    <a:gd name="connsiteX453" fmla="*/ 317279 w 1174386"/>
                    <a:gd name="connsiteY453" fmla="*/ 50903 h 749030"/>
                    <a:gd name="connsiteX454" fmla="*/ 347835 w 1174386"/>
                    <a:gd name="connsiteY454" fmla="*/ 45064 h 749030"/>
                    <a:gd name="connsiteX455" fmla="*/ 380573 w 1174386"/>
                    <a:gd name="connsiteY455" fmla="*/ 43083 h 749030"/>
                    <a:gd name="connsiteX456" fmla="*/ 410758 w 1174386"/>
                    <a:gd name="connsiteY456" fmla="*/ 39873 h 749030"/>
                    <a:gd name="connsiteX457" fmla="*/ 415006 w 1174386"/>
                    <a:gd name="connsiteY457" fmla="*/ 61267 h 749030"/>
                    <a:gd name="connsiteX458" fmla="*/ 431903 w 1174386"/>
                    <a:gd name="connsiteY458" fmla="*/ 49141 h 749030"/>
                    <a:gd name="connsiteX459" fmla="*/ 431208 w 1174386"/>
                    <a:gd name="connsiteY459" fmla="*/ 43512 h 749030"/>
                    <a:gd name="connsiteX460" fmla="*/ 435399 w 1174386"/>
                    <a:gd name="connsiteY460" fmla="*/ 40216 h 749030"/>
                    <a:gd name="connsiteX461" fmla="*/ 446067 w 1174386"/>
                    <a:gd name="connsiteY461" fmla="*/ 44045 h 749030"/>
                    <a:gd name="connsiteX462" fmla="*/ 490977 w 1174386"/>
                    <a:gd name="connsiteY462" fmla="*/ 52932 h 749030"/>
                    <a:gd name="connsiteX463" fmla="*/ 472842 w 1174386"/>
                    <a:gd name="connsiteY463" fmla="*/ 39473 h 749030"/>
                    <a:gd name="connsiteX464" fmla="*/ 491111 w 1174386"/>
                    <a:gd name="connsiteY464" fmla="*/ 35625 h 749030"/>
                    <a:gd name="connsiteX465" fmla="*/ 539650 w 1174386"/>
                    <a:gd name="connsiteY465" fmla="*/ 46093 h 749030"/>
                    <a:gd name="connsiteX466" fmla="*/ 580788 w 1174386"/>
                    <a:gd name="connsiteY466" fmla="*/ 53618 h 749030"/>
                    <a:gd name="connsiteX467" fmla="*/ 583075 w 1174386"/>
                    <a:gd name="connsiteY467" fmla="*/ 44626 h 749030"/>
                    <a:gd name="connsiteX468" fmla="*/ 591628 w 1174386"/>
                    <a:gd name="connsiteY468" fmla="*/ 38740 h 749030"/>
                    <a:gd name="connsiteX469" fmla="*/ 572645 w 1174386"/>
                    <a:gd name="connsiteY469" fmla="*/ 27500 h 749030"/>
                    <a:gd name="connsiteX470" fmla="*/ 587637 w 1174386"/>
                    <a:gd name="connsiteY470" fmla="*/ 25805 h 749030"/>
                    <a:gd name="connsiteX471" fmla="*/ 619555 w 1174386"/>
                    <a:gd name="connsiteY471" fmla="*/ 26834 h 749030"/>
                    <a:gd name="connsiteX472" fmla="*/ 635129 w 1174386"/>
                    <a:gd name="connsiteY472" fmla="*/ 28291 h 749030"/>
                    <a:gd name="connsiteX473" fmla="*/ 646311 w 1174386"/>
                    <a:gd name="connsiteY473" fmla="*/ 25843 h 749030"/>
                    <a:gd name="connsiteX474" fmla="*/ 624585 w 1174386"/>
                    <a:gd name="connsiteY474" fmla="*/ 24719 h 749030"/>
                    <a:gd name="connsiteX475" fmla="*/ 598238 w 1174386"/>
                    <a:gd name="connsiteY475" fmla="*/ 23386 h 749030"/>
                    <a:gd name="connsiteX476" fmla="*/ 559091 w 1174386"/>
                    <a:gd name="connsiteY476" fmla="*/ 20357 h 749030"/>
                    <a:gd name="connsiteX477" fmla="*/ 579169 w 1174386"/>
                    <a:gd name="connsiteY477" fmla="*/ 18137 h 749030"/>
                    <a:gd name="connsiteX478" fmla="*/ 600905 w 1174386"/>
                    <a:gd name="connsiteY478" fmla="*/ 14280 h 749030"/>
                    <a:gd name="connsiteX479" fmla="*/ 642787 w 1174386"/>
                    <a:gd name="connsiteY479" fmla="*/ 13718 h 749030"/>
                    <a:gd name="connsiteX480" fmla="*/ 658922 w 1174386"/>
                    <a:gd name="connsiteY480" fmla="*/ 13022 h 749030"/>
                    <a:gd name="connsiteX481" fmla="*/ 679420 w 1174386"/>
                    <a:gd name="connsiteY481" fmla="*/ 9431 h 749030"/>
                    <a:gd name="connsiteX482" fmla="*/ 698708 w 1174386"/>
                    <a:gd name="connsiteY482" fmla="*/ 15508 h 749030"/>
                    <a:gd name="connsiteX483" fmla="*/ 712319 w 1174386"/>
                    <a:gd name="connsiteY483" fmla="*/ 13784 h 749030"/>
                    <a:gd name="connsiteX484" fmla="*/ 701203 w 1174386"/>
                    <a:gd name="connsiteY484" fmla="*/ 6669 h 749030"/>
                    <a:gd name="connsiteX485" fmla="*/ 719510 w 1174386"/>
                    <a:gd name="connsiteY485" fmla="*/ 3183 h 749030"/>
                    <a:gd name="connsiteX486" fmla="*/ 738056 w 1174386"/>
                    <a:gd name="connsiteY486" fmla="*/ 2783 h 749030"/>
                    <a:gd name="connsiteX487" fmla="*/ 759554 w 1174386"/>
                    <a:gd name="connsiteY487" fmla="*/ 1878 h 749030"/>
                    <a:gd name="connsiteX488" fmla="*/ 856385 w 1174386"/>
                    <a:gd name="connsiteY488" fmla="*/ 1078 h 749030"/>
                    <a:gd name="connsiteX489" fmla="*/ 856385 w 1174386"/>
                    <a:gd name="connsiteY489" fmla="*/ 1078 h 74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Lst>
                  <a:rect l="l" t="t" r="r" b="b"/>
                  <a:pathLst>
                    <a:path w="1174386" h="749030">
                      <a:moveTo>
                        <a:pt x="265692" y="430113"/>
                      </a:moveTo>
                      <a:cubicBezTo>
                        <a:pt x="272407" y="432999"/>
                        <a:pt x="278979" y="432199"/>
                        <a:pt x="277789" y="438961"/>
                      </a:cubicBezTo>
                      <a:cubicBezTo>
                        <a:pt x="277398" y="441181"/>
                        <a:pt x="277427" y="442333"/>
                        <a:pt x="273093" y="444229"/>
                      </a:cubicBezTo>
                      <a:cubicBezTo>
                        <a:pt x="268578" y="446191"/>
                        <a:pt x="262806" y="447200"/>
                        <a:pt x="257986" y="448153"/>
                      </a:cubicBezTo>
                      <a:cubicBezTo>
                        <a:pt x="250766" y="449591"/>
                        <a:pt x="240460" y="453430"/>
                        <a:pt x="233374" y="451258"/>
                      </a:cubicBezTo>
                      <a:cubicBezTo>
                        <a:pt x="220382" y="447277"/>
                        <a:pt x="234602" y="446334"/>
                        <a:pt x="239450" y="445229"/>
                      </a:cubicBezTo>
                      <a:cubicBezTo>
                        <a:pt x="234383" y="439952"/>
                        <a:pt x="223172" y="445391"/>
                        <a:pt x="218305" y="440495"/>
                      </a:cubicBezTo>
                      <a:cubicBezTo>
                        <a:pt x="215409" y="437580"/>
                        <a:pt x="216533" y="434618"/>
                        <a:pt x="220229" y="431780"/>
                      </a:cubicBezTo>
                      <a:cubicBezTo>
                        <a:pt x="224620" y="428408"/>
                        <a:pt x="227449" y="431513"/>
                        <a:pt x="231992" y="430217"/>
                      </a:cubicBezTo>
                      <a:cubicBezTo>
                        <a:pt x="219153" y="425979"/>
                        <a:pt x="224887" y="419187"/>
                        <a:pt x="236231" y="418387"/>
                      </a:cubicBezTo>
                      <a:cubicBezTo>
                        <a:pt x="248109" y="417540"/>
                        <a:pt x="258310" y="421302"/>
                        <a:pt x="265692" y="430113"/>
                      </a:cubicBezTo>
                      <a:lnTo>
                        <a:pt x="265692" y="430113"/>
                      </a:lnTo>
                      <a:close/>
                      <a:moveTo>
                        <a:pt x="849527" y="399356"/>
                      </a:moveTo>
                      <a:cubicBezTo>
                        <a:pt x="849546" y="401595"/>
                        <a:pt x="850308" y="402804"/>
                        <a:pt x="847851" y="403814"/>
                      </a:cubicBezTo>
                      <a:cubicBezTo>
                        <a:pt x="854356" y="408129"/>
                        <a:pt x="841402" y="408872"/>
                        <a:pt x="839059" y="409710"/>
                      </a:cubicBezTo>
                      <a:cubicBezTo>
                        <a:pt x="836535" y="410605"/>
                        <a:pt x="833658" y="413330"/>
                        <a:pt x="830972" y="413615"/>
                      </a:cubicBezTo>
                      <a:cubicBezTo>
                        <a:pt x="828115" y="413911"/>
                        <a:pt x="829296" y="412387"/>
                        <a:pt x="826972" y="412044"/>
                      </a:cubicBezTo>
                      <a:cubicBezTo>
                        <a:pt x="822295" y="411377"/>
                        <a:pt x="792520" y="414568"/>
                        <a:pt x="792091" y="412615"/>
                      </a:cubicBezTo>
                      <a:cubicBezTo>
                        <a:pt x="791424" y="409567"/>
                        <a:pt x="796149" y="409501"/>
                        <a:pt x="797206" y="408377"/>
                      </a:cubicBezTo>
                      <a:cubicBezTo>
                        <a:pt x="798844" y="406624"/>
                        <a:pt x="799901" y="402204"/>
                        <a:pt x="801416" y="401014"/>
                      </a:cubicBezTo>
                      <a:cubicBezTo>
                        <a:pt x="804626" y="398499"/>
                        <a:pt x="812322" y="401271"/>
                        <a:pt x="816894" y="401223"/>
                      </a:cubicBezTo>
                      <a:cubicBezTo>
                        <a:pt x="823352" y="401157"/>
                        <a:pt x="829105" y="399823"/>
                        <a:pt x="835211" y="397899"/>
                      </a:cubicBezTo>
                      <a:cubicBezTo>
                        <a:pt x="844116" y="395089"/>
                        <a:pt x="842250" y="396747"/>
                        <a:pt x="849527" y="399356"/>
                      </a:cubicBezTo>
                      <a:lnTo>
                        <a:pt x="849527" y="399356"/>
                      </a:lnTo>
                      <a:close/>
                      <a:moveTo>
                        <a:pt x="577074" y="47741"/>
                      </a:moveTo>
                      <a:cubicBezTo>
                        <a:pt x="571406" y="49675"/>
                        <a:pt x="559843" y="42598"/>
                        <a:pt x="553785" y="41045"/>
                      </a:cubicBezTo>
                      <a:cubicBezTo>
                        <a:pt x="547137" y="39340"/>
                        <a:pt x="530868" y="31815"/>
                        <a:pt x="545746" y="29548"/>
                      </a:cubicBezTo>
                      <a:cubicBezTo>
                        <a:pt x="554947" y="28148"/>
                        <a:pt x="563396" y="29291"/>
                        <a:pt x="572330" y="31939"/>
                      </a:cubicBezTo>
                      <a:cubicBezTo>
                        <a:pt x="583818" y="35339"/>
                        <a:pt x="583636" y="38730"/>
                        <a:pt x="577074" y="47741"/>
                      </a:cubicBezTo>
                      <a:lnTo>
                        <a:pt x="577074" y="47741"/>
                      </a:lnTo>
                      <a:close/>
                      <a:moveTo>
                        <a:pt x="856385" y="1078"/>
                      </a:moveTo>
                      <a:cubicBezTo>
                        <a:pt x="868596" y="2488"/>
                        <a:pt x="880321" y="4812"/>
                        <a:pt x="892523" y="5774"/>
                      </a:cubicBezTo>
                      <a:cubicBezTo>
                        <a:pt x="903572" y="6641"/>
                        <a:pt x="916678" y="6745"/>
                        <a:pt x="927070" y="10651"/>
                      </a:cubicBezTo>
                      <a:cubicBezTo>
                        <a:pt x="917964" y="13803"/>
                        <a:pt x="906115" y="12451"/>
                        <a:pt x="896657" y="12756"/>
                      </a:cubicBezTo>
                      <a:cubicBezTo>
                        <a:pt x="887055" y="13060"/>
                        <a:pt x="877435" y="13251"/>
                        <a:pt x="867834" y="13489"/>
                      </a:cubicBezTo>
                      <a:cubicBezTo>
                        <a:pt x="858766" y="13708"/>
                        <a:pt x="816332" y="12032"/>
                        <a:pt x="814875" y="19395"/>
                      </a:cubicBezTo>
                      <a:cubicBezTo>
                        <a:pt x="831668" y="20690"/>
                        <a:pt x="848631" y="14946"/>
                        <a:pt x="865729" y="15642"/>
                      </a:cubicBezTo>
                      <a:cubicBezTo>
                        <a:pt x="881683" y="16299"/>
                        <a:pt x="897418" y="17166"/>
                        <a:pt x="913392" y="16223"/>
                      </a:cubicBezTo>
                      <a:cubicBezTo>
                        <a:pt x="919783" y="15842"/>
                        <a:pt x="932918" y="11689"/>
                        <a:pt x="938195" y="13851"/>
                      </a:cubicBezTo>
                      <a:cubicBezTo>
                        <a:pt x="940948" y="14975"/>
                        <a:pt x="942796" y="19699"/>
                        <a:pt x="945815" y="21166"/>
                      </a:cubicBezTo>
                      <a:cubicBezTo>
                        <a:pt x="949511" y="22957"/>
                        <a:pt x="952273" y="21785"/>
                        <a:pt x="956464" y="22424"/>
                      </a:cubicBezTo>
                      <a:cubicBezTo>
                        <a:pt x="963398" y="23471"/>
                        <a:pt x="971971" y="24329"/>
                        <a:pt x="979772" y="25348"/>
                      </a:cubicBezTo>
                      <a:cubicBezTo>
                        <a:pt x="985115" y="26053"/>
                        <a:pt x="995345" y="26443"/>
                        <a:pt x="998374" y="31615"/>
                      </a:cubicBezTo>
                      <a:cubicBezTo>
                        <a:pt x="982020" y="44645"/>
                        <a:pt x="949539" y="41521"/>
                        <a:pt x="929632" y="42293"/>
                      </a:cubicBezTo>
                      <a:cubicBezTo>
                        <a:pt x="910544" y="43036"/>
                        <a:pt x="891446" y="43731"/>
                        <a:pt x="872349" y="44483"/>
                      </a:cubicBezTo>
                      <a:cubicBezTo>
                        <a:pt x="868996" y="44617"/>
                        <a:pt x="846288" y="42693"/>
                        <a:pt x="845231" y="48703"/>
                      </a:cubicBezTo>
                      <a:cubicBezTo>
                        <a:pt x="844174" y="54704"/>
                        <a:pt x="876673" y="49075"/>
                        <a:pt x="881426" y="48874"/>
                      </a:cubicBezTo>
                      <a:cubicBezTo>
                        <a:pt x="895485" y="48274"/>
                        <a:pt x="909934" y="49208"/>
                        <a:pt x="923955" y="50094"/>
                      </a:cubicBezTo>
                      <a:cubicBezTo>
                        <a:pt x="928937" y="50408"/>
                        <a:pt x="934823" y="50760"/>
                        <a:pt x="938986" y="54037"/>
                      </a:cubicBezTo>
                      <a:cubicBezTo>
                        <a:pt x="942538" y="56828"/>
                        <a:pt x="941538" y="58590"/>
                        <a:pt x="945558" y="59495"/>
                      </a:cubicBezTo>
                      <a:cubicBezTo>
                        <a:pt x="948425" y="60143"/>
                        <a:pt x="954550" y="59114"/>
                        <a:pt x="957378" y="57771"/>
                      </a:cubicBezTo>
                      <a:cubicBezTo>
                        <a:pt x="961712" y="55713"/>
                        <a:pt x="963436" y="51446"/>
                        <a:pt x="967970" y="49713"/>
                      </a:cubicBezTo>
                      <a:cubicBezTo>
                        <a:pt x="973828" y="47474"/>
                        <a:pt x="982925" y="48408"/>
                        <a:pt x="989020" y="48227"/>
                      </a:cubicBezTo>
                      <a:cubicBezTo>
                        <a:pt x="994469" y="48065"/>
                        <a:pt x="1000441" y="46684"/>
                        <a:pt x="1001450" y="53456"/>
                      </a:cubicBezTo>
                      <a:cubicBezTo>
                        <a:pt x="1002346" y="59457"/>
                        <a:pt x="995955" y="65172"/>
                        <a:pt x="991754" y="68153"/>
                      </a:cubicBezTo>
                      <a:cubicBezTo>
                        <a:pt x="983696" y="73859"/>
                        <a:pt x="960141" y="78602"/>
                        <a:pt x="957045" y="88508"/>
                      </a:cubicBezTo>
                      <a:cubicBezTo>
                        <a:pt x="960264" y="88889"/>
                        <a:pt x="961083" y="86403"/>
                        <a:pt x="963741" y="85260"/>
                      </a:cubicBezTo>
                      <a:cubicBezTo>
                        <a:pt x="967913" y="83469"/>
                        <a:pt x="972590" y="82898"/>
                        <a:pt x="977019" y="81660"/>
                      </a:cubicBezTo>
                      <a:cubicBezTo>
                        <a:pt x="984096" y="79678"/>
                        <a:pt x="990830" y="76726"/>
                        <a:pt x="997860" y="74535"/>
                      </a:cubicBezTo>
                      <a:cubicBezTo>
                        <a:pt x="1005785" y="72068"/>
                        <a:pt x="1012280" y="67096"/>
                        <a:pt x="1019881" y="63972"/>
                      </a:cubicBezTo>
                      <a:cubicBezTo>
                        <a:pt x="1022796" y="62781"/>
                        <a:pt x="1027225" y="60933"/>
                        <a:pt x="1030530" y="61714"/>
                      </a:cubicBezTo>
                      <a:cubicBezTo>
                        <a:pt x="1035474" y="62886"/>
                        <a:pt x="1033502" y="64191"/>
                        <a:pt x="1037874" y="65953"/>
                      </a:cubicBezTo>
                      <a:cubicBezTo>
                        <a:pt x="1043399" y="68172"/>
                        <a:pt x="1054238" y="67734"/>
                        <a:pt x="1060363" y="68382"/>
                      </a:cubicBezTo>
                      <a:cubicBezTo>
                        <a:pt x="1068735" y="69268"/>
                        <a:pt x="1073355" y="66029"/>
                        <a:pt x="1080813" y="62133"/>
                      </a:cubicBezTo>
                      <a:cubicBezTo>
                        <a:pt x="1094900" y="54770"/>
                        <a:pt x="1108788" y="55466"/>
                        <a:pt x="1124504" y="56228"/>
                      </a:cubicBezTo>
                      <a:cubicBezTo>
                        <a:pt x="1142354" y="57085"/>
                        <a:pt x="1157642" y="61886"/>
                        <a:pt x="1174386" y="66734"/>
                      </a:cubicBezTo>
                      <a:cubicBezTo>
                        <a:pt x="1171291" y="70401"/>
                        <a:pt x="1164309" y="70249"/>
                        <a:pt x="1159813" y="71973"/>
                      </a:cubicBezTo>
                      <a:cubicBezTo>
                        <a:pt x="1154565" y="73982"/>
                        <a:pt x="1149641" y="76621"/>
                        <a:pt x="1144202" y="78392"/>
                      </a:cubicBezTo>
                      <a:cubicBezTo>
                        <a:pt x="1135791" y="81126"/>
                        <a:pt x="1124456" y="78964"/>
                        <a:pt x="1116970" y="82707"/>
                      </a:cubicBezTo>
                      <a:cubicBezTo>
                        <a:pt x="1131010" y="87498"/>
                        <a:pt x="1105464" y="90194"/>
                        <a:pt x="1103654" y="90584"/>
                      </a:cubicBezTo>
                      <a:cubicBezTo>
                        <a:pt x="1093653" y="92747"/>
                        <a:pt x="1083642" y="92489"/>
                        <a:pt x="1073783" y="95309"/>
                      </a:cubicBezTo>
                      <a:cubicBezTo>
                        <a:pt x="1077746" y="98576"/>
                        <a:pt x="1083385" y="98909"/>
                        <a:pt x="1088242" y="99890"/>
                      </a:cubicBezTo>
                      <a:cubicBezTo>
                        <a:pt x="1083023" y="109063"/>
                        <a:pt x="1057629" y="108196"/>
                        <a:pt x="1048304" y="107939"/>
                      </a:cubicBezTo>
                      <a:cubicBezTo>
                        <a:pt x="1035693" y="107587"/>
                        <a:pt x="1021034" y="100891"/>
                        <a:pt x="1010404" y="111397"/>
                      </a:cubicBezTo>
                      <a:cubicBezTo>
                        <a:pt x="1005375" y="116369"/>
                        <a:pt x="1006632" y="120093"/>
                        <a:pt x="1012938" y="121331"/>
                      </a:cubicBezTo>
                      <a:cubicBezTo>
                        <a:pt x="1021767" y="123074"/>
                        <a:pt x="1022472" y="119236"/>
                        <a:pt x="1020377" y="128218"/>
                      </a:cubicBezTo>
                      <a:cubicBezTo>
                        <a:pt x="1018215" y="137476"/>
                        <a:pt x="1021663" y="130189"/>
                        <a:pt x="1025025" y="136038"/>
                      </a:cubicBezTo>
                      <a:cubicBezTo>
                        <a:pt x="1027997" y="141210"/>
                        <a:pt x="1019577" y="140867"/>
                        <a:pt x="1015900" y="141896"/>
                      </a:cubicBezTo>
                      <a:cubicBezTo>
                        <a:pt x="1009871" y="143582"/>
                        <a:pt x="1009509" y="147687"/>
                        <a:pt x="1004079" y="149830"/>
                      </a:cubicBezTo>
                      <a:cubicBezTo>
                        <a:pt x="996717" y="152745"/>
                        <a:pt x="989554" y="150821"/>
                        <a:pt x="982448" y="156107"/>
                      </a:cubicBezTo>
                      <a:cubicBezTo>
                        <a:pt x="989649" y="157831"/>
                        <a:pt x="981353" y="162470"/>
                        <a:pt x="979076" y="165756"/>
                      </a:cubicBezTo>
                      <a:cubicBezTo>
                        <a:pt x="976419" y="169585"/>
                        <a:pt x="974771" y="173061"/>
                        <a:pt x="971628" y="176614"/>
                      </a:cubicBezTo>
                      <a:cubicBezTo>
                        <a:pt x="969047" y="179529"/>
                        <a:pt x="961722" y="186435"/>
                        <a:pt x="969504" y="186958"/>
                      </a:cubicBezTo>
                      <a:cubicBezTo>
                        <a:pt x="974209" y="187273"/>
                        <a:pt x="978114" y="180110"/>
                        <a:pt x="983163" y="179291"/>
                      </a:cubicBezTo>
                      <a:cubicBezTo>
                        <a:pt x="987363" y="178605"/>
                        <a:pt x="1010928" y="182691"/>
                        <a:pt x="1011518" y="187835"/>
                      </a:cubicBezTo>
                      <a:cubicBezTo>
                        <a:pt x="1012109" y="192873"/>
                        <a:pt x="1002508" y="187682"/>
                        <a:pt x="1000403" y="187177"/>
                      </a:cubicBezTo>
                      <a:cubicBezTo>
                        <a:pt x="995117" y="185892"/>
                        <a:pt x="990649" y="186654"/>
                        <a:pt x="985439" y="188359"/>
                      </a:cubicBezTo>
                      <a:cubicBezTo>
                        <a:pt x="989592" y="196722"/>
                        <a:pt x="1004156" y="200903"/>
                        <a:pt x="1013100" y="200532"/>
                      </a:cubicBezTo>
                      <a:cubicBezTo>
                        <a:pt x="1017100" y="200370"/>
                        <a:pt x="1023739" y="196388"/>
                        <a:pt x="1027397" y="200389"/>
                      </a:cubicBezTo>
                      <a:cubicBezTo>
                        <a:pt x="1030330" y="203580"/>
                        <a:pt x="1027635" y="210371"/>
                        <a:pt x="1024692" y="212952"/>
                      </a:cubicBezTo>
                      <a:cubicBezTo>
                        <a:pt x="1018396" y="218486"/>
                        <a:pt x="1004003" y="211485"/>
                        <a:pt x="996317" y="210447"/>
                      </a:cubicBezTo>
                      <a:cubicBezTo>
                        <a:pt x="991449" y="209790"/>
                        <a:pt x="985668" y="209761"/>
                        <a:pt x="980848" y="210876"/>
                      </a:cubicBezTo>
                      <a:cubicBezTo>
                        <a:pt x="975533" y="212104"/>
                        <a:pt x="971542" y="215048"/>
                        <a:pt x="965703" y="216438"/>
                      </a:cubicBezTo>
                      <a:cubicBezTo>
                        <a:pt x="959902" y="217829"/>
                        <a:pt x="958607" y="215619"/>
                        <a:pt x="953006" y="214762"/>
                      </a:cubicBezTo>
                      <a:cubicBezTo>
                        <a:pt x="948787" y="214124"/>
                        <a:pt x="939776" y="215286"/>
                        <a:pt x="945682" y="219658"/>
                      </a:cubicBezTo>
                      <a:cubicBezTo>
                        <a:pt x="948511" y="221744"/>
                        <a:pt x="953835" y="219172"/>
                        <a:pt x="956416" y="221267"/>
                      </a:cubicBezTo>
                      <a:cubicBezTo>
                        <a:pt x="959722" y="223963"/>
                        <a:pt x="957550" y="229392"/>
                        <a:pt x="963579" y="231021"/>
                      </a:cubicBezTo>
                      <a:cubicBezTo>
                        <a:pt x="970647" y="232936"/>
                        <a:pt x="988087" y="227135"/>
                        <a:pt x="993088" y="235545"/>
                      </a:cubicBezTo>
                      <a:cubicBezTo>
                        <a:pt x="993326" y="235946"/>
                        <a:pt x="991354" y="239546"/>
                        <a:pt x="992373" y="241746"/>
                      </a:cubicBezTo>
                      <a:cubicBezTo>
                        <a:pt x="993354" y="243861"/>
                        <a:pt x="996536" y="244347"/>
                        <a:pt x="997650" y="246366"/>
                      </a:cubicBezTo>
                      <a:cubicBezTo>
                        <a:pt x="998517" y="247947"/>
                        <a:pt x="998993" y="253310"/>
                        <a:pt x="998927" y="255291"/>
                      </a:cubicBezTo>
                      <a:cubicBezTo>
                        <a:pt x="998755" y="260730"/>
                        <a:pt x="997441" y="266568"/>
                        <a:pt x="990468" y="266025"/>
                      </a:cubicBezTo>
                      <a:cubicBezTo>
                        <a:pt x="985087" y="265606"/>
                        <a:pt x="982610" y="259748"/>
                        <a:pt x="975895" y="261320"/>
                      </a:cubicBezTo>
                      <a:cubicBezTo>
                        <a:pt x="969970" y="262711"/>
                        <a:pt x="963808" y="266549"/>
                        <a:pt x="957874" y="268235"/>
                      </a:cubicBezTo>
                      <a:cubicBezTo>
                        <a:pt x="950873" y="270216"/>
                        <a:pt x="947777" y="269616"/>
                        <a:pt x="940891" y="267073"/>
                      </a:cubicBezTo>
                      <a:cubicBezTo>
                        <a:pt x="943643" y="269102"/>
                        <a:pt x="947139" y="271693"/>
                        <a:pt x="950644" y="271960"/>
                      </a:cubicBezTo>
                      <a:cubicBezTo>
                        <a:pt x="954816" y="272283"/>
                        <a:pt x="959179" y="267930"/>
                        <a:pt x="963094" y="268511"/>
                      </a:cubicBezTo>
                      <a:cubicBezTo>
                        <a:pt x="972018" y="269835"/>
                        <a:pt x="966513" y="278379"/>
                        <a:pt x="961931" y="281742"/>
                      </a:cubicBezTo>
                      <a:cubicBezTo>
                        <a:pt x="970513" y="284933"/>
                        <a:pt x="971599" y="273760"/>
                        <a:pt x="977143" y="271255"/>
                      </a:cubicBezTo>
                      <a:cubicBezTo>
                        <a:pt x="985601" y="267435"/>
                        <a:pt x="988182" y="278122"/>
                        <a:pt x="992183" y="282847"/>
                      </a:cubicBezTo>
                      <a:cubicBezTo>
                        <a:pt x="994974" y="286152"/>
                        <a:pt x="1000251" y="288971"/>
                        <a:pt x="993573" y="293219"/>
                      </a:cubicBezTo>
                      <a:cubicBezTo>
                        <a:pt x="988944" y="296163"/>
                        <a:pt x="980667" y="293267"/>
                        <a:pt x="975514" y="293438"/>
                      </a:cubicBezTo>
                      <a:cubicBezTo>
                        <a:pt x="977200" y="302973"/>
                        <a:pt x="946186" y="296420"/>
                        <a:pt x="941291" y="294648"/>
                      </a:cubicBezTo>
                      <a:cubicBezTo>
                        <a:pt x="944491" y="291600"/>
                        <a:pt x="949216" y="286228"/>
                        <a:pt x="942624" y="284466"/>
                      </a:cubicBezTo>
                      <a:cubicBezTo>
                        <a:pt x="945101" y="290629"/>
                        <a:pt x="937928" y="291505"/>
                        <a:pt x="933947" y="293324"/>
                      </a:cubicBezTo>
                      <a:cubicBezTo>
                        <a:pt x="939595" y="296001"/>
                        <a:pt x="931832" y="297753"/>
                        <a:pt x="933128" y="300877"/>
                      </a:cubicBezTo>
                      <a:cubicBezTo>
                        <a:pt x="935185" y="305849"/>
                        <a:pt x="951111" y="303316"/>
                        <a:pt x="955540" y="303859"/>
                      </a:cubicBezTo>
                      <a:cubicBezTo>
                        <a:pt x="959045" y="304287"/>
                        <a:pt x="966542" y="304535"/>
                        <a:pt x="969037" y="306650"/>
                      </a:cubicBezTo>
                      <a:cubicBezTo>
                        <a:pt x="972114" y="309259"/>
                        <a:pt x="970685" y="307345"/>
                        <a:pt x="968751" y="312441"/>
                      </a:cubicBezTo>
                      <a:cubicBezTo>
                        <a:pt x="964989" y="322309"/>
                        <a:pt x="958759" y="318365"/>
                        <a:pt x="949473" y="319432"/>
                      </a:cubicBezTo>
                      <a:cubicBezTo>
                        <a:pt x="941948" y="320308"/>
                        <a:pt x="935137" y="325252"/>
                        <a:pt x="927727" y="325357"/>
                      </a:cubicBezTo>
                      <a:cubicBezTo>
                        <a:pt x="920393" y="325452"/>
                        <a:pt x="910963" y="322042"/>
                        <a:pt x="904610" y="318546"/>
                      </a:cubicBezTo>
                      <a:cubicBezTo>
                        <a:pt x="901676" y="316927"/>
                        <a:pt x="898428" y="312660"/>
                        <a:pt x="895847" y="311564"/>
                      </a:cubicBezTo>
                      <a:cubicBezTo>
                        <a:pt x="891494" y="309726"/>
                        <a:pt x="891113" y="313393"/>
                        <a:pt x="886112" y="314393"/>
                      </a:cubicBezTo>
                      <a:cubicBezTo>
                        <a:pt x="878683" y="315879"/>
                        <a:pt x="873968" y="309174"/>
                        <a:pt x="867224" y="307012"/>
                      </a:cubicBezTo>
                      <a:cubicBezTo>
                        <a:pt x="869520" y="310460"/>
                        <a:pt x="876073" y="314765"/>
                        <a:pt x="880140" y="316822"/>
                      </a:cubicBezTo>
                      <a:cubicBezTo>
                        <a:pt x="877321" y="318899"/>
                        <a:pt x="872292" y="318851"/>
                        <a:pt x="868643" y="320251"/>
                      </a:cubicBezTo>
                      <a:cubicBezTo>
                        <a:pt x="864376" y="321890"/>
                        <a:pt x="861214" y="324452"/>
                        <a:pt x="856718" y="325338"/>
                      </a:cubicBezTo>
                      <a:cubicBezTo>
                        <a:pt x="848365" y="326976"/>
                        <a:pt x="837030" y="322852"/>
                        <a:pt x="829019" y="320089"/>
                      </a:cubicBezTo>
                      <a:cubicBezTo>
                        <a:pt x="831991" y="324328"/>
                        <a:pt x="838487" y="323071"/>
                        <a:pt x="842459" y="325985"/>
                      </a:cubicBezTo>
                      <a:cubicBezTo>
                        <a:pt x="836802" y="331053"/>
                        <a:pt x="827810" y="327062"/>
                        <a:pt x="820971" y="329462"/>
                      </a:cubicBezTo>
                      <a:cubicBezTo>
                        <a:pt x="823247" y="333053"/>
                        <a:pt x="832649" y="330272"/>
                        <a:pt x="836830" y="329986"/>
                      </a:cubicBezTo>
                      <a:cubicBezTo>
                        <a:pt x="844441" y="329481"/>
                        <a:pt x="855385" y="328100"/>
                        <a:pt x="862662" y="325700"/>
                      </a:cubicBezTo>
                      <a:cubicBezTo>
                        <a:pt x="870625" y="323071"/>
                        <a:pt x="876587" y="320594"/>
                        <a:pt x="885646" y="320613"/>
                      </a:cubicBezTo>
                      <a:cubicBezTo>
                        <a:pt x="895323" y="320632"/>
                        <a:pt x="900381" y="324023"/>
                        <a:pt x="909001" y="327738"/>
                      </a:cubicBezTo>
                      <a:cubicBezTo>
                        <a:pt x="912773" y="329357"/>
                        <a:pt x="915335" y="330319"/>
                        <a:pt x="919031" y="332291"/>
                      </a:cubicBezTo>
                      <a:cubicBezTo>
                        <a:pt x="922269" y="334015"/>
                        <a:pt x="930242" y="333815"/>
                        <a:pt x="931966" y="336844"/>
                      </a:cubicBezTo>
                      <a:cubicBezTo>
                        <a:pt x="932890" y="338463"/>
                        <a:pt x="930594" y="346169"/>
                        <a:pt x="929889" y="348026"/>
                      </a:cubicBezTo>
                      <a:cubicBezTo>
                        <a:pt x="928965" y="350446"/>
                        <a:pt x="927927" y="351589"/>
                        <a:pt x="926898" y="353246"/>
                      </a:cubicBezTo>
                      <a:cubicBezTo>
                        <a:pt x="926241" y="354313"/>
                        <a:pt x="924355" y="353541"/>
                        <a:pt x="923736" y="354494"/>
                      </a:cubicBezTo>
                      <a:cubicBezTo>
                        <a:pt x="923279" y="355189"/>
                        <a:pt x="924222" y="357608"/>
                        <a:pt x="923822" y="357980"/>
                      </a:cubicBezTo>
                      <a:cubicBezTo>
                        <a:pt x="920060" y="361618"/>
                        <a:pt x="921926" y="361123"/>
                        <a:pt x="916126" y="359304"/>
                      </a:cubicBezTo>
                      <a:cubicBezTo>
                        <a:pt x="912020" y="358018"/>
                        <a:pt x="908001" y="356018"/>
                        <a:pt x="903772" y="354865"/>
                      </a:cubicBezTo>
                      <a:cubicBezTo>
                        <a:pt x="895961" y="352722"/>
                        <a:pt x="887465" y="351617"/>
                        <a:pt x="883217" y="343749"/>
                      </a:cubicBezTo>
                      <a:cubicBezTo>
                        <a:pt x="881293" y="340178"/>
                        <a:pt x="881721" y="334024"/>
                        <a:pt x="878264" y="332558"/>
                      </a:cubicBezTo>
                      <a:cubicBezTo>
                        <a:pt x="874368" y="330891"/>
                        <a:pt x="869558" y="335225"/>
                        <a:pt x="866453" y="336225"/>
                      </a:cubicBezTo>
                      <a:cubicBezTo>
                        <a:pt x="856785" y="339358"/>
                        <a:pt x="846222" y="340282"/>
                        <a:pt x="836382" y="342787"/>
                      </a:cubicBezTo>
                      <a:cubicBezTo>
                        <a:pt x="844183" y="346855"/>
                        <a:pt x="859976" y="340006"/>
                        <a:pt x="868024" y="338311"/>
                      </a:cubicBezTo>
                      <a:cubicBezTo>
                        <a:pt x="874082" y="337034"/>
                        <a:pt x="878064" y="336110"/>
                        <a:pt x="876368" y="344654"/>
                      </a:cubicBezTo>
                      <a:cubicBezTo>
                        <a:pt x="875025" y="351417"/>
                        <a:pt x="869891" y="350284"/>
                        <a:pt x="863948" y="352960"/>
                      </a:cubicBezTo>
                      <a:cubicBezTo>
                        <a:pt x="866348" y="355427"/>
                        <a:pt x="868072" y="353294"/>
                        <a:pt x="871310" y="353046"/>
                      </a:cubicBezTo>
                      <a:cubicBezTo>
                        <a:pt x="875559" y="352722"/>
                        <a:pt x="874578" y="352227"/>
                        <a:pt x="878435" y="353246"/>
                      </a:cubicBezTo>
                      <a:cubicBezTo>
                        <a:pt x="884226" y="354770"/>
                        <a:pt x="890265" y="358847"/>
                        <a:pt x="895999" y="361085"/>
                      </a:cubicBezTo>
                      <a:cubicBezTo>
                        <a:pt x="901362" y="363180"/>
                        <a:pt x="908525" y="364343"/>
                        <a:pt x="913411" y="367171"/>
                      </a:cubicBezTo>
                      <a:cubicBezTo>
                        <a:pt x="919050" y="370438"/>
                        <a:pt x="918640" y="373515"/>
                        <a:pt x="926775" y="373391"/>
                      </a:cubicBezTo>
                      <a:cubicBezTo>
                        <a:pt x="920698" y="380878"/>
                        <a:pt x="912020" y="377316"/>
                        <a:pt x="914402" y="389012"/>
                      </a:cubicBezTo>
                      <a:cubicBezTo>
                        <a:pt x="916297" y="385117"/>
                        <a:pt x="920707" y="379830"/>
                        <a:pt x="925917" y="380964"/>
                      </a:cubicBezTo>
                      <a:cubicBezTo>
                        <a:pt x="932442" y="382383"/>
                        <a:pt x="929461" y="389498"/>
                        <a:pt x="928584" y="394813"/>
                      </a:cubicBezTo>
                      <a:cubicBezTo>
                        <a:pt x="927889" y="399052"/>
                        <a:pt x="930127" y="407415"/>
                        <a:pt x="928622" y="410758"/>
                      </a:cubicBezTo>
                      <a:cubicBezTo>
                        <a:pt x="926165" y="416216"/>
                        <a:pt x="916192" y="413530"/>
                        <a:pt x="910515" y="413777"/>
                      </a:cubicBezTo>
                      <a:cubicBezTo>
                        <a:pt x="911134" y="409596"/>
                        <a:pt x="911134" y="405491"/>
                        <a:pt x="911716" y="401252"/>
                      </a:cubicBezTo>
                      <a:cubicBezTo>
                        <a:pt x="906667" y="404671"/>
                        <a:pt x="908449" y="412368"/>
                        <a:pt x="902552" y="414444"/>
                      </a:cubicBezTo>
                      <a:cubicBezTo>
                        <a:pt x="896514" y="416578"/>
                        <a:pt x="884484" y="413415"/>
                        <a:pt x="879921" y="409377"/>
                      </a:cubicBezTo>
                      <a:cubicBezTo>
                        <a:pt x="874254" y="404348"/>
                        <a:pt x="876692" y="397013"/>
                        <a:pt x="872530" y="391917"/>
                      </a:cubicBezTo>
                      <a:cubicBezTo>
                        <a:pt x="868748" y="387298"/>
                        <a:pt x="858176" y="384659"/>
                        <a:pt x="852842" y="381992"/>
                      </a:cubicBezTo>
                      <a:cubicBezTo>
                        <a:pt x="845260" y="378192"/>
                        <a:pt x="838554" y="378868"/>
                        <a:pt x="830391" y="378411"/>
                      </a:cubicBezTo>
                      <a:cubicBezTo>
                        <a:pt x="826714" y="378211"/>
                        <a:pt x="812941" y="375915"/>
                        <a:pt x="821438" y="380411"/>
                      </a:cubicBezTo>
                      <a:cubicBezTo>
                        <a:pt x="827800" y="383783"/>
                        <a:pt x="838154" y="377992"/>
                        <a:pt x="844060" y="381640"/>
                      </a:cubicBezTo>
                      <a:cubicBezTo>
                        <a:pt x="852822" y="387060"/>
                        <a:pt x="841154" y="393051"/>
                        <a:pt x="836001" y="394918"/>
                      </a:cubicBezTo>
                      <a:cubicBezTo>
                        <a:pt x="828096" y="397775"/>
                        <a:pt x="820133" y="399090"/>
                        <a:pt x="811732" y="398413"/>
                      </a:cubicBezTo>
                      <a:cubicBezTo>
                        <a:pt x="803978" y="397794"/>
                        <a:pt x="795815" y="395280"/>
                        <a:pt x="788024" y="397061"/>
                      </a:cubicBezTo>
                      <a:cubicBezTo>
                        <a:pt x="790148" y="398509"/>
                        <a:pt x="795149" y="398890"/>
                        <a:pt x="795730" y="401014"/>
                      </a:cubicBezTo>
                      <a:cubicBezTo>
                        <a:pt x="796349" y="403300"/>
                        <a:pt x="792358" y="406595"/>
                        <a:pt x="790843" y="407681"/>
                      </a:cubicBezTo>
                      <a:cubicBezTo>
                        <a:pt x="784966" y="411882"/>
                        <a:pt x="776242" y="411653"/>
                        <a:pt x="769831" y="414320"/>
                      </a:cubicBezTo>
                      <a:cubicBezTo>
                        <a:pt x="774479" y="414263"/>
                        <a:pt x="778718" y="413215"/>
                        <a:pt x="783318" y="413777"/>
                      </a:cubicBezTo>
                      <a:cubicBezTo>
                        <a:pt x="789329" y="414520"/>
                        <a:pt x="793929" y="415920"/>
                        <a:pt x="800130" y="415539"/>
                      </a:cubicBezTo>
                      <a:cubicBezTo>
                        <a:pt x="805569" y="415206"/>
                        <a:pt x="819828" y="409748"/>
                        <a:pt x="823390" y="415844"/>
                      </a:cubicBezTo>
                      <a:cubicBezTo>
                        <a:pt x="816199" y="421426"/>
                        <a:pt x="801816" y="417625"/>
                        <a:pt x="797196" y="427455"/>
                      </a:cubicBezTo>
                      <a:cubicBezTo>
                        <a:pt x="803283" y="430532"/>
                        <a:pt x="805055" y="425550"/>
                        <a:pt x="809665" y="422959"/>
                      </a:cubicBezTo>
                      <a:cubicBezTo>
                        <a:pt x="814703" y="420121"/>
                        <a:pt x="819171" y="421550"/>
                        <a:pt x="824590" y="421312"/>
                      </a:cubicBezTo>
                      <a:cubicBezTo>
                        <a:pt x="835363" y="420854"/>
                        <a:pt x="843040" y="417016"/>
                        <a:pt x="854099" y="418406"/>
                      </a:cubicBezTo>
                      <a:cubicBezTo>
                        <a:pt x="863414" y="419578"/>
                        <a:pt x="872263" y="422788"/>
                        <a:pt x="881578" y="423959"/>
                      </a:cubicBezTo>
                      <a:cubicBezTo>
                        <a:pt x="891370" y="425188"/>
                        <a:pt x="902972" y="422321"/>
                        <a:pt x="912220" y="424950"/>
                      </a:cubicBezTo>
                      <a:cubicBezTo>
                        <a:pt x="908544" y="430856"/>
                        <a:pt x="898161" y="430103"/>
                        <a:pt x="892266" y="432037"/>
                      </a:cubicBezTo>
                      <a:cubicBezTo>
                        <a:pt x="892637" y="432856"/>
                        <a:pt x="892999" y="433675"/>
                        <a:pt x="893361" y="434504"/>
                      </a:cubicBezTo>
                      <a:cubicBezTo>
                        <a:pt x="887322" y="435151"/>
                        <a:pt x="880978" y="435847"/>
                        <a:pt x="874902" y="436647"/>
                      </a:cubicBezTo>
                      <a:cubicBezTo>
                        <a:pt x="883941" y="442857"/>
                        <a:pt x="867034" y="441295"/>
                        <a:pt x="864814" y="441409"/>
                      </a:cubicBezTo>
                      <a:cubicBezTo>
                        <a:pt x="869806" y="447543"/>
                        <a:pt x="847593" y="450734"/>
                        <a:pt x="843764" y="451649"/>
                      </a:cubicBezTo>
                      <a:cubicBezTo>
                        <a:pt x="849298" y="456430"/>
                        <a:pt x="836849" y="457307"/>
                        <a:pt x="834296" y="458802"/>
                      </a:cubicBezTo>
                      <a:cubicBezTo>
                        <a:pt x="832972" y="459573"/>
                        <a:pt x="832772" y="461755"/>
                        <a:pt x="831344" y="462726"/>
                      </a:cubicBezTo>
                      <a:cubicBezTo>
                        <a:pt x="829001" y="464317"/>
                        <a:pt x="825991" y="464927"/>
                        <a:pt x="823362" y="465908"/>
                      </a:cubicBezTo>
                      <a:cubicBezTo>
                        <a:pt x="812303" y="470032"/>
                        <a:pt x="800987" y="471670"/>
                        <a:pt x="789319" y="474118"/>
                      </a:cubicBezTo>
                      <a:cubicBezTo>
                        <a:pt x="777013" y="476699"/>
                        <a:pt x="764250" y="479557"/>
                        <a:pt x="751810" y="481424"/>
                      </a:cubicBezTo>
                      <a:cubicBezTo>
                        <a:pt x="746333" y="482243"/>
                        <a:pt x="740361" y="480509"/>
                        <a:pt x="735074" y="481843"/>
                      </a:cubicBezTo>
                      <a:cubicBezTo>
                        <a:pt x="727426" y="483767"/>
                        <a:pt x="726426" y="485339"/>
                        <a:pt x="717844" y="483443"/>
                      </a:cubicBezTo>
                      <a:cubicBezTo>
                        <a:pt x="723644" y="489777"/>
                        <a:pt x="709957" y="489453"/>
                        <a:pt x="706147" y="488634"/>
                      </a:cubicBezTo>
                      <a:cubicBezTo>
                        <a:pt x="697898" y="486872"/>
                        <a:pt x="692336" y="480433"/>
                        <a:pt x="684687" y="477576"/>
                      </a:cubicBezTo>
                      <a:cubicBezTo>
                        <a:pt x="685897" y="481386"/>
                        <a:pt x="687602" y="484672"/>
                        <a:pt x="681982" y="484643"/>
                      </a:cubicBezTo>
                      <a:cubicBezTo>
                        <a:pt x="693107" y="493959"/>
                        <a:pt x="666894" y="498826"/>
                        <a:pt x="662027" y="501779"/>
                      </a:cubicBezTo>
                      <a:cubicBezTo>
                        <a:pt x="653817" y="506770"/>
                        <a:pt x="649835" y="513942"/>
                        <a:pt x="643158" y="520229"/>
                      </a:cubicBezTo>
                      <a:cubicBezTo>
                        <a:pt x="634862" y="528039"/>
                        <a:pt x="627118" y="533316"/>
                        <a:pt x="618984" y="539517"/>
                      </a:cubicBezTo>
                      <a:cubicBezTo>
                        <a:pt x="608906" y="547194"/>
                        <a:pt x="599696" y="547927"/>
                        <a:pt x="590266" y="540450"/>
                      </a:cubicBezTo>
                      <a:cubicBezTo>
                        <a:pt x="591314" y="545060"/>
                        <a:pt x="593571" y="547537"/>
                        <a:pt x="590256" y="551137"/>
                      </a:cubicBezTo>
                      <a:cubicBezTo>
                        <a:pt x="587208" y="554452"/>
                        <a:pt x="577626" y="557776"/>
                        <a:pt x="573397" y="559681"/>
                      </a:cubicBezTo>
                      <a:cubicBezTo>
                        <a:pt x="574740" y="556986"/>
                        <a:pt x="574407" y="555071"/>
                        <a:pt x="571730" y="554109"/>
                      </a:cubicBezTo>
                      <a:cubicBezTo>
                        <a:pt x="569749" y="560062"/>
                        <a:pt x="566177" y="561348"/>
                        <a:pt x="560672" y="561196"/>
                      </a:cubicBezTo>
                      <a:cubicBezTo>
                        <a:pt x="559948" y="561177"/>
                        <a:pt x="559062" y="558395"/>
                        <a:pt x="558605" y="558395"/>
                      </a:cubicBezTo>
                      <a:cubicBezTo>
                        <a:pt x="557681" y="558395"/>
                        <a:pt x="553975" y="560453"/>
                        <a:pt x="553137" y="560986"/>
                      </a:cubicBezTo>
                      <a:cubicBezTo>
                        <a:pt x="550947" y="562396"/>
                        <a:pt x="549461" y="564796"/>
                        <a:pt x="546270" y="566044"/>
                      </a:cubicBezTo>
                      <a:cubicBezTo>
                        <a:pt x="544832" y="566606"/>
                        <a:pt x="537783" y="567854"/>
                        <a:pt x="536554" y="565882"/>
                      </a:cubicBezTo>
                      <a:cubicBezTo>
                        <a:pt x="534602" y="562748"/>
                        <a:pt x="540460" y="560777"/>
                        <a:pt x="542174" y="558853"/>
                      </a:cubicBezTo>
                      <a:cubicBezTo>
                        <a:pt x="546537" y="553966"/>
                        <a:pt x="551242" y="548870"/>
                        <a:pt x="557862" y="544765"/>
                      </a:cubicBezTo>
                      <a:cubicBezTo>
                        <a:pt x="554109" y="542365"/>
                        <a:pt x="544174" y="541384"/>
                        <a:pt x="539260" y="542203"/>
                      </a:cubicBezTo>
                      <a:cubicBezTo>
                        <a:pt x="541603" y="543889"/>
                        <a:pt x="544250" y="545203"/>
                        <a:pt x="546994" y="546108"/>
                      </a:cubicBezTo>
                      <a:cubicBezTo>
                        <a:pt x="542869" y="548413"/>
                        <a:pt x="540993" y="552471"/>
                        <a:pt x="537450" y="554795"/>
                      </a:cubicBezTo>
                      <a:cubicBezTo>
                        <a:pt x="533116" y="557633"/>
                        <a:pt x="532783" y="555747"/>
                        <a:pt x="527591" y="554042"/>
                      </a:cubicBezTo>
                      <a:cubicBezTo>
                        <a:pt x="528372" y="559567"/>
                        <a:pt x="536402" y="559262"/>
                        <a:pt x="529687" y="563967"/>
                      </a:cubicBezTo>
                      <a:cubicBezTo>
                        <a:pt x="525553" y="566873"/>
                        <a:pt x="517495" y="566215"/>
                        <a:pt x="512790" y="566520"/>
                      </a:cubicBezTo>
                      <a:cubicBezTo>
                        <a:pt x="506132" y="566949"/>
                        <a:pt x="490339" y="565701"/>
                        <a:pt x="485662" y="569387"/>
                      </a:cubicBezTo>
                      <a:cubicBezTo>
                        <a:pt x="489644" y="571235"/>
                        <a:pt x="493720" y="572940"/>
                        <a:pt x="497540" y="575112"/>
                      </a:cubicBezTo>
                      <a:cubicBezTo>
                        <a:pt x="491301" y="579855"/>
                        <a:pt x="484253" y="583913"/>
                        <a:pt x="476490" y="583646"/>
                      </a:cubicBezTo>
                      <a:cubicBezTo>
                        <a:pt x="473470" y="583541"/>
                        <a:pt x="465260" y="581008"/>
                        <a:pt x="462593" y="582827"/>
                      </a:cubicBezTo>
                      <a:cubicBezTo>
                        <a:pt x="460240" y="584418"/>
                        <a:pt x="461383" y="586408"/>
                        <a:pt x="461745" y="589980"/>
                      </a:cubicBezTo>
                      <a:cubicBezTo>
                        <a:pt x="470660" y="589609"/>
                        <a:pt x="468993" y="588742"/>
                        <a:pt x="472441" y="596781"/>
                      </a:cubicBezTo>
                      <a:cubicBezTo>
                        <a:pt x="474642" y="601925"/>
                        <a:pt x="476947" y="602915"/>
                        <a:pt x="469175" y="605687"/>
                      </a:cubicBezTo>
                      <a:cubicBezTo>
                        <a:pt x="466917" y="606487"/>
                        <a:pt x="464012" y="606868"/>
                        <a:pt x="462221" y="607468"/>
                      </a:cubicBezTo>
                      <a:cubicBezTo>
                        <a:pt x="460059" y="608173"/>
                        <a:pt x="459878" y="609992"/>
                        <a:pt x="456049" y="610059"/>
                      </a:cubicBezTo>
                      <a:cubicBezTo>
                        <a:pt x="451963" y="610135"/>
                        <a:pt x="446477" y="608221"/>
                        <a:pt x="442057" y="607963"/>
                      </a:cubicBezTo>
                      <a:cubicBezTo>
                        <a:pt x="444714" y="609240"/>
                        <a:pt x="449734" y="613078"/>
                        <a:pt x="452696" y="613545"/>
                      </a:cubicBezTo>
                      <a:cubicBezTo>
                        <a:pt x="455411" y="613964"/>
                        <a:pt x="458525" y="611973"/>
                        <a:pt x="462135" y="613212"/>
                      </a:cubicBezTo>
                      <a:cubicBezTo>
                        <a:pt x="460640" y="616612"/>
                        <a:pt x="460916" y="621470"/>
                        <a:pt x="459668" y="624175"/>
                      </a:cubicBezTo>
                      <a:cubicBezTo>
                        <a:pt x="458316" y="627099"/>
                        <a:pt x="457335" y="626528"/>
                        <a:pt x="454039" y="628899"/>
                      </a:cubicBezTo>
                      <a:cubicBezTo>
                        <a:pt x="452372" y="630100"/>
                        <a:pt x="452925" y="631319"/>
                        <a:pt x="450934" y="632471"/>
                      </a:cubicBezTo>
                      <a:cubicBezTo>
                        <a:pt x="449477" y="633309"/>
                        <a:pt x="447372" y="632024"/>
                        <a:pt x="446134" y="632681"/>
                      </a:cubicBezTo>
                      <a:cubicBezTo>
                        <a:pt x="444895" y="633348"/>
                        <a:pt x="442971" y="637996"/>
                        <a:pt x="442095" y="639120"/>
                      </a:cubicBezTo>
                      <a:cubicBezTo>
                        <a:pt x="439714" y="642187"/>
                        <a:pt x="436942" y="645540"/>
                        <a:pt x="432513" y="646692"/>
                      </a:cubicBezTo>
                      <a:cubicBezTo>
                        <a:pt x="425464" y="648521"/>
                        <a:pt x="422997" y="644225"/>
                        <a:pt x="417330" y="642292"/>
                      </a:cubicBezTo>
                      <a:cubicBezTo>
                        <a:pt x="417568" y="646892"/>
                        <a:pt x="423683" y="648245"/>
                        <a:pt x="427255" y="649740"/>
                      </a:cubicBezTo>
                      <a:cubicBezTo>
                        <a:pt x="419578" y="660808"/>
                        <a:pt x="406595" y="657694"/>
                        <a:pt x="394660" y="657684"/>
                      </a:cubicBezTo>
                      <a:cubicBezTo>
                        <a:pt x="398870" y="661342"/>
                        <a:pt x="405890" y="661742"/>
                        <a:pt x="411215" y="662466"/>
                      </a:cubicBezTo>
                      <a:cubicBezTo>
                        <a:pt x="408700" y="664656"/>
                        <a:pt x="408729" y="666904"/>
                        <a:pt x="407100" y="669419"/>
                      </a:cubicBezTo>
                      <a:cubicBezTo>
                        <a:pt x="404290" y="673762"/>
                        <a:pt x="404567" y="674762"/>
                        <a:pt x="404490" y="678868"/>
                      </a:cubicBezTo>
                      <a:cubicBezTo>
                        <a:pt x="404424" y="682135"/>
                        <a:pt x="406243" y="684021"/>
                        <a:pt x="401871" y="686869"/>
                      </a:cubicBezTo>
                      <a:cubicBezTo>
                        <a:pt x="399156" y="688640"/>
                        <a:pt x="395413" y="687145"/>
                        <a:pt x="392460" y="689269"/>
                      </a:cubicBezTo>
                      <a:cubicBezTo>
                        <a:pt x="394356" y="689259"/>
                        <a:pt x="396270" y="690288"/>
                        <a:pt x="398166" y="690402"/>
                      </a:cubicBezTo>
                      <a:cubicBezTo>
                        <a:pt x="395251" y="695479"/>
                        <a:pt x="391003" y="700251"/>
                        <a:pt x="387641" y="705157"/>
                      </a:cubicBezTo>
                      <a:cubicBezTo>
                        <a:pt x="384278" y="710062"/>
                        <a:pt x="382040" y="716263"/>
                        <a:pt x="378039" y="720416"/>
                      </a:cubicBezTo>
                      <a:cubicBezTo>
                        <a:pt x="373896" y="724721"/>
                        <a:pt x="369095" y="727817"/>
                        <a:pt x="363190" y="727112"/>
                      </a:cubicBezTo>
                      <a:cubicBezTo>
                        <a:pt x="358494" y="726550"/>
                        <a:pt x="353207" y="722911"/>
                        <a:pt x="348864" y="725502"/>
                      </a:cubicBezTo>
                      <a:cubicBezTo>
                        <a:pt x="355265" y="730131"/>
                        <a:pt x="363876" y="726035"/>
                        <a:pt x="363914" y="735094"/>
                      </a:cubicBezTo>
                      <a:cubicBezTo>
                        <a:pt x="363971" y="748305"/>
                        <a:pt x="351179" y="745457"/>
                        <a:pt x="342816" y="742580"/>
                      </a:cubicBezTo>
                      <a:cubicBezTo>
                        <a:pt x="344045" y="744581"/>
                        <a:pt x="346340" y="745895"/>
                        <a:pt x="348102" y="747838"/>
                      </a:cubicBezTo>
                      <a:cubicBezTo>
                        <a:pt x="344245" y="748286"/>
                        <a:pt x="340920" y="749676"/>
                        <a:pt x="336958" y="748676"/>
                      </a:cubicBezTo>
                      <a:cubicBezTo>
                        <a:pt x="337796" y="747790"/>
                        <a:pt x="338139" y="746619"/>
                        <a:pt x="339149" y="745752"/>
                      </a:cubicBezTo>
                      <a:cubicBezTo>
                        <a:pt x="336615" y="746381"/>
                        <a:pt x="331786" y="747857"/>
                        <a:pt x="330910" y="745095"/>
                      </a:cubicBezTo>
                      <a:cubicBezTo>
                        <a:pt x="329748" y="741437"/>
                        <a:pt x="337796" y="737961"/>
                        <a:pt x="339901" y="735684"/>
                      </a:cubicBezTo>
                      <a:cubicBezTo>
                        <a:pt x="339625" y="735379"/>
                        <a:pt x="339349" y="735075"/>
                        <a:pt x="339073" y="734770"/>
                      </a:cubicBezTo>
                      <a:cubicBezTo>
                        <a:pt x="335148" y="736789"/>
                        <a:pt x="331338" y="742304"/>
                        <a:pt x="327176" y="742866"/>
                      </a:cubicBezTo>
                      <a:cubicBezTo>
                        <a:pt x="322537" y="743495"/>
                        <a:pt x="315127" y="738646"/>
                        <a:pt x="311098" y="736989"/>
                      </a:cubicBezTo>
                      <a:cubicBezTo>
                        <a:pt x="313165" y="729341"/>
                        <a:pt x="325023" y="729236"/>
                        <a:pt x="330948" y="722740"/>
                      </a:cubicBezTo>
                      <a:cubicBezTo>
                        <a:pt x="320013" y="725912"/>
                        <a:pt x="316241" y="731036"/>
                        <a:pt x="304744" y="725721"/>
                      </a:cubicBezTo>
                      <a:cubicBezTo>
                        <a:pt x="291200" y="719473"/>
                        <a:pt x="309621" y="713377"/>
                        <a:pt x="310688" y="704995"/>
                      </a:cubicBezTo>
                      <a:cubicBezTo>
                        <a:pt x="307088" y="706080"/>
                        <a:pt x="305440" y="708881"/>
                        <a:pt x="301191" y="710338"/>
                      </a:cubicBezTo>
                      <a:cubicBezTo>
                        <a:pt x="295829" y="712176"/>
                        <a:pt x="290714" y="713891"/>
                        <a:pt x="285466" y="715920"/>
                      </a:cubicBezTo>
                      <a:cubicBezTo>
                        <a:pt x="280370" y="717901"/>
                        <a:pt x="275874" y="718025"/>
                        <a:pt x="270502" y="717825"/>
                      </a:cubicBezTo>
                      <a:cubicBezTo>
                        <a:pt x="267949" y="717730"/>
                        <a:pt x="259158" y="714443"/>
                        <a:pt x="261692" y="720397"/>
                      </a:cubicBezTo>
                      <a:cubicBezTo>
                        <a:pt x="259834" y="720520"/>
                        <a:pt x="251204" y="721692"/>
                        <a:pt x="250814" y="718253"/>
                      </a:cubicBezTo>
                      <a:cubicBezTo>
                        <a:pt x="250509" y="715472"/>
                        <a:pt x="261158" y="713196"/>
                        <a:pt x="263816" y="711948"/>
                      </a:cubicBezTo>
                      <a:cubicBezTo>
                        <a:pt x="259748" y="710891"/>
                        <a:pt x="253757" y="711291"/>
                        <a:pt x="249490" y="711729"/>
                      </a:cubicBezTo>
                      <a:cubicBezTo>
                        <a:pt x="254148" y="705566"/>
                        <a:pt x="248623" y="705547"/>
                        <a:pt x="244861" y="703756"/>
                      </a:cubicBezTo>
                      <a:cubicBezTo>
                        <a:pt x="244299" y="703490"/>
                        <a:pt x="240727" y="703737"/>
                        <a:pt x="240175" y="703147"/>
                      </a:cubicBezTo>
                      <a:cubicBezTo>
                        <a:pt x="239546" y="702461"/>
                        <a:pt x="240708" y="700118"/>
                        <a:pt x="240251" y="699584"/>
                      </a:cubicBezTo>
                      <a:cubicBezTo>
                        <a:pt x="237946" y="696889"/>
                        <a:pt x="240555" y="695289"/>
                        <a:pt x="235336" y="693298"/>
                      </a:cubicBezTo>
                      <a:cubicBezTo>
                        <a:pt x="236927" y="692622"/>
                        <a:pt x="237422" y="691098"/>
                        <a:pt x="238707" y="690279"/>
                      </a:cubicBezTo>
                      <a:cubicBezTo>
                        <a:pt x="230192" y="684421"/>
                        <a:pt x="246728" y="678544"/>
                        <a:pt x="251833" y="677867"/>
                      </a:cubicBezTo>
                      <a:cubicBezTo>
                        <a:pt x="245385" y="675839"/>
                        <a:pt x="243651" y="679039"/>
                        <a:pt x="237965" y="680106"/>
                      </a:cubicBezTo>
                      <a:cubicBezTo>
                        <a:pt x="229649" y="681677"/>
                        <a:pt x="230964" y="675858"/>
                        <a:pt x="236917" y="673038"/>
                      </a:cubicBezTo>
                      <a:cubicBezTo>
                        <a:pt x="231659" y="670476"/>
                        <a:pt x="226801" y="669276"/>
                        <a:pt x="222182" y="665466"/>
                      </a:cubicBezTo>
                      <a:cubicBezTo>
                        <a:pt x="225477" y="662285"/>
                        <a:pt x="225458" y="658579"/>
                        <a:pt x="228116" y="655608"/>
                      </a:cubicBezTo>
                      <a:cubicBezTo>
                        <a:pt x="231393" y="651931"/>
                        <a:pt x="237031" y="649750"/>
                        <a:pt x="241251" y="647473"/>
                      </a:cubicBezTo>
                      <a:cubicBezTo>
                        <a:pt x="235364" y="649111"/>
                        <a:pt x="230421" y="653036"/>
                        <a:pt x="224839" y="654484"/>
                      </a:cubicBezTo>
                      <a:cubicBezTo>
                        <a:pt x="224068" y="649026"/>
                        <a:pt x="217829" y="644387"/>
                        <a:pt x="215419" y="638910"/>
                      </a:cubicBezTo>
                      <a:cubicBezTo>
                        <a:pt x="214200" y="636119"/>
                        <a:pt x="210637" y="630881"/>
                        <a:pt x="210437" y="628175"/>
                      </a:cubicBezTo>
                      <a:cubicBezTo>
                        <a:pt x="210085" y="623470"/>
                        <a:pt x="215533" y="621651"/>
                        <a:pt x="213286" y="617193"/>
                      </a:cubicBezTo>
                      <a:cubicBezTo>
                        <a:pt x="218810" y="615974"/>
                        <a:pt x="224382" y="615021"/>
                        <a:pt x="229916" y="613878"/>
                      </a:cubicBezTo>
                      <a:cubicBezTo>
                        <a:pt x="234412" y="612945"/>
                        <a:pt x="241279" y="613107"/>
                        <a:pt x="245023" y="610630"/>
                      </a:cubicBezTo>
                      <a:cubicBezTo>
                        <a:pt x="243270" y="611097"/>
                        <a:pt x="241584" y="610707"/>
                        <a:pt x="239851" y="610802"/>
                      </a:cubicBezTo>
                      <a:cubicBezTo>
                        <a:pt x="240632" y="609945"/>
                        <a:pt x="241308" y="608411"/>
                        <a:pt x="242270" y="607525"/>
                      </a:cubicBezTo>
                      <a:cubicBezTo>
                        <a:pt x="236888" y="609059"/>
                        <a:pt x="219124" y="617498"/>
                        <a:pt x="213904" y="614183"/>
                      </a:cubicBezTo>
                      <a:cubicBezTo>
                        <a:pt x="209075" y="611116"/>
                        <a:pt x="219010" y="605544"/>
                        <a:pt x="221601" y="603534"/>
                      </a:cubicBezTo>
                      <a:cubicBezTo>
                        <a:pt x="226354" y="599848"/>
                        <a:pt x="230402" y="598762"/>
                        <a:pt x="236393" y="599772"/>
                      </a:cubicBezTo>
                      <a:cubicBezTo>
                        <a:pt x="236403" y="596000"/>
                        <a:pt x="242108" y="595029"/>
                        <a:pt x="245204" y="595600"/>
                      </a:cubicBezTo>
                      <a:cubicBezTo>
                        <a:pt x="251119" y="596695"/>
                        <a:pt x="248423" y="601972"/>
                        <a:pt x="253595" y="603287"/>
                      </a:cubicBezTo>
                      <a:cubicBezTo>
                        <a:pt x="253709" y="602258"/>
                        <a:pt x="254738" y="595943"/>
                        <a:pt x="254243" y="595209"/>
                      </a:cubicBezTo>
                      <a:cubicBezTo>
                        <a:pt x="251662" y="591323"/>
                        <a:pt x="248823" y="595229"/>
                        <a:pt x="246147" y="593228"/>
                      </a:cubicBezTo>
                      <a:cubicBezTo>
                        <a:pt x="242394" y="590428"/>
                        <a:pt x="244127" y="582808"/>
                        <a:pt x="241699" y="579541"/>
                      </a:cubicBezTo>
                      <a:cubicBezTo>
                        <a:pt x="241374" y="583151"/>
                        <a:pt x="243260" y="589761"/>
                        <a:pt x="241451" y="592647"/>
                      </a:cubicBezTo>
                      <a:cubicBezTo>
                        <a:pt x="239336" y="596029"/>
                        <a:pt x="232059" y="596981"/>
                        <a:pt x="228583" y="597572"/>
                      </a:cubicBezTo>
                      <a:cubicBezTo>
                        <a:pt x="230107" y="596095"/>
                        <a:pt x="231068" y="594209"/>
                        <a:pt x="232421" y="592619"/>
                      </a:cubicBezTo>
                      <a:cubicBezTo>
                        <a:pt x="225011" y="594266"/>
                        <a:pt x="215333" y="611421"/>
                        <a:pt x="208599" y="610288"/>
                      </a:cubicBezTo>
                      <a:cubicBezTo>
                        <a:pt x="202379" y="609240"/>
                        <a:pt x="211733" y="590180"/>
                        <a:pt x="211285" y="584846"/>
                      </a:cubicBezTo>
                      <a:cubicBezTo>
                        <a:pt x="210504" y="575502"/>
                        <a:pt x="204732" y="577160"/>
                        <a:pt x="217229" y="572083"/>
                      </a:cubicBezTo>
                      <a:cubicBezTo>
                        <a:pt x="222229" y="570054"/>
                        <a:pt x="226525" y="566339"/>
                        <a:pt x="231488" y="564425"/>
                      </a:cubicBezTo>
                      <a:cubicBezTo>
                        <a:pt x="236050" y="562663"/>
                        <a:pt x="242403" y="563434"/>
                        <a:pt x="246118" y="561434"/>
                      </a:cubicBezTo>
                      <a:cubicBezTo>
                        <a:pt x="233126" y="559272"/>
                        <a:pt x="225992" y="570635"/>
                        <a:pt x="214400" y="571216"/>
                      </a:cubicBezTo>
                      <a:cubicBezTo>
                        <a:pt x="209971" y="571435"/>
                        <a:pt x="210409" y="569168"/>
                        <a:pt x="207361" y="568320"/>
                      </a:cubicBezTo>
                      <a:cubicBezTo>
                        <a:pt x="205465" y="567797"/>
                        <a:pt x="201522" y="568911"/>
                        <a:pt x="199350" y="567911"/>
                      </a:cubicBezTo>
                      <a:cubicBezTo>
                        <a:pt x="193693" y="565310"/>
                        <a:pt x="201141" y="558491"/>
                        <a:pt x="204056" y="555090"/>
                      </a:cubicBezTo>
                      <a:cubicBezTo>
                        <a:pt x="200998" y="555281"/>
                        <a:pt x="200655" y="554528"/>
                        <a:pt x="198683" y="552852"/>
                      </a:cubicBezTo>
                      <a:cubicBezTo>
                        <a:pt x="208513" y="547346"/>
                        <a:pt x="220353" y="544441"/>
                        <a:pt x="230697" y="539822"/>
                      </a:cubicBezTo>
                      <a:cubicBezTo>
                        <a:pt x="235041" y="537879"/>
                        <a:pt x="238822" y="535240"/>
                        <a:pt x="243127" y="533345"/>
                      </a:cubicBezTo>
                      <a:cubicBezTo>
                        <a:pt x="247909" y="531240"/>
                        <a:pt x="253548" y="530354"/>
                        <a:pt x="257424" y="526601"/>
                      </a:cubicBezTo>
                      <a:cubicBezTo>
                        <a:pt x="247899" y="526439"/>
                        <a:pt x="234021" y="536440"/>
                        <a:pt x="225430" y="540307"/>
                      </a:cubicBezTo>
                      <a:cubicBezTo>
                        <a:pt x="216362" y="544394"/>
                        <a:pt x="205418" y="551423"/>
                        <a:pt x="195178" y="549509"/>
                      </a:cubicBezTo>
                      <a:cubicBezTo>
                        <a:pt x="195817" y="542355"/>
                        <a:pt x="201979" y="536469"/>
                        <a:pt x="207894" y="533192"/>
                      </a:cubicBezTo>
                      <a:cubicBezTo>
                        <a:pt x="212076" y="530878"/>
                        <a:pt x="216229" y="528963"/>
                        <a:pt x="220667" y="528030"/>
                      </a:cubicBezTo>
                      <a:cubicBezTo>
                        <a:pt x="224487" y="527220"/>
                        <a:pt x="228363" y="528220"/>
                        <a:pt x="231926" y="526629"/>
                      </a:cubicBezTo>
                      <a:cubicBezTo>
                        <a:pt x="224591" y="523934"/>
                        <a:pt x="213209" y="528544"/>
                        <a:pt x="206484" y="524286"/>
                      </a:cubicBezTo>
                      <a:cubicBezTo>
                        <a:pt x="200931" y="520762"/>
                        <a:pt x="203256" y="516647"/>
                        <a:pt x="206856" y="512599"/>
                      </a:cubicBezTo>
                      <a:cubicBezTo>
                        <a:pt x="210971" y="507980"/>
                        <a:pt x="215781" y="507265"/>
                        <a:pt x="221782" y="504951"/>
                      </a:cubicBezTo>
                      <a:cubicBezTo>
                        <a:pt x="232735" y="500731"/>
                        <a:pt x="238707" y="498397"/>
                        <a:pt x="250328" y="501226"/>
                      </a:cubicBezTo>
                      <a:cubicBezTo>
                        <a:pt x="255519" y="502493"/>
                        <a:pt x="260301" y="501474"/>
                        <a:pt x="265406" y="502312"/>
                      </a:cubicBezTo>
                      <a:cubicBezTo>
                        <a:pt x="270045" y="503074"/>
                        <a:pt x="274598" y="507665"/>
                        <a:pt x="279113" y="506246"/>
                      </a:cubicBezTo>
                      <a:cubicBezTo>
                        <a:pt x="277189" y="503627"/>
                        <a:pt x="272407" y="502445"/>
                        <a:pt x="269130" y="501026"/>
                      </a:cubicBezTo>
                      <a:cubicBezTo>
                        <a:pt x="271131" y="499388"/>
                        <a:pt x="273655" y="499407"/>
                        <a:pt x="276465" y="498197"/>
                      </a:cubicBezTo>
                      <a:cubicBezTo>
                        <a:pt x="271788" y="496207"/>
                        <a:pt x="266540" y="498959"/>
                        <a:pt x="261749" y="499293"/>
                      </a:cubicBezTo>
                      <a:cubicBezTo>
                        <a:pt x="255529" y="499740"/>
                        <a:pt x="250728" y="496892"/>
                        <a:pt x="244927" y="496597"/>
                      </a:cubicBezTo>
                      <a:cubicBezTo>
                        <a:pt x="233431" y="496007"/>
                        <a:pt x="221810" y="507980"/>
                        <a:pt x="211438" y="505579"/>
                      </a:cubicBezTo>
                      <a:cubicBezTo>
                        <a:pt x="219038" y="498293"/>
                        <a:pt x="227868" y="484215"/>
                        <a:pt x="239003" y="484986"/>
                      </a:cubicBezTo>
                      <a:cubicBezTo>
                        <a:pt x="251652" y="485853"/>
                        <a:pt x="259634" y="493197"/>
                        <a:pt x="270445" y="485139"/>
                      </a:cubicBezTo>
                      <a:cubicBezTo>
                        <a:pt x="272464" y="483634"/>
                        <a:pt x="281160" y="479538"/>
                        <a:pt x="276322" y="478271"/>
                      </a:cubicBezTo>
                      <a:cubicBezTo>
                        <a:pt x="272388" y="477252"/>
                        <a:pt x="266702" y="482576"/>
                        <a:pt x="262796" y="483443"/>
                      </a:cubicBezTo>
                      <a:cubicBezTo>
                        <a:pt x="256300" y="484881"/>
                        <a:pt x="249966" y="484567"/>
                        <a:pt x="243585" y="483129"/>
                      </a:cubicBezTo>
                      <a:cubicBezTo>
                        <a:pt x="239670" y="482252"/>
                        <a:pt x="234402" y="481986"/>
                        <a:pt x="229278" y="482005"/>
                      </a:cubicBezTo>
                      <a:cubicBezTo>
                        <a:pt x="236765" y="473832"/>
                        <a:pt x="248118" y="466470"/>
                        <a:pt x="259520" y="470089"/>
                      </a:cubicBezTo>
                      <a:cubicBezTo>
                        <a:pt x="267492" y="472613"/>
                        <a:pt x="270093" y="475480"/>
                        <a:pt x="278903" y="473089"/>
                      </a:cubicBezTo>
                      <a:cubicBezTo>
                        <a:pt x="283704" y="471784"/>
                        <a:pt x="288714" y="469775"/>
                        <a:pt x="291600" y="465641"/>
                      </a:cubicBezTo>
                      <a:cubicBezTo>
                        <a:pt x="288238" y="466984"/>
                        <a:pt x="284761" y="468184"/>
                        <a:pt x="281113" y="468070"/>
                      </a:cubicBezTo>
                      <a:cubicBezTo>
                        <a:pt x="283332" y="465060"/>
                        <a:pt x="286885" y="457326"/>
                        <a:pt x="290209" y="455859"/>
                      </a:cubicBezTo>
                      <a:cubicBezTo>
                        <a:pt x="295238" y="453649"/>
                        <a:pt x="302297" y="458002"/>
                        <a:pt x="307268" y="454039"/>
                      </a:cubicBezTo>
                      <a:cubicBezTo>
                        <a:pt x="301373" y="452153"/>
                        <a:pt x="297401" y="454020"/>
                        <a:pt x="290971" y="453277"/>
                      </a:cubicBezTo>
                      <a:cubicBezTo>
                        <a:pt x="293791" y="448677"/>
                        <a:pt x="301649" y="439295"/>
                        <a:pt x="306278" y="436809"/>
                      </a:cubicBezTo>
                      <a:cubicBezTo>
                        <a:pt x="309688" y="434980"/>
                        <a:pt x="312402" y="434580"/>
                        <a:pt x="314126" y="432980"/>
                      </a:cubicBezTo>
                      <a:cubicBezTo>
                        <a:pt x="312155" y="434799"/>
                        <a:pt x="314146" y="428455"/>
                        <a:pt x="313974" y="429427"/>
                      </a:cubicBezTo>
                      <a:cubicBezTo>
                        <a:pt x="313965" y="429474"/>
                        <a:pt x="317660" y="427998"/>
                        <a:pt x="318156" y="427912"/>
                      </a:cubicBezTo>
                      <a:cubicBezTo>
                        <a:pt x="314879" y="426436"/>
                        <a:pt x="311831" y="428331"/>
                        <a:pt x="308354" y="428189"/>
                      </a:cubicBezTo>
                      <a:cubicBezTo>
                        <a:pt x="305344" y="428065"/>
                        <a:pt x="302839" y="426550"/>
                        <a:pt x="299696" y="426750"/>
                      </a:cubicBezTo>
                      <a:cubicBezTo>
                        <a:pt x="292086" y="427246"/>
                        <a:pt x="286104" y="429760"/>
                        <a:pt x="277865" y="426598"/>
                      </a:cubicBezTo>
                      <a:cubicBezTo>
                        <a:pt x="272026" y="424360"/>
                        <a:pt x="267597" y="419873"/>
                        <a:pt x="261263" y="418063"/>
                      </a:cubicBezTo>
                      <a:cubicBezTo>
                        <a:pt x="254576" y="416149"/>
                        <a:pt x="244099" y="417787"/>
                        <a:pt x="240346" y="410348"/>
                      </a:cubicBezTo>
                      <a:cubicBezTo>
                        <a:pt x="236412" y="402566"/>
                        <a:pt x="247242" y="402119"/>
                        <a:pt x="253881" y="402862"/>
                      </a:cubicBezTo>
                      <a:cubicBezTo>
                        <a:pt x="260901" y="403643"/>
                        <a:pt x="268216" y="403547"/>
                        <a:pt x="275179" y="404729"/>
                      </a:cubicBezTo>
                      <a:cubicBezTo>
                        <a:pt x="286857" y="406710"/>
                        <a:pt x="303449" y="422702"/>
                        <a:pt x="315584" y="415225"/>
                      </a:cubicBezTo>
                      <a:cubicBezTo>
                        <a:pt x="313165" y="414501"/>
                        <a:pt x="310612" y="414234"/>
                        <a:pt x="308364" y="412901"/>
                      </a:cubicBezTo>
                      <a:cubicBezTo>
                        <a:pt x="303582" y="410062"/>
                        <a:pt x="304878" y="410320"/>
                        <a:pt x="305516" y="405852"/>
                      </a:cubicBezTo>
                      <a:cubicBezTo>
                        <a:pt x="305897" y="403233"/>
                        <a:pt x="309231" y="403747"/>
                        <a:pt x="307764" y="400728"/>
                      </a:cubicBezTo>
                      <a:cubicBezTo>
                        <a:pt x="306983" y="399137"/>
                        <a:pt x="301411" y="397785"/>
                        <a:pt x="300182" y="396556"/>
                      </a:cubicBezTo>
                      <a:cubicBezTo>
                        <a:pt x="305344" y="395651"/>
                        <a:pt x="311212" y="399433"/>
                        <a:pt x="315832" y="396842"/>
                      </a:cubicBezTo>
                      <a:cubicBezTo>
                        <a:pt x="311698" y="395089"/>
                        <a:pt x="310174" y="393622"/>
                        <a:pt x="305716" y="392975"/>
                      </a:cubicBezTo>
                      <a:cubicBezTo>
                        <a:pt x="301839" y="392403"/>
                        <a:pt x="297953" y="393241"/>
                        <a:pt x="294115" y="392660"/>
                      </a:cubicBezTo>
                      <a:cubicBezTo>
                        <a:pt x="290876" y="392175"/>
                        <a:pt x="277598" y="391908"/>
                        <a:pt x="276665" y="390127"/>
                      </a:cubicBezTo>
                      <a:cubicBezTo>
                        <a:pt x="272064" y="381364"/>
                        <a:pt x="305630" y="378297"/>
                        <a:pt x="309174" y="375372"/>
                      </a:cubicBezTo>
                      <a:cubicBezTo>
                        <a:pt x="299734" y="376439"/>
                        <a:pt x="291581" y="376020"/>
                        <a:pt x="282523" y="378601"/>
                      </a:cubicBezTo>
                      <a:cubicBezTo>
                        <a:pt x="280599" y="379154"/>
                        <a:pt x="271769" y="381783"/>
                        <a:pt x="273445" y="376725"/>
                      </a:cubicBezTo>
                      <a:cubicBezTo>
                        <a:pt x="273712" y="375915"/>
                        <a:pt x="281494" y="373163"/>
                        <a:pt x="282618" y="371448"/>
                      </a:cubicBezTo>
                      <a:cubicBezTo>
                        <a:pt x="281342" y="371886"/>
                        <a:pt x="279789" y="371705"/>
                        <a:pt x="278465" y="372010"/>
                      </a:cubicBezTo>
                      <a:cubicBezTo>
                        <a:pt x="279970" y="367343"/>
                        <a:pt x="278865" y="366428"/>
                        <a:pt x="277541" y="362095"/>
                      </a:cubicBezTo>
                      <a:cubicBezTo>
                        <a:pt x="276474" y="358580"/>
                        <a:pt x="273902" y="354827"/>
                        <a:pt x="279922" y="353960"/>
                      </a:cubicBezTo>
                      <a:cubicBezTo>
                        <a:pt x="268426" y="353694"/>
                        <a:pt x="276703" y="360390"/>
                        <a:pt x="277007" y="365533"/>
                      </a:cubicBezTo>
                      <a:cubicBezTo>
                        <a:pt x="277294" y="370286"/>
                        <a:pt x="267473" y="377782"/>
                        <a:pt x="262415" y="376154"/>
                      </a:cubicBezTo>
                      <a:cubicBezTo>
                        <a:pt x="266854" y="387212"/>
                        <a:pt x="235250" y="387041"/>
                        <a:pt x="230173" y="382011"/>
                      </a:cubicBezTo>
                      <a:cubicBezTo>
                        <a:pt x="220115" y="372058"/>
                        <a:pt x="251928" y="358923"/>
                        <a:pt x="255777" y="353427"/>
                      </a:cubicBezTo>
                      <a:cubicBezTo>
                        <a:pt x="250747" y="353065"/>
                        <a:pt x="244994" y="361361"/>
                        <a:pt x="239517" y="359532"/>
                      </a:cubicBezTo>
                      <a:cubicBezTo>
                        <a:pt x="231564" y="356875"/>
                        <a:pt x="244165" y="355532"/>
                        <a:pt x="246070" y="354217"/>
                      </a:cubicBezTo>
                      <a:cubicBezTo>
                        <a:pt x="244432" y="352865"/>
                        <a:pt x="243289" y="351608"/>
                        <a:pt x="241232" y="351093"/>
                      </a:cubicBezTo>
                      <a:cubicBezTo>
                        <a:pt x="248337" y="346883"/>
                        <a:pt x="257824" y="350922"/>
                        <a:pt x="263149" y="342130"/>
                      </a:cubicBezTo>
                      <a:cubicBezTo>
                        <a:pt x="263673" y="341263"/>
                        <a:pt x="265263" y="337387"/>
                        <a:pt x="264882" y="336463"/>
                      </a:cubicBezTo>
                      <a:cubicBezTo>
                        <a:pt x="262635" y="330919"/>
                        <a:pt x="259272" y="335891"/>
                        <a:pt x="256519" y="335825"/>
                      </a:cubicBezTo>
                      <a:cubicBezTo>
                        <a:pt x="250671" y="335672"/>
                        <a:pt x="245404" y="334015"/>
                        <a:pt x="251462" y="329471"/>
                      </a:cubicBezTo>
                      <a:cubicBezTo>
                        <a:pt x="254281" y="327357"/>
                        <a:pt x="260606" y="327900"/>
                        <a:pt x="260424" y="322480"/>
                      </a:cubicBezTo>
                      <a:cubicBezTo>
                        <a:pt x="260244" y="317279"/>
                        <a:pt x="255252" y="320985"/>
                        <a:pt x="252062" y="321775"/>
                      </a:cubicBezTo>
                      <a:cubicBezTo>
                        <a:pt x="252728" y="318642"/>
                        <a:pt x="250280" y="316813"/>
                        <a:pt x="247242" y="316289"/>
                      </a:cubicBezTo>
                      <a:cubicBezTo>
                        <a:pt x="251204" y="309650"/>
                        <a:pt x="257558" y="311164"/>
                        <a:pt x="254852" y="302830"/>
                      </a:cubicBezTo>
                      <a:cubicBezTo>
                        <a:pt x="251404" y="292219"/>
                        <a:pt x="241956" y="299115"/>
                        <a:pt x="233050" y="298420"/>
                      </a:cubicBezTo>
                      <a:cubicBezTo>
                        <a:pt x="235745" y="297363"/>
                        <a:pt x="238584" y="296944"/>
                        <a:pt x="241270" y="296020"/>
                      </a:cubicBezTo>
                      <a:cubicBezTo>
                        <a:pt x="245756" y="294486"/>
                        <a:pt x="244718" y="293829"/>
                        <a:pt x="247709" y="291600"/>
                      </a:cubicBezTo>
                      <a:cubicBezTo>
                        <a:pt x="249252" y="290448"/>
                        <a:pt x="247976" y="289362"/>
                        <a:pt x="250157" y="287828"/>
                      </a:cubicBezTo>
                      <a:cubicBezTo>
                        <a:pt x="251871" y="286628"/>
                        <a:pt x="256462" y="286666"/>
                        <a:pt x="258586" y="285761"/>
                      </a:cubicBezTo>
                      <a:cubicBezTo>
                        <a:pt x="255510" y="283161"/>
                        <a:pt x="251204" y="282542"/>
                        <a:pt x="248509" y="279865"/>
                      </a:cubicBezTo>
                      <a:cubicBezTo>
                        <a:pt x="246004" y="277360"/>
                        <a:pt x="246299" y="274741"/>
                        <a:pt x="242432" y="272426"/>
                      </a:cubicBezTo>
                      <a:cubicBezTo>
                        <a:pt x="240393" y="271198"/>
                        <a:pt x="237183" y="271121"/>
                        <a:pt x="235374" y="269597"/>
                      </a:cubicBezTo>
                      <a:cubicBezTo>
                        <a:pt x="233450" y="267978"/>
                        <a:pt x="233431" y="265711"/>
                        <a:pt x="231869" y="264063"/>
                      </a:cubicBezTo>
                      <a:cubicBezTo>
                        <a:pt x="229849" y="261930"/>
                        <a:pt x="226573" y="260872"/>
                        <a:pt x="225087" y="258720"/>
                      </a:cubicBezTo>
                      <a:cubicBezTo>
                        <a:pt x="232402" y="256119"/>
                        <a:pt x="237774" y="252348"/>
                        <a:pt x="228049" y="248176"/>
                      </a:cubicBezTo>
                      <a:cubicBezTo>
                        <a:pt x="222020" y="245594"/>
                        <a:pt x="214990" y="243794"/>
                        <a:pt x="208647" y="241546"/>
                      </a:cubicBezTo>
                      <a:cubicBezTo>
                        <a:pt x="194988" y="236717"/>
                        <a:pt x="181139" y="232574"/>
                        <a:pt x="166642" y="231440"/>
                      </a:cubicBezTo>
                      <a:cubicBezTo>
                        <a:pt x="163470" y="231193"/>
                        <a:pt x="159974" y="231783"/>
                        <a:pt x="156897" y="231202"/>
                      </a:cubicBezTo>
                      <a:cubicBezTo>
                        <a:pt x="153268" y="230516"/>
                        <a:pt x="150935" y="227964"/>
                        <a:pt x="146591" y="228573"/>
                      </a:cubicBezTo>
                      <a:cubicBezTo>
                        <a:pt x="143153" y="229059"/>
                        <a:pt x="139781" y="232259"/>
                        <a:pt x="136285" y="232383"/>
                      </a:cubicBezTo>
                      <a:cubicBezTo>
                        <a:pt x="133056" y="232497"/>
                        <a:pt x="132028" y="229954"/>
                        <a:pt x="129608" y="229688"/>
                      </a:cubicBezTo>
                      <a:cubicBezTo>
                        <a:pt x="124312" y="229107"/>
                        <a:pt x="117816" y="233393"/>
                        <a:pt x="112377" y="234260"/>
                      </a:cubicBezTo>
                      <a:cubicBezTo>
                        <a:pt x="105996" y="235288"/>
                        <a:pt x="103624" y="234231"/>
                        <a:pt x="98261" y="232907"/>
                      </a:cubicBezTo>
                      <a:cubicBezTo>
                        <a:pt x="92346" y="231450"/>
                        <a:pt x="87765" y="235241"/>
                        <a:pt x="81745" y="234755"/>
                      </a:cubicBezTo>
                      <a:cubicBezTo>
                        <a:pt x="79116" y="234545"/>
                        <a:pt x="76726" y="231173"/>
                        <a:pt x="73868" y="232783"/>
                      </a:cubicBezTo>
                      <a:cubicBezTo>
                        <a:pt x="70467" y="234717"/>
                        <a:pt x="73925" y="237774"/>
                        <a:pt x="76392" y="240060"/>
                      </a:cubicBezTo>
                      <a:cubicBezTo>
                        <a:pt x="63838" y="241918"/>
                        <a:pt x="44283" y="237974"/>
                        <a:pt x="33834" y="230288"/>
                      </a:cubicBezTo>
                      <a:cubicBezTo>
                        <a:pt x="30929" y="228145"/>
                        <a:pt x="28338" y="229297"/>
                        <a:pt x="30415" y="226182"/>
                      </a:cubicBezTo>
                      <a:cubicBezTo>
                        <a:pt x="31710" y="224230"/>
                        <a:pt x="40159" y="222839"/>
                        <a:pt x="42302" y="222277"/>
                      </a:cubicBezTo>
                      <a:cubicBezTo>
                        <a:pt x="48169" y="220734"/>
                        <a:pt x="54999" y="221344"/>
                        <a:pt x="60485" y="218848"/>
                      </a:cubicBezTo>
                      <a:cubicBezTo>
                        <a:pt x="53751" y="216038"/>
                        <a:pt x="44016" y="218848"/>
                        <a:pt x="36540" y="217181"/>
                      </a:cubicBezTo>
                      <a:cubicBezTo>
                        <a:pt x="27033" y="215067"/>
                        <a:pt x="29948" y="213114"/>
                        <a:pt x="36168" y="208180"/>
                      </a:cubicBezTo>
                      <a:cubicBezTo>
                        <a:pt x="31425" y="209761"/>
                        <a:pt x="22728" y="214438"/>
                        <a:pt x="17556" y="213800"/>
                      </a:cubicBezTo>
                      <a:cubicBezTo>
                        <a:pt x="13994" y="213362"/>
                        <a:pt x="11289" y="212419"/>
                        <a:pt x="14956" y="210076"/>
                      </a:cubicBezTo>
                      <a:cubicBezTo>
                        <a:pt x="4735" y="207542"/>
                        <a:pt x="11965" y="203522"/>
                        <a:pt x="18061" y="202227"/>
                      </a:cubicBezTo>
                      <a:cubicBezTo>
                        <a:pt x="25443" y="200655"/>
                        <a:pt x="34139" y="200522"/>
                        <a:pt x="41626" y="200646"/>
                      </a:cubicBezTo>
                      <a:cubicBezTo>
                        <a:pt x="45236" y="200703"/>
                        <a:pt x="49979" y="202389"/>
                        <a:pt x="53513" y="201694"/>
                      </a:cubicBezTo>
                      <a:cubicBezTo>
                        <a:pt x="56504" y="201103"/>
                        <a:pt x="59161" y="198550"/>
                        <a:pt x="62171" y="197617"/>
                      </a:cubicBezTo>
                      <a:cubicBezTo>
                        <a:pt x="69639" y="195293"/>
                        <a:pt x="78611" y="195531"/>
                        <a:pt x="86346" y="195740"/>
                      </a:cubicBezTo>
                      <a:cubicBezTo>
                        <a:pt x="90365" y="195845"/>
                        <a:pt x="101881" y="199855"/>
                        <a:pt x="105053" y="198950"/>
                      </a:cubicBezTo>
                      <a:cubicBezTo>
                        <a:pt x="103472" y="199398"/>
                        <a:pt x="109053" y="193102"/>
                        <a:pt x="108710" y="193721"/>
                      </a:cubicBezTo>
                      <a:cubicBezTo>
                        <a:pt x="110530" y="190473"/>
                        <a:pt x="112987" y="192140"/>
                        <a:pt x="110006" y="188435"/>
                      </a:cubicBezTo>
                      <a:cubicBezTo>
                        <a:pt x="105424" y="182739"/>
                        <a:pt x="94804" y="189035"/>
                        <a:pt x="89641" y="190292"/>
                      </a:cubicBezTo>
                      <a:cubicBezTo>
                        <a:pt x="82993" y="191911"/>
                        <a:pt x="77992" y="190749"/>
                        <a:pt x="71496" y="189959"/>
                      </a:cubicBezTo>
                      <a:cubicBezTo>
                        <a:pt x="64705" y="189140"/>
                        <a:pt x="59457" y="193540"/>
                        <a:pt x="52332" y="193178"/>
                      </a:cubicBezTo>
                      <a:cubicBezTo>
                        <a:pt x="49141" y="193016"/>
                        <a:pt x="43302" y="191988"/>
                        <a:pt x="40616" y="190330"/>
                      </a:cubicBezTo>
                      <a:cubicBezTo>
                        <a:pt x="38073" y="188768"/>
                        <a:pt x="39340" y="185282"/>
                        <a:pt x="33377" y="185806"/>
                      </a:cubicBezTo>
                      <a:cubicBezTo>
                        <a:pt x="35263" y="183682"/>
                        <a:pt x="41064" y="182263"/>
                        <a:pt x="44531" y="181653"/>
                      </a:cubicBezTo>
                      <a:cubicBezTo>
                        <a:pt x="39625" y="180491"/>
                        <a:pt x="35082" y="182605"/>
                        <a:pt x="30139" y="182882"/>
                      </a:cubicBezTo>
                      <a:cubicBezTo>
                        <a:pt x="24185" y="183215"/>
                        <a:pt x="21042" y="180958"/>
                        <a:pt x="15946" y="179500"/>
                      </a:cubicBezTo>
                      <a:cubicBezTo>
                        <a:pt x="10850" y="178043"/>
                        <a:pt x="8288" y="178195"/>
                        <a:pt x="4021" y="175147"/>
                      </a:cubicBezTo>
                      <a:cubicBezTo>
                        <a:pt x="-3180" y="170004"/>
                        <a:pt x="383" y="170956"/>
                        <a:pt x="6174" y="166927"/>
                      </a:cubicBezTo>
                      <a:cubicBezTo>
                        <a:pt x="1364" y="161412"/>
                        <a:pt x="34501" y="156307"/>
                        <a:pt x="39635" y="156164"/>
                      </a:cubicBezTo>
                      <a:cubicBezTo>
                        <a:pt x="47341" y="155955"/>
                        <a:pt x="54370" y="153507"/>
                        <a:pt x="62000" y="152268"/>
                      </a:cubicBezTo>
                      <a:cubicBezTo>
                        <a:pt x="68801" y="151173"/>
                        <a:pt x="78173" y="152078"/>
                        <a:pt x="84327" y="149335"/>
                      </a:cubicBezTo>
                      <a:cubicBezTo>
                        <a:pt x="87279" y="148020"/>
                        <a:pt x="83869" y="147487"/>
                        <a:pt x="86374" y="146344"/>
                      </a:cubicBezTo>
                      <a:cubicBezTo>
                        <a:pt x="89937" y="144715"/>
                        <a:pt x="94737" y="144429"/>
                        <a:pt x="98538" y="143791"/>
                      </a:cubicBezTo>
                      <a:cubicBezTo>
                        <a:pt x="105177" y="142667"/>
                        <a:pt x="112035" y="141848"/>
                        <a:pt x="118702" y="141057"/>
                      </a:cubicBezTo>
                      <a:cubicBezTo>
                        <a:pt x="133856" y="139276"/>
                        <a:pt x="145296" y="142886"/>
                        <a:pt x="159041" y="134647"/>
                      </a:cubicBezTo>
                      <a:cubicBezTo>
                        <a:pt x="173061" y="126246"/>
                        <a:pt x="179214" y="112254"/>
                        <a:pt x="196350" y="110215"/>
                      </a:cubicBezTo>
                      <a:cubicBezTo>
                        <a:pt x="191940" y="107206"/>
                        <a:pt x="185063" y="110330"/>
                        <a:pt x="180091" y="110711"/>
                      </a:cubicBezTo>
                      <a:cubicBezTo>
                        <a:pt x="173547" y="111216"/>
                        <a:pt x="166975" y="112749"/>
                        <a:pt x="160460" y="112054"/>
                      </a:cubicBezTo>
                      <a:cubicBezTo>
                        <a:pt x="156831" y="111663"/>
                        <a:pt x="144991" y="112330"/>
                        <a:pt x="143229" y="108806"/>
                      </a:cubicBezTo>
                      <a:cubicBezTo>
                        <a:pt x="140752" y="103834"/>
                        <a:pt x="150220" y="100414"/>
                        <a:pt x="153525" y="98947"/>
                      </a:cubicBezTo>
                      <a:cubicBezTo>
                        <a:pt x="166337" y="93261"/>
                        <a:pt x="180329" y="92004"/>
                        <a:pt x="193369" y="86841"/>
                      </a:cubicBezTo>
                      <a:cubicBezTo>
                        <a:pt x="200779" y="83907"/>
                        <a:pt x="206351" y="81555"/>
                        <a:pt x="214343" y="80631"/>
                      </a:cubicBezTo>
                      <a:cubicBezTo>
                        <a:pt x="222725" y="79650"/>
                        <a:pt x="224172" y="82507"/>
                        <a:pt x="231078" y="85317"/>
                      </a:cubicBezTo>
                      <a:cubicBezTo>
                        <a:pt x="226192" y="69820"/>
                        <a:pt x="250052" y="76602"/>
                        <a:pt x="257043" y="77583"/>
                      </a:cubicBezTo>
                      <a:cubicBezTo>
                        <a:pt x="263168" y="78440"/>
                        <a:pt x="268007" y="76868"/>
                        <a:pt x="272426" y="72020"/>
                      </a:cubicBezTo>
                      <a:cubicBezTo>
                        <a:pt x="277446" y="66496"/>
                        <a:pt x="275541" y="60543"/>
                        <a:pt x="281913" y="56837"/>
                      </a:cubicBezTo>
                      <a:cubicBezTo>
                        <a:pt x="292591" y="50646"/>
                        <a:pt x="309345" y="51141"/>
                        <a:pt x="320346" y="55856"/>
                      </a:cubicBezTo>
                      <a:cubicBezTo>
                        <a:pt x="326671" y="58561"/>
                        <a:pt x="332319" y="61286"/>
                        <a:pt x="338796" y="63629"/>
                      </a:cubicBezTo>
                      <a:cubicBezTo>
                        <a:pt x="344349" y="65638"/>
                        <a:pt x="349207" y="70449"/>
                        <a:pt x="355360" y="70411"/>
                      </a:cubicBezTo>
                      <a:cubicBezTo>
                        <a:pt x="351826" y="64743"/>
                        <a:pt x="342530" y="63419"/>
                        <a:pt x="336806" y="60533"/>
                      </a:cubicBezTo>
                      <a:cubicBezTo>
                        <a:pt x="329862" y="57037"/>
                        <a:pt x="324966" y="52999"/>
                        <a:pt x="317279" y="50903"/>
                      </a:cubicBezTo>
                      <a:cubicBezTo>
                        <a:pt x="323766" y="45684"/>
                        <a:pt x="339882" y="45912"/>
                        <a:pt x="347835" y="45064"/>
                      </a:cubicBezTo>
                      <a:cubicBezTo>
                        <a:pt x="358799" y="43893"/>
                        <a:pt x="369619" y="43626"/>
                        <a:pt x="380573" y="43083"/>
                      </a:cubicBezTo>
                      <a:cubicBezTo>
                        <a:pt x="390603" y="42588"/>
                        <a:pt x="400414" y="37721"/>
                        <a:pt x="410758" y="39873"/>
                      </a:cubicBezTo>
                      <a:cubicBezTo>
                        <a:pt x="426807" y="43217"/>
                        <a:pt x="415854" y="51408"/>
                        <a:pt x="415006" y="61267"/>
                      </a:cubicBezTo>
                      <a:cubicBezTo>
                        <a:pt x="420187" y="59381"/>
                        <a:pt x="429932" y="55075"/>
                        <a:pt x="431903" y="49141"/>
                      </a:cubicBezTo>
                      <a:cubicBezTo>
                        <a:pt x="432465" y="47474"/>
                        <a:pt x="429627" y="46760"/>
                        <a:pt x="431208" y="43512"/>
                      </a:cubicBezTo>
                      <a:cubicBezTo>
                        <a:pt x="432141" y="41588"/>
                        <a:pt x="433465" y="40664"/>
                        <a:pt x="435399" y="40216"/>
                      </a:cubicBezTo>
                      <a:cubicBezTo>
                        <a:pt x="439171" y="39340"/>
                        <a:pt x="442952" y="42436"/>
                        <a:pt x="446067" y="44045"/>
                      </a:cubicBezTo>
                      <a:cubicBezTo>
                        <a:pt x="459278" y="50884"/>
                        <a:pt x="475737" y="57723"/>
                        <a:pt x="490977" y="52932"/>
                      </a:cubicBezTo>
                      <a:cubicBezTo>
                        <a:pt x="486177" y="48503"/>
                        <a:pt x="473794" y="47655"/>
                        <a:pt x="472842" y="39473"/>
                      </a:cubicBezTo>
                      <a:cubicBezTo>
                        <a:pt x="472042" y="32587"/>
                        <a:pt x="485538" y="35273"/>
                        <a:pt x="491111" y="35625"/>
                      </a:cubicBezTo>
                      <a:cubicBezTo>
                        <a:pt x="508256" y="36711"/>
                        <a:pt x="523029" y="42721"/>
                        <a:pt x="539650" y="46093"/>
                      </a:cubicBezTo>
                      <a:cubicBezTo>
                        <a:pt x="548385" y="47865"/>
                        <a:pt x="574759" y="64381"/>
                        <a:pt x="580788" y="53618"/>
                      </a:cubicBezTo>
                      <a:cubicBezTo>
                        <a:pt x="582151" y="51189"/>
                        <a:pt x="580588" y="47703"/>
                        <a:pt x="583075" y="44626"/>
                      </a:cubicBezTo>
                      <a:cubicBezTo>
                        <a:pt x="584932" y="42331"/>
                        <a:pt x="590847" y="41121"/>
                        <a:pt x="591628" y="38740"/>
                      </a:cubicBezTo>
                      <a:cubicBezTo>
                        <a:pt x="593628" y="32634"/>
                        <a:pt x="576045" y="28815"/>
                        <a:pt x="572645" y="27500"/>
                      </a:cubicBezTo>
                      <a:cubicBezTo>
                        <a:pt x="576417" y="24995"/>
                        <a:pt x="582836" y="25691"/>
                        <a:pt x="587637" y="25805"/>
                      </a:cubicBezTo>
                      <a:cubicBezTo>
                        <a:pt x="598276" y="26053"/>
                        <a:pt x="608916" y="26415"/>
                        <a:pt x="619555" y="26834"/>
                      </a:cubicBezTo>
                      <a:cubicBezTo>
                        <a:pt x="624803" y="27034"/>
                        <a:pt x="629995" y="27872"/>
                        <a:pt x="635129" y="28291"/>
                      </a:cubicBezTo>
                      <a:cubicBezTo>
                        <a:pt x="636900" y="28434"/>
                        <a:pt x="650407" y="29310"/>
                        <a:pt x="646311" y="25843"/>
                      </a:cubicBezTo>
                      <a:cubicBezTo>
                        <a:pt x="643101" y="23119"/>
                        <a:pt x="628728" y="24929"/>
                        <a:pt x="624585" y="24719"/>
                      </a:cubicBezTo>
                      <a:cubicBezTo>
                        <a:pt x="615812" y="24281"/>
                        <a:pt x="607011" y="23995"/>
                        <a:pt x="598238" y="23386"/>
                      </a:cubicBezTo>
                      <a:cubicBezTo>
                        <a:pt x="587428" y="22624"/>
                        <a:pt x="567653" y="27329"/>
                        <a:pt x="559091" y="20357"/>
                      </a:cubicBezTo>
                      <a:cubicBezTo>
                        <a:pt x="567606" y="15994"/>
                        <a:pt x="570302" y="18737"/>
                        <a:pt x="579169" y="18137"/>
                      </a:cubicBezTo>
                      <a:cubicBezTo>
                        <a:pt x="586075" y="17671"/>
                        <a:pt x="593819" y="15099"/>
                        <a:pt x="600905" y="14280"/>
                      </a:cubicBezTo>
                      <a:cubicBezTo>
                        <a:pt x="616650" y="12460"/>
                        <a:pt x="627337" y="9651"/>
                        <a:pt x="642787" y="13718"/>
                      </a:cubicBezTo>
                      <a:cubicBezTo>
                        <a:pt x="649121" y="15394"/>
                        <a:pt x="652759" y="15689"/>
                        <a:pt x="658922" y="13022"/>
                      </a:cubicBezTo>
                      <a:cubicBezTo>
                        <a:pt x="666180" y="9870"/>
                        <a:pt x="671409" y="7660"/>
                        <a:pt x="679420" y="9431"/>
                      </a:cubicBezTo>
                      <a:cubicBezTo>
                        <a:pt x="685887" y="10860"/>
                        <a:pt x="692888" y="12641"/>
                        <a:pt x="698708" y="15508"/>
                      </a:cubicBezTo>
                      <a:cubicBezTo>
                        <a:pt x="705890" y="19052"/>
                        <a:pt x="707033" y="20109"/>
                        <a:pt x="712319" y="13784"/>
                      </a:cubicBezTo>
                      <a:cubicBezTo>
                        <a:pt x="709224" y="11889"/>
                        <a:pt x="697660" y="11460"/>
                        <a:pt x="701203" y="6669"/>
                      </a:cubicBezTo>
                      <a:cubicBezTo>
                        <a:pt x="701537" y="6231"/>
                        <a:pt x="717691" y="3459"/>
                        <a:pt x="719510" y="3183"/>
                      </a:cubicBezTo>
                      <a:cubicBezTo>
                        <a:pt x="725511" y="2278"/>
                        <a:pt x="732531" y="3631"/>
                        <a:pt x="738056" y="2783"/>
                      </a:cubicBezTo>
                      <a:cubicBezTo>
                        <a:pt x="744809" y="1754"/>
                        <a:pt x="752391" y="2192"/>
                        <a:pt x="759554" y="1878"/>
                      </a:cubicBezTo>
                      <a:cubicBezTo>
                        <a:pt x="791624" y="526"/>
                        <a:pt x="824067" y="-1132"/>
                        <a:pt x="856385" y="1078"/>
                      </a:cubicBezTo>
                      <a:lnTo>
                        <a:pt x="856385" y="1078"/>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43" name="Freeform: Shape 642">
                  <a:extLst>
                    <a:ext uri="{FF2B5EF4-FFF2-40B4-BE49-F238E27FC236}">
                      <a16:creationId xmlns:a16="http://schemas.microsoft.com/office/drawing/2014/main" id="{63B7E972-691E-43BA-9502-BA633B7B4A6A}"/>
                    </a:ext>
                  </a:extLst>
                </p:cNvPr>
                <p:cNvSpPr/>
                <p:nvPr/>
              </p:nvSpPr>
              <p:spPr>
                <a:xfrm>
                  <a:off x="6150949" y="3049470"/>
                  <a:ext cx="195443" cy="214583"/>
                </a:xfrm>
                <a:custGeom>
                  <a:avLst/>
                  <a:gdLst>
                    <a:gd name="connsiteX0" fmla="*/ 124015 w 195443"/>
                    <a:gd name="connsiteY0" fmla="*/ 196047 h 214583"/>
                    <a:gd name="connsiteX1" fmla="*/ 133883 w 195443"/>
                    <a:gd name="connsiteY1" fmla="*/ 195990 h 214583"/>
                    <a:gd name="connsiteX2" fmla="*/ 131502 w 195443"/>
                    <a:gd name="connsiteY2" fmla="*/ 197305 h 214583"/>
                    <a:gd name="connsiteX3" fmla="*/ 143485 w 195443"/>
                    <a:gd name="connsiteY3" fmla="*/ 201048 h 214583"/>
                    <a:gd name="connsiteX4" fmla="*/ 166068 w 195443"/>
                    <a:gd name="connsiteY4" fmla="*/ 202239 h 214583"/>
                    <a:gd name="connsiteX5" fmla="*/ 177260 w 195443"/>
                    <a:gd name="connsiteY5" fmla="*/ 202115 h 214583"/>
                    <a:gd name="connsiteX6" fmla="*/ 179689 w 195443"/>
                    <a:gd name="connsiteY6" fmla="*/ 208430 h 214583"/>
                    <a:gd name="connsiteX7" fmla="*/ 195443 w 195443"/>
                    <a:gd name="connsiteY7" fmla="*/ 203010 h 214583"/>
                    <a:gd name="connsiteX8" fmla="*/ 192786 w 195443"/>
                    <a:gd name="connsiteY8" fmla="*/ 212145 h 214583"/>
                    <a:gd name="connsiteX9" fmla="*/ 178432 w 195443"/>
                    <a:gd name="connsiteY9" fmla="*/ 212525 h 214583"/>
                    <a:gd name="connsiteX10" fmla="*/ 151609 w 195443"/>
                    <a:gd name="connsiteY10" fmla="*/ 212983 h 214583"/>
                    <a:gd name="connsiteX11" fmla="*/ 144742 w 195443"/>
                    <a:gd name="connsiteY11" fmla="*/ 208592 h 214583"/>
                    <a:gd name="connsiteX12" fmla="*/ 129273 w 195443"/>
                    <a:gd name="connsiteY12" fmla="*/ 205953 h 214583"/>
                    <a:gd name="connsiteX13" fmla="*/ 116938 w 195443"/>
                    <a:gd name="connsiteY13" fmla="*/ 195095 h 214583"/>
                    <a:gd name="connsiteX14" fmla="*/ 120272 w 195443"/>
                    <a:gd name="connsiteY14" fmla="*/ 192285 h 214583"/>
                    <a:gd name="connsiteX15" fmla="*/ 124015 w 195443"/>
                    <a:gd name="connsiteY15" fmla="*/ 196047 h 214583"/>
                    <a:gd name="connsiteX16" fmla="*/ 124015 w 195443"/>
                    <a:gd name="connsiteY16" fmla="*/ 196047 h 214583"/>
                    <a:gd name="connsiteX17" fmla="*/ 174365 w 195443"/>
                    <a:gd name="connsiteY17" fmla="*/ 13110 h 214583"/>
                    <a:gd name="connsiteX18" fmla="*/ 170812 w 195443"/>
                    <a:gd name="connsiteY18" fmla="*/ 22759 h 214583"/>
                    <a:gd name="connsiteX19" fmla="*/ 164344 w 195443"/>
                    <a:gd name="connsiteY19" fmla="*/ 32093 h 214583"/>
                    <a:gd name="connsiteX20" fmla="*/ 159125 w 195443"/>
                    <a:gd name="connsiteY20" fmla="*/ 29436 h 214583"/>
                    <a:gd name="connsiteX21" fmla="*/ 148542 w 195443"/>
                    <a:gd name="connsiteY21" fmla="*/ 27560 h 214583"/>
                    <a:gd name="connsiteX22" fmla="*/ 140770 w 195443"/>
                    <a:gd name="connsiteY22" fmla="*/ 26036 h 214583"/>
                    <a:gd name="connsiteX23" fmla="*/ 132074 w 195443"/>
                    <a:gd name="connsiteY23" fmla="*/ 26083 h 214583"/>
                    <a:gd name="connsiteX24" fmla="*/ 127654 w 195443"/>
                    <a:gd name="connsiteY24" fmla="*/ 28322 h 214583"/>
                    <a:gd name="connsiteX25" fmla="*/ 123415 w 195443"/>
                    <a:gd name="connsiteY25" fmla="*/ 26988 h 214583"/>
                    <a:gd name="connsiteX26" fmla="*/ 116624 w 195443"/>
                    <a:gd name="connsiteY26" fmla="*/ 26978 h 214583"/>
                    <a:gd name="connsiteX27" fmla="*/ 109890 w 195443"/>
                    <a:gd name="connsiteY27" fmla="*/ 32351 h 214583"/>
                    <a:gd name="connsiteX28" fmla="*/ 101089 w 195443"/>
                    <a:gd name="connsiteY28" fmla="*/ 31855 h 214583"/>
                    <a:gd name="connsiteX29" fmla="*/ 102936 w 195443"/>
                    <a:gd name="connsiteY29" fmla="*/ 36951 h 214583"/>
                    <a:gd name="connsiteX30" fmla="*/ 105175 w 195443"/>
                    <a:gd name="connsiteY30" fmla="*/ 42333 h 214583"/>
                    <a:gd name="connsiteX31" fmla="*/ 112928 w 195443"/>
                    <a:gd name="connsiteY31" fmla="*/ 44247 h 214583"/>
                    <a:gd name="connsiteX32" fmla="*/ 119101 w 195443"/>
                    <a:gd name="connsiteY32" fmla="*/ 50762 h 214583"/>
                    <a:gd name="connsiteX33" fmla="*/ 102470 w 195443"/>
                    <a:gd name="connsiteY33" fmla="*/ 44419 h 214583"/>
                    <a:gd name="connsiteX34" fmla="*/ 109804 w 195443"/>
                    <a:gd name="connsiteY34" fmla="*/ 55363 h 214583"/>
                    <a:gd name="connsiteX35" fmla="*/ 95355 w 195443"/>
                    <a:gd name="connsiteY35" fmla="*/ 47514 h 214583"/>
                    <a:gd name="connsiteX36" fmla="*/ 101298 w 195443"/>
                    <a:gd name="connsiteY36" fmla="*/ 56706 h 214583"/>
                    <a:gd name="connsiteX37" fmla="*/ 89182 w 195443"/>
                    <a:gd name="connsiteY37" fmla="*/ 48162 h 214583"/>
                    <a:gd name="connsiteX38" fmla="*/ 77809 w 195443"/>
                    <a:gd name="connsiteY38" fmla="*/ 36799 h 214583"/>
                    <a:gd name="connsiteX39" fmla="*/ 70418 w 195443"/>
                    <a:gd name="connsiteY39" fmla="*/ 42399 h 214583"/>
                    <a:gd name="connsiteX40" fmla="*/ 70895 w 195443"/>
                    <a:gd name="connsiteY40" fmla="*/ 54249 h 214583"/>
                    <a:gd name="connsiteX41" fmla="*/ 87973 w 195443"/>
                    <a:gd name="connsiteY41" fmla="*/ 72079 h 214583"/>
                    <a:gd name="connsiteX42" fmla="*/ 94869 w 195443"/>
                    <a:gd name="connsiteY42" fmla="*/ 81414 h 214583"/>
                    <a:gd name="connsiteX43" fmla="*/ 90183 w 195443"/>
                    <a:gd name="connsiteY43" fmla="*/ 79918 h 214583"/>
                    <a:gd name="connsiteX44" fmla="*/ 81934 w 195443"/>
                    <a:gd name="connsiteY44" fmla="*/ 78023 h 214583"/>
                    <a:gd name="connsiteX45" fmla="*/ 88125 w 195443"/>
                    <a:gd name="connsiteY45" fmla="*/ 85719 h 214583"/>
                    <a:gd name="connsiteX46" fmla="*/ 74857 w 195443"/>
                    <a:gd name="connsiteY46" fmla="*/ 91091 h 214583"/>
                    <a:gd name="connsiteX47" fmla="*/ 87230 w 195443"/>
                    <a:gd name="connsiteY47" fmla="*/ 94873 h 214583"/>
                    <a:gd name="connsiteX48" fmla="*/ 98660 w 195443"/>
                    <a:gd name="connsiteY48" fmla="*/ 101864 h 214583"/>
                    <a:gd name="connsiteX49" fmla="*/ 118948 w 195443"/>
                    <a:gd name="connsiteY49" fmla="*/ 115894 h 214583"/>
                    <a:gd name="connsiteX50" fmla="*/ 121243 w 195443"/>
                    <a:gd name="connsiteY50" fmla="*/ 127562 h 214583"/>
                    <a:gd name="connsiteX51" fmla="*/ 112176 w 195443"/>
                    <a:gd name="connsiteY51" fmla="*/ 122591 h 214583"/>
                    <a:gd name="connsiteX52" fmla="*/ 91840 w 195443"/>
                    <a:gd name="connsiteY52" fmla="*/ 122248 h 214583"/>
                    <a:gd name="connsiteX53" fmla="*/ 99927 w 195443"/>
                    <a:gd name="connsiteY53" fmla="*/ 131144 h 214583"/>
                    <a:gd name="connsiteX54" fmla="*/ 106337 w 195443"/>
                    <a:gd name="connsiteY54" fmla="*/ 136049 h 214583"/>
                    <a:gd name="connsiteX55" fmla="*/ 98603 w 195443"/>
                    <a:gd name="connsiteY55" fmla="*/ 138935 h 214583"/>
                    <a:gd name="connsiteX56" fmla="*/ 95231 w 195443"/>
                    <a:gd name="connsiteY56" fmla="*/ 136040 h 214583"/>
                    <a:gd name="connsiteX57" fmla="*/ 85839 w 195443"/>
                    <a:gd name="connsiteY57" fmla="*/ 136926 h 214583"/>
                    <a:gd name="connsiteX58" fmla="*/ 95650 w 195443"/>
                    <a:gd name="connsiteY58" fmla="*/ 152861 h 214583"/>
                    <a:gd name="connsiteX59" fmla="*/ 96764 w 195443"/>
                    <a:gd name="connsiteY59" fmla="*/ 160595 h 214583"/>
                    <a:gd name="connsiteX60" fmla="*/ 100832 w 195443"/>
                    <a:gd name="connsiteY60" fmla="*/ 167310 h 214583"/>
                    <a:gd name="connsiteX61" fmla="*/ 89011 w 195443"/>
                    <a:gd name="connsiteY61" fmla="*/ 157061 h 214583"/>
                    <a:gd name="connsiteX62" fmla="*/ 81782 w 195443"/>
                    <a:gd name="connsiteY62" fmla="*/ 167348 h 214583"/>
                    <a:gd name="connsiteX63" fmla="*/ 77800 w 195443"/>
                    <a:gd name="connsiteY63" fmla="*/ 160195 h 214583"/>
                    <a:gd name="connsiteX64" fmla="*/ 71866 w 195443"/>
                    <a:gd name="connsiteY64" fmla="*/ 153309 h 214583"/>
                    <a:gd name="connsiteX65" fmla="*/ 63760 w 195443"/>
                    <a:gd name="connsiteY65" fmla="*/ 158204 h 214583"/>
                    <a:gd name="connsiteX66" fmla="*/ 53597 w 195443"/>
                    <a:gd name="connsiteY66" fmla="*/ 146374 h 214583"/>
                    <a:gd name="connsiteX67" fmla="*/ 52330 w 195443"/>
                    <a:gd name="connsiteY67" fmla="*/ 133630 h 214583"/>
                    <a:gd name="connsiteX68" fmla="*/ 47044 w 195443"/>
                    <a:gd name="connsiteY68" fmla="*/ 129772 h 214583"/>
                    <a:gd name="connsiteX69" fmla="*/ 42967 w 195443"/>
                    <a:gd name="connsiteY69" fmla="*/ 125534 h 214583"/>
                    <a:gd name="connsiteX70" fmla="*/ 41234 w 195443"/>
                    <a:gd name="connsiteY70" fmla="*/ 118676 h 214583"/>
                    <a:gd name="connsiteX71" fmla="*/ 44529 w 195443"/>
                    <a:gd name="connsiteY71" fmla="*/ 112637 h 214583"/>
                    <a:gd name="connsiteX72" fmla="*/ 49654 w 195443"/>
                    <a:gd name="connsiteY72" fmla="*/ 113151 h 214583"/>
                    <a:gd name="connsiteX73" fmla="*/ 59998 w 195443"/>
                    <a:gd name="connsiteY73" fmla="*/ 108474 h 214583"/>
                    <a:gd name="connsiteX74" fmla="*/ 88249 w 195443"/>
                    <a:gd name="connsiteY74" fmla="*/ 119752 h 214583"/>
                    <a:gd name="connsiteX75" fmla="*/ 87144 w 195443"/>
                    <a:gd name="connsiteY75" fmla="*/ 116828 h 214583"/>
                    <a:gd name="connsiteX76" fmla="*/ 89945 w 195443"/>
                    <a:gd name="connsiteY76" fmla="*/ 111856 h 214583"/>
                    <a:gd name="connsiteX77" fmla="*/ 72380 w 195443"/>
                    <a:gd name="connsiteY77" fmla="*/ 104626 h 214583"/>
                    <a:gd name="connsiteX78" fmla="*/ 55311 w 195443"/>
                    <a:gd name="connsiteY78" fmla="*/ 106874 h 214583"/>
                    <a:gd name="connsiteX79" fmla="*/ 41577 w 195443"/>
                    <a:gd name="connsiteY79" fmla="*/ 103083 h 214583"/>
                    <a:gd name="connsiteX80" fmla="*/ 35328 w 195443"/>
                    <a:gd name="connsiteY80" fmla="*/ 105341 h 214583"/>
                    <a:gd name="connsiteX81" fmla="*/ 27689 w 195443"/>
                    <a:gd name="connsiteY81" fmla="*/ 93996 h 214583"/>
                    <a:gd name="connsiteX82" fmla="*/ 28480 w 195443"/>
                    <a:gd name="connsiteY82" fmla="*/ 89062 h 214583"/>
                    <a:gd name="connsiteX83" fmla="*/ 34557 w 195443"/>
                    <a:gd name="connsiteY83" fmla="*/ 87586 h 214583"/>
                    <a:gd name="connsiteX84" fmla="*/ 27641 w 195443"/>
                    <a:gd name="connsiteY84" fmla="*/ 85891 h 214583"/>
                    <a:gd name="connsiteX85" fmla="*/ 18393 w 195443"/>
                    <a:gd name="connsiteY85" fmla="*/ 82614 h 214583"/>
                    <a:gd name="connsiteX86" fmla="*/ 8839 w 195443"/>
                    <a:gd name="connsiteY86" fmla="*/ 75070 h 214583"/>
                    <a:gd name="connsiteX87" fmla="*/ 0 w 195443"/>
                    <a:gd name="connsiteY87" fmla="*/ 64583 h 214583"/>
                    <a:gd name="connsiteX88" fmla="*/ 7572 w 195443"/>
                    <a:gd name="connsiteY88" fmla="*/ 64850 h 214583"/>
                    <a:gd name="connsiteX89" fmla="*/ 8906 w 195443"/>
                    <a:gd name="connsiteY89" fmla="*/ 58878 h 214583"/>
                    <a:gd name="connsiteX90" fmla="*/ 11411 w 195443"/>
                    <a:gd name="connsiteY90" fmla="*/ 53372 h 214583"/>
                    <a:gd name="connsiteX91" fmla="*/ 16173 w 195443"/>
                    <a:gd name="connsiteY91" fmla="*/ 52286 h 214583"/>
                    <a:gd name="connsiteX92" fmla="*/ 17707 w 195443"/>
                    <a:gd name="connsiteY92" fmla="*/ 46562 h 214583"/>
                    <a:gd name="connsiteX93" fmla="*/ 19288 w 195443"/>
                    <a:gd name="connsiteY93" fmla="*/ 42238 h 214583"/>
                    <a:gd name="connsiteX94" fmla="*/ 23498 w 195443"/>
                    <a:gd name="connsiteY94" fmla="*/ 39847 h 214583"/>
                    <a:gd name="connsiteX95" fmla="*/ 22565 w 195443"/>
                    <a:gd name="connsiteY95" fmla="*/ 28674 h 214583"/>
                    <a:gd name="connsiteX96" fmla="*/ 35262 w 195443"/>
                    <a:gd name="connsiteY96" fmla="*/ 26931 h 214583"/>
                    <a:gd name="connsiteX97" fmla="*/ 40700 w 195443"/>
                    <a:gd name="connsiteY97" fmla="*/ 27217 h 214583"/>
                    <a:gd name="connsiteX98" fmla="*/ 48292 w 195443"/>
                    <a:gd name="connsiteY98" fmla="*/ 20530 h 214583"/>
                    <a:gd name="connsiteX99" fmla="*/ 58903 w 195443"/>
                    <a:gd name="connsiteY99" fmla="*/ 19540 h 214583"/>
                    <a:gd name="connsiteX100" fmla="*/ 66732 w 195443"/>
                    <a:gd name="connsiteY100" fmla="*/ 19511 h 214583"/>
                    <a:gd name="connsiteX101" fmla="*/ 70561 w 195443"/>
                    <a:gd name="connsiteY101" fmla="*/ 13777 h 214583"/>
                    <a:gd name="connsiteX102" fmla="*/ 82239 w 195443"/>
                    <a:gd name="connsiteY102" fmla="*/ 12786 h 214583"/>
                    <a:gd name="connsiteX103" fmla="*/ 97546 w 195443"/>
                    <a:gd name="connsiteY103" fmla="*/ 10929 h 214583"/>
                    <a:gd name="connsiteX104" fmla="*/ 108680 w 195443"/>
                    <a:gd name="connsiteY104" fmla="*/ 7243 h 214583"/>
                    <a:gd name="connsiteX105" fmla="*/ 114262 w 195443"/>
                    <a:gd name="connsiteY105" fmla="*/ 7443 h 214583"/>
                    <a:gd name="connsiteX106" fmla="*/ 117767 w 195443"/>
                    <a:gd name="connsiteY106" fmla="*/ 6528 h 214583"/>
                    <a:gd name="connsiteX107" fmla="*/ 119967 w 195443"/>
                    <a:gd name="connsiteY107" fmla="*/ 9595 h 214583"/>
                    <a:gd name="connsiteX108" fmla="*/ 145723 w 195443"/>
                    <a:gd name="connsiteY108" fmla="*/ 14796 h 214583"/>
                    <a:gd name="connsiteX109" fmla="*/ 161363 w 195443"/>
                    <a:gd name="connsiteY109" fmla="*/ 12882 h 214583"/>
                    <a:gd name="connsiteX110" fmla="*/ 159820 w 195443"/>
                    <a:gd name="connsiteY110" fmla="*/ 2709 h 214583"/>
                    <a:gd name="connsiteX111" fmla="*/ 174365 w 195443"/>
                    <a:gd name="connsiteY111" fmla="*/ 13110 h 214583"/>
                    <a:gd name="connsiteX112" fmla="*/ 174365 w 195443"/>
                    <a:gd name="connsiteY112" fmla="*/ 13110 h 21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95443" h="214583">
                      <a:moveTo>
                        <a:pt x="124015" y="196047"/>
                      </a:moveTo>
                      <a:cubicBezTo>
                        <a:pt x="128283" y="197381"/>
                        <a:pt x="131588" y="192123"/>
                        <a:pt x="133883" y="195990"/>
                      </a:cubicBezTo>
                      <a:cubicBezTo>
                        <a:pt x="132997" y="196466"/>
                        <a:pt x="132283" y="196790"/>
                        <a:pt x="131502" y="197305"/>
                      </a:cubicBezTo>
                      <a:cubicBezTo>
                        <a:pt x="137131" y="198029"/>
                        <a:pt x="136427" y="201848"/>
                        <a:pt x="143485" y="201048"/>
                      </a:cubicBezTo>
                      <a:cubicBezTo>
                        <a:pt x="152019" y="200086"/>
                        <a:pt x="157782" y="201286"/>
                        <a:pt x="166068" y="202239"/>
                      </a:cubicBezTo>
                      <a:cubicBezTo>
                        <a:pt x="168402" y="202505"/>
                        <a:pt x="175584" y="201391"/>
                        <a:pt x="177260" y="202115"/>
                      </a:cubicBezTo>
                      <a:cubicBezTo>
                        <a:pt x="180537" y="203524"/>
                        <a:pt x="177279" y="206763"/>
                        <a:pt x="179689" y="208430"/>
                      </a:cubicBezTo>
                      <a:cubicBezTo>
                        <a:pt x="182099" y="210097"/>
                        <a:pt x="193453" y="204887"/>
                        <a:pt x="195443" y="203010"/>
                      </a:cubicBezTo>
                      <a:cubicBezTo>
                        <a:pt x="194872" y="206449"/>
                        <a:pt x="195539" y="210325"/>
                        <a:pt x="192786" y="212145"/>
                      </a:cubicBezTo>
                      <a:cubicBezTo>
                        <a:pt x="189986" y="213983"/>
                        <a:pt x="181908" y="212259"/>
                        <a:pt x="178432" y="212525"/>
                      </a:cubicBezTo>
                      <a:cubicBezTo>
                        <a:pt x="169602" y="213211"/>
                        <a:pt x="158353" y="216507"/>
                        <a:pt x="151609" y="212983"/>
                      </a:cubicBezTo>
                      <a:cubicBezTo>
                        <a:pt x="149562" y="211916"/>
                        <a:pt x="148323" y="209678"/>
                        <a:pt x="144742" y="208592"/>
                      </a:cubicBezTo>
                      <a:cubicBezTo>
                        <a:pt x="139789" y="207087"/>
                        <a:pt x="134445" y="206496"/>
                        <a:pt x="129273" y="205953"/>
                      </a:cubicBezTo>
                      <a:cubicBezTo>
                        <a:pt x="123806" y="205372"/>
                        <a:pt x="109680" y="205287"/>
                        <a:pt x="116938" y="195095"/>
                      </a:cubicBezTo>
                      <a:cubicBezTo>
                        <a:pt x="119396" y="197733"/>
                        <a:pt x="120605" y="195400"/>
                        <a:pt x="120272" y="192285"/>
                      </a:cubicBezTo>
                      <a:cubicBezTo>
                        <a:pt x="121243" y="193904"/>
                        <a:pt x="122872" y="194809"/>
                        <a:pt x="124015" y="196047"/>
                      </a:cubicBezTo>
                      <a:lnTo>
                        <a:pt x="124015" y="196047"/>
                      </a:lnTo>
                      <a:close/>
                      <a:moveTo>
                        <a:pt x="174365" y="13110"/>
                      </a:moveTo>
                      <a:cubicBezTo>
                        <a:pt x="166773" y="15758"/>
                        <a:pt x="171317" y="18349"/>
                        <a:pt x="170812" y="22759"/>
                      </a:cubicBezTo>
                      <a:cubicBezTo>
                        <a:pt x="170536" y="25178"/>
                        <a:pt x="167097" y="31608"/>
                        <a:pt x="164344" y="32093"/>
                      </a:cubicBezTo>
                      <a:cubicBezTo>
                        <a:pt x="162706" y="32389"/>
                        <a:pt x="161191" y="30150"/>
                        <a:pt x="159125" y="29436"/>
                      </a:cubicBezTo>
                      <a:cubicBezTo>
                        <a:pt x="155724" y="28264"/>
                        <a:pt x="152114" y="28236"/>
                        <a:pt x="148542" y="27560"/>
                      </a:cubicBezTo>
                      <a:cubicBezTo>
                        <a:pt x="145923" y="27055"/>
                        <a:pt x="143246" y="26493"/>
                        <a:pt x="140770" y="26036"/>
                      </a:cubicBezTo>
                      <a:cubicBezTo>
                        <a:pt x="135731" y="25112"/>
                        <a:pt x="136912" y="25178"/>
                        <a:pt x="132074" y="26083"/>
                      </a:cubicBezTo>
                      <a:cubicBezTo>
                        <a:pt x="130416" y="26398"/>
                        <a:pt x="129435" y="28236"/>
                        <a:pt x="127654" y="28322"/>
                      </a:cubicBezTo>
                      <a:cubicBezTo>
                        <a:pt x="126016" y="28398"/>
                        <a:pt x="124720" y="27007"/>
                        <a:pt x="123415" y="26988"/>
                      </a:cubicBezTo>
                      <a:cubicBezTo>
                        <a:pt x="119901" y="26940"/>
                        <a:pt x="120444" y="25493"/>
                        <a:pt x="116624" y="26978"/>
                      </a:cubicBezTo>
                      <a:cubicBezTo>
                        <a:pt x="113967" y="28017"/>
                        <a:pt x="113138" y="31331"/>
                        <a:pt x="109890" y="32351"/>
                      </a:cubicBezTo>
                      <a:cubicBezTo>
                        <a:pt x="108118" y="32913"/>
                        <a:pt x="102565" y="30369"/>
                        <a:pt x="101089" y="31855"/>
                      </a:cubicBezTo>
                      <a:cubicBezTo>
                        <a:pt x="98507" y="34437"/>
                        <a:pt x="102108" y="34618"/>
                        <a:pt x="102936" y="36951"/>
                      </a:cubicBezTo>
                      <a:cubicBezTo>
                        <a:pt x="103479" y="38466"/>
                        <a:pt x="103546" y="41095"/>
                        <a:pt x="105175" y="42333"/>
                      </a:cubicBezTo>
                      <a:cubicBezTo>
                        <a:pt x="106575" y="43400"/>
                        <a:pt x="110976" y="43200"/>
                        <a:pt x="112928" y="44247"/>
                      </a:cubicBezTo>
                      <a:cubicBezTo>
                        <a:pt x="115757" y="45762"/>
                        <a:pt x="117557" y="47886"/>
                        <a:pt x="119101" y="50762"/>
                      </a:cubicBezTo>
                      <a:cubicBezTo>
                        <a:pt x="115843" y="48981"/>
                        <a:pt x="106356" y="41009"/>
                        <a:pt x="102470" y="44419"/>
                      </a:cubicBezTo>
                      <a:cubicBezTo>
                        <a:pt x="97850" y="48486"/>
                        <a:pt x="112081" y="49943"/>
                        <a:pt x="109804" y="55363"/>
                      </a:cubicBezTo>
                      <a:cubicBezTo>
                        <a:pt x="108509" y="58449"/>
                        <a:pt x="98955" y="46943"/>
                        <a:pt x="95355" y="47514"/>
                      </a:cubicBezTo>
                      <a:cubicBezTo>
                        <a:pt x="87620" y="48743"/>
                        <a:pt x="98155" y="54877"/>
                        <a:pt x="101298" y="56706"/>
                      </a:cubicBezTo>
                      <a:cubicBezTo>
                        <a:pt x="94202" y="61107"/>
                        <a:pt x="92430" y="51029"/>
                        <a:pt x="89182" y="48162"/>
                      </a:cubicBezTo>
                      <a:cubicBezTo>
                        <a:pt x="85420" y="44847"/>
                        <a:pt x="72647" y="44066"/>
                        <a:pt x="77809" y="36799"/>
                      </a:cubicBezTo>
                      <a:cubicBezTo>
                        <a:pt x="73104" y="37170"/>
                        <a:pt x="71523" y="39075"/>
                        <a:pt x="70418" y="42399"/>
                      </a:cubicBezTo>
                      <a:cubicBezTo>
                        <a:pt x="69580" y="44905"/>
                        <a:pt x="69647" y="51734"/>
                        <a:pt x="70895" y="54249"/>
                      </a:cubicBezTo>
                      <a:cubicBezTo>
                        <a:pt x="73952" y="60459"/>
                        <a:pt x="82848" y="67555"/>
                        <a:pt x="87973" y="72079"/>
                      </a:cubicBezTo>
                      <a:cubicBezTo>
                        <a:pt x="89459" y="73403"/>
                        <a:pt x="95707" y="78880"/>
                        <a:pt x="94869" y="81414"/>
                      </a:cubicBezTo>
                      <a:cubicBezTo>
                        <a:pt x="92030" y="89986"/>
                        <a:pt x="89020" y="79033"/>
                        <a:pt x="90183" y="79918"/>
                      </a:cubicBezTo>
                      <a:cubicBezTo>
                        <a:pt x="88516" y="78652"/>
                        <a:pt x="84429" y="74413"/>
                        <a:pt x="81934" y="78023"/>
                      </a:cubicBezTo>
                      <a:cubicBezTo>
                        <a:pt x="80343" y="80328"/>
                        <a:pt x="85011" y="86329"/>
                        <a:pt x="88125" y="85719"/>
                      </a:cubicBezTo>
                      <a:cubicBezTo>
                        <a:pt x="83829" y="90063"/>
                        <a:pt x="79191" y="88443"/>
                        <a:pt x="74857" y="91091"/>
                      </a:cubicBezTo>
                      <a:cubicBezTo>
                        <a:pt x="78914" y="91558"/>
                        <a:pt x="83334" y="93530"/>
                        <a:pt x="87230" y="94873"/>
                      </a:cubicBezTo>
                      <a:cubicBezTo>
                        <a:pt x="92221" y="96597"/>
                        <a:pt x="94440" y="99445"/>
                        <a:pt x="98660" y="101864"/>
                      </a:cubicBezTo>
                      <a:cubicBezTo>
                        <a:pt x="106213" y="106188"/>
                        <a:pt x="115967" y="106636"/>
                        <a:pt x="118948" y="115894"/>
                      </a:cubicBezTo>
                      <a:cubicBezTo>
                        <a:pt x="119481" y="117552"/>
                        <a:pt x="122463" y="126010"/>
                        <a:pt x="121243" y="127562"/>
                      </a:cubicBezTo>
                      <a:cubicBezTo>
                        <a:pt x="119072" y="130344"/>
                        <a:pt x="114205" y="124257"/>
                        <a:pt x="112176" y="122591"/>
                      </a:cubicBezTo>
                      <a:cubicBezTo>
                        <a:pt x="106137" y="117599"/>
                        <a:pt x="98155" y="115504"/>
                        <a:pt x="91840" y="122248"/>
                      </a:cubicBezTo>
                      <a:cubicBezTo>
                        <a:pt x="95536" y="123610"/>
                        <a:pt x="97126" y="128867"/>
                        <a:pt x="99927" y="131144"/>
                      </a:cubicBezTo>
                      <a:cubicBezTo>
                        <a:pt x="102193" y="132982"/>
                        <a:pt x="104432" y="132687"/>
                        <a:pt x="106337" y="136049"/>
                      </a:cubicBezTo>
                      <a:cubicBezTo>
                        <a:pt x="104937" y="136478"/>
                        <a:pt x="99965" y="139059"/>
                        <a:pt x="98603" y="138935"/>
                      </a:cubicBezTo>
                      <a:cubicBezTo>
                        <a:pt x="95660" y="138659"/>
                        <a:pt x="97003" y="136945"/>
                        <a:pt x="95231" y="136040"/>
                      </a:cubicBezTo>
                      <a:cubicBezTo>
                        <a:pt x="90297" y="133544"/>
                        <a:pt x="83010" y="128220"/>
                        <a:pt x="85839" y="136926"/>
                      </a:cubicBezTo>
                      <a:cubicBezTo>
                        <a:pt x="87611" y="142374"/>
                        <a:pt x="93593" y="147060"/>
                        <a:pt x="95650" y="152861"/>
                      </a:cubicBezTo>
                      <a:cubicBezTo>
                        <a:pt x="96574" y="155442"/>
                        <a:pt x="96012" y="158347"/>
                        <a:pt x="96764" y="160595"/>
                      </a:cubicBezTo>
                      <a:cubicBezTo>
                        <a:pt x="97507" y="162805"/>
                        <a:pt x="99736" y="165024"/>
                        <a:pt x="100832" y="167310"/>
                      </a:cubicBezTo>
                      <a:cubicBezTo>
                        <a:pt x="94935" y="166167"/>
                        <a:pt x="93393" y="158976"/>
                        <a:pt x="89011" y="157061"/>
                      </a:cubicBezTo>
                      <a:cubicBezTo>
                        <a:pt x="83077" y="154480"/>
                        <a:pt x="80467" y="162281"/>
                        <a:pt x="81782" y="167348"/>
                      </a:cubicBezTo>
                      <a:cubicBezTo>
                        <a:pt x="77114" y="166120"/>
                        <a:pt x="79467" y="163358"/>
                        <a:pt x="77800" y="160195"/>
                      </a:cubicBezTo>
                      <a:cubicBezTo>
                        <a:pt x="76343" y="157452"/>
                        <a:pt x="74038" y="155337"/>
                        <a:pt x="71866" y="153309"/>
                      </a:cubicBezTo>
                      <a:cubicBezTo>
                        <a:pt x="64217" y="146174"/>
                        <a:pt x="66989" y="151327"/>
                        <a:pt x="63760" y="158204"/>
                      </a:cubicBezTo>
                      <a:cubicBezTo>
                        <a:pt x="60388" y="155557"/>
                        <a:pt x="54159" y="150851"/>
                        <a:pt x="53597" y="146374"/>
                      </a:cubicBezTo>
                      <a:cubicBezTo>
                        <a:pt x="52826" y="140364"/>
                        <a:pt x="57960" y="139659"/>
                        <a:pt x="52330" y="133630"/>
                      </a:cubicBezTo>
                      <a:cubicBezTo>
                        <a:pt x="50825" y="132011"/>
                        <a:pt x="48768" y="131163"/>
                        <a:pt x="47044" y="129772"/>
                      </a:cubicBezTo>
                      <a:cubicBezTo>
                        <a:pt x="45368" y="128420"/>
                        <a:pt x="44501" y="126848"/>
                        <a:pt x="42967" y="125534"/>
                      </a:cubicBezTo>
                      <a:cubicBezTo>
                        <a:pt x="37290" y="120657"/>
                        <a:pt x="38186" y="124400"/>
                        <a:pt x="41234" y="118676"/>
                      </a:cubicBezTo>
                      <a:cubicBezTo>
                        <a:pt x="41624" y="117942"/>
                        <a:pt x="44367" y="112723"/>
                        <a:pt x="44529" y="112637"/>
                      </a:cubicBezTo>
                      <a:cubicBezTo>
                        <a:pt x="46301" y="111675"/>
                        <a:pt x="48073" y="113951"/>
                        <a:pt x="49654" y="113151"/>
                      </a:cubicBezTo>
                      <a:cubicBezTo>
                        <a:pt x="53587" y="111141"/>
                        <a:pt x="54864" y="107836"/>
                        <a:pt x="59998" y="108474"/>
                      </a:cubicBezTo>
                      <a:cubicBezTo>
                        <a:pt x="69313" y="109637"/>
                        <a:pt x="79048" y="119409"/>
                        <a:pt x="88249" y="119752"/>
                      </a:cubicBezTo>
                      <a:cubicBezTo>
                        <a:pt x="87792" y="118752"/>
                        <a:pt x="87735" y="117837"/>
                        <a:pt x="87144" y="116828"/>
                      </a:cubicBezTo>
                      <a:cubicBezTo>
                        <a:pt x="92402" y="114513"/>
                        <a:pt x="98479" y="115475"/>
                        <a:pt x="89945" y="111856"/>
                      </a:cubicBezTo>
                      <a:cubicBezTo>
                        <a:pt x="84353" y="109484"/>
                        <a:pt x="78048" y="108551"/>
                        <a:pt x="72380" y="104626"/>
                      </a:cubicBezTo>
                      <a:cubicBezTo>
                        <a:pt x="70342" y="109389"/>
                        <a:pt x="59731" y="106246"/>
                        <a:pt x="55311" y="106874"/>
                      </a:cubicBezTo>
                      <a:cubicBezTo>
                        <a:pt x="48225" y="107884"/>
                        <a:pt x="46311" y="108836"/>
                        <a:pt x="41577" y="103083"/>
                      </a:cubicBezTo>
                      <a:cubicBezTo>
                        <a:pt x="42710" y="108274"/>
                        <a:pt x="37929" y="107474"/>
                        <a:pt x="35328" y="105341"/>
                      </a:cubicBezTo>
                      <a:cubicBezTo>
                        <a:pt x="32775" y="103264"/>
                        <a:pt x="29985" y="96863"/>
                        <a:pt x="27689" y="93996"/>
                      </a:cubicBezTo>
                      <a:cubicBezTo>
                        <a:pt x="24917" y="90529"/>
                        <a:pt x="22003" y="90301"/>
                        <a:pt x="28480" y="89062"/>
                      </a:cubicBezTo>
                      <a:cubicBezTo>
                        <a:pt x="29413" y="88882"/>
                        <a:pt x="37014" y="92434"/>
                        <a:pt x="34557" y="87586"/>
                      </a:cubicBezTo>
                      <a:cubicBezTo>
                        <a:pt x="33223" y="84976"/>
                        <a:pt x="30289" y="86176"/>
                        <a:pt x="27641" y="85891"/>
                      </a:cubicBezTo>
                      <a:cubicBezTo>
                        <a:pt x="22774" y="85357"/>
                        <a:pt x="22679" y="85919"/>
                        <a:pt x="18393" y="82614"/>
                      </a:cubicBezTo>
                      <a:cubicBezTo>
                        <a:pt x="15287" y="80223"/>
                        <a:pt x="11306" y="77737"/>
                        <a:pt x="8839" y="75070"/>
                      </a:cubicBezTo>
                      <a:cubicBezTo>
                        <a:pt x="5391" y="71346"/>
                        <a:pt x="4619" y="67526"/>
                        <a:pt x="0" y="64583"/>
                      </a:cubicBezTo>
                      <a:cubicBezTo>
                        <a:pt x="3124" y="66079"/>
                        <a:pt x="4848" y="66374"/>
                        <a:pt x="7572" y="64850"/>
                      </a:cubicBezTo>
                      <a:cubicBezTo>
                        <a:pt x="10392" y="63288"/>
                        <a:pt x="8506" y="60516"/>
                        <a:pt x="8906" y="58878"/>
                      </a:cubicBezTo>
                      <a:cubicBezTo>
                        <a:pt x="9801" y="55277"/>
                        <a:pt x="7544" y="56697"/>
                        <a:pt x="11411" y="53372"/>
                      </a:cubicBezTo>
                      <a:cubicBezTo>
                        <a:pt x="12506" y="52420"/>
                        <a:pt x="14878" y="53687"/>
                        <a:pt x="16173" y="52286"/>
                      </a:cubicBezTo>
                      <a:cubicBezTo>
                        <a:pt x="17535" y="50829"/>
                        <a:pt x="16897" y="48381"/>
                        <a:pt x="17707" y="46562"/>
                      </a:cubicBezTo>
                      <a:cubicBezTo>
                        <a:pt x="18297" y="45228"/>
                        <a:pt x="18517" y="43428"/>
                        <a:pt x="19288" y="42238"/>
                      </a:cubicBezTo>
                      <a:cubicBezTo>
                        <a:pt x="20193" y="40837"/>
                        <a:pt x="22803" y="41114"/>
                        <a:pt x="23498" y="39847"/>
                      </a:cubicBezTo>
                      <a:cubicBezTo>
                        <a:pt x="26280" y="34827"/>
                        <a:pt x="20745" y="32151"/>
                        <a:pt x="22565" y="28674"/>
                      </a:cubicBezTo>
                      <a:cubicBezTo>
                        <a:pt x="22727" y="28369"/>
                        <a:pt x="34928" y="26969"/>
                        <a:pt x="35262" y="26931"/>
                      </a:cubicBezTo>
                      <a:cubicBezTo>
                        <a:pt x="37424" y="26693"/>
                        <a:pt x="38633" y="27769"/>
                        <a:pt x="40700" y="27217"/>
                      </a:cubicBezTo>
                      <a:cubicBezTo>
                        <a:pt x="45244" y="25997"/>
                        <a:pt x="44863" y="22492"/>
                        <a:pt x="48292" y="20530"/>
                      </a:cubicBezTo>
                      <a:cubicBezTo>
                        <a:pt x="51625" y="18625"/>
                        <a:pt x="55426" y="19454"/>
                        <a:pt x="58903" y="19540"/>
                      </a:cubicBezTo>
                      <a:cubicBezTo>
                        <a:pt x="61608" y="19597"/>
                        <a:pt x="64008" y="20825"/>
                        <a:pt x="66732" y="19511"/>
                      </a:cubicBezTo>
                      <a:cubicBezTo>
                        <a:pt x="70618" y="17644"/>
                        <a:pt x="68323" y="15225"/>
                        <a:pt x="70561" y="13777"/>
                      </a:cubicBezTo>
                      <a:cubicBezTo>
                        <a:pt x="72809" y="12329"/>
                        <a:pt x="79810" y="13196"/>
                        <a:pt x="82239" y="12786"/>
                      </a:cubicBezTo>
                      <a:cubicBezTo>
                        <a:pt x="87030" y="11986"/>
                        <a:pt x="92412" y="11729"/>
                        <a:pt x="97546" y="10929"/>
                      </a:cubicBezTo>
                      <a:cubicBezTo>
                        <a:pt x="102413" y="10176"/>
                        <a:pt x="104803" y="8148"/>
                        <a:pt x="108680" y="7243"/>
                      </a:cubicBezTo>
                      <a:cubicBezTo>
                        <a:pt x="110147" y="6900"/>
                        <a:pt x="112852" y="7195"/>
                        <a:pt x="114262" y="7443"/>
                      </a:cubicBezTo>
                      <a:cubicBezTo>
                        <a:pt x="115471" y="7652"/>
                        <a:pt x="116405" y="6081"/>
                        <a:pt x="117767" y="6528"/>
                      </a:cubicBezTo>
                      <a:cubicBezTo>
                        <a:pt x="118758" y="6843"/>
                        <a:pt x="118919" y="9091"/>
                        <a:pt x="119967" y="9595"/>
                      </a:cubicBezTo>
                      <a:cubicBezTo>
                        <a:pt x="126930" y="12967"/>
                        <a:pt x="137674" y="16196"/>
                        <a:pt x="145723" y="14796"/>
                      </a:cubicBezTo>
                      <a:cubicBezTo>
                        <a:pt x="149504" y="14129"/>
                        <a:pt x="158610" y="15234"/>
                        <a:pt x="161363" y="12882"/>
                      </a:cubicBezTo>
                      <a:cubicBezTo>
                        <a:pt x="166278" y="8690"/>
                        <a:pt x="158667" y="5957"/>
                        <a:pt x="159820" y="2709"/>
                      </a:cubicBezTo>
                      <a:cubicBezTo>
                        <a:pt x="163096" y="-6550"/>
                        <a:pt x="183147" y="10700"/>
                        <a:pt x="174365" y="13110"/>
                      </a:cubicBezTo>
                      <a:lnTo>
                        <a:pt x="174365" y="1311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44" name="Freeform: Shape 643">
                  <a:extLst>
                    <a:ext uri="{FF2B5EF4-FFF2-40B4-BE49-F238E27FC236}">
                      <a16:creationId xmlns:a16="http://schemas.microsoft.com/office/drawing/2014/main" id="{EEBB74BB-F27D-4940-8957-4E6CCC8144F4}"/>
                    </a:ext>
                  </a:extLst>
                </p:cNvPr>
                <p:cNvSpPr/>
                <p:nvPr/>
              </p:nvSpPr>
              <p:spPr>
                <a:xfrm>
                  <a:off x="5889935" y="4292305"/>
                  <a:ext cx="60790" cy="41401"/>
                </a:xfrm>
                <a:custGeom>
                  <a:avLst/>
                  <a:gdLst>
                    <a:gd name="connsiteX0" fmla="*/ 60665 w 60790"/>
                    <a:gd name="connsiteY0" fmla="*/ 37281 h 41401"/>
                    <a:gd name="connsiteX1" fmla="*/ 60684 w 60790"/>
                    <a:gd name="connsiteY1" fmla="*/ 41091 h 41401"/>
                    <a:gd name="connsiteX2" fmla="*/ 21889 w 60790"/>
                    <a:gd name="connsiteY2" fmla="*/ 40967 h 41401"/>
                    <a:gd name="connsiteX3" fmla="*/ 12450 w 60790"/>
                    <a:gd name="connsiteY3" fmla="*/ 41119 h 41401"/>
                    <a:gd name="connsiteX4" fmla="*/ 5734 w 60790"/>
                    <a:gd name="connsiteY4" fmla="*/ 40081 h 41401"/>
                    <a:gd name="connsiteX5" fmla="*/ 29 w 60790"/>
                    <a:gd name="connsiteY5" fmla="*/ 34233 h 41401"/>
                    <a:gd name="connsiteX6" fmla="*/ 6620 w 60790"/>
                    <a:gd name="connsiteY6" fmla="*/ 23479 h 41401"/>
                    <a:gd name="connsiteX7" fmla="*/ 12240 w 60790"/>
                    <a:gd name="connsiteY7" fmla="*/ 0 h 41401"/>
                    <a:gd name="connsiteX8" fmla="*/ 49407 w 60790"/>
                    <a:gd name="connsiteY8" fmla="*/ 4315 h 41401"/>
                    <a:gd name="connsiteX9" fmla="*/ 60465 w 60790"/>
                    <a:gd name="connsiteY9" fmla="*/ 13640 h 41401"/>
                    <a:gd name="connsiteX10" fmla="*/ 60665 w 60790"/>
                    <a:gd name="connsiteY10" fmla="*/ 37281 h 41401"/>
                    <a:gd name="connsiteX11" fmla="*/ 60665 w 60790"/>
                    <a:gd name="connsiteY11" fmla="*/ 37281 h 41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790" h="41401">
                      <a:moveTo>
                        <a:pt x="60665" y="37281"/>
                      </a:moveTo>
                      <a:cubicBezTo>
                        <a:pt x="60942" y="38376"/>
                        <a:pt x="60675" y="39957"/>
                        <a:pt x="60684" y="41091"/>
                      </a:cubicBezTo>
                      <a:cubicBezTo>
                        <a:pt x="48007" y="41043"/>
                        <a:pt x="34481" y="39614"/>
                        <a:pt x="21889" y="40967"/>
                      </a:cubicBezTo>
                      <a:cubicBezTo>
                        <a:pt x="17746" y="41405"/>
                        <a:pt x="16412" y="41605"/>
                        <a:pt x="12450" y="41119"/>
                      </a:cubicBezTo>
                      <a:cubicBezTo>
                        <a:pt x="9869" y="40795"/>
                        <a:pt x="9869" y="36938"/>
                        <a:pt x="5734" y="40081"/>
                      </a:cubicBezTo>
                      <a:cubicBezTo>
                        <a:pt x="4058" y="35519"/>
                        <a:pt x="496" y="39138"/>
                        <a:pt x="29" y="34233"/>
                      </a:cubicBezTo>
                      <a:cubicBezTo>
                        <a:pt x="-428" y="29470"/>
                        <a:pt x="4639" y="26613"/>
                        <a:pt x="6620" y="23479"/>
                      </a:cubicBezTo>
                      <a:cubicBezTo>
                        <a:pt x="11669" y="15526"/>
                        <a:pt x="11469" y="9077"/>
                        <a:pt x="12240" y="0"/>
                      </a:cubicBezTo>
                      <a:cubicBezTo>
                        <a:pt x="16231" y="8363"/>
                        <a:pt x="40853" y="4315"/>
                        <a:pt x="49407" y="4315"/>
                      </a:cubicBezTo>
                      <a:cubicBezTo>
                        <a:pt x="59722" y="4315"/>
                        <a:pt x="60360" y="2943"/>
                        <a:pt x="60465" y="13640"/>
                      </a:cubicBezTo>
                      <a:cubicBezTo>
                        <a:pt x="60551" y="21507"/>
                        <a:pt x="60599" y="29404"/>
                        <a:pt x="60665" y="37281"/>
                      </a:cubicBezTo>
                      <a:lnTo>
                        <a:pt x="60665" y="37281"/>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45" name="Freeform: Shape 644">
                  <a:extLst>
                    <a:ext uri="{FF2B5EF4-FFF2-40B4-BE49-F238E27FC236}">
                      <a16:creationId xmlns:a16="http://schemas.microsoft.com/office/drawing/2014/main" id="{E8BC9966-386E-4EFC-BDCB-5E1C557366FE}"/>
                    </a:ext>
                  </a:extLst>
                </p:cNvPr>
                <p:cNvSpPr/>
                <p:nvPr/>
              </p:nvSpPr>
              <p:spPr>
                <a:xfrm>
                  <a:off x="5073252" y="3964330"/>
                  <a:ext cx="94707" cy="55931"/>
                </a:xfrm>
                <a:custGeom>
                  <a:avLst/>
                  <a:gdLst>
                    <a:gd name="connsiteX0" fmla="*/ 94707 w 94707"/>
                    <a:gd name="connsiteY0" fmla="*/ 7488 h 55931"/>
                    <a:gd name="connsiteX1" fmla="*/ 86249 w 94707"/>
                    <a:gd name="connsiteY1" fmla="*/ 17222 h 55931"/>
                    <a:gd name="connsiteX2" fmla="*/ 92412 w 94707"/>
                    <a:gd name="connsiteY2" fmla="*/ 23033 h 55931"/>
                    <a:gd name="connsiteX3" fmla="*/ 88802 w 94707"/>
                    <a:gd name="connsiteY3" fmla="*/ 31996 h 55931"/>
                    <a:gd name="connsiteX4" fmla="*/ 76172 w 94707"/>
                    <a:gd name="connsiteY4" fmla="*/ 33301 h 55931"/>
                    <a:gd name="connsiteX5" fmla="*/ 64894 w 94707"/>
                    <a:gd name="connsiteY5" fmla="*/ 37930 h 55931"/>
                    <a:gd name="connsiteX6" fmla="*/ 50778 w 94707"/>
                    <a:gd name="connsiteY6" fmla="*/ 55932 h 55931"/>
                    <a:gd name="connsiteX7" fmla="*/ 50578 w 94707"/>
                    <a:gd name="connsiteY7" fmla="*/ 49579 h 55931"/>
                    <a:gd name="connsiteX8" fmla="*/ 45253 w 94707"/>
                    <a:gd name="connsiteY8" fmla="*/ 53075 h 55931"/>
                    <a:gd name="connsiteX9" fmla="*/ 45529 w 94707"/>
                    <a:gd name="connsiteY9" fmla="*/ 49122 h 55931"/>
                    <a:gd name="connsiteX10" fmla="*/ 41596 w 94707"/>
                    <a:gd name="connsiteY10" fmla="*/ 42130 h 55931"/>
                    <a:gd name="connsiteX11" fmla="*/ 37538 w 94707"/>
                    <a:gd name="connsiteY11" fmla="*/ 41121 h 55931"/>
                    <a:gd name="connsiteX12" fmla="*/ 50387 w 94707"/>
                    <a:gd name="connsiteY12" fmla="*/ 35215 h 55931"/>
                    <a:gd name="connsiteX13" fmla="*/ 37214 w 94707"/>
                    <a:gd name="connsiteY13" fmla="*/ 29529 h 55931"/>
                    <a:gd name="connsiteX14" fmla="*/ 50520 w 94707"/>
                    <a:gd name="connsiteY14" fmla="*/ 23518 h 55931"/>
                    <a:gd name="connsiteX15" fmla="*/ 36919 w 94707"/>
                    <a:gd name="connsiteY15" fmla="*/ 25138 h 55931"/>
                    <a:gd name="connsiteX16" fmla="*/ 23460 w 94707"/>
                    <a:gd name="connsiteY16" fmla="*/ 29262 h 55931"/>
                    <a:gd name="connsiteX17" fmla="*/ 14431 w 94707"/>
                    <a:gd name="connsiteY17" fmla="*/ 15070 h 55931"/>
                    <a:gd name="connsiteX18" fmla="*/ 0 w 94707"/>
                    <a:gd name="connsiteY18" fmla="*/ 11364 h 55931"/>
                    <a:gd name="connsiteX19" fmla="*/ 20221 w 94707"/>
                    <a:gd name="connsiteY19" fmla="*/ 8297 h 55931"/>
                    <a:gd name="connsiteX20" fmla="*/ 44615 w 94707"/>
                    <a:gd name="connsiteY20" fmla="*/ 2554 h 55931"/>
                    <a:gd name="connsiteX21" fmla="*/ 93126 w 94707"/>
                    <a:gd name="connsiteY21" fmla="*/ 1316 h 55931"/>
                    <a:gd name="connsiteX22" fmla="*/ 94707 w 94707"/>
                    <a:gd name="connsiteY22" fmla="*/ 7488 h 55931"/>
                    <a:gd name="connsiteX23" fmla="*/ 94707 w 94707"/>
                    <a:gd name="connsiteY23" fmla="*/ 7488 h 5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4707" h="55931">
                      <a:moveTo>
                        <a:pt x="94707" y="7488"/>
                      </a:moveTo>
                      <a:cubicBezTo>
                        <a:pt x="94526" y="14994"/>
                        <a:pt x="85982" y="13336"/>
                        <a:pt x="86249" y="17222"/>
                      </a:cubicBezTo>
                      <a:cubicBezTo>
                        <a:pt x="86392" y="19213"/>
                        <a:pt x="91707" y="21413"/>
                        <a:pt x="92412" y="23033"/>
                      </a:cubicBezTo>
                      <a:cubicBezTo>
                        <a:pt x="94393" y="27614"/>
                        <a:pt x="91830" y="30272"/>
                        <a:pt x="88802" y="31996"/>
                      </a:cubicBezTo>
                      <a:cubicBezTo>
                        <a:pt x="84772" y="34282"/>
                        <a:pt x="80277" y="32396"/>
                        <a:pt x="76172" y="33301"/>
                      </a:cubicBezTo>
                      <a:cubicBezTo>
                        <a:pt x="72723" y="34063"/>
                        <a:pt x="68113" y="36358"/>
                        <a:pt x="64894" y="37930"/>
                      </a:cubicBezTo>
                      <a:cubicBezTo>
                        <a:pt x="57426" y="41578"/>
                        <a:pt x="56645" y="49674"/>
                        <a:pt x="50778" y="55932"/>
                      </a:cubicBezTo>
                      <a:cubicBezTo>
                        <a:pt x="49130" y="53998"/>
                        <a:pt x="49149" y="51855"/>
                        <a:pt x="50578" y="49579"/>
                      </a:cubicBezTo>
                      <a:cubicBezTo>
                        <a:pt x="48959" y="50579"/>
                        <a:pt x="46844" y="51969"/>
                        <a:pt x="45253" y="53075"/>
                      </a:cubicBezTo>
                      <a:cubicBezTo>
                        <a:pt x="45625" y="51865"/>
                        <a:pt x="45301" y="50379"/>
                        <a:pt x="45529" y="49122"/>
                      </a:cubicBezTo>
                      <a:cubicBezTo>
                        <a:pt x="41005" y="49969"/>
                        <a:pt x="37795" y="45512"/>
                        <a:pt x="41596" y="42130"/>
                      </a:cubicBezTo>
                      <a:cubicBezTo>
                        <a:pt x="41005" y="42130"/>
                        <a:pt x="38490" y="41102"/>
                        <a:pt x="37538" y="41121"/>
                      </a:cubicBezTo>
                      <a:cubicBezTo>
                        <a:pt x="39805" y="36301"/>
                        <a:pt x="45606" y="35853"/>
                        <a:pt x="50387" y="35215"/>
                      </a:cubicBezTo>
                      <a:cubicBezTo>
                        <a:pt x="47539" y="30433"/>
                        <a:pt x="35319" y="37968"/>
                        <a:pt x="37214" y="29529"/>
                      </a:cubicBezTo>
                      <a:cubicBezTo>
                        <a:pt x="38595" y="23385"/>
                        <a:pt x="48568" y="29100"/>
                        <a:pt x="50520" y="23518"/>
                      </a:cubicBezTo>
                      <a:cubicBezTo>
                        <a:pt x="46177" y="25423"/>
                        <a:pt x="41510" y="23785"/>
                        <a:pt x="36919" y="25138"/>
                      </a:cubicBezTo>
                      <a:cubicBezTo>
                        <a:pt x="31995" y="26595"/>
                        <a:pt x="29508" y="31634"/>
                        <a:pt x="23460" y="29262"/>
                      </a:cubicBezTo>
                      <a:cubicBezTo>
                        <a:pt x="29699" y="20137"/>
                        <a:pt x="2486" y="27566"/>
                        <a:pt x="14431" y="15070"/>
                      </a:cubicBezTo>
                      <a:cubicBezTo>
                        <a:pt x="7753" y="14812"/>
                        <a:pt x="6591" y="15079"/>
                        <a:pt x="0" y="11364"/>
                      </a:cubicBezTo>
                      <a:cubicBezTo>
                        <a:pt x="7153" y="11193"/>
                        <a:pt x="13183" y="8526"/>
                        <a:pt x="20221" y="8297"/>
                      </a:cubicBezTo>
                      <a:cubicBezTo>
                        <a:pt x="30271" y="7974"/>
                        <a:pt x="35328" y="5859"/>
                        <a:pt x="44615" y="2554"/>
                      </a:cubicBezTo>
                      <a:cubicBezTo>
                        <a:pt x="58264" y="-2304"/>
                        <a:pt x="78524" y="1249"/>
                        <a:pt x="93126" y="1316"/>
                      </a:cubicBezTo>
                      <a:cubicBezTo>
                        <a:pt x="92811" y="3563"/>
                        <a:pt x="93354" y="5621"/>
                        <a:pt x="94707" y="7488"/>
                      </a:cubicBezTo>
                      <a:lnTo>
                        <a:pt x="94707" y="7488"/>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46" name="Freeform: Shape 645">
                  <a:extLst>
                    <a:ext uri="{FF2B5EF4-FFF2-40B4-BE49-F238E27FC236}">
                      <a16:creationId xmlns:a16="http://schemas.microsoft.com/office/drawing/2014/main" id="{F48471A0-D135-4A10-A442-EE156BC7BF5C}"/>
                    </a:ext>
                  </a:extLst>
                </p:cNvPr>
                <p:cNvSpPr/>
                <p:nvPr/>
              </p:nvSpPr>
              <p:spPr>
                <a:xfrm>
                  <a:off x="5071598" y="3930075"/>
                  <a:ext cx="91591" cy="23302"/>
                </a:xfrm>
                <a:custGeom>
                  <a:avLst/>
                  <a:gdLst>
                    <a:gd name="connsiteX0" fmla="*/ 778 w 91591"/>
                    <a:gd name="connsiteY0" fmla="*/ 23302 h 23302"/>
                    <a:gd name="connsiteX1" fmla="*/ 5370 w 91591"/>
                    <a:gd name="connsiteY1" fmla="*/ 11301 h 23302"/>
                    <a:gd name="connsiteX2" fmla="*/ 9665 w 91591"/>
                    <a:gd name="connsiteY2" fmla="*/ 16301 h 23302"/>
                    <a:gd name="connsiteX3" fmla="*/ 18981 w 91591"/>
                    <a:gd name="connsiteY3" fmla="*/ 16416 h 23302"/>
                    <a:gd name="connsiteX4" fmla="*/ 42717 w 91591"/>
                    <a:gd name="connsiteY4" fmla="*/ 10567 h 23302"/>
                    <a:gd name="connsiteX5" fmla="*/ 21362 w 91591"/>
                    <a:gd name="connsiteY5" fmla="*/ 11167 h 23302"/>
                    <a:gd name="connsiteX6" fmla="*/ 7589 w 91591"/>
                    <a:gd name="connsiteY6" fmla="*/ 6814 h 23302"/>
                    <a:gd name="connsiteX7" fmla="*/ 28925 w 91591"/>
                    <a:gd name="connsiteY7" fmla="*/ 6710 h 23302"/>
                    <a:gd name="connsiteX8" fmla="*/ 40307 w 91591"/>
                    <a:gd name="connsiteY8" fmla="*/ 6805 h 23302"/>
                    <a:gd name="connsiteX9" fmla="*/ 49270 w 91591"/>
                    <a:gd name="connsiteY9" fmla="*/ 280 h 23302"/>
                    <a:gd name="connsiteX10" fmla="*/ 68768 w 91591"/>
                    <a:gd name="connsiteY10" fmla="*/ 5662 h 23302"/>
                    <a:gd name="connsiteX11" fmla="*/ 82665 w 91591"/>
                    <a:gd name="connsiteY11" fmla="*/ 8424 h 23302"/>
                    <a:gd name="connsiteX12" fmla="*/ 86865 w 91591"/>
                    <a:gd name="connsiteY12" fmla="*/ 15882 h 23302"/>
                    <a:gd name="connsiteX13" fmla="*/ 66787 w 91591"/>
                    <a:gd name="connsiteY13" fmla="*/ 14482 h 23302"/>
                    <a:gd name="connsiteX14" fmla="*/ 51832 w 91591"/>
                    <a:gd name="connsiteY14" fmla="*/ 7900 h 23302"/>
                    <a:gd name="connsiteX15" fmla="*/ 48346 w 91591"/>
                    <a:gd name="connsiteY15" fmla="*/ 11806 h 23302"/>
                    <a:gd name="connsiteX16" fmla="*/ 40012 w 91591"/>
                    <a:gd name="connsiteY16" fmla="*/ 13558 h 23302"/>
                    <a:gd name="connsiteX17" fmla="*/ 30449 w 91591"/>
                    <a:gd name="connsiteY17" fmla="*/ 15854 h 23302"/>
                    <a:gd name="connsiteX18" fmla="*/ 23067 w 91591"/>
                    <a:gd name="connsiteY18" fmla="*/ 20321 h 23302"/>
                    <a:gd name="connsiteX19" fmla="*/ 778 w 91591"/>
                    <a:gd name="connsiteY19" fmla="*/ 23302 h 23302"/>
                    <a:gd name="connsiteX20" fmla="*/ 778 w 91591"/>
                    <a:gd name="connsiteY20" fmla="*/ 23302 h 23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591" h="23302">
                      <a:moveTo>
                        <a:pt x="778" y="23302"/>
                      </a:moveTo>
                      <a:cubicBezTo>
                        <a:pt x="712" y="18606"/>
                        <a:pt x="-2717" y="9453"/>
                        <a:pt x="5370" y="11301"/>
                      </a:cubicBezTo>
                      <a:cubicBezTo>
                        <a:pt x="5550" y="11339"/>
                        <a:pt x="8055" y="15635"/>
                        <a:pt x="9665" y="16301"/>
                      </a:cubicBezTo>
                      <a:cubicBezTo>
                        <a:pt x="12542" y="17492"/>
                        <a:pt x="15904" y="15920"/>
                        <a:pt x="18981" y="16416"/>
                      </a:cubicBezTo>
                      <a:cubicBezTo>
                        <a:pt x="18819" y="10310"/>
                        <a:pt x="37954" y="11291"/>
                        <a:pt x="42717" y="10567"/>
                      </a:cubicBezTo>
                      <a:cubicBezTo>
                        <a:pt x="38316" y="8319"/>
                        <a:pt x="26439" y="10034"/>
                        <a:pt x="21362" y="11167"/>
                      </a:cubicBezTo>
                      <a:cubicBezTo>
                        <a:pt x="15237" y="12539"/>
                        <a:pt x="8046" y="17959"/>
                        <a:pt x="7589" y="6814"/>
                      </a:cubicBezTo>
                      <a:cubicBezTo>
                        <a:pt x="14723" y="6529"/>
                        <a:pt x="21800" y="6614"/>
                        <a:pt x="28925" y="6710"/>
                      </a:cubicBezTo>
                      <a:cubicBezTo>
                        <a:pt x="31592" y="6738"/>
                        <a:pt x="37869" y="7938"/>
                        <a:pt x="40307" y="6805"/>
                      </a:cubicBezTo>
                      <a:cubicBezTo>
                        <a:pt x="43869" y="5148"/>
                        <a:pt x="44098" y="1252"/>
                        <a:pt x="49270" y="280"/>
                      </a:cubicBezTo>
                      <a:cubicBezTo>
                        <a:pt x="56385" y="-1053"/>
                        <a:pt x="62605" y="2642"/>
                        <a:pt x="68768" y="5662"/>
                      </a:cubicBezTo>
                      <a:cubicBezTo>
                        <a:pt x="75407" y="8919"/>
                        <a:pt x="75521" y="8862"/>
                        <a:pt x="82665" y="8424"/>
                      </a:cubicBezTo>
                      <a:cubicBezTo>
                        <a:pt x="90913" y="7919"/>
                        <a:pt x="95695" y="12263"/>
                        <a:pt x="86865" y="15882"/>
                      </a:cubicBezTo>
                      <a:cubicBezTo>
                        <a:pt x="79731" y="18806"/>
                        <a:pt x="73654" y="17235"/>
                        <a:pt x="66787" y="14482"/>
                      </a:cubicBezTo>
                      <a:cubicBezTo>
                        <a:pt x="63605" y="13206"/>
                        <a:pt x="55080" y="7186"/>
                        <a:pt x="51832" y="7900"/>
                      </a:cubicBezTo>
                      <a:cubicBezTo>
                        <a:pt x="49299" y="8462"/>
                        <a:pt x="50280" y="10863"/>
                        <a:pt x="48346" y="11806"/>
                      </a:cubicBezTo>
                      <a:cubicBezTo>
                        <a:pt x="45679" y="13101"/>
                        <a:pt x="43069" y="13196"/>
                        <a:pt x="40012" y="13558"/>
                      </a:cubicBezTo>
                      <a:cubicBezTo>
                        <a:pt x="36688" y="13958"/>
                        <a:pt x="32687" y="14130"/>
                        <a:pt x="30449" y="15854"/>
                      </a:cubicBezTo>
                      <a:cubicBezTo>
                        <a:pt x="26162" y="19140"/>
                        <a:pt x="32039" y="20368"/>
                        <a:pt x="23067" y="20321"/>
                      </a:cubicBezTo>
                      <a:cubicBezTo>
                        <a:pt x="16933" y="20302"/>
                        <a:pt x="4922" y="17911"/>
                        <a:pt x="778" y="23302"/>
                      </a:cubicBezTo>
                      <a:lnTo>
                        <a:pt x="778" y="23302"/>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47" name="Freeform: Shape 646">
                  <a:extLst>
                    <a:ext uri="{FF2B5EF4-FFF2-40B4-BE49-F238E27FC236}">
                      <a16:creationId xmlns:a16="http://schemas.microsoft.com/office/drawing/2014/main" id="{7AC7D069-2CB2-4A04-BE34-9A8D49ADAB6F}"/>
                    </a:ext>
                  </a:extLst>
                </p:cNvPr>
                <p:cNvSpPr/>
                <p:nvPr/>
              </p:nvSpPr>
              <p:spPr>
                <a:xfrm>
                  <a:off x="5124336" y="3965304"/>
                  <a:ext cx="228809" cy="171417"/>
                </a:xfrm>
                <a:custGeom>
                  <a:avLst/>
                  <a:gdLst>
                    <a:gd name="connsiteX0" fmla="*/ 114670 w 228809"/>
                    <a:gd name="connsiteY0" fmla="*/ 8847 h 171417"/>
                    <a:gd name="connsiteX1" fmla="*/ 122586 w 228809"/>
                    <a:gd name="connsiteY1" fmla="*/ 18582 h 171417"/>
                    <a:gd name="connsiteX2" fmla="*/ 132025 w 228809"/>
                    <a:gd name="connsiteY2" fmla="*/ 19515 h 171417"/>
                    <a:gd name="connsiteX3" fmla="*/ 137597 w 228809"/>
                    <a:gd name="connsiteY3" fmla="*/ 23925 h 171417"/>
                    <a:gd name="connsiteX4" fmla="*/ 146160 w 228809"/>
                    <a:gd name="connsiteY4" fmla="*/ 15905 h 171417"/>
                    <a:gd name="connsiteX5" fmla="*/ 159352 w 228809"/>
                    <a:gd name="connsiteY5" fmla="*/ 18696 h 171417"/>
                    <a:gd name="connsiteX6" fmla="*/ 168953 w 228809"/>
                    <a:gd name="connsiteY6" fmla="*/ 16781 h 171417"/>
                    <a:gd name="connsiteX7" fmla="*/ 178555 w 228809"/>
                    <a:gd name="connsiteY7" fmla="*/ 12038 h 171417"/>
                    <a:gd name="connsiteX8" fmla="*/ 179783 w 228809"/>
                    <a:gd name="connsiteY8" fmla="*/ 6142 h 171417"/>
                    <a:gd name="connsiteX9" fmla="*/ 190489 w 228809"/>
                    <a:gd name="connsiteY9" fmla="*/ 14486 h 171417"/>
                    <a:gd name="connsiteX10" fmla="*/ 199052 w 228809"/>
                    <a:gd name="connsiteY10" fmla="*/ 36870 h 171417"/>
                    <a:gd name="connsiteX11" fmla="*/ 207301 w 228809"/>
                    <a:gd name="connsiteY11" fmla="*/ 41508 h 171417"/>
                    <a:gd name="connsiteX12" fmla="*/ 201491 w 228809"/>
                    <a:gd name="connsiteY12" fmla="*/ 48185 h 171417"/>
                    <a:gd name="connsiteX13" fmla="*/ 203386 w 228809"/>
                    <a:gd name="connsiteY13" fmla="*/ 52310 h 171417"/>
                    <a:gd name="connsiteX14" fmla="*/ 209473 w 228809"/>
                    <a:gd name="connsiteY14" fmla="*/ 58520 h 171417"/>
                    <a:gd name="connsiteX15" fmla="*/ 214559 w 228809"/>
                    <a:gd name="connsiteY15" fmla="*/ 72045 h 171417"/>
                    <a:gd name="connsiteX16" fmla="*/ 218798 w 228809"/>
                    <a:gd name="connsiteY16" fmla="*/ 80646 h 171417"/>
                    <a:gd name="connsiteX17" fmla="*/ 214302 w 228809"/>
                    <a:gd name="connsiteY17" fmla="*/ 85428 h 171417"/>
                    <a:gd name="connsiteX18" fmla="*/ 214464 w 228809"/>
                    <a:gd name="connsiteY18" fmla="*/ 94772 h 171417"/>
                    <a:gd name="connsiteX19" fmla="*/ 222198 w 228809"/>
                    <a:gd name="connsiteY19" fmla="*/ 102973 h 171417"/>
                    <a:gd name="connsiteX20" fmla="*/ 225779 w 228809"/>
                    <a:gd name="connsiteY20" fmla="*/ 113527 h 171417"/>
                    <a:gd name="connsiteX21" fmla="*/ 220255 w 228809"/>
                    <a:gd name="connsiteY21" fmla="*/ 122071 h 171417"/>
                    <a:gd name="connsiteX22" fmla="*/ 228323 w 228809"/>
                    <a:gd name="connsiteY22" fmla="*/ 129805 h 171417"/>
                    <a:gd name="connsiteX23" fmla="*/ 216617 w 228809"/>
                    <a:gd name="connsiteY23" fmla="*/ 131967 h 171417"/>
                    <a:gd name="connsiteX24" fmla="*/ 211025 w 228809"/>
                    <a:gd name="connsiteY24" fmla="*/ 134377 h 171417"/>
                    <a:gd name="connsiteX25" fmla="*/ 215293 w 228809"/>
                    <a:gd name="connsiteY25" fmla="*/ 142216 h 171417"/>
                    <a:gd name="connsiteX26" fmla="*/ 217521 w 228809"/>
                    <a:gd name="connsiteY26" fmla="*/ 146617 h 171417"/>
                    <a:gd name="connsiteX27" fmla="*/ 214759 w 228809"/>
                    <a:gd name="connsiteY27" fmla="*/ 155161 h 171417"/>
                    <a:gd name="connsiteX28" fmla="*/ 208301 w 228809"/>
                    <a:gd name="connsiteY28" fmla="*/ 160790 h 171417"/>
                    <a:gd name="connsiteX29" fmla="*/ 200662 w 228809"/>
                    <a:gd name="connsiteY29" fmla="*/ 159390 h 171417"/>
                    <a:gd name="connsiteX30" fmla="*/ 196157 w 228809"/>
                    <a:gd name="connsiteY30" fmla="*/ 158313 h 171417"/>
                    <a:gd name="connsiteX31" fmla="*/ 193271 w 228809"/>
                    <a:gd name="connsiteY31" fmla="*/ 165552 h 171417"/>
                    <a:gd name="connsiteX32" fmla="*/ 181450 w 228809"/>
                    <a:gd name="connsiteY32" fmla="*/ 170277 h 171417"/>
                    <a:gd name="connsiteX33" fmla="*/ 174592 w 228809"/>
                    <a:gd name="connsiteY33" fmla="*/ 166638 h 171417"/>
                    <a:gd name="connsiteX34" fmla="*/ 174954 w 228809"/>
                    <a:gd name="connsiteY34" fmla="*/ 161028 h 171417"/>
                    <a:gd name="connsiteX35" fmla="*/ 164238 w 228809"/>
                    <a:gd name="connsiteY35" fmla="*/ 133272 h 171417"/>
                    <a:gd name="connsiteX36" fmla="*/ 153932 w 228809"/>
                    <a:gd name="connsiteY36" fmla="*/ 134025 h 171417"/>
                    <a:gd name="connsiteX37" fmla="*/ 133597 w 228809"/>
                    <a:gd name="connsiteY37" fmla="*/ 137006 h 171417"/>
                    <a:gd name="connsiteX38" fmla="*/ 136940 w 228809"/>
                    <a:gd name="connsiteY38" fmla="*/ 130195 h 171417"/>
                    <a:gd name="connsiteX39" fmla="*/ 138397 w 228809"/>
                    <a:gd name="connsiteY39" fmla="*/ 122604 h 171417"/>
                    <a:gd name="connsiteX40" fmla="*/ 135206 w 228809"/>
                    <a:gd name="connsiteY40" fmla="*/ 113803 h 171417"/>
                    <a:gd name="connsiteX41" fmla="*/ 133225 w 228809"/>
                    <a:gd name="connsiteY41" fmla="*/ 111041 h 171417"/>
                    <a:gd name="connsiteX42" fmla="*/ 134768 w 228809"/>
                    <a:gd name="connsiteY42" fmla="*/ 107812 h 171417"/>
                    <a:gd name="connsiteX43" fmla="*/ 123757 w 228809"/>
                    <a:gd name="connsiteY43" fmla="*/ 91286 h 171417"/>
                    <a:gd name="connsiteX44" fmla="*/ 107993 w 228809"/>
                    <a:gd name="connsiteY44" fmla="*/ 84714 h 171417"/>
                    <a:gd name="connsiteX45" fmla="*/ 96887 w 228809"/>
                    <a:gd name="connsiteY45" fmla="*/ 84771 h 171417"/>
                    <a:gd name="connsiteX46" fmla="*/ 93039 w 228809"/>
                    <a:gd name="connsiteY46" fmla="*/ 87733 h 171417"/>
                    <a:gd name="connsiteX47" fmla="*/ 88496 w 228809"/>
                    <a:gd name="connsiteY47" fmla="*/ 88038 h 171417"/>
                    <a:gd name="connsiteX48" fmla="*/ 74999 w 228809"/>
                    <a:gd name="connsiteY48" fmla="*/ 96087 h 171417"/>
                    <a:gd name="connsiteX49" fmla="*/ 71789 w 228809"/>
                    <a:gd name="connsiteY49" fmla="*/ 101725 h 171417"/>
                    <a:gd name="connsiteX50" fmla="*/ 63683 w 228809"/>
                    <a:gd name="connsiteY50" fmla="*/ 107793 h 171417"/>
                    <a:gd name="connsiteX51" fmla="*/ 53120 w 228809"/>
                    <a:gd name="connsiteY51" fmla="*/ 114517 h 171417"/>
                    <a:gd name="connsiteX52" fmla="*/ 40937 w 228809"/>
                    <a:gd name="connsiteY52" fmla="*/ 99192 h 171417"/>
                    <a:gd name="connsiteX53" fmla="*/ 41232 w 228809"/>
                    <a:gd name="connsiteY53" fmla="*/ 86847 h 171417"/>
                    <a:gd name="connsiteX54" fmla="*/ 31955 w 228809"/>
                    <a:gd name="connsiteY54" fmla="*/ 84304 h 171417"/>
                    <a:gd name="connsiteX55" fmla="*/ 30269 w 228809"/>
                    <a:gd name="connsiteY55" fmla="*/ 80113 h 171417"/>
                    <a:gd name="connsiteX56" fmla="*/ 25926 w 228809"/>
                    <a:gd name="connsiteY56" fmla="*/ 80313 h 171417"/>
                    <a:gd name="connsiteX57" fmla="*/ 13582 w 228809"/>
                    <a:gd name="connsiteY57" fmla="*/ 60415 h 171417"/>
                    <a:gd name="connsiteX58" fmla="*/ 10905 w 228809"/>
                    <a:gd name="connsiteY58" fmla="*/ 62863 h 171417"/>
                    <a:gd name="connsiteX59" fmla="*/ 7543 w 228809"/>
                    <a:gd name="connsiteY59" fmla="*/ 54977 h 171417"/>
                    <a:gd name="connsiteX60" fmla="*/ 1685 w 228809"/>
                    <a:gd name="connsiteY60" fmla="*/ 59263 h 171417"/>
                    <a:gd name="connsiteX61" fmla="*/ 7609 w 228809"/>
                    <a:gd name="connsiteY61" fmla="*/ 41594 h 171417"/>
                    <a:gd name="connsiteX62" fmla="*/ 24488 w 228809"/>
                    <a:gd name="connsiteY62" fmla="*/ 32298 h 171417"/>
                    <a:gd name="connsiteX63" fmla="*/ 41414 w 228809"/>
                    <a:gd name="connsiteY63" fmla="*/ 22811 h 171417"/>
                    <a:gd name="connsiteX64" fmla="*/ 36851 w 228809"/>
                    <a:gd name="connsiteY64" fmla="*/ 17839 h 171417"/>
                    <a:gd name="connsiteX65" fmla="*/ 37632 w 228809"/>
                    <a:gd name="connsiteY65" fmla="*/ 13400 h 171417"/>
                    <a:gd name="connsiteX66" fmla="*/ 42823 w 228809"/>
                    <a:gd name="connsiteY66" fmla="*/ 10428 h 171417"/>
                    <a:gd name="connsiteX67" fmla="*/ 42014 w 228809"/>
                    <a:gd name="connsiteY67" fmla="*/ 360 h 171417"/>
                    <a:gd name="connsiteX68" fmla="*/ 62483 w 228809"/>
                    <a:gd name="connsiteY68" fmla="*/ 1894 h 171417"/>
                    <a:gd name="connsiteX69" fmla="*/ 62683 w 228809"/>
                    <a:gd name="connsiteY69" fmla="*/ 6132 h 171417"/>
                    <a:gd name="connsiteX70" fmla="*/ 67084 w 228809"/>
                    <a:gd name="connsiteY70" fmla="*/ 4866 h 171417"/>
                    <a:gd name="connsiteX71" fmla="*/ 89782 w 228809"/>
                    <a:gd name="connsiteY71" fmla="*/ 10095 h 171417"/>
                    <a:gd name="connsiteX72" fmla="*/ 114670 w 228809"/>
                    <a:gd name="connsiteY72" fmla="*/ 8847 h 171417"/>
                    <a:gd name="connsiteX73" fmla="*/ 114670 w 228809"/>
                    <a:gd name="connsiteY73" fmla="*/ 8847 h 17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28809" h="171417">
                      <a:moveTo>
                        <a:pt x="114670" y="8847"/>
                      </a:moveTo>
                      <a:cubicBezTo>
                        <a:pt x="108289" y="16553"/>
                        <a:pt x="114747" y="23049"/>
                        <a:pt x="122586" y="18582"/>
                      </a:cubicBezTo>
                      <a:cubicBezTo>
                        <a:pt x="128158" y="15410"/>
                        <a:pt x="127339" y="13933"/>
                        <a:pt x="132025" y="19515"/>
                      </a:cubicBezTo>
                      <a:cubicBezTo>
                        <a:pt x="134825" y="22849"/>
                        <a:pt x="133587" y="24735"/>
                        <a:pt x="137597" y="23925"/>
                      </a:cubicBezTo>
                      <a:cubicBezTo>
                        <a:pt x="140569" y="23325"/>
                        <a:pt x="142531" y="17124"/>
                        <a:pt x="146160" y="15905"/>
                      </a:cubicBezTo>
                      <a:cubicBezTo>
                        <a:pt x="150980" y="14286"/>
                        <a:pt x="154685" y="17096"/>
                        <a:pt x="159352" y="18696"/>
                      </a:cubicBezTo>
                      <a:cubicBezTo>
                        <a:pt x="166925" y="21306"/>
                        <a:pt x="163638" y="19972"/>
                        <a:pt x="168953" y="16781"/>
                      </a:cubicBezTo>
                      <a:cubicBezTo>
                        <a:pt x="171716" y="15124"/>
                        <a:pt x="177202" y="14591"/>
                        <a:pt x="178555" y="12038"/>
                      </a:cubicBezTo>
                      <a:cubicBezTo>
                        <a:pt x="180469" y="8447"/>
                        <a:pt x="173983" y="7818"/>
                        <a:pt x="179783" y="6142"/>
                      </a:cubicBezTo>
                      <a:cubicBezTo>
                        <a:pt x="185536" y="4485"/>
                        <a:pt x="188622" y="10695"/>
                        <a:pt x="190489" y="14486"/>
                      </a:cubicBezTo>
                      <a:cubicBezTo>
                        <a:pt x="194252" y="22134"/>
                        <a:pt x="192699" y="31964"/>
                        <a:pt x="199052" y="36870"/>
                      </a:cubicBezTo>
                      <a:cubicBezTo>
                        <a:pt x="200605" y="38060"/>
                        <a:pt x="206939" y="39441"/>
                        <a:pt x="207301" y="41508"/>
                      </a:cubicBezTo>
                      <a:cubicBezTo>
                        <a:pt x="207653" y="43547"/>
                        <a:pt x="202510" y="46585"/>
                        <a:pt x="201491" y="48185"/>
                      </a:cubicBezTo>
                      <a:cubicBezTo>
                        <a:pt x="196814" y="55520"/>
                        <a:pt x="199862" y="51309"/>
                        <a:pt x="203386" y="52310"/>
                      </a:cubicBezTo>
                      <a:cubicBezTo>
                        <a:pt x="209273" y="53976"/>
                        <a:pt x="208473" y="52310"/>
                        <a:pt x="209473" y="58520"/>
                      </a:cubicBezTo>
                      <a:cubicBezTo>
                        <a:pt x="210492" y="64873"/>
                        <a:pt x="209959" y="67664"/>
                        <a:pt x="214559" y="72045"/>
                      </a:cubicBezTo>
                      <a:cubicBezTo>
                        <a:pt x="218359" y="75665"/>
                        <a:pt x="221360" y="74674"/>
                        <a:pt x="218798" y="80646"/>
                      </a:cubicBezTo>
                      <a:cubicBezTo>
                        <a:pt x="217950" y="82628"/>
                        <a:pt x="215216" y="83247"/>
                        <a:pt x="214302" y="85428"/>
                      </a:cubicBezTo>
                      <a:cubicBezTo>
                        <a:pt x="213616" y="87085"/>
                        <a:pt x="214368" y="93181"/>
                        <a:pt x="214464" y="94772"/>
                      </a:cubicBezTo>
                      <a:cubicBezTo>
                        <a:pt x="214750" y="99658"/>
                        <a:pt x="215512" y="105669"/>
                        <a:pt x="222198" y="102973"/>
                      </a:cubicBezTo>
                      <a:cubicBezTo>
                        <a:pt x="222103" y="109088"/>
                        <a:pt x="221522" y="109460"/>
                        <a:pt x="225779" y="113527"/>
                      </a:cubicBezTo>
                      <a:cubicBezTo>
                        <a:pt x="222074" y="114441"/>
                        <a:pt x="218845" y="118042"/>
                        <a:pt x="220255" y="122071"/>
                      </a:cubicBezTo>
                      <a:cubicBezTo>
                        <a:pt x="221312" y="125109"/>
                        <a:pt x="227085" y="124900"/>
                        <a:pt x="228323" y="129805"/>
                      </a:cubicBezTo>
                      <a:cubicBezTo>
                        <a:pt x="230951" y="140263"/>
                        <a:pt x="222351" y="131453"/>
                        <a:pt x="216617" y="131967"/>
                      </a:cubicBezTo>
                      <a:cubicBezTo>
                        <a:pt x="213197" y="132272"/>
                        <a:pt x="212521" y="131672"/>
                        <a:pt x="211025" y="134377"/>
                      </a:cubicBezTo>
                      <a:cubicBezTo>
                        <a:pt x="207663" y="140473"/>
                        <a:pt x="213054" y="139501"/>
                        <a:pt x="215293" y="142216"/>
                      </a:cubicBezTo>
                      <a:cubicBezTo>
                        <a:pt x="217102" y="144407"/>
                        <a:pt x="217845" y="142054"/>
                        <a:pt x="217521" y="146617"/>
                      </a:cubicBezTo>
                      <a:cubicBezTo>
                        <a:pt x="217445" y="147731"/>
                        <a:pt x="215293" y="153627"/>
                        <a:pt x="214759" y="155161"/>
                      </a:cubicBezTo>
                      <a:cubicBezTo>
                        <a:pt x="212787" y="160876"/>
                        <a:pt x="212083" y="159790"/>
                        <a:pt x="208301" y="160790"/>
                      </a:cubicBezTo>
                      <a:cubicBezTo>
                        <a:pt x="204920" y="161685"/>
                        <a:pt x="203148" y="159666"/>
                        <a:pt x="200662" y="159390"/>
                      </a:cubicBezTo>
                      <a:cubicBezTo>
                        <a:pt x="199091" y="159209"/>
                        <a:pt x="199643" y="155980"/>
                        <a:pt x="196157" y="158313"/>
                      </a:cubicBezTo>
                      <a:cubicBezTo>
                        <a:pt x="195576" y="158704"/>
                        <a:pt x="193814" y="164495"/>
                        <a:pt x="193271" y="165552"/>
                      </a:cubicBezTo>
                      <a:cubicBezTo>
                        <a:pt x="190299" y="171315"/>
                        <a:pt x="186698" y="172706"/>
                        <a:pt x="181450" y="170277"/>
                      </a:cubicBezTo>
                      <a:cubicBezTo>
                        <a:pt x="181164" y="170143"/>
                        <a:pt x="174030" y="165991"/>
                        <a:pt x="174592" y="166638"/>
                      </a:cubicBezTo>
                      <a:cubicBezTo>
                        <a:pt x="171963" y="163590"/>
                        <a:pt x="174344" y="165828"/>
                        <a:pt x="174954" y="161028"/>
                      </a:cubicBezTo>
                      <a:cubicBezTo>
                        <a:pt x="175583" y="156046"/>
                        <a:pt x="171030" y="129291"/>
                        <a:pt x="164238" y="133272"/>
                      </a:cubicBezTo>
                      <a:cubicBezTo>
                        <a:pt x="163133" y="128452"/>
                        <a:pt x="157495" y="132796"/>
                        <a:pt x="153932" y="134025"/>
                      </a:cubicBezTo>
                      <a:cubicBezTo>
                        <a:pt x="151875" y="125690"/>
                        <a:pt x="138188" y="138635"/>
                        <a:pt x="133597" y="137006"/>
                      </a:cubicBezTo>
                      <a:cubicBezTo>
                        <a:pt x="134768" y="134787"/>
                        <a:pt x="135835" y="132396"/>
                        <a:pt x="136940" y="130195"/>
                      </a:cubicBezTo>
                      <a:cubicBezTo>
                        <a:pt x="139692" y="124728"/>
                        <a:pt x="138921" y="128281"/>
                        <a:pt x="138397" y="122604"/>
                      </a:cubicBezTo>
                      <a:cubicBezTo>
                        <a:pt x="138121" y="119623"/>
                        <a:pt x="135644" y="115375"/>
                        <a:pt x="135206" y="113803"/>
                      </a:cubicBezTo>
                      <a:cubicBezTo>
                        <a:pt x="135559" y="115079"/>
                        <a:pt x="133149" y="110831"/>
                        <a:pt x="133225" y="111041"/>
                      </a:cubicBezTo>
                      <a:cubicBezTo>
                        <a:pt x="132901" y="110203"/>
                        <a:pt x="134901" y="108659"/>
                        <a:pt x="134768" y="107812"/>
                      </a:cubicBezTo>
                      <a:cubicBezTo>
                        <a:pt x="134025" y="103278"/>
                        <a:pt x="126796" y="95315"/>
                        <a:pt x="123757" y="91286"/>
                      </a:cubicBezTo>
                      <a:cubicBezTo>
                        <a:pt x="118766" y="84666"/>
                        <a:pt x="116080" y="84685"/>
                        <a:pt x="107993" y="84714"/>
                      </a:cubicBezTo>
                      <a:cubicBezTo>
                        <a:pt x="104802" y="84723"/>
                        <a:pt x="99935" y="84028"/>
                        <a:pt x="96887" y="84771"/>
                      </a:cubicBezTo>
                      <a:cubicBezTo>
                        <a:pt x="96420" y="84885"/>
                        <a:pt x="95335" y="87228"/>
                        <a:pt x="93039" y="87733"/>
                      </a:cubicBezTo>
                      <a:cubicBezTo>
                        <a:pt x="90277" y="88343"/>
                        <a:pt x="90648" y="88000"/>
                        <a:pt x="88496" y="88038"/>
                      </a:cubicBezTo>
                      <a:cubicBezTo>
                        <a:pt x="79657" y="88200"/>
                        <a:pt x="79266" y="88105"/>
                        <a:pt x="74999" y="96087"/>
                      </a:cubicBezTo>
                      <a:cubicBezTo>
                        <a:pt x="74018" y="97925"/>
                        <a:pt x="73017" y="100068"/>
                        <a:pt x="71789" y="101725"/>
                      </a:cubicBezTo>
                      <a:cubicBezTo>
                        <a:pt x="69141" y="105288"/>
                        <a:pt x="66274" y="105202"/>
                        <a:pt x="63683" y="107793"/>
                      </a:cubicBezTo>
                      <a:cubicBezTo>
                        <a:pt x="58654" y="112812"/>
                        <a:pt x="61102" y="113708"/>
                        <a:pt x="53120" y="114517"/>
                      </a:cubicBezTo>
                      <a:cubicBezTo>
                        <a:pt x="54939" y="109831"/>
                        <a:pt x="47176" y="97068"/>
                        <a:pt x="40937" y="99192"/>
                      </a:cubicBezTo>
                      <a:cubicBezTo>
                        <a:pt x="42957" y="94934"/>
                        <a:pt x="41480" y="90981"/>
                        <a:pt x="41232" y="86847"/>
                      </a:cubicBezTo>
                      <a:cubicBezTo>
                        <a:pt x="38194" y="90295"/>
                        <a:pt x="34822" y="86771"/>
                        <a:pt x="31955" y="84304"/>
                      </a:cubicBezTo>
                      <a:cubicBezTo>
                        <a:pt x="30641" y="83171"/>
                        <a:pt x="31451" y="80923"/>
                        <a:pt x="30269" y="80113"/>
                      </a:cubicBezTo>
                      <a:cubicBezTo>
                        <a:pt x="29850" y="79827"/>
                        <a:pt x="26764" y="80675"/>
                        <a:pt x="25926" y="80313"/>
                      </a:cubicBezTo>
                      <a:cubicBezTo>
                        <a:pt x="16953" y="76474"/>
                        <a:pt x="12124" y="70169"/>
                        <a:pt x="13582" y="60415"/>
                      </a:cubicBezTo>
                      <a:cubicBezTo>
                        <a:pt x="12915" y="61377"/>
                        <a:pt x="11676" y="61987"/>
                        <a:pt x="10905" y="62863"/>
                      </a:cubicBezTo>
                      <a:cubicBezTo>
                        <a:pt x="10219" y="60987"/>
                        <a:pt x="9057" y="55824"/>
                        <a:pt x="7543" y="54977"/>
                      </a:cubicBezTo>
                      <a:cubicBezTo>
                        <a:pt x="1894" y="51824"/>
                        <a:pt x="4390" y="59310"/>
                        <a:pt x="1685" y="59263"/>
                      </a:cubicBezTo>
                      <a:cubicBezTo>
                        <a:pt x="-3868" y="59168"/>
                        <a:pt x="5942" y="43832"/>
                        <a:pt x="7609" y="41594"/>
                      </a:cubicBezTo>
                      <a:cubicBezTo>
                        <a:pt x="11134" y="36860"/>
                        <a:pt x="18525" y="33860"/>
                        <a:pt x="24488" y="32298"/>
                      </a:cubicBezTo>
                      <a:cubicBezTo>
                        <a:pt x="30155" y="30821"/>
                        <a:pt x="45681" y="34307"/>
                        <a:pt x="41414" y="22811"/>
                      </a:cubicBezTo>
                      <a:cubicBezTo>
                        <a:pt x="40528" y="20410"/>
                        <a:pt x="38042" y="20201"/>
                        <a:pt x="36851" y="17839"/>
                      </a:cubicBezTo>
                      <a:cubicBezTo>
                        <a:pt x="34756" y="13667"/>
                        <a:pt x="34765" y="16857"/>
                        <a:pt x="37632" y="13400"/>
                      </a:cubicBezTo>
                      <a:cubicBezTo>
                        <a:pt x="39261" y="11438"/>
                        <a:pt x="41071" y="13781"/>
                        <a:pt x="42823" y="10428"/>
                      </a:cubicBezTo>
                      <a:cubicBezTo>
                        <a:pt x="44604" y="7037"/>
                        <a:pt x="40175" y="2837"/>
                        <a:pt x="42014" y="360"/>
                      </a:cubicBezTo>
                      <a:cubicBezTo>
                        <a:pt x="42814" y="-716"/>
                        <a:pt x="60749" y="865"/>
                        <a:pt x="62483" y="1894"/>
                      </a:cubicBezTo>
                      <a:cubicBezTo>
                        <a:pt x="63664" y="2599"/>
                        <a:pt x="61130" y="5218"/>
                        <a:pt x="62683" y="6132"/>
                      </a:cubicBezTo>
                      <a:cubicBezTo>
                        <a:pt x="64883" y="7437"/>
                        <a:pt x="65407" y="4380"/>
                        <a:pt x="67084" y="4866"/>
                      </a:cubicBezTo>
                      <a:cubicBezTo>
                        <a:pt x="75494" y="7294"/>
                        <a:pt x="80780" y="11362"/>
                        <a:pt x="89782" y="10095"/>
                      </a:cubicBezTo>
                      <a:cubicBezTo>
                        <a:pt x="97373" y="9057"/>
                        <a:pt x="107069" y="7009"/>
                        <a:pt x="114670" y="8847"/>
                      </a:cubicBezTo>
                      <a:lnTo>
                        <a:pt x="114670" y="8847"/>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48" name="Freeform: Shape 647">
                  <a:extLst>
                    <a:ext uri="{FF2B5EF4-FFF2-40B4-BE49-F238E27FC236}">
                      <a16:creationId xmlns:a16="http://schemas.microsoft.com/office/drawing/2014/main" id="{32412287-FF77-447B-99EF-6F8E42FB7FB8}"/>
                    </a:ext>
                  </a:extLst>
                </p:cNvPr>
                <p:cNvSpPr/>
                <p:nvPr/>
              </p:nvSpPr>
              <p:spPr>
                <a:xfrm>
                  <a:off x="5491786" y="4014001"/>
                  <a:ext cx="138227" cy="200751"/>
                </a:xfrm>
                <a:custGeom>
                  <a:avLst/>
                  <a:gdLst>
                    <a:gd name="connsiteX0" fmla="*/ 99664 w 138227"/>
                    <a:gd name="connsiteY0" fmla="*/ 746 h 200751"/>
                    <a:gd name="connsiteX1" fmla="*/ 99111 w 138227"/>
                    <a:gd name="connsiteY1" fmla="*/ 14681 h 200751"/>
                    <a:gd name="connsiteX2" fmla="*/ 111218 w 138227"/>
                    <a:gd name="connsiteY2" fmla="*/ 25530 h 200751"/>
                    <a:gd name="connsiteX3" fmla="*/ 113123 w 138227"/>
                    <a:gd name="connsiteY3" fmla="*/ 28435 h 200751"/>
                    <a:gd name="connsiteX4" fmla="*/ 112656 w 138227"/>
                    <a:gd name="connsiteY4" fmla="*/ 39522 h 200751"/>
                    <a:gd name="connsiteX5" fmla="*/ 112513 w 138227"/>
                    <a:gd name="connsiteY5" fmla="*/ 48361 h 200751"/>
                    <a:gd name="connsiteX6" fmla="*/ 109960 w 138227"/>
                    <a:gd name="connsiteY6" fmla="*/ 53943 h 200751"/>
                    <a:gd name="connsiteX7" fmla="*/ 118276 w 138227"/>
                    <a:gd name="connsiteY7" fmla="*/ 56153 h 200751"/>
                    <a:gd name="connsiteX8" fmla="*/ 116390 w 138227"/>
                    <a:gd name="connsiteY8" fmla="*/ 63659 h 200751"/>
                    <a:gd name="connsiteX9" fmla="*/ 117171 w 138227"/>
                    <a:gd name="connsiteY9" fmla="*/ 70650 h 200751"/>
                    <a:gd name="connsiteX10" fmla="*/ 116904 w 138227"/>
                    <a:gd name="connsiteY10" fmla="*/ 80718 h 200751"/>
                    <a:gd name="connsiteX11" fmla="*/ 122695 w 138227"/>
                    <a:gd name="connsiteY11" fmla="*/ 86576 h 200751"/>
                    <a:gd name="connsiteX12" fmla="*/ 121381 w 138227"/>
                    <a:gd name="connsiteY12" fmla="*/ 91624 h 200751"/>
                    <a:gd name="connsiteX13" fmla="*/ 120743 w 138227"/>
                    <a:gd name="connsiteY13" fmla="*/ 107426 h 200751"/>
                    <a:gd name="connsiteX14" fmla="*/ 119476 w 138227"/>
                    <a:gd name="connsiteY14" fmla="*/ 117951 h 200751"/>
                    <a:gd name="connsiteX15" fmla="*/ 121400 w 138227"/>
                    <a:gd name="connsiteY15" fmla="*/ 122171 h 200751"/>
                    <a:gd name="connsiteX16" fmla="*/ 120305 w 138227"/>
                    <a:gd name="connsiteY16" fmla="*/ 129543 h 200751"/>
                    <a:gd name="connsiteX17" fmla="*/ 124010 w 138227"/>
                    <a:gd name="connsiteY17" fmla="*/ 145574 h 200751"/>
                    <a:gd name="connsiteX18" fmla="*/ 133630 w 138227"/>
                    <a:gd name="connsiteY18" fmla="*/ 153898 h 200751"/>
                    <a:gd name="connsiteX19" fmla="*/ 137583 w 138227"/>
                    <a:gd name="connsiteY19" fmla="*/ 156975 h 200751"/>
                    <a:gd name="connsiteX20" fmla="*/ 136525 w 138227"/>
                    <a:gd name="connsiteY20" fmla="*/ 160233 h 200751"/>
                    <a:gd name="connsiteX21" fmla="*/ 108084 w 138227"/>
                    <a:gd name="connsiteY21" fmla="*/ 170443 h 200751"/>
                    <a:gd name="connsiteX22" fmla="*/ 75823 w 138227"/>
                    <a:gd name="connsiteY22" fmla="*/ 186388 h 200751"/>
                    <a:gd name="connsiteX23" fmla="*/ 55077 w 138227"/>
                    <a:gd name="connsiteY23" fmla="*/ 192018 h 200751"/>
                    <a:gd name="connsiteX24" fmla="*/ 39209 w 138227"/>
                    <a:gd name="connsiteY24" fmla="*/ 200695 h 200751"/>
                    <a:gd name="connsiteX25" fmla="*/ 21254 w 138227"/>
                    <a:gd name="connsiteY25" fmla="*/ 194246 h 200751"/>
                    <a:gd name="connsiteX26" fmla="*/ 3890 w 138227"/>
                    <a:gd name="connsiteY26" fmla="*/ 190579 h 200751"/>
                    <a:gd name="connsiteX27" fmla="*/ 13968 w 138227"/>
                    <a:gd name="connsiteY27" fmla="*/ 186941 h 200751"/>
                    <a:gd name="connsiteX28" fmla="*/ 13558 w 138227"/>
                    <a:gd name="connsiteY28" fmla="*/ 174139 h 200751"/>
                    <a:gd name="connsiteX29" fmla="*/ 8195 w 138227"/>
                    <a:gd name="connsiteY29" fmla="*/ 171796 h 200751"/>
                    <a:gd name="connsiteX30" fmla="*/ 5776 w 138227"/>
                    <a:gd name="connsiteY30" fmla="*/ 164186 h 200751"/>
                    <a:gd name="connsiteX31" fmla="*/ 52 w 138227"/>
                    <a:gd name="connsiteY31" fmla="*/ 144545 h 200751"/>
                    <a:gd name="connsiteX32" fmla="*/ 8929 w 138227"/>
                    <a:gd name="connsiteY32" fmla="*/ 116446 h 200751"/>
                    <a:gd name="connsiteX33" fmla="*/ 14244 w 138227"/>
                    <a:gd name="connsiteY33" fmla="*/ 101330 h 200751"/>
                    <a:gd name="connsiteX34" fmla="*/ 20854 w 138227"/>
                    <a:gd name="connsiteY34" fmla="*/ 93786 h 200751"/>
                    <a:gd name="connsiteX35" fmla="*/ 22864 w 138227"/>
                    <a:gd name="connsiteY35" fmla="*/ 89919 h 200751"/>
                    <a:gd name="connsiteX36" fmla="*/ 21235 w 138227"/>
                    <a:gd name="connsiteY36" fmla="*/ 79994 h 200751"/>
                    <a:gd name="connsiteX37" fmla="*/ 16720 w 138227"/>
                    <a:gd name="connsiteY37" fmla="*/ 66297 h 200751"/>
                    <a:gd name="connsiteX38" fmla="*/ 17463 w 138227"/>
                    <a:gd name="connsiteY38" fmla="*/ 55057 h 200751"/>
                    <a:gd name="connsiteX39" fmla="*/ 15834 w 138227"/>
                    <a:gd name="connsiteY39" fmla="*/ 41408 h 200751"/>
                    <a:gd name="connsiteX40" fmla="*/ 14358 w 138227"/>
                    <a:gd name="connsiteY40" fmla="*/ 26340 h 200751"/>
                    <a:gd name="connsiteX41" fmla="*/ 11024 w 138227"/>
                    <a:gd name="connsiteY41" fmla="*/ 17891 h 200751"/>
                    <a:gd name="connsiteX42" fmla="*/ 12444 w 138227"/>
                    <a:gd name="connsiteY42" fmla="*/ 7880 h 200751"/>
                    <a:gd name="connsiteX43" fmla="*/ 16234 w 138227"/>
                    <a:gd name="connsiteY43" fmla="*/ 4813 h 200751"/>
                    <a:gd name="connsiteX44" fmla="*/ 37323 w 138227"/>
                    <a:gd name="connsiteY44" fmla="*/ 4594 h 200751"/>
                    <a:gd name="connsiteX45" fmla="*/ 76604 w 138227"/>
                    <a:gd name="connsiteY45" fmla="*/ 4623 h 200751"/>
                    <a:gd name="connsiteX46" fmla="*/ 87834 w 138227"/>
                    <a:gd name="connsiteY46" fmla="*/ 2298 h 200751"/>
                    <a:gd name="connsiteX47" fmla="*/ 99664 w 138227"/>
                    <a:gd name="connsiteY47" fmla="*/ 746 h 200751"/>
                    <a:gd name="connsiteX48" fmla="*/ 99664 w 138227"/>
                    <a:gd name="connsiteY48" fmla="*/ 746 h 20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38227" h="200751">
                      <a:moveTo>
                        <a:pt x="99664" y="746"/>
                      </a:moveTo>
                      <a:cubicBezTo>
                        <a:pt x="105836" y="4594"/>
                        <a:pt x="97807" y="9966"/>
                        <a:pt x="99111" y="14681"/>
                      </a:cubicBezTo>
                      <a:cubicBezTo>
                        <a:pt x="100245" y="18805"/>
                        <a:pt x="108808" y="22025"/>
                        <a:pt x="111218" y="25530"/>
                      </a:cubicBezTo>
                      <a:cubicBezTo>
                        <a:pt x="112618" y="27559"/>
                        <a:pt x="112465" y="26435"/>
                        <a:pt x="113123" y="28435"/>
                      </a:cubicBezTo>
                      <a:cubicBezTo>
                        <a:pt x="114018" y="31131"/>
                        <a:pt x="112980" y="36579"/>
                        <a:pt x="112656" y="39522"/>
                      </a:cubicBezTo>
                      <a:cubicBezTo>
                        <a:pt x="112180" y="43789"/>
                        <a:pt x="108932" y="47390"/>
                        <a:pt x="112513" y="48361"/>
                      </a:cubicBezTo>
                      <a:cubicBezTo>
                        <a:pt x="110960" y="49104"/>
                        <a:pt x="107798" y="52581"/>
                        <a:pt x="109960" y="53943"/>
                      </a:cubicBezTo>
                      <a:cubicBezTo>
                        <a:pt x="113132" y="55953"/>
                        <a:pt x="115733" y="47399"/>
                        <a:pt x="118276" y="56153"/>
                      </a:cubicBezTo>
                      <a:cubicBezTo>
                        <a:pt x="118866" y="58201"/>
                        <a:pt x="116552" y="61658"/>
                        <a:pt x="116390" y="63659"/>
                      </a:cubicBezTo>
                      <a:cubicBezTo>
                        <a:pt x="116228" y="65525"/>
                        <a:pt x="117533" y="69269"/>
                        <a:pt x="117171" y="70650"/>
                      </a:cubicBezTo>
                      <a:cubicBezTo>
                        <a:pt x="115628" y="76489"/>
                        <a:pt x="111503" y="74317"/>
                        <a:pt x="116904" y="80718"/>
                      </a:cubicBezTo>
                      <a:cubicBezTo>
                        <a:pt x="118704" y="82851"/>
                        <a:pt x="121981" y="83442"/>
                        <a:pt x="122695" y="86576"/>
                      </a:cubicBezTo>
                      <a:cubicBezTo>
                        <a:pt x="123429" y="89757"/>
                        <a:pt x="121667" y="89043"/>
                        <a:pt x="121381" y="91624"/>
                      </a:cubicBezTo>
                      <a:cubicBezTo>
                        <a:pt x="120905" y="95910"/>
                        <a:pt x="121810" y="102911"/>
                        <a:pt x="120743" y="107426"/>
                      </a:cubicBezTo>
                      <a:cubicBezTo>
                        <a:pt x="119076" y="114474"/>
                        <a:pt x="117885" y="112531"/>
                        <a:pt x="119476" y="117951"/>
                      </a:cubicBezTo>
                      <a:cubicBezTo>
                        <a:pt x="119904" y="119428"/>
                        <a:pt x="120933" y="119713"/>
                        <a:pt x="121400" y="122171"/>
                      </a:cubicBezTo>
                      <a:cubicBezTo>
                        <a:pt x="121733" y="123990"/>
                        <a:pt x="120771" y="127657"/>
                        <a:pt x="120305" y="129543"/>
                      </a:cubicBezTo>
                      <a:cubicBezTo>
                        <a:pt x="118847" y="135515"/>
                        <a:pt x="119800" y="139735"/>
                        <a:pt x="124010" y="145574"/>
                      </a:cubicBezTo>
                      <a:cubicBezTo>
                        <a:pt x="126544" y="149079"/>
                        <a:pt x="130592" y="151889"/>
                        <a:pt x="133630" y="153898"/>
                      </a:cubicBezTo>
                      <a:cubicBezTo>
                        <a:pt x="133487" y="153813"/>
                        <a:pt x="137764" y="157461"/>
                        <a:pt x="137583" y="156975"/>
                      </a:cubicBezTo>
                      <a:cubicBezTo>
                        <a:pt x="138831" y="160299"/>
                        <a:pt x="138154" y="156146"/>
                        <a:pt x="136525" y="160233"/>
                      </a:cubicBezTo>
                      <a:cubicBezTo>
                        <a:pt x="131230" y="173501"/>
                        <a:pt x="118733" y="167081"/>
                        <a:pt x="108084" y="170443"/>
                      </a:cubicBezTo>
                      <a:cubicBezTo>
                        <a:pt x="96473" y="174111"/>
                        <a:pt x="86929" y="182369"/>
                        <a:pt x="75823" y="186388"/>
                      </a:cubicBezTo>
                      <a:cubicBezTo>
                        <a:pt x="69174" y="188788"/>
                        <a:pt x="61811" y="189265"/>
                        <a:pt x="55077" y="192018"/>
                      </a:cubicBezTo>
                      <a:cubicBezTo>
                        <a:pt x="50162" y="194027"/>
                        <a:pt x="44305" y="200019"/>
                        <a:pt x="39209" y="200695"/>
                      </a:cubicBezTo>
                      <a:cubicBezTo>
                        <a:pt x="34056" y="201381"/>
                        <a:pt x="26750" y="195694"/>
                        <a:pt x="21254" y="194246"/>
                      </a:cubicBezTo>
                      <a:cubicBezTo>
                        <a:pt x="15501" y="192741"/>
                        <a:pt x="9538" y="192418"/>
                        <a:pt x="3890" y="190579"/>
                      </a:cubicBezTo>
                      <a:cubicBezTo>
                        <a:pt x="6871" y="188208"/>
                        <a:pt x="11539" y="190246"/>
                        <a:pt x="13968" y="186941"/>
                      </a:cubicBezTo>
                      <a:cubicBezTo>
                        <a:pt x="15758" y="184502"/>
                        <a:pt x="15311" y="176358"/>
                        <a:pt x="13558" y="174139"/>
                      </a:cubicBezTo>
                      <a:cubicBezTo>
                        <a:pt x="12444" y="172730"/>
                        <a:pt x="9567" y="173348"/>
                        <a:pt x="8195" y="171796"/>
                      </a:cubicBezTo>
                      <a:cubicBezTo>
                        <a:pt x="6528" y="169910"/>
                        <a:pt x="6452" y="166510"/>
                        <a:pt x="5776" y="164186"/>
                      </a:cubicBezTo>
                      <a:cubicBezTo>
                        <a:pt x="3880" y="157728"/>
                        <a:pt x="537" y="151317"/>
                        <a:pt x="52" y="144545"/>
                      </a:cubicBezTo>
                      <a:cubicBezTo>
                        <a:pt x="-701" y="134134"/>
                        <a:pt x="7005" y="126676"/>
                        <a:pt x="8929" y="116446"/>
                      </a:cubicBezTo>
                      <a:cubicBezTo>
                        <a:pt x="9710" y="112303"/>
                        <a:pt x="11472" y="104749"/>
                        <a:pt x="14244" y="101330"/>
                      </a:cubicBezTo>
                      <a:cubicBezTo>
                        <a:pt x="17282" y="97568"/>
                        <a:pt x="19225" y="97206"/>
                        <a:pt x="20854" y="93786"/>
                      </a:cubicBezTo>
                      <a:cubicBezTo>
                        <a:pt x="21778" y="91853"/>
                        <a:pt x="22321" y="92910"/>
                        <a:pt x="22864" y="89919"/>
                      </a:cubicBezTo>
                      <a:cubicBezTo>
                        <a:pt x="23321" y="87376"/>
                        <a:pt x="21664" y="82718"/>
                        <a:pt x="21235" y="79994"/>
                      </a:cubicBezTo>
                      <a:cubicBezTo>
                        <a:pt x="20501" y="75336"/>
                        <a:pt x="17330" y="69955"/>
                        <a:pt x="16720" y="66297"/>
                      </a:cubicBezTo>
                      <a:cubicBezTo>
                        <a:pt x="16168" y="62982"/>
                        <a:pt x="17834" y="59020"/>
                        <a:pt x="17463" y="55057"/>
                      </a:cubicBezTo>
                      <a:cubicBezTo>
                        <a:pt x="17025" y="50324"/>
                        <a:pt x="16072" y="45847"/>
                        <a:pt x="15834" y="41408"/>
                      </a:cubicBezTo>
                      <a:cubicBezTo>
                        <a:pt x="15568" y="36370"/>
                        <a:pt x="15006" y="30712"/>
                        <a:pt x="14358" y="26340"/>
                      </a:cubicBezTo>
                      <a:cubicBezTo>
                        <a:pt x="13786" y="22511"/>
                        <a:pt x="12291" y="22330"/>
                        <a:pt x="11024" y="17891"/>
                      </a:cubicBezTo>
                      <a:cubicBezTo>
                        <a:pt x="10272" y="15262"/>
                        <a:pt x="11072" y="10214"/>
                        <a:pt x="12444" y="7880"/>
                      </a:cubicBezTo>
                      <a:cubicBezTo>
                        <a:pt x="14672" y="4070"/>
                        <a:pt x="12805" y="5823"/>
                        <a:pt x="16234" y="4813"/>
                      </a:cubicBezTo>
                      <a:cubicBezTo>
                        <a:pt x="22207" y="3051"/>
                        <a:pt x="31055" y="4651"/>
                        <a:pt x="37323" y="4594"/>
                      </a:cubicBezTo>
                      <a:cubicBezTo>
                        <a:pt x="49934" y="4470"/>
                        <a:pt x="64250" y="2013"/>
                        <a:pt x="76604" y="4623"/>
                      </a:cubicBezTo>
                      <a:cubicBezTo>
                        <a:pt x="83081" y="5985"/>
                        <a:pt x="82271" y="6318"/>
                        <a:pt x="87834" y="2298"/>
                      </a:cubicBezTo>
                      <a:cubicBezTo>
                        <a:pt x="91558" y="-388"/>
                        <a:pt x="94358" y="-454"/>
                        <a:pt x="99664" y="746"/>
                      </a:cubicBezTo>
                      <a:lnTo>
                        <a:pt x="99664" y="746"/>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49" name="Freeform: Shape 648">
                  <a:extLst>
                    <a:ext uri="{FF2B5EF4-FFF2-40B4-BE49-F238E27FC236}">
                      <a16:creationId xmlns:a16="http://schemas.microsoft.com/office/drawing/2014/main" id="{C1530516-6373-4A9D-8A7C-7508A2B53655}"/>
                    </a:ext>
                  </a:extLst>
                </p:cNvPr>
                <p:cNvSpPr/>
                <p:nvPr/>
              </p:nvSpPr>
              <p:spPr>
                <a:xfrm>
                  <a:off x="6681452" y="2992405"/>
                  <a:ext cx="199560" cy="78396"/>
                </a:xfrm>
                <a:custGeom>
                  <a:avLst/>
                  <a:gdLst>
                    <a:gd name="connsiteX0" fmla="*/ 187768 w 199560"/>
                    <a:gd name="connsiteY0" fmla="*/ 52925 h 78396"/>
                    <a:gd name="connsiteX1" fmla="*/ 187025 w 199560"/>
                    <a:gd name="connsiteY1" fmla="*/ 64203 h 78396"/>
                    <a:gd name="connsiteX2" fmla="*/ 198589 w 199560"/>
                    <a:gd name="connsiteY2" fmla="*/ 71051 h 78396"/>
                    <a:gd name="connsiteX3" fmla="*/ 194292 w 199560"/>
                    <a:gd name="connsiteY3" fmla="*/ 78395 h 78396"/>
                    <a:gd name="connsiteX4" fmla="*/ 183948 w 199560"/>
                    <a:gd name="connsiteY4" fmla="*/ 75337 h 78396"/>
                    <a:gd name="connsiteX5" fmla="*/ 172633 w 199560"/>
                    <a:gd name="connsiteY5" fmla="*/ 71889 h 78396"/>
                    <a:gd name="connsiteX6" fmla="*/ 160926 w 199560"/>
                    <a:gd name="connsiteY6" fmla="*/ 67022 h 78396"/>
                    <a:gd name="connsiteX7" fmla="*/ 148477 w 199560"/>
                    <a:gd name="connsiteY7" fmla="*/ 72823 h 78396"/>
                    <a:gd name="connsiteX8" fmla="*/ 149830 w 199560"/>
                    <a:gd name="connsiteY8" fmla="*/ 74051 h 78396"/>
                    <a:gd name="connsiteX9" fmla="*/ 132742 w 199560"/>
                    <a:gd name="connsiteY9" fmla="*/ 74261 h 78396"/>
                    <a:gd name="connsiteX10" fmla="*/ 118464 w 199560"/>
                    <a:gd name="connsiteY10" fmla="*/ 77185 h 78396"/>
                    <a:gd name="connsiteX11" fmla="*/ 102814 w 199560"/>
                    <a:gd name="connsiteY11" fmla="*/ 71765 h 78396"/>
                    <a:gd name="connsiteX12" fmla="*/ 90289 w 199560"/>
                    <a:gd name="connsiteY12" fmla="*/ 63231 h 78396"/>
                    <a:gd name="connsiteX13" fmla="*/ 82621 w 199560"/>
                    <a:gd name="connsiteY13" fmla="*/ 66898 h 78396"/>
                    <a:gd name="connsiteX14" fmla="*/ 68153 w 199560"/>
                    <a:gd name="connsiteY14" fmla="*/ 65393 h 78396"/>
                    <a:gd name="connsiteX15" fmla="*/ 62257 w 199560"/>
                    <a:gd name="connsiteY15" fmla="*/ 66622 h 78396"/>
                    <a:gd name="connsiteX16" fmla="*/ 55447 w 199560"/>
                    <a:gd name="connsiteY16" fmla="*/ 64688 h 78396"/>
                    <a:gd name="connsiteX17" fmla="*/ 53218 w 199560"/>
                    <a:gd name="connsiteY17" fmla="*/ 41819 h 78396"/>
                    <a:gd name="connsiteX18" fmla="*/ 46445 w 199560"/>
                    <a:gd name="connsiteY18" fmla="*/ 29331 h 78396"/>
                    <a:gd name="connsiteX19" fmla="*/ 34978 w 199560"/>
                    <a:gd name="connsiteY19" fmla="*/ 23378 h 78396"/>
                    <a:gd name="connsiteX20" fmla="*/ 25224 w 199560"/>
                    <a:gd name="connsiteY20" fmla="*/ 15977 h 78396"/>
                    <a:gd name="connsiteX21" fmla="*/ 13746 w 199560"/>
                    <a:gd name="connsiteY21" fmla="*/ 13006 h 78396"/>
                    <a:gd name="connsiteX22" fmla="*/ 4459 w 199560"/>
                    <a:gd name="connsiteY22" fmla="*/ 318 h 78396"/>
                    <a:gd name="connsiteX23" fmla="*/ 30453 w 199560"/>
                    <a:gd name="connsiteY23" fmla="*/ 6376 h 78396"/>
                    <a:gd name="connsiteX24" fmla="*/ 56685 w 199560"/>
                    <a:gd name="connsiteY24" fmla="*/ 11958 h 78396"/>
                    <a:gd name="connsiteX25" fmla="*/ 100271 w 199560"/>
                    <a:gd name="connsiteY25" fmla="*/ 22664 h 78396"/>
                    <a:gd name="connsiteX26" fmla="*/ 105681 w 199560"/>
                    <a:gd name="connsiteY26" fmla="*/ 25007 h 78396"/>
                    <a:gd name="connsiteX27" fmla="*/ 108130 w 199560"/>
                    <a:gd name="connsiteY27" fmla="*/ 28417 h 78396"/>
                    <a:gd name="connsiteX28" fmla="*/ 114311 w 199560"/>
                    <a:gd name="connsiteY28" fmla="*/ 31637 h 78396"/>
                    <a:gd name="connsiteX29" fmla="*/ 136199 w 199560"/>
                    <a:gd name="connsiteY29" fmla="*/ 30074 h 78396"/>
                    <a:gd name="connsiteX30" fmla="*/ 148620 w 199560"/>
                    <a:gd name="connsiteY30" fmla="*/ 29665 h 78396"/>
                    <a:gd name="connsiteX31" fmla="*/ 153516 w 199560"/>
                    <a:gd name="connsiteY31" fmla="*/ 32789 h 78396"/>
                    <a:gd name="connsiteX32" fmla="*/ 158536 w 199560"/>
                    <a:gd name="connsiteY32" fmla="*/ 32627 h 78396"/>
                    <a:gd name="connsiteX33" fmla="*/ 163536 w 199560"/>
                    <a:gd name="connsiteY33" fmla="*/ 35504 h 78396"/>
                    <a:gd name="connsiteX34" fmla="*/ 163403 w 199560"/>
                    <a:gd name="connsiteY34" fmla="*/ 43047 h 78396"/>
                    <a:gd name="connsiteX35" fmla="*/ 171976 w 199560"/>
                    <a:gd name="connsiteY35" fmla="*/ 47286 h 78396"/>
                    <a:gd name="connsiteX36" fmla="*/ 187768 w 199560"/>
                    <a:gd name="connsiteY36" fmla="*/ 52925 h 78396"/>
                    <a:gd name="connsiteX37" fmla="*/ 187768 w 199560"/>
                    <a:gd name="connsiteY37" fmla="*/ 52925 h 78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99560" h="78396">
                      <a:moveTo>
                        <a:pt x="187768" y="52925"/>
                      </a:moveTo>
                      <a:cubicBezTo>
                        <a:pt x="186653" y="59821"/>
                        <a:pt x="178881" y="57602"/>
                        <a:pt x="187025" y="64203"/>
                      </a:cubicBezTo>
                      <a:cubicBezTo>
                        <a:pt x="189930" y="66555"/>
                        <a:pt x="196617" y="67860"/>
                        <a:pt x="198589" y="71051"/>
                      </a:cubicBezTo>
                      <a:cubicBezTo>
                        <a:pt x="201046" y="75023"/>
                        <a:pt x="198559" y="78242"/>
                        <a:pt x="194292" y="78395"/>
                      </a:cubicBezTo>
                      <a:cubicBezTo>
                        <a:pt x="191987" y="78471"/>
                        <a:pt x="186396" y="75756"/>
                        <a:pt x="183948" y="75337"/>
                      </a:cubicBezTo>
                      <a:cubicBezTo>
                        <a:pt x="179691" y="74613"/>
                        <a:pt x="176614" y="73994"/>
                        <a:pt x="172633" y="71889"/>
                      </a:cubicBezTo>
                      <a:cubicBezTo>
                        <a:pt x="170785" y="70918"/>
                        <a:pt x="165308" y="66393"/>
                        <a:pt x="160926" y="67022"/>
                      </a:cubicBezTo>
                      <a:cubicBezTo>
                        <a:pt x="156078" y="67717"/>
                        <a:pt x="154135" y="73299"/>
                        <a:pt x="148477" y="72823"/>
                      </a:cubicBezTo>
                      <a:cubicBezTo>
                        <a:pt x="148896" y="73280"/>
                        <a:pt x="149287" y="73594"/>
                        <a:pt x="149830" y="74051"/>
                      </a:cubicBezTo>
                      <a:cubicBezTo>
                        <a:pt x="144324" y="75071"/>
                        <a:pt x="138428" y="73975"/>
                        <a:pt x="132742" y="74261"/>
                      </a:cubicBezTo>
                      <a:cubicBezTo>
                        <a:pt x="128008" y="74499"/>
                        <a:pt x="123217" y="76585"/>
                        <a:pt x="118464" y="77185"/>
                      </a:cubicBezTo>
                      <a:cubicBezTo>
                        <a:pt x="111873" y="78033"/>
                        <a:pt x="106520" y="74375"/>
                        <a:pt x="102814" y="71765"/>
                      </a:cubicBezTo>
                      <a:cubicBezTo>
                        <a:pt x="99938" y="69737"/>
                        <a:pt x="93089" y="63907"/>
                        <a:pt x="90289" y="63231"/>
                      </a:cubicBezTo>
                      <a:cubicBezTo>
                        <a:pt x="83650" y="61612"/>
                        <a:pt x="86641" y="65755"/>
                        <a:pt x="82621" y="66898"/>
                      </a:cubicBezTo>
                      <a:cubicBezTo>
                        <a:pt x="78812" y="67974"/>
                        <a:pt x="72563" y="65050"/>
                        <a:pt x="68153" y="65393"/>
                      </a:cubicBezTo>
                      <a:cubicBezTo>
                        <a:pt x="65533" y="65593"/>
                        <a:pt x="65029" y="66746"/>
                        <a:pt x="62257" y="66622"/>
                      </a:cubicBezTo>
                      <a:cubicBezTo>
                        <a:pt x="60209" y="66536"/>
                        <a:pt x="57447" y="65269"/>
                        <a:pt x="55447" y="64688"/>
                      </a:cubicBezTo>
                      <a:cubicBezTo>
                        <a:pt x="62047" y="54582"/>
                        <a:pt x="58828" y="51458"/>
                        <a:pt x="53218" y="41819"/>
                      </a:cubicBezTo>
                      <a:cubicBezTo>
                        <a:pt x="50989" y="37990"/>
                        <a:pt x="49331" y="32646"/>
                        <a:pt x="46445" y="29331"/>
                      </a:cubicBezTo>
                      <a:cubicBezTo>
                        <a:pt x="42997" y="25360"/>
                        <a:pt x="39321" y="25902"/>
                        <a:pt x="34978" y="23378"/>
                      </a:cubicBezTo>
                      <a:cubicBezTo>
                        <a:pt x="31548" y="21388"/>
                        <a:pt x="29462" y="17568"/>
                        <a:pt x="25224" y="15977"/>
                      </a:cubicBezTo>
                      <a:cubicBezTo>
                        <a:pt x="21490" y="14577"/>
                        <a:pt x="17442" y="14663"/>
                        <a:pt x="13746" y="13006"/>
                      </a:cubicBezTo>
                      <a:cubicBezTo>
                        <a:pt x="8469" y="10624"/>
                        <a:pt x="-7771" y="2757"/>
                        <a:pt x="4459" y="318"/>
                      </a:cubicBezTo>
                      <a:cubicBezTo>
                        <a:pt x="13099" y="-1406"/>
                        <a:pt x="22328" y="4338"/>
                        <a:pt x="30453" y="6376"/>
                      </a:cubicBezTo>
                      <a:cubicBezTo>
                        <a:pt x="39340" y="8596"/>
                        <a:pt x="47131" y="12472"/>
                        <a:pt x="56685" y="11958"/>
                      </a:cubicBezTo>
                      <a:cubicBezTo>
                        <a:pt x="73830" y="11043"/>
                        <a:pt x="84269" y="16901"/>
                        <a:pt x="100271" y="22664"/>
                      </a:cubicBezTo>
                      <a:cubicBezTo>
                        <a:pt x="101662" y="23159"/>
                        <a:pt x="104634" y="24055"/>
                        <a:pt x="105681" y="25007"/>
                      </a:cubicBezTo>
                      <a:cubicBezTo>
                        <a:pt x="106396" y="25655"/>
                        <a:pt x="108643" y="28836"/>
                        <a:pt x="108130" y="28417"/>
                      </a:cubicBezTo>
                      <a:cubicBezTo>
                        <a:pt x="110044" y="29998"/>
                        <a:pt x="109101" y="32141"/>
                        <a:pt x="114311" y="31637"/>
                      </a:cubicBezTo>
                      <a:cubicBezTo>
                        <a:pt x="121874" y="30894"/>
                        <a:pt x="129485" y="20502"/>
                        <a:pt x="136199" y="30074"/>
                      </a:cubicBezTo>
                      <a:cubicBezTo>
                        <a:pt x="135999" y="22464"/>
                        <a:pt x="144724" y="27912"/>
                        <a:pt x="148620" y="29665"/>
                      </a:cubicBezTo>
                      <a:cubicBezTo>
                        <a:pt x="150478" y="30503"/>
                        <a:pt x="151649" y="32161"/>
                        <a:pt x="153516" y="32789"/>
                      </a:cubicBezTo>
                      <a:cubicBezTo>
                        <a:pt x="155002" y="33284"/>
                        <a:pt x="157031" y="32180"/>
                        <a:pt x="158536" y="32627"/>
                      </a:cubicBezTo>
                      <a:cubicBezTo>
                        <a:pt x="161441" y="33494"/>
                        <a:pt x="162365" y="33142"/>
                        <a:pt x="163536" y="35504"/>
                      </a:cubicBezTo>
                      <a:cubicBezTo>
                        <a:pt x="164632" y="37723"/>
                        <a:pt x="161993" y="40876"/>
                        <a:pt x="163403" y="43047"/>
                      </a:cubicBezTo>
                      <a:cubicBezTo>
                        <a:pt x="164517" y="44762"/>
                        <a:pt x="170137" y="46496"/>
                        <a:pt x="171976" y="47286"/>
                      </a:cubicBezTo>
                      <a:cubicBezTo>
                        <a:pt x="177176" y="49486"/>
                        <a:pt x="182529" y="50391"/>
                        <a:pt x="187768" y="52925"/>
                      </a:cubicBezTo>
                      <a:lnTo>
                        <a:pt x="187768" y="52925"/>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50" name="Freeform: Shape 649">
                  <a:extLst>
                    <a:ext uri="{FF2B5EF4-FFF2-40B4-BE49-F238E27FC236}">
                      <a16:creationId xmlns:a16="http://schemas.microsoft.com/office/drawing/2014/main" id="{72A05F39-A3C8-4EFE-AF2C-03A1604F7BC5}"/>
                    </a:ext>
                  </a:extLst>
                </p:cNvPr>
                <p:cNvSpPr/>
                <p:nvPr/>
              </p:nvSpPr>
              <p:spPr>
                <a:xfrm>
                  <a:off x="5391024" y="2517642"/>
                  <a:ext cx="246474" cy="270238"/>
                </a:xfrm>
                <a:custGeom>
                  <a:avLst/>
                  <a:gdLst>
                    <a:gd name="connsiteX0" fmla="*/ 44912 w 246474"/>
                    <a:gd name="connsiteY0" fmla="*/ 107131 h 270238"/>
                    <a:gd name="connsiteX1" fmla="*/ 56637 w 246474"/>
                    <a:gd name="connsiteY1" fmla="*/ 116922 h 270238"/>
                    <a:gd name="connsiteX2" fmla="*/ 56389 w 246474"/>
                    <a:gd name="connsiteY2" fmla="*/ 126047 h 270238"/>
                    <a:gd name="connsiteX3" fmla="*/ 65962 w 246474"/>
                    <a:gd name="connsiteY3" fmla="*/ 132343 h 270238"/>
                    <a:gd name="connsiteX4" fmla="*/ 61428 w 246474"/>
                    <a:gd name="connsiteY4" fmla="*/ 128933 h 270238"/>
                    <a:gd name="connsiteX5" fmla="*/ 64028 w 246474"/>
                    <a:gd name="connsiteY5" fmla="*/ 134563 h 270238"/>
                    <a:gd name="connsiteX6" fmla="*/ 57161 w 246474"/>
                    <a:gd name="connsiteY6" fmla="*/ 138820 h 270238"/>
                    <a:gd name="connsiteX7" fmla="*/ 54189 w 246474"/>
                    <a:gd name="connsiteY7" fmla="*/ 143440 h 270238"/>
                    <a:gd name="connsiteX8" fmla="*/ 42530 w 246474"/>
                    <a:gd name="connsiteY8" fmla="*/ 144335 h 270238"/>
                    <a:gd name="connsiteX9" fmla="*/ 34234 w 246474"/>
                    <a:gd name="connsiteY9" fmla="*/ 140173 h 270238"/>
                    <a:gd name="connsiteX10" fmla="*/ 27681 w 246474"/>
                    <a:gd name="connsiteY10" fmla="*/ 133429 h 270238"/>
                    <a:gd name="connsiteX11" fmla="*/ 23014 w 246474"/>
                    <a:gd name="connsiteY11" fmla="*/ 139506 h 270238"/>
                    <a:gd name="connsiteX12" fmla="*/ 10850 w 246474"/>
                    <a:gd name="connsiteY12" fmla="*/ 140373 h 270238"/>
                    <a:gd name="connsiteX13" fmla="*/ 1 w 246474"/>
                    <a:gd name="connsiteY13" fmla="*/ 132582 h 270238"/>
                    <a:gd name="connsiteX14" fmla="*/ 9917 w 246474"/>
                    <a:gd name="connsiteY14" fmla="*/ 126847 h 270238"/>
                    <a:gd name="connsiteX15" fmla="*/ 10907 w 246474"/>
                    <a:gd name="connsiteY15" fmla="*/ 123599 h 270238"/>
                    <a:gd name="connsiteX16" fmla="*/ 19137 w 246474"/>
                    <a:gd name="connsiteY16" fmla="*/ 114655 h 270238"/>
                    <a:gd name="connsiteX17" fmla="*/ 24281 w 246474"/>
                    <a:gd name="connsiteY17" fmla="*/ 112417 h 270238"/>
                    <a:gd name="connsiteX18" fmla="*/ 27109 w 246474"/>
                    <a:gd name="connsiteY18" fmla="*/ 112989 h 270238"/>
                    <a:gd name="connsiteX19" fmla="*/ 30100 w 246474"/>
                    <a:gd name="connsiteY19" fmla="*/ 109845 h 270238"/>
                    <a:gd name="connsiteX20" fmla="*/ 44912 w 246474"/>
                    <a:gd name="connsiteY20" fmla="*/ 107131 h 270238"/>
                    <a:gd name="connsiteX21" fmla="*/ 44912 w 246474"/>
                    <a:gd name="connsiteY21" fmla="*/ 107131 h 270238"/>
                    <a:gd name="connsiteX22" fmla="*/ 127998 w 246474"/>
                    <a:gd name="connsiteY22" fmla="*/ 4013 h 270238"/>
                    <a:gd name="connsiteX23" fmla="*/ 105176 w 246474"/>
                    <a:gd name="connsiteY23" fmla="*/ 24911 h 270238"/>
                    <a:gd name="connsiteX24" fmla="*/ 109453 w 246474"/>
                    <a:gd name="connsiteY24" fmla="*/ 25968 h 270238"/>
                    <a:gd name="connsiteX25" fmla="*/ 102519 w 246474"/>
                    <a:gd name="connsiteY25" fmla="*/ 33550 h 270238"/>
                    <a:gd name="connsiteX26" fmla="*/ 118550 w 246474"/>
                    <a:gd name="connsiteY26" fmla="*/ 29912 h 270238"/>
                    <a:gd name="connsiteX27" fmla="*/ 131322 w 246474"/>
                    <a:gd name="connsiteY27" fmla="*/ 30035 h 270238"/>
                    <a:gd name="connsiteX28" fmla="*/ 159231 w 246474"/>
                    <a:gd name="connsiteY28" fmla="*/ 35731 h 270238"/>
                    <a:gd name="connsiteX29" fmla="*/ 153030 w 246474"/>
                    <a:gd name="connsiteY29" fmla="*/ 44818 h 270238"/>
                    <a:gd name="connsiteX30" fmla="*/ 146829 w 246474"/>
                    <a:gd name="connsiteY30" fmla="*/ 56734 h 270238"/>
                    <a:gd name="connsiteX31" fmla="*/ 121550 w 246474"/>
                    <a:gd name="connsiteY31" fmla="*/ 71793 h 270238"/>
                    <a:gd name="connsiteX32" fmla="*/ 132113 w 246474"/>
                    <a:gd name="connsiteY32" fmla="*/ 77003 h 270238"/>
                    <a:gd name="connsiteX33" fmla="*/ 109596 w 246474"/>
                    <a:gd name="connsiteY33" fmla="*/ 80242 h 270238"/>
                    <a:gd name="connsiteX34" fmla="*/ 138742 w 246474"/>
                    <a:gd name="connsiteY34" fmla="*/ 82375 h 270238"/>
                    <a:gd name="connsiteX35" fmla="*/ 162564 w 246474"/>
                    <a:gd name="connsiteY35" fmla="*/ 98473 h 270238"/>
                    <a:gd name="connsiteX36" fmla="*/ 173871 w 246474"/>
                    <a:gd name="connsiteY36" fmla="*/ 125619 h 270238"/>
                    <a:gd name="connsiteX37" fmla="*/ 188673 w 246474"/>
                    <a:gd name="connsiteY37" fmla="*/ 132905 h 270238"/>
                    <a:gd name="connsiteX38" fmla="*/ 200464 w 246474"/>
                    <a:gd name="connsiteY38" fmla="*/ 142526 h 270238"/>
                    <a:gd name="connsiteX39" fmla="*/ 205465 w 246474"/>
                    <a:gd name="connsiteY39" fmla="*/ 158547 h 270238"/>
                    <a:gd name="connsiteX40" fmla="*/ 186024 w 246474"/>
                    <a:gd name="connsiteY40" fmla="*/ 154937 h 270238"/>
                    <a:gd name="connsiteX41" fmla="*/ 206351 w 246474"/>
                    <a:gd name="connsiteY41" fmla="*/ 163652 h 270238"/>
                    <a:gd name="connsiteX42" fmla="*/ 203732 w 246474"/>
                    <a:gd name="connsiteY42" fmla="*/ 180721 h 270238"/>
                    <a:gd name="connsiteX43" fmla="*/ 217638 w 246474"/>
                    <a:gd name="connsiteY43" fmla="*/ 178711 h 270238"/>
                    <a:gd name="connsiteX44" fmla="*/ 238202 w 246474"/>
                    <a:gd name="connsiteY44" fmla="*/ 181569 h 270238"/>
                    <a:gd name="connsiteX45" fmla="*/ 244203 w 246474"/>
                    <a:gd name="connsiteY45" fmla="*/ 201428 h 270238"/>
                    <a:gd name="connsiteX46" fmla="*/ 233935 w 246474"/>
                    <a:gd name="connsiteY46" fmla="*/ 210153 h 270238"/>
                    <a:gd name="connsiteX47" fmla="*/ 221762 w 246474"/>
                    <a:gd name="connsiteY47" fmla="*/ 217764 h 270238"/>
                    <a:gd name="connsiteX48" fmla="*/ 223572 w 246474"/>
                    <a:gd name="connsiteY48" fmla="*/ 223536 h 270238"/>
                    <a:gd name="connsiteX49" fmla="*/ 213428 w 246474"/>
                    <a:gd name="connsiteY49" fmla="*/ 226079 h 270238"/>
                    <a:gd name="connsiteX50" fmla="*/ 223982 w 246474"/>
                    <a:gd name="connsiteY50" fmla="*/ 229203 h 270238"/>
                    <a:gd name="connsiteX51" fmla="*/ 238260 w 246474"/>
                    <a:gd name="connsiteY51" fmla="*/ 229127 h 270238"/>
                    <a:gd name="connsiteX52" fmla="*/ 223686 w 246474"/>
                    <a:gd name="connsiteY52" fmla="*/ 242900 h 270238"/>
                    <a:gd name="connsiteX53" fmla="*/ 210313 w 246474"/>
                    <a:gd name="connsiteY53" fmla="*/ 247806 h 270238"/>
                    <a:gd name="connsiteX54" fmla="*/ 195273 w 246474"/>
                    <a:gd name="connsiteY54" fmla="*/ 246643 h 270238"/>
                    <a:gd name="connsiteX55" fmla="*/ 166193 w 246474"/>
                    <a:gd name="connsiteY55" fmla="*/ 244005 h 270238"/>
                    <a:gd name="connsiteX56" fmla="*/ 168279 w 246474"/>
                    <a:gd name="connsiteY56" fmla="*/ 246396 h 270238"/>
                    <a:gd name="connsiteX57" fmla="*/ 150334 w 246474"/>
                    <a:gd name="connsiteY57" fmla="*/ 249406 h 270238"/>
                    <a:gd name="connsiteX58" fmla="*/ 152068 w 246474"/>
                    <a:gd name="connsiteY58" fmla="*/ 252473 h 270238"/>
                    <a:gd name="connsiteX59" fmla="*/ 112834 w 246474"/>
                    <a:gd name="connsiteY59" fmla="*/ 254987 h 270238"/>
                    <a:gd name="connsiteX60" fmla="*/ 108815 w 246474"/>
                    <a:gd name="connsiteY60" fmla="*/ 263331 h 270238"/>
                    <a:gd name="connsiteX61" fmla="*/ 97575 w 246474"/>
                    <a:gd name="connsiteY61" fmla="*/ 261588 h 270238"/>
                    <a:gd name="connsiteX62" fmla="*/ 79935 w 246474"/>
                    <a:gd name="connsiteY62" fmla="*/ 263369 h 270238"/>
                    <a:gd name="connsiteX63" fmla="*/ 72058 w 246474"/>
                    <a:gd name="connsiteY63" fmla="*/ 267998 h 270238"/>
                    <a:gd name="connsiteX64" fmla="*/ 62828 w 246474"/>
                    <a:gd name="connsiteY64" fmla="*/ 269132 h 270238"/>
                    <a:gd name="connsiteX65" fmla="*/ 56399 w 246474"/>
                    <a:gd name="connsiteY65" fmla="*/ 268922 h 270238"/>
                    <a:gd name="connsiteX66" fmla="*/ 65486 w 246474"/>
                    <a:gd name="connsiteY66" fmla="*/ 263788 h 270238"/>
                    <a:gd name="connsiteX67" fmla="*/ 79335 w 246474"/>
                    <a:gd name="connsiteY67" fmla="*/ 252263 h 270238"/>
                    <a:gd name="connsiteX68" fmla="*/ 85802 w 246474"/>
                    <a:gd name="connsiteY68" fmla="*/ 243919 h 270238"/>
                    <a:gd name="connsiteX69" fmla="*/ 93813 w 246474"/>
                    <a:gd name="connsiteY69" fmla="*/ 237347 h 270238"/>
                    <a:gd name="connsiteX70" fmla="*/ 105195 w 246474"/>
                    <a:gd name="connsiteY70" fmla="*/ 233470 h 270238"/>
                    <a:gd name="connsiteX71" fmla="*/ 119092 w 246474"/>
                    <a:gd name="connsiteY71" fmla="*/ 234594 h 270238"/>
                    <a:gd name="connsiteX72" fmla="*/ 140514 w 246474"/>
                    <a:gd name="connsiteY72" fmla="*/ 217402 h 270238"/>
                    <a:gd name="connsiteX73" fmla="*/ 118330 w 246474"/>
                    <a:gd name="connsiteY73" fmla="*/ 228441 h 270238"/>
                    <a:gd name="connsiteX74" fmla="*/ 105605 w 246474"/>
                    <a:gd name="connsiteY74" fmla="*/ 223307 h 270238"/>
                    <a:gd name="connsiteX75" fmla="*/ 94422 w 246474"/>
                    <a:gd name="connsiteY75" fmla="*/ 222812 h 270238"/>
                    <a:gd name="connsiteX76" fmla="*/ 98166 w 246474"/>
                    <a:gd name="connsiteY76" fmla="*/ 219954 h 270238"/>
                    <a:gd name="connsiteX77" fmla="*/ 90708 w 246474"/>
                    <a:gd name="connsiteY77" fmla="*/ 217392 h 270238"/>
                    <a:gd name="connsiteX78" fmla="*/ 81583 w 246474"/>
                    <a:gd name="connsiteY78" fmla="*/ 219430 h 270238"/>
                    <a:gd name="connsiteX79" fmla="*/ 71572 w 246474"/>
                    <a:gd name="connsiteY79" fmla="*/ 218230 h 270238"/>
                    <a:gd name="connsiteX80" fmla="*/ 68534 w 246474"/>
                    <a:gd name="connsiteY80" fmla="*/ 213020 h 270238"/>
                    <a:gd name="connsiteX81" fmla="*/ 87250 w 246474"/>
                    <a:gd name="connsiteY81" fmla="*/ 204295 h 270238"/>
                    <a:gd name="connsiteX82" fmla="*/ 101757 w 246474"/>
                    <a:gd name="connsiteY82" fmla="*/ 192179 h 270238"/>
                    <a:gd name="connsiteX83" fmla="*/ 99023 w 246474"/>
                    <a:gd name="connsiteY83" fmla="*/ 180397 h 270238"/>
                    <a:gd name="connsiteX84" fmla="*/ 84221 w 246474"/>
                    <a:gd name="connsiteY84" fmla="*/ 183845 h 270238"/>
                    <a:gd name="connsiteX85" fmla="*/ 99052 w 246474"/>
                    <a:gd name="connsiteY85" fmla="*/ 170843 h 270238"/>
                    <a:gd name="connsiteX86" fmla="*/ 124598 w 246474"/>
                    <a:gd name="connsiteY86" fmla="*/ 169539 h 270238"/>
                    <a:gd name="connsiteX87" fmla="*/ 126465 w 246474"/>
                    <a:gd name="connsiteY87" fmla="*/ 165281 h 270238"/>
                    <a:gd name="connsiteX88" fmla="*/ 133389 w 246474"/>
                    <a:gd name="connsiteY88" fmla="*/ 167967 h 270238"/>
                    <a:gd name="connsiteX89" fmla="*/ 129246 w 246474"/>
                    <a:gd name="connsiteY89" fmla="*/ 154660 h 270238"/>
                    <a:gd name="connsiteX90" fmla="*/ 130513 w 246474"/>
                    <a:gd name="connsiteY90" fmla="*/ 146174 h 270238"/>
                    <a:gd name="connsiteX91" fmla="*/ 123826 w 246474"/>
                    <a:gd name="connsiteY91" fmla="*/ 142221 h 270238"/>
                    <a:gd name="connsiteX92" fmla="*/ 113358 w 246474"/>
                    <a:gd name="connsiteY92" fmla="*/ 128114 h 270238"/>
                    <a:gd name="connsiteX93" fmla="*/ 127274 w 246474"/>
                    <a:gd name="connsiteY93" fmla="*/ 116208 h 270238"/>
                    <a:gd name="connsiteX94" fmla="*/ 100633 w 246474"/>
                    <a:gd name="connsiteY94" fmla="*/ 121561 h 270238"/>
                    <a:gd name="connsiteX95" fmla="*/ 97547 w 246474"/>
                    <a:gd name="connsiteY95" fmla="*/ 119713 h 270238"/>
                    <a:gd name="connsiteX96" fmla="*/ 91699 w 246474"/>
                    <a:gd name="connsiteY96" fmla="*/ 121895 h 270238"/>
                    <a:gd name="connsiteX97" fmla="*/ 80488 w 246474"/>
                    <a:gd name="connsiteY97" fmla="*/ 124514 h 270238"/>
                    <a:gd name="connsiteX98" fmla="*/ 77240 w 246474"/>
                    <a:gd name="connsiteY98" fmla="*/ 115103 h 270238"/>
                    <a:gd name="connsiteX99" fmla="*/ 86812 w 246474"/>
                    <a:gd name="connsiteY99" fmla="*/ 96929 h 270238"/>
                    <a:gd name="connsiteX100" fmla="*/ 82507 w 246474"/>
                    <a:gd name="connsiteY100" fmla="*/ 88662 h 270238"/>
                    <a:gd name="connsiteX101" fmla="*/ 89917 w 246474"/>
                    <a:gd name="connsiteY101" fmla="*/ 85157 h 270238"/>
                    <a:gd name="connsiteX102" fmla="*/ 84841 w 246474"/>
                    <a:gd name="connsiteY102" fmla="*/ 78232 h 270238"/>
                    <a:gd name="connsiteX103" fmla="*/ 74030 w 246474"/>
                    <a:gd name="connsiteY103" fmla="*/ 86804 h 270238"/>
                    <a:gd name="connsiteX104" fmla="*/ 80107 w 246474"/>
                    <a:gd name="connsiteY104" fmla="*/ 75870 h 270238"/>
                    <a:gd name="connsiteX105" fmla="*/ 69572 w 246474"/>
                    <a:gd name="connsiteY105" fmla="*/ 85233 h 270238"/>
                    <a:gd name="connsiteX106" fmla="*/ 65343 w 246474"/>
                    <a:gd name="connsiteY106" fmla="*/ 102435 h 270238"/>
                    <a:gd name="connsiteX107" fmla="*/ 67086 w 246474"/>
                    <a:gd name="connsiteY107" fmla="*/ 89281 h 270238"/>
                    <a:gd name="connsiteX108" fmla="*/ 76049 w 246474"/>
                    <a:gd name="connsiteY108" fmla="*/ 59344 h 270238"/>
                    <a:gd name="connsiteX109" fmla="*/ 62238 w 246474"/>
                    <a:gd name="connsiteY109" fmla="*/ 66259 h 270238"/>
                    <a:gd name="connsiteX110" fmla="*/ 52922 w 246474"/>
                    <a:gd name="connsiteY110" fmla="*/ 60963 h 270238"/>
                    <a:gd name="connsiteX111" fmla="*/ 62952 w 246474"/>
                    <a:gd name="connsiteY111" fmla="*/ 56353 h 270238"/>
                    <a:gd name="connsiteX112" fmla="*/ 59828 w 246474"/>
                    <a:gd name="connsiteY112" fmla="*/ 54791 h 270238"/>
                    <a:gd name="connsiteX113" fmla="*/ 65524 w 246474"/>
                    <a:gd name="connsiteY113" fmla="*/ 41513 h 270238"/>
                    <a:gd name="connsiteX114" fmla="*/ 61818 w 246474"/>
                    <a:gd name="connsiteY114" fmla="*/ 37484 h 270238"/>
                    <a:gd name="connsiteX115" fmla="*/ 67467 w 246474"/>
                    <a:gd name="connsiteY115" fmla="*/ 34503 h 270238"/>
                    <a:gd name="connsiteX116" fmla="*/ 65609 w 246474"/>
                    <a:gd name="connsiteY116" fmla="*/ 26149 h 270238"/>
                    <a:gd name="connsiteX117" fmla="*/ 78135 w 246474"/>
                    <a:gd name="connsiteY117" fmla="*/ 23968 h 270238"/>
                    <a:gd name="connsiteX118" fmla="*/ 73896 w 246474"/>
                    <a:gd name="connsiteY118" fmla="*/ 14929 h 270238"/>
                    <a:gd name="connsiteX119" fmla="*/ 82183 w 246474"/>
                    <a:gd name="connsiteY119" fmla="*/ 11957 h 270238"/>
                    <a:gd name="connsiteX120" fmla="*/ 82840 w 246474"/>
                    <a:gd name="connsiteY120" fmla="*/ 2175 h 270238"/>
                    <a:gd name="connsiteX121" fmla="*/ 88336 w 246474"/>
                    <a:gd name="connsiteY121" fmla="*/ 2775 h 270238"/>
                    <a:gd name="connsiteX122" fmla="*/ 93880 w 246474"/>
                    <a:gd name="connsiteY122" fmla="*/ 2546 h 270238"/>
                    <a:gd name="connsiteX123" fmla="*/ 111320 w 246474"/>
                    <a:gd name="connsiteY123" fmla="*/ 1813 h 270238"/>
                    <a:gd name="connsiteX124" fmla="*/ 127998 w 246474"/>
                    <a:gd name="connsiteY124" fmla="*/ 4013 h 270238"/>
                    <a:gd name="connsiteX125" fmla="*/ 127998 w 246474"/>
                    <a:gd name="connsiteY125" fmla="*/ 4013 h 27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246474" h="270238">
                      <a:moveTo>
                        <a:pt x="44912" y="107131"/>
                      </a:moveTo>
                      <a:cubicBezTo>
                        <a:pt x="52541" y="108464"/>
                        <a:pt x="52656" y="110712"/>
                        <a:pt x="56637" y="116922"/>
                      </a:cubicBezTo>
                      <a:cubicBezTo>
                        <a:pt x="60609" y="123104"/>
                        <a:pt x="61237" y="120761"/>
                        <a:pt x="56389" y="126047"/>
                      </a:cubicBezTo>
                      <a:cubicBezTo>
                        <a:pt x="61485" y="123695"/>
                        <a:pt x="67695" y="125838"/>
                        <a:pt x="65962" y="132343"/>
                      </a:cubicBezTo>
                      <a:cubicBezTo>
                        <a:pt x="64666" y="130705"/>
                        <a:pt x="62990" y="130115"/>
                        <a:pt x="61428" y="128933"/>
                      </a:cubicBezTo>
                      <a:cubicBezTo>
                        <a:pt x="61085" y="131734"/>
                        <a:pt x="61037" y="134601"/>
                        <a:pt x="64028" y="134563"/>
                      </a:cubicBezTo>
                      <a:cubicBezTo>
                        <a:pt x="62866" y="139811"/>
                        <a:pt x="60056" y="136525"/>
                        <a:pt x="57161" y="138820"/>
                      </a:cubicBezTo>
                      <a:cubicBezTo>
                        <a:pt x="55818" y="139887"/>
                        <a:pt x="55875" y="142688"/>
                        <a:pt x="54189" y="143440"/>
                      </a:cubicBezTo>
                      <a:cubicBezTo>
                        <a:pt x="51179" y="144793"/>
                        <a:pt x="45836" y="144374"/>
                        <a:pt x="42530" y="144335"/>
                      </a:cubicBezTo>
                      <a:cubicBezTo>
                        <a:pt x="36558" y="144269"/>
                        <a:pt x="36873" y="143564"/>
                        <a:pt x="34234" y="140173"/>
                      </a:cubicBezTo>
                      <a:cubicBezTo>
                        <a:pt x="33139" y="138773"/>
                        <a:pt x="29815" y="133563"/>
                        <a:pt x="27681" y="133429"/>
                      </a:cubicBezTo>
                      <a:cubicBezTo>
                        <a:pt x="22813" y="133124"/>
                        <a:pt x="24404" y="138287"/>
                        <a:pt x="23014" y="139506"/>
                      </a:cubicBezTo>
                      <a:cubicBezTo>
                        <a:pt x="18804" y="143183"/>
                        <a:pt x="15584" y="142364"/>
                        <a:pt x="10850" y="140373"/>
                      </a:cubicBezTo>
                      <a:cubicBezTo>
                        <a:pt x="9002" y="139601"/>
                        <a:pt x="106" y="135658"/>
                        <a:pt x="1" y="132582"/>
                      </a:cubicBezTo>
                      <a:cubicBezTo>
                        <a:pt x="-113" y="129181"/>
                        <a:pt x="7859" y="129210"/>
                        <a:pt x="9917" y="126847"/>
                      </a:cubicBezTo>
                      <a:cubicBezTo>
                        <a:pt x="2487" y="124523"/>
                        <a:pt x="8536" y="124800"/>
                        <a:pt x="10907" y="123599"/>
                      </a:cubicBezTo>
                      <a:cubicBezTo>
                        <a:pt x="16070" y="120971"/>
                        <a:pt x="15451" y="117942"/>
                        <a:pt x="19137" y="114655"/>
                      </a:cubicBezTo>
                      <a:cubicBezTo>
                        <a:pt x="20613" y="113332"/>
                        <a:pt x="23556" y="112808"/>
                        <a:pt x="24281" y="112417"/>
                      </a:cubicBezTo>
                      <a:cubicBezTo>
                        <a:pt x="24176" y="112474"/>
                        <a:pt x="26452" y="113255"/>
                        <a:pt x="27109" y="112989"/>
                      </a:cubicBezTo>
                      <a:cubicBezTo>
                        <a:pt x="28490" y="112417"/>
                        <a:pt x="29043" y="110226"/>
                        <a:pt x="30100" y="109845"/>
                      </a:cubicBezTo>
                      <a:cubicBezTo>
                        <a:pt x="33863" y="108464"/>
                        <a:pt x="40406" y="107102"/>
                        <a:pt x="44912" y="107131"/>
                      </a:cubicBezTo>
                      <a:lnTo>
                        <a:pt x="44912" y="107131"/>
                      </a:lnTo>
                      <a:close/>
                      <a:moveTo>
                        <a:pt x="127998" y="4013"/>
                      </a:moveTo>
                      <a:cubicBezTo>
                        <a:pt x="130398" y="14653"/>
                        <a:pt x="105929" y="15376"/>
                        <a:pt x="105176" y="24911"/>
                      </a:cubicBezTo>
                      <a:cubicBezTo>
                        <a:pt x="106729" y="24873"/>
                        <a:pt x="108148" y="25892"/>
                        <a:pt x="109453" y="25968"/>
                      </a:cubicBezTo>
                      <a:cubicBezTo>
                        <a:pt x="106919" y="28692"/>
                        <a:pt x="103814" y="29807"/>
                        <a:pt x="102519" y="33550"/>
                      </a:cubicBezTo>
                      <a:cubicBezTo>
                        <a:pt x="108310" y="33693"/>
                        <a:pt x="112977" y="30712"/>
                        <a:pt x="118550" y="29912"/>
                      </a:cubicBezTo>
                      <a:cubicBezTo>
                        <a:pt x="122769" y="29311"/>
                        <a:pt x="127141" y="29931"/>
                        <a:pt x="131322" y="30035"/>
                      </a:cubicBezTo>
                      <a:cubicBezTo>
                        <a:pt x="136571" y="30178"/>
                        <a:pt x="159012" y="26530"/>
                        <a:pt x="159231" y="35731"/>
                      </a:cubicBezTo>
                      <a:cubicBezTo>
                        <a:pt x="159297" y="38560"/>
                        <a:pt x="154630" y="42037"/>
                        <a:pt x="153030" y="44818"/>
                      </a:cubicBezTo>
                      <a:cubicBezTo>
                        <a:pt x="150820" y="48657"/>
                        <a:pt x="149572" y="53029"/>
                        <a:pt x="146829" y="56734"/>
                      </a:cubicBezTo>
                      <a:cubicBezTo>
                        <a:pt x="139809" y="66230"/>
                        <a:pt x="132437" y="68612"/>
                        <a:pt x="121550" y="71793"/>
                      </a:cubicBezTo>
                      <a:cubicBezTo>
                        <a:pt x="127665" y="71517"/>
                        <a:pt x="144800" y="70945"/>
                        <a:pt x="132113" y="77003"/>
                      </a:cubicBezTo>
                      <a:cubicBezTo>
                        <a:pt x="124712" y="80537"/>
                        <a:pt x="118225" y="84461"/>
                        <a:pt x="109596" y="80242"/>
                      </a:cubicBezTo>
                      <a:cubicBezTo>
                        <a:pt x="118045" y="88586"/>
                        <a:pt x="129636" y="81089"/>
                        <a:pt x="138742" y="82375"/>
                      </a:cubicBezTo>
                      <a:cubicBezTo>
                        <a:pt x="147143" y="83556"/>
                        <a:pt x="158297" y="91281"/>
                        <a:pt x="162564" y="98473"/>
                      </a:cubicBezTo>
                      <a:cubicBezTo>
                        <a:pt x="167336" y="106512"/>
                        <a:pt x="165555" y="119599"/>
                        <a:pt x="173871" y="125619"/>
                      </a:cubicBezTo>
                      <a:cubicBezTo>
                        <a:pt x="178433" y="128924"/>
                        <a:pt x="184110" y="129086"/>
                        <a:pt x="188673" y="132905"/>
                      </a:cubicBezTo>
                      <a:cubicBezTo>
                        <a:pt x="192654" y="136258"/>
                        <a:pt x="195797" y="140002"/>
                        <a:pt x="200464" y="142526"/>
                      </a:cubicBezTo>
                      <a:cubicBezTo>
                        <a:pt x="193349" y="145764"/>
                        <a:pt x="203274" y="154718"/>
                        <a:pt x="205465" y="158547"/>
                      </a:cubicBezTo>
                      <a:cubicBezTo>
                        <a:pt x="198683" y="155975"/>
                        <a:pt x="193397" y="155508"/>
                        <a:pt x="186024" y="154937"/>
                      </a:cubicBezTo>
                      <a:cubicBezTo>
                        <a:pt x="194007" y="157261"/>
                        <a:pt x="199912" y="157042"/>
                        <a:pt x="206351" y="163652"/>
                      </a:cubicBezTo>
                      <a:cubicBezTo>
                        <a:pt x="214133" y="171634"/>
                        <a:pt x="209561" y="174034"/>
                        <a:pt x="203732" y="180721"/>
                      </a:cubicBezTo>
                      <a:cubicBezTo>
                        <a:pt x="213047" y="185531"/>
                        <a:pt x="210151" y="181435"/>
                        <a:pt x="217638" y="178711"/>
                      </a:cubicBezTo>
                      <a:cubicBezTo>
                        <a:pt x="222791" y="176825"/>
                        <a:pt x="233411" y="179330"/>
                        <a:pt x="238202" y="181569"/>
                      </a:cubicBezTo>
                      <a:cubicBezTo>
                        <a:pt x="247489" y="185893"/>
                        <a:pt x="248118" y="192665"/>
                        <a:pt x="244203" y="201428"/>
                      </a:cubicBezTo>
                      <a:cubicBezTo>
                        <a:pt x="242184" y="205943"/>
                        <a:pt x="240060" y="211220"/>
                        <a:pt x="233935" y="210153"/>
                      </a:cubicBezTo>
                      <a:cubicBezTo>
                        <a:pt x="238812" y="216849"/>
                        <a:pt x="225201" y="215411"/>
                        <a:pt x="221762" y="217764"/>
                      </a:cubicBezTo>
                      <a:cubicBezTo>
                        <a:pt x="226658" y="218097"/>
                        <a:pt x="226868" y="221155"/>
                        <a:pt x="223572" y="223536"/>
                      </a:cubicBezTo>
                      <a:cubicBezTo>
                        <a:pt x="220896" y="225469"/>
                        <a:pt x="216485" y="224107"/>
                        <a:pt x="213428" y="226079"/>
                      </a:cubicBezTo>
                      <a:cubicBezTo>
                        <a:pt x="216990" y="224517"/>
                        <a:pt x="220238" y="228403"/>
                        <a:pt x="223982" y="229203"/>
                      </a:cubicBezTo>
                      <a:cubicBezTo>
                        <a:pt x="227058" y="229860"/>
                        <a:pt x="236078" y="227108"/>
                        <a:pt x="238260" y="229127"/>
                      </a:cubicBezTo>
                      <a:cubicBezTo>
                        <a:pt x="244375" y="234766"/>
                        <a:pt x="225858" y="241976"/>
                        <a:pt x="223686" y="242900"/>
                      </a:cubicBezTo>
                      <a:cubicBezTo>
                        <a:pt x="220019" y="244453"/>
                        <a:pt x="214409" y="247034"/>
                        <a:pt x="210313" y="247806"/>
                      </a:cubicBezTo>
                      <a:cubicBezTo>
                        <a:pt x="205351" y="248748"/>
                        <a:pt x="200302" y="246701"/>
                        <a:pt x="195273" y="246643"/>
                      </a:cubicBezTo>
                      <a:cubicBezTo>
                        <a:pt x="185015" y="246520"/>
                        <a:pt x="176033" y="248758"/>
                        <a:pt x="166193" y="244005"/>
                      </a:cubicBezTo>
                      <a:cubicBezTo>
                        <a:pt x="166889" y="244805"/>
                        <a:pt x="167584" y="245596"/>
                        <a:pt x="168279" y="246396"/>
                      </a:cubicBezTo>
                      <a:cubicBezTo>
                        <a:pt x="163307" y="249520"/>
                        <a:pt x="156087" y="250311"/>
                        <a:pt x="150334" y="249406"/>
                      </a:cubicBezTo>
                      <a:cubicBezTo>
                        <a:pt x="151058" y="250330"/>
                        <a:pt x="151211" y="251530"/>
                        <a:pt x="152068" y="252473"/>
                      </a:cubicBezTo>
                      <a:cubicBezTo>
                        <a:pt x="140105" y="258245"/>
                        <a:pt x="123417" y="241548"/>
                        <a:pt x="112834" y="254987"/>
                      </a:cubicBezTo>
                      <a:cubicBezTo>
                        <a:pt x="110901" y="257435"/>
                        <a:pt x="111720" y="261236"/>
                        <a:pt x="108815" y="263331"/>
                      </a:cubicBezTo>
                      <a:cubicBezTo>
                        <a:pt x="104567" y="266408"/>
                        <a:pt x="102185" y="262874"/>
                        <a:pt x="97575" y="261588"/>
                      </a:cubicBezTo>
                      <a:cubicBezTo>
                        <a:pt x="92137" y="260074"/>
                        <a:pt x="85974" y="260874"/>
                        <a:pt x="79935" y="263369"/>
                      </a:cubicBezTo>
                      <a:cubicBezTo>
                        <a:pt x="77125" y="264531"/>
                        <a:pt x="74544" y="266293"/>
                        <a:pt x="72058" y="267998"/>
                      </a:cubicBezTo>
                      <a:cubicBezTo>
                        <a:pt x="66495" y="271808"/>
                        <a:pt x="69619" y="269703"/>
                        <a:pt x="62828" y="269132"/>
                      </a:cubicBezTo>
                      <a:cubicBezTo>
                        <a:pt x="60752" y="268960"/>
                        <a:pt x="56437" y="271847"/>
                        <a:pt x="56399" y="268922"/>
                      </a:cubicBezTo>
                      <a:cubicBezTo>
                        <a:pt x="56361" y="265446"/>
                        <a:pt x="63219" y="265027"/>
                        <a:pt x="65486" y="263788"/>
                      </a:cubicBezTo>
                      <a:cubicBezTo>
                        <a:pt x="70781" y="260912"/>
                        <a:pt x="74887" y="255797"/>
                        <a:pt x="79335" y="252263"/>
                      </a:cubicBezTo>
                      <a:cubicBezTo>
                        <a:pt x="83069" y="249291"/>
                        <a:pt x="83355" y="246748"/>
                        <a:pt x="85802" y="243919"/>
                      </a:cubicBezTo>
                      <a:cubicBezTo>
                        <a:pt x="87860" y="241538"/>
                        <a:pt x="90898" y="239252"/>
                        <a:pt x="93813" y="237347"/>
                      </a:cubicBezTo>
                      <a:cubicBezTo>
                        <a:pt x="97671" y="234832"/>
                        <a:pt x="99414" y="233575"/>
                        <a:pt x="105195" y="233470"/>
                      </a:cubicBezTo>
                      <a:cubicBezTo>
                        <a:pt x="109739" y="233394"/>
                        <a:pt x="114663" y="235242"/>
                        <a:pt x="119092" y="234594"/>
                      </a:cubicBezTo>
                      <a:cubicBezTo>
                        <a:pt x="126627" y="233499"/>
                        <a:pt x="135228" y="223088"/>
                        <a:pt x="140514" y="217402"/>
                      </a:cubicBezTo>
                      <a:cubicBezTo>
                        <a:pt x="133599" y="220783"/>
                        <a:pt x="125760" y="226736"/>
                        <a:pt x="118330" y="228441"/>
                      </a:cubicBezTo>
                      <a:cubicBezTo>
                        <a:pt x="112263" y="229832"/>
                        <a:pt x="110272" y="225184"/>
                        <a:pt x="105605" y="223307"/>
                      </a:cubicBezTo>
                      <a:cubicBezTo>
                        <a:pt x="101395" y="221621"/>
                        <a:pt x="99004" y="223241"/>
                        <a:pt x="94422" y="222812"/>
                      </a:cubicBezTo>
                      <a:cubicBezTo>
                        <a:pt x="95842" y="221926"/>
                        <a:pt x="96490" y="220707"/>
                        <a:pt x="98166" y="219954"/>
                      </a:cubicBezTo>
                      <a:cubicBezTo>
                        <a:pt x="94975" y="220040"/>
                        <a:pt x="93060" y="217668"/>
                        <a:pt x="90708" y="217392"/>
                      </a:cubicBezTo>
                      <a:cubicBezTo>
                        <a:pt x="86488" y="216897"/>
                        <a:pt x="85364" y="218668"/>
                        <a:pt x="81583" y="219430"/>
                      </a:cubicBezTo>
                      <a:cubicBezTo>
                        <a:pt x="77525" y="220250"/>
                        <a:pt x="75354" y="221564"/>
                        <a:pt x="71572" y="218230"/>
                      </a:cubicBezTo>
                      <a:cubicBezTo>
                        <a:pt x="69619" y="216506"/>
                        <a:pt x="71439" y="214487"/>
                        <a:pt x="68534" y="213020"/>
                      </a:cubicBezTo>
                      <a:cubicBezTo>
                        <a:pt x="72296" y="208048"/>
                        <a:pt x="81745" y="206591"/>
                        <a:pt x="87250" y="204295"/>
                      </a:cubicBezTo>
                      <a:cubicBezTo>
                        <a:pt x="95042" y="201057"/>
                        <a:pt x="96442" y="198075"/>
                        <a:pt x="101757" y="192179"/>
                      </a:cubicBezTo>
                      <a:cubicBezTo>
                        <a:pt x="99233" y="191313"/>
                        <a:pt x="98252" y="183245"/>
                        <a:pt x="99023" y="180397"/>
                      </a:cubicBezTo>
                      <a:cubicBezTo>
                        <a:pt x="93480" y="180359"/>
                        <a:pt x="89403" y="183416"/>
                        <a:pt x="84221" y="183845"/>
                      </a:cubicBezTo>
                      <a:cubicBezTo>
                        <a:pt x="85088" y="179826"/>
                        <a:pt x="95204" y="172729"/>
                        <a:pt x="99052" y="170843"/>
                      </a:cubicBezTo>
                      <a:cubicBezTo>
                        <a:pt x="106243" y="167329"/>
                        <a:pt x="117740" y="165471"/>
                        <a:pt x="124598" y="169539"/>
                      </a:cubicBezTo>
                      <a:cubicBezTo>
                        <a:pt x="121740" y="165519"/>
                        <a:pt x="123855" y="165176"/>
                        <a:pt x="126465" y="165281"/>
                      </a:cubicBezTo>
                      <a:cubicBezTo>
                        <a:pt x="129770" y="165424"/>
                        <a:pt x="128655" y="169986"/>
                        <a:pt x="133389" y="167967"/>
                      </a:cubicBezTo>
                      <a:cubicBezTo>
                        <a:pt x="126179" y="166691"/>
                        <a:pt x="123579" y="159995"/>
                        <a:pt x="129246" y="154660"/>
                      </a:cubicBezTo>
                      <a:cubicBezTo>
                        <a:pt x="122169" y="152803"/>
                        <a:pt x="129703" y="148564"/>
                        <a:pt x="130513" y="146174"/>
                      </a:cubicBezTo>
                      <a:cubicBezTo>
                        <a:pt x="133504" y="137344"/>
                        <a:pt x="127836" y="143164"/>
                        <a:pt x="123826" y="142221"/>
                      </a:cubicBezTo>
                      <a:cubicBezTo>
                        <a:pt x="119388" y="141183"/>
                        <a:pt x="113120" y="132343"/>
                        <a:pt x="113358" y="128114"/>
                      </a:cubicBezTo>
                      <a:cubicBezTo>
                        <a:pt x="113711" y="121790"/>
                        <a:pt x="121855" y="116837"/>
                        <a:pt x="127274" y="116208"/>
                      </a:cubicBezTo>
                      <a:cubicBezTo>
                        <a:pt x="116349" y="114208"/>
                        <a:pt x="110196" y="121247"/>
                        <a:pt x="100633" y="121561"/>
                      </a:cubicBezTo>
                      <a:cubicBezTo>
                        <a:pt x="99128" y="121609"/>
                        <a:pt x="98671" y="119656"/>
                        <a:pt x="97547" y="119713"/>
                      </a:cubicBezTo>
                      <a:cubicBezTo>
                        <a:pt x="95394" y="119818"/>
                        <a:pt x="93803" y="121790"/>
                        <a:pt x="91699" y="121895"/>
                      </a:cubicBezTo>
                      <a:cubicBezTo>
                        <a:pt x="87184" y="122114"/>
                        <a:pt x="80821" y="116503"/>
                        <a:pt x="80488" y="124514"/>
                      </a:cubicBezTo>
                      <a:cubicBezTo>
                        <a:pt x="78125" y="122990"/>
                        <a:pt x="70305" y="112770"/>
                        <a:pt x="77240" y="115103"/>
                      </a:cubicBezTo>
                      <a:cubicBezTo>
                        <a:pt x="79573" y="109645"/>
                        <a:pt x="87746" y="102654"/>
                        <a:pt x="86812" y="96929"/>
                      </a:cubicBezTo>
                      <a:cubicBezTo>
                        <a:pt x="86155" y="92891"/>
                        <a:pt x="80716" y="94177"/>
                        <a:pt x="82507" y="88662"/>
                      </a:cubicBezTo>
                      <a:cubicBezTo>
                        <a:pt x="83688" y="85052"/>
                        <a:pt x="85812" y="84042"/>
                        <a:pt x="89917" y="85157"/>
                      </a:cubicBezTo>
                      <a:cubicBezTo>
                        <a:pt x="86536" y="83785"/>
                        <a:pt x="81849" y="82309"/>
                        <a:pt x="84841" y="78232"/>
                      </a:cubicBezTo>
                      <a:cubicBezTo>
                        <a:pt x="81383" y="82309"/>
                        <a:pt x="77258" y="83718"/>
                        <a:pt x="74030" y="86804"/>
                      </a:cubicBezTo>
                      <a:cubicBezTo>
                        <a:pt x="72363" y="81728"/>
                        <a:pt x="76373" y="78537"/>
                        <a:pt x="80107" y="75870"/>
                      </a:cubicBezTo>
                      <a:cubicBezTo>
                        <a:pt x="75601" y="78146"/>
                        <a:pt x="71163" y="80813"/>
                        <a:pt x="69572" y="85233"/>
                      </a:cubicBezTo>
                      <a:cubicBezTo>
                        <a:pt x="67895" y="89891"/>
                        <a:pt x="70248" y="97911"/>
                        <a:pt x="65343" y="102435"/>
                      </a:cubicBezTo>
                      <a:cubicBezTo>
                        <a:pt x="56989" y="110150"/>
                        <a:pt x="63514" y="92786"/>
                        <a:pt x="67086" y="89281"/>
                      </a:cubicBezTo>
                      <a:cubicBezTo>
                        <a:pt x="58923" y="90767"/>
                        <a:pt x="73229" y="63163"/>
                        <a:pt x="76049" y="59344"/>
                      </a:cubicBezTo>
                      <a:cubicBezTo>
                        <a:pt x="71858" y="61487"/>
                        <a:pt x="67257" y="67011"/>
                        <a:pt x="62238" y="66259"/>
                      </a:cubicBezTo>
                      <a:cubicBezTo>
                        <a:pt x="57265" y="65516"/>
                        <a:pt x="57866" y="60582"/>
                        <a:pt x="52922" y="60963"/>
                      </a:cubicBezTo>
                      <a:cubicBezTo>
                        <a:pt x="55494" y="58268"/>
                        <a:pt x="59885" y="59030"/>
                        <a:pt x="62952" y="56353"/>
                      </a:cubicBezTo>
                      <a:cubicBezTo>
                        <a:pt x="61914" y="55829"/>
                        <a:pt x="60875" y="55315"/>
                        <a:pt x="59828" y="54791"/>
                      </a:cubicBezTo>
                      <a:cubicBezTo>
                        <a:pt x="65952" y="51857"/>
                        <a:pt x="68134" y="47209"/>
                        <a:pt x="65524" y="41513"/>
                      </a:cubicBezTo>
                      <a:cubicBezTo>
                        <a:pt x="64571" y="39456"/>
                        <a:pt x="60952" y="40770"/>
                        <a:pt x="61818" y="37484"/>
                      </a:cubicBezTo>
                      <a:cubicBezTo>
                        <a:pt x="62295" y="35655"/>
                        <a:pt x="65991" y="34645"/>
                        <a:pt x="67467" y="34503"/>
                      </a:cubicBezTo>
                      <a:cubicBezTo>
                        <a:pt x="62981" y="33674"/>
                        <a:pt x="63038" y="29273"/>
                        <a:pt x="65609" y="26149"/>
                      </a:cubicBezTo>
                      <a:cubicBezTo>
                        <a:pt x="68258" y="22930"/>
                        <a:pt x="74211" y="23187"/>
                        <a:pt x="78135" y="23968"/>
                      </a:cubicBezTo>
                      <a:cubicBezTo>
                        <a:pt x="74687" y="19586"/>
                        <a:pt x="71229" y="20177"/>
                        <a:pt x="73896" y="14929"/>
                      </a:cubicBezTo>
                      <a:cubicBezTo>
                        <a:pt x="75725" y="11309"/>
                        <a:pt x="77468" y="12967"/>
                        <a:pt x="82183" y="11957"/>
                      </a:cubicBezTo>
                      <a:cubicBezTo>
                        <a:pt x="80078" y="9528"/>
                        <a:pt x="79449" y="3937"/>
                        <a:pt x="82840" y="2175"/>
                      </a:cubicBezTo>
                      <a:cubicBezTo>
                        <a:pt x="84841" y="1127"/>
                        <a:pt x="86593" y="2870"/>
                        <a:pt x="88336" y="2775"/>
                      </a:cubicBezTo>
                      <a:cubicBezTo>
                        <a:pt x="88774" y="2756"/>
                        <a:pt x="92946" y="2518"/>
                        <a:pt x="93880" y="2546"/>
                      </a:cubicBezTo>
                      <a:cubicBezTo>
                        <a:pt x="98585" y="2708"/>
                        <a:pt x="105157" y="2518"/>
                        <a:pt x="111320" y="1813"/>
                      </a:cubicBezTo>
                      <a:cubicBezTo>
                        <a:pt x="114625" y="1470"/>
                        <a:pt x="133789" y="-3226"/>
                        <a:pt x="127998" y="4013"/>
                      </a:cubicBezTo>
                      <a:lnTo>
                        <a:pt x="127998" y="4013"/>
                      </a:lnTo>
                      <a:close/>
                    </a:path>
                  </a:pathLst>
                </a:custGeom>
                <a:solidFill>
                  <a:srgbClr val="D6D6D2"/>
                </a:solidFill>
                <a:ln w="9525" cap="flat">
                  <a:noFill/>
                  <a:prstDash val="solid"/>
                  <a:miter/>
                </a:ln>
              </p:spPr>
              <p:txBody>
                <a:bodyPr rtlCol="0" anchor="ctr"/>
                <a:lstStyle/>
                <a:p>
                  <a:endParaRPr lang="en-US"/>
                </a:p>
              </p:txBody>
            </p:sp>
            <p:sp>
              <p:nvSpPr>
                <p:cNvPr id="651" name="Freeform: Shape 650">
                  <a:extLst>
                    <a:ext uri="{FF2B5EF4-FFF2-40B4-BE49-F238E27FC236}">
                      <a16:creationId xmlns:a16="http://schemas.microsoft.com/office/drawing/2014/main" id="{288EB921-97D1-4515-820A-16FEE48FAD9C}"/>
                    </a:ext>
                  </a:extLst>
                </p:cNvPr>
                <p:cNvSpPr/>
                <p:nvPr/>
              </p:nvSpPr>
              <p:spPr>
                <a:xfrm>
                  <a:off x="5867732" y="4292299"/>
                  <a:ext cx="181489" cy="195963"/>
                </a:xfrm>
                <a:custGeom>
                  <a:avLst/>
                  <a:gdLst>
                    <a:gd name="connsiteX0" fmla="*/ 144447 w 181489"/>
                    <a:gd name="connsiteY0" fmla="*/ 4502 h 195963"/>
                    <a:gd name="connsiteX1" fmla="*/ 140436 w 181489"/>
                    <a:gd name="connsiteY1" fmla="*/ 20104 h 195963"/>
                    <a:gd name="connsiteX2" fmla="*/ 141284 w 181489"/>
                    <a:gd name="connsiteY2" fmla="*/ 32296 h 195963"/>
                    <a:gd name="connsiteX3" fmla="*/ 174365 w 181489"/>
                    <a:gd name="connsiteY3" fmla="*/ 30943 h 195963"/>
                    <a:gd name="connsiteX4" fmla="*/ 180565 w 181489"/>
                    <a:gd name="connsiteY4" fmla="*/ 45031 h 195963"/>
                    <a:gd name="connsiteX5" fmla="*/ 174136 w 181489"/>
                    <a:gd name="connsiteY5" fmla="*/ 55175 h 195963"/>
                    <a:gd name="connsiteX6" fmla="*/ 168297 w 181489"/>
                    <a:gd name="connsiteY6" fmla="*/ 57709 h 195963"/>
                    <a:gd name="connsiteX7" fmla="*/ 163697 w 181489"/>
                    <a:gd name="connsiteY7" fmla="*/ 65052 h 195963"/>
                    <a:gd name="connsiteX8" fmla="*/ 163668 w 181489"/>
                    <a:gd name="connsiteY8" fmla="*/ 80235 h 195963"/>
                    <a:gd name="connsiteX9" fmla="*/ 170088 w 181489"/>
                    <a:gd name="connsiteY9" fmla="*/ 81826 h 195963"/>
                    <a:gd name="connsiteX10" fmla="*/ 176984 w 181489"/>
                    <a:gd name="connsiteY10" fmla="*/ 86960 h 195963"/>
                    <a:gd name="connsiteX11" fmla="*/ 180680 w 181489"/>
                    <a:gd name="connsiteY11" fmla="*/ 98637 h 195963"/>
                    <a:gd name="connsiteX12" fmla="*/ 178784 w 181489"/>
                    <a:gd name="connsiteY12" fmla="*/ 132137 h 195963"/>
                    <a:gd name="connsiteX13" fmla="*/ 172421 w 181489"/>
                    <a:gd name="connsiteY13" fmla="*/ 141871 h 195963"/>
                    <a:gd name="connsiteX14" fmla="*/ 166478 w 181489"/>
                    <a:gd name="connsiteY14" fmla="*/ 151006 h 195963"/>
                    <a:gd name="connsiteX15" fmla="*/ 161154 w 181489"/>
                    <a:gd name="connsiteY15" fmla="*/ 143567 h 195963"/>
                    <a:gd name="connsiteX16" fmla="*/ 149819 w 181489"/>
                    <a:gd name="connsiteY16" fmla="*/ 148053 h 195963"/>
                    <a:gd name="connsiteX17" fmla="*/ 133150 w 181489"/>
                    <a:gd name="connsiteY17" fmla="*/ 142271 h 195963"/>
                    <a:gd name="connsiteX18" fmla="*/ 122892 w 181489"/>
                    <a:gd name="connsiteY18" fmla="*/ 130165 h 195963"/>
                    <a:gd name="connsiteX19" fmla="*/ 118767 w 181489"/>
                    <a:gd name="connsiteY19" fmla="*/ 139138 h 195963"/>
                    <a:gd name="connsiteX20" fmla="*/ 105718 w 181489"/>
                    <a:gd name="connsiteY20" fmla="*/ 148596 h 195963"/>
                    <a:gd name="connsiteX21" fmla="*/ 99498 w 181489"/>
                    <a:gd name="connsiteY21" fmla="*/ 146891 h 195963"/>
                    <a:gd name="connsiteX22" fmla="*/ 91307 w 181489"/>
                    <a:gd name="connsiteY22" fmla="*/ 146405 h 195963"/>
                    <a:gd name="connsiteX23" fmla="*/ 89097 w 181489"/>
                    <a:gd name="connsiteY23" fmla="*/ 161960 h 195963"/>
                    <a:gd name="connsiteX24" fmla="*/ 95707 w 181489"/>
                    <a:gd name="connsiteY24" fmla="*/ 173513 h 195963"/>
                    <a:gd name="connsiteX25" fmla="*/ 101413 w 181489"/>
                    <a:gd name="connsiteY25" fmla="*/ 177657 h 195963"/>
                    <a:gd name="connsiteX26" fmla="*/ 98365 w 181489"/>
                    <a:gd name="connsiteY26" fmla="*/ 184619 h 195963"/>
                    <a:gd name="connsiteX27" fmla="*/ 97765 w 181489"/>
                    <a:gd name="connsiteY27" fmla="*/ 188953 h 195963"/>
                    <a:gd name="connsiteX28" fmla="*/ 91278 w 181489"/>
                    <a:gd name="connsiteY28" fmla="*/ 186115 h 195963"/>
                    <a:gd name="connsiteX29" fmla="*/ 81820 w 181489"/>
                    <a:gd name="connsiteY29" fmla="*/ 186906 h 195963"/>
                    <a:gd name="connsiteX30" fmla="*/ 76076 w 181489"/>
                    <a:gd name="connsiteY30" fmla="*/ 195964 h 195963"/>
                    <a:gd name="connsiteX31" fmla="*/ 67265 w 181489"/>
                    <a:gd name="connsiteY31" fmla="*/ 184781 h 195963"/>
                    <a:gd name="connsiteX32" fmla="*/ 56836 w 181489"/>
                    <a:gd name="connsiteY32" fmla="*/ 173399 h 195963"/>
                    <a:gd name="connsiteX33" fmla="*/ 31975 w 181489"/>
                    <a:gd name="connsiteY33" fmla="*/ 150320 h 195963"/>
                    <a:gd name="connsiteX34" fmla="*/ 42663 w 181489"/>
                    <a:gd name="connsiteY34" fmla="*/ 152921 h 195963"/>
                    <a:gd name="connsiteX35" fmla="*/ 28137 w 181489"/>
                    <a:gd name="connsiteY35" fmla="*/ 145415 h 195963"/>
                    <a:gd name="connsiteX36" fmla="*/ 18717 w 181489"/>
                    <a:gd name="connsiteY36" fmla="*/ 132537 h 195963"/>
                    <a:gd name="connsiteX37" fmla="*/ 24498 w 181489"/>
                    <a:gd name="connsiteY37" fmla="*/ 134413 h 195963"/>
                    <a:gd name="connsiteX38" fmla="*/ 17193 w 181489"/>
                    <a:gd name="connsiteY38" fmla="*/ 128232 h 195963"/>
                    <a:gd name="connsiteX39" fmla="*/ 10487 w 181489"/>
                    <a:gd name="connsiteY39" fmla="*/ 113830 h 195963"/>
                    <a:gd name="connsiteX40" fmla="*/ 25794 w 181489"/>
                    <a:gd name="connsiteY40" fmla="*/ 122945 h 195963"/>
                    <a:gd name="connsiteX41" fmla="*/ 20241 w 181489"/>
                    <a:gd name="connsiteY41" fmla="*/ 114325 h 195963"/>
                    <a:gd name="connsiteX42" fmla="*/ 0 w 181489"/>
                    <a:gd name="connsiteY42" fmla="*/ 91217 h 195963"/>
                    <a:gd name="connsiteX43" fmla="*/ 16192 w 181489"/>
                    <a:gd name="connsiteY43" fmla="*/ 87150 h 195963"/>
                    <a:gd name="connsiteX44" fmla="*/ 20012 w 181489"/>
                    <a:gd name="connsiteY44" fmla="*/ 73996 h 195963"/>
                    <a:gd name="connsiteX45" fmla="*/ 20536 w 181489"/>
                    <a:gd name="connsiteY45" fmla="*/ 61776 h 195963"/>
                    <a:gd name="connsiteX46" fmla="*/ 34462 w 181489"/>
                    <a:gd name="connsiteY46" fmla="*/ 71205 h 195963"/>
                    <a:gd name="connsiteX47" fmla="*/ 40919 w 181489"/>
                    <a:gd name="connsiteY47" fmla="*/ 66453 h 195963"/>
                    <a:gd name="connsiteX48" fmla="*/ 26584 w 181489"/>
                    <a:gd name="connsiteY48" fmla="*/ 63252 h 195963"/>
                    <a:gd name="connsiteX49" fmla="*/ 22365 w 181489"/>
                    <a:gd name="connsiteY49" fmla="*/ 52498 h 195963"/>
                    <a:gd name="connsiteX50" fmla="*/ 29070 w 181489"/>
                    <a:gd name="connsiteY50" fmla="*/ 52717 h 195963"/>
                    <a:gd name="connsiteX51" fmla="*/ 29708 w 181489"/>
                    <a:gd name="connsiteY51" fmla="*/ 39440 h 195963"/>
                    <a:gd name="connsiteX52" fmla="*/ 36023 w 181489"/>
                    <a:gd name="connsiteY52" fmla="*/ 41459 h 195963"/>
                    <a:gd name="connsiteX53" fmla="*/ 45882 w 181489"/>
                    <a:gd name="connsiteY53" fmla="*/ 40992 h 195963"/>
                    <a:gd name="connsiteX54" fmla="*/ 82906 w 181489"/>
                    <a:gd name="connsiteY54" fmla="*/ 41106 h 195963"/>
                    <a:gd name="connsiteX55" fmla="*/ 83191 w 181489"/>
                    <a:gd name="connsiteY55" fmla="*/ 149 h 195963"/>
                    <a:gd name="connsiteX56" fmla="*/ 116472 w 181489"/>
                    <a:gd name="connsiteY56" fmla="*/ 387 h 195963"/>
                    <a:gd name="connsiteX57" fmla="*/ 144447 w 181489"/>
                    <a:gd name="connsiteY57" fmla="*/ 4502 h 195963"/>
                    <a:gd name="connsiteX58" fmla="*/ 144447 w 181489"/>
                    <a:gd name="connsiteY58" fmla="*/ 4502 h 19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81489" h="195963">
                      <a:moveTo>
                        <a:pt x="144447" y="4502"/>
                      </a:moveTo>
                      <a:cubicBezTo>
                        <a:pt x="144170" y="9969"/>
                        <a:pt x="140094" y="14265"/>
                        <a:pt x="140436" y="20104"/>
                      </a:cubicBezTo>
                      <a:cubicBezTo>
                        <a:pt x="140675" y="24257"/>
                        <a:pt x="144894" y="29172"/>
                        <a:pt x="141284" y="32296"/>
                      </a:cubicBezTo>
                      <a:cubicBezTo>
                        <a:pt x="149200" y="38306"/>
                        <a:pt x="164944" y="20552"/>
                        <a:pt x="174365" y="30943"/>
                      </a:cubicBezTo>
                      <a:cubicBezTo>
                        <a:pt x="175250" y="31915"/>
                        <a:pt x="180565" y="43630"/>
                        <a:pt x="180565" y="45031"/>
                      </a:cubicBezTo>
                      <a:cubicBezTo>
                        <a:pt x="180565" y="48822"/>
                        <a:pt x="177041" y="52955"/>
                        <a:pt x="174136" y="55175"/>
                      </a:cubicBezTo>
                      <a:cubicBezTo>
                        <a:pt x="172355" y="56527"/>
                        <a:pt x="170154" y="56175"/>
                        <a:pt x="168297" y="57709"/>
                      </a:cubicBezTo>
                      <a:cubicBezTo>
                        <a:pt x="166383" y="59299"/>
                        <a:pt x="164487" y="62595"/>
                        <a:pt x="163697" y="65052"/>
                      </a:cubicBezTo>
                      <a:cubicBezTo>
                        <a:pt x="162658" y="68300"/>
                        <a:pt x="161544" y="77892"/>
                        <a:pt x="163668" y="80235"/>
                      </a:cubicBezTo>
                      <a:cubicBezTo>
                        <a:pt x="164602" y="81264"/>
                        <a:pt x="168516" y="80940"/>
                        <a:pt x="170088" y="81826"/>
                      </a:cubicBezTo>
                      <a:cubicBezTo>
                        <a:pt x="171840" y="82807"/>
                        <a:pt x="175279" y="85769"/>
                        <a:pt x="176984" y="86960"/>
                      </a:cubicBezTo>
                      <a:cubicBezTo>
                        <a:pt x="182842" y="91055"/>
                        <a:pt x="181661" y="91741"/>
                        <a:pt x="180680" y="98637"/>
                      </a:cubicBezTo>
                      <a:cubicBezTo>
                        <a:pt x="179165" y="109315"/>
                        <a:pt x="183394" y="122345"/>
                        <a:pt x="178784" y="132137"/>
                      </a:cubicBezTo>
                      <a:cubicBezTo>
                        <a:pt x="177127" y="135623"/>
                        <a:pt x="173498" y="137128"/>
                        <a:pt x="172421" y="141871"/>
                      </a:cubicBezTo>
                      <a:cubicBezTo>
                        <a:pt x="171726" y="144891"/>
                        <a:pt x="173307" y="151235"/>
                        <a:pt x="166478" y="151006"/>
                      </a:cubicBezTo>
                      <a:cubicBezTo>
                        <a:pt x="161239" y="150825"/>
                        <a:pt x="163439" y="146977"/>
                        <a:pt x="161154" y="143567"/>
                      </a:cubicBezTo>
                      <a:cubicBezTo>
                        <a:pt x="156486" y="136556"/>
                        <a:pt x="156238" y="146043"/>
                        <a:pt x="149819" y="148053"/>
                      </a:cubicBezTo>
                      <a:cubicBezTo>
                        <a:pt x="143828" y="149920"/>
                        <a:pt x="136388" y="146653"/>
                        <a:pt x="133150" y="142271"/>
                      </a:cubicBezTo>
                      <a:cubicBezTo>
                        <a:pt x="130312" y="138423"/>
                        <a:pt x="129378" y="130041"/>
                        <a:pt x="122892" y="130165"/>
                      </a:cubicBezTo>
                      <a:cubicBezTo>
                        <a:pt x="115300" y="130318"/>
                        <a:pt x="118815" y="135623"/>
                        <a:pt x="118767" y="139138"/>
                      </a:cubicBezTo>
                      <a:cubicBezTo>
                        <a:pt x="118663" y="146643"/>
                        <a:pt x="113195" y="148786"/>
                        <a:pt x="105718" y="148596"/>
                      </a:cubicBezTo>
                      <a:cubicBezTo>
                        <a:pt x="103851" y="148548"/>
                        <a:pt x="101508" y="147129"/>
                        <a:pt x="99498" y="146891"/>
                      </a:cubicBezTo>
                      <a:cubicBezTo>
                        <a:pt x="100174" y="146977"/>
                        <a:pt x="90268" y="147186"/>
                        <a:pt x="91307" y="146405"/>
                      </a:cubicBezTo>
                      <a:cubicBezTo>
                        <a:pt x="89554" y="147739"/>
                        <a:pt x="90259" y="158616"/>
                        <a:pt x="89097" y="161960"/>
                      </a:cubicBezTo>
                      <a:cubicBezTo>
                        <a:pt x="98031" y="161826"/>
                        <a:pt x="93345" y="169913"/>
                        <a:pt x="95707" y="173513"/>
                      </a:cubicBezTo>
                      <a:cubicBezTo>
                        <a:pt x="96955" y="175399"/>
                        <a:pt x="100936" y="175399"/>
                        <a:pt x="101413" y="177657"/>
                      </a:cubicBezTo>
                      <a:cubicBezTo>
                        <a:pt x="101613" y="178638"/>
                        <a:pt x="98755" y="183438"/>
                        <a:pt x="98365" y="184619"/>
                      </a:cubicBezTo>
                      <a:cubicBezTo>
                        <a:pt x="97507" y="187248"/>
                        <a:pt x="101860" y="187144"/>
                        <a:pt x="97765" y="188953"/>
                      </a:cubicBezTo>
                      <a:cubicBezTo>
                        <a:pt x="94717" y="190306"/>
                        <a:pt x="93336" y="186886"/>
                        <a:pt x="91278" y="186115"/>
                      </a:cubicBezTo>
                      <a:cubicBezTo>
                        <a:pt x="86878" y="184477"/>
                        <a:pt x="87392" y="182200"/>
                        <a:pt x="81820" y="186906"/>
                      </a:cubicBezTo>
                      <a:cubicBezTo>
                        <a:pt x="78781" y="189468"/>
                        <a:pt x="77324" y="192059"/>
                        <a:pt x="76076" y="195964"/>
                      </a:cubicBezTo>
                      <a:cubicBezTo>
                        <a:pt x="72095" y="193125"/>
                        <a:pt x="70685" y="188239"/>
                        <a:pt x="67265" y="184781"/>
                      </a:cubicBezTo>
                      <a:cubicBezTo>
                        <a:pt x="63237" y="180686"/>
                        <a:pt x="60293" y="177895"/>
                        <a:pt x="56836" y="173399"/>
                      </a:cubicBezTo>
                      <a:cubicBezTo>
                        <a:pt x="49882" y="164303"/>
                        <a:pt x="38757" y="159540"/>
                        <a:pt x="31975" y="150320"/>
                      </a:cubicBezTo>
                      <a:cubicBezTo>
                        <a:pt x="35738" y="151187"/>
                        <a:pt x="39310" y="155397"/>
                        <a:pt x="42663" y="152921"/>
                      </a:cubicBezTo>
                      <a:cubicBezTo>
                        <a:pt x="37395" y="149634"/>
                        <a:pt x="31928" y="149425"/>
                        <a:pt x="28137" y="145415"/>
                      </a:cubicBezTo>
                      <a:cubicBezTo>
                        <a:pt x="24917" y="142005"/>
                        <a:pt x="22098" y="136394"/>
                        <a:pt x="18717" y="132537"/>
                      </a:cubicBezTo>
                      <a:cubicBezTo>
                        <a:pt x="20879" y="132699"/>
                        <a:pt x="22412" y="133128"/>
                        <a:pt x="24498" y="134413"/>
                      </a:cubicBezTo>
                      <a:cubicBezTo>
                        <a:pt x="25222" y="130899"/>
                        <a:pt x="18764" y="130213"/>
                        <a:pt x="17193" y="128232"/>
                      </a:cubicBezTo>
                      <a:cubicBezTo>
                        <a:pt x="15573" y="126184"/>
                        <a:pt x="11087" y="116878"/>
                        <a:pt x="10487" y="113830"/>
                      </a:cubicBezTo>
                      <a:cubicBezTo>
                        <a:pt x="15164" y="119192"/>
                        <a:pt x="18012" y="126631"/>
                        <a:pt x="25794" y="122945"/>
                      </a:cubicBezTo>
                      <a:cubicBezTo>
                        <a:pt x="23869" y="118087"/>
                        <a:pt x="13868" y="123278"/>
                        <a:pt x="20241" y="114325"/>
                      </a:cubicBezTo>
                      <a:cubicBezTo>
                        <a:pt x="11459" y="122079"/>
                        <a:pt x="2553" y="97037"/>
                        <a:pt x="0" y="91217"/>
                      </a:cubicBezTo>
                      <a:cubicBezTo>
                        <a:pt x="5877" y="96113"/>
                        <a:pt x="11725" y="94018"/>
                        <a:pt x="16192" y="87150"/>
                      </a:cubicBezTo>
                      <a:cubicBezTo>
                        <a:pt x="18888" y="82988"/>
                        <a:pt x="19936" y="79140"/>
                        <a:pt x="20012" y="73996"/>
                      </a:cubicBezTo>
                      <a:cubicBezTo>
                        <a:pt x="20079" y="70062"/>
                        <a:pt x="17536" y="64633"/>
                        <a:pt x="20536" y="61776"/>
                      </a:cubicBezTo>
                      <a:cubicBezTo>
                        <a:pt x="21860" y="69120"/>
                        <a:pt x="29261" y="67452"/>
                        <a:pt x="34462" y="71205"/>
                      </a:cubicBezTo>
                      <a:cubicBezTo>
                        <a:pt x="34966" y="67900"/>
                        <a:pt x="37624" y="67186"/>
                        <a:pt x="40919" y="66453"/>
                      </a:cubicBezTo>
                      <a:cubicBezTo>
                        <a:pt x="36119" y="64338"/>
                        <a:pt x="31680" y="67205"/>
                        <a:pt x="26584" y="63252"/>
                      </a:cubicBezTo>
                      <a:cubicBezTo>
                        <a:pt x="23231" y="60661"/>
                        <a:pt x="16897" y="54403"/>
                        <a:pt x="22365" y="52498"/>
                      </a:cubicBezTo>
                      <a:cubicBezTo>
                        <a:pt x="27003" y="50879"/>
                        <a:pt x="27213" y="56232"/>
                        <a:pt x="29070" y="52717"/>
                      </a:cubicBezTo>
                      <a:cubicBezTo>
                        <a:pt x="31566" y="48012"/>
                        <a:pt x="24394" y="42307"/>
                        <a:pt x="29708" y="39440"/>
                      </a:cubicBezTo>
                      <a:cubicBezTo>
                        <a:pt x="33452" y="37430"/>
                        <a:pt x="32994" y="40811"/>
                        <a:pt x="36023" y="41459"/>
                      </a:cubicBezTo>
                      <a:cubicBezTo>
                        <a:pt x="39233" y="42145"/>
                        <a:pt x="42120" y="41316"/>
                        <a:pt x="45882" y="40992"/>
                      </a:cubicBezTo>
                      <a:cubicBezTo>
                        <a:pt x="57998" y="39935"/>
                        <a:pt x="70733" y="41049"/>
                        <a:pt x="82906" y="41106"/>
                      </a:cubicBezTo>
                      <a:cubicBezTo>
                        <a:pt x="82867" y="27648"/>
                        <a:pt x="81467" y="13322"/>
                        <a:pt x="83191" y="149"/>
                      </a:cubicBezTo>
                      <a:cubicBezTo>
                        <a:pt x="94155" y="34"/>
                        <a:pt x="105556" y="-213"/>
                        <a:pt x="116472" y="387"/>
                      </a:cubicBezTo>
                      <a:cubicBezTo>
                        <a:pt x="122206" y="701"/>
                        <a:pt x="143008" y="-575"/>
                        <a:pt x="144447" y="4502"/>
                      </a:cubicBezTo>
                      <a:lnTo>
                        <a:pt x="144447" y="4502"/>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52" name="Freeform: Shape 651">
                  <a:extLst>
                    <a:ext uri="{FF2B5EF4-FFF2-40B4-BE49-F238E27FC236}">
                      <a16:creationId xmlns:a16="http://schemas.microsoft.com/office/drawing/2014/main" id="{751749A5-3D75-4B3B-8F9D-34AE391DCED2}"/>
                    </a:ext>
                  </a:extLst>
                </p:cNvPr>
                <p:cNvSpPr/>
                <p:nvPr/>
              </p:nvSpPr>
              <p:spPr>
                <a:xfrm>
                  <a:off x="3873874" y="2755351"/>
                  <a:ext cx="1981533" cy="1542454"/>
                </a:xfrm>
                <a:custGeom>
                  <a:avLst/>
                  <a:gdLst>
                    <a:gd name="connsiteX0" fmla="*/ 75590 w 1981533"/>
                    <a:gd name="connsiteY0" fmla="*/ 1455944 h 1542454"/>
                    <a:gd name="connsiteX1" fmla="*/ 74343 w 1981533"/>
                    <a:gd name="connsiteY1" fmla="*/ 1459259 h 1542454"/>
                    <a:gd name="connsiteX2" fmla="*/ 83982 w 1981533"/>
                    <a:gd name="connsiteY2" fmla="*/ 1472441 h 1542454"/>
                    <a:gd name="connsiteX3" fmla="*/ 91469 w 1981533"/>
                    <a:gd name="connsiteY3" fmla="*/ 1467041 h 1542454"/>
                    <a:gd name="connsiteX4" fmla="*/ 93659 w 1981533"/>
                    <a:gd name="connsiteY4" fmla="*/ 1482271 h 1542454"/>
                    <a:gd name="connsiteX5" fmla="*/ 83601 w 1981533"/>
                    <a:gd name="connsiteY5" fmla="*/ 1493368 h 1542454"/>
                    <a:gd name="connsiteX6" fmla="*/ 73562 w 1981533"/>
                    <a:gd name="connsiteY6" fmla="*/ 1508455 h 1542454"/>
                    <a:gd name="connsiteX7" fmla="*/ 54959 w 1981533"/>
                    <a:gd name="connsiteY7" fmla="*/ 1538145 h 1542454"/>
                    <a:gd name="connsiteX8" fmla="*/ 42663 w 1981533"/>
                    <a:gd name="connsiteY8" fmla="*/ 1538735 h 1542454"/>
                    <a:gd name="connsiteX9" fmla="*/ 40386 w 1981533"/>
                    <a:gd name="connsiteY9" fmla="*/ 1535849 h 1542454"/>
                    <a:gd name="connsiteX10" fmla="*/ 37805 w 1981533"/>
                    <a:gd name="connsiteY10" fmla="*/ 1537383 h 1542454"/>
                    <a:gd name="connsiteX11" fmla="*/ 29337 w 1981533"/>
                    <a:gd name="connsiteY11" fmla="*/ 1537316 h 1542454"/>
                    <a:gd name="connsiteX12" fmla="*/ 24784 w 1981533"/>
                    <a:gd name="connsiteY12" fmla="*/ 1536668 h 1542454"/>
                    <a:gd name="connsiteX13" fmla="*/ 15850 w 1981533"/>
                    <a:gd name="connsiteY13" fmla="*/ 1542269 h 1542454"/>
                    <a:gd name="connsiteX14" fmla="*/ 0 w 1981533"/>
                    <a:gd name="connsiteY14" fmla="*/ 1536240 h 1542454"/>
                    <a:gd name="connsiteX15" fmla="*/ 10801 w 1981533"/>
                    <a:gd name="connsiteY15" fmla="*/ 1525362 h 1542454"/>
                    <a:gd name="connsiteX16" fmla="*/ 13973 w 1981533"/>
                    <a:gd name="connsiteY16" fmla="*/ 1509741 h 1542454"/>
                    <a:gd name="connsiteX17" fmla="*/ 19774 w 1981533"/>
                    <a:gd name="connsiteY17" fmla="*/ 1495330 h 1542454"/>
                    <a:gd name="connsiteX18" fmla="*/ 9887 w 1981533"/>
                    <a:gd name="connsiteY18" fmla="*/ 1481128 h 1542454"/>
                    <a:gd name="connsiteX19" fmla="*/ 7772 w 1981533"/>
                    <a:gd name="connsiteY19" fmla="*/ 1451601 h 1542454"/>
                    <a:gd name="connsiteX20" fmla="*/ 21079 w 1981533"/>
                    <a:gd name="connsiteY20" fmla="*/ 1435884 h 1542454"/>
                    <a:gd name="connsiteX21" fmla="*/ 36024 w 1981533"/>
                    <a:gd name="connsiteY21" fmla="*/ 1432084 h 1542454"/>
                    <a:gd name="connsiteX22" fmla="*/ 57712 w 1981533"/>
                    <a:gd name="connsiteY22" fmla="*/ 1439427 h 1542454"/>
                    <a:gd name="connsiteX23" fmla="*/ 75590 w 1981533"/>
                    <a:gd name="connsiteY23" fmla="*/ 1455944 h 1542454"/>
                    <a:gd name="connsiteX24" fmla="*/ 75590 w 1981533"/>
                    <a:gd name="connsiteY24" fmla="*/ 1455944 h 1542454"/>
                    <a:gd name="connsiteX25" fmla="*/ 1978581 w 1981533"/>
                    <a:gd name="connsiteY25" fmla="*/ 261166 h 1542454"/>
                    <a:gd name="connsiteX26" fmla="*/ 1980581 w 1981533"/>
                    <a:gd name="connsiteY26" fmla="*/ 271577 h 1542454"/>
                    <a:gd name="connsiteX27" fmla="*/ 1978848 w 1981533"/>
                    <a:gd name="connsiteY27" fmla="*/ 287026 h 1542454"/>
                    <a:gd name="connsiteX28" fmla="*/ 1966217 w 1981533"/>
                    <a:gd name="connsiteY28" fmla="*/ 302409 h 1542454"/>
                    <a:gd name="connsiteX29" fmla="*/ 1962207 w 1981533"/>
                    <a:gd name="connsiteY29" fmla="*/ 299514 h 1542454"/>
                    <a:gd name="connsiteX30" fmla="*/ 1964179 w 1981533"/>
                    <a:gd name="connsiteY30" fmla="*/ 296218 h 1542454"/>
                    <a:gd name="connsiteX31" fmla="*/ 1959445 w 1981533"/>
                    <a:gd name="connsiteY31" fmla="*/ 293399 h 1542454"/>
                    <a:gd name="connsiteX32" fmla="*/ 1959807 w 1981533"/>
                    <a:gd name="connsiteY32" fmla="*/ 288912 h 1542454"/>
                    <a:gd name="connsiteX33" fmla="*/ 1956359 w 1981533"/>
                    <a:gd name="connsiteY33" fmla="*/ 288065 h 1542454"/>
                    <a:gd name="connsiteX34" fmla="*/ 1958502 w 1981533"/>
                    <a:gd name="connsiteY34" fmla="*/ 284369 h 1542454"/>
                    <a:gd name="connsiteX35" fmla="*/ 1957454 w 1981533"/>
                    <a:gd name="connsiteY35" fmla="*/ 277597 h 1542454"/>
                    <a:gd name="connsiteX36" fmla="*/ 1954321 w 1981533"/>
                    <a:gd name="connsiteY36" fmla="*/ 275282 h 1542454"/>
                    <a:gd name="connsiteX37" fmla="*/ 1964341 w 1981533"/>
                    <a:gd name="connsiteY37" fmla="*/ 266529 h 1542454"/>
                    <a:gd name="connsiteX38" fmla="*/ 1972551 w 1981533"/>
                    <a:gd name="connsiteY38" fmla="*/ 264109 h 1542454"/>
                    <a:gd name="connsiteX39" fmla="*/ 1974637 w 1981533"/>
                    <a:gd name="connsiteY39" fmla="*/ 255661 h 1542454"/>
                    <a:gd name="connsiteX40" fmla="*/ 1978581 w 1981533"/>
                    <a:gd name="connsiteY40" fmla="*/ 261166 h 1542454"/>
                    <a:gd name="connsiteX41" fmla="*/ 1978581 w 1981533"/>
                    <a:gd name="connsiteY41" fmla="*/ 261166 h 1542454"/>
                    <a:gd name="connsiteX42" fmla="*/ 1790662 w 1981533"/>
                    <a:gd name="connsiteY42" fmla="*/ 10897 h 1542454"/>
                    <a:gd name="connsiteX43" fmla="*/ 1800835 w 1981533"/>
                    <a:gd name="connsiteY43" fmla="*/ 10973 h 1542454"/>
                    <a:gd name="connsiteX44" fmla="*/ 1803407 w 1981533"/>
                    <a:gd name="connsiteY44" fmla="*/ 15945 h 1542454"/>
                    <a:gd name="connsiteX45" fmla="*/ 1808217 w 1981533"/>
                    <a:gd name="connsiteY45" fmla="*/ 18717 h 1542454"/>
                    <a:gd name="connsiteX46" fmla="*/ 1813189 w 1981533"/>
                    <a:gd name="connsiteY46" fmla="*/ 20107 h 1542454"/>
                    <a:gd name="connsiteX47" fmla="*/ 1815665 w 1981533"/>
                    <a:gd name="connsiteY47" fmla="*/ 24374 h 1542454"/>
                    <a:gd name="connsiteX48" fmla="*/ 1825781 w 1981533"/>
                    <a:gd name="connsiteY48" fmla="*/ 25613 h 1542454"/>
                    <a:gd name="connsiteX49" fmla="*/ 1836163 w 1981533"/>
                    <a:gd name="connsiteY49" fmla="*/ 35928 h 1542454"/>
                    <a:gd name="connsiteX50" fmla="*/ 1844212 w 1981533"/>
                    <a:gd name="connsiteY50" fmla="*/ 29728 h 1542454"/>
                    <a:gd name="connsiteX51" fmla="*/ 1845888 w 1981533"/>
                    <a:gd name="connsiteY51" fmla="*/ 41224 h 1542454"/>
                    <a:gd name="connsiteX52" fmla="*/ 1855403 w 1981533"/>
                    <a:gd name="connsiteY52" fmla="*/ 44434 h 1542454"/>
                    <a:gd name="connsiteX53" fmla="*/ 1863681 w 1981533"/>
                    <a:gd name="connsiteY53" fmla="*/ 49949 h 1542454"/>
                    <a:gd name="connsiteX54" fmla="*/ 1870082 w 1981533"/>
                    <a:gd name="connsiteY54" fmla="*/ 49092 h 1542454"/>
                    <a:gd name="connsiteX55" fmla="*/ 1873768 w 1981533"/>
                    <a:gd name="connsiteY55" fmla="*/ 51006 h 1542454"/>
                    <a:gd name="connsiteX56" fmla="*/ 1881892 w 1981533"/>
                    <a:gd name="connsiteY56" fmla="*/ 50492 h 1542454"/>
                    <a:gd name="connsiteX57" fmla="*/ 1896809 w 1981533"/>
                    <a:gd name="connsiteY57" fmla="*/ 60874 h 1542454"/>
                    <a:gd name="connsiteX58" fmla="*/ 1900057 w 1981533"/>
                    <a:gd name="connsiteY58" fmla="*/ 59712 h 1542454"/>
                    <a:gd name="connsiteX59" fmla="*/ 1902695 w 1981533"/>
                    <a:gd name="connsiteY59" fmla="*/ 62160 h 1542454"/>
                    <a:gd name="connsiteX60" fmla="*/ 1913811 w 1981533"/>
                    <a:gd name="connsiteY60" fmla="*/ 61265 h 1542454"/>
                    <a:gd name="connsiteX61" fmla="*/ 1921774 w 1981533"/>
                    <a:gd name="connsiteY61" fmla="*/ 64599 h 1542454"/>
                    <a:gd name="connsiteX62" fmla="*/ 1930546 w 1981533"/>
                    <a:gd name="connsiteY62" fmla="*/ 66485 h 1542454"/>
                    <a:gd name="connsiteX63" fmla="*/ 1924774 w 1981533"/>
                    <a:gd name="connsiteY63" fmla="*/ 77533 h 1542454"/>
                    <a:gd name="connsiteX64" fmla="*/ 1920564 w 1981533"/>
                    <a:gd name="connsiteY64" fmla="*/ 110385 h 1542454"/>
                    <a:gd name="connsiteX65" fmla="*/ 1914582 w 1981533"/>
                    <a:gd name="connsiteY65" fmla="*/ 115062 h 1542454"/>
                    <a:gd name="connsiteX66" fmla="*/ 1908934 w 1981533"/>
                    <a:gd name="connsiteY66" fmla="*/ 114472 h 1542454"/>
                    <a:gd name="connsiteX67" fmla="*/ 1903228 w 1981533"/>
                    <a:gd name="connsiteY67" fmla="*/ 115262 h 1542454"/>
                    <a:gd name="connsiteX68" fmla="*/ 1904714 w 1981533"/>
                    <a:gd name="connsiteY68" fmla="*/ 118901 h 1542454"/>
                    <a:gd name="connsiteX69" fmla="*/ 1894008 w 1981533"/>
                    <a:gd name="connsiteY69" fmla="*/ 129388 h 1542454"/>
                    <a:gd name="connsiteX70" fmla="*/ 1890275 w 1981533"/>
                    <a:gd name="connsiteY70" fmla="*/ 132140 h 1542454"/>
                    <a:gd name="connsiteX71" fmla="*/ 1889789 w 1981533"/>
                    <a:gd name="connsiteY71" fmla="*/ 136779 h 1542454"/>
                    <a:gd name="connsiteX72" fmla="*/ 1882817 w 1981533"/>
                    <a:gd name="connsiteY72" fmla="*/ 142361 h 1542454"/>
                    <a:gd name="connsiteX73" fmla="*/ 1881369 w 1981533"/>
                    <a:gd name="connsiteY73" fmla="*/ 147466 h 1542454"/>
                    <a:gd name="connsiteX74" fmla="*/ 1880540 w 1981533"/>
                    <a:gd name="connsiteY74" fmla="*/ 153086 h 1542454"/>
                    <a:gd name="connsiteX75" fmla="*/ 1880959 w 1981533"/>
                    <a:gd name="connsiteY75" fmla="*/ 156029 h 1542454"/>
                    <a:gd name="connsiteX76" fmla="*/ 1885502 w 1981533"/>
                    <a:gd name="connsiteY76" fmla="*/ 150686 h 1542454"/>
                    <a:gd name="connsiteX77" fmla="*/ 1899904 w 1981533"/>
                    <a:gd name="connsiteY77" fmla="*/ 148638 h 1542454"/>
                    <a:gd name="connsiteX78" fmla="*/ 1900381 w 1981533"/>
                    <a:gd name="connsiteY78" fmla="*/ 154924 h 1542454"/>
                    <a:gd name="connsiteX79" fmla="*/ 1904534 w 1981533"/>
                    <a:gd name="connsiteY79" fmla="*/ 159487 h 1542454"/>
                    <a:gd name="connsiteX80" fmla="*/ 1901428 w 1981533"/>
                    <a:gd name="connsiteY80" fmla="*/ 168983 h 1542454"/>
                    <a:gd name="connsiteX81" fmla="*/ 1911372 w 1981533"/>
                    <a:gd name="connsiteY81" fmla="*/ 180089 h 1542454"/>
                    <a:gd name="connsiteX82" fmla="*/ 1900657 w 1981533"/>
                    <a:gd name="connsiteY82" fmla="*/ 187490 h 1542454"/>
                    <a:gd name="connsiteX83" fmla="*/ 1899600 w 1981533"/>
                    <a:gd name="connsiteY83" fmla="*/ 191357 h 1542454"/>
                    <a:gd name="connsiteX84" fmla="*/ 1904562 w 1981533"/>
                    <a:gd name="connsiteY84" fmla="*/ 196310 h 1542454"/>
                    <a:gd name="connsiteX85" fmla="*/ 1908562 w 1981533"/>
                    <a:gd name="connsiteY85" fmla="*/ 199263 h 1542454"/>
                    <a:gd name="connsiteX86" fmla="*/ 1906591 w 1981533"/>
                    <a:gd name="connsiteY86" fmla="*/ 203673 h 1542454"/>
                    <a:gd name="connsiteX87" fmla="*/ 1908429 w 1981533"/>
                    <a:gd name="connsiteY87" fmla="*/ 214951 h 1542454"/>
                    <a:gd name="connsiteX88" fmla="*/ 1917697 w 1981533"/>
                    <a:gd name="connsiteY88" fmla="*/ 219227 h 1542454"/>
                    <a:gd name="connsiteX89" fmla="*/ 1926355 w 1981533"/>
                    <a:gd name="connsiteY89" fmla="*/ 218370 h 1542454"/>
                    <a:gd name="connsiteX90" fmla="*/ 1922850 w 1981533"/>
                    <a:gd name="connsiteY90" fmla="*/ 229162 h 1542454"/>
                    <a:gd name="connsiteX91" fmla="*/ 1911392 w 1981533"/>
                    <a:gd name="connsiteY91" fmla="*/ 237077 h 1542454"/>
                    <a:gd name="connsiteX92" fmla="*/ 1894084 w 1981533"/>
                    <a:gd name="connsiteY92" fmla="*/ 250193 h 1542454"/>
                    <a:gd name="connsiteX93" fmla="*/ 1872549 w 1981533"/>
                    <a:gd name="connsiteY93" fmla="*/ 249088 h 1542454"/>
                    <a:gd name="connsiteX94" fmla="*/ 1862023 w 1981533"/>
                    <a:gd name="connsiteY94" fmla="*/ 244002 h 1542454"/>
                    <a:gd name="connsiteX95" fmla="*/ 1857280 w 1981533"/>
                    <a:gd name="connsiteY95" fmla="*/ 241068 h 1542454"/>
                    <a:gd name="connsiteX96" fmla="*/ 1844678 w 1981533"/>
                    <a:gd name="connsiteY96" fmla="*/ 242583 h 1542454"/>
                    <a:gd name="connsiteX97" fmla="*/ 1826962 w 1981533"/>
                    <a:gd name="connsiteY97" fmla="*/ 237087 h 1542454"/>
                    <a:gd name="connsiteX98" fmla="*/ 1807207 w 1981533"/>
                    <a:gd name="connsiteY98" fmla="*/ 250774 h 1542454"/>
                    <a:gd name="connsiteX99" fmla="*/ 1807655 w 1981533"/>
                    <a:gd name="connsiteY99" fmla="*/ 272996 h 1542454"/>
                    <a:gd name="connsiteX100" fmla="*/ 1795929 w 1981533"/>
                    <a:gd name="connsiteY100" fmla="*/ 273310 h 1542454"/>
                    <a:gd name="connsiteX101" fmla="*/ 1789671 w 1981533"/>
                    <a:gd name="connsiteY101" fmla="*/ 275577 h 1542454"/>
                    <a:gd name="connsiteX102" fmla="*/ 1782375 w 1981533"/>
                    <a:gd name="connsiteY102" fmla="*/ 273796 h 1542454"/>
                    <a:gd name="connsiteX103" fmla="*/ 1775432 w 1981533"/>
                    <a:gd name="connsiteY103" fmla="*/ 275435 h 1542454"/>
                    <a:gd name="connsiteX104" fmla="*/ 1766440 w 1981533"/>
                    <a:gd name="connsiteY104" fmla="*/ 270710 h 1542454"/>
                    <a:gd name="connsiteX105" fmla="*/ 1758810 w 1981533"/>
                    <a:gd name="connsiteY105" fmla="*/ 267795 h 1542454"/>
                    <a:gd name="connsiteX106" fmla="*/ 1737798 w 1981533"/>
                    <a:gd name="connsiteY106" fmla="*/ 260795 h 1542454"/>
                    <a:gd name="connsiteX107" fmla="*/ 1736236 w 1981533"/>
                    <a:gd name="connsiteY107" fmla="*/ 264871 h 1542454"/>
                    <a:gd name="connsiteX108" fmla="*/ 1729635 w 1981533"/>
                    <a:gd name="connsiteY108" fmla="*/ 264566 h 1542454"/>
                    <a:gd name="connsiteX109" fmla="*/ 1718634 w 1981533"/>
                    <a:gd name="connsiteY109" fmla="*/ 264852 h 1542454"/>
                    <a:gd name="connsiteX110" fmla="*/ 1712176 w 1981533"/>
                    <a:gd name="connsiteY110" fmla="*/ 260899 h 1542454"/>
                    <a:gd name="connsiteX111" fmla="*/ 1704499 w 1981533"/>
                    <a:gd name="connsiteY111" fmla="*/ 261318 h 1542454"/>
                    <a:gd name="connsiteX112" fmla="*/ 1696869 w 1981533"/>
                    <a:gd name="connsiteY112" fmla="*/ 256699 h 1542454"/>
                    <a:gd name="connsiteX113" fmla="*/ 1684334 w 1981533"/>
                    <a:gd name="connsiteY113" fmla="*/ 251879 h 1542454"/>
                    <a:gd name="connsiteX114" fmla="*/ 1680810 w 1981533"/>
                    <a:gd name="connsiteY114" fmla="*/ 253889 h 1542454"/>
                    <a:gd name="connsiteX115" fmla="*/ 1681229 w 1981533"/>
                    <a:gd name="connsiteY115" fmla="*/ 249593 h 1542454"/>
                    <a:gd name="connsiteX116" fmla="*/ 1670961 w 1981533"/>
                    <a:gd name="connsiteY116" fmla="*/ 242764 h 1542454"/>
                    <a:gd name="connsiteX117" fmla="*/ 1679400 w 1981533"/>
                    <a:gd name="connsiteY117" fmla="*/ 237296 h 1542454"/>
                    <a:gd name="connsiteX118" fmla="*/ 1683172 w 1981533"/>
                    <a:gd name="connsiteY118" fmla="*/ 223409 h 1542454"/>
                    <a:gd name="connsiteX119" fmla="*/ 1690726 w 1981533"/>
                    <a:gd name="connsiteY119" fmla="*/ 201825 h 1542454"/>
                    <a:gd name="connsiteX120" fmla="*/ 1688697 w 1981533"/>
                    <a:gd name="connsiteY120" fmla="*/ 199482 h 1542454"/>
                    <a:gd name="connsiteX121" fmla="*/ 1686192 w 1981533"/>
                    <a:gd name="connsiteY121" fmla="*/ 202549 h 1542454"/>
                    <a:gd name="connsiteX122" fmla="*/ 1690802 w 1981533"/>
                    <a:gd name="connsiteY122" fmla="*/ 175279 h 1542454"/>
                    <a:gd name="connsiteX123" fmla="*/ 1699289 w 1981533"/>
                    <a:gd name="connsiteY123" fmla="*/ 182518 h 1542454"/>
                    <a:gd name="connsiteX124" fmla="*/ 1705004 w 1981533"/>
                    <a:gd name="connsiteY124" fmla="*/ 192043 h 1542454"/>
                    <a:gd name="connsiteX125" fmla="*/ 1698555 w 1981533"/>
                    <a:gd name="connsiteY125" fmla="*/ 177317 h 1542454"/>
                    <a:gd name="connsiteX126" fmla="*/ 1687392 w 1981533"/>
                    <a:gd name="connsiteY126" fmla="*/ 167783 h 1542454"/>
                    <a:gd name="connsiteX127" fmla="*/ 1692154 w 1981533"/>
                    <a:gd name="connsiteY127" fmla="*/ 168726 h 1542454"/>
                    <a:gd name="connsiteX128" fmla="*/ 1689211 w 1981533"/>
                    <a:gd name="connsiteY128" fmla="*/ 150752 h 1542454"/>
                    <a:gd name="connsiteX129" fmla="*/ 1682087 w 1981533"/>
                    <a:gd name="connsiteY129" fmla="*/ 149238 h 1542454"/>
                    <a:gd name="connsiteX130" fmla="*/ 1670476 w 1981533"/>
                    <a:gd name="connsiteY130" fmla="*/ 141665 h 1542454"/>
                    <a:gd name="connsiteX131" fmla="*/ 1664627 w 1981533"/>
                    <a:gd name="connsiteY131" fmla="*/ 125549 h 1542454"/>
                    <a:gd name="connsiteX132" fmla="*/ 1663998 w 1981533"/>
                    <a:gd name="connsiteY132" fmla="*/ 120787 h 1542454"/>
                    <a:gd name="connsiteX133" fmla="*/ 1673657 w 1981533"/>
                    <a:gd name="connsiteY133" fmla="*/ 122272 h 1542454"/>
                    <a:gd name="connsiteX134" fmla="*/ 1660131 w 1981533"/>
                    <a:gd name="connsiteY134" fmla="*/ 120034 h 1542454"/>
                    <a:gd name="connsiteX135" fmla="*/ 1653245 w 1981533"/>
                    <a:gd name="connsiteY135" fmla="*/ 118148 h 1542454"/>
                    <a:gd name="connsiteX136" fmla="*/ 1654226 w 1981533"/>
                    <a:gd name="connsiteY136" fmla="*/ 112957 h 1542454"/>
                    <a:gd name="connsiteX137" fmla="*/ 1645949 w 1981533"/>
                    <a:gd name="connsiteY137" fmla="*/ 112147 h 1542454"/>
                    <a:gd name="connsiteX138" fmla="*/ 1647673 w 1981533"/>
                    <a:gd name="connsiteY138" fmla="*/ 110109 h 1542454"/>
                    <a:gd name="connsiteX139" fmla="*/ 1627356 w 1981533"/>
                    <a:gd name="connsiteY139" fmla="*/ 105347 h 1542454"/>
                    <a:gd name="connsiteX140" fmla="*/ 1609544 w 1981533"/>
                    <a:gd name="connsiteY140" fmla="*/ 103251 h 1542454"/>
                    <a:gd name="connsiteX141" fmla="*/ 1596781 w 1981533"/>
                    <a:gd name="connsiteY141" fmla="*/ 96326 h 1542454"/>
                    <a:gd name="connsiteX142" fmla="*/ 1606087 w 1981533"/>
                    <a:gd name="connsiteY142" fmla="*/ 92212 h 1542454"/>
                    <a:gd name="connsiteX143" fmla="*/ 1599695 w 1981533"/>
                    <a:gd name="connsiteY143" fmla="*/ 88430 h 1542454"/>
                    <a:gd name="connsiteX144" fmla="*/ 1608506 w 1981533"/>
                    <a:gd name="connsiteY144" fmla="*/ 88011 h 1542454"/>
                    <a:gd name="connsiteX145" fmla="*/ 1596181 w 1981533"/>
                    <a:gd name="connsiteY145" fmla="*/ 80562 h 1542454"/>
                    <a:gd name="connsiteX146" fmla="*/ 1621669 w 1981533"/>
                    <a:gd name="connsiteY146" fmla="*/ 75314 h 1542454"/>
                    <a:gd name="connsiteX147" fmla="*/ 1643996 w 1981533"/>
                    <a:gd name="connsiteY147" fmla="*/ 75638 h 1542454"/>
                    <a:gd name="connsiteX148" fmla="*/ 1655121 w 1981533"/>
                    <a:gd name="connsiteY148" fmla="*/ 77505 h 1542454"/>
                    <a:gd name="connsiteX149" fmla="*/ 1667313 w 1981533"/>
                    <a:gd name="connsiteY149" fmla="*/ 79238 h 1542454"/>
                    <a:gd name="connsiteX150" fmla="*/ 1683753 w 1981533"/>
                    <a:gd name="connsiteY150" fmla="*/ 77019 h 1542454"/>
                    <a:gd name="connsiteX151" fmla="*/ 1678657 w 1981533"/>
                    <a:gd name="connsiteY151" fmla="*/ 64770 h 1542454"/>
                    <a:gd name="connsiteX152" fmla="*/ 1673657 w 1981533"/>
                    <a:gd name="connsiteY152" fmla="*/ 52464 h 1542454"/>
                    <a:gd name="connsiteX153" fmla="*/ 1672619 w 1981533"/>
                    <a:gd name="connsiteY153" fmla="*/ 44567 h 1542454"/>
                    <a:gd name="connsiteX154" fmla="*/ 1686411 w 1981533"/>
                    <a:gd name="connsiteY154" fmla="*/ 44425 h 1542454"/>
                    <a:gd name="connsiteX155" fmla="*/ 1690726 w 1981533"/>
                    <a:gd name="connsiteY155" fmla="*/ 53826 h 1542454"/>
                    <a:gd name="connsiteX156" fmla="*/ 1706204 w 1981533"/>
                    <a:gd name="connsiteY156" fmla="*/ 54912 h 1542454"/>
                    <a:gd name="connsiteX157" fmla="*/ 1731178 w 1981533"/>
                    <a:gd name="connsiteY157" fmla="*/ 51149 h 1542454"/>
                    <a:gd name="connsiteX158" fmla="*/ 1723044 w 1981533"/>
                    <a:gd name="connsiteY158" fmla="*/ 47111 h 1542454"/>
                    <a:gd name="connsiteX159" fmla="*/ 1735722 w 1981533"/>
                    <a:gd name="connsiteY159" fmla="*/ 38872 h 1542454"/>
                    <a:gd name="connsiteX160" fmla="*/ 1751562 w 1981533"/>
                    <a:gd name="connsiteY160" fmla="*/ 34757 h 1542454"/>
                    <a:gd name="connsiteX161" fmla="*/ 1760887 w 1981533"/>
                    <a:gd name="connsiteY161" fmla="*/ 26613 h 1542454"/>
                    <a:gd name="connsiteX162" fmla="*/ 1763316 w 1981533"/>
                    <a:gd name="connsiteY162" fmla="*/ 6277 h 1542454"/>
                    <a:gd name="connsiteX163" fmla="*/ 1784499 w 1981533"/>
                    <a:gd name="connsiteY163" fmla="*/ 0 h 1542454"/>
                    <a:gd name="connsiteX164" fmla="*/ 1790662 w 1981533"/>
                    <a:gd name="connsiteY164" fmla="*/ 10897 h 1542454"/>
                    <a:gd name="connsiteX165" fmla="*/ 1790662 w 1981533"/>
                    <a:gd name="connsiteY165" fmla="*/ 10897 h 154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1981533" h="1542454">
                      <a:moveTo>
                        <a:pt x="75590" y="1455944"/>
                      </a:moveTo>
                      <a:cubicBezTo>
                        <a:pt x="75171" y="1457049"/>
                        <a:pt x="74762" y="1458154"/>
                        <a:pt x="74343" y="1459259"/>
                      </a:cubicBezTo>
                      <a:cubicBezTo>
                        <a:pt x="79724" y="1451219"/>
                        <a:pt x="86430" y="1466688"/>
                        <a:pt x="83982" y="1472441"/>
                      </a:cubicBezTo>
                      <a:cubicBezTo>
                        <a:pt x="88516" y="1469365"/>
                        <a:pt x="86525" y="1459144"/>
                        <a:pt x="91469" y="1467041"/>
                      </a:cubicBezTo>
                      <a:cubicBezTo>
                        <a:pt x="93917" y="1470946"/>
                        <a:pt x="95240" y="1478690"/>
                        <a:pt x="93659" y="1482271"/>
                      </a:cubicBezTo>
                      <a:cubicBezTo>
                        <a:pt x="92088" y="1485824"/>
                        <a:pt x="86020" y="1489882"/>
                        <a:pt x="83601" y="1493368"/>
                      </a:cubicBezTo>
                      <a:cubicBezTo>
                        <a:pt x="80391" y="1497987"/>
                        <a:pt x="76610" y="1503693"/>
                        <a:pt x="73562" y="1508455"/>
                      </a:cubicBezTo>
                      <a:cubicBezTo>
                        <a:pt x="67189" y="1518437"/>
                        <a:pt x="66704" y="1532077"/>
                        <a:pt x="54959" y="1538145"/>
                      </a:cubicBezTo>
                      <a:cubicBezTo>
                        <a:pt x="49930" y="1540745"/>
                        <a:pt x="47987" y="1540145"/>
                        <a:pt x="42663" y="1538735"/>
                      </a:cubicBezTo>
                      <a:cubicBezTo>
                        <a:pt x="41910" y="1538535"/>
                        <a:pt x="41567" y="1536021"/>
                        <a:pt x="40386" y="1535849"/>
                      </a:cubicBezTo>
                      <a:cubicBezTo>
                        <a:pt x="39481" y="1535716"/>
                        <a:pt x="38576" y="1537449"/>
                        <a:pt x="37805" y="1537383"/>
                      </a:cubicBezTo>
                      <a:cubicBezTo>
                        <a:pt x="35471" y="1537173"/>
                        <a:pt x="32080" y="1537526"/>
                        <a:pt x="29337" y="1537316"/>
                      </a:cubicBezTo>
                      <a:cubicBezTo>
                        <a:pt x="26308" y="1537087"/>
                        <a:pt x="27870" y="1535935"/>
                        <a:pt x="24784" y="1536668"/>
                      </a:cubicBezTo>
                      <a:cubicBezTo>
                        <a:pt x="21669" y="1537392"/>
                        <a:pt x="19050" y="1541583"/>
                        <a:pt x="15850" y="1542269"/>
                      </a:cubicBezTo>
                      <a:cubicBezTo>
                        <a:pt x="10659" y="1543393"/>
                        <a:pt x="4134" y="1539173"/>
                        <a:pt x="0" y="1536240"/>
                      </a:cubicBezTo>
                      <a:cubicBezTo>
                        <a:pt x="5039" y="1535020"/>
                        <a:pt x="8268" y="1529953"/>
                        <a:pt x="10801" y="1525362"/>
                      </a:cubicBezTo>
                      <a:cubicBezTo>
                        <a:pt x="14068" y="1519447"/>
                        <a:pt x="12287" y="1515399"/>
                        <a:pt x="13973" y="1509741"/>
                      </a:cubicBezTo>
                      <a:cubicBezTo>
                        <a:pt x="15650" y="1504093"/>
                        <a:pt x="21689" y="1501407"/>
                        <a:pt x="19774" y="1495330"/>
                      </a:cubicBezTo>
                      <a:cubicBezTo>
                        <a:pt x="18164" y="1490196"/>
                        <a:pt x="11935" y="1486510"/>
                        <a:pt x="9887" y="1481128"/>
                      </a:cubicBezTo>
                      <a:cubicBezTo>
                        <a:pt x="7220" y="1474127"/>
                        <a:pt x="4686" y="1458935"/>
                        <a:pt x="7772" y="1451601"/>
                      </a:cubicBezTo>
                      <a:cubicBezTo>
                        <a:pt x="10478" y="1445171"/>
                        <a:pt x="17688" y="1441533"/>
                        <a:pt x="21079" y="1435884"/>
                      </a:cubicBezTo>
                      <a:cubicBezTo>
                        <a:pt x="26794" y="1426388"/>
                        <a:pt x="25517" y="1427121"/>
                        <a:pt x="36024" y="1432084"/>
                      </a:cubicBezTo>
                      <a:cubicBezTo>
                        <a:pt x="42758" y="1435265"/>
                        <a:pt x="51587" y="1435075"/>
                        <a:pt x="57712" y="1439427"/>
                      </a:cubicBezTo>
                      <a:cubicBezTo>
                        <a:pt x="60989" y="1441742"/>
                        <a:pt x="75733" y="1453486"/>
                        <a:pt x="75590" y="1455944"/>
                      </a:cubicBezTo>
                      <a:lnTo>
                        <a:pt x="75590" y="1455944"/>
                      </a:lnTo>
                      <a:close/>
                      <a:moveTo>
                        <a:pt x="1978581" y="261166"/>
                      </a:moveTo>
                      <a:cubicBezTo>
                        <a:pt x="1977304" y="265195"/>
                        <a:pt x="1979571" y="267976"/>
                        <a:pt x="1980581" y="271577"/>
                      </a:cubicBezTo>
                      <a:cubicBezTo>
                        <a:pt x="1982772" y="279435"/>
                        <a:pt x="1980752" y="280654"/>
                        <a:pt x="1978848" y="287026"/>
                      </a:cubicBezTo>
                      <a:cubicBezTo>
                        <a:pt x="1976876" y="293646"/>
                        <a:pt x="1977371" y="311782"/>
                        <a:pt x="1966217" y="302409"/>
                      </a:cubicBezTo>
                      <a:cubicBezTo>
                        <a:pt x="1964970" y="301362"/>
                        <a:pt x="1963284" y="300914"/>
                        <a:pt x="1962207" y="299514"/>
                      </a:cubicBezTo>
                      <a:cubicBezTo>
                        <a:pt x="1961569" y="298685"/>
                        <a:pt x="1964722" y="297113"/>
                        <a:pt x="1964179" y="296218"/>
                      </a:cubicBezTo>
                      <a:cubicBezTo>
                        <a:pt x="1963493" y="295075"/>
                        <a:pt x="1960331" y="294570"/>
                        <a:pt x="1959445" y="293399"/>
                      </a:cubicBezTo>
                      <a:cubicBezTo>
                        <a:pt x="1959093" y="292922"/>
                        <a:pt x="1960178" y="290065"/>
                        <a:pt x="1959807" y="288912"/>
                      </a:cubicBezTo>
                      <a:cubicBezTo>
                        <a:pt x="1959645" y="288446"/>
                        <a:pt x="1956797" y="289493"/>
                        <a:pt x="1956359" y="288065"/>
                      </a:cubicBezTo>
                      <a:cubicBezTo>
                        <a:pt x="1955997" y="286864"/>
                        <a:pt x="1959074" y="285941"/>
                        <a:pt x="1958502" y="284369"/>
                      </a:cubicBezTo>
                      <a:cubicBezTo>
                        <a:pt x="1957664" y="282102"/>
                        <a:pt x="1951301" y="279559"/>
                        <a:pt x="1957454" y="277597"/>
                      </a:cubicBezTo>
                      <a:cubicBezTo>
                        <a:pt x="1956083" y="276863"/>
                        <a:pt x="1955930" y="275768"/>
                        <a:pt x="1954321" y="275282"/>
                      </a:cubicBezTo>
                      <a:cubicBezTo>
                        <a:pt x="1958331" y="271005"/>
                        <a:pt x="1958902" y="269205"/>
                        <a:pt x="1964341" y="266529"/>
                      </a:cubicBezTo>
                      <a:cubicBezTo>
                        <a:pt x="1965951" y="265738"/>
                        <a:pt x="1972123" y="264452"/>
                        <a:pt x="1972551" y="264109"/>
                      </a:cubicBezTo>
                      <a:cubicBezTo>
                        <a:pt x="1975371" y="261804"/>
                        <a:pt x="1971990" y="259251"/>
                        <a:pt x="1974637" y="255661"/>
                      </a:cubicBezTo>
                      <a:cubicBezTo>
                        <a:pt x="1977419" y="251850"/>
                        <a:pt x="1978543" y="258728"/>
                        <a:pt x="1978581" y="261166"/>
                      </a:cubicBezTo>
                      <a:lnTo>
                        <a:pt x="1978581" y="261166"/>
                      </a:lnTo>
                      <a:close/>
                      <a:moveTo>
                        <a:pt x="1790662" y="10897"/>
                      </a:moveTo>
                      <a:cubicBezTo>
                        <a:pt x="1794463" y="13487"/>
                        <a:pt x="1797187" y="8868"/>
                        <a:pt x="1800835" y="10973"/>
                      </a:cubicBezTo>
                      <a:cubicBezTo>
                        <a:pt x="1802864" y="12135"/>
                        <a:pt x="1802197" y="14745"/>
                        <a:pt x="1803407" y="15945"/>
                      </a:cubicBezTo>
                      <a:cubicBezTo>
                        <a:pt x="1805588" y="18126"/>
                        <a:pt x="1805359" y="17040"/>
                        <a:pt x="1808217" y="18717"/>
                      </a:cubicBezTo>
                      <a:cubicBezTo>
                        <a:pt x="1809598" y="19517"/>
                        <a:pt x="1811693" y="19222"/>
                        <a:pt x="1813189" y="20107"/>
                      </a:cubicBezTo>
                      <a:cubicBezTo>
                        <a:pt x="1814436" y="20841"/>
                        <a:pt x="1814503" y="23784"/>
                        <a:pt x="1815665" y="24374"/>
                      </a:cubicBezTo>
                      <a:cubicBezTo>
                        <a:pt x="1817618" y="25375"/>
                        <a:pt x="1822733" y="23012"/>
                        <a:pt x="1825781" y="25613"/>
                      </a:cubicBezTo>
                      <a:cubicBezTo>
                        <a:pt x="1830381" y="29537"/>
                        <a:pt x="1823123" y="40224"/>
                        <a:pt x="1836163" y="35928"/>
                      </a:cubicBezTo>
                      <a:cubicBezTo>
                        <a:pt x="1837868" y="35366"/>
                        <a:pt x="1842821" y="29442"/>
                        <a:pt x="1844212" y="29728"/>
                      </a:cubicBezTo>
                      <a:cubicBezTo>
                        <a:pt x="1845240" y="29937"/>
                        <a:pt x="1843669" y="39024"/>
                        <a:pt x="1845888" y="41224"/>
                      </a:cubicBezTo>
                      <a:cubicBezTo>
                        <a:pt x="1847002" y="42339"/>
                        <a:pt x="1853499" y="43263"/>
                        <a:pt x="1855403" y="44434"/>
                      </a:cubicBezTo>
                      <a:cubicBezTo>
                        <a:pt x="1857985" y="46015"/>
                        <a:pt x="1860652" y="49282"/>
                        <a:pt x="1863681" y="49949"/>
                      </a:cubicBezTo>
                      <a:cubicBezTo>
                        <a:pt x="1865424" y="50340"/>
                        <a:pt x="1868034" y="48768"/>
                        <a:pt x="1870082" y="49092"/>
                      </a:cubicBezTo>
                      <a:cubicBezTo>
                        <a:pt x="1871043" y="49244"/>
                        <a:pt x="1872358" y="50902"/>
                        <a:pt x="1873768" y="51006"/>
                      </a:cubicBezTo>
                      <a:cubicBezTo>
                        <a:pt x="1876597" y="51206"/>
                        <a:pt x="1878882" y="50292"/>
                        <a:pt x="1881892" y="50492"/>
                      </a:cubicBezTo>
                      <a:cubicBezTo>
                        <a:pt x="1889141" y="50968"/>
                        <a:pt x="1891322" y="58674"/>
                        <a:pt x="1896809" y="60874"/>
                      </a:cubicBezTo>
                      <a:cubicBezTo>
                        <a:pt x="1897151" y="61008"/>
                        <a:pt x="1898837" y="59388"/>
                        <a:pt x="1900057" y="59712"/>
                      </a:cubicBezTo>
                      <a:cubicBezTo>
                        <a:pt x="1901228" y="60017"/>
                        <a:pt x="1902552" y="62132"/>
                        <a:pt x="1902695" y="62160"/>
                      </a:cubicBezTo>
                      <a:cubicBezTo>
                        <a:pt x="1906038" y="62789"/>
                        <a:pt x="1910372" y="60750"/>
                        <a:pt x="1913811" y="61265"/>
                      </a:cubicBezTo>
                      <a:cubicBezTo>
                        <a:pt x="1915440" y="61503"/>
                        <a:pt x="1919449" y="64046"/>
                        <a:pt x="1921774" y="64599"/>
                      </a:cubicBezTo>
                      <a:cubicBezTo>
                        <a:pt x="1924040" y="65142"/>
                        <a:pt x="1928794" y="64713"/>
                        <a:pt x="1930546" y="66485"/>
                      </a:cubicBezTo>
                      <a:cubicBezTo>
                        <a:pt x="1934937" y="70980"/>
                        <a:pt x="1927012" y="73314"/>
                        <a:pt x="1924774" y="77533"/>
                      </a:cubicBezTo>
                      <a:cubicBezTo>
                        <a:pt x="1922059" y="82639"/>
                        <a:pt x="1914515" y="107690"/>
                        <a:pt x="1920564" y="110385"/>
                      </a:cubicBezTo>
                      <a:cubicBezTo>
                        <a:pt x="1917678" y="111300"/>
                        <a:pt x="1917011" y="114376"/>
                        <a:pt x="1914582" y="115062"/>
                      </a:cubicBezTo>
                      <a:cubicBezTo>
                        <a:pt x="1912153" y="115748"/>
                        <a:pt x="1910372" y="114424"/>
                        <a:pt x="1908934" y="114472"/>
                      </a:cubicBezTo>
                      <a:cubicBezTo>
                        <a:pt x="1907143" y="114529"/>
                        <a:pt x="1905648" y="112767"/>
                        <a:pt x="1903228" y="115262"/>
                      </a:cubicBezTo>
                      <a:cubicBezTo>
                        <a:pt x="1900047" y="118548"/>
                        <a:pt x="1905429" y="116996"/>
                        <a:pt x="1904714" y="118901"/>
                      </a:cubicBezTo>
                      <a:cubicBezTo>
                        <a:pt x="1903028" y="123377"/>
                        <a:pt x="1896980" y="126273"/>
                        <a:pt x="1894008" y="129388"/>
                      </a:cubicBezTo>
                      <a:cubicBezTo>
                        <a:pt x="1892789" y="130664"/>
                        <a:pt x="1891379" y="130883"/>
                        <a:pt x="1890275" y="132140"/>
                      </a:cubicBezTo>
                      <a:cubicBezTo>
                        <a:pt x="1889598" y="132912"/>
                        <a:pt x="1890532" y="135703"/>
                        <a:pt x="1889789" y="136779"/>
                      </a:cubicBezTo>
                      <a:cubicBezTo>
                        <a:pt x="1888103" y="139217"/>
                        <a:pt x="1884274" y="139627"/>
                        <a:pt x="1882817" y="142361"/>
                      </a:cubicBezTo>
                      <a:cubicBezTo>
                        <a:pt x="1881892" y="144104"/>
                        <a:pt x="1881654" y="146114"/>
                        <a:pt x="1881369" y="147466"/>
                      </a:cubicBezTo>
                      <a:cubicBezTo>
                        <a:pt x="1881569" y="146485"/>
                        <a:pt x="1880559" y="153962"/>
                        <a:pt x="1880540" y="153086"/>
                      </a:cubicBezTo>
                      <a:cubicBezTo>
                        <a:pt x="1880559" y="154191"/>
                        <a:pt x="1876778" y="155734"/>
                        <a:pt x="1880959" y="156029"/>
                      </a:cubicBezTo>
                      <a:cubicBezTo>
                        <a:pt x="1886607" y="156420"/>
                        <a:pt x="1884874" y="151400"/>
                        <a:pt x="1885502" y="150686"/>
                      </a:cubicBezTo>
                      <a:cubicBezTo>
                        <a:pt x="1888665" y="147104"/>
                        <a:pt x="1896875" y="144656"/>
                        <a:pt x="1899904" y="148638"/>
                      </a:cubicBezTo>
                      <a:cubicBezTo>
                        <a:pt x="1901495" y="150733"/>
                        <a:pt x="1899676" y="153314"/>
                        <a:pt x="1900381" y="154924"/>
                      </a:cubicBezTo>
                      <a:cubicBezTo>
                        <a:pt x="1901181" y="156705"/>
                        <a:pt x="1903533" y="157734"/>
                        <a:pt x="1904534" y="159487"/>
                      </a:cubicBezTo>
                      <a:cubicBezTo>
                        <a:pt x="1908629" y="166707"/>
                        <a:pt x="1900933" y="162544"/>
                        <a:pt x="1901428" y="168983"/>
                      </a:cubicBezTo>
                      <a:cubicBezTo>
                        <a:pt x="1901685" y="172402"/>
                        <a:pt x="1910963" y="176546"/>
                        <a:pt x="1911372" y="180089"/>
                      </a:cubicBezTo>
                      <a:cubicBezTo>
                        <a:pt x="1912125" y="186642"/>
                        <a:pt x="1903257" y="185366"/>
                        <a:pt x="1900657" y="187490"/>
                      </a:cubicBezTo>
                      <a:cubicBezTo>
                        <a:pt x="1897542" y="190033"/>
                        <a:pt x="1898085" y="187271"/>
                        <a:pt x="1899600" y="191357"/>
                      </a:cubicBezTo>
                      <a:cubicBezTo>
                        <a:pt x="1900800" y="194605"/>
                        <a:pt x="1902409" y="194339"/>
                        <a:pt x="1904562" y="196310"/>
                      </a:cubicBezTo>
                      <a:cubicBezTo>
                        <a:pt x="1906362" y="197939"/>
                        <a:pt x="1907572" y="195815"/>
                        <a:pt x="1908562" y="199263"/>
                      </a:cubicBezTo>
                      <a:cubicBezTo>
                        <a:pt x="1909534" y="202644"/>
                        <a:pt x="1907277" y="200959"/>
                        <a:pt x="1906591" y="203673"/>
                      </a:cubicBezTo>
                      <a:cubicBezTo>
                        <a:pt x="1905362" y="208531"/>
                        <a:pt x="1904009" y="210817"/>
                        <a:pt x="1908429" y="214951"/>
                      </a:cubicBezTo>
                      <a:cubicBezTo>
                        <a:pt x="1910058" y="216465"/>
                        <a:pt x="1915516" y="218894"/>
                        <a:pt x="1917697" y="219227"/>
                      </a:cubicBezTo>
                      <a:cubicBezTo>
                        <a:pt x="1919964" y="219580"/>
                        <a:pt x="1924831" y="217122"/>
                        <a:pt x="1926355" y="218370"/>
                      </a:cubicBezTo>
                      <a:cubicBezTo>
                        <a:pt x="1929174" y="220666"/>
                        <a:pt x="1924022" y="227686"/>
                        <a:pt x="1922850" y="229162"/>
                      </a:cubicBezTo>
                      <a:cubicBezTo>
                        <a:pt x="1920859" y="231648"/>
                        <a:pt x="1915821" y="233610"/>
                        <a:pt x="1911392" y="237077"/>
                      </a:cubicBezTo>
                      <a:cubicBezTo>
                        <a:pt x="1905353" y="241802"/>
                        <a:pt x="1900761" y="247574"/>
                        <a:pt x="1894084" y="250193"/>
                      </a:cubicBezTo>
                      <a:cubicBezTo>
                        <a:pt x="1885988" y="253365"/>
                        <a:pt x="1880273" y="252184"/>
                        <a:pt x="1872549" y="249088"/>
                      </a:cubicBezTo>
                      <a:cubicBezTo>
                        <a:pt x="1868291" y="247383"/>
                        <a:pt x="1865424" y="246383"/>
                        <a:pt x="1862023" y="244002"/>
                      </a:cubicBezTo>
                      <a:cubicBezTo>
                        <a:pt x="1859680" y="242364"/>
                        <a:pt x="1857451" y="245450"/>
                        <a:pt x="1857280" y="241068"/>
                      </a:cubicBezTo>
                      <a:cubicBezTo>
                        <a:pt x="1851670" y="241697"/>
                        <a:pt x="1850041" y="243307"/>
                        <a:pt x="1844678" y="242583"/>
                      </a:cubicBezTo>
                      <a:cubicBezTo>
                        <a:pt x="1838525" y="241745"/>
                        <a:pt x="1832220" y="236020"/>
                        <a:pt x="1826962" y="237087"/>
                      </a:cubicBezTo>
                      <a:cubicBezTo>
                        <a:pt x="1821732" y="238154"/>
                        <a:pt x="1810712" y="246840"/>
                        <a:pt x="1807207" y="250774"/>
                      </a:cubicBezTo>
                      <a:cubicBezTo>
                        <a:pt x="1800740" y="258032"/>
                        <a:pt x="1802864" y="265614"/>
                        <a:pt x="1807655" y="272996"/>
                      </a:cubicBezTo>
                      <a:cubicBezTo>
                        <a:pt x="1803025" y="272958"/>
                        <a:pt x="1800482" y="272044"/>
                        <a:pt x="1795929" y="273310"/>
                      </a:cubicBezTo>
                      <a:cubicBezTo>
                        <a:pt x="1792729" y="274196"/>
                        <a:pt x="1792672" y="275435"/>
                        <a:pt x="1789671" y="275577"/>
                      </a:cubicBezTo>
                      <a:cubicBezTo>
                        <a:pt x="1787300" y="275692"/>
                        <a:pt x="1784814" y="273853"/>
                        <a:pt x="1782375" y="273796"/>
                      </a:cubicBezTo>
                      <a:cubicBezTo>
                        <a:pt x="1780518" y="273758"/>
                        <a:pt x="1776698" y="275673"/>
                        <a:pt x="1775432" y="275435"/>
                      </a:cubicBezTo>
                      <a:cubicBezTo>
                        <a:pt x="1772526" y="274901"/>
                        <a:pt x="1769898" y="271672"/>
                        <a:pt x="1766440" y="270710"/>
                      </a:cubicBezTo>
                      <a:cubicBezTo>
                        <a:pt x="1768983" y="266300"/>
                        <a:pt x="1761354" y="265557"/>
                        <a:pt x="1758810" y="267795"/>
                      </a:cubicBezTo>
                      <a:cubicBezTo>
                        <a:pt x="1756791" y="262871"/>
                        <a:pt x="1741684" y="259432"/>
                        <a:pt x="1737798" y="260795"/>
                      </a:cubicBezTo>
                      <a:cubicBezTo>
                        <a:pt x="1736798" y="261147"/>
                        <a:pt x="1737808" y="264157"/>
                        <a:pt x="1736236" y="264871"/>
                      </a:cubicBezTo>
                      <a:cubicBezTo>
                        <a:pt x="1734674" y="265586"/>
                        <a:pt x="1731283" y="264652"/>
                        <a:pt x="1729635" y="264566"/>
                      </a:cubicBezTo>
                      <a:cubicBezTo>
                        <a:pt x="1726264" y="264395"/>
                        <a:pt x="1721787" y="265528"/>
                        <a:pt x="1718634" y="264852"/>
                      </a:cubicBezTo>
                      <a:cubicBezTo>
                        <a:pt x="1716281" y="264357"/>
                        <a:pt x="1714643" y="261566"/>
                        <a:pt x="1712176" y="260899"/>
                      </a:cubicBezTo>
                      <a:cubicBezTo>
                        <a:pt x="1709643" y="260213"/>
                        <a:pt x="1707214" y="261985"/>
                        <a:pt x="1704499" y="261318"/>
                      </a:cubicBezTo>
                      <a:cubicBezTo>
                        <a:pt x="1701870" y="260680"/>
                        <a:pt x="1699365" y="257794"/>
                        <a:pt x="1696869" y="256699"/>
                      </a:cubicBezTo>
                      <a:cubicBezTo>
                        <a:pt x="1692726" y="254880"/>
                        <a:pt x="1687154" y="255737"/>
                        <a:pt x="1684334" y="251879"/>
                      </a:cubicBezTo>
                      <a:cubicBezTo>
                        <a:pt x="1683991" y="252289"/>
                        <a:pt x="1681572" y="254927"/>
                        <a:pt x="1680810" y="253889"/>
                      </a:cubicBezTo>
                      <a:cubicBezTo>
                        <a:pt x="1679191" y="251698"/>
                        <a:pt x="1682077" y="251041"/>
                        <a:pt x="1681229" y="249593"/>
                      </a:cubicBezTo>
                      <a:cubicBezTo>
                        <a:pt x="1679772" y="247088"/>
                        <a:pt x="1671066" y="246193"/>
                        <a:pt x="1670961" y="242764"/>
                      </a:cubicBezTo>
                      <a:cubicBezTo>
                        <a:pt x="1670980" y="243288"/>
                        <a:pt x="1678572" y="238516"/>
                        <a:pt x="1679400" y="237296"/>
                      </a:cubicBezTo>
                      <a:cubicBezTo>
                        <a:pt x="1681610" y="234077"/>
                        <a:pt x="1682344" y="227257"/>
                        <a:pt x="1683172" y="223409"/>
                      </a:cubicBezTo>
                      <a:cubicBezTo>
                        <a:pt x="1684401" y="217780"/>
                        <a:pt x="1683372" y="203368"/>
                        <a:pt x="1690726" y="201825"/>
                      </a:cubicBezTo>
                      <a:cubicBezTo>
                        <a:pt x="1690050" y="201044"/>
                        <a:pt x="1689373" y="200263"/>
                        <a:pt x="1688697" y="199482"/>
                      </a:cubicBezTo>
                      <a:cubicBezTo>
                        <a:pt x="1688021" y="200530"/>
                        <a:pt x="1686716" y="201397"/>
                        <a:pt x="1686192" y="202549"/>
                      </a:cubicBezTo>
                      <a:cubicBezTo>
                        <a:pt x="1687173" y="193215"/>
                        <a:pt x="1687868" y="184223"/>
                        <a:pt x="1690802" y="175279"/>
                      </a:cubicBezTo>
                      <a:cubicBezTo>
                        <a:pt x="1693993" y="177165"/>
                        <a:pt x="1697422" y="179261"/>
                        <a:pt x="1699289" y="182518"/>
                      </a:cubicBezTo>
                      <a:cubicBezTo>
                        <a:pt x="1701489" y="186347"/>
                        <a:pt x="1700165" y="190062"/>
                        <a:pt x="1705004" y="192043"/>
                      </a:cubicBezTo>
                      <a:cubicBezTo>
                        <a:pt x="1700956" y="187985"/>
                        <a:pt x="1701956" y="181842"/>
                        <a:pt x="1698555" y="177317"/>
                      </a:cubicBezTo>
                      <a:cubicBezTo>
                        <a:pt x="1695517" y="173269"/>
                        <a:pt x="1688487" y="172993"/>
                        <a:pt x="1687392" y="167783"/>
                      </a:cubicBezTo>
                      <a:cubicBezTo>
                        <a:pt x="1689040" y="168288"/>
                        <a:pt x="1690497" y="167811"/>
                        <a:pt x="1692154" y="168726"/>
                      </a:cubicBezTo>
                      <a:cubicBezTo>
                        <a:pt x="1690078" y="164125"/>
                        <a:pt x="1691983" y="153867"/>
                        <a:pt x="1689211" y="150752"/>
                      </a:cubicBezTo>
                      <a:cubicBezTo>
                        <a:pt x="1688582" y="150038"/>
                        <a:pt x="1683410" y="149714"/>
                        <a:pt x="1682087" y="149238"/>
                      </a:cubicBezTo>
                      <a:cubicBezTo>
                        <a:pt x="1677191" y="147476"/>
                        <a:pt x="1673847" y="145075"/>
                        <a:pt x="1670476" y="141665"/>
                      </a:cubicBezTo>
                      <a:cubicBezTo>
                        <a:pt x="1664399" y="135541"/>
                        <a:pt x="1665208" y="132055"/>
                        <a:pt x="1664627" y="125549"/>
                      </a:cubicBezTo>
                      <a:cubicBezTo>
                        <a:pt x="1664532" y="124454"/>
                        <a:pt x="1659188" y="123530"/>
                        <a:pt x="1663998" y="120787"/>
                      </a:cubicBezTo>
                      <a:cubicBezTo>
                        <a:pt x="1666513" y="119348"/>
                        <a:pt x="1671171" y="121606"/>
                        <a:pt x="1673657" y="122272"/>
                      </a:cubicBezTo>
                      <a:cubicBezTo>
                        <a:pt x="1667790" y="119405"/>
                        <a:pt x="1666447" y="120091"/>
                        <a:pt x="1660131" y="120034"/>
                      </a:cubicBezTo>
                      <a:cubicBezTo>
                        <a:pt x="1657245" y="120015"/>
                        <a:pt x="1655007" y="120644"/>
                        <a:pt x="1653245" y="118148"/>
                      </a:cubicBezTo>
                      <a:cubicBezTo>
                        <a:pt x="1651635" y="115862"/>
                        <a:pt x="1657312" y="115900"/>
                        <a:pt x="1654226" y="112957"/>
                      </a:cubicBezTo>
                      <a:cubicBezTo>
                        <a:pt x="1652578" y="111385"/>
                        <a:pt x="1647758" y="112776"/>
                        <a:pt x="1645949" y="112147"/>
                      </a:cubicBezTo>
                      <a:cubicBezTo>
                        <a:pt x="1646520" y="111471"/>
                        <a:pt x="1647101" y="110785"/>
                        <a:pt x="1647673" y="110109"/>
                      </a:cubicBezTo>
                      <a:cubicBezTo>
                        <a:pt x="1640662" y="108614"/>
                        <a:pt x="1634157" y="107299"/>
                        <a:pt x="1627356" y="105347"/>
                      </a:cubicBezTo>
                      <a:cubicBezTo>
                        <a:pt x="1621050" y="103546"/>
                        <a:pt x="1615288" y="104251"/>
                        <a:pt x="1609544" y="103251"/>
                      </a:cubicBezTo>
                      <a:cubicBezTo>
                        <a:pt x="1604277" y="102337"/>
                        <a:pt x="1602600" y="98298"/>
                        <a:pt x="1596781" y="96326"/>
                      </a:cubicBezTo>
                      <a:cubicBezTo>
                        <a:pt x="1599448" y="93859"/>
                        <a:pt x="1603315" y="94831"/>
                        <a:pt x="1606087" y="92212"/>
                      </a:cubicBezTo>
                      <a:cubicBezTo>
                        <a:pt x="1603458" y="91307"/>
                        <a:pt x="1601391" y="90402"/>
                        <a:pt x="1599695" y="88430"/>
                      </a:cubicBezTo>
                      <a:cubicBezTo>
                        <a:pt x="1602429" y="87925"/>
                        <a:pt x="1605477" y="88430"/>
                        <a:pt x="1608506" y="88011"/>
                      </a:cubicBezTo>
                      <a:cubicBezTo>
                        <a:pt x="1605058" y="84839"/>
                        <a:pt x="1590942" y="88506"/>
                        <a:pt x="1596181" y="80562"/>
                      </a:cubicBezTo>
                      <a:cubicBezTo>
                        <a:pt x="1600486" y="74038"/>
                        <a:pt x="1615354" y="76562"/>
                        <a:pt x="1621669" y="75314"/>
                      </a:cubicBezTo>
                      <a:cubicBezTo>
                        <a:pt x="1631052" y="73466"/>
                        <a:pt x="1635328" y="68485"/>
                        <a:pt x="1643996" y="75638"/>
                      </a:cubicBezTo>
                      <a:cubicBezTo>
                        <a:pt x="1650321" y="80867"/>
                        <a:pt x="1647673" y="79591"/>
                        <a:pt x="1655121" y="77505"/>
                      </a:cubicBezTo>
                      <a:cubicBezTo>
                        <a:pt x="1658531" y="76543"/>
                        <a:pt x="1664989" y="75962"/>
                        <a:pt x="1667313" y="79238"/>
                      </a:cubicBezTo>
                      <a:cubicBezTo>
                        <a:pt x="1668999" y="74162"/>
                        <a:pt x="1678096" y="78162"/>
                        <a:pt x="1683753" y="77019"/>
                      </a:cubicBezTo>
                      <a:cubicBezTo>
                        <a:pt x="1677829" y="74657"/>
                        <a:pt x="1679248" y="69971"/>
                        <a:pt x="1678657" y="64770"/>
                      </a:cubicBezTo>
                      <a:cubicBezTo>
                        <a:pt x="1678019" y="59150"/>
                        <a:pt x="1676314" y="57502"/>
                        <a:pt x="1673657" y="52464"/>
                      </a:cubicBezTo>
                      <a:cubicBezTo>
                        <a:pt x="1672066" y="49444"/>
                        <a:pt x="1669857" y="46482"/>
                        <a:pt x="1672619" y="44567"/>
                      </a:cubicBezTo>
                      <a:cubicBezTo>
                        <a:pt x="1673600" y="43891"/>
                        <a:pt x="1685620" y="43825"/>
                        <a:pt x="1686411" y="44425"/>
                      </a:cubicBezTo>
                      <a:cubicBezTo>
                        <a:pt x="1688582" y="46082"/>
                        <a:pt x="1686963" y="51740"/>
                        <a:pt x="1690726" y="53826"/>
                      </a:cubicBezTo>
                      <a:cubicBezTo>
                        <a:pt x="1693917" y="55597"/>
                        <a:pt x="1702470" y="54435"/>
                        <a:pt x="1706204" y="54912"/>
                      </a:cubicBezTo>
                      <a:cubicBezTo>
                        <a:pt x="1715100" y="56026"/>
                        <a:pt x="1723301" y="56026"/>
                        <a:pt x="1731178" y="51149"/>
                      </a:cubicBezTo>
                      <a:cubicBezTo>
                        <a:pt x="1727302" y="52016"/>
                        <a:pt x="1722587" y="51435"/>
                        <a:pt x="1723044" y="47111"/>
                      </a:cubicBezTo>
                      <a:cubicBezTo>
                        <a:pt x="1723539" y="42424"/>
                        <a:pt x="1732074" y="40015"/>
                        <a:pt x="1735722" y="38872"/>
                      </a:cubicBezTo>
                      <a:cubicBezTo>
                        <a:pt x="1740923" y="37243"/>
                        <a:pt x="1746599" y="37386"/>
                        <a:pt x="1751562" y="34757"/>
                      </a:cubicBezTo>
                      <a:cubicBezTo>
                        <a:pt x="1755562" y="32642"/>
                        <a:pt x="1757239" y="28842"/>
                        <a:pt x="1760887" y="26613"/>
                      </a:cubicBezTo>
                      <a:cubicBezTo>
                        <a:pt x="1758239" y="21936"/>
                        <a:pt x="1759210" y="10287"/>
                        <a:pt x="1763316" y="6277"/>
                      </a:cubicBezTo>
                      <a:cubicBezTo>
                        <a:pt x="1768783" y="933"/>
                        <a:pt x="1778146" y="3258"/>
                        <a:pt x="1784499" y="0"/>
                      </a:cubicBezTo>
                      <a:cubicBezTo>
                        <a:pt x="1787214" y="4601"/>
                        <a:pt x="1785366" y="7287"/>
                        <a:pt x="1790662" y="10897"/>
                      </a:cubicBezTo>
                      <a:lnTo>
                        <a:pt x="1790662" y="10897"/>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53" name="Freeform: Shape 652">
                  <a:extLst>
                    <a:ext uri="{FF2B5EF4-FFF2-40B4-BE49-F238E27FC236}">
                      <a16:creationId xmlns:a16="http://schemas.microsoft.com/office/drawing/2014/main" id="{477BBA4B-24BB-444C-A514-94AB8BD920B9}"/>
                    </a:ext>
                  </a:extLst>
                </p:cNvPr>
                <p:cNvSpPr/>
                <p:nvPr/>
              </p:nvSpPr>
              <p:spPr>
                <a:xfrm>
                  <a:off x="4043076" y="5979897"/>
                  <a:ext cx="75170" cy="32709"/>
                </a:xfrm>
                <a:custGeom>
                  <a:avLst/>
                  <a:gdLst>
                    <a:gd name="connsiteX0" fmla="*/ 9420 w 75170"/>
                    <a:gd name="connsiteY0" fmla="*/ 6039 h 32709"/>
                    <a:gd name="connsiteX1" fmla="*/ 19507 w 75170"/>
                    <a:gd name="connsiteY1" fmla="*/ 4058 h 32709"/>
                    <a:gd name="connsiteX2" fmla="*/ 29528 w 75170"/>
                    <a:gd name="connsiteY2" fmla="*/ 4286 h 32709"/>
                    <a:gd name="connsiteX3" fmla="*/ 30852 w 75170"/>
                    <a:gd name="connsiteY3" fmla="*/ 12097 h 32709"/>
                    <a:gd name="connsiteX4" fmla="*/ 24917 w 75170"/>
                    <a:gd name="connsiteY4" fmla="*/ 22174 h 32709"/>
                    <a:gd name="connsiteX5" fmla="*/ 17288 w 75170"/>
                    <a:gd name="connsiteY5" fmla="*/ 23956 h 32709"/>
                    <a:gd name="connsiteX6" fmla="*/ 12125 w 75170"/>
                    <a:gd name="connsiteY6" fmla="*/ 29070 h 32709"/>
                    <a:gd name="connsiteX7" fmla="*/ 0 w 75170"/>
                    <a:gd name="connsiteY7" fmla="*/ 24803 h 32709"/>
                    <a:gd name="connsiteX8" fmla="*/ 14221 w 75170"/>
                    <a:gd name="connsiteY8" fmla="*/ 16269 h 32709"/>
                    <a:gd name="connsiteX9" fmla="*/ 5124 w 75170"/>
                    <a:gd name="connsiteY9" fmla="*/ 13945 h 32709"/>
                    <a:gd name="connsiteX10" fmla="*/ 12763 w 75170"/>
                    <a:gd name="connsiteY10" fmla="*/ 11621 h 32709"/>
                    <a:gd name="connsiteX11" fmla="*/ 857 w 75170"/>
                    <a:gd name="connsiteY11" fmla="*/ 2762 h 32709"/>
                    <a:gd name="connsiteX12" fmla="*/ 9420 w 75170"/>
                    <a:gd name="connsiteY12" fmla="*/ 6039 h 32709"/>
                    <a:gd name="connsiteX13" fmla="*/ 9420 w 75170"/>
                    <a:gd name="connsiteY13" fmla="*/ 6039 h 32709"/>
                    <a:gd name="connsiteX14" fmla="*/ 43710 w 75170"/>
                    <a:gd name="connsiteY14" fmla="*/ 0 h 32709"/>
                    <a:gd name="connsiteX15" fmla="*/ 56931 w 75170"/>
                    <a:gd name="connsiteY15" fmla="*/ 4667 h 32709"/>
                    <a:gd name="connsiteX16" fmla="*/ 54131 w 75170"/>
                    <a:gd name="connsiteY16" fmla="*/ 4848 h 32709"/>
                    <a:gd name="connsiteX17" fmla="*/ 63341 w 75170"/>
                    <a:gd name="connsiteY17" fmla="*/ 9716 h 32709"/>
                    <a:gd name="connsiteX18" fmla="*/ 73466 w 75170"/>
                    <a:gd name="connsiteY18" fmla="*/ 7811 h 32709"/>
                    <a:gd name="connsiteX19" fmla="*/ 70399 w 75170"/>
                    <a:gd name="connsiteY19" fmla="*/ 9878 h 32709"/>
                    <a:gd name="connsiteX20" fmla="*/ 75162 w 75170"/>
                    <a:gd name="connsiteY20" fmla="*/ 12307 h 32709"/>
                    <a:gd name="connsiteX21" fmla="*/ 70418 w 75170"/>
                    <a:gd name="connsiteY21" fmla="*/ 15097 h 32709"/>
                    <a:gd name="connsiteX22" fmla="*/ 56397 w 75170"/>
                    <a:gd name="connsiteY22" fmla="*/ 20993 h 32709"/>
                    <a:gd name="connsiteX23" fmla="*/ 59246 w 75170"/>
                    <a:gd name="connsiteY23" fmla="*/ 26118 h 32709"/>
                    <a:gd name="connsiteX24" fmla="*/ 44396 w 75170"/>
                    <a:gd name="connsiteY24" fmla="*/ 23546 h 32709"/>
                    <a:gd name="connsiteX25" fmla="*/ 49644 w 75170"/>
                    <a:gd name="connsiteY25" fmla="*/ 28451 h 32709"/>
                    <a:gd name="connsiteX26" fmla="*/ 43062 w 75170"/>
                    <a:gd name="connsiteY26" fmla="*/ 32709 h 32709"/>
                    <a:gd name="connsiteX27" fmla="*/ 34385 w 75170"/>
                    <a:gd name="connsiteY27" fmla="*/ 27222 h 32709"/>
                    <a:gd name="connsiteX28" fmla="*/ 33661 w 75170"/>
                    <a:gd name="connsiteY28" fmla="*/ 20650 h 32709"/>
                    <a:gd name="connsiteX29" fmla="*/ 43615 w 75170"/>
                    <a:gd name="connsiteY29" fmla="*/ 13088 h 32709"/>
                    <a:gd name="connsiteX30" fmla="*/ 40205 w 75170"/>
                    <a:gd name="connsiteY30" fmla="*/ 6973 h 32709"/>
                    <a:gd name="connsiteX31" fmla="*/ 42005 w 75170"/>
                    <a:gd name="connsiteY31" fmla="*/ 67 h 32709"/>
                    <a:gd name="connsiteX32" fmla="*/ 43710 w 75170"/>
                    <a:gd name="connsiteY32" fmla="*/ 0 h 32709"/>
                    <a:gd name="connsiteX33" fmla="*/ 43710 w 75170"/>
                    <a:gd name="connsiteY33" fmla="*/ 0 h 32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5170" h="32709">
                      <a:moveTo>
                        <a:pt x="9420" y="6039"/>
                      </a:moveTo>
                      <a:cubicBezTo>
                        <a:pt x="12811" y="7429"/>
                        <a:pt x="16193" y="4591"/>
                        <a:pt x="19507" y="4058"/>
                      </a:cubicBezTo>
                      <a:cubicBezTo>
                        <a:pt x="21365" y="3772"/>
                        <a:pt x="27127" y="4420"/>
                        <a:pt x="29528" y="4286"/>
                      </a:cubicBezTo>
                      <a:cubicBezTo>
                        <a:pt x="37129" y="3877"/>
                        <a:pt x="34166" y="6725"/>
                        <a:pt x="30852" y="12097"/>
                      </a:cubicBezTo>
                      <a:cubicBezTo>
                        <a:pt x="29137" y="14878"/>
                        <a:pt x="27842" y="20574"/>
                        <a:pt x="24917" y="22174"/>
                      </a:cubicBezTo>
                      <a:cubicBezTo>
                        <a:pt x="22212" y="23651"/>
                        <a:pt x="18888" y="22927"/>
                        <a:pt x="17288" y="23956"/>
                      </a:cubicBezTo>
                      <a:cubicBezTo>
                        <a:pt x="14887" y="25489"/>
                        <a:pt x="16297" y="28337"/>
                        <a:pt x="12125" y="29070"/>
                      </a:cubicBezTo>
                      <a:cubicBezTo>
                        <a:pt x="7953" y="29804"/>
                        <a:pt x="3324" y="26889"/>
                        <a:pt x="0" y="24803"/>
                      </a:cubicBezTo>
                      <a:cubicBezTo>
                        <a:pt x="2677" y="20260"/>
                        <a:pt x="13383" y="22079"/>
                        <a:pt x="14221" y="16269"/>
                      </a:cubicBezTo>
                      <a:cubicBezTo>
                        <a:pt x="14792" y="12316"/>
                        <a:pt x="7534" y="15802"/>
                        <a:pt x="5124" y="13945"/>
                      </a:cubicBezTo>
                      <a:cubicBezTo>
                        <a:pt x="7639" y="13392"/>
                        <a:pt x="10516" y="13049"/>
                        <a:pt x="12763" y="11621"/>
                      </a:cubicBezTo>
                      <a:cubicBezTo>
                        <a:pt x="8639" y="8039"/>
                        <a:pt x="3924" y="7573"/>
                        <a:pt x="857" y="2762"/>
                      </a:cubicBezTo>
                      <a:cubicBezTo>
                        <a:pt x="3734" y="3429"/>
                        <a:pt x="6429" y="5039"/>
                        <a:pt x="9420" y="6039"/>
                      </a:cubicBezTo>
                      <a:lnTo>
                        <a:pt x="9420" y="6039"/>
                      </a:lnTo>
                      <a:close/>
                      <a:moveTo>
                        <a:pt x="43710" y="0"/>
                      </a:moveTo>
                      <a:cubicBezTo>
                        <a:pt x="47653" y="2381"/>
                        <a:pt x="56359" y="-752"/>
                        <a:pt x="56931" y="4667"/>
                      </a:cubicBezTo>
                      <a:cubicBezTo>
                        <a:pt x="55874" y="4610"/>
                        <a:pt x="55112" y="4810"/>
                        <a:pt x="54131" y="4848"/>
                      </a:cubicBezTo>
                      <a:cubicBezTo>
                        <a:pt x="55683" y="8315"/>
                        <a:pt x="59931" y="8935"/>
                        <a:pt x="63341" y="9716"/>
                      </a:cubicBezTo>
                      <a:cubicBezTo>
                        <a:pt x="54997" y="3077"/>
                        <a:pt x="68818" y="3220"/>
                        <a:pt x="73466" y="7811"/>
                      </a:cubicBezTo>
                      <a:cubicBezTo>
                        <a:pt x="71256" y="8354"/>
                        <a:pt x="71666" y="9163"/>
                        <a:pt x="70399" y="9878"/>
                      </a:cubicBezTo>
                      <a:cubicBezTo>
                        <a:pt x="71885" y="9906"/>
                        <a:pt x="75371" y="10830"/>
                        <a:pt x="75162" y="12307"/>
                      </a:cubicBezTo>
                      <a:cubicBezTo>
                        <a:pt x="74762" y="15154"/>
                        <a:pt x="72619" y="13773"/>
                        <a:pt x="70418" y="15097"/>
                      </a:cubicBezTo>
                      <a:cubicBezTo>
                        <a:pt x="66142" y="17650"/>
                        <a:pt x="61779" y="19450"/>
                        <a:pt x="56397" y="20993"/>
                      </a:cubicBezTo>
                      <a:cubicBezTo>
                        <a:pt x="58379" y="22651"/>
                        <a:pt x="58426" y="23822"/>
                        <a:pt x="59246" y="26118"/>
                      </a:cubicBezTo>
                      <a:cubicBezTo>
                        <a:pt x="54435" y="25080"/>
                        <a:pt x="49254" y="23174"/>
                        <a:pt x="44396" y="23546"/>
                      </a:cubicBezTo>
                      <a:cubicBezTo>
                        <a:pt x="46149" y="25184"/>
                        <a:pt x="47892" y="26813"/>
                        <a:pt x="49644" y="28451"/>
                      </a:cubicBezTo>
                      <a:cubicBezTo>
                        <a:pt x="46320" y="29385"/>
                        <a:pt x="41758" y="27442"/>
                        <a:pt x="43062" y="32709"/>
                      </a:cubicBezTo>
                      <a:cubicBezTo>
                        <a:pt x="41024" y="31823"/>
                        <a:pt x="35605" y="29394"/>
                        <a:pt x="34385" y="27222"/>
                      </a:cubicBezTo>
                      <a:cubicBezTo>
                        <a:pt x="32814" y="24403"/>
                        <a:pt x="35614" y="23308"/>
                        <a:pt x="33661" y="20650"/>
                      </a:cubicBezTo>
                      <a:cubicBezTo>
                        <a:pt x="34204" y="20136"/>
                        <a:pt x="43672" y="12897"/>
                        <a:pt x="43615" y="13088"/>
                      </a:cubicBezTo>
                      <a:cubicBezTo>
                        <a:pt x="43882" y="12097"/>
                        <a:pt x="40310" y="8411"/>
                        <a:pt x="40205" y="6973"/>
                      </a:cubicBezTo>
                      <a:cubicBezTo>
                        <a:pt x="39929" y="3162"/>
                        <a:pt x="46425" y="4734"/>
                        <a:pt x="42005" y="67"/>
                      </a:cubicBezTo>
                      <a:cubicBezTo>
                        <a:pt x="42577" y="48"/>
                        <a:pt x="43148" y="19"/>
                        <a:pt x="43710" y="0"/>
                      </a:cubicBezTo>
                      <a:lnTo>
                        <a:pt x="43710" y="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54" name="Freeform: Shape 653">
                  <a:extLst>
                    <a:ext uri="{FF2B5EF4-FFF2-40B4-BE49-F238E27FC236}">
                      <a16:creationId xmlns:a16="http://schemas.microsoft.com/office/drawing/2014/main" id="{894F1EE8-6E45-47BE-9A3D-B29901AD44DD}"/>
                    </a:ext>
                  </a:extLst>
                </p:cNvPr>
                <p:cNvSpPr/>
                <p:nvPr/>
              </p:nvSpPr>
              <p:spPr>
                <a:xfrm>
                  <a:off x="6034610" y="2158117"/>
                  <a:ext cx="280922" cy="322400"/>
                </a:xfrm>
                <a:custGeom>
                  <a:avLst/>
                  <a:gdLst>
                    <a:gd name="connsiteX0" fmla="*/ 152010 w 280922"/>
                    <a:gd name="connsiteY0" fmla="*/ 2664 h 322400"/>
                    <a:gd name="connsiteX1" fmla="*/ 178670 w 280922"/>
                    <a:gd name="connsiteY1" fmla="*/ 13551 h 322400"/>
                    <a:gd name="connsiteX2" fmla="*/ 178518 w 280922"/>
                    <a:gd name="connsiteY2" fmla="*/ 32582 h 322400"/>
                    <a:gd name="connsiteX3" fmla="*/ 167574 w 280922"/>
                    <a:gd name="connsiteY3" fmla="*/ 36297 h 322400"/>
                    <a:gd name="connsiteX4" fmla="*/ 173107 w 280922"/>
                    <a:gd name="connsiteY4" fmla="*/ 45251 h 322400"/>
                    <a:gd name="connsiteX5" fmla="*/ 182966 w 280922"/>
                    <a:gd name="connsiteY5" fmla="*/ 59938 h 322400"/>
                    <a:gd name="connsiteX6" fmla="*/ 194577 w 280922"/>
                    <a:gd name="connsiteY6" fmla="*/ 63491 h 322400"/>
                    <a:gd name="connsiteX7" fmla="*/ 204473 w 280922"/>
                    <a:gd name="connsiteY7" fmla="*/ 71101 h 322400"/>
                    <a:gd name="connsiteX8" fmla="*/ 204692 w 280922"/>
                    <a:gd name="connsiteY8" fmla="*/ 85656 h 322400"/>
                    <a:gd name="connsiteX9" fmla="*/ 196882 w 280922"/>
                    <a:gd name="connsiteY9" fmla="*/ 100362 h 322400"/>
                    <a:gd name="connsiteX10" fmla="*/ 210703 w 280922"/>
                    <a:gd name="connsiteY10" fmla="*/ 114583 h 322400"/>
                    <a:gd name="connsiteX11" fmla="*/ 223409 w 280922"/>
                    <a:gd name="connsiteY11" fmla="*/ 128985 h 322400"/>
                    <a:gd name="connsiteX12" fmla="*/ 228086 w 280922"/>
                    <a:gd name="connsiteY12" fmla="*/ 137110 h 322400"/>
                    <a:gd name="connsiteX13" fmla="*/ 220161 w 280922"/>
                    <a:gd name="connsiteY13" fmla="*/ 139605 h 322400"/>
                    <a:gd name="connsiteX14" fmla="*/ 220542 w 280922"/>
                    <a:gd name="connsiteY14" fmla="*/ 151445 h 322400"/>
                    <a:gd name="connsiteX15" fmla="*/ 226143 w 280922"/>
                    <a:gd name="connsiteY15" fmla="*/ 155588 h 322400"/>
                    <a:gd name="connsiteX16" fmla="*/ 223114 w 280922"/>
                    <a:gd name="connsiteY16" fmla="*/ 161160 h 322400"/>
                    <a:gd name="connsiteX17" fmla="*/ 235106 w 280922"/>
                    <a:gd name="connsiteY17" fmla="*/ 167190 h 322400"/>
                    <a:gd name="connsiteX18" fmla="*/ 234353 w 280922"/>
                    <a:gd name="connsiteY18" fmla="*/ 174000 h 322400"/>
                    <a:gd name="connsiteX19" fmla="*/ 245336 w 280922"/>
                    <a:gd name="connsiteY19" fmla="*/ 181877 h 322400"/>
                    <a:gd name="connsiteX20" fmla="*/ 240373 w 280922"/>
                    <a:gd name="connsiteY20" fmla="*/ 199118 h 322400"/>
                    <a:gd name="connsiteX21" fmla="*/ 273510 w 280922"/>
                    <a:gd name="connsiteY21" fmla="*/ 217815 h 322400"/>
                    <a:gd name="connsiteX22" fmla="*/ 280807 w 280922"/>
                    <a:gd name="connsiteY22" fmla="*/ 228893 h 322400"/>
                    <a:gd name="connsiteX23" fmla="*/ 271986 w 280922"/>
                    <a:gd name="connsiteY23" fmla="*/ 244066 h 322400"/>
                    <a:gd name="connsiteX24" fmla="*/ 245202 w 280922"/>
                    <a:gd name="connsiteY24" fmla="*/ 271650 h 322400"/>
                    <a:gd name="connsiteX25" fmla="*/ 217951 w 280922"/>
                    <a:gd name="connsiteY25" fmla="*/ 294358 h 322400"/>
                    <a:gd name="connsiteX26" fmla="*/ 200920 w 280922"/>
                    <a:gd name="connsiteY26" fmla="*/ 300568 h 322400"/>
                    <a:gd name="connsiteX27" fmla="*/ 183261 w 280922"/>
                    <a:gd name="connsiteY27" fmla="*/ 303778 h 322400"/>
                    <a:gd name="connsiteX28" fmla="*/ 183585 w 280922"/>
                    <a:gd name="connsiteY28" fmla="*/ 297006 h 322400"/>
                    <a:gd name="connsiteX29" fmla="*/ 178994 w 280922"/>
                    <a:gd name="connsiteY29" fmla="*/ 303502 h 322400"/>
                    <a:gd name="connsiteX30" fmla="*/ 169269 w 280922"/>
                    <a:gd name="connsiteY30" fmla="*/ 301854 h 322400"/>
                    <a:gd name="connsiteX31" fmla="*/ 171965 w 280922"/>
                    <a:gd name="connsiteY31" fmla="*/ 306036 h 322400"/>
                    <a:gd name="connsiteX32" fmla="*/ 165383 w 280922"/>
                    <a:gd name="connsiteY32" fmla="*/ 308369 h 322400"/>
                    <a:gd name="connsiteX33" fmla="*/ 161906 w 280922"/>
                    <a:gd name="connsiteY33" fmla="*/ 306779 h 322400"/>
                    <a:gd name="connsiteX34" fmla="*/ 158810 w 280922"/>
                    <a:gd name="connsiteY34" fmla="*/ 308569 h 322400"/>
                    <a:gd name="connsiteX35" fmla="*/ 139132 w 280922"/>
                    <a:gd name="connsiteY35" fmla="*/ 313732 h 322400"/>
                    <a:gd name="connsiteX36" fmla="*/ 120167 w 280922"/>
                    <a:gd name="connsiteY36" fmla="*/ 317770 h 322400"/>
                    <a:gd name="connsiteX37" fmla="*/ 110109 w 280922"/>
                    <a:gd name="connsiteY37" fmla="*/ 319466 h 322400"/>
                    <a:gd name="connsiteX38" fmla="*/ 102470 w 280922"/>
                    <a:gd name="connsiteY38" fmla="*/ 322266 h 322400"/>
                    <a:gd name="connsiteX39" fmla="*/ 101698 w 280922"/>
                    <a:gd name="connsiteY39" fmla="*/ 313694 h 322400"/>
                    <a:gd name="connsiteX40" fmla="*/ 96155 w 280922"/>
                    <a:gd name="connsiteY40" fmla="*/ 314989 h 322400"/>
                    <a:gd name="connsiteX41" fmla="*/ 88373 w 280922"/>
                    <a:gd name="connsiteY41" fmla="*/ 311855 h 322400"/>
                    <a:gd name="connsiteX42" fmla="*/ 91459 w 280922"/>
                    <a:gd name="connsiteY42" fmla="*/ 309598 h 322400"/>
                    <a:gd name="connsiteX43" fmla="*/ 90516 w 280922"/>
                    <a:gd name="connsiteY43" fmla="*/ 304807 h 322400"/>
                    <a:gd name="connsiteX44" fmla="*/ 74086 w 280922"/>
                    <a:gd name="connsiteY44" fmla="*/ 300997 h 322400"/>
                    <a:gd name="connsiteX45" fmla="*/ 71047 w 280922"/>
                    <a:gd name="connsiteY45" fmla="*/ 298082 h 322400"/>
                    <a:gd name="connsiteX46" fmla="*/ 68075 w 280922"/>
                    <a:gd name="connsiteY46" fmla="*/ 299263 h 322400"/>
                    <a:gd name="connsiteX47" fmla="*/ 61960 w 280922"/>
                    <a:gd name="connsiteY47" fmla="*/ 297387 h 322400"/>
                    <a:gd name="connsiteX48" fmla="*/ 59427 w 280922"/>
                    <a:gd name="connsiteY48" fmla="*/ 270050 h 322400"/>
                    <a:gd name="connsiteX49" fmla="*/ 60798 w 280922"/>
                    <a:gd name="connsiteY49" fmla="*/ 270050 h 322400"/>
                    <a:gd name="connsiteX50" fmla="*/ 58893 w 280922"/>
                    <a:gd name="connsiteY50" fmla="*/ 267917 h 322400"/>
                    <a:gd name="connsiteX51" fmla="*/ 56245 w 280922"/>
                    <a:gd name="connsiteY51" fmla="*/ 258887 h 322400"/>
                    <a:gd name="connsiteX52" fmla="*/ 51216 w 280922"/>
                    <a:gd name="connsiteY52" fmla="*/ 252191 h 322400"/>
                    <a:gd name="connsiteX53" fmla="*/ 51540 w 280922"/>
                    <a:gd name="connsiteY53" fmla="*/ 245057 h 322400"/>
                    <a:gd name="connsiteX54" fmla="*/ 44377 w 280922"/>
                    <a:gd name="connsiteY54" fmla="*/ 231283 h 322400"/>
                    <a:gd name="connsiteX55" fmla="*/ 54607 w 280922"/>
                    <a:gd name="connsiteY55" fmla="*/ 221054 h 322400"/>
                    <a:gd name="connsiteX56" fmla="*/ 51311 w 280922"/>
                    <a:gd name="connsiteY56" fmla="*/ 215862 h 322400"/>
                    <a:gd name="connsiteX57" fmla="*/ 65980 w 280922"/>
                    <a:gd name="connsiteY57" fmla="*/ 208500 h 322400"/>
                    <a:gd name="connsiteX58" fmla="*/ 68304 w 280922"/>
                    <a:gd name="connsiteY58" fmla="*/ 208357 h 322400"/>
                    <a:gd name="connsiteX59" fmla="*/ 67332 w 280922"/>
                    <a:gd name="connsiteY59" fmla="*/ 206404 h 322400"/>
                    <a:gd name="connsiteX60" fmla="*/ 72676 w 280922"/>
                    <a:gd name="connsiteY60" fmla="*/ 201594 h 322400"/>
                    <a:gd name="connsiteX61" fmla="*/ 82620 w 280922"/>
                    <a:gd name="connsiteY61" fmla="*/ 195727 h 322400"/>
                    <a:gd name="connsiteX62" fmla="*/ 98374 w 280922"/>
                    <a:gd name="connsiteY62" fmla="*/ 182534 h 322400"/>
                    <a:gd name="connsiteX63" fmla="*/ 110280 w 280922"/>
                    <a:gd name="connsiteY63" fmla="*/ 167047 h 322400"/>
                    <a:gd name="connsiteX64" fmla="*/ 126483 w 280922"/>
                    <a:gd name="connsiteY64" fmla="*/ 163694 h 322400"/>
                    <a:gd name="connsiteX65" fmla="*/ 124568 w 280922"/>
                    <a:gd name="connsiteY65" fmla="*/ 160837 h 322400"/>
                    <a:gd name="connsiteX66" fmla="*/ 125606 w 280922"/>
                    <a:gd name="connsiteY66" fmla="*/ 155836 h 322400"/>
                    <a:gd name="connsiteX67" fmla="*/ 123215 w 280922"/>
                    <a:gd name="connsiteY67" fmla="*/ 143672 h 322400"/>
                    <a:gd name="connsiteX68" fmla="*/ 105518 w 280922"/>
                    <a:gd name="connsiteY68" fmla="*/ 132233 h 322400"/>
                    <a:gd name="connsiteX69" fmla="*/ 91069 w 280922"/>
                    <a:gd name="connsiteY69" fmla="*/ 127023 h 322400"/>
                    <a:gd name="connsiteX70" fmla="*/ 81258 w 280922"/>
                    <a:gd name="connsiteY70" fmla="*/ 115793 h 322400"/>
                    <a:gd name="connsiteX71" fmla="*/ 85363 w 280922"/>
                    <a:gd name="connsiteY71" fmla="*/ 102544 h 322400"/>
                    <a:gd name="connsiteX72" fmla="*/ 75524 w 280922"/>
                    <a:gd name="connsiteY72" fmla="*/ 90923 h 322400"/>
                    <a:gd name="connsiteX73" fmla="*/ 77696 w 280922"/>
                    <a:gd name="connsiteY73" fmla="*/ 86227 h 322400"/>
                    <a:gd name="connsiteX74" fmla="*/ 70752 w 280922"/>
                    <a:gd name="connsiteY74" fmla="*/ 82112 h 322400"/>
                    <a:gd name="connsiteX75" fmla="*/ 68618 w 280922"/>
                    <a:gd name="connsiteY75" fmla="*/ 69339 h 322400"/>
                    <a:gd name="connsiteX76" fmla="*/ 66361 w 280922"/>
                    <a:gd name="connsiteY76" fmla="*/ 63653 h 322400"/>
                    <a:gd name="connsiteX77" fmla="*/ 58817 w 280922"/>
                    <a:gd name="connsiteY77" fmla="*/ 58576 h 322400"/>
                    <a:gd name="connsiteX78" fmla="*/ 37795 w 280922"/>
                    <a:gd name="connsiteY78" fmla="*/ 49842 h 322400"/>
                    <a:gd name="connsiteX79" fmla="*/ 18355 w 280922"/>
                    <a:gd name="connsiteY79" fmla="*/ 41707 h 322400"/>
                    <a:gd name="connsiteX80" fmla="*/ 0 w 280922"/>
                    <a:gd name="connsiteY80" fmla="*/ 32125 h 322400"/>
                    <a:gd name="connsiteX81" fmla="*/ 8458 w 280922"/>
                    <a:gd name="connsiteY81" fmla="*/ 31735 h 322400"/>
                    <a:gd name="connsiteX82" fmla="*/ 8534 w 280922"/>
                    <a:gd name="connsiteY82" fmla="*/ 26544 h 322400"/>
                    <a:gd name="connsiteX83" fmla="*/ 25289 w 280922"/>
                    <a:gd name="connsiteY83" fmla="*/ 28706 h 322400"/>
                    <a:gd name="connsiteX84" fmla="*/ 41520 w 280922"/>
                    <a:gd name="connsiteY84" fmla="*/ 42098 h 322400"/>
                    <a:gd name="connsiteX85" fmla="*/ 61503 w 280922"/>
                    <a:gd name="connsiteY85" fmla="*/ 43889 h 322400"/>
                    <a:gd name="connsiteX86" fmla="*/ 70161 w 280922"/>
                    <a:gd name="connsiteY86" fmla="*/ 39764 h 322400"/>
                    <a:gd name="connsiteX87" fmla="*/ 80305 w 280922"/>
                    <a:gd name="connsiteY87" fmla="*/ 41984 h 322400"/>
                    <a:gd name="connsiteX88" fmla="*/ 89697 w 280922"/>
                    <a:gd name="connsiteY88" fmla="*/ 44222 h 322400"/>
                    <a:gd name="connsiteX89" fmla="*/ 98812 w 280922"/>
                    <a:gd name="connsiteY89" fmla="*/ 41707 h 322400"/>
                    <a:gd name="connsiteX90" fmla="*/ 109852 w 280922"/>
                    <a:gd name="connsiteY90" fmla="*/ 31563 h 322400"/>
                    <a:gd name="connsiteX91" fmla="*/ 111928 w 280922"/>
                    <a:gd name="connsiteY91" fmla="*/ 11799 h 322400"/>
                    <a:gd name="connsiteX92" fmla="*/ 129826 w 280922"/>
                    <a:gd name="connsiteY92" fmla="*/ 4246 h 322400"/>
                    <a:gd name="connsiteX93" fmla="*/ 152010 w 280922"/>
                    <a:gd name="connsiteY93" fmla="*/ 2664 h 322400"/>
                    <a:gd name="connsiteX94" fmla="*/ 152010 w 280922"/>
                    <a:gd name="connsiteY94" fmla="*/ 2664 h 32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280922" h="322400">
                      <a:moveTo>
                        <a:pt x="152010" y="2664"/>
                      </a:moveTo>
                      <a:cubicBezTo>
                        <a:pt x="160144" y="7522"/>
                        <a:pt x="171593" y="8313"/>
                        <a:pt x="178670" y="13551"/>
                      </a:cubicBezTo>
                      <a:cubicBezTo>
                        <a:pt x="189347" y="21448"/>
                        <a:pt x="167364" y="27858"/>
                        <a:pt x="178518" y="32582"/>
                      </a:cubicBezTo>
                      <a:cubicBezTo>
                        <a:pt x="174812" y="33697"/>
                        <a:pt x="171364" y="35516"/>
                        <a:pt x="167574" y="36297"/>
                      </a:cubicBezTo>
                      <a:cubicBezTo>
                        <a:pt x="175879" y="42088"/>
                        <a:pt x="175736" y="33887"/>
                        <a:pt x="173107" y="45251"/>
                      </a:cubicBezTo>
                      <a:cubicBezTo>
                        <a:pt x="171440" y="52423"/>
                        <a:pt x="176156" y="57119"/>
                        <a:pt x="182966" y="59938"/>
                      </a:cubicBezTo>
                      <a:cubicBezTo>
                        <a:pt x="186728" y="61491"/>
                        <a:pt x="191015" y="61557"/>
                        <a:pt x="194577" y="63491"/>
                      </a:cubicBezTo>
                      <a:cubicBezTo>
                        <a:pt x="198025" y="65358"/>
                        <a:pt x="201130" y="68939"/>
                        <a:pt x="204473" y="71101"/>
                      </a:cubicBezTo>
                      <a:cubicBezTo>
                        <a:pt x="212903" y="76550"/>
                        <a:pt x="211055" y="78188"/>
                        <a:pt x="204692" y="85656"/>
                      </a:cubicBezTo>
                      <a:cubicBezTo>
                        <a:pt x="201511" y="89389"/>
                        <a:pt x="195034" y="95200"/>
                        <a:pt x="196882" y="100362"/>
                      </a:cubicBezTo>
                      <a:cubicBezTo>
                        <a:pt x="198396" y="104610"/>
                        <a:pt x="207550" y="110897"/>
                        <a:pt x="210703" y="114583"/>
                      </a:cubicBezTo>
                      <a:cubicBezTo>
                        <a:pt x="214932" y="119536"/>
                        <a:pt x="219608" y="123699"/>
                        <a:pt x="223409" y="128985"/>
                      </a:cubicBezTo>
                      <a:cubicBezTo>
                        <a:pt x="224190" y="130061"/>
                        <a:pt x="228829" y="135119"/>
                        <a:pt x="228086" y="137110"/>
                      </a:cubicBezTo>
                      <a:cubicBezTo>
                        <a:pt x="227419" y="138872"/>
                        <a:pt x="222113" y="138577"/>
                        <a:pt x="220161" y="139605"/>
                      </a:cubicBezTo>
                      <a:cubicBezTo>
                        <a:pt x="226095" y="141682"/>
                        <a:pt x="219027" y="148578"/>
                        <a:pt x="220542" y="151445"/>
                      </a:cubicBezTo>
                      <a:cubicBezTo>
                        <a:pt x="222066" y="154321"/>
                        <a:pt x="225809" y="151169"/>
                        <a:pt x="226143" y="155588"/>
                      </a:cubicBezTo>
                      <a:cubicBezTo>
                        <a:pt x="226305" y="157731"/>
                        <a:pt x="221828" y="157027"/>
                        <a:pt x="223114" y="161160"/>
                      </a:cubicBezTo>
                      <a:cubicBezTo>
                        <a:pt x="224923" y="166990"/>
                        <a:pt x="232381" y="163923"/>
                        <a:pt x="235106" y="167190"/>
                      </a:cubicBezTo>
                      <a:cubicBezTo>
                        <a:pt x="238058" y="170723"/>
                        <a:pt x="233715" y="171019"/>
                        <a:pt x="234353" y="174000"/>
                      </a:cubicBezTo>
                      <a:cubicBezTo>
                        <a:pt x="235572" y="179639"/>
                        <a:pt x="241678" y="179353"/>
                        <a:pt x="245336" y="181877"/>
                      </a:cubicBezTo>
                      <a:cubicBezTo>
                        <a:pt x="253365" y="187411"/>
                        <a:pt x="248441" y="196260"/>
                        <a:pt x="240373" y="199118"/>
                      </a:cubicBezTo>
                      <a:cubicBezTo>
                        <a:pt x="250289" y="207319"/>
                        <a:pt x="263366" y="210205"/>
                        <a:pt x="273510" y="217815"/>
                      </a:cubicBezTo>
                      <a:cubicBezTo>
                        <a:pt x="279140" y="222035"/>
                        <a:pt x="281492" y="222673"/>
                        <a:pt x="280807" y="228893"/>
                      </a:cubicBezTo>
                      <a:cubicBezTo>
                        <a:pt x="280111" y="235170"/>
                        <a:pt x="276358" y="239846"/>
                        <a:pt x="271986" y="244066"/>
                      </a:cubicBezTo>
                      <a:cubicBezTo>
                        <a:pt x="262719" y="252991"/>
                        <a:pt x="254356" y="262678"/>
                        <a:pt x="245202" y="271650"/>
                      </a:cubicBezTo>
                      <a:cubicBezTo>
                        <a:pt x="236649" y="280032"/>
                        <a:pt x="226590" y="286071"/>
                        <a:pt x="217951" y="294358"/>
                      </a:cubicBezTo>
                      <a:cubicBezTo>
                        <a:pt x="211264" y="300768"/>
                        <a:pt x="209093" y="300987"/>
                        <a:pt x="200920" y="300568"/>
                      </a:cubicBezTo>
                      <a:cubicBezTo>
                        <a:pt x="195577" y="300292"/>
                        <a:pt x="188481" y="301178"/>
                        <a:pt x="183261" y="303778"/>
                      </a:cubicBezTo>
                      <a:cubicBezTo>
                        <a:pt x="182356" y="301578"/>
                        <a:pt x="182718" y="299063"/>
                        <a:pt x="183585" y="297006"/>
                      </a:cubicBezTo>
                      <a:cubicBezTo>
                        <a:pt x="181528" y="298863"/>
                        <a:pt x="181699" y="302197"/>
                        <a:pt x="178994" y="303502"/>
                      </a:cubicBezTo>
                      <a:cubicBezTo>
                        <a:pt x="175460" y="305188"/>
                        <a:pt x="172698" y="301854"/>
                        <a:pt x="169269" y="301854"/>
                      </a:cubicBezTo>
                      <a:cubicBezTo>
                        <a:pt x="170745" y="303111"/>
                        <a:pt x="171050" y="304693"/>
                        <a:pt x="171965" y="306036"/>
                      </a:cubicBezTo>
                      <a:cubicBezTo>
                        <a:pt x="168850" y="305588"/>
                        <a:pt x="167907" y="307988"/>
                        <a:pt x="165383" y="308369"/>
                      </a:cubicBezTo>
                      <a:cubicBezTo>
                        <a:pt x="163744" y="308607"/>
                        <a:pt x="164011" y="306426"/>
                        <a:pt x="161906" y="306779"/>
                      </a:cubicBezTo>
                      <a:cubicBezTo>
                        <a:pt x="160668" y="306979"/>
                        <a:pt x="159915" y="308350"/>
                        <a:pt x="158810" y="308569"/>
                      </a:cubicBezTo>
                      <a:cubicBezTo>
                        <a:pt x="152419" y="309808"/>
                        <a:pt x="145323" y="311732"/>
                        <a:pt x="139132" y="313732"/>
                      </a:cubicBezTo>
                      <a:cubicBezTo>
                        <a:pt x="134007" y="315389"/>
                        <a:pt x="126749" y="317361"/>
                        <a:pt x="120167" y="317770"/>
                      </a:cubicBezTo>
                      <a:cubicBezTo>
                        <a:pt x="115634" y="318047"/>
                        <a:pt x="114186" y="317932"/>
                        <a:pt x="110109" y="319466"/>
                      </a:cubicBezTo>
                      <a:cubicBezTo>
                        <a:pt x="107128" y="320599"/>
                        <a:pt x="106242" y="322990"/>
                        <a:pt x="102470" y="322266"/>
                      </a:cubicBezTo>
                      <a:cubicBezTo>
                        <a:pt x="108118" y="317056"/>
                        <a:pt x="107242" y="317237"/>
                        <a:pt x="101698" y="313694"/>
                      </a:cubicBezTo>
                      <a:cubicBezTo>
                        <a:pt x="93821" y="308655"/>
                        <a:pt x="102013" y="311512"/>
                        <a:pt x="96155" y="314989"/>
                      </a:cubicBezTo>
                      <a:cubicBezTo>
                        <a:pt x="91050" y="318018"/>
                        <a:pt x="89545" y="314989"/>
                        <a:pt x="88373" y="311855"/>
                      </a:cubicBezTo>
                      <a:cubicBezTo>
                        <a:pt x="87592" y="309760"/>
                        <a:pt x="91164" y="311112"/>
                        <a:pt x="91459" y="309598"/>
                      </a:cubicBezTo>
                      <a:cubicBezTo>
                        <a:pt x="91783" y="307931"/>
                        <a:pt x="88249" y="308712"/>
                        <a:pt x="90516" y="304807"/>
                      </a:cubicBezTo>
                      <a:cubicBezTo>
                        <a:pt x="84877" y="305007"/>
                        <a:pt x="79258" y="303283"/>
                        <a:pt x="74086" y="300997"/>
                      </a:cubicBezTo>
                      <a:cubicBezTo>
                        <a:pt x="73047" y="300540"/>
                        <a:pt x="71628" y="298216"/>
                        <a:pt x="71047" y="298082"/>
                      </a:cubicBezTo>
                      <a:cubicBezTo>
                        <a:pt x="70152" y="297873"/>
                        <a:pt x="68466" y="299368"/>
                        <a:pt x="68075" y="299263"/>
                      </a:cubicBezTo>
                      <a:cubicBezTo>
                        <a:pt x="66494" y="298825"/>
                        <a:pt x="63798" y="299349"/>
                        <a:pt x="61960" y="297387"/>
                      </a:cubicBezTo>
                      <a:cubicBezTo>
                        <a:pt x="55407" y="290319"/>
                        <a:pt x="61874" y="278146"/>
                        <a:pt x="59427" y="270050"/>
                      </a:cubicBezTo>
                      <a:cubicBezTo>
                        <a:pt x="59884" y="270050"/>
                        <a:pt x="60341" y="270050"/>
                        <a:pt x="60798" y="270050"/>
                      </a:cubicBezTo>
                      <a:cubicBezTo>
                        <a:pt x="60265" y="269241"/>
                        <a:pt x="59617" y="268612"/>
                        <a:pt x="58893" y="267917"/>
                      </a:cubicBezTo>
                      <a:cubicBezTo>
                        <a:pt x="63427" y="267326"/>
                        <a:pt x="58150" y="261144"/>
                        <a:pt x="56245" y="258887"/>
                      </a:cubicBezTo>
                      <a:cubicBezTo>
                        <a:pt x="54035" y="256277"/>
                        <a:pt x="52045" y="255001"/>
                        <a:pt x="51216" y="252191"/>
                      </a:cubicBezTo>
                      <a:cubicBezTo>
                        <a:pt x="50540" y="249848"/>
                        <a:pt x="52607" y="247524"/>
                        <a:pt x="51540" y="245057"/>
                      </a:cubicBezTo>
                      <a:cubicBezTo>
                        <a:pt x="49492" y="240285"/>
                        <a:pt x="42891" y="238237"/>
                        <a:pt x="44377" y="231283"/>
                      </a:cubicBezTo>
                      <a:cubicBezTo>
                        <a:pt x="45215" y="227407"/>
                        <a:pt x="51826" y="220406"/>
                        <a:pt x="54607" y="221054"/>
                      </a:cubicBezTo>
                      <a:cubicBezTo>
                        <a:pt x="52502" y="219511"/>
                        <a:pt x="52245" y="217977"/>
                        <a:pt x="51311" y="215862"/>
                      </a:cubicBezTo>
                      <a:cubicBezTo>
                        <a:pt x="54483" y="214748"/>
                        <a:pt x="74609" y="215862"/>
                        <a:pt x="65980" y="208500"/>
                      </a:cubicBezTo>
                      <a:cubicBezTo>
                        <a:pt x="67018" y="207728"/>
                        <a:pt x="67046" y="208242"/>
                        <a:pt x="68304" y="208357"/>
                      </a:cubicBezTo>
                      <a:cubicBezTo>
                        <a:pt x="67685" y="207585"/>
                        <a:pt x="67285" y="207461"/>
                        <a:pt x="67332" y="206404"/>
                      </a:cubicBezTo>
                      <a:cubicBezTo>
                        <a:pt x="71276" y="207176"/>
                        <a:pt x="70999" y="203023"/>
                        <a:pt x="72676" y="201594"/>
                      </a:cubicBezTo>
                      <a:cubicBezTo>
                        <a:pt x="75000" y="199613"/>
                        <a:pt x="79724" y="197774"/>
                        <a:pt x="82620" y="195727"/>
                      </a:cubicBezTo>
                      <a:cubicBezTo>
                        <a:pt x="89240" y="191021"/>
                        <a:pt x="93316" y="188526"/>
                        <a:pt x="98374" y="182534"/>
                      </a:cubicBezTo>
                      <a:cubicBezTo>
                        <a:pt x="102213" y="177982"/>
                        <a:pt x="106032" y="171457"/>
                        <a:pt x="110280" y="167047"/>
                      </a:cubicBezTo>
                      <a:cubicBezTo>
                        <a:pt x="114405" y="162761"/>
                        <a:pt x="120101" y="163418"/>
                        <a:pt x="126483" y="163694"/>
                      </a:cubicBezTo>
                      <a:cubicBezTo>
                        <a:pt x="125787" y="162989"/>
                        <a:pt x="125397" y="161703"/>
                        <a:pt x="124568" y="160837"/>
                      </a:cubicBezTo>
                      <a:cubicBezTo>
                        <a:pt x="128949" y="159046"/>
                        <a:pt x="125797" y="158255"/>
                        <a:pt x="125606" y="155836"/>
                      </a:cubicBezTo>
                      <a:cubicBezTo>
                        <a:pt x="125521" y="154741"/>
                        <a:pt x="124196" y="145015"/>
                        <a:pt x="123215" y="143672"/>
                      </a:cubicBezTo>
                      <a:cubicBezTo>
                        <a:pt x="119625" y="138719"/>
                        <a:pt x="102784" y="140767"/>
                        <a:pt x="105518" y="132233"/>
                      </a:cubicBezTo>
                      <a:cubicBezTo>
                        <a:pt x="98698" y="138319"/>
                        <a:pt x="95069" y="131785"/>
                        <a:pt x="91069" y="127023"/>
                      </a:cubicBezTo>
                      <a:cubicBezTo>
                        <a:pt x="87840" y="123184"/>
                        <a:pt x="81401" y="121717"/>
                        <a:pt x="81258" y="115793"/>
                      </a:cubicBezTo>
                      <a:cubicBezTo>
                        <a:pt x="81144" y="111507"/>
                        <a:pt x="86611" y="107192"/>
                        <a:pt x="85363" y="102544"/>
                      </a:cubicBezTo>
                      <a:cubicBezTo>
                        <a:pt x="84096" y="97800"/>
                        <a:pt x="76953" y="96190"/>
                        <a:pt x="75524" y="90923"/>
                      </a:cubicBezTo>
                      <a:cubicBezTo>
                        <a:pt x="74933" y="88761"/>
                        <a:pt x="77791" y="86561"/>
                        <a:pt x="77696" y="86227"/>
                      </a:cubicBezTo>
                      <a:cubicBezTo>
                        <a:pt x="75924" y="80674"/>
                        <a:pt x="73352" y="84903"/>
                        <a:pt x="70752" y="82112"/>
                      </a:cubicBezTo>
                      <a:cubicBezTo>
                        <a:pt x="69771" y="81065"/>
                        <a:pt x="68894" y="71692"/>
                        <a:pt x="68618" y="69339"/>
                      </a:cubicBezTo>
                      <a:cubicBezTo>
                        <a:pt x="68123" y="65025"/>
                        <a:pt x="72571" y="67949"/>
                        <a:pt x="66361" y="63653"/>
                      </a:cubicBezTo>
                      <a:cubicBezTo>
                        <a:pt x="63494" y="61681"/>
                        <a:pt x="61293" y="60357"/>
                        <a:pt x="58817" y="58576"/>
                      </a:cubicBezTo>
                      <a:cubicBezTo>
                        <a:pt x="51616" y="53385"/>
                        <a:pt x="46711" y="51994"/>
                        <a:pt x="37795" y="49842"/>
                      </a:cubicBezTo>
                      <a:cubicBezTo>
                        <a:pt x="30928" y="48175"/>
                        <a:pt x="24470" y="44993"/>
                        <a:pt x="18355" y="41707"/>
                      </a:cubicBezTo>
                      <a:cubicBezTo>
                        <a:pt x="12202" y="38383"/>
                        <a:pt x="6496" y="33421"/>
                        <a:pt x="0" y="32125"/>
                      </a:cubicBezTo>
                      <a:cubicBezTo>
                        <a:pt x="2619" y="30087"/>
                        <a:pt x="6420" y="32906"/>
                        <a:pt x="8458" y="31735"/>
                      </a:cubicBezTo>
                      <a:cubicBezTo>
                        <a:pt x="12678" y="29315"/>
                        <a:pt x="6372" y="29668"/>
                        <a:pt x="8534" y="26544"/>
                      </a:cubicBezTo>
                      <a:cubicBezTo>
                        <a:pt x="12478" y="20848"/>
                        <a:pt x="21803" y="25972"/>
                        <a:pt x="25289" y="28706"/>
                      </a:cubicBezTo>
                      <a:cubicBezTo>
                        <a:pt x="30318" y="32640"/>
                        <a:pt x="36567" y="39907"/>
                        <a:pt x="41520" y="42098"/>
                      </a:cubicBezTo>
                      <a:cubicBezTo>
                        <a:pt x="46358" y="44241"/>
                        <a:pt x="56417" y="44498"/>
                        <a:pt x="61503" y="43889"/>
                      </a:cubicBezTo>
                      <a:cubicBezTo>
                        <a:pt x="64999" y="43469"/>
                        <a:pt x="67723" y="40240"/>
                        <a:pt x="70161" y="39764"/>
                      </a:cubicBezTo>
                      <a:cubicBezTo>
                        <a:pt x="73752" y="39069"/>
                        <a:pt x="76819" y="40964"/>
                        <a:pt x="80305" y="41984"/>
                      </a:cubicBezTo>
                      <a:cubicBezTo>
                        <a:pt x="83353" y="42879"/>
                        <a:pt x="86563" y="43574"/>
                        <a:pt x="89697" y="44222"/>
                      </a:cubicBezTo>
                      <a:cubicBezTo>
                        <a:pt x="96174" y="45555"/>
                        <a:pt x="94459" y="45794"/>
                        <a:pt x="98812" y="41707"/>
                      </a:cubicBezTo>
                      <a:cubicBezTo>
                        <a:pt x="102365" y="38374"/>
                        <a:pt x="109176" y="36811"/>
                        <a:pt x="109852" y="31563"/>
                      </a:cubicBezTo>
                      <a:cubicBezTo>
                        <a:pt x="110680" y="25134"/>
                        <a:pt x="107328" y="18238"/>
                        <a:pt x="111928" y="11799"/>
                      </a:cubicBezTo>
                      <a:cubicBezTo>
                        <a:pt x="116700" y="5103"/>
                        <a:pt x="122444" y="4446"/>
                        <a:pt x="129826" y="4246"/>
                      </a:cubicBezTo>
                      <a:cubicBezTo>
                        <a:pt x="137122" y="4017"/>
                        <a:pt x="145637" y="-4051"/>
                        <a:pt x="152010" y="2664"/>
                      </a:cubicBezTo>
                      <a:lnTo>
                        <a:pt x="152010" y="2664"/>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55" name="Freeform: Shape 654">
                  <a:extLst>
                    <a:ext uri="{FF2B5EF4-FFF2-40B4-BE49-F238E27FC236}">
                      <a16:creationId xmlns:a16="http://schemas.microsoft.com/office/drawing/2014/main" id="{A5B393DC-61D9-40C6-9584-E8F73AAE83AA}"/>
                    </a:ext>
                  </a:extLst>
                </p:cNvPr>
                <p:cNvSpPr/>
                <p:nvPr/>
              </p:nvSpPr>
              <p:spPr>
                <a:xfrm>
                  <a:off x="6628415" y="3897065"/>
                  <a:ext cx="469156" cy="358732"/>
                </a:xfrm>
                <a:custGeom>
                  <a:avLst/>
                  <a:gdLst>
                    <a:gd name="connsiteX0" fmla="*/ 156680 w 469156"/>
                    <a:gd name="connsiteY0" fmla="*/ 13325 h 358732"/>
                    <a:gd name="connsiteX1" fmla="*/ 177082 w 469156"/>
                    <a:gd name="connsiteY1" fmla="*/ 7772 h 358732"/>
                    <a:gd name="connsiteX2" fmla="*/ 183407 w 469156"/>
                    <a:gd name="connsiteY2" fmla="*/ 11811 h 358732"/>
                    <a:gd name="connsiteX3" fmla="*/ 195018 w 469156"/>
                    <a:gd name="connsiteY3" fmla="*/ 10973 h 358732"/>
                    <a:gd name="connsiteX4" fmla="*/ 217392 w 469156"/>
                    <a:gd name="connsiteY4" fmla="*/ 16735 h 358732"/>
                    <a:gd name="connsiteX5" fmla="*/ 238823 w 469156"/>
                    <a:gd name="connsiteY5" fmla="*/ 31251 h 358732"/>
                    <a:gd name="connsiteX6" fmla="*/ 259122 w 469156"/>
                    <a:gd name="connsiteY6" fmla="*/ 48759 h 358732"/>
                    <a:gd name="connsiteX7" fmla="*/ 266798 w 469156"/>
                    <a:gd name="connsiteY7" fmla="*/ 57493 h 358732"/>
                    <a:gd name="connsiteX8" fmla="*/ 276000 w 469156"/>
                    <a:gd name="connsiteY8" fmla="*/ 65561 h 358732"/>
                    <a:gd name="connsiteX9" fmla="*/ 283591 w 469156"/>
                    <a:gd name="connsiteY9" fmla="*/ 74324 h 358732"/>
                    <a:gd name="connsiteX10" fmla="*/ 277838 w 469156"/>
                    <a:gd name="connsiteY10" fmla="*/ 85935 h 358732"/>
                    <a:gd name="connsiteX11" fmla="*/ 267599 w 469156"/>
                    <a:gd name="connsiteY11" fmla="*/ 105585 h 358732"/>
                    <a:gd name="connsiteX12" fmla="*/ 269466 w 469156"/>
                    <a:gd name="connsiteY12" fmla="*/ 119834 h 358732"/>
                    <a:gd name="connsiteX13" fmla="*/ 280334 w 469156"/>
                    <a:gd name="connsiteY13" fmla="*/ 121806 h 358732"/>
                    <a:gd name="connsiteX14" fmla="*/ 293259 w 469156"/>
                    <a:gd name="connsiteY14" fmla="*/ 118805 h 358732"/>
                    <a:gd name="connsiteX15" fmla="*/ 304841 w 469156"/>
                    <a:gd name="connsiteY15" fmla="*/ 121367 h 358732"/>
                    <a:gd name="connsiteX16" fmla="*/ 297650 w 469156"/>
                    <a:gd name="connsiteY16" fmla="*/ 134436 h 358732"/>
                    <a:gd name="connsiteX17" fmla="*/ 307290 w 469156"/>
                    <a:gd name="connsiteY17" fmla="*/ 149485 h 358732"/>
                    <a:gd name="connsiteX18" fmla="*/ 315357 w 469156"/>
                    <a:gd name="connsiteY18" fmla="*/ 156658 h 358732"/>
                    <a:gd name="connsiteX19" fmla="*/ 320072 w 469156"/>
                    <a:gd name="connsiteY19" fmla="*/ 165649 h 358732"/>
                    <a:gd name="connsiteX20" fmla="*/ 335807 w 469156"/>
                    <a:gd name="connsiteY20" fmla="*/ 178622 h 358732"/>
                    <a:gd name="connsiteX21" fmla="*/ 374326 w 469156"/>
                    <a:gd name="connsiteY21" fmla="*/ 194796 h 358732"/>
                    <a:gd name="connsiteX22" fmla="*/ 418246 w 469156"/>
                    <a:gd name="connsiteY22" fmla="*/ 209188 h 358732"/>
                    <a:gd name="connsiteX23" fmla="*/ 441687 w 469156"/>
                    <a:gd name="connsiteY23" fmla="*/ 215932 h 358732"/>
                    <a:gd name="connsiteX24" fmla="*/ 469157 w 469156"/>
                    <a:gd name="connsiteY24" fmla="*/ 215932 h 358732"/>
                    <a:gd name="connsiteX25" fmla="*/ 397348 w 469156"/>
                    <a:gd name="connsiteY25" fmla="*/ 291322 h 358732"/>
                    <a:gd name="connsiteX26" fmla="*/ 379079 w 469156"/>
                    <a:gd name="connsiteY26" fmla="*/ 312163 h 358732"/>
                    <a:gd name="connsiteX27" fmla="*/ 357143 w 469156"/>
                    <a:gd name="connsiteY27" fmla="*/ 312344 h 358732"/>
                    <a:gd name="connsiteX28" fmla="*/ 316195 w 469156"/>
                    <a:gd name="connsiteY28" fmla="*/ 326755 h 358732"/>
                    <a:gd name="connsiteX29" fmla="*/ 296564 w 469156"/>
                    <a:gd name="connsiteY29" fmla="*/ 335232 h 358732"/>
                    <a:gd name="connsiteX30" fmla="*/ 276723 w 469156"/>
                    <a:gd name="connsiteY30" fmla="*/ 342576 h 358732"/>
                    <a:gd name="connsiteX31" fmla="*/ 255616 w 469156"/>
                    <a:gd name="connsiteY31" fmla="*/ 339957 h 358732"/>
                    <a:gd name="connsiteX32" fmla="*/ 246710 w 469156"/>
                    <a:gd name="connsiteY32" fmla="*/ 333547 h 358732"/>
                    <a:gd name="connsiteX33" fmla="*/ 234538 w 469156"/>
                    <a:gd name="connsiteY33" fmla="*/ 338757 h 358732"/>
                    <a:gd name="connsiteX34" fmla="*/ 214382 w 469156"/>
                    <a:gd name="connsiteY34" fmla="*/ 353473 h 358732"/>
                    <a:gd name="connsiteX35" fmla="*/ 192104 w 469156"/>
                    <a:gd name="connsiteY35" fmla="*/ 357035 h 358732"/>
                    <a:gd name="connsiteX36" fmla="*/ 167815 w 469156"/>
                    <a:gd name="connsiteY36" fmla="*/ 353768 h 358732"/>
                    <a:gd name="connsiteX37" fmla="*/ 146869 w 469156"/>
                    <a:gd name="connsiteY37" fmla="*/ 341967 h 358732"/>
                    <a:gd name="connsiteX38" fmla="*/ 125466 w 469156"/>
                    <a:gd name="connsiteY38" fmla="*/ 328698 h 358732"/>
                    <a:gd name="connsiteX39" fmla="*/ 100940 w 469156"/>
                    <a:gd name="connsiteY39" fmla="*/ 327698 h 358732"/>
                    <a:gd name="connsiteX40" fmla="*/ 89367 w 469156"/>
                    <a:gd name="connsiteY40" fmla="*/ 311868 h 358732"/>
                    <a:gd name="connsiteX41" fmla="*/ 80918 w 469156"/>
                    <a:gd name="connsiteY41" fmla="*/ 297409 h 358732"/>
                    <a:gd name="connsiteX42" fmla="*/ 75165 w 469156"/>
                    <a:gd name="connsiteY42" fmla="*/ 298742 h 358732"/>
                    <a:gd name="connsiteX43" fmla="*/ 73374 w 469156"/>
                    <a:gd name="connsiteY43" fmla="*/ 294561 h 358732"/>
                    <a:gd name="connsiteX44" fmla="*/ 63249 w 469156"/>
                    <a:gd name="connsiteY44" fmla="*/ 277378 h 358732"/>
                    <a:gd name="connsiteX45" fmla="*/ 52572 w 469156"/>
                    <a:gd name="connsiteY45" fmla="*/ 256165 h 358732"/>
                    <a:gd name="connsiteX46" fmla="*/ 34856 w 469156"/>
                    <a:gd name="connsiteY46" fmla="*/ 241135 h 358732"/>
                    <a:gd name="connsiteX47" fmla="*/ 20434 w 469156"/>
                    <a:gd name="connsiteY47" fmla="*/ 226047 h 358732"/>
                    <a:gd name="connsiteX48" fmla="*/ 156 w 469156"/>
                    <a:gd name="connsiteY48" fmla="*/ 219894 h 358732"/>
                    <a:gd name="connsiteX49" fmla="*/ 7652 w 469156"/>
                    <a:gd name="connsiteY49" fmla="*/ 202254 h 358732"/>
                    <a:gd name="connsiteX50" fmla="*/ 30369 w 469156"/>
                    <a:gd name="connsiteY50" fmla="*/ 200701 h 358732"/>
                    <a:gd name="connsiteX51" fmla="*/ 32645 w 469156"/>
                    <a:gd name="connsiteY51" fmla="*/ 159934 h 358732"/>
                    <a:gd name="connsiteX52" fmla="*/ 36417 w 469156"/>
                    <a:gd name="connsiteY52" fmla="*/ 139684 h 358732"/>
                    <a:gd name="connsiteX53" fmla="*/ 39837 w 469156"/>
                    <a:gd name="connsiteY53" fmla="*/ 128511 h 358732"/>
                    <a:gd name="connsiteX54" fmla="*/ 47180 w 469156"/>
                    <a:gd name="connsiteY54" fmla="*/ 127025 h 358732"/>
                    <a:gd name="connsiteX55" fmla="*/ 54277 w 469156"/>
                    <a:gd name="connsiteY55" fmla="*/ 127083 h 358732"/>
                    <a:gd name="connsiteX56" fmla="*/ 56220 w 469156"/>
                    <a:gd name="connsiteY56" fmla="*/ 116214 h 358732"/>
                    <a:gd name="connsiteX57" fmla="*/ 60144 w 469156"/>
                    <a:gd name="connsiteY57" fmla="*/ 94869 h 358732"/>
                    <a:gd name="connsiteX58" fmla="*/ 73927 w 469156"/>
                    <a:gd name="connsiteY58" fmla="*/ 71752 h 358732"/>
                    <a:gd name="connsiteX59" fmla="*/ 89176 w 469156"/>
                    <a:gd name="connsiteY59" fmla="*/ 63675 h 358732"/>
                    <a:gd name="connsiteX60" fmla="*/ 90043 w 469156"/>
                    <a:gd name="connsiteY60" fmla="*/ 52559 h 358732"/>
                    <a:gd name="connsiteX61" fmla="*/ 93749 w 469156"/>
                    <a:gd name="connsiteY61" fmla="*/ 42605 h 358732"/>
                    <a:gd name="connsiteX62" fmla="*/ 98320 w 469156"/>
                    <a:gd name="connsiteY62" fmla="*/ 18736 h 358732"/>
                    <a:gd name="connsiteX63" fmla="*/ 108703 w 469156"/>
                    <a:gd name="connsiteY63" fmla="*/ 17450 h 358732"/>
                    <a:gd name="connsiteX64" fmla="*/ 115761 w 469156"/>
                    <a:gd name="connsiteY64" fmla="*/ 15735 h 358732"/>
                    <a:gd name="connsiteX65" fmla="*/ 122619 w 469156"/>
                    <a:gd name="connsiteY65" fmla="*/ 14487 h 358732"/>
                    <a:gd name="connsiteX66" fmla="*/ 130353 w 469156"/>
                    <a:gd name="connsiteY66" fmla="*/ 22184 h 358732"/>
                    <a:gd name="connsiteX67" fmla="*/ 138563 w 469156"/>
                    <a:gd name="connsiteY67" fmla="*/ 0 h 358732"/>
                    <a:gd name="connsiteX68" fmla="*/ 147841 w 469156"/>
                    <a:gd name="connsiteY68" fmla="*/ 5439 h 358732"/>
                    <a:gd name="connsiteX69" fmla="*/ 156680 w 469156"/>
                    <a:gd name="connsiteY69" fmla="*/ 13325 h 358732"/>
                    <a:gd name="connsiteX70" fmla="*/ 156680 w 469156"/>
                    <a:gd name="connsiteY70" fmla="*/ 13325 h 358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69156" h="358732">
                      <a:moveTo>
                        <a:pt x="156680" y="13325"/>
                      </a:moveTo>
                      <a:cubicBezTo>
                        <a:pt x="164091" y="13868"/>
                        <a:pt x="171996" y="6629"/>
                        <a:pt x="177082" y="7772"/>
                      </a:cubicBezTo>
                      <a:cubicBezTo>
                        <a:pt x="179817" y="8391"/>
                        <a:pt x="179797" y="11420"/>
                        <a:pt x="183407" y="11811"/>
                      </a:cubicBezTo>
                      <a:cubicBezTo>
                        <a:pt x="187370" y="12249"/>
                        <a:pt x="190704" y="10287"/>
                        <a:pt x="195018" y="10973"/>
                      </a:cubicBezTo>
                      <a:cubicBezTo>
                        <a:pt x="203334" y="12287"/>
                        <a:pt x="209972" y="12240"/>
                        <a:pt x="217392" y="16735"/>
                      </a:cubicBezTo>
                      <a:cubicBezTo>
                        <a:pt x="225936" y="21917"/>
                        <a:pt x="232042" y="23498"/>
                        <a:pt x="238823" y="31251"/>
                      </a:cubicBezTo>
                      <a:cubicBezTo>
                        <a:pt x="245006" y="38319"/>
                        <a:pt x="251911" y="42910"/>
                        <a:pt x="259122" y="48759"/>
                      </a:cubicBezTo>
                      <a:cubicBezTo>
                        <a:pt x="262493" y="51492"/>
                        <a:pt x="264227" y="54064"/>
                        <a:pt x="266798" y="57493"/>
                      </a:cubicBezTo>
                      <a:cubicBezTo>
                        <a:pt x="269799" y="61484"/>
                        <a:pt x="272352" y="62503"/>
                        <a:pt x="276000" y="65561"/>
                      </a:cubicBezTo>
                      <a:cubicBezTo>
                        <a:pt x="277476" y="66808"/>
                        <a:pt x="283210" y="72380"/>
                        <a:pt x="283591" y="74324"/>
                      </a:cubicBezTo>
                      <a:cubicBezTo>
                        <a:pt x="284201" y="77438"/>
                        <a:pt x="279781" y="82706"/>
                        <a:pt x="277838" y="85935"/>
                      </a:cubicBezTo>
                      <a:cubicBezTo>
                        <a:pt x="273781" y="92659"/>
                        <a:pt x="267646" y="97593"/>
                        <a:pt x="267599" y="105585"/>
                      </a:cubicBezTo>
                      <a:cubicBezTo>
                        <a:pt x="267580" y="109147"/>
                        <a:pt x="267684" y="116786"/>
                        <a:pt x="269466" y="119834"/>
                      </a:cubicBezTo>
                      <a:cubicBezTo>
                        <a:pt x="272095" y="124339"/>
                        <a:pt x="275247" y="122606"/>
                        <a:pt x="280334" y="121806"/>
                      </a:cubicBezTo>
                      <a:cubicBezTo>
                        <a:pt x="284372" y="121177"/>
                        <a:pt x="289373" y="118929"/>
                        <a:pt x="293259" y="118805"/>
                      </a:cubicBezTo>
                      <a:cubicBezTo>
                        <a:pt x="297631" y="118662"/>
                        <a:pt x="300470" y="121987"/>
                        <a:pt x="304841" y="121367"/>
                      </a:cubicBezTo>
                      <a:cubicBezTo>
                        <a:pt x="303012" y="125425"/>
                        <a:pt x="297231" y="129883"/>
                        <a:pt x="297650" y="134436"/>
                      </a:cubicBezTo>
                      <a:cubicBezTo>
                        <a:pt x="298041" y="138817"/>
                        <a:pt x="304537" y="146171"/>
                        <a:pt x="307290" y="149485"/>
                      </a:cubicBezTo>
                      <a:cubicBezTo>
                        <a:pt x="309595" y="152267"/>
                        <a:pt x="313490" y="154334"/>
                        <a:pt x="315357" y="156658"/>
                      </a:cubicBezTo>
                      <a:cubicBezTo>
                        <a:pt x="317272" y="159058"/>
                        <a:pt x="318224" y="163011"/>
                        <a:pt x="320072" y="165649"/>
                      </a:cubicBezTo>
                      <a:cubicBezTo>
                        <a:pt x="324472" y="171936"/>
                        <a:pt x="330188" y="173784"/>
                        <a:pt x="335807" y="178622"/>
                      </a:cubicBezTo>
                      <a:cubicBezTo>
                        <a:pt x="346570" y="187881"/>
                        <a:pt x="360944" y="190471"/>
                        <a:pt x="374326" y="194796"/>
                      </a:cubicBezTo>
                      <a:cubicBezTo>
                        <a:pt x="388985" y="199539"/>
                        <a:pt x="403616" y="204359"/>
                        <a:pt x="418246" y="209188"/>
                      </a:cubicBezTo>
                      <a:cubicBezTo>
                        <a:pt x="425933" y="211722"/>
                        <a:pt x="433743" y="215246"/>
                        <a:pt x="441687" y="215932"/>
                      </a:cubicBezTo>
                      <a:cubicBezTo>
                        <a:pt x="450678" y="216713"/>
                        <a:pt x="460118" y="215932"/>
                        <a:pt x="469157" y="215932"/>
                      </a:cubicBezTo>
                      <a:cubicBezTo>
                        <a:pt x="444983" y="240868"/>
                        <a:pt x="420237" y="265176"/>
                        <a:pt x="397348" y="291322"/>
                      </a:cubicBezTo>
                      <a:cubicBezTo>
                        <a:pt x="392129" y="297275"/>
                        <a:pt x="385909" y="308391"/>
                        <a:pt x="379079" y="312163"/>
                      </a:cubicBezTo>
                      <a:cubicBezTo>
                        <a:pt x="373650" y="315163"/>
                        <a:pt x="363582" y="312715"/>
                        <a:pt x="357143" y="312344"/>
                      </a:cubicBezTo>
                      <a:cubicBezTo>
                        <a:pt x="342798" y="311506"/>
                        <a:pt x="325854" y="315563"/>
                        <a:pt x="316195" y="326755"/>
                      </a:cubicBezTo>
                      <a:cubicBezTo>
                        <a:pt x="310185" y="333718"/>
                        <a:pt x="306423" y="333327"/>
                        <a:pt x="296564" y="335232"/>
                      </a:cubicBezTo>
                      <a:cubicBezTo>
                        <a:pt x="288192" y="336852"/>
                        <a:pt x="284496" y="342024"/>
                        <a:pt x="276723" y="342576"/>
                      </a:cubicBezTo>
                      <a:cubicBezTo>
                        <a:pt x="268465" y="343167"/>
                        <a:pt x="262493" y="344986"/>
                        <a:pt x="255616" y="339957"/>
                      </a:cubicBezTo>
                      <a:cubicBezTo>
                        <a:pt x="252911" y="337976"/>
                        <a:pt x="249977" y="333785"/>
                        <a:pt x="246710" y="333547"/>
                      </a:cubicBezTo>
                      <a:cubicBezTo>
                        <a:pt x="243729" y="333337"/>
                        <a:pt x="237385" y="337490"/>
                        <a:pt x="234538" y="338757"/>
                      </a:cubicBezTo>
                      <a:cubicBezTo>
                        <a:pt x="225079" y="342995"/>
                        <a:pt x="220679" y="345634"/>
                        <a:pt x="214382" y="353473"/>
                      </a:cubicBezTo>
                      <a:cubicBezTo>
                        <a:pt x="208115" y="361264"/>
                        <a:pt x="201143" y="358502"/>
                        <a:pt x="192104" y="357035"/>
                      </a:cubicBezTo>
                      <a:cubicBezTo>
                        <a:pt x="184150" y="355749"/>
                        <a:pt x="175606" y="355444"/>
                        <a:pt x="167815" y="353768"/>
                      </a:cubicBezTo>
                      <a:cubicBezTo>
                        <a:pt x="160204" y="352130"/>
                        <a:pt x="153404" y="346138"/>
                        <a:pt x="146869" y="341967"/>
                      </a:cubicBezTo>
                      <a:cubicBezTo>
                        <a:pt x="140421" y="337852"/>
                        <a:pt x="132744" y="330994"/>
                        <a:pt x="125466" y="328698"/>
                      </a:cubicBezTo>
                      <a:cubicBezTo>
                        <a:pt x="117789" y="326288"/>
                        <a:pt x="108521" y="330032"/>
                        <a:pt x="100940" y="327698"/>
                      </a:cubicBezTo>
                      <a:cubicBezTo>
                        <a:pt x="95158" y="325907"/>
                        <a:pt x="89653" y="317925"/>
                        <a:pt x="89367" y="311868"/>
                      </a:cubicBezTo>
                      <a:cubicBezTo>
                        <a:pt x="89014" y="304143"/>
                        <a:pt x="92777" y="297837"/>
                        <a:pt x="80918" y="297409"/>
                      </a:cubicBezTo>
                      <a:cubicBezTo>
                        <a:pt x="79470" y="297351"/>
                        <a:pt x="76156" y="299180"/>
                        <a:pt x="75165" y="298742"/>
                      </a:cubicBezTo>
                      <a:cubicBezTo>
                        <a:pt x="72774" y="297704"/>
                        <a:pt x="74575" y="295732"/>
                        <a:pt x="73374" y="294561"/>
                      </a:cubicBezTo>
                      <a:cubicBezTo>
                        <a:pt x="67393" y="288665"/>
                        <a:pt x="65945" y="285217"/>
                        <a:pt x="63249" y="277378"/>
                      </a:cubicBezTo>
                      <a:cubicBezTo>
                        <a:pt x="60820" y="270338"/>
                        <a:pt x="57029" y="261776"/>
                        <a:pt x="52572" y="256165"/>
                      </a:cubicBezTo>
                      <a:cubicBezTo>
                        <a:pt x="47609" y="249907"/>
                        <a:pt x="39465" y="247850"/>
                        <a:pt x="34856" y="241135"/>
                      </a:cubicBezTo>
                      <a:cubicBezTo>
                        <a:pt x="30569" y="234906"/>
                        <a:pt x="28473" y="229257"/>
                        <a:pt x="20434" y="226047"/>
                      </a:cubicBezTo>
                      <a:cubicBezTo>
                        <a:pt x="15767" y="224180"/>
                        <a:pt x="2718" y="225266"/>
                        <a:pt x="156" y="219894"/>
                      </a:cubicBezTo>
                      <a:cubicBezTo>
                        <a:pt x="-1064" y="217313"/>
                        <a:pt x="5195" y="203787"/>
                        <a:pt x="7652" y="202254"/>
                      </a:cubicBezTo>
                      <a:cubicBezTo>
                        <a:pt x="13872" y="198377"/>
                        <a:pt x="24121" y="205588"/>
                        <a:pt x="30369" y="200701"/>
                      </a:cubicBezTo>
                      <a:cubicBezTo>
                        <a:pt x="38380" y="194443"/>
                        <a:pt x="30007" y="170078"/>
                        <a:pt x="32645" y="159934"/>
                      </a:cubicBezTo>
                      <a:cubicBezTo>
                        <a:pt x="34741" y="151867"/>
                        <a:pt x="36608" y="147933"/>
                        <a:pt x="36417" y="139684"/>
                      </a:cubicBezTo>
                      <a:cubicBezTo>
                        <a:pt x="36312" y="135588"/>
                        <a:pt x="36570" y="131836"/>
                        <a:pt x="39837" y="128511"/>
                      </a:cubicBezTo>
                      <a:cubicBezTo>
                        <a:pt x="43866" y="124425"/>
                        <a:pt x="43352" y="126616"/>
                        <a:pt x="47180" y="127025"/>
                      </a:cubicBezTo>
                      <a:cubicBezTo>
                        <a:pt x="51029" y="127435"/>
                        <a:pt x="50619" y="130950"/>
                        <a:pt x="54277" y="127083"/>
                      </a:cubicBezTo>
                      <a:cubicBezTo>
                        <a:pt x="56315" y="124930"/>
                        <a:pt x="55905" y="119348"/>
                        <a:pt x="56220" y="116214"/>
                      </a:cubicBezTo>
                      <a:cubicBezTo>
                        <a:pt x="56925" y="109395"/>
                        <a:pt x="56905" y="101155"/>
                        <a:pt x="60144" y="94869"/>
                      </a:cubicBezTo>
                      <a:cubicBezTo>
                        <a:pt x="63345" y="88640"/>
                        <a:pt x="69002" y="76781"/>
                        <a:pt x="73927" y="71752"/>
                      </a:cubicBezTo>
                      <a:cubicBezTo>
                        <a:pt x="79042" y="66532"/>
                        <a:pt x="86738" y="69913"/>
                        <a:pt x="89176" y="63675"/>
                      </a:cubicBezTo>
                      <a:cubicBezTo>
                        <a:pt x="90329" y="60722"/>
                        <a:pt x="89329" y="55874"/>
                        <a:pt x="90043" y="52559"/>
                      </a:cubicBezTo>
                      <a:cubicBezTo>
                        <a:pt x="90815" y="48968"/>
                        <a:pt x="92482" y="45968"/>
                        <a:pt x="93749" y="42605"/>
                      </a:cubicBezTo>
                      <a:cubicBezTo>
                        <a:pt x="95882" y="36928"/>
                        <a:pt x="94320" y="22584"/>
                        <a:pt x="98320" y="18736"/>
                      </a:cubicBezTo>
                      <a:cubicBezTo>
                        <a:pt x="101025" y="16135"/>
                        <a:pt x="105597" y="17488"/>
                        <a:pt x="108703" y="17450"/>
                      </a:cubicBezTo>
                      <a:cubicBezTo>
                        <a:pt x="113275" y="17393"/>
                        <a:pt x="112522" y="17040"/>
                        <a:pt x="115761" y="15735"/>
                      </a:cubicBezTo>
                      <a:cubicBezTo>
                        <a:pt x="119542" y="14211"/>
                        <a:pt x="117542" y="11478"/>
                        <a:pt x="122619" y="14487"/>
                      </a:cubicBezTo>
                      <a:cubicBezTo>
                        <a:pt x="124838" y="15812"/>
                        <a:pt x="127391" y="23127"/>
                        <a:pt x="130353" y="22184"/>
                      </a:cubicBezTo>
                      <a:cubicBezTo>
                        <a:pt x="133325" y="21231"/>
                        <a:pt x="137411" y="3324"/>
                        <a:pt x="138563" y="0"/>
                      </a:cubicBezTo>
                      <a:cubicBezTo>
                        <a:pt x="141697" y="2534"/>
                        <a:pt x="144688" y="3486"/>
                        <a:pt x="147841" y="5439"/>
                      </a:cubicBezTo>
                      <a:cubicBezTo>
                        <a:pt x="151194" y="7506"/>
                        <a:pt x="153441" y="10963"/>
                        <a:pt x="156680" y="13325"/>
                      </a:cubicBezTo>
                      <a:lnTo>
                        <a:pt x="156680" y="13325"/>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56" name="Freeform: Shape 655">
                  <a:extLst>
                    <a:ext uri="{FF2B5EF4-FFF2-40B4-BE49-F238E27FC236}">
                      <a16:creationId xmlns:a16="http://schemas.microsoft.com/office/drawing/2014/main" id="{0045F106-4CF1-4248-A545-C24AD1F7AE33}"/>
                    </a:ext>
                  </a:extLst>
                </p:cNvPr>
                <p:cNvSpPr/>
                <p:nvPr/>
              </p:nvSpPr>
              <p:spPr>
                <a:xfrm>
                  <a:off x="6153415" y="2486260"/>
                  <a:ext cx="109737" cy="66498"/>
                </a:xfrm>
                <a:custGeom>
                  <a:avLst/>
                  <a:gdLst>
                    <a:gd name="connsiteX0" fmla="*/ 45025 w 109737"/>
                    <a:gd name="connsiteY0" fmla="*/ 0 h 66498"/>
                    <a:gd name="connsiteX1" fmla="*/ 74962 w 109737"/>
                    <a:gd name="connsiteY1" fmla="*/ 3972 h 66498"/>
                    <a:gd name="connsiteX2" fmla="*/ 105394 w 109737"/>
                    <a:gd name="connsiteY2" fmla="*/ 4867 h 66498"/>
                    <a:gd name="connsiteX3" fmla="*/ 109423 w 109737"/>
                    <a:gd name="connsiteY3" fmla="*/ 8334 h 66498"/>
                    <a:gd name="connsiteX4" fmla="*/ 104661 w 109737"/>
                    <a:gd name="connsiteY4" fmla="*/ 10916 h 66498"/>
                    <a:gd name="connsiteX5" fmla="*/ 100299 w 109737"/>
                    <a:gd name="connsiteY5" fmla="*/ 20984 h 66498"/>
                    <a:gd name="connsiteX6" fmla="*/ 101089 w 109737"/>
                    <a:gd name="connsiteY6" fmla="*/ 39615 h 66498"/>
                    <a:gd name="connsiteX7" fmla="*/ 103651 w 109737"/>
                    <a:gd name="connsiteY7" fmla="*/ 47282 h 66498"/>
                    <a:gd name="connsiteX8" fmla="*/ 109738 w 109737"/>
                    <a:gd name="connsiteY8" fmla="*/ 55112 h 66498"/>
                    <a:gd name="connsiteX9" fmla="*/ 102261 w 109737"/>
                    <a:gd name="connsiteY9" fmla="*/ 66494 h 66498"/>
                    <a:gd name="connsiteX10" fmla="*/ 89459 w 109737"/>
                    <a:gd name="connsiteY10" fmla="*/ 64427 h 66498"/>
                    <a:gd name="connsiteX11" fmla="*/ 73914 w 109737"/>
                    <a:gd name="connsiteY11" fmla="*/ 62255 h 66498"/>
                    <a:gd name="connsiteX12" fmla="*/ 49111 w 109737"/>
                    <a:gd name="connsiteY12" fmla="*/ 50111 h 66498"/>
                    <a:gd name="connsiteX13" fmla="*/ 39605 w 109737"/>
                    <a:gd name="connsiteY13" fmla="*/ 51740 h 66498"/>
                    <a:gd name="connsiteX14" fmla="*/ 27004 w 109737"/>
                    <a:gd name="connsiteY14" fmla="*/ 55712 h 66498"/>
                    <a:gd name="connsiteX15" fmla="*/ 29899 w 109737"/>
                    <a:gd name="connsiteY15" fmla="*/ 42386 h 66498"/>
                    <a:gd name="connsiteX16" fmla="*/ 22536 w 109737"/>
                    <a:gd name="connsiteY16" fmla="*/ 42520 h 66498"/>
                    <a:gd name="connsiteX17" fmla="*/ 6449 w 109737"/>
                    <a:gd name="connsiteY17" fmla="*/ 26841 h 66498"/>
                    <a:gd name="connsiteX18" fmla="*/ 0 w 109737"/>
                    <a:gd name="connsiteY18" fmla="*/ 19126 h 66498"/>
                    <a:gd name="connsiteX19" fmla="*/ 13211 w 109737"/>
                    <a:gd name="connsiteY19" fmla="*/ 10944 h 66498"/>
                    <a:gd name="connsiteX20" fmla="*/ 12040 w 109737"/>
                    <a:gd name="connsiteY20" fmla="*/ 8420 h 66498"/>
                    <a:gd name="connsiteX21" fmla="*/ 21708 w 109737"/>
                    <a:gd name="connsiteY21" fmla="*/ 5525 h 66498"/>
                    <a:gd name="connsiteX22" fmla="*/ 31337 w 109737"/>
                    <a:gd name="connsiteY22" fmla="*/ 3705 h 66498"/>
                    <a:gd name="connsiteX23" fmla="*/ 45025 w 109737"/>
                    <a:gd name="connsiteY23" fmla="*/ 0 h 66498"/>
                    <a:gd name="connsiteX24" fmla="*/ 45025 w 109737"/>
                    <a:gd name="connsiteY24" fmla="*/ 0 h 6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9737" h="66498">
                      <a:moveTo>
                        <a:pt x="45025" y="0"/>
                      </a:moveTo>
                      <a:cubicBezTo>
                        <a:pt x="54845" y="1743"/>
                        <a:pt x="65294" y="1629"/>
                        <a:pt x="74962" y="3972"/>
                      </a:cubicBezTo>
                      <a:cubicBezTo>
                        <a:pt x="80715" y="5363"/>
                        <a:pt x="101908" y="10449"/>
                        <a:pt x="105394" y="4867"/>
                      </a:cubicBezTo>
                      <a:cubicBezTo>
                        <a:pt x="106871" y="5525"/>
                        <a:pt x="108595" y="6963"/>
                        <a:pt x="109423" y="8334"/>
                      </a:cubicBezTo>
                      <a:cubicBezTo>
                        <a:pt x="108433" y="9144"/>
                        <a:pt x="105156" y="10239"/>
                        <a:pt x="104661" y="10916"/>
                      </a:cubicBezTo>
                      <a:cubicBezTo>
                        <a:pt x="102670" y="13659"/>
                        <a:pt x="102251" y="17859"/>
                        <a:pt x="100299" y="20984"/>
                      </a:cubicBezTo>
                      <a:cubicBezTo>
                        <a:pt x="95088" y="29299"/>
                        <a:pt x="97994" y="29709"/>
                        <a:pt x="101089" y="39615"/>
                      </a:cubicBezTo>
                      <a:cubicBezTo>
                        <a:pt x="102099" y="42853"/>
                        <a:pt x="101765" y="43872"/>
                        <a:pt x="103651" y="47282"/>
                      </a:cubicBezTo>
                      <a:cubicBezTo>
                        <a:pt x="104023" y="47949"/>
                        <a:pt x="109738" y="54950"/>
                        <a:pt x="109738" y="55112"/>
                      </a:cubicBezTo>
                      <a:cubicBezTo>
                        <a:pt x="109709" y="58083"/>
                        <a:pt x="100737" y="59331"/>
                        <a:pt x="102261" y="66494"/>
                      </a:cubicBezTo>
                      <a:cubicBezTo>
                        <a:pt x="97622" y="66618"/>
                        <a:pt x="93841" y="64170"/>
                        <a:pt x="89459" y="64427"/>
                      </a:cubicBezTo>
                      <a:cubicBezTo>
                        <a:pt x="81677" y="64875"/>
                        <a:pt x="81077" y="66999"/>
                        <a:pt x="73914" y="62255"/>
                      </a:cubicBezTo>
                      <a:cubicBezTo>
                        <a:pt x="66142" y="57112"/>
                        <a:pt x="58560" y="52464"/>
                        <a:pt x="49111" y="50111"/>
                      </a:cubicBezTo>
                      <a:cubicBezTo>
                        <a:pt x="48416" y="51549"/>
                        <a:pt x="43253" y="50768"/>
                        <a:pt x="39605" y="51740"/>
                      </a:cubicBezTo>
                      <a:cubicBezTo>
                        <a:pt x="35367" y="52873"/>
                        <a:pt x="30947" y="54407"/>
                        <a:pt x="27004" y="55712"/>
                      </a:cubicBezTo>
                      <a:cubicBezTo>
                        <a:pt x="27261" y="52826"/>
                        <a:pt x="30794" y="44301"/>
                        <a:pt x="29899" y="42386"/>
                      </a:cubicBezTo>
                      <a:cubicBezTo>
                        <a:pt x="26918" y="36043"/>
                        <a:pt x="25213" y="42215"/>
                        <a:pt x="22536" y="42520"/>
                      </a:cubicBezTo>
                      <a:cubicBezTo>
                        <a:pt x="16183" y="43244"/>
                        <a:pt x="-3715" y="31661"/>
                        <a:pt x="6449" y="26841"/>
                      </a:cubicBezTo>
                      <a:cubicBezTo>
                        <a:pt x="686" y="28318"/>
                        <a:pt x="-19" y="22003"/>
                        <a:pt x="0" y="19126"/>
                      </a:cubicBezTo>
                      <a:cubicBezTo>
                        <a:pt x="38" y="11344"/>
                        <a:pt x="5306" y="11535"/>
                        <a:pt x="13211" y="10944"/>
                      </a:cubicBezTo>
                      <a:cubicBezTo>
                        <a:pt x="12821" y="10106"/>
                        <a:pt x="12430" y="9258"/>
                        <a:pt x="12040" y="8420"/>
                      </a:cubicBezTo>
                      <a:cubicBezTo>
                        <a:pt x="15126" y="8620"/>
                        <a:pt x="18917" y="6287"/>
                        <a:pt x="21708" y="5525"/>
                      </a:cubicBezTo>
                      <a:cubicBezTo>
                        <a:pt x="24432" y="4772"/>
                        <a:pt x="28347" y="4162"/>
                        <a:pt x="31337" y="3705"/>
                      </a:cubicBezTo>
                      <a:cubicBezTo>
                        <a:pt x="34900" y="3134"/>
                        <a:pt x="47644" y="6477"/>
                        <a:pt x="45025" y="0"/>
                      </a:cubicBezTo>
                      <a:lnTo>
                        <a:pt x="45025" y="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57" name="Freeform: Shape 656">
                  <a:extLst>
                    <a:ext uri="{FF2B5EF4-FFF2-40B4-BE49-F238E27FC236}">
                      <a16:creationId xmlns:a16="http://schemas.microsoft.com/office/drawing/2014/main" id="{B344FD52-1AFD-4DD6-8E38-6F81FD0D147D}"/>
                    </a:ext>
                  </a:extLst>
                </p:cNvPr>
                <p:cNvSpPr/>
                <p:nvPr/>
              </p:nvSpPr>
              <p:spPr>
                <a:xfrm>
                  <a:off x="5341978" y="2986304"/>
                  <a:ext cx="342022" cy="243789"/>
                </a:xfrm>
                <a:custGeom>
                  <a:avLst/>
                  <a:gdLst>
                    <a:gd name="connsiteX0" fmla="*/ 42799 w 342022"/>
                    <a:gd name="connsiteY0" fmla="*/ 0 h 243789"/>
                    <a:gd name="connsiteX1" fmla="*/ 60934 w 342022"/>
                    <a:gd name="connsiteY1" fmla="*/ 6372 h 243789"/>
                    <a:gd name="connsiteX2" fmla="*/ 82585 w 342022"/>
                    <a:gd name="connsiteY2" fmla="*/ 5058 h 243789"/>
                    <a:gd name="connsiteX3" fmla="*/ 126638 w 342022"/>
                    <a:gd name="connsiteY3" fmla="*/ 10639 h 243789"/>
                    <a:gd name="connsiteX4" fmla="*/ 145469 w 342022"/>
                    <a:gd name="connsiteY4" fmla="*/ 8496 h 243789"/>
                    <a:gd name="connsiteX5" fmla="*/ 154765 w 342022"/>
                    <a:gd name="connsiteY5" fmla="*/ 7849 h 243789"/>
                    <a:gd name="connsiteX6" fmla="*/ 166157 w 342022"/>
                    <a:gd name="connsiteY6" fmla="*/ 11725 h 243789"/>
                    <a:gd name="connsiteX7" fmla="*/ 174206 w 342022"/>
                    <a:gd name="connsiteY7" fmla="*/ 9906 h 243789"/>
                    <a:gd name="connsiteX8" fmla="*/ 185445 w 342022"/>
                    <a:gd name="connsiteY8" fmla="*/ 12821 h 243789"/>
                    <a:gd name="connsiteX9" fmla="*/ 202828 w 342022"/>
                    <a:gd name="connsiteY9" fmla="*/ 11259 h 243789"/>
                    <a:gd name="connsiteX10" fmla="*/ 213182 w 342022"/>
                    <a:gd name="connsiteY10" fmla="*/ 18250 h 243789"/>
                    <a:gd name="connsiteX11" fmla="*/ 212439 w 342022"/>
                    <a:gd name="connsiteY11" fmla="*/ 22812 h 243789"/>
                    <a:gd name="connsiteX12" fmla="*/ 216182 w 342022"/>
                    <a:gd name="connsiteY12" fmla="*/ 20898 h 243789"/>
                    <a:gd name="connsiteX13" fmla="*/ 228650 w 342022"/>
                    <a:gd name="connsiteY13" fmla="*/ 25708 h 243789"/>
                    <a:gd name="connsiteX14" fmla="*/ 237052 w 342022"/>
                    <a:gd name="connsiteY14" fmla="*/ 30356 h 243789"/>
                    <a:gd name="connsiteX15" fmla="*/ 244643 w 342022"/>
                    <a:gd name="connsiteY15" fmla="*/ 30261 h 243789"/>
                    <a:gd name="connsiteX16" fmla="*/ 256026 w 342022"/>
                    <a:gd name="connsiteY16" fmla="*/ 33099 h 243789"/>
                    <a:gd name="connsiteX17" fmla="*/ 265351 w 342022"/>
                    <a:gd name="connsiteY17" fmla="*/ 33938 h 243789"/>
                    <a:gd name="connsiteX18" fmla="*/ 272399 w 342022"/>
                    <a:gd name="connsiteY18" fmla="*/ 29175 h 243789"/>
                    <a:gd name="connsiteX19" fmla="*/ 286925 w 342022"/>
                    <a:gd name="connsiteY19" fmla="*/ 33223 h 243789"/>
                    <a:gd name="connsiteX20" fmla="*/ 290763 w 342022"/>
                    <a:gd name="connsiteY20" fmla="*/ 39929 h 243789"/>
                    <a:gd name="connsiteX21" fmla="*/ 295069 w 342022"/>
                    <a:gd name="connsiteY21" fmla="*/ 41205 h 243789"/>
                    <a:gd name="connsiteX22" fmla="*/ 301336 w 342022"/>
                    <a:gd name="connsiteY22" fmla="*/ 40786 h 243789"/>
                    <a:gd name="connsiteX23" fmla="*/ 305279 w 342022"/>
                    <a:gd name="connsiteY23" fmla="*/ 43463 h 243789"/>
                    <a:gd name="connsiteX24" fmla="*/ 315366 w 342022"/>
                    <a:gd name="connsiteY24" fmla="*/ 43025 h 243789"/>
                    <a:gd name="connsiteX25" fmla="*/ 321958 w 342022"/>
                    <a:gd name="connsiteY25" fmla="*/ 44701 h 243789"/>
                    <a:gd name="connsiteX26" fmla="*/ 325158 w 342022"/>
                    <a:gd name="connsiteY26" fmla="*/ 42977 h 243789"/>
                    <a:gd name="connsiteX27" fmla="*/ 342008 w 342022"/>
                    <a:gd name="connsiteY27" fmla="*/ 45606 h 243789"/>
                    <a:gd name="connsiteX28" fmla="*/ 338426 w 342022"/>
                    <a:gd name="connsiteY28" fmla="*/ 47587 h 243789"/>
                    <a:gd name="connsiteX29" fmla="*/ 339312 w 342022"/>
                    <a:gd name="connsiteY29" fmla="*/ 51740 h 243789"/>
                    <a:gd name="connsiteX30" fmla="*/ 337045 w 342022"/>
                    <a:gd name="connsiteY30" fmla="*/ 60789 h 243789"/>
                    <a:gd name="connsiteX31" fmla="*/ 317405 w 342022"/>
                    <a:gd name="connsiteY31" fmla="*/ 71314 h 243789"/>
                    <a:gd name="connsiteX32" fmla="*/ 305327 w 342022"/>
                    <a:gd name="connsiteY32" fmla="*/ 78772 h 243789"/>
                    <a:gd name="connsiteX33" fmla="*/ 285591 w 342022"/>
                    <a:gd name="connsiteY33" fmla="*/ 83782 h 243789"/>
                    <a:gd name="connsiteX34" fmla="*/ 271361 w 342022"/>
                    <a:gd name="connsiteY34" fmla="*/ 92669 h 243789"/>
                    <a:gd name="connsiteX35" fmla="*/ 269656 w 342022"/>
                    <a:gd name="connsiteY35" fmla="*/ 99203 h 243789"/>
                    <a:gd name="connsiteX36" fmla="*/ 259683 w 342022"/>
                    <a:gd name="connsiteY36" fmla="*/ 110900 h 243789"/>
                    <a:gd name="connsiteX37" fmla="*/ 244834 w 342022"/>
                    <a:gd name="connsiteY37" fmla="*/ 144828 h 243789"/>
                    <a:gd name="connsiteX38" fmla="*/ 249244 w 342022"/>
                    <a:gd name="connsiteY38" fmla="*/ 152295 h 243789"/>
                    <a:gd name="connsiteX39" fmla="*/ 256587 w 342022"/>
                    <a:gd name="connsiteY39" fmla="*/ 156648 h 243789"/>
                    <a:gd name="connsiteX40" fmla="*/ 241567 w 342022"/>
                    <a:gd name="connsiteY40" fmla="*/ 167526 h 243789"/>
                    <a:gd name="connsiteX41" fmla="*/ 231232 w 342022"/>
                    <a:gd name="connsiteY41" fmla="*/ 193224 h 243789"/>
                    <a:gd name="connsiteX42" fmla="*/ 213449 w 342022"/>
                    <a:gd name="connsiteY42" fmla="*/ 195844 h 243789"/>
                    <a:gd name="connsiteX43" fmla="*/ 196952 w 342022"/>
                    <a:gd name="connsiteY43" fmla="*/ 214113 h 243789"/>
                    <a:gd name="connsiteX44" fmla="*/ 190617 w 342022"/>
                    <a:gd name="connsiteY44" fmla="*/ 220599 h 243789"/>
                    <a:gd name="connsiteX45" fmla="*/ 182007 w 342022"/>
                    <a:gd name="connsiteY45" fmla="*/ 218427 h 243789"/>
                    <a:gd name="connsiteX46" fmla="*/ 172472 w 342022"/>
                    <a:gd name="connsiteY46" fmla="*/ 222066 h 243789"/>
                    <a:gd name="connsiteX47" fmla="*/ 160699 w 342022"/>
                    <a:gd name="connsiteY47" fmla="*/ 220761 h 243789"/>
                    <a:gd name="connsiteX48" fmla="*/ 139001 w 342022"/>
                    <a:gd name="connsiteY48" fmla="*/ 221085 h 243789"/>
                    <a:gd name="connsiteX49" fmla="*/ 126705 w 342022"/>
                    <a:gd name="connsiteY49" fmla="*/ 222266 h 243789"/>
                    <a:gd name="connsiteX50" fmla="*/ 118789 w 342022"/>
                    <a:gd name="connsiteY50" fmla="*/ 228638 h 243789"/>
                    <a:gd name="connsiteX51" fmla="*/ 100701 w 342022"/>
                    <a:gd name="connsiteY51" fmla="*/ 236068 h 243789"/>
                    <a:gd name="connsiteX52" fmla="*/ 91348 w 342022"/>
                    <a:gd name="connsiteY52" fmla="*/ 243773 h 243789"/>
                    <a:gd name="connsiteX53" fmla="*/ 74117 w 342022"/>
                    <a:gd name="connsiteY53" fmla="*/ 229591 h 243789"/>
                    <a:gd name="connsiteX54" fmla="*/ 75393 w 342022"/>
                    <a:gd name="connsiteY54" fmla="*/ 215808 h 243789"/>
                    <a:gd name="connsiteX55" fmla="*/ 70221 w 342022"/>
                    <a:gd name="connsiteY55" fmla="*/ 218389 h 243789"/>
                    <a:gd name="connsiteX56" fmla="*/ 57477 w 342022"/>
                    <a:gd name="connsiteY56" fmla="*/ 204302 h 243789"/>
                    <a:gd name="connsiteX57" fmla="*/ 45304 w 342022"/>
                    <a:gd name="connsiteY57" fmla="*/ 206969 h 243789"/>
                    <a:gd name="connsiteX58" fmla="*/ 41094 w 342022"/>
                    <a:gd name="connsiteY58" fmla="*/ 202359 h 243789"/>
                    <a:gd name="connsiteX59" fmla="*/ 39836 w 342022"/>
                    <a:gd name="connsiteY59" fmla="*/ 195615 h 243789"/>
                    <a:gd name="connsiteX60" fmla="*/ 46542 w 342022"/>
                    <a:gd name="connsiteY60" fmla="*/ 184118 h 243789"/>
                    <a:gd name="connsiteX61" fmla="*/ 55886 w 342022"/>
                    <a:gd name="connsiteY61" fmla="*/ 175660 h 243789"/>
                    <a:gd name="connsiteX62" fmla="*/ 45513 w 342022"/>
                    <a:gd name="connsiteY62" fmla="*/ 166478 h 243789"/>
                    <a:gd name="connsiteX63" fmla="*/ 53686 w 342022"/>
                    <a:gd name="connsiteY63" fmla="*/ 153638 h 243789"/>
                    <a:gd name="connsiteX64" fmla="*/ 49276 w 342022"/>
                    <a:gd name="connsiteY64" fmla="*/ 142618 h 243789"/>
                    <a:gd name="connsiteX65" fmla="*/ 46504 w 342022"/>
                    <a:gd name="connsiteY65" fmla="*/ 135217 h 243789"/>
                    <a:gd name="connsiteX66" fmla="*/ 41542 w 342022"/>
                    <a:gd name="connsiteY66" fmla="*/ 129235 h 243789"/>
                    <a:gd name="connsiteX67" fmla="*/ 59810 w 342022"/>
                    <a:gd name="connsiteY67" fmla="*/ 117901 h 243789"/>
                    <a:gd name="connsiteX68" fmla="*/ 57191 w 342022"/>
                    <a:gd name="connsiteY68" fmla="*/ 111700 h 243789"/>
                    <a:gd name="connsiteX69" fmla="*/ 61878 w 342022"/>
                    <a:gd name="connsiteY69" fmla="*/ 108452 h 243789"/>
                    <a:gd name="connsiteX70" fmla="*/ 61620 w 342022"/>
                    <a:gd name="connsiteY70" fmla="*/ 105651 h 243789"/>
                    <a:gd name="connsiteX71" fmla="*/ 62658 w 342022"/>
                    <a:gd name="connsiteY71" fmla="*/ 98279 h 243789"/>
                    <a:gd name="connsiteX72" fmla="*/ 60192 w 342022"/>
                    <a:gd name="connsiteY72" fmla="*/ 86573 h 243789"/>
                    <a:gd name="connsiteX73" fmla="*/ 66945 w 342022"/>
                    <a:gd name="connsiteY73" fmla="*/ 80334 h 243789"/>
                    <a:gd name="connsiteX74" fmla="*/ 78622 w 342022"/>
                    <a:gd name="connsiteY74" fmla="*/ 72285 h 243789"/>
                    <a:gd name="connsiteX75" fmla="*/ 71164 w 342022"/>
                    <a:gd name="connsiteY75" fmla="*/ 64894 h 243789"/>
                    <a:gd name="connsiteX76" fmla="*/ 68611 w 342022"/>
                    <a:gd name="connsiteY76" fmla="*/ 57512 h 243789"/>
                    <a:gd name="connsiteX77" fmla="*/ 59706 w 342022"/>
                    <a:gd name="connsiteY77" fmla="*/ 57217 h 243789"/>
                    <a:gd name="connsiteX78" fmla="*/ 53914 w 342022"/>
                    <a:gd name="connsiteY78" fmla="*/ 57417 h 243789"/>
                    <a:gd name="connsiteX79" fmla="*/ 45104 w 342022"/>
                    <a:gd name="connsiteY79" fmla="*/ 60770 h 243789"/>
                    <a:gd name="connsiteX80" fmla="*/ 36417 w 342022"/>
                    <a:gd name="connsiteY80" fmla="*/ 59484 h 243789"/>
                    <a:gd name="connsiteX81" fmla="*/ 27178 w 342022"/>
                    <a:gd name="connsiteY81" fmla="*/ 61389 h 243789"/>
                    <a:gd name="connsiteX82" fmla="*/ 21320 w 342022"/>
                    <a:gd name="connsiteY82" fmla="*/ 52435 h 243789"/>
                    <a:gd name="connsiteX83" fmla="*/ 8947 w 342022"/>
                    <a:gd name="connsiteY83" fmla="*/ 57817 h 243789"/>
                    <a:gd name="connsiteX84" fmla="*/ 13424 w 342022"/>
                    <a:gd name="connsiteY84" fmla="*/ 46949 h 243789"/>
                    <a:gd name="connsiteX85" fmla="*/ 10023 w 342022"/>
                    <a:gd name="connsiteY85" fmla="*/ 46596 h 243789"/>
                    <a:gd name="connsiteX86" fmla="*/ 12576 w 342022"/>
                    <a:gd name="connsiteY86" fmla="*/ 42605 h 243789"/>
                    <a:gd name="connsiteX87" fmla="*/ 10719 w 342022"/>
                    <a:gd name="connsiteY87" fmla="*/ 35414 h 243789"/>
                    <a:gd name="connsiteX88" fmla="*/ 7823 w 342022"/>
                    <a:gd name="connsiteY88" fmla="*/ 30423 h 243789"/>
                    <a:gd name="connsiteX89" fmla="*/ 1613 w 342022"/>
                    <a:gd name="connsiteY89" fmla="*/ 18602 h 243789"/>
                    <a:gd name="connsiteX90" fmla="*/ 18424 w 342022"/>
                    <a:gd name="connsiteY90" fmla="*/ 13640 h 243789"/>
                    <a:gd name="connsiteX91" fmla="*/ 24368 w 342022"/>
                    <a:gd name="connsiteY91" fmla="*/ 11592 h 243789"/>
                    <a:gd name="connsiteX92" fmla="*/ 26873 w 342022"/>
                    <a:gd name="connsiteY92" fmla="*/ 6458 h 243789"/>
                    <a:gd name="connsiteX93" fmla="*/ 42799 w 342022"/>
                    <a:gd name="connsiteY93" fmla="*/ 0 h 243789"/>
                    <a:gd name="connsiteX94" fmla="*/ 42799 w 342022"/>
                    <a:gd name="connsiteY94" fmla="*/ 0 h 24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42022" h="243789">
                      <a:moveTo>
                        <a:pt x="42799" y="0"/>
                      </a:moveTo>
                      <a:cubicBezTo>
                        <a:pt x="48561" y="1981"/>
                        <a:pt x="54734" y="6182"/>
                        <a:pt x="60934" y="6372"/>
                      </a:cubicBezTo>
                      <a:cubicBezTo>
                        <a:pt x="67773" y="6582"/>
                        <a:pt x="75698" y="5686"/>
                        <a:pt x="82585" y="5058"/>
                      </a:cubicBezTo>
                      <a:cubicBezTo>
                        <a:pt x="97615" y="3667"/>
                        <a:pt x="111360" y="8954"/>
                        <a:pt x="126638" y="10639"/>
                      </a:cubicBezTo>
                      <a:cubicBezTo>
                        <a:pt x="133458" y="11401"/>
                        <a:pt x="138868" y="9525"/>
                        <a:pt x="145469" y="8496"/>
                      </a:cubicBezTo>
                      <a:cubicBezTo>
                        <a:pt x="147726" y="8144"/>
                        <a:pt x="152460" y="7515"/>
                        <a:pt x="154765" y="7849"/>
                      </a:cubicBezTo>
                      <a:cubicBezTo>
                        <a:pt x="158527" y="8373"/>
                        <a:pt x="161928" y="11744"/>
                        <a:pt x="166157" y="11725"/>
                      </a:cubicBezTo>
                      <a:cubicBezTo>
                        <a:pt x="169415" y="11706"/>
                        <a:pt x="170910" y="10135"/>
                        <a:pt x="174206" y="9906"/>
                      </a:cubicBezTo>
                      <a:cubicBezTo>
                        <a:pt x="178120" y="9630"/>
                        <a:pt x="181807" y="11964"/>
                        <a:pt x="185445" y="12821"/>
                      </a:cubicBezTo>
                      <a:cubicBezTo>
                        <a:pt x="191865" y="14326"/>
                        <a:pt x="196580" y="13449"/>
                        <a:pt x="202828" y="11259"/>
                      </a:cubicBezTo>
                      <a:cubicBezTo>
                        <a:pt x="203600" y="16231"/>
                        <a:pt x="211077" y="14830"/>
                        <a:pt x="213182" y="18250"/>
                      </a:cubicBezTo>
                      <a:cubicBezTo>
                        <a:pt x="213991" y="19574"/>
                        <a:pt x="211163" y="20841"/>
                        <a:pt x="212439" y="22812"/>
                      </a:cubicBezTo>
                      <a:cubicBezTo>
                        <a:pt x="213268" y="24079"/>
                        <a:pt x="215811" y="21384"/>
                        <a:pt x="216182" y="20898"/>
                      </a:cubicBezTo>
                      <a:cubicBezTo>
                        <a:pt x="218954" y="24698"/>
                        <a:pt x="224545" y="23908"/>
                        <a:pt x="228650" y="25708"/>
                      </a:cubicBezTo>
                      <a:cubicBezTo>
                        <a:pt x="231518" y="26965"/>
                        <a:pt x="233975" y="29728"/>
                        <a:pt x="237052" y="30356"/>
                      </a:cubicBezTo>
                      <a:cubicBezTo>
                        <a:pt x="239890" y="30937"/>
                        <a:pt x="241909" y="29489"/>
                        <a:pt x="244643" y="30261"/>
                      </a:cubicBezTo>
                      <a:cubicBezTo>
                        <a:pt x="250244" y="31833"/>
                        <a:pt x="249539" y="32985"/>
                        <a:pt x="256026" y="33099"/>
                      </a:cubicBezTo>
                      <a:cubicBezTo>
                        <a:pt x="258607" y="33147"/>
                        <a:pt x="262626" y="34719"/>
                        <a:pt x="265351" y="33938"/>
                      </a:cubicBezTo>
                      <a:cubicBezTo>
                        <a:pt x="270246" y="32528"/>
                        <a:pt x="268065" y="30309"/>
                        <a:pt x="272399" y="29175"/>
                      </a:cubicBezTo>
                      <a:cubicBezTo>
                        <a:pt x="274095" y="28737"/>
                        <a:pt x="285324" y="32147"/>
                        <a:pt x="286925" y="33223"/>
                      </a:cubicBezTo>
                      <a:cubicBezTo>
                        <a:pt x="290125" y="35366"/>
                        <a:pt x="288953" y="38272"/>
                        <a:pt x="290763" y="39929"/>
                      </a:cubicBezTo>
                      <a:cubicBezTo>
                        <a:pt x="292992" y="41986"/>
                        <a:pt x="291430" y="40691"/>
                        <a:pt x="295069" y="41205"/>
                      </a:cubicBezTo>
                      <a:cubicBezTo>
                        <a:pt x="297440" y="41539"/>
                        <a:pt x="298126" y="39881"/>
                        <a:pt x="301336" y="40786"/>
                      </a:cubicBezTo>
                      <a:cubicBezTo>
                        <a:pt x="302736" y="41186"/>
                        <a:pt x="304374" y="43282"/>
                        <a:pt x="305279" y="43463"/>
                      </a:cubicBezTo>
                      <a:cubicBezTo>
                        <a:pt x="308470" y="44101"/>
                        <a:pt x="311432" y="42672"/>
                        <a:pt x="315366" y="43025"/>
                      </a:cubicBezTo>
                      <a:cubicBezTo>
                        <a:pt x="317538" y="43215"/>
                        <a:pt x="319814" y="44777"/>
                        <a:pt x="321958" y="44701"/>
                      </a:cubicBezTo>
                      <a:cubicBezTo>
                        <a:pt x="325015" y="44587"/>
                        <a:pt x="323301" y="43425"/>
                        <a:pt x="325158" y="42977"/>
                      </a:cubicBezTo>
                      <a:cubicBezTo>
                        <a:pt x="329368" y="41958"/>
                        <a:pt x="341093" y="38614"/>
                        <a:pt x="342008" y="45606"/>
                      </a:cubicBezTo>
                      <a:cubicBezTo>
                        <a:pt x="342293" y="47787"/>
                        <a:pt x="338493" y="46787"/>
                        <a:pt x="338426" y="47587"/>
                      </a:cubicBezTo>
                      <a:cubicBezTo>
                        <a:pt x="338312" y="49082"/>
                        <a:pt x="339360" y="51130"/>
                        <a:pt x="339312" y="51740"/>
                      </a:cubicBezTo>
                      <a:cubicBezTo>
                        <a:pt x="339007" y="55883"/>
                        <a:pt x="341512" y="56550"/>
                        <a:pt x="337045" y="60789"/>
                      </a:cubicBezTo>
                      <a:cubicBezTo>
                        <a:pt x="331692" y="65875"/>
                        <a:pt x="323491" y="67323"/>
                        <a:pt x="317405" y="71314"/>
                      </a:cubicBezTo>
                      <a:cubicBezTo>
                        <a:pt x="312937" y="74248"/>
                        <a:pt x="310489" y="77200"/>
                        <a:pt x="305327" y="78772"/>
                      </a:cubicBezTo>
                      <a:cubicBezTo>
                        <a:pt x="298840" y="80743"/>
                        <a:pt x="292106" y="81753"/>
                        <a:pt x="285591" y="83782"/>
                      </a:cubicBezTo>
                      <a:cubicBezTo>
                        <a:pt x="279457" y="85687"/>
                        <a:pt x="276476" y="88849"/>
                        <a:pt x="271361" y="92669"/>
                      </a:cubicBezTo>
                      <a:cubicBezTo>
                        <a:pt x="280571" y="94193"/>
                        <a:pt x="272685" y="97260"/>
                        <a:pt x="269656" y="99203"/>
                      </a:cubicBezTo>
                      <a:cubicBezTo>
                        <a:pt x="265893" y="101613"/>
                        <a:pt x="262998" y="106871"/>
                        <a:pt x="259683" y="110900"/>
                      </a:cubicBezTo>
                      <a:cubicBezTo>
                        <a:pt x="251025" y="121425"/>
                        <a:pt x="238995" y="130121"/>
                        <a:pt x="244834" y="144828"/>
                      </a:cubicBezTo>
                      <a:cubicBezTo>
                        <a:pt x="246043" y="147866"/>
                        <a:pt x="246643" y="150038"/>
                        <a:pt x="249244" y="152295"/>
                      </a:cubicBezTo>
                      <a:cubicBezTo>
                        <a:pt x="250987" y="153810"/>
                        <a:pt x="255968" y="154572"/>
                        <a:pt x="256587" y="156648"/>
                      </a:cubicBezTo>
                      <a:cubicBezTo>
                        <a:pt x="257978" y="161277"/>
                        <a:pt x="244634" y="165268"/>
                        <a:pt x="241567" y="167526"/>
                      </a:cubicBezTo>
                      <a:cubicBezTo>
                        <a:pt x="237366" y="170612"/>
                        <a:pt x="224231" y="189748"/>
                        <a:pt x="231232" y="193224"/>
                      </a:cubicBezTo>
                      <a:cubicBezTo>
                        <a:pt x="226460" y="197168"/>
                        <a:pt x="218878" y="194015"/>
                        <a:pt x="213449" y="195844"/>
                      </a:cubicBezTo>
                      <a:cubicBezTo>
                        <a:pt x="203828" y="199101"/>
                        <a:pt x="201704" y="206559"/>
                        <a:pt x="196952" y="214113"/>
                      </a:cubicBezTo>
                      <a:cubicBezTo>
                        <a:pt x="195684" y="216122"/>
                        <a:pt x="193027" y="219961"/>
                        <a:pt x="190617" y="220599"/>
                      </a:cubicBezTo>
                      <a:cubicBezTo>
                        <a:pt x="188103" y="221266"/>
                        <a:pt x="185331" y="218227"/>
                        <a:pt x="182007" y="218427"/>
                      </a:cubicBezTo>
                      <a:cubicBezTo>
                        <a:pt x="178025" y="218675"/>
                        <a:pt x="176234" y="221523"/>
                        <a:pt x="172472" y="222066"/>
                      </a:cubicBezTo>
                      <a:cubicBezTo>
                        <a:pt x="169005" y="222571"/>
                        <a:pt x="164519" y="220380"/>
                        <a:pt x="160699" y="220761"/>
                      </a:cubicBezTo>
                      <a:cubicBezTo>
                        <a:pt x="153355" y="221494"/>
                        <a:pt x="146583" y="220761"/>
                        <a:pt x="139001" y="221085"/>
                      </a:cubicBezTo>
                      <a:cubicBezTo>
                        <a:pt x="135477" y="221237"/>
                        <a:pt x="130076" y="220837"/>
                        <a:pt x="126705" y="222266"/>
                      </a:cubicBezTo>
                      <a:cubicBezTo>
                        <a:pt x="123761" y="223504"/>
                        <a:pt x="121961" y="227505"/>
                        <a:pt x="118789" y="228638"/>
                      </a:cubicBezTo>
                      <a:cubicBezTo>
                        <a:pt x="110684" y="231524"/>
                        <a:pt x="107121" y="228924"/>
                        <a:pt x="100701" y="236068"/>
                      </a:cubicBezTo>
                      <a:cubicBezTo>
                        <a:pt x="97987" y="239078"/>
                        <a:pt x="96968" y="243459"/>
                        <a:pt x="91348" y="243773"/>
                      </a:cubicBezTo>
                      <a:cubicBezTo>
                        <a:pt x="83299" y="244221"/>
                        <a:pt x="77336" y="235182"/>
                        <a:pt x="74117" y="229591"/>
                      </a:cubicBezTo>
                      <a:cubicBezTo>
                        <a:pt x="71498" y="225038"/>
                        <a:pt x="67173" y="219104"/>
                        <a:pt x="75393" y="215808"/>
                      </a:cubicBezTo>
                      <a:cubicBezTo>
                        <a:pt x="72669" y="216599"/>
                        <a:pt x="72317" y="216017"/>
                        <a:pt x="70221" y="218389"/>
                      </a:cubicBezTo>
                      <a:cubicBezTo>
                        <a:pt x="67840" y="213255"/>
                        <a:pt x="55410" y="209369"/>
                        <a:pt x="57477" y="204302"/>
                      </a:cubicBezTo>
                      <a:cubicBezTo>
                        <a:pt x="55400" y="207388"/>
                        <a:pt x="48542" y="207893"/>
                        <a:pt x="45304" y="206969"/>
                      </a:cubicBezTo>
                      <a:cubicBezTo>
                        <a:pt x="40437" y="205578"/>
                        <a:pt x="43161" y="208131"/>
                        <a:pt x="41094" y="202359"/>
                      </a:cubicBezTo>
                      <a:cubicBezTo>
                        <a:pt x="40503" y="200730"/>
                        <a:pt x="39656" y="197358"/>
                        <a:pt x="39836" y="195615"/>
                      </a:cubicBezTo>
                      <a:cubicBezTo>
                        <a:pt x="40227" y="191776"/>
                        <a:pt x="43608" y="186766"/>
                        <a:pt x="46542" y="184118"/>
                      </a:cubicBezTo>
                      <a:cubicBezTo>
                        <a:pt x="49990" y="181004"/>
                        <a:pt x="55058" y="181013"/>
                        <a:pt x="55886" y="175660"/>
                      </a:cubicBezTo>
                      <a:cubicBezTo>
                        <a:pt x="51171" y="176889"/>
                        <a:pt x="46047" y="170926"/>
                        <a:pt x="45513" y="166478"/>
                      </a:cubicBezTo>
                      <a:cubicBezTo>
                        <a:pt x="44742" y="160144"/>
                        <a:pt x="50971" y="157772"/>
                        <a:pt x="53686" y="153638"/>
                      </a:cubicBezTo>
                      <a:cubicBezTo>
                        <a:pt x="58077" y="146952"/>
                        <a:pt x="52524" y="147352"/>
                        <a:pt x="49276" y="142618"/>
                      </a:cubicBezTo>
                      <a:cubicBezTo>
                        <a:pt x="47628" y="140218"/>
                        <a:pt x="47771" y="137427"/>
                        <a:pt x="46504" y="135217"/>
                      </a:cubicBezTo>
                      <a:cubicBezTo>
                        <a:pt x="45218" y="132988"/>
                        <a:pt x="42723" y="131978"/>
                        <a:pt x="41542" y="129235"/>
                      </a:cubicBezTo>
                      <a:cubicBezTo>
                        <a:pt x="48076" y="127416"/>
                        <a:pt x="61611" y="130369"/>
                        <a:pt x="59810" y="117901"/>
                      </a:cubicBezTo>
                      <a:cubicBezTo>
                        <a:pt x="59315" y="114462"/>
                        <a:pt x="55781" y="115453"/>
                        <a:pt x="57191" y="111700"/>
                      </a:cubicBezTo>
                      <a:cubicBezTo>
                        <a:pt x="57782" y="110119"/>
                        <a:pt x="61039" y="109995"/>
                        <a:pt x="61878" y="108452"/>
                      </a:cubicBezTo>
                      <a:cubicBezTo>
                        <a:pt x="62649" y="107004"/>
                        <a:pt x="61315" y="106661"/>
                        <a:pt x="61620" y="105651"/>
                      </a:cubicBezTo>
                      <a:cubicBezTo>
                        <a:pt x="62239" y="103527"/>
                        <a:pt x="62563" y="100498"/>
                        <a:pt x="62658" y="98279"/>
                      </a:cubicBezTo>
                      <a:cubicBezTo>
                        <a:pt x="62801" y="95269"/>
                        <a:pt x="59496" y="88592"/>
                        <a:pt x="60192" y="86573"/>
                      </a:cubicBezTo>
                      <a:cubicBezTo>
                        <a:pt x="60658" y="85201"/>
                        <a:pt x="65792" y="81229"/>
                        <a:pt x="66945" y="80334"/>
                      </a:cubicBezTo>
                      <a:cubicBezTo>
                        <a:pt x="70078" y="77924"/>
                        <a:pt x="76679" y="75790"/>
                        <a:pt x="78622" y="72285"/>
                      </a:cubicBezTo>
                      <a:cubicBezTo>
                        <a:pt x="82623" y="65065"/>
                        <a:pt x="74070" y="68732"/>
                        <a:pt x="71164" y="64894"/>
                      </a:cubicBezTo>
                      <a:cubicBezTo>
                        <a:pt x="68621" y="61522"/>
                        <a:pt x="73184" y="59922"/>
                        <a:pt x="68611" y="57512"/>
                      </a:cubicBezTo>
                      <a:cubicBezTo>
                        <a:pt x="66249" y="56264"/>
                        <a:pt x="62277" y="57141"/>
                        <a:pt x="59706" y="57217"/>
                      </a:cubicBezTo>
                      <a:cubicBezTo>
                        <a:pt x="56886" y="57293"/>
                        <a:pt x="55943" y="56836"/>
                        <a:pt x="53914" y="57417"/>
                      </a:cubicBezTo>
                      <a:cubicBezTo>
                        <a:pt x="51505" y="58112"/>
                        <a:pt x="49419" y="60855"/>
                        <a:pt x="45104" y="60770"/>
                      </a:cubicBezTo>
                      <a:cubicBezTo>
                        <a:pt x="41789" y="60703"/>
                        <a:pt x="40046" y="59265"/>
                        <a:pt x="36417" y="59484"/>
                      </a:cubicBezTo>
                      <a:cubicBezTo>
                        <a:pt x="34407" y="59598"/>
                        <a:pt x="28692" y="62427"/>
                        <a:pt x="27178" y="61389"/>
                      </a:cubicBezTo>
                      <a:cubicBezTo>
                        <a:pt x="21701" y="57664"/>
                        <a:pt x="33664" y="50721"/>
                        <a:pt x="21320" y="52435"/>
                      </a:cubicBezTo>
                      <a:cubicBezTo>
                        <a:pt x="18377" y="52845"/>
                        <a:pt x="10681" y="58341"/>
                        <a:pt x="8947" y="57817"/>
                      </a:cubicBezTo>
                      <a:cubicBezTo>
                        <a:pt x="3422" y="56179"/>
                        <a:pt x="11519" y="48501"/>
                        <a:pt x="13424" y="46949"/>
                      </a:cubicBezTo>
                      <a:cubicBezTo>
                        <a:pt x="12319" y="46930"/>
                        <a:pt x="11271" y="46463"/>
                        <a:pt x="10023" y="46596"/>
                      </a:cubicBezTo>
                      <a:cubicBezTo>
                        <a:pt x="10947" y="45396"/>
                        <a:pt x="11157" y="43844"/>
                        <a:pt x="12576" y="42605"/>
                      </a:cubicBezTo>
                      <a:cubicBezTo>
                        <a:pt x="9804" y="41043"/>
                        <a:pt x="10452" y="38176"/>
                        <a:pt x="10719" y="35414"/>
                      </a:cubicBezTo>
                      <a:cubicBezTo>
                        <a:pt x="3108" y="39414"/>
                        <a:pt x="4518" y="35119"/>
                        <a:pt x="7823" y="30423"/>
                      </a:cubicBezTo>
                      <a:cubicBezTo>
                        <a:pt x="1498" y="30299"/>
                        <a:pt x="-2359" y="23860"/>
                        <a:pt x="1613" y="18602"/>
                      </a:cubicBezTo>
                      <a:cubicBezTo>
                        <a:pt x="5566" y="13383"/>
                        <a:pt x="13052" y="14554"/>
                        <a:pt x="18424" y="13640"/>
                      </a:cubicBezTo>
                      <a:cubicBezTo>
                        <a:pt x="19920" y="13383"/>
                        <a:pt x="23311" y="12468"/>
                        <a:pt x="24368" y="11592"/>
                      </a:cubicBezTo>
                      <a:cubicBezTo>
                        <a:pt x="27378" y="9077"/>
                        <a:pt x="25578" y="7734"/>
                        <a:pt x="26873" y="6458"/>
                      </a:cubicBezTo>
                      <a:cubicBezTo>
                        <a:pt x="31254" y="2162"/>
                        <a:pt x="37779" y="2905"/>
                        <a:pt x="42799" y="0"/>
                      </a:cubicBezTo>
                      <a:lnTo>
                        <a:pt x="42799" y="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58" name="Freeform: Shape 657">
                  <a:extLst>
                    <a:ext uri="{FF2B5EF4-FFF2-40B4-BE49-F238E27FC236}">
                      <a16:creationId xmlns:a16="http://schemas.microsoft.com/office/drawing/2014/main" id="{AE5C295C-73CD-4DEA-B91C-53A886D57B5C}"/>
                    </a:ext>
                  </a:extLst>
                </p:cNvPr>
                <p:cNvSpPr/>
                <p:nvPr/>
              </p:nvSpPr>
              <p:spPr>
                <a:xfrm>
                  <a:off x="6721946" y="3797729"/>
                  <a:ext cx="212371" cy="176419"/>
                </a:xfrm>
                <a:custGeom>
                  <a:avLst/>
                  <a:gdLst>
                    <a:gd name="connsiteX0" fmla="*/ 58062 w 212371"/>
                    <a:gd name="connsiteY0" fmla="*/ 0 h 176419"/>
                    <a:gd name="connsiteX1" fmla="*/ 80589 w 212371"/>
                    <a:gd name="connsiteY1" fmla="*/ 48625 h 176419"/>
                    <a:gd name="connsiteX2" fmla="*/ 90371 w 212371"/>
                    <a:gd name="connsiteY2" fmla="*/ 70714 h 176419"/>
                    <a:gd name="connsiteX3" fmla="*/ 103182 w 212371"/>
                    <a:gd name="connsiteY3" fmla="*/ 90726 h 176419"/>
                    <a:gd name="connsiteX4" fmla="*/ 107878 w 212371"/>
                    <a:gd name="connsiteY4" fmla="*/ 81963 h 176419"/>
                    <a:gd name="connsiteX5" fmla="*/ 118070 w 212371"/>
                    <a:gd name="connsiteY5" fmla="*/ 94840 h 176419"/>
                    <a:gd name="connsiteX6" fmla="*/ 126366 w 212371"/>
                    <a:gd name="connsiteY6" fmla="*/ 96498 h 176419"/>
                    <a:gd name="connsiteX7" fmla="*/ 134795 w 212371"/>
                    <a:gd name="connsiteY7" fmla="*/ 102060 h 176419"/>
                    <a:gd name="connsiteX8" fmla="*/ 151236 w 212371"/>
                    <a:gd name="connsiteY8" fmla="*/ 110614 h 176419"/>
                    <a:gd name="connsiteX9" fmla="*/ 164752 w 212371"/>
                    <a:gd name="connsiteY9" fmla="*/ 126892 h 176419"/>
                    <a:gd name="connsiteX10" fmla="*/ 183725 w 212371"/>
                    <a:gd name="connsiteY10" fmla="*/ 139141 h 176419"/>
                    <a:gd name="connsiteX11" fmla="*/ 188469 w 212371"/>
                    <a:gd name="connsiteY11" fmla="*/ 148037 h 176419"/>
                    <a:gd name="connsiteX12" fmla="*/ 193879 w 212371"/>
                    <a:gd name="connsiteY12" fmla="*/ 151152 h 176419"/>
                    <a:gd name="connsiteX13" fmla="*/ 208348 w 212371"/>
                    <a:gd name="connsiteY13" fmla="*/ 163697 h 176419"/>
                    <a:gd name="connsiteX14" fmla="*/ 209005 w 212371"/>
                    <a:gd name="connsiteY14" fmla="*/ 160820 h 176419"/>
                    <a:gd name="connsiteX15" fmla="*/ 210710 w 212371"/>
                    <a:gd name="connsiteY15" fmla="*/ 167916 h 176419"/>
                    <a:gd name="connsiteX16" fmla="*/ 206147 w 212371"/>
                    <a:gd name="connsiteY16" fmla="*/ 169583 h 176419"/>
                    <a:gd name="connsiteX17" fmla="*/ 203766 w 212371"/>
                    <a:gd name="connsiteY17" fmla="*/ 173536 h 176419"/>
                    <a:gd name="connsiteX18" fmla="*/ 196994 w 212371"/>
                    <a:gd name="connsiteY18" fmla="*/ 175136 h 176419"/>
                    <a:gd name="connsiteX19" fmla="*/ 190841 w 212371"/>
                    <a:gd name="connsiteY19" fmla="*/ 174460 h 176419"/>
                    <a:gd name="connsiteX20" fmla="*/ 156589 w 212371"/>
                    <a:gd name="connsiteY20" fmla="*/ 141913 h 176419"/>
                    <a:gd name="connsiteX21" fmla="*/ 117355 w 212371"/>
                    <a:gd name="connsiteY21" fmla="*/ 112166 h 176419"/>
                    <a:gd name="connsiteX22" fmla="*/ 105192 w 212371"/>
                    <a:gd name="connsiteY22" fmla="*/ 110899 h 176419"/>
                    <a:gd name="connsiteX23" fmla="*/ 95667 w 212371"/>
                    <a:gd name="connsiteY23" fmla="*/ 109642 h 176419"/>
                    <a:gd name="connsiteX24" fmla="*/ 86075 w 212371"/>
                    <a:gd name="connsiteY24" fmla="*/ 110138 h 176419"/>
                    <a:gd name="connsiteX25" fmla="*/ 80608 w 212371"/>
                    <a:gd name="connsiteY25" fmla="*/ 106994 h 176419"/>
                    <a:gd name="connsiteX26" fmla="*/ 70111 w 212371"/>
                    <a:gd name="connsiteY26" fmla="*/ 111881 h 176419"/>
                    <a:gd name="connsiteX27" fmla="*/ 60776 w 212371"/>
                    <a:gd name="connsiteY27" fmla="*/ 110747 h 176419"/>
                    <a:gd name="connsiteX28" fmla="*/ 53480 w 212371"/>
                    <a:gd name="connsiteY28" fmla="*/ 104661 h 176419"/>
                    <a:gd name="connsiteX29" fmla="*/ 45051 w 212371"/>
                    <a:gd name="connsiteY29" fmla="*/ 99308 h 176419"/>
                    <a:gd name="connsiteX30" fmla="*/ 35821 w 212371"/>
                    <a:gd name="connsiteY30" fmla="*/ 121444 h 176419"/>
                    <a:gd name="connsiteX31" fmla="*/ 27515 w 212371"/>
                    <a:gd name="connsiteY31" fmla="*/ 112500 h 176419"/>
                    <a:gd name="connsiteX32" fmla="*/ 21077 w 212371"/>
                    <a:gd name="connsiteY32" fmla="*/ 117053 h 176419"/>
                    <a:gd name="connsiteX33" fmla="*/ 12152 w 212371"/>
                    <a:gd name="connsiteY33" fmla="*/ 116253 h 176419"/>
                    <a:gd name="connsiteX34" fmla="*/ 3760 w 212371"/>
                    <a:gd name="connsiteY34" fmla="*/ 114586 h 176419"/>
                    <a:gd name="connsiteX35" fmla="*/ 512 w 212371"/>
                    <a:gd name="connsiteY35" fmla="*/ 88649 h 176419"/>
                    <a:gd name="connsiteX36" fmla="*/ 8465 w 212371"/>
                    <a:gd name="connsiteY36" fmla="*/ 64370 h 176419"/>
                    <a:gd name="connsiteX37" fmla="*/ 11056 w 212371"/>
                    <a:gd name="connsiteY37" fmla="*/ 39129 h 176419"/>
                    <a:gd name="connsiteX38" fmla="*/ 11761 w 212371"/>
                    <a:gd name="connsiteY38" fmla="*/ 29775 h 176419"/>
                    <a:gd name="connsiteX39" fmla="*/ 23076 w 212371"/>
                    <a:gd name="connsiteY39" fmla="*/ 29775 h 176419"/>
                    <a:gd name="connsiteX40" fmla="*/ 27030 w 212371"/>
                    <a:gd name="connsiteY40" fmla="*/ 21984 h 176419"/>
                    <a:gd name="connsiteX41" fmla="*/ 34335 w 212371"/>
                    <a:gd name="connsiteY41" fmla="*/ 17240 h 176419"/>
                    <a:gd name="connsiteX42" fmla="*/ 48223 w 212371"/>
                    <a:gd name="connsiteY42" fmla="*/ 13392 h 176419"/>
                    <a:gd name="connsiteX43" fmla="*/ 58062 w 212371"/>
                    <a:gd name="connsiteY43" fmla="*/ 0 h 176419"/>
                    <a:gd name="connsiteX44" fmla="*/ 58062 w 212371"/>
                    <a:gd name="connsiteY44" fmla="*/ 0 h 176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12371" h="176419">
                      <a:moveTo>
                        <a:pt x="58062" y="0"/>
                      </a:moveTo>
                      <a:cubicBezTo>
                        <a:pt x="67653" y="15621"/>
                        <a:pt x="76235" y="30661"/>
                        <a:pt x="80589" y="48625"/>
                      </a:cubicBezTo>
                      <a:cubicBezTo>
                        <a:pt x="82779" y="57664"/>
                        <a:pt x="85618" y="63189"/>
                        <a:pt x="90371" y="70714"/>
                      </a:cubicBezTo>
                      <a:cubicBezTo>
                        <a:pt x="94342" y="77000"/>
                        <a:pt x="97562" y="85001"/>
                        <a:pt x="103182" y="90726"/>
                      </a:cubicBezTo>
                      <a:cubicBezTo>
                        <a:pt x="105182" y="86839"/>
                        <a:pt x="99953" y="76971"/>
                        <a:pt x="107878" y="81963"/>
                      </a:cubicBezTo>
                      <a:cubicBezTo>
                        <a:pt x="112783" y="85049"/>
                        <a:pt x="111869" y="91926"/>
                        <a:pt x="118070" y="94840"/>
                      </a:cubicBezTo>
                      <a:cubicBezTo>
                        <a:pt x="120660" y="96060"/>
                        <a:pt x="123651" y="95517"/>
                        <a:pt x="126366" y="96498"/>
                      </a:cubicBezTo>
                      <a:cubicBezTo>
                        <a:pt x="129737" y="97707"/>
                        <a:pt x="131738" y="100393"/>
                        <a:pt x="134795" y="102060"/>
                      </a:cubicBezTo>
                      <a:cubicBezTo>
                        <a:pt x="141025" y="105470"/>
                        <a:pt x="146082" y="105566"/>
                        <a:pt x="151236" y="110614"/>
                      </a:cubicBezTo>
                      <a:cubicBezTo>
                        <a:pt x="156198" y="115491"/>
                        <a:pt x="159665" y="122320"/>
                        <a:pt x="164752" y="126892"/>
                      </a:cubicBezTo>
                      <a:cubicBezTo>
                        <a:pt x="170219" y="131797"/>
                        <a:pt x="178639" y="133874"/>
                        <a:pt x="183725" y="139141"/>
                      </a:cubicBezTo>
                      <a:cubicBezTo>
                        <a:pt x="186050" y="141542"/>
                        <a:pt x="186430" y="145723"/>
                        <a:pt x="188469" y="148037"/>
                      </a:cubicBezTo>
                      <a:cubicBezTo>
                        <a:pt x="191460" y="151447"/>
                        <a:pt x="190631" y="148723"/>
                        <a:pt x="193879" y="151152"/>
                      </a:cubicBezTo>
                      <a:cubicBezTo>
                        <a:pt x="199260" y="155162"/>
                        <a:pt x="201528" y="162887"/>
                        <a:pt x="208348" y="163697"/>
                      </a:cubicBezTo>
                      <a:cubicBezTo>
                        <a:pt x="208566" y="162735"/>
                        <a:pt x="208785" y="161773"/>
                        <a:pt x="209005" y="160820"/>
                      </a:cubicBezTo>
                      <a:cubicBezTo>
                        <a:pt x="213272" y="163325"/>
                        <a:pt x="213063" y="165478"/>
                        <a:pt x="210710" y="167916"/>
                      </a:cubicBezTo>
                      <a:cubicBezTo>
                        <a:pt x="209652" y="169012"/>
                        <a:pt x="207262" y="168612"/>
                        <a:pt x="206147" y="169583"/>
                      </a:cubicBezTo>
                      <a:cubicBezTo>
                        <a:pt x="205137" y="170459"/>
                        <a:pt x="204728" y="172650"/>
                        <a:pt x="203766" y="173536"/>
                      </a:cubicBezTo>
                      <a:cubicBezTo>
                        <a:pt x="199147" y="177794"/>
                        <a:pt x="203042" y="176432"/>
                        <a:pt x="196994" y="175136"/>
                      </a:cubicBezTo>
                      <a:cubicBezTo>
                        <a:pt x="193774" y="174450"/>
                        <a:pt x="193727" y="171202"/>
                        <a:pt x="190841" y="174460"/>
                      </a:cubicBezTo>
                      <a:cubicBezTo>
                        <a:pt x="179496" y="162973"/>
                        <a:pt x="169276" y="152057"/>
                        <a:pt x="156589" y="141913"/>
                      </a:cubicBezTo>
                      <a:cubicBezTo>
                        <a:pt x="143158" y="131178"/>
                        <a:pt x="134786" y="117358"/>
                        <a:pt x="117355" y="112166"/>
                      </a:cubicBezTo>
                      <a:cubicBezTo>
                        <a:pt x="113574" y="111042"/>
                        <a:pt x="109021" y="111509"/>
                        <a:pt x="105192" y="110899"/>
                      </a:cubicBezTo>
                      <a:cubicBezTo>
                        <a:pt x="102058" y="110395"/>
                        <a:pt x="98753" y="109433"/>
                        <a:pt x="95667" y="109642"/>
                      </a:cubicBezTo>
                      <a:cubicBezTo>
                        <a:pt x="91590" y="109909"/>
                        <a:pt x="89742" y="111452"/>
                        <a:pt x="86075" y="110138"/>
                      </a:cubicBezTo>
                      <a:cubicBezTo>
                        <a:pt x="83303" y="109137"/>
                        <a:pt x="84046" y="106642"/>
                        <a:pt x="80608" y="106994"/>
                      </a:cubicBezTo>
                      <a:cubicBezTo>
                        <a:pt x="78255" y="107232"/>
                        <a:pt x="73350" y="111185"/>
                        <a:pt x="70111" y="111881"/>
                      </a:cubicBezTo>
                      <a:cubicBezTo>
                        <a:pt x="65673" y="112833"/>
                        <a:pt x="64406" y="112976"/>
                        <a:pt x="60776" y="110747"/>
                      </a:cubicBezTo>
                      <a:cubicBezTo>
                        <a:pt x="58367" y="109271"/>
                        <a:pt x="55766" y="106251"/>
                        <a:pt x="53480" y="104661"/>
                      </a:cubicBezTo>
                      <a:cubicBezTo>
                        <a:pt x="50775" y="102765"/>
                        <a:pt x="47823" y="101479"/>
                        <a:pt x="45051" y="99308"/>
                      </a:cubicBezTo>
                      <a:cubicBezTo>
                        <a:pt x="43660" y="103280"/>
                        <a:pt x="39593" y="120987"/>
                        <a:pt x="35821" y="121444"/>
                      </a:cubicBezTo>
                      <a:cubicBezTo>
                        <a:pt x="33040" y="121787"/>
                        <a:pt x="30735" y="113281"/>
                        <a:pt x="27515" y="112500"/>
                      </a:cubicBezTo>
                      <a:cubicBezTo>
                        <a:pt x="22048" y="111176"/>
                        <a:pt x="24639" y="115672"/>
                        <a:pt x="21077" y="117053"/>
                      </a:cubicBezTo>
                      <a:cubicBezTo>
                        <a:pt x="18029" y="118243"/>
                        <a:pt x="15285" y="116195"/>
                        <a:pt x="12152" y="116253"/>
                      </a:cubicBezTo>
                      <a:cubicBezTo>
                        <a:pt x="5865" y="116367"/>
                        <a:pt x="6570" y="119710"/>
                        <a:pt x="3760" y="114586"/>
                      </a:cubicBezTo>
                      <a:cubicBezTo>
                        <a:pt x="626" y="108833"/>
                        <a:pt x="-860" y="94193"/>
                        <a:pt x="512" y="88649"/>
                      </a:cubicBezTo>
                      <a:cubicBezTo>
                        <a:pt x="2503" y="80667"/>
                        <a:pt x="5912" y="72371"/>
                        <a:pt x="8465" y="64370"/>
                      </a:cubicBezTo>
                      <a:cubicBezTo>
                        <a:pt x="11199" y="55807"/>
                        <a:pt x="10113" y="47463"/>
                        <a:pt x="11056" y="39129"/>
                      </a:cubicBezTo>
                      <a:cubicBezTo>
                        <a:pt x="11256" y="37281"/>
                        <a:pt x="10409" y="30994"/>
                        <a:pt x="11761" y="29775"/>
                      </a:cubicBezTo>
                      <a:cubicBezTo>
                        <a:pt x="13514" y="28194"/>
                        <a:pt x="20562" y="31309"/>
                        <a:pt x="23076" y="29775"/>
                      </a:cubicBezTo>
                      <a:cubicBezTo>
                        <a:pt x="26258" y="27842"/>
                        <a:pt x="24886" y="24889"/>
                        <a:pt x="27030" y="21984"/>
                      </a:cubicBezTo>
                      <a:cubicBezTo>
                        <a:pt x="28173" y="20431"/>
                        <a:pt x="32535" y="18164"/>
                        <a:pt x="34335" y="17240"/>
                      </a:cubicBezTo>
                      <a:cubicBezTo>
                        <a:pt x="38641" y="15050"/>
                        <a:pt x="44298" y="16002"/>
                        <a:pt x="48223" y="13392"/>
                      </a:cubicBezTo>
                      <a:cubicBezTo>
                        <a:pt x="52671" y="10439"/>
                        <a:pt x="53366" y="3467"/>
                        <a:pt x="58062" y="0"/>
                      </a:cubicBezTo>
                      <a:lnTo>
                        <a:pt x="58062" y="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59" name="Freeform: Shape 658">
                  <a:extLst>
                    <a:ext uri="{FF2B5EF4-FFF2-40B4-BE49-F238E27FC236}">
                      <a16:creationId xmlns:a16="http://schemas.microsoft.com/office/drawing/2014/main" id="{B14D840A-E6E1-43EB-BD03-E5E45D10FD25}"/>
                    </a:ext>
                  </a:extLst>
                </p:cNvPr>
                <p:cNvSpPr/>
                <p:nvPr/>
              </p:nvSpPr>
              <p:spPr>
                <a:xfrm>
                  <a:off x="6319234" y="3367780"/>
                  <a:ext cx="393499" cy="305488"/>
                </a:xfrm>
                <a:custGeom>
                  <a:avLst/>
                  <a:gdLst>
                    <a:gd name="connsiteX0" fmla="*/ 273085 w 393499"/>
                    <a:gd name="connsiteY0" fmla="*/ 10449 h 305488"/>
                    <a:gd name="connsiteX1" fmla="*/ 291868 w 393499"/>
                    <a:gd name="connsiteY1" fmla="*/ 45787 h 305488"/>
                    <a:gd name="connsiteX2" fmla="*/ 301088 w 393499"/>
                    <a:gd name="connsiteY2" fmla="*/ 65475 h 305488"/>
                    <a:gd name="connsiteX3" fmla="*/ 298031 w 393499"/>
                    <a:gd name="connsiteY3" fmla="*/ 84439 h 305488"/>
                    <a:gd name="connsiteX4" fmla="*/ 294383 w 393499"/>
                    <a:gd name="connsiteY4" fmla="*/ 104785 h 305488"/>
                    <a:gd name="connsiteX5" fmla="*/ 287515 w 393499"/>
                    <a:gd name="connsiteY5" fmla="*/ 121558 h 305488"/>
                    <a:gd name="connsiteX6" fmla="*/ 269494 w 393499"/>
                    <a:gd name="connsiteY6" fmla="*/ 107042 h 305488"/>
                    <a:gd name="connsiteX7" fmla="*/ 255883 w 393499"/>
                    <a:gd name="connsiteY7" fmla="*/ 92545 h 305488"/>
                    <a:gd name="connsiteX8" fmla="*/ 243004 w 393499"/>
                    <a:gd name="connsiteY8" fmla="*/ 73666 h 305488"/>
                    <a:gd name="connsiteX9" fmla="*/ 231565 w 393499"/>
                    <a:gd name="connsiteY9" fmla="*/ 52940 h 305488"/>
                    <a:gd name="connsiteX10" fmla="*/ 227936 w 393499"/>
                    <a:gd name="connsiteY10" fmla="*/ 60017 h 305488"/>
                    <a:gd name="connsiteX11" fmla="*/ 232165 w 393499"/>
                    <a:gd name="connsiteY11" fmla="*/ 69809 h 305488"/>
                    <a:gd name="connsiteX12" fmla="*/ 241090 w 393499"/>
                    <a:gd name="connsiteY12" fmla="*/ 88125 h 305488"/>
                    <a:gd name="connsiteX13" fmla="*/ 254940 w 393499"/>
                    <a:gd name="connsiteY13" fmla="*/ 104870 h 305488"/>
                    <a:gd name="connsiteX14" fmla="*/ 270065 w 393499"/>
                    <a:gd name="connsiteY14" fmla="*/ 120368 h 305488"/>
                    <a:gd name="connsiteX15" fmla="*/ 274323 w 393499"/>
                    <a:gd name="connsiteY15" fmla="*/ 132188 h 305488"/>
                    <a:gd name="connsiteX16" fmla="*/ 281267 w 393499"/>
                    <a:gd name="connsiteY16" fmla="*/ 140132 h 305488"/>
                    <a:gd name="connsiteX17" fmla="*/ 290439 w 393499"/>
                    <a:gd name="connsiteY17" fmla="*/ 160935 h 305488"/>
                    <a:gd name="connsiteX18" fmla="*/ 317681 w 393499"/>
                    <a:gd name="connsiteY18" fmla="*/ 201473 h 305488"/>
                    <a:gd name="connsiteX19" fmla="*/ 333150 w 393499"/>
                    <a:gd name="connsiteY19" fmla="*/ 226162 h 305488"/>
                    <a:gd name="connsiteX20" fmla="*/ 353047 w 393499"/>
                    <a:gd name="connsiteY20" fmla="*/ 243078 h 305488"/>
                    <a:gd name="connsiteX21" fmla="*/ 356028 w 393499"/>
                    <a:gd name="connsiteY21" fmla="*/ 275854 h 305488"/>
                    <a:gd name="connsiteX22" fmla="*/ 375659 w 393499"/>
                    <a:gd name="connsiteY22" fmla="*/ 288884 h 305488"/>
                    <a:gd name="connsiteX23" fmla="*/ 393500 w 393499"/>
                    <a:gd name="connsiteY23" fmla="*/ 304219 h 305488"/>
                    <a:gd name="connsiteX24" fmla="*/ 228479 w 393499"/>
                    <a:gd name="connsiteY24" fmla="*/ 304248 h 305488"/>
                    <a:gd name="connsiteX25" fmla="*/ 227279 w 393499"/>
                    <a:gd name="connsiteY25" fmla="*/ 297761 h 305488"/>
                    <a:gd name="connsiteX26" fmla="*/ 221621 w 393499"/>
                    <a:gd name="connsiteY26" fmla="*/ 304267 h 305488"/>
                    <a:gd name="connsiteX27" fmla="*/ 195199 w 393499"/>
                    <a:gd name="connsiteY27" fmla="*/ 304276 h 305488"/>
                    <a:gd name="connsiteX28" fmla="*/ 144049 w 393499"/>
                    <a:gd name="connsiteY28" fmla="*/ 304267 h 305488"/>
                    <a:gd name="connsiteX29" fmla="*/ 41789 w 393499"/>
                    <a:gd name="connsiteY29" fmla="*/ 304286 h 305488"/>
                    <a:gd name="connsiteX30" fmla="*/ 32045 w 393499"/>
                    <a:gd name="connsiteY30" fmla="*/ 298447 h 305488"/>
                    <a:gd name="connsiteX31" fmla="*/ 30902 w 393499"/>
                    <a:gd name="connsiteY31" fmla="*/ 284293 h 305488"/>
                    <a:gd name="connsiteX32" fmla="*/ 28606 w 393499"/>
                    <a:gd name="connsiteY32" fmla="*/ 256861 h 305488"/>
                    <a:gd name="connsiteX33" fmla="*/ 23644 w 393499"/>
                    <a:gd name="connsiteY33" fmla="*/ 201825 h 305488"/>
                    <a:gd name="connsiteX34" fmla="*/ 12823 w 393499"/>
                    <a:gd name="connsiteY34" fmla="*/ 92516 h 305488"/>
                    <a:gd name="connsiteX35" fmla="*/ 7689 w 393499"/>
                    <a:gd name="connsiteY35" fmla="*/ 68694 h 305488"/>
                    <a:gd name="connsiteX36" fmla="*/ 70 w 393499"/>
                    <a:gd name="connsiteY36" fmla="*/ 44644 h 305488"/>
                    <a:gd name="connsiteX37" fmla="*/ 5108 w 393499"/>
                    <a:gd name="connsiteY37" fmla="*/ 33471 h 305488"/>
                    <a:gd name="connsiteX38" fmla="*/ 2346 w 393499"/>
                    <a:gd name="connsiteY38" fmla="*/ 19879 h 305488"/>
                    <a:gd name="connsiteX39" fmla="*/ 7661 w 393499"/>
                    <a:gd name="connsiteY39" fmla="*/ 0 h 305488"/>
                    <a:gd name="connsiteX40" fmla="*/ 29445 w 393499"/>
                    <a:gd name="connsiteY40" fmla="*/ 1067 h 305488"/>
                    <a:gd name="connsiteX41" fmla="*/ 54858 w 393499"/>
                    <a:gd name="connsiteY41" fmla="*/ 5715 h 305488"/>
                    <a:gd name="connsiteX42" fmla="*/ 95510 w 393499"/>
                    <a:gd name="connsiteY42" fmla="*/ 17878 h 305488"/>
                    <a:gd name="connsiteX43" fmla="*/ 119799 w 393499"/>
                    <a:gd name="connsiteY43" fmla="*/ 23784 h 305488"/>
                    <a:gd name="connsiteX44" fmla="*/ 139868 w 393499"/>
                    <a:gd name="connsiteY44" fmla="*/ 20260 h 305488"/>
                    <a:gd name="connsiteX45" fmla="*/ 150498 w 393499"/>
                    <a:gd name="connsiteY45" fmla="*/ 12859 h 305488"/>
                    <a:gd name="connsiteX46" fmla="*/ 158156 w 393499"/>
                    <a:gd name="connsiteY46" fmla="*/ 10649 h 305488"/>
                    <a:gd name="connsiteX47" fmla="*/ 162737 w 393499"/>
                    <a:gd name="connsiteY47" fmla="*/ 6087 h 305488"/>
                    <a:gd name="connsiteX48" fmla="*/ 176377 w 393499"/>
                    <a:gd name="connsiteY48" fmla="*/ 2772 h 305488"/>
                    <a:gd name="connsiteX49" fmla="*/ 166519 w 393499"/>
                    <a:gd name="connsiteY49" fmla="*/ 7496 h 305488"/>
                    <a:gd name="connsiteX50" fmla="*/ 179435 w 393499"/>
                    <a:gd name="connsiteY50" fmla="*/ 5344 h 305488"/>
                    <a:gd name="connsiteX51" fmla="*/ 180644 w 393499"/>
                    <a:gd name="connsiteY51" fmla="*/ 1715 h 305488"/>
                    <a:gd name="connsiteX52" fmla="*/ 187188 w 393499"/>
                    <a:gd name="connsiteY52" fmla="*/ 3324 h 305488"/>
                    <a:gd name="connsiteX53" fmla="*/ 202257 w 393499"/>
                    <a:gd name="connsiteY53" fmla="*/ 4401 h 305488"/>
                    <a:gd name="connsiteX54" fmla="*/ 212773 w 393499"/>
                    <a:gd name="connsiteY54" fmla="*/ 9887 h 305488"/>
                    <a:gd name="connsiteX55" fmla="*/ 205019 w 393499"/>
                    <a:gd name="connsiteY55" fmla="*/ 5439 h 305488"/>
                    <a:gd name="connsiteX56" fmla="*/ 202352 w 393499"/>
                    <a:gd name="connsiteY56" fmla="*/ 11421 h 305488"/>
                    <a:gd name="connsiteX57" fmla="*/ 208019 w 393499"/>
                    <a:gd name="connsiteY57" fmla="*/ 13383 h 305488"/>
                    <a:gd name="connsiteX58" fmla="*/ 212582 w 393499"/>
                    <a:gd name="connsiteY58" fmla="*/ 17240 h 305488"/>
                    <a:gd name="connsiteX59" fmla="*/ 215344 w 393499"/>
                    <a:gd name="connsiteY59" fmla="*/ 11392 h 305488"/>
                    <a:gd name="connsiteX60" fmla="*/ 227698 w 393499"/>
                    <a:gd name="connsiteY60" fmla="*/ 18479 h 305488"/>
                    <a:gd name="connsiteX61" fmla="*/ 242871 w 393499"/>
                    <a:gd name="connsiteY61" fmla="*/ 15678 h 305488"/>
                    <a:gd name="connsiteX62" fmla="*/ 247472 w 393499"/>
                    <a:gd name="connsiteY62" fmla="*/ 17250 h 305488"/>
                    <a:gd name="connsiteX63" fmla="*/ 256568 w 393499"/>
                    <a:gd name="connsiteY63" fmla="*/ 16535 h 305488"/>
                    <a:gd name="connsiteX64" fmla="*/ 273085 w 393499"/>
                    <a:gd name="connsiteY64" fmla="*/ 10449 h 305488"/>
                    <a:gd name="connsiteX65" fmla="*/ 273085 w 393499"/>
                    <a:gd name="connsiteY65" fmla="*/ 10449 h 30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93499" h="305488">
                      <a:moveTo>
                        <a:pt x="273085" y="10449"/>
                      </a:moveTo>
                      <a:cubicBezTo>
                        <a:pt x="279600" y="22117"/>
                        <a:pt x="285343" y="34185"/>
                        <a:pt x="291868" y="45787"/>
                      </a:cubicBezTo>
                      <a:cubicBezTo>
                        <a:pt x="294944" y="51283"/>
                        <a:pt x="299898" y="59322"/>
                        <a:pt x="301088" y="65475"/>
                      </a:cubicBezTo>
                      <a:cubicBezTo>
                        <a:pt x="302079" y="70542"/>
                        <a:pt x="298507" y="77781"/>
                        <a:pt x="298031" y="84439"/>
                      </a:cubicBezTo>
                      <a:cubicBezTo>
                        <a:pt x="297526" y="91392"/>
                        <a:pt x="294820" y="97974"/>
                        <a:pt x="294383" y="104785"/>
                      </a:cubicBezTo>
                      <a:cubicBezTo>
                        <a:pt x="294011" y="110757"/>
                        <a:pt x="295669" y="122349"/>
                        <a:pt x="287515" y="121558"/>
                      </a:cubicBezTo>
                      <a:cubicBezTo>
                        <a:pt x="280276" y="120863"/>
                        <a:pt x="274371" y="111414"/>
                        <a:pt x="269494" y="107042"/>
                      </a:cubicBezTo>
                      <a:cubicBezTo>
                        <a:pt x="264007" y="102108"/>
                        <a:pt x="259054" y="99479"/>
                        <a:pt x="255883" y="92545"/>
                      </a:cubicBezTo>
                      <a:cubicBezTo>
                        <a:pt x="252168" y="84411"/>
                        <a:pt x="248844" y="80524"/>
                        <a:pt x="243004" y="73666"/>
                      </a:cubicBezTo>
                      <a:cubicBezTo>
                        <a:pt x="237757" y="67475"/>
                        <a:pt x="235661" y="59893"/>
                        <a:pt x="231565" y="52940"/>
                      </a:cubicBezTo>
                      <a:cubicBezTo>
                        <a:pt x="229708" y="54159"/>
                        <a:pt x="228308" y="57350"/>
                        <a:pt x="227936" y="60017"/>
                      </a:cubicBezTo>
                      <a:cubicBezTo>
                        <a:pt x="227126" y="65818"/>
                        <a:pt x="228622" y="65599"/>
                        <a:pt x="232165" y="69809"/>
                      </a:cubicBezTo>
                      <a:cubicBezTo>
                        <a:pt x="236966" y="75524"/>
                        <a:pt x="237118" y="82134"/>
                        <a:pt x="241090" y="88125"/>
                      </a:cubicBezTo>
                      <a:cubicBezTo>
                        <a:pt x="245129" y="94240"/>
                        <a:pt x="249948" y="99451"/>
                        <a:pt x="254940" y="104870"/>
                      </a:cubicBezTo>
                      <a:cubicBezTo>
                        <a:pt x="259655" y="109985"/>
                        <a:pt x="267627" y="114224"/>
                        <a:pt x="270065" y="120368"/>
                      </a:cubicBezTo>
                      <a:cubicBezTo>
                        <a:pt x="271951" y="125130"/>
                        <a:pt x="271189" y="127702"/>
                        <a:pt x="274323" y="132188"/>
                      </a:cubicBezTo>
                      <a:cubicBezTo>
                        <a:pt x="276485" y="135274"/>
                        <a:pt x="279105" y="137179"/>
                        <a:pt x="281267" y="140132"/>
                      </a:cubicBezTo>
                      <a:cubicBezTo>
                        <a:pt x="285782" y="146304"/>
                        <a:pt x="286181" y="154638"/>
                        <a:pt x="290439" y="160935"/>
                      </a:cubicBezTo>
                      <a:cubicBezTo>
                        <a:pt x="299583" y="174479"/>
                        <a:pt x="308642" y="187900"/>
                        <a:pt x="317681" y="201473"/>
                      </a:cubicBezTo>
                      <a:cubicBezTo>
                        <a:pt x="322986" y="209426"/>
                        <a:pt x="327101" y="218808"/>
                        <a:pt x="333150" y="226162"/>
                      </a:cubicBezTo>
                      <a:cubicBezTo>
                        <a:pt x="338817" y="233058"/>
                        <a:pt x="346056" y="237754"/>
                        <a:pt x="353047" y="243078"/>
                      </a:cubicBezTo>
                      <a:cubicBezTo>
                        <a:pt x="336083" y="238582"/>
                        <a:pt x="351733" y="270910"/>
                        <a:pt x="356028" y="275854"/>
                      </a:cubicBezTo>
                      <a:cubicBezTo>
                        <a:pt x="361562" y="282235"/>
                        <a:pt x="369611" y="283131"/>
                        <a:pt x="375659" y="288884"/>
                      </a:cubicBezTo>
                      <a:cubicBezTo>
                        <a:pt x="380679" y="293656"/>
                        <a:pt x="391442" y="297609"/>
                        <a:pt x="393500" y="304219"/>
                      </a:cubicBezTo>
                      <a:cubicBezTo>
                        <a:pt x="338493" y="304238"/>
                        <a:pt x="283486" y="304248"/>
                        <a:pt x="228479" y="304248"/>
                      </a:cubicBezTo>
                      <a:cubicBezTo>
                        <a:pt x="229479" y="302095"/>
                        <a:pt x="230422" y="298056"/>
                        <a:pt x="227279" y="297761"/>
                      </a:cubicBezTo>
                      <a:cubicBezTo>
                        <a:pt x="224517" y="297504"/>
                        <a:pt x="223860" y="303067"/>
                        <a:pt x="221621" y="304267"/>
                      </a:cubicBezTo>
                      <a:cubicBezTo>
                        <a:pt x="216525" y="307010"/>
                        <a:pt x="201162" y="304276"/>
                        <a:pt x="195199" y="304276"/>
                      </a:cubicBezTo>
                      <a:cubicBezTo>
                        <a:pt x="178149" y="304267"/>
                        <a:pt x="161099" y="304267"/>
                        <a:pt x="144049" y="304267"/>
                      </a:cubicBezTo>
                      <a:cubicBezTo>
                        <a:pt x="109969" y="304267"/>
                        <a:pt x="75803" y="304486"/>
                        <a:pt x="41789" y="304286"/>
                      </a:cubicBezTo>
                      <a:cubicBezTo>
                        <a:pt x="33950" y="304238"/>
                        <a:pt x="33188" y="306010"/>
                        <a:pt x="32045" y="298447"/>
                      </a:cubicBezTo>
                      <a:cubicBezTo>
                        <a:pt x="31359" y="293837"/>
                        <a:pt x="31292" y="288960"/>
                        <a:pt x="30902" y="284293"/>
                      </a:cubicBezTo>
                      <a:cubicBezTo>
                        <a:pt x="30131" y="275158"/>
                        <a:pt x="29397" y="266005"/>
                        <a:pt x="28606" y="256861"/>
                      </a:cubicBezTo>
                      <a:cubicBezTo>
                        <a:pt x="27006" y="238516"/>
                        <a:pt x="25349" y="220161"/>
                        <a:pt x="23644" y="201825"/>
                      </a:cubicBezTo>
                      <a:cubicBezTo>
                        <a:pt x="20253" y="165373"/>
                        <a:pt x="16662" y="128931"/>
                        <a:pt x="12823" y="92516"/>
                      </a:cubicBezTo>
                      <a:cubicBezTo>
                        <a:pt x="11900" y="83753"/>
                        <a:pt x="10699" y="76924"/>
                        <a:pt x="7689" y="68694"/>
                      </a:cubicBezTo>
                      <a:cubicBezTo>
                        <a:pt x="5442" y="62551"/>
                        <a:pt x="-721" y="50759"/>
                        <a:pt x="70" y="44644"/>
                      </a:cubicBezTo>
                      <a:cubicBezTo>
                        <a:pt x="546" y="40919"/>
                        <a:pt x="4299" y="37433"/>
                        <a:pt x="5108" y="33471"/>
                      </a:cubicBezTo>
                      <a:cubicBezTo>
                        <a:pt x="6251" y="27908"/>
                        <a:pt x="4070" y="24984"/>
                        <a:pt x="2346" y="19879"/>
                      </a:cubicBezTo>
                      <a:cubicBezTo>
                        <a:pt x="-483" y="11506"/>
                        <a:pt x="1298" y="6106"/>
                        <a:pt x="7661" y="0"/>
                      </a:cubicBezTo>
                      <a:cubicBezTo>
                        <a:pt x="11061" y="9239"/>
                        <a:pt x="23053" y="1238"/>
                        <a:pt x="29445" y="1067"/>
                      </a:cubicBezTo>
                      <a:cubicBezTo>
                        <a:pt x="37141" y="867"/>
                        <a:pt x="47114" y="4382"/>
                        <a:pt x="54858" y="5715"/>
                      </a:cubicBezTo>
                      <a:cubicBezTo>
                        <a:pt x="69412" y="8211"/>
                        <a:pt x="81880" y="14840"/>
                        <a:pt x="95510" y="17878"/>
                      </a:cubicBezTo>
                      <a:cubicBezTo>
                        <a:pt x="104416" y="19860"/>
                        <a:pt x="111103" y="20603"/>
                        <a:pt x="119799" y="23784"/>
                      </a:cubicBezTo>
                      <a:cubicBezTo>
                        <a:pt x="127705" y="26670"/>
                        <a:pt x="132782" y="24917"/>
                        <a:pt x="139868" y="20260"/>
                      </a:cubicBezTo>
                      <a:cubicBezTo>
                        <a:pt x="143354" y="17964"/>
                        <a:pt x="146440" y="14097"/>
                        <a:pt x="150498" y="12859"/>
                      </a:cubicBezTo>
                      <a:cubicBezTo>
                        <a:pt x="153851" y="11840"/>
                        <a:pt x="155537" y="12211"/>
                        <a:pt x="158156" y="10649"/>
                      </a:cubicBezTo>
                      <a:cubicBezTo>
                        <a:pt x="160280" y="9373"/>
                        <a:pt x="160518" y="7191"/>
                        <a:pt x="162737" y="6087"/>
                      </a:cubicBezTo>
                      <a:cubicBezTo>
                        <a:pt x="166224" y="4343"/>
                        <a:pt x="172481" y="3943"/>
                        <a:pt x="176377" y="2772"/>
                      </a:cubicBezTo>
                      <a:cubicBezTo>
                        <a:pt x="174301" y="5648"/>
                        <a:pt x="169796" y="6277"/>
                        <a:pt x="166519" y="7496"/>
                      </a:cubicBezTo>
                      <a:cubicBezTo>
                        <a:pt x="170510" y="8439"/>
                        <a:pt x="176244" y="6982"/>
                        <a:pt x="179435" y="5344"/>
                      </a:cubicBezTo>
                      <a:cubicBezTo>
                        <a:pt x="180673" y="4715"/>
                        <a:pt x="178978" y="2172"/>
                        <a:pt x="180644" y="1715"/>
                      </a:cubicBezTo>
                      <a:cubicBezTo>
                        <a:pt x="182692" y="1162"/>
                        <a:pt x="185321" y="2715"/>
                        <a:pt x="187188" y="3324"/>
                      </a:cubicBezTo>
                      <a:cubicBezTo>
                        <a:pt x="194894" y="5858"/>
                        <a:pt x="194913" y="4543"/>
                        <a:pt x="202257" y="4401"/>
                      </a:cubicBezTo>
                      <a:cubicBezTo>
                        <a:pt x="207210" y="4296"/>
                        <a:pt x="208619" y="6210"/>
                        <a:pt x="212773" y="9887"/>
                      </a:cubicBezTo>
                      <a:cubicBezTo>
                        <a:pt x="209705" y="9554"/>
                        <a:pt x="207524" y="7258"/>
                        <a:pt x="205019" y="5439"/>
                      </a:cubicBezTo>
                      <a:cubicBezTo>
                        <a:pt x="204876" y="7687"/>
                        <a:pt x="203961" y="9725"/>
                        <a:pt x="202352" y="11421"/>
                      </a:cubicBezTo>
                      <a:cubicBezTo>
                        <a:pt x="203895" y="12183"/>
                        <a:pt x="206724" y="12421"/>
                        <a:pt x="208019" y="13383"/>
                      </a:cubicBezTo>
                      <a:cubicBezTo>
                        <a:pt x="208162" y="13487"/>
                        <a:pt x="212915" y="17269"/>
                        <a:pt x="212582" y="17240"/>
                      </a:cubicBezTo>
                      <a:cubicBezTo>
                        <a:pt x="216258" y="17536"/>
                        <a:pt x="219050" y="14411"/>
                        <a:pt x="215344" y="11392"/>
                      </a:cubicBezTo>
                      <a:cubicBezTo>
                        <a:pt x="220106" y="12154"/>
                        <a:pt x="223002" y="17659"/>
                        <a:pt x="227698" y="18479"/>
                      </a:cubicBezTo>
                      <a:cubicBezTo>
                        <a:pt x="232327" y="19279"/>
                        <a:pt x="238509" y="15707"/>
                        <a:pt x="242871" y="15678"/>
                      </a:cubicBezTo>
                      <a:cubicBezTo>
                        <a:pt x="243281" y="15678"/>
                        <a:pt x="246262" y="17145"/>
                        <a:pt x="247472" y="17250"/>
                      </a:cubicBezTo>
                      <a:cubicBezTo>
                        <a:pt x="249844" y="17450"/>
                        <a:pt x="254158" y="16726"/>
                        <a:pt x="256568" y="16535"/>
                      </a:cubicBezTo>
                      <a:cubicBezTo>
                        <a:pt x="262626" y="16002"/>
                        <a:pt x="268170" y="14059"/>
                        <a:pt x="273085" y="10449"/>
                      </a:cubicBezTo>
                      <a:lnTo>
                        <a:pt x="273085" y="10449"/>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60" name="Freeform: Shape 659">
                  <a:extLst>
                    <a:ext uri="{FF2B5EF4-FFF2-40B4-BE49-F238E27FC236}">
                      <a16:creationId xmlns:a16="http://schemas.microsoft.com/office/drawing/2014/main" id="{C5F013C4-F195-4EEE-BD11-6383AC812131}"/>
                    </a:ext>
                  </a:extLst>
                </p:cNvPr>
                <p:cNvSpPr/>
                <p:nvPr/>
              </p:nvSpPr>
              <p:spPr>
                <a:xfrm>
                  <a:off x="3044748" y="4319090"/>
                  <a:ext cx="178979" cy="202591"/>
                </a:xfrm>
                <a:custGeom>
                  <a:avLst/>
                  <a:gdLst>
                    <a:gd name="connsiteX0" fmla="*/ 82213 w 178979"/>
                    <a:gd name="connsiteY0" fmla="*/ 12849 h 202591"/>
                    <a:gd name="connsiteX1" fmla="*/ 99330 w 178979"/>
                    <a:gd name="connsiteY1" fmla="*/ 19602 h 202591"/>
                    <a:gd name="connsiteX2" fmla="*/ 108245 w 178979"/>
                    <a:gd name="connsiteY2" fmla="*/ 25289 h 202591"/>
                    <a:gd name="connsiteX3" fmla="*/ 117618 w 178979"/>
                    <a:gd name="connsiteY3" fmla="*/ 34795 h 202591"/>
                    <a:gd name="connsiteX4" fmla="*/ 130657 w 178979"/>
                    <a:gd name="connsiteY4" fmla="*/ 38186 h 202591"/>
                    <a:gd name="connsiteX5" fmla="*/ 141373 w 178979"/>
                    <a:gd name="connsiteY5" fmla="*/ 37567 h 202591"/>
                    <a:gd name="connsiteX6" fmla="*/ 142621 w 178979"/>
                    <a:gd name="connsiteY6" fmla="*/ 33042 h 202591"/>
                    <a:gd name="connsiteX7" fmla="*/ 149517 w 178979"/>
                    <a:gd name="connsiteY7" fmla="*/ 33442 h 202591"/>
                    <a:gd name="connsiteX8" fmla="*/ 161013 w 178979"/>
                    <a:gd name="connsiteY8" fmla="*/ 42491 h 202591"/>
                    <a:gd name="connsiteX9" fmla="*/ 177358 w 178979"/>
                    <a:gd name="connsiteY9" fmla="*/ 49168 h 202591"/>
                    <a:gd name="connsiteX10" fmla="*/ 166586 w 178979"/>
                    <a:gd name="connsiteY10" fmla="*/ 49682 h 202591"/>
                    <a:gd name="connsiteX11" fmla="*/ 178063 w 178979"/>
                    <a:gd name="connsiteY11" fmla="*/ 64903 h 202591"/>
                    <a:gd name="connsiteX12" fmla="*/ 173624 w 178979"/>
                    <a:gd name="connsiteY12" fmla="*/ 74943 h 202591"/>
                    <a:gd name="connsiteX13" fmla="*/ 170176 w 178979"/>
                    <a:gd name="connsiteY13" fmla="*/ 88363 h 202591"/>
                    <a:gd name="connsiteX14" fmla="*/ 159747 w 178979"/>
                    <a:gd name="connsiteY14" fmla="*/ 104670 h 202591"/>
                    <a:gd name="connsiteX15" fmla="*/ 137420 w 178979"/>
                    <a:gd name="connsiteY15" fmla="*/ 124463 h 202591"/>
                    <a:gd name="connsiteX16" fmla="*/ 105378 w 178979"/>
                    <a:gd name="connsiteY16" fmla="*/ 137122 h 202591"/>
                    <a:gd name="connsiteX17" fmla="*/ 93491 w 178979"/>
                    <a:gd name="connsiteY17" fmla="*/ 144351 h 202591"/>
                    <a:gd name="connsiteX18" fmla="*/ 88947 w 178979"/>
                    <a:gd name="connsiteY18" fmla="*/ 153933 h 202591"/>
                    <a:gd name="connsiteX19" fmla="*/ 81718 w 178979"/>
                    <a:gd name="connsiteY19" fmla="*/ 159668 h 202591"/>
                    <a:gd name="connsiteX20" fmla="*/ 74793 w 178979"/>
                    <a:gd name="connsiteY20" fmla="*/ 179641 h 202591"/>
                    <a:gd name="connsiteX21" fmla="*/ 74393 w 178979"/>
                    <a:gd name="connsiteY21" fmla="*/ 188157 h 202591"/>
                    <a:gd name="connsiteX22" fmla="*/ 67164 w 178979"/>
                    <a:gd name="connsiteY22" fmla="*/ 195234 h 202591"/>
                    <a:gd name="connsiteX23" fmla="*/ 64516 w 178979"/>
                    <a:gd name="connsiteY23" fmla="*/ 201387 h 202591"/>
                    <a:gd name="connsiteX24" fmla="*/ 53876 w 178979"/>
                    <a:gd name="connsiteY24" fmla="*/ 200377 h 202591"/>
                    <a:gd name="connsiteX25" fmla="*/ 45999 w 178979"/>
                    <a:gd name="connsiteY25" fmla="*/ 187652 h 202591"/>
                    <a:gd name="connsiteX26" fmla="*/ 32826 w 178979"/>
                    <a:gd name="connsiteY26" fmla="*/ 183632 h 202591"/>
                    <a:gd name="connsiteX27" fmla="*/ 21948 w 178979"/>
                    <a:gd name="connsiteY27" fmla="*/ 185699 h 202591"/>
                    <a:gd name="connsiteX28" fmla="*/ 21091 w 178979"/>
                    <a:gd name="connsiteY28" fmla="*/ 178394 h 202591"/>
                    <a:gd name="connsiteX29" fmla="*/ 18081 w 178979"/>
                    <a:gd name="connsiteY29" fmla="*/ 171145 h 202591"/>
                    <a:gd name="connsiteX30" fmla="*/ 26044 w 178979"/>
                    <a:gd name="connsiteY30" fmla="*/ 167973 h 202591"/>
                    <a:gd name="connsiteX31" fmla="*/ 20786 w 178979"/>
                    <a:gd name="connsiteY31" fmla="*/ 152543 h 202591"/>
                    <a:gd name="connsiteX32" fmla="*/ 35760 w 178979"/>
                    <a:gd name="connsiteY32" fmla="*/ 133664 h 202591"/>
                    <a:gd name="connsiteX33" fmla="*/ 36122 w 178979"/>
                    <a:gd name="connsiteY33" fmla="*/ 121101 h 202591"/>
                    <a:gd name="connsiteX34" fmla="*/ 34588 w 178979"/>
                    <a:gd name="connsiteY34" fmla="*/ 110957 h 202591"/>
                    <a:gd name="connsiteX35" fmla="*/ 32731 w 178979"/>
                    <a:gd name="connsiteY35" fmla="*/ 125082 h 202591"/>
                    <a:gd name="connsiteX36" fmla="*/ 29654 w 178979"/>
                    <a:gd name="connsiteY36" fmla="*/ 119977 h 202591"/>
                    <a:gd name="connsiteX37" fmla="*/ 22158 w 178979"/>
                    <a:gd name="connsiteY37" fmla="*/ 129492 h 202591"/>
                    <a:gd name="connsiteX38" fmla="*/ 12128 w 178979"/>
                    <a:gd name="connsiteY38" fmla="*/ 124930 h 202591"/>
                    <a:gd name="connsiteX39" fmla="*/ 89 w 178979"/>
                    <a:gd name="connsiteY39" fmla="*/ 116776 h 202591"/>
                    <a:gd name="connsiteX40" fmla="*/ 5451 w 178979"/>
                    <a:gd name="connsiteY40" fmla="*/ 109013 h 202591"/>
                    <a:gd name="connsiteX41" fmla="*/ 3318 w 178979"/>
                    <a:gd name="connsiteY41" fmla="*/ 94507 h 202591"/>
                    <a:gd name="connsiteX42" fmla="*/ 832 w 178979"/>
                    <a:gd name="connsiteY42" fmla="*/ 79410 h 202591"/>
                    <a:gd name="connsiteX43" fmla="*/ 11480 w 178979"/>
                    <a:gd name="connsiteY43" fmla="*/ 72552 h 202591"/>
                    <a:gd name="connsiteX44" fmla="*/ 19967 w 178979"/>
                    <a:gd name="connsiteY44" fmla="*/ 65389 h 202591"/>
                    <a:gd name="connsiteX45" fmla="*/ 24149 w 178979"/>
                    <a:gd name="connsiteY45" fmla="*/ 46472 h 202591"/>
                    <a:gd name="connsiteX46" fmla="*/ 27959 w 178979"/>
                    <a:gd name="connsiteY46" fmla="*/ 33756 h 202591"/>
                    <a:gd name="connsiteX47" fmla="*/ 26130 w 178979"/>
                    <a:gd name="connsiteY47" fmla="*/ 21117 h 202591"/>
                    <a:gd name="connsiteX48" fmla="*/ 65106 w 178979"/>
                    <a:gd name="connsiteY48" fmla="*/ 0 h 202591"/>
                    <a:gd name="connsiteX49" fmla="*/ 82213 w 178979"/>
                    <a:gd name="connsiteY49" fmla="*/ 12849 h 202591"/>
                    <a:gd name="connsiteX50" fmla="*/ 82213 w 178979"/>
                    <a:gd name="connsiteY50" fmla="*/ 12849 h 202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78979" h="202591">
                      <a:moveTo>
                        <a:pt x="82213" y="12849"/>
                      </a:moveTo>
                      <a:cubicBezTo>
                        <a:pt x="87614" y="16288"/>
                        <a:pt x="94262" y="16983"/>
                        <a:pt x="99330" y="19602"/>
                      </a:cubicBezTo>
                      <a:cubicBezTo>
                        <a:pt x="100454" y="20183"/>
                        <a:pt x="107140" y="23841"/>
                        <a:pt x="108245" y="25289"/>
                      </a:cubicBezTo>
                      <a:cubicBezTo>
                        <a:pt x="113379" y="32023"/>
                        <a:pt x="108131" y="32404"/>
                        <a:pt x="117618" y="34795"/>
                      </a:cubicBezTo>
                      <a:cubicBezTo>
                        <a:pt x="121761" y="35833"/>
                        <a:pt x="126123" y="37605"/>
                        <a:pt x="130657" y="38186"/>
                      </a:cubicBezTo>
                      <a:cubicBezTo>
                        <a:pt x="132496" y="38424"/>
                        <a:pt x="139258" y="38814"/>
                        <a:pt x="141373" y="37567"/>
                      </a:cubicBezTo>
                      <a:cubicBezTo>
                        <a:pt x="142573" y="36862"/>
                        <a:pt x="140963" y="33909"/>
                        <a:pt x="142621" y="33042"/>
                      </a:cubicBezTo>
                      <a:cubicBezTo>
                        <a:pt x="145973" y="31299"/>
                        <a:pt x="145897" y="32052"/>
                        <a:pt x="149517" y="33442"/>
                      </a:cubicBezTo>
                      <a:cubicBezTo>
                        <a:pt x="154479" y="35347"/>
                        <a:pt x="156375" y="40176"/>
                        <a:pt x="161013" y="42491"/>
                      </a:cubicBezTo>
                      <a:cubicBezTo>
                        <a:pt x="165757" y="44863"/>
                        <a:pt x="172110" y="47463"/>
                        <a:pt x="177358" y="49168"/>
                      </a:cubicBezTo>
                      <a:cubicBezTo>
                        <a:pt x="174082" y="51225"/>
                        <a:pt x="170148" y="50730"/>
                        <a:pt x="166586" y="49682"/>
                      </a:cubicBezTo>
                      <a:cubicBezTo>
                        <a:pt x="169138" y="54216"/>
                        <a:pt x="176120" y="59560"/>
                        <a:pt x="178063" y="64903"/>
                      </a:cubicBezTo>
                      <a:cubicBezTo>
                        <a:pt x="179435" y="68675"/>
                        <a:pt x="180140" y="79838"/>
                        <a:pt x="173624" y="74943"/>
                      </a:cubicBezTo>
                      <a:cubicBezTo>
                        <a:pt x="172329" y="79372"/>
                        <a:pt x="171539" y="83953"/>
                        <a:pt x="170176" y="88363"/>
                      </a:cubicBezTo>
                      <a:cubicBezTo>
                        <a:pt x="168062" y="95231"/>
                        <a:pt x="164366" y="99098"/>
                        <a:pt x="159747" y="104670"/>
                      </a:cubicBezTo>
                      <a:cubicBezTo>
                        <a:pt x="153279" y="112461"/>
                        <a:pt x="146059" y="119015"/>
                        <a:pt x="137420" y="124463"/>
                      </a:cubicBezTo>
                      <a:cubicBezTo>
                        <a:pt x="127971" y="130426"/>
                        <a:pt x="115979" y="133436"/>
                        <a:pt x="105378" y="137122"/>
                      </a:cubicBezTo>
                      <a:cubicBezTo>
                        <a:pt x="100015" y="138989"/>
                        <a:pt x="97158" y="140055"/>
                        <a:pt x="93491" y="144351"/>
                      </a:cubicBezTo>
                      <a:cubicBezTo>
                        <a:pt x="92529" y="145475"/>
                        <a:pt x="88023" y="154638"/>
                        <a:pt x="88947" y="153933"/>
                      </a:cubicBezTo>
                      <a:cubicBezTo>
                        <a:pt x="84613" y="157267"/>
                        <a:pt x="84080" y="148266"/>
                        <a:pt x="81718" y="159668"/>
                      </a:cubicBezTo>
                      <a:cubicBezTo>
                        <a:pt x="80308" y="166488"/>
                        <a:pt x="75974" y="172507"/>
                        <a:pt x="74793" y="179641"/>
                      </a:cubicBezTo>
                      <a:cubicBezTo>
                        <a:pt x="74317" y="182508"/>
                        <a:pt x="75412" y="185661"/>
                        <a:pt x="74393" y="188157"/>
                      </a:cubicBezTo>
                      <a:cubicBezTo>
                        <a:pt x="73241" y="190967"/>
                        <a:pt x="69107" y="192529"/>
                        <a:pt x="67164" y="195234"/>
                      </a:cubicBezTo>
                      <a:cubicBezTo>
                        <a:pt x="65773" y="197177"/>
                        <a:pt x="67335" y="199387"/>
                        <a:pt x="64516" y="201387"/>
                      </a:cubicBezTo>
                      <a:cubicBezTo>
                        <a:pt x="61544" y="203511"/>
                        <a:pt x="57115" y="202606"/>
                        <a:pt x="53876" y="200377"/>
                      </a:cubicBezTo>
                      <a:cubicBezTo>
                        <a:pt x="49200" y="197148"/>
                        <a:pt x="49761" y="190509"/>
                        <a:pt x="45999" y="187652"/>
                      </a:cubicBezTo>
                      <a:cubicBezTo>
                        <a:pt x="43104" y="185461"/>
                        <a:pt x="36855" y="185442"/>
                        <a:pt x="32826" y="183632"/>
                      </a:cubicBezTo>
                      <a:cubicBezTo>
                        <a:pt x="24854" y="180051"/>
                        <a:pt x="28521" y="184204"/>
                        <a:pt x="21948" y="185699"/>
                      </a:cubicBezTo>
                      <a:cubicBezTo>
                        <a:pt x="14767" y="187338"/>
                        <a:pt x="18672" y="182213"/>
                        <a:pt x="21091" y="178394"/>
                      </a:cubicBezTo>
                      <a:cubicBezTo>
                        <a:pt x="15710" y="179289"/>
                        <a:pt x="15233" y="173831"/>
                        <a:pt x="18081" y="171145"/>
                      </a:cubicBezTo>
                      <a:cubicBezTo>
                        <a:pt x="19272" y="170031"/>
                        <a:pt x="24730" y="172288"/>
                        <a:pt x="26044" y="167973"/>
                      </a:cubicBezTo>
                      <a:cubicBezTo>
                        <a:pt x="26892" y="165192"/>
                        <a:pt x="23082" y="154419"/>
                        <a:pt x="20786" y="152543"/>
                      </a:cubicBezTo>
                      <a:cubicBezTo>
                        <a:pt x="31188" y="149038"/>
                        <a:pt x="32388" y="143180"/>
                        <a:pt x="35760" y="133664"/>
                      </a:cubicBezTo>
                      <a:cubicBezTo>
                        <a:pt x="38046" y="127216"/>
                        <a:pt x="37989" y="127263"/>
                        <a:pt x="36122" y="121101"/>
                      </a:cubicBezTo>
                      <a:cubicBezTo>
                        <a:pt x="35121" y="117815"/>
                        <a:pt x="34931" y="114405"/>
                        <a:pt x="34588" y="110957"/>
                      </a:cubicBezTo>
                      <a:cubicBezTo>
                        <a:pt x="31283" y="115195"/>
                        <a:pt x="35817" y="120910"/>
                        <a:pt x="32731" y="125082"/>
                      </a:cubicBezTo>
                      <a:cubicBezTo>
                        <a:pt x="28864" y="130312"/>
                        <a:pt x="29397" y="123025"/>
                        <a:pt x="29654" y="119977"/>
                      </a:cubicBezTo>
                      <a:cubicBezTo>
                        <a:pt x="26901" y="122349"/>
                        <a:pt x="25435" y="127997"/>
                        <a:pt x="22158" y="129492"/>
                      </a:cubicBezTo>
                      <a:cubicBezTo>
                        <a:pt x="18215" y="131302"/>
                        <a:pt x="15967" y="128092"/>
                        <a:pt x="12128" y="124930"/>
                      </a:cubicBezTo>
                      <a:cubicBezTo>
                        <a:pt x="9680" y="122911"/>
                        <a:pt x="851" y="119691"/>
                        <a:pt x="89" y="116776"/>
                      </a:cubicBezTo>
                      <a:cubicBezTo>
                        <a:pt x="-731" y="113605"/>
                        <a:pt x="4375" y="112538"/>
                        <a:pt x="5451" y="109013"/>
                      </a:cubicBezTo>
                      <a:cubicBezTo>
                        <a:pt x="6861" y="104394"/>
                        <a:pt x="3622" y="98993"/>
                        <a:pt x="3318" y="94507"/>
                      </a:cubicBezTo>
                      <a:cubicBezTo>
                        <a:pt x="3098" y="91154"/>
                        <a:pt x="308" y="81705"/>
                        <a:pt x="832" y="79410"/>
                      </a:cubicBezTo>
                      <a:cubicBezTo>
                        <a:pt x="1974" y="74447"/>
                        <a:pt x="8566" y="75895"/>
                        <a:pt x="11480" y="72552"/>
                      </a:cubicBezTo>
                      <a:cubicBezTo>
                        <a:pt x="16052" y="67313"/>
                        <a:pt x="11100" y="64198"/>
                        <a:pt x="19967" y="65389"/>
                      </a:cubicBezTo>
                      <a:cubicBezTo>
                        <a:pt x="5508" y="62836"/>
                        <a:pt x="20815" y="50530"/>
                        <a:pt x="24149" y="46472"/>
                      </a:cubicBezTo>
                      <a:cubicBezTo>
                        <a:pt x="27101" y="42891"/>
                        <a:pt x="28121" y="38357"/>
                        <a:pt x="27959" y="33756"/>
                      </a:cubicBezTo>
                      <a:cubicBezTo>
                        <a:pt x="27873" y="31375"/>
                        <a:pt x="24939" y="23241"/>
                        <a:pt x="26130" y="21117"/>
                      </a:cubicBezTo>
                      <a:cubicBezTo>
                        <a:pt x="30978" y="12468"/>
                        <a:pt x="71374" y="13630"/>
                        <a:pt x="65106" y="0"/>
                      </a:cubicBezTo>
                      <a:cubicBezTo>
                        <a:pt x="70983" y="3581"/>
                        <a:pt x="76641" y="8544"/>
                        <a:pt x="82213" y="12849"/>
                      </a:cubicBezTo>
                      <a:lnTo>
                        <a:pt x="82213" y="12849"/>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61" name="Freeform: Shape 660">
                  <a:extLst>
                    <a:ext uri="{FF2B5EF4-FFF2-40B4-BE49-F238E27FC236}">
                      <a16:creationId xmlns:a16="http://schemas.microsoft.com/office/drawing/2014/main" id="{E911807F-DD5E-400D-99FD-B5FA64347658}"/>
                    </a:ext>
                  </a:extLst>
                </p:cNvPr>
                <p:cNvSpPr/>
                <p:nvPr/>
              </p:nvSpPr>
              <p:spPr>
                <a:xfrm>
                  <a:off x="5335620" y="3196444"/>
                  <a:ext cx="618265" cy="570482"/>
                </a:xfrm>
                <a:custGeom>
                  <a:avLst/>
                  <a:gdLst>
                    <a:gd name="connsiteX0" fmla="*/ 501013 w 618265"/>
                    <a:gd name="connsiteY0" fmla="*/ 4924 h 570482"/>
                    <a:gd name="connsiteX1" fmla="*/ 497031 w 618265"/>
                    <a:gd name="connsiteY1" fmla="*/ 11516 h 570482"/>
                    <a:gd name="connsiteX2" fmla="*/ 492764 w 618265"/>
                    <a:gd name="connsiteY2" fmla="*/ 16535 h 570482"/>
                    <a:gd name="connsiteX3" fmla="*/ 492536 w 618265"/>
                    <a:gd name="connsiteY3" fmla="*/ 19507 h 570482"/>
                    <a:gd name="connsiteX4" fmla="*/ 495089 w 618265"/>
                    <a:gd name="connsiteY4" fmla="*/ 22098 h 570482"/>
                    <a:gd name="connsiteX5" fmla="*/ 494460 w 618265"/>
                    <a:gd name="connsiteY5" fmla="*/ 28089 h 570482"/>
                    <a:gd name="connsiteX6" fmla="*/ 493241 w 618265"/>
                    <a:gd name="connsiteY6" fmla="*/ 40662 h 570482"/>
                    <a:gd name="connsiteX7" fmla="*/ 495774 w 618265"/>
                    <a:gd name="connsiteY7" fmla="*/ 51378 h 570482"/>
                    <a:gd name="connsiteX8" fmla="*/ 497374 w 618265"/>
                    <a:gd name="connsiteY8" fmla="*/ 57245 h 570482"/>
                    <a:gd name="connsiteX9" fmla="*/ 495822 w 618265"/>
                    <a:gd name="connsiteY9" fmla="*/ 64103 h 570482"/>
                    <a:gd name="connsiteX10" fmla="*/ 493193 w 618265"/>
                    <a:gd name="connsiteY10" fmla="*/ 77067 h 570482"/>
                    <a:gd name="connsiteX11" fmla="*/ 483106 w 618265"/>
                    <a:gd name="connsiteY11" fmla="*/ 84925 h 570482"/>
                    <a:gd name="connsiteX12" fmla="*/ 474905 w 618265"/>
                    <a:gd name="connsiteY12" fmla="*/ 94231 h 570482"/>
                    <a:gd name="connsiteX13" fmla="*/ 475372 w 618265"/>
                    <a:gd name="connsiteY13" fmla="*/ 106299 h 570482"/>
                    <a:gd name="connsiteX14" fmla="*/ 481201 w 618265"/>
                    <a:gd name="connsiteY14" fmla="*/ 118996 h 570482"/>
                    <a:gd name="connsiteX15" fmla="*/ 490840 w 618265"/>
                    <a:gd name="connsiteY15" fmla="*/ 125749 h 570482"/>
                    <a:gd name="connsiteX16" fmla="*/ 505309 w 618265"/>
                    <a:gd name="connsiteY16" fmla="*/ 147152 h 570482"/>
                    <a:gd name="connsiteX17" fmla="*/ 522692 w 618265"/>
                    <a:gd name="connsiteY17" fmla="*/ 163668 h 570482"/>
                    <a:gd name="connsiteX18" fmla="*/ 531112 w 618265"/>
                    <a:gd name="connsiteY18" fmla="*/ 193729 h 570482"/>
                    <a:gd name="connsiteX19" fmla="*/ 535217 w 618265"/>
                    <a:gd name="connsiteY19" fmla="*/ 208302 h 570482"/>
                    <a:gd name="connsiteX20" fmla="*/ 531474 w 618265"/>
                    <a:gd name="connsiteY20" fmla="*/ 219818 h 570482"/>
                    <a:gd name="connsiteX21" fmla="*/ 548133 w 618265"/>
                    <a:gd name="connsiteY21" fmla="*/ 252955 h 570482"/>
                    <a:gd name="connsiteX22" fmla="*/ 548428 w 618265"/>
                    <a:gd name="connsiteY22" fmla="*/ 269624 h 570482"/>
                    <a:gd name="connsiteX23" fmla="*/ 552162 w 618265"/>
                    <a:gd name="connsiteY23" fmla="*/ 291789 h 570482"/>
                    <a:gd name="connsiteX24" fmla="*/ 547971 w 618265"/>
                    <a:gd name="connsiteY24" fmla="*/ 309524 h 570482"/>
                    <a:gd name="connsiteX25" fmla="*/ 552924 w 618265"/>
                    <a:gd name="connsiteY25" fmla="*/ 326069 h 570482"/>
                    <a:gd name="connsiteX26" fmla="*/ 541428 w 618265"/>
                    <a:gd name="connsiteY26" fmla="*/ 338966 h 570482"/>
                    <a:gd name="connsiteX27" fmla="*/ 546209 w 618265"/>
                    <a:gd name="connsiteY27" fmla="*/ 355082 h 570482"/>
                    <a:gd name="connsiteX28" fmla="*/ 558154 w 618265"/>
                    <a:gd name="connsiteY28" fmla="*/ 371323 h 570482"/>
                    <a:gd name="connsiteX29" fmla="*/ 565107 w 618265"/>
                    <a:gd name="connsiteY29" fmla="*/ 391087 h 570482"/>
                    <a:gd name="connsiteX30" fmla="*/ 576832 w 618265"/>
                    <a:gd name="connsiteY30" fmla="*/ 395916 h 570482"/>
                    <a:gd name="connsiteX31" fmla="*/ 595949 w 618265"/>
                    <a:gd name="connsiteY31" fmla="*/ 399869 h 570482"/>
                    <a:gd name="connsiteX32" fmla="*/ 608598 w 618265"/>
                    <a:gd name="connsiteY32" fmla="*/ 408841 h 570482"/>
                    <a:gd name="connsiteX33" fmla="*/ 617847 w 618265"/>
                    <a:gd name="connsiteY33" fmla="*/ 424882 h 570482"/>
                    <a:gd name="connsiteX34" fmla="*/ 614703 w 618265"/>
                    <a:gd name="connsiteY34" fmla="*/ 430320 h 570482"/>
                    <a:gd name="connsiteX35" fmla="*/ 604521 w 618265"/>
                    <a:gd name="connsiteY35" fmla="*/ 436855 h 570482"/>
                    <a:gd name="connsiteX36" fmla="*/ 588910 w 618265"/>
                    <a:gd name="connsiteY36" fmla="*/ 446837 h 570482"/>
                    <a:gd name="connsiteX37" fmla="*/ 456636 w 618265"/>
                    <a:gd name="connsiteY37" fmla="*/ 536743 h 570482"/>
                    <a:gd name="connsiteX38" fmla="*/ 421994 w 618265"/>
                    <a:gd name="connsiteY38" fmla="*/ 558660 h 570482"/>
                    <a:gd name="connsiteX39" fmla="*/ 382560 w 618265"/>
                    <a:gd name="connsiteY39" fmla="*/ 566347 h 570482"/>
                    <a:gd name="connsiteX40" fmla="*/ 353537 w 618265"/>
                    <a:gd name="connsiteY40" fmla="*/ 566614 h 570482"/>
                    <a:gd name="connsiteX41" fmla="*/ 357519 w 618265"/>
                    <a:gd name="connsiteY41" fmla="*/ 558175 h 570482"/>
                    <a:gd name="connsiteX42" fmla="*/ 355680 w 618265"/>
                    <a:gd name="connsiteY42" fmla="*/ 545011 h 570482"/>
                    <a:gd name="connsiteX43" fmla="*/ 341174 w 618265"/>
                    <a:gd name="connsiteY43" fmla="*/ 538963 h 570482"/>
                    <a:gd name="connsiteX44" fmla="*/ 332535 w 618265"/>
                    <a:gd name="connsiteY44" fmla="*/ 536991 h 570482"/>
                    <a:gd name="connsiteX45" fmla="*/ 325877 w 618265"/>
                    <a:gd name="connsiteY45" fmla="*/ 530714 h 570482"/>
                    <a:gd name="connsiteX46" fmla="*/ 310361 w 618265"/>
                    <a:gd name="connsiteY46" fmla="*/ 527294 h 570482"/>
                    <a:gd name="connsiteX47" fmla="*/ 307598 w 618265"/>
                    <a:gd name="connsiteY47" fmla="*/ 521389 h 570482"/>
                    <a:gd name="connsiteX48" fmla="*/ 298045 w 618265"/>
                    <a:gd name="connsiteY48" fmla="*/ 516322 h 570482"/>
                    <a:gd name="connsiteX49" fmla="*/ 293273 w 618265"/>
                    <a:gd name="connsiteY49" fmla="*/ 504606 h 570482"/>
                    <a:gd name="connsiteX50" fmla="*/ 278338 w 618265"/>
                    <a:gd name="connsiteY50" fmla="*/ 493909 h 570482"/>
                    <a:gd name="connsiteX51" fmla="*/ 244695 w 618265"/>
                    <a:gd name="connsiteY51" fmla="*/ 471068 h 570482"/>
                    <a:gd name="connsiteX52" fmla="*/ 108945 w 618265"/>
                    <a:gd name="connsiteY52" fmla="*/ 378276 h 570482"/>
                    <a:gd name="connsiteX53" fmla="*/ 42280 w 618265"/>
                    <a:gd name="connsiteY53" fmla="*/ 335928 h 570482"/>
                    <a:gd name="connsiteX54" fmla="*/ 9275 w 618265"/>
                    <a:gd name="connsiteY54" fmla="*/ 315030 h 570482"/>
                    <a:gd name="connsiteX55" fmla="*/ 74 w 618265"/>
                    <a:gd name="connsiteY55" fmla="*/ 300609 h 570482"/>
                    <a:gd name="connsiteX56" fmla="*/ 617 w 618265"/>
                    <a:gd name="connsiteY56" fmla="*/ 281178 h 570482"/>
                    <a:gd name="connsiteX57" fmla="*/ 1693 w 618265"/>
                    <a:gd name="connsiteY57" fmla="*/ 264204 h 570482"/>
                    <a:gd name="connsiteX58" fmla="*/ 15867 w 618265"/>
                    <a:gd name="connsiteY58" fmla="*/ 254432 h 570482"/>
                    <a:gd name="connsiteX59" fmla="*/ 30726 w 618265"/>
                    <a:gd name="connsiteY59" fmla="*/ 244421 h 570482"/>
                    <a:gd name="connsiteX60" fmla="*/ 45108 w 618265"/>
                    <a:gd name="connsiteY60" fmla="*/ 236801 h 570482"/>
                    <a:gd name="connsiteX61" fmla="*/ 59015 w 618265"/>
                    <a:gd name="connsiteY61" fmla="*/ 236525 h 570482"/>
                    <a:gd name="connsiteX62" fmla="*/ 64596 w 618265"/>
                    <a:gd name="connsiteY62" fmla="*/ 235772 h 570482"/>
                    <a:gd name="connsiteX63" fmla="*/ 66921 w 618265"/>
                    <a:gd name="connsiteY63" fmla="*/ 229505 h 570482"/>
                    <a:gd name="connsiteX64" fmla="*/ 79532 w 618265"/>
                    <a:gd name="connsiteY64" fmla="*/ 228914 h 570482"/>
                    <a:gd name="connsiteX65" fmla="*/ 97629 w 618265"/>
                    <a:gd name="connsiteY65" fmla="*/ 224761 h 570482"/>
                    <a:gd name="connsiteX66" fmla="*/ 110336 w 618265"/>
                    <a:gd name="connsiteY66" fmla="*/ 211569 h 570482"/>
                    <a:gd name="connsiteX67" fmla="*/ 128100 w 618265"/>
                    <a:gd name="connsiteY67" fmla="*/ 202673 h 570482"/>
                    <a:gd name="connsiteX68" fmla="*/ 142644 w 618265"/>
                    <a:gd name="connsiteY68" fmla="*/ 194348 h 570482"/>
                    <a:gd name="connsiteX69" fmla="*/ 150636 w 618265"/>
                    <a:gd name="connsiteY69" fmla="*/ 188443 h 570482"/>
                    <a:gd name="connsiteX70" fmla="*/ 146388 w 618265"/>
                    <a:gd name="connsiteY70" fmla="*/ 183090 h 570482"/>
                    <a:gd name="connsiteX71" fmla="*/ 146559 w 618265"/>
                    <a:gd name="connsiteY71" fmla="*/ 171079 h 570482"/>
                    <a:gd name="connsiteX72" fmla="*/ 161599 w 618265"/>
                    <a:gd name="connsiteY72" fmla="*/ 168421 h 570482"/>
                    <a:gd name="connsiteX73" fmla="*/ 170219 w 618265"/>
                    <a:gd name="connsiteY73" fmla="*/ 165525 h 570482"/>
                    <a:gd name="connsiteX74" fmla="*/ 173201 w 618265"/>
                    <a:gd name="connsiteY74" fmla="*/ 158610 h 570482"/>
                    <a:gd name="connsiteX75" fmla="*/ 207748 w 618265"/>
                    <a:gd name="connsiteY75" fmla="*/ 157182 h 570482"/>
                    <a:gd name="connsiteX76" fmla="*/ 222416 w 618265"/>
                    <a:gd name="connsiteY76" fmla="*/ 156181 h 570482"/>
                    <a:gd name="connsiteX77" fmla="*/ 222931 w 618265"/>
                    <a:gd name="connsiteY77" fmla="*/ 148742 h 570482"/>
                    <a:gd name="connsiteX78" fmla="*/ 224702 w 618265"/>
                    <a:gd name="connsiteY78" fmla="*/ 142189 h 570482"/>
                    <a:gd name="connsiteX79" fmla="*/ 214396 w 618265"/>
                    <a:gd name="connsiteY79" fmla="*/ 133026 h 570482"/>
                    <a:gd name="connsiteX80" fmla="*/ 210500 w 618265"/>
                    <a:gd name="connsiteY80" fmla="*/ 114138 h 570482"/>
                    <a:gd name="connsiteX81" fmla="*/ 209157 w 618265"/>
                    <a:gd name="connsiteY81" fmla="*/ 97765 h 570482"/>
                    <a:gd name="connsiteX82" fmla="*/ 208376 w 618265"/>
                    <a:gd name="connsiteY82" fmla="*/ 90459 h 570482"/>
                    <a:gd name="connsiteX83" fmla="*/ 206681 w 618265"/>
                    <a:gd name="connsiteY83" fmla="*/ 85706 h 570482"/>
                    <a:gd name="connsiteX84" fmla="*/ 208396 w 618265"/>
                    <a:gd name="connsiteY84" fmla="*/ 82906 h 570482"/>
                    <a:gd name="connsiteX85" fmla="*/ 204966 w 618265"/>
                    <a:gd name="connsiteY85" fmla="*/ 78381 h 570482"/>
                    <a:gd name="connsiteX86" fmla="*/ 206243 w 618265"/>
                    <a:gd name="connsiteY86" fmla="*/ 73533 h 570482"/>
                    <a:gd name="connsiteX87" fmla="*/ 194460 w 618265"/>
                    <a:gd name="connsiteY87" fmla="*/ 62627 h 570482"/>
                    <a:gd name="connsiteX88" fmla="*/ 245619 w 618265"/>
                    <a:gd name="connsiteY88" fmla="*/ 38862 h 570482"/>
                    <a:gd name="connsiteX89" fmla="*/ 256640 w 618265"/>
                    <a:gd name="connsiteY89" fmla="*/ 39672 h 570482"/>
                    <a:gd name="connsiteX90" fmla="*/ 266936 w 618265"/>
                    <a:gd name="connsiteY90" fmla="*/ 29299 h 570482"/>
                    <a:gd name="connsiteX91" fmla="*/ 293930 w 618265"/>
                    <a:gd name="connsiteY91" fmla="*/ 18021 h 570482"/>
                    <a:gd name="connsiteX92" fmla="*/ 325286 w 618265"/>
                    <a:gd name="connsiteY92" fmla="*/ 15211 h 570482"/>
                    <a:gd name="connsiteX93" fmla="*/ 338783 w 618265"/>
                    <a:gd name="connsiteY93" fmla="*/ 11135 h 570482"/>
                    <a:gd name="connsiteX94" fmla="*/ 355919 w 618265"/>
                    <a:gd name="connsiteY94" fmla="*/ 9401 h 570482"/>
                    <a:gd name="connsiteX95" fmla="*/ 366348 w 618265"/>
                    <a:gd name="connsiteY95" fmla="*/ 6172 h 570482"/>
                    <a:gd name="connsiteX96" fmla="*/ 386456 w 618265"/>
                    <a:gd name="connsiteY96" fmla="*/ 6172 h 570482"/>
                    <a:gd name="connsiteX97" fmla="*/ 409306 w 618265"/>
                    <a:gd name="connsiteY97" fmla="*/ 13754 h 570482"/>
                    <a:gd name="connsiteX98" fmla="*/ 422898 w 618265"/>
                    <a:gd name="connsiteY98" fmla="*/ 8687 h 570482"/>
                    <a:gd name="connsiteX99" fmla="*/ 431642 w 618265"/>
                    <a:gd name="connsiteY99" fmla="*/ 6420 h 570482"/>
                    <a:gd name="connsiteX100" fmla="*/ 437243 w 618265"/>
                    <a:gd name="connsiteY100" fmla="*/ 1448 h 570482"/>
                    <a:gd name="connsiteX101" fmla="*/ 451759 w 618265"/>
                    <a:gd name="connsiteY101" fmla="*/ 4763 h 570482"/>
                    <a:gd name="connsiteX102" fmla="*/ 461999 w 618265"/>
                    <a:gd name="connsiteY102" fmla="*/ 0 h 570482"/>
                    <a:gd name="connsiteX103" fmla="*/ 480601 w 618265"/>
                    <a:gd name="connsiteY103" fmla="*/ 7058 h 570482"/>
                    <a:gd name="connsiteX104" fmla="*/ 501013 w 618265"/>
                    <a:gd name="connsiteY104" fmla="*/ 4924 h 570482"/>
                    <a:gd name="connsiteX105" fmla="*/ 501013 w 618265"/>
                    <a:gd name="connsiteY105" fmla="*/ 4924 h 57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618265" h="570482">
                      <a:moveTo>
                        <a:pt x="501013" y="4924"/>
                      </a:moveTo>
                      <a:cubicBezTo>
                        <a:pt x="503213" y="8715"/>
                        <a:pt x="499222" y="9296"/>
                        <a:pt x="497031" y="11516"/>
                      </a:cubicBezTo>
                      <a:cubicBezTo>
                        <a:pt x="497022" y="11525"/>
                        <a:pt x="492640" y="16935"/>
                        <a:pt x="492764" y="16535"/>
                      </a:cubicBezTo>
                      <a:cubicBezTo>
                        <a:pt x="491793" y="19898"/>
                        <a:pt x="492336" y="16364"/>
                        <a:pt x="492536" y="19507"/>
                      </a:cubicBezTo>
                      <a:cubicBezTo>
                        <a:pt x="492517" y="19126"/>
                        <a:pt x="494917" y="21488"/>
                        <a:pt x="495089" y="22098"/>
                      </a:cubicBezTo>
                      <a:cubicBezTo>
                        <a:pt x="495612" y="23974"/>
                        <a:pt x="494669" y="26156"/>
                        <a:pt x="494460" y="28089"/>
                      </a:cubicBezTo>
                      <a:cubicBezTo>
                        <a:pt x="494022" y="32109"/>
                        <a:pt x="492612" y="36643"/>
                        <a:pt x="493241" y="40662"/>
                      </a:cubicBezTo>
                      <a:cubicBezTo>
                        <a:pt x="493774" y="44053"/>
                        <a:pt x="495127" y="47892"/>
                        <a:pt x="495774" y="51378"/>
                      </a:cubicBezTo>
                      <a:cubicBezTo>
                        <a:pt x="496070" y="52997"/>
                        <a:pt x="497365" y="55759"/>
                        <a:pt x="497374" y="57245"/>
                      </a:cubicBezTo>
                      <a:cubicBezTo>
                        <a:pt x="497403" y="60379"/>
                        <a:pt x="496517" y="60970"/>
                        <a:pt x="495822" y="64103"/>
                      </a:cubicBezTo>
                      <a:cubicBezTo>
                        <a:pt x="494869" y="68313"/>
                        <a:pt x="495384" y="73323"/>
                        <a:pt x="493193" y="77067"/>
                      </a:cubicBezTo>
                      <a:cubicBezTo>
                        <a:pt x="490764" y="81191"/>
                        <a:pt x="486297" y="81915"/>
                        <a:pt x="483106" y="84925"/>
                      </a:cubicBezTo>
                      <a:cubicBezTo>
                        <a:pt x="481306" y="86620"/>
                        <a:pt x="476086" y="92202"/>
                        <a:pt x="474905" y="94231"/>
                      </a:cubicBezTo>
                      <a:cubicBezTo>
                        <a:pt x="472933" y="97641"/>
                        <a:pt x="474076" y="102718"/>
                        <a:pt x="475372" y="106299"/>
                      </a:cubicBezTo>
                      <a:cubicBezTo>
                        <a:pt x="476667" y="109871"/>
                        <a:pt x="479153" y="115910"/>
                        <a:pt x="481201" y="118996"/>
                      </a:cubicBezTo>
                      <a:cubicBezTo>
                        <a:pt x="483820" y="122958"/>
                        <a:pt x="486935" y="122996"/>
                        <a:pt x="490840" y="125749"/>
                      </a:cubicBezTo>
                      <a:cubicBezTo>
                        <a:pt x="498784" y="131359"/>
                        <a:pt x="497460" y="141665"/>
                        <a:pt x="505309" y="147152"/>
                      </a:cubicBezTo>
                      <a:cubicBezTo>
                        <a:pt x="512729" y="152333"/>
                        <a:pt x="519968" y="154848"/>
                        <a:pt x="522692" y="163668"/>
                      </a:cubicBezTo>
                      <a:cubicBezTo>
                        <a:pt x="525759" y="173593"/>
                        <a:pt x="528302" y="183718"/>
                        <a:pt x="531112" y="193729"/>
                      </a:cubicBezTo>
                      <a:cubicBezTo>
                        <a:pt x="532484" y="198587"/>
                        <a:pt x="533846" y="203444"/>
                        <a:pt x="535217" y="208302"/>
                      </a:cubicBezTo>
                      <a:cubicBezTo>
                        <a:pt x="537341" y="215836"/>
                        <a:pt x="537732" y="215655"/>
                        <a:pt x="531474" y="219818"/>
                      </a:cubicBezTo>
                      <a:cubicBezTo>
                        <a:pt x="538246" y="230734"/>
                        <a:pt x="545866" y="239754"/>
                        <a:pt x="548133" y="252955"/>
                      </a:cubicBezTo>
                      <a:cubicBezTo>
                        <a:pt x="549086" y="258499"/>
                        <a:pt x="548114" y="264042"/>
                        <a:pt x="548428" y="269624"/>
                      </a:cubicBezTo>
                      <a:cubicBezTo>
                        <a:pt x="548847" y="276911"/>
                        <a:pt x="551991" y="284731"/>
                        <a:pt x="552162" y="291789"/>
                      </a:cubicBezTo>
                      <a:cubicBezTo>
                        <a:pt x="552315" y="297790"/>
                        <a:pt x="547876" y="303343"/>
                        <a:pt x="547971" y="309524"/>
                      </a:cubicBezTo>
                      <a:cubicBezTo>
                        <a:pt x="548048" y="315525"/>
                        <a:pt x="552696" y="320345"/>
                        <a:pt x="552924" y="326069"/>
                      </a:cubicBezTo>
                      <a:cubicBezTo>
                        <a:pt x="553277" y="335318"/>
                        <a:pt x="545876" y="333232"/>
                        <a:pt x="541428" y="338966"/>
                      </a:cubicBezTo>
                      <a:cubicBezTo>
                        <a:pt x="536875" y="344824"/>
                        <a:pt x="542685" y="350510"/>
                        <a:pt x="546209" y="355082"/>
                      </a:cubicBezTo>
                      <a:cubicBezTo>
                        <a:pt x="549819" y="359778"/>
                        <a:pt x="556239" y="365760"/>
                        <a:pt x="558154" y="371323"/>
                      </a:cubicBezTo>
                      <a:cubicBezTo>
                        <a:pt x="560697" y="378714"/>
                        <a:pt x="560078" y="384381"/>
                        <a:pt x="565107" y="391087"/>
                      </a:cubicBezTo>
                      <a:cubicBezTo>
                        <a:pt x="570069" y="397697"/>
                        <a:pt x="569488" y="396221"/>
                        <a:pt x="576832" y="395916"/>
                      </a:cubicBezTo>
                      <a:cubicBezTo>
                        <a:pt x="583233" y="395659"/>
                        <a:pt x="589529" y="397878"/>
                        <a:pt x="595949" y="399869"/>
                      </a:cubicBezTo>
                      <a:cubicBezTo>
                        <a:pt x="603340" y="402165"/>
                        <a:pt x="604759" y="402412"/>
                        <a:pt x="608598" y="408841"/>
                      </a:cubicBezTo>
                      <a:cubicBezTo>
                        <a:pt x="611055" y="412947"/>
                        <a:pt x="617323" y="420186"/>
                        <a:pt x="617847" y="424882"/>
                      </a:cubicBezTo>
                      <a:cubicBezTo>
                        <a:pt x="618428" y="429987"/>
                        <a:pt x="619085" y="426634"/>
                        <a:pt x="614703" y="430320"/>
                      </a:cubicBezTo>
                      <a:cubicBezTo>
                        <a:pt x="611598" y="432930"/>
                        <a:pt x="607941" y="434740"/>
                        <a:pt x="604521" y="436855"/>
                      </a:cubicBezTo>
                      <a:cubicBezTo>
                        <a:pt x="599301" y="440093"/>
                        <a:pt x="594129" y="443560"/>
                        <a:pt x="588910" y="446837"/>
                      </a:cubicBezTo>
                      <a:cubicBezTo>
                        <a:pt x="543647" y="475183"/>
                        <a:pt x="496222" y="500710"/>
                        <a:pt x="456636" y="536743"/>
                      </a:cubicBezTo>
                      <a:cubicBezTo>
                        <a:pt x="445225" y="547135"/>
                        <a:pt x="437510" y="555679"/>
                        <a:pt x="421994" y="558660"/>
                      </a:cubicBezTo>
                      <a:cubicBezTo>
                        <a:pt x="408849" y="561184"/>
                        <a:pt x="395714" y="563804"/>
                        <a:pt x="382560" y="566347"/>
                      </a:cubicBezTo>
                      <a:cubicBezTo>
                        <a:pt x="377998" y="567233"/>
                        <a:pt x="356443" y="575024"/>
                        <a:pt x="353537" y="566614"/>
                      </a:cubicBezTo>
                      <a:cubicBezTo>
                        <a:pt x="352290" y="562985"/>
                        <a:pt x="356957" y="560984"/>
                        <a:pt x="357519" y="558175"/>
                      </a:cubicBezTo>
                      <a:cubicBezTo>
                        <a:pt x="357862" y="556460"/>
                        <a:pt x="356700" y="546754"/>
                        <a:pt x="355680" y="545011"/>
                      </a:cubicBezTo>
                      <a:cubicBezTo>
                        <a:pt x="353204" y="540734"/>
                        <a:pt x="345498" y="539944"/>
                        <a:pt x="341174" y="538963"/>
                      </a:cubicBezTo>
                      <a:cubicBezTo>
                        <a:pt x="338583" y="538372"/>
                        <a:pt x="334859" y="538334"/>
                        <a:pt x="332535" y="536991"/>
                      </a:cubicBezTo>
                      <a:cubicBezTo>
                        <a:pt x="329782" y="535400"/>
                        <a:pt x="328744" y="532076"/>
                        <a:pt x="325877" y="530714"/>
                      </a:cubicBezTo>
                      <a:cubicBezTo>
                        <a:pt x="321172" y="528476"/>
                        <a:pt x="314695" y="531409"/>
                        <a:pt x="310361" y="527294"/>
                      </a:cubicBezTo>
                      <a:cubicBezTo>
                        <a:pt x="308656" y="525685"/>
                        <a:pt x="308932" y="522827"/>
                        <a:pt x="307598" y="521389"/>
                      </a:cubicBezTo>
                      <a:cubicBezTo>
                        <a:pt x="305246" y="518855"/>
                        <a:pt x="300807" y="518389"/>
                        <a:pt x="298045" y="516322"/>
                      </a:cubicBezTo>
                      <a:cubicBezTo>
                        <a:pt x="292063" y="511835"/>
                        <a:pt x="296054" y="510359"/>
                        <a:pt x="293273" y="504606"/>
                      </a:cubicBezTo>
                      <a:cubicBezTo>
                        <a:pt x="291234" y="500424"/>
                        <a:pt x="281995" y="496386"/>
                        <a:pt x="278338" y="493909"/>
                      </a:cubicBezTo>
                      <a:cubicBezTo>
                        <a:pt x="267108" y="486318"/>
                        <a:pt x="255916" y="478669"/>
                        <a:pt x="244695" y="471068"/>
                      </a:cubicBezTo>
                      <a:cubicBezTo>
                        <a:pt x="199328" y="440341"/>
                        <a:pt x="154760" y="408308"/>
                        <a:pt x="108945" y="378276"/>
                      </a:cubicBezTo>
                      <a:cubicBezTo>
                        <a:pt x="86923" y="363845"/>
                        <a:pt x="64578" y="349929"/>
                        <a:pt x="42280" y="335928"/>
                      </a:cubicBezTo>
                      <a:cubicBezTo>
                        <a:pt x="31259" y="329003"/>
                        <a:pt x="20210" y="322088"/>
                        <a:pt x="9275" y="315030"/>
                      </a:cubicBezTo>
                      <a:cubicBezTo>
                        <a:pt x="1808" y="310220"/>
                        <a:pt x="-459" y="309763"/>
                        <a:pt x="74" y="300609"/>
                      </a:cubicBezTo>
                      <a:cubicBezTo>
                        <a:pt x="455" y="294161"/>
                        <a:pt x="408" y="287645"/>
                        <a:pt x="617" y="281178"/>
                      </a:cubicBezTo>
                      <a:cubicBezTo>
                        <a:pt x="750" y="277035"/>
                        <a:pt x="-488" y="267652"/>
                        <a:pt x="1693" y="264204"/>
                      </a:cubicBezTo>
                      <a:cubicBezTo>
                        <a:pt x="3875" y="260756"/>
                        <a:pt x="12257" y="256804"/>
                        <a:pt x="15867" y="254432"/>
                      </a:cubicBezTo>
                      <a:cubicBezTo>
                        <a:pt x="20505" y="251384"/>
                        <a:pt x="25773" y="246745"/>
                        <a:pt x="30726" y="244421"/>
                      </a:cubicBezTo>
                      <a:cubicBezTo>
                        <a:pt x="35660" y="242106"/>
                        <a:pt x="40184" y="239068"/>
                        <a:pt x="45108" y="236801"/>
                      </a:cubicBezTo>
                      <a:cubicBezTo>
                        <a:pt x="50099" y="234505"/>
                        <a:pt x="53776" y="236639"/>
                        <a:pt x="59015" y="236525"/>
                      </a:cubicBezTo>
                      <a:cubicBezTo>
                        <a:pt x="61739" y="236468"/>
                        <a:pt x="62587" y="237363"/>
                        <a:pt x="64596" y="235772"/>
                      </a:cubicBezTo>
                      <a:cubicBezTo>
                        <a:pt x="66768" y="234048"/>
                        <a:pt x="65292" y="230619"/>
                        <a:pt x="66921" y="229505"/>
                      </a:cubicBezTo>
                      <a:cubicBezTo>
                        <a:pt x="69197" y="227952"/>
                        <a:pt x="76455" y="229276"/>
                        <a:pt x="79532" y="228914"/>
                      </a:cubicBezTo>
                      <a:cubicBezTo>
                        <a:pt x="85285" y="228248"/>
                        <a:pt x="92352" y="227324"/>
                        <a:pt x="97629" y="224761"/>
                      </a:cubicBezTo>
                      <a:cubicBezTo>
                        <a:pt x="103839" y="221761"/>
                        <a:pt x="106145" y="216465"/>
                        <a:pt x="110336" y="211569"/>
                      </a:cubicBezTo>
                      <a:cubicBezTo>
                        <a:pt x="115174" y="205911"/>
                        <a:pt x="121499" y="205397"/>
                        <a:pt x="128100" y="202673"/>
                      </a:cubicBezTo>
                      <a:cubicBezTo>
                        <a:pt x="133281" y="200539"/>
                        <a:pt x="137387" y="196072"/>
                        <a:pt x="142644" y="194348"/>
                      </a:cubicBezTo>
                      <a:cubicBezTo>
                        <a:pt x="147874" y="192634"/>
                        <a:pt x="153179" y="195139"/>
                        <a:pt x="150636" y="188443"/>
                      </a:cubicBezTo>
                      <a:cubicBezTo>
                        <a:pt x="149560" y="185614"/>
                        <a:pt x="147283" y="186861"/>
                        <a:pt x="146388" y="183090"/>
                      </a:cubicBezTo>
                      <a:cubicBezTo>
                        <a:pt x="146026" y="181585"/>
                        <a:pt x="145264" y="172517"/>
                        <a:pt x="146559" y="171079"/>
                      </a:cubicBezTo>
                      <a:cubicBezTo>
                        <a:pt x="148750" y="168640"/>
                        <a:pt x="158132" y="169393"/>
                        <a:pt x="161599" y="168421"/>
                      </a:cubicBezTo>
                      <a:cubicBezTo>
                        <a:pt x="163780" y="167811"/>
                        <a:pt x="168524" y="167145"/>
                        <a:pt x="170219" y="165525"/>
                      </a:cubicBezTo>
                      <a:cubicBezTo>
                        <a:pt x="172038" y="163792"/>
                        <a:pt x="171315" y="160153"/>
                        <a:pt x="173201" y="158610"/>
                      </a:cubicBezTo>
                      <a:cubicBezTo>
                        <a:pt x="180211" y="152886"/>
                        <a:pt x="199518" y="156867"/>
                        <a:pt x="207748" y="157182"/>
                      </a:cubicBezTo>
                      <a:cubicBezTo>
                        <a:pt x="211596" y="157324"/>
                        <a:pt x="220406" y="159096"/>
                        <a:pt x="222416" y="156181"/>
                      </a:cubicBezTo>
                      <a:cubicBezTo>
                        <a:pt x="222569" y="155962"/>
                        <a:pt x="222616" y="149790"/>
                        <a:pt x="222931" y="148742"/>
                      </a:cubicBezTo>
                      <a:cubicBezTo>
                        <a:pt x="224245" y="144351"/>
                        <a:pt x="228179" y="147847"/>
                        <a:pt x="224702" y="142189"/>
                      </a:cubicBezTo>
                      <a:cubicBezTo>
                        <a:pt x="222254" y="138217"/>
                        <a:pt x="216692" y="137760"/>
                        <a:pt x="214396" y="133026"/>
                      </a:cubicBezTo>
                      <a:cubicBezTo>
                        <a:pt x="211453" y="126949"/>
                        <a:pt x="210634" y="120348"/>
                        <a:pt x="210500" y="114138"/>
                      </a:cubicBezTo>
                      <a:cubicBezTo>
                        <a:pt x="210377" y="108604"/>
                        <a:pt x="209272" y="103537"/>
                        <a:pt x="209157" y="97765"/>
                      </a:cubicBezTo>
                      <a:cubicBezTo>
                        <a:pt x="209110" y="95193"/>
                        <a:pt x="208672" y="92916"/>
                        <a:pt x="208376" y="90459"/>
                      </a:cubicBezTo>
                      <a:cubicBezTo>
                        <a:pt x="208196" y="88992"/>
                        <a:pt x="207033" y="87230"/>
                        <a:pt x="206681" y="85706"/>
                      </a:cubicBezTo>
                      <a:cubicBezTo>
                        <a:pt x="206357" y="84296"/>
                        <a:pt x="208548" y="83525"/>
                        <a:pt x="208396" y="82906"/>
                      </a:cubicBezTo>
                      <a:cubicBezTo>
                        <a:pt x="207929" y="81001"/>
                        <a:pt x="205319" y="80258"/>
                        <a:pt x="204966" y="78381"/>
                      </a:cubicBezTo>
                      <a:cubicBezTo>
                        <a:pt x="204538" y="76152"/>
                        <a:pt x="207195" y="75705"/>
                        <a:pt x="206243" y="73533"/>
                      </a:cubicBezTo>
                      <a:cubicBezTo>
                        <a:pt x="204119" y="68751"/>
                        <a:pt x="196080" y="68647"/>
                        <a:pt x="194460" y="62627"/>
                      </a:cubicBezTo>
                      <a:cubicBezTo>
                        <a:pt x="215796" y="66208"/>
                        <a:pt x="225636" y="40738"/>
                        <a:pt x="245619" y="38862"/>
                      </a:cubicBezTo>
                      <a:cubicBezTo>
                        <a:pt x="249267" y="38519"/>
                        <a:pt x="253011" y="41243"/>
                        <a:pt x="256640" y="39672"/>
                      </a:cubicBezTo>
                      <a:cubicBezTo>
                        <a:pt x="260869" y="37824"/>
                        <a:pt x="262793" y="32004"/>
                        <a:pt x="266936" y="29299"/>
                      </a:cubicBezTo>
                      <a:cubicBezTo>
                        <a:pt x="274232" y="24527"/>
                        <a:pt x="285300" y="19564"/>
                        <a:pt x="293930" y="18021"/>
                      </a:cubicBezTo>
                      <a:cubicBezTo>
                        <a:pt x="303769" y="16269"/>
                        <a:pt x="315256" y="15697"/>
                        <a:pt x="325286" y="15211"/>
                      </a:cubicBezTo>
                      <a:cubicBezTo>
                        <a:pt x="331992" y="14887"/>
                        <a:pt x="332516" y="13621"/>
                        <a:pt x="338783" y="11135"/>
                      </a:cubicBezTo>
                      <a:cubicBezTo>
                        <a:pt x="344479" y="8877"/>
                        <a:pt x="349985" y="10363"/>
                        <a:pt x="355919" y="9401"/>
                      </a:cubicBezTo>
                      <a:cubicBezTo>
                        <a:pt x="359548" y="8811"/>
                        <a:pt x="362748" y="6810"/>
                        <a:pt x="366348" y="6172"/>
                      </a:cubicBezTo>
                      <a:cubicBezTo>
                        <a:pt x="372616" y="5067"/>
                        <a:pt x="380093" y="6172"/>
                        <a:pt x="386456" y="6172"/>
                      </a:cubicBezTo>
                      <a:cubicBezTo>
                        <a:pt x="395533" y="6172"/>
                        <a:pt x="401505" y="13697"/>
                        <a:pt x="409306" y="13754"/>
                      </a:cubicBezTo>
                      <a:cubicBezTo>
                        <a:pt x="413812" y="13792"/>
                        <a:pt x="418574" y="9916"/>
                        <a:pt x="422898" y="8687"/>
                      </a:cubicBezTo>
                      <a:cubicBezTo>
                        <a:pt x="425804" y="7858"/>
                        <a:pt x="428928" y="7810"/>
                        <a:pt x="431642" y="6420"/>
                      </a:cubicBezTo>
                      <a:cubicBezTo>
                        <a:pt x="433386" y="5534"/>
                        <a:pt x="436100" y="1886"/>
                        <a:pt x="437243" y="1448"/>
                      </a:cubicBezTo>
                      <a:cubicBezTo>
                        <a:pt x="442644" y="-629"/>
                        <a:pt x="445863" y="3924"/>
                        <a:pt x="451759" y="4763"/>
                      </a:cubicBezTo>
                      <a:cubicBezTo>
                        <a:pt x="455483" y="5286"/>
                        <a:pt x="466028" y="6410"/>
                        <a:pt x="461999" y="0"/>
                      </a:cubicBezTo>
                      <a:cubicBezTo>
                        <a:pt x="468999" y="1124"/>
                        <a:pt x="474315" y="5924"/>
                        <a:pt x="480601" y="7058"/>
                      </a:cubicBezTo>
                      <a:cubicBezTo>
                        <a:pt x="485954" y="8077"/>
                        <a:pt x="495231" y="5305"/>
                        <a:pt x="501013" y="4924"/>
                      </a:cubicBezTo>
                      <a:lnTo>
                        <a:pt x="501013" y="4924"/>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62" name="Freeform: Shape 661">
                  <a:extLst>
                    <a:ext uri="{FF2B5EF4-FFF2-40B4-BE49-F238E27FC236}">
                      <a16:creationId xmlns:a16="http://schemas.microsoft.com/office/drawing/2014/main" id="{61536531-0443-496E-9DED-34124A181E79}"/>
                    </a:ext>
                  </a:extLst>
                </p:cNvPr>
                <p:cNvSpPr/>
                <p:nvPr/>
              </p:nvSpPr>
              <p:spPr>
                <a:xfrm>
                  <a:off x="3384793" y="3737966"/>
                  <a:ext cx="112357" cy="70748"/>
                </a:xfrm>
                <a:custGeom>
                  <a:avLst/>
                  <a:gdLst>
                    <a:gd name="connsiteX0" fmla="*/ 3648 w 112357"/>
                    <a:gd name="connsiteY0" fmla="*/ 58696 h 70748"/>
                    <a:gd name="connsiteX1" fmla="*/ 5715 w 112357"/>
                    <a:gd name="connsiteY1" fmla="*/ 49180 h 70748"/>
                    <a:gd name="connsiteX2" fmla="*/ 0 w 112357"/>
                    <a:gd name="connsiteY2" fmla="*/ 41094 h 70748"/>
                    <a:gd name="connsiteX3" fmla="*/ 9211 w 112357"/>
                    <a:gd name="connsiteY3" fmla="*/ 31959 h 70748"/>
                    <a:gd name="connsiteX4" fmla="*/ 8411 w 112357"/>
                    <a:gd name="connsiteY4" fmla="*/ 28844 h 70748"/>
                    <a:gd name="connsiteX5" fmla="*/ 13116 w 112357"/>
                    <a:gd name="connsiteY5" fmla="*/ 25015 h 70748"/>
                    <a:gd name="connsiteX6" fmla="*/ 12840 w 112357"/>
                    <a:gd name="connsiteY6" fmla="*/ 20177 h 70748"/>
                    <a:gd name="connsiteX7" fmla="*/ 26746 w 112357"/>
                    <a:gd name="connsiteY7" fmla="*/ 669 h 70748"/>
                    <a:gd name="connsiteX8" fmla="*/ 44406 w 112357"/>
                    <a:gd name="connsiteY8" fmla="*/ 784 h 70748"/>
                    <a:gd name="connsiteX9" fmla="*/ 50644 w 112357"/>
                    <a:gd name="connsiteY9" fmla="*/ 3994 h 70748"/>
                    <a:gd name="connsiteX10" fmla="*/ 55474 w 112357"/>
                    <a:gd name="connsiteY10" fmla="*/ 4146 h 70748"/>
                    <a:gd name="connsiteX11" fmla="*/ 58874 w 112357"/>
                    <a:gd name="connsiteY11" fmla="*/ 7137 h 70748"/>
                    <a:gd name="connsiteX12" fmla="*/ 67742 w 112357"/>
                    <a:gd name="connsiteY12" fmla="*/ 7232 h 70748"/>
                    <a:gd name="connsiteX13" fmla="*/ 70599 w 112357"/>
                    <a:gd name="connsiteY13" fmla="*/ 13528 h 70748"/>
                    <a:gd name="connsiteX14" fmla="*/ 89068 w 112357"/>
                    <a:gd name="connsiteY14" fmla="*/ 19872 h 70748"/>
                    <a:gd name="connsiteX15" fmla="*/ 76133 w 112357"/>
                    <a:gd name="connsiteY15" fmla="*/ 24720 h 70748"/>
                    <a:gd name="connsiteX16" fmla="*/ 112357 w 112357"/>
                    <a:gd name="connsiteY16" fmla="*/ 40675 h 70748"/>
                    <a:gd name="connsiteX17" fmla="*/ 100032 w 112357"/>
                    <a:gd name="connsiteY17" fmla="*/ 53038 h 70748"/>
                    <a:gd name="connsiteX18" fmla="*/ 96441 w 112357"/>
                    <a:gd name="connsiteY18" fmla="*/ 50438 h 70748"/>
                    <a:gd name="connsiteX19" fmla="*/ 88649 w 112357"/>
                    <a:gd name="connsiteY19" fmla="*/ 47352 h 70748"/>
                    <a:gd name="connsiteX20" fmla="*/ 71257 w 112357"/>
                    <a:gd name="connsiteY20" fmla="*/ 46180 h 70748"/>
                    <a:gd name="connsiteX21" fmla="*/ 54721 w 112357"/>
                    <a:gd name="connsiteY21" fmla="*/ 51409 h 70748"/>
                    <a:gd name="connsiteX22" fmla="*/ 36547 w 112357"/>
                    <a:gd name="connsiteY22" fmla="*/ 49085 h 70748"/>
                    <a:gd name="connsiteX23" fmla="*/ 24479 w 112357"/>
                    <a:gd name="connsiteY23" fmla="*/ 57277 h 70748"/>
                    <a:gd name="connsiteX24" fmla="*/ 10868 w 112357"/>
                    <a:gd name="connsiteY24" fmla="*/ 70735 h 70748"/>
                    <a:gd name="connsiteX25" fmla="*/ 3648 w 112357"/>
                    <a:gd name="connsiteY25" fmla="*/ 58696 h 70748"/>
                    <a:gd name="connsiteX26" fmla="*/ 3648 w 112357"/>
                    <a:gd name="connsiteY26" fmla="*/ 58696 h 70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2357" h="70748">
                      <a:moveTo>
                        <a:pt x="3648" y="58696"/>
                      </a:moveTo>
                      <a:cubicBezTo>
                        <a:pt x="4020" y="55534"/>
                        <a:pt x="6544" y="52238"/>
                        <a:pt x="5715" y="49180"/>
                      </a:cubicBezTo>
                      <a:cubicBezTo>
                        <a:pt x="5125" y="47028"/>
                        <a:pt x="1067" y="43846"/>
                        <a:pt x="0" y="41094"/>
                      </a:cubicBezTo>
                      <a:cubicBezTo>
                        <a:pt x="7315" y="41322"/>
                        <a:pt x="7420" y="36388"/>
                        <a:pt x="9211" y="31959"/>
                      </a:cubicBezTo>
                      <a:cubicBezTo>
                        <a:pt x="9373" y="31559"/>
                        <a:pt x="8049" y="29683"/>
                        <a:pt x="8411" y="28844"/>
                      </a:cubicBezTo>
                      <a:cubicBezTo>
                        <a:pt x="9096" y="27216"/>
                        <a:pt x="12402" y="26682"/>
                        <a:pt x="13116" y="25015"/>
                      </a:cubicBezTo>
                      <a:cubicBezTo>
                        <a:pt x="14288" y="22234"/>
                        <a:pt x="12392" y="22215"/>
                        <a:pt x="12840" y="20177"/>
                      </a:cubicBezTo>
                      <a:cubicBezTo>
                        <a:pt x="15059" y="9937"/>
                        <a:pt x="12573" y="565"/>
                        <a:pt x="26746" y="669"/>
                      </a:cubicBezTo>
                      <a:cubicBezTo>
                        <a:pt x="32204" y="708"/>
                        <a:pt x="39138" y="-931"/>
                        <a:pt x="44406" y="784"/>
                      </a:cubicBezTo>
                      <a:cubicBezTo>
                        <a:pt x="46339" y="1403"/>
                        <a:pt x="48616" y="3251"/>
                        <a:pt x="50644" y="3994"/>
                      </a:cubicBezTo>
                      <a:cubicBezTo>
                        <a:pt x="52045" y="4518"/>
                        <a:pt x="53959" y="3660"/>
                        <a:pt x="55474" y="4146"/>
                      </a:cubicBezTo>
                      <a:cubicBezTo>
                        <a:pt x="56779" y="4565"/>
                        <a:pt x="57550" y="6756"/>
                        <a:pt x="58874" y="7137"/>
                      </a:cubicBezTo>
                      <a:cubicBezTo>
                        <a:pt x="60541" y="7613"/>
                        <a:pt x="67008" y="6870"/>
                        <a:pt x="67742" y="7232"/>
                      </a:cubicBezTo>
                      <a:cubicBezTo>
                        <a:pt x="72009" y="9328"/>
                        <a:pt x="69152" y="9547"/>
                        <a:pt x="70599" y="13528"/>
                      </a:cubicBezTo>
                      <a:cubicBezTo>
                        <a:pt x="74438" y="24063"/>
                        <a:pt x="82667" y="13700"/>
                        <a:pt x="89068" y="19872"/>
                      </a:cubicBezTo>
                      <a:cubicBezTo>
                        <a:pt x="85611" y="24339"/>
                        <a:pt x="77038" y="18672"/>
                        <a:pt x="76133" y="24720"/>
                      </a:cubicBezTo>
                      <a:cubicBezTo>
                        <a:pt x="84030" y="25187"/>
                        <a:pt x="111871" y="29283"/>
                        <a:pt x="112357" y="40675"/>
                      </a:cubicBezTo>
                      <a:cubicBezTo>
                        <a:pt x="112462" y="42999"/>
                        <a:pt x="102022" y="52867"/>
                        <a:pt x="100032" y="53038"/>
                      </a:cubicBezTo>
                      <a:cubicBezTo>
                        <a:pt x="97546" y="53257"/>
                        <a:pt x="98203" y="51171"/>
                        <a:pt x="96441" y="50438"/>
                      </a:cubicBezTo>
                      <a:cubicBezTo>
                        <a:pt x="93355" y="49152"/>
                        <a:pt x="92669" y="48114"/>
                        <a:pt x="88649" y="47352"/>
                      </a:cubicBezTo>
                      <a:cubicBezTo>
                        <a:pt x="82896" y="46256"/>
                        <a:pt x="77105" y="46266"/>
                        <a:pt x="71257" y="46180"/>
                      </a:cubicBezTo>
                      <a:cubicBezTo>
                        <a:pt x="63999" y="46075"/>
                        <a:pt x="60950" y="48971"/>
                        <a:pt x="54721" y="51409"/>
                      </a:cubicBezTo>
                      <a:cubicBezTo>
                        <a:pt x="45777" y="54924"/>
                        <a:pt x="43929" y="49504"/>
                        <a:pt x="36547" y="49085"/>
                      </a:cubicBezTo>
                      <a:cubicBezTo>
                        <a:pt x="28708" y="48647"/>
                        <a:pt x="27613" y="52533"/>
                        <a:pt x="24479" y="57277"/>
                      </a:cubicBezTo>
                      <a:cubicBezTo>
                        <a:pt x="22136" y="60839"/>
                        <a:pt x="14430" y="71174"/>
                        <a:pt x="10868" y="70735"/>
                      </a:cubicBezTo>
                      <a:cubicBezTo>
                        <a:pt x="4715" y="69964"/>
                        <a:pt x="7630" y="61077"/>
                        <a:pt x="3648" y="58696"/>
                      </a:cubicBezTo>
                      <a:lnTo>
                        <a:pt x="3648" y="58696"/>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63" name="Freeform: Shape 662">
                  <a:extLst>
                    <a:ext uri="{FF2B5EF4-FFF2-40B4-BE49-F238E27FC236}">
                      <a16:creationId xmlns:a16="http://schemas.microsoft.com/office/drawing/2014/main" id="{55242E48-B89F-46FA-806C-1F6940F4B98E}"/>
                    </a:ext>
                  </a:extLst>
                </p:cNvPr>
                <p:cNvSpPr/>
                <p:nvPr/>
              </p:nvSpPr>
              <p:spPr>
                <a:xfrm>
                  <a:off x="5792623" y="2546154"/>
                  <a:ext cx="110778" cy="93669"/>
                </a:xfrm>
                <a:custGeom>
                  <a:avLst/>
                  <a:gdLst>
                    <a:gd name="connsiteX0" fmla="*/ 110228 w 110778"/>
                    <a:gd name="connsiteY0" fmla="*/ 61503 h 93669"/>
                    <a:gd name="connsiteX1" fmla="*/ 105199 w 110778"/>
                    <a:gd name="connsiteY1" fmla="*/ 67494 h 93669"/>
                    <a:gd name="connsiteX2" fmla="*/ 107323 w 110778"/>
                    <a:gd name="connsiteY2" fmla="*/ 75667 h 93669"/>
                    <a:gd name="connsiteX3" fmla="*/ 103885 w 110778"/>
                    <a:gd name="connsiteY3" fmla="*/ 79296 h 93669"/>
                    <a:gd name="connsiteX4" fmla="*/ 99875 w 110778"/>
                    <a:gd name="connsiteY4" fmla="*/ 83572 h 93669"/>
                    <a:gd name="connsiteX5" fmla="*/ 95589 w 110778"/>
                    <a:gd name="connsiteY5" fmla="*/ 93383 h 93669"/>
                    <a:gd name="connsiteX6" fmla="*/ 90788 w 110778"/>
                    <a:gd name="connsiteY6" fmla="*/ 84087 h 93669"/>
                    <a:gd name="connsiteX7" fmla="*/ 81377 w 110778"/>
                    <a:gd name="connsiteY7" fmla="*/ 79867 h 93669"/>
                    <a:gd name="connsiteX8" fmla="*/ 75424 w 110778"/>
                    <a:gd name="connsiteY8" fmla="*/ 69399 h 93669"/>
                    <a:gd name="connsiteX9" fmla="*/ 71281 w 110778"/>
                    <a:gd name="connsiteY9" fmla="*/ 63503 h 93669"/>
                    <a:gd name="connsiteX10" fmla="*/ 80472 w 110778"/>
                    <a:gd name="connsiteY10" fmla="*/ 61493 h 93669"/>
                    <a:gd name="connsiteX11" fmla="*/ 87988 w 110778"/>
                    <a:gd name="connsiteY11" fmla="*/ 57245 h 93669"/>
                    <a:gd name="connsiteX12" fmla="*/ 92607 w 110778"/>
                    <a:gd name="connsiteY12" fmla="*/ 62503 h 93669"/>
                    <a:gd name="connsiteX13" fmla="*/ 92464 w 110778"/>
                    <a:gd name="connsiteY13" fmla="*/ 55740 h 93669"/>
                    <a:gd name="connsiteX14" fmla="*/ 107724 w 110778"/>
                    <a:gd name="connsiteY14" fmla="*/ 51930 h 93669"/>
                    <a:gd name="connsiteX15" fmla="*/ 110228 w 110778"/>
                    <a:gd name="connsiteY15" fmla="*/ 61503 h 93669"/>
                    <a:gd name="connsiteX16" fmla="*/ 110228 w 110778"/>
                    <a:gd name="connsiteY16" fmla="*/ 61503 h 93669"/>
                    <a:gd name="connsiteX17" fmla="*/ 54460 w 110778"/>
                    <a:gd name="connsiteY17" fmla="*/ 17812 h 93669"/>
                    <a:gd name="connsiteX18" fmla="*/ 53326 w 110778"/>
                    <a:gd name="connsiteY18" fmla="*/ 36224 h 93669"/>
                    <a:gd name="connsiteX19" fmla="*/ 67604 w 110778"/>
                    <a:gd name="connsiteY19" fmla="*/ 43424 h 93669"/>
                    <a:gd name="connsiteX20" fmla="*/ 54488 w 110778"/>
                    <a:gd name="connsiteY20" fmla="*/ 47415 h 93669"/>
                    <a:gd name="connsiteX21" fmla="*/ 51535 w 110778"/>
                    <a:gd name="connsiteY21" fmla="*/ 57836 h 93669"/>
                    <a:gd name="connsiteX22" fmla="*/ 44515 w 110778"/>
                    <a:gd name="connsiteY22" fmla="*/ 59684 h 93669"/>
                    <a:gd name="connsiteX23" fmla="*/ 38791 w 110778"/>
                    <a:gd name="connsiteY23" fmla="*/ 69180 h 93669"/>
                    <a:gd name="connsiteX24" fmla="*/ 39829 w 110778"/>
                    <a:gd name="connsiteY24" fmla="*/ 77229 h 93669"/>
                    <a:gd name="connsiteX25" fmla="*/ 35172 w 110778"/>
                    <a:gd name="connsiteY25" fmla="*/ 84982 h 93669"/>
                    <a:gd name="connsiteX26" fmla="*/ 42725 w 110778"/>
                    <a:gd name="connsiteY26" fmla="*/ 91726 h 93669"/>
                    <a:gd name="connsiteX27" fmla="*/ 27304 w 110778"/>
                    <a:gd name="connsiteY27" fmla="*/ 90745 h 93669"/>
                    <a:gd name="connsiteX28" fmla="*/ 17236 w 110778"/>
                    <a:gd name="connsiteY28" fmla="*/ 89287 h 93669"/>
                    <a:gd name="connsiteX29" fmla="*/ 13169 w 110778"/>
                    <a:gd name="connsiteY29" fmla="*/ 81991 h 93669"/>
                    <a:gd name="connsiteX30" fmla="*/ 13312 w 110778"/>
                    <a:gd name="connsiteY30" fmla="*/ 72895 h 93669"/>
                    <a:gd name="connsiteX31" fmla="*/ 1815 w 110778"/>
                    <a:gd name="connsiteY31" fmla="*/ 67561 h 93669"/>
                    <a:gd name="connsiteX32" fmla="*/ 2406 w 110778"/>
                    <a:gd name="connsiteY32" fmla="*/ 55293 h 93669"/>
                    <a:gd name="connsiteX33" fmla="*/ 5 w 110778"/>
                    <a:gd name="connsiteY33" fmla="*/ 44272 h 93669"/>
                    <a:gd name="connsiteX34" fmla="*/ 11321 w 110778"/>
                    <a:gd name="connsiteY34" fmla="*/ 38500 h 93669"/>
                    <a:gd name="connsiteX35" fmla="*/ 25323 w 110778"/>
                    <a:gd name="connsiteY35" fmla="*/ 32623 h 93669"/>
                    <a:gd name="connsiteX36" fmla="*/ 21808 w 110778"/>
                    <a:gd name="connsiteY36" fmla="*/ 22088 h 93669"/>
                    <a:gd name="connsiteX37" fmla="*/ 14398 w 110778"/>
                    <a:gd name="connsiteY37" fmla="*/ 31966 h 93669"/>
                    <a:gd name="connsiteX38" fmla="*/ 10063 w 110778"/>
                    <a:gd name="connsiteY38" fmla="*/ 20012 h 93669"/>
                    <a:gd name="connsiteX39" fmla="*/ 34391 w 110778"/>
                    <a:gd name="connsiteY39" fmla="*/ 13887 h 93669"/>
                    <a:gd name="connsiteX40" fmla="*/ 57269 w 110778"/>
                    <a:gd name="connsiteY40" fmla="*/ 0 h 93669"/>
                    <a:gd name="connsiteX41" fmla="*/ 54460 w 110778"/>
                    <a:gd name="connsiteY41" fmla="*/ 17812 h 93669"/>
                    <a:gd name="connsiteX42" fmla="*/ 54460 w 110778"/>
                    <a:gd name="connsiteY42" fmla="*/ 17812 h 93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10778" h="93669">
                      <a:moveTo>
                        <a:pt x="110228" y="61503"/>
                      </a:moveTo>
                      <a:cubicBezTo>
                        <a:pt x="112486" y="67627"/>
                        <a:pt x="107199" y="64484"/>
                        <a:pt x="105199" y="67494"/>
                      </a:cubicBezTo>
                      <a:cubicBezTo>
                        <a:pt x="100513" y="74543"/>
                        <a:pt x="106723" y="69904"/>
                        <a:pt x="107323" y="75667"/>
                      </a:cubicBezTo>
                      <a:cubicBezTo>
                        <a:pt x="107695" y="79238"/>
                        <a:pt x="105561" y="77400"/>
                        <a:pt x="103885" y="79296"/>
                      </a:cubicBezTo>
                      <a:cubicBezTo>
                        <a:pt x="100323" y="83287"/>
                        <a:pt x="101627" y="78010"/>
                        <a:pt x="99875" y="83572"/>
                      </a:cubicBezTo>
                      <a:cubicBezTo>
                        <a:pt x="99027" y="86249"/>
                        <a:pt x="102713" y="95393"/>
                        <a:pt x="95589" y="93383"/>
                      </a:cubicBezTo>
                      <a:cubicBezTo>
                        <a:pt x="92160" y="92412"/>
                        <a:pt x="92379" y="86316"/>
                        <a:pt x="90788" y="84087"/>
                      </a:cubicBezTo>
                      <a:cubicBezTo>
                        <a:pt x="87073" y="78896"/>
                        <a:pt x="86168" y="81944"/>
                        <a:pt x="81377" y="79867"/>
                      </a:cubicBezTo>
                      <a:cubicBezTo>
                        <a:pt x="76853" y="77905"/>
                        <a:pt x="77348" y="73342"/>
                        <a:pt x="75424" y="69399"/>
                      </a:cubicBezTo>
                      <a:cubicBezTo>
                        <a:pt x="74167" y="66837"/>
                        <a:pt x="72843" y="66018"/>
                        <a:pt x="71281" y="63503"/>
                      </a:cubicBezTo>
                      <a:cubicBezTo>
                        <a:pt x="74872" y="62446"/>
                        <a:pt x="77415" y="63598"/>
                        <a:pt x="80472" y="61493"/>
                      </a:cubicBezTo>
                      <a:cubicBezTo>
                        <a:pt x="83349" y="59512"/>
                        <a:pt x="82806" y="52988"/>
                        <a:pt x="87988" y="57245"/>
                      </a:cubicBezTo>
                      <a:cubicBezTo>
                        <a:pt x="90150" y="59026"/>
                        <a:pt x="88026" y="67380"/>
                        <a:pt x="92607" y="62503"/>
                      </a:cubicBezTo>
                      <a:cubicBezTo>
                        <a:pt x="94569" y="60408"/>
                        <a:pt x="94922" y="57598"/>
                        <a:pt x="92464" y="55740"/>
                      </a:cubicBezTo>
                      <a:cubicBezTo>
                        <a:pt x="96265" y="52978"/>
                        <a:pt x="102856" y="48482"/>
                        <a:pt x="107724" y="51930"/>
                      </a:cubicBezTo>
                      <a:cubicBezTo>
                        <a:pt x="112115" y="55054"/>
                        <a:pt x="106885" y="56483"/>
                        <a:pt x="110228" y="61503"/>
                      </a:cubicBezTo>
                      <a:lnTo>
                        <a:pt x="110228" y="61503"/>
                      </a:lnTo>
                      <a:close/>
                      <a:moveTo>
                        <a:pt x="54460" y="17812"/>
                      </a:moveTo>
                      <a:cubicBezTo>
                        <a:pt x="52259" y="22736"/>
                        <a:pt x="49106" y="31471"/>
                        <a:pt x="53326" y="36224"/>
                      </a:cubicBezTo>
                      <a:cubicBezTo>
                        <a:pt x="57365" y="40786"/>
                        <a:pt x="69862" y="34557"/>
                        <a:pt x="67604" y="43424"/>
                      </a:cubicBezTo>
                      <a:cubicBezTo>
                        <a:pt x="65518" y="51578"/>
                        <a:pt x="57584" y="45110"/>
                        <a:pt x="54488" y="47415"/>
                      </a:cubicBezTo>
                      <a:cubicBezTo>
                        <a:pt x="51564" y="49597"/>
                        <a:pt x="53593" y="55445"/>
                        <a:pt x="51535" y="57836"/>
                      </a:cubicBezTo>
                      <a:cubicBezTo>
                        <a:pt x="49811" y="59827"/>
                        <a:pt x="47621" y="57798"/>
                        <a:pt x="44515" y="59684"/>
                      </a:cubicBezTo>
                      <a:cubicBezTo>
                        <a:pt x="51897" y="63560"/>
                        <a:pt x="40582" y="65199"/>
                        <a:pt x="38791" y="69180"/>
                      </a:cubicBezTo>
                      <a:cubicBezTo>
                        <a:pt x="37296" y="72533"/>
                        <a:pt x="40201" y="73828"/>
                        <a:pt x="39829" y="77229"/>
                      </a:cubicBezTo>
                      <a:cubicBezTo>
                        <a:pt x="39448" y="80696"/>
                        <a:pt x="36410" y="81629"/>
                        <a:pt x="35172" y="84982"/>
                      </a:cubicBezTo>
                      <a:cubicBezTo>
                        <a:pt x="40477" y="84106"/>
                        <a:pt x="42572" y="87182"/>
                        <a:pt x="42725" y="91726"/>
                      </a:cubicBezTo>
                      <a:cubicBezTo>
                        <a:pt x="37905" y="89973"/>
                        <a:pt x="32419" y="91802"/>
                        <a:pt x="27304" y="90745"/>
                      </a:cubicBezTo>
                      <a:cubicBezTo>
                        <a:pt x="25808" y="90430"/>
                        <a:pt x="18503" y="90068"/>
                        <a:pt x="17236" y="89287"/>
                      </a:cubicBezTo>
                      <a:cubicBezTo>
                        <a:pt x="15217" y="88040"/>
                        <a:pt x="15236" y="84496"/>
                        <a:pt x="13169" y="81991"/>
                      </a:cubicBezTo>
                      <a:cubicBezTo>
                        <a:pt x="16865" y="81267"/>
                        <a:pt x="15436" y="75209"/>
                        <a:pt x="13312" y="72895"/>
                      </a:cubicBezTo>
                      <a:cubicBezTo>
                        <a:pt x="10826" y="70218"/>
                        <a:pt x="3977" y="70742"/>
                        <a:pt x="1815" y="67561"/>
                      </a:cubicBezTo>
                      <a:cubicBezTo>
                        <a:pt x="-147" y="64675"/>
                        <a:pt x="2806" y="58865"/>
                        <a:pt x="2406" y="55293"/>
                      </a:cubicBezTo>
                      <a:cubicBezTo>
                        <a:pt x="1958" y="51330"/>
                        <a:pt x="53" y="48673"/>
                        <a:pt x="5" y="44272"/>
                      </a:cubicBezTo>
                      <a:cubicBezTo>
                        <a:pt x="-147" y="29070"/>
                        <a:pt x="3101" y="39662"/>
                        <a:pt x="11321" y="38500"/>
                      </a:cubicBezTo>
                      <a:cubicBezTo>
                        <a:pt x="14274" y="38081"/>
                        <a:pt x="20151" y="24241"/>
                        <a:pt x="25323" y="32623"/>
                      </a:cubicBezTo>
                      <a:cubicBezTo>
                        <a:pt x="25332" y="28413"/>
                        <a:pt x="28428" y="20964"/>
                        <a:pt x="21808" y="22088"/>
                      </a:cubicBezTo>
                      <a:cubicBezTo>
                        <a:pt x="16941" y="22917"/>
                        <a:pt x="17474" y="29508"/>
                        <a:pt x="14398" y="31966"/>
                      </a:cubicBezTo>
                      <a:cubicBezTo>
                        <a:pt x="5187" y="39329"/>
                        <a:pt x="-2214" y="26041"/>
                        <a:pt x="10063" y="20012"/>
                      </a:cubicBezTo>
                      <a:cubicBezTo>
                        <a:pt x="18264" y="15983"/>
                        <a:pt x="27161" y="21288"/>
                        <a:pt x="34391" y="13887"/>
                      </a:cubicBezTo>
                      <a:cubicBezTo>
                        <a:pt x="40639" y="7487"/>
                        <a:pt x="47516" y="543"/>
                        <a:pt x="57269" y="0"/>
                      </a:cubicBezTo>
                      <a:cubicBezTo>
                        <a:pt x="49088" y="5020"/>
                        <a:pt x="61213" y="12230"/>
                        <a:pt x="54460" y="17812"/>
                      </a:cubicBezTo>
                      <a:lnTo>
                        <a:pt x="54460" y="17812"/>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64" name="Freeform: Shape 663">
                  <a:extLst>
                    <a:ext uri="{FF2B5EF4-FFF2-40B4-BE49-F238E27FC236}">
                      <a16:creationId xmlns:a16="http://schemas.microsoft.com/office/drawing/2014/main" id="{34B03F70-ABDA-44BC-B410-5211DFD5BD39}"/>
                    </a:ext>
                  </a:extLst>
                </p:cNvPr>
                <p:cNvSpPr/>
                <p:nvPr/>
              </p:nvSpPr>
              <p:spPr>
                <a:xfrm>
                  <a:off x="6895757" y="3964578"/>
                  <a:ext cx="49492" cy="55621"/>
                </a:xfrm>
                <a:custGeom>
                  <a:avLst/>
                  <a:gdLst>
                    <a:gd name="connsiteX0" fmla="*/ 46415 w 49492"/>
                    <a:gd name="connsiteY0" fmla="*/ 38071 h 55621"/>
                    <a:gd name="connsiteX1" fmla="*/ 34985 w 49492"/>
                    <a:gd name="connsiteY1" fmla="*/ 53892 h 55621"/>
                    <a:gd name="connsiteX2" fmla="*/ 28937 w 49492"/>
                    <a:gd name="connsiteY2" fmla="*/ 51359 h 55621"/>
                    <a:gd name="connsiteX3" fmla="*/ 19555 w 49492"/>
                    <a:gd name="connsiteY3" fmla="*/ 53292 h 55621"/>
                    <a:gd name="connsiteX4" fmla="*/ 3010 w 49492"/>
                    <a:gd name="connsiteY4" fmla="*/ 54588 h 55621"/>
                    <a:gd name="connsiteX5" fmla="*/ 104 w 49492"/>
                    <a:gd name="connsiteY5" fmla="*/ 36138 h 55621"/>
                    <a:gd name="connsiteX6" fmla="*/ 6924 w 49492"/>
                    <a:gd name="connsiteY6" fmla="*/ 24317 h 55621"/>
                    <a:gd name="connsiteX7" fmla="*/ 17887 w 49492"/>
                    <a:gd name="connsiteY7" fmla="*/ 6725 h 55621"/>
                    <a:gd name="connsiteX8" fmla="*/ 28317 w 49492"/>
                    <a:gd name="connsiteY8" fmla="*/ 9697 h 55621"/>
                    <a:gd name="connsiteX9" fmla="*/ 31813 w 49492"/>
                    <a:gd name="connsiteY9" fmla="*/ 2724 h 55621"/>
                    <a:gd name="connsiteX10" fmla="*/ 39366 w 49492"/>
                    <a:gd name="connsiteY10" fmla="*/ 0 h 55621"/>
                    <a:gd name="connsiteX11" fmla="*/ 47015 w 49492"/>
                    <a:gd name="connsiteY11" fmla="*/ 22374 h 55621"/>
                    <a:gd name="connsiteX12" fmla="*/ 34556 w 49492"/>
                    <a:gd name="connsiteY12" fmla="*/ 29537 h 55621"/>
                    <a:gd name="connsiteX13" fmla="*/ 23650 w 49492"/>
                    <a:gd name="connsiteY13" fmla="*/ 35795 h 55621"/>
                    <a:gd name="connsiteX14" fmla="*/ 46415 w 49492"/>
                    <a:gd name="connsiteY14" fmla="*/ 38071 h 55621"/>
                    <a:gd name="connsiteX15" fmla="*/ 46415 w 49492"/>
                    <a:gd name="connsiteY15" fmla="*/ 38071 h 5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492" h="55621">
                      <a:moveTo>
                        <a:pt x="46415" y="38071"/>
                      </a:moveTo>
                      <a:cubicBezTo>
                        <a:pt x="43881" y="42605"/>
                        <a:pt x="40024" y="53464"/>
                        <a:pt x="34985" y="53892"/>
                      </a:cubicBezTo>
                      <a:cubicBezTo>
                        <a:pt x="32775" y="54083"/>
                        <a:pt x="31118" y="51597"/>
                        <a:pt x="28937" y="51359"/>
                      </a:cubicBezTo>
                      <a:cubicBezTo>
                        <a:pt x="25565" y="50978"/>
                        <a:pt x="22783" y="52549"/>
                        <a:pt x="19555" y="53292"/>
                      </a:cubicBezTo>
                      <a:cubicBezTo>
                        <a:pt x="15935" y="54121"/>
                        <a:pt x="6133" y="57207"/>
                        <a:pt x="3010" y="54588"/>
                      </a:cubicBezTo>
                      <a:cubicBezTo>
                        <a:pt x="762" y="52711"/>
                        <a:pt x="-362" y="39643"/>
                        <a:pt x="104" y="36138"/>
                      </a:cubicBezTo>
                      <a:cubicBezTo>
                        <a:pt x="828" y="30766"/>
                        <a:pt x="3876" y="28632"/>
                        <a:pt x="6924" y="24317"/>
                      </a:cubicBezTo>
                      <a:cubicBezTo>
                        <a:pt x="9601" y="20517"/>
                        <a:pt x="13630" y="8582"/>
                        <a:pt x="17887" y="6725"/>
                      </a:cubicBezTo>
                      <a:cubicBezTo>
                        <a:pt x="22060" y="4896"/>
                        <a:pt x="24155" y="11687"/>
                        <a:pt x="28317" y="9697"/>
                      </a:cubicBezTo>
                      <a:cubicBezTo>
                        <a:pt x="30575" y="8620"/>
                        <a:pt x="29994" y="4467"/>
                        <a:pt x="31813" y="2724"/>
                      </a:cubicBezTo>
                      <a:cubicBezTo>
                        <a:pt x="32832" y="1753"/>
                        <a:pt x="37862" y="705"/>
                        <a:pt x="39366" y="0"/>
                      </a:cubicBezTo>
                      <a:cubicBezTo>
                        <a:pt x="42633" y="7401"/>
                        <a:pt x="54607" y="13392"/>
                        <a:pt x="47015" y="22374"/>
                      </a:cubicBezTo>
                      <a:cubicBezTo>
                        <a:pt x="43691" y="26318"/>
                        <a:pt x="38642" y="27051"/>
                        <a:pt x="34556" y="29537"/>
                      </a:cubicBezTo>
                      <a:cubicBezTo>
                        <a:pt x="30851" y="31794"/>
                        <a:pt x="28355" y="37205"/>
                        <a:pt x="23650" y="35795"/>
                      </a:cubicBezTo>
                      <a:cubicBezTo>
                        <a:pt x="25069" y="40595"/>
                        <a:pt x="40691" y="32585"/>
                        <a:pt x="46415" y="38071"/>
                      </a:cubicBezTo>
                      <a:lnTo>
                        <a:pt x="46415" y="38071"/>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65" name="Freeform: Shape 664">
                  <a:extLst>
                    <a:ext uri="{FF2B5EF4-FFF2-40B4-BE49-F238E27FC236}">
                      <a16:creationId xmlns:a16="http://schemas.microsoft.com/office/drawing/2014/main" id="{5D230655-51CE-418C-8A3E-4BB8C549FB81}"/>
                    </a:ext>
                  </a:extLst>
                </p:cNvPr>
                <p:cNvSpPr/>
                <p:nvPr/>
              </p:nvSpPr>
              <p:spPr>
                <a:xfrm>
                  <a:off x="5744097" y="2635415"/>
                  <a:ext cx="233546" cy="240207"/>
                </a:xfrm>
                <a:custGeom>
                  <a:avLst/>
                  <a:gdLst>
                    <a:gd name="connsiteX0" fmla="*/ 79259 w 233546"/>
                    <a:gd name="connsiteY0" fmla="*/ 3026 h 240207"/>
                    <a:gd name="connsiteX1" fmla="*/ 91451 w 233546"/>
                    <a:gd name="connsiteY1" fmla="*/ 3054 h 240207"/>
                    <a:gd name="connsiteX2" fmla="*/ 95232 w 233546"/>
                    <a:gd name="connsiteY2" fmla="*/ 13589 h 240207"/>
                    <a:gd name="connsiteX3" fmla="*/ 102805 w 233546"/>
                    <a:gd name="connsiteY3" fmla="*/ 14332 h 240207"/>
                    <a:gd name="connsiteX4" fmla="*/ 107557 w 233546"/>
                    <a:gd name="connsiteY4" fmla="*/ 14694 h 240207"/>
                    <a:gd name="connsiteX5" fmla="*/ 116368 w 233546"/>
                    <a:gd name="connsiteY5" fmla="*/ 18218 h 240207"/>
                    <a:gd name="connsiteX6" fmla="*/ 124036 w 233546"/>
                    <a:gd name="connsiteY6" fmla="*/ 16599 h 240207"/>
                    <a:gd name="connsiteX7" fmla="*/ 120921 w 233546"/>
                    <a:gd name="connsiteY7" fmla="*/ 28162 h 240207"/>
                    <a:gd name="connsiteX8" fmla="*/ 136199 w 233546"/>
                    <a:gd name="connsiteY8" fmla="*/ 29600 h 240207"/>
                    <a:gd name="connsiteX9" fmla="*/ 141781 w 233546"/>
                    <a:gd name="connsiteY9" fmla="*/ 24905 h 240207"/>
                    <a:gd name="connsiteX10" fmla="*/ 149144 w 233546"/>
                    <a:gd name="connsiteY10" fmla="*/ 23400 h 240207"/>
                    <a:gd name="connsiteX11" fmla="*/ 162593 w 233546"/>
                    <a:gd name="connsiteY11" fmla="*/ 13751 h 240207"/>
                    <a:gd name="connsiteX12" fmla="*/ 178005 w 233546"/>
                    <a:gd name="connsiteY12" fmla="*/ 19904 h 240207"/>
                    <a:gd name="connsiteX13" fmla="*/ 194340 w 233546"/>
                    <a:gd name="connsiteY13" fmla="*/ 26762 h 240207"/>
                    <a:gd name="connsiteX14" fmla="*/ 196674 w 233546"/>
                    <a:gd name="connsiteY14" fmla="*/ 33058 h 240207"/>
                    <a:gd name="connsiteX15" fmla="*/ 203836 w 233546"/>
                    <a:gd name="connsiteY15" fmla="*/ 36344 h 240207"/>
                    <a:gd name="connsiteX16" fmla="*/ 210342 w 233546"/>
                    <a:gd name="connsiteY16" fmla="*/ 46698 h 240207"/>
                    <a:gd name="connsiteX17" fmla="*/ 208789 w 233546"/>
                    <a:gd name="connsiteY17" fmla="*/ 59861 h 240207"/>
                    <a:gd name="connsiteX18" fmla="*/ 206284 w 233546"/>
                    <a:gd name="connsiteY18" fmla="*/ 63786 h 240207"/>
                    <a:gd name="connsiteX19" fmla="*/ 215200 w 233546"/>
                    <a:gd name="connsiteY19" fmla="*/ 70167 h 240207"/>
                    <a:gd name="connsiteX20" fmla="*/ 219362 w 233546"/>
                    <a:gd name="connsiteY20" fmla="*/ 81559 h 240207"/>
                    <a:gd name="connsiteX21" fmla="*/ 224610 w 233546"/>
                    <a:gd name="connsiteY21" fmla="*/ 88903 h 240207"/>
                    <a:gd name="connsiteX22" fmla="*/ 221915 w 233546"/>
                    <a:gd name="connsiteY22" fmla="*/ 97752 h 240207"/>
                    <a:gd name="connsiteX23" fmla="*/ 225506 w 233546"/>
                    <a:gd name="connsiteY23" fmla="*/ 102705 h 240207"/>
                    <a:gd name="connsiteX24" fmla="*/ 225477 w 233546"/>
                    <a:gd name="connsiteY24" fmla="*/ 104505 h 240207"/>
                    <a:gd name="connsiteX25" fmla="*/ 229249 w 233546"/>
                    <a:gd name="connsiteY25" fmla="*/ 107867 h 240207"/>
                    <a:gd name="connsiteX26" fmla="*/ 232745 w 233546"/>
                    <a:gd name="connsiteY26" fmla="*/ 121402 h 240207"/>
                    <a:gd name="connsiteX27" fmla="*/ 225563 w 233546"/>
                    <a:gd name="connsiteY27" fmla="*/ 127898 h 240207"/>
                    <a:gd name="connsiteX28" fmla="*/ 219067 w 233546"/>
                    <a:gd name="connsiteY28" fmla="*/ 122307 h 240207"/>
                    <a:gd name="connsiteX29" fmla="*/ 218695 w 233546"/>
                    <a:gd name="connsiteY29" fmla="*/ 125689 h 240207"/>
                    <a:gd name="connsiteX30" fmla="*/ 191444 w 233546"/>
                    <a:gd name="connsiteY30" fmla="*/ 136242 h 240207"/>
                    <a:gd name="connsiteX31" fmla="*/ 184729 w 233546"/>
                    <a:gd name="connsiteY31" fmla="*/ 139576 h 240207"/>
                    <a:gd name="connsiteX32" fmla="*/ 179967 w 233546"/>
                    <a:gd name="connsiteY32" fmla="*/ 141043 h 240207"/>
                    <a:gd name="connsiteX33" fmla="*/ 166689 w 233546"/>
                    <a:gd name="connsiteY33" fmla="*/ 148768 h 240207"/>
                    <a:gd name="connsiteX34" fmla="*/ 162745 w 233546"/>
                    <a:gd name="connsiteY34" fmla="*/ 147758 h 240207"/>
                    <a:gd name="connsiteX35" fmla="*/ 172328 w 233546"/>
                    <a:gd name="connsiteY35" fmla="*/ 156350 h 240207"/>
                    <a:gd name="connsiteX36" fmla="*/ 172299 w 233546"/>
                    <a:gd name="connsiteY36" fmla="*/ 164294 h 240207"/>
                    <a:gd name="connsiteX37" fmla="*/ 182376 w 233546"/>
                    <a:gd name="connsiteY37" fmla="*/ 175323 h 240207"/>
                    <a:gd name="connsiteX38" fmla="*/ 195835 w 233546"/>
                    <a:gd name="connsiteY38" fmla="*/ 182924 h 240207"/>
                    <a:gd name="connsiteX39" fmla="*/ 206789 w 233546"/>
                    <a:gd name="connsiteY39" fmla="*/ 189878 h 240207"/>
                    <a:gd name="connsiteX40" fmla="*/ 208742 w 233546"/>
                    <a:gd name="connsiteY40" fmla="*/ 200384 h 240207"/>
                    <a:gd name="connsiteX41" fmla="*/ 202427 w 233546"/>
                    <a:gd name="connsiteY41" fmla="*/ 199165 h 240207"/>
                    <a:gd name="connsiteX42" fmla="*/ 200722 w 233546"/>
                    <a:gd name="connsiteY42" fmla="*/ 205318 h 240207"/>
                    <a:gd name="connsiteX43" fmla="*/ 185958 w 233546"/>
                    <a:gd name="connsiteY43" fmla="*/ 212433 h 240207"/>
                    <a:gd name="connsiteX44" fmla="*/ 189292 w 233546"/>
                    <a:gd name="connsiteY44" fmla="*/ 226254 h 240207"/>
                    <a:gd name="connsiteX45" fmla="*/ 193006 w 233546"/>
                    <a:gd name="connsiteY45" fmla="*/ 233931 h 240207"/>
                    <a:gd name="connsiteX46" fmla="*/ 186177 w 233546"/>
                    <a:gd name="connsiteY46" fmla="*/ 228844 h 240207"/>
                    <a:gd name="connsiteX47" fmla="*/ 174032 w 233546"/>
                    <a:gd name="connsiteY47" fmla="*/ 227073 h 240207"/>
                    <a:gd name="connsiteX48" fmla="*/ 171204 w 233546"/>
                    <a:gd name="connsiteY48" fmla="*/ 228606 h 240207"/>
                    <a:gd name="connsiteX49" fmla="*/ 162145 w 233546"/>
                    <a:gd name="connsiteY49" fmla="*/ 230254 h 240207"/>
                    <a:gd name="connsiteX50" fmla="*/ 138285 w 233546"/>
                    <a:gd name="connsiteY50" fmla="*/ 235188 h 240207"/>
                    <a:gd name="connsiteX51" fmla="*/ 125465 w 233546"/>
                    <a:gd name="connsiteY51" fmla="*/ 231759 h 240207"/>
                    <a:gd name="connsiteX52" fmla="*/ 118683 w 233546"/>
                    <a:gd name="connsiteY52" fmla="*/ 240208 h 240207"/>
                    <a:gd name="connsiteX53" fmla="*/ 113063 w 233546"/>
                    <a:gd name="connsiteY53" fmla="*/ 233321 h 240207"/>
                    <a:gd name="connsiteX54" fmla="*/ 104938 w 233546"/>
                    <a:gd name="connsiteY54" fmla="*/ 232026 h 240207"/>
                    <a:gd name="connsiteX55" fmla="*/ 93775 w 233546"/>
                    <a:gd name="connsiteY55" fmla="*/ 228987 h 240207"/>
                    <a:gd name="connsiteX56" fmla="*/ 78687 w 233546"/>
                    <a:gd name="connsiteY56" fmla="*/ 226406 h 240207"/>
                    <a:gd name="connsiteX57" fmla="*/ 75430 w 233546"/>
                    <a:gd name="connsiteY57" fmla="*/ 228902 h 240207"/>
                    <a:gd name="connsiteX58" fmla="*/ 59723 w 233546"/>
                    <a:gd name="connsiteY58" fmla="*/ 231130 h 240207"/>
                    <a:gd name="connsiteX59" fmla="*/ 48331 w 233546"/>
                    <a:gd name="connsiteY59" fmla="*/ 223549 h 240207"/>
                    <a:gd name="connsiteX60" fmla="*/ 52960 w 233546"/>
                    <a:gd name="connsiteY60" fmla="*/ 204575 h 240207"/>
                    <a:gd name="connsiteX61" fmla="*/ 56627 w 233546"/>
                    <a:gd name="connsiteY61" fmla="*/ 195478 h 240207"/>
                    <a:gd name="connsiteX62" fmla="*/ 61780 w 233546"/>
                    <a:gd name="connsiteY62" fmla="*/ 187506 h 240207"/>
                    <a:gd name="connsiteX63" fmla="*/ 32301 w 233546"/>
                    <a:gd name="connsiteY63" fmla="*/ 181658 h 240207"/>
                    <a:gd name="connsiteX64" fmla="*/ 28119 w 233546"/>
                    <a:gd name="connsiteY64" fmla="*/ 179591 h 240207"/>
                    <a:gd name="connsiteX65" fmla="*/ 24671 w 233546"/>
                    <a:gd name="connsiteY65" fmla="*/ 180619 h 240207"/>
                    <a:gd name="connsiteX66" fmla="*/ 14374 w 233546"/>
                    <a:gd name="connsiteY66" fmla="*/ 171733 h 240207"/>
                    <a:gd name="connsiteX67" fmla="*/ 17842 w 233546"/>
                    <a:gd name="connsiteY67" fmla="*/ 162227 h 240207"/>
                    <a:gd name="connsiteX68" fmla="*/ 8136 w 233546"/>
                    <a:gd name="connsiteY68" fmla="*/ 154826 h 240207"/>
                    <a:gd name="connsiteX69" fmla="*/ 13565 w 233546"/>
                    <a:gd name="connsiteY69" fmla="*/ 143872 h 240207"/>
                    <a:gd name="connsiteX70" fmla="*/ 10041 w 233546"/>
                    <a:gd name="connsiteY70" fmla="*/ 135699 h 240207"/>
                    <a:gd name="connsiteX71" fmla="*/ 3621 w 233546"/>
                    <a:gd name="connsiteY71" fmla="*/ 130851 h 240207"/>
                    <a:gd name="connsiteX72" fmla="*/ 4821 w 233546"/>
                    <a:gd name="connsiteY72" fmla="*/ 125994 h 240207"/>
                    <a:gd name="connsiteX73" fmla="*/ 2668 w 233546"/>
                    <a:gd name="connsiteY73" fmla="*/ 124022 h 240207"/>
                    <a:gd name="connsiteX74" fmla="*/ 20 w 233546"/>
                    <a:gd name="connsiteY74" fmla="*/ 121564 h 240207"/>
                    <a:gd name="connsiteX75" fmla="*/ 6745 w 233546"/>
                    <a:gd name="connsiteY75" fmla="*/ 117802 h 240207"/>
                    <a:gd name="connsiteX76" fmla="*/ 7402 w 233546"/>
                    <a:gd name="connsiteY76" fmla="*/ 107105 h 240207"/>
                    <a:gd name="connsiteX77" fmla="*/ 1859 w 233546"/>
                    <a:gd name="connsiteY77" fmla="*/ 97218 h 240207"/>
                    <a:gd name="connsiteX78" fmla="*/ 13746 w 233546"/>
                    <a:gd name="connsiteY78" fmla="*/ 95990 h 240207"/>
                    <a:gd name="connsiteX79" fmla="*/ 21556 w 233546"/>
                    <a:gd name="connsiteY79" fmla="*/ 93875 h 240207"/>
                    <a:gd name="connsiteX80" fmla="*/ 20213 w 233546"/>
                    <a:gd name="connsiteY80" fmla="*/ 89703 h 240207"/>
                    <a:gd name="connsiteX81" fmla="*/ 27919 w 233546"/>
                    <a:gd name="connsiteY81" fmla="*/ 80683 h 240207"/>
                    <a:gd name="connsiteX82" fmla="*/ 19328 w 233546"/>
                    <a:gd name="connsiteY82" fmla="*/ 75768 h 240207"/>
                    <a:gd name="connsiteX83" fmla="*/ 27519 w 233546"/>
                    <a:gd name="connsiteY83" fmla="*/ 70263 h 240207"/>
                    <a:gd name="connsiteX84" fmla="*/ 30567 w 233546"/>
                    <a:gd name="connsiteY84" fmla="*/ 52603 h 240207"/>
                    <a:gd name="connsiteX85" fmla="*/ 27548 w 233546"/>
                    <a:gd name="connsiteY85" fmla="*/ 43707 h 240207"/>
                    <a:gd name="connsiteX86" fmla="*/ 34129 w 233546"/>
                    <a:gd name="connsiteY86" fmla="*/ 38430 h 240207"/>
                    <a:gd name="connsiteX87" fmla="*/ 53208 w 233546"/>
                    <a:gd name="connsiteY87" fmla="*/ 45269 h 240207"/>
                    <a:gd name="connsiteX88" fmla="*/ 58037 w 233546"/>
                    <a:gd name="connsiteY88" fmla="*/ 41431 h 240207"/>
                    <a:gd name="connsiteX89" fmla="*/ 63057 w 233546"/>
                    <a:gd name="connsiteY89" fmla="*/ 47584 h 240207"/>
                    <a:gd name="connsiteX90" fmla="*/ 63428 w 233546"/>
                    <a:gd name="connsiteY90" fmla="*/ 34944 h 240207"/>
                    <a:gd name="connsiteX91" fmla="*/ 72315 w 233546"/>
                    <a:gd name="connsiteY91" fmla="*/ 33677 h 240207"/>
                    <a:gd name="connsiteX92" fmla="*/ 83507 w 233546"/>
                    <a:gd name="connsiteY92" fmla="*/ 34877 h 240207"/>
                    <a:gd name="connsiteX93" fmla="*/ 95118 w 233546"/>
                    <a:gd name="connsiteY93" fmla="*/ 42526 h 240207"/>
                    <a:gd name="connsiteX94" fmla="*/ 86003 w 233546"/>
                    <a:gd name="connsiteY94" fmla="*/ 36144 h 240207"/>
                    <a:gd name="connsiteX95" fmla="*/ 77449 w 233546"/>
                    <a:gd name="connsiteY95" fmla="*/ 31696 h 240207"/>
                    <a:gd name="connsiteX96" fmla="*/ 70610 w 233546"/>
                    <a:gd name="connsiteY96" fmla="*/ 19371 h 240207"/>
                    <a:gd name="connsiteX97" fmla="*/ 65095 w 233546"/>
                    <a:gd name="connsiteY97" fmla="*/ 19209 h 240207"/>
                    <a:gd name="connsiteX98" fmla="*/ 69477 w 233546"/>
                    <a:gd name="connsiteY98" fmla="*/ 15037 h 240207"/>
                    <a:gd name="connsiteX99" fmla="*/ 69753 w 233546"/>
                    <a:gd name="connsiteY99" fmla="*/ 8969 h 240207"/>
                    <a:gd name="connsiteX100" fmla="*/ 64543 w 233546"/>
                    <a:gd name="connsiteY100" fmla="*/ 54 h 240207"/>
                    <a:gd name="connsiteX101" fmla="*/ 79259 w 233546"/>
                    <a:gd name="connsiteY101" fmla="*/ 3026 h 240207"/>
                    <a:gd name="connsiteX102" fmla="*/ 79259 w 233546"/>
                    <a:gd name="connsiteY102" fmla="*/ 3026 h 24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233546" h="240207">
                      <a:moveTo>
                        <a:pt x="79259" y="3026"/>
                      </a:moveTo>
                      <a:cubicBezTo>
                        <a:pt x="84088" y="2873"/>
                        <a:pt x="87298" y="1721"/>
                        <a:pt x="91451" y="3054"/>
                      </a:cubicBezTo>
                      <a:cubicBezTo>
                        <a:pt x="96337" y="4626"/>
                        <a:pt x="103224" y="9617"/>
                        <a:pt x="95232" y="13589"/>
                      </a:cubicBezTo>
                      <a:cubicBezTo>
                        <a:pt x="98252" y="13351"/>
                        <a:pt x="100890" y="14027"/>
                        <a:pt x="102805" y="14332"/>
                      </a:cubicBezTo>
                      <a:cubicBezTo>
                        <a:pt x="103509" y="14437"/>
                        <a:pt x="107015" y="14503"/>
                        <a:pt x="107557" y="14694"/>
                      </a:cubicBezTo>
                      <a:cubicBezTo>
                        <a:pt x="110234" y="15656"/>
                        <a:pt x="113539" y="18009"/>
                        <a:pt x="116368" y="18218"/>
                      </a:cubicBezTo>
                      <a:cubicBezTo>
                        <a:pt x="118073" y="18342"/>
                        <a:pt x="122541" y="15523"/>
                        <a:pt x="124036" y="16599"/>
                      </a:cubicBezTo>
                      <a:cubicBezTo>
                        <a:pt x="130522" y="21295"/>
                        <a:pt x="117159" y="24390"/>
                        <a:pt x="120921" y="28162"/>
                      </a:cubicBezTo>
                      <a:cubicBezTo>
                        <a:pt x="121845" y="29077"/>
                        <a:pt x="135247" y="29915"/>
                        <a:pt x="136199" y="29600"/>
                      </a:cubicBezTo>
                      <a:cubicBezTo>
                        <a:pt x="138295" y="28943"/>
                        <a:pt x="139800" y="25876"/>
                        <a:pt x="141781" y="24905"/>
                      </a:cubicBezTo>
                      <a:cubicBezTo>
                        <a:pt x="144238" y="23705"/>
                        <a:pt x="146715" y="24286"/>
                        <a:pt x="149144" y="23400"/>
                      </a:cubicBezTo>
                      <a:cubicBezTo>
                        <a:pt x="153897" y="21676"/>
                        <a:pt x="157754" y="15170"/>
                        <a:pt x="162593" y="13751"/>
                      </a:cubicBezTo>
                      <a:cubicBezTo>
                        <a:pt x="168660" y="11979"/>
                        <a:pt x="174099" y="17237"/>
                        <a:pt x="178005" y="19904"/>
                      </a:cubicBezTo>
                      <a:cubicBezTo>
                        <a:pt x="183739" y="23809"/>
                        <a:pt x="190635" y="22209"/>
                        <a:pt x="194340" y="26762"/>
                      </a:cubicBezTo>
                      <a:cubicBezTo>
                        <a:pt x="195759" y="28515"/>
                        <a:pt x="195302" y="31486"/>
                        <a:pt x="196674" y="33058"/>
                      </a:cubicBezTo>
                      <a:cubicBezTo>
                        <a:pt x="198788" y="35468"/>
                        <a:pt x="201560" y="34887"/>
                        <a:pt x="203836" y="36344"/>
                      </a:cubicBezTo>
                      <a:cubicBezTo>
                        <a:pt x="207780" y="38859"/>
                        <a:pt x="208456" y="41478"/>
                        <a:pt x="210342" y="46698"/>
                      </a:cubicBezTo>
                      <a:cubicBezTo>
                        <a:pt x="213047" y="54213"/>
                        <a:pt x="211399" y="53356"/>
                        <a:pt x="208789" y="59861"/>
                      </a:cubicBezTo>
                      <a:cubicBezTo>
                        <a:pt x="208161" y="61452"/>
                        <a:pt x="206056" y="61414"/>
                        <a:pt x="206284" y="63786"/>
                      </a:cubicBezTo>
                      <a:cubicBezTo>
                        <a:pt x="206494" y="66024"/>
                        <a:pt x="213818" y="69024"/>
                        <a:pt x="215200" y="70167"/>
                      </a:cubicBezTo>
                      <a:cubicBezTo>
                        <a:pt x="220267" y="74378"/>
                        <a:pt x="217971" y="76225"/>
                        <a:pt x="219362" y="81559"/>
                      </a:cubicBezTo>
                      <a:cubicBezTo>
                        <a:pt x="219953" y="83788"/>
                        <a:pt x="224382" y="86084"/>
                        <a:pt x="224610" y="88903"/>
                      </a:cubicBezTo>
                      <a:cubicBezTo>
                        <a:pt x="224858" y="91951"/>
                        <a:pt x="221448" y="95104"/>
                        <a:pt x="221915" y="97752"/>
                      </a:cubicBezTo>
                      <a:cubicBezTo>
                        <a:pt x="222258" y="99666"/>
                        <a:pt x="224496" y="101200"/>
                        <a:pt x="225506" y="102705"/>
                      </a:cubicBezTo>
                      <a:cubicBezTo>
                        <a:pt x="225744" y="103067"/>
                        <a:pt x="225677" y="104734"/>
                        <a:pt x="225477" y="104505"/>
                      </a:cubicBezTo>
                      <a:cubicBezTo>
                        <a:pt x="225934" y="105048"/>
                        <a:pt x="228839" y="107296"/>
                        <a:pt x="229249" y="107867"/>
                      </a:cubicBezTo>
                      <a:cubicBezTo>
                        <a:pt x="232478" y="112325"/>
                        <a:pt x="234859" y="114973"/>
                        <a:pt x="232745" y="121402"/>
                      </a:cubicBezTo>
                      <a:cubicBezTo>
                        <a:pt x="231297" y="125813"/>
                        <a:pt x="230287" y="129861"/>
                        <a:pt x="225563" y="127898"/>
                      </a:cubicBezTo>
                      <a:cubicBezTo>
                        <a:pt x="222858" y="126775"/>
                        <a:pt x="223877" y="123069"/>
                        <a:pt x="219067" y="122307"/>
                      </a:cubicBezTo>
                      <a:cubicBezTo>
                        <a:pt x="214647" y="121603"/>
                        <a:pt x="214895" y="123746"/>
                        <a:pt x="218695" y="125689"/>
                      </a:cubicBezTo>
                      <a:cubicBezTo>
                        <a:pt x="209570" y="129746"/>
                        <a:pt x="199207" y="132671"/>
                        <a:pt x="191444" y="136242"/>
                      </a:cubicBezTo>
                      <a:cubicBezTo>
                        <a:pt x="189320" y="137223"/>
                        <a:pt x="187072" y="138643"/>
                        <a:pt x="184729" y="139576"/>
                      </a:cubicBezTo>
                      <a:cubicBezTo>
                        <a:pt x="183072" y="140233"/>
                        <a:pt x="182281" y="140414"/>
                        <a:pt x="179967" y="141043"/>
                      </a:cubicBezTo>
                      <a:cubicBezTo>
                        <a:pt x="173976" y="142672"/>
                        <a:pt x="170442" y="142643"/>
                        <a:pt x="166689" y="148768"/>
                      </a:cubicBezTo>
                      <a:cubicBezTo>
                        <a:pt x="165079" y="145539"/>
                        <a:pt x="160907" y="142281"/>
                        <a:pt x="162745" y="147758"/>
                      </a:cubicBezTo>
                      <a:cubicBezTo>
                        <a:pt x="164212" y="152149"/>
                        <a:pt x="170623" y="152854"/>
                        <a:pt x="172328" y="156350"/>
                      </a:cubicBezTo>
                      <a:cubicBezTo>
                        <a:pt x="173909" y="159588"/>
                        <a:pt x="171394" y="161274"/>
                        <a:pt x="172299" y="164294"/>
                      </a:cubicBezTo>
                      <a:cubicBezTo>
                        <a:pt x="173318" y="167732"/>
                        <a:pt x="179290" y="173447"/>
                        <a:pt x="182376" y="175323"/>
                      </a:cubicBezTo>
                      <a:cubicBezTo>
                        <a:pt x="186348" y="177733"/>
                        <a:pt x="191692" y="179848"/>
                        <a:pt x="195835" y="182924"/>
                      </a:cubicBezTo>
                      <a:cubicBezTo>
                        <a:pt x="199674" y="185763"/>
                        <a:pt x="203160" y="186944"/>
                        <a:pt x="206789" y="189878"/>
                      </a:cubicBezTo>
                      <a:cubicBezTo>
                        <a:pt x="209465" y="192040"/>
                        <a:pt x="213180" y="197574"/>
                        <a:pt x="208742" y="200384"/>
                      </a:cubicBezTo>
                      <a:cubicBezTo>
                        <a:pt x="206684" y="201689"/>
                        <a:pt x="203770" y="198298"/>
                        <a:pt x="202427" y="199165"/>
                      </a:cubicBezTo>
                      <a:cubicBezTo>
                        <a:pt x="200550" y="200374"/>
                        <a:pt x="202017" y="203746"/>
                        <a:pt x="200722" y="205318"/>
                      </a:cubicBezTo>
                      <a:cubicBezTo>
                        <a:pt x="197483" y="209223"/>
                        <a:pt x="188425" y="207766"/>
                        <a:pt x="185958" y="212433"/>
                      </a:cubicBezTo>
                      <a:cubicBezTo>
                        <a:pt x="182977" y="218110"/>
                        <a:pt x="193797" y="219681"/>
                        <a:pt x="189292" y="226254"/>
                      </a:cubicBezTo>
                      <a:cubicBezTo>
                        <a:pt x="192740" y="226035"/>
                        <a:pt x="196492" y="231578"/>
                        <a:pt x="193006" y="233931"/>
                      </a:cubicBezTo>
                      <a:cubicBezTo>
                        <a:pt x="189120" y="236550"/>
                        <a:pt x="187044" y="229187"/>
                        <a:pt x="186177" y="228844"/>
                      </a:cubicBezTo>
                      <a:cubicBezTo>
                        <a:pt x="184577" y="228216"/>
                        <a:pt x="175928" y="226863"/>
                        <a:pt x="174032" y="227073"/>
                      </a:cubicBezTo>
                      <a:cubicBezTo>
                        <a:pt x="171537" y="227349"/>
                        <a:pt x="171213" y="228606"/>
                        <a:pt x="171204" y="228606"/>
                      </a:cubicBezTo>
                      <a:cubicBezTo>
                        <a:pt x="168994" y="229111"/>
                        <a:pt x="165098" y="229835"/>
                        <a:pt x="162145" y="230254"/>
                      </a:cubicBezTo>
                      <a:cubicBezTo>
                        <a:pt x="153049" y="231531"/>
                        <a:pt x="146734" y="237636"/>
                        <a:pt x="138285" y="235188"/>
                      </a:cubicBezTo>
                      <a:cubicBezTo>
                        <a:pt x="135313" y="234321"/>
                        <a:pt x="130037" y="229054"/>
                        <a:pt x="125465" y="231759"/>
                      </a:cubicBezTo>
                      <a:cubicBezTo>
                        <a:pt x="122531" y="233493"/>
                        <a:pt x="124960" y="239836"/>
                        <a:pt x="118683" y="240208"/>
                      </a:cubicBezTo>
                      <a:cubicBezTo>
                        <a:pt x="119216" y="238103"/>
                        <a:pt x="115330" y="234598"/>
                        <a:pt x="113063" y="233321"/>
                      </a:cubicBezTo>
                      <a:cubicBezTo>
                        <a:pt x="109539" y="231340"/>
                        <a:pt x="107710" y="232264"/>
                        <a:pt x="104938" y="232026"/>
                      </a:cubicBezTo>
                      <a:cubicBezTo>
                        <a:pt x="100461" y="231654"/>
                        <a:pt x="98375" y="230454"/>
                        <a:pt x="93775" y="228987"/>
                      </a:cubicBezTo>
                      <a:cubicBezTo>
                        <a:pt x="88650" y="227340"/>
                        <a:pt x="83202" y="227568"/>
                        <a:pt x="78687" y="226406"/>
                      </a:cubicBezTo>
                      <a:cubicBezTo>
                        <a:pt x="72315" y="224758"/>
                        <a:pt x="68877" y="229264"/>
                        <a:pt x="75430" y="228902"/>
                      </a:cubicBezTo>
                      <a:cubicBezTo>
                        <a:pt x="71906" y="231378"/>
                        <a:pt x="64114" y="230816"/>
                        <a:pt x="59723" y="231130"/>
                      </a:cubicBezTo>
                      <a:cubicBezTo>
                        <a:pt x="51875" y="231692"/>
                        <a:pt x="48312" y="231359"/>
                        <a:pt x="48331" y="223549"/>
                      </a:cubicBezTo>
                      <a:cubicBezTo>
                        <a:pt x="48350" y="216395"/>
                        <a:pt x="50808" y="211404"/>
                        <a:pt x="52960" y="204575"/>
                      </a:cubicBezTo>
                      <a:cubicBezTo>
                        <a:pt x="54227" y="200593"/>
                        <a:pt x="54189" y="198860"/>
                        <a:pt x="56627" y="195478"/>
                      </a:cubicBezTo>
                      <a:cubicBezTo>
                        <a:pt x="58199" y="193297"/>
                        <a:pt x="63009" y="190640"/>
                        <a:pt x="61780" y="187506"/>
                      </a:cubicBezTo>
                      <a:cubicBezTo>
                        <a:pt x="59514" y="181734"/>
                        <a:pt x="36825" y="182305"/>
                        <a:pt x="32301" y="181658"/>
                      </a:cubicBezTo>
                      <a:cubicBezTo>
                        <a:pt x="32443" y="181677"/>
                        <a:pt x="28872" y="179810"/>
                        <a:pt x="28119" y="179591"/>
                      </a:cubicBezTo>
                      <a:cubicBezTo>
                        <a:pt x="27271" y="179334"/>
                        <a:pt x="26376" y="181362"/>
                        <a:pt x="24671" y="180619"/>
                      </a:cubicBezTo>
                      <a:cubicBezTo>
                        <a:pt x="20032" y="178600"/>
                        <a:pt x="20718" y="170913"/>
                        <a:pt x="14374" y="171733"/>
                      </a:cubicBezTo>
                      <a:cubicBezTo>
                        <a:pt x="14203" y="168704"/>
                        <a:pt x="18384" y="164122"/>
                        <a:pt x="17842" y="162227"/>
                      </a:cubicBezTo>
                      <a:cubicBezTo>
                        <a:pt x="16908" y="158940"/>
                        <a:pt x="9926" y="159207"/>
                        <a:pt x="8136" y="154826"/>
                      </a:cubicBezTo>
                      <a:cubicBezTo>
                        <a:pt x="5354" y="147987"/>
                        <a:pt x="13193" y="147777"/>
                        <a:pt x="13565" y="143872"/>
                      </a:cubicBezTo>
                      <a:cubicBezTo>
                        <a:pt x="14079" y="138633"/>
                        <a:pt x="6250" y="139338"/>
                        <a:pt x="10041" y="135699"/>
                      </a:cubicBezTo>
                      <a:cubicBezTo>
                        <a:pt x="8536" y="134471"/>
                        <a:pt x="4430" y="132499"/>
                        <a:pt x="3621" y="130851"/>
                      </a:cubicBezTo>
                      <a:cubicBezTo>
                        <a:pt x="3068" y="129746"/>
                        <a:pt x="5431" y="127051"/>
                        <a:pt x="4821" y="125994"/>
                      </a:cubicBezTo>
                      <a:cubicBezTo>
                        <a:pt x="4535" y="125508"/>
                        <a:pt x="2735" y="124289"/>
                        <a:pt x="2668" y="124022"/>
                      </a:cubicBezTo>
                      <a:cubicBezTo>
                        <a:pt x="2354" y="122555"/>
                        <a:pt x="-256" y="124165"/>
                        <a:pt x="20" y="121564"/>
                      </a:cubicBezTo>
                      <a:cubicBezTo>
                        <a:pt x="-103" y="122726"/>
                        <a:pt x="6659" y="117916"/>
                        <a:pt x="6745" y="117802"/>
                      </a:cubicBezTo>
                      <a:cubicBezTo>
                        <a:pt x="3487" y="116011"/>
                        <a:pt x="8336" y="110887"/>
                        <a:pt x="7402" y="107105"/>
                      </a:cubicBezTo>
                      <a:cubicBezTo>
                        <a:pt x="6526" y="103553"/>
                        <a:pt x="-18" y="100609"/>
                        <a:pt x="1859" y="97218"/>
                      </a:cubicBezTo>
                      <a:cubicBezTo>
                        <a:pt x="3659" y="93961"/>
                        <a:pt x="11365" y="96171"/>
                        <a:pt x="13746" y="95990"/>
                      </a:cubicBezTo>
                      <a:cubicBezTo>
                        <a:pt x="15746" y="95837"/>
                        <a:pt x="20280" y="95733"/>
                        <a:pt x="21556" y="93875"/>
                      </a:cubicBezTo>
                      <a:cubicBezTo>
                        <a:pt x="23328" y="91294"/>
                        <a:pt x="19480" y="91037"/>
                        <a:pt x="20213" y="89703"/>
                      </a:cubicBezTo>
                      <a:cubicBezTo>
                        <a:pt x="22042" y="86389"/>
                        <a:pt x="28967" y="86217"/>
                        <a:pt x="27919" y="80683"/>
                      </a:cubicBezTo>
                      <a:cubicBezTo>
                        <a:pt x="26900" y="75321"/>
                        <a:pt x="21871" y="79654"/>
                        <a:pt x="19328" y="75768"/>
                      </a:cubicBezTo>
                      <a:cubicBezTo>
                        <a:pt x="15984" y="70663"/>
                        <a:pt x="26128" y="71711"/>
                        <a:pt x="27519" y="70263"/>
                      </a:cubicBezTo>
                      <a:cubicBezTo>
                        <a:pt x="30158" y="67529"/>
                        <a:pt x="31691" y="56309"/>
                        <a:pt x="30567" y="52603"/>
                      </a:cubicBezTo>
                      <a:cubicBezTo>
                        <a:pt x="29348" y="48584"/>
                        <a:pt x="26167" y="48698"/>
                        <a:pt x="27548" y="43707"/>
                      </a:cubicBezTo>
                      <a:cubicBezTo>
                        <a:pt x="28605" y="39878"/>
                        <a:pt x="30872" y="39354"/>
                        <a:pt x="34129" y="38430"/>
                      </a:cubicBezTo>
                      <a:cubicBezTo>
                        <a:pt x="37939" y="37354"/>
                        <a:pt x="59609" y="37440"/>
                        <a:pt x="53208" y="45269"/>
                      </a:cubicBezTo>
                      <a:cubicBezTo>
                        <a:pt x="58656" y="48965"/>
                        <a:pt x="55513" y="41935"/>
                        <a:pt x="58037" y="41431"/>
                      </a:cubicBezTo>
                      <a:cubicBezTo>
                        <a:pt x="61238" y="40783"/>
                        <a:pt x="63619" y="44259"/>
                        <a:pt x="63057" y="47584"/>
                      </a:cubicBezTo>
                      <a:cubicBezTo>
                        <a:pt x="64285" y="43688"/>
                        <a:pt x="61400" y="38173"/>
                        <a:pt x="63428" y="34944"/>
                      </a:cubicBezTo>
                      <a:cubicBezTo>
                        <a:pt x="65886" y="31020"/>
                        <a:pt x="68096" y="33477"/>
                        <a:pt x="72315" y="33677"/>
                      </a:cubicBezTo>
                      <a:cubicBezTo>
                        <a:pt x="76925" y="33896"/>
                        <a:pt x="79373" y="32525"/>
                        <a:pt x="83507" y="34877"/>
                      </a:cubicBezTo>
                      <a:cubicBezTo>
                        <a:pt x="87936" y="37392"/>
                        <a:pt x="89365" y="42574"/>
                        <a:pt x="95118" y="42526"/>
                      </a:cubicBezTo>
                      <a:cubicBezTo>
                        <a:pt x="90956" y="41754"/>
                        <a:pt x="89022" y="38706"/>
                        <a:pt x="86003" y="36144"/>
                      </a:cubicBezTo>
                      <a:cubicBezTo>
                        <a:pt x="82431" y="33125"/>
                        <a:pt x="81145" y="33572"/>
                        <a:pt x="77449" y="31696"/>
                      </a:cubicBezTo>
                      <a:cubicBezTo>
                        <a:pt x="69839" y="27829"/>
                        <a:pt x="75773" y="24667"/>
                        <a:pt x="70610" y="19371"/>
                      </a:cubicBezTo>
                      <a:cubicBezTo>
                        <a:pt x="69477" y="18199"/>
                        <a:pt x="65581" y="20066"/>
                        <a:pt x="65095" y="19209"/>
                      </a:cubicBezTo>
                      <a:cubicBezTo>
                        <a:pt x="62523" y="14665"/>
                        <a:pt x="67972" y="16799"/>
                        <a:pt x="69477" y="15037"/>
                      </a:cubicBezTo>
                      <a:cubicBezTo>
                        <a:pt x="72858" y="11065"/>
                        <a:pt x="72667" y="14132"/>
                        <a:pt x="69753" y="8969"/>
                      </a:cubicBezTo>
                      <a:cubicBezTo>
                        <a:pt x="67905" y="5683"/>
                        <a:pt x="64343" y="4331"/>
                        <a:pt x="64543" y="54"/>
                      </a:cubicBezTo>
                      <a:cubicBezTo>
                        <a:pt x="69362" y="-203"/>
                        <a:pt x="75192" y="406"/>
                        <a:pt x="79259" y="3026"/>
                      </a:cubicBezTo>
                      <a:lnTo>
                        <a:pt x="79259" y="3026"/>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66" name="Freeform: Shape 665">
                  <a:extLst>
                    <a:ext uri="{FF2B5EF4-FFF2-40B4-BE49-F238E27FC236}">
                      <a16:creationId xmlns:a16="http://schemas.microsoft.com/office/drawing/2014/main" id="{6E35EA87-A0FE-46DB-BFBD-B1F3D7C0511E}"/>
                    </a:ext>
                  </a:extLst>
                </p:cNvPr>
                <p:cNvSpPr/>
                <p:nvPr/>
              </p:nvSpPr>
              <p:spPr>
                <a:xfrm>
                  <a:off x="5906389" y="2757389"/>
                  <a:ext cx="176398" cy="77439"/>
                </a:xfrm>
                <a:custGeom>
                  <a:avLst/>
                  <a:gdLst>
                    <a:gd name="connsiteX0" fmla="*/ 67671 w 176398"/>
                    <a:gd name="connsiteY0" fmla="*/ 5439 h 77439"/>
                    <a:gd name="connsiteX1" fmla="*/ 76281 w 176398"/>
                    <a:gd name="connsiteY1" fmla="*/ 1496 h 77439"/>
                    <a:gd name="connsiteX2" fmla="*/ 84254 w 176398"/>
                    <a:gd name="connsiteY2" fmla="*/ 7468 h 77439"/>
                    <a:gd name="connsiteX3" fmla="*/ 97580 w 176398"/>
                    <a:gd name="connsiteY3" fmla="*/ 11383 h 77439"/>
                    <a:gd name="connsiteX4" fmla="*/ 100742 w 176398"/>
                    <a:gd name="connsiteY4" fmla="*/ 12649 h 77439"/>
                    <a:gd name="connsiteX5" fmla="*/ 108333 w 176398"/>
                    <a:gd name="connsiteY5" fmla="*/ 12916 h 77439"/>
                    <a:gd name="connsiteX6" fmla="*/ 105666 w 176398"/>
                    <a:gd name="connsiteY6" fmla="*/ 18412 h 77439"/>
                    <a:gd name="connsiteX7" fmla="*/ 112924 w 176398"/>
                    <a:gd name="connsiteY7" fmla="*/ 24670 h 77439"/>
                    <a:gd name="connsiteX8" fmla="*/ 121525 w 176398"/>
                    <a:gd name="connsiteY8" fmla="*/ 27080 h 77439"/>
                    <a:gd name="connsiteX9" fmla="*/ 122421 w 176398"/>
                    <a:gd name="connsiteY9" fmla="*/ 19041 h 77439"/>
                    <a:gd name="connsiteX10" fmla="*/ 138661 w 176398"/>
                    <a:gd name="connsiteY10" fmla="*/ 24394 h 77439"/>
                    <a:gd name="connsiteX11" fmla="*/ 144328 w 176398"/>
                    <a:gd name="connsiteY11" fmla="*/ 22955 h 77439"/>
                    <a:gd name="connsiteX12" fmla="*/ 141718 w 176398"/>
                    <a:gd name="connsiteY12" fmla="*/ 27537 h 77439"/>
                    <a:gd name="connsiteX13" fmla="*/ 158806 w 176398"/>
                    <a:gd name="connsiteY13" fmla="*/ 33881 h 77439"/>
                    <a:gd name="connsiteX14" fmla="*/ 176399 w 176398"/>
                    <a:gd name="connsiteY14" fmla="*/ 47911 h 77439"/>
                    <a:gd name="connsiteX15" fmla="*/ 165293 w 176398"/>
                    <a:gd name="connsiteY15" fmla="*/ 52531 h 77439"/>
                    <a:gd name="connsiteX16" fmla="*/ 158292 w 176398"/>
                    <a:gd name="connsiteY16" fmla="*/ 62398 h 77439"/>
                    <a:gd name="connsiteX17" fmla="*/ 130793 w 176398"/>
                    <a:gd name="connsiteY17" fmla="*/ 76638 h 77439"/>
                    <a:gd name="connsiteX18" fmla="*/ 116906 w 176398"/>
                    <a:gd name="connsiteY18" fmla="*/ 70742 h 77439"/>
                    <a:gd name="connsiteX19" fmla="*/ 107390 w 176398"/>
                    <a:gd name="connsiteY19" fmla="*/ 71790 h 77439"/>
                    <a:gd name="connsiteX20" fmla="*/ 97608 w 176398"/>
                    <a:gd name="connsiteY20" fmla="*/ 68361 h 77439"/>
                    <a:gd name="connsiteX21" fmla="*/ 81701 w 176398"/>
                    <a:gd name="connsiteY21" fmla="*/ 64742 h 77439"/>
                    <a:gd name="connsiteX22" fmla="*/ 77386 w 176398"/>
                    <a:gd name="connsiteY22" fmla="*/ 70314 h 77439"/>
                    <a:gd name="connsiteX23" fmla="*/ 71624 w 176398"/>
                    <a:gd name="connsiteY23" fmla="*/ 76629 h 77439"/>
                    <a:gd name="connsiteX24" fmla="*/ 57574 w 176398"/>
                    <a:gd name="connsiteY24" fmla="*/ 77095 h 77439"/>
                    <a:gd name="connsiteX25" fmla="*/ 44506 w 176398"/>
                    <a:gd name="connsiteY25" fmla="*/ 67913 h 77439"/>
                    <a:gd name="connsiteX26" fmla="*/ 20094 w 176398"/>
                    <a:gd name="connsiteY26" fmla="*/ 53359 h 77439"/>
                    <a:gd name="connsiteX27" fmla="*/ 10369 w 176398"/>
                    <a:gd name="connsiteY27" fmla="*/ 42596 h 77439"/>
                    <a:gd name="connsiteX28" fmla="*/ 9997 w 176398"/>
                    <a:gd name="connsiteY28" fmla="*/ 38567 h 77439"/>
                    <a:gd name="connsiteX29" fmla="*/ 10445 w 176398"/>
                    <a:gd name="connsiteY29" fmla="*/ 34852 h 77439"/>
                    <a:gd name="connsiteX30" fmla="*/ 463 w 176398"/>
                    <a:gd name="connsiteY30" fmla="*/ 25784 h 77439"/>
                    <a:gd name="connsiteX31" fmla="*/ 4415 w 176398"/>
                    <a:gd name="connsiteY31" fmla="*/ 26794 h 77439"/>
                    <a:gd name="connsiteX32" fmla="*/ 17693 w 176398"/>
                    <a:gd name="connsiteY32" fmla="*/ 19069 h 77439"/>
                    <a:gd name="connsiteX33" fmla="*/ 22456 w 176398"/>
                    <a:gd name="connsiteY33" fmla="*/ 17602 h 77439"/>
                    <a:gd name="connsiteX34" fmla="*/ 29171 w 176398"/>
                    <a:gd name="connsiteY34" fmla="*/ 14269 h 77439"/>
                    <a:gd name="connsiteX35" fmla="*/ 56422 w 176398"/>
                    <a:gd name="connsiteY35" fmla="*/ 3715 h 77439"/>
                    <a:gd name="connsiteX36" fmla="*/ 60251 w 176398"/>
                    <a:gd name="connsiteY36" fmla="*/ 1076 h 77439"/>
                    <a:gd name="connsiteX37" fmla="*/ 67671 w 176398"/>
                    <a:gd name="connsiteY37" fmla="*/ 5439 h 77439"/>
                    <a:gd name="connsiteX38" fmla="*/ 67671 w 176398"/>
                    <a:gd name="connsiteY38" fmla="*/ 5439 h 7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76398" h="77439">
                      <a:moveTo>
                        <a:pt x="67671" y="5439"/>
                      </a:moveTo>
                      <a:cubicBezTo>
                        <a:pt x="75043" y="6506"/>
                        <a:pt x="68662" y="-1229"/>
                        <a:pt x="76281" y="1496"/>
                      </a:cubicBezTo>
                      <a:cubicBezTo>
                        <a:pt x="79425" y="2619"/>
                        <a:pt x="80863" y="5877"/>
                        <a:pt x="84254" y="7468"/>
                      </a:cubicBezTo>
                      <a:cubicBezTo>
                        <a:pt x="87893" y="9182"/>
                        <a:pt x="93607" y="10449"/>
                        <a:pt x="97580" y="11383"/>
                      </a:cubicBezTo>
                      <a:cubicBezTo>
                        <a:pt x="98837" y="11678"/>
                        <a:pt x="99218" y="12440"/>
                        <a:pt x="100742" y="12649"/>
                      </a:cubicBezTo>
                      <a:cubicBezTo>
                        <a:pt x="103285" y="13011"/>
                        <a:pt x="106085" y="10716"/>
                        <a:pt x="108333" y="12916"/>
                      </a:cubicBezTo>
                      <a:cubicBezTo>
                        <a:pt x="112600" y="17117"/>
                        <a:pt x="105733" y="15373"/>
                        <a:pt x="105666" y="18412"/>
                      </a:cubicBezTo>
                      <a:cubicBezTo>
                        <a:pt x="105628" y="20622"/>
                        <a:pt x="110753" y="22784"/>
                        <a:pt x="112924" y="24670"/>
                      </a:cubicBezTo>
                      <a:cubicBezTo>
                        <a:pt x="118087" y="29137"/>
                        <a:pt x="115953" y="29918"/>
                        <a:pt x="121525" y="27080"/>
                      </a:cubicBezTo>
                      <a:cubicBezTo>
                        <a:pt x="127821" y="23879"/>
                        <a:pt x="124040" y="24327"/>
                        <a:pt x="122421" y="19041"/>
                      </a:cubicBezTo>
                      <a:cubicBezTo>
                        <a:pt x="128440" y="19717"/>
                        <a:pt x="133089" y="23403"/>
                        <a:pt x="138661" y="24394"/>
                      </a:cubicBezTo>
                      <a:cubicBezTo>
                        <a:pt x="139756" y="24594"/>
                        <a:pt x="143795" y="22593"/>
                        <a:pt x="144328" y="22955"/>
                      </a:cubicBezTo>
                      <a:cubicBezTo>
                        <a:pt x="147233" y="24937"/>
                        <a:pt x="143433" y="27308"/>
                        <a:pt x="141718" y="27537"/>
                      </a:cubicBezTo>
                      <a:cubicBezTo>
                        <a:pt x="148376" y="32976"/>
                        <a:pt x="151596" y="31766"/>
                        <a:pt x="158806" y="33881"/>
                      </a:cubicBezTo>
                      <a:cubicBezTo>
                        <a:pt x="164864" y="35652"/>
                        <a:pt x="175275" y="39719"/>
                        <a:pt x="176399" y="47911"/>
                      </a:cubicBezTo>
                      <a:cubicBezTo>
                        <a:pt x="171293" y="48873"/>
                        <a:pt x="169436" y="49606"/>
                        <a:pt x="165293" y="52531"/>
                      </a:cubicBezTo>
                      <a:cubicBezTo>
                        <a:pt x="159311" y="56760"/>
                        <a:pt x="161645" y="57550"/>
                        <a:pt x="158292" y="62398"/>
                      </a:cubicBezTo>
                      <a:cubicBezTo>
                        <a:pt x="151138" y="72714"/>
                        <a:pt x="132965" y="63065"/>
                        <a:pt x="130793" y="76638"/>
                      </a:cubicBezTo>
                      <a:cubicBezTo>
                        <a:pt x="128974" y="72133"/>
                        <a:pt x="121116" y="70714"/>
                        <a:pt x="116906" y="70742"/>
                      </a:cubicBezTo>
                      <a:cubicBezTo>
                        <a:pt x="113943" y="70761"/>
                        <a:pt x="111286" y="72819"/>
                        <a:pt x="107390" y="71790"/>
                      </a:cubicBezTo>
                      <a:cubicBezTo>
                        <a:pt x="104199" y="70952"/>
                        <a:pt x="100665" y="69294"/>
                        <a:pt x="97608" y="68361"/>
                      </a:cubicBezTo>
                      <a:cubicBezTo>
                        <a:pt x="92874" y="66904"/>
                        <a:pt x="86092" y="63941"/>
                        <a:pt x="81701" y="64742"/>
                      </a:cubicBezTo>
                      <a:cubicBezTo>
                        <a:pt x="75805" y="65818"/>
                        <a:pt x="80663" y="64723"/>
                        <a:pt x="77386" y="70314"/>
                      </a:cubicBezTo>
                      <a:cubicBezTo>
                        <a:pt x="75996" y="72695"/>
                        <a:pt x="71719" y="71304"/>
                        <a:pt x="71624" y="76629"/>
                      </a:cubicBezTo>
                      <a:cubicBezTo>
                        <a:pt x="66318" y="75448"/>
                        <a:pt x="62527" y="78410"/>
                        <a:pt x="57574" y="77095"/>
                      </a:cubicBezTo>
                      <a:cubicBezTo>
                        <a:pt x="52679" y="75791"/>
                        <a:pt x="49173" y="70495"/>
                        <a:pt x="44506" y="67913"/>
                      </a:cubicBezTo>
                      <a:cubicBezTo>
                        <a:pt x="36572" y="63522"/>
                        <a:pt x="27818" y="58255"/>
                        <a:pt x="20094" y="53359"/>
                      </a:cubicBezTo>
                      <a:cubicBezTo>
                        <a:pt x="16769" y="51254"/>
                        <a:pt x="11721" y="46273"/>
                        <a:pt x="10369" y="42596"/>
                      </a:cubicBezTo>
                      <a:cubicBezTo>
                        <a:pt x="9540" y="40358"/>
                        <a:pt x="10483" y="40453"/>
                        <a:pt x="9997" y="38567"/>
                      </a:cubicBezTo>
                      <a:cubicBezTo>
                        <a:pt x="9616" y="37062"/>
                        <a:pt x="11340" y="37043"/>
                        <a:pt x="10445" y="34852"/>
                      </a:cubicBezTo>
                      <a:cubicBezTo>
                        <a:pt x="8902" y="31080"/>
                        <a:pt x="1977" y="30337"/>
                        <a:pt x="463" y="25784"/>
                      </a:cubicBezTo>
                      <a:cubicBezTo>
                        <a:pt x="-1404" y="20203"/>
                        <a:pt x="2882" y="23555"/>
                        <a:pt x="4415" y="26794"/>
                      </a:cubicBezTo>
                      <a:cubicBezTo>
                        <a:pt x="8187" y="20631"/>
                        <a:pt x="11645" y="20717"/>
                        <a:pt x="17693" y="19069"/>
                      </a:cubicBezTo>
                      <a:cubicBezTo>
                        <a:pt x="20094" y="18412"/>
                        <a:pt x="20751" y="18279"/>
                        <a:pt x="22456" y="17602"/>
                      </a:cubicBezTo>
                      <a:cubicBezTo>
                        <a:pt x="24799" y="16678"/>
                        <a:pt x="27047" y="15250"/>
                        <a:pt x="29171" y="14269"/>
                      </a:cubicBezTo>
                      <a:cubicBezTo>
                        <a:pt x="36924" y="10697"/>
                        <a:pt x="47306" y="7763"/>
                        <a:pt x="56422" y="3715"/>
                      </a:cubicBezTo>
                      <a:cubicBezTo>
                        <a:pt x="49650" y="1029"/>
                        <a:pt x="56203" y="-1505"/>
                        <a:pt x="60251" y="1076"/>
                      </a:cubicBezTo>
                      <a:cubicBezTo>
                        <a:pt x="62575" y="2562"/>
                        <a:pt x="63794" y="9859"/>
                        <a:pt x="67671" y="5439"/>
                      </a:cubicBezTo>
                      <a:lnTo>
                        <a:pt x="67671" y="5439"/>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67" name="Freeform: Shape 666">
                  <a:extLst>
                    <a:ext uri="{FF2B5EF4-FFF2-40B4-BE49-F238E27FC236}">
                      <a16:creationId xmlns:a16="http://schemas.microsoft.com/office/drawing/2014/main" id="{15AC9173-8527-4CDF-AB01-633026068E69}"/>
                    </a:ext>
                  </a:extLst>
                </p:cNvPr>
                <p:cNvSpPr/>
                <p:nvPr/>
              </p:nvSpPr>
              <p:spPr>
                <a:xfrm>
                  <a:off x="6518652" y="3256865"/>
                  <a:ext cx="50606" cy="18368"/>
                </a:xfrm>
                <a:custGeom>
                  <a:avLst/>
                  <a:gdLst>
                    <a:gd name="connsiteX0" fmla="*/ 11325 w 50606"/>
                    <a:gd name="connsiteY0" fmla="*/ 140 h 18368"/>
                    <a:gd name="connsiteX1" fmla="*/ 25003 w 50606"/>
                    <a:gd name="connsiteY1" fmla="*/ 82 h 18368"/>
                    <a:gd name="connsiteX2" fmla="*/ 30585 w 50606"/>
                    <a:gd name="connsiteY2" fmla="*/ 406 h 18368"/>
                    <a:gd name="connsiteX3" fmla="*/ 33900 w 50606"/>
                    <a:gd name="connsiteY3" fmla="*/ 5445 h 18368"/>
                    <a:gd name="connsiteX4" fmla="*/ 50606 w 50606"/>
                    <a:gd name="connsiteY4" fmla="*/ 5893 h 18368"/>
                    <a:gd name="connsiteX5" fmla="*/ 41500 w 50606"/>
                    <a:gd name="connsiteY5" fmla="*/ 6417 h 18368"/>
                    <a:gd name="connsiteX6" fmla="*/ 34938 w 50606"/>
                    <a:gd name="connsiteY6" fmla="*/ 12493 h 18368"/>
                    <a:gd name="connsiteX7" fmla="*/ 25346 w 50606"/>
                    <a:gd name="connsiteY7" fmla="*/ 15103 h 18368"/>
                    <a:gd name="connsiteX8" fmla="*/ 23146 w 50606"/>
                    <a:gd name="connsiteY8" fmla="*/ 18351 h 18368"/>
                    <a:gd name="connsiteX9" fmla="*/ 11592 w 50606"/>
                    <a:gd name="connsiteY9" fmla="*/ 15970 h 18368"/>
                    <a:gd name="connsiteX10" fmla="*/ 0 w 50606"/>
                    <a:gd name="connsiteY10" fmla="*/ 2902 h 18368"/>
                    <a:gd name="connsiteX11" fmla="*/ 11325 w 50606"/>
                    <a:gd name="connsiteY11" fmla="*/ 140 h 18368"/>
                    <a:gd name="connsiteX12" fmla="*/ 11325 w 50606"/>
                    <a:gd name="connsiteY12" fmla="*/ 140 h 1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606" h="18368">
                      <a:moveTo>
                        <a:pt x="11325" y="140"/>
                      </a:moveTo>
                      <a:cubicBezTo>
                        <a:pt x="15793" y="5159"/>
                        <a:pt x="19755" y="673"/>
                        <a:pt x="25003" y="82"/>
                      </a:cubicBezTo>
                      <a:cubicBezTo>
                        <a:pt x="25708" y="6"/>
                        <a:pt x="30128" y="159"/>
                        <a:pt x="30585" y="406"/>
                      </a:cubicBezTo>
                      <a:cubicBezTo>
                        <a:pt x="32538" y="1473"/>
                        <a:pt x="32823" y="4931"/>
                        <a:pt x="33900" y="5445"/>
                      </a:cubicBezTo>
                      <a:cubicBezTo>
                        <a:pt x="38853" y="7874"/>
                        <a:pt x="46730" y="-1423"/>
                        <a:pt x="50606" y="5893"/>
                      </a:cubicBezTo>
                      <a:cubicBezTo>
                        <a:pt x="48216" y="6369"/>
                        <a:pt x="43577" y="5502"/>
                        <a:pt x="41500" y="6417"/>
                      </a:cubicBezTo>
                      <a:cubicBezTo>
                        <a:pt x="38853" y="7579"/>
                        <a:pt x="37529" y="10846"/>
                        <a:pt x="34938" y="12493"/>
                      </a:cubicBezTo>
                      <a:cubicBezTo>
                        <a:pt x="31842" y="14456"/>
                        <a:pt x="28366" y="13779"/>
                        <a:pt x="25346" y="15103"/>
                      </a:cubicBezTo>
                      <a:cubicBezTo>
                        <a:pt x="24584" y="15437"/>
                        <a:pt x="22308" y="18447"/>
                        <a:pt x="23146" y="18351"/>
                      </a:cubicBezTo>
                      <a:cubicBezTo>
                        <a:pt x="21203" y="18561"/>
                        <a:pt x="15250" y="16799"/>
                        <a:pt x="11592" y="15970"/>
                      </a:cubicBezTo>
                      <a:cubicBezTo>
                        <a:pt x="5325" y="14551"/>
                        <a:pt x="934" y="9398"/>
                        <a:pt x="0" y="2902"/>
                      </a:cubicBezTo>
                      <a:cubicBezTo>
                        <a:pt x="4686" y="5635"/>
                        <a:pt x="6334" y="-1032"/>
                        <a:pt x="11325" y="140"/>
                      </a:cubicBezTo>
                      <a:lnTo>
                        <a:pt x="11325" y="14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68" name="Freeform: Shape 667">
                  <a:extLst>
                    <a:ext uri="{FF2B5EF4-FFF2-40B4-BE49-F238E27FC236}">
                      <a16:creationId xmlns:a16="http://schemas.microsoft.com/office/drawing/2014/main" id="{A98B51E2-2F87-4DB2-B746-15CC5790BA02}"/>
                    </a:ext>
                  </a:extLst>
                </p:cNvPr>
                <p:cNvSpPr/>
                <p:nvPr/>
              </p:nvSpPr>
              <p:spPr>
                <a:xfrm>
                  <a:off x="3015747" y="3635015"/>
                  <a:ext cx="314456" cy="104420"/>
                </a:xfrm>
                <a:custGeom>
                  <a:avLst/>
                  <a:gdLst>
                    <a:gd name="connsiteX0" fmla="*/ 103861 w 314456"/>
                    <a:gd name="connsiteY0" fmla="*/ 236 h 104420"/>
                    <a:gd name="connsiteX1" fmla="*/ 121187 w 314456"/>
                    <a:gd name="connsiteY1" fmla="*/ 436 h 104420"/>
                    <a:gd name="connsiteX2" fmla="*/ 140503 w 314456"/>
                    <a:gd name="connsiteY2" fmla="*/ 3265 h 104420"/>
                    <a:gd name="connsiteX3" fmla="*/ 151724 w 314456"/>
                    <a:gd name="connsiteY3" fmla="*/ 7075 h 104420"/>
                    <a:gd name="connsiteX4" fmla="*/ 162477 w 314456"/>
                    <a:gd name="connsiteY4" fmla="*/ 8923 h 104420"/>
                    <a:gd name="connsiteX5" fmla="*/ 161049 w 314456"/>
                    <a:gd name="connsiteY5" fmla="*/ 10809 h 104420"/>
                    <a:gd name="connsiteX6" fmla="*/ 174936 w 314456"/>
                    <a:gd name="connsiteY6" fmla="*/ 24030 h 104420"/>
                    <a:gd name="connsiteX7" fmla="*/ 191405 w 314456"/>
                    <a:gd name="connsiteY7" fmla="*/ 25592 h 104420"/>
                    <a:gd name="connsiteX8" fmla="*/ 207493 w 314456"/>
                    <a:gd name="connsiteY8" fmla="*/ 34107 h 104420"/>
                    <a:gd name="connsiteX9" fmla="*/ 223895 w 314456"/>
                    <a:gd name="connsiteY9" fmla="*/ 43547 h 104420"/>
                    <a:gd name="connsiteX10" fmla="*/ 222085 w 314456"/>
                    <a:gd name="connsiteY10" fmla="*/ 40375 h 104420"/>
                    <a:gd name="connsiteX11" fmla="*/ 233477 w 314456"/>
                    <a:gd name="connsiteY11" fmla="*/ 48109 h 104420"/>
                    <a:gd name="connsiteX12" fmla="*/ 226485 w 314456"/>
                    <a:gd name="connsiteY12" fmla="*/ 49090 h 104420"/>
                    <a:gd name="connsiteX13" fmla="*/ 232753 w 314456"/>
                    <a:gd name="connsiteY13" fmla="*/ 51424 h 104420"/>
                    <a:gd name="connsiteX14" fmla="*/ 236525 w 314456"/>
                    <a:gd name="connsiteY14" fmla="*/ 51881 h 104420"/>
                    <a:gd name="connsiteX15" fmla="*/ 240944 w 314456"/>
                    <a:gd name="connsiteY15" fmla="*/ 55805 h 104420"/>
                    <a:gd name="connsiteX16" fmla="*/ 239459 w 314456"/>
                    <a:gd name="connsiteY16" fmla="*/ 57977 h 104420"/>
                    <a:gd name="connsiteX17" fmla="*/ 247212 w 314456"/>
                    <a:gd name="connsiteY17" fmla="*/ 59625 h 104420"/>
                    <a:gd name="connsiteX18" fmla="*/ 260499 w 314456"/>
                    <a:gd name="connsiteY18" fmla="*/ 63216 h 104420"/>
                    <a:gd name="connsiteX19" fmla="*/ 273206 w 314456"/>
                    <a:gd name="connsiteY19" fmla="*/ 65283 h 104420"/>
                    <a:gd name="connsiteX20" fmla="*/ 274415 w 314456"/>
                    <a:gd name="connsiteY20" fmla="*/ 73503 h 104420"/>
                    <a:gd name="connsiteX21" fmla="*/ 270291 w 314456"/>
                    <a:gd name="connsiteY21" fmla="*/ 77237 h 104420"/>
                    <a:gd name="connsiteX22" fmla="*/ 283274 w 314456"/>
                    <a:gd name="connsiteY22" fmla="*/ 77598 h 104420"/>
                    <a:gd name="connsiteX23" fmla="*/ 295875 w 314456"/>
                    <a:gd name="connsiteY23" fmla="*/ 80018 h 104420"/>
                    <a:gd name="connsiteX24" fmla="*/ 305934 w 314456"/>
                    <a:gd name="connsiteY24" fmla="*/ 88609 h 104420"/>
                    <a:gd name="connsiteX25" fmla="*/ 313830 w 314456"/>
                    <a:gd name="connsiteY25" fmla="*/ 90514 h 104420"/>
                    <a:gd name="connsiteX26" fmla="*/ 308667 w 314456"/>
                    <a:gd name="connsiteY26" fmla="*/ 97401 h 104420"/>
                    <a:gd name="connsiteX27" fmla="*/ 293618 w 314456"/>
                    <a:gd name="connsiteY27" fmla="*/ 99192 h 104420"/>
                    <a:gd name="connsiteX28" fmla="*/ 282321 w 314456"/>
                    <a:gd name="connsiteY28" fmla="*/ 102983 h 104420"/>
                    <a:gd name="connsiteX29" fmla="*/ 281997 w 314456"/>
                    <a:gd name="connsiteY29" fmla="*/ 99611 h 104420"/>
                    <a:gd name="connsiteX30" fmla="*/ 264462 w 314456"/>
                    <a:gd name="connsiteY30" fmla="*/ 101563 h 104420"/>
                    <a:gd name="connsiteX31" fmla="*/ 242859 w 314456"/>
                    <a:gd name="connsiteY31" fmla="*/ 100897 h 104420"/>
                    <a:gd name="connsiteX32" fmla="*/ 202578 w 314456"/>
                    <a:gd name="connsiteY32" fmla="*/ 104421 h 104420"/>
                    <a:gd name="connsiteX33" fmla="*/ 220608 w 314456"/>
                    <a:gd name="connsiteY33" fmla="*/ 90724 h 104420"/>
                    <a:gd name="connsiteX34" fmla="*/ 223676 w 314456"/>
                    <a:gd name="connsiteY34" fmla="*/ 80647 h 104420"/>
                    <a:gd name="connsiteX35" fmla="*/ 190481 w 314456"/>
                    <a:gd name="connsiteY35" fmla="*/ 69569 h 104420"/>
                    <a:gd name="connsiteX36" fmla="*/ 187862 w 314456"/>
                    <a:gd name="connsiteY36" fmla="*/ 54548 h 104420"/>
                    <a:gd name="connsiteX37" fmla="*/ 169964 w 314456"/>
                    <a:gd name="connsiteY37" fmla="*/ 50881 h 104420"/>
                    <a:gd name="connsiteX38" fmla="*/ 135884 w 314456"/>
                    <a:gd name="connsiteY38" fmla="*/ 32983 h 104420"/>
                    <a:gd name="connsiteX39" fmla="*/ 115862 w 314456"/>
                    <a:gd name="connsiteY39" fmla="*/ 28421 h 104420"/>
                    <a:gd name="connsiteX40" fmla="*/ 104070 w 314456"/>
                    <a:gd name="connsiteY40" fmla="*/ 30926 h 104420"/>
                    <a:gd name="connsiteX41" fmla="*/ 89830 w 314456"/>
                    <a:gd name="connsiteY41" fmla="*/ 24659 h 104420"/>
                    <a:gd name="connsiteX42" fmla="*/ 96412 w 314456"/>
                    <a:gd name="connsiteY42" fmla="*/ 15457 h 104420"/>
                    <a:gd name="connsiteX43" fmla="*/ 59960 w 314456"/>
                    <a:gd name="connsiteY43" fmla="*/ 22630 h 104420"/>
                    <a:gd name="connsiteX44" fmla="*/ 38224 w 314456"/>
                    <a:gd name="connsiteY44" fmla="*/ 31250 h 104420"/>
                    <a:gd name="connsiteX45" fmla="*/ 27413 w 314456"/>
                    <a:gd name="connsiteY45" fmla="*/ 38079 h 104420"/>
                    <a:gd name="connsiteX46" fmla="*/ 10982 w 314456"/>
                    <a:gd name="connsiteY46" fmla="*/ 43918 h 104420"/>
                    <a:gd name="connsiteX47" fmla="*/ 12354 w 314456"/>
                    <a:gd name="connsiteY47" fmla="*/ 39070 h 104420"/>
                    <a:gd name="connsiteX48" fmla="*/ 0 w 314456"/>
                    <a:gd name="connsiteY48" fmla="*/ 41375 h 104420"/>
                    <a:gd name="connsiteX49" fmla="*/ 12906 w 314456"/>
                    <a:gd name="connsiteY49" fmla="*/ 35727 h 104420"/>
                    <a:gd name="connsiteX50" fmla="*/ 18802 w 314456"/>
                    <a:gd name="connsiteY50" fmla="*/ 29716 h 104420"/>
                    <a:gd name="connsiteX51" fmla="*/ 39938 w 314456"/>
                    <a:gd name="connsiteY51" fmla="*/ 13286 h 104420"/>
                    <a:gd name="connsiteX52" fmla="*/ 74304 w 314456"/>
                    <a:gd name="connsiteY52" fmla="*/ 4408 h 104420"/>
                    <a:gd name="connsiteX53" fmla="*/ 103861 w 314456"/>
                    <a:gd name="connsiteY53" fmla="*/ 236 h 104420"/>
                    <a:gd name="connsiteX54" fmla="*/ 103861 w 314456"/>
                    <a:gd name="connsiteY54" fmla="*/ 236 h 10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14456" h="104420">
                      <a:moveTo>
                        <a:pt x="103861" y="236"/>
                      </a:moveTo>
                      <a:cubicBezTo>
                        <a:pt x="109795" y="1398"/>
                        <a:pt x="115253" y="2399"/>
                        <a:pt x="121187" y="436"/>
                      </a:cubicBezTo>
                      <a:cubicBezTo>
                        <a:pt x="121510" y="5847"/>
                        <a:pt x="136141" y="1522"/>
                        <a:pt x="140503" y="3265"/>
                      </a:cubicBezTo>
                      <a:cubicBezTo>
                        <a:pt x="144580" y="4894"/>
                        <a:pt x="146923" y="6199"/>
                        <a:pt x="151724" y="7075"/>
                      </a:cubicBezTo>
                      <a:cubicBezTo>
                        <a:pt x="155124" y="7704"/>
                        <a:pt x="158896" y="10352"/>
                        <a:pt x="162477" y="8923"/>
                      </a:cubicBezTo>
                      <a:cubicBezTo>
                        <a:pt x="162001" y="9552"/>
                        <a:pt x="161525" y="10180"/>
                        <a:pt x="161049" y="10809"/>
                      </a:cubicBezTo>
                      <a:cubicBezTo>
                        <a:pt x="167802" y="12838"/>
                        <a:pt x="168012" y="21363"/>
                        <a:pt x="174936" y="24030"/>
                      </a:cubicBezTo>
                      <a:cubicBezTo>
                        <a:pt x="180042" y="25992"/>
                        <a:pt x="186042" y="24030"/>
                        <a:pt x="191405" y="25592"/>
                      </a:cubicBezTo>
                      <a:cubicBezTo>
                        <a:pt x="196634" y="27116"/>
                        <a:pt x="202930" y="30507"/>
                        <a:pt x="207493" y="34107"/>
                      </a:cubicBezTo>
                      <a:cubicBezTo>
                        <a:pt x="212303" y="37898"/>
                        <a:pt x="216922" y="44766"/>
                        <a:pt x="223895" y="43547"/>
                      </a:cubicBezTo>
                      <a:cubicBezTo>
                        <a:pt x="223323" y="42689"/>
                        <a:pt x="222761" y="41156"/>
                        <a:pt x="222085" y="40375"/>
                      </a:cubicBezTo>
                      <a:cubicBezTo>
                        <a:pt x="226847" y="41013"/>
                        <a:pt x="228848" y="46556"/>
                        <a:pt x="233477" y="48109"/>
                      </a:cubicBezTo>
                      <a:cubicBezTo>
                        <a:pt x="231648" y="50024"/>
                        <a:pt x="229048" y="50081"/>
                        <a:pt x="226485" y="49090"/>
                      </a:cubicBezTo>
                      <a:cubicBezTo>
                        <a:pt x="229038" y="55510"/>
                        <a:pt x="229648" y="50519"/>
                        <a:pt x="232753" y="51424"/>
                      </a:cubicBezTo>
                      <a:cubicBezTo>
                        <a:pt x="234610" y="51957"/>
                        <a:pt x="233343" y="50424"/>
                        <a:pt x="236525" y="51881"/>
                      </a:cubicBezTo>
                      <a:cubicBezTo>
                        <a:pt x="237887" y="52510"/>
                        <a:pt x="239706" y="54843"/>
                        <a:pt x="240944" y="55805"/>
                      </a:cubicBezTo>
                      <a:cubicBezTo>
                        <a:pt x="240344" y="56472"/>
                        <a:pt x="240021" y="57348"/>
                        <a:pt x="239459" y="57977"/>
                      </a:cubicBezTo>
                      <a:cubicBezTo>
                        <a:pt x="244107" y="55081"/>
                        <a:pt x="244011" y="58891"/>
                        <a:pt x="247212" y="59625"/>
                      </a:cubicBezTo>
                      <a:cubicBezTo>
                        <a:pt x="251946" y="60701"/>
                        <a:pt x="255918" y="61673"/>
                        <a:pt x="260499" y="63216"/>
                      </a:cubicBezTo>
                      <a:cubicBezTo>
                        <a:pt x="263471" y="64216"/>
                        <a:pt x="271053" y="63549"/>
                        <a:pt x="273206" y="65283"/>
                      </a:cubicBezTo>
                      <a:cubicBezTo>
                        <a:pt x="277940" y="69102"/>
                        <a:pt x="271044" y="69969"/>
                        <a:pt x="274415" y="73503"/>
                      </a:cubicBezTo>
                      <a:cubicBezTo>
                        <a:pt x="271205" y="73122"/>
                        <a:pt x="267148" y="75293"/>
                        <a:pt x="270291" y="77237"/>
                      </a:cubicBezTo>
                      <a:cubicBezTo>
                        <a:pt x="272425" y="78551"/>
                        <a:pt x="280445" y="77427"/>
                        <a:pt x="283274" y="77598"/>
                      </a:cubicBezTo>
                      <a:cubicBezTo>
                        <a:pt x="287531" y="77865"/>
                        <a:pt x="291989" y="77980"/>
                        <a:pt x="295875" y="80018"/>
                      </a:cubicBezTo>
                      <a:cubicBezTo>
                        <a:pt x="300018" y="82189"/>
                        <a:pt x="301942" y="86666"/>
                        <a:pt x="305934" y="88609"/>
                      </a:cubicBezTo>
                      <a:cubicBezTo>
                        <a:pt x="308000" y="89610"/>
                        <a:pt x="312572" y="88714"/>
                        <a:pt x="313830" y="90514"/>
                      </a:cubicBezTo>
                      <a:cubicBezTo>
                        <a:pt x="316211" y="93924"/>
                        <a:pt x="311220" y="96572"/>
                        <a:pt x="308667" y="97401"/>
                      </a:cubicBezTo>
                      <a:cubicBezTo>
                        <a:pt x="304124" y="98877"/>
                        <a:pt x="298437" y="97887"/>
                        <a:pt x="293618" y="99192"/>
                      </a:cubicBezTo>
                      <a:cubicBezTo>
                        <a:pt x="289760" y="100239"/>
                        <a:pt x="286264" y="102325"/>
                        <a:pt x="282321" y="102983"/>
                      </a:cubicBezTo>
                      <a:cubicBezTo>
                        <a:pt x="282483" y="101754"/>
                        <a:pt x="281930" y="100754"/>
                        <a:pt x="281997" y="99611"/>
                      </a:cubicBezTo>
                      <a:cubicBezTo>
                        <a:pt x="277959" y="105954"/>
                        <a:pt x="270110" y="102706"/>
                        <a:pt x="264462" y="101563"/>
                      </a:cubicBezTo>
                      <a:cubicBezTo>
                        <a:pt x="257223" y="100106"/>
                        <a:pt x="250155" y="100230"/>
                        <a:pt x="242859" y="100897"/>
                      </a:cubicBezTo>
                      <a:cubicBezTo>
                        <a:pt x="229362" y="102125"/>
                        <a:pt x="216151" y="104097"/>
                        <a:pt x="202578" y="104421"/>
                      </a:cubicBezTo>
                      <a:cubicBezTo>
                        <a:pt x="208378" y="98115"/>
                        <a:pt x="213798" y="95715"/>
                        <a:pt x="220608" y="90724"/>
                      </a:cubicBezTo>
                      <a:cubicBezTo>
                        <a:pt x="224666" y="87752"/>
                        <a:pt x="227990" y="85171"/>
                        <a:pt x="223676" y="80647"/>
                      </a:cubicBezTo>
                      <a:cubicBezTo>
                        <a:pt x="215341" y="71903"/>
                        <a:pt x="199177" y="82418"/>
                        <a:pt x="190481" y="69569"/>
                      </a:cubicBezTo>
                      <a:cubicBezTo>
                        <a:pt x="187071" y="64521"/>
                        <a:pt x="189890" y="60253"/>
                        <a:pt x="187862" y="54548"/>
                      </a:cubicBezTo>
                      <a:cubicBezTo>
                        <a:pt x="184490" y="45109"/>
                        <a:pt x="177346" y="51262"/>
                        <a:pt x="169964" y="50881"/>
                      </a:cubicBezTo>
                      <a:cubicBezTo>
                        <a:pt x="156191" y="50166"/>
                        <a:pt x="143970" y="42880"/>
                        <a:pt x="135884" y="32983"/>
                      </a:cubicBezTo>
                      <a:cubicBezTo>
                        <a:pt x="133683" y="39575"/>
                        <a:pt x="116958" y="36250"/>
                        <a:pt x="115862" y="28421"/>
                      </a:cubicBezTo>
                      <a:cubicBezTo>
                        <a:pt x="113662" y="35984"/>
                        <a:pt x="108680" y="32088"/>
                        <a:pt x="104070" y="30926"/>
                      </a:cubicBezTo>
                      <a:cubicBezTo>
                        <a:pt x="97184" y="29183"/>
                        <a:pt x="94221" y="31612"/>
                        <a:pt x="89830" y="24659"/>
                      </a:cubicBezTo>
                      <a:cubicBezTo>
                        <a:pt x="95926" y="22554"/>
                        <a:pt x="110823" y="17867"/>
                        <a:pt x="96412" y="15457"/>
                      </a:cubicBezTo>
                      <a:cubicBezTo>
                        <a:pt x="81867" y="13029"/>
                        <a:pt x="71847" y="15353"/>
                        <a:pt x="59960" y="22630"/>
                      </a:cubicBezTo>
                      <a:cubicBezTo>
                        <a:pt x="52073" y="27449"/>
                        <a:pt x="47120" y="30231"/>
                        <a:pt x="38224" y="31250"/>
                      </a:cubicBezTo>
                      <a:cubicBezTo>
                        <a:pt x="29851" y="32202"/>
                        <a:pt x="33318" y="33831"/>
                        <a:pt x="27413" y="38079"/>
                      </a:cubicBezTo>
                      <a:cubicBezTo>
                        <a:pt x="24213" y="40375"/>
                        <a:pt x="15069" y="42794"/>
                        <a:pt x="10982" y="43918"/>
                      </a:cubicBezTo>
                      <a:cubicBezTo>
                        <a:pt x="11992" y="42375"/>
                        <a:pt x="11697" y="40632"/>
                        <a:pt x="12354" y="39070"/>
                      </a:cubicBezTo>
                      <a:cubicBezTo>
                        <a:pt x="8011" y="38679"/>
                        <a:pt x="3524" y="43309"/>
                        <a:pt x="0" y="41375"/>
                      </a:cubicBezTo>
                      <a:cubicBezTo>
                        <a:pt x="2610" y="38279"/>
                        <a:pt x="8896" y="36851"/>
                        <a:pt x="12906" y="35727"/>
                      </a:cubicBezTo>
                      <a:cubicBezTo>
                        <a:pt x="19355" y="33926"/>
                        <a:pt x="16412" y="36231"/>
                        <a:pt x="18802" y="29716"/>
                      </a:cubicBezTo>
                      <a:cubicBezTo>
                        <a:pt x="22203" y="20468"/>
                        <a:pt x="30985" y="16496"/>
                        <a:pt x="39938" y="13286"/>
                      </a:cubicBezTo>
                      <a:cubicBezTo>
                        <a:pt x="51959" y="8980"/>
                        <a:pt x="61846" y="6361"/>
                        <a:pt x="74304" y="4408"/>
                      </a:cubicBezTo>
                      <a:cubicBezTo>
                        <a:pt x="84820" y="2770"/>
                        <a:pt x="92926" y="-973"/>
                        <a:pt x="103861" y="236"/>
                      </a:cubicBezTo>
                      <a:lnTo>
                        <a:pt x="103861" y="236"/>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69" name="Freeform: Shape 668">
                  <a:extLst>
                    <a:ext uri="{FF2B5EF4-FFF2-40B4-BE49-F238E27FC236}">
                      <a16:creationId xmlns:a16="http://schemas.microsoft.com/office/drawing/2014/main" id="{255519C1-F9DC-40DF-8DE1-7DE43D012117}"/>
                    </a:ext>
                  </a:extLst>
                </p:cNvPr>
                <p:cNvSpPr/>
                <p:nvPr/>
              </p:nvSpPr>
              <p:spPr>
                <a:xfrm>
                  <a:off x="2911296" y="4012407"/>
                  <a:ext cx="99399" cy="98256"/>
                </a:xfrm>
                <a:custGeom>
                  <a:avLst/>
                  <a:gdLst>
                    <a:gd name="connsiteX0" fmla="*/ 71409 w 99399"/>
                    <a:gd name="connsiteY0" fmla="*/ 8588 h 98256"/>
                    <a:gd name="connsiteX1" fmla="*/ 78305 w 99399"/>
                    <a:gd name="connsiteY1" fmla="*/ 27876 h 98256"/>
                    <a:gd name="connsiteX2" fmla="*/ 86954 w 99399"/>
                    <a:gd name="connsiteY2" fmla="*/ 38116 h 98256"/>
                    <a:gd name="connsiteX3" fmla="*/ 93297 w 99399"/>
                    <a:gd name="connsiteY3" fmla="*/ 47879 h 98256"/>
                    <a:gd name="connsiteX4" fmla="*/ 98803 w 99399"/>
                    <a:gd name="connsiteY4" fmla="*/ 52003 h 98256"/>
                    <a:gd name="connsiteX5" fmla="*/ 92288 w 99399"/>
                    <a:gd name="connsiteY5" fmla="*/ 50346 h 98256"/>
                    <a:gd name="connsiteX6" fmla="*/ 85973 w 99399"/>
                    <a:gd name="connsiteY6" fmla="*/ 67091 h 98256"/>
                    <a:gd name="connsiteX7" fmla="*/ 91069 w 99399"/>
                    <a:gd name="connsiteY7" fmla="*/ 72501 h 98256"/>
                    <a:gd name="connsiteX8" fmla="*/ 86239 w 99399"/>
                    <a:gd name="connsiteY8" fmla="*/ 76139 h 98256"/>
                    <a:gd name="connsiteX9" fmla="*/ 87221 w 99399"/>
                    <a:gd name="connsiteY9" fmla="*/ 81597 h 98256"/>
                    <a:gd name="connsiteX10" fmla="*/ 81277 w 99399"/>
                    <a:gd name="connsiteY10" fmla="*/ 89370 h 98256"/>
                    <a:gd name="connsiteX11" fmla="*/ 84525 w 99399"/>
                    <a:gd name="connsiteY11" fmla="*/ 98257 h 98256"/>
                    <a:gd name="connsiteX12" fmla="*/ 80820 w 99399"/>
                    <a:gd name="connsiteY12" fmla="*/ 92284 h 98256"/>
                    <a:gd name="connsiteX13" fmla="*/ 78029 w 99399"/>
                    <a:gd name="connsiteY13" fmla="*/ 85807 h 98256"/>
                    <a:gd name="connsiteX14" fmla="*/ 68151 w 99399"/>
                    <a:gd name="connsiteY14" fmla="*/ 78216 h 98256"/>
                    <a:gd name="connsiteX15" fmla="*/ 72038 w 99399"/>
                    <a:gd name="connsiteY15" fmla="*/ 87627 h 98256"/>
                    <a:gd name="connsiteX16" fmla="*/ 61351 w 99399"/>
                    <a:gd name="connsiteY16" fmla="*/ 83245 h 98256"/>
                    <a:gd name="connsiteX17" fmla="*/ 64456 w 99399"/>
                    <a:gd name="connsiteY17" fmla="*/ 70253 h 98256"/>
                    <a:gd name="connsiteX18" fmla="*/ 56522 w 99399"/>
                    <a:gd name="connsiteY18" fmla="*/ 60118 h 98256"/>
                    <a:gd name="connsiteX19" fmla="*/ 34557 w 99399"/>
                    <a:gd name="connsiteY19" fmla="*/ 46164 h 98256"/>
                    <a:gd name="connsiteX20" fmla="*/ 26575 w 99399"/>
                    <a:gd name="connsiteY20" fmla="*/ 35192 h 98256"/>
                    <a:gd name="connsiteX21" fmla="*/ 17964 w 99399"/>
                    <a:gd name="connsiteY21" fmla="*/ 29400 h 98256"/>
                    <a:gd name="connsiteX22" fmla="*/ 24546 w 99399"/>
                    <a:gd name="connsiteY22" fmla="*/ 46374 h 98256"/>
                    <a:gd name="connsiteX23" fmla="*/ 12106 w 99399"/>
                    <a:gd name="connsiteY23" fmla="*/ 42678 h 98256"/>
                    <a:gd name="connsiteX24" fmla="*/ 1572 w 99399"/>
                    <a:gd name="connsiteY24" fmla="*/ 24133 h 98256"/>
                    <a:gd name="connsiteX25" fmla="*/ 591 w 99399"/>
                    <a:gd name="connsiteY25" fmla="*/ 9207 h 98256"/>
                    <a:gd name="connsiteX26" fmla="*/ 12021 w 99399"/>
                    <a:gd name="connsiteY26" fmla="*/ 16 h 98256"/>
                    <a:gd name="connsiteX27" fmla="*/ 22146 w 99399"/>
                    <a:gd name="connsiteY27" fmla="*/ 4035 h 98256"/>
                    <a:gd name="connsiteX28" fmla="*/ 35252 w 99399"/>
                    <a:gd name="connsiteY28" fmla="*/ 6045 h 98256"/>
                    <a:gd name="connsiteX29" fmla="*/ 46625 w 99399"/>
                    <a:gd name="connsiteY29" fmla="*/ 6521 h 98256"/>
                    <a:gd name="connsiteX30" fmla="*/ 53531 w 99399"/>
                    <a:gd name="connsiteY30" fmla="*/ 11293 h 98256"/>
                    <a:gd name="connsiteX31" fmla="*/ 71409 w 99399"/>
                    <a:gd name="connsiteY31" fmla="*/ 8588 h 98256"/>
                    <a:gd name="connsiteX32" fmla="*/ 71409 w 99399"/>
                    <a:gd name="connsiteY32" fmla="*/ 8588 h 98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9399" h="98256">
                      <a:moveTo>
                        <a:pt x="71409" y="8588"/>
                      </a:moveTo>
                      <a:cubicBezTo>
                        <a:pt x="74381" y="14713"/>
                        <a:pt x="74629" y="21685"/>
                        <a:pt x="78305" y="27876"/>
                      </a:cubicBezTo>
                      <a:cubicBezTo>
                        <a:pt x="80791" y="32067"/>
                        <a:pt x="84268" y="34677"/>
                        <a:pt x="86954" y="38116"/>
                      </a:cubicBezTo>
                      <a:cubicBezTo>
                        <a:pt x="89107" y="40868"/>
                        <a:pt x="90726" y="45774"/>
                        <a:pt x="93297" y="47879"/>
                      </a:cubicBezTo>
                      <a:cubicBezTo>
                        <a:pt x="94602" y="48955"/>
                        <a:pt x="101432" y="49241"/>
                        <a:pt x="98803" y="52003"/>
                      </a:cubicBezTo>
                      <a:cubicBezTo>
                        <a:pt x="96193" y="54756"/>
                        <a:pt x="94574" y="49946"/>
                        <a:pt x="92288" y="50346"/>
                      </a:cubicBezTo>
                      <a:cubicBezTo>
                        <a:pt x="86325" y="51393"/>
                        <a:pt x="86420" y="62519"/>
                        <a:pt x="85973" y="67091"/>
                      </a:cubicBezTo>
                      <a:cubicBezTo>
                        <a:pt x="89964" y="67491"/>
                        <a:pt x="91926" y="69729"/>
                        <a:pt x="91069" y="72501"/>
                      </a:cubicBezTo>
                      <a:cubicBezTo>
                        <a:pt x="90669" y="73825"/>
                        <a:pt x="86973" y="74368"/>
                        <a:pt x="86239" y="76139"/>
                      </a:cubicBezTo>
                      <a:cubicBezTo>
                        <a:pt x="85316" y="78349"/>
                        <a:pt x="87621" y="79340"/>
                        <a:pt x="87221" y="81597"/>
                      </a:cubicBezTo>
                      <a:cubicBezTo>
                        <a:pt x="86354" y="86503"/>
                        <a:pt x="82391" y="85769"/>
                        <a:pt x="81277" y="89370"/>
                      </a:cubicBezTo>
                      <a:cubicBezTo>
                        <a:pt x="80629" y="91456"/>
                        <a:pt x="84830" y="94685"/>
                        <a:pt x="84525" y="98257"/>
                      </a:cubicBezTo>
                      <a:cubicBezTo>
                        <a:pt x="83563" y="95990"/>
                        <a:pt x="81944" y="94380"/>
                        <a:pt x="80820" y="92284"/>
                      </a:cubicBezTo>
                      <a:cubicBezTo>
                        <a:pt x="79420" y="89665"/>
                        <a:pt x="79153" y="88160"/>
                        <a:pt x="78029" y="85807"/>
                      </a:cubicBezTo>
                      <a:cubicBezTo>
                        <a:pt x="76143" y="81845"/>
                        <a:pt x="74219" y="77111"/>
                        <a:pt x="68151" y="78216"/>
                      </a:cubicBezTo>
                      <a:cubicBezTo>
                        <a:pt x="69075" y="80978"/>
                        <a:pt x="75295" y="85493"/>
                        <a:pt x="72038" y="87627"/>
                      </a:cubicBezTo>
                      <a:cubicBezTo>
                        <a:pt x="69761" y="89122"/>
                        <a:pt x="62503" y="85455"/>
                        <a:pt x="61351" y="83245"/>
                      </a:cubicBezTo>
                      <a:cubicBezTo>
                        <a:pt x="58989" y="78730"/>
                        <a:pt x="65304" y="76463"/>
                        <a:pt x="64456" y="70253"/>
                      </a:cubicBezTo>
                      <a:cubicBezTo>
                        <a:pt x="63875" y="65995"/>
                        <a:pt x="59979" y="62423"/>
                        <a:pt x="56522" y="60118"/>
                      </a:cubicBezTo>
                      <a:cubicBezTo>
                        <a:pt x="49025" y="55108"/>
                        <a:pt x="37472" y="54013"/>
                        <a:pt x="34557" y="46164"/>
                      </a:cubicBezTo>
                      <a:cubicBezTo>
                        <a:pt x="32595" y="40868"/>
                        <a:pt x="32919" y="39449"/>
                        <a:pt x="26575" y="35192"/>
                      </a:cubicBezTo>
                      <a:cubicBezTo>
                        <a:pt x="23670" y="33239"/>
                        <a:pt x="20184" y="32010"/>
                        <a:pt x="17964" y="29400"/>
                      </a:cubicBezTo>
                      <a:cubicBezTo>
                        <a:pt x="16221" y="40592"/>
                        <a:pt x="32376" y="36611"/>
                        <a:pt x="24546" y="46374"/>
                      </a:cubicBezTo>
                      <a:cubicBezTo>
                        <a:pt x="18469" y="53946"/>
                        <a:pt x="18469" y="46088"/>
                        <a:pt x="12106" y="42678"/>
                      </a:cubicBezTo>
                      <a:cubicBezTo>
                        <a:pt x="4639" y="38697"/>
                        <a:pt x="-3486" y="34620"/>
                        <a:pt x="1572" y="24133"/>
                      </a:cubicBezTo>
                      <a:cubicBezTo>
                        <a:pt x="6001" y="14941"/>
                        <a:pt x="10249" y="16275"/>
                        <a:pt x="591" y="9207"/>
                      </a:cubicBezTo>
                      <a:cubicBezTo>
                        <a:pt x="3629" y="7274"/>
                        <a:pt x="8401" y="482"/>
                        <a:pt x="12021" y="16"/>
                      </a:cubicBezTo>
                      <a:cubicBezTo>
                        <a:pt x="14126" y="-261"/>
                        <a:pt x="19927" y="3207"/>
                        <a:pt x="22146" y="4035"/>
                      </a:cubicBezTo>
                      <a:cubicBezTo>
                        <a:pt x="27718" y="6112"/>
                        <a:pt x="30004" y="6845"/>
                        <a:pt x="35252" y="6045"/>
                      </a:cubicBezTo>
                      <a:cubicBezTo>
                        <a:pt x="40377" y="5264"/>
                        <a:pt x="41139" y="4369"/>
                        <a:pt x="46625" y="6521"/>
                      </a:cubicBezTo>
                      <a:cubicBezTo>
                        <a:pt x="50168" y="7912"/>
                        <a:pt x="50445" y="9093"/>
                        <a:pt x="53531" y="11293"/>
                      </a:cubicBezTo>
                      <a:cubicBezTo>
                        <a:pt x="57522" y="14151"/>
                        <a:pt x="69685" y="17046"/>
                        <a:pt x="71409" y="8588"/>
                      </a:cubicBezTo>
                      <a:lnTo>
                        <a:pt x="71409" y="8588"/>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70" name="Freeform: Shape 669">
                  <a:extLst>
                    <a:ext uri="{FF2B5EF4-FFF2-40B4-BE49-F238E27FC236}">
                      <a16:creationId xmlns:a16="http://schemas.microsoft.com/office/drawing/2014/main" id="{ADCE1AF3-E732-4B87-92E0-796C7DCCC6E3}"/>
                    </a:ext>
                  </a:extLst>
                </p:cNvPr>
                <p:cNvSpPr/>
                <p:nvPr/>
              </p:nvSpPr>
              <p:spPr>
                <a:xfrm>
                  <a:off x="3105850" y="3974163"/>
                  <a:ext cx="381365" cy="524205"/>
                </a:xfrm>
                <a:custGeom>
                  <a:avLst/>
                  <a:gdLst>
                    <a:gd name="connsiteX0" fmla="*/ 268885 w 381365"/>
                    <a:gd name="connsiteY0" fmla="*/ 2169 h 524205"/>
                    <a:gd name="connsiteX1" fmla="*/ 261246 w 381365"/>
                    <a:gd name="connsiteY1" fmla="*/ 18733 h 524205"/>
                    <a:gd name="connsiteX2" fmla="*/ 248273 w 381365"/>
                    <a:gd name="connsiteY2" fmla="*/ 22305 h 524205"/>
                    <a:gd name="connsiteX3" fmla="*/ 237262 w 381365"/>
                    <a:gd name="connsiteY3" fmla="*/ 32735 h 524205"/>
                    <a:gd name="connsiteX4" fmla="*/ 217412 w 381365"/>
                    <a:gd name="connsiteY4" fmla="*/ 51147 h 524205"/>
                    <a:gd name="connsiteX5" fmla="*/ 206820 w 381365"/>
                    <a:gd name="connsiteY5" fmla="*/ 74797 h 524205"/>
                    <a:gd name="connsiteX6" fmla="*/ 201848 w 381365"/>
                    <a:gd name="connsiteY6" fmla="*/ 87085 h 524205"/>
                    <a:gd name="connsiteX7" fmla="*/ 193542 w 381365"/>
                    <a:gd name="connsiteY7" fmla="*/ 97924 h 524205"/>
                    <a:gd name="connsiteX8" fmla="*/ 196409 w 381365"/>
                    <a:gd name="connsiteY8" fmla="*/ 101220 h 524205"/>
                    <a:gd name="connsiteX9" fmla="*/ 201372 w 381365"/>
                    <a:gd name="connsiteY9" fmla="*/ 99038 h 524205"/>
                    <a:gd name="connsiteX10" fmla="*/ 204467 w 381365"/>
                    <a:gd name="connsiteY10" fmla="*/ 103096 h 524205"/>
                    <a:gd name="connsiteX11" fmla="*/ 209992 w 381365"/>
                    <a:gd name="connsiteY11" fmla="*/ 109154 h 524205"/>
                    <a:gd name="connsiteX12" fmla="*/ 215355 w 381365"/>
                    <a:gd name="connsiteY12" fmla="*/ 122946 h 524205"/>
                    <a:gd name="connsiteX13" fmla="*/ 215840 w 381365"/>
                    <a:gd name="connsiteY13" fmla="*/ 144663 h 524205"/>
                    <a:gd name="connsiteX14" fmla="*/ 223880 w 381365"/>
                    <a:gd name="connsiteY14" fmla="*/ 162446 h 524205"/>
                    <a:gd name="connsiteX15" fmla="*/ 245663 w 381365"/>
                    <a:gd name="connsiteY15" fmla="*/ 169495 h 524205"/>
                    <a:gd name="connsiteX16" fmla="*/ 258208 w 381365"/>
                    <a:gd name="connsiteY16" fmla="*/ 170485 h 524205"/>
                    <a:gd name="connsiteX17" fmla="*/ 270533 w 381365"/>
                    <a:gd name="connsiteY17" fmla="*/ 167638 h 524205"/>
                    <a:gd name="connsiteX18" fmla="*/ 289240 w 381365"/>
                    <a:gd name="connsiteY18" fmla="*/ 174133 h 524205"/>
                    <a:gd name="connsiteX19" fmla="*/ 306661 w 381365"/>
                    <a:gd name="connsiteY19" fmla="*/ 197498 h 524205"/>
                    <a:gd name="connsiteX20" fmla="*/ 313110 w 381365"/>
                    <a:gd name="connsiteY20" fmla="*/ 198337 h 524205"/>
                    <a:gd name="connsiteX21" fmla="*/ 326759 w 381365"/>
                    <a:gd name="connsiteY21" fmla="*/ 196393 h 524205"/>
                    <a:gd name="connsiteX22" fmla="*/ 355344 w 381365"/>
                    <a:gd name="connsiteY22" fmla="*/ 193326 h 524205"/>
                    <a:gd name="connsiteX23" fmla="*/ 368107 w 381365"/>
                    <a:gd name="connsiteY23" fmla="*/ 196041 h 524205"/>
                    <a:gd name="connsiteX24" fmla="*/ 364611 w 381365"/>
                    <a:gd name="connsiteY24" fmla="*/ 207004 h 524205"/>
                    <a:gd name="connsiteX25" fmla="*/ 355858 w 381365"/>
                    <a:gd name="connsiteY25" fmla="*/ 232189 h 524205"/>
                    <a:gd name="connsiteX26" fmla="*/ 356448 w 381365"/>
                    <a:gd name="connsiteY26" fmla="*/ 261078 h 524205"/>
                    <a:gd name="connsiteX27" fmla="*/ 362125 w 381365"/>
                    <a:gd name="connsiteY27" fmla="*/ 273108 h 524205"/>
                    <a:gd name="connsiteX28" fmla="*/ 369241 w 381365"/>
                    <a:gd name="connsiteY28" fmla="*/ 283500 h 524205"/>
                    <a:gd name="connsiteX29" fmla="*/ 351429 w 381365"/>
                    <a:gd name="connsiteY29" fmla="*/ 302759 h 524205"/>
                    <a:gd name="connsiteX30" fmla="*/ 363030 w 381365"/>
                    <a:gd name="connsiteY30" fmla="*/ 307484 h 524205"/>
                    <a:gd name="connsiteX31" fmla="*/ 369288 w 381365"/>
                    <a:gd name="connsiteY31" fmla="*/ 313570 h 524205"/>
                    <a:gd name="connsiteX32" fmla="*/ 371469 w 381365"/>
                    <a:gd name="connsiteY32" fmla="*/ 319618 h 524205"/>
                    <a:gd name="connsiteX33" fmla="*/ 381366 w 381365"/>
                    <a:gd name="connsiteY33" fmla="*/ 352232 h 524205"/>
                    <a:gd name="connsiteX34" fmla="*/ 373927 w 381365"/>
                    <a:gd name="connsiteY34" fmla="*/ 337087 h 524205"/>
                    <a:gd name="connsiteX35" fmla="*/ 360839 w 381365"/>
                    <a:gd name="connsiteY35" fmla="*/ 325181 h 524205"/>
                    <a:gd name="connsiteX36" fmla="*/ 345542 w 381365"/>
                    <a:gd name="connsiteY36" fmla="*/ 334715 h 524205"/>
                    <a:gd name="connsiteX37" fmla="*/ 339656 w 381365"/>
                    <a:gd name="connsiteY37" fmla="*/ 328838 h 524205"/>
                    <a:gd name="connsiteX38" fmla="*/ 340647 w 381365"/>
                    <a:gd name="connsiteY38" fmla="*/ 336573 h 524205"/>
                    <a:gd name="connsiteX39" fmla="*/ 301718 w 381365"/>
                    <a:gd name="connsiteY39" fmla="*/ 336144 h 524205"/>
                    <a:gd name="connsiteX40" fmla="*/ 288373 w 381365"/>
                    <a:gd name="connsiteY40" fmla="*/ 336954 h 524205"/>
                    <a:gd name="connsiteX41" fmla="*/ 287583 w 381365"/>
                    <a:gd name="connsiteY41" fmla="*/ 357375 h 524205"/>
                    <a:gd name="connsiteX42" fmla="*/ 303804 w 381365"/>
                    <a:gd name="connsiteY42" fmla="*/ 357413 h 524205"/>
                    <a:gd name="connsiteX43" fmla="*/ 309109 w 381365"/>
                    <a:gd name="connsiteY43" fmla="*/ 370644 h 524205"/>
                    <a:gd name="connsiteX44" fmla="*/ 297117 w 381365"/>
                    <a:gd name="connsiteY44" fmla="*/ 368444 h 524205"/>
                    <a:gd name="connsiteX45" fmla="*/ 281144 w 381365"/>
                    <a:gd name="connsiteY45" fmla="*/ 372568 h 524205"/>
                    <a:gd name="connsiteX46" fmla="*/ 280582 w 381365"/>
                    <a:gd name="connsiteY46" fmla="*/ 387436 h 524205"/>
                    <a:gd name="connsiteX47" fmla="*/ 284916 w 381365"/>
                    <a:gd name="connsiteY47" fmla="*/ 400495 h 524205"/>
                    <a:gd name="connsiteX48" fmla="*/ 294307 w 381365"/>
                    <a:gd name="connsiteY48" fmla="*/ 406810 h 524205"/>
                    <a:gd name="connsiteX49" fmla="*/ 294869 w 381365"/>
                    <a:gd name="connsiteY49" fmla="*/ 414135 h 524205"/>
                    <a:gd name="connsiteX50" fmla="*/ 300851 w 381365"/>
                    <a:gd name="connsiteY50" fmla="*/ 426117 h 524205"/>
                    <a:gd name="connsiteX51" fmla="*/ 297660 w 381365"/>
                    <a:gd name="connsiteY51" fmla="*/ 453711 h 524205"/>
                    <a:gd name="connsiteX52" fmla="*/ 292364 w 381365"/>
                    <a:gd name="connsiteY52" fmla="*/ 487916 h 524205"/>
                    <a:gd name="connsiteX53" fmla="*/ 286811 w 381365"/>
                    <a:gd name="connsiteY53" fmla="*/ 524206 h 524205"/>
                    <a:gd name="connsiteX54" fmla="*/ 274819 w 381365"/>
                    <a:gd name="connsiteY54" fmla="*/ 511157 h 524205"/>
                    <a:gd name="connsiteX55" fmla="*/ 269609 w 381365"/>
                    <a:gd name="connsiteY55" fmla="*/ 512623 h 524205"/>
                    <a:gd name="connsiteX56" fmla="*/ 262008 w 381365"/>
                    <a:gd name="connsiteY56" fmla="*/ 509880 h 524205"/>
                    <a:gd name="connsiteX57" fmla="*/ 275657 w 381365"/>
                    <a:gd name="connsiteY57" fmla="*/ 487277 h 524205"/>
                    <a:gd name="connsiteX58" fmla="*/ 276181 w 381365"/>
                    <a:gd name="connsiteY58" fmla="*/ 472876 h 524205"/>
                    <a:gd name="connsiteX59" fmla="*/ 257131 w 381365"/>
                    <a:gd name="connsiteY59" fmla="*/ 462036 h 524205"/>
                    <a:gd name="connsiteX60" fmla="*/ 238043 w 381365"/>
                    <a:gd name="connsiteY60" fmla="*/ 463027 h 524205"/>
                    <a:gd name="connsiteX61" fmla="*/ 229613 w 381365"/>
                    <a:gd name="connsiteY61" fmla="*/ 459065 h 524205"/>
                    <a:gd name="connsiteX62" fmla="*/ 221184 w 381365"/>
                    <a:gd name="connsiteY62" fmla="*/ 464036 h 524205"/>
                    <a:gd name="connsiteX63" fmla="*/ 201010 w 381365"/>
                    <a:gd name="connsiteY63" fmla="*/ 464846 h 524205"/>
                    <a:gd name="connsiteX64" fmla="*/ 183970 w 381365"/>
                    <a:gd name="connsiteY64" fmla="*/ 461436 h 524205"/>
                    <a:gd name="connsiteX65" fmla="*/ 184046 w 381365"/>
                    <a:gd name="connsiteY65" fmla="*/ 452873 h 524205"/>
                    <a:gd name="connsiteX66" fmla="*/ 180407 w 381365"/>
                    <a:gd name="connsiteY66" fmla="*/ 446606 h 524205"/>
                    <a:gd name="connsiteX67" fmla="*/ 172178 w 381365"/>
                    <a:gd name="connsiteY67" fmla="*/ 442415 h 524205"/>
                    <a:gd name="connsiteX68" fmla="*/ 172187 w 381365"/>
                    <a:gd name="connsiteY68" fmla="*/ 436452 h 524205"/>
                    <a:gd name="connsiteX69" fmla="*/ 168454 w 381365"/>
                    <a:gd name="connsiteY69" fmla="*/ 431175 h 524205"/>
                    <a:gd name="connsiteX70" fmla="*/ 150699 w 381365"/>
                    <a:gd name="connsiteY70" fmla="*/ 421974 h 524205"/>
                    <a:gd name="connsiteX71" fmla="*/ 142145 w 381365"/>
                    <a:gd name="connsiteY71" fmla="*/ 407087 h 524205"/>
                    <a:gd name="connsiteX72" fmla="*/ 129972 w 381365"/>
                    <a:gd name="connsiteY72" fmla="*/ 397152 h 524205"/>
                    <a:gd name="connsiteX73" fmla="*/ 122886 w 381365"/>
                    <a:gd name="connsiteY73" fmla="*/ 393932 h 524205"/>
                    <a:gd name="connsiteX74" fmla="*/ 115380 w 381365"/>
                    <a:gd name="connsiteY74" fmla="*/ 393799 h 524205"/>
                    <a:gd name="connsiteX75" fmla="*/ 94168 w 381365"/>
                    <a:gd name="connsiteY75" fmla="*/ 382464 h 524205"/>
                    <a:gd name="connsiteX76" fmla="*/ 84938 w 381365"/>
                    <a:gd name="connsiteY76" fmla="*/ 376873 h 524205"/>
                    <a:gd name="connsiteX77" fmla="*/ 80462 w 381365"/>
                    <a:gd name="connsiteY77" fmla="*/ 381883 h 524205"/>
                    <a:gd name="connsiteX78" fmla="*/ 64098 w 381365"/>
                    <a:gd name="connsiteY78" fmla="*/ 382083 h 524205"/>
                    <a:gd name="connsiteX79" fmla="*/ 53039 w 381365"/>
                    <a:gd name="connsiteY79" fmla="*/ 379397 h 524205"/>
                    <a:gd name="connsiteX80" fmla="*/ 47162 w 381365"/>
                    <a:gd name="connsiteY80" fmla="*/ 370244 h 524205"/>
                    <a:gd name="connsiteX81" fmla="*/ 40704 w 381365"/>
                    <a:gd name="connsiteY81" fmla="*/ 365243 h 524205"/>
                    <a:gd name="connsiteX82" fmla="*/ 27474 w 381365"/>
                    <a:gd name="connsiteY82" fmla="*/ 361357 h 524205"/>
                    <a:gd name="connsiteX83" fmla="*/ 4985 w 381365"/>
                    <a:gd name="connsiteY83" fmla="*/ 345593 h 524205"/>
                    <a:gd name="connsiteX84" fmla="*/ 556 w 381365"/>
                    <a:gd name="connsiteY84" fmla="*/ 336639 h 524205"/>
                    <a:gd name="connsiteX85" fmla="*/ 13158 w 381365"/>
                    <a:gd name="connsiteY85" fmla="*/ 334915 h 524205"/>
                    <a:gd name="connsiteX86" fmla="*/ 12253 w 381365"/>
                    <a:gd name="connsiteY86" fmla="*/ 318942 h 524205"/>
                    <a:gd name="connsiteX87" fmla="*/ 19930 w 381365"/>
                    <a:gd name="connsiteY87" fmla="*/ 312922 h 524205"/>
                    <a:gd name="connsiteX88" fmla="*/ 30417 w 381365"/>
                    <a:gd name="connsiteY88" fmla="*/ 311217 h 524205"/>
                    <a:gd name="connsiteX89" fmla="*/ 37047 w 381365"/>
                    <a:gd name="connsiteY89" fmla="*/ 305074 h 524205"/>
                    <a:gd name="connsiteX90" fmla="*/ 42695 w 381365"/>
                    <a:gd name="connsiteY90" fmla="*/ 298825 h 524205"/>
                    <a:gd name="connsiteX91" fmla="*/ 43095 w 381365"/>
                    <a:gd name="connsiteY91" fmla="*/ 294853 h 524205"/>
                    <a:gd name="connsiteX92" fmla="*/ 47381 w 381365"/>
                    <a:gd name="connsiteY92" fmla="*/ 291901 h 524205"/>
                    <a:gd name="connsiteX93" fmla="*/ 62659 w 381365"/>
                    <a:gd name="connsiteY93" fmla="*/ 267517 h 524205"/>
                    <a:gd name="connsiteX94" fmla="*/ 56544 w 381365"/>
                    <a:gd name="connsiteY94" fmla="*/ 262944 h 524205"/>
                    <a:gd name="connsiteX95" fmla="*/ 53849 w 381365"/>
                    <a:gd name="connsiteY95" fmla="*/ 266526 h 524205"/>
                    <a:gd name="connsiteX96" fmla="*/ 52725 w 381365"/>
                    <a:gd name="connsiteY96" fmla="*/ 256982 h 524205"/>
                    <a:gd name="connsiteX97" fmla="*/ 49143 w 381365"/>
                    <a:gd name="connsiteY97" fmla="*/ 258087 h 524205"/>
                    <a:gd name="connsiteX98" fmla="*/ 56840 w 381365"/>
                    <a:gd name="connsiteY98" fmla="*/ 240075 h 524205"/>
                    <a:gd name="connsiteX99" fmla="*/ 51115 w 381365"/>
                    <a:gd name="connsiteY99" fmla="*/ 216367 h 524205"/>
                    <a:gd name="connsiteX100" fmla="*/ 60011 w 381365"/>
                    <a:gd name="connsiteY100" fmla="*/ 207166 h 524205"/>
                    <a:gd name="connsiteX101" fmla="*/ 54687 w 381365"/>
                    <a:gd name="connsiteY101" fmla="*/ 192793 h 524205"/>
                    <a:gd name="connsiteX102" fmla="*/ 58764 w 381365"/>
                    <a:gd name="connsiteY102" fmla="*/ 185887 h 524205"/>
                    <a:gd name="connsiteX103" fmla="*/ 51982 w 381365"/>
                    <a:gd name="connsiteY103" fmla="*/ 175419 h 524205"/>
                    <a:gd name="connsiteX104" fmla="*/ 45705 w 381365"/>
                    <a:gd name="connsiteY104" fmla="*/ 165218 h 524205"/>
                    <a:gd name="connsiteX105" fmla="*/ 48791 w 381365"/>
                    <a:gd name="connsiteY105" fmla="*/ 154626 h 524205"/>
                    <a:gd name="connsiteX106" fmla="*/ 50258 w 381365"/>
                    <a:gd name="connsiteY106" fmla="*/ 147883 h 524205"/>
                    <a:gd name="connsiteX107" fmla="*/ 55944 w 381365"/>
                    <a:gd name="connsiteY107" fmla="*/ 152445 h 524205"/>
                    <a:gd name="connsiteX108" fmla="*/ 62764 w 381365"/>
                    <a:gd name="connsiteY108" fmla="*/ 143930 h 524205"/>
                    <a:gd name="connsiteX109" fmla="*/ 66622 w 381365"/>
                    <a:gd name="connsiteY109" fmla="*/ 135291 h 524205"/>
                    <a:gd name="connsiteX110" fmla="*/ 61069 w 381365"/>
                    <a:gd name="connsiteY110" fmla="*/ 123632 h 524205"/>
                    <a:gd name="connsiteX111" fmla="*/ 66822 w 381365"/>
                    <a:gd name="connsiteY111" fmla="*/ 122051 h 524205"/>
                    <a:gd name="connsiteX112" fmla="*/ 75432 w 381365"/>
                    <a:gd name="connsiteY112" fmla="*/ 131738 h 524205"/>
                    <a:gd name="connsiteX113" fmla="*/ 78137 w 381365"/>
                    <a:gd name="connsiteY113" fmla="*/ 135043 h 524205"/>
                    <a:gd name="connsiteX114" fmla="*/ 76918 w 381365"/>
                    <a:gd name="connsiteY114" fmla="*/ 137719 h 524205"/>
                    <a:gd name="connsiteX115" fmla="*/ 81366 w 381365"/>
                    <a:gd name="connsiteY115" fmla="*/ 139815 h 524205"/>
                    <a:gd name="connsiteX116" fmla="*/ 81395 w 381365"/>
                    <a:gd name="connsiteY116" fmla="*/ 125404 h 524205"/>
                    <a:gd name="connsiteX117" fmla="*/ 82195 w 381365"/>
                    <a:gd name="connsiteY117" fmla="*/ 118603 h 524205"/>
                    <a:gd name="connsiteX118" fmla="*/ 96826 w 381365"/>
                    <a:gd name="connsiteY118" fmla="*/ 109611 h 524205"/>
                    <a:gd name="connsiteX119" fmla="*/ 106131 w 381365"/>
                    <a:gd name="connsiteY119" fmla="*/ 98086 h 524205"/>
                    <a:gd name="connsiteX120" fmla="*/ 113485 w 381365"/>
                    <a:gd name="connsiteY120" fmla="*/ 93771 h 524205"/>
                    <a:gd name="connsiteX121" fmla="*/ 121305 w 381365"/>
                    <a:gd name="connsiteY121" fmla="*/ 93085 h 524205"/>
                    <a:gd name="connsiteX122" fmla="*/ 122695 w 381365"/>
                    <a:gd name="connsiteY122" fmla="*/ 80989 h 524205"/>
                    <a:gd name="connsiteX123" fmla="*/ 126610 w 381365"/>
                    <a:gd name="connsiteY123" fmla="*/ 68330 h 524205"/>
                    <a:gd name="connsiteX124" fmla="*/ 121581 w 381365"/>
                    <a:gd name="connsiteY124" fmla="*/ 71263 h 524205"/>
                    <a:gd name="connsiteX125" fmla="*/ 140498 w 381365"/>
                    <a:gd name="connsiteY125" fmla="*/ 49737 h 524205"/>
                    <a:gd name="connsiteX126" fmla="*/ 152251 w 381365"/>
                    <a:gd name="connsiteY126" fmla="*/ 40822 h 524205"/>
                    <a:gd name="connsiteX127" fmla="*/ 167853 w 381365"/>
                    <a:gd name="connsiteY127" fmla="*/ 44384 h 524205"/>
                    <a:gd name="connsiteX128" fmla="*/ 165206 w 381365"/>
                    <a:gd name="connsiteY128" fmla="*/ 51299 h 524205"/>
                    <a:gd name="connsiteX129" fmla="*/ 173483 w 381365"/>
                    <a:gd name="connsiteY129" fmla="*/ 35478 h 524205"/>
                    <a:gd name="connsiteX130" fmla="*/ 189332 w 381365"/>
                    <a:gd name="connsiteY130" fmla="*/ 35726 h 524205"/>
                    <a:gd name="connsiteX131" fmla="*/ 206639 w 381365"/>
                    <a:gd name="connsiteY131" fmla="*/ 31135 h 524205"/>
                    <a:gd name="connsiteX132" fmla="*/ 225346 w 381365"/>
                    <a:gd name="connsiteY132" fmla="*/ 20429 h 524205"/>
                    <a:gd name="connsiteX133" fmla="*/ 240034 w 381365"/>
                    <a:gd name="connsiteY133" fmla="*/ 9827 h 524205"/>
                    <a:gd name="connsiteX134" fmla="*/ 268885 w 381365"/>
                    <a:gd name="connsiteY134" fmla="*/ 2169 h 524205"/>
                    <a:gd name="connsiteX135" fmla="*/ 268885 w 381365"/>
                    <a:gd name="connsiteY135" fmla="*/ 2169 h 52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81365" h="524205">
                      <a:moveTo>
                        <a:pt x="268885" y="2169"/>
                      </a:moveTo>
                      <a:cubicBezTo>
                        <a:pt x="274191" y="10589"/>
                        <a:pt x="268876" y="15209"/>
                        <a:pt x="261246" y="18733"/>
                      </a:cubicBezTo>
                      <a:cubicBezTo>
                        <a:pt x="257150" y="20629"/>
                        <a:pt x="252455" y="20714"/>
                        <a:pt x="248273" y="22305"/>
                      </a:cubicBezTo>
                      <a:cubicBezTo>
                        <a:pt x="242444" y="24524"/>
                        <a:pt x="240977" y="27401"/>
                        <a:pt x="237262" y="32735"/>
                      </a:cubicBezTo>
                      <a:cubicBezTo>
                        <a:pt x="231938" y="40393"/>
                        <a:pt x="223241" y="43060"/>
                        <a:pt x="217412" y="51147"/>
                      </a:cubicBezTo>
                      <a:cubicBezTo>
                        <a:pt x="212097" y="58529"/>
                        <a:pt x="209268" y="66111"/>
                        <a:pt x="206820" y="74797"/>
                      </a:cubicBezTo>
                      <a:cubicBezTo>
                        <a:pt x="205506" y="79455"/>
                        <a:pt x="204506" y="83065"/>
                        <a:pt x="201848" y="87085"/>
                      </a:cubicBezTo>
                      <a:cubicBezTo>
                        <a:pt x="199496" y="90647"/>
                        <a:pt x="194962" y="93857"/>
                        <a:pt x="193542" y="97924"/>
                      </a:cubicBezTo>
                      <a:cubicBezTo>
                        <a:pt x="191961" y="102458"/>
                        <a:pt x="190380" y="101286"/>
                        <a:pt x="196409" y="101220"/>
                      </a:cubicBezTo>
                      <a:cubicBezTo>
                        <a:pt x="197905" y="101210"/>
                        <a:pt x="200038" y="98724"/>
                        <a:pt x="201372" y="99038"/>
                      </a:cubicBezTo>
                      <a:cubicBezTo>
                        <a:pt x="203696" y="99562"/>
                        <a:pt x="202886" y="101982"/>
                        <a:pt x="204467" y="103096"/>
                      </a:cubicBezTo>
                      <a:cubicBezTo>
                        <a:pt x="208725" y="106106"/>
                        <a:pt x="207839" y="101744"/>
                        <a:pt x="209992" y="109154"/>
                      </a:cubicBezTo>
                      <a:cubicBezTo>
                        <a:pt x="211745" y="115155"/>
                        <a:pt x="211678" y="117888"/>
                        <a:pt x="215355" y="122946"/>
                      </a:cubicBezTo>
                      <a:cubicBezTo>
                        <a:pt x="222032" y="132128"/>
                        <a:pt x="218041" y="135091"/>
                        <a:pt x="215840" y="144663"/>
                      </a:cubicBezTo>
                      <a:cubicBezTo>
                        <a:pt x="213030" y="156874"/>
                        <a:pt x="218727" y="154712"/>
                        <a:pt x="223880" y="162446"/>
                      </a:cubicBezTo>
                      <a:cubicBezTo>
                        <a:pt x="230861" y="172924"/>
                        <a:pt x="233890" y="168390"/>
                        <a:pt x="245663" y="169495"/>
                      </a:cubicBezTo>
                      <a:cubicBezTo>
                        <a:pt x="249978" y="169895"/>
                        <a:pt x="253817" y="171238"/>
                        <a:pt x="258208" y="170485"/>
                      </a:cubicBezTo>
                      <a:cubicBezTo>
                        <a:pt x="262646" y="169723"/>
                        <a:pt x="265847" y="167028"/>
                        <a:pt x="270533" y="167638"/>
                      </a:cubicBezTo>
                      <a:cubicBezTo>
                        <a:pt x="275581" y="168295"/>
                        <a:pt x="285801" y="171324"/>
                        <a:pt x="289240" y="174133"/>
                      </a:cubicBezTo>
                      <a:cubicBezTo>
                        <a:pt x="296298" y="179915"/>
                        <a:pt x="298917" y="192564"/>
                        <a:pt x="306661" y="197498"/>
                      </a:cubicBezTo>
                      <a:cubicBezTo>
                        <a:pt x="306452" y="197365"/>
                        <a:pt x="312967" y="198356"/>
                        <a:pt x="313110" y="198337"/>
                      </a:cubicBezTo>
                      <a:cubicBezTo>
                        <a:pt x="318339" y="197460"/>
                        <a:pt x="320901" y="196013"/>
                        <a:pt x="326759" y="196393"/>
                      </a:cubicBezTo>
                      <a:cubicBezTo>
                        <a:pt x="336979" y="197051"/>
                        <a:pt x="345523" y="194841"/>
                        <a:pt x="355344" y="193326"/>
                      </a:cubicBezTo>
                      <a:cubicBezTo>
                        <a:pt x="359115" y="192745"/>
                        <a:pt x="365364" y="192107"/>
                        <a:pt x="368107" y="196041"/>
                      </a:cubicBezTo>
                      <a:cubicBezTo>
                        <a:pt x="371536" y="200947"/>
                        <a:pt x="366469" y="203490"/>
                        <a:pt x="364611" y="207004"/>
                      </a:cubicBezTo>
                      <a:cubicBezTo>
                        <a:pt x="360192" y="215396"/>
                        <a:pt x="356477" y="222920"/>
                        <a:pt x="355858" y="232189"/>
                      </a:cubicBezTo>
                      <a:cubicBezTo>
                        <a:pt x="355115" y="243199"/>
                        <a:pt x="353877" y="250429"/>
                        <a:pt x="356448" y="261078"/>
                      </a:cubicBezTo>
                      <a:cubicBezTo>
                        <a:pt x="357649" y="266059"/>
                        <a:pt x="359449" y="269193"/>
                        <a:pt x="362125" y="273108"/>
                      </a:cubicBezTo>
                      <a:cubicBezTo>
                        <a:pt x="363859" y="275641"/>
                        <a:pt x="369431" y="280261"/>
                        <a:pt x="369241" y="283500"/>
                      </a:cubicBezTo>
                      <a:cubicBezTo>
                        <a:pt x="368764" y="291519"/>
                        <a:pt x="351791" y="294063"/>
                        <a:pt x="351429" y="302759"/>
                      </a:cubicBezTo>
                      <a:cubicBezTo>
                        <a:pt x="356582" y="299264"/>
                        <a:pt x="360239" y="304464"/>
                        <a:pt x="363030" y="307484"/>
                      </a:cubicBezTo>
                      <a:cubicBezTo>
                        <a:pt x="364859" y="309465"/>
                        <a:pt x="367859" y="311303"/>
                        <a:pt x="369288" y="313570"/>
                      </a:cubicBezTo>
                      <a:cubicBezTo>
                        <a:pt x="370965" y="316218"/>
                        <a:pt x="370469" y="317123"/>
                        <a:pt x="371469" y="319618"/>
                      </a:cubicBezTo>
                      <a:cubicBezTo>
                        <a:pt x="375308" y="329248"/>
                        <a:pt x="380947" y="341555"/>
                        <a:pt x="381366" y="352232"/>
                      </a:cubicBezTo>
                      <a:cubicBezTo>
                        <a:pt x="369774" y="355489"/>
                        <a:pt x="376613" y="345041"/>
                        <a:pt x="373927" y="337087"/>
                      </a:cubicBezTo>
                      <a:cubicBezTo>
                        <a:pt x="371869" y="331010"/>
                        <a:pt x="367555" y="322447"/>
                        <a:pt x="360839" y="325181"/>
                      </a:cubicBezTo>
                      <a:cubicBezTo>
                        <a:pt x="355382" y="327410"/>
                        <a:pt x="352534" y="338840"/>
                        <a:pt x="345542" y="334715"/>
                      </a:cubicBezTo>
                      <a:cubicBezTo>
                        <a:pt x="343266" y="333372"/>
                        <a:pt x="342971" y="326924"/>
                        <a:pt x="339656" y="328838"/>
                      </a:cubicBezTo>
                      <a:cubicBezTo>
                        <a:pt x="336941" y="330420"/>
                        <a:pt x="339161" y="335106"/>
                        <a:pt x="340647" y="336573"/>
                      </a:cubicBezTo>
                      <a:cubicBezTo>
                        <a:pt x="327702" y="336211"/>
                        <a:pt x="314577" y="337154"/>
                        <a:pt x="301718" y="336144"/>
                      </a:cubicBezTo>
                      <a:cubicBezTo>
                        <a:pt x="298422" y="335887"/>
                        <a:pt x="291193" y="333982"/>
                        <a:pt x="288373" y="336954"/>
                      </a:cubicBezTo>
                      <a:cubicBezTo>
                        <a:pt x="286040" y="339421"/>
                        <a:pt x="287640" y="353394"/>
                        <a:pt x="287583" y="357375"/>
                      </a:cubicBezTo>
                      <a:cubicBezTo>
                        <a:pt x="291155" y="356795"/>
                        <a:pt x="300651" y="355975"/>
                        <a:pt x="303804" y="357413"/>
                      </a:cubicBezTo>
                      <a:cubicBezTo>
                        <a:pt x="306880" y="358814"/>
                        <a:pt x="312062" y="367920"/>
                        <a:pt x="309109" y="370644"/>
                      </a:cubicBezTo>
                      <a:cubicBezTo>
                        <a:pt x="306699" y="372873"/>
                        <a:pt x="299546" y="368329"/>
                        <a:pt x="297117" y="368444"/>
                      </a:cubicBezTo>
                      <a:cubicBezTo>
                        <a:pt x="295498" y="368520"/>
                        <a:pt x="281706" y="371968"/>
                        <a:pt x="281144" y="372568"/>
                      </a:cubicBezTo>
                      <a:cubicBezTo>
                        <a:pt x="279248" y="374597"/>
                        <a:pt x="280639" y="384407"/>
                        <a:pt x="280582" y="387436"/>
                      </a:cubicBezTo>
                      <a:cubicBezTo>
                        <a:pt x="280458" y="393789"/>
                        <a:pt x="280277" y="396009"/>
                        <a:pt x="284916" y="400495"/>
                      </a:cubicBezTo>
                      <a:cubicBezTo>
                        <a:pt x="287221" y="402714"/>
                        <a:pt x="292774" y="404382"/>
                        <a:pt x="294307" y="406810"/>
                      </a:cubicBezTo>
                      <a:cubicBezTo>
                        <a:pt x="296184" y="409801"/>
                        <a:pt x="294250" y="411525"/>
                        <a:pt x="294869" y="414135"/>
                      </a:cubicBezTo>
                      <a:cubicBezTo>
                        <a:pt x="296003" y="418888"/>
                        <a:pt x="299708" y="421631"/>
                        <a:pt x="300851" y="426117"/>
                      </a:cubicBezTo>
                      <a:cubicBezTo>
                        <a:pt x="302918" y="434204"/>
                        <a:pt x="299022" y="445244"/>
                        <a:pt x="297660" y="453711"/>
                      </a:cubicBezTo>
                      <a:cubicBezTo>
                        <a:pt x="295831" y="465094"/>
                        <a:pt x="294069" y="476505"/>
                        <a:pt x="292364" y="487916"/>
                      </a:cubicBezTo>
                      <a:cubicBezTo>
                        <a:pt x="290650" y="499384"/>
                        <a:pt x="290755" y="513357"/>
                        <a:pt x="286811" y="524206"/>
                      </a:cubicBezTo>
                      <a:cubicBezTo>
                        <a:pt x="285411" y="521948"/>
                        <a:pt x="277153" y="511938"/>
                        <a:pt x="274819" y="511157"/>
                      </a:cubicBezTo>
                      <a:cubicBezTo>
                        <a:pt x="272838" y="510499"/>
                        <a:pt x="271705" y="512900"/>
                        <a:pt x="269609" y="512623"/>
                      </a:cubicBezTo>
                      <a:cubicBezTo>
                        <a:pt x="266961" y="512290"/>
                        <a:pt x="264542" y="510747"/>
                        <a:pt x="262008" y="509880"/>
                      </a:cubicBezTo>
                      <a:cubicBezTo>
                        <a:pt x="266532" y="502327"/>
                        <a:pt x="271085" y="494793"/>
                        <a:pt x="275657" y="487277"/>
                      </a:cubicBezTo>
                      <a:cubicBezTo>
                        <a:pt x="280744" y="478905"/>
                        <a:pt x="284392" y="477686"/>
                        <a:pt x="276181" y="472876"/>
                      </a:cubicBezTo>
                      <a:cubicBezTo>
                        <a:pt x="270161" y="469342"/>
                        <a:pt x="263599" y="464703"/>
                        <a:pt x="257131" y="462036"/>
                      </a:cubicBezTo>
                      <a:cubicBezTo>
                        <a:pt x="249769" y="459007"/>
                        <a:pt x="245425" y="465398"/>
                        <a:pt x="238043" y="463027"/>
                      </a:cubicBezTo>
                      <a:cubicBezTo>
                        <a:pt x="235233" y="462122"/>
                        <a:pt x="232814" y="459141"/>
                        <a:pt x="229613" y="459065"/>
                      </a:cubicBezTo>
                      <a:cubicBezTo>
                        <a:pt x="225518" y="458969"/>
                        <a:pt x="224727" y="461979"/>
                        <a:pt x="221184" y="464036"/>
                      </a:cubicBezTo>
                      <a:cubicBezTo>
                        <a:pt x="214012" y="468218"/>
                        <a:pt x="208335" y="465189"/>
                        <a:pt x="201010" y="464846"/>
                      </a:cubicBezTo>
                      <a:cubicBezTo>
                        <a:pt x="195647" y="464598"/>
                        <a:pt x="187580" y="468542"/>
                        <a:pt x="183970" y="461436"/>
                      </a:cubicBezTo>
                      <a:cubicBezTo>
                        <a:pt x="182951" y="459426"/>
                        <a:pt x="184570" y="455445"/>
                        <a:pt x="184046" y="452873"/>
                      </a:cubicBezTo>
                      <a:cubicBezTo>
                        <a:pt x="183427" y="449835"/>
                        <a:pt x="182608" y="448272"/>
                        <a:pt x="180407" y="446606"/>
                      </a:cubicBezTo>
                      <a:cubicBezTo>
                        <a:pt x="177969" y="444767"/>
                        <a:pt x="174473" y="446425"/>
                        <a:pt x="172178" y="442415"/>
                      </a:cubicBezTo>
                      <a:cubicBezTo>
                        <a:pt x="171816" y="441786"/>
                        <a:pt x="172683" y="437871"/>
                        <a:pt x="172187" y="436452"/>
                      </a:cubicBezTo>
                      <a:cubicBezTo>
                        <a:pt x="171883" y="435557"/>
                        <a:pt x="169254" y="431813"/>
                        <a:pt x="168454" y="431175"/>
                      </a:cubicBezTo>
                      <a:cubicBezTo>
                        <a:pt x="163624" y="427327"/>
                        <a:pt x="155738" y="426003"/>
                        <a:pt x="150699" y="421974"/>
                      </a:cubicBezTo>
                      <a:cubicBezTo>
                        <a:pt x="145622" y="417916"/>
                        <a:pt x="146051" y="412373"/>
                        <a:pt x="142145" y="407087"/>
                      </a:cubicBezTo>
                      <a:cubicBezTo>
                        <a:pt x="139269" y="403191"/>
                        <a:pt x="133182" y="399124"/>
                        <a:pt x="129972" y="397152"/>
                      </a:cubicBezTo>
                      <a:cubicBezTo>
                        <a:pt x="128658" y="396342"/>
                        <a:pt x="124400" y="394447"/>
                        <a:pt x="122886" y="393932"/>
                      </a:cubicBezTo>
                      <a:cubicBezTo>
                        <a:pt x="118409" y="392418"/>
                        <a:pt x="118924" y="394161"/>
                        <a:pt x="115380" y="393799"/>
                      </a:cubicBezTo>
                      <a:cubicBezTo>
                        <a:pt x="108170" y="393056"/>
                        <a:pt x="99540" y="386646"/>
                        <a:pt x="94168" y="382464"/>
                      </a:cubicBezTo>
                      <a:cubicBezTo>
                        <a:pt x="91796" y="380626"/>
                        <a:pt x="88396" y="376521"/>
                        <a:pt x="84938" y="376873"/>
                      </a:cubicBezTo>
                      <a:cubicBezTo>
                        <a:pt x="79823" y="377388"/>
                        <a:pt x="82881" y="380359"/>
                        <a:pt x="80462" y="381883"/>
                      </a:cubicBezTo>
                      <a:cubicBezTo>
                        <a:pt x="76909" y="384122"/>
                        <a:pt x="68641" y="383217"/>
                        <a:pt x="64098" y="382083"/>
                      </a:cubicBezTo>
                      <a:cubicBezTo>
                        <a:pt x="61069" y="381340"/>
                        <a:pt x="55763" y="380597"/>
                        <a:pt x="53039" y="379397"/>
                      </a:cubicBezTo>
                      <a:cubicBezTo>
                        <a:pt x="47143" y="376826"/>
                        <a:pt x="50696" y="374902"/>
                        <a:pt x="47162" y="370244"/>
                      </a:cubicBezTo>
                      <a:cubicBezTo>
                        <a:pt x="47334" y="370472"/>
                        <a:pt x="40561" y="365157"/>
                        <a:pt x="40704" y="365243"/>
                      </a:cubicBezTo>
                      <a:cubicBezTo>
                        <a:pt x="37523" y="363538"/>
                        <a:pt x="31656" y="363348"/>
                        <a:pt x="27474" y="361357"/>
                      </a:cubicBezTo>
                      <a:cubicBezTo>
                        <a:pt x="19625" y="357614"/>
                        <a:pt x="10862" y="351756"/>
                        <a:pt x="4985" y="345593"/>
                      </a:cubicBezTo>
                      <a:cubicBezTo>
                        <a:pt x="1976" y="342431"/>
                        <a:pt x="-1339" y="340726"/>
                        <a:pt x="556" y="336639"/>
                      </a:cubicBezTo>
                      <a:cubicBezTo>
                        <a:pt x="3176" y="330972"/>
                        <a:pt x="9005" y="333458"/>
                        <a:pt x="13158" y="334915"/>
                      </a:cubicBezTo>
                      <a:cubicBezTo>
                        <a:pt x="15682" y="329258"/>
                        <a:pt x="9986" y="325143"/>
                        <a:pt x="12253" y="318942"/>
                      </a:cubicBezTo>
                      <a:cubicBezTo>
                        <a:pt x="13853" y="314561"/>
                        <a:pt x="16130" y="313979"/>
                        <a:pt x="19930" y="312922"/>
                      </a:cubicBezTo>
                      <a:cubicBezTo>
                        <a:pt x="22959" y="312075"/>
                        <a:pt x="27112" y="312884"/>
                        <a:pt x="30417" y="311217"/>
                      </a:cubicBezTo>
                      <a:cubicBezTo>
                        <a:pt x="32913" y="309960"/>
                        <a:pt x="35551" y="306503"/>
                        <a:pt x="37047" y="305074"/>
                      </a:cubicBezTo>
                      <a:cubicBezTo>
                        <a:pt x="38533" y="303655"/>
                        <a:pt x="41314" y="300968"/>
                        <a:pt x="42695" y="298825"/>
                      </a:cubicBezTo>
                      <a:cubicBezTo>
                        <a:pt x="43238" y="297997"/>
                        <a:pt x="42343" y="295968"/>
                        <a:pt x="43095" y="294853"/>
                      </a:cubicBezTo>
                      <a:cubicBezTo>
                        <a:pt x="43543" y="294177"/>
                        <a:pt x="46486" y="292825"/>
                        <a:pt x="47381" y="291901"/>
                      </a:cubicBezTo>
                      <a:cubicBezTo>
                        <a:pt x="53744" y="285366"/>
                        <a:pt x="57925" y="276137"/>
                        <a:pt x="62659" y="267517"/>
                      </a:cubicBezTo>
                      <a:cubicBezTo>
                        <a:pt x="57211" y="271441"/>
                        <a:pt x="57487" y="266526"/>
                        <a:pt x="56544" y="262944"/>
                      </a:cubicBezTo>
                      <a:cubicBezTo>
                        <a:pt x="55954" y="264269"/>
                        <a:pt x="54554" y="265250"/>
                        <a:pt x="53849" y="266526"/>
                      </a:cubicBezTo>
                      <a:cubicBezTo>
                        <a:pt x="51344" y="263526"/>
                        <a:pt x="51763" y="260316"/>
                        <a:pt x="52725" y="256982"/>
                      </a:cubicBezTo>
                      <a:cubicBezTo>
                        <a:pt x="51591" y="257420"/>
                        <a:pt x="50229" y="257534"/>
                        <a:pt x="49143" y="258087"/>
                      </a:cubicBezTo>
                      <a:cubicBezTo>
                        <a:pt x="52896" y="251677"/>
                        <a:pt x="57211" y="248867"/>
                        <a:pt x="56840" y="240075"/>
                      </a:cubicBezTo>
                      <a:cubicBezTo>
                        <a:pt x="56544" y="233065"/>
                        <a:pt x="57478" y="220930"/>
                        <a:pt x="51115" y="216367"/>
                      </a:cubicBezTo>
                      <a:cubicBezTo>
                        <a:pt x="55182" y="213796"/>
                        <a:pt x="59935" y="211929"/>
                        <a:pt x="60011" y="207166"/>
                      </a:cubicBezTo>
                      <a:cubicBezTo>
                        <a:pt x="60097" y="201728"/>
                        <a:pt x="53515" y="198432"/>
                        <a:pt x="54687" y="192793"/>
                      </a:cubicBezTo>
                      <a:cubicBezTo>
                        <a:pt x="57916" y="193669"/>
                        <a:pt x="59049" y="189050"/>
                        <a:pt x="58764" y="185887"/>
                      </a:cubicBezTo>
                      <a:cubicBezTo>
                        <a:pt x="58316" y="180906"/>
                        <a:pt x="54763" y="179029"/>
                        <a:pt x="51982" y="175419"/>
                      </a:cubicBezTo>
                      <a:cubicBezTo>
                        <a:pt x="49991" y="172829"/>
                        <a:pt x="46924" y="168390"/>
                        <a:pt x="45705" y="165218"/>
                      </a:cubicBezTo>
                      <a:cubicBezTo>
                        <a:pt x="43524" y="159522"/>
                        <a:pt x="47077" y="159627"/>
                        <a:pt x="48791" y="154626"/>
                      </a:cubicBezTo>
                      <a:cubicBezTo>
                        <a:pt x="49324" y="153083"/>
                        <a:pt x="48067" y="148073"/>
                        <a:pt x="50258" y="147883"/>
                      </a:cubicBezTo>
                      <a:cubicBezTo>
                        <a:pt x="52391" y="147692"/>
                        <a:pt x="52753" y="152607"/>
                        <a:pt x="55944" y="152445"/>
                      </a:cubicBezTo>
                      <a:cubicBezTo>
                        <a:pt x="61726" y="152159"/>
                        <a:pt x="60707" y="146540"/>
                        <a:pt x="62764" y="143930"/>
                      </a:cubicBezTo>
                      <a:cubicBezTo>
                        <a:pt x="66393" y="139329"/>
                        <a:pt x="68108" y="141758"/>
                        <a:pt x="66622" y="135291"/>
                      </a:cubicBezTo>
                      <a:cubicBezTo>
                        <a:pt x="65860" y="131995"/>
                        <a:pt x="60926" y="126699"/>
                        <a:pt x="61069" y="123632"/>
                      </a:cubicBezTo>
                      <a:cubicBezTo>
                        <a:pt x="61440" y="116050"/>
                        <a:pt x="64079" y="119832"/>
                        <a:pt x="66822" y="122051"/>
                      </a:cubicBezTo>
                      <a:cubicBezTo>
                        <a:pt x="70013" y="124642"/>
                        <a:pt x="73013" y="128271"/>
                        <a:pt x="75432" y="131738"/>
                      </a:cubicBezTo>
                      <a:cubicBezTo>
                        <a:pt x="75394" y="131681"/>
                        <a:pt x="78214" y="135376"/>
                        <a:pt x="78137" y="135043"/>
                      </a:cubicBezTo>
                      <a:cubicBezTo>
                        <a:pt x="78109" y="134938"/>
                        <a:pt x="77718" y="139129"/>
                        <a:pt x="76918" y="137719"/>
                      </a:cubicBezTo>
                      <a:cubicBezTo>
                        <a:pt x="77880" y="139415"/>
                        <a:pt x="77052" y="144015"/>
                        <a:pt x="81366" y="139815"/>
                      </a:cubicBezTo>
                      <a:cubicBezTo>
                        <a:pt x="83891" y="137348"/>
                        <a:pt x="82290" y="128699"/>
                        <a:pt x="81395" y="125404"/>
                      </a:cubicBezTo>
                      <a:cubicBezTo>
                        <a:pt x="79814" y="119631"/>
                        <a:pt x="77366" y="122594"/>
                        <a:pt x="82195" y="118603"/>
                      </a:cubicBezTo>
                      <a:cubicBezTo>
                        <a:pt x="86424" y="115107"/>
                        <a:pt x="92473" y="113250"/>
                        <a:pt x="96826" y="109611"/>
                      </a:cubicBezTo>
                      <a:cubicBezTo>
                        <a:pt x="100807" y="106277"/>
                        <a:pt x="102417" y="101610"/>
                        <a:pt x="106131" y="98086"/>
                      </a:cubicBezTo>
                      <a:cubicBezTo>
                        <a:pt x="108313" y="96019"/>
                        <a:pt x="110665" y="94533"/>
                        <a:pt x="113485" y="93771"/>
                      </a:cubicBezTo>
                      <a:cubicBezTo>
                        <a:pt x="115695" y="93171"/>
                        <a:pt x="119209" y="95181"/>
                        <a:pt x="121305" y="93085"/>
                      </a:cubicBezTo>
                      <a:cubicBezTo>
                        <a:pt x="123581" y="90818"/>
                        <a:pt x="122057" y="83960"/>
                        <a:pt x="122695" y="80989"/>
                      </a:cubicBezTo>
                      <a:cubicBezTo>
                        <a:pt x="123591" y="76855"/>
                        <a:pt x="125391" y="71492"/>
                        <a:pt x="126610" y="68330"/>
                      </a:cubicBezTo>
                      <a:cubicBezTo>
                        <a:pt x="124991" y="69616"/>
                        <a:pt x="123334" y="70292"/>
                        <a:pt x="121581" y="71263"/>
                      </a:cubicBezTo>
                      <a:cubicBezTo>
                        <a:pt x="128077" y="63253"/>
                        <a:pt x="132420" y="56204"/>
                        <a:pt x="140498" y="49737"/>
                      </a:cubicBezTo>
                      <a:cubicBezTo>
                        <a:pt x="143469" y="47356"/>
                        <a:pt x="148508" y="41422"/>
                        <a:pt x="152251" y="40822"/>
                      </a:cubicBezTo>
                      <a:cubicBezTo>
                        <a:pt x="157128" y="40031"/>
                        <a:pt x="162348" y="45241"/>
                        <a:pt x="167853" y="44384"/>
                      </a:cubicBezTo>
                      <a:cubicBezTo>
                        <a:pt x="163748" y="45460"/>
                        <a:pt x="159005" y="52775"/>
                        <a:pt x="165206" y="51299"/>
                      </a:cubicBezTo>
                      <a:cubicBezTo>
                        <a:pt x="169863" y="50185"/>
                        <a:pt x="170778" y="38040"/>
                        <a:pt x="173483" y="35478"/>
                      </a:cubicBezTo>
                      <a:cubicBezTo>
                        <a:pt x="177569" y="31601"/>
                        <a:pt x="184322" y="35507"/>
                        <a:pt x="189332" y="35726"/>
                      </a:cubicBezTo>
                      <a:cubicBezTo>
                        <a:pt x="196581" y="36059"/>
                        <a:pt x="200839" y="34916"/>
                        <a:pt x="206639" y="31135"/>
                      </a:cubicBezTo>
                      <a:cubicBezTo>
                        <a:pt x="212878" y="27077"/>
                        <a:pt x="218517" y="23134"/>
                        <a:pt x="225346" y="20429"/>
                      </a:cubicBezTo>
                      <a:cubicBezTo>
                        <a:pt x="232576" y="17571"/>
                        <a:pt x="235062" y="15676"/>
                        <a:pt x="240034" y="9827"/>
                      </a:cubicBezTo>
                      <a:cubicBezTo>
                        <a:pt x="246997" y="1541"/>
                        <a:pt x="257484" y="-2946"/>
                        <a:pt x="268885" y="2169"/>
                      </a:cubicBezTo>
                      <a:lnTo>
                        <a:pt x="268885" y="2169"/>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71" name="Freeform: Shape 670">
                  <a:extLst>
                    <a:ext uri="{FF2B5EF4-FFF2-40B4-BE49-F238E27FC236}">
                      <a16:creationId xmlns:a16="http://schemas.microsoft.com/office/drawing/2014/main" id="{3900753E-1E57-43F1-B99D-6644E514AC5A}"/>
                    </a:ext>
                  </a:extLst>
                </p:cNvPr>
                <p:cNvSpPr/>
                <p:nvPr/>
              </p:nvSpPr>
              <p:spPr>
                <a:xfrm>
                  <a:off x="5944907" y="4249558"/>
                  <a:ext cx="234773" cy="272985"/>
                </a:xfrm>
                <a:custGeom>
                  <a:avLst/>
                  <a:gdLst>
                    <a:gd name="connsiteX0" fmla="*/ 234359 w 234773"/>
                    <a:gd name="connsiteY0" fmla="*/ 5771 h 272985"/>
                    <a:gd name="connsiteX1" fmla="*/ 220700 w 234773"/>
                    <a:gd name="connsiteY1" fmla="*/ 43328 h 272985"/>
                    <a:gd name="connsiteX2" fmla="*/ 217557 w 234773"/>
                    <a:gd name="connsiteY2" fmla="*/ 65036 h 272985"/>
                    <a:gd name="connsiteX3" fmla="*/ 212223 w 234773"/>
                    <a:gd name="connsiteY3" fmla="*/ 85429 h 272985"/>
                    <a:gd name="connsiteX4" fmla="*/ 212195 w 234773"/>
                    <a:gd name="connsiteY4" fmla="*/ 107594 h 272985"/>
                    <a:gd name="connsiteX5" fmla="*/ 207299 w 234773"/>
                    <a:gd name="connsiteY5" fmla="*/ 127091 h 272985"/>
                    <a:gd name="connsiteX6" fmla="*/ 203746 w 234773"/>
                    <a:gd name="connsiteY6" fmla="*/ 137035 h 272985"/>
                    <a:gd name="connsiteX7" fmla="*/ 195364 w 234773"/>
                    <a:gd name="connsiteY7" fmla="*/ 144741 h 272985"/>
                    <a:gd name="connsiteX8" fmla="*/ 179810 w 234773"/>
                    <a:gd name="connsiteY8" fmla="*/ 154714 h 272985"/>
                    <a:gd name="connsiteX9" fmla="*/ 169913 w 234773"/>
                    <a:gd name="connsiteY9" fmla="*/ 172707 h 272985"/>
                    <a:gd name="connsiteX10" fmla="*/ 158645 w 234773"/>
                    <a:gd name="connsiteY10" fmla="*/ 190023 h 272985"/>
                    <a:gd name="connsiteX11" fmla="*/ 152073 w 234773"/>
                    <a:gd name="connsiteY11" fmla="*/ 233438 h 272985"/>
                    <a:gd name="connsiteX12" fmla="*/ 136756 w 234773"/>
                    <a:gd name="connsiteY12" fmla="*/ 244754 h 272985"/>
                    <a:gd name="connsiteX13" fmla="*/ 122193 w 234773"/>
                    <a:gd name="connsiteY13" fmla="*/ 257860 h 272985"/>
                    <a:gd name="connsiteX14" fmla="*/ 107000 w 234773"/>
                    <a:gd name="connsiteY14" fmla="*/ 268528 h 272985"/>
                    <a:gd name="connsiteX15" fmla="*/ 100476 w 234773"/>
                    <a:gd name="connsiteY15" fmla="*/ 259793 h 272985"/>
                    <a:gd name="connsiteX16" fmla="*/ 102028 w 234773"/>
                    <a:gd name="connsiteY16" fmla="*/ 253421 h 272985"/>
                    <a:gd name="connsiteX17" fmla="*/ 94656 w 234773"/>
                    <a:gd name="connsiteY17" fmla="*/ 253260 h 272985"/>
                    <a:gd name="connsiteX18" fmla="*/ 86712 w 234773"/>
                    <a:gd name="connsiteY18" fmla="*/ 256622 h 272985"/>
                    <a:gd name="connsiteX19" fmla="*/ 80759 w 234773"/>
                    <a:gd name="connsiteY19" fmla="*/ 255298 h 272985"/>
                    <a:gd name="connsiteX20" fmla="*/ 70958 w 234773"/>
                    <a:gd name="connsiteY20" fmla="*/ 267499 h 272985"/>
                    <a:gd name="connsiteX21" fmla="*/ 59785 w 234773"/>
                    <a:gd name="connsiteY21" fmla="*/ 261346 h 272985"/>
                    <a:gd name="connsiteX22" fmla="*/ 41840 w 234773"/>
                    <a:gd name="connsiteY22" fmla="*/ 259851 h 272985"/>
                    <a:gd name="connsiteX23" fmla="*/ 26524 w 234773"/>
                    <a:gd name="connsiteY23" fmla="*/ 272986 h 272985"/>
                    <a:gd name="connsiteX24" fmla="*/ 19466 w 234773"/>
                    <a:gd name="connsiteY24" fmla="*/ 263108 h 272985"/>
                    <a:gd name="connsiteX25" fmla="*/ 8807 w 234773"/>
                    <a:gd name="connsiteY25" fmla="*/ 249125 h 272985"/>
                    <a:gd name="connsiteX26" fmla="*/ 282 w 234773"/>
                    <a:gd name="connsiteY26" fmla="*/ 235114 h 272985"/>
                    <a:gd name="connsiteX27" fmla="*/ 11731 w 234773"/>
                    <a:gd name="connsiteY27" fmla="*/ 226380 h 272985"/>
                    <a:gd name="connsiteX28" fmla="*/ 22504 w 234773"/>
                    <a:gd name="connsiteY28" fmla="*/ 230828 h 272985"/>
                    <a:gd name="connsiteX29" fmla="*/ 24114 w 234773"/>
                    <a:gd name="connsiteY29" fmla="*/ 220912 h 272985"/>
                    <a:gd name="connsiteX30" fmla="*/ 16751 w 234773"/>
                    <a:gd name="connsiteY30" fmla="*/ 213340 h 272985"/>
                    <a:gd name="connsiteX31" fmla="*/ 17722 w 234773"/>
                    <a:gd name="connsiteY31" fmla="*/ 208216 h 272985"/>
                    <a:gd name="connsiteX32" fmla="*/ 11903 w 234773"/>
                    <a:gd name="connsiteY32" fmla="*/ 204701 h 272985"/>
                    <a:gd name="connsiteX33" fmla="*/ 13255 w 234773"/>
                    <a:gd name="connsiteY33" fmla="*/ 189756 h 272985"/>
                    <a:gd name="connsiteX34" fmla="*/ 25724 w 234773"/>
                    <a:gd name="connsiteY34" fmla="*/ 189785 h 272985"/>
                    <a:gd name="connsiteX35" fmla="*/ 40668 w 234773"/>
                    <a:gd name="connsiteY35" fmla="*/ 187432 h 272985"/>
                    <a:gd name="connsiteX36" fmla="*/ 40221 w 234773"/>
                    <a:gd name="connsiteY36" fmla="*/ 176135 h 272985"/>
                    <a:gd name="connsiteX37" fmla="*/ 52203 w 234773"/>
                    <a:gd name="connsiteY37" fmla="*/ 177278 h 272985"/>
                    <a:gd name="connsiteX38" fmla="*/ 63014 w 234773"/>
                    <a:gd name="connsiteY38" fmla="*/ 189985 h 272985"/>
                    <a:gd name="connsiteX39" fmla="*/ 79473 w 234773"/>
                    <a:gd name="connsiteY39" fmla="*/ 185013 h 272985"/>
                    <a:gd name="connsiteX40" fmla="*/ 83274 w 234773"/>
                    <a:gd name="connsiteY40" fmla="*/ 184508 h 272985"/>
                    <a:gd name="connsiteX41" fmla="*/ 86007 w 234773"/>
                    <a:gd name="connsiteY41" fmla="*/ 190128 h 272985"/>
                    <a:gd name="connsiteX42" fmla="*/ 89303 w 234773"/>
                    <a:gd name="connsiteY42" fmla="*/ 193757 h 272985"/>
                    <a:gd name="connsiteX43" fmla="*/ 95742 w 234773"/>
                    <a:gd name="connsiteY43" fmla="*/ 189499 h 272985"/>
                    <a:gd name="connsiteX44" fmla="*/ 94685 w 234773"/>
                    <a:gd name="connsiteY44" fmla="*/ 185203 h 272985"/>
                    <a:gd name="connsiteX45" fmla="*/ 98028 w 234773"/>
                    <a:gd name="connsiteY45" fmla="*/ 177631 h 272985"/>
                    <a:gd name="connsiteX46" fmla="*/ 101619 w 234773"/>
                    <a:gd name="connsiteY46" fmla="*/ 174888 h 272985"/>
                    <a:gd name="connsiteX47" fmla="*/ 102324 w 234773"/>
                    <a:gd name="connsiteY47" fmla="*/ 167201 h 272985"/>
                    <a:gd name="connsiteX48" fmla="*/ 103000 w 234773"/>
                    <a:gd name="connsiteY48" fmla="*/ 150132 h 272985"/>
                    <a:gd name="connsiteX49" fmla="*/ 104791 w 234773"/>
                    <a:gd name="connsiteY49" fmla="*/ 134769 h 272985"/>
                    <a:gd name="connsiteX50" fmla="*/ 101181 w 234773"/>
                    <a:gd name="connsiteY50" fmla="*/ 130206 h 272985"/>
                    <a:gd name="connsiteX51" fmla="*/ 96171 w 234773"/>
                    <a:gd name="connsiteY51" fmla="*/ 128787 h 272985"/>
                    <a:gd name="connsiteX52" fmla="*/ 92932 w 234773"/>
                    <a:gd name="connsiteY52" fmla="*/ 124605 h 272985"/>
                    <a:gd name="connsiteX53" fmla="*/ 85893 w 234773"/>
                    <a:gd name="connsiteY53" fmla="*/ 116890 h 272985"/>
                    <a:gd name="connsiteX54" fmla="*/ 91160 w 234773"/>
                    <a:gd name="connsiteY54" fmla="*/ 100478 h 272985"/>
                    <a:gd name="connsiteX55" fmla="*/ 101981 w 234773"/>
                    <a:gd name="connsiteY55" fmla="*/ 91573 h 272985"/>
                    <a:gd name="connsiteX56" fmla="*/ 98904 w 234773"/>
                    <a:gd name="connsiteY56" fmla="*/ 79066 h 272985"/>
                    <a:gd name="connsiteX57" fmla="*/ 81950 w 234773"/>
                    <a:gd name="connsiteY57" fmla="*/ 71542 h 272985"/>
                    <a:gd name="connsiteX58" fmla="*/ 64148 w 234773"/>
                    <a:gd name="connsiteY58" fmla="*/ 75075 h 272985"/>
                    <a:gd name="connsiteX59" fmla="*/ 63605 w 234773"/>
                    <a:gd name="connsiteY59" fmla="*/ 65236 h 272985"/>
                    <a:gd name="connsiteX60" fmla="*/ 66776 w 234773"/>
                    <a:gd name="connsiteY60" fmla="*/ 50329 h 272985"/>
                    <a:gd name="connsiteX61" fmla="*/ 68091 w 234773"/>
                    <a:gd name="connsiteY61" fmla="*/ 47291 h 272985"/>
                    <a:gd name="connsiteX62" fmla="*/ 75644 w 234773"/>
                    <a:gd name="connsiteY62" fmla="*/ 47358 h 272985"/>
                    <a:gd name="connsiteX63" fmla="*/ 91465 w 234773"/>
                    <a:gd name="connsiteY63" fmla="*/ 47358 h 272985"/>
                    <a:gd name="connsiteX64" fmla="*/ 106296 w 234773"/>
                    <a:gd name="connsiteY64" fmla="*/ 46786 h 272985"/>
                    <a:gd name="connsiteX65" fmla="*/ 117125 w 234773"/>
                    <a:gd name="connsiteY65" fmla="*/ 49834 h 272985"/>
                    <a:gd name="connsiteX66" fmla="*/ 121288 w 234773"/>
                    <a:gd name="connsiteY66" fmla="*/ 51939 h 272985"/>
                    <a:gd name="connsiteX67" fmla="*/ 125155 w 234773"/>
                    <a:gd name="connsiteY67" fmla="*/ 51777 h 272985"/>
                    <a:gd name="connsiteX68" fmla="*/ 135128 w 234773"/>
                    <a:gd name="connsiteY68" fmla="*/ 53758 h 272985"/>
                    <a:gd name="connsiteX69" fmla="*/ 148187 w 234773"/>
                    <a:gd name="connsiteY69" fmla="*/ 57654 h 272985"/>
                    <a:gd name="connsiteX70" fmla="*/ 156368 w 234773"/>
                    <a:gd name="connsiteY70" fmla="*/ 61378 h 272985"/>
                    <a:gd name="connsiteX71" fmla="*/ 154911 w 234773"/>
                    <a:gd name="connsiteY71" fmla="*/ 50358 h 272985"/>
                    <a:gd name="connsiteX72" fmla="*/ 160169 w 234773"/>
                    <a:gd name="connsiteY72" fmla="*/ 40109 h 272985"/>
                    <a:gd name="connsiteX73" fmla="*/ 166627 w 234773"/>
                    <a:gd name="connsiteY73" fmla="*/ 27231 h 272985"/>
                    <a:gd name="connsiteX74" fmla="*/ 167637 w 234773"/>
                    <a:gd name="connsiteY74" fmla="*/ 14982 h 272985"/>
                    <a:gd name="connsiteX75" fmla="*/ 187277 w 234773"/>
                    <a:gd name="connsiteY75" fmla="*/ 2676 h 272985"/>
                    <a:gd name="connsiteX76" fmla="*/ 200603 w 234773"/>
                    <a:gd name="connsiteY76" fmla="*/ 28 h 272985"/>
                    <a:gd name="connsiteX77" fmla="*/ 214538 w 234773"/>
                    <a:gd name="connsiteY77" fmla="*/ 3504 h 272985"/>
                    <a:gd name="connsiteX78" fmla="*/ 222643 w 234773"/>
                    <a:gd name="connsiteY78" fmla="*/ 3781 h 272985"/>
                    <a:gd name="connsiteX79" fmla="*/ 234359 w 234773"/>
                    <a:gd name="connsiteY79" fmla="*/ 5771 h 272985"/>
                    <a:gd name="connsiteX80" fmla="*/ 234359 w 234773"/>
                    <a:gd name="connsiteY80" fmla="*/ 5771 h 272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234773" h="272985">
                      <a:moveTo>
                        <a:pt x="234359" y="5771"/>
                      </a:moveTo>
                      <a:cubicBezTo>
                        <a:pt x="237169" y="18449"/>
                        <a:pt x="224920" y="32165"/>
                        <a:pt x="220700" y="43328"/>
                      </a:cubicBezTo>
                      <a:cubicBezTo>
                        <a:pt x="217757" y="51120"/>
                        <a:pt x="218910" y="57140"/>
                        <a:pt x="217557" y="65036"/>
                      </a:cubicBezTo>
                      <a:cubicBezTo>
                        <a:pt x="216348" y="72075"/>
                        <a:pt x="212528" y="78095"/>
                        <a:pt x="212223" y="85429"/>
                      </a:cubicBezTo>
                      <a:cubicBezTo>
                        <a:pt x="211918" y="92973"/>
                        <a:pt x="214109" y="100012"/>
                        <a:pt x="212195" y="107594"/>
                      </a:cubicBezTo>
                      <a:cubicBezTo>
                        <a:pt x="210404" y="114699"/>
                        <a:pt x="207832" y="119757"/>
                        <a:pt x="207299" y="127091"/>
                      </a:cubicBezTo>
                      <a:cubicBezTo>
                        <a:pt x="206880" y="132901"/>
                        <a:pt x="207870" y="132444"/>
                        <a:pt x="203746" y="137035"/>
                      </a:cubicBezTo>
                      <a:cubicBezTo>
                        <a:pt x="201260" y="139807"/>
                        <a:pt x="198412" y="142598"/>
                        <a:pt x="195364" y="144741"/>
                      </a:cubicBezTo>
                      <a:cubicBezTo>
                        <a:pt x="190230" y="148332"/>
                        <a:pt x="184048" y="149742"/>
                        <a:pt x="179810" y="154714"/>
                      </a:cubicBezTo>
                      <a:cubicBezTo>
                        <a:pt x="175342" y="159943"/>
                        <a:pt x="173837" y="167125"/>
                        <a:pt x="169913" y="172707"/>
                      </a:cubicBezTo>
                      <a:cubicBezTo>
                        <a:pt x="165179" y="179450"/>
                        <a:pt x="159216" y="181374"/>
                        <a:pt x="158645" y="190023"/>
                      </a:cubicBezTo>
                      <a:cubicBezTo>
                        <a:pt x="157607" y="205749"/>
                        <a:pt x="160769" y="219179"/>
                        <a:pt x="152073" y="233438"/>
                      </a:cubicBezTo>
                      <a:cubicBezTo>
                        <a:pt x="147796" y="240458"/>
                        <a:pt x="142633" y="240125"/>
                        <a:pt x="136756" y="244754"/>
                      </a:cubicBezTo>
                      <a:cubicBezTo>
                        <a:pt x="131946" y="248526"/>
                        <a:pt x="126393" y="253059"/>
                        <a:pt x="122193" y="257860"/>
                      </a:cubicBezTo>
                      <a:cubicBezTo>
                        <a:pt x="117421" y="263327"/>
                        <a:pt x="114725" y="269538"/>
                        <a:pt x="107000" y="268528"/>
                      </a:cubicBezTo>
                      <a:cubicBezTo>
                        <a:pt x="102028" y="267880"/>
                        <a:pt x="100028" y="266233"/>
                        <a:pt x="100476" y="259793"/>
                      </a:cubicBezTo>
                      <a:cubicBezTo>
                        <a:pt x="100704" y="256422"/>
                        <a:pt x="103819" y="256812"/>
                        <a:pt x="102028" y="253421"/>
                      </a:cubicBezTo>
                      <a:cubicBezTo>
                        <a:pt x="99657" y="248935"/>
                        <a:pt x="98333" y="252031"/>
                        <a:pt x="94656" y="253260"/>
                      </a:cubicBezTo>
                      <a:cubicBezTo>
                        <a:pt x="92399" y="254012"/>
                        <a:pt x="88970" y="256422"/>
                        <a:pt x="86712" y="256622"/>
                      </a:cubicBezTo>
                      <a:cubicBezTo>
                        <a:pt x="84817" y="256784"/>
                        <a:pt x="82645" y="254107"/>
                        <a:pt x="80759" y="255298"/>
                      </a:cubicBezTo>
                      <a:cubicBezTo>
                        <a:pt x="76863" y="257784"/>
                        <a:pt x="80292" y="267814"/>
                        <a:pt x="70958" y="267499"/>
                      </a:cubicBezTo>
                      <a:cubicBezTo>
                        <a:pt x="66624" y="267347"/>
                        <a:pt x="62881" y="258841"/>
                        <a:pt x="59785" y="261346"/>
                      </a:cubicBezTo>
                      <a:cubicBezTo>
                        <a:pt x="51527" y="255593"/>
                        <a:pt x="51774" y="253393"/>
                        <a:pt x="41840" y="259851"/>
                      </a:cubicBezTo>
                      <a:cubicBezTo>
                        <a:pt x="36049" y="263623"/>
                        <a:pt x="32524" y="268090"/>
                        <a:pt x="26524" y="272986"/>
                      </a:cubicBezTo>
                      <a:cubicBezTo>
                        <a:pt x="23581" y="270166"/>
                        <a:pt x="21190" y="266823"/>
                        <a:pt x="19466" y="263108"/>
                      </a:cubicBezTo>
                      <a:cubicBezTo>
                        <a:pt x="16494" y="256746"/>
                        <a:pt x="14217" y="254593"/>
                        <a:pt x="8807" y="249125"/>
                      </a:cubicBezTo>
                      <a:cubicBezTo>
                        <a:pt x="4702" y="244982"/>
                        <a:pt x="-1385" y="240610"/>
                        <a:pt x="282" y="235114"/>
                      </a:cubicBezTo>
                      <a:cubicBezTo>
                        <a:pt x="1349" y="231609"/>
                        <a:pt x="7940" y="225408"/>
                        <a:pt x="11731" y="226380"/>
                      </a:cubicBezTo>
                      <a:cubicBezTo>
                        <a:pt x="14694" y="227132"/>
                        <a:pt x="18132" y="235524"/>
                        <a:pt x="22504" y="230828"/>
                      </a:cubicBezTo>
                      <a:cubicBezTo>
                        <a:pt x="20714" y="232742"/>
                        <a:pt x="23904" y="219569"/>
                        <a:pt x="24114" y="220912"/>
                      </a:cubicBezTo>
                      <a:cubicBezTo>
                        <a:pt x="23619" y="217665"/>
                        <a:pt x="17932" y="216960"/>
                        <a:pt x="16751" y="213340"/>
                      </a:cubicBezTo>
                      <a:cubicBezTo>
                        <a:pt x="15922" y="210816"/>
                        <a:pt x="19161" y="211349"/>
                        <a:pt x="17722" y="208216"/>
                      </a:cubicBezTo>
                      <a:cubicBezTo>
                        <a:pt x="16694" y="205977"/>
                        <a:pt x="14313" y="204663"/>
                        <a:pt x="11903" y="204701"/>
                      </a:cubicBezTo>
                      <a:cubicBezTo>
                        <a:pt x="13008" y="201510"/>
                        <a:pt x="12055" y="191394"/>
                        <a:pt x="13255" y="189756"/>
                      </a:cubicBezTo>
                      <a:cubicBezTo>
                        <a:pt x="13579" y="189318"/>
                        <a:pt x="24247" y="189775"/>
                        <a:pt x="25724" y="189785"/>
                      </a:cubicBezTo>
                      <a:cubicBezTo>
                        <a:pt x="29981" y="189813"/>
                        <a:pt x="37801" y="192261"/>
                        <a:pt x="40668" y="187432"/>
                      </a:cubicBezTo>
                      <a:cubicBezTo>
                        <a:pt x="43183" y="183232"/>
                        <a:pt x="38592" y="179622"/>
                        <a:pt x="40221" y="176135"/>
                      </a:cubicBezTo>
                      <a:cubicBezTo>
                        <a:pt x="42992" y="170202"/>
                        <a:pt x="49612" y="174097"/>
                        <a:pt x="52203" y="177278"/>
                      </a:cubicBezTo>
                      <a:cubicBezTo>
                        <a:pt x="56689" y="182765"/>
                        <a:pt x="55251" y="187584"/>
                        <a:pt x="63014" y="189985"/>
                      </a:cubicBezTo>
                      <a:cubicBezTo>
                        <a:pt x="72377" y="192880"/>
                        <a:pt x="72367" y="187470"/>
                        <a:pt x="79473" y="185013"/>
                      </a:cubicBezTo>
                      <a:cubicBezTo>
                        <a:pt x="82588" y="183927"/>
                        <a:pt x="79902" y="182194"/>
                        <a:pt x="83274" y="184508"/>
                      </a:cubicBezTo>
                      <a:cubicBezTo>
                        <a:pt x="84445" y="185308"/>
                        <a:pt x="85198" y="188937"/>
                        <a:pt x="86007" y="190128"/>
                      </a:cubicBezTo>
                      <a:cubicBezTo>
                        <a:pt x="87160" y="191833"/>
                        <a:pt x="83883" y="193566"/>
                        <a:pt x="89303" y="193757"/>
                      </a:cubicBezTo>
                      <a:cubicBezTo>
                        <a:pt x="91560" y="193833"/>
                        <a:pt x="94694" y="191423"/>
                        <a:pt x="95742" y="189499"/>
                      </a:cubicBezTo>
                      <a:cubicBezTo>
                        <a:pt x="96732" y="187689"/>
                        <a:pt x="94104" y="187080"/>
                        <a:pt x="94685" y="185203"/>
                      </a:cubicBezTo>
                      <a:cubicBezTo>
                        <a:pt x="95285" y="183193"/>
                        <a:pt x="96961" y="179650"/>
                        <a:pt x="98028" y="177631"/>
                      </a:cubicBezTo>
                      <a:cubicBezTo>
                        <a:pt x="98809" y="176155"/>
                        <a:pt x="100885" y="176431"/>
                        <a:pt x="101619" y="174888"/>
                      </a:cubicBezTo>
                      <a:cubicBezTo>
                        <a:pt x="102952" y="172078"/>
                        <a:pt x="101962" y="169716"/>
                        <a:pt x="102324" y="167201"/>
                      </a:cubicBezTo>
                      <a:cubicBezTo>
                        <a:pt x="103162" y="161305"/>
                        <a:pt x="103257" y="156447"/>
                        <a:pt x="103000" y="150132"/>
                      </a:cubicBezTo>
                      <a:cubicBezTo>
                        <a:pt x="102819" y="145713"/>
                        <a:pt x="105800" y="138721"/>
                        <a:pt x="104791" y="134769"/>
                      </a:cubicBezTo>
                      <a:cubicBezTo>
                        <a:pt x="104219" y="132559"/>
                        <a:pt x="102971" y="131654"/>
                        <a:pt x="101181" y="130206"/>
                      </a:cubicBezTo>
                      <a:cubicBezTo>
                        <a:pt x="99809" y="129101"/>
                        <a:pt x="97542" y="129796"/>
                        <a:pt x="96171" y="128787"/>
                      </a:cubicBezTo>
                      <a:cubicBezTo>
                        <a:pt x="94856" y="127815"/>
                        <a:pt x="94237" y="125339"/>
                        <a:pt x="92932" y="124605"/>
                      </a:cubicBezTo>
                      <a:cubicBezTo>
                        <a:pt x="86664" y="121071"/>
                        <a:pt x="86103" y="124672"/>
                        <a:pt x="85893" y="116890"/>
                      </a:cubicBezTo>
                      <a:cubicBezTo>
                        <a:pt x="85722" y="111013"/>
                        <a:pt x="86322" y="104498"/>
                        <a:pt x="91160" y="100478"/>
                      </a:cubicBezTo>
                      <a:cubicBezTo>
                        <a:pt x="95104" y="97211"/>
                        <a:pt x="99723" y="97707"/>
                        <a:pt x="101981" y="91573"/>
                      </a:cubicBezTo>
                      <a:cubicBezTo>
                        <a:pt x="103943" y="86219"/>
                        <a:pt x="101428" y="84038"/>
                        <a:pt x="98904" y="79066"/>
                      </a:cubicBezTo>
                      <a:cubicBezTo>
                        <a:pt x="94999" y="71351"/>
                        <a:pt x="91379" y="69636"/>
                        <a:pt x="81950" y="71542"/>
                      </a:cubicBezTo>
                      <a:cubicBezTo>
                        <a:pt x="77044" y="72532"/>
                        <a:pt x="68500" y="78371"/>
                        <a:pt x="64148" y="75075"/>
                      </a:cubicBezTo>
                      <a:cubicBezTo>
                        <a:pt x="67748" y="72370"/>
                        <a:pt x="64109" y="68722"/>
                        <a:pt x="63605" y="65236"/>
                      </a:cubicBezTo>
                      <a:cubicBezTo>
                        <a:pt x="62957" y="60693"/>
                        <a:pt x="63757" y="54101"/>
                        <a:pt x="66776" y="50329"/>
                      </a:cubicBezTo>
                      <a:cubicBezTo>
                        <a:pt x="67805" y="49044"/>
                        <a:pt x="66795" y="48005"/>
                        <a:pt x="68091" y="47291"/>
                      </a:cubicBezTo>
                      <a:cubicBezTo>
                        <a:pt x="69577" y="46472"/>
                        <a:pt x="73730" y="47338"/>
                        <a:pt x="75644" y="47358"/>
                      </a:cubicBezTo>
                      <a:cubicBezTo>
                        <a:pt x="80921" y="47396"/>
                        <a:pt x="86188" y="47386"/>
                        <a:pt x="91465" y="47358"/>
                      </a:cubicBezTo>
                      <a:cubicBezTo>
                        <a:pt x="95999" y="47329"/>
                        <a:pt x="102114" y="46319"/>
                        <a:pt x="106296" y="46786"/>
                      </a:cubicBezTo>
                      <a:cubicBezTo>
                        <a:pt x="109220" y="47120"/>
                        <a:pt x="114097" y="48805"/>
                        <a:pt x="117125" y="49834"/>
                      </a:cubicBezTo>
                      <a:cubicBezTo>
                        <a:pt x="119154" y="50529"/>
                        <a:pt x="117973" y="51434"/>
                        <a:pt x="121288" y="51939"/>
                      </a:cubicBezTo>
                      <a:cubicBezTo>
                        <a:pt x="122593" y="52139"/>
                        <a:pt x="124165" y="51644"/>
                        <a:pt x="125155" y="51777"/>
                      </a:cubicBezTo>
                      <a:cubicBezTo>
                        <a:pt x="128289" y="52206"/>
                        <a:pt x="131794" y="53149"/>
                        <a:pt x="135128" y="53758"/>
                      </a:cubicBezTo>
                      <a:cubicBezTo>
                        <a:pt x="140462" y="54730"/>
                        <a:pt x="143443" y="54692"/>
                        <a:pt x="148187" y="57654"/>
                      </a:cubicBezTo>
                      <a:cubicBezTo>
                        <a:pt x="150406" y="59045"/>
                        <a:pt x="154130" y="64093"/>
                        <a:pt x="156368" y="61378"/>
                      </a:cubicBezTo>
                      <a:cubicBezTo>
                        <a:pt x="158369" y="58940"/>
                        <a:pt x="154292" y="53625"/>
                        <a:pt x="154911" y="50358"/>
                      </a:cubicBezTo>
                      <a:cubicBezTo>
                        <a:pt x="155521" y="47062"/>
                        <a:pt x="158559" y="43414"/>
                        <a:pt x="160169" y="40109"/>
                      </a:cubicBezTo>
                      <a:cubicBezTo>
                        <a:pt x="162141" y="36032"/>
                        <a:pt x="165398" y="31575"/>
                        <a:pt x="166627" y="27231"/>
                      </a:cubicBezTo>
                      <a:cubicBezTo>
                        <a:pt x="167675" y="23535"/>
                        <a:pt x="166875" y="18868"/>
                        <a:pt x="167637" y="14982"/>
                      </a:cubicBezTo>
                      <a:cubicBezTo>
                        <a:pt x="170208" y="1961"/>
                        <a:pt x="176209" y="4857"/>
                        <a:pt x="187277" y="2676"/>
                      </a:cubicBezTo>
                      <a:cubicBezTo>
                        <a:pt x="192135" y="1723"/>
                        <a:pt x="196126" y="-258"/>
                        <a:pt x="200603" y="28"/>
                      </a:cubicBezTo>
                      <a:cubicBezTo>
                        <a:pt x="204917" y="304"/>
                        <a:pt x="210309" y="2476"/>
                        <a:pt x="214538" y="3504"/>
                      </a:cubicBezTo>
                      <a:cubicBezTo>
                        <a:pt x="217890" y="4314"/>
                        <a:pt x="220024" y="4238"/>
                        <a:pt x="222643" y="3781"/>
                      </a:cubicBezTo>
                      <a:cubicBezTo>
                        <a:pt x="230606" y="2352"/>
                        <a:pt x="228111" y="1085"/>
                        <a:pt x="234359" y="5771"/>
                      </a:cubicBezTo>
                      <a:lnTo>
                        <a:pt x="234359" y="5771"/>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72" name="Freeform: Shape 671">
                  <a:extLst>
                    <a:ext uri="{FF2B5EF4-FFF2-40B4-BE49-F238E27FC236}">
                      <a16:creationId xmlns:a16="http://schemas.microsoft.com/office/drawing/2014/main" id="{28F03768-440F-4F47-80B9-B97959A06374}"/>
                    </a:ext>
                  </a:extLst>
                </p:cNvPr>
                <p:cNvSpPr/>
                <p:nvPr/>
              </p:nvSpPr>
              <p:spPr>
                <a:xfrm>
                  <a:off x="5977327" y="4198186"/>
                  <a:ext cx="599903" cy="590137"/>
                </a:xfrm>
                <a:custGeom>
                  <a:avLst/>
                  <a:gdLst>
                    <a:gd name="connsiteX0" fmla="*/ 477746 w 599903"/>
                    <a:gd name="connsiteY0" fmla="*/ 5766 h 590137"/>
                    <a:gd name="connsiteX1" fmla="*/ 488576 w 599903"/>
                    <a:gd name="connsiteY1" fmla="*/ 17329 h 590137"/>
                    <a:gd name="connsiteX2" fmla="*/ 497558 w 599903"/>
                    <a:gd name="connsiteY2" fmla="*/ 25644 h 590137"/>
                    <a:gd name="connsiteX3" fmla="*/ 507683 w 599903"/>
                    <a:gd name="connsiteY3" fmla="*/ 30359 h 590137"/>
                    <a:gd name="connsiteX4" fmla="*/ 520837 w 599903"/>
                    <a:gd name="connsiteY4" fmla="*/ 24835 h 590137"/>
                    <a:gd name="connsiteX5" fmla="*/ 535467 w 599903"/>
                    <a:gd name="connsiteY5" fmla="*/ 28369 h 590137"/>
                    <a:gd name="connsiteX6" fmla="*/ 548573 w 599903"/>
                    <a:gd name="connsiteY6" fmla="*/ 21834 h 590137"/>
                    <a:gd name="connsiteX7" fmla="*/ 558556 w 599903"/>
                    <a:gd name="connsiteY7" fmla="*/ 32998 h 590137"/>
                    <a:gd name="connsiteX8" fmla="*/ 572596 w 599903"/>
                    <a:gd name="connsiteY8" fmla="*/ 44018 h 590137"/>
                    <a:gd name="connsiteX9" fmla="*/ 578292 w 599903"/>
                    <a:gd name="connsiteY9" fmla="*/ 52152 h 590137"/>
                    <a:gd name="connsiteX10" fmla="*/ 586083 w 599903"/>
                    <a:gd name="connsiteY10" fmla="*/ 55400 h 590137"/>
                    <a:gd name="connsiteX11" fmla="*/ 586549 w 599903"/>
                    <a:gd name="connsiteY11" fmla="*/ 63306 h 590137"/>
                    <a:gd name="connsiteX12" fmla="*/ 584387 w 599903"/>
                    <a:gd name="connsiteY12" fmla="*/ 70440 h 590137"/>
                    <a:gd name="connsiteX13" fmla="*/ 586778 w 599903"/>
                    <a:gd name="connsiteY13" fmla="*/ 73765 h 590137"/>
                    <a:gd name="connsiteX14" fmla="*/ 584102 w 599903"/>
                    <a:gd name="connsiteY14" fmla="*/ 85747 h 590137"/>
                    <a:gd name="connsiteX15" fmla="*/ 592493 w 599903"/>
                    <a:gd name="connsiteY15" fmla="*/ 92100 h 590137"/>
                    <a:gd name="connsiteX16" fmla="*/ 597456 w 599903"/>
                    <a:gd name="connsiteY16" fmla="*/ 106197 h 590137"/>
                    <a:gd name="connsiteX17" fmla="*/ 586931 w 599903"/>
                    <a:gd name="connsiteY17" fmla="*/ 117361 h 590137"/>
                    <a:gd name="connsiteX18" fmla="*/ 571853 w 599903"/>
                    <a:gd name="connsiteY18" fmla="*/ 129162 h 590137"/>
                    <a:gd name="connsiteX19" fmla="*/ 562680 w 599903"/>
                    <a:gd name="connsiteY19" fmla="*/ 139506 h 590137"/>
                    <a:gd name="connsiteX20" fmla="*/ 559137 w 599903"/>
                    <a:gd name="connsiteY20" fmla="*/ 150088 h 590137"/>
                    <a:gd name="connsiteX21" fmla="*/ 553803 w 599903"/>
                    <a:gd name="connsiteY21" fmla="*/ 161795 h 590137"/>
                    <a:gd name="connsiteX22" fmla="*/ 550478 w 599903"/>
                    <a:gd name="connsiteY22" fmla="*/ 175377 h 590137"/>
                    <a:gd name="connsiteX23" fmla="*/ 548792 w 599903"/>
                    <a:gd name="connsiteY23" fmla="*/ 191379 h 590137"/>
                    <a:gd name="connsiteX24" fmla="*/ 547878 w 599903"/>
                    <a:gd name="connsiteY24" fmla="*/ 209105 h 590137"/>
                    <a:gd name="connsiteX25" fmla="*/ 540658 w 599903"/>
                    <a:gd name="connsiteY25" fmla="*/ 214525 h 590137"/>
                    <a:gd name="connsiteX26" fmla="*/ 533638 w 599903"/>
                    <a:gd name="connsiteY26" fmla="*/ 226422 h 590137"/>
                    <a:gd name="connsiteX27" fmla="*/ 531704 w 599903"/>
                    <a:gd name="connsiteY27" fmla="*/ 237737 h 590137"/>
                    <a:gd name="connsiteX28" fmla="*/ 525894 w 599903"/>
                    <a:gd name="connsiteY28" fmla="*/ 247205 h 590137"/>
                    <a:gd name="connsiteX29" fmla="*/ 535905 w 599903"/>
                    <a:gd name="connsiteY29" fmla="*/ 267837 h 590137"/>
                    <a:gd name="connsiteX30" fmla="*/ 535572 w 599903"/>
                    <a:gd name="connsiteY30" fmla="*/ 284048 h 590137"/>
                    <a:gd name="connsiteX31" fmla="*/ 540173 w 599903"/>
                    <a:gd name="connsiteY31" fmla="*/ 301146 h 590137"/>
                    <a:gd name="connsiteX32" fmla="*/ 539048 w 599903"/>
                    <a:gd name="connsiteY32" fmla="*/ 316423 h 590137"/>
                    <a:gd name="connsiteX33" fmla="*/ 542335 w 599903"/>
                    <a:gd name="connsiteY33" fmla="*/ 333006 h 590137"/>
                    <a:gd name="connsiteX34" fmla="*/ 546173 w 599903"/>
                    <a:gd name="connsiteY34" fmla="*/ 348599 h 590137"/>
                    <a:gd name="connsiteX35" fmla="*/ 544001 w 599903"/>
                    <a:gd name="connsiteY35" fmla="*/ 365649 h 590137"/>
                    <a:gd name="connsiteX36" fmla="*/ 565804 w 599903"/>
                    <a:gd name="connsiteY36" fmla="*/ 390947 h 590137"/>
                    <a:gd name="connsiteX37" fmla="*/ 579959 w 599903"/>
                    <a:gd name="connsiteY37" fmla="*/ 424799 h 590137"/>
                    <a:gd name="connsiteX38" fmla="*/ 521551 w 599903"/>
                    <a:gd name="connsiteY38" fmla="*/ 434000 h 590137"/>
                    <a:gd name="connsiteX39" fmla="*/ 512035 w 599903"/>
                    <a:gd name="connsiteY39" fmla="*/ 452478 h 590137"/>
                    <a:gd name="connsiteX40" fmla="*/ 505416 w 599903"/>
                    <a:gd name="connsiteY40" fmla="*/ 459622 h 590137"/>
                    <a:gd name="connsiteX41" fmla="*/ 510569 w 599903"/>
                    <a:gd name="connsiteY41" fmla="*/ 470748 h 590137"/>
                    <a:gd name="connsiteX42" fmla="*/ 509978 w 599903"/>
                    <a:gd name="connsiteY42" fmla="*/ 494198 h 590137"/>
                    <a:gd name="connsiteX43" fmla="*/ 508245 w 599903"/>
                    <a:gd name="connsiteY43" fmla="*/ 505904 h 590137"/>
                    <a:gd name="connsiteX44" fmla="*/ 504768 w 599903"/>
                    <a:gd name="connsiteY44" fmla="*/ 516248 h 590137"/>
                    <a:gd name="connsiteX45" fmla="*/ 502920 w 599903"/>
                    <a:gd name="connsiteY45" fmla="*/ 536156 h 590137"/>
                    <a:gd name="connsiteX46" fmla="*/ 517351 w 599903"/>
                    <a:gd name="connsiteY46" fmla="*/ 551424 h 590137"/>
                    <a:gd name="connsiteX47" fmla="*/ 534515 w 599903"/>
                    <a:gd name="connsiteY47" fmla="*/ 557406 h 590137"/>
                    <a:gd name="connsiteX48" fmla="*/ 536067 w 599903"/>
                    <a:gd name="connsiteY48" fmla="*/ 551453 h 590137"/>
                    <a:gd name="connsiteX49" fmla="*/ 544278 w 599903"/>
                    <a:gd name="connsiteY49" fmla="*/ 549605 h 590137"/>
                    <a:gd name="connsiteX50" fmla="*/ 542954 w 599903"/>
                    <a:gd name="connsiteY50" fmla="*/ 573341 h 590137"/>
                    <a:gd name="connsiteX51" fmla="*/ 538648 w 599903"/>
                    <a:gd name="connsiteY51" fmla="*/ 589924 h 590137"/>
                    <a:gd name="connsiteX52" fmla="*/ 536115 w 599903"/>
                    <a:gd name="connsiteY52" fmla="*/ 584429 h 590137"/>
                    <a:gd name="connsiteX53" fmla="*/ 528219 w 599903"/>
                    <a:gd name="connsiteY53" fmla="*/ 586753 h 590137"/>
                    <a:gd name="connsiteX54" fmla="*/ 512207 w 599903"/>
                    <a:gd name="connsiteY54" fmla="*/ 577799 h 590137"/>
                    <a:gd name="connsiteX55" fmla="*/ 506340 w 599903"/>
                    <a:gd name="connsiteY55" fmla="*/ 571617 h 590137"/>
                    <a:gd name="connsiteX56" fmla="*/ 502025 w 599903"/>
                    <a:gd name="connsiteY56" fmla="*/ 563588 h 590137"/>
                    <a:gd name="connsiteX57" fmla="*/ 484137 w 599903"/>
                    <a:gd name="connsiteY57" fmla="*/ 553863 h 590137"/>
                    <a:gd name="connsiteX58" fmla="*/ 474364 w 599903"/>
                    <a:gd name="connsiteY58" fmla="*/ 551320 h 590137"/>
                    <a:gd name="connsiteX59" fmla="*/ 470154 w 599903"/>
                    <a:gd name="connsiteY59" fmla="*/ 542385 h 590137"/>
                    <a:gd name="connsiteX60" fmla="*/ 465477 w 599903"/>
                    <a:gd name="connsiteY60" fmla="*/ 538099 h 590137"/>
                    <a:gd name="connsiteX61" fmla="*/ 464325 w 599903"/>
                    <a:gd name="connsiteY61" fmla="*/ 533127 h 590137"/>
                    <a:gd name="connsiteX62" fmla="*/ 459162 w 599903"/>
                    <a:gd name="connsiteY62" fmla="*/ 533327 h 590137"/>
                    <a:gd name="connsiteX63" fmla="*/ 446961 w 599903"/>
                    <a:gd name="connsiteY63" fmla="*/ 543871 h 590137"/>
                    <a:gd name="connsiteX64" fmla="*/ 424282 w 599903"/>
                    <a:gd name="connsiteY64" fmla="*/ 540147 h 590137"/>
                    <a:gd name="connsiteX65" fmla="*/ 406375 w 599903"/>
                    <a:gd name="connsiteY65" fmla="*/ 532260 h 590137"/>
                    <a:gd name="connsiteX66" fmla="*/ 400260 w 599903"/>
                    <a:gd name="connsiteY66" fmla="*/ 521116 h 590137"/>
                    <a:gd name="connsiteX67" fmla="*/ 390011 w 599903"/>
                    <a:gd name="connsiteY67" fmla="*/ 523326 h 590137"/>
                    <a:gd name="connsiteX68" fmla="*/ 380943 w 599903"/>
                    <a:gd name="connsiteY68" fmla="*/ 526983 h 590137"/>
                    <a:gd name="connsiteX69" fmla="*/ 374723 w 599903"/>
                    <a:gd name="connsiteY69" fmla="*/ 515325 h 590137"/>
                    <a:gd name="connsiteX70" fmla="*/ 370351 w 599903"/>
                    <a:gd name="connsiteY70" fmla="*/ 514115 h 590137"/>
                    <a:gd name="connsiteX71" fmla="*/ 368389 w 599903"/>
                    <a:gd name="connsiteY71" fmla="*/ 510800 h 590137"/>
                    <a:gd name="connsiteX72" fmla="*/ 362864 w 599903"/>
                    <a:gd name="connsiteY72" fmla="*/ 510581 h 590137"/>
                    <a:gd name="connsiteX73" fmla="*/ 356388 w 599903"/>
                    <a:gd name="connsiteY73" fmla="*/ 513448 h 590137"/>
                    <a:gd name="connsiteX74" fmla="*/ 346272 w 599903"/>
                    <a:gd name="connsiteY74" fmla="*/ 512581 h 590137"/>
                    <a:gd name="connsiteX75" fmla="*/ 335509 w 599903"/>
                    <a:gd name="connsiteY75" fmla="*/ 515925 h 590137"/>
                    <a:gd name="connsiteX76" fmla="*/ 321974 w 599903"/>
                    <a:gd name="connsiteY76" fmla="*/ 514991 h 590137"/>
                    <a:gd name="connsiteX77" fmla="*/ 309744 w 599903"/>
                    <a:gd name="connsiteY77" fmla="*/ 515287 h 590137"/>
                    <a:gd name="connsiteX78" fmla="*/ 311315 w 599903"/>
                    <a:gd name="connsiteY78" fmla="*/ 506733 h 590137"/>
                    <a:gd name="connsiteX79" fmla="*/ 312487 w 599903"/>
                    <a:gd name="connsiteY79" fmla="*/ 495512 h 590137"/>
                    <a:gd name="connsiteX80" fmla="*/ 304800 w 599903"/>
                    <a:gd name="connsiteY80" fmla="*/ 475186 h 590137"/>
                    <a:gd name="connsiteX81" fmla="*/ 302028 w 599903"/>
                    <a:gd name="connsiteY81" fmla="*/ 428628 h 590137"/>
                    <a:gd name="connsiteX82" fmla="*/ 301085 w 599903"/>
                    <a:gd name="connsiteY82" fmla="*/ 405187 h 590137"/>
                    <a:gd name="connsiteX83" fmla="*/ 287322 w 599903"/>
                    <a:gd name="connsiteY83" fmla="*/ 396405 h 590137"/>
                    <a:gd name="connsiteX84" fmla="*/ 262004 w 599903"/>
                    <a:gd name="connsiteY84" fmla="*/ 395405 h 590137"/>
                    <a:gd name="connsiteX85" fmla="*/ 261728 w 599903"/>
                    <a:gd name="connsiteY85" fmla="*/ 388052 h 590137"/>
                    <a:gd name="connsiteX86" fmla="*/ 260842 w 599903"/>
                    <a:gd name="connsiteY86" fmla="*/ 384575 h 590137"/>
                    <a:gd name="connsiteX87" fmla="*/ 254423 w 599903"/>
                    <a:gd name="connsiteY87" fmla="*/ 385023 h 590137"/>
                    <a:gd name="connsiteX88" fmla="*/ 231848 w 599903"/>
                    <a:gd name="connsiteY88" fmla="*/ 389452 h 590137"/>
                    <a:gd name="connsiteX89" fmla="*/ 227590 w 599903"/>
                    <a:gd name="connsiteY89" fmla="*/ 399472 h 590137"/>
                    <a:gd name="connsiteX90" fmla="*/ 223628 w 599903"/>
                    <a:gd name="connsiteY90" fmla="*/ 409464 h 590137"/>
                    <a:gd name="connsiteX91" fmla="*/ 218285 w 599903"/>
                    <a:gd name="connsiteY91" fmla="*/ 418369 h 590137"/>
                    <a:gd name="connsiteX92" fmla="*/ 208350 w 599903"/>
                    <a:gd name="connsiteY92" fmla="*/ 418551 h 590137"/>
                    <a:gd name="connsiteX93" fmla="*/ 185347 w 599903"/>
                    <a:gd name="connsiteY93" fmla="*/ 420075 h 590137"/>
                    <a:gd name="connsiteX94" fmla="*/ 166564 w 599903"/>
                    <a:gd name="connsiteY94" fmla="*/ 421484 h 590137"/>
                    <a:gd name="connsiteX95" fmla="*/ 154543 w 599903"/>
                    <a:gd name="connsiteY95" fmla="*/ 402101 h 590137"/>
                    <a:gd name="connsiteX96" fmla="*/ 149133 w 599903"/>
                    <a:gd name="connsiteY96" fmla="*/ 395319 h 590137"/>
                    <a:gd name="connsiteX97" fmla="*/ 146733 w 599903"/>
                    <a:gd name="connsiteY97" fmla="*/ 384337 h 590137"/>
                    <a:gd name="connsiteX98" fmla="*/ 141446 w 599903"/>
                    <a:gd name="connsiteY98" fmla="*/ 372888 h 590137"/>
                    <a:gd name="connsiteX99" fmla="*/ 140865 w 599903"/>
                    <a:gd name="connsiteY99" fmla="*/ 361496 h 590137"/>
                    <a:gd name="connsiteX100" fmla="*/ 101651 w 599903"/>
                    <a:gd name="connsiteY100" fmla="*/ 351561 h 590137"/>
                    <a:gd name="connsiteX101" fmla="*/ 54312 w 599903"/>
                    <a:gd name="connsiteY101" fmla="*/ 351199 h 590137"/>
                    <a:gd name="connsiteX102" fmla="*/ 32309 w 599903"/>
                    <a:gd name="connsiteY102" fmla="*/ 351561 h 590137"/>
                    <a:gd name="connsiteX103" fmla="*/ 23622 w 599903"/>
                    <a:gd name="connsiteY103" fmla="*/ 350666 h 590137"/>
                    <a:gd name="connsiteX104" fmla="*/ 13754 w 599903"/>
                    <a:gd name="connsiteY104" fmla="*/ 354724 h 590137"/>
                    <a:gd name="connsiteX105" fmla="*/ 0 w 599903"/>
                    <a:gd name="connsiteY105" fmla="*/ 348113 h 590137"/>
                    <a:gd name="connsiteX106" fmla="*/ 9687 w 599903"/>
                    <a:gd name="connsiteY106" fmla="*/ 338007 h 590137"/>
                    <a:gd name="connsiteX107" fmla="*/ 9335 w 599903"/>
                    <a:gd name="connsiteY107" fmla="*/ 328349 h 590137"/>
                    <a:gd name="connsiteX108" fmla="*/ 10401 w 599903"/>
                    <a:gd name="connsiteY108" fmla="*/ 324767 h 590137"/>
                    <a:gd name="connsiteX109" fmla="*/ 23879 w 599903"/>
                    <a:gd name="connsiteY109" fmla="*/ 314404 h 590137"/>
                    <a:gd name="connsiteX110" fmla="*/ 32499 w 599903"/>
                    <a:gd name="connsiteY110" fmla="*/ 315376 h 590137"/>
                    <a:gd name="connsiteX111" fmla="*/ 46177 w 599903"/>
                    <a:gd name="connsiteY111" fmla="*/ 314909 h 590137"/>
                    <a:gd name="connsiteX112" fmla="*/ 47597 w 599903"/>
                    <a:gd name="connsiteY112" fmla="*/ 307689 h 590137"/>
                    <a:gd name="connsiteX113" fmla="*/ 52626 w 599903"/>
                    <a:gd name="connsiteY113" fmla="*/ 307784 h 590137"/>
                    <a:gd name="connsiteX114" fmla="*/ 67218 w 599903"/>
                    <a:gd name="connsiteY114" fmla="*/ 302231 h 590137"/>
                    <a:gd name="connsiteX115" fmla="*/ 69257 w 599903"/>
                    <a:gd name="connsiteY115" fmla="*/ 314947 h 590137"/>
                    <a:gd name="connsiteX116" fmla="*/ 91450 w 599903"/>
                    <a:gd name="connsiteY116" fmla="*/ 307146 h 590137"/>
                    <a:gd name="connsiteX117" fmla="*/ 121387 w 599903"/>
                    <a:gd name="connsiteY117" fmla="*/ 281600 h 590137"/>
                    <a:gd name="connsiteX118" fmla="*/ 126111 w 599903"/>
                    <a:gd name="connsiteY118" fmla="*/ 238547 h 590137"/>
                    <a:gd name="connsiteX119" fmla="*/ 139113 w 599903"/>
                    <a:gd name="connsiteY119" fmla="*/ 221288 h 590137"/>
                    <a:gd name="connsiteX120" fmla="*/ 148180 w 599903"/>
                    <a:gd name="connsiteY120" fmla="*/ 205057 h 590137"/>
                    <a:gd name="connsiteX121" fmla="*/ 165497 w 599903"/>
                    <a:gd name="connsiteY121" fmla="*/ 193932 h 590137"/>
                    <a:gd name="connsiteX122" fmla="*/ 172936 w 599903"/>
                    <a:gd name="connsiteY122" fmla="*/ 186674 h 590137"/>
                    <a:gd name="connsiteX123" fmla="*/ 174565 w 599903"/>
                    <a:gd name="connsiteY123" fmla="*/ 175835 h 590137"/>
                    <a:gd name="connsiteX124" fmla="*/ 180023 w 599903"/>
                    <a:gd name="connsiteY124" fmla="*/ 156803 h 590137"/>
                    <a:gd name="connsiteX125" fmla="*/ 179994 w 599903"/>
                    <a:gd name="connsiteY125" fmla="*/ 133191 h 590137"/>
                    <a:gd name="connsiteX126" fmla="*/ 185309 w 599903"/>
                    <a:gd name="connsiteY126" fmla="*/ 113617 h 590137"/>
                    <a:gd name="connsiteX127" fmla="*/ 188976 w 599903"/>
                    <a:gd name="connsiteY127" fmla="*/ 92634 h 590137"/>
                    <a:gd name="connsiteX128" fmla="*/ 201844 w 599903"/>
                    <a:gd name="connsiteY128" fmla="*/ 56058 h 590137"/>
                    <a:gd name="connsiteX129" fmla="*/ 202254 w 599903"/>
                    <a:gd name="connsiteY129" fmla="*/ 44104 h 590137"/>
                    <a:gd name="connsiteX130" fmla="*/ 200473 w 599903"/>
                    <a:gd name="connsiteY130" fmla="*/ 33150 h 590137"/>
                    <a:gd name="connsiteX131" fmla="*/ 213455 w 599903"/>
                    <a:gd name="connsiteY131" fmla="*/ 16395 h 590137"/>
                    <a:gd name="connsiteX132" fmla="*/ 229296 w 599903"/>
                    <a:gd name="connsiteY132" fmla="*/ 5204 h 590137"/>
                    <a:gd name="connsiteX133" fmla="*/ 246679 w 599903"/>
                    <a:gd name="connsiteY133" fmla="*/ 11728 h 590137"/>
                    <a:gd name="connsiteX134" fmla="*/ 256689 w 599903"/>
                    <a:gd name="connsiteY134" fmla="*/ 18367 h 590137"/>
                    <a:gd name="connsiteX135" fmla="*/ 262842 w 599903"/>
                    <a:gd name="connsiteY135" fmla="*/ 26130 h 590137"/>
                    <a:gd name="connsiteX136" fmla="*/ 272825 w 599903"/>
                    <a:gd name="connsiteY136" fmla="*/ 27140 h 590137"/>
                    <a:gd name="connsiteX137" fmla="*/ 283226 w 599903"/>
                    <a:gd name="connsiteY137" fmla="*/ 30950 h 590137"/>
                    <a:gd name="connsiteX138" fmla="*/ 301943 w 599903"/>
                    <a:gd name="connsiteY138" fmla="*/ 32264 h 590137"/>
                    <a:gd name="connsiteX139" fmla="*/ 322288 w 599903"/>
                    <a:gd name="connsiteY139" fmla="*/ 35979 h 590137"/>
                    <a:gd name="connsiteX140" fmla="*/ 330832 w 599903"/>
                    <a:gd name="connsiteY140" fmla="*/ 21663 h 590137"/>
                    <a:gd name="connsiteX141" fmla="*/ 347920 w 599903"/>
                    <a:gd name="connsiteY141" fmla="*/ 19167 h 590137"/>
                    <a:gd name="connsiteX142" fmla="*/ 385353 w 599903"/>
                    <a:gd name="connsiteY142" fmla="*/ 9099 h 590137"/>
                    <a:gd name="connsiteX143" fmla="*/ 408175 w 599903"/>
                    <a:gd name="connsiteY143" fmla="*/ 9023 h 590137"/>
                    <a:gd name="connsiteX144" fmla="*/ 423453 w 599903"/>
                    <a:gd name="connsiteY144" fmla="*/ 127 h 590137"/>
                    <a:gd name="connsiteX145" fmla="*/ 461334 w 599903"/>
                    <a:gd name="connsiteY145" fmla="*/ 6585 h 590137"/>
                    <a:gd name="connsiteX146" fmla="*/ 467916 w 599903"/>
                    <a:gd name="connsiteY146" fmla="*/ 2937 h 590137"/>
                    <a:gd name="connsiteX147" fmla="*/ 477746 w 599903"/>
                    <a:gd name="connsiteY147" fmla="*/ 5766 h 590137"/>
                    <a:gd name="connsiteX148" fmla="*/ 477746 w 599903"/>
                    <a:gd name="connsiteY148" fmla="*/ 5766 h 59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599903" h="590137">
                      <a:moveTo>
                        <a:pt x="477746" y="5766"/>
                      </a:moveTo>
                      <a:cubicBezTo>
                        <a:pt x="479765" y="10585"/>
                        <a:pt x="485099" y="13662"/>
                        <a:pt x="488576" y="17329"/>
                      </a:cubicBezTo>
                      <a:cubicBezTo>
                        <a:pt x="491538" y="20463"/>
                        <a:pt x="493919" y="23082"/>
                        <a:pt x="497558" y="25644"/>
                      </a:cubicBezTo>
                      <a:cubicBezTo>
                        <a:pt x="500872" y="27959"/>
                        <a:pt x="503406" y="30340"/>
                        <a:pt x="507683" y="30359"/>
                      </a:cubicBezTo>
                      <a:cubicBezTo>
                        <a:pt x="512978" y="30378"/>
                        <a:pt x="515846" y="25663"/>
                        <a:pt x="520837" y="24835"/>
                      </a:cubicBezTo>
                      <a:cubicBezTo>
                        <a:pt x="526266" y="23920"/>
                        <a:pt x="530743" y="29207"/>
                        <a:pt x="535467" y="28369"/>
                      </a:cubicBezTo>
                      <a:cubicBezTo>
                        <a:pt x="542001" y="27206"/>
                        <a:pt x="541173" y="18929"/>
                        <a:pt x="548573" y="21834"/>
                      </a:cubicBezTo>
                      <a:cubicBezTo>
                        <a:pt x="552650" y="23425"/>
                        <a:pt x="555736" y="29797"/>
                        <a:pt x="558556" y="32998"/>
                      </a:cubicBezTo>
                      <a:cubicBezTo>
                        <a:pt x="563261" y="38322"/>
                        <a:pt x="566928" y="40379"/>
                        <a:pt x="572596" y="44018"/>
                      </a:cubicBezTo>
                      <a:cubicBezTo>
                        <a:pt x="576682" y="46638"/>
                        <a:pt x="575644" y="49771"/>
                        <a:pt x="578292" y="52152"/>
                      </a:cubicBezTo>
                      <a:cubicBezTo>
                        <a:pt x="580339" y="54010"/>
                        <a:pt x="583340" y="52105"/>
                        <a:pt x="586083" y="55400"/>
                      </a:cubicBezTo>
                      <a:cubicBezTo>
                        <a:pt x="589407" y="59382"/>
                        <a:pt x="587959" y="58429"/>
                        <a:pt x="586549" y="63306"/>
                      </a:cubicBezTo>
                      <a:cubicBezTo>
                        <a:pt x="585912" y="65506"/>
                        <a:pt x="584197" y="68040"/>
                        <a:pt x="584387" y="70440"/>
                      </a:cubicBezTo>
                      <a:cubicBezTo>
                        <a:pt x="584521" y="71907"/>
                        <a:pt x="586664" y="72460"/>
                        <a:pt x="586778" y="73765"/>
                      </a:cubicBezTo>
                      <a:cubicBezTo>
                        <a:pt x="587169" y="78222"/>
                        <a:pt x="584073" y="81299"/>
                        <a:pt x="584102" y="85747"/>
                      </a:cubicBezTo>
                      <a:cubicBezTo>
                        <a:pt x="584150" y="92024"/>
                        <a:pt x="587674" y="90176"/>
                        <a:pt x="592493" y="92100"/>
                      </a:cubicBezTo>
                      <a:cubicBezTo>
                        <a:pt x="599694" y="94958"/>
                        <a:pt x="602247" y="99406"/>
                        <a:pt x="597456" y="106197"/>
                      </a:cubicBezTo>
                      <a:cubicBezTo>
                        <a:pt x="594560" y="110303"/>
                        <a:pt x="590503" y="113836"/>
                        <a:pt x="586931" y="117361"/>
                      </a:cubicBezTo>
                      <a:cubicBezTo>
                        <a:pt x="581958" y="122275"/>
                        <a:pt x="576520" y="125295"/>
                        <a:pt x="571853" y="129162"/>
                      </a:cubicBezTo>
                      <a:cubicBezTo>
                        <a:pt x="568462" y="131972"/>
                        <a:pt x="565747" y="136153"/>
                        <a:pt x="562680" y="139506"/>
                      </a:cubicBezTo>
                      <a:cubicBezTo>
                        <a:pt x="558213" y="144364"/>
                        <a:pt x="560499" y="142916"/>
                        <a:pt x="559137" y="150088"/>
                      </a:cubicBezTo>
                      <a:cubicBezTo>
                        <a:pt x="558394" y="154032"/>
                        <a:pt x="555279" y="158061"/>
                        <a:pt x="553803" y="161795"/>
                      </a:cubicBezTo>
                      <a:cubicBezTo>
                        <a:pt x="552136" y="166005"/>
                        <a:pt x="551136" y="170567"/>
                        <a:pt x="550478" y="175377"/>
                      </a:cubicBezTo>
                      <a:cubicBezTo>
                        <a:pt x="549745" y="180797"/>
                        <a:pt x="549755" y="185988"/>
                        <a:pt x="548792" y="191379"/>
                      </a:cubicBezTo>
                      <a:cubicBezTo>
                        <a:pt x="547954" y="196056"/>
                        <a:pt x="549392" y="205153"/>
                        <a:pt x="547878" y="209105"/>
                      </a:cubicBezTo>
                      <a:cubicBezTo>
                        <a:pt x="546602" y="212477"/>
                        <a:pt x="543115" y="212382"/>
                        <a:pt x="540658" y="214525"/>
                      </a:cubicBezTo>
                      <a:cubicBezTo>
                        <a:pt x="537344" y="217421"/>
                        <a:pt x="534372" y="222231"/>
                        <a:pt x="533638" y="226422"/>
                      </a:cubicBezTo>
                      <a:cubicBezTo>
                        <a:pt x="532819" y="231070"/>
                        <a:pt x="534762" y="233832"/>
                        <a:pt x="531704" y="237737"/>
                      </a:cubicBezTo>
                      <a:cubicBezTo>
                        <a:pt x="527999" y="242472"/>
                        <a:pt x="524371" y="240414"/>
                        <a:pt x="525894" y="247205"/>
                      </a:cubicBezTo>
                      <a:cubicBezTo>
                        <a:pt x="527590" y="254778"/>
                        <a:pt x="535400" y="258626"/>
                        <a:pt x="535905" y="267837"/>
                      </a:cubicBezTo>
                      <a:cubicBezTo>
                        <a:pt x="536201" y="273161"/>
                        <a:pt x="535400" y="278686"/>
                        <a:pt x="535572" y="284048"/>
                      </a:cubicBezTo>
                      <a:cubicBezTo>
                        <a:pt x="535772" y="290468"/>
                        <a:pt x="538896" y="294859"/>
                        <a:pt x="540173" y="301146"/>
                      </a:cubicBezTo>
                      <a:cubicBezTo>
                        <a:pt x="541382" y="307099"/>
                        <a:pt x="539925" y="310642"/>
                        <a:pt x="539048" y="316423"/>
                      </a:cubicBezTo>
                      <a:cubicBezTo>
                        <a:pt x="538077" y="322777"/>
                        <a:pt x="540173" y="326939"/>
                        <a:pt x="542335" y="333006"/>
                      </a:cubicBezTo>
                      <a:cubicBezTo>
                        <a:pt x="544001" y="337674"/>
                        <a:pt x="547193" y="343598"/>
                        <a:pt x="546173" y="348599"/>
                      </a:cubicBezTo>
                      <a:cubicBezTo>
                        <a:pt x="544668" y="355971"/>
                        <a:pt x="541020" y="357152"/>
                        <a:pt x="544001" y="365649"/>
                      </a:cubicBezTo>
                      <a:cubicBezTo>
                        <a:pt x="548183" y="377507"/>
                        <a:pt x="559775" y="380670"/>
                        <a:pt x="565804" y="390947"/>
                      </a:cubicBezTo>
                      <a:cubicBezTo>
                        <a:pt x="571357" y="400396"/>
                        <a:pt x="577082" y="414217"/>
                        <a:pt x="579959" y="424799"/>
                      </a:cubicBezTo>
                      <a:cubicBezTo>
                        <a:pt x="560870" y="427742"/>
                        <a:pt x="540125" y="428771"/>
                        <a:pt x="521551" y="434000"/>
                      </a:cubicBezTo>
                      <a:cubicBezTo>
                        <a:pt x="524875" y="440982"/>
                        <a:pt x="516998" y="448373"/>
                        <a:pt x="512035" y="452478"/>
                      </a:cubicBezTo>
                      <a:cubicBezTo>
                        <a:pt x="508797" y="455155"/>
                        <a:pt x="505387" y="455679"/>
                        <a:pt x="505416" y="459622"/>
                      </a:cubicBezTo>
                      <a:cubicBezTo>
                        <a:pt x="505444" y="462518"/>
                        <a:pt x="509731" y="467452"/>
                        <a:pt x="510569" y="470748"/>
                      </a:cubicBezTo>
                      <a:cubicBezTo>
                        <a:pt x="512550" y="478577"/>
                        <a:pt x="510016" y="486330"/>
                        <a:pt x="509978" y="494198"/>
                      </a:cubicBezTo>
                      <a:cubicBezTo>
                        <a:pt x="509949" y="500085"/>
                        <a:pt x="510369" y="500542"/>
                        <a:pt x="508245" y="505904"/>
                      </a:cubicBezTo>
                      <a:cubicBezTo>
                        <a:pt x="506949" y="509190"/>
                        <a:pt x="505844" y="512753"/>
                        <a:pt x="504768" y="516248"/>
                      </a:cubicBezTo>
                      <a:cubicBezTo>
                        <a:pt x="502510" y="523602"/>
                        <a:pt x="499453" y="528783"/>
                        <a:pt x="502920" y="536156"/>
                      </a:cubicBezTo>
                      <a:cubicBezTo>
                        <a:pt x="505892" y="542461"/>
                        <a:pt x="512388" y="546557"/>
                        <a:pt x="517351" y="551424"/>
                      </a:cubicBezTo>
                      <a:cubicBezTo>
                        <a:pt x="520475" y="554491"/>
                        <a:pt x="530009" y="560988"/>
                        <a:pt x="534515" y="557406"/>
                      </a:cubicBezTo>
                      <a:cubicBezTo>
                        <a:pt x="535934" y="556282"/>
                        <a:pt x="534391" y="553082"/>
                        <a:pt x="536067" y="551453"/>
                      </a:cubicBezTo>
                      <a:cubicBezTo>
                        <a:pt x="537401" y="550157"/>
                        <a:pt x="542249" y="550548"/>
                        <a:pt x="544278" y="549605"/>
                      </a:cubicBezTo>
                      <a:cubicBezTo>
                        <a:pt x="543849" y="557520"/>
                        <a:pt x="543421" y="565436"/>
                        <a:pt x="542954" y="573341"/>
                      </a:cubicBezTo>
                      <a:cubicBezTo>
                        <a:pt x="542744" y="576866"/>
                        <a:pt x="544173" y="592106"/>
                        <a:pt x="538648" y="589924"/>
                      </a:cubicBezTo>
                      <a:cubicBezTo>
                        <a:pt x="536410" y="589048"/>
                        <a:pt x="538344" y="585448"/>
                        <a:pt x="536115" y="584429"/>
                      </a:cubicBezTo>
                      <a:cubicBezTo>
                        <a:pt x="533505" y="583219"/>
                        <a:pt x="530571" y="585895"/>
                        <a:pt x="528219" y="586753"/>
                      </a:cubicBezTo>
                      <a:cubicBezTo>
                        <a:pt x="517865" y="590524"/>
                        <a:pt x="517151" y="586000"/>
                        <a:pt x="512207" y="577799"/>
                      </a:cubicBezTo>
                      <a:cubicBezTo>
                        <a:pt x="510416" y="574827"/>
                        <a:pt x="508092" y="573589"/>
                        <a:pt x="506340" y="571617"/>
                      </a:cubicBezTo>
                      <a:cubicBezTo>
                        <a:pt x="504149" y="569131"/>
                        <a:pt x="503978" y="566674"/>
                        <a:pt x="502025" y="563588"/>
                      </a:cubicBezTo>
                      <a:cubicBezTo>
                        <a:pt x="498786" y="558473"/>
                        <a:pt x="490004" y="555358"/>
                        <a:pt x="484137" y="553863"/>
                      </a:cubicBezTo>
                      <a:cubicBezTo>
                        <a:pt x="480708" y="552986"/>
                        <a:pt x="477203" y="553958"/>
                        <a:pt x="474364" y="551320"/>
                      </a:cubicBezTo>
                      <a:cubicBezTo>
                        <a:pt x="472164" y="549281"/>
                        <a:pt x="471964" y="544881"/>
                        <a:pt x="470154" y="542385"/>
                      </a:cubicBezTo>
                      <a:cubicBezTo>
                        <a:pt x="468954" y="540737"/>
                        <a:pt x="466506" y="539842"/>
                        <a:pt x="465477" y="538099"/>
                      </a:cubicBezTo>
                      <a:cubicBezTo>
                        <a:pt x="464868" y="537070"/>
                        <a:pt x="465182" y="533841"/>
                        <a:pt x="464325" y="533127"/>
                      </a:cubicBezTo>
                      <a:cubicBezTo>
                        <a:pt x="462324" y="531441"/>
                        <a:pt x="461611" y="531307"/>
                        <a:pt x="459162" y="533327"/>
                      </a:cubicBezTo>
                      <a:cubicBezTo>
                        <a:pt x="452762" y="538613"/>
                        <a:pt x="458315" y="543842"/>
                        <a:pt x="446961" y="543871"/>
                      </a:cubicBezTo>
                      <a:cubicBezTo>
                        <a:pt x="439741" y="543900"/>
                        <a:pt x="431130" y="542290"/>
                        <a:pt x="424282" y="540147"/>
                      </a:cubicBezTo>
                      <a:cubicBezTo>
                        <a:pt x="418833" y="538432"/>
                        <a:pt x="409366" y="537404"/>
                        <a:pt x="406375" y="532260"/>
                      </a:cubicBezTo>
                      <a:cubicBezTo>
                        <a:pt x="401812" y="524411"/>
                        <a:pt x="410480" y="519830"/>
                        <a:pt x="400260" y="521116"/>
                      </a:cubicBezTo>
                      <a:cubicBezTo>
                        <a:pt x="396793" y="521554"/>
                        <a:pt x="393354" y="522354"/>
                        <a:pt x="390011" y="523326"/>
                      </a:cubicBezTo>
                      <a:cubicBezTo>
                        <a:pt x="387439" y="524069"/>
                        <a:pt x="383181" y="526812"/>
                        <a:pt x="380943" y="526983"/>
                      </a:cubicBezTo>
                      <a:cubicBezTo>
                        <a:pt x="372266" y="527631"/>
                        <a:pt x="379486" y="520116"/>
                        <a:pt x="374723" y="515325"/>
                      </a:cubicBezTo>
                      <a:cubicBezTo>
                        <a:pt x="373704" y="514286"/>
                        <a:pt x="371266" y="514858"/>
                        <a:pt x="370351" y="514115"/>
                      </a:cubicBezTo>
                      <a:cubicBezTo>
                        <a:pt x="369675" y="513563"/>
                        <a:pt x="369123" y="511096"/>
                        <a:pt x="368389" y="510800"/>
                      </a:cubicBezTo>
                      <a:cubicBezTo>
                        <a:pt x="364922" y="509428"/>
                        <a:pt x="365836" y="509953"/>
                        <a:pt x="362864" y="510581"/>
                      </a:cubicBezTo>
                      <a:cubicBezTo>
                        <a:pt x="361169" y="510934"/>
                        <a:pt x="360341" y="513372"/>
                        <a:pt x="356388" y="513448"/>
                      </a:cubicBezTo>
                      <a:cubicBezTo>
                        <a:pt x="352854" y="513515"/>
                        <a:pt x="349891" y="511953"/>
                        <a:pt x="346272" y="512581"/>
                      </a:cubicBezTo>
                      <a:cubicBezTo>
                        <a:pt x="342500" y="513229"/>
                        <a:pt x="339414" y="515525"/>
                        <a:pt x="335509" y="515925"/>
                      </a:cubicBezTo>
                      <a:cubicBezTo>
                        <a:pt x="331051" y="516391"/>
                        <a:pt x="326298" y="514420"/>
                        <a:pt x="321974" y="514991"/>
                      </a:cubicBezTo>
                      <a:cubicBezTo>
                        <a:pt x="315335" y="515887"/>
                        <a:pt x="313030" y="522697"/>
                        <a:pt x="309744" y="515287"/>
                      </a:cubicBezTo>
                      <a:cubicBezTo>
                        <a:pt x="307629" y="510495"/>
                        <a:pt x="310544" y="509848"/>
                        <a:pt x="311315" y="506733"/>
                      </a:cubicBezTo>
                      <a:cubicBezTo>
                        <a:pt x="312220" y="503075"/>
                        <a:pt x="312696" y="499685"/>
                        <a:pt x="312487" y="495512"/>
                      </a:cubicBezTo>
                      <a:cubicBezTo>
                        <a:pt x="312106" y="487473"/>
                        <a:pt x="309801" y="481749"/>
                        <a:pt x="304800" y="475186"/>
                      </a:cubicBezTo>
                      <a:cubicBezTo>
                        <a:pt x="293199" y="459927"/>
                        <a:pt x="305734" y="445735"/>
                        <a:pt x="302028" y="428628"/>
                      </a:cubicBezTo>
                      <a:cubicBezTo>
                        <a:pt x="300019" y="419351"/>
                        <a:pt x="300362" y="414636"/>
                        <a:pt x="301085" y="405187"/>
                      </a:cubicBezTo>
                      <a:cubicBezTo>
                        <a:pt x="301876" y="394738"/>
                        <a:pt x="295885" y="396710"/>
                        <a:pt x="287322" y="396405"/>
                      </a:cubicBezTo>
                      <a:cubicBezTo>
                        <a:pt x="282302" y="396214"/>
                        <a:pt x="265433" y="398586"/>
                        <a:pt x="262004" y="395405"/>
                      </a:cubicBezTo>
                      <a:cubicBezTo>
                        <a:pt x="259032" y="392633"/>
                        <a:pt x="262319" y="390919"/>
                        <a:pt x="261728" y="388052"/>
                      </a:cubicBezTo>
                      <a:cubicBezTo>
                        <a:pt x="260871" y="383908"/>
                        <a:pt x="264319" y="386642"/>
                        <a:pt x="260842" y="384575"/>
                      </a:cubicBezTo>
                      <a:cubicBezTo>
                        <a:pt x="259595" y="383832"/>
                        <a:pt x="255784" y="384889"/>
                        <a:pt x="254423" y="385023"/>
                      </a:cubicBezTo>
                      <a:cubicBezTo>
                        <a:pt x="247803" y="385651"/>
                        <a:pt x="237277" y="385518"/>
                        <a:pt x="231848" y="389452"/>
                      </a:cubicBezTo>
                      <a:cubicBezTo>
                        <a:pt x="227457" y="392623"/>
                        <a:pt x="228876" y="395005"/>
                        <a:pt x="227590" y="399472"/>
                      </a:cubicBezTo>
                      <a:cubicBezTo>
                        <a:pt x="226581" y="402977"/>
                        <a:pt x="224657" y="405921"/>
                        <a:pt x="223628" y="409464"/>
                      </a:cubicBezTo>
                      <a:cubicBezTo>
                        <a:pt x="221723" y="416046"/>
                        <a:pt x="224638" y="416255"/>
                        <a:pt x="218285" y="418369"/>
                      </a:cubicBezTo>
                      <a:cubicBezTo>
                        <a:pt x="215341" y="419360"/>
                        <a:pt x="211379" y="418970"/>
                        <a:pt x="208350" y="418551"/>
                      </a:cubicBezTo>
                      <a:cubicBezTo>
                        <a:pt x="199244" y="417265"/>
                        <a:pt x="194377" y="417950"/>
                        <a:pt x="185347" y="420075"/>
                      </a:cubicBezTo>
                      <a:cubicBezTo>
                        <a:pt x="181308" y="421027"/>
                        <a:pt x="170698" y="423503"/>
                        <a:pt x="166564" y="421484"/>
                      </a:cubicBezTo>
                      <a:cubicBezTo>
                        <a:pt x="161411" y="418960"/>
                        <a:pt x="157687" y="406806"/>
                        <a:pt x="154543" y="402101"/>
                      </a:cubicBezTo>
                      <a:cubicBezTo>
                        <a:pt x="152972" y="399739"/>
                        <a:pt x="150305" y="397948"/>
                        <a:pt x="149133" y="395319"/>
                      </a:cubicBezTo>
                      <a:cubicBezTo>
                        <a:pt x="147552" y="391785"/>
                        <a:pt x="148304" y="388070"/>
                        <a:pt x="146733" y="384337"/>
                      </a:cubicBezTo>
                      <a:cubicBezTo>
                        <a:pt x="145028" y="380289"/>
                        <a:pt x="142399" y="377384"/>
                        <a:pt x="141446" y="372888"/>
                      </a:cubicBezTo>
                      <a:cubicBezTo>
                        <a:pt x="140656" y="369182"/>
                        <a:pt x="141961" y="364896"/>
                        <a:pt x="140865" y="361496"/>
                      </a:cubicBezTo>
                      <a:cubicBezTo>
                        <a:pt x="136208" y="346818"/>
                        <a:pt x="113129" y="351371"/>
                        <a:pt x="101651" y="351561"/>
                      </a:cubicBezTo>
                      <a:cubicBezTo>
                        <a:pt x="85744" y="351818"/>
                        <a:pt x="70161" y="351723"/>
                        <a:pt x="54312" y="351199"/>
                      </a:cubicBezTo>
                      <a:cubicBezTo>
                        <a:pt x="47006" y="350961"/>
                        <a:pt x="39357" y="351761"/>
                        <a:pt x="32309" y="351561"/>
                      </a:cubicBezTo>
                      <a:cubicBezTo>
                        <a:pt x="29528" y="351476"/>
                        <a:pt x="26223" y="350390"/>
                        <a:pt x="23622" y="350666"/>
                      </a:cubicBezTo>
                      <a:cubicBezTo>
                        <a:pt x="19326" y="351133"/>
                        <a:pt x="17564" y="353447"/>
                        <a:pt x="13754" y="354724"/>
                      </a:cubicBezTo>
                      <a:cubicBezTo>
                        <a:pt x="7115" y="356943"/>
                        <a:pt x="3286" y="354076"/>
                        <a:pt x="0" y="348113"/>
                      </a:cubicBezTo>
                      <a:cubicBezTo>
                        <a:pt x="8697" y="345799"/>
                        <a:pt x="9192" y="348275"/>
                        <a:pt x="9687" y="338007"/>
                      </a:cubicBezTo>
                      <a:cubicBezTo>
                        <a:pt x="9830" y="335140"/>
                        <a:pt x="8973" y="330597"/>
                        <a:pt x="9335" y="328349"/>
                      </a:cubicBezTo>
                      <a:cubicBezTo>
                        <a:pt x="9801" y="325510"/>
                        <a:pt x="7706" y="328749"/>
                        <a:pt x="10401" y="324767"/>
                      </a:cubicBezTo>
                      <a:cubicBezTo>
                        <a:pt x="13373" y="320386"/>
                        <a:pt x="19383" y="316766"/>
                        <a:pt x="23879" y="314404"/>
                      </a:cubicBezTo>
                      <a:cubicBezTo>
                        <a:pt x="29547" y="311432"/>
                        <a:pt x="27747" y="312004"/>
                        <a:pt x="32499" y="315376"/>
                      </a:cubicBezTo>
                      <a:cubicBezTo>
                        <a:pt x="36738" y="318376"/>
                        <a:pt x="42072" y="320338"/>
                        <a:pt x="46177" y="314909"/>
                      </a:cubicBezTo>
                      <a:cubicBezTo>
                        <a:pt x="47454" y="313214"/>
                        <a:pt x="46330" y="308927"/>
                        <a:pt x="47597" y="307689"/>
                      </a:cubicBezTo>
                      <a:cubicBezTo>
                        <a:pt x="49835" y="305508"/>
                        <a:pt x="50502" y="308289"/>
                        <a:pt x="52626" y="307784"/>
                      </a:cubicBezTo>
                      <a:cubicBezTo>
                        <a:pt x="55455" y="307108"/>
                        <a:pt x="64913" y="301641"/>
                        <a:pt x="67218" y="302231"/>
                      </a:cubicBezTo>
                      <a:cubicBezTo>
                        <a:pt x="72781" y="303650"/>
                        <a:pt x="68542" y="311461"/>
                        <a:pt x="69257" y="314947"/>
                      </a:cubicBezTo>
                      <a:cubicBezTo>
                        <a:pt x="72247" y="329606"/>
                        <a:pt x="86344" y="312652"/>
                        <a:pt x="91450" y="307146"/>
                      </a:cubicBezTo>
                      <a:cubicBezTo>
                        <a:pt x="101022" y="296840"/>
                        <a:pt x="114576" y="293925"/>
                        <a:pt x="121387" y="281600"/>
                      </a:cubicBezTo>
                      <a:cubicBezTo>
                        <a:pt x="129340" y="267189"/>
                        <a:pt x="122939" y="253349"/>
                        <a:pt x="126111" y="238547"/>
                      </a:cubicBezTo>
                      <a:cubicBezTo>
                        <a:pt x="127597" y="231613"/>
                        <a:pt x="135436" y="227412"/>
                        <a:pt x="139113" y="221288"/>
                      </a:cubicBezTo>
                      <a:cubicBezTo>
                        <a:pt x="142247" y="216078"/>
                        <a:pt x="143913" y="209544"/>
                        <a:pt x="148180" y="205057"/>
                      </a:cubicBezTo>
                      <a:cubicBezTo>
                        <a:pt x="153048" y="199942"/>
                        <a:pt x="160192" y="198618"/>
                        <a:pt x="165497" y="193932"/>
                      </a:cubicBezTo>
                      <a:cubicBezTo>
                        <a:pt x="167983" y="191751"/>
                        <a:pt x="171136" y="189493"/>
                        <a:pt x="172936" y="186674"/>
                      </a:cubicBezTo>
                      <a:cubicBezTo>
                        <a:pt x="175794" y="182254"/>
                        <a:pt x="174298" y="181302"/>
                        <a:pt x="174565" y="175835"/>
                      </a:cubicBezTo>
                      <a:cubicBezTo>
                        <a:pt x="174898" y="169138"/>
                        <a:pt x="178699" y="163223"/>
                        <a:pt x="180023" y="156803"/>
                      </a:cubicBezTo>
                      <a:cubicBezTo>
                        <a:pt x="181680" y="148803"/>
                        <a:pt x="178680" y="141173"/>
                        <a:pt x="179994" y="133191"/>
                      </a:cubicBezTo>
                      <a:cubicBezTo>
                        <a:pt x="181118" y="126409"/>
                        <a:pt x="184690" y="120532"/>
                        <a:pt x="185309" y="113617"/>
                      </a:cubicBezTo>
                      <a:cubicBezTo>
                        <a:pt x="185995" y="105730"/>
                        <a:pt x="185881" y="100244"/>
                        <a:pt x="188976" y="92634"/>
                      </a:cubicBezTo>
                      <a:cubicBezTo>
                        <a:pt x="194120" y="80013"/>
                        <a:pt x="202540" y="70212"/>
                        <a:pt x="201844" y="56058"/>
                      </a:cubicBezTo>
                      <a:cubicBezTo>
                        <a:pt x="201644" y="51886"/>
                        <a:pt x="202064" y="48247"/>
                        <a:pt x="202254" y="44104"/>
                      </a:cubicBezTo>
                      <a:cubicBezTo>
                        <a:pt x="202397" y="40865"/>
                        <a:pt x="200025" y="35665"/>
                        <a:pt x="200473" y="33150"/>
                      </a:cubicBezTo>
                      <a:cubicBezTo>
                        <a:pt x="201139" y="29454"/>
                        <a:pt x="210379" y="20596"/>
                        <a:pt x="213455" y="16395"/>
                      </a:cubicBezTo>
                      <a:cubicBezTo>
                        <a:pt x="217284" y="11166"/>
                        <a:pt x="222438" y="6204"/>
                        <a:pt x="229296" y="5204"/>
                      </a:cubicBezTo>
                      <a:cubicBezTo>
                        <a:pt x="236572" y="4147"/>
                        <a:pt x="240811" y="8433"/>
                        <a:pt x="246679" y="11728"/>
                      </a:cubicBezTo>
                      <a:cubicBezTo>
                        <a:pt x="250346" y="13786"/>
                        <a:pt x="253718" y="15272"/>
                        <a:pt x="256689" y="18367"/>
                      </a:cubicBezTo>
                      <a:cubicBezTo>
                        <a:pt x="258690" y="20444"/>
                        <a:pt x="260175" y="24739"/>
                        <a:pt x="262842" y="26130"/>
                      </a:cubicBezTo>
                      <a:cubicBezTo>
                        <a:pt x="265814" y="27673"/>
                        <a:pt x="269586" y="26521"/>
                        <a:pt x="272825" y="27140"/>
                      </a:cubicBezTo>
                      <a:cubicBezTo>
                        <a:pt x="276530" y="27864"/>
                        <a:pt x="279578" y="30054"/>
                        <a:pt x="283226" y="30950"/>
                      </a:cubicBezTo>
                      <a:cubicBezTo>
                        <a:pt x="289084" y="32388"/>
                        <a:pt x="295685" y="31883"/>
                        <a:pt x="301943" y="32264"/>
                      </a:cubicBezTo>
                      <a:cubicBezTo>
                        <a:pt x="307791" y="32617"/>
                        <a:pt x="317307" y="38094"/>
                        <a:pt x="322288" y="35979"/>
                      </a:cubicBezTo>
                      <a:cubicBezTo>
                        <a:pt x="326679" y="34112"/>
                        <a:pt x="327489" y="25263"/>
                        <a:pt x="330832" y="21663"/>
                      </a:cubicBezTo>
                      <a:cubicBezTo>
                        <a:pt x="336557" y="15510"/>
                        <a:pt x="340805" y="18224"/>
                        <a:pt x="347920" y="19167"/>
                      </a:cubicBezTo>
                      <a:cubicBezTo>
                        <a:pt x="360636" y="20872"/>
                        <a:pt x="372628" y="8794"/>
                        <a:pt x="385353" y="9099"/>
                      </a:cubicBezTo>
                      <a:cubicBezTo>
                        <a:pt x="392983" y="9290"/>
                        <a:pt x="400641" y="12614"/>
                        <a:pt x="408175" y="9023"/>
                      </a:cubicBezTo>
                      <a:cubicBezTo>
                        <a:pt x="415519" y="5518"/>
                        <a:pt x="413490" y="-987"/>
                        <a:pt x="423453" y="127"/>
                      </a:cubicBezTo>
                      <a:cubicBezTo>
                        <a:pt x="434807" y="1403"/>
                        <a:pt x="450066" y="9995"/>
                        <a:pt x="461334" y="6585"/>
                      </a:cubicBezTo>
                      <a:cubicBezTo>
                        <a:pt x="463877" y="5813"/>
                        <a:pt x="465087" y="3213"/>
                        <a:pt x="467916" y="2937"/>
                      </a:cubicBezTo>
                      <a:cubicBezTo>
                        <a:pt x="470849" y="2679"/>
                        <a:pt x="474926" y="4889"/>
                        <a:pt x="477746" y="5766"/>
                      </a:cubicBezTo>
                      <a:lnTo>
                        <a:pt x="477746" y="5766"/>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73" name="Freeform: Shape 672">
                  <a:extLst>
                    <a:ext uri="{FF2B5EF4-FFF2-40B4-BE49-F238E27FC236}">
                      <a16:creationId xmlns:a16="http://schemas.microsoft.com/office/drawing/2014/main" id="{1B446E5A-E35D-4F2C-B0EC-E71603602690}"/>
                    </a:ext>
                  </a:extLst>
                </p:cNvPr>
                <p:cNvSpPr/>
                <p:nvPr/>
              </p:nvSpPr>
              <p:spPr>
                <a:xfrm>
                  <a:off x="5861715" y="3952850"/>
                  <a:ext cx="241119" cy="358742"/>
                </a:xfrm>
                <a:custGeom>
                  <a:avLst/>
                  <a:gdLst>
                    <a:gd name="connsiteX0" fmla="*/ 217406 w 241119"/>
                    <a:gd name="connsiteY0" fmla="*/ 175044 h 358742"/>
                    <a:gd name="connsiteX1" fmla="*/ 206966 w 241119"/>
                    <a:gd name="connsiteY1" fmla="*/ 190789 h 358742"/>
                    <a:gd name="connsiteX2" fmla="*/ 196422 w 241119"/>
                    <a:gd name="connsiteY2" fmla="*/ 210592 h 358742"/>
                    <a:gd name="connsiteX3" fmla="*/ 186554 w 241119"/>
                    <a:gd name="connsiteY3" fmla="*/ 219050 h 358742"/>
                    <a:gd name="connsiteX4" fmla="*/ 190831 w 241119"/>
                    <a:gd name="connsiteY4" fmla="*/ 227003 h 358742"/>
                    <a:gd name="connsiteX5" fmla="*/ 189678 w 241119"/>
                    <a:gd name="connsiteY5" fmla="*/ 245177 h 358742"/>
                    <a:gd name="connsiteX6" fmla="*/ 193784 w 241119"/>
                    <a:gd name="connsiteY6" fmla="*/ 259950 h 358742"/>
                    <a:gd name="connsiteX7" fmla="*/ 204099 w 241119"/>
                    <a:gd name="connsiteY7" fmla="*/ 274476 h 358742"/>
                    <a:gd name="connsiteX8" fmla="*/ 204890 w 241119"/>
                    <a:gd name="connsiteY8" fmla="*/ 285525 h 358742"/>
                    <a:gd name="connsiteX9" fmla="*/ 222025 w 241119"/>
                    <a:gd name="connsiteY9" fmla="*/ 306918 h 358742"/>
                    <a:gd name="connsiteX10" fmla="*/ 237580 w 241119"/>
                    <a:gd name="connsiteY10" fmla="*/ 320443 h 358742"/>
                    <a:gd name="connsiteX11" fmla="*/ 241114 w 241119"/>
                    <a:gd name="connsiteY11" fmla="*/ 339836 h 358742"/>
                    <a:gd name="connsiteX12" fmla="*/ 238094 w 241119"/>
                    <a:gd name="connsiteY12" fmla="*/ 347018 h 358742"/>
                    <a:gd name="connsiteX13" fmla="*/ 239066 w 241119"/>
                    <a:gd name="connsiteY13" fmla="*/ 358353 h 358742"/>
                    <a:gd name="connsiteX14" fmla="*/ 231617 w 241119"/>
                    <a:gd name="connsiteY14" fmla="*/ 354533 h 358742"/>
                    <a:gd name="connsiteX15" fmla="*/ 218358 w 241119"/>
                    <a:gd name="connsiteY15" fmla="*/ 350418 h 358742"/>
                    <a:gd name="connsiteX16" fmla="*/ 200946 w 241119"/>
                    <a:gd name="connsiteY16" fmla="*/ 347275 h 358742"/>
                    <a:gd name="connsiteX17" fmla="*/ 193079 w 241119"/>
                    <a:gd name="connsiteY17" fmla="*/ 344399 h 358742"/>
                    <a:gd name="connsiteX18" fmla="*/ 179001 w 241119"/>
                    <a:gd name="connsiteY18" fmla="*/ 343970 h 358742"/>
                    <a:gd name="connsiteX19" fmla="*/ 150511 w 241119"/>
                    <a:gd name="connsiteY19" fmla="*/ 343951 h 358742"/>
                    <a:gd name="connsiteX20" fmla="*/ 146064 w 241119"/>
                    <a:gd name="connsiteY20" fmla="*/ 340893 h 358742"/>
                    <a:gd name="connsiteX21" fmla="*/ 137462 w 241119"/>
                    <a:gd name="connsiteY21" fmla="*/ 341236 h 358742"/>
                    <a:gd name="connsiteX22" fmla="*/ 122565 w 241119"/>
                    <a:gd name="connsiteY22" fmla="*/ 339846 h 358742"/>
                    <a:gd name="connsiteX23" fmla="*/ 89218 w 241119"/>
                    <a:gd name="connsiteY23" fmla="*/ 339598 h 358742"/>
                    <a:gd name="connsiteX24" fmla="*/ 71025 w 241119"/>
                    <a:gd name="connsiteY24" fmla="*/ 343760 h 358742"/>
                    <a:gd name="connsiteX25" fmla="*/ 42431 w 241119"/>
                    <a:gd name="connsiteY25" fmla="*/ 342084 h 358742"/>
                    <a:gd name="connsiteX26" fmla="*/ 43031 w 241119"/>
                    <a:gd name="connsiteY26" fmla="*/ 320624 h 358742"/>
                    <a:gd name="connsiteX27" fmla="*/ 43060 w 241119"/>
                    <a:gd name="connsiteY27" fmla="*/ 308356 h 358742"/>
                    <a:gd name="connsiteX28" fmla="*/ 39212 w 241119"/>
                    <a:gd name="connsiteY28" fmla="*/ 297888 h 358742"/>
                    <a:gd name="connsiteX29" fmla="*/ 32583 w 241119"/>
                    <a:gd name="connsiteY29" fmla="*/ 292402 h 358742"/>
                    <a:gd name="connsiteX30" fmla="*/ 38345 w 241119"/>
                    <a:gd name="connsiteY30" fmla="*/ 290678 h 358742"/>
                    <a:gd name="connsiteX31" fmla="*/ 36697 w 241119"/>
                    <a:gd name="connsiteY31" fmla="*/ 284267 h 358742"/>
                    <a:gd name="connsiteX32" fmla="*/ 30239 w 241119"/>
                    <a:gd name="connsiteY32" fmla="*/ 283963 h 358742"/>
                    <a:gd name="connsiteX33" fmla="*/ 24620 w 241119"/>
                    <a:gd name="connsiteY33" fmla="*/ 287411 h 358742"/>
                    <a:gd name="connsiteX34" fmla="*/ 14485 w 241119"/>
                    <a:gd name="connsiteY34" fmla="*/ 279924 h 358742"/>
                    <a:gd name="connsiteX35" fmla="*/ 11913 w 241119"/>
                    <a:gd name="connsiteY35" fmla="*/ 268303 h 358742"/>
                    <a:gd name="connsiteX36" fmla="*/ 4227 w 241119"/>
                    <a:gd name="connsiteY36" fmla="*/ 264913 h 358742"/>
                    <a:gd name="connsiteX37" fmla="*/ 388 w 241119"/>
                    <a:gd name="connsiteY37" fmla="*/ 267770 h 358742"/>
                    <a:gd name="connsiteX38" fmla="*/ 3570 w 241119"/>
                    <a:gd name="connsiteY38" fmla="*/ 256854 h 358742"/>
                    <a:gd name="connsiteX39" fmla="*/ 9694 w 241119"/>
                    <a:gd name="connsiteY39" fmla="*/ 242900 h 358742"/>
                    <a:gd name="connsiteX40" fmla="*/ 12875 w 241119"/>
                    <a:gd name="connsiteY40" fmla="*/ 229394 h 358742"/>
                    <a:gd name="connsiteX41" fmla="*/ 31868 w 241119"/>
                    <a:gd name="connsiteY41" fmla="*/ 208639 h 358742"/>
                    <a:gd name="connsiteX42" fmla="*/ 39517 w 241119"/>
                    <a:gd name="connsiteY42" fmla="*/ 198733 h 358742"/>
                    <a:gd name="connsiteX43" fmla="*/ 50223 w 241119"/>
                    <a:gd name="connsiteY43" fmla="*/ 191665 h 358742"/>
                    <a:gd name="connsiteX44" fmla="*/ 59205 w 241119"/>
                    <a:gd name="connsiteY44" fmla="*/ 195294 h 358742"/>
                    <a:gd name="connsiteX45" fmla="*/ 66777 w 241119"/>
                    <a:gd name="connsiteY45" fmla="*/ 190751 h 358742"/>
                    <a:gd name="connsiteX46" fmla="*/ 86828 w 241119"/>
                    <a:gd name="connsiteY46" fmla="*/ 208048 h 358742"/>
                    <a:gd name="connsiteX47" fmla="*/ 94829 w 241119"/>
                    <a:gd name="connsiteY47" fmla="*/ 196104 h 358742"/>
                    <a:gd name="connsiteX48" fmla="*/ 98820 w 241119"/>
                    <a:gd name="connsiteY48" fmla="*/ 192189 h 358742"/>
                    <a:gd name="connsiteX49" fmla="*/ 102906 w 241119"/>
                    <a:gd name="connsiteY49" fmla="*/ 188855 h 358742"/>
                    <a:gd name="connsiteX50" fmla="*/ 102363 w 241119"/>
                    <a:gd name="connsiteY50" fmla="*/ 185188 h 358742"/>
                    <a:gd name="connsiteX51" fmla="*/ 103001 w 241119"/>
                    <a:gd name="connsiteY51" fmla="*/ 179759 h 358742"/>
                    <a:gd name="connsiteX52" fmla="*/ 108725 w 241119"/>
                    <a:gd name="connsiteY52" fmla="*/ 172911 h 358742"/>
                    <a:gd name="connsiteX53" fmla="*/ 114079 w 241119"/>
                    <a:gd name="connsiteY53" fmla="*/ 157347 h 358742"/>
                    <a:gd name="connsiteX54" fmla="*/ 119984 w 241119"/>
                    <a:gd name="connsiteY54" fmla="*/ 142145 h 358742"/>
                    <a:gd name="connsiteX55" fmla="*/ 132509 w 241119"/>
                    <a:gd name="connsiteY55" fmla="*/ 133210 h 358742"/>
                    <a:gd name="connsiteX56" fmla="*/ 135262 w 241119"/>
                    <a:gd name="connsiteY56" fmla="*/ 117932 h 358742"/>
                    <a:gd name="connsiteX57" fmla="*/ 145473 w 241119"/>
                    <a:gd name="connsiteY57" fmla="*/ 107407 h 358742"/>
                    <a:gd name="connsiteX58" fmla="*/ 148892 w 241119"/>
                    <a:gd name="connsiteY58" fmla="*/ 93796 h 358742"/>
                    <a:gd name="connsiteX59" fmla="*/ 154969 w 241119"/>
                    <a:gd name="connsiteY59" fmla="*/ 77337 h 358742"/>
                    <a:gd name="connsiteX60" fmla="*/ 165399 w 241119"/>
                    <a:gd name="connsiteY60" fmla="*/ 61116 h 358742"/>
                    <a:gd name="connsiteX61" fmla="*/ 180582 w 241119"/>
                    <a:gd name="connsiteY61" fmla="*/ 53353 h 358742"/>
                    <a:gd name="connsiteX62" fmla="*/ 186316 w 241119"/>
                    <a:gd name="connsiteY62" fmla="*/ 40999 h 358742"/>
                    <a:gd name="connsiteX63" fmla="*/ 185011 w 241119"/>
                    <a:gd name="connsiteY63" fmla="*/ 25844 h 358742"/>
                    <a:gd name="connsiteX64" fmla="*/ 173191 w 241119"/>
                    <a:gd name="connsiteY64" fmla="*/ 18786 h 358742"/>
                    <a:gd name="connsiteX65" fmla="*/ 169152 w 241119"/>
                    <a:gd name="connsiteY65" fmla="*/ 79 h 358742"/>
                    <a:gd name="connsiteX66" fmla="*/ 183297 w 241119"/>
                    <a:gd name="connsiteY66" fmla="*/ 3185 h 358742"/>
                    <a:gd name="connsiteX67" fmla="*/ 186202 w 241119"/>
                    <a:gd name="connsiteY67" fmla="*/ 10319 h 358742"/>
                    <a:gd name="connsiteX68" fmla="*/ 191660 w 241119"/>
                    <a:gd name="connsiteY68" fmla="*/ 14148 h 358742"/>
                    <a:gd name="connsiteX69" fmla="*/ 197127 w 241119"/>
                    <a:gd name="connsiteY69" fmla="*/ 28807 h 358742"/>
                    <a:gd name="connsiteX70" fmla="*/ 202156 w 241119"/>
                    <a:gd name="connsiteY70" fmla="*/ 42237 h 358742"/>
                    <a:gd name="connsiteX71" fmla="*/ 202994 w 241119"/>
                    <a:gd name="connsiteY71" fmla="*/ 72336 h 358742"/>
                    <a:gd name="connsiteX72" fmla="*/ 221254 w 241119"/>
                    <a:gd name="connsiteY72" fmla="*/ 96806 h 358742"/>
                    <a:gd name="connsiteX73" fmla="*/ 203985 w 241119"/>
                    <a:gd name="connsiteY73" fmla="*/ 97844 h 358742"/>
                    <a:gd name="connsiteX74" fmla="*/ 184773 w 241119"/>
                    <a:gd name="connsiteY74" fmla="*/ 98044 h 358742"/>
                    <a:gd name="connsiteX75" fmla="*/ 169657 w 241119"/>
                    <a:gd name="connsiteY75" fmla="*/ 106007 h 358742"/>
                    <a:gd name="connsiteX76" fmla="*/ 179163 w 241119"/>
                    <a:gd name="connsiteY76" fmla="*/ 120171 h 358742"/>
                    <a:gd name="connsiteX77" fmla="*/ 205833 w 241119"/>
                    <a:gd name="connsiteY77" fmla="*/ 143259 h 358742"/>
                    <a:gd name="connsiteX78" fmla="*/ 215758 w 241119"/>
                    <a:gd name="connsiteY78" fmla="*/ 163919 h 358742"/>
                    <a:gd name="connsiteX79" fmla="*/ 217406 w 241119"/>
                    <a:gd name="connsiteY79" fmla="*/ 175044 h 358742"/>
                    <a:gd name="connsiteX80" fmla="*/ 217406 w 241119"/>
                    <a:gd name="connsiteY80" fmla="*/ 175044 h 358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241119" h="358742">
                      <a:moveTo>
                        <a:pt x="217406" y="175044"/>
                      </a:moveTo>
                      <a:cubicBezTo>
                        <a:pt x="214672" y="181302"/>
                        <a:pt x="209643" y="184236"/>
                        <a:pt x="206966" y="190789"/>
                      </a:cubicBezTo>
                      <a:cubicBezTo>
                        <a:pt x="204185" y="197599"/>
                        <a:pt x="200204" y="204229"/>
                        <a:pt x="196422" y="210592"/>
                      </a:cubicBezTo>
                      <a:cubicBezTo>
                        <a:pt x="193898" y="214821"/>
                        <a:pt x="188697" y="215297"/>
                        <a:pt x="186554" y="219050"/>
                      </a:cubicBezTo>
                      <a:cubicBezTo>
                        <a:pt x="183106" y="225069"/>
                        <a:pt x="189259" y="223765"/>
                        <a:pt x="190831" y="227003"/>
                      </a:cubicBezTo>
                      <a:cubicBezTo>
                        <a:pt x="193784" y="233080"/>
                        <a:pt x="189221" y="239357"/>
                        <a:pt x="189678" y="245177"/>
                      </a:cubicBezTo>
                      <a:cubicBezTo>
                        <a:pt x="189983" y="249044"/>
                        <a:pt x="193041" y="255283"/>
                        <a:pt x="193784" y="259950"/>
                      </a:cubicBezTo>
                      <a:cubicBezTo>
                        <a:pt x="195251" y="269113"/>
                        <a:pt x="199242" y="267494"/>
                        <a:pt x="204099" y="274476"/>
                      </a:cubicBezTo>
                      <a:cubicBezTo>
                        <a:pt x="206280" y="277609"/>
                        <a:pt x="210700" y="285391"/>
                        <a:pt x="204890" y="285525"/>
                      </a:cubicBezTo>
                      <a:cubicBezTo>
                        <a:pt x="208052" y="293868"/>
                        <a:pt x="215929" y="300584"/>
                        <a:pt x="222025" y="306918"/>
                      </a:cubicBezTo>
                      <a:cubicBezTo>
                        <a:pt x="226473" y="311547"/>
                        <a:pt x="235055" y="314395"/>
                        <a:pt x="237580" y="320443"/>
                      </a:cubicBezTo>
                      <a:cubicBezTo>
                        <a:pt x="238789" y="323348"/>
                        <a:pt x="241256" y="336722"/>
                        <a:pt x="241114" y="339836"/>
                      </a:cubicBezTo>
                      <a:cubicBezTo>
                        <a:pt x="240971" y="343017"/>
                        <a:pt x="238703" y="343656"/>
                        <a:pt x="238094" y="347018"/>
                      </a:cubicBezTo>
                      <a:cubicBezTo>
                        <a:pt x="237475" y="350418"/>
                        <a:pt x="241837" y="356086"/>
                        <a:pt x="239066" y="358353"/>
                      </a:cubicBezTo>
                      <a:cubicBezTo>
                        <a:pt x="237027" y="360020"/>
                        <a:pt x="233713" y="355886"/>
                        <a:pt x="231617" y="354533"/>
                      </a:cubicBezTo>
                      <a:cubicBezTo>
                        <a:pt x="226693" y="351371"/>
                        <a:pt x="223949" y="351438"/>
                        <a:pt x="218358" y="350418"/>
                      </a:cubicBezTo>
                      <a:cubicBezTo>
                        <a:pt x="212453" y="349352"/>
                        <a:pt x="205604" y="348952"/>
                        <a:pt x="200946" y="347275"/>
                      </a:cubicBezTo>
                      <a:cubicBezTo>
                        <a:pt x="198546" y="346418"/>
                        <a:pt x="195870" y="345018"/>
                        <a:pt x="193079" y="344399"/>
                      </a:cubicBezTo>
                      <a:cubicBezTo>
                        <a:pt x="189040" y="343503"/>
                        <a:pt x="184059" y="343980"/>
                        <a:pt x="179001" y="343970"/>
                      </a:cubicBezTo>
                      <a:cubicBezTo>
                        <a:pt x="170352" y="343960"/>
                        <a:pt x="158875" y="346132"/>
                        <a:pt x="150511" y="343951"/>
                      </a:cubicBezTo>
                      <a:cubicBezTo>
                        <a:pt x="149854" y="343780"/>
                        <a:pt x="147749" y="341379"/>
                        <a:pt x="146064" y="340893"/>
                      </a:cubicBezTo>
                      <a:cubicBezTo>
                        <a:pt x="143635" y="340189"/>
                        <a:pt x="139977" y="341236"/>
                        <a:pt x="137462" y="341236"/>
                      </a:cubicBezTo>
                      <a:cubicBezTo>
                        <a:pt x="132386" y="341236"/>
                        <a:pt x="127585" y="340122"/>
                        <a:pt x="122565" y="339846"/>
                      </a:cubicBezTo>
                      <a:cubicBezTo>
                        <a:pt x="111640" y="339246"/>
                        <a:pt x="100191" y="339446"/>
                        <a:pt x="89218" y="339598"/>
                      </a:cubicBezTo>
                      <a:cubicBezTo>
                        <a:pt x="90285" y="346637"/>
                        <a:pt x="75817" y="343760"/>
                        <a:pt x="71025" y="343760"/>
                      </a:cubicBezTo>
                      <a:cubicBezTo>
                        <a:pt x="64082" y="343760"/>
                        <a:pt x="47765" y="346761"/>
                        <a:pt x="42431" y="342084"/>
                      </a:cubicBezTo>
                      <a:cubicBezTo>
                        <a:pt x="38240" y="338388"/>
                        <a:pt x="41870" y="326092"/>
                        <a:pt x="43031" y="320624"/>
                      </a:cubicBezTo>
                      <a:cubicBezTo>
                        <a:pt x="44070" y="315671"/>
                        <a:pt x="45841" y="313395"/>
                        <a:pt x="43060" y="308356"/>
                      </a:cubicBezTo>
                      <a:cubicBezTo>
                        <a:pt x="41050" y="304737"/>
                        <a:pt x="32983" y="301041"/>
                        <a:pt x="39212" y="297888"/>
                      </a:cubicBezTo>
                      <a:cubicBezTo>
                        <a:pt x="34478" y="299783"/>
                        <a:pt x="34716" y="295402"/>
                        <a:pt x="32583" y="292402"/>
                      </a:cubicBezTo>
                      <a:cubicBezTo>
                        <a:pt x="34116" y="290487"/>
                        <a:pt x="35793" y="289840"/>
                        <a:pt x="38345" y="290678"/>
                      </a:cubicBezTo>
                      <a:cubicBezTo>
                        <a:pt x="36050" y="289039"/>
                        <a:pt x="34364" y="286687"/>
                        <a:pt x="36697" y="284267"/>
                      </a:cubicBezTo>
                      <a:cubicBezTo>
                        <a:pt x="35345" y="284972"/>
                        <a:pt x="32221" y="285448"/>
                        <a:pt x="30239" y="283963"/>
                      </a:cubicBezTo>
                      <a:cubicBezTo>
                        <a:pt x="31925" y="289344"/>
                        <a:pt x="27249" y="287896"/>
                        <a:pt x="24620" y="287411"/>
                      </a:cubicBezTo>
                      <a:cubicBezTo>
                        <a:pt x="19867" y="286534"/>
                        <a:pt x="16485" y="283439"/>
                        <a:pt x="14485" y="279924"/>
                      </a:cubicBezTo>
                      <a:cubicBezTo>
                        <a:pt x="12694" y="276790"/>
                        <a:pt x="13409" y="270342"/>
                        <a:pt x="11913" y="268303"/>
                      </a:cubicBezTo>
                      <a:cubicBezTo>
                        <a:pt x="10875" y="266875"/>
                        <a:pt x="6132" y="267075"/>
                        <a:pt x="4227" y="264913"/>
                      </a:cubicBezTo>
                      <a:cubicBezTo>
                        <a:pt x="6589" y="269284"/>
                        <a:pt x="2655" y="271599"/>
                        <a:pt x="388" y="267770"/>
                      </a:cubicBezTo>
                      <a:cubicBezTo>
                        <a:pt x="-1174" y="265132"/>
                        <a:pt x="2407" y="259226"/>
                        <a:pt x="3570" y="256854"/>
                      </a:cubicBezTo>
                      <a:cubicBezTo>
                        <a:pt x="6027" y="251854"/>
                        <a:pt x="8379" y="248415"/>
                        <a:pt x="9694" y="242900"/>
                      </a:cubicBezTo>
                      <a:cubicBezTo>
                        <a:pt x="10742" y="238481"/>
                        <a:pt x="11237" y="233623"/>
                        <a:pt x="12875" y="229394"/>
                      </a:cubicBezTo>
                      <a:cubicBezTo>
                        <a:pt x="16380" y="220335"/>
                        <a:pt x="24944" y="214830"/>
                        <a:pt x="31868" y="208639"/>
                      </a:cubicBezTo>
                      <a:cubicBezTo>
                        <a:pt x="35259" y="205610"/>
                        <a:pt x="36516" y="201781"/>
                        <a:pt x="39517" y="198733"/>
                      </a:cubicBezTo>
                      <a:cubicBezTo>
                        <a:pt x="42098" y="196113"/>
                        <a:pt x="47070" y="193961"/>
                        <a:pt x="50223" y="191665"/>
                      </a:cubicBezTo>
                      <a:cubicBezTo>
                        <a:pt x="51213" y="195275"/>
                        <a:pt x="55786" y="196752"/>
                        <a:pt x="59205" y="195294"/>
                      </a:cubicBezTo>
                      <a:cubicBezTo>
                        <a:pt x="64168" y="193180"/>
                        <a:pt x="61291" y="189665"/>
                        <a:pt x="66777" y="190751"/>
                      </a:cubicBezTo>
                      <a:cubicBezTo>
                        <a:pt x="77769" y="192932"/>
                        <a:pt x="76607" y="211839"/>
                        <a:pt x="86828" y="208048"/>
                      </a:cubicBezTo>
                      <a:cubicBezTo>
                        <a:pt x="94209" y="205305"/>
                        <a:pt x="92200" y="201324"/>
                        <a:pt x="94829" y="196104"/>
                      </a:cubicBezTo>
                      <a:cubicBezTo>
                        <a:pt x="95724" y="194332"/>
                        <a:pt x="97448" y="193580"/>
                        <a:pt x="98820" y="192189"/>
                      </a:cubicBezTo>
                      <a:cubicBezTo>
                        <a:pt x="99429" y="191570"/>
                        <a:pt x="102515" y="189827"/>
                        <a:pt x="102906" y="188855"/>
                      </a:cubicBezTo>
                      <a:cubicBezTo>
                        <a:pt x="103829" y="186522"/>
                        <a:pt x="101915" y="186979"/>
                        <a:pt x="102363" y="185188"/>
                      </a:cubicBezTo>
                      <a:cubicBezTo>
                        <a:pt x="102763" y="183569"/>
                        <a:pt x="102087" y="182197"/>
                        <a:pt x="103001" y="179759"/>
                      </a:cubicBezTo>
                      <a:cubicBezTo>
                        <a:pt x="103992" y="177140"/>
                        <a:pt x="107430" y="175416"/>
                        <a:pt x="108725" y="172911"/>
                      </a:cubicBezTo>
                      <a:cubicBezTo>
                        <a:pt x="110859" y="168777"/>
                        <a:pt x="112602" y="162166"/>
                        <a:pt x="114079" y="157347"/>
                      </a:cubicBezTo>
                      <a:cubicBezTo>
                        <a:pt x="115479" y="152718"/>
                        <a:pt x="116060" y="145517"/>
                        <a:pt x="119984" y="142145"/>
                      </a:cubicBezTo>
                      <a:cubicBezTo>
                        <a:pt x="124165" y="138563"/>
                        <a:pt x="129614" y="140164"/>
                        <a:pt x="132509" y="133210"/>
                      </a:cubicBezTo>
                      <a:cubicBezTo>
                        <a:pt x="134453" y="128543"/>
                        <a:pt x="133052" y="122485"/>
                        <a:pt x="135262" y="117932"/>
                      </a:cubicBezTo>
                      <a:cubicBezTo>
                        <a:pt x="138015" y="112284"/>
                        <a:pt x="143235" y="113113"/>
                        <a:pt x="145473" y="107407"/>
                      </a:cubicBezTo>
                      <a:cubicBezTo>
                        <a:pt x="147388" y="102521"/>
                        <a:pt x="146359" y="98520"/>
                        <a:pt x="148892" y="93796"/>
                      </a:cubicBezTo>
                      <a:cubicBezTo>
                        <a:pt x="151702" y="88567"/>
                        <a:pt x="152569" y="82975"/>
                        <a:pt x="154969" y="77337"/>
                      </a:cubicBezTo>
                      <a:cubicBezTo>
                        <a:pt x="156960" y="72641"/>
                        <a:pt x="161704" y="64478"/>
                        <a:pt x="165399" y="61116"/>
                      </a:cubicBezTo>
                      <a:cubicBezTo>
                        <a:pt x="169685" y="57201"/>
                        <a:pt x="175620" y="56734"/>
                        <a:pt x="180582" y="53353"/>
                      </a:cubicBezTo>
                      <a:cubicBezTo>
                        <a:pt x="187164" y="48857"/>
                        <a:pt x="185773" y="48790"/>
                        <a:pt x="186316" y="40999"/>
                      </a:cubicBezTo>
                      <a:cubicBezTo>
                        <a:pt x="186687" y="35617"/>
                        <a:pt x="189221" y="30407"/>
                        <a:pt x="185011" y="25844"/>
                      </a:cubicBezTo>
                      <a:cubicBezTo>
                        <a:pt x="180839" y="21320"/>
                        <a:pt x="176124" y="24254"/>
                        <a:pt x="173191" y="18786"/>
                      </a:cubicBezTo>
                      <a:cubicBezTo>
                        <a:pt x="170590" y="13919"/>
                        <a:pt x="170409" y="5461"/>
                        <a:pt x="169152" y="79"/>
                      </a:cubicBezTo>
                      <a:cubicBezTo>
                        <a:pt x="173372" y="-149"/>
                        <a:pt x="180201" y="-92"/>
                        <a:pt x="183297" y="3185"/>
                      </a:cubicBezTo>
                      <a:cubicBezTo>
                        <a:pt x="184716" y="4690"/>
                        <a:pt x="184545" y="8309"/>
                        <a:pt x="186202" y="10319"/>
                      </a:cubicBezTo>
                      <a:cubicBezTo>
                        <a:pt x="187659" y="12090"/>
                        <a:pt x="190231" y="12405"/>
                        <a:pt x="191660" y="14148"/>
                      </a:cubicBezTo>
                      <a:cubicBezTo>
                        <a:pt x="194965" y="18186"/>
                        <a:pt x="195108" y="24140"/>
                        <a:pt x="197127" y="28807"/>
                      </a:cubicBezTo>
                      <a:cubicBezTo>
                        <a:pt x="199165" y="33522"/>
                        <a:pt x="201080" y="37227"/>
                        <a:pt x="202156" y="42237"/>
                      </a:cubicBezTo>
                      <a:cubicBezTo>
                        <a:pt x="204271" y="52115"/>
                        <a:pt x="199822" y="61497"/>
                        <a:pt x="202994" y="72336"/>
                      </a:cubicBezTo>
                      <a:cubicBezTo>
                        <a:pt x="205880" y="82156"/>
                        <a:pt x="212034" y="91805"/>
                        <a:pt x="221254" y="96806"/>
                      </a:cubicBezTo>
                      <a:cubicBezTo>
                        <a:pt x="215939" y="99959"/>
                        <a:pt x="209633" y="97768"/>
                        <a:pt x="203985" y="97844"/>
                      </a:cubicBezTo>
                      <a:cubicBezTo>
                        <a:pt x="197451" y="97939"/>
                        <a:pt x="191412" y="98539"/>
                        <a:pt x="184773" y="98044"/>
                      </a:cubicBezTo>
                      <a:cubicBezTo>
                        <a:pt x="179277" y="97634"/>
                        <a:pt x="170857" y="98577"/>
                        <a:pt x="169657" y="106007"/>
                      </a:cubicBezTo>
                      <a:cubicBezTo>
                        <a:pt x="168885" y="110798"/>
                        <a:pt x="175848" y="116456"/>
                        <a:pt x="179163" y="120171"/>
                      </a:cubicBezTo>
                      <a:cubicBezTo>
                        <a:pt x="187011" y="128972"/>
                        <a:pt x="198803" y="133925"/>
                        <a:pt x="205833" y="143259"/>
                      </a:cubicBezTo>
                      <a:cubicBezTo>
                        <a:pt x="210548" y="149517"/>
                        <a:pt x="211691" y="157432"/>
                        <a:pt x="215758" y="163919"/>
                      </a:cubicBezTo>
                      <a:cubicBezTo>
                        <a:pt x="218330" y="168043"/>
                        <a:pt x="222178" y="169262"/>
                        <a:pt x="217406" y="175044"/>
                      </a:cubicBezTo>
                      <a:lnTo>
                        <a:pt x="217406" y="175044"/>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74" name="Freeform: Shape 673">
                  <a:extLst>
                    <a:ext uri="{FF2B5EF4-FFF2-40B4-BE49-F238E27FC236}">
                      <a16:creationId xmlns:a16="http://schemas.microsoft.com/office/drawing/2014/main" id="{BF6EFBB8-2259-4568-8BCC-A66BE5030C87}"/>
                    </a:ext>
                  </a:extLst>
                </p:cNvPr>
                <p:cNvSpPr/>
                <p:nvPr/>
              </p:nvSpPr>
              <p:spPr>
                <a:xfrm>
                  <a:off x="5323436" y="4026877"/>
                  <a:ext cx="191447" cy="201166"/>
                </a:xfrm>
                <a:custGeom>
                  <a:avLst/>
                  <a:gdLst>
                    <a:gd name="connsiteX0" fmla="*/ 75552 w 191447"/>
                    <a:gd name="connsiteY0" fmla="*/ 4196 h 201166"/>
                    <a:gd name="connsiteX1" fmla="*/ 77734 w 191447"/>
                    <a:gd name="connsiteY1" fmla="*/ 16169 h 201166"/>
                    <a:gd name="connsiteX2" fmla="*/ 91040 w 191447"/>
                    <a:gd name="connsiteY2" fmla="*/ 9711 h 201166"/>
                    <a:gd name="connsiteX3" fmla="*/ 98555 w 191447"/>
                    <a:gd name="connsiteY3" fmla="*/ 10625 h 201166"/>
                    <a:gd name="connsiteX4" fmla="*/ 108442 w 191447"/>
                    <a:gd name="connsiteY4" fmla="*/ 13778 h 201166"/>
                    <a:gd name="connsiteX5" fmla="*/ 114043 w 191447"/>
                    <a:gd name="connsiteY5" fmla="*/ 21541 h 201166"/>
                    <a:gd name="connsiteX6" fmla="*/ 120348 w 191447"/>
                    <a:gd name="connsiteY6" fmla="*/ 28694 h 201166"/>
                    <a:gd name="connsiteX7" fmla="*/ 130016 w 191447"/>
                    <a:gd name="connsiteY7" fmla="*/ 33104 h 201166"/>
                    <a:gd name="connsiteX8" fmla="*/ 136693 w 191447"/>
                    <a:gd name="connsiteY8" fmla="*/ 31094 h 201166"/>
                    <a:gd name="connsiteX9" fmla="*/ 158172 w 191447"/>
                    <a:gd name="connsiteY9" fmla="*/ 25389 h 201166"/>
                    <a:gd name="connsiteX10" fmla="*/ 174993 w 191447"/>
                    <a:gd name="connsiteY10" fmla="*/ 31799 h 201166"/>
                    <a:gd name="connsiteX11" fmla="*/ 185814 w 191447"/>
                    <a:gd name="connsiteY11" fmla="*/ 39343 h 201166"/>
                    <a:gd name="connsiteX12" fmla="*/ 186033 w 191447"/>
                    <a:gd name="connsiteY12" fmla="*/ 45306 h 201166"/>
                    <a:gd name="connsiteX13" fmla="*/ 184166 w 191447"/>
                    <a:gd name="connsiteY13" fmla="*/ 52583 h 201166"/>
                    <a:gd name="connsiteX14" fmla="*/ 187757 w 191447"/>
                    <a:gd name="connsiteY14" fmla="*/ 58612 h 201166"/>
                    <a:gd name="connsiteX15" fmla="*/ 189567 w 191447"/>
                    <a:gd name="connsiteY15" fmla="*/ 67099 h 201166"/>
                    <a:gd name="connsiteX16" fmla="*/ 191357 w 191447"/>
                    <a:gd name="connsiteY16" fmla="*/ 77957 h 201166"/>
                    <a:gd name="connsiteX17" fmla="*/ 188300 w 191447"/>
                    <a:gd name="connsiteY17" fmla="*/ 81367 h 201166"/>
                    <a:gd name="connsiteX18" fmla="*/ 186509 w 191447"/>
                    <a:gd name="connsiteY18" fmla="*/ 85320 h 201166"/>
                    <a:gd name="connsiteX19" fmla="*/ 181404 w 191447"/>
                    <a:gd name="connsiteY19" fmla="*/ 91721 h 201166"/>
                    <a:gd name="connsiteX20" fmla="*/ 176508 w 191447"/>
                    <a:gd name="connsiteY20" fmla="*/ 110609 h 201166"/>
                    <a:gd name="connsiteX21" fmla="*/ 168878 w 191447"/>
                    <a:gd name="connsiteY21" fmla="*/ 126325 h 201166"/>
                    <a:gd name="connsiteX22" fmla="*/ 172279 w 191447"/>
                    <a:gd name="connsiteY22" fmla="*/ 145451 h 201166"/>
                    <a:gd name="connsiteX23" fmla="*/ 175089 w 191447"/>
                    <a:gd name="connsiteY23" fmla="*/ 155377 h 201166"/>
                    <a:gd name="connsiteX24" fmla="*/ 179270 w 191447"/>
                    <a:gd name="connsiteY24" fmla="*/ 160644 h 201166"/>
                    <a:gd name="connsiteX25" fmla="*/ 183499 w 191447"/>
                    <a:gd name="connsiteY25" fmla="*/ 167502 h 201166"/>
                    <a:gd name="connsiteX26" fmla="*/ 182109 w 191447"/>
                    <a:gd name="connsiteY26" fmla="*/ 174960 h 201166"/>
                    <a:gd name="connsiteX27" fmla="*/ 171079 w 191447"/>
                    <a:gd name="connsiteY27" fmla="*/ 169540 h 201166"/>
                    <a:gd name="connsiteX28" fmla="*/ 165449 w 191447"/>
                    <a:gd name="connsiteY28" fmla="*/ 175922 h 201166"/>
                    <a:gd name="connsiteX29" fmla="*/ 149552 w 191447"/>
                    <a:gd name="connsiteY29" fmla="*/ 173750 h 201166"/>
                    <a:gd name="connsiteX30" fmla="*/ 125254 w 191447"/>
                    <a:gd name="connsiteY30" fmla="*/ 173083 h 201166"/>
                    <a:gd name="connsiteX31" fmla="*/ 143228 w 191447"/>
                    <a:gd name="connsiteY31" fmla="*/ 173265 h 201166"/>
                    <a:gd name="connsiteX32" fmla="*/ 118739 w 191447"/>
                    <a:gd name="connsiteY32" fmla="*/ 175779 h 201166"/>
                    <a:gd name="connsiteX33" fmla="*/ 101394 w 191447"/>
                    <a:gd name="connsiteY33" fmla="*/ 175770 h 201166"/>
                    <a:gd name="connsiteX34" fmla="*/ 111005 w 191447"/>
                    <a:gd name="connsiteY34" fmla="*/ 176398 h 201166"/>
                    <a:gd name="connsiteX35" fmla="*/ 68561 w 191447"/>
                    <a:gd name="connsiteY35" fmla="*/ 186314 h 201166"/>
                    <a:gd name="connsiteX36" fmla="*/ 51264 w 191447"/>
                    <a:gd name="connsiteY36" fmla="*/ 192724 h 201166"/>
                    <a:gd name="connsiteX37" fmla="*/ 32823 w 191447"/>
                    <a:gd name="connsiteY37" fmla="*/ 200925 h 201166"/>
                    <a:gd name="connsiteX38" fmla="*/ 31585 w 191447"/>
                    <a:gd name="connsiteY38" fmla="*/ 183923 h 201166"/>
                    <a:gd name="connsiteX39" fmla="*/ 36614 w 191447"/>
                    <a:gd name="connsiteY39" fmla="*/ 169655 h 201166"/>
                    <a:gd name="connsiteX40" fmla="*/ 35928 w 191447"/>
                    <a:gd name="connsiteY40" fmla="*/ 154033 h 201166"/>
                    <a:gd name="connsiteX41" fmla="*/ 25098 w 191447"/>
                    <a:gd name="connsiteY41" fmla="*/ 147776 h 201166"/>
                    <a:gd name="connsiteX42" fmla="*/ 20927 w 191447"/>
                    <a:gd name="connsiteY42" fmla="*/ 140822 h 201166"/>
                    <a:gd name="connsiteX43" fmla="*/ 12478 w 191447"/>
                    <a:gd name="connsiteY43" fmla="*/ 139841 h 201166"/>
                    <a:gd name="connsiteX44" fmla="*/ 0 w 191447"/>
                    <a:gd name="connsiteY44" fmla="*/ 133012 h 201166"/>
                    <a:gd name="connsiteX45" fmla="*/ 3972 w 191447"/>
                    <a:gd name="connsiteY45" fmla="*/ 99922 h 201166"/>
                    <a:gd name="connsiteX46" fmla="*/ 13230 w 191447"/>
                    <a:gd name="connsiteY46" fmla="*/ 98084 h 201166"/>
                    <a:gd name="connsiteX47" fmla="*/ 17383 w 191447"/>
                    <a:gd name="connsiteY47" fmla="*/ 86149 h 201166"/>
                    <a:gd name="connsiteX48" fmla="*/ 16183 w 191447"/>
                    <a:gd name="connsiteY48" fmla="*/ 80682 h 201166"/>
                    <a:gd name="connsiteX49" fmla="*/ 12087 w 191447"/>
                    <a:gd name="connsiteY49" fmla="*/ 71661 h 201166"/>
                    <a:gd name="connsiteX50" fmla="*/ 29242 w 191447"/>
                    <a:gd name="connsiteY50" fmla="*/ 73643 h 201166"/>
                    <a:gd name="connsiteX51" fmla="*/ 22860 w 191447"/>
                    <a:gd name="connsiteY51" fmla="*/ 61927 h 201166"/>
                    <a:gd name="connsiteX52" fmla="*/ 26670 w 191447"/>
                    <a:gd name="connsiteY52" fmla="*/ 51983 h 201166"/>
                    <a:gd name="connsiteX53" fmla="*/ 23089 w 191447"/>
                    <a:gd name="connsiteY53" fmla="*/ 41429 h 201166"/>
                    <a:gd name="connsiteX54" fmla="*/ 15412 w 191447"/>
                    <a:gd name="connsiteY54" fmla="*/ 30008 h 201166"/>
                    <a:gd name="connsiteX55" fmla="*/ 21355 w 191447"/>
                    <a:gd name="connsiteY55" fmla="*/ 17874 h 201166"/>
                    <a:gd name="connsiteX56" fmla="*/ 34366 w 191447"/>
                    <a:gd name="connsiteY56" fmla="*/ 9511 h 201166"/>
                    <a:gd name="connsiteX57" fmla="*/ 38491 w 191447"/>
                    <a:gd name="connsiteY57" fmla="*/ 12283 h 201166"/>
                    <a:gd name="connsiteX58" fmla="*/ 44834 w 191447"/>
                    <a:gd name="connsiteY58" fmla="*/ 15759 h 201166"/>
                    <a:gd name="connsiteX59" fmla="*/ 51283 w 191447"/>
                    <a:gd name="connsiteY59" fmla="*/ 18331 h 201166"/>
                    <a:gd name="connsiteX60" fmla="*/ 51778 w 191447"/>
                    <a:gd name="connsiteY60" fmla="*/ 14730 h 201166"/>
                    <a:gd name="connsiteX61" fmla="*/ 55559 w 191447"/>
                    <a:gd name="connsiteY61" fmla="*/ 11978 h 201166"/>
                    <a:gd name="connsiteX62" fmla="*/ 61798 w 191447"/>
                    <a:gd name="connsiteY62" fmla="*/ 10682 h 201166"/>
                    <a:gd name="connsiteX63" fmla="*/ 61665 w 191447"/>
                    <a:gd name="connsiteY63" fmla="*/ 3072 h 201166"/>
                    <a:gd name="connsiteX64" fmla="*/ 68609 w 191447"/>
                    <a:gd name="connsiteY64" fmla="*/ 5386 h 201166"/>
                    <a:gd name="connsiteX65" fmla="*/ 75552 w 191447"/>
                    <a:gd name="connsiteY65" fmla="*/ 4196 h 201166"/>
                    <a:gd name="connsiteX66" fmla="*/ 75552 w 191447"/>
                    <a:gd name="connsiteY66" fmla="*/ 4196 h 201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91447" h="201166">
                      <a:moveTo>
                        <a:pt x="75552" y="4196"/>
                      </a:moveTo>
                      <a:cubicBezTo>
                        <a:pt x="75162" y="7768"/>
                        <a:pt x="75343" y="14911"/>
                        <a:pt x="77734" y="16169"/>
                      </a:cubicBezTo>
                      <a:cubicBezTo>
                        <a:pt x="82668" y="18769"/>
                        <a:pt x="86554" y="10997"/>
                        <a:pt x="91040" y="9711"/>
                      </a:cubicBezTo>
                      <a:cubicBezTo>
                        <a:pt x="94812" y="8625"/>
                        <a:pt x="95717" y="9816"/>
                        <a:pt x="98555" y="10625"/>
                      </a:cubicBezTo>
                      <a:cubicBezTo>
                        <a:pt x="100851" y="11282"/>
                        <a:pt x="106194" y="12540"/>
                        <a:pt x="108442" y="13778"/>
                      </a:cubicBezTo>
                      <a:cubicBezTo>
                        <a:pt x="111281" y="15349"/>
                        <a:pt x="112462" y="18769"/>
                        <a:pt x="114043" y="21541"/>
                      </a:cubicBezTo>
                      <a:cubicBezTo>
                        <a:pt x="116157" y="25256"/>
                        <a:pt x="116196" y="26351"/>
                        <a:pt x="120348" y="28694"/>
                      </a:cubicBezTo>
                      <a:cubicBezTo>
                        <a:pt x="123444" y="30437"/>
                        <a:pt x="126768" y="32866"/>
                        <a:pt x="130016" y="33104"/>
                      </a:cubicBezTo>
                      <a:cubicBezTo>
                        <a:pt x="135122" y="33495"/>
                        <a:pt x="132607" y="32790"/>
                        <a:pt x="136693" y="31094"/>
                      </a:cubicBezTo>
                      <a:cubicBezTo>
                        <a:pt x="143713" y="28180"/>
                        <a:pt x="150419" y="25036"/>
                        <a:pt x="158172" y="25389"/>
                      </a:cubicBezTo>
                      <a:cubicBezTo>
                        <a:pt x="165649" y="25732"/>
                        <a:pt x="170269" y="26313"/>
                        <a:pt x="174993" y="31799"/>
                      </a:cubicBezTo>
                      <a:cubicBezTo>
                        <a:pt x="177460" y="34666"/>
                        <a:pt x="181575" y="44296"/>
                        <a:pt x="185814" y="39343"/>
                      </a:cubicBezTo>
                      <a:cubicBezTo>
                        <a:pt x="185528" y="41115"/>
                        <a:pt x="186214" y="43905"/>
                        <a:pt x="186033" y="45306"/>
                      </a:cubicBezTo>
                      <a:cubicBezTo>
                        <a:pt x="185814" y="47106"/>
                        <a:pt x="183937" y="50421"/>
                        <a:pt x="184166" y="52583"/>
                      </a:cubicBezTo>
                      <a:cubicBezTo>
                        <a:pt x="184213" y="53069"/>
                        <a:pt x="187157" y="57088"/>
                        <a:pt x="187757" y="58612"/>
                      </a:cubicBezTo>
                      <a:cubicBezTo>
                        <a:pt x="188852" y="61365"/>
                        <a:pt x="189091" y="64089"/>
                        <a:pt x="189567" y="67099"/>
                      </a:cubicBezTo>
                      <a:cubicBezTo>
                        <a:pt x="190043" y="70109"/>
                        <a:pt x="191872" y="75186"/>
                        <a:pt x="191357" y="77957"/>
                      </a:cubicBezTo>
                      <a:cubicBezTo>
                        <a:pt x="190786" y="81024"/>
                        <a:pt x="189490" y="79348"/>
                        <a:pt x="188300" y="81367"/>
                      </a:cubicBezTo>
                      <a:cubicBezTo>
                        <a:pt x="187185" y="83253"/>
                        <a:pt x="188138" y="83320"/>
                        <a:pt x="186509" y="85320"/>
                      </a:cubicBezTo>
                      <a:cubicBezTo>
                        <a:pt x="184318" y="88006"/>
                        <a:pt x="183080" y="88673"/>
                        <a:pt x="181404" y="91721"/>
                      </a:cubicBezTo>
                      <a:cubicBezTo>
                        <a:pt x="178003" y="97912"/>
                        <a:pt x="178594" y="104275"/>
                        <a:pt x="176508" y="110609"/>
                      </a:cubicBezTo>
                      <a:cubicBezTo>
                        <a:pt x="174536" y="116629"/>
                        <a:pt x="169783" y="119924"/>
                        <a:pt x="168878" y="126325"/>
                      </a:cubicBezTo>
                      <a:cubicBezTo>
                        <a:pt x="167897" y="133260"/>
                        <a:pt x="170079" y="138775"/>
                        <a:pt x="172279" y="145451"/>
                      </a:cubicBezTo>
                      <a:cubicBezTo>
                        <a:pt x="173327" y="148623"/>
                        <a:pt x="173793" y="152338"/>
                        <a:pt x="175089" y="155377"/>
                      </a:cubicBezTo>
                      <a:cubicBezTo>
                        <a:pt x="176698" y="159167"/>
                        <a:pt x="177384" y="158348"/>
                        <a:pt x="179270" y="160644"/>
                      </a:cubicBezTo>
                      <a:cubicBezTo>
                        <a:pt x="181556" y="163416"/>
                        <a:pt x="183252" y="161587"/>
                        <a:pt x="183499" y="167502"/>
                      </a:cubicBezTo>
                      <a:cubicBezTo>
                        <a:pt x="183528" y="168254"/>
                        <a:pt x="182451" y="174598"/>
                        <a:pt x="182109" y="174960"/>
                      </a:cubicBezTo>
                      <a:cubicBezTo>
                        <a:pt x="178623" y="178722"/>
                        <a:pt x="168440" y="175770"/>
                        <a:pt x="171079" y="169540"/>
                      </a:cubicBezTo>
                      <a:cubicBezTo>
                        <a:pt x="166507" y="168950"/>
                        <a:pt x="168488" y="174179"/>
                        <a:pt x="165449" y="175922"/>
                      </a:cubicBezTo>
                      <a:cubicBezTo>
                        <a:pt x="162658" y="177522"/>
                        <a:pt x="152791" y="174769"/>
                        <a:pt x="149552" y="173750"/>
                      </a:cubicBezTo>
                      <a:cubicBezTo>
                        <a:pt x="143056" y="171721"/>
                        <a:pt x="131578" y="167597"/>
                        <a:pt x="125254" y="173083"/>
                      </a:cubicBezTo>
                      <a:cubicBezTo>
                        <a:pt x="130378" y="172817"/>
                        <a:pt x="138884" y="170483"/>
                        <a:pt x="143228" y="173265"/>
                      </a:cubicBezTo>
                      <a:cubicBezTo>
                        <a:pt x="135465" y="173979"/>
                        <a:pt x="126540" y="176179"/>
                        <a:pt x="118739" y="175779"/>
                      </a:cubicBezTo>
                      <a:cubicBezTo>
                        <a:pt x="113510" y="175512"/>
                        <a:pt x="105794" y="171226"/>
                        <a:pt x="101394" y="175770"/>
                      </a:cubicBezTo>
                      <a:cubicBezTo>
                        <a:pt x="104623" y="175417"/>
                        <a:pt x="108233" y="174789"/>
                        <a:pt x="111005" y="176398"/>
                      </a:cubicBezTo>
                      <a:cubicBezTo>
                        <a:pt x="95469" y="177684"/>
                        <a:pt x="83068" y="180846"/>
                        <a:pt x="68561" y="186314"/>
                      </a:cubicBezTo>
                      <a:cubicBezTo>
                        <a:pt x="62779" y="188495"/>
                        <a:pt x="56807" y="190095"/>
                        <a:pt x="51264" y="192724"/>
                      </a:cubicBezTo>
                      <a:cubicBezTo>
                        <a:pt x="48378" y="194096"/>
                        <a:pt x="35643" y="202706"/>
                        <a:pt x="32823" y="200925"/>
                      </a:cubicBezTo>
                      <a:cubicBezTo>
                        <a:pt x="30499" y="199458"/>
                        <a:pt x="31375" y="186561"/>
                        <a:pt x="31585" y="183923"/>
                      </a:cubicBezTo>
                      <a:cubicBezTo>
                        <a:pt x="32052" y="178008"/>
                        <a:pt x="35262" y="175436"/>
                        <a:pt x="36614" y="169655"/>
                      </a:cubicBezTo>
                      <a:cubicBezTo>
                        <a:pt x="37424" y="166178"/>
                        <a:pt x="38281" y="156910"/>
                        <a:pt x="35928" y="154033"/>
                      </a:cubicBezTo>
                      <a:cubicBezTo>
                        <a:pt x="33728" y="151319"/>
                        <a:pt x="27661" y="151490"/>
                        <a:pt x="25098" y="147776"/>
                      </a:cubicBezTo>
                      <a:cubicBezTo>
                        <a:pt x="23479" y="145423"/>
                        <a:pt x="23355" y="142423"/>
                        <a:pt x="20927" y="140822"/>
                      </a:cubicBezTo>
                      <a:cubicBezTo>
                        <a:pt x="18002" y="138898"/>
                        <a:pt x="15459" y="140699"/>
                        <a:pt x="12478" y="139841"/>
                      </a:cubicBezTo>
                      <a:cubicBezTo>
                        <a:pt x="7801" y="138489"/>
                        <a:pt x="4248" y="135003"/>
                        <a:pt x="0" y="133012"/>
                      </a:cubicBezTo>
                      <a:cubicBezTo>
                        <a:pt x="8839" y="124430"/>
                        <a:pt x="14669" y="110628"/>
                        <a:pt x="3972" y="99922"/>
                      </a:cubicBezTo>
                      <a:cubicBezTo>
                        <a:pt x="7468" y="97246"/>
                        <a:pt x="10163" y="100760"/>
                        <a:pt x="13230" y="98084"/>
                      </a:cubicBezTo>
                      <a:cubicBezTo>
                        <a:pt x="15192" y="96369"/>
                        <a:pt x="16926" y="88625"/>
                        <a:pt x="17383" y="86149"/>
                      </a:cubicBezTo>
                      <a:cubicBezTo>
                        <a:pt x="18269" y="81243"/>
                        <a:pt x="18745" y="83777"/>
                        <a:pt x="16183" y="80682"/>
                      </a:cubicBezTo>
                      <a:cubicBezTo>
                        <a:pt x="14402" y="78529"/>
                        <a:pt x="7687" y="76710"/>
                        <a:pt x="12087" y="71661"/>
                      </a:cubicBezTo>
                      <a:cubicBezTo>
                        <a:pt x="16640" y="66432"/>
                        <a:pt x="27394" y="75271"/>
                        <a:pt x="29242" y="73643"/>
                      </a:cubicBezTo>
                      <a:cubicBezTo>
                        <a:pt x="34328" y="69137"/>
                        <a:pt x="23956" y="63451"/>
                        <a:pt x="22860" y="61927"/>
                      </a:cubicBezTo>
                      <a:cubicBezTo>
                        <a:pt x="20269" y="58317"/>
                        <a:pt x="20784" y="53488"/>
                        <a:pt x="26670" y="51983"/>
                      </a:cubicBezTo>
                      <a:cubicBezTo>
                        <a:pt x="22279" y="47763"/>
                        <a:pt x="23051" y="47801"/>
                        <a:pt x="23089" y="41429"/>
                      </a:cubicBezTo>
                      <a:cubicBezTo>
                        <a:pt x="14888" y="44763"/>
                        <a:pt x="15412" y="35219"/>
                        <a:pt x="15412" y="30008"/>
                      </a:cubicBezTo>
                      <a:cubicBezTo>
                        <a:pt x="15412" y="23303"/>
                        <a:pt x="16431" y="21741"/>
                        <a:pt x="21355" y="17874"/>
                      </a:cubicBezTo>
                      <a:cubicBezTo>
                        <a:pt x="24775" y="15188"/>
                        <a:pt x="29889" y="9225"/>
                        <a:pt x="34366" y="9511"/>
                      </a:cubicBezTo>
                      <a:cubicBezTo>
                        <a:pt x="36929" y="9673"/>
                        <a:pt x="36224" y="10949"/>
                        <a:pt x="38491" y="12283"/>
                      </a:cubicBezTo>
                      <a:cubicBezTo>
                        <a:pt x="40481" y="13454"/>
                        <a:pt x="41958" y="14235"/>
                        <a:pt x="44834" y="15759"/>
                      </a:cubicBezTo>
                      <a:cubicBezTo>
                        <a:pt x="45901" y="16331"/>
                        <a:pt x="50683" y="18550"/>
                        <a:pt x="51283" y="18331"/>
                      </a:cubicBezTo>
                      <a:cubicBezTo>
                        <a:pt x="53492" y="17512"/>
                        <a:pt x="51092" y="15254"/>
                        <a:pt x="51778" y="14730"/>
                      </a:cubicBezTo>
                      <a:cubicBezTo>
                        <a:pt x="53292" y="13559"/>
                        <a:pt x="53721" y="13016"/>
                        <a:pt x="55559" y="11978"/>
                      </a:cubicBezTo>
                      <a:cubicBezTo>
                        <a:pt x="58064" y="10568"/>
                        <a:pt x="60065" y="13149"/>
                        <a:pt x="61798" y="10682"/>
                      </a:cubicBezTo>
                      <a:cubicBezTo>
                        <a:pt x="62675" y="9444"/>
                        <a:pt x="59855" y="4624"/>
                        <a:pt x="61665" y="3072"/>
                      </a:cubicBezTo>
                      <a:cubicBezTo>
                        <a:pt x="63132" y="1815"/>
                        <a:pt x="66037" y="5882"/>
                        <a:pt x="68609" y="5386"/>
                      </a:cubicBezTo>
                      <a:cubicBezTo>
                        <a:pt x="67675" y="5548"/>
                        <a:pt x="76515" y="-5967"/>
                        <a:pt x="75552" y="4196"/>
                      </a:cubicBezTo>
                      <a:lnTo>
                        <a:pt x="75552" y="4196"/>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75" name="Freeform: Shape 674">
                  <a:extLst>
                    <a:ext uri="{FF2B5EF4-FFF2-40B4-BE49-F238E27FC236}">
                      <a16:creationId xmlns:a16="http://schemas.microsoft.com/office/drawing/2014/main" id="{009823E1-E0AF-4DC2-A898-D2F59AFF9D4D}"/>
                    </a:ext>
                  </a:extLst>
                </p:cNvPr>
                <p:cNvSpPr/>
                <p:nvPr/>
              </p:nvSpPr>
              <p:spPr>
                <a:xfrm>
                  <a:off x="7648879" y="2678412"/>
                  <a:ext cx="1546631" cy="1112533"/>
                </a:xfrm>
                <a:custGeom>
                  <a:avLst/>
                  <a:gdLst>
                    <a:gd name="connsiteX0" fmla="*/ 1332462 w 1546631"/>
                    <a:gd name="connsiteY0" fmla="*/ 1056729 h 1112533"/>
                    <a:gd name="connsiteX1" fmla="*/ 1337615 w 1546631"/>
                    <a:gd name="connsiteY1" fmla="*/ 1062910 h 1112533"/>
                    <a:gd name="connsiteX2" fmla="*/ 1337386 w 1546631"/>
                    <a:gd name="connsiteY2" fmla="*/ 1069511 h 1112533"/>
                    <a:gd name="connsiteX3" fmla="*/ 1334615 w 1546631"/>
                    <a:gd name="connsiteY3" fmla="*/ 1071283 h 1112533"/>
                    <a:gd name="connsiteX4" fmla="*/ 1332709 w 1546631"/>
                    <a:gd name="connsiteY4" fmla="*/ 1076883 h 1112533"/>
                    <a:gd name="connsiteX5" fmla="*/ 1331166 w 1546631"/>
                    <a:gd name="connsiteY5" fmla="*/ 1082846 h 1112533"/>
                    <a:gd name="connsiteX6" fmla="*/ 1331633 w 1546631"/>
                    <a:gd name="connsiteY6" fmla="*/ 1095914 h 1112533"/>
                    <a:gd name="connsiteX7" fmla="*/ 1321632 w 1546631"/>
                    <a:gd name="connsiteY7" fmla="*/ 1103553 h 1112533"/>
                    <a:gd name="connsiteX8" fmla="*/ 1318793 w 1546631"/>
                    <a:gd name="connsiteY8" fmla="*/ 1106392 h 1112533"/>
                    <a:gd name="connsiteX9" fmla="*/ 1314031 w 1546631"/>
                    <a:gd name="connsiteY9" fmla="*/ 1109211 h 1112533"/>
                    <a:gd name="connsiteX10" fmla="*/ 1310183 w 1546631"/>
                    <a:gd name="connsiteY10" fmla="*/ 1112345 h 1112533"/>
                    <a:gd name="connsiteX11" fmla="*/ 1285142 w 1546631"/>
                    <a:gd name="connsiteY11" fmla="*/ 1105049 h 1112533"/>
                    <a:gd name="connsiteX12" fmla="*/ 1272283 w 1546631"/>
                    <a:gd name="connsiteY12" fmla="*/ 1082989 h 1112533"/>
                    <a:gd name="connsiteX13" fmla="*/ 1285580 w 1546631"/>
                    <a:gd name="connsiteY13" fmla="*/ 1064006 h 1112533"/>
                    <a:gd name="connsiteX14" fmla="*/ 1282465 w 1546631"/>
                    <a:gd name="connsiteY14" fmla="*/ 1063777 h 1112533"/>
                    <a:gd name="connsiteX15" fmla="*/ 1296562 w 1546631"/>
                    <a:gd name="connsiteY15" fmla="*/ 1057129 h 1112533"/>
                    <a:gd name="connsiteX16" fmla="*/ 1308868 w 1546631"/>
                    <a:gd name="connsiteY16" fmla="*/ 1055738 h 1112533"/>
                    <a:gd name="connsiteX17" fmla="*/ 1317470 w 1546631"/>
                    <a:gd name="connsiteY17" fmla="*/ 1057252 h 1112533"/>
                    <a:gd name="connsiteX18" fmla="*/ 1316641 w 1546631"/>
                    <a:gd name="connsiteY18" fmla="*/ 1054614 h 1112533"/>
                    <a:gd name="connsiteX19" fmla="*/ 1323442 w 1546631"/>
                    <a:gd name="connsiteY19" fmla="*/ 1057224 h 1112533"/>
                    <a:gd name="connsiteX20" fmla="*/ 1332462 w 1546631"/>
                    <a:gd name="connsiteY20" fmla="*/ 1056729 h 1112533"/>
                    <a:gd name="connsiteX21" fmla="*/ 1332462 w 1546631"/>
                    <a:gd name="connsiteY21" fmla="*/ 1056729 h 1112533"/>
                    <a:gd name="connsiteX22" fmla="*/ 1045759 w 1546631"/>
                    <a:gd name="connsiteY22" fmla="*/ 301 h 1112533"/>
                    <a:gd name="connsiteX23" fmla="*/ 1067477 w 1546631"/>
                    <a:gd name="connsiteY23" fmla="*/ 5588 h 1112533"/>
                    <a:gd name="connsiteX24" fmla="*/ 1091746 w 1546631"/>
                    <a:gd name="connsiteY24" fmla="*/ 12893 h 1112533"/>
                    <a:gd name="connsiteX25" fmla="*/ 1120712 w 1546631"/>
                    <a:gd name="connsiteY25" fmla="*/ 20408 h 1112533"/>
                    <a:gd name="connsiteX26" fmla="*/ 1144305 w 1546631"/>
                    <a:gd name="connsiteY26" fmla="*/ 34144 h 1112533"/>
                    <a:gd name="connsiteX27" fmla="*/ 1203693 w 1546631"/>
                    <a:gd name="connsiteY27" fmla="*/ 79787 h 1112533"/>
                    <a:gd name="connsiteX28" fmla="*/ 1222486 w 1546631"/>
                    <a:gd name="connsiteY28" fmla="*/ 91532 h 1112533"/>
                    <a:gd name="connsiteX29" fmla="*/ 1232916 w 1546631"/>
                    <a:gd name="connsiteY29" fmla="*/ 102057 h 1112533"/>
                    <a:gd name="connsiteX30" fmla="*/ 1241632 w 1546631"/>
                    <a:gd name="connsiteY30" fmla="*/ 108162 h 1112533"/>
                    <a:gd name="connsiteX31" fmla="*/ 1247870 w 1546631"/>
                    <a:gd name="connsiteY31" fmla="*/ 116020 h 1112533"/>
                    <a:gd name="connsiteX32" fmla="*/ 1266244 w 1546631"/>
                    <a:gd name="connsiteY32" fmla="*/ 124564 h 1112533"/>
                    <a:gd name="connsiteX33" fmla="*/ 1287904 w 1546631"/>
                    <a:gd name="connsiteY33" fmla="*/ 124802 h 1112533"/>
                    <a:gd name="connsiteX34" fmla="*/ 1303097 w 1546631"/>
                    <a:gd name="connsiteY34" fmla="*/ 131432 h 1112533"/>
                    <a:gd name="connsiteX35" fmla="*/ 1315946 w 1546631"/>
                    <a:gd name="connsiteY35" fmla="*/ 133404 h 1112533"/>
                    <a:gd name="connsiteX36" fmla="*/ 1336758 w 1546631"/>
                    <a:gd name="connsiteY36" fmla="*/ 143576 h 1112533"/>
                    <a:gd name="connsiteX37" fmla="*/ 1358103 w 1546631"/>
                    <a:gd name="connsiteY37" fmla="*/ 150844 h 1112533"/>
                    <a:gd name="connsiteX38" fmla="*/ 1364647 w 1546631"/>
                    <a:gd name="connsiteY38" fmla="*/ 157816 h 1112533"/>
                    <a:gd name="connsiteX39" fmla="*/ 1373115 w 1546631"/>
                    <a:gd name="connsiteY39" fmla="*/ 163055 h 1112533"/>
                    <a:gd name="connsiteX40" fmla="*/ 1378487 w 1546631"/>
                    <a:gd name="connsiteY40" fmla="*/ 171342 h 1112533"/>
                    <a:gd name="connsiteX41" fmla="*/ 1388431 w 1546631"/>
                    <a:gd name="connsiteY41" fmla="*/ 178047 h 1112533"/>
                    <a:gd name="connsiteX42" fmla="*/ 1395651 w 1546631"/>
                    <a:gd name="connsiteY42" fmla="*/ 183772 h 1112533"/>
                    <a:gd name="connsiteX43" fmla="*/ 1405385 w 1546631"/>
                    <a:gd name="connsiteY43" fmla="*/ 183143 h 1112533"/>
                    <a:gd name="connsiteX44" fmla="*/ 1427216 w 1546631"/>
                    <a:gd name="connsiteY44" fmla="*/ 183286 h 1112533"/>
                    <a:gd name="connsiteX45" fmla="*/ 1435808 w 1546631"/>
                    <a:gd name="connsiteY45" fmla="*/ 181791 h 1112533"/>
                    <a:gd name="connsiteX46" fmla="*/ 1434608 w 1546631"/>
                    <a:gd name="connsiteY46" fmla="*/ 177476 h 1112533"/>
                    <a:gd name="connsiteX47" fmla="*/ 1437218 w 1546631"/>
                    <a:gd name="connsiteY47" fmla="*/ 176142 h 1112533"/>
                    <a:gd name="connsiteX48" fmla="*/ 1452886 w 1546631"/>
                    <a:gd name="connsiteY48" fmla="*/ 169113 h 1112533"/>
                    <a:gd name="connsiteX49" fmla="*/ 1469593 w 1546631"/>
                    <a:gd name="connsiteY49" fmla="*/ 163274 h 1112533"/>
                    <a:gd name="connsiteX50" fmla="*/ 1481204 w 1546631"/>
                    <a:gd name="connsiteY50" fmla="*/ 172380 h 1112533"/>
                    <a:gd name="connsiteX51" fmla="*/ 1495025 w 1546631"/>
                    <a:gd name="connsiteY51" fmla="*/ 183943 h 1112533"/>
                    <a:gd name="connsiteX52" fmla="*/ 1495692 w 1546631"/>
                    <a:gd name="connsiteY52" fmla="*/ 190715 h 1112533"/>
                    <a:gd name="connsiteX53" fmla="*/ 1491253 w 1546631"/>
                    <a:gd name="connsiteY53" fmla="*/ 192782 h 1112533"/>
                    <a:gd name="connsiteX54" fmla="*/ 1496959 w 1546631"/>
                    <a:gd name="connsiteY54" fmla="*/ 205374 h 1112533"/>
                    <a:gd name="connsiteX55" fmla="*/ 1504436 w 1546631"/>
                    <a:gd name="connsiteY55" fmla="*/ 221710 h 1112533"/>
                    <a:gd name="connsiteX56" fmla="*/ 1509427 w 1546631"/>
                    <a:gd name="connsiteY56" fmla="*/ 227301 h 1112533"/>
                    <a:gd name="connsiteX57" fmla="*/ 1509617 w 1546631"/>
                    <a:gd name="connsiteY57" fmla="*/ 232740 h 1112533"/>
                    <a:gd name="connsiteX58" fmla="*/ 1513113 w 1546631"/>
                    <a:gd name="connsiteY58" fmla="*/ 239236 h 1112533"/>
                    <a:gd name="connsiteX59" fmla="*/ 1513037 w 1546631"/>
                    <a:gd name="connsiteY59" fmla="*/ 244255 h 1112533"/>
                    <a:gd name="connsiteX60" fmla="*/ 1516561 w 1546631"/>
                    <a:gd name="connsiteY60" fmla="*/ 249904 h 1112533"/>
                    <a:gd name="connsiteX61" fmla="*/ 1512989 w 1546631"/>
                    <a:gd name="connsiteY61" fmla="*/ 252980 h 1112533"/>
                    <a:gd name="connsiteX62" fmla="*/ 1518142 w 1546631"/>
                    <a:gd name="connsiteY62" fmla="*/ 268020 h 1112533"/>
                    <a:gd name="connsiteX63" fmla="*/ 1500445 w 1546631"/>
                    <a:gd name="connsiteY63" fmla="*/ 264144 h 1112533"/>
                    <a:gd name="connsiteX64" fmla="*/ 1481014 w 1546631"/>
                    <a:gd name="connsiteY64" fmla="*/ 258753 h 1112533"/>
                    <a:gd name="connsiteX65" fmla="*/ 1478376 w 1546631"/>
                    <a:gd name="connsiteY65" fmla="*/ 269916 h 1112533"/>
                    <a:gd name="connsiteX66" fmla="*/ 1473622 w 1546631"/>
                    <a:gd name="connsiteY66" fmla="*/ 277050 h 1112533"/>
                    <a:gd name="connsiteX67" fmla="*/ 1491529 w 1546631"/>
                    <a:gd name="connsiteY67" fmla="*/ 292938 h 1112533"/>
                    <a:gd name="connsiteX68" fmla="*/ 1504998 w 1546631"/>
                    <a:gd name="connsiteY68" fmla="*/ 310607 h 1112533"/>
                    <a:gd name="connsiteX69" fmla="*/ 1514999 w 1546631"/>
                    <a:gd name="connsiteY69" fmla="*/ 321017 h 1112533"/>
                    <a:gd name="connsiteX70" fmla="*/ 1521200 w 1546631"/>
                    <a:gd name="connsiteY70" fmla="*/ 335067 h 1112533"/>
                    <a:gd name="connsiteX71" fmla="*/ 1508493 w 1546631"/>
                    <a:gd name="connsiteY71" fmla="*/ 338944 h 1112533"/>
                    <a:gd name="connsiteX72" fmla="*/ 1516142 w 1546631"/>
                    <a:gd name="connsiteY72" fmla="*/ 345611 h 1112533"/>
                    <a:gd name="connsiteX73" fmla="*/ 1515352 w 1546631"/>
                    <a:gd name="connsiteY73" fmla="*/ 346621 h 1112533"/>
                    <a:gd name="connsiteX74" fmla="*/ 1486938 w 1546631"/>
                    <a:gd name="connsiteY74" fmla="*/ 332047 h 1112533"/>
                    <a:gd name="connsiteX75" fmla="*/ 1494777 w 1546631"/>
                    <a:gd name="connsiteY75" fmla="*/ 349373 h 1112533"/>
                    <a:gd name="connsiteX76" fmla="*/ 1486729 w 1546631"/>
                    <a:gd name="connsiteY76" fmla="*/ 349707 h 1112533"/>
                    <a:gd name="connsiteX77" fmla="*/ 1486262 w 1546631"/>
                    <a:gd name="connsiteY77" fmla="*/ 357403 h 1112533"/>
                    <a:gd name="connsiteX78" fmla="*/ 1460421 w 1546631"/>
                    <a:gd name="connsiteY78" fmla="*/ 363880 h 1112533"/>
                    <a:gd name="connsiteX79" fmla="*/ 1474070 w 1546631"/>
                    <a:gd name="connsiteY79" fmla="*/ 374348 h 1112533"/>
                    <a:gd name="connsiteX80" fmla="*/ 1477671 w 1546631"/>
                    <a:gd name="connsiteY80" fmla="*/ 381339 h 1112533"/>
                    <a:gd name="connsiteX81" fmla="*/ 1472146 w 1546631"/>
                    <a:gd name="connsiteY81" fmla="*/ 380844 h 1112533"/>
                    <a:gd name="connsiteX82" fmla="*/ 1450057 w 1546631"/>
                    <a:gd name="connsiteY82" fmla="*/ 378615 h 1112533"/>
                    <a:gd name="connsiteX83" fmla="*/ 1433894 w 1546631"/>
                    <a:gd name="connsiteY83" fmla="*/ 370395 h 1112533"/>
                    <a:gd name="connsiteX84" fmla="*/ 1431713 w 1546631"/>
                    <a:gd name="connsiteY84" fmla="*/ 381758 h 1112533"/>
                    <a:gd name="connsiteX85" fmla="*/ 1428998 w 1546631"/>
                    <a:gd name="connsiteY85" fmla="*/ 394246 h 1112533"/>
                    <a:gd name="connsiteX86" fmla="*/ 1428817 w 1546631"/>
                    <a:gd name="connsiteY86" fmla="*/ 397999 h 1112533"/>
                    <a:gd name="connsiteX87" fmla="*/ 1423883 w 1546631"/>
                    <a:gd name="connsiteY87" fmla="*/ 399027 h 1112533"/>
                    <a:gd name="connsiteX88" fmla="*/ 1421426 w 1546631"/>
                    <a:gd name="connsiteY88" fmla="*/ 401951 h 1112533"/>
                    <a:gd name="connsiteX89" fmla="*/ 1411224 w 1546631"/>
                    <a:gd name="connsiteY89" fmla="*/ 411857 h 1112533"/>
                    <a:gd name="connsiteX90" fmla="*/ 1403795 w 1546631"/>
                    <a:gd name="connsiteY90" fmla="*/ 426364 h 1112533"/>
                    <a:gd name="connsiteX91" fmla="*/ 1386678 w 1546631"/>
                    <a:gd name="connsiteY91" fmla="*/ 430212 h 1112533"/>
                    <a:gd name="connsiteX92" fmla="*/ 1373762 w 1546631"/>
                    <a:gd name="connsiteY92" fmla="*/ 437194 h 1112533"/>
                    <a:gd name="connsiteX93" fmla="*/ 1362913 w 1546631"/>
                    <a:gd name="connsiteY93" fmla="*/ 444995 h 1112533"/>
                    <a:gd name="connsiteX94" fmla="*/ 1359065 w 1546631"/>
                    <a:gd name="connsiteY94" fmla="*/ 454577 h 1112533"/>
                    <a:gd name="connsiteX95" fmla="*/ 1354627 w 1546631"/>
                    <a:gd name="connsiteY95" fmla="*/ 458225 h 1112533"/>
                    <a:gd name="connsiteX96" fmla="*/ 1350846 w 1546631"/>
                    <a:gd name="connsiteY96" fmla="*/ 457835 h 1112533"/>
                    <a:gd name="connsiteX97" fmla="*/ 1352560 w 1546631"/>
                    <a:gd name="connsiteY97" fmla="*/ 461406 h 1112533"/>
                    <a:gd name="connsiteX98" fmla="*/ 1336167 w 1546631"/>
                    <a:gd name="connsiteY98" fmla="*/ 460492 h 1112533"/>
                    <a:gd name="connsiteX99" fmla="*/ 1348264 w 1546631"/>
                    <a:gd name="connsiteY99" fmla="*/ 454577 h 1112533"/>
                    <a:gd name="connsiteX100" fmla="*/ 1346254 w 1546631"/>
                    <a:gd name="connsiteY100" fmla="*/ 445823 h 1112533"/>
                    <a:gd name="connsiteX101" fmla="*/ 1334681 w 1546631"/>
                    <a:gd name="connsiteY101" fmla="*/ 446147 h 1112533"/>
                    <a:gd name="connsiteX102" fmla="*/ 1327518 w 1546631"/>
                    <a:gd name="connsiteY102" fmla="*/ 440842 h 1112533"/>
                    <a:gd name="connsiteX103" fmla="*/ 1332481 w 1546631"/>
                    <a:gd name="connsiteY103" fmla="*/ 437870 h 1112533"/>
                    <a:gd name="connsiteX104" fmla="*/ 1333672 w 1546631"/>
                    <a:gd name="connsiteY104" fmla="*/ 427307 h 1112533"/>
                    <a:gd name="connsiteX105" fmla="*/ 1334958 w 1546631"/>
                    <a:gd name="connsiteY105" fmla="*/ 412391 h 1112533"/>
                    <a:gd name="connsiteX106" fmla="*/ 1326509 w 1546631"/>
                    <a:gd name="connsiteY106" fmla="*/ 404552 h 1112533"/>
                    <a:gd name="connsiteX107" fmla="*/ 1311803 w 1546631"/>
                    <a:gd name="connsiteY107" fmla="*/ 395998 h 1112533"/>
                    <a:gd name="connsiteX108" fmla="*/ 1305525 w 1546631"/>
                    <a:gd name="connsiteY108" fmla="*/ 398780 h 1112533"/>
                    <a:gd name="connsiteX109" fmla="*/ 1293962 w 1546631"/>
                    <a:gd name="connsiteY109" fmla="*/ 403971 h 1112533"/>
                    <a:gd name="connsiteX110" fmla="*/ 1291057 w 1546631"/>
                    <a:gd name="connsiteY110" fmla="*/ 414839 h 1112533"/>
                    <a:gd name="connsiteX111" fmla="*/ 1281579 w 1546631"/>
                    <a:gd name="connsiteY111" fmla="*/ 424888 h 1112533"/>
                    <a:gd name="connsiteX112" fmla="*/ 1271102 w 1546631"/>
                    <a:gd name="connsiteY112" fmla="*/ 433689 h 1112533"/>
                    <a:gd name="connsiteX113" fmla="*/ 1272731 w 1546631"/>
                    <a:gd name="connsiteY113" fmla="*/ 448119 h 1112533"/>
                    <a:gd name="connsiteX114" fmla="*/ 1266197 w 1546631"/>
                    <a:gd name="connsiteY114" fmla="*/ 452786 h 1112533"/>
                    <a:gd name="connsiteX115" fmla="*/ 1260606 w 1546631"/>
                    <a:gd name="connsiteY115" fmla="*/ 452920 h 1112533"/>
                    <a:gd name="connsiteX116" fmla="*/ 1254500 w 1546631"/>
                    <a:gd name="connsiteY116" fmla="*/ 455901 h 1112533"/>
                    <a:gd name="connsiteX117" fmla="*/ 1242889 w 1546631"/>
                    <a:gd name="connsiteY117" fmla="*/ 451119 h 1112533"/>
                    <a:gd name="connsiteX118" fmla="*/ 1239822 w 1546631"/>
                    <a:gd name="connsiteY118" fmla="*/ 462692 h 1112533"/>
                    <a:gd name="connsiteX119" fmla="*/ 1259691 w 1546631"/>
                    <a:gd name="connsiteY119" fmla="*/ 481714 h 1112533"/>
                    <a:gd name="connsiteX120" fmla="*/ 1275207 w 1546631"/>
                    <a:gd name="connsiteY120" fmla="*/ 485524 h 1112533"/>
                    <a:gd name="connsiteX121" fmla="*/ 1288647 w 1546631"/>
                    <a:gd name="connsiteY121" fmla="*/ 485914 h 1112533"/>
                    <a:gd name="connsiteX122" fmla="*/ 1300163 w 1546631"/>
                    <a:gd name="connsiteY122" fmla="*/ 494687 h 1112533"/>
                    <a:gd name="connsiteX123" fmla="*/ 1302535 w 1546631"/>
                    <a:gd name="connsiteY123" fmla="*/ 497192 h 1112533"/>
                    <a:gd name="connsiteX124" fmla="*/ 1303221 w 1546631"/>
                    <a:gd name="connsiteY124" fmla="*/ 500449 h 1112533"/>
                    <a:gd name="connsiteX125" fmla="*/ 1326471 w 1546631"/>
                    <a:gd name="connsiteY125" fmla="*/ 516985 h 1112533"/>
                    <a:gd name="connsiteX126" fmla="*/ 1335072 w 1546631"/>
                    <a:gd name="connsiteY126" fmla="*/ 514604 h 1112533"/>
                    <a:gd name="connsiteX127" fmla="*/ 1333852 w 1546631"/>
                    <a:gd name="connsiteY127" fmla="*/ 510003 h 1112533"/>
                    <a:gd name="connsiteX128" fmla="*/ 1337806 w 1546631"/>
                    <a:gd name="connsiteY128" fmla="*/ 499630 h 1112533"/>
                    <a:gd name="connsiteX129" fmla="*/ 1357084 w 1546631"/>
                    <a:gd name="connsiteY129" fmla="*/ 497497 h 1112533"/>
                    <a:gd name="connsiteX130" fmla="*/ 1377620 w 1546631"/>
                    <a:gd name="connsiteY130" fmla="*/ 505241 h 1112533"/>
                    <a:gd name="connsiteX131" fmla="*/ 1389602 w 1546631"/>
                    <a:gd name="connsiteY131" fmla="*/ 506898 h 1112533"/>
                    <a:gd name="connsiteX132" fmla="*/ 1393270 w 1546631"/>
                    <a:gd name="connsiteY132" fmla="*/ 504564 h 1112533"/>
                    <a:gd name="connsiteX133" fmla="*/ 1402119 w 1546631"/>
                    <a:gd name="connsiteY133" fmla="*/ 508250 h 1112533"/>
                    <a:gd name="connsiteX134" fmla="*/ 1411453 w 1546631"/>
                    <a:gd name="connsiteY134" fmla="*/ 508327 h 1112533"/>
                    <a:gd name="connsiteX135" fmla="*/ 1413158 w 1546631"/>
                    <a:gd name="connsiteY135" fmla="*/ 515985 h 1112533"/>
                    <a:gd name="connsiteX136" fmla="*/ 1412567 w 1546631"/>
                    <a:gd name="connsiteY136" fmla="*/ 519223 h 1112533"/>
                    <a:gd name="connsiteX137" fmla="*/ 1415549 w 1546631"/>
                    <a:gd name="connsiteY137" fmla="*/ 520928 h 1112533"/>
                    <a:gd name="connsiteX138" fmla="*/ 1408348 w 1546631"/>
                    <a:gd name="connsiteY138" fmla="*/ 523681 h 1112533"/>
                    <a:gd name="connsiteX139" fmla="*/ 1374391 w 1546631"/>
                    <a:gd name="connsiteY139" fmla="*/ 532587 h 1112533"/>
                    <a:gd name="connsiteX140" fmla="*/ 1380544 w 1546631"/>
                    <a:gd name="connsiteY140" fmla="*/ 538530 h 1112533"/>
                    <a:gd name="connsiteX141" fmla="*/ 1371572 w 1546631"/>
                    <a:gd name="connsiteY141" fmla="*/ 549541 h 1112533"/>
                    <a:gd name="connsiteX142" fmla="*/ 1364599 w 1546631"/>
                    <a:gd name="connsiteY142" fmla="*/ 546970 h 1112533"/>
                    <a:gd name="connsiteX143" fmla="*/ 1372172 w 1546631"/>
                    <a:gd name="connsiteY143" fmla="*/ 553018 h 1112533"/>
                    <a:gd name="connsiteX144" fmla="*/ 1361999 w 1546631"/>
                    <a:gd name="connsiteY144" fmla="*/ 580869 h 1112533"/>
                    <a:gd name="connsiteX145" fmla="*/ 1362227 w 1546631"/>
                    <a:gd name="connsiteY145" fmla="*/ 589203 h 1112533"/>
                    <a:gd name="connsiteX146" fmla="*/ 1371848 w 1546631"/>
                    <a:gd name="connsiteY146" fmla="*/ 593032 h 1112533"/>
                    <a:gd name="connsiteX147" fmla="*/ 1392231 w 1546631"/>
                    <a:gd name="connsiteY147" fmla="*/ 601414 h 1112533"/>
                    <a:gd name="connsiteX148" fmla="*/ 1428093 w 1546631"/>
                    <a:gd name="connsiteY148" fmla="*/ 631094 h 1112533"/>
                    <a:gd name="connsiteX149" fmla="*/ 1444704 w 1546631"/>
                    <a:gd name="connsiteY149" fmla="*/ 646487 h 1112533"/>
                    <a:gd name="connsiteX150" fmla="*/ 1457601 w 1546631"/>
                    <a:gd name="connsiteY150" fmla="*/ 661098 h 1112533"/>
                    <a:gd name="connsiteX151" fmla="*/ 1469689 w 1546631"/>
                    <a:gd name="connsiteY151" fmla="*/ 665556 h 1112533"/>
                    <a:gd name="connsiteX152" fmla="*/ 1477461 w 1546631"/>
                    <a:gd name="connsiteY152" fmla="*/ 673947 h 1112533"/>
                    <a:gd name="connsiteX153" fmla="*/ 1497083 w 1546631"/>
                    <a:gd name="connsiteY153" fmla="*/ 687863 h 1112533"/>
                    <a:gd name="connsiteX154" fmla="*/ 1480576 w 1546631"/>
                    <a:gd name="connsiteY154" fmla="*/ 683434 h 1112533"/>
                    <a:gd name="connsiteX155" fmla="*/ 1467565 w 1546631"/>
                    <a:gd name="connsiteY155" fmla="*/ 682263 h 1112533"/>
                    <a:gd name="connsiteX156" fmla="*/ 1451982 w 1546631"/>
                    <a:gd name="connsiteY156" fmla="*/ 675395 h 1112533"/>
                    <a:gd name="connsiteX157" fmla="*/ 1439695 w 1546631"/>
                    <a:gd name="connsiteY157" fmla="*/ 680529 h 1112533"/>
                    <a:gd name="connsiteX158" fmla="*/ 1459725 w 1546631"/>
                    <a:gd name="connsiteY158" fmla="*/ 679996 h 1112533"/>
                    <a:gd name="connsiteX159" fmla="*/ 1466422 w 1546631"/>
                    <a:gd name="connsiteY159" fmla="*/ 685301 h 1112533"/>
                    <a:gd name="connsiteX160" fmla="*/ 1476156 w 1546631"/>
                    <a:gd name="connsiteY160" fmla="*/ 688806 h 1112533"/>
                    <a:gd name="connsiteX161" fmla="*/ 1511122 w 1546631"/>
                    <a:gd name="connsiteY161" fmla="*/ 712647 h 1112533"/>
                    <a:gd name="connsiteX162" fmla="*/ 1500445 w 1546631"/>
                    <a:gd name="connsiteY162" fmla="*/ 716248 h 1112533"/>
                    <a:gd name="connsiteX163" fmla="*/ 1491282 w 1546631"/>
                    <a:gd name="connsiteY163" fmla="*/ 726040 h 1112533"/>
                    <a:gd name="connsiteX164" fmla="*/ 1490120 w 1546631"/>
                    <a:gd name="connsiteY164" fmla="*/ 730059 h 1112533"/>
                    <a:gd name="connsiteX165" fmla="*/ 1483510 w 1546631"/>
                    <a:gd name="connsiteY165" fmla="*/ 729221 h 1112533"/>
                    <a:gd name="connsiteX166" fmla="*/ 1473232 w 1546631"/>
                    <a:gd name="connsiteY166" fmla="*/ 733936 h 1112533"/>
                    <a:gd name="connsiteX167" fmla="*/ 1480166 w 1546631"/>
                    <a:gd name="connsiteY167" fmla="*/ 732440 h 1112533"/>
                    <a:gd name="connsiteX168" fmla="*/ 1487548 w 1546631"/>
                    <a:gd name="connsiteY168" fmla="*/ 737060 h 1112533"/>
                    <a:gd name="connsiteX169" fmla="*/ 1503388 w 1546631"/>
                    <a:gd name="connsiteY169" fmla="*/ 731955 h 1112533"/>
                    <a:gd name="connsiteX170" fmla="*/ 1519400 w 1546631"/>
                    <a:gd name="connsiteY170" fmla="*/ 740975 h 1112533"/>
                    <a:gd name="connsiteX171" fmla="*/ 1534906 w 1546631"/>
                    <a:gd name="connsiteY171" fmla="*/ 745613 h 1112533"/>
                    <a:gd name="connsiteX172" fmla="*/ 1524324 w 1546631"/>
                    <a:gd name="connsiteY172" fmla="*/ 757767 h 1112533"/>
                    <a:gd name="connsiteX173" fmla="*/ 1535135 w 1546631"/>
                    <a:gd name="connsiteY173" fmla="*/ 753938 h 1112533"/>
                    <a:gd name="connsiteX174" fmla="*/ 1542183 w 1546631"/>
                    <a:gd name="connsiteY174" fmla="*/ 768778 h 1112533"/>
                    <a:gd name="connsiteX175" fmla="*/ 1528534 w 1546631"/>
                    <a:gd name="connsiteY175" fmla="*/ 766949 h 1112533"/>
                    <a:gd name="connsiteX176" fmla="*/ 1534326 w 1546631"/>
                    <a:gd name="connsiteY176" fmla="*/ 775179 h 1112533"/>
                    <a:gd name="connsiteX177" fmla="*/ 1537154 w 1546631"/>
                    <a:gd name="connsiteY177" fmla="*/ 783190 h 1112533"/>
                    <a:gd name="connsiteX178" fmla="*/ 1546632 w 1546631"/>
                    <a:gd name="connsiteY178" fmla="*/ 795324 h 1112533"/>
                    <a:gd name="connsiteX179" fmla="*/ 1538897 w 1546631"/>
                    <a:gd name="connsiteY179" fmla="*/ 797410 h 1112533"/>
                    <a:gd name="connsiteX180" fmla="*/ 1532125 w 1546631"/>
                    <a:gd name="connsiteY180" fmla="*/ 794524 h 1112533"/>
                    <a:gd name="connsiteX181" fmla="*/ 1525515 w 1546631"/>
                    <a:gd name="connsiteY181" fmla="*/ 804221 h 1112533"/>
                    <a:gd name="connsiteX182" fmla="*/ 1528782 w 1546631"/>
                    <a:gd name="connsiteY182" fmla="*/ 815889 h 1112533"/>
                    <a:gd name="connsiteX183" fmla="*/ 1527391 w 1546631"/>
                    <a:gd name="connsiteY183" fmla="*/ 817737 h 1112533"/>
                    <a:gd name="connsiteX184" fmla="*/ 1529429 w 1546631"/>
                    <a:gd name="connsiteY184" fmla="*/ 820042 h 1112533"/>
                    <a:gd name="connsiteX185" fmla="*/ 1530563 w 1546631"/>
                    <a:gd name="connsiteY185" fmla="*/ 823042 h 1112533"/>
                    <a:gd name="connsiteX186" fmla="*/ 1527258 w 1546631"/>
                    <a:gd name="connsiteY186" fmla="*/ 831596 h 1112533"/>
                    <a:gd name="connsiteX187" fmla="*/ 1524724 w 1546631"/>
                    <a:gd name="connsiteY187" fmla="*/ 841283 h 1112533"/>
                    <a:gd name="connsiteX188" fmla="*/ 1525067 w 1546631"/>
                    <a:gd name="connsiteY188" fmla="*/ 847941 h 1112533"/>
                    <a:gd name="connsiteX189" fmla="*/ 1515761 w 1546631"/>
                    <a:gd name="connsiteY189" fmla="*/ 840873 h 1112533"/>
                    <a:gd name="connsiteX190" fmla="*/ 1509636 w 1546631"/>
                    <a:gd name="connsiteY190" fmla="*/ 842807 h 1112533"/>
                    <a:gd name="connsiteX191" fmla="*/ 1525010 w 1546631"/>
                    <a:gd name="connsiteY191" fmla="*/ 856999 h 1112533"/>
                    <a:gd name="connsiteX192" fmla="*/ 1517095 w 1546631"/>
                    <a:gd name="connsiteY192" fmla="*/ 865238 h 1112533"/>
                    <a:gd name="connsiteX193" fmla="*/ 1505931 w 1546631"/>
                    <a:gd name="connsiteY193" fmla="*/ 863695 h 1112533"/>
                    <a:gd name="connsiteX194" fmla="*/ 1513580 w 1546631"/>
                    <a:gd name="connsiteY194" fmla="*/ 868943 h 1112533"/>
                    <a:gd name="connsiteX195" fmla="*/ 1521028 w 1546631"/>
                    <a:gd name="connsiteY195" fmla="*/ 867371 h 1112533"/>
                    <a:gd name="connsiteX196" fmla="*/ 1526981 w 1546631"/>
                    <a:gd name="connsiteY196" fmla="*/ 881992 h 1112533"/>
                    <a:gd name="connsiteX197" fmla="*/ 1522752 w 1546631"/>
                    <a:gd name="connsiteY197" fmla="*/ 884764 h 1112533"/>
                    <a:gd name="connsiteX198" fmla="*/ 1522943 w 1546631"/>
                    <a:gd name="connsiteY198" fmla="*/ 891717 h 1112533"/>
                    <a:gd name="connsiteX199" fmla="*/ 1513656 w 1546631"/>
                    <a:gd name="connsiteY199" fmla="*/ 895537 h 1112533"/>
                    <a:gd name="connsiteX200" fmla="*/ 1515256 w 1546631"/>
                    <a:gd name="connsiteY200" fmla="*/ 901414 h 1112533"/>
                    <a:gd name="connsiteX201" fmla="*/ 1508960 w 1546631"/>
                    <a:gd name="connsiteY201" fmla="*/ 904205 h 1112533"/>
                    <a:gd name="connsiteX202" fmla="*/ 1507770 w 1546631"/>
                    <a:gd name="connsiteY202" fmla="*/ 911929 h 1112533"/>
                    <a:gd name="connsiteX203" fmla="*/ 1494787 w 1546631"/>
                    <a:gd name="connsiteY203" fmla="*/ 915349 h 1112533"/>
                    <a:gd name="connsiteX204" fmla="*/ 1489977 w 1546631"/>
                    <a:gd name="connsiteY204" fmla="*/ 915587 h 1112533"/>
                    <a:gd name="connsiteX205" fmla="*/ 1499454 w 1546631"/>
                    <a:gd name="connsiteY205" fmla="*/ 922769 h 1112533"/>
                    <a:gd name="connsiteX206" fmla="*/ 1491968 w 1546631"/>
                    <a:gd name="connsiteY206" fmla="*/ 935666 h 1112533"/>
                    <a:gd name="connsiteX207" fmla="*/ 1487329 w 1546631"/>
                    <a:gd name="connsiteY207" fmla="*/ 943476 h 1112533"/>
                    <a:gd name="connsiteX208" fmla="*/ 1481852 w 1546631"/>
                    <a:gd name="connsiteY208" fmla="*/ 942019 h 1112533"/>
                    <a:gd name="connsiteX209" fmla="*/ 1478337 w 1546631"/>
                    <a:gd name="connsiteY209" fmla="*/ 943438 h 1112533"/>
                    <a:gd name="connsiteX210" fmla="*/ 1472785 w 1546631"/>
                    <a:gd name="connsiteY210" fmla="*/ 941647 h 1112533"/>
                    <a:gd name="connsiteX211" fmla="*/ 1468051 w 1546631"/>
                    <a:gd name="connsiteY211" fmla="*/ 950868 h 1112533"/>
                    <a:gd name="connsiteX212" fmla="*/ 1467498 w 1546631"/>
                    <a:gd name="connsiteY212" fmla="*/ 956354 h 1112533"/>
                    <a:gd name="connsiteX213" fmla="*/ 1468927 w 1546631"/>
                    <a:gd name="connsiteY213" fmla="*/ 962279 h 1112533"/>
                    <a:gd name="connsiteX214" fmla="*/ 1464221 w 1546631"/>
                    <a:gd name="connsiteY214" fmla="*/ 963698 h 1112533"/>
                    <a:gd name="connsiteX215" fmla="*/ 1460821 w 1546631"/>
                    <a:gd name="connsiteY215" fmla="*/ 963593 h 1112533"/>
                    <a:gd name="connsiteX216" fmla="*/ 1458249 w 1546631"/>
                    <a:gd name="connsiteY216" fmla="*/ 965679 h 1112533"/>
                    <a:gd name="connsiteX217" fmla="*/ 1451458 w 1546631"/>
                    <a:gd name="connsiteY217" fmla="*/ 968260 h 1112533"/>
                    <a:gd name="connsiteX218" fmla="*/ 1444410 w 1546631"/>
                    <a:gd name="connsiteY218" fmla="*/ 966632 h 1112533"/>
                    <a:gd name="connsiteX219" fmla="*/ 1436504 w 1546631"/>
                    <a:gd name="connsiteY219" fmla="*/ 969975 h 1112533"/>
                    <a:gd name="connsiteX220" fmla="*/ 1425836 w 1546631"/>
                    <a:gd name="connsiteY220" fmla="*/ 971565 h 1112533"/>
                    <a:gd name="connsiteX221" fmla="*/ 1423492 w 1546631"/>
                    <a:gd name="connsiteY221" fmla="*/ 974090 h 1112533"/>
                    <a:gd name="connsiteX222" fmla="*/ 1417691 w 1546631"/>
                    <a:gd name="connsiteY222" fmla="*/ 970251 h 1112533"/>
                    <a:gd name="connsiteX223" fmla="*/ 1415492 w 1546631"/>
                    <a:gd name="connsiteY223" fmla="*/ 976861 h 1112533"/>
                    <a:gd name="connsiteX224" fmla="*/ 1404642 w 1546631"/>
                    <a:gd name="connsiteY224" fmla="*/ 975899 h 1112533"/>
                    <a:gd name="connsiteX225" fmla="*/ 1397280 w 1546631"/>
                    <a:gd name="connsiteY225" fmla="*/ 976947 h 1112533"/>
                    <a:gd name="connsiteX226" fmla="*/ 1379954 w 1546631"/>
                    <a:gd name="connsiteY226" fmla="*/ 958002 h 1112533"/>
                    <a:gd name="connsiteX227" fmla="*/ 1373820 w 1546631"/>
                    <a:gd name="connsiteY227" fmla="*/ 964793 h 1112533"/>
                    <a:gd name="connsiteX228" fmla="*/ 1388650 w 1546631"/>
                    <a:gd name="connsiteY228" fmla="*/ 986425 h 1112533"/>
                    <a:gd name="connsiteX229" fmla="*/ 1374896 w 1546631"/>
                    <a:gd name="connsiteY229" fmla="*/ 986967 h 1112533"/>
                    <a:gd name="connsiteX230" fmla="*/ 1374305 w 1546631"/>
                    <a:gd name="connsiteY230" fmla="*/ 996445 h 1112533"/>
                    <a:gd name="connsiteX231" fmla="*/ 1370409 w 1546631"/>
                    <a:gd name="connsiteY231" fmla="*/ 995787 h 1112533"/>
                    <a:gd name="connsiteX232" fmla="*/ 1366324 w 1546631"/>
                    <a:gd name="connsiteY232" fmla="*/ 997616 h 1112533"/>
                    <a:gd name="connsiteX233" fmla="*/ 1364895 w 1546631"/>
                    <a:gd name="connsiteY233" fmla="*/ 1000217 h 1112533"/>
                    <a:gd name="connsiteX234" fmla="*/ 1359189 w 1546631"/>
                    <a:gd name="connsiteY234" fmla="*/ 997778 h 1112533"/>
                    <a:gd name="connsiteX235" fmla="*/ 1355446 w 1546631"/>
                    <a:gd name="connsiteY235" fmla="*/ 994216 h 1112533"/>
                    <a:gd name="connsiteX236" fmla="*/ 1344311 w 1546631"/>
                    <a:gd name="connsiteY236" fmla="*/ 998254 h 1112533"/>
                    <a:gd name="connsiteX237" fmla="*/ 1336281 w 1546631"/>
                    <a:gd name="connsiteY237" fmla="*/ 1007522 h 1112533"/>
                    <a:gd name="connsiteX238" fmla="*/ 1319965 w 1546631"/>
                    <a:gd name="connsiteY238" fmla="*/ 1008903 h 1112533"/>
                    <a:gd name="connsiteX239" fmla="*/ 1316241 w 1546631"/>
                    <a:gd name="connsiteY239" fmla="*/ 1012628 h 1112533"/>
                    <a:gd name="connsiteX240" fmla="*/ 1310974 w 1546631"/>
                    <a:gd name="connsiteY240" fmla="*/ 1016743 h 1112533"/>
                    <a:gd name="connsiteX241" fmla="*/ 1303449 w 1546631"/>
                    <a:gd name="connsiteY241" fmla="*/ 1014371 h 1112533"/>
                    <a:gd name="connsiteX242" fmla="*/ 1301658 w 1546631"/>
                    <a:gd name="connsiteY242" fmla="*/ 1029477 h 1112533"/>
                    <a:gd name="connsiteX243" fmla="*/ 1308735 w 1546631"/>
                    <a:gd name="connsiteY243" fmla="*/ 1031611 h 1112533"/>
                    <a:gd name="connsiteX244" fmla="*/ 1308002 w 1546631"/>
                    <a:gd name="connsiteY244" fmla="*/ 1035535 h 1112533"/>
                    <a:gd name="connsiteX245" fmla="*/ 1313955 w 1546631"/>
                    <a:gd name="connsiteY245" fmla="*/ 1046270 h 1112533"/>
                    <a:gd name="connsiteX246" fmla="*/ 1297429 w 1546631"/>
                    <a:gd name="connsiteY246" fmla="*/ 1043498 h 1112533"/>
                    <a:gd name="connsiteX247" fmla="*/ 1300525 w 1546631"/>
                    <a:gd name="connsiteY247" fmla="*/ 1043813 h 1112533"/>
                    <a:gd name="connsiteX248" fmla="*/ 1285256 w 1546631"/>
                    <a:gd name="connsiteY248" fmla="*/ 1027630 h 1112533"/>
                    <a:gd name="connsiteX249" fmla="*/ 1284256 w 1546631"/>
                    <a:gd name="connsiteY249" fmla="*/ 1014390 h 1112533"/>
                    <a:gd name="connsiteX250" fmla="*/ 1287266 w 1546631"/>
                    <a:gd name="connsiteY250" fmla="*/ 1009875 h 1112533"/>
                    <a:gd name="connsiteX251" fmla="*/ 1281170 w 1546631"/>
                    <a:gd name="connsiteY251" fmla="*/ 1007379 h 1112533"/>
                    <a:gd name="connsiteX252" fmla="*/ 1272464 w 1546631"/>
                    <a:gd name="connsiteY252" fmla="*/ 1003169 h 1112533"/>
                    <a:gd name="connsiteX253" fmla="*/ 1266063 w 1546631"/>
                    <a:gd name="connsiteY253" fmla="*/ 1011056 h 1112533"/>
                    <a:gd name="connsiteX254" fmla="*/ 1259557 w 1546631"/>
                    <a:gd name="connsiteY254" fmla="*/ 1005855 h 1112533"/>
                    <a:gd name="connsiteX255" fmla="*/ 1247137 w 1546631"/>
                    <a:gd name="connsiteY255" fmla="*/ 1002798 h 1112533"/>
                    <a:gd name="connsiteX256" fmla="*/ 1238469 w 1546631"/>
                    <a:gd name="connsiteY256" fmla="*/ 996521 h 1112533"/>
                    <a:gd name="connsiteX257" fmla="*/ 1236107 w 1546631"/>
                    <a:gd name="connsiteY257" fmla="*/ 1003169 h 1112533"/>
                    <a:gd name="connsiteX258" fmla="*/ 1230078 w 1546631"/>
                    <a:gd name="connsiteY258" fmla="*/ 1008456 h 1112533"/>
                    <a:gd name="connsiteX259" fmla="*/ 1219248 w 1546631"/>
                    <a:gd name="connsiteY259" fmla="*/ 1004398 h 1112533"/>
                    <a:gd name="connsiteX260" fmla="*/ 1208484 w 1546631"/>
                    <a:gd name="connsiteY260" fmla="*/ 1005170 h 1112533"/>
                    <a:gd name="connsiteX261" fmla="*/ 1196607 w 1546631"/>
                    <a:gd name="connsiteY261" fmla="*/ 999969 h 1112533"/>
                    <a:gd name="connsiteX262" fmla="*/ 1191073 w 1546631"/>
                    <a:gd name="connsiteY262" fmla="*/ 995969 h 1112533"/>
                    <a:gd name="connsiteX263" fmla="*/ 1183234 w 1546631"/>
                    <a:gd name="connsiteY263" fmla="*/ 993987 h 1112533"/>
                    <a:gd name="connsiteX264" fmla="*/ 1179976 w 1546631"/>
                    <a:gd name="connsiteY264" fmla="*/ 987596 h 1112533"/>
                    <a:gd name="connsiteX265" fmla="*/ 1174623 w 1546631"/>
                    <a:gd name="connsiteY265" fmla="*/ 981948 h 1112533"/>
                    <a:gd name="connsiteX266" fmla="*/ 1171223 w 1546631"/>
                    <a:gd name="connsiteY266" fmla="*/ 965927 h 1112533"/>
                    <a:gd name="connsiteX267" fmla="*/ 1161059 w 1546631"/>
                    <a:gd name="connsiteY267" fmla="*/ 966517 h 1112533"/>
                    <a:gd name="connsiteX268" fmla="*/ 1153354 w 1546631"/>
                    <a:gd name="connsiteY268" fmla="*/ 962783 h 1112533"/>
                    <a:gd name="connsiteX269" fmla="*/ 1147115 w 1546631"/>
                    <a:gd name="connsiteY269" fmla="*/ 964403 h 1112533"/>
                    <a:gd name="connsiteX270" fmla="*/ 1136199 w 1546631"/>
                    <a:gd name="connsiteY270" fmla="*/ 959383 h 1112533"/>
                    <a:gd name="connsiteX271" fmla="*/ 1128275 w 1546631"/>
                    <a:gd name="connsiteY271" fmla="*/ 952611 h 1112533"/>
                    <a:gd name="connsiteX272" fmla="*/ 1120778 w 1546631"/>
                    <a:gd name="connsiteY272" fmla="*/ 954592 h 1112533"/>
                    <a:gd name="connsiteX273" fmla="*/ 1114359 w 1546631"/>
                    <a:gd name="connsiteY273" fmla="*/ 958916 h 1112533"/>
                    <a:gd name="connsiteX274" fmla="*/ 1112434 w 1546631"/>
                    <a:gd name="connsiteY274" fmla="*/ 967689 h 1112533"/>
                    <a:gd name="connsiteX275" fmla="*/ 1105081 w 1546631"/>
                    <a:gd name="connsiteY275" fmla="*/ 971308 h 1112533"/>
                    <a:gd name="connsiteX276" fmla="*/ 1096033 w 1546631"/>
                    <a:gd name="connsiteY276" fmla="*/ 969070 h 1112533"/>
                    <a:gd name="connsiteX277" fmla="*/ 1093918 w 1546631"/>
                    <a:gd name="connsiteY277" fmla="*/ 976528 h 1112533"/>
                    <a:gd name="connsiteX278" fmla="*/ 1082317 w 1546631"/>
                    <a:gd name="connsiteY278" fmla="*/ 969479 h 1112533"/>
                    <a:gd name="connsiteX279" fmla="*/ 1079897 w 1546631"/>
                    <a:gd name="connsiteY279" fmla="*/ 974823 h 1112533"/>
                    <a:gd name="connsiteX280" fmla="*/ 1072649 w 1546631"/>
                    <a:gd name="connsiteY280" fmla="*/ 969260 h 1112533"/>
                    <a:gd name="connsiteX281" fmla="*/ 1062914 w 1546631"/>
                    <a:gd name="connsiteY281" fmla="*/ 977985 h 1112533"/>
                    <a:gd name="connsiteX282" fmla="*/ 1045312 w 1546631"/>
                    <a:gd name="connsiteY282" fmla="*/ 972213 h 1112533"/>
                    <a:gd name="connsiteX283" fmla="*/ 1041121 w 1546631"/>
                    <a:gd name="connsiteY283" fmla="*/ 980967 h 1112533"/>
                    <a:gd name="connsiteX284" fmla="*/ 1032443 w 1546631"/>
                    <a:gd name="connsiteY284" fmla="*/ 981024 h 1112533"/>
                    <a:gd name="connsiteX285" fmla="*/ 1026043 w 1546631"/>
                    <a:gd name="connsiteY285" fmla="*/ 978776 h 1112533"/>
                    <a:gd name="connsiteX286" fmla="*/ 1023700 w 1546631"/>
                    <a:gd name="connsiteY286" fmla="*/ 985586 h 1112533"/>
                    <a:gd name="connsiteX287" fmla="*/ 1035253 w 1546631"/>
                    <a:gd name="connsiteY287" fmla="*/ 1000474 h 1112533"/>
                    <a:gd name="connsiteX288" fmla="*/ 1042407 w 1546631"/>
                    <a:gd name="connsiteY288" fmla="*/ 1018657 h 1112533"/>
                    <a:gd name="connsiteX289" fmla="*/ 1036958 w 1546631"/>
                    <a:gd name="connsiteY289" fmla="*/ 1018905 h 1112533"/>
                    <a:gd name="connsiteX290" fmla="*/ 1027014 w 1546631"/>
                    <a:gd name="connsiteY290" fmla="*/ 1019143 h 1112533"/>
                    <a:gd name="connsiteX291" fmla="*/ 1019194 w 1546631"/>
                    <a:gd name="connsiteY291" fmla="*/ 1007237 h 1112533"/>
                    <a:gd name="connsiteX292" fmla="*/ 1007269 w 1546631"/>
                    <a:gd name="connsiteY292" fmla="*/ 1006827 h 1112533"/>
                    <a:gd name="connsiteX293" fmla="*/ 988543 w 1546631"/>
                    <a:gd name="connsiteY293" fmla="*/ 1008923 h 1112533"/>
                    <a:gd name="connsiteX294" fmla="*/ 984533 w 1546631"/>
                    <a:gd name="connsiteY294" fmla="*/ 1003522 h 1112533"/>
                    <a:gd name="connsiteX295" fmla="*/ 980704 w 1546631"/>
                    <a:gd name="connsiteY295" fmla="*/ 1001150 h 1112533"/>
                    <a:gd name="connsiteX296" fmla="*/ 979065 w 1546631"/>
                    <a:gd name="connsiteY296" fmla="*/ 995969 h 1112533"/>
                    <a:gd name="connsiteX297" fmla="*/ 957834 w 1546631"/>
                    <a:gd name="connsiteY297" fmla="*/ 990330 h 1112533"/>
                    <a:gd name="connsiteX298" fmla="*/ 954014 w 1546631"/>
                    <a:gd name="connsiteY298" fmla="*/ 975023 h 1112533"/>
                    <a:gd name="connsiteX299" fmla="*/ 948547 w 1546631"/>
                    <a:gd name="connsiteY299" fmla="*/ 959040 h 1112533"/>
                    <a:gd name="connsiteX300" fmla="*/ 938432 w 1546631"/>
                    <a:gd name="connsiteY300" fmla="*/ 957611 h 1112533"/>
                    <a:gd name="connsiteX301" fmla="*/ 931316 w 1546631"/>
                    <a:gd name="connsiteY301" fmla="*/ 949591 h 1112533"/>
                    <a:gd name="connsiteX302" fmla="*/ 927249 w 1546631"/>
                    <a:gd name="connsiteY302" fmla="*/ 941886 h 1112533"/>
                    <a:gd name="connsiteX303" fmla="*/ 919715 w 1546631"/>
                    <a:gd name="connsiteY303" fmla="*/ 933046 h 1112533"/>
                    <a:gd name="connsiteX304" fmla="*/ 921354 w 1546631"/>
                    <a:gd name="connsiteY304" fmla="*/ 926788 h 1112533"/>
                    <a:gd name="connsiteX305" fmla="*/ 913095 w 1546631"/>
                    <a:gd name="connsiteY305" fmla="*/ 927131 h 1112533"/>
                    <a:gd name="connsiteX306" fmla="*/ 902561 w 1546631"/>
                    <a:gd name="connsiteY306" fmla="*/ 927274 h 1112533"/>
                    <a:gd name="connsiteX307" fmla="*/ 890750 w 1546631"/>
                    <a:gd name="connsiteY307" fmla="*/ 933199 h 1112533"/>
                    <a:gd name="connsiteX308" fmla="*/ 883634 w 1546631"/>
                    <a:gd name="connsiteY308" fmla="*/ 918197 h 1112533"/>
                    <a:gd name="connsiteX309" fmla="*/ 877310 w 1546631"/>
                    <a:gd name="connsiteY309" fmla="*/ 911129 h 1112533"/>
                    <a:gd name="connsiteX310" fmla="*/ 880529 w 1546631"/>
                    <a:gd name="connsiteY310" fmla="*/ 902757 h 1112533"/>
                    <a:gd name="connsiteX311" fmla="*/ 878491 w 1546631"/>
                    <a:gd name="connsiteY311" fmla="*/ 893432 h 1112533"/>
                    <a:gd name="connsiteX312" fmla="*/ 884616 w 1546631"/>
                    <a:gd name="connsiteY312" fmla="*/ 888965 h 1112533"/>
                    <a:gd name="connsiteX313" fmla="*/ 885473 w 1546631"/>
                    <a:gd name="connsiteY313" fmla="*/ 880335 h 1112533"/>
                    <a:gd name="connsiteX314" fmla="*/ 889902 w 1546631"/>
                    <a:gd name="connsiteY314" fmla="*/ 880859 h 1112533"/>
                    <a:gd name="connsiteX315" fmla="*/ 892026 w 1546631"/>
                    <a:gd name="connsiteY315" fmla="*/ 874287 h 1112533"/>
                    <a:gd name="connsiteX316" fmla="*/ 896045 w 1546631"/>
                    <a:gd name="connsiteY316" fmla="*/ 870143 h 1112533"/>
                    <a:gd name="connsiteX317" fmla="*/ 892369 w 1546631"/>
                    <a:gd name="connsiteY317" fmla="*/ 866362 h 1112533"/>
                    <a:gd name="connsiteX318" fmla="*/ 893226 w 1546631"/>
                    <a:gd name="connsiteY318" fmla="*/ 863428 h 1112533"/>
                    <a:gd name="connsiteX319" fmla="*/ 887825 w 1546631"/>
                    <a:gd name="connsiteY319" fmla="*/ 842102 h 1112533"/>
                    <a:gd name="connsiteX320" fmla="*/ 877986 w 1546631"/>
                    <a:gd name="connsiteY320" fmla="*/ 821947 h 1112533"/>
                    <a:gd name="connsiteX321" fmla="*/ 870509 w 1546631"/>
                    <a:gd name="connsiteY321" fmla="*/ 815632 h 1112533"/>
                    <a:gd name="connsiteX322" fmla="*/ 866499 w 1546631"/>
                    <a:gd name="connsiteY322" fmla="*/ 818937 h 1112533"/>
                    <a:gd name="connsiteX323" fmla="*/ 851773 w 1546631"/>
                    <a:gd name="connsiteY323" fmla="*/ 799668 h 1112533"/>
                    <a:gd name="connsiteX324" fmla="*/ 843229 w 1546631"/>
                    <a:gd name="connsiteY324" fmla="*/ 793353 h 1112533"/>
                    <a:gd name="connsiteX325" fmla="*/ 836495 w 1546631"/>
                    <a:gd name="connsiteY325" fmla="*/ 790190 h 1112533"/>
                    <a:gd name="connsiteX326" fmla="*/ 828237 w 1546631"/>
                    <a:gd name="connsiteY326" fmla="*/ 797677 h 1112533"/>
                    <a:gd name="connsiteX327" fmla="*/ 811482 w 1546631"/>
                    <a:gd name="connsiteY327" fmla="*/ 793086 h 1112533"/>
                    <a:gd name="connsiteX328" fmla="*/ 804672 w 1546631"/>
                    <a:gd name="connsiteY328" fmla="*/ 790219 h 1112533"/>
                    <a:gd name="connsiteX329" fmla="*/ 797633 w 1546631"/>
                    <a:gd name="connsiteY329" fmla="*/ 792829 h 1112533"/>
                    <a:gd name="connsiteX330" fmla="*/ 796404 w 1546631"/>
                    <a:gd name="connsiteY330" fmla="*/ 784685 h 1112533"/>
                    <a:gd name="connsiteX331" fmla="*/ 796328 w 1546631"/>
                    <a:gd name="connsiteY331" fmla="*/ 777094 h 1112533"/>
                    <a:gd name="connsiteX332" fmla="*/ 790813 w 1546631"/>
                    <a:gd name="connsiteY332" fmla="*/ 771617 h 1112533"/>
                    <a:gd name="connsiteX333" fmla="*/ 782364 w 1546631"/>
                    <a:gd name="connsiteY333" fmla="*/ 769902 h 1112533"/>
                    <a:gd name="connsiteX334" fmla="*/ 786479 w 1546631"/>
                    <a:gd name="connsiteY334" fmla="*/ 765502 h 1112533"/>
                    <a:gd name="connsiteX335" fmla="*/ 778916 w 1546631"/>
                    <a:gd name="connsiteY335" fmla="*/ 761939 h 1112533"/>
                    <a:gd name="connsiteX336" fmla="*/ 763667 w 1546631"/>
                    <a:gd name="connsiteY336" fmla="*/ 765425 h 1112533"/>
                    <a:gd name="connsiteX337" fmla="*/ 757266 w 1546631"/>
                    <a:gd name="connsiteY337" fmla="*/ 771483 h 1112533"/>
                    <a:gd name="connsiteX338" fmla="*/ 746370 w 1546631"/>
                    <a:gd name="connsiteY338" fmla="*/ 768416 h 1112533"/>
                    <a:gd name="connsiteX339" fmla="*/ 738588 w 1546631"/>
                    <a:gd name="connsiteY339" fmla="*/ 765111 h 1112533"/>
                    <a:gd name="connsiteX340" fmla="*/ 730111 w 1546631"/>
                    <a:gd name="connsiteY340" fmla="*/ 766816 h 1112533"/>
                    <a:gd name="connsiteX341" fmla="*/ 721138 w 1546631"/>
                    <a:gd name="connsiteY341" fmla="*/ 774331 h 1112533"/>
                    <a:gd name="connsiteX342" fmla="*/ 705945 w 1546631"/>
                    <a:gd name="connsiteY342" fmla="*/ 783885 h 1112533"/>
                    <a:gd name="connsiteX343" fmla="*/ 701460 w 1546631"/>
                    <a:gd name="connsiteY343" fmla="*/ 790448 h 1112533"/>
                    <a:gd name="connsiteX344" fmla="*/ 693315 w 1546631"/>
                    <a:gd name="connsiteY344" fmla="*/ 799258 h 1112533"/>
                    <a:gd name="connsiteX345" fmla="*/ 690001 w 1546631"/>
                    <a:gd name="connsiteY345" fmla="*/ 808869 h 1112533"/>
                    <a:gd name="connsiteX346" fmla="*/ 682790 w 1546631"/>
                    <a:gd name="connsiteY346" fmla="*/ 809707 h 1112533"/>
                    <a:gd name="connsiteX347" fmla="*/ 676009 w 1546631"/>
                    <a:gd name="connsiteY347" fmla="*/ 812746 h 1112533"/>
                    <a:gd name="connsiteX348" fmla="*/ 666255 w 1546631"/>
                    <a:gd name="connsiteY348" fmla="*/ 812126 h 1112533"/>
                    <a:gd name="connsiteX349" fmla="*/ 661988 w 1546631"/>
                    <a:gd name="connsiteY349" fmla="*/ 806049 h 1112533"/>
                    <a:gd name="connsiteX350" fmla="*/ 652386 w 1546631"/>
                    <a:gd name="connsiteY350" fmla="*/ 802849 h 1112533"/>
                    <a:gd name="connsiteX351" fmla="*/ 646472 w 1546631"/>
                    <a:gd name="connsiteY351" fmla="*/ 804935 h 1112533"/>
                    <a:gd name="connsiteX352" fmla="*/ 627145 w 1546631"/>
                    <a:gd name="connsiteY352" fmla="*/ 802325 h 1112533"/>
                    <a:gd name="connsiteX353" fmla="*/ 616172 w 1546631"/>
                    <a:gd name="connsiteY353" fmla="*/ 795591 h 1112533"/>
                    <a:gd name="connsiteX354" fmla="*/ 597732 w 1546631"/>
                    <a:gd name="connsiteY354" fmla="*/ 802659 h 1112533"/>
                    <a:gd name="connsiteX355" fmla="*/ 588712 w 1546631"/>
                    <a:gd name="connsiteY355" fmla="*/ 826081 h 1112533"/>
                    <a:gd name="connsiteX356" fmla="*/ 574186 w 1546631"/>
                    <a:gd name="connsiteY356" fmla="*/ 802468 h 1112533"/>
                    <a:gd name="connsiteX357" fmla="*/ 559241 w 1546631"/>
                    <a:gd name="connsiteY357" fmla="*/ 808621 h 1112533"/>
                    <a:gd name="connsiteX358" fmla="*/ 541963 w 1546631"/>
                    <a:gd name="connsiteY358" fmla="*/ 810145 h 1112533"/>
                    <a:gd name="connsiteX359" fmla="*/ 522494 w 1546631"/>
                    <a:gd name="connsiteY359" fmla="*/ 805287 h 1112533"/>
                    <a:gd name="connsiteX360" fmla="*/ 515179 w 1546631"/>
                    <a:gd name="connsiteY360" fmla="*/ 801925 h 1112533"/>
                    <a:gd name="connsiteX361" fmla="*/ 510921 w 1546631"/>
                    <a:gd name="connsiteY361" fmla="*/ 805211 h 1112533"/>
                    <a:gd name="connsiteX362" fmla="*/ 497996 w 1546631"/>
                    <a:gd name="connsiteY362" fmla="*/ 800944 h 1112533"/>
                    <a:gd name="connsiteX363" fmla="*/ 496929 w 1546631"/>
                    <a:gd name="connsiteY363" fmla="*/ 806983 h 1112533"/>
                    <a:gd name="connsiteX364" fmla="*/ 490985 w 1546631"/>
                    <a:gd name="connsiteY364" fmla="*/ 802592 h 1112533"/>
                    <a:gd name="connsiteX365" fmla="*/ 471650 w 1546631"/>
                    <a:gd name="connsiteY365" fmla="*/ 795601 h 1112533"/>
                    <a:gd name="connsiteX366" fmla="*/ 464011 w 1546631"/>
                    <a:gd name="connsiteY366" fmla="*/ 791953 h 1112533"/>
                    <a:gd name="connsiteX367" fmla="*/ 462172 w 1546631"/>
                    <a:gd name="connsiteY367" fmla="*/ 785504 h 1112533"/>
                    <a:gd name="connsiteX368" fmla="*/ 454238 w 1546631"/>
                    <a:gd name="connsiteY368" fmla="*/ 786999 h 1112533"/>
                    <a:gd name="connsiteX369" fmla="*/ 448828 w 1546631"/>
                    <a:gd name="connsiteY369" fmla="*/ 784685 h 1112533"/>
                    <a:gd name="connsiteX370" fmla="*/ 432626 w 1546631"/>
                    <a:gd name="connsiteY370" fmla="*/ 775827 h 1112533"/>
                    <a:gd name="connsiteX371" fmla="*/ 417109 w 1546631"/>
                    <a:gd name="connsiteY371" fmla="*/ 765473 h 1112533"/>
                    <a:gd name="connsiteX372" fmla="*/ 408861 w 1546631"/>
                    <a:gd name="connsiteY372" fmla="*/ 766016 h 1112533"/>
                    <a:gd name="connsiteX373" fmla="*/ 400184 w 1546631"/>
                    <a:gd name="connsiteY373" fmla="*/ 758653 h 1112533"/>
                    <a:gd name="connsiteX374" fmla="*/ 382124 w 1546631"/>
                    <a:gd name="connsiteY374" fmla="*/ 750757 h 1112533"/>
                    <a:gd name="connsiteX375" fmla="*/ 360845 w 1546631"/>
                    <a:gd name="connsiteY375" fmla="*/ 739698 h 1112533"/>
                    <a:gd name="connsiteX376" fmla="*/ 346396 w 1546631"/>
                    <a:gd name="connsiteY376" fmla="*/ 730145 h 1112533"/>
                    <a:gd name="connsiteX377" fmla="*/ 334776 w 1546631"/>
                    <a:gd name="connsiteY377" fmla="*/ 730688 h 1112533"/>
                    <a:gd name="connsiteX378" fmla="*/ 330956 w 1546631"/>
                    <a:gd name="connsiteY378" fmla="*/ 739460 h 1112533"/>
                    <a:gd name="connsiteX379" fmla="*/ 316154 w 1546631"/>
                    <a:gd name="connsiteY379" fmla="*/ 731316 h 1112533"/>
                    <a:gd name="connsiteX380" fmla="*/ 295275 w 1546631"/>
                    <a:gd name="connsiteY380" fmla="*/ 723658 h 1112533"/>
                    <a:gd name="connsiteX381" fmla="*/ 291551 w 1546631"/>
                    <a:gd name="connsiteY381" fmla="*/ 716686 h 1112533"/>
                    <a:gd name="connsiteX382" fmla="*/ 283150 w 1546631"/>
                    <a:gd name="connsiteY382" fmla="*/ 713162 h 1112533"/>
                    <a:gd name="connsiteX383" fmla="*/ 264872 w 1546631"/>
                    <a:gd name="connsiteY383" fmla="*/ 707151 h 1112533"/>
                    <a:gd name="connsiteX384" fmla="*/ 251098 w 1546631"/>
                    <a:gd name="connsiteY384" fmla="*/ 699712 h 1112533"/>
                    <a:gd name="connsiteX385" fmla="*/ 242374 w 1546631"/>
                    <a:gd name="connsiteY385" fmla="*/ 692188 h 1112533"/>
                    <a:gd name="connsiteX386" fmla="*/ 237363 w 1546631"/>
                    <a:gd name="connsiteY386" fmla="*/ 682101 h 1112533"/>
                    <a:gd name="connsiteX387" fmla="*/ 229029 w 1546631"/>
                    <a:gd name="connsiteY387" fmla="*/ 673347 h 1112533"/>
                    <a:gd name="connsiteX388" fmla="*/ 228610 w 1546631"/>
                    <a:gd name="connsiteY388" fmla="*/ 659765 h 1112533"/>
                    <a:gd name="connsiteX389" fmla="*/ 237725 w 1546631"/>
                    <a:gd name="connsiteY389" fmla="*/ 667289 h 1112533"/>
                    <a:gd name="connsiteX390" fmla="*/ 244773 w 1546631"/>
                    <a:gd name="connsiteY390" fmla="*/ 662775 h 1112533"/>
                    <a:gd name="connsiteX391" fmla="*/ 234582 w 1546631"/>
                    <a:gd name="connsiteY391" fmla="*/ 642639 h 1112533"/>
                    <a:gd name="connsiteX392" fmla="*/ 226219 w 1546631"/>
                    <a:gd name="connsiteY392" fmla="*/ 635495 h 1112533"/>
                    <a:gd name="connsiteX393" fmla="*/ 216656 w 1546631"/>
                    <a:gd name="connsiteY393" fmla="*/ 621617 h 1112533"/>
                    <a:gd name="connsiteX394" fmla="*/ 212350 w 1546631"/>
                    <a:gd name="connsiteY394" fmla="*/ 614502 h 1112533"/>
                    <a:gd name="connsiteX395" fmla="*/ 215275 w 1546631"/>
                    <a:gd name="connsiteY395" fmla="*/ 610463 h 1112533"/>
                    <a:gd name="connsiteX396" fmla="*/ 210960 w 1546631"/>
                    <a:gd name="connsiteY396" fmla="*/ 602748 h 1112533"/>
                    <a:gd name="connsiteX397" fmla="*/ 194767 w 1546631"/>
                    <a:gd name="connsiteY397" fmla="*/ 596690 h 1112533"/>
                    <a:gd name="connsiteX398" fmla="*/ 183166 w 1546631"/>
                    <a:gd name="connsiteY398" fmla="*/ 583669 h 1112533"/>
                    <a:gd name="connsiteX399" fmla="*/ 177718 w 1546631"/>
                    <a:gd name="connsiteY399" fmla="*/ 577116 h 1112533"/>
                    <a:gd name="connsiteX400" fmla="*/ 175422 w 1546631"/>
                    <a:gd name="connsiteY400" fmla="*/ 569915 h 1112533"/>
                    <a:gd name="connsiteX401" fmla="*/ 168202 w 1546631"/>
                    <a:gd name="connsiteY401" fmla="*/ 568801 h 1112533"/>
                    <a:gd name="connsiteX402" fmla="*/ 139037 w 1546631"/>
                    <a:gd name="connsiteY402" fmla="*/ 564362 h 1112533"/>
                    <a:gd name="connsiteX403" fmla="*/ 134017 w 1546631"/>
                    <a:gd name="connsiteY403" fmla="*/ 562286 h 1112533"/>
                    <a:gd name="connsiteX404" fmla="*/ 127749 w 1546631"/>
                    <a:gd name="connsiteY404" fmla="*/ 557066 h 1112533"/>
                    <a:gd name="connsiteX405" fmla="*/ 117024 w 1546631"/>
                    <a:gd name="connsiteY405" fmla="*/ 558238 h 1112533"/>
                    <a:gd name="connsiteX406" fmla="*/ 107738 w 1546631"/>
                    <a:gd name="connsiteY406" fmla="*/ 551522 h 1112533"/>
                    <a:gd name="connsiteX407" fmla="*/ 104727 w 1546631"/>
                    <a:gd name="connsiteY407" fmla="*/ 540512 h 1112533"/>
                    <a:gd name="connsiteX408" fmla="*/ 91536 w 1546631"/>
                    <a:gd name="connsiteY408" fmla="*/ 529177 h 1112533"/>
                    <a:gd name="connsiteX409" fmla="*/ 84458 w 1546631"/>
                    <a:gd name="connsiteY409" fmla="*/ 528977 h 1112533"/>
                    <a:gd name="connsiteX410" fmla="*/ 79315 w 1546631"/>
                    <a:gd name="connsiteY410" fmla="*/ 523490 h 1112533"/>
                    <a:gd name="connsiteX411" fmla="*/ 69752 w 1546631"/>
                    <a:gd name="connsiteY411" fmla="*/ 521785 h 1112533"/>
                    <a:gd name="connsiteX412" fmla="*/ 62636 w 1546631"/>
                    <a:gd name="connsiteY412" fmla="*/ 520662 h 1112533"/>
                    <a:gd name="connsiteX413" fmla="*/ 49702 w 1546631"/>
                    <a:gd name="connsiteY413" fmla="*/ 516108 h 1112533"/>
                    <a:gd name="connsiteX414" fmla="*/ 58084 w 1546631"/>
                    <a:gd name="connsiteY414" fmla="*/ 511927 h 1112533"/>
                    <a:gd name="connsiteX415" fmla="*/ 63465 w 1546631"/>
                    <a:gd name="connsiteY415" fmla="*/ 513784 h 1112533"/>
                    <a:gd name="connsiteX416" fmla="*/ 59893 w 1546631"/>
                    <a:gd name="connsiteY416" fmla="*/ 503031 h 1112533"/>
                    <a:gd name="connsiteX417" fmla="*/ 52674 w 1546631"/>
                    <a:gd name="connsiteY417" fmla="*/ 489296 h 1112533"/>
                    <a:gd name="connsiteX418" fmla="*/ 43825 w 1546631"/>
                    <a:gd name="connsiteY418" fmla="*/ 473903 h 1112533"/>
                    <a:gd name="connsiteX419" fmla="*/ 24851 w 1546631"/>
                    <a:gd name="connsiteY419" fmla="*/ 468807 h 1112533"/>
                    <a:gd name="connsiteX420" fmla="*/ 21136 w 1546631"/>
                    <a:gd name="connsiteY420" fmla="*/ 472770 h 1112533"/>
                    <a:gd name="connsiteX421" fmla="*/ 12992 w 1546631"/>
                    <a:gd name="connsiteY421" fmla="*/ 467560 h 1112533"/>
                    <a:gd name="connsiteX422" fmla="*/ 10296 w 1546631"/>
                    <a:gd name="connsiteY422" fmla="*/ 458015 h 1112533"/>
                    <a:gd name="connsiteX423" fmla="*/ 2743 w 1546631"/>
                    <a:gd name="connsiteY423" fmla="*/ 451481 h 1112533"/>
                    <a:gd name="connsiteX424" fmla="*/ 0 w 1546631"/>
                    <a:gd name="connsiteY424" fmla="*/ 443938 h 1112533"/>
                    <a:gd name="connsiteX425" fmla="*/ 1591 w 1546631"/>
                    <a:gd name="connsiteY425" fmla="*/ 428841 h 1112533"/>
                    <a:gd name="connsiteX426" fmla="*/ 11706 w 1546631"/>
                    <a:gd name="connsiteY426" fmla="*/ 422630 h 1112533"/>
                    <a:gd name="connsiteX427" fmla="*/ 21850 w 1546631"/>
                    <a:gd name="connsiteY427" fmla="*/ 416239 h 1112533"/>
                    <a:gd name="connsiteX428" fmla="*/ 33252 w 1546631"/>
                    <a:gd name="connsiteY428" fmla="*/ 409819 h 1112533"/>
                    <a:gd name="connsiteX429" fmla="*/ 40100 w 1546631"/>
                    <a:gd name="connsiteY429" fmla="*/ 408914 h 1112533"/>
                    <a:gd name="connsiteX430" fmla="*/ 47444 w 1546631"/>
                    <a:gd name="connsiteY430" fmla="*/ 416982 h 1112533"/>
                    <a:gd name="connsiteX431" fmla="*/ 56617 w 1546631"/>
                    <a:gd name="connsiteY431" fmla="*/ 414553 h 1112533"/>
                    <a:gd name="connsiteX432" fmla="*/ 59522 w 1546631"/>
                    <a:gd name="connsiteY432" fmla="*/ 413372 h 1112533"/>
                    <a:gd name="connsiteX433" fmla="*/ 63255 w 1546631"/>
                    <a:gd name="connsiteY433" fmla="*/ 415201 h 1112533"/>
                    <a:gd name="connsiteX434" fmla="*/ 67504 w 1546631"/>
                    <a:gd name="connsiteY434" fmla="*/ 399465 h 1112533"/>
                    <a:gd name="connsiteX435" fmla="*/ 88106 w 1546631"/>
                    <a:gd name="connsiteY435" fmla="*/ 395255 h 1112533"/>
                    <a:gd name="connsiteX436" fmla="*/ 98013 w 1546631"/>
                    <a:gd name="connsiteY436" fmla="*/ 393484 h 1112533"/>
                    <a:gd name="connsiteX437" fmla="*/ 106052 w 1546631"/>
                    <a:gd name="connsiteY437" fmla="*/ 386216 h 1112533"/>
                    <a:gd name="connsiteX438" fmla="*/ 105213 w 1546631"/>
                    <a:gd name="connsiteY438" fmla="*/ 383378 h 1112533"/>
                    <a:gd name="connsiteX439" fmla="*/ 108947 w 1546631"/>
                    <a:gd name="connsiteY439" fmla="*/ 380606 h 1112533"/>
                    <a:gd name="connsiteX440" fmla="*/ 121168 w 1546631"/>
                    <a:gd name="connsiteY440" fmla="*/ 372824 h 1112533"/>
                    <a:gd name="connsiteX441" fmla="*/ 129217 w 1546631"/>
                    <a:gd name="connsiteY441" fmla="*/ 369566 h 1112533"/>
                    <a:gd name="connsiteX442" fmla="*/ 135255 w 1546631"/>
                    <a:gd name="connsiteY442" fmla="*/ 367166 h 1112533"/>
                    <a:gd name="connsiteX443" fmla="*/ 138075 w 1546631"/>
                    <a:gd name="connsiteY443" fmla="*/ 363261 h 1112533"/>
                    <a:gd name="connsiteX444" fmla="*/ 145923 w 1546631"/>
                    <a:gd name="connsiteY444" fmla="*/ 360041 h 1112533"/>
                    <a:gd name="connsiteX445" fmla="*/ 142513 w 1546631"/>
                    <a:gd name="connsiteY445" fmla="*/ 352974 h 1112533"/>
                    <a:gd name="connsiteX446" fmla="*/ 142903 w 1546631"/>
                    <a:gd name="connsiteY446" fmla="*/ 336067 h 1112533"/>
                    <a:gd name="connsiteX447" fmla="*/ 141313 w 1546631"/>
                    <a:gd name="connsiteY447" fmla="*/ 328171 h 1112533"/>
                    <a:gd name="connsiteX448" fmla="*/ 144637 w 1546631"/>
                    <a:gd name="connsiteY448" fmla="*/ 326399 h 1112533"/>
                    <a:gd name="connsiteX449" fmla="*/ 139075 w 1546631"/>
                    <a:gd name="connsiteY449" fmla="*/ 320398 h 1112533"/>
                    <a:gd name="connsiteX450" fmla="*/ 115081 w 1546631"/>
                    <a:gd name="connsiteY450" fmla="*/ 289156 h 1112533"/>
                    <a:gd name="connsiteX451" fmla="*/ 112090 w 1546631"/>
                    <a:gd name="connsiteY451" fmla="*/ 281098 h 1112533"/>
                    <a:gd name="connsiteX452" fmla="*/ 113072 w 1546631"/>
                    <a:gd name="connsiteY452" fmla="*/ 278050 h 1112533"/>
                    <a:gd name="connsiteX453" fmla="*/ 95031 w 1546631"/>
                    <a:gd name="connsiteY453" fmla="*/ 273754 h 1112533"/>
                    <a:gd name="connsiteX454" fmla="*/ 128607 w 1546631"/>
                    <a:gd name="connsiteY454" fmla="*/ 261029 h 1112533"/>
                    <a:gd name="connsiteX455" fmla="*/ 137493 w 1546631"/>
                    <a:gd name="connsiteY455" fmla="*/ 258972 h 1112533"/>
                    <a:gd name="connsiteX456" fmla="*/ 146028 w 1546631"/>
                    <a:gd name="connsiteY456" fmla="*/ 264001 h 1112533"/>
                    <a:gd name="connsiteX457" fmla="*/ 153914 w 1546631"/>
                    <a:gd name="connsiteY457" fmla="*/ 262277 h 1112533"/>
                    <a:gd name="connsiteX458" fmla="*/ 161525 w 1546631"/>
                    <a:gd name="connsiteY458" fmla="*/ 265039 h 1112533"/>
                    <a:gd name="connsiteX459" fmla="*/ 154496 w 1546631"/>
                    <a:gd name="connsiteY459" fmla="*/ 254314 h 1112533"/>
                    <a:gd name="connsiteX460" fmla="*/ 147676 w 1546631"/>
                    <a:gd name="connsiteY460" fmla="*/ 241569 h 1112533"/>
                    <a:gd name="connsiteX461" fmla="*/ 144637 w 1546631"/>
                    <a:gd name="connsiteY461" fmla="*/ 218633 h 1112533"/>
                    <a:gd name="connsiteX462" fmla="*/ 141504 w 1546631"/>
                    <a:gd name="connsiteY462" fmla="*/ 200945 h 1112533"/>
                    <a:gd name="connsiteX463" fmla="*/ 159925 w 1546631"/>
                    <a:gd name="connsiteY463" fmla="*/ 204793 h 1112533"/>
                    <a:gd name="connsiteX464" fmla="*/ 178384 w 1546631"/>
                    <a:gd name="connsiteY464" fmla="*/ 206222 h 1112533"/>
                    <a:gd name="connsiteX465" fmla="*/ 186747 w 1546631"/>
                    <a:gd name="connsiteY465" fmla="*/ 206898 h 1112533"/>
                    <a:gd name="connsiteX466" fmla="*/ 193386 w 1546631"/>
                    <a:gd name="connsiteY466" fmla="*/ 211156 h 1112533"/>
                    <a:gd name="connsiteX467" fmla="*/ 199711 w 1546631"/>
                    <a:gd name="connsiteY467" fmla="*/ 207794 h 1112533"/>
                    <a:gd name="connsiteX468" fmla="*/ 208769 w 1546631"/>
                    <a:gd name="connsiteY468" fmla="*/ 203527 h 1112533"/>
                    <a:gd name="connsiteX469" fmla="*/ 192320 w 1546631"/>
                    <a:gd name="connsiteY469" fmla="*/ 168732 h 1112533"/>
                    <a:gd name="connsiteX470" fmla="*/ 210645 w 1546631"/>
                    <a:gd name="connsiteY470" fmla="*/ 148691 h 1112533"/>
                    <a:gd name="connsiteX471" fmla="*/ 214732 w 1546631"/>
                    <a:gd name="connsiteY471" fmla="*/ 139680 h 1112533"/>
                    <a:gd name="connsiteX472" fmla="*/ 224057 w 1546631"/>
                    <a:gd name="connsiteY472" fmla="*/ 140509 h 1112533"/>
                    <a:gd name="connsiteX473" fmla="*/ 228952 w 1546631"/>
                    <a:gd name="connsiteY473" fmla="*/ 138366 h 1112533"/>
                    <a:gd name="connsiteX474" fmla="*/ 236801 w 1546631"/>
                    <a:gd name="connsiteY474" fmla="*/ 144329 h 1112533"/>
                    <a:gd name="connsiteX475" fmla="*/ 237001 w 1546631"/>
                    <a:gd name="connsiteY475" fmla="*/ 147634 h 1112533"/>
                    <a:gd name="connsiteX476" fmla="*/ 246002 w 1546631"/>
                    <a:gd name="connsiteY476" fmla="*/ 151625 h 1112533"/>
                    <a:gd name="connsiteX477" fmla="*/ 253089 w 1546631"/>
                    <a:gd name="connsiteY477" fmla="*/ 158550 h 1112533"/>
                    <a:gd name="connsiteX478" fmla="*/ 270377 w 1546631"/>
                    <a:gd name="connsiteY478" fmla="*/ 168075 h 1112533"/>
                    <a:gd name="connsiteX479" fmla="*/ 287922 w 1546631"/>
                    <a:gd name="connsiteY479" fmla="*/ 174933 h 1112533"/>
                    <a:gd name="connsiteX480" fmla="*/ 296609 w 1546631"/>
                    <a:gd name="connsiteY480" fmla="*/ 173713 h 1112533"/>
                    <a:gd name="connsiteX481" fmla="*/ 305267 w 1546631"/>
                    <a:gd name="connsiteY481" fmla="*/ 178590 h 1112533"/>
                    <a:gd name="connsiteX482" fmla="*/ 315202 w 1546631"/>
                    <a:gd name="connsiteY482" fmla="*/ 179638 h 1112533"/>
                    <a:gd name="connsiteX483" fmla="*/ 329042 w 1546631"/>
                    <a:gd name="connsiteY483" fmla="*/ 188629 h 1112533"/>
                    <a:gd name="connsiteX484" fmla="*/ 341976 w 1546631"/>
                    <a:gd name="connsiteY484" fmla="*/ 201098 h 1112533"/>
                    <a:gd name="connsiteX485" fmla="*/ 359407 w 1546631"/>
                    <a:gd name="connsiteY485" fmla="*/ 213699 h 1112533"/>
                    <a:gd name="connsiteX486" fmla="*/ 365817 w 1546631"/>
                    <a:gd name="connsiteY486" fmla="*/ 227815 h 1112533"/>
                    <a:gd name="connsiteX487" fmla="*/ 372075 w 1546631"/>
                    <a:gd name="connsiteY487" fmla="*/ 234854 h 1112533"/>
                    <a:gd name="connsiteX488" fmla="*/ 371761 w 1546631"/>
                    <a:gd name="connsiteY488" fmla="*/ 241084 h 1112533"/>
                    <a:gd name="connsiteX489" fmla="*/ 430111 w 1546631"/>
                    <a:gd name="connsiteY489" fmla="*/ 268782 h 1112533"/>
                    <a:gd name="connsiteX490" fmla="*/ 472773 w 1546631"/>
                    <a:gd name="connsiteY490" fmla="*/ 277183 h 1112533"/>
                    <a:gd name="connsiteX491" fmla="*/ 490871 w 1546631"/>
                    <a:gd name="connsiteY491" fmla="*/ 284270 h 1112533"/>
                    <a:gd name="connsiteX492" fmla="*/ 512169 w 1546631"/>
                    <a:gd name="connsiteY492" fmla="*/ 291976 h 1112533"/>
                    <a:gd name="connsiteX493" fmla="*/ 521989 w 1546631"/>
                    <a:gd name="connsiteY493" fmla="*/ 291976 h 1112533"/>
                    <a:gd name="connsiteX494" fmla="*/ 525152 w 1546631"/>
                    <a:gd name="connsiteY494" fmla="*/ 298853 h 1112533"/>
                    <a:gd name="connsiteX495" fmla="*/ 532962 w 1546631"/>
                    <a:gd name="connsiteY495" fmla="*/ 302529 h 1112533"/>
                    <a:gd name="connsiteX496" fmla="*/ 541477 w 1546631"/>
                    <a:gd name="connsiteY496" fmla="*/ 310578 h 1112533"/>
                    <a:gd name="connsiteX497" fmla="*/ 556336 w 1546631"/>
                    <a:gd name="connsiteY497" fmla="*/ 325466 h 1112533"/>
                    <a:gd name="connsiteX498" fmla="*/ 574320 w 1546631"/>
                    <a:gd name="connsiteY498" fmla="*/ 336534 h 1112533"/>
                    <a:gd name="connsiteX499" fmla="*/ 579530 w 1546631"/>
                    <a:gd name="connsiteY499" fmla="*/ 340801 h 1112533"/>
                    <a:gd name="connsiteX500" fmla="*/ 589845 w 1546631"/>
                    <a:gd name="connsiteY500" fmla="*/ 339591 h 1112533"/>
                    <a:gd name="connsiteX501" fmla="*/ 614220 w 1546631"/>
                    <a:gd name="connsiteY501" fmla="*/ 340391 h 1112533"/>
                    <a:gd name="connsiteX502" fmla="*/ 663417 w 1546631"/>
                    <a:gd name="connsiteY502" fmla="*/ 345535 h 1112533"/>
                    <a:gd name="connsiteX503" fmla="*/ 683190 w 1546631"/>
                    <a:gd name="connsiteY503" fmla="*/ 342868 h 1112533"/>
                    <a:gd name="connsiteX504" fmla="*/ 706364 w 1546631"/>
                    <a:gd name="connsiteY504" fmla="*/ 345802 h 1112533"/>
                    <a:gd name="connsiteX505" fmla="*/ 727358 w 1546631"/>
                    <a:gd name="connsiteY505" fmla="*/ 348345 h 1112533"/>
                    <a:gd name="connsiteX506" fmla="*/ 746350 w 1546631"/>
                    <a:gd name="connsiteY506" fmla="*/ 358603 h 1112533"/>
                    <a:gd name="connsiteX507" fmla="*/ 789127 w 1546631"/>
                    <a:gd name="connsiteY507" fmla="*/ 368633 h 1112533"/>
                    <a:gd name="connsiteX508" fmla="*/ 810930 w 1546631"/>
                    <a:gd name="connsiteY508" fmla="*/ 368509 h 1112533"/>
                    <a:gd name="connsiteX509" fmla="*/ 819426 w 1546631"/>
                    <a:gd name="connsiteY509" fmla="*/ 372881 h 1112533"/>
                    <a:gd name="connsiteX510" fmla="*/ 829390 w 1546631"/>
                    <a:gd name="connsiteY510" fmla="*/ 374881 h 1112533"/>
                    <a:gd name="connsiteX511" fmla="*/ 843306 w 1546631"/>
                    <a:gd name="connsiteY511" fmla="*/ 368928 h 1112533"/>
                    <a:gd name="connsiteX512" fmla="*/ 862955 w 1546631"/>
                    <a:gd name="connsiteY512" fmla="*/ 358089 h 1112533"/>
                    <a:gd name="connsiteX513" fmla="*/ 902961 w 1546631"/>
                    <a:gd name="connsiteY513" fmla="*/ 350135 h 1112533"/>
                    <a:gd name="connsiteX514" fmla="*/ 944442 w 1546631"/>
                    <a:gd name="connsiteY514" fmla="*/ 346745 h 1112533"/>
                    <a:gd name="connsiteX515" fmla="*/ 959891 w 1546631"/>
                    <a:gd name="connsiteY515" fmla="*/ 338267 h 1112533"/>
                    <a:gd name="connsiteX516" fmla="*/ 963721 w 1546631"/>
                    <a:gd name="connsiteY516" fmla="*/ 324561 h 1112533"/>
                    <a:gd name="connsiteX517" fmla="*/ 979799 w 1546631"/>
                    <a:gd name="connsiteY517" fmla="*/ 306463 h 1112533"/>
                    <a:gd name="connsiteX518" fmla="*/ 961616 w 1546631"/>
                    <a:gd name="connsiteY518" fmla="*/ 295224 h 1112533"/>
                    <a:gd name="connsiteX519" fmla="*/ 952005 w 1546631"/>
                    <a:gd name="connsiteY519" fmla="*/ 281851 h 1112533"/>
                    <a:gd name="connsiteX520" fmla="*/ 957015 w 1546631"/>
                    <a:gd name="connsiteY520" fmla="*/ 266954 h 1112533"/>
                    <a:gd name="connsiteX521" fmla="*/ 976703 w 1546631"/>
                    <a:gd name="connsiteY521" fmla="*/ 272469 h 1112533"/>
                    <a:gd name="connsiteX522" fmla="*/ 1010431 w 1546631"/>
                    <a:gd name="connsiteY522" fmla="*/ 271678 h 1112533"/>
                    <a:gd name="connsiteX523" fmla="*/ 1014213 w 1546631"/>
                    <a:gd name="connsiteY523" fmla="*/ 266468 h 1112533"/>
                    <a:gd name="connsiteX524" fmla="*/ 1016127 w 1546631"/>
                    <a:gd name="connsiteY524" fmla="*/ 258800 h 1112533"/>
                    <a:gd name="connsiteX525" fmla="*/ 1030977 w 1546631"/>
                    <a:gd name="connsiteY525" fmla="*/ 256905 h 1112533"/>
                    <a:gd name="connsiteX526" fmla="*/ 1038711 w 1546631"/>
                    <a:gd name="connsiteY526" fmla="*/ 255952 h 1112533"/>
                    <a:gd name="connsiteX527" fmla="*/ 1046769 w 1546631"/>
                    <a:gd name="connsiteY527" fmla="*/ 250809 h 1112533"/>
                    <a:gd name="connsiteX528" fmla="*/ 1048893 w 1546631"/>
                    <a:gd name="connsiteY528" fmla="*/ 239817 h 1112533"/>
                    <a:gd name="connsiteX529" fmla="*/ 1051856 w 1546631"/>
                    <a:gd name="connsiteY529" fmla="*/ 227368 h 1112533"/>
                    <a:gd name="connsiteX530" fmla="*/ 1068077 w 1546631"/>
                    <a:gd name="connsiteY530" fmla="*/ 226196 h 1112533"/>
                    <a:gd name="connsiteX531" fmla="*/ 1069867 w 1546631"/>
                    <a:gd name="connsiteY531" fmla="*/ 219624 h 1112533"/>
                    <a:gd name="connsiteX532" fmla="*/ 1075258 w 1546631"/>
                    <a:gd name="connsiteY532" fmla="*/ 221224 h 1112533"/>
                    <a:gd name="connsiteX533" fmla="*/ 1081526 w 1546631"/>
                    <a:gd name="connsiteY533" fmla="*/ 216385 h 1112533"/>
                    <a:gd name="connsiteX534" fmla="*/ 1108929 w 1546631"/>
                    <a:gd name="connsiteY534" fmla="*/ 217033 h 1112533"/>
                    <a:gd name="connsiteX535" fmla="*/ 1125398 w 1546631"/>
                    <a:gd name="connsiteY535" fmla="*/ 218500 h 1112533"/>
                    <a:gd name="connsiteX536" fmla="*/ 1120493 w 1546631"/>
                    <a:gd name="connsiteY536" fmla="*/ 207899 h 1112533"/>
                    <a:gd name="connsiteX537" fmla="*/ 1093547 w 1546631"/>
                    <a:gd name="connsiteY537" fmla="*/ 191211 h 1112533"/>
                    <a:gd name="connsiteX538" fmla="*/ 1068677 w 1546631"/>
                    <a:gd name="connsiteY538" fmla="*/ 179800 h 1112533"/>
                    <a:gd name="connsiteX539" fmla="*/ 1040682 w 1546631"/>
                    <a:gd name="connsiteY539" fmla="*/ 176904 h 1112533"/>
                    <a:gd name="connsiteX540" fmla="*/ 1033006 w 1546631"/>
                    <a:gd name="connsiteY540" fmla="*/ 183372 h 1112533"/>
                    <a:gd name="connsiteX541" fmla="*/ 1018499 w 1546631"/>
                    <a:gd name="connsiteY541" fmla="*/ 178838 h 1112533"/>
                    <a:gd name="connsiteX542" fmla="*/ 1004821 w 1546631"/>
                    <a:gd name="connsiteY542" fmla="*/ 179019 h 1112533"/>
                    <a:gd name="connsiteX543" fmla="*/ 999954 w 1546631"/>
                    <a:gd name="connsiteY543" fmla="*/ 184115 h 1112533"/>
                    <a:gd name="connsiteX544" fmla="*/ 992524 w 1546631"/>
                    <a:gd name="connsiteY544" fmla="*/ 181429 h 1112533"/>
                    <a:gd name="connsiteX545" fmla="*/ 979532 w 1546631"/>
                    <a:gd name="connsiteY545" fmla="*/ 169627 h 1112533"/>
                    <a:gd name="connsiteX546" fmla="*/ 982732 w 1546631"/>
                    <a:gd name="connsiteY546" fmla="*/ 166798 h 1112533"/>
                    <a:gd name="connsiteX547" fmla="*/ 979990 w 1546631"/>
                    <a:gd name="connsiteY547" fmla="*/ 162836 h 1112533"/>
                    <a:gd name="connsiteX548" fmla="*/ 975989 w 1546631"/>
                    <a:gd name="connsiteY548" fmla="*/ 155416 h 1112533"/>
                    <a:gd name="connsiteX549" fmla="*/ 968150 w 1546631"/>
                    <a:gd name="connsiteY549" fmla="*/ 117163 h 1112533"/>
                    <a:gd name="connsiteX550" fmla="*/ 990819 w 1546631"/>
                    <a:gd name="connsiteY550" fmla="*/ 123659 h 1112533"/>
                    <a:gd name="connsiteX551" fmla="*/ 1002478 w 1546631"/>
                    <a:gd name="connsiteY551" fmla="*/ 126403 h 1112533"/>
                    <a:gd name="connsiteX552" fmla="*/ 1010088 w 1546631"/>
                    <a:gd name="connsiteY552" fmla="*/ 121716 h 1112533"/>
                    <a:gd name="connsiteX553" fmla="*/ 1017632 w 1546631"/>
                    <a:gd name="connsiteY553" fmla="*/ 113344 h 1112533"/>
                    <a:gd name="connsiteX554" fmla="*/ 1026814 w 1546631"/>
                    <a:gd name="connsiteY554" fmla="*/ 111325 h 1112533"/>
                    <a:gd name="connsiteX555" fmla="*/ 1017794 w 1546631"/>
                    <a:gd name="connsiteY555" fmla="*/ 98828 h 1112533"/>
                    <a:gd name="connsiteX556" fmla="*/ 1016175 w 1546631"/>
                    <a:gd name="connsiteY556" fmla="*/ 85807 h 1112533"/>
                    <a:gd name="connsiteX557" fmla="*/ 1012536 w 1546631"/>
                    <a:gd name="connsiteY557" fmla="*/ 69253 h 1112533"/>
                    <a:gd name="connsiteX558" fmla="*/ 1010574 w 1546631"/>
                    <a:gd name="connsiteY558" fmla="*/ 60690 h 1112533"/>
                    <a:gd name="connsiteX559" fmla="*/ 1015308 w 1546631"/>
                    <a:gd name="connsiteY559" fmla="*/ 53346 h 1112533"/>
                    <a:gd name="connsiteX560" fmla="*/ 1007459 w 1546631"/>
                    <a:gd name="connsiteY560" fmla="*/ 39163 h 1112533"/>
                    <a:gd name="connsiteX561" fmla="*/ 993353 w 1546631"/>
                    <a:gd name="connsiteY561" fmla="*/ 29057 h 1112533"/>
                    <a:gd name="connsiteX562" fmla="*/ 980618 w 1546631"/>
                    <a:gd name="connsiteY562" fmla="*/ 23399 h 1112533"/>
                    <a:gd name="connsiteX563" fmla="*/ 989533 w 1546631"/>
                    <a:gd name="connsiteY563" fmla="*/ 8169 h 1112533"/>
                    <a:gd name="connsiteX564" fmla="*/ 1010374 w 1546631"/>
                    <a:gd name="connsiteY564" fmla="*/ 3654 h 1112533"/>
                    <a:gd name="connsiteX565" fmla="*/ 1027967 w 1546631"/>
                    <a:gd name="connsiteY565" fmla="*/ 2416 h 1112533"/>
                    <a:gd name="connsiteX566" fmla="*/ 1045759 w 1546631"/>
                    <a:gd name="connsiteY566" fmla="*/ 301 h 1112533"/>
                    <a:gd name="connsiteX567" fmla="*/ 1045759 w 1546631"/>
                    <a:gd name="connsiteY567" fmla="*/ 301 h 1112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Lst>
                  <a:rect l="l" t="t" r="r" b="b"/>
                  <a:pathLst>
                    <a:path w="1546631" h="1112533">
                      <a:moveTo>
                        <a:pt x="1332462" y="1056729"/>
                      </a:moveTo>
                      <a:cubicBezTo>
                        <a:pt x="1334815" y="1058243"/>
                        <a:pt x="1336472" y="1060338"/>
                        <a:pt x="1337615" y="1062910"/>
                      </a:cubicBezTo>
                      <a:cubicBezTo>
                        <a:pt x="1339587" y="1067358"/>
                        <a:pt x="1338986" y="1065672"/>
                        <a:pt x="1337386" y="1069511"/>
                      </a:cubicBezTo>
                      <a:cubicBezTo>
                        <a:pt x="1337167" y="1070035"/>
                        <a:pt x="1335110" y="1070587"/>
                        <a:pt x="1334615" y="1071283"/>
                      </a:cubicBezTo>
                      <a:cubicBezTo>
                        <a:pt x="1333605" y="1072692"/>
                        <a:pt x="1333186" y="1075264"/>
                        <a:pt x="1332709" y="1076883"/>
                      </a:cubicBezTo>
                      <a:cubicBezTo>
                        <a:pt x="1332167" y="1078722"/>
                        <a:pt x="1331348" y="1081017"/>
                        <a:pt x="1331166" y="1082846"/>
                      </a:cubicBezTo>
                      <a:cubicBezTo>
                        <a:pt x="1330805" y="1086456"/>
                        <a:pt x="1333405" y="1092514"/>
                        <a:pt x="1331633" y="1095914"/>
                      </a:cubicBezTo>
                      <a:cubicBezTo>
                        <a:pt x="1330662" y="1097762"/>
                        <a:pt x="1323318" y="1102468"/>
                        <a:pt x="1321632" y="1103553"/>
                      </a:cubicBezTo>
                      <a:cubicBezTo>
                        <a:pt x="1324099" y="1107125"/>
                        <a:pt x="1320556" y="1104944"/>
                        <a:pt x="1318793" y="1106392"/>
                      </a:cubicBezTo>
                      <a:cubicBezTo>
                        <a:pt x="1318089" y="1106973"/>
                        <a:pt x="1314860" y="1108706"/>
                        <a:pt x="1314031" y="1109211"/>
                      </a:cubicBezTo>
                      <a:cubicBezTo>
                        <a:pt x="1312203" y="1110326"/>
                        <a:pt x="1313374" y="1111602"/>
                        <a:pt x="1310183" y="1112345"/>
                      </a:cubicBezTo>
                      <a:cubicBezTo>
                        <a:pt x="1304458" y="1113659"/>
                        <a:pt x="1290542" y="1107773"/>
                        <a:pt x="1285142" y="1105049"/>
                      </a:cubicBezTo>
                      <a:cubicBezTo>
                        <a:pt x="1277988" y="1101429"/>
                        <a:pt x="1273283" y="1091314"/>
                        <a:pt x="1272283" y="1082989"/>
                      </a:cubicBezTo>
                      <a:cubicBezTo>
                        <a:pt x="1271111" y="1073112"/>
                        <a:pt x="1280789" y="1071692"/>
                        <a:pt x="1285580" y="1064006"/>
                      </a:cubicBezTo>
                      <a:cubicBezTo>
                        <a:pt x="1284475" y="1064110"/>
                        <a:pt x="1283485" y="1063729"/>
                        <a:pt x="1282465" y="1063777"/>
                      </a:cubicBezTo>
                      <a:cubicBezTo>
                        <a:pt x="1282751" y="1058700"/>
                        <a:pt x="1292714" y="1057748"/>
                        <a:pt x="1296562" y="1057129"/>
                      </a:cubicBezTo>
                      <a:cubicBezTo>
                        <a:pt x="1300620" y="1056481"/>
                        <a:pt x="1304963" y="1056509"/>
                        <a:pt x="1308868" y="1055738"/>
                      </a:cubicBezTo>
                      <a:cubicBezTo>
                        <a:pt x="1312003" y="1055128"/>
                        <a:pt x="1314650" y="1053909"/>
                        <a:pt x="1317470" y="1057252"/>
                      </a:cubicBezTo>
                      <a:cubicBezTo>
                        <a:pt x="1317079" y="1056395"/>
                        <a:pt x="1317003" y="1055443"/>
                        <a:pt x="1316641" y="1054614"/>
                      </a:cubicBezTo>
                      <a:cubicBezTo>
                        <a:pt x="1318946" y="1055347"/>
                        <a:pt x="1321194" y="1056300"/>
                        <a:pt x="1323442" y="1057224"/>
                      </a:cubicBezTo>
                      <a:cubicBezTo>
                        <a:pt x="1317889" y="1048346"/>
                        <a:pt x="1330300" y="1056357"/>
                        <a:pt x="1332462" y="1056729"/>
                      </a:cubicBezTo>
                      <a:lnTo>
                        <a:pt x="1332462" y="1056729"/>
                      </a:lnTo>
                      <a:close/>
                      <a:moveTo>
                        <a:pt x="1045759" y="301"/>
                      </a:moveTo>
                      <a:cubicBezTo>
                        <a:pt x="1052303" y="-813"/>
                        <a:pt x="1060914" y="3625"/>
                        <a:pt x="1067477" y="5588"/>
                      </a:cubicBezTo>
                      <a:cubicBezTo>
                        <a:pt x="1074982" y="7845"/>
                        <a:pt x="1083564" y="12255"/>
                        <a:pt x="1091746" y="12893"/>
                      </a:cubicBezTo>
                      <a:cubicBezTo>
                        <a:pt x="1090613" y="6731"/>
                        <a:pt x="1117130" y="18484"/>
                        <a:pt x="1120712" y="20408"/>
                      </a:cubicBezTo>
                      <a:cubicBezTo>
                        <a:pt x="1129370" y="25076"/>
                        <a:pt x="1135942" y="29343"/>
                        <a:pt x="1144305" y="34144"/>
                      </a:cubicBezTo>
                      <a:cubicBezTo>
                        <a:pt x="1165860" y="46516"/>
                        <a:pt x="1182758" y="66271"/>
                        <a:pt x="1203693" y="79787"/>
                      </a:cubicBezTo>
                      <a:cubicBezTo>
                        <a:pt x="1209723" y="83673"/>
                        <a:pt x="1217390" y="86340"/>
                        <a:pt x="1222486" y="91532"/>
                      </a:cubicBezTo>
                      <a:cubicBezTo>
                        <a:pt x="1226248" y="95351"/>
                        <a:pt x="1228087" y="99237"/>
                        <a:pt x="1232916" y="102057"/>
                      </a:cubicBezTo>
                      <a:cubicBezTo>
                        <a:pt x="1237326" y="104629"/>
                        <a:pt x="1238574" y="104571"/>
                        <a:pt x="1241632" y="108162"/>
                      </a:cubicBezTo>
                      <a:cubicBezTo>
                        <a:pt x="1243832" y="110753"/>
                        <a:pt x="1244956" y="113811"/>
                        <a:pt x="1247870" y="116020"/>
                      </a:cubicBezTo>
                      <a:cubicBezTo>
                        <a:pt x="1252881" y="119802"/>
                        <a:pt x="1260072" y="123288"/>
                        <a:pt x="1266244" y="124564"/>
                      </a:cubicBezTo>
                      <a:cubicBezTo>
                        <a:pt x="1273388" y="126060"/>
                        <a:pt x="1281208" y="122383"/>
                        <a:pt x="1287904" y="124802"/>
                      </a:cubicBezTo>
                      <a:cubicBezTo>
                        <a:pt x="1292647" y="126517"/>
                        <a:pt x="1297344" y="130536"/>
                        <a:pt x="1303097" y="131432"/>
                      </a:cubicBezTo>
                      <a:cubicBezTo>
                        <a:pt x="1308897" y="132337"/>
                        <a:pt x="1309888" y="131013"/>
                        <a:pt x="1315946" y="133404"/>
                      </a:cubicBezTo>
                      <a:cubicBezTo>
                        <a:pt x="1323223" y="136271"/>
                        <a:pt x="1329643" y="140052"/>
                        <a:pt x="1336758" y="143576"/>
                      </a:cubicBezTo>
                      <a:cubicBezTo>
                        <a:pt x="1343797" y="147053"/>
                        <a:pt x="1352560" y="145567"/>
                        <a:pt x="1358103" y="150844"/>
                      </a:cubicBezTo>
                      <a:cubicBezTo>
                        <a:pt x="1360647" y="153254"/>
                        <a:pt x="1361313" y="155616"/>
                        <a:pt x="1364647" y="157816"/>
                      </a:cubicBezTo>
                      <a:cubicBezTo>
                        <a:pt x="1367419" y="159654"/>
                        <a:pt x="1370657" y="160778"/>
                        <a:pt x="1373115" y="163055"/>
                      </a:cubicBezTo>
                      <a:cubicBezTo>
                        <a:pt x="1375791" y="165541"/>
                        <a:pt x="1376210" y="168722"/>
                        <a:pt x="1378487" y="171342"/>
                      </a:cubicBezTo>
                      <a:cubicBezTo>
                        <a:pt x="1381259" y="174513"/>
                        <a:pt x="1385040" y="175704"/>
                        <a:pt x="1388431" y="178047"/>
                      </a:cubicBezTo>
                      <a:cubicBezTo>
                        <a:pt x="1390726" y="179628"/>
                        <a:pt x="1393013" y="182876"/>
                        <a:pt x="1395651" y="183772"/>
                      </a:cubicBezTo>
                      <a:cubicBezTo>
                        <a:pt x="1398899" y="184886"/>
                        <a:pt x="1402099" y="183057"/>
                        <a:pt x="1405385" y="183143"/>
                      </a:cubicBezTo>
                      <a:cubicBezTo>
                        <a:pt x="1412910" y="183334"/>
                        <a:pt x="1419444" y="183734"/>
                        <a:pt x="1427216" y="183286"/>
                      </a:cubicBezTo>
                      <a:cubicBezTo>
                        <a:pt x="1430588" y="183086"/>
                        <a:pt x="1434008" y="184077"/>
                        <a:pt x="1435808" y="181791"/>
                      </a:cubicBezTo>
                      <a:cubicBezTo>
                        <a:pt x="1436418" y="181019"/>
                        <a:pt x="1434075" y="178514"/>
                        <a:pt x="1434608" y="177476"/>
                      </a:cubicBezTo>
                      <a:cubicBezTo>
                        <a:pt x="1435465" y="175828"/>
                        <a:pt x="1436484" y="177228"/>
                        <a:pt x="1437218" y="176142"/>
                      </a:cubicBezTo>
                      <a:cubicBezTo>
                        <a:pt x="1441485" y="169856"/>
                        <a:pt x="1447534" y="172208"/>
                        <a:pt x="1452886" y="169113"/>
                      </a:cubicBezTo>
                      <a:cubicBezTo>
                        <a:pt x="1458420" y="165912"/>
                        <a:pt x="1462107" y="161902"/>
                        <a:pt x="1469593" y="163274"/>
                      </a:cubicBezTo>
                      <a:cubicBezTo>
                        <a:pt x="1476928" y="164617"/>
                        <a:pt x="1477756" y="167922"/>
                        <a:pt x="1481204" y="172380"/>
                      </a:cubicBezTo>
                      <a:cubicBezTo>
                        <a:pt x="1484500" y="176647"/>
                        <a:pt x="1492587" y="179485"/>
                        <a:pt x="1495025" y="183943"/>
                      </a:cubicBezTo>
                      <a:cubicBezTo>
                        <a:pt x="1496083" y="185877"/>
                        <a:pt x="1496568" y="188591"/>
                        <a:pt x="1495692" y="190715"/>
                      </a:cubicBezTo>
                      <a:cubicBezTo>
                        <a:pt x="1494949" y="192497"/>
                        <a:pt x="1491729" y="191458"/>
                        <a:pt x="1491253" y="192782"/>
                      </a:cubicBezTo>
                      <a:cubicBezTo>
                        <a:pt x="1489748" y="197040"/>
                        <a:pt x="1495168" y="201860"/>
                        <a:pt x="1496959" y="205374"/>
                      </a:cubicBezTo>
                      <a:cubicBezTo>
                        <a:pt x="1499607" y="210613"/>
                        <a:pt x="1501693" y="216919"/>
                        <a:pt x="1504436" y="221710"/>
                      </a:cubicBezTo>
                      <a:cubicBezTo>
                        <a:pt x="1505722" y="223948"/>
                        <a:pt x="1508446" y="224910"/>
                        <a:pt x="1509427" y="227301"/>
                      </a:cubicBezTo>
                      <a:cubicBezTo>
                        <a:pt x="1510503" y="229939"/>
                        <a:pt x="1509027" y="230882"/>
                        <a:pt x="1509617" y="232740"/>
                      </a:cubicBezTo>
                      <a:cubicBezTo>
                        <a:pt x="1510322" y="234940"/>
                        <a:pt x="1512351" y="236712"/>
                        <a:pt x="1513113" y="239236"/>
                      </a:cubicBezTo>
                      <a:cubicBezTo>
                        <a:pt x="1513447" y="240360"/>
                        <a:pt x="1512218" y="241779"/>
                        <a:pt x="1513037" y="244255"/>
                      </a:cubicBezTo>
                      <a:cubicBezTo>
                        <a:pt x="1513751" y="246408"/>
                        <a:pt x="1516371" y="247770"/>
                        <a:pt x="1516561" y="249904"/>
                      </a:cubicBezTo>
                      <a:cubicBezTo>
                        <a:pt x="1516676" y="251161"/>
                        <a:pt x="1513113" y="251561"/>
                        <a:pt x="1512989" y="252980"/>
                      </a:cubicBezTo>
                      <a:cubicBezTo>
                        <a:pt x="1512608" y="257533"/>
                        <a:pt x="1523572" y="265096"/>
                        <a:pt x="1518142" y="268020"/>
                      </a:cubicBezTo>
                      <a:cubicBezTo>
                        <a:pt x="1515771" y="269297"/>
                        <a:pt x="1503236" y="264753"/>
                        <a:pt x="1500445" y="264144"/>
                      </a:cubicBezTo>
                      <a:cubicBezTo>
                        <a:pt x="1497254" y="263448"/>
                        <a:pt x="1483243" y="258000"/>
                        <a:pt x="1481014" y="258753"/>
                      </a:cubicBezTo>
                      <a:cubicBezTo>
                        <a:pt x="1478728" y="259534"/>
                        <a:pt x="1480833" y="267392"/>
                        <a:pt x="1478376" y="269916"/>
                      </a:cubicBezTo>
                      <a:cubicBezTo>
                        <a:pt x="1473813" y="274583"/>
                        <a:pt x="1467365" y="269573"/>
                        <a:pt x="1473622" y="277050"/>
                      </a:cubicBezTo>
                      <a:cubicBezTo>
                        <a:pt x="1478385" y="282727"/>
                        <a:pt x="1486034" y="287832"/>
                        <a:pt x="1491529" y="292938"/>
                      </a:cubicBezTo>
                      <a:cubicBezTo>
                        <a:pt x="1497263" y="298253"/>
                        <a:pt x="1500216" y="304339"/>
                        <a:pt x="1504998" y="310607"/>
                      </a:cubicBezTo>
                      <a:cubicBezTo>
                        <a:pt x="1508150" y="314750"/>
                        <a:pt x="1512075" y="316998"/>
                        <a:pt x="1514999" y="321017"/>
                      </a:cubicBezTo>
                      <a:cubicBezTo>
                        <a:pt x="1518266" y="325504"/>
                        <a:pt x="1517761" y="330828"/>
                        <a:pt x="1521200" y="335067"/>
                      </a:cubicBezTo>
                      <a:cubicBezTo>
                        <a:pt x="1518704" y="336867"/>
                        <a:pt x="1509999" y="335791"/>
                        <a:pt x="1508493" y="338944"/>
                      </a:cubicBezTo>
                      <a:cubicBezTo>
                        <a:pt x="1506655" y="342811"/>
                        <a:pt x="1514075" y="342763"/>
                        <a:pt x="1516142" y="345611"/>
                      </a:cubicBezTo>
                      <a:cubicBezTo>
                        <a:pt x="1515885" y="345944"/>
                        <a:pt x="1515609" y="346287"/>
                        <a:pt x="1515352" y="346621"/>
                      </a:cubicBezTo>
                      <a:cubicBezTo>
                        <a:pt x="1505312" y="340820"/>
                        <a:pt x="1497578" y="335257"/>
                        <a:pt x="1486938" y="332047"/>
                      </a:cubicBezTo>
                      <a:cubicBezTo>
                        <a:pt x="1487891" y="338362"/>
                        <a:pt x="1492815" y="343335"/>
                        <a:pt x="1494777" y="349373"/>
                      </a:cubicBezTo>
                      <a:cubicBezTo>
                        <a:pt x="1491863" y="351802"/>
                        <a:pt x="1489072" y="348126"/>
                        <a:pt x="1486729" y="349707"/>
                      </a:cubicBezTo>
                      <a:cubicBezTo>
                        <a:pt x="1482776" y="352383"/>
                        <a:pt x="1487034" y="353936"/>
                        <a:pt x="1486262" y="357403"/>
                      </a:cubicBezTo>
                      <a:cubicBezTo>
                        <a:pt x="1484186" y="366709"/>
                        <a:pt x="1467555" y="361575"/>
                        <a:pt x="1460421" y="363880"/>
                      </a:cubicBezTo>
                      <a:cubicBezTo>
                        <a:pt x="1462621" y="369490"/>
                        <a:pt x="1470174" y="370576"/>
                        <a:pt x="1474070" y="374348"/>
                      </a:cubicBezTo>
                      <a:cubicBezTo>
                        <a:pt x="1475584" y="375815"/>
                        <a:pt x="1479156" y="378520"/>
                        <a:pt x="1477671" y="381339"/>
                      </a:cubicBezTo>
                      <a:cubicBezTo>
                        <a:pt x="1476004" y="384511"/>
                        <a:pt x="1474965" y="380901"/>
                        <a:pt x="1472146" y="380844"/>
                      </a:cubicBezTo>
                      <a:cubicBezTo>
                        <a:pt x="1464669" y="380701"/>
                        <a:pt x="1457354" y="380844"/>
                        <a:pt x="1450057" y="378615"/>
                      </a:cubicBezTo>
                      <a:cubicBezTo>
                        <a:pt x="1445447" y="377205"/>
                        <a:pt x="1438751" y="369862"/>
                        <a:pt x="1433894" y="370395"/>
                      </a:cubicBezTo>
                      <a:cubicBezTo>
                        <a:pt x="1426950" y="371167"/>
                        <a:pt x="1431074" y="377777"/>
                        <a:pt x="1431713" y="381758"/>
                      </a:cubicBezTo>
                      <a:cubicBezTo>
                        <a:pt x="1432198" y="384806"/>
                        <a:pt x="1430646" y="390826"/>
                        <a:pt x="1428998" y="394246"/>
                      </a:cubicBezTo>
                      <a:cubicBezTo>
                        <a:pt x="1428569" y="395132"/>
                        <a:pt x="1429951" y="396913"/>
                        <a:pt x="1428817" y="397999"/>
                      </a:cubicBezTo>
                      <a:cubicBezTo>
                        <a:pt x="1427865" y="398903"/>
                        <a:pt x="1425083" y="398075"/>
                        <a:pt x="1423883" y="399027"/>
                      </a:cubicBezTo>
                      <a:cubicBezTo>
                        <a:pt x="1422540" y="400084"/>
                        <a:pt x="1422349" y="401237"/>
                        <a:pt x="1421426" y="401951"/>
                      </a:cubicBezTo>
                      <a:cubicBezTo>
                        <a:pt x="1419063" y="403790"/>
                        <a:pt x="1410415" y="408428"/>
                        <a:pt x="1411224" y="411857"/>
                      </a:cubicBezTo>
                      <a:cubicBezTo>
                        <a:pt x="1406776" y="411410"/>
                        <a:pt x="1400804" y="422621"/>
                        <a:pt x="1403795" y="426364"/>
                      </a:cubicBezTo>
                      <a:cubicBezTo>
                        <a:pt x="1402213" y="432336"/>
                        <a:pt x="1392584" y="434203"/>
                        <a:pt x="1386678" y="430212"/>
                      </a:cubicBezTo>
                      <a:cubicBezTo>
                        <a:pt x="1387497" y="434870"/>
                        <a:pt x="1377039" y="435670"/>
                        <a:pt x="1373762" y="437194"/>
                      </a:cubicBezTo>
                      <a:cubicBezTo>
                        <a:pt x="1370686" y="438632"/>
                        <a:pt x="1365418" y="441899"/>
                        <a:pt x="1362913" y="444995"/>
                      </a:cubicBezTo>
                      <a:cubicBezTo>
                        <a:pt x="1360427" y="448071"/>
                        <a:pt x="1361084" y="451424"/>
                        <a:pt x="1359065" y="454577"/>
                      </a:cubicBezTo>
                      <a:cubicBezTo>
                        <a:pt x="1357827" y="456520"/>
                        <a:pt x="1356227" y="457130"/>
                        <a:pt x="1354627" y="458225"/>
                      </a:cubicBezTo>
                      <a:cubicBezTo>
                        <a:pt x="1353817" y="458777"/>
                        <a:pt x="1351674" y="456873"/>
                        <a:pt x="1350846" y="457835"/>
                      </a:cubicBezTo>
                      <a:cubicBezTo>
                        <a:pt x="1349483" y="459397"/>
                        <a:pt x="1352550" y="461406"/>
                        <a:pt x="1352560" y="461406"/>
                      </a:cubicBezTo>
                      <a:cubicBezTo>
                        <a:pt x="1347626" y="467274"/>
                        <a:pt x="1340215" y="466388"/>
                        <a:pt x="1336167" y="460492"/>
                      </a:cubicBezTo>
                      <a:cubicBezTo>
                        <a:pt x="1340444" y="459063"/>
                        <a:pt x="1344283" y="456758"/>
                        <a:pt x="1348264" y="454577"/>
                      </a:cubicBezTo>
                      <a:cubicBezTo>
                        <a:pt x="1344597" y="452482"/>
                        <a:pt x="1343283" y="449138"/>
                        <a:pt x="1346254" y="445823"/>
                      </a:cubicBezTo>
                      <a:cubicBezTo>
                        <a:pt x="1342501" y="445004"/>
                        <a:pt x="1338492" y="447043"/>
                        <a:pt x="1334681" y="446147"/>
                      </a:cubicBezTo>
                      <a:cubicBezTo>
                        <a:pt x="1330510" y="445157"/>
                        <a:pt x="1330805" y="443928"/>
                        <a:pt x="1327518" y="440842"/>
                      </a:cubicBezTo>
                      <a:cubicBezTo>
                        <a:pt x="1329433" y="439128"/>
                        <a:pt x="1329871" y="437937"/>
                        <a:pt x="1332481" y="437870"/>
                      </a:cubicBezTo>
                      <a:cubicBezTo>
                        <a:pt x="1325499" y="431688"/>
                        <a:pt x="1330462" y="432508"/>
                        <a:pt x="1333672" y="427307"/>
                      </a:cubicBezTo>
                      <a:cubicBezTo>
                        <a:pt x="1335510" y="424316"/>
                        <a:pt x="1336300" y="415829"/>
                        <a:pt x="1334958" y="412391"/>
                      </a:cubicBezTo>
                      <a:cubicBezTo>
                        <a:pt x="1333586" y="408895"/>
                        <a:pt x="1330004" y="406523"/>
                        <a:pt x="1326509" y="404552"/>
                      </a:cubicBezTo>
                      <a:cubicBezTo>
                        <a:pt x="1321546" y="401770"/>
                        <a:pt x="1316136" y="398418"/>
                        <a:pt x="1311803" y="395998"/>
                      </a:cubicBezTo>
                      <a:cubicBezTo>
                        <a:pt x="1315079" y="402009"/>
                        <a:pt x="1308316" y="399094"/>
                        <a:pt x="1305525" y="398780"/>
                      </a:cubicBezTo>
                      <a:cubicBezTo>
                        <a:pt x="1296743" y="397789"/>
                        <a:pt x="1296943" y="397208"/>
                        <a:pt x="1293962" y="403971"/>
                      </a:cubicBezTo>
                      <a:cubicBezTo>
                        <a:pt x="1292171" y="408038"/>
                        <a:pt x="1292162" y="410105"/>
                        <a:pt x="1291057" y="414839"/>
                      </a:cubicBezTo>
                      <a:cubicBezTo>
                        <a:pt x="1289695" y="420716"/>
                        <a:pt x="1287571" y="421049"/>
                        <a:pt x="1281579" y="424888"/>
                      </a:cubicBezTo>
                      <a:cubicBezTo>
                        <a:pt x="1277465" y="427526"/>
                        <a:pt x="1272788" y="428698"/>
                        <a:pt x="1271102" y="433689"/>
                      </a:cubicBezTo>
                      <a:cubicBezTo>
                        <a:pt x="1269330" y="438937"/>
                        <a:pt x="1274064" y="443109"/>
                        <a:pt x="1272731" y="448119"/>
                      </a:cubicBezTo>
                      <a:cubicBezTo>
                        <a:pt x="1271388" y="453120"/>
                        <a:pt x="1270731" y="451919"/>
                        <a:pt x="1266197" y="452786"/>
                      </a:cubicBezTo>
                      <a:cubicBezTo>
                        <a:pt x="1264244" y="453167"/>
                        <a:pt x="1262463" y="452434"/>
                        <a:pt x="1260606" y="452920"/>
                      </a:cubicBezTo>
                      <a:cubicBezTo>
                        <a:pt x="1258691" y="453415"/>
                        <a:pt x="1256615" y="455977"/>
                        <a:pt x="1254500" y="455901"/>
                      </a:cubicBezTo>
                      <a:cubicBezTo>
                        <a:pt x="1250462" y="455758"/>
                        <a:pt x="1247661" y="449843"/>
                        <a:pt x="1242889" y="451119"/>
                      </a:cubicBezTo>
                      <a:cubicBezTo>
                        <a:pt x="1237193" y="452643"/>
                        <a:pt x="1238602" y="457644"/>
                        <a:pt x="1239822" y="462692"/>
                      </a:cubicBezTo>
                      <a:cubicBezTo>
                        <a:pt x="1242127" y="472227"/>
                        <a:pt x="1251052" y="478094"/>
                        <a:pt x="1259691" y="481714"/>
                      </a:cubicBezTo>
                      <a:cubicBezTo>
                        <a:pt x="1264768" y="483847"/>
                        <a:pt x="1269654" y="484876"/>
                        <a:pt x="1275207" y="485524"/>
                      </a:cubicBezTo>
                      <a:cubicBezTo>
                        <a:pt x="1279817" y="486067"/>
                        <a:pt x="1284313" y="484924"/>
                        <a:pt x="1288647" y="485914"/>
                      </a:cubicBezTo>
                      <a:cubicBezTo>
                        <a:pt x="1293466" y="487010"/>
                        <a:pt x="1297010" y="491305"/>
                        <a:pt x="1300163" y="494687"/>
                      </a:cubicBezTo>
                      <a:cubicBezTo>
                        <a:pt x="1300553" y="495106"/>
                        <a:pt x="1302372" y="496877"/>
                        <a:pt x="1302535" y="497192"/>
                      </a:cubicBezTo>
                      <a:cubicBezTo>
                        <a:pt x="1303344" y="498782"/>
                        <a:pt x="1303030" y="499983"/>
                        <a:pt x="1303221" y="500449"/>
                      </a:cubicBezTo>
                      <a:cubicBezTo>
                        <a:pt x="1307469" y="510736"/>
                        <a:pt x="1313755" y="516842"/>
                        <a:pt x="1326471" y="516985"/>
                      </a:cubicBezTo>
                      <a:cubicBezTo>
                        <a:pt x="1329433" y="517013"/>
                        <a:pt x="1333462" y="517042"/>
                        <a:pt x="1335072" y="514604"/>
                      </a:cubicBezTo>
                      <a:cubicBezTo>
                        <a:pt x="1336691" y="512156"/>
                        <a:pt x="1333186" y="511575"/>
                        <a:pt x="1333852" y="510003"/>
                      </a:cubicBezTo>
                      <a:cubicBezTo>
                        <a:pt x="1334958" y="507393"/>
                        <a:pt x="1344739" y="501916"/>
                        <a:pt x="1337806" y="499630"/>
                      </a:cubicBezTo>
                      <a:cubicBezTo>
                        <a:pt x="1346264" y="497582"/>
                        <a:pt x="1347969" y="493953"/>
                        <a:pt x="1357084" y="497497"/>
                      </a:cubicBezTo>
                      <a:cubicBezTo>
                        <a:pt x="1364028" y="500192"/>
                        <a:pt x="1370409" y="503288"/>
                        <a:pt x="1377620" y="505241"/>
                      </a:cubicBezTo>
                      <a:cubicBezTo>
                        <a:pt x="1381392" y="506269"/>
                        <a:pt x="1385574" y="507422"/>
                        <a:pt x="1389602" y="506898"/>
                      </a:cubicBezTo>
                      <a:cubicBezTo>
                        <a:pt x="1391841" y="506603"/>
                        <a:pt x="1390298" y="504259"/>
                        <a:pt x="1393270" y="504564"/>
                      </a:cubicBezTo>
                      <a:cubicBezTo>
                        <a:pt x="1395936" y="504840"/>
                        <a:pt x="1398937" y="507898"/>
                        <a:pt x="1402119" y="508250"/>
                      </a:cubicBezTo>
                      <a:cubicBezTo>
                        <a:pt x="1405452" y="508622"/>
                        <a:pt x="1408243" y="507650"/>
                        <a:pt x="1411453" y="508327"/>
                      </a:cubicBezTo>
                      <a:cubicBezTo>
                        <a:pt x="1410062" y="511146"/>
                        <a:pt x="1412463" y="514118"/>
                        <a:pt x="1413158" y="515985"/>
                      </a:cubicBezTo>
                      <a:cubicBezTo>
                        <a:pt x="1413282" y="516299"/>
                        <a:pt x="1412339" y="518509"/>
                        <a:pt x="1412567" y="519223"/>
                      </a:cubicBezTo>
                      <a:cubicBezTo>
                        <a:pt x="1412767" y="519852"/>
                        <a:pt x="1415539" y="520585"/>
                        <a:pt x="1415549" y="520928"/>
                      </a:cubicBezTo>
                      <a:cubicBezTo>
                        <a:pt x="1415825" y="528015"/>
                        <a:pt x="1412691" y="524795"/>
                        <a:pt x="1408348" y="523681"/>
                      </a:cubicBezTo>
                      <a:cubicBezTo>
                        <a:pt x="1395775" y="520461"/>
                        <a:pt x="1387469" y="533749"/>
                        <a:pt x="1374391" y="532587"/>
                      </a:cubicBezTo>
                      <a:cubicBezTo>
                        <a:pt x="1376229" y="534273"/>
                        <a:pt x="1379287" y="535844"/>
                        <a:pt x="1380544" y="538530"/>
                      </a:cubicBezTo>
                      <a:cubicBezTo>
                        <a:pt x="1370372" y="535759"/>
                        <a:pt x="1386697" y="554523"/>
                        <a:pt x="1371572" y="549541"/>
                      </a:cubicBezTo>
                      <a:cubicBezTo>
                        <a:pt x="1370705" y="549256"/>
                        <a:pt x="1366647" y="541102"/>
                        <a:pt x="1364599" y="546970"/>
                      </a:cubicBezTo>
                      <a:cubicBezTo>
                        <a:pt x="1363352" y="550532"/>
                        <a:pt x="1369429" y="552294"/>
                        <a:pt x="1372172" y="553018"/>
                      </a:cubicBezTo>
                      <a:cubicBezTo>
                        <a:pt x="1365390" y="559609"/>
                        <a:pt x="1361532" y="571525"/>
                        <a:pt x="1361999" y="580869"/>
                      </a:cubicBezTo>
                      <a:cubicBezTo>
                        <a:pt x="1362170" y="584136"/>
                        <a:pt x="1358961" y="585146"/>
                        <a:pt x="1362227" y="589203"/>
                      </a:cubicBezTo>
                      <a:cubicBezTo>
                        <a:pt x="1365038" y="592671"/>
                        <a:pt x="1367876" y="591585"/>
                        <a:pt x="1371848" y="593032"/>
                      </a:cubicBezTo>
                      <a:cubicBezTo>
                        <a:pt x="1378772" y="595537"/>
                        <a:pt x="1385049" y="599100"/>
                        <a:pt x="1392231" y="601414"/>
                      </a:cubicBezTo>
                      <a:cubicBezTo>
                        <a:pt x="1407900" y="606453"/>
                        <a:pt x="1416272" y="620750"/>
                        <a:pt x="1428093" y="631094"/>
                      </a:cubicBezTo>
                      <a:cubicBezTo>
                        <a:pt x="1433475" y="635809"/>
                        <a:pt x="1439952" y="641181"/>
                        <a:pt x="1444704" y="646487"/>
                      </a:cubicBezTo>
                      <a:cubicBezTo>
                        <a:pt x="1450353" y="652783"/>
                        <a:pt x="1448819" y="657602"/>
                        <a:pt x="1457601" y="661098"/>
                      </a:cubicBezTo>
                      <a:cubicBezTo>
                        <a:pt x="1461450" y="662622"/>
                        <a:pt x="1466279" y="663013"/>
                        <a:pt x="1469689" y="665556"/>
                      </a:cubicBezTo>
                      <a:cubicBezTo>
                        <a:pt x="1472927" y="667975"/>
                        <a:pt x="1474051" y="671595"/>
                        <a:pt x="1477461" y="673947"/>
                      </a:cubicBezTo>
                      <a:cubicBezTo>
                        <a:pt x="1485062" y="679186"/>
                        <a:pt x="1491882" y="678881"/>
                        <a:pt x="1497083" y="687863"/>
                      </a:cubicBezTo>
                      <a:cubicBezTo>
                        <a:pt x="1490872" y="688711"/>
                        <a:pt x="1486405" y="684453"/>
                        <a:pt x="1480576" y="683434"/>
                      </a:cubicBezTo>
                      <a:cubicBezTo>
                        <a:pt x="1476194" y="682672"/>
                        <a:pt x="1471889" y="683929"/>
                        <a:pt x="1467565" y="682263"/>
                      </a:cubicBezTo>
                      <a:cubicBezTo>
                        <a:pt x="1462411" y="680272"/>
                        <a:pt x="1458173" y="674852"/>
                        <a:pt x="1451982" y="675395"/>
                      </a:cubicBezTo>
                      <a:cubicBezTo>
                        <a:pt x="1448162" y="675729"/>
                        <a:pt x="1443028" y="679253"/>
                        <a:pt x="1439695" y="680529"/>
                      </a:cubicBezTo>
                      <a:cubicBezTo>
                        <a:pt x="1447629" y="683777"/>
                        <a:pt x="1451524" y="675224"/>
                        <a:pt x="1459725" y="679996"/>
                      </a:cubicBezTo>
                      <a:cubicBezTo>
                        <a:pt x="1462307" y="681501"/>
                        <a:pt x="1463621" y="683901"/>
                        <a:pt x="1466422" y="685301"/>
                      </a:cubicBezTo>
                      <a:cubicBezTo>
                        <a:pt x="1469507" y="686854"/>
                        <a:pt x="1472985" y="687368"/>
                        <a:pt x="1476156" y="688806"/>
                      </a:cubicBezTo>
                      <a:cubicBezTo>
                        <a:pt x="1488872" y="694559"/>
                        <a:pt x="1502388" y="701475"/>
                        <a:pt x="1511122" y="712647"/>
                      </a:cubicBezTo>
                      <a:cubicBezTo>
                        <a:pt x="1507884" y="714933"/>
                        <a:pt x="1503826" y="714152"/>
                        <a:pt x="1500445" y="716248"/>
                      </a:cubicBezTo>
                      <a:cubicBezTo>
                        <a:pt x="1497149" y="718277"/>
                        <a:pt x="1493558" y="723773"/>
                        <a:pt x="1491282" y="726040"/>
                      </a:cubicBezTo>
                      <a:cubicBezTo>
                        <a:pt x="1490167" y="727144"/>
                        <a:pt x="1491977" y="728802"/>
                        <a:pt x="1490120" y="730059"/>
                      </a:cubicBezTo>
                      <a:cubicBezTo>
                        <a:pt x="1488500" y="731164"/>
                        <a:pt x="1485462" y="729145"/>
                        <a:pt x="1483510" y="729221"/>
                      </a:cubicBezTo>
                      <a:cubicBezTo>
                        <a:pt x="1478909" y="729383"/>
                        <a:pt x="1475927" y="729811"/>
                        <a:pt x="1473232" y="733936"/>
                      </a:cubicBezTo>
                      <a:cubicBezTo>
                        <a:pt x="1475099" y="733907"/>
                        <a:pt x="1478642" y="732212"/>
                        <a:pt x="1480166" y="732440"/>
                      </a:cubicBezTo>
                      <a:cubicBezTo>
                        <a:pt x="1482881" y="732859"/>
                        <a:pt x="1484681" y="736184"/>
                        <a:pt x="1487548" y="737060"/>
                      </a:cubicBezTo>
                      <a:cubicBezTo>
                        <a:pt x="1494597" y="739203"/>
                        <a:pt x="1497416" y="732078"/>
                        <a:pt x="1503388" y="731955"/>
                      </a:cubicBezTo>
                      <a:cubicBezTo>
                        <a:pt x="1509293" y="731840"/>
                        <a:pt x="1514666" y="738651"/>
                        <a:pt x="1519400" y="740975"/>
                      </a:cubicBezTo>
                      <a:cubicBezTo>
                        <a:pt x="1524029" y="743251"/>
                        <a:pt x="1529706" y="744813"/>
                        <a:pt x="1534906" y="745613"/>
                      </a:cubicBezTo>
                      <a:cubicBezTo>
                        <a:pt x="1530115" y="748357"/>
                        <a:pt x="1528172" y="754072"/>
                        <a:pt x="1524324" y="757767"/>
                      </a:cubicBezTo>
                      <a:cubicBezTo>
                        <a:pt x="1529392" y="758063"/>
                        <a:pt x="1530811" y="752386"/>
                        <a:pt x="1535135" y="753938"/>
                      </a:cubicBezTo>
                      <a:cubicBezTo>
                        <a:pt x="1538878" y="755291"/>
                        <a:pt x="1541003" y="765711"/>
                        <a:pt x="1542183" y="768778"/>
                      </a:cubicBezTo>
                      <a:cubicBezTo>
                        <a:pt x="1539840" y="768712"/>
                        <a:pt x="1530468" y="761396"/>
                        <a:pt x="1528534" y="766949"/>
                      </a:cubicBezTo>
                      <a:cubicBezTo>
                        <a:pt x="1528229" y="767835"/>
                        <a:pt x="1544031" y="777770"/>
                        <a:pt x="1534326" y="775179"/>
                      </a:cubicBezTo>
                      <a:cubicBezTo>
                        <a:pt x="1543184" y="777417"/>
                        <a:pt x="1536612" y="780265"/>
                        <a:pt x="1537154" y="783190"/>
                      </a:cubicBezTo>
                      <a:cubicBezTo>
                        <a:pt x="1537926" y="787381"/>
                        <a:pt x="1544393" y="791286"/>
                        <a:pt x="1546632" y="795324"/>
                      </a:cubicBezTo>
                      <a:cubicBezTo>
                        <a:pt x="1542059" y="792610"/>
                        <a:pt x="1542507" y="797725"/>
                        <a:pt x="1538897" y="797410"/>
                      </a:cubicBezTo>
                      <a:cubicBezTo>
                        <a:pt x="1535811" y="797134"/>
                        <a:pt x="1535411" y="792562"/>
                        <a:pt x="1532125" y="794524"/>
                      </a:cubicBezTo>
                      <a:cubicBezTo>
                        <a:pt x="1528239" y="796848"/>
                        <a:pt x="1535459" y="807021"/>
                        <a:pt x="1525515" y="804221"/>
                      </a:cubicBezTo>
                      <a:cubicBezTo>
                        <a:pt x="1531458" y="806412"/>
                        <a:pt x="1528267" y="811155"/>
                        <a:pt x="1528782" y="815889"/>
                      </a:cubicBezTo>
                      <a:cubicBezTo>
                        <a:pt x="1528325" y="816508"/>
                        <a:pt x="1527858" y="817127"/>
                        <a:pt x="1527391" y="817737"/>
                      </a:cubicBezTo>
                      <a:cubicBezTo>
                        <a:pt x="1528067" y="818508"/>
                        <a:pt x="1528753" y="819280"/>
                        <a:pt x="1529429" y="820042"/>
                      </a:cubicBezTo>
                      <a:cubicBezTo>
                        <a:pt x="1529544" y="820928"/>
                        <a:pt x="1530572" y="821823"/>
                        <a:pt x="1530563" y="823042"/>
                      </a:cubicBezTo>
                      <a:cubicBezTo>
                        <a:pt x="1530544" y="826042"/>
                        <a:pt x="1528334" y="829091"/>
                        <a:pt x="1527258" y="831596"/>
                      </a:cubicBezTo>
                      <a:cubicBezTo>
                        <a:pt x="1525867" y="834872"/>
                        <a:pt x="1524677" y="837177"/>
                        <a:pt x="1524724" y="841283"/>
                      </a:cubicBezTo>
                      <a:cubicBezTo>
                        <a:pt x="1524743" y="843759"/>
                        <a:pt x="1527182" y="845969"/>
                        <a:pt x="1525067" y="847941"/>
                      </a:cubicBezTo>
                      <a:cubicBezTo>
                        <a:pt x="1522000" y="850788"/>
                        <a:pt x="1516476" y="844340"/>
                        <a:pt x="1515761" y="840873"/>
                      </a:cubicBezTo>
                      <a:cubicBezTo>
                        <a:pt x="1515361" y="844035"/>
                        <a:pt x="1512961" y="845569"/>
                        <a:pt x="1509636" y="842807"/>
                      </a:cubicBezTo>
                      <a:cubicBezTo>
                        <a:pt x="1513361" y="848693"/>
                        <a:pt x="1520171" y="851436"/>
                        <a:pt x="1525010" y="856999"/>
                      </a:cubicBezTo>
                      <a:cubicBezTo>
                        <a:pt x="1521171" y="858713"/>
                        <a:pt x="1520390" y="863647"/>
                        <a:pt x="1517095" y="865238"/>
                      </a:cubicBezTo>
                      <a:cubicBezTo>
                        <a:pt x="1513513" y="866971"/>
                        <a:pt x="1509703" y="864266"/>
                        <a:pt x="1505931" y="863695"/>
                      </a:cubicBezTo>
                      <a:cubicBezTo>
                        <a:pt x="1508037" y="865362"/>
                        <a:pt x="1510751" y="868495"/>
                        <a:pt x="1513580" y="868943"/>
                      </a:cubicBezTo>
                      <a:cubicBezTo>
                        <a:pt x="1516619" y="869419"/>
                        <a:pt x="1518171" y="866190"/>
                        <a:pt x="1521028" y="867371"/>
                      </a:cubicBezTo>
                      <a:cubicBezTo>
                        <a:pt x="1525391" y="869172"/>
                        <a:pt x="1524705" y="877887"/>
                        <a:pt x="1526981" y="881992"/>
                      </a:cubicBezTo>
                      <a:cubicBezTo>
                        <a:pt x="1531458" y="890022"/>
                        <a:pt x="1530277" y="885764"/>
                        <a:pt x="1522752" y="884764"/>
                      </a:cubicBezTo>
                      <a:cubicBezTo>
                        <a:pt x="1511798" y="883307"/>
                        <a:pt x="1519581" y="887536"/>
                        <a:pt x="1522943" y="891717"/>
                      </a:cubicBezTo>
                      <a:cubicBezTo>
                        <a:pt x="1518314" y="893908"/>
                        <a:pt x="1514580" y="889517"/>
                        <a:pt x="1513656" y="895537"/>
                      </a:cubicBezTo>
                      <a:cubicBezTo>
                        <a:pt x="1513247" y="898204"/>
                        <a:pt x="1517056" y="898175"/>
                        <a:pt x="1515256" y="901414"/>
                      </a:cubicBezTo>
                      <a:cubicBezTo>
                        <a:pt x="1514790" y="902252"/>
                        <a:pt x="1510008" y="903824"/>
                        <a:pt x="1508960" y="904205"/>
                      </a:cubicBezTo>
                      <a:cubicBezTo>
                        <a:pt x="1515170" y="906910"/>
                        <a:pt x="1512484" y="910624"/>
                        <a:pt x="1507770" y="911929"/>
                      </a:cubicBezTo>
                      <a:cubicBezTo>
                        <a:pt x="1504245" y="912901"/>
                        <a:pt x="1491301" y="907681"/>
                        <a:pt x="1494787" y="915349"/>
                      </a:cubicBezTo>
                      <a:cubicBezTo>
                        <a:pt x="1493273" y="915177"/>
                        <a:pt x="1491492" y="915854"/>
                        <a:pt x="1489977" y="915587"/>
                      </a:cubicBezTo>
                      <a:cubicBezTo>
                        <a:pt x="1492120" y="919892"/>
                        <a:pt x="1498731" y="916892"/>
                        <a:pt x="1499454" y="922769"/>
                      </a:cubicBezTo>
                      <a:cubicBezTo>
                        <a:pt x="1500331" y="929855"/>
                        <a:pt x="1490234" y="928617"/>
                        <a:pt x="1491968" y="935666"/>
                      </a:cubicBezTo>
                      <a:cubicBezTo>
                        <a:pt x="1483929" y="931875"/>
                        <a:pt x="1489748" y="940628"/>
                        <a:pt x="1487329" y="943476"/>
                      </a:cubicBezTo>
                      <a:cubicBezTo>
                        <a:pt x="1484576" y="937466"/>
                        <a:pt x="1484338" y="941924"/>
                        <a:pt x="1481852" y="942019"/>
                      </a:cubicBezTo>
                      <a:cubicBezTo>
                        <a:pt x="1481404" y="942038"/>
                        <a:pt x="1478899" y="943333"/>
                        <a:pt x="1478337" y="943438"/>
                      </a:cubicBezTo>
                      <a:cubicBezTo>
                        <a:pt x="1477547" y="943591"/>
                        <a:pt x="1474041" y="941686"/>
                        <a:pt x="1472785" y="941647"/>
                      </a:cubicBezTo>
                      <a:cubicBezTo>
                        <a:pt x="1474671" y="946134"/>
                        <a:pt x="1473394" y="950963"/>
                        <a:pt x="1468051" y="950868"/>
                      </a:cubicBezTo>
                      <a:cubicBezTo>
                        <a:pt x="1474604" y="953582"/>
                        <a:pt x="1467936" y="953992"/>
                        <a:pt x="1467498" y="956354"/>
                      </a:cubicBezTo>
                      <a:cubicBezTo>
                        <a:pt x="1467184" y="958069"/>
                        <a:pt x="1469965" y="960697"/>
                        <a:pt x="1468927" y="962279"/>
                      </a:cubicBezTo>
                      <a:cubicBezTo>
                        <a:pt x="1467260" y="964822"/>
                        <a:pt x="1466660" y="962612"/>
                        <a:pt x="1464221" y="963698"/>
                      </a:cubicBezTo>
                      <a:cubicBezTo>
                        <a:pt x="1463860" y="963869"/>
                        <a:pt x="1461211" y="963498"/>
                        <a:pt x="1460821" y="963593"/>
                      </a:cubicBezTo>
                      <a:cubicBezTo>
                        <a:pt x="1461183" y="963507"/>
                        <a:pt x="1458659" y="965507"/>
                        <a:pt x="1458249" y="965679"/>
                      </a:cubicBezTo>
                      <a:cubicBezTo>
                        <a:pt x="1456687" y="966365"/>
                        <a:pt x="1452953" y="968155"/>
                        <a:pt x="1451458" y="968260"/>
                      </a:cubicBezTo>
                      <a:cubicBezTo>
                        <a:pt x="1449429" y="968394"/>
                        <a:pt x="1446333" y="966098"/>
                        <a:pt x="1444410" y="966632"/>
                      </a:cubicBezTo>
                      <a:cubicBezTo>
                        <a:pt x="1439599" y="967955"/>
                        <a:pt x="1443590" y="970756"/>
                        <a:pt x="1436504" y="969975"/>
                      </a:cubicBezTo>
                      <a:cubicBezTo>
                        <a:pt x="1430141" y="969260"/>
                        <a:pt x="1431579" y="968432"/>
                        <a:pt x="1425836" y="971565"/>
                      </a:cubicBezTo>
                      <a:cubicBezTo>
                        <a:pt x="1425102" y="971966"/>
                        <a:pt x="1424274" y="974013"/>
                        <a:pt x="1423492" y="974090"/>
                      </a:cubicBezTo>
                      <a:cubicBezTo>
                        <a:pt x="1420063" y="974394"/>
                        <a:pt x="1419349" y="970241"/>
                        <a:pt x="1417691" y="970251"/>
                      </a:cubicBezTo>
                      <a:cubicBezTo>
                        <a:pt x="1414263" y="970280"/>
                        <a:pt x="1413130" y="973556"/>
                        <a:pt x="1415492" y="976861"/>
                      </a:cubicBezTo>
                      <a:cubicBezTo>
                        <a:pt x="1410929" y="976214"/>
                        <a:pt x="1408729" y="975290"/>
                        <a:pt x="1404642" y="975899"/>
                      </a:cubicBezTo>
                      <a:cubicBezTo>
                        <a:pt x="1402137" y="976271"/>
                        <a:pt x="1399508" y="977347"/>
                        <a:pt x="1397280" y="976947"/>
                      </a:cubicBezTo>
                      <a:cubicBezTo>
                        <a:pt x="1391384" y="975890"/>
                        <a:pt x="1379011" y="964498"/>
                        <a:pt x="1379954" y="958002"/>
                      </a:cubicBezTo>
                      <a:cubicBezTo>
                        <a:pt x="1372677" y="958745"/>
                        <a:pt x="1379906" y="963879"/>
                        <a:pt x="1373820" y="964793"/>
                      </a:cubicBezTo>
                      <a:cubicBezTo>
                        <a:pt x="1378439" y="970718"/>
                        <a:pt x="1390288" y="977452"/>
                        <a:pt x="1388650" y="986425"/>
                      </a:cubicBezTo>
                      <a:cubicBezTo>
                        <a:pt x="1384926" y="985901"/>
                        <a:pt x="1378973" y="995930"/>
                        <a:pt x="1374896" y="986967"/>
                      </a:cubicBezTo>
                      <a:cubicBezTo>
                        <a:pt x="1372610" y="990206"/>
                        <a:pt x="1376267" y="994044"/>
                        <a:pt x="1374305" y="996445"/>
                      </a:cubicBezTo>
                      <a:cubicBezTo>
                        <a:pt x="1372724" y="998369"/>
                        <a:pt x="1371695" y="995168"/>
                        <a:pt x="1370409" y="995787"/>
                      </a:cubicBezTo>
                      <a:cubicBezTo>
                        <a:pt x="1370305" y="995835"/>
                        <a:pt x="1366771" y="997521"/>
                        <a:pt x="1366324" y="997616"/>
                      </a:cubicBezTo>
                      <a:cubicBezTo>
                        <a:pt x="1365475" y="997816"/>
                        <a:pt x="1365828" y="1000017"/>
                        <a:pt x="1364895" y="1000217"/>
                      </a:cubicBezTo>
                      <a:cubicBezTo>
                        <a:pt x="1363142" y="1000588"/>
                        <a:pt x="1360875" y="998797"/>
                        <a:pt x="1359189" y="997778"/>
                      </a:cubicBezTo>
                      <a:cubicBezTo>
                        <a:pt x="1357217" y="996588"/>
                        <a:pt x="1358542" y="994921"/>
                        <a:pt x="1355446" y="994216"/>
                      </a:cubicBezTo>
                      <a:cubicBezTo>
                        <a:pt x="1364104" y="1005913"/>
                        <a:pt x="1349397" y="998388"/>
                        <a:pt x="1344311" y="998254"/>
                      </a:cubicBezTo>
                      <a:cubicBezTo>
                        <a:pt x="1345169" y="1001493"/>
                        <a:pt x="1339053" y="1005798"/>
                        <a:pt x="1336281" y="1007522"/>
                      </a:cubicBezTo>
                      <a:cubicBezTo>
                        <a:pt x="1332491" y="1009894"/>
                        <a:pt x="1324204" y="1010494"/>
                        <a:pt x="1319965" y="1008903"/>
                      </a:cubicBezTo>
                      <a:cubicBezTo>
                        <a:pt x="1320822" y="1013018"/>
                        <a:pt x="1318327" y="1010847"/>
                        <a:pt x="1316241" y="1012628"/>
                      </a:cubicBezTo>
                      <a:cubicBezTo>
                        <a:pt x="1315984" y="1012847"/>
                        <a:pt x="1311440" y="1016523"/>
                        <a:pt x="1310974" y="1016743"/>
                      </a:cubicBezTo>
                      <a:cubicBezTo>
                        <a:pt x="1307497" y="1018314"/>
                        <a:pt x="1305763" y="1018905"/>
                        <a:pt x="1303449" y="1014371"/>
                      </a:cubicBezTo>
                      <a:cubicBezTo>
                        <a:pt x="1306335" y="1021019"/>
                        <a:pt x="1296391" y="1024143"/>
                        <a:pt x="1301658" y="1029477"/>
                      </a:cubicBezTo>
                      <a:cubicBezTo>
                        <a:pt x="1303182" y="1031020"/>
                        <a:pt x="1306763" y="1029582"/>
                        <a:pt x="1308735" y="1031611"/>
                      </a:cubicBezTo>
                      <a:cubicBezTo>
                        <a:pt x="1309554" y="1032459"/>
                        <a:pt x="1306859" y="1034107"/>
                        <a:pt x="1308002" y="1035535"/>
                      </a:cubicBezTo>
                      <a:cubicBezTo>
                        <a:pt x="1311050" y="1039336"/>
                        <a:pt x="1320051" y="1040384"/>
                        <a:pt x="1313955" y="1046270"/>
                      </a:cubicBezTo>
                      <a:cubicBezTo>
                        <a:pt x="1310117" y="1049985"/>
                        <a:pt x="1299086" y="1048842"/>
                        <a:pt x="1297429" y="1043498"/>
                      </a:cubicBezTo>
                      <a:cubicBezTo>
                        <a:pt x="1298353" y="1043575"/>
                        <a:pt x="1299629" y="1043660"/>
                        <a:pt x="1300525" y="1043813"/>
                      </a:cubicBezTo>
                      <a:cubicBezTo>
                        <a:pt x="1296648" y="1037974"/>
                        <a:pt x="1288923" y="1034126"/>
                        <a:pt x="1285256" y="1027630"/>
                      </a:cubicBezTo>
                      <a:cubicBezTo>
                        <a:pt x="1283761" y="1024982"/>
                        <a:pt x="1283351" y="1017019"/>
                        <a:pt x="1284256" y="1014390"/>
                      </a:cubicBezTo>
                      <a:cubicBezTo>
                        <a:pt x="1285190" y="1011685"/>
                        <a:pt x="1290104" y="1015285"/>
                        <a:pt x="1287266" y="1009875"/>
                      </a:cubicBezTo>
                      <a:cubicBezTo>
                        <a:pt x="1287161" y="1009675"/>
                        <a:pt x="1282189" y="1008580"/>
                        <a:pt x="1281170" y="1007379"/>
                      </a:cubicBezTo>
                      <a:cubicBezTo>
                        <a:pt x="1278931" y="1010266"/>
                        <a:pt x="1275950" y="1003846"/>
                        <a:pt x="1272464" y="1003169"/>
                      </a:cubicBezTo>
                      <a:cubicBezTo>
                        <a:pt x="1277188" y="1008551"/>
                        <a:pt x="1271492" y="1011542"/>
                        <a:pt x="1266063" y="1011056"/>
                      </a:cubicBezTo>
                      <a:cubicBezTo>
                        <a:pt x="1259853" y="1010494"/>
                        <a:pt x="1264311" y="1008970"/>
                        <a:pt x="1259557" y="1005855"/>
                      </a:cubicBezTo>
                      <a:cubicBezTo>
                        <a:pt x="1255976" y="1003503"/>
                        <a:pt x="1251157" y="1005465"/>
                        <a:pt x="1247137" y="1002798"/>
                      </a:cubicBezTo>
                      <a:cubicBezTo>
                        <a:pt x="1243679" y="1000493"/>
                        <a:pt x="1242936" y="995549"/>
                        <a:pt x="1238469" y="996521"/>
                      </a:cubicBezTo>
                      <a:cubicBezTo>
                        <a:pt x="1240108" y="1002274"/>
                        <a:pt x="1245508" y="1008732"/>
                        <a:pt x="1236107" y="1003169"/>
                      </a:cubicBezTo>
                      <a:cubicBezTo>
                        <a:pt x="1236802" y="1007036"/>
                        <a:pt x="1233221" y="1008322"/>
                        <a:pt x="1230078" y="1008456"/>
                      </a:cubicBezTo>
                      <a:cubicBezTo>
                        <a:pt x="1225496" y="1008656"/>
                        <a:pt x="1223639" y="1004970"/>
                        <a:pt x="1219248" y="1004398"/>
                      </a:cubicBezTo>
                      <a:cubicBezTo>
                        <a:pt x="1215752" y="1003950"/>
                        <a:pt x="1212047" y="1006189"/>
                        <a:pt x="1208484" y="1005170"/>
                      </a:cubicBezTo>
                      <a:cubicBezTo>
                        <a:pt x="1205542" y="1004331"/>
                        <a:pt x="1200102" y="1002112"/>
                        <a:pt x="1196607" y="999969"/>
                      </a:cubicBezTo>
                      <a:cubicBezTo>
                        <a:pt x="1194397" y="998617"/>
                        <a:pt x="1193130" y="997054"/>
                        <a:pt x="1191073" y="995969"/>
                      </a:cubicBezTo>
                      <a:cubicBezTo>
                        <a:pt x="1189292" y="995026"/>
                        <a:pt x="1184063" y="994616"/>
                        <a:pt x="1183234" y="993987"/>
                      </a:cubicBezTo>
                      <a:cubicBezTo>
                        <a:pt x="1181510" y="992663"/>
                        <a:pt x="1181415" y="989920"/>
                        <a:pt x="1179976" y="987596"/>
                      </a:cubicBezTo>
                      <a:cubicBezTo>
                        <a:pt x="1178595" y="985348"/>
                        <a:pt x="1175623" y="983872"/>
                        <a:pt x="1174623" y="981948"/>
                      </a:cubicBezTo>
                      <a:cubicBezTo>
                        <a:pt x="1170984" y="975023"/>
                        <a:pt x="1182738" y="969051"/>
                        <a:pt x="1171223" y="965927"/>
                      </a:cubicBezTo>
                      <a:cubicBezTo>
                        <a:pt x="1167384" y="964888"/>
                        <a:pt x="1164546" y="967193"/>
                        <a:pt x="1161059" y="966517"/>
                      </a:cubicBezTo>
                      <a:cubicBezTo>
                        <a:pt x="1157993" y="965927"/>
                        <a:pt x="1156916" y="963107"/>
                        <a:pt x="1153354" y="962783"/>
                      </a:cubicBezTo>
                      <a:cubicBezTo>
                        <a:pt x="1150839" y="962555"/>
                        <a:pt x="1149944" y="964784"/>
                        <a:pt x="1147115" y="964403"/>
                      </a:cubicBezTo>
                      <a:cubicBezTo>
                        <a:pt x="1144905" y="964107"/>
                        <a:pt x="1138047" y="960564"/>
                        <a:pt x="1136199" y="959383"/>
                      </a:cubicBezTo>
                      <a:cubicBezTo>
                        <a:pt x="1133456" y="957640"/>
                        <a:pt x="1131875" y="953630"/>
                        <a:pt x="1128275" y="952611"/>
                      </a:cubicBezTo>
                      <a:cubicBezTo>
                        <a:pt x="1123607" y="951287"/>
                        <a:pt x="1125008" y="952353"/>
                        <a:pt x="1120778" y="954592"/>
                      </a:cubicBezTo>
                      <a:cubicBezTo>
                        <a:pt x="1118750" y="955668"/>
                        <a:pt x="1115340" y="956706"/>
                        <a:pt x="1114359" y="958916"/>
                      </a:cubicBezTo>
                      <a:cubicBezTo>
                        <a:pt x="1112587" y="962936"/>
                        <a:pt x="1116283" y="964088"/>
                        <a:pt x="1112434" y="967689"/>
                      </a:cubicBezTo>
                      <a:cubicBezTo>
                        <a:pt x="1112806" y="967336"/>
                        <a:pt x="1103805" y="971394"/>
                        <a:pt x="1105081" y="971308"/>
                      </a:cubicBezTo>
                      <a:cubicBezTo>
                        <a:pt x="1101090" y="971546"/>
                        <a:pt x="1099757" y="966374"/>
                        <a:pt x="1096033" y="969070"/>
                      </a:cubicBezTo>
                      <a:cubicBezTo>
                        <a:pt x="1093489" y="970899"/>
                        <a:pt x="1096280" y="975366"/>
                        <a:pt x="1093918" y="976528"/>
                      </a:cubicBezTo>
                      <a:cubicBezTo>
                        <a:pt x="1090765" y="978071"/>
                        <a:pt x="1085365" y="968794"/>
                        <a:pt x="1082317" y="969479"/>
                      </a:cubicBezTo>
                      <a:cubicBezTo>
                        <a:pt x="1079831" y="970051"/>
                        <a:pt x="1081411" y="974509"/>
                        <a:pt x="1079897" y="974823"/>
                      </a:cubicBezTo>
                      <a:cubicBezTo>
                        <a:pt x="1077202" y="975385"/>
                        <a:pt x="1075334" y="968832"/>
                        <a:pt x="1072649" y="969260"/>
                      </a:cubicBezTo>
                      <a:cubicBezTo>
                        <a:pt x="1066381" y="970251"/>
                        <a:pt x="1072239" y="980424"/>
                        <a:pt x="1062914" y="977985"/>
                      </a:cubicBezTo>
                      <a:cubicBezTo>
                        <a:pt x="1056827" y="976395"/>
                        <a:pt x="1050884" y="966670"/>
                        <a:pt x="1045312" y="972213"/>
                      </a:cubicBezTo>
                      <a:cubicBezTo>
                        <a:pt x="1043340" y="974175"/>
                        <a:pt x="1044360" y="979395"/>
                        <a:pt x="1041121" y="980967"/>
                      </a:cubicBezTo>
                      <a:cubicBezTo>
                        <a:pt x="1041692" y="980690"/>
                        <a:pt x="1032120" y="980948"/>
                        <a:pt x="1032443" y="981024"/>
                      </a:cubicBezTo>
                      <a:cubicBezTo>
                        <a:pt x="1029853" y="980433"/>
                        <a:pt x="1028815" y="976871"/>
                        <a:pt x="1026043" y="978776"/>
                      </a:cubicBezTo>
                      <a:cubicBezTo>
                        <a:pt x="1026595" y="978395"/>
                        <a:pt x="1023785" y="986396"/>
                        <a:pt x="1023700" y="985586"/>
                      </a:cubicBezTo>
                      <a:cubicBezTo>
                        <a:pt x="1024309" y="991454"/>
                        <a:pt x="1032577" y="995902"/>
                        <a:pt x="1035253" y="1000474"/>
                      </a:cubicBezTo>
                      <a:cubicBezTo>
                        <a:pt x="1036311" y="1002284"/>
                        <a:pt x="1042302" y="1018895"/>
                        <a:pt x="1042407" y="1018657"/>
                      </a:cubicBezTo>
                      <a:cubicBezTo>
                        <a:pt x="1041073" y="1021743"/>
                        <a:pt x="1039035" y="1018981"/>
                        <a:pt x="1036958" y="1018905"/>
                      </a:cubicBezTo>
                      <a:cubicBezTo>
                        <a:pt x="1035454" y="1018848"/>
                        <a:pt x="1027862" y="1019476"/>
                        <a:pt x="1027014" y="1019143"/>
                      </a:cubicBezTo>
                      <a:cubicBezTo>
                        <a:pt x="1024043" y="1018028"/>
                        <a:pt x="1020489" y="1009551"/>
                        <a:pt x="1019194" y="1007237"/>
                      </a:cubicBezTo>
                      <a:cubicBezTo>
                        <a:pt x="1014794" y="999417"/>
                        <a:pt x="1014356" y="1001255"/>
                        <a:pt x="1007269" y="1006827"/>
                      </a:cubicBezTo>
                      <a:cubicBezTo>
                        <a:pt x="1002649" y="1010446"/>
                        <a:pt x="994220" y="1012018"/>
                        <a:pt x="988543" y="1008923"/>
                      </a:cubicBezTo>
                      <a:cubicBezTo>
                        <a:pt x="987514" y="1008351"/>
                        <a:pt x="985457" y="1004522"/>
                        <a:pt x="984533" y="1003522"/>
                      </a:cubicBezTo>
                      <a:cubicBezTo>
                        <a:pt x="983638" y="1002541"/>
                        <a:pt x="981799" y="1002455"/>
                        <a:pt x="980704" y="1001150"/>
                      </a:cubicBezTo>
                      <a:cubicBezTo>
                        <a:pt x="979399" y="999607"/>
                        <a:pt x="980084" y="997397"/>
                        <a:pt x="979065" y="995969"/>
                      </a:cubicBezTo>
                      <a:cubicBezTo>
                        <a:pt x="973931" y="988749"/>
                        <a:pt x="965559" y="992797"/>
                        <a:pt x="957834" y="990330"/>
                      </a:cubicBezTo>
                      <a:cubicBezTo>
                        <a:pt x="949814" y="987777"/>
                        <a:pt x="954377" y="981929"/>
                        <a:pt x="954014" y="975023"/>
                      </a:cubicBezTo>
                      <a:cubicBezTo>
                        <a:pt x="953614" y="967489"/>
                        <a:pt x="957006" y="961488"/>
                        <a:pt x="948547" y="959040"/>
                      </a:cubicBezTo>
                      <a:cubicBezTo>
                        <a:pt x="945356" y="958116"/>
                        <a:pt x="941708" y="958640"/>
                        <a:pt x="938432" y="957611"/>
                      </a:cubicBezTo>
                      <a:cubicBezTo>
                        <a:pt x="932279" y="955687"/>
                        <a:pt x="933717" y="954830"/>
                        <a:pt x="931316" y="949591"/>
                      </a:cubicBezTo>
                      <a:cubicBezTo>
                        <a:pt x="930440" y="947686"/>
                        <a:pt x="928211" y="943362"/>
                        <a:pt x="927249" y="941886"/>
                      </a:cubicBezTo>
                      <a:cubicBezTo>
                        <a:pt x="925221" y="938761"/>
                        <a:pt x="920229" y="936847"/>
                        <a:pt x="919715" y="933046"/>
                      </a:cubicBezTo>
                      <a:cubicBezTo>
                        <a:pt x="919344" y="930265"/>
                        <a:pt x="923830" y="928265"/>
                        <a:pt x="921354" y="926788"/>
                      </a:cubicBezTo>
                      <a:cubicBezTo>
                        <a:pt x="920582" y="926331"/>
                        <a:pt x="914267" y="927131"/>
                        <a:pt x="913095" y="927131"/>
                      </a:cubicBezTo>
                      <a:cubicBezTo>
                        <a:pt x="909542" y="927131"/>
                        <a:pt x="906123" y="926541"/>
                        <a:pt x="902561" y="927274"/>
                      </a:cubicBezTo>
                      <a:cubicBezTo>
                        <a:pt x="898217" y="928169"/>
                        <a:pt x="894465" y="932541"/>
                        <a:pt x="890750" y="933199"/>
                      </a:cubicBezTo>
                      <a:cubicBezTo>
                        <a:pt x="882396" y="934675"/>
                        <a:pt x="888988" y="924102"/>
                        <a:pt x="883634" y="918197"/>
                      </a:cubicBezTo>
                      <a:cubicBezTo>
                        <a:pt x="880920" y="915196"/>
                        <a:pt x="878244" y="916254"/>
                        <a:pt x="877310" y="911129"/>
                      </a:cubicBezTo>
                      <a:cubicBezTo>
                        <a:pt x="876367" y="906005"/>
                        <a:pt x="880186" y="906062"/>
                        <a:pt x="880529" y="902757"/>
                      </a:cubicBezTo>
                      <a:cubicBezTo>
                        <a:pt x="880834" y="899747"/>
                        <a:pt x="876586" y="897518"/>
                        <a:pt x="878491" y="893432"/>
                      </a:cubicBezTo>
                      <a:cubicBezTo>
                        <a:pt x="879977" y="890231"/>
                        <a:pt x="882368" y="892441"/>
                        <a:pt x="884616" y="888965"/>
                      </a:cubicBezTo>
                      <a:cubicBezTo>
                        <a:pt x="886368" y="886260"/>
                        <a:pt x="883730" y="882650"/>
                        <a:pt x="885473" y="880335"/>
                      </a:cubicBezTo>
                      <a:cubicBezTo>
                        <a:pt x="886016" y="879611"/>
                        <a:pt x="889054" y="881840"/>
                        <a:pt x="889902" y="880859"/>
                      </a:cubicBezTo>
                      <a:cubicBezTo>
                        <a:pt x="891530" y="878982"/>
                        <a:pt x="890797" y="876239"/>
                        <a:pt x="892026" y="874287"/>
                      </a:cubicBezTo>
                      <a:cubicBezTo>
                        <a:pt x="894141" y="870905"/>
                        <a:pt x="896855" y="875049"/>
                        <a:pt x="896045" y="870143"/>
                      </a:cubicBezTo>
                      <a:cubicBezTo>
                        <a:pt x="895808" y="868696"/>
                        <a:pt x="892836" y="867933"/>
                        <a:pt x="892369" y="866362"/>
                      </a:cubicBezTo>
                      <a:cubicBezTo>
                        <a:pt x="891730" y="864181"/>
                        <a:pt x="893236" y="863533"/>
                        <a:pt x="893226" y="863428"/>
                      </a:cubicBezTo>
                      <a:cubicBezTo>
                        <a:pt x="892236" y="856865"/>
                        <a:pt x="890711" y="848903"/>
                        <a:pt x="887825" y="842102"/>
                      </a:cubicBezTo>
                      <a:cubicBezTo>
                        <a:pt x="885063" y="835615"/>
                        <a:pt x="881701" y="827862"/>
                        <a:pt x="877986" y="821947"/>
                      </a:cubicBezTo>
                      <a:cubicBezTo>
                        <a:pt x="876348" y="819346"/>
                        <a:pt x="874319" y="815660"/>
                        <a:pt x="870509" y="815632"/>
                      </a:cubicBezTo>
                      <a:cubicBezTo>
                        <a:pt x="867270" y="815603"/>
                        <a:pt x="868147" y="819232"/>
                        <a:pt x="866499" y="818937"/>
                      </a:cubicBezTo>
                      <a:cubicBezTo>
                        <a:pt x="860089" y="817765"/>
                        <a:pt x="855822" y="804125"/>
                        <a:pt x="851773" y="799668"/>
                      </a:cubicBezTo>
                      <a:cubicBezTo>
                        <a:pt x="849706" y="797391"/>
                        <a:pt x="845897" y="794915"/>
                        <a:pt x="843229" y="793353"/>
                      </a:cubicBezTo>
                      <a:cubicBezTo>
                        <a:pt x="842086" y="792686"/>
                        <a:pt x="837762" y="790648"/>
                        <a:pt x="836495" y="790190"/>
                      </a:cubicBezTo>
                      <a:cubicBezTo>
                        <a:pt x="828809" y="787419"/>
                        <a:pt x="831332" y="790905"/>
                        <a:pt x="828237" y="797677"/>
                      </a:cubicBezTo>
                      <a:cubicBezTo>
                        <a:pt x="821379" y="794162"/>
                        <a:pt x="818426" y="794753"/>
                        <a:pt x="811482" y="793086"/>
                      </a:cubicBezTo>
                      <a:cubicBezTo>
                        <a:pt x="809282" y="792553"/>
                        <a:pt x="806882" y="790238"/>
                        <a:pt x="804672" y="790219"/>
                      </a:cubicBezTo>
                      <a:cubicBezTo>
                        <a:pt x="802253" y="790190"/>
                        <a:pt x="799186" y="793210"/>
                        <a:pt x="797633" y="792829"/>
                      </a:cubicBezTo>
                      <a:cubicBezTo>
                        <a:pt x="793366" y="791791"/>
                        <a:pt x="795385" y="787800"/>
                        <a:pt x="796404" y="784685"/>
                      </a:cubicBezTo>
                      <a:cubicBezTo>
                        <a:pt x="798224" y="779132"/>
                        <a:pt x="799376" y="782266"/>
                        <a:pt x="796328" y="777094"/>
                      </a:cubicBezTo>
                      <a:cubicBezTo>
                        <a:pt x="795395" y="775512"/>
                        <a:pt x="792556" y="771674"/>
                        <a:pt x="790813" y="771617"/>
                      </a:cubicBezTo>
                      <a:cubicBezTo>
                        <a:pt x="788384" y="771540"/>
                        <a:pt x="780279" y="780132"/>
                        <a:pt x="782364" y="769902"/>
                      </a:cubicBezTo>
                      <a:cubicBezTo>
                        <a:pt x="782736" y="768092"/>
                        <a:pt x="786965" y="768073"/>
                        <a:pt x="786479" y="765502"/>
                      </a:cubicBezTo>
                      <a:cubicBezTo>
                        <a:pt x="786842" y="767369"/>
                        <a:pt x="778898" y="761930"/>
                        <a:pt x="778916" y="761939"/>
                      </a:cubicBezTo>
                      <a:cubicBezTo>
                        <a:pt x="773545" y="759148"/>
                        <a:pt x="768401" y="759644"/>
                        <a:pt x="763667" y="765425"/>
                      </a:cubicBezTo>
                      <a:cubicBezTo>
                        <a:pt x="760733" y="768997"/>
                        <a:pt x="763410" y="771226"/>
                        <a:pt x="757266" y="771483"/>
                      </a:cubicBezTo>
                      <a:cubicBezTo>
                        <a:pt x="754389" y="771607"/>
                        <a:pt x="749255" y="769083"/>
                        <a:pt x="746370" y="768416"/>
                      </a:cubicBezTo>
                      <a:cubicBezTo>
                        <a:pt x="743074" y="767664"/>
                        <a:pt x="740979" y="765768"/>
                        <a:pt x="738588" y="765111"/>
                      </a:cubicBezTo>
                      <a:cubicBezTo>
                        <a:pt x="733673" y="763758"/>
                        <a:pt x="734892" y="763292"/>
                        <a:pt x="730111" y="766816"/>
                      </a:cubicBezTo>
                      <a:cubicBezTo>
                        <a:pt x="727320" y="768873"/>
                        <a:pt x="724300" y="774141"/>
                        <a:pt x="721138" y="774331"/>
                      </a:cubicBezTo>
                      <a:cubicBezTo>
                        <a:pt x="723719" y="782589"/>
                        <a:pt x="709908" y="782151"/>
                        <a:pt x="705945" y="783885"/>
                      </a:cubicBezTo>
                      <a:cubicBezTo>
                        <a:pt x="700497" y="786285"/>
                        <a:pt x="703745" y="785695"/>
                        <a:pt x="701460" y="790448"/>
                      </a:cubicBezTo>
                      <a:cubicBezTo>
                        <a:pt x="699602" y="794334"/>
                        <a:pt x="695192" y="796001"/>
                        <a:pt x="693315" y="799258"/>
                      </a:cubicBezTo>
                      <a:cubicBezTo>
                        <a:pt x="690858" y="803525"/>
                        <a:pt x="695897" y="805221"/>
                        <a:pt x="690001" y="808869"/>
                      </a:cubicBezTo>
                      <a:cubicBezTo>
                        <a:pt x="687305" y="810526"/>
                        <a:pt x="685410" y="809174"/>
                        <a:pt x="682790" y="809707"/>
                      </a:cubicBezTo>
                      <a:cubicBezTo>
                        <a:pt x="680514" y="810164"/>
                        <a:pt x="677932" y="812374"/>
                        <a:pt x="676009" y="812746"/>
                      </a:cubicBezTo>
                      <a:cubicBezTo>
                        <a:pt x="673951" y="813146"/>
                        <a:pt x="667979" y="813231"/>
                        <a:pt x="666255" y="812126"/>
                      </a:cubicBezTo>
                      <a:cubicBezTo>
                        <a:pt x="664045" y="810717"/>
                        <a:pt x="664331" y="807926"/>
                        <a:pt x="661988" y="806049"/>
                      </a:cubicBezTo>
                      <a:cubicBezTo>
                        <a:pt x="660864" y="805154"/>
                        <a:pt x="653672" y="802935"/>
                        <a:pt x="652386" y="802849"/>
                      </a:cubicBezTo>
                      <a:cubicBezTo>
                        <a:pt x="649320" y="802649"/>
                        <a:pt x="648967" y="804659"/>
                        <a:pt x="646472" y="804935"/>
                      </a:cubicBezTo>
                      <a:cubicBezTo>
                        <a:pt x="641899" y="805430"/>
                        <a:pt x="632146" y="803421"/>
                        <a:pt x="627145" y="802325"/>
                      </a:cubicBezTo>
                      <a:cubicBezTo>
                        <a:pt x="620849" y="800944"/>
                        <a:pt x="623202" y="797306"/>
                        <a:pt x="616172" y="795591"/>
                      </a:cubicBezTo>
                      <a:cubicBezTo>
                        <a:pt x="608809" y="793800"/>
                        <a:pt x="602475" y="797182"/>
                        <a:pt x="597732" y="802659"/>
                      </a:cubicBezTo>
                      <a:cubicBezTo>
                        <a:pt x="594456" y="806431"/>
                        <a:pt x="587454" y="821585"/>
                        <a:pt x="588712" y="826081"/>
                      </a:cubicBezTo>
                      <a:cubicBezTo>
                        <a:pt x="578196" y="820947"/>
                        <a:pt x="586026" y="805249"/>
                        <a:pt x="574186" y="802468"/>
                      </a:cubicBezTo>
                      <a:cubicBezTo>
                        <a:pt x="571052" y="801735"/>
                        <a:pt x="557642" y="805335"/>
                        <a:pt x="559241" y="808621"/>
                      </a:cubicBezTo>
                      <a:cubicBezTo>
                        <a:pt x="552974" y="807364"/>
                        <a:pt x="548069" y="809888"/>
                        <a:pt x="541963" y="810145"/>
                      </a:cubicBezTo>
                      <a:cubicBezTo>
                        <a:pt x="533867" y="810479"/>
                        <a:pt x="529638" y="808307"/>
                        <a:pt x="522494" y="805287"/>
                      </a:cubicBezTo>
                      <a:cubicBezTo>
                        <a:pt x="521265" y="804764"/>
                        <a:pt x="516198" y="801992"/>
                        <a:pt x="515179" y="801925"/>
                      </a:cubicBezTo>
                      <a:cubicBezTo>
                        <a:pt x="509150" y="801525"/>
                        <a:pt x="513807" y="803783"/>
                        <a:pt x="510921" y="805211"/>
                      </a:cubicBezTo>
                      <a:cubicBezTo>
                        <a:pt x="505978" y="807631"/>
                        <a:pt x="500768" y="799896"/>
                        <a:pt x="497996" y="800944"/>
                      </a:cubicBezTo>
                      <a:cubicBezTo>
                        <a:pt x="494738" y="802173"/>
                        <a:pt x="499606" y="805821"/>
                        <a:pt x="496929" y="806983"/>
                      </a:cubicBezTo>
                      <a:cubicBezTo>
                        <a:pt x="494338" y="808117"/>
                        <a:pt x="492595" y="804135"/>
                        <a:pt x="490985" y="802592"/>
                      </a:cubicBezTo>
                      <a:cubicBezTo>
                        <a:pt x="484089" y="795944"/>
                        <a:pt x="480593" y="796934"/>
                        <a:pt x="471650" y="795601"/>
                      </a:cubicBezTo>
                      <a:cubicBezTo>
                        <a:pt x="467973" y="795048"/>
                        <a:pt x="465868" y="795277"/>
                        <a:pt x="464011" y="791953"/>
                      </a:cubicBezTo>
                      <a:cubicBezTo>
                        <a:pt x="462429" y="789114"/>
                        <a:pt x="465382" y="787085"/>
                        <a:pt x="462172" y="785504"/>
                      </a:cubicBezTo>
                      <a:cubicBezTo>
                        <a:pt x="459915" y="784390"/>
                        <a:pt x="456686" y="787257"/>
                        <a:pt x="454238" y="786999"/>
                      </a:cubicBezTo>
                      <a:cubicBezTo>
                        <a:pt x="452190" y="786790"/>
                        <a:pt x="450599" y="785523"/>
                        <a:pt x="448828" y="784685"/>
                      </a:cubicBezTo>
                      <a:cubicBezTo>
                        <a:pt x="444085" y="782466"/>
                        <a:pt x="436693" y="779275"/>
                        <a:pt x="432626" y="775827"/>
                      </a:cubicBezTo>
                      <a:cubicBezTo>
                        <a:pt x="426044" y="770236"/>
                        <a:pt x="426901" y="764035"/>
                        <a:pt x="417109" y="765473"/>
                      </a:cubicBezTo>
                      <a:cubicBezTo>
                        <a:pt x="413099" y="766064"/>
                        <a:pt x="412604" y="767454"/>
                        <a:pt x="408861" y="766016"/>
                      </a:cubicBezTo>
                      <a:cubicBezTo>
                        <a:pt x="405622" y="764768"/>
                        <a:pt x="402841" y="760796"/>
                        <a:pt x="400184" y="758653"/>
                      </a:cubicBezTo>
                      <a:cubicBezTo>
                        <a:pt x="394383" y="753976"/>
                        <a:pt x="388582" y="753986"/>
                        <a:pt x="382124" y="750757"/>
                      </a:cubicBezTo>
                      <a:cubicBezTo>
                        <a:pt x="375381" y="747385"/>
                        <a:pt x="367094" y="743699"/>
                        <a:pt x="360845" y="739698"/>
                      </a:cubicBezTo>
                      <a:cubicBezTo>
                        <a:pt x="354902" y="735898"/>
                        <a:pt x="353911" y="731469"/>
                        <a:pt x="346396" y="730145"/>
                      </a:cubicBezTo>
                      <a:cubicBezTo>
                        <a:pt x="343415" y="729621"/>
                        <a:pt x="337557" y="728507"/>
                        <a:pt x="334776" y="730688"/>
                      </a:cubicBezTo>
                      <a:cubicBezTo>
                        <a:pt x="332442" y="732507"/>
                        <a:pt x="333633" y="737908"/>
                        <a:pt x="330956" y="739460"/>
                      </a:cubicBezTo>
                      <a:cubicBezTo>
                        <a:pt x="327336" y="741546"/>
                        <a:pt x="320212" y="733355"/>
                        <a:pt x="316154" y="731316"/>
                      </a:cubicBezTo>
                      <a:cubicBezTo>
                        <a:pt x="311306" y="728878"/>
                        <a:pt x="298599" y="726849"/>
                        <a:pt x="295275" y="723658"/>
                      </a:cubicBezTo>
                      <a:cubicBezTo>
                        <a:pt x="293313" y="721772"/>
                        <a:pt x="294161" y="718781"/>
                        <a:pt x="291551" y="716686"/>
                      </a:cubicBezTo>
                      <a:cubicBezTo>
                        <a:pt x="290313" y="715686"/>
                        <a:pt x="285322" y="714162"/>
                        <a:pt x="283150" y="713162"/>
                      </a:cubicBezTo>
                      <a:cubicBezTo>
                        <a:pt x="276577" y="710133"/>
                        <a:pt x="271196" y="711809"/>
                        <a:pt x="264872" y="707151"/>
                      </a:cubicBezTo>
                      <a:cubicBezTo>
                        <a:pt x="262585" y="705466"/>
                        <a:pt x="250565" y="691616"/>
                        <a:pt x="251098" y="699712"/>
                      </a:cubicBezTo>
                      <a:cubicBezTo>
                        <a:pt x="242964" y="700941"/>
                        <a:pt x="245450" y="698665"/>
                        <a:pt x="242374" y="692188"/>
                      </a:cubicBezTo>
                      <a:cubicBezTo>
                        <a:pt x="241145" y="689597"/>
                        <a:pt x="238992" y="685073"/>
                        <a:pt x="237363" y="682101"/>
                      </a:cubicBezTo>
                      <a:cubicBezTo>
                        <a:pt x="235172" y="678110"/>
                        <a:pt x="232677" y="676833"/>
                        <a:pt x="229029" y="673347"/>
                      </a:cubicBezTo>
                      <a:cubicBezTo>
                        <a:pt x="224838" y="669337"/>
                        <a:pt x="215189" y="655516"/>
                        <a:pt x="228610" y="659765"/>
                      </a:cubicBezTo>
                      <a:cubicBezTo>
                        <a:pt x="231963" y="660822"/>
                        <a:pt x="233210" y="667223"/>
                        <a:pt x="237725" y="667289"/>
                      </a:cubicBezTo>
                      <a:cubicBezTo>
                        <a:pt x="241840" y="667346"/>
                        <a:pt x="241783" y="664194"/>
                        <a:pt x="244773" y="662775"/>
                      </a:cubicBezTo>
                      <a:cubicBezTo>
                        <a:pt x="241802" y="655774"/>
                        <a:pt x="239002" y="647935"/>
                        <a:pt x="234582" y="642639"/>
                      </a:cubicBezTo>
                      <a:cubicBezTo>
                        <a:pt x="232182" y="639743"/>
                        <a:pt x="229543" y="637933"/>
                        <a:pt x="226219" y="635495"/>
                      </a:cubicBezTo>
                      <a:cubicBezTo>
                        <a:pt x="220685" y="631428"/>
                        <a:pt x="219713" y="627399"/>
                        <a:pt x="216656" y="621617"/>
                      </a:cubicBezTo>
                      <a:cubicBezTo>
                        <a:pt x="215665" y="619731"/>
                        <a:pt x="212255" y="616616"/>
                        <a:pt x="212350" y="614502"/>
                      </a:cubicBezTo>
                      <a:cubicBezTo>
                        <a:pt x="212446" y="612368"/>
                        <a:pt x="215113" y="611959"/>
                        <a:pt x="215275" y="610463"/>
                      </a:cubicBezTo>
                      <a:cubicBezTo>
                        <a:pt x="215818" y="605567"/>
                        <a:pt x="216818" y="606434"/>
                        <a:pt x="210960" y="602748"/>
                      </a:cubicBezTo>
                      <a:cubicBezTo>
                        <a:pt x="205740" y="599462"/>
                        <a:pt x="199940" y="599433"/>
                        <a:pt x="194767" y="596690"/>
                      </a:cubicBezTo>
                      <a:cubicBezTo>
                        <a:pt x="189862" y="594099"/>
                        <a:pt x="186671" y="587994"/>
                        <a:pt x="183166" y="583669"/>
                      </a:cubicBezTo>
                      <a:cubicBezTo>
                        <a:pt x="181652" y="581802"/>
                        <a:pt x="178889" y="579259"/>
                        <a:pt x="177718" y="577116"/>
                      </a:cubicBezTo>
                      <a:cubicBezTo>
                        <a:pt x="176936" y="575687"/>
                        <a:pt x="176099" y="570582"/>
                        <a:pt x="175422" y="569915"/>
                      </a:cubicBezTo>
                      <a:cubicBezTo>
                        <a:pt x="174098" y="568629"/>
                        <a:pt x="170222" y="568725"/>
                        <a:pt x="168202" y="568801"/>
                      </a:cubicBezTo>
                      <a:cubicBezTo>
                        <a:pt x="158382" y="569201"/>
                        <a:pt x="148695" y="567877"/>
                        <a:pt x="139037" y="564362"/>
                      </a:cubicBezTo>
                      <a:cubicBezTo>
                        <a:pt x="137360" y="563762"/>
                        <a:pt x="135598" y="563105"/>
                        <a:pt x="134017" y="562286"/>
                      </a:cubicBezTo>
                      <a:cubicBezTo>
                        <a:pt x="132245" y="561371"/>
                        <a:pt x="128645" y="557361"/>
                        <a:pt x="127749" y="557066"/>
                      </a:cubicBezTo>
                      <a:cubicBezTo>
                        <a:pt x="124902" y="556123"/>
                        <a:pt x="120729" y="559676"/>
                        <a:pt x="117024" y="558238"/>
                      </a:cubicBezTo>
                      <a:cubicBezTo>
                        <a:pt x="116863" y="558180"/>
                        <a:pt x="108166" y="552008"/>
                        <a:pt x="107738" y="551522"/>
                      </a:cubicBezTo>
                      <a:cubicBezTo>
                        <a:pt x="105556" y="549065"/>
                        <a:pt x="106632" y="544112"/>
                        <a:pt x="104727" y="540512"/>
                      </a:cubicBezTo>
                      <a:cubicBezTo>
                        <a:pt x="102156" y="535654"/>
                        <a:pt x="97231" y="530310"/>
                        <a:pt x="91536" y="529177"/>
                      </a:cubicBezTo>
                      <a:cubicBezTo>
                        <a:pt x="88888" y="528653"/>
                        <a:pt x="86583" y="530129"/>
                        <a:pt x="84458" y="528977"/>
                      </a:cubicBezTo>
                      <a:cubicBezTo>
                        <a:pt x="82515" y="527920"/>
                        <a:pt x="81534" y="524776"/>
                        <a:pt x="79315" y="523490"/>
                      </a:cubicBezTo>
                      <a:cubicBezTo>
                        <a:pt x="76267" y="521719"/>
                        <a:pt x="72838" y="522252"/>
                        <a:pt x="69752" y="521785"/>
                      </a:cubicBezTo>
                      <a:cubicBezTo>
                        <a:pt x="67666" y="521462"/>
                        <a:pt x="64847" y="520881"/>
                        <a:pt x="62636" y="520662"/>
                      </a:cubicBezTo>
                      <a:cubicBezTo>
                        <a:pt x="57284" y="520119"/>
                        <a:pt x="53997" y="519919"/>
                        <a:pt x="49702" y="516108"/>
                      </a:cubicBezTo>
                      <a:cubicBezTo>
                        <a:pt x="51778" y="514718"/>
                        <a:pt x="55493" y="512260"/>
                        <a:pt x="58084" y="511927"/>
                      </a:cubicBezTo>
                      <a:cubicBezTo>
                        <a:pt x="59646" y="511727"/>
                        <a:pt x="61141" y="514518"/>
                        <a:pt x="63465" y="513784"/>
                      </a:cubicBezTo>
                      <a:cubicBezTo>
                        <a:pt x="73847" y="510470"/>
                        <a:pt x="62065" y="505679"/>
                        <a:pt x="59893" y="503031"/>
                      </a:cubicBezTo>
                      <a:cubicBezTo>
                        <a:pt x="57008" y="499516"/>
                        <a:pt x="55674" y="493534"/>
                        <a:pt x="52674" y="489296"/>
                      </a:cubicBezTo>
                      <a:cubicBezTo>
                        <a:pt x="49206" y="484381"/>
                        <a:pt x="47720" y="477342"/>
                        <a:pt x="43825" y="473903"/>
                      </a:cubicBezTo>
                      <a:cubicBezTo>
                        <a:pt x="40957" y="471370"/>
                        <a:pt x="28651" y="467483"/>
                        <a:pt x="24851" y="468807"/>
                      </a:cubicBezTo>
                      <a:cubicBezTo>
                        <a:pt x="22327" y="469684"/>
                        <a:pt x="23679" y="472379"/>
                        <a:pt x="21136" y="472770"/>
                      </a:cubicBezTo>
                      <a:cubicBezTo>
                        <a:pt x="17850" y="473275"/>
                        <a:pt x="14793" y="469608"/>
                        <a:pt x="12992" y="467560"/>
                      </a:cubicBezTo>
                      <a:cubicBezTo>
                        <a:pt x="8554" y="462559"/>
                        <a:pt x="11840" y="461387"/>
                        <a:pt x="10296" y="458015"/>
                      </a:cubicBezTo>
                      <a:cubicBezTo>
                        <a:pt x="9220" y="455663"/>
                        <a:pt x="4306" y="453891"/>
                        <a:pt x="2743" y="451481"/>
                      </a:cubicBezTo>
                      <a:cubicBezTo>
                        <a:pt x="1353" y="449319"/>
                        <a:pt x="1181" y="446366"/>
                        <a:pt x="0" y="443938"/>
                      </a:cubicBezTo>
                      <a:cubicBezTo>
                        <a:pt x="11821" y="443871"/>
                        <a:pt x="419" y="434317"/>
                        <a:pt x="1591" y="428841"/>
                      </a:cubicBezTo>
                      <a:cubicBezTo>
                        <a:pt x="2981" y="422325"/>
                        <a:pt x="6487" y="425431"/>
                        <a:pt x="11706" y="422630"/>
                      </a:cubicBezTo>
                      <a:cubicBezTo>
                        <a:pt x="15469" y="420620"/>
                        <a:pt x="16783" y="415601"/>
                        <a:pt x="21850" y="416239"/>
                      </a:cubicBezTo>
                      <a:cubicBezTo>
                        <a:pt x="14859" y="410114"/>
                        <a:pt x="28918" y="411486"/>
                        <a:pt x="33252" y="409819"/>
                      </a:cubicBezTo>
                      <a:cubicBezTo>
                        <a:pt x="38510" y="407800"/>
                        <a:pt x="35566" y="406066"/>
                        <a:pt x="40100" y="408914"/>
                      </a:cubicBezTo>
                      <a:cubicBezTo>
                        <a:pt x="43682" y="411162"/>
                        <a:pt x="42929" y="416001"/>
                        <a:pt x="47444" y="416982"/>
                      </a:cubicBezTo>
                      <a:cubicBezTo>
                        <a:pt x="51035" y="417763"/>
                        <a:pt x="53397" y="415182"/>
                        <a:pt x="56617" y="414553"/>
                      </a:cubicBezTo>
                      <a:cubicBezTo>
                        <a:pt x="57712" y="414343"/>
                        <a:pt x="58550" y="413515"/>
                        <a:pt x="59522" y="413372"/>
                      </a:cubicBezTo>
                      <a:cubicBezTo>
                        <a:pt x="60827" y="413172"/>
                        <a:pt x="62236" y="415772"/>
                        <a:pt x="63255" y="415201"/>
                      </a:cubicBezTo>
                      <a:cubicBezTo>
                        <a:pt x="68723" y="412134"/>
                        <a:pt x="66027" y="404247"/>
                        <a:pt x="67504" y="399465"/>
                      </a:cubicBezTo>
                      <a:cubicBezTo>
                        <a:pt x="70476" y="389855"/>
                        <a:pt x="79867" y="396103"/>
                        <a:pt x="88106" y="395255"/>
                      </a:cubicBezTo>
                      <a:cubicBezTo>
                        <a:pt x="90802" y="394979"/>
                        <a:pt x="95488" y="394284"/>
                        <a:pt x="98013" y="393484"/>
                      </a:cubicBezTo>
                      <a:cubicBezTo>
                        <a:pt x="103347" y="391788"/>
                        <a:pt x="103384" y="391788"/>
                        <a:pt x="106052" y="386216"/>
                      </a:cubicBezTo>
                      <a:cubicBezTo>
                        <a:pt x="106309" y="385645"/>
                        <a:pt x="104775" y="384140"/>
                        <a:pt x="105213" y="383378"/>
                      </a:cubicBezTo>
                      <a:cubicBezTo>
                        <a:pt x="106004" y="381987"/>
                        <a:pt x="107899" y="381663"/>
                        <a:pt x="108947" y="380606"/>
                      </a:cubicBezTo>
                      <a:cubicBezTo>
                        <a:pt x="112205" y="377320"/>
                        <a:pt x="117091" y="374824"/>
                        <a:pt x="121168" y="372824"/>
                      </a:cubicBezTo>
                      <a:cubicBezTo>
                        <a:pt x="124111" y="371386"/>
                        <a:pt x="126197" y="370700"/>
                        <a:pt x="129217" y="369566"/>
                      </a:cubicBezTo>
                      <a:cubicBezTo>
                        <a:pt x="131121" y="368852"/>
                        <a:pt x="133560" y="368252"/>
                        <a:pt x="135255" y="367166"/>
                      </a:cubicBezTo>
                      <a:cubicBezTo>
                        <a:pt x="137036" y="366023"/>
                        <a:pt x="135998" y="364156"/>
                        <a:pt x="138075" y="363261"/>
                      </a:cubicBezTo>
                      <a:cubicBezTo>
                        <a:pt x="143780" y="360803"/>
                        <a:pt x="145409" y="365061"/>
                        <a:pt x="145923" y="360041"/>
                      </a:cubicBezTo>
                      <a:cubicBezTo>
                        <a:pt x="146114" y="358298"/>
                        <a:pt x="143475" y="354707"/>
                        <a:pt x="142513" y="352974"/>
                      </a:cubicBezTo>
                      <a:cubicBezTo>
                        <a:pt x="138970" y="346621"/>
                        <a:pt x="129712" y="337734"/>
                        <a:pt x="142903" y="336067"/>
                      </a:cubicBezTo>
                      <a:cubicBezTo>
                        <a:pt x="138484" y="331466"/>
                        <a:pt x="133188" y="333076"/>
                        <a:pt x="141313" y="328171"/>
                      </a:cubicBezTo>
                      <a:cubicBezTo>
                        <a:pt x="144047" y="326513"/>
                        <a:pt x="146142" y="330981"/>
                        <a:pt x="144637" y="326399"/>
                      </a:cubicBezTo>
                      <a:cubicBezTo>
                        <a:pt x="143961" y="324342"/>
                        <a:pt x="140284" y="322065"/>
                        <a:pt x="139075" y="320398"/>
                      </a:cubicBezTo>
                      <a:cubicBezTo>
                        <a:pt x="131579" y="310054"/>
                        <a:pt x="120977" y="300891"/>
                        <a:pt x="115081" y="289156"/>
                      </a:cubicBezTo>
                      <a:cubicBezTo>
                        <a:pt x="113662" y="286318"/>
                        <a:pt x="112852" y="284156"/>
                        <a:pt x="112090" y="281098"/>
                      </a:cubicBezTo>
                      <a:cubicBezTo>
                        <a:pt x="111719" y="279631"/>
                        <a:pt x="113367" y="278498"/>
                        <a:pt x="113072" y="278050"/>
                      </a:cubicBezTo>
                      <a:cubicBezTo>
                        <a:pt x="109566" y="272773"/>
                        <a:pt x="97584" y="278555"/>
                        <a:pt x="95031" y="273754"/>
                      </a:cubicBezTo>
                      <a:cubicBezTo>
                        <a:pt x="91802" y="267696"/>
                        <a:pt x="123968" y="262772"/>
                        <a:pt x="128607" y="261029"/>
                      </a:cubicBezTo>
                      <a:cubicBezTo>
                        <a:pt x="131588" y="259905"/>
                        <a:pt x="134655" y="258143"/>
                        <a:pt x="137493" y="258972"/>
                      </a:cubicBezTo>
                      <a:cubicBezTo>
                        <a:pt x="140741" y="259905"/>
                        <a:pt x="141780" y="263686"/>
                        <a:pt x="146028" y="264001"/>
                      </a:cubicBezTo>
                      <a:cubicBezTo>
                        <a:pt x="148647" y="264201"/>
                        <a:pt x="151162" y="261982"/>
                        <a:pt x="153914" y="262277"/>
                      </a:cubicBezTo>
                      <a:cubicBezTo>
                        <a:pt x="155943" y="262496"/>
                        <a:pt x="159639" y="266373"/>
                        <a:pt x="161525" y="265039"/>
                      </a:cubicBezTo>
                      <a:cubicBezTo>
                        <a:pt x="167164" y="261067"/>
                        <a:pt x="156334" y="255276"/>
                        <a:pt x="154496" y="254314"/>
                      </a:cubicBezTo>
                      <a:cubicBezTo>
                        <a:pt x="147361" y="250599"/>
                        <a:pt x="148743" y="249599"/>
                        <a:pt x="147676" y="241569"/>
                      </a:cubicBezTo>
                      <a:cubicBezTo>
                        <a:pt x="146666" y="233873"/>
                        <a:pt x="145580" y="226377"/>
                        <a:pt x="144637" y="218633"/>
                      </a:cubicBezTo>
                      <a:cubicBezTo>
                        <a:pt x="144389" y="216623"/>
                        <a:pt x="140808" y="202393"/>
                        <a:pt x="141504" y="200945"/>
                      </a:cubicBezTo>
                      <a:cubicBezTo>
                        <a:pt x="143209" y="197402"/>
                        <a:pt x="156163" y="203736"/>
                        <a:pt x="159925" y="204793"/>
                      </a:cubicBezTo>
                      <a:cubicBezTo>
                        <a:pt x="166478" y="206632"/>
                        <a:pt x="171802" y="206260"/>
                        <a:pt x="178384" y="206222"/>
                      </a:cubicBezTo>
                      <a:cubicBezTo>
                        <a:pt x="180690" y="206213"/>
                        <a:pt x="184499" y="206175"/>
                        <a:pt x="186747" y="206898"/>
                      </a:cubicBezTo>
                      <a:cubicBezTo>
                        <a:pt x="188919" y="207603"/>
                        <a:pt x="191577" y="210956"/>
                        <a:pt x="193386" y="211156"/>
                      </a:cubicBezTo>
                      <a:cubicBezTo>
                        <a:pt x="196234" y="211461"/>
                        <a:pt x="197463" y="209137"/>
                        <a:pt x="199711" y="207794"/>
                      </a:cubicBezTo>
                      <a:cubicBezTo>
                        <a:pt x="201254" y="206879"/>
                        <a:pt x="207855" y="204622"/>
                        <a:pt x="208769" y="203527"/>
                      </a:cubicBezTo>
                      <a:cubicBezTo>
                        <a:pt x="213789" y="197478"/>
                        <a:pt x="193234" y="176723"/>
                        <a:pt x="192320" y="168732"/>
                      </a:cubicBezTo>
                      <a:cubicBezTo>
                        <a:pt x="190681" y="154311"/>
                        <a:pt x="216380" y="166646"/>
                        <a:pt x="210645" y="148691"/>
                      </a:cubicBezTo>
                      <a:cubicBezTo>
                        <a:pt x="208626" y="142367"/>
                        <a:pt x="205740" y="140281"/>
                        <a:pt x="214732" y="139680"/>
                      </a:cubicBezTo>
                      <a:cubicBezTo>
                        <a:pt x="217904" y="139471"/>
                        <a:pt x="220923" y="140919"/>
                        <a:pt x="224057" y="140509"/>
                      </a:cubicBezTo>
                      <a:cubicBezTo>
                        <a:pt x="225543" y="140309"/>
                        <a:pt x="226752" y="138318"/>
                        <a:pt x="228952" y="138366"/>
                      </a:cubicBezTo>
                      <a:cubicBezTo>
                        <a:pt x="233277" y="138471"/>
                        <a:pt x="234829" y="140766"/>
                        <a:pt x="236801" y="144329"/>
                      </a:cubicBezTo>
                      <a:cubicBezTo>
                        <a:pt x="237154" y="144967"/>
                        <a:pt x="235011" y="145329"/>
                        <a:pt x="237001" y="147634"/>
                      </a:cubicBezTo>
                      <a:cubicBezTo>
                        <a:pt x="239373" y="150387"/>
                        <a:pt x="243593" y="149396"/>
                        <a:pt x="246002" y="151625"/>
                      </a:cubicBezTo>
                      <a:cubicBezTo>
                        <a:pt x="249879" y="155216"/>
                        <a:pt x="245393" y="155911"/>
                        <a:pt x="253089" y="158550"/>
                      </a:cubicBezTo>
                      <a:cubicBezTo>
                        <a:pt x="260518" y="161093"/>
                        <a:pt x="264405" y="164045"/>
                        <a:pt x="270377" y="168075"/>
                      </a:cubicBezTo>
                      <a:cubicBezTo>
                        <a:pt x="274234" y="170675"/>
                        <a:pt x="283340" y="174380"/>
                        <a:pt x="287922" y="174933"/>
                      </a:cubicBezTo>
                      <a:cubicBezTo>
                        <a:pt x="290989" y="175304"/>
                        <a:pt x="293341" y="173199"/>
                        <a:pt x="296609" y="173713"/>
                      </a:cubicBezTo>
                      <a:cubicBezTo>
                        <a:pt x="300095" y="174256"/>
                        <a:pt x="302066" y="177361"/>
                        <a:pt x="305267" y="178590"/>
                      </a:cubicBezTo>
                      <a:cubicBezTo>
                        <a:pt x="309906" y="180381"/>
                        <a:pt x="311258" y="178390"/>
                        <a:pt x="315202" y="179638"/>
                      </a:cubicBezTo>
                      <a:cubicBezTo>
                        <a:pt x="319478" y="181000"/>
                        <a:pt x="325450" y="185515"/>
                        <a:pt x="329042" y="188629"/>
                      </a:cubicBezTo>
                      <a:cubicBezTo>
                        <a:pt x="333642" y="192620"/>
                        <a:pt x="337223" y="197211"/>
                        <a:pt x="341976" y="201098"/>
                      </a:cubicBezTo>
                      <a:cubicBezTo>
                        <a:pt x="347768" y="205832"/>
                        <a:pt x="354378" y="207908"/>
                        <a:pt x="359407" y="213699"/>
                      </a:cubicBezTo>
                      <a:cubicBezTo>
                        <a:pt x="364036" y="219014"/>
                        <a:pt x="363370" y="222072"/>
                        <a:pt x="365817" y="227815"/>
                      </a:cubicBezTo>
                      <a:cubicBezTo>
                        <a:pt x="367036" y="230673"/>
                        <a:pt x="371056" y="232178"/>
                        <a:pt x="372075" y="234854"/>
                      </a:cubicBezTo>
                      <a:cubicBezTo>
                        <a:pt x="373142" y="237664"/>
                        <a:pt x="371980" y="238283"/>
                        <a:pt x="371761" y="241084"/>
                      </a:cubicBezTo>
                      <a:cubicBezTo>
                        <a:pt x="369656" y="267087"/>
                        <a:pt x="410594" y="268544"/>
                        <a:pt x="430111" y="268782"/>
                      </a:cubicBezTo>
                      <a:cubicBezTo>
                        <a:pt x="446437" y="268982"/>
                        <a:pt x="458029" y="269792"/>
                        <a:pt x="472773" y="277183"/>
                      </a:cubicBezTo>
                      <a:cubicBezTo>
                        <a:pt x="478689" y="280146"/>
                        <a:pt x="484784" y="281365"/>
                        <a:pt x="490871" y="284270"/>
                      </a:cubicBezTo>
                      <a:cubicBezTo>
                        <a:pt x="497338" y="287347"/>
                        <a:pt x="505006" y="291004"/>
                        <a:pt x="512169" y="291976"/>
                      </a:cubicBezTo>
                      <a:cubicBezTo>
                        <a:pt x="514550" y="292300"/>
                        <a:pt x="520227" y="290795"/>
                        <a:pt x="521989" y="291976"/>
                      </a:cubicBezTo>
                      <a:cubicBezTo>
                        <a:pt x="523837" y="293185"/>
                        <a:pt x="523494" y="297148"/>
                        <a:pt x="525152" y="298853"/>
                      </a:cubicBezTo>
                      <a:cubicBezTo>
                        <a:pt x="527247" y="301015"/>
                        <a:pt x="530362" y="300996"/>
                        <a:pt x="532962" y="302529"/>
                      </a:cubicBezTo>
                      <a:cubicBezTo>
                        <a:pt x="536124" y="304396"/>
                        <a:pt x="538915" y="308082"/>
                        <a:pt x="541477" y="310578"/>
                      </a:cubicBezTo>
                      <a:cubicBezTo>
                        <a:pt x="546364" y="315322"/>
                        <a:pt x="551022" y="321379"/>
                        <a:pt x="556336" y="325466"/>
                      </a:cubicBezTo>
                      <a:cubicBezTo>
                        <a:pt x="561833" y="329695"/>
                        <a:pt x="568747" y="332362"/>
                        <a:pt x="574320" y="336534"/>
                      </a:cubicBezTo>
                      <a:cubicBezTo>
                        <a:pt x="576796" y="338382"/>
                        <a:pt x="576492" y="339944"/>
                        <a:pt x="579530" y="340801"/>
                      </a:cubicBezTo>
                      <a:cubicBezTo>
                        <a:pt x="581835" y="341439"/>
                        <a:pt x="587417" y="339810"/>
                        <a:pt x="589845" y="339591"/>
                      </a:cubicBezTo>
                      <a:cubicBezTo>
                        <a:pt x="598351" y="338782"/>
                        <a:pt x="605695" y="339467"/>
                        <a:pt x="614220" y="340391"/>
                      </a:cubicBezTo>
                      <a:cubicBezTo>
                        <a:pt x="629974" y="342087"/>
                        <a:pt x="647595" y="346221"/>
                        <a:pt x="663417" y="345535"/>
                      </a:cubicBezTo>
                      <a:cubicBezTo>
                        <a:pt x="670389" y="345230"/>
                        <a:pt x="676018" y="342258"/>
                        <a:pt x="683190" y="342868"/>
                      </a:cubicBezTo>
                      <a:cubicBezTo>
                        <a:pt x="690925" y="343525"/>
                        <a:pt x="698640" y="344954"/>
                        <a:pt x="706364" y="345802"/>
                      </a:cubicBezTo>
                      <a:cubicBezTo>
                        <a:pt x="713194" y="346554"/>
                        <a:pt x="721005" y="345544"/>
                        <a:pt x="727358" y="348345"/>
                      </a:cubicBezTo>
                      <a:cubicBezTo>
                        <a:pt x="734292" y="351393"/>
                        <a:pt x="738674" y="356774"/>
                        <a:pt x="746350" y="358603"/>
                      </a:cubicBezTo>
                      <a:cubicBezTo>
                        <a:pt x="760924" y="362089"/>
                        <a:pt x="774878" y="363566"/>
                        <a:pt x="789127" y="368633"/>
                      </a:cubicBezTo>
                      <a:cubicBezTo>
                        <a:pt x="798043" y="371805"/>
                        <a:pt x="801920" y="369519"/>
                        <a:pt x="810930" y="368509"/>
                      </a:cubicBezTo>
                      <a:cubicBezTo>
                        <a:pt x="818274" y="367690"/>
                        <a:pt x="814178" y="368633"/>
                        <a:pt x="819426" y="372881"/>
                      </a:cubicBezTo>
                      <a:cubicBezTo>
                        <a:pt x="822265" y="375177"/>
                        <a:pt x="825532" y="374396"/>
                        <a:pt x="829390" y="374881"/>
                      </a:cubicBezTo>
                      <a:cubicBezTo>
                        <a:pt x="837733" y="375929"/>
                        <a:pt x="836276" y="373376"/>
                        <a:pt x="843306" y="368928"/>
                      </a:cubicBezTo>
                      <a:cubicBezTo>
                        <a:pt x="849678" y="364909"/>
                        <a:pt x="856155" y="361384"/>
                        <a:pt x="862955" y="358089"/>
                      </a:cubicBezTo>
                      <a:cubicBezTo>
                        <a:pt x="874986" y="352269"/>
                        <a:pt x="889616" y="351164"/>
                        <a:pt x="902961" y="350135"/>
                      </a:cubicBezTo>
                      <a:cubicBezTo>
                        <a:pt x="916610" y="349078"/>
                        <a:pt x="931831" y="352917"/>
                        <a:pt x="944442" y="346745"/>
                      </a:cubicBezTo>
                      <a:cubicBezTo>
                        <a:pt x="949043" y="344497"/>
                        <a:pt x="957186" y="342030"/>
                        <a:pt x="959891" y="338267"/>
                      </a:cubicBezTo>
                      <a:cubicBezTo>
                        <a:pt x="962473" y="334686"/>
                        <a:pt x="961597" y="328533"/>
                        <a:pt x="963721" y="324561"/>
                      </a:cubicBezTo>
                      <a:cubicBezTo>
                        <a:pt x="967188" y="318093"/>
                        <a:pt x="984838" y="314598"/>
                        <a:pt x="979799" y="306463"/>
                      </a:cubicBezTo>
                      <a:cubicBezTo>
                        <a:pt x="976618" y="301320"/>
                        <a:pt x="966531" y="298672"/>
                        <a:pt x="961616" y="295224"/>
                      </a:cubicBezTo>
                      <a:cubicBezTo>
                        <a:pt x="955472" y="290928"/>
                        <a:pt x="953758" y="288747"/>
                        <a:pt x="952005" y="281851"/>
                      </a:cubicBezTo>
                      <a:cubicBezTo>
                        <a:pt x="950081" y="274221"/>
                        <a:pt x="947052" y="267830"/>
                        <a:pt x="957015" y="266954"/>
                      </a:cubicBezTo>
                      <a:cubicBezTo>
                        <a:pt x="965130" y="266230"/>
                        <a:pt x="969579" y="270030"/>
                        <a:pt x="976703" y="272469"/>
                      </a:cubicBezTo>
                      <a:cubicBezTo>
                        <a:pt x="986790" y="275917"/>
                        <a:pt x="1003249" y="280155"/>
                        <a:pt x="1010431" y="271678"/>
                      </a:cubicBezTo>
                      <a:cubicBezTo>
                        <a:pt x="1011974" y="269859"/>
                        <a:pt x="1012927" y="268716"/>
                        <a:pt x="1014213" y="266468"/>
                      </a:cubicBezTo>
                      <a:cubicBezTo>
                        <a:pt x="1015555" y="264153"/>
                        <a:pt x="1015442" y="260029"/>
                        <a:pt x="1016127" y="258800"/>
                      </a:cubicBezTo>
                      <a:cubicBezTo>
                        <a:pt x="1018737" y="254133"/>
                        <a:pt x="1025024" y="257209"/>
                        <a:pt x="1030977" y="256905"/>
                      </a:cubicBezTo>
                      <a:cubicBezTo>
                        <a:pt x="1033501" y="256781"/>
                        <a:pt x="1036273" y="256524"/>
                        <a:pt x="1038711" y="255952"/>
                      </a:cubicBezTo>
                      <a:cubicBezTo>
                        <a:pt x="1043540" y="254828"/>
                        <a:pt x="1043502" y="253742"/>
                        <a:pt x="1046769" y="250809"/>
                      </a:cubicBezTo>
                      <a:cubicBezTo>
                        <a:pt x="1053036" y="245189"/>
                        <a:pt x="1050770" y="246551"/>
                        <a:pt x="1048893" y="239817"/>
                      </a:cubicBezTo>
                      <a:cubicBezTo>
                        <a:pt x="1047579" y="235102"/>
                        <a:pt x="1048827" y="229577"/>
                        <a:pt x="1051856" y="227368"/>
                      </a:cubicBezTo>
                      <a:cubicBezTo>
                        <a:pt x="1056294" y="224139"/>
                        <a:pt x="1062381" y="227044"/>
                        <a:pt x="1068077" y="226196"/>
                      </a:cubicBezTo>
                      <a:cubicBezTo>
                        <a:pt x="1065762" y="220443"/>
                        <a:pt x="1063276" y="219872"/>
                        <a:pt x="1069867" y="219624"/>
                      </a:cubicBezTo>
                      <a:cubicBezTo>
                        <a:pt x="1071763" y="219548"/>
                        <a:pt x="1073068" y="221605"/>
                        <a:pt x="1075258" y="221224"/>
                      </a:cubicBezTo>
                      <a:cubicBezTo>
                        <a:pt x="1077173" y="220891"/>
                        <a:pt x="1078964" y="217528"/>
                        <a:pt x="1081526" y="216385"/>
                      </a:cubicBezTo>
                      <a:cubicBezTo>
                        <a:pt x="1090308" y="212461"/>
                        <a:pt x="1100538" y="214633"/>
                        <a:pt x="1108929" y="217033"/>
                      </a:cubicBezTo>
                      <a:cubicBezTo>
                        <a:pt x="1111978" y="217909"/>
                        <a:pt x="1122369" y="220186"/>
                        <a:pt x="1125398" y="218500"/>
                      </a:cubicBezTo>
                      <a:cubicBezTo>
                        <a:pt x="1131437" y="215138"/>
                        <a:pt x="1123436" y="210537"/>
                        <a:pt x="1120493" y="207899"/>
                      </a:cubicBezTo>
                      <a:cubicBezTo>
                        <a:pt x="1112863" y="201060"/>
                        <a:pt x="1102700" y="195897"/>
                        <a:pt x="1093547" y="191211"/>
                      </a:cubicBezTo>
                      <a:cubicBezTo>
                        <a:pt x="1085374" y="187020"/>
                        <a:pt x="1076735" y="184200"/>
                        <a:pt x="1068677" y="179800"/>
                      </a:cubicBezTo>
                      <a:cubicBezTo>
                        <a:pt x="1061371" y="175818"/>
                        <a:pt x="1046569" y="169922"/>
                        <a:pt x="1040682" y="176904"/>
                      </a:cubicBezTo>
                      <a:cubicBezTo>
                        <a:pt x="1035720" y="182791"/>
                        <a:pt x="1042111" y="186077"/>
                        <a:pt x="1033006" y="183372"/>
                      </a:cubicBezTo>
                      <a:cubicBezTo>
                        <a:pt x="1028109" y="181924"/>
                        <a:pt x="1023814" y="179047"/>
                        <a:pt x="1018499" y="178838"/>
                      </a:cubicBezTo>
                      <a:cubicBezTo>
                        <a:pt x="1015727" y="178724"/>
                        <a:pt x="1007155" y="178133"/>
                        <a:pt x="1004821" y="179019"/>
                      </a:cubicBezTo>
                      <a:cubicBezTo>
                        <a:pt x="1002021" y="180095"/>
                        <a:pt x="1001745" y="183524"/>
                        <a:pt x="999954" y="184115"/>
                      </a:cubicBezTo>
                      <a:cubicBezTo>
                        <a:pt x="997915" y="184781"/>
                        <a:pt x="994353" y="182362"/>
                        <a:pt x="992524" y="181429"/>
                      </a:cubicBezTo>
                      <a:cubicBezTo>
                        <a:pt x="987295" y="178762"/>
                        <a:pt x="980180" y="174742"/>
                        <a:pt x="979532" y="169627"/>
                      </a:cubicBezTo>
                      <a:cubicBezTo>
                        <a:pt x="979399" y="168636"/>
                        <a:pt x="982847" y="167646"/>
                        <a:pt x="982732" y="166798"/>
                      </a:cubicBezTo>
                      <a:cubicBezTo>
                        <a:pt x="982542" y="165322"/>
                        <a:pt x="980551" y="164150"/>
                        <a:pt x="979990" y="162836"/>
                      </a:cubicBezTo>
                      <a:cubicBezTo>
                        <a:pt x="978827" y="160121"/>
                        <a:pt x="976713" y="158302"/>
                        <a:pt x="975989" y="155416"/>
                      </a:cubicBezTo>
                      <a:cubicBezTo>
                        <a:pt x="973046" y="143595"/>
                        <a:pt x="970969" y="129727"/>
                        <a:pt x="968150" y="117163"/>
                      </a:cubicBezTo>
                      <a:cubicBezTo>
                        <a:pt x="975684" y="119916"/>
                        <a:pt x="983028" y="122031"/>
                        <a:pt x="990819" y="123659"/>
                      </a:cubicBezTo>
                      <a:cubicBezTo>
                        <a:pt x="994267" y="124393"/>
                        <a:pt x="999077" y="126479"/>
                        <a:pt x="1002478" y="126403"/>
                      </a:cubicBezTo>
                      <a:cubicBezTo>
                        <a:pt x="1007774" y="126269"/>
                        <a:pt x="1006345" y="126631"/>
                        <a:pt x="1010088" y="121716"/>
                      </a:cubicBezTo>
                      <a:cubicBezTo>
                        <a:pt x="1012517" y="118516"/>
                        <a:pt x="1013803" y="115277"/>
                        <a:pt x="1017632" y="113344"/>
                      </a:cubicBezTo>
                      <a:cubicBezTo>
                        <a:pt x="1020004" y="112153"/>
                        <a:pt x="1024804" y="113315"/>
                        <a:pt x="1026814" y="111325"/>
                      </a:cubicBezTo>
                      <a:cubicBezTo>
                        <a:pt x="1032310" y="105876"/>
                        <a:pt x="1022814" y="100266"/>
                        <a:pt x="1017794" y="98828"/>
                      </a:cubicBezTo>
                      <a:cubicBezTo>
                        <a:pt x="1018890" y="95561"/>
                        <a:pt x="1016622" y="89350"/>
                        <a:pt x="1016175" y="85807"/>
                      </a:cubicBezTo>
                      <a:cubicBezTo>
                        <a:pt x="1015489" y="80340"/>
                        <a:pt x="1013889" y="74882"/>
                        <a:pt x="1012536" y="69253"/>
                      </a:cubicBezTo>
                      <a:cubicBezTo>
                        <a:pt x="1011984" y="66986"/>
                        <a:pt x="1010374" y="62823"/>
                        <a:pt x="1010574" y="60690"/>
                      </a:cubicBezTo>
                      <a:cubicBezTo>
                        <a:pt x="1010917" y="56994"/>
                        <a:pt x="1014203" y="56327"/>
                        <a:pt x="1015308" y="53346"/>
                      </a:cubicBezTo>
                      <a:cubicBezTo>
                        <a:pt x="1018175" y="45659"/>
                        <a:pt x="1011965" y="43678"/>
                        <a:pt x="1007459" y="39163"/>
                      </a:cubicBezTo>
                      <a:cubicBezTo>
                        <a:pt x="1002488" y="34182"/>
                        <a:pt x="1001373" y="29772"/>
                        <a:pt x="993353" y="29057"/>
                      </a:cubicBezTo>
                      <a:cubicBezTo>
                        <a:pt x="988400" y="28629"/>
                        <a:pt x="980456" y="30810"/>
                        <a:pt x="980618" y="23399"/>
                      </a:cubicBezTo>
                      <a:cubicBezTo>
                        <a:pt x="980704" y="20018"/>
                        <a:pt x="986161" y="9864"/>
                        <a:pt x="989533" y="8169"/>
                      </a:cubicBezTo>
                      <a:cubicBezTo>
                        <a:pt x="994439" y="5702"/>
                        <a:pt x="1004602" y="5235"/>
                        <a:pt x="1010374" y="3654"/>
                      </a:cubicBezTo>
                      <a:cubicBezTo>
                        <a:pt x="1016661" y="1920"/>
                        <a:pt x="1021614" y="3206"/>
                        <a:pt x="1027967" y="2416"/>
                      </a:cubicBezTo>
                      <a:cubicBezTo>
                        <a:pt x="1034529" y="1454"/>
                        <a:pt x="1038978" y="-813"/>
                        <a:pt x="1045759" y="301"/>
                      </a:cubicBezTo>
                      <a:lnTo>
                        <a:pt x="1045759" y="301"/>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76" name="Freeform: Shape 675">
                  <a:extLst>
                    <a:ext uri="{FF2B5EF4-FFF2-40B4-BE49-F238E27FC236}">
                      <a16:creationId xmlns:a16="http://schemas.microsoft.com/office/drawing/2014/main" id="{EA68D683-355B-4D97-A337-99D4E8D52FAB}"/>
                    </a:ext>
                  </a:extLst>
                </p:cNvPr>
                <p:cNvSpPr/>
                <p:nvPr/>
              </p:nvSpPr>
              <p:spPr>
                <a:xfrm>
                  <a:off x="3431761" y="4916345"/>
                  <a:ext cx="485213" cy="1201317"/>
                </a:xfrm>
                <a:custGeom>
                  <a:avLst/>
                  <a:gdLst>
                    <a:gd name="connsiteX0" fmla="*/ 433045 w 485213"/>
                    <a:gd name="connsiteY0" fmla="*/ 1178500 h 1201317"/>
                    <a:gd name="connsiteX1" fmla="*/ 453609 w 485213"/>
                    <a:gd name="connsiteY1" fmla="*/ 1181481 h 1201317"/>
                    <a:gd name="connsiteX2" fmla="*/ 467258 w 485213"/>
                    <a:gd name="connsiteY2" fmla="*/ 1182367 h 1201317"/>
                    <a:gd name="connsiteX3" fmla="*/ 468649 w 485213"/>
                    <a:gd name="connsiteY3" fmla="*/ 1186958 h 1201317"/>
                    <a:gd name="connsiteX4" fmla="*/ 473269 w 485213"/>
                    <a:gd name="connsiteY4" fmla="*/ 1190749 h 1201317"/>
                    <a:gd name="connsiteX5" fmla="*/ 485213 w 485213"/>
                    <a:gd name="connsiteY5" fmla="*/ 1201293 h 1201317"/>
                    <a:gd name="connsiteX6" fmla="*/ 475945 w 485213"/>
                    <a:gd name="connsiteY6" fmla="*/ 1196959 h 1201317"/>
                    <a:gd name="connsiteX7" fmla="*/ 462477 w 485213"/>
                    <a:gd name="connsiteY7" fmla="*/ 1195102 h 1201317"/>
                    <a:gd name="connsiteX8" fmla="*/ 457076 w 485213"/>
                    <a:gd name="connsiteY8" fmla="*/ 1188682 h 1201317"/>
                    <a:gd name="connsiteX9" fmla="*/ 446961 w 485213"/>
                    <a:gd name="connsiteY9" fmla="*/ 1186253 h 1201317"/>
                    <a:gd name="connsiteX10" fmla="*/ 454676 w 485213"/>
                    <a:gd name="connsiteY10" fmla="*/ 1195978 h 1201317"/>
                    <a:gd name="connsiteX11" fmla="*/ 440322 w 485213"/>
                    <a:gd name="connsiteY11" fmla="*/ 1190616 h 1201317"/>
                    <a:gd name="connsiteX12" fmla="*/ 438341 w 485213"/>
                    <a:gd name="connsiteY12" fmla="*/ 1187930 h 1201317"/>
                    <a:gd name="connsiteX13" fmla="*/ 434302 w 485213"/>
                    <a:gd name="connsiteY13" fmla="*/ 1188101 h 1201317"/>
                    <a:gd name="connsiteX14" fmla="*/ 429330 w 485213"/>
                    <a:gd name="connsiteY14" fmla="*/ 1185167 h 1201317"/>
                    <a:gd name="connsiteX15" fmla="*/ 427968 w 485213"/>
                    <a:gd name="connsiteY15" fmla="*/ 1177319 h 1201317"/>
                    <a:gd name="connsiteX16" fmla="*/ 433045 w 485213"/>
                    <a:gd name="connsiteY16" fmla="*/ 1178500 h 1201317"/>
                    <a:gd name="connsiteX17" fmla="*/ 433045 w 485213"/>
                    <a:gd name="connsiteY17" fmla="*/ 1178500 h 1201317"/>
                    <a:gd name="connsiteX18" fmla="*/ 411794 w 485213"/>
                    <a:gd name="connsiteY18" fmla="*/ 1107577 h 1201317"/>
                    <a:gd name="connsiteX19" fmla="*/ 426301 w 485213"/>
                    <a:gd name="connsiteY19" fmla="*/ 1109529 h 1201317"/>
                    <a:gd name="connsiteX20" fmla="*/ 437731 w 485213"/>
                    <a:gd name="connsiteY20" fmla="*/ 1133647 h 1201317"/>
                    <a:gd name="connsiteX21" fmla="*/ 458067 w 485213"/>
                    <a:gd name="connsiteY21" fmla="*/ 1176442 h 1201317"/>
                    <a:gd name="connsiteX22" fmla="*/ 435054 w 485213"/>
                    <a:gd name="connsiteY22" fmla="*/ 1175509 h 1201317"/>
                    <a:gd name="connsiteX23" fmla="*/ 429301 w 485213"/>
                    <a:gd name="connsiteY23" fmla="*/ 1171975 h 1201317"/>
                    <a:gd name="connsiteX24" fmla="*/ 425339 w 485213"/>
                    <a:gd name="connsiteY24" fmla="*/ 1174442 h 1201317"/>
                    <a:gd name="connsiteX25" fmla="*/ 415481 w 485213"/>
                    <a:gd name="connsiteY25" fmla="*/ 1173461 h 1201317"/>
                    <a:gd name="connsiteX26" fmla="*/ 409366 w 485213"/>
                    <a:gd name="connsiteY26" fmla="*/ 1174442 h 1201317"/>
                    <a:gd name="connsiteX27" fmla="*/ 402126 w 485213"/>
                    <a:gd name="connsiteY27" fmla="*/ 1172623 h 1201317"/>
                    <a:gd name="connsiteX28" fmla="*/ 388372 w 485213"/>
                    <a:gd name="connsiteY28" fmla="*/ 1170242 h 1201317"/>
                    <a:gd name="connsiteX29" fmla="*/ 373228 w 485213"/>
                    <a:gd name="connsiteY29" fmla="*/ 1163222 h 1201317"/>
                    <a:gd name="connsiteX30" fmla="*/ 379076 w 485213"/>
                    <a:gd name="connsiteY30" fmla="*/ 1165212 h 1201317"/>
                    <a:gd name="connsiteX31" fmla="*/ 382334 w 485213"/>
                    <a:gd name="connsiteY31" fmla="*/ 1162517 h 1201317"/>
                    <a:gd name="connsiteX32" fmla="*/ 393773 w 485213"/>
                    <a:gd name="connsiteY32" fmla="*/ 1162774 h 1201317"/>
                    <a:gd name="connsiteX33" fmla="*/ 394764 w 485213"/>
                    <a:gd name="connsiteY33" fmla="*/ 1160107 h 1201317"/>
                    <a:gd name="connsiteX34" fmla="*/ 399983 w 485213"/>
                    <a:gd name="connsiteY34" fmla="*/ 1161574 h 1201317"/>
                    <a:gd name="connsiteX35" fmla="*/ 404917 w 485213"/>
                    <a:gd name="connsiteY35" fmla="*/ 1165441 h 1201317"/>
                    <a:gd name="connsiteX36" fmla="*/ 411813 w 485213"/>
                    <a:gd name="connsiteY36" fmla="*/ 1166193 h 1201317"/>
                    <a:gd name="connsiteX37" fmla="*/ 398669 w 485213"/>
                    <a:gd name="connsiteY37" fmla="*/ 1157650 h 1201317"/>
                    <a:gd name="connsiteX38" fmla="*/ 387772 w 485213"/>
                    <a:gd name="connsiteY38" fmla="*/ 1145915 h 1201317"/>
                    <a:gd name="connsiteX39" fmla="*/ 392392 w 485213"/>
                    <a:gd name="connsiteY39" fmla="*/ 1143972 h 1201317"/>
                    <a:gd name="connsiteX40" fmla="*/ 392649 w 485213"/>
                    <a:gd name="connsiteY40" fmla="*/ 1138447 h 1201317"/>
                    <a:gd name="connsiteX41" fmla="*/ 401584 w 485213"/>
                    <a:gd name="connsiteY41" fmla="*/ 1149134 h 1201317"/>
                    <a:gd name="connsiteX42" fmla="*/ 395631 w 485213"/>
                    <a:gd name="connsiteY42" fmla="*/ 1149725 h 1201317"/>
                    <a:gd name="connsiteX43" fmla="*/ 410070 w 485213"/>
                    <a:gd name="connsiteY43" fmla="*/ 1159402 h 1201317"/>
                    <a:gd name="connsiteX44" fmla="*/ 417490 w 485213"/>
                    <a:gd name="connsiteY44" fmla="*/ 1161574 h 1201317"/>
                    <a:gd name="connsiteX45" fmla="*/ 422501 w 485213"/>
                    <a:gd name="connsiteY45" fmla="*/ 1159193 h 1201317"/>
                    <a:gd name="connsiteX46" fmla="*/ 436188 w 485213"/>
                    <a:gd name="connsiteY46" fmla="*/ 1165793 h 1201317"/>
                    <a:gd name="connsiteX47" fmla="*/ 438826 w 485213"/>
                    <a:gd name="connsiteY47" fmla="*/ 1166527 h 1201317"/>
                    <a:gd name="connsiteX48" fmla="*/ 441779 w 485213"/>
                    <a:gd name="connsiteY48" fmla="*/ 1163060 h 1201317"/>
                    <a:gd name="connsiteX49" fmla="*/ 406699 w 485213"/>
                    <a:gd name="connsiteY49" fmla="*/ 1147029 h 1201317"/>
                    <a:gd name="connsiteX50" fmla="*/ 412890 w 485213"/>
                    <a:gd name="connsiteY50" fmla="*/ 1136971 h 1201317"/>
                    <a:gd name="connsiteX51" fmla="*/ 413814 w 485213"/>
                    <a:gd name="connsiteY51" fmla="*/ 1128941 h 1201317"/>
                    <a:gd name="connsiteX52" fmla="*/ 386334 w 485213"/>
                    <a:gd name="connsiteY52" fmla="*/ 1122112 h 1201317"/>
                    <a:gd name="connsiteX53" fmla="*/ 391497 w 485213"/>
                    <a:gd name="connsiteY53" fmla="*/ 1116682 h 1201317"/>
                    <a:gd name="connsiteX54" fmla="*/ 382419 w 485213"/>
                    <a:gd name="connsiteY54" fmla="*/ 1110225 h 1201317"/>
                    <a:gd name="connsiteX55" fmla="*/ 397202 w 485213"/>
                    <a:gd name="connsiteY55" fmla="*/ 1110120 h 1201317"/>
                    <a:gd name="connsiteX56" fmla="*/ 401279 w 485213"/>
                    <a:gd name="connsiteY56" fmla="*/ 1101985 h 1201317"/>
                    <a:gd name="connsiteX57" fmla="*/ 411794 w 485213"/>
                    <a:gd name="connsiteY57" fmla="*/ 1107577 h 1201317"/>
                    <a:gd name="connsiteX58" fmla="*/ 411794 w 485213"/>
                    <a:gd name="connsiteY58" fmla="*/ 1107577 h 1201317"/>
                    <a:gd name="connsiteX59" fmla="*/ 221552 w 485213"/>
                    <a:gd name="connsiteY59" fmla="*/ 996706 h 1201317"/>
                    <a:gd name="connsiteX60" fmla="*/ 227733 w 485213"/>
                    <a:gd name="connsiteY60" fmla="*/ 1011660 h 1201317"/>
                    <a:gd name="connsiteX61" fmla="*/ 232039 w 485213"/>
                    <a:gd name="connsiteY61" fmla="*/ 1019566 h 1201317"/>
                    <a:gd name="connsiteX62" fmla="*/ 219494 w 485213"/>
                    <a:gd name="connsiteY62" fmla="*/ 1013851 h 1201317"/>
                    <a:gd name="connsiteX63" fmla="*/ 219751 w 485213"/>
                    <a:gd name="connsiteY63" fmla="*/ 1005802 h 1201317"/>
                    <a:gd name="connsiteX64" fmla="*/ 215903 w 485213"/>
                    <a:gd name="connsiteY64" fmla="*/ 1012317 h 1201317"/>
                    <a:gd name="connsiteX65" fmla="*/ 210703 w 485213"/>
                    <a:gd name="connsiteY65" fmla="*/ 1018547 h 1201317"/>
                    <a:gd name="connsiteX66" fmla="*/ 201797 w 485213"/>
                    <a:gd name="connsiteY66" fmla="*/ 1011622 h 1201317"/>
                    <a:gd name="connsiteX67" fmla="*/ 206664 w 485213"/>
                    <a:gd name="connsiteY67" fmla="*/ 1011822 h 1201317"/>
                    <a:gd name="connsiteX68" fmla="*/ 199111 w 485213"/>
                    <a:gd name="connsiteY68" fmla="*/ 1003049 h 1201317"/>
                    <a:gd name="connsiteX69" fmla="*/ 207569 w 485213"/>
                    <a:gd name="connsiteY69" fmla="*/ 1000535 h 1201317"/>
                    <a:gd name="connsiteX70" fmla="*/ 202902 w 485213"/>
                    <a:gd name="connsiteY70" fmla="*/ 996839 h 1201317"/>
                    <a:gd name="connsiteX71" fmla="*/ 204978 w 485213"/>
                    <a:gd name="connsiteY71" fmla="*/ 992715 h 1201317"/>
                    <a:gd name="connsiteX72" fmla="*/ 204740 w 485213"/>
                    <a:gd name="connsiteY72" fmla="*/ 983380 h 1201317"/>
                    <a:gd name="connsiteX73" fmla="*/ 221552 w 485213"/>
                    <a:gd name="connsiteY73" fmla="*/ 996706 h 1201317"/>
                    <a:gd name="connsiteX74" fmla="*/ 221552 w 485213"/>
                    <a:gd name="connsiteY74" fmla="*/ 996706 h 1201317"/>
                    <a:gd name="connsiteX75" fmla="*/ 170669 w 485213"/>
                    <a:gd name="connsiteY75" fmla="*/ 846973 h 1201317"/>
                    <a:gd name="connsiteX76" fmla="*/ 165973 w 485213"/>
                    <a:gd name="connsiteY76" fmla="*/ 852326 h 1201317"/>
                    <a:gd name="connsiteX77" fmla="*/ 174841 w 485213"/>
                    <a:gd name="connsiteY77" fmla="*/ 861441 h 1201317"/>
                    <a:gd name="connsiteX78" fmla="*/ 180842 w 485213"/>
                    <a:gd name="connsiteY78" fmla="*/ 874976 h 1201317"/>
                    <a:gd name="connsiteX79" fmla="*/ 167430 w 485213"/>
                    <a:gd name="connsiteY79" fmla="*/ 869252 h 1201317"/>
                    <a:gd name="connsiteX80" fmla="*/ 150495 w 485213"/>
                    <a:gd name="connsiteY80" fmla="*/ 854955 h 1201317"/>
                    <a:gd name="connsiteX81" fmla="*/ 154743 w 485213"/>
                    <a:gd name="connsiteY81" fmla="*/ 847325 h 1201317"/>
                    <a:gd name="connsiteX82" fmla="*/ 160258 w 485213"/>
                    <a:gd name="connsiteY82" fmla="*/ 847649 h 1201317"/>
                    <a:gd name="connsiteX83" fmla="*/ 159172 w 485213"/>
                    <a:gd name="connsiteY83" fmla="*/ 843696 h 1201317"/>
                    <a:gd name="connsiteX84" fmla="*/ 164230 w 485213"/>
                    <a:gd name="connsiteY84" fmla="*/ 840381 h 1201317"/>
                    <a:gd name="connsiteX85" fmla="*/ 170669 w 485213"/>
                    <a:gd name="connsiteY85" fmla="*/ 846973 h 1201317"/>
                    <a:gd name="connsiteX86" fmla="*/ 170669 w 485213"/>
                    <a:gd name="connsiteY86" fmla="*/ 846973 h 1201317"/>
                    <a:gd name="connsiteX87" fmla="*/ 154915 w 485213"/>
                    <a:gd name="connsiteY87" fmla="*/ 813940 h 1201317"/>
                    <a:gd name="connsiteX88" fmla="*/ 137265 w 485213"/>
                    <a:gd name="connsiteY88" fmla="*/ 810844 h 1201317"/>
                    <a:gd name="connsiteX89" fmla="*/ 134179 w 485213"/>
                    <a:gd name="connsiteY89" fmla="*/ 790813 h 1201317"/>
                    <a:gd name="connsiteX90" fmla="*/ 128750 w 485213"/>
                    <a:gd name="connsiteY90" fmla="*/ 778355 h 1201317"/>
                    <a:gd name="connsiteX91" fmla="*/ 126406 w 485213"/>
                    <a:gd name="connsiteY91" fmla="*/ 765096 h 1201317"/>
                    <a:gd name="connsiteX92" fmla="*/ 144675 w 485213"/>
                    <a:gd name="connsiteY92" fmla="*/ 772497 h 1201317"/>
                    <a:gd name="connsiteX93" fmla="*/ 149000 w 485213"/>
                    <a:gd name="connsiteY93" fmla="*/ 778945 h 1201317"/>
                    <a:gd name="connsiteX94" fmla="*/ 151047 w 485213"/>
                    <a:gd name="connsiteY94" fmla="*/ 786222 h 1201317"/>
                    <a:gd name="connsiteX95" fmla="*/ 143970 w 485213"/>
                    <a:gd name="connsiteY95" fmla="*/ 789985 h 1201317"/>
                    <a:gd name="connsiteX96" fmla="*/ 152962 w 485213"/>
                    <a:gd name="connsiteY96" fmla="*/ 808044 h 1201317"/>
                    <a:gd name="connsiteX97" fmla="*/ 154915 w 485213"/>
                    <a:gd name="connsiteY97" fmla="*/ 813940 h 1201317"/>
                    <a:gd name="connsiteX98" fmla="*/ 154915 w 485213"/>
                    <a:gd name="connsiteY98" fmla="*/ 813940 h 1201317"/>
                    <a:gd name="connsiteX99" fmla="*/ 113014 w 485213"/>
                    <a:gd name="connsiteY99" fmla="*/ 169554 h 1201317"/>
                    <a:gd name="connsiteX100" fmla="*/ 129826 w 485213"/>
                    <a:gd name="connsiteY100" fmla="*/ 168907 h 1201317"/>
                    <a:gd name="connsiteX101" fmla="*/ 133855 w 485213"/>
                    <a:gd name="connsiteY101" fmla="*/ 185595 h 1201317"/>
                    <a:gd name="connsiteX102" fmla="*/ 132340 w 485213"/>
                    <a:gd name="connsiteY102" fmla="*/ 203130 h 1201317"/>
                    <a:gd name="connsiteX103" fmla="*/ 118329 w 485213"/>
                    <a:gd name="connsiteY103" fmla="*/ 211922 h 1201317"/>
                    <a:gd name="connsiteX104" fmla="*/ 102022 w 485213"/>
                    <a:gd name="connsiteY104" fmla="*/ 230953 h 1201317"/>
                    <a:gd name="connsiteX105" fmla="*/ 109347 w 485213"/>
                    <a:gd name="connsiteY105" fmla="*/ 239478 h 1201317"/>
                    <a:gd name="connsiteX106" fmla="*/ 106213 w 485213"/>
                    <a:gd name="connsiteY106" fmla="*/ 242364 h 1201317"/>
                    <a:gd name="connsiteX107" fmla="*/ 105889 w 485213"/>
                    <a:gd name="connsiteY107" fmla="*/ 250317 h 1201317"/>
                    <a:gd name="connsiteX108" fmla="*/ 113929 w 485213"/>
                    <a:gd name="connsiteY108" fmla="*/ 265595 h 1201317"/>
                    <a:gd name="connsiteX109" fmla="*/ 116443 w 485213"/>
                    <a:gd name="connsiteY109" fmla="*/ 273406 h 1201317"/>
                    <a:gd name="connsiteX110" fmla="*/ 113995 w 485213"/>
                    <a:gd name="connsiteY110" fmla="*/ 280731 h 1201317"/>
                    <a:gd name="connsiteX111" fmla="*/ 121263 w 485213"/>
                    <a:gd name="connsiteY111" fmla="*/ 301752 h 1201317"/>
                    <a:gd name="connsiteX112" fmla="*/ 112633 w 485213"/>
                    <a:gd name="connsiteY112" fmla="*/ 305371 h 1201317"/>
                    <a:gd name="connsiteX113" fmla="*/ 109795 w 485213"/>
                    <a:gd name="connsiteY113" fmla="*/ 322050 h 1201317"/>
                    <a:gd name="connsiteX114" fmla="*/ 99889 w 485213"/>
                    <a:gd name="connsiteY114" fmla="*/ 349510 h 1201317"/>
                    <a:gd name="connsiteX115" fmla="*/ 99384 w 485213"/>
                    <a:gd name="connsiteY115" fmla="*/ 366741 h 1201317"/>
                    <a:gd name="connsiteX116" fmla="*/ 103118 w 485213"/>
                    <a:gd name="connsiteY116" fmla="*/ 383800 h 1201317"/>
                    <a:gd name="connsiteX117" fmla="*/ 106099 w 485213"/>
                    <a:gd name="connsiteY117" fmla="*/ 392925 h 1201317"/>
                    <a:gd name="connsiteX118" fmla="*/ 109214 w 485213"/>
                    <a:gd name="connsiteY118" fmla="*/ 397212 h 1201317"/>
                    <a:gd name="connsiteX119" fmla="*/ 103527 w 485213"/>
                    <a:gd name="connsiteY119" fmla="*/ 404936 h 1201317"/>
                    <a:gd name="connsiteX120" fmla="*/ 103365 w 485213"/>
                    <a:gd name="connsiteY120" fmla="*/ 422443 h 1201317"/>
                    <a:gd name="connsiteX121" fmla="*/ 104842 w 485213"/>
                    <a:gd name="connsiteY121" fmla="*/ 426663 h 1201317"/>
                    <a:gd name="connsiteX122" fmla="*/ 101079 w 485213"/>
                    <a:gd name="connsiteY122" fmla="*/ 429187 h 1201317"/>
                    <a:gd name="connsiteX123" fmla="*/ 105937 w 485213"/>
                    <a:gd name="connsiteY123" fmla="*/ 446465 h 1201317"/>
                    <a:gd name="connsiteX124" fmla="*/ 113043 w 485213"/>
                    <a:gd name="connsiteY124" fmla="*/ 452838 h 1201317"/>
                    <a:gd name="connsiteX125" fmla="*/ 115310 w 485213"/>
                    <a:gd name="connsiteY125" fmla="*/ 457724 h 1201317"/>
                    <a:gd name="connsiteX126" fmla="*/ 124435 w 485213"/>
                    <a:gd name="connsiteY126" fmla="*/ 472059 h 1201317"/>
                    <a:gd name="connsiteX127" fmla="*/ 129902 w 485213"/>
                    <a:gd name="connsiteY127" fmla="*/ 482422 h 1201317"/>
                    <a:gd name="connsiteX128" fmla="*/ 132836 w 485213"/>
                    <a:gd name="connsiteY128" fmla="*/ 484442 h 1201317"/>
                    <a:gd name="connsiteX129" fmla="*/ 132264 w 485213"/>
                    <a:gd name="connsiteY129" fmla="*/ 488899 h 1201317"/>
                    <a:gd name="connsiteX130" fmla="*/ 144066 w 485213"/>
                    <a:gd name="connsiteY130" fmla="*/ 499339 h 1201317"/>
                    <a:gd name="connsiteX131" fmla="*/ 144561 w 485213"/>
                    <a:gd name="connsiteY131" fmla="*/ 507540 h 1201317"/>
                    <a:gd name="connsiteX132" fmla="*/ 148304 w 485213"/>
                    <a:gd name="connsiteY132" fmla="*/ 518103 h 1201317"/>
                    <a:gd name="connsiteX133" fmla="*/ 151962 w 485213"/>
                    <a:gd name="connsiteY133" fmla="*/ 526637 h 1201317"/>
                    <a:gd name="connsiteX134" fmla="*/ 147342 w 485213"/>
                    <a:gd name="connsiteY134" fmla="*/ 528847 h 1201317"/>
                    <a:gd name="connsiteX135" fmla="*/ 145485 w 485213"/>
                    <a:gd name="connsiteY135" fmla="*/ 543963 h 1201317"/>
                    <a:gd name="connsiteX136" fmla="*/ 146237 w 485213"/>
                    <a:gd name="connsiteY136" fmla="*/ 553203 h 1201317"/>
                    <a:gd name="connsiteX137" fmla="*/ 143180 w 485213"/>
                    <a:gd name="connsiteY137" fmla="*/ 558613 h 1201317"/>
                    <a:gd name="connsiteX138" fmla="*/ 147542 w 485213"/>
                    <a:gd name="connsiteY138" fmla="*/ 562899 h 1201317"/>
                    <a:gd name="connsiteX139" fmla="*/ 152467 w 485213"/>
                    <a:gd name="connsiteY139" fmla="*/ 572805 h 1201317"/>
                    <a:gd name="connsiteX140" fmla="*/ 156039 w 485213"/>
                    <a:gd name="connsiteY140" fmla="*/ 583064 h 1201317"/>
                    <a:gd name="connsiteX141" fmla="*/ 152076 w 485213"/>
                    <a:gd name="connsiteY141" fmla="*/ 589255 h 1201317"/>
                    <a:gd name="connsiteX142" fmla="*/ 150057 w 485213"/>
                    <a:gd name="connsiteY142" fmla="*/ 595246 h 1201317"/>
                    <a:gd name="connsiteX143" fmla="*/ 144237 w 485213"/>
                    <a:gd name="connsiteY143" fmla="*/ 598466 h 1201317"/>
                    <a:gd name="connsiteX144" fmla="*/ 152009 w 485213"/>
                    <a:gd name="connsiteY144" fmla="*/ 628536 h 1201317"/>
                    <a:gd name="connsiteX145" fmla="*/ 155381 w 485213"/>
                    <a:gd name="connsiteY145" fmla="*/ 638785 h 1201317"/>
                    <a:gd name="connsiteX146" fmla="*/ 162620 w 485213"/>
                    <a:gd name="connsiteY146" fmla="*/ 648100 h 1201317"/>
                    <a:gd name="connsiteX147" fmla="*/ 168650 w 485213"/>
                    <a:gd name="connsiteY147" fmla="*/ 659606 h 1201317"/>
                    <a:gd name="connsiteX148" fmla="*/ 173498 w 485213"/>
                    <a:gd name="connsiteY148" fmla="*/ 667007 h 1201317"/>
                    <a:gd name="connsiteX149" fmla="*/ 163154 w 485213"/>
                    <a:gd name="connsiteY149" fmla="*/ 678199 h 1201317"/>
                    <a:gd name="connsiteX150" fmla="*/ 166459 w 485213"/>
                    <a:gd name="connsiteY150" fmla="*/ 689258 h 1201317"/>
                    <a:gd name="connsiteX151" fmla="*/ 166916 w 485213"/>
                    <a:gd name="connsiteY151" fmla="*/ 696040 h 1201317"/>
                    <a:gd name="connsiteX152" fmla="*/ 167897 w 485213"/>
                    <a:gd name="connsiteY152" fmla="*/ 705669 h 1201317"/>
                    <a:gd name="connsiteX153" fmla="*/ 166545 w 485213"/>
                    <a:gd name="connsiteY153" fmla="*/ 712013 h 1201317"/>
                    <a:gd name="connsiteX154" fmla="*/ 171241 w 485213"/>
                    <a:gd name="connsiteY154" fmla="*/ 718566 h 1201317"/>
                    <a:gd name="connsiteX155" fmla="*/ 171688 w 485213"/>
                    <a:gd name="connsiteY155" fmla="*/ 734273 h 1201317"/>
                    <a:gd name="connsiteX156" fmla="*/ 182823 w 485213"/>
                    <a:gd name="connsiteY156" fmla="*/ 757733 h 1201317"/>
                    <a:gd name="connsiteX157" fmla="*/ 192967 w 485213"/>
                    <a:gd name="connsiteY157" fmla="*/ 774773 h 1201317"/>
                    <a:gd name="connsiteX158" fmla="*/ 186166 w 485213"/>
                    <a:gd name="connsiteY158" fmla="*/ 777135 h 1201317"/>
                    <a:gd name="connsiteX159" fmla="*/ 188262 w 485213"/>
                    <a:gd name="connsiteY159" fmla="*/ 783803 h 1201317"/>
                    <a:gd name="connsiteX160" fmla="*/ 195415 w 485213"/>
                    <a:gd name="connsiteY160" fmla="*/ 803939 h 1201317"/>
                    <a:gd name="connsiteX161" fmla="*/ 205731 w 485213"/>
                    <a:gd name="connsiteY161" fmla="*/ 814007 h 1201317"/>
                    <a:gd name="connsiteX162" fmla="*/ 213551 w 485213"/>
                    <a:gd name="connsiteY162" fmla="*/ 822103 h 1201317"/>
                    <a:gd name="connsiteX163" fmla="*/ 214941 w 485213"/>
                    <a:gd name="connsiteY163" fmla="*/ 825656 h 1201317"/>
                    <a:gd name="connsiteX164" fmla="*/ 217370 w 485213"/>
                    <a:gd name="connsiteY164" fmla="*/ 829685 h 1201317"/>
                    <a:gd name="connsiteX165" fmla="*/ 218599 w 485213"/>
                    <a:gd name="connsiteY165" fmla="*/ 837905 h 1201317"/>
                    <a:gd name="connsiteX166" fmla="*/ 222514 w 485213"/>
                    <a:gd name="connsiteY166" fmla="*/ 846677 h 1201317"/>
                    <a:gd name="connsiteX167" fmla="*/ 241954 w 485213"/>
                    <a:gd name="connsiteY167" fmla="*/ 855507 h 1201317"/>
                    <a:gd name="connsiteX168" fmla="*/ 234429 w 485213"/>
                    <a:gd name="connsiteY168" fmla="*/ 858555 h 1201317"/>
                    <a:gd name="connsiteX169" fmla="*/ 221028 w 485213"/>
                    <a:gd name="connsiteY169" fmla="*/ 858879 h 1201317"/>
                    <a:gd name="connsiteX170" fmla="*/ 238706 w 485213"/>
                    <a:gd name="connsiteY170" fmla="*/ 867470 h 1201317"/>
                    <a:gd name="connsiteX171" fmla="*/ 246507 w 485213"/>
                    <a:gd name="connsiteY171" fmla="*/ 873319 h 1201317"/>
                    <a:gd name="connsiteX172" fmla="*/ 246317 w 485213"/>
                    <a:gd name="connsiteY172" fmla="*/ 882215 h 1201317"/>
                    <a:gd name="connsiteX173" fmla="*/ 246869 w 485213"/>
                    <a:gd name="connsiteY173" fmla="*/ 893741 h 1201317"/>
                    <a:gd name="connsiteX174" fmla="*/ 249146 w 485213"/>
                    <a:gd name="connsiteY174" fmla="*/ 897503 h 1201317"/>
                    <a:gd name="connsiteX175" fmla="*/ 246364 w 485213"/>
                    <a:gd name="connsiteY175" fmla="*/ 901265 h 1201317"/>
                    <a:gd name="connsiteX176" fmla="*/ 250460 w 485213"/>
                    <a:gd name="connsiteY176" fmla="*/ 907018 h 1201317"/>
                    <a:gd name="connsiteX177" fmla="*/ 256232 w 485213"/>
                    <a:gd name="connsiteY177" fmla="*/ 921163 h 1201317"/>
                    <a:gd name="connsiteX178" fmla="*/ 255137 w 485213"/>
                    <a:gd name="connsiteY178" fmla="*/ 928326 h 1201317"/>
                    <a:gd name="connsiteX179" fmla="*/ 259852 w 485213"/>
                    <a:gd name="connsiteY179" fmla="*/ 935422 h 1201317"/>
                    <a:gd name="connsiteX180" fmla="*/ 254270 w 485213"/>
                    <a:gd name="connsiteY180" fmla="*/ 942280 h 1201317"/>
                    <a:gd name="connsiteX181" fmla="*/ 253518 w 485213"/>
                    <a:gd name="connsiteY181" fmla="*/ 950662 h 1201317"/>
                    <a:gd name="connsiteX182" fmla="*/ 258518 w 485213"/>
                    <a:gd name="connsiteY182" fmla="*/ 961082 h 1201317"/>
                    <a:gd name="connsiteX183" fmla="*/ 264900 w 485213"/>
                    <a:gd name="connsiteY183" fmla="*/ 969950 h 1201317"/>
                    <a:gd name="connsiteX184" fmla="*/ 260747 w 485213"/>
                    <a:gd name="connsiteY184" fmla="*/ 976941 h 1201317"/>
                    <a:gd name="connsiteX185" fmla="*/ 264576 w 485213"/>
                    <a:gd name="connsiteY185" fmla="*/ 986314 h 1201317"/>
                    <a:gd name="connsiteX186" fmla="*/ 258794 w 485213"/>
                    <a:gd name="connsiteY186" fmla="*/ 1001554 h 1201317"/>
                    <a:gd name="connsiteX187" fmla="*/ 250508 w 485213"/>
                    <a:gd name="connsiteY187" fmla="*/ 1001964 h 1201317"/>
                    <a:gd name="connsiteX188" fmla="*/ 257966 w 485213"/>
                    <a:gd name="connsiteY188" fmla="*/ 1020785 h 1201317"/>
                    <a:gd name="connsiteX189" fmla="*/ 272863 w 485213"/>
                    <a:gd name="connsiteY189" fmla="*/ 1038015 h 1201317"/>
                    <a:gd name="connsiteX190" fmla="*/ 279654 w 485213"/>
                    <a:gd name="connsiteY190" fmla="*/ 1045759 h 1201317"/>
                    <a:gd name="connsiteX191" fmla="*/ 287569 w 485213"/>
                    <a:gd name="connsiteY191" fmla="*/ 1043788 h 1201317"/>
                    <a:gd name="connsiteX192" fmla="*/ 303838 w 485213"/>
                    <a:gd name="connsiteY192" fmla="*/ 1049446 h 1201317"/>
                    <a:gd name="connsiteX193" fmla="*/ 305914 w 485213"/>
                    <a:gd name="connsiteY193" fmla="*/ 1057532 h 1201317"/>
                    <a:gd name="connsiteX194" fmla="*/ 311153 w 485213"/>
                    <a:gd name="connsiteY194" fmla="*/ 1065352 h 1201317"/>
                    <a:gd name="connsiteX195" fmla="*/ 314782 w 485213"/>
                    <a:gd name="connsiteY195" fmla="*/ 1074296 h 1201317"/>
                    <a:gd name="connsiteX196" fmla="*/ 324126 w 485213"/>
                    <a:gd name="connsiteY196" fmla="*/ 1079687 h 1201317"/>
                    <a:gd name="connsiteX197" fmla="*/ 331537 w 485213"/>
                    <a:gd name="connsiteY197" fmla="*/ 1086241 h 1201317"/>
                    <a:gd name="connsiteX198" fmla="*/ 344796 w 485213"/>
                    <a:gd name="connsiteY198" fmla="*/ 1086403 h 1201317"/>
                    <a:gd name="connsiteX199" fmla="*/ 370351 w 485213"/>
                    <a:gd name="connsiteY199" fmla="*/ 1086669 h 1201317"/>
                    <a:gd name="connsiteX200" fmla="*/ 400231 w 485213"/>
                    <a:gd name="connsiteY200" fmla="*/ 1090860 h 1201317"/>
                    <a:gd name="connsiteX201" fmla="*/ 425444 w 485213"/>
                    <a:gd name="connsiteY201" fmla="*/ 1097804 h 1201317"/>
                    <a:gd name="connsiteX202" fmla="*/ 399812 w 485213"/>
                    <a:gd name="connsiteY202" fmla="*/ 1094566 h 1201317"/>
                    <a:gd name="connsiteX203" fmla="*/ 395764 w 485213"/>
                    <a:gd name="connsiteY203" fmla="*/ 1101890 h 1201317"/>
                    <a:gd name="connsiteX204" fmla="*/ 381962 w 485213"/>
                    <a:gd name="connsiteY204" fmla="*/ 1106777 h 1201317"/>
                    <a:gd name="connsiteX205" fmla="*/ 374799 w 485213"/>
                    <a:gd name="connsiteY205" fmla="*/ 1119845 h 1201317"/>
                    <a:gd name="connsiteX206" fmla="*/ 377676 w 485213"/>
                    <a:gd name="connsiteY206" fmla="*/ 1131599 h 1201317"/>
                    <a:gd name="connsiteX207" fmla="*/ 382172 w 485213"/>
                    <a:gd name="connsiteY207" fmla="*/ 1143353 h 1201317"/>
                    <a:gd name="connsiteX208" fmla="*/ 340547 w 485213"/>
                    <a:gd name="connsiteY208" fmla="*/ 1129113 h 1201317"/>
                    <a:gd name="connsiteX209" fmla="*/ 348110 w 485213"/>
                    <a:gd name="connsiteY209" fmla="*/ 1125808 h 1201317"/>
                    <a:gd name="connsiteX210" fmla="*/ 355930 w 485213"/>
                    <a:gd name="connsiteY210" fmla="*/ 1132504 h 1201317"/>
                    <a:gd name="connsiteX211" fmla="*/ 357988 w 485213"/>
                    <a:gd name="connsiteY211" fmla="*/ 1132523 h 1201317"/>
                    <a:gd name="connsiteX212" fmla="*/ 355559 w 485213"/>
                    <a:gd name="connsiteY212" fmla="*/ 1125398 h 1201317"/>
                    <a:gd name="connsiteX213" fmla="*/ 361826 w 485213"/>
                    <a:gd name="connsiteY213" fmla="*/ 1121636 h 1201317"/>
                    <a:gd name="connsiteX214" fmla="*/ 353492 w 485213"/>
                    <a:gd name="connsiteY214" fmla="*/ 1113568 h 1201317"/>
                    <a:gd name="connsiteX215" fmla="*/ 338861 w 485213"/>
                    <a:gd name="connsiteY215" fmla="*/ 1132570 h 1201317"/>
                    <a:gd name="connsiteX216" fmla="*/ 322945 w 485213"/>
                    <a:gd name="connsiteY216" fmla="*/ 1124160 h 1201317"/>
                    <a:gd name="connsiteX217" fmla="*/ 321393 w 485213"/>
                    <a:gd name="connsiteY217" fmla="*/ 1116044 h 1201317"/>
                    <a:gd name="connsiteX218" fmla="*/ 323212 w 485213"/>
                    <a:gd name="connsiteY218" fmla="*/ 1110558 h 1201317"/>
                    <a:gd name="connsiteX219" fmla="*/ 326641 w 485213"/>
                    <a:gd name="connsiteY219" fmla="*/ 1112301 h 1201317"/>
                    <a:gd name="connsiteX220" fmla="*/ 334785 w 485213"/>
                    <a:gd name="connsiteY220" fmla="*/ 1108853 h 1201317"/>
                    <a:gd name="connsiteX221" fmla="*/ 351501 w 485213"/>
                    <a:gd name="connsiteY221" fmla="*/ 1105633 h 1201317"/>
                    <a:gd name="connsiteX222" fmla="*/ 331089 w 485213"/>
                    <a:gd name="connsiteY222" fmla="*/ 1103252 h 1201317"/>
                    <a:gd name="connsiteX223" fmla="*/ 328374 w 485213"/>
                    <a:gd name="connsiteY223" fmla="*/ 1106281 h 1201317"/>
                    <a:gd name="connsiteX224" fmla="*/ 325641 w 485213"/>
                    <a:gd name="connsiteY224" fmla="*/ 1104195 h 1201317"/>
                    <a:gd name="connsiteX225" fmla="*/ 319269 w 485213"/>
                    <a:gd name="connsiteY225" fmla="*/ 1104405 h 1201317"/>
                    <a:gd name="connsiteX226" fmla="*/ 318354 w 485213"/>
                    <a:gd name="connsiteY226" fmla="*/ 1111177 h 1201317"/>
                    <a:gd name="connsiteX227" fmla="*/ 319459 w 485213"/>
                    <a:gd name="connsiteY227" fmla="*/ 1119492 h 1201317"/>
                    <a:gd name="connsiteX228" fmla="*/ 301219 w 485213"/>
                    <a:gd name="connsiteY228" fmla="*/ 1112920 h 1201317"/>
                    <a:gd name="connsiteX229" fmla="*/ 307286 w 485213"/>
                    <a:gd name="connsiteY229" fmla="*/ 1101919 h 1201317"/>
                    <a:gd name="connsiteX230" fmla="*/ 288293 w 485213"/>
                    <a:gd name="connsiteY230" fmla="*/ 1106196 h 1201317"/>
                    <a:gd name="connsiteX231" fmla="*/ 281750 w 485213"/>
                    <a:gd name="connsiteY231" fmla="*/ 1098499 h 1201317"/>
                    <a:gd name="connsiteX232" fmla="*/ 273129 w 485213"/>
                    <a:gd name="connsiteY232" fmla="*/ 1090270 h 1201317"/>
                    <a:gd name="connsiteX233" fmla="*/ 288027 w 485213"/>
                    <a:gd name="connsiteY233" fmla="*/ 1089003 h 1201317"/>
                    <a:gd name="connsiteX234" fmla="*/ 298504 w 485213"/>
                    <a:gd name="connsiteY234" fmla="*/ 1091784 h 1201317"/>
                    <a:gd name="connsiteX235" fmla="*/ 308362 w 485213"/>
                    <a:gd name="connsiteY235" fmla="*/ 1085060 h 1201317"/>
                    <a:gd name="connsiteX236" fmla="*/ 316430 w 485213"/>
                    <a:gd name="connsiteY236" fmla="*/ 1090765 h 1201317"/>
                    <a:gd name="connsiteX237" fmla="*/ 318992 w 485213"/>
                    <a:gd name="connsiteY237" fmla="*/ 1098461 h 1201317"/>
                    <a:gd name="connsiteX238" fmla="*/ 318992 w 485213"/>
                    <a:gd name="connsiteY238" fmla="*/ 1091927 h 1201317"/>
                    <a:gd name="connsiteX239" fmla="*/ 314230 w 485213"/>
                    <a:gd name="connsiteY239" fmla="*/ 1087250 h 1201317"/>
                    <a:gd name="connsiteX240" fmla="*/ 314620 w 485213"/>
                    <a:gd name="connsiteY240" fmla="*/ 1083117 h 1201317"/>
                    <a:gd name="connsiteX241" fmla="*/ 290970 w 485213"/>
                    <a:gd name="connsiteY241" fmla="*/ 1070115 h 1201317"/>
                    <a:gd name="connsiteX242" fmla="*/ 311248 w 485213"/>
                    <a:gd name="connsiteY242" fmla="*/ 1080230 h 1201317"/>
                    <a:gd name="connsiteX243" fmla="*/ 303486 w 485213"/>
                    <a:gd name="connsiteY243" fmla="*/ 1082459 h 1201317"/>
                    <a:gd name="connsiteX244" fmla="*/ 296542 w 485213"/>
                    <a:gd name="connsiteY244" fmla="*/ 1088098 h 1201317"/>
                    <a:gd name="connsiteX245" fmla="*/ 284455 w 485213"/>
                    <a:gd name="connsiteY245" fmla="*/ 1081526 h 1201317"/>
                    <a:gd name="connsiteX246" fmla="*/ 275130 w 485213"/>
                    <a:gd name="connsiteY246" fmla="*/ 1079402 h 1201317"/>
                    <a:gd name="connsiteX247" fmla="*/ 274453 w 485213"/>
                    <a:gd name="connsiteY247" fmla="*/ 1074515 h 1201317"/>
                    <a:gd name="connsiteX248" fmla="*/ 252203 w 485213"/>
                    <a:gd name="connsiteY248" fmla="*/ 1059761 h 1201317"/>
                    <a:gd name="connsiteX249" fmla="*/ 229657 w 485213"/>
                    <a:gd name="connsiteY249" fmla="*/ 1045007 h 1201317"/>
                    <a:gd name="connsiteX250" fmla="*/ 238935 w 485213"/>
                    <a:gd name="connsiteY250" fmla="*/ 1044531 h 1201317"/>
                    <a:gd name="connsiteX251" fmla="*/ 237792 w 485213"/>
                    <a:gd name="connsiteY251" fmla="*/ 1040749 h 1201317"/>
                    <a:gd name="connsiteX252" fmla="*/ 234934 w 485213"/>
                    <a:gd name="connsiteY252" fmla="*/ 1036415 h 1201317"/>
                    <a:gd name="connsiteX253" fmla="*/ 240963 w 485213"/>
                    <a:gd name="connsiteY253" fmla="*/ 1036749 h 1201317"/>
                    <a:gd name="connsiteX254" fmla="*/ 266843 w 485213"/>
                    <a:gd name="connsiteY254" fmla="*/ 1053103 h 1201317"/>
                    <a:gd name="connsiteX255" fmla="*/ 267176 w 485213"/>
                    <a:gd name="connsiteY255" fmla="*/ 1044064 h 1201317"/>
                    <a:gd name="connsiteX256" fmla="*/ 263757 w 485213"/>
                    <a:gd name="connsiteY256" fmla="*/ 1039073 h 1201317"/>
                    <a:gd name="connsiteX257" fmla="*/ 259937 w 485213"/>
                    <a:gd name="connsiteY257" fmla="*/ 1049074 h 1201317"/>
                    <a:gd name="connsiteX258" fmla="*/ 249965 w 485213"/>
                    <a:gd name="connsiteY258" fmla="*/ 1038844 h 1201317"/>
                    <a:gd name="connsiteX259" fmla="*/ 256423 w 485213"/>
                    <a:gd name="connsiteY259" fmla="*/ 1039644 h 1201317"/>
                    <a:gd name="connsiteX260" fmla="*/ 233925 w 485213"/>
                    <a:gd name="connsiteY260" fmla="*/ 1029672 h 1201317"/>
                    <a:gd name="connsiteX261" fmla="*/ 239611 w 485213"/>
                    <a:gd name="connsiteY261" fmla="*/ 1023004 h 1201317"/>
                    <a:gd name="connsiteX262" fmla="*/ 248155 w 485213"/>
                    <a:gd name="connsiteY262" fmla="*/ 1023395 h 1201317"/>
                    <a:gd name="connsiteX263" fmla="*/ 234267 w 485213"/>
                    <a:gd name="connsiteY263" fmla="*/ 1013793 h 1201317"/>
                    <a:gd name="connsiteX264" fmla="*/ 245335 w 485213"/>
                    <a:gd name="connsiteY264" fmla="*/ 1011241 h 1201317"/>
                    <a:gd name="connsiteX265" fmla="*/ 235106 w 485213"/>
                    <a:gd name="connsiteY265" fmla="*/ 1002573 h 1201317"/>
                    <a:gd name="connsiteX266" fmla="*/ 234020 w 485213"/>
                    <a:gd name="connsiteY266" fmla="*/ 993515 h 1201317"/>
                    <a:gd name="connsiteX267" fmla="*/ 231372 w 485213"/>
                    <a:gd name="connsiteY267" fmla="*/ 992877 h 1201317"/>
                    <a:gd name="connsiteX268" fmla="*/ 233658 w 485213"/>
                    <a:gd name="connsiteY268" fmla="*/ 1007821 h 1201317"/>
                    <a:gd name="connsiteX269" fmla="*/ 221018 w 485213"/>
                    <a:gd name="connsiteY269" fmla="*/ 990533 h 1201317"/>
                    <a:gd name="connsiteX270" fmla="*/ 223428 w 485213"/>
                    <a:gd name="connsiteY270" fmla="*/ 975522 h 1201317"/>
                    <a:gd name="connsiteX271" fmla="*/ 209960 w 485213"/>
                    <a:gd name="connsiteY271" fmla="*/ 973579 h 1201317"/>
                    <a:gd name="connsiteX272" fmla="*/ 201063 w 485213"/>
                    <a:gd name="connsiteY272" fmla="*/ 960530 h 1201317"/>
                    <a:gd name="connsiteX273" fmla="*/ 219199 w 485213"/>
                    <a:gd name="connsiteY273" fmla="*/ 961920 h 1201317"/>
                    <a:gd name="connsiteX274" fmla="*/ 235296 w 485213"/>
                    <a:gd name="connsiteY274" fmla="*/ 966149 h 1201317"/>
                    <a:gd name="connsiteX275" fmla="*/ 226295 w 485213"/>
                    <a:gd name="connsiteY275" fmla="*/ 959968 h 1201317"/>
                    <a:gd name="connsiteX276" fmla="*/ 217980 w 485213"/>
                    <a:gd name="connsiteY276" fmla="*/ 949900 h 1201317"/>
                    <a:gd name="connsiteX277" fmla="*/ 205607 w 485213"/>
                    <a:gd name="connsiteY277" fmla="*/ 957977 h 1201317"/>
                    <a:gd name="connsiteX278" fmla="*/ 203044 w 485213"/>
                    <a:gd name="connsiteY278" fmla="*/ 954729 h 1201317"/>
                    <a:gd name="connsiteX279" fmla="*/ 198034 w 485213"/>
                    <a:gd name="connsiteY279" fmla="*/ 953415 h 1201317"/>
                    <a:gd name="connsiteX280" fmla="*/ 195691 w 485213"/>
                    <a:gd name="connsiteY280" fmla="*/ 947338 h 1201317"/>
                    <a:gd name="connsiteX281" fmla="*/ 205369 w 485213"/>
                    <a:gd name="connsiteY281" fmla="*/ 947147 h 1201317"/>
                    <a:gd name="connsiteX282" fmla="*/ 199987 w 485213"/>
                    <a:gd name="connsiteY282" fmla="*/ 934812 h 1201317"/>
                    <a:gd name="connsiteX283" fmla="*/ 190529 w 485213"/>
                    <a:gd name="connsiteY283" fmla="*/ 922772 h 1201317"/>
                    <a:gd name="connsiteX284" fmla="*/ 187023 w 485213"/>
                    <a:gd name="connsiteY284" fmla="*/ 925459 h 1201317"/>
                    <a:gd name="connsiteX285" fmla="*/ 168050 w 485213"/>
                    <a:gd name="connsiteY285" fmla="*/ 913686 h 1201317"/>
                    <a:gd name="connsiteX286" fmla="*/ 155867 w 485213"/>
                    <a:gd name="connsiteY286" fmla="*/ 920496 h 1201317"/>
                    <a:gd name="connsiteX287" fmla="*/ 161315 w 485213"/>
                    <a:gd name="connsiteY287" fmla="*/ 927125 h 1201317"/>
                    <a:gd name="connsiteX288" fmla="*/ 152267 w 485213"/>
                    <a:gd name="connsiteY288" fmla="*/ 916153 h 1201317"/>
                    <a:gd name="connsiteX289" fmla="*/ 164392 w 485213"/>
                    <a:gd name="connsiteY289" fmla="*/ 902589 h 1201317"/>
                    <a:gd name="connsiteX290" fmla="*/ 156362 w 485213"/>
                    <a:gd name="connsiteY290" fmla="*/ 893617 h 1201317"/>
                    <a:gd name="connsiteX291" fmla="*/ 177422 w 485213"/>
                    <a:gd name="connsiteY291" fmla="*/ 890797 h 1201317"/>
                    <a:gd name="connsiteX292" fmla="*/ 176698 w 485213"/>
                    <a:gd name="connsiteY292" fmla="*/ 879881 h 1201317"/>
                    <a:gd name="connsiteX293" fmla="*/ 185166 w 485213"/>
                    <a:gd name="connsiteY293" fmla="*/ 891483 h 1201317"/>
                    <a:gd name="connsiteX294" fmla="*/ 184737 w 485213"/>
                    <a:gd name="connsiteY294" fmla="*/ 895064 h 1201317"/>
                    <a:gd name="connsiteX295" fmla="*/ 186976 w 485213"/>
                    <a:gd name="connsiteY295" fmla="*/ 899313 h 1201317"/>
                    <a:gd name="connsiteX296" fmla="*/ 179403 w 485213"/>
                    <a:gd name="connsiteY296" fmla="*/ 904408 h 1201317"/>
                    <a:gd name="connsiteX297" fmla="*/ 189814 w 485213"/>
                    <a:gd name="connsiteY297" fmla="*/ 902418 h 1201317"/>
                    <a:gd name="connsiteX298" fmla="*/ 189529 w 485213"/>
                    <a:gd name="connsiteY298" fmla="*/ 891778 h 1201317"/>
                    <a:gd name="connsiteX299" fmla="*/ 195958 w 485213"/>
                    <a:gd name="connsiteY299" fmla="*/ 912819 h 1201317"/>
                    <a:gd name="connsiteX300" fmla="*/ 198301 w 485213"/>
                    <a:gd name="connsiteY300" fmla="*/ 902570 h 1201317"/>
                    <a:gd name="connsiteX301" fmla="*/ 194510 w 485213"/>
                    <a:gd name="connsiteY301" fmla="*/ 891026 h 1201317"/>
                    <a:gd name="connsiteX302" fmla="*/ 186328 w 485213"/>
                    <a:gd name="connsiteY302" fmla="*/ 881177 h 1201317"/>
                    <a:gd name="connsiteX303" fmla="*/ 197320 w 485213"/>
                    <a:gd name="connsiteY303" fmla="*/ 877024 h 1201317"/>
                    <a:gd name="connsiteX304" fmla="*/ 207293 w 485213"/>
                    <a:gd name="connsiteY304" fmla="*/ 880320 h 1201317"/>
                    <a:gd name="connsiteX305" fmla="*/ 201559 w 485213"/>
                    <a:gd name="connsiteY305" fmla="*/ 876891 h 1201317"/>
                    <a:gd name="connsiteX306" fmla="*/ 190510 w 485213"/>
                    <a:gd name="connsiteY306" fmla="*/ 873566 h 1201317"/>
                    <a:gd name="connsiteX307" fmla="*/ 199082 w 485213"/>
                    <a:gd name="connsiteY307" fmla="*/ 860632 h 1201317"/>
                    <a:gd name="connsiteX308" fmla="*/ 192129 w 485213"/>
                    <a:gd name="connsiteY308" fmla="*/ 845401 h 1201317"/>
                    <a:gd name="connsiteX309" fmla="*/ 181308 w 485213"/>
                    <a:gd name="connsiteY309" fmla="*/ 840439 h 1201317"/>
                    <a:gd name="connsiteX310" fmla="*/ 177498 w 485213"/>
                    <a:gd name="connsiteY310" fmla="*/ 831352 h 1201317"/>
                    <a:gd name="connsiteX311" fmla="*/ 174974 w 485213"/>
                    <a:gd name="connsiteY311" fmla="*/ 817683 h 1201317"/>
                    <a:gd name="connsiteX312" fmla="*/ 178327 w 485213"/>
                    <a:gd name="connsiteY312" fmla="*/ 804310 h 1201317"/>
                    <a:gd name="connsiteX313" fmla="*/ 170640 w 485213"/>
                    <a:gd name="connsiteY313" fmla="*/ 787480 h 1201317"/>
                    <a:gd name="connsiteX314" fmla="*/ 174593 w 485213"/>
                    <a:gd name="connsiteY314" fmla="*/ 787622 h 1201317"/>
                    <a:gd name="connsiteX315" fmla="*/ 168307 w 485213"/>
                    <a:gd name="connsiteY315" fmla="*/ 778802 h 1201317"/>
                    <a:gd name="connsiteX316" fmla="*/ 179099 w 485213"/>
                    <a:gd name="connsiteY316" fmla="*/ 785241 h 1201317"/>
                    <a:gd name="connsiteX317" fmla="*/ 173784 w 485213"/>
                    <a:gd name="connsiteY317" fmla="*/ 775573 h 1201317"/>
                    <a:gd name="connsiteX318" fmla="*/ 169612 w 485213"/>
                    <a:gd name="connsiteY318" fmla="*/ 771420 h 1201317"/>
                    <a:gd name="connsiteX319" fmla="*/ 163516 w 485213"/>
                    <a:gd name="connsiteY319" fmla="*/ 770563 h 1201317"/>
                    <a:gd name="connsiteX320" fmla="*/ 169726 w 485213"/>
                    <a:gd name="connsiteY320" fmla="*/ 755780 h 1201317"/>
                    <a:gd name="connsiteX321" fmla="*/ 151000 w 485213"/>
                    <a:gd name="connsiteY321" fmla="*/ 757685 h 1201317"/>
                    <a:gd name="connsiteX322" fmla="*/ 148400 w 485213"/>
                    <a:gd name="connsiteY322" fmla="*/ 764372 h 1201317"/>
                    <a:gd name="connsiteX323" fmla="*/ 140589 w 485213"/>
                    <a:gd name="connsiteY323" fmla="*/ 765162 h 1201317"/>
                    <a:gd name="connsiteX324" fmla="*/ 135236 w 485213"/>
                    <a:gd name="connsiteY324" fmla="*/ 759333 h 1201317"/>
                    <a:gd name="connsiteX325" fmla="*/ 123215 w 485213"/>
                    <a:gd name="connsiteY325" fmla="*/ 748675 h 1201317"/>
                    <a:gd name="connsiteX326" fmla="*/ 116129 w 485213"/>
                    <a:gd name="connsiteY326" fmla="*/ 727339 h 1201317"/>
                    <a:gd name="connsiteX327" fmla="*/ 112576 w 485213"/>
                    <a:gd name="connsiteY327" fmla="*/ 708374 h 1201317"/>
                    <a:gd name="connsiteX328" fmla="*/ 117158 w 485213"/>
                    <a:gd name="connsiteY328" fmla="*/ 701926 h 1201317"/>
                    <a:gd name="connsiteX329" fmla="*/ 116919 w 485213"/>
                    <a:gd name="connsiteY329" fmla="*/ 690363 h 1201317"/>
                    <a:gd name="connsiteX330" fmla="*/ 95193 w 485213"/>
                    <a:gd name="connsiteY330" fmla="*/ 654482 h 1201317"/>
                    <a:gd name="connsiteX331" fmla="*/ 91183 w 485213"/>
                    <a:gd name="connsiteY331" fmla="*/ 643804 h 1201317"/>
                    <a:gd name="connsiteX332" fmla="*/ 84163 w 485213"/>
                    <a:gd name="connsiteY332" fmla="*/ 636546 h 1201317"/>
                    <a:gd name="connsiteX333" fmla="*/ 82087 w 485213"/>
                    <a:gd name="connsiteY333" fmla="*/ 628469 h 1201317"/>
                    <a:gd name="connsiteX334" fmla="*/ 79096 w 485213"/>
                    <a:gd name="connsiteY334" fmla="*/ 619982 h 1201317"/>
                    <a:gd name="connsiteX335" fmla="*/ 88049 w 485213"/>
                    <a:gd name="connsiteY335" fmla="*/ 603504 h 1201317"/>
                    <a:gd name="connsiteX336" fmla="*/ 89326 w 485213"/>
                    <a:gd name="connsiteY336" fmla="*/ 572272 h 1201317"/>
                    <a:gd name="connsiteX337" fmla="*/ 90583 w 485213"/>
                    <a:gd name="connsiteY337" fmla="*/ 558642 h 1201317"/>
                    <a:gd name="connsiteX338" fmla="*/ 93469 w 485213"/>
                    <a:gd name="connsiteY338" fmla="*/ 553231 h 1201317"/>
                    <a:gd name="connsiteX339" fmla="*/ 92869 w 485213"/>
                    <a:gd name="connsiteY339" fmla="*/ 543725 h 1201317"/>
                    <a:gd name="connsiteX340" fmla="*/ 90611 w 485213"/>
                    <a:gd name="connsiteY340" fmla="*/ 514436 h 1201317"/>
                    <a:gd name="connsiteX341" fmla="*/ 90573 w 485213"/>
                    <a:gd name="connsiteY341" fmla="*/ 501939 h 1201317"/>
                    <a:gd name="connsiteX342" fmla="*/ 87554 w 485213"/>
                    <a:gd name="connsiteY342" fmla="*/ 495167 h 1201317"/>
                    <a:gd name="connsiteX343" fmla="*/ 85239 w 485213"/>
                    <a:gd name="connsiteY343" fmla="*/ 491033 h 1201317"/>
                    <a:gd name="connsiteX344" fmla="*/ 87916 w 485213"/>
                    <a:gd name="connsiteY344" fmla="*/ 487918 h 1201317"/>
                    <a:gd name="connsiteX345" fmla="*/ 87459 w 485213"/>
                    <a:gd name="connsiteY345" fmla="*/ 473488 h 1201317"/>
                    <a:gd name="connsiteX346" fmla="*/ 81048 w 485213"/>
                    <a:gd name="connsiteY346" fmla="*/ 459086 h 1201317"/>
                    <a:gd name="connsiteX347" fmla="*/ 66599 w 485213"/>
                    <a:gd name="connsiteY347" fmla="*/ 427492 h 1201317"/>
                    <a:gd name="connsiteX348" fmla="*/ 60551 w 485213"/>
                    <a:gd name="connsiteY348" fmla="*/ 413309 h 1201317"/>
                    <a:gd name="connsiteX349" fmla="*/ 58865 w 485213"/>
                    <a:gd name="connsiteY349" fmla="*/ 404632 h 1201317"/>
                    <a:gd name="connsiteX350" fmla="*/ 64789 w 485213"/>
                    <a:gd name="connsiteY350" fmla="*/ 398078 h 1201317"/>
                    <a:gd name="connsiteX351" fmla="*/ 53083 w 485213"/>
                    <a:gd name="connsiteY351" fmla="*/ 368275 h 1201317"/>
                    <a:gd name="connsiteX352" fmla="*/ 53845 w 485213"/>
                    <a:gd name="connsiteY352" fmla="*/ 340824 h 1201317"/>
                    <a:gd name="connsiteX353" fmla="*/ 51940 w 485213"/>
                    <a:gd name="connsiteY353" fmla="*/ 324726 h 1201317"/>
                    <a:gd name="connsiteX354" fmla="*/ 53464 w 485213"/>
                    <a:gd name="connsiteY354" fmla="*/ 311858 h 1201317"/>
                    <a:gd name="connsiteX355" fmla="*/ 51464 w 485213"/>
                    <a:gd name="connsiteY355" fmla="*/ 280826 h 1201317"/>
                    <a:gd name="connsiteX356" fmla="*/ 46796 w 485213"/>
                    <a:gd name="connsiteY356" fmla="*/ 251431 h 1201317"/>
                    <a:gd name="connsiteX357" fmla="*/ 39548 w 485213"/>
                    <a:gd name="connsiteY357" fmla="*/ 222266 h 1201317"/>
                    <a:gd name="connsiteX358" fmla="*/ 36643 w 485213"/>
                    <a:gd name="connsiteY358" fmla="*/ 204854 h 1201317"/>
                    <a:gd name="connsiteX359" fmla="*/ 36633 w 485213"/>
                    <a:gd name="connsiteY359" fmla="*/ 190615 h 1201317"/>
                    <a:gd name="connsiteX360" fmla="*/ 28480 w 485213"/>
                    <a:gd name="connsiteY360" fmla="*/ 180470 h 1201317"/>
                    <a:gd name="connsiteX361" fmla="*/ 33080 w 485213"/>
                    <a:gd name="connsiteY361" fmla="*/ 169269 h 1201317"/>
                    <a:gd name="connsiteX362" fmla="*/ 30775 w 485213"/>
                    <a:gd name="connsiteY362" fmla="*/ 131855 h 1201317"/>
                    <a:gd name="connsiteX363" fmla="*/ 21117 w 485213"/>
                    <a:gd name="connsiteY363" fmla="*/ 96241 h 1201317"/>
                    <a:gd name="connsiteX364" fmla="*/ 13164 w 485213"/>
                    <a:gd name="connsiteY364" fmla="*/ 61674 h 1201317"/>
                    <a:gd name="connsiteX365" fmla="*/ 5686 w 485213"/>
                    <a:gd name="connsiteY365" fmla="*/ 42091 h 1201317"/>
                    <a:gd name="connsiteX366" fmla="*/ 0 w 485213"/>
                    <a:gd name="connsiteY366" fmla="*/ 26441 h 1201317"/>
                    <a:gd name="connsiteX367" fmla="*/ 16640 w 485213"/>
                    <a:gd name="connsiteY367" fmla="*/ 16059 h 1201317"/>
                    <a:gd name="connsiteX368" fmla="*/ 13859 w 485213"/>
                    <a:gd name="connsiteY368" fmla="*/ 5915 h 1201317"/>
                    <a:gd name="connsiteX369" fmla="*/ 22908 w 485213"/>
                    <a:gd name="connsiteY369" fmla="*/ 0 h 1201317"/>
                    <a:gd name="connsiteX370" fmla="*/ 29928 w 485213"/>
                    <a:gd name="connsiteY370" fmla="*/ 10125 h 1201317"/>
                    <a:gd name="connsiteX371" fmla="*/ 32337 w 485213"/>
                    <a:gd name="connsiteY371" fmla="*/ 14278 h 1201317"/>
                    <a:gd name="connsiteX372" fmla="*/ 39014 w 485213"/>
                    <a:gd name="connsiteY372" fmla="*/ 17459 h 1201317"/>
                    <a:gd name="connsiteX373" fmla="*/ 40329 w 485213"/>
                    <a:gd name="connsiteY373" fmla="*/ 24441 h 1201317"/>
                    <a:gd name="connsiteX374" fmla="*/ 44320 w 485213"/>
                    <a:gd name="connsiteY374" fmla="*/ 35385 h 1201317"/>
                    <a:gd name="connsiteX375" fmla="*/ 58036 w 485213"/>
                    <a:gd name="connsiteY375" fmla="*/ 54016 h 1201317"/>
                    <a:gd name="connsiteX376" fmla="*/ 65856 w 485213"/>
                    <a:gd name="connsiteY376" fmla="*/ 59522 h 1201317"/>
                    <a:gd name="connsiteX377" fmla="*/ 62646 w 485213"/>
                    <a:gd name="connsiteY377" fmla="*/ 67237 h 1201317"/>
                    <a:gd name="connsiteX378" fmla="*/ 66237 w 485213"/>
                    <a:gd name="connsiteY378" fmla="*/ 74752 h 1201317"/>
                    <a:gd name="connsiteX379" fmla="*/ 62256 w 485213"/>
                    <a:gd name="connsiteY379" fmla="*/ 81077 h 1201317"/>
                    <a:gd name="connsiteX380" fmla="*/ 65237 w 485213"/>
                    <a:gd name="connsiteY380" fmla="*/ 88535 h 1201317"/>
                    <a:gd name="connsiteX381" fmla="*/ 65913 w 485213"/>
                    <a:gd name="connsiteY381" fmla="*/ 93812 h 1201317"/>
                    <a:gd name="connsiteX382" fmla="*/ 71580 w 485213"/>
                    <a:gd name="connsiteY382" fmla="*/ 96984 h 1201317"/>
                    <a:gd name="connsiteX383" fmla="*/ 72800 w 485213"/>
                    <a:gd name="connsiteY383" fmla="*/ 99984 h 1201317"/>
                    <a:gd name="connsiteX384" fmla="*/ 74162 w 485213"/>
                    <a:gd name="connsiteY384" fmla="*/ 107642 h 1201317"/>
                    <a:gd name="connsiteX385" fmla="*/ 79067 w 485213"/>
                    <a:gd name="connsiteY385" fmla="*/ 110423 h 1201317"/>
                    <a:gd name="connsiteX386" fmla="*/ 82744 w 485213"/>
                    <a:gd name="connsiteY386" fmla="*/ 114681 h 1201317"/>
                    <a:gd name="connsiteX387" fmla="*/ 88706 w 485213"/>
                    <a:gd name="connsiteY387" fmla="*/ 126825 h 1201317"/>
                    <a:gd name="connsiteX388" fmla="*/ 101556 w 485213"/>
                    <a:gd name="connsiteY388" fmla="*/ 151238 h 1201317"/>
                    <a:gd name="connsiteX389" fmla="*/ 113014 w 485213"/>
                    <a:gd name="connsiteY389" fmla="*/ 169554 h 1201317"/>
                    <a:gd name="connsiteX390" fmla="*/ 113014 w 485213"/>
                    <a:gd name="connsiteY390" fmla="*/ 169554 h 1201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Lst>
                  <a:rect l="l" t="t" r="r" b="b"/>
                  <a:pathLst>
                    <a:path w="485213" h="1201317">
                      <a:moveTo>
                        <a:pt x="433045" y="1178500"/>
                      </a:moveTo>
                      <a:cubicBezTo>
                        <a:pt x="439322" y="1179414"/>
                        <a:pt x="447332" y="1182081"/>
                        <a:pt x="453609" y="1181481"/>
                      </a:cubicBezTo>
                      <a:cubicBezTo>
                        <a:pt x="458238" y="1181033"/>
                        <a:pt x="463715" y="1177071"/>
                        <a:pt x="467258" y="1182367"/>
                      </a:cubicBezTo>
                      <a:cubicBezTo>
                        <a:pt x="459019" y="1185739"/>
                        <a:pt x="466916" y="1185682"/>
                        <a:pt x="468649" y="1186958"/>
                      </a:cubicBezTo>
                      <a:cubicBezTo>
                        <a:pt x="470002" y="1187949"/>
                        <a:pt x="472659" y="1190301"/>
                        <a:pt x="473269" y="1190749"/>
                      </a:cubicBezTo>
                      <a:cubicBezTo>
                        <a:pt x="477269" y="1193721"/>
                        <a:pt x="483441" y="1195892"/>
                        <a:pt x="485213" y="1201293"/>
                      </a:cubicBezTo>
                      <a:cubicBezTo>
                        <a:pt x="481260" y="1201626"/>
                        <a:pt x="479250" y="1198407"/>
                        <a:pt x="475945" y="1196959"/>
                      </a:cubicBezTo>
                      <a:cubicBezTo>
                        <a:pt x="472050" y="1195245"/>
                        <a:pt x="465830" y="1196721"/>
                        <a:pt x="462477" y="1195102"/>
                      </a:cubicBezTo>
                      <a:cubicBezTo>
                        <a:pt x="459267" y="1193549"/>
                        <a:pt x="459057" y="1190149"/>
                        <a:pt x="457076" y="1188682"/>
                      </a:cubicBezTo>
                      <a:cubicBezTo>
                        <a:pt x="455886" y="1187787"/>
                        <a:pt x="449056" y="1186186"/>
                        <a:pt x="446961" y="1186253"/>
                      </a:cubicBezTo>
                      <a:cubicBezTo>
                        <a:pt x="446065" y="1191244"/>
                        <a:pt x="451237" y="1193597"/>
                        <a:pt x="454676" y="1195978"/>
                      </a:cubicBezTo>
                      <a:cubicBezTo>
                        <a:pt x="448961" y="1196074"/>
                        <a:pt x="445122" y="1192854"/>
                        <a:pt x="440322" y="1190616"/>
                      </a:cubicBezTo>
                      <a:cubicBezTo>
                        <a:pt x="439369" y="1190177"/>
                        <a:pt x="439445" y="1188501"/>
                        <a:pt x="438341" y="1187930"/>
                      </a:cubicBezTo>
                      <a:cubicBezTo>
                        <a:pt x="437217" y="1187349"/>
                        <a:pt x="435655" y="1188834"/>
                        <a:pt x="434302" y="1188101"/>
                      </a:cubicBezTo>
                      <a:cubicBezTo>
                        <a:pt x="432635" y="1187196"/>
                        <a:pt x="431206" y="1185901"/>
                        <a:pt x="429330" y="1185167"/>
                      </a:cubicBezTo>
                      <a:cubicBezTo>
                        <a:pt x="430378" y="1182710"/>
                        <a:pt x="429073" y="1180071"/>
                        <a:pt x="427968" y="1177319"/>
                      </a:cubicBezTo>
                      <a:cubicBezTo>
                        <a:pt x="429530" y="1177690"/>
                        <a:pt x="431578" y="1177833"/>
                        <a:pt x="433045" y="1178500"/>
                      </a:cubicBezTo>
                      <a:lnTo>
                        <a:pt x="433045" y="1178500"/>
                      </a:lnTo>
                      <a:close/>
                      <a:moveTo>
                        <a:pt x="411794" y="1107577"/>
                      </a:moveTo>
                      <a:cubicBezTo>
                        <a:pt x="419300" y="1108291"/>
                        <a:pt x="420796" y="1102081"/>
                        <a:pt x="426301" y="1109529"/>
                      </a:cubicBezTo>
                      <a:cubicBezTo>
                        <a:pt x="431235" y="1116216"/>
                        <a:pt x="434140" y="1126103"/>
                        <a:pt x="437731" y="1133647"/>
                      </a:cubicBezTo>
                      <a:cubicBezTo>
                        <a:pt x="444532" y="1147906"/>
                        <a:pt x="451361" y="1162136"/>
                        <a:pt x="458067" y="1176442"/>
                      </a:cubicBezTo>
                      <a:cubicBezTo>
                        <a:pt x="450047" y="1176004"/>
                        <a:pt x="443655" y="1179186"/>
                        <a:pt x="435054" y="1175509"/>
                      </a:cubicBezTo>
                      <a:cubicBezTo>
                        <a:pt x="433454" y="1174833"/>
                        <a:pt x="430949" y="1172032"/>
                        <a:pt x="429301" y="1171975"/>
                      </a:cubicBezTo>
                      <a:cubicBezTo>
                        <a:pt x="428463" y="1171947"/>
                        <a:pt x="426587" y="1174261"/>
                        <a:pt x="425339" y="1174442"/>
                      </a:cubicBezTo>
                      <a:cubicBezTo>
                        <a:pt x="421367" y="1175004"/>
                        <a:pt x="418976" y="1173652"/>
                        <a:pt x="415481" y="1173461"/>
                      </a:cubicBezTo>
                      <a:cubicBezTo>
                        <a:pt x="413537" y="1173347"/>
                        <a:pt x="411547" y="1174537"/>
                        <a:pt x="409366" y="1174442"/>
                      </a:cubicBezTo>
                      <a:cubicBezTo>
                        <a:pt x="407089" y="1174318"/>
                        <a:pt x="404451" y="1173051"/>
                        <a:pt x="402126" y="1172623"/>
                      </a:cubicBezTo>
                      <a:cubicBezTo>
                        <a:pt x="397535" y="1171756"/>
                        <a:pt x="392897" y="1171070"/>
                        <a:pt x="388372" y="1170242"/>
                      </a:cubicBezTo>
                      <a:cubicBezTo>
                        <a:pt x="384962" y="1169613"/>
                        <a:pt x="366113" y="1169356"/>
                        <a:pt x="373228" y="1163222"/>
                      </a:cubicBezTo>
                      <a:cubicBezTo>
                        <a:pt x="374637" y="1163441"/>
                        <a:pt x="377962" y="1165365"/>
                        <a:pt x="379076" y="1165212"/>
                      </a:cubicBezTo>
                      <a:cubicBezTo>
                        <a:pt x="380600" y="1165003"/>
                        <a:pt x="380695" y="1162641"/>
                        <a:pt x="382334" y="1162517"/>
                      </a:cubicBezTo>
                      <a:cubicBezTo>
                        <a:pt x="386334" y="1162193"/>
                        <a:pt x="389487" y="1164003"/>
                        <a:pt x="393773" y="1162774"/>
                      </a:cubicBezTo>
                      <a:cubicBezTo>
                        <a:pt x="394583" y="1162545"/>
                        <a:pt x="392992" y="1160317"/>
                        <a:pt x="394764" y="1160107"/>
                      </a:cubicBezTo>
                      <a:cubicBezTo>
                        <a:pt x="397316" y="1159793"/>
                        <a:pt x="398145" y="1160707"/>
                        <a:pt x="399983" y="1161574"/>
                      </a:cubicBezTo>
                      <a:cubicBezTo>
                        <a:pt x="402117" y="1162583"/>
                        <a:pt x="401841" y="1164260"/>
                        <a:pt x="404917" y="1165441"/>
                      </a:cubicBezTo>
                      <a:cubicBezTo>
                        <a:pt x="406889" y="1166193"/>
                        <a:pt x="409604" y="1165403"/>
                        <a:pt x="411813" y="1166193"/>
                      </a:cubicBezTo>
                      <a:cubicBezTo>
                        <a:pt x="409880" y="1162098"/>
                        <a:pt x="402603" y="1159783"/>
                        <a:pt x="398669" y="1157650"/>
                      </a:cubicBezTo>
                      <a:cubicBezTo>
                        <a:pt x="392659" y="1154383"/>
                        <a:pt x="391459" y="1151725"/>
                        <a:pt x="387772" y="1145915"/>
                      </a:cubicBezTo>
                      <a:cubicBezTo>
                        <a:pt x="389373" y="1145639"/>
                        <a:pt x="390792" y="1144200"/>
                        <a:pt x="392392" y="1143972"/>
                      </a:cubicBezTo>
                      <a:cubicBezTo>
                        <a:pt x="389496" y="1142248"/>
                        <a:pt x="389087" y="1137057"/>
                        <a:pt x="392649" y="1138447"/>
                      </a:cubicBezTo>
                      <a:cubicBezTo>
                        <a:pt x="395583" y="1139581"/>
                        <a:pt x="398764" y="1146753"/>
                        <a:pt x="401584" y="1149134"/>
                      </a:cubicBezTo>
                      <a:cubicBezTo>
                        <a:pt x="399555" y="1149410"/>
                        <a:pt x="397802" y="1150049"/>
                        <a:pt x="395631" y="1149725"/>
                      </a:cubicBezTo>
                      <a:cubicBezTo>
                        <a:pt x="398926" y="1153630"/>
                        <a:pt x="405794" y="1157031"/>
                        <a:pt x="410070" y="1159402"/>
                      </a:cubicBezTo>
                      <a:cubicBezTo>
                        <a:pt x="412566" y="1160793"/>
                        <a:pt x="413947" y="1161955"/>
                        <a:pt x="417490" y="1161574"/>
                      </a:cubicBezTo>
                      <a:cubicBezTo>
                        <a:pt x="419910" y="1161317"/>
                        <a:pt x="420577" y="1159173"/>
                        <a:pt x="422501" y="1159193"/>
                      </a:cubicBezTo>
                      <a:cubicBezTo>
                        <a:pt x="427215" y="1159240"/>
                        <a:pt x="432711" y="1165346"/>
                        <a:pt x="436188" y="1165793"/>
                      </a:cubicBezTo>
                      <a:cubicBezTo>
                        <a:pt x="438255" y="1166060"/>
                        <a:pt x="436255" y="1167317"/>
                        <a:pt x="438826" y="1166527"/>
                      </a:cubicBezTo>
                      <a:cubicBezTo>
                        <a:pt x="438455" y="1166651"/>
                        <a:pt x="441446" y="1163298"/>
                        <a:pt x="441779" y="1163060"/>
                      </a:cubicBezTo>
                      <a:cubicBezTo>
                        <a:pt x="431768" y="1155697"/>
                        <a:pt x="414528" y="1158345"/>
                        <a:pt x="406699" y="1147029"/>
                      </a:cubicBezTo>
                      <a:cubicBezTo>
                        <a:pt x="401860" y="1140038"/>
                        <a:pt x="406670" y="1139971"/>
                        <a:pt x="412890" y="1136971"/>
                      </a:cubicBezTo>
                      <a:cubicBezTo>
                        <a:pt x="419129" y="1133980"/>
                        <a:pt x="421510" y="1131399"/>
                        <a:pt x="413814" y="1128941"/>
                      </a:cubicBezTo>
                      <a:cubicBezTo>
                        <a:pt x="407194" y="1126836"/>
                        <a:pt x="387039" y="1136780"/>
                        <a:pt x="386334" y="1122112"/>
                      </a:cubicBezTo>
                      <a:cubicBezTo>
                        <a:pt x="386086" y="1117073"/>
                        <a:pt x="391459" y="1119378"/>
                        <a:pt x="391497" y="1116682"/>
                      </a:cubicBezTo>
                      <a:cubicBezTo>
                        <a:pt x="391516" y="1114616"/>
                        <a:pt x="384277" y="1111520"/>
                        <a:pt x="382419" y="1110225"/>
                      </a:cubicBezTo>
                      <a:cubicBezTo>
                        <a:pt x="388658" y="1107139"/>
                        <a:pt x="391859" y="1115044"/>
                        <a:pt x="397202" y="1110120"/>
                      </a:cubicBezTo>
                      <a:cubicBezTo>
                        <a:pt x="399240" y="1108243"/>
                        <a:pt x="398745" y="1102843"/>
                        <a:pt x="401279" y="1101985"/>
                      </a:cubicBezTo>
                      <a:cubicBezTo>
                        <a:pt x="404232" y="1100976"/>
                        <a:pt x="409423" y="1106062"/>
                        <a:pt x="411794" y="1107577"/>
                      </a:cubicBezTo>
                      <a:lnTo>
                        <a:pt x="411794" y="1107577"/>
                      </a:lnTo>
                      <a:close/>
                      <a:moveTo>
                        <a:pt x="221552" y="996706"/>
                      </a:moveTo>
                      <a:cubicBezTo>
                        <a:pt x="224380" y="1001478"/>
                        <a:pt x="225257" y="1006859"/>
                        <a:pt x="227733" y="1011660"/>
                      </a:cubicBezTo>
                      <a:cubicBezTo>
                        <a:pt x="229191" y="1014479"/>
                        <a:pt x="232239" y="1014927"/>
                        <a:pt x="232039" y="1019566"/>
                      </a:cubicBezTo>
                      <a:cubicBezTo>
                        <a:pt x="231581" y="1030043"/>
                        <a:pt x="221485" y="1018747"/>
                        <a:pt x="219494" y="1013851"/>
                      </a:cubicBezTo>
                      <a:cubicBezTo>
                        <a:pt x="219056" y="1012774"/>
                        <a:pt x="219666" y="1005754"/>
                        <a:pt x="219751" y="1005802"/>
                      </a:cubicBezTo>
                      <a:cubicBezTo>
                        <a:pt x="215208" y="1003040"/>
                        <a:pt x="215779" y="1010536"/>
                        <a:pt x="215903" y="1012317"/>
                      </a:cubicBezTo>
                      <a:cubicBezTo>
                        <a:pt x="216313" y="1018175"/>
                        <a:pt x="219275" y="1020137"/>
                        <a:pt x="210703" y="1018547"/>
                      </a:cubicBezTo>
                      <a:cubicBezTo>
                        <a:pt x="206626" y="1017794"/>
                        <a:pt x="201168" y="1016584"/>
                        <a:pt x="201797" y="1011622"/>
                      </a:cubicBezTo>
                      <a:cubicBezTo>
                        <a:pt x="203311" y="1012050"/>
                        <a:pt x="205169" y="1011365"/>
                        <a:pt x="206664" y="1011822"/>
                      </a:cubicBezTo>
                      <a:cubicBezTo>
                        <a:pt x="206531" y="1006802"/>
                        <a:pt x="199101" y="1006297"/>
                        <a:pt x="199111" y="1003049"/>
                      </a:cubicBezTo>
                      <a:cubicBezTo>
                        <a:pt x="199130" y="999211"/>
                        <a:pt x="205683" y="1000897"/>
                        <a:pt x="207569" y="1000535"/>
                      </a:cubicBezTo>
                      <a:cubicBezTo>
                        <a:pt x="207274" y="999782"/>
                        <a:pt x="202902" y="996115"/>
                        <a:pt x="202902" y="996839"/>
                      </a:cubicBezTo>
                      <a:cubicBezTo>
                        <a:pt x="202902" y="994896"/>
                        <a:pt x="204902" y="994010"/>
                        <a:pt x="204978" y="992715"/>
                      </a:cubicBezTo>
                      <a:cubicBezTo>
                        <a:pt x="205140" y="990038"/>
                        <a:pt x="202254" y="985276"/>
                        <a:pt x="204740" y="983380"/>
                      </a:cubicBezTo>
                      <a:cubicBezTo>
                        <a:pt x="211941" y="977913"/>
                        <a:pt x="219227" y="992972"/>
                        <a:pt x="221552" y="996706"/>
                      </a:cubicBezTo>
                      <a:lnTo>
                        <a:pt x="221552" y="996706"/>
                      </a:lnTo>
                      <a:close/>
                      <a:moveTo>
                        <a:pt x="170669" y="846973"/>
                      </a:moveTo>
                      <a:cubicBezTo>
                        <a:pt x="168488" y="849068"/>
                        <a:pt x="165411" y="848687"/>
                        <a:pt x="165973" y="852326"/>
                      </a:cubicBezTo>
                      <a:cubicBezTo>
                        <a:pt x="166288" y="854393"/>
                        <a:pt x="173250" y="859269"/>
                        <a:pt x="174841" y="861441"/>
                      </a:cubicBezTo>
                      <a:cubicBezTo>
                        <a:pt x="176917" y="864270"/>
                        <a:pt x="185585" y="873385"/>
                        <a:pt x="180842" y="874976"/>
                      </a:cubicBezTo>
                      <a:cubicBezTo>
                        <a:pt x="181375" y="881729"/>
                        <a:pt x="169450" y="870976"/>
                        <a:pt x="167430" y="869252"/>
                      </a:cubicBezTo>
                      <a:cubicBezTo>
                        <a:pt x="161754" y="864423"/>
                        <a:pt x="156915" y="858936"/>
                        <a:pt x="150495" y="854955"/>
                      </a:cubicBezTo>
                      <a:cubicBezTo>
                        <a:pt x="155391" y="852983"/>
                        <a:pt x="149276" y="850306"/>
                        <a:pt x="154743" y="847325"/>
                      </a:cubicBezTo>
                      <a:cubicBezTo>
                        <a:pt x="155886" y="846706"/>
                        <a:pt x="159153" y="849049"/>
                        <a:pt x="160258" y="847649"/>
                      </a:cubicBezTo>
                      <a:cubicBezTo>
                        <a:pt x="161554" y="845992"/>
                        <a:pt x="158648" y="845277"/>
                        <a:pt x="159172" y="843696"/>
                      </a:cubicBezTo>
                      <a:cubicBezTo>
                        <a:pt x="160658" y="839229"/>
                        <a:pt x="158172" y="838562"/>
                        <a:pt x="164230" y="840381"/>
                      </a:cubicBezTo>
                      <a:cubicBezTo>
                        <a:pt x="167192" y="841277"/>
                        <a:pt x="171069" y="843439"/>
                        <a:pt x="170669" y="846973"/>
                      </a:cubicBezTo>
                      <a:lnTo>
                        <a:pt x="170669" y="846973"/>
                      </a:lnTo>
                      <a:close/>
                      <a:moveTo>
                        <a:pt x="154915" y="813940"/>
                      </a:moveTo>
                      <a:cubicBezTo>
                        <a:pt x="151028" y="815292"/>
                        <a:pt x="139846" y="814873"/>
                        <a:pt x="137265" y="810844"/>
                      </a:cubicBezTo>
                      <a:cubicBezTo>
                        <a:pt x="134607" y="806672"/>
                        <a:pt x="136693" y="796576"/>
                        <a:pt x="134179" y="790813"/>
                      </a:cubicBezTo>
                      <a:cubicBezTo>
                        <a:pt x="132369" y="786670"/>
                        <a:pt x="129492" y="783107"/>
                        <a:pt x="128750" y="778355"/>
                      </a:cubicBezTo>
                      <a:cubicBezTo>
                        <a:pt x="128007" y="773573"/>
                        <a:pt x="128940" y="769230"/>
                        <a:pt x="126406" y="765096"/>
                      </a:cubicBezTo>
                      <a:cubicBezTo>
                        <a:pt x="133998" y="767144"/>
                        <a:pt x="139722" y="767058"/>
                        <a:pt x="144675" y="772497"/>
                      </a:cubicBezTo>
                      <a:cubicBezTo>
                        <a:pt x="146037" y="773982"/>
                        <a:pt x="148457" y="777059"/>
                        <a:pt x="149000" y="778945"/>
                      </a:cubicBezTo>
                      <a:cubicBezTo>
                        <a:pt x="149800" y="781736"/>
                        <a:pt x="145694" y="782622"/>
                        <a:pt x="151047" y="786222"/>
                      </a:cubicBezTo>
                      <a:cubicBezTo>
                        <a:pt x="148352" y="787194"/>
                        <a:pt x="146123" y="788080"/>
                        <a:pt x="143970" y="789985"/>
                      </a:cubicBezTo>
                      <a:cubicBezTo>
                        <a:pt x="147523" y="793509"/>
                        <a:pt x="168012" y="804072"/>
                        <a:pt x="152962" y="808044"/>
                      </a:cubicBezTo>
                      <a:cubicBezTo>
                        <a:pt x="154410" y="809758"/>
                        <a:pt x="155153" y="811835"/>
                        <a:pt x="154915" y="813940"/>
                      </a:cubicBezTo>
                      <a:lnTo>
                        <a:pt x="154915" y="813940"/>
                      </a:lnTo>
                      <a:close/>
                      <a:moveTo>
                        <a:pt x="113014" y="169554"/>
                      </a:moveTo>
                      <a:cubicBezTo>
                        <a:pt x="118948" y="170136"/>
                        <a:pt x="124739" y="166716"/>
                        <a:pt x="129826" y="168907"/>
                      </a:cubicBezTo>
                      <a:cubicBezTo>
                        <a:pt x="137198" y="172069"/>
                        <a:pt x="134407" y="179213"/>
                        <a:pt x="133855" y="185595"/>
                      </a:cubicBezTo>
                      <a:cubicBezTo>
                        <a:pt x="133436" y="190395"/>
                        <a:pt x="134293" y="198863"/>
                        <a:pt x="132340" y="203130"/>
                      </a:cubicBezTo>
                      <a:cubicBezTo>
                        <a:pt x="130121" y="207969"/>
                        <a:pt x="123606" y="209464"/>
                        <a:pt x="118329" y="211922"/>
                      </a:cubicBezTo>
                      <a:cubicBezTo>
                        <a:pt x="111595" y="215065"/>
                        <a:pt x="98441" y="221542"/>
                        <a:pt x="102022" y="230953"/>
                      </a:cubicBezTo>
                      <a:cubicBezTo>
                        <a:pt x="103070" y="233715"/>
                        <a:pt x="109242" y="236068"/>
                        <a:pt x="109347" y="239478"/>
                      </a:cubicBezTo>
                      <a:cubicBezTo>
                        <a:pt x="109404" y="241392"/>
                        <a:pt x="106547" y="240421"/>
                        <a:pt x="106213" y="242364"/>
                      </a:cubicBezTo>
                      <a:cubicBezTo>
                        <a:pt x="105804" y="244850"/>
                        <a:pt x="105280" y="247783"/>
                        <a:pt x="105889" y="250317"/>
                      </a:cubicBezTo>
                      <a:cubicBezTo>
                        <a:pt x="107099" y="255318"/>
                        <a:pt x="111633" y="260880"/>
                        <a:pt x="113929" y="265595"/>
                      </a:cubicBezTo>
                      <a:cubicBezTo>
                        <a:pt x="115376" y="268567"/>
                        <a:pt x="116653" y="270510"/>
                        <a:pt x="116443" y="273406"/>
                      </a:cubicBezTo>
                      <a:cubicBezTo>
                        <a:pt x="116243" y="276225"/>
                        <a:pt x="113490" y="277339"/>
                        <a:pt x="113995" y="280731"/>
                      </a:cubicBezTo>
                      <a:cubicBezTo>
                        <a:pt x="115214" y="288950"/>
                        <a:pt x="135188" y="296999"/>
                        <a:pt x="121263" y="301752"/>
                      </a:cubicBezTo>
                      <a:cubicBezTo>
                        <a:pt x="118081" y="302838"/>
                        <a:pt x="114576" y="302019"/>
                        <a:pt x="112633" y="305371"/>
                      </a:cubicBezTo>
                      <a:cubicBezTo>
                        <a:pt x="110414" y="309210"/>
                        <a:pt x="110395" y="317421"/>
                        <a:pt x="109795" y="322050"/>
                      </a:cubicBezTo>
                      <a:cubicBezTo>
                        <a:pt x="108404" y="332708"/>
                        <a:pt x="99679" y="338671"/>
                        <a:pt x="99889" y="349510"/>
                      </a:cubicBezTo>
                      <a:cubicBezTo>
                        <a:pt x="100013" y="355645"/>
                        <a:pt x="100736" y="361445"/>
                        <a:pt x="99384" y="366741"/>
                      </a:cubicBezTo>
                      <a:cubicBezTo>
                        <a:pt x="97450" y="374285"/>
                        <a:pt x="99832" y="376390"/>
                        <a:pt x="103118" y="383800"/>
                      </a:cubicBezTo>
                      <a:cubicBezTo>
                        <a:pt x="104394" y="386677"/>
                        <a:pt x="104804" y="390249"/>
                        <a:pt x="106099" y="392925"/>
                      </a:cubicBezTo>
                      <a:cubicBezTo>
                        <a:pt x="106480" y="393697"/>
                        <a:pt x="109261" y="397374"/>
                        <a:pt x="109214" y="397212"/>
                      </a:cubicBezTo>
                      <a:cubicBezTo>
                        <a:pt x="110090" y="400288"/>
                        <a:pt x="110566" y="408527"/>
                        <a:pt x="103527" y="404936"/>
                      </a:cubicBezTo>
                      <a:cubicBezTo>
                        <a:pt x="104651" y="410242"/>
                        <a:pt x="102851" y="416795"/>
                        <a:pt x="103365" y="422443"/>
                      </a:cubicBezTo>
                      <a:cubicBezTo>
                        <a:pt x="103584" y="424910"/>
                        <a:pt x="105632" y="424196"/>
                        <a:pt x="104842" y="426663"/>
                      </a:cubicBezTo>
                      <a:cubicBezTo>
                        <a:pt x="103851" y="429778"/>
                        <a:pt x="101651" y="427825"/>
                        <a:pt x="101079" y="429187"/>
                      </a:cubicBezTo>
                      <a:cubicBezTo>
                        <a:pt x="98936" y="434264"/>
                        <a:pt x="103165" y="442446"/>
                        <a:pt x="105937" y="446465"/>
                      </a:cubicBezTo>
                      <a:cubicBezTo>
                        <a:pt x="108195" y="449752"/>
                        <a:pt x="111090" y="450790"/>
                        <a:pt x="113043" y="452838"/>
                      </a:cubicBezTo>
                      <a:cubicBezTo>
                        <a:pt x="116224" y="456162"/>
                        <a:pt x="114472" y="454838"/>
                        <a:pt x="115310" y="457724"/>
                      </a:cubicBezTo>
                      <a:cubicBezTo>
                        <a:pt x="116681" y="462429"/>
                        <a:pt x="121520" y="466897"/>
                        <a:pt x="124435" y="472059"/>
                      </a:cubicBezTo>
                      <a:cubicBezTo>
                        <a:pt x="126359" y="475460"/>
                        <a:pt x="127778" y="479032"/>
                        <a:pt x="129902" y="482422"/>
                      </a:cubicBezTo>
                      <a:cubicBezTo>
                        <a:pt x="130445" y="483299"/>
                        <a:pt x="132407" y="483499"/>
                        <a:pt x="132836" y="484442"/>
                      </a:cubicBezTo>
                      <a:cubicBezTo>
                        <a:pt x="133541" y="485975"/>
                        <a:pt x="131912" y="487823"/>
                        <a:pt x="132264" y="488899"/>
                      </a:cubicBezTo>
                      <a:cubicBezTo>
                        <a:pt x="135246" y="497881"/>
                        <a:pt x="140741" y="493567"/>
                        <a:pt x="144066" y="499339"/>
                      </a:cubicBezTo>
                      <a:cubicBezTo>
                        <a:pt x="145237" y="501368"/>
                        <a:pt x="144209" y="505111"/>
                        <a:pt x="144561" y="507540"/>
                      </a:cubicBezTo>
                      <a:cubicBezTo>
                        <a:pt x="145094" y="511207"/>
                        <a:pt x="146895" y="514731"/>
                        <a:pt x="148304" y="518103"/>
                      </a:cubicBezTo>
                      <a:cubicBezTo>
                        <a:pt x="149019" y="519808"/>
                        <a:pt x="152400" y="524799"/>
                        <a:pt x="151962" y="526637"/>
                      </a:cubicBezTo>
                      <a:cubicBezTo>
                        <a:pt x="151419" y="528895"/>
                        <a:pt x="148190" y="527209"/>
                        <a:pt x="147342" y="528847"/>
                      </a:cubicBezTo>
                      <a:cubicBezTo>
                        <a:pt x="145599" y="532247"/>
                        <a:pt x="145447" y="540087"/>
                        <a:pt x="145485" y="543963"/>
                      </a:cubicBezTo>
                      <a:cubicBezTo>
                        <a:pt x="145504" y="546621"/>
                        <a:pt x="146723" y="550698"/>
                        <a:pt x="146237" y="553203"/>
                      </a:cubicBezTo>
                      <a:cubicBezTo>
                        <a:pt x="146037" y="554250"/>
                        <a:pt x="143189" y="558670"/>
                        <a:pt x="143180" y="558613"/>
                      </a:cubicBezTo>
                      <a:cubicBezTo>
                        <a:pt x="143570" y="560842"/>
                        <a:pt x="146218" y="561070"/>
                        <a:pt x="147542" y="562899"/>
                      </a:cubicBezTo>
                      <a:cubicBezTo>
                        <a:pt x="149409" y="565480"/>
                        <a:pt x="151200" y="569690"/>
                        <a:pt x="152467" y="572805"/>
                      </a:cubicBezTo>
                      <a:cubicBezTo>
                        <a:pt x="153524" y="575415"/>
                        <a:pt x="156239" y="580301"/>
                        <a:pt x="156039" y="583064"/>
                      </a:cubicBezTo>
                      <a:cubicBezTo>
                        <a:pt x="155715" y="587350"/>
                        <a:pt x="154057" y="585759"/>
                        <a:pt x="152076" y="589255"/>
                      </a:cubicBezTo>
                      <a:cubicBezTo>
                        <a:pt x="151076" y="591026"/>
                        <a:pt x="150971" y="594160"/>
                        <a:pt x="150057" y="595246"/>
                      </a:cubicBezTo>
                      <a:cubicBezTo>
                        <a:pt x="148800" y="596742"/>
                        <a:pt x="145885" y="595932"/>
                        <a:pt x="144237" y="598466"/>
                      </a:cubicBezTo>
                      <a:cubicBezTo>
                        <a:pt x="139503" y="605676"/>
                        <a:pt x="149076" y="621154"/>
                        <a:pt x="152009" y="628536"/>
                      </a:cubicBezTo>
                      <a:cubicBezTo>
                        <a:pt x="153467" y="632213"/>
                        <a:pt x="153124" y="635194"/>
                        <a:pt x="155381" y="638785"/>
                      </a:cubicBezTo>
                      <a:cubicBezTo>
                        <a:pt x="157477" y="642118"/>
                        <a:pt x="160592" y="644747"/>
                        <a:pt x="162620" y="648100"/>
                      </a:cubicBezTo>
                      <a:cubicBezTo>
                        <a:pt x="164840" y="651767"/>
                        <a:pt x="165840" y="656234"/>
                        <a:pt x="168650" y="659606"/>
                      </a:cubicBezTo>
                      <a:cubicBezTo>
                        <a:pt x="170850" y="662235"/>
                        <a:pt x="175098" y="662292"/>
                        <a:pt x="173498" y="667007"/>
                      </a:cubicBezTo>
                      <a:cubicBezTo>
                        <a:pt x="171536" y="672789"/>
                        <a:pt x="162058" y="669370"/>
                        <a:pt x="163154" y="678199"/>
                      </a:cubicBezTo>
                      <a:cubicBezTo>
                        <a:pt x="163602" y="681847"/>
                        <a:pt x="165973" y="685362"/>
                        <a:pt x="166459" y="689258"/>
                      </a:cubicBezTo>
                      <a:cubicBezTo>
                        <a:pt x="166764" y="691687"/>
                        <a:pt x="166288" y="693658"/>
                        <a:pt x="166916" y="696040"/>
                      </a:cubicBezTo>
                      <a:cubicBezTo>
                        <a:pt x="157744" y="693839"/>
                        <a:pt x="166888" y="702459"/>
                        <a:pt x="167897" y="705669"/>
                      </a:cubicBezTo>
                      <a:cubicBezTo>
                        <a:pt x="168945" y="709013"/>
                        <a:pt x="166516" y="711832"/>
                        <a:pt x="166545" y="712013"/>
                      </a:cubicBezTo>
                      <a:cubicBezTo>
                        <a:pt x="167097" y="715604"/>
                        <a:pt x="170155" y="715709"/>
                        <a:pt x="171241" y="718566"/>
                      </a:cubicBezTo>
                      <a:cubicBezTo>
                        <a:pt x="172507" y="721919"/>
                        <a:pt x="169431" y="728824"/>
                        <a:pt x="171688" y="734273"/>
                      </a:cubicBezTo>
                      <a:cubicBezTo>
                        <a:pt x="174784" y="741750"/>
                        <a:pt x="179127" y="750113"/>
                        <a:pt x="182823" y="757733"/>
                      </a:cubicBezTo>
                      <a:cubicBezTo>
                        <a:pt x="183956" y="760066"/>
                        <a:pt x="194005" y="772430"/>
                        <a:pt x="192967" y="774773"/>
                      </a:cubicBezTo>
                      <a:cubicBezTo>
                        <a:pt x="191386" y="778335"/>
                        <a:pt x="187290" y="774849"/>
                        <a:pt x="186166" y="777135"/>
                      </a:cubicBezTo>
                      <a:cubicBezTo>
                        <a:pt x="184290" y="780945"/>
                        <a:pt x="187547" y="780726"/>
                        <a:pt x="188262" y="783803"/>
                      </a:cubicBezTo>
                      <a:cubicBezTo>
                        <a:pt x="189510" y="789175"/>
                        <a:pt x="191033" y="799138"/>
                        <a:pt x="195415" y="803939"/>
                      </a:cubicBezTo>
                      <a:cubicBezTo>
                        <a:pt x="197006" y="805682"/>
                        <a:pt x="215941" y="811711"/>
                        <a:pt x="205731" y="814007"/>
                      </a:cubicBezTo>
                      <a:cubicBezTo>
                        <a:pt x="207093" y="818512"/>
                        <a:pt x="211227" y="818740"/>
                        <a:pt x="213551" y="822103"/>
                      </a:cubicBezTo>
                      <a:cubicBezTo>
                        <a:pt x="214236" y="823093"/>
                        <a:pt x="214484" y="825008"/>
                        <a:pt x="214941" y="825656"/>
                      </a:cubicBezTo>
                      <a:cubicBezTo>
                        <a:pt x="214808" y="825456"/>
                        <a:pt x="217161" y="829180"/>
                        <a:pt x="217370" y="829685"/>
                      </a:cubicBezTo>
                      <a:cubicBezTo>
                        <a:pt x="219018" y="833599"/>
                        <a:pt x="218151" y="834057"/>
                        <a:pt x="218599" y="837905"/>
                      </a:cubicBezTo>
                      <a:cubicBezTo>
                        <a:pt x="218875" y="840315"/>
                        <a:pt x="220532" y="845344"/>
                        <a:pt x="222514" y="846677"/>
                      </a:cubicBezTo>
                      <a:cubicBezTo>
                        <a:pt x="228400" y="850621"/>
                        <a:pt x="244316" y="843248"/>
                        <a:pt x="241954" y="855507"/>
                      </a:cubicBezTo>
                      <a:cubicBezTo>
                        <a:pt x="240983" y="860546"/>
                        <a:pt x="240068" y="858593"/>
                        <a:pt x="234429" y="858555"/>
                      </a:cubicBezTo>
                      <a:cubicBezTo>
                        <a:pt x="229981" y="858536"/>
                        <a:pt x="225390" y="860155"/>
                        <a:pt x="221028" y="858879"/>
                      </a:cubicBezTo>
                      <a:cubicBezTo>
                        <a:pt x="222152" y="864984"/>
                        <a:pt x="234001" y="864461"/>
                        <a:pt x="238706" y="867470"/>
                      </a:cubicBezTo>
                      <a:cubicBezTo>
                        <a:pt x="240106" y="868375"/>
                        <a:pt x="245888" y="872100"/>
                        <a:pt x="246507" y="873319"/>
                      </a:cubicBezTo>
                      <a:cubicBezTo>
                        <a:pt x="248622" y="877472"/>
                        <a:pt x="244897" y="878367"/>
                        <a:pt x="246317" y="882215"/>
                      </a:cubicBezTo>
                      <a:cubicBezTo>
                        <a:pt x="234801" y="880596"/>
                        <a:pt x="245526" y="891292"/>
                        <a:pt x="246869" y="893741"/>
                      </a:cubicBezTo>
                      <a:cubicBezTo>
                        <a:pt x="247860" y="895531"/>
                        <a:pt x="249069" y="895379"/>
                        <a:pt x="249146" y="897503"/>
                      </a:cubicBezTo>
                      <a:cubicBezTo>
                        <a:pt x="249231" y="899789"/>
                        <a:pt x="246364" y="899579"/>
                        <a:pt x="246364" y="901265"/>
                      </a:cubicBezTo>
                      <a:cubicBezTo>
                        <a:pt x="246364" y="903980"/>
                        <a:pt x="248279" y="904532"/>
                        <a:pt x="250460" y="907018"/>
                      </a:cubicBezTo>
                      <a:cubicBezTo>
                        <a:pt x="254613" y="911752"/>
                        <a:pt x="256775" y="915753"/>
                        <a:pt x="256232" y="921163"/>
                      </a:cubicBezTo>
                      <a:cubicBezTo>
                        <a:pt x="255899" y="924525"/>
                        <a:pt x="253498" y="923782"/>
                        <a:pt x="255137" y="928326"/>
                      </a:cubicBezTo>
                      <a:cubicBezTo>
                        <a:pt x="256146" y="931155"/>
                        <a:pt x="258213" y="933126"/>
                        <a:pt x="259852" y="935422"/>
                      </a:cubicBezTo>
                      <a:cubicBezTo>
                        <a:pt x="257147" y="935641"/>
                        <a:pt x="254889" y="940070"/>
                        <a:pt x="254270" y="942280"/>
                      </a:cubicBezTo>
                      <a:cubicBezTo>
                        <a:pt x="253403" y="945375"/>
                        <a:pt x="253127" y="946747"/>
                        <a:pt x="253518" y="950662"/>
                      </a:cubicBezTo>
                      <a:cubicBezTo>
                        <a:pt x="254175" y="957206"/>
                        <a:pt x="254108" y="956796"/>
                        <a:pt x="258518" y="961082"/>
                      </a:cubicBezTo>
                      <a:cubicBezTo>
                        <a:pt x="261014" y="963501"/>
                        <a:pt x="265138" y="965968"/>
                        <a:pt x="264900" y="969950"/>
                      </a:cubicBezTo>
                      <a:cubicBezTo>
                        <a:pt x="264690" y="973484"/>
                        <a:pt x="260928" y="973169"/>
                        <a:pt x="260747" y="976941"/>
                      </a:cubicBezTo>
                      <a:cubicBezTo>
                        <a:pt x="260604" y="980027"/>
                        <a:pt x="265500" y="982513"/>
                        <a:pt x="264576" y="986314"/>
                      </a:cubicBezTo>
                      <a:cubicBezTo>
                        <a:pt x="263147" y="992200"/>
                        <a:pt x="250898" y="992467"/>
                        <a:pt x="258794" y="1001554"/>
                      </a:cubicBezTo>
                      <a:cubicBezTo>
                        <a:pt x="256032" y="1001697"/>
                        <a:pt x="253270" y="1001821"/>
                        <a:pt x="250508" y="1001964"/>
                      </a:cubicBezTo>
                      <a:cubicBezTo>
                        <a:pt x="250946" y="1009193"/>
                        <a:pt x="254927" y="1014346"/>
                        <a:pt x="257966" y="1020785"/>
                      </a:cubicBezTo>
                      <a:cubicBezTo>
                        <a:pt x="261271" y="1027786"/>
                        <a:pt x="267900" y="1032158"/>
                        <a:pt x="272863" y="1038015"/>
                      </a:cubicBezTo>
                      <a:cubicBezTo>
                        <a:pt x="274672" y="1040149"/>
                        <a:pt x="277035" y="1044559"/>
                        <a:pt x="279654" y="1045759"/>
                      </a:cubicBezTo>
                      <a:cubicBezTo>
                        <a:pt x="284312" y="1047903"/>
                        <a:pt x="282997" y="1045121"/>
                        <a:pt x="287569" y="1043788"/>
                      </a:cubicBezTo>
                      <a:cubicBezTo>
                        <a:pt x="294561" y="1041759"/>
                        <a:pt x="299752" y="1043016"/>
                        <a:pt x="303838" y="1049446"/>
                      </a:cubicBezTo>
                      <a:cubicBezTo>
                        <a:pt x="305734" y="1052436"/>
                        <a:pt x="305143" y="1055684"/>
                        <a:pt x="305914" y="1057532"/>
                      </a:cubicBezTo>
                      <a:cubicBezTo>
                        <a:pt x="307210" y="1060647"/>
                        <a:pt x="309934" y="1062104"/>
                        <a:pt x="311153" y="1065352"/>
                      </a:cubicBezTo>
                      <a:cubicBezTo>
                        <a:pt x="312868" y="1069896"/>
                        <a:pt x="311506" y="1070829"/>
                        <a:pt x="314782" y="1074296"/>
                      </a:cubicBezTo>
                      <a:cubicBezTo>
                        <a:pt x="317373" y="1077040"/>
                        <a:pt x="320993" y="1077811"/>
                        <a:pt x="324126" y="1079687"/>
                      </a:cubicBezTo>
                      <a:cubicBezTo>
                        <a:pt x="327251" y="1081554"/>
                        <a:pt x="328784" y="1085012"/>
                        <a:pt x="331537" y="1086241"/>
                      </a:cubicBezTo>
                      <a:cubicBezTo>
                        <a:pt x="334480" y="1087565"/>
                        <a:pt x="341624" y="1086365"/>
                        <a:pt x="344796" y="1086403"/>
                      </a:cubicBezTo>
                      <a:cubicBezTo>
                        <a:pt x="353311" y="1086517"/>
                        <a:pt x="361836" y="1086565"/>
                        <a:pt x="370351" y="1086669"/>
                      </a:cubicBezTo>
                      <a:cubicBezTo>
                        <a:pt x="380829" y="1086803"/>
                        <a:pt x="390039" y="1089498"/>
                        <a:pt x="400231" y="1090860"/>
                      </a:cubicBezTo>
                      <a:cubicBezTo>
                        <a:pt x="405660" y="1091584"/>
                        <a:pt x="422672" y="1093108"/>
                        <a:pt x="425444" y="1097804"/>
                      </a:cubicBezTo>
                      <a:cubicBezTo>
                        <a:pt x="420110" y="1096813"/>
                        <a:pt x="404527" y="1090641"/>
                        <a:pt x="399812" y="1094566"/>
                      </a:cubicBezTo>
                      <a:cubicBezTo>
                        <a:pt x="397478" y="1096509"/>
                        <a:pt x="398478" y="1099728"/>
                        <a:pt x="395764" y="1101890"/>
                      </a:cubicBezTo>
                      <a:cubicBezTo>
                        <a:pt x="393535" y="1103671"/>
                        <a:pt x="384924" y="1105729"/>
                        <a:pt x="381962" y="1106777"/>
                      </a:cubicBezTo>
                      <a:cubicBezTo>
                        <a:pt x="372151" y="1110215"/>
                        <a:pt x="372504" y="1109929"/>
                        <a:pt x="374799" y="1119845"/>
                      </a:cubicBezTo>
                      <a:cubicBezTo>
                        <a:pt x="375771" y="1124026"/>
                        <a:pt x="375695" y="1127598"/>
                        <a:pt x="377676" y="1131599"/>
                      </a:cubicBezTo>
                      <a:cubicBezTo>
                        <a:pt x="379248" y="1134780"/>
                        <a:pt x="384315" y="1139743"/>
                        <a:pt x="382172" y="1143353"/>
                      </a:cubicBezTo>
                      <a:cubicBezTo>
                        <a:pt x="378114" y="1150144"/>
                        <a:pt x="340528" y="1137923"/>
                        <a:pt x="340547" y="1129113"/>
                      </a:cubicBezTo>
                      <a:cubicBezTo>
                        <a:pt x="340557" y="1124979"/>
                        <a:pt x="345138" y="1125455"/>
                        <a:pt x="348110" y="1125808"/>
                      </a:cubicBezTo>
                      <a:cubicBezTo>
                        <a:pt x="354854" y="1126617"/>
                        <a:pt x="352349" y="1129770"/>
                        <a:pt x="355930" y="1132504"/>
                      </a:cubicBezTo>
                      <a:cubicBezTo>
                        <a:pt x="356016" y="1132570"/>
                        <a:pt x="358035" y="1136590"/>
                        <a:pt x="357988" y="1132523"/>
                      </a:cubicBezTo>
                      <a:cubicBezTo>
                        <a:pt x="357969" y="1130808"/>
                        <a:pt x="354968" y="1126903"/>
                        <a:pt x="355559" y="1125398"/>
                      </a:cubicBezTo>
                      <a:cubicBezTo>
                        <a:pt x="356159" y="1123855"/>
                        <a:pt x="360664" y="1122874"/>
                        <a:pt x="361826" y="1121636"/>
                      </a:cubicBezTo>
                      <a:cubicBezTo>
                        <a:pt x="369265" y="1113692"/>
                        <a:pt x="360369" y="1109434"/>
                        <a:pt x="353492" y="1113568"/>
                      </a:cubicBezTo>
                      <a:cubicBezTo>
                        <a:pt x="346948" y="1117521"/>
                        <a:pt x="334261" y="1123169"/>
                        <a:pt x="338861" y="1132570"/>
                      </a:cubicBezTo>
                      <a:cubicBezTo>
                        <a:pt x="332908" y="1131580"/>
                        <a:pt x="325365" y="1128732"/>
                        <a:pt x="322945" y="1124160"/>
                      </a:cubicBezTo>
                      <a:cubicBezTo>
                        <a:pt x="323355" y="1124941"/>
                        <a:pt x="321393" y="1115949"/>
                        <a:pt x="321393" y="1116044"/>
                      </a:cubicBezTo>
                      <a:cubicBezTo>
                        <a:pt x="321240" y="1113901"/>
                        <a:pt x="320688" y="1111901"/>
                        <a:pt x="323212" y="1110558"/>
                      </a:cubicBezTo>
                      <a:cubicBezTo>
                        <a:pt x="325193" y="1109510"/>
                        <a:pt x="325926" y="1112415"/>
                        <a:pt x="326641" y="1112301"/>
                      </a:cubicBezTo>
                      <a:cubicBezTo>
                        <a:pt x="330651" y="1111615"/>
                        <a:pt x="331222" y="1110272"/>
                        <a:pt x="334785" y="1108853"/>
                      </a:cubicBezTo>
                      <a:cubicBezTo>
                        <a:pt x="339004" y="1107157"/>
                        <a:pt x="349177" y="1109758"/>
                        <a:pt x="351501" y="1105633"/>
                      </a:cubicBezTo>
                      <a:cubicBezTo>
                        <a:pt x="345300" y="1103338"/>
                        <a:pt x="337604" y="1102347"/>
                        <a:pt x="331089" y="1103252"/>
                      </a:cubicBezTo>
                      <a:cubicBezTo>
                        <a:pt x="329670" y="1103452"/>
                        <a:pt x="329146" y="1106281"/>
                        <a:pt x="328374" y="1106281"/>
                      </a:cubicBezTo>
                      <a:cubicBezTo>
                        <a:pt x="327289" y="1106272"/>
                        <a:pt x="326336" y="1104157"/>
                        <a:pt x="325641" y="1104195"/>
                      </a:cubicBezTo>
                      <a:cubicBezTo>
                        <a:pt x="322888" y="1104329"/>
                        <a:pt x="321431" y="1102195"/>
                        <a:pt x="319269" y="1104405"/>
                      </a:cubicBezTo>
                      <a:cubicBezTo>
                        <a:pt x="321107" y="1102528"/>
                        <a:pt x="318326" y="1112387"/>
                        <a:pt x="318354" y="1111177"/>
                      </a:cubicBezTo>
                      <a:cubicBezTo>
                        <a:pt x="318306" y="1112806"/>
                        <a:pt x="320335" y="1118483"/>
                        <a:pt x="319459" y="1119492"/>
                      </a:cubicBezTo>
                      <a:cubicBezTo>
                        <a:pt x="315239" y="1124331"/>
                        <a:pt x="305181" y="1114254"/>
                        <a:pt x="301219" y="1112920"/>
                      </a:cubicBezTo>
                      <a:cubicBezTo>
                        <a:pt x="304286" y="1111634"/>
                        <a:pt x="317068" y="1102814"/>
                        <a:pt x="307286" y="1101919"/>
                      </a:cubicBezTo>
                      <a:cubicBezTo>
                        <a:pt x="311125" y="1107634"/>
                        <a:pt x="292922" y="1109786"/>
                        <a:pt x="288293" y="1106196"/>
                      </a:cubicBezTo>
                      <a:cubicBezTo>
                        <a:pt x="286160" y="1104548"/>
                        <a:pt x="284017" y="1100442"/>
                        <a:pt x="281750" y="1098499"/>
                      </a:cubicBezTo>
                      <a:cubicBezTo>
                        <a:pt x="279092" y="1096232"/>
                        <a:pt x="275987" y="1092994"/>
                        <a:pt x="273129" y="1090270"/>
                      </a:cubicBezTo>
                      <a:cubicBezTo>
                        <a:pt x="275815" y="1090356"/>
                        <a:pt x="294627" y="1097376"/>
                        <a:pt x="288027" y="1089003"/>
                      </a:cubicBezTo>
                      <a:cubicBezTo>
                        <a:pt x="291141" y="1090251"/>
                        <a:pt x="294846" y="1092213"/>
                        <a:pt x="298504" y="1091784"/>
                      </a:cubicBezTo>
                      <a:cubicBezTo>
                        <a:pt x="302895" y="1091270"/>
                        <a:pt x="305981" y="1085317"/>
                        <a:pt x="308362" y="1085060"/>
                      </a:cubicBezTo>
                      <a:cubicBezTo>
                        <a:pt x="310687" y="1084802"/>
                        <a:pt x="315420" y="1088984"/>
                        <a:pt x="316430" y="1090765"/>
                      </a:cubicBezTo>
                      <a:cubicBezTo>
                        <a:pt x="317459" y="1092584"/>
                        <a:pt x="318583" y="1098966"/>
                        <a:pt x="318992" y="1098461"/>
                      </a:cubicBezTo>
                      <a:cubicBezTo>
                        <a:pt x="321021" y="1095928"/>
                        <a:pt x="320469" y="1094880"/>
                        <a:pt x="318992" y="1091927"/>
                      </a:cubicBezTo>
                      <a:cubicBezTo>
                        <a:pt x="318068" y="1090079"/>
                        <a:pt x="315011" y="1089174"/>
                        <a:pt x="314230" y="1087250"/>
                      </a:cubicBezTo>
                      <a:cubicBezTo>
                        <a:pt x="313468" y="1085364"/>
                        <a:pt x="314820" y="1083678"/>
                        <a:pt x="314620" y="1083117"/>
                      </a:cubicBezTo>
                      <a:cubicBezTo>
                        <a:pt x="312934" y="1078421"/>
                        <a:pt x="295608" y="1064914"/>
                        <a:pt x="290970" y="1070115"/>
                      </a:cubicBezTo>
                      <a:cubicBezTo>
                        <a:pt x="295990" y="1071944"/>
                        <a:pt x="309677" y="1074325"/>
                        <a:pt x="311248" y="1080230"/>
                      </a:cubicBezTo>
                      <a:cubicBezTo>
                        <a:pt x="308715" y="1080888"/>
                        <a:pt x="305743" y="1081221"/>
                        <a:pt x="303486" y="1082459"/>
                      </a:cubicBezTo>
                      <a:cubicBezTo>
                        <a:pt x="301228" y="1083707"/>
                        <a:pt x="299256" y="1087536"/>
                        <a:pt x="296542" y="1088098"/>
                      </a:cubicBezTo>
                      <a:cubicBezTo>
                        <a:pt x="290798" y="1089279"/>
                        <a:pt x="289027" y="1084164"/>
                        <a:pt x="284455" y="1081526"/>
                      </a:cubicBezTo>
                      <a:cubicBezTo>
                        <a:pt x="281216" y="1079640"/>
                        <a:pt x="277987" y="1080221"/>
                        <a:pt x="275130" y="1079402"/>
                      </a:cubicBezTo>
                      <a:cubicBezTo>
                        <a:pt x="267500" y="1077201"/>
                        <a:pt x="269005" y="1070886"/>
                        <a:pt x="274453" y="1074515"/>
                      </a:cubicBezTo>
                      <a:cubicBezTo>
                        <a:pt x="269043" y="1061257"/>
                        <a:pt x="264481" y="1063266"/>
                        <a:pt x="252203" y="1059761"/>
                      </a:cubicBezTo>
                      <a:cubicBezTo>
                        <a:pt x="243192" y="1057180"/>
                        <a:pt x="235334" y="1052903"/>
                        <a:pt x="229657" y="1045007"/>
                      </a:cubicBezTo>
                      <a:cubicBezTo>
                        <a:pt x="231372" y="1044988"/>
                        <a:pt x="237630" y="1045969"/>
                        <a:pt x="238935" y="1044531"/>
                      </a:cubicBezTo>
                      <a:cubicBezTo>
                        <a:pt x="241259" y="1041978"/>
                        <a:pt x="238392" y="1043816"/>
                        <a:pt x="237792" y="1040749"/>
                      </a:cubicBezTo>
                      <a:cubicBezTo>
                        <a:pt x="237344" y="1038425"/>
                        <a:pt x="233477" y="1039654"/>
                        <a:pt x="234934" y="1036415"/>
                      </a:cubicBezTo>
                      <a:cubicBezTo>
                        <a:pt x="236211" y="1033558"/>
                        <a:pt x="239011" y="1036063"/>
                        <a:pt x="240963" y="1036749"/>
                      </a:cubicBezTo>
                      <a:cubicBezTo>
                        <a:pt x="251231" y="1040368"/>
                        <a:pt x="254765" y="1051732"/>
                        <a:pt x="266843" y="1053103"/>
                      </a:cubicBezTo>
                      <a:cubicBezTo>
                        <a:pt x="264443" y="1050589"/>
                        <a:pt x="263033" y="1044959"/>
                        <a:pt x="267176" y="1044064"/>
                      </a:cubicBezTo>
                      <a:cubicBezTo>
                        <a:pt x="265147" y="1043026"/>
                        <a:pt x="263900" y="1041397"/>
                        <a:pt x="263757" y="1039073"/>
                      </a:cubicBezTo>
                      <a:cubicBezTo>
                        <a:pt x="259985" y="1041359"/>
                        <a:pt x="264643" y="1048674"/>
                        <a:pt x="259937" y="1049074"/>
                      </a:cubicBezTo>
                      <a:cubicBezTo>
                        <a:pt x="256851" y="1049331"/>
                        <a:pt x="250517" y="1041502"/>
                        <a:pt x="249965" y="1038844"/>
                      </a:cubicBezTo>
                      <a:cubicBezTo>
                        <a:pt x="252117" y="1039111"/>
                        <a:pt x="254270" y="1039378"/>
                        <a:pt x="256423" y="1039644"/>
                      </a:cubicBezTo>
                      <a:cubicBezTo>
                        <a:pt x="249222" y="1035891"/>
                        <a:pt x="241278" y="1033320"/>
                        <a:pt x="233925" y="1029672"/>
                      </a:cubicBezTo>
                      <a:cubicBezTo>
                        <a:pt x="236192" y="1027176"/>
                        <a:pt x="237039" y="1023690"/>
                        <a:pt x="239611" y="1023004"/>
                      </a:cubicBezTo>
                      <a:cubicBezTo>
                        <a:pt x="242602" y="1022214"/>
                        <a:pt x="245250" y="1024652"/>
                        <a:pt x="248155" y="1023395"/>
                      </a:cubicBezTo>
                      <a:cubicBezTo>
                        <a:pt x="244459" y="1020728"/>
                        <a:pt x="235210" y="1020289"/>
                        <a:pt x="234267" y="1013793"/>
                      </a:cubicBezTo>
                      <a:cubicBezTo>
                        <a:pt x="233229" y="1006678"/>
                        <a:pt x="241097" y="1011307"/>
                        <a:pt x="245335" y="1011241"/>
                      </a:cubicBezTo>
                      <a:cubicBezTo>
                        <a:pt x="242002" y="1006964"/>
                        <a:pt x="237544" y="1007298"/>
                        <a:pt x="235106" y="1002573"/>
                      </a:cubicBezTo>
                      <a:cubicBezTo>
                        <a:pt x="233877" y="1000173"/>
                        <a:pt x="232629" y="994991"/>
                        <a:pt x="234020" y="993515"/>
                      </a:cubicBezTo>
                      <a:cubicBezTo>
                        <a:pt x="232934" y="992924"/>
                        <a:pt x="233248" y="992543"/>
                        <a:pt x="231372" y="992877"/>
                      </a:cubicBezTo>
                      <a:cubicBezTo>
                        <a:pt x="233086" y="997306"/>
                        <a:pt x="232801" y="1002964"/>
                        <a:pt x="233658" y="1007821"/>
                      </a:cubicBezTo>
                      <a:cubicBezTo>
                        <a:pt x="226609" y="1005792"/>
                        <a:pt x="223971" y="996505"/>
                        <a:pt x="221018" y="990533"/>
                      </a:cubicBezTo>
                      <a:cubicBezTo>
                        <a:pt x="217332" y="983085"/>
                        <a:pt x="214570" y="977332"/>
                        <a:pt x="223428" y="975522"/>
                      </a:cubicBezTo>
                      <a:cubicBezTo>
                        <a:pt x="217694" y="972550"/>
                        <a:pt x="215217" y="976960"/>
                        <a:pt x="209960" y="973579"/>
                      </a:cubicBezTo>
                      <a:cubicBezTo>
                        <a:pt x="205626" y="970788"/>
                        <a:pt x="203016" y="965149"/>
                        <a:pt x="201063" y="960530"/>
                      </a:cubicBezTo>
                      <a:cubicBezTo>
                        <a:pt x="206654" y="960730"/>
                        <a:pt x="213770" y="961006"/>
                        <a:pt x="219199" y="961920"/>
                      </a:cubicBezTo>
                      <a:cubicBezTo>
                        <a:pt x="224561" y="962816"/>
                        <a:pt x="229753" y="968026"/>
                        <a:pt x="235296" y="966149"/>
                      </a:cubicBezTo>
                      <a:cubicBezTo>
                        <a:pt x="232467" y="964292"/>
                        <a:pt x="228838" y="962558"/>
                        <a:pt x="226295" y="959968"/>
                      </a:cubicBezTo>
                      <a:cubicBezTo>
                        <a:pt x="223276" y="956863"/>
                        <a:pt x="221599" y="951729"/>
                        <a:pt x="217980" y="949900"/>
                      </a:cubicBezTo>
                      <a:cubicBezTo>
                        <a:pt x="219313" y="958548"/>
                        <a:pt x="213331" y="961882"/>
                        <a:pt x="205607" y="957977"/>
                      </a:cubicBezTo>
                      <a:cubicBezTo>
                        <a:pt x="204254" y="957291"/>
                        <a:pt x="204416" y="955520"/>
                        <a:pt x="203044" y="954729"/>
                      </a:cubicBezTo>
                      <a:cubicBezTo>
                        <a:pt x="201654" y="953919"/>
                        <a:pt x="199120" y="954357"/>
                        <a:pt x="198034" y="953415"/>
                      </a:cubicBezTo>
                      <a:cubicBezTo>
                        <a:pt x="196510" y="952090"/>
                        <a:pt x="192481" y="950043"/>
                        <a:pt x="195691" y="947338"/>
                      </a:cubicBezTo>
                      <a:cubicBezTo>
                        <a:pt x="197368" y="945937"/>
                        <a:pt x="210036" y="953996"/>
                        <a:pt x="205369" y="947147"/>
                      </a:cubicBezTo>
                      <a:cubicBezTo>
                        <a:pt x="202416" y="942804"/>
                        <a:pt x="187700" y="942985"/>
                        <a:pt x="199987" y="934812"/>
                      </a:cubicBezTo>
                      <a:cubicBezTo>
                        <a:pt x="195405" y="931469"/>
                        <a:pt x="197158" y="925163"/>
                        <a:pt x="190529" y="922772"/>
                      </a:cubicBezTo>
                      <a:cubicBezTo>
                        <a:pt x="186538" y="921344"/>
                        <a:pt x="184356" y="921820"/>
                        <a:pt x="187023" y="925459"/>
                      </a:cubicBezTo>
                      <a:cubicBezTo>
                        <a:pt x="180994" y="925316"/>
                        <a:pt x="166183" y="922115"/>
                        <a:pt x="168050" y="913686"/>
                      </a:cubicBezTo>
                      <a:cubicBezTo>
                        <a:pt x="166192" y="915524"/>
                        <a:pt x="155924" y="918248"/>
                        <a:pt x="155867" y="920496"/>
                      </a:cubicBezTo>
                      <a:cubicBezTo>
                        <a:pt x="155867" y="920420"/>
                        <a:pt x="167488" y="925116"/>
                        <a:pt x="161315" y="927125"/>
                      </a:cubicBezTo>
                      <a:cubicBezTo>
                        <a:pt x="156115" y="928811"/>
                        <a:pt x="151181" y="919810"/>
                        <a:pt x="152267" y="916153"/>
                      </a:cubicBezTo>
                      <a:cubicBezTo>
                        <a:pt x="153267" y="912781"/>
                        <a:pt x="161573" y="904427"/>
                        <a:pt x="164392" y="902589"/>
                      </a:cubicBezTo>
                      <a:cubicBezTo>
                        <a:pt x="160830" y="900370"/>
                        <a:pt x="157382" y="897912"/>
                        <a:pt x="156362" y="893617"/>
                      </a:cubicBezTo>
                      <a:cubicBezTo>
                        <a:pt x="161763" y="892426"/>
                        <a:pt x="173165" y="894550"/>
                        <a:pt x="177422" y="890797"/>
                      </a:cubicBezTo>
                      <a:cubicBezTo>
                        <a:pt x="183223" y="885701"/>
                        <a:pt x="173346" y="884663"/>
                        <a:pt x="176698" y="879881"/>
                      </a:cubicBezTo>
                      <a:cubicBezTo>
                        <a:pt x="182242" y="871947"/>
                        <a:pt x="184890" y="889930"/>
                        <a:pt x="185166" y="891483"/>
                      </a:cubicBezTo>
                      <a:cubicBezTo>
                        <a:pt x="185366" y="892607"/>
                        <a:pt x="184576" y="894283"/>
                        <a:pt x="184737" y="895064"/>
                      </a:cubicBezTo>
                      <a:cubicBezTo>
                        <a:pt x="184823" y="895503"/>
                        <a:pt x="186976" y="899303"/>
                        <a:pt x="186976" y="899313"/>
                      </a:cubicBezTo>
                      <a:cubicBezTo>
                        <a:pt x="185900" y="902827"/>
                        <a:pt x="183023" y="903446"/>
                        <a:pt x="179403" y="904408"/>
                      </a:cubicBezTo>
                      <a:cubicBezTo>
                        <a:pt x="181899" y="905799"/>
                        <a:pt x="188224" y="905751"/>
                        <a:pt x="189814" y="902418"/>
                      </a:cubicBezTo>
                      <a:cubicBezTo>
                        <a:pt x="191291" y="899303"/>
                        <a:pt x="184728" y="893074"/>
                        <a:pt x="189529" y="891778"/>
                      </a:cubicBezTo>
                      <a:cubicBezTo>
                        <a:pt x="197491" y="889616"/>
                        <a:pt x="195167" y="910971"/>
                        <a:pt x="195958" y="912819"/>
                      </a:cubicBezTo>
                      <a:cubicBezTo>
                        <a:pt x="199549" y="921277"/>
                        <a:pt x="199596" y="906694"/>
                        <a:pt x="198301" y="902570"/>
                      </a:cubicBezTo>
                      <a:cubicBezTo>
                        <a:pt x="197272" y="899303"/>
                        <a:pt x="196758" y="893674"/>
                        <a:pt x="194510" y="891026"/>
                      </a:cubicBezTo>
                      <a:cubicBezTo>
                        <a:pt x="190995" y="886854"/>
                        <a:pt x="186433" y="888483"/>
                        <a:pt x="186328" y="881177"/>
                      </a:cubicBezTo>
                      <a:cubicBezTo>
                        <a:pt x="191967" y="882777"/>
                        <a:pt x="192586" y="877576"/>
                        <a:pt x="197320" y="877024"/>
                      </a:cubicBezTo>
                      <a:cubicBezTo>
                        <a:pt x="200511" y="876653"/>
                        <a:pt x="204111" y="879786"/>
                        <a:pt x="207293" y="880320"/>
                      </a:cubicBezTo>
                      <a:cubicBezTo>
                        <a:pt x="205654" y="878424"/>
                        <a:pt x="203768" y="878081"/>
                        <a:pt x="201559" y="876891"/>
                      </a:cubicBezTo>
                      <a:cubicBezTo>
                        <a:pt x="200139" y="876129"/>
                        <a:pt x="191014" y="874052"/>
                        <a:pt x="190510" y="873566"/>
                      </a:cubicBezTo>
                      <a:cubicBezTo>
                        <a:pt x="183204" y="866508"/>
                        <a:pt x="196053" y="863880"/>
                        <a:pt x="199082" y="860632"/>
                      </a:cubicBezTo>
                      <a:cubicBezTo>
                        <a:pt x="206093" y="853088"/>
                        <a:pt x="199615" y="848525"/>
                        <a:pt x="192129" y="845401"/>
                      </a:cubicBezTo>
                      <a:cubicBezTo>
                        <a:pt x="189157" y="844163"/>
                        <a:pt x="183547" y="842610"/>
                        <a:pt x="181308" y="840439"/>
                      </a:cubicBezTo>
                      <a:cubicBezTo>
                        <a:pt x="179146" y="838343"/>
                        <a:pt x="178727" y="834380"/>
                        <a:pt x="177498" y="831352"/>
                      </a:cubicBezTo>
                      <a:cubicBezTo>
                        <a:pt x="187395" y="831371"/>
                        <a:pt x="176022" y="820007"/>
                        <a:pt x="174974" y="817683"/>
                      </a:cubicBezTo>
                      <a:cubicBezTo>
                        <a:pt x="173346" y="814092"/>
                        <a:pt x="174469" y="804015"/>
                        <a:pt x="178327" y="804310"/>
                      </a:cubicBezTo>
                      <a:cubicBezTo>
                        <a:pt x="176213" y="797519"/>
                        <a:pt x="169831" y="795757"/>
                        <a:pt x="170640" y="787480"/>
                      </a:cubicBezTo>
                      <a:cubicBezTo>
                        <a:pt x="171764" y="787708"/>
                        <a:pt x="173593" y="787384"/>
                        <a:pt x="174593" y="787622"/>
                      </a:cubicBezTo>
                      <a:cubicBezTo>
                        <a:pt x="172564" y="786013"/>
                        <a:pt x="165564" y="781441"/>
                        <a:pt x="168307" y="778802"/>
                      </a:cubicBezTo>
                      <a:cubicBezTo>
                        <a:pt x="171536" y="775697"/>
                        <a:pt x="177213" y="783365"/>
                        <a:pt x="179099" y="785241"/>
                      </a:cubicBezTo>
                      <a:cubicBezTo>
                        <a:pt x="178432" y="782050"/>
                        <a:pt x="175889" y="778231"/>
                        <a:pt x="173784" y="775573"/>
                      </a:cubicBezTo>
                      <a:cubicBezTo>
                        <a:pt x="171545" y="772744"/>
                        <a:pt x="171917" y="772487"/>
                        <a:pt x="169612" y="771420"/>
                      </a:cubicBezTo>
                      <a:cubicBezTo>
                        <a:pt x="167926" y="770649"/>
                        <a:pt x="165573" y="772230"/>
                        <a:pt x="163516" y="770563"/>
                      </a:cubicBezTo>
                      <a:cubicBezTo>
                        <a:pt x="155267" y="763905"/>
                        <a:pt x="173546" y="764096"/>
                        <a:pt x="169726" y="755780"/>
                      </a:cubicBezTo>
                      <a:cubicBezTo>
                        <a:pt x="164878" y="769725"/>
                        <a:pt x="158687" y="751456"/>
                        <a:pt x="151000" y="757685"/>
                      </a:cubicBezTo>
                      <a:cubicBezTo>
                        <a:pt x="149333" y="759038"/>
                        <a:pt x="150467" y="762800"/>
                        <a:pt x="148400" y="764372"/>
                      </a:cubicBezTo>
                      <a:cubicBezTo>
                        <a:pt x="146942" y="765477"/>
                        <a:pt x="142437" y="765334"/>
                        <a:pt x="140589" y="765162"/>
                      </a:cubicBezTo>
                      <a:cubicBezTo>
                        <a:pt x="136712" y="764810"/>
                        <a:pt x="131121" y="763172"/>
                        <a:pt x="135236" y="759333"/>
                      </a:cubicBezTo>
                      <a:cubicBezTo>
                        <a:pt x="130112" y="756266"/>
                        <a:pt x="127168" y="754285"/>
                        <a:pt x="123215" y="748675"/>
                      </a:cubicBezTo>
                      <a:cubicBezTo>
                        <a:pt x="117643" y="740769"/>
                        <a:pt x="117520" y="736825"/>
                        <a:pt x="116129" y="727339"/>
                      </a:cubicBezTo>
                      <a:cubicBezTo>
                        <a:pt x="115386" y="722300"/>
                        <a:pt x="111576" y="712956"/>
                        <a:pt x="112576" y="708374"/>
                      </a:cubicBezTo>
                      <a:cubicBezTo>
                        <a:pt x="113090" y="706003"/>
                        <a:pt x="116148" y="704726"/>
                        <a:pt x="117158" y="701926"/>
                      </a:cubicBezTo>
                      <a:cubicBezTo>
                        <a:pt x="118081" y="699364"/>
                        <a:pt x="117377" y="693239"/>
                        <a:pt x="116919" y="690363"/>
                      </a:cubicBezTo>
                      <a:cubicBezTo>
                        <a:pt x="114691" y="676456"/>
                        <a:pt x="99184" y="668064"/>
                        <a:pt x="95193" y="654482"/>
                      </a:cubicBezTo>
                      <a:cubicBezTo>
                        <a:pt x="93878" y="650005"/>
                        <a:pt x="93983" y="647738"/>
                        <a:pt x="91183" y="643804"/>
                      </a:cubicBezTo>
                      <a:cubicBezTo>
                        <a:pt x="89278" y="641128"/>
                        <a:pt x="85706" y="639356"/>
                        <a:pt x="84163" y="636546"/>
                      </a:cubicBezTo>
                      <a:cubicBezTo>
                        <a:pt x="82525" y="633556"/>
                        <a:pt x="83010" y="631317"/>
                        <a:pt x="82087" y="628469"/>
                      </a:cubicBezTo>
                      <a:cubicBezTo>
                        <a:pt x="80963" y="625050"/>
                        <a:pt x="78191" y="624364"/>
                        <a:pt x="79096" y="619982"/>
                      </a:cubicBezTo>
                      <a:cubicBezTo>
                        <a:pt x="95031" y="622602"/>
                        <a:pt x="86973" y="613029"/>
                        <a:pt x="88049" y="603504"/>
                      </a:cubicBezTo>
                      <a:cubicBezTo>
                        <a:pt x="89087" y="594217"/>
                        <a:pt x="89621" y="581558"/>
                        <a:pt x="89326" y="572272"/>
                      </a:cubicBezTo>
                      <a:cubicBezTo>
                        <a:pt x="89173" y="567671"/>
                        <a:pt x="89192" y="563956"/>
                        <a:pt x="90583" y="558642"/>
                      </a:cubicBezTo>
                      <a:cubicBezTo>
                        <a:pt x="91126" y="556584"/>
                        <a:pt x="93126" y="555317"/>
                        <a:pt x="93469" y="553231"/>
                      </a:cubicBezTo>
                      <a:cubicBezTo>
                        <a:pt x="93812" y="551202"/>
                        <a:pt x="92993" y="545849"/>
                        <a:pt x="92869" y="543725"/>
                      </a:cubicBezTo>
                      <a:cubicBezTo>
                        <a:pt x="92288" y="534210"/>
                        <a:pt x="87801" y="523742"/>
                        <a:pt x="90611" y="514436"/>
                      </a:cubicBezTo>
                      <a:cubicBezTo>
                        <a:pt x="92774" y="507264"/>
                        <a:pt x="93726" y="508654"/>
                        <a:pt x="90573" y="501939"/>
                      </a:cubicBezTo>
                      <a:cubicBezTo>
                        <a:pt x="89659" y="499986"/>
                        <a:pt x="88078" y="497300"/>
                        <a:pt x="87554" y="495167"/>
                      </a:cubicBezTo>
                      <a:cubicBezTo>
                        <a:pt x="87211" y="493767"/>
                        <a:pt x="85306" y="492462"/>
                        <a:pt x="85239" y="491033"/>
                      </a:cubicBezTo>
                      <a:cubicBezTo>
                        <a:pt x="85201" y="490090"/>
                        <a:pt x="87735" y="489214"/>
                        <a:pt x="87916" y="487918"/>
                      </a:cubicBezTo>
                      <a:cubicBezTo>
                        <a:pt x="88706" y="482318"/>
                        <a:pt x="88687" y="478784"/>
                        <a:pt x="87459" y="473488"/>
                      </a:cubicBezTo>
                      <a:cubicBezTo>
                        <a:pt x="86163" y="467859"/>
                        <a:pt x="83363" y="464439"/>
                        <a:pt x="81048" y="459086"/>
                      </a:cubicBezTo>
                      <a:cubicBezTo>
                        <a:pt x="76429" y="448456"/>
                        <a:pt x="71257" y="438026"/>
                        <a:pt x="66599" y="427492"/>
                      </a:cubicBezTo>
                      <a:cubicBezTo>
                        <a:pt x="64551" y="422872"/>
                        <a:pt x="62017" y="418195"/>
                        <a:pt x="60551" y="413309"/>
                      </a:cubicBezTo>
                      <a:cubicBezTo>
                        <a:pt x="59998" y="411471"/>
                        <a:pt x="58417" y="406337"/>
                        <a:pt x="58865" y="404632"/>
                      </a:cubicBezTo>
                      <a:cubicBezTo>
                        <a:pt x="59569" y="401927"/>
                        <a:pt x="63799" y="400698"/>
                        <a:pt x="64789" y="398078"/>
                      </a:cubicBezTo>
                      <a:cubicBezTo>
                        <a:pt x="68751" y="387610"/>
                        <a:pt x="58160" y="375304"/>
                        <a:pt x="53083" y="368275"/>
                      </a:cubicBezTo>
                      <a:cubicBezTo>
                        <a:pt x="46482" y="359140"/>
                        <a:pt x="54112" y="350996"/>
                        <a:pt x="53845" y="340824"/>
                      </a:cubicBezTo>
                      <a:cubicBezTo>
                        <a:pt x="53702" y="335423"/>
                        <a:pt x="51006" y="330289"/>
                        <a:pt x="51940" y="324726"/>
                      </a:cubicBezTo>
                      <a:cubicBezTo>
                        <a:pt x="52902" y="318973"/>
                        <a:pt x="54521" y="317868"/>
                        <a:pt x="53464" y="311858"/>
                      </a:cubicBezTo>
                      <a:cubicBezTo>
                        <a:pt x="51635" y="301476"/>
                        <a:pt x="52845" y="291246"/>
                        <a:pt x="51464" y="280826"/>
                      </a:cubicBezTo>
                      <a:cubicBezTo>
                        <a:pt x="50073" y="270310"/>
                        <a:pt x="44244" y="261776"/>
                        <a:pt x="46796" y="251431"/>
                      </a:cubicBezTo>
                      <a:cubicBezTo>
                        <a:pt x="49692" y="239687"/>
                        <a:pt x="42139" y="233715"/>
                        <a:pt x="39548" y="222266"/>
                      </a:cubicBezTo>
                      <a:cubicBezTo>
                        <a:pt x="38252" y="216580"/>
                        <a:pt x="37595" y="210541"/>
                        <a:pt x="36643" y="204854"/>
                      </a:cubicBezTo>
                      <a:cubicBezTo>
                        <a:pt x="35947" y="200701"/>
                        <a:pt x="38062" y="193881"/>
                        <a:pt x="36633" y="190615"/>
                      </a:cubicBezTo>
                      <a:cubicBezTo>
                        <a:pt x="34757" y="186300"/>
                        <a:pt x="29661" y="186528"/>
                        <a:pt x="28480" y="180470"/>
                      </a:cubicBezTo>
                      <a:cubicBezTo>
                        <a:pt x="27156" y="173679"/>
                        <a:pt x="31271" y="175231"/>
                        <a:pt x="33080" y="169269"/>
                      </a:cubicBezTo>
                      <a:cubicBezTo>
                        <a:pt x="36271" y="158706"/>
                        <a:pt x="31252" y="142837"/>
                        <a:pt x="30775" y="131855"/>
                      </a:cubicBezTo>
                      <a:cubicBezTo>
                        <a:pt x="30204" y="118729"/>
                        <a:pt x="23270" y="108909"/>
                        <a:pt x="21117" y="96241"/>
                      </a:cubicBezTo>
                      <a:cubicBezTo>
                        <a:pt x="19050" y="84058"/>
                        <a:pt x="18259" y="73085"/>
                        <a:pt x="13164" y="61674"/>
                      </a:cubicBezTo>
                      <a:cubicBezTo>
                        <a:pt x="10297" y="55226"/>
                        <a:pt x="7544" y="48959"/>
                        <a:pt x="5686" y="42091"/>
                      </a:cubicBezTo>
                      <a:cubicBezTo>
                        <a:pt x="4324" y="37100"/>
                        <a:pt x="4439" y="29718"/>
                        <a:pt x="0" y="26441"/>
                      </a:cubicBezTo>
                      <a:cubicBezTo>
                        <a:pt x="6601" y="24708"/>
                        <a:pt x="16078" y="25641"/>
                        <a:pt x="16640" y="16059"/>
                      </a:cubicBezTo>
                      <a:cubicBezTo>
                        <a:pt x="16821" y="12964"/>
                        <a:pt x="12840" y="8363"/>
                        <a:pt x="13859" y="5915"/>
                      </a:cubicBezTo>
                      <a:cubicBezTo>
                        <a:pt x="14507" y="4372"/>
                        <a:pt x="21069" y="2324"/>
                        <a:pt x="22908" y="0"/>
                      </a:cubicBezTo>
                      <a:cubicBezTo>
                        <a:pt x="23536" y="4048"/>
                        <a:pt x="27404" y="7306"/>
                        <a:pt x="29928" y="10125"/>
                      </a:cubicBezTo>
                      <a:cubicBezTo>
                        <a:pt x="31052" y="11373"/>
                        <a:pt x="31090" y="13106"/>
                        <a:pt x="32337" y="14278"/>
                      </a:cubicBezTo>
                      <a:cubicBezTo>
                        <a:pt x="34061" y="15878"/>
                        <a:pt x="37633" y="15593"/>
                        <a:pt x="39014" y="17459"/>
                      </a:cubicBezTo>
                      <a:cubicBezTo>
                        <a:pt x="38691" y="17021"/>
                        <a:pt x="40129" y="23870"/>
                        <a:pt x="40329" y="24441"/>
                      </a:cubicBezTo>
                      <a:cubicBezTo>
                        <a:pt x="41586" y="28089"/>
                        <a:pt x="42920" y="31795"/>
                        <a:pt x="44320" y="35385"/>
                      </a:cubicBezTo>
                      <a:cubicBezTo>
                        <a:pt x="47787" y="44253"/>
                        <a:pt x="50149" y="48444"/>
                        <a:pt x="58036" y="54016"/>
                      </a:cubicBezTo>
                      <a:cubicBezTo>
                        <a:pt x="59750" y="55226"/>
                        <a:pt x="65103" y="57693"/>
                        <a:pt x="65856" y="59522"/>
                      </a:cubicBezTo>
                      <a:cubicBezTo>
                        <a:pt x="67027" y="62379"/>
                        <a:pt x="63227" y="64075"/>
                        <a:pt x="62646" y="67237"/>
                      </a:cubicBezTo>
                      <a:cubicBezTo>
                        <a:pt x="61636" y="72733"/>
                        <a:pt x="64237" y="69685"/>
                        <a:pt x="66237" y="74752"/>
                      </a:cubicBezTo>
                      <a:cubicBezTo>
                        <a:pt x="68685" y="80953"/>
                        <a:pt x="63094" y="78115"/>
                        <a:pt x="62256" y="81077"/>
                      </a:cubicBezTo>
                      <a:cubicBezTo>
                        <a:pt x="61665" y="83134"/>
                        <a:pt x="64599" y="86439"/>
                        <a:pt x="65237" y="88535"/>
                      </a:cubicBezTo>
                      <a:cubicBezTo>
                        <a:pt x="66018" y="91059"/>
                        <a:pt x="63256" y="90459"/>
                        <a:pt x="65913" y="93812"/>
                      </a:cubicBezTo>
                      <a:cubicBezTo>
                        <a:pt x="67170" y="95393"/>
                        <a:pt x="70342" y="95393"/>
                        <a:pt x="71580" y="96984"/>
                      </a:cubicBezTo>
                      <a:cubicBezTo>
                        <a:pt x="73847" y="99917"/>
                        <a:pt x="71971" y="97412"/>
                        <a:pt x="72800" y="99984"/>
                      </a:cubicBezTo>
                      <a:cubicBezTo>
                        <a:pt x="73533" y="102241"/>
                        <a:pt x="71895" y="104756"/>
                        <a:pt x="74162" y="107642"/>
                      </a:cubicBezTo>
                      <a:cubicBezTo>
                        <a:pt x="74552" y="108147"/>
                        <a:pt x="78143" y="109671"/>
                        <a:pt x="79067" y="110423"/>
                      </a:cubicBezTo>
                      <a:cubicBezTo>
                        <a:pt x="80467" y="111566"/>
                        <a:pt x="81544" y="113309"/>
                        <a:pt x="82744" y="114681"/>
                      </a:cubicBezTo>
                      <a:cubicBezTo>
                        <a:pt x="86544" y="119044"/>
                        <a:pt x="86716" y="121673"/>
                        <a:pt x="88706" y="126825"/>
                      </a:cubicBezTo>
                      <a:cubicBezTo>
                        <a:pt x="92126" y="135665"/>
                        <a:pt x="97641" y="142847"/>
                        <a:pt x="101556" y="151238"/>
                      </a:cubicBezTo>
                      <a:cubicBezTo>
                        <a:pt x="104242" y="157001"/>
                        <a:pt x="105194" y="169431"/>
                        <a:pt x="113014" y="169554"/>
                      </a:cubicBezTo>
                      <a:lnTo>
                        <a:pt x="113014" y="169554"/>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77" name="Freeform: Shape 676">
                  <a:extLst>
                    <a:ext uri="{FF2B5EF4-FFF2-40B4-BE49-F238E27FC236}">
                      <a16:creationId xmlns:a16="http://schemas.microsoft.com/office/drawing/2014/main" id="{324F239C-DC63-489E-9C17-7651C90BB08C}"/>
                    </a:ext>
                  </a:extLst>
                </p:cNvPr>
                <p:cNvSpPr/>
                <p:nvPr/>
              </p:nvSpPr>
              <p:spPr>
                <a:xfrm>
                  <a:off x="5752948" y="2860160"/>
                  <a:ext cx="118047" cy="60853"/>
                </a:xfrm>
                <a:custGeom>
                  <a:avLst/>
                  <a:gdLst>
                    <a:gd name="connsiteX0" fmla="*/ 91934 w 118047"/>
                    <a:gd name="connsiteY0" fmla="*/ 7719 h 60853"/>
                    <a:gd name="connsiteX1" fmla="*/ 93220 w 118047"/>
                    <a:gd name="connsiteY1" fmla="*/ 22340 h 60853"/>
                    <a:gd name="connsiteX2" fmla="*/ 101773 w 118047"/>
                    <a:gd name="connsiteY2" fmla="*/ 24521 h 60853"/>
                    <a:gd name="connsiteX3" fmla="*/ 108984 w 118047"/>
                    <a:gd name="connsiteY3" fmla="*/ 28788 h 60853"/>
                    <a:gd name="connsiteX4" fmla="*/ 116156 w 118047"/>
                    <a:gd name="connsiteY4" fmla="*/ 25207 h 60853"/>
                    <a:gd name="connsiteX5" fmla="*/ 116813 w 118047"/>
                    <a:gd name="connsiteY5" fmla="*/ 33703 h 60853"/>
                    <a:gd name="connsiteX6" fmla="*/ 116585 w 118047"/>
                    <a:gd name="connsiteY6" fmla="*/ 38466 h 60853"/>
                    <a:gd name="connsiteX7" fmla="*/ 108669 w 118047"/>
                    <a:gd name="connsiteY7" fmla="*/ 36847 h 60853"/>
                    <a:gd name="connsiteX8" fmla="*/ 109269 w 118047"/>
                    <a:gd name="connsiteY8" fmla="*/ 48572 h 60853"/>
                    <a:gd name="connsiteX9" fmla="*/ 103735 w 118047"/>
                    <a:gd name="connsiteY9" fmla="*/ 44152 h 60853"/>
                    <a:gd name="connsiteX10" fmla="*/ 94734 w 118047"/>
                    <a:gd name="connsiteY10" fmla="*/ 46172 h 60853"/>
                    <a:gd name="connsiteX11" fmla="*/ 89991 w 118047"/>
                    <a:gd name="connsiteY11" fmla="*/ 40542 h 60853"/>
                    <a:gd name="connsiteX12" fmla="*/ 86495 w 118047"/>
                    <a:gd name="connsiteY12" fmla="*/ 47705 h 60853"/>
                    <a:gd name="connsiteX13" fmla="*/ 80885 w 118047"/>
                    <a:gd name="connsiteY13" fmla="*/ 55277 h 60853"/>
                    <a:gd name="connsiteX14" fmla="*/ 80866 w 118047"/>
                    <a:gd name="connsiteY14" fmla="*/ 60802 h 60853"/>
                    <a:gd name="connsiteX15" fmla="*/ 75008 w 118047"/>
                    <a:gd name="connsiteY15" fmla="*/ 55801 h 60853"/>
                    <a:gd name="connsiteX16" fmla="*/ 74732 w 118047"/>
                    <a:gd name="connsiteY16" fmla="*/ 53020 h 60853"/>
                    <a:gd name="connsiteX17" fmla="*/ 68664 w 118047"/>
                    <a:gd name="connsiteY17" fmla="*/ 50372 h 60853"/>
                    <a:gd name="connsiteX18" fmla="*/ 59806 w 118047"/>
                    <a:gd name="connsiteY18" fmla="*/ 44962 h 60853"/>
                    <a:gd name="connsiteX19" fmla="*/ 55815 w 118047"/>
                    <a:gd name="connsiteY19" fmla="*/ 52372 h 60853"/>
                    <a:gd name="connsiteX20" fmla="*/ 48671 w 118047"/>
                    <a:gd name="connsiteY20" fmla="*/ 58192 h 60853"/>
                    <a:gd name="connsiteX21" fmla="*/ 39556 w 118047"/>
                    <a:gd name="connsiteY21" fmla="*/ 57468 h 60853"/>
                    <a:gd name="connsiteX22" fmla="*/ 28602 w 118047"/>
                    <a:gd name="connsiteY22" fmla="*/ 58411 h 60853"/>
                    <a:gd name="connsiteX23" fmla="*/ 24078 w 118047"/>
                    <a:gd name="connsiteY23" fmla="*/ 53515 h 60853"/>
                    <a:gd name="connsiteX24" fmla="*/ 21668 w 118047"/>
                    <a:gd name="connsiteY24" fmla="*/ 51048 h 60853"/>
                    <a:gd name="connsiteX25" fmla="*/ 22020 w 118047"/>
                    <a:gd name="connsiteY25" fmla="*/ 46734 h 60853"/>
                    <a:gd name="connsiteX26" fmla="*/ 17991 w 118047"/>
                    <a:gd name="connsiteY26" fmla="*/ 42314 h 60853"/>
                    <a:gd name="connsiteX27" fmla="*/ 6618 w 118047"/>
                    <a:gd name="connsiteY27" fmla="*/ 45209 h 60853"/>
                    <a:gd name="connsiteX28" fmla="*/ 2951 w 118047"/>
                    <a:gd name="connsiteY28" fmla="*/ 51096 h 60853"/>
                    <a:gd name="connsiteX29" fmla="*/ 2218 w 118047"/>
                    <a:gd name="connsiteY29" fmla="*/ 47591 h 60853"/>
                    <a:gd name="connsiteX30" fmla="*/ 6000 w 118047"/>
                    <a:gd name="connsiteY30" fmla="*/ 35342 h 60853"/>
                    <a:gd name="connsiteX31" fmla="*/ 10743 w 118047"/>
                    <a:gd name="connsiteY31" fmla="*/ 31960 h 60853"/>
                    <a:gd name="connsiteX32" fmla="*/ 11800 w 118047"/>
                    <a:gd name="connsiteY32" fmla="*/ 25826 h 60853"/>
                    <a:gd name="connsiteX33" fmla="*/ 20687 w 118047"/>
                    <a:gd name="connsiteY33" fmla="*/ 19483 h 60853"/>
                    <a:gd name="connsiteX34" fmla="*/ 24745 w 118047"/>
                    <a:gd name="connsiteY34" fmla="*/ 15272 h 60853"/>
                    <a:gd name="connsiteX35" fmla="*/ 24345 w 118047"/>
                    <a:gd name="connsiteY35" fmla="*/ 12977 h 60853"/>
                    <a:gd name="connsiteX36" fmla="*/ 24202 w 118047"/>
                    <a:gd name="connsiteY36" fmla="*/ 10415 h 60853"/>
                    <a:gd name="connsiteX37" fmla="*/ 28983 w 118047"/>
                    <a:gd name="connsiteY37" fmla="*/ 8795 h 60853"/>
                    <a:gd name="connsiteX38" fmla="*/ 35013 w 118047"/>
                    <a:gd name="connsiteY38" fmla="*/ 10424 h 60853"/>
                    <a:gd name="connsiteX39" fmla="*/ 43747 w 118047"/>
                    <a:gd name="connsiteY39" fmla="*/ 6243 h 60853"/>
                    <a:gd name="connsiteX40" fmla="*/ 66578 w 118047"/>
                    <a:gd name="connsiteY40" fmla="*/ 4157 h 60853"/>
                    <a:gd name="connsiteX41" fmla="*/ 63340 w 118047"/>
                    <a:gd name="connsiteY41" fmla="*/ 937 h 60853"/>
                    <a:gd name="connsiteX42" fmla="*/ 71322 w 118047"/>
                    <a:gd name="connsiteY42" fmla="*/ 2261 h 60853"/>
                    <a:gd name="connsiteX43" fmla="*/ 77961 w 118047"/>
                    <a:gd name="connsiteY43" fmla="*/ 3347 h 60853"/>
                    <a:gd name="connsiteX44" fmla="*/ 91934 w 118047"/>
                    <a:gd name="connsiteY44" fmla="*/ 7719 h 60853"/>
                    <a:gd name="connsiteX45" fmla="*/ 91934 w 118047"/>
                    <a:gd name="connsiteY45" fmla="*/ 7719 h 6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18047" h="60853">
                      <a:moveTo>
                        <a:pt x="91934" y="7719"/>
                      </a:moveTo>
                      <a:cubicBezTo>
                        <a:pt x="98601" y="10072"/>
                        <a:pt x="88762" y="18473"/>
                        <a:pt x="93220" y="22340"/>
                      </a:cubicBezTo>
                      <a:cubicBezTo>
                        <a:pt x="94572" y="23512"/>
                        <a:pt x="99878" y="23559"/>
                        <a:pt x="101773" y="24521"/>
                      </a:cubicBezTo>
                      <a:cubicBezTo>
                        <a:pt x="103802" y="25550"/>
                        <a:pt x="105393" y="29188"/>
                        <a:pt x="108984" y="28788"/>
                      </a:cubicBezTo>
                      <a:cubicBezTo>
                        <a:pt x="111708" y="28484"/>
                        <a:pt x="113556" y="23988"/>
                        <a:pt x="116156" y="25207"/>
                      </a:cubicBezTo>
                      <a:cubicBezTo>
                        <a:pt x="119252" y="26655"/>
                        <a:pt x="117080" y="31332"/>
                        <a:pt x="116813" y="33703"/>
                      </a:cubicBezTo>
                      <a:cubicBezTo>
                        <a:pt x="116518" y="36466"/>
                        <a:pt x="119890" y="37094"/>
                        <a:pt x="116585" y="38466"/>
                      </a:cubicBezTo>
                      <a:cubicBezTo>
                        <a:pt x="113708" y="39656"/>
                        <a:pt x="111613" y="34380"/>
                        <a:pt x="108669" y="36847"/>
                      </a:cubicBezTo>
                      <a:cubicBezTo>
                        <a:pt x="104840" y="40056"/>
                        <a:pt x="113765" y="47753"/>
                        <a:pt x="109269" y="48572"/>
                      </a:cubicBezTo>
                      <a:cubicBezTo>
                        <a:pt x="107383" y="48915"/>
                        <a:pt x="106041" y="44514"/>
                        <a:pt x="103735" y="44152"/>
                      </a:cubicBezTo>
                      <a:cubicBezTo>
                        <a:pt x="100687" y="43676"/>
                        <a:pt x="97963" y="47629"/>
                        <a:pt x="94734" y="46172"/>
                      </a:cubicBezTo>
                      <a:cubicBezTo>
                        <a:pt x="91953" y="44914"/>
                        <a:pt x="92724" y="40980"/>
                        <a:pt x="89991" y="40542"/>
                      </a:cubicBezTo>
                      <a:cubicBezTo>
                        <a:pt x="85047" y="39742"/>
                        <a:pt x="87810" y="44276"/>
                        <a:pt x="86495" y="47705"/>
                      </a:cubicBezTo>
                      <a:cubicBezTo>
                        <a:pt x="85371" y="50658"/>
                        <a:pt x="82009" y="52258"/>
                        <a:pt x="80885" y="55277"/>
                      </a:cubicBezTo>
                      <a:cubicBezTo>
                        <a:pt x="80075" y="57468"/>
                        <a:pt x="84057" y="59783"/>
                        <a:pt x="80866" y="60802"/>
                      </a:cubicBezTo>
                      <a:cubicBezTo>
                        <a:pt x="79132" y="61364"/>
                        <a:pt x="76180" y="57163"/>
                        <a:pt x="75008" y="55801"/>
                      </a:cubicBezTo>
                      <a:cubicBezTo>
                        <a:pt x="74189" y="54849"/>
                        <a:pt x="76618" y="54620"/>
                        <a:pt x="74732" y="53020"/>
                      </a:cubicBezTo>
                      <a:cubicBezTo>
                        <a:pt x="73246" y="51763"/>
                        <a:pt x="70455" y="51915"/>
                        <a:pt x="68664" y="50372"/>
                      </a:cubicBezTo>
                      <a:cubicBezTo>
                        <a:pt x="63673" y="46057"/>
                        <a:pt x="66978" y="38199"/>
                        <a:pt x="59806" y="44962"/>
                      </a:cubicBezTo>
                      <a:cubicBezTo>
                        <a:pt x="55701" y="48829"/>
                        <a:pt x="58368" y="48248"/>
                        <a:pt x="55815" y="52372"/>
                      </a:cubicBezTo>
                      <a:cubicBezTo>
                        <a:pt x="54339" y="54763"/>
                        <a:pt x="51700" y="57744"/>
                        <a:pt x="48671" y="58192"/>
                      </a:cubicBezTo>
                      <a:cubicBezTo>
                        <a:pt x="45995" y="58583"/>
                        <a:pt x="42509" y="57125"/>
                        <a:pt x="39556" y="57468"/>
                      </a:cubicBezTo>
                      <a:cubicBezTo>
                        <a:pt x="35489" y="57935"/>
                        <a:pt x="32612" y="60307"/>
                        <a:pt x="28602" y="58411"/>
                      </a:cubicBezTo>
                      <a:cubicBezTo>
                        <a:pt x="27669" y="57973"/>
                        <a:pt x="24697" y="54468"/>
                        <a:pt x="24078" y="53515"/>
                      </a:cubicBezTo>
                      <a:cubicBezTo>
                        <a:pt x="23468" y="52553"/>
                        <a:pt x="22192" y="52068"/>
                        <a:pt x="21668" y="51048"/>
                      </a:cubicBezTo>
                      <a:cubicBezTo>
                        <a:pt x="20944" y="49639"/>
                        <a:pt x="22706" y="48048"/>
                        <a:pt x="22020" y="46734"/>
                      </a:cubicBezTo>
                      <a:cubicBezTo>
                        <a:pt x="20201" y="43276"/>
                        <a:pt x="21544" y="43781"/>
                        <a:pt x="17991" y="42314"/>
                      </a:cubicBezTo>
                      <a:cubicBezTo>
                        <a:pt x="14286" y="40780"/>
                        <a:pt x="9238" y="42533"/>
                        <a:pt x="6618" y="45209"/>
                      </a:cubicBezTo>
                      <a:cubicBezTo>
                        <a:pt x="5314" y="46533"/>
                        <a:pt x="8552" y="49972"/>
                        <a:pt x="2951" y="51096"/>
                      </a:cubicBezTo>
                      <a:cubicBezTo>
                        <a:pt x="-3192" y="52325"/>
                        <a:pt x="2151" y="48619"/>
                        <a:pt x="2218" y="47591"/>
                      </a:cubicBezTo>
                      <a:cubicBezTo>
                        <a:pt x="2542" y="42733"/>
                        <a:pt x="2123" y="39876"/>
                        <a:pt x="6000" y="35342"/>
                      </a:cubicBezTo>
                      <a:cubicBezTo>
                        <a:pt x="7199" y="33932"/>
                        <a:pt x="9714" y="33475"/>
                        <a:pt x="10743" y="31960"/>
                      </a:cubicBezTo>
                      <a:cubicBezTo>
                        <a:pt x="11933" y="30236"/>
                        <a:pt x="10505" y="27483"/>
                        <a:pt x="11800" y="25826"/>
                      </a:cubicBezTo>
                      <a:cubicBezTo>
                        <a:pt x="13172" y="24102"/>
                        <a:pt x="18696" y="21559"/>
                        <a:pt x="20687" y="19483"/>
                      </a:cubicBezTo>
                      <a:cubicBezTo>
                        <a:pt x="21878" y="18244"/>
                        <a:pt x="24087" y="16901"/>
                        <a:pt x="24745" y="15272"/>
                      </a:cubicBezTo>
                      <a:cubicBezTo>
                        <a:pt x="25040" y="14520"/>
                        <a:pt x="24773" y="12053"/>
                        <a:pt x="24345" y="12977"/>
                      </a:cubicBezTo>
                      <a:cubicBezTo>
                        <a:pt x="24449" y="12758"/>
                        <a:pt x="22154" y="12539"/>
                        <a:pt x="24202" y="10415"/>
                      </a:cubicBezTo>
                      <a:cubicBezTo>
                        <a:pt x="25630" y="8938"/>
                        <a:pt x="27107" y="8938"/>
                        <a:pt x="28983" y="8795"/>
                      </a:cubicBezTo>
                      <a:cubicBezTo>
                        <a:pt x="30507" y="8681"/>
                        <a:pt x="31879" y="11196"/>
                        <a:pt x="35013" y="10424"/>
                      </a:cubicBezTo>
                      <a:cubicBezTo>
                        <a:pt x="38784" y="9481"/>
                        <a:pt x="39184" y="6700"/>
                        <a:pt x="43747" y="6243"/>
                      </a:cubicBezTo>
                      <a:cubicBezTo>
                        <a:pt x="50253" y="5595"/>
                        <a:pt x="61225" y="7814"/>
                        <a:pt x="66578" y="4157"/>
                      </a:cubicBezTo>
                      <a:cubicBezTo>
                        <a:pt x="65492" y="4223"/>
                        <a:pt x="59682" y="3376"/>
                        <a:pt x="63340" y="937"/>
                      </a:cubicBezTo>
                      <a:cubicBezTo>
                        <a:pt x="66836" y="-1406"/>
                        <a:pt x="68083" y="1261"/>
                        <a:pt x="71322" y="2261"/>
                      </a:cubicBezTo>
                      <a:cubicBezTo>
                        <a:pt x="73065" y="2795"/>
                        <a:pt x="75656" y="2899"/>
                        <a:pt x="77961" y="3347"/>
                      </a:cubicBezTo>
                      <a:cubicBezTo>
                        <a:pt x="83295" y="4366"/>
                        <a:pt x="86619" y="5071"/>
                        <a:pt x="91934" y="7719"/>
                      </a:cubicBezTo>
                      <a:lnTo>
                        <a:pt x="91934" y="7719"/>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78" name="Freeform: Shape 677">
                  <a:extLst>
                    <a:ext uri="{FF2B5EF4-FFF2-40B4-BE49-F238E27FC236}">
                      <a16:creationId xmlns:a16="http://schemas.microsoft.com/office/drawing/2014/main" id="{7BCBFB5F-24FC-41C6-97DC-F4833277F0FA}"/>
                    </a:ext>
                  </a:extLst>
                </p:cNvPr>
                <p:cNvSpPr/>
                <p:nvPr/>
              </p:nvSpPr>
              <p:spPr>
                <a:xfrm>
                  <a:off x="6047045" y="4019613"/>
                  <a:ext cx="408018" cy="273768"/>
                </a:xfrm>
                <a:custGeom>
                  <a:avLst/>
                  <a:gdLst>
                    <a:gd name="connsiteX0" fmla="*/ 260114 w 408018"/>
                    <a:gd name="connsiteY0" fmla="*/ 1306 h 273768"/>
                    <a:gd name="connsiteX1" fmla="*/ 285793 w 408018"/>
                    <a:gd name="connsiteY1" fmla="*/ 49084 h 273768"/>
                    <a:gd name="connsiteX2" fmla="*/ 281040 w 408018"/>
                    <a:gd name="connsiteY2" fmla="*/ 59733 h 273768"/>
                    <a:gd name="connsiteX3" fmla="*/ 283583 w 408018"/>
                    <a:gd name="connsiteY3" fmla="*/ 67572 h 273768"/>
                    <a:gd name="connsiteX4" fmla="*/ 304900 w 408018"/>
                    <a:gd name="connsiteY4" fmla="*/ 75315 h 273768"/>
                    <a:gd name="connsiteX5" fmla="*/ 305386 w 408018"/>
                    <a:gd name="connsiteY5" fmla="*/ 81964 h 273768"/>
                    <a:gd name="connsiteX6" fmla="*/ 310377 w 408018"/>
                    <a:gd name="connsiteY6" fmla="*/ 85136 h 273768"/>
                    <a:gd name="connsiteX7" fmla="*/ 324512 w 408018"/>
                    <a:gd name="connsiteY7" fmla="*/ 88498 h 273768"/>
                    <a:gd name="connsiteX8" fmla="*/ 333571 w 408018"/>
                    <a:gd name="connsiteY8" fmla="*/ 96851 h 273768"/>
                    <a:gd name="connsiteX9" fmla="*/ 338228 w 408018"/>
                    <a:gd name="connsiteY9" fmla="*/ 101947 h 273768"/>
                    <a:gd name="connsiteX10" fmla="*/ 336438 w 408018"/>
                    <a:gd name="connsiteY10" fmla="*/ 107824 h 273768"/>
                    <a:gd name="connsiteX11" fmla="*/ 359669 w 408018"/>
                    <a:gd name="connsiteY11" fmla="*/ 123274 h 273768"/>
                    <a:gd name="connsiteX12" fmla="*/ 368937 w 408018"/>
                    <a:gd name="connsiteY12" fmla="*/ 132332 h 273768"/>
                    <a:gd name="connsiteX13" fmla="*/ 374023 w 408018"/>
                    <a:gd name="connsiteY13" fmla="*/ 136714 h 273768"/>
                    <a:gd name="connsiteX14" fmla="*/ 373166 w 408018"/>
                    <a:gd name="connsiteY14" fmla="*/ 143800 h 273768"/>
                    <a:gd name="connsiteX15" fmla="*/ 393568 w 408018"/>
                    <a:gd name="connsiteY15" fmla="*/ 161174 h 273768"/>
                    <a:gd name="connsiteX16" fmla="*/ 408018 w 408018"/>
                    <a:gd name="connsiteY16" fmla="*/ 184339 h 273768"/>
                    <a:gd name="connsiteX17" fmla="*/ 395207 w 408018"/>
                    <a:gd name="connsiteY17" fmla="*/ 182500 h 273768"/>
                    <a:gd name="connsiteX18" fmla="*/ 381967 w 408018"/>
                    <a:gd name="connsiteY18" fmla="*/ 184748 h 273768"/>
                    <a:gd name="connsiteX19" fmla="*/ 345925 w 408018"/>
                    <a:gd name="connsiteY19" fmla="*/ 179271 h 273768"/>
                    <a:gd name="connsiteX20" fmla="*/ 334552 w 408018"/>
                    <a:gd name="connsiteY20" fmla="*/ 188796 h 273768"/>
                    <a:gd name="connsiteX21" fmla="*/ 315597 w 408018"/>
                    <a:gd name="connsiteY21" fmla="*/ 187663 h 273768"/>
                    <a:gd name="connsiteX22" fmla="*/ 285441 w 408018"/>
                    <a:gd name="connsiteY22" fmla="*/ 197464 h 273768"/>
                    <a:gd name="connsiteX23" fmla="*/ 257913 w 408018"/>
                    <a:gd name="connsiteY23" fmla="*/ 205218 h 273768"/>
                    <a:gd name="connsiteX24" fmla="*/ 251694 w 408018"/>
                    <a:gd name="connsiteY24" fmla="*/ 215000 h 273768"/>
                    <a:gd name="connsiteX25" fmla="*/ 232215 w 408018"/>
                    <a:gd name="connsiteY25" fmla="*/ 210847 h 273768"/>
                    <a:gd name="connsiteX26" fmla="*/ 215546 w 408018"/>
                    <a:gd name="connsiteY26" fmla="*/ 209104 h 273768"/>
                    <a:gd name="connsiteX27" fmla="*/ 200535 w 408018"/>
                    <a:gd name="connsiteY27" fmla="*/ 205189 h 273768"/>
                    <a:gd name="connsiteX28" fmla="*/ 187848 w 408018"/>
                    <a:gd name="connsiteY28" fmla="*/ 197664 h 273768"/>
                    <a:gd name="connsiteX29" fmla="*/ 170979 w 408018"/>
                    <a:gd name="connsiteY29" fmla="*/ 186768 h 273768"/>
                    <a:gd name="connsiteX30" fmla="*/ 140546 w 408018"/>
                    <a:gd name="connsiteY30" fmla="*/ 200036 h 273768"/>
                    <a:gd name="connsiteX31" fmla="*/ 131860 w 408018"/>
                    <a:gd name="connsiteY31" fmla="*/ 214447 h 273768"/>
                    <a:gd name="connsiteX32" fmla="*/ 132212 w 408018"/>
                    <a:gd name="connsiteY32" fmla="*/ 235717 h 273768"/>
                    <a:gd name="connsiteX33" fmla="*/ 120449 w 408018"/>
                    <a:gd name="connsiteY33" fmla="*/ 233688 h 273768"/>
                    <a:gd name="connsiteX34" fmla="*/ 113343 w 408018"/>
                    <a:gd name="connsiteY34" fmla="*/ 233430 h 273768"/>
                    <a:gd name="connsiteX35" fmla="*/ 99303 w 408018"/>
                    <a:gd name="connsiteY35" fmla="*/ 230192 h 273768"/>
                    <a:gd name="connsiteX36" fmla="*/ 88035 w 408018"/>
                    <a:gd name="connsiteY36" fmla="*/ 232030 h 273768"/>
                    <a:gd name="connsiteX37" fmla="*/ 65299 w 408018"/>
                    <a:gd name="connsiteY37" fmla="*/ 245232 h 273768"/>
                    <a:gd name="connsiteX38" fmla="*/ 63423 w 408018"/>
                    <a:gd name="connsiteY38" fmla="*/ 259129 h 273768"/>
                    <a:gd name="connsiteX39" fmla="*/ 56098 w 408018"/>
                    <a:gd name="connsiteY39" fmla="*/ 273769 h 273768"/>
                    <a:gd name="connsiteX40" fmla="*/ 46287 w 408018"/>
                    <a:gd name="connsiteY40" fmla="*/ 247642 h 273768"/>
                    <a:gd name="connsiteX41" fmla="*/ 19531 w 408018"/>
                    <a:gd name="connsiteY41" fmla="*/ 218762 h 273768"/>
                    <a:gd name="connsiteX42" fmla="*/ 19388 w 408018"/>
                    <a:gd name="connsiteY42" fmla="*/ 208551 h 273768"/>
                    <a:gd name="connsiteX43" fmla="*/ 8692 w 408018"/>
                    <a:gd name="connsiteY43" fmla="*/ 195321 h 273768"/>
                    <a:gd name="connsiteX44" fmla="*/ 7273 w 408018"/>
                    <a:gd name="connsiteY44" fmla="*/ 184777 h 273768"/>
                    <a:gd name="connsiteX45" fmla="*/ 4463 w 408018"/>
                    <a:gd name="connsiteY45" fmla="*/ 179386 h 273768"/>
                    <a:gd name="connsiteX46" fmla="*/ 5777 w 408018"/>
                    <a:gd name="connsiteY46" fmla="*/ 161974 h 273768"/>
                    <a:gd name="connsiteX47" fmla="*/ 24 w 408018"/>
                    <a:gd name="connsiteY47" fmla="*/ 154325 h 273768"/>
                    <a:gd name="connsiteX48" fmla="*/ 10187 w 408018"/>
                    <a:gd name="connsiteY48" fmla="*/ 146315 h 273768"/>
                    <a:gd name="connsiteX49" fmla="*/ 19236 w 408018"/>
                    <a:gd name="connsiteY49" fmla="*/ 129627 h 273768"/>
                    <a:gd name="connsiteX50" fmla="*/ 28942 w 408018"/>
                    <a:gd name="connsiteY50" fmla="*/ 113501 h 273768"/>
                    <a:gd name="connsiteX51" fmla="*/ 37238 w 408018"/>
                    <a:gd name="connsiteY51" fmla="*/ 108967 h 273768"/>
                    <a:gd name="connsiteX52" fmla="*/ 47020 w 408018"/>
                    <a:gd name="connsiteY52" fmla="*/ 108786 h 273768"/>
                    <a:gd name="connsiteX53" fmla="*/ 59194 w 408018"/>
                    <a:gd name="connsiteY53" fmla="*/ 103557 h 273768"/>
                    <a:gd name="connsiteX54" fmla="*/ 65251 w 408018"/>
                    <a:gd name="connsiteY54" fmla="*/ 97537 h 273768"/>
                    <a:gd name="connsiteX55" fmla="*/ 83311 w 408018"/>
                    <a:gd name="connsiteY55" fmla="*/ 102690 h 273768"/>
                    <a:gd name="connsiteX56" fmla="*/ 108457 w 408018"/>
                    <a:gd name="connsiteY56" fmla="*/ 93775 h 273768"/>
                    <a:gd name="connsiteX57" fmla="*/ 123944 w 408018"/>
                    <a:gd name="connsiteY57" fmla="*/ 92337 h 273768"/>
                    <a:gd name="connsiteX58" fmla="*/ 131517 w 408018"/>
                    <a:gd name="connsiteY58" fmla="*/ 87069 h 273768"/>
                    <a:gd name="connsiteX59" fmla="*/ 142490 w 408018"/>
                    <a:gd name="connsiteY59" fmla="*/ 75534 h 273768"/>
                    <a:gd name="connsiteX60" fmla="*/ 138794 w 408018"/>
                    <a:gd name="connsiteY60" fmla="*/ 67543 h 273768"/>
                    <a:gd name="connsiteX61" fmla="*/ 161035 w 408018"/>
                    <a:gd name="connsiteY61" fmla="*/ 61076 h 273768"/>
                    <a:gd name="connsiteX62" fmla="*/ 172065 w 408018"/>
                    <a:gd name="connsiteY62" fmla="*/ 58951 h 273768"/>
                    <a:gd name="connsiteX63" fmla="*/ 187733 w 408018"/>
                    <a:gd name="connsiteY63" fmla="*/ 54760 h 273768"/>
                    <a:gd name="connsiteX64" fmla="*/ 205088 w 408018"/>
                    <a:gd name="connsiteY64" fmla="*/ 37701 h 273768"/>
                    <a:gd name="connsiteX65" fmla="*/ 211051 w 408018"/>
                    <a:gd name="connsiteY65" fmla="*/ 31329 h 273768"/>
                    <a:gd name="connsiteX66" fmla="*/ 215365 w 408018"/>
                    <a:gd name="connsiteY66" fmla="*/ 30262 h 273768"/>
                    <a:gd name="connsiteX67" fmla="*/ 218804 w 408018"/>
                    <a:gd name="connsiteY67" fmla="*/ 24261 h 273768"/>
                    <a:gd name="connsiteX68" fmla="*/ 222928 w 408018"/>
                    <a:gd name="connsiteY68" fmla="*/ 22366 h 273768"/>
                    <a:gd name="connsiteX69" fmla="*/ 225014 w 408018"/>
                    <a:gd name="connsiteY69" fmla="*/ 11374 h 273768"/>
                    <a:gd name="connsiteX70" fmla="*/ 235130 w 408018"/>
                    <a:gd name="connsiteY70" fmla="*/ 4316 h 273768"/>
                    <a:gd name="connsiteX71" fmla="*/ 260114 w 408018"/>
                    <a:gd name="connsiteY71" fmla="*/ 1306 h 273768"/>
                    <a:gd name="connsiteX72" fmla="*/ 260114 w 408018"/>
                    <a:gd name="connsiteY72" fmla="*/ 1306 h 27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408018" h="273768">
                      <a:moveTo>
                        <a:pt x="260114" y="1306"/>
                      </a:moveTo>
                      <a:cubicBezTo>
                        <a:pt x="268791" y="18242"/>
                        <a:pt x="290175" y="26681"/>
                        <a:pt x="285793" y="49084"/>
                      </a:cubicBezTo>
                      <a:cubicBezTo>
                        <a:pt x="284984" y="53208"/>
                        <a:pt x="281507" y="55980"/>
                        <a:pt x="281040" y="59733"/>
                      </a:cubicBezTo>
                      <a:cubicBezTo>
                        <a:pt x="281145" y="58932"/>
                        <a:pt x="284650" y="68743"/>
                        <a:pt x="283583" y="67572"/>
                      </a:cubicBezTo>
                      <a:cubicBezTo>
                        <a:pt x="289146" y="73715"/>
                        <a:pt x="301700" y="67829"/>
                        <a:pt x="304900" y="75315"/>
                      </a:cubicBezTo>
                      <a:cubicBezTo>
                        <a:pt x="305853" y="77525"/>
                        <a:pt x="303576" y="79145"/>
                        <a:pt x="305386" y="81964"/>
                      </a:cubicBezTo>
                      <a:cubicBezTo>
                        <a:pt x="306529" y="83755"/>
                        <a:pt x="308568" y="84383"/>
                        <a:pt x="310377" y="85136"/>
                      </a:cubicBezTo>
                      <a:cubicBezTo>
                        <a:pt x="314901" y="87003"/>
                        <a:pt x="320178" y="85993"/>
                        <a:pt x="324512" y="88498"/>
                      </a:cubicBezTo>
                      <a:cubicBezTo>
                        <a:pt x="327646" y="90298"/>
                        <a:pt x="330913" y="94232"/>
                        <a:pt x="333571" y="96851"/>
                      </a:cubicBezTo>
                      <a:cubicBezTo>
                        <a:pt x="335161" y="98433"/>
                        <a:pt x="337600" y="99538"/>
                        <a:pt x="338228" y="101947"/>
                      </a:cubicBezTo>
                      <a:cubicBezTo>
                        <a:pt x="338819" y="104186"/>
                        <a:pt x="335819" y="106062"/>
                        <a:pt x="336438" y="107824"/>
                      </a:cubicBezTo>
                      <a:cubicBezTo>
                        <a:pt x="339362" y="115987"/>
                        <a:pt x="353354" y="118892"/>
                        <a:pt x="359669" y="123274"/>
                      </a:cubicBezTo>
                      <a:cubicBezTo>
                        <a:pt x="363394" y="125855"/>
                        <a:pt x="365613" y="129322"/>
                        <a:pt x="368937" y="132332"/>
                      </a:cubicBezTo>
                      <a:cubicBezTo>
                        <a:pt x="370527" y="133780"/>
                        <a:pt x="373280" y="134847"/>
                        <a:pt x="374023" y="136714"/>
                      </a:cubicBezTo>
                      <a:cubicBezTo>
                        <a:pt x="374623" y="138266"/>
                        <a:pt x="372595" y="141590"/>
                        <a:pt x="373166" y="143800"/>
                      </a:cubicBezTo>
                      <a:cubicBezTo>
                        <a:pt x="375852" y="154154"/>
                        <a:pt x="385682" y="156087"/>
                        <a:pt x="393568" y="161174"/>
                      </a:cubicBezTo>
                      <a:cubicBezTo>
                        <a:pt x="403856" y="167794"/>
                        <a:pt x="400026" y="176290"/>
                        <a:pt x="408018" y="184339"/>
                      </a:cubicBezTo>
                      <a:cubicBezTo>
                        <a:pt x="403113" y="182843"/>
                        <a:pt x="399865" y="181072"/>
                        <a:pt x="395207" y="182500"/>
                      </a:cubicBezTo>
                      <a:cubicBezTo>
                        <a:pt x="389016" y="184405"/>
                        <a:pt x="389358" y="185929"/>
                        <a:pt x="381967" y="184748"/>
                      </a:cubicBezTo>
                      <a:cubicBezTo>
                        <a:pt x="373404" y="183376"/>
                        <a:pt x="353487" y="174709"/>
                        <a:pt x="345925" y="179271"/>
                      </a:cubicBezTo>
                      <a:cubicBezTo>
                        <a:pt x="340305" y="182662"/>
                        <a:pt x="342191" y="186958"/>
                        <a:pt x="334552" y="188796"/>
                      </a:cubicBezTo>
                      <a:cubicBezTo>
                        <a:pt x="327675" y="190454"/>
                        <a:pt x="322360" y="187825"/>
                        <a:pt x="315597" y="187663"/>
                      </a:cubicBezTo>
                      <a:cubicBezTo>
                        <a:pt x="305491" y="187415"/>
                        <a:pt x="295261" y="195235"/>
                        <a:pt x="285441" y="197464"/>
                      </a:cubicBezTo>
                      <a:cubicBezTo>
                        <a:pt x="273487" y="200179"/>
                        <a:pt x="265800" y="191063"/>
                        <a:pt x="257913" y="205218"/>
                      </a:cubicBezTo>
                      <a:cubicBezTo>
                        <a:pt x="256123" y="208437"/>
                        <a:pt x="255437" y="213561"/>
                        <a:pt x="251694" y="215000"/>
                      </a:cubicBezTo>
                      <a:cubicBezTo>
                        <a:pt x="247312" y="216676"/>
                        <a:pt x="237559" y="211152"/>
                        <a:pt x="232215" y="210847"/>
                      </a:cubicBezTo>
                      <a:cubicBezTo>
                        <a:pt x="225948" y="210485"/>
                        <a:pt x="221852" y="210685"/>
                        <a:pt x="215546" y="209104"/>
                      </a:cubicBezTo>
                      <a:cubicBezTo>
                        <a:pt x="211241" y="208027"/>
                        <a:pt x="205517" y="206094"/>
                        <a:pt x="200535" y="205189"/>
                      </a:cubicBezTo>
                      <a:cubicBezTo>
                        <a:pt x="192534" y="203750"/>
                        <a:pt x="193267" y="203532"/>
                        <a:pt x="187848" y="197664"/>
                      </a:cubicBezTo>
                      <a:cubicBezTo>
                        <a:pt x="183380" y="192835"/>
                        <a:pt x="176684" y="189806"/>
                        <a:pt x="170979" y="186768"/>
                      </a:cubicBezTo>
                      <a:cubicBezTo>
                        <a:pt x="157015" y="179328"/>
                        <a:pt x="148443" y="188911"/>
                        <a:pt x="140546" y="200036"/>
                      </a:cubicBezTo>
                      <a:cubicBezTo>
                        <a:pt x="135908" y="206579"/>
                        <a:pt x="131098" y="206894"/>
                        <a:pt x="131860" y="214447"/>
                      </a:cubicBezTo>
                      <a:cubicBezTo>
                        <a:pt x="132584" y="221572"/>
                        <a:pt x="131288" y="228563"/>
                        <a:pt x="132212" y="235717"/>
                      </a:cubicBezTo>
                      <a:cubicBezTo>
                        <a:pt x="125802" y="231221"/>
                        <a:pt x="128631" y="232269"/>
                        <a:pt x="120449" y="233688"/>
                      </a:cubicBezTo>
                      <a:cubicBezTo>
                        <a:pt x="117725" y="234164"/>
                        <a:pt x="116648" y="234107"/>
                        <a:pt x="113343" y="233430"/>
                      </a:cubicBezTo>
                      <a:cubicBezTo>
                        <a:pt x="108819" y="232507"/>
                        <a:pt x="103923" y="230811"/>
                        <a:pt x="99303" y="230192"/>
                      </a:cubicBezTo>
                      <a:cubicBezTo>
                        <a:pt x="94769" y="229582"/>
                        <a:pt x="92759" y="230725"/>
                        <a:pt x="88035" y="232030"/>
                      </a:cubicBezTo>
                      <a:cubicBezTo>
                        <a:pt x="76205" y="235326"/>
                        <a:pt x="68004" y="230545"/>
                        <a:pt x="65299" y="245232"/>
                      </a:cubicBezTo>
                      <a:cubicBezTo>
                        <a:pt x="64404" y="250071"/>
                        <a:pt x="65042" y="254547"/>
                        <a:pt x="63423" y="259129"/>
                      </a:cubicBezTo>
                      <a:cubicBezTo>
                        <a:pt x="61651" y="264101"/>
                        <a:pt x="58460" y="269044"/>
                        <a:pt x="56098" y="273769"/>
                      </a:cubicBezTo>
                      <a:cubicBezTo>
                        <a:pt x="50516" y="264339"/>
                        <a:pt x="55545" y="254709"/>
                        <a:pt x="46287" y="247642"/>
                      </a:cubicBezTo>
                      <a:cubicBezTo>
                        <a:pt x="36952" y="240517"/>
                        <a:pt x="24084" y="230630"/>
                        <a:pt x="19531" y="218762"/>
                      </a:cubicBezTo>
                      <a:cubicBezTo>
                        <a:pt x="25103" y="218752"/>
                        <a:pt x="21522" y="211675"/>
                        <a:pt x="19388" y="208551"/>
                      </a:cubicBezTo>
                      <a:cubicBezTo>
                        <a:pt x="15445" y="202789"/>
                        <a:pt x="10368" y="202569"/>
                        <a:pt x="8692" y="195321"/>
                      </a:cubicBezTo>
                      <a:cubicBezTo>
                        <a:pt x="7911" y="191920"/>
                        <a:pt x="8368" y="188092"/>
                        <a:pt x="7273" y="184777"/>
                      </a:cubicBezTo>
                      <a:cubicBezTo>
                        <a:pt x="6749" y="183205"/>
                        <a:pt x="4663" y="180662"/>
                        <a:pt x="4463" y="179386"/>
                      </a:cubicBezTo>
                      <a:cubicBezTo>
                        <a:pt x="3606" y="173851"/>
                        <a:pt x="8301" y="167765"/>
                        <a:pt x="5777" y="161974"/>
                      </a:cubicBezTo>
                      <a:cubicBezTo>
                        <a:pt x="4529" y="159116"/>
                        <a:pt x="-385" y="158145"/>
                        <a:pt x="24" y="154325"/>
                      </a:cubicBezTo>
                      <a:cubicBezTo>
                        <a:pt x="491" y="150020"/>
                        <a:pt x="7777" y="149239"/>
                        <a:pt x="10187" y="146315"/>
                      </a:cubicBezTo>
                      <a:cubicBezTo>
                        <a:pt x="13521" y="142267"/>
                        <a:pt x="16607" y="134285"/>
                        <a:pt x="19236" y="129627"/>
                      </a:cubicBezTo>
                      <a:cubicBezTo>
                        <a:pt x="23008" y="122912"/>
                        <a:pt x="23751" y="119007"/>
                        <a:pt x="28942" y="113501"/>
                      </a:cubicBezTo>
                      <a:cubicBezTo>
                        <a:pt x="33076" y="109139"/>
                        <a:pt x="31218" y="109063"/>
                        <a:pt x="37238" y="108967"/>
                      </a:cubicBezTo>
                      <a:cubicBezTo>
                        <a:pt x="40925" y="108920"/>
                        <a:pt x="43325" y="109920"/>
                        <a:pt x="47020" y="108786"/>
                      </a:cubicBezTo>
                      <a:cubicBezTo>
                        <a:pt x="49649" y="107986"/>
                        <a:pt x="56822" y="105157"/>
                        <a:pt x="59194" y="103557"/>
                      </a:cubicBezTo>
                      <a:cubicBezTo>
                        <a:pt x="61508" y="101985"/>
                        <a:pt x="61603" y="98661"/>
                        <a:pt x="65251" y="97537"/>
                      </a:cubicBezTo>
                      <a:cubicBezTo>
                        <a:pt x="67480" y="109053"/>
                        <a:pt x="75757" y="106634"/>
                        <a:pt x="83311" y="102690"/>
                      </a:cubicBezTo>
                      <a:cubicBezTo>
                        <a:pt x="92845" y="97718"/>
                        <a:pt x="97332" y="94546"/>
                        <a:pt x="108457" y="93775"/>
                      </a:cubicBezTo>
                      <a:cubicBezTo>
                        <a:pt x="113038" y="93461"/>
                        <a:pt x="119525" y="93584"/>
                        <a:pt x="123944" y="92337"/>
                      </a:cubicBezTo>
                      <a:cubicBezTo>
                        <a:pt x="129764" y="90698"/>
                        <a:pt x="127497" y="90822"/>
                        <a:pt x="131517" y="87069"/>
                      </a:cubicBezTo>
                      <a:cubicBezTo>
                        <a:pt x="135270" y="83564"/>
                        <a:pt x="140270" y="80592"/>
                        <a:pt x="142490" y="75534"/>
                      </a:cubicBezTo>
                      <a:cubicBezTo>
                        <a:pt x="145528" y="68591"/>
                        <a:pt x="141080" y="73915"/>
                        <a:pt x="138794" y="67543"/>
                      </a:cubicBezTo>
                      <a:cubicBezTo>
                        <a:pt x="135898" y="59428"/>
                        <a:pt x="155853" y="61542"/>
                        <a:pt x="161035" y="61076"/>
                      </a:cubicBezTo>
                      <a:cubicBezTo>
                        <a:pt x="164864" y="60733"/>
                        <a:pt x="168369" y="59752"/>
                        <a:pt x="172065" y="58951"/>
                      </a:cubicBezTo>
                      <a:cubicBezTo>
                        <a:pt x="177894" y="57694"/>
                        <a:pt x="182418" y="57770"/>
                        <a:pt x="187733" y="54760"/>
                      </a:cubicBezTo>
                      <a:cubicBezTo>
                        <a:pt x="195572" y="50312"/>
                        <a:pt x="199640" y="44569"/>
                        <a:pt x="205088" y="37701"/>
                      </a:cubicBezTo>
                      <a:cubicBezTo>
                        <a:pt x="206755" y="35596"/>
                        <a:pt x="208993" y="33024"/>
                        <a:pt x="211051" y="31329"/>
                      </a:cubicBezTo>
                      <a:cubicBezTo>
                        <a:pt x="212136" y="30424"/>
                        <a:pt x="213975" y="31539"/>
                        <a:pt x="215365" y="30262"/>
                      </a:cubicBezTo>
                      <a:cubicBezTo>
                        <a:pt x="216975" y="28786"/>
                        <a:pt x="217318" y="25947"/>
                        <a:pt x="218804" y="24261"/>
                      </a:cubicBezTo>
                      <a:cubicBezTo>
                        <a:pt x="219823" y="23099"/>
                        <a:pt x="222023" y="23690"/>
                        <a:pt x="222928" y="22366"/>
                      </a:cubicBezTo>
                      <a:cubicBezTo>
                        <a:pt x="225757" y="18175"/>
                        <a:pt x="223128" y="14955"/>
                        <a:pt x="225014" y="11374"/>
                      </a:cubicBezTo>
                      <a:cubicBezTo>
                        <a:pt x="226119" y="9269"/>
                        <a:pt x="232987" y="5526"/>
                        <a:pt x="235130" y="4316"/>
                      </a:cubicBezTo>
                      <a:cubicBezTo>
                        <a:pt x="243150" y="-189"/>
                        <a:pt x="250760" y="-1123"/>
                        <a:pt x="260114" y="1306"/>
                      </a:cubicBezTo>
                      <a:lnTo>
                        <a:pt x="260114" y="1306"/>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79" name="Freeform: Shape 678">
                  <a:extLst>
                    <a:ext uri="{FF2B5EF4-FFF2-40B4-BE49-F238E27FC236}">
                      <a16:creationId xmlns:a16="http://schemas.microsoft.com/office/drawing/2014/main" id="{3C013D96-2351-4F2D-B349-ABF8A8FF65D2}"/>
                    </a:ext>
                  </a:extLst>
                </p:cNvPr>
                <p:cNvSpPr/>
                <p:nvPr/>
              </p:nvSpPr>
              <p:spPr>
                <a:xfrm>
                  <a:off x="6194472" y="4925305"/>
                  <a:ext cx="289841" cy="285635"/>
                </a:xfrm>
                <a:custGeom>
                  <a:avLst/>
                  <a:gdLst>
                    <a:gd name="connsiteX0" fmla="*/ 175732 w 289841"/>
                    <a:gd name="connsiteY0" fmla="*/ 79 h 285635"/>
                    <a:gd name="connsiteX1" fmla="*/ 183819 w 289841"/>
                    <a:gd name="connsiteY1" fmla="*/ 20843 h 285635"/>
                    <a:gd name="connsiteX2" fmla="*/ 195773 w 289841"/>
                    <a:gd name="connsiteY2" fmla="*/ 45199 h 285635"/>
                    <a:gd name="connsiteX3" fmla="*/ 214404 w 289841"/>
                    <a:gd name="connsiteY3" fmla="*/ 66211 h 285635"/>
                    <a:gd name="connsiteX4" fmla="*/ 231301 w 289841"/>
                    <a:gd name="connsiteY4" fmla="*/ 84670 h 285635"/>
                    <a:gd name="connsiteX5" fmla="*/ 242436 w 289841"/>
                    <a:gd name="connsiteY5" fmla="*/ 97834 h 285635"/>
                    <a:gd name="connsiteX6" fmla="*/ 252142 w 289841"/>
                    <a:gd name="connsiteY6" fmla="*/ 119217 h 285635"/>
                    <a:gd name="connsiteX7" fmla="*/ 280241 w 289841"/>
                    <a:gd name="connsiteY7" fmla="*/ 125952 h 285635"/>
                    <a:gd name="connsiteX8" fmla="*/ 280984 w 289841"/>
                    <a:gd name="connsiteY8" fmla="*/ 133638 h 285635"/>
                    <a:gd name="connsiteX9" fmla="*/ 289842 w 289841"/>
                    <a:gd name="connsiteY9" fmla="*/ 138706 h 285635"/>
                    <a:gd name="connsiteX10" fmla="*/ 272935 w 289841"/>
                    <a:gd name="connsiteY10" fmla="*/ 147716 h 285635"/>
                    <a:gd name="connsiteX11" fmla="*/ 252656 w 289841"/>
                    <a:gd name="connsiteY11" fmla="*/ 154993 h 285635"/>
                    <a:gd name="connsiteX12" fmla="*/ 239626 w 289841"/>
                    <a:gd name="connsiteY12" fmla="*/ 167843 h 285635"/>
                    <a:gd name="connsiteX13" fmla="*/ 229006 w 289841"/>
                    <a:gd name="connsiteY13" fmla="*/ 175844 h 285635"/>
                    <a:gd name="connsiteX14" fmla="*/ 213927 w 289841"/>
                    <a:gd name="connsiteY14" fmla="*/ 185569 h 285635"/>
                    <a:gd name="connsiteX15" fmla="*/ 205860 w 289841"/>
                    <a:gd name="connsiteY15" fmla="*/ 204190 h 285635"/>
                    <a:gd name="connsiteX16" fmla="*/ 191887 w 289841"/>
                    <a:gd name="connsiteY16" fmla="*/ 215106 h 285635"/>
                    <a:gd name="connsiteX17" fmla="*/ 175485 w 289841"/>
                    <a:gd name="connsiteY17" fmla="*/ 225078 h 285635"/>
                    <a:gd name="connsiteX18" fmla="*/ 166998 w 289841"/>
                    <a:gd name="connsiteY18" fmla="*/ 243223 h 285635"/>
                    <a:gd name="connsiteX19" fmla="*/ 150777 w 289841"/>
                    <a:gd name="connsiteY19" fmla="*/ 250872 h 285635"/>
                    <a:gd name="connsiteX20" fmla="*/ 131870 w 289841"/>
                    <a:gd name="connsiteY20" fmla="*/ 251262 h 285635"/>
                    <a:gd name="connsiteX21" fmla="*/ 123574 w 289841"/>
                    <a:gd name="connsiteY21" fmla="*/ 247081 h 285635"/>
                    <a:gd name="connsiteX22" fmla="*/ 114287 w 289841"/>
                    <a:gd name="connsiteY22" fmla="*/ 245538 h 285635"/>
                    <a:gd name="connsiteX23" fmla="*/ 84102 w 289841"/>
                    <a:gd name="connsiteY23" fmla="*/ 242804 h 285635"/>
                    <a:gd name="connsiteX24" fmla="*/ 75263 w 289841"/>
                    <a:gd name="connsiteY24" fmla="*/ 261845 h 285635"/>
                    <a:gd name="connsiteX25" fmla="*/ 60242 w 289841"/>
                    <a:gd name="connsiteY25" fmla="*/ 274056 h 285635"/>
                    <a:gd name="connsiteX26" fmla="*/ 27285 w 289841"/>
                    <a:gd name="connsiteY26" fmla="*/ 285467 h 285635"/>
                    <a:gd name="connsiteX27" fmla="*/ 14379 w 289841"/>
                    <a:gd name="connsiteY27" fmla="*/ 278323 h 285635"/>
                    <a:gd name="connsiteX28" fmla="*/ 21446 w 289841"/>
                    <a:gd name="connsiteY28" fmla="*/ 262493 h 285635"/>
                    <a:gd name="connsiteX29" fmla="*/ 8111 w 289841"/>
                    <a:gd name="connsiteY29" fmla="*/ 226640 h 285635"/>
                    <a:gd name="connsiteX30" fmla="*/ 177 w 289841"/>
                    <a:gd name="connsiteY30" fmla="*/ 211029 h 285635"/>
                    <a:gd name="connsiteX31" fmla="*/ 1739 w 289841"/>
                    <a:gd name="connsiteY31" fmla="*/ 188740 h 285635"/>
                    <a:gd name="connsiteX32" fmla="*/ 4502 w 289841"/>
                    <a:gd name="connsiteY32" fmla="*/ 148202 h 285635"/>
                    <a:gd name="connsiteX33" fmla="*/ 5197 w 289841"/>
                    <a:gd name="connsiteY33" fmla="*/ 137582 h 285635"/>
                    <a:gd name="connsiteX34" fmla="*/ 12341 w 289841"/>
                    <a:gd name="connsiteY34" fmla="*/ 132610 h 285635"/>
                    <a:gd name="connsiteX35" fmla="*/ 35572 w 289841"/>
                    <a:gd name="connsiteY35" fmla="*/ 132486 h 285635"/>
                    <a:gd name="connsiteX36" fmla="*/ 37182 w 289841"/>
                    <a:gd name="connsiteY36" fmla="*/ 113026 h 285635"/>
                    <a:gd name="connsiteX37" fmla="*/ 38677 w 289841"/>
                    <a:gd name="connsiteY37" fmla="*/ 90214 h 285635"/>
                    <a:gd name="connsiteX38" fmla="*/ 41277 w 289841"/>
                    <a:gd name="connsiteY38" fmla="*/ 47456 h 285635"/>
                    <a:gd name="connsiteX39" fmla="*/ 42640 w 289841"/>
                    <a:gd name="connsiteY39" fmla="*/ 23596 h 285635"/>
                    <a:gd name="connsiteX40" fmla="*/ 45840 w 289841"/>
                    <a:gd name="connsiteY40" fmla="*/ 16557 h 285635"/>
                    <a:gd name="connsiteX41" fmla="*/ 57803 w 289841"/>
                    <a:gd name="connsiteY41" fmla="*/ 15328 h 285635"/>
                    <a:gd name="connsiteX42" fmla="*/ 101980 w 289841"/>
                    <a:gd name="connsiteY42" fmla="*/ 8061 h 285635"/>
                    <a:gd name="connsiteX43" fmla="*/ 117316 w 289841"/>
                    <a:gd name="connsiteY43" fmla="*/ 10804 h 285635"/>
                    <a:gd name="connsiteX44" fmla="*/ 126869 w 289841"/>
                    <a:gd name="connsiteY44" fmla="*/ 19776 h 285635"/>
                    <a:gd name="connsiteX45" fmla="*/ 142261 w 289841"/>
                    <a:gd name="connsiteY45" fmla="*/ 8137 h 285635"/>
                    <a:gd name="connsiteX46" fmla="*/ 149310 w 289841"/>
                    <a:gd name="connsiteY46" fmla="*/ 6289 h 285635"/>
                    <a:gd name="connsiteX47" fmla="*/ 157425 w 289841"/>
                    <a:gd name="connsiteY47" fmla="*/ 4994 h 285635"/>
                    <a:gd name="connsiteX48" fmla="*/ 175732 w 289841"/>
                    <a:gd name="connsiteY48" fmla="*/ 79 h 285635"/>
                    <a:gd name="connsiteX49" fmla="*/ 175732 w 289841"/>
                    <a:gd name="connsiteY49" fmla="*/ 79 h 28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89841" h="285635">
                      <a:moveTo>
                        <a:pt x="175732" y="79"/>
                      </a:moveTo>
                      <a:cubicBezTo>
                        <a:pt x="172275" y="5489"/>
                        <a:pt x="180686" y="16319"/>
                        <a:pt x="183819" y="20843"/>
                      </a:cubicBezTo>
                      <a:cubicBezTo>
                        <a:pt x="189829" y="29492"/>
                        <a:pt x="192934" y="35407"/>
                        <a:pt x="195773" y="45199"/>
                      </a:cubicBezTo>
                      <a:cubicBezTo>
                        <a:pt x="198545" y="54714"/>
                        <a:pt x="205831" y="61124"/>
                        <a:pt x="214404" y="66211"/>
                      </a:cubicBezTo>
                      <a:cubicBezTo>
                        <a:pt x="224758" y="72355"/>
                        <a:pt x="231825" y="70411"/>
                        <a:pt x="231301" y="84670"/>
                      </a:cubicBezTo>
                      <a:cubicBezTo>
                        <a:pt x="244807" y="84108"/>
                        <a:pt x="243598" y="85909"/>
                        <a:pt x="242436" y="97834"/>
                      </a:cubicBezTo>
                      <a:cubicBezTo>
                        <a:pt x="241807" y="104358"/>
                        <a:pt x="246570" y="115407"/>
                        <a:pt x="252142" y="119217"/>
                      </a:cubicBezTo>
                      <a:cubicBezTo>
                        <a:pt x="258057" y="123266"/>
                        <a:pt x="275526" y="119370"/>
                        <a:pt x="280241" y="125952"/>
                      </a:cubicBezTo>
                      <a:cubicBezTo>
                        <a:pt x="281755" y="128085"/>
                        <a:pt x="279040" y="130981"/>
                        <a:pt x="280984" y="133638"/>
                      </a:cubicBezTo>
                      <a:cubicBezTo>
                        <a:pt x="282917" y="136267"/>
                        <a:pt x="287356" y="135353"/>
                        <a:pt x="289842" y="138706"/>
                      </a:cubicBezTo>
                      <a:cubicBezTo>
                        <a:pt x="280422" y="139563"/>
                        <a:pt x="280202" y="143239"/>
                        <a:pt x="272935" y="147716"/>
                      </a:cubicBezTo>
                      <a:cubicBezTo>
                        <a:pt x="266515" y="151679"/>
                        <a:pt x="258857" y="150259"/>
                        <a:pt x="252656" y="154993"/>
                      </a:cubicBezTo>
                      <a:cubicBezTo>
                        <a:pt x="247542" y="158889"/>
                        <a:pt x="244388" y="164128"/>
                        <a:pt x="239626" y="167843"/>
                      </a:cubicBezTo>
                      <a:cubicBezTo>
                        <a:pt x="236073" y="170614"/>
                        <a:pt x="233025" y="173205"/>
                        <a:pt x="229006" y="175844"/>
                      </a:cubicBezTo>
                      <a:cubicBezTo>
                        <a:pt x="223872" y="179215"/>
                        <a:pt x="217690" y="179892"/>
                        <a:pt x="213927" y="185569"/>
                      </a:cubicBezTo>
                      <a:cubicBezTo>
                        <a:pt x="210213" y="191179"/>
                        <a:pt x="210346" y="199189"/>
                        <a:pt x="205860" y="204190"/>
                      </a:cubicBezTo>
                      <a:cubicBezTo>
                        <a:pt x="202755" y="207638"/>
                        <a:pt x="195906" y="213191"/>
                        <a:pt x="191887" y="215106"/>
                      </a:cubicBezTo>
                      <a:cubicBezTo>
                        <a:pt x="183353" y="219144"/>
                        <a:pt x="179552" y="215972"/>
                        <a:pt x="175485" y="225078"/>
                      </a:cubicBezTo>
                      <a:cubicBezTo>
                        <a:pt x="172856" y="230974"/>
                        <a:pt x="170370" y="237728"/>
                        <a:pt x="166998" y="243223"/>
                      </a:cubicBezTo>
                      <a:cubicBezTo>
                        <a:pt x="162683" y="250262"/>
                        <a:pt x="158226" y="249786"/>
                        <a:pt x="150777" y="250872"/>
                      </a:cubicBezTo>
                      <a:cubicBezTo>
                        <a:pt x="143890" y="251872"/>
                        <a:pt x="139071" y="253377"/>
                        <a:pt x="131870" y="251262"/>
                      </a:cubicBezTo>
                      <a:cubicBezTo>
                        <a:pt x="128622" y="250310"/>
                        <a:pt x="126431" y="247996"/>
                        <a:pt x="123574" y="247081"/>
                      </a:cubicBezTo>
                      <a:cubicBezTo>
                        <a:pt x="120383" y="246052"/>
                        <a:pt x="117506" y="247214"/>
                        <a:pt x="114287" y="245538"/>
                      </a:cubicBezTo>
                      <a:cubicBezTo>
                        <a:pt x="104352" y="240395"/>
                        <a:pt x="93293" y="228231"/>
                        <a:pt x="84102" y="242804"/>
                      </a:cubicBezTo>
                      <a:cubicBezTo>
                        <a:pt x="80454" y="248577"/>
                        <a:pt x="79777" y="256568"/>
                        <a:pt x="75263" y="261845"/>
                      </a:cubicBezTo>
                      <a:cubicBezTo>
                        <a:pt x="71167" y="266636"/>
                        <a:pt x="64728" y="269513"/>
                        <a:pt x="60242" y="274056"/>
                      </a:cubicBezTo>
                      <a:cubicBezTo>
                        <a:pt x="50850" y="283590"/>
                        <a:pt x="41030" y="286400"/>
                        <a:pt x="27285" y="285467"/>
                      </a:cubicBezTo>
                      <a:cubicBezTo>
                        <a:pt x="20237" y="284991"/>
                        <a:pt x="14779" y="286610"/>
                        <a:pt x="14379" y="278323"/>
                      </a:cubicBezTo>
                      <a:cubicBezTo>
                        <a:pt x="14036" y="271132"/>
                        <a:pt x="19999" y="268741"/>
                        <a:pt x="21446" y="262493"/>
                      </a:cubicBezTo>
                      <a:cubicBezTo>
                        <a:pt x="23656" y="252996"/>
                        <a:pt x="14655" y="233184"/>
                        <a:pt x="8111" y="226640"/>
                      </a:cubicBezTo>
                      <a:cubicBezTo>
                        <a:pt x="996" y="219525"/>
                        <a:pt x="-594" y="221754"/>
                        <a:pt x="177" y="211029"/>
                      </a:cubicBezTo>
                      <a:cubicBezTo>
                        <a:pt x="710" y="203609"/>
                        <a:pt x="1225" y="196170"/>
                        <a:pt x="1739" y="188740"/>
                      </a:cubicBezTo>
                      <a:cubicBezTo>
                        <a:pt x="2673" y="175224"/>
                        <a:pt x="3577" y="161708"/>
                        <a:pt x="4502" y="148202"/>
                      </a:cubicBezTo>
                      <a:cubicBezTo>
                        <a:pt x="4730" y="144849"/>
                        <a:pt x="4368" y="140858"/>
                        <a:pt x="5197" y="137582"/>
                      </a:cubicBezTo>
                      <a:cubicBezTo>
                        <a:pt x="6635" y="131876"/>
                        <a:pt x="5521" y="132638"/>
                        <a:pt x="12341" y="132610"/>
                      </a:cubicBezTo>
                      <a:cubicBezTo>
                        <a:pt x="16436" y="132581"/>
                        <a:pt x="32781" y="135105"/>
                        <a:pt x="35572" y="132486"/>
                      </a:cubicBezTo>
                      <a:cubicBezTo>
                        <a:pt x="38115" y="130095"/>
                        <a:pt x="36972" y="116265"/>
                        <a:pt x="37182" y="113026"/>
                      </a:cubicBezTo>
                      <a:cubicBezTo>
                        <a:pt x="37677" y="105425"/>
                        <a:pt x="38211" y="97824"/>
                        <a:pt x="38677" y="90214"/>
                      </a:cubicBezTo>
                      <a:cubicBezTo>
                        <a:pt x="39563" y="75964"/>
                        <a:pt x="40449" y="61715"/>
                        <a:pt x="41277" y="47456"/>
                      </a:cubicBezTo>
                      <a:cubicBezTo>
                        <a:pt x="41744" y="39503"/>
                        <a:pt x="42211" y="31549"/>
                        <a:pt x="42640" y="23596"/>
                      </a:cubicBezTo>
                      <a:cubicBezTo>
                        <a:pt x="42906" y="18719"/>
                        <a:pt x="42220" y="18271"/>
                        <a:pt x="45840" y="16557"/>
                      </a:cubicBezTo>
                      <a:cubicBezTo>
                        <a:pt x="48497" y="15290"/>
                        <a:pt x="54822" y="15748"/>
                        <a:pt x="57803" y="15328"/>
                      </a:cubicBezTo>
                      <a:cubicBezTo>
                        <a:pt x="72596" y="13204"/>
                        <a:pt x="87255" y="10585"/>
                        <a:pt x="101980" y="8061"/>
                      </a:cubicBezTo>
                      <a:cubicBezTo>
                        <a:pt x="109324" y="6803"/>
                        <a:pt x="112505" y="5184"/>
                        <a:pt x="117316" y="10804"/>
                      </a:cubicBezTo>
                      <a:cubicBezTo>
                        <a:pt x="121240" y="15376"/>
                        <a:pt x="120668" y="22005"/>
                        <a:pt x="126869" y="19776"/>
                      </a:cubicBezTo>
                      <a:cubicBezTo>
                        <a:pt x="132032" y="17928"/>
                        <a:pt x="136651" y="10623"/>
                        <a:pt x="142261" y="8137"/>
                      </a:cubicBezTo>
                      <a:cubicBezTo>
                        <a:pt x="144786" y="7022"/>
                        <a:pt x="146757" y="6508"/>
                        <a:pt x="149310" y="6289"/>
                      </a:cubicBezTo>
                      <a:cubicBezTo>
                        <a:pt x="154082" y="5860"/>
                        <a:pt x="151539" y="8270"/>
                        <a:pt x="157425" y="4994"/>
                      </a:cubicBezTo>
                      <a:cubicBezTo>
                        <a:pt x="163502" y="1612"/>
                        <a:pt x="168408" y="-436"/>
                        <a:pt x="175732" y="79"/>
                      </a:cubicBezTo>
                      <a:lnTo>
                        <a:pt x="175732" y="79"/>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80" name="Freeform: Shape 679">
                  <a:extLst>
                    <a:ext uri="{FF2B5EF4-FFF2-40B4-BE49-F238E27FC236}">
                      <a16:creationId xmlns:a16="http://schemas.microsoft.com/office/drawing/2014/main" id="{5F5E0557-D3F2-4E15-9B01-293C32C53A03}"/>
                    </a:ext>
                  </a:extLst>
                </p:cNvPr>
                <p:cNvSpPr/>
                <p:nvPr/>
              </p:nvSpPr>
              <p:spPr>
                <a:xfrm>
                  <a:off x="8234742" y="3472954"/>
                  <a:ext cx="101357" cy="50773"/>
                </a:xfrm>
                <a:custGeom>
                  <a:avLst/>
                  <a:gdLst>
                    <a:gd name="connsiteX0" fmla="*/ 79153 w 101357"/>
                    <a:gd name="connsiteY0" fmla="*/ 17498 h 50773"/>
                    <a:gd name="connsiteX1" fmla="*/ 98041 w 101357"/>
                    <a:gd name="connsiteY1" fmla="*/ 32329 h 50773"/>
                    <a:gd name="connsiteX2" fmla="*/ 97422 w 101357"/>
                    <a:gd name="connsiteY2" fmla="*/ 37558 h 50773"/>
                    <a:gd name="connsiteX3" fmla="*/ 100289 w 101357"/>
                    <a:gd name="connsiteY3" fmla="*/ 41178 h 50773"/>
                    <a:gd name="connsiteX4" fmla="*/ 97460 w 101357"/>
                    <a:gd name="connsiteY4" fmla="*/ 45864 h 50773"/>
                    <a:gd name="connsiteX5" fmla="*/ 91897 w 101357"/>
                    <a:gd name="connsiteY5" fmla="*/ 47464 h 50773"/>
                    <a:gd name="connsiteX6" fmla="*/ 84230 w 101357"/>
                    <a:gd name="connsiteY6" fmla="*/ 45645 h 50773"/>
                    <a:gd name="connsiteX7" fmla="*/ 78791 w 101357"/>
                    <a:gd name="connsiteY7" fmla="*/ 47950 h 50773"/>
                    <a:gd name="connsiteX8" fmla="*/ 68295 w 101357"/>
                    <a:gd name="connsiteY8" fmla="*/ 48359 h 50773"/>
                    <a:gd name="connsiteX9" fmla="*/ 55388 w 101357"/>
                    <a:gd name="connsiteY9" fmla="*/ 46616 h 50773"/>
                    <a:gd name="connsiteX10" fmla="*/ 44453 w 101357"/>
                    <a:gd name="connsiteY10" fmla="*/ 49436 h 50773"/>
                    <a:gd name="connsiteX11" fmla="*/ 19745 w 101357"/>
                    <a:gd name="connsiteY11" fmla="*/ 46435 h 50773"/>
                    <a:gd name="connsiteX12" fmla="*/ 0 w 101357"/>
                    <a:gd name="connsiteY12" fmla="*/ 34596 h 50773"/>
                    <a:gd name="connsiteX13" fmla="*/ 2829 w 101357"/>
                    <a:gd name="connsiteY13" fmla="*/ 29148 h 50773"/>
                    <a:gd name="connsiteX14" fmla="*/ 5963 w 101357"/>
                    <a:gd name="connsiteY14" fmla="*/ 22766 h 50773"/>
                    <a:gd name="connsiteX15" fmla="*/ 11878 w 101357"/>
                    <a:gd name="connsiteY15" fmla="*/ 8002 h 50773"/>
                    <a:gd name="connsiteX16" fmla="*/ 35357 w 101357"/>
                    <a:gd name="connsiteY16" fmla="*/ 2268 h 50773"/>
                    <a:gd name="connsiteX17" fmla="*/ 42472 w 101357"/>
                    <a:gd name="connsiteY17" fmla="*/ 7640 h 50773"/>
                    <a:gd name="connsiteX18" fmla="*/ 58503 w 101357"/>
                    <a:gd name="connsiteY18" fmla="*/ 10850 h 50773"/>
                    <a:gd name="connsiteX19" fmla="*/ 68771 w 101357"/>
                    <a:gd name="connsiteY19" fmla="*/ 9431 h 50773"/>
                    <a:gd name="connsiteX20" fmla="*/ 79153 w 101357"/>
                    <a:gd name="connsiteY20" fmla="*/ 17498 h 50773"/>
                    <a:gd name="connsiteX21" fmla="*/ 79153 w 101357"/>
                    <a:gd name="connsiteY21" fmla="*/ 17498 h 50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1357" h="50773">
                      <a:moveTo>
                        <a:pt x="79153" y="17498"/>
                      </a:moveTo>
                      <a:cubicBezTo>
                        <a:pt x="76810" y="30900"/>
                        <a:pt x="94545" y="23233"/>
                        <a:pt x="98041" y="32329"/>
                      </a:cubicBezTo>
                      <a:cubicBezTo>
                        <a:pt x="98517" y="33558"/>
                        <a:pt x="96812" y="35920"/>
                        <a:pt x="97422" y="37558"/>
                      </a:cubicBezTo>
                      <a:cubicBezTo>
                        <a:pt x="97927" y="38911"/>
                        <a:pt x="99965" y="39920"/>
                        <a:pt x="100289" y="41178"/>
                      </a:cubicBezTo>
                      <a:cubicBezTo>
                        <a:pt x="101784" y="47064"/>
                        <a:pt x="102384" y="43797"/>
                        <a:pt x="97460" y="45864"/>
                      </a:cubicBezTo>
                      <a:cubicBezTo>
                        <a:pt x="96184" y="46397"/>
                        <a:pt x="93222" y="47388"/>
                        <a:pt x="91897" y="47464"/>
                      </a:cubicBezTo>
                      <a:cubicBezTo>
                        <a:pt x="88735" y="47664"/>
                        <a:pt x="86573" y="45731"/>
                        <a:pt x="84230" y="45645"/>
                      </a:cubicBezTo>
                      <a:cubicBezTo>
                        <a:pt x="82182" y="45569"/>
                        <a:pt x="80868" y="47731"/>
                        <a:pt x="78791" y="47950"/>
                      </a:cubicBezTo>
                      <a:cubicBezTo>
                        <a:pt x="75476" y="48293"/>
                        <a:pt x="71667" y="48169"/>
                        <a:pt x="68295" y="48359"/>
                      </a:cubicBezTo>
                      <a:cubicBezTo>
                        <a:pt x="63341" y="48636"/>
                        <a:pt x="59998" y="47407"/>
                        <a:pt x="55388" y="46616"/>
                      </a:cubicBezTo>
                      <a:cubicBezTo>
                        <a:pt x="47892" y="45331"/>
                        <a:pt x="50292" y="46921"/>
                        <a:pt x="44453" y="49436"/>
                      </a:cubicBezTo>
                      <a:cubicBezTo>
                        <a:pt x="35300" y="53370"/>
                        <a:pt x="28509" y="47474"/>
                        <a:pt x="19745" y="46435"/>
                      </a:cubicBezTo>
                      <a:cubicBezTo>
                        <a:pt x="13478" y="45692"/>
                        <a:pt x="829" y="42797"/>
                        <a:pt x="0" y="34596"/>
                      </a:cubicBezTo>
                      <a:cubicBezTo>
                        <a:pt x="153" y="36053"/>
                        <a:pt x="3010" y="28786"/>
                        <a:pt x="2829" y="29148"/>
                      </a:cubicBezTo>
                      <a:cubicBezTo>
                        <a:pt x="3677" y="27481"/>
                        <a:pt x="5201" y="24785"/>
                        <a:pt x="5963" y="22766"/>
                      </a:cubicBezTo>
                      <a:cubicBezTo>
                        <a:pt x="7687" y="18213"/>
                        <a:pt x="8430" y="11974"/>
                        <a:pt x="11878" y="8002"/>
                      </a:cubicBezTo>
                      <a:cubicBezTo>
                        <a:pt x="16964" y="2144"/>
                        <a:pt x="27470" y="-3171"/>
                        <a:pt x="35357" y="2268"/>
                      </a:cubicBezTo>
                      <a:cubicBezTo>
                        <a:pt x="39529" y="5145"/>
                        <a:pt x="34938" y="6611"/>
                        <a:pt x="42472" y="7640"/>
                      </a:cubicBezTo>
                      <a:cubicBezTo>
                        <a:pt x="46368" y="8174"/>
                        <a:pt x="55150" y="11241"/>
                        <a:pt x="58503" y="10850"/>
                      </a:cubicBezTo>
                      <a:cubicBezTo>
                        <a:pt x="64618" y="10136"/>
                        <a:pt x="62170" y="7916"/>
                        <a:pt x="68771" y="9431"/>
                      </a:cubicBezTo>
                      <a:cubicBezTo>
                        <a:pt x="74581" y="10755"/>
                        <a:pt x="77953" y="11212"/>
                        <a:pt x="79153" y="17498"/>
                      </a:cubicBezTo>
                      <a:lnTo>
                        <a:pt x="79153" y="17498"/>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81" name="Freeform: Shape 680">
                  <a:extLst>
                    <a:ext uri="{FF2B5EF4-FFF2-40B4-BE49-F238E27FC236}">
                      <a16:creationId xmlns:a16="http://schemas.microsoft.com/office/drawing/2014/main" id="{E840BAC2-FC74-4FEA-8BE8-55B68CBFB93B}"/>
                    </a:ext>
                  </a:extLst>
                </p:cNvPr>
                <p:cNvSpPr/>
                <p:nvPr/>
              </p:nvSpPr>
              <p:spPr>
                <a:xfrm>
                  <a:off x="3273790" y="4199274"/>
                  <a:ext cx="1227630" cy="1228094"/>
                </a:xfrm>
                <a:custGeom>
                  <a:avLst/>
                  <a:gdLst>
                    <a:gd name="connsiteX0" fmla="*/ 756493 w 1227630"/>
                    <a:gd name="connsiteY0" fmla="*/ 172831 h 1228094"/>
                    <a:gd name="connsiteX1" fmla="*/ 771057 w 1227630"/>
                    <a:gd name="connsiteY1" fmla="*/ 170688 h 1228094"/>
                    <a:gd name="connsiteX2" fmla="*/ 788288 w 1227630"/>
                    <a:gd name="connsiteY2" fmla="*/ 172831 h 1228094"/>
                    <a:gd name="connsiteX3" fmla="*/ 795460 w 1227630"/>
                    <a:gd name="connsiteY3" fmla="*/ 177413 h 1228094"/>
                    <a:gd name="connsiteX4" fmla="*/ 789993 w 1227630"/>
                    <a:gd name="connsiteY4" fmla="*/ 187166 h 1228094"/>
                    <a:gd name="connsiteX5" fmla="*/ 781516 w 1227630"/>
                    <a:gd name="connsiteY5" fmla="*/ 204245 h 1228094"/>
                    <a:gd name="connsiteX6" fmla="*/ 779172 w 1227630"/>
                    <a:gd name="connsiteY6" fmla="*/ 211912 h 1228094"/>
                    <a:gd name="connsiteX7" fmla="*/ 771086 w 1227630"/>
                    <a:gd name="connsiteY7" fmla="*/ 210103 h 1228094"/>
                    <a:gd name="connsiteX8" fmla="*/ 760608 w 1227630"/>
                    <a:gd name="connsiteY8" fmla="*/ 213227 h 1228094"/>
                    <a:gd name="connsiteX9" fmla="*/ 748778 w 1227630"/>
                    <a:gd name="connsiteY9" fmla="*/ 221361 h 1228094"/>
                    <a:gd name="connsiteX10" fmla="*/ 742368 w 1227630"/>
                    <a:gd name="connsiteY10" fmla="*/ 219970 h 1228094"/>
                    <a:gd name="connsiteX11" fmla="*/ 734472 w 1227630"/>
                    <a:gd name="connsiteY11" fmla="*/ 220923 h 1228094"/>
                    <a:gd name="connsiteX12" fmla="*/ 724308 w 1227630"/>
                    <a:gd name="connsiteY12" fmla="*/ 214370 h 1228094"/>
                    <a:gd name="connsiteX13" fmla="*/ 721327 w 1227630"/>
                    <a:gd name="connsiteY13" fmla="*/ 205769 h 1228094"/>
                    <a:gd name="connsiteX14" fmla="*/ 724451 w 1227630"/>
                    <a:gd name="connsiteY14" fmla="*/ 201387 h 1228094"/>
                    <a:gd name="connsiteX15" fmla="*/ 726375 w 1227630"/>
                    <a:gd name="connsiteY15" fmla="*/ 199682 h 1228094"/>
                    <a:gd name="connsiteX16" fmla="*/ 720022 w 1227630"/>
                    <a:gd name="connsiteY16" fmla="*/ 195844 h 1228094"/>
                    <a:gd name="connsiteX17" fmla="*/ 722470 w 1227630"/>
                    <a:gd name="connsiteY17" fmla="*/ 181385 h 1228094"/>
                    <a:gd name="connsiteX18" fmla="*/ 756493 w 1227630"/>
                    <a:gd name="connsiteY18" fmla="*/ 172831 h 1228094"/>
                    <a:gd name="connsiteX19" fmla="*/ 756493 w 1227630"/>
                    <a:gd name="connsiteY19" fmla="*/ 172831 h 1228094"/>
                    <a:gd name="connsiteX20" fmla="*/ 426176 w 1227630"/>
                    <a:gd name="connsiteY20" fmla="*/ 0 h 1228094"/>
                    <a:gd name="connsiteX21" fmla="*/ 432500 w 1227630"/>
                    <a:gd name="connsiteY21" fmla="*/ 12592 h 1228094"/>
                    <a:gd name="connsiteX22" fmla="*/ 431967 w 1227630"/>
                    <a:gd name="connsiteY22" fmla="*/ 23717 h 1228094"/>
                    <a:gd name="connsiteX23" fmla="*/ 439949 w 1227630"/>
                    <a:gd name="connsiteY23" fmla="*/ 26022 h 1228094"/>
                    <a:gd name="connsiteX24" fmla="*/ 440711 w 1227630"/>
                    <a:gd name="connsiteY24" fmla="*/ 32756 h 1228094"/>
                    <a:gd name="connsiteX25" fmla="*/ 444340 w 1227630"/>
                    <a:gd name="connsiteY25" fmla="*/ 45263 h 1228094"/>
                    <a:gd name="connsiteX26" fmla="*/ 439120 w 1227630"/>
                    <a:gd name="connsiteY26" fmla="*/ 50740 h 1228094"/>
                    <a:gd name="connsiteX27" fmla="*/ 436730 w 1227630"/>
                    <a:gd name="connsiteY27" fmla="*/ 59398 h 1228094"/>
                    <a:gd name="connsiteX28" fmla="*/ 431053 w 1227630"/>
                    <a:gd name="connsiteY28" fmla="*/ 79734 h 1228094"/>
                    <a:gd name="connsiteX29" fmla="*/ 438492 w 1227630"/>
                    <a:gd name="connsiteY29" fmla="*/ 98784 h 1228094"/>
                    <a:gd name="connsiteX30" fmla="*/ 441216 w 1227630"/>
                    <a:gd name="connsiteY30" fmla="*/ 110833 h 1228094"/>
                    <a:gd name="connsiteX31" fmla="*/ 468638 w 1227630"/>
                    <a:gd name="connsiteY31" fmla="*/ 127263 h 1228094"/>
                    <a:gd name="connsiteX32" fmla="*/ 476820 w 1227630"/>
                    <a:gd name="connsiteY32" fmla="*/ 125111 h 1228094"/>
                    <a:gd name="connsiteX33" fmla="*/ 478182 w 1227630"/>
                    <a:gd name="connsiteY33" fmla="*/ 119424 h 1228094"/>
                    <a:gd name="connsiteX34" fmla="*/ 482059 w 1227630"/>
                    <a:gd name="connsiteY34" fmla="*/ 116081 h 1228094"/>
                    <a:gd name="connsiteX35" fmla="*/ 487631 w 1227630"/>
                    <a:gd name="connsiteY35" fmla="*/ 116853 h 1228094"/>
                    <a:gd name="connsiteX36" fmla="*/ 496051 w 1227630"/>
                    <a:gd name="connsiteY36" fmla="*/ 113367 h 1228094"/>
                    <a:gd name="connsiteX37" fmla="*/ 506414 w 1227630"/>
                    <a:gd name="connsiteY37" fmla="*/ 111823 h 1228094"/>
                    <a:gd name="connsiteX38" fmla="*/ 512463 w 1227630"/>
                    <a:gd name="connsiteY38" fmla="*/ 105023 h 1228094"/>
                    <a:gd name="connsiteX39" fmla="*/ 525379 w 1227630"/>
                    <a:gd name="connsiteY39" fmla="*/ 105213 h 1228094"/>
                    <a:gd name="connsiteX40" fmla="*/ 540743 w 1227630"/>
                    <a:gd name="connsiteY40" fmla="*/ 104527 h 1228094"/>
                    <a:gd name="connsiteX41" fmla="*/ 558754 w 1227630"/>
                    <a:gd name="connsiteY41" fmla="*/ 104099 h 1228094"/>
                    <a:gd name="connsiteX42" fmla="*/ 554116 w 1227630"/>
                    <a:gd name="connsiteY42" fmla="*/ 95222 h 1228094"/>
                    <a:gd name="connsiteX43" fmla="*/ 555306 w 1227630"/>
                    <a:gd name="connsiteY43" fmla="*/ 90907 h 1228094"/>
                    <a:gd name="connsiteX44" fmla="*/ 560021 w 1227630"/>
                    <a:gd name="connsiteY44" fmla="*/ 87211 h 1228094"/>
                    <a:gd name="connsiteX45" fmla="*/ 571537 w 1227630"/>
                    <a:gd name="connsiteY45" fmla="*/ 89087 h 1228094"/>
                    <a:gd name="connsiteX46" fmla="*/ 588853 w 1227630"/>
                    <a:gd name="connsiteY46" fmla="*/ 83791 h 1228094"/>
                    <a:gd name="connsiteX47" fmla="*/ 595778 w 1227630"/>
                    <a:gd name="connsiteY47" fmla="*/ 88420 h 1228094"/>
                    <a:gd name="connsiteX48" fmla="*/ 600493 w 1227630"/>
                    <a:gd name="connsiteY48" fmla="*/ 92535 h 1228094"/>
                    <a:gd name="connsiteX49" fmla="*/ 619914 w 1227630"/>
                    <a:gd name="connsiteY49" fmla="*/ 95983 h 1228094"/>
                    <a:gd name="connsiteX50" fmla="*/ 627363 w 1227630"/>
                    <a:gd name="connsiteY50" fmla="*/ 92040 h 1228094"/>
                    <a:gd name="connsiteX51" fmla="*/ 636145 w 1227630"/>
                    <a:gd name="connsiteY51" fmla="*/ 94250 h 1228094"/>
                    <a:gd name="connsiteX52" fmla="*/ 640460 w 1227630"/>
                    <a:gd name="connsiteY52" fmla="*/ 91926 h 1228094"/>
                    <a:gd name="connsiteX53" fmla="*/ 642974 w 1227630"/>
                    <a:gd name="connsiteY53" fmla="*/ 95288 h 1228094"/>
                    <a:gd name="connsiteX54" fmla="*/ 651995 w 1227630"/>
                    <a:gd name="connsiteY54" fmla="*/ 96831 h 1228094"/>
                    <a:gd name="connsiteX55" fmla="*/ 666825 w 1227630"/>
                    <a:gd name="connsiteY55" fmla="*/ 78772 h 1228094"/>
                    <a:gd name="connsiteX56" fmla="*/ 678122 w 1227630"/>
                    <a:gd name="connsiteY56" fmla="*/ 59569 h 1228094"/>
                    <a:gd name="connsiteX57" fmla="*/ 689894 w 1227630"/>
                    <a:gd name="connsiteY57" fmla="*/ 41824 h 1228094"/>
                    <a:gd name="connsiteX58" fmla="*/ 697419 w 1227630"/>
                    <a:gd name="connsiteY58" fmla="*/ 33109 h 1228094"/>
                    <a:gd name="connsiteX59" fmla="*/ 701010 w 1227630"/>
                    <a:gd name="connsiteY59" fmla="*/ 29728 h 1228094"/>
                    <a:gd name="connsiteX60" fmla="*/ 707621 w 1227630"/>
                    <a:gd name="connsiteY60" fmla="*/ 35585 h 1228094"/>
                    <a:gd name="connsiteX61" fmla="*/ 715269 w 1227630"/>
                    <a:gd name="connsiteY61" fmla="*/ 70352 h 1228094"/>
                    <a:gd name="connsiteX62" fmla="*/ 722851 w 1227630"/>
                    <a:gd name="connsiteY62" fmla="*/ 98384 h 1228094"/>
                    <a:gd name="connsiteX63" fmla="*/ 728395 w 1227630"/>
                    <a:gd name="connsiteY63" fmla="*/ 104899 h 1228094"/>
                    <a:gd name="connsiteX64" fmla="*/ 738320 w 1227630"/>
                    <a:gd name="connsiteY64" fmla="*/ 109233 h 1228094"/>
                    <a:gd name="connsiteX65" fmla="*/ 747940 w 1227630"/>
                    <a:gd name="connsiteY65" fmla="*/ 125663 h 1228094"/>
                    <a:gd name="connsiteX66" fmla="*/ 734824 w 1227630"/>
                    <a:gd name="connsiteY66" fmla="*/ 140627 h 1228094"/>
                    <a:gd name="connsiteX67" fmla="*/ 720070 w 1227630"/>
                    <a:gd name="connsiteY67" fmla="*/ 159372 h 1228094"/>
                    <a:gd name="connsiteX68" fmla="*/ 715231 w 1227630"/>
                    <a:gd name="connsiteY68" fmla="*/ 161020 h 1228094"/>
                    <a:gd name="connsiteX69" fmla="*/ 710716 w 1227630"/>
                    <a:gd name="connsiteY69" fmla="*/ 165830 h 1228094"/>
                    <a:gd name="connsiteX70" fmla="*/ 703858 w 1227630"/>
                    <a:gd name="connsiteY70" fmla="*/ 171250 h 1228094"/>
                    <a:gd name="connsiteX71" fmla="*/ 690942 w 1227630"/>
                    <a:gd name="connsiteY71" fmla="*/ 191100 h 1228094"/>
                    <a:gd name="connsiteX72" fmla="*/ 687647 w 1227630"/>
                    <a:gd name="connsiteY72" fmla="*/ 200825 h 1228094"/>
                    <a:gd name="connsiteX73" fmla="*/ 684341 w 1227630"/>
                    <a:gd name="connsiteY73" fmla="*/ 203940 h 1228094"/>
                    <a:gd name="connsiteX74" fmla="*/ 682637 w 1227630"/>
                    <a:gd name="connsiteY74" fmla="*/ 208693 h 1228094"/>
                    <a:gd name="connsiteX75" fmla="*/ 672816 w 1227630"/>
                    <a:gd name="connsiteY75" fmla="*/ 209474 h 1228094"/>
                    <a:gd name="connsiteX76" fmla="*/ 661186 w 1227630"/>
                    <a:gd name="connsiteY76" fmla="*/ 214494 h 1228094"/>
                    <a:gd name="connsiteX77" fmla="*/ 681017 w 1227630"/>
                    <a:gd name="connsiteY77" fmla="*/ 216189 h 1228094"/>
                    <a:gd name="connsiteX78" fmla="*/ 696810 w 1227630"/>
                    <a:gd name="connsiteY78" fmla="*/ 208274 h 1228094"/>
                    <a:gd name="connsiteX79" fmla="*/ 712821 w 1227630"/>
                    <a:gd name="connsiteY79" fmla="*/ 197758 h 1228094"/>
                    <a:gd name="connsiteX80" fmla="*/ 718479 w 1227630"/>
                    <a:gd name="connsiteY80" fmla="*/ 197710 h 1228094"/>
                    <a:gd name="connsiteX81" fmla="*/ 717555 w 1227630"/>
                    <a:gd name="connsiteY81" fmla="*/ 203263 h 1228094"/>
                    <a:gd name="connsiteX82" fmla="*/ 723756 w 1227630"/>
                    <a:gd name="connsiteY82" fmla="*/ 217389 h 1228094"/>
                    <a:gd name="connsiteX83" fmla="*/ 725518 w 1227630"/>
                    <a:gd name="connsiteY83" fmla="*/ 223114 h 1228094"/>
                    <a:gd name="connsiteX84" fmla="*/ 732605 w 1227630"/>
                    <a:gd name="connsiteY84" fmla="*/ 229105 h 1228094"/>
                    <a:gd name="connsiteX85" fmla="*/ 740682 w 1227630"/>
                    <a:gd name="connsiteY85" fmla="*/ 224742 h 1228094"/>
                    <a:gd name="connsiteX86" fmla="*/ 748283 w 1227630"/>
                    <a:gd name="connsiteY86" fmla="*/ 224542 h 1228094"/>
                    <a:gd name="connsiteX87" fmla="*/ 766780 w 1227630"/>
                    <a:gd name="connsiteY87" fmla="*/ 220161 h 1228094"/>
                    <a:gd name="connsiteX88" fmla="*/ 757103 w 1227630"/>
                    <a:gd name="connsiteY88" fmla="*/ 249317 h 1228094"/>
                    <a:gd name="connsiteX89" fmla="*/ 770971 w 1227630"/>
                    <a:gd name="connsiteY89" fmla="*/ 225390 h 1228094"/>
                    <a:gd name="connsiteX90" fmla="*/ 781334 w 1227630"/>
                    <a:gd name="connsiteY90" fmla="*/ 217865 h 1228094"/>
                    <a:gd name="connsiteX91" fmla="*/ 793527 w 1227630"/>
                    <a:gd name="connsiteY91" fmla="*/ 216465 h 1228094"/>
                    <a:gd name="connsiteX92" fmla="*/ 797041 w 1227630"/>
                    <a:gd name="connsiteY92" fmla="*/ 212303 h 1228094"/>
                    <a:gd name="connsiteX93" fmla="*/ 795260 w 1227630"/>
                    <a:gd name="connsiteY93" fmla="*/ 200596 h 1228094"/>
                    <a:gd name="connsiteX94" fmla="*/ 799499 w 1227630"/>
                    <a:gd name="connsiteY94" fmla="*/ 193796 h 1228094"/>
                    <a:gd name="connsiteX95" fmla="*/ 804242 w 1227630"/>
                    <a:gd name="connsiteY95" fmla="*/ 188833 h 1228094"/>
                    <a:gd name="connsiteX96" fmla="*/ 809100 w 1227630"/>
                    <a:gd name="connsiteY96" fmla="*/ 189833 h 1228094"/>
                    <a:gd name="connsiteX97" fmla="*/ 814986 w 1227630"/>
                    <a:gd name="connsiteY97" fmla="*/ 186919 h 1228094"/>
                    <a:gd name="connsiteX98" fmla="*/ 826178 w 1227630"/>
                    <a:gd name="connsiteY98" fmla="*/ 189729 h 1228094"/>
                    <a:gd name="connsiteX99" fmla="*/ 828855 w 1227630"/>
                    <a:gd name="connsiteY99" fmla="*/ 185623 h 1228094"/>
                    <a:gd name="connsiteX100" fmla="*/ 834208 w 1227630"/>
                    <a:gd name="connsiteY100" fmla="*/ 188052 h 1228094"/>
                    <a:gd name="connsiteX101" fmla="*/ 841123 w 1227630"/>
                    <a:gd name="connsiteY101" fmla="*/ 189024 h 1228094"/>
                    <a:gd name="connsiteX102" fmla="*/ 864021 w 1227630"/>
                    <a:gd name="connsiteY102" fmla="*/ 198073 h 1228094"/>
                    <a:gd name="connsiteX103" fmla="*/ 870689 w 1227630"/>
                    <a:gd name="connsiteY103" fmla="*/ 201673 h 1228094"/>
                    <a:gd name="connsiteX104" fmla="*/ 880071 w 1227630"/>
                    <a:gd name="connsiteY104" fmla="*/ 206531 h 1228094"/>
                    <a:gd name="connsiteX105" fmla="*/ 892263 w 1227630"/>
                    <a:gd name="connsiteY105" fmla="*/ 219694 h 1228094"/>
                    <a:gd name="connsiteX106" fmla="*/ 900940 w 1227630"/>
                    <a:gd name="connsiteY106" fmla="*/ 212531 h 1228094"/>
                    <a:gd name="connsiteX107" fmla="*/ 911408 w 1227630"/>
                    <a:gd name="connsiteY107" fmla="*/ 220208 h 1228094"/>
                    <a:gd name="connsiteX108" fmla="*/ 909627 w 1227630"/>
                    <a:gd name="connsiteY108" fmla="*/ 222266 h 1228094"/>
                    <a:gd name="connsiteX109" fmla="*/ 913618 w 1227630"/>
                    <a:gd name="connsiteY109" fmla="*/ 220609 h 1228094"/>
                    <a:gd name="connsiteX110" fmla="*/ 910532 w 1227630"/>
                    <a:gd name="connsiteY110" fmla="*/ 236982 h 1228094"/>
                    <a:gd name="connsiteX111" fmla="*/ 913541 w 1227630"/>
                    <a:gd name="connsiteY111" fmla="*/ 240354 h 1228094"/>
                    <a:gd name="connsiteX112" fmla="*/ 921304 w 1227630"/>
                    <a:gd name="connsiteY112" fmla="*/ 235496 h 1228094"/>
                    <a:gd name="connsiteX113" fmla="*/ 921247 w 1227630"/>
                    <a:gd name="connsiteY113" fmla="*/ 240449 h 1228094"/>
                    <a:gd name="connsiteX114" fmla="*/ 917742 w 1227630"/>
                    <a:gd name="connsiteY114" fmla="*/ 244116 h 1228094"/>
                    <a:gd name="connsiteX115" fmla="*/ 912122 w 1227630"/>
                    <a:gd name="connsiteY115" fmla="*/ 266548 h 1228094"/>
                    <a:gd name="connsiteX116" fmla="*/ 920942 w 1227630"/>
                    <a:gd name="connsiteY116" fmla="*/ 258346 h 1228094"/>
                    <a:gd name="connsiteX117" fmla="*/ 925391 w 1227630"/>
                    <a:gd name="connsiteY117" fmla="*/ 244955 h 1228094"/>
                    <a:gd name="connsiteX118" fmla="*/ 928562 w 1227630"/>
                    <a:gd name="connsiteY118" fmla="*/ 254108 h 1228094"/>
                    <a:gd name="connsiteX119" fmla="*/ 936602 w 1227630"/>
                    <a:gd name="connsiteY119" fmla="*/ 247050 h 1228094"/>
                    <a:gd name="connsiteX120" fmla="*/ 948451 w 1227630"/>
                    <a:gd name="connsiteY120" fmla="*/ 244602 h 1228094"/>
                    <a:gd name="connsiteX121" fmla="*/ 955204 w 1227630"/>
                    <a:gd name="connsiteY121" fmla="*/ 240620 h 1228094"/>
                    <a:gd name="connsiteX122" fmla="*/ 967605 w 1227630"/>
                    <a:gd name="connsiteY122" fmla="*/ 243135 h 1228094"/>
                    <a:gd name="connsiteX123" fmla="*/ 989399 w 1227630"/>
                    <a:gd name="connsiteY123" fmla="*/ 253479 h 1228094"/>
                    <a:gd name="connsiteX124" fmla="*/ 999486 w 1227630"/>
                    <a:gd name="connsiteY124" fmla="*/ 253051 h 1228094"/>
                    <a:gd name="connsiteX125" fmla="*/ 1010373 w 1227630"/>
                    <a:gd name="connsiteY125" fmla="*/ 256594 h 1228094"/>
                    <a:gd name="connsiteX126" fmla="*/ 1057350 w 1227630"/>
                    <a:gd name="connsiteY126" fmla="*/ 254975 h 1228094"/>
                    <a:gd name="connsiteX127" fmla="*/ 1096402 w 1227630"/>
                    <a:gd name="connsiteY127" fmla="*/ 276425 h 1228094"/>
                    <a:gd name="connsiteX128" fmla="*/ 1115634 w 1227630"/>
                    <a:gd name="connsiteY128" fmla="*/ 289960 h 1228094"/>
                    <a:gd name="connsiteX129" fmla="*/ 1132893 w 1227630"/>
                    <a:gd name="connsiteY129" fmla="*/ 306391 h 1228094"/>
                    <a:gd name="connsiteX130" fmla="*/ 1142646 w 1227630"/>
                    <a:gd name="connsiteY130" fmla="*/ 312553 h 1228094"/>
                    <a:gd name="connsiteX131" fmla="*/ 1150657 w 1227630"/>
                    <a:gd name="connsiteY131" fmla="*/ 320107 h 1228094"/>
                    <a:gd name="connsiteX132" fmla="*/ 1161277 w 1227630"/>
                    <a:gd name="connsiteY132" fmla="*/ 322374 h 1228094"/>
                    <a:gd name="connsiteX133" fmla="*/ 1172784 w 1227630"/>
                    <a:gd name="connsiteY133" fmla="*/ 325917 h 1228094"/>
                    <a:gd name="connsiteX134" fmla="*/ 1212531 w 1227630"/>
                    <a:gd name="connsiteY134" fmla="*/ 341062 h 1228094"/>
                    <a:gd name="connsiteX135" fmla="*/ 1225199 w 1227630"/>
                    <a:gd name="connsiteY135" fmla="*/ 385496 h 1228094"/>
                    <a:gd name="connsiteX136" fmla="*/ 1224600 w 1227630"/>
                    <a:gd name="connsiteY136" fmla="*/ 428901 h 1228094"/>
                    <a:gd name="connsiteX137" fmla="*/ 1197291 w 1227630"/>
                    <a:gd name="connsiteY137" fmla="*/ 470754 h 1228094"/>
                    <a:gd name="connsiteX138" fmla="*/ 1192043 w 1227630"/>
                    <a:gd name="connsiteY138" fmla="*/ 483737 h 1228094"/>
                    <a:gd name="connsiteX139" fmla="*/ 1182061 w 1227630"/>
                    <a:gd name="connsiteY139" fmla="*/ 496224 h 1228094"/>
                    <a:gd name="connsiteX140" fmla="*/ 1168240 w 1227630"/>
                    <a:gd name="connsiteY140" fmla="*/ 504930 h 1228094"/>
                    <a:gd name="connsiteX141" fmla="*/ 1159429 w 1227630"/>
                    <a:gd name="connsiteY141" fmla="*/ 514264 h 1228094"/>
                    <a:gd name="connsiteX142" fmla="*/ 1154696 w 1227630"/>
                    <a:gd name="connsiteY142" fmla="*/ 524837 h 1228094"/>
                    <a:gd name="connsiteX143" fmla="*/ 1155381 w 1227630"/>
                    <a:gd name="connsiteY143" fmla="*/ 518884 h 1228094"/>
                    <a:gd name="connsiteX144" fmla="*/ 1149219 w 1227630"/>
                    <a:gd name="connsiteY144" fmla="*/ 538553 h 1228094"/>
                    <a:gd name="connsiteX145" fmla="*/ 1138255 w 1227630"/>
                    <a:gd name="connsiteY145" fmla="*/ 558594 h 1228094"/>
                    <a:gd name="connsiteX146" fmla="*/ 1125558 w 1227630"/>
                    <a:gd name="connsiteY146" fmla="*/ 574053 h 1228094"/>
                    <a:gd name="connsiteX147" fmla="*/ 1115767 w 1227630"/>
                    <a:gd name="connsiteY147" fmla="*/ 563261 h 1228094"/>
                    <a:gd name="connsiteX148" fmla="*/ 1111157 w 1227630"/>
                    <a:gd name="connsiteY148" fmla="*/ 568500 h 1228094"/>
                    <a:gd name="connsiteX149" fmla="*/ 1105718 w 1227630"/>
                    <a:gd name="connsiteY149" fmla="*/ 593636 h 1228094"/>
                    <a:gd name="connsiteX150" fmla="*/ 1109547 w 1227630"/>
                    <a:gd name="connsiteY150" fmla="*/ 609790 h 1228094"/>
                    <a:gd name="connsiteX151" fmla="*/ 1110595 w 1227630"/>
                    <a:gd name="connsiteY151" fmla="*/ 606733 h 1228094"/>
                    <a:gd name="connsiteX152" fmla="*/ 1109490 w 1227630"/>
                    <a:gd name="connsiteY152" fmla="*/ 626764 h 1228094"/>
                    <a:gd name="connsiteX153" fmla="*/ 1113014 w 1227630"/>
                    <a:gd name="connsiteY153" fmla="*/ 645786 h 1228094"/>
                    <a:gd name="connsiteX154" fmla="*/ 1118281 w 1227630"/>
                    <a:gd name="connsiteY154" fmla="*/ 664969 h 1228094"/>
                    <a:gd name="connsiteX155" fmla="*/ 1114671 w 1227630"/>
                    <a:gd name="connsiteY155" fmla="*/ 685524 h 1228094"/>
                    <a:gd name="connsiteX156" fmla="*/ 1112481 w 1227630"/>
                    <a:gd name="connsiteY156" fmla="*/ 706726 h 1228094"/>
                    <a:gd name="connsiteX157" fmla="*/ 1114576 w 1227630"/>
                    <a:gd name="connsiteY157" fmla="*/ 724795 h 1228094"/>
                    <a:gd name="connsiteX158" fmla="*/ 1102365 w 1227630"/>
                    <a:gd name="connsiteY158" fmla="*/ 740264 h 1228094"/>
                    <a:gd name="connsiteX159" fmla="*/ 1101622 w 1227630"/>
                    <a:gd name="connsiteY159" fmla="*/ 759914 h 1228094"/>
                    <a:gd name="connsiteX160" fmla="*/ 1103127 w 1227630"/>
                    <a:gd name="connsiteY160" fmla="*/ 781164 h 1228094"/>
                    <a:gd name="connsiteX161" fmla="*/ 1093145 w 1227630"/>
                    <a:gd name="connsiteY161" fmla="*/ 796271 h 1228094"/>
                    <a:gd name="connsiteX162" fmla="*/ 1087649 w 1227630"/>
                    <a:gd name="connsiteY162" fmla="*/ 813883 h 1228094"/>
                    <a:gd name="connsiteX163" fmla="*/ 1076505 w 1227630"/>
                    <a:gd name="connsiteY163" fmla="*/ 828113 h 1228094"/>
                    <a:gd name="connsiteX164" fmla="*/ 1073019 w 1227630"/>
                    <a:gd name="connsiteY164" fmla="*/ 846363 h 1228094"/>
                    <a:gd name="connsiteX165" fmla="*/ 1069999 w 1227630"/>
                    <a:gd name="connsiteY165" fmla="*/ 862032 h 1228094"/>
                    <a:gd name="connsiteX166" fmla="*/ 1051664 w 1227630"/>
                    <a:gd name="connsiteY166" fmla="*/ 872642 h 1228094"/>
                    <a:gd name="connsiteX167" fmla="*/ 1048054 w 1227630"/>
                    <a:gd name="connsiteY167" fmla="*/ 879643 h 1228094"/>
                    <a:gd name="connsiteX168" fmla="*/ 1048225 w 1227630"/>
                    <a:gd name="connsiteY168" fmla="*/ 887663 h 1228094"/>
                    <a:gd name="connsiteX169" fmla="*/ 1025803 w 1227630"/>
                    <a:gd name="connsiteY169" fmla="*/ 889054 h 1228094"/>
                    <a:gd name="connsiteX170" fmla="*/ 1017412 w 1227630"/>
                    <a:gd name="connsiteY170" fmla="*/ 887711 h 1228094"/>
                    <a:gd name="connsiteX171" fmla="*/ 1015249 w 1227630"/>
                    <a:gd name="connsiteY171" fmla="*/ 881406 h 1228094"/>
                    <a:gd name="connsiteX172" fmla="*/ 1012278 w 1227630"/>
                    <a:gd name="connsiteY172" fmla="*/ 889816 h 1228094"/>
                    <a:gd name="connsiteX173" fmla="*/ 989970 w 1227630"/>
                    <a:gd name="connsiteY173" fmla="*/ 891921 h 1228094"/>
                    <a:gd name="connsiteX174" fmla="*/ 998743 w 1227630"/>
                    <a:gd name="connsiteY174" fmla="*/ 890406 h 1228094"/>
                    <a:gd name="connsiteX175" fmla="*/ 979988 w 1227630"/>
                    <a:gd name="connsiteY175" fmla="*/ 890330 h 1228094"/>
                    <a:gd name="connsiteX176" fmla="*/ 972987 w 1227630"/>
                    <a:gd name="connsiteY176" fmla="*/ 898741 h 1228094"/>
                    <a:gd name="connsiteX177" fmla="*/ 961462 w 1227630"/>
                    <a:gd name="connsiteY177" fmla="*/ 902570 h 1228094"/>
                    <a:gd name="connsiteX178" fmla="*/ 949251 w 1227630"/>
                    <a:gd name="connsiteY178" fmla="*/ 911705 h 1228094"/>
                    <a:gd name="connsiteX179" fmla="*/ 948127 w 1227630"/>
                    <a:gd name="connsiteY179" fmla="*/ 915410 h 1228094"/>
                    <a:gd name="connsiteX180" fmla="*/ 941945 w 1227630"/>
                    <a:gd name="connsiteY180" fmla="*/ 914200 h 1228094"/>
                    <a:gd name="connsiteX181" fmla="*/ 929458 w 1227630"/>
                    <a:gd name="connsiteY181" fmla="*/ 917229 h 1228094"/>
                    <a:gd name="connsiteX182" fmla="*/ 901807 w 1227630"/>
                    <a:gd name="connsiteY182" fmla="*/ 937136 h 1228094"/>
                    <a:gd name="connsiteX183" fmla="*/ 879175 w 1227630"/>
                    <a:gd name="connsiteY183" fmla="*/ 954243 h 1228094"/>
                    <a:gd name="connsiteX184" fmla="*/ 873651 w 1227630"/>
                    <a:gd name="connsiteY184" fmla="*/ 965816 h 1228094"/>
                    <a:gd name="connsiteX185" fmla="*/ 874813 w 1227630"/>
                    <a:gd name="connsiteY185" fmla="*/ 962863 h 1228094"/>
                    <a:gd name="connsiteX186" fmla="*/ 868631 w 1227630"/>
                    <a:gd name="connsiteY186" fmla="*/ 961815 h 1228094"/>
                    <a:gd name="connsiteX187" fmla="*/ 868098 w 1227630"/>
                    <a:gd name="connsiteY187" fmla="*/ 965816 h 1228094"/>
                    <a:gd name="connsiteX188" fmla="*/ 858782 w 1227630"/>
                    <a:gd name="connsiteY188" fmla="*/ 964730 h 1228094"/>
                    <a:gd name="connsiteX189" fmla="*/ 869441 w 1227630"/>
                    <a:gd name="connsiteY189" fmla="*/ 971188 h 1228094"/>
                    <a:gd name="connsiteX190" fmla="*/ 863297 w 1227630"/>
                    <a:gd name="connsiteY190" fmla="*/ 980684 h 1228094"/>
                    <a:gd name="connsiteX191" fmla="*/ 866831 w 1227630"/>
                    <a:gd name="connsiteY191" fmla="*/ 987600 h 1228094"/>
                    <a:gd name="connsiteX192" fmla="*/ 863726 w 1227630"/>
                    <a:gd name="connsiteY192" fmla="*/ 992734 h 1228094"/>
                    <a:gd name="connsiteX193" fmla="*/ 867660 w 1227630"/>
                    <a:gd name="connsiteY193" fmla="*/ 1000515 h 1228094"/>
                    <a:gd name="connsiteX194" fmla="*/ 870689 w 1227630"/>
                    <a:gd name="connsiteY194" fmla="*/ 1011393 h 1228094"/>
                    <a:gd name="connsiteX195" fmla="*/ 875289 w 1227630"/>
                    <a:gd name="connsiteY195" fmla="*/ 1028767 h 1228094"/>
                    <a:gd name="connsiteX196" fmla="*/ 878385 w 1227630"/>
                    <a:gd name="connsiteY196" fmla="*/ 1052055 h 1228094"/>
                    <a:gd name="connsiteX197" fmla="*/ 875575 w 1227630"/>
                    <a:gd name="connsiteY197" fmla="*/ 1062066 h 1228094"/>
                    <a:gd name="connsiteX198" fmla="*/ 875346 w 1227630"/>
                    <a:gd name="connsiteY198" fmla="*/ 1066314 h 1228094"/>
                    <a:gd name="connsiteX199" fmla="*/ 869793 w 1227630"/>
                    <a:gd name="connsiteY199" fmla="*/ 1070210 h 1228094"/>
                    <a:gd name="connsiteX200" fmla="*/ 853677 w 1227630"/>
                    <a:gd name="connsiteY200" fmla="*/ 1090251 h 1228094"/>
                    <a:gd name="connsiteX201" fmla="*/ 839085 w 1227630"/>
                    <a:gd name="connsiteY201" fmla="*/ 1137333 h 1228094"/>
                    <a:gd name="connsiteX202" fmla="*/ 826550 w 1227630"/>
                    <a:gd name="connsiteY202" fmla="*/ 1157773 h 1228094"/>
                    <a:gd name="connsiteX203" fmla="*/ 806004 w 1227630"/>
                    <a:gd name="connsiteY203" fmla="*/ 1177214 h 1228094"/>
                    <a:gd name="connsiteX204" fmla="*/ 803147 w 1227630"/>
                    <a:gd name="connsiteY204" fmla="*/ 1168270 h 1228094"/>
                    <a:gd name="connsiteX205" fmla="*/ 815063 w 1227630"/>
                    <a:gd name="connsiteY205" fmla="*/ 1164955 h 1228094"/>
                    <a:gd name="connsiteX206" fmla="*/ 823578 w 1227630"/>
                    <a:gd name="connsiteY206" fmla="*/ 1157135 h 1228094"/>
                    <a:gd name="connsiteX207" fmla="*/ 825083 w 1227630"/>
                    <a:gd name="connsiteY207" fmla="*/ 1149315 h 1228094"/>
                    <a:gd name="connsiteX208" fmla="*/ 824873 w 1227630"/>
                    <a:gd name="connsiteY208" fmla="*/ 1145267 h 1228094"/>
                    <a:gd name="connsiteX209" fmla="*/ 828341 w 1227630"/>
                    <a:gd name="connsiteY209" fmla="*/ 1144972 h 1228094"/>
                    <a:gd name="connsiteX210" fmla="*/ 829102 w 1227630"/>
                    <a:gd name="connsiteY210" fmla="*/ 1140685 h 1228094"/>
                    <a:gd name="connsiteX211" fmla="*/ 832274 w 1227630"/>
                    <a:gd name="connsiteY211" fmla="*/ 1124036 h 1228094"/>
                    <a:gd name="connsiteX212" fmla="*/ 836446 w 1227630"/>
                    <a:gd name="connsiteY212" fmla="*/ 1121588 h 1228094"/>
                    <a:gd name="connsiteX213" fmla="*/ 827274 w 1227630"/>
                    <a:gd name="connsiteY213" fmla="*/ 1121416 h 1228094"/>
                    <a:gd name="connsiteX214" fmla="*/ 812434 w 1227630"/>
                    <a:gd name="connsiteY214" fmla="*/ 1111710 h 1228094"/>
                    <a:gd name="connsiteX215" fmla="*/ 818625 w 1227630"/>
                    <a:gd name="connsiteY215" fmla="*/ 1122836 h 1228094"/>
                    <a:gd name="connsiteX216" fmla="*/ 817987 w 1227630"/>
                    <a:gd name="connsiteY216" fmla="*/ 1134285 h 1228094"/>
                    <a:gd name="connsiteX217" fmla="*/ 815205 w 1227630"/>
                    <a:gd name="connsiteY217" fmla="*/ 1131856 h 1228094"/>
                    <a:gd name="connsiteX218" fmla="*/ 814005 w 1227630"/>
                    <a:gd name="connsiteY218" fmla="*/ 1145362 h 1228094"/>
                    <a:gd name="connsiteX219" fmla="*/ 808014 w 1227630"/>
                    <a:gd name="connsiteY219" fmla="*/ 1150325 h 1228094"/>
                    <a:gd name="connsiteX220" fmla="*/ 802623 w 1227630"/>
                    <a:gd name="connsiteY220" fmla="*/ 1157516 h 1228094"/>
                    <a:gd name="connsiteX221" fmla="*/ 800432 w 1227630"/>
                    <a:gd name="connsiteY221" fmla="*/ 1172451 h 1228094"/>
                    <a:gd name="connsiteX222" fmla="*/ 803232 w 1227630"/>
                    <a:gd name="connsiteY222" fmla="*/ 1179833 h 1228094"/>
                    <a:gd name="connsiteX223" fmla="*/ 799756 w 1227630"/>
                    <a:gd name="connsiteY223" fmla="*/ 1187110 h 1228094"/>
                    <a:gd name="connsiteX224" fmla="*/ 787792 w 1227630"/>
                    <a:gd name="connsiteY224" fmla="*/ 1220572 h 1228094"/>
                    <a:gd name="connsiteX225" fmla="*/ 775486 w 1227630"/>
                    <a:gd name="connsiteY225" fmla="*/ 1226448 h 1228094"/>
                    <a:gd name="connsiteX226" fmla="*/ 771009 w 1227630"/>
                    <a:gd name="connsiteY226" fmla="*/ 1210399 h 1228094"/>
                    <a:gd name="connsiteX227" fmla="*/ 777334 w 1227630"/>
                    <a:gd name="connsiteY227" fmla="*/ 1199331 h 1228094"/>
                    <a:gd name="connsiteX228" fmla="*/ 775286 w 1227630"/>
                    <a:gd name="connsiteY228" fmla="*/ 1193273 h 1228094"/>
                    <a:gd name="connsiteX229" fmla="*/ 766885 w 1227630"/>
                    <a:gd name="connsiteY229" fmla="*/ 1189482 h 1228094"/>
                    <a:gd name="connsiteX230" fmla="*/ 756189 w 1227630"/>
                    <a:gd name="connsiteY230" fmla="*/ 1176690 h 1228094"/>
                    <a:gd name="connsiteX231" fmla="*/ 744416 w 1227630"/>
                    <a:gd name="connsiteY231" fmla="*/ 1170527 h 1228094"/>
                    <a:gd name="connsiteX232" fmla="*/ 731119 w 1227630"/>
                    <a:gd name="connsiteY232" fmla="*/ 1161621 h 1228094"/>
                    <a:gd name="connsiteX233" fmla="*/ 714688 w 1227630"/>
                    <a:gd name="connsiteY233" fmla="*/ 1152687 h 1228094"/>
                    <a:gd name="connsiteX234" fmla="*/ 703315 w 1227630"/>
                    <a:gd name="connsiteY234" fmla="*/ 1146886 h 1228094"/>
                    <a:gd name="connsiteX235" fmla="*/ 692257 w 1227630"/>
                    <a:gd name="connsiteY235" fmla="*/ 1137457 h 1228094"/>
                    <a:gd name="connsiteX236" fmla="*/ 687685 w 1227630"/>
                    <a:gd name="connsiteY236" fmla="*/ 1143200 h 1228094"/>
                    <a:gd name="connsiteX237" fmla="*/ 680465 w 1227630"/>
                    <a:gd name="connsiteY237" fmla="*/ 1136885 h 1228094"/>
                    <a:gd name="connsiteX238" fmla="*/ 666215 w 1227630"/>
                    <a:gd name="connsiteY238" fmla="*/ 1125160 h 1228094"/>
                    <a:gd name="connsiteX239" fmla="*/ 650290 w 1227630"/>
                    <a:gd name="connsiteY239" fmla="*/ 1114006 h 1228094"/>
                    <a:gd name="connsiteX240" fmla="*/ 639164 w 1227630"/>
                    <a:gd name="connsiteY240" fmla="*/ 1119540 h 1228094"/>
                    <a:gd name="connsiteX241" fmla="*/ 629373 w 1227630"/>
                    <a:gd name="connsiteY241" fmla="*/ 1117740 h 1228094"/>
                    <a:gd name="connsiteX242" fmla="*/ 632859 w 1227630"/>
                    <a:gd name="connsiteY242" fmla="*/ 1111625 h 1228094"/>
                    <a:gd name="connsiteX243" fmla="*/ 636231 w 1227630"/>
                    <a:gd name="connsiteY243" fmla="*/ 1103900 h 1228094"/>
                    <a:gd name="connsiteX244" fmla="*/ 643298 w 1227630"/>
                    <a:gd name="connsiteY244" fmla="*/ 1097871 h 1228094"/>
                    <a:gd name="connsiteX245" fmla="*/ 651842 w 1227630"/>
                    <a:gd name="connsiteY245" fmla="*/ 1082745 h 1228094"/>
                    <a:gd name="connsiteX246" fmla="*/ 664939 w 1227630"/>
                    <a:gd name="connsiteY246" fmla="*/ 1060875 h 1228094"/>
                    <a:gd name="connsiteX247" fmla="*/ 671264 w 1227630"/>
                    <a:gd name="connsiteY247" fmla="*/ 1059085 h 1228094"/>
                    <a:gd name="connsiteX248" fmla="*/ 668635 w 1227630"/>
                    <a:gd name="connsiteY248" fmla="*/ 1055665 h 1228094"/>
                    <a:gd name="connsiteX249" fmla="*/ 675255 w 1227630"/>
                    <a:gd name="connsiteY249" fmla="*/ 1050389 h 1228094"/>
                    <a:gd name="connsiteX250" fmla="*/ 685665 w 1227630"/>
                    <a:gd name="connsiteY250" fmla="*/ 1042406 h 1228094"/>
                    <a:gd name="connsiteX251" fmla="*/ 689856 w 1227630"/>
                    <a:gd name="connsiteY251" fmla="*/ 1034596 h 1228094"/>
                    <a:gd name="connsiteX252" fmla="*/ 698162 w 1227630"/>
                    <a:gd name="connsiteY252" fmla="*/ 1030491 h 1228094"/>
                    <a:gd name="connsiteX253" fmla="*/ 703144 w 1227630"/>
                    <a:gd name="connsiteY253" fmla="*/ 1029853 h 1228094"/>
                    <a:gd name="connsiteX254" fmla="*/ 708659 w 1227630"/>
                    <a:gd name="connsiteY254" fmla="*/ 1024157 h 1228094"/>
                    <a:gd name="connsiteX255" fmla="*/ 718584 w 1227630"/>
                    <a:gd name="connsiteY255" fmla="*/ 1015317 h 1228094"/>
                    <a:gd name="connsiteX256" fmla="*/ 716012 w 1227630"/>
                    <a:gd name="connsiteY256" fmla="*/ 997001 h 1228094"/>
                    <a:gd name="connsiteX257" fmla="*/ 698419 w 1227630"/>
                    <a:gd name="connsiteY257" fmla="*/ 970255 h 1228094"/>
                    <a:gd name="connsiteX258" fmla="*/ 688304 w 1227630"/>
                    <a:gd name="connsiteY258" fmla="*/ 972569 h 1228094"/>
                    <a:gd name="connsiteX259" fmla="*/ 685704 w 1227630"/>
                    <a:gd name="connsiteY259" fmla="*/ 959958 h 1228094"/>
                    <a:gd name="connsiteX260" fmla="*/ 686037 w 1227630"/>
                    <a:gd name="connsiteY260" fmla="*/ 940280 h 1228094"/>
                    <a:gd name="connsiteX261" fmla="*/ 685389 w 1227630"/>
                    <a:gd name="connsiteY261" fmla="*/ 923077 h 1228094"/>
                    <a:gd name="connsiteX262" fmla="*/ 671435 w 1227630"/>
                    <a:gd name="connsiteY262" fmla="*/ 916067 h 1228094"/>
                    <a:gd name="connsiteX263" fmla="*/ 659738 w 1227630"/>
                    <a:gd name="connsiteY263" fmla="*/ 921525 h 1228094"/>
                    <a:gd name="connsiteX264" fmla="*/ 642927 w 1227630"/>
                    <a:gd name="connsiteY264" fmla="*/ 905608 h 1228094"/>
                    <a:gd name="connsiteX265" fmla="*/ 620819 w 1227630"/>
                    <a:gd name="connsiteY265" fmla="*/ 867499 h 1228094"/>
                    <a:gd name="connsiteX266" fmla="*/ 609980 w 1227630"/>
                    <a:gd name="connsiteY266" fmla="*/ 863546 h 1228094"/>
                    <a:gd name="connsiteX267" fmla="*/ 602874 w 1227630"/>
                    <a:gd name="connsiteY267" fmla="*/ 865137 h 1228094"/>
                    <a:gd name="connsiteX268" fmla="*/ 577681 w 1227630"/>
                    <a:gd name="connsiteY268" fmla="*/ 864699 h 1228094"/>
                    <a:gd name="connsiteX269" fmla="*/ 566060 w 1227630"/>
                    <a:gd name="connsiteY269" fmla="*/ 862832 h 1228094"/>
                    <a:gd name="connsiteX270" fmla="*/ 560421 w 1227630"/>
                    <a:gd name="connsiteY270" fmla="*/ 857088 h 1228094"/>
                    <a:gd name="connsiteX271" fmla="*/ 559259 w 1227630"/>
                    <a:gd name="connsiteY271" fmla="*/ 838781 h 1228094"/>
                    <a:gd name="connsiteX272" fmla="*/ 555202 w 1227630"/>
                    <a:gd name="connsiteY272" fmla="*/ 819588 h 1228094"/>
                    <a:gd name="connsiteX273" fmla="*/ 543953 w 1227630"/>
                    <a:gd name="connsiteY273" fmla="*/ 800757 h 1228094"/>
                    <a:gd name="connsiteX274" fmla="*/ 550953 w 1227630"/>
                    <a:gd name="connsiteY274" fmla="*/ 796376 h 1228094"/>
                    <a:gd name="connsiteX275" fmla="*/ 543457 w 1227630"/>
                    <a:gd name="connsiteY275" fmla="*/ 788251 h 1228094"/>
                    <a:gd name="connsiteX276" fmla="*/ 551515 w 1227630"/>
                    <a:gd name="connsiteY276" fmla="*/ 765458 h 1228094"/>
                    <a:gd name="connsiteX277" fmla="*/ 548810 w 1227630"/>
                    <a:gd name="connsiteY277" fmla="*/ 761362 h 1228094"/>
                    <a:gd name="connsiteX278" fmla="*/ 554106 w 1227630"/>
                    <a:gd name="connsiteY278" fmla="*/ 739330 h 1228094"/>
                    <a:gd name="connsiteX279" fmla="*/ 541971 w 1227630"/>
                    <a:gd name="connsiteY279" fmla="*/ 719118 h 1228094"/>
                    <a:gd name="connsiteX280" fmla="*/ 523378 w 1227630"/>
                    <a:gd name="connsiteY280" fmla="*/ 709956 h 1228094"/>
                    <a:gd name="connsiteX281" fmla="*/ 516635 w 1227630"/>
                    <a:gd name="connsiteY281" fmla="*/ 690048 h 1228094"/>
                    <a:gd name="connsiteX282" fmla="*/ 519226 w 1227630"/>
                    <a:gd name="connsiteY282" fmla="*/ 680276 h 1228094"/>
                    <a:gd name="connsiteX283" fmla="*/ 514892 w 1227630"/>
                    <a:gd name="connsiteY283" fmla="*/ 679723 h 1228094"/>
                    <a:gd name="connsiteX284" fmla="*/ 466467 w 1227630"/>
                    <a:gd name="connsiteY284" fmla="*/ 678209 h 1228094"/>
                    <a:gd name="connsiteX285" fmla="*/ 460685 w 1227630"/>
                    <a:gd name="connsiteY285" fmla="*/ 671189 h 1228094"/>
                    <a:gd name="connsiteX286" fmla="*/ 458266 w 1227630"/>
                    <a:gd name="connsiteY286" fmla="*/ 660492 h 1228094"/>
                    <a:gd name="connsiteX287" fmla="*/ 444407 w 1227630"/>
                    <a:gd name="connsiteY287" fmla="*/ 641175 h 1228094"/>
                    <a:gd name="connsiteX288" fmla="*/ 453960 w 1227630"/>
                    <a:gd name="connsiteY288" fmla="*/ 640871 h 1228094"/>
                    <a:gd name="connsiteX289" fmla="*/ 451246 w 1227630"/>
                    <a:gd name="connsiteY289" fmla="*/ 626373 h 1228094"/>
                    <a:gd name="connsiteX290" fmla="*/ 445245 w 1227630"/>
                    <a:gd name="connsiteY290" fmla="*/ 615449 h 1228094"/>
                    <a:gd name="connsiteX291" fmla="*/ 437282 w 1227630"/>
                    <a:gd name="connsiteY291" fmla="*/ 597894 h 1228094"/>
                    <a:gd name="connsiteX292" fmla="*/ 413031 w 1227630"/>
                    <a:gd name="connsiteY292" fmla="*/ 591560 h 1228094"/>
                    <a:gd name="connsiteX293" fmla="*/ 390133 w 1227630"/>
                    <a:gd name="connsiteY293" fmla="*/ 582978 h 1228094"/>
                    <a:gd name="connsiteX294" fmla="*/ 369226 w 1227630"/>
                    <a:gd name="connsiteY294" fmla="*/ 574920 h 1228094"/>
                    <a:gd name="connsiteX295" fmla="*/ 353881 w 1227630"/>
                    <a:gd name="connsiteY295" fmla="*/ 564566 h 1228094"/>
                    <a:gd name="connsiteX296" fmla="*/ 348242 w 1227630"/>
                    <a:gd name="connsiteY296" fmla="*/ 564699 h 1228094"/>
                    <a:gd name="connsiteX297" fmla="*/ 342823 w 1227630"/>
                    <a:gd name="connsiteY297" fmla="*/ 561289 h 1228094"/>
                    <a:gd name="connsiteX298" fmla="*/ 331964 w 1227630"/>
                    <a:gd name="connsiteY298" fmla="*/ 559318 h 1228094"/>
                    <a:gd name="connsiteX299" fmla="*/ 319744 w 1227630"/>
                    <a:gd name="connsiteY299" fmla="*/ 558803 h 1228094"/>
                    <a:gd name="connsiteX300" fmla="*/ 310790 w 1227630"/>
                    <a:gd name="connsiteY300" fmla="*/ 551507 h 1228094"/>
                    <a:gd name="connsiteX301" fmla="*/ 301684 w 1227630"/>
                    <a:gd name="connsiteY301" fmla="*/ 545459 h 1228094"/>
                    <a:gd name="connsiteX302" fmla="*/ 293750 w 1227630"/>
                    <a:gd name="connsiteY302" fmla="*/ 539877 h 1228094"/>
                    <a:gd name="connsiteX303" fmla="*/ 284130 w 1227630"/>
                    <a:gd name="connsiteY303" fmla="*/ 528171 h 1228094"/>
                    <a:gd name="connsiteX304" fmla="*/ 280529 w 1227630"/>
                    <a:gd name="connsiteY304" fmla="*/ 521208 h 1228094"/>
                    <a:gd name="connsiteX305" fmla="*/ 280939 w 1227630"/>
                    <a:gd name="connsiteY305" fmla="*/ 511712 h 1228094"/>
                    <a:gd name="connsiteX306" fmla="*/ 276186 w 1227630"/>
                    <a:gd name="connsiteY306" fmla="*/ 499539 h 1228094"/>
                    <a:gd name="connsiteX307" fmla="*/ 278643 w 1227630"/>
                    <a:gd name="connsiteY307" fmla="*/ 489099 h 1228094"/>
                    <a:gd name="connsiteX308" fmla="*/ 271699 w 1227630"/>
                    <a:gd name="connsiteY308" fmla="*/ 472145 h 1228094"/>
                    <a:gd name="connsiteX309" fmla="*/ 267337 w 1227630"/>
                    <a:gd name="connsiteY309" fmla="*/ 474593 h 1228094"/>
                    <a:gd name="connsiteX310" fmla="*/ 261603 w 1227630"/>
                    <a:gd name="connsiteY310" fmla="*/ 473573 h 1228094"/>
                    <a:gd name="connsiteX311" fmla="*/ 246725 w 1227630"/>
                    <a:gd name="connsiteY311" fmla="*/ 475488 h 1228094"/>
                    <a:gd name="connsiteX312" fmla="*/ 222950 w 1227630"/>
                    <a:gd name="connsiteY312" fmla="*/ 488880 h 1228094"/>
                    <a:gd name="connsiteX313" fmla="*/ 213587 w 1227630"/>
                    <a:gd name="connsiteY313" fmla="*/ 492909 h 1228094"/>
                    <a:gd name="connsiteX314" fmla="*/ 205091 w 1227630"/>
                    <a:gd name="connsiteY314" fmla="*/ 502072 h 1228094"/>
                    <a:gd name="connsiteX315" fmla="*/ 193613 w 1227630"/>
                    <a:gd name="connsiteY315" fmla="*/ 503387 h 1228094"/>
                    <a:gd name="connsiteX316" fmla="*/ 185155 w 1227630"/>
                    <a:gd name="connsiteY316" fmla="*/ 512693 h 1228094"/>
                    <a:gd name="connsiteX317" fmla="*/ 164629 w 1227630"/>
                    <a:gd name="connsiteY317" fmla="*/ 511635 h 1228094"/>
                    <a:gd name="connsiteX318" fmla="*/ 136149 w 1227630"/>
                    <a:gd name="connsiteY318" fmla="*/ 509931 h 1228094"/>
                    <a:gd name="connsiteX319" fmla="*/ 123871 w 1227630"/>
                    <a:gd name="connsiteY319" fmla="*/ 514064 h 1228094"/>
                    <a:gd name="connsiteX320" fmla="*/ 115108 w 1227630"/>
                    <a:gd name="connsiteY320" fmla="*/ 512436 h 1228094"/>
                    <a:gd name="connsiteX321" fmla="*/ 112213 w 1227630"/>
                    <a:gd name="connsiteY321" fmla="*/ 485813 h 1228094"/>
                    <a:gd name="connsiteX322" fmla="*/ 112432 w 1227630"/>
                    <a:gd name="connsiteY322" fmla="*/ 472792 h 1228094"/>
                    <a:gd name="connsiteX323" fmla="*/ 112851 w 1227630"/>
                    <a:gd name="connsiteY323" fmla="*/ 462896 h 1228094"/>
                    <a:gd name="connsiteX324" fmla="*/ 97335 w 1227630"/>
                    <a:gd name="connsiteY324" fmla="*/ 475421 h 1228094"/>
                    <a:gd name="connsiteX325" fmla="*/ 68636 w 1227630"/>
                    <a:gd name="connsiteY325" fmla="*/ 480774 h 1228094"/>
                    <a:gd name="connsiteX326" fmla="*/ 62768 w 1227630"/>
                    <a:gd name="connsiteY326" fmla="*/ 475412 h 1228094"/>
                    <a:gd name="connsiteX327" fmla="*/ 57149 w 1227630"/>
                    <a:gd name="connsiteY327" fmla="*/ 466287 h 1228094"/>
                    <a:gd name="connsiteX328" fmla="*/ 29279 w 1227630"/>
                    <a:gd name="connsiteY328" fmla="*/ 462077 h 1228094"/>
                    <a:gd name="connsiteX329" fmla="*/ 35327 w 1227630"/>
                    <a:gd name="connsiteY329" fmla="*/ 448942 h 1228094"/>
                    <a:gd name="connsiteX330" fmla="*/ 24002 w 1227630"/>
                    <a:gd name="connsiteY330" fmla="*/ 438217 h 1228094"/>
                    <a:gd name="connsiteX331" fmla="*/ 12800 w 1227630"/>
                    <a:gd name="connsiteY331" fmla="*/ 422196 h 1228094"/>
                    <a:gd name="connsiteX332" fmla="*/ 7600 w 1227630"/>
                    <a:gd name="connsiteY332" fmla="*/ 414033 h 1228094"/>
                    <a:gd name="connsiteX333" fmla="*/ 8314 w 1227630"/>
                    <a:gd name="connsiteY333" fmla="*/ 410756 h 1228094"/>
                    <a:gd name="connsiteX334" fmla="*/ 3209 w 1227630"/>
                    <a:gd name="connsiteY334" fmla="*/ 407451 h 1228094"/>
                    <a:gd name="connsiteX335" fmla="*/ 227 w 1227630"/>
                    <a:gd name="connsiteY335" fmla="*/ 401345 h 1228094"/>
                    <a:gd name="connsiteX336" fmla="*/ 3009 w 1227630"/>
                    <a:gd name="connsiteY336" fmla="*/ 397145 h 1228094"/>
                    <a:gd name="connsiteX337" fmla="*/ 7066 w 1227630"/>
                    <a:gd name="connsiteY337" fmla="*/ 395849 h 1228094"/>
                    <a:gd name="connsiteX338" fmla="*/ 4980 w 1227630"/>
                    <a:gd name="connsiteY338" fmla="*/ 390935 h 1228094"/>
                    <a:gd name="connsiteX339" fmla="*/ 8752 w 1227630"/>
                    <a:gd name="connsiteY339" fmla="*/ 379152 h 1228094"/>
                    <a:gd name="connsiteX340" fmla="*/ 22240 w 1227630"/>
                    <a:gd name="connsiteY340" fmla="*/ 371132 h 1228094"/>
                    <a:gd name="connsiteX341" fmla="*/ 20525 w 1227630"/>
                    <a:gd name="connsiteY341" fmla="*/ 359502 h 1228094"/>
                    <a:gd name="connsiteX342" fmla="*/ 25335 w 1227630"/>
                    <a:gd name="connsiteY342" fmla="*/ 345500 h 1228094"/>
                    <a:gd name="connsiteX343" fmla="*/ 28088 w 1227630"/>
                    <a:gd name="connsiteY343" fmla="*/ 330975 h 1228094"/>
                    <a:gd name="connsiteX344" fmla="*/ 35641 w 1227630"/>
                    <a:gd name="connsiteY344" fmla="*/ 324355 h 1228094"/>
                    <a:gd name="connsiteX345" fmla="*/ 48548 w 1227630"/>
                    <a:gd name="connsiteY345" fmla="*/ 314649 h 1228094"/>
                    <a:gd name="connsiteX346" fmla="*/ 76770 w 1227630"/>
                    <a:gd name="connsiteY346" fmla="*/ 304962 h 1228094"/>
                    <a:gd name="connsiteX347" fmla="*/ 89829 w 1227630"/>
                    <a:gd name="connsiteY347" fmla="*/ 299904 h 1228094"/>
                    <a:gd name="connsiteX348" fmla="*/ 103926 w 1227630"/>
                    <a:gd name="connsiteY348" fmla="*/ 296446 h 1228094"/>
                    <a:gd name="connsiteX349" fmla="*/ 119585 w 1227630"/>
                    <a:gd name="connsiteY349" fmla="*/ 296913 h 1228094"/>
                    <a:gd name="connsiteX350" fmla="*/ 124710 w 1227630"/>
                    <a:gd name="connsiteY350" fmla="*/ 261223 h 1228094"/>
                    <a:gd name="connsiteX351" fmla="*/ 129786 w 1227630"/>
                    <a:gd name="connsiteY351" fmla="*/ 228533 h 1228094"/>
                    <a:gd name="connsiteX352" fmla="*/ 132368 w 1227630"/>
                    <a:gd name="connsiteY352" fmla="*/ 199139 h 1228094"/>
                    <a:gd name="connsiteX353" fmla="*/ 127491 w 1227630"/>
                    <a:gd name="connsiteY353" fmla="*/ 187052 h 1228094"/>
                    <a:gd name="connsiteX354" fmla="*/ 124167 w 1227630"/>
                    <a:gd name="connsiteY354" fmla="*/ 180327 h 1228094"/>
                    <a:gd name="connsiteX355" fmla="*/ 113070 w 1227630"/>
                    <a:gd name="connsiteY355" fmla="*/ 170840 h 1228094"/>
                    <a:gd name="connsiteX356" fmla="*/ 113051 w 1227630"/>
                    <a:gd name="connsiteY356" fmla="*/ 152372 h 1228094"/>
                    <a:gd name="connsiteX357" fmla="*/ 121785 w 1227630"/>
                    <a:gd name="connsiteY357" fmla="*/ 146171 h 1228094"/>
                    <a:gd name="connsiteX358" fmla="*/ 129244 w 1227630"/>
                    <a:gd name="connsiteY358" fmla="*/ 143265 h 1228094"/>
                    <a:gd name="connsiteX359" fmla="*/ 136797 w 1227630"/>
                    <a:gd name="connsiteY359" fmla="*/ 145037 h 1228094"/>
                    <a:gd name="connsiteX360" fmla="*/ 141083 w 1227630"/>
                    <a:gd name="connsiteY360" fmla="*/ 143551 h 1228094"/>
                    <a:gd name="connsiteX361" fmla="*/ 138921 w 1227630"/>
                    <a:gd name="connsiteY361" fmla="*/ 134455 h 1228094"/>
                    <a:gd name="connsiteX362" fmla="*/ 119709 w 1227630"/>
                    <a:gd name="connsiteY362" fmla="*/ 132226 h 1228094"/>
                    <a:gd name="connsiteX363" fmla="*/ 120118 w 1227630"/>
                    <a:gd name="connsiteY363" fmla="*/ 111776 h 1228094"/>
                    <a:gd name="connsiteX364" fmla="*/ 133844 w 1227630"/>
                    <a:gd name="connsiteY364" fmla="*/ 110985 h 1228094"/>
                    <a:gd name="connsiteX365" fmla="*/ 172773 w 1227630"/>
                    <a:gd name="connsiteY365" fmla="*/ 111423 h 1228094"/>
                    <a:gd name="connsiteX366" fmla="*/ 171992 w 1227630"/>
                    <a:gd name="connsiteY366" fmla="*/ 103441 h 1228094"/>
                    <a:gd name="connsiteX367" fmla="*/ 179088 w 1227630"/>
                    <a:gd name="connsiteY367" fmla="*/ 110452 h 1228094"/>
                    <a:gd name="connsiteX368" fmla="*/ 196585 w 1227630"/>
                    <a:gd name="connsiteY368" fmla="*/ 98850 h 1228094"/>
                    <a:gd name="connsiteX369" fmla="*/ 206853 w 1227630"/>
                    <a:gd name="connsiteY369" fmla="*/ 121415 h 1228094"/>
                    <a:gd name="connsiteX370" fmla="*/ 212530 w 1227630"/>
                    <a:gd name="connsiteY370" fmla="*/ 127235 h 1228094"/>
                    <a:gd name="connsiteX371" fmla="*/ 222884 w 1227630"/>
                    <a:gd name="connsiteY371" fmla="*/ 135569 h 1228094"/>
                    <a:gd name="connsiteX372" fmla="*/ 245972 w 1227630"/>
                    <a:gd name="connsiteY372" fmla="*/ 136712 h 1228094"/>
                    <a:gd name="connsiteX373" fmla="*/ 254659 w 1227630"/>
                    <a:gd name="connsiteY373" fmla="*/ 136446 h 1228094"/>
                    <a:gd name="connsiteX374" fmla="*/ 258031 w 1227630"/>
                    <a:gd name="connsiteY374" fmla="*/ 142999 h 1228094"/>
                    <a:gd name="connsiteX375" fmla="*/ 266365 w 1227630"/>
                    <a:gd name="connsiteY375" fmla="*/ 134141 h 1228094"/>
                    <a:gd name="connsiteX376" fmla="*/ 277624 w 1227630"/>
                    <a:gd name="connsiteY376" fmla="*/ 126264 h 1228094"/>
                    <a:gd name="connsiteX377" fmla="*/ 286673 w 1227630"/>
                    <a:gd name="connsiteY377" fmla="*/ 121491 h 1228094"/>
                    <a:gd name="connsiteX378" fmla="*/ 297741 w 1227630"/>
                    <a:gd name="connsiteY378" fmla="*/ 117367 h 1228094"/>
                    <a:gd name="connsiteX379" fmla="*/ 303132 w 1227630"/>
                    <a:gd name="connsiteY379" fmla="*/ 106089 h 1228094"/>
                    <a:gd name="connsiteX380" fmla="*/ 310161 w 1227630"/>
                    <a:gd name="connsiteY380" fmla="*/ 102984 h 1228094"/>
                    <a:gd name="connsiteX381" fmla="*/ 321991 w 1227630"/>
                    <a:gd name="connsiteY381" fmla="*/ 89411 h 1228094"/>
                    <a:gd name="connsiteX382" fmla="*/ 308256 w 1227630"/>
                    <a:gd name="connsiteY382" fmla="*/ 88449 h 1228094"/>
                    <a:gd name="connsiteX383" fmla="*/ 304599 w 1227630"/>
                    <a:gd name="connsiteY383" fmla="*/ 81410 h 1228094"/>
                    <a:gd name="connsiteX384" fmla="*/ 300503 w 1227630"/>
                    <a:gd name="connsiteY384" fmla="*/ 70428 h 1228094"/>
                    <a:gd name="connsiteX385" fmla="*/ 298569 w 1227630"/>
                    <a:gd name="connsiteY385" fmla="*/ 55645 h 1228094"/>
                    <a:gd name="connsiteX386" fmla="*/ 281996 w 1227630"/>
                    <a:gd name="connsiteY386" fmla="*/ 33728 h 1228094"/>
                    <a:gd name="connsiteX387" fmla="*/ 286415 w 1227630"/>
                    <a:gd name="connsiteY387" fmla="*/ 33376 h 1228094"/>
                    <a:gd name="connsiteX388" fmla="*/ 298455 w 1227630"/>
                    <a:gd name="connsiteY388" fmla="*/ 35157 h 1228094"/>
                    <a:gd name="connsiteX389" fmla="*/ 304380 w 1227630"/>
                    <a:gd name="connsiteY389" fmla="*/ 40748 h 1228094"/>
                    <a:gd name="connsiteX390" fmla="*/ 317991 w 1227630"/>
                    <a:gd name="connsiteY390" fmla="*/ 41834 h 1228094"/>
                    <a:gd name="connsiteX391" fmla="*/ 327697 w 1227630"/>
                    <a:gd name="connsiteY391" fmla="*/ 41653 h 1228094"/>
                    <a:gd name="connsiteX392" fmla="*/ 337993 w 1227630"/>
                    <a:gd name="connsiteY392" fmla="*/ 52035 h 1228094"/>
                    <a:gd name="connsiteX393" fmla="*/ 345871 w 1227630"/>
                    <a:gd name="connsiteY393" fmla="*/ 41472 h 1228094"/>
                    <a:gd name="connsiteX394" fmla="*/ 354510 w 1227630"/>
                    <a:gd name="connsiteY394" fmla="*/ 35214 h 1228094"/>
                    <a:gd name="connsiteX395" fmla="*/ 367635 w 1227630"/>
                    <a:gd name="connsiteY395" fmla="*/ 35385 h 1228094"/>
                    <a:gd name="connsiteX396" fmla="*/ 383885 w 1227630"/>
                    <a:gd name="connsiteY396" fmla="*/ 30089 h 1228094"/>
                    <a:gd name="connsiteX397" fmla="*/ 394696 w 1227630"/>
                    <a:gd name="connsiteY397" fmla="*/ 23622 h 1228094"/>
                    <a:gd name="connsiteX398" fmla="*/ 403954 w 1227630"/>
                    <a:gd name="connsiteY398" fmla="*/ 18888 h 1228094"/>
                    <a:gd name="connsiteX399" fmla="*/ 410403 w 1227630"/>
                    <a:gd name="connsiteY399" fmla="*/ 1724 h 1228094"/>
                    <a:gd name="connsiteX400" fmla="*/ 426176 w 1227630"/>
                    <a:gd name="connsiteY400" fmla="*/ 0 h 1228094"/>
                    <a:gd name="connsiteX401" fmla="*/ 426176 w 1227630"/>
                    <a:gd name="connsiteY401" fmla="*/ 0 h 122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Lst>
                  <a:rect l="l" t="t" r="r" b="b"/>
                  <a:pathLst>
                    <a:path w="1227630" h="1228094">
                      <a:moveTo>
                        <a:pt x="756493" y="172831"/>
                      </a:moveTo>
                      <a:cubicBezTo>
                        <a:pt x="761780" y="173355"/>
                        <a:pt x="765933" y="170821"/>
                        <a:pt x="771057" y="170688"/>
                      </a:cubicBezTo>
                      <a:cubicBezTo>
                        <a:pt x="776391" y="170555"/>
                        <a:pt x="782992" y="171831"/>
                        <a:pt x="788288" y="172831"/>
                      </a:cubicBezTo>
                      <a:cubicBezTo>
                        <a:pt x="792298" y="173593"/>
                        <a:pt x="794993" y="173603"/>
                        <a:pt x="795460" y="177413"/>
                      </a:cubicBezTo>
                      <a:cubicBezTo>
                        <a:pt x="795755" y="179775"/>
                        <a:pt x="792231" y="187147"/>
                        <a:pt x="789993" y="187166"/>
                      </a:cubicBezTo>
                      <a:cubicBezTo>
                        <a:pt x="793669" y="195063"/>
                        <a:pt x="784249" y="198758"/>
                        <a:pt x="781516" y="204245"/>
                      </a:cubicBezTo>
                      <a:cubicBezTo>
                        <a:pt x="780153" y="206978"/>
                        <a:pt x="783801" y="209045"/>
                        <a:pt x="779172" y="211912"/>
                      </a:cubicBezTo>
                      <a:cubicBezTo>
                        <a:pt x="776115" y="213817"/>
                        <a:pt x="773029" y="213617"/>
                        <a:pt x="771086" y="210103"/>
                      </a:cubicBezTo>
                      <a:cubicBezTo>
                        <a:pt x="771581" y="217961"/>
                        <a:pt x="765314" y="215989"/>
                        <a:pt x="760608" y="213227"/>
                      </a:cubicBezTo>
                      <a:cubicBezTo>
                        <a:pt x="760780" y="220208"/>
                        <a:pt x="753998" y="221561"/>
                        <a:pt x="748778" y="221361"/>
                      </a:cubicBezTo>
                      <a:cubicBezTo>
                        <a:pt x="746625" y="221266"/>
                        <a:pt x="744320" y="220037"/>
                        <a:pt x="742368" y="219970"/>
                      </a:cubicBezTo>
                      <a:cubicBezTo>
                        <a:pt x="740615" y="219904"/>
                        <a:pt x="736748" y="220828"/>
                        <a:pt x="734472" y="220923"/>
                      </a:cubicBezTo>
                      <a:cubicBezTo>
                        <a:pt x="727852" y="221180"/>
                        <a:pt x="727404" y="221066"/>
                        <a:pt x="724308" y="214370"/>
                      </a:cubicBezTo>
                      <a:cubicBezTo>
                        <a:pt x="723308" y="212198"/>
                        <a:pt x="721203" y="208178"/>
                        <a:pt x="721327" y="205769"/>
                      </a:cubicBezTo>
                      <a:cubicBezTo>
                        <a:pt x="721517" y="201997"/>
                        <a:pt x="724156" y="202206"/>
                        <a:pt x="724451" y="201387"/>
                      </a:cubicBezTo>
                      <a:cubicBezTo>
                        <a:pt x="724851" y="200282"/>
                        <a:pt x="727490" y="202930"/>
                        <a:pt x="726375" y="199682"/>
                      </a:cubicBezTo>
                      <a:cubicBezTo>
                        <a:pt x="726413" y="199797"/>
                        <a:pt x="721032" y="198044"/>
                        <a:pt x="720022" y="195844"/>
                      </a:cubicBezTo>
                      <a:cubicBezTo>
                        <a:pt x="718022" y="191481"/>
                        <a:pt x="721327" y="185099"/>
                        <a:pt x="722470" y="181385"/>
                      </a:cubicBezTo>
                      <a:cubicBezTo>
                        <a:pt x="727604" y="164820"/>
                        <a:pt x="742387" y="170250"/>
                        <a:pt x="756493" y="172831"/>
                      </a:cubicBezTo>
                      <a:lnTo>
                        <a:pt x="756493" y="172831"/>
                      </a:lnTo>
                      <a:close/>
                      <a:moveTo>
                        <a:pt x="426176" y="0"/>
                      </a:moveTo>
                      <a:cubicBezTo>
                        <a:pt x="432796" y="333"/>
                        <a:pt x="433786" y="7477"/>
                        <a:pt x="432500" y="12592"/>
                      </a:cubicBezTo>
                      <a:cubicBezTo>
                        <a:pt x="430738" y="19564"/>
                        <a:pt x="426014" y="20888"/>
                        <a:pt x="431967" y="23717"/>
                      </a:cubicBezTo>
                      <a:cubicBezTo>
                        <a:pt x="434434" y="24898"/>
                        <a:pt x="437863" y="23717"/>
                        <a:pt x="439949" y="26022"/>
                      </a:cubicBezTo>
                      <a:cubicBezTo>
                        <a:pt x="442968" y="29366"/>
                        <a:pt x="439673" y="29118"/>
                        <a:pt x="440711" y="32756"/>
                      </a:cubicBezTo>
                      <a:cubicBezTo>
                        <a:pt x="442464" y="38900"/>
                        <a:pt x="446902" y="39167"/>
                        <a:pt x="444340" y="45263"/>
                      </a:cubicBezTo>
                      <a:cubicBezTo>
                        <a:pt x="443264" y="47815"/>
                        <a:pt x="440482" y="48749"/>
                        <a:pt x="439120" y="50740"/>
                      </a:cubicBezTo>
                      <a:cubicBezTo>
                        <a:pt x="436444" y="54673"/>
                        <a:pt x="437615" y="54521"/>
                        <a:pt x="436730" y="59398"/>
                      </a:cubicBezTo>
                      <a:cubicBezTo>
                        <a:pt x="435453" y="66332"/>
                        <a:pt x="430510" y="71923"/>
                        <a:pt x="431053" y="79734"/>
                      </a:cubicBezTo>
                      <a:cubicBezTo>
                        <a:pt x="431624" y="87878"/>
                        <a:pt x="437787" y="92135"/>
                        <a:pt x="438492" y="98784"/>
                      </a:cubicBezTo>
                      <a:cubicBezTo>
                        <a:pt x="439006" y="103575"/>
                        <a:pt x="438015" y="107737"/>
                        <a:pt x="441216" y="110833"/>
                      </a:cubicBezTo>
                      <a:cubicBezTo>
                        <a:pt x="447855" y="117243"/>
                        <a:pt x="459618" y="126883"/>
                        <a:pt x="468638" y="127263"/>
                      </a:cubicBezTo>
                      <a:cubicBezTo>
                        <a:pt x="468286" y="127245"/>
                        <a:pt x="477297" y="124692"/>
                        <a:pt x="476820" y="125111"/>
                      </a:cubicBezTo>
                      <a:cubicBezTo>
                        <a:pt x="478487" y="123654"/>
                        <a:pt x="477106" y="121158"/>
                        <a:pt x="478182" y="119424"/>
                      </a:cubicBezTo>
                      <a:cubicBezTo>
                        <a:pt x="477782" y="120072"/>
                        <a:pt x="482297" y="116024"/>
                        <a:pt x="482059" y="116081"/>
                      </a:cubicBezTo>
                      <a:cubicBezTo>
                        <a:pt x="484059" y="115557"/>
                        <a:pt x="485317" y="116872"/>
                        <a:pt x="487631" y="116853"/>
                      </a:cubicBezTo>
                      <a:cubicBezTo>
                        <a:pt x="493356" y="116815"/>
                        <a:pt x="491394" y="115986"/>
                        <a:pt x="496051" y="113367"/>
                      </a:cubicBezTo>
                      <a:cubicBezTo>
                        <a:pt x="499337" y="111519"/>
                        <a:pt x="503357" y="113214"/>
                        <a:pt x="506414" y="111823"/>
                      </a:cubicBezTo>
                      <a:cubicBezTo>
                        <a:pt x="509310" y="110509"/>
                        <a:pt x="509939" y="106794"/>
                        <a:pt x="512463" y="105023"/>
                      </a:cubicBezTo>
                      <a:cubicBezTo>
                        <a:pt x="517768" y="101298"/>
                        <a:pt x="520921" y="103965"/>
                        <a:pt x="525379" y="105213"/>
                      </a:cubicBezTo>
                      <a:cubicBezTo>
                        <a:pt x="531027" y="106794"/>
                        <a:pt x="535609" y="104375"/>
                        <a:pt x="540743" y="104527"/>
                      </a:cubicBezTo>
                      <a:cubicBezTo>
                        <a:pt x="546096" y="104689"/>
                        <a:pt x="556973" y="111281"/>
                        <a:pt x="558754" y="104099"/>
                      </a:cubicBezTo>
                      <a:cubicBezTo>
                        <a:pt x="559821" y="99803"/>
                        <a:pt x="555383" y="98803"/>
                        <a:pt x="554116" y="95222"/>
                      </a:cubicBezTo>
                      <a:cubicBezTo>
                        <a:pt x="552782" y="91459"/>
                        <a:pt x="552896" y="94964"/>
                        <a:pt x="555306" y="90907"/>
                      </a:cubicBezTo>
                      <a:cubicBezTo>
                        <a:pt x="557811" y="86678"/>
                        <a:pt x="556202" y="87316"/>
                        <a:pt x="560021" y="87211"/>
                      </a:cubicBezTo>
                      <a:cubicBezTo>
                        <a:pt x="564193" y="87097"/>
                        <a:pt x="566412" y="90154"/>
                        <a:pt x="571537" y="89087"/>
                      </a:cubicBezTo>
                      <a:cubicBezTo>
                        <a:pt x="576290" y="88097"/>
                        <a:pt x="584872" y="86706"/>
                        <a:pt x="588853" y="83791"/>
                      </a:cubicBezTo>
                      <a:cubicBezTo>
                        <a:pt x="589844" y="89030"/>
                        <a:pt x="593016" y="86754"/>
                        <a:pt x="595778" y="88420"/>
                      </a:cubicBezTo>
                      <a:cubicBezTo>
                        <a:pt x="597388" y="89402"/>
                        <a:pt x="598950" y="91335"/>
                        <a:pt x="600493" y="92535"/>
                      </a:cubicBezTo>
                      <a:cubicBezTo>
                        <a:pt x="606913" y="97498"/>
                        <a:pt x="612875" y="99784"/>
                        <a:pt x="619914" y="95983"/>
                      </a:cubicBezTo>
                      <a:cubicBezTo>
                        <a:pt x="622648" y="94507"/>
                        <a:pt x="624991" y="92059"/>
                        <a:pt x="627363" y="92040"/>
                      </a:cubicBezTo>
                      <a:cubicBezTo>
                        <a:pt x="629268" y="92030"/>
                        <a:pt x="633345" y="94269"/>
                        <a:pt x="636145" y="94250"/>
                      </a:cubicBezTo>
                      <a:cubicBezTo>
                        <a:pt x="637726" y="94240"/>
                        <a:pt x="639012" y="91773"/>
                        <a:pt x="640460" y="91926"/>
                      </a:cubicBezTo>
                      <a:cubicBezTo>
                        <a:pt x="641879" y="92078"/>
                        <a:pt x="642098" y="95012"/>
                        <a:pt x="642974" y="95288"/>
                      </a:cubicBezTo>
                      <a:cubicBezTo>
                        <a:pt x="644994" y="95926"/>
                        <a:pt x="649423" y="97450"/>
                        <a:pt x="651995" y="96831"/>
                      </a:cubicBezTo>
                      <a:cubicBezTo>
                        <a:pt x="660224" y="94869"/>
                        <a:pt x="663806" y="85506"/>
                        <a:pt x="666825" y="78772"/>
                      </a:cubicBezTo>
                      <a:cubicBezTo>
                        <a:pt x="670102" y="71485"/>
                        <a:pt x="673416" y="65884"/>
                        <a:pt x="678122" y="59569"/>
                      </a:cubicBezTo>
                      <a:cubicBezTo>
                        <a:pt x="682560" y="53616"/>
                        <a:pt x="684789" y="46939"/>
                        <a:pt x="689894" y="41824"/>
                      </a:cubicBezTo>
                      <a:cubicBezTo>
                        <a:pt x="692657" y="39062"/>
                        <a:pt x="694705" y="35900"/>
                        <a:pt x="697419" y="33109"/>
                      </a:cubicBezTo>
                      <a:cubicBezTo>
                        <a:pt x="699458" y="31014"/>
                        <a:pt x="697229" y="29556"/>
                        <a:pt x="701010" y="29728"/>
                      </a:cubicBezTo>
                      <a:cubicBezTo>
                        <a:pt x="703287" y="29823"/>
                        <a:pt x="706478" y="33919"/>
                        <a:pt x="707621" y="35585"/>
                      </a:cubicBezTo>
                      <a:cubicBezTo>
                        <a:pt x="714536" y="45682"/>
                        <a:pt x="711592" y="59217"/>
                        <a:pt x="715269" y="70352"/>
                      </a:cubicBezTo>
                      <a:cubicBezTo>
                        <a:pt x="716898" y="75295"/>
                        <a:pt x="726271" y="94193"/>
                        <a:pt x="722851" y="98384"/>
                      </a:cubicBezTo>
                      <a:cubicBezTo>
                        <a:pt x="727309" y="98231"/>
                        <a:pt x="726109" y="102251"/>
                        <a:pt x="728395" y="104899"/>
                      </a:cubicBezTo>
                      <a:cubicBezTo>
                        <a:pt x="731719" y="108737"/>
                        <a:pt x="733691" y="107928"/>
                        <a:pt x="738320" y="109233"/>
                      </a:cubicBezTo>
                      <a:cubicBezTo>
                        <a:pt x="746397" y="111509"/>
                        <a:pt x="749997" y="117177"/>
                        <a:pt x="747940" y="125663"/>
                      </a:cubicBezTo>
                      <a:cubicBezTo>
                        <a:pt x="746359" y="132188"/>
                        <a:pt x="739987" y="135464"/>
                        <a:pt x="734824" y="140627"/>
                      </a:cubicBezTo>
                      <a:cubicBezTo>
                        <a:pt x="729233" y="146218"/>
                        <a:pt x="726613" y="154581"/>
                        <a:pt x="720070" y="159372"/>
                      </a:cubicBezTo>
                      <a:cubicBezTo>
                        <a:pt x="718498" y="160515"/>
                        <a:pt x="716784" y="159944"/>
                        <a:pt x="715231" y="161020"/>
                      </a:cubicBezTo>
                      <a:cubicBezTo>
                        <a:pt x="713412" y="162287"/>
                        <a:pt x="712507" y="164602"/>
                        <a:pt x="710716" y="165830"/>
                      </a:cubicBezTo>
                      <a:cubicBezTo>
                        <a:pt x="706820" y="168497"/>
                        <a:pt x="706316" y="167773"/>
                        <a:pt x="703858" y="171250"/>
                      </a:cubicBezTo>
                      <a:cubicBezTo>
                        <a:pt x="700201" y="176412"/>
                        <a:pt x="692571" y="185195"/>
                        <a:pt x="690942" y="191100"/>
                      </a:cubicBezTo>
                      <a:cubicBezTo>
                        <a:pt x="689685" y="195672"/>
                        <a:pt x="689799" y="196901"/>
                        <a:pt x="687647" y="200825"/>
                      </a:cubicBezTo>
                      <a:cubicBezTo>
                        <a:pt x="687142" y="201759"/>
                        <a:pt x="684989" y="203073"/>
                        <a:pt x="684341" y="203940"/>
                      </a:cubicBezTo>
                      <a:cubicBezTo>
                        <a:pt x="683046" y="205692"/>
                        <a:pt x="684703" y="207026"/>
                        <a:pt x="682637" y="208693"/>
                      </a:cubicBezTo>
                      <a:cubicBezTo>
                        <a:pt x="680274" y="210607"/>
                        <a:pt x="675902" y="208721"/>
                        <a:pt x="672816" y="209474"/>
                      </a:cubicBezTo>
                      <a:cubicBezTo>
                        <a:pt x="668844" y="210455"/>
                        <a:pt x="665177" y="213255"/>
                        <a:pt x="661186" y="214494"/>
                      </a:cubicBezTo>
                      <a:cubicBezTo>
                        <a:pt x="668235" y="214656"/>
                        <a:pt x="674788" y="217465"/>
                        <a:pt x="681017" y="216189"/>
                      </a:cubicBezTo>
                      <a:cubicBezTo>
                        <a:pt x="686475" y="215074"/>
                        <a:pt x="691847" y="210883"/>
                        <a:pt x="696810" y="208274"/>
                      </a:cubicBezTo>
                      <a:cubicBezTo>
                        <a:pt x="702315" y="205359"/>
                        <a:pt x="707183" y="200053"/>
                        <a:pt x="712821" y="197758"/>
                      </a:cubicBezTo>
                      <a:cubicBezTo>
                        <a:pt x="716193" y="196377"/>
                        <a:pt x="715888" y="193824"/>
                        <a:pt x="718479" y="197710"/>
                      </a:cubicBezTo>
                      <a:cubicBezTo>
                        <a:pt x="717250" y="195872"/>
                        <a:pt x="717555" y="203302"/>
                        <a:pt x="717555" y="203263"/>
                      </a:cubicBezTo>
                      <a:cubicBezTo>
                        <a:pt x="717860" y="208331"/>
                        <a:pt x="721651" y="212979"/>
                        <a:pt x="723756" y="217389"/>
                      </a:cubicBezTo>
                      <a:cubicBezTo>
                        <a:pt x="724965" y="219951"/>
                        <a:pt x="723670" y="220447"/>
                        <a:pt x="725518" y="223114"/>
                      </a:cubicBezTo>
                      <a:cubicBezTo>
                        <a:pt x="726337" y="224276"/>
                        <a:pt x="731776" y="229019"/>
                        <a:pt x="732605" y="229105"/>
                      </a:cubicBezTo>
                      <a:cubicBezTo>
                        <a:pt x="734148" y="229257"/>
                        <a:pt x="738681" y="225333"/>
                        <a:pt x="740682" y="224742"/>
                      </a:cubicBezTo>
                      <a:cubicBezTo>
                        <a:pt x="744025" y="223752"/>
                        <a:pt x="744968" y="224123"/>
                        <a:pt x="748283" y="224542"/>
                      </a:cubicBezTo>
                      <a:cubicBezTo>
                        <a:pt x="756398" y="225590"/>
                        <a:pt x="759027" y="224057"/>
                        <a:pt x="766780" y="220161"/>
                      </a:cubicBezTo>
                      <a:cubicBezTo>
                        <a:pt x="763656" y="229333"/>
                        <a:pt x="762351" y="241383"/>
                        <a:pt x="757103" y="249317"/>
                      </a:cubicBezTo>
                      <a:cubicBezTo>
                        <a:pt x="766475" y="246536"/>
                        <a:pt x="764218" y="230905"/>
                        <a:pt x="770971" y="225390"/>
                      </a:cubicBezTo>
                      <a:cubicBezTo>
                        <a:pt x="775057" y="222047"/>
                        <a:pt x="777544" y="222561"/>
                        <a:pt x="781334" y="217865"/>
                      </a:cubicBezTo>
                      <a:cubicBezTo>
                        <a:pt x="786126" y="211950"/>
                        <a:pt x="787640" y="211188"/>
                        <a:pt x="793527" y="216465"/>
                      </a:cubicBezTo>
                      <a:cubicBezTo>
                        <a:pt x="795193" y="213627"/>
                        <a:pt x="794107" y="214322"/>
                        <a:pt x="797041" y="212303"/>
                      </a:cubicBezTo>
                      <a:cubicBezTo>
                        <a:pt x="790612" y="211084"/>
                        <a:pt x="794155" y="203102"/>
                        <a:pt x="795260" y="200596"/>
                      </a:cubicBezTo>
                      <a:cubicBezTo>
                        <a:pt x="796051" y="198815"/>
                        <a:pt x="798146" y="195634"/>
                        <a:pt x="799499" y="193796"/>
                      </a:cubicBezTo>
                      <a:cubicBezTo>
                        <a:pt x="800118" y="192957"/>
                        <a:pt x="803785" y="189071"/>
                        <a:pt x="804242" y="188833"/>
                      </a:cubicBezTo>
                      <a:cubicBezTo>
                        <a:pt x="806919" y="187490"/>
                        <a:pt x="807690" y="190243"/>
                        <a:pt x="809100" y="189833"/>
                      </a:cubicBezTo>
                      <a:cubicBezTo>
                        <a:pt x="810986" y="189290"/>
                        <a:pt x="812977" y="187433"/>
                        <a:pt x="814986" y="186919"/>
                      </a:cubicBezTo>
                      <a:cubicBezTo>
                        <a:pt x="817358" y="186309"/>
                        <a:pt x="824054" y="187966"/>
                        <a:pt x="826178" y="189729"/>
                      </a:cubicBezTo>
                      <a:cubicBezTo>
                        <a:pt x="823997" y="186376"/>
                        <a:pt x="825597" y="185709"/>
                        <a:pt x="828855" y="185623"/>
                      </a:cubicBezTo>
                      <a:cubicBezTo>
                        <a:pt x="831246" y="185566"/>
                        <a:pt x="832293" y="187528"/>
                        <a:pt x="834208" y="188052"/>
                      </a:cubicBezTo>
                      <a:cubicBezTo>
                        <a:pt x="836237" y="188604"/>
                        <a:pt x="839037" y="188433"/>
                        <a:pt x="841123" y="189024"/>
                      </a:cubicBezTo>
                      <a:cubicBezTo>
                        <a:pt x="849667" y="191405"/>
                        <a:pt x="853267" y="199472"/>
                        <a:pt x="864021" y="198073"/>
                      </a:cubicBezTo>
                      <a:cubicBezTo>
                        <a:pt x="864535" y="201387"/>
                        <a:pt x="868098" y="200768"/>
                        <a:pt x="870689" y="201673"/>
                      </a:cubicBezTo>
                      <a:cubicBezTo>
                        <a:pt x="873546" y="202664"/>
                        <a:pt x="876965" y="205521"/>
                        <a:pt x="880071" y="206531"/>
                      </a:cubicBezTo>
                      <a:cubicBezTo>
                        <a:pt x="887014" y="208759"/>
                        <a:pt x="891806" y="210283"/>
                        <a:pt x="892263" y="219694"/>
                      </a:cubicBezTo>
                      <a:cubicBezTo>
                        <a:pt x="896549" y="217275"/>
                        <a:pt x="895482" y="211884"/>
                        <a:pt x="900940" y="212531"/>
                      </a:cubicBezTo>
                      <a:cubicBezTo>
                        <a:pt x="904893" y="213008"/>
                        <a:pt x="907522" y="219370"/>
                        <a:pt x="911408" y="220208"/>
                      </a:cubicBezTo>
                      <a:cubicBezTo>
                        <a:pt x="910817" y="220894"/>
                        <a:pt x="910217" y="221580"/>
                        <a:pt x="909627" y="222266"/>
                      </a:cubicBezTo>
                      <a:cubicBezTo>
                        <a:pt x="910570" y="221609"/>
                        <a:pt x="912427" y="221371"/>
                        <a:pt x="913618" y="220609"/>
                      </a:cubicBezTo>
                      <a:cubicBezTo>
                        <a:pt x="917571" y="226190"/>
                        <a:pt x="918590" y="234782"/>
                        <a:pt x="910532" y="236982"/>
                      </a:cubicBezTo>
                      <a:cubicBezTo>
                        <a:pt x="910979" y="237773"/>
                        <a:pt x="912789" y="239792"/>
                        <a:pt x="913541" y="240354"/>
                      </a:cubicBezTo>
                      <a:cubicBezTo>
                        <a:pt x="914951" y="236696"/>
                        <a:pt x="918333" y="232381"/>
                        <a:pt x="921304" y="235496"/>
                      </a:cubicBezTo>
                      <a:cubicBezTo>
                        <a:pt x="923209" y="237496"/>
                        <a:pt x="921628" y="239411"/>
                        <a:pt x="921247" y="240449"/>
                      </a:cubicBezTo>
                      <a:cubicBezTo>
                        <a:pt x="921438" y="239944"/>
                        <a:pt x="917904" y="243859"/>
                        <a:pt x="917742" y="244116"/>
                      </a:cubicBezTo>
                      <a:cubicBezTo>
                        <a:pt x="913999" y="249869"/>
                        <a:pt x="912199" y="259670"/>
                        <a:pt x="912122" y="266548"/>
                      </a:cubicBezTo>
                      <a:cubicBezTo>
                        <a:pt x="915199" y="264814"/>
                        <a:pt x="919266" y="261395"/>
                        <a:pt x="920942" y="258346"/>
                      </a:cubicBezTo>
                      <a:cubicBezTo>
                        <a:pt x="922914" y="254765"/>
                        <a:pt x="922009" y="247678"/>
                        <a:pt x="925391" y="244955"/>
                      </a:cubicBezTo>
                      <a:cubicBezTo>
                        <a:pt x="934620" y="237506"/>
                        <a:pt x="927877" y="252860"/>
                        <a:pt x="928562" y="254108"/>
                      </a:cubicBezTo>
                      <a:cubicBezTo>
                        <a:pt x="931106" y="251765"/>
                        <a:pt x="933563" y="248726"/>
                        <a:pt x="936602" y="247050"/>
                      </a:cubicBezTo>
                      <a:cubicBezTo>
                        <a:pt x="939554" y="245431"/>
                        <a:pt x="945155" y="245993"/>
                        <a:pt x="948451" y="244602"/>
                      </a:cubicBezTo>
                      <a:cubicBezTo>
                        <a:pt x="951584" y="243278"/>
                        <a:pt x="951937" y="241630"/>
                        <a:pt x="955204" y="240620"/>
                      </a:cubicBezTo>
                      <a:cubicBezTo>
                        <a:pt x="958290" y="239659"/>
                        <a:pt x="964910" y="242126"/>
                        <a:pt x="967605" y="243135"/>
                      </a:cubicBezTo>
                      <a:cubicBezTo>
                        <a:pt x="975187" y="245983"/>
                        <a:pt x="981236" y="251698"/>
                        <a:pt x="989399" y="253479"/>
                      </a:cubicBezTo>
                      <a:cubicBezTo>
                        <a:pt x="993028" y="254270"/>
                        <a:pt x="996323" y="253003"/>
                        <a:pt x="999486" y="253051"/>
                      </a:cubicBezTo>
                      <a:cubicBezTo>
                        <a:pt x="1004048" y="253117"/>
                        <a:pt x="1006001" y="255070"/>
                        <a:pt x="1010373" y="256594"/>
                      </a:cubicBezTo>
                      <a:cubicBezTo>
                        <a:pt x="1024965" y="261661"/>
                        <a:pt x="1041815" y="251422"/>
                        <a:pt x="1057350" y="254975"/>
                      </a:cubicBezTo>
                      <a:cubicBezTo>
                        <a:pt x="1070380" y="257946"/>
                        <a:pt x="1085934" y="268262"/>
                        <a:pt x="1096402" y="276425"/>
                      </a:cubicBezTo>
                      <a:cubicBezTo>
                        <a:pt x="1103289" y="281797"/>
                        <a:pt x="1109614" y="283455"/>
                        <a:pt x="1115634" y="289960"/>
                      </a:cubicBezTo>
                      <a:cubicBezTo>
                        <a:pt x="1121263" y="296046"/>
                        <a:pt x="1126721" y="300933"/>
                        <a:pt x="1132893" y="306391"/>
                      </a:cubicBezTo>
                      <a:cubicBezTo>
                        <a:pt x="1136665" y="309734"/>
                        <a:pt x="1138093" y="310305"/>
                        <a:pt x="1142646" y="312553"/>
                      </a:cubicBezTo>
                      <a:cubicBezTo>
                        <a:pt x="1146828" y="314620"/>
                        <a:pt x="1147199" y="317897"/>
                        <a:pt x="1150657" y="320107"/>
                      </a:cubicBezTo>
                      <a:cubicBezTo>
                        <a:pt x="1153038" y="321631"/>
                        <a:pt x="1158344" y="321316"/>
                        <a:pt x="1161277" y="322374"/>
                      </a:cubicBezTo>
                      <a:cubicBezTo>
                        <a:pt x="1165678" y="323974"/>
                        <a:pt x="1167897" y="325641"/>
                        <a:pt x="1172784" y="325917"/>
                      </a:cubicBezTo>
                      <a:cubicBezTo>
                        <a:pt x="1190119" y="326917"/>
                        <a:pt x="1204597" y="321459"/>
                        <a:pt x="1212531" y="341062"/>
                      </a:cubicBezTo>
                      <a:cubicBezTo>
                        <a:pt x="1218332" y="355406"/>
                        <a:pt x="1220494" y="370980"/>
                        <a:pt x="1225199" y="385496"/>
                      </a:cubicBezTo>
                      <a:cubicBezTo>
                        <a:pt x="1229181" y="397783"/>
                        <a:pt x="1227762" y="415862"/>
                        <a:pt x="1224600" y="428901"/>
                      </a:cubicBezTo>
                      <a:cubicBezTo>
                        <a:pt x="1222866" y="436045"/>
                        <a:pt x="1208750" y="477364"/>
                        <a:pt x="1197291" y="470754"/>
                      </a:cubicBezTo>
                      <a:cubicBezTo>
                        <a:pt x="1200739" y="474754"/>
                        <a:pt x="1194700" y="480660"/>
                        <a:pt x="1192043" y="483737"/>
                      </a:cubicBezTo>
                      <a:cubicBezTo>
                        <a:pt x="1188919" y="487366"/>
                        <a:pt x="1185509" y="493414"/>
                        <a:pt x="1182061" y="496224"/>
                      </a:cubicBezTo>
                      <a:cubicBezTo>
                        <a:pt x="1177689" y="499767"/>
                        <a:pt x="1172374" y="500558"/>
                        <a:pt x="1168240" y="504930"/>
                      </a:cubicBezTo>
                      <a:cubicBezTo>
                        <a:pt x="1165230" y="508111"/>
                        <a:pt x="1163858" y="514779"/>
                        <a:pt x="1159429" y="514264"/>
                      </a:cubicBezTo>
                      <a:cubicBezTo>
                        <a:pt x="1160506" y="518379"/>
                        <a:pt x="1157658" y="522265"/>
                        <a:pt x="1154696" y="524837"/>
                      </a:cubicBezTo>
                      <a:cubicBezTo>
                        <a:pt x="1155172" y="522932"/>
                        <a:pt x="1155048" y="520837"/>
                        <a:pt x="1155381" y="518884"/>
                      </a:cubicBezTo>
                      <a:cubicBezTo>
                        <a:pt x="1151028" y="523961"/>
                        <a:pt x="1151943" y="531971"/>
                        <a:pt x="1149219" y="538553"/>
                      </a:cubicBezTo>
                      <a:cubicBezTo>
                        <a:pt x="1146199" y="545878"/>
                        <a:pt x="1142370" y="551831"/>
                        <a:pt x="1138255" y="558594"/>
                      </a:cubicBezTo>
                      <a:cubicBezTo>
                        <a:pt x="1135988" y="562327"/>
                        <a:pt x="1130797" y="573624"/>
                        <a:pt x="1125558" y="574053"/>
                      </a:cubicBezTo>
                      <a:cubicBezTo>
                        <a:pt x="1121425" y="574395"/>
                        <a:pt x="1120386" y="566042"/>
                        <a:pt x="1115767" y="563261"/>
                      </a:cubicBezTo>
                      <a:cubicBezTo>
                        <a:pt x="1115586" y="566195"/>
                        <a:pt x="1114043" y="568404"/>
                        <a:pt x="1111157" y="568500"/>
                      </a:cubicBezTo>
                      <a:cubicBezTo>
                        <a:pt x="1119015" y="572415"/>
                        <a:pt x="1106290" y="587416"/>
                        <a:pt x="1105718" y="593636"/>
                      </a:cubicBezTo>
                      <a:cubicBezTo>
                        <a:pt x="1110957" y="591931"/>
                        <a:pt x="1106804" y="605723"/>
                        <a:pt x="1109547" y="609790"/>
                      </a:cubicBezTo>
                      <a:cubicBezTo>
                        <a:pt x="1109900" y="608771"/>
                        <a:pt x="1110242" y="607752"/>
                        <a:pt x="1110595" y="606733"/>
                      </a:cubicBezTo>
                      <a:cubicBezTo>
                        <a:pt x="1113214" y="612039"/>
                        <a:pt x="1109137" y="620725"/>
                        <a:pt x="1109490" y="626764"/>
                      </a:cubicBezTo>
                      <a:cubicBezTo>
                        <a:pt x="1109833" y="632651"/>
                        <a:pt x="1111862" y="639937"/>
                        <a:pt x="1113014" y="645786"/>
                      </a:cubicBezTo>
                      <a:cubicBezTo>
                        <a:pt x="1114233" y="651948"/>
                        <a:pt x="1117786" y="658759"/>
                        <a:pt x="1118281" y="664969"/>
                      </a:cubicBezTo>
                      <a:cubicBezTo>
                        <a:pt x="1118805" y="671522"/>
                        <a:pt x="1115815" y="679094"/>
                        <a:pt x="1114671" y="685524"/>
                      </a:cubicBezTo>
                      <a:cubicBezTo>
                        <a:pt x="1113462" y="692287"/>
                        <a:pt x="1112547" y="699916"/>
                        <a:pt x="1112481" y="706726"/>
                      </a:cubicBezTo>
                      <a:cubicBezTo>
                        <a:pt x="1112424" y="712527"/>
                        <a:pt x="1116557" y="719957"/>
                        <a:pt x="1114576" y="724795"/>
                      </a:cubicBezTo>
                      <a:cubicBezTo>
                        <a:pt x="1112052" y="730958"/>
                        <a:pt x="1104680" y="732749"/>
                        <a:pt x="1102365" y="740264"/>
                      </a:cubicBezTo>
                      <a:cubicBezTo>
                        <a:pt x="1100508" y="746293"/>
                        <a:pt x="1100651" y="753732"/>
                        <a:pt x="1101622" y="759914"/>
                      </a:cubicBezTo>
                      <a:cubicBezTo>
                        <a:pt x="1102679" y="766639"/>
                        <a:pt x="1106223" y="774420"/>
                        <a:pt x="1103127" y="781164"/>
                      </a:cubicBezTo>
                      <a:cubicBezTo>
                        <a:pt x="1100403" y="787098"/>
                        <a:pt x="1095259" y="789299"/>
                        <a:pt x="1093145" y="796271"/>
                      </a:cubicBezTo>
                      <a:cubicBezTo>
                        <a:pt x="1091354" y="802176"/>
                        <a:pt x="1090602" y="808253"/>
                        <a:pt x="1087649" y="813883"/>
                      </a:cubicBezTo>
                      <a:cubicBezTo>
                        <a:pt x="1084382" y="820131"/>
                        <a:pt x="1079210" y="821931"/>
                        <a:pt x="1076505" y="828113"/>
                      </a:cubicBezTo>
                      <a:cubicBezTo>
                        <a:pt x="1073647" y="834657"/>
                        <a:pt x="1071904" y="839400"/>
                        <a:pt x="1073019" y="846363"/>
                      </a:cubicBezTo>
                      <a:cubicBezTo>
                        <a:pt x="1074305" y="854373"/>
                        <a:pt x="1077829" y="857669"/>
                        <a:pt x="1069999" y="862032"/>
                      </a:cubicBezTo>
                      <a:cubicBezTo>
                        <a:pt x="1062779" y="866051"/>
                        <a:pt x="1057045" y="865965"/>
                        <a:pt x="1051664" y="872642"/>
                      </a:cubicBezTo>
                      <a:cubicBezTo>
                        <a:pt x="1049330" y="875529"/>
                        <a:pt x="1048492" y="876300"/>
                        <a:pt x="1048054" y="879643"/>
                      </a:cubicBezTo>
                      <a:cubicBezTo>
                        <a:pt x="1047663" y="882615"/>
                        <a:pt x="1051769" y="884425"/>
                        <a:pt x="1048225" y="887663"/>
                      </a:cubicBezTo>
                      <a:cubicBezTo>
                        <a:pt x="1045367" y="890264"/>
                        <a:pt x="1030775" y="888883"/>
                        <a:pt x="1025803" y="889054"/>
                      </a:cubicBezTo>
                      <a:cubicBezTo>
                        <a:pt x="1023060" y="889149"/>
                        <a:pt x="1019707" y="889721"/>
                        <a:pt x="1017412" y="887711"/>
                      </a:cubicBezTo>
                      <a:cubicBezTo>
                        <a:pt x="1015478" y="886015"/>
                        <a:pt x="1016754" y="882158"/>
                        <a:pt x="1015249" y="881406"/>
                      </a:cubicBezTo>
                      <a:cubicBezTo>
                        <a:pt x="1008344" y="877967"/>
                        <a:pt x="1013164" y="888578"/>
                        <a:pt x="1012278" y="889816"/>
                      </a:cubicBezTo>
                      <a:cubicBezTo>
                        <a:pt x="1010668" y="892026"/>
                        <a:pt x="992085" y="893578"/>
                        <a:pt x="989970" y="891921"/>
                      </a:cubicBezTo>
                      <a:cubicBezTo>
                        <a:pt x="992894" y="891407"/>
                        <a:pt x="996000" y="891797"/>
                        <a:pt x="998743" y="890406"/>
                      </a:cubicBezTo>
                      <a:cubicBezTo>
                        <a:pt x="993752" y="884758"/>
                        <a:pt x="985703" y="889216"/>
                        <a:pt x="979988" y="890330"/>
                      </a:cubicBezTo>
                      <a:cubicBezTo>
                        <a:pt x="975759" y="891159"/>
                        <a:pt x="961452" y="893931"/>
                        <a:pt x="972987" y="898741"/>
                      </a:cubicBezTo>
                      <a:cubicBezTo>
                        <a:pt x="969710" y="901808"/>
                        <a:pt x="965234" y="900636"/>
                        <a:pt x="961462" y="902570"/>
                      </a:cubicBezTo>
                      <a:cubicBezTo>
                        <a:pt x="957261" y="904732"/>
                        <a:pt x="952937" y="908990"/>
                        <a:pt x="949251" y="911705"/>
                      </a:cubicBezTo>
                      <a:cubicBezTo>
                        <a:pt x="948441" y="912295"/>
                        <a:pt x="949813" y="914676"/>
                        <a:pt x="948127" y="915410"/>
                      </a:cubicBezTo>
                      <a:cubicBezTo>
                        <a:pt x="946374" y="916181"/>
                        <a:pt x="943679" y="914295"/>
                        <a:pt x="941945" y="914200"/>
                      </a:cubicBezTo>
                      <a:cubicBezTo>
                        <a:pt x="936887" y="913924"/>
                        <a:pt x="933877" y="915095"/>
                        <a:pt x="929458" y="917229"/>
                      </a:cubicBezTo>
                      <a:cubicBezTo>
                        <a:pt x="917866" y="922839"/>
                        <a:pt x="910798" y="928535"/>
                        <a:pt x="901807" y="937136"/>
                      </a:cubicBezTo>
                      <a:cubicBezTo>
                        <a:pt x="896273" y="942432"/>
                        <a:pt x="886214" y="951595"/>
                        <a:pt x="879175" y="954243"/>
                      </a:cubicBezTo>
                      <a:cubicBezTo>
                        <a:pt x="885128" y="956300"/>
                        <a:pt x="877109" y="965606"/>
                        <a:pt x="873651" y="965816"/>
                      </a:cubicBezTo>
                      <a:cubicBezTo>
                        <a:pt x="874041" y="964825"/>
                        <a:pt x="874422" y="963854"/>
                        <a:pt x="874813" y="962863"/>
                      </a:cubicBezTo>
                      <a:cubicBezTo>
                        <a:pt x="873527" y="962854"/>
                        <a:pt x="869364" y="961425"/>
                        <a:pt x="868631" y="961815"/>
                      </a:cubicBezTo>
                      <a:cubicBezTo>
                        <a:pt x="866755" y="962825"/>
                        <a:pt x="867669" y="966045"/>
                        <a:pt x="868098" y="965816"/>
                      </a:cubicBezTo>
                      <a:cubicBezTo>
                        <a:pt x="864926" y="967531"/>
                        <a:pt x="861802" y="967730"/>
                        <a:pt x="858782" y="964730"/>
                      </a:cubicBezTo>
                      <a:cubicBezTo>
                        <a:pt x="860106" y="971360"/>
                        <a:pt x="867021" y="966797"/>
                        <a:pt x="869441" y="971188"/>
                      </a:cubicBezTo>
                      <a:cubicBezTo>
                        <a:pt x="871384" y="974731"/>
                        <a:pt x="865507" y="979684"/>
                        <a:pt x="863297" y="980684"/>
                      </a:cubicBezTo>
                      <a:cubicBezTo>
                        <a:pt x="866964" y="980723"/>
                        <a:pt x="867374" y="984295"/>
                        <a:pt x="866831" y="987600"/>
                      </a:cubicBezTo>
                      <a:cubicBezTo>
                        <a:pt x="866545" y="989324"/>
                        <a:pt x="863688" y="992219"/>
                        <a:pt x="863726" y="992734"/>
                      </a:cubicBezTo>
                      <a:cubicBezTo>
                        <a:pt x="863869" y="994801"/>
                        <a:pt x="866936" y="998058"/>
                        <a:pt x="867660" y="1000515"/>
                      </a:cubicBezTo>
                      <a:cubicBezTo>
                        <a:pt x="868783" y="1004316"/>
                        <a:pt x="869184" y="1007526"/>
                        <a:pt x="870689" y="1011393"/>
                      </a:cubicBezTo>
                      <a:cubicBezTo>
                        <a:pt x="872984" y="1017280"/>
                        <a:pt x="875194" y="1022871"/>
                        <a:pt x="875289" y="1028767"/>
                      </a:cubicBezTo>
                      <a:cubicBezTo>
                        <a:pt x="875413" y="1036529"/>
                        <a:pt x="878794" y="1044074"/>
                        <a:pt x="878385" y="1052055"/>
                      </a:cubicBezTo>
                      <a:cubicBezTo>
                        <a:pt x="878185" y="1055932"/>
                        <a:pt x="876918" y="1058618"/>
                        <a:pt x="875575" y="1062066"/>
                      </a:cubicBezTo>
                      <a:cubicBezTo>
                        <a:pt x="874946" y="1063676"/>
                        <a:pt x="876318" y="1064762"/>
                        <a:pt x="875346" y="1066314"/>
                      </a:cubicBezTo>
                      <a:cubicBezTo>
                        <a:pt x="874403" y="1067838"/>
                        <a:pt x="871260" y="1069057"/>
                        <a:pt x="869793" y="1070210"/>
                      </a:cubicBezTo>
                      <a:cubicBezTo>
                        <a:pt x="862973" y="1075563"/>
                        <a:pt x="857506" y="1082478"/>
                        <a:pt x="853677" y="1090251"/>
                      </a:cubicBezTo>
                      <a:cubicBezTo>
                        <a:pt x="846257" y="1105329"/>
                        <a:pt x="845762" y="1121931"/>
                        <a:pt x="839085" y="1137333"/>
                      </a:cubicBezTo>
                      <a:cubicBezTo>
                        <a:pt x="835913" y="1144658"/>
                        <a:pt x="831893" y="1151801"/>
                        <a:pt x="826550" y="1157773"/>
                      </a:cubicBezTo>
                      <a:cubicBezTo>
                        <a:pt x="820301" y="1164755"/>
                        <a:pt x="810405" y="1168756"/>
                        <a:pt x="806004" y="1177214"/>
                      </a:cubicBezTo>
                      <a:cubicBezTo>
                        <a:pt x="804642" y="1174394"/>
                        <a:pt x="804557" y="1171318"/>
                        <a:pt x="803147" y="1168270"/>
                      </a:cubicBezTo>
                      <a:cubicBezTo>
                        <a:pt x="808319" y="1167908"/>
                        <a:pt x="810538" y="1169137"/>
                        <a:pt x="815063" y="1164955"/>
                      </a:cubicBezTo>
                      <a:cubicBezTo>
                        <a:pt x="816301" y="1163803"/>
                        <a:pt x="822730" y="1158440"/>
                        <a:pt x="823578" y="1157135"/>
                      </a:cubicBezTo>
                      <a:cubicBezTo>
                        <a:pt x="825550" y="1154097"/>
                        <a:pt x="824206" y="1151963"/>
                        <a:pt x="825083" y="1149315"/>
                      </a:cubicBezTo>
                      <a:cubicBezTo>
                        <a:pt x="825788" y="1147143"/>
                        <a:pt x="824035" y="1147086"/>
                        <a:pt x="824873" y="1145267"/>
                      </a:cubicBezTo>
                      <a:cubicBezTo>
                        <a:pt x="825473" y="1143962"/>
                        <a:pt x="828121" y="1145572"/>
                        <a:pt x="828341" y="1144972"/>
                      </a:cubicBezTo>
                      <a:cubicBezTo>
                        <a:pt x="828179" y="1145400"/>
                        <a:pt x="829169" y="1140590"/>
                        <a:pt x="829102" y="1140685"/>
                      </a:cubicBezTo>
                      <a:cubicBezTo>
                        <a:pt x="834303" y="1134132"/>
                        <a:pt x="835170" y="1133208"/>
                        <a:pt x="832274" y="1124036"/>
                      </a:cubicBezTo>
                      <a:cubicBezTo>
                        <a:pt x="834579" y="1125226"/>
                        <a:pt x="837008" y="1125331"/>
                        <a:pt x="836446" y="1121588"/>
                      </a:cubicBezTo>
                      <a:cubicBezTo>
                        <a:pt x="835427" y="1114835"/>
                        <a:pt x="830903" y="1120616"/>
                        <a:pt x="827274" y="1121416"/>
                      </a:cubicBezTo>
                      <a:cubicBezTo>
                        <a:pt x="820844" y="1122836"/>
                        <a:pt x="817834" y="1115540"/>
                        <a:pt x="812434" y="1111710"/>
                      </a:cubicBezTo>
                      <a:cubicBezTo>
                        <a:pt x="813500" y="1116425"/>
                        <a:pt x="817863" y="1119492"/>
                        <a:pt x="818625" y="1122836"/>
                      </a:cubicBezTo>
                      <a:cubicBezTo>
                        <a:pt x="819311" y="1125836"/>
                        <a:pt x="816244" y="1129751"/>
                        <a:pt x="817987" y="1134285"/>
                      </a:cubicBezTo>
                      <a:cubicBezTo>
                        <a:pt x="817158" y="1133189"/>
                        <a:pt x="816110" y="1132761"/>
                        <a:pt x="815205" y="1131856"/>
                      </a:cubicBezTo>
                      <a:cubicBezTo>
                        <a:pt x="816272" y="1134580"/>
                        <a:pt x="815082" y="1143143"/>
                        <a:pt x="814005" y="1145362"/>
                      </a:cubicBezTo>
                      <a:cubicBezTo>
                        <a:pt x="813034" y="1147363"/>
                        <a:pt x="809824" y="1148944"/>
                        <a:pt x="808014" y="1150325"/>
                      </a:cubicBezTo>
                      <a:cubicBezTo>
                        <a:pt x="802918" y="1154221"/>
                        <a:pt x="804747" y="1152411"/>
                        <a:pt x="802623" y="1157516"/>
                      </a:cubicBezTo>
                      <a:cubicBezTo>
                        <a:pt x="800870" y="1161717"/>
                        <a:pt x="799232" y="1167736"/>
                        <a:pt x="800432" y="1172451"/>
                      </a:cubicBezTo>
                      <a:cubicBezTo>
                        <a:pt x="801156" y="1175299"/>
                        <a:pt x="803356" y="1177309"/>
                        <a:pt x="803232" y="1179833"/>
                      </a:cubicBezTo>
                      <a:cubicBezTo>
                        <a:pt x="803166" y="1181262"/>
                        <a:pt x="800251" y="1185120"/>
                        <a:pt x="799756" y="1187110"/>
                      </a:cubicBezTo>
                      <a:cubicBezTo>
                        <a:pt x="796403" y="1200731"/>
                        <a:pt x="797813" y="1209732"/>
                        <a:pt x="787792" y="1220572"/>
                      </a:cubicBezTo>
                      <a:cubicBezTo>
                        <a:pt x="784449" y="1224191"/>
                        <a:pt x="780630" y="1231316"/>
                        <a:pt x="775486" y="1226448"/>
                      </a:cubicBezTo>
                      <a:cubicBezTo>
                        <a:pt x="773267" y="1224344"/>
                        <a:pt x="770771" y="1212961"/>
                        <a:pt x="771009" y="1210399"/>
                      </a:cubicBezTo>
                      <a:cubicBezTo>
                        <a:pt x="771429" y="1205808"/>
                        <a:pt x="776182" y="1203874"/>
                        <a:pt x="777334" y="1199331"/>
                      </a:cubicBezTo>
                      <a:cubicBezTo>
                        <a:pt x="778401" y="1195111"/>
                        <a:pt x="779306" y="1196664"/>
                        <a:pt x="775286" y="1193273"/>
                      </a:cubicBezTo>
                      <a:cubicBezTo>
                        <a:pt x="773267" y="1191568"/>
                        <a:pt x="769238" y="1191111"/>
                        <a:pt x="766885" y="1189482"/>
                      </a:cubicBezTo>
                      <a:cubicBezTo>
                        <a:pt x="761856" y="1185986"/>
                        <a:pt x="760265" y="1180938"/>
                        <a:pt x="756189" y="1176690"/>
                      </a:cubicBezTo>
                      <a:cubicBezTo>
                        <a:pt x="752855" y="1173223"/>
                        <a:pt x="748816" y="1172366"/>
                        <a:pt x="744416" y="1170527"/>
                      </a:cubicBezTo>
                      <a:cubicBezTo>
                        <a:pt x="739129" y="1168308"/>
                        <a:pt x="735376" y="1165470"/>
                        <a:pt x="731119" y="1161621"/>
                      </a:cubicBezTo>
                      <a:cubicBezTo>
                        <a:pt x="726271" y="1157240"/>
                        <a:pt x="720813" y="1155011"/>
                        <a:pt x="714688" y="1152687"/>
                      </a:cubicBezTo>
                      <a:cubicBezTo>
                        <a:pt x="710526" y="1151115"/>
                        <a:pt x="707344" y="1150525"/>
                        <a:pt x="703315" y="1146886"/>
                      </a:cubicBezTo>
                      <a:cubicBezTo>
                        <a:pt x="700801" y="1144619"/>
                        <a:pt x="696181" y="1137009"/>
                        <a:pt x="692257" y="1137457"/>
                      </a:cubicBezTo>
                      <a:cubicBezTo>
                        <a:pt x="691171" y="1137580"/>
                        <a:pt x="689161" y="1142305"/>
                        <a:pt x="687685" y="1143200"/>
                      </a:cubicBezTo>
                      <a:cubicBezTo>
                        <a:pt x="680322" y="1147639"/>
                        <a:pt x="682827" y="1141105"/>
                        <a:pt x="680465" y="1136885"/>
                      </a:cubicBezTo>
                      <a:cubicBezTo>
                        <a:pt x="677779" y="1132084"/>
                        <a:pt x="670483" y="1128189"/>
                        <a:pt x="666215" y="1125160"/>
                      </a:cubicBezTo>
                      <a:cubicBezTo>
                        <a:pt x="661682" y="1121950"/>
                        <a:pt x="655786" y="1115435"/>
                        <a:pt x="650290" y="1114006"/>
                      </a:cubicBezTo>
                      <a:cubicBezTo>
                        <a:pt x="642622" y="1112006"/>
                        <a:pt x="643546" y="1117702"/>
                        <a:pt x="639164" y="1119540"/>
                      </a:cubicBezTo>
                      <a:cubicBezTo>
                        <a:pt x="637278" y="1120331"/>
                        <a:pt x="630411" y="1119426"/>
                        <a:pt x="629373" y="1117740"/>
                      </a:cubicBezTo>
                      <a:cubicBezTo>
                        <a:pt x="627401" y="1114539"/>
                        <a:pt x="631192" y="1114235"/>
                        <a:pt x="632859" y="1111625"/>
                      </a:cubicBezTo>
                      <a:cubicBezTo>
                        <a:pt x="634621" y="1108882"/>
                        <a:pt x="634402" y="1106538"/>
                        <a:pt x="636231" y="1103900"/>
                      </a:cubicBezTo>
                      <a:cubicBezTo>
                        <a:pt x="637726" y="1101738"/>
                        <a:pt x="641441" y="1100109"/>
                        <a:pt x="643298" y="1097871"/>
                      </a:cubicBezTo>
                      <a:cubicBezTo>
                        <a:pt x="646889" y="1093527"/>
                        <a:pt x="649337" y="1087279"/>
                        <a:pt x="651842" y="1082745"/>
                      </a:cubicBezTo>
                      <a:cubicBezTo>
                        <a:pt x="655338" y="1076430"/>
                        <a:pt x="660024" y="1064990"/>
                        <a:pt x="664939" y="1060875"/>
                      </a:cubicBezTo>
                      <a:cubicBezTo>
                        <a:pt x="666444" y="1059618"/>
                        <a:pt x="670149" y="1060294"/>
                        <a:pt x="671264" y="1059085"/>
                      </a:cubicBezTo>
                      <a:cubicBezTo>
                        <a:pt x="672435" y="1057808"/>
                        <a:pt x="668416" y="1056237"/>
                        <a:pt x="668635" y="1055665"/>
                      </a:cubicBezTo>
                      <a:cubicBezTo>
                        <a:pt x="669997" y="1052170"/>
                        <a:pt x="672588" y="1052674"/>
                        <a:pt x="675255" y="1050389"/>
                      </a:cubicBezTo>
                      <a:cubicBezTo>
                        <a:pt x="678836" y="1047321"/>
                        <a:pt x="682113" y="1045140"/>
                        <a:pt x="685665" y="1042406"/>
                      </a:cubicBezTo>
                      <a:cubicBezTo>
                        <a:pt x="687294" y="1041159"/>
                        <a:pt x="688161" y="1036206"/>
                        <a:pt x="689856" y="1034596"/>
                      </a:cubicBezTo>
                      <a:cubicBezTo>
                        <a:pt x="691399" y="1033139"/>
                        <a:pt x="695981" y="1031119"/>
                        <a:pt x="698162" y="1030491"/>
                      </a:cubicBezTo>
                      <a:cubicBezTo>
                        <a:pt x="699686" y="1030053"/>
                        <a:pt x="701677" y="1030653"/>
                        <a:pt x="703144" y="1029853"/>
                      </a:cubicBezTo>
                      <a:cubicBezTo>
                        <a:pt x="706249" y="1028157"/>
                        <a:pt x="706154" y="1026214"/>
                        <a:pt x="708659" y="1024157"/>
                      </a:cubicBezTo>
                      <a:cubicBezTo>
                        <a:pt x="712307" y="1021166"/>
                        <a:pt x="717298" y="1022290"/>
                        <a:pt x="718584" y="1015317"/>
                      </a:cubicBezTo>
                      <a:cubicBezTo>
                        <a:pt x="719536" y="1010183"/>
                        <a:pt x="716765" y="1002468"/>
                        <a:pt x="716012" y="997001"/>
                      </a:cubicBezTo>
                      <a:cubicBezTo>
                        <a:pt x="714869" y="988638"/>
                        <a:pt x="708144" y="972369"/>
                        <a:pt x="698419" y="970255"/>
                      </a:cubicBezTo>
                      <a:cubicBezTo>
                        <a:pt x="694867" y="969483"/>
                        <a:pt x="691676" y="973131"/>
                        <a:pt x="688304" y="972569"/>
                      </a:cubicBezTo>
                      <a:cubicBezTo>
                        <a:pt x="679922" y="971179"/>
                        <a:pt x="684589" y="965711"/>
                        <a:pt x="685704" y="959958"/>
                      </a:cubicBezTo>
                      <a:cubicBezTo>
                        <a:pt x="686789" y="954319"/>
                        <a:pt x="685808" y="946442"/>
                        <a:pt x="686037" y="940280"/>
                      </a:cubicBezTo>
                      <a:cubicBezTo>
                        <a:pt x="686208" y="935812"/>
                        <a:pt x="682055" y="925982"/>
                        <a:pt x="685389" y="923077"/>
                      </a:cubicBezTo>
                      <a:cubicBezTo>
                        <a:pt x="680922" y="921077"/>
                        <a:pt x="676502" y="915495"/>
                        <a:pt x="671435" y="916067"/>
                      </a:cubicBezTo>
                      <a:cubicBezTo>
                        <a:pt x="667368" y="916524"/>
                        <a:pt x="663901" y="920629"/>
                        <a:pt x="659738" y="921525"/>
                      </a:cubicBezTo>
                      <a:cubicBezTo>
                        <a:pt x="648623" y="923915"/>
                        <a:pt x="646261" y="913829"/>
                        <a:pt x="642927" y="905608"/>
                      </a:cubicBezTo>
                      <a:cubicBezTo>
                        <a:pt x="637764" y="892921"/>
                        <a:pt x="636850" y="870033"/>
                        <a:pt x="620819" y="867499"/>
                      </a:cubicBezTo>
                      <a:cubicBezTo>
                        <a:pt x="615104" y="866604"/>
                        <a:pt x="614914" y="865927"/>
                        <a:pt x="609980" y="863546"/>
                      </a:cubicBezTo>
                      <a:cubicBezTo>
                        <a:pt x="603589" y="860450"/>
                        <a:pt x="607818" y="862574"/>
                        <a:pt x="602874" y="865137"/>
                      </a:cubicBezTo>
                      <a:cubicBezTo>
                        <a:pt x="596102" y="868661"/>
                        <a:pt x="585215" y="865899"/>
                        <a:pt x="577681" y="864699"/>
                      </a:cubicBezTo>
                      <a:cubicBezTo>
                        <a:pt x="574290" y="864156"/>
                        <a:pt x="568575" y="863517"/>
                        <a:pt x="566060" y="862832"/>
                      </a:cubicBezTo>
                      <a:cubicBezTo>
                        <a:pt x="560707" y="861346"/>
                        <a:pt x="561498" y="862041"/>
                        <a:pt x="560421" y="857088"/>
                      </a:cubicBezTo>
                      <a:cubicBezTo>
                        <a:pt x="559202" y="851421"/>
                        <a:pt x="559088" y="844448"/>
                        <a:pt x="559259" y="838781"/>
                      </a:cubicBezTo>
                      <a:cubicBezTo>
                        <a:pt x="559450" y="832380"/>
                        <a:pt x="558392" y="824941"/>
                        <a:pt x="555202" y="819588"/>
                      </a:cubicBezTo>
                      <a:cubicBezTo>
                        <a:pt x="552077" y="814340"/>
                        <a:pt x="546172" y="807368"/>
                        <a:pt x="543953" y="800757"/>
                      </a:cubicBezTo>
                      <a:cubicBezTo>
                        <a:pt x="544476" y="800462"/>
                        <a:pt x="550915" y="796490"/>
                        <a:pt x="550953" y="796376"/>
                      </a:cubicBezTo>
                      <a:cubicBezTo>
                        <a:pt x="552287" y="791947"/>
                        <a:pt x="545295" y="792366"/>
                        <a:pt x="543457" y="788251"/>
                      </a:cubicBezTo>
                      <a:cubicBezTo>
                        <a:pt x="542076" y="785165"/>
                        <a:pt x="547372" y="765953"/>
                        <a:pt x="551515" y="765458"/>
                      </a:cubicBezTo>
                      <a:cubicBezTo>
                        <a:pt x="550953" y="762848"/>
                        <a:pt x="550896" y="762086"/>
                        <a:pt x="548810" y="761362"/>
                      </a:cubicBezTo>
                      <a:cubicBezTo>
                        <a:pt x="549610" y="755933"/>
                        <a:pt x="549467" y="741931"/>
                        <a:pt x="554106" y="739330"/>
                      </a:cubicBezTo>
                      <a:cubicBezTo>
                        <a:pt x="546915" y="735435"/>
                        <a:pt x="547201" y="723814"/>
                        <a:pt x="541971" y="719118"/>
                      </a:cubicBezTo>
                      <a:cubicBezTo>
                        <a:pt x="537999" y="715566"/>
                        <a:pt x="528122" y="715166"/>
                        <a:pt x="523378" y="709956"/>
                      </a:cubicBezTo>
                      <a:cubicBezTo>
                        <a:pt x="520054" y="706317"/>
                        <a:pt x="516016" y="695373"/>
                        <a:pt x="516635" y="690048"/>
                      </a:cubicBezTo>
                      <a:cubicBezTo>
                        <a:pt x="516959" y="687296"/>
                        <a:pt x="521683" y="683685"/>
                        <a:pt x="519226" y="680276"/>
                      </a:cubicBezTo>
                      <a:cubicBezTo>
                        <a:pt x="516902" y="677056"/>
                        <a:pt x="518540" y="680371"/>
                        <a:pt x="514892" y="679723"/>
                      </a:cubicBezTo>
                      <a:cubicBezTo>
                        <a:pt x="499480" y="676970"/>
                        <a:pt x="481726" y="682095"/>
                        <a:pt x="466467" y="678209"/>
                      </a:cubicBezTo>
                      <a:cubicBezTo>
                        <a:pt x="461237" y="676875"/>
                        <a:pt x="461999" y="676923"/>
                        <a:pt x="460685" y="671189"/>
                      </a:cubicBezTo>
                      <a:cubicBezTo>
                        <a:pt x="459875" y="667626"/>
                        <a:pt x="459075" y="664055"/>
                        <a:pt x="458266" y="660492"/>
                      </a:cubicBezTo>
                      <a:cubicBezTo>
                        <a:pt x="456370" y="652072"/>
                        <a:pt x="451408" y="646462"/>
                        <a:pt x="444407" y="641175"/>
                      </a:cubicBezTo>
                      <a:cubicBezTo>
                        <a:pt x="447588" y="641070"/>
                        <a:pt x="450779" y="640975"/>
                        <a:pt x="453960" y="640871"/>
                      </a:cubicBezTo>
                      <a:cubicBezTo>
                        <a:pt x="453074" y="636203"/>
                        <a:pt x="452770" y="630860"/>
                        <a:pt x="451246" y="626373"/>
                      </a:cubicBezTo>
                      <a:cubicBezTo>
                        <a:pt x="450055" y="622859"/>
                        <a:pt x="446264" y="618830"/>
                        <a:pt x="445245" y="615449"/>
                      </a:cubicBezTo>
                      <a:cubicBezTo>
                        <a:pt x="442835" y="607447"/>
                        <a:pt x="446340" y="603790"/>
                        <a:pt x="437282" y="597894"/>
                      </a:cubicBezTo>
                      <a:cubicBezTo>
                        <a:pt x="428538" y="592198"/>
                        <a:pt x="423052" y="591017"/>
                        <a:pt x="413031" y="591560"/>
                      </a:cubicBezTo>
                      <a:cubicBezTo>
                        <a:pt x="401992" y="592150"/>
                        <a:pt x="398372" y="590150"/>
                        <a:pt x="390133" y="582978"/>
                      </a:cubicBezTo>
                      <a:cubicBezTo>
                        <a:pt x="384933" y="578453"/>
                        <a:pt x="376598" y="578082"/>
                        <a:pt x="369226" y="574920"/>
                      </a:cubicBezTo>
                      <a:cubicBezTo>
                        <a:pt x="363054" y="572281"/>
                        <a:pt x="359110" y="566004"/>
                        <a:pt x="353881" y="564566"/>
                      </a:cubicBezTo>
                      <a:cubicBezTo>
                        <a:pt x="352843" y="564290"/>
                        <a:pt x="350290" y="565299"/>
                        <a:pt x="348242" y="564699"/>
                      </a:cubicBezTo>
                      <a:cubicBezTo>
                        <a:pt x="346261" y="564118"/>
                        <a:pt x="344632" y="562223"/>
                        <a:pt x="342823" y="561289"/>
                      </a:cubicBezTo>
                      <a:cubicBezTo>
                        <a:pt x="338384" y="558965"/>
                        <a:pt x="336650" y="559118"/>
                        <a:pt x="331964" y="559318"/>
                      </a:cubicBezTo>
                      <a:cubicBezTo>
                        <a:pt x="328049" y="559480"/>
                        <a:pt x="323973" y="559880"/>
                        <a:pt x="319744" y="558803"/>
                      </a:cubicBezTo>
                      <a:cubicBezTo>
                        <a:pt x="313638" y="557260"/>
                        <a:pt x="314781" y="555345"/>
                        <a:pt x="310790" y="551507"/>
                      </a:cubicBezTo>
                      <a:cubicBezTo>
                        <a:pt x="308837" y="549640"/>
                        <a:pt x="304094" y="546849"/>
                        <a:pt x="301684" y="545459"/>
                      </a:cubicBezTo>
                      <a:cubicBezTo>
                        <a:pt x="297846" y="543258"/>
                        <a:pt x="296541" y="542601"/>
                        <a:pt x="293750" y="539877"/>
                      </a:cubicBezTo>
                      <a:cubicBezTo>
                        <a:pt x="289159" y="535372"/>
                        <a:pt x="287597" y="534495"/>
                        <a:pt x="284130" y="528171"/>
                      </a:cubicBezTo>
                      <a:cubicBezTo>
                        <a:pt x="283149" y="526380"/>
                        <a:pt x="280958" y="522980"/>
                        <a:pt x="280529" y="521208"/>
                      </a:cubicBezTo>
                      <a:cubicBezTo>
                        <a:pt x="279615" y="517417"/>
                        <a:pt x="281081" y="515331"/>
                        <a:pt x="280939" y="511712"/>
                      </a:cubicBezTo>
                      <a:cubicBezTo>
                        <a:pt x="280767" y="507197"/>
                        <a:pt x="276967" y="503844"/>
                        <a:pt x="276186" y="499539"/>
                      </a:cubicBezTo>
                      <a:cubicBezTo>
                        <a:pt x="275243" y="494357"/>
                        <a:pt x="277662" y="494024"/>
                        <a:pt x="278643" y="489099"/>
                      </a:cubicBezTo>
                      <a:cubicBezTo>
                        <a:pt x="279929" y="482622"/>
                        <a:pt x="278205" y="472440"/>
                        <a:pt x="271699" y="472145"/>
                      </a:cubicBezTo>
                      <a:cubicBezTo>
                        <a:pt x="271299" y="472126"/>
                        <a:pt x="268547" y="474345"/>
                        <a:pt x="267337" y="474593"/>
                      </a:cubicBezTo>
                      <a:cubicBezTo>
                        <a:pt x="266537" y="474754"/>
                        <a:pt x="263032" y="473583"/>
                        <a:pt x="261603" y="473573"/>
                      </a:cubicBezTo>
                      <a:cubicBezTo>
                        <a:pt x="256717" y="473526"/>
                        <a:pt x="251468" y="474536"/>
                        <a:pt x="246725" y="475488"/>
                      </a:cubicBezTo>
                      <a:cubicBezTo>
                        <a:pt x="235981" y="477669"/>
                        <a:pt x="231961" y="483680"/>
                        <a:pt x="222950" y="488880"/>
                      </a:cubicBezTo>
                      <a:cubicBezTo>
                        <a:pt x="219874" y="490661"/>
                        <a:pt x="216721" y="491061"/>
                        <a:pt x="213587" y="492909"/>
                      </a:cubicBezTo>
                      <a:cubicBezTo>
                        <a:pt x="210139" y="494929"/>
                        <a:pt x="207930" y="500567"/>
                        <a:pt x="205091" y="502072"/>
                      </a:cubicBezTo>
                      <a:cubicBezTo>
                        <a:pt x="202005" y="503701"/>
                        <a:pt x="197462" y="500691"/>
                        <a:pt x="193613" y="503387"/>
                      </a:cubicBezTo>
                      <a:cubicBezTo>
                        <a:pt x="190023" y="505901"/>
                        <a:pt x="189022" y="510197"/>
                        <a:pt x="185155" y="512693"/>
                      </a:cubicBezTo>
                      <a:cubicBezTo>
                        <a:pt x="176278" y="518417"/>
                        <a:pt x="173344" y="512845"/>
                        <a:pt x="164629" y="511635"/>
                      </a:cubicBezTo>
                      <a:cubicBezTo>
                        <a:pt x="156447" y="510502"/>
                        <a:pt x="144236" y="508340"/>
                        <a:pt x="136149" y="509931"/>
                      </a:cubicBezTo>
                      <a:cubicBezTo>
                        <a:pt x="131863" y="510769"/>
                        <a:pt x="128653" y="514950"/>
                        <a:pt x="123871" y="514064"/>
                      </a:cubicBezTo>
                      <a:cubicBezTo>
                        <a:pt x="120271" y="513397"/>
                        <a:pt x="118490" y="508540"/>
                        <a:pt x="115108" y="512436"/>
                      </a:cubicBezTo>
                      <a:cubicBezTo>
                        <a:pt x="114108" y="503558"/>
                        <a:pt x="113137" y="494690"/>
                        <a:pt x="112213" y="485813"/>
                      </a:cubicBezTo>
                      <a:cubicBezTo>
                        <a:pt x="111727" y="481184"/>
                        <a:pt x="112441" y="476755"/>
                        <a:pt x="112432" y="472792"/>
                      </a:cubicBezTo>
                      <a:cubicBezTo>
                        <a:pt x="112422" y="469411"/>
                        <a:pt x="110717" y="466363"/>
                        <a:pt x="112851" y="462896"/>
                      </a:cubicBezTo>
                      <a:cubicBezTo>
                        <a:pt x="106860" y="465201"/>
                        <a:pt x="102088" y="471354"/>
                        <a:pt x="97335" y="475421"/>
                      </a:cubicBezTo>
                      <a:cubicBezTo>
                        <a:pt x="89943" y="481755"/>
                        <a:pt x="78456" y="482089"/>
                        <a:pt x="68636" y="480774"/>
                      </a:cubicBezTo>
                      <a:cubicBezTo>
                        <a:pt x="62054" y="479888"/>
                        <a:pt x="65236" y="480698"/>
                        <a:pt x="62768" y="475412"/>
                      </a:cubicBezTo>
                      <a:cubicBezTo>
                        <a:pt x="61940" y="473621"/>
                        <a:pt x="58920" y="467906"/>
                        <a:pt x="57149" y="466287"/>
                      </a:cubicBezTo>
                      <a:cubicBezTo>
                        <a:pt x="51100" y="460762"/>
                        <a:pt x="36841" y="461886"/>
                        <a:pt x="29279" y="462077"/>
                      </a:cubicBezTo>
                      <a:cubicBezTo>
                        <a:pt x="32108" y="458067"/>
                        <a:pt x="36794" y="454123"/>
                        <a:pt x="35327" y="448942"/>
                      </a:cubicBezTo>
                      <a:cubicBezTo>
                        <a:pt x="34089" y="444560"/>
                        <a:pt x="26535" y="441398"/>
                        <a:pt x="24002" y="438217"/>
                      </a:cubicBezTo>
                      <a:cubicBezTo>
                        <a:pt x="19897" y="433064"/>
                        <a:pt x="16191" y="428006"/>
                        <a:pt x="12800" y="422196"/>
                      </a:cubicBezTo>
                      <a:cubicBezTo>
                        <a:pt x="11133" y="419338"/>
                        <a:pt x="8495" y="415757"/>
                        <a:pt x="7600" y="414033"/>
                      </a:cubicBezTo>
                      <a:cubicBezTo>
                        <a:pt x="7695" y="414214"/>
                        <a:pt x="8848" y="411766"/>
                        <a:pt x="8314" y="410756"/>
                      </a:cubicBezTo>
                      <a:cubicBezTo>
                        <a:pt x="7828" y="409842"/>
                        <a:pt x="4228" y="408422"/>
                        <a:pt x="3209" y="407451"/>
                      </a:cubicBezTo>
                      <a:cubicBezTo>
                        <a:pt x="-535" y="403898"/>
                        <a:pt x="-144" y="405374"/>
                        <a:pt x="227" y="401345"/>
                      </a:cubicBezTo>
                      <a:cubicBezTo>
                        <a:pt x="656" y="396640"/>
                        <a:pt x="828" y="400202"/>
                        <a:pt x="3009" y="397145"/>
                      </a:cubicBezTo>
                      <a:cubicBezTo>
                        <a:pt x="3780" y="396069"/>
                        <a:pt x="6295" y="397526"/>
                        <a:pt x="7066" y="395849"/>
                      </a:cubicBezTo>
                      <a:cubicBezTo>
                        <a:pt x="7819" y="394221"/>
                        <a:pt x="5142" y="392201"/>
                        <a:pt x="4980" y="390935"/>
                      </a:cubicBezTo>
                      <a:cubicBezTo>
                        <a:pt x="4295" y="385686"/>
                        <a:pt x="4599" y="383277"/>
                        <a:pt x="8752" y="379152"/>
                      </a:cubicBezTo>
                      <a:cubicBezTo>
                        <a:pt x="12096" y="375828"/>
                        <a:pt x="19954" y="374190"/>
                        <a:pt x="22240" y="371132"/>
                      </a:cubicBezTo>
                      <a:cubicBezTo>
                        <a:pt x="25421" y="366865"/>
                        <a:pt x="21278" y="363741"/>
                        <a:pt x="20525" y="359502"/>
                      </a:cubicBezTo>
                      <a:cubicBezTo>
                        <a:pt x="19515" y="353873"/>
                        <a:pt x="23202" y="350911"/>
                        <a:pt x="25335" y="345500"/>
                      </a:cubicBezTo>
                      <a:cubicBezTo>
                        <a:pt x="27183" y="340814"/>
                        <a:pt x="26497" y="335728"/>
                        <a:pt x="28088" y="330975"/>
                      </a:cubicBezTo>
                      <a:cubicBezTo>
                        <a:pt x="29993" y="325269"/>
                        <a:pt x="29517" y="327641"/>
                        <a:pt x="35641" y="324355"/>
                      </a:cubicBezTo>
                      <a:cubicBezTo>
                        <a:pt x="40309" y="321831"/>
                        <a:pt x="44233" y="317573"/>
                        <a:pt x="48548" y="314649"/>
                      </a:cubicBezTo>
                      <a:cubicBezTo>
                        <a:pt x="58082" y="308210"/>
                        <a:pt x="65807" y="307391"/>
                        <a:pt x="76770" y="304962"/>
                      </a:cubicBezTo>
                      <a:cubicBezTo>
                        <a:pt x="82152" y="303771"/>
                        <a:pt x="85409" y="302590"/>
                        <a:pt x="89829" y="299904"/>
                      </a:cubicBezTo>
                      <a:cubicBezTo>
                        <a:pt x="93563" y="297647"/>
                        <a:pt x="98887" y="294913"/>
                        <a:pt x="103926" y="296446"/>
                      </a:cubicBezTo>
                      <a:cubicBezTo>
                        <a:pt x="110517" y="298437"/>
                        <a:pt x="116223" y="306800"/>
                        <a:pt x="119585" y="296913"/>
                      </a:cubicBezTo>
                      <a:cubicBezTo>
                        <a:pt x="123224" y="286198"/>
                        <a:pt x="123024" y="272463"/>
                        <a:pt x="124710" y="261223"/>
                      </a:cubicBezTo>
                      <a:cubicBezTo>
                        <a:pt x="126348" y="250307"/>
                        <a:pt x="128043" y="239420"/>
                        <a:pt x="129786" y="228533"/>
                      </a:cubicBezTo>
                      <a:cubicBezTo>
                        <a:pt x="131263" y="219332"/>
                        <a:pt x="135549" y="207797"/>
                        <a:pt x="132368" y="199139"/>
                      </a:cubicBezTo>
                      <a:cubicBezTo>
                        <a:pt x="130958" y="195310"/>
                        <a:pt x="128662" y="191033"/>
                        <a:pt x="127491" y="187052"/>
                      </a:cubicBezTo>
                      <a:cubicBezTo>
                        <a:pt x="126434" y="183442"/>
                        <a:pt x="126996" y="183232"/>
                        <a:pt x="124167" y="180327"/>
                      </a:cubicBezTo>
                      <a:cubicBezTo>
                        <a:pt x="120985" y="177060"/>
                        <a:pt x="115051" y="175470"/>
                        <a:pt x="113070" y="170840"/>
                      </a:cubicBezTo>
                      <a:cubicBezTo>
                        <a:pt x="111327" y="166764"/>
                        <a:pt x="112213" y="156658"/>
                        <a:pt x="113051" y="152372"/>
                      </a:cubicBezTo>
                      <a:cubicBezTo>
                        <a:pt x="114365" y="145618"/>
                        <a:pt x="115318" y="147828"/>
                        <a:pt x="121785" y="146171"/>
                      </a:cubicBezTo>
                      <a:cubicBezTo>
                        <a:pt x="124081" y="145580"/>
                        <a:pt x="126929" y="143370"/>
                        <a:pt x="129244" y="143265"/>
                      </a:cubicBezTo>
                      <a:cubicBezTo>
                        <a:pt x="132511" y="143123"/>
                        <a:pt x="133606" y="144732"/>
                        <a:pt x="136797" y="145037"/>
                      </a:cubicBezTo>
                      <a:cubicBezTo>
                        <a:pt x="140178" y="145352"/>
                        <a:pt x="139835" y="146504"/>
                        <a:pt x="141083" y="143551"/>
                      </a:cubicBezTo>
                      <a:cubicBezTo>
                        <a:pt x="142159" y="140989"/>
                        <a:pt x="140997" y="136427"/>
                        <a:pt x="138921" y="134455"/>
                      </a:cubicBezTo>
                      <a:cubicBezTo>
                        <a:pt x="135368" y="131083"/>
                        <a:pt x="124595" y="131245"/>
                        <a:pt x="119709" y="132226"/>
                      </a:cubicBezTo>
                      <a:cubicBezTo>
                        <a:pt x="119766" y="128702"/>
                        <a:pt x="117928" y="114252"/>
                        <a:pt x="120118" y="111776"/>
                      </a:cubicBezTo>
                      <a:cubicBezTo>
                        <a:pt x="122709" y="108842"/>
                        <a:pt x="130672" y="110757"/>
                        <a:pt x="133844" y="110985"/>
                      </a:cubicBezTo>
                      <a:cubicBezTo>
                        <a:pt x="146712" y="111928"/>
                        <a:pt x="159819" y="111062"/>
                        <a:pt x="172773" y="111423"/>
                      </a:cubicBezTo>
                      <a:cubicBezTo>
                        <a:pt x="171230" y="109899"/>
                        <a:pt x="168991" y="104937"/>
                        <a:pt x="171992" y="103441"/>
                      </a:cubicBezTo>
                      <a:cubicBezTo>
                        <a:pt x="175040" y="101937"/>
                        <a:pt x="176164" y="109595"/>
                        <a:pt x="179088" y="110452"/>
                      </a:cubicBezTo>
                      <a:cubicBezTo>
                        <a:pt x="186717" y="112709"/>
                        <a:pt x="188937" y="97603"/>
                        <a:pt x="196585" y="98850"/>
                      </a:cubicBezTo>
                      <a:cubicBezTo>
                        <a:pt x="203948" y="100051"/>
                        <a:pt x="206910" y="115605"/>
                        <a:pt x="206853" y="121415"/>
                      </a:cubicBezTo>
                      <a:cubicBezTo>
                        <a:pt x="206767" y="130902"/>
                        <a:pt x="206415" y="125454"/>
                        <a:pt x="212530" y="127235"/>
                      </a:cubicBezTo>
                      <a:cubicBezTo>
                        <a:pt x="216302" y="128340"/>
                        <a:pt x="219702" y="132788"/>
                        <a:pt x="222884" y="135569"/>
                      </a:cubicBezTo>
                      <a:cubicBezTo>
                        <a:pt x="232171" y="143732"/>
                        <a:pt x="235695" y="141608"/>
                        <a:pt x="245972" y="136712"/>
                      </a:cubicBezTo>
                      <a:cubicBezTo>
                        <a:pt x="248916" y="135312"/>
                        <a:pt x="251849" y="133264"/>
                        <a:pt x="254659" y="136446"/>
                      </a:cubicBezTo>
                      <a:cubicBezTo>
                        <a:pt x="257307" y="139446"/>
                        <a:pt x="252049" y="145961"/>
                        <a:pt x="258031" y="142999"/>
                      </a:cubicBezTo>
                      <a:cubicBezTo>
                        <a:pt x="260288" y="141884"/>
                        <a:pt x="264089" y="136131"/>
                        <a:pt x="266365" y="134141"/>
                      </a:cubicBezTo>
                      <a:cubicBezTo>
                        <a:pt x="270214" y="130778"/>
                        <a:pt x="272680" y="128264"/>
                        <a:pt x="277624" y="126264"/>
                      </a:cubicBezTo>
                      <a:cubicBezTo>
                        <a:pt x="281224" y="124806"/>
                        <a:pt x="283129" y="123349"/>
                        <a:pt x="286673" y="121491"/>
                      </a:cubicBezTo>
                      <a:cubicBezTo>
                        <a:pt x="290407" y="119520"/>
                        <a:pt x="294131" y="120320"/>
                        <a:pt x="297741" y="117367"/>
                      </a:cubicBezTo>
                      <a:cubicBezTo>
                        <a:pt x="301713" y="114119"/>
                        <a:pt x="300341" y="109338"/>
                        <a:pt x="303132" y="106089"/>
                      </a:cubicBezTo>
                      <a:cubicBezTo>
                        <a:pt x="305389" y="103470"/>
                        <a:pt x="306970" y="104251"/>
                        <a:pt x="310161" y="102984"/>
                      </a:cubicBezTo>
                      <a:cubicBezTo>
                        <a:pt x="314990" y="101070"/>
                        <a:pt x="330735" y="95022"/>
                        <a:pt x="321991" y="89411"/>
                      </a:cubicBezTo>
                      <a:cubicBezTo>
                        <a:pt x="318686" y="87297"/>
                        <a:pt x="311971" y="89621"/>
                        <a:pt x="308256" y="88449"/>
                      </a:cubicBezTo>
                      <a:cubicBezTo>
                        <a:pt x="301084" y="86173"/>
                        <a:pt x="305199" y="87287"/>
                        <a:pt x="304599" y="81410"/>
                      </a:cubicBezTo>
                      <a:cubicBezTo>
                        <a:pt x="304180" y="77229"/>
                        <a:pt x="301989" y="74276"/>
                        <a:pt x="300503" y="70428"/>
                      </a:cubicBezTo>
                      <a:cubicBezTo>
                        <a:pt x="298398" y="64970"/>
                        <a:pt x="299417" y="61093"/>
                        <a:pt x="298569" y="55645"/>
                      </a:cubicBezTo>
                      <a:cubicBezTo>
                        <a:pt x="297169" y="46539"/>
                        <a:pt x="282872" y="43139"/>
                        <a:pt x="281996" y="33728"/>
                      </a:cubicBezTo>
                      <a:cubicBezTo>
                        <a:pt x="281501" y="28394"/>
                        <a:pt x="283329" y="32404"/>
                        <a:pt x="286415" y="33376"/>
                      </a:cubicBezTo>
                      <a:cubicBezTo>
                        <a:pt x="289606" y="34376"/>
                        <a:pt x="295064" y="33928"/>
                        <a:pt x="298455" y="35157"/>
                      </a:cubicBezTo>
                      <a:cubicBezTo>
                        <a:pt x="302256" y="36538"/>
                        <a:pt x="301389" y="38900"/>
                        <a:pt x="304380" y="40748"/>
                      </a:cubicBezTo>
                      <a:cubicBezTo>
                        <a:pt x="307723" y="42824"/>
                        <a:pt x="313971" y="41834"/>
                        <a:pt x="317991" y="41834"/>
                      </a:cubicBezTo>
                      <a:cubicBezTo>
                        <a:pt x="320553" y="41834"/>
                        <a:pt x="325316" y="40872"/>
                        <a:pt x="327697" y="41653"/>
                      </a:cubicBezTo>
                      <a:cubicBezTo>
                        <a:pt x="331678" y="42948"/>
                        <a:pt x="334145" y="50854"/>
                        <a:pt x="337993" y="52035"/>
                      </a:cubicBezTo>
                      <a:cubicBezTo>
                        <a:pt x="346575" y="54664"/>
                        <a:pt x="343423" y="45768"/>
                        <a:pt x="345871" y="41472"/>
                      </a:cubicBezTo>
                      <a:cubicBezTo>
                        <a:pt x="347204" y="39138"/>
                        <a:pt x="351490" y="35814"/>
                        <a:pt x="354510" y="35214"/>
                      </a:cubicBezTo>
                      <a:cubicBezTo>
                        <a:pt x="358948" y="34347"/>
                        <a:pt x="363111" y="36090"/>
                        <a:pt x="367635" y="35385"/>
                      </a:cubicBezTo>
                      <a:cubicBezTo>
                        <a:pt x="372664" y="34604"/>
                        <a:pt x="379599" y="32547"/>
                        <a:pt x="383885" y="30089"/>
                      </a:cubicBezTo>
                      <a:cubicBezTo>
                        <a:pt x="387895" y="27794"/>
                        <a:pt x="390028" y="24860"/>
                        <a:pt x="394696" y="23622"/>
                      </a:cubicBezTo>
                      <a:cubicBezTo>
                        <a:pt x="401011" y="21945"/>
                        <a:pt x="399258" y="22717"/>
                        <a:pt x="403954" y="18888"/>
                      </a:cubicBezTo>
                      <a:cubicBezTo>
                        <a:pt x="407602" y="15916"/>
                        <a:pt x="422080" y="6515"/>
                        <a:pt x="410403" y="1724"/>
                      </a:cubicBezTo>
                      <a:cubicBezTo>
                        <a:pt x="415813" y="924"/>
                        <a:pt x="421232" y="3496"/>
                        <a:pt x="426176" y="0"/>
                      </a:cubicBezTo>
                      <a:lnTo>
                        <a:pt x="426176" y="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82" name="Freeform: Shape 681">
                  <a:extLst>
                    <a:ext uri="{FF2B5EF4-FFF2-40B4-BE49-F238E27FC236}">
                      <a16:creationId xmlns:a16="http://schemas.microsoft.com/office/drawing/2014/main" id="{AB4785D1-6B1B-4496-99D8-EC3A30E17B94}"/>
                    </a:ext>
                  </a:extLst>
                </p:cNvPr>
                <p:cNvSpPr/>
                <p:nvPr/>
              </p:nvSpPr>
              <p:spPr>
                <a:xfrm>
                  <a:off x="3421827" y="4670758"/>
                  <a:ext cx="406031" cy="415521"/>
                </a:xfrm>
                <a:custGeom>
                  <a:avLst/>
                  <a:gdLst>
                    <a:gd name="connsiteX0" fmla="*/ 395869 w 406031"/>
                    <a:gd name="connsiteY0" fmla="*/ 329312 h 415521"/>
                    <a:gd name="connsiteX1" fmla="*/ 366389 w 406031"/>
                    <a:gd name="connsiteY1" fmla="*/ 303690 h 415521"/>
                    <a:gd name="connsiteX2" fmla="*/ 323622 w 406031"/>
                    <a:gd name="connsiteY2" fmla="*/ 304423 h 415521"/>
                    <a:gd name="connsiteX3" fmla="*/ 303533 w 406031"/>
                    <a:gd name="connsiteY3" fmla="*/ 308824 h 415521"/>
                    <a:gd name="connsiteX4" fmla="*/ 283798 w 406031"/>
                    <a:gd name="connsiteY4" fmla="*/ 312786 h 415521"/>
                    <a:gd name="connsiteX5" fmla="*/ 277644 w 406031"/>
                    <a:gd name="connsiteY5" fmla="*/ 331979 h 415521"/>
                    <a:gd name="connsiteX6" fmla="*/ 274177 w 406031"/>
                    <a:gd name="connsiteY6" fmla="*/ 350334 h 415521"/>
                    <a:gd name="connsiteX7" fmla="*/ 271615 w 406031"/>
                    <a:gd name="connsiteY7" fmla="*/ 394511 h 415521"/>
                    <a:gd name="connsiteX8" fmla="*/ 255461 w 406031"/>
                    <a:gd name="connsiteY8" fmla="*/ 387139 h 415521"/>
                    <a:gd name="connsiteX9" fmla="*/ 237020 w 406031"/>
                    <a:gd name="connsiteY9" fmla="*/ 388015 h 415521"/>
                    <a:gd name="connsiteX10" fmla="*/ 228295 w 406031"/>
                    <a:gd name="connsiteY10" fmla="*/ 396282 h 415521"/>
                    <a:gd name="connsiteX11" fmla="*/ 224857 w 406031"/>
                    <a:gd name="connsiteY11" fmla="*/ 413208 h 415521"/>
                    <a:gd name="connsiteX12" fmla="*/ 199644 w 406031"/>
                    <a:gd name="connsiteY12" fmla="*/ 390587 h 415521"/>
                    <a:gd name="connsiteX13" fmla="*/ 184223 w 406031"/>
                    <a:gd name="connsiteY13" fmla="*/ 390177 h 415521"/>
                    <a:gd name="connsiteX14" fmla="*/ 168259 w 406031"/>
                    <a:gd name="connsiteY14" fmla="*/ 384881 h 415521"/>
                    <a:gd name="connsiteX15" fmla="*/ 159696 w 406031"/>
                    <a:gd name="connsiteY15" fmla="*/ 382786 h 415521"/>
                    <a:gd name="connsiteX16" fmla="*/ 158334 w 406031"/>
                    <a:gd name="connsiteY16" fmla="*/ 390301 h 415521"/>
                    <a:gd name="connsiteX17" fmla="*/ 150448 w 406031"/>
                    <a:gd name="connsiteY17" fmla="*/ 393625 h 415521"/>
                    <a:gd name="connsiteX18" fmla="*/ 147571 w 406031"/>
                    <a:gd name="connsiteY18" fmla="*/ 398006 h 415521"/>
                    <a:gd name="connsiteX19" fmla="*/ 142704 w 406031"/>
                    <a:gd name="connsiteY19" fmla="*/ 402664 h 415521"/>
                    <a:gd name="connsiteX20" fmla="*/ 134445 w 406031"/>
                    <a:gd name="connsiteY20" fmla="*/ 413789 h 415521"/>
                    <a:gd name="connsiteX21" fmla="*/ 119748 w 406031"/>
                    <a:gd name="connsiteY21" fmla="*/ 414494 h 415521"/>
                    <a:gd name="connsiteX22" fmla="*/ 114843 w 406031"/>
                    <a:gd name="connsiteY22" fmla="*/ 402788 h 415521"/>
                    <a:gd name="connsiteX23" fmla="*/ 98651 w 406031"/>
                    <a:gd name="connsiteY23" fmla="*/ 372384 h 415521"/>
                    <a:gd name="connsiteX24" fmla="*/ 91773 w 406031"/>
                    <a:gd name="connsiteY24" fmla="*/ 359182 h 415521"/>
                    <a:gd name="connsiteX25" fmla="*/ 82039 w 406031"/>
                    <a:gd name="connsiteY25" fmla="*/ 348343 h 415521"/>
                    <a:gd name="connsiteX26" fmla="*/ 83649 w 406031"/>
                    <a:gd name="connsiteY26" fmla="*/ 343857 h 415521"/>
                    <a:gd name="connsiteX27" fmla="*/ 76305 w 406031"/>
                    <a:gd name="connsiteY27" fmla="*/ 339656 h 415521"/>
                    <a:gd name="connsiteX28" fmla="*/ 73676 w 406031"/>
                    <a:gd name="connsiteY28" fmla="*/ 336351 h 415521"/>
                    <a:gd name="connsiteX29" fmla="*/ 73352 w 406031"/>
                    <a:gd name="connsiteY29" fmla="*/ 331246 h 415521"/>
                    <a:gd name="connsiteX30" fmla="*/ 72209 w 406031"/>
                    <a:gd name="connsiteY30" fmla="*/ 326655 h 415521"/>
                    <a:gd name="connsiteX31" fmla="*/ 76676 w 406031"/>
                    <a:gd name="connsiteY31" fmla="*/ 324397 h 415521"/>
                    <a:gd name="connsiteX32" fmla="*/ 72600 w 406031"/>
                    <a:gd name="connsiteY32" fmla="*/ 312853 h 415521"/>
                    <a:gd name="connsiteX33" fmla="*/ 74486 w 406031"/>
                    <a:gd name="connsiteY33" fmla="*/ 304090 h 415521"/>
                    <a:gd name="connsiteX34" fmla="*/ 60960 w 406031"/>
                    <a:gd name="connsiteY34" fmla="*/ 294460 h 415521"/>
                    <a:gd name="connsiteX35" fmla="*/ 47873 w 406031"/>
                    <a:gd name="connsiteY35" fmla="*/ 265685 h 415521"/>
                    <a:gd name="connsiteX36" fmla="*/ 48882 w 406031"/>
                    <a:gd name="connsiteY36" fmla="*/ 262742 h 415521"/>
                    <a:gd name="connsiteX37" fmla="*/ 41539 w 406031"/>
                    <a:gd name="connsiteY37" fmla="*/ 259370 h 415521"/>
                    <a:gd name="connsiteX38" fmla="*/ 32823 w 406031"/>
                    <a:gd name="connsiteY38" fmla="*/ 245445 h 415521"/>
                    <a:gd name="connsiteX39" fmla="*/ 27413 w 406031"/>
                    <a:gd name="connsiteY39" fmla="*/ 236634 h 415521"/>
                    <a:gd name="connsiteX40" fmla="*/ 35995 w 406031"/>
                    <a:gd name="connsiteY40" fmla="*/ 226480 h 415521"/>
                    <a:gd name="connsiteX41" fmla="*/ 41129 w 406031"/>
                    <a:gd name="connsiteY41" fmla="*/ 219927 h 415521"/>
                    <a:gd name="connsiteX42" fmla="*/ 42758 w 406031"/>
                    <a:gd name="connsiteY42" fmla="*/ 218917 h 415521"/>
                    <a:gd name="connsiteX43" fmla="*/ 42062 w 406031"/>
                    <a:gd name="connsiteY43" fmla="*/ 215241 h 415521"/>
                    <a:gd name="connsiteX44" fmla="*/ 44482 w 406031"/>
                    <a:gd name="connsiteY44" fmla="*/ 206449 h 415521"/>
                    <a:gd name="connsiteX45" fmla="*/ 33471 w 406031"/>
                    <a:gd name="connsiteY45" fmla="*/ 201191 h 415521"/>
                    <a:gd name="connsiteX46" fmla="*/ 25765 w 406031"/>
                    <a:gd name="connsiteY46" fmla="*/ 184703 h 415521"/>
                    <a:gd name="connsiteX47" fmla="*/ 29280 w 406031"/>
                    <a:gd name="connsiteY47" fmla="*/ 171807 h 415521"/>
                    <a:gd name="connsiteX48" fmla="*/ 25699 w 406031"/>
                    <a:gd name="connsiteY48" fmla="*/ 157472 h 415521"/>
                    <a:gd name="connsiteX49" fmla="*/ 31823 w 406031"/>
                    <a:gd name="connsiteY49" fmla="*/ 146956 h 415521"/>
                    <a:gd name="connsiteX50" fmla="*/ 35128 w 406031"/>
                    <a:gd name="connsiteY50" fmla="*/ 141374 h 415521"/>
                    <a:gd name="connsiteX51" fmla="*/ 31899 w 406031"/>
                    <a:gd name="connsiteY51" fmla="*/ 134935 h 415521"/>
                    <a:gd name="connsiteX52" fmla="*/ 28299 w 406031"/>
                    <a:gd name="connsiteY52" fmla="*/ 127373 h 415521"/>
                    <a:gd name="connsiteX53" fmla="*/ 28461 w 406031"/>
                    <a:gd name="connsiteY53" fmla="*/ 120924 h 415521"/>
                    <a:gd name="connsiteX54" fmla="*/ 26479 w 406031"/>
                    <a:gd name="connsiteY54" fmla="*/ 101255 h 415521"/>
                    <a:gd name="connsiteX55" fmla="*/ 32556 w 406031"/>
                    <a:gd name="connsiteY55" fmla="*/ 90158 h 415521"/>
                    <a:gd name="connsiteX56" fmla="*/ 24117 w 406031"/>
                    <a:gd name="connsiteY56" fmla="*/ 74004 h 415521"/>
                    <a:gd name="connsiteX57" fmla="*/ 0 w 406031"/>
                    <a:gd name="connsiteY57" fmla="*/ 39114 h 415521"/>
                    <a:gd name="connsiteX58" fmla="*/ 22974 w 406031"/>
                    <a:gd name="connsiteY58" fmla="*/ 40981 h 415521"/>
                    <a:gd name="connsiteX59" fmla="*/ 28708 w 406031"/>
                    <a:gd name="connsiteY59" fmla="*/ 44200 h 415521"/>
                    <a:gd name="connsiteX60" fmla="*/ 38395 w 406031"/>
                    <a:gd name="connsiteY60" fmla="*/ 40514 h 415521"/>
                    <a:gd name="connsiteX61" fmla="*/ 44930 w 406031"/>
                    <a:gd name="connsiteY61" fmla="*/ 32570 h 415521"/>
                    <a:gd name="connsiteX62" fmla="*/ 55083 w 406031"/>
                    <a:gd name="connsiteY62" fmla="*/ 30741 h 415521"/>
                    <a:gd name="connsiteX63" fmla="*/ 71009 w 406031"/>
                    <a:gd name="connsiteY63" fmla="*/ 19045 h 415521"/>
                    <a:gd name="connsiteX64" fmla="*/ 91745 w 406031"/>
                    <a:gd name="connsiteY64" fmla="*/ 5767 h 415521"/>
                    <a:gd name="connsiteX65" fmla="*/ 116929 w 406031"/>
                    <a:gd name="connsiteY65" fmla="*/ 1843 h 415521"/>
                    <a:gd name="connsiteX66" fmla="*/ 121701 w 406031"/>
                    <a:gd name="connsiteY66" fmla="*/ 2757 h 415521"/>
                    <a:gd name="connsiteX67" fmla="*/ 125273 w 406031"/>
                    <a:gd name="connsiteY67" fmla="*/ 14 h 415521"/>
                    <a:gd name="connsiteX68" fmla="*/ 129350 w 406031"/>
                    <a:gd name="connsiteY68" fmla="*/ 7110 h 415521"/>
                    <a:gd name="connsiteX69" fmla="*/ 130254 w 406031"/>
                    <a:gd name="connsiteY69" fmla="*/ 18254 h 415521"/>
                    <a:gd name="connsiteX70" fmla="*/ 127949 w 406031"/>
                    <a:gd name="connsiteY70" fmla="*/ 27646 h 415521"/>
                    <a:gd name="connsiteX71" fmla="*/ 132464 w 406031"/>
                    <a:gd name="connsiteY71" fmla="*/ 38380 h 415521"/>
                    <a:gd name="connsiteX72" fmla="*/ 131731 w 406031"/>
                    <a:gd name="connsiteY72" fmla="*/ 48410 h 415521"/>
                    <a:gd name="connsiteX73" fmla="*/ 134455 w 406031"/>
                    <a:gd name="connsiteY73" fmla="*/ 53887 h 415521"/>
                    <a:gd name="connsiteX74" fmla="*/ 139656 w 406031"/>
                    <a:gd name="connsiteY74" fmla="*/ 63012 h 415521"/>
                    <a:gd name="connsiteX75" fmla="*/ 142418 w 406031"/>
                    <a:gd name="connsiteY75" fmla="*/ 63812 h 415521"/>
                    <a:gd name="connsiteX76" fmla="*/ 148076 w 406031"/>
                    <a:gd name="connsiteY76" fmla="*/ 71842 h 415521"/>
                    <a:gd name="connsiteX77" fmla="*/ 156381 w 406031"/>
                    <a:gd name="connsiteY77" fmla="*/ 76385 h 415521"/>
                    <a:gd name="connsiteX78" fmla="*/ 164592 w 406031"/>
                    <a:gd name="connsiteY78" fmla="*/ 83338 h 415521"/>
                    <a:gd name="connsiteX79" fmla="*/ 173555 w 406031"/>
                    <a:gd name="connsiteY79" fmla="*/ 87568 h 415521"/>
                    <a:gd name="connsiteX80" fmla="*/ 186100 w 406031"/>
                    <a:gd name="connsiteY80" fmla="*/ 86920 h 415521"/>
                    <a:gd name="connsiteX81" fmla="*/ 194710 w 406031"/>
                    <a:gd name="connsiteY81" fmla="*/ 89815 h 415521"/>
                    <a:gd name="connsiteX82" fmla="*/ 200130 w 406031"/>
                    <a:gd name="connsiteY82" fmla="*/ 93254 h 415521"/>
                    <a:gd name="connsiteX83" fmla="*/ 205769 w 406031"/>
                    <a:gd name="connsiteY83" fmla="*/ 93149 h 415521"/>
                    <a:gd name="connsiteX84" fmla="*/ 219951 w 406031"/>
                    <a:gd name="connsiteY84" fmla="*/ 103522 h 415521"/>
                    <a:gd name="connsiteX85" fmla="*/ 240687 w 406031"/>
                    <a:gd name="connsiteY85" fmla="*/ 108675 h 415521"/>
                    <a:gd name="connsiteX86" fmla="*/ 249479 w 406031"/>
                    <a:gd name="connsiteY86" fmla="*/ 118429 h 415521"/>
                    <a:gd name="connsiteX87" fmla="*/ 262433 w 406031"/>
                    <a:gd name="connsiteY87" fmla="*/ 120477 h 415521"/>
                    <a:gd name="connsiteX88" fmla="*/ 287169 w 406031"/>
                    <a:gd name="connsiteY88" fmla="*/ 125210 h 415521"/>
                    <a:gd name="connsiteX89" fmla="*/ 296685 w 406031"/>
                    <a:gd name="connsiteY89" fmla="*/ 133821 h 415521"/>
                    <a:gd name="connsiteX90" fmla="*/ 296409 w 406031"/>
                    <a:gd name="connsiteY90" fmla="*/ 142813 h 415521"/>
                    <a:gd name="connsiteX91" fmla="*/ 302743 w 406031"/>
                    <a:gd name="connsiteY91" fmla="*/ 154243 h 415521"/>
                    <a:gd name="connsiteX92" fmla="*/ 305876 w 406031"/>
                    <a:gd name="connsiteY92" fmla="*/ 169416 h 415521"/>
                    <a:gd name="connsiteX93" fmla="*/ 296323 w 406031"/>
                    <a:gd name="connsiteY93" fmla="*/ 169721 h 415521"/>
                    <a:gd name="connsiteX94" fmla="*/ 310191 w 406031"/>
                    <a:gd name="connsiteY94" fmla="*/ 189038 h 415521"/>
                    <a:gd name="connsiteX95" fmla="*/ 312611 w 406031"/>
                    <a:gd name="connsiteY95" fmla="*/ 199734 h 415521"/>
                    <a:gd name="connsiteX96" fmla="*/ 318383 w 406031"/>
                    <a:gd name="connsiteY96" fmla="*/ 206754 h 415521"/>
                    <a:gd name="connsiteX97" fmla="*/ 366808 w 406031"/>
                    <a:gd name="connsiteY97" fmla="*/ 208259 h 415521"/>
                    <a:gd name="connsiteX98" fmla="*/ 371142 w 406031"/>
                    <a:gd name="connsiteY98" fmla="*/ 208821 h 415521"/>
                    <a:gd name="connsiteX99" fmla="*/ 368551 w 406031"/>
                    <a:gd name="connsiteY99" fmla="*/ 218594 h 415521"/>
                    <a:gd name="connsiteX100" fmla="*/ 375295 w 406031"/>
                    <a:gd name="connsiteY100" fmla="*/ 238501 h 415521"/>
                    <a:gd name="connsiteX101" fmla="*/ 393887 w 406031"/>
                    <a:gd name="connsiteY101" fmla="*/ 247664 h 415521"/>
                    <a:gd name="connsiteX102" fmla="*/ 406032 w 406031"/>
                    <a:gd name="connsiteY102" fmla="*/ 267876 h 415521"/>
                    <a:gd name="connsiteX103" fmla="*/ 400736 w 406031"/>
                    <a:gd name="connsiteY103" fmla="*/ 289907 h 415521"/>
                    <a:gd name="connsiteX104" fmla="*/ 403441 w 406031"/>
                    <a:gd name="connsiteY104" fmla="*/ 294003 h 415521"/>
                    <a:gd name="connsiteX105" fmla="*/ 395373 w 406031"/>
                    <a:gd name="connsiteY105" fmla="*/ 316796 h 415521"/>
                    <a:gd name="connsiteX106" fmla="*/ 403393 w 406031"/>
                    <a:gd name="connsiteY106" fmla="*/ 324759 h 415521"/>
                    <a:gd name="connsiteX107" fmla="*/ 395869 w 406031"/>
                    <a:gd name="connsiteY107" fmla="*/ 329312 h 415521"/>
                    <a:gd name="connsiteX108" fmla="*/ 395869 w 406031"/>
                    <a:gd name="connsiteY108" fmla="*/ 329312 h 415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406031" h="415521">
                      <a:moveTo>
                        <a:pt x="395869" y="329312"/>
                      </a:moveTo>
                      <a:cubicBezTo>
                        <a:pt x="396135" y="315196"/>
                        <a:pt x="377876" y="308652"/>
                        <a:pt x="366389" y="303690"/>
                      </a:cubicBezTo>
                      <a:cubicBezTo>
                        <a:pt x="354492" y="298546"/>
                        <a:pt x="336166" y="301680"/>
                        <a:pt x="323622" y="304423"/>
                      </a:cubicBezTo>
                      <a:cubicBezTo>
                        <a:pt x="316925" y="305890"/>
                        <a:pt x="310229" y="307347"/>
                        <a:pt x="303533" y="308824"/>
                      </a:cubicBezTo>
                      <a:cubicBezTo>
                        <a:pt x="299485" y="309719"/>
                        <a:pt x="286960" y="310138"/>
                        <a:pt x="283798" y="312786"/>
                      </a:cubicBezTo>
                      <a:cubicBezTo>
                        <a:pt x="280597" y="315463"/>
                        <a:pt x="279892" y="327369"/>
                        <a:pt x="277644" y="331979"/>
                      </a:cubicBezTo>
                      <a:cubicBezTo>
                        <a:pt x="273987" y="339447"/>
                        <a:pt x="272558" y="341914"/>
                        <a:pt x="274177" y="350334"/>
                      </a:cubicBezTo>
                      <a:cubicBezTo>
                        <a:pt x="276749" y="363736"/>
                        <a:pt x="274415" y="381071"/>
                        <a:pt x="271615" y="394511"/>
                      </a:cubicBezTo>
                      <a:cubicBezTo>
                        <a:pt x="263138" y="389462"/>
                        <a:pt x="266491" y="387034"/>
                        <a:pt x="255461" y="387139"/>
                      </a:cubicBezTo>
                      <a:cubicBezTo>
                        <a:pt x="249269" y="387195"/>
                        <a:pt x="242907" y="387291"/>
                        <a:pt x="237020" y="388015"/>
                      </a:cubicBezTo>
                      <a:cubicBezTo>
                        <a:pt x="230476" y="388834"/>
                        <a:pt x="230762" y="388662"/>
                        <a:pt x="228295" y="396282"/>
                      </a:cubicBezTo>
                      <a:cubicBezTo>
                        <a:pt x="226371" y="402207"/>
                        <a:pt x="225981" y="407265"/>
                        <a:pt x="224857" y="413208"/>
                      </a:cubicBezTo>
                      <a:cubicBezTo>
                        <a:pt x="215075" y="403007"/>
                        <a:pt x="215579" y="392939"/>
                        <a:pt x="199644" y="390587"/>
                      </a:cubicBezTo>
                      <a:cubicBezTo>
                        <a:pt x="194644" y="389844"/>
                        <a:pt x="189262" y="390129"/>
                        <a:pt x="184223" y="390177"/>
                      </a:cubicBezTo>
                      <a:cubicBezTo>
                        <a:pt x="176755" y="390262"/>
                        <a:pt x="174660" y="388929"/>
                        <a:pt x="168259" y="384881"/>
                      </a:cubicBezTo>
                      <a:cubicBezTo>
                        <a:pt x="164668" y="382604"/>
                        <a:pt x="162525" y="379642"/>
                        <a:pt x="159696" y="382786"/>
                      </a:cubicBezTo>
                      <a:cubicBezTo>
                        <a:pt x="158391" y="384224"/>
                        <a:pt x="159877" y="388386"/>
                        <a:pt x="158334" y="390301"/>
                      </a:cubicBezTo>
                      <a:cubicBezTo>
                        <a:pt x="156715" y="392311"/>
                        <a:pt x="152543" y="391986"/>
                        <a:pt x="150448" y="393625"/>
                      </a:cubicBezTo>
                      <a:cubicBezTo>
                        <a:pt x="148295" y="395311"/>
                        <a:pt x="149057" y="396397"/>
                        <a:pt x="147571" y="398006"/>
                      </a:cubicBezTo>
                      <a:cubicBezTo>
                        <a:pt x="146495" y="399178"/>
                        <a:pt x="143551" y="401445"/>
                        <a:pt x="142704" y="402664"/>
                      </a:cubicBezTo>
                      <a:cubicBezTo>
                        <a:pt x="139313" y="407579"/>
                        <a:pt x="140408" y="411294"/>
                        <a:pt x="134445" y="413789"/>
                      </a:cubicBezTo>
                      <a:cubicBezTo>
                        <a:pt x="131083" y="415180"/>
                        <a:pt x="123130" y="416504"/>
                        <a:pt x="119748" y="414494"/>
                      </a:cubicBezTo>
                      <a:cubicBezTo>
                        <a:pt x="115148" y="411751"/>
                        <a:pt x="116615" y="407484"/>
                        <a:pt x="114843" y="402788"/>
                      </a:cubicBezTo>
                      <a:cubicBezTo>
                        <a:pt x="110662" y="391710"/>
                        <a:pt x="102927" y="383405"/>
                        <a:pt x="98651" y="372384"/>
                      </a:cubicBezTo>
                      <a:cubicBezTo>
                        <a:pt x="96498" y="366841"/>
                        <a:pt x="95907" y="363936"/>
                        <a:pt x="91773" y="359182"/>
                      </a:cubicBezTo>
                      <a:cubicBezTo>
                        <a:pt x="87840" y="354668"/>
                        <a:pt x="83687" y="353906"/>
                        <a:pt x="82039" y="348343"/>
                      </a:cubicBezTo>
                      <a:cubicBezTo>
                        <a:pt x="81534" y="346648"/>
                        <a:pt x="84192" y="344895"/>
                        <a:pt x="83649" y="343857"/>
                      </a:cubicBezTo>
                      <a:cubicBezTo>
                        <a:pt x="82506" y="341656"/>
                        <a:pt x="77905" y="341504"/>
                        <a:pt x="76305" y="339656"/>
                      </a:cubicBezTo>
                      <a:cubicBezTo>
                        <a:pt x="75124" y="338304"/>
                        <a:pt x="74514" y="337970"/>
                        <a:pt x="73676" y="336351"/>
                      </a:cubicBezTo>
                      <a:cubicBezTo>
                        <a:pt x="74571" y="338075"/>
                        <a:pt x="73333" y="329588"/>
                        <a:pt x="73352" y="331246"/>
                      </a:cubicBezTo>
                      <a:cubicBezTo>
                        <a:pt x="73324" y="329236"/>
                        <a:pt x="71781" y="328179"/>
                        <a:pt x="72209" y="326655"/>
                      </a:cubicBezTo>
                      <a:cubicBezTo>
                        <a:pt x="72638" y="325150"/>
                        <a:pt x="76019" y="326636"/>
                        <a:pt x="76676" y="324397"/>
                      </a:cubicBezTo>
                      <a:cubicBezTo>
                        <a:pt x="78286" y="318835"/>
                        <a:pt x="71609" y="318187"/>
                        <a:pt x="72600" y="312853"/>
                      </a:cubicBezTo>
                      <a:cubicBezTo>
                        <a:pt x="73590" y="307490"/>
                        <a:pt x="77305" y="308510"/>
                        <a:pt x="74486" y="304090"/>
                      </a:cubicBezTo>
                      <a:cubicBezTo>
                        <a:pt x="71942" y="300108"/>
                        <a:pt x="64284" y="298022"/>
                        <a:pt x="60960" y="294460"/>
                      </a:cubicBezTo>
                      <a:cubicBezTo>
                        <a:pt x="54378" y="287412"/>
                        <a:pt x="52330" y="274477"/>
                        <a:pt x="47873" y="265685"/>
                      </a:cubicBezTo>
                      <a:cubicBezTo>
                        <a:pt x="47435" y="264809"/>
                        <a:pt x="49701" y="263780"/>
                        <a:pt x="48882" y="262742"/>
                      </a:cubicBezTo>
                      <a:cubicBezTo>
                        <a:pt x="47387" y="260856"/>
                        <a:pt x="43386" y="261123"/>
                        <a:pt x="41539" y="259370"/>
                      </a:cubicBezTo>
                      <a:cubicBezTo>
                        <a:pt x="38167" y="256189"/>
                        <a:pt x="35233" y="249331"/>
                        <a:pt x="32823" y="245445"/>
                      </a:cubicBezTo>
                      <a:cubicBezTo>
                        <a:pt x="31833" y="243863"/>
                        <a:pt x="27251" y="237767"/>
                        <a:pt x="27413" y="236634"/>
                      </a:cubicBezTo>
                      <a:cubicBezTo>
                        <a:pt x="27632" y="235081"/>
                        <a:pt x="34671" y="228585"/>
                        <a:pt x="35995" y="226480"/>
                      </a:cubicBezTo>
                      <a:cubicBezTo>
                        <a:pt x="37271" y="224442"/>
                        <a:pt x="40243" y="221813"/>
                        <a:pt x="41129" y="219927"/>
                      </a:cubicBezTo>
                      <a:cubicBezTo>
                        <a:pt x="41262" y="219670"/>
                        <a:pt x="42567" y="219413"/>
                        <a:pt x="42758" y="218917"/>
                      </a:cubicBezTo>
                      <a:cubicBezTo>
                        <a:pt x="43177" y="217793"/>
                        <a:pt x="41681" y="216003"/>
                        <a:pt x="42062" y="215241"/>
                      </a:cubicBezTo>
                      <a:cubicBezTo>
                        <a:pt x="44015" y="211393"/>
                        <a:pt x="47977" y="209612"/>
                        <a:pt x="44482" y="206449"/>
                      </a:cubicBezTo>
                      <a:cubicBezTo>
                        <a:pt x="41043" y="203344"/>
                        <a:pt x="36900" y="205087"/>
                        <a:pt x="33471" y="201191"/>
                      </a:cubicBezTo>
                      <a:cubicBezTo>
                        <a:pt x="30251" y="197534"/>
                        <a:pt x="25451" y="189590"/>
                        <a:pt x="25765" y="184703"/>
                      </a:cubicBezTo>
                      <a:cubicBezTo>
                        <a:pt x="26165" y="178465"/>
                        <a:pt x="31509" y="177093"/>
                        <a:pt x="29280" y="171807"/>
                      </a:cubicBezTo>
                      <a:cubicBezTo>
                        <a:pt x="25899" y="163787"/>
                        <a:pt x="21898" y="166311"/>
                        <a:pt x="25699" y="157472"/>
                      </a:cubicBezTo>
                      <a:cubicBezTo>
                        <a:pt x="27480" y="153357"/>
                        <a:pt x="29118" y="150947"/>
                        <a:pt x="31823" y="146956"/>
                      </a:cubicBezTo>
                      <a:cubicBezTo>
                        <a:pt x="30861" y="148375"/>
                        <a:pt x="35233" y="138650"/>
                        <a:pt x="35128" y="141374"/>
                      </a:cubicBezTo>
                      <a:cubicBezTo>
                        <a:pt x="35243" y="138574"/>
                        <a:pt x="33147" y="137260"/>
                        <a:pt x="31899" y="134935"/>
                      </a:cubicBezTo>
                      <a:cubicBezTo>
                        <a:pt x="30728" y="132754"/>
                        <a:pt x="28851" y="129906"/>
                        <a:pt x="28299" y="127373"/>
                      </a:cubicBezTo>
                      <a:cubicBezTo>
                        <a:pt x="27518" y="123858"/>
                        <a:pt x="28451" y="124515"/>
                        <a:pt x="28461" y="120924"/>
                      </a:cubicBezTo>
                      <a:cubicBezTo>
                        <a:pt x="28470" y="114952"/>
                        <a:pt x="25298" y="106818"/>
                        <a:pt x="26479" y="101255"/>
                      </a:cubicBezTo>
                      <a:cubicBezTo>
                        <a:pt x="27527" y="96331"/>
                        <a:pt x="31899" y="95045"/>
                        <a:pt x="32556" y="90158"/>
                      </a:cubicBezTo>
                      <a:cubicBezTo>
                        <a:pt x="33299" y="84653"/>
                        <a:pt x="27689" y="79138"/>
                        <a:pt x="24117" y="74004"/>
                      </a:cubicBezTo>
                      <a:cubicBezTo>
                        <a:pt x="16040" y="62403"/>
                        <a:pt x="8011" y="50772"/>
                        <a:pt x="0" y="39114"/>
                      </a:cubicBezTo>
                      <a:cubicBezTo>
                        <a:pt x="6944" y="38819"/>
                        <a:pt x="16374" y="38590"/>
                        <a:pt x="22974" y="40981"/>
                      </a:cubicBezTo>
                      <a:cubicBezTo>
                        <a:pt x="26013" y="42086"/>
                        <a:pt x="25356" y="44067"/>
                        <a:pt x="28708" y="44200"/>
                      </a:cubicBezTo>
                      <a:cubicBezTo>
                        <a:pt x="31375" y="44305"/>
                        <a:pt x="36300" y="42038"/>
                        <a:pt x="38395" y="40514"/>
                      </a:cubicBezTo>
                      <a:cubicBezTo>
                        <a:pt x="41339" y="38380"/>
                        <a:pt x="42158" y="34770"/>
                        <a:pt x="44930" y="32570"/>
                      </a:cubicBezTo>
                      <a:cubicBezTo>
                        <a:pt x="48663" y="29598"/>
                        <a:pt x="51587" y="31884"/>
                        <a:pt x="55083" y="30741"/>
                      </a:cubicBezTo>
                      <a:cubicBezTo>
                        <a:pt x="59693" y="29246"/>
                        <a:pt x="65637" y="21759"/>
                        <a:pt x="71009" y="19045"/>
                      </a:cubicBezTo>
                      <a:cubicBezTo>
                        <a:pt x="78296" y="15368"/>
                        <a:pt x="83811" y="8481"/>
                        <a:pt x="91745" y="5767"/>
                      </a:cubicBezTo>
                      <a:cubicBezTo>
                        <a:pt x="99698" y="3062"/>
                        <a:pt x="108566" y="2328"/>
                        <a:pt x="116929" y="1843"/>
                      </a:cubicBezTo>
                      <a:cubicBezTo>
                        <a:pt x="118348" y="1757"/>
                        <a:pt x="119891" y="2852"/>
                        <a:pt x="121701" y="2757"/>
                      </a:cubicBezTo>
                      <a:cubicBezTo>
                        <a:pt x="122863" y="2681"/>
                        <a:pt x="123549" y="-224"/>
                        <a:pt x="125273" y="14"/>
                      </a:cubicBezTo>
                      <a:cubicBezTo>
                        <a:pt x="129302" y="576"/>
                        <a:pt x="128626" y="4433"/>
                        <a:pt x="129350" y="7110"/>
                      </a:cubicBezTo>
                      <a:cubicBezTo>
                        <a:pt x="130397" y="10920"/>
                        <a:pt x="131102" y="14463"/>
                        <a:pt x="130254" y="18254"/>
                      </a:cubicBezTo>
                      <a:cubicBezTo>
                        <a:pt x="129330" y="22388"/>
                        <a:pt x="127349" y="23150"/>
                        <a:pt x="127949" y="27646"/>
                      </a:cubicBezTo>
                      <a:cubicBezTo>
                        <a:pt x="128464" y="31484"/>
                        <a:pt x="131921" y="34580"/>
                        <a:pt x="132464" y="38380"/>
                      </a:cubicBezTo>
                      <a:cubicBezTo>
                        <a:pt x="132988" y="42038"/>
                        <a:pt x="131254" y="44734"/>
                        <a:pt x="131731" y="48410"/>
                      </a:cubicBezTo>
                      <a:cubicBezTo>
                        <a:pt x="131845" y="49249"/>
                        <a:pt x="133998" y="53173"/>
                        <a:pt x="134455" y="53887"/>
                      </a:cubicBezTo>
                      <a:cubicBezTo>
                        <a:pt x="135903" y="56154"/>
                        <a:pt x="138370" y="61583"/>
                        <a:pt x="139656" y="63012"/>
                      </a:cubicBezTo>
                      <a:cubicBezTo>
                        <a:pt x="140446" y="63879"/>
                        <a:pt x="142570" y="64012"/>
                        <a:pt x="142418" y="63812"/>
                      </a:cubicBezTo>
                      <a:cubicBezTo>
                        <a:pt x="144256" y="66327"/>
                        <a:pt x="145999" y="70032"/>
                        <a:pt x="148076" y="71842"/>
                      </a:cubicBezTo>
                      <a:cubicBezTo>
                        <a:pt x="149733" y="73270"/>
                        <a:pt x="154296" y="75099"/>
                        <a:pt x="156381" y="76385"/>
                      </a:cubicBezTo>
                      <a:cubicBezTo>
                        <a:pt x="159868" y="78538"/>
                        <a:pt x="161744" y="81100"/>
                        <a:pt x="164592" y="83338"/>
                      </a:cubicBezTo>
                      <a:cubicBezTo>
                        <a:pt x="167802" y="85863"/>
                        <a:pt x="169107" y="86748"/>
                        <a:pt x="173555" y="87568"/>
                      </a:cubicBezTo>
                      <a:cubicBezTo>
                        <a:pt x="178594" y="88511"/>
                        <a:pt x="181699" y="86882"/>
                        <a:pt x="186100" y="86920"/>
                      </a:cubicBezTo>
                      <a:cubicBezTo>
                        <a:pt x="189510" y="86948"/>
                        <a:pt x="191834" y="88311"/>
                        <a:pt x="194710" y="89815"/>
                      </a:cubicBezTo>
                      <a:cubicBezTo>
                        <a:pt x="196510" y="90758"/>
                        <a:pt x="198149" y="92683"/>
                        <a:pt x="200130" y="93254"/>
                      </a:cubicBezTo>
                      <a:cubicBezTo>
                        <a:pt x="202197" y="93854"/>
                        <a:pt x="204683" y="92854"/>
                        <a:pt x="205769" y="93149"/>
                      </a:cubicBezTo>
                      <a:cubicBezTo>
                        <a:pt x="210969" y="94569"/>
                        <a:pt x="213798" y="100664"/>
                        <a:pt x="219951" y="103522"/>
                      </a:cubicBezTo>
                      <a:cubicBezTo>
                        <a:pt x="225685" y="106179"/>
                        <a:pt x="235620" y="105570"/>
                        <a:pt x="240687" y="108675"/>
                      </a:cubicBezTo>
                      <a:cubicBezTo>
                        <a:pt x="243669" y="110504"/>
                        <a:pt x="245688" y="116333"/>
                        <a:pt x="249479" y="118429"/>
                      </a:cubicBezTo>
                      <a:cubicBezTo>
                        <a:pt x="253394" y="120600"/>
                        <a:pt x="257994" y="120610"/>
                        <a:pt x="262433" y="120477"/>
                      </a:cubicBezTo>
                      <a:cubicBezTo>
                        <a:pt x="273434" y="120153"/>
                        <a:pt x="277159" y="119886"/>
                        <a:pt x="287169" y="125210"/>
                      </a:cubicBezTo>
                      <a:cubicBezTo>
                        <a:pt x="290903" y="127201"/>
                        <a:pt x="295504" y="129306"/>
                        <a:pt x="296685" y="133821"/>
                      </a:cubicBezTo>
                      <a:cubicBezTo>
                        <a:pt x="297637" y="137440"/>
                        <a:pt x="295542" y="139269"/>
                        <a:pt x="296409" y="142813"/>
                      </a:cubicBezTo>
                      <a:cubicBezTo>
                        <a:pt x="297237" y="146232"/>
                        <a:pt x="301495" y="150614"/>
                        <a:pt x="302743" y="154243"/>
                      </a:cubicBezTo>
                      <a:cubicBezTo>
                        <a:pt x="304362" y="158967"/>
                        <a:pt x="304914" y="164415"/>
                        <a:pt x="305876" y="169416"/>
                      </a:cubicBezTo>
                      <a:cubicBezTo>
                        <a:pt x="302695" y="169521"/>
                        <a:pt x="299504" y="169616"/>
                        <a:pt x="296323" y="169721"/>
                      </a:cubicBezTo>
                      <a:cubicBezTo>
                        <a:pt x="303324" y="175017"/>
                        <a:pt x="308286" y="180627"/>
                        <a:pt x="310191" y="189038"/>
                      </a:cubicBezTo>
                      <a:cubicBezTo>
                        <a:pt x="310991" y="192600"/>
                        <a:pt x="311791" y="196172"/>
                        <a:pt x="312611" y="199734"/>
                      </a:cubicBezTo>
                      <a:cubicBezTo>
                        <a:pt x="313925" y="205487"/>
                        <a:pt x="313163" y="205430"/>
                        <a:pt x="318383" y="206754"/>
                      </a:cubicBezTo>
                      <a:cubicBezTo>
                        <a:pt x="333642" y="210640"/>
                        <a:pt x="351396" y="205516"/>
                        <a:pt x="366808" y="208259"/>
                      </a:cubicBezTo>
                      <a:cubicBezTo>
                        <a:pt x="370456" y="208907"/>
                        <a:pt x="368818" y="205611"/>
                        <a:pt x="371142" y="208821"/>
                      </a:cubicBezTo>
                      <a:cubicBezTo>
                        <a:pt x="373599" y="212231"/>
                        <a:pt x="368875" y="215841"/>
                        <a:pt x="368551" y="218594"/>
                      </a:cubicBezTo>
                      <a:cubicBezTo>
                        <a:pt x="367913" y="223966"/>
                        <a:pt x="371951" y="234834"/>
                        <a:pt x="375295" y="238501"/>
                      </a:cubicBezTo>
                      <a:cubicBezTo>
                        <a:pt x="380038" y="243711"/>
                        <a:pt x="389925" y="244111"/>
                        <a:pt x="393887" y="247664"/>
                      </a:cubicBezTo>
                      <a:cubicBezTo>
                        <a:pt x="399126" y="252360"/>
                        <a:pt x="398840" y="263971"/>
                        <a:pt x="406032" y="267876"/>
                      </a:cubicBezTo>
                      <a:cubicBezTo>
                        <a:pt x="401384" y="270438"/>
                        <a:pt x="401536" y="284526"/>
                        <a:pt x="400736" y="289907"/>
                      </a:cubicBezTo>
                      <a:cubicBezTo>
                        <a:pt x="402841" y="290593"/>
                        <a:pt x="402869" y="291307"/>
                        <a:pt x="403441" y="294003"/>
                      </a:cubicBezTo>
                      <a:cubicBezTo>
                        <a:pt x="399288" y="294451"/>
                        <a:pt x="394011" y="313720"/>
                        <a:pt x="395373" y="316796"/>
                      </a:cubicBezTo>
                      <a:cubicBezTo>
                        <a:pt x="396869" y="320149"/>
                        <a:pt x="404422" y="320768"/>
                        <a:pt x="403393" y="324759"/>
                      </a:cubicBezTo>
                      <a:cubicBezTo>
                        <a:pt x="403403" y="324759"/>
                        <a:pt x="396345" y="329055"/>
                        <a:pt x="395869" y="329312"/>
                      </a:cubicBezTo>
                      <a:lnTo>
                        <a:pt x="395869" y="329312"/>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83" name="Freeform: Shape 682">
                  <a:extLst>
                    <a:ext uri="{FF2B5EF4-FFF2-40B4-BE49-F238E27FC236}">
                      <a16:creationId xmlns:a16="http://schemas.microsoft.com/office/drawing/2014/main" id="{CB0D50C1-2765-492C-AFA2-D0387A2011F1}"/>
                    </a:ext>
                  </a:extLst>
                </p:cNvPr>
                <p:cNvSpPr/>
                <p:nvPr/>
              </p:nvSpPr>
              <p:spPr>
                <a:xfrm>
                  <a:off x="2836449" y="3782692"/>
                  <a:ext cx="52143" cy="81693"/>
                </a:xfrm>
                <a:custGeom>
                  <a:avLst/>
                  <a:gdLst>
                    <a:gd name="connsiteX0" fmla="*/ 44958 w 52143"/>
                    <a:gd name="connsiteY0" fmla="*/ 3893 h 81693"/>
                    <a:gd name="connsiteX1" fmla="*/ 51835 w 52143"/>
                    <a:gd name="connsiteY1" fmla="*/ 6112 h 81693"/>
                    <a:gd name="connsiteX2" fmla="*/ 45853 w 52143"/>
                    <a:gd name="connsiteY2" fmla="*/ 19400 h 81693"/>
                    <a:gd name="connsiteX3" fmla="*/ 43653 w 52143"/>
                    <a:gd name="connsiteY3" fmla="*/ 24181 h 81693"/>
                    <a:gd name="connsiteX4" fmla="*/ 42777 w 52143"/>
                    <a:gd name="connsiteY4" fmla="*/ 30925 h 81693"/>
                    <a:gd name="connsiteX5" fmla="*/ 37948 w 52143"/>
                    <a:gd name="connsiteY5" fmla="*/ 41383 h 81693"/>
                    <a:gd name="connsiteX6" fmla="*/ 28061 w 52143"/>
                    <a:gd name="connsiteY6" fmla="*/ 64091 h 81693"/>
                    <a:gd name="connsiteX7" fmla="*/ 10478 w 52143"/>
                    <a:gd name="connsiteY7" fmla="*/ 81636 h 81693"/>
                    <a:gd name="connsiteX8" fmla="*/ 0 w 52143"/>
                    <a:gd name="connsiteY8" fmla="*/ 81693 h 81693"/>
                    <a:gd name="connsiteX9" fmla="*/ 14011 w 52143"/>
                    <a:gd name="connsiteY9" fmla="*/ 27867 h 81693"/>
                    <a:gd name="connsiteX10" fmla="*/ 19317 w 52143"/>
                    <a:gd name="connsiteY10" fmla="*/ 15656 h 81693"/>
                    <a:gd name="connsiteX11" fmla="*/ 27937 w 52143"/>
                    <a:gd name="connsiteY11" fmla="*/ 16275 h 81693"/>
                    <a:gd name="connsiteX12" fmla="*/ 47473 w 52143"/>
                    <a:gd name="connsiteY12" fmla="*/ 312 h 81693"/>
                    <a:gd name="connsiteX13" fmla="*/ 44958 w 52143"/>
                    <a:gd name="connsiteY13" fmla="*/ 3893 h 81693"/>
                    <a:gd name="connsiteX14" fmla="*/ 44958 w 52143"/>
                    <a:gd name="connsiteY14" fmla="*/ 3893 h 81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143" h="81693">
                      <a:moveTo>
                        <a:pt x="44958" y="3893"/>
                      </a:moveTo>
                      <a:cubicBezTo>
                        <a:pt x="48301" y="4398"/>
                        <a:pt x="50540" y="3083"/>
                        <a:pt x="51835" y="6112"/>
                      </a:cubicBezTo>
                      <a:cubicBezTo>
                        <a:pt x="53569" y="10151"/>
                        <a:pt x="47511" y="16409"/>
                        <a:pt x="45853" y="19400"/>
                      </a:cubicBezTo>
                      <a:cubicBezTo>
                        <a:pt x="45072" y="20800"/>
                        <a:pt x="44091" y="22657"/>
                        <a:pt x="43653" y="24181"/>
                      </a:cubicBezTo>
                      <a:cubicBezTo>
                        <a:pt x="42901" y="26753"/>
                        <a:pt x="43377" y="29106"/>
                        <a:pt x="42777" y="30925"/>
                      </a:cubicBezTo>
                      <a:cubicBezTo>
                        <a:pt x="41539" y="34697"/>
                        <a:pt x="38786" y="37145"/>
                        <a:pt x="37948" y="41383"/>
                      </a:cubicBezTo>
                      <a:cubicBezTo>
                        <a:pt x="36128" y="50661"/>
                        <a:pt x="34719" y="56985"/>
                        <a:pt x="28061" y="64091"/>
                      </a:cubicBezTo>
                      <a:cubicBezTo>
                        <a:pt x="23470" y="68996"/>
                        <a:pt x="10125" y="73797"/>
                        <a:pt x="10478" y="81636"/>
                      </a:cubicBezTo>
                      <a:cubicBezTo>
                        <a:pt x="6944" y="81636"/>
                        <a:pt x="3515" y="81112"/>
                        <a:pt x="0" y="81693"/>
                      </a:cubicBezTo>
                      <a:cubicBezTo>
                        <a:pt x="2877" y="63748"/>
                        <a:pt x="9192" y="45489"/>
                        <a:pt x="14011" y="27867"/>
                      </a:cubicBezTo>
                      <a:cubicBezTo>
                        <a:pt x="14954" y="24429"/>
                        <a:pt x="15469" y="16923"/>
                        <a:pt x="19317" y="15656"/>
                      </a:cubicBezTo>
                      <a:cubicBezTo>
                        <a:pt x="23031" y="14437"/>
                        <a:pt x="23574" y="18400"/>
                        <a:pt x="27937" y="16275"/>
                      </a:cubicBezTo>
                      <a:cubicBezTo>
                        <a:pt x="35585" y="12551"/>
                        <a:pt x="37062" y="-2327"/>
                        <a:pt x="47473" y="312"/>
                      </a:cubicBezTo>
                      <a:cubicBezTo>
                        <a:pt x="46701" y="1426"/>
                        <a:pt x="45939" y="2979"/>
                        <a:pt x="44958" y="3893"/>
                      </a:cubicBezTo>
                      <a:lnTo>
                        <a:pt x="44958" y="3893"/>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84" name="Freeform: Shape 683">
                  <a:extLst>
                    <a:ext uri="{FF2B5EF4-FFF2-40B4-BE49-F238E27FC236}">
                      <a16:creationId xmlns:a16="http://schemas.microsoft.com/office/drawing/2014/main" id="{75099240-60C2-4043-8842-311503639F3C}"/>
                    </a:ext>
                  </a:extLst>
                </p:cNvPr>
                <p:cNvSpPr/>
                <p:nvPr/>
              </p:nvSpPr>
              <p:spPr>
                <a:xfrm>
                  <a:off x="6181210" y="2596388"/>
                  <a:ext cx="234119" cy="153409"/>
                </a:xfrm>
                <a:custGeom>
                  <a:avLst/>
                  <a:gdLst>
                    <a:gd name="connsiteX0" fmla="*/ 102698 w 234119"/>
                    <a:gd name="connsiteY0" fmla="*/ 0 h 153409"/>
                    <a:gd name="connsiteX1" fmla="*/ 115205 w 234119"/>
                    <a:gd name="connsiteY1" fmla="*/ 2563 h 153409"/>
                    <a:gd name="connsiteX2" fmla="*/ 119844 w 234119"/>
                    <a:gd name="connsiteY2" fmla="*/ 6306 h 153409"/>
                    <a:gd name="connsiteX3" fmla="*/ 126539 w 234119"/>
                    <a:gd name="connsiteY3" fmla="*/ 3858 h 153409"/>
                    <a:gd name="connsiteX4" fmla="*/ 134798 w 234119"/>
                    <a:gd name="connsiteY4" fmla="*/ 9706 h 153409"/>
                    <a:gd name="connsiteX5" fmla="*/ 144380 w 234119"/>
                    <a:gd name="connsiteY5" fmla="*/ 11745 h 153409"/>
                    <a:gd name="connsiteX6" fmla="*/ 169469 w 234119"/>
                    <a:gd name="connsiteY6" fmla="*/ 16402 h 153409"/>
                    <a:gd name="connsiteX7" fmla="*/ 175431 w 234119"/>
                    <a:gd name="connsiteY7" fmla="*/ 23508 h 153409"/>
                    <a:gd name="connsiteX8" fmla="*/ 173984 w 234119"/>
                    <a:gd name="connsiteY8" fmla="*/ 26813 h 153409"/>
                    <a:gd name="connsiteX9" fmla="*/ 179098 w 234119"/>
                    <a:gd name="connsiteY9" fmla="*/ 32442 h 153409"/>
                    <a:gd name="connsiteX10" fmla="*/ 176860 w 234119"/>
                    <a:gd name="connsiteY10" fmla="*/ 42148 h 153409"/>
                    <a:gd name="connsiteX11" fmla="*/ 183413 w 234119"/>
                    <a:gd name="connsiteY11" fmla="*/ 45968 h 153409"/>
                    <a:gd name="connsiteX12" fmla="*/ 186576 w 234119"/>
                    <a:gd name="connsiteY12" fmla="*/ 47444 h 153409"/>
                    <a:gd name="connsiteX13" fmla="*/ 186061 w 234119"/>
                    <a:gd name="connsiteY13" fmla="*/ 51226 h 153409"/>
                    <a:gd name="connsiteX14" fmla="*/ 197310 w 234119"/>
                    <a:gd name="connsiteY14" fmla="*/ 61760 h 153409"/>
                    <a:gd name="connsiteX15" fmla="*/ 207016 w 234119"/>
                    <a:gd name="connsiteY15" fmla="*/ 65761 h 153409"/>
                    <a:gd name="connsiteX16" fmla="*/ 208464 w 234119"/>
                    <a:gd name="connsiteY16" fmla="*/ 70819 h 153409"/>
                    <a:gd name="connsiteX17" fmla="*/ 210721 w 234119"/>
                    <a:gd name="connsiteY17" fmla="*/ 74038 h 153409"/>
                    <a:gd name="connsiteX18" fmla="*/ 219199 w 234119"/>
                    <a:gd name="connsiteY18" fmla="*/ 74391 h 153409"/>
                    <a:gd name="connsiteX19" fmla="*/ 227628 w 234119"/>
                    <a:gd name="connsiteY19" fmla="*/ 81763 h 153409"/>
                    <a:gd name="connsiteX20" fmla="*/ 233591 w 234119"/>
                    <a:gd name="connsiteY20" fmla="*/ 88640 h 153409"/>
                    <a:gd name="connsiteX21" fmla="*/ 220485 w 234119"/>
                    <a:gd name="connsiteY21" fmla="*/ 96193 h 153409"/>
                    <a:gd name="connsiteX22" fmla="*/ 203597 w 234119"/>
                    <a:gd name="connsiteY22" fmla="*/ 92802 h 153409"/>
                    <a:gd name="connsiteX23" fmla="*/ 206626 w 234119"/>
                    <a:gd name="connsiteY23" fmla="*/ 103366 h 153409"/>
                    <a:gd name="connsiteX24" fmla="*/ 212674 w 234119"/>
                    <a:gd name="connsiteY24" fmla="*/ 115415 h 153409"/>
                    <a:gd name="connsiteX25" fmla="*/ 219961 w 234119"/>
                    <a:gd name="connsiteY25" fmla="*/ 127302 h 153409"/>
                    <a:gd name="connsiteX26" fmla="*/ 194843 w 234119"/>
                    <a:gd name="connsiteY26" fmla="*/ 135074 h 153409"/>
                    <a:gd name="connsiteX27" fmla="*/ 193853 w 234119"/>
                    <a:gd name="connsiteY27" fmla="*/ 146209 h 153409"/>
                    <a:gd name="connsiteX28" fmla="*/ 192614 w 234119"/>
                    <a:gd name="connsiteY28" fmla="*/ 153410 h 153409"/>
                    <a:gd name="connsiteX29" fmla="*/ 182651 w 234119"/>
                    <a:gd name="connsiteY29" fmla="*/ 146895 h 153409"/>
                    <a:gd name="connsiteX30" fmla="*/ 167983 w 234119"/>
                    <a:gd name="connsiteY30" fmla="*/ 148305 h 153409"/>
                    <a:gd name="connsiteX31" fmla="*/ 162325 w 234119"/>
                    <a:gd name="connsiteY31" fmla="*/ 149467 h 153409"/>
                    <a:gd name="connsiteX32" fmla="*/ 157381 w 234119"/>
                    <a:gd name="connsiteY32" fmla="*/ 143713 h 153409"/>
                    <a:gd name="connsiteX33" fmla="*/ 151838 w 234119"/>
                    <a:gd name="connsiteY33" fmla="*/ 144123 h 153409"/>
                    <a:gd name="connsiteX34" fmla="*/ 145332 w 234119"/>
                    <a:gd name="connsiteY34" fmla="*/ 147885 h 153409"/>
                    <a:gd name="connsiteX35" fmla="*/ 141122 w 234119"/>
                    <a:gd name="connsiteY35" fmla="*/ 144275 h 153409"/>
                    <a:gd name="connsiteX36" fmla="*/ 132654 w 234119"/>
                    <a:gd name="connsiteY36" fmla="*/ 143047 h 153409"/>
                    <a:gd name="connsiteX37" fmla="*/ 123720 w 234119"/>
                    <a:gd name="connsiteY37" fmla="*/ 143332 h 153409"/>
                    <a:gd name="connsiteX38" fmla="*/ 121386 w 234119"/>
                    <a:gd name="connsiteY38" fmla="*/ 146790 h 153409"/>
                    <a:gd name="connsiteX39" fmla="*/ 118338 w 234119"/>
                    <a:gd name="connsiteY39" fmla="*/ 143504 h 153409"/>
                    <a:gd name="connsiteX40" fmla="*/ 108594 w 234119"/>
                    <a:gd name="connsiteY40" fmla="*/ 142675 h 153409"/>
                    <a:gd name="connsiteX41" fmla="*/ 103622 w 234119"/>
                    <a:gd name="connsiteY41" fmla="*/ 138170 h 153409"/>
                    <a:gd name="connsiteX42" fmla="*/ 94993 w 234119"/>
                    <a:gd name="connsiteY42" fmla="*/ 137713 h 153409"/>
                    <a:gd name="connsiteX43" fmla="*/ 67608 w 234119"/>
                    <a:gd name="connsiteY43" fmla="*/ 132893 h 153409"/>
                    <a:gd name="connsiteX44" fmla="*/ 48358 w 234119"/>
                    <a:gd name="connsiteY44" fmla="*/ 133303 h 153409"/>
                    <a:gd name="connsiteX45" fmla="*/ 33004 w 234119"/>
                    <a:gd name="connsiteY45" fmla="*/ 134674 h 153409"/>
                    <a:gd name="connsiteX46" fmla="*/ 22803 w 234119"/>
                    <a:gd name="connsiteY46" fmla="*/ 142961 h 153409"/>
                    <a:gd name="connsiteX47" fmla="*/ 15526 w 234119"/>
                    <a:gd name="connsiteY47" fmla="*/ 145685 h 153409"/>
                    <a:gd name="connsiteX48" fmla="*/ 11687 w 234119"/>
                    <a:gd name="connsiteY48" fmla="*/ 126959 h 153409"/>
                    <a:gd name="connsiteX49" fmla="*/ 5486 w 234119"/>
                    <a:gd name="connsiteY49" fmla="*/ 114243 h 153409"/>
                    <a:gd name="connsiteX50" fmla="*/ 14878 w 234119"/>
                    <a:gd name="connsiteY50" fmla="*/ 98136 h 153409"/>
                    <a:gd name="connsiteX51" fmla="*/ 0 w 234119"/>
                    <a:gd name="connsiteY51" fmla="*/ 69399 h 153409"/>
                    <a:gd name="connsiteX52" fmla="*/ 17612 w 234119"/>
                    <a:gd name="connsiteY52" fmla="*/ 69066 h 153409"/>
                    <a:gd name="connsiteX53" fmla="*/ 24908 w 234119"/>
                    <a:gd name="connsiteY53" fmla="*/ 69657 h 153409"/>
                    <a:gd name="connsiteX54" fmla="*/ 32309 w 234119"/>
                    <a:gd name="connsiteY54" fmla="*/ 67561 h 153409"/>
                    <a:gd name="connsiteX55" fmla="*/ 33023 w 234119"/>
                    <a:gd name="connsiteY55" fmla="*/ 63342 h 153409"/>
                    <a:gd name="connsiteX56" fmla="*/ 36814 w 234119"/>
                    <a:gd name="connsiteY56" fmla="*/ 63208 h 153409"/>
                    <a:gd name="connsiteX57" fmla="*/ 44329 w 234119"/>
                    <a:gd name="connsiteY57" fmla="*/ 59589 h 153409"/>
                    <a:gd name="connsiteX58" fmla="*/ 49530 w 234119"/>
                    <a:gd name="connsiteY58" fmla="*/ 60722 h 153409"/>
                    <a:gd name="connsiteX59" fmla="*/ 53778 w 234119"/>
                    <a:gd name="connsiteY59" fmla="*/ 63075 h 153409"/>
                    <a:gd name="connsiteX60" fmla="*/ 49358 w 234119"/>
                    <a:gd name="connsiteY60" fmla="*/ 57055 h 153409"/>
                    <a:gd name="connsiteX61" fmla="*/ 52244 w 234119"/>
                    <a:gd name="connsiteY61" fmla="*/ 49959 h 153409"/>
                    <a:gd name="connsiteX62" fmla="*/ 52083 w 234119"/>
                    <a:gd name="connsiteY62" fmla="*/ 42206 h 153409"/>
                    <a:gd name="connsiteX63" fmla="*/ 59284 w 234119"/>
                    <a:gd name="connsiteY63" fmla="*/ 37205 h 153409"/>
                    <a:gd name="connsiteX64" fmla="*/ 62093 w 234119"/>
                    <a:gd name="connsiteY64" fmla="*/ 32633 h 153409"/>
                    <a:gd name="connsiteX65" fmla="*/ 70066 w 234119"/>
                    <a:gd name="connsiteY65" fmla="*/ 31880 h 153409"/>
                    <a:gd name="connsiteX66" fmla="*/ 74333 w 234119"/>
                    <a:gd name="connsiteY66" fmla="*/ 27404 h 153409"/>
                    <a:gd name="connsiteX67" fmla="*/ 67227 w 234119"/>
                    <a:gd name="connsiteY67" fmla="*/ 20346 h 153409"/>
                    <a:gd name="connsiteX68" fmla="*/ 74743 w 234119"/>
                    <a:gd name="connsiteY68" fmla="*/ 11249 h 153409"/>
                    <a:gd name="connsiteX69" fmla="*/ 91097 w 234119"/>
                    <a:gd name="connsiteY69" fmla="*/ 10516 h 153409"/>
                    <a:gd name="connsiteX70" fmla="*/ 94888 w 234119"/>
                    <a:gd name="connsiteY70" fmla="*/ 4229 h 153409"/>
                    <a:gd name="connsiteX71" fmla="*/ 102698 w 234119"/>
                    <a:gd name="connsiteY71" fmla="*/ 0 h 153409"/>
                    <a:gd name="connsiteX72" fmla="*/ 102698 w 234119"/>
                    <a:gd name="connsiteY72" fmla="*/ 0 h 15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34119" h="153409">
                      <a:moveTo>
                        <a:pt x="102698" y="0"/>
                      </a:moveTo>
                      <a:cubicBezTo>
                        <a:pt x="106089" y="4106"/>
                        <a:pt x="110652" y="1248"/>
                        <a:pt x="115205" y="2563"/>
                      </a:cubicBezTo>
                      <a:cubicBezTo>
                        <a:pt x="117091" y="3105"/>
                        <a:pt x="117491" y="6058"/>
                        <a:pt x="119844" y="6306"/>
                      </a:cubicBezTo>
                      <a:cubicBezTo>
                        <a:pt x="121568" y="6487"/>
                        <a:pt x="124292" y="3858"/>
                        <a:pt x="126539" y="3858"/>
                      </a:cubicBezTo>
                      <a:cubicBezTo>
                        <a:pt x="132531" y="3858"/>
                        <a:pt x="132769" y="7211"/>
                        <a:pt x="134798" y="9706"/>
                      </a:cubicBezTo>
                      <a:cubicBezTo>
                        <a:pt x="138351" y="14088"/>
                        <a:pt x="138341" y="14135"/>
                        <a:pt x="144380" y="11745"/>
                      </a:cubicBezTo>
                      <a:cubicBezTo>
                        <a:pt x="154362" y="7801"/>
                        <a:pt x="160534" y="10868"/>
                        <a:pt x="169469" y="16402"/>
                      </a:cubicBezTo>
                      <a:cubicBezTo>
                        <a:pt x="174222" y="19346"/>
                        <a:pt x="173964" y="16574"/>
                        <a:pt x="175431" y="23508"/>
                      </a:cubicBezTo>
                      <a:cubicBezTo>
                        <a:pt x="175670" y="24670"/>
                        <a:pt x="173441" y="25251"/>
                        <a:pt x="173984" y="26813"/>
                      </a:cubicBezTo>
                      <a:cubicBezTo>
                        <a:pt x="174755" y="29080"/>
                        <a:pt x="178508" y="29966"/>
                        <a:pt x="179098" y="32442"/>
                      </a:cubicBezTo>
                      <a:cubicBezTo>
                        <a:pt x="179956" y="36014"/>
                        <a:pt x="175412" y="38586"/>
                        <a:pt x="176860" y="42148"/>
                      </a:cubicBezTo>
                      <a:cubicBezTo>
                        <a:pt x="177794" y="44425"/>
                        <a:pt x="181689" y="44482"/>
                        <a:pt x="183413" y="45968"/>
                      </a:cubicBezTo>
                      <a:cubicBezTo>
                        <a:pt x="184328" y="46759"/>
                        <a:pt x="185785" y="46501"/>
                        <a:pt x="186576" y="47444"/>
                      </a:cubicBezTo>
                      <a:cubicBezTo>
                        <a:pt x="187662" y="48740"/>
                        <a:pt x="185490" y="50521"/>
                        <a:pt x="186061" y="51226"/>
                      </a:cubicBezTo>
                      <a:cubicBezTo>
                        <a:pt x="188366" y="54026"/>
                        <a:pt x="193719" y="59465"/>
                        <a:pt x="197310" y="61760"/>
                      </a:cubicBezTo>
                      <a:cubicBezTo>
                        <a:pt x="199425" y="63113"/>
                        <a:pt x="205483" y="63827"/>
                        <a:pt x="207016" y="65761"/>
                      </a:cubicBezTo>
                      <a:cubicBezTo>
                        <a:pt x="208226" y="67294"/>
                        <a:pt x="207740" y="69847"/>
                        <a:pt x="208464" y="70819"/>
                      </a:cubicBezTo>
                      <a:cubicBezTo>
                        <a:pt x="210302" y="73267"/>
                        <a:pt x="207045" y="71971"/>
                        <a:pt x="210721" y="74038"/>
                      </a:cubicBezTo>
                      <a:cubicBezTo>
                        <a:pt x="212284" y="74924"/>
                        <a:pt x="217275" y="73952"/>
                        <a:pt x="219199" y="74391"/>
                      </a:cubicBezTo>
                      <a:cubicBezTo>
                        <a:pt x="226628" y="76105"/>
                        <a:pt x="223818" y="78610"/>
                        <a:pt x="227628" y="81763"/>
                      </a:cubicBezTo>
                      <a:cubicBezTo>
                        <a:pt x="232276" y="85621"/>
                        <a:pt x="235420" y="84220"/>
                        <a:pt x="233591" y="88640"/>
                      </a:cubicBezTo>
                      <a:cubicBezTo>
                        <a:pt x="232477" y="91316"/>
                        <a:pt x="223590" y="95984"/>
                        <a:pt x="220485" y="96193"/>
                      </a:cubicBezTo>
                      <a:cubicBezTo>
                        <a:pt x="215541" y="96536"/>
                        <a:pt x="208512" y="89583"/>
                        <a:pt x="203597" y="92802"/>
                      </a:cubicBezTo>
                      <a:cubicBezTo>
                        <a:pt x="197644" y="96708"/>
                        <a:pt x="203978" y="100556"/>
                        <a:pt x="206626" y="103366"/>
                      </a:cubicBezTo>
                      <a:cubicBezTo>
                        <a:pt x="210531" y="107509"/>
                        <a:pt x="210883" y="110643"/>
                        <a:pt x="212674" y="115415"/>
                      </a:cubicBezTo>
                      <a:cubicBezTo>
                        <a:pt x="214722" y="120873"/>
                        <a:pt x="217208" y="122206"/>
                        <a:pt x="219961" y="127302"/>
                      </a:cubicBezTo>
                      <a:cubicBezTo>
                        <a:pt x="210941" y="126664"/>
                        <a:pt x="200015" y="126645"/>
                        <a:pt x="194843" y="135074"/>
                      </a:cubicBezTo>
                      <a:cubicBezTo>
                        <a:pt x="192091" y="139570"/>
                        <a:pt x="192881" y="141856"/>
                        <a:pt x="193853" y="146209"/>
                      </a:cubicBezTo>
                      <a:cubicBezTo>
                        <a:pt x="194500" y="149076"/>
                        <a:pt x="197806" y="153400"/>
                        <a:pt x="192614" y="153410"/>
                      </a:cubicBezTo>
                      <a:cubicBezTo>
                        <a:pt x="188481" y="153419"/>
                        <a:pt x="186861" y="147847"/>
                        <a:pt x="182651" y="146895"/>
                      </a:cubicBezTo>
                      <a:cubicBezTo>
                        <a:pt x="178641" y="145980"/>
                        <a:pt x="172174" y="147952"/>
                        <a:pt x="167983" y="148305"/>
                      </a:cubicBezTo>
                      <a:cubicBezTo>
                        <a:pt x="165859" y="148486"/>
                        <a:pt x="164439" y="150200"/>
                        <a:pt x="162325" y="149467"/>
                      </a:cubicBezTo>
                      <a:cubicBezTo>
                        <a:pt x="159906" y="148619"/>
                        <a:pt x="159467" y="144733"/>
                        <a:pt x="157381" y="143713"/>
                      </a:cubicBezTo>
                      <a:cubicBezTo>
                        <a:pt x="154105" y="142094"/>
                        <a:pt x="155019" y="142723"/>
                        <a:pt x="151838" y="144123"/>
                      </a:cubicBezTo>
                      <a:cubicBezTo>
                        <a:pt x="149019" y="145352"/>
                        <a:pt x="147666" y="148047"/>
                        <a:pt x="145332" y="147885"/>
                      </a:cubicBezTo>
                      <a:cubicBezTo>
                        <a:pt x="144142" y="147800"/>
                        <a:pt x="142608" y="144933"/>
                        <a:pt x="141122" y="144275"/>
                      </a:cubicBezTo>
                      <a:cubicBezTo>
                        <a:pt x="139351" y="143485"/>
                        <a:pt x="134636" y="143152"/>
                        <a:pt x="132654" y="143047"/>
                      </a:cubicBezTo>
                      <a:cubicBezTo>
                        <a:pt x="130864" y="142951"/>
                        <a:pt x="125358" y="143018"/>
                        <a:pt x="123720" y="143332"/>
                      </a:cubicBezTo>
                      <a:cubicBezTo>
                        <a:pt x="122749" y="143513"/>
                        <a:pt x="122063" y="146885"/>
                        <a:pt x="121386" y="146790"/>
                      </a:cubicBezTo>
                      <a:cubicBezTo>
                        <a:pt x="118453" y="146400"/>
                        <a:pt x="120948" y="144285"/>
                        <a:pt x="118338" y="143504"/>
                      </a:cubicBezTo>
                      <a:cubicBezTo>
                        <a:pt x="115081" y="142532"/>
                        <a:pt x="111585" y="143904"/>
                        <a:pt x="108594" y="142675"/>
                      </a:cubicBezTo>
                      <a:cubicBezTo>
                        <a:pt x="106632" y="141875"/>
                        <a:pt x="105642" y="139027"/>
                        <a:pt x="103622" y="138170"/>
                      </a:cubicBezTo>
                      <a:cubicBezTo>
                        <a:pt x="101489" y="137284"/>
                        <a:pt x="97307" y="137970"/>
                        <a:pt x="94993" y="137713"/>
                      </a:cubicBezTo>
                      <a:cubicBezTo>
                        <a:pt x="85706" y="136684"/>
                        <a:pt x="77057" y="133474"/>
                        <a:pt x="67608" y="132893"/>
                      </a:cubicBezTo>
                      <a:cubicBezTo>
                        <a:pt x="61074" y="132493"/>
                        <a:pt x="54788" y="132617"/>
                        <a:pt x="48358" y="133303"/>
                      </a:cubicBezTo>
                      <a:cubicBezTo>
                        <a:pt x="44415" y="133722"/>
                        <a:pt x="36461" y="132731"/>
                        <a:pt x="33004" y="134674"/>
                      </a:cubicBezTo>
                      <a:cubicBezTo>
                        <a:pt x="28832" y="137017"/>
                        <a:pt x="28394" y="142266"/>
                        <a:pt x="22803" y="142961"/>
                      </a:cubicBezTo>
                      <a:cubicBezTo>
                        <a:pt x="20069" y="143304"/>
                        <a:pt x="13478" y="139256"/>
                        <a:pt x="15526" y="145685"/>
                      </a:cubicBezTo>
                      <a:cubicBezTo>
                        <a:pt x="9973" y="139884"/>
                        <a:pt x="17488" y="132655"/>
                        <a:pt x="11687" y="126959"/>
                      </a:cubicBezTo>
                      <a:cubicBezTo>
                        <a:pt x="6696" y="122063"/>
                        <a:pt x="-5544" y="123139"/>
                        <a:pt x="5486" y="114243"/>
                      </a:cubicBezTo>
                      <a:cubicBezTo>
                        <a:pt x="13706" y="107604"/>
                        <a:pt x="19612" y="110690"/>
                        <a:pt x="14878" y="98136"/>
                      </a:cubicBezTo>
                      <a:cubicBezTo>
                        <a:pt x="11096" y="88087"/>
                        <a:pt x="4296" y="79324"/>
                        <a:pt x="0" y="69399"/>
                      </a:cubicBezTo>
                      <a:cubicBezTo>
                        <a:pt x="5791" y="71371"/>
                        <a:pt x="11706" y="68828"/>
                        <a:pt x="17612" y="69066"/>
                      </a:cubicBezTo>
                      <a:cubicBezTo>
                        <a:pt x="20279" y="69171"/>
                        <a:pt x="21593" y="69952"/>
                        <a:pt x="24908" y="69657"/>
                      </a:cubicBezTo>
                      <a:cubicBezTo>
                        <a:pt x="26432" y="69523"/>
                        <a:pt x="31318" y="68180"/>
                        <a:pt x="32309" y="67561"/>
                      </a:cubicBezTo>
                      <a:cubicBezTo>
                        <a:pt x="33194" y="67018"/>
                        <a:pt x="31737" y="64075"/>
                        <a:pt x="33023" y="63342"/>
                      </a:cubicBezTo>
                      <a:cubicBezTo>
                        <a:pt x="34119" y="62713"/>
                        <a:pt x="35909" y="63789"/>
                        <a:pt x="36814" y="63208"/>
                      </a:cubicBezTo>
                      <a:cubicBezTo>
                        <a:pt x="38700" y="62018"/>
                        <a:pt x="41958" y="60065"/>
                        <a:pt x="44329" y="59589"/>
                      </a:cubicBezTo>
                      <a:cubicBezTo>
                        <a:pt x="48435" y="58770"/>
                        <a:pt x="46568" y="59617"/>
                        <a:pt x="49530" y="60722"/>
                      </a:cubicBezTo>
                      <a:cubicBezTo>
                        <a:pt x="49616" y="60751"/>
                        <a:pt x="50139" y="64875"/>
                        <a:pt x="53778" y="63075"/>
                      </a:cubicBezTo>
                      <a:cubicBezTo>
                        <a:pt x="60055" y="59970"/>
                        <a:pt x="49873" y="58436"/>
                        <a:pt x="49358" y="57055"/>
                      </a:cubicBezTo>
                      <a:cubicBezTo>
                        <a:pt x="48492" y="54750"/>
                        <a:pt x="51863" y="51826"/>
                        <a:pt x="52244" y="49959"/>
                      </a:cubicBezTo>
                      <a:cubicBezTo>
                        <a:pt x="52778" y="47406"/>
                        <a:pt x="51102" y="45044"/>
                        <a:pt x="52083" y="42206"/>
                      </a:cubicBezTo>
                      <a:cubicBezTo>
                        <a:pt x="53769" y="37367"/>
                        <a:pt x="56302" y="39758"/>
                        <a:pt x="59284" y="37205"/>
                      </a:cubicBezTo>
                      <a:cubicBezTo>
                        <a:pt x="59931" y="36643"/>
                        <a:pt x="61931" y="32709"/>
                        <a:pt x="62093" y="32633"/>
                      </a:cubicBezTo>
                      <a:cubicBezTo>
                        <a:pt x="64389" y="31461"/>
                        <a:pt x="67523" y="32852"/>
                        <a:pt x="70066" y="31880"/>
                      </a:cubicBezTo>
                      <a:cubicBezTo>
                        <a:pt x="71190" y="31452"/>
                        <a:pt x="72771" y="28632"/>
                        <a:pt x="74333" y="27404"/>
                      </a:cubicBezTo>
                      <a:cubicBezTo>
                        <a:pt x="67694" y="23832"/>
                        <a:pt x="66742" y="28366"/>
                        <a:pt x="67227" y="20346"/>
                      </a:cubicBezTo>
                      <a:cubicBezTo>
                        <a:pt x="67523" y="15288"/>
                        <a:pt x="69923" y="12916"/>
                        <a:pt x="74743" y="11249"/>
                      </a:cubicBezTo>
                      <a:cubicBezTo>
                        <a:pt x="79162" y="9716"/>
                        <a:pt x="87135" y="12735"/>
                        <a:pt x="91097" y="10516"/>
                      </a:cubicBezTo>
                      <a:cubicBezTo>
                        <a:pt x="91202" y="10459"/>
                        <a:pt x="94040" y="5134"/>
                        <a:pt x="94888" y="4229"/>
                      </a:cubicBezTo>
                      <a:cubicBezTo>
                        <a:pt x="97088" y="1896"/>
                        <a:pt x="99355" y="-28"/>
                        <a:pt x="102698" y="0"/>
                      </a:cubicBezTo>
                      <a:lnTo>
                        <a:pt x="102698" y="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85" name="Freeform: Shape 684">
                  <a:extLst>
                    <a:ext uri="{FF2B5EF4-FFF2-40B4-BE49-F238E27FC236}">
                      <a16:creationId xmlns:a16="http://schemas.microsoft.com/office/drawing/2014/main" id="{2B90879B-E9B8-442D-9517-B95008AC066E}"/>
                    </a:ext>
                  </a:extLst>
                </p:cNvPr>
                <p:cNvSpPr/>
                <p:nvPr/>
              </p:nvSpPr>
              <p:spPr>
                <a:xfrm>
                  <a:off x="6016607" y="2938679"/>
                  <a:ext cx="106654" cy="85587"/>
                </a:xfrm>
                <a:custGeom>
                  <a:avLst/>
                  <a:gdLst>
                    <a:gd name="connsiteX0" fmla="*/ 30957 w 106654"/>
                    <a:gd name="connsiteY0" fmla="*/ 0 h 85587"/>
                    <a:gd name="connsiteX1" fmla="*/ 52998 w 106654"/>
                    <a:gd name="connsiteY1" fmla="*/ 4372 h 85587"/>
                    <a:gd name="connsiteX2" fmla="*/ 58218 w 106654"/>
                    <a:gd name="connsiteY2" fmla="*/ 5763 h 85587"/>
                    <a:gd name="connsiteX3" fmla="*/ 63161 w 106654"/>
                    <a:gd name="connsiteY3" fmla="*/ 4810 h 85587"/>
                    <a:gd name="connsiteX4" fmla="*/ 73696 w 106654"/>
                    <a:gd name="connsiteY4" fmla="*/ 6010 h 85587"/>
                    <a:gd name="connsiteX5" fmla="*/ 82231 w 106654"/>
                    <a:gd name="connsiteY5" fmla="*/ 10878 h 85587"/>
                    <a:gd name="connsiteX6" fmla="*/ 91727 w 106654"/>
                    <a:gd name="connsiteY6" fmla="*/ 11897 h 85587"/>
                    <a:gd name="connsiteX7" fmla="*/ 93480 w 106654"/>
                    <a:gd name="connsiteY7" fmla="*/ 29099 h 85587"/>
                    <a:gd name="connsiteX8" fmla="*/ 103566 w 106654"/>
                    <a:gd name="connsiteY8" fmla="*/ 36043 h 85587"/>
                    <a:gd name="connsiteX9" fmla="*/ 102328 w 106654"/>
                    <a:gd name="connsiteY9" fmla="*/ 40805 h 85587"/>
                    <a:gd name="connsiteX10" fmla="*/ 101957 w 106654"/>
                    <a:gd name="connsiteY10" fmla="*/ 45129 h 85587"/>
                    <a:gd name="connsiteX11" fmla="*/ 104643 w 106654"/>
                    <a:gd name="connsiteY11" fmla="*/ 53931 h 85587"/>
                    <a:gd name="connsiteX12" fmla="*/ 97623 w 106654"/>
                    <a:gd name="connsiteY12" fmla="*/ 54816 h 85587"/>
                    <a:gd name="connsiteX13" fmla="*/ 91917 w 106654"/>
                    <a:gd name="connsiteY13" fmla="*/ 56483 h 85587"/>
                    <a:gd name="connsiteX14" fmla="*/ 94737 w 106654"/>
                    <a:gd name="connsiteY14" fmla="*/ 62465 h 85587"/>
                    <a:gd name="connsiteX15" fmla="*/ 91527 w 106654"/>
                    <a:gd name="connsiteY15" fmla="*/ 60874 h 85587"/>
                    <a:gd name="connsiteX16" fmla="*/ 84478 w 106654"/>
                    <a:gd name="connsiteY16" fmla="*/ 66865 h 85587"/>
                    <a:gd name="connsiteX17" fmla="*/ 84336 w 106654"/>
                    <a:gd name="connsiteY17" fmla="*/ 67742 h 85587"/>
                    <a:gd name="connsiteX18" fmla="*/ 84726 w 106654"/>
                    <a:gd name="connsiteY18" fmla="*/ 70790 h 85587"/>
                    <a:gd name="connsiteX19" fmla="*/ 82049 w 106654"/>
                    <a:gd name="connsiteY19" fmla="*/ 71161 h 85587"/>
                    <a:gd name="connsiteX20" fmla="*/ 80592 w 106654"/>
                    <a:gd name="connsiteY20" fmla="*/ 75543 h 85587"/>
                    <a:gd name="connsiteX21" fmla="*/ 81678 w 106654"/>
                    <a:gd name="connsiteY21" fmla="*/ 85392 h 85587"/>
                    <a:gd name="connsiteX22" fmla="*/ 69515 w 106654"/>
                    <a:gd name="connsiteY22" fmla="*/ 79629 h 85587"/>
                    <a:gd name="connsiteX23" fmla="*/ 56713 w 106654"/>
                    <a:gd name="connsiteY23" fmla="*/ 73638 h 85587"/>
                    <a:gd name="connsiteX24" fmla="*/ 48417 w 106654"/>
                    <a:gd name="connsiteY24" fmla="*/ 62932 h 85587"/>
                    <a:gd name="connsiteX25" fmla="*/ 46198 w 106654"/>
                    <a:gd name="connsiteY25" fmla="*/ 57255 h 85587"/>
                    <a:gd name="connsiteX26" fmla="*/ 38520 w 106654"/>
                    <a:gd name="connsiteY26" fmla="*/ 53321 h 85587"/>
                    <a:gd name="connsiteX27" fmla="*/ 13041 w 106654"/>
                    <a:gd name="connsiteY27" fmla="*/ 27165 h 85587"/>
                    <a:gd name="connsiteX28" fmla="*/ 801 w 106654"/>
                    <a:gd name="connsiteY28" fmla="*/ 16050 h 85587"/>
                    <a:gd name="connsiteX29" fmla="*/ 3059 w 106654"/>
                    <a:gd name="connsiteY29" fmla="*/ 1981 h 85587"/>
                    <a:gd name="connsiteX30" fmla="*/ 15908 w 106654"/>
                    <a:gd name="connsiteY30" fmla="*/ 7630 h 85587"/>
                    <a:gd name="connsiteX31" fmla="*/ 20737 w 106654"/>
                    <a:gd name="connsiteY31" fmla="*/ 1867 h 85587"/>
                    <a:gd name="connsiteX32" fmla="*/ 30957 w 106654"/>
                    <a:gd name="connsiteY32" fmla="*/ 0 h 85587"/>
                    <a:gd name="connsiteX33" fmla="*/ 30957 w 106654"/>
                    <a:gd name="connsiteY33" fmla="*/ 0 h 85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6654" h="85587">
                      <a:moveTo>
                        <a:pt x="30957" y="0"/>
                      </a:moveTo>
                      <a:cubicBezTo>
                        <a:pt x="38511" y="4239"/>
                        <a:pt x="45397" y="4115"/>
                        <a:pt x="52998" y="4372"/>
                      </a:cubicBezTo>
                      <a:cubicBezTo>
                        <a:pt x="54284" y="4410"/>
                        <a:pt x="56694" y="5639"/>
                        <a:pt x="58218" y="5763"/>
                      </a:cubicBezTo>
                      <a:cubicBezTo>
                        <a:pt x="58694" y="5801"/>
                        <a:pt x="62628" y="4877"/>
                        <a:pt x="63161" y="4810"/>
                      </a:cubicBezTo>
                      <a:cubicBezTo>
                        <a:pt x="67048" y="4343"/>
                        <a:pt x="69943" y="5115"/>
                        <a:pt x="73696" y="6010"/>
                      </a:cubicBezTo>
                      <a:cubicBezTo>
                        <a:pt x="78821" y="7239"/>
                        <a:pt x="78925" y="8811"/>
                        <a:pt x="82231" y="10878"/>
                      </a:cubicBezTo>
                      <a:cubicBezTo>
                        <a:pt x="86374" y="13478"/>
                        <a:pt x="87536" y="11754"/>
                        <a:pt x="91727" y="11897"/>
                      </a:cubicBezTo>
                      <a:cubicBezTo>
                        <a:pt x="105624" y="12373"/>
                        <a:pt x="90098" y="21288"/>
                        <a:pt x="93480" y="29099"/>
                      </a:cubicBezTo>
                      <a:cubicBezTo>
                        <a:pt x="94775" y="32090"/>
                        <a:pt x="101090" y="33538"/>
                        <a:pt x="103566" y="36043"/>
                      </a:cubicBezTo>
                      <a:cubicBezTo>
                        <a:pt x="109196" y="41767"/>
                        <a:pt x="106119" y="37652"/>
                        <a:pt x="102328" y="40805"/>
                      </a:cubicBezTo>
                      <a:cubicBezTo>
                        <a:pt x="99080" y="43501"/>
                        <a:pt x="97404" y="38367"/>
                        <a:pt x="101957" y="45129"/>
                      </a:cubicBezTo>
                      <a:cubicBezTo>
                        <a:pt x="104414" y="48797"/>
                        <a:pt x="107805" y="50482"/>
                        <a:pt x="104643" y="53931"/>
                      </a:cubicBezTo>
                      <a:cubicBezTo>
                        <a:pt x="105919" y="52540"/>
                        <a:pt x="96737" y="54978"/>
                        <a:pt x="97623" y="54816"/>
                      </a:cubicBezTo>
                      <a:cubicBezTo>
                        <a:pt x="94775" y="55350"/>
                        <a:pt x="92698" y="53959"/>
                        <a:pt x="91917" y="56483"/>
                      </a:cubicBezTo>
                      <a:cubicBezTo>
                        <a:pt x="91413" y="58112"/>
                        <a:pt x="96061" y="59912"/>
                        <a:pt x="94737" y="62465"/>
                      </a:cubicBezTo>
                      <a:cubicBezTo>
                        <a:pt x="93927" y="64037"/>
                        <a:pt x="92184" y="60503"/>
                        <a:pt x="91527" y="60874"/>
                      </a:cubicBezTo>
                      <a:cubicBezTo>
                        <a:pt x="88241" y="62770"/>
                        <a:pt x="86745" y="63570"/>
                        <a:pt x="84478" y="66865"/>
                      </a:cubicBezTo>
                      <a:cubicBezTo>
                        <a:pt x="84298" y="67113"/>
                        <a:pt x="84507" y="67523"/>
                        <a:pt x="84336" y="67742"/>
                      </a:cubicBezTo>
                      <a:cubicBezTo>
                        <a:pt x="84459" y="68761"/>
                        <a:pt x="84583" y="69780"/>
                        <a:pt x="84726" y="70790"/>
                      </a:cubicBezTo>
                      <a:cubicBezTo>
                        <a:pt x="83840" y="70990"/>
                        <a:pt x="82945" y="71114"/>
                        <a:pt x="82049" y="71161"/>
                      </a:cubicBezTo>
                      <a:cubicBezTo>
                        <a:pt x="81183" y="73428"/>
                        <a:pt x="80545" y="71285"/>
                        <a:pt x="80592" y="75543"/>
                      </a:cubicBezTo>
                      <a:cubicBezTo>
                        <a:pt x="80630" y="79191"/>
                        <a:pt x="86898" y="82953"/>
                        <a:pt x="81678" y="85392"/>
                      </a:cubicBezTo>
                      <a:cubicBezTo>
                        <a:pt x="78859" y="86716"/>
                        <a:pt x="71629" y="80934"/>
                        <a:pt x="69515" y="79629"/>
                      </a:cubicBezTo>
                      <a:cubicBezTo>
                        <a:pt x="64609" y="76610"/>
                        <a:pt x="61190" y="75819"/>
                        <a:pt x="56713" y="73638"/>
                      </a:cubicBezTo>
                      <a:cubicBezTo>
                        <a:pt x="61542" y="70266"/>
                        <a:pt x="50760" y="66218"/>
                        <a:pt x="48417" y="62932"/>
                      </a:cubicBezTo>
                      <a:cubicBezTo>
                        <a:pt x="47312" y="61370"/>
                        <a:pt x="47340" y="58283"/>
                        <a:pt x="46198" y="57255"/>
                      </a:cubicBezTo>
                      <a:cubicBezTo>
                        <a:pt x="44407" y="55664"/>
                        <a:pt x="40711" y="54702"/>
                        <a:pt x="38520" y="53321"/>
                      </a:cubicBezTo>
                      <a:cubicBezTo>
                        <a:pt x="27976" y="46663"/>
                        <a:pt x="19070" y="37490"/>
                        <a:pt x="13041" y="27165"/>
                      </a:cubicBezTo>
                      <a:cubicBezTo>
                        <a:pt x="10412" y="22650"/>
                        <a:pt x="2887" y="20260"/>
                        <a:pt x="801" y="16050"/>
                      </a:cubicBezTo>
                      <a:cubicBezTo>
                        <a:pt x="-789" y="12840"/>
                        <a:pt x="1" y="3267"/>
                        <a:pt x="3059" y="1981"/>
                      </a:cubicBezTo>
                      <a:cubicBezTo>
                        <a:pt x="8202" y="-171"/>
                        <a:pt x="10983" y="9163"/>
                        <a:pt x="15908" y="7630"/>
                      </a:cubicBezTo>
                      <a:cubicBezTo>
                        <a:pt x="18127" y="6934"/>
                        <a:pt x="18451" y="2905"/>
                        <a:pt x="20737" y="1867"/>
                      </a:cubicBezTo>
                      <a:cubicBezTo>
                        <a:pt x="24804" y="38"/>
                        <a:pt x="27281" y="4496"/>
                        <a:pt x="30957" y="0"/>
                      </a:cubicBezTo>
                      <a:lnTo>
                        <a:pt x="30957" y="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86" name="Freeform: Shape 685">
                  <a:extLst>
                    <a:ext uri="{FF2B5EF4-FFF2-40B4-BE49-F238E27FC236}">
                      <a16:creationId xmlns:a16="http://schemas.microsoft.com/office/drawing/2014/main" id="{9F14CB0B-E322-4D5F-A598-5247D2B27AE0}"/>
                    </a:ext>
                  </a:extLst>
                </p:cNvPr>
                <p:cNvSpPr/>
                <p:nvPr/>
              </p:nvSpPr>
              <p:spPr>
                <a:xfrm>
                  <a:off x="6200230" y="2971415"/>
                  <a:ext cx="169720" cy="93981"/>
                </a:xfrm>
                <a:custGeom>
                  <a:avLst/>
                  <a:gdLst>
                    <a:gd name="connsiteX0" fmla="*/ 168842 w 169720"/>
                    <a:gd name="connsiteY0" fmla="*/ 15594 h 93981"/>
                    <a:gd name="connsiteX1" fmla="*/ 169508 w 169720"/>
                    <a:gd name="connsiteY1" fmla="*/ 23185 h 93981"/>
                    <a:gd name="connsiteX2" fmla="*/ 164403 w 169720"/>
                    <a:gd name="connsiteY2" fmla="*/ 25833 h 93981"/>
                    <a:gd name="connsiteX3" fmla="*/ 154811 w 169720"/>
                    <a:gd name="connsiteY3" fmla="*/ 32063 h 93981"/>
                    <a:gd name="connsiteX4" fmla="*/ 155144 w 169720"/>
                    <a:gd name="connsiteY4" fmla="*/ 46864 h 93981"/>
                    <a:gd name="connsiteX5" fmla="*/ 151230 w 169720"/>
                    <a:gd name="connsiteY5" fmla="*/ 48779 h 93981"/>
                    <a:gd name="connsiteX6" fmla="*/ 145543 w 169720"/>
                    <a:gd name="connsiteY6" fmla="*/ 55732 h 93981"/>
                    <a:gd name="connsiteX7" fmla="*/ 162631 w 169720"/>
                    <a:gd name="connsiteY7" fmla="*/ 71448 h 93981"/>
                    <a:gd name="connsiteX8" fmla="*/ 150296 w 169720"/>
                    <a:gd name="connsiteY8" fmla="*/ 72782 h 93981"/>
                    <a:gd name="connsiteX9" fmla="*/ 137095 w 169720"/>
                    <a:gd name="connsiteY9" fmla="*/ 68343 h 93981"/>
                    <a:gd name="connsiteX10" fmla="*/ 123341 w 169720"/>
                    <a:gd name="connsiteY10" fmla="*/ 72115 h 93981"/>
                    <a:gd name="connsiteX11" fmla="*/ 122607 w 169720"/>
                    <a:gd name="connsiteY11" fmla="*/ 74516 h 93981"/>
                    <a:gd name="connsiteX12" fmla="*/ 119073 w 169720"/>
                    <a:gd name="connsiteY12" fmla="*/ 76525 h 93981"/>
                    <a:gd name="connsiteX13" fmla="*/ 117340 w 169720"/>
                    <a:gd name="connsiteY13" fmla="*/ 79411 h 93981"/>
                    <a:gd name="connsiteX14" fmla="*/ 112758 w 169720"/>
                    <a:gd name="connsiteY14" fmla="*/ 84183 h 93981"/>
                    <a:gd name="connsiteX15" fmla="*/ 105434 w 169720"/>
                    <a:gd name="connsiteY15" fmla="*/ 91718 h 93981"/>
                    <a:gd name="connsiteX16" fmla="*/ 91861 w 169720"/>
                    <a:gd name="connsiteY16" fmla="*/ 93975 h 93981"/>
                    <a:gd name="connsiteX17" fmla="*/ 77287 w 169720"/>
                    <a:gd name="connsiteY17" fmla="*/ 90060 h 93981"/>
                    <a:gd name="connsiteX18" fmla="*/ 67648 w 169720"/>
                    <a:gd name="connsiteY18" fmla="*/ 84488 h 93981"/>
                    <a:gd name="connsiteX19" fmla="*/ 60666 w 169720"/>
                    <a:gd name="connsiteY19" fmla="*/ 85260 h 93981"/>
                    <a:gd name="connsiteX20" fmla="*/ 55885 w 169720"/>
                    <a:gd name="connsiteY20" fmla="*/ 85374 h 93981"/>
                    <a:gd name="connsiteX21" fmla="*/ 54932 w 169720"/>
                    <a:gd name="connsiteY21" fmla="*/ 87489 h 93981"/>
                    <a:gd name="connsiteX22" fmla="*/ 39273 w 169720"/>
                    <a:gd name="connsiteY22" fmla="*/ 89422 h 93981"/>
                    <a:gd name="connsiteX23" fmla="*/ 25271 w 169720"/>
                    <a:gd name="connsiteY23" fmla="*/ 91384 h 93981"/>
                    <a:gd name="connsiteX24" fmla="*/ 22795 w 169720"/>
                    <a:gd name="connsiteY24" fmla="*/ 75287 h 93981"/>
                    <a:gd name="connsiteX25" fmla="*/ 5497 w 169720"/>
                    <a:gd name="connsiteY25" fmla="*/ 60590 h 93981"/>
                    <a:gd name="connsiteX26" fmla="*/ 6650 w 169720"/>
                    <a:gd name="connsiteY26" fmla="*/ 43969 h 93981"/>
                    <a:gd name="connsiteX27" fmla="*/ 10022 w 169720"/>
                    <a:gd name="connsiteY27" fmla="*/ 42769 h 93981"/>
                    <a:gd name="connsiteX28" fmla="*/ 15137 w 169720"/>
                    <a:gd name="connsiteY28" fmla="*/ 39378 h 93981"/>
                    <a:gd name="connsiteX29" fmla="*/ 18175 w 169720"/>
                    <a:gd name="connsiteY29" fmla="*/ 32472 h 93981"/>
                    <a:gd name="connsiteX30" fmla="*/ 7555 w 169720"/>
                    <a:gd name="connsiteY30" fmla="*/ 25224 h 93981"/>
                    <a:gd name="connsiteX31" fmla="*/ 678 w 169720"/>
                    <a:gd name="connsiteY31" fmla="*/ 15670 h 93981"/>
                    <a:gd name="connsiteX32" fmla="*/ 1697 w 169720"/>
                    <a:gd name="connsiteY32" fmla="*/ 6888 h 93981"/>
                    <a:gd name="connsiteX33" fmla="*/ 4745 w 169720"/>
                    <a:gd name="connsiteY33" fmla="*/ 2773 h 93981"/>
                    <a:gd name="connsiteX34" fmla="*/ 7164 w 169720"/>
                    <a:gd name="connsiteY34" fmla="*/ 20 h 93981"/>
                    <a:gd name="connsiteX35" fmla="*/ 16575 w 169720"/>
                    <a:gd name="connsiteY35" fmla="*/ 5974 h 93981"/>
                    <a:gd name="connsiteX36" fmla="*/ 13479 w 169720"/>
                    <a:gd name="connsiteY36" fmla="*/ 11955 h 93981"/>
                    <a:gd name="connsiteX37" fmla="*/ 28329 w 169720"/>
                    <a:gd name="connsiteY37" fmla="*/ 11860 h 93981"/>
                    <a:gd name="connsiteX38" fmla="*/ 45512 w 169720"/>
                    <a:gd name="connsiteY38" fmla="*/ 14441 h 93981"/>
                    <a:gd name="connsiteX39" fmla="*/ 78506 w 169720"/>
                    <a:gd name="connsiteY39" fmla="*/ 17461 h 93981"/>
                    <a:gd name="connsiteX40" fmla="*/ 107834 w 169720"/>
                    <a:gd name="connsiteY40" fmla="*/ 5640 h 93981"/>
                    <a:gd name="connsiteX41" fmla="*/ 139571 w 169720"/>
                    <a:gd name="connsiteY41" fmla="*/ 6859 h 93981"/>
                    <a:gd name="connsiteX42" fmla="*/ 145781 w 169720"/>
                    <a:gd name="connsiteY42" fmla="*/ 8641 h 93981"/>
                    <a:gd name="connsiteX43" fmla="*/ 148906 w 169720"/>
                    <a:gd name="connsiteY43" fmla="*/ 8345 h 93981"/>
                    <a:gd name="connsiteX44" fmla="*/ 152944 w 169720"/>
                    <a:gd name="connsiteY44" fmla="*/ 12222 h 93981"/>
                    <a:gd name="connsiteX45" fmla="*/ 168842 w 169720"/>
                    <a:gd name="connsiteY45" fmla="*/ 15594 h 93981"/>
                    <a:gd name="connsiteX46" fmla="*/ 168842 w 169720"/>
                    <a:gd name="connsiteY46" fmla="*/ 15594 h 93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69720" h="93981">
                      <a:moveTo>
                        <a:pt x="168842" y="15594"/>
                      </a:moveTo>
                      <a:cubicBezTo>
                        <a:pt x="169013" y="17442"/>
                        <a:pt x="170194" y="21595"/>
                        <a:pt x="169508" y="23185"/>
                      </a:cubicBezTo>
                      <a:cubicBezTo>
                        <a:pt x="167327" y="28272"/>
                        <a:pt x="167861" y="24785"/>
                        <a:pt x="164403" y="25833"/>
                      </a:cubicBezTo>
                      <a:cubicBezTo>
                        <a:pt x="160040" y="27167"/>
                        <a:pt x="156812" y="26748"/>
                        <a:pt x="154811" y="32063"/>
                      </a:cubicBezTo>
                      <a:cubicBezTo>
                        <a:pt x="153106" y="36596"/>
                        <a:pt x="156726" y="42845"/>
                        <a:pt x="155144" y="46864"/>
                      </a:cubicBezTo>
                      <a:cubicBezTo>
                        <a:pt x="154649" y="48112"/>
                        <a:pt x="152011" y="47817"/>
                        <a:pt x="151230" y="48779"/>
                      </a:cubicBezTo>
                      <a:cubicBezTo>
                        <a:pt x="149363" y="51113"/>
                        <a:pt x="147448" y="53418"/>
                        <a:pt x="145543" y="55732"/>
                      </a:cubicBezTo>
                      <a:cubicBezTo>
                        <a:pt x="151734" y="57961"/>
                        <a:pt x="159898" y="65448"/>
                        <a:pt x="162631" y="71448"/>
                      </a:cubicBezTo>
                      <a:cubicBezTo>
                        <a:pt x="158050" y="70163"/>
                        <a:pt x="154402" y="73496"/>
                        <a:pt x="150296" y="72782"/>
                      </a:cubicBezTo>
                      <a:cubicBezTo>
                        <a:pt x="144648" y="71810"/>
                        <a:pt x="143362" y="67448"/>
                        <a:pt x="137095" y="68343"/>
                      </a:cubicBezTo>
                      <a:cubicBezTo>
                        <a:pt x="133694" y="68829"/>
                        <a:pt x="126369" y="70629"/>
                        <a:pt x="123341" y="72115"/>
                      </a:cubicBezTo>
                      <a:cubicBezTo>
                        <a:pt x="122760" y="72401"/>
                        <a:pt x="123045" y="74249"/>
                        <a:pt x="122607" y="74516"/>
                      </a:cubicBezTo>
                      <a:cubicBezTo>
                        <a:pt x="122160" y="74773"/>
                        <a:pt x="119607" y="76144"/>
                        <a:pt x="119073" y="76525"/>
                      </a:cubicBezTo>
                      <a:cubicBezTo>
                        <a:pt x="117559" y="77611"/>
                        <a:pt x="117140" y="77192"/>
                        <a:pt x="117340" y="79411"/>
                      </a:cubicBezTo>
                      <a:cubicBezTo>
                        <a:pt x="108682" y="75144"/>
                        <a:pt x="112673" y="81593"/>
                        <a:pt x="112758" y="84183"/>
                      </a:cubicBezTo>
                      <a:cubicBezTo>
                        <a:pt x="112987" y="91375"/>
                        <a:pt x="113358" y="90860"/>
                        <a:pt x="105434" y="91718"/>
                      </a:cubicBezTo>
                      <a:cubicBezTo>
                        <a:pt x="101271" y="92165"/>
                        <a:pt x="95985" y="94108"/>
                        <a:pt x="91861" y="93975"/>
                      </a:cubicBezTo>
                      <a:cubicBezTo>
                        <a:pt x="87889" y="93842"/>
                        <a:pt x="81345" y="90965"/>
                        <a:pt x="77287" y="90060"/>
                      </a:cubicBezTo>
                      <a:cubicBezTo>
                        <a:pt x="73734" y="89270"/>
                        <a:pt x="70782" y="85469"/>
                        <a:pt x="67648" y="84488"/>
                      </a:cubicBezTo>
                      <a:cubicBezTo>
                        <a:pt x="67067" y="84307"/>
                        <a:pt x="61609" y="85041"/>
                        <a:pt x="60666" y="85260"/>
                      </a:cubicBezTo>
                      <a:cubicBezTo>
                        <a:pt x="59152" y="85612"/>
                        <a:pt x="57409" y="85041"/>
                        <a:pt x="55885" y="85374"/>
                      </a:cubicBezTo>
                      <a:cubicBezTo>
                        <a:pt x="55485" y="85460"/>
                        <a:pt x="55818" y="87222"/>
                        <a:pt x="54932" y="87489"/>
                      </a:cubicBezTo>
                      <a:cubicBezTo>
                        <a:pt x="49769" y="89041"/>
                        <a:pt x="44540" y="88822"/>
                        <a:pt x="39273" y="89422"/>
                      </a:cubicBezTo>
                      <a:cubicBezTo>
                        <a:pt x="33844" y="90051"/>
                        <a:pt x="30939" y="92108"/>
                        <a:pt x="25271" y="91384"/>
                      </a:cubicBezTo>
                      <a:cubicBezTo>
                        <a:pt x="26109" y="84241"/>
                        <a:pt x="26090" y="80478"/>
                        <a:pt x="22795" y="75287"/>
                      </a:cubicBezTo>
                      <a:cubicBezTo>
                        <a:pt x="18470" y="68477"/>
                        <a:pt x="11508" y="66410"/>
                        <a:pt x="5497" y="60590"/>
                      </a:cubicBezTo>
                      <a:cubicBezTo>
                        <a:pt x="15794" y="58237"/>
                        <a:pt x="2716" y="48588"/>
                        <a:pt x="6650" y="43969"/>
                      </a:cubicBezTo>
                      <a:cubicBezTo>
                        <a:pt x="7631" y="42826"/>
                        <a:pt x="9269" y="43454"/>
                        <a:pt x="10022" y="42769"/>
                      </a:cubicBezTo>
                      <a:cubicBezTo>
                        <a:pt x="11231" y="41673"/>
                        <a:pt x="13422" y="41007"/>
                        <a:pt x="15137" y="39378"/>
                      </a:cubicBezTo>
                      <a:cubicBezTo>
                        <a:pt x="17870" y="36768"/>
                        <a:pt x="19318" y="35701"/>
                        <a:pt x="18175" y="32472"/>
                      </a:cubicBezTo>
                      <a:cubicBezTo>
                        <a:pt x="17118" y="29491"/>
                        <a:pt x="9784" y="27195"/>
                        <a:pt x="7555" y="25224"/>
                      </a:cubicBezTo>
                      <a:cubicBezTo>
                        <a:pt x="4945" y="22919"/>
                        <a:pt x="1849" y="19051"/>
                        <a:pt x="678" y="15670"/>
                      </a:cubicBezTo>
                      <a:cubicBezTo>
                        <a:pt x="-761" y="11498"/>
                        <a:pt x="335" y="9688"/>
                        <a:pt x="1697" y="6888"/>
                      </a:cubicBezTo>
                      <a:cubicBezTo>
                        <a:pt x="1402" y="7507"/>
                        <a:pt x="6154" y="1868"/>
                        <a:pt x="4745" y="2773"/>
                      </a:cubicBezTo>
                      <a:cubicBezTo>
                        <a:pt x="5726" y="2144"/>
                        <a:pt x="5421" y="440"/>
                        <a:pt x="7164" y="20"/>
                      </a:cubicBezTo>
                      <a:cubicBezTo>
                        <a:pt x="8698" y="-351"/>
                        <a:pt x="16375" y="4431"/>
                        <a:pt x="16575" y="5974"/>
                      </a:cubicBezTo>
                      <a:cubicBezTo>
                        <a:pt x="16851" y="8079"/>
                        <a:pt x="10155" y="8221"/>
                        <a:pt x="13479" y="11955"/>
                      </a:cubicBezTo>
                      <a:cubicBezTo>
                        <a:pt x="14994" y="13651"/>
                        <a:pt x="25557" y="11641"/>
                        <a:pt x="28329" y="11860"/>
                      </a:cubicBezTo>
                      <a:cubicBezTo>
                        <a:pt x="34110" y="12308"/>
                        <a:pt x="39721" y="14003"/>
                        <a:pt x="45512" y="14441"/>
                      </a:cubicBezTo>
                      <a:cubicBezTo>
                        <a:pt x="56504" y="15289"/>
                        <a:pt x="67343" y="16442"/>
                        <a:pt x="78506" y="17461"/>
                      </a:cubicBezTo>
                      <a:cubicBezTo>
                        <a:pt x="91746" y="18661"/>
                        <a:pt x="96213" y="9565"/>
                        <a:pt x="107834" y="5640"/>
                      </a:cubicBezTo>
                      <a:cubicBezTo>
                        <a:pt x="120588" y="1325"/>
                        <a:pt x="127551" y="3811"/>
                        <a:pt x="139571" y="6859"/>
                      </a:cubicBezTo>
                      <a:cubicBezTo>
                        <a:pt x="141686" y="7393"/>
                        <a:pt x="143905" y="8021"/>
                        <a:pt x="145781" y="8641"/>
                      </a:cubicBezTo>
                      <a:cubicBezTo>
                        <a:pt x="146915" y="9022"/>
                        <a:pt x="147677" y="7736"/>
                        <a:pt x="148906" y="8345"/>
                      </a:cubicBezTo>
                      <a:cubicBezTo>
                        <a:pt x="150487" y="9136"/>
                        <a:pt x="151382" y="11336"/>
                        <a:pt x="152944" y="12222"/>
                      </a:cubicBezTo>
                      <a:cubicBezTo>
                        <a:pt x="157593" y="14822"/>
                        <a:pt x="163403" y="16108"/>
                        <a:pt x="168842" y="15594"/>
                      </a:cubicBezTo>
                      <a:lnTo>
                        <a:pt x="168842" y="15594"/>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87" name="Freeform: Shape 686">
                  <a:extLst>
                    <a:ext uri="{FF2B5EF4-FFF2-40B4-BE49-F238E27FC236}">
                      <a16:creationId xmlns:a16="http://schemas.microsoft.com/office/drawing/2014/main" id="{FDA8D563-C701-480C-B4B1-3310C6FCB40B}"/>
                    </a:ext>
                  </a:extLst>
                </p:cNvPr>
                <p:cNvSpPr/>
                <p:nvPr/>
              </p:nvSpPr>
              <p:spPr>
                <a:xfrm>
                  <a:off x="8228382" y="3528376"/>
                  <a:ext cx="182925" cy="181541"/>
                </a:xfrm>
                <a:custGeom>
                  <a:avLst/>
                  <a:gdLst>
                    <a:gd name="connsiteX0" fmla="*/ 16724 w 182925"/>
                    <a:gd name="connsiteY0" fmla="*/ 8720 h 181541"/>
                    <a:gd name="connsiteX1" fmla="*/ 23259 w 182925"/>
                    <a:gd name="connsiteY1" fmla="*/ 9615 h 181541"/>
                    <a:gd name="connsiteX2" fmla="*/ 21791 w 182925"/>
                    <a:gd name="connsiteY2" fmla="*/ 4281 h 181541"/>
                    <a:gd name="connsiteX3" fmla="*/ 28821 w 182925"/>
                    <a:gd name="connsiteY3" fmla="*/ 11959 h 181541"/>
                    <a:gd name="connsiteX4" fmla="*/ 42137 w 182925"/>
                    <a:gd name="connsiteY4" fmla="*/ 17721 h 181541"/>
                    <a:gd name="connsiteX5" fmla="*/ 43794 w 182925"/>
                    <a:gd name="connsiteY5" fmla="*/ 10711 h 181541"/>
                    <a:gd name="connsiteX6" fmla="*/ 57138 w 182925"/>
                    <a:gd name="connsiteY6" fmla="*/ 36266 h 181541"/>
                    <a:gd name="connsiteX7" fmla="*/ 77980 w 182925"/>
                    <a:gd name="connsiteY7" fmla="*/ 43924 h 181541"/>
                    <a:gd name="connsiteX8" fmla="*/ 106031 w 182925"/>
                    <a:gd name="connsiteY8" fmla="*/ 43820 h 181541"/>
                    <a:gd name="connsiteX9" fmla="*/ 137539 w 182925"/>
                    <a:gd name="connsiteY9" fmla="*/ 48049 h 181541"/>
                    <a:gd name="connsiteX10" fmla="*/ 142550 w 182925"/>
                    <a:gd name="connsiteY10" fmla="*/ 53602 h 181541"/>
                    <a:gd name="connsiteX11" fmla="*/ 137263 w 182925"/>
                    <a:gd name="connsiteY11" fmla="*/ 52687 h 181541"/>
                    <a:gd name="connsiteX12" fmla="*/ 136710 w 182925"/>
                    <a:gd name="connsiteY12" fmla="*/ 57545 h 181541"/>
                    <a:gd name="connsiteX13" fmla="*/ 135510 w 182925"/>
                    <a:gd name="connsiteY13" fmla="*/ 68728 h 181541"/>
                    <a:gd name="connsiteX14" fmla="*/ 132615 w 182925"/>
                    <a:gd name="connsiteY14" fmla="*/ 69737 h 181541"/>
                    <a:gd name="connsiteX15" fmla="*/ 131834 w 182925"/>
                    <a:gd name="connsiteY15" fmla="*/ 74671 h 181541"/>
                    <a:gd name="connsiteX16" fmla="*/ 127167 w 182925"/>
                    <a:gd name="connsiteY16" fmla="*/ 74128 h 181541"/>
                    <a:gd name="connsiteX17" fmla="*/ 123900 w 182925"/>
                    <a:gd name="connsiteY17" fmla="*/ 77157 h 181541"/>
                    <a:gd name="connsiteX18" fmla="*/ 117165 w 182925"/>
                    <a:gd name="connsiteY18" fmla="*/ 80748 h 181541"/>
                    <a:gd name="connsiteX19" fmla="*/ 127957 w 182925"/>
                    <a:gd name="connsiteY19" fmla="*/ 109837 h 181541"/>
                    <a:gd name="connsiteX20" fmla="*/ 139025 w 182925"/>
                    <a:gd name="connsiteY20" fmla="*/ 111447 h 181541"/>
                    <a:gd name="connsiteX21" fmla="*/ 137892 w 182925"/>
                    <a:gd name="connsiteY21" fmla="*/ 101770 h 181541"/>
                    <a:gd name="connsiteX22" fmla="*/ 138997 w 182925"/>
                    <a:gd name="connsiteY22" fmla="*/ 90378 h 181541"/>
                    <a:gd name="connsiteX23" fmla="*/ 150189 w 182925"/>
                    <a:gd name="connsiteY23" fmla="*/ 93474 h 181541"/>
                    <a:gd name="connsiteX24" fmla="*/ 157875 w 182925"/>
                    <a:gd name="connsiteY24" fmla="*/ 110361 h 181541"/>
                    <a:gd name="connsiteX25" fmla="*/ 167019 w 182925"/>
                    <a:gd name="connsiteY25" fmla="*/ 124401 h 181541"/>
                    <a:gd name="connsiteX26" fmla="*/ 174801 w 182925"/>
                    <a:gd name="connsiteY26" fmla="*/ 143070 h 181541"/>
                    <a:gd name="connsiteX27" fmla="*/ 180507 w 182925"/>
                    <a:gd name="connsiteY27" fmla="*/ 159691 h 181541"/>
                    <a:gd name="connsiteX28" fmla="*/ 179201 w 182925"/>
                    <a:gd name="connsiteY28" fmla="*/ 164235 h 181541"/>
                    <a:gd name="connsiteX29" fmla="*/ 170334 w 182925"/>
                    <a:gd name="connsiteY29" fmla="*/ 167178 h 181541"/>
                    <a:gd name="connsiteX30" fmla="*/ 178697 w 182925"/>
                    <a:gd name="connsiteY30" fmla="*/ 181542 h 181541"/>
                    <a:gd name="connsiteX31" fmla="*/ 162285 w 182925"/>
                    <a:gd name="connsiteY31" fmla="*/ 157901 h 181541"/>
                    <a:gd name="connsiteX32" fmla="*/ 150179 w 182925"/>
                    <a:gd name="connsiteY32" fmla="*/ 132450 h 181541"/>
                    <a:gd name="connsiteX33" fmla="*/ 148674 w 182925"/>
                    <a:gd name="connsiteY33" fmla="*/ 134117 h 181541"/>
                    <a:gd name="connsiteX34" fmla="*/ 133396 w 182925"/>
                    <a:gd name="connsiteY34" fmla="*/ 115619 h 181541"/>
                    <a:gd name="connsiteX35" fmla="*/ 113289 w 182925"/>
                    <a:gd name="connsiteY35" fmla="*/ 118505 h 181541"/>
                    <a:gd name="connsiteX36" fmla="*/ 99944 w 182925"/>
                    <a:gd name="connsiteY36" fmla="*/ 93359 h 181541"/>
                    <a:gd name="connsiteX37" fmla="*/ 100172 w 182925"/>
                    <a:gd name="connsiteY37" fmla="*/ 98712 h 181541"/>
                    <a:gd name="connsiteX38" fmla="*/ 91171 w 182925"/>
                    <a:gd name="connsiteY38" fmla="*/ 97626 h 181541"/>
                    <a:gd name="connsiteX39" fmla="*/ 103421 w 182925"/>
                    <a:gd name="connsiteY39" fmla="*/ 105065 h 181541"/>
                    <a:gd name="connsiteX40" fmla="*/ 105126 w 182925"/>
                    <a:gd name="connsiteY40" fmla="*/ 114981 h 181541"/>
                    <a:gd name="connsiteX41" fmla="*/ 111698 w 182925"/>
                    <a:gd name="connsiteY41" fmla="*/ 136612 h 181541"/>
                    <a:gd name="connsiteX42" fmla="*/ 104497 w 182925"/>
                    <a:gd name="connsiteY42" fmla="*/ 149052 h 181541"/>
                    <a:gd name="connsiteX43" fmla="*/ 101868 w 182925"/>
                    <a:gd name="connsiteY43" fmla="*/ 138555 h 181541"/>
                    <a:gd name="connsiteX44" fmla="*/ 95362 w 182925"/>
                    <a:gd name="connsiteY44" fmla="*/ 142756 h 181541"/>
                    <a:gd name="connsiteX45" fmla="*/ 92143 w 182925"/>
                    <a:gd name="connsiteY45" fmla="*/ 128792 h 181541"/>
                    <a:gd name="connsiteX46" fmla="*/ 91572 w 182925"/>
                    <a:gd name="connsiteY46" fmla="*/ 141470 h 181541"/>
                    <a:gd name="connsiteX47" fmla="*/ 85990 w 182925"/>
                    <a:gd name="connsiteY47" fmla="*/ 150814 h 181541"/>
                    <a:gd name="connsiteX48" fmla="*/ 78723 w 182925"/>
                    <a:gd name="connsiteY48" fmla="*/ 134812 h 181541"/>
                    <a:gd name="connsiteX49" fmla="*/ 81952 w 182925"/>
                    <a:gd name="connsiteY49" fmla="*/ 149109 h 181541"/>
                    <a:gd name="connsiteX50" fmla="*/ 71417 w 182925"/>
                    <a:gd name="connsiteY50" fmla="*/ 148233 h 181541"/>
                    <a:gd name="connsiteX51" fmla="*/ 65607 w 182925"/>
                    <a:gd name="connsiteY51" fmla="*/ 134860 h 181541"/>
                    <a:gd name="connsiteX52" fmla="*/ 57872 w 182925"/>
                    <a:gd name="connsiteY52" fmla="*/ 121810 h 181541"/>
                    <a:gd name="connsiteX53" fmla="*/ 52557 w 182925"/>
                    <a:gd name="connsiteY53" fmla="*/ 109504 h 181541"/>
                    <a:gd name="connsiteX54" fmla="*/ 52710 w 182925"/>
                    <a:gd name="connsiteY54" fmla="*/ 105751 h 181541"/>
                    <a:gd name="connsiteX55" fmla="*/ 50643 w 182925"/>
                    <a:gd name="connsiteY55" fmla="*/ 105046 h 181541"/>
                    <a:gd name="connsiteX56" fmla="*/ 45414 w 182925"/>
                    <a:gd name="connsiteY56" fmla="*/ 101598 h 181541"/>
                    <a:gd name="connsiteX57" fmla="*/ 42137 w 182925"/>
                    <a:gd name="connsiteY57" fmla="*/ 95569 h 181541"/>
                    <a:gd name="connsiteX58" fmla="*/ 38822 w 182925"/>
                    <a:gd name="connsiteY58" fmla="*/ 92454 h 181541"/>
                    <a:gd name="connsiteX59" fmla="*/ 38051 w 182925"/>
                    <a:gd name="connsiteY59" fmla="*/ 77833 h 181541"/>
                    <a:gd name="connsiteX60" fmla="*/ 18201 w 182925"/>
                    <a:gd name="connsiteY60" fmla="*/ 65565 h 181541"/>
                    <a:gd name="connsiteX61" fmla="*/ 11742 w 182925"/>
                    <a:gd name="connsiteY61" fmla="*/ 57012 h 181541"/>
                    <a:gd name="connsiteX62" fmla="*/ 18905 w 182925"/>
                    <a:gd name="connsiteY62" fmla="*/ 50230 h 181541"/>
                    <a:gd name="connsiteX63" fmla="*/ 19077 w 182925"/>
                    <a:gd name="connsiteY63" fmla="*/ 43086 h 181541"/>
                    <a:gd name="connsiteX64" fmla="*/ 26907 w 182925"/>
                    <a:gd name="connsiteY64" fmla="*/ 43515 h 181541"/>
                    <a:gd name="connsiteX65" fmla="*/ 31850 w 182925"/>
                    <a:gd name="connsiteY65" fmla="*/ 39476 h 181541"/>
                    <a:gd name="connsiteX66" fmla="*/ 19981 w 182925"/>
                    <a:gd name="connsiteY66" fmla="*/ 33380 h 181541"/>
                    <a:gd name="connsiteX67" fmla="*/ 6685 w 182925"/>
                    <a:gd name="connsiteY67" fmla="*/ 24131 h 181541"/>
                    <a:gd name="connsiteX68" fmla="*/ 474 w 182925"/>
                    <a:gd name="connsiteY68" fmla="*/ 14759 h 181541"/>
                    <a:gd name="connsiteX69" fmla="*/ 5275 w 182925"/>
                    <a:gd name="connsiteY69" fmla="*/ 3739 h 181541"/>
                    <a:gd name="connsiteX70" fmla="*/ 6361 w 182925"/>
                    <a:gd name="connsiteY70" fmla="*/ 976 h 181541"/>
                    <a:gd name="connsiteX71" fmla="*/ 16724 w 182925"/>
                    <a:gd name="connsiteY71" fmla="*/ 8720 h 181541"/>
                    <a:gd name="connsiteX72" fmla="*/ 16724 w 182925"/>
                    <a:gd name="connsiteY72" fmla="*/ 8720 h 181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82925" h="181541">
                      <a:moveTo>
                        <a:pt x="16724" y="8720"/>
                      </a:moveTo>
                      <a:cubicBezTo>
                        <a:pt x="18868" y="9396"/>
                        <a:pt x="21048" y="9692"/>
                        <a:pt x="23259" y="9615"/>
                      </a:cubicBezTo>
                      <a:cubicBezTo>
                        <a:pt x="22334" y="8520"/>
                        <a:pt x="19448" y="4986"/>
                        <a:pt x="21791" y="4281"/>
                      </a:cubicBezTo>
                      <a:cubicBezTo>
                        <a:pt x="25258" y="3253"/>
                        <a:pt x="27335" y="10435"/>
                        <a:pt x="28821" y="11959"/>
                      </a:cubicBezTo>
                      <a:cubicBezTo>
                        <a:pt x="30945" y="14149"/>
                        <a:pt x="38813" y="19893"/>
                        <a:pt x="42137" y="17721"/>
                      </a:cubicBezTo>
                      <a:cubicBezTo>
                        <a:pt x="45251" y="15683"/>
                        <a:pt x="40327" y="11559"/>
                        <a:pt x="43794" y="10711"/>
                      </a:cubicBezTo>
                      <a:cubicBezTo>
                        <a:pt x="51519" y="8806"/>
                        <a:pt x="54862" y="32647"/>
                        <a:pt x="57138" y="36266"/>
                      </a:cubicBezTo>
                      <a:cubicBezTo>
                        <a:pt x="60644" y="41848"/>
                        <a:pt x="71054" y="43391"/>
                        <a:pt x="77980" y="43924"/>
                      </a:cubicBezTo>
                      <a:cubicBezTo>
                        <a:pt x="87257" y="44629"/>
                        <a:pt x="96772" y="43248"/>
                        <a:pt x="106031" y="43820"/>
                      </a:cubicBezTo>
                      <a:cubicBezTo>
                        <a:pt x="117137" y="44505"/>
                        <a:pt x="127395" y="42181"/>
                        <a:pt x="137539" y="48049"/>
                      </a:cubicBezTo>
                      <a:cubicBezTo>
                        <a:pt x="139187" y="49011"/>
                        <a:pt x="144788" y="51230"/>
                        <a:pt x="142550" y="53602"/>
                      </a:cubicBezTo>
                      <a:cubicBezTo>
                        <a:pt x="141254" y="54964"/>
                        <a:pt x="138187" y="52002"/>
                        <a:pt x="137263" y="52687"/>
                      </a:cubicBezTo>
                      <a:cubicBezTo>
                        <a:pt x="135224" y="54221"/>
                        <a:pt x="136968" y="54040"/>
                        <a:pt x="136710" y="57545"/>
                      </a:cubicBezTo>
                      <a:cubicBezTo>
                        <a:pt x="136425" y="61508"/>
                        <a:pt x="136720" y="65927"/>
                        <a:pt x="135510" y="68728"/>
                      </a:cubicBezTo>
                      <a:cubicBezTo>
                        <a:pt x="135463" y="68823"/>
                        <a:pt x="133044" y="69194"/>
                        <a:pt x="132615" y="69737"/>
                      </a:cubicBezTo>
                      <a:cubicBezTo>
                        <a:pt x="131710" y="70890"/>
                        <a:pt x="132920" y="73871"/>
                        <a:pt x="131834" y="74671"/>
                      </a:cubicBezTo>
                      <a:cubicBezTo>
                        <a:pt x="130786" y="75433"/>
                        <a:pt x="128805" y="73480"/>
                        <a:pt x="127167" y="74128"/>
                      </a:cubicBezTo>
                      <a:cubicBezTo>
                        <a:pt x="125757" y="74690"/>
                        <a:pt x="124804" y="76824"/>
                        <a:pt x="123900" y="77157"/>
                      </a:cubicBezTo>
                      <a:cubicBezTo>
                        <a:pt x="118642" y="79138"/>
                        <a:pt x="119746" y="76443"/>
                        <a:pt x="117165" y="80748"/>
                      </a:cubicBezTo>
                      <a:cubicBezTo>
                        <a:pt x="112669" y="88225"/>
                        <a:pt x="121118" y="105484"/>
                        <a:pt x="127957" y="109837"/>
                      </a:cubicBezTo>
                      <a:cubicBezTo>
                        <a:pt x="123452" y="99731"/>
                        <a:pt x="135130" y="115400"/>
                        <a:pt x="139025" y="111447"/>
                      </a:cubicBezTo>
                      <a:cubicBezTo>
                        <a:pt x="141892" y="108552"/>
                        <a:pt x="137511" y="105085"/>
                        <a:pt x="137892" y="101770"/>
                      </a:cubicBezTo>
                      <a:cubicBezTo>
                        <a:pt x="138587" y="95674"/>
                        <a:pt x="141807" y="97560"/>
                        <a:pt x="138997" y="90378"/>
                      </a:cubicBezTo>
                      <a:cubicBezTo>
                        <a:pt x="145121" y="91226"/>
                        <a:pt x="145959" y="88111"/>
                        <a:pt x="150189" y="93474"/>
                      </a:cubicBezTo>
                      <a:cubicBezTo>
                        <a:pt x="154151" y="98493"/>
                        <a:pt x="155113" y="104818"/>
                        <a:pt x="157875" y="110361"/>
                      </a:cubicBezTo>
                      <a:cubicBezTo>
                        <a:pt x="160380" y="115372"/>
                        <a:pt x="164352" y="119391"/>
                        <a:pt x="167019" y="124401"/>
                      </a:cubicBezTo>
                      <a:cubicBezTo>
                        <a:pt x="170162" y="130297"/>
                        <a:pt x="172420" y="136860"/>
                        <a:pt x="174801" y="143070"/>
                      </a:cubicBezTo>
                      <a:cubicBezTo>
                        <a:pt x="176887" y="148528"/>
                        <a:pt x="178468" y="154186"/>
                        <a:pt x="180507" y="159691"/>
                      </a:cubicBezTo>
                      <a:cubicBezTo>
                        <a:pt x="182907" y="166216"/>
                        <a:pt x="184974" y="166159"/>
                        <a:pt x="179201" y="164235"/>
                      </a:cubicBezTo>
                      <a:cubicBezTo>
                        <a:pt x="174563" y="162682"/>
                        <a:pt x="168848" y="158701"/>
                        <a:pt x="170334" y="167178"/>
                      </a:cubicBezTo>
                      <a:cubicBezTo>
                        <a:pt x="171125" y="171626"/>
                        <a:pt x="176563" y="177265"/>
                        <a:pt x="178697" y="181542"/>
                      </a:cubicBezTo>
                      <a:cubicBezTo>
                        <a:pt x="170534" y="176293"/>
                        <a:pt x="166019" y="166597"/>
                        <a:pt x="162285" y="157901"/>
                      </a:cubicBezTo>
                      <a:cubicBezTo>
                        <a:pt x="159132" y="150538"/>
                        <a:pt x="149122" y="140737"/>
                        <a:pt x="150179" y="132450"/>
                      </a:cubicBezTo>
                      <a:cubicBezTo>
                        <a:pt x="149731" y="132983"/>
                        <a:pt x="149160" y="133517"/>
                        <a:pt x="148674" y="134117"/>
                      </a:cubicBezTo>
                      <a:cubicBezTo>
                        <a:pt x="144045" y="129116"/>
                        <a:pt x="134987" y="122249"/>
                        <a:pt x="133396" y="115619"/>
                      </a:cubicBezTo>
                      <a:cubicBezTo>
                        <a:pt x="129472" y="126678"/>
                        <a:pt x="120118" y="125801"/>
                        <a:pt x="113289" y="118505"/>
                      </a:cubicBezTo>
                      <a:cubicBezTo>
                        <a:pt x="106364" y="111114"/>
                        <a:pt x="103535" y="102656"/>
                        <a:pt x="99944" y="93359"/>
                      </a:cubicBezTo>
                      <a:cubicBezTo>
                        <a:pt x="99868" y="94845"/>
                        <a:pt x="99373" y="96455"/>
                        <a:pt x="100172" y="98712"/>
                      </a:cubicBezTo>
                      <a:cubicBezTo>
                        <a:pt x="97163" y="98607"/>
                        <a:pt x="94115" y="98265"/>
                        <a:pt x="91171" y="97626"/>
                      </a:cubicBezTo>
                      <a:cubicBezTo>
                        <a:pt x="94743" y="100341"/>
                        <a:pt x="102068" y="100217"/>
                        <a:pt x="103421" y="105065"/>
                      </a:cubicBezTo>
                      <a:cubicBezTo>
                        <a:pt x="104754" y="109828"/>
                        <a:pt x="98210" y="111076"/>
                        <a:pt x="105126" y="114981"/>
                      </a:cubicBezTo>
                      <a:cubicBezTo>
                        <a:pt x="98296" y="116124"/>
                        <a:pt x="113289" y="131688"/>
                        <a:pt x="111698" y="136612"/>
                      </a:cubicBezTo>
                      <a:cubicBezTo>
                        <a:pt x="111231" y="138031"/>
                        <a:pt x="105240" y="148871"/>
                        <a:pt x="104497" y="149052"/>
                      </a:cubicBezTo>
                      <a:cubicBezTo>
                        <a:pt x="98268" y="150643"/>
                        <a:pt x="99535" y="141356"/>
                        <a:pt x="101868" y="138555"/>
                      </a:cubicBezTo>
                      <a:cubicBezTo>
                        <a:pt x="99373" y="139317"/>
                        <a:pt x="97182" y="140860"/>
                        <a:pt x="95362" y="142756"/>
                      </a:cubicBezTo>
                      <a:cubicBezTo>
                        <a:pt x="92267" y="138365"/>
                        <a:pt x="89714" y="134145"/>
                        <a:pt x="92143" y="128792"/>
                      </a:cubicBezTo>
                      <a:cubicBezTo>
                        <a:pt x="86933" y="132364"/>
                        <a:pt x="92143" y="136774"/>
                        <a:pt x="91572" y="141470"/>
                      </a:cubicBezTo>
                      <a:cubicBezTo>
                        <a:pt x="91019" y="146061"/>
                        <a:pt x="87876" y="146985"/>
                        <a:pt x="85990" y="150814"/>
                      </a:cubicBezTo>
                      <a:cubicBezTo>
                        <a:pt x="84399" y="145175"/>
                        <a:pt x="81352" y="140013"/>
                        <a:pt x="78723" y="134812"/>
                      </a:cubicBezTo>
                      <a:cubicBezTo>
                        <a:pt x="79142" y="139432"/>
                        <a:pt x="84209" y="144280"/>
                        <a:pt x="81952" y="149109"/>
                      </a:cubicBezTo>
                      <a:cubicBezTo>
                        <a:pt x="79256" y="154891"/>
                        <a:pt x="74712" y="152138"/>
                        <a:pt x="71417" y="148233"/>
                      </a:cubicBezTo>
                      <a:cubicBezTo>
                        <a:pt x="68264" y="144489"/>
                        <a:pt x="67692" y="139184"/>
                        <a:pt x="65607" y="134860"/>
                      </a:cubicBezTo>
                      <a:cubicBezTo>
                        <a:pt x="63425" y="130364"/>
                        <a:pt x="60177" y="126097"/>
                        <a:pt x="57872" y="121810"/>
                      </a:cubicBezTo>
                      <a:cubicBezTo>
                        <a:pt x="55796" y="117934"/>
                        <a:pt x="54367" y="113047"/>
                        <a:pt x="52557" y="109504"/>
                      </a:cubicBezTo>
                      <a:cubicBezTo>
                        <a:pt x="51652" y="107723"/>
                        <a:pt x="54005" y="107228"/>
                        <a:pt x="52710" y="105751"/>
                      </a:cubicBezTo>
                      <a:cubicBezTo>
                        <a:pt x="52186" y="105161"/>
                        <a:pt x="51033" y="105532"/>
                        <a:pt x="50643" y="105046"/>
                      </a:cubicBezTo>
                      <a:cubicBezTo>
                        <a:pt x="49738" y="103913"/>
                        <a:pt x="46594" y="102989"/>
                        <a:pt x="45414" y="101598"/>
                      </a:cubicBezTo>
                      <a:cubicBezTo>
                        <a:pt x="44537" y="100570"/>
                        <a:pt x="43337" y="97188"/>
                        <a:pt x="42137" y="95569"/>
                      </a:cubicBezTo>
                      <a:cubicBezTo>
                        <a:pt x="41232" y="94350"/>
                        <a:pt x="39584" y="93883"/>
                        <a:pt x="38822" y="92454"/>
                      </a:cubicBezTo>
                      <a:cubicBezTo>
                        <a:pt x="36403" y="87939"/>
                        <a:pt x="38994" y="82796"/>
                        <a:pt x="38051" y="77833"/>
                      </a:cubicBezTo>
                      <a:cubicBezTo>
                        <a:pt x="36165" y="67880"/>
                        <a:pt x="25449" y="69013"/>
                        <a:pt x="18201" y="65565"/>
                      </a:cubicBezTo>
                      <a:cubicBezTo>
                        <a:pt x="14028" y="63575"/>
                        <a:pt x="11724" y="61603"/>
                        <a:pt x="11742" y="57012"/>
                      </a:cubicBezTo>
                      <a:cubicBezTo>
                        <a:pt x="11771" y="47696"/>
                        <a:pt x="15857" y="55412"/>
                        <a:pt x="18905" y="50230"/>
                      </a:cubicBezTo>
                      <a:cubicBezTo>
                        <a:pt x="19772" y="48754"/>
                        <a:pt x="17848" y="44191"/>
                        <a:pt x="19077" y="43086"/>
                      </a:cubicBezTo>
                      <a:cubicBezTo>
                        <a:pt x="20458" y="41839"/>
                        <a:pt x="25163" y="43705"/>
                        <a:pt x="26907" y="43515"/>
                      </a:cubicBezTo>
                      <a:cubicBezTo>
                        <a:pt x="31812" y="42981"/>
                        <a:pt x="32974" y="43382"/>
                        <a:pt x="31850" y="39476"/>
                      </a:cubicBezTo>
                      <a:cubicBezTo>
                        <a:pt x="30621" y="35209"/>
                        <a:pt x="23011" y="34418"/>
                        <a:pt x="19981" y="33380"/>
                      </a:cubicBezTo>
                      <a:cubicBezTo>
                        <a:pt x="14647" y="31542"/>
                        <a:pt x="11399" y="27065"/>
                        <a:pt x="6685" y="24131"/>
                      </a:cubicBezTo>
                      <a:cubicBezTo>
                        <a:pt x="2532" y="21550"/>
                        <a:pt x="-1383" y="21484"/>
                        <a:pt x="474" y="14759"/>
                      </a:cubicBezTo>
                      <a:cubicBezTo>
                        <a:pt x="1808" y="9920"/>
                        <a:pt x="5818" y="8520"/>
                        <a:pt x="5275" y="3739"/>
                      </a:cubicBezTo>
                      <a:cubicBezTo>
                        <a:pt x="5037" y="1605"/>
                        <a:pt x="-2659" y="-1643"/>
                        <a:pt x="6361" y="976"/>
                      </a:cubicBezTo>
                      <a:cubicBezTo>
                        <a:pt x="11142" y="2376"/>
                        <a:pt x="12628" y="7806"/>
                        <a:pt x="16724" y="8720"/>
                      </a:cubicBezTo>
                      <a:lnTo>
                        <a:pt x="16724" y="872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88" name="Freeform: Shape 687">
                  <a:extLst>
                    <a:ext uri="{FF2B5EF4-FFF2-40B4-BE49-F238E27FC236}">
                      <a16:creationId xmlns:a16="http://schemas.microsoft.com/office/drawing/2014/main" id="{994609B5-D149-4143-A30D-F727B09CB134}"/>
                    </a:ext>
                  </a:extLst>
                </p:cNvPr>
                <p:cNvSpPr/>
                <p:nvPr/>
              </p:nvSpPr>
              <p:spPr>
                <a:xfrm>
                  <a:off x="5421334" y="3890685"/>
                  <a:ext cx="245939" cy="176924"/>
                </a:xfrm>
                <a:custGeom>
                  <a:avLst/>
                  <a:gdLst>
                    <a:gd name="connsiteX0" fmla="*/ 178984 w 245939"/>
                    <a:gd name="connsiteY0" fmla="*/ 4494 h 176924"/>
                    <a:gd name="connsiteX1" fmla="*/ 177984 w 245939"/>
                    <a:gd name="connsiteY1" fmla="*/ 12647 h 176924"/>
                    <a:gd name="connsiteX2" fmla="*/ 180013 w 245939"/>
                    <a:gd name="connsiteY2" fmla="*/ 20725 h 176924"/>
                    <a:gd name="connsiteX3" fmla="*/ 183461 w 245939"/>
                    <a:gd name="connsiteY3" fmla="*/ 27992 h 176924"/>
                    <a:gd name="connsiteX4" fmla="*/ 186328 w 245939"/>
                    <a:gd name="connsiteY4" fmla="*/ 35174 h 176924"/>
                    <a:gd name="connsiteX5" fmla="*/ 209569 w 245939"/>
                    <a:gd name="connsiteY5" fmla="*/ 53443 h 176924"/>
                    <a:gd name="connsiteX6" fmla="*/ 202959 w 245939"/>
                    <a:gd name="connsiteY6" fmla="*/ 53214 h 176924"/>
                    <a:gd name="connsiteX7" fmla="*/ 205083 w 245939"/>
                    <a:gd name="connsiteY7" fmla="*/ 64330 h 176924"/>
                    <a:gd name="connsiteX8" fmla="*/ 219027 w 245939"/>
                    <a:gd name="connsiteY8" fmla="*/ 74941 h 176924"/>
                    <a:gd name="connsiteX9" fmla="*/ 230534 w 245939"/>
                    <a:gd name="connsiteY9" fmla="*/ 75751 h 176924"/>
                    <a:gd name="connsiteX10" fmla="*/ 240335 w 245939"/>
                    <a:gd name="connsiteY10" fmla="*/ 77703 h 176924"/>
                    <a:gd name="connsiteX11" fmla="*/ 236630 w 245939"/>
                    <a:gd name="connsiteY11" fmla="*/ 84276 h 176924"/>
                    <a:gd name="connsiteX12" fmla="*/ 242249 w 245939"/>
                    <a:gd name="connsiteY12" fmla="*/ 94020 h 176924"/>
                    <a:gd name="connsiteX13" fmla="*/ 243507 w 245939"/>
                    <a:gd name="connsiteY13" fmla="*/ 106021 h 176924"/>
                    <a:gd name="connsiteX14" fmla="*/ 237916 w 245939"/>
                    <a:gd name="connsiteY14" fmla="*/ 111203 h 176924"/>
                    <a:gd name="connsiteX15" fmla="*/ 230562 w 245939"/>
                    <a:gd name="connsiteY15" fmla="*/ 113794 h 176924"/>
                    <a:gd name="connsiteX16" fmla="*/ 222561 w 245939"/>
                    <a:gd name="connsiteY16" fmla="*/ 115070 h 176924"/>
                    <a:gd name="connsiteX17" fmla="*/ 218561 w 245939"/>
                    <a:gd name="connsiteY17" fmla="*/ 113374 h 176924"/>
                    <a:gd name="connsiteX18" fmla="*/ 212189 w 245939"/>
                    <a:gd name="connsiteY18" fmla="*/ 119080 h 176924"/>
                    <a:gd name="connsiteX19" fmla="*/ 208502 w 245939"/>
                    <a:gd name="connsiteY19" fmla="*/ 119585 h 176924"/>
                    <a:gd name="connsiteX20" fmla="*/ 207655 w 245939"/>
                    <a:gd name="connsiteY20" fmla="*/ 122223 h 176924"/>
                    <a:gd name="connsiteX21" fmla="*/ 203435 w 245939"/>
                    <a:gd name="connsiteY21" fmla="*/ 125366 h 176924"/>
                    <a:gd name="connsiteX22" fmla="*/ 179794 w 245939"/>
                    <a:gd name="connsiteY22" fmla="*/ 126119 h 176924"/>
                    <a:gd name="connsiteX23" fmla="*/ 158458 w 245939"/>
                    <a:gd name="connsiteY23" fmla="*/ 125309 h 176924"/>
                    <a:gd name="connsiteX24" fmla="*/ 152019 w 245939"/>
                    <a:gd name="connsiteY24" fmla="*/ 129929 h 176924"/>
                    <a:gd name="connsiteX25" fmla="*/ 146980 w 245939"/>
                    <a:gd name="connsiteY25" fmla="*/ 127967 h 176924"/>
                    <a:gd name="connsiteX26" fmla="*/ 139646 w 245939"/>
                    <a:gd name="connsiteY26" fmla="*/ 127386 h 176924"/>
                    <a:gd name="connsiteX27" fmla="*/ 111252 w 245939"/>
                    <a:gd name="connsiteY27" fmla="*/ 127890 h 176924"/>
                    <a:gd name="connsiteX28" fmla="*/ 93983 w 245939"/>
                    <a:gd name="connsiteY28" fmla="*/ 128053 h 176924"/>
                    <a:gd name="connsiteX29" fmla="*/ 82906 w 245939"/>
                    <a:gd name="connsiteY29" fmla="*/ 131119 h 176924"/>
                    <a:gd name="connsiteX30" fmla="*/ 85716 w 245939"/>
                    <a:gd name="connsiteY30" fmla="*/ 150998 h 176924"/>
                    <a:gd name="connsiteX31" fmla="*/ 86287 w 245939"/>
                    <a:gd name="connsiteY31" fmla="*/ 163847 h 176924"/>
                    <a:gd name="connsiteX32" fmla="*/ 87621 w 245939"/>
                    <a:gd name="connsiteY32" fmla="*/ 175944 h 176924"/>
                    <a:gd name="connsiteX33" fmla="*/ 72504 w 245939"/>
                    <a:gd name="connsiteY33" fmla="*/ 163295 h 176924"/>
                    <a:gd name="connsiteX34" fmla="*/ 42929 w 245939"/>
                    <a:gd name="connsiteY34" fmla="*/ 165543 h 176924"/>
                    <a:gd name="connsiteX35" fmla="*/ 32719 w 245939"/>
                    <a:gd name="connsiteY35" fmla="*/ 169524 h 176924"/>
                    <a:gd name="connsiteX36" fmla="*/ 20622 w 245939"/>
                    <a:gd name="connsiteY36" fmla="*/ 163781 h 176924"/>
                    <a:gd name="connsiteX37" fmla="*/ 11754 w 245939"/>
                    <a:gd name="connsiteY37" fmla="*/ 150722 h 176924"/>
                    <a:gd name="connsiteX38" fmla="*/ 105 w 245939"/>
                    <a:gd name="connsiteY38" fmla="*/ 144426 h 176924"/>
                    <a:gd name="connsiteX39" fmla="*/ 1410 w 245939"/>
                    <a:gd name="connsiteY39" fmla="*/ 128795 h 176924"/>
                    <a:gd name="connsiteX40" fmla="*/ 8468 w 245939"/>
                    <a:gd name="connsiteY40" fmla="*/ 115784 h 176924"/>
                    <a:gd name="connsiteX41" fmla="*/ 7077 w 245939"/>
                    <a:gd name="connsiteY41" fmla="*/ 103211 h 176924"/>
                    <a:gd name="connsiteX42" fmla="*/ 18336 w 245939"/>
                    <a:gd name="connsiteY42" fmla="*/ 96220 h 176924"/>
                    <a:gd name="connsiteX43" fmla="*/ 32823 w 245939"/>
                    <a:gd name="connsiteY43" fmla="*/ 75008 h 176924"/>
                    <a:gd name="connsiteX44" fmla="*/ 40824 w 245939"/>
                    <a:gd name="connsiteY44" fmla="*/ 68483 h 176924"/>
                    <a:gd name="connsiteX45" fmla="*/ 39319 w 245939"/>
                    <a:gd name="connsiteY45" fmla="*/ 59082 h 176924"/>
                    <a:gd name="connsiteX46" fmla="*/ 56807 w 245939"/>
                    <a:gd name="connsiteY46" fmla="*/ 55748 h 176924"/>
                    <a:gd name="connsiteX47" fmla="*/ 70752 w 245939"/>
                    <a:gd name="connsiteY47" fmla="*/ 52062 h 176924"/>
                    <a:gd name="connsiteX48" fmla="*/ 72152 w 245939"/>
                    <a:gd name="connsiteY48" fmla="*/ 43718 h 176924"/>
                    <a:gd name="connsiteX49" fmla="*/ 80239 w 245939"/>
                    <a:gd name="connsiteY49" fmla="*/ 44356 h 176924"/>
                    <a:gd name="connsiteX50" fmla="*/ 86649 w 245939"/>
                    <a:gd name="connsiteY50" fmla="*/ 30345 h 176924"/>
                    <a:gd name="connsiteX51" fmla="*/ 94964 w 245939"/>
                    <a:gd name="connsiteY51" fmla="*/ 24801 h 176924"/>
                    <a:gd name="connsiteX52" fmla="*/ 106385 w 245939"/>
                    <a:gd name="connsiteY52" fmla="*/ 27764 h 176924"/>
                    <a:gd name="connsiteX53" fmla="*/ 110928 w 245939"/>
                    <a:gd name="connsiteY53" fmla="*/ 19210 h 176924"/>
                    <a:gd name="connsiteX54" fmla="*/ 120310 w 245939"/>
                    <a:gd name="connsiteY54" fmla="*/ 16886 h 176924"/>
                    <a:gd name="connsiteX55" fmla="*/ 139741 w 245939"/>
                    <a:gd name="connsiteY55" fmla="*/ 7361 h 176924"/>
                    <a:gd name="connsiteX56" fmla="*/ 158363 w 245939"/>
                    <a:gd name="connsiteY56" fmla="*/ 27 h 176924"/>
                    <a:gd name="connsiteX57" fmla="*/ 178984 w 245939"/>
                    <a:gd name="connsiteY57" fmla="*/ 4494 h 176924"/>
                    <a:gd name="connsiteX58" fmla="*/ 178984 w 245939"/>
                    <a:gd name="connsiteY58" fmla="*/ 4494 h 17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45939" h="176924">
                      <a:moveTo>
                        <a:pt x="178984" y="4494"/>
                      </a:moveTo>
                      <a:cubicBezTo>
                        <a:pt x="178565" y="7066"/>
                        <a:pt x="177975" y="10028"/>
                        <a:pt x="177984" y="12647"/>
                      </a:cubicBezTo>
                      <a:cubicBezTo>
                        <a:pt x="178003" y="17372"/>
                        <a:pt x="178327" y="16896"/>
                        <a:pt x="180013" y="20725"/>
                      </a:cubicBezTo>
                      <a:cubicBezTo>
                        <a:pt x="181366" y="23782"/>
                        <a:pt x="182480" y="25287"/>
                        <a:pt x="183461" y="27992"/>
                      </a:cubicBezTo>
                      <a:cubicBezTo>
                        <a:pt x="184347" y="30421"/>
                        <a:pt x="184871" y="32679"/>
                        <a:pt x="186328" y="35174"/>
                      </a:cubicBezTo>
                      <a:cubicBezTo>
                        <a:pt x="191148" y="43480"/>
                        <a:pt x="202111" y="47519"/>
                        <a:pt x="209569" y="53443"/>
                      </a:cubicBezTo>
                      <a:cubicBezTo>
                        <a:pt x="207569" y="54529"/>
                        <a:pt x="205292" y="54205"/>
                        <a:pt x="202959" y="53214"/>
                      </a:cubicBezTo>
                      <a:cubicBezTo>
                        <a:pt x="201816" y="58044"/>
                        <a:pt x="202378" y="61378"/>
                        <a:pt x="205083" y="64330"/>
                      </a:cubicBezTo>
                      <a:cubicBezTo>
                        <a:pt x="207683" y="67188"/>
                        <a:pt x="215379" y="73036"/>
                        <a:pt x="219027" y="74941"/>
                      </a:cubicBezTo>
                      <a:cubicBezTo>
                        <a:pt x="223266" y="77160"/>
                        <a:pt x="226267" y="76741"/>
                        <a:pt x="230534" y="75751"/>
                      </a:cubicBezTo>
                      <a:cubicBezTo>
                        <a:pt x="235077" y="74703"/>
                        <a:pt x="237420" y="71483"/>
                        <a:pt x="240335" y="77703"/>
                      </a:cubicBezTo>
                      <a:cubicBezTo>
                        <a:pt x="243745" y="84971"/>
                        <a:pt x="237458" y="80713"/>
                        <a:pt x="236630" y="84276"/>
                      </a:cubicBezTo>
                      <a:cubicBezTo>
                        <a:pt x="235858" y="87571"/>
                        <a:pt x="240354" y="91581"/>
                        <a:pt x="242249" y="94020"/>
                      </a:cubicBezTo>
                      <a:cubicBezTo>
                        <a:pt x="245983" y="98830"/>
                        <a:pt x="247669" y="100316"/>
                        <a:pt x="243507" y="106021"/>
                      </a:cubicBezTo>
                      <a:cubicBezTo>
                        <a:pt x="242125" y="107907"/>
                        <a:pt x="239802" y="109936"/>
                        <a:pt x="237916" y="111203"/>
                      </a:cubicBezTo>
                      <a:cubicBezTo>
                        <a:pt x="234058" y="113803"/>
                        <a:pt x="234486" y="112965"/>
                        <a:pt x="230562" y="113794"/>
                      </a:cubicBezTo>
                      <a:cubicBezTo>
                        <a:pt x="228191" y="114298"/>
                        <a:pt x="224933" y="115127"/>
                        <a:pt x="222561" y="115070"/>
                      </a:cubicBezTo>
                      <a:cubicBezTo>
                        <a:pt x="221075" y="115032"/>
                        <a:pt x="220780" y="112755"/>
                        <a:pt x="218561" y="113374"/>
                      </a:cubicBezTo>
                      <a:cubicBezTo>
                        <a:pt x="215132" y="114327"/>
                        <a:pt x="214760" y="116641"/>
                        <a:pt x="212189" y="119080"/>
                      </a:cubicBezTo>
                      <a:cubicBezTo>
                        <a:pt x="211255" y="119966"/>
                        <a:pt x="209283" y="118813"/>
                        <a:pt x="208502" y="119585"/>
                      </a:cubicBezTo>
                      <a:cubicBezTo>
                        <a:pt x="207912" y="120175"/>
                        <a:pt x="208331" y="121737"/>
                        <a:pt x="207655" y="122223"/>
                      </a:cubicBezTo>
                      <a:cubicBezTo>
                        <a:pt x="205445" y="123814"/>
                        <a:pt x="205235" y="124281"/>
                        <a:pt x="203435" y="125366"/>
                      </a:cubicBezTo>
                      <a:cubicBezTo>
                        <a:pt x="195434" y="130186"/>
                        <a:pt x="188681" y="128167"/>
                        <a:pt x="179794" y="126119"/>
                      </a:cubicBezTo>
                      <a:cubicBezTo>
                        <a:pt x="171907" y="124290"/>
                        <a:pt x="164306" y="121452"/>
                        <a:pt x="158458" y="125309"/>
                      </a:cubicBezTo>
                      <a:cubicBezTo>
                        <a:pt x="156400" y="126662"/>
                        <a:pt x="154667" y="129529"/>
                        <a:pt x="152019" y="129929"/>
                      </a:cubicBezTo>
                      <a:cubicBezTo>
                        <a:pt x="152581" y="129843"/>
                        <a:pt x="147247" y="128024"/>
                        <a:pt x="146980" y="127967"/>
                      </a:cubicBezTo>
                      <a:cubicBezTo>
                        <a:pt x="145085" y="127548"/>
                        <a:pt x="141627" y="127414"/>
                        <a:pt x="139646" y="127386"/>
                      </a:cubicBezTo>
                      <a:cubicBezTo>
                        <a:pt x="130016" y="127252"/>
                        <a:pt x="120844" y="127795"/>
                        <a:pt x="111252" y="127890"/>
                      </a:cubicBezTo>
                      <a:cubicBezTo>
                        <a:pt x="105499" y="127948"/>
                        <a:pt x="99737" y="127995"/>
                        <a:pt x="93983" y="128053"/>
                      </a:cubicBezTo>
                      <a:cubicBezTo>
                        <a:pt x="87535" y="128119"/>
                        <a:pt x="85601" y="126490"/>
                        <a:pt x="82906" y="131119"/>
                      </a:cubicBezTo>
                      <a:cubicBezTo>
                        <a:pt x="78048" y="139454"/>
                        <a:pt x="85544" y="144931"/>
                        <a:pt x="85716" y="150998"/>
                      </a:cubicBezTo>
                      <a:cubicBezTo>
                        <a:pt x="85839" y="155132"/>
                        <a:pt x="85973" y="159494"/>
                        <a:pt x="86287" y="163847"/>
                      </a:cubicBezTo>
                      <a:cubicBezTo>
                        <a:pt x="86411" y="165657"/>
                        <a:pt x="88230" y="174906"/>
                        <a:pt x="87621" y="175944"/>
                      </a:cubicBezTo>
                      <a:cubicBezTo>
                        <a:pt x="84630" y="181011"/>
                        <a:pt x="75505" y="164857"/>
                        <a:pt x="72504" y="163295"/>
                      </a:cubicBezTo>
                      <a:cubicBezTo>
                        <a:pt x="64837" y="159304"/>
                        <a:pt x="50587" y="161504"/>
                        <a:pt x="42929" y="165543"/>
                      </a:cubicBezTo>
                      <a:cubicBezTo>
                        <a:pt x="38205" y="168038"/>
                        <a:pt x="37586" y="169648"/>
                        <a:pt x="32719" y="169524"/>
                      </a:cubicBezTo>
                      <a:cubicBezTo>
                        <a:pt x="29109" y="169429"/>
                        <a:pt x="23622" y="166438"/>
                        <a:pt x="20622" y="163781"/>
                      </a:cubicBezTo>
                      <a:cubicBezTo>
                        <a:pt x="16745" y="160352"/>
                        <a:pt x="15916" y="153665"/>
                        <a:pt x="11754" y="150722"/>
                      </a:cubicBezTo>
                      <a:cubicBezTo>
                        <a:pt x="7115" y="147436"/>
                        <a:pt x="1524" y="150970"/>
                        <a:pt x="105" y="144426"/>
                      </a:cubicBezTo>
                      <a:cubicBezTo>
                        <a:pt x="-362" y="142264"/>
                        <a:pt x="848" y="130910"/>
                        <a:pt x="1410" y="128795"/>
                      </a:cubicBezTo>
                      <a:cubicBezTo>
                        <a:pt x="2639" y="124195"/>
                        <a:pt x="7439" y="122014"/>
                        <a:pt x="8468" y="115784"/>
                      </a:cubicBezTo>
                      <a:cubicBezTo>
                        <a:pt x="9211" y="111288"/>
                        <a:pt x="6172" y="107231"/>
                        <a:pt x="7077" y="103211"/>
                      </a:cubicBezTo>
                      <a:cubicBezTo>
                        <a:pt x="8315" y="97715"/>
                        <a:pt x="13973" y="97496"/>
                        <a:pt x="18336" y="96220"/>
                      </a:cubicBezTo>
                      <a:cubicBezTo>
                        <a:pt x="26527" y="93829"/>
                        <a:pt x="40910" y="85333"/>
                        <a:pt x="32823" y="75008"/>
                      </a:cubicBezTo>
                      <a:cubicBezTo>
                        <a:pt x="36681" y="73141"/>
                        <a:pt x="40491" y="72779"/>
                        <a:pt x="40824" y="68483"/>
                      </a:cubicBezTo>
                      <a:cubicBezTo>
                        <a:pt x="41215" y="63549"/>
                        <a:pt x="37081" y="63949"/>
                        <a:pt x="39319" y="59082"/>
                      </a:cubicBezTo>
                      <a:cubicBezTo>
                        <a:pt x="43129" y="50757"/>
                        <a:pt x="50673" y="52310"/>
                        <a:pt x="56807" y="55748"/>
                      </a:cubicBezTo>
                      <a:cubicBezTo>
                        <a:pt x="62808" y="59120"/>
                        <a:pt x="68018" y="59749"/>
                        <a:pt x="70752" y="52062"/>
                      </a:cubicBezTo>
                      <a:cubicBezTo>
                        <a:pt x="71685" y="49443"/>
                        <a:pt x="69352" y="45414"/>
                        <a:pt x="72152" y="43718"/>
                      </a:cubicBezTo>
                      <a:cubicBezTo>
                        <a:pt x="74343" y="42385"/>
                        <a:pt x="77791" y="45737"/>
                        <a:pt x="80239" y="44356"/>
                      </a:cubicBezTo>
                      <a:cubicBezTo>
                        <a:pt x="82849" y="42880"/>
                        <a:pt x="83449" y="33679"/>
                        <a:pt x="86649" y="30345"/>
                      </a:cubicBezTo>
                      <a:cubicBezTo>
                        <a:pt x="88526" y="28392"/>
                        <a:pt x="92040" y="25202"/>
                        <a:pt x="94964" y="24801"/>
                      </a:cubicBezTo>
                      <a:cubicBezTo>
                        <a:pt x="98517" y="24306"/>
                        <a:pt x="103232" y="28678"/>
                        <a:pt x="106385" y="27764"/>
                      </a:cubicBezTo>
                      <a:cubicBezTo>
                        <a:pt x="110614" y="26544"/>
                        <a:pt x="108080" y="21753"/>
                        <a:pt x="110928" y="19210"/>
                      </a:cubicBezTo>
                      <a:cubicBezTo>
                        <a:pt x="113100" y="17267"/>
                        <a:pt x="117434" y="17982"/>
                        <a:pt x="120310" y="16886"/>
                      </a:cubicBezTo>
                      <a:cubicBezTo>
                        <a:pt x="126311" y="14619"/>
                        <a:pt x="134226" y="10666"/>
                        <a:pt x="139741" y="7361"/>
                      </a:cubicBezTo>
                      <a:cubicBezTo>
                        <a:pt x="147618" y="2646"/>
                        <a:pt x="148981" y="-316"/>
                        <a:pt x="158363" y="27"/>
                      </a:cubicBezTo>
                      <a:cubicBezTo>
                        <a:pt x="164659" y="284"/>
                        <a:pt x="171850" y="1980"/>
                        <a:pt x="178984" y="4494"/>
                      </a:cubicBezTo>
                      <a:lnTo>
                        <a:pt x="178984" y="4494"/>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89" name="Freeform: Shape 688">
                  <a:extLst>
                    <a:ext uri="{FF2B5EF4-FFF2-40B4-BE49-F238E27FC236}">
                      <a16:creationId xmlns:a16="http://schemas.microsoft.com/office/drawing/2014/main" id="{50268971-DDDB-4587-A05B-BE1368C748BE}"/>
                    </a:ext>
                  </a:extLst>
                </p:cNvPr>
                <p:cNvSpPr/>
                <p:nvPr/>
              </p:nvSpPr>
              <p:spPr>
                <a:xfrm>
                  <a:off x="5616893" y="3975025"/>
                  <a:ext cx="96038" cy="194045"/>
                </a:xfrm>
                <a:custGeom>
                  <a:avLst/>
                  <a:gdLst>
                    <a:gd name="connsiteX0" fmla="*/ 88781 w 96038"/>
                    <a:gd name="connsiteY0" fmla="*/ 21434 h 194045"/>
                    <a:gd name="connsiteX1" fmla="*/ 92676 w 96038"/>
                    <a:gd name="connsiteY1" fmla="*/ 40874 h 194045"/>
                    <a:gd name="connsiteX2" fmla="*/ 94705 w 96038"/>
                    <a:gd name="connsiteY2" fmla="*/ 61429 h 194045"/>
                    <a:gd name="connsiteX3" fmla="*/ 89095 w 96038"/>
                    <a:gd name="connsiteY3" fmla="*/ 64277 h 194045"/>
                    <a:gd name="connsiteX4" fmla="*/ 88952 w 96038"/>
                    <a:gd name="connsiteY4" fmla="*/ 75507 h 194045"/>
                    <a:gd name="connsiteX5" fmla="*/ 81370 w 96038"/>
                    <a:gd name="connsiteY5" fmla="*/ 81060 h 194045"/>
                    <a:gd name="connsiteX6" fmla="*/ 80399 w 96038"/>
                    <a:gd name="connsiteY6" fmla="*/ 85794 h 194045"/>
                    <a:gd name="connsiteX7" fmla="*/ 75674 w 96038"/>
                    <a:gd name="connsiteY7" fmla="*/ 90795 h 194045"/>
                    <a:gd name="connsiteX8" fmla="*/ 74026 w 96038"/>
                    <a:gd name="connsiteY8" fmla="*/ 100434 h 194045"/>
                    <a:gd name="connsiteX9" fmla="*/ 63549 w 96038"/>
                    <a:gd name="connsiteY9" fmla="*/ 104863 h 194045"/>
                    <a:gd name="connsiteX10" fmla="*/ 61634 w 96038"/>
                    <a:gd name="connsiteY10" fmla="*/ 129819 h 194045"/>
                    <a:gd name="connsiteX11" fmla="*/ 63502 w 96038"/>
                    <a:gd name="connsiteY11" fmla="*/ 153346 h 194045"/>
                    <a:gd name="connsiteX12" fmla="*/ 62092 w 96038"/>
                    <a:gd name="connsiteY12" fmla="*/ 169995 h 194045"/>
                    <a:gd name="connsiteX13" fmla="*/ 59606 w 96038"/>
                    <a:gd name="connsiteY13" fmla="*/ 189445 h 194045"/>
                    <a:gd name="connsiteX14" fmla="*/ 44690 w 96038"/>
                    <a:gd name="connsiteY14" fmla="*/ 191084 h 194045"/>
                    <a:gd name="connsiteX15" fmla="*/ 27649 w 96038"/>
                    <a:gd name="connsiteY15" fmla="*/ 194046 h 194045"/>
                    <a:gd name="connsiteX16" fmla="*/ 27278 w 96038"/>
                    <a:gd name="connsiteY16" fmla="*/ 192970 h 194045"/>
                    <a:gd name="connsiteX17" fmla="*/ 27507 w 96038"/>
                    <a:gd name="connsiteY17" fmla="*/ 182102 h 194045"/>
                    <a:gd name="connsiteX18" fmla="*/ 24725 w 96038"/>
                    <a:gd name="connsiteY18" fmla="*/ 169605 h 194045"/>
                    <a:gd name="connsiteX19" fmla="*/ 27630 w 96038"/>
                    <a:gd name="connsiteY19" fmla="*/ 139344 h 194045"/>
                    <a:gd name="connsiteX20" fmla="*/ 26887 w 96038"/>
                    <a:gd name="connsiteY20" fmla="*/ 110521 h 194045"/>
                    <a:gd name="connsiteX21" fmla="*/ 20687 w 96038"/>
                    <a:gd name="connsiteY21" fmla="*/ 96205 h 194045"/>
                    <a:gd name="connsiteX22" fmla="*/ 18743 w 96038"/>
                    <a:gd name="connsiteY22" fmla="*/ 81698 h 194045"/>
                    <a:gd name="connsiteX23" fmla="*/ 913 w 96038"/>
                    <a:gd name="connsiteY23" fmla="*/ 63344 h 194045"/>
                    <a:gd name="connsiteX24" fmla="*/ 7466 w 96038"/>
                    <a:gd name="connsiteY24" fmla="*/ 40932 h 194045"/>
                    <a:gd name="connsiteX25" fmla="*/ 10200 w 96038"/>
                    <a:gd name="connsiteY25" fmla="*/ 41246 h 194045"/>
                    <a:gd name="connsiteX26" fmla="*/ 10819 w 96038"/>
                    <a:gd name="connsiteY26" fmla="*/ 38731 h 194045"/>
                    <a:gd name="connsiteX27" fmla="*/ 14781 w 96038"/>
                    <a:gd name="connsiteY27" fmla="*/ 35102 h 194045"/>
                    <a:gd name="connsiteX28" fmla="*/ 29354 w 96038"/>
                    <a:gd name="connsiteY28" fmla="*/ 30273 h 194045"/>
                    <a:gd name="connsiteX29" fmla="*/ 51528 w 96038"/>
                    <a:gd name="connsiteY29" fmla="*/ 13499 h 194045"/>
                    <a:gd name="connsiteX30" fmla="*/ 56472 w 96038"/>
                    <a:gd name="connsiteY30" fmla="*/ 2851 h 194045"/>
                    <a:gd name="connsiteX31" fmla="*/ 65035 w 96038"/>
                    <a:gd name="connsiteY31" fmla="*/ 12 h 194045"/>
                    <a:gd name="connsiteX32" fmla="*/ 77341 w 96038"/>
                    <a:gd name="connsiteY32" fmla="*/ 10861 h 194045"/>
                    <a:gd name="connsiteX33" fmla="*/ 88781 w 96038"/>
                    <a:gd name="connsiteY33" fmla="*/ 21434 h 194045"/>
                    <a:gd name="connsiteX34" fmla="*/ 88781 w 96038"/>
                    <a:gd name="connsiteY34" fmla="*/ 21434 h 194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6038" h="194045">
                      <a:moveTo>
                        <a:pt x="88781" y="21434"/>
                      </a:moveTo>
                      <a:cubicBezTo>
                        <a:pt x="82494" y="31197"/>
                        <a:pt x="89295" y="32483"/>
                        <a:pt x="92676" y="40874"/>
                      </a:cubicBezTo>
                      <a:cubicBezTo>
                        <a:pt x="94467" y="45294"/>
                        <a:pt x="97953" y="57353"/>
                        <a:pt x="94705" y="61429"/>
                      </a:cubicBezTo>
                      <a:cubicBezTo>
                        <a:pt x="93324" y="63153"/>
                        <a:pt x="90981" y="60953"/>
                        <a:pt x="89095" y="64277"/>
                      </a:cubicBezTo>
                      <a:cubicBezTo>
                        <a:pt x="87181" y="67649"/>
                        <a:pt x="91648" y="70792"/>
                        <a:pt x="88952" y="75507"/>
                      </a:cubicBezTo>
                      <a:cubicBezTo>
                        <a:pt x="86752" y="79374"/>
                        <a:pt x="84076" y="78422"/>
                        <a:pt x="81370" y="81060"/>
                      </a:cubicBezTo>
                      <a:cubicBezTo>
                        <a:pt x="79961" y="82432"/>
                        <a:pt x="81370" y="84270"/>
                        <a:pt x="80399" y="85794"/>
                      </a:cubicBezTo>
                      <a:cubicBezTo>
                        <a:pt x="79227" y="87652"/>
                        <a:pt x="76655" y="88728"/>
                        <a:pt x="75674" y="90795"/>
                      </a:cubicBezTo>
                      <a:cubicBezTo>
                        <a:pt x="74246" y="93814"/>
                        <a:pt x="75874" y="97243"/>
                        <a:pt x="74026" y="100434"/>
                      </a:cubicBezTo>
                      <a:cubicBezTo>
                        <a:pt x="71017" y="105673"/>
                        <a:pt x="66721" y="101806"/>
                        <a:pt x="63549" y="104863"/>
                      </a:cubicBezTo>
                      <a:cubicBezTo>
                        <a:pt x="60101" y="108178"/>
                        <a:pt x="61863" y="124952"/>
                        <a:pt x="61634" y="129819"/>
                      </a:cubicBezTo>
                      <a:cubicBezTo>
                        <a:pt x="61216" y="138391"/>
                        <a:pt x="62949" y="145287"/>
                        <a:pt x="63502" y="153346"/>
                      </a:cubicBezTo>
                      <a:cubicBezTo>
                        <a:pt x="63845" y="158194"/>
                        <a:pt x="62016" y="164957"/>
                        <a:pt x="62092" y="169995"/>
                      </a:cubicBezTo>
                      <a:cubicBezTo>
                        <a:pt x="62177" y="176291"/>
                        <a:pt x="65273" y="185997"/>
                        <a:pt x="59606" y="189445"/>
                      </a:cubicBezTo>
                      <a:cubicBezTo>
                        <a:pt x="56510" y="191331"/>
                        <a:pt x="48671" y="190560"/>
                        <a:pt x="44690" y="191084"/>
                      </a:cubicBezTo>
                      <a:cubicBezTo>
                        <a:pt x="38936" y="191855"/>
                        <a:pt x="33298" y="192741"/>
                        <a:pt x="27649" y="194046"/>
                      </a:cubicBezTo>
                      <a:cubicBezTo>
                        <a:pt x="27526" y="193684"/>
                        <a:pt x="27402" y="193332"/>
                        <a:pt x="27278" y="192970"/>
                      </a:cubicBezTo>
                      <a:cubicBezTo>
                        <a:pt x="36994" y="192627"/>
                        <a:pt x="29431" y="186435"/>
                        <a:pt x="27507" y="182102"/>
                      </a:cubicBezTo>
                      <a:cubicBezTo>
                        <a:pt x="25821" y="178282"/>
                        <a:pt x="27287" y="173948"/>
                        <a:pt x="24725" y="169605"/>
                      </a:cubicBezTo>
                      <a:cubicBezTo>
                        <a:pt x="29821" y="170043"/>
                        <a:pt x="27640" y="144897"/>
                        <a:pt x="27630" y="139344"/>
                      </a:cubicBezTo>
                      <a:cubicBezTo>
                        <a:pt x="27611" y="129762"/>
                        <a:pt x="27449" y="120084"/>
                        <a:pt x="26887" y="110521"/>
                      </a:cubicBezTo>
                      <a:cubicBezTo>
                        <a:pt x="26430" y="102873"/>
                        <a:pt x="23916" y="102482"/>
                        <a:pt x="20687" y="96205"/>
                      </a:cubicBezTo>
                      <a:cubicBezTo>
                        <a:pt x="18534" y="92033"/>
                        <a:pt x="18953" y="86309"/>
                        <a:pt x="18743" y="81698"/>
                      </a:cubicBezTo>
                      <a:cubicBezTo>
                        <a:pt x="18162" y="69126"/>
                        <a:pt x="6170" y="72574"/>
                        <a:pt x="913" y="63344"/>
                      </a:cubicBezTo>
                      <a:cubicBezTo>
                        <a:pt x="-2354" y="57619"/>
                        <a:pt x="3932" y="44961"/>
                        <a:pt x="7466" y="40932"/>
                      </a:cubicBezTo>
                      <a:cubicBezTo>
                        <a:pt x="7790" y="40551"/>
                        <a:pt x="9523" y="41989"/>
                        <a:pt x="10200" y="41246"/>
                      </a:cubicBezTo>
                      <a:cubicBezTo>
                        <a:pt x="10809" y="40579"/>
                        <a:pt x="10038" y="39379"/>
                        <a:pt x="10819" y="38731"/>
                      </a:cubicBezTo>
                      <a:cubicBezTo>
                        <a:pt x="12485" y="37341"/>
                        <a:pt x="13457" y="36274"/>
                        <a:pt x="14781" y="35102"/>
                      </a:cubicBezTo>
                      <a:cubicBezTo>
                        <a:pt x="20839" y="29768"/>
                        <a:pt x="21915" y="29968"/>
                        <a:pt x="29354" y="30273"/>
                      </a:cubicBezTo>
                      <a:cubicBezTo>
                        <a:pt x="39013" y="30673"/>
                        <a:pt x="50167" y="24596"/>
                        <a:pt x="51528" y="13499"/>
                      </a:cubicBezTo>
                      <a:cubicBezTo>
                        <a:pt x="52576" y="4965"/>
                        <a:pt x="47614" y="6518"/>
                        <a:pt x="56472" y="2851"/>
                      </a:cubicBezTo>
                      <a:cubicBezTo>
                        <a:pt x="58682" y="1936"/>
                        <a:pt x="62863" y="-178"/>
                        <a:pt x="65035" y="12"/>
                      </a:cubicBezTo>
                      <a:cubicBezTo>
                        <a:pt x="69207" y="374"/>
                        <a:pt x="74446" y="7746"/>
                        <a:pt x="77341" y="10861"/>
                      </a:cubicBezTo>
                      <a:cubicBezTo>
                        <a:pt x="80742" y="14519"/>
                        <a:pt x="86314" y="17005"/>
                        <a:pt x="88781" y="21434"/>
                      </a:cubicBezTo>
                      <a:lnTo>
                        <a:pt x="88781" y="21434"/>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90" name="Freeform: Shape 689">
                  <a:extLst>
                    <a:ext uri="{FF2B5EF4-FFF2-40B4-BE49-F238E27FC236}">
                      <a16:creationId xmlns:a16="http://schemas.microsoft.com/office/drawing/2014/main" id="{A700FD99-5C32-49C5-86FD-4D720B014BF8}"/>
                    </a:ext>
                  </a:extLst>
                </p:cNvPr>
                <p:cNvSpPr/>
                <p:nvPr/>
              </p:nvSpPr>
              <p:spPr>
                <a:xfrm>
                  <a:off x="5658414" y="2743661"/>
                  <a:ext cx="99015" cy="61531"/>
                </a:xfrm>
                <a:custGeom>
                  <a:avLst/>
                  <a:gdLst>
                    <a:gd name="connsiteX0" fmla="*/ 58309 w 99015"/>
                    <a:gd name="connsiteY0" fmla="*/ 1098 h 61531"/>
                    <a:gd name="connsiteX1" fmla="*/ 63052 w 99015"/>
                    <a:gd name="connsiteY1" fmla="*/ 517 h 61531"/>
                    <a:gd name="connsiteX2" fmla="*/ 65291 w 99015"/>
                    <a:gd name="connsiteY2" fmla="*/ 2870 h 61531"/>
                    <a:gd name="connsiteX3" fmla="*/ 71158 w 99015"/>
                    <a:gd name="connsiteY3" fmla="*/ 6556 h 61531"/>
                    <a:gd name="connsiteX4" fmla="*/ 76426 w 99015"/>
                    <a:gd name="connsiteY4" fmla="*/ 6356 h 61531"/>
                    <a:gd name="connsiteX5" fmla="*/ 81550 w 99015"/>
                    <a:gd name="connsiteY5" fmla="*/ 21834 h 61531"/>
                    <a:gd name="connsiteX6" fmla="*/ 95723 w 99015"/>
                    <a:gd name="connsiteY6" fmla="*/ 27444 h 61531"/>
                    <a:gd name="connsiteX7" fmla="*/ 98695 w 99015"/>
                    <a:gd name="connsiteY7" fmla="*/ 32817 h 61531"/>
                    <a:gd name="connsiteX8" fmla="*/ 93275 w 99015"/>
                    <a:gd name="connsiteY8" fmla="*/ 42418 h 61531"/>
                    <a:gd name="connsiteX9" fmla="*/ 84350 w 99015"/>
                    <a:gd name="connsiteY9" fmla="*/ 53067 h 61531"/>
                    <a:gd name="connsiteX10" fmla="*/ 86465 w 99015"/>
                    <a:gd name="connsiteY10" fmla="*/ 59906 h 61531"/>
                    <a:gd name="connsiteX11" fmla="*/ 77740 w 99015"/>
                    <a:gd name="connsiteY11" fmla="*/ 61315 h 61531"/>
                    <a:gd name="connsiteX12" fmla="*/ 69891 w 99015"/>
                    <a:gd name="connsiteY12" fmla="*/ 55762 h 61531"/>
                    <a:gd name="connsiteX13" fmla="*/ 61071 w 99015"/>
                    <a:gd name="connsiteY13" fmla="*/ 51981 h 61531"/>
                    <a:gd name="connsiteX14" fmla="*/ 60300 w 99015"/>
                    <a:gd name="connsiteY14" fmla="*/ 41675 h 61531"/>
                    <a:gd name="connsiteX15" fmla="*/ 52823 w 99015"/>
                    <a:gd name="connsiteY15" fmla="*/ 47485 h 61531"/>
                    <a:gd name="connsiteX16" fmla="*/ 42555 w 99015"/>
                    <a:gd name="connsiteY16" fmla="*/ 45485 h 61531"/>
                    <a:gd name="connsiteX17" fmla="*/ 42736 w 99015"/>
                    <a:gd name="connsiteY17" fmla="*/ 39598 h 61531"/>
                    <a:gd name="connsiteX18" fmla="*/ 33811 w 99015"/>
                    <a:gd name="connsiteY18" fmla="*/ 35455 h 61531"/>
                    <a:gd name="connsiteX19" fmla="*/ 31153 w 99015"/>
                    <a:gd name="connsiteY19" fmla="*/ 36112 h 61531"/>
                    <a:gd name="connsiteX20" fmla="*/ 28629 w 99015"/>
                    <a:gd name="connsiteY20" fmla="*/ 31826 h 61531"/>
                    <a:gd name="connsiteX21" fmla="*/ 19142 w 99015"/>
                    <a:gd name="connsiteY21" fmla="*/ 28559 h 61531"/>
                    <a:gd name="connsiteX22" fmla="*/ 12875 w 99015"/>
                    <a:gd name="connsiteY22" fmla="*/ 22082 h 61531"/>
                    <a:gd name="connsiteX23" fmla="*/ 3302 w 99015"/>
                    <a:gd name="connsiteY23" fmla="*/ 20186 h 61531"/>
                    <a:gd name="connsiteX24" fmla="*/ 35 w 99015"/>
                    <a:gd name="connsiteY24" fmla="*/ 12424 h 61531"/>
                    <a:gd name="connsiteX25" fmla="*/ 16951 w 99015"/>
                    <a:gd name="connsiteY25" fmla="*/ 3975 h 61531"/>
                    <a:gd name="connsiteX26" fmla="*/ 19323 w 99015"/>
                    <a:gd name="connsiteY26" fmla="*/ 3222 h 61531"/>
                    <a:gd name="connsiteX27" fmla="*/ 22038 w 99015"/>
                    <a:gd name="connsiteY27" fmla="*/ 5975 h 61531"/>
                    <a:gd name="connsiteX28" fmla="*/ 24076 w 99015"/>
                    <a:gd name="connsiteY28" fmla="*/ 7118 h 61531"/>
                    <a:gd name="connsiteX29" fmla="*/ 29420 w 99015"/>
                    <a:gd name="connsiteY29" fmla="*/ 6070 h 61531"/>
                    <a:gd name="connsiteX30" fmla="*/ 33363 w 99015"/>
                    <a:gd name="connsiteY30" fmla="*/ 8023 h 61531"/>
                    <a:gd name="connsiteX31" fmla="*/ 43269 w 99015"/>
                    <a:gd name="connsiteY31" fmla="*/ 2565 h 61531"/>
                    <a:gd name="connsiteX32" fmla="*/ 50660 w 99015"/>
                    <a:gd name="connsiteY32" fmla="*/ 193 h 61531"/>
                    <a:gd name="connsiteX33" fmla="*/ 58309 w 99015"/>
                    <a:gd name="connsiteY33" fmla="*/ 1098 h 61531"/>
                    <a:gd name="connsiteX34" fmla="*/ 58309 w 99015"/>
                    <a:gd name="connsiteY34" fmla="*/ 1098 h 6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9015" h="61531">
                      <a:moveTo>
                        <a:pt x="58309" y="1098"/>
                      </a:moveTo>
                      <a:cubicBezTo>
                        <a:pt x="60748" y="3032"/>
                        <a:pt x="61500" y="51"/>
                        <a:pt x="63052" y="517"/>
                      </a:cubicBezTo>
                      <a:cubicBezTo>
                        <a:pt x="64576" y="965"/>
                        <a:pt x="63910" y="2260"/>
                        <a:pt x="65291" y="2870"/>
                      </a:cubicBezTo>
                      <a:cubicBezTo>
                        <a:pt x="67005" y="3622"/>
                        <a:pt x="68853" y="5737"/>
                        <a:pt x="71158" y="6556"/>
                      </a:cubicBezTo>
                      <a:cubicBezTo>
                        <a:pt x="72501" y="7032"/>
                        <a:pt x="74997" y="6013"/>
                        <a:pt x="76426" y="6356"/>
                      </a:cubicBezTo>
                      <a:cubicBezTo>
                        <a:pt x="91342" y="9957"/>
                        <a:pt x="76521" y="16700"/>
                        <a:pt x="81550" y="21834"/>
                      </a:cubicBezTo>
                      <a:cubicBezTo>
                        <a:pt x="86141" y="19539"/>
                        <a:pt x="91818" y="24387"/>
                        <a:pt x="95723" y="27444"/>
                      </a:cubicBezTo>
                      <a:cubicBezTo>
                        <a:pt x="91866" y="31121"/>
                        <a:pt x="97733" y="29797"/>
                        <a:pt x="98695" y="32817"/>
                      </a:cubicBezTo>
                      <a:cubicBezTo>
                        <a:pt x="100524" y="38560"/>
                        <a:pt x="93961" y="36893"/>
                        <a:pt x="93275" y="42418"/>
                      </a:cubicBezTo>
                      <a:cubicBezTo>
                        <a:pt x="87884" y="36960"/>
                        <a:pt x="83550" y="49352"/>
                        <a:pt x="84350" y="53067"/>
                      </a:cubicBezTo>
                      <a:cubicBezTo>
                        <a:pt x="84950" y="55848"/>
                        <a:pt x="88922" y="56467"/>
                        <a:pt x="86465" y="59906"/>
                      </a:cubicBezTo>
                      <a:cubicBezTo>
                        <a:pt x="85465" y="61296"/>
                        <a:pt x="79474" y="61887"/>
                        <a:pt x="77740" y="61315"/>
                      </a:cubicBezTo>
                      <a:cubicBezTo>
                        <a:pt x="75368" y="60534"/>
                        <a:pt x="72206" y="57039"/>
                        <a:pt x="69891" y="55762"/>
                      </a:cubicBezTo>
                      <a:cubicBezTo>
                        <a:pt x="67615" y="54505"/>
                        <a:pt x="62205" y="53371"/>
                        <a:pt x="61071" y="51981"/>
                      </a:cubicBezTo>
                      <a:cubicBezTo>
                        <a:pt x="59442" y="49990"/>
                        <a:pt x="60481" y="41741"/>
                        <a:pt x="60300" y="41675"/>
                      </a:cubicBezTo>
                      <a:cubicBezTo>
                        <a:pt x="57785" y="40665"/>
                        <a:pt x="54985" y="46533"/>
                        <a:pt x="52823" y="47485"/>
                      </a:cubicBezTo>
                      <a:cubicBezTo>
                        <a:pt x="48851" y="49247"/>
                        <a:pt x="43926" y="47866"/>
                        <a:pt x="42555" y="45485"/>
                      </a:cubicBezTo>
                      <a:cubicBezTo>
                        <a:pt x="42393" y="45218"/>
                        <a:pt x="43107" y="40379"/>
                        <a:pt x="42736" y="39598"/>
                      </a:cubicBezTo>
                      <a:cubicBezTo>
                        <a:pt x="40745" y="35445"/>
                        <a:pt x="38088" y="36703"/>
                        <a:pt x="33811" y="35455"/>
                      </a:cubicBezTo>
                      <a:cubicBezTo>
                        <a:pt x="33249" y="35293"/>
                        <a:pt x="31001" y="36045"/>
                        <a:pt x="31153" y="36112"/>
                      </a:cubicBezTo>
                      <a:cubicBezTo>
                        <a:pt x="29839" y="35436"/>
                        <a:pt x="30029" y="32645"/>
                        <a:pt x="28629" y="31826"/>
                      </a:cubicBezTo>
                      <a:cubicBezTo>
                        <a:pt x="25333" y="29892"/>
                        <a:pt x="21809" y="31035"/>
                        <a:pt x="19142" y="28559"/>
                      </a:cubicBezTo>
                      <a:cubicBezTo>
                        <a:pt x="15466" y="25130"/>
                        <a:pt x="18485" y="23387"/>
                        <a:pt x="12875" y="22082"/>
                      </a:cubicBezTo>
                      <a:cubicBezTo>
                        <a:pt x="8312" y="21025"/>
                        <a:pt x="8131" y="25730"/>
                        <a:pt x="3302" y="20186"/>
                      </a:cubicBezTo>
                      <a:cubicBezTo>
                        <a:pt x="2635" y="19415"/>
                        <a:pt x="-355" y="13433"/>
                        <a:pt x="35" y="12424"/>
                      </a:cubicBezTo>
                      <a:cubicBezTo>
                        <a:pt x="988" y="9928"/>
                        <a:pt x="13332" y="4356"/>
                        <a:pt x="16951" y="3975"/>
                      </a:cubicBezTo>
                      <a:cubicBezTo>
                        <a:pt x="17628" y="3908"/>
                        <a:pt x="18618" y="3118"/>
                        <a:pt x="19323" y="3222"/>
                      </a:cubicBezTo>
                      <a:cubicBezTo>
                        <a:pt x="21867" y="3622"/>
                        <a:pt x="20352" y="5585"/>
                        <a:pt x="22038" y="5975"/>
                      </a:cubicBezTo>
                      <a:cubicBezTo>
                        <a:pt x="22457" y="6070"/>
                        <a:pt x="23343" y="6937"/>
                        <a:pt x="24076" y="7118"/>
                      </a:cubicBezTo>
                      <a:cubicBezTo>
                        <a:pt x="24838" y="7318"/>
                        <a:pt x="27972" y="5947"/>
                        <a:pt x="29420" y="6070"/>
                      </a:cubicBezTo>
                      <a:cubicBezTo>
                        <a:pt x="31058" y="6213"/>
                        <a:pt x="31887" y="7937"/>
                        <a:pt x="33363" y="8023"/>
                      </a:cubicBezTo>
                      <a:cubicBezTo>
                        <a:pt x="37116" y="8223"/>
                        <a:pt x="42012" y="6318"/>
                        <a:pt x="43269" y="2565"/>
                      </a:cubicBezTo>
                      <a:cubicBezTo>
                        <a:pt x="47374" y="4765"/>
                        <a:pt x="47831" y="1498"/>
                        <a:pt x="50660" y="193"/>
                      </a:cubicBezTo>
                      <a:cubicBezTo>
                        <a:pt x="51575" y="-235"/>
                        <a:pt x="57652" y="41"/>
                        <a:pt x="58309" y="1098"/>
                      </a:cubicBezTo>
                      <a:lnTo>
                        <a:pt x="58309" y="1098"/>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91" name="Freeform: Shape 690">
                  <a:extLst>
                    <a:ext uri="{FF2B5EF4-FFF2-40B4-BE49-F238E27FC236}">
                      <a16:creationId xmlns:a16="http://schemas.microsoft.com/office/drawing/2014/main" id="{AACE3705-24FF-403E-8D2A-47AEAD599F21}"/>
                    </a:ext>
                  </a:extLst>
                </p:cNvPr>
                <p:cNvSpPr/>
                <p:nvPr/>
              </p:nvSpPr>
              <p:spPr>
                <a:xfrm>
                  <a:off x="6507014" y="4438464"/>
                  <a:ext cx="56816" cy="67158"/>
                </a:xfrm>
                <a:custGeom>
                  <a:avLst/>
                  <a:gdLst>
                    <a:gd name="connsiteX0" fmla="*/ 48594 w 56816"/>
                    <a:gd name="connsiteY0" fmla="*/ 2021 h 67158"/>
                    <a:gd name="connsiteX1" fmla="*/ 44622 w 56816"/>
                    <a:gd name="connsiteY1" fmla="*/ 16976 h 67158"/>
                    <a:gd name="connsiteX2" fmla="*/ 56405 w 56816"/>
                    <a:gd name="connsiteY2" fmla="*/ 26605 h 67158"/>
                    <a:gd name="connsiteX3" fmla="*/ 44051 w 56816"/>
                    <a:gd name="connsiteY3" fmla="*/ 39483 h 67158"/>
                    <a:gd name="connsiteX4" fmla="*/ 29097 w 56816"/>
                    <a:gd name="connsiteY4" fmla="*/ 61610 h 67158"/>
                    <a:gd name="connsiteX5" fmla="*/ 19629 w 56816"/>
                    <a:gd name="connsiteY5" fmla="*/ 66667 h 67158"/>
                    <a:gd name="connsiteX6" fmla="*/ 10027 w 56816"/>
                    <a:gd name="connsiteY6" fmla="*/ 58714 h 67158"/>
                    <a:gd name="connsiteX7" fmla="*/ 5723 w 56816"/>
                    <a:gd name="connsiteY7" fmla="*/ 47227 h 67158"/>
                    <a:gd name="connsiteX8" fmla="*/ 5932 w 56816"/>
                    <a:gd name="connsiteY8" fmla="*/ 31682 h 67158"/>
                    <a:gd name="connsiteX9" fmla="*/ 4894 w 56816"/>
                    <a:gd name="connsiteY9" fmla="*/ 20328 h 67158"/>
                    <a:gd name="connsiteX10" fmla="*/ 7 w 56816"/>
                    <a:gd name="connsiteY10" fmla="*/ 12689 h 67158"/>
                    <a:gd name="connsiteX11" fmla="*/ 14095 w 56816"/>
                    <a:gd name="connsiteY11" fmla="*/ 14918 h 67158"/>
                    <a:gd name="connsiteX12" fmla="*/ 26849 w 56816"/>
                    <a:gd name="connsiteY12" fmla="*/ 12013 h 67158"/>
                    <a:gd name="connsiteX13" fmla="*/ 29659 w 56816"/>
                    <a:gd name="connsiteY13" fmla="*/ 116 h 67158"/>
                    <a:gd name="connsiteX14" fmla="*/ 34450 w 56816"/>
                    <a:gd name="connsiteY14" fmla="*/ 2431 h 67158"/>
                    <a:gd name="connsiteX15" fmla="*/ 38098 w 56816"/>
                    <a:gd name="connsiteY15" fmla="*/ 593 h 67158"/>
                    <a:gd name="connsiteX16" fmla="*/ 48594 w 56816"/>
                    <a:gd name="connsiteY16" fmla="*/ 2021 h 67158"/>
                    <a:gd name="connsiteX17" fmla="*/ 48594 w 56816"/>
                    <a:gd name="connsiteY17" fmla="*/ 2021 h 6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6816" h="67158">
                      <a:moveTo>
                        <a:pt x="48594" y="2021"/>
                      </a:moveTo>
                      <a:cubicBezTo>
                        <a:pt x="46585" y="5041"/>
                        <a:pt x="42527" y="13575"/>
                        <a:pt x="44622" y="16976"/>
                      </a:cubicBezTo>
                      <a:cubicBezTo>
                        <a:pt x="47556" y="21747"/>
                        <a:pt x="59129" y="17376"/>
                        <a:pt x="56405" y="26605"/>
                      </a:cubicBezTo>
                      <a:cubicBezTo>
                        <a:pt x="54843" y="31930"/>
                        <a:pt x="47747" y="34454"/>
                        <a:pt x="44051" y="39483"/>
                      </a:cubicBezTo>
                      <a:cubicBezTo>
                        <a:pt x="38898" y="46484"/>
                        <a:pt x="36136" y="55561"/>
                        <a:pt x="29097" y="61610"/>
                      </a:cubicBezTo>
                      <a:cubicBezTo>
                        <a:pt x="26354" y="63962"/>
                        <a:pt x="22934" y="66029"/>
                        <a:pt x="19629" y="66667"/>
                      </a:cubicBezTo>
                      <a:cubicBezTo>
                        <a:pt x="10628" y="68420"/>
                        <a:pt x="11885" y="65410"/>
                        <a:pt x="10027" y="58714"/>
                      </a:cubicBezTo>
                      <a:cubicBezTo>
                        <a:pt x="8913" y="54666"/>
                        <a:pt x="6399" y="51323"/>
                        <a:pt x="5723" y="47227"/>
                      </a:cubicBezTo>
                      <a:cubicBezTo>
                        <a:pt x="4970" y="42645"/>
                        <a:pt x="5723" y="36350"/>
                        <a:pt x="5932" y="31682"/>
                      </a:cubicBezTo>
                      <a:cubicBezTo>
                        <a:pt x="6132" y="27139"/>
                        <a:pt x="6932" y="24300"/>
                        <a:pt x="4894" y="20328"/>
                      </a:cubicBezTo>
                      <a:cubicBezTo>
                        <a:pt x="3455" y="17518"/>
                        <a:pt x="-183" y="16061"/>
                        <a:pt x="7" y="12689"/>
                      </a:cubicBezTo>
                      <a:cubicBezTo>
                        <a:pt x="598" y="2269"/>
                        <a:pt x="10647" y="14070"/>
                        <a:pt x="14095" y="14918"/>
                      </a:cubicBezTo>
                      <a:cubicBezTo>
                        <a:pt x="16876" y="15604"/>
                        <a:pt x="24773" y="14366"/>
                        <a:pt x="26849" y="12013"/>
                      </a:cubicBezTo>
                      <a:cubicBezTo>
                        <a:pt x="29268" y="9260"/>
                        <a:pt x="27192" y="1326"/>
                        <a:pt x="29659" y="116"/>
                      </a:cubicBezTo>
                      <a:cubicBezTo>
                        <a:pt x="31202" y="-646"/>
                        <a:pt x="32926" y="2593"/>
                        <a:pt x="34450" y="2431"/>
                      </a:cubicBezTo>
                      <a:cubicBezTo>
                        <a:pt x="35869" y="2279"/>
                        <a:pt x="36774" y="678"/>
                        <a:pt x="38098" y="593"/>
                      </a:cubicBezTo>
                      <a:cubicBezTo>
                        <a:pt x="42956" y="259"/>
                        <a:pt x="44089" y="-103"/>
                        <a:pt x="48594" y="2021"/>
                      </a:cubicBezTo>
                      <a:lnTo>
                        <a:pt x="48594" y="2021"/>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92" name="Freeform: Shape 691">
                  <a:extLst>
                    <a:ext uri="{FF2B5EF4-FFF2-40B4-BE49-F238E27FC236}">
                      <a16:creationId xmlns:a16="http://schemas.microsoft.com/office/drawing/2014/main" id="{3D7801A0-0C60-4A8D-A164-B36F5F6C6680}"/>
                    </a:ext>
                  </a:extLst>
                </p:cNvPr>
                <p:cNvSpPr/>
                <p:nvPr/>
              </p:nvSpPr>
              <p:spPr>
                <a:xfrm>
                  <a:off x="6835749" y="3045924"/>
                  <a:ext cx="156295" cy="108611"/>
                </a:xfrm>
                <a:custGeom>
                  <a:avLst/>
                  <a:gdLst>
                    <a:gd name="connsiteX0" fmla="*/ 37509 w 156295"/>
                    <a:gd name="connsiteY0" fmla="*/ 1883 h 108611"/>
                    <a:gd name="connsiteX1" fmla="*/ 67189 w 156295"/>
                    <a:gd name="connsiteY1" fmla="*/ 19695 h 108611"/>
                    <a:gd name="connsiteX2" fmla="*/ 76904 w 156295"/>
                    <a:gd name="connsiteY2" fmla="*/ 21190 h 108611"/>
                    <a:gd name="connsiteX3" fmla="*/ 81590 w 156295"/>
                    <a:gd name="connsiteY3" fmla="*/ 14047 h 108611"/>
                    <a:gd name="connsiteX4" fmla="*/ 88916 w 156295"/>
                    <a:gd name="connsiteY4" fmla="*/ 9408 h 108611"/>
                    <a:gd name="connsiteX5" fmla="*/ 92783 w 156295"/>
                    <a:gd name="connsiteY5" fmla="*/ 874 h 108611"/>
                    <a:gd name="connsiteX6" fmla="*/ 123968 w 156295"/>
                    <a:gd name="connsiteY6" fmla="*/ 31668 h 108611"/>
                    <a:gd name="connsiteX7" fmla="*/ 139865 w 156295"/>
                    <a:gd name="connsiteY7" fmla="*/ 40793 h 108611"/>
                    <a:gd name="connsiteX8" fmla="*/ 156295 w 156295"/>
                    <a:gd name="connsiteY8" fmla="*/ 50165 h 108611"/>
                    <a:gd name="connsiteX9" fmla="*/ 138740 w 156295"/>
                    <a:gd name="connsiteY9" fmla="*/ 50518 h 108611"/>
                    <a:gd name="connsiteX10" fmla="*/ 133616 w 156295"/>
                    <a:gd name="connsiteY10" fmla="*/ 65682 h 108611"/>
                    <a:gd name="connsiteX11" fmla="*/ 132702 w 156295"/>
                    <a:gd name="connsiteY11" fmla="*/ 90351 h 108611"/>
                    <a:gd name="connsiteX12" fmla="*/ 127482 w 156295"/>
                    <a:gd name="connsiteY12" fmla="*/ 92180 h 108611"/>
                    <a:gd name="connsiteX13" fmla="*/ 130425 w 156295"/>
                    <a:gd name="connsiteY13" fmla="*/ 108249 h 108611"/>
                    <a:gd name="connsiteX14" fmla="*/ 114233 w 156295"/>
                    <a:gd name="connsiteY14" fmla="*/ 102762 h 108611"/>
                    <a:gd name="connsiteX15" fmla="*/ 102126 w 156295"/>
                    <a:gd name="connsiteY15" fmla="*/ 94114 h 108611"/>
                    <a:gd name="connsiteX16" fmla="*/ 108213 w 156295"/>
                    <a:gd name="connsiteY16" fmla="*/ 87351 h 108611"/>
                    <a:gd name="connsiteX17" fmla="*/ 107041 w 156295"/>
                    <a:gd name="connsiteY17" fmla="*/ 77902 h 108611"/>
                    <a:gd name="connsiteX18" fmla="*/ 91125 w 156295"/>
                    <a:gd name="connsiteY18" fmla="*/ 69473 h 108611"/>
                    <a:gd name="connsiteX19" fmla="*/ 75857 w 156295"/>
                    <a:gd name="connsiteY19" fmla="*/ 79731 h 108611"/>
                    <a:gd name="connsiteX20" fmla="*/ 63417 w 156295"/>
                    <a:gd name="connsiteY20" fmla="*/ 91456 h 108611"/>
                    <a:gd name="connsiteX21" fmla="*/ 55044 w 156295"/>
                    <a:gd name="connsiteY21" fmla="*/ 84417 h 108611"/>
                    <a:gd name="connsiteX22" fmla="*/ 59940 w 156295"/>
                    <a:gd name="connsiteY22" fmla="*/ 83427 h 108611"/>
                    <a:gd name="connsiteX23" fmla="*/ 52244 w 156295"/>
                    <a:gd name="connsiteY23" fmla="*/ 77340 h 108611"/>
                    <a:gd name="connsiteX24" fmla="*/ 50053 w 156295"/>
                    <a:gd name="connsiteY24" fmla="*/ 71282 h 108611"/>
                    <a:gd name="connsiteX25" fmla="*/ 43624 w 156295"/>
                    <a:gd name="connsiteY25" fmla="*/ 70111 h 108611"/>
                    <a:gd name="connsiteX26" fmla="*/ 38195 w 156295"/>
                    <a:gd name="connsiteY26" fmla="*/ 66463 h 108611"/>
                    <a:gd name="connsiteX27" fmla="*/ 25831 w 156295"/>
                    <a:gd name="connsiteY27" fmla="*/ 59671 h 108611"/>
                    <a:gd name="connsiteX28" fmla="*/ 35023 w 156295"/>
                    <a:gd name="connsiteY28" fmla="*/ 53461 h 108611"/>
                    <a:gd name="connsiteX29" fmla="*/ 18183 w 156295"/>
                    <a:gd name="connsiteY29" fmla="*/ 42479 h 108611"/>
                    <a:gd name="connsiteX30" fmla="*/ 16821 w 156295"/>
                    <a:gd name="connsiteY30" fmla="*/ 30725 h 108611"/>
                    <a:gd name="connsiteX31" fmla="*/ 2505 w 156295"/>
                    <a:gd name="connsiteY31" fmla="*/ 24705 h 108611"/>
                    <a:gd name="connsiteX32" fmla="*/ 5714 w 156295"/>
                    <a:gd name="connsiteY32" fmla="*/ 23505 h 108611"/>
                    <a:gd name="connsiteX33" fmla="*/ 2428 w 156295"/>
                    <a:gd name="connsiteY33" fmla="*/ 15513 h 108611"/>
                    <a:gd name="connsiteX34" fmla="*/ 17821 w 156295"/>
                    <a:gd name="connsiteY34" fmla="*/ 16637 h 108611"/>
                    <a:gd name="connsiteX35" fmla="*/ 27803 w 156295"/>
                    <a:gd name="connsiteY35" fmla="*/ 22057 h 108611"/>
                    <a:gd name="connsiteX36" fmla="*/ 33080 w 156295"/>
                    <a:gd name="connsiteY36" fmla="*/ 21600 h 108611"/>
                    <a:gd name="connsiteX37" fmla="*/ 39605 w 156295"/>
                    <a:gd name="connsiteY37" fmla="*/ 24705 h 108611"/>
                    <a:gd name="connsiteX38" fmla="*/ 44310 w 156295"/>
                    <a:gd name="connsiteY38" fmla="*/ 17561 h 108611"/>
                    <a:gd name="connsiteX39" fmla="*/ 31118 w 156295"/>
                    <a:gd name="connsiteY39" fmla="*/ 8522 h 108611"/>
                    <a:gd name="connsiteX40" fmla="*/ 29765 w 156295"/>
                    <a:gd name="connsiteY40" fmla="*/ 3807 h 108611"/>
                    <a:gd name="connsiteX41" fmla="*/ 37509 w 156295"/>
                    <a:gd name="connsiteY41" fmla="*/ 1883 h 108611"/>
                    <a:gd name="connsiteX42" fmla="*/ 37509 w 156295"/>
                    <a:gd name="connsiteY42" fmla="*/ 1883 h 108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295" h="108611">
                      <a:moveTo>
                        <a:pt x="37509" y="1883"/>
                      </a:moveTo>
                      <a:cubicBezTo>
                        <a:pt x="48044" y="-898"/>
                        <a:pt x="58169" y="16847"/>
                        <a:pt x="67189" y="19695"/>
                      </a:cubicBezTo>
                      <a:cubicBezTo>
                        <a:pt x="69437" y="20409"/>
                        <a:pt x="74800" y="21990"/>
                        <a:pt x="76904" y="21190"/>
                      </a:cubicBezTo>
                      <a:cubicBezTo>
                        <a:pt x="80467" y="19828"/>
                        <a:pt x="79305" y="16647"/>
                        <a:pt x="81590" y="14047"/>
                      </a:cubicBezTo>
                      <a:cubicBezTo>
                        <a:pt x="83410" y="11961"/>
                        <a:pt x="86830" y="11589"/>
                        <a:pt x="88916" y="9408"/>
                      </a:cubicBezTo>
                      <a:cubicBezTo>
                        <a:pt x="90954" y="7274"/>
                        <a:pt x="91497" y="3636"/>
                        <a:pt x="92783" y="874"/>
                      </a:cubicBezTo>
                      <a:cubicBezTo>
                        <a:pt x="106213" y="8303"/>
                        <a:pt x="112633" y="22305"/>
                        <a:pt x="123968" y="31668"/>
                      </a:cubicBezTo>
                      <a:cubicBezTo>
                        <a:pt x="129035" y="35849"/>
                        <a:pt x="133559" y="39221"/>
                        <a:pt x="139865" y="40793"/>
                      </a:cubicBezTo>
                      <a:cubicBezTo>
                        <a:pt x="146703" y="42498"/>
                        <a:pt x="152628" y="42850"/>
                        <a:pt x="156295" y="50165"/>
                      </a:cubicBezTo>
                      <a:cubicBezTo>
                        <a:pt x="150494" y="48946"/>
                        <a:pt x="144360" y="47737"/>
                        <a:pt x="138740" y="50518"/>
                      </a:cubicBezTo>
                      <a:cubicBezTo>
                        <a:pt x="131826" y="53937"/>
                        <a:pt x="133616" y="58776"/>
                        <a:pt x="133616" y="65682"/>
                      </a:cubicBezTo>
                      <a:cubicBezTo>
                        <a:pt x="133616" y="73511"/>
                        <a:pt x="139036" y="83760"/>
                        <a:pt x="132702" y="90351"/>
                      </a:cubicBezTo>
                      <a:cubicBezTo>
                        <a:pt x="130692" y="83398"/>
                        <a:pt x="128254" y="87761"/>
                        <a:pt x="127482" y="92180"/>
                      </a:cubicBezTo>
                      <a:cubicBezTo>
                        <a:pt x="126463" y="97990"/>
                        <a:pt x="128654" y="102505"/>
                        <a:pt x="130425" y="108249"/>
                      </a:cubicBezTo>
                      <a:cubicBezTo>
                        <a:pt x="122843" y="109620"/>
                        <a:pt x="120300" y="106953"/>
                        <a:pt x="114233" y="102762"/>
                      </a:cubicBezTo>
                      <a:cubicBezTo>
                        <a:pt x="112214" y="101372"/>
                        <a:pt x="101946" y="96562"/>
                        <a:pt x="102126" y="94114"/>
                      </a:cubicBezTo>
                      <a:cubicBezTo>
                        <a:pt x="102469" y="89351"/>
                        <a:pt x="111623" y="94009"/>
                        <a:pt x="108213" y="87351"/>
                      </a:cubicBezTo>
                      <a:cubicBezTo>
                        <a:pt x="106089" y="83189"/>
                        <a:pt x="96535" y="82741"/>
                        <a:pt x="107041" y="77902"/>
                      </a:cubicBezTo>
                      <a:cubicBezTo>
                        <a:pt x="102860" y="73721"/>
                        <a:pt x="97097" y="68110"/>
                        <a:pt x="91125" y="69473"/>
                      </a:cubicBezTo>
                      <a:cubicBezTo>
                        <a:pt x="86639" y="70492"/>
                        <a:pt x="79248" y="76531"/>
                        <a:pt x="75857" y="79731"/>
                      </a:cubicBezTo>
                      <a:cubicBezTo>
                        <a:pt x="72123" y="83265"/>
                        <a:pt x="67846" y="89046"/>
                        <a:pt x="63417" y="91456"/>
                      </a:cubicBezTo>
                      <a:cubicBezTo>
                        <a:pt x="57330" y="94771"/>
                        <a:pt x="60255" y="88046"/>
                        <a:pt x="55044" y="84417"/>
                      </a:cubicBezTo>
                      <a:cubicBezTo>
                        <a:pt x="56340" y="84494"/>
                        <a:pt x="58655" y="83503"/>
                        <a:pt x="59940" y="83427"/>
                      </a:cubicBezTo>
                      <a:cubicBezTo>
                        <a:pt x="57959" y="81598"/>
                        <a:pt x="53263" y="79683"/>
                        <a:pt x="52244" y="77340"/>
                      </a:cubicBezTo>
                      <a:cubicBezTo>
                        <a:pt x="50739" y="73854"/>
                        <a:pt x="59626" y="75454"/>
                        <a:pt x="50053" y="71282"/>
                      </a:cubicBezTo>
                      <a:cubicBezTo>
                        <a:pt x="48091" y="70425"/>
                        <a:pt x="46034" y="71130"/>
                        <a:pt x="43624" y="70111"/>
                      </a:cubicBezTo>
                      <a:cubicBezTo>
                        <a:pt x="41767" y="69320"/>
                        <a:pt x="39862" y="67568"/>
                        <a:pt x="38195" y="66463"/>
                      </a:cubicBezTo>
                      <a:cubicBezTo>
                        <a:pt x="34451" y="63986"/>
                        <a:pt x="30298" y="60729"/>
                        <a:pt x="25831" y="59671"/>
                      </a:cubicBezTo>
                      <a:cubicBezTo>
                        <a:pt x="28127" y="57109"/>
                        <a:pt x="36728" y="60700"/>
                        <a:pt x="35023" y="53461"/>
                      </a:cubicBezTo>
                      <a:cubicBezTo>
                        <a:pt x="33985" y="49051"/>
                        <a:pt x="21745" y="46384"/>
                        <a:pt x="18183" y="42479"/>
                      </a:cubicBezTo>
                      <a:cubicBezTo>
                        <a:pt x="11401" y="35021"/>
                        <a:pt x="21050" y="36564"/>
                        <a:pt x="16821" y="30725"/>
                      </a:cubicBezTo>
                      <a:cubicBezTo>
                        <a:pt x="13849" y="26620"/>
                        <a:pt x="6686" y="26610"/>
                        <a:pt x="2505" y="24705"/>
                      </a:cubicBezTo>
                      <a:cubicBezTo>
                        <a:pt x="3181" y="24515"/>
                        <a:pt x="4714" y="23715"/>
                        <a:pt x="5714" y="23505"/>
                      </a:cubicBezTo>
                      <a:cubicBezTo>
                        <a:pt x="2133" y="20305"/>
                        <a:pt x="-3144" y="20095"/>
                        <a:pt x="2428" y="15513"/>
                      </a:cubicBezTo>
                      <a:cubicBezTo>
                        <a:pt x="6524" y="12161"/>
                        <a:pt x="13296" y="14190"/>
                        <a:pt x="17821" y="16637"/>
                      </a:cubicBezTo>
                      <a:cubicBezTo>
                        <a:pt x="20631" y="18152"/>
                        <a:pt x="22555" y="21286"/>
                        <a:pt x="27803" y="22057"/>
                      </a:cubicBezTo>
                      <a:cubicBezTo>
                        <a:pt x="29613" y="22324"/>
                        <a:pt x="31175" y="21152"/>
                        <a:pt x="33080" y="21600"/>
                      </a:cubicBezTo>
                      <a:cubicBezTo>
                        <a:pt x="35242" y="22114"/>
                        <a:pt x="37490" y="24619"/>
                        <a:pt x="39605" y="24705"/>
                      </a:cubicBezTo>
                      <a:cubicBezTo>
                        <a:pt x="43976" y="24867"/>
                        <a:pt x="46948" y="21829"/>
                        <a:pt x="44310" y="17561"/>
                      </a:cubicBezTo>
                      <a:cubicBezTo>
                        <a:pt x="41719" y="13342"/>
                        <a:pt x="34375" y="12913"/>
                        <a:pt x="31118" y="8522"/>
                      </a:cubicBezTo>
                      <a:cubicBezTo>
                        <a:pt x="28946" y="5588"/>
                        <a:pt x="28355" y="7331"/>
                        <a:pt x="29765" y="3807"/>
                      </a:cubicBezTo>
                      <a:cubicBezTo>
                        <a:pt x="30870" y="1036"/>
                        <a:pt x="35509" y="-2089"/>
                        <a:pt x="37509" y="1883"/>
                      </a:cubicBezTo>
                      <a:lnTo>
                        <a:pt x="37509" y="1883"/>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93" name="Freeform: Shape 692">
                  <a:extLst>
                    <a:ext uri="{FF2B5EF4-FFF2-40B4-BE49-F238E27FC236}">
                      <a16:creationId xmlns:a16="http://schemas.microsoft.com/office/drawing/2014/main" id="{F1EE2B9C-E358-4758-8682-01BB5960D0A4}"/>
                    </a:ext>
                  </a:extLst>
                </p:cNvPr>
                <p:cNvSpPr/>
                <p:nvPr/>
              </p:nvSpPr>
              <p:spPr>
                <a:xfrm>
                  <a:off x="5844891" y="2821694"/>
                  <a:ext cx="199453" cy="81002"/>
                </a:xfrm>
                <a:custGeom>
                  <a:avLst/>
                  <a:gdLst>
                    <a:gd name="connsiteX0" fmla="*/ 192281 w 199453"/>
                    <a:gd name="connsiteY0" fmla="*/ 12333 h 81002"/>
                    <a:gd name="connsiteX1" fmla="*/ 199454 w 199453"/>
                    <a:gd name="connsiteY1" fmla="*/ 31002 h 81002"/>
                    <a:gd name="connsiteX2" fmla="*/ 198377 w 199453"/>
                    <a:gd name="connsiteY2" fmla="*/ 40403 h 81002"/>
                    <a:gd name="connsiteX3" fmla="*/ 181490 w 199453"/>
                    <a:gd name="connsiteY3" fmla="*/ 41442 h 81002"/>
                    <a:gd name="connsiteX4" fmla="*/ 187719 w 199453"/>
                    <a:gd name="connsiteY4" fmla="*/ 48166 h 81002"/>
                    <a:gd name="connsiteX5" fmla="*/ 183890 w 199453"/>
                    <a:gd name="connsiteY5" fmla="*/ 54053 h 81002"/>
                    <a:gd name="connsiteX6" fmla="*/ 178346 w 199453"/>
                    <a:gd name="connsiteY6" fmla="*/ 64445 h 81002"/>
                    <a:gd name="connsiteX7" fmla="*/ 173336 w 199453"/>
                    <a:gd name="connsiteY7" fmla="*/ 68235 h 81002"/>
                    <a:gd name="connsiteX8" fmla="*/ 172488 w 199453"/>
                    <a:gd name="connsiteY8" fmla="*/ 72808 h 81002"/>
                    <a:gd name="connsiteX9" fmla="*/ 165487 w 199453"/>
                    <a:gd name="connsiteY9" fmla="*/ 71960 h 81002"/>
                    <a:gd name="connsiteX10" fmla="*/ 157896 w 199453"/>
                    <a:gd name="connsiteY10" fmla="*/ 74312 h 81002"/>
                    <a:gd name="connsiteX11" fmla="*/ 145132 w 199453"/>
                    <a:gd name="connsiteY11" fmla="*/ 74989 h 81002"/>
                    <a:gd name="connsiteX12" fmla="*/ 137055 w 199453"/>
                    <a:gd name="connsiteY12" fmla="*/ 80456 h 81002"/>
                    <a:gd name="connsiteX13" fmla="*/ 115862 w 199453"/>
                    <a:gd name="connsiteY13" fmla="*/ 78046 h 81002"/>
                    <a:gd name="connsiteX14" fmla="*/ 87478 w 199453"/>
                    <a:gd name="connsiteY14" fmla="*/ 74112 h 81002"/>
                    <a:gd name="connsiteX15" fmla="*/ 75009 w 199453"/>
                    <a:gd name="connsiteY15" fmla="*/ 69036 h 81002"/>
                    <a:gd name="connsiteX16" fmla="*/ 71647 w 199453"/>
                    <a:gd name="connsiteY16" fmla="*/ 60330 h 81002"/>
                    <a:gd name="connsiteX17" fmla="*/ 58674 w 199453"/>
                    <a:gd name="connsiteY17" fmla="*/ 63159 h 81002"/>
                    <a:gd name="connsiteX18" fmla="*/ 43787 w 199453"/>
                    <a:gd name="connsiteY18" fmla="*/ 64721 h 81002"/>
                    <a:gd name="connsiteX19" fmla="*/ 34681 w 199453"/>
                    <a:gd name="connsiteY19" fmla="*/ 69359 h 81002"/>
                    <a:gd name="connsiteX20" fmla="*/ 27927 w 199453"/>
                    <a:gd name="connsiteY20" fmla="*/ 67264 h 81002"/>
                    <a:gd name="connsiteX21" fmla="*/ 24708 w 199453"/>
                    <a:gd name="connsiteY21" fmla="*/ 63825 h 81002"/>
                    <a:gd name="connsiteX22" fmla="*/ 12935 w 199453"/>
                    <a:gd name="connsiteY22" fmla="*/ 65883 h 81002"/>
                    <a:gd name="connsiteX23" fmla="*/ 2391 w 199453"/>
                    <a:gd name="connsiteY23" fmla="*/ 60892 h 81002"/>
                    <a:gd name="connsiteX24" fmla="*/ 953 w 199453"/>
                    <a:gd name="connsiteY24" fmla="*/ 55005 h 81002"/>
                    <a:gd name="connsiteX25" fmla="*/ 0 w 199453"/>
                    <a:gd name="connsiteY25" fmla="*/ 46185 h 81002"/>
                    <a:gd name="connsiteX26" fmla="*/ 13735 w 199453"/>
                    <a:gd name="connsiteY26" fmla="*/ 47976 h 81002"/>
                    <a:gd name="connsiteX27" fmla="*/ 17897 w 199453"/>
                    <a:gd name="connsiteY27" fmla="*/ 53919 h 81002"/>
                    <a:gd name="connsiteX28" fmla="*/ 24689 w 199453"/>
                    <a:gd name="connsiteY28" fmla="*/ 45471 h 81002"/>
                    <a:gd name="connsiteX29" fmla="*/ 37100 w 199453"/>
                    <a:gd name="connsiteY29" fmla="*/ 48566 h 81002"/>
                    <a:gd name="connsiteX30" fmla="*/ 61360 w 199453"/>
                    <a:gd name="connsiteY30" fmla="*/ 43985 h 81002"/>
                    <a:gd name="connsiteX31" fmla="*/ 70418 w 199453"/>
                    <a:gd name="connsiteY31" fmla="*/ 42337 h 81002"/>
                    <a:gd name="connsiteX32" fmla="*/ 73247 w 199453"/>
                    <a:gd name="connsiteY32" fmla="*/ 40794 h 81002"/>
                    <a:gd name="connsiteX33" fmla="*/ 84820 w 199453"/>
                    <a:gd name="connsiteY33" fmla="*/ 42328 h 81002"/>
                    <a:gd name="connsiteX34" fmla="*/ 92221 w 199453"/>
                    <a:gd name="connsiteY34" fmla="*/ 47642 h 81002"/>
                    <a:gd name="connsiteX35" fmla="*/ 88506 w 199453"/>
                    <a:gd name="connsiteY35" fmla="*/ 39965 h 81002"/>
                    <a:gd name="connsiteX36" fmla="*/ 83887 w 199453"/>
                    <a:gd name="connsiteY36" fmla="*/ 27840 h 81002"/>
                    <a:gd name="connsiteX37" fmla="*/ 97355 w 199453"/>
                    <a:gd name="connsiteY37" fmla="*/ 21001 h 81002"/>
                    <a:gd name="connsiteX38" fmla="*/ 100575 w 199453"/>
                    <a:gd name="connsiteY38" fmla="*/ 16105 h 81002"/>
                    <a:gd name="connsiteX39" fmla="*/ 101289 w 199453"/>
                    <a:gd name="connsiteY39" fmla="*/ 13191 h 81002"/>
                    <a:gd name="connsiteX40" fmla="*/ 104194 w 199453"/>
                    <a:gd name="connsiteY40" fmla="*/ 13800 h 81002"/>
                    <a:gd name="connsiteX41" fmla="*/ 109452 w 199453"/>
                    <a:gd name="connsiteY41" fmla="*/ 12695 h 81002"/>
                    <a:gd name="connsiteX42" fmla="*/ 109709 w 199453"/>
                    <a:gd name="connsiteY42" fmla="*/ 7037 h 81002"/>
                    <a:gd name="connsiteX43" fmla="*/ 121263 w 199453"/>
                    <a:gd name="connsiteY43" fmla="*/ 12991 h 81002"/>
                    <a:gd name="connsiteX44" fmla="*/ 133122 w 199453"/>
                    <a:gd name="connsiteY44" fmla="*/ 12314 h 81002"/>
                    <a:gd name="connsiteX45" fmla="*/ 138770 w 199453"/>
                    <a:gd name="connsiteY45" fmla="*/ 6447 h 81002"/>
                    <a:gd name="connsiteX46" fmla="*/ 142704 w 199453"/>
                    <a:gd name="connsiteY46" fmla="*/ 208 h 81002"/>
                    <a:gd name="connsiteX47" fmla="*/ 159106 w 199453"/>
                    <a:gd name="connsiteY47" fmla="*/ 4047 h 81002"/>
                    <a:gd name="connsiteX48" fmla="*/ 178013 w 199453"/>
                    <a:gd name="connsiteY48" fmla="*/ 6647 h 81002"/>
                    <a:gd name="connsiteX49" fmla="*/ 192281 w 199453"/>
                    <a:gd name="connsiteY49" fmla="*/ 12333 h 81002"/>
                    <a:gd name="connsiteX50" fmla="*/ 192281 w 199453"/>
                    <a:gd name="connsiteY50" fmla="*/ 12333 h 81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9453" h="81002">
                      <a:moveTo>
                        <a:pt x="192281" y="12333"/>
                      </a:moveTo>
                      <a:cubicBezTo>
                        <a:pt x="189910" y="19458"/>
                        <a:pt x="193139" y="26364"/>
                        <a:pt x="199454" y="31002"/>
                      </a:cubicBezTo>
                      <a:cubicBezTo>
                        <a:pt x="197301" y="33679"/>
                        <a:pt x="196253" y="37060"/>
                        <a:pt x="198377" y="40403"/>
                      </a:cubicBezTo>
                      <a:cubicBezTo>
                        <a:pt x="192729" y="41251"/>
                        <a:pt x="185395" y="37298"/>
                        <a:pt x="181490" y="41442"/>
                      </a:cubicBezTo>
                      <a:cubicBezTo>
                        <a:pt x="184804" y="43509"/>
                        <a:pt x="190100" y="42718"/>
                        <a:pt x="187719" y="48166"/>
                      </a:cubicBezTo>
                      <a:cubicBezTo>
                        <a:pt x="185614" y="52976"/>
                        <a:pt x="184061" y="47671"/>
                        <a:pt x="183890" y="54053"/>
                      </a:cubicBezTo>
                      <a:cubicBezTo>
                        <a:pt x="183690" y="61539"/>
                        <a:pt x="186776" y="60025"/>
                        <a:pt x="178346" y="64445"/>
                      </a:cubicBezTo>
                      <a:cubicBezTo>
                        <a:pt x="177584" y="64845"/>
                        <a:pt x="174155" y="67312"/>
                        <a:pt x="173336" y="68235"/>
                      </a:cubicBezTo>
                      <a:cubicBezTo>
                        <a:pt x="172345" y="69350"/>
                        <a:pt x="173774" y="72122"/>
                        <a:pt x="172488" y="72808"/>
                      </a:cubicBezTo>
                      <a:cubicBezTo>
                        <a:pt x="171460" y="73360"/>
                        <a:pt x="167221" y="71760"/>
                        <a:pt x="165487" y="71960"/>
                      </a:cubicBezTo>
                      <a:cubicBezTo>
                        <a:pt x="162839" y="72255"/>
                        <a:pt x="160639" y="73922"/>
                        <a:pt x="157896" y="74312"/>
                      </a:cubicBezTo>
                      <a:cubicBezTo>
                        <a:pt x="153772" y="74903"/>
                        <a:pt x="149219" y="73208"/>
                        <a:pt x="145132" y="74989"/>
                      </a:cubicBezTo>
                      <a:cubicBezTo>
                        <a:pt x="142046" y="76332"/>
                        <a:pt x="140646" y="79304"/>
                        <a:pt x="137055" y="80456"/>
                      </a:cubicBezTo>
                      <a:cubicBezTo>
                        <a:pt x="131483" y="82247"/>
                        <a:pt x="122377" y="79161"/>
                        <a:pt x="115862" y="78046"/>
                      </a:cubicBezTo>
                      <a:cubicBezTo>
                        <a:pt x="106451" y="76437"/>
                        <a:pt x="96926" y="75732"/>
                        <a:pt x="87478" y="74112"/>
                      </a:cubicBezTo>
                      <a:cubicBezTo>
                        <a:pt x="81934" y="73160"/>
                        <a:pt x="79105" y="72846"/>
                        <a:pt x="75009" y="69036"/>
                      </a:cubicBezTo>
                      <a:cubicBezTo>
                        <a:pt x="74143" y="68235"/>
                        <a:pt x="69161" y="59130"/>
                        <a:pt x="71647" y="60330"/>
                      </a:cubicBezTo>
                      <a:cubicBezTo>
                        <a:pt x="68761" y="58939"/>
                        <a:pt x="61884" y="62759"/>
                        <a:pt x="58674" y="63159"/>
                      </a:cubicBezTo>
                      <a:cubicBezTo>
                        <a:pt x="53950" y="63759"/>
                        <a:pt x="48196" y="61844"/>
                        <a:pt x="43787" y="64721"/>
                      </a:cubicBezTo>
                      <a:cubicBezTo>
                        <a:pt x="38710" y="68026"/>
                        <a:pt x="42367" y="70474"/>
                        <a:pt x="34681" y="69359"/>
                      </a:cubicBezTo>
                      <a:cubicBezTo>
                        <a:pt x="33719" y="69217"/>
                        <a:pt x="28851" y="67769"/>
                        <a:pt x="27927" y="67264"/>
                      </a:cubicBezTo>
                      <a:cubicBezTo>
                        <a:pt x="28023" y="67312"/>
                        <a:pt x="24127" y="63778"/>
                        <a:pt x="24708" y="63825"/>
                      </a:cubicBezTo>
                      <a:cubicBezTo>
                        <a:pt x="19488" y="63425"/>
                        <a:pt x="19307" y="68521"/>
                        <a:pt x="12935" y="65883"/>
                      </a:cubicBezTo>
                      <a:cubicBezTo>
                        <a:pt x="8572" y="64083"/>
                        <a:pt x="8458" y="61063"/>
                        <a:pt x="2391" y="60892"/>
                      </a:cubicBezTo>
                      <a:cubicBezTo>
                        <a:pt x="3029" y="58082"/>
                        <a:pt x="933" y="57806"/>
                        <a:pt x="953" y="55005"/>
                      </a:cubicBezTo>
                      <a:cubicBezTo>
                        <a:pt x="991" y="51700"/>
                        <a:pt x="5001" y="47995"/>
                        <a:pt x="0" y="46185"/>
                      </a:cubicBezTo>
                      <a:cubicBezTo>
                        <a:pt x="5839" y="45252"/>
                        <a:pt x="7963" y="44671"/>
                        <a:pt x="13735" y="47976"/>
                      </a:cubicBezTo>
                      <a:cubicBezTo>
                        <a:pt x="15307" y="48871"/>
                        <a:pt x="18298" y="52138"/>
                        <a:pt x="17897" y="53919"/>
                      </a:cubicBezTo>
                      <a:cubicBezTo>
                        <a:pt x="24032" y="53577"/>
                        <a:pt x="21860" y="47271"/>
                        <a:pt x="24689" y="45471"/>
                      </a:cubicBezTo>
                      <a:cubicBezTo>
                        <a:pt x="28747" y="42889"/>
                        <a:pt x="34538" y="47738"/>
                        <a:pt x="37100" y="48566"/>
                      </a:cubicBezTo>
                      <a:cubicBezTo>
                        <a:pt x="45901" y="51424"/>
                        <a:pt x="51826" y="45290"/>
                        <a:pt x="61360" y="43985"/>
                      </a:cubicBezTo>
                      <a:cubicBezTo>
                        <a:pt x="64408" y="43566"/>
                        <a:pt x="68085" y="42870"/>
                        <a:pt x="70418" y="42337"/>
                      </a:cubicBezTo>
                      <a:cubicBezTo>
                        <a:pt x="70904" y="42223"/>
                        <a:pt x="70171" y="41070"/>
                        <a:pt x="73247" y="40794"/>
                      </a:cubicBezTo>
                      <a:cubicBezTo>
                        <a:pt x="74733" y="40661"/>
                        <a:pt x="83696" y="41861"/>
                        <a:pt x="84820" y="42328"/>
                      </a:cubicBezTo>
                      <a:cubicBezTo>
                        <a:pt x="86135" y="42870"/>
                        <a:pt x="88354" y="50252"/>
                        <a:pt x="92221" y="47642"/>
                      </a:cubicBezTo>
                      <a:cubicBezTo>
                        <a:pt x="95755" y="45261"/>
                        <a:pt x="91916" y="39708"/>
                        <a:pt x="88506" y="39965"/>
                      </a:cubicBezTo>
                      <a:cubicBezTo>
                        <a:pt x="93012" y="33545"/>
                        <a:pt x="83487" y="32879"/>
                        <a:pt x="83887" y="27840"/>
                      </a:cubicBezTo>
                      <a:cubicBezTo>
                        <a:pt x="84277" y="22944"/>
                        <a:pt x="94602" y="23125"/>
                        <a:pt x="97355" y="21001"/>
                      </a:cubicBezTo>
                      <a:cubicBezTo>
                        <a:pt x="99146" y="19620"/>
                        <a:pt x="99441" y="17039"/>
                        <a:pt x="100575" y="16105"/>
                      </a:cubicBezTo>
                      <a:cubicBezTo>
                        <a:pt x="101260" y="15534"/>
                        <a:pt x="100384" y="13772"/>
                        <a:pt x="101289" y="13191"/>
                      </a:cubicBezTo>
                      <a:cubicBezTo>
                        <a:pt x="102375" y="12486"/>
                        <a:pt x="103080" y="14391"/>
                        <a:pt x="104194" y="13800"/>
                      </a:cubicBezTo>
                      <a:cubicBezTo>
                        <a:pt x="106175" y="12752"/>
                        <a:pt x="106823" y="15257"/>
                        <a:pt x="109452" y="12695"/>
                      </a:cubicBezTo>
                      <a:cubicBezTo>
                        <a:pt x="110080" y="12086"/>
                        <a:pt x="109804" y="7695"/>
                        <a:pt x="109709" y="7037"/>
                      </a:cubicBezTo>
                      <a:cubicBezTo>
                        <a:pt x="114871" y="8238"/>
                        <a:pt x="115710" y="12619"/>
                        <a:pt x="121263" y="12991"/>
                      </a:cubicBezTo>
                      <a:cubicBezTo>
                        <a:pt x="125768" y="13295"/>
                        <a:pt x="128197" y="11314"/>
                        <a:pt x="133122" y="12314"/>
                      </a:cubicBezTo>
                      <a:cubicBezTo>
                        <a:pt x="133179" y="6952"/>
                        <a:pt x="137465" y="8552"/>
                        <a:pt x="138770" y="6447"/>
                      </a:cubicBezTo>
                      <a:cubicBezTo>
                        <a:pt x="142142" y="960"/>
                        <a:pt x="137208" y="1799"/>
                        <a:pt x="142704" y="208"/>
                      </a:cubicBezTo>
                      <a:cubicBezTo>
                        <a:pt x="146523" y="-906"/>
                        <a:pt x="154924" y="2761"/>
                        <a:pt x="159106" y="4047"/>
                      </a:cubicBezTo>
                      <a:cubicBezTo>
                        <a:pt x="166116" y="6218"/>
                        <a:pt x="171193" y="6952"/>
                        <a:pt x="178013" y="6647"/>
                      </a:cubicBezTo>
                      <a:cubicBezTo>
                        <a:pt x="182280" y="6466"/>
                        <a:pt x="190300" y="7628"/>
                        <a:pt x="192281" y="12333"/>
                      </a:cubicBezTo>
                      <a:lnTo>
                        <a:pt x="192281" y="12333"/>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94" name="Freeform: Shape 693">
                  <a:extLst>
                    <a:ext uri="{FF2B5EF4-FFF2-40B4-BE49-F238E27FC236}">
                      <a16:creationId xmlns:a16="http://schemas.microsoft.com/office/drawing/2014/main" id="{98B362B6-86F0-490B-B684-0ACC489B19BD}"/>
                    </a:ext>
                  </a:extLst>
                </p:cNvPr>
                <p:cNvSpPr/>
                <p:nvPr/>
              </p:nvSpPr>
              <p:spPr>
                <a:xfrm>
                  <a:off x="7378455" y="5897573"/>
                  <a:ext cx="52987" cy="33665"/>
                </a:xfrm>
                <a:custGeom>
                  <a:avLst/>
                  <a:gdLst>
                    <a:gd name="connsiteX0" fmla="*/ 18097 w 52987"/>
                    <a:gd name="connsiteY0" fmla="*/ 14278 h 33665"/>
                    <a:gd name="connsiteX1" fmla="*/ 30736 w 52987"/>
                    <a:gd name="connsiteY1" fmla="*/ 9906 h 33665"/>
                    <a:gd name="connsiteX2" fmla="*/ 29955 w 52987"/>
                    <a:gd name="connsiteY2" fmla="*/ 14506 h 33665"/>
                    <a:gd name="connsiteX3" fmla="*/ 27316 w 52987"/>
                    <a:gd name="connsiteY3" fmla="*/ 19174 h 33665"/>
                    <a:gd name="connsiteX4" fmla="*/ 40566 w 52987"/>
                    <a:gd name="connsiteY4" fmla="*/ 15097 h 33665"/>
                    <a:gd name="connsiteX5" fmla="*/ 51930 w 52987"/>
                    <a:gd name="connsiteY5" fmla="*/ 13278 h 33665"/>
                    <a:gd name="connsiteX6" fmla="*/ 45767 w 52987"/>
                    <a:gd name="connsiteY6" fmla="*/ 22336 h 33665"/>
                    <a:gd name="connsiteX7" fmla="*/ 44033 w 52987"/>
                    <a:gd name="connsiteY7" fmla="*/ 24508 h 33665"/>
                    <a:gd name="connsiteX8" fmla="*/ 41728 w 52987"/>
                    <a:gd name="connsiteY8" fmla="*/ 22527 h 33665"/>
                    <a:gd name="connsiteX9" fmla="*/ 31603 w 52987"/>
                    <a:gd name="connsiteY9" fmla="*/ 23822 h 33665"/>
                    <a:gd name="connsiteX10" fmla="*/ 30688 w 52987"/>
                    <a:gd name="connsiteY10" fmla="*/ 28556 h 33665"/>
                    <a:gd name="connsiteX11" fmla="*/ 40404 w 52987"/>
                    <a:gd name="connsiteY11" fmla="*/ 29194 h 33665"/>
                    <a:gd name="connsiteX12" fmla="*/ 26964 w 52987"/>
                    <a:gd name="connsiteY12" fmla="*/ 30632 h 33665"/>
                    <a:gd name="connsiteX13" fmla="*/ 19897 w 52987"/>
                    <a:gd name="connsiteY13" fmla="*/ 30775 h 33665"/>
                    <a:gd name="connsiteX14" fmla="*/ 10772 w 52987"/>
                    <a:gd name="connsiteY14" fmla="*/ 28004 h 33665"/>
                    <a:gd name="connsiteX15" fmla="*/ 1361 w 52987"/>
                    <a:gd name="connsiteY15" fmla="*/ 33166 h 33665"/>
                    <a:gd name="connsiteX16" fmla="*/ 2047 w 52987"/>
                    <a:gd name="connsiteY16" fmla="*/ 28146 h 33665"/>
                    <a:gd name="connsiteX17" fmla="*/ 5057 w 52987"/>
                    <a:gd name="connsiteY17" fmla="*/ 21974 h 33665"/>
                    <a:gd name="connsiteX18" fmla="*/ 9467 w 52987"/>
                    <a:gd name="connsiteY18" fmla="*/ 16021 h 33665"/>
                    <a:gd name="connsiteX19" fmla="*/ 21259 w 52987"/>
                    <a:gd name="connsiteY19" fmla="*/ 0 h 33665"/>
                    <a:gd name="connsiteX20" fmla="*/ 20268 w 52987"/>
                    <a:gd name="connsiteY20" fmla="*/ 3029 h 33665"/>
                    <a:gd name="connsiteX21" fmla="*/ 18097 w 52987"/>
                    <a:gd name="connsiteY21" fmla="*/ 14278 h 33665"/>
                    <a:gd name="connsiteX22" fmla="*/ 18097 w 52987"/>
                    <a:gd name="connsiteY22" fmla="*/ 14278 h 33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2987" h="33665">
                      <a:moveTo>
                        <a:pt x="18097" y="14278"/>
                      </a:moveTo>
                      <a:cubicBezTo>
                        <a:pt x="22897" y="15107"/>
                        <a:pt x="26221" y="10535"/>
                        <a:pt x="30736" y="9906"/>
                      </a:cubicBezTo>
                      <a:cubicBezTo>
                        <a:pt x="29974" y="12363"/>
                        <a:pt x="30098" y="12630"/>
                        <a:pt x="29955" y="14506"/>
                      </a:cubicBezTo>
                      <a:cubicBezTo>
                        <a:pt x="24754" y="14373"/>
                        <a:pt x="19849" y="17535"/>
                        <a:pt x="27316" y="19174"/>
                      </a:cubicBezTo>
                      <a:cubicBezTo>
                        <a:pt x="31413" y="20079"/>
                        <a:pt x="36851" y="16354"/>
                        <a:pt x="40566" y="15097"/>
                      </a:cubicBezTo>
                      <a:cubicBezTo>
                        <a:pt x="42461" y="14459"/>
                        <a:pt x="49977" y="11449"/>
                        <a:pt x="51930" y="13278"/>
                      </a:cubicBezTo>
                      <a:cubicBezTo>
                        <a:pt x="55682" y="16773"/>
                        <a:pt x="48453" y="21336"/>
                        <a:pt x="45767" y="22336"/>
                      </a:cubicBezTo>
                      <a:cubicBezTo>
                        <a:pt x="45119" y="22574"/>
                        <a:pt x="45786" y="24317"/>
                        <a:pt x="44033" y="24508"/>
                      </a:cubicBezTo>
                      <a:cubicBezTo>
                        <a:pt x="42376" y="24689"/>
                        <a:pt x="42423" y="22574"/>
                        <a:pt x="41728" y="22527"/>
                      </a:cubicBezTo>
                      <a:cubicBezTo>
                        <a:pt x="37137" y="22260"/>
                        <a:pt x="35585" y="21260"/>
                        <a:pt x="31603" y="23822"/>
                      </a:cubicBezTo>
                      <a:cubicBezTo>
                        <a:pt x="29422" y="25222"/>
                        <a:pt x="25117" y="25965"/>
                        <a:pt x="30688" y="28556"/>
                      </a:cubicBezTo>
                      <a:cubicBezTo>
                        <a:pt x="34508" y="30337"/>
                        <a:pt x="37766" y="23813"/>
                        <a:pt x="40404" y="29194"/>
                      </a:cubicBezTo>
                      <a:cubicBezTo>
                        <a:pt x="33708" y="32718"/>
                        <a:pt x="33460" y="32070"/>
                        <a:pt x="26964" y="30632"/>
                      </a:cubicBezTo>
                      <a:cubicBezTo>
                        <a:pt x="25002" y="30194"/>
                        <a:pt x="22621" y="31280"/>
                        <a:pt x="19897" y="30775"/>
                      </a:cubicBezTo>
                      <a:cubicBezTo>
                        <a:pt x="16201" y="30089"/>
                        <a:pt x="14715" y="26994"/>
                        <a:pt x="10772" y="28004"/>
                      </a:cubicBezTo>
                      <a:cubicBezTo>
                        <a:pt x="8153" y="28670"/>
                        <a:pt x="5609" y="35547"/>
                        <a:pt x="1361" y="33166"/>
                      </a:cubicBezTo>
                      <a:cubicBezTo>
                        <a:pt x="-1639" y="31480"/>
                        <a:pt x="1123" y="30642"/>
                        <a:pt x="2047" y="28146"/>
                      </a:cubicBezTo>
                      <a:cubicBezTo>
                        <a:pt x="2533" y="26841"/>
                        <a:pt x="4628" y="22831"/>
                        <a:pt x="5057" y="21974"/>
                      </a:cubicBezTo>
                      <a:cubicBezTo>
                        <a:pt x="6438" y="19231"/>
                        <a:pt x="6152" y="17088"/>
                        <a:pt x="9467" y="16021"/>
                      </a:cubicBezTo>
                      <a:cubicBezTo>
                        <a:pt x="4504" y="12440"/>
                        <a:pt x="16801" y="790"/>
                        <a:pt x="21259" y="0"/>
                      </a:cubicBezTo>
                      <a:cubicBezTo>
                        <a:pt x="21163" y="1714"/>
                        <a:pt x="21192" y="1609"/>
                        <a:pt x="20268" y="3029"/>
                      </a:cubicBezTo>
                      <a:cubicBezTo>
                        <a:pt x="23668" y="7067"/>
                        <a:pt x="10095" y="12487"/>
                        <a:pt x="18097" y="14278"/>
                      </a:cubicBezTo>
                      <a:lnTo>
                        <a:pt x="18097" y="14278"/>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95" name="Freeform: Shape 694">
                  <a:extLst>
                    <a:ext uri="{FF2B5EF4-FFF2-40B4-BE49-F238E27FC236}">
                      <a16:creationId xmlns:a16="http://schemas.microsoft.com/office/drawing/2014/main" id="{38107B44-6DE2-4C6B-8BE2-822C7758AB18}"/>
                    </a:ext>
                  </a:extLst>
                </p:cNvPr>
                <p:cNvSpPr/>
                <p:nvPr/>
              </p:nvSpPr>
              <p:spPr>
                <a:xfrm>
                  <a:off x="6793277" y="3064496"/>
                  <a:ext cx="102412" cy="76009"/>
                </a:xfrm>
                <a:custGeom>
                  <a:avLst/>
                  <a:gdLst>
                    <a:gd name="connsiteX0" fmla="*/ 44701 w 102412"/>
                    <a:gd name="connsiteY0" fmla="*/ 2742 h 76009"/>
                    <a:gd name="connsiteX1" fmla="*/ 48177 w 102412"/>
                    <a:gd name="connsiteY1" fmla="*/ 4923 h 76009"/>
                    <a:gd name="connsiteX2" fmla="*/ 44968 w 102412"/>
                    <a:gd name="connsiteY2" fmla="*/ 6124 h 76009"/>
                    <a:gd name="connsiteX3" fmla="*/ 59284 w 102412"/>
                    <a:gd name="connsiteY3" fmla="*/ 12153 h 76009"/>
                    <a:gd name="connsiteX4" fmla="*/ 60646 w 102412"/>
                    <a:gd name="connsiteY4" fmla="*/ 23907 h 76009"/>
                    <a:gd name="connsiteX5" fmla="*/ 77486 w 102412"/>
                    <a:gd name="connsiteY5" fmla="*/ 34889 h 76009"/>
                    <a:gd name="connsiteX6" fmla="*/ 68294 w 102412"/>
                    <a:gd name="connsiteY6" fmla="*/ 41099 h 76009"/>
                    <a:gd name="connsiteX7" fmla="*/ 79943 w 102412"/>
                    <a:gd name="connsiteY7" fmla="*/ 47433 h 76009"/>
                    <a:gd name="connsiteX8" fmla="*/ 86096 w 102412"/>
                    <a:gd name="connsiteY8" fmla="*/ 51539 h 76009"/>
                    <a:gd name="connsiteX9" fmla="*/ 92526 w 102412"/>
                    <a:gd name="connsiteY9" fmla="*/ 52701 h 76009"/>
                    <a:gd name="connsiteX10" fmla="*/ 94821 w 102412"/>
                    <a:gd name="connsiteY10" fmla="*/ 58492 h 76009"/>
                    <a:gd name="connsiteX11" fmla="*/ 102412 w 102412"/>
                    <a:gd name="connsiteY11" fmla="*/ 64845 h 76009"/>
                    <a:gd name="connsiteX12" fmla="*/ 97517 w 102412"/>
                    <a:gd name="connsiteY12" fmla="*/ 65836 h 76009"/>
                    <a:gd name="connsiteX13" fmla="*/ 102336 w 102412"/>
                    <a:gd name="connsiteY13" fmla="*/ 74827 h 76009"/>
                    <a:gd name="connsiteX14" fmla="*/ 92030 w 102412"/>
                    <a:gd name="connsiteY14" fmla="*/ 75742 h 76009"/>
                    <a:gd name="connsiteX15" fmla="*/ 85706 w 102412"/>
                    <a:gd name="connsiteY15" fmla="*/ 67074 h 76009"/>
                    <a:gd name="connsiteX16" fmla="*/ 79438 w 102412"/>
                    <a:gd name="connsiteY16" fmla="*/ 60864 h 76009"/>
                    <a:gd name="connsiteX17" fmla="*/ 77886 w 102412"/>
                    <a:gd name="connsiteY17" fmla="*/ 55615 h 76009"/>
                    <a:gd name="connsiteX18" fmla="*/ 62865 w 102412"/>
                    <a:gd name="connsiteY18" fmla="*/ 53606 h 76009"/>
                    <a:gd name="connsiteX19" fmla="*/ 59560 w 102412"/>
                    <a:gd name="connsiteY19" fmla="*/ 53539 h 76009"/>
                    <a:gd name="connsiteX20" fmla="*/ 57883 w 102412"/>
                    <a:gd name="connsiteY20" fmla="*/ 49958 h 76009"/>
                    <a:gd name="connsiteX21" fmla="*/ 49863 w 102412"/>
                    <a:gd name="connsiteY21" fmla="*/ 49367 h 76009"/>
                    <a:gd name="connsiteX22" fmla="*/ 32356 w 102412"/>
                    <a:gd name="connsiteY22" fmla="*/ 39309 h 76009"/>
                    <a:gd name="connsiteX23" fmla="*/ 14525 w 102412"/>
                    <a:gd name="connsiteY23" fmla="*/ 35422 h 76009"/>
                    <a:gd name="connsiteX24" fmla="*/ 10449 w 102412"/>
                    <a:gd name="connsiteY24" fmla="*/ 28012 h 76009"/>
                    <a:gd name="connsiteX25" fmla="*/ 8477 w 102412"/>
                    <a:gd name="connsiteY25" fmla="*/ 25212 h 76009"/>
                    <a:gd name="connsiteX26" fmla="*/ 10992 w 102412"/>
                    <a:gd name="connsiteY26" fmla="*/ 20583 h 76009"/>
                    <a:gd name="connsiteX27" fmla="*/ 0 w 102412"/>
                    <a:gd name="connsiteY27" fmla="*/ 5533 h 76009"/>
                    <a:gd name="connsiteX28" fmla="*/ 18326 w 102412"/>
                    <a:gd name="connsiteY28" fmla="*/ 2666 h 76009"/>
                    <a:gd name="connsiteX29" fmla="*/ 37995 w 102412"/>
                    <a:gd name="connsiteY29" fmla="*/ 1971 h 76009"/>
                    <a:gd name="connsiteX30" fmla="*/ 36643 w 102412"/>
                    <a:gd name="connsiteY30" fmla="*/ 742 h 76009"/>
                    <a:gd name="connsiteX31" fmla="*/ 44701 w 102412"/>
                    <a:gd name="connsiteY31" fmla="*/ 2742 h 76009"/>
                    <a:gd name="connsiteX32" fmla="*/ 44701 w 102412"/>
                    <a:gd name="connsiteY32" fmla="*/ 2742 h 76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2412" h="76009">
                      <a:moveTo>
                        <a:pt x="44701" y="2742"/>
                      </a:moveTo>
                      <a:cubicBezTo>
                        <a:pt x="46272" y="3142"/>
                        <a:pt x="47434" y="3533"/>
                        <a:pt x="48177" y="4923"/>
                      </a:cubicBezTo>
                      <a:cubicBezTo>
                        <a:pt x="47167" y="5142"/>
                        <a:pt x="45653" y="5933"/>
                        <a:pt x="44968" y="6124"/>
                      </a:cubicBezTo>
                      <a:cubicBezTo>
                        <a:pt x="49073" y="8000"/>
                        <a:pt x="56397" y="8048"/>
                        <a:pt x="59284" y="12153"/>
                      </a:cubicBezTo>
                      <a:cubicBezTo>
                        <a:pt x="63493" y="18154"/>
                        <a:pt x="53854" y="16449"/>
                        <a:pt x="60646" y="23907"/>
                      </a:cubicBezTo>
                      <a:cubicBezTo>
                        <a:pt x="64112" y="27717"/>
                        <a:pt x="76476" y="30641"/>
                        <a:pt x="77486" y="34889"/>
                      </a:cubicBezTo>
                      <a:cubicBezTo>
                        <a:pt x="79162" y="42014"/>
                        <a:pt x="70552" y="38575"/>
                        <a:pt x="68294" y="41099"/>
                      </a:cubicBezTo>
                      <a:cubicBezTo>
                        <a:pt x="72533" y="42119"/>
                        <a:pt x="76400" y="45090"/>
                        <a:pt x="79943" y="47433"/>
                      </a:cubicBezTo>
                      <a:cubicBezTo>
                        <a:pt x="81810" y="48662"/>
                        <a:pt x="84020" y="50691"/>
                        <a:pt x="86096" y="51539"/>
                      </a:cubicBezTo>
                      <a:cubicBezTo>
                        <a:pt x="88344" y="52453"/>
                        <a:pt x="90725" y="51920"/>
                        <a:pt x="92526" y="52701"/>
                      </a:cubicBezTo>
                      <a:cubicBezTo>
                        <a:pt x="101146" y="56473"/>
                        <a:pt x="93516" y="55901"/>
                        <a:pt x="94821" y="58492"/>
                      </a:cubicBezTo>
                      <a:cubicBezTo>
                        <a:pt x="96088" y="60997"/>
                        <a:pt x="100098" y="62721"/>
                        <a:pt x="102412" y="64845"/>
                      </a:cubicBezTo>
                      <a:cubicBezTo>
                        <a:pt x="101117" y="64931"/>
                        <a:pt x="98822" y="65921"/>
                        <a:pt x="97517" y="65836"/>
                      </a:cubicBezTo>
                      <a:cubicBezTo>
                        <a:pt x="100460" y="68103"/>
                        <a:pt x="101584" y="71065"/>
                        <a:pt x="102336" y="74827"/>
                      </a:cubicBezTo>
                      <a:cubicBezTo>
                        <a:pt x="98927" y="74170"/>
                        <a:pt x="94907" y="76837"/>
                        <a:pt x="92030" y="75742"/>
                      </a:cubicBezTo>
                      <a:cubicBezTo>
                        <a:pt x="90316" y="75085"/>
                        <a:pt x="86839" y="68617"/>
                        <a:pt x="85706" y="67074"/>
                      </a:cubicBezTo>
                      <a:cubicBezTo>
                        <a:pt x="83848" y="64550"/>
                        <a:pt x="81686" y="63569"/>
                        <a:pt x="79438" y="60864"/>
                      </a:cubicBezTo>
                      <a:cubicBezTo>
                        <a:pt x="78400" y="59606"/>
                        <a:pt x="79077" y="56482"/>
                        <a:pt x="77886" y="55615"/>
                      </a:cubicBezTo>
                      <a:cubicBezTo>
                        <a:pt x="73495" y="52444"/>
                        <a:pt x="68609" y="56701"/>
                        <a:pt x="62865" y="53606"/>
                      </a:cubicBezTo>
                      <a:cubicBezTo>
                        <a:pt x="61541" y="52891"/>
                        <a:pt x="60798" y="54396"/>
                        <a:pt x="59560" y="53539"/>
                      </a:cubicBezTo>
                      <a:cubicBezTo>
                        <a:pt x="58684" y="52939"/>
                        <a:pt x="59236" y="50510"/>
                        <a:pt x="57883" y="49958"/>
                      </a:cubicBezTo>
                      <a:cubicBezTo>
                        <a:pt x="53959" y="48357"/>
                        <a:pt x="53892" y="49977"/>
                        <a:pt x="49863" y="49367"/>
                      </a:cubicBezTo>
                      <a:cubicBezTo>
                        <a:pt x="43719" y="48424"/>
                        <a:pt x="39138" y="40633"/>
                        <a:pt x="32356" y="39309"/>
                      </a:cubicBezTo>
                      <a:cubicBezTo>
                        <a:pt x="25079" y="37889"/>
                        <a:pt x="19298" y="40680"/>
                        <a:pt x="14525" y="35422"/>
                      </a:cubicBezTo>
                      <a:cubicBezTo>
                        <a:pt x="13421" y="34213"/>
                        <a:pt x="11039" y="29993"/>
                        <a:pt x="10449" y="28012"/>
                      </a:cubicBezTo>
                      <a:cubicBezTo>
                        <a:pt x="10192" y="27126"/>
                        <a:pt x="8544" y="26040"/>
                        <a:pt x="8477" y="25212"/>
                      </a:cubicBezTo>
                      <a:cubicBezTo>
                        <a:pt x="8363" y="23831"/>
                        <a:pt x="11077" y="22383"/>
                        <a:pt x="10992" y="20583"/>
                      </a:cubicBezTo>
                      <a:cubicBezTo>
                        <a:pt x="10573" y="12372"/>
                        <a:pt x="3400" y="11419"/>
                        <a:pt x="0" y="5533"/>
                      </a:cubicBezTo>
                      <a:cubicBezTo>
                        <a:pt x="6125" y="4790"/>
                        <a:pt x="12259" y="3361"/>
                        <a:pt x="18326" y="2666"/>
                      </a:cubicBezTo>
                      <a:cubicBezTo>
                        <a:pt x="24784" y="1923"/>
                        <a:pt x="31699" y="3142"/>
                        <a:pt x="37995" y="1971"/>
                      </a:cubicBezTo>
                      <a:cubicBezTo>
                        <a:pt x="37442" y="1533"/>
                        <a:pt x="37062" y="1161"/>
                        <a:pt x="36643" y="742"/>
                      </a:cubicBezTo>
                      <a:cubicBezTo>
                        <a:pt x="39928" y="-677"/>
                        <a:pt x="42700" y="-87"/>
                        <a:pt x="44701" y="2742"/>
                      </a:cubicBezTo>
                      <a:lnTo>
                        <a:pt x="44701" y="2742"/>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96" name="Freeform: Shape 695">
                  <a:extLst>
                    <a:ext uri="{FF2B5EF4-FFF2-40B4-BE49-F238E27FC236}">
                      <a16:creationId xmlns:a16="http://schemas.microsoft.com/office/drawing/2014/main" id="{5CD37C97-405B-4F07-B98B-25F448212D3A}"/>
                    </a:ext>
                  </a:extLst>
                </p:cNvPr>
                <p:cNvSpPr/>
                <p:nvPr/>
              </p:nvSpPr>
              <p:spPr>
                <a:xfrm>
                  <a:off x="3529250" y="5051873"/>
                  <a:ext cx="462897" cy="1045693"/>
                </a:xfrm>
                <a:custGeom>
                  <a:avLst/>
                  <a:gdLst>
                    <a:gd name="connsiteX0" fmla="*/ 341528 w 462897"/>
                    <a:gd name="connsiteY0" fmla="*/ 982003 h 1045693"/>
                    <a:gd name="connsiteX1" fmla="*/ 343947 w 462897"/>
                    <a:gd name="connsiteY1" fmla="*/ 985089 h 1045693"/>
                    <a:gd name="connsiteX2" fmla="*/ 342585 w 462897"/>
                    <a:gd name="connsiteY2" fmla="*/ 991575 h 1045693"/>
                    <a:gd name="connsiteX3" fmla="*/ 351053 w 462897"/>
                    <a:gd name="connsiteY3" fmla="*/ 993785 h 1045693"/>
                    <a:gd name="connsiteX4" fmla="*/ 360825 w 462897"/>
                    <a:gd name="connsiteY4" fmla="*/ 1002662 h 1045693"/>
                    <a:gd name="connsiteX5" fmla="*/ 401688 w 462897"/>
                    <a:gd name="connsiteY5" fmla="*/ 1023893 h 1045693"/>
                    <a:gd name="connsiteX6" fmla="*/ 422538 w 462897"/>
                    <a:gd name="connsiteY6" fmla="*/ 1032790 h 1045693"/>
                    <a:gd name="connsiteX7" fmla="*/ 442979 w 462897"/>
                    <a:gd name="connsiteY7" fmla="*/ 1034819 h 1045693"/>
                    <a:gd name="connsiteX8" fmla="*/ 429177 w 462897"/>
                    <a:gd name="connsiteY8" fmla="*/ 1042877 h 1045693"/>
                    <a:gd name="connsiteX9" fmla="*/ 410898 w 462897"/>
                    <a:gd name="connsiteY9" fmla="*/ 1045210 h 1045693"/>
                    <a:gd name="connsiteX10" fmla="*/ 360559 w 462897"/>
                    <a:gd name="connsiteY10" fmla="*/ 1040924 h 1045693"/>
                    <a:gd name="connsiteX11" fmla="*/ 327650 w 462897"/>
                    <a:gd name="connsiteY11" fmla="*/ 971592 h 1045693"/>
                    <a:gd name="connsiteX12" fmla="*/ 341528 w 462897"/>
                    <a:gd name="connsiteY12" fmla="*/ 982003 h 1045693"/>
                    <a:gd name="connsiteX13" fmla="*/ 341528 w 462897"/>
                    <a:gd name="connsiteY13" fmla="*/ 982003 h 1045693"/>
                    <a:gd name="connsiteX14" fmla="*/ 68656 w 462897"/>
                    <a:gd name="connsiteY14" fmla="*/ 9157 h 1045693"/>
                    <a:gd name="connsiteX15" fmla="*/ 97793 w 462897"/>
                    <a:gd name="connsiteY15" fmla="*/ 10767 h 1045693"/>
                    <a:gd name="connsiteX16" fmla="*/ 117433 w 462897"/>
                    <a:gd name="connsiteY16" fmla="*/ 32084 h 1045693"/>
                    <a:gd name="connsiteX17" fmla="*/ 123624 w 462897"/>
                    <a:gd name="connsiteY17" fmla="*/ 7566 h 1045693"/>
                    <a:gd name="connsiteX18" fmla="*/ 144570 w 462897"/>
                    <a:gd name="connsiteY18" fmla="*/ 6042 h 1045693"/>
                    <a:gd name="connsiteX19" fmla="*/ 157543 w 462897"/>
                    <a:gd name="connsiteY19" fmla="*/ 6814 h 1045693"/>
                    <a:gd name="connsiteX20" fmla="*/ 165191 w 462897"/>
                    <a:gd name="connsiteY20" fmla="*/ 14701 h 1045693"/>
                    <a:gd name="connsiteX21" fmla="*/ 186642 w 462897"/>
                    <a:gd name="connsiteY21" fmla="*/ 34027 h 1045693"/>
                    <a:gd name="connsiteX22" fmla="*/ 207425 w 462897"/>
                    <a:gd name="connsiteY22" fmla="*/ 50429 h 1045693"/>
                    <a:gd name="connsiteX23" fmla="*/ 229819 w 462897"/>
                    <a:gd name="connsiteY23" fmla="*/ 64573 h 1045693"/>
                    <a:gd name="connsiteX24" fmla="*/ 258308 w 462897"/>
                    <a:gd name="connsiteY24" fmla="*/ 71365 h 1045693"/>
                    <a:gd name="connsiteX25" fmla="*/ 282835 w 462897"/>
                    <a:gd name="connsiteY25" fmla="*/ 85948 h 1045693"/>
                    <a:gd name="connsiteX26" fmla="*/ 310010 w 462897"/>
                    <a:gd name="connsiteY26" fmla="*/ 97644 h 1045693"/>
                    <a:gd name="connsiteX27" fmla="*/ 330946 w 462897"/>
                    <a:gd name="connsiteY27" fmla="*/ 106388 h 1045693"/>
                    <a:gd name="connsiteX28" fmla="*/ 339375 w 462897"/>
                    <a:gd name="connsiteY28" fmla="*/ 116875 h 1045693"/>
                    <a:gd name="connsiteX29" fmla="*/ 334965 w 462897"/>
                    <a:gd name="connsiteY29" fmla="*/ 124314 h 1045693"/>
                    <a:gd name="connsiteX30" fmla="*/ 332460 w 462897"/>
                    <a:gd name="connsiteY30" fmla="*/ 132972 h 1045693"/>
                    <a:gd name="connsiteX31" fmla="*/ 327469 w 462897"/>
                    <a:gd name="connsiteY31" fmla="*/ 139916 h 1045693"/>
                    <a:gd name="connsiteX32" fmla="*/ 327412 w 462897"/>
                    <a:gd name="connsiteY32" fmla="*/ 155690 h 1045693"/>
                    <a:gd name="connsiteX33" fmla="*/ 319477 w 462897"/>
                    <a:gd name="connsiteY33" fmla="*/ 167720 h 1045693"/>
                    <a:gd name="connsiteX34" fmla="*/ 344147 w 462897"/>
                    <a:gd name="connsiteY34" fmla="*/ 173425 h 1045693"/>
                    <a:gd name="connsiteX35" fmla="*/ 373608 w 462897"/>
                    <a:gd name="connsiteY35" fmla="*/ 177435 h 1045693"/>
                    <a:gd name="connsiteX36" fmla="*/ 387857 w 462897"/>
                    <a:gd name="connsiteY36" fmla="*/ 180807 h 1045693"/>
                    <a:gd name="connsiteX37" fmla="*/ 397621 w 462897"/>
                    <a:gd name="connsiteY37" fmla="*/ 173378 h 1045693"/>
                    <a:gd name="connsiteX38" fmla="*/ 410051 w 462897"/>
                    <a:gd name="connsiteY38" fmla="*/ 174244 h 1045693"/>
                    <a:gd name="connsiteX39" fmla="*/ 413384 w 462897"/>
                    <a:gd name="connsiteY39" fmla="*/ 164748 h 1045693"/>
                    <a:gd name="connsiteX40" fmla="*/ 422043 w 462897"/>
                    <a:gd name="connsiteY40" fmla="*/ 159281 h 1045693"/>
                    <a:gd name="connsiteX41" fmla="*/ 428215 w 462897"/>
                    <a:gd name="connsiteY41" fmla="*/ 152842 h 1045693"/>
                    <a:gd name="connsiteX42" fmla="*/ 428215 w 462897"/>
                    <a:gd name="connsiteY42" fmla="*/ 118676 h 1045693"/>
                    <a:gd name="connsiteX43" fmla="*/ 450008 w 462897"/>
                    <a:gd name="connsiteY43" fmla="*/ 121371 h 1045693"/>
                    <a:gd name="connsiteX44" fmla="*/ 459114 w 462897"/>
                    <a:gd name="connsiteY44" fmla="*/ 136887 h 1045693"/>
                    <a:gd name="connsiteX45" fmla="*/ 461495 w 462897"/>
                    <a:gd name="connsiteY45" fmla="*/ 153585 h 1045693"/>
                    <a:gd name="connsiteX46" fmla="*/ 459333 w 462897"/>
                    <a:gd name="connsiteY46" fmla="*/ 168539 h 1045693"/>
                    <a:gd name="connsiteX47" fmla="*/ 454161 w 462897"/>
                    <a:gd name="connsiteY47" fmla="*/ 172035 h 1045693"/>
                    <a:gd name="connsiteX48" fmla="*/ 449999 w 462897"/>
                    <a:gd name="connsiteY48" fmla="*/ 176178 h 1045693"/>
                    <a:gd name="connsiteX49" fmla="*/ 438340 w 462897"/>
                    <a:gd name="connsiteY49" fmla="*/ 180693 h 1045693"/>
                    <a:gd name="connsiteX50" fmla="*/ 434111 w 462897"/>
                    <a:gd name="connsiteY50" fmla="*/ 182398 h 1045693"/>
                    <a:gd name="connsiteX51" fmla="*/ 432168 w 462897"/>
                    <a:gd name="connsiteY51" fmla="*/ 187246 h 1045693"/>
                    <a:gd name="connsiteX52" fmla="*/ 422652 w 462897"/>
                    <a:gd name="connsiteY52" fmla="*/ 193656 h 1045693"/>
                    <a:gd name="connsiteX53" fmla="*/ 416804 w 462897"/>
                    <a:gd name="connsiteY53" fmla="*/ 198886 h 1045693"/>
                    <a:gd name="connsiteX54" fmla="*/ 413089 w 462897"/>
                    <a:gd name="connsiteY54" fmla="*/ 201857 h 1045693"/>
                    <a:gd name="connsiteX55" fmla="*/ 414880 w 462897"/>
                    <a:gd name="connsiteY55" fmla="*/ 204563 h 1045693"/>
                    <a:gd name="connsiteX56" fmla="*/ 414289 w 462897"/>
                    <a:gd name="connsiteY56" fmla="*/ 207191 h 1045693"/>
                    <a:gd name="connsiteX57" fmla="*/ 409441 w 462897"/>
                    <a:gd name="connsiteY57" fmla="*/ 206896 h 1045693"/>
                    <a:gd name="connsiteX58" fmla="*/ 406041 w 462897"/>
                    <a:gd name="connsiteY58" fmla="*/ 214411 h 1045693"/>
                    <a:gd name="connsiteX59" fmla="*/ 396335 w 462897"/>
                    <a:gd name="connsiteY59" fmla="*/ 230118 h 1045693"/>
                    <a:gd name="connsiteX60" fmla="*/ 387324 w 462897"/>
                    <a:gd name="connsiteY60" fmla="*/ 245739 h 1045693"/>
                    <a:gd name="connsiteX61" fmla="*/ 380352 w 462897"/>
                    <a:gd name="connsiteY61" fmla="*/ 251749 h 1045693"/>
                    <a:gd name="connsiteX62" fmla="*/ 376294 w 462897"/>
                    <a:gd name="connsiteY62" fmla="*/ 260112 h 1045693"/>
                    <a:gd name="connsiteX63" fmla="*/ 368665 w 462897"/>
                    <a:gd name="connsiteY63" fmla="*/ 273619 h 1045693"/>
                    <a:gd name="connsiteX64" fmla="*/ 371141 w 462897"/>
                    <a:gd name="connsiteY64" fmla="*/ 281677 h 1045693"/>
                    <a:gd name="connsiteX65" fmla="*/ 370579 w 462897"/>
                    <a:gd name="connsiteY65" fmla="*/ 287830 h 1045693"/>
                    <a:gd name="connsiteX66" fmla="*/ 372522 w 462897"/>
                    <a:gd name="connsiteY66" fmla="*/ 293545 h 1045693"/>
                    <a:gd name="connsiteX67" fmla="*/ 370255 w 462897"/>
                    <a:gd name="connsiteY67" fmla="*/ 303279 h 1045693"/>
                    <a:gd name="connsiteX68" fmla="*/ 372417 w 462897"/>
                    <a:gd name="connsiteY68" fmla="*/ 314729 h 1045693"/>
                    <a:gd name="connsiteX69" fmla="*/ 370674 w 462897"/>
                    <a:gd name="connsiteY69" fmla="*/ 319615 h 1045693"/>
                    <a:gd name="connsiteX70" fmla="*/ 372656 w 462897"/>
                    <a:gd name="connsiteY70" fmla="*/ 326359 h 1045693"/>
                    <a:gd name="connsiteX71" fmla="*/ 376532 w 462897"/>
                    <a:gd name="connsiteY71" fmla="*/ 343866 h 1045693"/>
                    <a:gd name="connsiteX72" fmla="*/ 379113 w 462897"/>
                    <a:gd name="connsiteY72" fmla="*/ 352514 h 1045693"/>
                    <a:gd name="connsiteX73" fmla="*/ 374456 w 462897"/>
                    <a:gd name="connsiteY73" fmla="*/ 354810 h 1045693"/>
                    <a:gd name="connsiteX74" fmla="*/ 374684 w 462897"/>
                    <a:gd name="connsiteY74" fmla="*/ 373108 h 1045693"/>
                    <a:gd name="connsiteX75" fmla="*/ 383752 w 462897"/>
                    <a:gd name="connsiteY75" fmla="*/ 389586 h 1045693"/>
                    <a:gd name="connsiteX76" fmla="*/ 381276 w 462897"/>
                    <a:gd name="connsiteY76" fmla="*/ 393072 h 1045693"/>
                    <a:gd name="connsiteX77" fmla="*/ 386229 w 462897"/>
                    <a:gd name="connsiteY77" fmla="*/ 400749 h 1045693"/>
                    <a:gd name="connsiteX78" fmla="*/ 405193 w 462897"/>
                    <a:gd name="connsiteY78" fmla="*/ 410941 h 1045693"/>
                    <a:gd name="connsiteX79" fmla="*/ 422824 w 462897"/>
                    <a:gd name="connsiteY79" fmla="*/ 420599 h 1045693"/>
                    <a:gd name="connsiteX80" fmla="*/ 429320 w 462897"/>
                    <a:gd name="connsiteY80" fmla="*/ 426638 h 1045693"/>
                    <a:gd name="connsiteX81" fmla="*/ 428910 w 462897"/>
                    <a:gd name="connsiteY81" fmla="*/ 435791 h 1045693"/>
                    <a:gd name="connsiteX82" fmla="*/ 434854 w 462897"/>
                    <a:gd name="connsiteY82" fmla="*/ 452089 h 1045693"/>
                    <a:gd name="connsiteX83" fmla="*/ 452151 w 462897"/>
                    <a:gd name="connsiteY83" fmla="*/ 459575 h 1045693"/>
                    <a:gd name="connsiteX84" fmla="*/ 449075 w 462897"/>
                    <a:gd name="connsiteY84" fmla="*/ 496275 h 1045693"/>
                    <a:gd name="connsiteX85" fmla="*/ 444760 w 462897"/>
                    <a:gd name="connsiteY85" fmla="*/ 504571 h 1045693"/>
                    <a:gd name="connsiteX86" fmla="*/ 444131 w 462897"/>
                    <a:gd name="connsiteY86" fmla="*/ 513363 h 1045693"/>
                    <a:gd name="connsiteX87" fmla="*/ 428853 w 462897"/>
                    <a:gd name="connsiteY87" fmla="*/ 524260 h 1045693"/>
                    <a:gd name="connsiteX88" fmla="*/ 387924 w 462897"/>
                    <a:gd name="connsiteY88" fmla="*/ 536471 h 1045693"/>
                    <a:gd name="connsiteX89" fmla="*/ 346014 w 462897"/>
                    <a:gd name="connsiteY89" fmla="*/ 540928 h 1045693"/>
                    <a:gd name="connsiteX90" fmla="*/ 326678 w 462897"/>
                    <a:gd name="connsiteY90" fmla="*/ 539090 h 1045693"/>
                    <a:gd name="connsiteX91" fmla="*/ 319563 w 462897"/>
                    <a:gd name="connsiteY91" fmla="*/ 535471 h 1045693"/>
                    <a:gd name="connsiteX92" fmla="*/ 320078 w 462897"/>
                    <a:gd name="connsiteY92" fmla="*/ 540823 h 1045693"/>
                    <a:gd name="connsiteX93" fmla="*/ 331488 w 462897"/>
                    <a:gd name="connsiteY93" fmla="*/ 553320 h 1045693"/>
                    <a:gd name="connsiteX94" fmla="*/ 328050 w 462897"/>
                    <a:gd name="connsiteY94" fmla="*/ 553520 h 1045693"/>
                    <a:gd name="connsiteX95" fmla="*/ 334194 w 462897"/>
                    <a:gd name="connsiteY95" fmla="*/ 567122 h 1045693"/>
                    <a:gd name="connsiteX96" fmla="*/ 330593 w 462897"/>
                    <a:gd name="connsiteY96" fmla="*/ 570199 h 1045693"/>
                    <a:gd name="connsiteX97" fmla="*/ 330765 w 462897"/>
                    <a:gd name="connsiteY97" fmla="*/ 578447 h 1045693"/>
                    <a:gd name="connsiteX98" fmla="*/ 335165 w 462897"/>
                    <a:gd name="connsiteY98" fmla="*/ 602955 h 1045693"/>
                    <a:gd name="connsiteX99" fmla="*/ 269862 w 462897"/>
                    <a:gd name="connsiteY99" fmla="*/ 598669 h 1045693"/>
                    <a:gd name="connsiteX100" fmla="*/ 265471 w 462897"/>
                    <a:gd name="connsiteY100" fmla="*/ 597240 h 1045693"/>
                    <a:gd name="connsiteX101" fmla="*/ 265556 w 462897"/>
                    <a:gd name="connsiteY101" fmla="*/ 608946 h 1045693"/>
                    <a:gd name="connsiteX102" fmla="*/ 274548 w 462897"/>
                    <a:gd name="connsiteY102" fmla="*/ 623253 h 1045693"/>
                    <a:gd name="connsiteX103" fmla="*/ 279015 w 462897"/>
                    <a:gd name="connsiteY103" fmla="*/ 636436 h 1045693"/>
                    <a:gd name="connsiteX104" fmla="*/ 290702 w 462897"/>
                    <a:gd name="connsiteY104" fmla="*/ 642989 h 1045693"/>
                    <a:gd name="connsiteX105" fmla="*/ 295770 w 462897"/>
                    <a:gd name="connsiteY105" fmla="*/ 644189 h 1045693"/>
                    <a:gd name="connsiteX106" fmla="*/ 295932 w 462897"/>
                    <a:gd name="connsiteY106" fmla="*/ 646799 h 1045693"/>
                    <a:gd name="connsiteX107" fmla="*/ 299770 w 462897"/>
                    <a:gd name="connsiteY107" fmla="*/ 649561 h 1045693"/>
                    <a:gd name="connsiteX108" fmla="*/ 306095 w 462897"/>
                    <a:gd name="connsiteY108" fmla="*/ 649104 h 1045693"/>
                    <a:gd name="connsiteX109" fmla="*/ 303304 w 462897"/>
                    <a:gd name="connsiteY109" fmla="*/ 643941 h 1045693"/>
                    <a:gd name="connsiteX110" fmla="*/ 322516 w 462897"/>
                    <a:gd name="connsiteY110" fmla="*/ 647827 h 1045693"/>
                    <a:gd name="connsiteX111" fmla="*/ 325516 w 462897"/>
                    <a:gd name="connsiteY111" fmla="*/ 660448 h 1045693"/>
                    <a:gd name="connsiteX112" fmla="*/ 312067 w 462897"/>
                    <a:gd name="connsiteY112" fmla="*/ 661486 h 1045693"/>
                    <a:gd name="connsiteX113" fmla="*/ 290598 w 462897"/>
                    <a:gd name="connsiteY113" fmla="*/ 656495 h 1045693"/>
                    <a:gd name="connsiteX114" fmla="*/ 298913 w 462897"/>
                    <a:gd name="connsiteY114" fmla="*/ 663915 h 1045693"/>
                    <a:gd name="connsiteX115" fmla="*/ 310086 w 462897"/>
                    <a:gd name="connsiteY115" fmla="*/ 666554 h 1045693"/>
                    <a:gd name="connsiteX116" fmla="*/ 301999 w 462897"/>
                    <a:gd name="connsiteY116" fmla="*/ 671526 h 1045693"/>
                    <a:gd name="connsiteX117" fmla="*/ 294493 w 462897"/>
                    <a:gd name="connsiteY117" fmla="*/ 680403 h 1045693"/>
                    <a:gd name="connsiteX118" fmla="*/ 298199 w 462897"/>
                    <a:gd name="connsiteY118" fmla="*/ 701406 h 1045693"/>
                    <a:gd name="connsiteX119" fmla="*/ 300618 w 462897"/>
                    <a:gd name="connsiteY119" fmla="*/ 712226 h 1045693"/>
                    <a:gd name="connsiteX120" fmla="*/ 295227 w 462897"/>
                    <a:gd name="connsiteY120" fmla="*/ 722989 h 1045693"/>
                    <a:gd name="connsiteX121" fmla="*/ 299618 w 462897"/>
                    <a:gd name="connsiteY121" fmla="*/ 730752 h 1045693"/>
                    <a:gd name="connsiteX122" fmla="*/ 284911 w 462897"/>
                    <a:gd name="connsiteY122" fmla="*/ 729495 h 1045693"/>
                    <a:gd name="connsiteX123" fmla="*/ 277767 w 462897"/>
                    <a:gd name="connsiteY123" fmla="*/ 734857 h 1045693"/>
                    <a:gd name="connsiteX124" fmla="*/ 268766 w 462897"/>
                    <a:gd name="connsiteY124" fmla="*/ 737915 h 1045693"/>
                    <a:gd name="connsiteX125" fmla="*/ 260956 w 462897"/>
                    <a:gd name="connsiteY125" fmla="*/ 760632 h 1045693"/>
                    <a:gd name="connsiteX126" fmla="*/ 295417 w 462897"/>
                    <a:gd name="connsiteY126" fmla="*/ 793703 h 1045693"/>
                    <a:gd name="connsiteX127" fmla="*/ 322764 w 462897"/>
                    <a:gd name="connsiteY127" fmla="*/ 799237 h 1045693"/>
                    <a:gd name="connsiteX128" fmla="*/ 321030 w 462897"/>
                    <a:gd name="connsiteY128" fmla="*/ 819563 h 1045693"/>
                    <a:gd name="connsiteX129" fmla="*/ 333498 w 462897"/>
                    <a:gd name="connsiteY129" fmla="*/ 823173 h 1045693"/>
                    <a:gd name="connsiteX130" fmla="*/ 326793 w 462897"/>
                    <a:gd name="connsiteY130" fmla="*/ 831736 h 1045693"/>
                    <a:gd name="connsiteX131" fmla="*/ 315477 w 462897"/>
                    <a:gd name="connsiteY131" fmla="*/ 841757 h 1045693"/>
                    <a:gd name="connsiteX132" fmla="*/ 302409 w 462897"/>
                    <a:gd name="connsiteY132" fmla="*/ 864283 h 1045693"/>
                    <a:gd name="connsiteX133" fmla="*/ 306933 w 462897"/>
                    <a:gd name="connsiteY133" fmla="*/ 887524 h 1045693"/>
                    <a:gd name="connsiteX134" fmla="*/ 284083 w 462897"/>
                    <a:gd name="connsiteY134" fmla="*/ 880218 h 1045693"/>
                    <a:gd name="connsiteX135" fmla="*/ 286873 w 462897"/>
                    <a:gd name="connsiteY135" fmla="*/ 885981 h 1045693"/>
                    <a:gd name="connsiteX136" fmla="*/ 279615 w 462897"/>
                    <a:gd name="connsiteY136" fmla="*/ 888105 h 1045693"/>
                    <a:gd name="connsiteX137" fmla="*/ 292817 w 462897"/>
                    <a:gd name="connsiteY137" fmla="*/ 890010 h 1045693"/>
                    <a:gd name="connsiteX138" fmla="*/ 289598 w 462897"/>
                    <a:gd name="connsiteY138" fmla="*/ 896859 h 1045693"/>
                    <a:gd name="connsiteX139" fmla="*/ 285330 w 462897"/>
                    <a:gd name="connsiteY139" fmla="*/ 920957 h 1045693"/>
                    <a:gd name="connsiteX140" fmla="*/ 300294 w 462897"/>
                    <a:gd name="connsiteY140" fmla="*/ 936740 h 1045693"/>
                    <a:gd name="connsiteX141" fmla="*/ 290445 w 462897"/>
                    <a:gd name="connsiteY141" fmla="*/ 937921 h 1045693"/>
                    <a:gd name="connsiteX142" fmla="*/ 310553 w 462897"/>
                    <a:gd name="connsiteY142" fmla="*/ 945855 h 1045693"/>
                    <a:gd name="connsiteX143" fmla="*/ 327983 w 462897"/>
                    <a:gd name="connsiteY143" fmla="*/ 962238 h 1045693"/>
                    <a:gd name="connsiteX144" fmla="*/ 305285 w 462897"/>
                    <a:gd name="connsiteY144" fmla="*/ 955294 h 1045693"/>
                    <a:gd name="connsiteX145" fmla="*/ 282911 w 462897"/>
                    <a:gd name="connsiteY145" fmla="*/ 951256 h 1045693"/>
                    <a:gd name="connsiteX146" fmla="*/ 231924 w 462897"/>
                    <a:gd name="connsiteY146" fmla="*/ 948560 h 1045693"/>
                    <a:gd name="connsiteX147" fmla="*/ 214626 w 462897"/>
                    <a:gd name="connsiteY147" fmla="*/ 935444 h 1045693"/>
                    <a:gd name="connsiteX148" fmla="*/ 209187 w 462897"/>
                    <a:gd name="connsiteY148" fmla="*/ 920061 h 1045693"/>
                    <a:gd name="connsiteX149" fmla="*/ 195872 w 462897"/>
                    <a:gd name="connsiteY149" fmla="*/ 908098 h 1045693"/>
                    <a:gd name="connsiteX150" fmla="*/ 179289 w 462897"/>
                    <a:gd name="connsiteY150" fmla="*/ 907250 h 1045693"/>
                    <a:gd name="connsiteX151" fmla="*/ 162267 w 462897"/>
                    <a:gd name="connsiteY151" fmla="*/ 888000 h 1045693"/>
                    <a:gd name="connsiteX152" fmla="*/ 153057 w 462897"/>
                    <a:gd name="connsiteY152" fmla="*/ 866397 h 1045693"/>
                    <a:gd name="connsiteX153" fmla="*/ 161343 w 462897"/>
                    <a:gd name="connsiteY153" fmla="*/ 865988 h 1045693"/>
                    <a:gd name="connsiteX154" fmla="*/ 167125 w 462897"/>
                    <a:gd name="connsiteY154" fmla="*/ 850748 h 1045693"/>
                    <a:gd name="connsiteX155" fmla="*/ 163296 w 462897"/>
                    <a:gd name="connsiteY155" fmla="*/ 841375 h 1045693"/>
                    <a:gd name="connsiteX156" fmla="*/ 167449 w 462897"/>
                    <a:gd name="connsiteY156" fmla="*/ 834384 h 1045693"/>
                    <a:gd name="connsiteX157" fmla="*/ 161067 w 462897"/>
                    <a:gd name="connsiteY157" fmla="*/ 825516 h 1045693"/>
                    <a:gd name="connsiteX158" fmla="*/ 156067 w 462897"/>
                    <a:gd name="connsiteY158" fmla="*/ 815096 h 1045693"/>
                    <a:gd name="connsiteX159" fmla="*/ 156819 w 462897"/>
                    <a:gd name="connsiteY159" fmla="*/ 806714 h 1045693"/>
                    <a:gd name="connsiteX160" fmla="*/ 162401 w 462897"/>
                    <a:gd name="connsiteY160" fmla="*/ 799856 h 1045693"/>
                    <a:gd name="connsiteX161" fmla="*/ 157686 w 462897"/>
                    <a:gd name="connsiteY161" fmla="*/ 792760 h 1045693"/>
                    <a:gd name="connsiteX162" fmla="*/ 158791 w 462897"/>
                    <a:gd name="connsiteY162" fmla="*/ 785597 h 1045693"/>
                    <a:gd name="connsiteX163" fmla="*/ 153019 w 462897"/>
                    <a:gd name="connsiteY163" fmla="*/ 771452 h 1045693"/>
                    <a:gd name="connsiteX164" fmla="*/ 148685 w 462897"/>
                    <a:gd name="connsiteY164" fmla="*/ 766156 h 1045693"/>
                    <a:gd name="connsiteX165" fmla="*/ 149428 w 462897"/>
                    <a:gd name="connsiteY165" fmla="*/ 758184 h 1045693"/>
                    <a:gd name="connsiteX166" fmla="*/ 148875 w 462897"/>
                    <a:gd name="connsiteY166" fmla="*/ 746659 h 1045693"/>
                    <a:gd name="connsiteX167" fmla="*/ 149066 w 462897"/>
                    <a:gd name="connsiteY167" fmla="*/ 737763 h 1045693"/>
                    <a:gd name="connsiteX168" fmla="*/ 141265 w 462897"/>
                    <a:gd name="connsiteY168" fmla="*/ 731914 h 1045693"/>
                    <a:gd name="connsiteX169" fmla="*/ 123586 w 462897"/>
                    <a:gd name="connsiteY169" fmla="*/ 723322 h 1045693"/>
                    <a:gd name="connsiteX170" fmla="*/ 136426 w 462897"/>
                    <a:gd name="connsiteY170" fmla="*/ 723084 h 1045693"/>
                    <a:gd name="connsiteX171" fmla="*/ 144703 w 462897"/>
                    <a:gd name="connsiteY171" fmla="*/ 720970 h 1045693"/>
                    <a:gd name="connsiteX172" fmla="*/ 125044 w 462897"/>
                    <a:gd name="connsiteY172" fmla="*/ 711121 h 1045693"/>
                    <a:gd name="connsiteX173" fmla="*/ 120367 w 462897"/>
                    <a:gd name="connsiteY173" fmla="*/ 694557 h 1045693"/>
                    <a:gd name="connsiteX174" fmla="*/ 117243 w 462897"/>
                    <a:gd name="connsiteY174" fmla="*/ 690480 h 1045693"/>
                    <a:gd name="connsiteX175" fmla="*/ 116395 w 462897"/>
                    <a:gd name="connsiteY175" fmla="*/ 686994 h 1045693"/>
                    <a:gd name="connsiteX176" fmla="*/ 108280 w 462897"/>
                    <a:gd name="connsiteY176" fmla="*/ 678460 h 1045693"/>
                    <a:gd name="connsiteX177" fmla="*/ 97964 w 462897"/>
                    <a:gd name="connsiteY177" fmla="*/ 668392 h 1045693"/>
                    <a:gd name="connsiteX178" fmla="*/ 90811 w 462897"/>
                    <a:gd name="connsiteY178" fmla="*/ 648256 h 1045693"/>
                    <a:gd name="connsiteX179" fmla="*/ 88715 w 462897"/>
                    <a:gd name="connsiteY179" fmla="*/ 641589 h 1045693"/>
                    <a:gd name="connsiteX180" fmla="*/ 95516 w 462897"/>
                    <a:gd name="connsiteY180" fmla="*/ 639226 h 1045693"/>
                    <a:gd name="connsiteX181" fmla="*/ 85372 w 462897"/>
                    <a:gd name="connsiteY181" fmla="*/ 622186 h 1045693"/>
                    <a:gd name="connsiteX182" fmla="*/ 74237 w 462897"/>
                    <a:gd name="connsiteY182" fmla="*/ 598726 h 1045693"/>
                    <a:gd name="connsiteX183" fmla="*/ 73790 w 462897"/>
                    <a:gd name="connsiteY183" fmla="*/ 583019 h 1045693"/>
                    <a:gd name="connsiteX184" fmla="*/ 69094 w 462897"/>
                    <a:gd name="connsiteY184" fmla="*/ 576466 h 1045693"/>
                    <a:gd name="connsiteX185" fmla="*/ 70446 w 462897"/>
                    <a:gd name="connsiteY185" fmla="*/ 570123 h 1045693"/>
                    <a:gd name="connsiteX186" fmla="*/ 69465 w 462897"/>
                    <a:gd name="connsiteY186" fmla="*/ 560493 h 1045693"/>
                    <a:gd name="connsiteX187" fmla="*/ 67436 w 462897"/>
                    <a:gd name="connsiteY187" fmla="*/ 546415 h 1045693"/>
                    <a:gd name="connsiteX188" fmla="*/ 72570 w 462897"/>
                    <a:gd name="connsiteY188" fmla="*/ 533718 h 1045693"/>
                    <a:gd name="connsiteX189" fmla="*/ 69027 w 462897"/>
                    <a:gd name="connsiteY189" fmla="*/ 520459 h 1045693"/>
                    <a:gd name="connsiteX190" fmla="*/ 57330 w 462897"/>
                    <a:gd name="connsiteY190" fmla="*/ 502514 h 1045693"/>
                    <a:gd name="connsiteX191" fmla="*/ 51053 w 462897"/>
                    <a:gd name="connsiteY191" fmla="*/ 486245 h 1045693"/>
                    <a:gd name="connsiteX192" fmla="*/ 46291 w 462897"/>
                    <a:gd name="connsiteY192" fmla="*/ 468586 h 1045693"/>
                    <a:gd name="connsiteX193" fmla="*/ 46767 w 462897"/>
                    <a:gd name="connsiteY193" fmla="*/ 462928 h 1045693"/>
                    <a:gd name="connsiteX194" fmla="*/ 52368 w 462897"/>
                    <a:gd name="connsiteY194" fmla="*/ 459823 h 1045693"/>
                    <a:gd name="connsiteX195" fmla="*/ 54111 w 462897"/>
                    <a:gd name="connsiteY195" fmla="*/ 454241 h 1045693"/>
                    <a:gd name="connsiteX196" fmla="*/ 58578 w 462897"/>
                    <a:gd name="connsiteY196" fmla="*/ 447526 h 1045693"/>
                    <a:gd name="connsiteX197" fmla="*/ 50234 w 462897"/>
                    <a:gd name="connsiteY197" fmla="*/ 427924 h 1045693"/>
                    <a:gd name="connsiteX198" fmla="*/ 45719 w 462897"/>
                    <a:gd name="connsiteY198" fmla="*/ 423037 h 1045693"/>
                    <a:gd name="connsiteX199" fmla="*/ 48787 w 462897"/>
                    <a:gd name="connsiteY199" fmla="*/ 417646 h 1045693"/>
                    <a:gd name="connsiteX200" fmla="*/ 48863 w 462897"/>
                    <a:gd name="connsiteY200" fmla="*/ 400225 h 1045693"/>
                    <a:gd name="connsiteX201" fmla="*/ 49587 w 462897"/>
                    <a:gd name="connsiteY201" fmla="*/ 393481 h 1045693"/>
                    <a:gd name="connsiteX202" fmla="*/ 54511 w 462897"/>
                    <a:gd name="connsiteY202" fmla="*/ 391072 h 1045693"/>
                    <a:gd name="connsiteX203" fmla="*/ 47234 w 462897"/>
                    <a:gd name="connsiteY203" fmla="*/ 372507 h 1045693"/>
                    <a:gd name="connsiteX204" fmla="*/ 46824 w 462897"/>
                    <a:gd name="connsiteY204" fmla="*/ 364201 h 1045693"/>
                    <a:gd name="connsiteX205" fmla="*/ 40271 w 462897"/>
                    <a:gd name="connsiteY205" fmla="*/ 361182 h 1045693"/>
                    <a:gd name="connsiteX206" fmla="*/ 33051 w 462897"/>
                    <a:gd name="connsiteY206" fmla="*/ 347285 h 1045693"/>
                    <a:gd name="connsiteX207" fmla="*/ 20869 w 462897"/>
                    <a:gd name="connsiteY207" fmla="*/ 329740 h 1045693"/>
                    <a:gd name="connsiteX208" fmla="*/ 17163 w 462897"/>
                    <a:gd name="connsiteY208" fmla="*/ 323644 h 1045693"/>
                    <a:gd name="connsiteX209" fmla="*/ 18726 w 462897"/>
                    <a:gd name="connsiteY209" fmla="*/ 321968 h 1045693"/>
                    <a:gd name="connsiteX210" fmla="*/ 14220 w 462897"/>
                    <a:gd name="connsiteY210" fmla="*/ 317339 h 1045693"/>
                    <a:gd name="connsiteX211" fmla="*/ 3686 w 462897"/>
                    <a:gd name="connsiteY211" fmla="*/ 298012 h 1045693"/>
                    <a:gd name="connsiteX212" fmla="*/ 6848 w 462897"/>
                    <a:gd name="connsiteY212" fmla="*/ 288497 h 1045693"/>
                    <a:gd name="connsiteX213" fmla="*/ 6067 w 462897"/>
                    <a:gd name="connsiteY213" fmla="*/ 269380 h 1045693"/>
                    <a:gd name="connsiteX214" fmla="*/ 11801 w 462897"/>
                    <a:gd name="connsiteY214" fmla="*/ 261655 h 1045693"/>
                    <a:gd name="connsiteX215" fmla="*/ 8629 w 462897"/>
                    <a:gd name="connsiteY215" fmla="*/ 257331 h 1045693"/>
                    <a:gd name="connsiteX216" fmla="*/ 4552 w 462897"/>
                    <a:gd name="connsiteY216" fmla="*/ 246187 h 1045693"/>
                    <a:gd name="connsiteX217" fmla="*/ 18 w 462897"/>
                    <a:gd name="connsiteY217" fmla="*/ 237071 h 1045693"/>
                    <a:gd name="connsiteX218" fmla="*/ 3219 w 462897"/>
                    <a:gd name="connsiteY218" fmla="*/ 230099 h 1045693"/>
                    <a:gd name="connsiteX219" fmla="*/ 2638 w 462897"/>
                    <a:gd name="connsiteY219" fmla="*/ 211478 h 1045693"/>
                    <a:gd name="connsiteX220" fmla="*/ 9458 w 462897"/>
                    <a:gd name="connsiteY220" fmla="*/ 195733 h 1045693"/>
                    <a:gd name="connsiteX221" fmla="*/ 13192 w 462897"/>
                    <a:gd name="connsiteY221" fmla="*/ 178121 h 1045693"/>
                    <a:gd name="connsiteX222" fmla="*/ 15192 w 462897"/>
                    <a:gd name="connsiteY222" fmla="*/ 169844 h 1045693"/>
                    <a:gd name="connsiteX223" fmla="*/ 20916 w 462897"/>
                    <a:gd name="connsiteY223" fmla="*/ 168129 h 1045693"/>
                    <a:gd name="connsiteX224" fmla="*/ 28022 w 462897"/>
                    <a:gd name="connsiteY224" fmla="*/ 159090 h 1045693"/>
                    <a:gd name="connsiteX225" fmla="*/ 16535 w 462897"/>
                    <a:gd name="connsiteY225" fmla="*/ 145174 h 1045693"/>
                    <a:gd name="connsiteX226" fmla="*/ 19335 w 462897"/>
                    <a:gd name="connsiteY226" fmla="*/ 137364 h 1045693"/>
                    <a:gd name="connsiteX227" fmla="*/ 14878 w 462897"/>
                    <a:gd name="connsiteY227" fmla="*/ 126867 h 1045693"/>
                    <a:gd name="connsiteX228" fmla="*/ 8362 w 462897"/>
                    <a:gd name="connsiteY228" fmla="*/ 108855 h 1045693"/>
                    <a:gd name="connsiteX229" fmla="*/ 9001 w 462897"/>
                    <a:gd name="connsiteY229" fmla="*/ 99883 h 1045693"/>
                    <a:gd name="connsiteX230" fmla="*/ 6286 w 462897"/>
                    <a:gd name="connsiteY230" fmla="*/ 86986 h 1045693"/>
                    <a:gd name="connsiteX231" fmla="*/ 19678 w 462897"/>
                    <a:gd name="connsiteY231" fmla="*/ 76928 h 1045693"/>
                    <a:gd name="connsiteX232" fmla="*/ 34861 w 462897"/>
                    <a:gd name="connsiteY232" fmla="*/ 67583 h 1045693"/>
                    <a:gd name="connsiteX233" fmla="*/ 36814 w 462897"/>
                    <a:gd name="connsiteY233" fmla="*/ 45219 h 1045693"/>
                    <a:gd name="connsiteX234" fmla="*/ 34832 w 462897"/>
                    <a:gd name="connsiteY234" fmla="*/ 35418 h 1045693"/>
                    <a:gd name="connsiteX235" fmla="*/ 32946 w 462897"/>
                    <a:gd name="connsiteY235" fmla="*/ 27502 h 1045693"/>
                    <a:gd name="connsiteX236" fmla="*/ 37928 w 462897"/>
                    <a:gd name="connsiteY236" fmla="*/ 19958 h 1045693"/>
                    <a:gd name="connsiteX237" fmla="*/ 40947 w 462897"/>
                    <a:gd name="connsiteY237" fmla="*/ 12843 h 1045693"/>
                    <a:gd name="connsiteX238" fmla="*/ 50720 w 462897"/>
                    <a:gd name="connsiteY238" fmla="*/ 9576 h 1045693"/>
                    <a:gd name="connsiteX239" fmla="*/ 52511 w 462897"/>
                    <a:gd name="connsiteY239" fmla="*/ 413 h 1045693"/>
                    <a:gd name="connsiteX240" fmla="*/ 68656 w 462897"/>
                    <a:gd name="connsiteY240" fmla="*/ 9157 h 1045693"/>
                    <a:gd name="connsiteX241" fmla="*/ 68656 w 462897"/>
                    <a:gd name="connsiteY241" fmla="*/ 9157 h 1045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Lst>
                  <a:rect l="l" t="t" r="r" b="b"/>
                  <a:pathLst>
                    <a:path w="462897" h="1045693">
                      <a:moveTo>
                        <a:pt x="341528" y="982003"/>
                      </a:moveTo>
                      <a:cubicBezTo>
                        <a:pt x="342404" y="982955"/>
                        <a:pt x="343157" y="984079"/>
                        <a:pt x="343947" y="985089"/>
                      </a:cubicBezTo>
                      <a:cubicBezTo>
                        <a:pt x="339213" y="980155"/>
                        <a:pt x="335918" y="988498"/>
                        <a:pt x="342585" y="991575"/>
                      </a:cubicBezTo>
                      <a:cubicBezTo>
                        <a:pt x="345624" y="992966"/>
                        <a:pt x="348195" y="991966"/>
                        <a:pt x="351053" y="993785"/>
                      </a:cubicBezTo>
                      <a:cubicBezTo>
                        <a:pt x="354606" y="996042"/>
                        <a:pt x="357168" y="1000205"/>
                        <a:pt x="360825" y="1002662"/>
                      </a:cubicBezTo>
                      <a:cubicBezTo>
                        <a:pt x="373932" y="1011444"/>
                        <a:pt x="387791" y="1016788"/>
                        <a:pt x="401688" y="1023893"/>
                      </a:cubicBezTo>
                      <a:cubicBezTo>
                        <a:pt x="408660" y="1027446"/>
                        <a:pt x="414928" y="1030694"/>
                        <a:pt x="422538" y="1032790"/>
                      </a:cubicBezTo>
                      <a:cubicBezTo>
                        <a:pt x="427329" y="1034104"/>
                        <a:pt x="439978" y="1031999"/>
                        <a:pt x="442979" y="1034819"/>
                      </a:cubicBezTo>
                      <a:cubicBezTo>
                        <a:pt x="451694" y="1042953"/>
                        <a:pt x="432168" y="1042534"/>
                        <a:pt x="429177" y="1042877"/>
                      </a:cubicBezTo>
                      <a:cubicBezTo>
                        <a:pt x="422309" y="1043658"/>
                        <a:pt x="418118" y="1046906"/>
                        <a:pt x="410898" y="1045210"/>
                      </a:cubicBezTo>
                      <a:cubicBezTo>
                        <a:pt x="396430" y="1041839"/>
                        <a:pt x="374913" y="1037114"/>
                        <a:pt x="360559" y="1040924"/>
                      </a:cubicBezTo>
                      <a:cubicBezTo>
                        <a:pt x="349700" y="1017759"/>
                        <a:pt x="338575" y="994718"/>
                        <a:pt x="327650" y="971592"/>
                      </a:cubicBezTo>
                      <a:cubicBezTo>
                        <a:pt x="332498" y="974544"/>
                        <a:pt x="337613" y="977888"/>
                        <a:pt x="341528" y="982003"/>
                      </a:cubicBezTo>
                      <a:lnTo>
                        <a:pt x="341528" y="982003"/>
                      </a:lnTo>
                      <a:close/>
                      <a:moveTo>
                        <a:pt x="68656" y="9157"/>
                      </a:moveTo>
                      <a:cubicBezTo>
                        <a:pt x="78247" y="10786"/>
                        <a:pt x="88077" y="8100"/>
                        <a:pt x="97793" y="10767"/>
                      </a:cubicBezTo>
                      <a:cubicBezTo>
                        <a:pt x="109337" y="13929"/>
                        <a:pt x="109880" y="24159"/>
                        <a:pt x="117433" y="32084"/>
                      </a:cubicBezTo>
                      <a:cubicBezTo>
                        <a:pt x="118567" y="26369"/>
                        <a:pt x="118309" y="11376"/>
                        <a:pt x="123624" y="7566"/>
                      </a:cubicBezTo>
                      <a:cubicBezTo>
                        <a:pt x="127939" y="4471"/>
                        <a:pt x="139341" y="6080"/>
                        <a:pt x="144570" y="6042"/>
                      </a:cubicBezTo>
                      <a:cubicBezTo>
                        <a:pt x="148704" y="6004"/>
                        <a:pt x="154276" y="5042"/>
                        <a:pt x="157543" y="6814"/>
                      </a:cubicBezTo>
                      <a:cubicBezTo>
                        <a:pt x="160153" y="8224"/>
                        <a:pt x="162744" y="12862"/>
                        <a:pt x="165191" y="14701"/>
                      </a:cubicBezTo>
                      <a:cubicBezTo>
                        <a:pt x="173535" y="20997"/>
                        <a:pt x="179650" y="25750"/>
                        <a:pt x="186642" y="34027"/>
                      </a:cubicBezTo>
                      <a:cubicBezTo>
                        <a:pt x="192395" y="40837"/>
                        <a:pt x="200063" y="46104"/>
                        <a:pt x="207425" y="50429"/>
                      </a:cubicBezTo>
                      <a:cubicBezTo>
                        <a:pt x="214884" y="54820"/>
                        <a:pt x="222065" y="61488"/>
                        <a:pt x="229819" y="64573"/>
                      </a:cubicBezTo>
                      <a:cubicBezTo>
                        <a:pt x="239182" y="68298"/>
                        <a:pt x="249297" y="67793"/>
                        <a:pt x="258308" y="71365"/>
                      </a:cubicBezTo>
                      <a:cubicBezTo>
                        <a:pt x="267252" y="74908"/>
                        <a:pt x="274510" y="81433"/>
                        <a:pt x="282835" y="85948"/>
                      </a:cubicBezTo>
                      <a:cubicBezTo>
                        <a:pt x="291360" y="90586"/>
                        <a:pt x="300951" y="94530"/>
                        <a:pt x="310010" y="97644"/>
                      </a:cubicBezTo>
                      <a:cubicBezTo>
                        <a:pt x="316715" y="99940"/>
                        <a:pt x="324421" y="101207"/>
                        <a:pt x="330946" y="106388"/>
                      </a:cubicBezTo>
                      <a:cubicBezTo>
                        <a:pt x="333536" y="108455"/>
                        <a:pt x="339709" y="113027"/>
                        <a:pt x="339375" y="116875"/>
                      </a:cubicBezTo>
                      <a:cubicBezTo>
                        <a:pt x="339175" y="119133"/>
                        <a:pt x="335918" y="122209"/>
                        <a:pt x="334965" y="124314"/>
                      </a:cubicBezTo>
                      <a:cubicBezTo>
                        <a:pt x="333775" y="126943"/>
                        <a:pt x="333775" y="130830"/>
                        <a:pt x="332460" y="132972"/>
                      </a:cubicBezTo>
                      <a:cubicBezTo>
                        <a:pt x="330526" y="136125"/>
                        <a:pt x="328621" y="136430"/>
                        <a:pt x="327469" y="139916"/>
                      </a:cubicBezTo>
                      <a:cubicBezTo>
                        <a:pt x="325640" y="145489"/>
                        <a:pt x="329164" y="150337"/>
                        <a:pt x="327412" y="155690"/>
                      </a:cubicBezTo>
                      <a:cubicBezTo>
                        <a:pt x="326183" y="159452"/>
                        <a:pt x="319763" y="163300"/>
                        <a:pt x="319477" y="167720"/>
                      </a:cubicBezTo>
                      <a:cubicBezTo>
                        <a:pt x="318877" y="176788"/>
                        <a:pt x="337051" y="172054"/>
                        <a:pt x="344147" y="173425"/>
                      </a:cubicBezTo>
                      <a:cubicBezTo>
                        <a:pt x="354739" y="175464"/>
                        <a:pt x="363083" y="177197"/>
                        <a:pt x="373608" y="177435"/>
                      </a:cubicBezTo>
                      <a:cubicBezTo>
                        <a:pt x="376875" y="177512"/>
                        <a:pt x="385543" y="181398"/>
                        <a:pt x="387857" y="180807"/>
                      </a:cubicBezTo>
                      <a:cubicBezTo>
                        <a:pt x="392134" y="179721"/>
                        <a:pt x="391010" y="173425"/>
                        <a:pt x="397621" y="173378"/>
                      </a:cubicBezTo>
                      <a:cubicBezTo>
                        <a:pt x="402850" y="173339"/>
                        <a:pt x="406050" y="179388"/>
                        <a:pt x="410051" y="174244"/>
                      </a:cubicBezTo>
                      <a:cubicBezTo>
                        <a:pt x="412041" y="171682"/>
                        <a:pt x="410013" y="167606"/>
                        <a:pt x="413384" y="164748"/>
                      </a:cubicBezTo>
                      <a:cubicBezTo>
                        <a:pt x="416232" y="162338"/>
                        <a:pt x="419614" y="161538"/>
                        <a:pt x="422043" y="159281"/>
                      </a:cubicBezTo>
                      <a:cubicBezTo>
                        <a:pt x="424014" y="157452"/>
                        <a:pt x="427005" y="154842"/>
                        <a:pt x="428215" y="152842"/>
                      </a:cubicBezTo>
                      <a:cubicBezTo>
                        <a:pt x="433978" y="143345"/>
                        <a:pt x="430044" y="129306"/>
                        <a:pt x="428215" y="118676"/>
                      </a:cubicBezTo>
                      <a:cubicBezTo>
                        <a:pt x="436263" y="120981"/>
                        <a:pt x="442674" y="114180"/>
                        <a:pt x="450008" y="121371"/>
                      </a:cubicBezTo>
                      <a:cubicBezTo>
                        <a:pt x="452999" y="124305"/>
                        <a:pt x="457276" y="132877"/>
                        <a:pt x="459114" y="136887"/>
                      </a:cubicBezTo>
                      <a:cubicBezTo>
                        <a:pt x="461572" y="142250"/>
                        <a:pt x="460143" y="147403"/>
                        <a:pt x="461495" y="153585"/>
                      </a:cubicBezTo>
                      <a:cubicBezTo>
                        <a:pt x="462905" y="160071"/>
                        <a:pt x="464534" y="163510"/>
                        <a:pt x="459333" y="168539"/>
                      </a:cubicBezTo>
                      <a:cubicBezTo>
                        <a:pt x="457809" y="170015"/>
                        <a:pt x="455513" y="170901"/>
                        <a:pt x="454161" y="172035"/>
                      </a:cubicBezTo>
                      <a:cubicBezTo>
                        <a:pt x="453666" y="172444"/>
                        <a:pt x="451075" y="175530"/>
                        <a:pt x="449999" y="176178"/>
                      </a:cubicBezTo>
                      <a:cubicBezTo>
                        <a:pt x="446331" y="178378"/>
                        <a:pt x="442045" y="178597"/>
                        <a:pt x="438340" y="180693"/>
                      </a:cubicBezTo>
                      <a:cubicBezTo>
                        <a:pt x="436816" y="181550"/>
                        <a:pt x="435930" y="180874"/>
                        <a:pt x="434111" y="182398"/>
                      </a:cubicBezTo>
                      <a:cubicBezTo>
                        <a:pt x="433501" y="182912"/>
                        <a:pt x="432749" y="186379"/>
                        <a:pt x="432168" y="187246"/>
                      </a:cubicBezTo>
                      <a:cubicBezTo>
                        <a:pt x="430015" y="190418"/>
                        <a:pt x="426548" y="190913"/>
                        <a:pt x="422652" y="193656"/>
                      </a:cubicBezTo>
                      <a:cubicBezTo>
                        <a:pt x="421509" y="194456"/>
                        <a:pt x="417814" y="197866"/>
                        <a:pt x="416804" y="198886"/>
                      </a:cubicBezTo>
                      <a:cubicBezTo>
                        <a:pt x="415842" y="199848"/>
                        <a:pt x="413518" y="200486"/>
                        <a:pt x="413089" y="201857"/>
                      </a:cubicBezTo>
                      <a:cubicBezTo>
                        <a:pt x="412775" y="202867"/>
                        <a:pt x="414756" y="204763"/>
                        <a:pt x="414880" y="204563"/>
                      </a:cubicBezTo>
                      <a:cubicBezTo>
                        <a:pt x="414861" y="204591"/>
                        <a:pt x="414594" y="206715"/>
                        <a:pt x="414289" y="207191"/>
                      </a:cubicBezTo>
                      <a:cubicBezTo>
                        <a:pt x="414651" y="206610"/>
                        <a:pt x="410070" y="206544"/>
                        <a:pt x="409441" y="206896"/>
                      </a:cubicBezTo>
                      <a:cubicBezTo>
                        <a:pt x="408774" y="207277"/>
                        <a:pt x="407003" y="213163"/>
                        <a:pt x="406041" y="214411"/>
                      </a:cubicBezTo>
                      <a:cubicBezTo>
                        <a:pt x="402050" y="219545"/>
                        <a:pt x="399411" y="224746"/>
                        <a:pt x="396335" y="230118"/>
                      </a:cubicBezTo>
                      <a:cubicBezTo>
                        <a:pt x="393649" y="234833"/>
                        <a:pt x="391163" y="241262"/>
                        <a:pt x="387324" y="245739"/>
                      </a:cubicBezTo>
                      <a:cubicBezTo>
                        <a:pt x="385419" y="247968"/>
                        <a:pt x="381876" y="249511"/>
                        <a:pt x="380352" y="251749"/>
                      </a:cubicBezTo>
                      <a:cubicBezTo>
                        <a:pt x="378561" y="254369"/>
                        <a:pt x="378237" y="257245"/>
                        <a:pt x="376294" y="260112"/>
                      </a:cubicBezTo>
                      <a:cubicBezTo>
                        <a:pt x="373599" y="264075"/>
                        <a:pt x="369484" y="268685"/>
                        <a:pt x="368665" y="273619"/>
                      </a:cubicBezTo>
                      <a:cubicBezTo>
                        <a:pt x="368026" y="277476"/>
                        <a:pt x="370350" y="278200"/>
                        <a:pt x="371141" y="281677"/>
                      </a:cubicBezTo>
                      <a:cubicBezTo>
                        <a:pt x="371798" y="284534"/>
                        <a:pt x="370455" y="286658"/>
                        <a:pt x="370579" y="287830"/>
                      </a:cubicBezTo>
                      <a:cubicBezTo>
                        <a:pt x="370798" y="289811"/>
                        <a:pt x="372379" y="291297"/>
                        <a:pt x="372522" y="293545"/>
                      </a:cubicBezTo>
                      <a:cubicBezTo>
                        <a:pt x="372732" y="296936"/>
                        <a:pt x="369951" y="300251"/>
                        <a:pt x="370255" y="303279"/>
                      </a:cubicBezTo>
                      <a:cubicBezTo>
                        <a:pt x="370741" y="308071"/>
                        <a:pt x="373484" y="308737"/>
                        <a:pt x="372417" y="314729"/>
                      </a:cubicBezTo>
                      <a:cubicBezTo>
                        <a:pt x="371989" y="317129"/>
                        <a:pt x="370722" y="317043"/>
                        <a:pt x="370674" y="319615"/>
                      </a:cubicBezTo>
                      <a:cubicBezTo>
                        <a:pt x="370655" y="321044"/>
                        <a:pt x="372170" y="324835"/>
                        <a:pt x="372656" y="326359"/>
                      </a:cubicBezTo>
                      <a:cubicBezTo>
                        <a:pt x="374484" y="332102"/>
                        <a:pt x="374303" y="337665"/>
                        <a:pt x="376532" y="343866"/>
                      </a:cubicBezTo>
                      <a:cubicBezTo>
                        <a:pt x="377361" y="346190"/>
                        <a:pt x="380037" y="349981"/>
                        <a:pt x="379113" y="352514"/>
                      </a:cubicBezTo>
                      <a:cubicBezTo>
                        <a:pt x="377913" y="355848"/>
                        <a:pt x="375094" y="353715"/>
                        <a:pt x="374456" y="354810"/>
                      </a:cubicBezTo>
                      <a:cubicBezTo>
                        <a:pt x="372589" y="358048"/>
                        <a:pt x="373618" y="369450"/>
                        <a:pt x="374684" y="373108"/>
                      </a:cubicBezTo>
                      <a:cubicBezTo>
                        <a:pt x="376380" y="378898"/>
                        <a:pt x="383047" y="383318"/>
                        <a:pt x="383752" y="389586"/>
                      </a:cubicBezTo>
                      <a:cubicBezTo>
                        <a:pt x="383971" y="391529"/>
                        <a:pt x="381190" y="392367"/>
                        <a:pt x="381276" y="393072"/>
                      </a:cubicBezTo>
                      <a:cubicBezTo>
                        <a:pt x="381590" y="395606"/>
                        <a:pt x="384419" y="398729"/>
                        <a:pt x="386229" y="400749"/>
                      </a:cubicBezTo>
                      <a:cubicBezTo>
                        <a:pt x="391458" y="406578"/>
                        <a:pt x="398173" y="407940"/>
                        <a:pt x="405193" y="410941"/>
                      </a:cubicBezTo>
                      <a:cubicBezTo>
                        <a:pt x="411232" y="413522"/>
                        <a:pt x="417556" y="416598"/>
                        <a:pt x="422824" y="420599"/>
                      </a:cubicBezTo>
                      <a:cubicBezTo>
                        <a:pt x="424948" y="422209"/>
                        <a:pt x="428034" y="424295"/>
                        <a:pt x="429320" y="426638"/>
                      </a:cubicBezTo>
                      <a:cubicBezTo>
                        <a:pt x="432015" y="431600"/>
                        <a:pt x="429625" y="431229"/>
                        <a:pt x="428910" y="435791"/>
                      </a:cubicBezTo>
                      <a:cubicBezTo>
                        <a:pt x="427853" y="442526"/>
                        <a:pt x="429263" y="447031"/>
                        <a:pt x="434854" y="452089"/>
                      </a:cubicBezTo>
                      <a:cubicBezTo>
                        <a:pt x="440302" y="457023"/>
                        <a:pt x="447694" y="455879"/>
                        <a:pt x="452151" y="459575"/>
                      </a:cubicBezTo>
                      <a:cubicBezTo>
                        <a:pt x="462953" y="468510"/>
                        <a:pt x="454190" y="487331"/>
                        <a:pt x="449075" y="496275"/>
                      </a:cubicBezTo>
                      <a:cubicBezTo>
                        <a:pt x="447465" y="499085"/>
                        <a:pt x="445560" y="501400"/>
                        <a:pt x="444760" y="504571"/>
                      </a:cubicBezTo>
                      <a:cubicBezTo>
                        <a:pt x="444046" y="507381"/>
                        <a:pt x="445217" y="511001"/>
                        <a:pt x="444131" y="513363"/>
                      </a:cubicBezTo>
                      <a:cubicBezTo>
                        <a:pt x="441969" y="518078"/>
                        <a:pt x="433339" y="522116"/>
                        <a:pt x="428853" y="524260"/>
                      </a:cubicBezTo>
                      <a:cubicBezTo>
                        <a:pt x="416270" y="530260"/>
                        <a:pt x="401450" y="533499"/>
                        <a:pt x="387924" y="536471"/>
                      </a:cubicBezTo>
                      <a:cubicBezTo>
                        <a:pt x="374189" y="539490"/>
                        <a:pt x="359978" y="540843"/>
                        <a:pt x="346014" y="540928"/>
                      </a:cubicBezTo>
                      <a:cubicBezTo>
                        <a:pt x="339680" y="540966"/>
                        <a:pt x="332813" y="541519"/>
                        <a:pt x="326678" y="539090"/>
                      </a:cubicBezTo>
                      <a:cubicBezTo>
                        <a:pt x="324250" y="538109"/>
                        <a:pt x="322487" y="535051"/>
                        <a:pt x="319563" y="535471"/>
                      </a:cubicBezTo>
                      <a:cubicBezTo>
                        <a:pt x="314401" y="536204"/>
                        <a:pt x="318973" y="537747"/>
                        <a:pt x="320078" y="540823"/>
                      </a:cubicBezTo>
                      <a:cubicBezTo>
                        <a:pt x="323154" y="549349"/>
                        <a:pt x="324726" y="547720"/>
                        <a:pt x="331488" y="553320"/>
                      </a:cubicBezTo>
                      <a:cubicBezTo>
                        <a:pt x="330336" y="553387"/>
                        <a:pt x="329193" y="553463"/>
                        <a:pt x="328050" y="553520"/>
                      </a:cubicBezTo>
                      <a:cubicBezTo>
                        <a:pt x="332050" y="555406"/>
                        <a:pt x="335356" y="562683"/>
                        <a:pt x="334194" y="567122"/>
                      </a:cubicBezTo>
                      <a:cubicBezTo>
                        <a:pt x="333784" y="568665"/>
                        <a:pt x="330946" y="568703"/>
                        <a:pt x="330593" y="570199"/>
                      </a:cubicBezTo>
                      <a:cubicBezTo>
                        <a:pt x="329984" y="572770"/>
                        <a:pt x="330355" y="575847"/>
                        <a:pt x="330765" y="578447"/>
                      </a:cubicBezTo>
                      <a:cubicBezTo>
                        <a:pt x="332393" y="588715"/>
                        <a:pt x="346929" y="595345"/>
                        <a:pt x="335165" y="602955"/>
                      </a:cubicBezTo>
                      <a:cubicBezTo>
                        <a:pt x="312896" y="617348"/>
                        <a:pt x="292655" y="602879"/>
                        <a:pt x="269862" y="598669"/>
                      </a:cubicBezTo>
                      <a:cubicBezTo>
                        <a:pt x="270767" y="595726"/>
                        <a:pt x="267881" y="595688"/>
                        <a:pt x="265471" y="597240"/>
                      </a:cubicBezTo>
                      <a:cubicBezTo>
                        <a:pt x="261070" y="600088"/>
                        <a:pt x="263680" y="605146"/>
                        <a:pt x="265556" y="608946"/>
                      </a:cubicBezTo>
                      <a:cubicBezTo>
                        <a:pt x="268052" y="614014"/>
                        <a:pt x="272062" y="618214"/>
                        <a:pt x="274548" y="623253"/>
                      </a:cubicBezTo>
                      <a:cubicBezTo>
                        <a:pt x="276644" y="627511"/>
                        <a:pt x="276510" y="632673"/>
                        <a:pt x="279015" y="636436"/>
                      </a:cubicBezTo>
                      <a:cubicBezTo>
                        <a:pt x="281835" y="640674"/>
                        <a:pt x="286150" y="641503"/>
                        <a:pt x="290702" y="642989"/>
                      </a:cubicBezTo>
                      <a:cubicBezTo>
                        <a:pt x="291703" y="643313"/>
                        <a:pt x="295293" y="643798"/>
                        <a:pt x="295770" y="644189"/>
                      </a:cubicBezTo>
                      <a:cubicBezTo>
                        <a:pt x="296475" y="644779"/>
                        <a:pt x="296065" y="646894"/>
                        <a:pt x="295932" y="646799"/>
                      </a:cubicBezTo>
                      <a:cubicBezTo>
                        <a:pt x="297465" y="647847"/>
                        <a:pt x="296913" y="648590"/>
                        <a:pt x="299770" y="649561"/>
                      </a:cubicBezTo>
                      <a:cubicBezTo>
                        <a:pt x="301228" y="650056"/>
                        <a:pt x="304761" y="649751"/>
                        <a:pt x="306095" y="649104"/>
                      </a:cubicBezTo>
                      <a:cubicBezTo>
                        <a:pt x="311181" y="646665"/>
                        <a:pt x="309495" y="642855"/>
                        <a:pt x="303304" y="643941"/>
                      </a:cubicBezTo>
                      <a:cubicBezTo>
                        <a:pt x="309876" y="636969"/>
                        <a:pt x="318182" y="640122"/>
                        <a:pt x="322516" y="647827"/>
                      </a:cubicBezTo>
                      <a:cubicBezTo>
                        <a:pt x="324097" y="650637"/>
                        <a:pt x="327412" y="657200"/>
                        <a:pt x="325516" y="660448"/>
                      </a:cubicBezTo>
                      <a:cubicBezTo>
                        <a:pt x="323078" y="664648"/>
                        <a:pt x="315401" y="663887"/>
                        <a:pt x="312067" y="661486"/>
                      </a:cubicBezTo>
                      <a:cubicBezTo>
                        <a:pt x="305866" y="657029"/>
                        <a:pt x="298580" y="645989"/>
                        <a:pt x="290598" y="656495"/>
                      </a:cubicBezTo>
                      <a:cubicBezTo>
                        <a:pt x="286721" y="661591"/>
                        <a:pt x="292474" y="661848"/>
                        <a:pt x="298913" y="663915"/>
                      </a:cubicBezTo>
                      <a:cubicBezTo>
                        <a:pt x="302618" y="665115"/>
                        <a:pt x="306362" y="665754"/>
                        <a:pt x="310086" y="666554"/>
                      </a:cubicBezTo>
                      <a:cubicBezTo>
                        <a:pt x="308533" y="670325"/>
                        <a:pt x="305219" y="669782"/>
                        <a:pt x="301999" y="671526"/>
                      </a:cubicBezTo>
                      <a:cubicBezTo>
                        <a:pt x="297703" y="673859"/>
                        <a:pt x="296532" y="676155"/>
                        <a:pt x="294493" y="680403"/>
                      </a:cubicBezTo>
                      <a:cubicBezTo>
                        <a:pt x="290293" y="689166"/>
                        <a:pt x="294741" y="693205"/>
                        <a:pt x="298199" y="701406"/>
                      </a:cubicBezTo>
                      <a:cubicBezTo>
                        <a:pt x="299227" y="703844"/>
                        <a:pt x="301208" y="709073"/>
                        <a:pt x="300618" y="712226"/>
                      </a:cubicBezTo>
                      <a:cubicBezTo>
                        <a:pt x="299770" y="716779"/>
                        <a:pt x="294265" y="717912"/>
                        <a:pt x="295227" y="722989"/>
                      </a:cubicBezTo>
                      <a:cubicBezTo>
                        <a:pt x="295646" y="725208"/>
                        <a:pt x="301799" y="727333"/>
                        <a:pt x="299618" y="730752"/>
                      </a:cubicBezTo>
                      <a:cubicBezTo>
                        <a:pt x="298446" y="732600"/>
                        <a:pt x="286750" y="729076"/>
                        <a:pt x="284911" y="729495"/>
                      </a:cubicBezTo>
                      <a:cubicBezTo>
                        <a:pt x="281606" y="730247"/>
                        <a:pt x="280368" y="733314"/>
                        <a:pt x="277767" y="734857"/>
                      </a:cubicBezTo>
                      <a:cubicBezTo>
                        <a:pt x="275367" y="736286"/>
                        <a:pt x="270928" y="736248"/>
                        <a:pt x="268766" y="737915"/>
                      </a:cubicBezTo>
                      <a:cubicBezTo>
                        <a:pt x="264299" y="741363"/>
                        <a:pt x="261232" y="755031"/>
                        <a:pt x="260956" y="760632"/>
                      </a:cubicBezTo>
                      <a:cubicBezTo>
                        <a:pt x="260203" y="775120"/>
                        <a:pt x="284245" y="789026"/>
                        <a:pt x="295417" y="793703"/>
                      </a:cubicBezTo>
                      <a:cubicBezTo>
                        <a:pt x="304133" y="797341"/>
                        <a:pt x="314905" y="793455"/>
                        <a:pt x="322764" y="799237"/>
                      </a:cubicBezTo>
                      <a:cubicBezTo>
                        <a:pt x="330193" y="804714"/>
                        <a:pt x="332784" y="817877"/>
                        <a:pt x="321030" y="819563"/>
                      </a:cubicBezTo>
                      <a:cubicBezTo>
                        <a:pt x="325592" y="822078"/>
                        <a:pt x="329965" y="817420"/>
                        <a:pt x="333498" y="823173"/>
                      </a:cubicBezTo>
                      <a:cubicBezTo>
                        <a:pt x="330536" y="824649"/>
                        <a:pt x="329050" y="828964"/>
                        <a:pt x="326793" y="831736"/>
                      </a:cubicBezTo>
                      <a:cubicBezTo>
                        <a:pt x="323507" y="835784"/>
                        <a:pt x="319611" y="838556"/>
                        <a:pt x="315477" y="841757"/>
                      </a:cubicBezTo>
                      <a:cubicBezTo>
                        <a:pt x="309143" y="846662"/>
                        <a:pt x="301142" y="855101"/>
                        <a:pt x="302409" y="864283"/>
                      </a:cubicBezTo>
                      <a:cubicBezTo>
                        <a:pt x="303352" y="871084"/>
                        <a:pt x="311791" y="880428"/>
                        <a:pt x="306933" y="887524"/>
                      </a:cubicBezTo>
                      <a:cubicBezTo>
                        <a:pt x="300218" y="897316"/>
                        <a:pt x="289493" y="884724"/>
                        <a:pt x="284083" y="880218"/>
                      </a:cubicBezTo>
                      <a:cubicBezTo>
                        <a:pt x="285388" y="882009"/>
                        <a:pt x="286292" y="883857"/>
                        <a:pt x="286873" y="885981"/>
                      </a:cubicBezTo>
                      <a:cubicBezTo>
                        <a:pt x="284283" y="886133"/>
                        <a:pt x="281625" y="886553"/>
                        <a:pt x="279615" y="888105"/>
                      </a:cubicBezTo>
                      <a:cubicBezTo>
                        <a:pt x="283902" y="887486"/>
                        <a:pt x="289236" y="887143"/>
                        <a:pt x="292817" y="890010"/>
                      </a:cubicBezTo>
                      <a:cubicBezTo>
                        <a:pt x="298932" y="894896"/>
                        <a:pt x="293646" y="893658"/>
                        <a:pt x="289598" y="896859"/>
                      </a:cubicBezTo>
                      <a:cubicBezTo>
                        <a:pt x="281216" y="903488"/>
                        <a:pt x="289016" y="913365"/>
                        <a:pt x="285330" y="920957"/>
                      </a:cubicBezTo>
                      <a:cubicBezTo>
                        <a:pt x="289864" y="916261"/>
                        <a:pt x="299780" y="931882"/>
                        <a:pt x="300294" y="936740"/>
                      </a:cubicBezTo>
                      <a:cubicBezTo>
                        <a:pt x="296932" y="937292"/>
                        <a:pt x="293665" y="936825"/>
                        <a:pt x="290445" y="937921"/>
                      </a:cubicBezTo>
                      <a:cubicBezTo>
                        <a:pt x="298694" y="939626"/>
                        <a:pt x="303914" y="939883"/>
                        <a:pt x="310553" y="945855"/>
                      </a:cubicBezTo>
                      <a:cubicBezTo>
                        <a:pt x="314077" y="949017"/>
                        <a:pt x="328802" y="958257"/>
                        <a:pt x="327983" y="962238"/>
                      </a:cubicBezTo>
                      <a:cubicBezTo>
                        <a:pt x="325412" y="958314"/>
                        <a:pt x="310248" y="955952"/>
                        <a:pt x="305285" y="955294"/>
                      </a:cubicBezTo>
                      <a:cubicBezTo>
                        <a:pt x="297770" y="954304"/>
                        <a:pt x="290407" y="952227"/>
                        <a:pt x="282911" y="951256"/>
                      </a:cubicBezTo>
                      <a:cubicBezTo>
                        <a:pt x="267871" y="949313"/>
                        <a:pt x="244306" y="955818"/>
                        <a:pt x="231924" y="948560"/>
                      </a:cubicBezTo>
                      <a:cubicBezTo>
                        <a:pt x="227475" y="945950"/>
                        <a:pt x="216912" y="940302"/>
                        <a:pt x="214626" y="935444"/>
                      </a:cubicBezTo>
                      <a:cubicBezTo>
                        <a:pt x="212407" y="930748"/>
                        <a:pt x="210626" y="923567"/>
                        <a:pt x="209187" y="920061"/>
                      </a:cubicBezTo>
                      <a:cubicBezTo>
                        <a:pt x="206073" y="912461"/>
                        <a:pt x="203558" y="908241"/>
                        <a:pt x="195872" y="908098"/>
                      </a:cubicBezTo>
                      <a:cubicBezTo>
                        <a:pt x="187613" y="907936"/>
                        <a:pt x="185708" y="914080"/>
                        <a:pt x="179289" y="907250"/>
                      </a:cubicBezTo>
                      <a:cubicBezTo>
                        <a:pt x="174050" y="901688"/>
                        <a:pt x="165696" y="894496"/>
                        <a:pt x="162267" y="888000"/>
                      </a:cubicBezTo>
                      <a:cubicBezTo>
                        <a:pt x="158448" y="880742"/>
                        <a:pt x="153857" y="874361"/>
                        <a:pt x="153057" y="866397"/>
                      </a:cubicBezTo>
                      <a:cubicBezTo>
                        <a:pt x="155819" y="866255"/>
                        <a:pt x="158581" y="866131"/>
                        <a:pt x="161343" y="865988"/>
                      </a:cubicBezTo>
                      <a:cubicBezTo>
                        <a:pt x="153447" y="856911"/>
                        <a:pt x="165696" y="856644"/>
                        <a:pt x="167125" y="850748"/>
                      </a:cubicBezTo>
                      <a:cubicBezTo>
                        <a:pt x="168049" y="846947"/>
                        <a:pt x="163153" y="844462"/>
                        <a:pt x="163296" y="841375"/>
                      </a:cubicBezTo>
                      <a:cubicBezTo>
                        <a:pt x="163477" y="837604"/>
                        <a:pt x="167239" y="837918"/>
                        <a:pt x="167449" y="834384"/>
                      </a:cubicBezTo>
                      <a:cubicBezTo>
                        <a:pt x="167687" y="830403"/>
                        <a:pt x="163563" y="827936"/>
                        <a:pt x="161067" y="825516"/>
                      </a:cubicBezTo>
                      <a:cubicBezTo>
                        <a:pt x="156657" y="821230"/>
                        <a:pt x="156714" y="821640"/>
                        <a:pt x="156067" y="815096"/>
                      </a:cubicBezTo>
                      <a:cubicBezTo>
                        <a:pt x="155676" y="811181"/>
                        <a:pt x="155952" y="809810"/>
                        <a:pt x="156819" y="806714"/>
                      </a:cubicBezTo>
                      <a:cubicBezTo>
                        <a:pt x="157438" y="804514"/>
                        <a:pt x="159696" y="800085"/>
                        <a:pt x="162401" y="799856"/>
                      </a:cubicBezTo>
                      <a:cubicBezTo>
                        <a:pt x="160800" y="797560"/>
                        <a:pt x="158696" y="795560"/>
                        <a:pt x="157686" y="792760"/>
                      </a:cubicBezTo>
                      <a:cubicBezTo>
                        <a:pt x="155905" y="787816"/>
                        <a:pt x="158448" y="789036"/>
                        <a:pt x="158791" y="785597"/>
                      </a:cubicBezTo>
                      <a:cubicBezTo>
                        <a:pt x="159334" y="780216"/>
                        <a:pt x="157191" y="776158"/>
                        <a:pt x="153019" y="771452"/>
                      </a:cubicBezTo>
                      <a:cubicBezTo>
                        <a:pt x="151285" y="769500"/>
                        <a:pt x="148866" y="768233"/>
                        <a:pt x="148685" y="766156"/>
                      </a:cubicBezTo>
                      <a:cubicBezTo>
                        <a:pt x="148247" y="761089"/>
                        <a:pt x="153266" y="764747"/>
                        <a:pt x="149428" y="758184"/>
                      </a:cubicBezTo>
                      <a:cubicBezTo>
                        <a:pt x="147951" y="755660"/>
                        <a:pt x="137359" y="745173"/>
                        <a:pt x="148875" y="746659"/>
                      </a:cubicBezTo>
                      <a:cubicBezTo>
                        <a:pt x="147427" y="742725"/>
                        <a:pt x="151228" y="741992"/>
                        <a:pt x="149066" y="737763"/>
                      </a:cubicBezTo>
                      <a:cubicBezTo>
                        <a:pt x="148504" y="736677"/>
                        <a:pt x="142322" y="732591"/>
                        <a:pt x="141265" y="731914"/>
                      </a:cubicBezTo>
                      <a:cubicBezTo>
                        <a:pt x="136512" y="728866"/>
                        <a:pt x="124844" y="729333"/>
                        <a:pt x="123586" y="723322"/>
                      </a:cubicBezTo>
                      <a:cubicBezTo>
                        <a:pt x="127787" y="724542"/>
                        <a:pt x="132140" y="723037"/>
                        <a:pt x="136426" y="723084"/>
                      </a:cubicBezTo>
                      <a:cubicBezTo>
                        <a:pt x="141189" y="723142"/>
                        <a:pt x="143208" y="724466"/>
                        <a:pt x="144703" y="720970"/>
                      </a:cubicBezTo>
                      <a:cubicBezTo>
                        <a:pt x="149913" y="708778"/>
                        <a:pt x="129378" y="714055"/>
                        <a:pt x="125044" y="711121"/>
                      </a:cubicBezTo>
                      <a:cubicBezTo>
                        <a:pt x="120319" y="707921"/>
                        <a:pt x="121957" y="698634"/>
                        <a:pt x="120367" y="694557"/>
                      </a:cubicBezTo>
                      <a:cubicBezTo>
                        <a:pt x="119995" y="693595"/>
                        <a:pt x="117500" y="690861"/>
                        <a:pt x="117243" y="690480"/>
                      </a:cubicBezTo>
                      <a:cubicBezTo>
                        <a:pt x="116986" y="690090"/>
                        <a:pt x="117167" y="688013"/>
                        <a:pt x="116395" y="686994"/>
                      </a:cubicBezTo>
                      <a:cubicBezTo>
                        <a:pt x="113852" y="683622"/>
                        <a:pt x="109632" y="683003"/>
                        <a:pt x="108280" y="678460"/>
                      </a:cubicBezTo>
                      <a:cubicBezTo>
                        <a:pt x="118490" y="676174"/>
                        <a:pt x="99555" y="670135"/>
                        <a:pt x="97964" y="668392"/>
                      </a:cubicBezTo>
                      <a:cubicBezTo>
                        <a:pt x="93573" y="663591"/>
                        <a:pt x="92059" y="653628"/>
                        <a:pt x="90811" y="648256"/>
                      </a:cubicBezTo>
                      <a:cubicBezTo>
                        <a:pt x="90096" y="645180"/>
                        <a:pt x="86839" y="645398"/>
                        <a:pt x="88715" y="641589"/>
                      </a:cubicBezTo>
                      <a:cubicBezTo>
                        <a:pt x="89839" y="639303"/>
                        <a:pt x="93945" y="642789"/>
                        <a:pt x="95516" y="639226"/>
                      </a:cubicBezTo>
                      <a:cubicBezTo>
                        <a:pt x="96545" y="636883"/>
                        <a:pt x="86496" y="624520"/>
                        <a:pt x="85372" y="622186"/>
                      </a:cubicBezTo>
                      <a:cubicBezTo>
                        <a:pt x="81676" y="614566"/>
                        <a:pt x="77333" y="606203"/>
                        <a:pt x="74237" y="598726"/>
                      </a:cubicBezTo>
                      <a:cubicBezTo>
                        <a:pt x="71980" y="593278"/>
                        <a:pt x="75056" y="586363"/>
                        <a:pt x="73790" y="583019"/>
                      </a:cubicBezTo>
                      <a:cubicBezTo>
                        <a:pt x="72704" y="580162"/>
                        <a:pt x="69646" y="580057"/>
                        <a:pt x="69094" y="576466"/>
                      </a:cubicBezTo>
                      <a:cubicBezTo>
                        <a:pt x="69065" y="576285"/>
                        <a:pt x="71494" y="573466"/>
                        <a:pt x="70446" y="570123"/>
                      </a:cubicBezTo>
                      <a:cubicBezTo>
                        <a:pt x="69437" y="566913"/>
                        <a:pt x="60293" y="558292"/>
                        <a:pt x="69465" y="560493"/>
                      </a:cubicBezTo>
                      <a:cubicBezTo>
                        <a:pt x="68360" y="555759"/>
                        <a:pt x="68922" y="551187"/>
                        <a:pt x="67436" y="546415"/>
                      </a:cubicBezTo>
                      <a:cubicBezTo>
                        <a:pt x="64484" y="536966"/>
                        <a:pt x="65712" y="539585"/>
                        <a:pt x="72570" y="533718"/>
                      </a:cubicBezTo>
                      <a:cubicBezTo>
                        <a:pt x="79105" y="528117"/>
                        <a:pt x="73418" y="526936"/>
                        <a:pt x="69027" y="520459"/>
                      </a:cubicBezTo>
                      <a:cubicBezTo>
                        <a:pt x="65236" y="514868"/>
                        <a:pt x="60683" y="508353"/>
                        <a:pt x="57330" y="502514"/>
                      </a:cubicBezTo>
                      <a:cubicBezTo>
                        <a:pt x="54606" y="497752"/>
                        <a:pt x="52749" y="491056"/>
                        <a:pt x="51053" y="486245"/>
                      </a:cubicBezTo>
                      <a:cubicBezTo>
                        <a:pt x="49082" y="480635"/>
                        <a:pt x="46243" y="474377"/>
                        <a:pt x="46291" y="468586"/>
                      </a:cubicBezTo>
                      <a:cubicBezTo>
                        <a:pt x="46310" y="466662"/>
                        <a:pt x="45729" y="464519"/>
                        <a:pt x="46767" y="462928"/>
                      </a:cubicBezTo>
                      <a:cubicBezTo>
                        <a:pt x="48320" y="460557"/>
                        <a:pt x="51311" y="461099"/>
                        <a:pt x="52368" y="459823"/>
                      </a:cubicBezTo>
                      <a:cubicBezTo>
                        <a:pt x="53616" y="458318"/>
                        <a:pt x="52730" y="456261"/>
                        <a:pt x="54111" y="454241"/>
                      </a:cubicBezTo>
                      <a:cubicBezTo>
                        <a:pt x="56549" y="450669"/>
                        <a:pt x="58226" y="451974"/>
                        <a:pt x="58578" y="447526"/>
                      </a:cubicBezTo>
                      <a:cubicBezTo>
                        <a:pt x="58988" y="442326"/>
                        <a:pt x="53197" y="432038"/>
                        <a:pt x="50234" y="427924"/>
                      </a:cubicBezTo>
                      <a:cubicBezTo>
                        <a:pt x="48967" y="426152"/>
                        <a:pt x="46072" y="425124"/>
                        <a:pt x="45719" y="423037"/>
                      </a:cubicBezTo>
                      <a:cubicBezTo>
                        <a:pt x="45767" y="423342"/>
                        <a:pt x="48634" y="418399"/>
                        <a:pt x="48787" y="417646"/>
                      </a:cubicBezTo>
                      <a:cubicBezTo>
                        <a:pt x="49882" y="412246"/>
                        <a:pt x="47939" y="405912"/>
                        <a:pt x="48863" y="400225"/>
                      </a:cubicBezTo>
                      <a:cubicBezTo>
                        <a:pt x="49110" y="398701"/>
                        <a:pt x="48996" y="394529"/>
                        <a:pt x="49587" y="393481"/>
                      </a:cubicBezTo>
                      <a:cubicBezTo>
                        <a:pt x="50577" y="391710"/>
                        <a:pt x="53959" y="393329"/>
                        <a:pt x="54511" y="391072"/>
                      </a:cubicBezTo>
                      <a:cubicBezTo>
                        <a:pt x="55511" y="386928"/>
                        <a:pt x="48025" y="377070"/>
                        <a:pt x="47234" y="372507"/>
                      </a:cubicBezTo>
                      <a:cubicBezTo>
                        <a:pt x="46815" y="370031"/>
                        <a:pt x="47844" y="366268"/>
                        <a:pt x="46824" y="364201"/>
                      </a:cubicBezTo>
                      <a:cubicBezTo>
                        <a:pt x="44653" y="359830"/>
                        <a:pt x="42986" y="362687"/>
                        <a:pt x="40271" y="361182"/>
                      </a:cubicBezTo>
                      <a:cubicBezTo>
                        <a:pt x="34575" y="358010"/>
                        <a:pt x="35423" y="351781"/>
                        <a:pt x="33051" y="347285"/>
                      </a:cubicBezTo>
                      <a:cubicBezTo>
                        <a:pt x="29651" y="340837"/>
                        <a:pt x="24926" y="335426"/>
                        <a:pt x="20869" y="329740"/>
                      </a:cubicBezTo>
                      <a:cubicBezTo>
                        <a:pt x="19688" y="328092"/>
                        <a:pt x="17687" y="325787"/>
                        <a:pt x="17163" y="323644"/>
                      </a:cubicBezTo>
                      <a:cubicBezTo>
                        <a:pt x="16916" y="322606"/>
                        <a:pt x="18449" y="321272"/>
                        <a:pt x="18726" y="321968"/>
                      </a:cubicBezTo>
                      <a:cubicBezTo>
                        <a:pt x="17163" y="318072"/>
                        <a:pt x="17002" y="319853"/>
                        <a:pt x="14220" y="317339"/>
                      </a:cubicBezTo>
                      <a:cubicBezTo>
                        <a:pt x="8810" y="312433"/>
                        <a:pt x="3286" y="305946"/>
                        <a:pt x="3686" y="298012"/>
                      </a:cubicBezTo>
                      <a:cubicBezTo>
                        <a:pt x="3981" y="292183"/>
                        <a:pt x="6772" y="293936"/>
                        <a:pt x="6848" y="288497"/>
                      </a:cubicBezTo>
                      <a:cubicBezTo>
                        <a:pt x="6924" y="283287"/>
                        <a:pt x="6991" y="274628"/>
                        <a:pt x="6067" y="269380"/>
                      </a:cubicBezTo>
                      <a:cubicBezTo>
                        <a:pt x="12896" y="272847"/>
                        <a:pt x="12896" y="264923"/>
                        <a:pt x="11801" y="261655"/>
                      </a:cubicBezTo>
                      <a:cubicBezTo>
                        <a:pt x="11744" y="261493"/>
                        <a:pt x="9162" y="258455"/>
                        <a:pt x="8629" y="257331"/>
                      </a:cubicBezTo>
                      <a:cubicBezTo>
                        <a:pt x="6991" y="253912"/>
                        <a:pt x="6334" y="249787"/>
                        <a:pt x="4552" y="246187"/>
                      </a:cubicBezTo>
                      <a:cubicBezTo>
                        <a:pt x="3305" y="243653"/>
                        <a:pt x="228" y="239805"/>
                        <a:pt x="18" y="237071"/>
                      </a:cubicBezTo>
                      <a:cubicBezTo>
                        <a:pt x="-248" y="233528"/>
                        <a:pt x="2457" y="232776"/>
                        <a:pt x="3219" y="230099"/>
                      </a:cubicBezTo>
                      <a:cubicBezTo>
                        <a:pt x="4829" y="224451"/>
                        <a:pt x="1981" y="217383"/>
                        <a:pt x="2638" y="211478"/>
                      </a:cubicBezTo>
                      <a:cubicBezTo>
                        <a:pt x="3381" y="204915"/>
                        <a:pt x="6362" y="201438"/>
                        <a:pt x="9458" y="195733"/>
                      </a:cubicBezTo>
                      <a:cubicBezTo>
                        <a:pt x="12563" y="189999"/>
                        <a:pt x="11906" y="184903"/>
                        <a:pt x="13192" y="178121"/>
                      </a:cubicBezTo>
                      <a:cubicBezTo>
                        <a:pt x="13487" y="176559"/>
                        <a:pt x="14468" y="171101"/>
                        <a:pt x="15192" y="169844"/>
                      </a:cubicBezTo>
                      <a:cubicBezTo>
                        <a:pt x="17725" y="165415"/>
                        <a:pt x="17468" y="169082"/>
                        <a:pt x="20916" y="168129"/>
                      </a:cubicBezTo>
                      <a:cubicBezTo>
                        <a:pt x="25945" y="166748"/>
                        <a:pt x="30575" y="164796"/>
                        <a:pt x="28022" y="159090"/>
                      </a:cubicBezTo>
                      <a:cubicBezTo>
                        <a:pt x="25660" y="153785"/>
                        <a:pt x="17392" y="151708"/>
                        <a:pt x="16535" y="145174"/>
                      </a:cubicBezTo>
                      <a:cubicBezTo>
                        <a:pt x="16097" y="141802"/>
                        <a:pt x="19145" y="140116"/>
                        <a:pt x="19335" y="137364"/>
                      </a:cubicBezTo>
                      <a:cubicBezTo>
                        <a:pt x="19564" y="134135"/>
                        <a:pt x="16392" y="129763"/>
                        <a:pt x="14878" y="126867"/>
                      </a:cubicBezTo>
                      <a:cubicBezTo>
                        <a:pt x="12096" y="121581"/>
                        <a:pt x="6457" y="115323"/>
                        <a:pt x="8362" y="108855"/>
                      </a:cubicBezTo>
                      <a:cubicBezTo>
                        <a:pt x="10010" y="103274"/>
                        <a:pt x="13011" y="105731"/>
                        <a:pt x="9001" y="99883"/>
                      </a:cubicBezTo>
                      <a:cubicBezTo>
                        <a:pt x="5362" y="94577"/>
                        <a:pt x="2457" y="93473"/>
                        <a:pt x="6286" y="86986"/>
                      </a:cubicBezTo>
                      <a:cubicBezTo>
                        <a:pt x="9362" y="81766"/>
                        <a:pt x="14106" y="79537"/>
                        <a:pt x="19678" y="76928"/>
                      </a:cubicBezTo>
                      <a:cubicBezTo>
                        <a:pt x="25031" y="74423"/>
                        <a:pt x="32727" y="72603"/>
                        <a:pt x="34861" y="67583"/>
                      </a:cubicBezTo>
                      <a:cubicBezTo>
                        <a:pt x="37280" y="61878"/>
                        <a:pt x="36280" y="51372"/>
                        <a:pt x="36814" y="45219"/>
                      </a:cubicBezTo>
                      <a:cubicBezTo>
                        <a:pt x="37299" y="39609"/>
                        <a:pt x="37033" y="39466"/>
                        <a:pt x="34832" y="35418"/>
                      </a:cubicBezTo>
                      <a:cubicBezTo>
                        <a:pt x="31508" y="29264"/>
                        <a:pt x="30899" y="34494"/>
                        <a:pt x="32946" y="27502"/>
                      </a:cubicBezTo>
                      <a:cubicBezTo>
                        <a:pt x="34337" y="22787"/>
                        <a:pt x="35451" y="23597"/>
                        <a:pt x="37928" y="19958"/>
                      </a:cubicBezTo>
                      <a:cubicBezTo>
                        <a:pt x="39185" y="18120"/>
                        <a:pt x="39452" y="14367"/>
                        <a:pt x="40947" y="12843"/>
                      </a:cubicBezTo>
                      <a:cubicBezTo>
                        <a:pt x="42833" y="10919"/>
                        <a:pt x="48815" y="11815"/>
                        <a:pt x="50720" y="9576"/>
                      </a:cubicBezTo>
                      <a:cubicBezTo>
                        <a:pt x="52444" y="7557"/>
                        <a:pt x="50920" y="1651"/>
                        <a:pt x="52511" y="413"/>
                      </a:cubicBezTo>
                      <a:cubicBezTo>
                        <a:pt x="55645" y="-2016"/>
                        <a:pt x="66036" y="6966"/>
                        <a:pt x="68656" y="9157"/>
                      </a:cubicBezTo>
                      <a:lnTo>
                        <a:pt x="68656" y="9157"/>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97" name="Freeform: Shape 696">
                  <a:extLst>
                    <a:ext uri="{FF2B5EF4-FFF2-40B4-BE49-F238E27FC236}">
                      <a16:creationId xmlns:a16="http://schemas.microsoft.com/office/drawing/2014/main" id="{BC629DC4-BF6C-4271-8990-A840FE4E849A}"/>
                    </a:ext>
                  </a:extLst>
                </p:cNvPr>
                <p:cNvSpPr/>
                <p:nvPr/>
              </p:nvSpPr>
              <p:spPr>
                <a:xfrm>
                  <a:off x="7146361" y="3543773"/>
                  <a:ext cx="140367" cy="108042"/>
                </a:xfrm>
                <a:custGeom>
                  <a:avLst/>
                  <a:gdLst>
                    <a:gd name="connsiteX0" fmla="*/ 129843 w 140367"/>
                    <a:gd name="connsiteY0" fmla="*/ 13297 h 108042"/>
                    <a:gd name="connsiteX1" fmla="*/ 133215 w 140367"/>
                    <a:gd name="connsiteY1" fmla="*/ 13116 h 108042"/>
                    <a:gd name="connsiteX2" fmla="*/ 140368 w 140367"/>
                    <a:gd name="connsiteY2" fmla="*/ 34271 h 108042"/>
                    <a:gd name="connsiteX3" fmla="*/ 128700 w 140367"/>
                    <a:gd name="connsiteY3" fmla="*/ 37843 h 108042"/>
                    <a:gd name="connsiteX4" fmla="*/ 126585 w 140367"/>
                    <a:gd name="connsiteY4" fmla="*/ 34509 h 108042"/>
                    <a:gd name="connsiteX5" fmla="*/ 124223 w 140367"/>
                    <a:gd name="connsiteY5" fmla="*/ 42034 h 108042"/>
                    <a:gd name="connsiteX6" fmla="*/ 128538 w 140367"/>
                    <a:gd name="connsiteY6" fmla="*/ 58160 h 108042"/>
                    <a:gd name="connsiteX7" fmla="*/ 132157 w 140367"/>
                    <a:gd name="connsiteY7" fmla="*/ 63637 h 108042"/>
                    <a:gd name="connsiteX8" fmla="*/ 119299 w 140367"/>
                    <a:gd name="connsiteY8" fmla="*/ 66971 h 108042"/>
                    <a:gd name="connsiteX9" fmla="*/ 117241 w 140367"/>
                    <a:gd name="connsiteY9" fmla="*/ 99613 h 108042"/>
                    <a:gd name="connsiteX10" fmla="*/ 110126 w 140367"/>
                    <a:gd name="connsiteY10" fmla="*/ 107776 h 108042"/>
                    <a:gd name="connsiteX11" fmla="*/ 90857 w 140367"/>
                    <a:gd name="connsiteY11" fmla="*/ 105385 h 108042"/>
                    <a:gd name="connsiteX12" fmla="*/ 50195 w 140367"/>
                    <a:gd name="connsiteY12" fmla="*/ 100327 h 108042"/>
                    <a:gd name="connsiteX13" fmla="*/ 34554 w 140367"/>
                    <a:gd name="connsiteY13" fmla="*/ 95984 h 108042"/>
                    <a:gd name="connsiteX14" fmla="*/ 21896 w 140367"/>
                    <a:gd name="connsiteY14" fmla="*/ 83135 h 108042"/>
                    <a:gd name="connsiteX15" fmla="*/ 541 w 140367"/>
                    <a:gd name="connsiteY15" fmla="*/ 54445 h 108042"/>
                    <a:gd name="connsiteX16" fmla="*/ 4875 w 140367"/>
                    <a:gd name="connsiteY16" fmla="*/ 56836 h 108042"/>
                    <a:gd name="connsiteX17" fmla="*/ 8151 w 140367"/>
                    <a:gd name="connsiteY17" fmla="*/ 63265 h 108042"/>
                    <a:gd name="connsiteX18" fmla="*/ 24506 w 140367"/>
                    <a:gd name="connsiteY18" fmla="*/ 63942 h 108042"/>
                    <a:gd name="connsiteX19" fmla="*/ 64539 w 140367"/>
                    <a:gd name="connsiteY19" fmla="*/ 62675 h 108042"/>
                    <a:gd name="connsiteX20" fmla="*/ 81723 w 140367"/>
                    <a:gd name="connsiteY20" fmla="*/ 57417 h 108042"/>
                    <a:gd name="connsiteX21" fmla="*/ 89762 w 140367"/>
                    <a:gd name="connsiteY21" fmla="*/ 44787 h 108042"/>
                    <a:gd name="connsiteX22" fmla="*/ 101725 w 140367"/>
                    <a:gd name="connsiteY22" fmla="*/ 31652 h 108042"/>
                    <a:gd name="connsiteX23" fmla="*/ 111212 w 140367"/>
                    <a:gd name="connsiteY23" fmla="*/ 17717 h 108042"/>
                    <a:gd name="connsiteX24" fmla="*/ 121365 w 140367"/>
                    <a:gd name="connsiteY24" fmla="*/ 8782 h 108042"/>
                    <a:gd name="connsiteX25" fmla="*/ 123871 w 140367"/>
                    <a:gd name="connsiteY25" fmla="*/ 248 h 108042"/>
                    <a:gd name="connsiteX26" fmla="*/ 129843 w 140367"/>
                    <a:gd name="connsiteY26" fmla="*/ 13297 h 108042"/>
                    <a:gd name="connsiteX27" fmla="*/ 129843 w 140367"/>
                    <a:gd name="connsiteY27" fmla="*/ 13297 h 10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0367" h="108042">
                      <a:moveTo>
                        <a:pt x="129843" y="13297"/>
                      </a:moveTo>
                      <a:cubicBezTo>
                        <a:pt x="131529" y="13183"/>
                        <a:pt x="131957" y="14678"/>
                        <a:pt x="133215" y="13116"/>
                      </a:cubicBezTo>
                      <a:cubicBezTo>
                        <a:pt x="139235" y="17336"/>
                        <a:pt x="137263" y="28147"/>
                        <a:pt x="140368" y="34271"/>
                      </a:cubicBezTo>
                      <a:cubicBezTo>
                        <a:pt x="135053" y="38634"/>
                        <a:pt x="134615" y="43968"/>
                        <a:pt x="128700" y="37843"/>
                      </a:cubicBezTo>
                      <a:cubicBezTo>
                        <a:pt x="128985" y="38138"/>
                        <a:pt x="130234" y="33614"/>
                        <a:pt x="126585" y="34509"/>
                      </a:cubicBezTo>
                      <a:cubicBezTo>
                        <a:pt x="122194" y="35586"/>
                        <a:pt x="124128" y="38919"/>
                        <a:pt x="124223" y="42034"/>
                      </a:cubicBezTo>
                      <a:cubicBezTo>
                        <a:pt x="124394" y="47540"/>
                        <a:pt x="126128" y="55331"/>
                        <a:pt x="128538" y="58160"/>
                      </a:cubicBezTo>
                      <a:cubicBezTo>
                        <a:pt x="130471" y="60427"/>
                        <a:pt x="136663" y="60046"/>
                        <a:pt x="132157" y="63637"/>
                      </a:cubicBezTo>
                      <a:cubicBezTo>
                        <a:pt x="128709" y="66390"/>
                        <a:pt x="123156" y="63580"/>
                        <a:pt x="119299" y="66971"/>
                      </a:cubicBezTo>
                      <a:cubicBezTo>
                        <a:pt x="125995" y="71885"/>
                        <a:pt x="116965" y="92269"/>
                        <a:pt x="117241" y="99613"/>
                      </a:cubicBezTo>
                      <a:cubicBezTo>
                        <a:pt x="117556" y="107509"/>
                        <a:pt x="118280" y="108700"/>
                        <a:pt x="110126" y="107776"/>
                      </a:cubicBezTo>
                      <a:cubicBezTo>
                        <a:pt x="103697" y="107052"/>
                        <a:pt x="97277" y="106185"/>
                        <a:pt x="90857" y="105385"/>
                      </a:cubicBezTo>
                      <a:cubicBezTo>
                        <a:pt x="77303" y="103699"/>
                        <a:pt x="63749" y="102013"/>
                        <a:pt x="50195" y="100327"/>
                      </a:cubicBezTo>
                      <a:cubicBezTo>
                        <a:pt x="44109" y="99565"/>
                        <a:pt x="39279" y="99660"/>
                        <a:pt x="34554" y="95984"/>
                      </a:cubicBezTo>
                      <a:cubicBezTo>
                        <a:pt x="29954" y="92412"/>
                        <a:pt x="26002" y="87287"/>
                        <a:pt x="21896" y="83135"/>
                      </a:cubicBezTo>
                      <a:cubicBezTo>
                        <a:pt x="16314" y="77486"/>
                        <a:pt x="-3507" y="63380"/>
                        <a:pt x="541" y="54445"/>
                      </a:cubicBezTo>
                      <a:cubicBezTo>
                        <a:pt x="1760" y="56969"/>
                        <a:pt x="3894" y="55893"/>
                        <a:pt x="4875" y="56836"/>
                      </a:cubicBezTo>
                      <a:cubicBezTo>
                        <a:pt x="6532" y="58427"/>
                        <a:pt x="6418" y="61437"/>
                        <a:pt x="8151" y="63265"/>
                      </a:cubicBezTo>
                      <a:cubicBezTo>
                        <a:pt x="12419" y="67809"/>
                        <a:pt x="19486" y="65904"/>
                        <a:pt x="24506" y="63942"/>
                      </a:cubicBezTo>
                      <a:cubicBezTo>
                        <a:pt x="38365" y="58532"/>
                        <a:pt x="49947" y="62246"/>
                        <a:pt x="64539" y="62675"/>
                      </a:cubicBezTo>
                      <a:cubicBezTo>
                        <a:pt x="71016" y="62865"/>
                        <a:pt x="76303" y="61265"/>
                        <a:pt x="81723" y="57417"/>
                      </a:cubicBezTo>
                      <a:cubicBezTo>
                        <a:pt x="86390" y="54093"/>
                        <a:pt x="87095" y="50035"/>
                        <a:pt x="89762" y="44787"/>
                      </a:cubicBezTo>
                      <a:cubicBezTo>
                        <a:pt x="92771" y="38853"/>
                        <a:pt x="96944" y="36576"/>
                        <a:pt x="101725" y="31652"/>
                      </a:cubicBezTo>
                      <a:cubicBezTo>
                        <a:pt x="105897" y="27356"/>
                        <a:pt x="107173" y="22089"/>
                        <a:pt x="111212" y="17717"/>
                      </a:cubicBezTo>
                      <a:cubicBezTo>
                        <a:pt x="114136" y="14564"/>
                        <a:pt x="118975" y="12335"/>
                        <a:pt x="121365" y="8782"/>
                      </a:cubicBezTo>
                      <a:cubicBezTo>
                        <a:pt x="122108" y="7677"/>
                        <a:pt x="123471" y="467"/>
                        <a:pt x="123871" y="248"/>
                      </a:cubicBezTo>
                      <a:cubicBezTo>
                        <a:pt x="127976" y="-1943"/>
                        <a:pt x="127776" y="11040"/>
                        <a:pt x="129843" y="13297"/>
                      </a:cubicBezTo>
                      <a:lnTo>
                        <a:pt x="129843" y="13297"/>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98" name="Freeform: Shape 697">
                  <a:extLst>
                    <a:ext uri="{FF2B5EF4-FFF2-40B4-BE49-F238E27FC236}">
                      <a16:creationId xmlns:a16="http://schemas.microsoft.com/office/drawing/2014/main" id="{330DC92D-6C94-42CD-8242-DEAF86F0381D}"/>
                    </a:ext>
                  </a:extLst>
                </p:cNvPr>
                <p:cNvSpPr/>
                <p:nvPr/>
              </p:nvSpPr>
              <p:spPr>
                <a:xfrm>
                  <a:off x="6123592" y="3021485"/>
                  <a:ext cx="51920" cy="93874"/>
                </a:xfrm>
                <a:custGeom>
                  <a:avLst/>
                  <a:gdLst>
                    <a:gd name="connsiteX0" fmla="*/ 18813 w 51920"/>
                    <a:gd name="connsiteY0" fmla="*/ 3166 h 93874"/>
                    <a:gd name="connsiteX1" fmla="*/ 24461 w 51920"/>
                    <a:gd name="connsiteY1" fmla="*/ 9719 h 93874"/>
                    <a:gd name="connsiteX2" fmla="*/ 32824 w 51920"/>
                    <a:gd name="connsiteY2" fmla="*/ 15044 h 93874"/>
                    <a:gd name="connsiteX3" fmla="*/ 34758 w 51920"/>
                    <a:gd name="connsiteY3" fmla="*/ 32598 h 93874"/>
                    <a:gd name="connsiteX4" fmla="*/ 37263 w 51920"/>
                    <a:gd name="connsiteY4" fmla="*/ 46714 h 93874"/>
                    <a:gd name="connsiteX5" fmla="*/ 42054 w 51920"/>
                    <a:gd name="connsiteY5" fmla="*/ 53134 h 93874"/>
                    <a:gd name="connsiteX6" fmla="*/ 49312 w 51920"/>
                    <a:gd name="connsiteY6" fmla="*/ 55477 h 93874"/>
                    <a:gd name="connsiteX7" fmla="*/ 50455 w 51920"/>
                    <a:gd name="connsiteY7" fmla="*/ 68079 h 93874"/>
                    <a:gd name="connsiteX8" fmla="*/ 46055 w 51920"/>
                    <a:gd name="connsiteY8" fmla="*/ 72441 h 93874"/>
                    <a:gd name="connsiteX9" fmla="*/ 44235 w 51920"/>
                    <a:gd name="connsiteY9" fmla="*/ 79166 h 93874"/>
                    <a:gd name="connsiteX10" fmla="*/ 35129 w 51920"/>
                    <a:gd name="connsiteY10" fmla="*/ 84548 h 93874"/>
                    <a:gd name="connsiteX11" fmla="*/ 35006 w 51920"/>
                    <a:gd name="connsiteY11" fmla="*/ 92558 h 93874"/>
                    <a:gd name="connsiteX12" fmla="*/ 25176 w 51920"/>
                    <a:gd name="connsiteY12" fmla="*/ 86557 h 93874"/>
                    <a:gd name="connsiteX13" fmla="*/ 6059 w 51920"/>
                    <a:gd name="connsiteY13" fmla="*/ 70603 h 93874"/>
                    <a:gd name="connsiteX14" fmla="*/ 9441 w 51920"/>
                    <a:gd name="connsiteY14" fmla="*/ 71594 h 93874"/>
                    <a:gd name="connsiteX15" fmla="*/ 5688 w 51920"/>
                    <a:gd name="connsiteY15" fmla="*/ 62002 h 93874"/>
                    <a:gd name="connsiteX16" fmla="*/ 7364 w 51920"/>
                    <a:gd name="connsiteY16" fmla="*/ 47514 h 93874"/>
                    <a:gd name="connsiteX17" fmla="*/ 7764 w 51920"/>
                    <a:gd name="connsiteY17" fmla="*/ 33389 h 93874"/>
                    <a:gd name="connsiteX18" fmla="*/ 8326 w 51920"/>
                    <a:gd name="connsiteY18" fmla="*/ 27712 h 93874"/>
                    <a:gd name="connsiteX19" fmla="*/ 1516 w 51920"/>
                    <a:gd name="connsiteY19" fmla="*/ 24550 h 93874"/>
                    <a:gd name="connsiteX20" fmla="*/ 268 w 51920"/>
                    <a:gd name="connsiteY20" fmla="*/ 16358 h 93874"/>
                    <a:gd name="connsiteX21" fmla="*/ 982 w 51920"/>
                    <a:gd name="connsiteY21" fmla="*/ 10386 h 93874"/>
                    <a:gd name="connsiteX22" fmla="*/ 5107 w 51920"/>
                    <a:gd name="connsiteY22" fmla="*/ 4347 h 93874"/>
                    <a:gd name="connsiteX23" fmla="*/ 8574 w 51920"/>
                    <a:gd name="connsiteY23" fmla="*/ 4 h 93874"/>
                    <a:gd name="connsiteX24" fmla="*/ 9964 w 51920"/>
                    <a:gd name="connsiteY24" fmla="*/ 3871 h 93874"/>
                    <a:gd name="connsiteX25" fmla="*/ 18813 w 51920"/>
                    <a:gd name="connsiteY25" fmla="*/ 3166 h 93874"/>
                    <a:gd name="connsiteX26" fmla="*/ 18813 w 51920"/>
                    <a:gd name="connsiteY26" fmla="*/ 3166 h 93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920" h="93874">
                      <a:moveTo>
                        <a:pt x="18813" y="3166"/>
                      </a:moveTo>
                      <a:cubicBezTo>
                        <a:pt x="21252" y="4919"/>
                        <a:pt x="22252" y="7929"/>
                        <a:pt x="24461" y="9719"/>
                      </a:cubicBezTo>
                      <a:cubicBezTo>
                        <a:pt x="27186" y="11939"/>
                        <a:pt x="30510" y="11720"/>
                        <a:pt x="32824" y="15044"/>
                      </a:cubicBezTo>
                      <a:cubicBezTo>
                        <a:pt x="36339" y="20063"/>
                        <a:pt x="34834" y="27112"/>
                        <a:pt x="34758" y="32598"/>
                      </a:cubicBezTo>
                      <a:cubicBezTo>
                        <a:pt x="34691" y="37218"/>
                        <a:pt x="34168" y="41333"/>
                        <a:pt x="37263" y="46714"/>
                      </a:cubicBezTo>
                      <a:cubicBezTo>
                        <a:pt x="37920" y="47876"/>
                        <a:pt x="41292" y="52620"/>
                        <a:pt x="42054" y="53134"/>
                      </a:cubicBezTo>
                      <a:cubicBezTo>
                        <a:pt x="44254" y="54611"/>
                        <a:pt x="47188" y="53677"/>
                        <a:pt x="49312" y="55477"/>
                      </a:cubicBezTo>
                      <a:cubicBezTo>
                        <a:pt x="52751" y="58392"/>
                        <a:pt x="52417" y="64745"/>
                        <a:pt x="50455" y="68079"/>
                      </a:cubicBezTo>
                      <a:cubicBezTo>
                        <a:pt x="49541" y="69622"/>
                        <a:pt x="47245" y="70327"/>
                        <a:pt x="46055" y="72441"/>
                      </a:cubicBezTo>
                      <a:cubicBezTo>
                        <a:pt x="45093" y="74127"/>
                        <a:pt x="45217" y="78023"/>
                        <a:pt x="44235" y="79166"/>
                      </a:cubicBezTo>
                      <a:cubicBezTo>
                        <a:pt x="41987" y="81747"/>
                        <a:pt x="36330" y="80890"/>
                        <a:pt x="35129" y="84548"/>
                      </a:cubicBezTo>
                      <a:cubicBezTo>
                        <a:pt x="34091" y="87720"/>
                        <a:pt x="39444" y="89710"/>
                        <a:pt x="35006" y="92558"/>
                      </a:cubicBezTo>
                      <a:cubicBezTo>
                        <a:pt x="29100" y="96349"/>
                        <a:pt x="27900" y="91206"/>
                        <a:pt x="25176" y="86557"/>
                      </a:cubicBezTo>
                      <a:cubicBezTo>
                        <a:pt x="20566" y="78671"/>
                        <a:pt x="10469" y="78947"/>
                        <a:pt x="6059" y="70603"/>
                      </a:cubicBezTo>
                      <a:cubicBezTo>
                        <a:pt x="7069" y="71022"/>
                        <a:pt x="8317" y="71013"/>
                        <a:pt x="9441" y="71594"/>
                      </a:cubicBezTo>
                      <a:cubicBezTo>
                        <a:pt x="9812" y="67936"/>
                        <a:pt x="6040" y="65641"/>
                        <a:pt x="5688" y="62002"/>
                      </a:cubicBezTo>
                      <a:cubicBezTo>
                        <a:pt x="5231" y="57135"/>
                        <a:pt x="8088" y="52867"/>
                        <a:pt x="7364" y="47514"/>
                      </a:cubicBezTo>
                      <a:cubicBezTo>
                        <a:pt x="6621" y="41942"/>
                        <a:pt x="6993" y="38437"/>
                        <a:pt x="7764" y="33389"/>
                      </a:cubicBezTo>
                      <a:cubicBezTo>
                        <a:pt x="8078" y="31331"/>
                        <a:pt x="9555" y="30465"/>
                        <a:pt x="8326" y="27712"/>
                      </a:cubicBezTo>
                      <a:cubicBezTo>
                        <a:pt x="6945" y="24645"/>
                        <a:pt x="2906" y="26236"/>
                        <a:pt x="1516" y="24550"/>
                      </a:cubicBezTo>
                      <a:cubicBezTo>
                        <a:pt x="1430" y="24454"/>
                        <a:pt x="287" y="16901"/>
                        <a:pt x="268" y="16358"/>
                      </a:cubicBezTo>
                      <a:cubicBezTo>
                        <a:pt x="173" y="13748"/>
                        <a:pt x="-589" y="14091"/>
                        <a:pt x="982" y="10386"/>
                      </a:cubicBezTo>
                      <a:cubicBezTo>
                        <a:pt x="1849" y="8338"/>
                        <a:pt x="3669" y="6024"/>
                        <a:pt x="5107" y="4347"/>
                      </a:cubicBezTo>
                      <a:cubicBezTo>
                        <a:pt x="5935" y="3376"/>
                        <a:pt x="6745" y="-130"/>
                        <a:pt x="8574" y="4"/>
                      </a:cubicBezTo>
                      <a:cubicBezTo>
                        <a:pt x="10364" y="147"/>
                        <a:pt x="9364" y="3709"/>
                        <a:pt x="9964" y="3871"/>
                      </a:cubicBezTo>
                      <a:cubicBezTo>
                        <a:pt x="13336" y="4757"/>
                        <a:pt x="14575" y="4928"/>
                        <a:pt x="18813" y="3166"/>
                      </a:cubicBezTo>
                      <a:lnTo>
                        <a:pt x="18813" y="3166"/>
                      </a:lnTo>
                      <a:close/>
                    </a:path>
                  </a:pathLst>
                </a:custGeom>
                <a:solidFill>
                  <a:srgbClr val="D6D6D2"/>
                </a:solidFill>
                <a:ln w="7144" cap="flat">
                  <a:solidFill>
                    <a:srgbClr val="FFFFFF"/>
                  </a:solidFill>
                  <a:prstDash val="solid"/>
                  <a:miter/>
                </a:ln>
              </p:spPr>
              <p:txBody>
                <a:bodyPr rtlCol="0" anchor="ctr"/>
                <a:lstStyle/>
                <a:p>
                  <a:endParaRPr lang="en-US"/>
                </a:p>
              </p:txBody>
            </p:sp>
            <p:sp>
              <p:nvSpPr>
                <p:cNvPr id="699" name="Freeform: Shape 698">
                  <a:extLst>
                    <a:ext uri="{FF2B5EF4-FFF2-40B4-BE49-F238E27FC236}">
                      <a16:creationId xmlns:a16="http://schemas.microsoft.com/office/drawing/2014/main" id="{0D8AE2CF-E30C-4D46-90A3-F5CD9FDD8B7A}"/>
                    </a:ext>
                  </a:extLst>
                </p:cNvPr>
                <p:cNvSpPr/>
                <p:nvPr/>
              </p:nvSpPr>
              <p:spPr>
                <a:xfrm>
                  <a:off x="5955191" y="4505435"/>
                  <a:ext cx="387584" cy="426581"/>
                </a:xfrm>
                <a:custGeom>
                  <a:avLst/>
                  <a:gdLst>
                    <a:gd name="connsiteX0" fmla="*/ 84239 w 387584"/>
                    <a:gd name="connsiteY0" fmla="*/ 44550 h 426581"/>
                    <a:gd name="connsiteX1" fmla="*/ 141218 w 387584"/>
                    <a:gd name="connsiteY1" fmla="*/ 44197 h 426581"/>
                    <a:gd name="connsiteX2" fmla="*/ 160315 w 387584"/>
                    <a:gd name="connsiteY2" fmla="*/ 50560 h 426581"/>
                    <a:gd name="connsiteX3" fmla="*/ 166421 w 387584"/>
                    <a:gd name="connsiteY3" fmla="*/ 73201 h 426581"/>
                    <a:gd name="connsiteX4" fmla="*/ 176517 w 387584"/>
                    <a:gd name="connsiteY4" fmla="*/ 94518 h 426581"/>
                    <a:gd name="connsiteX5" fmla="*/ 189386 w 387584"/>
                    <a:gd name="connsiteY5" fmla="*/ 114558 h 426581"/>
                    <a:gd name="connsiteX6" fmla="*/ 199892 w 387584"/>
                    <a:gd name="connsiteY6" fmla="*/ 113587 h 426581"/>
                    <a:gd name="connsiteX7" fmla="*/ 211931 w 387584"/>
                    <a:gd name="connsiteY7" fmla="*/ 111624 h 426581"/>
                    <a:gd name="connsiteX8" fmla="*/ 235439 w 387584"/>
                    <a:gd name="connsiteY8" fmla="*/ 111472 h 426581"/>
                    <a:gd name="connsiteX9" fmla="*/ 245154 w 387584"/>
                    <a:gd name="connsiteY9" fmla="*/ 107481 h 426581"/>
                    <a:gd name="connsiteX10" fmla="*/ 245926 w 387584"/>
                    <a:gd name="connsiteY10" fmla="*/ 100937 h 426581"/>
                    <a:gd name="connsiteX11" fmla="*/ 249403 w 387584"/>
                    <a:gd name="connsiteY11" fmla="*/ 94842 h 426581"/>
                    <a:gd name="connsiteX12" fmla="*/ 252517 w 387584"/>
                    <a:gd name="connsiteY12" fmla="*/ 83411 h 426581"/>
                    <a:gd name="connsiteX13" fmla="*/ 265033 w 387584"/>
                    <a:gd name="connsiteY13" fmla="*/ 79240 h 426581"/>
                    <a:gd name="connsiteX14" fmla="*/ 277806 w 387584"/>
                    <a:gd name="connsiteY14" fmla="*/ 77630 h 426581"/>
                    <a:gd name="connsiteX15" fmla="*/ 282959 w 387584"/>
                    <a:gd name="connsiteY15" fmla="*/ 83307 h 426581"/>
                    <a:gd name="connsiteX16" fmla="*/ 302771 w 387584"/>
                    <a:gd name="connsiteY16" fmla="*/ 88907 h 426581"/>
                    <a:gd name="connsiteX17" fmla="*/ 323517 w 387584"/>
                    <a:gd name="connsiteY17" fmla="*/ 93660 h 426581"/>
                    <a:gd name="connsiteX18" fmla="*/ 321269 w 387584"/>
                    <a:gd name="connsiteY18" fmla="*/ 107224 h 426581"/>
                    <a:gd name="connsiteX19" fmla="*/ 324202 w 387584"/>
                    <a:gd name="connsiteY19" fmla="*/ 121416 h 426581"/>
                    <a:gd name="connsiteX20" fmla="*/ 321640 w 387584"/>
                    <a:gd name="connsiteY20" fmla="*/ 148200 h 426581"/>
                    <a:gd name="connsiteX21" fmla="*/ 329612 w 387584"/>
                    <a:gd name="connsiteY21" fmla="*/ 171022 h 426581"/>
                    <a:gd name="connsiteX22" fmla="*/ 334528 w 387584"/>
                    <a:gd name="connsiteY22" fmla="*/ 197673 h 426581"/>
                    <a:gd name="connsiteX23" fmla="*/ 331927 w 387584"/>
                    <a:gd name="connsiteY23" fmla="*/ 208913 h 426581"/>
                    <a:gd name="connsiteX24" fmla="*/ 337928 w 387584"/>
                    <a:gd name="connsiteY24" fmla="*/ 210351 h 426581"/>
                    <a:gd name="connsiteX25" fmla="*/ 344119 w 387584"/>
                    <a:gd name="connsiteY25" fmla="*/ 207741 h 426581"/>
                    <a:gd name="connsiteX26" fmla="*/ 351282 w 387584"/>
                    <a:gd name="connsiteY26" fmla="*/ 208475 h 426581"/>
                    <a:gd name="connsiteX27" fmla="*/ 367084 w 387584"/>
                    <a:gd name="connsiteY27" fmla="*/ 205893 h 426581"/>
                    <a:gd name="connsiteX28" fmla="*/ 386591 w 387584"/>
                    <a:gd name="connsiteY28" fmla="*/ 201874 h 426581"/>
                    <a:gd name="connsiteX29" fmla="*/ 386544 w 387584"/>
                    <a:gd name="connsiteY29" fmla="*/ 223801 h 426581"/>
                    <a:gd name="connsiteX30" fmla="*/ 385448 w 387584"/>
                    <a:gd name="connsiteY30" fmla="*/ 249575 h 426581"/>
                    <a:gd name="connsiteX31" fmla="*/ 381476 w 387584"/>
                    <a:gd name="connsiteY31" fmla="*/ 261681 h 426581"/>
                    <a:gd name="connsiteX32" fmla="*/ 380695 w 387584"/>
                    <a:gd name="connsiteY32" fmla="*/ 268892 h 426581"/>
                    <a:gd name="connsiteX33" fmla="*/ 352520 w 387584"/>
                    <a:gd name="connsiteY33" fmla="*/ 268939 h 426581"/>
                    <a:gd name="connsiteX34" fmla="*/ 321831 w 387584"/>
                    <a:gd name="connsiteY34" fmla="*/ 269549 h 426581"/>
                    <a:gd name="connsiteX35" fmla="*/ 321202 w 387584"/>
                    <a:gd name="connsiteY35" fmla="*/ 284722 h 426581"/>
                    <a:gd name="connsiteX36" fmla="*/ 320354 w 387584"/>
                    <a:gd name="connsiteY36" fmla="*/ 303382 h 426581"/>
                    <a:gd name="connsiteX37" fmla="*/ 317802 w 387584"/>
                    <a:gd name="connsiteY37" fmla="*/ 364570 h 426581"/>
                    <a:gd name="connsiteX38" fmla="*/ 321669 w 387584"/>
                    <a:gd name="connsiteY38" fmla="*/ 382268 h 426581"/>
                    <a:gd name="connsiteX39" fmla="*/ 332603 w 387584"/>
                    <a:gd name="connsiteY39" fmla="*/ 391278 h 426581"/>
                    <a:gd name="connsiteX40" fmla="*/ 357597 w 387584"/>
                    <a:gd name="connsiteY40" fmla="*/ 415091 h 426581"/>
                    <a:gd name="connsiteX41" fmla="*/ 315668 w 387584"/>
                    <a:gd name="connsiteY41" fmla="*/ 423016 h 426581"/>
                    <a:gd name="connsiteX42" fmla="*/ 281902 w 387584"/>
                    <a:gd name="connsiteY42" fmla="*/ 426349 h 426581"/>
                    <a:gd name="connsiteX43" fmla="*/ 267805 w 387584"/>
                    <a:gd name="connsiteY43" fmla="*/ 424387 h 426581"/>
                    <a:gd name="connsiteX44" fmla="*/ 247555 w 387584"/>
                    <a:gd name="connsiteY44" fmla="*/ 422540 h 426581"/>
                    <a:gd name="connsiteX45" fmla="*/ 213484 w 387584"/>
                    <a:gd name="connsiteY45" fmla="*/ 416415 h 426581"/>
                    <a:gd name="connsiteX46" fmla="*/ 204654 w 387584"/>
                    <a:gd name="connsiteY46" fmla="*/ 407490 h 426581"/>
                    <a:gd name="connsiteX47" fmla="*/ 183813 w 387584"/>
                    <a:gd name="connsiteY47" fmla="*/ 407281 h 426581"/>
                    <a:gd name="connsiteX48" fmla="*/ 144913 w 387584"/>
                    <a:gd name="connsiteY48" fmla="*/ 407223 h 426581"/>
                    <a:gd name="connsiteX49" fmla="*/ 102470 w 387584"/>
                    <a:gd name="connsiteY49" fmla="*/ 407147 h 426581"/>
                    <a:gd name="connsiteX50" fmla="*/ 68170 w 387584"/>
                    <a:gd name="connsiteY50" fmla="*/ 407395 h 426581"/>
                    <a:gd name="connsiteX51" fmla="*/ 36966 w 387584"/>
                    <a:gd name="connsiteY51" fmla="*/ 395784 h 426581"/>
                    <a:gd name="connsiteX52" fmla="*/ 19012 w 387584"/>
                    <a:gd name="connsiteY52" fmla="*/ 401394 h 426581"/>
                    <a:gd name="connsiteX53" fmla="*/ 9973 w 387584"/>
                    <a:gd name="connsiteY53" fmla="*/ 400146 h 426581"/>
                    <a:gd name="connsiteX54" fmla="*/ 0 w 387584"/>
                    <a:gd name="connsiteY54" fmla="*/ 402756 h 426581"/>
                    <a:gd name="connsiteX55" fmla="*/ 3019 w 387584"/>
                    <a:gd name="connsiteY55" fmla="*/ 375753 h 426581"/>
                    <a:gd name="connsiteX56" fmla="*/ 2029 w 387584"/>
                    <a:gd name="connsiteY56" fmla="*/ 360722 h 426581"/>
                    <a:gd name="connsiteX57" fmla="*/ 8629 w 387584"/>
                    <a:gd name="connsiteY57" fmla="*/ 351397 h 426581"/>
                    <a:gd name="connsiteX58" fmla="*/ 18640 w 387584"/>
                    <a:gd name="connsiteY58" fmla="*/ 321413 h 426581"/>
                    <a:gd name="connsiteX59" fmla="*/ 26470 w 387584"/>
                    <a:gd name="connsiteY59" fmla="*/ 293028 h 426581"/>
                    <a:gd name="connsiteX60" fmla="*/ 29489 w 387584"/>
                    <a:gd name="connsiteY60" fmla="*/ 281350 h 426581"/>
                    <a:gd name="connsiteX61" fmla="*/ 40452 w 387584"/>
                    <a:gd name="connsiteY61" fmla="*/ 266987 h 426581"/>
                    <a:gd name="connsiteX62" fmla="*/ 49330 w 387584"/>
                    <a:gd name="connsiteY62" fmla="*/ 257252 h 426581"/>
                    <a:gd name="connsiteX63" fmla="*/ 61398 w 387584"/>
                    <a:gd name="connsiteY63" fmla="*/ 246994 h 426581"/>
                    <a:gd name="connsiteX64" fmla="*/ 68361 w 387584"/>
                    <a:gd name="connsiteY64" fmla="*/ 220686 h 426581"/>
                    <a:gd name="connsiteX65" fmla="*/ 66208 w 387584"/>
                    <a:gd name="connsiteY65" fmla="*/ 193368 h 426581"/>
                    <a:gd name="connsiteX66" fmla="*/ 52121 w 387584"/>
                    <a:gd name="connsiteY66" fmla="*/ 166079 h 426581"/>
                    <a:gd name="connsiteX67" fmla="*/ 48339 w 387584"/>
                    <a:gd name="connsiteY67" fmla="*/ 139752 h 426581"/>
                    <a:gd name="connsiteX68" fmla="*/ 47044 w 387584"/>
                    <a:gd name="connsiteY68" fmla="*/ 143133 h 426581"/>
                    <a:gd name="connsiteX69" fmla="*/ 57150 w 387584"/>
                    <a:gd name="connsiteY69" fmla="*/ 126207 h 426581"/>
                    <a:gd name="connsiteX70" fmla="*/ 48844 w 387584"/>
                    <a:gd name="connsiteY70" fmla="*/ 104471 h 426581"/>
                    <a:gd name="connsiteX71" fmla="*/ 41529 w 387584"/>
                    <a:gd name="connsiteY71" fmla="*/ 84116 h 426581"/>
                    <a:gd name="connsiteX72" fmla="*/ 30232 w 387584"/>
                    <a:gd name="connsiteY72" fmla="*/ 64390 h 426581"/>
                    <a:gd name="connsiteX73" fmla="*/ 25727 w 387584"/>
                    <a:gd name="connsiteY73" fmla="*/ 54322 h 426581"/>
                    <a:gd name="connsiteX74" fmla="*/ 27651 w 387584"/>
                    <a:gd name="connsiteY74" fmla="*/ 50950 h 426581"/>
                    <a:gd name="connsiteX75" fmla="*/ 47082 w 387584"/>
                    <a:gd name="connsiteY75" fmla="*/ 45502 h 426581"/>
                    <a:gd name="connsiteX76" fmla="*/ 84239 w 387584"/>
                    <a:gd name="connsiteY76" fmla="*/ 44550 h 426581"/>
                    <a:gd name="connsiteX77" fmla="*/ 84239 w 387584"/>
                    <a:gd name="connsiteY77" fmla="*/ 44550 h 426581"/>
                    <a:gd name="connsiteX78" fmla="*/ 23469 w 387584"/>
                    <a:gd name="connsiteY78" fmla="*/ 40482 h 426581"/>
                    <a:gd name="connsiteX79" fmla="*/ 19631 w 387584"/>
                    <a:gd name="connsiteY79" fmla="*/ 24214 h 426581"/>
                    <a:gd name="connsiteX80" fmla="*/ 22165 w 387584"/>
                    <a:gd name="connsiteY80" fmla="*/ 9983 h 426581"/>
                    <a:gd name="connsiteX81" fmla="*/ 26356 w 387584"/>
                    <a:gd name="connsiteY81" fmla="*/ 8593 h 426581"/>
                    <a:gd name="connsiteX82" fmla="*/ 27718 w 387584"/>
                    <a:gd name="connsiteY82" fmla="*/ 5564 h 426581"/>
                    <a:gd name="connsiteX83" fmla="*/ 35985 w 387584"/>
                    <a:gd name="connsiteY83" fmla="*/ 2192 h 426581"/>
                    <a:gd name="connsiteX84" fmla="*/ 49520 w 387584"/>
                    <a:gd name="connsiteY84" fmla="*/ 5468 h 426581"/>
                    <a:gd name="connsiteX85" fmla="*/ 29899 w 387584"/>
                    <a:gd name="connsiteY85" fmla="*/ 19823 h 426581"/>
                    <a:gd name="connsiteX86" fmla="*/ 32032 w 387584"/>
                    <a:gd name="connsiteY86" fmla="*/ 22566 h 426581"/>
                    <a:gd name="connsiteX87" fmla="*/ 31813 w 387584"/>
                    <a:gd name="connsiteY87" fmla="*/ 31224 h 426581"/>
                    <a:gd name="connsiteX88" fmla="*/ 23469 w 387584"/>
                    <a:gd name="connsiteY88" fmla="*/ 40482 h 426581"/>
                    <a:gd name="connsiteX89" fmla="*/ 23469 w 387584"/>
                    <a:gd name="connsiteY89" fmla="*/ 40482 h 42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387584" h="426581">
                      <a:moveTo>
                        <a:pt x="84239" y="44550"/>
                      </a:moveTo>
                      <a:cubicBezTo>
                        <a:pt x="103051" y="46045"/>
                        <a:pt x="122329" y="44149"/>
                        <a:pt x="141218" y="44197"/>
                      </a:cubicBezTo>
                      <a:cubicBezTo>
                        <a:pt x="149238" y="44216"/>
                        <a:pt x="155134" y="43816"/>
                        <a:pt x="160315" y="50560"/>
                      </a:cubicBezTo>
                      <a:cubicBezTo>
                        <a:pt x="165020" y="56694"/>
                        <a:pt x="162677" y="65647"/>
                        <a:pt x="166421" y="73201"/>
                      </a:cubicBezTo>
                      <a:cubicBezTo>
                        <a:pt x="170326" y="81068"/>
                        <a:pt x="171593" y="87221"/>
                        <a:pt x="176517" y="94518"/>
                      </a:cubicBezTo>
                      <a:cubicBezTo>
                        <a:pt x="179908" y="99566"/>
                        <a:pt x="183642" y="112167"/>
                        <a:pt x="189386" y="114558"/>
                      </a:cubicBezTo>
                      <a:cubicBezTo>
                        <a:pt x="191367" y="115387"/>
                        <a:pt x="197644" y="113710"/>
                        <a:pt x="199892" y="113587"/>
                      </a:cubicBezTo>
                      <a:cubicBezTo>
                        <a:pt x="204292" y="113349"/>
                        <a:pt x="207007" y="113053"/>
                        <a:pt x="211931" y="111624"/>
                      </a:cubicBezTo>
                      <a:cubicBezTo>
                        <a:pt x="220770" y="109062"/>
                        <a:pt x="226647" y="111425"/>
                        <a:pt x="235439" y="111472"/>
                      </a:cubicBezTo>
                      <a:cubicBezTo>
                        <a:pt x="240544" y="111501"/>
                        <a:pt x="243183" y="111586"/>
                        <a:pt x="245154" y="107481"/>
                      </a:cubicBezTo>
                      <a:cubicBezTo>
                        <a:pt x="246040" y="105643"/>
                        <a:pt x="245307" y="102890"/>
                        <a:pt x="245926" y="100937"/>
                      </a:cubicBezTo>
                      <a:cubicBezTo>
                        <a:pt x="246631" y="98737"/>
                        <a:pt x="248679" y="96966"/>
                        <a:pt x="249403" y="94842"/>
                      </a:cubicBezTo>
                      <a:cubicBezTo>
                        <a:pt x="250860" y="90546"/>
                        <a:pt x="249012" y="87041"/>
                        <a:pt x="252517" y="83411"/>
                      </a:cubicBezTo>
                      <a:cubicBezTo>
                        <a:pt x="255841" y="79973"/>
                        <a:pt x="260594" y="79963"/>
                        <a:pt x="265033" y="79240"/>
                      </a:cubicBezTo>
                      <a:cubicBezTo>
                        <a:pt x="269224" y="78563"/>
                        <a:pt x="273548" y="77935"/>
                        <a:pt x="277806" y="77630"/>
                      </a:cubicBezTo>
                      <a:cubicBezTo>
                        <a:pt x="287026" y="76963"/>
                        <a:pt x="281930" y="77173"/>
                        <a:pt x="282959" y="83307"/>
                      </a:cubicBezTo>
                      <a:cubicBezTo>
                        <a:pt x="284426" y="92051"/>
                        <a:pt x="294856" y="88707"/>
                        <a:pt x="302771" y="88907"/>
                      </a:cubicBezTo>
                      <a:cubicBezTo>
                        <a:pt x="309363" y="89069"/>
                        <a:pt x="321202" y="86564"/>
                        <a:pt x="323517" y="93660"/>
                      </a:cubicBezTo>
                      <a:cubicBezTo>
                        <a:pt x="324802" y="97604"/>
                        <a:pt x="321583" y="103376"/>
                        <a:pt x="321269" y="107224"/>
                      </a:cubicBezTo>
                      <a:cubicBezTo>
                        <a:pt x="320792" y="112844"/>
                        <a:pt x="323097" y="116244"/>
                        <a:pt x="324202" y="121416"/>
                      </a:cubicBezTo>
                      <a:cubicBezTo>
                        <a:pt x="326107" y="130360"/>
                        <a:pt x="322888" y="139418"/>
                        <a:pt x="321640" y="148200"/>
                      </a:cubicBezTo>
                      <a:cubicBezTo>
                        <a:pt x="320002" y="159611"/>
                        <a:pt x="323640" y="162298"/>
                        <a:pt x="329612" y="171022"/>
                      </a:cubicBezTo>
                      <a:cubicBezTo>
                        <a:pt x="334108" y="177585"/>
                        <a:pt x="337204" y="190063"/>
                        <a:pt x="334528" y="197673"/>
                      </a:cubicBezTo>
                      <a:cubicBezTo>
                        <a:pt x="333222" y="201398"/>
                        <a:pt x="328527" y="203541"/>
                        <a:pt x="331927" y="208913"/>
                      </a:cubicBezTo>
                      <a:cubicBezTo>
                        <a:pt x="334613" y="213161"/>
                        <a:pt x="333222" y="211427"/>
                        <a:pt x="337928" y="210351"/>
                      </a:cubicBezTo>
                      <a:cubicBezTo>
                        <a:pt x="340100" y="209865"/>
                        <a:pt x="341614" y="208113"/>
                        <a:pt x="344119" y="207741"/>
                      </a:cubicBezTo>
                      <a:cubicBezTo>
                        <a:pt x="346396" y="207398"/>
                        <a:pt x="348986" y="208332"/>
                        <a:pt x="351282" y="208475"/>
                      </a:cubicBezTo>
                      <a:cubicBezTo>
                        <a:pt x="357949" y="208932"/>
                        <a:pt x="360864" y="207436"/>
                        <a:pt x="367084" y="205893"/>
                      </a:cubicBezTo>
                      <a:cubicBezTo>
                        <a:pt x="374818" y="203988"/>
                        <a:pt x="381828" y="209103"/>
                        <a:pt x="386591" y="201874"/>
                      </a:cubicBezTo>
                      <a:cubicBezTo>
                        <a:pt x="387763" y="209913"/>
                        <a:pt x="388077" y="216304"/>
                        <a:pt x="386544" y="223801"/>
                      </a:cubicBezTo>
                      <a:cubicBezTo>
                        <a:pt x="384810" y="232259"/>
                        <a:pt x="386677" y="241231"/>
                        <a:pt x="385448" y="249575"/>
                      </a:cubicBezTo>
                      <a:cubicBezTo>
                        <a:pt x="384858" y="253642"/>
                        <a:pt x="381267" y="257443"/>
                        <a:pt x="381476" y="261681"/>
                      </a:cubicBezTo>
                      <a:cubicBezTo>
                        <a:pt x="381762" y="267492"/>
                        <a:pt x="385743" y="266425"/>
                        <a:pt x="380695" y="268892"/>
                      </a:cubicBezTo>
                      <a:cubicBezTo>
                        <a:pt x="374628" y="271854"/>
                        <a:pt x="359388" y="268949"/>
                        <a:pt x="352520" y="268939"/>
                      </a:cubicBezTo>
                      <a:cubicBezTo>
                        <a:pt x="346938" y="268930"/>
                        <a:pt x="324964" y="266006"/>
                        <a:pt x="321831" y="269549"/>
                      </a:cubicBezTo>
                      <a:cubicBezTo>
                        <a:pt x="320078" y="271530"/>
                        <a:pt x="321316" y="282065"/>
                        <a:pt x="321202" y="284722"/>
                      </a:cubicBezTo>
                      <a:cubicBezTo>
                        <a:pt x="320935" y="290942"/>
                        <a:pt x="320630" y="297162"/>
                        <a:pt x="320354" y="303382"/>
                      </a:cubicBezTo>
                      <a:cubicBezTo>
                        <a:pt x="319440" y="323375"/>
                        <a:pt x="316182" y="344654"/>
                        <a:pt x="317802" y="364570"/>
                      </a:cubicBezTo>
                      <a:cubicBezTo>
                        <a:pt x="318192" y="369276"/>
                        <a:pt x="319040" y="378325"/>
                        <a:pt x="321669" y="382268"/>
                      </a:cubicBezTo>
                      <a:cubicBezTo>
                        <a:pt x="323783" y="385440"/>
                        <a:pt x="329727" y="388354"/>
                        <a:pt x="332603" y="391278"/>
                      </a:cubicBezTo>
                      <a:cubicBezTo>
                        <a:pt x="340700" y="399499"/>
                        <a:pt x="349005" y="407376"/>
                        <a:pt x="357597" y="415091"/>
                      </a:cubicBezTo>
                      <a:cubicBezTo>
                        <a:pt x="343614" y="417720"/>
                        <a:pt x="329651" y="420425"/>
                        <a:pt x="315668" y="423016"/>
                      </a:cubicBezTo>
                      <a:cubicBezTo>
                        <a:pt x="303866" y="425197"/>
                        <a:pt x="293313" y="425092"/>
                        <a:pt x="281902" y="426349"/>
                      </a:cubicBezTo>
                      <a:cubicBezTo>
                        <a:pt x="275882" y="427016"/>
                        <a:pt x="273329" y="426207"/>
                        <a:pt x="267805" y="424387"/>
                      </a:cubicBezTo>
                      <a:cubicBezTo>
                        <a:pt x="260842" y="422082"/>
                        <a:pt x="254984" y="422778"/>
                        <a:pt x="247555" y="422540"/>
                      </a:cubicBezTo>
                      <a:cubicBezTo>
                        <a:pt x="237830" y="422216"/>
                        <a:pt x="221209" y="422606"/>
                        <a:pt x="213484" y="416415"/>
                      </a:cubicBezTo>
                      <a:cubicBezTo>
                        <a:pt x="210017" y="413643"/>
                        <a:pt x="208788" y="409205"/>
                        <a:pt x="204654" y="407490"/>
                      </a:cubicBezTo>
                      <a:cubicBezTo>
                        <a:pt x="199654" y="405423"/>
                        <a:pt x="189328" y="407299"/>
                        <a:pt x="183813" y="407281"/>
                      </a:cubicBezTo>
                      <a:cubicBezTo>
                        <a:pt x="170850" y="407223"/>
                        <a:pt x="157877" y="407243"/>
                        <a:pt x="144913" y="407223"/>
                      </a:cubicBezTo>
                      <a:cubicBezTo>
                        <a:pt x="130769" y="407195"/>
                        <a:pt x="116614" y="407176"/>
                        <a:pt x="102470" y="407147"/>
                      </a:cubicBezTo>
                      <a:cubicBezTo>
                        <a:pt x="92583" y="407138"/>
                        <a:pt x="77571" y="410119"/>
                        <a:pt x="68170" y="407395"/>
                      </a:cubicBezTo>
                      <a:cubicBezTo>
                        <a:pt x="55464" y="403699"/>
                        <a:pt x="52340" y="389650"/>
                        <a:pt x="36966" y="395784"/>
                      </a:cubicBezTo>
                      <a:cubicBezTo>
                        <a:pt x="30413" y="398394"/>
                        <a:pt x="26356" y="401813"/>
                        <a:pt x="19012" y="401394"/>
                      </a:cubicBezTo>
                      <a:cubicBezTo>
                        <a:pt x="16030" y="401223"/>
                        <a:pt x="12773" y="400022"/>
                        <a:pt x="9973" y="400146"/>
                      </a:cubicBezTo>
                      <a:cubicBezTo>
                        <a:pt x="6505" y="400289"/>
                        <a:pt x="3772" y="402728"/>
                        <a:pt x="0" y="402756"/>
                      </a:cubicBezTo>
                      <a:cubicBezTo>
                        <a:pt x="1143" y="393641"/>
                        <a:pt x="3038" y="384935"/>
                        <a:pt x="3019" y="375753"/>
                      </a:cubicBezTo>
                      <a:cubicBezTo>
                        <a:pt x="3010" y="371666"/>
                        <a:pt x="1229" y="364437"/>
                        <a:pt x="2029" y="360722"/>
                      </a:cubicBezTo>
                      <a:cubicBezTo>
                        <a:pt x="2962" y="356455"/>
                        <a:pt x="6067" y="355836"/>
                        <a:pt x="8629" y="351397"/>
                      </a:cubicBezTo>
                      <a:cubicBezTo>
                        <a:pt x="13173" y="343539"/>
                        <a:pt x="16154" y="330118"/>
                        <a:pt x="18640" y="321413"/>
                      </a:cubicBezTo>
                      <a:cubicBezTo>
                        <a:pt x="21384" y="311783"/>
                        <a:pt x="23422" y="302486"/>
                        <a:pt x="26470" y="293028"/>
                      </a:cubicBezTo>
                      <a:cubicBezTo>
                        <a:pt x="27756" y="289037"/>
                        <a:pt x="27461" y="284942"/>
                        <a:pt x="29489" y="281350"/>
                      </a:cubicBezTo>
                      <a:cubicBezTo>
                        <a:pt x="32461" y="276102"/>
                        <a:pt x="37576" y="272321"/>
                        <a:pt x="40452" y="266987"/>
                      </a:cubicBezTo>
                      <a:cubicBezTo>
                        <a:pt x="43139" y="262005"/>
                        <a:pt x="44082" y="260272"/>
                        <a:pt x="49330" y="257252"/>
                      </a:cubicBezTo>
                      <a:cubicBezTo>
                        <a:pt x="54778" y="254118"/>
                        <a:pt x="57750" y="252414"/>
                        <a:pt x="61398" y="246994"/>
                      </a:cubicBezTo>
                      <a:cubicBezTo>
                        <a:pt x="67142" y="238459"/>
                        <a:pt x="67427" y="230477"/>
                        <a:pt x="68361" y="220686"/>
                      </a:cubicBezTo>
                      <a:cubicBezTo>
                        <a:pt x="69351" y="210389"/>
                        <a:pt x="71599" y="202722"/>
                        <a:pt x="66208" y="193368"/>
                      </a:cubicBezTo>
                      <a:cubicBezTo>
                        <a:pt x="61246" y="184748"/>
                        <a:pt x="54797" y="176023"/>
                        <a:pt x="52121" y="166079"/>
                      </a:cubicBezTo>
                      <a:cubicBezTo>
                        <a:pt x="50720" y="160859"/>
                        <a:pt x="42300" y="142438"/>
                        <a:pt x="48339" y="139752"/>
                      </a:cubicBezTo>
                      <a:cubicBezTo>
                        <a:pt x="47663" y="140961"/>
                        <a:pt x="47454" y="142133"/>
                        <a:pt x="47044" y="143133"/>
                      </a:cubicBezTo>
                      <a:cubicBezTo>
                        <a:pt x="52664" y="137313"/>
                        <a:pt x="57645" y="134418"/>
                        <a:pt x="57150" y="126207"/>
                      </a:cubicBezTo>
                      <a:cubicBezTo>
                        <a:pt x="56674" y="118473"/>
                        <a:pt x="52016" y="111768"/>
                        <a:pt x="48844" y="104471"/>
                      </a:cubicBezTo>
                      <a:cubicBezTo>
                        <a:pt x="45958" y="97832"/>
                        <a:pt x="43224" y="91089"/>
                        <a:pt x="41529" y="84116"/>
                      </a:cubicBezTo>
                      <a:cubicBezTo>
                        <a:pt x="39557" y="76001"/>
                        <a:pt x="34404" y="71686"/>
                        <a:pt x="30232" y="64390"/>
                      </a:cubicBezTo>
                      <a:cubicBezTo>
                        <a:pt x="28927" y="62123"/>
                        <a:pt x="25889" y="56941"/>
                        <a:pt x="25727" y="54322"/>
                      </a:cubicBezTo>
                      <a:cubicBezTo>
                        <a:pt x="25498" y="50179"/>
                        <a:pt x="23431" y="53646"/>
                        <a:pt x="27651" y="50950"/>
                      </a:cubicBezTo>
                      <a:cubicBezTo>
                        <a:pt x="31918" y="48216"/>
                        <a:pt x="42024" y="47169"/>
                        <a:pt x="47082" y="45502"/>
                      </a:cubicBezTo>
                      <a:cubicBezTo>
                        <a:pt x="57083" y="42263"/>
                        <a:pt x="73266" y="42854"/>
                        <a:pt x="84239" y="44550"/>
                      </a:cubicBezTo>
                      <a:lnTo>
                        <a:pt x="84239" y="44550"/>
                      </a:lnTo>
                      <a:close/>
                      <a:moveTo>
                        <a:pt x="23469" y="40482"/>
                      </a:moveTo>
                      <a:cubicBezTo>
                        <a:pt x="19955" y="40435"/>
                        <a:pt x="21117" y="28014"/>
                        <a:pt x="19631" y="24214"/>
                      </a:cubicBezTo>
                      <a:cubicBezTo>
                        <a:pt x="16878" y="17194"/>
                        <a:pt x="16212" y="15860"/>
                        <a:pt x="22165" y="9983"/>
                      </a:cubicBezTo>
                      <a:cubicBezTo>
                        <a:pt x="22927" y="9231"/>
                        <a:pt x="25222" y="9497"/>
                        <a:pt x="26356" y="8593"/>
                      </a:cubicBezTo>
                      <a:cubicBezTo>
                        <a:pt x="27108" y="8002"/>
                        <a:pt x="27051" y="5945"/>
                        <a:pt x="27718" y="5564"/>
                      </a:cubicBezTo>
                      <a:cubicBezTo>
                        <a:pt x="29899" y="4306"/>
                        <a:pt x="33338" y="3382"/>
                        <a:pt x="35985" y="2192"/>
                      </a:cubicBezTo>
                      <a:cubicBezTo>
                        <a:pt x="44948" y="-1856"/>
                        <a:pt x="41557" y="-28"/>
                        <a:pt x="49520" y="5468"/>
                      </a:cubicBezTo>
                      <a:cubicBezTo>
                        <a:pt x="44377" y="8564"/>
                        <a:pt x="32004" y="13907"/>
                        <a:pt x="29899" y="19823"/>
                      </a:cubicBezTo>
                      <a:cubicBezTo>
                        <a:pt x="29966" y="19623"/>
                        <a:pt x="32042" y="21890"/>
                        <a:pt x="32032" y="22566"/>
                      </a:cubicBezTo>
                      <a:cubicBezTo>
                        <a:pt x="32004" y="25461"/>
                        <a:pt x="31947" y="28338"/>
                        <a:pt x="31813" y="31224"/>
                      </a:cubicBezTo>
                      <a:cubicBezTo>
                        <a:pt x="31394" y="39997"/>
                        <a:pt x="31480" y="39130"/>
                        <a:pt x="23469" y="40482"/>
                      </a:cubicBezTo>
                      <a:lnTo>
                        <a:pt x="23469" y="40482"/>
                      </a:lnTo>
                      <a:close/>
                    </a:path>
                  </a:pathLst>
                </a:custGeom>
                <a:solidFill>
                  <a:srgbClr val="D6D6D2"/>
                </a:solidFill>
                <a:ln w="7144" cap="flat">
                  <a:solidFill>
                    <a:srgbClr val="FFFFFF"/>
                  </a:solidFill>
                  <a:prstDash val="solid"/>
                  <a:miter/>
                </a:ln>
              </p:spPr>
              <p:txBody>
                <a:bodyPr rtlCol="0" anchor="ctr"/>
                <a:lstStyle/>
                <a:p>
                  <a:endParaRPr lang="en-US"/>
                </a:p>
              </p:txBody>
            </p:sp>
            <p:sp>
              <p:nvSpPr>
                <p:cNvPr id="700" name="Freeform: Shape 699">
                  <a:extLst>
                    <a:ext uri="{FF2B5EF4-FFF2-40B4-BE49-F238E27FC236}">
                      <a16:creationId xmlns:a16="http://schemas.microsoft.com/office/drawing/2014/main" id="{0E11C92C-8CDE-42C1-95AD-B07ADD21DEF1}"/>
                    </a:ext>
                  </a:extLst>
                </p:cNvPr>
                <p:cNvSpPr/>
                <p:nvPr/>
              </p:nvSpPr>
              <p:spPr>
                <a:xfrm>
                  <a:off x="7336014" y="3153887"/>
                  <a:ext cx="376254" cy="285266"/>
                </a:xfrm>
                <a:custGeom>
                  <a:avLst/>
                  <a:gdLst>
                    <a:gd name="connsiteX0" fmla="*/ 376254 w 376254"/>
                    <a:gd name="connsiteY0" fmla="*/ 38205 h 285266"/>
                    <a:gd name="connsiteX1" fmla="*/ 362490 w 376254"/>
                    <a:gd name="connsiteY1" fmla="*/ 40538 h 285266"/>
                    <a:gd name="connsiteX2" fmla="*/ 368948 w 376254"/>
                    <a:gd name="connsiteY2" fmla="*/ 44806 h 285266"/>
                    <a:gd name="connsiteX3" fmla="*/ 352518 w 376254"/>
                    <a:gd name="connsiteY3" fmla="*/ 49978 h 285266"/>
                    <a:gd name="connsiteX4" fmla="*/ 333344 w 376254"/>
                    <a:gd name="connsiteY4" fmla="*/ 49492 h 285266"/>
                    <a:gd name="connsiteX5" fmla="*/ 314655 w 376254"/>
                    <a:gd name="connsiteY5" fmla="*/ 51740 h 285266"/>
                    <a:gd name="connsiteX6" fmla="*/ 299920 w 376254"/>
                    <a:gd name="connsiteY6" fmla="*/ 60550 h 285266"/>
                    <a:gd name="connsiteX7" fmla="*/ 288176 w 376254"/>
                    <a:gd name="connsiteY7" fmla="*/ 70618 h 285266"/>
                    <a:gd name="connsiteX8" fmla="*/ 294282 w 376254"/>
                    <a:gd name="connsiteY8" fmla="*/ 81867 h 285266"/>
                    <a:gd name="connsiteX9" fmla="*/ 304245 w 376254"/>
                    <a:gd name="connsiteY9" fmla="*/ 96241 h 285266"/>
                    <a:gd name="connsiteX10" fmla="*/ 307388 w 376254"/>
                    <a:gd name="connsiteY10" fmla="*/ 103756 h 285266"/>
                    <a:gd name="connsiteX11" fmla="*/ 299711 w 376254"/>
                    <a:gd name="connsiteY11" fmla="*/ 116986 h 285266"/>
                    <a:gd name="connsiteX12" fmla="*/ 301606 w 376254"/>
                    <a:gd name="connsiteY12" fmla="*/ 128378 h 285266"/>
                    <a:gd name="connsiteX13" fmla="*/ 276318 w 376254"/>
                    <a:gd name="connsiteY13" fmla="*/ 139246 h 285266"/>
                    <a:gd name="connsiteX14" fmla="*/ 279594 w 376254"/>
                    <a:gd name="connsiteY14" fmla="*/ 149638 h 285266"/>
                    <a:gd name="connsiteX15" fmla="*/ 285804 w 376254"/>
                    <a:gd name="connsiteY15" fmla="*/ 164887 h 285266"/>
                    <a:gd name="connsiteX16" fmla="*/ 270184 w 376254"/>
                    <a:gd name="connsiteY16" fmla="*/ 171812 h 285266"/>
                    <a:gd name="connsiteX17" fmla="*/ 270593 w 376254"/>
                    <a:gd name="connsiteY17" fmla="*/ 180861 h 285266"/>
                    <a:gd name="connsiteX18" fmla="*/ 268745 w 376254"/>
                    <a:gd name="connsiteY18" fmla="*/ 189814 h 285266"/>
                    <a:gd name="connsiteX19" fmla="*/ 270365 w 376254"/>
                    <a:gd name="connsiteY19" fmla="*/ 211817 h 285266"/>
                    <a:gd name="connsiteX20" fmla="*/ 260544 w 376254"/>
                    <a:gd name="connsiteY20" fmla="*/ 212217 h 285266"/>
                    <a:gd name="connsiteX21" fmla="*/ 256839 w 376254"/>
                    <a:gd name="connsiteY21" fmla="*/ 209540 h 285266"/>
                    <a:gd name="connsiteX22" fmla="*/ 252648 w 376254"/>
                    <a:gd name="connsiteY22" fmla="*/ 210445 h 285266"/>
                    <a:gd name="connsiteX23" fmla="*/ 238989 w 376254"/>
                    <a:gd name="connsiteY23" fmla="*/ 214094 h 285266"/>
                    <a:gd name="connsiteX24" fmla="*/ 229436 w 376254"/>
                    <a:gd name="connsiteY24" fmla="*/ 218561 h 285266"/>
                    <a:gd name="connsiteX25" fmla="*/ 235617 w 376254"/>
                    <a:gd name="connsiteY25" fmla="*/ 223676 h 285266"/>
                    <a:gd name="connsiteX26" fmla="*/ 227121 w 376254"/>
                    <a:gd name="connsiteY26" fmla="*/ 227276 h 285266"/>
                    <a:gd name="connsiteX27" fmla="*/ 215253 w 376254"/>
                    <a:gd name="connsiteY27" fmla="*/ 225066 h 285266"/>
                    <a:gd name="connsiteX28" fmla="*/ 206385 w 376254"/>
                    <a:gd name="connsiteY28" fmla="*/ 231791 h 285266"/>
                    <a:gd name="connsiteX29" fmla="*/ 201747 w 376254"/>
                    <a:gd name="connsiteY29" fmla="*/ 236458 h 285266"/>
                    <a:gd name="connsiteX30" fmla="*/ 203699 w 376254"/>
                    <a:gd name="connsiteY30" fmla="*/ 258899 h 285266"/>
                    <a:gd name="connsiteX31" fmla="*/ 198593 w 376254"/>
                    <a:gd name="connsiteY31" fmla="*/ 272834 h 285266"/>
                    <a:gd name="connsiteX32" fmla="*/ 175210 w 376254"/>
                    <a:gd name="connsiteY32" fmla="*/ 279749 h 285266"/>
                    <a:gd name="connsiteX33" fmla="*/ 153655 w 376254"/>
                    <a:gd name="connsiteY33" fmla="*/ 280511 h 285266"/>
                    <a:gd name="connsiteX34" fmla="*/ 146711 w 376254"/>
                    <a:gd name="connsiteY34" fmla="*/ 285160 h 285266"/>
                    <a:gd name="connsiteX35" fmla="*/ 133128 w 376254"/>
                    <a:gd name="connsiteY35" fmla="*/ 282340 h 285266"/>
                    <a:gd name="connsiteX36" fmla="*/ 103734 w 376254"/>
                    <a:gd name="connsiteY36" fmla="*/ 284226 h 285266"/>
                    <a:gd name="connsiteX37" fmla="*/ 46927 w 376254"/>
                    <a:gd name="connsiteY37" fmla="*/ 270481 h 285266"/>
                    <a:gd name="connsiteX38" fmla="*/ 65186 w 376254"/>
                    <a:gd name="connsiteY38" fmla="*/ 232896 h 285266"/>
                    <a:gd name="connsiteX39" fmla="*/ 49880 w 376254"/>
                    <a:gd name="connsiteY39" fmla="*/ 221437 h 285266"/>
                    <a:gd name="connsiteX40" fmla="*/ 32554 w 376254"/>
                    <a:gd name="connsiteY40" fmla="*/ 219037 h 285266"/>
                    <a:gd name="connsiteX41" fmla="*/ 27096 w 376254"/>
                    <a:gd name="connsiteY41" fmla="*/ 203425 h 285266"/>
                    <a:gd name="connsiteX42" fmla="*/ 19581 w 376254"/>
                    <a:gd name="connsiteY42" fmla="*/ 184595 h 285266"/>
                    <a:gd name="connsiteX43" fmla="*/ 10856 w 376254"/>
                    <a:gd name="connsiteY43" fmla="*/ 169678 h 285266"/>
                    <a:gd name="connsiteX44" fmla="*/ 16875 w 376254"/>
                    <a:gd name="connsiteY44" fmla="*/ 155343 h 285266"/>
                    <a:gd name="connsiteX45" fmla="*/ 7646 w 376254"/>
                    <a:gd name="connsiteY45" fmla="*/ 153429 h 285266"/>
                    <a:gd name="connsiteX46" fmla="*/ 2665 w 376254"/>
                    <a:gd name="connsiteY46" fmla="*/ 146066 h 285266"/>
                    <a:gd name="connsiteX47" fmla="*/ 8636 w 376254"/>
                    <a:gd name="connsiteY47" fmla="*/ 129969 h 285266"/>
                    <a:gd name="connsiteX48" fmla="*/ 2598 w 376254"/>
                    <a:gd name="connsiteY48" fmla="*/ 124530 h 285266"/>
                    <a:gd name="connsiteX49" fmla="*/ 4817 w 376254"/>
                    <a:gd name="connsiteY49" fmla="*/ 121520 h 285266"/>
                    <a:gd name="connsiteX50" fmla="*/ 8084 w 376254"/>
                    <a:gd name="connsiteY50" fmla="*/ 110995 h 285266"/>
                    <a:gd name="connsiteX51" fmla="*/ 6531 w 376254"/>
                    <a:gd name="connsiteY51" fmla="*/ 99431 h 285266"/>
                    <a:gd name="connsiteX52" fmla="*/ 6798 w 376254"/>
                    <a:gd name="connsiteY52" fmla="*/ 89021 h 285266"/>
                    <a:gd name="connsiteX53" fmla="*/ 18247 w 376254"/>
                    <a:gd name="connsiteY53" fmla="*/ 94707 h 285266"/>
                    <a:gd name="connsiteX54" fmla="*/ 32820 w 376254"/>
                    <a:gd name="connsiteY54" fmla="*/ 96593 h 285266"/>
                    <a:gd name="connsiteX55" fmla="*/ 41955 w 376254"/>
                    <a:gd name="connsiteY55" fmla="*/ 102222 h 285266"/>
                    <a:gd name="connsiteX56" fmla="*/ 51966 w 376254"/>
                    <a:gd name="connsiteY56" fmla="*/ 99965 h 285266"/>
                    <a:gd name="connsiteX57" fmla="*/ 59348 w 376254"/>
                    <a:gd name="connsiteY57" fmla="*/ 90630 h 285266"/>
                    <a:gd name="connsiteX58" fmla="*/ 60157 w 376254"/>
                    <a:gd name="connsiteY58" fmla="*/ 86373 h 285266"/>
                    <a:gd name="connsiteX59" fmla="*/ 57643 w 376254"/>
                    <a:gd name="connsiteY59" fmla="*/ 82315 h 285266"/>
                    <a:gd name="connsiteX60" fmla="*/ 69330 w 376254"/>
                    <a:gd name="connsiteY60" fmla="*/ 79324 h 285266"/>
                    <a:gd name="connsiteX61" fmla="*/ 82036 w 376254"/>
                    <a:gd name="connsiteY61" fmla="*/ 76267 h 285266"/>
                    <a:gd name="connsiteX62" fmla="*/ 84227 w 376254"/>
                    <a:gd name="connsiteY62" fmla="*/ 72657 h 285266"/>
                    <a:gd name="connsiteX63" fmla="*/ 90485 w 376254"/>
                    <a:gd name="connsiteY63" fmla="*/ 68142 h 285266"/>
                    <a:gd name="connsiteX64" fmla="*/ 92333 w 376254"/>
                    <a:gd name="connsiteY64" fmla="*/ 52349 h 285266"/>
                    <a:gd name="connsiteX65" fmla="*/ 95467 w 376254"/>
                    <a:gd name="connsiteY65" fmla="*/ 39443 h 285266"/>
                    <a:gd name="connsiteX66" fmla="*/ 111859 w 376254"/>
                    <a:gd name="connsiteY66" fmla="*/ 37652 h 285266"/>
                    <a:gd name="connsiteX67" fmla="*/ 114317 w 376254"/>
                    <a:gd name="connsiteY67" fmla="*/ 27632 h 285266"/>
                    <a:gd name="connsiteX68" fmla="*/ 130547 w 376254"/>
                    <a:gd name="connsiteY68" fmla="*/ 33442 h 285266"/>
                    <a:gd name="connsiteX69" fmla="*/ 143625 w 376254"/>
                    <a:gd name="connsiteY69" fmla="*/ 34119 h 285266"/>
                    <a:gd name="connsiteX70" fmla="*/ 158484 w 376254"/>
                    <a:gd name="connsiteY70" fmla="*/ 38129 h 285266"/>
                    <a:gd name="connsiteX71" fmla="*/ 169818 w 376254"/>
                    <a:gd name="connsiteY71" fmla="*/ 38424 h 285266"/>
                    <a:gd name="connsiteX72" fmla="*/ 178477 w 376254"/>
                    <a:gd name="connsiteY72" fmla="*/ 43529 h 285266"/>
                    <a:gd name="connsiteX73" fmla="*/ 199375 w 376254"/>
                    <a:gd name="connsiteY73" fmla="*/ 38481 h 285266"/>
                    <a:gd name="connsiteX74" fmla="*/ 204175 w 376254"/>
                    <a:gd name="connsiteY74" fmla="*/ 36014 h 285266"/>
                    <a:gd name="connsiteX75" fmla="*/ 214748 w 376254"/>
                    <a:gd name="connsiteY75" fmla="*/ 40015 h 285266"/>
                    <a:gd name="connsiteX76" fmla="*/ 223892 w 376254"/>
                    <a:gd name="connsiteY76" fmla="*/ 26784 h 285266"/>
                    <a:gd name="connsiteX77" fmla="*/ 237065 w 376254"/>
                    <a:gd name="connsiteY77" fmla="*/ 28423 h 285266"/>
                    <a:gd name="connsiteX78" fmla="*/ 235770 w 376254"/>
                    <a:gd name="connsiteY78" fmla="*/ 16707 h 285266"/>
                    <a:gd name="connsiteX79" fmla="*/ 241904 w 376254"/>
                    <a:gd name="connsiteY79" fmla="*/ 4648 h 285266"/>
                    <a:gd name="connsiteX80" fmla="*/ 253410 w 376254"/>
                    <a:gd name="connsiteY80" fmla="*/ 905 h 285266"/>
                    <a:gd name="connsiteX81" fmla="*/ 264431 w 376254"/>
                    <a:gd name="connsiteY81" fmla="*/ 10030 h 285266"/>
                    <a:gd name="connsiteX82" fmla="*/ 266478 w 376254"/>
                    <a:gd name="connsiteY82" fmla="*/ 16897 h 285266"/>
                    <a:gd name="connsiteX83" fmla="*/ 272470 w 376254"/>
                    <a:gd name="connsiteY83" fmla="*/ 16154 h 285266"/>
                    <a:gd name="connsiteX84" fmla="*/ 279633 w 376254"/>
                    <a:gd name="connsiteY84" fmla="*/ 41538 h 285266"/>
                    <a:gd name="connsiteX85" fmla="*/ 291329 w 376254"/>
                    <a:gd name="connsiteY85" fmla="*/ 55093 h 285266"/>
                    <a:gd name="connsiteX86" fmla="*/ 303492 w 376254"/>
                    <a:gd name="connsiteY86" fmla="*/ 48273 h 285266"/>
                    <a:gd name="connsiteX87" fmla="*/ 312703 w 376254"/>
                    <a:gd name="connsiteY87" fmla="*/ 45149 h 285266"/>
                    <a:gd name="connsiteX88" fmla="*/ 317266 w 376254"/>
                    <a:gd name="connsiteY88" fmla="*/ 39329 h 285266"/>
                    <a:gd name="connsiteX89" fmla="*/ 333363 w 376254"/>
                    <a:gd name="connsiteY89" fmla="*/ 30690 h 285266"/>
                    <a:gd name="connsiteX90" fmla="*/ 341754 w 376254"/>
                    <a:gd name="connsiteY90" fmla="*/ 35176 h 285266"/>
                    <a:gd name="connsiteX91" fmla="*/ 341183 w 376254"/>
                    <a:gd name="connsiteY91" fmla="*/ 38024 h 285266"/>
                    <a:gd name="connsiteX92" fmla="*/ 350498 w 376254"/>
                    <a:gd name="connsiteY92" fmla="*/ 36119 h 285266"/>
                    <a:gd name="connsiteX93" fmla="*/ 376254 w 376254"/>
                    <a:gd name="connsiteY93" fmla="*/ 38205 h 285266"/>
                    <a:gd name="connsiteX94" fmla="*/ 376254 w 376254"/>
                    <a:gd name="connsiteY94" fmla="*/ 38205 h 285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76254" h="285266">
                      <a:moveTo>
                        <a:pt x="376254" y="38205"/>
                      </a:moveTo>
                      <a:cubicBezTo>
                        <a:pt x="370101" y="37357"/>
                        <a:pt x="368872" y="36243"/>
                        <a:pt x="362490" y="40538"/>
                      </a:cubicBezTo>
                      <a:cubicBezTo>
                        <a:pt x="364376" y="42139"/>
                        <a:pt x="366786" y="43386"/>
                        <a:pt x="368948" y="44806"/>
                      </a:cubicBezTo>
                      <a:cubicBezTo>
                        <a:pt x="362433" y="47768"/>
                        <a:pt x="359147" y="50454"/>
                        <a:pt x="352518" y="49978"/>
                      </a:cubicBezTo>
                      <a:cubicBezTo>
                        <a:pt x="346098" y="49521"/>
                        <a:pt x="339945" y="48987"/>
                        <a:pt x="333344" y="49492"/>
                      </a:cubicBezTo>
                      <a:cubicBezTo>
                        <a:pt x="327134" y="49968"/>
                        <a:pt x="320628" y="50282"/>
                        <a:pt x="314655" y="51740"/>
                      </a:cubicBezTo>
                      <a:cubicBezTo>
                        <a:pt x="307665" y="53445"/>
                        <a:pt x="305416" y="56540"/>
                        <a:pt x="299920" y="60550"/>
                      </a:cubicBezTo>
                      <a:cubicBezTo>
                        <a:pt x="295053" y="64103"/>
                        <a:pt x="291681" y="64294"/>
                        <a:pt x="288176" y="70618"/>
                      </a:cubicBezTo>
                      <a:cubicBezTo>
                        <a:pt x="283947" y="78277"/>
                        <a:pt x="288538" y="76267"/>
                        <a:pt x="294282" y="81867"/>
                      </a:cubicBezTo>
                      <a:cubicBezTo>
                        <a:pt x="298377" y="85868"/>
                        <a:pt x="301892" y="91545"/>
                        <a:pt x="304245" y="96241"/>
                      </a:cubicBezTo>
                      <a:cubicBezTo>
                        <a:pt x="304874" y="97507"/>
                        <a:pt x="307217" y="102156"/>
                        <a:pt x="307388" y="103756"/>
                      </a:cubicBezTo>
                      <a:cubicBezTo>
                        <a:pt x="307807" y="107794"/>
                        <a:pt x="301588" y="113519"/>
                        <a:pt x="299711" y="116986"/>
                      </a:cubicBezTo>
                      <a:cubicBezTo>
                        <a:pt x="295453" y="124844"/>
                        <a:pt x="297482" y="122120"/>
                        <a:pt x="301606" y="128378"/>
                      </a:cubicBezTo>
                      <a:cubicBezTo>
                        <a:pt x="313360" y="146199"/>
                        <a:pt x="284014" y="139513"/>
                        <a:pt x="276318" y="139246"/>
                      </a:cubicBezTo>
                      <a:cubicBezTo>
                        <a:pt x="265202" y="138856"/>
                        <a:pt x="275413" y="145780"/>
                        <a:pt x="279594" y="149638"/>
                      </a:cubicBezTo>
                      <a:cubicBezTo>
                        <a:pt x="284928" y="154572"/>
                        <a:pt x="291757" y="159458"/>
                        <a:pt x="285804" y="164887"/>
                      </a:cubicBezTo>
                      <a:cubicBezTo>
                        <a:pt x="281204" y="169088"/>
                        <a:pt x="272765" y="166735"/>
                        <a:pt x="270184" y="171812"/>
                      </a:cubicBezTo>
                      <a:cubicBezTo>
                        <a:pt x="269126" y="173907"/>
                        <a:pt x="270860" y="178727"/>
                        <a:pt x="270593" y="180861"/>
                      </a:cubicBezTo>
                      <a:cubicBezTo>
                        <a:pt x="270202" y="183947"/>
                        <a:pt x="268555" y="186728"/>
                        <a:pt x="268745" y="189814"/>
                      </a:cubicBezTo>
                      <a:cubicBezTo>
                        <a:pt x="269231" y="198082"/>
                        <a:pt x="279223" y="204416"/>
                        <a:pt x="270365" y="211817"/>
                      </a:cubicBezTo>
                      <a:cubicBezTo>
                        <a:pt x="266193" y="215294"/>
                        <a:pt x="264868" y="214113"/>
                        <a:pt x="260544" y="212217"/>
                      </a:cubicBezTo>
                      <a:cubicBezTo>
                        <a:pt x="259163" y="211627"/>
                        <a:pt x="258477" y="209960"/>
                        <a:pt x="256839" y="209540"/>
                      </a:cubicBezTo>
                      <a:cubicBezTo>
                        <a:pt x="254943" y="209055"/>
                        <a:pt x="253991" y="210560"/>
                        <a:pt x="252648" y="210445"/>
                      </a:cubicBezTo>
                      <a:cubicBezTo>
                        <a:pt x="244342" y="209693"/>
                        <a:pt x="245333" y="209293"/>
                        <a:pt x="238989" y="214094"/>
                      </a:cubicBezTo>
                      <a:cubicBezTo>
                        <a:pt x="237713" y="215056"/>
                        <a:pt x="229550" y="217761"/>
                        <a:pt x="229436" y="218561"/>
                      </a:cubicBezTo>
                      <a:cubicBezTo>
                        <a:pt x="229160" y="220637"/>
                        <a:pt x="234598" y="222618"/>
                        <a:pt x="235617" y="223676"/>
                      </a:cubicBezTo>
                      <a:cubicBezTo>
                        <a:pt x="232998" y="225400"/>
                        <a:pt x="230236" y="226724"/>
                        <a:pt x="227121" y="227276"/>
                      </a:cubicBezTo>
                      <a:cubicBezTo>
                        <a:pt x="222425" y="228114"/>
                        <a:pt x="219025" y="225066"/>
                        <a:pt x="215253" y="225066"/>
                      </a:cubicBezTo>
                      <a:cubicBezTo>
                        <a:pt x="209109" y="225066"/>
                        <a:pt x="209538" y="227781"/>
                        <a:pt x="206385" y="231791"/>
                      </a:cubicBezTo>
                      <a:cubicBezTo>
                        <a:pt x="205395" y="233048"/>
                        <a:pt x="202347" y="235382"/>
                        <a:pt x="201747" y="236458"/>
                      </a:cubicBezTo>
                      <a:cubicBezTo>
                        <a:pt x="197784" y="243430"/>
                        <a:pt x="202127" y="251365"/>
                        <a:pt x="203699" y="258899"/>
                      </a:cubicBezTo>
                      <a:cubicBezTo>
                        <a:pt x="205471" y="267367"/>
                        <a:pt x="208700" y="269481"/>
                        <a:pt x="198593" y="272834"/>
                      </a:cubicBezTo>
                      <a:cubicBezTo>
                        <a:pt x="191231" y="275272"/>
                        <a:pt x="182897" y="278578"/>
                        <a:pt x="175210" y="279749"/>
                      </a:cubicBezTo>
                      <a:cubicBezTo>
                        <a:pt x="168114" y="280835"/>
                        <a:pt x="160694" y="278340"/>
                        <a:pt x="153655" y="280511"/>
                      </a:cubicBezTo>
                      <a:cubicBezTo>
                        <a:pt x="151207" y="281264"/>
                        <a:pt x="148387" y="284740"/>
                        <a:pt x="146711" y="285160"/>
                      </a:cubicBezTo>
                      <a:cubicBezTo>
                        <a:pt x="143748" y="285893"/>
                        <a:pt x="136176" y="282616"/>
                        <a:pt x="133128" y="282340"/>
                      </a:cubicBezTo>
                      <a:cubicBezTo>
                        <a:pt x="123403" y="281454"/>
                        <a:pt x="113507" y="283655"/>
                        <a:pt x="103734" y="284226"/>
                      </a:cubicBezTo>
                      <a:cubicBezTo>
                        <a:pt x="85561" y="285274"/>
                        <a:pt x="64463" y="275444"/>
                        <a:pt x="46927" y="270481"/>
                      </a:cubicBezTo>
                      <a:cubicBezTo>
                        <a:pt x="52899" y="261052"/>
                        <a:pt x="68939" y="244230"/>
                        <a:pt x="65186" y="232896"/>
                      </a:cubicBezTo>
                      <a:cubicBezTo>
                        <a:pt x="62367" y="224380"/>
                        <a:pt x="58090" y="222523"/>
                        <a:pt x="49880" y="221437"/>
                      </a:cubicBezTo>
                      <a:cubicBezTo>
                        <a:pt x="45879" y="220913"/>
                        <a:pt x="35535" y="221475"/>
                        <a:pt x="32554" y="219037"/>
                      </a:cubicBezTo>
                      <a:cubicBezTo>
                        <a:pt x="29554" y="216579"/>
                        <a:pt x="27925" y="207159"/>
                        <a:pt x="27096" y="203425"/>
                      </a:cubicBezTo>
                      <a:cubicBezTo>
                        <a:pt x="25391" y="195729"/>
                        <a:pt x="23801" y="191653"/>
                        <a:pt x="19581" y="184595"/>
                      </a:cubicBezTo>
                      <a:cubicBezTo>
                        <a:pt x="17076" y="180404"/>
                        <a:pt x="11723" y="174460"/>
                        <a:pt x="10856" y="169678"/>
                      </a:cubicBezTo>
                      <a:cubicBezTo>
                        <a:pt x="10027" y="165125"/>
                        <a:pt x="17781" y="158029"/>
                        <a:pt x="16875" y="155343"/>
                      </a:cubicBezTo>
                      <a:cubicBezTo>
                        <a:pt x="16066" y="152914"/>
                        <a:pt x="9665" y="154276"/>
                        <a:pt x="7646" y="153429"/>
                      </a:cubicBezTo>
                      <a:cubicBezTo>
                        <a:pt x="3093" y="151514"/>
                        <a:pt x="4026" y="149885"/>
                        <a:pt x="2665" y="146066"/>
                      </a:cubicBezTo>
                      <a:cubicBezTo>
                        <a:pt x="-555" y="137074"/>
                        <a:pt x="-2994" y="130607"/>
                        <a:pt x="8636" y="129969"/>
                      </a:cubicBezTo>
                      <a:cubicBezTo>
                        <a:pt x="7817" y="129264"/>
                        <a:pt x="2788" y="125635"/>
                        <a:pt x="2598" y="124530"/>
                      </a:cubicBezTo>
                      <a:cubicBezTo>
                        <a:pt x="2102" y="121587"/>
                        <a:pt x="3998" y="123911"/>
                        <a:pt x="4817" y="121520"/>
                      </a:cubicBezTo>
                      <a:cubicBezTo>
                        <a:pt x="6189" y="117538"/>
                        <a:pt x="7751" y="115643"/>
                        <a:pt x="8084" y="110995"/>
                      </a:cubicBezTo>
                      <a:cubicBezTo>
                        <a:pt x="8417" y="106413"/>
                        <a:pt x="6636" y="102565"/>
                        <a:pt x="6531" y="99431"/>
                      </a:cubicBezTo>
                      <a:cubicBezTo>
                        <a:pt x="6427" y="96450"/>
                        <a:pt x="9503" y="92735"/>
                        <a:pt x="6798" y="89021"/>
                      </a:cubicBezTo>
                      <a:cubicBezTo>
                        <a:pt x="11141" y="88811"/>
                        <a:pt x="13809" y="93488"/>
                        <a:pt x="18247" y="94707"/>
                      </a:cubicBezTo>
                      <a:cubicBezTo>
                        <a:pt x="23962" y="96269"/>
                        <a:pt x="27353" y="93974"/>
                        <a:pt x="32820" y="96593"/>
                      </a:cubicBezTo>
                      <a:cubicBezTo>
                        <a:pt x="36802" y="98508"/>
                        <a:pt x="39097" y="101803"/>
                        <a:pt x="41955" y="102222"/>
                      </a:cubicBezTo>
                      <a:cubicBezTo>
                        <a:pt x="43460" y="102441"/>
                        <a:pt x="49861" y="100775"/>
                        <a:pt x="51966" y="99965"/>
                      </a:cubicBezTo>
                      <a:cubicBezTo>
                        <a:pt x="57280" y="97926"/>
                        <a:pt x="58671" y="95031"/>
                        <a:pt x="59348" y="90630"/>
                      </a:cubicBezTo>
                      <a:cubicBezTo>
                        <a:pt x="59624" y="88802"/>
                        <a:pt x="60224" y="87792"/>
                        <a:pt x="60157" y="86373"/>
                      </a:cubicBezTo>
                      <a:cubicBezTo>
                        <a:pt x="60100" y="85135"/>
                        <a:pt x="57014" y="83696"/>
                        <a:pt x="57643" y="82315"/>
                      </a:cubicBezTo>
                      <a:cubicBezTo>
                        <a:pt x="58262" y="80943"/>
                        <a:pt x="67454" y="79953"/>
                        <a:pt x="69330" y="79324"/>
                      </a:cubicBezTo>
                      <a:cubicBezTo>
                        <a:pt x="72692" y="78191"/>
                        <a:pt x="79322" y="77791"/>
                        <a:pt x="82036" y="76267"/>
                      </a:cubicBezTo>
                      <a:cubicBezTo>
                        <a:pt x="81722" y="76448"/>
                        <a:pt x="83636" y="73123"/>
                        <a:pt x="84227" y="72657"/>
                      </a:cubicBezTo>
                      <a:cubicBezTo>
                        <a:pt x="86332" y="70980"/>
                        <a:pt x="88837" y="70390"/>
                        <a:pt x="90485" y="68142"/>
                      </a:cubicBezTo>
                      <a:cubicBezTo>
                        <a:pt x="93685" y="63760"/>
                        <a:pt x="92409" y="57702"/>
                        <a:pt x="92333" y="52349"/>
                      </a:cubicBezTo>
                      <a:cubicBezTo>
                        <a:pt x="92256" y="46663"/>
                        <a:pt x="90666" y="42653"/>
                        <a:pt x="95467" y="39443"/>
                      </a:cubicBezTo>
                      <a:cubicBezTo>
                        <a:pt x="99419" y="36795"/>
                        <a:pt x="109220" y="40215"/>
                        <a:pt x="111859" y="37652"/>
                      </a:cubicBezTo>
                      <a:cubicBezTo>
                        <a:pt x="114174" y="35395"/>
                        <a:pt x="109839" y="29451"/>
                        <a:pt x="114317" y="27632"/>
                      </a:cubicBezTo>
                      <a:cubicBezTo>
                        <a:pt x="116450" y="26765"/>
                        <a:pt x="127490" y="32766"/>
                        <a:pt x="130547" y="33442"/>
                      </a:cubicBezTo>
                      <a:cubicBezTo>
                        <a:pt x="135281" y="34480"/>
                        <a:pt x="138814" y="34204"/>
                        <a:pt x="143625" y="34119"/>
                      </a:cubicBezTo>
                      <a:cubicBezTo>
                        <a:pt x="150073" y="34004"/>
                        <a:pt x="152893" y="36738"/>
                        <a:pt x="158484" y="38129"/>
                      </a:cubicBezTo>
                      <a:cubicBezTo>
                        <a:pt x="162798" y="39205"/>
                        <a:pt x="165627" y="37529"/>
                        <a:pt x="169818" y="38424"/>
                      </a:cubicBezTo>
                      <a:cubicBezTo>
                        <a:pt x="175105" y="39557"/>
                        <a:pt x="174200" y="40376"/>
                        <a:pt x="178477" y="43529"/>
                      </a:cubicBezTo>
                      <a:cubicBezTo>
                        <a:pt x="188125" y="50654"/>
                        <a:pt x="191231" y="42367"/>
                        <a:pt x="199375" y="38481"/>
                      </a:cubicBezTo>
                      <a:cubicBezTo>
                        <a:pt x="200337" y="38024"/>
                        <a:pt x="203833" y="36071"/>
                        <a:pt x="204175" y="36014"/>
                      </a:cubicBezTo>
                      <a:cubicBezTo>
                        <a:pt x="209024" y="35262"/>
                        <a:pt x="209995" y="38262"/>
                        <a:pt x="214748" y="40015"/>
                      </a:cubicBezTo>
                      <a:cubicBezTo>
                        <a:pt x="227674" y="44806"/>
                        <a:pt x="213062" y="30137"/>
                        <a:pt x="223892" y="26784"/>
                      </a:cubicBezTo>
                      <a:cubicBezTo>
                        <a:pt x="228407" y="25384"/>
                        <a:pt x="233693" y="29689"/>
                        <a:pt x="237065" y="28423"/>
                      </a:cubicBezTo>
                      <a:cubicBezTo>
                        <a:pt x="244238" y="25727"/>
                        <a:pt x="235541" y="20098"/>
                        <a:pt x="235770" y="16707"/>
                      </a:cubicBezTo>
                      <a:cubicBezTo>
                        <a:pt x="235817" y="16059"/>
                        <a:pt x="241190" y="5810"/>
                        <a:pt x="241904" y="4648"/>
                      </a:cubicBezTo>
                      <a:cubicBezTo>
                        <a:pt x="244923" y="-324"/>
                        <a:pt x="247695" y="-829"/>
                        <a:pt x="253410" y="905"/>
                      </a:cubicBezTo>
                      <a:cubicBezTo>
                        <a:pt x="258382" y="2419"/>
                        <a:pt x="262497" y="5506"/>
                        <a:pt x="264431" y="10030"/>
                      </a:cubicBezTo>
                      <a:cubicBezTo>
                        <a:pt x="265335" y="12144"/>
                        <a:pt x="264221" y="15488"/>
                        <a:pt x="266478" y="16897"/>
                      </a:cubicBezTo>
                      <a:cubicBezTo>
                        <a:pt x="268422" y="18097"/>
                        <a:pt x="270841" y="15307"/>
                        <a:pt x="272470" y="16154"/>
                      </a:cubicBezTo>
                      <a:cubicBezTo>
                        <a:pt x="277994" y="19059"/>
                        <a:pt x="276737" y="35338"/>
                        <a:pt x="279633" y="41538"/>
                      </a:cubicBezTo>
                      <a:cubicBezTo>
                        <a:pt x="281480" y="45520"/>
                        <a:pt x="286823" y="54112"/>
                        <a:pt x="291329" y="55093"/>
                      </a:cubicBezTo>
                      <a:cubicBezTo>
                        <a:pt x="297006" y="56321"/>
                        <a:pt x="299235" y="50949"/>
                        <a:pt x="303492" y="48273"/>
                      </a:cubicBezTo>
                      <a:cubicBezTo>
                        <a:pt x="306216" y="46568"/>
                        <a:pt x="310379" y="46692"/>
                        <a:pt x="312703" y="45149"/>
                      </a:cubicBezTo>
                      <a:cubicBezTo>
                        <a:pt x="316056" y="42929"/>
                        <a:pt x="314694" y="42586"/>
                        <a:pt x="317266" y="39329"/>
                      </a:cubicBezTo>
                      <a:cubicBezTo>
                        <a:pt x="320618" y="35100"/>
                        <a:pt x="327848" y="30794"/>
                        <a:pt x="333363" y="30690"/>
                      </a:cubicBezTo>
                      <a:cubicBezTo>
                        <a:pt x="338230" y="30594"/>
                        <a:pt x="339430" y="32842"/>
                        <a:pt x="341754" y="35176"/>
                      </a:cubicBezTo>
                      <a:cubicBezTo>
                        <a:pt x="342021" y="35452"/>
                        <a:pt x="338811" y="36633"/>
                        <a:pt x="341183" y="38024"/>
                      </a:cubicBezTo>
                      <a:cubicBezTo>
                        <a:pt x="343516" y="39386"/>
                        <a:pt x="348441" y="37033"/>
                        <a:pt x="350498" y="36119"/>
                      </a:cubicBezTo>
                      <a:cubicBezTo>
                        <a:pt x="359366" y="32109"/>
                        <a:pt x="366958" y="31471"/>
                        <a:pt x="376254" y="38205"/>
                      </a:cubicBezTo>
                      <a:lnTo>
                        <a:pt x="376254" y="38205"/>
                      </a:lnTo>
                      <a:close/>
                    </a:path>
                  </a:pathLst>
                </a:custGeom>
                <a:solidFill>
                  <a:srgbClr val="D6D6D2"/>
                </a:solidFill>
                <a:ln w="7144" cap="flat">
                  <a:solidFill>
                    <a:srgbClr val="FFFFFF"/>
                  </a:solidFill>
                  <a:prstDash val="solid"/>
                  <a:miter/>
                </a:ln>
              </p:spPr>
              <p:txBody>
                <a:bodyPr rtlCol="0" anchor="ctr"/>
                <a:lstStyle/>
                <a:p>
                  <a:endParaRPr lang="en-US"/>
                </a:p>
              </p:txBody>
            </p:sp>
            <p:sp>
              <p:nvSpPr>
                <p:cNvPr id="701" name="Freeform: Shape 700">
                  <a:extLst>
                    <a:ext uri="{FF2B5EF4-FFF2-40B4-BE49-F238E27FC236}">
                      <a16:creationId xmlns:a16="http://schemas.microsoft.com/office/drawing/2014/main" id="{61030BD2-6749-4150-8A53-FEB2CA648288}"/>
                    </a:ext>
                  </a:extLst>
                </p:cNvPr>
                <p:cNvSpPr/>
                <p:nvPr/>
              </p:nvSpPr>
              <p:spPr>
                <a:xfrm>
                  <a:off x="6081826" y="1804839"/>
                  <a:ext cx="3746039" cy="1262144"/>
                </a:xfrm>
                <a:custGeom>
                  <a:avLst/>
                  <a:gdLst>
                    <a:gd name="connsiteX0" fmla="*/ 3069326 w 3746039"/>
                    <a:gd name="connsiteY0" fmla="*/ 846642 h 1262144"/>
                    <a:gd name="connsiteX1" fmla="*/ 3091577 w 3746039"/>
                    <a:gd name="connsiteY1" fmla="*/ 864482 h 1262144"/>
                    <a:gd name="connsiteX2" fmla="*/ 3115761 w 3746039"/>
                    <a:gd name="connsiteY2" fmla="*/ 881237 h 1262144"/>
                    <a:gd name="connsiteX3" fmla="*/ 3137583 w 3746039"/>
                    <a:gd name="connsiteY3" fmla="*/ 900353 h 1262144"/>
                    <a:gd name="connsiteX4" fmla="*/ 3152004 w 3746039"/>
                    <a:gd name="connsiteY4" fmla="*/ 919422 h 1262144"/>
                    <a:gd name="connsiteX5" fmla="*/ 3192295 w 3746039"/>
                    <a:gd name="connsiteY5" fmla="*/ 949778 h 1262144"/>
                    <a:gd name="connsiteX6" fmla="*/ 3242529 w 3746039"/>
                    <a:gd name="connsiteY6" fmla="*/ 988755 h 1262144"/>
                    <a:gd name="connsiteX7" fmla="*/ 3270294 w 3746039"/>
                    <a:gd name="connsiteY7" fmla="*/ 1010234 h 1262144"/>
                    <a:gd name="connsiteX8" fmla="*/ 3297079 w 3746039"/>
                    <a:gd name="connsiteY8" fmla="*/ 1027893 h 1262144"/>
                    <a:gd name="connsiteX9" fmla="*/ 3258036 w 3746039"/>
                    <a:gd name="connsiteY9" fmla="*/ 1007719 h 1262144"/>
                    <a:gd name="connsiteX10" fmla="*/ 3238510 w 3746039"/>
                    <a:gd name="connsiteY10" fmla="*/ 1010986 h 1262144"/>
                    <a:gd name="connsiteX11" fmla="*/ 3249606 w 3746039"/>
                    <a:gd name="connsiteY11" fmla="*/ 1030903 h 1262144"/>
                    <a:gd name="connsiteX12" fmla="*/ 3276981 w 3746039"/>
                    <a:gd name="connsiteY12" fmla="*/ 1063336 h 1262144"/>
                    <a:gd name="connsiteX13" fmla="*/ 3293745 w 3746039"/>
                    <a:gd name="connsiteY13" fmla="*/ 1072527 h 1262144"/>
                    <a:gd name="connsiteX14" fmla="*/ 3311071 w 3746039"/>
                    <a:gd name="connsiteY14" fmla="*/ 1085662 h 1262144"/>
                    <a:gd name="connsiteX15" fmla="*/ 3319539 w 3746039"/>
                    <a:gd name="connsiteY15" fmla="*/ 1087072 h 1262144"/>
                    <a:gd name="connsiteX16" fmla="*/ 3328626 w 3746039"/>
                    <a:gd name="connsiteY16" fmla="*/ 1094825 h 1262144"/>
                    <a:gd name="connsiteX17" fmla="*/ 3339246 w 3746039"/>
                    <a:gd name="connsiteY17" fmla="*/ 1110151 h 1262144"/>
                    <a:gd name="connsiteX18" fmla="*/ 3323292 w 3746039"/>
                    <a:gd name="connsiteY18" fmla="*/ 1095368 h 1262144"/>
                    <a:gd name="connsiteX19" fmla="*/ 3305480 w 3746039"/>
                    <a:gd name="connsiteY19" fmla="*/ 1091520 h 1262144"/>
                    <a:gd name="connsiteX20" fmla="*/ 3297622 w 3746039"/>
                    <a:gd name="connsiteY20" fmla="*/ 1095101 h 1262144"/>
                    <a:gd name="connsiteX21" fmla="*/ 3306232 w 3746039"/>
                    <a:gd name="connsiteY21" fmla="*/ 1113666 h 1262144"/>
                    <a:gd name="connsiteX22" fmla="*/ 3271752 w 3746039"/>
                    <a:gd name="connsiteY22" fmla="*/ 1076861 h 1262144"/>
                    <a:gd name="connsiteX23" fmla="*/ 3254331 w 3746039"/>
                    <a:gd name="connsiteY23" fmla="*/ 1058402 h 1262144"/>
                    <a:gd name="connsiteX24" fmla="*/ 3240272 w 3746039"/>
                    <a:gd name="connsiteY24" fmla="*/ 1039285 h 1262144"/>
                    <a:gd name="connsiteX25" fmla="*/ 3219774 w 3746039"/>
                    <a:gd name="connsiteY25" fmla="*/ 1024797 h 1262144"/>
                    <a:gd name="connsiteX26" fmla="*/ 3206696 w 3746039"/>
                    <a:gd name="connsiteY26" fmla="*/ 1004709 h 1262144"/>
                    <a:gd name="connsiteX27" fmla="*/ 3168596 w 3746039"/>
                    <a:gd name="connsiteY27" fmla="*/ 965190 h 1262144"/>
                    <a:gd name="connsiteX28" fmla="*/ 3152413 w 3746039"/>
                    <a:gd name="connsiteY28" fmla="*/ 945254 h 1262144"/>
                    <a:gd name="connsiteX29" fmla="*/ 3126181 w 3746039"/>
                    <a:gd name="connsiteY29" fmla="*/ 930357 h 1262144"/>
                    <a:gd name="connsiteX30" fmla="*/ 3108522 w 3746039"/>
                    <a:gd name="connsiteY30" fmla="*/ 913822 h 1262144"/>
                    <a:gd name="connsiteX31" fmla="*/ 3091672 w 3746039"/>
                    <a:gd name="connsiteY31" fmla="*/ 891343 h 1262144"/>
                    <a:gd name="connsiteX32" fmla="*/ 3082605 w 3746039"/>
                    <a:gd name="connsiteY32" fmla="*/ 875036 h 1262144"/>
                    <a:gd name="connsiteX33" fmla="*/ 3091748 w 3746039"/>
                    <a:gd name="connsiteY33" fmla="*/ 877684 h 1262144"/>
                    <a:gd name="connsiteX34" fmla="*/ 3087633 w 3746039"/>
                    <a:gd name="connsiteY34" fmla="*/ 869997 h 1262144"/>
                    <a:gd name="connsiteX35" fmla="*/ 3090139 w 3746039"/>
                    <a:gd name="connsiteY35" fmla="*/ 869311 h 1262144"/>
                    <a:gd name="connsiteX36" fmla="*/ 3080290 w 3746039"/>
                    <a:gd name="connsiteY36" fmla="*/ 859891 h 1262144"/>
                    <a:gd name="connsiteX37" fmla="*/ 3062307 w 3746039"/>
                    <a:gd name="connsiteY37" fmla="*/ 850214 h 1262144"/>
                    <a:gd name="connsiteX38" fmla="*/ 3066898 w 3746039"/>
                    <a:gd name="connsiteY38" fmla="*/ 845946 h 1262144"/>
                    <a:gd name="connsiteX39" fmla="*/ 3069326 w 3746039"/>
                    <a:gd name="connsiteY39" fmla="*/ 846642 h 1262144"/>
                    <a:gd name="connsiteX40" fmla="*/ 3069326 w 3746039"/>
                    <a:gd name="connsiteY40" fmla="*/ 846642 h 1262144"/>
                    <a:gd name="connsiteX41" fmla="*/ 24441 w 3746039"/>
                    <a:gd name="connsiteY41" fmla="*/ 828954 h 1262144"/>
                    <a:gd name="connsiteX42" fmla="*/ 36004 w 3746039"/>
                    <a:gd name="connsiteY42" fmla="*/ 829859 h 1262144"/>
                    <a:gd name="connsiteX43" fmla="*/ 36805 w 3746039"/>
                    <a:gd name="connsiteY43" fmla="*/ 819238 h 1262144"/>
                    <a:gd name="connsiteX44" fmla="*/ 50006 w 3746039"/>
                    <a:gd name="connsiteY44" fmla="*/ 823125 h 1262144"/>
                    <a:gd name="connsiteX45" fmla="*/ 66123 w 3746039"/>
                    <a:gd name="connsiteY45" fmla="*/ 825553 h 1262144"/>
                    <a:gd name="connsiteX46" fmla="*/ 78439 w 3746039"/>
                    <a:gd name="connsiteY46" fmla="*/ 832650 h 1262144"/>
                    <a:gd name="connsiteX47" fmla="*/ 79277 w 3746039"/>
                    <a:gd name="connsiteY47" fmla="*/ 847823 h 1262144"/>
                    <a:gd name="connsiteX48" fmla="*/ 38253 w 3746039"/>
                    <a:gd name="connsiteY48" fmla="*/ 846708 h 1262144"/>
                    <a:gd name="connsiteX49" fmla="*/ 0 w 3746039"/>
                    <a:gd name="connsiteY49" fmla="*/ 844594 h 1262144"/>
                    <a:gd name="connsiteX50" fmla="*/ 7163 w 3746039"/>
                    <a:gd name="connsiteY50" fmla="*/ 835431 h 1262144"/>
                    <a:gd name="connsiteX51" fmla="*/ 12830 w 3746039"/>
                    <a:gd name="connsiteY51" fmla="*/ 828992 h 1262144"/>
                    <a:gd name="connsiteX52" fmla="*/ 23774 w 3746039"/>
                    <a:gd name="connsiteY52" fmla="*/ 824325 h 1262144"/>
                    <a:gd name="connsiteX53" fmla="*/ 29851 w 3746039"/>
                    <a:gd name="connsiteY53" fmla="*/ 818772 h 1262144"/>
                    <a:gd name="connsiteX54" fmla="*/ 22250 w 3746039"/>
                    <a:gd name="connsiteY54" fmla="*/ 828116 h 1262144"/>
                    <a:gd name="connsiteX55" fmla="*/ 24441 w 3746039"/>
                    <a:gd name="connsiteY55" fmla="*/ 828954 h 1262144"/>
                    <a:gd name="connsiteX56" fmla="*/ 24441 w 3746039"/>
                    <a:gd name="connsiteY56" fmla="*/ 828954 h 1262144"/>
                    <a:gd name="connsiteX57" fmla="*/ 584750 w 3746039"/>
                    <a:gd name="connsiteY57" fmla="*/ 380707 h 1262144"/>
                    <a:gd name="connsiteX58" fmla="*/ 581854 w 3746039"/>
                    <a:gd name="connsiteY58" fmla="*/ 382603 h 1262144"/>
                    <a:gd name="connsiteX59" fmla="*/ 573033 w 3746039"/>
                    <a:gd name="connsiteY59" fmla="*/ 391652 h 1262144"/>
                    <a:gd name="connsiteX60" fmla="*/ 545449 w 3746039"/>
                    <a:gd name="connsiteY60" fmla="*/ 387413 h 1262144"/>
                    <a:gd name="connsiteX61" fmla="*/ 554517 w 3746039"/>
                    <a:gd name="connsiteY61" fmla="*/ 370497 h 1262144"/>
                    <a:gd name="connsiteX62" fmla="*/ 584750 w 3746039"/>
                    <a:gd name="connsiteY62" fmla="*/ 380707 h 1262144"/>
                    <a:gd name="connsiteX63" fmla="*/ 584750 w 3746039"/>
                    <a:gd name="connsiteY63" fmla="*/ 380707 h 1262144"/>
                    <a:gd name="connsiteX64" fmla="*/ 790499 w 3746039"/>
                    <a:gd name="connsiteY64" fmla="*/ 357104 h 1262144"/>
                    <a:gd name="connsiteX65" fmla="*/ 774726 w 3746039"/>
                    <a:gd name="connsiteY65" fmla="*/ 362448 h 1262144"/>
                    <a:gd name="connsiteX66" fmla="*/ 761943 w 3746039"/>
                    <a:gd name="connsiteY66" fmla="*/ 357857 h 1262144"/>
                    <a:gd name="connsiteX67" fmla="*/ 749427 w 3746039"/>
                    <a:gd name="connsiteY67" fmla="*/ 351951 h 1262144"/>
                    <a:gd name="connsiteX68" fmla="*/ 746236 w 3746039"/>
                    <a:gd name="connsiteY68" fmla="*/ 343798 h 1262144"/>
                    <a:gd name="connsiteX69" fmla="*/ 757952 w 3746039"/>
                    <a:gd name="connsiteY69" fmla="*/ 342903 h 1262144"/>
                    <a:gd name="connsiteX70" fmla="*/ 790499 w 3746039"/>
                    <a:gd name="connsiteY70" fmla="*/ 357104 h 1262144"/>
                    <a:gd name="connsiteX71" fmla="*/ 790499 w 3746039"/>
                    <a:gd name="connsiteY71" fmla="*/ 357104 h 1262144"/>
                    <a:gd name="connsiteX72" fmla="*/ 633298 w 3746039"/>
                    <a:gd name="connsiteY72" fmla="*/ 250834 h 1262144"/>
                    <a:gd name="connsiteX73" fmla="*/ 656435 w 3746039"/>
                    <a:gd name="connsiteY73" fmla="*/ 253825 h 1262144"/>
                    <a:gd name="connsiteX74" fmla="*/ 655025 w 3746039"/>
                    <a:gd name="connsiteY74" fmla="*/ 259511 h 1262144"/>
                    <a:gd name="connsiteX75" fmla="*/ 657187 w 3746039"/>
                    <a:gd name="connsiteY75" fmla="*/ 265988 h 1262144"/>
                    <a:gd name="connsiteX76" fmla="*/ 649453 w 3746039"/>
                    <a:gd name="connsiteY76" fmla="*/ 267912 h 1262144"/>
                    <a:gd name="connsiteX77" fmla="*/ 648072 w 3746039"/>
                    <a:gd name="connsiteY77" fmla="*/ 273561 h 1262144"/>
                    <a:gd name="connsiteX78" fmla="*/ 646291 w 3746039"/>
                    <a:gd name="connsiteY78" fmla="*/ 277409 h 1262144"/>
                    <a:gd name="connsiteX79" fmla="*/ 651262 w 3746039"/>
                    <a:gd name="connsiteY79" fmla="*/ 283657 h 1262144"/>
                    <a:gd name="connsiteX80" fmla="*/ 653215 w 3746039"/>
                    <a:gd name="connsiteY80" fmla="*/ 291601 h 1262144"/>
                    <a:gd name="connsiteX81" fmla="*/ 659387 w 3746039"/>
                    <a:gd name="connsiteY81" fmla="*/ 298202 h 1262144"/>
                    <a:gd name="connsiteX82" fmla="*/ 676428 w 3746039"/>
                    <a:gd name="connsiteY82" fmla="*/ 312413 h 1262144"/>
                    <a:gd name="connsiteX83" fmla="*/ 698830 w 3746039"/>
                    <a:gd name="connsiteY83" fmla="*/ 324967 h 1262144"/>
                    <a:gd name="connsiteX84" fmla="*/ 718909 w 3746039"/>
                    <a:gd name="connsiteY84" fmla="*/ 332101 h 1262144"/>
                    <a:gd name="connsiteX85" fmla="*/ 705288 w 3746039"/>
                    <a:gd name="connsiteY85" fmla="*/ 335597 h 1262144"/>
                    <a:gd name="connsiteX86" fmla="*/ 690505 w 3746039"/>
                    <a:gd name="connsiteY86" fmla="*/ 332549 h 1262144"/>
                    <a:gd name="connsiteX87" fmla="*/ 698592 w 3746039"/>
                    <a:gd name="connsiteY87" fmla="*/ 336368 h 1262144"/>
                    <a:gd name="connsiteX88" fmla="*/ 688458 w 3746039"/>
                    <a:gd name="connsiteY88" fmla="*/ 334711 h 1262144"/>
                    <a:gd name="connsiteX89" fmla="*/ 680533 w 3746039"/>
                    <a:gd name="connsiteY89" fmla="*/ 335054 h 1262144"/>
                    <a:gd name="connsiteX90" fmla="*/ 678161 w 3746039"/>
                    <a:gd name="connsiteY90" fmla="*/ 333320 h 1262144"/>
                    <a:gd name="connsiteX91" fmla="*/ 669769 w 3746039"/>
                    <a:gd name="connsiteY91" fmla="*/ 334082 h 1262144"/>
                    <a:gd name="connsiteX92" fmla="*/ 656292 w 3746039"/>
                    <a:gd name="connsiteY92" fmla="*/ 331701 h 1262144"/>
                    <a:gd name="connsiteX93" fmla="*/ 656244 w 3746039"/>
                    <a:gd name="connsiteY93" fmla="*/ 333654 h 1262144"/>
                    <a:gd name="connsiteX94" fmla="*/ 628040 w 3746039"/>
                    <a:gd name="connsiteY94" fmla="*/ 327558 h 1262144"/>
                    <a:gd name="connsiteX95" fmla="*/ 632270 w 3746039"/>
                    <a:gd name="connsiteY95" fmla="*/ 326262 h 1262144"/>
                    <a:gd name="connsiteX96" fmla="*/ 635184 w 3746039"/>
                    <a:gd name="connsiteY96" fmla="*/ 321357 h 1262144"/>
                    <a:gd name="connsiteX97" fmla="*/ 633917 w 3746039"/>
                    <a:gd name="connsiteY97" fmla="*/ 319585 h 1262144"/>
                    <a:gd name="connsiteX98" fmla="*/ 640633 w 3746039"/>
                    <a:gd name="connsiteY98" fmla="*/ 319623 h 1262144"/>
                    <a:gd name="connsiteX99" fmla="*/ 619497 w 3746039"/>
                    <a:gd name="connsiteY99" fmla="*/ 306879 h 1262144"/>
                    <a:gd name="connsiteX100" fmla="*/ 590931 w 3746039"/>
                    <a:gd name="connsiteY100" fmla="*/ 308508 h 1262144"/>
                    <a:gd name="connsiteX101" fmla="*/ 573405 w 3746039"/>
                    <a:gd name="connsiteY101" fmla="*/ 293087 h 1262144"/>
                    <a:gd name="connsiteX102" fmla="*/ 589721 w 3746039"/>
                    <a:gd name="connsiteY102" fmla="*/ 285019 h 1262144"/>
                    <a:gd name="connsiteX103" fmla="*/ 593465 w 3746039"/>
                    <a:gd name="connsiteY103" fmla="*/ 271017 h 1262144"/>
                    <a:gd name="connsiteX104" fmla="*/ 586673 w 3746039"/>
                    <a:gd name="connsiteY104" fmla="*/ 265836 h 1262144"/>
                    <a:gd name="connsiteX105" fmla="*/ 599256 w 3746039"/>
                    <a:gd name="connsiteY105" fmla="*/ 263207 h 1262144"/>
                    <a:gd name="connsiteX106" fmla="*/ 603390 w 3746039"/>
                    <a:gd name="connsiteY106" fmla="*/ 251215 h 1262144"/>
                    <a:gd name="connsiteX107" fmla="*/ 633298 w 3746039"/>
                    <a:gd name="connsiteY107" fmla="*/ 250834 h 1262144"/>
                    <a:gd name="connsiteX108" fmla="*/ 633298 w 3746039"/>
                    <a:gd name="connsiteY108" fmla="*/ 250834 h 1262144"/>
                    <a:gd name="connsiteX109" fmla="*/ 2372345 w 3746039"/>
                    <a:gd name="connsiteY109" fmla="*/ 232336 h 1262144"/>
                    <a:gd name="connsiteX110" fmla="*/ 2423208 w 3746039"/>
                    <a:gd name="connsiteY110" fmla="*/ 252787 h 1262144"/>
                    <a:gd name="connsiteX111" fmla="*/ 2381736 w 3746039"/>
                    <a:gd name="connsiteY111" fmla="*/ 250624 h 1262144"/>
                    <a:gd name="connsiteX112" fmla="*/ 2359238 w 3746039"/>
                    <a:gd name="connsiteY112" fmla="*/ 246405 h 1262144"/>
                    <a:gd name="connsiteX113" fmla="*/ 2339397 w 3746039"/>
                    <a:gd name="connsiteY113" fmla="*/ 247138 h 1262144"/>
                    <a:gd name="connsiteX114" fmla="*/ 2350875 w 3746039"/>
                    <a:gd name="connsiteY114" fmla="*/ 245433 h 1262144"/>
                    <a:gd name="connsiteX115" fmla="*/ 2350580 w 3746039"/>
                    <a:gd name="connsiteY115" fmla="*/ 234775 h 1262144"/>
                    <a:gd name="connsiteX116" fmla="*/ 2372345 w 3746039"/>
                    <a:gd name="connsiteY116" fmla="*/ 232336 h 1262144"/>
                    <a:gd name="connsiteX117" fmla="*/ 2372345 w 3746039"/>
                    <a:gd name="connsiteY117" fmla="*/ 232336 h 1262144"/>
                    <a:gd name="connsiteX118" fmla="*/ 2407710 w 3746039"/>
                    <a:gd name="connsiteY118" fmla="*/ 185873 h 1262144"/>
                    <a:gd name="connsiteX119" fmla="*/ 2418398 w 3746039"/>
                    <a:gd name="connsiteY119" fmla="*/ 183673 h 1262144"/>
                    <a:gd name="connsiteX120" fmla="*/ 2432476 w 3746039"/>
                    <a:gd name="connsiteY120" fmla="*/ 184264 h 1262144"/>
                    <a:gd name="connsiteX121" fmla="*/ 2448935 w 3746039"/>
                    <a:gd name="connsiteY121" fmla="*/ 190150 h 1262144"/>
                    <a:gd name="connsiteX122" fmla="*/ 2475310 w 3746039"/>
                    <a:gd name="connsiteY122" fmla="*/ 190379 h 1262144"/>
                    <a:gd name="connsiteX123" fmla="*/ 2493150 w 3746039"/>
                    <a:gd name="connsiteY123" fmla="*/ 193217 h 1262144"/>
                    <a:gd name="connsiteX124" fmla="*/ 2493169 w 3746039"/>
                    <a:gd name="connsiteY124" fmla="*/ 203209 h 1262144"/>
                    <a:gd name="connsiteX125" fmla="*/ 2471309 w 3746039"/>
                    <a:gd name="connsiteY125" fmla="*/ 204457 h 1262144"/>
                    <a:gd name="connsiteX126" fmla="*/ 2422417 w 3746039"/>
                    <a:gd name="connsiteY126" fmla="*/ 195627 h 1262144"/>
                    <a:gd name="connsiteX127" fmla="*/ 2396852 w 3746039"/>
                    <a:gd name="connsiteY127" fmla="*/ 185959 h 1262144"/>
                    <a:gd name="connsiteX128" fmla="*/ 2407710 w 3746039"/>
                    <a:gd name="connsiteY128" fmla="*/ 185873 h 1262144"/>
                    <a:gd name="connsiteX129" fmla="*/ 2407710 w 3746039"/>
                    <a:gd name="connsiteY129" fmla="*/ 185873 h 1262144"/>
                    <a:gd name="connsiteX130" fmla="*/ 2257530 w 3746039"/>
                    <a:gd name="connsiteY130" fmla="*/ 171434 h 1262144"/>
                    <a:gd name="connsiteX131" fmla="*/ 2274408 w 3746039"/>
                    <a:gd name="connsiteY131" fmla="*/ 176968 h 1262144"/>
                    <a:gd name="connsiteX132" fmla="*/ 2276399 w 3746039"/>
                    <a:gd name="connsiteY132" fmla="*/ 172777 h 1262144"/>
                    <a:gd name="connsiteX133" fmla="*/ 2275037 w 3746039"/>
                    <a:gd name="connsiteY133" fmla="*/ 161880 h 1262144"/>
                    <a:gd name="connsiteX134" fmla="*/ 2296021 w 3746039"/>
                    <a:gd name="connsiteY134" fmla="*/ 167252 h 1262144"/>
                    <a:gd name="connsiteX135" fmla="*/ 2328329 w 3746039"/>
                    <a:gd name="connsiteY135" fmla="*/ 170519 h 1262144"/>
                    <a:gd name="connsiteX136" fmla="*/ 2355904 w 3746039"/>
                    <a:gd name="connsiteY136" fmla="*/ 176339 h 1262144"/>
                    <a:gd name="connsiteX137" fmla="*/ 2373221 w 3746039"/>
                    <a:gd name="connsiteY137" fmla="*/ 180844 h 1262144"/>
                    <a:gd name="connsiteX138" fmla="*/ 2373916 w 3746039"/>
                    <a:gd name="connsiteY138" fmla="*/ 189083 h 1262144"/>
                    <a:gd name="connsiteX139" fmla="*/ 2320985 w 3746039"/>
                    <a:gd name="connsiteY139" fmla="*/ 180397 h 1262144"/>
                    <a:gd name="connsiteX140" fmla="*/ 2303841 w 3746039"/>
                    <a:gd name="connsiteY140" fmla="*/ 176739 h 1262144"/>
                    <a:gd name="connsiteX141" fmla="*/ 2350580 w 3746039"/>
                    <a:gd name="connsiteY141" fmla="*/ 198485 h 1262144"/>
                    <a:gd name="connsiteX142" fmla="*/ 2334530 w 3746039"/>
                    <a:gd name="connsiteY142" fmla="*/ 200713 h 1262144"/>
                    <a:gd name="connsiteX143" fmla="*/ 2315661 w 3746039"/>
                    <a:gd name="connsiteY143" fmla="*/ 200047 h 1262144"/>
                    <a:gd name="connsiteX144" fmla="*/ 2292639 w 3746039"/>
                    <a:gd name="connsiteY144" fmla="*/ 201104 h 1262144"/>
                    <a:gd name="connsiteX145" fmla="*/ 2283219 w 3746039"/>
                    <a:gd name="connsiteY145" fmla="*/ 198694 h 1262144"/>
                    <a:gd name="connsiteX146" fmla="*/ 2283781 w 3746039"/>
                    <a:gd name="connsiteY146" fmla="*/ 202666 h 1262144"/>
                    <a:gd name="connsiteX147" fmla="*/ 2283352 w 3746039"/>
                    <a:gd name="connsiteY147" fmla="*/ 208324 h 1262144"/>
                    <a:gd name="connsiteX148" fmla="*/ 2274332 w 3746039"/>
                    <a:gd name="connsiteY148" fmla="*/ 206714 h 1262144"/>
                    <a:gd name="connsiteX149" fmla="*/ 2250834 w 3746039"/>
                    <a:gd name="connsiteY149" fmla="*/ 201628 h 1262144"/>
                    <a:gd name="connsiteX150" fmla="*/ 2214315 w 3746039"/>
                    <a:gd name="connsiteY150" fmla="*/ 186045 h 1262144"/>
                    <a:gd name="connsiteX151" fmla="*/ 2220982 w 3746039"/>
                    <a:gd name="connsiteY151" fmla="*/ 186569 h 1262144"/>
                    <a:gd name="connsiteX152" fmla="*/ 2208962 w 3746039"/>
                    <a:gd name="connsiteY152" fmla="*/ 177015 h 1262144"/>
                    <a:gd name="connsiteX153" fmla="*/ 2214144 w 3746039"/>
                    <a:gd name="connsiteY153" fmla="*/ 173624 h 1262144"/>
                    <a:gd name="connsiteX154" fmla="*/ 2206066 w 3746039"/>
                    <a:gd name="connsiteY154" fmla="*/ 165547 h 1262144"/>
                    <a:gd name="connsiteX155" fmla="*/ 2210877 w 3746039"/>
                    <a:gd name="connsiteY155" fmla="*/ 162413 h 1262144"/>
                    <a:gd name="connsiteX156" fmla="*/ 2219192 w 3746039"/>
                    <a:gd name="connsiteY156" fmla="*/ 159918 h 1262144"/>
                    <a:gd name="connsiteX157" fmla="*/ 2237156 w 3746039"/>
                    <a:gd name="connsiteY157" fmla="*/ 164814 h 1262144"/>
                    <a:gd name="connsiteX158" fmla="*/ 2257530 w 3746039"/>
                    <a:gd name="connsiteY158" fmla="*/ 171434 h 1262144"/>
                    <a:gd name="connsiteX159" fmla="*/ 2257530 w 3746039"/>
                    <a:gd name="connsiteY159" fmla="*/ 171434 h 1262144"/>
                    <a:gd name="connsiteX160" fmla="*/ 832971 w 3746039"/>
                    <a:gd name="connsiteY160" fmla="*/ 158565 h 1262144"/>
                    <a:gd name="connsiteX161" fmla="*/ 762133 w 3746039"/>
                    <a:gd name="connsiteY161" fmla="*/ 176653 h 1262144"/>
                    <a:gd name="connsiteX162" fmla="*/ 726339 w 3746039"/>
                    <a:gd name="connsiteY162" fmla="*/ 187693 h 1262144"/>
                    <a:gd name="connsiteX163" fmla="*/ 715985 w 3746039"/>
                    <a:gd name="connsiteY163" fmla="*/ 194065 h 1262144"/>
                    <a:gd name="connsiteX164" fmla="*/ 706593 w 3746039"/>
                    <a:gd name="connsiteY164" fmla="*/ 198475 h 1262144"/>
                    <a:gd name="connsiteX165" fmla="*/ 712813 w 3746039"/>
                    <a:gd name="connsiteY165" fmla="*/ 200551 h 1262144"/>
                    <a:gd name="connsiteX166" fmla="*/ 700354 w 3746039"/>
                    <a:gd name="connsiteY166" fmla="*/ 205552 h 1262144"/>
                    <a:gd name="connsiteX167" fmla="*/ 690544 w 3746039"/>
                    <a:gd name="connsiteY167" fmla="*/ 207867 h 1262144"/>
                    <a:gd name="connsiteX168" fmla="*/ 690791 w 3746039"/>
                    <a:gd name="connsiteY168" fmla="*/ 213410 h 1262144"/>
                    <a:gd name="connsiteX169" fmla="*/ 680066 w 3746039"/>
                    <a:gd name="connsiteY169" fmla="*/ 213334 h 1262144"/>
                    <a:gd name="connsiteX170" fmla="*/ 685933 w 3746039"/>
                    <a:gd name="connsiteY170" fmla="*/ 221402 h 1262144"/>
                    <a:gd name="connsiteX171" fmla="*/ 672160 w 3746039"/>
                    <a:gd name="connsiteY171" fmla="*/ 228622 h 1262144"/>
                    <a:gd name="connsiteX172" fmla="*/ 665693 w 3746039"/>
                    <a:gd name="connsiteY172" fmla="*/ 234156 h 1262144"/>
                    <a:gd name="connsiteX173" fmla="*/ 672351 w 3746039"/>
                    <a:gd name="connsiteY173" fmla="*/ 240947 h 1262144"/>
                    <a:gd name="connsiteX174" fmla="*/ 665302 w 3746039"/>
                    <a:gd name="connsiteY174" fmla="*/ 249158 h 1262144"/>
                    <a:gd name="connsiteX175" fmla="*/ 638880 w 3746039"/>
                    <a:gd name="connsiteY175" fmla="*/ 249367 h 1262144"/>
                    <a:gd name="connsiteX176" fmla="*/ 626926 w 3746039"/>
                    <a:gd name="connsiteY176" fmla="*/ 246891 h 1262144"/>
                    <a:gd name="connsiteX177" fmla="*/ 615267 w 3746039"/>
                    <a:gd name="connsiteY177" fmla="*/ 247919 h 1262144"/>
                    <a:gd name="connsiteX178" fmla="*/ 609371 w 3746039"/>
                    <a:gd name="connsiteY178" fmla="*/ 247443 h 1262144"/>
                    <a:gd name="connsiteX179" fmla="*/ 607333 w 3746039"/>
                    <a:gd name="connsiteY179" fmla="*/ 243471 h 1262144"/>
                    <a:gd name="connsiteX180" fmla="*/ 595227 w 3746039"/>
                    <a:gd name="connsiteY180" fmla="*/ 236423 h 1262144"/>
                    <a:gd name="connsiteX181" fmla="*/ 612962 w 3746039"/>
                    <a:gd name="connsiteY181" fmla="*/ 225250 h 1262144"/>
                    <a:gd name="connsiteX182" fmla="*/ 618735 w 3746039"/>
                    <a:gd name="connsiteY182" fmla="*/ 215325 h 1262144"/>
                    <a:gd name="connsiteX183" fmla="*/ 632231 w 3746039"/>
                    <a:gd name="connsiteY183" fmla="*/ 213429 h 1262144"/>
                    <a:gd name="connsiteX184" fmla="*/ 619230 w 3746039"/>
                    <a:gd name="connsiteY184" fmla="*/ 209286 h 1262144"/>
                    <a:gd name="connsiteX185" fmla="*/ 632546 w 3746039"/>
                    <a:gd name="connsiteY185" fmla="*/ 198913 h 1262144"/>
                    <a:gd name="connsiteX186" fmla="*/ 617563 w 3746039"/>
                    <a:gd name="connsiteY186" fmla="*/ 192598 h 1262144"/>
                    <a:gd name="connsiteX187" fmla="*/ 635689 w 3746039"/>
                    <a:gd name="connsiteY187" fmla="*/ 189864 h 1262144"/>
                    <a:gd name="connsiteX188" fmla="*/ 642642 w 3746039"/>
                    <a:gd name="connsiteY188" fmla="*/ 185883 h 1262144"/>
                    <a:gd name="connsiteX189" fmla="*/ 648900 w 3746039"/>
                    <a:gd name="connsiteY189" fmla="*/ 184016 h 1262144"/>
                    <a:gd name="connsiteX190" fmla="*/ 654358 w 3746039"/>
                    <a:gd name="connsiteY190" fmla="*/ 178892 h 1262144"/>
                    <a:gd name="connsiteX191" fmla="*/ 652567 w 3746039"/>
                    <a:gd name="connsiteY191" fmla="*/ 176672 h 1262144"/>
                    <a:gd name="connsiteX192" fmla="*/ 672970 w 3746039"/>
                    <a:gd name="connsiteY192" fmla="*/ 169252 h 1262144"/>
                    <a:gd name="connsiteX193" fmla="*/ 683076 w 3746039"/>
                    <a:gd name="connsiteY193" fmla="*/ 167443 h 1262144"/>
                    <a:gd name="connsiteX194" fmla="*/ 693410 w 3746039"/>
                    <a:gd name="connsiteY194" fmla="*/ 162756 h 1262144"/>
                    <a:gd name="connsiteX195" fmla="*/ 702621 w 3746039"/>
                    <a:gd name="connsiteY195" fmla="*/ 163804 h 1262144"/>
                    <a:gd name="connsiteX196" fmla="*/ 701783 w 3746039"/>
                    <a:gd name="connsiteY196" fmla="*/ 158708 h 1262144"/>
                    <a:gd name="connsiteX197" fmla="*/ 725091 w 3746039"/>
                    <a:gd name="connsiteY197" fmla="*/ 158441 h 1262144"/>
                    <a:gd name="connsiteX198" fmla="*/ 772821 w 3746039"/>
                    <a:gd name="connsiteY198" fmla="*/ 151269 h 1262144"/>
                    <a:gd name="connsiteX199" fmla="*/ 789232 w 3746039"/>
                    <a:gd name="connsiteY199" fmla="*/ 146726 h 1262144"/>
                    <a:gd name="connsiteX200" fmla="*/ 794899 w 3746039"/>
                    <a:gd name="connsiteY200" fmla="*/ 140182 h 1262144"/>
                    <a:gd name="connsiteX201" fmla="*/ 808359 w 3746039"/>
                    <a:gd name="connsiteY201" fmla="*/ 135972 h 1262144"/>
                    <a:gd name="connsiteX202" fmla="*/ 834247 w 3746039"/>
                    <a:gd name="connsiteY202" fmla="*/ 136639 h 1262144"/>
                    <a:gd name="connsiteX203" fmla="*/ 848897 w 3746039"/>
                    <a:gd name="connsiteY203" fmla="*/ 148002 h 1262144"/>
                    <a:gd name="connsiteX204" fmla="*/ 832971 w 3746039"/>
                    <a:gd name="connsiteY204" fmla="*/ 158565 h 1262144"/>
                    <a:gd name="connsiteX205" fmla="*/ 832971 w 3746039"/>
                    <a:gd name="connsiteY205" fmla="*/ 158565 h 1262144"/>
                    <a:gd name="connsiteX206" fmla="*/ 1434341 w 3746039"/>
                    <a:gd name="connsiteY206" fmla="*/ 63553 h 1262144"/>
                    <a:gd name="connsiteX207" fmla="*/ 1437075 w 3746039"/>
                    <a:gd name="connsiteY207" fmla="*/ 76736 h 1262144"/>
                    <a:gd name="connsiteX208" fmla="*/ 1440275 w 3746039"/>
                    <a:gd name="connsiteY208" fmla="*/ 71126 h 1262144"/>
                    <a:gd name="connsiteX209" fmla="*/ 1446734 w 3746039"/>
                    <a:gd name="connsiteY209" fmla="*/ 68440 h 1262144"/>
                    <a:gd name="connsiteX210" fmla="*/ 1462831 w 3746039"/>
                    <a:gd name="connsiteY210" fmla="*/ 70754 h 1262144"/>
                    <a:gd name="connsiteX211" fmla="*/ 1471765 w 3746039"/>
                    <a:gd name="connsiteY211" fmla="*/ 72707 h 1262144"/>
                    <a:gd name="connsiteX212" fmla="*/ 1478223 w 3746039"/>
                    <a:gd name="connsiteY212" fmla="*/ 76574 h 1262144"/>
                    <a:gd name="connsiteX213" fmla="*/ 1494892 w 3746039"/>
                    <a:gd name="connsiteY213" fmla="*/ 81003 h 1262144"/>
                    <a:gd name="connsiteX214" fmla="*/ 1477156 w 3746039"/>
                    <a:gd name="connsiteY214" fmla="*/ 94919 h 1262144"/>
                    <a:gd name="connsiteX215" fmla="*/ 1441400 w 3746039"/>
                    <a:gd name="connsiteY215" fmla="*/ 96929 h 1262144"/>
                    <a:gd name="connsiteX216" fmla="*/ 1399642 w 3746039"/>
                    <a:gd name="connsiteY216" fmla="*/ 101853 h 1262144"/>
                    <a:gd name="connsiteX217" fmla="*/ 1403861 w 3746039"/>
                    <a:gd name="connsiteY217" fmla="*/ 86175 h 1262144"/>
                    <a:gd name="connsiteX218" fmla="*/ 1410967 w 3746039"/>
                    <a:gd name="connsiteY218" fmla="*/ 78212 h 1262144"/>
                    <a:gd name="connsiteX219" fmla="*/ 1409243 w 3746039"/>
                    <a:gd name="connsiteY219" fmla="*/ 63534 h 1262144"/>
                    <a:gd name="connsiteX220" fmla="*/ 1422435 w 3746039"/>
                    <a:gd name="connsiteY220" fmla="*/ 63487 h 1262144"/>
                    <a:gd name="connsiteX221" fmla="*/ 1421273 w 3746039"/>
                    <a:gd name="connsiteY221" fmla="*/ 58048 h 1262144"/>
                    <a:gd name="connsiteX222" fmla="*/ 1437056 w 3746039"/>
                    <a:gd name="connsiteY222" fmla="*/ 62134 h 1262144"/>
                    <a:gd name="connsiteX223" fmla="*/ 1434341 w 3746039"/>
                    <a:gd name="connsiteY223" fmla="*/ 63553 h 1262144"/>
                    <a:gd name="connsiteX224" fmla="*/ 1434341 w 3746039"/>
                    <a:gd name="connsiteY224" fmla="*/ 63553 h 1262144"/>
                    <a:gd name="connsiteX225" fmla="*/ 1313078 w 3746039"/>
                    <a:gd name="connsiteY225" fmla="*/ 35064 h 1262144"/>
                    <a:gd name="connsiteX226" fmla="*/ 1323003 w 3746039"/>
                    <a:gd name="connsiteY226" fmla="*/ 39322 h 1262144"/>
                    <a:gd name="connsiteX227" fmla="*/ 1323975 w 3746039"/>
                    <a:gd name="connsiteY227" fmla="*/ 46923 h 1262144"/>
                    <a:gd name="connsiteX228" fmla="*/ 1331691 w 3746039"/>
                    <a:gd name="connsiteY228" fmla="*/ 44008 h 1262144"/>
                    <a:gd name="connsiteX229" fmla="*/ 1331862 w 3746039"/>
                    <a:gd name="connsiteY229" fmla="*/ 39207 h 1262144"/>
                    <a:gd name="connsiteX230" fmla="*/ 1367428 w 3746039"/>
                    <a:gd name="connsiteY230" fmla="*/ 47066 h 1262144"/>
                    <a:gd name="connsiteX231" fmla="*/ 1370495 w 3746039"/>
                    <a:gd name="connsiteY231" fmla="*/ 58181 h 1262144"/>
                    <a:gd name="connsiteX232" fmla="*/ 1361485 w 3746039"/>
                    <a:gd name="connsiteY232" fmla="*/ 62325 h 1262144"/>
                    <a:gd name="connsiteX233" fmla="*/ 1387012 w 3746039"/>
                    <a:gd name="connsiteY233" fmla="*/ 72774 h 1262144"/>
                    <a:gd name="connsiteX234" fmla="*/ 1350750 w 3746039"/>
                    <a:gd name="connsiteY234" fmla="*/ 77269 h 1262144"/>
                    <a:gd name="connsiteX235" fmla="*/ 1315793 w 3746039"/>
                    <a:gd name="connsiteY235" fmla="*/ 71173 h 1262144"/>
                    <a:gd name="connsiteX236" fmla="*/ 1298582 w 3746039"/>
                    <a:gd name="connsiteY236" fmla="*/ 68630 h 1262144"/>
                    <a:gd name="connsiteX237" fmla="*/ 1288714 w 3746039"/>
                    <a:gd name="connsiteY237" fmla="*/ 69097 h 1262144"/>
                    <a:gd name="connsiteX238" fmla="*/ 1282237 w 3746039"/>
                    <a:gd name="connsiteY238" fmla="*/ 66306 h 1262144"/>
                    <a:gd name="connsiteX239" fmla="*/ 1263710 w 3746039"/>
                    <a:gd name="connsiteY239" fmla="*/ 58105 h 1262144"/>
                    <a:gd name="connsiteX240" fmla="*/ 1244880 w 3746039"/>
                    <a:gd name="connsiteY240" fmla="*/ 55952 h 1262144"/>
                    <a:gd name="connsiteX241" fmla="*/ 1255176 w 3746039"/>
                    <a:gd name="connsiteY241" fmla="*/ 48599 h 1262144"/>
                    <a:gd name="connsiteX242" fmla="*/ 1258053 w 3746039"/>
                    <a:gd name="connsiteY242" fmla="*/ 41551 h 1262144"/>
                    <a:gd name="connsiteX243" fmla="*/ 1273035 w 3746039"/>
                    <a:gd name="connsiteY243" fmla="*/ 38493 h 1262144"/>
                    <a:gd name="connsiteX244" fmla="*/ 1280827 w 3746039"/>
                    <a:gd name="connsiteY244" fmla="*/ 36598 h 1262144"/>
                    <a:gd name="connsiteX245" fmla="*/ 1289933 w 3746039"/>
                    <a:gd name="connsiteY245" fmla="*/ 36683 h 1262144"/>
                    <a:gd name="connsiteX246" fmla="*/ 1313078 w 3746039"/>
                    <a:gd name="connsiteY246" fmla="*/ 35064 h 1262144"/>
                    <a:gd name="connsiteX247" fmla="*/ 1313078 w 3746039"/>
                    <a:gd name="connsiteY247" fmla="*/ 35064 h 1262144"/>
                    <a:gd name="connsiteX248" fmla="*/ 646862 w 3746039"/>
                    <a:gd name="connsiteY248" fmla="*/ 13757 h 1262144"/>
                    <a:gd name="connsiteX249" fmla="*/ 648853 w 3746039"/>
                    <a:gd name="connsiteY249" fmla="*/ 20615 h 1262144"/>
                    <a:gd name="connsiteX250" fmla="*/ 636927 w 3746039"/>
                    <a:gd name="connsiteY250" fmla="*/ 24025 h 1262144"/>
                    <a:gd name="connsiteX251" fmla="*/ 622526 w 3746039"/>
                    <a:gd name="connsiteY251" fmla="*/ 25415 h 1262144"/>
                    <a:gd name="connsiteX252" fmla="*/ 598218 w 3746039"/>
                    <a:gd name="connsiteY252" fmla="*/ 20948 h 1262144"/>
                    <a:gd name="connsiteX253" fmla="*/ 615610 w 3746039"/>
                    <a:gd name="connsiteY253" fmla="*/ 14747 h 1262144"/>
                    <a:gd name="connsiteX254" fmla="*/ 646862 w 3746039"/>
                    <a:gd name="connsiteY254" fmla="*/ 13757 h 1262144"/>
                    <a:gd name="connsiteX255" fmla="*/ 646862 w 3746039"/>
                    <a:gd name="connsiteY255" fmla="*/ 13757 h 1262144"/>
                    <a:gd name="connsiteX256" fmla="*/ 428511 w 3746039"/>
                    <a:gd name="connsiteY256" fmla="*/ 10842 h 1262144"/>
                    <a:gd name="connsiteX257" fmla="*/ 457867 w 3746039"/>
                    <a:gd name="connsiteY257" fmla="*/ 18386 h 1262144"/>
                    <a:gd name="connsiteX258" fmla="*/ 441455 w 3746039"/>
                    <a:gd name="connsiteY258" fmla="*/ 23186 h 1262144"/>
                    <a:gd name="connsiteX259" fmla="*/ 425006 w 3746039"/>
                    <a:gd name="connsiteY259" fmla="*/ 25177 h 1262144"/>
                    <a:gd name="connsiteX260" fmla="*/ 426453 w 3746039"/>
                    <a:gd name="connsiteY260" fmla="*/ 26654 h 1262144"/>
                    <a:gd name="connsiteX261" fmla="*/ 407584 w 3746039"/>
                    <a:gd name="connsiteY261" fmla="*/ 30597 h 1262144"/>
                    <a:gd name="connsiteX262" fmla="*/ 414957 w 3746039"/>
                    <a:gd name="connsiteY262" fmla="*/ 33521 h 1262144"/>
                    <a:gd name="connsiteX263" fmla="*/ 407032 w 3746039"/>
                    <a:gd name="connsiteY263" fmla="*/ 34083 h 1262144"/>
                    <a:gd name="connsiteX264" fmla="*/ 405556 w 3746039"/>
                    <a:gd name="connsiteY264" fmla="*/ 36807 h 1262144"/>
                    <a:gd name="connsiteX265" fmla="*/ 399803 w 3746039"/>
                    <a:gd name="connsiteY265" fmla="*/ 36026 h 1262144"/>
                    <a:gd name="connsiteX266" fmla="*/ 390801 w 3746039"/>
                    <a:gd name="connsiteY266" fmla="*/ 36521 h 1262144"/>
                    <a:gd name="connsiteX267" fmla="*/ 395859 w 3746039"/>
                    <a:gd name="connsiteY267" fmla="*/ 33350 h 1262144"/>
                    <a:gd name="connsiteX268" fmla="*/ 383248 w 3746039"/>
                    <a:gd name="connsiteY268" fmla="*/ 34302 h 1262144"/>
                    <a:gd name="connsiteX269" fmla="*/ 370179 w 3746039"/>
                    <a:gd name="connsiteY269" fmla="*/ 30587 h 1262144"/>
                    <a:gd name="connsiteX270" fmla="*/ 402098 w 3746039"/>
                    <a:gd name="connsiteY270" fmla="*/ 23244 h 1262144"/>
                    <a:gd name="connsiteX271" fmla="*/ 412290 w 3746039"/>
                    <a:gd name="connsiteY271" fmla="*/ 23796 h 1262144"/>
                    <a:gd name="connsiteX272" fmla="*/ 410766 w 3746039"/>
                    <a:gd name="connsiteY272" fmla="*/ 17614 h 1262144"/>
                    <a:gd name="connsiteX273" fmla="*/ 428511 w 3746039"/>
                    <a:gd name="connsiteY273" fmla="*/ 10842 h 1262144"/>
                    <a:gd name="connsiteX274" fmla="*/ 428511 w 3746039"/>
                    <a:gd name="connsiteY274" fmla="*/ 10842 h 1262144"/>
                    <a:gd name="connsiteX275" fmla="*/ 506673 w 3746039"/>
                    <a:gd name="connsiteY275" fmla="*/ 4898 h 1262144"/>
                    <a:gd name="connsiteX276" fmla="*/ 565843 w 3746039"/>
                    <a:gd name="connsiteY276" fmla="*/ 15090 h 1262144"/>
                    <a:gd name="connsiteX277" fmla="*/ 529923 w 3746039"/>
                    <a:gd name="connsiteY277" fmla="*/ 18929 h 1262144"/>
                    <a:gd name="connsiteX278" fmla="*/ 498015 w 3746039"/>
                    <a:gd name="connsiteY278" fmla="*/ 12576 h 1262144"/>
                    <a:gd name="connsiteX279" fmla="*/ 503416 w 3746039"/>
                    <a:gd name="connsiteY279" fmla="*/ 11575 h 1262144"/>
                    <a:gd name="connsiteX280" fmla="*/ 506673 w 3746039"/>
                    <a:gd name="connsiteY280" fmla="*/ 4898 h 1262144"/>
                    <a:gd name="connsiteX281" fmla="*/ 506673 w 3746039"/>
                    <a:gd name="connsiteY281" fmla="*/ 4898 h 1262144"/>
                    <a:gd name="connsiteX282" fmla="*/ 671198 w 3746039"/>
                    <a:gd name="connsiteY282" fmla="*/ 17995 h 1262144"/>
                    <a:gd name="connsiteX283" fmla="*/ 653510 w 3746039"/>
                    <a:gd name="connsiteY283" fmla="*/ 14157 h 1262144"/>
                    <a:gd name="connsiteX284" fmla="*/ 669836 w 3746039"/>
                    <a:gd name="connsiteY284" fmla="*/ 9194 h 1262144"/>
                    <a:gd name="connsiteX285" fmla="*/ 678161 w 3746039"/>
                    <a:gd name="connsiteY285" fmla="*/ 8737 h 1262144"/>
                    <a:gd name="connsiteX286" fmla="*/ 679552 w 3746039"/>
                    <a:gd name="connsiteY286" fmla="*/ 4298 h 1262144"/>
                    <a:gd name="connsiteX287" fmla="*/ 704860 w 3746039"/>
                    <a:gd name="connsiteY287" fmla="*/ 10728 h 1262144"/>
                    <a:gd name="connsiteX288" fmla="*/ 671198 w 3746039"/>
                    <a:gd name="connsiteY288" fmla="*/ 17995 h 1262144"/>
                    <a:gd name="connsiteX289" fmla="*/ 671198 w 3746039"/>
                    <a:gd name="connsiteY289" fmla="*/ 17995 h 1262144"/>
                    <a:gd name="connsiteX290" fmla="*/ 1267901 w 3746039"/>
                    <a:gd name="connsiteY290" fmla="*/ 6175 h 1262144"/>
                    <a:gd name="connsiteX291" fmla="*/ 1287314 w 3746039"/>
                    <a:gd name="connsiteY291" fmla="*/ 12833 h 1262144"/>
                    <a:gd name="connsiteX292" fmla="*/ 1302125 w 3746039"/>
                    <a:gd name="connsiteY292" fmla="*/ 18071 h 1262144"/>
                    <a:gd name="connsiteX293" fmla="*/ 1291199 w 3746039"/>
                    <a:gd name="connsiteY293" fmla="*/ 23196 h 1262144"/>
                    <a:gd name="connsiteX294" fmla="*/ 1303992 w 3746039"/>
                    <a:gd name="connsiteY294" fmla="*/ 29882 h 1262144"/>
                    <a:gd name="connsiteX295" fmla="*/ 1278789 w 3746039"/>
                    <a:gd name="connsiteY295" fmla="*/ 34502 h 1262144"/>
                    <a:gd name="connsiteX296" fmla="*/ 1250109 w 3746039"/>
                    <a:gd name="connsiteY296" fmla="*/ 38703 h 1262144"/>
                    <a:gd name="connsiteX297" fmla="*/ 1224724 w 3746039"/>
                    <a:gd name="connsiteY297" fmla="*/ 36312 h 1262144"/>
                    <a:gd name="connsiteX298" fmla="*/ 1194693 w 3746039"/>
                    <a:gd name="connsiteY298" fmla="*/ 28759 h 1262144"/>
                    <a:gd name="connsiteX299" fmla="*/ 1207084 w 3746039"/>
                    <a:gd name="connsiteY299" fmla="*/ 23796 h 1262144"/>
                    <a:gd name="connsiteX300" fmla="*/ 1215723 w 3746039"/>
                    <a:gd name="connsiteY300" fmla="*/ 15138 h 1262144"/>
                    <a:gd name="connsiteX301" fmla="*/ 1203455 w 3746039"/>
                    <a:gd name="connsiteY301" fmla="*/ 13566 h 1262144"/>
                    <a:gd name="connsiteX302" fmla="*/ 1213123 w 3746039"/>
                    <a:gd name="connsiteY302" fmla="*/ 7384 h 1262144"/>
                    <a:gd name="connsiteX303" fmla="*/ 1237984 w 3746039"/>
                    <a:gd name="connsiteY303" fmla="*/ 31 h 1262144"/>
                    <a:gd name="connsiteX304" fmla="*/ 1267901 w 3746039"/>
                    <a:gd name="connsiteY304" fmla="*/ 6175 h 1262144"/>
                    <a:gd name="connsiteX305" fmla="*/ 1267901 w 3746039"/>
                    <a:gd name="connsiteY305" fmla="*/ 6175 h 1262144"/>
                    <a:gd name="connsiteX306" fmla="*/ 3541862 w 3746039"/>
                    <a:gd name="connsiteY306" fmla="*/ 510438 h 1262144"/>
                    <a:gd name="connsiteX307" fmla="*/ 3539195 w 3746039"/>
                    <a:gd name="connsiteY307" fmla="*/ 518496 h 1262144"/>
                    <a:gd name="connsiteX308" fmla="*/ 3530727 w 3746039"/>
                    <a:gd name="connsiteY308" fmla="*/ 524621 h 1262144"/>
                    <a:gd name="connsiteX309" fmla="*/ 3504829 w 3746039"/>
                    <a:gd name="connsiteY309" fmla="*/ 520849 h 1262144"/>
                    <a:gd name="connsiteX310" fmla="*/ 3481607 w 3746039"/>
                    <a:gd name="connsiteY310" fmla="*/ 512362 h 1262144"/>
                    <a:gd name="connsiteX311" fmla="*/ 3460814 w 3746039"/>
                    <a:gd name="connsiteY311" fmla="*/ 511066 h 1262144"/>
                    <a:gd name="connsiteX312" fmla="*/ 3489589 w 3746039"/>
                    <a:gd name="connsiteY312" fmla="*/ 518705 h 1262144"/>
                    <a:gd name="connsiteX313" fmla="*/ 3462414 w 3746039"/>
                    <a:gd name="connsiteY313" fmla="*/ 514838 h 1262144"/>
                    <a:gd name="connsiteX314" fmla="*/ 3457756 w 3746039"/>
                    <a:gd name="connsiteY314" fmla="*/ 515629 h 1262144"/>
                    <a:gd name="connsiteX315" fmla="*/ 3452118 w 3746039"/>
                    <a:gd name="connsiteY315" fmla="*/ 519077 h 1262144"/>
                    <a:gd name="connsiteX316" fmla="*/ 3436468 w 3746039"/>
                    <a:gd name="connsiteY316" fmla="*/ 522516 h 1262144"/>
                    <a:gd name="connsiteX317" fmla="*/ 3450622 w 3746039"/>
                    <a:gd name="connsiteY317" fmla="*/ 520544 h 1262144"/>
                    <a:gd name="connsiteX318" fmla="*/ 3460137 w 3746039"/>
                    <a:gd name="connsiteY318" fmla="*/ 516496 h 1262144"/>
                    <a:gd name="connsiteX319" fmla="*/ 3476549 w 3746039"/>
                    <a:gd name="connsiteY319" fmla="*/ 525611 h 1262144"/>
                    <a:gd name="connsiteX320" fmla="*/ 3485464 w 3746039"/>
                    <a:gd name="connsiteY320" fmla="*/ 523744 h 1262144"/>
                    <a:gd name="connsiteX321" fmla="*/ 3489189 w 3746039"/>
                    <a:gd name="connsiteY321" fmla="*/ 524240 h 1262144"/>
                    <a:gd name="connsiteX322" fmla="*/ 3491151 w 3746039"/>
                    <a:gd name="connsiteY322" fmla="*/ 521411 h 1262144"/>
                    <a:gd name="connsiteX323" fmla="*/ 3505077 w 3746039"/>
                    <a:gd name="connsiteY323" fmla="*/ 525487 h 1262144"/>
                    <a:gd name="connsiteX324" fmla="*/ 3536833 w 3746039"/>
                    <a:gd name="connsiteY324" fmla="*/ 536660 h 1262144"/>
                    <a:gd name="connsiteX325" fmla="*/ 3533366 w 3746039"/>
                    <a:gd name="connsiteY325" fmla="*/ 532593 h 1262144"/>
                    <a:gd name="connsiteX326" fmla="*/ 3553578 w 3746039"/>
                    <a:gd name="connsiteY326" fmla="*/ 543394 h 1262144"/>
                    <a:gd name="connsiteX327" fmla="*/ 3575495 w 3746039"/>
                    <a:gd name="connsiteY327" fmla="*/ 554558 h 1262144"/>
                    <a:gd name="connsiteX328" fmla="*/ 3571580 w 3746039"/>
                    <a:gd name="connsiteY328" fmla="*/ 556501 h 1262144"/>
                    <a:gd name="connsiteX329" fmla="*/ 3581314 w 3746039"/>
                    <a:gd name="connsiteY329" fmla="*/ 559149 h 1262144"/>
                    <a:gd name="connsiteX330" fmla="*/ 3587744 w 3746039"/>
                    <a:gd name="connsiteY330" fmla="*/ 563140 h 1262144"/>
                    <a:gd name="connsiteX331" fmla="*/ 3582467 w 3746039"/>
                    <a:gd name="connsiteY331" fmla="*/ 558558 h 1262144"/>
                    <a:gd name="connsiteX332" fmla="*/ 3599155 w 3746039"/>
                    <a:gd name="connsiteY332" fmla="*/ 566683 h 1262144"/>
                    <a:gd name="connsiteX333" fmla="*/ 3616785 w 3746039"/>
                    <a:gd name="connsiteY333" fmla="*/ 573131 h 1262144"/>
                    <a:gd name="connsiteX334" fmla="*/ 3632207 w 3746039"/>
                    <a:gd name="connsiteY334" fmla="*/ 581790 h 1262144"/>
                    <a:gd name="connsiteX335" fmla="*/ 3643427 w 3746039"/>
                    <a:gd name="connsiteY335" fmla="*/ 596992 h 1262144"/>
                    <a:gd name="connsiteX336" fmla="*/ 3607823 w 3746039"/>
                    <a:gd name="connsiteY336" fmla="*/ 589800 h 1262144"/>
                    <a:gd name="connsiteX337" fmla="*/ 3590592 w 3746039"/>
                    <a:gd name="connsiteY337" fmla="*/ 588476 h 1262144"/>
                    <a:gd name="connsiteX338" fmla="*/ 3581324 w 3746039"/>
                    <a:gd name="connsiteY338" fmla="*/ 582371 h 1262144"/>
                    <a:gd name="connsiteX339" fmla="*/ 3581877 w 3746039"/>
                    <a:gd name="connsiteY339" fmla="*/ 583428 h 1262144"/>
                    <a:gd name="connsiteX340" fmla="*/ 3575323 w 3746039"/>
                    <a:gd name="connsiteY340" fmla="*/ 582590 h 1262144"/>
                    <a:gd name="connsiteX341" fmla="*/ 3587791 w 3746039"/>
                    <a:gd name="connsiteY341" fmla="*/ 589400 h 1262144"/>
                    <a:gd name="connsiteX342" fmla="*/ 3576695 w 3746039"/>
                    <a:gd name="connsiteY342" fmla="*/ 596820 h 1262144"/>
                    <a:gd name="connsiteX343" fmla="*/ 3563846 w 3746039"/>
                    <a:gd name="connsiteY343" fmla="*/ 603850 h 1262144"/>
                    <a:gd name="connsiteX344" fmla="*/ 3557616 w 3746039"/>
                    <a:gd name="connsiteY344" fmla="*/ 608717 h 1262144"/>
                    <a:gd name="connsiteX345" fmla="*/ 3551949 w 3746039"/>
                    <a:gd name="connsiteY345" fmla="*/ 613174 h 1262144"/>
                    <a:gd name="connsiteX346" fmla="*/ 3542091 w 3746039"/>
                    <a:gd name="connsiteY346" fmla="*/ 616022 h 1262144"/>
                    <a:gd name="connsiteX347" fmla="*/ 3543634 w 3746039"/>
                    <a:gd name="connsiteY347" fmla="*/ 625766 h 1262144"/>
                    <a:gd name="connsiteX348" fmla="*/ 3534613 w 3746039"/>
                    <a:gd name="connsiteY348" fmla="*/ 623795 h 1262144"/>
                    <a:gd name="connsiteX349" fmla="*/ 3542224 w 3746039"/>
                    <a:gd name="connsiteY349" fmla="*/ 629348 h 1262144"/>
                    <a:gd name="connsiteX350" fmla="*/ 3538128 w 3746039"/>
                    <a:gd name="connsiteY350" fmla="*/ 628672 h 1262144"/>
                    <a:gd name="connsiteX351" fmla="*/ 3536433 w 3746039"/>
                    <a:gd name="connsiteY351" fmla="*/ 633301 h 1262144"/>
                    <a:gd name="connsiteX352" fmla="*/ 3540748 w 3746039"/>
                    <a:gd name="connsiteY352" fmla="*/ 636635 h 1262144"/>
                    <a:gd name="connsiteX353" fmla="*/ 3536871 w 3746039"/>
                    <a:gd name="connsiteY353" fmla="*/ 643702 h 1262144"/>
                    <a:gd name="connsiteX354" fmla="*/ 3534166 w 3746039"/>
                    <a:gd name="connsiteY354" fmla="*/ 643997 h 1262144"/>
                    <a:gd name="connsiteX355" fmla="*/ 3533480 w 3746039"/>
                    <a:gd name="connsiteY355" fmla="*/ 647207 h 1262144"/>
                    <a:gd name="connsiteX356" fmla="*/ 3529118 w 3746039"/>
                    <a:gd name="connsiteY356" fmla="*/ 653599 h 1262144"/>
                    <a:gd name="connsiteX357" fmla="*/ 3529175 w 3746039"/>
                    <a:gd name="connsiteY357" fmla="*/ 661238 h 1262144"/>
                    <a:gd name="connsiteX358" fmla="*/ 3537719 w 3746039"/>
                    <a:gd name="connsiteY358" fmla="*/ 671153 h 1262144"/>
                    <a:gd name="connsiteX359" fmla="*/ 3500733 w 3746039"/>
                    <a:gd name="connsiteY359" fmla="*/ 656104 h 1262144"/>
                    <a:gd name="connsiteX360" fmla="*/ 3454089 w 3746039"/>
                    <a:gd name="connsiteY360" fmla="*/ 654341 h 1262144"/>
                    <a:gd name="connsiteX361" fmla="*/ 3445869 w 3746039"/>
                    <a:gd name="connsiteY361" fmla="*/ 669496 h 1262144"/>
                    <a:gd name="connsiteX362" fmla="*/ 3435763 w 3746039"/>
                    <a:gd name="connsiteY362" fmla="*/ 669000 h 1262144"/>
                    <a:gd name="connsiteX363" fmla="*/ 3419732 w 3746039"/>
                    <a:gd name="connsiteY363" fmla="*/ 654904 h 1262144"/>
                    <a:gd name="connsiteX364" fmla="*/ 3414332 w 3746039"/>
                    <a:gd name="connsiteY364" fmla="*/ 662619 h 1262144"/>
                    <a:gd name="connsiteX365" fmla="*/ 3408017 w 3746039"/>
                    <a:gd name="connsiteY365" fmla="*/ 666962 h 1262144"/>
                    <a:gd name="connsiteX366" fmla="*/ 3415808 w 3746039"/>
                    <a:gd name="connsiteY366" fmla="*/ 674449 h 1262144"/>
                    <a:gd name="connsiteX367" fmla="*/ 3392948 w 3746039"/>
                    <a:gd name="connsiteY367" fmla="*/ 673296 h 1262144"/>
                    <a:gd name="connsiteX368" fmla="*/ 3379013 w 3746039"/>
                    <a:gd name="connsiteY368" fmla="*/ 675687 h 1262144"/>
                    <a:gd name="connsiteX369" fmla="*/ 3398225 w 3746039"/>
                    <a:gd name="connsiteY369" fmla="*/ 697423 h 1262144"/>
                    <a:gd name="connsiteX370" fmla="*/ 3399777 w 3746039"/>
                    <a:gd name="connsiteY370" fmla="*/ 700462 h 1262144"/>
                    <a:gd name="connsiteX371" fmla="*/ 3399939 w 3746039"/>
                    <a:gd name="connsiteY371" fmla="*/ 703462 h 1262144"/>
                    <a:gd name="connsiteX372" fmla="*/ 3405893 w 3746039"/>
                    <a:gd name="connsiteY372" fmla="*/ 724026 h 1262144"/>
                    <a:gd name="connsiteX373" fmla="*/ 3420171 w 3746039"/>
                    <a:gd name="connsiteY373" fmla="*/ 735971 h 1262144"/>
                    <a:gd name="connsiteX374" fmla="*/ 3435477 w 3746039"/>
                    <a:gd name="connsiteY374" fmla="*/ 741962 h 1262144"/>
                    <a:gd name="connsiteX375" fmla="*/ 3433096 w 3746039"/>
                    <a:gd name="connsiteY375" fmla="*/ 734694 h 1262144"/>
                    <a:gd name="connsiteX376" fmla="*/ 3445383 w 3746039"/>
                    <a:gd name="connsiteY376" fmla="*/ 737285 h 1262144"/>
                    <a:gd name="connsiteX377" fmla="*/ 3458213 w 3746039"/>
                    <a:gd name="connsiteY377" fmla="*/ 749496 h 1262144"/>
                    <a:gd name="connsiteX378" fmla="*/ 3471891 w 3746039"/>
                    <a:gd name="connsiteY378" fmla="*/ 763822 h 1262144"/>
                    <a:gd name="connsiteX379" fmla="*/ 3481845 w 3746039"/>
                    <a:gd name="connsiteY379" fmla="*/ 771747 h 1262144"/>
                    <a:gd name="connsiteX380" fmla="*/ 3492027 w 3746039"/>
                    <a:gd name="connsiteY380" fmla="*/ 773328 h 1262144"/>
                    <a:gd name="connsiteX381" fmla="*/ 3512392 w 3746039"/>
                    <a:gd name="connsiteY381" fmla="*/ 787396 h 1262144"/>
                    <a:gd name="connsiteX382" fmla="*/ 3506486 w 3746039"/>
                    <a:gd name="connsiteY382" fmla="*/ 793168 h 1262144"/>
                    <a:gd name="connsiteX383" fmla="*/ 3495313 w 3746039"/>
                    <a:gd name="connsiteY383" fmla="*/ 785606 h 1262144"/>
                    <a:gd name="connsiteX384" fmla="*/ 3495228 w 3746039"/>
                    <a:gd name="connsiteY384" fmla="*/ 779814 h 1262144"/>
                    <a:gd name="connsiteX385" fmla="*/ 3487960 w 3746039"/>
                    <a:gd name="connsiteY385" fmla="*/ 781176 h 1262144"/>
                    <a:gd name="connsiteX386" fmla="*/ 3493351 w 3746039"/>
                    <a:gd name="connsiteY386" fmla="*/ 787844 h 1262144"/>
                    <a:gd name="connsiteX387" fmla="*/ 3494332 w 3746039"/>
                    <a:gd name="connsiteY387" fmla="*/ 801541 h 1262144"/>
                    <a:gd name="connsiteX388" fmla="*/ 3511496 w 3746039"/>
                    <a:gd name="connsiteY388" fmla="*/ 819391 h 1262144"/>
                    <a:gd name="connsiteX389" fmla="*/ 3531937 w 3746039"/>
                    <a:gd name="connsiteY389" fmla="*/ 830583 h 1262144"/>
                    <a:gd name="connsiteX390" fmla="*/ 3532070 w 3746039"/>
                    <a:gd name="connsiteY390" fmla="*/ 842737 h 1262144"/>
                    <a:gd name="connsiteX391" fmla="*/ 3512277 w 3746039"/>
                    <a:gd name="connsiteY391" fmla="*/ 842898 h 1262144"/>
                    <a:gd name="connsiteX392" fmla="*/ 3511172 w 3746039"/>
                    <a:gd name="connsiteY392" fmla="*/ 859320 h 1262144"/>
                    <a:gd name="connsiteX393" fmla="*/ 3544424 w 3746039"/>
                    <a:gd name="connsiteY393" fmla="*/ 886485 h 1262144"/>
                    <a:gd name="connsiteX394" fmla="*/ 3529555 w 3746039"/>
                    <a:gd name="connsiteY394" fmla="*/ 883075 h 1262144"/>
                    <a:gd name="connsiteX395" fmla="*/ 3519859 w 3746039"/>
                    <a:gd name="connsiteY395" fmla="*/ 893429 h 1262144"/>
                    <a:gd name="connsiteX396" fmla="*/ 3508667 w 3746039"/>
                    <a:gd name="connsiteY396" fmla="*/ 889533 h 1262144"/>
                    <a:gd name="connsiteX397" fmla="*/ 3516964 w 3746039"/>
                    <a:gd name="connsiteY397" fmla="*/ 894191 h 1262144"/>
                    <a:gd name="connsiteX398" fmla="*/ 3522583 w 3746039"/>
                    <a:gd name="connsiteY398" fmla="*/ 901363 h 1262144"/>
                    <a:gd name="connsiteX399" fmla="*/ 3536747 w 3746039"/>
                    <a:gd name="connsiteY399" fmla="*/ 917670 h 1262144"/>
                    <a:gd name="connsiteX400" fmla="*/ 3540871 w 3746039"/>
                    <a:gd name="connsiteY400" fmla="*/ 926633 h 1262144"/>
                    <a:gd name="connsiteX401" fmla="*/ 3539319 w 3746039"/>
                    <a:gd name="connsiteY401" fmla="*/ 936158 h 1262144"/>
                    <a:gd name="connsiteX402" fmla="*/ 3536223 w 3746039"/>
                    <a:gd name="connsiteY402" fmla="*/ 953627 h 1262144"/>
                    <a:gd name="connsiteX403" fmla="*/ 3521564 w 3746039"/>
                    <a:gd name="connsiteY403" fmla="*/ 945083 h 1262144"/>
                    <a:gd name="connsiteX404" fmla="*/ 3506257 w 3746039"/>
                    <a:gd name="connsiteY404" fmla="*/ 933405 h 1262144"/>
                    <a:gd name="connsiteX405" fmla="*/ 3471739 w 3746039"/>
                    <a:gd name="connsiteY405" fmla="*/ 905173 h 1262144"/>
                    <a:gd name="connsiteX406" fmla="*/ 3400311 w 3746039"/>
                    <a:gd name="connsiteY406" fmla="*/ 851995 h 1262144"/>
                    <a:gd name="connsiteX407" fmla="*/ 3333388 w 3746039"/>
                    <a:gd name="connsiteY407" fmla="*/ 794016 h 1262144"/>
                    <a:gd name="connsiteX408" fmla="*/ 3317529 w 3746039"/>
                    <a:gd name="connsiteY408" fmla="*/ 774261 h 1262144"/>
                    <a:gd name="connsiteX409" fmla="*/ 3317643 w 3746039"/>
                    <a:gd name="connsiteY409" fmla="*/ 756592 h 1262144"/>
                    <a:gd name="connsiteX410" fmla="*/ 3301889 w 3746039"/>
                    <a:gd name="connsiteY410" fmla="*/ 742219 h 1262144"/>
                    <a:gd name="connsiteX411" fmla="*/ 3313119 w 3746039"/>
                    <a:gd name="connsiteY411" fmla="*/ 739390 h 1262144"/>
                    <a:gd name="connsiteX412" fmla="*/ 3310223 w 3746039"/>
                    <a:gd name="connsiteY412" fmla="*/ 732447 h 1262144"/>
                    <a:gd name="connsiteX413" fmla="*/ 3325292 w 3746039"/>
                    <a:gd name="connsiteY413" fmla="*/ 732789 h 1262144"/>
                    <a:gd name="connsiteX414" fmla="*/ 3327207 w 3746039"/>
                    <a:gd name="connsiteY414" fmla="*/ 721198 h 1262144"/>
                    <a:gd name="connsiteX415" fmla="*/ 3327321 w 3746039"/>
                    <a:gd name="connsiteY415" fmla="*/ 707758 h 1262144"/>
                    <a:gd name="connsiteX416" fmla="*/ 3322453 w 3746039"/>
                    <a:gd name="connsiteY416" fmla="*/ 699595 h 1262144"/>
                    <a:gd name="connsiteX417" fmla="*/ 3322463 w 3746039"/>
                    <a:gd name="connsiteY417" fmla="*/ 692127 h 1262144"/>
                    <a:gd name="connsiteX418" fmla="*/ 3322130 w 3746039"/>
                    <a:gd name="connsiteY418" fmla="*/ 684964 h 1262144"/>
                    <a:gd name="connsiteX419" fmla="*/ 3326283 w 3746039"/>
                    <a:gd name="connsiteY419" fmla="*/ 681297 h 1262144"/>
                    <a:gd name="connsiteX420" fmla="*/ 3326273 w 3746039"/>
                    <a:gd name="connsiteY420" fmla="*/ 674049 h 1262144"/>
                    <a:gd name="connsiteX421" fmla="*/ 3325102 w 3746039"/>
                    <a:gd name="connsiteY421" fmla="*/ 669667 h 1262144"/>
                    <a:gd name="connsiteX422" fmla="*/ 3326740 w 3746039"/>
                    <a:gd name="connsiteY422" fmla="*/ 666305 h 1262144"/>
                    <a:gd name="connsiteX423" fmla="*/ 3323092 w 3746039"/>
                    <a:gd name="connsiteY423" fmla="*/ 654827 h 1262144"/>
                    <a:gd name="connsiteX424" fmla="*/ 3332398 w 3746039"/>
                    <a:gd name="connsiteY424" fmla="*/ 645350 h 1262144"/>
                    <a:gd name="connsiteX425" fmla="*/ 3343552 w 3746039"/>
                    <a:gd name="connsiteY425" fmla="*/ 641187 h 1262144"/>
                    <a:gd name="connsiteX426" fmla="*/ 3333960 w 3746039"/>
                    <a:gd name="connsiteY426" fmla="*/ 635501 h 1262144"/>
                    <a:gd name="connsiteX427" fmla="*/ 3332569 w 3746039"/>
                    <a:gd name="connsiteY427" fmla="*/ 627033 h 1262144"/>
                    <a:gd name="connsiteX428" fmla="*/ 3323463 w 3746039"/>
                    <a:gd name="connsiteY428" fmla="*/ 623233 h 1262144"/>
                    <a:gd name="connsiteX429" fmla="*/ 3317510 w 3746039"/>
                    <a:gd name="connsiteY429" fmla="*/ 614394 h 1262144"/>
                    <a:gd name="connsiteX430" fmla="*/ 3300241 w 3746039"/>
                    <a:gd name="connsiteY430" fmla="*/ 596144 h 1262144"/>
                    <a:gd name="connsiteX431" fmla="*/ 3320377 w 3746039"/>
                    <a:gd name="connsiteY431" fmla="*/ 595287 h 1262144"/>
                    <a:gd name="connsiteX432" fmla="*/ 3317519 w 3746039"/>
                    <a:gd name="connsiteY432" fmla="*/ 592953 h 1262144"/>
                    <a:gd name="connsiteX433" fmla="*/ 3322263 w 3746039"/>
                    <a:gd name="connsiteY433" fmla="*/ 592991 h 1262144"/>
                    <a:gd name="connsiteX434" fmla="*/ 3295917 w 3746039"/>
                    <a:gd name="connsiteY434" fmla="*/ 586647 h 1262144"/>
                    <a:gd name="connsiteX435" fmla="*/ 3270066 w 3746039"/>
                    <a:gd name="connsiteY435" fmla="*/ 589714 h 1262144"/>
                    <a:gd name="connsiteX436" fmla="*/ 3275876 w 3746039"/>
                    <a:gd name="connsiteY436" fmla="*/ 594991 h 1262144"/>
                    <a:gd name="connsiteX437" fmla="*/ 3278191 w 3746039"/>
                    <a:gd name="connsiteY437" fmla="*/ 599335 h 1262144"/>
                    <a:gd name="connsiteX438" fmla="*/ 3291764 w 3746039"/>
                    <a:gd name="connsiteY438" fmla="*/ 612813 h 1262144"/>
                    <a:gd name="connsiteX439" fmla="*/ 3303032 w 3746039"/>
                    <a:gd name="connsiteY439" fmla="*/ 619937 h 1262144"/>
                    <a:gd name="connsiteX440" fmla="*/ 3289935 w 3746039"/>
                    <a:gd name="connsiteY440" fmla="*/ 616165 h 1262144"/>
                    <a:gd name="connsiteX441" fmla="*/ 3291012 w 3746039"/>
                    <a:gd name="connsiteY441" fmla="*/ 618013 h 1262144"/>
                    <a:gd name="connsiteX442" fmla="*/ 3282487 w 3746039"/>
                    <a:gd name="connsiteY442" fmla="*/ 625938 h 1262144"/>
                    <a:gd name="connsiteX443" fmla="*/ 3280953 w 3746039"/>
                    <a:gd name="connsiteY443" fmla="*/ 646341 h 1262144"/>
                    <a:gd name="connsiteX444" fmla="*/ 3266932 w 3746039"/>
                    <a:gd name="connsiteY444" fmla="*/ 645474 h 1262144"/>
                    <a:gd name="connsiteX445" fmla="*/ 3259874 w 3746039"/>
                    <a:gd name="connsiteY445" fmla="*/ 637416 h 1262144"/>
                    <a:gd name="connsiteX446" fmla="*/ 3251616 w 3746039"/>
                    <a:gd name="connsiteY446" fmla="*/ 640159 h 1262144"/>
                    <a:gd name="connsiteX447" fmla="*/ 3246596 w 3746039"/>
                    <a:gd name="connsiteY447" fmla="*/ 634015 h 1262144"/>
                    <a:gd name="connsiteX448" fmla="*/ 3239062 w 3746039"/>
                    <a:gd name="connsiteY448" fmla="*/ 627624 h 1262144"/>
                    <a:gd name="connsiteX449" fmla="*/ 3225622 w 3746039"/>
                    <a:gd name="connsiteY449" fmla="*/ 610279 h 1262144"/>
                    <a:gd name="connsiteX450" fmla="*/ 3217812 w 3746039"/>
                    <a:gd name="connsiteY450" fmla="*/ 614689 h 1262144"/>
                    <a:gd name="connsiteX451" fmla="*/ 3208182 w 3746039"/>
                    <a:gd name="connsiteY451" fmla="*/ 612746 h 1262144"/>
                    <a:gd name="connsiteX452" fmla="*/ 3186722 w 3746039"/>
                    <a:gd name="connsiteY452" fmla="*/ 612860 h 1262144"/>
                    <a:gd name="connsiteX453" fmla="*/ 3178788 w 3746039"/>
                    <a:gd name="connsiteY453" fmla="*/ 614698 h 1262144"/>
                    <a:gd name="connsiteX454" fmla="*/ 3164824 w 3746039"/>
                    <a:gd name="connsiteY454" fmla="*/ 613441 h 1262144"/>
                    <a:gd name="connsiteX455" fmla="*/ 3159624 w 3746039"/>
                    <a:gd name="connsiteY455" fmla="*/ 619061 h 1262144"/>
                    <a:gd name="connsiteX456" fmla="*/ 3161062 w 3746039"/>
                    <a:gd name="connsiteY456" fmla="*/ 626690 h 1262144"/>
                    <a:gd name="connsiteX457" fmla="*/ 3163700 w 3746039"/>
                    <a:gd name="connsiteY457" fmla="*/ 631567 h 1262144"/>
                    <a:gd name="connsiteX458" fmla="*/ 3161834 w 3746039"/>
                    <a:gd name="connsiteY458" fmla="*/ 636206 h 1262144"/>
                    <a:gd name="connsiteX459" fmla="*/ 3165158 w 3746039"/>
                    <a:gd name="connsiteY459" fmla="*/ 648598 h 1262144"/>
                    <a:gd name="connsiteX460" fmla="*/ 3159319 w 3746039"/>
                    <a:gd name="connsiteY460" fmla="*/ 660552 h 1262144"/>
                    <a:gd name="connsiteX461" fmla="*/ 3164710 w 3746039"/>
                    <a:gd name="connsiteY461" fmla="*/ 673725 h 1262144"/>
                    <a:gd name="connsiteX462" fmla="*/ 3169263 w 3746039"/>
                    <a:gd name="connsiteY462" fmla="*/ 681735 h 1262144"/>
                    <a:gd name="connsiteX463" fmla="*/ 3179083 w 3746039"/>
                    <a:gd name="connsiteY463" fmla="*/ 685479 h 1262144"/>
                    <a:gd name="connsiteX464" fmla="*/ 3207239 w 3746039"/>
                    <a:gd name="connsiteY464" fmla="*/ 695575 h 1262144"/>
                    <a:gd name="connsiteX465" fmla="*/ 3197819 w 3746039"/>
                    <a:gd name="connsiteY465" fmla="*/ 697023 h 1262144"/>
                    <a:gd name="connsiteX466" fmla="*/ 3190180 w 3746039"/>
                    <a:gd name="connsiteY466" fmla="*/ 694918 h 1262144"/>
                    <a:gd name="connsiteX467" fmla="*/ 3188484 w 3746039"/>
                    <a:gd name="connsiteY467" fmla="*/ 697518 h 1262144"/>
                    <a:gd name="connsiteX468" fmla="*/ 3163491 w 3746039"/>
                    <a:gd name="connsiteY468" fmla="*/ 694794 h 1262144"/>
                    <a:gd name="connsiteX469" fmla="*/ 3165853 w 3746039"/>
                    <a:gd name="connsiteY469" fmla="*/ 698680 h 1262144"/>
                    <a:gd name="connsiteX470" fmla="*/ 3161786 w 3746039"/>
                    <a:gd name="connsiteY470" fmla="*/ 701233 h 1262144"/>
                    <a:gd name="connsiteX471" fmla="*/ 3157557 w 3746039"/>
                    <a:gd name="connsiteY471" fmla="*/ 703433 h 1262144"/>
                    <a:gd name="connsiteX472" fmla="*/ 3142831 w 3746039"/>
                    <a:gd name="connsiteY472" fmla="*/ 701643 h 1262144"/>
                    <a:gd name="connsiteX473" fmla="*/ 3144088 w 3746039"/>
                    <a:gd name="connsiteY473" fmla="*/ 704376 h 1262144"/>
                    <a:gd name="connsiteX474" fmla="*/ 3114875 w 3746039"/>
                    <a:gd name="connsiteY474" fmla="*/ 698957 h 1262144"/>
                    <a:gd name="connsiteX475" fmla="*/ 3136973 w 3746039"/>
                    <a:gd name="connsiteY475" fmla="*/ 694518 h 1262144"/>
                    <a:gd name="connsiteX476" fmla="*/ 3123638 w 3746039"/>
                    <a:gd name="connsiteY476" fmla="*/ 691699 h 1262144"/>
                    <a:gd name="connsiteX477" fmla="*/ 3107169 w 3746039"/>
                    <a:gd name="connsiteY477" fmla="*/ 684898 h 1262144"/>
                    <a:gd name="connsiteX478" fmla="*/ 3094158 w 3746039"/>
                    <a:gd name="connsiteY478" fmla="*/ 684698 h 1262144"/>
                    <a:gd name="connsiteX479" fmla="*/ 3092406 w 3746039"/>
                    <a:gd name="connsiteY479" fmla="*/ 686850 h 1262144"/>
                    <a:gd name="connsiteX480" fmla="*/ 3085034 w 3746039"/>
                    <a:gd name="connsiteY480" fmla="*/ 685984 h 1262144"/>
                    <a:gd name="connsiteX481" fmla="*/ 3087196 w 3746039"/>
                    <a:gd name="connsiteY481" fmla="*/ 684031 h 1262144"/>
                    <a:gd name="connsiteX482" fmla="*/ 3046552 w 3746039"/>
                    <a:gd name="connsiteY482" fmla="*/ 681697 h 1262144"/>
                    <a:gd name="connsiteX483" fmla="*/ 3054887 w 3746039"/>
                    <a:gd name="connsiteY483" fmla="*/ 686174 h 1262144"/>
                    <a:gd name="connsiteX484" fmla="*/ 3043647 w 3746039"/>
                    <a:gd name="connsiteY484" fmla="*/ 684783 h 1262144"/>
                    <a:gd name="connsiteX485" fmla="*/ 3055220 w 3746039"/>
                    <a:gd name="connsiteY485" fmla="*/ 692651 h 1262144"/>
                    <a:gd name="connsiteX486" fmla="*/ 3037161 w 3746039"/>
                    <a:gd name="connsiteY486" fmla="*/ 689460 h 1262144"/>
                    <a:gd name="connsiteX487" fmla="*/ 3021235 w 3746039"/>
                    <a:gd name="connsiteY487" fmla="*/ 692851 h 1262144"/>
                    <a:gd name="connsiteX488" fmla="*/ 3001537 w 3746039"/>
                    <a:gd name="connsiteY488" fmla="*/ 689708 h 1262144"/>
                    <a:gd name="connsiteX489" fmla="*/ 2994517 w 3746039"/>
                    <a:gd name="connsiteY489" fmla="*/ 694575 h 1262144"/>
                    <a:gd name="connsiteX490" fmla="*/ 2980173 w 3746039"/>
                    <a:gd name="connsiteY490" fmla="*/ 691118 h 1262144"/>
                    <a:gd name="connsiteX491" fmla="*/ 2962552 w 3746039"/>
                    <a:gd name="connsiteY491" fmla="*/ 688908 h 1262144"/>
                    <a:gd name="connsiteX492" fmla="*/ 2944092 w 3746039"/>
                    <a:gd name="connsiteY492" fmla="*/ 689451 h 1262144"/>
                    <a:gd name="connsiteX493" fmla="*/ 2925242 w 3746039"/>
                    <a:gd name="connsiteY493" fmla="*/ 690613 h 1262144"/>
                    <a:gd name="connsiteX494" fmla="*/ 2907897 w 3746039"/>
                    <a:gd name="connsiteY494" fmla="*/ 693251 h 1262144"/>
                    <a:gd name="connsiteX495" fmla="*/ 2902582 w 3746039"/>
                    <a:gd name="connsiteY495" fmla="*/ 708691 h 1262144"/>
                    <a:gd name="connsiteX496" fmla="*/ 2895334 w 3746039"/>
                    <a:gd name="connsiteY496" fmla="*/ 719893 h 1262144"/>
                    <a:gd name="connsiteX497" fmla="*/ 2901268 w 3746039"/>
                    <a:gd name="connsiteY497" fmla="*/ 736799 h 1262144"/>
                    <a:gd name="connsiteX498" fmla="*/ 2899782 w 3746039"/>
                    <a:gd name="connsiteY498" fmla="*/ 740286 h 1262144"/>
                    <a:gd name="connsiteX499" fmla="*/ 2895553 w 3746039"/>
                    <a:gd name="connsiteY499" fmla="*/ 742991 h 1262144"/>
                    <a:gd name="connsiteX500" fmla="*/ 2896334 w 3746039"/>
                    <a:gd name="connsiteY500" fmla="*/ 746001 h 1262144"/>
                    <a:gd name="connsiteX501" fmla="*/ 2893895 w 3746039"/>
                    <a:gd name="connsiteY501" fmla="*/ 751668 h 1262144"/>
                    <a:gd name="connsiteX502" fmla="*/ 2889371 w 3746039"/>
                    <a:gd name="connsiteY502" fmla="*/ 756250 h 1262144"/>
                    <a:gd name="connsiteX503" fmla="*/ 2888857 w 3746039"/>
                    <a:gd name="connsiteY503" fmla="*/ 762803 h 1262144"/>
                    <a:gd name="connsiteX504" fmla="*/ 2886209 w 3746039"/>
                    <a:gd name="connsiteY504" fmla="*/ 770909 h 1262144"/>
                    <a:gd name="connsiteX505" fmla="*/ 2888780 w 3746039"/>
                    <a:gd name="connsiteY505" fmla="*/ 787053 h 1262144"/>
                    <a:gd name="connsiteX506" fmla="*/ 2875484 w 3746039"/>
                    <a:gd name="connsiteY506" fmla="*/ 812866 h 1262144"/>
                    <a:gd name="connsiteX507" fmla="*/ 2872959 w 3746039"/>
                    <a:gd name="connsiteY507" fmla="*/ 820286 h 1262144"/>
                    <a:gd name="connsiteX508" fmla="*/ 2867397 w 3746039"/>
                    <a:gd name="connsiteY508" fmla="*/ 824334 h 1262144"/>
                    <a:gd name="connsiteX509" fmla="*/ 2872207 w 3746039"/>
                    <a:gd name="connsiteY509" fmla="*/ 836021 h 1262144"/>
                    <a:gd name="connsiteX510" fmla="*/ 2891323 w 3746039"/>
                    <a:gd name="connsiteY510" fmla="*/ 840632 h 1262144"/>
                    <a:gd name="connsiteX511" fmla="*/ 2912717 w 3746039"/>
                    <a:gd name="connsiteY511" fmla="*/ 839422 h 1262144"/>
                    <a:gd name="connsiteX512" fmla="*/ 2939530 w 3746039"/>
                    <a:gd name="connsiteY512" fmla="*/ 865920 h 1262144"/>
                    <a:gd name="connsiteX513" fmla="*/ 2947150 w 3746039"/>
                    <a:gd name="connsiteY513" fmla="*/ 864673 h 1262144"/>
                    <a:gd name="connsiteX514" fmla="*/ 2940406 w 3746039"/>
                    <a:gd name="connsiteY514" fmla="*/ 857262 h 1262144"/>
                    <a:gd name="connsiteX515" fmla="*/ 2938282 w 3746039"/>
                    <a:gd name="connsiteY515" fmla="*/ 850576 h 1262144"/>
                    <a:gd name="connsiteX516" fmla="*/ 2943244 w 3746039"/>
                    <a:gd name="connsiteY516" fmla="*/ 855891 h 1262144"/>
                    <a:gd name="connsiteX517" fmla="*/ 2959389 w 3746039"/>
                    <a:gd name="connsiteY517" fmla="*/ 860615 h 1262144"/>
                    <a:gd name="connsiteX518" fmla="*/ 2958274 w 3746039"/>
                    <a:gd name="connsiteY518" fmla="*/ 863920 h 1262144"/>
                    <a:gd name="connsiteX519" fmla="*/ 2959684 w 3746039"/>
                    <a:gd name="connsiteY519" fmla="*/ 868273 h 1262144"/>
                    <a:gd name="connsiteX520" fmla="*/ 2956884 w 3746039"/>
                    <a:gd name="connsiteY520" fmla="*/ 870645 h 1262144"/>
                    <a:gd name="connsiteX521" fmla="*/ 2968114 w 3746039"/>
                    <a:gd name="connsiteY521" fmla="*/ 873007 h 1262144"/>
                    <a:gd name="connsiteX522" fmla="*/ 2974324 w 3746039"/>
                    <a:gd name="connsiteY522" fmla="*/ 870921 h 1262144"/>
                    <a:gd name="connsiteX523" fmla="*/ 2975905 w 3746039"/>
                    <a:gd name="connsiteY523" fmla="*/ 863787 h 1262144"/>
                    <a:gd name="connsiteX524" fmla="*/ 2982649 w 3746039"/>
                    <a:gd name="connsiteY524" fmla="*/ 864758 h 1262144"/>
                    <a:gd name="connsiteX525" fmla="*/ 2988326 w 3746039"/>
                    <a:gd name="connsiteY525" fmla="*/ 873636 h 1262144"/>
                    <a:gd name="connsiteX526" fmla="*/ 2970057 w 3746039"/>
                    <a:gd name="connsiteY526" fmla="*/ 849661 h 1262144"/>
                    <a:gd name="connsiteX527" fmla="*/ 2985735 w 3746039"/>
                    <a:gd name="connsiteY527" fmla="*/ 852442 h 1262144"/>
                    <a:gd name="connsiteX528" fmla="*/ 3001337 w 3746039"/>
                    <a:gd name="connsiteY528" fmla="*/ 851776 h 1262144"/>
                    <a:gd name="connsiteX529" fmla="*/ 3031732 w 3746039"/>
                    <a:gd name="connsiteY529" fmla="*/ 866892 h 1262144"/>
                    <a:gd name="connsiteX530" fmla="*/ 3063449 w 3746039"/>
                    <a:gd name="connsiteY530" fmla="*/ 879732 h 1262144"/>
                    <a:gd name="connsiteX531" fmla="*/ 3073841 w 3746039"/>
                    <a:gd name="connsiteY531" fmla="*/ 886113 h 1262144"/>
                    <a:gd name="connsiteX532" fmla="*/ 3062250 w 3746039"/>
                    <a:gd name="connsiteY532" fmla="*/ 887780 h 1262144"/>
                    <a:gd name="connsiteX533" fmla="*/ 3082671 w 3746039"/>
                    <a:gd name="connsiteY533" fmla="*/ 897782 h 1262144"/>
                    <a:gd name="connsiteX534" fmla="*/ 3097464 w 3746039"/>
                    <a:gd name="connsiteY534" fmla="*/ 912450 h 1262144"/>
                    <a:gd name="connsiteX535" fmla="*/ 3110998 w 3746039"/>
                    <a:gd name="connsiteY535" fmla="*/ 925509 h 1262144"/>
                    <a:gd name="connsiteX536" fmla="*/ 3109751 w 3746039"/>
                    <a:gd name="connsiteY536" fmla="*/ 934329 h 1262144"/>
                    <a:gd name="connsiteX537" fmla="*/ 3114828 w 3746039"/>
                    <a:gd name="connsiteY537" fmla="*/ 945340 h 1262144"/>
                    <a:gd name="connsiteX538" fmla="*/ 3144841 w 3746039"/>
                    <a:gd name="connsiteY538" fmla="*/ 981278 h 1262144"/>
                    <a:gd name="connsiteX539" fmla="*/ 3166472 w 3746039"/>
                    <a:gd name="connsiteY539" fmla="*/ 1009595 h 1262144"/>
                    <a:gd name="connsiteX540" fmla="*/ 3171682 w 3746039"/>
                    <a:gd name="connsiteY540" fmla="*/ 1016225 h 1262144"/>
                    <a:gd name="connsiteX541" fmla="*/ 3176311 w 3746039"/>
                    <a:gd name="connsiteY541" fmla="*/ 1024321 h 1262144"/>
                    <a:gd name="connsiteX542" fmla="*/ 3183103 w 3746039"/>
                    <a:gd name="connsiteY542" fmla="*/ 1035561 h 1262144"/>
                    <a:gd name="connsiteX543" fmla="*/ 3180864 w 3746039"/>
                    <a:gd name="connsiteY543" fmla="*/ 1046229 h 1262144"/>
                    <a:gd name="connsiteX544" fmla="*/ 3183207 w 3746039"/>
                    <a:gd name="connsiteY544" fmla="*/ 1068308 h 1262144"/>
                    <a:gd name="connsiteX545" fmla="*/ 3182703 w 3746039"/>
                    <a:gd name="connsiteY545" fmla="*/ 1081043 h 1262144"/>
                    <a:gd name="connsiteX546" fmla="*/ 3187799 w 3746039"/>
                    <a:gd name="connsiteY546" fmla="*/ 1091758 h 1262144"/>
                    <a:gd name="connsiteX547" fmla="*/ 3190904 w 3746039"/>
                    <a:gd name="connsiteY547" fmla="*/ 1113275 h 1262144"/>
                    <a:gd name="connsiteX548" fmla="*/ 3186561 w 3746039"/>
                    <a:gd name="connsiteY548" fmla="*/ 1134773 h 1262144"/>
                    <a:gd name="connsiteX549" fmla="*/ 3185379 w 3746039"/>
                    <a:gd name="connsiteY549" fmla="*/ 1145746 h 1262144"/>
                    <a:gd name="connsiteX550" fmla="*/ 3184389 w 3746039"/>
                    <a:gd name="connsiteY550" fmla="*/ 1151756 h 1262144"/>
                    <a:gd name="connsiteX551" fmla="*/ 3185570 w 3746039"/>
                    <a:gd name="connsiteY551" fmla="*/ 1156376 h 1262144"/>
                    <a:gd name="connsiteX552" fmla="*/ 3181598 w 3746039"/>
                    <a:gd name="connsiteY552" fmla="*/ 1163481 h 1262144"/>
                    <a:gd name="connsiteX553" fmla="*/ 3183055 w 3746039"/>
                    <a:gd name="connsiteY553" fmla="*/ 1176150 h 1262144"/>
                    <a:gd name="connsiteX554" fmla="*/ 3175597 w 3746039"/>
                    <a:gd name="connsiteY554" fmla="*/ 1198010 h 1262144"/>
                    <a:gd name="connsiteX555" fmla="*/ 3153375 w 3746039"/>
                    <a:gd name="connsiteY555" fmla="*/ 1213021 h 1262144"/>
                    <a:gd name="connsiteX556" fmla="*/ 3132830 w 3746039"/>
                    <a:gd name="connsiteY556" fmla="*/ 1209497 h 1262144"/>
                    <a:gd name="connsiteX557" fmla="*/ 3122095 w 3746039"/>
                    <a:gd name="connsiteY557" fmla="*/ 1208630 h 1262144"/>
                    <a:gd name="connsiteX558" fmla="*/ 3111903 w 3746039"/>
                    <a:gd name="connsiteY558" fmla="*/ 1195695 h 1262144"/>
                    <a:gd name="connsiteX559" fmla="*/ 3108284 w 3746039"/>
                    <a:gd name="connsiteY559" fmla="*/ 1202191 h 1262144"/>
                    <a:gd name="connsiteX560" fmla="*/ 3104369 w 3746039"/>
                    <a:gd name="connsiteY560" fmla="*/ 1199333 h 1262144"/>
                    <a:gd name="connsiteX561" fmla="*/ 3102112 w 3746039"/>
                    <a:gd name="connsiteY561" fmla="*/ 1196057 h 1262144"/>
                    <a:gd name="connsiteX562" fmla="*/ 3098426 w 3746039"/>
                    <a:gd name="connsiteY562" fmla="*/ 1202429 h 1262144"/>
                    <a:gd name="connsiteX563" fmla="*/ 3097797 w 3746039"/>
                    <a:gd name="connsiteY563" fmla="*/ 1216221 h 1262144"/>
                    <a:gd name="connsiteX564" fmla="*/ 3084471 w 3746039"/>
                    <a:gd name="connsiteY564" fmla="*/ 1216393 h 1262144"/>
                    <a:gd name="connsiteX565" fmla="*/ 3091034 w 3746039"/>
                    <a:gd name="connsiteY565" fmla="*/ 1226737 h 1262144"/>
                    <a:gd name="connsiteX566" fmla="*/ 3081643 w 3746039"/>
                    <a:gd name="connsiteY566" fmla="*/ 1217431 h 1262144"/>
                    <a:gd name="connsiteX567" fmla="*/ 3076318 w 3746039"/>
                    <a:gd name="connsiteY567" fmla="*/ 1212011 h 1262144"/>
                    <a:gd name="connsiteX568" fmla="*/ 3088272 w 3746039"/>
                    <a:gd name="connsiteY568" fmla="*/ 1208639 h 1262144"/>
                    <a:gd name="connsiteX569" fmla="*/ 3082081 w 3746039"/>
                    <a:gd name="connsiteY569" fmla="*/ 1194609 h 1262144"/>
                    <a:gd name="connsiteX570" fmla="*/ 3071689 w 3746039"/>
                    <a:gd name="connsiteY570" fmla="*/ 1183789 h 1262144"/>
                    <a:gd name="connsiteX571" fmla="*/ 3058545 w 3746039"/>
                    <a:gd name="connsiteY571" fmla="*/ 1166444 h 1262144"/>
                    <a:gd name="connsiteX572" fmla="*/ 3040828 w 3746039"/>
                    <a:gd name="connsiteY572" fmla="*/ 1150727 h 1262144"/>
                    <a:gd name="connsiteX573" fmla="*/ 3045524 w 3746039"/>
                    <a:gd name="connsiteY573" fmla="*/ 1143460 h 1262144"/>
                    <a:gd name="connsiteX574" fmla="*/ 3048467 w 3746039"/>
                    <a:gd name="connsiteY574" fmla="*/ 1132297 h 1262144"/>
                    <a:gd name="connsiteX575" fmla="*/ 3068489 w 3746039"/>
                    <a:gd name="connsiteY575" fmla="*/ 1137926 h 1262144"/>
                    <a:gd name="connsiteX576" fmla="*/ 3085176 w 3746039"/>
                    <a:gd name="connsiteY576" fmla="*/ 1141536 h 1262144"/>
                    <a:gd name="connsiteX577" fmla="*/ 3080061 w 3746039"/>
                    <a:gd name="connsiteY577" fmla="*/ 1126572 h 1262144"/>
                    <a:gd name="connsiteX578" fmla="*/ 3083433 w 3746039"/>
                    <a:gd name="connsiteY578" fmla="*/ 1123800 h 1262144"/>
                    <a:gd name="connsiteX579" fmla="*/ 3080137 w 3746039"/>
                    <a:gd name="connsiteY579" fmla="*/ 1117847 h 1262144"/>
                    <a:gd name="connsiteX580" fmla="*/ 3080071 w 3746039"/>
                    <a:gd name="connsiteY580" fmla="*/ 1113008 h 1262144"/>
                    <a:gd name="connsiteX581" fmla="*/ 3076728 w 3746039"/>
                    <a:gd name="connsiteY581" fmla="*/ 1105969 h 1262144"/>
                    <a:gd name="connsiteX582" fmla="*/ 3076546 w 3746039"/>
                    <a:gd name="connsiteY582" fmla="*/ 1100931 h 1262144"/>
                    <a:gd name="connsiteX583" fmla="*/ 3071412 w 3746039"/>
                    <a:gd name="connsiteY583" fmla="*/ 1094854 h 1262144"/>
                    <a:gd name="connsiteX584" fmla="*/ 3063955 w 3746039"/>
                    <a:gd name="connsiteY584" fmla="*/ 1078823 h 1262144"/>
                    <a:gd name="connsiteX585" fmla="*/ 3058335 w 3746039"/>
                    <a:gd name="connsiteY585" fmla="*/ 1066403 h 1262144"/>
                    <a:gd name="connsiteX586" fmla="*/ 3062736 w 3746039"/>
                    <a:gd name="connsiteY586" fmla="*/ 1064612 h 1262144"/>
                    <a:gd name="connsiteX587" fmla="*/ 3062212 w 3746039"/>
                    <a:gd name="connsiteY587" fmla="*/ 1057516 h 1262144"/>
                    <a:gd name="connsiteX588" fmla="*/ 3048105 w 3746039"/>
                    <a:gd name="connsiteY588" fmla="*/ 1045524 h 1262144"/>
                    <a:gd name="connsiteX589" fmla="*/ 3036275 w 3746039"/>
                    <a:gd name="connsiteY589" fmla="*/ 1036770 h 1262144"/>
                    <a:gd name="connsiteX590" fmla="*/ 3019873 w 3746039"/>
                    <a:gd name="connsiteY590" fmla="*/ 1042714 h 1262144"/>
                    <a:gd name="connsiteX591" fmla="*/ 3004347 w 3746039"/>
                    <a:gd name="connsiteY591" fmla="*/ 1049705 h 1262144"/>
                    <a:gd name="connsiteX592" fmla="*/ 3001766 w 3746039"/>
                    <a:gd name="connsiteY592" fmla="*/ 1050696 h 1262144"/>
                    <a:gd name="connsiteX593" fmla="*/ 3002823 w 3746039"/>
                    <a:gd name="connsiteY593" fmla="*/ 1054858 h 1262144"/>
                    <a:gd name="connsiteX594" fmla="*/ 2994327 w 3746039"/>
                    <a:gd name="connsiteY594" fmla="*/ 1056906 h 1262144"/>
                    <a:gd name="connsiteX595" fmla="*/ 2972314 w 3746039"/>
                    <a:gd name="connsiteY595" fmla="*/ 1056706 h 1262144"/>
                    <a:gd name="connsiteX596" fmla="*/ 2963218 w 3746039"/>
                    <a:gd name="connsiteY596" fmla="*/ 1057478 h 1262144"/>
                    <a:gd name="connsiteX597" fmla="*/ 2955551 w 3746039"/>
                    <a:gd name="connsiteY597" fmla="*/ 1051686 h 1262144"/>
                    <a:gd name="connsiteX598" fmla="*/ 2946368 w 3746039"/>
                    <a:gd name="connsiteY598" fmla="*/ 1045829 h 1262144"/>
                    <a:gd name="connsiteX599" fmla="*/ 2940091 w 3746039"/>
                    <a:gd name="connsiteY599" fmla="*/ 1036570 h 1262144"/>
                    <a:gd name="connsiteX600" fmla="*/ 2932605 w 3746039"/>
                    <a:gd name="connsiteY600" fmla="*/ 1032074 h 1262144"/>
                    <a:gd name="connsiteX601" fmla="*/ 2924832 w 3746039"/>
                    <a:gd name="connsiteY601" fmla="*/ 1023807 h 1262144"/>
                    <a:gd name="connsiteX602" fmla="*/ 2903316 w 3746039"/>
                    <a:gd name="connsiteY602" fmla="*/ 1016892 h 1262144"/>
                    <a:gd name="connsiteX603" fmla="*/ 2882960 w 3746039"/>
                    <a:gd name="connsiteY603" fmla="*/ 1006967 h 1262144"/>
                    <a:gd name="connsiteX604" fmla="*/ 2870216 w 3746039"/>
                    <a:gd name="connsiteY604" fmla="*/ 1005042 h 1262144"/>
                    <a:gd name="connsiteX605" fmla="*/ 2854900 w 3746039"/>
                    <a:gd name="connsiteY605" fmla="*/ 998404 h 1262144"/>
                    <a:gd name="connsiteX606" fmla="*/ 2832268 w 3746039"/>
                    <a:gd name="connsiteY606" fmla="*/ 997870 h 1262144"/>
                    <a:gd name="connsiteX607" fmla="*/ 2814514 w 3746039"/>
                    <a:gd name="connsiteY607" fmla="*/ 989364 h 1262144"/>
                    <a:gd name="connsiteX608" fmla="*/ 2808846 w 3746039"/>
                    <a:gd name="connsiteY608" fmla="*/ 982268 h 1262144"/>
                    <a:gd name="connsiteX609" fmla="*/ 2799979 w 3746039"/>
                    <a:gd name="connsiteY609" fmla="*/ 975667 h 1262144"/>
                    <a:gd name="connsiteX610" fmla="*/ 2789653 w 3746039"/>
                    <a:gd name="connsiteY610" fmla="*/ 965209 h 1262144"/>
                    <a:gd name="connsiteX611" fmla="*/ 2770785 w 3746039"/>
                    <a:gd name="connsiteY611" fmla="*/ 953398 h 1262144"/>
                    <a:gd name="connsiteX612" fmla="*/ 2755249 w 3746039"/>
                    <a:gd name="connsiteY612" fmla="*/ 940625 h 1262144"/>
                    <a:gd name="connsiteX613" fmla="*/ 2723426 w 3746039"/>
                    <a:gd name="connsiteY613" fmla="*/ 916631 h 1262144"/>
                    <a:gd name="connsiteX614" fmla="*/ 2700766 w 3746039"/>
                    <a:gd name="connsiteY614" fmla="*/ 900820 h 1262144"/>
                    <a:gd name="connsiteX615" fmla="*/ 2674239 w 3746039"/>
                    <a:gd name="connsiteY615" fmla="*/ 888075 h 1262144"/>
                    <a:gd name="connsiteX616" fmla="*/ 2658828 w 3746039"/>
                    <a:gd name="connsiteY616" fmla="*/ 886494 h 1262144"/>
                    <a:gd name="connsiteX617" fmla="*/ 2614946 w 3746039"/>
                    <a:gd name="connsiteY617" fmla="*/ 873655 h 1262144"/>
                    <a:gd name="connsiteX618" fmla="*/ 2599135 w 3746039"/>
                    <a:gd name="connsiteY618" fmla="*/ 875131 h 1262144"/>
                    <a:gd name="connsiteX619" fmla="*/ 2578323 w 3746039"/>
                    <a:gd name="connsiteY619" fmla="*/ 876817 h 1262144"/>
                    <a:gd name="connsiteX620" fmla="*/ 2553120 w 3746039"/>
                    <a:gd name="connsiteY620" fmla="*/ 884580 h 1262144"/>
                    <a:gd name="connsiteX621" fmla="*/ 2551491 w 3746039"/>
                    <a:gd name="connsiteY621" fmla="*/ 902392 h 1262144"/>
                    <a:gd name="connsiteX622" fmla="*/ 2562511 w 3746039"/>
                    <a:gd name="connsiteY622" fmla="*/ 902696 h 1262144"/>
                    <a:gd name="connsiteX623" fmla="*/ 2571903 w 3746039"/>
                    <a:gd name="connsiteY623" fmla="*/ 910002 h 1262144"/>
                    <a:gd name="connsiteX624" fmla="*/ 2581695 w 3746039"/>
                    <a:gd name="connsiteY624" fmla="*/ 927499 h 1262144"/>
                    <a:gd name="connsiteX625" fmla="*/ 2579142 w 3746039"/>
                    <a:gd name="connsiteY625" fmla="*/ 939396 h 1262144"/>
                    <a:gd name="connsiteX626" fmla="*/ 2582142 w 3746039"/>
                    <a:gd name="connsiteY626" fmla="*/ 951407 h 1262144"/>
                    <a:gd name="connsiteX627" fmla="*/ 2584780 w 3746039"/>
                    <a:gd name="connsiteY627" fmla="*/ 972305 h 1262144"/>
                    <a:gd name="connsiteX628" fmla="*/ 2595420 w 3746039"/>
                    <a:gd name="connsiteY628" fmla="*/ 980849 h 1262144"/>
                    <a:gd name="connsiteX629" fmla="*/ 2583761 w 3746039"/>
                    <a:gd name="connsiteY629" fmla="*/ 987469 h 1262144"/>
                    <a:gd name="connsiteX630" fmla="*/ 2573274 w 3746039"/>
                    <a:gd name="connsiteY630" fmla="*/ 1000413 h 1262144"/>
                    <a:gd name="connsiteX631" fmla="*/ 2556691 w 3746039"/>
                    <a:gd name="connsiteY631" fmla="*/ 997061 h 1262144"/>
                    <a:gd name="connsiteX632" fmla="*/ 2521658 w 3746039"/>
                    <a:gd name="connsiteY632" fmla="*/ 985516 h 1262144"/>
                    <a:gd name="connsiteX633" fmla="*/ 2508647 w 3746039"/>
                    <a:gd name="connsiteY633" fmla="*/ 988840 h 1262144"/>
                    <a:gd name="connsiteX634" fmla="*/ 2490873 w 3746039"/>
                    <a:gd name="connsiteY634" fmla="*/ 984430 h 1262144"/>
                    <a:gd name="connsiteX635" fmla="*/ 2459650 w 3746039"/>
                    <a:gd name="connsiteY635" fmla="*/ 977753 h 1262144"/>
                    <a:gd name="connsiteX636" fmla="*/ 2447602 w 3746039"/>
                    <a:gd name="connsiteY636" fmla="*/ 987964 h 1262144"/>
                    <a:gd name="connsiteX637" fmla="*/ 2440524 w 3746039"/>
                    <a:gd name="connsiteY637" fmla="*/ 1000366 h 1262144"/>
                    <a:gd name="connsiteX638" fmla="*/ 2433457 w 3746039"/>
                    <a:gd name="connsiteY638" fmla="*/ 999813 h 1262144"/>
                    <a:gd name="connsiteX639" fmla="*/ 2425256 w 3746039"/>
                    <a:gd name="connsiteY639" fmla="*/ 1003195 h 1262144"/>
                    <a:gd name="connsiteX640" fmla="*/ 2411901 w 3746039"/>
                    <a:gd name="connsiteY640" fmla="*/ 1005195 h 1262144"/>
                    <a:gd name="connsiteX641" fmla="*/ 2398614 w 3746039"/>
                    <a:gd name="connsiteY641" fmla="*/ 1011339 h 1262144"/>
                    <a:gd name="connsiteX642" fmla="*/ 2384327 w 3746039"/>
                    <a:gd name="connsiteY642" fmla="*/ 1009776 h 1262144"/>
                    <a:gd name="connsiteX643" fmla="*/ 2368925 w 3746039"/>
                    <a:gd name="connsiteY643" fmla="*/ 1009014 h 1262144"/>
                    <a:gd name="connsiteX644" fmla="*/ 2350532 w 3746039"/>
                    <a:gd name="connsiteY644" fmla="*/ 1006024 h 1262144"/>
                    <a:gd name="connsiteX645" fmla="*/ 2333502 w 3746039"/>
                    <a:gd name="connsiteY645" fmla="*/ 1005366 h 1262144"/>
                    <a:gd name="connsiteX646" fmla="*/ 2317423 w 3746039"/>
                    <a:gd name="connsiteY646" fmla="*/ 998365 h 1262144"/>
                    <a:gd name="connsiteX647" fmla="*/ 2308565 w 3746039"/>
                    <a:gd name="connsiteY647" fmla="*/ 990726 h 1262144"/>
                    <a:gd name="connsiteX648" fmla="*/ 2296135 w 3746039"/>
                    <a:gd name="connsiteY648" fmla="*/ 985592 h 1262144"/>
                    <a:gd name="connsiteX649" fmla="*/ 2280343 w 3746039"/>
                    <a:gd name="connsiteY649" fmla="*/ 982792 h 1262144"/>
                    <a:gd name="connsiteX650" fmla="*/ 2265760 w 3746039"/>
                    <a:gd name="connsiteY650" fmla="*/ 975248 h 1262144"/>
                    <a:gd name="connsiteX651" fmla="*/ 2250119 w 3746039"/>
                    <a:gd name="connsiteY651" fmla="*/ 974839 h 1262144"/>
                    <a:gd name="connsiteX652" fmla="*/ 2232698 w 3746039"/>
                    <a:gd name="connsiteY652" fmla="*/ 971172 h 1262144"/>
                    <a:gd name="connsiteX653" fmla="*/ 2204657 w 3746039"/>
                    <a:gd name="connsiteY653" fmla="*/ 978315 h 1262144"/>
                    <a:gd name="connsiteX654" fmla="*/ 2177967 w 3746039"/>
                    <a:gd name="connsiteY654" fmla="*/ 977277 h 1262144"/>
                    <a:gd name="connsiteX655" fmla="*/ 2148783 w 3746039"/>
                    <a:gd name="connsiteY655" fmla="*/ 968076 h 1262144"/>
                    <a:gd name="connsiteX656" fmla="*/ 2128171 w 3746039"/>
                    <a:gd name="connsiteY656" fmla="*/ 946750 h 1262144"/>
                    <a:gd name="connsiteX657" fmla="*/ 2097033 w 3746039"/>
                    <a:gd name="connsiteY657" fmla="*/ 937091 h 1262144"/>
                    <a:gd name="connsiteX658" fmla="*/ 2077222 w 3746039"/>
                    <a:gd name="connsiteY658" fmla="*/ 931367 h 1262144"/>
                    <a:gd name="connsiteX659" fmla="*/ 2058896 w 3746039"/>
                    <a:gd name="connsiteY659" fmla="*/ 929424 h 1262144"/>
                    <a:gd name="connsiteX660" fmla="*/ 2025749 w 3746039"/>
                    <a:gd name="connsiteY660" fmla="*/ 918394 h 1262144"/>
                    <a:gd name="connsiteX661" fmla="*/ 2026910 w 3746039"/>
                    <a:gd name="connsiteY661" fmla="*/ 924204 h 1262144"/>
                    <a:gd name="connsiteX662" fmla="*/ 2021386 w 3746039"/>
                    <a:gd name="connsiteY662" fmla="*/ 930605 h 1262144"/>
                    <a:gd name="connsiteX663" fmla="*/ 2020415 w 3746039"/>
                    <a:gd name="connsiteY663" fmla="*/ 934443 h 1262144"/>
                    <a:gd name="connsiteX664" fmla="*/ 2021586 w 3746039"/>
                    <a:gd name="connsiteY664" fmla="*/ 937625 h 1262144"/>
                    <a:gd name="connsiteX665" fmla="*/ 2018567 w 3746039"/>
                    <a:gd name="connsiteY665" fmla="*/ 938863 h 1262144"/>
                    <a:gd name="connsiteX666" fmla="*/ 2028997 w 3746039"/>
                    <a:gd name="connsiteY666" fmla="*/ 958722 h 1262144"/>
                    <a:gd name="connsiteX667" fmla="*/ 2040455 w 3746039"/>
                    <a:gd name="connsiteY667" fmla="*/ 967390 h 1262144"/>
                    <a:gd name="connsiteX668" fmla="*/ 2047865 w 3746039"/>
                    <a:gd name="connsiteY668" fmla="*/ 977925 h 1262144"/>
                    <a:gd name="connsiteX669" fmla="*/ 2044713 w 3746039"/>
                    <a:gd name="connsiteY669" fmla="*/ 986716 h 1262144"/>
                    <a:gd name="connsiteX670" fmla="*/ 2039750 w 3746039"/>
                    <a:gd name="connsiteY670" fmla="*/ 987231 h 1262144"/>
                    <a:gd name="connsiteX671" fmla="*/ 2036541 w 3746039"/>
                    <a:gd name="connsiteY671" fmla="*/ 992784 h 1262144"/>
                    <a:gd name="connsiteX672" fmla="*/ 2023605 w 3746039"/>
                    <a:gd name="connsiteY672" fmla="*/ 988812 h 1262144"/>
                    <a:gd name="connsiteX673" fmla="*/ 2010413 w 3746039"/>
                    <a:gd name="connsiteY673" fmla="*/ 987659 h 1262144"/>
                    <a:gd name="connsiteX674" fmla="*/ 1999888 w 3746039"/>
                    <a:gd name="connsiteY674" fmla="*/ 985878 h 1262144"/>
                    <a:gd name="connsiteX675" fmla="*/ 1990735 w 3746039"/>
                    <a:gd name="connsiteY675" fmla="*/ 984602 h 1262144"/>
                    <a:gd name="connsiteX676" fmla="*/ 1985362 w 3746039"/>
                    <a:gd name="connsiteY676" fmla="*/ 987412 h 1262144"/>
                    <a:gd name="connsiteX677" fmla="*/ 1980152 w 3746039"/>
                    <a:gd name="connsiteY677" fmla="*/ 986869 h 1262144"/>
                    <a:gd name="connsiteX678" fmla="*/ 1965493 w 3746039"/>
                    <a:gd name="connsiteY678" fmla="*/ 983583 h 1262144"/>
                    <a:gd name="connsiteX679" fmla="*/ 1953273 w 3746039"/>
                    <a:gd name="connsiteY679" fmla="*/ 980335 h 1262144"/>
                    <a:gd name="connsiteX680" fmla="*/ 1941948 w 3746039"/>
                    <a:gd name="connsiteY680" fmla="*/ 969857 h 1262144"/>
                    <a:gd name="connsiteX681" fmla="*/ 1906343 w 3746039"/>
                    <a:gd name="connsiteY681" fmla="*/ 964895 h 1262144"/>
                    <a:gd name="connsiteX682" fmla="*/ 1901219 w 3746039"/>
                    <a:gd name="connsiteY682" fmla="*/ 960627 h 1262144"/>
                    <a:gd name="connsiteX683" fmla="*/ 1896894 w 3746039"/>
                    <a:gd name="connsiteY683" fmla="*/ 963180 h 1262144"/>
                    <a:gd name="connsiteX684" fmla="*/ 1883207 w 3746039"/>
                    <a:gd name="connsiteY684" fmla="*/ 958303 h 1262144"/>
                    <a:gd name="connsiteX685" fmla="*/ 1874634 w 3746039"/>
                    <a:gd name="connsiteY685" fmla="*/ 963190 h 1262144"/>
                    <a:gd name="connsiteX686" fmla="*/ 1868005 w 3746039"/>
                    <a:gd name="connsiteY686" fmla="*/ 970333 h 1262144"/>
                    <a:gd name="connsiteX687" fmla="*/ 1854022 w 3746039"/>
                    <a:gd name="connsiteY687" fmla="*/ 976534 h 1262144"/>
                    <a:gd name="connsiteX688" fmla="*/ 1845202 w 3746039"/>
                    <a:gd name="connsiteY688" fmla="*/ 980582 h 1262144"/>
                    <a:gd name="connsiteX689" fmla="*/ 1840592 w 3746039"/>
                    <a:gd name="connsiteY689" fmla="*/ 981973 h 1262144"/>
                    <a:gd name="connsiteX690" fmla="*/ 1840135 w 3746039"/>
                    <a:gd name="connsiteY690" fmla="*/ 985564 h 1262144"/>
                    <a:gd name="connsiteX691" fmla="*/ 1834353 w 3746039"/>
                    <a:gd name="connsiteY691" fmla="*/ 987059 h 1262144"/>
                    <a:gd name="connsiteX692" fmla="*/ 1835439 w 3746039"/>
                    <a:gd name="connsiteY692" fmla="*/ 991784 h 1262144"/>
                    <a:gd name="connsiteX693" fmla="*/ 1832077 w 3746039"/>
                    <a:gd name="connsiteY693" fmla="*/ 997308 h 1262144"/>
                    <a:gd name="connsiteX694" fmla="*/ 1827610 w 3746039"/>
                    <a:gd name="connsiteY694" fmla="*/ 997308 h 1262144"/>
                    <a:gd name="connsiteX695" fmla="*/ 1827019 w 3746039"/>
                    <a:gd name="connsiteY695" fmla="*/ 1000528 h 1262144"/>
                    <a:gd name="connsiteX696" fmla="*/ 1819847 w 3746039"/>
                    <a:gd name="connsiteY696" fmla="*/ 999947 h 1262144"/>
                    <a:gd name="connsiteX697" fmla="*/ 1810207 w 3746039"/>
                    <a:gd name="connsiteY697" fmla="*/ 1001680 h 1262144"/>
                    <a:gd name="connsiteX698" fmla="*/ 1803654 w 3746039"/>
                    <a:gd name="connsiteY698" fmla="*/ 1009891 h 1262144"/>
                    <a:gd name="connsiteX699" fmla="*/ 1792548 w 3746039"/>
                    <a:gd name="connsiteY699" fmla="*/ 1012624 h 1262144"/>
                    <a:gd name="connsiteX700" fmla="*/ 1779946 w 3746039"/>
                    <a:gd name="connsiteY700" fmla="*/ 1008910 h 1262144"/>
                    <a:gd name="connsiteX701" fmla="*/ 1762287 w 3746039"/>
                    <a:gd name="connsiteY701" fmla="*/ 998899 h 1262144"/>
                    <a:gd name="connsiteX702" fmla="*/ 1756315 w 3746039"/>
                    <a:gd name="connsiteY702" fmla="*/ 993298 h 1262144"/>
                    <a:gd name="connsiteX703" fmla="*/ 1745990 w 3746039"/>
                    <a:gd name="connsiteY703" fmla="*/ 1000756 h 1262144"/>
                    <a:gd name="connsiteX704" fmla="*/ 1728359 w 3746039"/>
                    <a:gd name="connsiteY704" fmla="*/ 997080 h 1262144"/>
                    <a:gd name="connsiteX705" fmla="*/ 1715367 w 3746039"/>
                    <a:gd name="connsiteY705" fmla="*/ 990088 h 1262144"/>
                    <a:gd name="connsiteX706" fmla="*/ 1701280 w 3746039"/>
                    <a:gd name="connsiteY706" fmla="*/ 980439 h 1262144"/>
                    <a:gd name="connsiteX707" fmla="*/ 1682773 w 3746039"/>
                    <a:gd name="connsiteY707" fmla="*/ 971648 h 1262144"/>
                    <a:gd name="connsiteX708" fmla="*/ 1666646 w 3746039"/>
                    <a:gd name="connsiteY708" fmla="*/ 959132 h 1262144"/>
                    <a:gd name="connsiteX709" fmla="*/ 1646053 w 3746039"/>
                    <a:gd name="connsiteY709" fmla="*/ 953931 h 1262144"/>
                    <a:gd name="connsiteX710" fmla="*/ 1641043 w 3746039"/>
                    <a:gd name="connsiteY710" fmla="*/ 956960 h 1262144"/>
                    <a:gd name="connsiteX711" fmla="*/ 1637167 w 3746039"/>
                    <a:gd name="connsiteY711" fmla="*/ 957332 h 1262144"/>
                    <a:gd name="connsiteX712" fmla="*/ 1636319 w 3746039"/>
                    <a:gd name="connsiteY712" fmla="*/ 959904 h 1262144"/>
                    <a:gd name="connsiteX713" fmla="*/ 1618450 w 3746039"/>
                    <a:gd name="connsiteY713" fmla="*/ 960942 h 1262144"/>
                    <a:gd name="connsiteX714" fmla="*/ 1607992 w 3746039"/>
                    <a:gd name="connsiteY714" fmla="*/ 961780 h 1262144"/>
                    <a:gd name="connsiteX715" fmla="*/ 1603848 w 3746039"/>
                    <a:gd name="connsiteY715" fmla="*/ 957637 h 1262144"/>
                    <a:gd name="connsiteX716" fmla="*/ 1595714 w 3746039"/>
                    <a:gd name="connsiteY716" fmla="*/ 955103 h 1262144"/>
                    <a:gd name="connsiteX717" fmla="*/ 1591732 w 3746039"/>
                    <a:gd name="connsiteY717" fmla="*/ 950121 h 1262144"/>
                    <a:gd name="connsiteX718" fmla="*/ 1577588 w 3746039"/>
                    <a:gd name="connsiteY718" fmla="*/ 944578 h 1262144"/>
                    <a:gd name="connsiteX719" fmla="*/ 1576102 w 3746039"/>
                    <a:gd name="connsiteY719" fmla="*/ 953255 h 1262144"/>
                    <a:gd name="connsiteX720" fmla="*/ 1570549 w 3746039"/>
                    <a:gd name="connsiteY720" fmla="*/ 961199 h 1262144"/>
                    <a:gd name="connsiteX721" fmla="*/ 1552689 w 3746039"/>
                    <a:gd name="connsiteY721" fmla="*/ 946759 h 1262144"/>
                    <a:gd name="connsiteX722" fmla="*/ 1532506 w 3746039"/>
                    <a:gd name="connsiteY722" fmla="*/ 929786 h 1262144"/>
                    <a:gd name="connsiteX723" fmla="*/ 1496321 w 3746039"/>
                    <a:gd name="connsiteY723" fmla="*/ 900810 h 1262144"/>
                    <a:gd name="connsiteX724" fmla="*/ 1457230 w 3746039"/>
                    <a:gd name="connsiteY724" fmla="*/ 874626 h 1262144"/>
                    <a:gd name="connsiteX725" fmla="*/ 1420340 w 3746039"/>
                    <a:gd name="connsiteY725" fmla="*/ 854300 h 1262144"/>
                    <a:gd name="connsiteX726" fmla="*/ 1425283 w 3746039"/>
                    <a:gd name="connsiteY726" fmla="*/ 845146 h 1262144"/>
                    <a:gd name="connsiteX727" fmla="*/ 1412615 w 3746039"/>
                    <a:gd name="connsiteY727" fmla="*/ 850109 h 1262144"/>
                    <a:gd name="connsiteX728" fmla="*/ 1405576 w 3746039"/>
                    <a:gd name="connsiteY728" fmla="*/ 854224 h 1262144"/>
                    <a:gd name="connsiteX729" fmla="*/ 1396603 w 3746039"/>
                    <a:gd name="connsiteY729" fmla="*/ 856414 h 1262144"/>
                    <a:gd name="connsiteX730" fmla="*/ 1396975 w 3746039"/>
                    <a:gd name="connsiteY730" fmla="*/ 860339 h 1262144"/>
                    <a:gd name="connsiteX731" fmla="*/ 1390822 w 3746039"/>
                    <a:gd name="connsiteY731" fmla="*/ 864644 h 1262144"/>
                    <a:gd name="connsiteX732" fmla="*/ 1384764 w 3746039"/>
                    <a:gd name="connsiteY732" fmla="*/ 865720 h 1262144"/>
                    <a:gd name="connsiteX733" fmla="*/ 1379868 w 3746039"/>
                    <a:gd name="connsiteY733" fmla="*/ 871978 h 1262144"/>
                    <a:gd name="connsiteX734" fmla="*/ 1378973 w 3746039"/>
                    <a:gd name="connsiteY734" fmla="*/ 874931 h 1262144"/>
                    <a:gd name="connsiteX735" fmla="*/ 1370448 w 3746039"/>
                    <a:gd name="connsiteY735" fmla="*/ 871331 h 1262144"/>
                    <a:gd name="connsiteX736" fmla="*/ 1362132 w 3746039"/>
                    <a:gd name="connsiteY736" fmla="*/ 871616 h 1262144"/>
                    <a:gd name="connsiteX737" fmla="*/ 1356808 w 3746039"/>
                    <a:gd name="connsiteY737" fmla="*/ 876350 h 1262144"/>
                    <a:gd name="connsiteX738" fmla="*/ 1350093 w 3746039"/>
                    <a:gd name="connsiteY738" fmla="*/ 866673 h 1262144"/>
                    <a:gd name="connsiteX739" fmla="*/ 1351979 w 3746039"/>
                    <a:gd name="connsiteY739" fmla="*/ 856967 h 1262144"/>
                    <a:gd name="connsiteX740" fmla="*/ 1346816 w 3746039"/>
                    <a:gd name="connsiteY740" fmla="*/ 860320 h 1262144"/>
                    <a:gd name="connsiteX741" fmla="*/ 1339863 w 3746039"/>
                    <a:gd name="connsiteY741" fmla="*/ 859262 h 1262144"/>
                    <a:gd name="connsiteX742" fmla="*/ 1329471 w 3746039"/>
                    <a:gd name="connsiteY742" fmla="*/ 855252 h 1262144"/>
                    <a:gd name="connsiteX743" fmla="*/ 1325404 w 3746039"/>
                    <a:gd name="connsiteY743" fmla="*/ 856776 h 1262144"/>
                    <a:gd name="connsiteX744" fmla="*/ 1325975 w 3746039"/>
                    <a:gd name="connsiteY744" fmla="*/ 859862 h 1262144"/>
                    <a:gd name="connsiteX745" fmla="*/ 1320784 w 3746039"/>
                    <a:gd name="connsiteY745" fmla="*/ 856843 h 1262144"/>
                    <a:gd name="connsiteX746" fmla="*/ 1315070 w 3746039"/>
                    <a:gd name="connsiteY746" fmla="*/ 850890 h 1262144"/>
                    <a:gd name="connsiteX747" fmla="*/ 1310230 w 3746039"/>
                    <a:gd name="connsiteY747" fmla="*/ 851766 h 1262144"/>
                    <a:gd name="connsiteX748" fmla="*/ 1292857 w 3746039"/>
                    <a:gd name="connsiteY748" fmla="*/ 854033 h 1262144"/>
                    <a:gd name="connsiteX749" fmla="*/ 1282741 w 3746039"/>
                    <a:gd name="connsiteY749" fmla="*/ 842127 h 1262144"/>
                    <a:gd name="connsiteX750" fmla="*/ 1270921 w 3746039"/>
                    <a:gd name="connsiteY750" fmla="*/ 827906 h 1262144"/>
                    <a:gd name="connsiteX751" fmla="*/ 1253862 w 3746039"/>
                    <a:gd name="connsiteY751" fmla="*/ 818914 h 1262144"/>
                    <a:gd name="connsiteX752" fmla="*/ 1249214 w 3746039"/>
                    <a:gd name="connsiteY752" fmla="*/ 822324 h 1262144"/>
                    <a:gd name="connsiteX753" fmla="*/ 1239993 w 3746039"/>
                    <a:gd name="connsiteY753" fmla="*/ 820048 h 1262144"/>
                    <a:gd name="connsiteX754" fmla="*/ 1217514 w 3746039"/>
                    <a:gd name="connsiteY754" fmla="*/ 815486 h 1262144"/>
                    <a:gd name="connsiteX755" fmla="*/ 1208427 w 3746039"/>
                    <a:gd name="connsiteY755" fmla="*/ 819505 h 1262144"/>
                    <a:gd name="connsiteX756" fmla="*/ 1199712 w 3746039"/>
                    <a:gd name="connsiteY756" fmla="*/ 822515 h 1262144"/>
                    <a:gd name="connsiteX757" fmla="*/ 1191978 w 3746039"/>
                    <a:gd name="connsiteY757" fmla="*/ 831049 h 1262144"/>
                    <a:gd name="connsiteX758" fmla="*/ 1168832 w 3746039"/>
                    <a:gd name="connsiteY758" fmla="*/ 836031 h 1262144"/>
                    <a:gd name="connsiteX759" fmla="*/ 1157573 w 3746039"/>
                    <a:gd name="connsiteY759" fmla="*/ 838079 h 1262144"/>
                    <a:gd name="connsiteX760" fmla="*/ 1151468 w 3746039"/>
                    <a:gd name="connsiteY760" fmla="*/ 838260 h 1262144"/>
                    <a:gd name="connsiteX761" fmla="*/ 1146401 w 3746039"/>
                    <a:gd name="connsiteY761" fmla="*/ 839327 h 1262144"/>
                    <a:gd name="connsiteX762" fmla="*/ 1138942 w 3746039"/>
                    <a:gd name="connsiteY762" fmla="*/ 840822 h 1262144"/>
                    <a:gd name="connsiteX763" fmla="*/ 1135828 w 3746039"/>
                    <a:gd name="connsiteY763" fmla="*/ 846432 h 1262144"/>
                    <a:gd name="connsiteX764" fmla="*/ 1118711 w 3746039"/>
                    <a:gd name="connsiteY764" fmla="*/ 847166 h 1262144"/>
                    <a:gd name="connsiteX765" fmla="*/ 1099947 w 3746039"/>
                    <a:gd name="connsiteY765" fmla="*/ 851766 h 1262144"/>
                    <a:gd name="connsiteX766" fmla="*/ 1062580 w 3746039"/>
                    <a:gd name="connsiteY766" fmla="*/ 859720 h 1262144"/>
                    <a:gd name="connsiteX767" fmla="*/ 1043245 w 3746039"/>
                    <a:gd name="connsiteY767" fmla="*/ 858234 h 1262144"/>
                    <a:gd name="connsiteX768" fmla="*/ 1042769 w 3746039"/>
                    <a:gd name="connsiteY768" fmla="*/ 871321 h 1262144"/>
                    <a:gd name="connsiteX769" fmla="*/ 1057189 w 3746039"/>
                    <a:gd name="connsiteY769" fmla="*/ 874455 h 1262144"/>
                    <a:gd name="connsiteX770" fmla="*/ 1054837 w 3746039"/>
                    <a:gd name="connsiteY770" fmla="*/ 881951 h 1262144"/>
                    <a:gd name="connsiteX771" fmla="*/ 1074468 w 3746039"/>
                    <a:gd name="connsiteY771" fmla="*/ 887056 h 1262144"/>
                    <a:gd name="connsiteX772" fmla="*/ 1065743 w 3746039"/>
                    <a:gd name="connsiteY772" fmla="*/ 891343 h 1262144"/>
                    <a:gd name="connsiteX773" fmla="*/ 1050636 w 3746039"/>
                    <a:gd name="connsiteY773" fmla="*/ 895934 h 1262144"/>
                    <a:gd name="connsiteX774" fmla="*/ 1059066 w 3746039"/>
                    <a:gd name="connsiteY774" fmla="*/ 912374 h 1262144"/>
                    <a:gd name="connsiteX775" fmla="*/ 1042349 w 3746039"/>
                    <a:gd name="connsiteY775" fmla="*/ 922051 h 1262144"/>
                    <a:gd name="connsiteX776" fmla="*/ 1044702 w 3746039"/>
                    <a:gd name="connsiteY776" fmla="*/ 926395 h 1262144"/>
                    <a:gd name="connsiteX777" fmla="*/ 1054027 w 3746039"/>
                    <a:gd name="connsiteY777" fmla="*/ 932205 h 1262144"/>
                    <a:gd name="connsiteX778" fmla="*/ 1088698 w 3746039"/>
                    <a:gd name="connsiteY778" fmla="*/ 950474 h 1262144"/>
                    <a:gd name="connsiteX779" fmla="*/ 1073868 w 3746039"/>
                    <a:gd name="connsiteY779" fmla="*/ 963933 h 1262144"/>
                    <a:gd name="connsiteX780" fmla="*/ 1063742 w 3746039"/>
                    <a:gd name="connsiteY780" fmla="*/ 963075 h 1262144"/>
                    <a:gd name="connsiteX781" fmla="*/ 1054903 w 3746039"/>
                    <a:gd name="connsiteY781" fmla="*/ 958322 h 1262144"/>
                    <a:gd name="connsiteX782" fmla="*/ 1044998 w 3746039"/>
                    <a:gd name="connsiteY782" fmla="*/ 969133 h 1262144"/>
                    <a:gd name="connsiteX783" fmla="*/ 1041387 w 3746039"/>
                    <a:gd name="connsiteY783" fmla="*/ 965409 h 1262144"/>
                    <a:gd name="connsiteX784" fmla="*/ 1029529 w 3746039"/>
                    <a:gd name="connsiteY784" fmla="*/ 963790 h 1262144"/>
                    <a:gd name="connsiteX785" fmla="*/ 1009060 w 3746039"/>
                    <a:gd name="connsiteY785" fmla="*/ 951769 h 1262144"/>
                    <a:gd name="connsiteX786" fmla="*/ 999506 w 3746039"/>
                    <a:gd name="connsiteY786" fmla="*/ 951321 h 1262144"/>
                    <a:gd name="connsiteX787" fmla="*/ 993105 w 3746039"/>
                    <a:gd name="connsiteY787" fmla="*/ 954131 h 1262144"/>
                    <a:gd name="connsiteX788" fmla="*/ 974065 w 3746039"/>
                    <a:gd name="connsiteY788" fmla="*/ 951569 h 1262144"/>
                    <a:gd name="connsiteX789" fmla="*/ 957005 w 3746039"/>
                    <a:gd name="connsiteY789" fmla="*/ 956360 h 1262144"/>
                    <a:gd name="connsiteX790" fmla="*/ 941889 w 3746039"/>
                    <a:gd name="connsiteY790" fmla="*/ 966133 h 1262144"/>
                    <a:gd name="connsiteX791" fmla="*/ 920467 w 3746039"/>
                    <a:gd name="connsiteY791" fmla="*/ 955427 h 1262144"/>
                    <a:gd name="connsiteX792" fmla="*/ 915905 w 3746039"/>
                    <a:gd name="connsiteY792" fmla="*/ 959608 h 1262144"/>
                    <a:gd name="connsiteX793" fmla="*/ 912657 w 3746039"/>
                    <a:gd name="connsiteY793" fmla="*/ 963875 h 1262144"/>
                    <a:gd name="connsiteX794" fmla="*/ 897207 w 3746039"/>
                    <a:gd name="connsiteY794" fmla="*/ 949912 h 1262144"/>
                    <a:gd name="connsiteX795" fmla="*/ 887264 w 3746039"/>
                    <a:gd name="connsiteY795" fmla="*/ 945930 h 1262144"/>
                    <a:gd name="connsiteX796" fmla="*/ 876643 w 3746039"/>
                    <a:gd name="connsiteY796" fmla="*/ 938968 h 1262144"/>
                    <a:gd name="connsiteX797" fmla="*/ 858107 w 3746039"/>
                    <a:gd name="connsiteY797" fmla="*/ 938215 h 1262144"/>
                    <a:gd name="connsiteX798" fmla="*/ 841362 w 3746039"/>
                    <a:gd name="connsiteY798" fmla="*/ 931776 h 1262144"/>
                    <a:gd name="connsiteX799" fmla="*/ 823465 w 3746039"/>
                    <a:gd name="connsiteY799" fmla="*/ 938244 h 1262144"/>
                    <a:gd name="connsiteX800" fmla="*/ 807834 w 3746039"/>
                    <a:gd name="connsiteY800" fmla="*/ 930662 h 1262144"/>
                    <a:gd name="connsiteX801" fmla="*/ 801939 w 3746039"/>
                    <a:gd name="connsiteY801" fmla="*/ 938825 h 1262144"/>
                    <a:gd name="connsiteX802" fmla="*/ 794890 w 3746039"/>
                    <a:gd name="connsiteY802" fmla="*/ 945540 h 1262144"/>
                    <a:gd name="connsiteX803" fmla="*/ 785717 w 3746039"/>
                    <a:gd name="connsiteY803" fmla="*/ 950226 h 1262144"/>
                    <a:gd name="connsiteX804" fmla="*/ 779488 w 3746039"/>
                    <a:gd name="connsiteY804" fmla="*/ 956294 h 1262144"/>
                    <a:gd name="connsiteX805" fmla="*/ 763619 w 3746039"/>
                    <a:gd name="connsiteY805" fmla="*/ 965761 h 1262144"/>
                    <a:gd name="connsiteX806" fmla="*/ 771592 w 3746039"/>
                    <a:gd name="connsiteY806" fmla="*/ 979001 h 1262144"/>
                    <a:gd name="connsiteX807" fmla="*/ 771468 w 3746039"/>
                    <a:gd name="connsiteY807" fmla="*/ 988593 h 1262144"/>
                    <a:gd name="connsiteX808" fmla="*/ 747036 w 3746039"/>
                    <a:gd name="connsiteY808" fmla="*/ 976191 h 1262144"/>
                    <a:gd name="connsiteX809" fmla="*/ 735397 w 3746039"/>
                    <a:gd name="connsiteY809" fmla="*/ 973781 h 1262144"/>
                    <a:gd name="connsiteX810" fmla="*/ 734664 w 3746039"/>
                    <a:gd name="connsiteY810" fmla="*/ 984116 h 1262144"/>
                    <a:gd name="connsiteX811" fmla="*/ 728044 w 3746039"/>
                    <a:gd name="connsiteY811" fmla="*/ 995537 h 1262144"/>
                    <a:gd name="connsiteX812" fmla="*/ 735111 w 3746039"/>
                    <a:gd name="connsiteY812" fmla="*/ 1009443 h 1262144"/>
                    <a:gd name="connsiteX813" fmla="*/ 733558 w 3746039"/>
                    <a:gd name="connsiteY813" fmla="*/ 1033417 h 1262144"/>
                    <a:gd name="connsiteX814" fmla="*/ 745798 w 3746039"/>
                    <a:gd name="connsiteY814" fmla="*/ 1039980 h 1262144"/>
                    <a:gd name="connsiteX815" fmla="*/ 752713 w 3746039"/>
                    <a:gd name="connsiteY815" fmla="*/ 1052658 h 1262144"/>
                    <a:gd name="connsiteX816" fmla="*/ 780879 w 3746039"/>
                    <a:gd name="connsiteY816" fmla="*/ 1057240 h 1262144"/>
                    <a:gd name="connsiteX817" fmla="*/ 805110 w 3746039"/>
                    <a:gd name="connsiteY817" fmla="*/ 1080233 h 1262144"/>
                    <a:gd name="connsiteX818" fmla="*/ 799633 w 3746039"/>
                    <a:gd name="connsiteY818" fmla="*/ 1088491 h 1262144"/>
                    <a:gd name="connsiteX819" fmla="*/ 823370 w 3746039"/>
                    <a:gd name="connsiteY819" fmla="*/ 1101883 h 1262144"/>
                    <a:gd name="connsiteX820" fmla="*/ 810378 w 3746039"/>
                    <a:gd name="connsiteY820" fmla="*/ 1108360 h 1262144"/>
                    <a:gd name="connsiteX821" fmla="*/ 812435 w 3746039"/>
                    <a:gd name="connsiteY821" fmla="*/ 1114570 h 1262144"/>
                    <a:gd name="connsiteX822" fmla="*/ 805072 w 3746039"/>
                    <a:gd name="connsiteY822" fmla="*/ 1114742 h 1262144"/>
                    <a:gd name="connsiteX823" fmla="*/ 793376 w 3746039"/>
                    <a:gd name="connsiteY823" fmla="*/ 1121086 h 1262144"/>
                    <a:gd name="connsiteX824" fmla="*/ 787080 w 3746039"/>
                    <a:gd name="connsiteY824" fmla="*/ 1124172 h 1262144"/>
                    <a:gd name="connsiteX825" fmla="*/ 781640 w 3746039"/>
                    <a:gd name="connsiteY825" fmla="*/ 1121162 h 1262144"/>
                    <a:gd name="connsiteX826" fmla="*/ 783126 w 3746039"/>
                    <a:gd name="connsiteY826" fmla="*/ 1132249 h 1262144"/>
                    <a:gd name="connsiteX827" fmla="*/ 779412 w 3746039"/>
                    <a:gd name="connsiteY827" fmla="*/ 1148337 h 1262144"/>
                    <a:gd name="connsiteX828" fmla="*/ 776697 w 3746039"/>
                    <a:gd name="connsiteY828" fmla="*/ 1146470 h 1262144"/>
                    <a:gd name="connsiteX829" fmla="*/ 771963 w 3746039"/>
                    <a:gd name="connsiteY829" fmla="*/ 1157309 h 1262144"/>
                    <a:gd name="connsiteX830" fmla="*/ 782079 w 3746039"/>
                    <a:gd name="connsiteY830" fmla="*/ 1163262 h 1262144"/>
                    <a:gd name="connsiteX831" fmla="*/ 801091 w 3746039"/>
                    <a:gd name="connsiteY831" fmla="*/ 1188084 h 1262144"/>
                    <a:gd name="connsiteX832" fmla="*/ 803091 w 3746039"/>
                    <a:gd name="connsiteY832" fmla="*/ 1177702 h 1262144"/>
                    <a:gd name="connsiteX833" fmla="*/ 805510 w 3746039"/>
                    <a:gd name="connsiteY833" fmla="*/ 1199553 h 1262144"/>
                    <a:gd name="connsiteX834" fmla="*/ 809901 w 3746039"/>
                    <a:gd name="connsiteY834" fmla="*/ 1207677 h 1262144"/>
                    <a:gd name="connsiteX835" fmla="*/ 817198 w 3746039"/>
                    <a:gd name="connsiteY835" fmla="*/ 1216412 h 1262144"/>
                    <a:gd name="connsiteX836" fmla="*/ 837171 w 3746039"/>
                    <a:gd name="connsiteY836" fmla="*/ 1234490 h 1262144"/>
                    <a:gd name="connsiteX837" fmla="*/ 842915 w 3746039"/>
                    <a:gd name="connsiteY837" fmla="*/ 1250502 h 1262144"/>
                    <a:gd name="connsiteX838" fmla="*/ 838086 w 3746039"/>
                    <a:gd name="connsiteY838" fmla="*/ 1253331 h 1262144"/>
                    <a:gd name="connsiteX839" fmla="*/ 834676 w 3746039"/>
                    <a:gd name="connsiteY839" fmla="*/ 1257598 h 1262144"/>
                    <a:gd name="connsiteX840" fmla="*/ 825189 w 3746039"/>
                    <a:gd name="connsiteY840" fmla="*/ 1261675 h 1262144"/>
                    <a:gd name="connsiteX841" fmla="*/ 805758 w 3746039"/>
                    <a:gd name="connsiteY841" fmla="*/ 1249806 h 1262144"/>
                    <a:gd name="connsiteX842" fmla="*/ 790528 w 3746039"/>
                    <a:gd name="connsiteY842" fmla="*/ 1241167 h 1262144"/>
                    <a:gd name="connsiteX843" fmla="*/ 769534 w 3746039"/>
                    <a:gd name="connsiteY843" fmla="*/ 1233585 h 1262144"/>
                    <a:gd name="connsiteX844" fmla="*/ 763124 w 3746039"/>
                    <a:gd name="connsiteY844" fmla="*/ 1225746 h 1262144"/>
                    <a:gd name="connsiteX845" fmla="*/ 757238 w 3746039"/>
                    <a:gd name="connsiteY845" fmla="*/ 1220193 h 1262144"/>
                    <a:gd name="connsiteX846" fmla="*/ 750751 w 3746039"/>
                    <a:gd name="connsiteY846" fmla="*/ 1219165 h 1262144"/>
                    <a:gd name="connsiteX847" fmla="*/ 745341 w 3746039"/>
                    <a:gd name="connsiteY847" fmla="*/ 1215659 h 1262144"/>
                    <a:gd name="connsiteX848" fmla="*/ 735873 w 3746039"/>
                    <a:gd name="connsiteY848" fmla="*/ 1217640 h 1262144"/>
                    <a:gd name="connsiteX849" fmla="*/ 707612 w 3746039"/>
                    <a:gd name="connsiteY849" fmla="*/ 1216355 h 1262144"/>
                    <a:gd name="connsiteX850" fmla="*/ 707784 w 3746039"/>
                    <a:gd name="connsiteY850" fmla="*/ 1213535 h 1262144"/>
                    <a:gd name="connsiteX851" fmla="*/ 702926 w 3746039"/>
                    <a:gd name="connsiteY851" fmla="*/ 1211621 h 1262144"/>
                    <a:gd name="connsiteX852" fmla="*/ 691963 w 3746039"/>
                    <a:gd name="connsiteY852" fmla="*/ 1207792 h 1262144"/>
                    <a:gd name="connsiteX853" fmla="*/ 673837 w 3746039"/>
                    <a:gd name="connsiteY853" fmla="*/ 1200553 h 1262144"/>
                    <a:gd name="connsiteX854" fmla="*/ 657444 w 3746039"/>
                    <a:gd name="connsiteY854" fmla="*/ 1199438 h 1262144"/>
                    <a:gd name="connsiteX855" fmla="*/ 637013 w 3746039"/>
                    <a:gd name="connsiteY855" fmla="*/ 1195066 h 1262144"/>
                    <a:gd name="connsiteX856" fmla="*/ 598809 w 3746039"/>
                    <a:gd name="connsiteY856" fmla="*/ 1192352 h 1262144"/>
                    <a:gd name="connsiteX857" fmla="*/ 573205 w 3746039"/>
                    <a:gd name="connsiteY857" fmla="*/ 1174530 h 1262144"/>
                    <a:gd name="connsiteX858" fmla="*/ 557527 w 3746039"/>
                    <a:gd name="connsiteY858" fmla="*/ 1164767 h 1262144"/>
                    <a:gd name="connsiteX859" fmla="*/ 543173 w 3746039"/>
                    <a:gd name="connsiteY859" fmla="*/ 1161043 h 1262144"/>
                    <a:gd name="connsiteX860" fmla="*/ 530781 w 3746039"/>
                    <a:gd name="connsiteY860" fmla="*/ 1152366 h 1262144"/>
                    <a:gd name="connsiteX861" fmla="*/ 518617 w 3746039"/>
                    <a:gd name="connsiteY861" fmla="*/ 1150080 h 1262144"/>
                    <a:gd name="connsiteX862" fmla="*/ 505435 w 3746039"/>
                    <a:gd name="connsiteY862" fmla="*/ 1140707 h 1262144"/>
                    <a:gd name="connsiteX863" fmla="*/ 495071 w 3746039"/>
                    <a:gd name="connsiteY863" fmla="*/ 1136735 h 1262144"/>
                    <a:gd name="connsiteX864" fmla="*/ 502958 w 3746039"/>
                    <a:gd name="connsiteY864" fmla="*/ 1133449 h 1262144"/>
                    <a:gd name="connsiteX865" fmla="*/ 496433 w 3746039"/>
                    <a:gd name="connsiteY865" fmla="*/ 1130868 h 1262144"/>
                    <a:gd name="connsiteX866" fmla="*/ 521217 w 3746039"/>
                    <a:gd name="connsiteY866" fmla="*/ 1127658 h 1262144"/>
                    <a:gd name="connsiteX867" fmla="*/ 518951 w 3746039"/>
                    <a:gd name="connsiteY867" fmla="*/ 1124800 h 1262144"/>
                    <a:gd name="connsiteX868" fmla="*/ 523313 w 3746039"/>
                    <a:gd name="connsiteY868" fmla="*/ 1117399 h 1262144"/>
                    <a:gd name="connsiteX869" fmla="*/ 528676 w 3746039"/>
                    <a:gd name="connsiteY869" fmla="*/ 1113142 h 1262144"/>
                    <a:gd name="connsiteX870" fmla="*/ 538505 w 3746039"/>
                    <a:gd name="connsiteY870" fmla="*/ 1108236 h 1262144"/>
                    <a:gd name="connsiteX871" fmla="*/ 515046 w 3746039"/>
                    <a:gd name="connsiteY871" fmla="*/ 1091053 h 1262144"/>
                    <a:gd name="connsiteX872" fmla="*/ 525075 w 3746039"/>
                    <a:gd name="connsiteY872" fmla="*/ 1089329 h 1262144"/>
                    <a:gd name="connsiteX873" fmla="*/ 534353 w 3746039"/>
                    <a:gd name="connsiteY873" fmla="*/ 1090177 h 1262144"/>
                    <a:gd name="connsiteX874" fmla="*/ 531552 w 3746039"/>
                    <a:gd name="connsiteY874" fmla="*/ 1085472 h 1262144"/>
                    <a:gd name="connsiteX875" fmla="*/ 551993 w 3746039"/>
                    <a:gd name="connsiteY875" fmla="*/ 1076804 h 1262144"/>
                    <a:gd name="connsiteX876" fmla="*/ 531952 w 3746039"/>
                    <a:gd name="connsiteY876" fmla="*/ 1074842 h 1262144"/>
                    <a:gd name="connsiteX877" fmla="*/ 536629 w 3746039"/>
                    <a:gd name="connsiteY877" fmla="*/ 1071337 h 1262144"/>
                    <a:gd name="connsiteX878" fmla="*/ 523456 w 3746039"/>
                    <a:gd name="connsiteY878" fmla="*/ 1076690 h 1262144"/>
                    <a:gd name="connsiteX879" fmla="*/ 522427 w 3746039"/>
                    <a:gd name="connsiteY879" fmla="*/ 1070441 h 1262144"/>
                    <a:gd name="connsiteX880" fmla="*/ 522208 w 3746039"/>
                    <a:gd name="connsiteY880" fmla="*/ 1061564 h 1262144"/>
                    <a:gd name="connsiteX881" fmla="*/ 530248 w 3746039"/>
                    <a:gd name="connsiteY881" fmla="*/ 1058602 h 1262144"/>
                    <a:gd name="connsiteX882" fmla="*/ 534648 w 3746039"/>
                    <a:gd name="connsiteY882" fmla="*/ 1052925 h 1262144"/>
                    <a:gd name="connsiteX883" fmla="*/ 552193 w 3746039"/>
                    <a:gd name="connsiteY883" fmla="*/ 1053201 h 1262144"/>
                    <a:gd name="connsiteX884" fmla="*/ 558765 w 3746039"/>
                    <a:gd name="connsiteY884" fmla="*/ 1043866 h 1262144"/>
                    <a:gd name="connsiteX885" fmla="*/ 559480 w 3746039"/>
                    <a:gd name="connsiteY885" fmla="*/ 1039409 h 1262144"/>
                    <a:gd name="connsiteX886" fmla="*/ 556698 w 3746039"/>
                    <a:gd name="connsiteY886" fmla="*/ 1037637 h 1262144"/>
                    <a:gd name="connsiteX887" fmla="*/ 555660 w 3746039"/>
                    <a:gd name="connsiteY887" fmla="*/ 1032836 h 1262144"/>
                    <a:gd name="connsiteX888" fmla="*/ 549212 w 3746039"/>
                    <a:gd name="connsiteY888" fmla="*/ 1029465 h 1262144"/>
                    <a:gd name="connsiteX889" fmla="*/ 556698 w 3746039"/>
                    <a:gd name="connsiteY889" fmla="*/ 1022187 h 1262144"/>
                    <a:gd name="connsiteX890" fmla="*/ 546887 w 3746039"/>
                    <a:gd name="connsiteY890" fmla="*/ 1016339 h 1262144"/>
                    <a:gd name="connsiteX891" fmla="*/ 555736 w 3746039"/>
                    <a:gd name="connsiteY891" fmla="*/ 1009062 h 1262144"/>
                    <a:gd name="connsiteX892" fmla="*/ 552783 w 3746039"/>
                    <a:gd name="connsiteY892" fmla="*/ 1000204 h 1262144"/>
                    <a:gd name="connsiteX893" fmla="*/ 546563 w 3746039"/>
                    <a:gd name="connsiteY893" fmla="*/ 998661 h 1262144"/>
                    <a:gd name="connsiteX894" fmla="*/ 533286 w 3746039"/>
                    <a:gd name="connsiteY894" fmla="*/ 993593 h 1262144"/>
                    <a:gd name="connsiteX895" fmla="*/ 514103 w 3746039"/>
                    <a:gd name="connsiteY895" fmla="*/ 987640 h 1262144"/>
                    <a:gd name="connsiteX896" fmla="*/ 501730 w 3746039"/>
                    <a:gd name="connsiteY896" fmla="*/ 983649 h 1262144"/>
                    <a:gd name="connsiteX897" fmla="*/ 497291 w 3746039"/>
                    <a:gd name="connsiteY897" fmla="*/ 987555 h 1262144"/>
                    <a:gd name="connsiteX898" fmla="*/ 474193 w 3746039"/>
                    <a:gd name="connsiteY898" fmla="*/ 972095 h 1262144"/>
                    <a:gd name="connsiteX899" fmla="*/ 465316 w 3746039"/>
                    <a:gd name="connsiteY899" fmla="*/ 974610 h 1262144"/>
                    <a:gd name="connsiteX900" fmla="*/ 459991 w 3746039"/>
                    <a:gd name="connsiteY900" fmla="*/ 976601 h 1262144"/>
                    <a:gd name="connsiteX901" fmla="*/ 454991 w 3746039"/>
                    <a:gd name="connsiteY901" fmla="*/ 976982 h 1262144"/>
                    <a:gd name="connsiteX902" fmla="*/ 445360 w 3746039"/>
                    <a:gd name="connsiteY902" fmla="*/ 973505 h 1262144"/>
                    <a:gd name="connsiteX903" fmla="*/ 439493 w 3746039"/>
                    <a:gd name="connsiteY903" fmla="*/ 971734 h 1262144"/>
                    <a:gd name="connsiteX904" fmla="*/ 432206 w 3746039"/>
                    <a:gd name="connsiteY904" fmla="*/ 974172 h 1262144"/>
                    <a:gd name="connsiteX905" fmla="*/ 422434 w 3746039"/>
                    <a:gd name="connsiteY905" fmla="*/ 960904 h 1262144"/>
                    <a:gd name="connsiteX906" fmla="*/ 412014 w 3746039"/>
                    <a:gd name="connsiteY906" fmla="*/ 949778 h 1262144"/>
                    <a:gd name="connsiteX907" fmla="*/ 408670 w 3746039"/>
                    <a:gd name="connsiteY907" fmla="*/ 947207 h 1262144"/>
                    <a:gd name="connsiteX908" fmla="*/ 401926 w 3746039"/>
                    <a:gd name="connsiteY908" fmla="*/ 948197 h 1262144"/>
                    <a:gd name="connsiteX909" fmla="*/ 387906 w 3746039"/>
                    <a:gd name="connsiteY909" fmla="*/ 945530 h 1262144"/>
                    <a:gd name="connsiteX910" fmla="*/ 382429 w 3746039"/>
                    <a:gd name="connsiteY910" fmla="*/ 932186 h 1262144"/>
                    <a:gd name="connsiteX911" fmla="*/ 376504 w 3746039"/>
                    <a:gd name="connsiteY911" fmla="*/ 917584 h 1262144"/>
                    <a:gd name="connsiteX912" fmla="*/ 354568 w 3746039"/>
                    <a:gd name="connsiteY912" fmla="*/ 911136 h 1262144"/>
                    <a:gd name="connsiteX913" fmla="*/ 343690 w 3746039"/>
                    <a:gd name="connsiteY913" fmla="*/ 913879 h 1262144"/>
                    <a:gd name="connsiteX914" fmla="*/ 333842 w 3746039"/>
                    <a:gd name="connsiteY914" fmla="*/ 913002 h 1262144"/>
                    <a:gd name="connsiteX915" fmla="*/ 328860 w 3746039"/>
                    <a:gd name="connsiteY915" fmla="*/ 920508 h 1262144"/>
                    <a:gd name="connsiteX916" fmla="*/ 319373 w 3746039"/>
                    <a:gd name="connsiteY916" fmla="*/ 918870 h 1262144"/>
                    <a:gd name="connsiteX917" fmla="*/ 311801 w 3746039"/>
                    <a:gd name="connsiteY917" fmla="*/ 904135 h 1262144"/>
                    <a:gd name="connsiteX918" fmla="*/ 309010 w 3746039"/>
                    <a:gd name="connsiteY918" fmla="*/ 897210 h 1262144"/>
                    <a:gd name="connsiteX919" fmla="*/ 300581 w 3746039"/>
                    <a:gd name="connsiteY919" fmla="*/ 890266 h 1262144"/>
                    <a:gd name="connsiteX920" fmla="*/ 313506 w 3746039"/>
                    <a:gd name="connsiteY920" fmla="*/ 886590 h 1262144"/>
                    <a:gd name="connsiteX921" fmla="*/ 324498 w 3746039"/>
                    <a:gd name="connsiteY921" fmla="*/ 886542 h 1262144"/>
                    <a:gd name="connsiteX922" fmla="*/ 333385 w 3746039"/>
                    <a:gd name="connsiteY922" fmla="*/ 880122 h 1262144"/>
                    <a:gd name="connsiteX923" fmla="*/ 332242 w 3746039"/>
                    <a:gd name="connsiteY923" fmla="*/ 875950 h 1262144"/>
                    <a:gd name="connsiteX924" fmla="*/ 326603 w 3746039"/>
                    <a:gd name="connsiteY924" fmla="*/ 872816 h 1262144"/>
                    <a:gd name="connsiteX925" fmla="*/ 325793 w 3746039"/>
                    <a:gd name="connsiteY925" fmla="*/ 869988 h 1262144"/>
                    <a:gd name="connsiteX926" fmla="*/ 307429 w 3746039"/>
                    <a:gd name="connsiteY926" fmla="*/ 864339 h 1262144"/>
                    <a:gd name="connsiteX927" fmla="*/ 306686 w 3746039"/>
                    <a:gd name="connsiteY927" fmla="*/ 857510 h 1262144"/>
                    <a:gd name="connsiteX928" fmla="*/ 294122 w 3746039"/>
                    <a:gd name="connsiteY928" fmla="*/ 851385 h 1262144"/>
                    <a:gd name="connsiteX929" fmla="*/ 285502 w 3746039"/>
                    <a:gd name="connsiteY929" fmla="*/ 843575 h 1262144"/>
                    <a:gd name="connsiteX930" fmla="*/ 286493 w 3746039"/>
                    <a:gd name="connsiteY930" fmla="*/ 839374 h 1262144"/>
                    <a:gd name="connsiteX931" fmla="*/ 281816 w 3746039"/>
                    <a:gd name="connsiteY931" fmla="*/ 837145 h 1262144"/>
                    <a:gd name="connsiteX932" fmla="*/ 278321 w 3746039"/>
                    <a:gd name="connsiteY932" fmla="*/ 823629 h 1262144"/>
                    <a:gd name="connsiteX933" fmla="*/ 273358 w 3746039"/>
                    <a:gd name="connsiteY933" fmla="*/ 817162 h 1262144"/>
                    <a:gd name="connsiteX934" fmla="*/ 273806 w 3746039"/>
                    <a:gd name="connsiteY934" fmla="*/ 809618 h 1262144"/>
                    <a:gd name="connsiteX935" fmla="*/ 261214 w 3746039"/>
                    <a:gd name="connsiteY935" fmla="*/ 802798 h 1262144"/>
                    <a:gd name="connsiteX936" fmla="*/ 241992 w 3746039"/>
                    <a:gd name="connsiteY936" fmla="*/ 803465 h 1262144"/>
                    <a:gd name="connsiteX937" fmla="*/ 234125 w 3746039"/>
                    <a:gd name="connsiteY937" fmla="*/ 802074 h 1262144"/>
                    <a:gd name="connsiteX938" fmla="*/ 230305 w 3746039"/>
                    <a:gd name="connsiteY938" fmla="*/ 796826 h 1262144"/>
                    <a:gd name="connsiteX939" fmla="*/ 219294 w 3746039"/>
                    <a:gd name="connsiteY939" fmla="*/ 797883 h 1262144"/>
                    <a:gd name="connsiteX940" fmla="*/ 210750 w 3746039"/>
                    <a:gd name="connsiteY940" fmla="*/ 793226 h 1262144"/>
                    <a:gd name="connsiteX941" fmla="*/ 202292 w 3746039"/>
                    <a:gd name="connsiteY941" fmla="*/ 790825 h 1262144"/>
                    <a:gd name="connsiteX942" fmla="*/ 198854 w 3746039"/>
                    <a:gd name="connsiteY942" fmla="*/ 779986 h 1262144"/>
                    <a:gd name="connsiteX943" fmla="*/ 185195 w 3746039"/>
                    <a:gd name="connsiteY943" fmla="*/ 769442 h 1262144"/>
                    <a:gd name="connsiteX944" fmla="*/ 187452 w 3746039"/>
                    <a:gd name="connsiteY944" fmla="*/ 756773 h 1262144"/>
                    <a:gd name="connsiteX945" fmla="*/ 177851 w 3746039"/>
                    <a:gd name="connsiteY945" fmla="*/ 748563 h 1262144"/>
                    <a:gd name="connsiteX946" fmla="*/ 173803 w 3746039"/>
                    <a:gd name="connsiteY946" fmla="*/ 746258 h 1262144"/>
                    <a:gd name="connsiteX947" fmla="*/ 176156 w 3746039"/>
                    <a:gd name="connsiteY947" fmla="*/ 741114 h 1262144"/>
                    <a:gd name="connsiteX948" fmla="*/ 181546 w 3746039"/>
                    <a:gd name="connsiteY948" fmla="*/ 738076 h 1262144"/>
                    <a:gd name="connsiteX949" fmla="*/ 179727 w 3746039"/>
                    <a:gd name="connsiteY949" fmla="*/ 735590 h 1262144"/>
                    <a:gd name="connsiteX950" fmla="*/ 172469 w 3746039"/>
                    <a:gd name="connsiteY950" fmla="*/ 722788 h 1262144"/>
                    <a:gd name="connsiteX951" fmla="*/ 167783 w 3746039"/>
                    <a:gd name="connsiteY951" fmla="*/ 708272 h 1262144"/>
                    <a:gd name="connsiteX952" fmla="*/ 174898 w 3746039"/>
                    <a:gd name="connsiteY952" fmla="*/ 696080 h 1262144"/>
                    <a:gd name="connsiteX953" fmla="*/ 181042 w 3746039"/>
                    <a:gd name="connsiteY953" fmla="*/ 689784 h 1262144"/>
                    <a:gd name="connsiteX954" fmla="*/ 175498 w 3746039"/>
                    <a:gd name="connsiteY954" fmla="*/ 678716 h 1262144"/>
                    <a:gd name="connsiteX955" fmla="*/ 180165 w 3746039"/>
                    <a:gd name="connsiteY955" fmla="*/ 678726 h 1262144"/>
                    <a:gd name="connsiteX956" fmla="*/ 184175 w 3746039"/>
                    <a:gd name="connsiteY956" fmla="*/ 679087 h 1262144"/>
                    <a:gd name="connsiteX957" fmla="*/ 185261 w 3746039"/>
                    <a:gd name="connsiteY957" fmla="*/ 675916 h 1262144"/>
                    <a:gd name="connsiteX958" fmla="*/ 197339 w 3746039"/>
                    <a:gd name="connsiteY958" fmla="*/ 674858 h 1262144"/>
                    <a:gd name="connsiteX959" fmla="*/ 200073 w 3746039"/>
                    <a:gd name="connsiteY959" fmla="*/ 670401 h 1262144"/>
                    <a:gd name="connsiteX960" fmla="*/ 210055 w 3746039"/>
                    <a:gd name="connsiteY960" fmla="*/ 671163 h 1262144"/>
                    <a:gd name="connsiteX961" fmla="*/ 224933 w 3746039"/>
                    <a:gd name="connsiteY961" fmla="*/ 673096 h 1262144"/>
                    <a:gd name="connsiteX962" fmla="*/ 212560 w 3746039"/>
                    <a:gd name="connsiteY962" fmla="*/ 663962 h 1262144"/>
                    <a:gd name="connsiteX963" fmla="*/ 196472 w 3746039"/>
                    <a:gd name="connsiteY963" fmla="*/ 663600 h 1262144"/>
                    <a:gd name="connsiteX964" fmla="*/ 181223 w 3746039"/>
                    <a:gd name="connsiteY964" fmla="*/ 653084 h 1262144"/>
                    <a:gd name="connsiteX965" fmla="*/ 184633 w 3746039"/>
                    <a:gd name="connsiteY965" fmla="*/ 654608 h 1262144"/>
                    <a:gd name="connsiteX966" fmla="*/ 164954 w 3746039"/>
                    <a:gd name="connsiteY966" fmla="*/ 653208 h 1262144"/>
                    <a:gd name="connsiteX967" fmla="*/ 193834 w 3746039"/>
                    <a:gd name="connsiteY967" fmla="*/ 629538 h 1262144"/>
                    <a:gd name="connsiteX968" fmla="*/ 220961 w 3746039"/>
                    <a:gd name="connsiteY968" fmla="*/ 600725 h 1262144"/>
                    <a:gd name="connsiteX969" fmla="*/ 232963 w 3746039"/>
                    <a:gd name="connsiteY969" fmla="*/ 584704 h 1262144"/>
                    <a:gd name="connsiteX970" fmla="*/ 228219 w 3746039"/>
                    <a:gd name="connsiteY970" fmla="*/ 572903 h 1262144"/>
                    <a:gd name="connsiteX971" fmla="*/ 193177 w 3746039"/>
                    <a:gd name="connsiteY971" fmla="*/ 552443 h 1262144"/>
                    <a:gd name="connsiteX972" fmla="*/ 198777 w 3746039"/>
                    <a:gd name="connsiteY972" fmla="*/ 535565 h 1262144"/>
                    <a:gd name="connsiteX973" fmla="*/ 187223 w 3746039"/>
                    <a:gd name="connsiteY973" fmla="*/ 527592 h 1262144"/>
                    <a:gd name="connsiteX974" fmla="*/ 187900 w 3746039"/>
                    <a:gd name="connsiteY974" fmla="*/ 520515 h 1262144"/>
                    <a:gd name="connsiteX975" fmla="*/ 176203 w 3746039"/>
                    <a:gd name="connsiteY975" fmla="*/ 514934 h 1262144"/>
                    <a:gd name="connsiteX976" fmla="*/ 178918 w 3746039"/>
                    <a:gd name="connsiteY976" fmla="*/ 509200 h 1262144"/>
                    <a:gd name="connsiteX977" fmla="*/ 173346 w 3746039"/>
                    <a:gd name="connsiteY977" fmla="*/ 504761 h 1262144"/>
                    <a:gd name="connsiteX978" fmla="*/ 172964 w 3746039"/>
                    <a:gd name="connsiteY978" fmla="*/ 492921 h 1262144"/>
                    <a:gd name="connsiteX979" fmla="*/ 180889 w 3746039"/>
                    <a:gd name="connsiteY979" fmla="*/ 490416 h 1262144"/>
                    <a:gd name="connsiteX980" fmla="*/ 176213 w 3746039"/>
                    <a:gd name="connsiteY980" fmla="*/ 482291 h 1262144"/>
                    <a:gd name="connsiteX981" fmla="*/ 163916 w 3746039"/>
                    <a:gd name="connsiteY981" fmla="*/ 468547 h 1262144"/>
                    <a:gd name="connsiteX982" fmla="*/ 149676 w 3746039"/>
                    <a:gd name="connsiteY982" fmla="*/ 453669 h 1262144"/>
                    <a:gd name="connsiteX983" fmla="*/ 157486 w 3746039"/>
                    <a:gd name="connsiteY983" fmla="*/ 438962 h 1262144"/>
                    <a:gd name="connsiteX984" fmla="*/ 157277 w 3746039"/>
                    <a:gd name="connsiteY984" fmla="*/ 424418 h 1262144"/>
                    <a:gd name="connsiteX985" fmla="*/ 136817 w 3746039"/>
                    <a:gd name="connsiteY985" fmla="*/ 413521 h 1262144"/>
                    <a:gd name="connsiteX986" fmla="*/ 125911 w 3746039"/>
                    <a:gd name="connsiteY986" fmla="*/ 398567 h 1262144"/>
                    <a:gd name="connsiteX987" fmla="*/ 120377 w 3746039"/>
                    <a:gd name="connsiteY987" fmla="*/ 389613 h 1262144"/>
                    <a:gd name="connsiteX988" fmla="*/ 132855 w 3746039"/>
                    <a:gd name="connsiteY988" fmla="*/ 385460 h 1262144"/>
                    <a:gd name="connsiteX989" fmla="*/ 138151 w 3746039"/>
                    <a:gd name="connsiteY989" fmla="*/ 377421 h 1262144"/>
                    <a:gd name="connsiteX990" fmla="*/ 152162 w 3746039"/>
                    <a:gd name="connsiteY990" fmla="*/ 366753 h 1262144"/>
                    <a:gd name="connsiteX991" fmla="*/ 166002 w 3746039"/>
                    <a:gd name="connsiteY991" fmla="*/ 361914 h 1262144"/>
                    <a:gd name="connsiteX992" fmla="*/ 182813 w 3746039"/>
                    <a:gd name="connsiteY992" fmla="*/ 364077 h 1262144"/>
                    <a:gd name="connsiteX993" fmla="*/ 189024 w 3746039"/>
                    <a:gd name="connsiteY993" fmla="*/ 360905 h 1262144"/>
                    <a:gd name="connsiteX994" fmla="*/ 188233 w 3746039"/>
                    <a:gd name="connsiteY994" fmla="*/ 356552 h 1262144"/>
                    <a:gd name="connsiteX995" fmla="*/ 212103 w 3746039"/>
                    <a:gd name="connsiteY995" fmla="*/ 364648 h 1262144"/>
                    <a:gd name="connsiteX996" fmla="*/ 193157 w 3746039"/>
                    <a:gd name="connsiteY996" fmla="*/ 366658 h 1262144"/>
                    <a:gd name="connsiteX997" fmla="*/ 205502 w 3746039"/>
                    <a:gd name="connsiteY997" fmla="*/ 371201 h 1262144"/>
                    <a:gd name="connsiteX998" fmla="*/ 213313 w 3746039"/>
                    <a:gd name="connsiteY998" fmla="*/ 374516 h 1262144"/>
                    <a:gd name="connsiteX999" fmla="*/ 224314 w 3746039"/>
                    <a:gd name="connsiteY999" fmla="*/ 374278 h 1262144"/>
                    <a:gd name="connsiteX1000" fmla="*/ 220237 w 3746039"/>
                    <a:gd name="connsiteY1000" fmla="*/ 384422 h 1262144"/>
                    <a:gd name="connsiteX1001" fmla="*/ 227362 w 3746039"/>
                    <a:gd name="connsiteY1001" fmla="*/ 379974 h 1262144"/>
                    <a:gd name="connsiteX1002" fmla="*/ 234315 w 3746039"/>
                    <a:gd name="connsiteY1002" fmla="*/ 376773 h 1262144"/>
                    <a:gd name="connsiteX1003" fmla="*/ 255622 w 3746039"/>
                    <a:gd name="connsiteY1003" fmla="*/ 379402 h 1262144"/>
                    <a:gd name="connsiteX1004" fmla="*/ 273091 w 3746039"/>
                    <a:gd name="connsiteY1004" fmla="*/ 379717 h 1262144"/>
                    <a:gd name="connsiteX1005" fmla="*/ 294970 w 3746039"/>
                    <a:gd name="connsiteY1005" fmla="*/ 386422 h 1262144"/>
                    <a:gd name="connsiteX1006" fmla="*/ 336766 w 3746039"/>
                    <a:gd name="connsiteY1006" fmla="*/ 404263 h 1262144"/>
                    <a:gd name="connsiteX1007" fmla="*/ 350644 w 3746039"/>
                    <a:gd name="connsiteY1007" fmla="*/ 408454 h 1262144"/>
                    <a:gd name="connsiteX1008" fmla="*/ 373371 w 3746039"/>
                    <a:gd name="connsiteY1008" fmla="*/ 416245 h 1262144"/>
                    <a:gd name="connsiteX1009" fmla="*/ 370656 w 3746039"/>
                    <a:gd name="connsiteY1009" fmla="*/ 412978 h 1262144"/>
                    <a:gd name="connsiteX1010" fmla="*/ 388258 w 3746039"/>
                    <a:gd name="connsiteY1010" fmla="*/ 423598 h 1262144"/>
                    <a:gd name="connsiteX1011" fmla="*/ 397678 w 3746039"/>
                    <a:gd name="connsiteY1011" fmla="*/ 426294 h 1262144"/>
                    <a:gd name="connsiteX1012" fmla="*/ 406194 w 3746039"/>
                    <a:gd name="connsiteY1012" fmla="*/ 434914 h 1262144"/>
                    <a:gd name="connsiteX1013" fmla="*/ 416395 w 3746039"/>
                    <a:gd name="connsiteY1013" fmla="*/ 446839 h 1262144"/>
                    <a:gd name="connsiteX1014" fmla="*/ 405137 w 3746039"/>
                    <a:gd name="connsiteY1014" fmla="*/ 466899 h 1262144"/>
                    <a:gd name="connsiteX1015" fmla="*/ 315011 w 3746039"/>
                    <a:gd name="connsiteY1015" fmla="*/ 471566 h 1262144"/>
                    <a:gd name="connsiteX1016" fmla="*/ 290474 w 3746039"/>
                    <a:gd name="connsiteY1016" fmla="*/ 467137 h 1262144"/>
                    <a:gd name="connsiteX1017" fmla="*/ 277501 w 3746039"/>
                    <a:gd name="connsiteY1017" fmla="*/ 462032 h 1262144"/>
                    <a:gd name="connsiteX1018" fmla="*/ 269453 w 3746039"/>
                    <a:gd name="connsiteY1018" fmla="*/ 460574 h 1262144"/>
                    <a:gd name="connsiteX1019" fmla="*/ 232372 w 3746039"/>
                    <a:gd name="connsiteY1019" fmla="*/ 446849 h 1262144"/>
                    <a:gd name="connsiteX1020" fmla="*/ 209122 w 3746039"/>
                    <a:gd name="connsiteY1020" fmla="*/ 444506 h 1262144"/>
                    <a:gd name="connsiteX1021" fmla="*/ 222609 w 3746039"/>
                    <a:gd name="connsiteY1021" fmla="*/ 448944 h 1262144"/>
                    <a:gd name="connsiteX1022" fmla="*/ 226362 w 3746039"/>
                    <a:gd name="connsiteY1022" fmla="*/ 453593 h 1262144"/>
                    <a:gd name="connsiteX1023" fmla="*/ 233601 w 3746039"/>
                    <a:gd name="connsiteY1023" fmla="*/ 457555 h 1262144"/>
                    <a:gd name="connsiteX1024" fmla="*/ 242707 w 3746039"/>
                    <a:gd name="connsiteY1024" fmla="*/ 462308 h 1262144"/>
                    <a:gd name="connsiteX1025" fmla="*/ 253727 w 3746039"/>
                    <a:gd name="connsiteY1025" fmla="*/ 467147 h 1262144"/>
                    <a:gd name="connsiteX1026" fmla="*/ 248165 w 3746039"/>
                    <a:gd name="connsiteY1026" fmla="*/ 470709 h 1262144"/>
                    <a:gd name="connsiteX1027" fmla="*/ 277806 w 3746039"/>
                    <a:gd name="connsiteY1027" fmla="*/ 480491 h 1262144"/>
                    <a:gd name="connsiteX1028" fmla="*/ 279311 w 3746039"/>
                    <a:gd name="connsiteY1028" fmla="*/ 500122 h 1262144"/>
                    <a:gd name="connsiteX1029" fmla="*/ 289446 w 3746039"/>
                    <a:gd name="connsiteY1029" fmla="*/ 510162 h 1262144"/>
                    <a:gd name="connsiteX1030" fmla="*/ 297056 w 3746039"/>
                    <a:gd name="connsiteY1030" fmla="*/ 520277 h 1262144"/>
                    <a:gd name="connsiteX1031" fmla="*/ 304762 w 3746039"/>
                    <a:gd name="connsiteY1031" fmla="*/ 531440 h 1262144"/>
                    <a:gd name="connsiteX1032" fmla="*/ 322202 w 3746039"/>
                    <a:gd name="connsiteY1032" fmla="*/ 534717 h 1262144"/>
                    <a:gd name="connsiteX1033" fmla="*/ 339814 w 3746039"/>
                    <a:gd name="connsiteY1033" fmla="*/ 544909 h 1262144"/>
                    <a:gd name="connsiteX1034" fmla="*/ 360150 w 3746039"/>
                    <a:gd name="connsiteY1034" fmla="*/ 549862 h 1262144"/>
                    <a:gd name="connsiteX1035" fmla="*/ 374009 w 3746039"/>
                    <a:gd name="connsiteY1035" fmla="*/ 543280 h 1262144"/>
                    <a:gd name="connsiteX1036" fmla="*/ 361988 w 3746039"/>
                    <a:gd name="connsiteY1036" fmla="*/ 531717 h 1262144"/>
                    <a:gd name="connsiteX1037" fmla="*/ 344376 w 3746039"/>
                    <a:gd name="connsiteY1037" fmla="*/ 527107 h 1262144"/>
                    <a:gd name="connsiteX1038" fmla="*/ 330956 w 3746039"/>
                    <a:gd name="connsiteY1038" fmla="*/ 514534 h 1262144"/>
                    <a:gd name="connsiteX1039" fmla="*/ 336613 w 3746039"/>
                    <a:gd name="connsiteY1039" fmla="*/ 507171 h 1262144"/>
                    <a:gd name="connsiteX1040" fmla="*/ 346901 w 3746039"/>
                    <a:gd name="connsiteY1040" fmla="*/ 507828 h 1262144"/>
                    <a:gd name="connsiteX1041" fmla="*/ 369123 w 3746039"/>
                    <a:gd name="connsiteY1041" fmla="*/ 517258 h 1262144"/>
                    <a:gd name="connsiteX1042" fmla="*/ 389306 w 3746039"/>
                    <a:gd name="connsiteY1042" fmla="*/ 521534 h 1262144"/>
                    <a:gd name="connsiteX1043" fmla="*/ 402003 w 3746039"/>
                    <a:gd name="connsiteY1043" fmla="*/ 525916 h 1262144"/>
                    <a:gd name="connsiteX1044" fmla="*/ 407727 w 3746039"/>
                    <a:gd name="connsiteY1044" fmla="*/ 522344 h 1262144"/>
                    <a:gd name="connsiteX1045" fmla="*/ 414356 w 3746039"/>
                    <a:gd name="connsiteY1045" fmla="*/ 512638 h 1262144"/>
                    <a:gd name="connsiteX1046" fmla="*/ 397935 w 3746039"/>
                    <a:gd name="connsiteY1046" fmla="*/ 497808 h 1262144"/>
                    <a:gd name="connsiteX1047" fmla="*/ 403936 w 3746039"/>
                    <a:gd name="connsiteY1047" fmla="*/ 490835 h 1262144"/>
                    <a:gd name="connsiteX1048" fmla="*/ 413376 w 3746039"/>
                    <a:gd name="connsiteY1048" fmla="*/ 482720 h 1262144"/>
                    <a:gd name="connsiteX1049" fmla="*/ 434750 w 3746039"/>
                    <a:gd name="connsiteY1049" fmla="*/ 472928 h 1262144"/>
                    <a:gd name="connsiteX1050" fmla="*/ 443798 w 3746039"/>
                    <a:gd name="connsiteY1050" fmla="*/ 464880 h 1262144"/>
                    <a:gd name="connsiteX1051" fmla="*/ 456886 w 3746039"/>
                    <a:gd name="connsiteY1051" fmla="*/ 468052 h 1262144"/>
                    <a:gd name="connsiteX1052" fmla="*/ 475154 w 3746039"/>
                    <a:gd name="connsiteY1052" fmla="*/ 477196 h 1262144"/>
                    <a:gd name="connsiteX1053" fmla="*/ 488861 w 3746039"/>
                    <a:gd name="connsiteY1053" fmla="*/ 480815 h 1262144"/>
                    <a:gd name="connsiteX1054" fmla="*/ 486880 w 3746039"/>
                    <a:gd name="connsiteY1054" fmla="*/ 469109 h 1262144"/>
                    <a:gd name="connsiteX1055" fmla="*/ 487442 w 3746039"/>
                    <a:gd name="connsiteY1055" fmla="*/ 456050 h 1262144"/>
                    <a:gd name="connsiteX1056" fmla="*/ 479022 w 3746039"/>
                    <a:gd name="connsiteY1056" fmla="*/ 445744 h 1262144"/>
                    <a:gd name="connsiteX1057" fmla="*/ 467449 w 3746039"/>
                    <a:gd name="connsiteY1057" fmla="*/ 438334 h 1262144"/>
                    <a:gd name="connsiteX1058" fmla="*/ 466754 w 3746039"/>
                    <a:gd name="connsiteY1058" fmla="*/ 411645 h 1262144"/>
                    <a:gd name="connsiteX1059" fmla="*/ 442494 w 3746039"/>
                    <a:gd name="connsiteY1059" fmla="*/ 396862 h 1262144"/>
                    <a:gd name="connsiteX1060" fmla="*/ 462067 w 3746039"/>
                    <a:gd name="connsiteY1060" fmla="*/ 401015 h 1262144"/>
                    <a:gd name="connsiteX1061" fmla="*/ 486004 w 3746039"/>
                    <a:gd name="connsiteY1061" fmla="*/ 400367 h 1262144"/>
                    <a:gd name="connsiteX1062" fmla="*/ 507092 w 3746039"/>
                    <a:gd name="connsiteY1062" fmla="*/ 408463 h 1262144"/>
                    <a:gd name="connsiteX1063" fmla="*/ 524437 w 3746039"/>
                    <a:gd name="connsiteY1063" fmla="*/ 422846 h 1262144"/>
                    <a:gd name="connsiteX1064" fmla="*/ 491185 w 3746039"/>
                    <a:gd name="connsiteY1064" fmla="*/ 434066 h 1262144"/>
                    <a:gd name="connsiteX1065" fmla="*/ 499320 w 3746039"/>
                    <a:gd name="connsiteY1065" fmla="*/ 441239 h 1262144"/>
                    <a:gd name="connsiteX1066" fmla="*/ 514560 w 3746039"/>
                    <a:gd name="connsiteY1066" fmla="*/ 450306 h 1262144"/>
                    <a:gd name="connsiteX1067" fmla="*/ 542354 w 3746039"/>
                    <a:gd name="connsiteY1067" fmla="*/ 453936 h 1262144"/>
                    <a:gd name="connsiteX1068" fmla="*/ 556117 w 3746039"/>
                    <a:gd name="connsiteY1068" fmla="*/ 447420 h 1262144"/>
                    <a:gd name="connsiteX1069" fmla="*/ 553346 w 3746039"/>
                    <a:gd name="connsiteY1069" fmla="*/ 431180 h 1262144"/>
                    <a:gd name="connsiteX1070" fmla="*/ 568928 w 3746039"/>
                    <a:gd name="connsiteY1070" fmla="*/ 427685 h 1262144"/>
                    <a:gd name="connsiteX1071" fmla="*/ 573262 w 3746039"/>
                    <a:gd name="connsiteY1071" fmla="*/ 426942 h 1262144"/>
                    <a:gd name="connsiteX1072" fmla="*/ 567614 w 3746039"/>
                    <a:gd name="connsiteY1072" fmla="*/ 422046 h 1262144"/>
                    <a:gd name="connsiteX1073" fmla="*/ 578120 w 3746039"/>
                    <a:gd name="connsiteY1073" fmla="*/ 421970 h 1262144"/>
                    <a:gd name="connsiteX1074" fmla="*/ 594531 w 3746039"/>
                    <a:gd name="connsiteY1074" fmla="*/ 414312 h 1262144"/>
                    <a:gd name="connsiteX1075" fmla="*/ 621373 w 3746039"/>
                    <a:gd name="connsiteY1075" fmla="*/ 403844 h 1262144"/>
                    <a:gd name="connsiteX1076" fmla="*/ 632460 w 3746039"/>
                    <a:gd name="connsiteY1076" fmla="*/ 401186 h 1262144"/>
                    <a:gd name="connsiteX1077" fmla="*/ 638537 w 3746039"/>
                    <a:gd name="connsiteY1077" fmla="*/ 407044 h 1262144"/>
                    <a:gd name="connsiteX1078" fmla="*/ 636918 w 3746039"/>
                    <a:gd name="connsiteY1078" fmla="*/ 398938 h 1262144"/>
                    <a:gd name="connsiteX1079" fmla="*/ 677704 w 3746039"/>
                    <a:gd name="connsiteY1079" fmla="*/ 386832 h 1262144"/>
                    <a:gd name="connsiteX1080" fmla="*/ 664035 w 3746039"/>
                    <a:gd name="connsiteY1080" fmla="*/ 389499 h 1262144"/>
                    <a:gd name="connsiteX1081" fmla="*/ 667493 w 3746039"/>
                    <a:gd name="connsiteY1081" fmla="*/ 392842 h 1262144"/>
                    <a:gd name="connsiteX1082" fmla="*/ 666960 w 3746039"/>
                    <a:gd name="connsiteY1082" fmla="*/ 398119 h 1262144"/>
                    <a:gd name="connsiteX1083" fmla="*/ 671713 w 3746039"/>
                    <a:gd name="connsiteY1083" fmla="*/ 401177 h 1262144"/>
                    <a:gd name="connsiteX1084" fmla="*/ 661235 w 3746039"/>
                    <a:gd name="connsiteY1084" fmla="*/ 409663 h 1262144"/>
                    <a:gd name="connsiteX1085" fmla="*/ 679466 w 3746039"/>
                    <a:gd name="connsiteY1085" fmla="*/ 409940 h 1262144"/>
                    <a:gd name="connsiteX1086" fmla="*/ 688172 w 3746039"/>
                    <a:gd name="connsiteY1086" fmla="*/ 409158 h 1262144"/>
                    <a:gd name="connsiteX1087" fmla="*/ 696706 w 3746039"/>
                    <a:gd name="connsiteY1087" fmla="*/ 411730 h 1262144"/>
                    <a:gd name="connsiteX1088" fmla="*/ 724919 w 3746039"/>
                    <a:gd name="connsiteY1088" fmla="*/ 398510 h 1262144"/>
                    <a:gd name="connsiteX1089" fmla="*/ 743264 w 3746039"/>
                    <a:gd name="connsiteY1089" fmla="*/ 399262 h 1262144"/>
                    <a:gd name="connsiteX1090" fmla="*/ 760200 w 3746039"/>
                    <a:gd name="connsiteY1090" fmla="*/ 391823 h 1262144"/>
                    <a:gd name="connsiteX1091" fmla="*/ 774449 w 3746039"/>
                    <a:gd name="connsiteY1091" fmla="*/ 386413 h 1262144"/>
                    <a:gd name="connsiteX1092" fmla="*/ 785946 w 3746039"/>
                    <a:gd name="connsiteY1092" fmla="*/ 394823 h 1262144"/>
                    <a:gd name="connsiteX1093" fmla="*/ 795271 w 3746039"/>
                    <a:gd name="connsiteY1093" fmla="*/ 406672 h 1262144"/>
                    <a:gd name="connsiteX1094" fmla="*/ 797728 w 3746039"/>
                    <a:gd name="connsiteY1094" fmla="*/ 395833 h 1262144"/>
                    <a:gd name="connsiteX1095" fmla="*/ 814769 w 3746039"/>
                    <a:gd name="connsiteY1095" fmla="*/ 389223 h 1262144"/>
                    <a:gd name="connsiteX1096" fmla="*/ 810578 w 3746039"/>
                    <a:gd name="connsiteY1096" fmla="*/ 382327 h 1262144"/>
                    <a:gd name="connsiteX1097" fmla="*/ 807568 w 3746039"/>
                    <a:gd name="connsiteY1097" fmla="*/ 382822 h 1262144"/>
                    <a:gd name="connsiteX1098" fmla="*/ 801729 w 3746039"/>
                    <a:gd name="connsiteY1098" fmla="*/ 377659 h 1262144"/>
                    <a:gd name="connsiteX1099" fmla="*/ 794680 w 3746039"/>
                    <a:gd name="connsiteY1099" fmla="*/ 371525 h 1262144"/>
                    <a:gd name="connsiteX1100" fmla="*/ 793937 w 3746039"/>
                    <a:gd name="connsiteY1100" fmla="*/ 365401 h 1262144"/>
                    <a:gd name="connsiteX1101" fmla="*/ 809949 w 3746039"/>
                    <a:gd name="connsiteY1101" fmla="*/ 360743 h 1262144"/>
                    <a:gd name="connsiteX1102" fmla="*/ 855897 w 3746039"/>
                    <a:gd name="connsiteY1102" fmla="*/ 365258 h 1262144"/>
                    <a:gd name="connsiteX1103" fmla="*/ 896074 w 3746039"/>
                    <a:gd name="connsiteY1103" fmla="*/ 378774 h 1262144"/>
                    <a:gd name="connsiteX1104" fmla="*/ 919534 w 3746039"/>
                    <a:gd name="connsiteY1104" fmla="*/ 384374 h 1262144"/>
                    <a:gd name="connsiteX1105" fmla="*/ 941870 w 3746039"/>
                    <a:gd name="connsiteY1105" fmla="*/ 389985 h 1262144"/>
                    <a:gd name="connsiteX1106" fmla="*/ 965692 w 3746039"/>
                    <a:gd name="connsiteY1106" fmla="*/ 399624 h 1262144"/>
                    <a:gd name="connsiteX1107" fmla="*/ 986552 w 3746039"/>
                    <a:gd name="connsiteY1107" fmla="*/ 408158 h 1262144"/>
                    <a:gd name="connsiteX1108" fmla="*/ 991905 w 3746039"/>
                    <a:gd name="connsiteY1108" fmla="*/ 388118 h 1262144"/>
                    <a:gd name="connsiteX1109" fmla="*/ 980332 w 3746039"/>
                    <a:gd name="connsiteY1109" fmla="*/ 388251 h 1262144"/>
                    <a:gd name="connsiteX1110" fmla="*/ 969016 w 3746039"/>
                    <a:gd name="connsiteY1110" fmla="*/ 381793 h 1262144"/>
                    <a:gd name="connsiteX1111" fmla="*/ 951434 w 3746039"/>
                    <a:gd name="connsiteY1111" fmla="*/ 369420 h 1262144"/>
                    <a:gd name="connsiteX1112" fmla="*/ 933469 w 3746039"/>
                    <a:gd name="connsiteY1112" fmla="*/ 369144 h 1262144"/>
                    <a:gd name="connsiteX1113" fmla="*/ 926154 w 3746039"/>
                    <a:gd name="connsiteY1113" fmla="*/ 354637 h 1262144"/>
                    <a:gd name="connsiteX1114" fmla="*/ 927230 w 3746039"/>
                    <a:gd name="connsiteY1114" fmla="*/ 348160 h 1262144"/>
                    <a:gd name="connsiteX1115" fmla="*/ 921877 w 3746039"/>
                    <a:gd name="connsiteY1115" fmla="*/ 333520 h 1262144"/>
                    <a:gd name="connsiteX1116" fmla="*/ 906294 w 3746039"/>
                    <a:gd name="connsiteY1116" fmla="*/ 321576 h 1262144"/>
                    <a:gd name="connsiteX1117" fmla="*/ 901665 w 3746039"/>
                    <a:gd name="connsiteY1117" fmla="*/ 321014 h 1262144"/>
                    <a:gd name="connsiteX1118" fmla="*/ 905028 w 3746039"/>
                    <a:gd name="connsiteY1118" fmla="*/ 314337 h 1262144"/>
                    <a:gd name="connsiteX1119" fmla="*/ 915391 w 3746039"/>
                    <a:gd name="connsiteY1119" fmla="*/ 310118 h 1262144"/>
                    <a:gd name="connsiteX1120" fmla="*/ 926049 w 3746039"/>
                    <a:gd name="connsiteY1120" fmla="*/ 295373 h 1262144"/>
                    <a:gd name="connsiteX1121" fmla="*/ 931012 w 3746039"/>
                    <a:gd name="connsiteY1121" fmla="*/ 261445 h 1262144"/>
                    <a:gd name="connsiteX1122" fmla="*/ 932384 w 3746039"/>
                    <a:gd name="connsiteY1122" fmla="*/ 263997 h 1262144"/>
                    <a:gd name="connsiteX1123" fmla="*/ 941613 w 3746039"/>
                    <a:gd name="connsiteY1123" fmla="*/ 263740 h 1262144"/>
                    <a:gd name="connsiteX1124" fmla="*/ 964035 w 3746039"/>
                    <a:gd name="connsiteY1124" fmla="*/ 263502 h 1262144"/>
                    <a:gd name="connsiteX1125" fmla="*/ 983056 w 3746039"/>
                    <a:gd name="connsiteY1125" fmla="*/ 266026 h 1262144"/>
                    <a:gd name="connsiteX1126" fmla="*/ 1001516 w 3746039"/>
                    <a:gd name="connsiteY1126" fmla="*/ 273589 h 1262144"/>
                    <a:gd name="connsiteX1127" fmla="*/ 1007811 w 3746039"/>
                    <a:gd name="connsiteY1127" fmla="*/ 291696 h 1262144"/>
                    <a:gd name="connsiteX1128" fmla="*/ 1007735 w 3746039"/>
                    <a:gd name="connsiteY1128" fmla="*/ 301183 h 1262144"/>
                    <a:gd name="connsiteX1129" fmla="*/ 1002964 w 3746039"/>
                    <a:gd name="connsiteY1129" fmla="*/ 306879 h 1262144"/>
                    <a:gd name="connsiteX1130" fmla="*/ 1018680 w 3746039"/>
                    <a:gd name="connsiteY1130" fmla="*/ 316776 h 1262144"/>
                    <a:gd name="connsiteX1131" fmla="*/ 1033577 w 3746039"/>
                    <a:gd name="connsiteY1131" fmla="*/ 329139 h 1262144"/>
                    <a:gd name="connsiteX1132" fmla="*/ 1038835 w 3746039"/>
                    <a:gd name="connsiteY1132" fmla="*/ 338807 h 1262144"/>
                    <a:gd name="connsiteX1133" fmla="*/ 1038749 w 3746039"/>
                    <a:gd name="connsiteY1133" fmla="*/ 345293 h 1262144"/>
                    <a:gd name="connsiteX1134" fmla="*/ 1050208 w 3746039"/>
                    <a:gd name="connsiteY1134" fmla="*/ 361638 h 1262144"/>
                    <a:gd name="connsiteX1135" fmla="*/ 1073325 w 3746039"/>
                    <a:gd name="connsiteY1135" fmla="*/ 392509 h 1262144"/>
                    <a:gd name="connsiteX1136" fmla="*/ 1093985 w 3746039"/>
                    <a:gd name="connsiteY1136" fmla="*/ 400662 h 1262144"/>
                    <a:gd name="connsiteX1137" fmla="*/ 1092708 w 3746039"/>
                    <a:gd name="connsiteY1137" fmla="*/ 408273 h 1262144"/>
                    <a:gd name="connsiteX1138" fmla="*/ 1094928 w 3746039"/>
                    <a:gd name="connsiteY1138" fmla="*/ 417093 h 1262144"/>
                    <a:gd name="connsiteX1139" fmla="*/ 1090574 w 3746039"/>
                    <a:gd name="connsiteY1139" fmla="*/ 432742 h 1262144"/>
                    <a:gd name="connsiteX1140" fmla="*/ 1075668 w 3746039"/>
                    <a:gd name="connsiteY1140" fmla="*/ 450792 h 1262144"/>
                    <a:gd name="connsiteX1141" fmla="*/ 1084536 w 3746039"/>
                    <a:gd name="connsiteY1141" fmla="*/ 459565 h 1262144"/>
                    <a:gd name="connsiteX1142" fmla="*/ 1068467 w 3746039"/>
                    <a:gd name="connsiteY1142" fmla="*/ 464480 h 1262144"/>
                    <a:gd name="connsiteX1143" fmla="*/ 1064752 w 3746039"/>
                    <a:gd name="connsiteY1143" fmla="*/ 457603 h 1262144"/>
                    <a:gd name="connsiteX1144" fmla="*/ 1056856 w 3746039"/>
                    <a:gd name="connsiteY1144" fmla="*/ 459479 h 1262144"/>
                    <a:gd name="connsiteX1145" fmla="*/ 1046950 w 3746039"/>
                    <a:gd name="connsiteY1145" fmla="*/ 454936 h 1262144"/>
                    <a:gd name="connsiteX1146" fmla="*/ 1027157 w 3746039"/>
                    <a:gd name="connsiteY1146" fmla="*/ 456250 h 1262144"/>
                    <a:gd name="connsiteX1147" fmla="*/ 1035739 w 3746039"/>
                    <a:gd name="connsiteY1147" fmla="*/ 463203 h 1262144"/>
                    <a:gd name="connsiteX1148" fmla="*/ 1054417 w 3746039"/>
                    <a:gd name="connsiteY1148" fmla="*/ 468156 h 1262144"/>
                    <a:gd name="connsiteX1149" fmla="*/ 1086326 w 3746039"/>
                    <a:gd name="connsiteY1149" fmla="*/ 469757 h 1262144"/>
                    <a:gd name="connsiteX1150" fmla="*/ 1102290 w 3746039"/>
                    <a:gd name="connsiteY1150" fmla="*/ 473186 h 1262144"/>
                    <a:gd name="connsiteX1151" fmla="*/ 1106081 w 3746039"/>
                    <a:gd name="connsiteY1151" fmla="*/ 463432 h 1262144"/>
                    <a:gd name="connsiteX1152" fmla="*/ 1121845 w 3746039"/>
                    <a:gd name="connsiteY1152" fmla="*/ 455679 h 1262144"/>
                    <a:gd name="connsiteX1153" fmla="*/ 1127036 w 3746039"/>
                    <a:gd name="connsiteY1153" fmla="*/ 441953 h 1262144"/>
                    <a:gd name="connsiteX1154" fmla="*/ 1132761 w 3746039"/>
                    <a:gd name="connsiteY1154" fmla="*/ 429437 h 1262144"/>
                    <a:gd name="connsiteX1155" fmla="*/ 1129237 w 3746039"/>
                    <a:gd name="connsiteY1155" fmla="*/ 416540 h 1262144"/>
                    <a:gd name="connsiteX1156" fmla="*/ 1112873 w 3746039"/>
                    <a:gd name="connsiteY1156" fmla="*/ 394166 h 1262144"/>
                    <a:gd name="connsiteX1157" fmla="*/ 1146296 w 3746039"/>
                    <a:gd name="connsiteY1157" fmla="*/ 387070 h 1262144"/>
                    <a:gd name="connsiteX1158" fmla="*/ 1157849 w 3746039"/>
                    <a:gd name="connsiteY1158" fmla="*/ 393623 h 1262144"/>
                    <a:gd name="connsiteX1159" fmla="*/ 1173928 w 3746039"/>
                    <a:gd name="connsiteY1159" fmla="*/ 402681 h 1262144"/>
                    <a:gd name="connsiteX1160" fmla="*/ 1184282 w 3746039"/>
                    <a:gd name="connsiteY1160" fmla="*/ 418093 h 1262144"/>
                    <a:gd name="connsiteX1161" fmla="*/ 1194150 w 3746039"/>
                    <a:gd name="connsiteY1161" fmla="*/ 427847 h 1262144"/>
                    <a:gd name="connsiteX1162" fmla="*/ 1228715 w 3746039"/>
                    <a:gd name="connsiteY1162" fmla="*/ 431037 h 1262144"/>
                    <a:gd name="connsiteX1163" fmla="*/ 1200883 w 3746039"/>
                    <a:gd name="connsiteY1163" fmla="*/ 426646 h 1262144"/>
                    <a:gd name="connsiteX1164" fmla="*/ 1195226 w 3746039"/>
                    <a:gd name="connsiteY1164" fmla="*/ 409920 h 1262144"/>
                    <a:gd name="connsiteX1165" fmla="*/ 1174976 w 3746039"/>
                    <a:gd name="connsiteY1165" fmla="*/ 389651 h 1262144"/>
                    <a:gd name="connsiteX1166" fmla="*/ 1148820 w 3746039"/>
                    <a:gd name="connsiteY1166" fmla="*/ 382803 h 1262144"/>
                    <a:gd name="connsiteX1167" fmla="*/ 1119864 w 3746039"/>
                    <a:gd name="connsiteY1167" fmla="*/ 379707 h 1262144"/>
                    <a:gd name="connsiteX1168" fmla="*/ 1107491 w 3746039"/>
                    <a:gd name="connsiteY1168" fmla="*/ 383270 h 1262144"/>
                    <a:gd name="connsiteX1169" fmla="*/ 1092299 w 3746039"/>
                    <a:gd name="connsiteY1169" fmla="*/ 382965 h 1262144"/>
                    <a:gd name="connsiteX1170" fmla="*/ 1085060 w 3746039"/>
                    <a:gd name="connsiteY1170" fmla="*/ 374992 h 1262144"/>
                    <a:gd name="connsiteX1171" fmla="*/ 1075068 w 3746039"/>
                    <a:gd name="connsiteY1171" fmla="*/ 366458 h 1262144"/>
                    <a:gd name="connsiteX1172" fmla="*/ 1069667 w 3746039"/>
                    <a:gd name="connsiteY1172" fmla="*/ 354209 h 1262144"/>
                    <a:gd name="connsiteX1173" fmla="*/ 1071763 w 3746039"/>
                    <a:gd name="connsiteY1173" fmla="*/ 340540 h 1262144"/>
                    <a:gd name="connsiteX1174" fmla="*/ 1049960 w 3746039"/>
                    <a:gd name="connsiteY1174" fmla="*/ 321500 h 1262144"/>
                    <a:gd name="connsiteX1175" fmla="*/ 1029633 w 3746039"/>
                    <a:gd name="connsiteY1175" fmla="*/ 308384 h 1262144"/>
                    <a:gd name="connsiteX1176" fmla="*/ 1038358 w 3746039"/>
                    <a:gd name="connsiteY1176" fmla="*/ 294725 h 1262144"/>
                    <a:gd name="connsiteX1177" fmla="*/ 1053132 w 3746039"/>
                    <a:gd name="connsiteY1177" fmla="*/ 289172 h 1262144"/>
                    <a:gd name="connsiteX1178" fmla="*/ 1037758 w 3746039"/>
                    <a:gd name="connsiteY1178" fmla="*/ 266531 h 1262144"/>
                    <a:gd name="connsiteX1179" fmla="*/ 1060018 w 3746039"/>
                    <a:gd name="connsiteY1179" fmla="*/ 275427 h 1262144"/>
                    <a:gd name="connsiteX1180" fmla="*/ 1064524 w 3746039"/>
                    <a:gd name="connsiteY1180" fmla="*/ 293401 h 1262144"/>
                    <a:gd name="connsiteX1181" fmla="*/ 1076478 w 3746039"/>
                    <a:gd name="connsiteY1181" fmla="*/ 305793 h 1262144"/>
                    <a:gd name="connsiteX1182" fmla="*/ 1075392 w 3746039"/>
                    <a:gd name="connsiteY1182" fmla="*/ 310470 h 1262144"/>
                    <a:gd name="connsiteX1183" fmla="*/ 1080402 w 3746039"/>
                    <a:gd name="connsiteY1183" fmla="*/ 313461 h 1262144"/>
                    <a:gd name="connsiteX1184" fmla="*/ 1115339 w 3746039"/>
                    <a:gd name="connsiteY1184" fmla="*/ 319585 h 1262144"/>
                    <a:gd name="connsiteX1185" fmla="*/ 1162840 w 3746039"/>
                    <a:gd name="connsiteY1185" fmla="*/ 323548 h 1262144"/>
                    <a:gd name="connsiteX1186" fmla="*/ 1146001 w 3746039"/>
                    <a:gd name="connsiteY1186" fmla="*/ 320452 h 1262144"/>
                    <a:gd name="connsiteX1187" fmla="*/ 1123760 w 3746039"/>
                    <a:gd name="connsiteY1187" fmla="*/ 313851 h 1262144"/>
                    <a:gd name="connsiteX1188" fmla="*/ 1081116 w 3746039"/>
                    <a:gd name="connsiteY1188" fmla="*/ 294944 h 1262144"/>
                    <a:gd name="connsiteX1189" fmla="*/ 1102166 w 3746039"/>
                    <a:gd name="connsiteY1189" fmla="*/ 292639 h 1262144"/>
                    <a:gd name="connsiteX1190" fmla="*/ 1125646 w 3746039"/>
                    <a:gd name="connsiteY1190" fmla="*/ 295059 h 1262144"/>
                    <a:gd name="connsiteX1191" fmla="*/ 1108005 w 3746039"/>
                    <a:gd name="connsiteY1191" fmla="*/ 289858 h 1262144"/>
                    <a:gd name="connsiteX1192" fmla="*/ 1115740 w 3746039"/>
                    <a:gd name="connsiteY1192" fmla="*/ 280638 h 1262144"/>
                    <a:gd name="connsiteX1193" fmla="*/ 1165251 w 3746039"/>
                    <a:gd name="connsiteY1193" fmla="*/ 286848 h 1262144"/>
                    <a:gd name="connsiteX1194" fmla="*/ 1204570 w 3746039"/>
                    <a:gd name="connsiteY1194" fmla="*/ 301174 h 1262144"/>
                    <a:gd name="connsiteX1195" fmla="*/ 1232250 w 3746039"/>
                    <a:gd name="connsiteY1195" fmla="*/ 301364 h 1262144"/>
                    <a:gd name="connsiteX1196" fmla="*/ 1224915 w 3746039"/>
                    <a:gd name="connsiteY1196" fmla="*/ 315432 h 1262144"/>
                    <a:gd name="connsiteX1197" fmla="*/ 1232602 w 3746039"/>
                    <a:gd name="connsiteY1197" fmla="*/ 327129 h 1262144"/>
                    <a:gd name="connsiteX1198" fmla="*/ 1241251 w 3746039"/>
                    <a:gd name="connsiteY1198" fmla="*/ 342664 h 1262144"/>
                    <a:gd name="connsiteX1199" fmla="*/ 1239441 w 3746039"/>
                    <a:gd name="connsiteY1199" fmla="*/ 326272 h 1262144"/>
                    <a:gd name="connsiteX1200" fmla="*/ 1252909 w 3746039"/>
                    <a:gd name="connsiteY1200" fmla="*/ 334168 h 1262144"/>
                    <a:gd name="connsiteX1201" fmla="*/ 1257100 w 3746039"/>
                    <a:gd name="connsiteY1201" fmla="*/ 349751 h 1262144"/>
                    <a:gd name="connsiteX1202" fmla="*/ 1261748 w 3746039"/>
                    <a:gd name="connsiteY1202" fmla="*/ 346408 h 1262144"/>
                    <a:gd name="connsiteX1203" fmla="*/ 1268349 w 3746039"/>
                    <a:gd name="connsiteY1203" fmla="*/ 336607 h 1262144"/>
                    <a:gd name="connsiteX1204" fmla="*/ 1251176 w 3746039"/>
                    <a:gd name="connsiteY1204" fmla="*/ 323624 h 1262144"/>
                    <a:gd name="connsiteX1205" fmla="*/ 1244394 w 3746039"/>
                    <a:gd name="connsiteY1205" fmla="*/ 307803 h 1262144"/>
                    <a:gd name="connsiteX1206" fmla="*/ 1233736 w 3746039"/>
                    <a:gd name="connsiteY1206" fmla="*/ 297554 h 1262144"/>
                    <a:gd name="connsiteX1207" fmla="*/ 1214380 w 3746039"/>
                    <a:gd name="connsiteY1207" fmla="*/ 293125 h 1262144"/>
                    <a:gd name="connsiteX1208" fmla="*/ 1198588 w 3746039"/>
                    <a:gd name="connsiteY1208" fmla="*/ 283781 h 1262144"/>
                    <a:gd name="connsiteX1209" fmla="*/ 1160936 w 3746039"/>
                    <a:gd name="connsiteY1209" fmla="*/ 270713 h 1262144"/>
                    <a:gd name="connsiteX1210" fmla="*/ 1157497 w 3746039"/>
                    <a:gd name="connsiteY1210" fmla="*/ 261607 h 1262144"/>
                    <a:gd name="connsiteX1211" fmla="*/ 1148067 w 3746039"/>
                    <a:gd name="connsiteY1211" fmla="*/ 257378 h 1262144"/>
                    <a:gd name="connsiteX1212" fmla="*/ 1140714 w 3746039"/>
                    <a:gd name="connsiteY1212" fmla="*/ 249396 h 1262144"/>
                    <a:gd name="connsiteX1213" fmla="*/ 1139981 w 3746039"/>
                    <a:gd name="connsiteY1213" fmla="*/ 242728 h 1262144"/>
                    <a:gd name="connsiteX1214" fmla="*/ 1205665 w 3746039"/>
                    <a:gd name="connsiteY1214" fmla="*/ 238547 h 1262144"/>
                    <a:gd name="connsiteX1215" fmla="*/ 1220391 w 3746039"/>
                    <a:gd name="connsiteY1215" fmla="*/ 236746 h 1262144"/>
                    <a:gd name="connsiteX1216" fmla="*/ 1234878 w 3746039"/>
                    <a:gd name="connsiteY1216" fmla="*/ 236813 h 1262144"/>
                    <a:gd name="connsiteX1217" fmla="*/ 1241955 w 3746039"/>
                    <a:gd name="connsiteY1217" fmla="*/ 233737 h 1262144"/>
                    <a:gd name="connsiteX1218" fmla="*/ 1250537 w 3746039"/>
                    <a:gd name="connsiteY1218" fmla="*/ 232813 h 1262144"/>
                    <a:gd name="connsiteX1219" fmla="*/ 1264358 w 3746039"/>
                    <a:gd name="connsiteY1219" fmla="*/ 234670 h 1262144"/>
                    <a:gd name="connsiteX1220" fmla="*/ 1249880 w 3746039"/>
                    <a:gd name="connsiteY1220" fmla="*/ 248919 h 1262144"/>
                    <a:gd name="connsiteX1221" fmla="*/ 1273969 w 3746039"/>
                    <a:gd name="connsiteY1221" fmla="*/ 256663 h 1262144"/>
                    <a:gd name="connsiteX1222" fmla="*/ 1251833 w 3746039"/>
                    <a:gd name="connsiteY1222" fmla="*/ 244795 h 1262144"/>
                    <a:gd name="connsiteX1223" fmla="*/ 1262720 w 3746039"/>
                    <a:gd name="connsiteY1223" fmla="*/ 242109 h 1262144"/>
                    <a:gd name="connsiteX1224" fmla="*/ 1271349 w 3746039"/>
                    <a:gd name="connsiteY1224" fmla="*/ 240537 h 1262144"/>
                    <a:gd name="connsiteX1225" fmla="*/ 1275569 w 3746039"/>
                    <a:gd name="connsiteY1225" fmla="*/ 235080 h 1262144"/>
                    <a:gd name="connsiteX1226" fmla="*/ 1253709 w 3746039"/>
                    <a:gd name="connsiteY1226" fmla="*/ 225555 h 1262144"/>
                    <a:gd name="connsiteX1227" fmla="*/ 1232469 w 3746039"/>
                    <a:gd name="connsiteY1227" fmla="*/ 219173 h 1262144"/>
                    <a:gd name="connsiteX1228" fmla="*/ 1255938 w 3746039"/>
                    <a:gd name="connsiteY1228" fmla="*/ 217668 h 1262144"/>
                    <a:gd name="connsiteX1229" fmla="*/ 1238260 w 3746039"/>
                    <a:gd name="connsiteY1229" fmla="*/ 211677 h 1262144"/>
                    <a:gd name="connsiteX1230" fmla="*/ 1220400 w 3746039"/>
                    <a:gd name="connsiteY1230" fmla="*/ 205809 h 1262144"/>
                    <a:gd name="connsiteX1231" fmla="*/ 1225039 w 3746039"/>
                    <a:gd name="connsiteY1231" fmla="*/ 203418 h 1262144"/>
                    <a:gd name="connsiteX1232" fmla="*/ 1243203 w 3746039"/>
                    <a:gd name="connsiteY1232" fmla="*/ 203799 h 1262144"/>
                    <a:gd name="connsiteX1233" fmla="*/ 1233202 w 3746039"/>
                    <a:gd name="connsiteY1233" fmla="*/ 194779 h 1262144"/>
                    <a:gd name="connsiteX1234" fmla="*/ 1248928 w 3746039"/>
                    <a:gd name="connsiteY1234" fmla="*/ 192760 h 1262144"/>
                    <a:gd name="connsiteX1235" fmla="*/ 1270635 w 3746039"/>
                    <a:gd name="connsiteY1235" fmla="*/ 183064 h 1262144"/>
                    <a:gd name="connsiteX1236" fmla="*/ 1289447 w 3746039"/>
                    <a:gd name="connsiteY1236" fmla="*/ 178539 h 1262144"/>
                    <a:gd name="connsiteX1237" fmla="*/ 1312364 w 3746039"/>
                    <a:gd name="connsiteY1237" fmla="*/ 175996 h 1262144"/>
                    <a:gd name="connsiteX1238" fmla="*/ 1334433 w 3746039"/>
                    <a:gd name="connsiteY1238" fmla="*/ 172243 h 1262144"/>
                    <a:gd name="connsiteX1239" fmla="*/ 1354503 w 3746039"/>
                    <a:gd name="connsiteY1239" fmla="*/ 167404 h 1262144"/>
                    <a:gd name="connsiteX1240" fmla="*/ 1328452 w 3746039"/>
                    <a:gd name="connsiteY1240" fmla="*/ 163756 h 1262144"/>
                    <a:gd name="connsiteX1241" fmla="*/ 1344168 w 3746039"/>
                    <a:gd name="connsiteY1241" fmla="*/ 163299 h 1262144"/>
                    <a:gd name="connsiteX1242" fmla="*/ 1358608 w 3746039"/>
                    <a:gd name="connsiteY1242" fmla="*/ 161423 h 1262144"/>
                    <a:gd name="connsiteX1243" fmla="*/ 1377810 w 3746039"/>
                    <a:gd name="connsiteY1243" fmla="*/ 161794 h 1262144"/>
                    <a:gd name="connsiteX1244" fmla="*/ 1385526 w 3746039"/>
                    <a:gd name="connsiteY1244" fmla="*/ 169519 h 1262144"/>
                    <a:gd name="connsiteX1245" fmla="*/ 1402080 w 3746039"/>
                    <a:gd name="connsiteY1245" fmla="*/ 169548 h 1262144"/>
                    <a:gd name="connsiteX1246" fmla="*/ 1413881 w 3746039"/>
                    <a:gd name="connsiteY1246" fmla="*/ 165299 h 1262144"/>
                    <a:gd name="connsiteX1247" fmla="*/ 1420187 w 3746039"/>
                    <a:gd name="connsiteY1247" fmla="*/ 163661 h 1262144"/>
                    <a:gd name="connsiteX1248" fmla="*/ 1431827 w 3746039"/>
                    <a:gd name="connsiteY1248" fmla="*/ 159918 h 1262144"/>
                    <a:gd name="connsiteX1249" fmla="*/ 1446581 w 3746039"/>
                    <a:gd name="connsiteY1249" fmla="*/ 160394 h 1262144"/>
                    <a:gd name="connsiteX1250" fmla="*/ 1462106 w 3746039"/>
                    <a:gd name="connsiteY1250" fmla="*/ 172310 h 1262144"/>
                    <a:gd name="connsiteX1251" fmla="*/ 1455477 w 3746039"/>
                    <a:gd name="connsiteY1251" fmla="*/ 159289 h 1262144"/>
                    <a:gd name="connsiteX1252" fmla="*/ 1431760 w 3746039"/>
                    <a:gd name="connsiteY1252" fmla="*/ 150964 h 1262144"/>
                    <a:gd name="connsiteX1253" fmla="*/ 1459497 w 3746039"/>
                    <a:gd name="connsiteY1253" fmla="*/ 150936 h 1262144"/>
                    <a:gd name="connsiteX1254" fmla="*/ 1487139 w 3746039"/>
                    <a:gd name="connsiteY1254" fmla="*/ 152269 h 1262144"/>
                    <a:gd name="connsiteX1255" fmla="*/ 1487557 w 3746039"/>
                    <a:gd name="connsiteY1255" fmla="*/ 150812 h 1262144"/>
                    <a:gd name="connsiteX1256" fmla="*/ 1470975 w 3746039"/>
                    <a:gd name="connsiteY1256" fmla="*/ 148564 h 1262144"/>
                    <a:gd name="connsiteX1257" fmla="*/ 1469326 w 3746039"/>
                    <a:gd name="connsiteY1257" fmla="*/ 143297 h 1262144"/>
                    <a:gd name="connsiteX1258" fmla="*/ 1462459 w 3746039"/>
                    <a:gd name="connsiteY1258" fmla="*/ 138963 h 1262144"/>
                    <a:gd name="connsiteX1259" fmla="*/ 1482662 w 3746039"/>
                    <a:gd name="connsiteY1259" fmla="*/ 115703 h 1262144"/>
                    <a:gd name="connsiteX1260" fmla="*/ 1489929 w 3746039"/>
                    <a:gd name="connsiteY1260" fmla="*/ 114541 h 1262144"/>
                    <a:gd name="connsiteX1261" fmla="*/ 1498159 w 3746039"/>
                    <a:gd name="connsiteY1261" fmla="*/ 111578 h 1262144"/>
                    <a:gd name="connsiteX1262" fmla="*/ 1515371 w 3746039"/>
                    <a:gd name="connsiteY1262" fmla="*/ 114007 h 1262144"/>
                    <a:gd name="connsiteX1263" fmla="*/ 1546888 w 3746039"/>
                    <a:gd name="connsiteY1263" fmla="*/ 122304 h 1262144"/>
                    <a:gd name="connsiteX1264" fmla="*/ 1532592 w 3746039"/>
                    <a:gd name="connsiteY1264" fmla="*/ 128647 h 1262144"/>
                    <a:gd name="connsiteX1265" fmla="*/ 1519304 w 3746039"/>
                    <a:gd name="connsiteY1265" fmla="*/ 131400 h 1262144"/>
                    <a:gd name="connsiteX1266" fmla="*/ 1539726 w 3746039"/>
                    <a:gd name="connsiteY1266" fmla="*/ 131686 h 1262144"/>
                    <a:gd name="connsiteX1267" fmla="*/ 1554099 w 3746039"/>
                    <a:gd name="connsiteY1267" fmla="*/ 134486 h 1262144"/>
                    <a:gd name="connsiteX1268" fmla="*/ 1586532 w 3746039"/>
                    <a:gd name="connsiteY1268" fmla="*/ 136915 h 1262144"/>
                    <a:gd name="connsiteX1269" fmla="*/ 1575950 w 3746039"/>
                    <a:gd name="connsiteY1269" fmla="*/ 147535 h 1262144"/>
                    <a:gd name="connsiteX1270" fmla="*/ 1604896 w 3746039"/>
                    <a:gd name="connsiteY1270" fmla="*/ 148907 h 1262144"/>
                    <a:gd name="connsiteX1271" fmla="*/ 1610792 w 3746039"/>
                    <a:gd name="connsiteY1271" fmla="*/ 143440 h 1262144"/>
                    <a:gd name="connsiteX1272" fmla="*/ 1628889 w 3746039"/>
                    <a:gd name="connsiteY1272" fmla="*/ 142525 h 1262144"/>
                    <a:gd name="connsiteX1273" fmla="*/ 1690030 w 3746039"/>
                    <a:gd name="connsiteY1273" fmla="*/ 154127 h 1262144"/>
                    <a:gd name="connsiteX1274" fmla="*/ 1713747 w 3746039"/>
                    <a:gd name="connsiteY1274" fmla="*/ 164423 h 1262144"/>
                    <a:gd name="connsiteX1275" fmla="*/ 1714624 w 3746039"/>
                    <a:gd name="connsiteY1275" fmla="*/ 158556 h 1262144"/>
                    <a:gd name="connsiteX1276" fmla="*/ 1730721 w 3746039"/>
                    <a:gd name="connsiteY1276" fmla="*/ 165309 h 1262144"/>
                    <a:gd name="connsiteX1277" fmla="*/ 1735874 w 3746039"/>
                    <a:gd name="connsiteY1277" fmla="*/ 169128 h 1262144"/>
                    <a:gd name="connsiteX1278" fmla="*/ 1739980 w 3746039"/>
                    <a:gd name="connsiteY1278" fmla="*/ 168814 h 1262144"/>
                    <a:gd name="connsiteX1279" fmla="*/ 1745914 w 3746039"/>
                    <a:gd name="connsiteY1279" fmla="*/ 176301 h 1262144"/>
                    <a:gd name="connsiteX1280" fmla="*/ 1736589 w 3746039"/>
                    <a:gd name="connsiteY1280" fmla="*/ 175910 h 1262144"/>
                    <a:gd name="connsiteX1281" fmla="*/ 1716329 w 3746039"/>
                    <a:gd name="connsiteY1281" fmla="*/ 171024 h 1262144"/>
                    <a:gd name="connsiteX1282" fmla="*/ 1727473 w 3746039"/>
                    <a:gd name="connsiteY1282" fmla="*/ 175910 h 1262144"/>
                    <a:gd name="connsiteX1283" fmla="*/ 1733846 w 3746039"/>
                    <a:gd name="connsiteY1283" fmla="*/ 179435 h 1262144"/>
                    <a:gd name="connsiteX1284" fmla="*/ 1738084 w 3746039"/>
                    <a:gd name="connsiteY1284" fmla="*/ 178253 h 1262144"/>
                    <a:gd name="connsiteX1285" fmla="*/ 1752190 w 3746039"/>
                    <a:gd name="connsiteY1285" fmla="*/ 193836 h 1262144"/>
                    <a:gd name="connsiteX1286" fmla="*/ 1730826 w 3746039"/>
                    <a:gd name="connsiteY1286" fmla="*/ 207695 h 1262144"/>
                    <a:gd name="connsiteX1287" fmla="*/ 1720834 w 3746039"/>
                    <a:gd name="connsiteY1287" fmla="*/ 212762 h 1262144"/>
                    <a:gd name="connsiteX1288" fmla="*/ 1709252 w 3746039"/>
                    <a:gd name="connsiteY1288" fmla="*/ 218963 h 1262144"/>
                    <a:gd name="connsiteX1289" fmla="*/ 1702299 w 3746039"/>
                    <a:gd name="connsiteY1289" fmla="*/ 228088 h 1262144"/>
                    <a:gd name="connsiteX1290" fmla="*/ 1685039 w 3746039"/>
                    <a:gd name="connsiteY1290" fmla="*/ 240956 h 1262144"/>
                    <a:gd name="connsiteX1291" fmla="*/ 1675743 w 3746039"/>
                    <a:gd name="connsiteY1291" fmla="*/ 245395 h 1262144"/>
                    <a:gd name="connsiteX1292" fmla="*/ 1669275 w 3746039"/>
                    <a:gd name="connsiteY1292" fmla="*/ 250548 h 1262144"/>
                    <a:gd name="connsiteX1293" fmla="*/ 1664075 w 3746039"/>
                    <a:gd name="connsiteY1293" fmla="*/ 259711 h 1262144"/>
                    <a:gd name="connsiteX1294" fmla="*/ 1658122 w 3746039"/>
                    <a:gd name="connsiteY1294" fmla="*/ 267636 h 1262144"/>
                    <a:gd name="connsiteX1295" fmla="*/ 1671819 w 3746039"/>
                    <a:gd name="connsiteY1295" fmla="*/ 262473 h 1262144"/>
                    <a:gd name="connsiteX1296" fmla="*/ 1675534 w 3746039"/>
                    <a:gd name="connsiteY1296" fmla="*/ 256187 h 1262144"/>
                    <a:gd name="connsiteX1297" fmla="*/ 1704023 w 3746039"/>
                    <a:gd name="connsiteY1297" fmla="*/ 253015 h 1262144"/>
                    <a:gd name="connsiteX1298" fmla="*/ 1713014 w 3746039"/>
                    <a:gd name="connsiteY1298" fmla="*/ 250501 h 1262144"/>
                    <a:gd name="connsiteX1299" fmla="*/ 1720767 w 3746039"/>
                    <a:gd name="connsiteY1299" fmla="*/ 248834 h 1262144"/>
                    <a:gd name="connsiteX1300" fmla="*/ 1723149 w 3746039"/>
                    <a:gd name="connsiteY1300" fmla="*/ 245262 h 1262144"/>
                    <a:gd name="connsiteX1301" fmla="*/ 1734922 w 3746039"/>
                    <a:gd name="connsiteY1301" fmla="*/ 245224 h 1262144"/>
                    <a:gd name="connsiteX1302" fmla="*/ 1747123 w 3746039"/>
                    <a:gd name="connsiteY1302" fmla="*/ 237604 h 1262144"/>
                    <a:gd name="connsiteX1303" fmla="*/ 1722101 w 3746039"/>
                    <a:gd name="connsiteY1303" fmla="*/ 236299 h 1262144"/>
                    <a:gd name="connsiteX1304" fmla="*/ 1744799 w 3746039"/>
                    <a:gd name="connsiteY1304" fmla="*/ 231031 h 1262144"/>
                    <a:gd name="connsiteX1305" fmla="*/ 1742970 w 3746039"/>
                    <a:gd name="connsiteY1305" fmla="*/ 227460 h 1262144"/>
                    <a:gd name="connsiteX1306" fmla="*/ 1752114 w 3746039"/>
                    <a:gd name="connsiteY1306" fmla="*/ 228231 h 1262144"/>
                    <a:gd name="connsiteX1307" fmla="*/ 1747400 w 3746039"/>
                    <a:gd name="connsiteY1307" fmla="*/ 230117 h 1262144"/>
                    <a:gd name="connsiteX1308" fmla="*/ 1771736 w 3746039"/>
                    <a:gd name="connsiteY1308" fmla="*/ 238042 h 1262144"/>
                    <a:gd name="connsiteX1309" fmla="*/ 1779909 w 3746039"/>
                    <a:gd name="connsiteY1309" fmla="*/ 230327 h 1262144"/>
                    <a:gd name="connsiteX1310" fmla="*/ 1798339 w 3746039"/>
                    <a:gd name="connsiteY1310" fmla="*/ 238842 h 1262144"/>
                    <a:gd name="connsiteX1311" fmla="*/ 1801435 w 3746039"/>
                    <a:gd name="connsiteY1311" fmla="*/ 241261 h 1262144"/>
                    <a:gd name="connsiteX1312" fmla="*/ 1801368 w 3746039"/>
                    <a:gd name="connsiteY1312" fmla="*/ 246167 h 1262144"/>
                    <a:gd name="connsiteX1313" fmla="*/ 1811083 w 3746039"/>
                    <a:gd name="connsiteY1313" fmla="*/ 249624 h 1262144"/>
                    <a:gd name="connsiteX1314" fmla="*/ 1818142 w 3746039"/>
                    <a:gd name="connsiteY1314" fmla="*/ 256863 h 1262144"/>
                    <a:gd name="connsiteX1315" fmla="*/ 1821114 w 3746039"/>
                    <a:gd name="connsiteY1315" fmla="*/ 262464 h 1262144"/>
                    <a:gd name="connsiteX1316" fmla="*/ 1819723 w 3746039"/>
                    <a:gd name="connsiteY1316" fmla="*/ 264921 h 1262144"/>
                    <a:gd name="connsiteX1317" fmla="*/ 1836677 w 3746039"/>
                    <a:gd name="connsiteY1317" fmla="*/ 271522 h 1262144"/>
                    <a:gd name="connsiteX1318" fmla="*/ 1825695 w 3746039"/>
                    <a:gd name="connsiteY1318" fmla="*/ 268855 h 1262144"/>
                    <a:gd name="connsiteX1319" fmla="*/ 1822361 w 3746039"/>
                    <a:gd name="connsiteY1319" fmla="*/ 262759 h 1262144"/>
                    <a:gd name="connsiteX1320" fmla="*/ 1819532 w 3746039"/>
                    <a:gd name="connsiteY1320" fmla="*/ 249729 h 1262144"/>
                    <a:gd name="connsiteX1321" fmla="*/ 1807150 w 3746039"/>
                    <a:gd name="connsiteY1321" fmla="*/ 244719 h 1262144"/>
                    <a:gd name="connsiteX1322" fmla="*/ 1833144 w 3746039"/>
                    <a:gd name="connsiteY1322" fmla="*/ 240442 h 1262144"/>
                    <a:gd name="connsiteX1323" fmla="*/ 1862462 w 3746039"/>
                    <a:gd name="connsiteY1323" fmla="*/ 239356 h 1262144"/>
                    <a:gd name="connsiteX1324" fmla="*/ 1891474 w 3746039"/>
                    <a:gd name="connsiteY1324" fmla="*/ 241890 h 1262144"/>
                    <a:gd name="connsiteX1325" fmla="*/ 1917611 w 3746039"/>
                    <a:gd name="connsiteY1325" fmla="*/ 245471 h 1262144"/>
                    <a:gd name="connsiteX1326" fmla="*/ 1908439 w 3746039"/>
                    <a:gd name="connsiteY1326" fmla="*/ 245995 h 1262144"/>
                    <a:gd name="connsiteX1327" fmla="*/ 1960359 w 3746039"/>
                    <a:gd name="connsiteY1327" fmla="*/ 261378 h 1262144"/>
                    <a:gd name="connsiteX1328" fmla="*/ 1988030 w 3746039"/>
                    <a:gd name="connsiteY1328" fmla="*/ 261569 h 1262144"/>
                    <a:gd name="connsiteX1329" fmla="*/ 2013347 w 3746039"/>
                    <a:gd name="connsiteY1329" fmla="*/ 263569 h 1262144"/>
                    <a:gd name="connsiteX1330" fmla="*/ 2005213 w 3746039"/>
                    <a:gd name="connsiteY1330" fmla="*/ 260102 h 1262144"/>
                    <a:gd name="connsiteX1331" fmla="*/ 2020100 w 3746039"/>
                    <a:gd name="connsiteY1331" fmla="*/ 262045 h 1262144"/>
                    <a:gd name="connsiteX1332" fmla="*/ 2021767 w 3746039"/>
                    <a:gd name="connsiteY1332" fmla="*/ 254539 h 1262144"/>
                    <a:gd name="connsiteX1333" fmla="*/ 2004765 w 3746039"/>
                    <a:gd name="connsiteY1333" fmla="*/ 244252 h 1262144"/>
                    <a:gd name="connsiteX1334" fmla="*/ 2006327 w 3746039"/>
                    <a:gd name="connsiteY1334" fmla="*/ 240061 h 1262144"/>
                    <a:gd name="connsiteX1335" fmla="*/ 2011166 w 3746039"/>
                    <a:gd name="connsiteY1335" fmla="*/ 240861 h 1262144"/>
                    <a:gd name="connsiteX1336" fmla="*/ 2012890 w 3746039"/>
                    <a:gd name="connsiteY1336" fmla="*/ 238194 h 1262144"/>
                    <a:gd name="connsiteX1337" fmla="*/ 2032159 w 3746039"/>
                    <a:gd name="connsiteY1337" fmla="*/ 239147 h 1262144"/>
                    <a:gd name="connsiteX1338" fmla="*/ 2055105 w 3746039"/>
                    <a:gd name="connsiteY1338" fmla="*/ 246186 h 1262144"/>
                    <a:gd name="connsiteX1339" fmla="*/ 2066963 w 3746039"/>
                    <a:gd name="connsiteY1339" fmla="*/ 245348 h 1262144"/>
                    <a:gd name="connsiteX1340" fmla="*/ 2078736 w 3746039"/>
                    <a:gd name="connsiteY1340" fmla="*/ 247357 h 1262144"/>
                    <a:gd name="connsiteX1341" fmla="*/ 2080879 w 3746039"/>
                    <a:gd name="connsiteY1341" fmla="*/ 243604 h 1262144"/>
                    <a:gd name="connsiteX1342" fmla="*/ 2095214 w 3746039"/>
                    <a:gd name="connsiteY1342" fmla="*/ 245386 h 1262144"/>
                    <a:gd name="connsiteX1343" fmla="*/ 2109969 w 3746039"/>
                    <a:gd name="connsiteY1343" fmla="*/ 249862 h 1262144"/>
                    <a:gd name="connsiteX1344" fmla="*/ 2128190 w 3746039"/>
                    <a:gd name="connsiteY1344" fmla="*/ 254453 h 1262144"/>
                    <a:gd name="connsiteX1345" fmla="*/ 2132895 w 3746039"/>
                    <a:gd name="connsiteY1345" fmla="*/ 263931 h 1262144"/>
                    <a:gd name="connsiteX1346" fmla="*/ 2152612 w 3746039"/>
                    <a:gd name="connsiteY1346" fmla="*/ 269913 h 1262144"/>
                    <a:gd name="connsiteX1347" fmla="*/ 2141334 w 3746039"/>
                    <a:gd name="connsiteY1347" fmla="*/ 275266 h 1262144"/>
                    <a:gd name="connsiteX1348" fmla="*/ 2162299 w 3746039"/>
                    <a:gd name="connsiteY1348" fmla="*/ 278333 h 1262144"/>
                    <a:gd name="connsiteX1349" fmla="*/ 2170662 w 3746039"/>
                    <a:gd name="connsiteY1349" fmla="*/ 289410 h 1262144"/>
                    <a:gd name="connsiteX1350" fmla="*/ 2131248 w 3746039"/>
                    <a:gd name="connsiteY1350" fmla="*/ 279114 h 1262144"/>
                    <a:gd name="connsiteX1351" fmla="*/ 2159108 w 3746039"/>
                    <a:gd name="connsiteY1351" fmla="*/ 291182 h 1262144"/>
                    <a:gd name="connsiteX1352" fmla="*/ 2177053 w 3746039"/>
                    <a:gd name="connsiteY1352" fmla="*/ 299516 h 1262144"/>
                    <a:gd name="connsiteX1353" fmla="*/ 2175415 w 3746039"/>
                    <a:gd name="connsiteY1353" fmla="*/ 293611 h 1262144"/>
                    <a:gd name="connsiteX1354" fmla="*/ 2189636 w 3746039"/>
                    <a:gd name="connsiteY1354" fmla="*/ 300345 h 1262144"/>
                    <a:gd name="connsiteX1355" fmla="*/ 2179416 w 3746039"/>
                    <a:gd name="connsiteY1355" fmla="*/ 302726 h 1262144"/>
                    <a:gd name="connsiteX1356" fmla="*/ 2193246 w 3746039"/>
                    <a:gd name="connsiteY1356" fmla="*/ 307936 h 1262144"/>
                    <a:gd name="connsiteX1357" fmla="*/ 2211610 w 3746039"/>
                    <a:gd name="connsiteY1357" fmla="*/ 317156 h 1262144"/>
                    <a:gd name="connsiteX1358" fmla="*/ 2243576 w 3746039"/>
                    <a:gd name="connsiteY1358" fmla="*/ 327139 h 1262144"/>
                    <a:gd name="connsiteX1359" fmla="*/ 2242909 w 3746039"/>
                    <a:gd name="connsiteY1359" fmla="*/ 324805 h 1262144"/>
                    <a:gd name="connsiteX1360" fmla="*/ 2259540 w 3746039"/>
                    <a:gd name="connsiteY1360" fmla="*/ 331368 h 1262144"/>
                    <a:gd name="connsiteX1361" fmla="*/ 2259949 w 3746039"/>
                    <a:gd name="connsiteY1361" fmla="*/ 315928 h 1262144"/>
                    <a:gd name="connsiteX1362" fmla="*/ 2248881 w 3746039"/>
                    <a:gd name="connsiteY1362" fmla="*/ 298059 h 1262144"/>
                    <a:gd name="connsiteX1363" fmla="*/ 2260387 w 3746039"/>
                    <a:gd name="connsiteY1363" fmla="*/ 300421 h 1262144"/>
                    <a:gd name="connsiteX1364" fmla="*/ 2310451 w 3746039"/>
                    <a:gd name="connsiteY1364" fmla="*/ 311432 h 1262144"/>
                    <a:gd name="connsiteX1365" fmla="*/ 2325433 w 3746039"/>
                    <a:gd name="connsiteY1365" fmla="*/ 303860 h 1262144"/>
                    <a:gd name="connsiteX1366" fmla="*/ 2345732 w 3746039"/>
                    <a:gd name="connsiteY1366" fmla="*/ 307193 h 1262144"/>
                    <a:gd name="connsiteX1367" fmla="*/ 2367858 w 3746039"/>
                    <a:gd name="connsiteY1367" fmla="*/ 313251 h 1262144"/>
                    <a:gd name="connsiteX1368" fmla="*/ 2387546 w 3746039"/>
                    <a:gd name="connsiteY1368" fmla="*/ 319119 h 1262144"/>
                    <a:gd name="connsiteX1369" fmla="*/ 2381460 w 3746039"/>
                    <a:gd name="connsiteY1369" fmla="*/ 316471 h 1262144"/>
                    <a:gd name="connsiteX1370" fmla="*/ 2387689 w 3746039"/>
                    <a:gd name="connsiteY1370" fmla="*/ 313356 h 1262144"/>
                    <a:gd name="connsiteX1371" fmla="*/ 2376107 w 3746039"/>
                    <a:gd name="connsiteY1371" fmla="*/ 309013 h 1262144"/>
                    <a:gd name="connsiteX1372" fmla="*/ 2383508 w 3746039"/>
                    <a:gd name="connsiteY1372" fmla="*/ 305879 h 1262144"/>
                    <a:gd name="connsiteX1373" fmla="*/ 2398824 w 3746039"/>
                    <a:gd name="connsiteY1373" fmla="*/ 308270 h 1262144"/>
                    <a:gd name="connsiteX1374" fmla="*/ 2416350 w 3746039"/>
                    <a:gd name="connsiteY1374" fmla="*/ 308127 h 1262144"/>
                    <a:gd name="connsiteX1375" fmla="*/ 2402424 w 3746039"/>
                    <a:gd name="connsiteY1375" fmla="*/ 301240 h 1262144"/>
                    <a:gd name="connsiteX1376" fmla="*/ 2386661 w 3746039"/>
                    <a:gd name="connsiteY1376" fmla="*/ 293639 h 1262144"/>
                    <a:gd name="connsiteX1377" fmla="*/ 2389518 w 3746039"/>
                    <a:gd name="connsiteY1377" fmla="*/ 287429 h 1262144"/>
                    <a:gd name="connsiteX1378" fmla="*/ 2394947 w 3746039"/>
                    <a:gd name="connsiteY1378" fmla="*/ 286086 h 1262144"/>
                    <a:gd name="connsiteX1379" fmla="*/ 2368382 w 3746039"/>
                    <a:gd name="connsiteY1379" fmla="*/ 281724 h 1262144"/>
                    <a:gd name="connsiteX1380" fmla="*/ 2398662 w 3746039"/>
                    <a:gd name="connsiteY1380" fmla="*/ 273618 h 1262144"/>
                    <a:gd name="connsiteX1381" fmla="*/ 2379860 w 3746039"/>
                    <a:gd name="connsiteY1381" fmla="*/ 264074 h 1262144"/>
                    <a:gd name="connsiteX1382" fmla="*/ 2413178 w 3746039"/>
                    <a:gd name="connsiteY1382" fmla="*/ 269312 h 1262144"/>
                    <a:gd name="connsiteX1383" fmla="*/ 2446487 w 3746039"/>
                    <a:gd name="connsiteY1383" fmla="*/ 270513 h 1262144"/>
                    <a:gd name="connsiteX1384" fmla="*/ 2481787 w 3746039"/>
                    <a:gd name="connsiteY1384" fmla="*/ 273989 h 1262144"/>
                    <a:gd name="connsiteX1385" fmla="*/ 2513248 w 3746039"/>
                    <a:gd name="connsiteY1385" fmla="*/ 281095 h 1262144"/>
                    <a:gd name="connsiteX1386" fmla="*/ 2491150 w 3746039"/>
                    <a:gd name="connsiteY1386" fmla="*/ 279819 h 1262144"/>
                    <a:gd name="connsiteX1387" fmla="*/ 2482091 w 3746039"/>
                    <a:gd name="connsiteY1387" fmla="*/ 280076 h 1262144"/>
                    <a:gd name="connsiteX1388" fmla="*/ 2474300 w 3746039"/>
                    <a:gd name="connsiteY1388" fmla="*/ 283962 h 1262144"/>
                    <a:gd name="connsiteX1389" fmla="*/ 2494407 w 3746039"/>
                    <a:gd name="connsiteY1389" fmla="*/ 283829 h 1262144"/>
                    <a:gd name="connsiteX1390" fmla="*/ 2522439 w 3746039"/>
                    <a:gd name="connsiteY1390" fmla="*/ 282571 h 1262144"/>
                    <a:gd name="connsiteX1391" fmla="*/ 2524011 w 3746039"/>
                    <a:gd name="connsiteY1391" fmla="*/ 293839 h 1262144"/>
                    <a:gd name="connsiteX1392" fmla="*/ 2521725 w 3746039"/>
                    <a:gd name="connsiteY1392" fmla="*/ 288743 h 1262144"/>
                    <a:gd name="connsiteX1393" fmla="*/ 2518229 w 3746039"/>
                    <a:gd name="connsiteY1393" fmla="*/ 287581 h 1262144"/>
                    <a:gd name="connsiteX1394" fmla="*/ 2508218 w 3746039"/>
                    <a:gd name="connsiteY1394" fmla="*/ 285000 h 1262144"/>
                    <a:gd name="connsiteX1395" fmla="*/ 2519020 w 3746039"/>
                    <a:gd name="connsiteY1395" fmla="*/ 293963 h 1262144"/>
                    <a:gd name="connsiteX1396" fmla="*/ 2505313 w 3746039"/>
                    <a:gd name="connsiteY1396" fmla="*/ 294439 h 1262144"/>
                    <a:gd name="connsiteX1397" fmla="*/ 2514514 w 3746039"/>
                    <a:gd name="connsiteY1397" fmla="*/ 301431 h 1262144"/>
                    <a:gd name="connsiteX1398" fmla="*/ 2532145 w 3746039"/>
                    <a:gd name="connsiteY1398" fmla="*/ 295020 h 1262144"/>
                    <a:gd name="connsiteX1399" fmla="*/ 2539804 w 3746039"/>
                    <a:gd name="connsiteY1399" fmla="*/ 281447 h 1262144"/>
                    <a:gd name="connsiteX1400" fmla="*/ 2564883 w 3746039"/>
                    <a:gd name="connsiteY1400" fmla="*/ 283057 h 1262144"/>
                    <a:gd name="connsiteX1401" fmla="*/ 2608717 w 3746039"/>
                    <a:gd name="connsiteY1401" fmla="*/ 295392 h 1262144"/>
                    <a:gd name="connsiteX1402" fmla="*/ 2592315 w 3746039"/>
                    <a:gd name="connsiteY1402" fmla="*/ 299326 h 1262144"/>
                    <a:gd name="connsiteX1403" fmla="*/ 2607059 w 3746039"/>
                    <a:gd name="connsiteY1403" fmla="*/ 302698 h 1262144"/>
                    <a:gd name="connsiteX1404" fmla="*/ 2626852 w 3746039"/>
                    <a:gd name="connsiteY1404" fmla="*/ 307460 h 1262144"/>
                    <a:gd name="connsiteX1405" fmla="*/ 2636577 w 3746039"/>
                    <a:gd name="connsiteY1405" fmla="*/ 316480 h 1262144"/>
                    <a:gd name="connsiteX1406" fmla="*/ 2686155 w 3746039"/>
                    <a:gd name="connsiteY1406" fmla="*/ 322881 h 1262144"/>
                    <a:gd name="connsiteX1407" fmla="*/ 2680850 w 3746039"/>
                    <a:gd name="connsiteY1407" fmla="*/ 324167 h 1262144"/>
                    <a:gd name="connsiteX1408" fmla="*/ 2711939 w 3746039"/>
                    <a:gd name="connsiteY1408" fmla="*/ 328386 h 1262144"/>
                    <a:gd name="connsiteX1409" fmla="*/ 2746229 w 3746039"/>
                    <a:gd name="connsiteY1409" fmla="*/ 322681 h 1262144"/>
                    <a:gd name="connsiteX1410" fmla="*/ 2808980 w 3746039"/>
                    <a:gd name="connsiteY1410" fmla="*/ 322338 h 1262144"/>
                    <a:gd name="connsiteX1411" fmla="*/ 2869844 w 3746039"/>
                    <a:gd name="connsiteY1411" fmla="*/ 338693 h 1262144"/>
                    <a:gd name="connsiteX1412" fmla="*/ 2891343 w 3746039"/>
                    <a:gd name="connsiteY1412" fmla="*/ 356419 h 1262144"/>
                    <a:gd name="connsiteX1413" fmla="*/ 2921860 w 3746039"/>
                    <a:gd name="connsiteY1413" fmla="*/ 365734 h 1262144"/>
                    <a:gd name="connsiteX1414" fmla="*/ 2951245 w 3746039"/>
                    <a:gd name="connsiteY1414" fmla="*/ 382384 h 1262144"/>
                    <a:gd name="connsiteX1415" fmla="*/ 2972162 w 3746039"/>
                    <a:gd name="connsiteY1415" fmla="*/ 401167 h 1262144"/>
                    <a:gd name="connsiteX1416" fmla="*/ 2976505 w 3746039"/>
                    <a:gd name="connsiteY1416" fmla="*/ 400405 h 1262144"/>
                    <a:gd name="connsiteX1417" fmla="*/ 2971353 w 3746039"/>
                    <a:gd name="connsiteY1417" fmla="*/ 392204 h 1262144"/>
                    <a:gd name="connsiteX1418" fmla="*/ 2953446 w 3746039"/>
                    <a:gd name="connsiteY1418" fmla="*/ 370268 h 1262144"/>
                    <a:gd name="connsiteX1419" fmla="*/ 2981621 w 3746039"/>
                    <a:gd name="connsiteY1419" fmla="*/ 364705 h 1262144"/>
                    <a:gd name="connsiteX1420" fmla="*/ 3011948 w 3746039"/>
                    <a:gd name="connsiteY1420" fmla="*/ 367620 h 1262144"/>
                    <a:gd name="connsiteX1421" fmla="*/ 3050600 w 3746039"/>
                    <a:gd name="connsiteY1421" fmla="*/ 370239 h 1262144"/>
                    <a:gd name="connsiteX1422" fmla="*/ 3062954 w 3746039"/>
                    <a:gd name="connsiteY1422" fmla="*/ 368191 h 1262144"/>
                    <a:gd name="connsiteX1423" fmla="*/ 3068841 w 3746039"/>
                    <a:gd name="connsiteY1423" fmla="*/ 363534 h 1262144"/>
                    <a:gd name="connsiteX1424" fmla="*/ 3077318 w 3746039"/>
                    <a:gd name="connsiteY1424" fmla="*/ 365763 h 1262144"/>
                    <a:gd name="connsiteX1425" fmla="*/ 3105770 w 3746039"/>
                    <a:gd name="connsiteY1425" fmla="*/ 379183 h 1262144"/>
                    <a:gd name="connsiteX1426" fmla="*/ 3139440 w 3746039"/>
                    <a:gd name="connsiteY1426" fmla="*/ 388994 h 1262144"/>
                    <a:gd name="connsiteX1427" fmla="*/ 3168024 w 3746039"/>
                    <a:gd name="connsiteY1427" fmla="*/ 388584 h 1262144"/>
                    <a:gd name="connsiteX1428" fmla="*/ 3136192 w 3746039"/>
                    <a:gd name="connsiteY1428" fmla="*/ 368544 h 1262144"/>
                    <a:gd name="connsiteX1429" fmla="*/ 3126991 w 3746039"/>
                    <a:gd name="connsiteY1429" fmla="*/ 367182 h 1262144"/>
                    <a:gd name="connsiteX1430" fmla="*/ 3123495 w 3746039"/>
                    <a:gd name="connsiteY1430" fmla="*/ 363438 h 1262144"/>
                    <a:gd name="connsiteX1431" fmla="*/ 3110551 w 3746039"/>
                    <a:gd name="connsiteY1431" fmla="*/ 351732 h 1262144"/>
                    <a:gd name="connsiteX1432" fmla="*/ 3182150 w 3746039"/>
                    <a:gd name="connsiteY1432" fmla="*/ 360667 h 1262144"/>
                    <a:gd name="connsiteX1433" fmla="*/ 3179283 w 3746039"/>
                    <a:gd name="connsiteY1433" fmla="*/ 357514 h 1262144"/>
                    <a:gd name="connsiteX1434" fmla="*/ 3198971 w 3746039"/>
                    <a:gd name="connsiteY1434" fmla="*/ 358933 h 1262144"/>
                    <a:gd name="connsiteX1435" fmla="*/ 3223651 w 3746039"/>
                    <a:gd name="connsiteY1435" fmla="*/ 359457 h 1262144"/>
                    <a:gd name="connsiteX1436" fmla="*/ 3269809 w 3746039"/>
                    <a:gd name="connsiteY1436" fmla="*/ 366486 h 1262144"/>
                    <a:gd name="connsiteX1437" fmla="*/ 3320282 w 3746039"/>
                    <a:gd name="connsiteY1437" fmla="*/ 374421 h 1262144"/>
                    <a:gd name="connsiteX1438" fmla="*/ 3364735 w 3746039"/>
                    <a:gd name="connsiteY1438" fmla="*/ 387241 h 1262144"/>
                    <a:gd name="connsiteX1439" fmla="*/ 3413712 w 3746039"/>
                    <a:gd name="connsiteY1439" fmla="*/ 399672 h 1262144"/>
                    <a:gd name="connsiteX1440" fmla="*/ 3405730 w 3746039"/>
                    <a:gd name="connsiteY1440" fmla="*/ 397319 h 1262144"/>
                    <a:gd name="connsiteX1441" fmla="*/ 3436953 w 3746039"/>
                    <a:gd name="connsiteY1441" fmla="*/ 407949 h 1262144"/>
                    <a:gd name="connsiteX1442" fmla="*/ 3436182 w 3746039"/>
                    <a:gd name="connsiteY1442" fmla="*/ 405749 h 1262144"/>
                    <a:gd name="connsiteX1443" fmla="*/ 3418209 w 3746039"/>
                    <a:gd name="connsiteY1443" fmla="*/ 400310 h 1262144"/>
                    <a:gd name="connsiteX1444" fmla="*/ 3448907 w 3746039"/>
                    <a:gd name="connsiteY1444" fmla="*/ 408854 h 1262144"/>
                    <a:gd name="connsiteX1445" fmla="*/ 3466234 w 3746039"/>
                    <a:gd name="connsiteY1445" fmla="*/ 413502 h 1262144"/>
                    <a:gd name="connsiteX1446" fmla="*/ 3496323 w 3746039"/>
                    <a:gd name="connsiteY1446" fmla="*/ 420998 h 1262144"/>
                    <a:gd name="connsiteX1447" fmla="*/ 3525926 w 3746039"/>
                    <a:gd name="connsiteY1447" fmla="*/ 428885 h 1262144"/>
                    <a:gd name="connsiteX1448" fmla="*/ 3543577 w 3746039"/>
                    <a:gd name="connsiteY1448" fmla="*/ 435848 h 1262144"/>
                    <a:gd name="connsiteX1449" fmla="*/ 3560417 w 3746039"/>
                    <a:gd name="connsiteY1449" fmla="*/ 446154 h 1262144"/>
                    <a:gd name="connsiteX1450" fmla="*/ 3579105 w 3746039"/>
                    <a:gd name="connsiteY1450" fmla="*/ 456202 h 1262144"/>
                    <a:gd name="connsiteX1451" fmla="*/ 3584610 w 3746039"/>
                    <a:gd name="connsiteY1451" fmla="*/ 461660 h 1262144"/>
                    <a:gd name="connsiteX1452" fmla="*/ 3592983 w 3746039"/>
                    <a:gd name="connsiteY1452" fmla="*/ 462889 h 1262144"/>
                    <a:gd name="connsiteX1453" fmla="*/ 3609061 w 3746039"/>
                    <a:gd name="connsiteY1453" fmla="*/ 470157 h 1262144"/>
                    <a:gd name="connsiteX1454" fmla="*/ 3622234 w 3746039"/>
                    <a:gd name="connsiteY1454" fmla="*/ 473900 h 1262144"/>
                    <a:gd name="connsiteX1455" fmla="*/ 3598555 w 3746039"/>
                    <a:gd name="connsiteY1455" fmla="*/ 461232 h 1262144"/>
                    <a:gd name="connsiteX1456" fmla="*/ 3569808 w 3746039"/>
                    <a:gd name="connsiteY1456" fmla="*/ 446782 h 1262144"/>
                    <a:gd name="connsiteX1457" fmla="*/ 3593726 w 3746039"/>
                    <a:gd name="connsiteY1457" fmla="*/ 446506 h 1262144"/>
                    <a:gd name="connsiteX1458" fmla="*/ 3602679 w 3746039"/>
                    <a:gd name="connsiteY1458" fmla="*/ 450421 h 1262144"/>
                    <a:gd name="connsiteX1459" fmla="*/ 3610680 w 3746039"/>
                    <a:gd name="connsiteY1459" fmla="*/ 453897 h 1262144"/>
                    <a:gd name="connsiteX1460" fmla="*/ 3604127 w 3746039"/>
                    <a:gd name="connsiteY1460" fmla="*/ 449830 h 1262144"/>
                    <a:gd name="connsiteX1461" fmla="*/ 3621224 w 3746039"/>
                    <a:gd name="connsiteY1461" fmla="*/ 451811 h 1262144"/>
                    <a:gd name="connsiteX1462" fmla="*/ 3604775 w 3746039"/>
                    <a:gd name="connsiteY1462" fmla="*/ 447582 h 1262144"/>
                    <a:gd name="connsiteX1463" fmla="*/ 3655019 w 3746039"/>
                    <a:gd name="connsiteY1463" fmla="*/ 458041 h 1262144"/>
                    <a:gd name="connsiteX1464" fmla="*/ 3696881 w 3746039"/>
                    <a:gd name="connsiteY1464" fmla="*/ 473281 h 1262144"/>
                    <a:gd name="connsiteX1465" fmla="*/ 3708626 w 3746039"/>
                    <a:gd name="connsiteY1465" fmla="*/ 475538 h 1262144"/>
                    <a:gd name="connsiteX1466" fmla="*/ 3726161 w 3746039"/>
                    <a:gd name="connsiteY1466" fmla="*/ 481158 h 1262144"/>
                    <a:gd name="connsiteX1467" fmla="*/ 3716969 w 3746039"/>
                    <a:gd name="connsiteY1467" fmla="*/ 483368 h 1262144"/>
                    <a:gd name="connsiteX1468" fmla="*/ 3726685 w 3746039"/>
                    <a:gd name="connsiteY1468" fmla="*/ 491950 h 1262144"/>
                    <a:gd name="connsiteX1469" fmla="*/ 3700082 w 3746039"/>
                    <a:gd name="connsiteY1469" fmla="*/ 487102 h 1262144"/>
                    <a:gd name="connsiteX1470" fmla="*/ 3721627 w 3746039"/>
                    <a:gd name="connsiteY1470" fmla="*/ 496531 h 1262144"/>
                    <a:gd name="connsiteX1471" fmla="*/ 3701168 w 3746039"/>
                    <a:gd name="connsiteY1471" fmla="*/ 495550 h 1262144"/>
                    <a:gd name="connsiteX1472" fmla="*/ 3676069 w 3746039"/>
                    <a:gd name="connsiteY1472" fmla="*/ 491178 h 1262144"/>
                    <a:gd name="connsiteX1473" fmla="*/ 3694910 w 3746039"/>
                    <a:gd name="connsiteY1473" fmla="*/ 497884 h 1262144"/>
                    <a:gd name="connsiteX1474" fmla="*/ 3706225 w 3746039"/>
                    <a:gd name="connsiteY1474" fmla="*/ 503951 h 1262144"/>
                    <a:gd name="connsiteX1475" fmla="*/ 3699662 w 3746039"/>
                    <a:gd name="connsiteY1475" fmla="*/ 504809 h 1262144"/>
                    <a:gd name="connsiteX1476" fmla="*/ 3719503 w 3746039"/>
                    <a:gd name="connsiteY1476" fmla="*/ 511848 h 1262144"/>
                    <a:gd name="connsiteX1477" fmla="*/ 3711798 w 3746039"/>
                    <a:gd name="connsiteY1477" fmla="*/ 517915 h 1262144"/>
                    <a:gd name="connsiteX1478" fmla="*/ 3719798 w 3746039"/>
                    <a:gd name="connsiteY1478" fmla="*/ 520410 h 1262144"/>
                    <a:gd name="connsiteX1479" fmla="*/ 3724828 w 3746039"/>
                    <a:gd name="connsiteY1479" fmla="*/ 524478 h 1262144"/>
                    <a:gd name="connsiteX1480" fmla="*/ 3746040 w 3746039"/>
                    <a:gd name="connsiteY1480" fmla="*/ 531098 h 1262144"/>
                    <a:gd name="connsiteX1481" fmla="*/ 3729276 w 3746039"/>
                    <a:gd name="connsiteY1481" fmla="*/ 527564 h 1262144"/>
                    <a:gd name="connsiteX1482" fmla="*/ 3738001 w 3746039"/>
                    <a:gd name="connsiteY1482" fmla="*/ 534765 h 1262144"/>
                    <a:gd name="connsiteX1483" fmla="*/ 3719065 w 3746039"/>
                    <a:gd name="connsiteY1483" fmla="*/ 527135 h 1262144"/>
                    <a:gd name="connsiteX1484" fmla="*/ 3711931 w 3746039"/>
                    <a:gd name="connsiteY1484" fmla="*/ 531069 h 1262144"/>
                    <a:gd name="connsiteX1485" fmla="*/ 3691328 w 3746039"/>
                    <a:gd name="connsiteY1485" fmla="*/ 523868 h 1262144"/>
                    <a:gd name="connsiteX1486" fmla="*/ 3649923 w 3746039"/>
                    <a:gd name="connsiteY1486" fmla="*/ 515581 h 1262144"/>
                    <a:gd name="connsiteX1487" fmla="*/ 3609185 w 3746039"/>
                    <a:gd name="connsiteY1487" fmla="*/ 497227 h 1262144"/>
                    <a:gd name="connsiteX1488" fmla="*/ 3584258 w 3746039"/>
                    <a:gd name="connsiteY1488" fmla="*/ 493302 h 1262144"/>
                    <a:gd name="connsiteX1489" fmla="*/ 3576819 w 3746039"/>
                    <a:gd name="connsiteY1489" fmla="*/ 497084 h 1262144"/>
                    <a:gd name="connsiteX1490" fmla="*/ 3564474 w 3746039"/>
                    <a:gd name="connsiteY1490" fmla="*/ 497322 h 1262144"/>
                    <a:gd name="connsiteX1491" fmla="*/ 3545224 w 3746039"/>
                    <a:gd name="connsiteY1491" fmla="*/ 488949 h 1262144"/>
                    <a:gd name="connsiteX1492" fmla="*/ 3522802 w 3746039"/>
                    <a:gd name="connsiteY1492" fmla="*/ 480091 h 1262144"/>
                    <a:gd name="connsiteX1493" fmla="*/ 3527955 w 3746039"/>
                    <a:gd name="connsiteY1493" fmla="*/ 480691 h 1262144"/>
                    <a:gd name="connsiteX1494" fmla="*/ 3514782 w 3746039"/>
                    <a:gd name="connsiteY1494" fmla="*/ 468471 h 1262144"/>
                    <a:gd name="connsiteX1495" fmla="*/ 3515554 w 3746039"/>
                    <a:gd name="connsiteY1495" fmla="*/ 475252 h 1262144"/>
                    <a:gd name="connsiteX1496" fmla="*/ 3502390 w 3746039"/>
                    <a:gd name="connsiteY1496" fmla="*/ 469299 h 1262144"/>
                    <a:gd name="connsiteX1497" fmla="*/ 3504191 w 3746039"/>
                    <a:gd name="connsiteY1497" fmla="*/ 471271 h 1262144"/>
                    <a:gd name="connsiteX1498" fmla="*/ 3502085 w 3746039"/>
                    <a:gd name="connsiteY1498" fmla="*/ 472062 h 1262144"/>
                    <a:gd name="connsiteX1499" fmla="*/ 3508172 w 3746039"/>
                    <a:gd name="connsiteY1499" fmla="*/ 475995 h 1262144"/>
                    <a:gd name="connsiteX1500" fmla="*/ 3499295 w 3746039"/>
                    <a:gd name="connsiteY1500" fmla="*/ 475319 h 1262144"/>
                    <a:gd name="connsiteX1501" fmla="*/ 3528594 w 3746039"/>
                    <a:gd name="connsiteY1501" fmla="*/ 491359 h 1262144"/>
                    <a:gd name="connsiteX1502" fmla="*/ 3540014 w 3746039"/>
                    <a:gd name="connsiteY1502" fmla="*/ 500456 h 1262144"/>
                    <a:gd name="connsiteX1503" fmla="*/ 3541862 w 3746039"/>
                    <a:gd name="connsiteY1503" fmla="*/ 510438 h 1262144"/>
                    <a:gd name="connsiteX1504" fmla="*/ 3541862 w 3746039"/>
                    <a:gd name="connsiteY1504" fmla="*/ 510438 h 1262144"/>
                    <a:gd name="connsiteX1505" fmla="*/ 3270066 w 3746039"/>
                    <a:gd name="connsiteY1505" fmla="*/ 323767 h 1262144"/>
                    <a:gd name="connsiteX1506" fmla="*/ 3236538 w 3746039"/>
                    <a:gd name="connsiteY1506" fmla="*/ 315490 h 1262144"/>
                    <a:gd name="connsiteX1507" fmla="*/ 3270018 w 3746039"/>
                    <a:gd name="connsiteY1507" fmla="*/ 305603 h 1262144"/>
                    <a:gd name="connsiteX1508" fmla="*/ 3314567 w 3746039"/>
                    <a:gd name="connsiteY1508" fmla="*/ 318300 h 1262144"/>
                    <a:gd name="connsiteX1509" fmla="*/ 3270066 w 3746039"/>
                    <a:gd name="connsiteY1509" fmla="*/ 323767 h 1262144"/>
                    <a:gd name="connsiteX1510" fmla="*/ 3270066 w 3746039"/>
                    <a:gd name="connsiteY1510" fmla="*/ 323767 h 126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Lst>
                  <a:rect l="l" t="t" r="r" b="b"/>
                  <a:pathLst>
                    <a:path w="3746039" h="1262144">
                      <a:moveTo>
                        <a:pt x="3069326" y="846642"/>
                      </a:moveTo>
                      <a:cubicBezTo>
                        <a:pt x="3078794" y="852252"/>
                        <a:pt x="3083881" y="857395"/>
                        <a:pt x="3091577" y="864482"/>
                      </a:cubicBezTo>
                      <a:cubicBezTo>
                        <a:pt x="3098521" y="870873"/>
                        <a:pt x="3107836" y="875693"/>
                        <a:pt x="3115761" y="881237"/>
                      </a:cubicBezTo>
                      <a:cubicBezTo>
                        <a:pt x="3123591" y="886723"/>
                        <a:pt x="3131191" y="893248"/>
                        <a:pt x="3137583" y="900353"/>
                      </a:cubicBezTo>
                      <a:cubicBezTo>
                        <a:pt x="3143260" y="906668"/>
                        <a:pt x="3145279" y="913050"/>
                        <a:pt x="3152004" y="919422"/>
                      </a:cubicBezTo>
                      <a:cubicBezTo>
                        <a:pt x="3164272" y="931052"/>
                        <a:pt x="3179245" y="939272"/>
                        <a:pt x="3192295" y="949778"/>
                      </a:cubicBezTo>
                      <a:cubicBezTo>
                        <a:pt x="3208953" y="963199"/>
                        <a:pt x="3225317" y="976087"/>
                        <a:pt x="3242529" y="988755"/>
                      </a:cubicBezTo>
                      <a:cubicBezTo>
                        <a:pt x="3251940" y="995689"/>
                        <a:pt x="3260732" y="1003538"/>
                        <a:pt x="3270294" y="1010234"/>
                      </a:cubicBezTo>
                      <a:cubicBezTo>
                        <a:pt x="3279505" y="1016682"/>
                        <a:pt x="3289087" y="1019759"/>
                        <a:pt x="3297079" y="1027893"/>
                      </a:cubicBezTo>
                      <a:cubicBezTo>
                        <a:pt x="3284373" y="1021311"/>
                        <a:pt x="3272362" y="1011129"/>
                        <a:pt x="3258036" y="1007719"/>
                      </a:cubicBezTo>
                      <a:cubicBezTo>
                        <a:pt x="3253359" y="1006605"/>
                        <a:pt x="3239662" y="1004785"/>
                        <a:pt x="3238510" y="1010986"/>
                      </a:cubicBezTo>
                      <a:cubicBezTo>
                        <a:pt x="3237919" y="1014158"/>
                        <a:pt x="3248092" y="1028084"/>
                        <a:pt x="3249606" y="1030903"/>
                      </a:cubicBezTo>
                      <a:cubicBezTo>
                        <a:pt x="3256779" y="1044238"/>
                        <a:pt x="3263665" y="1055296"/>
                        <a:pt x="3276981" y="1063336"/>
                      </a:cubicBezTo>
                      <a:cubicBezTo>
                        <a:pt x="3282544" y="1066698"/>
                        <a:pt x="3288440" y="1068622"/>
                        <a:pt x="3293745" y="1072527"/>
                      </a:cubicBezTo>
                      <a:cubicBezTo>
                        <a:pt x="3299012" y="1076423"/>
                        <a:pt x="3304823" y="1083414"/>
                        <a:pt x="3311071" y="1085662"/>
                      </a:cubicBezTo>
                      <a:cubicBezTo>
                        <a:pt x="3313843" y="1086662"/>
                        <a:pt x="3316491" y="1085634"/>
                        <a:pt x="3319539" y="1087072"/>
                      </a:cubicBezTo>
                      <a:cubicBezTo>
                        <a:pt x="3322863" y="1088643"/>
                        <a:pt x="3325882" y="1092349"/>
                        <a:pt x="3328626" y="1094825"/>
                      </a:cubicBezTo>
                      <a:cubicBezTo>
                        <a:pt x="3333055" y="1098835"/>
                        <a:pt x="3337465" y="1104360"/>
                        <a:pt x="3339246" y="1110151"/>
                      </a:cubicBezTo>
                      <a:cubicBezTo>
                        <a:pt x="3334493" y="1105207"/>
                        <a:pt x="3329150" y="1098997"/>
                        <a:pt x="3323292" y="1095368"/>
                      </a:cubicBezTo>
                      <a:cubicBezTo>
                        <a:pt x="3317643" y="1091882"/>
                        <a:pt x="3311576" y="1093273"/>
                        <a:pt x="3305480" y="1091520"/>
                      </a:cubicBezTo>
                      <a:cubicBezTo>
                        <a:pt x="3299718" y="1089853"/>
                        <a:pt x="3295298" y="1085776"/>
                        <a:pt x="3297622" y="1095101"/>
                      </a:cubicBezTo>
                      <a:cubicBezTo>
                        <a:pt x="3299298" y="1101836"/>
                        <a:pt x="3305795" y="1106436"/>
                        <a:pt x="3306232" y="1113666"/>
                      </a:cubicBezTo>
                      <a:cubicBezTo>
                        <a:pt x="3289326" y="1105779"/>
                        <a:pt x="3282239" y="1090825"/>
                        <a:pt x="3271752" y="1076861"/>
                      </a:cubicBezTo>
                      <a:cubicBezTo>
                        <a:pt x="3266637" y="1070051"/>
                        <a:pt x="3258588" y="1065955"/>
                        <a:pt x="3254331" y="1058402"/>
                      </a:cubicBezTo>
                      <a:cubicBezTo>
                        <a:pt x="3249854" y="1050467"/>
                        <a:pt x="3247749" y="1045467"/>
                        <a:pt x="3240272" y="1039285"/>
                      </a:cubicBezTo>
                      <a:cubicBezTo>
                        <a:pt x="3234071" y="1034151"/>
                        <a:pt x="3225061" y="1030817"/>
                        <a:pt x="3219774" y="1024797"/>
                      </a:cubicBezTo>
                      <a:cubicBezTo>
                        <a:pt x="3214907" y="1019273"/>
                        <a:pt x="3211125" y="1010853"/>
                        <a:pt x="3206696" y="1004709"/>
                      </a:cubicBezTo>
                      <a:cubicBezTo>
                        <a:pt x="3195733" y="989517"/>
                        <a:pt x="3180769" y="978934"/>
                        <a:pt x="3168596" y="965190"/>
                      </a:cubicBezTo>
                      <a:cubicBezTo>
                        <a:pt x="3162643" y="958465"/>
                        <a:pt x="3159642" y="951026"/>
                        <a:pt x="3152413" y="945254"/>
                      </a:cubicBezTo>
                      <a:cubicBezTo>
                        <a:pt x="3144336" y="938787"/>
                        <a:pt x="3135002" y="935443"/>
                        <a:pt x="3126181" y="930357"/>
                      </a:cubicBezTo>
                      <a:cubicBezTo>
                        <a:pt x="3126743" y="929452"/>
                        <a:pt x="3110837" y="916717"/>
                        <a:pt x="3108522" y="913822"/>
                      </a:cubicBezTo>
                      <a:cubicBezTo>
                        <a:pt x="3102626" y="906430"/>
                        <a:pt x="3098673" y="898201"/>
                        <a:pt x="3091672" y="891343"/>
                      </a:cubicBezTo>
                      <a:cubicBezTo>
                        <a:pt x="3088672" y="888390"/>
                        <a:pt x="3071460" y="876464"/>
                        <a:pt x="3082605" y="875036"/>
                      </a:cubicBezTo>
                      <a:cubicBezTo>
                        <a:pt x="3085481" y="874674"/>
                        <a:pt x="3088748" y="879227"/>
                        <a:pt x="3091748" y="877684"/>
                      </a:cubicBezTo>
                      <a:cubicBezTo>
                        <a:pt x="3095959" y="875512"/>
                        <a:pt x="3088891" y="872035"/>
                        <a:pt x="3087633" y="869997"/>
                      </a:cubicBezTo>
                      <a:cubicBezTo>
                        <a:pt x="3088472" y="869768"/>
                        <a:pt x="3089301" y="869540"/>
                        <a:pt x="3090139" y="869311"/>
                      </a:cubicBezTo>
                      <a:cubicBezTo>
                        <a:pt x="3086443" y="866673"/>
                        <a:pt x="3084348" y="862682"/>
                        <a:pt x="3080290" y="859891"/>
                      </a:cubicBezTo>
                      <a:cubicBezTo>
                        <a:pt x="3074851" y="856138"/>
                        <a:pt x="3068107" y="853443"/>
                        <a:pt x="3062307" y="850214"/>
                      </a:cubicBezTo>
                      <a:cubicBezTo>
                        <a:pt x="3066460" y="851119"/>
                        <a:pt x="3070469" y="850214"/>
                        <a:pt x="3066898" y="845946"/>
                      </a:cubicBezTo>
                      <a:cubicBezTo>
                        <a:pt x="3067717" y="846175"/>
                        <a:pt x="3068526" y="846413"/>
                        <a:pt x="3069326" y="846642"/>
                      </a:cubicBezTo>
                      <a:lnTo>
                        <a:pt x="3069326" y="846642"/>
                      </a:lnTo>
                      <a:close/>
                      <a:moveTo>
                        <a:pt x="24441" y="828954"/>
                      </a:moveTo>
                      <a:cubicBezTo>
                        <a:pt x="27413" y="829459"/>
                        <a:pt x="33157" y="832230"/>
                        <a:pt x="36004" y="829859"/>
                      </a:cubicBezTo>
                      <a:cubicBezTo>
                        <a:pt x="38205" y="828030"/>
                        <a:pt x="37214" y="822534"/>
                        <a:pt x="36805" y="819238"/>
                      </a:cubicBezTo>
                      <a:cubicBezTo>
                        <a:pt x="41110" y="818124"/>
                        <a:pt x="45844" y="821734"/>
                        <a:pt x="50006" y="823125"/>
                      </a:cubicBezTo>
                      <a:cubicBezTo>
                        <a:pt x="55797" y="825049"/>
                        <a:pt x="60331" y="824658"/>
                        <a:pt x="66123" y="825553"/>
                      </a:cubicBezTo>
                      <a:cubicBezTo>
                        <a:pt x="69561" y="826096"/>
                        <a:pt x="77105" y="828430"/>
                        <a:pt x="78439" y="832650"/>
                      </a:cubicBezTo>
                      <a:cubicBezTo>
                        <a:pt x="80296" y="838555"/>
                        <a:pt x="73085" y="841708"/>
                        <a:pt x="79277" y="847823"/>
                      </a:cubicBezTo>
                      <a:cubicBezTo>
                        <a:pt x="65980" y="849166"/>
                        <a:pt x="51635" y="847232"/>
                        <a:pt x="38253" y="846708"/>
                      </a:cubicBezTo>
                      <a:cubicBezTo>
                        <a:pt x="26003" y="846232"/>
                        <a:pt x="11925" y="847404"/>
                        <a:pt x="0" y="844594"/>
                      </a:cubicBezTo>
                      <a:cubicBezTo>
                        <a:pt x="3629" y="842289"/>
                        <a:pt x="5544" y="839298"/>
                        <a:pt x="7163" y="835431"/>
                      </a:cubicBezTo>
                      <a:cubicBezTo>
                        <a:pt x="9468" y="829925"/>
                        <a:pt x="6258" y="830906"/>
                        <a:pt x="12830" y="828992"/>
                      </a:cubicBezTo>
                      <a:cubicBezTo>
                        <a:pt x="18050" y="827468"/>
                        <a:pt x="19374" y="828801"/>
                        <a:pt x="23774" y="824325"/>
                      </a:cubicBezTo>
                      <a:cubicBezTo>
                        <a:pt x="26118" y="821943"/>
                        <a:pt x="27127" y="819429"/>
                        <a:pt x="29851" y="818772"/>
                      </a:cubicBezTo>
                      <a:cubicBezTo>
                        <a:pt x="27804" y="822258"/>
                        <a:pt x="24908" y="825115"/>
                        <a:pt x="22250" y="828116"/>
                      </a:cubicBezTo>
                      <a:cubicBezTo>
                        <a:pt x="22984" y="828382"/>
                        <a:pt x="23717" y="828668"/>
                        <a:pt x="24441" y="828954"/>
                      </a:cubicBezTo>
                      <a:lnTo>
                        <a:pt x="24441" y="828954"/>
                      </a:lnTo>
                      <a:close/>
                      <a:moveTo>
                        <a:pt x="584750" y="380707"/>
                      </a:moveTo>
                      <a:cubicBezTo>
                        <a:pt x="590036" y="388232"/>
                        <a:pt x="582092" y="382498"/>
                        <a:pt x="581854" y="382603"/>
                      </a:cubicBezTo>
                      <a:cubicBezTo>
                        <a:pt x="577910" y="384403"/>
                        <a:pt x="577224" y="389518"/>
                        <a:pt x="573033" y="391652"/>
                      </a:cubicBezTo>
                      <a:cubicBezTo>
                        <a:pt x="564061" y="396224"/>
                        <a:pt x="551374" y="396633"/>
                        <a:pt x="545449" y="387413"/>
                      </a:cubicBezTo>
                      <a:cubicBezTo>
                        <a:pt x="539791" y="378612"/>
                        <a:pt x="544097" y="371144"/>
                        <a:pt x="554517" y="370497"/>
                      </a:cubicBezTo>
                      <a:cubicBezTo>
                        <a:pt x="562756" y="369992"/>
                        <a:pt x="578473" y="374935"/>
                        <a:pt x="584750" y="380707"/>
                      </a:cubicBezTo>
                      <a:lnTo>
                        <a:pt x="584750" y="380707"/>
                      </a:lnTo>
                      <a:close/>
                      <a:moveTo>
                        <a:pt x="790499" y="357104"/>
                      </a:moveTo>
                      <a:cubicBezTo>
                        <a:pt x="800853" y="366982"/>
                        <a:pt x="779621" y="364972"/>
                        <a:pt x="774726" y="362448"/>
                      </a:cubicBezTo>
                      <a:cubicBezTo>
                        <a:pt x="769973" y="360000"/>
                        <a:pt x="767534" y="358838"/>
                        <a:pt x="761943" y="357857"/>
                      </a:cubicBezTo>
                      <a:cubicBezTo>
                        <a:pt x="757828" y="357133"/>
                        <a:pt x="753618" y="355276"/>
                        <a:pt x="749427" y="351951"/>
                      </a:cubicBezTo>
                      <a:cubicBezTo>
                        <a:pt x="744798" y="348275"/>
                        <a:pt x="743369" y="347637"/>
                        <a:pt x="746236" y="343798"/>
                      </a:cubicBezTo>
                      <a:cubicBezTo>
                        <a:pt x="749799" y="339016"/>
                        <a:pt x="753123" y="340731"/>
                        <a:pt x="757952" y="342903"/>
                      </a:cubicBezTo>
                      <a:cubicBezTo>
                        <a:pt x="768630" y="347713"/>
                        <a:pt x="780088" y="351799"/>
                        <a:pt x="790499" y="357104"/>
                      </a:cubicBezTo>
                      <a:lnTo>
                        <a:pt x="790499" y="357104"/>
                      </a:lnTo>
                      <a:close/>
                      <a:moveTo>
                        <a:pt x="633298" y="250834"/>
                      </a:moveTo>
                      <a:cubicBezTo>
                        <a:pt x="637099" y="251310"/>
                        <a:pt x="653682" y="250605"/>
                        <a:pt x="656435" y="253825"/>
                      </a:cubicBezTo>
                      <a:cubicBezTo>
                        <a:pt x="659521" y="257454"/>
                        <a:pt x="654663" y="255901"/>
                        <a:pt x="655025" y="259511"/>
                      </a:cubicBezTo>
                      <a:cubicBezTo>
                        <a:pt x="655216" y="261511"/>
                        <a:pt x="658301" y="264026"/>
                        <a:pt x="657187" y="265988"/>
                      </a:cubicBezTo>
                      <a:cubicBezTo>
                        <a:pt x="655644" y="268693"/>
                        <a:pt x="651881" y="266055"/>
                        <a:pt x="649453" y="267912"/>
                      </a:cubicBezTo>
                      <a:cubicBezTo>
                        <a:pt x="651053" y="266693"/>
                        <a:pt x="647490" y="275447"/>
                        <a:pt x="648072" y="273561"/>
                      </a:cubicBezTo>
                      <a:cubicBezTo>
                        <a:pt x="647662" y="274885"/>
                        <a:pt x="646033" y="274989"/>
                        <a:pt x="646291" y="277409"/>
                      </a:cubicBezTo>
                      <a:cubicBezTo>
                        <a:pt x="646557" y="279961"/>
                        <a:pt x="650234" y="281724"/>
                        <a:pt x="651262" y="283657"/>
                      </a:cubicBezTo>
                      <a:cubicBezTo>
                        <a:pt x="652967" y="286838"/>
                        <a:pt x="652005" y="287772"/>
                        <a:pt x="653215" y="291601"/>
                      </a:cubicBezTo>
                      <a:cubicBezTo>
                        <a:pt x="654282" y="295030"/>
                        <a:pt x="655872" y="295411"/>
                        <a:pt x="659387" y="298202"/>
                      </a:cubicBezTo>
                      <a:cubicBezTo>
                        <a:pt x="665188" y="302802"/>
                        <a:pt x="670179" y="308193"/>
                        <a:pt x="676428" y="312413"/>
                      </a:cubicBezTo>
                      <a:cubicBezTo>
                        <a:pt x="683552" y="317242"/>
                        <a:pt x="690934" y="321500"/>
                        <a:pt x="698830" y="324967"/>
                      </a:cubicBezTo>
                      <a:cubicBezTo>
                        <a:pt x="705269" y="327796"/>
                        <a:pt x="713061" y="328234"/>
                        <a:pt x="718909" y="332101"/>
                      </a:cubicBezTo>
                      <a:cubicBezTo>
                        <a:pt x="714823" y="336311"/>
                        <a:pt x="710708" y="336378"/>
                        <a:pt x="705288" y="335597"/>
                      </a:cubicBezTo>
                      <a:cubicBezTo>
                        <a:pt x="700612" y="334921"/>
                        <a:pt x="695020" y="330682"/>
                        <a:pt x="690505" y="332549"/>
                      </a:cubicBezTo>
                      <a:cubicBezTo>
                        <a:pt x="693125" y="333644"/>
                        <a:pt x="696268" y="334644"/>
                        <a:pt x="698592" y="336368"/>
                      </a:cubicBezTo>
                      <a:cubicBezTo>
                        <a:pt x="695335" y="338350"/>
                        <a:pt x="691734" y="334997"/>
                        <a:pt x="688458" y="334711"/>
                      </a:cubicBezTo>
                      <a:cubicBezTo>
                        <a:pt x="686848" y="334568"/>
                        <a:pt x="683305" y="335378"/>
                        <a:pt x="680533" y="335054"/>
                      </a:cubicBezTo>
                      <a:cubicBezTo>
                        <a:pt x="679447" y="334930"/>
                        <a:pt x="679485" y="333482"/>
                        <a:pt x="678161" y="333320"/>
                      </a:cubicBezTo>
                      <a:cubicBezTo>
                        <a:pt x="675522" y="332987"/>
                        <a:pt x="672437" y="334016"/>
                        <a:pt x="669769" y="334082"/>
                      </a:cubicBezTo>
                      <a:cubicBezTo>
                        <a:pt x="664864" y="334206"/>
                        <a:pt x="660835" y="333549"/>
                        <a:pt x="656292" y="331701"/>
                      </a:cubicBezTo>
                      <a:cubicBezTo>
                        <a:pt x="656244" y="332444"/>
                        <a:pt x="656235" y="332892"/>
                        <a:pt x="656244" y="333654"/>
                      </a:cubicBezTo>
                      <a:cubicBezTo>
                        <a:pt x="646890" y="331577"/>
                        <a:pt x="637413" y="329768"/>
                        <a:pt x="628040" y="327558"/>
                      </a:cubicBezTo>
                      <a:cubicBezTo>
                        <a:pt x="629298" y="327424"/>
                        <a:pt x="630822" y="326443"/>
                        <a:pt x="632270" y="326262"/>
                      </a:cubicBezTo>
                      <a:cubicBezTo>
                        <a:pt x="629107" y="322976"/>
                        <a:pt x="629688" y="319357"/>
                        <a:pt x="635184" y="321357"/>
                      </a:cubicBezTo>
                      <a:cubicBezTo>
                        <a:pt x="634765" y="320766"/>
                        <a:pt x="634337" y="320176"/>
                        <a:pt x="633917" y="319585"/>
                      </a:cubicBezTo>
                      <a:cubicBezTo>
                        <a:pt x="636242" y="319509"/>
                        <a:pt x="638556" y="319785"/>
                        <a:pt x="640633" y="319623"/>
                      </a:cubicBezTo>
                      <a:cubicBezTo>
                        <a:pt x="635851" y="318014"/>
                        <a:pt x="616353" y="312432"/>
                        <a:pt x="619497" y="306879"/>
                      </a:cubicBezTo>
                      <a:cubicBezTo>
                        <a:pt x="610610" y="305346"/>
                        <a:pt x="599837" y="308460"/>
                        <a:pt x="590931" y="308508"/>
                      </a:cubicBezTo>
                      <a:cubicBezTo>
                        <a:pt x="583978" y="308546"/>
                        <a:pt x="572224" y="301412"/>
                        <a:pt x="573405" y="293087"/>
                      </a:cubicBezTo>
                      <a:cubicBezTo>
                        <a:pt x="574605" y="284581"/>
                        <a:pt x="585187" y="289372"/>
                        <a:pt x="589721" y="285019"/>
                      </a:cubicBezTo>
                      <a:cubicBezTo>
                        <a:pt x="593922" y="280981"/>
                        <a:pt x="592941" y="275818"/>
                        <a:pt x="593465" y="271017"/>
                      </a:cubicBezTo>
                      <a:cubicBezTo>
                        <a:pt x="588569" y="270989"/>
                        <a:pt x="582749" y="270513"/>
                        <a:pt x="586673" y="265836"/>
                      </a:cubicBezTo>
                      <a:cubicBezTo>
                        <a:pt x="589817" y="262102"/>
                        <a:pt x="595217" y="263912"/>
                        <a:pt x="599256" y="263207"/>
                      </a:cubicBezTo>
                      <a:cubicBezTo>
                        <a:pt x="588159" y="258578"/>
                        <a:pt x="594608" y="252091"/>
                        <a:pt x="603390" y="251215"/>
                      </a:cubicBezTo>
                      <a:cubicBezTo>
                        <a:pt x="613325" y="250196"/>
                        <a:pt x="623478" y="247148"/>
                        <a:pt x="633298" y="250834"/>
                      </a:cubicBezTo>
                      <a:lnTo>
                        <a:pt x="633298" y="250834"/>
                      </a:lnTo>
                      <a:close/>
                      <a:moveTo>
                        <a:pt x="2372345" y="232336"/>
                      </a:moveTo>
                      <a:cubicBezTo>
                        <a:pt x="2390794" y="236175"/>
                        <a:pt x="2408263" y="241157"/>
                        <a:pt x="2423208" y="252787"/>
                      </a:cubicBezTo>
                      <a:cubicBezTo>
                        <a:pt x="2413521" y="256673"/>
                        <a:pt x="2392261" y="252206"/>
                        <a:pt x="2381736" y="250624"/>
                      </a:cubicBezTo>
                      <a:cubicBezTo>
                        <a:pt x="2374354" y="249510"/>
                        <a:pt x="2366772" y="246424"/>
                        <a:pt x="2359238" y="246405"/>
                      </a:cubicBezTo>
                      <a:cubicBezTo>
                        <a:pt x="2351751" y="246395"/>
                        <a:pt x="2346598" y="252053"/>
                        <a:pt x="2339397" y="247138"/>
                      </a:cubicBezTo>
                      <a:cubicBezTo>
                        <a:pt x="2342084" y="246529"/>
                        <a:pt x="2348780" y="247291"/>
                        <a:pt x="2350875" y="245433"/>
                      </a:cubicBezTo>
                      <a:cubicBezTo>
                        <a:pt x="2355228" y="241595"/>
                        <a:pt x="2348741" y="238566"/>
                        <a:pt x="2350580" y="234775"/>
                      </a:cubicBezTo>
                      <a:cubicBezTo>
                        <a:pt x="2352580" y="230622"/>
                        <a:pt x="2367963" y="231660"/>
                        <a:pt x="2372345" y="232336"/>
                      </a:cubicBezTo>
                      <a:lnTo>
                        <a:pt x="2372345" y="232336"/>
                      </a:lnTo>
                      <a:close/>
                      <a:moveTo>
                        <a:pt x="2407710" y="185873"/>
                      </a:moveTo>
                      <a:cubicBezTo>
                        <a:pt x="2412301" y="186683"/>
                        <a:pt x="2414245" y="184416"/>
                        <a:pt x="2418398" y="183673"/>
                      </a:cubicBezTo>
                      <a:cubicBezTo>
                        <a:pt x="2422512" y="182940"/>
                        <a:pt x="2428209" y="183978"/>
                        <a:pt x="2432476" y="184264"/>
                      </a:cubicBezTo>
                      <a:cubicBezTo>
                        <a:pt x="2439848" y="184749"/>
                        <a:pt x="2442429" y="188674"/>
                        <a:pt x="2448935" y="190150"/>
                      </a:cubicBezTo>
                      <a:cubicBezTo>
                        <a:pt x="2456850" y="191941"/>
                        <a:pt x="2466737" y="189293"/>
                        <a:pt x="2475310" y="190379"/>
                      </a:cubicBezTo>
                      <a:cubicBezTo>
                        <a:pt x="2480482" y="191036"/>
                        <a:pt x="2489635" y="192360"/>
                        <a:pt x="2493150" y="193217"/>
                      </a:cubicBezTo>
                      <a:cubicBezTo>
                        <a:pt x="2499941" y="194865"/>
                        <a:pt x="2502980" y="200104"/>
                        <a:pt x="2493169" y="203209"/>
                      </a:cubicBezTo>
                      <a:cubicBezTo>
                        <a:pt x="2486063" y="205466"/>
                        <a:pt x="2478682" y="204781"/>
                        <a:pt x="2471309" y="204457"/>
                      </a:cubicBezTo>
                      <a:cubicBezTo>
                        <a:pt x="2455021" y="203761"/>
                        <a:pt x="2438086" y="199932"/>
                        <a:pt x="2422417" y="195627"/>
                      </a:cubicBezTo>
                      <a:cubicBezTo>
                        <a:pt x="2413264" y="193103"/>
                        <a:pt x="2402776" y="194074"/>
                        <a:pt x="2396852" y="185959"/>
                      </a:cubicBezTo>
                      <a:cubicBezTo>
                        <a:pt x="2387975" y="173796"/>
                        <a:pt x="2402700" y="183445"/>
                        <a:pt x="2407710" y="185873"/>
                      </a:cubicBezTo>
                      <a:lnTo>
                        <a:pt x="2407710" y="185873"/>
                      </a:lnTo>
                      <a:close/>
                      <a:moveTo>
                        <a:pt x="2257530" y="171434"/>
                      </a:moveTo>
                      <a:cubicBezTo>
                        <a:pt x="2263855" y="172272"/>
                        <a:pt x="2268303" y="175520"/>
                        <a:pt x="2274408" y="176968"/>
                      </a:cubicBezTo>
                      <a:cubicBezTo>
                        <a:pt x="2281762" y="178711"/>
                        <a:pt x="2280543" y="177006"/>
                        <a:pt x="2276399" y="172777"/>
                      </a:cubicBezTo>
                      <a:cubicBezTo>
                        <a:pt x="2273104" y="169405"/>
                        <a:pt x="2267350" y="164442"/>
                        <a:pt x="2275037" y="161880"/>
                      </a:cubicBezTo>
                      <a:cubicBezTo>
                        <a:pt x="2279942" y="160242"/>
                        <a:pt x="2291258" y="165804"/>
                        <a:pt x="2296021" y="167252"/>
                      </a:cubicBezTo>
                      <a:cubicBezTo>
                        <a:pt x="2307641" y="170776"/>
                        <a:pt x="2316861" y="170424"/>
                        <a:pt x="2328329" y="170519"/>
                      </a:cubicBezTo>
                      <a:cubicBezTo>
                        <a:pt x="2337140" y="170586"/>
                        <a:pt x="2347275" y="174520"/>
                        <a:pt x="2355904" y="176339"/>
                      </a:cubicBezTo>
                      <a:cubicBezTo>
                        <a:pt x="2361610" y="177539"/>
                        <a:pt x="2367991" y="178082"/>
                        <a:pt x="2373221" y="180844"/>
                      </a:cubicBezTo>
                      <a:cubicBezTo>
                        <a:pt x="2362200" y="181606"/>
                        <a:pt x="2368963" y="186397"/>
                        <a:pt x="2373916" y="189083"/>
                      </a:cubicBezTo>
                      <a:cubicBezTo>
                        <a:pt x="2366077" y="205238"/>
                        <a:pt x="2330130" y="191160"/>
                        <a:pt x="2320985" y="180397"/>
                      </a:cubicBezTo>
                      <a:cubicBezTo>
                        <a:pt x="2328644" y="174958"/>
                        <a:pt x="2307241" y="175634"/>
                        <a:pt x="2303841" y="176739"/>
                      </a:cubicBezTo>
                      <a:cubicBezTo>
                        <a:pt x="2318633" y="187302"/>
                        <a:pt x="2333959" y="191998"/>
                        <a:pt x="2350580" y="198485"/>
                      </a:cubicBezTo>
                      <a:cubicBezTo>
                        <a:pt x="2346017" y="204847"/>
                        <a:pt x="2340778" y="203037"/>
                        <a:pt x="2334530" y="200713"/>
                      </a:cubicBezTo>
                      <a:cubicBezTo>
                        <a:pt x="2326872" y="197875"/>
                        <a:pt x="2323614" y="198465"/>
                        <a:pt x="2315661" y="200047"/>
                      </a:cubicBezTo>
                      <a:cubicBezTo>
                        <a:pt x="2308060" y="201552"/>
                        <a:pt x="2300164" y="202780"/>
                        <a:pt x="2292639" y="201104"/>
                      </a:cubicBezTo>
                      <a:cubicBezTo>
                        <a:pt x="2290963" y="200732"/>
                        <a:pt x="2284591" y="197789"/>
                        <a:pt x="2283219" y="198694"/>
                      </a:cubicBezTo>
                      <a:cubicBezTo>
                        <a:pt x="2280152" y="200704"/>
                        <a:pt x="2283628" y="199418"/>
                        <a:pt x="2283781" y="202666"/>
                      </a:cubicBezTo>
                      <a:cubicBezTo>
                        <a:pt x="2283952" y="206457"/>
                        <a:pt x="2287591" y="206171"/>
                        <a:pt x="2283352" y="208324"/>
                      </a:cubicBezTo>
                      <a:cubicBezTo>
                        <a:pt x="2281419" y="209305"/>
                        <a:pt x="2276332" y="207086"/>
                        <a:pt x="2274332" y="206714"/>
                      </a:cubicBezTo>
                      <a:cubicBezTo>
                        <a:pt x="2266302" y="205200"/>
                        <a:pt x="2258425" y="204723"/>
                        <a:pt x="2250834" y="201628"/>
                      </a:cubicBezTo>
                      <a:cubicBezTo>
                        <a:pt x="2241252" y="197723"/>
                        <a:pt x="2220268" y="194998"/>
                        <a:pt x="2214315" y="186045"/>
                      </a:cubicBezTo>
                      <a:cubicBezTo>
                        <a:pt x="2216506" y="186502"/>
                        <a:pt x="2218754" y="186683"/>
                        <a:pt x="2220982" y="186569"/>
                      </a:cubicBezTo>
                      <a:cubicBezTo>
                        <a:pt x="2217039" y="183721"/>
                        <a:pt x="2211905" y="181025"/>
                        <a:pt x="2208962" y="177015"/>
                      </a:cubicBezTo>
                      <a:cubicBezTo>
                        <a:pt x="2204809" y="171329"/>
                        <a:pt x="2207476" y="173015"/>
                        <a:pt x="2214144" y="173624"/>
                      </a:cubicBezTo>
                      <a:cubicBezTo>
                        <a:pt x="2208505" y="171376"/>
                        <a:pt x="2203400" y="170243"/>
                        <a:pt x="2206066" y="165547"/>
                      </a:cubicBezTo>
                      <a:cubicBezTo>
                        <a:pt x="2205076" y="167290"/>
                        <a:pt x="2211296" y="162242"/>
                        <a:pt x="2210877" y="162413"/>
                      </a:cubicBezTo>
                      <a:cubicBezTo>
                        <a:pt x="2212486" y="161737"/>
                        <a:pt x="2217753" y="160023"/>
                        <a:pt x="2219192" y="159918"/>
                      </a:cubicBezTo>
                      <a:cubicBezTo>
                        <a:pt x="2224640" y="159556"/>
                        <a:pt x="2231717" y="163394"/>
                        <a:pt x="2237156" y="164814"/>
                      </a:cubicBezTo>
                      <a:cubicBezTo>
                        <a:pt x="2244129" y="166633"/>
                        <a:pt x="2250777" y="168947"/>
                        <a:pt x="2257530" y="171434"/>
                      </a:cubicBezTo>
                      <a:lnTo>
                        <a:pt x="2257530" y="171434"/>
                      </a:lnTo>
                      <a:close/>
                      <a:moveTo>
                        <a:pt x="832971" y="158565"/>
                      </a:moveTo>
                      <a:cubicBezTo>
                        <a:pt x="809901" y="167214"/>
                        <a:pt x="785937" y="170891"/>
                        <a:pt x="762133" y="176653"/>
                      </a:cubicBezTo>
                      <a:cubicBezTo>
                        <a:pt x="750142" y="179549"/>
                        <a:pt x="737645" y="182921"/>
                        <a:pt x="726339" y="187693"/>
                      </a:cubicBezTo>
                      <a:cubicBezTo>
                        <a:pt x="722262" y="189417"/>
                        <a:pt x="720023" y="191846"/>
                        <a:pt x="715985" y="194065"/>
                      </a:cubicBezTo>
                      <a:cubicBezTo>
                        <a:pt x="712985" y="195722"/>
                        <a:pt x="708136" y="195379"/>
                        <a:pt x="706593" y="198475"/>
                      </a:cubicBezTo>
                      <a:cubicBezTo>
                        <a:pt x="708946" y="198380"/>
                        <a:pt x="711108" y="199066"/>
                        <a:pt x="712813" y="200551"/>
                      </a:cubicBezTo>
                      <a:cubicBezTo>
                        <a:pt x="708794" y="204104"/>
                        <a:pt x="706165" y="206133"/>
                        <a:pt x="700354" y="205552"/>
                      </a:cubicBezTo>
                      <a:cubicBezTo>
                        <a:pt x="706926" y="213277"/>
                        <a:pt x="692077" y="206657"/>
                        <a:pt x="690544" y="207867"/>
                      </a:cubicBezTo>
                      <a:cubicBezTo>
                        <a:pt x="689467" y="208714"/>
                        <a:pt x="692239" y="211896"/>
                        <a:pt x="690791" y="213410"/>
                      </a:cubicBezTo>
                      <a:cubicBezTo>
                        <a:pt x="688496" y="215830"/>
                        <a:pt x="682781" y="213705"/>
                        <a:pt x="680066" y="213334"/>
                      </a:cubicBezTo>
                      <a:cubicBezTo>
                        <a:pt x="681056" y="215982"/>
                        <a:pt x="686219" y="217944"/>
                        <a:pt x="685933" y="221402"/>
                      </a:cubicBezTo>
                      <a:cubicBezTo>
                        <a:pt x="685495" y="226717"/>
                        <a:pt x="676065" y="227412"/>
                        <a:pt x="672160" y="228622"/>
                      </a:cubicBezTo>
                      <a:cubicBezTo>
                        <a:pt x="680580" y="238223"/>
                        <a:pt x="673713" y="234851"/>
                        <a:pt x="665693" y="234156"/>
                      </a:cubicBezTo>
                      <a:cubicBezTo>
                        <a:pt x="667388" y="236023"/>
                        <a:pt x="673180" y="237689"/>
                        <a:pt x="672351" y="240947"/>
                      </a:cubicBezTo>
                      <a:cubicBezTo>
                        <a:pt x="672474" y="240471"/>
                        <a:pt x="665074" y="249319"/>
                        <a:pt x="665302" y="249158"/>
                      </a:cubicBezTo>
                      <a:cubicBezTo>
                        <a:pt x="659101" y="253730"/>
                        <a:pt x="645833" y="249996"/>
                        <a:pt x="638880" y="249367"/>
                      </a:cubicBezTo>
                      <a:cubicBezTo>
                        <a:pt x="634727" y="248986"/>
                        <a:pt x="630974" y="247576"/>
                        <a:pt x="626926" y="246891"/>
                      </a:cubicBezTo>
                      <a:cubicBezTo>
                        <a:pt x="622459" y="246129"/>
                        <a:pt x="619478" y="247605"/>
                        <a:pt x="615267" y="247919"/>
                      </a:cubicBezTo>
                      <a:cubicBezTo>
                        <a:pt x="611010" y="248234"/>
                        <a:pt x="613458" y="249519"/>
                        <a:pt x="609371" y="247443"/>
                      </a:cubicBezTo>
                      <a:cubicBezTo>
                        <a:pt x="606590" y="246033"/>
                        <a:pt x="608104" y="244138"/>
                        <a:pt x="607333" y="243471"/>
                      </a:cubicBezTo>
                      <a:cubicBezTo>
                        <a:pt x="603819" y="240404"/>
                        <a:pt x="598627" y="239890"/>
                        <a:pt x="595227" y="236423"/>
                      </a:cubicBezTo>
                      <a:cubicBezTo>
                        <a:pt x="601904" y="232041"/>
                        <a:pt x="609105" y="231955"/>
                        <a:pt x="612962" y="225250"/>
                      </a:cubicBezTo>
                      <a:cubicBezTo>
                        <a:pt x="614772" y="222107"/>
                        <a:pt x="615963" y="217277"/>
                        <a:pt x="618735" y="215325"/>
                      </a:cubicBezTo>
                      <a:cubicBezTo>
                        <a:pt x="621707" y="213229"/>
                        <a:pt x="628564" y="214591"/>
                        <a:pt x="632231" y="213429"/>
                      </a:cubicBezTo>
                      <a:cubicBezTo>
                        <a:pt x="627964" y="211515"/>
                        <a:pt x="622316" y="213315"/>
                        <a:pt x="619230" y="209286"/>
                      </a:cubicBezTo>
                      <a:cubicBezTo>
                        <a:pt x="623954" y="205057"/>
                        <a:pt x="625831" y="200847"/>
                        <a:pt x="632546" y="198913"/>
                      </a:cubicBezTo>
                      <a:cubicBezTo>
                        <a:pt x="629898" y="197446"/>
                        <a:pt x="613944" y="197484"/>
                        <a:pt x="617563" y="192598"/>
                      </a:cubicBezTo>
                      <a:cubicBezTo>
                        <a:pt x="622059" y="186531"/>
                        <a:pt x="629622" y="198599"/>
                        <a:pt x="635689" y="189864"/>
                      </a:cubicBezTo>
                      <a:cubicBezTo>
                        <a:pt x="628764" y="185350"/>
                        <a:pt x="639804" y="185750"/>
                        <a:pt x="642642" y="185883"/>
                      </a:cubicBezTo>
                      <a:cubicBezTo>
                        <a:pt x="650253" y="186226"/>
                        <a:pt x="645595" y="186331"/>
                        <a:pt x="648900" y="184016"/>
                      </a:cubicBezTo>
                      <a:cubicBezTo>
                        <a:pt x="650825" y="182664"/>
                        <a:pt x="650548" y="179987"/>
                        <a:pt x="654358" y="178892"/>
                      </a:cubicBezTo>
                      <a:cubicBezTo>
                        <a:pt x="653663" y="178234"/>
                        <a:pt x="653253" y="177310"/>
                        <a:pt x="652567" y="176672"/>
                      </a:cubicBezTo>
                      <a:cubicBezTo>
                        <a:pt x="659921" y="174548"/>
                        <a:pt x="665531" y="170586"/>
                        <a:pt x="672970" y="169252"/>
                      </a:cubicBezTo>
                      <a:cubicBezTo>
                        <a:pt x="676142" y="168681"/>
                        <a:pt x="680133" y="168757"/>
                        <a:pt x="683076" y="167443"/>
                      </a:cubicBezTo>
                      <a:cubicBezTo>
                        <a:pt x="687505" y="165461"/>
                        <a:pt x="687296" y="162756"/>
                        <a:pt x="693410" y="162756"/>
                      </a:cubicBezTo>
                      <a:cubicBezTo>
                        <a:pt x="695525" y="162756"/>
                        <a:pt x="701097" y="164709"/>
                        <a:pt x="702621" y="163804"/>
                      </a:cubicBezTo>
                      <a:cubicBezTo>
                        <a:pt x="705831" y="161909"/>
                        <a:pt x="700688" y="159927"/>
                        <a:pt x="701783" y="158708"/>
                      </a:cubicBezTo>
                      <a:cubicBezTo>
                        <a:pt x="706460" y="153507"/>
                        <a:pt x="719366" y="157918"/>
                        <a:pt x="725091" y="158441"/>
                      </a:cubicBezTo>
                      <a:cubicBezTo>
                        <a:pt x="740845" y="159870"/>
                        <a:pt x="757981" y="155793"/>
                        <a:pt x="772821" y="151269"/>
                      </a:cubicBezTo>
                      <a:cubicBezTo>
                        <a:pt x="777716" y="149783"/>
                        <a:pt x="785127" y="149593"/>
                        <a:pt x="789232" y="146726"/>
                      </a:cubicBezTo>
                      <a:cubicBezTo>
                        <a:pt x="791108" y="145411"/>
                        <a:pt x="791947" y="141992"/>
                        <a:pt x="794899" y="140182"/>
                      </a:cubicBezTo>
                      <a:cubicBezTo>
                        <a:pt x="799205" y="137553"/>
                        <a:pt x="803615" y="137039"/>
                        <a:pt x="808359" y="135972"/>
                      </a:cubicBezTo>
                      <a:cubicBezTo>
                        <a:pt x="817083" y="134000"/>
                        <a:pt x="825417" y="134086"/>
                        <a:pt x="834247" y="136639"/>
                      </a:cubicBezTo>
                      <a:cubicBezTo>
                        <a:pt x="842629" y="139058"/>
                        <a:pt x="844553" y="142525"/>
                        <a:pt x="848897" y="148002"/>
                      </a:cubicBezTo>
                      <a:cubicBezTo>
                        <a:pt x="842820" y="153174"/>
                        <a:pt x="840915" y="156870"/>
                        <a:pt x="832971" y="158565"/>
                      </a:cubicBezTo>
                      <a:lnTo>
                        <a:pt x="832971" y="158565"/>
                      </a:lnTo>
                      <a:close/>
                      <a:moveTo>
                        <a:pt x="1434341" y="63553"/>
                      </a:moveTo>
                      <a:cubicBezTo>
                        <a:pt x="1435332" y="67859"/>
                        <a:pt x="1435827" y="72469"/>
                        <a:pt x="1437075" y="76736"/>
                      </a:cubicBezTo>
                      <a:cubicBezTo>
                        <a:pt x="1440733" y="75460"/>
                        <a:pt x="1438504" y="72735"/>
                        <a:pt x="1440275" y="71126"/>
                      </a:cubicBezTo>
                      <a:cubicBezTo>
                        <a:pt x="1441666" y="69849"/>
                        <a:pt x="1444485" y="69097"/>
                        <a:pt x="1446734" y="68440"/>
                      </a:cubicBezTo>
                      <a:cubicBezTo>
                        <a:pt x="1454153" y="66278"/>
                        <a:pt x="1455953" y="68278"/>
                        <a:pt x="1462831" y="70754"/>
                      </a:cubicBezTo>
                      <a:cubicBezTo>
                        <a:pt x="1465717" y="71783"/>
                        <a:pt x="1468917" y="71592"/>
                        <a:pt x="1471765" y="72707"/>
                      </a:cubicBezTo>
                      <a:cubicBezTo>
                        <a:pt x="1474432" y="73745"/>
                        <a:pt x="1474861" y="75745"/>
                        <a:pt x="1478223" y="76574"/>
                      </a:cubicBezTo>
                      <a:cubicBezTo>
                        <a:pt x="1484586" y="78146"/>
                        <a:pt x="1488853" y="76384"/>
                        <a:pt x="1494892" y="81003"/>
                      </a:cubicBezTo>
                      <a:cubicBezTo>
                        <a:pt x="1509198" y="91947"/>
                        <a:pt x="1486062" y="93786"/>
                        <a:pt x="1477156" y="94919"/>
                      </a:cubicBezTo>
                      <a:cubicBezTo>
                        <a:pt x="1464812" y="96491"/>
                        <a:pt x="1454410" y="96605"/>
                        <a:pt x="1441400" y="96929"/>
                      </a:cubicBezTo>
                      <a:cubicBezTo>
                        <a:pt x="1426950" y="97281"/>
                        <a:pt x="1414644" y="108759"/>
                        <a:pt x="1399642" y="101853"/>
                      </a:cubicBezTo>
                      <a:cubicBezTo>
                        <a:pt x="1402709" y="97320"/>
                        <a:pt x="1405823" y="92100"/>
                        <a:pt x="1403861" y="86175"/>
                      </a:cubicBezTo>
                      <a:cubicBezTo>
                        <a:pt x="1401089" y="77793"/>
                        <a:pt x="1401804" y="78831"/>
                        <a:pt x="1410967" y="78212"/>
                      </a:cubicBezTo>
                      <a:cubicBezTo>
                        <a:pt x="1405176" y="75755"/>
                        <a:pt x="1399870" y="62858"/>
                        <a:pt x="1409243" y="63534"/>
                      </a:cubicBezTo>
                      <a:cubicBezTo>
                        <a:pt x="1402699" y="56791"/>
                        <a:pt x="1420540" y="63763"/>
                        <a:pt x="1422435" y="63487"/>
                      </a:cubicBezTo>
                      <a:cubicBezTo>
                        <a:pt x="1417244" y="61391"/>
                        <a:pt x="1416558" y="59010"/>
                        <a:pt x="1421273" y="58048"/>
                      </a:cubicBezTo>
                      <a:cubicBezTo>
                        <a:pt x="1425540" y="57172"/>
                        <a:pt x="1433322" y="60220"/>
                        <a:pt x="1437056" y="62134"/>
                      </a:cubicBezTo>
                      <a:cubicBezTo>
                        <a:pt x="1436313" y="62553"/>
                        <a:pt x="1435189" y="63277"/>
                        <a:pt x="1434341" y="63553"/>
                      </a:cubicBezTo>
                      <a:lnTo>
                        <a:pt x="1434341" y="63553"/>
                      </a:lnTo>
                      <a:close/>
                      <a:moveTo>
                        <a:pt x="1313078" y="35064"/>
                      </a:moveTo>
                      <a:cubicBezTo>
                        <a:pt x="1316536" y="35988"/>
                        <a:pt x="1320022" y="37312"/>
                        <a:pt x="1323003" y="39322"/>
                      </a:cubicBezTo>
                      <a:cubicBezTo>
                        <a:pt x="1320003" y="42236"/>
                        <a:pt x="1320032" y="46227"/>
                        <a:pt x="1323975" y="46923"/>
                      </a:cubicBezTo>
                      <a:cubicBezTo>
                        <a:pt x="1319689" y="46161"/>
                        <a:pt x="1334110" y="41855"/>
                        <a:pt x="1331691" y="44008"/>
                      </a:cubicBezTo>
                      <a:cubicBezTo>
                        <a:pt x="1333681" y="42246"/>
                        <a:pt x="1332119" y="38998"/>
                        <a:pt x="1331862" y="39207"/>
                      </a:cubicBezTo>
                      <a:cubicBezTo>
                        <a:pt x="1338005" y="34159"/>
                        <a:pt x="1361056" y="43132"/>
                        <a:pt x="1367428" y="47066"/>
                      </a:cubicBezTo>
                      <a:cubicBezTo>
                        <a:pt x="1363075" y="50676"/>
                        <a:pt x="1369285" y="54438"/>
                        <a:pt x="1370495" y="58181"/>
                      </a:cubicBezTo>
                      <a:cubicBezTo>
                        <a:pt x="1373115" y="66297"/>
                        <a:pt x="1367504" y="60477"/>
                        <a:pt x="1361485" y="62325"/>
                      </a:cubicBezTo>
                      <a:cubicBezTo>
                        <a:pt x="1370095" y="64906"/>
                        <a:pt x="1380029" y="67125"/>
                        <a:pt x="1387012" y="72774"/>
                      </a:cubicBezTo>
                      <a:cubicBezTo>
                        <a:pt x="1378877" y="80679"/>
                        <a:pt x="1361151" y="78165"/>
                        <a:pt x="1350750" y="77269"/>
                      </a:cubicBezTo>
                      <a:cubicBezTo>
                        <a:pt x="1338711" y="76222"/>
                        <a:pt x="1327861" y="71278"/>
                        <a:pt x="1315793" y="71173"/>
                      </a:cubicBezTo>
                      <a:cubicBezTo>
                        <a:pt x="1309250" y="71126"/>
                        <a:pt x="1304544" y="69125"/>
                        <a:pt x="1298582" y="68630"/>
                      </a:cubicBezTo>
                      <a:cubicBezTo>
                        <a:pt x="1294810" y="68316"/>
                        <a:pt x="1292962" y="70107"/>
                        <a:pt x="1288714" y="69097"/>
                      </a:cubicBezTo>
                      <a:cubicBezTo>
                        <a:pt x="1286256" y="68516"/>
                        <a:pt x="1284361" y="67240"/>
                        <a:pt x="1282237" y="66306"/>
                      </a:cubicBezTo>
                      <a:cubicBezTo>
                        <a:pt x="1276055" y="63582"/>
                        <a:pt x="1270378" y="59581"/>
                        <a:pt x="1263710" y="58105"/>
                      </a:cubicBezTo>
                      <a:cubicBezTo>
                        <a:pt x="1257557" y="56743"/>
                        <a:pt x="1250776" y="58134"/>
                        <a:pt x="1244880" y="55952"/>
                      </a:cubicBezTo>
                      <a:cubicBezTo>
                        <a:pt x="1246927" y="50266"/>
                        <a:pt x="1251519" y="52019"/>
                        <a:pt x="1255176" y="48599"/>
                      </a:cubicBezTo>
                      <a:cubicBezTo>
                        <a:pt x="1258233" y="45751"/>
                        <a:pt x="1256567" y="43408"/>
                        <a:pt x="1258053" y="41551"/>
                      </a:cubicBezTo>
                      <a:cubicBezTo>
                        <a:pt x="1262167" y="36340"/>
                        <a:pt x="1268444" y="38693"/>
                        <a:pt x="1273035" y="38493"/>
                      </a:cubicBezTo>
                      <a:cubicBezTo>
                        <a:pt x="1274093" y="38445"/>
                        <a:pt x="1278160" y="36579"/>
                        <a:pt x="1280827" y="36598"/>
                      </a:cubicBezTo>
                      <a:cubicBezTo>
                        <a:pt x="1283913" y="36607"/>
                        <a:pt x="1286885" y="36836"/>
                        <a:pt x="1289933" y="36683"/>
                      </a:cubicBezTo>
                      <a:cubicBezTo>
                        <a:pt x="1297467" y="36293"/>
                        <a:pt x="1305535" y="33873"/>
                        <a:pt x="1313078" y="35064"/>
                      </a:cubicBezTo>
                      <a:lnTo>
                        <a:pt x="1313078" y="35064"/>
                      </a:lnTo>
                      <a:close/>
                      <a:moveTo>
                        <a:pt x="646862" y="13757"/>
                      </a:moveTo>
                      <a:cubicBezTo>
                        <a:pt x="649205" y="15366"/>
                        <a:pt x="649233" y="17967"/>
                        <a:pt x="648853" y="20615"/>
                      </a:cubicBezTo>
                      <a:cubicBezTo>
                        <a:pt x="644166" y="20643"/>
                        <a:pt x="640775" y="22262"/>
                        <a:pt x="636927" y="24025"/>
                      </a:cubicBezTo>
                      <a:cubicBezTo>
                        <a:pt x="631222" y="26644"/>
                        <a:pt x="629193" y="26015"/>
                        <a:pt x="622526" y="25415"/>
                      </a:cubicBezTo>
                      <a:cubicBezTo>
                        <a:pt x="616344" y="24853"/>
                        <a:pt x="600808" y="29730"/>
                        <a:pt x="598218" y="20948"/>
                      </a:cubicBezTo>
                      <a:cubicBezTo>
                        <a:pt x="595074" y="10251"/>
                        <a:pt x="610896" y="14547"/>
                        <a:pt x="615610" y="14747"/>
                      </a:cubicBezTo>
                      <a:cubicBezTo>
                        <a:pt x="625450" y="15166"/>
                        <a:pt x="637632" y="8442"/>
                        <a:pt x="646862" y="13757"/>
                      </a:cubicBezTo>
                      <a:lnTo>
                        <a:pt x="646862" y="13757"/>
                      </a:lnTo>
                      <a:close/>
                      <a:moveTo>
                        <a:pt x="428511" y="10842"/>
                      </a:moveTo>
                      <a:cubicBezTo>
                        <a:pt x="438303" y="13080"/>
                        <a:pt x="448942" y="12852"/>
                        <a:pt x="457867" y="18386"/>
                      </a:cubicBezTo>
                      <a:cubicBezTo>
                        <a:pt x="451999" y="20100"/>
                        <a:pt x="447256" y="22529"/>
                        <a:pt x="441455" y="23186"/>
                      </a:cubicBezTo>
                      <a:cubicBezTo>
                        <a:pt x="436178" y="23786"/>
                        <a:pt x="429844" y="22663"/>
                        <a:pt x="425006" y="25177"/>
                      </a:cubicBezTo>
                      <a:cubicBezTo>
                        <a:pt x="425491" y="25672"/>
                        <a:pt x="425977" y="26158"/>
                        <a:pt x="426453" y="26654"/>
                      </a:cubicBezTo>
                      <a:cubicBezTo>
                        <a:pt x="420786" y="30559"/>
                        <a:pt x="412357" y="25377"/>
                        <a:pt x="407584" y="30597"/>
                      </a:cubicBezTo>
                      <a:cubicBezTo>
                        <a:pt x="409204" y="30730"/>
                        <a:pt x="414423" y="30873"/>
                        <a:pt x="414957" y="33521"/>
                      </a:cubicBezTo>
                      <a:cubicBezTo>
                        <a:pt x="415633" y="36902"/>
                        <a:pt x="408365" y="33978"/>
                        <a:pt x="407032" y="34083"/>
                      </a:cubicBezTo>
                      <a:cubicBezTo>
                        <a:pt x="406537" y="34121"/>
                        <a:pt x="406775" y="36655"/>
                        <a:pt x="405556" y="36807"/>
                      </a:cubicBezTo>
                      <a:cubicBezTo>
                        <a:pt x="403631" y="37055"/>
                        <a:pt x="401746" y="35902"/>
                        <a:pt x="399803" y="36026"/>
                      </a:cubicBezTo>
                      <a:cubicBezTo>
                        <a:pt x="396478" y="36245"/>
                        <a:pt x="394583" y="38331"/>
                        <a:pt x="390801" y="36521"/>
                      </a:cubicBezTo>
                      <a:cubicBezTo>
                        <a:pt x="392497" y="35407"/>
                        <a:pt x="393754" y="33988"/>
                        <a:pt x="395859" y="33350"/>
                      </a:cubicBezTo>
                      <a:cubicBezTo>
                        <a:pt x="390773" y="31121"/>
                        <a:pt x="387677" y="33854"/>
                        <a:pt x="383248" y="34302"/>
                      </a:cubicBezTo>
                      <a:cubicBezTo>
                        <a:pt x="378390" y="34788"/>
                        <a:pt x="374333" y="32835"/>
                        <a:pt x="370179" y="30587"/>
                      </a:cubicBezTo>
                      <a:cubicBezTo>
                        <a:pt x="381296" y="26415"/>
                        <a:pt x="390592" y="22482"/>
                        <a:pt x="402098" y="23244"/>
                      </a:cubicBezTo>
                      <a:cubicBezTo>
                        <a:pt x="404384" y="23396"/>
                        <a:pt x="410365" y="25587"/>
                        <a:pt x="412290" y="23796"/>
                      </a:cubicBezTo>
                      <a:cubicBezTo>
                        <a:pt x="415395" y="20900"/>
                        <a:pt x="410499" y="19910"/>
                        <a:pt x="410766" y="17614"/>
                      </a:cubicBezTo>
                      <a:cubicBezTo>
                        <a:pt x="411509" y="11280"/>
                        <a:pt x="422653" y="10890"/>
                        <a:pt x="428511" y="10842"/>
                      </a:cubicBezTo>
                      <a:lnTo>
                        <a:pt x="428511" y="10842"/>
                      </a:lnTo>
                      <a:close/>
                      <a:moveTo>
                        <a:pt x="506673" y="4898"/>
                      </a:moveTo>
                      <a:cubicBezTo>
                        <a:pt x="526609" y="8880"/>
                        <a:pt x="546192" y="8575"/>
                        <a:pt x="565843" y="15090"/>
                      </a:cubicBezTo>
                      <a:cubicBezTo>
                        <a:pt x="556965" y="21005"/>
                        <a:pt x="539810" y="21310"/>
                        <a:pt x="529923" y="18929"/>
                      </a:cubicBezTo>
                      <a:cubicBezTo>
                        <a:pt x="523285" y="17329"/>
                        <a:pt x="501996" y="18224"/>
                        <a:pt x="498015" y="12576"/>
                      </a:cubicBezTo>
                      <a:cubicBezTo>
                        <a:pt x="499901" y="12461"/>
                        <a:pt x="501415" y="11394"/>
                        <a:pt x="503416" y="11575"/>
                      </a:cubicBezTo>
                      <a:cubicBezTo>
                        <a:pt x="502892" y="8556"/>
                        <a:pt x="503882" y="5708"/>
                        <a:pt x="506673" y="4898"/>
                      </a:cubicBezTo>
                      <a:lnTo>
                        <a:pt x="506673" y="4898"/>
                      </a:lnTo>
                      <a:close/>
                      <a:moveTo>
                        <a:pt x="671198" y="17995"/>
                      </a:moveTo>
                      <a:cubicBezTo>
                        <a:pt x="665017" y="18433"/>
                        <a:pt x="659235" y="16214"/>
                        <a:pt x="653510" y="14157"/>
                      </a:cubicBezTo>
                      <a:cubicBezTo>
                        <a:pt x="658816" y="10613"/>
                        <a:pt x="663302" y="9499"/>
                        <a:pt x="669836" y="9194"/>
                      </a:cubicBezTo>
                      <a:cubicBezTo>
                        <a:pt x="671789" y="9099"/>
                        <a:pt x="676551" y="9975"/>
                        <a:pt x="678161" y="8737"/>
                      </a:cubicBezTo>
                      <a:cubicBezTo>
                        <a:pt x="679952" y="7365"/>
                        <a:pt x="678437" y="5194"/>
                        <a:pt x="679552" y="4298"/>
                      </a:cubicBezTo>
                      <a:cubicBezTo>
                        <a:pt x="688010" y="-2579"/>
                        <a:pt x="698287" y="6003"/>
                        <a:pt x="704860" y="10728"/>
                      </a:cubicBezTo>
                      <a:cubicBezTo>
                        <a:pt x="694096" y="16986"/>
                        <a:pt x="683467" y="16957"/>
                        <a:pt x="671198" y="17995"/>
                      </a:cubicBezTo>
                      <a:lnTo>
                        <a:pt x="671198" y="17995"/>
                      </a:lnTo>
                      <a:close/>
                      <a:moveTo>
                        <a:pt x="1267901" y="6175"/>
                      </a:moveTo>
                      <a:cubicBezTo>
                        <a:pt x="1273198" y="10128"/>
                        <a:pt x="1280941" y="11623"/>
                        <a:pt x="1287314" y="12833"/>
                      </a:cubicBezTo>
                      <a:cubicBezTo>
                        <a:pt x="1292342" y="13795"/>
                        <a:pt x="1299220" y="13033"/>
                        <a:pt x="1302125" y="18071"/>
                      </a:cubicBezTo>
                      <a:cubicBezTo>
                        <a:pt x="1298343" y="18624"/>
                        <a:pt x="1289600" y="17671"/>
                        <a:pt x="1291199" y="23196"/>
                      </a:cubicBezTo>
                      <a:cubicBezTo>
                        <a:pt x="1291799" y="25272"/>
                        <a:pt x="1301563" y="29625"/>
                        <a:pt x="1303992" y="29882"/>
                      </a:cubicBezTo>
                      <a:cubicBezTo>
                        <a:pt x="1301230" y="35883"/>
                        <a:pt x="1284637" y="34083"/>
                        <a:pt x="1278789" y="34502"/>
                      </a:cubicBezTo>
                      <a:cubicBezTo>
                        <a:pt x="1268368" y="35255"/>
                        <a:pt x="1259910" y="35998"/>
                        <a:pt x="1250109" y="38703"/>
                      </a:cubicBezTo>
                      <a:cubicBezTo>
                        <a:pt x="1241679" y="41027"/>
                        <a:pt x="1233202" y="37664"/>
                        <a:pt x="1224724" y="36312"/>
                      </a:cubicBezTo>
                      <a:cubicBezTo>
                        <a:pt x="1216342" y="34978"/>
                        <a:pt x="1201274" y="34464"/>
                        <a:pt x="1194693" y="28759"/>
                      </a:cubicBezTo>
                      <a:cubicBezTo>
                        <a:pt x="1197778" y="23558"/>
                        <a:pt x="1202398" y="25768"/>
                        <a:pt x="1207084" y="23796"/>
                      </a:cubicBezTo>
                      <a:cubicBezTo>
                        <a:pt x="1211999" y="21729"/>
                        <a:pt x="1211514" y="17910"/>
                        <a:pt x="1215723" y="15138"/>
                      </a:cubicBezTo>
                      <a:cubicBezTo>
                        <a:pt x="1212399" y="15414"/>
                        <a:pt x="1204075" y="17719"/>
                        <a:pt x="1203455" y="13566"/>
                      </a:cubicBezTo>
                      <a:cubicBezTo>
                        <a:pt x="1202951" y="10194"/>
                        <a:pt x="1210751" y="7918"/>
                        <a:pt x="1213123" y="7384"/>
                      </a:cubicBezTo>
                      <a:cubicBezTo>
                        <a:pt x="1217724" y="6337"/>
                        <a:pt x="1239774" y="6499"/>
                        <a:pt x="1237984" y="31"/>
                      </a:cubicBezTo>
                      <a:cubicBezTo>
                        <a:pt x="1248871" y="-274"/>
                        <a:pt x="1257881" y="1650"/>
                        <a:pt x="1267901" y="6175"/>
                      </a:cubicBezTo>
                      <a:lnTo>
                        <a:pt x="1267901" y="6175"/>
                      </a:lnTo>
                      <a:close/>
                      <a:moveTo>
                        <a:pt x="3541862" y="510438"/>
                      </a:moveTo>
                      <a:cubicBezTo>
                        <a:pt x="3538328" y="511962"/>
                        <a:pt x="3541109" y="515677"/>
                        <a:pt x="3539195" y="518496"/>
                      </a:cubicBezTo>
                      <a:cubicBezTo>
                        <a:pt x="3538862" y="518991"/>
                        <a:pt x="3531689" y="524268"/>
                        <a:pt x="3530727" y="524621"/>
                      </a:cubicBezTo>
                      <a:cubicBezTo>
                        <a:pt x="3525983" y="526354"/>
                        <a:pt x="3509944" y="522096"/>
                        <a:pt x="3504829" y="520849"/>
                      </a:cubicBezTo>
                      <a:cubicBezTo>
                        <a:pt x="3496818" y="518877"/>
                        <a:pt x="3489465" y="514695"/>
                        <a:pt x="3481607" y="512362"/>
                      </a:cubicBezTo>
                      <a:cubicBezTo>
                        <a:pt x="3476073" y="510724"/>
                        <a:pt x="3465728" y="508914"/>
                        <a:pt x="3460814" y="511066"/>
                      </a:cubicBezTo>
                      <a:cubicBezTo>
                        <a:pt x="3468872" y="512914"/>
                        <a:pt x="3484912" y="509933"/>
                        <a:pt x="3489589" y="518705"/>
                      </a:cubicBezTo>
                      <a:cubicBezTo>
                        <a:pt x="3481921" y="521058"/>
                        <a:pt x="3470462" y="514924"/>
                        <a:pt x="3462414" y="514838"/>
                      </a:cubicBezTo>
                      <a:cubicBezTo>
                        <a:pt x="3458737" y="514800"/>
                        <a:pt x="3459823" y="514915"/>
                        <a:pt x="3457756" y="515629"/>
                      </a:cubicBezTo>
                      <a:cubicBezTo>
                        <a:pt x="3456670" y="516000"/>
                        <a:pt x="3454384" y="518410"/>
                        <a:pt x="3452118" y="519077"/>
                      </a:cubicBezTo>
                      <a:cubicBezTo>
                        <a:pt x="3446898" y="520601"/>
                        <a:pt x="3441878" y="520611"/>
                        <a:pt x="3436468" y="522516"/>
                      </a:cubicBezTo>
                      <a:cubicBezTo>
                        <a:pt x="3440754" y="523058"/>
                        <a:pt x="3446269" y="521115"/>
                        <a:pt x="3450622" y="520544"/>
                      </a:cubicBezTo>
                      <a:cubicBezTo>
                        <a:pt x="3454527" y="520029"/>
                        <a:pt x="3458004" y="517010"/>
                        <a:pt x="3460137" y="516496"/>
                      </a:cubicBezTo>
                      <a:cubicBezTo>
                        <a:pt x="3464700" y="515391"/>
                        <a:pt x="3477006" y="519372"/>
                        <a:pt x="3476549" y="525611"/>
                      </a:cubicBezTo>
                      <a:cubicBezTo>
                        <a:pt x="3480178" y="520715"/>
                        <a:pt x="3481416" y="524830"/>
                        <a:pt x="3485464" y="523744"/>
                      </a:cubicBezTo>
                      <a:cubicBezTo>
                        <a:pt x="3486579" y="523449"/>
                        <a:pt x="3487893" y="524573"/>
                        <a:pt x="3489189" y="524240"/>
                      </a:cubicBezTo>
                      <a:cubicBezTo>
                        <a:pt x="3490998" y="523773"/>
                        <a:pt x="3489970" y="521782"/>
                        <a:pt x="3491151" y="521411"/>
                      </a:cubicBezTo>
                      <a:cubicBezTo>
                        <a:pt x="3498485" y="519115"/>
                        <a:pt x="3499123" y="520896"/>
                        <a:pt x="3505077" y="525487"/>
                      </a:cubicBezTo>
                      <a:cubicBezTo>
                        <a:pt x="3511887" y="530726"/>
                        <a:pt x="3528079" y="539289"/>
                        <a:pt x="3536833" y="536660"/>
                      </a:cubicBezTo>
                      <a:cubicBezTo>
                        <a:pt x="3535318" y="535460"/>
                        <a:pt x="3534632" y="533831"/>
                        <a:pt x="3533366" y="532593"/>
                      </a:cubicBezTo>
                      <a:cubicBezTo>
                        <a:pt x="3540795" y="535317"/>
                        <a:pt x="3546729" y="540108"/>
                        <a:pt x="3553578" y="543394"/>
                      </a:cubicBezTo>
                      <a:cubicBezTo>
                        <a:pt x="3561150" y="547023"/>
                        <a:pt x="3568065" y="549795"/>
                        <a:pt x="3575495" y="554558"/>
                      </a:cubicBezTo>
                      <a:cubicBezTo>
                        <a:pt x="3574266" y="554862"/>
                        <a:pt x="3572913" y="556129"/>
                        <a:pt x="3571580" y="556501"/>
                      </a:cubicBezTo>
                      <a:cubicBezTo>
                        <a:pt x="3574609" y="558168"/>
                        <a:pt x="3578124" y="557720"/>
                        <a:pt x="3581314" y="559149"/>
                      </a:cubicBezTo>
                      <a:cubicBezTo>
                        <a:pt x="3583886" y="560292"/>
                        <a:pt x="3584572" y="562721"/>
                        <a:pt x="3587744" y="563140"/>
                      </a:cubicBezTo>
                      <a:cubicBezTo>
                        <a:pt x="3586268" y="561368"/>
                        <a:pt x="3584372" y="559882"/>
                        <a:pt x="3582467" y="558558"/>
                      </a:cubicBezTo>
                      <a:cubicBezTo>
                        <a:pt x="3588030" y="561273"/>
                        <a:pt x="3593335" y="564645"/>
                        <a:pt x="3599155" y="566683"/>
                      </a:cubicBezTo>
                      <a:cubicBezTo>
                        <a:pt x="3605308" y="568836"/>
                        <a:pt x="3611356" y="569217"/>
                        <a:pt x="3616785" y="573131"/>
                      </a:cubicBezTo>
                      <a:cubicBezTo>
                        <a:pt x="3614614" y="577408"/>
                        <a:pt x="3628825" y="580056"/>
                        <a:pt x="3632207" y="581790"/>
                      </a:cubicBezTo>
                      <a:cubicBezTo>
                        <a:pt x="3640503" y="586028"/>
                        <a:pt x="3636635" y="592134"/>
                        <a:pt x="3643427" y="596992"/>
                      </a:cubicBezTo>
                      <a:cubicBezTo>
                        <a:pt x="3631530" y="595515"/>
                        <a:pt x="3619748" y="591629"/>
                        <a:pt x="3607823" y="589800"/>
                      </a:cubicBezTo>
                      <a:cubicBezTo>
                        <a:pt x="3602822" y="589038"/>
                        <a:pt x="3595250" y="590105"/>
                        <a:pt x="3590592" y="588476"/>
                      </a:cubicBezTo>
                      <a:cubicBezTo>
                        <a:pt x="3586868" y="587171"/>
                        <a:pt x="3585220" y="583133"/>
                        <a:pt x="3581324" y="582371"/>
                      </a:cubicBezTo>
                      <a:cubicBezTo>
                        <a:pt x="3581514" y="582723"/>
                        <a:pt x="3581686" y="583075"/>
                        <a:pt x="3581877" y="583428"/>
                      </a:cubicBezTo>
                      <a:cubicBezTo>
                        <a:pt x="3579705" y="583018"/>
                        <a:pt x="3577333" y="582714"/>
                        <a:pt x="3575323" y="582590"/>
                      </a:cubicBezTo>
                      <a:cubicBezTo>
                        <a:pt x="3578648" y="587524"/>
                        <a:pt x="3584267" y="586057"/>
                        <a:pt x="3587791" y="589400"/>
                      </a:cubicBezTo>
                      <a:cubicBezTo>
                        <a:pt x="3579800" y="590448"/>
                        <a:pt x="3580619" y="592953"/>
                        <a:pt x="3576695" y="596820"/>
                      </a:cubicBezTo>
                      <a:cubicBezTo>
                        <a:pt x="3574171" y="599306"/>
                        <a:pt x="3567303" y="602849"/>
                        <a:pt x="3563846" y="603850"/>
                      </a:cubicBezTo>
                      <a:cubicBezTo>
                        <a:pt x="3566036" y="607345"/>
                        <a:pt x="3560798" y="609222"/>
                        <a:pt x="3557616" y="608717"/>
                      </a:cubicBezTo>
                      <a:cubicBezTo>
                        <a:pt x="3560617" y="614327"/>
                        <a:pt x="3555197" y="611650"/>
                        <a:pt x="3551949" y="613174"/>
                      </a:cubicBezTo>
                      <a:cubicBezTo>
                        <a:pt x="3547605" y="615213"/>
                        <a:pt x="3548396" y="618728"/>
                        <a:pt x="3542091" y="616022"/>
                      </a:cubicBezTo>
                      <a:cubicBezTo>
                        <a:pt x="3543081" y="619175"/>
                        <a:pt x="3543729" y="622452"/>
                        <a:pt x="3543634" y="625766"/>
                      </a:cubicBezTo>
                      <a:cubicBezTo>
                        <a:pt x="3540528" y="625709"/>
                        <a:pt x="3537614" y="624614"/>
                        <a:pt x="3534613" y="623795"/>
                      </a:cubicBezTo>
                      <a:cubicBezTo>
                        <a:pt x="3536157" y="626252"/>
                        <a:pt x="3540376" y="627776"/>
                        <a:pt x="3542224" y="629348"/>
                      </a:cubicBezTo>
                      <a:cubicBezTo>
                        <a:pt x="3540862" y="628957"/>
                        <a:pt x="3539490" y="628938"/>
                        <a:pt x="3538128" y="628672"/>
                      </a:cubicBezTo>
                      <a:cubicBezTo>
                        <a:pt x="3540576" y="630872"/>
                        <a:pt x="3540385" y="633025"/>
                        <a:pt x="3536433" y="633301"/>
                      </a:cubicBezTo>
                      <a:cubicBezTo>
                        <a:pt x="3537976" y="634358"/>
                        <a:pt x="3538786" y="635882"/>
                        <a:pt x="3540748" y="636635"/>
                      </a:cubicBezTo>
                      <a:cubicBezTo>
                        <a:pt x="3539281" y="639483"/>
                        <a:pt x="3538576" y="641178"/>
                        <a:pt x="3536871" y="643702"/>
                      </a:cubicBezTo>
                      <a:cubicBezTo>
                        <a:pt x="3536594" y="644112"/>
                        <a:pt x="3534680" y="643416"/>
                        <a:pt x="3534166" y="643997"/>
                      </a:cubicBezTo>
                      <a:cubicBezTo>
                        <a:pt x="3533537" y="644721"/>
                        <a:pt x="3534080" y="646464"/>
                        <a:pt x="3533480" y="647207"/>
                      </a:cubicBezTo>
                      <a:cubicBezTo>
                        <a:pt x="3531860" y="649208"/>
                        <a:pt x="3530699" y="651570"/>
                        <a:pt x="3529118" y="653599"/>
                      </a:cubicBezTo>
                      <a:cubicBezTo>
                        <a:pt x="3525774" y="657885"/>
                        <a:pt x="3524088" y="655723"/>
                        <a:pt x="3529175" y="661238"/>
                      </a:cubicBezTo>
                      <a:cubicBezTo>
                        <a:pt x="3532051" y="664352"/>
                        <a:pt x="3535738" y="667334"/>
                        <a:pt x="3537719" y="671153"/>
                      </a:cubicBezTo>
                      <a:cubicBezTo>
                        <a:pt x="3524422" y="670801"/>
                        <a:pt x="3512830" y="660657"/>
                        <a:pt x="3500733" y="656104"/>
                      </a:cubicBezTo>
                      <a:cubicBezTo>
                        <a:pt x="3486646" y="650808"/>
                        <a:pt x="3468339" y="649141"/>
                        <a:pt x="3454089" y="654341"/>
                      </a:cubicBezTo>
                      <a:cubicBezTo>
                        <a:pt x="3442754" y="658485"/>
                        <a:pt x="3445898" y="658914"/>
                        <a:pt x="3445869" y="669496"/>
                      </a:cubicBezTo>
                      <a:cubicBezTo>
                        <a:pt x="3445850" y="677992"/>
                        <a:pt x="3441068" y="674001"/>
                        <a:pt x="3435763" y="669000"/>
                      </a:cubicBezTo>
                      <a:cubicBezTo>
                        <a:pt x="3431982" y="665429"/>
                        <a:pt x="3425390" y="653941"/>
                        <a:pt x="3419732" y="654904"/>
                      </a:cubicBezTo>
                      <a:cubicBezTo>
                        <a:pt x="3419494" y="654942"/>
                        <a:pt x="3415465" y="661419"/>
                        <a:pt x="3414332" y="662619"/>
                      </a:cubicBezTo>
                      <a:cubicBezTo>
                        <a:pt x="3412560" y="664476"/>
                        <a:pt x="3410674" y="665981"/>
                        <a:pt x="3408017" y="666962"/>
                      </a:cubicBezTo>
                      <a:cubicBezTo>
                        <a:pt x="3410855" y="669343"/>
                        <a:pt x="3413675" y="671410"/>
                        <a:pt x="3415808" y="674449"/>
                      </a:cubicBezTo>
                      <a:cubicBezTo>
                        <a:pt x="3410388" y="676916"/>
                        <a:pt x="3390176" y="660390"/>
                        <a:pt x="3392948" y="673296"/>
                      </a:cubicBezTo>
                      <a:cubicBezTo>
                        <a:pt x="3388528" y="667429"/>
                        <a:pt x="3375918" y="666505"/>
                        <a:pt x="3379013" y="675687"/>
                      </a:cubicBezTo>
                      <a:cubicBezTo>
                        <a:pt x="3382204" y="685193"/>
                        <a:pt x="3396434" y="687184"/>
                        <a:pt x="3398225" y="697423"/>
                      </a:cubicBezTo>
                      <a:cubicBezTo>
                        <a:pt x="3391348" y="696385"/>
                        <a:pt x="3399282" y="698995"/>
                        <a:pt x="3399777" y="700462"/>
                      </a:cubicBezTo>
                      <a:cubicBezTo>
                        <a:pt x="3400244" y="701833"/>
                        <a:pt x="3399806" y="702776"/>
                        <a:pt x="3399939" y="703462"/>
                      </a:cubicBezTo>
                      <a:cubicBezTo>
                        <a:pt x="3401473" y="711892"/>
                        <a:pt x="3399692" y="716492"/>
                        <a:pt x="3405893" y="724026"/>
                      </a:cubicBezTo>
                      <a:cubicBezTo>
                        <a:pt x="3410122" y="729160"/>
                        <a:pt x="3414141" y="733018"/>
                        <a:pt x="3420171" y="735971"/>
                      </a:cubicBezTo>
                      <a:cubicBezTo>
                        <a:pt x="3424819" y="738247"/>
                        <a:pt x="3432258" y="737981"/>
                        <a:pt x="3435477" y="741962"/>
                      </a:cubicBezTo>
                      <a:cubicBezTo>
                        <a:pt x="3435172" y="738657"/>
                        <a:pt x="3430124" y="737228"/>
                        <a:pt x="3433096" y="734694"/>
                      </a:cubicBezTo>
                      <a:cubicBezTo>
                        <a:pt x="3434677" y="733342"/>
                        <a:pt x="3443754" y="736847"/>
                        <a:pt x="3445383" y="737285"/>
                      </a:cubicBezTo>
                      <a:cubicBezTo>
                        <a:pt x="3453898" y="739609"/>
                        <a:pt x="3455670" y="741972"/>
                        <a:pt x="3458213" y="749496"/>
                      </a:cubicBezTo>
                      <a:cubicBezTo>
                        <a:pt x="3460700" y="756840"/>
                        <a:pt x="3465767" y="758678"/>
                        <a:pt x="3471891" y="763822"/>
                      </a:cubicBezTo>
                      <a:cubicBezTo>
                        <a:pt x="3475082" y="766517"/>
                        <a:pt x="3477845" y="770156"/>
                        <a:pt x="3481845" y="771747"/>
                      </a:cubicBezTo>
                      <a:cubicBezTo>
                        <a:pt x="3485512" y="773194"/>
                        <a:pt x="3488379" y="772118"/>
                        <a:pt x="3492027" y="773328"/>
                      </a:cubicBezTo>
                      <a:cubicBezTo>
                        <a:pt x="3497371" y="775090"/>
                        <a:pt x="3509020" y="782729"/>
                        <a:pt x="3512392" y="787396"/>
                      </a:cubicBezTo>
                      <a:cubicBezTo>
                        <a:pt x="3516678" y="793311"/>
                        <a:pt x="3513496" y="795778"/>
                        <a:pt x="3506486" y="793168"/>
                      </a:cubicBezTo>
                      <a:cubicBezTo>
                        <a:pt x="3502248" y="791587"/>
                        <a:pt x="3496999" y="790054"/>
                        <a:pt x="3495313" y="785606"/>
                      </a:cubicBezTo>
                      <a:cubicBezTo>
                        <a:pt x="3494332" y="783024"/>
                        <a:pt x="3500037" y="782710"/>
                        <a:pt x="3495228" y="779814"/>
                      </a:cubicBezTo>
                      <a:cubicBezTo>
                        <a:pt x="3495542" y="780014"/>
                        <a:pt x="3487931" y="781205"/>
                        <a:pt x="3487960" y="781176"/>
                      </a:cubicBezTo>
                      <a:cubicBezTo>
                        <a:pt x="3485855" y="784444"/>
                        <a:pt x="3491094" y="786225"/>
                        <a:pt x="3493351" y="787844"/>
                      </a:cubicBezTo>
                      <a:cubicBezTo>
                        <a:pt x="3487217" y="794111"/>
                        <a:pt x="3489589" y="793940"/>
                        <a:pt x="3494332" y="801541"/>
                      </a:cubicBezTo>
                      <a:cubicBezTo>
                        <a:pt x="3499104" y="809199"/>
                        <a:pt x="3503981" y="814257"/>
                        <a:pt x="3511496" y="819391"/>
                      </a:cubicBezTo>
                      <a:cubicBezTo>
                        <a:pt x="3517983" y="823810"/>
                        <a:pt x="3525365" y="826344"/>
                        <a:pt x="3531937" y="830583"/>
                      </a:cubicBezTo>
                      <a:cubicBezTo>
                        <a:pt x="3538662" y="834916"/>
                        <a:pt x="3540472" y="840984"/>
                        <a:pt x="3532070" y="842737"/>
                      </a:cubicBezTo>
                      <a:cubicBezTo>
                        <a:pt x="3525270" y="844156"/>
                        <a:pt x="3517992" y="836793"/>
                        <a:pt x="3512277" y="842898"/>
                      </a:cubicBezTo>
                      <a:cubicBezTo>
                        <a:pt x="3508019" y="847461"/>
                        <a:pt x="3508105" y="854586"/>
                        <a:pt x="3511172" y="859320"/>
                      </a:cubicBezTo>
                      <a:cubicBezTo>
                        <a:pt x="3518764" y="871035"/>
                        <a:pt x="3533842" y="877941"/>
                        <a:pt x="3544424" y="886485"/>
                      </a:cubicBezTo>
                      <a:cubicBezTo>
                        <a:pt x="3539243" y="886685"/>
                        <a:pt x="3535042" y="882132"/>
                        <a:pt x="3529555" y="883075"/>
                      </a:cubicBezTo>
                      <a:cubicBezTo>
                        <a:pt x="3524879" y="883875"/>
                        <a:pt x="3519107" y="888361"/>
                        <a:pt x="3519859" y="893429"/>
                      </a:cubicBezTo>
                      <a:cubicBezTo>
                        <a:pt x="3515745" y="892276"/>
                        <a:pt x="3513039" y="888647"/>
                        <a:pt x="3508667" y="889533"/>
                      </a:cubicBezTo>
                      <a:cubicBezTo>
                        <a:pt x="3510572" y="893009"/>
                        <a:pt x="3513925" y="892124"/>
                        <a:pt x="3516964" y="894191"/>
                      </a:cubicBezTo>
                      <a:cubicBezTo>
                        <a:pt x="3519497" y="895915"/>
                        <a:pt x="3520659" y="899134"/>
                        <a:pt x="3522583" y="901363"/>
                      </a:cubicBezTo>
                      <a:cubicBezTo>
                        <a:pt x="3527469" y="907030"/>
                        <a:pt x="3533032" y="910783"/>
                        <a:pt x="3536747" y="917670"/>
                      </a:cubicBezTo>
                      <a:cubicBezTo>
                        <a:pt x="3538252" y="920451"/>
                        <a:pt x="3540109" y="923566"/>
                        <a:pt x="3540871" y="926633"/>
                      </a:cubicBezTo>
                      <a:cubicBezTo>
                        <a:pt x="3541986" y="931109"/>
                        <a:pt x="3539919" y="932891"/>
                        <a:pt x="3539319" y="936158"/>
                      </a:cubicBezTo>
                      <a:cubicBezTo>
                        <a:pt x="3538776" y="939091"/>
                        <a:pt x="3540424" y="951464"/>
                        <a:pt x="3536223" y="953627"/>
                      </a:cubicBezTo>
                      <a:cubicBezTo>
                        <a:pt x="3534080" y="954731"/>
                        <a:pt x="3524393" y="946711"/>
                        <a:pt x="3521564" y="945083"/>
                      </a:cubicBezTo>
                      <a:cubicBezTo>
                        <a:pt x="3515830" y="941768"/>
                        <a:pt x="3511172" y="937929"/>
                        <a:pt x="3506257" y="933405"/>
                      </a:cubicBezTo>
                      <a:cubicBezTo>
                        <a:pt x="3495532" y="923575"/>
                        <a:pt x="3484074" y="912802"/>
                        <a:pt x="3471739" y="905173"/>
                      </a:cubicBezTo>
                      <a:cubicBezTo>
                        <a:pt x="3446517" y="889561"/>
                        <a:pt x="3424333" y="869540"/>
                        <a:pt x="3400311" y="851995"/>
                      </a:cubicBezTo>
                      <a:cubicBezTo>
                        <a:pt x="3376270" y="834421"/>
                        <a:pt x="3352905" y="816705"/>
                        <a:pt x="3333388" y="794016"/>
                      </a:cubicBezTo>
                      <a:cubicBezTo>
                        <a:pt x="3328797" y="788663"/>
                        <a:pt x="3319968" y="780834"/>
                        <a:pt x="3317529" y="774261"/>
                      </a:cubicBezTo>
                      <a:cubicBezTo>
                        <a:pt x="3315338" y="768337"/>
                        <a:pt x="3320253" y="763250"/>
                        <a:pt x="3317643" y="756592"/>
                      </a:cubicBezTo>
                      <a:cubicBezTo>
                        <a:pt x="3314291" y="748039"/>
                        <a:pt x="3307661" y="747572"/>
                        <a:pt x="3301889" y="742219"/>
                      </a:cubicBezTo>
                      <a:cubicBezTo>
                        <a:pt x="3294802" y="735647"/>
                        <a:pt x="3307947" y="740895"/>
                        <a:pt x="3313119" y="739390"/>
                      </a:cubicBezTo>
                      <a:cubicBezTo>
                        <a:pt x="3312148" y="737076"/>
                        <a:pt x="3311195" y="734761"/>
                        <a:pt x="3310223" y="732447"/>
                      </a:cubicBezTo>
                      <a:cubicBezTo>
                        <a:pt x="3314986" y="733037"/>
                        <a:pt x="3321073" y="731665"/>
                        <a:pt x="3325292" y="732789"/>
                      </a:cubicBezTo>
                      <a:cubicBezTo>
                        <a:pt x="3321339" y="728456"/>
                        <a:pt x="3325864" y="725274"/>
                        <a:pt x="3327207" y="721198"/>
                      </a:cubicBezTo>
                      <a:cubicBezTo>
                        <a:pt x="3328578" y="717045"/>
                        <a:pt x="3328816" y="712282"/>
                        <a:pt x="3327321" y="707758"/>
                      </a:cubicBezTo>
                      <a:cubicBezTo>
                        <a:pt x="3326349" y="704824"/>
                        <a:pt x="3323349" y="702548"/>
                        <a:pt x="3322453" y="699595"/>
                      </a:cubicBezTo>
                      <a:cubicBezTo>
                        <a:pt x="3321434" y="696204"/>
                        <a:pt x="3322396" y="696032"/>
                        <a:pt x="3322463" y="692127"/>
                      </a:cubicBezTo>
                      <a:cubicBezTo>
                        <a:pt x="3322492" y="690765"/>
                        <a:pt x="3321844" y="685755"/>
                        <a:pt x="3322130" y="684964"/>
                      </a:cubicBezTo>
                      <a:cubicBezTo>
                        <a:pt x="3322844" y="683002"/>
                        <a:pt x="3325768" y="682697"/>
                        <a:pt x="3326283" y="681297"/>
                      </a:cubicBezTo>
                      <a:cubicBezTo>
                        <a:pt x="3327044" y="679221"/>
                        <a:pt x="3326254" y="676173"/>
                        <a:pt x="3326273" y="674049"/>
                      </a:cubicBezTo>
                      <a:cubicBezTo>
                        <a:pt x="3326283" y="672591"/>
                        <a:pt x="3325130" y="671125"/>
                        <a:pt x="3325102" y="669667"/>
                      </a:cubicBezTo>
                      <a:cubicBezTo>
                        <a:pt x="3325082" y="668524"/>
                        <a:pt x="3326835" y="667267"/>
                        <a:pt x="3326740" y="666305"/>
                      </a:cubicBezTo>
                      <a:cubicBezTo>
                        <a:pt x="3326397" y="662990"/>
                        <a:pt x="3322149" y="657932"/>
                        <a:pt x="3323092" y="654827"/>
                      </a:cubicBezTo>
                      <a:cubicBezTo>
                        <a:pt x="3323396" y="653827"/>
                        <a:pt x="3331941" y="645579"/>
                        <a:pt x="3332398" y="645350"/>
                      </a:cubicBezTo>
                      <a:cubicBezTo>
                        <a:pt x="3337312" y="642940"/>
                        <a:pt x="3339465" y="645407"/>
                        <a:pt x="3343552" y="641187"/>
                      </a:cubicBezTo>
                      <a:cubicBezTo>
                        <a:pt x="3340237" y="639749"/>
                        <a:pt x="3335722" y="638921"/>
                        <a:pt x="3333960" y="635501"/>
                      </a:cubicBezTo>
                      <a:cubicBezTo>
                        <a:pt x="3332426" y="632529"/>
                        <a:pt x="3335817" y="630596"/>
                        <a:pt x="3332569" y="627033"/>
                      </a:cubicBezTo>
                      <a:cubicBezTo>
                        <a:pt x="3330264" y="624509"/>
                        <a:pt x="3326082" y="624957"/>
                        <a:pt x="3323463" y="623233"/>
                      </a:cubicBezTo>
                      <a:cubicBezTo>
                        <a:pt x="3319729" y="620785"/>
                        <a:pt x="3319682" y="617299"/>
                        <a:pt x="3317510" y="614394"/>
                      </a:cubicBezTo>
                      <a:cubicBezTo>
                        <a:pt x="3313957" y="609612"/>
                        <a:pt x="3299603" y="602916"/>
                        <a:pt x="3300241" y="596144"/>
                      </a:cubicBezTo>
                      <a:cubicBezTo>
                        <a:pt x="3300898" y="589019"/>
                        <a:pt x="3316196" y="593448"/>
                        <a:pt x="3320377" y="595287"/>
                      </a:cubicBezTo>
                      <a:cubicBezTo>
                        <a:pt x="3319387" y="594620"/>
                        <a:pt x="3318577" y="593639"/>
                        <a:pt x="3317519" y="592953"/>
                      </a:cubicBezTo>
                      <a:cubicBezTo>
                        <a:pt x="3319044" y="592982"/>
                        <a:pt x="3320491" y="592591"/>
                        <a:pt x="3322263" y="592991"/>
                      </a:cubicBezTo>
                      <a:cubicBezTo>
                        <a:pt x="3316729" y="588971"/>
                        <a:pt x="3303032" y="588810"/>
                        <a:pt x="3295917" y="586647"/>
                      </a:cubicBezTo>
                      <a:cubicBezTo>
                        <a:pt x="3286439" y="583761"/>
                        <a:pt x="3279382" y="586943"/>
                        <a:pt x="3270066" y="589714"/>
                      </a:cubicBezTo>
                      <a:cubicBezTo>
                        <a:pt x="3271266" y="592858"/>
                        <a:pt x="3273742" y="592734"/>
                        <a:pt x="3275876" y="594991"/>
                      </a:cubicBezTo>
                      <a:cubicBezTo>
                        <a:pt x="3277077" y="596258"/>
                        <a:pt x="3276848" y="597925"/>
                        <a:pt x="3278191" y="599335"/>
                      </a:cubicBezTo>
                      <a:cubicBezTo>
                        <a:pt x="3282153" y="603478"/>
                        <a:pt x="3287058" y="609736"/>
                        <a:pt x="3291764" y="612813"/>
                      </a:cubicBezTo>
                      <a:cubicBezTo>
                        <a:pt x="3294631" y="614689"/>
                        <a:pt x="3304127" y="614517"/>
                        <a:pt x="3303032" y="619937"/>
                      </a:cubicBezTo>
                      <a:cubicBezTo>
                        <a:pt x="3302337" y="623366"/>
                        <a:pt x="3293031" y="616375"/>
                        <a:pt x="3289935" y="616165"/>
                      </a:cubicBezTo>
                      <a:cubicBezTo>
                        <a:pt x="3290230" y="616851"/>
                        <a:pt x="3290497" y="617165"/>
                        <a:pt x="3291012" y="618013"/>
                      </a:cubicBezTo>
                      <a:cubicBezTo>
                        <a:pt x="3282925" y="617537"/>
                        <a:pt x="3283953" y="618299"/>
                        <a:pt x="3282487" y="625938"/>
                      </a:cubicBezTo>
                      <a:cubicBezTo>
                        <a:pt x="3281287" y="632263"/>
                        <a:pt x="3276781" y="640302"/>
                        <a:pt x="3280953" y="646341"/>
                      </a:cubicBezTo>
                      <a:cubicBezTo>
                        <a:pt x="3273038" y="646474"/>
                        <a:pt x="3272647" y="651884"/>
                        <a:pt x="3266932" y="645474"/>
                      </a:cubicBezTo>
                      <a:cubicBezTo>
                        <a:pt x="3264646" y="642892"/>
                        <a:pt x="3263008" y="638540"/>
                        <a:pt x="3259874" y="637416"/>
                      </a:cubicBezTo>
                      <a:cubicBezTo>
                        <a:pt x="3255493" y="635834"/>
                        <a:pt x="3253569" y="640616"/>
                        <a:pt x="3251616" y="640159"/>
                      </a:cubicBezTo>
                      <a:cubicBezTo>
                        <a:pt x="3248797" y="639492"/>
                        <a:pt x="3248502" y="635958"/>
                        <a:pt x="3246596" y="634015"/>
                      </a:cubicBezTo>
                      <a:cubicBezTo>
                        <a:pt x="3244006" y="631367"/>
                        <a:pt x="3240996" y="630510"/>
                        <a:pt x="3239062" y="627624"/>
                      </a:cubicBezTo>
                      <a:cubicBezTo>
                        <a:pt x="3235700" y="622595"/>
                        <a:pt x="3233004" y="611593"/>
                        <a:pt x="3225622" y="610279"/>
                      </a:cubicBezTo>
                      <a:cubicBezTo>
                        <a:pt x="3221413" y="609526"/>
                        <a:pt x="3221393" y="613451"/>
                        <a:pt x="3217812" y="614689"/>
                      </a:cubicBezTo>
                      <a:cubicBezTo>
                        <a:pt x="3214259" y="615918"/>
                        <a:pt x="3211801" y="614365"/>
                        <a:pt x="3208182" y="612746"/>
                      </a:cubicBezTo>
                      <a:cubicBezTo>
                        <a:pt x="3198962" y="608593"/>
                        <a:pt x="3195895" y="610793"/>
                        <a:pt x="3186722" y="612860"/>
                      </a:cubicBezTo>
                      <a:cubicBezTo>
                        <a:pt x="3184103" y="613451"/>
                        <a:pt x="3181388" y="614527"/>
                        <a:pt x="3178788" y="614698"/>
                      </a:cubicBezTo>
                      <a:cubicBezTo>
                        <a:pt x="3174330" y="614994"/>
                        <a:pt x="3169387" y="612041"/>
                        <a:pt x="3164824" y="613441"/>
                      </a:cubicBezTo>
                      <a:cubicBezTo>
                        <a:pt x="3163205" y="613936"/>
                        <a:pt x="3160338" y="617375"/>
                        <a:pt x="3159624" y="619061"/>
                      </a:cubicBezTo>
                      <a:cubicBezTo>
                        <a:pt x="3157480" y="624081"/>
                        <a:pt x="3158738" y="622109"/>
                        <a:pt x="3161062" y="626690"/>
                      </a:cubicBezTo>
                      <a:cubicBezTo>
                        <a:pt x="3162557" y="629653"/>
                        <a:pt x="3163557" y="628662"/>
                        <a:pt x="3163700" y="631567"/>
                      </a:cubicBezTo>
                      <a:cubicBezTo>
                        <a:pt x="3163757" y="632767"/>
                        <a:pt x="3161967" y="634568"/>
                        <a:pt x="3161834" y="636206"/>
                      </a:cubicBezTo>
                      <a:cubicBezTo>
                        <a:pt x="3161443" y="640835"/>
                        <a:pt x="3165615" y="643988"/>
                        <a:pt x="3165158" y="648598"/>
                      </a:cubicBezTo>
                      <a:cubicBezTo>
                        <a:pt x="3164682" y="653360"/>
                        <a:pt x="3159852" y="655989"/>
                        <a:pt x="3159319" y="660552"/>
                      </a:cubicBezTo>
                      <a:cubicBezTo>
                        <a:pt x="3158690" y="665876"/>
                        <a:pt x="3161977" y="669667"/>
                        <a:pt x="3164710" y="673725"/>
                      </a:cubicBezTo>
                      <a:cubicBezTo>
                        <a:pt x="3161176" y="675592"/>
                        <a:pt x="3167348" y="679830"/>
                        <a:pt x="3169263" y="681735"/>
                      </a:cubicBezTo>
                      <a:cubicBezTo>
                        <a:pt x="3173825" y="686298"/>
                        <a:pt x="3173235" y="685441"/>
                        <a:pt x="3179083" y="685479"/>
                      </a:cubicBezTo>
                      <a:cubicBezTo>
                        <a:pt x="3190018" y="685545"/>
                        <a:pt x="3198352" y="688832"/>
                        <a:pt x="3207239" y="695575"/>
                      </a:cubicBezTo>
                      <a:cubicBezTo>
                        <a:pt x="3203829" y="695290"/>
                        <a:pt x="3200057" y="697042"/>
                        <a:pt x="3197819" y="697023"/>
                      </a:cubicBezTo>
                      <a:cubicBezTo>
                        <a:pt x="3195562" y="697014"/>
                        <a:pt x="3192390" y="694442"/>
                        <a:pt x="3190180" y="694918"/>
                      </a:cubicBezTo>
                      <a:cubicBezTo>
                        <a:pt x="3188799" y="695213"/>
                        <a:pt x="3188799" y="697433"/>
                        <a:pt x="3188484" y="697518"/>
                      </a:cubicBezTo>
                      <a:cubicBezTo>
                        <a:pt x="3180512" y="699671"/>
                        <a:pt x="3172615" y="694413"/>
                        <a:pt x="3163491" y="694794"/>
                      </a:cubicBezTo>
                      <a:cubicBezTo>
                        <a:pt x="3164482" y="695899"/>
                        <a:pt x="3164843" y="697595"/>
                        <a:pt x="3165853" y="698680"/>
                      </a:cubicBezTo>
                      <a:cubicBezTo>
                        <a:pt x="3161795" y="697718"/>
                        <a:pt x="3162977" y="700547"/>
                        <a:pt x="3161786" y="701233"/>
                      </a:cubicBezTo>
                      <a:cubicBezTo>
                        <a:pt x="3158547" y="703110"/>
                        <a:pt x="3164196" y="702995"/>
                        <a:pt x="3157557" y="703433"/>
                      </a:cubicBezTo>
                      <a:cubicBezTo>
                        <a:pt x="3152337" y="703786"/>
                        <a:pt x="3147870" y="698766"/>
                        <a:pt x="3142831" y="701643"/>
                      </a:cubicBezTo>
                      <a:cubicBezTo>
                        <a:pt x="3143250" y="702557"/>
                        <a:pt x="3143670" y="703462"/>
                        <a:pt x="3144088" y="704376"/>
                      </a:cubicBezTo>
                      <a:cubicBezTo>
                        <a:pt x="3131792" y="706605"/>
                        <a:pt x="3125810" y="704767"/>
                        <a:pt x="3114875" y="698957"/>
                      </a:cubicBezTo>
                      <a:cubicBezTo>
                        <a:pt x="3121943" y="696052"/>
                        <a:pt x="3130582" y="698861"/>
                        <a:pt x="3136973" y="694518"/>
                      </a:cubicBezTo>
                      <a:cubicBezTo>
                        <a:pt x="3132506" y="692261"/>
                        <a:pt x="3128305" y="692870"/>
                        <a:pt x="3123638" y="691699"/>
                      </a:cubicBezTo>
                      <a:cubicBezTo>
                        <a:pt x="3117894" y="690260"/>
                        <a:pt x="3112808" y="686641"/>
                        <a:pt x="3107169" y="684898"/>
                      </a:cubicBezTo>
                      <a:cubicBezTo>
                        <a:pt x="3101892" y="683269"/>
                        <a:pt x="3097530" y="683698"/>
                        <a:pt x="3094158" y="684698"/>
                      </a:cubicBezTo>
                      <a:cubicBezTo>
                        <a:pt x="3094844" y="684498"/>
                        <a:pt x="3093587" y="686384"/>
                        <a:pt x="3092406" y="686850"/>
                      </a:cubicBezTo>
                      <a:cubicBezTo>
                        <a:pt x="3090853" y="687450"/>
                        <a:pt x="3087120" y="685555"/>
                        <a:pt x="3085034" y="685984"/>
                      </a:cubicBezTo>
                      <a:cubicBezTo>
                        <a:pt x="3085757" y="685383"/>
                        <a:pt x="3086024" y="684669"/>
                        <a:pt x="3087196" y="684031"/>
                      </a:cubicBezTo>
                      <a:cubicBezTo>
                        <a:pt x="3078909" y="682926"/>
                        <a:pt x="3050229" y="670839"/>
                        <a:pt x="3046552" y="681697"/>
                      </a:cubicBezTo>
                      <a:cubicBezTo>
                        <a:pt x="3049229" y="683355"/>
                        <a:pt x="3052115" y="684698"/>
                        <a:pt x="3054887" y="686174"/>
                      </a:cubicBezTo>
                      <a:cubicBezTo>
                        <a:pt x="3050896" y="686898"/>
                        <a:pt x="3047314" y="686574"/>
                        <a:pt x="3043647" y="684783"/>
                      </a:cubicBezTo>
                      <a:cubicBezTo>
                        <a:pt x="3045266" y="692156"/>
                        <a:pt x="3052610" y="686507"/>
                        <a:pt x="3055220" y="692651"/>
                      </a:cubicBezTo>
                      <a:cubicBezTo>
                        <a:pt x="3047771" y="695023"/>
                        <a:pt x="3044019" y="691175"/>
                        <a:pt x="3037161" y="689460"/>
                      </a:cubicBezTo>
                      <a:cubicBezTo>
                        <a:pt x="3029264" y="687479"/>
                        <a:pt x="3027436" y="692022"/>
                        <a:pt x="3021235" y="692851"/>
                      </a:cubicBezTo>
                      <a:cubicBezTo>
                        <a:pt x="3016387" y="693499"/>
                        <a:pt x="3006757" y="690613"/>
                        <a:pt x="3001537" y="689708"/>
                      </a:cubicBezTo>
                      <a:cubicBezTo>
                        <a:pt x="2993260" y="688270"/>
                        <a:pt x="2989688" y="684564"/>
                        <a:pt x="2994517" y="694575"/>
                      </a:cubicBezTo>
                      <a:cubicBezTo>
                        <a:pt x="2989231" y="698490"/>
                        <a:pt x="2984868" y="693194"/>
                        <a:pt x="2980173" y="691118"/>
                      </a:cubicBezTo>
                      <a:cubicBezTo>
                        <a:pt x="2974229" y="688489"/>
                        <a:pt x="2968914" y="688612"/>
                        <a:pt x="2962552" y="688908"/>
                      </a:cubicBezTo>
                      <a:cubicBezTo>
                        <a:pt x="2956398" y="689194"/>
                        <a:pt x="2950245" y="689813"/>
                        <a:pt x="2944092" y="689451"/>
                      </a:cubicBezTo>
                      <a:cubicBezTo>
                        <a:pt x="2936853" y="689032"/>
                        <a:pt x="2932176" y="689727"/>
                        <a:pt x="2925242" y="690613"/>
                      </a:cubicBezTo>
                      <a:cubicBezTo>
                        <a:pt x="2918251" y="691508"/>
                        <a:pt x="2914536" y="689432"/>
                        <a:pt x="2907897" y="693251"/>
                      </a:cubicBezTo>
                      <a:cubicBezTo>
                        <a:pt x="2899962" y="697814"/>
                        <a:pt x="2902487" y="700814"/>
                        <a:pt x="2902582" y="708691"/>
                      </a:cubicBezTo>
                      <a:cubicBezTo>
                        <a:pt x="2902677" y="715759"/>
                        <a:pt x="2897819" y="715073"/>
                        <a:pt x="2895334" y="719893"/>
                      </a:cubicBezTo>
                      <a:cubicBezTo>
                        <a:pt x="2891352" y="727608"/>
                        <a:pt x="2901277" y="730237"/>
                        <a:pt x="2901268" y="736799"/>
                      </a:cubicBezTo>
                      <a:cubicBezTo>
                        <a:pt x="2901268" y="739790"/>
                        <a:pt x="2900858" y="737390"/>
                        <a:pt x="2899782" y="740286"/>
                      </a:cubicBezTo>
                      <a:cubicBezTo>
                        <a:pt x="2899248" y="741724"/>
                        <a:pt x="2896410" y="741695"/>
                        <a:pt x="2895553" y="742991"/>
                      </a:cubicBezTo>
                      <a:cubicBezTo>
                        <a:pt x="2895267" y="743429"/>
                        <a:pt x="2896410" y="745848"/>
                        <a:pt x="2896334" y="746001"/>
                      </a:cubicBezTo>
                      <a:cubicBezTo>
                        <a:pt x="2895477" y="747753"/>
                        <a:pt x="2895019" y="749963"/>
                        <a:pt x="2893895" y="751668"/>
                      </a:cubicBezTo>
                      <a:cubicBezTo>
                        <a:pt x="2893219" y="752706"/>
                        <a:pt x="2889847" y="755383"/>
                        <a:pt x="2889371" y="756250"/>
                      </a:cubicBezTo>
                      <a:cubicBezTo>
                        <a:pt x="2888837" y="757240"/>
                        <a:pt x="2889209" y="761488"/>
                        <a:pt x="2888857" y="762803"/>
                      </a:cubicBezTo>
                      <a:cubicBezTo>
                        <a:pt x="2887961" y="766146"/>
                        <a:pt x="2886409" y="766717"/>
                        <a:pt x="2886209" y="770909"/>
                      </a:cubicBezTo>
                      <a:cubicBezTo>
                        <a:pt x="2885913" y="777081"/>
                        <a:pt x="2889628" y="780910"/>
                        <a:pt x="2888780" y="787053"/>
                      </a:cubicBezTo>
                      <a:cubicBezTo>
                        <a:pt x="2887371" y="797140"/>
                        <a:pt x="2879417" y="803617"/>
                        <a:pt x="2875484" y="812866"/>
                      </a:cubicBezTo>
                      <a:cubicBezTo>
                        <a:pt x="2874045" y="816257"/>
                        <a:pt x="2875893" y="816829"/>
                        <a:pt x="2872959" y="820286"/>
                      </a:cubicBezTo>
                      <a:cubicBezTo>
                        <a:pt x="2871588" y="821896"/>
                        <a:pt x="2868197" y="822982"/>
                        <a:pt x="2867397" y="824334"/>
                      </a:cubicBezTo>
                      <a:cubicBezTo>
                        <a:pt x="2864330" y="829497"/>
                        <a:pt x="2867425" y="833564"/>
                        <a:pt x="2872207" y="836021"/>
                      </a:cubicBezTo>
                      <a:cubicBezTo>
                        <a:pt x="2876836" y="838403"/>
                        <a:pt x="2886437" y="840231"/>
                        <a:pt x="2891323" y="840632"/>
                      </a:cubicBezTo>
                      <a:cubicBezTo>
                        <a:pt x="2897800" y="841165"/>
                        <a:pt x="2906364" y="837564"/>
                        <a:pt x="2912717" y="839422"/>
                      </a:cubicBezTo>
                      <a:cubicBezTo>
                        <a:pt x="2924375" y="842822"/>
                        <a:pt x="2926871" y="863358"/>
                        <a:pt x="2939530" y="865920"/>
                      </a:cubicBezTo>
                      <a:cubicBezTo>
                        <a:pt x="2940863" y="863053"/>
                        <a:pt x="2943845" y="863634"/>
                        <a:pt x="2947150" y="864673"/>
                      </a:cubicBezTo>
                      <a:cubicBezTo>
                        <a:pt x="2944806" y="860520"/>
                        <a:pt x="2943378" y="859872"/>
                        <a:pt x="2940406" y="857262"/>
                      </a:cubicBezTo>
                      <a:cubicBezTo>
                        <a:pt x="2937625" y="854824"/>
                        <a:pt x="2933329" y="854300"/>
                        <a:pt x="2938282" y="850576"/>
                      </a:cubicBezTo>
                      <a:cubicBezTo>
                        <a:pt x="2943387" y="846727"/>
                        <a:pt x="2949683" y="853366"/>
                        <a:pt x="2943244" y="855891"/>
                      </a:cubicBezTo>
                      <a:cubicBezTo>
                        <a:pt x="2946673" y="857338"/>
                        <a:pt x="2957103" y="858577"/>
                        <a:pt x="2959389" y="860615"/>
                      </a:cubicBezTo>
                      <a:cubicBezTo>
                        <a:pt x="2961875" y="862815"/>
                        <a:pt x="2958218" y="861672"/>
                        <a:pt x="2958274" y="863920"/>
                      </a:cubicBezTo>
                      <a:cubicBezTo>
                        <a:pt x="2958313" y="865225"/>
                        <a:pt x="2959970" y="867006"/>
                        <a:pt x="2959684" y="868273"/>
                      </a:cubicBezTo>
                      <a:cubicBezTo>
                        <a:pt x="2959580" y="868778"/>
                        <a:pt x="2956760" y="870264"/>
                        <a:pt x="2956884" y="870645"/>
                      </a:cubicBezTo>
                      <a:cubicBezTo>
                        <a:pt x="2958141" y="874455"/>
                        <a:pt x="2962732" y="874121"/>
                        <a:pt x="2968114" y="873007"/>
                      </a:cubicBezTo>
                      <a:cubicBezTo>
                        <a:pt x="2970305" y="872550"/>
                        <a:pt x="2972572" y="872435"/>
                        <a:pt x="2974324" y="870921"/>
                      </a:cubicBezTo>
                      <a:cubicBezTo>
                        <a:pt x="2979201" y="866730"/>
                        <a:pt x="2974267" y="867749"/>
                        <a:pt x="2975905" y="863787"/>
                      </a:cubicBezTo>
                      <a:cubicBezTo>
                        <a:pt x="2977039" y="861034"/>
                        <a:pt x="2979506" y="857967"/>
                        <a:pt x="2982649" y="864758"/>
                      </a:cubicBezTo>
                      <a:cubicBezTo>
                        <a:pt x="2983164" y="865863"/>
                        <a:pt x="2982478" y="879817"/>
                        <a:pt x="2988326" y="873636"/>
                      </a:cubicBezTo>
                      <a:cubicBezTo>
                        <a:pt x="2993079" y="868606"/>
                        <a:pt x="2974029" y="851519"/>
                        <a:pt x="2970057" y="849661"/>
                      </a:cubicBezTo>
                      <a:cubicBezTo>
                        <a:pt x="2974248" y="848537"/>
                        <a:pt x="2980659" y="852157"/>
                        <a:pt x="2985735" y="852442"/>
                      </a:cubicBezTo>
                      <a:cubicBezTo>
                        <a:pt x="2991650" y="852785"/>
                        <a:pt x="2995603" y="850490"/>
                        <a:pt x="3001337" y="851776"/>
                      </a:cubicBezTo>
                      <a:cubicBezTo>
                        <a:pt x="3012672" y="854328"/>
                        <a:pt x="3021607" y="861958"/>
                        <a:pt x="3031732" y="866892"/>
                      </a:cubicBezTo>
                      <a:cubicBezTo>
                        <a:pt x="3041952" y="871864"/>
                        <a:pt x="3052905" y="875779"/>
                        <a:pt x="3063449" y="879732"/>
                      </a:cubicBezTo>
                      <a:cubicBezTo>
                        <a:pt x="3066774" y="880979"/>
                        <a:pt x="3073089" y="881598"/>
                        <a:pt x="3073841" y="886113"/>
                      </a:cubicBezTo>
                      <a:cubicBezTo>
                        <a:pt x="3075003" y="893029"/>
                        <a:pt x="3066336" y="887923"/>
                        <a:pt x="3062250" y="887780"/>
                      </a:cubicBezTo>
                      <a:cubicBezTo>
                        <a:pt x="3068631" y="892114"/>
                        <a:pt x="3076756" y="893257"/>
                        <a:pt x="3082671" y="897782"/>
                      </a:cubicBezTo>
                      <a:cubicBezTo>
                        <a:pt x="3089501" y="903011"/>
                        <a:pt x="3089339" y="908830"/>
                        <a:pt x="3097464" y="912450"/>
                      </a:cubicBezTo>
                      <a:cubicBezTo>
                        <a:pt x="3104360" y="915527"/>
                        <a:pt x="3109265" y="918375"/>
                        <a:pt x="3110998" y="925509"/>
                      </a:cubicBezTo>
                      <a:cubicBezTo>
                        <a:pt x="3111694" y="928385"/>
                        <a:pt x="3109284" y="932081"/>
                        <a:pt x="3109751" y="934329"/>
                      </a:cubicBezTo>
                      <a:cubicBezTo>
                        <a:pt x="3110208" y="936510"/>
                        <a:pt x="3113609" y="943101"/>
                        <a:pt x="3114828" y="945340"/>
                      </a:cubicBezTo>
                      <a:cubicBezTo>
                        <a:pt x="3122619" y="959637"/>
                        <a:pt x="3133554" y="969667"/>
                        <a:pt x="3144841" y="981278"/>
                      </a:cubicBezTo>
                      <a:cubicBezTo>
                        <a:pt x="3151975" y="988612"/>
                        <a:pt x="3160024" y="999404"/>
                        <a:pt x="3166472" y="1009595"/>
                      </a:cubicBezTo>
                      <a:cubicBezTo>
                        <a:pt x="3168044" y="1012072"/>
                        <a:pt x="3170044" y="1013967"/>
                        <a:pt x="3171682" y="1016225"/>
                      </a:cubicBezTo>
                      <a:cubicBezTo>
                        <a:pt x="3173721" y="1019035"/>
                        <a:pt x="3174549" y="1020787"/>
                        <a:pt x="3176311" y="1024321"/>
                      </a:cubicBezTo>
                      <a:cubicBezTo>
                        <a:pt x="3178198" y="1028112"/>
                        <a:pt x="3182807" y="1031008"/>
                        <a:pt x="3183103" y="1035561"/>
                      </a:cubicBezTo>
                      <a:cubicBezTo>
                        <a:pt x="3183293" y="1038428"/>
                        <a:pt x="3181474" y="1043343"/>
                        <a:pt x="3180864" y="1046229"/>
                      </a:cubicBezTo>
                      <a:cubicBezTo>
                        <a:pt x="3179017" y="1054925"/>
                        <a:pt x="3182883" y="1059868"/>
                        <a:pt x="3183207" y="1068308"/>
                      </a:cubicBezTo>
                      <a:cubicBezTo>
                        <a:pt x="3183389" y="1073080"/>
                        <a:pt x="3181674" y="1076347"/>
                        <a:pt x="3182703" y="1081043"/>
                      </a:cubicBezTo>
                      <a:cubicBezTo>
                        <a:pt x="3183560" y="1084891"/>
                        <a:pt x="3186627" y="1088148"/>
                        <a:pt x="3187799" y="1091758"/>
                      </a:cubicBezTo>
                      <a:cubicBezTo>
                        <a:pt x="3189866" y="1098149"/>
                        <a:pt x="3191209" y="1105503"/>
                        <a:pt x="3190904" y="1113275"/>
                      </a:cubicBezTo>
                      <a:cubicBezTo>
                        <a:pt x="3190628" y="1120657"/>
                        <a:pt x="3188294" y="1127458"/>
                        <a:pt x="3186561" y="1134773"/>
                      </a:cubicBezTo>
                      <a:cubicBezTo>
                        <a:pt x="3185694" y="1138440"/>
                        <a:pt x="3185884" y="1141860"/>
                        <a:pt x="3185379" y="1145746"/>
                      </a:cubicBezTo>
                      <a:cubicBezTo>
                        <a:pt x="3185170" y="1147460"/>
                        <a:pt x="3184322" y="1150175"/>
                        <a:pt x="3184389" y="1151756"/>
                      </a:cubicBezTo>
                      <a:cubicBezTo>
                        <a:pt x="3184427" y="1152709"/>
                        <a:pt x="3185741" y="1155747"/>
                        <a:pt x="3185570" y="1156376"/>
                      </a:cubicBezTo>
                      <a:cubicBezTo>
                        <a:pt x="3184722" y="1159424"/>
                        <a:pt x="3182474" y="1160224"/>
                        <a:pt x="3181598" y="1163481"/>
                      </a:cubicBezTo>
                      <a:cubicBezTo>
                        <a:pt x="3180617" y="1167082"/>
                        <a:pt x="3182750" y="1172416"/>
                        <a:pt x="3183055" y="1176150"/>
                      </a:cubicBezTo>
                      <a:cubicBezTo>
                        <a:pt x="3183808" y="1185227"/>
                        <a:pt x="3182474" y="1190380"/>
                        <a:pt x="3175597" y="1198010"/>
                      </a:cubicBezTo>
                      <a:cubicBezTo>
                        <a:pt x="3168482" y="1205896"/>
                        <a:pt x="3163557" y="1210306"/>
                        <a:pt x="3153375" y="1213021"/>
                      </a:cubicBezTo>
                      <a:cubicBezTo>
                        <a:pt x="3146517" y="1214850"/>
                        <a:pt x="3140355" y="1211440"/>
                        <a:pt x="3132830" y="1209497"/>
                      </a:cubicBezTo>
                      <a:cubicBezTo>
                        <a:pt x="3129877" y="1208735"/>
                        <a:pt x="3124171" y="1209773"/>
                        <a:pt x="3122095" y="1208630"/>
                      </a:cubicBezTo>
                      <a:cubicBezTo>
                        <a:pt x="3118000" y="1206382"/>
                        <a:pt x="3115732" y="1198933"/>
                        <a:pt x="3111903" y="1195695"/>
                      </a:cubicBezTo>
                      <a:cubicBezTo>
                        <a:pt x="3111599" y="1197838"/>
                        <a:pt x="3110503" y="1201458"/>
                        <a:pt x="3108284" y="1202191"/>
                      </a:cubicBezTo>
                      <a:cubicBezTo>
                        <a:pt x="3103912" y="1203639"/>
                        <a:pt x="3106312" y="1200734"/>
                        <a:pt x="3104369" y="1199333"/>
                      </a:cubicBezTo>
                      <a:cubicBezTo>
                        <a:pt x="3103141" y="1198448"/>
                        <a:pt x="3105360" y="1196057"/>
                        <a:pt x="3102112" y="1196057"/>
                      </a:cubicBezTo>
                      <a:cubicBezTo>
                        <a:pt x="3098540" y="1196066"/>
                        <a:pt x="3098826" y="1200200"/>
                        <a:pt x="3098426" y="1202429"/>
                      </a:cubicBezTo>
                      <a:cubicBezTo>
                        <a:pt x="3097768" y="1206039"/>
                        <a:pt x="3100245" y="1213735"/>
                        <a:pt x="3097797" y="1216221"/>
                      </a:cubicBezTo>
                      <a:cubicBezTo>
                        <a:pt x="3095130" y="1218926"/>
                        <a:pt x="3088205" y="1215250"/>
                        <a:pt x="3084471" y="1216393"/>
                      </a:cubicBezTo>
                      <a:cubicBezTo>
                        <a:pt x="3086843" y="1217888"/>
                        <a:pt x="3097540" y="1226966"/>
                        <a:pt x="3091034" y="1226737"/>
                      </a:cubicBezTo>
                      <a:cubicBezTo>
                        <a:pt x="3086805" y="1226585"/>
                        <a:pt x="3083509" y="1218879"/>
                        <a:pt x="3081643" y="1217431"/>
                      </a:cubicBezTo>
                      <a:cubicBezTo>
                        <a:pt x="3078680" y="1215145"/>
                        <a:pt x="3073165" y="1216183"/>
                        <a:pt x="3076318" y="1212011"/>
                      </a:cubicBezTo>
                      <a:cubicBezTo>
                        <a:pt x="3078709" y="1208849"/>
                        <a:pt x="3085376" y="1210916"/>
                        <a:pt x="3088272" y="1208639"/>
                      </a:cubicBezTo>
                      <a:cubicBezTo>
                        <a:pt x="3084938" y="1204344"/>
                        <a:pt x="3085310" y="1199095"/>
                        <a:pt x="3082081" y="1194609"/>
                      </a:cubicBezTo>
                      <a:cubicBezTo>
                        <a:pt x="3079071" y="1190437"/>
                        <a:pt x="3074946" y="1188094"/>
                        <a:pt x="3071689" y="1183789"/>
                      </a:cubicBezTo>
                      <a:cubicBezTo>
                        <a:pt x="3066964" y="1177550"/>
                        <a:pt x="3064222" y="1171711"/>
                        <a:pt x="3058545" y="1166444"/>
                      </a:cubicBezTo>
                      <a:cubicBezTo>
                        <a:pt x="3052963" y="1161262"/>
                        <a:pt x="3045895" y="1156309"/>
                        <a:pt x="3040828" y="1150727"/>
                      </a:cubicBezTo>
                      <a:cubicBezTo>
                        <a:pt x="3034151" y="1143384"/>
                        <a:pt x="3041047" y="1147965"/>
                        <a:pt x="3045524" y="1143460"/>
                      </a:cubicBezTo>
                      <a:cubicBezTo>
                        <a:pt x="3048191" y="1140764"/>
                        <a:pt x="3045076" y="1133573"/>
                        <a:pt x="3048467" y="1132297"/>
                      </a:cubicBezTo>
                      <a:cubicBezTo>
                        <a:pt x="3050306" y="1131601"/>
                        <a:pt x="3065507" y="1137288"/>
                        <a:pt x="3068489" y="1137926"/>
                      </a:cubicBezTo>
                      <a:cubicBezTo>
                        <a:pt x="3071184" y="1138507"/>
                        <a:pt x="3082890" y="1142746"/>
                        <a:pt x="3085176" y="1141536"/>
                      </a:cubicBezTo>
                      <a:cubicBezTo>
                        <a:pt x="3090672" y="1138621"/>
                        <a:pt x="3079700" y="1131277"/>
                        <a:pt x="3080061" y="1126572"/>
                      </a:cubicBezTo>
                      <a:cubicBezTo>
                        <a:pt x="3080157" y="1125343"/>
                        <a:pt x="3083519" y="1124705"/>
                        <a:pt x="3083433" y="1123800"/>
                      </a:cubicBezTo>
                      <a:cubicBezTo>
                        <a:pt x="3083224" y="1121448"/>
                        <a:pt x="3080909" y="1120266"/>
                        <a:pt x="3080137" y="1117847"/>
                      </a:cubicBezTo>
                      <a:cubicBezTo>
                        <a:pt x="3079423" y="1115580"/>
                        <a:pt x="3080385" y="1114113"/>
                        <a:pt x="3080071" y="1113008"/>
                      </a:cubicBezTo>
                      <a:cubicBezTo>
                        <a:pt x="3079309" y="1110418"/>
                        <a:pt x="3077489" y="1108274"/>
                        <a:pt x="3076728" y="1105969"/>
                      </a:cubicBezTo>
                      <a:cubicBezTo>
                        <a:pt x="3076232" y="1104464"/>
                        <a:pt x="3077489" y="1103360"/>
                        <a:pt x="3076546" y="1100931"/>
                      </a:cubicBezTo>
                      <a:cubicBezTo>
                        <a:pt x="3075546" y="1098368"/>
                        <a:pt x="3072737" y="1097235"/>
                        <a:pt x="3071412" y="1094854"/>
                      </a:cubicBezTo>
                      <a:cubicBezTo>
                        <a:pt x="3068736" y="1090015"/>
                        <a:pt x="3066574" y="1084043"/>
                        <a:pt x="3063955" y="1078823"/>
                      </a:cubicBezTo>
                      <a:cubicBezTo>
                        <a:pt x="3062259" y="1075451"/>
                        <a:pt x="3056696" y="1070489"/>
                        <a:pt x="3058335" y="1066403"/>
                      </a:cubicBezTo>
                      <a:cubicBezTo>
                        <a:pt x="3058906" y="1064993"/>
                        <a:pt x="3061993" y="1066212"/>
                        <a:pt x="3062736" y="1064612"/>
                      </a:cubicBezTo>
                      <a:cubicBezTo>
                        <a:pt x="3063697" y="1062516"/>
                        <a:pt x="3063259" y="1059430"/>
                        <a:pt x="3062212" y="1057516"/>
                      </a:cubicBezTo>
                      <a:cubicBezTo>
                        <a:pt x="3059649" y="1052849"/>
                        <a:pt x="3051429" y="1049858"/>
                        <a:pt x="3048105" y="1045524"/>
                      </a:cubicBezTo>
                      <a:cubicBezTo>
                        <a:pt x="3044914" y="1041371"/>
                        <a:pt x="3043343" y="1037913"/>
                        <a:pt x="3036275" y="1036770"/>
                      </a:cubicBezTo>
                      <a:cubicBezTo>
                        <a:pt x="3029027" y="1035599"/>
                        <a:pt x="3025349" y="1039561"/>
                        <a:pt x="3019873" y="1042714"/>
                      </a:cubicBezTo>
                      <a:cubicBezTo>
                        <a:pt x="3014644" y="1045724"/>
                        <a:pt x="3008576" y="1043562"/>
                        <a:pt x="3004347" y="1049705"/>
                      </a:cubicBezTo>
                      <a:cubicBezTo>
                        <a:pt x="3003490" y="1050943"/>
                        <a:pt x="3002528" y="1049019"/>
                        <a:pt x="3001766" y="1050696"/>
                      </a:cubicBezTo>
                      <a:cubicBezTo>
                        <a:pt x="3001337" y="1051639"/>
                        <a:pt x="3003137" y="1054544"/>
                        <a:pt x="3002823" y="1054858"/>
                      </a:cubicBezTo>
                      <a:cubicBezTo>
                        <a:pt x="3000547" y="1057268"/>
                        <a:pt x="2998718" y="1056659"/>
                        <a:pt x="2994327" y="1056906"/>
                      </a:cubicBezTo>
                      <a:cubicBezTo>
                        <a:pt x="2986440" y="1057335"/>
                        <a:pt x="2979953" y="1057011"/>
                        <a:pt x="2972314" y="1056706"/>
                      </a:cubicBezTo>
                      <a:cubicBezTo>
                        <a:pt x="2969228" y="1056582"/>
                        <a:pt x="2966219" y="1058373"/>
                        <a:pt x="2963218" y="1057478"/>
                      </a:cubicBezTo>
                      <a:cubicBezTo>
                        <a:pt x="2960342" y="1056620"/>
                        <a:pt x="2958055" y="1053401"/>
                        <a:pt x="2955551" y="1051686"/>
                      </a:cubicBezTo>
                      <a:cubicBezTo>
                        <a:pt x="2952560" y="1049639"/>
                        <a:pt x="2948873" y="1048496"/>
                        <a:pt x="2946368" y="1045829"/>
                      </a:cubicBezTo>
                      <a:cubicBezTo>
                        <a:pt x="2943663" y="1042952"/>
                        <a:pt x="2943073" y="1039313"/>
                        <a:pt x="2940091" y="1036570"/>
                      </a:cubicBezTo>
                      <a:cubicBezTo>
                        <a:pt x="2937891" y="1034541"/>
                        <a:pt x="2935091" y="1033646"/>
                        <a:pt x="2932605" y="1032074"/>
                      </a:cubicBezTo>
                      <a:cubicBezTo>
                        <a:pt x="2928566" y="1029522"/>
                        <a:pt x="2927890" y="1026579"/>
                        <a:pt x="2924832" y="1023807"/>
                      </a:cubicBezTo>
                      <a:cubicBezTo>
                        <a:pt x="2919641" y="1019101"/>
                        <a:pt x="2909954" y="1020178"/>
                        <a:pt x="2903316" y="1016892"/>
                      </a:cubicBezTo>
                      <a:cubicBezTo>
                        <a:pt x="2896334" y="1013444"/>
                        <a:pt x="2890123" y="1009700"/>
                        <a:pt x="2882960" y="1006967"/>
                      </a:cubicBezTo>
                      <a:cubicBezTo>
                        <a:pt x="2876827" y="1004614"/>
                        <a:pt x="2876112" y="1005804"/>
                        <a:pt x="2870216" y="1005042"/>
                      </a:cubicBezTo>
                      <a:cubicBezTo>
                        <a:pt x="2864444" y="1004290"/>
                        <a:pt x="2859605" y="999909"/>
                        <a:pt x="2854900" y="998404"/>
                      </a:cubicBezTo>
                      <a:cubicBezTo>
                        <a:pt x="2847718" y="996108"/>
                        <a:pt x="2839850" y="999708"/>
                        <a:pt x="2832268" y="997870"/>
                      </a:cubicBezTo>
                      <a:cubicBezTo>
                        <a:pt x="2826420" y="996461"/>
                        <a:pt x="2819248" y="993127"/>
                        <a:pt x="2814514" y="989364"/>
                      </a:cubicBezTo>
                      <a:cubicBezTo>
                        <a:pt x="2811971" y="987336"/>
                        <a:pt x="2810818" y="984688"/>
                        <a:pt x="2808846" y="982268"/>
                      </a:cubicBezTo>
                      <a:cubicBezTo>
                        <a:pt x="2805389" y="978030"/>
                        <a:pt x="2805132" y="978734"/>
                        <a:pt x="2799979" y="975667"/>
                      </a:cubicBezTo>
                      <a:cubicBezTo>
                        <a:pt x="2795178" y="972819"/>
                        <a:pt x="2793407" y="969028"/>
                        <a:pt x="2789653" y="965209"/>
                      </a:cubicBezTo>
                      <a:cubicBezTo>
                        <a:pt x="2784529" y="959989"/>
                        <a:pt x="2776833" y="957284"/>
                        <a:pt x="2770785" y="953398"/>
                      </a:cubicBezTo>
                      <a:cubicBezTo>
                        <a:pt x="2765032" y="949712"/>
                        <a:pt x="2760212" y="945121"/>
                        <a:pt x="2755249" y="940625"/>
                      </a:cubicBezTo>
                      <a:cubicBezTo>
                        <a:pt x="2745591" y="931871"/>
                        <a:pt x="2733752" y="924975"/>
                        <a:pt x="2723426" y="916631"/>
                      </a:cubicBezTo>
                      <a:cubicBezTo>
                        <a:pt x="2716197" y="910793"/>
                        <a:pt x="2707910" y="905763"/>
                        <a:pt x="2700766" y="900820"/>
                      </a:cubicBezTo>
                      <a:cubicBezTo>
                        <a:pt x="2692747" y="895267"/>
                        <a:pt x="2683478" y="890552"/>
                        <a:pt x="2674239" y="888075"/>
                      </a:cubicBezTo>
                      <a:cubicBezTo>
                        <a:pt x="2671058" y="887218"/>
                        <a:pt x="2658561" y="880932"/>
                        <a:pt x="2658828" y="886494"/>
                      </a:cubicBezTo>
                      <a:cubicBezTo>
                        <a:pt x="2643588" y="884866"/>
                        <a:pt x="2630024" y="875769"/>
                        <a:pt x="2614946" y="873655"/>
                      </a:cubicBezTo>
                      <a:cubicBezTo>
                        <a:pt x="2609641" y="872912"/>
                        <a:pt x="2604583" y="874093"/>
                        <a:pt x="2599135" y="875131"/>
                      </a:cubicBezTo>
                      <a:cubicBezTo>
                        <a:pt x="2591877" y="876522"/>
                        <a:pt x="2585276" y="874960"/>
                        <a:pt x="2578323" y="876817"/>
                      </a:cubicBezTo>
                      <a:cubicBezTo>
                        <a:pt x="2571693" y="878589"/>
                        <a:pt x="2557291" y="879465"/>
                        <a:pt x="2553120" y="884580"/>
                      </a:cubicBezTo>
                      <a:cubicBezTo>
                        <a:pt x="2549500" y="889009"/>
                        <a:pt x="2545175" y="899601"/>
                        <a:pt x="2551491" y="902392"/>
                      </a:cubicBezTo>
                      <a:cubicBezTo>
                        <a:pt x="2554910" y="903897"/>
                        <a:pt x="2558806" y="901953"/>
                        <a:pt x="2562511" y="902696"/>
                      </a:cubicBezTo>
                      <a:cubicBezTo>
                        <a:pt x="2568102" y="903811"/>
                        <a:pt x="2568550" y="906449"/>
                        <a:pt x="2571903" y="910002"/>
                      </a:cubicBezTo>
                      <a:cubicBezTo>
                        <a:pt x="2577465" y="915908"/>
                        <a:pt x="2585466" y="918365"/>
                        <a:pt x="2581695" y="927499"/>
                      </a:cubicBezTo>
                      <a:cubicBezTo>
                        <a:pt x="2579075" y="933843"/>
                        <a:pt x="2578217" y="932071"/>
                        <a:pt x="2579142" y="939396"/>
                      </a:cubicBezTo>
                      <a:cubicBezTo>
                        <a:pt x="2579703" y="943749"/>
                        <a:pt x="2581332" y="947369"/>
                        <a:pt x="2582142" y="951407"/>
                      </a:cubicBezTo>
                      <a:cubicBezTo>
                        <a:pt x="2583132" y="956360"/>
                        <a:pt x="2586390" y="967752"/>
                        <a:pt x="2584780" y="972305"/>
                      </a:cubicBezTo>
                      <a:cubicBezTo>
                        <a:pt x="2588295" y="973305"/>
                        <a:pt x="2595410" y="976144"/>
                        <a:pt x="2595420" y="980849"/>
                      </a:cubicBezTo>
                      <a:cubicBezTo>
                        <a:pt x="2595429" y="987155"/>
                        <a:pt x="2588066" y="985021"/>
                        <a:pt x="2583761" y="987469"/>
                      </a:cubicBezTo>
                      <a:cubicBezTo>
                        <a:pt x="2579113" y="990117"/>
                        <a:pt x="2577522" y="998689"/>
                        <a:pt x="2573274" y="1000413"/>
                      </a:cubicBezTo>
                      <a:cubicBezTo>
                        <a:pt x="2569835" y="1001804"/>
                        <a:pt x="2560387" y="997784"/>
                        <a:pt x="2556691" y="997061"/>
                      </a:cubicBezTo>
                      <a:cubicBezTo>
                        <a:pt x="2544556" y="994698"/>
                        <a:pt x="2533650" y="987364"/>
                        <a:pt x="2521658" y="985516"/>
                      </a:cubicBezTo>
                      <a:cubicBezTo>
                        <a:pt x="2515533" y="984573"/>
                        <a:pt x="2514048" y="987697"/>
                        <a:pt x="2508647" y="988840"/>
                      </a:cubicBezTo>
                      <a:cubicBezTo>
                        <a:pt x="2502789" y="990079"/>
                        <a:pt x="2495903" y="986916"/>
                        <a:pt x="2490873" y="984430"/>
                      </a:cubicBezTo>
                      <a:cubicBezTo>
                        <a:pt x="2482291" y="980201"/>
                        <a:pt x="2469185" y="973515"/>
                        <a:pt x="2459650" y="977753"/>
                      </a:cubicBezTo>
                      <a:cubicBezTo>
                        <a:pt x="2456184" y="979296"/>
                        <a:pt x="2449878" y="984783"/>
                        <a:pt x="2447602" y="987964"/>
                      </a:cubicBezTo>
                      <a:cubicBezTo>
                        <a:pt x="2444087" y="992908"/>
                        <a:pt x="2447563" y="998680"/>
                        <a:pt x="2440524" y="1000366"/>
                      </a:cubicBezTo>
                      <a:cubicBezTo>
                        <a:pt x="2438124" y="1000947"/>
                        <a:pt x="2435809" y="999480"/>
                        <a:pt x="2433457" y="999813"/>
                      </a:cubicBezTo>
                      <a:cubicBezTo>
                        <a:pt x="2430332" y="1000261"/>
                        <a:pt x="2428189" y="1002404"/>
                        <a:pt x="2425256" y="1003195"/>
                      </a:cubicBezTo>
                      <a:cubicBezTo>
                        <a:pt x="2421026" y="1004328"/>
                        <a:pt x="2416198" y="1004214"/>
                        <a:pt x="2411901" y="1005195"/>
                      </a:cubicBezTo>
                      <a:cubicBezTo>
                        <a:pt x="2406758" y="1006366"/>
                        <a:pt x="2403719" y="1009805"/>
                        <a:pt x="2398614" y="1011339"/>
                      </a:cubicBezTo>
                      <a:cubicBezTo>
                        <a:pt x="2393480" y="1012882"/>
                        <a:pt x="2389509" y="1010091"/>
                        <a:pt x="2384327" y="1009776"/>
                      </a:cubicBezTo>
                      <a:cubicBezTo>
                        <a:pt x="2379898" y="1009510"/>
                        <a:pt x="2374249" y="1009814"/>
                        <a:pt x="2368925" y="1009014"/>
                      </a:cubicBezTo>
                      <a:cubicBezTo>
                        <a:pt x="2362743" y="1008090"/>
                        <a:pt x="2356780" y="1006347"/>
                        <a:pt x="2350532" y="1006024"/>
                      </a:cubicBezTo>
                      <a:cubicBezTo>
                        <a:pt x="2344779" y="1005719"/>
                        <a:pt x="2339026" y="1006814"/>
                        <a:pt x="2333502" y="1005366"/>
                      </a:cubicBezTo>
                      <a:cubicBezTo>
                        <a:pt x="2328396" y="1004014"/>
                        <a:pt x="2322195" y="1000699"/>
                        <a:pt x="2317423" y="998365"/>
                      </a:cubicBezTo>
                      <a:cubicBezTo>
                        <a:pt x="2313185" y="996289"/>
                        <a:pt x="2311880" y="993974"/>
                        <a:pt x="2308565" y="990726"/>
                      </a:cubicBezTo>
                      <a:cubicBezTo>
                        <a:pt x="2304260" y="986488"/>
                        <a:pt x="2302907" y="986088"/>
                        <a:pt x="2296135" y="985592"/>
                      </a:cubicBezTo>
                      <a:cubicBezTo>
                        <a:pt x="2290096" y="985154"/>
                        <a:pt x="2285857" y="985678"/>
                        <a:pt x="2280343" y="982792"/>
                      </a:cubicBezTo>
                      <a:cubicBezTo>
                        <a:pt x="2275513" y="980249"/>
                        <a:pt x="2271275" y="976487"/>
                        <a:pt x="2265760" y="975248"/>
                      </a:cubicBezTo>
                      <a:cubicBezTo>
                        <a:pt x="2260540" y="974058"/>
                        <a:pt x="2255320" y="975715"/>
                        <a:pt x="2250119" y="974839"/>
                      </a:cubicBezTo>
                      <a:cubicBezTo>
                        <a:pt x="2244233" y="973839"/>
                        <a:pt x="2238747" y="971867"/>
                        <a:pt x="2232698" y="971172"/>
                      </a:cubicBezTo>
                      <a:cubicBezTo>
                        <a:pt x="2222754" y="970048"/>
                        <a:pt x="2213258" y="975001"/>
                        <a:pt x="2204657" y="978315"/>
                      </a:cubicBezTo>
                      <a:cubicBezTo>
                        <a:pt x="2195998" y="981649"/>
                        <a:pt x="2187036" y="979877"/>
                        <a:pt x="2177967" y="977277"/>
                      </a:cubicBezTo>
                      <a:cubicBezTo>
                        <a:pt x="2168624" y="974601"/>
                        <a:pt x="2157098" y="973372"/>
                        <a:pt x="2148783" y="968076"/>
                      </a:cubicBezTo>
                      <a:cubicBezTo>
                        <a:pt x="2141020" y="963123"/>
                        <a:pt x="2134963" y="953779"/>
                        <a:pt x="2128171" y="946750"/>
                      </a:cubicBezTo>
                      <a:cubicBezTo>
                        <a:pt x="2120074" y="938358"/>
                        <a:pt x="2107654" y="940415"/>
                        <a:pt x="2097033" y="937091"/>
                      </a:cubicBezTo>
                      <a:cubicBezTo>
                        <a:pt x="2090623" y="935081"/>
                        <a:pt x="2083794" y="932633"/>
                        <a:pt x="2077222" y="931367"/>
                      </a:cubicBezTo>
                      <a:cubicBezTo>
                        <a:pt x="2071173" y="930205"/>
                        <a:pt x="2064810" y="931243"/>
                        <a:pt x="2058896" y="929424"/>
                      </a:cubicBezTo>
                      <a:cubicBezTo>
                        <a:pt x="2047846" y="926014"/>
                        <a:pt x="2036607" y="922080"/>
                        <a:pt x="2025749" y="918394"/>
                      </a:cubicBezTo>
                      <a:cubicBezTo>
                        <a:pt x="2025949" y="919870"/>
                        <a:pt x="2027301" y="922927"/>
                        <a:pt x="2026910" y="924204"/>
                      </a:cubicBezTo>
                      <a:cubicBezTo>
                        <a:pt x="2025501" y="928814"/>
                        <a:pt x="2023168" y="927290"/>
                        <a:pt x="2021386" y="930605"/>
                      </a:cubicBezTo>
                      <a:cubicBezTo>
                        <a:pt x="2020796" y="931700"/>
                        <a:pt x="2020948" y="933405"/>
                        <a:pt x="2020415" y="934443"/>
                      </a:cubicBezTo>
                      <a:cubicBezTo>
                        <a:pt x="2019853" y="935529"/>
                        <a:pt x="2021786" y="936672"/>
                        <a:pt x="2021586" y="937625"/>
                      </a:cubicBezTo>
                      <a:cubicBezTo>
                        <a:pt x="2021262" y="939206"/>
                        <a:pt x="2018729" y="937444"/>
                        <a:pt x="2018567" y="938863"/>
                      </a:cubicBezTo>
                      <a:cubicBezTo>
                        <a:pt x="2017567" y="947369"/>
                        <a:pt x="2022739" y="953303"/>
                        <a:pt x="2028997" y="958722"/>
                      </a:cubicBezTo>
                      <a:cubicBezTo>
                        <a:pt x="2032911" y="962113"/>
                        <a:pt x="2036178" y="964571"/>
                        <a:pt x="2040455" y="967390"/>
                      </a:cubicBezTo>
                      <a:cubicBezTo>
                        <a:pt x="2044713" y="970200"/>
                        <a:pt x="2047104" y="971896"/>
                        <a:pt x="2047865" y="977925"/>
                      </a:cubicBezTo>
                      <a:cubicBezTo>
                        <a:pt x="2048418" y="982306"/>
                        <a:pt x="2048237" y="983992"/>
                        <a:pt x="2044713" y="986716"/>
                      </a:cubicBezTo>
                      <a:cubicBezTo>
                        <a:pt x="2043532" y="987631"/>
                        <a:pt x="2041065" y="986154"/>
                        <a:pt x="2039750" y="987231"/>
                      </a:cubicBezTo>
                      <a:cubicBezTo>
                        <a:pt x="2038103" y="988574"/>
                        <a:pt x="2038960" y="991460"/>
                        <a:pt x="2036541" y="992784"/>
                      </a:cubicBezTo>
                      <a:cubicBezTo>
                        <a:pt x="2031540" y="995498"/>
                        <a:pt x="2027996" y="990298"/>
                        <a:pt x="2023605" y="988812"/>
                      </a:cubicBezTo>
                      <a:cubicBezTo>
                        <a:pt x="2019729" y="987497"/>
                        <a:pt x="2014080" y="987898"/>
                        <a:pt x="2010413" y="987659"/>
                      </a:cubicBezTo>
                      <a:cubicBezTo>
                        <a:pt x="2006546" y="987412"/>
                        <a:pt x="2003908" y="986669"/>
                        <a:pt x="1999888" y="985878"/>
                      </a:cubicBezTo>
                      <a:cubicBezTo>
                        <a:pt x="1997688" y="985440"/>
                        <a:pt x="1992716" y="984173"/>
                        <a:pt x="1990735" y="984602"/>
                      </a:cubicBezTo>
                      <a:cubicBezTo>
                        <a:pt x="1989001" y="984983"/>
                        <a:pt x="1986953" y="987069"/>
                        <a:pt x="1985362" y="987412"/>
                      </a:cubicBezTo>
                      <a:cubicBezTo>
                        <a:pt x="1983476" y="987812"/>
                        <a:pt x="1982143" y="986850"/>
                        <a:pt x="1980152" y="986869"/>
                      </a:cubicBezTo>
                      <a:cubicBezTo>
                        <a:pt x="1973942" y="986916"/>
                        <a:pt x="1971265" y="984907"/>
                        <a:pt x="1965493" y="983583"/>
                      </a:cubicBezTo>
                      <a:cubicBezTo>
                        <a:pt x="1960017" y="982325"/>
                        <a:pt x="1958931" y="984011"/>
                        <a:pt x="1953273" y="980335"/>
                      </a:cubicBezTo>
                      <a:cubicBezTo>
                        <a:pt x="1948758" y="977391"/>
                        <a:pt x="1946310" y="973038"/>
                        <a:pt x="1941948" y="969857"/>
                      </a:cubicBezTo>
                      <a:cubicBezTo>
                        <a:pt x="1932423" y="962913"/>
                        <a:pt x="1916849" y="969524"/>
                        <a:pt x="1906343" y="964895"/>
                      </a:cubicBezTo>
                      <a:cubicBezTo>
                        <a:pt x="1904562" y="964104"/>
                        <a:pt x="1902971" y="960989"/>
                        <a:pt x="1901219" y="960627"/>
                      </a:cubicBezTo>
                      <a:cubicBezTo>
                        <a:pt x="1896923" y="959751"/>
                        <a:pt x="1897904" y="963113"/>
                        <a:pt x="1896894" y="963180"/>
                      </a:cubicBezTo>
                      <a:cubicBezTo>
                        <a:pt x="1892075" y="963485"/>
                        <a:pt x="1887693" y="958408"/>
                        <a:pt x="1883207" y="958303"/>
                      </a:cubicBezTo>
                      <a:cubicBezTo>
                        <a:pt x="1886503" y="965371"/>
                        <a:pt x="1878301" y="962037"/>
                        <a:pt x="1874634" y="963190"/>
                      </a:cubicBezTo>
                      <a:cubicBezTo>
                        <a:pt x="1871434" y="964190"/>
                        <a:pt x="1868443" y="967362"/>
                        <a:pt x="1868005" y="970333"/>
                      </a:cubicBezTo>
                      <a:cubicBezTo>
                        <a:pt x="1861404" y="970133"/>
                        <a:pt x="1858451" y="973572"/>
                        <a:pt x="1854022" y="976534"/>
                      </a:cubicBezTo>
                      <a:cubicBezTo>
                        <a:pt x="1851727" y="978077"/>
                        <a:pt x="1848355" y="979373"/>
                        <a:pt x="1845202" y="980582"/>
                      </a:cubicBezTo>
                      <a:cubicBezTo>
                        <a:pt x="1844183" y="980982"/>
                        <a:pt x="1841421" y="981335"/>
                        <a:pt x="1840592" y="981973"/>
                      </a:cubicBezTo>
                      <a:cubicBezTo>
                        <a:pt x="1839363" y="982935"/>
                        <a:pt x="1840106" y="985583"/>
                        <a:pt x="1840135" y="985564"/>
                      </a:cubicBezTo>
                      <a:cubicBezTo>
                        <a:pt x="1839078" y="986278"/>
                        <a:pt x="1834544" y="986554"/>
                        <a:pt x="1834353" y="987059"/>
                      </a:cubicBezTo>
                      <a:cubicBezTo>
                        <a:pt x="1833439" y="989441"/>
                        <a:pt x="1835753" y="989907"/>
                        <a:pt x="1835439" y="991784"/>
                      </a:cubicBezTo>
                      <a:cubicBezTo>
                        <a:pt x="1835049" y="994089"/>
                        <a:pt x="1836230" y="994841"/>
                        <a:pt x="1832077" y="997308"/>
                      </a:cubicBezTo>
                      <a:cubicBezTo>
                        <a:pt x="1830676" y="998137"/>
                        <a:pt x="1828686" y="996565"/>
                        <a:pt x="1827610" y="997308"/>
                      </a:cubicBezTo>
                      <a:cubicBezTo>
                        <a:pt x="1826457" y="998108"/>
                        <a:pt x="1829220" y="999937"/>
                        <a:pt x="1827019" y="1000528"/>
                      </a:cubicBezTo>
                      <a:cubicBezTo>
                        <a:pt x="1824066" y="1001318"/>
                        <a:pt x="1822494" y="1001147"/>
                        <a:pt x="1819847" y="999947"/>
                      </a:cubicBezTo>
                      <a:cubicBezTo>
                        <a:pt x="1821933" y="1004185"/>
                        <a:pt x="1813284" y="1001594"/>
                        <a:pt x="1810207" y="1001680"/>
                      </a:cubicBezTo>
                      <a:cubicBezTo>
                        <a:pt x="1800539" y="1001928"/>
                        <a:pt x="1807483" y="1005414"/>
                        <a:pt x="1803654" y="1009891"/>
                      </a:cubicBezTo>
                      <a:cubicBezTo>
                        <a:pt x="1801940" y="1011900"/>
                        <a:pt x="1795548" y="1012243"/>
                        <a:pt x="1792548" y="1012624"/>
                      </a:cubicBezTo>
                      <a:cubicBezTo>
                        <a:pt x="1787633" y="1013253"/>
                        <a:pt x="1785576" y="1011405"/>
                        <a:pt x="1779946" y="1008910"/>
                      </a:cubicBezTo>
                      <a:cubicBezTo>
                        <a:pt x="1774708" y="1006586"/>
                        <a:pt x="1766030" y="1002899"/>
                        <a:pt x="1762287" y="998899"/>
                      </a:cubicBezTo>
                      <a:cubicBezTo>
                        <a:pt x="1759810" y="996270"/>
                        <a:pt x="1761830" y="991174"/>
                        <a:pt x="1756315" y="993298"/>
                      </a:cubicBezTo>
                      <a:cubicBezTo>
                        <a:pt x="1750791" y="995422"/>
                        <a:pt x="1753114" y="1000880"/>
                        <a:pt x="1745990" y="1000756"/>
                      </a:cubicBezTo>
                      <a:cubicBezTo>
                        <a:pt x="1741351" y="1000670"/>
                        <a:pt x="1733560" y="998099"/>
                        <a:pt x="1728359" y="997080"/>
                      </a:cubicBezTo>
                      <a:cubicBezTo>
                        <a:pt x="1723272" y="996079"/>
                        <a:pt x="1719939" y="994317"/>
                        <a:pt x="1715367" y="990088"/>
                      </a:cubicBezTo>
                      <a:cubicBezTo>
                        <a:pt x="1710052" y="985164"/>
                        <a:pt x="1708595" y="982754"/>
                        <a:pt x="1701280" y="980439"/>
                      </a:cubicBezTo>
                      <a:cubicBezTo>
                        <a:pt x="1693517" y="977972"/>
                        <a:pt x="1688564" y="977572"/>
                        <a:pt x="1682773" y="971648"/>
                      </a:cubicBezTo>
                      <a:cubicBezTo>
                        <a:pt x="1678000" y="966771"/>
                        <a:pt x="1672657" y="962380"/>
                        <a:pt x="1666646" y="959132"/>
                      </a:cubicBezTo>
                      <a:cubicBezTo>
                        <a:pt x="1661160" y="956160"/>
                        <a:pt x="1652340" y="952445"/>
                        <a:pt x="1646053" y="953931"/>
                      </a:cubicBezTo>
                      <a:cubicBezTo>
                        <a:pt x="1644930" y="954189"/>
                        <a:pt x="1642091" y="956332"/>
                        <a:pt x="1641043" y="956960"/>
                      </a:cubicBezTo>
                      <a:cubicBezTo>
                        <a:pt x="1640091" y="957522"/>
                        <a:pt x="1638195" y="956779"/>
                        <a:pt x="1637167" y="957332"/>
                      </a:cubicBezTo>
                      <a:cubicBezTo>
                        <a:pt x="1636252" y="957818"/>
                        <a:pt x="1637462" y="959389"/>
                        <a:pt x="1636319" y="959904"/>
                      </a:cubicBezTo>
                      <a:cubicBezTo>
                        <a:pt x="1629766" y="962837"/>
                        <a:pt x="1625651" y="961437"/>
                        <a:pt x="1618450" y="960942"/>
                      </a:cubicBezTo>
                      <a:cubicBezTo>
                        <a:pt x="1615345" y="960732"/>
                        <a:pt x="1610925" y="962723"/>
                        <a:pt x="1607992" y="961780"/>
                      </a:cubicBezTo>
                      <a:cubicBezTo>
                        <a:pt x="1605153" y="960866"/>
                        <a:pt x="1606048" y="959284"/>
                        <a:pt x="1603848" y="957637"/>
                      </a:cubicBezTo>
                      <a:cubicBezTo>
                        <a:pt x="1600419" y="955074"/>
                        <a:pt x="1599010" y="956579"/>
                        <a:pt x="1595714" y="955103"/>
                      </a:cubicBezTo>
                      <a:cubicBezTo>
                        <a:pt x="1591504" y="953217"/>
                        <a:pt x="1594466" y="952798"/>
                        <a:pt x="1591732" y="950121"/>
                      </a:cubicBezTo>
                      <a:cubicBezTo>
                        <a:pt x="1589361" y="947797"/>
                        <a:pt x="1582236" y="943492"/>
                        <a:pt x="1577588" y="944578"/>
                      </a:cubicBezTo>
                      <a:cubicBezTo>
                        <a:pt x="1570549" y="946226"/>
                        <a:pt x="1576359" y="949702"/>
                        <a:pt x="1576102" y="953255"/>
                      </a:cubicBezTo>
                      <a:cubicBezTo>
                        <a:pt x="1575863" y="956741"/>
                        <a:pt x="1567634" y="956179"/>
                        <a:pt x="1570549" y="961199"/>
                      </a:cubicBezTo>
                      <a:cubicBezTo>
                        <a:pt x="1564234" y="959884"/>
                        <a:pt x="1557614" y="951083"/>
                        <a:pt x="1552689" y="946759"/>
                      </a:cubicBezTo>
                      <a:cubicBezTo>
                        <a:pt x="1546079" y="940939"/>
                        <a:pt x="1539355" y="935319"/>
                        <a:pt x="1532506" y="929786"/>
                      </a:cubicBezTo>
                      <a:cubicBezTo>
                        <a:pt x="1520495" y="920070"/>
                        <a:pt x="1508522" y="910288"/>
                        <a:pt x="1496321" y="900810"/>
                      </a:cubicBezTo>
                      <a:cubicBezTo>
                        <a:pt x="1483785" y="891066"/>
                        <a:pt x="1471622" y="881456"/>
                        <a:pt x="1457230" y="874626"/>
                      </a:cubicBezTo>
                      <a:cubicBezTo>
                        <a:pt x="1446305" y="869445"/>
                        <a:pt x="1427198" y="864844"/>
                        <a:pt x="1420340" y="854300"/>
                      </a:cubicBezTo>
                      <a:cubicBezTo>
                        <a:pt x="1426759" y="855548"/>
                        <a:pt x="1430426" y="847337"/>
                        <a:pt x="1425283" y="845146"/>
                      </a:cubicBezTo>
                      <a:cubicBezTo>
                        <a:pt x="1424759" y="844927"/>
                        <a:pt x="1413482" y="849737"/>
                        <a:pt x="1412615" y="850109"/>
                      </a:cubicBezTo>
                      <a:cubicBezTo>
                        <a:pt x="1410176" y="851138"/>
                        <a:pt x="1408081" y="853195"/>
                        <a:pt x="1405576" y="854224"/>
                      </a:cubicBezTo>
                      <a:cubicBezTo>
                        <a:pt x="1403509" y="855081"/>
                        <a:pt x="1397860" y="855338"/>
                        <a:pt x="1396603" y="856414"/>
                      </a:cubicBezTo>
                      <a:cubicBezTo>
                        <a:pt x="1395441" y="857395"/>
                        <a:pt x="1397994" y="859224"/>
                        <a:pt x="1396975" y="860339"/>
                      </a:cubicBezTo>
                      <a:cubicBezTo>
                        <a:pt x="1395279" y="862187"/>
                        <a:pt x="1393060" y="863720"/>
                        <a:pt x="1390822" y="864644"/>
                      </a:cubicBezTo>
                      <a:cubicBezTo>
                        <a:pt x="1388764" y="865492"/>
                        <a:pt x="1387012" y="864654"/>
                        <a:pt x="1384764" y="865720"/>
                      </a:cubicBezTo>
                      <a:cubicBezTo>
                        <a:pt x="1381745" y="867149"/>
                        <a:pt x="1380954" y="870797"/>
                        <a:pt x="1379868" y="871978"/>
                      </a:cubicBezTo>
                      <a:cubicBezTo>
                        <a:pt x="1378630" y="873331"/>
                        <a:pt x="1381878" y="873855"/>
                        <a:pt x="1378973" y="874931"/>
                      </a:cubicBezTo>
                      <a:cubicBezTo>
                        <a:pt x="1378173" y="875226"/>
                        <a:pt x="1371867" y="871588"/>
                        <a:pt x="1370448" y="871331"/>
                      </a:cubicBezTo>
                      <a:cubicBezTo>
                        <a:pt x="1368152" y="870902"/>
                        <a:pt x="1364371" y="870664"/>
                        <a:pt x="1362132" y="871616"/>
                      </a:cubicBezTo>
                      <a:cubicBezTo>
                        <a:pt x="1360199" y="872435"/>
                        <a:pt x="1358589" y="876265"/>
                        <a:pt x="1356808" y="876350"/>
                      </a:cubicBezTo>
                      <a:cubicBezTo>
                        <a:pt x="1353503" y="876503"/>
                        <a:pt x="1349359" y="869749"/>
                        <a:pt x="1350093" y="866673"/>
                      </a:cubicBezTo>
                      <a:cubicBezTo>
                        <a:pt x="1350598" y="864606"/>
                        <a:pt x="1360351" y="857795"/>
                        <a:pt x="1351979" y="856967"/>
                      </a:cubicBezTo>
                      <a:cubicBezTo>
                        <a:pt x="1351531" y="856919"/>
                        <a:pt x="1348064" y="860024"/>
                        <a:pt x="1346816" y="860320"/>
                      </a:cubicBezTo>
                      <a:cubicBezTo>
                        <a:pt x="1344406" y="860872"/>
                        <a:pt x="1342063" y="860024"/>
                        <a:pt x="1339863" y="859262"/>
                      </a:cubicBezTo>
                      <a:cubicBezTo>
                        <a:pt x="1336015" y="857919"/>
                        <a:pt x="1333796" y="855205"/>
                        <a:pt x="1329471" y="855252"/>
                      </a:cubicBezTo>
                      <a:cubicBezTo>
                        <a:pt x="1325261" y="855290"/>
                        <a:pt x="1326604" y="855624"/>
                        <a:pt x="1325404" y="856776"/>
                      </a:cubicBezTo>
                      <a:cubicBezTo>
                        <a:pt x="1325032" y="857138"/>
                        <a:pt x="1328376" y="858567"/>
                        <a:pt x="1325975" y="859862"/>
                      </a:cubicBezTo>
                      <a:cubicBezTo>
                        <a:pt x="1322603" y="861672"/>
                        <a:pt x="1323127" y="859005"/>
                        <a:pt x="1320784" y="856843"/>
                      </a:cubicBezTo>
                      <a:cubicBezTo>
                        <a:pt x="1319022" y="855214"/>
                        <a:pt x="1317460" y="852071"/>
                        <a:pt x="1315070" y="850890"/>
                      </a:cubicBezTo>
                      <a:cubicBezTo>
                        <a:pt x="1309202" y="848004"/>
                        <a:pt x="1312441" y="851185"/>
                        <a:pt x="1310230" y="851766"/>
                      </a:cubicBezTo>
                      <a:cubicBezTo>
                        <a:pt x="1305573" y="852985"/>
                        <a:pt x="1298210" y="854528"/>
                        <a:pt x="1292857" y="854033"/>
                      </a:cubicBezTo>
                      <a:cubicBezTo>
                        <a:pt x="1283389" y="853157"/>
                        <a:pt x="1286208" y="848880"/>
                        <a:pt x="1282741" y="842127"/>
                      </a:cubicBezTo>
                      <a:cubicBezTo>
                        <a:pt x="1279998" y="836764"/>
                        <a:pt x="1275169" y="832507"/>
                        <a:pt x="1270921" y="827906"/>
                      </a:cubicBezTo>
                      <a:cubicBezTo>
                        <a:pt x="1266063" y="822658"/>
                        <a:pt x="1261720" y="816171"/>
                        <a:pt x="1253862" y="818914"/>
                      </a:cubicBezTo>
                      <a:cubicBezTo>
                        <a:pt x="1252013" y="819562"/>
                        <a:pt x="1251804" y="821753"/>
                        <a:pt x="1249214" y="822324"/>
                      </a:cubicBezTo>
                      <a:cubicBezTo>
                        <a:pt x="1246251" y="822972"/>
                        <a:pt x="1242698" y="820991"/>
                        <a:pt x="1239993" y="820048"/>
                      </a:cubicBezTo>
                      <a:cubicBezTo>
                        <a:pt x="1232840" y="817552"/>
                        <a:pt x="1225363" y="814847"/>
                        <a:pt x="1217514" y="815486"/>
                      </a:cubicBezTo>
                      <a:cubicBezTo>
                        <a:pt x="1213085" y="815847"/>
                        <a:pt x="1212066" y="817648"/>
                        <a:pt x="1208427" y="819505"/>
                      </a:cubicBezTo>
                      <a:cubicBezTo>
                        <a:pt x="1205532" y="820981"/>
                        <a:pt x="1202960" y="821296"/>
                        <a:pt x="1199712" y="822515"/>
                      </a:cubicBezTo>
                      <a:cubicBezTo>
                        <a:pt x="1206951" y="828297"/>
                        <a:pt x="1195854" y="830002"/>
                        <a:pt x="1191978" y="831049"/>
                      </a:cubicBezTo>
                      <a:cubicBezTo>
                        <a:pt x="1184672" y="833031"/>
                        <a:pt x="1176490" y="834612"/>
                        <a:pt x="1168832" y="836031"/>
                      </a:cubicBezTo>
                      <a:cubicBezTo>
                        <a:pt x="1165146" y="836717"/>
                        <a:pt x="1161288" y="837793"/>
                        <a:pt x="1157573" y="838079"/>
                      </a:cubicBezTo>
                      <a:cubicBezTo>
                        <a:pt x="1155573" y="838231"/>
                        <a:pt x="1153439" y="838012"/>
                        <a:pt x="1151468" y="838260"/>
                      </a:cubicBezTo>
                      <a:cubicBezTo>
                        <a:pt x="1150153" y="838431"/>
                        <a:pt x="1148067" y="839146"/>
                        <a:pt x="1146401" y="839327"/>
                      </a:cubicBezTo>
                      <a:cubicBezTo>
                        <a:pt x="1143296" y="839688"/>
                        <a:pt x="1141352" y="839250"/>
                        <a:pt x="1138942" y="840822"/>
                      </a:cubicBezTo>
                      <a:cubicBezTo>
                        <a:pt x="1136571" y="842375"/>
                        <a:pt x="1136714" y="845785"/>
                        <a:pt x="1135828" y="846432"/>
                      </a:cubicBezTo>
                      <a:cubicBezTo>
                        <a:pt x="1132732" y="848737"/>
                        <a:pt x="1124370" y="846966"/>
                        <a:pt x="1118711" y="847166"/>
                      </a:cubicBezTo>
                      <a:cubicBezTo>
                        <a:pt x="1112349" y="847385"/>
                        <a:pt x="1106319" y="850614"/>
                        <a:pt x="1099947" y="851766"/>
                      </a:cubicBezTo>
                      <a:cubicBezTo>
                        <a:pt x="1087022" y="854119"/>
                        <a:pt x="1075601" y="858434"/>
                        <a:pt x="1062580" y="859720"/>
                      </a:cubicBezTo>
                      <a:cubicBezTo>
                        <a:pt x="1059828" y="859986"/>
                        <a:pt x="1045998" y="856272"/>
                        <a:pt x="1043245" y="858234"/>
                      </a:cubicBezTo>
                      <a:cubicBezTo>
                        <a:pt x="1041178" y="859701"/>
                        <a:pt x="1042111" y="870588"/>
                        <a:pt x="1042769" y="871321"/>
                      </a:cubicBezTo>
                      <a:cubicBezTo>
                        <a:pt x="1044816" y="873598"/>
                        <a:pt x="1057542" y="871007"/>
                        <a:pt x="1057189" y="874455"/>
                      </a:cubicBezTo>
                      <a:cubicBezTo>
                        <a:pt x="1056828" y="878017"/>
                        <a:pt x="1042587" y="876550"/>
                        <a:pt x="1054837" y="881951"/>
                      </a:cubicBezTo>
                      <a:cubicBezTo>
                        <a:pt x="1060761" y="884570"/>
                        <a:pt x="1069029" y="883027"/>
                        <a:pt x="1074468" y="887056"/>
                      </a:cubicBezTo>
                      <a:cubicBezTo>
                        <a:pt x="1083307" y="893600"/>
                        <a:pt x="1070296" y="891676"/>
                        <a:pt x="1065743" y="891343"/>
                      </a:cubicBezTo>
                      <a:cubicBezTo>
                        <a:pt x="1058961" y="890838"/>
                        <a:pt x="1053170" y="888933"/>
                        <a:pt x="1050636" y="895934"/>
                      </a:cubicBezTo>
                      <a:cubicBezTo>
                        <a:pt x="1047331" y="905097"/>
                        <a:pt x="1060047" y="905363"/>
                        <a:pt x="1059066" y="912374"/>
                      </a:cubicBezTo>
                      <a:cubicBezTo>
                        <a:pt x="1058218" y="918432"/>
                        <a:pt x="1045369" y="917146"/>
                        <a:pt x="1042349" y="922051"/>
                      </a:cubicBezTo>
                      <a:cubicBezTo>
                        <a:pt x="1040121" y="925680"/>
                        <a:pt x="1040530" y="923813"/>
                        <a:pt x="1044702" y="926395"/>
                      </a:cubicBezTo>
                      <a:cubicBezTo>
                        <a:pt x="1047607" y="928185"/>
                        <a:pt x="1051141" y="930586"/>
                        <a:pt x="1054027" y="932205"/>
                      </a:cubicBezTo>
                      <a:cubicBezTo>
                        <a:pt x="1065257" y="938529"/>
                        <a:pt x="1087089" y="935167"/>
                        <a:pt x="1088698" y="950474"/>
                      </a:cubicBezTo>
                      <a:cubicBezTo>
                        <a:pt x="1089755" y="960504"/>
                        <a:pt x="1083431" y="963209"/>
                        <a:pt x="1073868" y="963933"/>
                      </a:cubicBezTo>
                      <a:cubicBezTo>
                        <a:pt x="1070534" y="964180"/>
                        <a:pt x="1066962" y="964171"/>
                        <a:pt x="1063742" y="963075"/>
                      </a:cubicBezTo>
                      <a:cubicBezTo>
                        <a:pt x="1061809" y="962418"/>
                        <a:pt x="1056694" y="957722"/>
                        <a:pt x="1054903" y="958322"/>
                      </a:cubicBezTo>
                      <a:cubicBezTo>
                        <a:pt x="1049407" y="960170"/>
                        <a:pt x="1054960" y="971067"/>
                        <a:pt x="1044998" y="969133"/>
                      </a:cubicBezTo>
                      <a:cubicBezTo>
                        <a:pt x="1045721" y="969276"/>
                        <a:pt x="1042330" y="965819"/>
                        <a:pt x="1041387" y="965409"/>
                      </a:cubicBezTo>
                      <a:cubicBezTo>
                        <a:pt x="1038015" y="963942"/>
                        <a:pt x="1033158" y="964857"/>
                        <a:pt x="1029529" y="963790"/>
                      </a:cubicBezTo>
                      <a:cubicBezTo>
                        <a:pt x="1021785" y="961504"/>
                        <a:pt x="1016860" y="953988"/>
                        <a:pt x="1009060" y="951769"/>
                      </a:cubicBezTo>
                      <a:cubicBezTo>
                        <a:pt x="1005926" y="950874"/>
                        <a:pt x="1002687" y="951083"/>
                        <a:pt x="999506" y="951321"/>
                      </a:cubicBezTo>
                      <a:cubicBezTo>
                        <a:pt x="993324" y="951769"/>
                        <a:pt x="996849" y="951807"/>
                        <a:pt x="993105" y="954131"/>
                      </a:cubicBezTo>
                      <a:cubicBezTo>
                        <a:pt x="984980" y="959180"/>
                        <a:pt x="983085" y="951845"/>
                        <a:pt x="974065" y="951569"/>
                      </a:cubicBezTo>
                      <a:cubicBezTo>
                        <a:pt x="969026" y="951417"/>
                        <a:pt x="960273" y="953150"/>
                        <a:pt x="957005" y="956360"/>
                      </a:cubicBezTo>
                      <a:cubicBezTo>
                        <a:pt x="951957" y="961332"/>
                        <a:pt x="951424" y="967857"/>
                        <a:pt x="941889" y="966133"/>
                      </a:cubicBezTo>
                      <a:cubicBezTo>
                        <a:pt x="933964" y="964704"/>
                        <a:pt x="927678" y="958513"/>
                        <a:pt x="920467" y="955427"/>
                      </a:cubicBezTo>
                      <a:cubicBezTo>
                        <a:pt x="911495" y="951598"/>
                        <a:pt x="912609" y="953636"/>
                        <a:pt x="915905" y="959608"/>
                      </a:cubicBezTo>
                      <a:cubicBezTo>
                        <a:pt x="919591" y="966285"/>
                        <a:pt x="918762" y="970695"/>
                        <a:pt x="912657" y="963875"/>
                      </a:cubicBezTo>
                      <a:cubicBezTo>
                        <a:pt x="907990" y="958656"/>
                        <a:pt x="903685" y="953522"/>
                        <a:pt x="897207" y="949912"/>
                      </a:cubicBezTo>
                      <a:cubicBezTo>
                        <a:pt x="894045" y="948140"/>
                        <a:pt x="890406" y="947673"/>
                        <a:pt x="887264" y="945930"/>
                      </a:cubicBezTo>
                      <a:cubicBezTo>
                        <a:pt x="883463" y="943825"/>
                        <a:pt x="880996" y="940273"/>
                        <a:pt x="876643" y="938968"/>
                      </a:cubicBezTo>
                      <a:cubicBezTo>
                        <a:pt x="870833" y="937215"/>
                        <a:pt x="864023" y="939453"/>
                        <a:pt x="858107" y="938215"/>
                      </a:cubicBezTo>
                      <a:cubicBezTo>
                        <a:pt x="852230" y="936996"/>
                        <a:pt x="847658" y="930547"/>
                        <a:pt x="841362" y="931776"/>
                      </a:cubicBezTo>
                      <a:cubicBezTo>
                        <a:pt x="834942" y="933024"/>
                        <a:pt x="831018" y="941187"/>
                        <a:pt x="823465" y="938244"/>
                      </a:cubicBezTo>
                      <a:cubicBezTo>
                        <a:pt x="819598" y="936739"/>
                        <a:pt x="813949" y="928347"/>
                        <a:pt x="807834" y="930662"/>
                      </a:cubicBezTo>
                      <a:cubicBezTo>
                        <a:pt x="806673" y="931100"/>
                        <a:pt x="803062" y="937244"/>
                        <a:pt x="801939" y="938825"/>
                      </a:cubicBezTo>
                      <a:cubicBezTo>
                        <a:pt x="798957" y="943025"/>
                        <a:pt x="798967" y="942806"/>
                        <a:pt x="794890" y="945540"/>
                      </a:cubicBezTo>
                      <a:cubicBezTo>
                        <a:pt x="791928" y="947512"/>
                        <a:pt x="788794" y="948731"/>
                        <a:pt x="785717" y="950226"/>
                      </a:cubicBezTo>
                      <a:cubicBezTo>
                        <a:pt x="779964" y="953017"/>
                        <a:pt x="782841" y="951445"/>
                        <a:pt x="779488" y="956294"/>
                      </a:cubicBezTo>
                      <a:cubicBezTo>
                        <a:pt x="776288" y="960913"/>
                        <a:pt x="770087" y="967304"/>
                        <a:pt x="763619" y="965761"/>
                      </a:cubicBezTo>
                      <a:cubicBezTo>
                        <a:pt x="766972" y="969371"/>
                        <a:pt x="768858" y="974829"/>
                        <a:pt x="771592" y="979001"/>
                      </a:cubicBezTo>
                      <a:cubicBezTo>
                        <a:pt x="774811" y="983926"/>
                        <a:pt x="776945" y="985269"/>
                        <a:pt x="771468" y="988593"/>
                      </a:cubicBezTo>
                      <a:cubicBezTo>
                        <a:pt x="762553" y="993984"/>
                        <a:pt x="753685" y="980782"/>
                        <a:pt x="747036" y="976191"/>
                      </a:cubicBezTo>
                      <a:cubicBezTo>
                        <a:pt x="743531" y="973781"/>
                        <a:pt x="739083" y="970238"/>
                        <a:pt x="735397" y="973781"/>
                      </a:cubicBezTo>
                      <a:cubicBezTo>
                        <a:pt x="731586" y="977449"/>
                        <a:pt x="735873" y="980306"/>
                        <a:pt x="734664" y="984116"/>
                      </a:cubicBezTo>
                      <a:cubicBezTo>
                        <a:pt x="733130" y="988955"/>
                        <a:pt x="728701" y="989298"/>
                        <a:pt x="728044" y="995537"/>
                      </a:cubicBezTo>
                      <a:cubicBezTo>
                        <a:pt x="727082" y="1004471"/>
                        <a:pt x="731196" y="1003728"/>
                        <a:pt x="735111" y="1009443"/>
                      </a:cubicBezTo>
                      <a:cubicBezTo>
                        <a:pt x="740121" y="1016777"/>
                        <a:pt x="726862" y="1023883"/>
                        <a:pt x="733558" y="1033417"/>
                      </a:cubicBezTo>
                      <a:cubicBezTo>
                        <a:pt x="736550" y="1037675"/>
                        <a:pt x="742007" y="1036980"/>
                        <a:pt x="745798" y="1039980"/>
                      </a:cubicBezTo>
                      <a:cubicBezTo>
                        <a:pt x="750275" y="1043523"/>
                        <a:pt x="749075" y="1048810"/>
                        <a:pt x="752713" y="1052658"/>
                      </a:cubicBezTo>
                      <a:cubicBezTo>
                        <a:pt x="758800" y="1059087"/>
                        <a:pt x="772239" y="1052487"/>
                        <a:pt x="780879" y="1057240"/>
                      </a:cubicBezTo>
                      <a:cubicBezTo>
                        <a:pt x="789899" y="1062202"/>
                        <a:pt x="798100" y="1072832"/>
                        <a:pt x="805110" y="1080233"/>
                      </a:cubicBezTo>
                      <a:cubicBezTo>
                        <a:pt x="819798" y="1095740"/>
                        <a:pt x="801310" y="1082414"/>
                        <a:pt x="799633" y="1088491"/>
                      </a:cubicBezTo>
                      <a:cubicBezTo>
                        <a:pt x="798061" y="1094158"/>
                        <a:pt x="820369" y="1098664"/>
                        <a:pt x="823370" y="1101883"/>
                      </a:cubicBezTo>
                      <a:cubicBezTo>
                        <a:pt x="819655" y="1102398"/>
                        <a:pt x="816426" y="1107627"/>
                        <a:pt x="810378" y="1108360"/>
                      </a:cubicBezTo>
                      <a:cubicBezTo>
                        <a:pt x="811387" y="1111103"/>
                        <a:pt x="814054" y="1112970"/>
                        <a:pt x="812435" y="1114570"/>
                      </a:cubicBezTo>
                      <a:cubicBezTo>
                        <a:pt x="813359" y="1113656"/>
                        <a:pt x="805587" y="1114504"/>
                        <a:pt x="805072" y="1114742"/>
                      </a:cubicBezTo>
                      <a:cubicBezTo>
                        <a:pt x="800738" y="1116714"/>
                        <a:pt x="798776" y="1120000"/>
                        <a:pt x="793376" y="1121086"/>
                      </a:cubicBezTo>
                      <a:cubicBezTo>
                        <a:pt x="790232" y="1121714"/>
                        <a:pt x="786374" y="1119771"/>
                        <a:pt x="787080" y="1124172"/>
                      </a:cubicBezTo>
                      <a:cubicBezTo>
                        <a:pt x="785584" y="1122667"/>
                        <a:pt x="783403" y="1121428"/>
                        <a:pt x="781640" y="1121162"/>
                      </a:cubicBezTo>
                      <a:cubicBezTo>
                        <a:pt x="786270" y="1124534"/>
                        <a:pt x="784003" y="1128706"/>
                        <a:pt x="783126" y="1132249"/>
                      </a:cubicBezTo>
                      <a:cubicBezTo>
                        <a:pt x="782060" y="1136602"/>
                        <a:pt x="778907" y="1143974"/>
                        <a:pt x="779412" y="1148337"/>
                      </a:cubicBezTo>
                      <a:cubicBezTo>
                        <a:pt x="778640" y="1147594"/>
                        <a:pt x="777497" y="1147327"/>
                        <a:pt x="776697" y="1146470"/>
                      </a:cubicBezTo>
                      <a:cubicBezTo>
                        <a:pt x="776659" y="1151261"/>
                        <a:pt x="770677" y="1151918"/>
                        <a:pt x="771963" y="1157309"/>
                      </a:cubicBezTo>
                      <a:cubicBezTo>
                        <a:pt x="773116" y="1162110"/>
                        <a:pt x="778221" y="1161367"/>
                        <a:pt x="782079" y="1163262"/>
                      </a:cubicBezTo>
                      <a:cubicBezTo>
                        <a:pt x="792232" y="1168253"/>
                        <a:pt x="796966" y="1178169"/>
                        <a:pt x="801091" y="1188084"/>
                      </a:cubicBezTo>
                      <a:cubicBezTo>
                        <a:pt x="801167" y="1184198"/>
                        <a:pt x="800176" y="1180322"/>
                        <a:pt x="803091" y="1177702"/>
                      </a:cubicBezTo>
                      <a:cubicBezTo>
                        <a:pt x="803643" y="1185636"/>
                        <a:pt x="803158" y="1191809"/>
                        <a:pt x="805510" y="1199553"/>
                      </a:cubicBezTo>
                      <a:cubicBezTo>
                        <a:pt x="807234" y="1205229"/>
                        <a:pt x="806110" y="1203667"/>
                        <a:pt x="809901" y="1207677"/>
                      </a:cubicBezTo>
                      <a:cubicBezTo>
                        <a:pt x="812549" y="1210487"/>
                        <a:pt x="814702" y="1213592"/>
                        <a:pt x="817198" y="1216412"/>
                      </a:cubicBezTo>
                      <a:cubicBezTo>
                        <a:pt x="822903" y="1222860"/>
                        <a:pt x="831085" y="1228061"/>
                        <a:pt x="837171" y="1234490"/>
                      </a:cubicBezTo>
                      <a:cubicBezTo>
                        <a:pt x="842362" y="1239967"/>
                        <a:pt x="850259" y="1242767"/>
                        <a:pt x="842915" y="1250502"/>
                      </a:cubicBezTo>
                      <a:cubicBezTo>
                        <a:pt x="841572" y="1251902"/>
                        <a:pt x="839457" y="1252083"/>
                        <a:pt x="838086" y="1253331"/>
                      </a:cubicBezTo>
                      <a:cubicBezTo>
                        <a:pt x="836161" y="1255102"/>
                        <a:pt x="836438" y="1255455"/>
                        <a:pt x="834676" y="1257598"/>
                      </a:cubicBezTo>
                      <a:cubicBezTo>
                        <a:pt x="830875" y="1262237"/>
                        <a:pt x="832152" y="1262741"/>
                        <a:pt x="825189" y="1261675"/>
                      </a:cubicBezTo>
                      <a:cubicBezTo>
                        <a:pt x="816045" y="1260284"/>
                        <a:pt x="812902" y="1254731"/>
                        <a:pt x="805758" y="1249806"/>
                      </a:cubicBezTo>
                      <a:cubicBezTo>
                        <a:pt x="800357" y="1246082"/>
                        <a:pt x="795271" y="1242606"/>
                        <a:pt x="790528" y="1241167"/>
                      </a:cubicBezTo>
                      <a:cubicBezTo>
                        <a:pt x="783326" y="1238986"/>
                        <a:pt x="776221" y="1236786"/>
                        <a:pt x="769534" y="1233585"/>
                      </a:cubicBezTo>
                      <a:cubicBezTo>
                        <a:pt x="762476" y="1230214"/>
                        <a:pt x="765095" y="1231528"/>
                        <a:pt x="763124" y="1225746"/>
                      </a:cubicBezTo>
                      <a:cubicBezTo>
                        <a:pt x="761400" y="1220679"/>
                        <a:pt x="763286" y="1221670"/>
                        <a:pt x="757238" y="1220193"/>
                      </a:cubicBezTo>
                      <a:cubicBezTo>
                        <a:pt x="754704" y="1219584"/>
                        <a:pt x="753085" y="1220088"/>
                        <a:pt x="750751" y="1219165"/>
                      </a:cubicBezTo>
                      <a:cubicBezTo>
                        <a:pt x="748894" y="1218431"/>
                        <a:pt x="747246" y="1216526"/>
                        <a:pt x="745341" y="1215659"/>
                      </a:cubicBezTo>
                      <a:cubicBezTo>
                        <a:pt x="741512" y="1213916"/>
                        <a:pt x="735701" y="1211440"/>
                        <a:pt x="735873" y="1217640"/>
                      </a:cubicBezTo>
                      <a:cubicBezTo>
                        <a:pt x="728101" y="1206630"/>
                        <a:pt x="715947" y="1222946"/>
                        <a:pt x="707612" y="1216355"/>
                      </a:cubicBezTo>
                      <a:cubicBezTo>
                        <a:pt x="707803" y="1216507"/>
                        <a:pt x="708603" y="1214354"/>
                        <a:pt x="707784" y="1213535"/>
                      </a:cubicBezTo>
                      <a:cubicBezTo>
                        <a:pt x="706698" y="1212459"/>
                        <a:pt x="704374" y="1212307"/>
                        <a:pt x="702926" y="1211621"/>
                      </a:cubicBezTo>
                      <a:cubicBezTo>
                        <a:pt x="699402" y="1209944"/>
                        <a:pt x="695630" y="1209173"/>
                        <a:pt x="691963" y="1207792"/>
                      </a:cubicBezTo>
                      <a:cubicBezTo>
                        <a:pt x="684914" y="1205153"/>
                        <a:pt x="681085" y="1202020"/>
                        <a:pt x="673837" y="1200553"/>
                      </a:cubicBezTo>
                      <a:cubicBezTo>
                        <a:pt x="667788" y="1199333"/>
                        <a:pt x="663721" y="1199076"/>
                        <a:pt x="657444" y="1199438"/>
                      </a:cubicBezTo>
                      <a:cubicBezTo>
                        <a:pt x="648910" y="1199924"/>
                        <a:pt x="644452" y="1197571"/>
                        <a:pt x="637013" y="1195066"/>
                      </a:cubicBezTo>
                      <a:cubicBezTo>
                        <a:pt x="630355" y="1192818"/>
                        <a:pt x="600142" y="1182055"/>
                        <a:pt x="598809" y="1192352"/>
                      </a:cubicBezTo>
                      <a:cubicBezTo>
                        <a:pt x="589369" y="1187989"/>
                        <a:pt x="581787" y="1180236"/>
                        <a:pt x="573205" y="1174530"/>
                      </a:cubicBezTo>
                      <a:cubicBezTo>
                        <a:pt x="568309" y="1171273"/>
                        <a:pt x="562966" y="1167006"/>
                        <a:pt x="557527" y="1164767"/>
                      </a:cubicBezTo>
                      <a:cubicBezTo>
                        <a:pt x="552936" y="1162872"/>
                        <a:pt x="547669" y="1163262"/>
                        <a:pt x="543173" y="1161043"/>
                      </a:cubicBezTo>
                      <a:cubicBezTo>
                        <a:pt x="538715" y="1158843"/>
                        <a:pt x="535334" y="1153318"/>
                        <a:pt x="530781" y="1152366"/>
                      </a:cubicBezTo>
                      <a:cubicBezTo>
                        <a:pt x="526190" y="1151404"/>
                        <a:pt x="523322" y="1153566"/>
                        <a:pt x="518617" y="1150080"/>
                      </a:cubicBezTo>
                      <a:cubicBezTo>
                        <a:pt x="513531" y="1146298"/>
                        <a:pt x="512150" y="1142850"/>
                        <a:pt x="505435" y="1140707"/>
                      </a:cubicBezTo>
                      <a:cubicBezTo>
                        <a:pt x="502063" y="1139621"/>
                        <a:pt x="496796" y="1140174"/>
                        <a:pt x="495071" y="1136735"/>
                      </a:cubicBezTo>
                      <a:cubicBezTo>
                        <a:pt x="497824" y="1135830"/>
                        <a:pt x="500672" y="1135278"/>
                        <a:pt x="502958" y="1133449"/>
                      </a:cubicBezTo>
                      <a:cubicBezTo>
                        <a:pt x="500748" y="1132639"/>
                        <a:pt x="498567" y="1131773"/>
                        <a:pt x="496433" y="1130868"/>
                      </a:cubicBezTo>
                      <a:cubicBezTo>
                        <a:pt x="502006" y="1125429"/>
                        <a:pt x="518398" y="1141212"/>
                        <a:pt x="521217" y="1127658"/>
                      </a:cubicBezTo>
                      <a:cubicBezTo>
                        <a:pt x="521246" y="1127505"/>
                        <a:pt x="518846" y="1126477"/>
                        <a:pt x="518951" y="1124800"/>
                      </a:cubicBezTo>
                      <a:cubicBezTo>
                        <a:pt x="519151" y="1121581"/>
                        <a:pt x="522237" y="1120095"/>
                        <a:pt x="523313" y="1117399"/>
                      </a:cubicBezTo>
                      <a:cubicBezTo>
                        <a:pt x="524228" y="1115113"/>
                        <a:pt x="527076" y="1104445"/>
                        <a:pt x="528676" y="1113142"/>
                      </a:cubicBezTo>
                      <a:cubicBezTo>
                        <a:pt x="529523" y="1106541"/>
                        <a:pt x="533419" y="1108741"/>
                        <a:pt x="538505" y="1108236"/>
                      </a:cubicBezTo>
                      <a:cubicBezTo>
                        <a:pt x="530914" y="1102074"/>
                        <a:pt x="519217" y="1099864"/>
                        <a:pt x="515046" y="1091053"/>
                      </a:cubicBezTo>
                      <a:cubicBezTo>
                        <a:pt x="519798" y="1091911"/>
                        <a:pt x="520884" y="1089901"/>
                        <a:pt x="525075" y="1089329"/>
                      </a:cubicBezTo>
                      <a:cubicBezTo>
                        <a:pt x="528190" y="1088901"/>
                        <a:pt x="531181" y="1089977"/>
                        <a:pt x="534353" y="1090177"/>
                      </a:cubicBezTo>
                      <a:cubicBezTo>
                        <a:pt x="533247" y="1088720"/>
                        <a:pt x="532962" y="1086881"/>
                        <a:pt x="531552" y="1085472"/>
                      </a:cubicBezTo>
                      <a:cubicBezTo>
                        <a:pt x="535553" y="1083557"/>
                        <a:pt x="551345" y="1080490"/>
                        <a:pt x="551993" y="1076804"/>
                      </a:cubicBezTo>
                      <a:cubicBezTo>
                        <a:pt x="553812" y="1066603"/>
                        <a:pt x="535553" y="1075308"/>
                        <a:pt x="531952" y="1074842"/>
                      </a:cubicBezTo>
                      <a:cubicBezTo>
                        <a:pt x="533543" y="1073727"/>
                        <a:pt x="535048" y="1072165"/>
                        <a:pt x="536629" y="1071337"/>
                      </a:cubicBezTo>
                      <a:cubicBezTo>
                        <a:pt x="532191" y="1071108"/>
                        <a:pt x="527580" y="1075013"/>
                        <a:pt x="523456" y="1076690"/>
                      </a:cubicBezTo>
                      <a:cubicBezTo>
                        <a:pt x="522437" y="1074613"/>
                        <a:pt x="522503" y="1071213"/>
                        <a:pt x="522427" y="1070441"/>
                      </a:cubicBezTo>
                      <a:cubicBezTo>
                        <a:pt x="522237" y="1068870"/>
                        <a:pt x="520665" y="1063783"/>
                        <a:pt x="522208" y="1061564"/>
                      </a:cubicBezTo>
                      <a:cubicBezTo>
                        <a:pt x="523789" y="1059278"/>
                        <a:pt x="527980" y="1060288"/>
                        <a:pt x="530248" y="1058602"/>
                      </a:cubicBezTo>
                      <a:cubicBezTo>
                        <a:pt x="532324" y="1057059"/>
                        <a:pt x="532543" y="1053906"/>
                        <a:pt x="534648" y="1052925"/>
                      </a:cubicBezTo>
                      <a:cubicBezTo>
                        <a:pt x="538982" y="1050905"/>
                        <a:pt x="547306" y="1053763"/>
                        <a:pt x="552193" y="1053201"/>
                      </a:cubicBezTo>
                      <a:cubicBezTo>
                        <a:pt x="558899" y="1052429"/>
                        <a:pt x="558717" y="1051010"/>
                        <a:pt x="558765" y="1043866"/>
                      </a:cubicBezTo>
                      <a:cubicBezTo>
                        <a:pt x="558775" y="1041885"/>
                        <a:pt x="559708" y="1040818"/>
                        <a:pt x="559480" y="1039409"/>
                      </a:cubicBezTo>
                      <a:cubicBezTo>
                        <a:pt x="559508" y="1039571"/>
                        <a:pt x="557003" y="1038285"/>
                        <a:pt x="556698" y="1037637"/>
                      </a:cubicBezTo>
                      <a:cubicBezTo>
                        <a:pt x="556384" y="1036951"/>
                        <a:pt x="556917" y="1034599"/>
                        <a:pt x="555660" y="1032836"/>
                      </a:cubicBezTo>
                      <a:cubicBezTo>
                        <a:pt x="554431" y="1031141"/>
                        <a:pt x="549545" y="1030141"/>
                        <a:pt x="549212" y="1029465"/>
                      </a:cubicBezTo>
                      <a:cubicBezTo>
                        <a:pt x="546087" y="1023169"/>
                        <a:pt x="554022" y="1023102"/>
                        <a:pt x="556698" y="1022187"/>
                      </a:cubicBezTo>
                      <a:cubicBezTo>
                        <a:pt x="553631" y="1020054"/>
                        <a:pt x="548859" y="1020321"/>
                        <a:pt x="546887" y="1016339"/>
                      </a:cubicBezTo>
                      <a:cubicBezTo>
                        <a:pt x="550069" y="1015187"/>
                        <a:pt x="555165" y="1013101"/>
                        <a:pt x="555736" y="1009062"/>
                      </a:cubicBezTo>
                      <a:cubicBezTo>
                        <a:pt x="556041" y="1006814"/>
                        <a:pt x="553946" y="1001318"/>
                        <a:pt x="552783" y="1000204"/>
                      </a:cubicBezTo>
                      <a:cubicBezTo>
                        <a:pt x="550145" y="997651"/>
                        <a:pt x="550669" y="999461"/>
                        <a:pt x="546563" y="998661"/>
                      </a:cubicBezTo>
                      <a:cubicBezTo>
                        <a:pt x="542496" y="997870"/>
                        <a:pt x="537020" y="995308"/>
                        <a:pt x="533286" y="993593"/>
                      </a:cubicBezTo>
                      <a:cubicBezTo>
                        <a:pt x="526523" y="990469"/>
                        <a:pt x="521608" y="990222"/>
                        <a:pt x="514103" y="987640"/>
                      </a:cubicBezTo>
                      <a:cubicBezTo>
                        <a:pt x="512198" y="986993"/>
                        <a:pt x="503158" y="983392"/>
                        <a:pt x="501730" y="983649"/>
                      </a:cubicBezTo>
                      <a:cubicBezTo>
                        <a:pt x="498110" y="984297"/>
                        <a:pt x="501110" y="987021"/>
                        <a:pt x="497291" y="987555"/>
                      </a:cubicBezTo>
                      <a:cubicBezTo>
                        <a:pt x="487651" y="988888"/>
                        <a:pt x="482880" y="972334"/>
                        <a:pt x="474193" y="972095"/>
                      </a:cubicBezTo>
                      <a:cubicBezTo>
                        <a:pt x="472802" y="972057"/>
                        <a:pt x="466849" y="974096"/>
                        <a:pt x="465316" y="974610"/>
                      </a:cubicBezTo>
                      <a:cubicBezTo>
                        <a:pt x="463706" y="975153"/>
                        <a:pt x="461372" y="976344"/>
                        <a:pt x="459991" y="976601"/>
                      </a:cubicBezTo>
                      <a:cubicBezTo>
                        <a:pt x="457190" y="977125"/>
                        <a:pt x="457943" y="977029"/>
                        <a:pt x="454991" y="976982"/>
                      </a:cubicBezTo>
                      <a:cubicBezTo>
                        <a:pt x="450809" y="976906"/>
                        <a:pt x="448808" y="974639"/>
                        <a:pt x="445360" y="973505"/>
                      </a:cubicBezTo>
                      <a:cubicBezTo>
                        <a:pt x="443274" y="972819"/>
                        <a:pt x="441874" y="971819"/>
                        <a:pt x="439493" y="971734"/>
                      </a:cubicBezTo>
                      <a:cubicBezTo>
                        <a:pt x="437084" y="971648"/>
                        <a:pt x="433788" y="974334"/>
                        <a:pt x="432206" y="974172"/>
                      </a:cubicBezTo>
                      <a:cubicBezTo>
                        <a:pt x="425006" y="973467"/>
                        <a:pt x="424329" y="965495"/>
                        <a:pt x="422434" y="960904"/>
                      </a:cubicBezTo>
                      <a:cubicBezTo>
                        <a:pt x="420005" y="955008"/>
                        <a:pt x="417119" y="951998"/>
                        <a:pt x="412014" y="949778"/>
                      </a:cubicBezTo>
                      <a:cubicBezTo>
                        <a:pt x="410299" y="949026"/>
                        <a:pt x="410890" y="947816"/>
                        <a:pt x="408670" y="947207"/>
                      </a:cubicBezTo>
                      <a:cubicBezTo>
                        <a:pt x="406565" y="946626"/>
                        <a:pt x="404041" y="948359"/>
                        <a:pt x="401926" y="948197"/>
                      </a:cubicBezTo>
                      <a:cubicBezTo>
                        <a:pt x="397802" y="947892"/>
                        <a:pt x="391906" y="946359"/>
                        <a:pt x="387906" y="945530"/>
                      </a:cubicBezTo>
                      <a:cubicBezTo>
                        <a:pt x="390268" y="942578"/>
                        <a:pt x="384258" y="935453"/>
                        <a:pt x="382429" y="932186"/>
                      </a:cubicBezTo>
                      <a:cubicBezTo>
                        <a:pt x="395640" y="930633"/>
                        <a:pt x="381486" y="923232"/>
                        <a:pt x="376504" y="917584"/>
                      </a:cubicBezTo>
                      <a:cubicBezTo>
                        <a:pt x="370922" y="911269"/>
                        <a:pt x="362807" y="909907"/>
                        <a:pt x="354568" y="911136"/>
                      </a:cubicBezTo>
                      <a:cubicBezTo>
                        <a:pt x="350529" y="911745"/>
                        <a:pt x="347844" y="913955"/>
                        <a:pt x="343690" y="913879"/>
                      </a:cubicBezTo>
                      <a:cubicBezTo>
                        <a:pt x="340605" y="913822"/>
                        <a:pt x="336594" y="911088"/>
                        <a:pt x="333842" y="913002"/>
                      </a:cubicBezTo>
                      <a:cubicBezTo>
                        <a:pt x="330956" y="915003"/>
                        <a:pt x="333528" y="918889"/>
                        <a:pt x="328860" y="920508"/>
                      </a:cubicBezTo>
                      <a:cubicBezTo>
                        <a:pt x="326422" y="921356"/>
                        <a:pt x="321364" y="920194"/>
                        <a:pt x="319373" y="918870"/>
                      </a:cubicBezTo>
                      <a:cubicBezTo>
                        <a:pt x="313839" y="915203"/>
                        <a:pt x="313011" y="908983"/>
                        <a:pt x="311801" y="904135"/>
                      </a:cubicBezTo>
                      <a:cubicBezTo>
                        <a:pt x="311487" y="902868"/>
                        <a:pt x="309677" y="898182"/>
                        <a:pt x="309010" y="897210"/>
                      </a:cubicBezTo>
                      <a:cubicBezTo>
                        <a:pt x="307439" y="894924"/>
                        <a:pt x="301304" y="893067"/>
                        <a:pt x="300581" y="890266"/>
                      </a:cubicBezTo>
                      <a:cubicBezTo>
                        <a:pt x="298228" y="881189"/>
                        <a:pt x="310191" y="885694"/>
                        <a:pt x="313506" y="886590"/>
                      </a:cubicBezTo>
                      <a:cubicBezTo>
                        <a:pt x="317268" y="887609"/>
                        <a:pt x="320859" y="888466"/>
                        <a:pt x="324498" y="886542"/>
                      </a:cubicBezTo>
                      <a:cubicBezTo>
                        <a:pt x="325289" y="886132"/>
                        <a:pt x="333232" y="880522"/>
                        <a:pt x="333385" y="880122"/>
                      </a:cubicBezTo>
                      <a:cubicBezTo>
                        <a:pt x="334137" y="878150"/>
                        <a:pt x="334337" y="878408"/>
                        <a:pt x="332242" y="875950"/>
                      </a:cubicBezTo>
                      <a:cubicBezTo>
                        <a:pt x="330994" y="874483"/>
                        <a:pt x="328117" y="874131"/>
                        <a:pt x="326603" y="872816"/>
                      </a:cubicBezTo>
                      <a:cubicBezTo>
                        <a:pt x="325841" y="872150"/>
                        <a:pt x="325850" y="870035"/>
                        <a:pt x="325793" y="869988"/>
                      </a:cubicBezTo>
                      <a:cubicBezTo>
                        <a:pt x="322021" y="866920"/>
                        <a:pt x="309163" y="866749"/>
                        <a:pt x="307429" y="864339"/>
                      </a:cubicBezTo>
                      <a:cubicBezTo>
                        <a:pt x="306505" y="863044"/>
                        <a:pt x="308334" y="859624"/>
                        <a:pt x="306686" y="857510"/>
                      </a:cubicBezTo>
                      <a:cubicBezTo>
                        <a:pt x="304410" y="854576"/>
                        <a:pt x="297228" y="854033"/>
                        <a:pt x="294122" y="851385"/>
                      </a:cubicBezTo>
                      <a:cubicBezTo>
                        <a:pt x="292265" y="849804"/>
                        <a:pt x="286588" y="845184"/>
                        <a:pt x="285502" y="843575"/>
                      </a:cubicBezTo>
                      <a:cubicBezTo>
                        <a:pt x="284683" y="842365"/>
                        <a:pt x="287464" y="840431"/>
                        <a:pt x="286493" y="839374"/>
                      </a:cubicBezTo>
                      <a:cubicBezTo>
                        <a:pt x="285283" y="838031"/>
                        <a:pt x="283178" y="838174"/>
                        <a:pt x="281816" y="837145"/>
                      </a:cubicBezTo>
                      <a:cubicBezTo>
                        <a:pt x="272349" y="830049"/>
                        <a:pt x="280997" y="832107"/>
                        <a:pt x="278321" y="823629"/>
                      </a:cubicBezTo>
                      <a:cubicBezTo>
                        <a:pt x="277473" y="820953"/>
                        <a:pt x="274101" y="819934"/>
                        <a:pt x="273358" y="817162"/>
                      </a:cubicBezTo>
                      <a:cubicBezTo>
                        <a:pt x="272948" y="815628"/>
                        <a:pt x="275911" y="812399"/>
                        <a:pt x="273806" y="809618"/>
                      </a:cubicBezTo>
                      <a:cubicBezTo>
                        <a:pt x="272834" y="808342"/>
                        <a:pt x="263281" y="803770"/>
                        <a:pt x="261214" y="802798"/>
                      </a:cubicBezTo>
                      <a:cubicBezTo>
                        <a:pt x="254203" y="799484"/>
                        <a:pt x="248355" y="801388"/>
                        <a:pt x="241992" y="803465"/>
                      </a:cubicBezTo>
                      <a:cubicBezTo>
                        <a:pt x="236677" y="805198"/>
                        <a:pt x="237887" y="806189"/>
                        <a:pt x="234125" y="802074"/>
                      </a:cubicBezTo>
                      <a:cubicBezTo>
                        <a:pt x="231810" y="799550"/>
                        <a:pt x="235448" y="799484"/>
                        <a:pt x="230305" y="796826"/>
                      </a:cubicBezTo>
                      <a:cubicBezTo>
                        <a:pt x="224666" y="793911"/>
                        <a:pt x="223914" y="798369"/>
                        <a:pt x="219294" y="797883"/>
                      </a:cubicBezTo>
                      <a:cubicBezTo>
                        <a:pt x="216465" y="797588"/>
                        <a:pt x="213808" y="794045"/>
                        <a:pt x="210750" y="793226"/>
                      </a:cubicBezTo>
                      <a:cubicBezTo>
                        <a:pt x="206616" y="792121"/>
                        <a:pt x="205445" y="795902"/>
                        <a:pt x="202292" y="790825"/>
                      </a:cubicBezTo>
                      <a:cubicBezTo>
                        <a:pt x="200787" y="788396"/>
                        <a:pt x="201111" y="783281"/>
                        <a:pt x="198854" y="779986"/>
                      </a:cubicBezTo>
                      <a:cubicBezTo>
                        <a:pt x="196110" y="775976"/>
                        <a:pt x="190748" y="767079"/>
                        <a:pt x="185195" y="769442"/>
                      </a:cubicBezTo>
                      <a:cubicBezTo>
                        <a:pt x="185995" y="767279"/>
                        <a:pt x="188109" y="758707"/>
                        <a:pt x="187452" y="756773"/>
                      </a:cubicBezTo>
                      <a:cubicBezTo>
                        <a:pt x="186462" y="753802"/>
                        <a:pt x="180070" y="750487"/>
                        <a:pt x="177851" y="748563"/>
                      </a:cubicBezTo>
                      <a:cubicBezTo>
                        <a:pt x="175879" y="746839"/>
                        <a:pt x="174317" y="749268"/>
                        <a:pt x="173803" y="746258"/>
                      </a:cubicBezTo>
                      <a:cubicBezTo>
                        <a:pt x="173460" y="744219"/>
                        <a:pt x="175003" y="742467"/>
                        <a:pt x="176156" y="741114"/>
                      </a:cubicBezTo>
                      <a:cubicBezTo>
                        <a:pt x="176832" y="740333"/>
                        <a:pt x="181566" y="738038"/>
                        <a:pt x="181546" y="738076"/>
                      </a:cubicBezTo>
                      <a:cubicBezTo>
                        <a:pt x="182175" y="735914"/>
                        <a:pt x="180175" y="737266"/>
                        <a:pt x="179727" y="735590"/>
                      </a:cubicBezTo>
                      <a:cubicBezTo>
                        <a:pt x="178556" y="731323"/>
                        <a:pt x="173993" y="727017"/>
                        <a:pt x="172469" y="722788"/>
                      </a:cubicBezTo>
                      <a:cubicBezTo>
                        <a:pt x="171279" y="719464"/>
                        <a:pt x="167374" y="711596"/>
                        <a:pt x="167783" y="708272"/>
                      </a:cubicBezTo>
                      <a:cubicBezTo>
                        <a:pt x="168173" y="705176"/>
                        <a:pt x="173174" y="698785"/>
                        <a:pt x="174898" y="696080"/>
                      </a:cubicBezTo>
                      <a:cubicBezTo>
                        <a:pt x="177260" y="692346"/>
                        <a:pt x="177670" y="692537"/>
                        <a:pt x="181042" y="689784"/>
                      </a:cubicBezTo>
                      <a:cubicBezTo>
                        <a:pt x="178775" y="688184"/>
                        <a:pt x="174403" y="681535"/>
                        <a:pt x="175498" y="678716"/>
                      </a:cubicBezTo>
                      <a:cubicBezTo>
                        <a:pt x="177137" y="674506"/>
                        <a:pt x="177918" y="679068"/>
                        <a:pt x="180165" y="678726"/>
                      </a:cubicBezTo>
                      <a:cubicBezTo>
                        <a:pt x="181766" y="678478"/>
                        <a:pt x="182594" y="679440"/>
                        <a:pt x="184175" y="679087"/>
                      </a:cubicBezTo>
                      <a:cubicBezTo>
                        <a:pt x="185785" y="678726"/>
                        <a:pt x="184623" y="676135"/>
                        <a:pt x="185261" y="675916"/>
                      </a:cubicBezTo>
                      <a:cubicBezTo>
                        <a:pt x="188738" y="674696"/>
                        <a:pt x="193272" y="676735"/>
                        <a:pt x="197339" y="674858"/>
                      </a:cubicBezTo>
                      <a:cubicBezTo>
                        <a:pt x="198406" y="674363"/>
                        <a:pt x="198482" y="671172"/>
                        <a:pt x="200073" y="670401"/>
                      </a:cubicBezTo>
                      <a:cubicBezTo>
                        <a:pt x="202235" y="669353"/>
                        <a:pt x="207750" y="670829"/>
                        <a:pt x="210055" y="671163"/>
                      </a:cubicBezTo>
                      <a:cubicBezTo>
                        <a:pt x="212912" y="671563"/>
                        <a:pt x="224495" y="675068"/>
                        <a:pt x="224933" y="673096"/>
                      </a:cubicBezTo>
                      <a:cubicBezTo>
                        <a:pt x="225285" y="671534"/>
                        <a:pt x="214798" y="664571"/>
                        <a:pt x="212560" y="663962"/>
                      </a:cubicBezTo>
                      <a:cubicBezTo>
                        <a:pt x="207321" y="662495"/>
                        <a:pt x="201863" y="665610"/>
                        <a:pt x="196472" y="663600"/>
                      </a:cubicBezTo>
                      <a:cubicBezTo>
                        <a:pt x="191472" y="661733"/>
                        <a:pt x="184080" y="657599"/>
                        <a:pt x="181223" y="653084"/>
                      </a:cubicBezTo>
                      <a:cubicBezTo>
                        <a:pt x="182194" y="653789"/>
                        <a:pt x="183585" y="654046"/>
                        <a:pt x="184633" y="654608"/>
                      </a:cubicBezTo>
                      <a:cubicBezTo>
                        <a:pt x="186909" y="644816"/>
                        <a:pt x="169383" y="652646"/>
                        <a:pt x="164954" y="653208"/>
                      </a:cubicBezTo>
                      <a:cubicBezTo>
                        <a:pt x="174203" y="644388"/>
                        <a:pt x="184413" y="637892"/>
                        <a:pt x="193834" y="629538"/>
                      </a:cubicBezTo>
                      <a:cubicBezTo>
                        <a:pt x="203711" y="620785"/>
                        <a:pt x="211379" y="609793"/>
                        <a:pt x="220961" y="600725"/>
                      </a:cubicBezTo>
                      <a:cubicBezTo>
                        <a:pt x="226390" y="595582"/>
                        <a:pt x="230505" y="591934"/>
                        <a:pt x="232963" y="584704"/>
                      </a:cubicBezTo>
                      <a:cubicBezTo>
                        <a:pt x="235477" y="577294"/>
                        <a:pt x="234134" y="577703"/>
                        <a:pt x="228219" y="572903"/>
                      </a:cubicBezTo>
                      <a:cubicBezTo>
                        <a:pt x="217618" y="564292"/>
                        <a:pt x="203778" y="561225"/>
                        <a:pt x="193177" y="552443"/>
                      </a:cubicBezTo>
                      <a:cubicBezTo>
                        <a:pt x="200540" y="549662"/>
                        <a:pt x="206350" y="541270"/>
                        <a:pt x="198777" y="535565"/>
                      </a:cubicBezTo>
                      <a:cubicBezTo>
                        <a:pt x="195224" y="532888"/>
                        <a:pt x="188481" y="533203"/>
                        <a:pt x="187223" y="527592"/>
                      </a:cubicBezTo>
                      <a:cubicBezTo>
                        <a:pt x="186519" y="524440"/>
                        <a:pt x="190881" y="524068"/>
                        <a:pt x="187900" y="520515"/>
                      </a:cubicBezTo>
                      <a:cubicBezTo>
                        <a:pt x="185147" y="517220"/>
                        <a:pt x="178508" y="520306"/>
                        <a:pt x="176203" y="514934"/>
                      </a:cubicBezTo>
                      <a:cubicBezTo>
                        <a:pt x="174136" y="510076"/>
                        <a:pt x="179051" y="511743"/>
                        <a:pt x="178918" y="509200"/>
                      </a:cubicBezTo>
                      <a:cubicBezTo>
                        <a:pt x="178670" y="504456"/>
                        <a:pt x="174822" y="507828"/>
                        <a:pt x="173346" y="504761"/>
                      </a:cubicBezTo>
                      <a:cubicBezTo>
                        <a:pt x="171936" y="501818"/>
                        <a:pt x="178841" y="495026"/>
                        <a:pt x="172964" y="492921"/>
                      </a:cubicBezTo>
                      <a:cubicBezTo>
                        <a:pt x="174927" y="491883"/>
                        <a:pt x="180223" y="492188"/>
                        <a:pt x="180889" y="490416"/>
                      </a:cubicBezTo>
                      <a:cubicBezTo>
                        <a:pt x="181642" y="488406"/>
                        <a:pt x="177060" y="483473"/>
                        <a:pt x="176213" y="482291"/>
                      </a:cubicBezTo>
                      <a:cubicBezTo>
                        <a:pt x="172536" y="477186"/>
                        <a:pt x="168040" y="473281"/>
                        <a:pt x="163916" y="468547"/>
                      </a:cubicBezTo>
                      <a:cubicBezTo>
                        <a:pt x="160925" y="465108"/>
                        <a:pt x="150933" y="457603"/>
                        <a:pt x="149676" y="453669"/>
                      </a:cubicBezTo>
                      <a:cubicBezTo>
                        <a:pt x="147999" y="448382"/>
                        <a:pt x="154210" y="442820"/>
                        <a:pt x="157486" y="438962"/>
                      </a:cubicBezTo>
                      <a:cubicBezTo>
                        <a:pt x="163897" y="431437"/>
                        <a:pt x="165783" y="429894"/>
                        <a:pt x="157277" y="424418"/>
                      </a:cubicBezTo>
                      <a:cubicBezTo>
                        <a:pt x="149876" y="419646"/>
                        <a:pt x="145323" y="416207"/>
                        <a:pt x="136817" y="413521"/>
                      </a:cubicBezTo>
                      <a:cubicBezTo>
                        <a:pt x="129540" y="411225"/>
                        <a:pt x="124016" y="406034"/>
                        <a:pt x="125911" y="398567"/>
                      </a:cubicBezTo>
                      <a:cubicBezTo>
                        <a:pt x="128740" y="387432"/>
                        <a:pt x="128502" y="395271"/>
                        <a:pt x="120377" y="389613"/>
                      </a:cubicBezTo>
                      <a:cubicBezTo>
                        <a:pt x="123968" y="388889"/>
                        <a:pt x="129797" y="387480"/>
                        <a:pt x="132855" y="385460"/>
                      </a:cubicBezTo>
                      <a:cubicBezTo>
                        <a:pt x="136436" y="383089"/>
                        <a:pt x="135207" y="380193"/>
                        <a:pt x="138151" y="377421"/>
                      </a:cubicBezTo>
                      <a:cubicBezTo>
                        <a:pt x="140484" y="375211"/>
                        <a:pt x="159230" y="375126"/>
                        <a:pt x="152162" y="366753"/>
                      </a:cubicBezTo>
                      <a:cubicBezTo>
                        <a:pt x="156963" y="367087"/>
                        <a:pt x="175574" y="374697"/>
                        <a:pt x="166002" y="361914"/>
                      </a:cubicBezTo>
                      <a:cubicBezTo>
                        <a:pt x="171917" y="362210"/>
                        <a:pt x="176975" y="365524"/>
                        <a:pt x="182813" y="364077"/>
                      </a:cubicBezTo>
                      <a:cubicBezTo>
                        <a:pt x="180404" y="364677"/>
                        <a:pt x="190567" y="358733"/>
                        <a:pt x="189024" y="360905"/>
                      </a:cubicBezTo>
                      <a:cubicBezTo>
                        <a:pt x="189709" y="359933"/>
                        <a:pt x="189690" y="358647"/>
                        <a:pt x="188233" y="356552"/>
                      </a:cubicBezTo>
                      <a:cubicBezTo>
                        <a:pt x="191796" y="357571"/>
                        <a:pt x="211207" y="361533"/>
                        <a:pt x="212103" y="364648"/>
                      </a:cubicBezTo>
                      <a:cubicBezTo>
                        <a:pt x="213884" y="370887"/>
                        <a:pt x="196072" y="364277"/>
                        <a:pt x="193157" y="366658"/>
                      </a:cubicBezTo>
                      <a:cubicBezTo>
                        <a:pt x="198492" y="368753"/>
                        <a:pt x="200063" y="370439"/>
                        <a:pt x="205502" y="371201"/>
                      </a:cubicBezTo>
                      <a:cubicBezTo>
                        <a:pt x="208597" y="371620"/>
                        <a:pt x="216018" y="370401"/>
                        <a:pt x="213313" y="374516"/>
                      </a:cubicBezTo>
                      <a:cubicBezTo>
                        <a:pt x="216903" y="375097"/>
                        <a:pt x="221675" y="370544"/>
                        <a:pt x="224314" y="374278"/>
                      </a:cubicBezTo>
                      <a:cubicBezTo>
                        <a:pt x="226514" y="377383"/>
                        <a:pt x="222133" y="382936"/>
                        <a:pt x="220237" y="384422"/>
                      </a:cubicBezTo>
                      <a:cubicBezTo>
                        <a:pt x="225123" y="384213"/>
                        <a:pt x="224361" y="381717"/>
                        <a:pt x="227362" y="379974"/>
                      </a:cubicBezTo>
                      <a:cubicBezTo>
                        <a:pt x="231534" y="377555"/>
                        <a:pt x="228000" y="377564"/>
                        <a:pt x="234315" y="376773"/>
                      </a:cubicBezTo>
                      <a:cubicBezTo>
                        <a:pt x="241783" y="375830"/>
                        <a:pt x="248355" y="378736"/>
                        <a:pt x="255622" y="379402"/>
                      </a:cubicBezTo>
                      <a:cubicBezTo>
                        <a:pt x="262337" y="380012"/>
                        <a:pt x="265795" y="378031"/>
                        <a:pt x="273091" y="379717"/>
                      </a:cubicBezTo>
                      <a:cubicBezTo>
                        <a:pt x="280530" y="381422"/>
                        <a:pt x="287750" y="383917"/>
                        <a:pt x="294970" y="386422"/>
                      </a:cubicBezTo>
                      <a:cubicBezTo>
                        <a:pt x="309686" y="391528"/>
                        <a:pt x="322907" y="397367"/>
                        <a:pt x="336766" y="404263"/>
                      </a:cubicBezTo>
                      <a:cubicBezTo>
                        <a:pt x="341852" y="406796"/>
                        <a:pt x="345519" y="407063"/>
                        <a:pt x="350644" y="408454"/>
                      </a:cubicBezTo>
                      <a:cubicBezTo>
                        <a:pt x="358550" y="410606"/>
                        <a:pt x="364865" y="416417"/>
                        <a:pt x="373371" y="416245"/>
                      </a:cubicBezTo>
                      <a:cubicBezTo>
                        <a:pt x="372380" y="415245"/>
                        <a:pt x="371751" y="413902"/>
                        <a:pt x="370656" y="412978"/>
                      </a:cubicBezTo>
                      <a:cubicBezTo>
                        <a:pt x="377171" y="414702"/>
                        <a:pt x="382191" y="420750"/>
                        <a:pt x="388258" y="423598"/>
                      </a:cubicBezTo>
                      <a:cubicBezTo>
                        <a:pt x="391239" y="424999"/>
                        <a:pt x="394630" y="425094"/>
                        <a:pt x="397678" y="426294"/>
                      </a:cubicBezTo>
                      <a:cubicBezTo>
                        <a:pt x="402936" y="428351"/>
                        <a:pt x="402945" y="429647"/>
                        <a:pt x="406194" y="434914"/>
                      </a:cubicBezTo>
                      <a:cubicBezTo>
                        <a:pt x="409337" y="440019"/>
                        <a:pt x="414814" y="442020"/>
                        <a:pt x="416395" y="446839"/>
                      </a:cubicBezTo>
                      <a:cubicBezTo>
                        <a:pt x="418929" y="454545"/>
                        <a:pt x="410413" y="462518"/>
                        <a:pt x="405137" y="466899"/>
                      </a:cubicBezTo>
                      <a:cubicBezTo>
                        <a:pt x="379019" y="488606"/>
                        <a:pt x="343919" y="474167"/>
                        <a:pt x="315011" y="471566"/>
                      </a:cubicBezTo>
                      <a:cubicBezTo>
                        <a:pt x="306905" y="470842"/>
                        <a:pt x="298171" y="469795"/>
                        <a:pt x="290474" y="467137"/>
                      </a:cubicBezTo>
                      <a:cubicBezTo>
                        <a:pt x="286331" y="465708"/>
                        <a:pt x="281750" y="462232"/>
                        <a:pt x="277501" y="462032"/>
                      </a:cubicBezTo>
                      <a:cubicBezTo>
                        <a:pt x="275072" y="461917"/>
                        <a:pt x="267814" y="466261"/>
                        <a:pt x="269453" y="460574"/>
                      </a:cubicBezTo>
                      <a:cubicBezTo>
                        <a:pt x="264986" y="459555"/>
                        <a:pt x="226409" y="454155"/>
                        <a:pt x="232372" y="446849"/>
                      </a:cubicBezTo>
                      <a:cubicBezTo>
                        <a:pt x="224409" y="445487"/>
                        <a:pt x="217189" y="444696"/>
                        <a:pt x="209122" y="444506"/>
                      </a:cubicBezTo>
                      <a:cubicBezTo>
                        <a:pt x="213417" y="446716"/>
                        <a:pt x="218447" y="445849"/>
                        <a:pt x="222609" y="448944"/>
                      </a:cubicBezTo>
                      <a:cubicBezTo>
                        <a:pt x="224190" y="450126"/>
                        <a:pt x="224276" y="451821"/>
                        <a:pt x="226362" y="453593"/>
                      </a:cubicBezTo>
                      <a:cubicBezTo>
                        <a:pt x="227990" y="454983"/>
                        <a:pt x="231648" y="456726"/>
                        <a:pt x="233601" y="457555"/>
                      </a:cubicBezTo>
                      <a:cubicBezTo>
                        <a:pt x="236744" y="458898"/>
                        <a:pt x="240268" y="460832"/>
                        <a:pt x="242707" y="462308"/>
                      </a:cubicBezTo>
                      <a:cubicBezTo>
                        <a:pt x="245050" y="463718"/>
                        <a:pt x="249164" y="465966"/>
                        <a:pt x="253727" y="467147"/>
                      </a:cubicBezTo>
                      <a:cubicBezTo>
                        <a:pt x="252717" y="469376"/>
                        <a:pt x="250727" y="470595"/>
                        <a:pt x="248165" y="470709"/>
                      </a:cubicBezTo>
                      <a:cubicBezTo>
                        <a:pt x="258728" y="471900"/>
                        <a:pt x="269005" y="474005"/>
                        <a:pt x="277806" y="480491"/>
                      </a:cubicBezTo>
                      <a:cubicBezTo>
                        <a:pt x="283464" y="484663"/>
                        <a:pt x="288827" y="495455"/>
                        <a:pt x="279311" y="500122"/>
                      </a:cubicBezTo>
                      <a:cubicBezTo>
                        <a:pt x="282731" y="503475"/>
                        <a:pt x="286512" y="506361"/>
                        <a:pt x="289446" y="510162"/>
                      </a:cubicBezTo>
                      <a:cubicBezTo>
                        <a:pt x="291827" y="513248"/>
                        <a:pt x="293237" y="519429"/>
                        <a:pt x="297056" y="520277"/>
                      </a:cubicBezTo>
                      <a:cubicBezTo>
                        <a:pt x="291275" y="523925"/>
                        <a:pt x="301714" y="530212"/>
                        <a:pt x="304762" y="531440"/>
                      </a:cubicBezTo>
                      <a:cubicBezTo>
                        <a:pt x="310915" y="533936"/>
                        <a:pt x="316087" y="531907"/>
                        <a:pt x="322202" y="534717"/>
                      </a:cubicBezTo>
                      <a:cubicBezTo>
                        <a:pt x="328908" y="537794"/>
                        <a:pt x="332842" y="542842"/>
                        <a:pt x="339814" y="544909"/>
                      </a:cubicBezTo>
                      <a:cubicBezTo>
                        <a:pt x="344843" y="546404"/>
                        <a:pt x="355226" y="550224"/>
                        <a:pt x="360150" y="549862"/>
                      </a:cubicBezTo>
                      <a:cubicBezTo>
                        <a:pt x="362683" y="549671"/>
                        <a:pt x="373542" y="546109"/>
                        <a:pt x="374009" y="543280"/>
                      </a:cubicBezTo>
                      <a:cubicBezTo>
                        <a:pt x="374818" y="538346"/>
                        <a:pt x="365712" y="532145"/>
                        <a:pt x="361988" y="531717"/>
                      </a:cubicBezTo>
                      <a:cubicBezTo>
                        <a:pt x="354235" y="530821"/>
                        <a:pt x="351177" y="532117"/>
                        <a:pt x="344376" y="527107"/>
                      </a:cubicBezTo>
                      <a:cubicBezTo>
                        <a:pt x="340062" y="523925"/>
                        <a:pt x="331784" y="520306"/>
                        <a:pt x="330956" y="514534"/>
                      </a:cubicBezTo>
                      <a:cubicBezTo>
                        <a:pt x="338156" y="515943"/>
                        <a:pt x="333861" y="509285"/>
                        <a:pt x="336613" y="507171"/>
                      </a:cubicBezTo>
                      <a:cubicBezTo>
                        <a:pt x="339233" y="505161"/>
                        <a:pt x="344310" y="507095"/>
                        <a:pt x="346901" y="507828"/>
                      </a:cubicBezTo>
                      <a:cubicBezTo>
                        <a:pt x="354835" y="510085"/>
                        <a:pt x="361160" y="515448"/>
                        <a:pt x="369123" y="517258"/>
                      </a:cubicBezTo>
                      <a:cubicBezTo>
                        <a:pt x="375542" y="518715"/>
                        <a:pt x="382457" y="519629"/>
                        <a:pt x="389306" y="521534"/>
                      </a:cubicBezTo>
                      <a:cubicBezTo>
                        <a:pt x="393135" y="522601"/>
                        <a:pt x="398098" y="525964"/>
                        <a:pt x="402003" y="525916"/>
                      </a:cubicBezTo>
                      <a:cubicBezTo>
                        <a:pt x="407566" y="525849"/>
                        <a:pt x="404955" y="524125"/>
                        <a:pt x="407727" y="522344"/>
                      </a:cubicBezTo>
                      <a:cubicBezTo>
                        <a:pt x="414766" y="517829"/>
                        <a:pt x="425634" y="522249"/>
                        <a:pt x="414356" y="512638"/>
                      </a:cubicBezTo>
                      <a:cubicBezTo>
                        <a:pt x="409832" y="508790"/>
                        <a:pt x="398860" y="504647"/>
                        <a:pt x="397935" y="497808"/>
                      </a:cubicBezTo>
                      <a:cubicBezTo>
                        <a:pt x="397259" y="492798"/>
                        <a:pt x="400003" y="493007"/>
                        <a:pt x="403936" y="490835"/>
                      </a:cubicBezTo>
                      <a:cubicBezTo>
                        <a:pt x="407908" y="488645"/>
                        <a:pt x="409918" y="484958"/>
                        <a:pt x="413376" y="482720"/>
                      </a:cubicBezTo>
                      <a:cubicBezTo>
                        <a:pt x="420053" y="478405"/>
                        <a:pt x="428578" y="479548"/>
                        <a:pt x="434750" y="472928"/>
                      </a:cubicBezTo>
                      <a:cubicBezTo>
                        <a:pt x="438150" y="469290"/>
                        <a:pt x="438464" y="465099"/>
                        <a:pt x="443798" y="464880"/>
                      </a:cubicBezTo>
                      <a:cubicBezTo>
                        <a:pt x="447847" y="464718"/>
                        <a:pt x="452466" y="467852"/>
                        <a:pt x="456886" y="468052"/>
                      </a:cubicBezTo>
                      <a:cubicBezTo>
                        <a:pt x="463430" y="468366"/>
                        <a:pt x="478155" y="468109"/>
                        <a:pt x="475154" y="477196"/>
                      </a:cubicBezTo>
                      <a:cubicBezTo>
                        <a:pt x="480241" y="474395"/>
                        <a:pt x="484575" y="478367"/>
                        <a:pt x="488861" y="480815"/>
                      </a:cubicBezTo>
                      <a:cubicBezTo>
                        <a:pt x="489261" y="476253"/>
                        <a:pt x="486175" y="474014"/>
                        <a:pt x="486880" y="469109"/>
                      </a:cubicBezTo>
                      <a:cubicBezTo>
                        <a:pt x="487794" y="462803"/>
                        <a:pt x="489890" y="462260"/>
                        <a:pt x="487442" y="456050"/>
                      </a:cubicBezTo>
                      <a:cubicBezTo>
                        <a:pt x="485518" y="451202"/>
                        <a:pt x="483870" y="448059"/>
                        <a:pt x="479022" y="445744"/>
                      </a:cubicBezTo>
                      <a:cubicBezTo>
                        <a:pt x="473669" y="443182"/>
                        <a:pt x="468792" y="445106"/>
                        <a:pt x="467449" y="438334"/>
                      </a:cubicBezTo>
                      <a:cubicBezTo>
                        <a:pt x="465677" y="429409"/>
                        <a:pt x="472231" y="420417"/>
                        <a:pt x="466754" y="411645"/>
                      </a:cubicBezTo>
                      <a:cubicBezTo>
                        <a:pt x="461362" y="403034"/>
                        <a:pt x="449114" y="404053"/>
                        <a:pt x="442494" y="396862"/>
                      </a:cubicBezTo>
                      <a:cubicBezTo>
                        <a:pt x="448856" y="395623"/>
                        <a:pt x="455657" y="400491"/>
                        <a:pt x="462067" y="401015"/>
                      </a:cubicBezTo>
                      <a:cubicBezTo>
                        <a:pt x="470002" y="401662"/>
                        <a:pt x="477993" y="399576"/>
                        <a:pt x="486004" y="400367"/>
                      </a:cubicBezTo>
                      <a:cubicBezTo>
                        <a:pt x="494681" y="401224"/>
                        <a:pt x="500091" y="403415"/>
                        <a:pt x="507092" y="408463"/>
                      </a:cubicBezTo>
                      <a:cubicBezTo>
                        <a:pt x="511950" y="411959"/>
                        <a:pt x="523265" y="416626"/>
                        <a:pt x="524437" y="422846"/>
                      </a:cubicBezTo>
                      <a:cubicBezTo>
                        <a:pt x="515283" y="424627"/>
                        <a:pt x="494757" y="421912"/>
                        <a:pt x="491185" y="434066"/>
                      </a:cubicBezTo>
                      <a:cubicBezTo>
                        <a:pt x="489747" y="438981"/>
                        <a:pt x="495329" y="439896"/>
                        <a:pt x="499320" y="441239"/>
                      </a:cubicBezTo>
                      <a:cubicBezTo>
                        <a:pt x="506568" y="443668"/>
                        <a:pt x="508645" y="445677"/>
                        <a:pt x="514560" y="450306"/>
                      </a:cubicBezTo>
                      <a:cubicBezTo>
                        <a:pt x="522675" y="456650"/>
                        <a:pt x="532905" y="455679"/>
                        <a:pt x="542354" y="453936"/>
                      </a:cubicBezTo>
                      <a:cubicBezTo>
                        <a:pt x="547926" y="452907"/>
                        <a:pt x="554974" y="453202"/>
                        <a:pt x="556117" y="447420"/>
                      </a:cubicBezTo>
                      <a:cubicBezTo>
                        <a:pt x="556831" y="443763"/>
                        <a:pt x="555536" y="434162"/>
                        <a:pt x="553346" y="431180"/>
                      </a:cubicBezTo>
                      <a:cubicBezTo>
                        <a:pt x="558422" y="429856"/>
                        <a:pt x="563947" y="429228"/>
                        <a:pt x="568928" y="427685"/>
                      </a:cubicBezTo>
                      <a:cubicBezTo>
                        <a:pt x="570519" y="427189"/>
                        <a:pt x="573015" y="429380"/>
                        <a:pt x="573262" y="426942"/>
                      </a:cubicBezTo>
                      <a:cubicBezTo>
                        <a:pt x="573386" y="425684"/>
                        <a:pt x="568728" y="422846"/>
                        <a:pt x="567614" y="422046"/>
                      </a:cubicBezTo>
                      <a:cubicBezTo>
                        <a:pt x="570814" y="421760"/>
                        <a:pt x="574386" y="422817"/>
                        <a:pt x="578120" y="421970"/>
                      </a:cubicBezTo>
                      <a:cubicBezTo>
                        <a:pt x="583826" y="420674"/>
                        <a:pt x="589407" y="417007"/>
                        <a:pt x="594531" y="414312"/>
                      </a:cubicBezTo>
                      <a:cubicBezTo>
                        <a:pt x="603647" y="409520"/>
                        <a:pt x="611658" y="407082"/>
                        <a:pt x="621373" y="403844"/>
                      </a:cubicBezTo>
                      <a:cubicBezTo>
                        <a:pt x="624745" y="402720"/>
                        <a:pt x="628812" y="400481"/>
                        <a:pt x="632460" y="401186"/>
                      </a:cubicBezTo>
                      <a:cubicBezTo>
                        <a:pt x="638213" y="402281"/>
                        <a:pt x="635346" y="406215"/>
                        <a:pt x="638537" y="407044"/>
                      </a:cubicBezTo>
                      <a:cubicBezTo>
                        <a:pt x="648167" y="409549"/>
                        <a:pt x="647414" y="397347"/>
                        <a:pt x="636918" y="398938"/>
                      </a:cubicBezTo>
                      <a:cubicBezTo>
                        <a:pt x="649634" y="390204"/>
                        <a:pt x="662388" y="386051"/>
                        <a:pt x="677704" y="386832"/>
                      </a:cubicBezTo>
                      <a:cubicBezTo>
                        <a:pt x="673360" y="388689"/>
                        <a:pt x="668426" y="387870"/>
                        <a:pt x="664035" y="389499"/>
                      </a:cubicBezTo>
                      <a:cubicBezTo>
                        <a:pt x="667798" y="390175"/>
                        <a:pt x="667046" y="392052"/>
                        <a:pt x="667493" y="392842"/>
                      </a:cubicBezTo>
                      <a:cubicBezTo>
                        <a:pt x="668389" y="394404"/>
                        <a:pt x="666455" y="396795"/>
                        <a:pt x="666960" y="398119"/>
                      </a:cubicBezTo>
                      <a:cubicBezTo>
                        <a:pt x="667512" y="399538"/>
                        <a:pt x="671141" y="399757"/>
                        <a:pt x="671713" y="401177"/>
                      </a:cubicBezTo>
                      <a:cubicBezTo>
                        <a:pt x="675580" y="410768"/>
                        <a:pt x="662140" y="401910"/>
                        <a:pt x="661235" y="409663"/>
                      </a:cubicBezTo>
                      <a:cubicBezTo>
                        <a:pt x="667426" y="410235"/>
                        <a:pt x="673560" y="410521"/>
                        <a:pt x="679466" y="409940"/>
                      </a:cubicBezTo>
                      <a:cubicBezTo>
                        <a:pt x="682057" y="409682"/>
                        <a:pt x="685819" y="408625"/>
                        <a:pt x="688172" y="409158"/>
                      </a:cubicBezTo>
                      <a:cubicBezTo>
                        <a:pt x="691630" y="409949"/>
                        <a:pt x="692858" y="412959"/>
                        <a:pt x="696706" y="411730"/>
                      </a:cubicBezTo>
                      <a:cubicBezTo>
                        <a:pt x="690258" y="398567"/>
                        <a:pt x="717661" y="397805"/>
                        <a:pt x="724919" y="398510"/>
                      </a:cubicBezTo>
                      <a:cubicBezTo>
                        <a:pt x="731253" y="399129"/>
                        <a:pt x="737263" y="401453"/>
                        <a:pt x="743264" y="399262"/>
                      </a:cubicBezTo>
                      <a:cubicBezTo>
                        <a:pt x="747837" y="397595"/>
                        <a:pt x="756571" y="387575"/>
                        <a:pt x="760200" y="391823"/>
                      </a:cubicBezTo>
                      <a:cubicBezTo>
                        <a:pt x="761533" y="388013"/>
                        <a:pt x="770535" y="385460"/>
                        <a:pt x="774449" y="386413"/>
                      </a:cubicBezTo>
                      <a:cubicBezTo>
                        <a:pt x="776964" y="387022"/>
                        <a:pt x="783393" y="392756"/>
                        <a:pt x="785946" y="394823"/>
                      </a:cubicBezTo>
                      <a:cubicBezTo>
                        <a:pt x="775506" y="399319"/>
                        <a:pt x="789661" y="406425"/>
                        <a:pt x="795271" y="406672"/>
                      </a:cubicBezTo>
                      <a:cubicBezTo>
                        <a:pt x="807234" y="407196"/>
                        <a:pt x="798414" y="401919"/>
                        <a:pt x="797728" y="395833"/>
                      </a:cubicBezTo>
                      <a:cubicBezTo>
                        <a:pt x="803434" y="396281"/>
                        <a:pt x="813397" y="396871"/>
                        <a:pt x="814769" y="389223"/>
                      </a:cubicBezTo>
                      <a:cubicBezTo>
                        <a:pt x="815483" y="385270"/>
                        <a:pt x="813130" y="383898"/>
                        <a:pt x="810578" y="382327"/>
                      </a:cubicBezTo>
                      <a:cubicBezTo>
                        <a:pt x="809825" y="381869"/>
                        <a:pt x="808463" y="383260"/>
                        <a:pt x="807568" y="382822"/>
                      </a:cubicBezTo>
                      <a:cubicBezTo>
                        <a:pt x="805577" y="381860"/>
                        <a:pt x="803395" y="379107"/>
                        <a:pt x="801729" y="377659"/>
                      </a:cubicBezTo>
                      <a:cubicBezTo>
                        <a:pt x="799395" y="375611"/>
                        <a:pt x="796995" y="373583"/>
                        <a:pt x="794680" y="371525"/>
                      </a:cubicBezTo>
                      <a:cubicBezTo>
                        <a:pt x="788736" y="366239"/>
                        <a:pt x="790280" y="369182"/>
                        <a:pt x="793937" y="365401"/>
                      </a:cubicBezTo>
                      <a:cubicBezTo>
                        <a:pt x="798947" y="360219"/>
                        <a:pt x="802882" y="359743"/>
                        <a:pt x="809949" y="360743"/>
                      </a:cubicBezTo>
                      <a:cubicBezTo>
                        <a:pt x="825237" y="362915"/>
                        <a:pt x="840658" y="362638"/>
                        <a:pt x="855897" y="365258"/>
                      </a:cubicBezTo>
                      <a:cubicBezTo>
                        <a:pt x="862546" y="366401"/>
                        <a:pt x="894845" y="370820"/>
                        <a:pt x="896074" y="378774"/>
                      </a:cubicBezTo>
                      <a:cubicBezTo>
                        <a:pt x="902827" y="376593"/>
                        <a:pt x="913210" y="382498"/>
                        <a:pt x="919534" y="384374"/>
                      </a:cubicBezTo>
                      <a:cubicBezTo>
                        <a:pt x="926802" y="386537"/>
                        <a:pt x="934403" y="388508"/>
                        <a:pt x="941870" y="389985"/>
                      </a:cubicBezTo>
                      <a:cubicBezTo>
                        <a:pt x="949928" y="391585"/>
                        <a:pt x="957920" y="396090"/>
                        <a:pt x="965692" y="399624"/>
                      </a:cubicBezTo>
                      <a:cubicBezTo>
                        <a:pt x="970254" y="401700"/>
                        <a:pt x="981799" y="409054"/>
                        <a:pt x="986552" y="408158"/>
                      </a:cubicBezTo>
                      <a:cubicBezTo>
                        <a:pt x="991086" y="407301"/>
                        <a:pt x="995029" y="391204"/>
                        <a:pt x="991905" y="388118"/>
                      </a:cubicBezTo>
                      <a:cubicBezTo>
                        <a:pt x="990524" y="386756"/>
                        <a:pt x="982714" y="388785"/>
                        <a:pt x="980332" y="388251"/>
                      </a:cubicBezTo>
                      <a:cubicBezTo>
                        <a:pt x="976560" y="387413"/>
                        <a:pt x="972131" y="384079"/>
                        <a:pt x="969016" y="381793"/>
                      </a:cubicBezTo>
                      <a:cubicBezTo>
                        <a:pt x="962292" y="376840"/>
                        <a:pt x="959853" y="372011"/>
                        <a:pt x="951434" y="369420"/>
                      </a:cubicBezTo>
                      <a:cubicBezTo>
                        <a:pt x="947090" y="368087"/>
                        <a:pt x="931393" y="360438"/>
                        <a:pt x="933469" y="369144"/>
                      </a:cubicBezTo>
                      <a:cubicBezTo>
                        <a:pt x="928430" y="365801"/>
                        <a:pt x="926887" y="360381"/>
                        <a:pt x="926154" y="354637"/>
                      </a:cubicBezTo>
                      <a:cubicBezTo>
                        <a:pt x="934279" y="357419"/>
                        <a:pt x="928202" y="350037"/>
                        <a:pt x="927230" y="348160"/>
                      </a:cubicBezTo>
                      <a:cubicBezTo>
                        <a:pt x="924858" y="343560"/>
                        <a:pt x="924935" y="337845"/>
                        <a:pt x="921877" y="333520"/>
                      </a:cubicBezTo>
                      <a:cubicBezTo>
                        <a:pt x="916543" y="326015"/>
                        <a:pt x="903132" y="333892"/>
                        <a:pt x="906294" y="321576"/>
                      </a:cubicBezTo>
                      <a:cubicBezTo>
                        <a:pt x="903637" y="322310"/>
                        <a:pt x="903827" y="321452"/>
                        <a:pt x="901665" y="321014"/>
                      </a:cubicBezTo>
                      <a:cubicBezTo>
                        <a:pt x="903875" y="318928"/>
                        <a:pt x="903123" y="316033"/>
                        <a:pt x="905028" y="314337"/>
                      </a:cubicBezTo>
                      <a:cubicBezTo>
                        <a:pt x="907151" y="312442"/>
                        <a:pt x="912685" y="311661"/>
                        <a:pt x="915391" y="310118"/>
                      </a:cubicBezTo>
                      <a:cubicBezTo>
                        <a:pt x="921515" y="306631"/>
                        <a:pt x="925754" y="302621"/>
                        <a:pt x="926049" y="295373"/>
                      </a:cubicBezTo>
                      <a:cubicBezTo>
                        <a:pt x="926344" y="288029"/>
                        <a:pt x="916582" y="259006"/>
                        <a:pt x="931012" y="261445"/>
                      </a:cubicBezTo>
                      <a:cubicBezTo>
                        <a:pt x="931821" y="261578"/>
                        <a:pt x="930431" y="263455"/>
                        <a:pt x="932384" y="263997"/>
                      </a:cubicBezTo>
                      <a:cubicBezTo>
                        <a:pt x="935412" y="264826"/>
                        <a:pt x="938555" y="263817"/>
                        <a:pt x="941613" y="263740"/>
                      </a:cubicBezTo>
                      <a:cubicBezTo>
                        <a:pt x="949042" y="263550"/>
                        <a:pt x="956586" y="263597"/>
                        <a:pt x="964035" y="263502"/>
                      </a:cubicBezTo>
                      <a:cubicBezTo>
                        <a:pt x="970645" y="263407"/>
                        <a:pt x="976655" y="265169"/>
                        <a:pt x="983056" y="266026"/>
                      </a:cubicBezTo>
                      <a:cubicBezTo>
                        <a:pt x="990229" y="266979"/>
                        <a:pt x="997220" y="267884"/>
                        <a:pt x="1001516" y="273589"/>
                      </a:cubicBezTo>
                      <a:cubicBezTo>
                        <a:pt x="1005002" y="278247"/>
                        <a:pt x="1007374" y="286019"/>
                        <a:pt x="1007811" y="291696"/>
                      </a:cubicBezTo>
                      <a:cubicBezTo>
                        <a:pt x="1007945" y="293401"/>
                        <a:pt x="1008297" y="299564"/>
                        <a:pt x="1007735" y="301183"/>
                      </a:cubicBezTo>
                      <a:cubicBezTo>
                        <a:pt x="1007069" y="303126"/>
                        <a:pt x="1002973" y="305850"/>
                        <a:pt x="1002964" y="306879"/>
                      </a:cubicBezTo>
                      <a:cubicBezTo>
                        <a:pt x="1002897" y="312261"/>
                        <a:pt x="1014803" y="315223"/>
                        <a:pt x="1018680" y="316776"/>
                      </a:cubicBezTo>
                      <a:cubicBezTo>
                        <a:pt x="1025242" y="319395"/>
                        <a:pt x="1029633" y="323129"/>
                        <a:pt x="1033577" y="329139"/>
                      </a:cubicBezTo>
                      <a:cubicBezTo>
                        <a:pt x="1035330" y="331806"/>
                        <a:pt x="1038054" y="335768"/>
                        <a:pt x="1038835" y="338807"/>
                      </a:cubicBezTo>
                      <a:cubicBezTo>
                        <a:pt x="1039387" y="340950"/>
                        <a:pt x="1038282" y="343722"/>
                        <a:pt x="1038749" y="345293"/>
                      </a:cubicBezTo>
                      <a:cubicBezTo>
                        <a:pt x="1040254" y="350399"/>
                        <a:pt x="1046921" y="356761"/>
                        <a:pt x="1050208" y="361638"/>
                      </a:cubicBezTo>
                      <a:cubicBezTo>
                        <a:pt x="1057828" y="372954"/>
                        <a:pt x="1059742" y="386508"/>
                        <a:pt x="1073325" y="392509"/>
                      </a:cubicBezTo>
                      <a:cubicBezTo>
                        <a:pt x="1078221" y="394671"/>
                        <a:pt x="1090698" y="396157"/>
                        <a:pt x="1093985" y="400662"/>
                      </a:cubicBezTo>
                      <a:cubicBezTo>
                        <a:pt x="1096680" y="404358"/>
                        <a:pt x="1093660" y="403834"/>
                        <a:pt x="1092708" y="408273"/>
                      </a:cubicBezTo>
                      <a:cubicBezTo>
                        <a:pt x="1091746" y="412759"/>
                        <a:pt x="1092946" y="413283"/>
                        <a:pt x="1094928" y="417093"/>
                      </a:cubicBezTo>
                      <a:cubicBezTo>
                        <a:pt x="1099995" y="426885"/>
                        <a:pt x="1095270" y="425208"/>
                        <a:pt x="1090574" y="432742"/>
                      </a:cubicBezTo>
                      <a:cubicBezTo>
                        <a:pt x="1084441" y="442563"/>
                        <a:pt x="1089984" y="452021"/>
                        <a:pt x="1075668" y="450792"/>
                      </a:cubicBezTo>
                      <a:cubicBezTo>
                        <a:pt x="1078859" y="453193"/>
                        <a:pt x="1083088" y="455707"/>
                        <a:pt x="1084536" y="459565"/>
                      </a:cubicBezTo>
                      <a:cubicBezTo>
                        <a:pt x="1078135" y="458088"/>
                        <a:pt x="1074658" y="464584"/>
                        <a:pt x="1068467" y="464480"/>
                      </a:cubicBezTo>
                      <a:cubicBezTo>
                        <a:pt x="1063038" y="464384"/>
                        <a:pt x="1056409" y="460193"/>
                        <a:pt x="1064752" y="457603"/>
                      </a:cubicBezTo>
                      <a:cubicBezTo>
                        <a:pt x="1061437" y="457241"/>
                        <a:pt x="1060314" y="459555"/>
                        <a:pt x="1056856" y="459479"/>
                      </a:cubicBezTo>
                      <a:cubicBezTo>
                        <a:pt x="1053370" y="459403"/>
                        <a:pt x="1050208" y="455545"/>
                        <a:pt x="1046950" y="454936"/>
                      </a:cubicBezTo>
                      <a:cubicBezTo>
                        <a:pt x="1042493" y="454097"/>
                        <a:pt x="1030882" y="453640"/>
                        <a:pt x="1027157" y="456250"/>
                      </a:cubicBezTo>
                      <a:cubicBezTo>
                        <a:pt x="1030357" y="458193"/>
                        <a:pt x="1032510" y="461413"/>
                        <a:pt x="1035739" y="463203"/>
                      </a:cubicBezTo>
                      <a:cubicBezTo>
                        <a:pt x="1040949" y="466080"/>
                        <a:pt x="1048664" y="466547"/>
                        <a:pt x="1054417" y="468156"/>
                      </a:cubicBezTo>
                      <a:cubicBezTo>
                        <a:pt x="1065228" y="471176"/>
                        <a:pt x="1075392" y="468604"/>
                        <a:pt x="1086326" y="469757"/>
                      </a:cubicBezTo>
                      <a:cubicBezTo>
                        <a:pt x="1091422" y="470290"/>
                        <a:pt x="1097347" y="473862"/>
                        <a:pt x="1102290" y="473186"/>
                      </a:cubicBezTo>
                      <a:cubicBezTo>
                        <a:pt x="1111949" y="471881"/>
                        <a:pt x="1104281" y="468404"/>
                        <a:pt x="1106081" y="463432"/>
                      </a:cubicBezTo>
                      <a:cubicBezTo>
                        <a:pt x="1107205" y="460308"/>
                        <a:pt x="1119035" y="457612"/>
                        <a:pt x="1121845" y="455679"/>
                      </a:cubicBezTo>
                      <a:cubicBezTo>
                        <a:pt x="1128817" y="450868"/>
                        <a:pt x="1127503" y="449364"/>
                        <a:pt x="1127036" y="441953"/>
                      </a:cubicBezTo>
                      <a:cubicBezTo>
                        <a:pt x="1126579" y="434705"/>
                        <a:pt x="1129532" y="435933"/>
                        <a:pt x="1132761" y="429437"/>
                      </a:cubicBezTo>
                      <a:cubicBezTo>
                        <a:pt x="1135447" y="424017"/>
                        <a:pt x="1133475" y="421303"/>
                        <a:pt x="1129237" y="416540"/>
                      </a:cubicBezTo>
                      <a:cubicBezTo>
                        <a:pt x="1124826" y="411578"/>
                        <a:pt x="1106291" y="402767"/>
                        <a:pt x="1112873" y="394166"/>
                      </a:cubicBezTo>
                      <a:cubicBezTo>
                        <a:pt x="1116321" y="389661"/>
                        <a:pt x="1140991" y="386194"/>
                        <a:pt x="1146296" y="387070"/>
                      </a:cubicBezTo>
                      <a:cubicBezTo>
                        <a:pt x="1150992" y="387842"/>
                        <a:pt x="1153916" y="391271"/>
                        <a:pt x="1157849" y="393623"/>
                      </a:cubicBezTo>
                      <a:cubicBezTo>
                        <a:pt x="1163193" y="396814"/>
                        <a:pt x="1169308" y="398329"/>
                        <a:pt x="1173928" y="402681"/>
                      </a:cubicBezTo>
                      <a:cubicBezTo>
                        <a:pt x="1178081" y="406587"/>
                        <a:pt x="1181796" y="413054"/>
                        <a:pt x="1184282" y="418093"/>
                      </a:cubicBezTo>
                      <a:cubicBezTo>
                        <a:pt x="1187253" y="424122"/>
                        <a:pt x="1187730" y="425256"/>
                        <a:pt x="1194150" y="427847"/>
                      </a:cubicBezTo>
                      <a:cubicBezTo>
                        <a:pt x="1205922" y="432619"/>
                        <a:pt x="1216057" y="431628"/>
                        <a:pt x="1228715" y="431037"/>
                      </a:cubicBezTo>
                      <a:cubicBezTo>
                        <a:pt x="1221810" y="426580"/>
                        <a:pt x="1208980" y="428970"/>
                        <a:pt x="1200883" y="426646"/>
                      </a:cubicBezTo>
                      <a:cubicBezTo>
                        <a:pt x="1194216" y="424732"/>
                        <a:pt x="1182510" y="411397"/>
                        <a:pt x="1195226" y="409920"/>
                      </a:cubicBezTo>
                      <a:cubicBezTo>
                        <a:pt x="1190492" y="403986"/>
                        <a:pt x="1181520" y="393195"/>
                        <a:pt x="1174976" y="389651"/>
                      </a:cubicBezTo>
                      <a:cubicBezTo>
                        <a:pt x="1168499" y="386146"/>
                        <a:pt x="1156164" y="384651"/>
                        <a:pt x="1148820" y="382803"/>
                      </a:cubicBezTo>
                      <a:cubicBezTo>
                        <a:pt x="1140142" y="380622"/>
                        <a:pt x="1128589" y="376612"/>
                        <a:pt x="1119864" y="379707"/>
                      </a:cubicBezTo>
                      <a:cubicBezTo>
                        <a:pt x="1114606" y="381565"/>
                        <a:pt x="1113463" y="383698"/>
                        <a:pt x="1107491" y="383270"/>
                      </a:cubicBezTo>
                      <a:cubicBezTo>
                        <a:pt x="1102948" y="382946"/>
                        <a:pt x="1096575" y="383622"/>
                        <a:pt x="1092299" y="382965"/>
                      </a:cubicBezTo>
                      <a:cubicBezTo>
                        <a:pt x="1085745" y="381955"/>
                        <a:pt x="1087860" y="379555"/>
                        <a:pt x="1085060" y="374992"/>
                      </a:cubicBezTo>
                      <a:cubicBezTo>
                        <a:pt x="1082507" y="370820"/>
                        <a:pt x="1078792" y="369687"/>
                        <a:pt x="1075068" y="366458"/>
                      </a:cubicBezTo>
                      <a:cubicBezTo>
                        <a:pt x="1070868" y="362810"/>
                        <a:pt x="1070267" y="359876"/>
                        <a:pt x="1069667" y="354209"/>
                      </a:cubicBezTo>
                      <a:cubicBezTo>
                        <a:pt x="1069067" y="348513"/>
                        <a:pt x="1071410" y="345770"/>
                        <a:pt x="1071763" y="340540"/>
                      </a:cubicBezTo>
                      <a:cubicBezTo>
                        <a:pt x="1072353" y="331549"/>
                        <a:pt x="1056437" y="326081"/>
                        <a:pt x="1049960" y="321500"/>
                      </a:cubicBezTo>
                      <a:cubicBezTo>
                        <a:pt x="1045417" y="318300"/>
                        <a:pt x="1030586" y="312213"/>
                        <a:pt x="1029633" y="308384"/>
                      </a:cubicBezTo>
                      <a:cubicBezTo>
                        <a:pt x="1028310" y="303088"/>
                        <a:pt x="1034215" y="296459"/>
                        <a:pt x="1038358" y="294725"/>
                      </a:cubicBezTo>
                      <a:cubicBezTo>
                        <a:pt x="1042606" y="292953"/>
                        <a:pt x="1049855" y="293239"/>
                        <a:pt x="1053132" y="289172"/>
                      </a:cubicBezTo>
                      <a:cubicBezTo>
                        <a:pt x="1059771" y="280904"/>
                        <a:pt x="1043616" y="271103"/>
                        <a:pt x="1037758" y="266531"/>
                      </a:cubicBezTo>
                      <a:cubicBezTo>
                        <a:pt x="1044788" y="260873"/>
                        <a:pt x="1055484" y="270808"/>
                        <a:pt x="1060018" y="275427"/>
                      </a:cubicBezTo>
                      <a:cubicBezTo>
                        <a:pt x="1063123" y="278590"/>
                        <a:pt x="1072906" y="290210"/>
                        <a:pt x="1064524" y="293401"/>
                      </a:cubicBezTo>
                      <a:cubicBezTo>
                        <a:pt x="1066324" y="300116"/>
                        <a:pt x="1073973" y="299926"/>
                        <a:pt x="1076478" y="305793"/>
                      </a:cubicBezTo>
                      <a:cubicBezTo>
                        <a:pt x="1077268" y="307651"/>
                        <a:pt x="1074811" y="309537"/>
                        <a:pt x="1075392" y="310470"/>
                      </a:cubicBezTo>
                      <a:cubicBezTo>
                        <a:pt x="1076754" y="312670"/>
                        <a:pt x="1078287" y="312565"/>
                        <a:pt x="1080402" y="313461"/>
                      </a:cubicBezTo>
                      <a:cubicBezTo>
                        <a:pt x="1091556" y="318204"/>
                        <a:pt x="1104777" y="314175"/>
                        <a:pt x="1115339" y="319585"/>
                      </a:cubicBezTo>
                      <a:cubicBezTo>
                        <a:pt x="1119226" y="308251"/>
                        <a:pt x="1158478" y="337550"/>
                        <a:pt x="1162840" y="323548"/>
                      </a:cubicBezTo>
                      <a:cubicBezTo>
                        <a:pt x="1156173" y="323995"/>
                        <a:pt x="1152154" y="324319"/>
                        <a:pt x="1146001" y="320452"/>
                      </a:cubicBezTo>
                      <a:cubicBezTo>
                        <a:pt x="1137142" y="314880"/>
                        <a:pt x="1133751" y="315032"/>
                        <a:pt x="1123760" y="313851"/>
                      </a:cubicBezTo>
                      <a:cubicBezTo>
                        <a:pt x="1107434" y="311899"/>
                        <a:pt x="1093556" y="304984"/>
                        <a:pt x="1081116" y="294944"/>
                      </a:cubicBezTo>
                      <a:cubicBezTo>
                        <a:pt x="1088660" y="292258"/>
                        <a:pt x="1094051" y="290077"/>
                        <a:pt x="1102166" y="292639"/>
                      </a:cubicBezTo>
                      <a:cubicBezTo>
                        <a:pt x="1105110" y="293563"/>
                        <a:pt x="1123188" y="302002"/>
                        <a:pt x="1125646" y="295059"/>
                      </a:cubicBezTo>
                      <a:cubicBezTo>
                        <a:pt x="1128427" y="287153"/>
                        <a:pt x="1109225" y="290363"/>
                        <a:pt x="1108005" y="289858"/>
                      </a:cubicBezTo>
                      <a:cubicBezTo>
                        <a:pt x="1101062" y="286953"/>
                        <a:pt x="1111873" y="282085"/>
                        <a:pt x="1115740" y="280638"/>
                      </a:cubicBezTo>
                      <a:cubicBezTo>
                        <a:pt x="1131237" y="274799"/>
                        <a:pt x="1150268" y="283590"/>
                        <a:pt x="1165251" y="286848"/>
                      </a:cubicBezTo>
                      <a:cubicBezTo>
                        <a:pt x="1179005" y="289848"/>
                        <a:pt x="1189920" y="300097"/>
                        <a:pt x="1204570" y="301174"/>
                      </a:cubicBezTo>
                      <a:cubicBezTo>
                        <a:pt x="1212514" y="301764"/>
                        <a:pt x="1225039" y="296144"/>
                        <a:pt x="1232250" y="301364"/>
                      </a:cubicBezTo>
                      <a:cubicBezTo>
                        <a:pt x="1239231" y="306422"/>
                        <a:pt x="1231611" y="313413"/>
                        <a:pt x="1224915" y="315432"/>
                      </a:cubicBezTo>
                      <a:cubicBezTo>
                        <a:pt x="1227506" y="320281"/>
                        <a:pt x="1229515" y="322843"/>
                        <a:pt x="1232602" y="327129"/>
                      </a:cubicBezTo>
                      <a:cubicBezTo>
                        <a:pt x="1236450" y="332482"/>
                        <a:pt x="1236393" y="337445"/>
                        <a:pt x="1241251" y="342664"/>
                      </a:cubicBezTo>
                      <a:cubicBezTo>
                        <a:pt x="1239060" y="339912"/>
                        <a:pt x="1237584" y="328282"/>
                        <a:pt x="1239441" y="326272"/>
                      </a:cubicBezTo>
                      <a:cubicBezTo>
                        <a:pt x="1243974" y="321376"/>
                        <a:pt x="1251061" y="330749"/>
                        <a:pt x="1252909" y="334168"/>
                      </a:cubicBezTo>
                      <a:cubicBezTo>
                        <a:pt x="1255957" y="339816"/>
                        <a:pt x="1253281" y="346008"/>
                        <a:pt x="1257100" y="349751"/>
                      </a:cubicBezTo>
                      <a:cubicBezTo>
                        <a:pt x="1261901" y="354447"/>
                        <a:pt x="1269530" y="353132"/>
                        <a:pt x="1261748" y="346408"/>
                      </a:cubicBezTo>
                      <a:cubicBezTo>
                        <a:pt x="1267892" y="343626"/>
                        <a:pt x="1273512" y="343960"/>
                        <a:pt x="1268349" y="336607"/>
                      </a:cubicBezTo>
                      <a:cubicBezTo>
                        <a:pt x="1264730" y="331434"/>
                        <a:pt x="1256310" y="326853"/>
                        <a:pt x="1251176" y="323624"/>
                      </a:cubicBezTo>
                      <a:cubicBezTo>
                        <a:pt x="1242641" y="318271"/>
                        <a:pt x="1246613" y="316137"/>
                        <a:pt x="1244394" y="307803"/>
                      </a:cubicBezTo>
                      <a:cubicBezTo>
                        <a:pt x="1243098" y="302926"/>
                        <a:pt x="1238450" y="299630"/>
                        <a:pt x="1233736" y="297554"/>
                      </a:cubicBezTo>
                      <a:cubicBezTo>
                        <a:pt x="1227544" y="294839"/>
                        <a:pt x="1220705" y="295640"/>
                        <a:pt x="1214380" y="293125"/>
                      </a:cubicBezTo>
                      <a:cubicBezTo>
                        <a:pt x="1208351" y="290725"/>
                        <a:pt x="1204294" y="286238"/>
                        <a:pt x="1198588" y="283781"/>
                      </a:cubicBezTo>
                      <a:cubicBezTo>
                        <a:pt x="1186463" y="278552"/>
                        <a:pt x="1169642" y="283457"/>
                        <a:pt x="1160936" y="270713"/>
                      </a:cubicBezTo>
                      <a:cubicBezTo>
                        <a:pt x="1159031" y="267931"/>
                        <a:pt x="1159555" y="263997"/>
                        <a:pt x="1157497" y="261607"/>
                      </a:cubicBezTo>
                      <a:cubicBezTo>
                        <a:pt x="1155183" y="258930"/>
                        <a:pt x="1150896" y="259197"/>
                        <a:pt x="1148067" y="257378"/>
                      </a:cubicBezTo>
                      <a:cubicBezTo>
                        <a:pt x="1145762" y="255901"/>
                        <a:pt x="1141800" y="251939"/>
                        <a:pt x="1140714" y="249396"/>
                      </a:cubicBezTo>
                      <a:cubicBezTo>
                        <a:pt x="1139533" y="246643"/>
                        <a:pt x="1142962" y="245786"/>
                        <a:pt x="1139981" y="242728"/>
                      </a:cubicBezTo>
                      <a:cubicBezTo>
                        <a:pt x="1161917" y="239680"/>
                        <a:pt x="1183777" y="240452"/>
                        <a:pt x="1205665" y="238547"/>
                      </a:cubicBezTo>
                      <a:cubicBezTo>
                        <a:pt x="1210418" y="238128"/>
                        <a:pt x="1215752" y="236766"/>
                        <a:pt x="1220391" y="236746"/>
                      </a:cubicBezTo>
                      <a:cubicBezTo>
                        <a:pt x="1225858" y="236727"/>
                        <a:pt x="1229811" y="238509"/>
                        <a:pt x="1234878" y="236813"/>
                      </a:cubicBezTo>
                      <a:cubicBezTo>
                        <a:pt x="1236688" y="236204"/>
                        <a:pt x="1238898" y="234413"/>
                        <a:pt x="1241955" y="233737"/>
                      </a:cubicBezTo>
                      <a:cubicBezTo>
                        <a:pt x="1244708" y="233127"/>
                        <a:pt x="1247728" y="233013"/>
                        <a:pt x="1250537" y="232813"/>
                      </a:cubicBezTo>
                      <a:cubicBezTo>
                        <a:pt x="1255271" y="232489"/>
                        <a:pt x="1260234" y="231793"/>
                        <a:pt x="1264358" y="234670"/>
                      </a:cubicBezTo>
                      <a:cubicBezTo>
                        <a:pt x="1259567" y="238718"/>
                        <a:pt x="1244660" y="242757"/>
                        <a:pt x="1249880" y="248919"/>
                      </a:cubicBezTo>
                      <a:cubicBezTo>
                        <a:pt x="1253033" y="252625"/>
                        <a:pt x="1269702" y="257235"/>
                        <a:pt x="1273969" y="256663"/>
                      </a:cubicBezTo>
                      <a:cubicBezTo>
                        <a:pt x="1269768" y="255177"/>
                        <a:pt x="1248756" y="250720"/>
                        <a:pt x="1251833" y="244795"/>
                      </a:cubicBezTo>
                      <a:cubicBezTo>
                        <a:pt x="1253204" y="242166"/>
                        <a:pt x="1260434" y="242385"/>
                        <a:pt x="1262720" y="242109"/>
                      </a:cubicBezTo>
                      <a:cubicBezTo>
                        <a:pt x="1265606" y="241766"/>
                        <a:pt x="1269140" y="241909"/>
                        <a:pt x="1271349" y="240537"/>
                      </a:cubicBezTo>
                      <a:cubicBezTo>
                        <a:pt x="1273835" y="238994"/>
                        <a:pt x="1272007" y="236604"/>
                        <a:pt x="1275569" y="235080"/>
                      </a:cubicBezTo>
                      <a:cubicBezTo>
                        <a:pt x="1267263" y="232765"/>
                        <a:pt x="1261472" y="229765"/>
                        <a:pt x="1253709" y="225555"/>
                      </a:cubicBezTo>
                      <a:cubicBezTo>
                        <a:pt x="1246623" y="221706"/>
                        <a:pt x="1240031" y="221592"/>
                        <a:pt x="1232469" y="219173"/>
                      </a:cubicBezTo>
                      <a:cubicBezTo>
                        <a:pt x="1233449" y="210067"/>
                        <a:pt x="1250233" y="219620"/>
                        <a:pt x="1255938" y="217668"/>
                      </a:cubicBezTo>
                      <a:cubicBezTo>
                        <a:pt x="1250214" y="215430"/>
                        <a:pt x="1244146" y="213410"/>
                        <a:pt x="1238260" y="211677"/>
                      </a:cubicBezTo>
                      <a:cubicBezTo>
                        <a:pt x="1233964" y="210410"/>
                        <a:pt x="1219924" y="210134"/>
                        <a:pt x="1220400" y="205809"/>
                      </a:cubicBezTo>
                      <a:cubicBezTo>
                        <a:pt x="1223238" y="206962"/>
                        <a:pt x="1224982" y="206362"/>
                        <a:pt x="1225039" y="203418"/>
                      </a:cubicBezTo>
                      <a:cubicBezTo>
                        <a:pt x="1231983" y="205847"/>
                        <a:pt x="1237602" y="210038"/>
                        <a:pt x="1243203" y="203799"/>
                      </a:cubicBezTo>
                      <a:cubicBezTo>
                        <a:pt x="1252528" y="193398"/>
                        <a:pt x="1236783" y="198475"/>
                        <a:pt x="1233202" y="194779"/>
                      </a:cubicBezTo>
                      <a:cubicBezTo>
                        <a:pt x="1229325" y="190788"/>
                        <a:pt x="1246870" y="193151"/>
                        <a:pt x="1248928" y="192760"/>
                      </a:cubicBezTo>
                      <a:cubicBezTo>
                        <a:pt x="1257119" y="191236"/>
                        <a:pt x="1262472" y="184321"/>
                        <a:pt x="1270635" y="183064"/>
                      </a:cubicBezTo>
                      <a:cubicBezTo>
                        <a:pt x="1277236" y="182044"/>
                        <a:pt x="1282789" y="179911"/>
                        <a:pt x="1289447" y="178539"/>
                      </a:cubicBezTo>
                      <a:cubicBezTo>
                        <a:pt x="1297029" y="176968"/>
                        <a:pt x="1304973" y="177330"/>
                        <a:pt x="1312364" y="175996"/>
                      </a:cubicBezTo>
                      <a:cubicBezTo>
                        <a:pt x="1319584" y="174701"/>
                        <a:pt x="1327052" y="173415"/>
                        <a:pt x="1334433" y="172243"/>
                      </a:cubicBezTo>
                      <a:cubicBezTo>
                        <a:pt x="1339187" y="171491"/>
                        <a:pt x="1351960" y="171443"/>
                        <a:pt x="1354503" y="167404"/>
                      </a:cubicBezTo>
                      <a:cubicBezTo>
                        <a:pt x="1348797" y="168224"/>
                        <a:pt x="1327385" y="171767"/>
                        <a:pt x="1328452" y="163756"/>
                      </a:cubicBezTo>
                      <a:cubicBezTo>
                        <a:pt x="1330757" y="165604"/>
                        <a:pt x="1340310" y="163442"/>
                        <a:pt x="1344168" y="163299"/>
                      </a:cubicBezTo>
                      <a:cubicBezTo>
                        <a:pt x="1348578" y="163128"/>
                        <a:pt x="1355855" y="161480"/>
                        <a:pt x="1358608" y="161423"/>
                      </a:cubicBezTo>
                      <a:cubicBezTo>
                        <a:pt x="1364809" y="161299"/>
                        <a:pt x="1371553" y="161594"/>
                        <a:pt x="1377810" y="161794"/>
                      </a:cubicBezTo>
                      <a:cubicBezTo>
                        <a:pt x="1382392" y="161937"/>
                        <a:pt x="1395470" y="163661"/>
                        <a:pt x="1385526" y="169519"/>
                      </a:cubicBezTo>
                      <a:cubicBezTo>
                        <a:pt x="1389612" y="169986"/>
                        <a:pt x="1401937" y="161642"/>
                        <a:pt x="1402080" y="169548"/>
                      </a:cubicBezTo>
                      <a:cubicBezTo>
                        <a:pt x="1406424" y="168700"/>
                        <a:pt x="1409919" y="166042"/>
                        <a:pt x="1413881" y="165299"/>
                      </a:cubicBezTo>
                      <a:cubicBezTo>
                        <a:pt x="1416853" y="164737"/>
                        <a:pt x="1421254" y="168814"/>
                        <a:pt x="1420187" y="163661"/>
                      </a:cubicBezTo>
                      <a:cubicBezTo>
                        <a:pt x="1424397" y="164233"/>
                        <a:pt x="1427617" y="160870"/>
                        <a:pt x="1431827" y="159918"/>
                      </a:cubicBezTo>
                      <a:cubicBezTo>
                        <a:pt x="1437027" y="158756"/>
                        <a:pt x="1441066" y="159299"/>
                        <a:pt x="1446581" y="160394"/>
                      </a:cubicBezTo>
                      <a:cubicBezTo>
                        <a:pt x="1449457" y="160966"/>
                        <a:pt x="1471527" y="165861"/>
                        <a:pt x="1462106" y="172310"/>
                      </a:cubicBezTo>
                      <a:cubicBezTo>
                        <a:pt x="1472460" y="174101"/>
                        <a:pt x="1459421" y="160994"/>
                        <a:pt x="1455477" y="159289"/>
                      </a:cubicBezTo>
                      <a:cubicBezTo>
                        <a:pt x="1447953" y="156022"/>
                        <a:pt x="1439599" y="153536"/>
                        <a:pt x="1431760" y="150964"/>
                      </a:cubicBezTo>
                      <a:cubicBezTo>
                        <a:pt x="1435951" y="147993"/>
                        <a:pt x="1453124" y="151155"/>
                        <a:pt x="1459497" y="150936"/>
                      </a:cubicBezTo>
                      <a:cubicBezTo>
                        <a:pt x="1469241" y="150593"/>
                        <a:pt x="1477337" y="150431"/>
                        <a:pt x="1487139" y="152269"/>
                      </a:cubicBezTo>
                      <a:cubicBezTo>
                        <a:pt x="1487281" y="151783"/>
                        <a:pt x="1487415" y="151298"/>
                        <a:pt x="1487557" y="150812"/>
                      </a:cubicBezTo>
                      <a:cubicBezTo>
                        <a:pt x="1483652" y="150221"/>
                        <a:pt x="1474270" y="150840"/>
                        <a:pt x="1470975" y="148564"/>
                      </a:cubicBezTo>
                      <a:cubicBezTo>
                        <a:pt x="1470384" y="148154"/>
                        <a:pt x="1470317" y="144287"/>
                        <a:pt x="1469326" y="143297"/>
                      </a:cubicBezTo>
                      <a:cubicBezTo>
                        <a:pt x="1467440" y="141382"/>
                        <a:pt x="1463964" y="141277"/>
                        <a:pt x="1462459" y="138963"/>
                      </a:cubicBezTo>
                      <a:cubicBezTo>
                        <a:pt x="1457687" y="131581"/>
                        <a:pt x="1474460" y="118732"/>
                        <a:pt x="1482662" y="115703"/>
                      </a:cubicBezTo>
                      <a:cubicBezTo>
                        <a:pt x="1485195" y="114760"/>
                        <a:pt x="1487386" y="115065"/>
                        <a:pt x="1489929" y="114541"/>
                      </a:cubicBezTo>
                      <a:cubicBezTo>
                        <a:pt x="1492749" y="113950"/>
                        <a:pt x="1495349" y="112150"/>
                        <a:pt x="1498159" y="111578"/>
                      </a:cubicBezTo>
                      <a:cubicBezTo>
                        <a:pt x="1503150" y="110569"/>
                        <a:pt x="1510570" y="112845"/>
                        <a:pt x="1515371" y="114007"/>
                      </a:cubicBezTo>
                      <a:cubicBezTo>
                        <a:pt x="1525419" y="116446"/>
                        <a:pt x="1538021" y="116722"/>
                        <a:pt x="1546888" y="122304"/>
                      </a:cubicBezTo>
                      <a:cubicBezTo>
                        <a:pt x="1541317" y="122551"/>
                        <a:pt x="1538011" y="127218"/>
                        <a:pt x="1532592" y="128647"/>
                      </a:cubicBezTo>
                      <a:cubicBezTo>
                        <a:pt x="1528258" y="129800"/>
                        <a:pt x="1523162" y="129133"/>
                        <a:pt x="1519304" y="131400"/>
                      </a:cubicBezTo>
                      <a:cubicBezTo>
                        <a:pt x="1526105" y="131495"/>
                        <a:pt x="1532925" y="131762"/>
                        <a:pt x="1539726" y="131686"/>
                      </a:cubicBezTo>
                      <a:cubicBezTo>
                        <a:pt x="1545708" y="131619"/>
                        <a:pt x="1548851" y="134048"/>
                        <a:pt x="1554099" y="134486"/>
                      </a:cubicBezTo>
                      <a:cubicBezTo>
                        <a:pt x="1564929" y="135410"/>
                        <a:pt x="1575873" y="131105"/>
                        <a:pt x="1586532" y="136915"/>
                      </a:cubicBezTo>
                      <a:cubicBezTo>
                        <a:pt x="1584341" y="142220"/>
                        <a:pt x="1582188" y="149440"/>
                        <a:pt x="1575950" y="147535"/>
                      </a:cubicBezTo>
                      <a:cubicBezTo>
                        <a:pt x="1578826" y="151250"/>
                        <a:pt x="1601781" y="152612"/>
                        <a:pt x="1604896" y="148907"/>
                      </a:cubicBezTo>
                      <a:cubicBezTo>
                        <a:pt x="1608430" y="144706"/>
                        <a:pt x="1600820" y="143582"/>
                        <a:pt x="1610792" y="143440"/>
                      </a:cubicBezTo>
                      <a:cubicBezTo>
                        <a:pt x="1616812" y="143354"/>
                        <a:pt x="1622898" y="142439"/>
                        <a:pt x="1628889" y="142525"/>
                      </a:cubicBezTo>
                      <a:cubicBezTo>
                        <a:pt x="1636376" y="142639"/>
                        <a:pt x="1693069" y="141877"/>
                        <a:pt x="1690030" y="154127"/>
                      </a:cubicBezTo>
                      <a:cubicBezTo>
                        <a:pt x="1695822" y="149897"/>
                        <a:pt x="1716424" y="158784"/>
                        <a:pt x="1713747" y="164423"/>
                      </a:cubicBezTo>
                      <a:cubicBezTo>
                        <a:pt x="1720396" y="165023"/>
                        <a:pt x="1721663" y="159699"/>
                        <a:pt x="1714624" y="158556"/>
                      </a:cubicBezTo>
                      <a:cubicBezTo>
                        <a:pt x="1720348" y="156117"/>
                        <a:pt x="1726397" y="162147"/>
                        <a:pt x="1730721" y="165309"/>
                      </a:cubicBezTo>
                      <a:cubicBezTo>
                        <a:pt x="1732321" y="166481"/>
                        <a:pt x="1734074" y="168424"/>
                        <a:pt x="1735874" y="169128"/>
                      </a:cubicBezTo>
                      <a:cubicBezTo>
                        <a:pt x="1736979" y="169567"/>
                        <a:pt x="1739113" y="168338"/>
                        <a:pt x="1739980" y="168814"/>
                      </a:cubicBezTo>
                      <a:cubicBezTo>
                        <a:pt x="1742561" y="170252"/>
                        <a:pt x="1745571" y="172224"/>
                        <a:pt x="1745914" y="176301"/>
                      </a:cubicBezTo>
                      <a:cubicBezTo>
                        <a:pt x="1746400" y="182092"/>
                        <a:pt x="1741551" y="177187"/>
                        <a:pt x="1736589" y="175910"/>
                      </a:cubicBezTo>
                      <a:cubicBezTo>
                        <a:pt x="1730226" y="174282"/>
                        <a:pt x="1722825" y="170919"/>
                        <a:pt x="1716329" y="171024"/>
                      </a:cubicBezTo>
                      <a:cubicBezTo>
                        <a:pt x="1719472" y="172986"/>
                        <a:pt x="1723902" y="174139"/>
                        <a:pt x="1727473" y="175910"/>
                      </a:cubicBezTo>
                      <a:cubicBezTo>
                        <a:pt x="1729445" y="176891"/>
                        <a:pt x="1731693" y="178939"/>
                        <a:pt x="1733846" y="179435"/>
                      </a:cubicBezTo>
                      <a:cubicBezTo>
                        <a:pt x="1735131" y="179730"/>
                        <a:pt x="1736379" y="177920"/>
                        <a:pt x="1738084" y="178253"/>
                      </a:cubicBezTo>
                      <a:cubicBezTo>
                        <a:pt x="1746685" y="179930"/>
                        <a:pt x="1759515" y="183816"/>
                        <a:pt x="1752190" y="193836"/>
                      </a:cubicBezTo>
                      <a:cubicBezTo>
                        <a:pt x="1747390" y="200399"/>
                        <a:pt x="1738113" y="204704"/>
                        <a:pt x="1730826" y="207695"/>
                      </a:cubicBezTo>
                      <a:cubicBezTo>
                        <a:pt x="1727435" y="209086"/>
                        <a:pt x="1724054" y="210981"/>
                        <a:pt x="1720834" y="212762"/>
                      </a:cubicBezTo>
                      <a:cubicBezTo>
                        <a:pt x="1716529" y="215144"/>
                        <a:pt x="1714462" y="218230"/>
                        <a:pt x="1709252" y="218963"/>
                      </a:cubicBezTo>
                      <a:cubicBezTo>
                        <a:pt x="1720663" y="222821"/>
                        <a:pt x="1704461" y="226650"/>
                        <a:pt x="1702299" y="228088"/>
                      </a:cubicBezTo>
                      <a:cubicBezTo>
                        <a:pt x="1694288" y="233422"/>
                        <a:pt x="1696203" y="239794"/>
                        <a:pt x="1685039" y="240956"/>
                      </a:cubicBezTo>
                      <a:cubicBezTo>
                        <a:pt x="1676686" y="241814"/>
                        <a:pt x="1680086" y="240756"/>
                        <a:pt x="1675743" y="245395"/>
                      </a:cubicBezTo>
                      <a:cubicBezTo>
                        <a:pt x="1671704" y="249700"/>
                        <a:pt x="1675800" y="247910"/>
                        <a:pt x="1669275" y="250548"/>
                      </a:cubicBezTo>
                      <a:cubicBezTo>
                        <a:pt x="1662389" y="253329"/>
                        <a:pt x="1666085" y="251491"/>
                        <a:pt x="1664075" y="259711"/>
                      </a:cubicBezTo>
                      <a:cubicBezTo>
                        <a:pt x="1663198" y="263312"/>
                        <a:pt x="1661894" y="266026"/>
                        <a:pt x="1658122" y="267636"/>
                      </a:cubicBezTo>
                      <a:cubicBezTo>
                        <a:pt x="1662894" y="267617"/>
                        <a:pt x="1668771" y="266579"/>
                        <a:pt x="1671819" y="262473"/>
                      </a:cubicBezTo>
                      <a:cubicBezTo>
                        <a:pt x="1674181" y="259302"/>
                        <a:pt x="1670990" y="258654"/>
                        <a:pt x="1675534" y="256187"/>
                      </a:cubicBezTo>
                      <a:cubicBezTo>
                        <a:pt x="1683210" y="252015"/>
                        <a:pt x="1695650" y="256177"/>
                        <a:pt x="1704023" y="253015"/>
                      </a:cubicBezTo>
                      <a:cubicBezTo>
                        <a:pt x="1707890" y="251558"/>
                        <a:pt x="1708947" y="251548"/>
                        <a:pt x="1713014" y="250501"/>
                      </a:cubicBezTo>
                      <a:cubicBezTo>
                        <a:pt x="1715491" y="249862"/>
                        <a:pt x="1718386" y="249777"/>
                        <a:pt x="1720767" y="248834"/>
                      </a:cubicBezTo>
                      <a:cubicBezTo>
                        <a:pt x="1722196" y="248262"/>
                        <a:pt x="1722673" y="245376"/>
                        <a:pt x="1723149" y="245262"/>
                      </a:cubicBezTo>
                      <a:cubicBezTo>
                        <a:pt x="1727064" y="244290"/>
                        <a:pt x="1730759" y="246843"/>
                        <a:pt x="1734922" y="245224"/>
                      </a:cubicBezTo>
                      <a:cubicBezTo>
                        <a:pt x="1737655" y="244157"/>
                        <a:pt x="1745447" y="239709"/>
                        <a:pt x="1747123" y="237604"/>
                      </a:cubicBezTo>
                      <a:cubicBezTo>
                        <a:pt x="1740646" y="233508"/>
                        <a:pt x="1727807" y="243395"/>
                        <a:pt x="1722101" y="236299"/>
                      </a:cubicBezTo>
                      <a:cubicBezTo>
                        <a:pt x="1713519" y="225593"/>
                        <a:pt x="1741123" y="230746"/>
                        <a:pt x="1744799" y="231031"/>
                      </a:cubicBezTo>
                      <a:cubicBezTo>
                        <a:pt x="1743989" y="229993"/>
                        <a:pt x="1743780" y="228498"/>
                        <a:pt x="1742970" y="227460"/>
                      </a:cubicBezTo>
                      <a:cubicBezTo>
                        <a:pt x="1746018" y="227488"/>
                        <a:pt x="1749105" y="227736"/>
                        <a:pt x="1752114" y="228231"/>
                      </a:cubicBezTo>
                      <a:cubicBezTo>
                        <a:pt x="1750581" y="228631"/>
                        <a:pt x="1749057" y="229717"/>
                        <a:pt x="1747400" y="230117"/>
                      </a:cubicBezTo>
                      <a:cubicBezTo>
                        <a:pt x="1754248" y="235308"/>
                        <a:pt x="1763287" y="237280"/>
                        <a:pt x="1771736" y="238042"/>
                      </a:cubicBezTo>
                      <a:cubicBezTo>
                        <a:pt x="1780575" y="238832"/>
                        <a:pt x="1791710" y="238356"/>
                        <a:pt x="1779909" y="230327"/>
                      </a:cubicBezTo>
                      <a:cubicBezTo>
                        <a:pt x="1785404" y="231241"/>
                        <a:pt x="1794396" y="234784"/>
                        <a:pt x="1798339" y="238842"/>
                      </a:cubicBezTo>
                      <a:cubicBezTo>
                        <a:pt x="1799320" y="239842"/>
                        <a:pt x="1800521" y="240252"/>
                        <a:pt x="1801435" y="241261"/>
                      </a:cubicBezTo>
                      <a:cubicBezTo>
                        <a:pt x="1802644" y="242576"/>
                        <a:pt x="1800539" y="245214"/>
                        <a:pt x="1801368" y="246167"/>
                      </a:cubicBezTo>
                      <a:cubicBezTo>
                        <a:pt x="1803607" y="248748"/>
                        <a:pt x="1808398" y="248110"/>
                        <a:pt x="1811083" y="249624"/>
                      </a:cubicBezTo>
                      <a:cubicBezTo>
                        <a:pt x="1813618" y="251053"/>
                        <a:pt x="1816380" y="254368"/>
                        <a:pt x="1818142" y="256863"/>
                      </a:cubicBezTo>
                      <a:cubicBezTo>
                        <a:pt x="1819637" y="258978"/>
                        <a:pt x="1820256" y="259959"/>
                        <a:pt x="1821114" y="262464"/>
                      </a:cubicBezTo>
                      <a:cubicBezTo>
                        <a:pt x="1821314" y="263054"/>
                        <a:pt x="1819218" y="263855"/>
                        <a:pt x="1819723" y="264921"/>
                      </a:cubicBezTo>
                      <a:cubicBezTo>
                        <a:pt x="1822161" y="270113"/>
                        <a:pt x="1831115" y="273275"/>
                        <a:pt x="1836677" y="271522"/>
                      </a:cubicBezTo>
                      <a:cubicBezTo>
                        <a:pt x="1833296" y="270455"/>
                        <a:pt x="1828724" y="270722"/>
                        <a:pt x="1825695" y="268855"/>
                      </a:cubicBezTo>
                      <a:cubicBezTo>
                        <a:pt x="1821494" y="266274"/>
                        <a:pt x="1823743" y="266131"/>
                        <a:pt x="1822361" y="262759"/>
                      </a:cubicBezTo>
                      <a:cubicBezTo>
                        <a:pt x="1820504" y="258206"/>
                        <a:pt x="1813694" y="252444"/>
                        <a:pt x="1819532" y="249729"/>
                      </a:cubicBezTo>
                      <a:cubicBezTo>
                        <a:pt x="1815217" y="248738"/>
                        <a:pt x="1810379" y="247986"/>
                        <a:pt x="1807150" y="244719"/>
                      </a:cubicBezTo>
                      <a:cubicBezTo>
                        <a:pt x="1815294" y="244062"/>
                        <a:pt x="1825133" y="242414"/>
                        <a:pt x="1833144" y="240442"/>
                      </a:cubicBezTo>
                      <a:cubicBezTo>
                        <a:pt x="1842706" y="238080"/>
                        <a:pt x="1852394" y="238509"/>
                        <a:pt x="1862462" y="239356"/>
                      </a:cubicBezTo>
                      <a:cubicBezTo>
                        <a:pt x="1872282" y="240185"/>
                        <a:pt x="1881607" y="241766"/>
                        <a:pt x="1891474" y="241890"/>
                      </a:cubicBezTo>
                      <a:cubicBezTo>
                        <a:pt x="1899047" y="241985"/>
                        <a:pt x="1911230" y="240499"/>
                        <a:pt x="1917611" y="245471"/>
                      </a:cubicBezTo>
                      <a:cubicBezTo>
                        <a:pt x="1914573" y="246062"/>
                        <a:pt x="1911534" y="246100"/>
                        <a:pt x="1908439" y="245995"/>
                      </a:cubicBezTo>
                      <a:cubicBezTo>
                        <a:pt x="1912230" y="258835"/>
                        <a:pt x="1948930" y="261635"/>
                        <a:pt x="1960359" y="261378"/>
                      </a:cubicBezTo>
                      <a:cubicBezTo>
                        <a:pt x="1969580" y="261169"/>
                        <a:pt x="1978857" y="261340"/>
                        <a:pt x="1988030" y="261569"/>
                      </a:cubicBezTo>
                      <a:cubicBezTo>
                        <a:pt x="1996164" y="261769"/>
                        <a:pt x="2005317" y="267141"/>
                        <a:pt x="2013347" y="263569"/>
                      </a:cubicBezTo>
                      <a:cubicBezTo>
                        <a:pt x="2010556" y="262016"/>
                        <a:pt x="2007175" y="262683"/>
                        <a:pt x="2005213" y="260102"/>
                      </a:cubicBezTo>
                      <a:cubicBezTo>
                        <a:pt x="2008432" y="259530"/>
                        <a:pt x="2017700" y="264036"/>
                        <a:pt x="2020100" y="262045"/>
                      </a:cubicBezTo>
                      <a:cubicBezTo>
                        <a:pt x="2023262" y="259435"/>
                        <a:pt x="2018271" y="256511"/>
                        <a:pt x="2021767" y="254539"/>
                      </a:cubicBezTo>
                      <a:cubicBezTo>
                        <a:pt x="2017100" y="252510"/>
                        <a:pt x="2007499" y="249034"/>
                        <a:pt x="2004765" y="244252"/>
                      </a:cubicBezTo>
                      <a:cubicBezTo>
                        <a:pt x="2001822" y="239099"/>
                        <a:pt x="2003955" y="241538"/>
                        <a:pt x="2006327" y="240061"/>
                      </a:cubicBezTo>
                      <a:cubicBezTo>
                        <a:pt x="2007308" y="239452"/>
                        <a:pt x="2009947" y="241118"/>
                        <a:pt x="2011166" y="240861"/>
                      </a:cubicBezTo>
                      <a:cubicBezTo>
                        <a:pt x="2011718" y="240747"/>
                        <a:pt x="2011766" y="238499"/>
                        <a:pt x="2012890" y="238194"/>
                      </a:cubicBezTo>
                      <a:cubicBezTo>
                        <a:pt x="2019738" y="236280"/>
                        <a:pt x="2025415" y="237480"/>
                        <a:pt x="2032159" y="239147"/>
                      </a:cubicBezTo>
                      <a:cubicBezTo>
                        <a:pt x="2039036" y="240842"/>
                        <a:pt x="2049237" y="245881"/>
                        <a:pt x="2055105" y="246186"/>
                      </a:cubicBezTo>
                      <a:cubicBezTo>
                        <a:pt x="2060039" y="246443"/>
                        <a:pt x="2061934" y="243423"/>
                        <a:pt x="2066963" y="245348"/>
                      </a:cubicBezTo>
                      <a:cubicBezTo>
                        <a:pt x="2071506" y="247091"/>
                        <a:pt x="2072773" y="251948"/>
                        <a:pt x="2078736" y="247357"/>
                      </a:cubicBezTo>
                      <a:cubicBezTo>
                        <a:pt x="2081041" y="245586"/>
                        <a:pt x="2077155" y="244928"/>
                        <a:pt x="2080879" y="243604"/>
                      </a:cubicBezTo>
                      <a:cubicBezTo>
                        <a:pt x="2084175" y="242423"/>
                        <a:pt x="2091662" y="244776"/>
                        <a:pt x="2095214" y="245386"/>
                      </a:cubicBezTo>
                      <a:cubicBezTo>
                        <a:pt x="2100311" y="246262"/>
                        <a:pt x="2105168" y="248053"/>
                        <a:pt x="2109969" y="249862"/>
                      </a:cubicBezTo>
                      <a:cubicBezTo>
                        <a:pt x="2115588" y="251967"/>
                        <a:pt x="2121894" y="252234"/>
                        <a:pt x="2128190" y="254453"/>
                      </a:cubicBezTo>
                      <a:cubicBezTo>
                        <a:pt x="2134200" y="256577"/>
                        <a:pt x="2139554" y="258263"/>
                        <a:pt x="2132895" y="263931"/>
                      </a:cubicBezTo>
                      <a:cubicBezTo>
                        <a:pt x="2139944" y="265007"/>
                        <a:pt x="2147021" y="264455"/>
                        <a:pt x="2152612" y="269913"/>
                      </a:cubicBezTo>
                      <a:cubicBezTo>
                        <a:pt x="2148488" y="272313"/>
                        <a:pt x="2146364" y="274885"/>
                        <a:pt x="2141334" y="275266"/>
                      </a:cubicBezTo>
                      <a:cubicBezTo>
                        <a:pt x="2147936" y="278237"/>
                        <a:pt x="2155479" y="275704"/>
                        <a:pt x="2162299" y="278333"/>
                      </a:cubicBezTo>
                      <a:cubicBezTo>
                        <a:pt x="2167080" y="280180"/>
                        <a:pt x="2178987" y="287124"/>
                        <a:pt x="2170662" y="289410"/>
                      </a:cubicBezTo>
                      <a:cubicBezTo>
                        <a:pt x="2158641" y="292706"/>
                        <a:pt x="2143144" y="276513"/>
                        <a:pt x="2131248" y="279114"/>
                      </a:cubicBezTo>
                      <a:cubicBezTo>
                        <a:pt x="2140039" y="284067"/>
                        <a:pt x="2149888" y="286981"/>
                        <a:pt x="2159108" y="291182"/>
                      </a:cubicBezTo>
                      <a:cubicBezTo>
                        <a:pt x="2162785" y="292858"/>
                        <a:pt x="2173129" y="300212"/>
                        <a:pt x="2177053" y="299516"/>
                      </a:cubicBezTo>
                      <a:cubicBezTo>
                        <a:pt x="2181397" y="298735"/>
                        <a:pt x="2178910" y="295163"/>
                        <a:pt x="2175415" y="293611"/>
                      </a:cubicBezTo>
                      <a:cubicBezTo>
                        <a:pt x="2180320" y="295220"/>
                        <a:pt x="2184997" y="298106"/>
                        <a:pt x="2189636" y="300345"/>
                      </a:cubicBezTo>
                      <a:cubicBezTo>
                        <a:pt x="2186140" y="299840"/>
                        <a:pt x="2181511" y="299878"/>
                        <a:pt x="2179416" y="302726"/>
                      </a:cubicBezTo>
                      <a:cubicBezTo>
                        <a:pt x="2183292" y="305507"/>
                        <a:pt x="2188807" y="305774"/>
                        <a:pt x="2193246" y="307936"/>
                      </a:cubicBezTo>
                      <a:cubicBezTo>
                        <a:pt x="2199399" y="310937"/>
                        <a:pt x="2205466" y="314109"/>
                        <a:pt x="2211610" y="317156"/>
                      </a:cubicBezTo>
                      <a:cubicBezTo>
                        <a:pt x="2220478" y="321557"/>
                        <a:pt x="2233546" y="327215"/>
                        <a:pt x="2243576" y="327139"/>
                      </a:cubicBezTo>
                      <a:cubicBezTo>
                        <a:pt x="2243357" y="326358"/>
                        <a:pt x="2243128" y="325586"/>
                        <a:pt x="2242909" y="324805"/>
                      </a:cubicBezTo>
                      <a:cubicBezTo>
                        <a:pt x="2247234" y="326139"/>
                        <a:pt x="2254634" y="334492"/>
                        <a:pt x="2259540" y="331368"/>
                      </a:cubicBezTo>
                      <a:cubicBezTo>
                        <a:pt x="2265436" y="327625"/>
                        <a:pt x="2257082" y="320643"/>
                        <a:pt x="2259949" y="315928"/>
                      </a:cubicBezTo>
                      <a:cubicBezTo>
                        <a:pt x="2254968" y="313708"/>
                        <a:pt x="2248405" y="303755"/>
                        <a:pt x="2248881" y="298059"/>
                      </a:cubicBezTo>
                      <a:cubicBezTo>
                        <a:pt x="2249424" y="291639"/>
                        <a:pt x="2255530" y="298145"/>
                        <a:pt x="2260387" y="300421"/>
                      </a:cubicBezTo>
                      <a:cubicBezTo>
                        <a:pt x="2276637" y="308032"/>
                        <a:pt x="2292544" y="311803"/>
                        <a:pt x="2310451" y="311432"/>
                      </a:cubicBezTo>
                      <a:cubicBezTo>
                        <a:pt x="2310137" y="306669"/>
                        <a:pt x="2321242" y="304250"/>
                        <a:pt x="2325433" y="303860"/>
                      </a:cubicBezTo>
                      <a:cubicBezTo>
                        <a:pt x="2332082" y="303231"/>
                        <a:pt x="2339312" y="305650"/>
                        <a:pt x="2345732" y="307193"/>
                      </a:cubicBezTo>
                      <a:cubicBezTo>
                        <a:pt x="2353218" y="309003"/>
                        <a:pt x="2360628" y="310641"/>
                        <a:pt x="2367858" y="313251"/>
                      </a:cubicBezTo>
                      <a:cubicBezTo>
                        <a:pt x="2374154" y="315528"/>
                        <a:pt x="2380907" y="318976"/>
                        <a:pt x="2387546" y="319119"/>
                      </a:cubicBezTo>
                      <a:cubicBezTo>
                        <a:pt x="2385594" y="318109"/>
                        <a:pt x="2383556" y="317223"/>
                        <a:pt x="2381460" y="316471"/>
                      </a:cubicBezTo>
                      <a:cubicBezTo>
                        <a:pt x="2383031" y="314642"/>
                        <a:pt x="2384546" y="313385"/>
                        <a:pt x="2387689" y="313356"/>
                      </a:cubicBezTo>
                      <a:cubicBezTo>
                        <a:pt x="2383412" y="312470"/>
                        <a:pt x="2377669" y="312956"/>
                        <a:pt x="2376107" y="309013"/>
                      </a:cubicBezTo>
                      <a:cubicBezTo>
                        <a:pt x="2373859" y="303317"/>
                        <a:pt x="2378898" y="304422"/>
                        <a:pt x="2383508" y="305879"/>
                      </a:cubicBezTo>
                      <a:cubicBezTo>
                        <a:pt x="2384108" y="300278"/>
                        <a:pt x="2395366" y="307393"/>
                        <a:pt x="2398824" y="308270"/>
                      </a:cubicBezTo>
                      <a:cubicBezTo>
                        <a:pt x="2404815" y="309784"/>
                        <a:pt x="2409978" y="308193"/>
                        <a:pt x="2416350" y="308127"/>
                      </a:cubicBezTo>
                      <a:cubicBezTo>
                        <a:pt x="2412035" y="305184"/>
                        <a:pt x="2406663" y="304126"/>
                        <a:pt x="2402424" y="301240"/>
                      </a:cubicBezTo>
                      <a:cubicBezTo>
                        <a:pt x="2396338" y="297106"/>
                        <a:pt x="2394395" y="294573"/>
                        <a:pt x="2386661" y="293639"/>
                      </a:cubicBezTo>
                      <a:cubicBezTo>
                        <a:pt x="2390528" y="293296"/>
                        <a:pt x="2391680" y="290953"/>
                        <a:pt x="2389518" y="287429"/>
                      </a:cubicBezTo>
                      <a:cubicBezTo>
                        <a:pt x="2391452" y="287286"/>
                        <a:pt x="2393118" y="286315"/>
                        <a:pt x="2394947" y="286086"/>
                      </a:cubicBezTo>
                      <a:cubicBezTo>
                        <a:pt x="2389451" y="284429"/>
                        <a:pt x="2369563" y="290239"/>
                        <a:pt x="2368382" y="281724"/>
                      </a:cubicBezTo>
                      <a:cubicBezTo>
                        <a:pt x="2367229" y="273427"/>
                        <a:pt x="2392347" y="276694"/>
                        <a:pt x="2398662" y="273618"/>
                      </a:cubicBezTo>
                      <a:cubicBezTo>
                        <a:pt x="2394300" y="272475"/>
                        <a:pt x="2381840" y="267055"/>
                        <a:pt x="2379860" y="264074"/>
                      </a:cubicBezTo>
                      <a:cubicBezTo>
                        <a:pt x="2391375" y="263902"/>
                        <a:pt x="2401815" y="268208"/>
                        <a:pt x="2413178" y="269312"/>
                      </a:cubicBezTo>
                      <a:cubicBezTo>
                        <a:pt x="2424208" y="270389"/>
                        <a:pt x="2435457" y="269512"/>
                        <a:pt x="2446487" y="270513"/>
                      </a:cubicBezTo>
                      <a:cubicBezTo>
                        <a:pt x="2458250" y="271570"/>
                        <a:pt x="2470023" y="272789"/>
                        <a:pt x="2481787" y="273989"/>
                      </a:cubicBezTo>
                      <a:cubicBezTo>
                        <a:pt x="2489454" y="274770"/>
                        <a:pt x="2508561" y="274532"/>
                        <a:pt x="2513248" y="281095"/>
                      </a:cubicBezTo>
                      <a:cubicBezTo>
                        <a:pt x="2505789" y="280914"/>
                        <a:pt x="2498541" y="280447"/>
                        <a:pt x="2491150" y="279819"/>
                      </a:cubicBezTo>
                      <a:cubicBezTo>
                        <a:pt x="2488311" y="279580"/>
                        <a:pt x="2484863" y="279123"/>
                        <a:pt x="2482091" y="280076"/>
                      </a:cubicBezTo>
                      <a:cubicBezTo>
                        <a:pt x="2479339" y="281028"/>
                        <a:pt x="2479243" y="284210"/>
                        <a:pt x="2474300" y="283962"/>
                      </a:cubicBezTo>
                      <a:cubicBezTo>
                        <a:pt x="2481901" y="287762"/>
                        <a:pt x="2486702" y="284895"/>
                        <a:pt x="2494407" y="283829"/>
                      </a:cubicBezTo>
                      <a:cubicBezTo>
                        <a:pt x="2503008" y="282638"/>
                        <a:pt x="2513734" y="281885"/>
                        <a:pt x="2522439" y="282571"/>
                      </a:cubicBezTo>
                      <a:cubicBezTo>
                        <a:pt x="2533888" y="283476"/>
                        <a:pt x="2527954" y="295306"/>
                        <a:pt x="2524011" y="293839"/>
                      </a:cubicBezTo>
                      <a:cubicBezTo>
                        <a:pt x="2522687" y="293344"/>
                        <a:pt x="2522887" y="289629"/>
                        <a:pt x="2521725" y="288743"/>
                      </a:cubicBezTo>
                      <a:cubicBezTo>
                        <a:pt x="2520496" y="287820"/>
                        <a:pt x="2519563" y="288258"/>
                        <a:pt x="2518229" y="287581"/>
                      </a:cubicBezTo>
                      <a:cubicBezTo>
                        <a:pt x="2515600" y="286248"/>
                        <a:pt x="2511257" y="285591"/>
                        <a:pt x="2508218" y="285000"/>
                      </a:cubicBezTo>
                      <a:cubicBezTo>
                        <a:pt x="2510114" y="289515"/>
                        <a:pt x="2515600" y="290363"/>
                        <a:pt x="2519020" y="293963"/>
                      </a:cubicBezTo>
                      <a:cubicBezTo>
                        <a:pt x="2514086" y="296097"/>
                        <a:pt x="2510323" y="295116"/>
                        <a:pt x="2505313" y="294439"/>
                      </a:cubicBezTo>
                      <a:cubicBezTo>
                        <a:pt x="2509371" y="296668"/>
                        <a:pt x="2509676" y="300231"/>
                        <a:pt x="2514514" y="301431"/>
                      </a:cubicBezTo>
                      <a:cubicBezTo>
                        <a:pt x="2520420" y="302898"/>
                        <a:pt x="2529678" y="300859"/>
                        <a:pt x="2532145" y="295020"/>
                      </a:cubicBezTo>
                      <a:cubicBezTo>
                        <a:pt x="2535250" y="287677"/>
                        <a:pt x="2529831" y="282524"/>
                        <a:pt x="2539804" y="281447"/>
                      </a:cubicBezTo>
                      <a:cubicBezTo>
                        <a:pt x="2547804" y="280580"/>
                        <a:pt x="2556872" y="282028"/>
                        <a:pt x="2564883" y="283057"/>
                      </a:cubicBezTo>
                      <a:cubicBezTo>
                        <a:pt x="2570312" y="283762"/>
                        <a:pt x="2608602" y="288048"/>
                        <a:pt x="2608717" y="295392"/>
                      </a:cubicBezTo>
                      <a:cubicBezTo>
                        <a:pt x="2608784" y="300516"/>
                        <a:pt x="2593172" y="294611"/>
                        <a:pt x="2592315" y="299326"/>
                      </a:cubicBezTo>
                      <a:cubicBezTo>
                        <a:pt x="2591657" y="302936"/>
                        <a:pt x="2605002" y="302374"/>
                        <a:pt x="2607059" y="302698"/>
                      </a:cubicBezTo>
                      <a:cubicBezTo>
                        <a:pt x="2613832" y="303745"/>
                        <a:pt x="2620252" y="306812"/>
                        <a:pt x="2626852" y="307460"/>
                      </a:cubicBezTo>
                      <a:cubicBezTo>
                        <a:pt x="2635454" y="308308"/>
                        <a:pt x="2641921" y="306165"/>
                        <a:pt x="2636577" y="316480"/>
                      </a:cubicBezTo>
                      <a:cubicBezTo>
                        <a:pt x="2650512" y="304984"/>
                        <a:pt x="2672315" y="317090"/>
                        <a:pt x="2686155" y="322881"/>
                      </a:cubicBezTo>
                      <a:cubicBezTo>
                        <a:pt x="2684383" y="323338"/>
                        <a:pt x="2682831" y="324110"/>
                        <a:pt x="2680850" y="324167"/>
                      </a:cubicBezTo>
                      <a:cubicBezTo>
                        <a:pt x="2691422" y="326472"/>
                        <a:pt x="2701119" y="329329"/>
                        <a:pt x="2711939" y="328386"/>
                      </a:cubicBezTo>
                      <a:cubicBezTo>
                        <a:pt x="2723769" y="327367"/>
                        <a:pt x="2734523" y="323891"/>
                        <a:pt x="2746229" y="322681"/>
                      </a:cubicBezTo>
                      <a:cubicBezTo>
                        <a:pt x="2766851" y="320547"/>
                        <a:pt x="2787939" y="319709"/>
                        <a:pt x="2808980" y="322338"/>
                      </a:cubicBezTo>
                      <a:cubicBezTo>
                        <a:pt x="2829068" y="324843"/>
                        <a:pt x="2851795" y="329168"/>
                        <a:pt x="2869844" y="338693"/>
                      </a:cubicBezTo>
                      <a:cubicBezTo>
                        <a:pt x="2879169" y="343617"/>
                        <a:pt x="2883846" y="349913"/>
                        <a:pt x="2891343" y="356419"/>
                      </a:cubicBezTo>
                      <a:cubicBezTo>
                        <a:pt x="2900125" y="364039"/>
                        <a:pt x="2910507" y="363562"/>
                        <a:pt x="2921860" y="365734"/>
                      </a:cubicBezTo>
                      <a:cubicBezTo>
                        <a:pt x="2933214" y="367896"/>
                        <a:pt x="2941387" y="376745"/>
                        <a:pt x="2951245" y="382384"/>
                      </a:cubicBezTo>
                      <a:cubicBezTo>
                        <a:pt x="2957255" y="385822"/>
                        <a:pt x="2977572" y="390461"/>
                        <a:pt x="2972162" y="401167"/>
                      </a:cubicBezTo>
                      <a:cubicBezTo>
                        <a:pt x="2973191" y="401234"/>
                        <a:pt x="2975553" y="400815"/>
                        <a:pt x="2976505" y="400405"/>
                      </a:cubicBezTo>
                      <a:cubicBezTo>
                        <a:pt x="2975610" y="397167"/>
                        <a:pt x="2973372" y="394823"/>
                        <a:pt x="2971353" y="392204"/>
                      </a:cubicBezTo>
                      <a:cubicBezTo>
                        <a:pt x="2976058" y="389023"/>
                        <a:pt x="2948931" y="379107"/>
                        <a:pt x="2953446" y="370268"/>
                      </a:cubicBezTo>
                      <a:cubicBezTo>
                        <a:pt x="2957579" y="362210"/>
                        <a:pt x="2974143" y="365201"/>
                        <a:pt x="2981621" y="364705"/>
                      </a:cubicBezTo>
                      <a:cubicBezTo>
                        <a:pt x="2992336" y="363981"/>
                        <a:pt x="3001261" y="367191"/>
                        <a:pt x="3011948" y="367620"/>
                      </a:cubicBezTo>
                      <a:cubicBezTo>
                        <a:pt x="3025007" y="368134"/>
                        <a:pt x="3037618" y="369239"/>
                        <a:pt x="3050600" y="370239"/>
                      </a:cubicBezTo>
                      <a:cubicBezTo>
                        <a:pt x="3057087" y="370744"/>
                        <a:pt x="3058535" y="371668"/>
                        <a:pt x="3062954" y="368191"/>
                      </a:cubicBezTo>
                      <a:cubicBezTo>
                        <a:pt x="3066621" y="365305"/>
                        <a:pt x="3064155" y="364220"/>
                        <a:pt x="3068841" y="363534"/>
                      </a:cubicBezTo>
                      <a:cubicBezTo>
                        <a:pt x="3071813" y="363105"/>
                        <a:pt x="3074670" y="364829"/>
                        <a:pt x="3077318" y="365763"/>
                      </a:cubicBezTo>
                      <a:cubicBezTo>
                        <a:pt x="3087291" y="369287"/>
                        <a:pt x="3095578" y="376812"/>
                        <a:pt x="3105770" y="379183"/>
                      </a:cubicBezTo>
                      <a:cubicBezTo>
                        <a:pt x="3117923" y="382012"/>
                        <a:pt x="3128086" y="383489"/>
                        <a:pt x="3139440" y="388994"/>
                      </a:cubicBezTo>
                      <a:cubicBezTo>
                        <a:pt x="3145365" y="391871"/>
                        <a:pt x="3167377" y="398081"/>
                        <a:pt x="3168024" y="388584"/>
                      </a:cubicBezTo>
                      <a:cubicBezTo>
                        <a:pt x="3168520" y="381307"/>
                        <a:pt x="3142831" y="370716"/>
                        <a:pt x="3136192" y="368544"/>
                      </a:cubicBezTo>
                      <a:cubicBezTo>
                        <a:pt x="3133402" y="367629"/>
                        <a:pt x="3129582" y="368430"/>
                        <a:pt x="3126991" y="367182"/>
                      </a:cubicBezTo>
                      <a:cubicBezTo>
                        <a:pt x="3124229" y="365848"/>
                        <a:pt x="3124972" y="365105"/>
                        <a:pt x="3123495" y="363438"/>
                      </a:cubicBezTo>
                      <a:cubicBezTo>
                        <a:pt x="3119161" y="358600"/>
                        <a:pt x="3116761" y="355714"/>
                        <a:pt x="3110551" y="351732"/>
                      </a:cubicBezTo>
                      <a:cubicBezTo>
                        <a:pt x="3134697" y="352770"/>
                        <a:pt x="3158509" y="355971"/>
                        <a:pt x="3182150" y="360667"/>
                      </a:cubicBezTo>
                      <a:cubicBezTo>
                        <a:pt x="3181103" y="359724"/>
                        <a:pt x="3180360" y="358428"/>
                        <a:pt x="3179283" y="357514"/>
                      </a:cubicBezTo>
                      <a:cubicBezTo>
                        <a:pt x="3183026" y="355818"/>
                        <a:pt x="3194018" y="358838"/>
                        <a:pt x="3198971" y="358933"/>
                      </a:cubicBezTo>
                      <a:cubicBezTo>
                        <a:pt x="3207144" y="359086"/>
                        <a:pt x="3215459" y="360333"/>
                        <a:pt x="3223651" y="359457"/>
                      </a:cubicBezTo>
                      <a:cubicBezTo>
                        <a:pt x="3239948" y="357714"/>
                        <a:pt x="3253702" y="364229"/>
                        <a:pt x="3269809" y="366486"/>
                      </a:cubicBezTo>
                      <a:cubicBezTo>
                        <a:pt x="3285916" y="368744"/>
                        <a:pt x="3304746" y="369563"/>
                        <a:pt x="3320282" y="374421"/>
                      </a:cubicBezTo>
                      <a:cubicBezTo>
                        <a:pt x="3334693" y="378936"/>
                        <a:pt x="3349771" y="384060"/>
                        <a:pt x="3364735" y="387241"/>
                      </a:cubicBezTo>
                      <a:cubicBezTo>
                        <a:pt x="3381270" y="390756"/>
                        <a:pt x="3397653" y="393509"/>
                        <a:pt x="3413712" y="399672"/>
                      </a:cubicBezTo>
                      <a:cubicBezTo>
                        <a:pt x="3410998" y="399072"/>
                        <a:pt x="3408359" y="398224"/>
                        <a:pt x="3405730" y="397319"/>
                      </a:cubicBezTo>
                      <a:cubicBezTo>
                        <a:pt x="3413932" y="402891"/>
                        <a:pt x="3427467" y="405225"/>
                        <a:pt x="3436953" y="407949"/>
                      </a:cubicBezTo>
                      <a:cubicBezTo>
                        <a:pt x="3442554" y="409559"/>
                        <a:pt x="3440992" y="407835"/>
                        <a:pt x="3436182" y="405749"/>
                      </a:cubicBezTo>
                      <a:cubicBezTo>
                        <a:pt x="3430486" y="403282"/>
                        <a:pt x="3424009" y="402653"/>
                        <a:pt x="3418209" y="400310"/>
                      </a:cubicBezTo>
                      <a:cubicBezTo>
                        <a:pt x="3428581" y="402139"/>
                        <a:pt x="3438906" y="405568"/>
                        <a:pt x="3448907" y="408854"/>
                      </a:cubicBezTo>
                      <a:cubicBezTo>
                        <a:pt x="3448584" y="411092"/>
                        <a:pt x="3462204" y="412530"/>
                        <a:pt x="3466234" y="413502"/>
                      </a:cubicBezTo>
                      <a:cubicBezTo>
                        <a:pt x="3476292" y="415902"/>
                        <a:pt x="3486303" y="418445"/>
                        <a:pt x="3496323" y="420998"/>
                      </a:cubicBezTo>
                      <a:cubicBezTo>
                        <a:pt x="3506057" y="423484"/>
                        <a:pt x="3516611" y="425160"/>
                        <a:pt x="3525926" y="428885"/>
                      </a:cubicBezTo>
                      <a:cubicBezTo>
                        <a:pt x="3529956" y="430494"/>
                        <a:pt x="3544386" y="441963"/>
                        <a:pt x="3543577" y="435848"/>
                      </a:cubicBezTo>
                      <a:cubicBezTo>
                        <a:pt x="3550768" y="437667"/>
                        <a:pt x="3554501" y="442267"/>
                        <a:pt x="3560417" y="446154"/>
                      </a:cubicBezTo>
                      <a:cubicBezTo>
                        <a:pt x="3566322" y="450049"/>
                        <a:pt x="3573656" y="451545"/>
                        <a:pt x="3579105" y="456202"/>
                      </a:cubicBezTo>
                      <a:cubicBezTo>
                        <a:pt x="3581124" y="457926"/>
                        <a:pt x="3581753" y="460403"/>
                        <a:pt x="3584610" y="461660"/>
                      </a:cubicBezTo>
                      <a:cubicBezTo>
                        <a:pt x="3586991" y="462699"/>
                        <a:pt x="3590373" y="462184"/>
                        <a:pt x="3592983" y="462889"/>
                      </a:cubicBezTo>
                      <a:cubicBezTo>
                        <a:pt x="3598735" y="464451"/>
                        <a:pt x="3603517" y="468661"/>
                        <a:pt x="3609061" y="470157"/>
                      </a:cubicBezTo>
                      <a:cubicBezTo>
                        <a:pt x="3602632" y="461460"/>
                        <a:pt x="3621263" y="473528"/>
                        <a:pt x="3622234" y="473900"/>
                      </a:cubicBezTo>
                      <a:cubicBezTo>
                        <a:pt x="3618148" y="463508"/>
                        <a:pt x="3607051" y="466166"/>
                        <a:pt x="3598555" y="461232"/>
                      </a:cubicBezTo>
                      <a:cubicBezTo>
                        <a:pt x="3604594" y="455021"/>
                        <a:pt x="3572618" y="448830"/>
                        <a:pt x="3569808" y="446782"/>
                      </a:cubicBezTo>
                      <a:cubicBezTo>
                        <a:pt x="3577352" y="445087"/>
                        <a:pt x="3586334" y="445315"/>
                        <a:pt x="3593726" y="446506"/>
                      </a:cubicBezTo>
                      <a:cubicBezTo>
                        <a:pt x="3599993" y="447516"/>
                        <a:pt x="3599241" y="447925"/>
                        <a:pt x="3602679" y="450421"/>
                      </a:cubicBezTo>
                      <a:cubicBezTo>
                        <a:pt x="3605261" y="452288"/>
                        <a:pt x="3607413" y="455726"/>
                        <a:pt x="3610680" y="453897"/>
                      </a:cubicBezTo>
                      <a:cubicBezTo>
                        <a:pt x="3608232" y="452850"/>
                        <a:pt x="3605908" y="451678"/>
                        <a:pt x="3604127" y="449830"/>
                      </a:cubicBezTo>
                      <a:cubicBezTo>
                        <a:pt x="3609670" y="450945"/>
                        <a:pt x="3615357" y="452278"/>
                        <a:pt x="3621224" y="451811"/>
                      </a:cubicBezTo>
                      <a:cubicBezTo>
                        <a:pt x="3616557" y="448678"/>
                        <a:pt x="3609632" y="450621"/>
                        <a:pt x="3604775" y="447582"/>
                      </a:cubicBezTo>
                      <a:cubicBezTo>
                        <a:pt x="3622424" y="449621"/>
                        <a:pt x="3638331" y="451754"/>
                        <a:pt x="3655019" y="458041"/>
                      </a:cubicBezTo>
                      <a:cubicBezTo>
                        <a:pt x="3662905" y="461013"/>
                        <a:pt x="3695377" y="465813"/>
                        <a:pt x="3696881" y="473281"/>
                      </a:cubicBezTo>
                      <a:cubicBezTo>
                        <a:pt x="3701501" y="469452"/>
                        <a:pt x="3704692" y="474433"/>
                        <a:pt x="3708626" y="475538"/>
                      </a:cubicBezTo>
                      <a:cubicBezTo>
                        <a:pt x="3713778" y="476996"/>
                        <a:pt x="3723627" y="474367"/>
                        <a:pt x="3726161" y="481158"/>
                      </a:cubicBezTo>
                      <a:cubicBezTo>
                        <a:pt x="3723199" y="480063"/>
                        <a:pt x="3717875" y="478986"/>
                        <a:pt x="3716969" y="483368"/>
                      </a:cubicBezTo>
                      <a:cubicBezTo>
                        <a:pt x="3716150" y="487340"/>
                        <a:pt x="3724028" y="489873"/>
                        <a:pt x="3726685" y="491950"/>
                      </a:cubicBezTo>
                      <a:cubicBezTo>
                        <a:pt x="3722656" y="496312"/>
                        <a:pt x="3705368" y="488178"/>
                        <a:pt x="3700082" y="487102"/>
                      </a:cubicBezTo>
                      <a:cubicBezTo>
                        <a:pt x="3705711" y="491635"/>
                        <a:pt x="3717036" y="490550"/>
                        <a:pt x="3721627" y="496531"/>
                      </a:cubicBezTo>
                      <a:cubicBezTo>
                        <a:pt x="3715455" y="497646"/>
                        <a:pt x="3707016" y="496312"/>
                        <a:pt x="3701168" y="495550"/>
                      </a:cubicBezTo>
                      <a:cubicBezTo>
                        <a:pt x="3693233" y="494522"/>
                        <a:pt x="3683860" y="489578"/>
                        <a:pt x="3676069" y="491178"/>
                      </a:cubicBezTo>
                      <a:cubicBezTo>
                        <a:pt x="3682604" y="492874"/>
                        <a:pt x="3689080" y="495893"/>
                        <a:pt x="3694910" y="497884"/>
                      </a:cubicBezTo>
                      <a:cubicBezTo>
                        <a:pt x="3699520" y="499465"/>
                        <a:pt x="3702510" y="499284"/>
                        <a:pt x="3706225" y="503951"/>
                      </a:cubicBezTo>
                      <a:cubicBezTo>
                        <a:pt x="3704044" y="504237"/>
                        <a:pt x="3701844" y="504523"/>
                        <a:pt x="3699662" y="504809"/>
                      </a:cubicBezTo>
                      <a:cubicBezTo>
                        <a:pt x="3704035" y="506066"/>
                        <a:pt x="3718484" y="505609"/>
                        <a:pt x="3719503" y="511848"/>
                      </a:cubicBezTo>
                      <a:cubicBezTo>
                        <a:pt x="3720561" y="518315"/>
                        <a:pt x="3706568" y="514886"/>
                        <a:pt x="3711798" y="517915"/>
                      </a:cubicBezTo>
                      <a:cubicBezTo>
                        <a:pt x="3713778" y="519058"/>
                        <a:pt x="3717798" y="519172"/>
                        <a:pt x="3719798" y="520410"/>
                      </a:cubicBezTo>
                      <a:cubicBezTo>
                        <a:pt x="3720389" y="520772"/>
                        <a:pt x="3722770" y="523716"/>
                        <a:pt x="3724828" y="524478"/>
                      </a:cubicBezTo>
                      <a:cubicBezTo>
                        <a:pt x="3731867" y="527097"/>
                        <a:pt x="3739915" y="525849"/>
                        <a:pt x="3746040" y="531098"/>
                      </a:cubicBezTo>
                      <a:cubicBezTo>
                        <a:pt x="3739163" y="531517"/>
                        <a:pt x="3735763" y="528478"/>
                        <a:pt x="3729276" y="527564"/>
                      </a:cubicBezTo>
                      <a:cubicBezTo>
                        <a:pt x="3731467" y="530021"/>
                        <a:pt x="3736362" y="531145"/>
                        <a:pt x="3738001" y="534765"/>
                      </a:cubicBezTo>
                      <a:cubicBezTo>
                        <a:pt x="3729543" y="537479"/>
                        <a:pt x="3725495" y="529783"/>
                        <a:pt x="3719065" y="527135"/>
                      </a:cubicBezTo>
                      <a:cubicBezTo>
                        <a:pt x="3725914" y="534127"/>
                        <a:pt x="3716207" y="532288"/>
                        <a:pt x="3711931" y="531069"/>
                      </a:cubicBezTo>
                      <a:cubicBezTo>
                        <a:pt x="3704930" y="529078"/>
                        <a:pt x="3698300" y="525964"/>
                        <a:pt x="3691328" y="523868"/>
                      </a:cubicBezTo>
                      <a:cubicBezTo>
                        <a:pt x="3677364" y="519668"/>
                        <a:pt x="3663477" y="519896"/>
                        <a:pt x="3649923" y="515581"/>
                      </a:cubicBezTo>
                      <a:cubicBezTo>
                        <a:pt x="3635512" y="510990"/>
                        <a:pt x="3624148" y="500722"/>
                        <a:pt x="3609185" y="497227"/>
                      </a:cubicBezTo>
                      <a:cubicBezTo>
                        <a:pt x="3603289" y="495846"/>
                        <a:pt x="3590154" y="491778"/>
                        <a:pt x="3584258" y="493302"/>
                      </a:cubicBezTo>
                      <a:cubicBezTo>
                        <a:pt x="3581143" y="494102"/>
                        <a:pt x="3580076" y="496160"/>
                        <a:pt x="3576819" y="497084"/>
                      </a:cubicBezTo>
                      <a:cubicBezTo>
                        <a:pt x="3573285" y="498093"/>
                        <a:pt x="3568122" y="497560"/>
                        <a:pt x="3564474" y="497322"/>
                      </a:cubicBezTo>
                      <a:cubicBezTo>
                        <a:pt x="3556102" y="496779"/>
                        <a:pt x="3552368" y="492150"/>
                        <a:pt x="3545224" y="488949"/>
                      </a:cubicBezTo>
                      <a:cubicBezTo>
                        <a:pt x="3537957" y="485701"/>
                        <a:pt x="3530080" y="483892"/>
                        <a:pt x="3522802" y="480091"/>
                      </a:cubicBezTo>
                      <a:cubicBezTo>
                        <a:pt x="3524498" y="480386"/>
                        <a:pt x="3526184" y="480234"/>
                        <a:pt x="3527955" y="480691"/>
                      </a:cubicBezTo>
                      <a:cubicBezTo>
                        <a:pt x="3523012" y="477596"/>
                        <a:pt x="3520088" y="471938"/>
                        <a:pt x="3514782" y="468471"/>
                      </a:cubicBezTo>
                      <a:cubicBezTo>
                        <a:pt x="3515725" y="472176"/>
                        <a:pt x="3519221" y="473786"/>
                        <a:pt x="3515554" y="475252"/>
                      </a:cubicBezTo>
                      <a:cubicBezTo>
                        <a:pt x="3511839" y="476748"/>
                        <a:pt x="3505486" y="470614"/>
                        <a:pt x="3502390" y="469299"/>
                      </a:cubicBezTo>
                      <a:cubicBezTo>
                        <a:pt x="3502305" y="470166"/>
                        <a:pt x="3503724" y="470785"/>
                        <a:pt x="3504191" y="471271"/>
                      </a:cubicBezTo>
                      <a:cubicBezTo>
                        <a:pt x="3503009" y="471490"/>
                        <a:pt x="3502790" y="471271"/>
                        <a:pt x="3502085" y="472062"/>
                      </a:cubicBezTo>
                      <a:cubicBezTo>
                        <a:pt x="3504238" y="473166"/>
                        <a:pt x="3506277" y="474481"/>
                        <a:pt x="3508172" y="475995"/>
                      </a:cubicBezTo>
                      <a:cubicBezTo>
                        <a:pt x="3505324" y="477586"/>
                        <a:pt x="3502009" y="477186"/>
                        <a:pt x="3499295" y="475319"/>
                      </a:cubicBezTo>
                      <a:cubicBezTo>
                        <a:pt x="3507667" y="484558"/>
                        <a:pt x="3517544" y="486987"/>
                        <a:pt x="3528594" y="491359"/>
                      </a:cubicBezTo>
                      <a:cubicBezTo>
                        <a:pt x="3534309" y="493617"/>
                        <a:pt x="3536299" y="496017"/>
                        <a:pt x="3540014" y="500456"/>
                      </a:cubicBezTo>
                      <a:cubicBezTo>
                        <a:pt x="3541938" y="502637"/>
                        <a:pt x="3549301" y="510352"/>
                        <a:pt x="3541862" y="510438"/>
                      </a:cubicBezTo>
                      <a:lnTo>
                        <a:pt x="3541862" y="510438"/>
                      </a:lnTo>
                      <a:close/>
                      <a:moveTo>
                        <a:pt x="3270066" y="323767"/>
                      </a:moveTo>
                      <a:cubicBezTo>
                        <a:pt x="3263018" y="331463"/>
                        <a:pt x="3235233" y="329301"/>
                        <a:pt x="3236538" y="315490"/>
                      </a:cubicBezTo>
                      <a:cubicBezTo>
                        <a:pt x="3237738" y="302879"/>
                        <a:pt x="3260732" y="304564"/>
                        <a:pt x="3270018" y="305603"/>
                      </a:cubicBezTo>
                      <a:cubicBezTo>
                        <a:pt x="3275857" y="306260"/>
                        <a:pt x="3313719" y="311699"/>
                        <a:pt x="3314567" y="318300"/>
                      </a:cubicBezTo>
                      <a:cubicBezTo>
                        <a:pt x="3315738" y="327529"/>
                        <a:pt x="3275695" y="324129"/>
                        <a:pt x="3270066" y="323767"/>
                      </a:cubicBezTo>
                      <a:lnTo>
                        <a:pt x="3270066" y="323767"/>
                      </a:lnTo>
                      <a:close/>
                    </a:path>
                  </a:pathLst>
                </a:custGeom>
                <a:solidFill>
                  <a:srgbClr val="D6D6D2"/>
                </a:solidFill>
                <a:ln w="7144" cap="flat">
                  <a:solidFill>
                    <a:srgbClr val="FFFFFF"/>
                  </a:solidFill>
                  <a:prstDash val="solid"/>
                  <a:miter/>
                </a:ln>
              </p:spPr>
              <p:txBody>
                <a:bodyPr rtlCol="0" anchor="ctr"/>
                <a:lstStyle/>
                <a:p>
                  <a:endParaRPr lang="en-US"/>
                </a:p>
              </p:txBody>
            </p:sp>
          </p:grpSp>
          <p:grpSp>
            <p:nvGrpSpPr>
              <p:cNvPr id="453" name="Graphic 6">
                <a:extLst>
                  <a:ext uri="{FF2B5EF4-FFF2-40B4-BE49-F238E27FC236}">
                    <a16:creationId xmlns:a16="http://schemas.microsoft.com/office/drawing/2014/main" id="{5206A4AE-1A47-40D7-A1A4-231D25245898}"/>
                  </a:ext>
                </a:extLst>
              </p:cNvPr>
              <p:cNvGrpSpPr/>
              <p:nvPr/>
            </p:nvGrpSpPr>
            <p:grpSpPr>
              <a:xfrm>
                <a:off x="1539582" y="1746091"/>
                <a:ext cx="8637002" cy="3992286"/>
                <a:chOff x="1539582" y="1746091"/>
                <a:chExt cx="8637002" cy="3992286"/>
              </a:xfrm>
              <a:solidFill>
                <a:srgbClr val="D6D6D2"/>
              </a:solidFill>
            </p:grpSpPr>
            <p:sp>
              <p:nvSpPr>
                <p:cNvPr id="469" name="Freeform: Shape 468">
                  <a:extLst>
                    <a:ext uri="{FF2B5EF4-FFF2-40B4-BE49-F238E27FC236}">
                      <a16:creationId xmlns:a16="http://schemas.microsoft.com/office/drawing/2014/main" id="{8534480D-CF66-4D33-AAC0-C87CC215ED30}"/>
                    </a:ext>
                  </a:extLst>
                </p:cNvPr>
                <p:cNvSpPr/>
                <p:nvPr/>
              </p:nvSpPr>
              <p:spPr>
                <a:xfrm>
                  <a:off x="2606887" y="1884816"/>
                  <a:ext cx="914247" cy="590724"/>
                </a:xfrm>
                <a:custGeom>
                  <a:avLst/>
                  <a:gdLst>
                    <a:gd name="connsiteX0" fmla="*/ 914248 w 914247"/>
                    <a:gd name="connsiteY0" fmla="*/ 1446 h 590724"/>
                    <a:gd name="connsiteX1" fmla="*/ 897207 w 914247"/>
                    <a:gd name="connsiteY1" fmla="*/ 13695 h 590724"/>
                    <a:gd name="connsiteX2" fmla="*/ 882644 w 914247"/>
                    <a:gd name="connsiteY2" fmla="*/ 11056 h 590724"/>
                    <a:gd name="connsiteX3" fmla="*/ 874386 w 914247"/>
                    <a:gd name="connsiteY3" fmla="*/ 14219 h 590724"/>
                    <a:gd name="connsiteX4" fmla="*/ 865032 w 914247"/>
                    <a:gd name="connsiteY4" fmla="*/ 11876 h 590724"/>
                    <a:gd name="connsiteX5" fmla="*/ 842248 w 914247"/>
                    <a:gd name="connsiteY5" fmla="*/ 14152 h 590724"/>
                    <a:gd name="connsiteX6" fmla="*/ 878015 w 914247"/>
                    <a:gd name="connsiteY6" fmla="*/ 5037 h 590724"/>
                    <a:gd name="connsiteX7" fmla="*/ 914248 w 914247"/>
                    <a:gd name="connsiteY7" fmla="*/ 1446 h 590724"/>
                    <a:gd name="connsiteX8" fmla="*/ 914248 w 914247"/>
                    <a:gd name="connsiteY8" fmla="*/ 1446 h 590724"/>
                    <a:gd name="connsiteX9" fmla="*/ 896579 w 914247"/>
                    <a:gd name="connsiteY9" fmla="*/ 20248 h 590724"/>
                    <a:gd name="connsiteX10" fmla="*/ 875509 w 914247"/>
                    <a:gd name="connsiteY10" fmla="*/ 27573 h 590724"/>
                    <a:gd name="connsiteX11" fmla="*/ 883958 w 914247"/>
                    <a:gd name="connsiteY11" fmla="*/ 30297 h 590724"/>
                    <a:gd name="connsiteX12" fmla="*/ 850944 w 914247"/>
                    <a:gd name="connsiteY12" fmla="*/ 41508 h 590724"/>
                    <a:gd name="connsiteX13" fmla="*/ 821169 w 914247"/>
                    <a:gd name="connsiteY13" fmla="*/ 35679 h 590724"/>
                    <a:gd name="connsiteX14" fmla="*/ 826513 w 914247"/>
                    <a:gd name="connsiteY14" fmla="*/ 28249 h 590724"/>
                    <a:gd name="connsiteX15" fmla="*/ 844525 w 914247"/>
                    <a:gd name="connsiteY15" fmla="*/ 23896 h 590724"/>
                    <a:gd name="connsiteX16" fmla="*/ 896579 w 914247"/>
                    <a:gd name="connsiteY16" fmla="*/ 20248 h 590724"/>
                    <a:gd name="connsiteX17" fmla="*/ 896579 w 914247"/>
                    <a:gd name="connsiteY17" fmla="*/ 20248 h 590724"/>
                    <a:gd name="connsiteX18" fmla="*/ 768620 w 914247"/>
                    <a:gd name="connsiteY18" fmla="*/ 43127 h 590724"/>
                    <a:gd name="connsiteX19" fmla="*/ 753789 w 914247"/>
                    <a:gd name="connsiteY19" fmla="*/ 48252 h 590724"/>
                    <a:gd name="connsiteX20" fmla="*/ 746646 w 914247"/>
                    <a:gd name="connsiteY20" fmla="*/ 50271 h 590724"/>
                    <a:gd name="connsiteX21" fmla="*/ 750532 w 914247"/>
                    <a:gd name="connsiteY21" fmla="*/ 55795 h 590724"/>
                    <a:gd name="connsiteX22" fmla="*/ 743312 w 914247"/>
                    <a:gd name="connsiteY22" fmla="*/ 57215 h 590724"/>
                    <a:gd name="connsiteX23" fmla="*/ 741007 w 914247"/>
                    <a:gd name="connsiteY23" fmla="*/ 59967 h 590724"/>
                    <a:gd name="connsiteX24" fmla="*/ 739664 w 914247"/>
                    <a:gd name="connsiteY24" fmla="*/ 64263 h 590724"/>
                    <a:gd name="connsiteX25" fmla="*/ 731444 w 914247"/>
                    <a:gd name="connsiteY25" fmla="*/ 67006 h 590724"/>
                    <a:gd name="connsiteX26" fmla="*/ 713137 w 914247"/>
                    <a:gd name="connsiteY26" fmla="*/ 70654 h 590724"/>
                    <a:gd name="connsiteX27" fmla="*/ 701154 w 914247"/>
                    <a:gd name="connsiteY27" fmla="*/ 77350 h 590724"/>
                    <a:gd name="connsiteX28" fmla="*/ 693191 w 914247"/>
                    <a:gd name="connsiteY28" fmla="*/ 71245 h 590724"/>
                    <a:gd name="connsiteX29" fmla="*/ 707469 w 914247"/>
                    <a:gd name="connsiteY29" fmla="*/ 60739 h 590724"/>
                    <a:gd name="connsiteX30" fmla="*/ 689486 w 914247"/>
                    <a:gd name="connsiteY30" fmla="*/ 66940 h 590724"/>
                    <a:gd name="connsiteX31" fmla="*/ 680952 w 914247"/>
                    <a:gd name="connsiteY31" fmla="*/ 69511 h 590724"/>
                    <a:gd name="connsiteX32" fmla="*/ 679228 w 914247"/>
                    <a:gd name="connsiteY32" fmla="*/ 72912 h 590724"/>
                    <a:gd name="connsiteX33" fmla="*/ 659644 w 914247"/>
                    <a:gd name="connsiteY33" fmla="*/ 75350 h 590724"/>
                    <a:gd name="connsiteX34" fmla="*/ 648043 w 914247"/>
                    <a:gd name="connsiteY34" fmla="*/ 82923 h 590724"/>
                    <a:gd name="connsiteX35" fmla="*/ 625878 w 914247"/>
                    <a:gd name="connsiteY35" fmla="*/ 91562 h 590724"/>
                    <a:gd name="connsiteX36" fmla="*/ 627955 w 914247"/>
                    <a:gd name="connsiteY36" fmla="*/ 80608 h 590724"/>
                    <a:gd name="connsiteX37" fmla="*/ 618896 w 914247"/>
                    <a:gd name="connsiteY37" fmla="*/ 85723 h 590724"/>
                    <a:gd name="connsiteX38" fmla="*/ 608962 w 914247"/>
                    <a:gd name="connsiteY38" fmla="*/ 86037 h 590724"/>
                    <a:gd name="connsiteX39" fmla="*/ 598780 w 914247"/>
                    <a:gd name="connsiteY39" fmla="*/ 85771 h 590724"/>
                    <a:gd name="connsiteX40" fmla="*/ 588331 w 914247"/>
                    <a:gd name="connsiteY40" fmla="*/ 87609 h 590724"/>
                    <a:gd name="connsiteX41" fmla="*/ 594065 w 914247"/>
                    <a:gd name="connsiteY41" fmla="*/ 80960 h 590724"/>
                    <a:gd name="connsiteX42" fmla="*/ 587121 w 914247"/>
                    <a:gd name="connsiteY42" fmla="*/ 81818 h 590724"/>
                    <a:gd name="connsiteX43" fmla="*/ 625602 w 914247"/>
                    <a:gd name="connsiteY43" fmla="*/ 70950 h 590724"/>
                    <a:gd name="connsiteX44" fmla="*/ 665988 w 914247"/>
                    <a:gd name="connsiteY44" fmla="*/ 56538 h 590724"/>
                    <a:gd name="connsiteX45" fmla="*/ 708631 w 914247"/>
                    <a:gd name="connsiteY45" fmla="*/ 43756 h 590724"/>
                    <a:gd name="connsiteX46" fmla="*/ 732625 w 914247"/>
                    <a:gd name="connsiteY46" fmla="*/ 44632 h 590724"/>
                    <a:gd name="connsiteX47" fmla="*/ 747036 w 914247"/>
                    <a:gd name="connsiteY47" fmla="*/ 42603 h 590724"/>
                    <a:gd name="connsiteX48" fmla="*/ 742407 w 914247"/>
                    <a:gd name="connsiteY48" fmla="*/ 40965 h 590724"/>
                    <a:gd name="connsiteX49" fmla="*/ 768620 w 914247"/>
                    <a:gd name="connsiteY49" fmla="*/ 43127 h 590724"/>
                    <a:gd name="connsiteX50" fmla="*/ 768620 w 914247"/>
                    <a:gd name="connsiteY50" fmla="*/ 43127 h 590724"/>
                    <a:gd name="connsiteX51" fmla="*/ 765296 w 914247"/>
                    <a:gd name="connsiteY51" fmla="*/ 78865 h 590724"/>
                    <a:gd name="connsiteX52" fmla="*/ 781669 w 914247"/>
                    <a:gd name="connsiteY52" fmla="*/ 78065 h 590724"/>
                    <a:gd name="connsiteX53" fmla="*/ 796776 w 914247"/>
                    <a:gd name="connsiteY53" fmla="*/ 87990 h 590724"/>
                    <a:gd name="connsiteX54" fmla="*/ 789889 w 914247"/>
                    <a:gd name="connsiteY54" fmla="*/ 91295 h 590724"/>
                    <a:gd name="connsiteX55" fmla="*/ 799700 w 914247"/>
                    <a:gd name="connsiteY55" fmla="*/ 92800 h 590724"/>
                    <a:gd name="connsiteX56" fmla="*/ 799967 w 914247"/>
                    <a:gd name="connsiteY56" fmla="*/ 99782 h 590724"/>
                    <a:gd name="connsiteX57" fmla="*/ 821512 w 914247"/>
                    <a:gd name="connsiteY57" fmla="*/ 100591 h 590724"/>
                    <a:gd name="connsiteX58" fmla="*/ 805015 w 914247"/>
                    <a:gd name="connsiteY58" fmla="*/ 118394 h 590724"/>
                    <a:gd name="connsiteX59" fmla="*/ 789032 w 914247"/>
                    <a:gd name="connsiteY59" fmla="*/ 124366 h 590724"/>
                    <a:gd name="connsiteX60" fmla="*/ 747589 w 914247"/>
                    <a:gd name="connsiteY60" fmla="*/ 134615 h 590724"/>
                    <a:gd name="connsiteX61" fmla="*/ 709127 w 914247"/>
                    <a:gd name="connsiteY61" fmla="*/ 129024 h 590724"/>
                    <a:gd name="connsiteX62" fmla="*/ 748817 w 914247"/>
                    <a:gd name="connsiteY62" fmla="*/ 118356 h 590724"/>
                    <a:gd name="connsiteX63" fmla="*/ 791994 w 914247"/>
                    <a:gd name="connsiteY63" fmla="*/ 110431 h 590724"/>
                    <a:gd name="connsiteX64" fmla="*/ 771011 w 914247"/>
                    <a:gd name="connsiteY64" fmla="*/ 112993 h 590724"/>
                    <a:gd name="connsiteX65" fmla="*/ 760647 w 914247"/>
                    <a:gd name="connsiteY65" fmla="*/ 110907 h 590724"/>
                    <a:gd name="connsiteX66" fmla="*/ 753208 w 914247"/>
                    <a:gd name="connsiteY66" fmla="*/ 113641 h 590724"/>
                    <a:gd name="connsiteX67" fmla="*/ 732968 w 914247"/>
                    <a:gd name="connsiteY67" fmla="*/ 114041 h 590724"/>
                    <a:gd name="connsiteX68" fmla="*/ 749618 w 914247"/>
                    <a:gd name="connsiteY68" fmla="*/ 104468 h 590724"/>
                    <a:gd name="connsiteX69" fmla="*/ 740054 w 914247"/>
                    <a:gd name="connsiteY69" fmla="*/ 105573 h 590724"/>
                    <a:gd name="connsiteX70" fmla="*/ 737235 w 914247"/>
                    <a:gd name="connsiteY70" fmla="*/ 105001 h 590724"/>
                    <a:gd name="connsiteX71" fmla="*/ 729424 w 914247"/>
                    <a:gd name="connsiteY71" fmla="*/ 109840 h 590724"/>
                    <a:gd name="connsiteX72" fmla="*/ 724691 w 914247"/>
                    <a:gd name="connsiteY72" fmla="*/ 108945 h 590724"/>
                    <a:gd name="connsiteX73" fmla="*/ 721976 w 914247"/>
                    <a:gd name="connsiteY73" fmla="*/ 113955 h 590724"/>
                    <a:gd name="connsiteX74" fmla="*/ 710813 w 914247"/>
                    <a:gd name="connsiteY74" fmla="*/ 117241 h 590724"/>
                    <a:gd name="connsiteX75" fmla="*/ 703345 w 914247"/>
                    <a:gd name="connsiteY75" fmla="*/ 113993 h 590724"/>
                    <a:gd name="connsiteX76" fmla="*/ 691534 w 914247"/>
                    <a:gd name="connsiteY76" fmla="*/ 118556 h 590724"/>
                    <a:gd name="connsiteX77" fmla="*/ 683381 w 914247"/>
                    <a:gd name="connsiteY77" fmla="*/ 113250 h 590724"/>
                    <a:gd name="connsiteX78" fmla="*/ 673351 w 914247"/>
                    <a:gd name="connsiteY78" fmla="*/ 112726 h 590724"/>
                    <a:gd name="connsiteX79" fmla="*/ 681523 w 914247"/>
                    <a:gd name="connsiteY79" fmla="*/ 102554 h 590724"/>
                    <a:gd name="connsiteX80" fmla="*/ 725872 w 914247"/>
                    <a:gd name="connsiteY80" fmla="*/ 95343 h 590724"/>
                    <a:gd name="connsiteX81" fmla="*/ 683514 w 914247"/>
                    <a:gd name="connsiteY81" fmla="*/ 98134 h 590724"/>
                    <a:gd name="connsiteX82" fmla="*/ 734273 w 914247"/>
                    <a:gd name="connsiteY82" fmla="*/ 89342 h 590724"/>
                    <a:gd name="connsiteX83" fmla="*/ 702726 w 914247"/>
                    <a:gd name="connsiteY83" fmla="*/ 88304 h 590724"/>
                    <a:gd name="connsiteX84" fmla="*/ 719147 w 914247"/>
                    <a:gd name="connsiteY84" fmla="*/ 80084 h 590724"/>
                    <a:gd name="connsiteX85" fmla="*/ 746903 w 914247"/>
                    <a:gd name="connsiteY85" fmla="*/ 80646 h 590724"/>
                    <a:gd name="connsiteX86" fmla="*/ 729501 w 914247"/>
                    <a:gd name="connsiteY86" fmla="*/ 78122 h 590724"/>
                    <a:gd name="connsiteX87" fmla="*/ 754971 w 914247"/>
                    <a:gd name="connsiteY87" fmla="*/ 70283 h 590724"/>
                    <a:gd name="connsiteX88" fmla="*/ 766848 w 914247"/>
                    <a:gd name="connsiteY88" fmla="*/ 72093 h 590724"/>
                    <a:gd name="connsiteX89" fmla="*/ 765296 w 914247"/>
                    <a:gd name="connsiteY89" fmla="*/ 78865 h 590724"/>
                    <a:gd name="connsiteX90" fmla="*/ 765296 w 914247"/>
                    <a:gd name="connsiteY90" fmla="*/ 78865 h 590724"/>
                    <a:gd name="connsiteX91" fmla="*/ 584606 w 914247"/>
                    <a:gd name="connsiteY91" fmla="*/ 145530 h 590724"/>
                    <a:gd name="connsiteX92" fmla="*/ 593960 w 914247"/>
                    <a:gd name="connsiteY92" fmla="*/ 148578 h 590724"/>
                    <a:gd name="connsiteX93" fmla="*/ 627297 w 914247"/>
                    <a:gd name="connsiteY93" fmla="*/ 140911 h 590724"/>
                    <a:gd name="connsiteX94" fmla="*/ 643242 w 914247"/>
                    <a:gd name="connsiteY94" fmla="*/ 149274 h 590724"/>
                    <a:gd name="connsiteX95" fmla="*/ 654396 w 914247"/>
                    <a:gd name="connsiteY95" fmla="*/ 162171 h 590724"/>
                    <a:gd name="connsiteX96" fmla="*/ 623906 w 914247"/>
                    <a:gd name="connsiteY96" fmla="*/ 172496 h 590724"/>
                    <a:gd name="connsiteX97" fmla="*/ 582158 w 914247"/>
                    <a:gd name="connsiteY97" fmla="*/ 183640 h 590724"/>
                    <a:gd name="connsiteX98" fmla="*/ 542877 w 914247"/>
                    <a:gd name="connsiteY98" fmla="*/ 196794 h 590724"/>
                    <a:gd name="connsiteX99" fmla="*/ 524628 w 914247"/>
                    <a:gd name="connsiteY99" fmla="*/ 204414 h 590724"/>
                    <a:gd name="connsiteX100" fmla="*/ 506501 w 914247"/>
                    <a:gd name="connsiteY100" fmla="*/ 212082 h 590724"/>
                    <a:gd name="connsiteX101" fmla="*/ 473364 w 914247"/>
                    <a:gd name="connsiteY101" fmla="*/ 229950 h 590724"/>
                    <a:gd name="connsiteX102" fmla="*/ 463791 w 914247"/>
                    <a:gd name="connsiteY102" fmla="*/ 231198 h 590724"/>
                    <a:gd name="connsiteX103" fmla="*/ 460543 w 914247"/>
                    <a:gd name="connsiteY103" fmla="*/ 229379 h 590724"/>
                    <a:gd name="connsiteX104" fmla="*/ 443541 w 914247"/>
                    <a:gd name="connsiteY104" fmla="*/ 235465 h 590724"/>
                    <a:gd name="connsiteX105" fmla="*/ 423501 w 914247"/>
                    <a:gd name="connsiteY105" fmla="*/ 240714 h 590724"/>
                    <a:gd name="connsiteX106" fmla="*/ 420367 w 914247"/>
                    <a:gd name="connsiteY106" fmla="*/ 228064 h 590724"/>
                    <a:gd name="connsiteX107" fmla="*/ 408365 w 914247"/>
                    <a:gd name="connsiteY107" fmla="*/ 216777 h 590724"/>
                    <a:gd name="connsiteX108" fmla="*/ 391344 w 914247"/>
                    <a:gd name="connsiteY108" fmla="*/ 213139 h 590724"/>
                    <a:gd name="connsiteX109" fmla="*/ 421529 w 914247"/>
                    <a:gd name="connsiteY109" fmla="*/ 196337 h 590724"/>
                    <a:gd name="connsiteX110" fmla="*/ 436207 w 914247"/>
                    <a:gd name="connsiteY110" fmla="*/ 186431 h 590724"/>
                    <a:gd name="connsiteX111" fmla="*/ 450894 w 914247"/>
                    <a:gd name="connsiteY111" fmla="*/ 180382 h 590724"/>
                    <a:gd name="connsiteX112" fmla="*/ 459115 w 914247"/>
                    <a:gd name="connsiteY112" fmla="*/ 172572 h 590724"/>
                    <a:gd name="connsiteX113" fmla="*/ 482260 w 914247"/>
                    <a:gd name="connsiteY113" fmla="*/ 160828 h 590724"/>
                    <a:gd name="connsiteX114" fmla="*/ 492404 w 914247"/>
                    <a:gd name="connsiteY114" fmla="*/ 155817 h 590724"/>
                    <a:gd name="connsiteX115" fmla="*/ 488432 w 914247"/>
                    <a:gd name="connsiteY115" fmla="*/ 151341 h 590724"/>
                    <a:gd name="connsiteX116" fmla="*/ 493157 w 914247"/>
                    <a:gd name="connsiteY116" fmla="*/ 138053 h 590724"/>
                    <a:gd name="connsiteX117" fmla="*/ 520294 w 914247"/>
                    <a:gd name="connsiteY117" fmla="*/ 135320 h 590724"/>
                    <a:gd name="connsiteX118" fmla="*/ 543268 w 914247"/>
                    <a:gd name="connsiteY118" fmla="*/ 133824 h 590724"/>
                    <a:gd name="connsiteX119" fmla="*/ 568785 w 914247"/>
                    <a:gd name="connsiteY119" fmla="*/ 133643 h 590724"/>
                    <a:gd name="connsiteX120" fmla="*/ 591874 w 914247"/>
                    <a:gd name="connsiteY120" fmla="*/ 141730 h 590724"/>
                    <a:gd name="connsiteX121" fmla="*/ 584606 w 914247"/>
                    <a:gd name="connsiteY121" fmla="*/ 145530 h 590724"/>
                    <a:gd name="connsiteX122" fmla="*/ 584606 w 914247"/>
                    <a:gd name="connsiteY122" fmla="*/ 145530 h 590724"/>
                    <a:gd name="connsiteX123" fmla="*/ 643395 w 914247"/>
                    <a:gd name="connsiteY123" fmla="*/ 193393 h 590724"/>
                    <a:gd name="connsiteX124" fmla="*/ 664473 w 914247"/>
                    <a:gd name="connsiteY124" fmla="*/ 191517 h 590724"/>
                    <a:gd name="connsiteX125" fmla="*/ 685467 w 914247"/>
                    <a:gd name="connsiteY125" fmla="*/ 180744 h 590724"/>
                    <a:gd name="connsiteX126" fmla="*/ 712908 w 914247"/>
                    <a:gd name="connsiteY126" fmla="*/ 189183 h 590724"/>
                    <a:gd name="connsiteX127" fmla="*/ 690182 w 914247"/>
                    <a:gd name="connsiteY127" fmla="*/ 200861 h 590724"/>
                    <a:gd name="connsiteX128" fmla="*/ 706126 w 914247"/>
                    <a:gd name="connsiteY128" fmla="*/ 197623 h 590724"/>
                    <a:gd name="connsiteX129" fmla="*/ 703288 w 914247"/>
                    <a:gd name="connsiteY129" fmla="*/ 200613 h 590724"/>
                    <a:gd name="connsiteX130" fmla="*/ 716699 w 914247"/>
                    <a:gd name="connsiteY130" fmla="*/ 195994 h 590724"/>
                    <a:gd name="connsiteX131" fmla="*/ 732815 w 914247"/>
                    <a:gd name="connsiteY131" fmla="*/ 191393 h 590724"/>
                    <a:gd name="connsiteX132" fmla="*/ 732025 w 914247"/>
                    <a:gd name="connsiteY132" fmla="*/ 182325 h 590724"/>
                    <a:gd name="connsiteX133" fmla="*/ 747103 w 914247"/>
                    <a:gd name="connsiteY133" fmla="*/ 181154 h 590724"/>
                    <a:gd name="connsiteX134" fmla="*/ 678656 w 914247"/>
                    <a:gd name="connsiteY134" fmla="*/ 256259 h 590724"/>
                    <a:gd name="connsiteX135" fmla="*/ 661959 w 914247"/>
                    <a:gd name="connsiteY135" fmla="*/ 274756 h 590724"/>
                    <a:gd name="connsiteX136" fmla="*/ 639718 w 914247"/>
                    <a:gd name="connsiteY136" fmla="*/ 275051 h 590724"/>
                    <a:gd name="connsiteX137" fmla="*/ 615439 w 914247"/>
                    <a:gd name="connsiteY137" fmla="*/ 275061 h 590724"/>
                    <a:gd name="connsiteX138" fmla="*/ 596017 w 914247"/>
                    <a:gd name="connsiteY138" fmla="*/ 280328 h 590724"/>
                    <a:gd name="connsiteX139" fmla="*/ 600789 w 914247"/>
                    <a:gd name="connsiteY139" fmla="*/ 275032 h 590724"/>
                    <a:gd name="connsiteX140" fmla="*/ 550173 w 914247"/>
                    <a:gd name="connsiteY140" fmla="*/ 275023 h 590724"/>
                    <a:gd name="connsiteX141" fmla="*/ 524561 w 914247"/>
                    <a:gd name="connsiteY141" fmla="*/ 275013 h 590724"/>
                    <a:gd name="connsiteX142" fmla="*/ 512912 w 914247"/>
                    <a:gd name="connsiteY142" fmla="*/ 274985 h 590724"/>
                    <a:gd name="connsiteX143" fmla="*/ 510559 w 914247"/>
                    <a:gd name="connsiteY143" fmla="*/ 283662 h 590724"/>
                    <a:gd name="connsiteX144" fmla="*/ 509245 w 914247"/>
                    <a:gd name="connsiteY144" fmla="*/ 275775 h 590724"/>
                    <a:gd name="connsiteX145" fmla="*/ 528714 w 914247"/>
                    <a:gd name="connsiteY145" fmla="*/ 269536 h 590724"/>
                    <a:gd name="connsiteX146" fmla="*/ 583168 w 914247"/>
                    <a:gd name="connsiteY146" fmla="*/ 265488 h 590724"/>
                    <a:gd name="connsiteX147" fmla="*/ 611762 w 914247"/>
                    <a:gd name="connsiteY147" fmla="*/ 267908 h 590724"/>
                    <a:gd name="connsiteX148" fmla="*/ 636041 w 914247"/>
                    <a:gd name="connsiteY148" fmla="*/ 265345 h 590724"/>
                    <a:gd name="connsiteX149" fmla="*/ 613220 w 914247"/>
                    <a:gd name="connsiteY149" fmla="*/ 255658 h 590724"/>
                    <a:gd name="connsiteX150" fmla="*/ 590093 w 914247"/>
                    <a:gd name="connsiteY150" fmla="*/ 253811 h 590724"/>
                    <a:gd name="connsiteX151" fmla="*/ 542906 w 914247"/>
                    <a:gd name="connsiteY151" fmla="*/ 255592 h 590724"/>
                    <a:gd name="connsiteX152" fmla="*/ 517322 w 914247"/>
                    <a:gd name="connsiteY152" fmla="*/ 251191 h 590724"/>
                    <a:gd name="connsiteX153" fmla="*/ 530209 w 914247"/>
                    <a:gd name="connsiteY153" fmla="*/ 238961 h 590724"/>
                    <a:gd name="connsiteX154" fmla="*/ 556260 w 914247"/>
                    <a:gd name="connsiteY154" fmla="*/ 234856 h 590724"/>
                    <a:gd name="connsiteX155" fmla="*/ 578596 w 914247"/>
                    <a:gd name="connsiteY155" fmla="*/ 230941 h 590724"/>
                    <a:gd name="connsiteX156" fmla="*/ 576701 w 914247"/>
                    <a:gd name="connsiteY156" fmla="*/ 230246 h 590724"/>
                    <a:gd name="connsiteX157" fmla="*/ 594236 w 914247"/>
                    <a:gd name="connsiteY157" fmla="*/ 228017 h 590724"/>
                    <a:gd name="connsiteX158" fmla="*/ 562080 w 914247"/>
                    <a:gd name="connsiteY158" fmla="*/ 229589 h 590724"/>
                    <a:gd name="connsiteX159" fmla="*/ 532314 w 914247"/>
                    <a:gd name="connsiteY159" fmla="*/ 229427 h 590724"/>
                    <a:gd name="connsiteX160" fmla="*/ 548716 w 914247"/>
                    <a:gd name="connsiteY160" fmla="*/ 222807 h 590724"/>
                    <a:gd name="connsiteX161" fmla="*/ 526294 w 914247"/>
                    <a:gd name="connsiteY161" fmla="*/ 221940 h 590724"/>
                    <a:gd name="connsiteX162" fmla="*/ 538048 w 914247"/>
                    <a:gd name="connsiteY162" fmla="*/ 210710 h 590724"/>
                    <a:gd name="connsiteX163" fmla="*/ 558460 w 914247"/>
                    <a:gd name="connsiteY163" fmla="*/ 202280 h 590724"/>
                    <a:gd name="connsiteX164" fmla="*/ 558155 w 914247"/>
                    <a:gd name="connsiteY164" fmla="*/ 197889 h 590724"/>
                    <a:gd name="connsiteX165" fmla="*/ 568909 w 914247"/>
                    <a:gd name="connsiteY165" fmla="*/ 192841 h 590724"/>
                    <a:gd name="connsiteX166" fmla="*/ 615239 w 914247"/>
                    <a:gd name="connsiteY166" fmla="*/ 178925 h 590724"/>
                    <a:gd name="connsiteX167" fmla="*/ 640775 w 914247"/>
                    <a:gd name="connsiteY167" fmla="*/ 173915 h 590724"/>
                    <a:gd name="connsiteX168" fmla="*/ 664483 w 914247"/>
                    <a:gd name="connsiteY168" fmla="*/ 168848 h 590724"/>
                    <a:gd name="connsiteX169" fmla="*/ 664826 w 914247"/>
                    <a:gd name="connsiteY169" fmla="*/ 180992 h 590724"/>
                    <a:gd name="connsiteX170" fmla="*/ 643395 w 914247"/>
                    <a:gd name="connsiteY170" fmla="*/ 193393 h 590724"/>
                    <a:gd name="connsiteX171" fmla="*/ 643395 w 914247"/>
                    <a:gd name="connsiteY171" fmla="*/ 193393 h 590724"/>
                    <a:gd name="connsiteX172" fmla="*/ 301704 w 914247"/>
                    <a:gd name="connsiteY172" fmla="*/ 283567 h 590724"/>
                    <a:gd name="connsiteX173" fmla="*/ 312515 w 914247"/>
                    <a:gd name="connsiteY173" fmla="*/ 295502 h 590724"/>
                    <a:gd name="connsiteX174" fmla="*/ 321754 w 914247"/>
                    <a:gd name="connsiteY174" fmla="*/ 293349 h 590724"/>
                    <a:gd name="connsiteX175" fmla="*/ 324964 w 914247"/>
                    <a:gd name="connsiteY175" fmla="*/ 287320 h 590724"/>
                    <a:gd name="connsiteX176" fmla="*/ 349167 w 914247"/>
                    <a:gd name="connsiteY176" fmla="*/ 275385 h 590724"/>
                    <a:gd name="connsiteX177" fmla="*/ 345653 w 914247"/>
                    <a:gd name="connsiteY177" fmla="*/ 274232 h 590724"/>
                    <a:gd name="connsiteX178" fmla="*/ 359512 w 914247"/>
                    <a:gd name="connsiteY178" fmla="*/ 271975 h 590724"/>
                    <a:gd name="connsiteX179" fmla="*/ 353158 w 914247"/>
                    <a:gd name="connsiteY179" fmla="*/ 284843 h 590724"/>
                    <a:gd name="connsiteX180" fmla="*/ 336766 w 914247"/>
                    <a:gd name="connsiteY180" fmla="*/ 294597 h 590724"/>
                    <a:gd name="connsiteX181" fmla="*/ 357483 w 914247"/>
                    <a:gd name="connsiteY181" fmla="*/ 293816 h 590724"/>
                    <a:gd name="connsiteX182" fmla="*/ 377190 w 914247"/>
                    <a:gd name="connsiteY182" fmla="*/ 282643 h 590724"/>
                    <a:gd name="connsiteX183" fmla="*/ 399621 w 914247"/>
                    <a:gd name="connsiteY183" fmla="*/ 280909 h 590724"/>
                    <a:gd name="connsiteX184" fmla="*/ 421072 w 914247"/>
                    <a:gd name="connsiteY184" fmla="*/ 287139 h 590724"/>
                    <a:gd name="connsiteX185" fmla="*/ 407451 w 914247"/>
                    <a:gd name="connsiteY185" fmla="*/ 303903 h 590724"/>
                    <a:gd name="connsiteX186" fmla="*/ 374085 w 914247"/>
                    <a:gd name="connsiteY186" fmla="*/ 337983 h 590724"/>
                    <a:gd name="connsiteX187" fmla="*/ 474793 w 914247"/>
                    <a:gd name="connsiteY187" fmla="*/ 413078 h 590724"/>
                    <a:gd name="connsiteX188" fmla="*/ 510569 w 914247"/>
                    <a:gd name="connsiteY188" fmla="*/ 416879 h 590724"/>
                    <a:gd name="connsiteX189" fmla="*/ 524789 w 914247"/>
                    <a:gd name="connsiteY189" fmla="*/ 425041 h 590724"/>
                    <a:gd name="connsiteX190" fmla="*/ 537877 w 914247"/>
                    <a:gd name="connsiteY190" fmla="*/ 439281 h 590724"/>
                    <a:gd name="connsiteX191" fmla="*/ 604609 w 914247"/>
                    <a:gd name="connsiteY191" fmla="*/ 447540 h 590724"/>
                    <a:gd name="connsiteX192" fmla="*/ 681723 w 914247"/>
                    <a:gd name="connsiteY192" fmla="*/ 456884 h 590724"/>
                    <a:gd name="connsiteX193" fmla="*/ 599913 w 914247"/>
                    <a:gd name="connsiteY193" fmla="*/ 560344 h 590724"/>
                    <a:gd name="connsiteX194" fmla="*/ 579872 w 914247"/>
                    <a:gd name="connsiteY194" fmla="*/ 586309 h 590724"/>
                    <a:gd name="connsiteX195" fmla="*/ 565185 w 914247"/>
                    <a:gd name="connsiteY195" fmla="*/ 590015 h 590724"/>
                    <a:gd name="connsiteX196" fmla="*/ 546116 w 914247"/>
                    <a:gd name="connsiteY196" fmla="*/ 590062 h 590724"/>
                    <a:gd name="connsiteX197" fmla="*/ 477736 w 914247"/>
                    <a:gd name="connsiteY197" fmla="*/ 590043 h 590724"/>
                    <a:gd name="connsiteX198" fmla="*/ 204673 w 914247"/>
                    <a:gd name="connsiteY198" fmla="*/ 590043 h 590724"/>
                    <a:gd name="connsiteX199" fmla="*/ 129273 w 914247"/>
                    <a:gd name="connsiteY199" fmla="*/ 590043 h 590724"/>
                    <a:gd name="connsiteX200" fmla="*/ 92021 w 914247"/>
                    <a:gd name="connsiteY200" fmla="*/ 590043 h 590724"/>
                    <a:gd name="connsiteX201" fmla="*/ 58293 w 914247"/>
                    <a:gd name="connsiteY201" fmla="*/ 588614 h 590724"/>
                    <a:gd name="connsiteX202" fmla="*/ 65342 w 914247"/>
                    <a:gd name="connsiteY202" fmla="*/ 575155 h 590724"/>
                    <a:gd name="connsiteX203" fmla="*/ 62341 w 914247"/>
                    <a:gd name="connsiteY203" fmla="*/ 574498 h 590724"/>
                    <a:gd name="connsiteX204" fmla="*/ 71818 w 914247"/>
                    <a:gd name="connsiteY204" fmla="*/ 560049 h 590724"/>
                    <a:gd name="connsiteX205" fmla="*/ 62674 w 914247"/>
                    <a:gd name="connsiteY205" fmla="*/ 562459 h 590724"/>
                    <a:gd name="connsiteX206" fmla="*/ 49016 w 914247"/>
                    <a:gd name="connsiteY206" fmla="*/ 565107 h 590724"/>
                    <a:gd name="connsiteX207" fmla="*/ 38633 w 914247"/>
                    <a:gd name="connsiteY207" fmla="*/ 562135 h 590724"/>
                    <a:gd name="connsiteX208" fmla="*/ 33271 w 914247"/>
                    <a:gd name="connsiteY208" fmla="*/ 562859 h 590724"/>
                    <a:gd name="connsiteX209" fmla="*/ 12973 w 914247"/>
                    <a:gd name="connsiteY209" fmla="*/ 565812 h 590724"/>
                    <a:gd name="connsiteX210" fmla="*/ 19488 w 914247"/>
                    <a:gd name="connsiteY210" fmla="*/ 556553 h 590724"/>
                    <a:gd name="connsiteX211" fmla="*/ 16688 w 914247"/>
                    <a:gd name="connsiteY211" fmla="*/ 556334 h 590724"/>
                    <a:gd name="connsiteX212" fmla="*/ 26499 w 914247"/>
                    <a:gd name="connsiteY212" fmla="*/ 542980 h 590724"/>
                    <a:gd name="connsiteX213" fmla="*/ 18288 w 914247"/>
                    <a:gd name="connsiteY213" fmla="*/ 540875 h 590724"/>
                    <a:gd name="connsiteX214" fmla="*/ 17154 w 914247"/>
                    <a:gd name="connsiteY214" fmla="*/ 533465 h 590724"/>
                    <a:gd name="connsiteX215" fmla="*/ 13364 w 914247"/>
                    <a:gd name="connsiteY215" fmla="*/ 523282 h 590724"/>
                    <a:gd name="connsiteX216" fmla="*/ 7210 w 914247"/>
                    <a:gd name="connsiteY216" fmla="*/ 524159 h 590724"/>
                    <a:gd name="connsiteX217" fmla="*/ 0 w 914247"/>
                    <a:gd name="connsiteY217" fmla="*/ 522244 h 590724"/>
                    <a:gd name="connsiteX218" fmla="*/ 5905 w 914247"/>
                    <a:gd name="connsiteY218" fmla="*/ 516101 h 590724"/>
                    <a:gd name="connsiteX219" fmla="*/ 9801 w 914247"/>
                    <a:gd name="connsiteY219" fmla="*/ 512700 h 590724"/>
                    <a:gd name="connsiteX220" fmla="*/ 12135 w 914247"/>
                    <a:gd name="connsiteY220" fmla="*/ 511605 h 590724"/>
                    <a:gd name="connsiteX221" fmla="*/ 9430 w 914247"/>
                    <a:gd name="connsiteY221" fmla="*/ 509043 h 590724"/>
                    <a:gd name="connsiteX222" fmla="*/ 20422 w 914247"/>
                    <a:gd name="connsiteY222" fmla="*/ 493698 h 590724"/>
                    <a:gd name="connsiteX223" fmla="*/ 16535 w 914247"/>
                    <a:gd name="connsiteY223" fmla="*/ 492659 h 590724"/>
                    <a:gd name="connsiteX224" fmla="*/ 15430 w 914247"/>
                    <a:gd name="connsiteY224" fmla="*/ 486840 h 590724"/>
                    <a:gd name="connsiteX225" fmla="*/ 29166 w 914247"/>
                    <a:gd name="connsiteY225" fmla="*/ 479686 h 590724"/>
                    <a:gd name="connsiteX226" fmla="*/ 29356 w 914247"/>
                    <a:gd name="connsiteY226" fmla="*/ 473657 h 590724"/>
                    <a:gd name="connsiteX227" fmla="*/ 25098 w 914247"/>
                    <a:gd name="connsiteY227" fmla="*/ 473943 h 590724"/>
                    <a:gd name="connsiteX228" fmla="*/ 32318 w 914247"/>
                    <a:gd name="connsiteY228" fmla="*/ 470104 h 590724"/>
                    <a:gd name="connsiteX229" fmla="*/ 24698 w 914247"/>
                    <a:gd name="connsiteY229" fmla="*/ 463103 h 590724"/>
                    <a:gd name="connsiteX230" fmla="*/ 27699 w 914247"/>
                    <a:gd name="connsiteY230" fmla="*/ 456836 h 590724"/>
                    <a:gd name="connsiteX231" fmla="*/ 13602 w 914247"/>
                    <a:gd name="connsiteY231" fmla="*/ 451835 h 590724"/>
                    <a:gd name="connsiteX232" fmla="*/ 18679 w 914247"/>
                    <a:gd name="connsiteY232" fmla="*/ 446378 h 590724"/>
                    <a:gd name="connsiteX233" fmla="*/ 9125 w 914247"/>
                    <a:gd name="connsiteY233" fmla="*/ 439034 h 590724"/>
                    <a:gd name="connsiteX234" fmla="*/ 23031 w 914247"/>
                    <a:gd name="connsiteY234" fmla="*/ 430185 h 590724"/>
                    <a:gd name="connsiteX235" fmla="*/ 20650 w 914247"/>
                    <a:gd name="connsiteY235" fmla="*/ 429585 h 590724"/>
                    <a:gd name="connsiteX236" fmla="*/ 22612 w 914247"/>
                    <a:gd name="connsiteY236" fmla="*/ 427204 h 590724"/>
                    <a:gd name="connsiteX237" fmla="*/ 17983 w 914247"/>
                    <a:gd name="connsiteY237" fmla="*/ 427108 h 590724"/>
                    <a:gd name="connsiteX238" fmla="*/ 41329 w 914247"/>
                    <a:gd name="connsiteY238" fmla="*/ 415383 h 590724"/>
                    <a:gd name="connsiteX239" fmla="*/ 45606 w 914247"/>
                    <a:gd name="connsiteY239" fmla="*/ 412097 h 590724"/>
                    <a:gd name="connsiteX240" fmla="*/ 45282 w 914247"/>
                    <a:gd name="connsiteY240" fmla="*/ 406744 h 590724"/>
                    <a:gd name="connsiteX241" fmla="*/ 53683 w 914247"/>
                    <a:gd name="connsiteY241" fmla="*/ 401267 h 590724"/>
                    <a:gd name="connsiteX242" fmla="*/ 38329 w 914247"/>
                    <a:gd name="connsiteY242" fmla="*/ 403686 h 590724"/>
                    <a:gd name="connsiteX243" fmla="*/ 42291 w 914247"/>
                    <a:gd name="connsiteY243" fmla="*/ 400162 h 590724"/>
                    <a:gd name="connsiteX244" fmla="*/ 25336 w 914247"/>
                    <a:gd name="connsiteY244" fmla="*/ 401858 h 590724"/>
                    <a:gd name="connsiteX245" fmla="*/ 36614 w 914247"/>
                    <a:gd name="connsiteY245" fmla="*/ 392085 h 590724"/>
                    <a:gd name="connsiteX246" fmla="*/ 32699 w 914247"/>
                    <a:gd name="connsiteY246" fmla="*/ 391475 h 590724"/>
                    <a:gd name="connsiteX247" fmla="*/ 45168 w 914247"/>
                    <a:gd name="connsiteY247" fmla="*/ 381531 h 590724"/>
                    <a:gd name="connsiteX248" fmla="*/ 49311 w 914247"/>
                    <a:gd name="connsiteY248" fmla="*/ 376064 h 590724"/>
                    <a:gd name="connsiteX249" fmla="*/ 50521 w 914247"/>
                    <a:gd name="connsiteY249" fmla="*/ 369425 h 590724"/>
                    <a:gd name="connsiteX250" fmla="*/ 4591 w 914247"/>
                    <a:gd name="connsiteY250" fmla="*/ 369092 h 590724"/>
                    <a:gd name="connsiteX251" fmla="*/ 23146 w 914247"/>
                    <a:gd name="connsiteY251" fmla="*/ 351404 h 590724"/>
                    <a:gd name="connsiteX252" fmla="*/ 23212 w 914247"/>
                    <a:gd name="connsiteY252" fmla="*/ 346746 h 590724"/>
                    <a:gd name="connsiteX253" fmla="*/ 30775 w 914247"/>
                    <a:gd name="connsiteY253" fmla="*/ 339783 h 590724"/>
                    <a:gd name="connsiteX254" fmla="*/ 46511 w 914247"/>
                    <a:gd name="connsiteY254" fmla="*/ 325543 h 590724"/>
                    <a:gd name="connsiteX255" fmla="*/ 63713 w 914247"/>
                    <a:gd name="connsiteY255" fmla="*/ 310056 h 590724"/>
                    <a:gd name="connsiteX256" fmla="*/ 80648 w 914247"/>
                    <a:gd name="connsiteY256" fmla="*/ 316218 h 590724"/>
                    <a:gd name="connsiteX257" fmla="*/ 76810 w 914247"/>
                    <a:gd name="connsiteY257" fmla="*/ 309027 h 590724"/>
                    <a:gd name="connsiteX258" fmla="*/ 87106 w 914247"/>
                    <a:gd name="connsiteY258" fmla="*/ 305712 h 590724"/>
                    <a:gd name="connsiteX259" fmla="*/ 94536 w 914247"/>
                    <a:gd name="connsiteY259" fmla="*/ 296759 h 590724"/>
                    <a:gd name="connsiteX260" fmla="*/ 102918 w 914247"/>
                    <a:gd name="connsiteY260" fmla="*/ 296864 h 590724"/>
                    <a:gd name="connsiteX261" fmla="*/ 110785 w 914247"/>
                    <a:gd name="connsiteY261" fmla="*/ 292111 h 590724"/>
                    <a:gd name="connsiteX262" fmla="*/ 124396 w 914247"/>
                    <a:gd name="connsiteY262" fmla="*/ 291730 h 590724"/>
                    <a:gd name="connsiteX263" fmla="*/ 129064 w 914247"/>
                    <a:gd name="connsiteY263" fmla="*/ 288539 h 590724"/>
                    <a:gd name="connsiteX264" fmla="*/ 137798 w 914247"/>
                    <a:gd name="connsiteY264" fmla="*/ 285481 h 590724"/>
                    <a:gd name="connsiteX265" fmla="*/ 140198 w 914247"/>
                    <a:gd name="connsiteY265" fmla="*/ 289920 h 590724"/>
                    <a:gd name="connsiteX266" fmla="*/ 124863 w 914247"/>
                    <a:gd name="connsiteY266" fmla="*/ 298588 h 590724"/>
                    <a:gd name="connsiteX267" fmla="*/ 153372 w 914247"/>
                    <a:gd name="connsiteY267" fmla="*/ 292596 h 590724"/>
                    <a:gd name="connsiteX268" fmla="*/ 165773 w 914247"/>
                    <a:gd name="connsiteY268" fmla="*/ 286386 h 590724"/>
                    <a:gd name="connsiteX269" fmla="*/ 176803 w 914247"/>
                    <a:gd name="connsiteY269" fmla="*/ 285319 h 590724"/>
                    <a:gd name="connsiteX270" fmla="*/ 174327 w 914247"/>
                    <a:gd name="connsiteY270" fmla="*/ 284557 h 590724"/>
                    <a:gd name="connsiteX271" fmla="*/ 189528 w 914247"/>
                    <a:gd name="connsiteY271" fmla="*/ 282862 h 590724"/>
                    <a:gd name="connsiteX272" fmla="*/ 210798 w 914247"/>
                    <a:gd name="connsiteY272" fmla="*/ 278090 h 590724"/>
                    <a:gd name="connsiteX273" fmla="*/ 233267 w 914247"/>
                    <a:gd name="connsiteY273" fmla="*/ 270527 h 590724"/>
                    <a:gd name="connsiteX274" fmla="*/ 241201 w 914247"/>
                    <a:gd name="connsiteY274" fmla="*/ 272070 h 590724"/>
                    <a:gd name="connsiteX275" fmla="*/ 251355 w 914247"/>
                    <a:gd name="connsiteY275" fmla="*/ 268984 h 590724"/>
                    <a:gd name="connsiteX276" fmla="*/ 238811 w 914247"/>
                    <a:gd name="connsiteY276" fmla="*/ 277223 h 590724"/>
                    <a:gd name="connsiteX277" fmla="*/ 212960 w 914247"/>
                    <a:gd name="connsiteY277" fmla="*/ 285053 h 590724"/>
                    <a:gd name="connsiteX278" fmla="*/ 190043 w 914247"/>
                    <a:gd name="connsiteY278" fmla="*/ 288653 h 590724"/>
                    <a:gd name="connsiteX279" fmla="*/ 168411 w 914247"/>
                    <a:gd name="connsiteY279" fmla="*/ 295959 h 590724"/>
                    <a:gd name="connsiteX280" fmla="*/ 141923 w 914247"/>
                    <a:gd name="connsiteY280" fmla="*/ 304931 h 590724"/>
                    <a:gd name="connsiteX281" fmla="*/ 129740 w 914247"/>
                    <a:gd name="connsiteY281" fmla="*/ 309951 h 590724"/>
                    <a:gd name="connsiteX282" fmla="*/ 129673 w 914247"/>
                    <a:gd name="connsiteY282" fmla="*/ 314532 h 590724"/>
                    <a:gd name="connsiteX283" fmla="*/ 147333 w 914247"/>
                    <a:gd name="connsiteY283" fmla="*/ 310018 h 590724"/>
                    <a:gd name="connsiteX284" fmla="*/ 144066 w 914247"/>
                    <a:gd name="connsiteY284" fmla="*/ 309827 h 590724"/>
                    <a:gd name="connsiteX285" fmla="*/ 171002 w 914247"/>
                    <a:gd name="connsiteY285" fmla="*/ 298283 h 590724"/>
                    <a:gd name="connsiteX286" fmla="*/ 180985 w 914247"/>
                    <a:gd name="connsiteY286" fmla="*/ 293425 h 590724"/>
                    <a:gd name="connsiteX287" fmla="*/ 189319 w 914247"/>
                    <a:gd name="connsiteY287" fmla="*/ 295178 h 590724"/>
                    <a:gd name="connsiteX288" fmla="*/ 191738 w 914247"/>
                    <a:gd name="connsiteY288" fmla="*/ 299969 h 590724"/>
                    <a:gd name="connsiteX289" fmla="*/ 261328 w 914247"/>
                    <a:gd name="connsiteY289" fmla="*/ 276204 h 590724"/>
                    <a:gd name="connsiteX290" fmla="*/ 248879 w 914247"/>
                    <a:gd name="connsiteY290" fmla="*/ 282919 h 590724"/>
                    <a:gd name="connsiteX291" fmla="*/ 260261 w 914247"/>
                    <a:gd name="connsiteY291" fmla="*/ 280919 h 590724"/>
                    <a:gd name="connsiteX292" fmla="*/ 278035 w 914247"/>
                    <a:gd name="connsiteY292" fmla="*/ 272232 h 590724"/>
                    <a:gd name="connsiteX293" fmla="*/ 296504 w 914247"/>
                    <a:gd name="connsiteY293" fmla="*/ 266850 h 590724"/>
                    <a:gd name="connsiteX294" fmla="*/ 290941 w 914247"/>
                    <a:gd name="connsiteY294" fmla="*/ 265117 h 590724"/>
                    <a:gd name="connsiteX295" fmla="*/ 293475 w 914247"/>
                    <a:gd name="connsiteY295" fmla="*/ 263612 h 590724"/>
                    <a:gd name="connsiteX296" fmla="*/ 299133 w 914247"/>
                    <a:gd name="connsiteY296" fmla="*/ 257201 h 590724"/>
                    <a:gd name="connsiteX297" fmla="*/ 306067 w 914247"/>
                    <a:gd name="connsiteY297" fmla="*/ 262707 h 590724"/>
                    <a:gd name="connsiteX298" fmla="*/ 301704 w 914247"/>
                    <a:gd name="connsiteY298" fmla="*/ 283567 h 590724"/>
                    <a:gd name="connsiteX299" fmla="*/ 301704 w 914247"/>
                    <a:gd name="connsiteY299" fmla="*/ 283567 h 590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Lst>
                  <a:rect l="l" t="t" r="r" b="b"/>
                  <a:pathLst>
                    <a:path w="914247" h="590724">
                      <a:moveTo>
                        <a:pt x="914248" y="1446"/>
                      </a:moveTo>
                      <a:cubicBezTo>
                        <a:pt x="908571" y="7446"/>
                        <a:pt x="905675" y="13123"/>
                        <a:pt x="897207" y="13695"/>
                      </a:cubicBezTo>
                      <a:cubicBezTo>
                        <a:pt x="891692" y="14076"/>
                        <a:pt x="887387" y="10971"/>
                        <a:pt x="882644" y="11056"/>
                      </a:cubicBezTo>
                      <a:cubicBezTo>
                        <a:pt x="879977" y="11104"/>
                        <a:pt x="877148" y="13857"/>
                        <a:pt x="874386" y="14219"/>
                      </a:cubicBezTo>
                      <a:cubicBezTo>
                        <a:pt x="870337" y="14743"/>
                        <a:pt x="868575" y="12399"/>
                        <a:pt x="865032" y="11876"/>
                      </a:cubicBezTo>
                      <a:cubicBezTo>
                        <a:pt x="862479" y="11495"/>
                        <a:pt x="843134" y="15524"/>
                        <a:pt x="842248" y="14152"/>
                      </a:cubicBezTo>
                      <a:cubicBezTo>
                        <a:pt x="839086" y="9285"/>
                        <a:pt x="874043" y="5656"/>
                        <a:pt x="878015" y="5037"/>
                      </a:cubicBezTo>
                      <a:cubicBezTo>
                        <a:pt x="891026" y="3027"/>
                        <a:pt x="901198" y="-2641"/>
                        <a:pt x="914248" y="1446"/>
                      </a:cubicBezTo>
                      <a:lnTo>
                        <a:pt x="914248" y="1446"/>
                      </a:lnTo>
                      <a:close/>
                      <a:moveTo>
                        <a:pt x="896579" y="20248"/>
                      </a:moveTo>
                      <a:cubicBezTo>
                        <a:pt x="889283" y="27982"/>
                        <a:pt x="884272" y="23506"/>
                        <a:pt x="875509" y="27573"/>
                      </a:cubicBezTo>
                      <a:cubicBezTo>
                        <a:pt x="866527" y="31735"/>
                        <a:pt x="883053" y="28068"/>
                        <a:pt x="883958" y="30297"/>
                      </a:cubicBezTo>
                      <a:cubicBezTo>
                        <a:pt x="887759" y="39679"/>
                        <a:pt x="854707" y="41060"/>
                        <a:pt x="850944" y="41508"/>
                      </a:cubicBezTo>
                      <a:cubicBezTo>
                        <a:pt x="844067" y="42327"/>
                        <a:pt x="818455" y="45985"/>
                        <a:pt x="821169" y="35679"/>
                      </a:cubicBezTo>
                      <a:cubicBezTo>
                        <a:pt x="821265" y="35317"/>
                        <a:pt x="825798" y="28925"/>
                        <a:pt x="826513" y="28249"/>
                      </a:cubicBezTo>
                      <a:cubicBezTo>
                        <a:pt x="830647" y="24353"/>
                        <a:pt x="839114" y="24830"/>
                        <a:pt x="844525" y="23896"/>
                      </a:cubicBezTo>
                      <a:cubicBezTo>
                        <a:pt x="861660" y="20953"/>
                        <a:pt x="879243" y="19343"/>
                        <a:pt x="896579" y="20248"/>
                      </a:cubicBezTo>
                      <a:lnTo>
                        <a:pt x="896579" y="20248"/>
                      </a:lnTo>
                      <a:close/>
                      <a:moveTo>
                        <a:pt x="768620" y="43127"/>
                      </a:moveTo>
                      <a:cubicBezTo>
                        <a:pt x="768563" y="47232"/>
                        <a:pt x="757028" y="47490"/>
                        <a:pt x="753789" y="48252"/>
                      </a:cubicBezTo>
                      <a:cubicBezTo>
                        <a:pt x="752656" y="48518"/>
                        <a:pt x="747065" y="49099"/>
                        <a:pt x="746646" y="50271"/>
                      </a:cubicBezTo>
                      <a:cubicBezTo>
                        <a:pt x="745655" y="52985"/>
                        <a:pt x="750941" y="54119"/>
                        <a:pt x="750532" y="55795"/>
                      </a:cubicBezTo>
                      <a:cubicBezTo>
                        <a:pt x="749732" y="59081"/>
                        <a:pt x="745169" y="56053"/>
                        <a:pt x="743312" y="57215"/>
                      </a:cubicBezTo>
                      <a:cubicBezTo>
                        <a:pt x="741255" y="58510"/>
                        <a:pt x="741731" y="59253"/>
                        <a:pt x="741007" y="59967"/>
                      </a:cubicBezTo>
                      <a:cubicBezTo>
                        <a:pt x="741226" y="59748"/>
                        <a:pt x="740607" y="63272"/>
                        <a:pt x="739664" y="64263"/>
                      </a:cubicBezTo>
                      <a:cubicBezTo>
                        <a:pt x="738245" y="65768"/>
                        <a:pt x="733482" y="66520"/>
                        <a:pt x="731444" y="67006"/>
                      </a:cubicBezTo>
                      <a:cubicBezTo>
                        <a:pt x="725338" y="68464"/>
                        <a:pt x="718557" y="67825"/>
                        <a:pt x="713137" y="70654"/>
                      </a:cubicBezTo>
                      <a:cubicBezTo>
                        <a:pt x="708774" y="72931"/>
                        <a:pt x="706622" y="76807"/>
                        <a:pt x="701154" y="77350"/>
                      </a:cubicBezTo>
                      <a:cubicBezTo>
                        <a:pt x="695982" y="77874"/>
                        <a:pt x="690629" y="76265"/>
                        <a:pt x="693191" y="71245"/>
                      </a:cubicBezTo>
                      <a:cubicBezTo>
                        <a:pt x="695715" y="66311"/>
                        <a:pt x="704669" y="65092"/>
                        <a:pt x="707469" y="60739"/>
                      </a:cubicBezTo>
                      <a:cubicBezTo>
                        <a:pt x="699954" y="61463"/>
                        <a:pt x="695887" y="63787"/>
                        <a:pt x="689486" y="66940"/>
                      </a:cubicBezTo>
                      <a:cubicBezTo>
                        <a:pt x="687048" y="68140"/>
                        <a:pt x="682828" y="68397"/>
                        <a:pt x="680952" y="69511"/>
                      </a:cubicBezTo>
                      <a:cubicBezTo>
                        <a:pt x="678551" y="70940"/>
                        <a:pt x="678923" y="73169"/>
                        <a:pt x="679228" y="72912"/>
                      </a:cubicBezTo>
                      <a:cubicBezTo>
                        <a:pt x="675551" y="76026"/>
                        <a:pt x="654244" y="88847"/>
                        <a:pt x="659644" y="75350"/>
                      </a:cubicBezTo>
                      <a:cubicBezTo>
                        <a:pt x="654768" y="76474"/>
                        <a:pt x="652405" y="81218"/>
                        <a:pt x="648043" y="82923"/>
                      </a:cubicBezTo>
                      <a:cubicBezTo>
                        <a:pt x="653863" y="88018"/>
                        <a:pt x="629441" y="91124"/>
                        <a:pt x="625878" y="91562"/>
                      </a:cubicBezTo>
                      <a:cubicBezTo>
                        <a:pt x="627345" y="88390"/>
                        <a:pt x="631460" y="81513"/>
                        <a:pt x="627955" y="80608"/>
                      </a:cubicBezTo>
                      <a:cubicBezTo>
                        <a:pt x="626069" y="80113"/>
                        <a:pt x="621154" y="84942"/>
                        <a:pt x="618896" y="85723"/>
                      </a:cubicBezTo>
                      <a:cubicBezTo>
                        <a:pt x="615096" y="87018"/>
                        <a:pt x="612610" y="86304"/>
                        <a:pt x="608962" y="86037"/>
                      </a:cubicBezTo>
                      <a:cubicBezTo>
                        <a:pt x="605209" y="85771"/>
                        <a:pt x="602685" y="85132"/>
                        <a:pt x="598780" y="85771"/>
                      </a:cubicBezTo>
                      <a:cubicBezTo>
                        <a:pt x="597256" y="86018"/>
                        <a:pt x="589626" y="89314"/>
                        <a:pt x="588331" y="87609"/>
                      </a:cubicBezTo>
                      <a:cubicBezTo>
                        <a:pt x="586654" y="85390"/>
                        <a:pt x="593207" y="82294"/>
                        <a:pt x="594065" y="80960"/>
                      </a:cubicBezTo>
                      <a:cubicBezTo>
                        <a:pt x="591788" y="80903"/>
                        <a:pt x="589436" y="81379"/>
                        <a:pt x="587121" y="81818"/>
                      </a:cubicBezTo>
                      <a:cubicBezTo>
                        <a:pt x="599942" y="73702"/>
                        <a:pt x="612067" y="75283"/>
                        <a:pt x="625602" y="70950"/>
                      </a:cubicBezTo>
                      <a:cubicBezTo>
                        <a:pt x="639128" y="66625"/>
                        <a:pt x="652882" y="61748"/>
                        <a:pt x="665988" y="56538"/>
                      </a:cubicBezTo>
                      <a:cubicBezTo>
                        <a:pt x="679714" y="51090"/>
                        <a:pt x="693877" y="45261"/>
                        <a:pt x="708631" y="43756"/>
                      </a:cubicBezTo>
                      <a:cubicBezTo>
                        <a:pt x="717375" y="42860"/>
                        <a:pt x="724271" y="44718"/>
                        <a:pt x="732625" y="44632"/>
                      </a:cubicBezTo>
                      <a:cubicBezTo>
                        <a:pt x="736302" y="44594"/>
                        <a:pt x="743712" y="44375"/>
                        <a:pt x="747036" y="42603"/>
                      </a:cubicBezTo>
                      <a:cubicBezTo>
                        <a:pt x="745646" y="42337"/>
                        <a:pt x="744045" y="41155"/>
                        <a:pt x="742407" y="40965"/>
                      </a:cubicBezTo>
                      <a:cubicBezTo>
                        <a:pt x="750141" y="32983"/>
                        <a:pt x="761048" y="39088"/>
                        <a:pt x="768620" y="43127"/>
                      </a:cubicBezTo>
                      <a:lnTo>
                        <a:pt x="768620" y="43127"/>
                      </a:lnTo>
                      <a:close/>
                      <a:moveTo>
                        <a:pt x="765296" y="78865"/>
                      </a:moveTo>
                      <a:cubicBezTo>
                        <a:pt x="769953" y="80846"/>
                        <a:pt x="776478" y="77617"/>
                        <a:pt x="781669" y="78065"/>
                      </a:cubicBezTo>
                      <a:cubicBezTo>
                        <a:pt x="788689" y="78674"/>
                        <a:pt x="791566" y="83818"/>
                        <a:pt x="796776" y="87990"/>
                      </a:cubicBezTo>
                      <a:cubicBezTo>
                        <a:pt x="794671" y="89438"/>
                        <a:pt x="791470" y="89819"/>
                        <a:pt x="789889" y="91295"/>
                      </a:cubicBezTo>
                      <a:cubicBezTo>
                        <a:pt x="793118" y="91705"/>
                        <a:pt x="798233" y="90371"/>
                        <a:pt x="799700" y="92800"/>
                      </a:cubicBezTo>
                      <a:cubicBezTo>
                        <a:pt x="800957" y="94886"/>
                        <a:pt x="797166" y="97220"/>
                        <a:pt x="799967" y="99782"/>
                      </a:cubicBezTo>
                      <a:cubicBezTo>
                        <a:pt x="802634" y="102220"/>
                        <a:pt x="817807" y="100372"/>
                        <a:pt x="821512" y="100591"/>
                      </a:cubicBezTo>
                      <a:cubicBezTo>
                        <a:pt x="816054" y="106449"/>
                        <a:pt x="810968" y="113088"/>
                        <a:pt x="805015" y="118394"/>
                      </a:cubicBezTo>
                      <a:cubicBezTo>
                        <a:pt x="799824" y="123023"/>
                        <a:pt x="795833" y="122242"/>
                        <a:pt x="789032" y="124366"/>
                      </a:cubicBezTo>
                      <a:cubicBezTo>
                        <a:pt x="775297" y="128662"/>
                        <a:pt x="761981" y="132510"/>
                        <a:pt x="747589" y="134615"/>
                      </a:cubicBezTo>
                      <a:cubicBezTo>
                        <a:pt x="742064" y="135415"/>
                        <a:pt x="708412" y="140206"/>
                        <a:pt x="709127" y="129024"/>
                      </a:cubicBezTo>
                      <a:cubicBezTo>
                        <a:pt x="709460" y="123718"/>
                        <a:pt x="743302" y="119337"/>
                        <a:pt x="748817" y="118356"/>
                      </a:cubicBezTo>
                      <a:cubicBezTo>
                        <a:pt x="764010" y="115631"/>
                        <a:pt x="777707" y="118279"/>
                        <a:pt x="791994" y="110431"/>
                      </a:cubicBezTo>
                      <a:cubicBezTo>
                        <a:pt x="789099" y="107973"/>
                        <a:pt x="775935" y="112802"/>
                        <a:pt x="771011" y="112993"/>
                      </a:cubicBezTo>
                      <a:cubicBezTo>
                        <a:pt x="766686" y="113164"/>
                        <a:pt x="764172" y="110840"/>
                        <a:pt x="760647" y="110907"/>
                      </a:cubicBezTo>
                      <a:cubicBezTo>
                        <a:pt x="757990" y="110955"/>
                        <a:pt x="755704" y="112993"/>
                        <a:pt x="753208" y="113641"/>
                      </a:cubicBezTo>
                      <a:cubicBezTo>
                        <a:pt x="750418" y="114365"/>
                        <a:pt x="733358" y="116641"/>
                        <a:pt x="732968" y="114041"/>
                      </a:cubicBezTo>
                      <a:cubicBezTo>
                        <a:pt x="732206" y="108945"/>
                        <a:pt x="746922" y="105659"/>
                        <a:pt x="749618" y="104468"/>
                      </a:cubicBezTo>
                      <a:cubicBezTo>
                        <a:pt x="746484" y="104592"/>
                        <a:pt x="743007" y="105059"/>
                        <a:pt x="740054" y="105573"/>
                      </a:cubicBezTo>
                      <a:cubicBezTo>
                        <a:pt x="740083" y="105573"/>
                        <a:pt x="739264" y="104287"/>
                        <a:pt x="737235" y="105001"/>
                      </a:cubicBezTo>
                      <a:cubicBezTo>
                        <a:pt x="734539" y="105954"/>
                        <a:pt x="731977" y="108840"/>
                        <a:pt x="729424" y="109840"/>
                      </a:cubicBezTo>
                      <a:cubicBezTo>
                        <a:pt x="727891" y="110440"/>
                        <a:pt x="726510" y="108049"/>
                        <a:pt x="724691" y="108945"/>
                      </a:cubicBezTo>
                      <a:cubicBezTo>
                        <a:pt x="724719" y="108935"/>
                        <a:pt x="723157" y="112983"/>
                        <a:pt x="721976" y="113955"/>
                      </a:cubicBezTo>
                      <a:cubicBezTo>
                        <a:pt x="719500" y="115984"/>
                        <a:pt x="713851" y="116736"/>
                        <a:pt x="710813" y="117241"/>
                      </a:cubicBezTo>
                      <a:cubicBezTo>
                        <a:pt x="702154" y="118708"/>
                        <a:pt x="707793" y="115041"/>
                        <a:pt x="703345" y="113993"/>
                      </a:cubicBezTo>
                      <a:cubicBezTo>
                        <a:pt x="698830" y="112926"/>
                        <a:pt x="695668" y="118327"/>
                        <a:pt x="691534" y="118556"/>
                      </a:cubicBezTo>
                      <a:cubicBezTo>
                        <a:pt x="686876" y="118813"/>
                        <a:pt x="686248" y="114488"/>
                        <a:pt x="683381" y="113250"/>
                      </a:cubicBezTo>
                      <a:cubicBezTo>
                        <a:pt x="680514" y="112012"/>
                        <a:pt x="676989" y="112888"/>
                        <a:pt x="673351" y="112726"/>
                      </a:cubicBezTo>
                      <a:cubicBezTo>
                        <a:pt x="652424" y="111802"/>
                        <a:pt x="672598" y="103239"/>
                        <a:pt x="681523" y="102554"/>
                      </a:cubicBezTo>
                      <a:cubicBezTo>
                        <a:pt x="695430" y="101487"/>
                        <a:pt x="713642" y="103487"/>
                        <a:pt x="725872" y="95343"/>
                      </a:cubicBezTo>
                      <a:cubicBezTo>
                        <a:pt x="712270" y="97372"/>
                        <a:pt x="697230" y="101144"/>
                        <a:pt x="683514" y="98134"/>
                      </a:cubicBezTo>
                      <a:cubicBezTo>
                        <a:pt x="693972" y="86933"/>
                        <a:pt x="720414" y="92695"/>
                        <a:pt x="734273" y="89342"/>
                      </a:cubicBezTo>
                      <a:cubicBezTo>
                        <a:pt x="725538" y="89380"/>
                        <a:pt x="710441" y="92733"/>
                        <a:pt x="702726" y="88304"/>
                      </a:cubicBezTo>
                      <a:cubicBezTo>
                        <a:pt x="708746" y="85218"/>
                        <a:pt x="711251" y="81141"/>
                        <a:pt x="719147" y="80084"/>
                      </a:cubicBezTo>
                      <a:cubicBezTo>
                        <a:pt x="728215" y="78874"/>
                        <a:pt x="737702" y="81456"/>
                        <a:pt x="746903" y="80646"/>
                      </a:cubicBezTo>
                      <a:cubicBezTo>
                        <a:pt x="741702" y="78046"/>
                        <a:pt x="735149" y="79198"/>
                        <a:pt x="729501" y="78122"/>
                      </a:cubicBezTo>
                      <a:cubicBezTo>
                        <a:pt x="732615" y="70950"/>
                        <a:pt x="748522" y="70645"/>
                        <a:pt x="754971" y="70283"/>
                      </a:cubicBezTo>
                      <a:cubicBezTo>
                        <a:pt x="757761" y="70121"/>
                        <a:pt x="765029" y="69330"/>
                        <a:pt x="766848" y="72093"/>
                      </a:cubicBezTo>
                      <a:cubicBezTo>
                        <a:pt x="767515" y="73112"/>
                        <a:pt x="764524" y="76503"/>
                        <a:pt x="765296" y="78865"/>
                      </a:cubicBezTo>
                      <a:lnTo>
                        <a:pt x="765296" y="78865"/>
                      </a:lnTo>
                      <a:close/>
                      <a:moveTo>
                        <a:pt x="584606" y="145530"/>
                      </a:moveTo>
                      <a:cubicBezTo>
                        <a:pt x="591045" y="143778"/>
                        <a:pt x="602666" y="138758"/>
                        <a:pt x="593960" y="148578"/>
                      </a:cubicBezTo>
                      <a:cubicBezTo>
                        <a:pt x="605933" y="145092"/>
                        <a:pt x="614143" y="139396"/>
                        <a:pt x="627297" y="140911"/>
                      </a:cubicBezTo>
                      <a:cubicBezTo>
                        <a:pt x="634241" y="141711"/>
                        <a:pt x="638632" y="144083"/>
                        <a:pt x="643242" y="149274"/>
                      </a:cubicBezTo>
                      <a:cubicBezTo>
                        <a:pt x="645138" y="151417"/>
                        <a:pt x="654387" y="159656"/>
                        <a:pt x="654396" y="162171"/>
                      </a:cubicBezTo>
                      <a:cubicBezTo>
                        <a:pt x="654406" y="170162"/>
                        <a:pt x="629507" y="171153"/>
                        <a:pt x="623906" y="172496"/>
                      </a:cubicBezTo>
                      <a:cubicBezTo>
                        <a:pt x="609914" y="175858"/>
                        <a:pt x="596036" y="179839"/>
                        <a:pt x="582158" y="183640"/>
                      </a:cubicBezTo>
                      <a:cubicBezTo>
                        <a:pt x="568404" y="187412"/>
                        <a:pt x="555241" y="189584"/>
                        <a:pt x="542877" y="196794"/>
                      </a:cubicBezTo>
                      <a:cubicBezTo>
                        <a:pt x="536972" y="200232"/>
                        <a:pt x="531486" y="203357"/>
                        <a:pt x="524628" y="204414"/>
                      </a:cubicBezTo>
                      <a:cubicBezTo>
                        <a:pt x="516331" y="205690"/>
                        <a:pt x="513531" y="207243"/>
                        <a:pt x="506501" y="212082"/>
                      </a:cubicBezTo>
                      <a:cubicBezTo>
                        <a:pt x="494709" y="220216"/>
                        <a:pt x="488013" y="227464"/>
                        <a:pt x="473364" y="229950"/>
                      </a:cubicBezTo>
                      <a:cubicBezTo>
                        <a:pt x="470344" y="230465"/>
                        <a:pt x="466839" y="231379"/>
                        <a:pt x="463791" y="231198"/>
                      </a:cubicBezTo>
                      <a:cubicBezTo>
                        <a:pt x="461858" y="231084"/>
                        <a:pt x="462153" y="229274"/>
                        <a:pt x="460543" y="229379"/>
                      </a:cubicBezTo>
                      <a:cubicBezTo>
                        <a:pt x="454790" y="229722"/>
                        <a:pt x="449085" y="233865"/>
                        <a:pt x="443541" y="235465"/>
                      </a:cubicBezTo>
                      <a:cubicBezTo>
                        <a:pt x="438160" y="237018"/>
                        <a:pt x="429092" y="240971"/>
                        <a:pt x="423501" y="240714"/>
                      </a:cubicBezTo>
                      <a:cubicBezTo>
                        <a:pt x="413566" y="240266"/>
                        <a:pt x="420091" y="234561"/>
                        <a:pt x="420367" y="228064"/>
                      </a:cubicBezTo>
                      <a:cubicBezTo>
                        <a:pt x="420700" y="220206"/>
                        <a:pt x="414318" y="220225"/>
                        <a:pt x="408365" y="216777"/>
                      </a:cubicBezTo>
                      <a:cubicBezTo>
                        <a:pt x="401698" y="212910"/>
                        <a:pt x="399412" y="213672"/>
                        <a:pt x="391344" y="213139"/>
                      </a:cubicBezTo>
                      <a:cubicBezTo>
                        <a:pt x="401003" y="206557"/>
                        <a:pt x="409756" y="200890"/>
                        <a:pt x="421529" y="196337"/>
                      </a:cubicBezTo>
                      <a:cubicBezTo>
                        <a:pt x="428530" y="193622"/>
                        <a:pt x="429930" y="190088"/>
                        <a:pt x="436207" y="186431"/>
                      </a:cubicBezTo>
                      <a:cubicBezTo>
                        <a:pt x="440693" y="183821"/>
                        <a:pt x="448237" y="185107"/>
                        <a:pt x="450894" y="180382"/>
                      </a:cubicBezTo>
                      <a:cubicBezTo>
                        <a:pt x="443046" y="178792"/>
                        <a:pt x="456343" y="174048"/>
                        <a:pt x="459115" y="172572"/>
                      </a:cubicBezTo>
                      <a:cubicBezTo>
                        <a:pt x="466839" y="168438"/>
                        <a:pt x="474536" y="164790"/>
                        <a:pt x="482260" y="160828"/>
                      </a:cubicBezTo>
                      <a:cubicBezTo>
                        <a:pt x="484232" y="159818"/>
                        <a:pt x="491871" y="157770"/>
                        <a:pt x="492404" y="155817"/>
                      </a:cubicBezTo>
                      <a:cubicBezTo>
                        <a:pt x="492928" y="153922"/>
                        <a:pt x="489023" y="153760"/>
                        <a:pt x="488432" y="151341"/>
                      </a:cubicBezTo>
                      <a:cubicBezTo>
                        <a:pt x="487880" y="149055"/>
                        <a:pt x="491871" y="139044"/>
                        <a:pt x="493157" y="138053"/>
                      </a:cubicBezTo>
                      <a:cubicBezTo>
                        <a:pt x="497548" y="134700"/>
                        <a:pt x="514645" y="135720"/>
                        <a:pt x="520294" y="135320"/>
                      </a:cubicBezTo>
                      <a:cubicBezTo>
                        <a:pt x="527961" y="134758"/>
                        <a:pt x="535619" y="134672"/>
                        <a:pt x="543268" y="133824"/>
                      </a:cubicBezTo>
                      <a:cubicBezTo>
                        <a:pt x="551640" y="132900"/>
                        <a:pt x="560822" y="130214"/>
                        <a:pt x="568785" y="133643"/>
                      </a:cubicBezTo>
                      <a:cubicBezTo>
                        <a:pt x="576853" y="137120"/>
                        <a:pt x="582635" y="140835"/>
                        <a:pt x="591874" y="141730"/>
                      </a:cubicBezTo>
                      <a:cubicBezTo>
                        <a:pt x="589312" y="142787"/>
                        <a:pt x="586769" y="143816"/>
                        <a:pt x="584606" y="145530"/>
                      </a:cubicBezTo>
                      <a:lnTo>
                        <a:pt x="584606" y="145530"/>
                      </a:lnTo>
                      <a:close/>
                      <a:moveTo>
                        <a:pt x="643395" y="193393"/>
                      </a:moveTo>
                      <a:cubicBezTo>
                        <a:pt x="647671" y="194184"/>
                        <a:pt x="660930" y="192708"/>
                        <a:pt x="664473" y="191517"/>
                      </a:cubicBezTo>
                      <a:cubicBezTo>
                        <a:pt x="672246" y="188907"/>
                        <a:pt x="676075" y="181382"/>
                        <a:pt x="685467" y="180744"/>
                      </a:cubicBezTo>
                      <a:cubicBezTo>
                        <a:pt x="689924" y="180449"/>
                        <a:pt x="711489" y="183983"/>
                        <a:pt x="712908" y="189183"/>
                      </a:cubicBezTo>
                      <a:cubicBezTo>
                        <a:pt x="714251" y="194117"/>
                        <a:pt x="694144" y="199280"/>
                        <a:pt x="690182" y="200861"/>
                      </a:cubicBezTo>
                      <a:cubicBezTo>
                        <a:pt x="694744" y="204442"/>
                        <a:pt x="700849" y="198575"/>
                        <a:pt x="706126" y="197623"/>
                      </a:cubicBezTo>
                      <a:cubicBezTo>
                        <a:pt x="705050" y="198327"/>
                        <a:pt x="704183" y="199804"/>
                        <a:pt x="703288" y="200613"/>
                      </a:cubicBezTo>
                      <a:cubicBezTo>
                        <a:pt x="708022" y="201137"/>
                        <a:pt x="712451" y="197680"/>
                        <a:pt x="716699" y="195994"/>
                      </a:cubicBezTo>
                      <a:cubicBezTo>
                        <a:pt x="721252" y="194184"/>
                        <a:pt x="728834" y="193860"/>
                        <a:pt x="732815" y="191393"/>
                      </a:cubicBezTo>
                      <a:cubicBezTo>
                        <a:pt x="741607" y="185926"/>
                        <a:pt x="729967" y="187955"/>
                        <a:pt x="732025" y="182325"/>
                      </a:cubicBezTo>
                      <a:cubicBezTo>
                        <a:pt x="733330" y="178763"/>
                        <a:pt x="744331" y="180640"/>
                        <a:pt x="747103" y="181154"/>
                      </a:cubicBezTo>
                      <a:cubicBezTo>
                        <a:pt x="724224" y="206138"/>
                        <a:pt x="701392" y="231151"/>
                        <a:pt x="678656" y="256259"/>
                      </a:cubicBezTo>
                      <a:cubicBezTo>
                        <a:pt x="674151" y="261231"/>
                        <a:pt x="667855" y="272051"/>
                        <a:pt x="661959" y="274756"/>
                      </a:cubicBezTo>
                      <a:cubicBezTo>
                        <a:pt x="656739" y="277147"/>
                        <a:pt x="645528" y="275051"/>
                        <a:pt x="639718" y="275051"/>
                      </a:cubicBezTo>
                      <a:cubicBezTo>
                        <a:pt x="631622" y="275051"/>
                        <a:pt x="623535" y="275061"/>
                        <a:pt x="615439" y="275061"/>
                      </a:cubicBezTo>
                      <a:cubicBezTo>
                        <a:pt x="607847" y="275061"/>
                        <a:pt x="603714" y="281385"/>
                        <a:pt x="596017" y="280328"/>
                      </a:cubicBezTo>
                      <a:cubicBezTo>
                        <a:pt x="597608" y="278557"/>
                        <a:pt x="599199" y="276794"/>
                        <a:pt x="600789" y="275032"/>
                      </a:cubicBezTo>
                      <a:cubicBezTo>
                        <a:pt x="583921" y="275032"/>
                        <a:pt x="567042" y="275032"/>
                        <a:pt x="550173" y="275023"/>
                      </a:cubicBezTo>
                      <a:cubicBezTo>
                        <a:pt x="541639" y="275023"/>
                        <a:pt x="533105" y="275023"/>
                        <a:pt x="524561" y="275013"/>
                      </a:cubicBezTo>
                      <a:cubicBezTo>
                        <a:pt x="521313" y="275013"/>
                        <a:pt x="515645" y="273746"/>
                        <a:pt x="512912" y="274985"/>
                      </a:cubicBezTo>
                      <a:cubicBezTo>
                        <a:pt x="505844" y="278156"/>
                        <a:pt x="512016" y="279833"/>
                        <a:pt x="510559" y="283662"/>
                      </a:cubicBezTo>
                      <a:cubicBezTo>
                        <a:pt x="508092" y="290158"/>
                        <a:pt x="503501" y="281909"/>
                        <a:pt x="509245" y="275775"/>
                      </a:cubicBezTo>
                      <a:cubicBezTo>
                        <a:pt x="514312" y="270365"/>
                        <a:pt x="521446" y="270498"/>
                        <a:pt x="528714" y="269536"/>
                      </a:cubicBezTo>
                      <a:cubicBezTo>
                        <a:pt x="546221" y="267193"/>
                        <a:pt x="565509" y="264079"/>
                        <a:pt x="583168" y="265488"/>
                      </a:cubicBezTo>
                      <a:cubicBezTo>
                        <a:pt x="592588" y="266241"/>
                        <a:pt x="602294" y="267803"/>
                        <a:pt x="611762" y="267908"/>
                      </a:cubicBezTo>
                      <a:cubicBezTo>
                        <a:pt x="618620" y="267984"/>
                        <a:pt x="629774" y="267908"/>
                        <a:pt x="636041" y="265345"/>
                      </a:cubicBezTo>
                      <a:cubicBezTo>
                        <a:pt x="632203" y="259430"/>
                        <a:pt x="619487" y="257373"/>
                        <a:pt x="613220" y="255658"/>
                      </a:cubicBezTo>
                      <a:cubicBezTo>
                        <a:pt x="605361" y="253506"/>
                        <a:pt x="598189" y="252858"/>
                        <a:pt x="590093" y="253811"/>
                      </a:cubicBezTo>
                      <a:cubicBezTo>
                        <a:pt x="574072" y="255706"/>
                        <a:pt x="558756" y="255830"/>
                        <a:pt x="542906" y="255592"/>
                      </a:cubicBezTo>
                      <a:cubicBezTo>
                        <a:pt x="534000" y="255458"/>
                        <a:pt x="523284" y="258716"/>
                        <a:pt x="517322" y="251191"/>
                      </a:cubicBezTo>
                      <a:cubicBezTo>
                        <a:pt x="510073" y="242038"/>
                        <a:pt x="522284" y="240752"/>
                        <a:pt x="530209" y="238961"/>
                      </a:cubicBezTo>
                      <a:cubicBezTo>
                        <a:pt x="538724" y="237028"/>
                        <a:pt x="547659" y="236389"/>
                        <a:pt x="556260" y="234856"/>
                      </a:cubicBezTo>
                      <a:cubicBezTo>
                        <a:pt x="561842" y="233856"/>
                        <a:pt x="574643" y="233779"/>
                        <a:pt x="578596" y="230941"/>
                      </a:cubicBezTo>
                      <a:cubicBezTo>
                        <a:pt x="577967" y="230712"/>
                        <a:pt x="577329" y="230484"/>
                        <a:pt x="576701" y="230246"/>
                      </a:cubicBezTo>
                      <a:cubicBezTo>
                        <a:pt x="581911" y="226398"/>
                        <a:pt x="588626" y="230303"/>
                        <a:pt x="594236" y="228017"/>
                      </a:cubicBezTo>
                      <a:cubicBezTo>
                        <a:pt x="587311" y="222816"/>
                        <a:pt x="570300" y="228998"/>
                        <a:pt x="562080" y="229589"/>
                      </a:cubicBezTo>
                      <a:cubicBezTo>
                        <a:pt x="554498" y="230131"/>
                        <a:pt x="538763" y="233922"/>
                        <a:pt x="532314" y="229427"/>
                      </a:cubicBezTo>
                      <a:cubicBezTo>
                        <a:pt x="536448" y="225645"/>
                        <a:pt x="543639" y="225502"/>
                        <a:pt x="548716" y="222807"/>
                      </a:cubicBezTo>
                      <a:cubicBezTo>
                        <a:pt x="545297" y="222664"/>
                        <a:pt x="528399" y="225817"/>
                        <a:pt x="526294" y="221940"/>
                      </a:cubicBezTo>
                      <a:cubicBezTo>
                        <a:pt x="523799" y="217358"/>
                        <a:pt x="534924" y="212243"/>
                        <a:pt x="538048" y="210710"/>
                      </a:cubicBezTo>
                      <a:cubicBezTo>
                        <a:pt x="543277" y="208157"/>
                        <a:pt x="555403" y="206595"/>
                        <a:pt x="558460" y="202280"/>
                      </a:cubicBezTo>
                      <a:cubicBezTo>
                        <a:pt x="558508" y="202214"/>
                        <a:pt x="557327" y="199232"/>
                        <a:pt x="558155" y="197889"/>
                      </a:cubicBezTo>
                      <a:cubicBezTo>
                        <a:pt x="559718" y="195356"/>
                        <a:pt x="566442" y="193755"/>
                        <a:pt x="568909" y="192841"/>
                      </a:cubicBezTo>
                      <a:cubicBezTo>
                        <a:pt x="584111" y="187136"/>
                        <a:pt x="599465" y="182649"/>
                        <a:pt x="615239" y="178925"/>
                      </a:cubicBezTo>
                      <a:cubicBezTo>
                        <a:pt x="623668" y="176934"/>
                        <a:pt x="632289" y="175648"/>
                        <a:pt x="640775" y="173915"/>
                      </a:cubicBezTo>
                      <a:cubicBezTo>
                        <a:pt x="648024" y="172429"/>
                        <a:pt x="657139" y="168486"/>
                        <a:pt x="664483" y="168848"/>
                      </a:cubicBezTo>
                      <a:cubicBezTo>
                        <a:pt x="674846" y="169352"/>
                        <a:pt x="669579" y="176353"/>
                        <a:pt x="664826" y="180992"/>
                      </a:cubicBezTo>
                      <a:cubicBezTo>
                        <a:pt x="658692" y="186993"/>
                        <a:pt x="650329" y="188783"/>
                        <a:pt x="643395" y="193393"/>
                      </a:cubicBezTo>
                      <a:lnTo>
                        <a:pt x="643395" y="193393"/>
                      </a:lnTo>
                      <a:close/>
                      <a:moveTo>
                        <a:pt x="301704" y="283567"/>
                      </a:moveTo>
                      <a:cubicBezTo>
                        <a:pt x="302981" y="289748"/>
                        <a:pt x="305562" y="294787"/>
                        <a:pt x="312515" y="295502"/>
                      </a:cubicBezTo>
                      <a:cubicBezTo>
                        <a:pt x="315239" y="295778"/>
                        <a:pt x="319602" y="295054"/>
                        <a:pt x="321754" y="293349"/>
                      </a:cubicBezTo>
                      <a:cubicBezTo>
                        <a:pt x="324240" y="291387"/>
                        <a:pt x="323412" y="289148"/>
                        <a:pt x="324964" y="287320"/>
                      </a:cubicBezTo>
                      <a:cubicBezTo>
                        <a:pt x="330279" y="281109"/>
                        <a:pt x="341490" y="278642"/>
                        <a:pt x="349167" y="275385"/>
                      </a:cubicBezTo>
                      <a:cubicBezTo>
                        <a:pt x="347967" y="275175"/>
                        <a:pt x="346462" y="274413"/>
                        <a:pt x="345653" y="274232"/>
                      </a:cubicBezTo>
                      <a:cubicBezTo>
                        <a:pt x="348396" y="273337"/>
                        <a:pt x="359521" y="268698"/>
                        <a:pt x="359512" y="271975"/>
                      </a:cubicBezTo>
                      <a:cubicBezTo>
                        <a:pt x="359512" y="274861"/>
                        <a:pt x="342614" y="282833"/>
                        <a:pt x="353158" y="284843"/>
                      </a:cubicBezTo>
                      <a:cubicBezTo>
                        <a:pt x="351158" y="286424"/>
                        <a:pt x="335728" y="291901"/>
                        <a:pt x="336766" y="294597"/>
                      </a:cubicBezTo>
                      <a:cubicBezTo>
                        <a:pt x="337680" y="296959"/>
                        <a:pt x="355501" y="294454"/>
                        <a:pt x="357483" y="293816"/>
                      </a:cubicBezTo>
                      <a:cubicBezTo>
                        <a:pt x="365255" y="291282"/>
                        <a:pt x="370180" y="286215"/>
                        <a:pt x="377190" y="282643"/>
                      </a:cubicBezTo>
                      <a:cubicBezTo>
                        <a:pt x="383496" y="279433"/>
                        <a:pt x="392592" y="280728"/>
                        <a:pt x="399621" y="280909"/>
                      </a:cubicBezTo>
                      <a:cubicBezTo>
                        <a:pt x="404479" y="281033"/>
                        <a:pt x="418500" y="281671"/>
                        <a:pt x="421072" y="287139"/>
                      </a:cubicBezTo>
                      <a:cubicBezTo>
                        <a:pt x="423053" y="291349"/>
                        <a:pt x="411223" y="300064"/>
                        <a:pt x="407451" y="303903"/>
                      </a:cubicBezTo>
                      <a:cubicBezTo>
                        <a:pt x="396307" y="315237"/>
                        <a:pt x="385182" y="326591"/>
                        <a:pt x="374085" y="337983"/>
                      </a:cubicBezTo>
                      <a:cubicBezTo>
                        <a:pt x="406832" y="363824"/>
                        <a:pt x="440074" y="389913"/>
                        <a:pt x="474793" y="413078"/>
                      </a:cubicBezTo>
                      <a:cubicBezTo>
                        <a:pt x="484432" y="419507"/>
                        <a:pt x="499024" y="416831"/>
                        <a:pt x="510569" y="416879"/>
                      </a:cubicBezTo>
                      <a:cubicBezTo>
                        <a:pt x="520208" y="416926"/>
                        <a:pt x="520627" y="416764"/>
                        <a:pt x="524789" y="425041"/>
                      </a:cubicBezTo>
                      <a:cubicBezTo>
                        <a:pt x="528323" y="432080"/>
                        <a:pt x="529866" y="437081"/>
                        <a:pt x="537877" y="439281"/>
                      </a:cubicBezTo>
                      <a:cubicBezTo>
                        <a:pt x="558727" y="445006"/>
                        <a:pt x="583111" y="444930"/>
                        <a:pt x="604609" y="447540"/>
                      </a:cubicBezTo>
                      <a:cubicBezTo>
                        <a:pt x="630317" y="450664"/>
                        <a:pt x="656015" y="453769"/>
                        <a:pt x="681723" y="456884"/>
                      </a:cubicBezTo>
                      <a:cubicBezTo>
                        <a:pt x="656406" y="492526"/>
                        <a:pt x="626745" y="525778"/>
                        <a:pt x="599913" y="560344"/>
                      </a:cubicBezTo>
                      <a:cubicBezTo>
                        <a:pt x="593436" y="568678"/>
                        <a:pt x="587426" y="578994"/>
                        <a:pt x="579872" y="586309"/>
                      </a:cubicBezTo>
                      <a:cubicBezTo>
                        <a:pt x="574881" y="591138"/>
                        <a:pt x="572757" y="590005"/>
                        <a:pt x="565185" y="590015"/>
                      </a:cubicBezTo>
                      <a:cubicBezTo>
                        <a:pt x="558832" y="590024"/>
                        <a:pt x="552479" y="590053"/>
                        <a:pt x="546116" y="590062"/>
                      </a:cubicBezTo>
                      <a:cubicBezTo>
                        <a:pt x="523323" y="590091"/>
                        <a:pt x="500529" y="590024"/>
                        <a:pt x="477736" y="590043"/>
                      </a:cubicBezTo>
                      <a:cubicBezTo>
                        <a:pt x="386715" y="590129"/>
                        <a:pt x="295694" y="590053"/>
                        <a:pt x="204673" y="590043"/>
                      </a:cubicBezTo>
                      <a:cubicBezTo>
                        <a:pt x="179537" y="590043"/>
                        <a:pt x="154410" y="590043"/>
                        <a:pt x="129273" y="590043"/>
                      </a:cubicBezTo>
                      <a:cubicBezTo>
                        <a:pt x="116853" y="590043"/>
                        <a:pt x="104442" y="590053"/>
                        <a:pt x="92021" y="590043"/>
                      </a:cubicBezTo>
                      <a:cubicBezTo>
                        <a:pt x="81801" y="590034"/>
                        <a:pt x="66665" y="592301"/>
                        <a:pt x="58293" y="588614"/>
                      </a:cubicBezTo>
                      <a:cubicBezTo>
                        <a:pt x="62322" y="586309"/>
                        <a:pt x="62484" y="578927"/>
                        <a:pt x="65342" y="575155"/>
                      </a:cubicBezTo>
                      <a:cubicBezTo>
                        <a:pt x="64341" y="574936"/>
                        <a:pt x="63341" y="574717"/>
                        <a:pt x="62341" y="574498"/>
                      </a:cubicBezTo>
                      <a:cubicBezTo>
                        <a:pt x="62855" y="566050"/>
                        <a:pt x="69523" y="567612"/>
                        <a:pt x="71818" y="560049"/>
                      </a:cubicBezTo>
                      <a:cubicBezTo>
                        <a:pt x="66694" y="558668"/>
                        <a:pt x="66599" y="561363"/>
                        <a:pt x="62674" y="562459"/>
                      </a:cubicBezTo>
                      <a:cubicBezTo>
                        <a:pt x="59274" y="563411"/>
                        <a:pt x="52740" y="565030"/>
                        <a:pt x="49016" y="565107"/>
                      </a:cubicBezTo>
                      <a:cubicBezTo>
                        <a:pt x="45168" y="565192"/>
                        <a:pt x="41948" y="562201"/>
                        <a:pt x="38633" y="562135"/>
                      </a:cubicBezTo>
                      <a:cubicBezTo>
                        <a:pt x="36252" y="562087"/>
                        <a:pt x="32718" y="566935"/>
                        <a:pt x="33271" y="562859"/>
                      </a:cubicBezTo>
                      <a:cubicBezTo>
                        <a:pt x="26603" y="563297"/>
                        <a:pt x="20460" y="566583"/>
                        <a:pt x="12973" y="565812"/>
                      </a:cubicBezTo>
                      <a:cubicBezTo>
                        <a:pt x="14345" y="562335"/>
                        <a:pt x="18155" y="560011"/>
                        <a:pt x="19488" y="556553"/>
                      </a:cubicBezTo>
                      <a:cubicBezTo>
                        <a:pt x="18688" y="556591"/>
                        <a:pt x="16907" y="556325"/>
                        <a:pt x="16688" y="556334"/>
                      </a:cubicBezTo>
                      <a:cubicBezTo>
                        <a:pt x="19602" y="554820"/>
                        <a:pt x="29670" y="547314"/>
                        <a:pt x="26499" y="542980"/>
                      </a:cubicBezTo>
                      <a:cubicBezTo>
                        <a:pt x="25270" y="541304"/>
                        <a:pt x="20202" y="542523"/>
                        <a:pt x="18288" y="540875"/>
                      </a:cubicBezTo>
                      <a:cubicBezTo>
                        <a:pt x="15116" y="538151"/>
                        <a:pt x="17440" y="536122"/>
                        <a:pt x="17154" y="533465"/>
                      </a:cubicBezTo>
                      <a:cubicBezTo>
                        <a:pt x="16954" y="531541"/>
                        <a:pt x="15773" y="524111"/>
                        <a:pt x="13364" y="523282"/>
                      </a:cubicBezTo>
                      <a:cubicBezTo>
                        <a:pt x="12754" y="523073"/>
                        <a:pt x="7058" y="524159"/>
                        <a:pt x="7210" y="524159"/>
                      </a:cubicBezTo>
                      <a:cubicBezTo>
                        <a:pt x="6734" y="524140"/>
                        <a:pt x="1514" y="522920"/>
                        <a:pt x="0" y="522244"/>
                      </a:cubicBezTo>
                      <a:cubicBezTo>
                        <a:pt x="2353" y="520596"/>
                        <a:pt x="3715" y="518063"/>
                        <a:pt x="5905" y="516101"/>
                      </a:cubicBezTo>
                      <a:cubicBezTo>
                        <a:pt x="6715" y="515367"/>
                        <a:pt x="9382" y="513462"/>
                        <a:pt x="9801" y="512700"/>
                      </a:cubicBezTo>
                      <a:cubicBezTo>
                        <a:pt x="9877" y="512567"/>
                        <a:pt x="11973" y="512233"/>
                        <a:pt x="12135" y="511605"/>
                      </a:cubicBezTo>
                      <a:cubicBezTo>
                        <a:pt x="12611" y="509795"/>
                        <a:pt x="9439" y="510319"/>
                        <a:pt x="9430" y="509043"/>
                      </a:cubicBezTo>
                      <a:cubicBezTo>
                        <a:pt x="9392" y="501451"/>
                        <a:pt x="12868" y="499222"/>
                        <a:pt x="20422" y="493698"/>
                      </a:cubicBezTo>
                      <a:cubicBezTo>
                        <a:pt x="19393" y="493736"/>
                        <a:pt x="17726" y="492783"/>
                        <a:pt x="16535" y="492659"/>
                      </a:cubicBezTo>
                      <a:cubicBezTo>
                        <a:pt x="18212" y="490345"/>
                        <a:pt x="17726" y="488154"/>
                        <a:pt x="15430" y="486840"/>
                      </a:cubicBezTo>
                      <a:cubicBezTo>
                        <a:pt x="19145" y="484154"/>
                        <a:pt x="26527" y="483954"/>
                        <a:pt x="29166" y="479686"/>
                      </a:cubicBezTo>
                      <a:cubicBezTo>
                        <a:pt x="30575" y="477410"/>
                        <a:pt x="29175" y="475686"/>
                        <a:pt x="29356" y="473657"/>
                      </a:cubicBezTo>
                      <a:cubicBezTo>
                        <a:pt x="28165" y="473895"/>
                        <a:pt x="26108" y="473638"/>
                        <a:pt x="25098" y="473943"/>
                      </a:cubicBezTo>
                      <a:cubicBezTo>
                        <a:pt x="27013" y="471685"/>
                        <a:pt x="30623" y="472343"/>
                        <a:pt x="32318" y="470104"/>
                      </a:cubicBezTo>
                      <a:cubicBezTo>
                        <a:pt x="28785" y="470219"/>
                        <a:pt x="24955" y="465666"/>
                        <a:pt x="24698" y="463103"/>
                      </a:cubicBezTo>
                      <a:cubicBezTo>
                        <a:pt x="24365" y="459808"/>
                        <a:pt x="26365" y="459874"/>
                        <a:pt x="27699" y="456836"/>
                      </a:cubicBezTo>
                      <a:cubicBezTo>
                        <a:pt x="32747" y="445368"/>
                        <a:pt x="20079" y="453159"/>
                        <a:pt x="13602" y="451835"/>
                      </a:cubicBezTo>
                      <a:cubicBezTo>
                        <a:pt x="16831" y="449025"/>
                        <a:pt x="18640" y="448921"/>
                        <a:pt x="18679" y="446378"/>
                      </a:cubicBezTo>
                      <a:cubicBezTo>
                        <a:pt x="18745" y="441948"/>
                        <a:pt x="13411" y="439148"/>
                        <a:pt x="9125" y="439034"/>
                      </a:cubicBezTo>
                      <a:cubicBezTo>
                        <a:pt x="12649" y="435509"/>
                        <a:pt x="20517" y="434005"/>
                        <a:pt x="23031" y="430185"/>
                      </a:cubicBezTo>
                      <a:cubicBezTo>
                        <a:pt x="22241" y="429985"/>
                        <a:pt x="21441" y="429785"/>
                        <a:pt x="20650" y="429585"/>
                      </a:cubicBezTo>
                      <a:cubicBezTo>
                        <a:pt x="21222" y="428994"/>
                        <a:pt x="21774" y="427880"/>
                        <a:pt x="22612" y="427204"/>
                      </a:cubicBezTo>
                      <a:cubicBezTo>
                        <a:pt x="21631" y="427318"/>
                        <a:pt x="19307" y="426832"/>
                        <a:pt x="17983" y="427108"/>
                      </a:cubicBezTo>
                      <a:cubicBezTo>
                        <a:pt x="22346" y="421393"/>
                        <a:pt x="35262" y="420136"/>
                        <a:pt x="41329" y="415383"/>
                      </a:cubicBezTo>
                      <a:cubicBezTo>
                        <a:pt x="42996" y="414078"/>
                        <a:pt x="44682" y="414069"/>
                        <a:pt x="45606" y="412097"/>
                      </a:cubicBezTo>
                      <a:cubicBezTo>
                        <a:pt x="46358" y="410516"/>
                        <a:pt x="44872" y="407535"/>
                        <a:pt x="45282" y="406744"/>
                      </a:cubicBezTo>
                      <a:cubicBezTo>
                        <a:pt x="46663" y="404115"/>
                        <a:pt x="51768" y="403982"/>
                        <a:pt x="53683" y="401267"/>
                      </a:cubicBezTo>
                      <a:cubicBezTo>
                        <a:pt x="47787" y="400057"/>
                        <a:pt x="44386" y="403629"/>
                        <a:pt x="38329" y="403686"/>
                      </a:cubicBezTo>
                      <a:cubicBezTo>
                        <a:pt x="39500" y="402963"/>
                        <a:pt x="41272" y="400915"/>
                        <a:pt x="42291" y="400162"/>
                      </a:cubicBezTo>
                      <a:cubicBezTo>
                        <a:pt x="36900" y="400153"/>
                        <a:pt x="30251" y="403839"/>
                        <a:pt x="25336" y="401858"/>
                      </a:cubicBezTo>
                      <a:cubicBezTo>
                        <a:pt x="28089" y="397171"/>
                        <a:pt x="33357" y="396476"/>
                        <a:pt x="36614" y="392085"/>
                      </a:cubicBezTo>
                      <a:cubicBezTo>
                        <a:pt x="35500" y="392028"/>
                        <a:pt x="34071" y="391323"/>
                        <a:pt x="32699" y="391475"/>
                      </a:cubicBezTo>
                      <a:cubicBezTo>
                        <a:pt x="36900" y="387208"/>
                        <a:pt x="41729" y="385913"/>
                        <a:pt x="45168" y="381531"/>
                      </a:cubicBezTo>
                      <a:cubicBezTo>
                        <a:pt x="45558" y="381036"/>
                        <a:pt x="48978" y="376826"/>
                        <a:pt x="49311" y="376064"/>
                      </a:cubicBezTo>
                      <a:cubicBezTo>
                        <a:pt x="50597" y="373102"/>
                        <a:pt x="48482" y="371854"/>
                        <a:pt x="50521" y="369425"/>
                      </a:cubicBezTo>
                      <a:cubicBezTo>
                        <a:pt x="36014" y="369425"/>
                        <a:pt x="18726" y="371844"/>
                        <a:pt x="4591" y="369092"/>
                      </a:cubicBezTo>
                      <a:cubicBezTo>
                        <a:pt x="8363" y="361529"/>
                        <a:pt x="19031" y="359367"/>
                        <a:pt x="23146" y="351404"/>
                      </a:cubicBezTo>
                      <a:cubicBezTo>
                        <a:pt x="24060" y="349642"/>
                        <a:pt x="22012" y="349042"/>
                        <a:pt x="23212" y="346746"/>
                      </a:cubicBezTo>
                      <a:cubicBezTo>
                        <a:pt x="24641" y="344031"/>
                        <a:pt x="28537" y="341812"/>
                        <a:pt x="30775" y="339783"/>
                      </a:cubicBezTo>
                      <a:cubicBezTo>
                        <a:pt x="36014" y="335030"/>
                        <a:pt x="41262" y="330287"/>
                        <a:pt x="46511" y="325543"/>
                      </a:cubicBezTo>
                      <a:cubicBezTo>
                        <a:pt x="50425" y="322000"/>
                        <a:pt x="58845" y="311646"/>
                        <a:pt x="63713" y="310056"/>
                      </a:cubicBezTo>
                      <a:cubicBezTo>
                        <a:pt x="71399" y="307541"/>
                        <a:pt x="74981" y="316752"/>
                        <a:pt x="80648" y="316218"/>
                      </a:cubicBezTo>
                      <a:cubicBezTo>
                        <a:pt x="90811" y="315266"/>
                        <a:pt x="76733" y="308227"/>
                        <a:pt x="76810" y="309027"/>
                      </a:cubicBezTo>
                      <a:cubicBezTo>
                        <a:pt x="76448" y="305341"/>
                        <a:pt x="85115" y="306551"/>
                        <a:pt x="87106" y="305712"/>
                      </a:cubicBezTo>
                      <a:cubicBezTo>
                        <a:pt x="77133" y="304274"/>
                        <a:pt x="90840" y="297854"/>
                        <a:pt x="94536" y="296759"/>
                      </a:cubicBezTo>
                      <a:cubicBezTo>
                        <a:pt x="96307" y="296235"/>
                        <a:pt x="101194" y="297426"/>
                        <a:pt x="102918" y="296864"/>
                      </a:cubicBezTo>
                      <a:cubicBezTo>
                        <a:pt x="105889" y="295892"/>
                        <a:pt x="107794" y="293177"/>
                        <a:pt x="110785" y="292111"/>
                      </a:cubicBezTo>
                      <a:cubicBezTo>
                        <a:pt x="115272" y="290520"/>
                        <a:pt x="120148" y="292806"/>
                        <a:pt x="124396" y="291730"/>
                      </a:cubicBezTo>
                      <a:cubicBezTo>
                        <a:pt x="126854" y="291110"/>
                        <a:pt x="126844" y="289787"/>
                        <a:pt x="129064" y="288539"/>
                      </a:cubicBezTo>
                      <a:cubicBezTo>
                        <a:pt x="132045" y="286862"/>
                        <a:pt x="133941" y="283976"/>
                        <a:pt x="137798" y="285481"/>
                      </a:cubicBezTo>
                      <a:cubicBezTo>
                        <a:pt x="139151" y="286005"/>
                        <a:pt x="135388" y="289253"/>
                        <a:pt x="140198" y="289920"/>
                      </a:cubicBezTo>
                      <a:cubicBezTo>
                        <a:pt x="136169" y="293968"/>
                        <a:pt x="129607" y="295273"/>
                        <a:pt x="124863" y="298588"/>
                      </a:cubicBezTo>
                      <a:cubicBezTo>
                        <a:pt x="134141" y="296406"/>
                        <a:pt x="144390" y="295359"/>
                        <a:pt x="153372" y="292596"/>
                      </a:cubicBezTo>
                      <a:cubicBezTo>
                        <a:pt x="157791" y="291234"/>
                        <a:pt x="161363" y="287453"/>
                        <a:pt x="165773" y="286386"/>
                      </a:cubicBezTo>
                      <a:cubicBezTo>
                        <a:pt x="169450" y="285500"/>
                        <a:pt x="173488" y="287129"/>
                        <a:pt x="176803" y="285319"/>
                      </a:cubicBezTo>
                      <a:cubicBezTo>
                        <a:pt x="175955" y="285014"/>
                        <a:pt x="175250" y="284824"/>
                        <a:pt x="174327" y="284557"/>
                      </a:cubicBezTo>
                      <a:cubicBezTo>
                        <a:pt x="179365" y="281595"/>
                        <a:pt x="183604" y="284557"/>
                        <a:pt x="189528" y="282862"/>
                      </a:cubicBezTo>
                      <a:cubicBezTo>
                        <a:pt x="196901" y="280738"/>
                        <a:pt x="203930" y="279423"/>
                        <a:pt x="210798" y="278090"/>
                      </a:cubicBezTo>
                      <a:cubicBezTo>
                        <a:pt x="218484" y="276585"/>
                        <a:pt x="224790" y="270251"/>
                        <a:pt x="233267" y="270527"/>
                      </a:cubicBezTo>
                      <a:cubicBezTo>
                        <a:pt x="236115" y="270613"/>
                        <a:pt x="237954" y="272194"/>
                        <a:pt x="241201" y="272070"/>
                      </a:cubicBezTo>
                      <a:cubicBezTo>
                        <a:pt x="244031" y="271965"/>
                        <a:pt x="249336" y="268374"/>
                        <a:pt x="251355" y="268984"/>
                      </a:cubicBezTo>
                      <a:cubicBezTo>
                        <a:pt x="257670" y="270898"/>
                        <a:pt x="240049" y="276880"/>
                        <a:pt x="238811" y="277223"/>
                      </a:cubicBezTo>
                      <a:cubicBezTo>
                        <a:pt x="230124" y="279661"/>
                        <a:pt x="221599" y="282557"/>
                        <a:pt x="212960" y="285053"/>
                      </a:cubicBezTo>
                      <a:cubicBezTo>
                        <a:pt x="205568" y="287196"/>
                        <a:pt x="197682" y="287748"/>
                        <a:pt x="190043" y="288653"/>
                      </a:cubicBezTo>
                      <a:cubicBezTo>
                        <a:pt x="181737" y="289634"/>
                        <a:pt x="176184" y="293177"/>
                        <a:pt x="168411" y="295959"/>
                      </a:cubicBezTo>
                      <a:cubicBezTo>
                        <a:pt x="159420" y="299188"/>
                        <a:pt x="150866" y="301083"/>
                        <a:pt x="141923" y="304931"/>
                      </a:cubicBezTo>
                      <a:cubicBezTo>
                        <a:pt x="138284" y="306503"/>
                        <a:pt x="132845" y="307541"/>
                        <a:pt x="129740" y="309951"/>
                      </a:cubicBezTo>
                      <a:cubicBezTo>
                        <a:pt x="127359" y="311799"/>
                        <a:pt x="123606" y="315266"/>
                        <a:pt x="129673" y="314532"/>
                      </a:cubicBezTo>
                      <a:cubicBezTo>
                        <a:pt x="125892" y="309103"/>
                        <a:pt x="142818" y="313342"/>
                        <a:pt x="147333" y="310018"/>
                      </a:cubicBezTo>
                      <a:cubicBezTo>
                        <a:pt x="146247" y="309960"/>
                        <a:pt x="145151" y="309894"/>
                        <a:pt x="144066" y="309827"/>
                      </a:cubicBezTo>
                      <a:cubicBezTo>
                        <a:pt x="147495" y="300950"/>
                        <a:pt x="163192" y="300864"/>
                        <a:pt x="171002" y="298283"/>
                      </a:cubicBezTo>
                      <a:cubicBezTo>
                        <a:pt x="174555" y="297111"/>
                        <a:pt x="178784" y="294311"/>
                        <a:pt x="180985" y="293425"/>
                      </a:cubicBezTo>
                      <a:cubicBezTo>
                        <a:pt x="183099" y="292577"/>
                        <a:pt x="195996" y="291206"/>
                        <a:pt x="189319" y="295178"/>
                      </a:cubicBezTo>
                      <a:cubicBezTo>
                        <a:pt x="199196" y="291377"/>
                        <a:pt x="198634" y="292358"/>
                        <a:pt x="191738" y="299969"/>
                      </a:cubicBezTo>
                      <a:cubicBezTo>
                        <a:pt x="213169" y="285443"/>
                        <a:pt x="237344" y="282957"/>
                        <a:pt x="261328" y="276204"/>
                      </a:cubicBezTo>
                      <a:cubicBezTo>
                        <a:pt x="258461" y="278976"/>
                        <a:pt x="249707" y="279128"/>
                        <a:pt x="248879" y="282919"/>
                      </a:cubicBezTo>
                      <a:cubicBezTo>
                        <a:pt x="248126" y="286338"/>
                        <a:pt x="258366" y="281643"/>
                        <a:pt x="260261" y="280919"/>
                      </a:cubicBezTo>
                      <a:cubicBezTo>
                        <a:pt x="266729" y="278461"/>
                        <a:pt x="271986" y="275223"/>
                        <a:pt x="278035" y="272232"/>
                      </a:cubicBezTo>
                      <a:cubicBezTo>
                        <a:pt x="283836" y="269355"/>
                        <a:pt x="290674" y="269613"/>
                        <a:pt x="296504" y="266850"/>
                      </a:cubicBezTo>
                      <a:cubicBezTo>
                        <a:pt x="294437" y="266907"/>
                        <a:pt x="292503" y="265545"/>
                        <a:pt x="290941" y="265117"/>
                      </a:cubicBezTo>
                      <a:cubicBezTo>
                        <a:pt x="291675" y="264755"/>
                        <a:pt x="292608" y="264002"/>
                        <a:pt x="293475" y="263612"/>
                      </a:cubicBezTo>
                      <a:cubicBezTo>
                        <a:pt x="289731" y="261183"/>
                        <a:pt x="295980" y="257201"/>
                        <a:pt x="299133" y="257201"/>
                      </a:cubicBezTo>
                      <a:cubicBezTo>
                        <a:pt x="302609" y="257201"/>
                        <a:pt x="304629" y="259421"/>
                        <a:pt x="306067" y="262707"/>
                      </a:cubicBezTo>
                      <a:cubicBezTo>
                        <a:pt x="309553" y="270746"/>
                        <a:pt x="302038" y="276061"/>
                        <a:pt x="301704" y="283567"/>
                      </a:cubicBezTo>
                      <a:lnTo>
                        <a:pt x="301704" y="283567"/>
                      </a:lnTo>
                      <a:close/>
                    </a:path>
                  </a:pathLst>
                </a:custGeom>
                <a:solidFill>
                  <a:srgbClr val="D6D6D2"/>
                </a:solidFill>
                <a:ln w="9525" cap="flat">
                  <a:noFill/>
                  <a:prstDash val="solid"/>
                  <a:miter/>
                </a:ln>
              </p:spPr>
              <p:txBody>
                <a:bodyPr rtlCol="0" anchor="ctr"/>
                <a:lstStyle/>
                <a:p>
                  <a:endParaRPr lang="en-US"/>
                </a:p>
              </p:txBody>
            </p:sp>
            <p:sp>
              <p:nvSpPr>
                <p:cNvPr id="470" name="Freeform: Shape 469">
                  <a:extLst>
                    <a:ext uri="{FF2B5EF4-FFF2-40B4-BE49-F238E27FC236}">
                      <a16:creationId xmlns:a16="http://schemas.microsoft.com/office/drawing/2014/main" id="{E86FE43C-8557-4DAE-8C13-701A4D03FE4D}"/>
                    </a:ext>
                  </a:extLst>
                </p:cNvPr>
                <p:cNvSpPr/>
                <p:nvPr/>
              </p:nvSpPr>
              <p:spPr>
                <a:xfrm>
                  <a:off x="2524543" y="2946551"/>
                  <a:ext cx="271814" cy="126840"/>
                </a:xfrm>
                <a:custGeom>
                  <a:avLst/>
                  <a:gdLst>
                    <a:gd name="connsiteX0" fmla="*/ 6925 w 271814"/>
                    <a:gd name="connsiteY0" fmla="*/ 126812 h 126840"/>
                    <a:gd name="connsiteX1" fmla="*/ 0 w 271814"/>
                    <a:gd name="connsiteY1" fmla="*/ 126812 h 126840"/>
                    <a:gd name="connsiteX2" fmla="*/ 73076 w 271814"/>
                    <a:gd name="connsiteY2" fmla="*/ 15645 h 126840"/>
                    <a:gd name="connsiteX3" fmla="*/ 83191 w 271814"/>
                    <a:gd name="connsiteY3" fmla="*/ 825 h 126840"/>
                    <a:gd name="connsiteX4" fmla="*/ 99946 w 271814"/>
                    <a:gd name="connsiteY4" fmla="*/ 796 h 126840"/>
                    <a:gd name="connsiteX5" fmla="*/ 132293 w 271814"/>
                    <a:gd name="connsiteY5" fmla="*/ 796 h 126840"/>
                    <a:gd name="connsiteX6" fmla="*/ 198187 w 271814"/>
                    <a:gd name="connsiteY6" fmla="*/ 796 h 126840"/>
                    <a:gd name="connsiteX7" fmla="*/ 271815 w 271814"/>
                    <a:gd name="connsiteY7" fmla="*/ 796 h 126840"/>
                    <a:gd name="connsiteX8" fmla="*/ 207112 w 271814"/>
                    <a:gd name="connsiteY8" fmla="*/ 105199 h 126840"/>
                    <a:gd name="connsiteX9" fmla="*/ 199273 w 271814"/>
                    <a:gd name="connsiteY9" fmla="*/ 118296 h 126840"/>
                    <a:gd name="connsiteX10" fmla="*/ 187528 w 271814"/>
                    <a:gd name="connsiteY10" fmla="*/ 126831 h 126840"/>
                    <a:gd name="connsiteX11" fmla="*/ 153905 w 271814"/>
                    <a:gd name="connsiteY11" fmla="*/ 126802 h 126840"/>
                    <a:gd name="connsiteX12" fmla="*/ 84458 w 271814"/>
                    <a:gd name="connsiteY12" fmla="*/ 126812 h 126840"/>
                    <a:gd name="connsiteX13" fmla="*/ 6925 w 271814"/>
                    <a:gd name="connsiteY13" fmla="*/ 126812 h 126840"/>
                    <a:gd name="connsiteX14" fmla="*/ 6925 w 271814"/>
                    <a:gd name="connsiteY14" fmla="*/ 126812 h 12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1814" h="126840">
                      <a:moveTo>
                        <a:pt x="6925" y="126812"/>
                      </a:moveTo>
                      <a:cubicBezTo>
                        <a:pt x="4620" y="126812"/>
                        <a:pt x="2315" y="126812"/>
                        <a:pt x="0" y="126812"/>
                      </a:cubicBezTo>
                      <a:cubicBezTo>
                        <a:pt x="23774" y="89378"/>
                        <a:pt x="48092" y="52269"/>
                        <a:pt x="73076" y="15645"/>
                      </a:cubicBezTo>
                      <a:cubicBezTo>
                        <a:pt x="75305" y="12378"/>
                        <a:pt x="79820" y="2491"/>
                        <a:pt x="83191" y="825"/>
                      </a:cubicBezTo>
                      <a:cubicBezTo>
                        <a:pt x="86925" y="-1014"/>
                        <a:pt x="95650" y="796"/>
                        <a:pt x="99946" y="796"/>
                      </a:cubicBezTo>
                      <a:cubicBezTo>
                        <a:pt x="110728" y="786"/>
                        <a:pt x="121510" y="796"/>
                        <a:pt x="132293" y="796"/>
                      </a:cubicBezTo>
                      <a:cubicBezTo>
                        <a:pt x="154257" y="796"/>
                        <a:pt x="176222" y="796"/>
                        <a:pt x="198187" y="796"/>
                      </a:cubicBezTo>
                      <a:cubicBezTo>
                        <a:pt x="222733" y="796"/>
                        <a:pt x="247269" y="834"/>
                        <a:pt x="271815" y="796"/>
                      </a:cubicBezTo>
                      <a:cubicBezTo>
                        <a:pt x="249860" y="35362"/>
                        <a:pt x="228248" y="70138"/>
                        <a:pt x="207112" y="105199"/>
                      </a:cubicBezTo>
                      <a:cubicBezTo>
                        <a:pt x="204483" y="109562"/>
                        <a:pt x="201854" y="113915"/>
                        <a:pt x="199273" y="118296"/>
                      </a:cubicBezTo>
                      <a:cubicBezTo>
                        <a:pt x="195243" y="125107"/>
                        <a:pt x="195624" y="126802"/>
                        <a:pt x="187528" y="126831"/>
                      </a:cubicBezTo>
                      <a:cubicBezTo>
                        <a:pt x="176327" y="126869"/>
                        <a:pt x="165106" y="126783"/>
                        <a:pt x="153905" y="126802"/>
                      </a:cubicBezTo>
                      <a:cubicBezTo>
                        <a:pt x="130759" y="126821"/>
                        <a:pt x="107613" y="126840"/>
                        <a:pt x="84458" y="126812"/>
                      </a:cubicBezTo>
                      <a:cubicBezTo>
                        <a:pt x="58617" y="126802"/>
                        <a:pt x="32766" y="126850"/>
                        <a:pt x="6925" y="126812"/>
                      </a:cubicBezTo>
                      <a:lnTo>
                        <a:pt x="6925" y="126812"/>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71" name="Freeform: Shape 470">
                  <a:extLst>
                    <a:ext uri="{FF2B5EF4-FFF2-40B4-BE49-F238E27FC236}">
                      <a16:creationId xmlns:a16="http://schemas.microsoft.com/office/drawing/2014/main" id="{371F08FC-9A02-4176-8579-39EFF0EFBEDE}"/>
                    </a:ext>
                  </a:extLst>
                </p:cNvPr>
                <p:cNvSpPr/>
                <p:nvPr/>
              </p:nvSpPr>
              <p:spPr>
                <a:xfrm>
                  <a:off x="3269948" y="3084478"/>
                  <a:ext cx="152657" cy="108349"/>
                </a:xfrm>
                <a:custGeom>
                  <a:avLst/>
                  <a:gdLst>
                    <a:gd name="connsiteX0" fmla="*/ 81670 w 152657"/>
                    <a:gd name="connsiteY0" fmla="*/ 25508 h 108349"/>
                    <a:gd name="connsiteX1" fmla="*/ 80031 w 152657"/>
                    <a:gd name="connsiteY1" fmla="*/ 29156 h 108349"/>
                    <a:gd name="connsiteX2" fmla="*/ 109073 w 152657"/>
                    <a:gd name="connsiteY2" fmla="*/ 29146 h 108349"/>
                    <a:gd name="connsiteX3" fmla="*/ 101672 w 152657"/>
                    <a:gd name="connsiteY3" fmla="*/ 45272 h 108349"/>
                    <a:gd name="connsiteX4" fmla="*/ 127761 w 152657"/>
                    <a:gd name="connsiteY4" fmla="*/ 32233 h 108349"/>
                    <a:gd name="connsiteX5" fmla="*/ 136572 w 152657"/>
                    <a:gd name="connsiteY5" fmla="*/ 32756 h 108349"/>
                    <a:gd name="connsiteX6" fmla="*/ 145792 w 152657"/>
                    <a:gd name="connsiteY6" fmla="*/ 30442 h 108349"/>
                    <a:gd name="connsiteX7" fmla="*/ 152583 w 152657"/>
                    <a:gd name="connsiteY7" fmla="*/ 33023 h 108349"/>
                    <a:gd name="connsiteX8" fmla="*/ 146963 w 152657"/>
                    <a:gd name="connsiteY8" fmla="*/ 47339 h 108349"/>
                    <a:gd name="connsiteX9" fmla="*/ 139715 w 152657"/>
                    <a:gd name="connsiteY9" fmla="*/ 39910 h 108349"/>
                    <a:gd name="connsiteX10" fmla="*/ 133200 w 152657"/>
                    <a:gd name="connsiteY10" fmla="*/ 43053 h 108349"/>
                    <a:gd name="connsiteX11" fmla="*/ 117979 w 152657"/>
                    <a:gd name="connsiteY11" fmla="*/ 54807 h 108349"/>
                    <a:gd name="connsiteX12" fmla="*/ 101615 w 152657"/>
                    <a:gd name="connsiteY12" fmla="*/ 65370 h 108349"/>
                    <a:gd name="connsiteX13" fmla="*/ 93890 w 152657"/>
                    <a:gd name="connsiteY13" fmla="*/ 69075 h 108349"/>
                    <a:gd name="connsiteX14" fmla="*/ 89909 w 152657"/>
                    <a:gd name="connsiteY14" fmla="*/ 65227 h 108349"/>
                    <a:gd name="connsiteX15" fmla="*/ 76412 w 152657"/>
                    <a:gd name="connsiteY15" fmla="*/ 77343 h 108349"/>
                    <a:gd name="connsiteX16" fmla="*/ 58362 w 152657"/>
                    <a:gd name="connsiteY16" fmla="*/ 93574 h 108349"/>
                    <a:gd name="connsiteX17" fmla="*/ 47684 w 152657"/>
                    <a:gd name="connsiteY17" fmla="*/ 100613 h 108349"/>
                    <a:gd name="connsiteX18" fmla="*/ 39779 w 152657"/>
                    <a:gd name="connsiteY18" fmla="*/ 101575 h 108349"/>
                    <a:gd name="connsiteX19" fmla="*/ 35169 w 152657"/>
                    <a:gd name="connsiteY19" fmla="*/ 105242 h 108349"/>
                    <a:gd name="connsiteX20" fmla="*/ 25529 w 152657"/>
                    <a:gd name="connsiteY20" fmla="*/ 106051 h 108349"/>
                    <a:gd name="connsiteX21" fmla="*/ 22957 w 152657"/>
                    <a:gd name="connsiteY21" fmla="*/ 104794 h 108349"/>
                    <a:gd name="connsiteX22" fmla="*/ 19852 w 152657"/>
                    <a:gd name="connsiteY22" fmla="*/ 106404 h 108349"/>
                    <a:gd name="connsiteX23" fmla="*/ 15166 w 152657"/>
                    <a:gd name="connsiteY23" fmla="*/ 108347 h 108349"/>
                    <a:gd name="connsiteX24" fmla="*/ 9051 w 152657"/>
                    <a:gd name="connsiteY24" fmla="*/ 97898 h 108349"/>
                    <a:gd name="connsiteX25" fmla="*/ 440 w 152657"/>
                    <a:gd name="connsiteY25" fmla="*/ 83439 h 108349"/>
                    <a:gd name="connsiteX26" fmla="*/ 440 w 152657"/>
                    <a:gd name="connsiteY26" fmla="*/ 76705 h 108349"/>
                    <a:gd name="connsiteX27" fmla="*/ 3469 w 152657"/>
                    <a:gd name="connsiteY27" fmla="*/ 69275 h 108349"/>
                    <a:gd name="connsiteX28" fmla="*/ 19243 w 152657"/>
                    <a:gd name="connsiteY28" fmla="*/ 60446 h 108349"/>
                    <a:gd name="connsiteX29" fmla="*/ 29844 w 152657"/>
                    <a:gd name="connsiteY29" fmla="*/ 55245 h 108349"/>
                    <a:gd name="connsiteX30" fmla="*/ 39550 w 152657"/>
                    <a:gd name="connsiteY30" fmla="*/ 45320 h 108349"/>
                    <a:gd name="connsiteX31" fmla="*/ 58419 w 152657"/>
                    <a:gd name="connsiteY31" fmla="*/ 37814 h 108349"/>
                    <a:gd name="connsiteX32" fmla="*/ 79460 w 152657"/>
                    <a:gd name="connsiteY32" fmla="*/ 17974 h 108349"/>
                    <a:gd name="connsiteX33" fmla="*/ 87451 w 152657"/>
                    <a:gd name="connsiteY33" fmla="*/ 7639 h 108349"/>
                    <a:gd name="connsiteX34" fmla="*/ 93261 w 152657"/>
                    <a:gd name="connsiteY34" fmla="*/ 0 h 108349"/>
                    <a:gd name="connsiteX35" fmla="*/ 81670 w 152657"/>
                    <a:gd name="connsiteY35" fmla="*/ 25508 h 108349"/>
                    <a:gd name="connsiteX36" fmla="*/ 81670 w 152657"/>
                    <a:gd name="connsiteY36" fmla="*/ 25508 h 108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2657" h="108349">
                      <a:moveTo>
                        <a:pt x="81670" y="25508"/>
                      </a:moveTo>
                      <a:cubicBezTo>
                        <a:pt x="80946" y="26489"/>
                        <a:pt x="80536" y="28042"/>
                        <a:pt x="80031" y="29156"/>
                      </a:cubicBezTo>
                      <a:cubicBezTo>
                        <a:pt x="89709" y="29156"/>
                        <a:pt x="99396" y="29146"/>
                        <a:pt x="109073" y="29146"/>
                      </a:cubicBezTo>
                      <a:cubicBezTo>
                        <a:pt x="106587" y="34509"/>
                        <a:pt x="104120" y="39891"/>
                        <a:pt x="101672" y="45272"/>
                      </a:cubicBezTo>
                      <a:cubicBezTo>
                        <a:pt x="110749" y="40138"/>
                        <a:pt x="119598" y="37233"/>
                        <a:pt x="127761" y="32233"/>
                      </a:cubicBezTo>
                      <a:cubicBezTo>
                        <a:pt x="127799" y="37919"/>
                        <a:pt x="134238" y="33490"/>
                        <a:pt x="136572" y="32756"/>
                      </a:cubicBezTo>
                      <a:cubicBezTo>
                        <a:pt x="139362" y="31890"/>
                        <a:pt x="142820" y="30251"/>
                        <a:pt x="145792" y="30442"/>
                      </a:cubicBezTo>
                      <a:cubicBezTo>
                        <a:pt x="148125" y="30585"/>
                        <a:pt x="149745" y="33128"/>
                        <a:pt x="152583" y="33023"/>
                      </a:cubicBezTo>
                      <a:cubicBezTo>
                        <a:pt x="152869" y="38948"/>
                        <a:pt x="152593" y="41129"/>
                        <a:pt x="146963" y="47339"/>
                      </a:cubicBezTo>
                      <a:cubicBezTo>
                        <a:pt x="144925" y="45253"/>
                        <a:pt x="142334" y="41129"/>
                        <a:pt x="139715" y="39910"/>
                      </a:cubicBezTo>
                      <a:cubicBezTo>
                        <a:pt x="135514" y="37957"/>
                        <a:pt x="136772" y="38700"/>
                        <a:pt x="133200" y="43053"/>
                      </a:cubicBezTo>
                      <a:cubicBezTo>
                        <a:pt x="128723" y="48501"/>
                        <a:pt x="124170" y="51930"/>
                        <a:pt x="117979" y="54807"/>
                      </a:cubicBezTo>
                      <a:cubicBezTo>
                        <a:pt x="111054" y="58036"/>
                        <a:pt x="107568" y="60227"/>
                        <a:pt x="101615" y="65370"/>
                      </a:cubicBezTo>
                      <a:cubicBezTo>
                        <a:pt x="99091" y="67551"/>
                        <a:pt x="97681" y="69828"/>
                        <a:pt x="93890" y="69075"/>
                      </a:cubicBezTo>
                      <a:cubicBezTo>
                        <a:pt x="91699" y="68647"/>
                        <a:pt x="91480" y="65180"/>
                        <a:pt x="89909" y="65227"/>
                      </a:cubicBezTo>
                      <a:cubicBezTo>
                        <a:pt x="86775" y="65322"/>
                        <a:pt x="78917" y="74895"/>
                        <a:pt x="76412" y="77343"/>
                      </a:cubicBezTo>
                      <a:cubicBezTo>
                        <a:pt x="70735" y="82915"/>
                        <a:pt x="63315" y="87344"/>
                        <a:pt x="58362" y="93574"/>
                      </a:cubicBezTo>
                      <a:cubicBezTo>
                        <a:pt x="54657" y="98222"/>
                        <a:pt x="53447" y="99527"/>
                        <a:pt x="47684" y="100613"/>
                      </a:cubicBezTo>
                      <a:cubicBezTo>
                        <a:pt x="46065" y="100917"/>
                        <a:pt x="40779" y="101174"/>
                        <a:pt x="39779" y="101575"/>
                      </a:cubicBezTo>
                      <a:cubicBezTo>
                        <a:pt x="37693" y="102413"/>
                        <a:pt x="37416" y="104404"/>
                        <a:pt x="35169" y="105242"/>
                      </a:cubicBezTo>
                      <a:cubicBezTo>
                        <a:pt x="32178" y="106347"/>
                        <a:pt x="28177" y="105880"/>
                        <a:pt x="25529" y="106051"/>
                      </a:cubicBezTo>
                      <a:cubicBezTo>
                        <a:pt x="24615" y="106108"/>
                        <a:pt x="24148" y="104661"/>
                        <a:pt x="22957" y="104794"/>
                      </a:cubicBezTo>
                      <a:cubicBezTo>
                        <a:pt x="21938" y="104908"/>
                        <a:pt x="20976" y="106213"/>
                        <a:pt x="19852" y="106404"/>
                      </a:cubicBezTo>
                      <a:cubicBezTo>
                        <a:pt x="18223" y="106690"/>
                        <a:pt x="16852" y="108423"/>
                        <a:pt x="15166" y="108347"/>
                      </a:cubicBezTo>
                      <a:cubicBezTo>
                        <a:pt x="9546" y="108052"/>
                        <a:pt x="6794" y="102289"/>
                        <a:pt x="9051" y="97898"/>
                      </a:cubicBezTo>
                      <a:cubicBezTo>
                        <a:pt x="1688" y="97098"/>
                        <a:pt x="859" y="89087"/>
                        <a:pt x="440" y="83439"/>
                      </a:cubicBezTo>
                      <a:cubicBezTo>
                        <a:pt x="155" y="79658"/>
                        <a:pt x="-388" y="79981"/>
                        <a:pt x="440" y="76705"/>
                      </a:cubicBezTo>
                      <a:cubicBezTo>
                        <a:pt x="1078" y="74181"/>
                        <a:pt x="3564" y="72371"/>
                        <a:pt x="3469" y="69275"/>
                      </a:cubicBezTo>
                      <a:cubicBezTo>
                        <a:pt x="10537" y="72990"/>
                        <a:pt x="15785" y="64484"/>
                        <a:pt x="19243" y="60446"/>
                      </a:cubicBezTo>
                      <a:cubicBezTo>
                        <a:pt x="20757" y="58683"/>
                        <a:pt x="31387" y="46282"/>
                        <a:pt x="29844" y="55245"/>
                      </a:cubicBezTo>
                      <a:cubicBezTo>
                        <a:pt x="35149" y="53978"/>
                        <a:pt x="35064" y="48616"/>
                        <a:pt x="39550" y="45320"/>
                      </a:cubicBezTo>
                      <a:cubicBezTo>
                        <a:pt x="46056" y="40548"/>
                        <a:pt x="51456" y="41224"/>
                        <a:pt x="58419" y="37814"/>
                      </a:cubicBezTo>
                      <a:cubicBezTo>
                        <a:pt x="68011" y="33118"/>
                        <a:pt x="72602" y="25870"/>
                        <a:pt x="79460" y="17974"/>
                      </a:cubicBezTo>
                      <a:cubicBezTo>
                        <a:pt x="82251" y="14754"/>
                        <a:pt x="85632" y="11516"/>
                        <a:pt x="87451" y="7639"/>
                      </a:cubicBezTo>
                      <a:cubicBezTo>
                        <a:pt x="89232" y="3839"/>
                        <a:pt x="87423" y="552"/>
                        <a:pt x="93261" y="0"/>
                      </a:cubicBezTo>
                      <a:cubicBezTo>
                        <a:pt x="89280" y="8477"/>
                        <a:pt x="85489" y="17002"/>
                        <a:pt x="81670" y="25508"/>
                      </a:cubicBezTo>
                      <a:lnTo>
                        <a:pt x="81670" y="25508"/>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72" name="Freeform: Shape 471">
                  <a:extLst>
                    <a:ext uri="{FF2B5EF4-FFF2-40B4-BE49-F238E27FC236}">
                      <a16:creationId xmlns:a16="http://schemas.microsoft.com/office/drawing/2014/main" id="{8DF83CB1-BB98-4820-BEFE-9E6F6B6AA6CA}"/>
                    </a:ext>
                  </a:extLst>
                </p:cNvPr>
                <p:cNvSpPr/>
                <p:nvPr/>
              </p:nvSpPr>
              <p:spPr>
                <a:xfrm>
                  <a:off x="3094870" y="2875021"/>
                  <a:ext cx="183138" cy="151988"/>
                </a:xfrm>
                <a:custGeom>
                  <a:avLst/>
                  <a:gdLst>
                    <a:gd name="connsiteX0" fmla="*/ 102224 w 183138"/>
                    <a:gd name="connsiteY0" fmla="*/ 16909 h 151988"/>
                    <a:gd name="connsiteX1" fmla="*/ 95918 w 183138"/>
                    <a:gd name="connsiteY1" fmla="*/ 23576 h 151988"/>
                    <a:gd name="connsiteX2" fmla="*/ 99481 w 183138"/>
                    <a:gd name="connsiteY2" fmla="*/ 30110 h 151988"/>
                    <a:gd name="connsiteX3" fmla="*/ 119045 w 183138"/>
                    <a:gd name="connsiteY3" fmla="*/ 35225 h 151988"/>
                    <a:gd name="connsiteX4" fmla="*/ 132208 w 183138"/>
                    <a:gd name="connsiteY4" fmla="*/ 40159 h 151988"/>
                    <a:gd name="connsiteX5" fmla="*/ 143610 w 183138"/>
                    <a:gd name="connsiteY5" fmla="*/ 46674 h 151988"/>
                    <a:gd name="connsiteX6" fmla="*/ 142581 w 183138"/>
                    <a:gd name="connsiteY6" fmla="*/ 60781 h 151988"/>
                    <a:gd name="connsiteX7" fmla="*/ 148039 w 183138"/>
                    <a:gd name="connsiteY7" fmla="*/ 60676 h 151988"/>
                    <a:gd name="connsiteX8" fmla="*/ 143848 w 183138"/>
                    <a:gd name="connsiteY8" fmla="*/ 67915 h 151988"/>
                    <a:gd name="connsiteX9" fmla="*/ 155611 w 183138"/>
                    <a:gd name="connsiteY9" fmla="*/ 64419 h 151988"/>
                    <a:gd name="connsiteX10" fmla="*/ 183139 w 183138"/>
                    <a:gd name="connsiteY10" fmla="*/ 65219 h 151988"/>
                    <a:gd name="connsiteX11" fmla="*/ 120978 w 183138"/>
                    <a:gd name="connsiteY11" fmla="*/ 141315 h 151988"/>
                    <a:gd name="connsiteX12" fmla="*/ 117007 w 183138"/>
                    <a:gd name="connsiteY12" fmla="*/ 151173 h 151988"/>
                    <a:gd name="connsiteX13" fmla="*/ 103929 w 183138"/>
                    <a:gd name="connsiteY13" fmla="*/ 151192 h 151988"/>
                    <a:gd name="connsiteX14" fmla="*/ 76544 w 183138"/>
                    <a:gd name="connsiteY14" fmla="*/ 151154 h 151988"/>
                    <a:gd name="connsiteX15" fmla="*/ 48341 w 183138"/>
                    <a:gd name="connsiteY15" fmla="*/ 150859 h 151988"/>
                    <a:gd name="connsiteX16" fmla="*/ 21318 w 183138"/>
                    <a:gd name="connsiteY16" fmla="*/ 150763 h 151988"/>
                    <a:gd name="connsiteX17" fmla="*/ 17518 w 183138"/>
                    <a:gd name="connsiteY17" fmla="*/ 145658 h 151988"/>
                    <a:gd name="connsiteX18" fmla="*/ 12422 w 183138"/>
                    <a:gd name="connsiteY18" fmla="*/ 137600 h 151988"/>
                    <a:gd name="connsiteX19" fmla="*/ 16746 w 183138"/>
                    <a:gd name="connsiteY19" fmla="*/ 129027 h 151988"/>
                    <a:gd name="connsiteX20" fmla="*/ 19680 w 183138"/>
                    <a:gd name="connsiteY20" fmla="*/ 125017 h 151988"/>
                    <a:gd name="connsiteX21" fmla="*/ 18118 w 183138"/>
                    <a:gd name="connsiteY21" fmla="*/ 122846 h 151988"/>
                    <a:gd name="connsiteX22" fmla="*/ 23385 w 183138"/>
                    <a:gd name="connsiteY22" fmla="*/ 103624 h 151988"/>
                    <a:gd name="connsiteX23" fmla="*/ 14956 w 183138"/>
                    <a:gd name="connsiteY23" fmla="*/ 96385 h 151988"/>
                    <a:gd name="connsiteX24" fmla="*/ 9145 w 183138"/>
                    <a:gd name="connsiteY24" fmla="*/ 89318 h 151988"/>
                    <a:gd name="connsiteX25" fmla="*/ 49 w 183138"/>
                    <a:gd name="connsiteY25" fmla="*/ 78678 h 151988"/>
                    <a:gd name="connsiteX26" fmla="*/ 9812 w 183138"/>
                    <a:gd name="connsiteY26" fmla="*/ 63657 h 151988"/>
                    <a:gd name="connsiteX27" fmla="*/ 15041 w 183138"/>
                    <a:gd name="connsiteY27" fmla="*/ 56771 h 151988"/>
                    <a:gd name="connsiteX28" fmla="*/ 14527 w 183138"/>
                    <a:gd name="connsiteY28" fmla="*/ 50094 h 151988"/>
                    <a:gd name="connsiteX29" fmla="*/ 33501 w 183138"/>
                    <a:gd name="connsiteY29" fmla="*/ 39845 h 151988"/>
                    <a:gd name="connsiteX30" fmla="*/ 48427 w 183138"/>
                    <a:gd name="connsiteY30" fmla="*/ 19842 h 151988"/>
                    <a:gd name="connsiteX31" fmla="*/ 57933 w 183138"/>
                    <a:gd name="connsiteY31" fmla="*/ 17737 h 151988"/>
                    <a:gd name="connsiteX32" fmla="*/ 70039 w 183138"/>
                    <a:gd name="connsiteY32" fmla="*/ 13261 h 151988"/>
                    <a:gd name="connsiteX33" fmla="*/ 94908 w 183138"/>
                    <a:gd name="connsiteY33" fmla="*/ 2945 h 151988"/>
                    <a:gd name="connsiteX34" fmla="*/ 120788 w 183138"/>
                    <a:gd name="connsiteY34" fmla="*/ 316 h 151988"/>
                    <a:gd name="connsiteX35" fmla="*/ 102224 w 183138"/>
                    <a:gd name="connsiteY35" fmla="*/ 16909 h 151988"/>
                    <a:gd name="connsiteX36" fmla="*/ 102224 w 183138"/>
                    <a:gd name="connsiteY36" fmla="*/ 16909 h 151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83138" h="151988">
                      <a:moveTo>
                        <a:pt x="102224" y="16909"/>
                      </a:moveTo>
                      <a:cubicBezTo>
                        <a:pt x="99842" y="19033"/>
                        <a:pt x="97290" y="20957"/>
                        <a:pt x="95918" y="23576"/>
                      </a:cubicBezTo>
                      <a:cubicBezTo>
                        <a:pt x="101919" y="23062"/>
                        <a:pt x="97214" y="27805"/>
                        <a:pt x="99481" y="30110"/>
                      </a:cubicBezTo>
                      <a:cubicBezTo>
                        <a:pt x="102719" y="33406"/>
                        <a:pt x="114587" y="33720"/>
                        <a:pt x="119045" y="35225"/>
                      </a:cubicBezTo>
                      <a:cubicBezTo>
                        <a:pt x="123779" y="36816"/>
                        <a:pt x="127351" y="39226"/>
                        <a:pt x="132208" y="40159"/>
                      </a:cubicBezTo>
                      <a:cubicBezTo>
                        <a:pt x="136018" y="40893"/>
                        <a:pt x="149458" y="40340"/>
                        <a:pt x="143610" y="46674"/>
                      </a:cubicBezTo>
                      <a:cubicBezTo>
                        <a:pt x="154840" y="49846"/>
                        <a:pt x="145439" y="55094"/>
                        <a:pt x="142581" y="60781"/>
                      </a:cubicBezTo>
                      <a:cubicBezTo>
                        <a:pt x="144124" y="60552"/>
                        <a:pt x="146629" y="61019"/>
                        <a:pt x="148039" y="60676"/>
                      </a:cubicBezTo>
                      <a:cubicBezTo>
                        <a:pt x="146505" y="62324"/>
                        <a:pt x="142705" y="65096"/>
                        <a:pt x="143848" y="67915"/>
                      </a:cubicBezTo>
                      <a:cubicBezTo>
                        <a:pt x="145934" y="73097"/>
                        <a:pt x="153001" y="66248"/>
                        <a:pt x="155611" y="64419"/>
                      </a:cubicBezTo>
                      <a:cubicBezTo>
                        <a:pt x="167099" y="56361"/>
                        <a:pt x="171728" y="57018"/>
                        <a:pt x="183139" y="65219"/>
                      </a:cubicBezTo>
                      <a:cubicBezTo>
                        <a:pt x="153964" y="81431"/>
                        <a:pt x="133047" y="110711"/>
                        <a:pt x="120978" y="141315"/>
                      </a:cubicBezTo>
                      <a:cubicBezTo>
                        <a:pt x="120073" y="143620"/>
                        <a:pt x="118692" y="150040"/>
                        <a:pt x="117007" y="151173"/>
                      </a:cubicBezTo>
                      <a:cubicBezTo>
                        <a:pt x="114397" y="152926"/>
                        <a:pt x="107110" y="151211"/>
                        <a:pt x="103929" y="151192"/>
                      </a:cubicBezTo>
                      <a:cubicBezTo>
                        <a:pt x="94785" y="151135"/>
                        <a:pt x="85650" y="151211"/>
                        <a:pt x="76544" y="151154"/>
                      </a:cubicBezTo>
                      <a:cubicBezTo>
                        <a:pt x="67124" y="151097"/>
                        <a:pt x="57761" y="150916"/>
                        <a:pt x="48341" y="150859"/>
                      </a:cubicBezTo>
                      <a:cubicBezTo>
                        <a:pt x="41121" y="150811"/>
                        <a:pt x="27957" y="153488"/>
                        <a:pt x="21318" y="150763"/>
                      </a:cubicBezTo>
                      <a:cubicBezTo>
                        <a:pt x="16632" y="148839"/>
                        <a:pt x="21233" y="149744"/>
                        <a:pt x="17518" y="145658"/>
                      </a:cubicBezTo>
                      <a:cubicBezTo>
                        <a:pt x="13917" y="141686"/>
                        <a:pt x="11212" y="144667"/>
                        <a:pt x="12422" y="137600"/>
                      </a:cubicBezTo>
                      <a:cubicBezTo>
                        <a:pt x="13003" y="134209"/>
                        <a:pt x="15365" y="131952"/>
                        <a:pt x="16746" y="129027"/>
                      </a:cubicBezTo>
                      <a:cubicBezTo>
                        <a:pt x="17518" y="127389"/>
                        <a:pt x="19109" y="126865"/>
                        <a:pt x="19680" y="125017"/>
                      </a:cubicBezTo>
                      <a:cubicBezTo>
                        <a:pt x="19794" y="124627"/>
                        <a:pt x="17889" y="123789"/>
                        <a:pt x="18118" y="122846"/>
                      </a:cubicBezTo>
                      <a:cubicBezTo>
                        <a:pt x="19556" y="117083"/>
                        <a:pt x="26652" y="109234"/>
                        <a:pt x="23385" y="103624"/>
                      </a:cubicBezTo>
                      <a:cubicBezTo>
                        <a:pt x="21718" y="100776"/>
                        <a:pt x="16918" y="99243"/>
                        <a:pt x="14956" y="96385"/>
                      </a:cubicBezTo>
                      <a:cubicBezTo>
                        <a:pt x="12660" y="93042"/>
                        <a:pt x="12117" y="91918"/>
                        <a:pt x="9145" y="89318"/>
                      </a:cubicBezTo>
                      <a:cubicBezTo>
                        <a:pt x="5869" y="86460"/>
                        <a:pt x="-627" y="83336"/>
                        <a:pt x="49" y="78678"/>
                      </a:cubicBezTo>
                      <a:cubicBezTo>
                        <a:pt x="563" y="75125"/>
                        <a:pt x="7450" y="66629"/>
                        <a:pt x="9812" y="63657"/>
                      </a:cubicBezTo>
                      <a:cubicBezTo>
                        <a:pt x="11755" y="61229"/>
                        <a:pt x="14727" y="60257"/>
                        <a:pt x="15041" y="56771"/>
                      </a:cubicBezTo>
                      <a:cubicBezTo>
                        <a:pt x="15441" y="52285"/>
                        <a:pt x="10993" y="55228"/>
                        <a:pt x="14527" y="50094"/>
                      </a:cubicBezTo>
                      <a:cubicBezTo>
                        <a:pt x="18870" y="43798"/>
                        <a:pt x="27672" y="43388"/>
                        <a:pt x="33501" y="39845"/>
                      </a:cubicBezTo>
                      <a:cubicBezTo>
                        <a:pt x="40987" y="35311"/>
                        <a:pt x="42007" y="25091"/>
                        <a:pt x="48427" y="19842"/>
                      </a:cubicBezTo>
                      <a:cubicBezTo>
                        <a:pt x="51837" y="17052"/>
                        <a:pt x="54389" y="18490"/>
                        <a:pt x="57933" y="17737"/>
                      </a:cubicBezTo>
                      <a:cubicBezTo>
                        <a:pt x="61942" y="16880"/>
                        <a:pt x="66191" y="14718"/>
                        <a:pt x="70039" y="13261"/>
                      </a:cubicBezTo>
                      <a:cubicBezTo>
                        <a:pt x="78440" y="10089"/>
                        <a:pt x="86641" y="6450"/>
                        <a:pt x="94908" y="2945"/>
                      </a:cubicBezTo>
                      <a:cubicBezTo>
                        <a:pt x="103833" y="-836"/>
                        <a:pt x="111177" y="-27"/>
                        <a:pt x="120788" y="316"/>
                      </a:cubicBezTo>
                      <a:cubicBezTo>
                        <a:pt x="114616" y="5850"/>
                        <a:pt x="108424" y="11384"/>
                        <a:pt x="102224" y="16909"/>
                      </a:cubicBezTo>
                      <a:lnTo>
                        <a:pt x="102224" y="16909"/>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73" name="Freeform: Shape 472">
                  <a:extLst>
                    <a:ext uri="{FF2B5EF4-FFF2-40B4-BE49-F238E27FC236}">
                      <a16:creationId xmlns:a16="http://schemas.microsoft.com/office/drawing/2014/main" id="{F9583BD0-3F6D-422F-AEC2-E92AD690CA45}"/>
                    </a:ext>
                  </a:extLst>
                </p:cNvPr>
                <p:cNvSpPr/>
                <p:nvPr/>
              </p:nvSpPr>
              <p:spPr>
                <a:xfrm>
                  <a:off x="2288847" y="2821570"/>
                  <a:ext cx="251859" cy="107298"/>
                </a:xfrm>
                <a:custGeom>
                  <a:avLst/>
                  <a:gdLst>
                    <a:gd name="connsiteX0" fmla="*/ 248031 w 251859"/>
                    <a:gd name="connsiteY0" fmla="*/ 5056 h 107298"/>
                    <a:gd name="connsiteX1" fmla="*/ 206712 w 251859"/>
                    <a:gd name="connsiteY1" fmla="*/ 59844 h 107298"/>
                    <a:gd name="connsiteX2" fmla="*/ 189690 w 251859"/>
                    <a:gd name="connsiteY2" fmla="*/ 82847 h 107298"/>
                    <a:gd name="connsiteX3" fmla="*/ 184814 w 251859"/>
                    <a:gd name="connsiteY3" fmla="*/ 93848 h 107298"/>
                    <a:gd name="connsiteX4" fmla="*/ 166240 w 251859"/>
                    <a:gd name="connsiteY4" fmla="*/ 94258 h 107298"/>
                    <a:gd name="connsiteX5" fmla="*/ 98889 w 251859"/>
                    <a:gd name="connsiteY5" fmla="*/ 99678 h 107298"/>
                    <a:gd name="connsiteX6" fmla="*/ 63522 w 251859"/>
                    <a:gd name="connsiteY6" fmla="*/ 105612 h 107298"/>
                    <a:gd name="connsiteX7" fmla="*/ 50692 w 251859"/>
                    <a:gd name="connsiteY7" fmla="*/ 103202 h 107298"/>
                    <a:gd name="connsiteX8" fmla="*/ 34652 w 251859"/>
                    <a:gd name="connsiteY8" fmla="*/ 107107 h 107298"/>
                    <a:gd name="connsiteX9" fmla="*/ 21755 w 251859"/>
                    <a:gd name="connsiteY9" fmla="*/ 103469 h 107298"/>
                    <a:gd name="connsiteX10" fmla="*/ 23727 w 251859"/>
                    <a:gd name="connsiteY10" fmla="*/ 89000 h 107298"/>
                    <a:gd name="connsiteX11" fmla="*/ 17945 w 251859"/>
                    <a:gd name="connsiteY11" fmla="*/ 88933 h 107298"/>
                    <a:gd name="connsiteX12" fmla="*/ 13506 w 251859"/>
                    <a:gd name="connsiteY12" fmla="*/ 85847 h 107298"/>
                    <a:gd name="connsiteX13" fmla="*/ 0 w 251859"/>
                    <a:gd name="connsiteY13" fmla="*/ 85514 h 107298"/>
                    <a:gd name="connsiteX14" fmla="*/ 8801 w 251859"/>
                    <a:gd name="connsiteY14" fmla="*/ 75256 h 107298"/>
                    <a:gd name="connsiteX15" fmla="*/ 7144 w 251859"/>
                    <a:gd name="connsiteY15" fmla="*/ 80694 h 107298"/>
                    <a:gd name="connsiteX16" fmla="*/ 12411 w 251859"/>
                    <a:gd name="connsiteY16" fmla="*/ 75522 h 107298"/>
                    <a:gd name="connsiteX17" fmla="*/ 12611 w 251859"/>
                    <a:gd name="connsiteY17" fmla="*/ 71427 h 107298"/>
                    <a:gd name="connsiteX18" fmla="*/ 23050 w 251859"/>
                    <a:gd name="connsiteY18" fmla="*/ 63978 h 107298"/>
                    <a:gd name="connsiteX19" fmla="*/ 14983 w 251859"/>
                    <a:gd name="connsiteY19" fmla="*/ 64245 h 107298"/>
                    <a:gd name="connsiteX20" fmla="*/ 26880 w 251859"/>
                    <a:gd name="connsiteY20" fmla="*/ 40099 h 107298"/>
                    <a:gd name="connsiteX21" fmla="*/ 29804 w 251859"/>
                    <a:gd name="connsiteY21" fmla="*/ 27421 h 107298"/>
                    <a:gd name="connsiteX22" fmla="*/ 38319 w 251859"/>
                    <a:gd name="connsiteY22" fmla="*/ 19820 h 107298"/>
                    <a:gd name="connsiteX23" fmla="*/ 48015 w 251859"/>
                    <a:gd name="connsiteY23" fmla="*/ 25278 h 107298"/>
                    <a:gd name="connsiteX24" fmla="*/ 64760 w 251859"/>
                    <a:gd name="connsiteY24" fmla="*/ 27402 h 107298"/>
                    <a:gd name="connsiteX25" fmla="*/ 72190 w 251859"/>
                    <a:gd name="connsiteY25" fmla="*/ 27659 h 107298"/>
                    <a:gd name="connsiteX26" fmla="*/ 80505 w 251859"/>
                    <a:gd name="connsiteY26" fmla="*/ 26983 h 107298"/>
                    <a:gd name="connsiteX27" fmla="*/ 69809 w 251859"/>
                    <a:gd name="connsiteY27" fmla="*/ 39661 h 107298"/>
                    <a:gd name="connsiteX28" fmla="*/ 70742 w 251859"/>
                    <a:gd name="connsiteY28" fmla="*/ 37841 h 107298"/>
                    <a:gd name="connsiteX29" fmla="*/ 51521 w 251859"/>
                    <a:gd name="connsiteY29" fmla="*/ 51615 h 107298"/>
                    <a:gd name="connsiteX30" fmla="*/ 58864 w 251859"/>
                    <a:gd name="connsiteY30" fmla="*/ 49652 h 107298"/>
                    <a:gd name="connsiteX31" fmla="*/ 54445 w 251859"/>
                    <a:gd name="connsiteY31" fmla="*/ 50233 h 107298"/>
                    <a:gd name="connsiteX32" fmla="*/ 81496 w 251859"/>
                    <a:gd name="connsiteY32" fmla="*/ 33850 h 107298"/>
                    <a:gd name="connsiteX33" fmla="*/ 70075 w 251859"/>
                    <a:gd name="connsiteY33" fmla="*/ 43537 h 107298"/>
                    <a:gd name="connsiteX34" fmla="*/ 57845 w 251859"/>
                    <a:gd name="connsiteY34" fmla="*/ 55948 h 107298"/>
                    <a:gd name="connsiteX35" fmla="*/ 59407 w 251859"/>
                    <a:gd name="connsiteY35" fmla="*/ 52462 h 107298"/>
                    <a:gd name="connsiteX36" fmla="*/ 49006 w 251859"/>
                    <a:gd name="connsiteY36" fmla="*/ 58444 h 107298"/>
                    <a:gd name="connsiteX37" fmla="*/ 65237 w 251859"/>
                    <a:gd name="connsiteY37" fmla="*/ 54139 h 107298"/>
                    <a:gd name="connsiteX38" fmla="*/ 76933 w 251859"/>
                    <a:gd name="connsiteY38" fmla="*/ 44985 h 107298"/>
                    <a:gd name="connsiteX39" fmla="*/ 91192 w 251859"/>
                    <a:gd name="connsiteY39" fmla="*/ 25526 h 107298"/>
                    <a:gd name="connsiteX40" fmla="*/ 87830 w 251859"/>
                    <a:gd name="connsiteY40" fmla="*/ 26983 h 107298"/>
                    <a:gd name="connsiteX41" fmla="*/ 90649 w 251859"/>
                    <a:gd name="connsiteY41" fmla="*/ 23630 h 107298"/>
                    <a:gd name="connsiteX42" fmla="*/ 91326 w 251859"/>
                    <a:gd name="connsiteY42" fmla="*/ 17248 h 107298"/>
                    <a:gd name="connsiteX43" fmla="*/ 102337 w 251859"/>
                    <a:gd name="connsiteY43" fmla="*/ 6809 h 107298"/>
                    <a:gd name="connsiteX44" fmla="*/ 99603 w 251859"/>
                    <a:gd name="connsiteY44" fmla="*/ 7247 h 107298"/>
                    <a:gd name="connsiteX45" fmla="*/ 111300 w 251859"/>
                    <a:gd name="connsiteY45" fmla="*/ 37 h 107298"/>
                    <a:gd name="connsiteX46" fmla="*/ 130092 w 251859"/>
                    <a:gd name="connsiteY46" fmla="*/ 37 h 107298"/>
                    <a:gd name="connsiteX47" fmla="*/ 171288 w 251859"/>
                    <a:gd name="connsiteY47" fmla="*/ 37 h 107298"/>
                    <a:gd name="connsiteX48" fmla="*/ 251860 w 251859"/>
                    <a:gd name="connsiteY48" fmla="*/ 27 h 107298"/>
                    <a:gd name="connsiteX49" fmla="*/ 248031 w 251859"/>
                    <a:gd name="connsiteY49" fmla="*/ 5056 h 107298"/>
                    <a:gd name="connsiteX50" fmla="*/ 248031 w 251859"/>
                    <a:gd name="connsiteY50" fmla="*/ 5056 h 107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51859" h="107298">
                      <a:moveTo>
                        <a:pt x="248031" y="5056"/>
                      </a:moveTo>
                      <a:cubicBezTo>
                        <a:pt x="234153" y="23249"/>
                        <a:pt x="220370" y="41499"/>
                        <a:pt x="206712" y="59844"/>
                      </a:cubicBezTo>
                      <a:cubicBezTo>
                        <a:pt x="201301" y="67102"/>
                        <a:pt x="193653" y="74865"/>
                        <a:pt x="189690" y="82847"/>
                      </a:cubicBezTo>
                      <a:cubicBezTo>
                        <a:pt x="188376" y="85485"/>
                        <a:pt x="187566" y="92182"/>
                        <a:pt x="184814" y="93848"/>
                      </a:cubicBezTo>
                      <a:cubicBezTo>
                        <a:pt x="181375" y="95934"/>
                        <a:pt x="170640" y="94258"/>
                        <a:pt x="166240" y="94258"/>
                      </a:cubicBezTo>
                      <a:cubicBezTo>
                        <a:pt x="143275" y="94258"/>
                        <a:pt x="121253" y="93991"/>
                        <a:pt x="98889" y="99678"/>
                      </a:cubicBezTo>
                      <a:cubicBezTo>
                        <a:pt x="88382" y="102345"/>
                        <a:pt x="74400" y="106964"/>
                        <a:pt x="63522" y="105612"/>
                      </a:cubicBezTo>
                      <a:cubicBezTo>
                        <a:pt x="59465" y="105107"/>
                        <a:pt x="56150" y="102907"/>
                        <a:pt x="50692" y="103202"/>
                      </a:cubicBezTo>
                      <a:cubicBezTo>
                        <a:pt x="44939" y="103516"/>
                        <a:pt x="40195" y="106517"/>
                        <a:pt x="34652" y="107107"/>
                      </a:cubicBezTo>
                      <a:cubicBezTo>
                        <a:pt x="30156" y="107583"/>
                        <a:pt x="22250" y="107441"/>
                        <a:pt x="21755" y="103469"/>
                      </a:cubicBezTo>
                      <a:cubicBezTo>
                        <a:pt x="21098" y="98154"/>
                        <a:pt x="29861" y="93439"/>
                        <a:pt x="23727" y="89000"/>
                      </a:cubicBezTo>
                      <a:cubicBezTo>
                        <a:pt x="22374" y="88019"/>
                        <a:pt x="19707" y="89400"/>
                        <a:pt x="17945" y="88933"/>
                      </a:cubicBezTo>
                      <a:cubicBezTo>
                        <a:pt x="16059" y="88429"/>
                        <a:pt x="15640" y="86533"/>
                        <a:pt x="13506" y="85847"/>
                      </a:cubicBezTo>
                      <a:cubicBezTo>
                        <a:pt x="9877" y="84676"/>
                        <a:pt x="4181" y="84904"/>
                        <a:pt x="0" y="85514"/>
                      </a:cubicBezTo>
                      <a:cubicBezTo>
                        <a:pt x="3439" y="82552"/>
                        <a:pt x="5858" y="78675"/>
                        <a:pt x="8801" y="75256"/>
                      </a:cubicBezTo>
                      <a:cubicBezTo>
                        <a:pt x="7706" y="77189"/>
                        <a:pt x="7620" y="78618"/>
                        <a:pt x="7144" y="80694"/>
                      </a:cubicBezTo>
                      <a:cubicBezTo>
                        <a:pt x="8477" y="79504"/>
                        <a:pt x="11725" y="77256"/>
                        <a:pt x="12411" y="75522"/>
                      </a:cubicBezTo>
                      <a:cubicBezTo>
                        <a:pt x="13021" y="73960"/>
                        <a:pt x="12621" y="71388"/>
                        <a:pt x="12611" y="71427"/>
                      </a:cubicBezTo>
                      <a:cubicBezTo>
                        <a:pt x="14383" y="66702"/>
                        <a:pt x="15888" y="66321"/>
                        <a:pt x="23050" y="63978"/>
                      </a:cubicBezTo>
                      <a:cubicBezTo>
                        <a:pt x="19621" y="62854"/>
                        <a:pt x="17888" y="60244"/>
                        <a:pt x="14983" y="64245"/>
                      </a:cubicBezTo>
                      <a:cubicBezTo>
                        <a:pt x="18640" y="56977"/>
                        <a:pt x="25441" y="48100"/>
                        <a:pt x="26880" y="40099"/>
                      </a:cubicBezTo>
                      <a:cubicBezTo>
                        <a:pt x="27899" y="34422"/>
                        <a:pt x="25841" y="32955"/>
                        <a:pt x="29804" y="27421"/>
                      </a:cubicBezTo>
                      <a:cubicBezTo>
                        <a:pt x="32223" y="24049"/>
                        <a:pt x="34976" y="19934"/>
                        <a:pt x="38319" y="19820"/>
                      </a:cubicBezTo>
                      <a:cubicBezTo>
                        <a:pt x="41053" y="19725"/>
                        <a:pt x="45587" y="24449"/>
                        <a:pt x="48015" y="25278"/>
                      </a:cubicBezTo>
                      <a:cubicBezTo>
                        <a:pt x="52959" y="26973"/>
                        <a:pt x="59541" y="27535"/>
                        <a:pt x="64760" y="27402"/>
                      </a:cubicBezTo>
                      <a:cubicBezTo>
                        <a:pt x="67313" y="27335"/>
                        <a:pt x="70923" y="27602"/>
                        <a:pt x="72190" y="27659"/>
                      </a:cubicBezTo>
                      <a:cubicBezTo>
                        <a:pt x="74914" y="27783"/>
                        <a:pt x="76467" y="29355"/>
                        <a:pt x="80505" y="26983"/>
                      </a:cubicBezTo>
                      <a:cubicBezTo>
                        <a:pt x="76067" y="32850"/>
                        <a:pt x="77867" y="35946"/>
                        <a:pt x="69809" y="39661"/>
                      </a:cubicBezTo>
                      <a:cubicBezTo>
                        <a:pt x="70247" y="38937"/>
                        <a:pt x="70542" y="38375"/>
                        <a:pt x="70742" y="37841"/>
                      </a:cubicBezTo>
                      <a:cubicBezTo>
                        <a:pt x="64618" y="41699"/>
                        <a:pt x="55759" y="45490"/>
                        <a:pt x="51521" y="51615"/>
                      </a:cubicBezTo>
                      <a:cubicBezTo>
                        <a:pt x="54102" y="51738"/>
                        <a:pt x="56540" y="50957"/>
                        <a:pt x="58864" y="49652"/>
                      </a:cubicBezTo>
                      <a:cubicBezTo>
                        <a:pt x="57426" y="50100"/>
                        <a:pt x="55902" y="49995"/>
                        <a:pt x="54445" y="50233"/>
                      </a:cubicBezTo>
                      <a:cubicBezTo>
                        <a:pt x="59693" y="43766"/>
                        <a:pt x="74524" y="36479"/>
                        <a:pt x="81496" y="33850"/>
                      </a:cubicBezTo>
                      <a:cubicBezTo>
                        <a:pt x="79848" y="37822"/>
                        <a:pt x="73200" y="42213"/>
                        <a:pt x="70075" y="43537"/>
                      </a:cubicBezTo>
                      <a:cubicBezTo>
                        <a:pt x="72142" y="53577"/>
                        <a:pt x="60779" y="51805"/>
                        <a:pt x="57845" y="55948"/>
                      </a:cubicBezTo>
                      <a:cubicBezTo>
                        <a:pt x="58236" y="55348"/>
                        <a:pt x="58779" y="53443"/>
                        <a:pt x="59407" y="52462"/>
                      </a:cubicBezTo>
                      <a:cubicBezTo>
                        <a:pt x="55464" y="53005"/>
                        <a:pt x="52483" y="56339"/>
                        <a:pt x="49006" y="58444"/>
                      </a:cubicBezTo>
                      <a:cubicBezTo>
                        <a:pt x="57360" y="58282"/>
                        <a:pt x="57941" y="58225"/>
                        <a:pt x="65237" y="54139"/>
                      </a:cubicBezTo>
                      <a:cubicBezTo>
                        <a:pt x="70942" y="50948"/>
                        <a:pt x="72742" y="50938"/>
                        <a:pt x="76933" y="44985"/>
                      </a:cubicBezTo>
                      <a:cubicBezTo>
                        <a:pt x="80886" y="39375"/>
                        <a:pt x="92859" y="32203"/>
                        <a:pt x="91192" y="25526"/>
                      </a:cubicBezTo>
                      <a:cubicBezTo>
                        <a:pt x="90554" y="27145"/>
                        <a:pt x="86820" y="29593"/>
                        <a:pt x="87830" y="26983"/>
                      </a:cubicBezTo>
                      <a:cubicBezTo>
                        <a:pt x="88516" y="25221"/>
                        <a:pt x="89964" y="24916"/>
                        <a:pt x="90649" y="23630"/>
                      </a:cubicBezTo>
                      <a:cubicBezTo>
                        <a:pt x="91392" y="22258"/>
                        <a:pt x="98041" y="18925"/>
                        <a:pt x="91326" y="17248"/>
                      </a:cubicBezTo>
                      <a:cubicBezTo>
                        <a:pt x="95498" y="13162"/>
                        <a:pt x="100041" y="15086"/>
                        <a:pt x="102337" y="6809"/>
                      </a:cubicBezTo>
                      <a:cubicBezTo>
                        <a:pt x="101508" y="7038"/>
                        <a:pt x="100460" y="6999"/>
                        <a:pt x="99603" y="7247"/>
                      </a:cubicBezTo>
                      <a:cubicBezTo>
                        <a:pt x="99955" y="-944"/>
                        <a:pt x="104584" y="37"/>
                        <a:pt x="111300" y="37"/>
                      </a:cubicBezTo>
                      <a:cubicBezTo>
                        <a:pt x="117567" y="37"/>
                        <a:pt x="123825" y="37"/>
                        <a:pt x="130092" y="37"/>
                      </a:cubicBezTo>
                      <a:cubicBezTo>
                        <a:pt x="143827" y="37"/>
                        <a:pt x="157553" y="37"/>
                        <a:pt x="171288" y="37"/>
                      </a:cubicBezTo>
                      <a:cubicBezTo>
                        <a:pt x="198149" y="37"/>
                        <a:pt x="225009" y="27"/>
                        <a:pt x="251860" y="27"/>
                      </a:cubicBezTo>
                      <a:cubicBezTo>
                        <a:pt x="250622" y="1646"/>
                        <a:pt x="249498" y="3675"/>
                        <a:pt x="248031" y="5056"/>
                      </a:cubicBezTo>
                      <a:lnTo>
                        <a:pt x="248031" y="5056"/>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74" name="Freeform: Shape 473">
                  <a:extLst>
                    <a:ext uri="{FF2B5EF4-FFF2-40B4-BE49-F238E27FC236}">
                      <a16:creationId xmlns:a16="http://schemas.microsoft.com/office/drawing/2014/main" id="{C6F8ED0D-345B-4A50-8654-1BF5F5723336}"/>
                    </a:ext>
                  </a:extLst>
                </p:cNvPr>
                <p:cNvSpPr/>
                <p:nvPr/>
              </p:nvSpPr>
              <p:spPr>
                <a:xfrm>
                  <a:off x="3592658" y="2946919"/>
                  <a:ext cx="78143" cy="71970"/>
                </a:xfrm>
                <a:custGeom>
                  <a:avLst/>
                  <a:gdLst>
                    <a:gd name="connsiteX0" fmla="*/ 39243 w 78143"/>
                    <a:gd name="connsiteY0" fmla="*/ 40947 h 71970"/>
                    <a:gd name="connsiteX1" fmla="*/ 21184 w 78143"/>
                    <a:gd name="connsiteY1" fmla="*/ 71970 h 71970"/>
                    <a:gd name="connsiteX2" fmla="*/ 0 w 78143"/>
                    <a:gd name="connsiteY2" fmla="*/ 71275 h 71970"/>
                    <a:gd name="connsiteX3" fmla="*/ 7334 w 78143"/>
                    <a:gd name="connsiteY3" fmla="*/ 54397 h 71970"/>
                    <a:gd name="connsiteX4" fmla="*/ 7268 w 78143"/>
                    <a:gd name="connsiteY4" fmla="*/ 45243 h 71970"/>
                    <a:gd name="connsiteX5" fmla="*/ 15250 w 78143"/>
                    <a:gd name="connsiteY5" fmla="*/ 27393 h 71970"/>
                    <a:gd name="connsiteX6" fmla="*/ 21774 w 78143"/>
                    <a:gd name="connsiteY6" fmla="*/ 18201 h 71970"/>
                    <a:gd name="connsiteX7" fmla="*/ 26175 w 78143"/>
                    <a:gd name="connsiteY7" fmla="*/ 5514 h 71970"/>
                    <a:gd name="connsiteX8" fmla="*/ 34004 w 78143"/>
                    <a:gd name="connsiteY8" fmla="*/ 276 h 71970"/>
                    <a:gd name="connsiteX9" fmla="*/ 48958 w 78143"/>
                    <a:gd name="connsiteY9" fmla="*/ 266 h 71970"/>
                    <a:gd name="connsiteX10" fmla="*/ 78143 w 78143"/>
                    <a:gd name="connsiteY10" fmla="*/ 228 h 71970"/>
                    <a:gd name="connsiteX11" fmla="*/ 73695 w 78143"/>
                    <a:gd name="connsiteY11" fmla="*/ 6238 h 71970"/>
                    <a:gd name="connsiteX12" fmla="*/ 71237 w 78143"/>
                    <a:gd name="connsiteY12" fmla="*/ 12820 h 71970"/>
                    <a:gd name="connsiteX13" fmla="*/ 61455 w 78143"/>
                    <a:gd name="connsiteY13" fmla="*/ 19992 h 71970"/>
                    <a:gd name="connsiteX14" fmla="*/ 50435 w 78143"/>
                    <a:gd name="connsiteY14" fmla="*/ 29136 h 71970"/>
                    <a:gd name="connsiteX15" fmla="*/ 39243 w 78143"/>
                    <a:gd name="connsiteY15" fmla="*/ 40947 h 71970"/>
                    <a:gd name="connsiteX16" fmla="*/ 39243 w 78143"/>
                    <a:gd name="connsiteY16" fmla="*/ 40947 h 7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143" h="71970">
                      <a:moveTo>
                        <a:pt x="39243" y="40947"/>
                      </a:moveTo>
                      <a:cubicBezTo>
                        <a:pt x="34842" y="46386"/>
                        <a:pt x="18355" y="65179"/>
                        <a:pt x="21184" y="71970"/>
                      </a:cubicBezTo>
                      <a:cubicBezTo>
                        <a:pt x="14125" y="71742"/>
                        <a:pt x="7058" y="71513"/>
                        <a:pt x="0" y="71275"/>
                      </a:cubicBezTo>
                      <a:cubicBezTo>
                        <a:pt x="1191" y="65636"/>
                        <a:pt x="4848" y="59759"/>
                        <a:pt x="7334" y="54397"/>
                      </a:cubicBezTo>
                      <a:cubicBezTo>
                        <a:pt x="8372" y="52149"/>
                        <a:pt x="14068" y="39957"/>
                        <a:pt x="7268" y="45243"/>
                      </a:cubicBezTo>
                      <a:cubicBezTo>
                        <a:pt x="8858" y="40119"/>
                        <a:pt x="12335" y="32079"/>
                        <a:pt x="15250" y="27393"/>
                      </a:cubicBezTo>
                      <a:cubicBezTo>
                        <a:pt x="17450" y="23859"/>
                        <a:pt x="20136" y="22488"/>
                        <a:pt x="21774" y="18201"/>
                      </a:cubicBezTo>
                      <a:cubicBezTo>
                        <a:pt x="23365" y="14039"/>
                        <a:pt x="23803" y="9648"/>
                        <a:pt x="26175" y="5514"/>
                      </a:cubicBezTo>
                      <a:cubicBezTo>
                        <a:pt x="28927" y="733"/>
                        <a:pt x="28575" y="980"/>
                        <a:pt x="34004" y="276"/>
                      </a:cubicBezTo>
                      <a:cubicBezTo>
                        <a:pt x="38776" y="-344"/>
                        <a:pt x="44110" y="276"/>
                        <a:pt x="48958" y="266"/>
                      </a:cubicBezTo>
                      <a:cubicBezTo>
                        <a:pt x="58683" y="256"/>
                        <a:pt x="68418" y="247"/>
                        <a:pt x="78143" y="228"/>
                      </a:cubicBezTo>
                      <a:cubicBezTo>
                        <a:pt x="77324" y="2981"/>
                        <a:pt x="75028" y="3800"/>
                        <a:pt x="73695" y="6238"/>
                      </a:cubicBezTo>
                      <a:cubicBezTo>
                        <a:pt x="72809" y="7848"/>
                        <a:pt x="72076" y="11534"/>
                        <a:pt x="71237" y="12820"/>
                      </a:cubicBezTo>
                      <a:cubicBezTo>
                        <a:pt x="68932" y="16354"/>
                        <a:pt x="65351" y="18364"/>
                        <a:pt x="61455" y="19992"/>
                      </a:cubicBezTo>
                      <a:cubicBezTo>
                        <a:pt x="55064" y="22659"/>
                        <a:pt x="54626" y="23212"/>
                        <a:pt x="50435" y="29136"/>
                      </a:cubicBezTo>
                      <a:cubicBezTo>
                        <a:pt x="47415" y="33413"/>
                        <a:pt x="43596" y="37994"/>
                        <a:pt x="39243" y="40947"/>
                      </a:cubicBezTo>
                      <a:lnTo>
                        <a:pt x="39243" y="40947"/>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75" name="Freeform: Shape 474">
                  <a:extLst>
                    <a:ext uri="{FF2B5EF4-FFF2-40B4-BE49-F238E27FC236}">
                      <a16:creationId xmlns:a16="http://schemas.microsoft.com/office/drawing/2014/main" id="{40CF9EB4-D16E-4CDE-A403-D80A673ADC5F}"/>
                    </a:ext>
                  </a:extLst>
                </p:cNvPr>
                <p:cNvSpPr/>
                <p:nvPr/>
              </p:nvSpPr>
              <p:spPr>
                <a:xfrm>
                  <a:off x="3217973" y="3122785"/>
                  <a:ext cx="225296" cy="91296"/>
                </a:xfrm>
                <a:custGeom>
                  <a:avLst/>
                  <a:gdLst>
                    <a:gd name="connsiteX0" fmla="*/ 196748 w 225296"/>
                    <a:gd name="connsiteY0" fmla="*/ 6794 h 91296"/>
                    <a:gd name="connsiteX1" fmla="*/ 198939 w 225296"/>
                    <a:gd name="connsiteY1" fmla="*/ 9032 h 91296"/>
                    <a:gd name="connsiteX2" fmla="*/ 204711 w 225296"/>
                    <a:gd name="connsiteY2" fmla="*/ 2689 h 91296"/>
                    <a:gd name="connsiteX3" fmla="*/ 209941 w 225296"/>
                    <a:gd name="connsiteY3" fmla="*/ 6651 h 91296"/>
                    <a:gd name="connsiteX4" fmla="*/ 208350 w 225296"/>
                    <a:gd name="connsiteY4" fmla="*/ 9813 h 91296"/>
                    <a:gd name="connsiteX5" fmla="*/ 217913 w 225296"/>
                    <a:gd name="connsiteY5" fmla="*/ 16690 h 91296"/>
                    <a:gd name="connsiteX6" fmla="*/ 206978 w 225296"/>
                    <a:gd name="connsiteY6" fmla="*/ 27320 h 91296"/>
                    <a:gd name="connsiteX7" fmla="*/ 203864 w 225296"/>
                    <a:gd name="connsiteY7" fmla="*/ 33321 h 91296"/>
                    <a:gd name="connsiteX8" fmla="*/ 208969 w 225296"/>
                    <a:gd name="connsiteY8" fmla="*/ 33454 h 91296"/>
                    <a:gd name="connsiteX9" fmla="*/ 212274 w 225296"/>
                    <a:gd name="connsiteY9" fmla="*/ 38512 h 91296"/>
                    <a:gd name="connsiteX10" fmla="*/ 220037 w 225296"/>
                    <a:gd name="connsiteY10" fmla="*/ 41503 h 91296"/>
                    <a:gd name="connsiteX11" fmla="*/ 224466 w 225296"/>
                    <a:gd name="connsiteY11" fmla="*/ 51590 h 91296"/>
                    <a:gd name="connsiteX12" fmla="*/ 206235 w 225296"/>
                    <a:gd name="connsiteY12" fmla="*/ 39893 h 91296"/>
                    <a:gd name="connsiteX13" fmla="*/ 221247 w 225296"/>
                    <a:gd name="connsiteY13" fmla="*/ 58610 h 91296"/>
                    <a:gd name="connsiteX14" fmla="*/ 218970 w 225296"/>
                    <a:gd name="connsiteY14" fmla="*/ 59905 h 91296"/>
                    <a:gd name="connsiteX15" fmla="*/ 215370 w 225296"/>
                    <a:gd name="connsiteY15" fmla="*/ 66154 h 91296"/>
                    <a:gd name="connsiteX16" fmla="*/ 212293 w 225296"/>
                    <a:gd name="connsiteY16" fmla="*/ 67430 h 91296"/>
                    <a:gd name="connsiteX17" fmla="*/ 207635 w 225296"/>
                    <a:gd name="connsiteY17" fmla="*/ 60686 h 91296"/>
                    <a:gd name="connsiteX18" fmla="*/ 215532 w 225296"/>
                    <a:gd name="connsiteY18" fmla="*/ 73107 h 91296"/>
                    <a:gd name="connsiteX19" fmla="*/ 207597 w 225296"/>
                    <a:gd name="connsiteY19" fmla="*/ 69621 h 91296"/>
                    <a:gd name="connsiteX20" fmla="*/ 191443 w 225296"/>
                    <a:gd name="connsiteY20" fmla="*/ 66239 h 91296"/>
                    <a:gd name="connsiteX21" fmla="*/ 203311 w 225296"/>
                    <a:gd name="connsiteY21" fmla="*/ 70811 h 91296"/>
                    <a:gd name="connsiteX22" fmla="*/ 205816 w 225296"/>
                    <a:gd name="connsiteY22" fmla="*/ 71164 h 91296"/>
                    <a:gd name="connsiteX23" fmla="*/ 205369 w 225296"/>
                    <a:gd name="connsiteY23" fmla="*/ 74612 h 91296"/>
                    <a:gd name="connsiteX24" fmla="*/ 207540 w 225296"/>
                    <a:gd name="connsiteY24" fmla="*/ 79860 h 91296"/>
                    <a:gd name="connsiteX25" fmla="*/ 217065 w 225296"/>
                    <a:gd name="connsiteY25" fmla="*/ 78631 h 91296"/>
                    <a:gd name="connsiteX26" fmla="*/ 221380 w 225296"/>
                    <a:gd name="connsiteY26" fmla="*/ 84003 h 91296"/>
                    <a:gd name="connsiteX27" fmla="*/ 205835 w 225296"/>
                    <a:gd name="connsiteY27" fmla="*/ 90661 h 91296"/>
                    <a:gd name="connsiteX28" fmla="*/ 153400 w 225296"/>
                    <a:gd name="connsiteY28" fmla="*/ 90204 h 91296"/>
                    <a:gd name="connsiteX29" fmla="*/ 53140 w 225296"/>
                    <a:gd name="connsiteY29" fmla="*/ 88737 h 91296"/>
                    <a:gd name="connsiteX30" fmla="*/ 0 w 225296"/>
                    <a:gd name="connsiteY30" fmla="*/ 89061 h 91296"/>
                    <a:gd name="connsiteX31" fmla="*/ 29318 w 225296"/>
                    <a:gd name="connsiteY31" fmla="*/ 76993 h 91296"/>
                    <a:gd name="connsiteX32" fmla="*/ 61036 w 225296"/>
                    <a:gd name="connsiteY32" fmla="*/ 59619 h 91296"/>
                    <a:gd name="connsiteX33" fmla="*/ 64818 w 225296"/>
                    <a:gd name="connsiteY33" fmla="*/ 69249 h 91296"/>
                    <a:gd name="connsiteX34" fmla="*/ 72952 w 225296"/>
                    <a:gd name="connsiteY34" fmla="*/ 67725 h 91296"/>
                    <a:gd name="connsiteX35" fmla="*/ 81448 w 225296"/>
                    <a:gd name="connsiteY35" fmla="*/ 67839 h 91296"/>
                    <a:gd name="connsiteX36" fmla="*/ 89202 w 225296"/>
                    <a:gd name="connsiteY36" fmla="*/ 65877 h 91296"/>
                    <a:gd name="connsiteX37" fmla="*/ 90811 w 225296"/>
                    <a:gd name="connsiteY37" fmla="*/ 63439 h 91296"/>
                    <a:gd name="connsiteX38" fmla="*/ 93621 w 225296"/>
                    <a:gd name="connsiteY38" fmla="*/ 63982 h 91296"/>
                    <a:gd name="connsiteX39" fmla="*/ 108652 w 225296"/>
                    <a:gd name="connsiteY39" fmla="*/ 58781 h 91296"/>
                    <a:gd name="connsiteX40" fmla="*/ 123892 w 225296"/>
                    <a:gd name="connsiteY40" fmla="*/ 43865 h 91296"/>
                    <a:gd name="connsiteX41" fmla="*/ 138960 w 225296"/>
                    <a:gd name="connsiteY41" fmla="*/ 28654 h 91296"/>
                    <a:gd name="connsiteX42" fmla="*/ 148390 w 225296"/>
                    <a:gd name="connsiteY42" fmla="*/ 30949 h 91296"/>
                    <a:gd name="connsiteX43" fmla="*/ 162192 w 225296"/>
                    <a:gd name="connsiteY43" fmla="*/ 19291 h 91296"/>
                    <a:gd name="connsiteX44" fmla="*/ 182080 w 225296"/>
                    <a:gd name="connsiteY44" fmla="*/ 8813 h 91296"/>
                    <a:gd name="connsiteX45" fmla="*/ 188852 w 225296"/>
                    <a:gd name="connsiteY45" fmla="*/ 22 h 91296"/>
                    <a:gd name="connsiteX46" fmla="*/ 196748 w 225296"/>
                    <a:gd name="connsiteY46" fmla="*/ 6794 h 91296"/>
                    <a:gd name="connsiteX47" fmla="*/ 196748 w 225296"/>
                    <a:gd name="connsiteY47" fmla="*/ 6794 h 91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296" h="91296">
                      <a:moveTo>
                        <a:pt x="196748" y="6794"/>
                      </a:moveTo>
                      <a:cubicBezTo>
                        <a:pt x="197482" y="7546"/>
                        <a:pt x="198215" y="8289"/>
                        <a:pt x="198939" y="9032"/>
                      </a:cubicBezTo>
                      <a:cubicBezTo>
                        <a:pt x="200863" y="6918"/>
                        <a:pt x="202787" y="4803"/>
                        <a:pt x="204711" y="2689"/>
                      </a:cubicBezTo>
                      <a:cubicBezTo>
                        <a:pt x="206569" y="3803"/>
                        <a:pt x="208588" y="4936"/>
                        <a:pt x="209941" y="6651"/>
                      </a:cubicBezTo>
                      <a:cubicBezTo>
                        <a:pt x="210112" y="6861"/>
                        <a:pt x="207531" y="8718"/>
                        <a:pt x="208350" y="9813"/>
                      </a:cubicBezTo>
                      <a:cubicBezTo>
                        <a:pt x="209702" y="11613"/>
                        <a:pt x="217494" y="14080"/>
                        <a:pt x="217913" y="16690"/>
                      </a:cubicBezTo>
                      <a:cubicBezTo>
                        <a:pt x="218675" y="21491"/>
                        <a:pt x="209474" y="24520"/>
                        <a:pt x="206978" y="27320"/>
                      </a:cubicBezTo>
                      <a:cubicBezTo>
                        <a:pt x="205997" y="28416"/>
                        <a:pt x="203149" y="32016"/>
                        <a:pt x="203864" y="33321"/>
                      </a:cubicBezTo>
                      <a:cubicBezTo>
                        <a:pt x="205254" y="35845"/>
                        <a:pt x="207378" y="32378"/>
                        <a:pt x="208969" y="33454"/>
                      </a:cubicBezTo>
                      <a:cubicBezTo>
                        <a:pt x="210931" y="34788"/>
                        <a:pt x="210550" y="37169"/>
                        <a:pt x="212274" y="38512"/>
                      </a:cubicBezTo>
                      <a:cubicBezTo>
                        <a:pt x="214293" y="40084"/>
                        <a:pt x="217665" y="40055"/>
                        <a:pt x="220037" y="41503"/>
                      </a:cubicBezTo>
                      <a:cubicBezTo>
                        <a:pt x="224257" y="44094"/>
                        <a:pt x="226666" y="47608"/>
                        <a:pt x="224466" y="51590"/>
                      </a:cubicBezTo>
                      <a:cubicBezTo>
                        <a:pt x="216989" y="65087"/>
                        <a:pt x="212236" y="40541"/>
                        <a:pt x="206235" y="39893"/>
                      </a:cubicBezTo>
                      <a:cubicBezTo>
                        <a:pt x="212398" y="45541"/>
                        <a:pt x="212341" y="56162"/>
                        <a:pt x="221247" y="58610"/>
                      </a:cubicBezTo>
                      <a:cubicBezTo>
                        <a:pt x="220485" y="59038"/>
                        <a:pt x="219732" y="59477"/>
                        <a:pt x="218970" y="59905"/>
                      </a:cubicBezTo>
                      <a:cubicBezTo>
                        <a:pt x="225371" y="62029"/>
                        <a:pt x="216760" y="65992"/>
                        <a:pt x="215370" y="66154"/>
                      </a:cubicBezTo>
                      <a:cubicBezTo>
                        <a:pt x="214741" y="66230"/>
                        <a:pt x="214455" y="68135"/>
                        <a:pt x="212293" y="67430"/>
                      </a:cubicBezTo>
                      <a:cubicBezTo>
                        <a:pt x="210160" y="66744"/>
                        <a:pt x="208693" y="62448"/>
                        <a:pt x="207635" y="60686"/>
                      </a:cubicBezTo>
                      <a:cubicBezTo>
                        <a:pt x="207197" y="66706"/>
                        <a:pt x="216046" y="68563"/>
                        <a:pt x="215532" y="73107"/>
                      </a:cubicBezTo>
                      <a:cubicBezTo>
                        <a:pt x="214741" y="79984"/>
                        <a:pt x="207083" y="74926"/>
                        <a:pt x="207597" y="69621"/>
                      </a:cubicBezTo>
                      <a:cubicBezTo>
                        <a:pt x="202463" y="69907"/>
                        <a:pt x="196996" y="66535"/>
                        <a:pt x="191443" y="66239"/>
                      </a:cubicBezTo>
                      <a:cubicBezTo>
                        <a:pt x="194415" y="68830"/>
                        <a:pt x="200206" y="67963"/>
                        <a:pt x="203311" y="70811"/>
                      </a:cubicBezTo>
                      <a:cubicBezTo>
                        <a:pt x="203816" y="71278"/>
                        <a:pt x="205321" y="70687"/>
                        <a:pt x="205816" y="71164"/>
                      </a:cubicBezTo>
                      <a:cubicBezTo>
                        <a:pt x="206340" y="71669"/>
                        <a:pt x="204940" y="73993"/>
                        <a:pt x="205369" y="74612"/>
                      </a:cubicBezTo>
                      <a:cubicBezTo>
                        <a:pt x="206816" y="76698"/>
                        <a:pt x="207445" y="77317"/>
                        <a:pt x="207540" y="79860"/>
                      </a:cubicBezTo>
                      <a:cubicBezTo>
                        <a:pt x="211074" y="80374"/>
                        <a:pt x="213627" y="78088"/>
                        <a:pt x="217065" y="78631"/>
                      </a:cubicBezTo>
                      <a:cubicBezTo>
                        <a:pt x="222876" y="79536"/>
                        <a:pt x="220656" y="79412"/>
                        <a:pt x="221380" y="84003"/>
                      </a:cubicBezTo>
                      <a:cubicBezTo>
                        <a:pt x="222980" y="94243"/>
                        <a:pt x="213408" y="90728"/>
                        <a:pt x="205835" y="90661"/>
                      </a:cubicBezTo>
                      <a:cubicBezTo>
                        <a:pt x="188357" y="90509"/>
                        <a:pt x="170879" y="90347"/>
                        <a:pt x="153400" y="90204"/>
                      </a:cubicBezTo>
                      <a:cubicBezTo>
                        <a:pt x="120053" y="89928"/>
                        <a:pt x="86011" y="89156"/>
                        <a:pt x="53140" y="88737"/>
                      </a:cubicBezTo>
                      <a:cubicBezTo>
                        <a:pt x="35690" y="88518"/>
                        <a:pt x="17669" y="89137"/>
                        <a:pt x="0" y="89061"/>
                      </a:cubicBezTo>
                      <a:cubicBezTo>
                        <a:pt x="9687" y="84194"/>
                        <a:pt x="20145" y="83413"/>
                        <a:pt x="29318" y="76993"/>
                      </a:cubicBezTo>
                      <a:cubicBezTo>
                        <a:pt x="39043" y="70183"/>
                        <a:pt x="50359" y="65449"/>
                        <a:pt x="61036" y="59619"/>
                      </a:cubicBezTo>
                      <a:cubicBezTo>
                        <a:pt x="59103" y="63344"/>
                        <a:pt x="60341" y="67773"/>
                        <a:pt x="64818" y="69249"/>
                      </a:cubicBezTo>
                      <a:cubicBezTo>
                        <a:pt x="68475" y="70459"/>
                        <a:pt x="69342" y="68097"/>
                        <a:pt x="72952" y="67725"/>
                      </a:cubicBezTo>
                      <a:cubicBezTo>
                        <a:pt x="76124" y="67401"/>
                        <a:pt x="77762" y="67697"/>
                        <a:pt x="81448" y="67839"/>
                      </a:cubicBezTo>
                      <a:cubicBezTo>
                        <a:pt x="84277" y="67954"/>
                        <a:pt x="86687" y="66658"/>
                        <a:pt x="89202" y="65877"/>
                      </a:cubicBezTo>
                      <a:cubicBezTo>
                        <a:pt x="89859" y="65677"/>
                        <a:pt x="89792" y="63782"/>
                        <a:pt x="90811" y="63439"/>
                      </a:cubicBezTo>
                      <a:cubicBezTo>
                        <a:pt x="91983" y="63048"/>
                        <a:pt x="92612" y="64344"/>
                        <a:pt x="93621" y="63982"/>
                      </a:cubicBezTo>
                      <a:cubicBezTo>
                        <a:pt x="99927" y="61696"/>
                        <a:pt x="103937" y="63629"/>
                        <a:pt x="108652" y="58781"/>
                      </a:cubicBezTo>
                      <a:cubicBezTo>
                        <a:pt x="113214" y="54085"/>
                        <a:pt x="118167" y="49047"/>
                        <a:pt x="123892" y="43865"/>
                      </a:cubicBezTo>
                      <a:cubicBezTo>
                        <a:pt x="128302" y="39874"/>
                        <a:pt x="133883" y="31254"/>
                        <a:pt x="138960" y="28654"/>
                      </a:cubicBezTo>
                      <a:cubicBezTo>
                        <a:pt x="144809" y="25653"/>
                        <a:pt x="141875" y="31730"/>
                        <a:pt x="148390" y="30949"/>
                      </a:cubicBezTo>
                      <a:cubicBezTo>
                        <a:pt x="153791" y="30311"/>
                        <a:pt x="157515" y="21815"/>
                        <a:pt x="162192" y="19291"/>
                      </a:cubicBezTo>
                      <a:cubicBezTo>
                        <a:pt x="168993" y="15614"/>
                        <a:pt x="175727" y="15157"/>
                        <a:pt x="182080" y="8813"/>
                      </a:cubicBezTo>
                      <a:cubicBezTo>
                        <a:pt x="183604" y="7299"/>
                        <a:pt x="186957" y="383"/>
                        <a:pt x="188852" y="22"/>
                      </a:cubicBezTo>
                      <a:cubicBezTo>
                        <a:pt x="190900" y="-379"/>
                        <a:pt x="194910" y="4908"/>
                        <a:pt x="196748" y="6794"/>
                      </a:cubicBezTo>
                      <a:lnTo>
                        <a:pt x="196748" y="6794"/>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76" name="Freeform: Shape 475">
                  <a:extLst>
                    <a:ext uri="{FF2B5EF4-FFF2-40B4-BE49-F238E27FC236}">
                      <a16:creationId xmlns:a16="http://schemas.microsoft.com/office/drawing/2014/main" id="{E0398941-4B7D-48C4-8514-E0B926CFE575}"/>
                    </a:ext>
                  </a:extLst>
                </p:cNvPr>
                <p:cNvSpPr/>
                <p:nvPr/>
              </p:nvSpPr>
              <p:spPr>
                <a:xfrm>
                  <a:off x="2363075" y="3041786"/>
                  <a:ext cx="216846" cy="157736"/>
                </a:xfrm>
                <a:custGeom>
                  <a:avLst/>
                  <a:gdLst>
                    <a:gd name="connsiteX0" fmla="*/ 109823 w 216846"/>
                    <a:gd name="connsiteY0" fmla="*/ 67 h 157736"/>
                    <a:gd name="connsiteX1" fmla="*/ 181699 w 216846"/>
                    <a:gd name="connsiteY1" fmla="*/ 67 h 157736"/>
                    <a:gd name="connsiteX2" fmla="*/ 161477 w 216846"/>
                    <a:gd name="connsiteY2" fmla="*/ 31576 h 157736"/>
                    <a:gd name="connsiteX3" fmla="*/ 216846 w 216846"/>
                    <a:gd name="connsiteY3" fmla="*/ 31576 h 157736"/>
                    <a:gd name="connsiteX4" fmla="*/ 161915 w 216846"/>
                    <a:gd name="connsiteY4" fmla="*/ 122187 h 157736"/>
                    <a:gd name="connsiteX5" fmla="*/ 149314 w 216846"/>
                    <a:gd name="connsiteY5" fmla="*/ 143866 h 157736"/>
                    <a:gd name="connsiteX6" fmla="*/ 142494 w 216846"/>
                    <a:gd name="connsiteY6" fmla="*/ 155572 h 157736"/>
                    <a:gd name="connsiteX7" fmla="*/ 129445 w 216846"/>
                    <a:gd name="connsiteY7" fmla="*/ 157573 h 157736"/>
                    <a:gd name="connsiteX8" fmla="*/ 69752 w 216846"/>
                    <a:gd name="connsiteY8" fmla="*/ 157516 h 157736"/>
                    <a:gd name="connsiteX9" fmla="*/ 0 w 216846"/>
                    <a:gd name="connsiteY9" fmla="*/ 157458 h 157736"/>
                    <a:gd name="connsiteX10" fmla="*/ 80334 w 216846"/>
                    <a:gd name="connsiteY10" fmla="*/ 29195 h 157736"/>
                    <a:gd name="connsiteX11" fmla="*/ 92507 w 216846"/>
                    <a:gd name="connsiteY11" fmla="*/ 10659 h 157736"/>
                    <a:gd name="connsiteX12" fmla="*/ 97907 w 216846"/>
                    <a:gd name="connsiteY12" fmla="*/ 2515 h 157736"/>
                    <a:gd name="connsiteX13" fmla="*/ 109823 w 216846"/>
                    <a:gd name="connsiteY13" fmla="*/ 67 h 157736"/>
                    <a:gd name="connsiteX14" fmla="*/ 109823 w 216846"/>
                    <a:gd name="connsiteY14" fmla="*/ 67 h 157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6846" h="157736">
                      <a:moveTo>
                        <a:pt x="109823" y="67"/>
                      </a:moveTo>
                      <a:cubicBezTo>
                        <a:pt x="133779" y="67"/>
                        <a:pt x="157744" y="67"/>
                        <a:pt x="181699" y="67"/>
                      </a:cubicBezTo>
                      <a:cubicBezTo>
                        <a:pt x="174898" y="10535"/>
                        <a:pt x="168183" y="21051"/>
                        <a:pt x="161477" y="31576"/>
                      </a:cubicBezTo>
                      <a:cubicBezTo>
                        <a:pt x="179937" y="31576"/>
                        <a:pt x="198387" y="31576"/>
                        <a:pt x="216846" y="31576"/>
                      </a:cubicBezTo>
                      <a:cubicBezTo>
                        <a:pt x="198215" y="61589"/>
                        <a:pt x="179775" y="91717"/>
                        <a:pt x="161915" y="122187"/>
                      </a:cubicBezTo>
                      <a:cubicBezTo>
                        <a:pt x="157686" y="129398"/>
                        <a:pt x="153505" y="136646"/>
                        <a:pt x="149314" y="143866"/>
                      </a:cubicBezTo>
                      <a:cubicBezTo>
                        <a:pt x="147495" y="147009"/>
                        <a:pt x="145161" y="153144"/>
                        <a:pt x="142494" y="155572"/>
                      </a:cubicBezTo>
                      <a:cubicBezTo>
                        <a:pt x="139189" y="158573"/>
                        <a:pt x="134417" y="157582"/>
                        <a:pt x="129445" y="157573"/>
                      </a:cubicBezTo>
                      <a:cubicBezTo>
                        <a:pt x="109557" y="157544"/>
                        <a:pt x="89659" y="157544"/>
                        <a:pt x="69752" y="157516"/>
                      </a:cubicBezTo>
                      <a:cubicBezTo>
                        <a:pt x="46501" y="157487"/>
                        <a:pt x="23250" y="157468"/>
                        <a:pt x="0" y="157458"/>
                      </a:cubicBezTo>
                      <a:cubicBezTo>
                        <a:pt x="25889" y="114158"/>
                        <a:pt x="52730" y="71419"/>
                        <a:pt x="80334" y="29195"/>
                      </a:cubicBezTo>
                      <a:cubicBezTo>
                        <a:pt x="84372" y="23004"/>
                        <a:pt x="88430" y="16822"/>
                        <a:pt x="92507" y="10659"/>
                      </a:cubicBezTo>
                      <a:cubicBezTo>
                        <a:pt x="94107" y="8240"/>
                        <a:pt x="95707" y="4430"/>
                        <a:pt x="97907" y="2515"/>
                      </a:cubicBezTo>
                      <a:cubicBezTo>
                        <a:pt x="101517" y="-637"/>
                        <a:pt x="104613" y="67"/>
                        <a:pt x="109823" y="67"/>
                      </a:cubicBezTo>
                      <a:lnTo>
                        <a:pt x="109823" y="67"/>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77" name="Freeform: Shape 476">
                  <a:extLst>
                    <a:ext uri="{FF2B5EF4-FFF2-40B4-BE49-F238E27FC236}">
                      <a16:creationId xmlns:a16="http://schemas.microsoft.com/office/drawing/2014/main" id="{61F1E638-3008-4A7C-A110-BD9F1BF3D701}"/>
                    </a:ext>
                  </a:extLst>
                </p:cNvPr>
                <p:cNvSpPr/>
                <p:nvPr/>
              </p:nvSpPr>
              <p:spPr>
                <a:xfrm>
                  <a:off x="2488638" y="3215101"/>
                  <a:ext cx="388488" cy="334674"/>
                </a:xfrm>
                <a:custGeom>
                  <a:avLst/>
                  <a:gdLst>
                    <a:gd name="connsiteX0" fmla="*/ 183971 w 388488"/>
                    <a:gd name="connsiteY0" fmla="*/ 2 h 334674"/>
                    <a:gd name="connsiteX1" fmla="*/ 263819 w 388488"/>
                    <a:gd name="connsiteY1" fmla="*/ 12 h 334674"/>
                    <a:gd name="connsiteX2" fmla="*/ 233320 w 388488"/>
                    <a:gd name="connsiteY2" fmla="*/ 60305 h 334674"/>
                    <a:gd name="connsiteX3" fmla="*/ 246550 w 388488"/>
                    <a:gd name="connsiteY3" fmla="*/ 66525 h 334674"/>
                    <a:gd name="connsiteX4" fmla="*/ 251027 w 388488"/>
                    <a:gd name="connsiteY4" fmla="*/ 65573 h 334674"/>
                    <a:gd name="connsiteX5" fmla="*/ 251903 w 388488"/>
                    <a:gd name="connsiteY5" fmla="*/ 71745 h 334674"/>
                    <a:gd name="connsiteX6" fmla="*/ 266753 w 388488"/>
                    <a:gd name="connsiteY6" fmla="*/ 73697 h 334674"/>
                    <a:gd name="connsiteX7" fmla="*/ 271058 w 388488"/>
                    <a:gd name="connsiteY7" fmla="*/ 76002 h 334674"/>
                    <a:gd name="connsiteX8" fmla="*/ 281183 w 388488"/>
                    <a:gd name="connsiteY8" fmla="*/ 74212 h 334674"/>
                    <a:gd name="connsiteX9" fmla="*/ 282269 w 388488"/>
                    <a:gd name="connsiteY9" fmla="*/ 82603 h 334674"/>
                    <a:gd name="connsiteX10" fmla="*/ 290880 w 388488"/>
                    <a:gd name="connsiteY10" fmla="*/ 79365 h 334674"/>
                    <a:gd name="connsiteX11" fmla="*/ 295642 w 388488"/>
                    <a:gd name="connsiteY11" fmla="*/ 83489 h 334674"/>
                    <a:gd name="connsiteX12" fmla="*/ 303395 w 388488"/>
                    <a:gd name="connsiteY12" fmla="*/ 82222 h 334674"/>
                    <a:gd name="connsiteX13" fmla="*/ 309196 w 388488"/>
                    <a:gd name="connsiteY13" fmla="*/ 82060 h 334674"/>
                    <a:gd name="connsiteX14" fmla="*/ 320798 w 388488"/>
                    <a:gd name="connsiteY14" fmla="*/ 81946 h 334674"/>
                    <a:gd name="connsiteX15" fmla="*/ 340381 w 388488"/>
                    <a:gd name="connsiteY15" fmla="*/ 82775 h 334674"/>
                    <a:gd name="connsiteX16" fmla="*/ 359021 w 388488"/>
                    <a:gd name="connsiteY16" fmla="*/ 81594 h 334674"/>
                    <a:gd name="connsiteX17" fmla="*/ 368261 w 388488"/>
                    <a:gd name="connsiteY17" fmla="*/ 85537 h 334674"/>
                    <a:gd name="connsiteX18" fmla="*/ 378805 w 388488"/>
                    <a:gd name="connsiteY18" fmla="*/ 91404 h 334674"/>
                    <a:gd name="connsiteX19" fmla="*/ 384196 w 388488"/>
                    <a:gd name="connsiteY19" fmla="*/ 91928 h 334674"/>
                    <a:gd name="connsiteX20" fmla="*/ 386025 w 388488"/>
                    <a:gd name="connsiteY20" fmla="*/ 100158 h 334674"/>
                    <a:gd name="connsiteX21" fmla="*/ 374452 w 388488"/>
                    <a:gd name="connsiteY21" fmla="*/ 126285 h 334674"/>
                    <a:gd name="connsiteX22" fmla="*/ 368927 w 388488"/>
                    <a:gd name="connsiteY22" fmla="*/ 138953 h 334674"/>
                    <a:gd name="connsiteX23" fmla="*/ 370042 w 388488"/>
                    <a:gd name="connsiteY23" fmla="*/ 150859 h 334674"/>
                    <a:gd name="connsiteX24" fmla="*/ 370213 w 388488"/>
                    <a:gd name="connsiteY24" fmla="*/ 161594 h 334674"/>
                    <a:gd name="connsiteX25" fmla="*/ 369832 w 388488"/>
                    <a:gd name="connsiteY25" fmla="*/ 170938 h 334674"/>
                    <a:gd name="connsiteX26" fmla="*/ 356221 w 388488"/>
                    <a:gd name="connsiteY26" fmla="*/ 190683 h 334674"/>
                    <a:gd name="connsiteX27" fmla="*/ 351792 w 388488"/>
                    <a:gd name="connsiteY27" fmla="*/ 201780 h 334674"/>
                    <a:gd name="connsiteX28" fmla="*/ 341524 w 388488"/>
                    <a:gd name="connsiteY28" fmla="*/ 210591 h 334674"/>
                    <a:gd name="connsiteX29" fmla="*/ 341743 w 388488"/>
                    <a:gd name="connsiteY29" fmla="*/ 214039 h 334674"/>
                    <a:gd name="connsiteX30" fmla="*/ 338276 w 388488"/>
                    <a:gd name="connsiteY30" fmla="*/ 214858 h 334674"/>
                    <a:gd name="connsiteX31" fmla="*/ 331570 w 388488"/>
                    <a:gd name="connsiteY31" fmla="*/ 216429 h 334674"/>
                    <a:gd name="connsiteX32" fmla="*/ 312016 w 388488"/>
                    <a:gd name="connsiteY32" fmla="*/ 224173 h 334674"/>
                    <a:gd name="connsiteX33" fmla="*/ 320988 w 388488"/>
                    <a:gd name="connsiteY33" fmla="*/ 219011 h 334674"/>
                    <a:gd name="connsiteX34" fmla="*/ 313559 w 388488"/>
                    <a:gd name="connsiteY34" fmla="*/ 219011 h 334674"/>
                    <a:gd name="connsiteX35" fmla="*/ 317235 w 388488"/>
                    <a:gd name="connsiteY35" fmla="*/ 212648 h 334674"/>
                    <a:gd name="connsiteX36" fmla="*/ 307024 w 388488"/>
                    <a:gd name="connsiteY36" fmla="*/ 219544 h 334674"/>
                    <a:gd name="connsiteX37" fmla="*/ 303614 w 388488"/>
                    <a:gd name="connsiteY37" fmla="*/ 227555 h 334674"/>
                    <a:gd name="connsiteX38" fmla="*/ 296547 w 388488"/>
                    <a:gd name="connsiteY38" fmla="*/ 233774 h 334674"/>
                    <a:gd name="connsiteX39" fmla="*/ 257085 w 388488"/>
                    <a:gd name="connsiteY39" fmla="*/ 252367 h 334674"/>
                    <a:gd name="connsiteX40" fmla="*/ 265495 w 388488"/>
                    <a:gd name="connsiteY40" fmla="*/ 247862 h 334674"/>
                    <a:gd name="connsiteX41" fmla="*/ 255104 w 388488"/>
                    <a:gd name="connsiteY41" fmla="*/ 247071 h 334674"/>
                    <a:gd name="connsiteX42" fmla="*/ 252084 w 388488"/>
                    <a:gd name="connsiteY42" fmla="*/ 249043 h 334674"/>
                    <a:gd name="connsiteX43" fmla="*/ 250074 w 388488"/>
                    <a:gd name="connsiteY43" fmla="*/ 246490 h 334674"/>
                    <a:gd name="connsiteX44" fmla="*/ 247922 w 388488"/>
                    <a:gd name="connsiteY44" fmla="*/ 245976 h 334674"/>
                    <a:gd name="connsiteX45" fmla="*/ 251160 w 388488"/>
                    <a:gd name="connsiteY45" fmla="*/ 253348 h 334674"/>
                    <a:gd name="connsiteX46" fmla="*/ 240273 w 388488"/>
                    <a:gd name="connsiteY46" fmla="*/ 254482 h 334674"/>
                    <a:gd name="connsiteX47" fmla="*/ 233453 w 388488"/>
                    <a:gd name="connsiteY47" fmla="*/ 262797 h 334674"/>
                    <a:gd name="connsiteX48" fmla="*/ 233053 w 388488"/>
                    <a:gd name="connsiteY48" fmla="*/ 260692 h 334674"/>
                    <a:gd name="connsiteX49" fmla="*/ 224833 w 388488"/>
                    <a:gd name="connsiteY49" fmla="*/ 265845 h 334674"/>
                    <a:gd name="connsiteX50" fmla="*/ 228415 w 388488"/>
                    <a:gd name="connsiteY50" fmla="*/ 264807 h 334674"/>
                    <a:gd name="connsiteX51" fmla="*/ 218975 w 388488"/>
                    <a:gd name="connsiteY51" fmla="*/ 272351 h 334674"/>
                    <a:gd name="connsiteX52" fmla="*/ 213956 w 388488"/>
                    <a:gd name="connsiteY52" fmla="*/ 272551 h 334674"/>
                    <a:gd name="connsiteX53" fmla="*/ 215413 w 388488"/>
                    <a:gd name="connsiteY53" fmla="*/ 277732 h 334674"/>
                    <a:gd name="connsiteX54" fmla="*/ 198687 w 388488"/>
                    <a:gd name="connsiteY54" fmla="*/ 284857 h 334674"/>
                    <a:gd name="connsiteX55" fmla="*/ 204164 w 388488"/>
                    <a:gd name="connsiteY55" fmla="*/ 292801 h 334674"/>
                    <a:gd name="connsiteX56" fmla="*/ 199039 w 388488"/>
                    <a:gd name="connsiteY56" fmla="*/ 302783 h 334674"/>
                    <a:gd name="connsiteX57" fmla="*/ 200325 w 388488"/>
                    <a:gd name="connsiteY57" fmla="*/ 328701 h 334674"/>
                    <a:gd name="connsiteX58" fmla="*/ 190896 w 388488"/>
                    <a:gd name="connsiteY58" fmla="*/ 334654 h 334674"/>
                    <a:gd name="connsiteX59" fmla="*/ 183418 w 388488"/>
                    <a:gd name="connsiteY59" fmla="*/ 330358 h 334674"/>
                    <a:gd name="connsiteX60" fmla="*/ 172465 w 388488"/>
                    <a:gd name="connsiteY60" fmla="*/ 328710 h 334674"/>
                    <a:gd name="connsiteX61" fmla="*/ 155710 w 388488"/>
                    <a:gd name="connsiteY61" fmla="*/ 320538 h 334674"/>
                    <a:gd name="connsiteX62" fmla="*/ 146242 w 388488"/>
                    <a:gd name="connsiteY62" fmla="*/ 309870 h 334674"/>
                    <a:gd name="connsiteX63" fmla="*/ 145338 w 388488"/>
                    <a:gd name="connsiteY63" fmla="*/ 301659 h 334674"/>
                    <a:gd name="connsiteX64" fmla="*/ 145557 w 388488"/>
                    <a:gd name="connsiteY64" fmla="*/ 292915 h 334674"/>
                    <a:gd name="connsiteX65" fmla="*/ 146204 w 388488"/>
                    <a:gd name="connsiteY65" fmla="*/ 278856 h 334674"/>
                    <a:gd name="connsiteX66" fmla="*/ 137051 w 388488"/>
                    <a:gd name="connsiteY66" fmla="*/ 261206 h 334674"/>
                    <a:gd name="connsiteX67" fmla="*/ 133908 w 388488"/>
                    <a:gd name="connsiteY67" fmla="*/ 242414 h 334674"/>
                    <a:gd name="connsiteX68" fmla="*/ 127954 w 388488"/>
                    <a:gd name="connsiteY68" fmla="*/ 222249 h 334674"/>
                    <a:gd name="connsiteX69" fmla="*/ 117829 w 388488"/>
                    <a:gd name="connsiteY69" fmla="*/ 210819 h 334674"/>
                    <a:gd name="connsiteX70" fmla="*/ 99941 w 388488"/>
                    <a:gd name="connsiteY70" fmla="*/ 210276 h 334674"/>
                    <a:gd name="connsiteX71" fmla="*/ 83987 w 388488"/>
                    <a:gd name="connsiteY71" fmla="*/ 213677 h 334674"/>
                    <a:gd name="connsiteX72" fmla="*/ 55745 w 388488"/>
                    <a:gd name="connsiteY72" fmla="*/ 235956 h 334674"/>
                    <a:gd name="connsiteX73" fmla="*/ 39086 w 388488"/>
                    <a:gd name="connsiteY73" fmla="*/ 226050 h 334674"/>
                    <a:gd name="connsiteX74" fmla="*/ 28504 w 388488"/>
                    <a:gd name="connsiteY74" fmla="*/ 212143 h 334674"/>
                    <a:gd name="connsiteX75" fmla="*/ 30333 w 388488"/>
                    <a:gd name="connsiteY75" fmla="*/ 191407 h 334674"/>
                    <a:gd name="connsiteX76" fmla="*/ 21341 w 388488"/>
                    <a:gd name="connsiteY76" fmla="*/ 177625 h 334674"/>
                    <a:gd name="connsiteX77" fmla="*/ 13854 w 388488"/>
                    <a:gd name="connsiteY77" fmla="*/ 166280 h 334674"/>
                    <a:gd name="connsiteX78" fmla="*/ 6911 w 388488"/>
                    <a:gd name="connsiteY78" fmla="*/ 159060 h 334674"/>
                    <a:gd name="connsiteX79" fmla="*/ 3177 w 388488"/>
                    <a:gd name="connsiteY79" fmla="*/ 149078 h 334674"/>
                    <a:gd name="connsiteX80" fmla="*/ 205 w 388488"/>
                    <a:gd name="connsiteY80" fmla="*/ 141734 h 334674"/>
                    <a:gd name="connsiteX81" fmla="*/ 52259 w 388488"/>
                    <a:gd name="connsiteY81" fmla="*/ 141706 h 334674"/>
                    <a:gd name="connsiteX82" fmla="*/ 78472 w 388488"/>
                    <a:gd name="connsiteY82" fmla="*/ 141696 h 334674"/>
                    <a:gd name="connsiteX83" fmla="*/ 105094 w 388488"/>
                    <a:gd name="connsiteY83" fmla="*/ 141677 h 334674"/>
                    <a:gd name="connsiteX84" fmla="*/ 116877 w 388488"/>
                    <a:gd name="connsiteY84" fmla="*/ 117417 h 334674"/>
                    <a:gd name="connsiteX85" fmla="*/ 127954 w 388488"/>
                    <a:gd name="connsiteY85" fmla="*/ 95110 h 334674"/>
                    <a:gd name="connsiteX86" fmla="*/ 153186 w 388488"/>
                    <a:gd name="connsiteY86" fmla="*/ 45761 h 334674"/>
                    <a:gd name="connsiteX87" fmla="*/ 167188 w 388488"/>
                    <a:gd name="connsiteY87" fmla="*/ 19195 h 334674"/>
                    <a:gd name="connsiteX88" fmla="*/ 173503 w 388488"/>
                    <a:gd name="connsiteY88" fmla="*/ 7384 h 334674"/>
                    <a:gd name="connsiteX89" fmla="*/ 183971 w 388488"/>
                    <a:gd name="connsiteY89" fmla="*/ 2 h 334674"/>
                    <a:gd name="connsiteX90" fmla="*/ 183971 w 388488"/>
                    <a:gd name="connsiteY90" fmla="*/ 2 h 33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388488" h="334674">
                      <a:moveTo>
                        <a:pt x="183971" y="2"/>
                      </a:moveTo>
                      <a:cubicBezTo>
                        <a:pt x="210584" y="31"/>
                        <a:pt x="237197" y="12"/>
                        <a:pt x="263819" y="12"/>
                      </a:cubicBezTo>
                      <a:cubicBezTo>
                        <a:pt x="253475" y="20024"/>
                        <a:pt x="243283" y="40103"/>
                        <a:pt x="233320" y="60305"/>
                      </a:cubicBezTo>
                      <a:cubicBezTo>
                        <a:pt x="239435" y="61639"/>
                        <a:pt x="239302" y="66620"/>
                        <a:pt x="246550" y="66525"/>
                      </a:cubicBezTo>
                      <a:cubicBezTo>
                        <a:pt x="249360" y="66487"/>
                        <a:pt x="247998" y="62963"/>
                        <a:pt x="251027" y="65573"/>
                      </a:cubicBezTo>
                      <a:cubicBezTo>
                        <a:pt x="253161" y="67411"/>
                        <a:pt x="250713" y="70478"/>
                        <a:pt x="251903" y="71745"/>
                      </a:cubicBezTo>
                      <a:cubicBezTo>
                        <a:pt x="254208" y="74202"/>
                        <a:pt x="263609" y="73259"/>
                        <a:pt x="266753" y="73697"/>
                      </a:cubicBezTo>
                      <a:cubicBezTo>
                        <a:pt x="268382" y="73926"/>
                        <a:pt x="268943" y="75983"/>
                        <a:pt x="271058" y="76002"/>
                      </a:cubicBezTo>
                      <a:cubicBezTo>
                        <a:pt x="273220" y="76021"/>
                        <a:pt x="278526" y="74583"/>
                        <a:pt x="281183" y="74212"/>
                      </a:cubicBezTo>
                      <a:cubicBezTo>
                        <a:pt x="280450" y="75669"/>
                        <a:pt x="282202" y="82584"/>
                        <a:pt x="282269" y="82603"/>
                      </a:cubicBezTo>
                      <a:cubicBezTo>
                        <a:pt x="285603" y="83975"/>
                        <a:pt x="288012" y="79260"/>
                        <a:pt x="290880" y="79365"/>
                      </a:cubicBezTo>
                      <a:cubicBezTo>
                        <a:pt x="293670" y="79470"/>
                        <a:pt x="292746" y="82365"/>
                        <a:pt x="295642" y="83489"/>
                      </a:cubicBezTo>
                      <a:cubicBezTo>
                        <a:pt x="297852" y="84346"/>
                        <a:pt x="301033" y="82651"/>
                        <a:pt x="303395" y="82222"/>
                      </a:cubicBezTo>
                      <a:cubicBezTo>
                        <a:pt x="297195" y="90633"/>
                        <a:pt x="307196" y="82822"/>
                        <a:pt x="309196" y="82060"/>
                      </a:cubicBezTo>
                      <a:cubicBezTo>
                        <a:pt x="313768" y="80327"/>
                        <a:pt x="315235" y="84384"/>
                        <a:pt x="320798" y="81946"/>
                      </a:cubicBezTo>
                      <a:cubicBezTo>
                        <a:pt x="318559" y="91471"/>
                        <a:pt x="336847" y="83451"/>
                        <a:pt x="340381" y="82775"/>
                      </a:cubicBezTo>
                      <a:cubicBezTo>
                        <a:pt x="347953" y="81346"/>
                        <a:pt x="351754" y="81946"/>
                        <a:pt x="359021" y="81594"/>
                      </a:cubicBezTo>
                      <a:cubicBezTo>
                        <a:pt x="364127" y="81355"/>
                        <a:pt x="363031" y="81736"/>
                        <a:pt x="368261" y="85537"/>
                      </a:cubicBezTo>
                      <a:cubicBezTo>
                        <a:pt x="370947" y="87490"/>
                        <a:pt x="376271" y="90661"/>
                        <a:pt x="378805" y="91404"/>
                      </a:cubicBezTo>
                      <a:cubicBezTo>
                        <a:pt x="380662" y="91947"/>
                        <a:pt x="382205" y="91280"/>
                        <a:pt x="384196" y="91928"/>
                      </a:cubicBezTo>
                      <a:cubicBezTo>
                        <a:pt x="390130" y="93862"/>
                        <a:pt x="389082" y="93252"/>
                        <a:pt x="386025" y="100158"/>
                      </a:cubicBezTo>
                      <a:cubicBezTo>
                        <a:pt x="382167" y="108864"/>
                        <a:pt x="378291" y="117570"/>
                        <a:pt x="374452" y="126285"/>
                      </a:cubicBezTo>
                      <a:cubicBezTo>
                        <a:pt x="372756" y="130123"/>
                        <a:pt x="369661" y="134838"/>
                        <a:pt x="368927" y="138953"/>
                      </a:cubicBezTo>
                      <a:cubicBezTo>
                        <a:pt x="368213" y="143011"/>
                        <a:pt x="369823" y="146421"/>
                        <a:pt x="370042" y="150859"/>
                      </a:cubicBezTo>
                      <a:cubicBezTo>
                        <a:pt x="370251" y="155098"/>
                        <a:pt x="369451" y="157012"/>
                        <a:pt x="370213" y="161594"/>
                      </a:cubicBezTo>
                      <a:cubicBezTo>
                        <a:pt x="370613" y="163966"/>
                        <a:pt x="370461" y="168509"/>
                        <a:pt x="369832" y="170938"/>
                      </a:cubicBezTo>
                      <a:cubicBezTo>
                        <a:pt x="367908" y="178329"/>
                        <a:pt x="359679" y="183835"/>
                        <a:pt x="356221" y="190683"/>
                      </a:cubicBezTo>
                      <a:cubicBezTo>
                        <a:pt x="354516" y="194055"/>
                        <a:pt x="354078" y="198780"/>
                        <a:pt x="351792" y="201780"/>
                      </a:cubicBezTo>
                      <a:cubicBezTo>
                        <a:pt x="348877" y="205590"/>
                        <a:pt x="344829" y="206704"/>
                        <a:pt x="341524" y="210591"/>
                      </a:cubicBezTo>
                      <a:cubicBezTo>
                        <a:pt x="340724" y="211543"/>
                        <a:pt x="343048" y="213143"/>
                        <a:pt x="341743" y="214039"/>
                      </a:cubicBezTo>
                      <a:cubicBezTo>
                        <a:pt x="340724" y="214753"/>
                        <a:pt x="339562" y="214143"/>
                        <a:pt x="338276" y="214858"/>
                      </a:cubicBezTo>
                      <a:cubicBezTo>
                        <a:pt x="337066" y="215525"/>
                        <a:pt x="333056" y="216001"/>
                        <a:pt x="331570" y="216429"/>
                      </a:cubicBezTo>
                      <a:cubicBezTo>
                        <a:pt x="324827" y="218392"/>
                        <a:pt x="318350" y="221201"/>
                        <a:pt x="312016" y="224173"/>
                      </a:cubicBezTo>
                      <a:cubicBezTo>
                        <a:pt x="314397" y="221754"/>
                        <a:pt x="317873" y="220554"/>
                        <a:pt x="320988" y="219011"/>
                      </a:cubicBezTo>
                      <a:cubicBezTo>
                        <a:pt x="318521" y="218230"/>
                        <a:pt x="316016" y="219030"/>
                        <a:pt x="313559" y="219011"/>
                      </a:cubicBezTo>
                      <a:cubicBezTo>
                        <a:pt x="315597" y="217401"/>
                        <a:pt x="316940" y="215210"/>
                        <a:pt x="317235" y="212648"/>
                      </a:cubicBezTo>
                      <a:cubicBezTo>
                        <a:pt x="311187" y="212381"/>
                        <a:pt x="308653" y="214696"/>
                        <a:pt x="307024" y="219544"/>
                      </a:cubicBezTo>
                      <a:cubicBezTo>
                        <a:pt x="305472" y="224183"/>
                        <a:pt x="309196" y="223173"/>
                        <a:pt x="303614" y="227555"/>
                      </a:cubicBezTo>
                      <a:cubicBezTo>
                        <a:pt x="301033" y="229574"/>
                        <a:pt x="298833" y="231889"/>
                        <a:pt x="296547" y="233774"/>
                      </a:cubicBezTo>
                      <a:cubicBezTo>
                        <a:pt x="286422" y="242147"/>
                        <a:pt x="269753" y="249205"/>
                        <a:pt x="257085" y="252367"/>
                      </a:cubicBezTo>
                      <a:cubicBezTo>
                        <a:pt x="259809" y="250729"/>
                        <a:pt x="262619" y="249215"/>
                        <a:pt x="265495" y="247862"/>
                      </a:cubicBezTo>
                      <a:cubicBezTo>
                        <a:pt x="262152" y="248538"/>
                        <a:pt x="258456" y="247462"/>
                        <a:pt x="255104" y="247071"/>
                      </a:cubicBezTo>
                      <a:cubicBezTo>
                        <a:pt x="255075" y="247071"/>
                        <a:pt x="252942" y="249186"/>
                        <a:pt x="252084" y="249043"/>
                      </a:cubicBezTo>
                      <a:cubicBezTo>
                        <a:pt x="251656" y="248967"/>
                        <a:pt x="250122" y="246481"/>
                        <a:pt x="250074" y="246490"/>
                      </a:cubicBezTo>
                      <a:cubicBezTo>
                        <a:pt x="249598" y="246576"/>
                        <a:pt x="249532" y="243671"/>
                        <a:pt x="247922" y="245976"/>
                      </a:cubicBezTo>
                      <a:cubicBezTo>
                        <a:pt x="245998" y="248729"/>
                        <a:pt x="248636" y="252596"/>
                        <a:pt x="251160" y="253348"/>
                      </a:cubicBezTo>
                      <a:cubicBezTo>
                        <a:pt x="248131" y="255434"/>
                        <a:pt x="242302" y="259178"/>
                        <a:pt x="240273" y="254482"/>
                      </a:cubicBezTo>
                      <a:cubicBezTo>
                        <a:pt x="238273" y="257654"/>
                        <a:pt x="237282" y="261426"/>
                        <a:pt x="233453" y="262797"/>
                      </a:cubicBezTo>
                      <a:cubicBezTo>
                        <a:pt x="233349" y="262121"/>
                        <a:pt x="233177" y="261407"/>
                        <a:pt x="233053" y="260692"/>
                      </a:cubicBezTo>
                      <a:cubicBezTo>
                        <a:pt x="230215" y="263188"/>
                        <a:pt x="225005" y="261549"/>
                        <a:pt x="224833" y="265845"/>
                      </a:cubicBezTo>
                      <a:cubicBezTo>
                        <a:pt x="225957" y="265359"/>
                        <a:pt x="227329" y="265350"/>
                        <a:pt x="228415" y="264807"/>
                      </a:cubicBezTo>
                      <a:cubicBezTo>
                        <a:pt x="226167" y="268693"/>
                        <a:pt x="222938" y="270722"/>
                        <a:pt x="218975" y="272351"/>
                      </a:cubicBezTo>
                      <a:cubicBezTo>
                        <a:pt x="217642" y="272903"/>
                        <a:pt x="215203" y="270951"/>
                        <a:pt x="213956" y="272551"/>
                      </a:cubicBezTo>
                      <a:cubicBezTo>
                        <a:pt x="212736" y="274113"/>
                        <a:pt x="215832" y="275875"/>
                        <a:pt x="215413" y="277732"/>
                      </a:cubicBezTo>
                      <a:cubicBezTo>
                        <a:pt x="213479" y="286448"/>
                        <a:pt x="205135" y="292582"/>
                        <a:pt x="198687" y="284857"/>
                      </a:cubicBezTo>
                      <a:cubicBezTo>
                        <a:pt x="196592" y="292248"/>
                        <a:pt x="203402" y="288981"/>
                        <a:pt x="204164" y="292801"/>
                      </a:cubicBezTo>
                      <a:cubicBezTo>
                        <a:pt x="204678" y="295401"/>
                        <a:pt x="199782" y="300192"/>
                        <a:pt x="199039" y="302783"/>
                      </a:cubicBezTo>
                      <a:cubicBezTo>
                        <a:pt x="197611" y="307746"/>
                        <a:pt x="194001" y="327805"/>
                        <a:pt x="200325" y="328701"/>
                      </a:cubicBezTo>
                      <a:cubicBezTo>
                        <a:pt x="200211" y="331368"/>
                        <a:pt x="193334" y="334978"/>
                        <a:pt x="190896" y="334654"/>
                      </a:cubicBezTo>
                      <a:cubicBezTo>
                        <a:pt x="188438" y="334330"/>
                        <a:pt x="185895" y="331330"/>
                        <a:pt x="183418" y="330358"/>
                      </a:cubicBezTo>
                      <a:cubicBezTo>
                        <a:pt x="179847" y="328948"/>
                        <a:pt x="176122" y="329605"/>
                        <a:pt x="172465" y="328710"/>
                      </a:cubicBezTo>
                      <a:cubicBezTo>
                        <a:pt x="166235" y="327177"/>
                        <a:pt x="161168" y="322928"/>
                        <a:pt x="155710" y="320538"/>
                      </a:cubicBezTo>
                      <a:cubicBezTo>
                        <a:pt x="148595" y="317423"/>
                        <a:pt x="146395" y="317890"/>
                        <a:pt x="146242" y="309870"/>
                      </a:cubicBezTo>
                      <a:cubicBezTo>
                        <a:pt x="146185" y="306888"/>
                        <a:pt x="145719" y="304526"/>
                        <a:pt x="145338" y="301659"/>
                      </a:cubicBezTo>
                      <a:cubicBezTo>
                        <a:pt x="144642" y="296468"/>
                        <a:pt x="144461" y="298011"/>
                        <a:pt x="145557" y="292915"/>
                      </a:cubicBezTo>
                      <a:cubicBezTo>
                        <a:pt x="146566" y="288248"/>
                        <a:pt x="148567" y="283390"/>
                        <a:pt x="146204" y="278856"/>
                      </a:cubicBezTo>
                      <a:cubicBezTo>
                        <a:pt x="143185" y="273065"/>
                        <a:pt x="139718" y="267474"/>
                        <a:pt x="137051" y="261206"/>
                      </a:cubicBezTo>
                      <a:cubicBezTo>
                        <a:pt x="134565" y="255387"/>
                        <a:pt x="134898" y="249167"/>
                        <a:pt x="133908" y="242414"/>
                      </a:cubicBezTo>
                      <a:cubicBezTo>
                        <a:pt x="132745" y="234527"/>
                        <a:pt x="132479" y="228964"/>
                        <a:pt x="127954" y="222249"/>
                      </a:cubicBezTo>
                      <a:cubicBezTo>
                        <a:pt x="125354" y="218373"/>
                        <a:pt x="120858" y="211896"/>
                        <a:pt x="117829" y="210819"/>
                      </a:cubicBezTo>
                      <a:cubicBezTo>
                        <a:pt x="111933" y="212572"/>
                        <a:pt x="105942" y="210800"/>
                        <a:pt x="99941" y="210276"/>
                      </a:cubicBezTo>
                      <a:cubicBezTo>
                        <a:pt x="94846" y="209829"/>
                        <a:pt x="89340" y="210819"/>
                        <a:pt x="83987" y="213677"/>
                      </a:cubicBezTo>
                      <a:cubicBezTo>
                        <a:pt x="74824" y="218573"/>
                        <a:pt x="68204" y="238442"/>
                        <a:pt x="55745" y="235956"/>
                      </a:cubicBezTo>
                      <a:cubicBezTo>
                        <a:pt x="51859" y="235175"/>
                        <a:pt x="42353" y="228441"/>
                        <a:pt x="39086" y="226050"/>
                      </a:cubicBezTo>
                      <a:cubicBezTo>
                        <a:pt x="34581" y="222754"/>
                        <a:pt x="29561" y="217668"/>
                        <a:pt x="28504" y="212143"/>
                      </a:cubicBezTo>
                      <a:cubicBezTo>
                        <a:pt x="27142" y="204971"/>
                        <a:pt x="30914" y="198846"/>
                        <a:pt x="30333" y="191407"/>
                      </a:cubicBezTo>
                      <a:cubicBezTo>
                        <a:pt x="29742" y="183797"/>
                        <a:pt x="26199" y="182835"/>
                        <a:pt x="21341" y="177625"/>
                      </a:cubicBezTo>
                      <a:cubicBezTo>
                        <a:pt x="18169" y="174224"/>
                        <a:pt x="16407" y="170090"/>
                        <a:pt x="13854" y="166280"/>
                      </a:cubicBezTo>
                      <a:cubicBezTo>
                        <a:pt x="12016" y="163518"/>
                        <a:pt x="8463" y="161461"/>
                        <a:pt x="6911" y="159060"/>
                      </a:cubicBezTo>
                      <a:cubicBezTo>
                        <a:pt x="4920" y="155984"/>
                        <a:pt x="4539" y="152421"/>
                        <a:pt x="3177" y="149078"/>
                      </a:cubicBezTo>
                      <a:cubicBezTo>
                        <a:pt x="1853" y="145840"/>
                        <a:pt x="-747" y="147459"/>
                        <a:pt x="205" y="141734"/>
                      </a:cubicBezTo>
                      <a:cubicBezTo>
                        <a:pt x="17550" y="141639"/>
                        <a:pt x="34905" y="141715"/>
                        <a:pt x="52259" y="141706"/>
                      </a:cubicBezTo>
                      <a:cubicBezTo>
                        <a:pt x="60994" y="141696"/>
                        <a:pt x="69738" y="141696"/>
                        <a:pt x="78472" y="141696"/>
                      </a:cubicBezTo>
                      <a:cubicBezTo>
                        <a:pt x="84206" y="141696"/>
                        <a:pt x="100332" y="144544"/>
                        <a:pt x="105094" y="141677"/>
                      </a:cubicBezTo>
                      <a:cubicBezTo>
                        <a:pt x="109752" y="138877"/>
                        <a:pt x="114305" y="122608"/>
                        <a:pt x="116877" y="117417"/>
                      </a:cubicBezTo>
                      <a:cubicBezTo>
                        <a:pt x="120563" y="109969"/>
                        <a:pt x="124221" y="102520"/>
                        <a:pt x="127954" y="95110"/>
                      </a:cubicBezTo>
                      <a:cubicBezTo>
                        <a:pt x="136260" y="78603"/>
                        <a:pt x="144633" y="62144"/>
                        <a:pt x="153186" y="45761"/>
                      </a:cubicBezTo>
                      <a:cubicBezTo>
                        <a:pt x="157815" y="36893"/>
                        <a:pt x="162492" y="28034"/>
                        <a:pt x="167188" y="19195"/>
                      </a:cubicBezTo>
                      <a:cubicBezTo>
                        <a:pt x="169283" y="15252"/>
                        <a:pt x="171388" y="11318"/>
                        <a:pt x="173503" y="7384"/>
                      </a:cubicBezTo>
                      <a:cubicBezTo>
                        <a:pt x="177170" y="555"/>
                        <a:pt x="176399" y="-45"/>
                        <a:pt x="183971" y="2"/>
                      </a:cubicBezTo>
                      <a:lnTo>
                        <a:pt x="183971" y="2"/>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78" name="Freeform: Shape 477">
                  <a:extLst>
                    <a:ext uri="{FF2B5EF4-FFF2-40B4-BE49-F238E27FC236}">
                      <a16:creationId xmlns:a16="http://schemas.microsoft.com/office/drawing/2014/main" id="{665EF79B-A45B-4692-B167-A3C9E09E13AA}"/>
                    </a:ext>
                  </a:extLst>
                </p:cNvPr>
                <p:cNvSpPr/>
                <p:nvPr/>
              </p:nvSpPr>
              <p:spPr>
                <a:xfrm>
                  <a:off x="3006518" y="3209242"/>
                  <a:ext cx="268557" cy="53451"/>
                </a:xfrm>
                <a:custGeom>
                  <a:avLst/>
                  <a:gdLst>
                    <a:gd name="connsiteX0" fmla="*/ 93174 w 268557"/>
                    <a:gd name="connsiteY0" fmla="*/ 385 h 53451"/>
                    <a:gd name="connsiteX1" fmla="*/ 113319 w 268557"/>
                    <a:gd name="connsiteY1" fmla="*/ 1023 h 53451"/>
                    <a:gd name="connsiteX2" fmla="*/ 138855 w 268557"/>
                    <a:gd name="connsiteY2" fmla="*/ 938 h 53451"/>
                    <a:gd name="connsiteX3" fmla="*/ 186280 w 268557"/>
                    <a:gd name="connsiteY3" fmla="*/ 2433 h 53451"/>
                    <a:gd name="connsiteX4" fmla="*/ 268557 w 268557"/>
                    <a:gd name="connsiteY4" fmla="*/ 2414 h 53451"/>
                    <a:gd name="connsiteX5" fmla="*/ 262471 w 268557"/>
                    <a:gd name="connsiteY5" fmla="*/ 10472 h 53451"/>
                    <a:gd name="connsiteX6" fmla="*/ 252365 w 268557"/>
                    <a:gd name="connsiteY6" fmla="*/ 16463 h 53451"/>
                    <a:gd name="connsiteX7" fmla="*/ 242821 w 268557"/>
                    <a:gd name="connsiteY7" fmla="*/ 17968 h 53451"/>
                    <a:gd name="connsiteX8" fmla="*/ 233905 w 268557"/>
                    <a:gd name="connsiteY8" fmla="*/ 22521 h 53451"/>
                    <a:gd name="connsiteX9" fmla="*/ 212788 w 268557"/>
                    <a:gd name="connsiteY9" fmla="*/ 30217 h 53451"/>
                    <a:gd name="connsiteX10" fmla="*/ 192891 w 268557"/>
                    <a:gd name="connsiteY10" fmla="*/ 36142 h 53451"/>
                    <a:gd name="connsiteX11" fmla="*/ 185261 w 268557"/>
                    <a:gd name="connsiteY11" fmla="*/ 40647 h 53451"/>
                    <a:gd name="connsiteX12" fmla="*/ 181756 w 268557"/>
                    <a:gd name="connsiteY12" fmla="*/ 44353 h 53451"/>
                    <a:gd name="connsiteX13" fmla="*/ 177146 w 268557"/>
                    <a:gd name="connsiteY13" fmla="*/ 44943 h 53451"/>
                    <a:gd name="connsiteX14" fmla="*/ 164001 w 268557"/>
                    <a:gd name="connsiteY14" fmla="*/ 53449 h 53451"/>
                    <a:gd name="connsiteX15" fmla="*/ 143761 w 268557"/>
                    <a:gd name="connsiteY15" fmla="*/ 53239 h 53451"/>
                    <a:gd name="connsiteX16" fmla="*/ 104061 w 268557"/>
                    <a:gd name="connsiteY16" fmla="*/ 52820 h 53451"/>
                    <a:gd name="connsiteX17" fmla="*/ 60217 w 268557"/>
                    <a:gd name="connsiteY17" fmla="*/ 52401 h 53451"/>
                    <a:gd name="connsiteX18" fmla="*/ 60722 w 268557"/>
                    <a:gd name="connsiteY18" fmla="*/ 53192 h 53451"/>
                    <a:gd name="connsiteX19" fmla="*/ 0 w 268557"/>
                    <a:gd name="connsiteY19" fmla="*/ 53125 h 53451"/>
                    <a:gd name="connsiteX20" fmla="*/ 26241 w 268557"/>
                    <a:gd name="connsiteY20" fmla="*/ 27770 h 53451"/>
                    <a:gd name="connsiteX21" fmla="*/ 37586 w 268557"/>
                    <a:gd name="connsiteY21" fmla="*/ 13539 h 53451"/>
                    <a:gd name="connsiteX22" fmla="*/ 43177 w 268557"/>
                    <a:gd name="connsiteY22" fmla="*/ 5843 h 53451"/>
                    <a:gd name="connsiteX23" fmla="*/ 57512 w 268557"/>
                    <a:gd name="connsiteY23" fmla="*/ 5890 h 53451"/>
                    <a:gd name="connsiteX24" fmla="*/ 80762 w 268557"/>
                    <a:gd name="connsiteY24" fmla="*/ 5900 h 53451"/>
                    <a:gd name="connsiteX25" fmla="*/ 85201 w 268557"/>
                    <a:gd name="connsiteY25" fmla="*/ 5900 h 53451"/>
                    <a:gd name="connsiteX26" fmla="*/ 86754 w 268557"/>
                    <a:gd name="connsiteY26" fmla="*/ 1423 h 53451"/>
                    <a:gd name="connsiteX27" fmla="*/ 93174 w 268557"/>
                    <a:gd name="connsiteY27" fmla="*/ 385 h 53451"/>
                    <a:gd name="connsiteX28" fmla="*/ 93174 w 268557"/>
                    <a:gd name="connsiteY28" fmla="*/ 385 h 53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8557" h="53451">
                      <a:moveTo>
                        <a:pt x="93174" y="385"/>
                      </a:moveTo>
                      <a:cubicBezTo>
                        <a:pt x="96783" y="3052"/>
                        <a:pt x="108118" y="1119"/>
                        <a:pt x="113319" y="1023"/>
                      </a:cubicBezTo>
                      <a:cubicBezTo>
                        <a:pt x="121844" y="880"/>
                        <a:pt x="130340" y="671"/>
                        <a:pt x="138855" y="938"/>
                      </a:cubicBezTo>
                      <a:cubicBezTo>
                        <a:pt x="154667" y="1433"/>
                        <a:pt x="170478" y="1938"/>
                        <a:pt x="186280" y="2433"/>
                      </a:cubicBezTo>
                      <a:cubicBezTo>
                        <a:pt x="213655" y="3290"/>
                        <a:pt x="241335" y="1414"/>
                        <a:pt x="268557" y="2414"/>
                      </a:cubicBezTo>
                      <a:cubicBezTo>
                        <a:pt x="266186" y="4738"/>
                        <a:pt x="264719" y="8596"/>
                        <a:pt x="262471" y="10472"/>
                      </a:cubicBezTo>
                      <a:cubicBezTo>
                        <a:pt x="261156" y="11567"/>
                        <a:pt x="253755" y="15758"/>
                        <a:pt x="252365" y="16463"/>
                      </a:cubicBezTo>
                      <a:cubicBezTo>
                        <a:pt x="248583" y="18368"/>
                        <a:pt x="247259" y="16663"/>
                        <a:pt x="242821" y="17968"/>
                      </a:cubicBezTo>
                      <a:cubicBezTo>
                        <a:pt x="239544" y="18940"/>
                        <a:pt x="237306" y="21883"/>
                        <a:pt x="233905" y="22521"/>
                      </a:cubicBezTo>
                      <a:cubicBezTo>
                        <a:pt x="234544" y="17492"/>
                        <a:pt x="216494" y="28798"/>
                        <a:pt x="212788" y="30217"/>
                      </a:cubicBezTo>
                      <a:cubicBezTo>
                        <a:pt x="206092" y="32780"/>
                        <a:pt x="199511" y="33885"/>
                        <a:pt x="192891" y="36142"/>
                      </a:cubicBezTo>
                      <a:cubicBezTo>
                        <a:pt x="190062" y="37104"/>
                        <a:pt x="187604" y="38904"/>
                        <a:pt x="185261" y="40647"/>
                      </a:cubicBezTo>
                      <a:cubicBezTo>
                        <a:pt x="183880" y="41676"/>
                        <a:pt x="183261" y="43476"/>
                        <a:pt x="181756" y="44353"/>
                      </a:cubicBezTo>
                      <a:cubicBezTo>
                        <a:pt x="180423" y="45134"/>
                        <a:pt x="178184" y="44248"/>
                        <a:pt x="177146" y="44943"/>
                      </a:cubicBezTo>
                      <a:cubicBezTo>
                        <a:pt x="170459" y="49401"/>
                        <a:pt x="173374" y="53563"/>
                        <a:pt x="164001" y="53449"/>
                      </a:cubicBezTo>
                      <a:cubicBezTo>
                        <a:pt x="157258" y="53363"/>
                        <a:pt x="150504" y="53315"/>
                        <a:pt x="143761" y="53239"/>
                      </a:cubicBezTo>
                      <a:cubicBezTo>
                        <a:pt x="130531" y="53087"/>
                        <a:pt x="117291" y="52963"/>
                        <a:pt x="104061" y="52820"/>
                      </a:cubicBezTo>
                      <a:cubicBezTo>
                        <a:pt x="89449" y="52668"/>
                        <a:pt x="74828" y="52344"/>
                        <a:pt x="60217" y="52401"/>
                      </a:cubicBezTo>
                      <a:cubicBezTo>
                        <a:pt x="60331" y="52706"/>
                        <a:pt x="60493" y="52973"/>
                        <a:pt x="60722" y="53192"/>
                      </a:cubicBezTo>
                      <a:cubicBezTo>
                        <a:pt x="40481" y="53182"/>
                        <a:pt x="20241" y="53144"/>
                        <a:pt x="0" y="53125"/>
                      </a:cubicBezTo>
                      <a:cubicBezTo>
                        <a:pt x="9373" y="45105"/>
                        <a:pt x="16573" y="35104"/>
                        <a:pt x="26241" y="27770"/>
                      </a:cubicBezTo>
                      <a:cubicBezTo>
                        <a:pt x="30737" y="24360"/>
                        <a:pt x="34642" y="17483"/>
                        <a:pt x="37586" y="13539"/>
                      </a:cubicBezTo>
                      <a:cubicBezTo>
                        <a:pt x="38605" y="12177"/>
                        <a:pt x="41634" y="6567"/>
                        <a:pt x="43177" y="5843"/>
                      </a:cubicBezTo>
                      <a:cubicBezTo>
                        <a:pt x="46025" y="4528"/>
                        <a:pt x="53769" y="5890"/>
                        <a:pt x="57512" y="5890"/>
                      </a:cubicBezTo>
                      <a:cubicBezTo>
                        <a:pt x="64656" y="5890"/>
                        <a:pt x="73838" y="7500"/>
                        <a:pt x="80762" y="5900"/>
                      </a:cubicBezTo>
                      <a:cubicBezTo>
                        <a:pt x="81696" y="5681"/>
                        <a:pt x="84496" y="6491"/>
                        <a:pt x="85201" y="5900"/>
                      </a:cubicBezTo>
                      <a:cubicBezTo>
                        <a:pt x="85992" y="5243"/>
                        <a:pt x="86306" y="1690"/>
                        <a:pt x="86754" y="1423"/>
                      </a:cubicBezTo>
                      <a:cubicBezTo>
                        <a:pt x="88335" y="499"/>
                        <a:pt x="89573" y="-596"/>
                        <a:pt x="93174" y="385"/>
                      </a:cubicBezTo>
                      <a:lnTo>
                        <a:pt x="93174" y="385"/>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79" name="Freeform: Shape 478">
                  <a:extLst>
                    <a:ext uri="{FF2B5EF4-FFF2-40B4-BE49-F238E27FC236}">
                      <a16:creationId xmlns:a16="http://schemas.microsoft.com/office/drawing/2014/main" id="{C55A410E-66EB-4387-B14F-FA002A87F309}"/>
                    </a:ext>
                  </a:extLst>
                </p:cNvPr>
                <p:cNvSpPr/>
                <p:nvPr/>
              </p:nvSpPr>
              <p:spPr>
                <a:xfrm>
                  <a:off x="2756848" y="2917686"/>
                  <a:ext cx="258460" cy="107669"/>
                </a:xfrm>
                <a:custGeom>
                  <a:avLst/>
                  <a:gdLst>
                    <a:gd name="connsiteX0" fmla="*/ 59417 w 258460"/>
                    <a:gd name="connsiteY0" fmla="*/ 0 h 107669"/>
                    <a:gd name="connsiteX1" fmla="*/ 258461 w 258460"/>
                    <a:gd name="connsiteY1" fmla="*/ 10 h 107669"/>
                    <a:gd name="connsiteX2" fmla="*/ 245345 w 258460"/>
                    <a:gd name="connsiteY2" fmla="*/ 9430 h 107669"/>
                    <a:gd name="connsiteX3" fmla="*/ 248326 w 258460"/>
                    <a:gd name="connsiteY3" fmla="*/ 18050 h 107669"/>
                    <a:gd name="connsiteX4" fmla="*/ 230743 w 258460"/>
                    <a:gd name="connsiteY4" fmla="*/ 51083 h 107669"/>
                    <a:gd name="connsiteX5" fmla="*/ 220237 w 258460"/>
                    <a:gd name="connsiteY5" fmla="*/ 69028 h 107669"/>
                    <a:gd name="connsiteX6" fmla="*/ 210941 w 258460"/>
                    <a:gd name="connsiteY6" fmla="*/ 79962 h 107669"/>
                    <a:gd name="connsiteX7" fmla="*/ 208588 w 258460"/>
                    <a:gd name="connsiteY7" fmla="*/ 85820 h 107669"/>
                    <a:gd name="connsiteX8" fmla="*/ 201940 w 258460"/>
                    <a:gd name="connsiteY8" fmla="*/ 96164 h 107669"/>
                    <a:gd name="connsiteX9" fmla="*/ 197320 w 258460"/>
                    <a:gd name="connsiteY9" fmla="*/ 100603 h 107669"/>
                    <a:gd name="connsiteX10" fmla="*/ 197672 w 258460"/>
                    <a:gd name="connsiteY10" fmla="*/ 104327 h 107669"/>
                    <a:gd name="connsiteX11" fmla="*/ 195120 w 258460"/>
                    <a:gd name="connsiteY11" fmla="*/ 107585 h 107669"/>
                    <a:gd name="connsiteX12" fmla="*/ 190271 w 258460"/>
                    <a:gd name="connsiteY12" fmla="*/ 101537 h 107669"/>
                    <a:gd name="connsiteX13" fmla="*/ 175393 w 258460"/>
                    <a:gd name="connsiteY13" fmla="*/ 96498 h 107669"/>
                    <a:gd name="connsiteX14" fmla="*/ 157877 w 258460"/>
                    <a:gd name="connsiteY14" fmla="*/ 97365 h 107669"/>
                    <a:gd name="connsiteX15" fmla="*/ 151705 w 258460"/>
                    <a:gd name="connsiteY15" fmla="*/ 92669 h 107669"/>
                    <a:gd name="connsiteX16" fmla="*/ 141580 w 258460"/>
                    <a:gd name="connsiteY16" fmla="*/ 92659 h 107669"/>
                    <a:gd name="connsiteX17" fmla="*/ 122663 w 258460"/>
                    <a:gd name="connsiteY17" fmla="*/ 92659 h 107669"/>
                    <a:gd name="connsiteX18" fmla="*/ 84934 w 258460"/>
                    <a:gd name="connsiteY18" fmla="*/ 92650 h 107669"/>
                    <a:gd name="connsiteX19" fmla="*/ 0 w 258460"/>
                    <a:gd name="connsiteY19" fmla="*/ 92650 h 107669"/>
                    <a:gd name="connsiteX20" fmla="*/ 59417 w 258460"/>
                    <a:gd name="connsiteY20" fmla="*/ 0 h 107669"/>
                    <a:gd name="connsiteX21" fmla="*/ 59417 w 258460"/>
                    <a:gd name="connsiteY21" fmla="*/ 0 h 107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58460" h="107669">
                      <a:moveTo>
                        <a:pt x="59417" y="0"/>
                      </a:moveTo>
                      <a:cubicBezTo>
                        <a:pt x="125768" y="0"/>
                        <a:pt x="192110" y="10"/>
                        <a:pt x="258461" y="10"/>
                      </a:cubicBezTo>
                      <a:cubicBezTo>
                        <a:pt x="255156" y="4267"/>
                        <a:pt x="248012" y="5677"/>
                        <a:pt x="245345" y="9430"/>
                      </a:cubicBezTo>
                      <a:cubicBezTo>
                        <a:pt x="241592" y="14735"/>
                        <a:pt x="247498" y="14697"/>
                        <a:pt x="248326" y="18050"/>
                      </a:cubicBezTo>
                      <a:cubicBezTo>
                        <a:pt x="250203" y="25613"/>
                        <a:pt x="234953" y="43920"/>
                        <a:pt x="230743" y="51083"/>
                      </a:cubicBezTo>
                      <a:cubicBezTo>
                        <a:pt x="227228" y="57055"/>
                        <a:pt x="223723" y="63036"/>
                        <a:pt x="220237" y="69028"/>
                      </a:cubicBezTo>
                      <a:cubicBezTo>
                        <a:pt x="216989" y="74628"/>
                        <a:pt x="213941" y="76495"/>
                        <a:pt x="210941" y="79962"/>
                      </a:cubicBezTo>
                      <a:cubicBezTo>
                        <a:pt x="209788" y="81296"/>
                        <a:pt x="208883" y="85154"/>
                        <a:pt x="208588" y="85820"/>
                      </a:cubicBezTo>
                      <a:cubicBezTo>
                        <a:pt x="207264" y="88878"/>
                        <a:pt x="205511" y="92459"/>
                        <a:pt x="201940" y="96164"/>
                      </a:cubicBezTo>
                      <a:cubicBezTo>
                        <a:pt x="200549" y="97603"/>
                        <a:pt x="198139" y="98717"/>
                        <a:pt x="197320" y="100603"/>
                      </a:cubicBezTo>
                      <a:cubicBezTo>
                        <a:pt x="196710" y="102013"/>
                        <a:pt x="198568" y="102879"/>
                        <a:pt x="197672" y="104327"/>
                      </a:cubicBezTo>
                      <a:cubicBezTo>
                        <a:pt x="196396" y="106394"/>
                        <a:pt x="198596" y="108071"/>
                        <a:pt x="195120" y="107585"/>
                      </a:cubicBezTo>
                      <a:cubicBezTo>
                        <a:pt x="194720" y="107528"/>
                        <a:pt x="191367" y="102403"/>
                        <a:pt x="190271" y="101537"/>
                      </a:cubicBezTo>
                      <a:cubicBezTo>
                        <a:pt x="186195" y="98346"/>
                        <a:pt x="180394" y="96555"/>
                        <a:pt x="175393" y="96498"/>
                      </a:cubicBezTo>
                      <a:cubicBezTo>
                        <a:pt x="169450" y="96431"/>
                        <a:pt x="163087" y="99546"/>
                        <a:pt x="157877" y="97365"/>
                      </a:cubicBezTo>
                      <a:cubicBezTo>
                        <a:pt x="155515" y="96374"/>
                        <a:pt x="154057" y="93517"/>
                        <a:pt x="151705" y="92669"/>
                      </a:cubicBezTo>
                      <a:cubicBezTo>
                        <a:pt x="149057" y="91716"/>
                        <a:pt x="144437" y="92659"/>
                        <a:pt x="141580" y="92659"/>
                      </a:cubicBezTo>
                      <a:cubicBezTo>
                        <a:pt x="135274" y="92659"/>
                        <a:pt x="128969" y="92659"/>
                        <a:pt x="122663" y="92659"/>
                      </a:cubicBezTo>
                      <a:cubicBezTo>
                        <a:pt x="110090" y="92650"/>
                        <a:pt x="97507" y="92659"/>
                        <a:pt x="84934" y="92650"/>
                      </a:cubicBezTo>
                      <a:cubicBezTo>
                        <a:pt x="56617" y="92650"/>
                        <a:pt x="28308" y="92650"/>
                        <a:pt x="0" y="92650"/>
                      </a:cubicBezTo>
                      <a:cubicBezTo>
                        <a:pt x="19498" y="61084"/>
                        <a:pt x="39472" y="30909"/>
                        <a:pt x="59417" y="0"/>
                      </a:cubicBezTo>
                      <a:lnTo>
                        <a:pt x="59417" y="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80" name="Freeform: Shape 479">
                  <a:extLst>
                    <a:ext uri="{FF2B5EF4-FFF2-40B4-BE49-F238E27FC236}">
                      <a16:creationId xmlns:a16="http://schemas.microsoft.com/office/drawing/2014/main" id="{56B6BBFF-C7FA-4431-9C2D-54435C8DDB28}"/>
                    </a:ext>
                  </a:extLst>
                </p:cNvPr>
                <p:cNvSpPr/>
                <p:nvPr/>
              </p:nvSpPr>
              <p:spPr>
                <a:xfrm>
                  <a:off x="3202191" y="3255596"/>
                  <a:ext cx="126690" cy="100353"/>
                </a:xfrm>
                <a:custGeom>
                  <a:avLst/>
                  <a:gdLst>
                    <a:gd name="connsiteX0" fmla="*/ 70284 w 126690"/>
                    <a:gd name="connsiteY0" fmla="*/ 3989 h 100353"/>
                    <a:gd name="connsiteX1" fmla="*/ 74618 w 126690"/>
                    <a:gd name="connsiteY1" fmla="*/ 12190 h 100353"/>
                    <a:gd name="connsiteX2" fmla="*/ 106641 w 126690"/>
                    <a:gd name="connsiteY2" fmla="*/ 13190 h 100353"/>
                    <a:gd name="connsiteX3" fmla="*/ 116509 w 126690"/>
                    <a:gd name="connsiteY3" fmla="*/ 27573 h 100353"/>
                    <a:gd name="connsiteX4" fmla="*/ 126691 w 126690"/>
                    <a:gd name="connsiteY4" fmla="*/ 42175 h 100353"/>
                    <a:gd name="connsiteX5" fmla="*/ 100926 w 126690"/>
                    <a:gd name="connsiteY5" fmla="*/ 62101 h 100353"/>
                    <a:gd name="connsiteX6" fmla="*/ 101907 w 126690"/>
                    <a:gd name="connsiteY6" fmla="*/ 57043 h 100353"/>
                    <a:gd name="connsiteX7" fmla="*/ 99202 w 126690"/>
                    <a:gd name="connsiteY7" fmla="*/ 63968 h 100353"/>
                    <a:gd name="connsiteX8" fmla="*/ 91363 w 126690"/>
                    <a:gd name="connsiteY8" fmla="*/ 68578 h 100353"/>
                    <a:gd name="connsiteX9" fmla="*/ 84162 w 126690"/>
                    <a:gd name="connsiteY9" fmla="*/ 72998 h 100353"/>
                    <a:gd name="connsiteX10" fmla="*/ 74351 w 126690"/>
                    <a:gd name="connsiteY10" fmla="*/ 75779 h 100353"/>
                    <a:gd name="connsiteX11" fmla="*/ 50453 w 126690"/>
                    <a:gd name="connsiteY11" fmla="*/ 85171 h 100353"/>
                    <a:gd name="connsiteX12" fmla="*/ 48691 w 126690"/>
                    <a:gd name="connsiteY12" fmla="*/ 88819 h 100353"/>
                    <a:gd name="connsiteX13" fmla="*/ 46195 w 126690"/>
                    <a:gd name="connsiteY13" fmla="*/ 90676 h 100353"/>
                    <a:gd name="connsiteX14" fmla="*/ 44805 w 126690"/>
                    <a:gd name="connsiteY14" fmla="*/ 87181 h 100353"/>
                    <a:gd name="connsiteX15" fmla="*/ 44843 w 126690"/>
                    <a:gd name="connsiteY15" fmla="*/ 94801 h 100353"/>
                    <a:gd name="connsiteX16" fmla="*/ 37823 w 126690"/>
                    <a:gd name="connsiteY16" fmla="*/ 100354 h 100353"/>
                    <a:gd name="connsiteX17" fmla="*/ 32155 w 126690"/>
                    <a:gd name="connsiteY17" fmla="*/ 84647 h 100353"/>
                    <a:gd name="connsiteX18" fmla="*/ 29908 w 126690"/>
                    <a:gd name="connsiteY18" fmla="*/ 77798 h 100353"/>
                    <a:gd name="connsiteX19" fmla="*/ 29803 w 126690"/>
                    <a:gd name="connsiteY19" fmla="*/ 67635 h 100353"/>
                    <a:gd name="connsiteX20" fmla="*/ 25164 w 126690"/>
                    <a:gd name="connsiteY20" fmla="*/ 60730 h 100353"/>
                    <a:gd name="connsiteX21" fmla="*/ 23821 w 126690"/>
                    <a:gd name="connsiteY21" fmla="*/ 56586 h 100353"/>
                    <a:gd name="connsiteX22" fmla="*/ 15401 w 126690"/>
                    <a:gd name="connsiteY22" fmla="*/ 41384 h 100353"/>
                    <a:gd name="connsiteX23" fmla="*/ 10353 w 126690"/>
                    <a:gd name="connsiteY23" fmla="*/ 24506 h 100353"/>
                    <a:gd name="connsiteX24" fmla="*/ 28 w 126690"/>
                    <a:gd name="connsiteY24" fmla="*/ 15095 h 100353"/>
                    <a:gd name="connsiteX25" fmla="*/ 33765 w 126690"/>
                    <a:gd name="connsiteY25" fmla="*/ 179 h 100353"/>
                    <a:gd name="connsiteX26" fmla="*/ 53425 w 126690"/>
                    <a:gd name="connsiteY26" fmla="*/ 1189 h 100353"/>
                    <a:gd name="connsiteX27" fmla="*/ 70284 w 126690"/>
                    <a:gd name="connsiteY27" fmla="*/ 3989 h 100353"/>
                    <a:gd name="connsiteX28" fmla="*/ 70284 w 126690"/>
                    <a:gd name="connsiteY28" fmla="*/ 3989 h 10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6690" h="100353">
                      <a:moveTo>
                        <a:pt x="70284" y="3989"/>
                      </a:moveTo>
                      <a:cubicBezTo>
                        <a:pt x="73875" y="2341"/>
                        <a:pt x="77828" y="6894"/>
                        <a:pt x="74618" y="12190"/>
                      </a:cubicBezTo>
                      <a:cubicBezTo>
                        <a:pt x="82486" y="12438"/>
                        <a:pt x="99859" y="9590"/>
                        <a:pt x="106641" y="13190"/>
                      </a:cubicBezTo>
                      <a:cubicBezTo>
                        <a:pt x="110175" y="15067"/>
                        <a:pt x="114166" y="24182"/>
                        <a:pt x="116509" y="27573"/>
                      </a:cubicBezTo>
                      <a:cubicBezTo>
                        <a:pt x="119881" y="32459"/>
                        <a:pt x="123262" y="37327"/>
                        <a:pt x="126691" y="42175"/>
                      </a:cubicBezTo>
                      <a:cubicBezTo>
                        <a:pt x="116718" y="46509"/>
                        <a:pt x="106774" y="52652"/>
                        <a:pt x="100926" y="62101"/>
                      </a:cubicBezTo>
                      <a:cubicBezTo>
                        <a:pt x="100993" y="59968"/>
                        <a:pt x="100745" y="59101"/>
                        <a:pt x="101907" y="57043"/>
                      </a:cubicBezTo>
                      <a:cubicBezTo>
                        <a:pt x="98230" y="59434"/>
                        <a:pt x="101116" y="61539"/>
                        <a:pt x="99202" y="63968"/>
                      </a:cubicBezTo>
                      <a:cubicBezTo>
                        <a:pt x="97430" y="66216"/>
                        <a:pt x="93754" y="67407"/>
                        <a:pt x="91363" y="68578"/>
                      </a:cubicBezTo>
                      <a:cubicBezTo>
                        <a:pt x="88115" y="70169"/>
                        <a:pt x="87077" y="71131"/>
                        <a:pt x="84162" y="72998"/>
                      </a:cubicBezTo>
                      <a:cubicBezTo>
                        <a:pt x="80990" y="75046"/>
                        <a:pt x="78171" y="77179"/>
                        <a:pt x="74351" y="75779"/>
                      </a:cubicBezTo>
                      <a:cubicBezTo>
                        <a:pt x="75913" y="85076"/>
                        <a:pt x="54892" y="83485"/>
                        <a:pt x="50453" y="85171"/>
                      </a:cubicBezTo>
                      <a:cubicBezTo>
                        <a:pt x="59321" y="87361"/>
                        <a:pt x="46967" y="96201"/>
                        <a:pt x="48691" y="88819"/>
                      </a:cubicBezTo>
                      <a:cubicBezTo>
                        <a:pt x="48053" y="89533"/>
                        <a:pt x="46833" y="89981"/>
                        <a:pt x="46195" y="90676"/>
                      </a:cubicBezTo>
                      <a:cubicBezTo>
                        <a:pt x="45900" y="89486"/>
                        <a:pt x="45024" y="88390"/>
                        <a:pt x="44805" y="87181"/>
                      </a:cubicBezTo>
                      <a:cubicBezTo>
                        <a:pt x="43119" y="90238"/>
                        <a:pt x="45919" y="92924"/>
                        <a:pt x="44843" y="94801"/>
                      </a:cubicBezTo>
                      <a:cubicBezTo>
                        <a:pt x="42995" y="98030"/>
                        <a:pt x="38890" y="96677"/>
                        <a:pt x="37823" y="100354"/>
                      </a:cubicBezTo>
                      <a:cubicBezTo>
                        <a:pt x="29612" y="97944"/>
                        <a:pt x="33946" y="91276"/>
                        <a:pt x="32155" y="84647"/>
                      </a:cubicBezTo>
                      <a:cubicBezTo>
                        <a:pt x="31432" y="81980"/>
                        <a:pt x="30231" y="81170"/>
                        <a:pt x="29908" y="77798"/>
                      </a:cubicBezTo>
                      <a:cubicBezTo>
                        <a:pt x="29555" y="74160"/>
                        <a:pt x="31451" y="71302"/>
                        <a:pt x="29803" y="67635"/>
                      </a:cubicBezTo>
                      <a:cubicBezTo>
                        <a:pt x="28736" y="65254"/>
                        <a:pt x="26269" y="63720"/>
                        <a:pt x="25164" y="60730"/>
                      </a:cubicBezTo>
                      <a:cubicBezTo>
                        <a:pt x="24640" y="59320"/>
                        <a:pt x="24269" y="57758"/>
                        <a:pt x="23821" y="56586"/>
                      </a:cubicBezTo>
                      <a:cubicBezTo>
                        <a:pt x="21859" y="51538"/>
                        <a:pt x="18401" y="46404"/>
                        <a:pt x="15401" y="41384"/>
                      </a:cubicBezTo>
                      <a:cubicBezTo>
                        <a:pt x="12486" y="36498"/>
                        <a:pt x="13048" y="28507"/>
                        <a:pt x="10353" y="24506"/>
                      </a:cubicBezTo>
                      <a:cubicBezTo>
                        <a:pt x="8238" y="21363"/>
                        <a:pt x="-553" y="19877"/>
                        <a:pt x="28" y="15095"/>
                      </a:cubicBezTo>
                      <a:cubicBezTo>
                        <a:pt x="1028" y="6809"/>
                        <a:pt x="27307" y="913"/>
                        <a:pt x="33765" y="179"/>
                      </a:cubicBezTo>
                      <a:cubicBezTo>
                        <a:pt x="39699" y="-497"/>
                        <a:pt x="47291" y="941"/>
                        <a:pt x="53425" y="1189"/>
                      </a:cubicBezTo>
                      <a:cubicBezTo>
                        <a:pt x="57082" y="1360"/>
                        <a:pt x="71398" y="255"/>
                        <a:pt x="70284" y="3989"/>
                      </a:cubicBezTo>
                      <a:lnTo>
                        <a:pt x="70284" y="3989"/>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81" name="Freeform: Shape 480">
                  <a:extLst>
                    <a:ext uri="{FF2B5EF4-FFF2-40B4-BE49-F238E27FC236}">
                      <a16:creationId xmlns:a16="http://schemas.microsoft.com/office/drawing/2014/main" id="{7D9DCF5D-47BD-465D-8351-6DEC7B327E6B}"/>
                    </a:ext>
                  </a:extLst>
                </p:cNvPr>
                <p:cNvSpPr/>
                <p:nvPr/>
              </p:nvSpPr>
              <p:spPr>
                <a:xfrm>
                  <a:off x="3349980" y="3024899"/>
                  <a:ext cx="183889" cy="88734"/>
                </a:xfrm>
                <a:custGeom>
                  <a:avLst/>
                  <a:gdLst>
                    <a:gd name="connsiteX0" fmla="*/ 146742 w 183889"/>
                    <a:gd name="connsiteY0" fmla="*/ 84258 h 88734"/>
                    <a:gd name="connsiteX1" fmla="*/ 134284 w 183889"/>
                    <a:gd name="connsiteY1" fmla="*/ 86859 h 88734"/>
                    <a:gd name="connsiteX2" fmla="*/ 113643 w 183889"/>
                    <a:gd name="connsiteY2" fmla="*/ 88735 h 88734"/>
                    <a:gd name="connsiteX3" fmla="*/ 73552 w 183889"/>
                    <a:gd name="connsiteY3" fmla="*/ 88725 h 88734"/>
                    <a:gd name="connsiteX4" fmla="*/ 0 w 183889"/>
                    <a:gd name="connsiteY4" fmla="*/ 88725 h 88734"/>
                    <a:gd name="connsiteX5" fmla="*/ 23460 w 183889"/>
                    <a:gd name="connsiteY5" fmla="*/ 37309 h 88734"/>
                    <a:gd name="connsiteX6" fmla="*/ 34671 w 183889"/>
                    <a:gd name="connsiteY6" fmla="*/ 13335 h 88734"/>
                    <a:gd name="connsiteX7" fmla="*/ 45444 w 183889"/>
                    <a:gd name="connsiteY7" fmla="*/ 5515 h 88734"/>
                    <a:gd name="connsiteX8" fmla="*/ 61722 w 183889"/>
                    <a:gd name="connsiteY8" fmla="*/ 0 h 88734"/>
                    <a:gd name="connsiteX9" fmla="*/ 53759 w 183889"/>
                    <a:gd name="connsiteY9" fmla="*/ 16945 h 88734"/>
                    <a:gd name="connsiteX10" fmla="*/ 137979 w 183889"/>
                    <a:gd name="connsiteY10" fmla="*/ 17002 h 88734"/>
                    <a:gd name="connsiteX11" fmla="*/ 159220 w 183889"/>
                    <a:gd name="connsiteY11" fmla="*/ 17012 h 88734"/>
                    <a:gd name="connsiteX12" fmla="*/ 168316 w 183889"/>
                    <a:gd name="connsiteY12" fmla="*/ 17012 h 88734"/>
                    <a:gd name="connsiteX13" fmla="*/ 176546 w 183889"/>
                    <a:gd name="connsiteY13" fmla="*/ 20374 h 88734"/>
                    <a:gd name="connsiteX14" fmla="*/ 179308 w 183889"/>
                    <a:gd name="connsiteY14" fmla="*/ 25184 h 88734"/>
                    <a:gd name="connsiteX15" fmla="*/ 178165 w 183889"/>
                    <a:gd name="connsiteY15" fmla="*/ 32118 h 88734"/>
                    <a:gd name="connsiteX16" fmla="*/ 183890 w 183889"/>
                    <a:gd name="connsiteY16" fmla="*/ 36357 h 88734"/>
                    <a:gd name="connsiteX17" fmla="*/ 177898 w 183889"/>
                    <a:gd name="connsiteY17" fmla="*/ 41015 h 88734"/>
                    <a:gd name="connsiteX18" fmla="*/ 167335 w 183889"/>
                    <a:gd name="connsiteY18" fmla="*/ 48759 h 88734"/>
                    <a:gd name="connsiteX19" fmla="*/ 167011 w 183889"/>
                    <a:gd name="connsiteY19" fmla="*/ 52502 h 88734"/>
                    <a:gd name="connsiteX20" fmla="*/ 163011 w 183889"/>
                    <a:gd name="connsiteY20" fmla="*/ 55550 h 88734"/>
                    <a:gd name="connsiteX21" fmla="*/ 166888 w 183889"/>
                    <a:gd name="connsiteY21" fmla="*/ 75105 h 88734"/>
                    <a:gd name="connsiteX22" fmla="*/ 146742 w 183889"/>
                    <a:gd name="connsiteY22" fmla="*/ 84258 h 88734"/>
                    <a:gd name="connsiteX23" fmla="*/ 146742 w 183889"/>
                    <a:gd name="connsiteY23" fmla="*/ 84258 h 88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83889" h="88734">
                      <a:moveTo>
                        <a:pt x="146742" y="84258"/>
                      </a:moveTo>
                      <a:cubicBezTo>
                        <a:pt x="143304" y="86344"/>
                        <a:pt x="138189" y="85839"/>
                        <a:pt x="134284" y="86859"/>
                      </a:cubicBezTo>
                      <a:cubicBezTo>
                        <a:pt x="127692" y="88592"/>
                        <a:pt x="121063" y="88735"/>
                        <a:pt x="113643" y="88735"/>
                      </a:cubicBezTo>
                      <a:cubicBezTo>
                        <a:pt x="100279" y="88735"/>
                        <a:pt x="86916" y="88725"/>
                        <a:pt x="73552" y="88725"/>
                      </a:cubicBezTo>
                      <a:cubicBezTo>
                        <a:pt x="49035" y="88725"/>
                        <a:pt x="24517" y="88735"/>
                        <a:pt x="0" y="88725"/>
                      </a:cubicBezTo>
                      <a:cubicBezTo>
                        <a:pt x="7715" y="71533"/>
                        <a:pt x="15535" y="54397"/>
                        <a:pt x="23460" y="37309"/>
                      </a:cubicBezTo>
                      <a:cubicBezTo>
                        <a:pt x="27175" y="29309"/>
                        <a:pt x="30918" y="21326"/>
                        <a:pt x="34671" y="13335"/>
                      </a:cubicBezTo>
                      <a:cubicBezTo>
                        <a:pt x="37814" y="6658"/>
                        <a:pt x="38233" y="7287"/>
                        <a:pt x="45444" y="5515"/>
                      </a:cubicBezTo>
                      <a:cubicBezTo>
                        <a:pt x="50921" y="4172"/>
                        <a:pt x="56379" y="1829"/>
                        <a:pt x="61722" y="0"/>
                      </a:cubicBezTo>
                      <a:cubicBezTo>
                        <a:pt x="59017" y="5629"/>
                        <a:pt x="56388" y="11287"/>
                        <a:pt x="53759" y="16945"/>
                      </a:cubicBezTo>
                      <a:cubicBezTo>
                        <a:pt x="81829" y="16945"/>
                        <a:pt x="109909" y="16993"/>
                        <a:pt x="137979" y="17002"/>
                      </a:cubicBezTo>
                      <a:cubicBezTo>
                        <a:pt x="145066" y="17002"/>
                        <a:pt x="152143" y="17002"/>
                        <a:pt x="159220" y="17012"/>
                      </a:cubicBezTo>
                      <a:cubicBezTo>
                        <a:pt x="162249" y="17012"/>
                        <a:pt x="165287" y="17002"/>
                        <a:pt x="168316" y="17012"/>
                      </a:cubicBezTo>
                      <a:cubicBezTo>
                        <a:pt x="173660" y="17021"/>
                        <a:pt x="173612" y="17164"/>
                        <a:pt x="176546" y="20374"/>
                      </a:cubicBezTo>
                      <a:cubicBezTo>
                        <a:pt x="179280" y="23365"/>
                        <a:pt x="178860" y="21650"/>
                        <a:pt x="179308" y="25184"/>
                      </a:cubicBezTo>
                      <a:cubicBezTo>
                        <a:pt x="179584" y="27384"/>
                        <a:pt x="176727" y="29251"/>
                        <a:pt x="178165" y="32118"/>
                      </a:cubicBezTo>
                      <a:cubicBezTo>
                        <a:pt x="179280" y="34347"/>
                        <a:pt x="183756" y="34042"/>
                        <a:pt x="183890" y="36357"/>
                      </a:cubicBezTo>
                      <a:cubicBezTo>
                        <a:pt x="183928" y="37129"/>
                        <a:pt x="179175" y="40062"/>
                        <a:pt x="177898" y="41015"/>
                      </a:cubicBezTo>
                      <a:cubicBezTo>
                        <a:pt x="175012" y="43177"/>
                        <a:pt x="169507" y="46187"/>
                        <a:pt x="167335" y="48759"/>
                      </a:cubicBezTo>
                      <a:cubicBezTo>
                        <a:pt x="166468" y="49778"/>
                        <a:pt x="167840" y="51502"/>
                        <a:pt x="167011" y="52502"/>
                      </a:cubicBezTo>
                      <a:cubicBezTo>
                        <a:pt x="166135" y="53569"/>
                        <a:pt x="163582" y="54655"/>
                        <a:pt x="163011" y="55550"/>
                      </a:cubicBezTo>
                      <a:cubicBezTo>
                        <a:pt x="158344" y="62884"/>
                        <a:pt x="163801" y="67570"/>
                        <a:pt x="166888" y="75105"/>
                      </a:cubicBezTo>
                      <a:cubicBezTo>
                        <a:pt x="160744" y="77457"/>
                        <a:pt x="153134" y="83877"/>
                        <a:pt x="146742" y="84258"/>
                      </a:cubicBezTo>
                      <a:lnTo>
                        <a:pt x="146742" y="84258"/>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82" name="Freeform: Shape 481">
                  <a:extLst>
                    <a:ext uri="{FF2B5EF4-FFF2-40B4-BE49-F238E27FC236}">
                      <a16:creationId xmlns:a16="http://schemas.microsoft.com/office/drawing/2014/main" id="{8526C325-AA5F-4F54-95D5-7D1566007B01}"/>
                    </a:ext>
                  </a:extLst>
                </p:cNvPr>
                <p:cNvSpPr/>
                <p:nvPr/>
              </p:nvSpPr>
              <p:spPr>
                <a:xfrm>
                  <a:off x="2182271" y="2908789"/>
                  <a:ext cx="294423" cy="133433"/>
                </a:xfrm>
                <a:custGeom>
                  <a:avLst/>
                  <a:gdLst>
                    <a:gd name="connsiteX0" fmla="*/ 108176 w 294423"/>
                    <a:gd name="connsiteY0" fmla="*/ 0 h 133433"/>
                    <a:gd name="connsiteX1" fmla="*/ 115491 w 294423"/>
                    <a:gd name="connsiteY1" fmla="*/ 1181 h 133433"/>
                    <a:gd name="connsiteX2" fmla="*/ 120444 w 294423"/>
                    <a:gd name="connsiteY2" fmla="*/ 295 h 133433"/>
                    <a:gd name="connsiteX3" fmla="*/ 121854 w 294423"/>
                    <a:gd name="connsiteY3" fmla="*/ 2305 h 133433"/>
                    <a:gd name="connsiteX4" fmla="*/ 131332 w 294423"/>
                    <a:gd name="connsiteY4" fmla="*/ 9430 h 133433"/>
                    <a:gd name="connsiteX5" fmla="*/ 128236 w 294423"/>
                    <a:gd name="connsiteY5" fmla="*/ 18107 h 133433"/>
                    <a:gd name="connsiteX6" fmla="*/ 138847 w 294423"/>
                    <a:gd name="connsiteY6" fmla="*/ 19879 h 133433"/>
                    <a:gd name="connsiteX7" fmla="*/ 156744 w 294423"/>
                    <a:gd name="connsiteY7" fmla="*/ 16059 h 133433"/>
                    <a:gd name="connsiteX8" fmla="*/ 172661 w 294423"/>
                    <a:gd name="connsiteY8" fmla="*/ 18345 h 133433"/>
                    <a:gd name="connsiteX9" fmla="*/ 197626 w 294423"/>
                    <a:gd name="connsiteY9" fmla="*/ 14792 h 133433"/>
                    <a:gd name="connsiteX10" fmla="*/ 236145 w 294423"/>
                    <a:gd name="connsiteY10" fmla="*/ 7087 h 133433"/>
                    <a:gd name="connsiteX11" fmla="*/ 291285 w 294423"/>
                    <a:gd name="connsiteY11" fmla="*/ 7039 h 133433"/>
                    <a:gd name="connsiteX12" fmla="*/ 294285 w 294423"/>
                    <a:gd name="connsiteY12" fmla="*/ 13983 h 133433"/>
                    <a:gd name="connsiteX13" fmla="*/ 288761 w 294423"/>
                    <a:gd name="connsiteY13" fmla="*/ 23508 h 133433"/>
                    <a:gd name="connsiteX14" fmla="*/ 272216 w 294423"/>
                    <a:gd name="connsiteY14" fmla="*/ 36795 h 133433"/>
                    <a:gd name="connsiteX15" fmla="*/ 253861 w 294423"/>
                    <a:gd name="connsiteY15" fmla="*/ 51140 h 133433"/>
                    <a:gd name="connsiteX16" fmla="*/ 246394 w 294423"/>
                    <a:gd name="connsiteY16" fmla="*/ 57817 h 133433"/>
                    <a:gd name="connsiteX17" fmla="*/ 249727 w 294423"/>
                    <a:gd name="connsiteY17" fmla="*/ 62417 h 133433"/>
                    <a:gd name="connsiteX18" fmla="*/ 240840 w 294423"/>
                    <a:gd name="connsiteY18" fmla="*/ 73571 h 133433"/>
                    <a:gd name="connsiteX19" fmla="*/ 227810 w 294423"/>
                    <a:gd name="connsiteY19" fmla="*/ 90888 h 133433"/>
                    <a:gd name="connsiteX20" fmla="*/ 201074 w 294423"/>
                    <a:gd name="connsiteY20" fmla="*/ 129569 h 133433"/>
                    <a:gd name="connsiteX21" fmla="*/ 178947 w 294423"/>
                    <a:gd name="connsiteY21" fmla="*/ 133074 h 133433"/>
                    <a:gd name="connsiteX22" fmla="*/ 156897 w 294423"/>
                    <a:gd name="connsiteY22" fmla="*/ 133083 h 133433"/>
                    <a:gd name="connsiteX23" fmla="*/ 109900 w 294423"/>
                    <a:gd name="connsiteY23" fmla="*/ 133083 h 133433"/>
                    <a:gd name="connsiteX24" fmla="*/ 30300 w 294423"/>
                    <a:gd name="connsiteY24" fmla="*/ 133083 h 133433"/>
                    <a:gd name="connsiteX25" fmla="*/ 8107 w 294423"/>
                    <a:gd name="connsiteY25" fmla="*/ 133055 h 133433"/>
                    <a:gd name="connsiteX26" fmla="*/ 10 w 294423"/>
                    <a:gd name="connsiteY26" fmla="*/ 129292 h 133433"/>
                    <a:gd name="connsiteX27" fmla="*/ 5259 w 294423"/>
                    <a:gd name="connsiteY27" fmla="*/ 119701 h 133433"/>
                    <a:gd name="connsiteX28" fmla="*/ 17898 w 294423"/>
                    <a:gd name="connsiteY28" fmla="*/ 101194 h 133433"/>
                    <a:gd name="connsiteX29" fmla="*/ 34500 w 294423"/>
                    <a:gd name="connsiteY29" fmla="*/ 88268 h 133433"/>
                    <a:gd name="connsiteX30" fmla="*/ 31710 w 294423"/>
                    <a:gd name="connsiteY30" fmla="*/ 88697 h 133433"/>
                    <a:gd name="connsiteX31" fmla="*/ 108176 w 294423"/>
                    <a:gd name="connsiteY31" fmla="*/ 0 h 133433"/>
                    <a:gd name="connsiteX32" fmla="*/ 108176 w 294423"/>
                    <a:gd name="connsiteY32" fmla="*/ 0 h 13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4423" h="133433">
                      <a:moveTo>
                        <a:pt x="108176" y="0"/>
                      </a:moveTo>
                      <a:cubicBezTo>
                        <a:pt x="109538" y="2391"/>
                        <a:pt x="112615" y="1172"/>
                        <a:pt x="115491" y="1181"/>
                      </a:cubicBezTo>
                      <a:cubicBezTo>
                        <a:pt x="117187" y="1181"/>
                        <a:pt x="118749" y="143"/>
                        <a:pt x="120444" y="295"/>
                      </a:cubicBezTo>
                      <a:cubicBezTo>
                        <a:pt x="121673" y="410"/>
                        <a:pt x="120711" y="2248"/>
                        <a:pt x="121854" y="2305"/>
                      </a:cubicBezTo>
                      <a:cubicBezTo>
                        <a:pt x="129084" y="2667"/>
                        <a:pt x="134037" y="-105"/>
                        <a:pt x="131332" y="9430"/>
                      </a:cubicBezTo>
                      <a:cubicBezTo>
                        <a:pt x="130770" y="11401"/>
                        <a:pt x="127360" y="16373"/>
                        <a:pt x="128236" y="18107"/>
                      </a:cubicBezTo>
                      <a:cubicBezTo>
                        <a:pt x="129026" y="19669"/>
                        <a:pt x="137561" y="19898"/>
                        <a:pt x="138847" y="19879"/>
                      </a:cubicBezTo>
                      <a:cubicBezTo>
                        <a:pt x="145067" y="19745"/>
                        <a:pt x="150458" y="16497"/>
                        <a:pt x="156744" y="16059"/>
                      </a:cubicBezTo>
                      <a:cubicBezTo>
                        <a:pt x="163269" y="15611"/>
                        <a:pt x="167174" y="18136"/>
                        <a:pt x="172661" y="18345"/>
                      </a:cubicBezTo>
                      <a:cubicBezTo>
                        <a:pt x="180204" y="18640"/>
                        <a:pt x="190244" y="16488"/>
                        <a:pt x="197626" y="14792"/>
                      </a:cubicBezTo>
                      <a:cubicBezTo>
                        <a:pt x="210408" y="11859"/>
                        <a:pt x="223248" y="8677"/>
                        <a:pt x="236145" y="7087"/>
                      </a:cubicBezTo>
                      <a:cubicBezTo>
                        <a:pt x="253909" y="4896"/>
                        <a:pt x="273368" y="7029"/>
                        <a:pt x="291285" y="7039"/>
                      </a:cubicBezTo>
                      <a:cubicBezTo>
                        <a:pt x="290570" y="10659"/>
                        <a:pt x="293838" y="11192"/>
                        <a:pt x="294285" y="13983"/>
                      </a:cubicBezTo>
                      <a:cubicBezTo>
                        <a:pt x="295066" y="18774"/>
                        <a:pt x="292437" y="20279"/>
                        <a:pt x="288761" y="23508"/>
                      </a:cubicBezTo>
                      <a:cubicBezTo>
                        <a:pt x="283465" y="28156"/>
                        <a:pt x="277502" y="32099"/>
                        <a:pt x="272216" y="36795"/>
                      </a:cubicBezTo>
                      <a:cubicBezTo>
                        <a:pt x="266301" y="42053"/>
                        <a:pt x="260252" y="46444"/>
                        <a:pt x="253861" y="51140"/>
                      </a:cubicBezTo>
                      <a:cubicBezTo>
                        <a:pt x="251737" y="52702"/>
                        <a:pt x="247022" y="55083"/>
                        <a:pt x="246394" y="57817"/>
                      </a:cubicBezTo>
                      <a:cubicBezTo>
                        <a:pt x="245327" y="62522"/>
                        <a:pt x="249746" y="59884"/>
                        <a:pt x="249727" y="62417"/>
                      </a:cubicBezTo>
                      <a:cubicBezTo>
                        <a:pt x="249699" y="65789"/>
                        <a:pt x="243174" y="71037"/>
                        <a:pt x="240840" y="73571"/>
                      </a:cubicBezTo>
                      <a:cubicBezTo>
                        <a:pt x="235935" y="78896"/>
                        <a:pt x="231982" y="84925"/>
                        <a:pt x="227810" y="90888"/>
                      </a:cubicBezTo>
                      <a:cubicBezTo>
                        <a:pt x="219276" y="103118"/>
                        <a:pt x="211475" y="118948"/>
                        <a:pt x="201074" y="129569"/>
                      </a:cubicBezTo>
                      <a:cubicBezTo>
                        <a:pt x="195663" y="135093"/>
                        <a:pt x="186977" y="133074"/>
                        <a:pt x="178947" y="133074"/>
                      </a:cubicBezTo>
                      <a:cubicBezTo>
                        <a:pt x="171603" y="133074"/>
                        <a:pt x="164240" y="133074"/>
                        <a:pt x="156897" y="133083"/>
                      </a:cubicBezTo>
                      <a:cubicBezTo>
                        <a:pt x="141228" y="133083"/>
                        <a:pt x="125559" y="133093"/>
                        <a:pt x="109900" y="133083"/>
                      </a:cubicBezTo>
                      <a:cubicBezTo>
                        <a:pt x="83364" y="133074"/>
                        <a:pt x="56837" y="133083"/>
                        <a:pt x="30300" y="133083"/>
                      </a:cubicBezTo>
                      <a:cubicBezTo>
                        <a:pt x="22899" y="133083"/>
                        <a:pt x="15488" y="133102"/>
                        <a:pt x="8107" y="133055"/>
                      </a:cubicBezTo>
                      <a:cubicBezTo>
                        <a:pt x="3344" y="133026"/>
                        <a:pt x="487" y="134722"/>
                        <a:pt x="10" y="129292"/>
                      </a:cubicBezTo>
                      <a:cubicBezTo>
                        <a:pt x="-228" y="126492"/>
                        <a:pt x="3706" y="121996"/>
                        <a:pt x="5259" y="119701"/>
                      </a:cubicBezTo>
                      <a:cubicBezTo>
                        <a:pt x="10050" y="112595"/>
                        <a:pt x="11536" y="107080"/>
                        <a:pt x="17898" y="101194"/>
                      </a:cubicBezTo>
                      <a:cubicBezTo>
                        <a:pt x="23680" y="95841"/>
                        <a:pt x="27604" y="91392"/>
                        <a:pt x="34500" y="88268"/>
                      </a:cubicBezTo>
                      <a:cubicBezTo>
                        <a:pt x="33672" y="88430"/>
                        <a:pt x="32872" y="88335"/>
                        <a:pt x="31710" y="88697"/>
                      </a:cubicBezTo>
                      <a:cubicBezTo>
                        <a:pt x="59913" y="61722"/>
                        <a:pt x="83516" y="29404"/>
                        <a:pt x="108176" y="0"/>
                      </a:cubicBezTo>
                      <a:lnTo>
                        <a:pt x="108176" y="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83" name="Freeform: Shape 482">
                  <a:extLst>
                    <a:ext uri="{FF2B5EF4-FFF2-40B4-BE49-F238E27FC236}">
                      <a16:creationId xmlns:a16="http://schemas.microsoft.com/office/drawing/2014/main" id="{30CC9310-8831-4D00-88E2-8AC3D2E62775}"/>
                    </a:ext>
                  </a:extLst>
                </p:cNvPr>
                <p:cNvSpPr/>
                <p:nvPr/>
              </p:nvSpPr>
              <p:spPr>
                <a:xfrm>
                  <a:off x="2667294" y="3199192"/>
                  <a:ext cx="245926" cy="104796"/>
                </a:xfrm>
                <a:custGeom>
                  <a:avLst/>
                  <a:gdLst>
                    <a:gd name="connsiteX0" fmla="*/ 240068 w 245926"/>
                    <a:gd name="connsiteY0" fmla="*/ 11987 h 104796"/>
                    <a:gd name="connsiteX1" fmla="*/ 226619 w 245926"/>
                    <a:gd name="connsiteY1" fmla="*/ 49868 h 104796"/>
                    <a:gd name="connsiteX2" fmla="*/ 212255 w 245926"/>
                    <a:gd name="connsiteY2" fmla="*/ 79244 h 104796"/>
                    <a:gd name="connsiteX3" fmla="*/ 205169 w 245926"/>
                    <a:gd name="connsiteY3" fmla="*/ 93760 h 104796"/>
                    <a:gd name="connsiteX4" fmla="*/ 195482 w 245926"/>
                    <a:gd name="connsiteY4" fmla="*/ 104694 h 104796"/>
                    <a:gd name="connsiteX5" fmla="*/ 182442 w 245926"/>
                    <a:gd name="connsiteY5" fmla="*/ 95998 h 104796"/>
                    <a:gd name="connsiteX6" fmla="*/ 175432 w 245926"/>
                    <a:gd name="connsiteY6" fmla="*/ 98694 h 104796"/>
                    <a:gd name="connsiteX7" fmla="*/ 171431 w 245926"/>
                    <a:gd name="connsiteY7" fmla="*/ 96512 h 104796"/>
                    <a:gd name="connsiteX8" fmla="*/ 163954 w 245926"/>
                    <a:gd name="connsiteY8" fmla="*/ 98979 h 104796"/>
                    <a:gd name="connsiteX9" fmla="*/ 154172 w 245926"/>
                    <a:gd name="connsiteY9" fmla="*/ 100275 h 104796"/>
                    <a:gd name="connsiteX10" fmla="*/ 146876 w 245926"/>
                    <a:gd name="connsiteY10" fmla="*/ 103494 h 104796"/>
                    <a:gd name="connsiteX11" fmla="*/ 142142 w 245926"/>
                    <a:gd name="connsiteY11" fmla="*/ 97855 h 104796"/>
                    <a:gd name="connsiteX12" fmla="*/ 130540 w 245926"/>
                    <a:gd name="connsiteY12" fmla="*/ 97979 h 104796"/>
                    <a:gd name="connsiteX13" fmla="*/ 124739 w 245926"/>
                    <a:gd name="connsiteY13" fmla="*/ 98141 h 104796"/>
                    <a:gd name="connsiteX14" fmla="*/ 117186 w 245926"/>
                    <a:gd name="connsiteY14" fmla="*/ 99779 h 104796"/>
                    <a:gd name="connsiteX15" fmla="*/ 112224 w 245926"/>
                    <a:gd name="connsiteY15" fmla="*/ 95293 h 104796"/>
                    <a:gd name="connsiteX16" fmla="*/ 103870 w 245926"/>
                    <a:gd name="connsiteY16" fmla="*/ 98579 h 104796"/>
                    <a:gd name="connsiteX17" fmla="*/ 102537 w 245926"/>
                    <a:gd name="connsiteY17" fmla="*/ 90131 h 104796"/>
                    <a:gd name="connsiteX18" fmla="*/ 92412 w 245926"/>
                    <a:gd name="connsiteY18" fmla="*/ 91921 h 104796"/>
                    <a:gd name="connsiteX19" fmla="*/ 88106 w 245926"/>
                    <a:gd name="connsiteY19" fmla="*/ 89616 h 104796"/>
                    <a:gd name="connsiteX20" fmla="*/ 73257 w 245926"/>
                    <a:gd name="connsiteY20" fmla="*/ 87664 h 104796"/>
                    <a:gd name="connsiteX21" fmla="*/ 72838 w 245926"/>
                    <a:gd name="connsiteY21" fmla="*/ 81872 h 104796"/>
                    <a:gd name="connsiteX22" fmla="*/ 67904 w 245926"/>
                    <a:gd name="connsiteY22" fmla="*/ 82434 h 104796"/>
                    <a:gd name="connsiteX23" fmla="*/ 54674 w 245926"/>
                    <a:gd name="connsiteY23" fmla="*/ 76214 h 104796"/>
                    <a:gd name="connsiteX24" fmla="*/ 85173 w 245926"/>
                    <a:gd name="connsiteY24" fmla="*/ 15921 h 104796"/>
                    <a:gd name="connsiteX25" fmla="*/ 0 w 245926"/>
                    <a:gd name="connsiteY25" fmla="*/ 15912 h 104796"/>
                    <a:gd name="connsiteX26" fmla="*/ 14345 w 245926"/>
                    <a:gd name="connsiteY26" fmla="*/ 167 h 104796"/>
                    <a:gd name="connsiteX27" fmla="*/ 40853 w 245926"/>
                    <a:gd name="connsiteY27" fmla="*/ 176 h 104796"/>
                    <a:gd name="connsiteX28" fmla="*/ 89830 w 245926"/>
                    <a:gd name="connsiteY28" fmla="*/ 176 h 104796"/>
                    <a:gd name="connsiteX29" fmla="*/ 189148 w 245926"/>
                    <a:gd name="connsiteY29" fmla="*/ 176 h 104796"/>
                    <a:gd name="connsiteX30" fmla="*/ 245926 w 245926"/>
                    <a:gd name="connsiteY30" fmla="*/ 176 h 104796"/>
                    <a:gd name="connsiteX31" fmla="*/ 240068 w 245926"/>
                    <a:gd name="connsiteY31" fmla="*/ 11987 h 104796"/>
                    <a:gd name="connsiteX32" fmla="*/ 240068 w 245926"/>
                    <a:gd name="connsiteY32" fmla="*/ 11987 h 10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45926" h="104796">
                      <a:moveTo>
                        <a:pt x="240068" y="11987"/>
                      </a:moveTo>
                      <a:cubicBezTo>
                        <a:pt x="233620" y="23589"/>
                        <a:pt x="231524" y="37591"/>
                        <a:pt x="226619" y="49868"/>
                      </a:cubicBezTo>
                      <a:cubicBezTo>
                        <a:pt x="222609" y="59908"/>
                        <a:pt x="217018" y="69528"/>
                        <a:pt x="212255" y="79244"/>
                      </a:cubicBezTo>
                      <a:cubicBezTo>
                        <a:pt x="209883" y="84082"/>
                        <a:pt x="207521" y="88921"/>
                        <a:pt x="205169" y="93760"/>
                      </a:cubicBezTo>
                      <a:cubicBezTo>
                        <a:pt x="202425" y="99417"/>
                        <a:pt x="201749" y="105675"/>
                        <a:pt x="195482" y="104694"/>
                      </a:cubicBezTo>
                      <a:cubicBezTo>
                        <a:pt x="189995" y="103827"/>
                        <a:pt x="187890" y="96427"/>
                        <a:pt x="182442" y="95998"/>
                      </a:cubicBezTo>
                      <a:cubicBezTo>
                        <a:pt x="180813" y="95874"/>
                        <a:pt x="177689" y="98579"/>
                        <a:pt x="175432" y="98694"/>
                      </a:cubicBezTo>
                      <a:cubicBezTo>
                        <a:pt x="172831" y="98836"/>
                        <a:pt x="172869" y="96493"/>
                        <a:pt x="171431" y="96512"/>
                      </a:cubicBezTo>
                      <a:cubicBezTo>
                        <a:pt x="168907" y="96560"/>
                        <a:pt x="166278" y="98541"/>
                        <a:pt x="163954" y="98979"/>
                      </a:cubicBezTo>
                      <a:cubicBezTo>
                        <a:pt x="160620" y="99598"/>
                        <a:pt x="157858" y="98884"/>
                        <a:pt x="154172" y="100275"/>
                      </a:cubicBezTo>
                      <a:cubicBezTo>
                        <a:pt x="152191" y="101027"/>
                        <a:pt x="148638" y="103732"/>
                        <a:pt x="146876" y="103494"/>
                      </a:cubicBezTo>
                      <a:cubicBezTo>
                        <a:pt x="144885" y="103227"/>
                        <a:pt x="141723" y="99541"/>
                        <a:pt x="142142" y="97855"/>
                      </a:cubicBezTo>
                      <a:cubicBezTo>
                        <a:pt x="136665" y="100389"/>
                        <a:pt x="135179" y="96169"/>
                        <a:pt x="130540" y="97979"/>
                      </a:cubicBezTo>
                      <a:cubicBezTo>
                        <a:pt x="128645" y="98713"/>
                        <a:pt x="118386" y="106352"/>
                        <a:pt x="124739" y="98141"/>
                      </a:cubicBezTo>
                      <a:cubicBezTo>
                        <a:pt x="122815" y="98446"/>
                        <a:pt x="119167" y="100465"/>
                        <a:pt x="117186" y="99779"/>
                      </a:cubicBezTo>
                      <a:cubicBezTo>
                        <a:pt x="114300" y="98789"/>
                        <a:pt x="115167" y="95341"/>
                        <a:pt x="112224" y="95293"/>
                      </a:cubicBezTo>
                      <a:cubicBezTo>
                        <a:pt x="109471" y="95245"/>
                        <a:pt x="107032" y="99779"/>
                        <a:pt x="103870" y="98579"/>
                      </a:cubicBezTo>
                      <a:cubicBezTo>
                        <a:pt x="103651" y="98503"/>
                        <a:pt x="101737" y="91683"/>
                        <a:pt x="102537" y="90131"/>
                      </a:cubicBezTo>
                      <a:cubicBezTo>
                        <a:pt x="99879" y="90493"/>
                        <a:pt x="94536" y="91940"/>
                        <a:pt x="92412" y="91921"/>
                      </a:cubicBezTo>
                      <a:cubicBezTo>
                        <a:pt x="90126" y="91902"/>
                        <a:pt x="89907" y="89873"/>
                        <a:pt x="88106" y="89616"/>
                      </a:cubicBezTo>
                      <a:cubicBezTo>
                        <a:pt x="84553" y="89111"/>
                        <a:pt x="76086" y="90207"/>
                        <a:pt x="73257" y="87664"/>
                      </a:cubicBezTo>
                      <a:cubicBezTo>
                        <a:pt x="71980" y="86511"/>
                        <a:pt x="74733" y="83292"/>
                        <a:pt x="72838" y="81872"/>
                      </a:cubicBezTo>
                      <a:cubicBezTo>
                        <a:pt x="68790" y="78843"/>
                        <a:pt x="71657" y="82387"/>
                        <a:pt x="67904" y="82434"/>
                      </a:cubicBezTo>
                      <a:cubicBezTo>
                        <a:pt x="60503" y="82530"/>
                        <a:pt x="60912" y="77672"/>
                        <a:pt x="54674" y="76214"/>
                      </a:cubicBezTo>
                      <a:cubicBezTo>
                        <a:pt x="64637" y="56012"/>
                        <a:pt x="74828" y="35933"/>
                        <a:pt x="85173" y="15921"/>
                      </a:cubicBezTo>
                      <a:cubicBezTo>
                        <a:pt x="56788" y="15921"/>
                        <a:pt x="28394" y="15902"/>
                        <a:pt x="0" y="15912"/>
                      </a:cubicBezTo>
                      <a:cubicBezTo>
                        <a:pt x="4058" y="8349"/>
                        <a:pt x="5534" y="548"/>
                        <a:pt x="14345" y="167"/>
                      </a:cubicBezTo>
                      <a:cubicBezTo>
                        <a:pt x="23136" y="-214"/>
                        <a:pt x="32042" y="176"/>
                        <a:pt x="40853" y="176"/>
                      </a:cubicBezTo>
                      <a:cubicBezTo>
                        <a:pt x="57179" y="176"/>
                        <a:pt x="73504" y="167"/>
                        <a:pt x="89830" y="176"/>
                      </a:cubicBezTo>
                      <a:cubicBezTo>
                        <a:pt x="122939" y="176"/>
                        <a:pt x="156048" y="176"/>
                        <a:pt x="189148" y="176"/>
                      </a:cubicBezTo>
                      <a:cubicBezTo>
                        <a:pt x="208074" y="176"/>
                        <a:pt x="227000" y="176"/>
                        <a:pt x="245926" y="176"/>
                      </a:cubicBezTo>
                      <a:cubicBezTo>
                        <a:pt x="243964" y="4110"/>
                        <a:pt x="242011" y="8044"/>
                        <a:pt x="240068" y="11987"/>
                      </a:cubicBezTo>
                      <a:lnTo>
                        <a:pt x="240068" y="11987"/>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84" name="Freeform: Shape 483">
                  <a:extLst>
                    <a:ext uri="{FF2B5EF4-FFF2-40B4-BE49-F238E27FC236}">
                      <a16:creationId xmlns:a16="http://schemas.microsoft.com/office/drawing/2014/main" id="{3583B81A-B281-447D-8327-FB7B7DDC3FE5}"/>
                    </a:ext>
                  </a:extLst>
                </p:cNvPr>
                <p:cNvSpPr/>
                <p:nvPr/>
              </p:nvSpPr>
              <p:spPr>
                <a:xfrm>
                  <a:off x="3220773" y="3031710"/>
                  <a:ext cx="166982" cy="122164"/>
                </a:xfrm>
                <a:custGeom>
                  <a:avLst/>
                  <a:gdLst>
                    <a:gd name="connsiteX0" fmla="*/ 157677 w 166982"/>
                    <a:gd name="connsiteY0" fmla="*/ 19755 h 122164"/>
                    <a:gd name="connsiteX1" fmla="*/ 144313 w 166982"/>
                    <a:gd name="connsiteY1" fmla="*/ 48615 h 122164"/>
                    <a:gd name="connsiteX2" fmla="*/ 142427 w 166982"/>
                    <a:gd name="connsiteY2" fmla="*/ 52797 h 122164"/>
                    <a:gd name="connsiteX3" fmla="*/ 138512 w 166982"/>
                    <a:gd name="connsiteY3" fmla="*/ 54178 h 122164"/>
                    <a:gd name="connsiteX4" fmla="*/ 137160 w 166982"/>
                    <a:gd name="connsiteY4" fmla="*/ 59160 h 122164"/>
                    <a:gd name="connsiteX5" fmla="*/ 124158 w 166982"/>
                    <a:gd name="connsiteY5" fmla="*/ 75809 h 122164"/>
                    <a:gd name="connsiteX6" fmla="*/ 96469 w 166982"/>
                    <a:gd name="connsiteY6" fmla="*/ 93440 h 122164"/>
                    <a:gd name="connsiteX7" fmla="*/ 84630 w 166982"/>
                    <a:gd name="connsiteY7" fmla="*/ 101879 h 122164"/>
                    <a:gd name="connsiteX8" fmla="*/ 79000 w 166982"/>
                    <a:gd name="connsiteY8" fmla="*/ 108042 h 122164"/>
                    <a:gd name="connsiteX9" fmla="*/ 66646 w 166982"/>
                    <a:gd name="connsiteY9" fmla="*/ 116862 h 122164"/>
                    <a:gd name="connsiteX10" fmla="*/ 48835 w 166982"/>
                    <a:gd name="connsiteY10" fmla="*/ 113824 h 122164"/>
                    <a:gd name="connsiteX11" fmla="*/ 39472 w 166982"/>
                    <a:gd name="connsiteY11" fmla="*/ 115824 h 122164"/>
                    <a:gd name="connsiteX12" fmla="*/ 32128 w 166982"/>
                    <a:gd name="connsiteY12" fmla="*/ 114795 h 122164"/>
                    <a:gd name="connsiteX13" fmla="*/ 25898 w 166982"/>
                    <a:gd name="connsiteY13" fmla="*/ 115481 h 122164"/>
                    <a:gd name="connsiteX14" fmla="*/ 20507 w 166982"/>
                    <a:gd name="connsiteY14" fmla="*/ 112147 h 122164"/>
                    <a:gd name="connsiteX15" fmla="*/ 13325 w 166982"/>
                    <a:gd name="connsiteY15" fmla="*/ 108947 h 122164"/>
                    <a:gd name="connsiteX16" fmla="*/ 10944 w 166982"/>
                    <a:gd name="connsiteY16" fmla="*/ 101841 h 122164"/>
                    <a:gd name="connsiteX17" fmla="*/ 0 w 166982"/>
                    <a:gd name="connsiteY17" fmla="*/ 101813 h 122164"/>
                    <a:gd name="connsiteX18" fmla="*/ 31442 w 166982"/>
                    <a:gd name="connsiteY18" fmla="*/ 37052 h 122164"/>
                    <a:gd name="connsiteX19" fmla="*/ 40005 w 166982"/>
                    <a:gd name="connsiteY19" fmla="*/ 19879 h 122164"/>
                    <a:gd name="connsiteX20" fmla="*/ 57198 w 166982"/>
                    <a:gd name="connsiteY20" fmla="*/ 19059 h 122164"/>
                    <a:gd name="connsiteX21" fmla="*/ 73828 w 166982"/>
                    <a:gd name="connsiteY21" fmla="*/ 18536 h 122164"/>
                    <a:gd name="connsiteX22" fmla="*/ 89992 w 166982"/>
                    <a:gd name="connsiteY22" fmla="*/ 11792 h 122164"/>
                    <a:gd name="connsiteX23" fmla="*/ 125339 w 166982"/>
                    <a:gd name="connsiteY23" fmla="*/ 11716 h 122164"/>
                    <a:gd name="connsiteX24" fmla="*/ 166983 w 166982"/>
                    <a:gd name="connsiteY24" fmla="*/ 0 h 122164"/>
                    <a:gd name="connsiteX25" fmla="*/ 157677 w 166982"/>
                    <a:gd name="connsiteY25" fmla="*/ 19755 h 122164"/>
                    <a:gd name="connsiteX26" fmla="*/ 157677 w 166982"/>
                    <a:gd name="connsiteY26" fmla="*/ 19755 h 122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6982" h="122164">
                      <a:moveTo>
                        <a:pt x="157677" y="19755"/>
                      </a:moveTo>
                      <a:cubicBezTo>
                        <a:pt x="153333" y="29042"/>
                        <a:pt x="149876" y="40024"/>
                        <a:pt x="144313" y="48615"/>
                      </a:cubicBezTo>
                      <a:cubicBezTo>
                        <a:pt x="143504" y="49863"/>
                        <a:pt x="143351" y="51654"/>
                        <a:pt x="142427" y="52797"/>
                      </a:cubicBezTo>
                      <a:cubicBezTo>
                        <a:pt x="141694" y="53702"/>
                        <a:pt x="139160" y="53235"/>
                        <a:pt x="138512" y="54178"/>
                      </a:cubicBezTo>
                      <a:cubicBezTo>
                        <a:pt x="137303" y="55950"/>
                        <a:pt x="138170" y="57321"/>
                        <a:pt x="137160" y="59160"/>
                      </a:cubicBezTo>
                      <a:cubicBezTo>
                        <a:pt x="133712" y="65465"/>
                        <a:pt x="128807" y="70304"/>
                        <a:pt x="124158" y="75809"/>
                      </a:cubicBezTo>
                      <a:cubicBezTo>
                        <a:pt x="115252" y="86344"/>
                        <a:pt x="108271" y="89897"/>
                        <a:pt x="96469" y="93440"/>
                      </a:cubicBezTo>
                      <a:cubicBezTo>
                        <a:pt x="92440" y="94650"/>
                        <a:pt x="87344" y="98793"/>
                        <a:pt x="84630" y="101879"/>
                      </a:cubicBezTo>
                      <a:cubicBezTo>
                        <a:pt x="82058" y="104803"/>
                        <a:pt x="83744" y="106823"/>
                        <a:pt x="79000" y="108042"/>
                      </a:cubicBezTo>
                      <a:cubicBezTo>
                        <a:pt x="80772" y="97726"/>
                        <a:pt x="67885" y="115338"/>
                        <a:pt x="66646" y="116862"/>
                      </a:cubicBezTo>
                      <a:cubicBezTo>
                        <a:pt x="62017" y="122520"/>
                        <a:pt x="46568" y="126349"/>
                        <a:pt x="48835" y="113824"/>
                      </a:cubicBezTo>
                      <a:cubicBezTo>
                        <a:pt x="45120" y="113252"/>
                        <a:pt x="42939" y="115271"/>
                        <a:pt x="39472" y="115824"/>
                      </a:cubicBezTo>
                      <a:cubicBezTo>
                        <a:pt x="36157" y="116357"/>
                        <a:pt x="34633" y="114919"/>
                        <a:pt x="32128" y="114795"/>
                      </a:cubicBezTo>
                      <a:cubicBezTo>
                        <a:pt x="30623" y="114719"/>
                        <a:pt x="27051" y="115719"/>
                        <a:pt x="25898" y="115481"/>
                      </a:cubicBezTo>
                      <a:cubicBezTo>
                        <a:pt x="23460" y="114957"/>
                        <a:pt x="22984" y="113328"/>
                        <a:pt x="20507" y="112147"/>
                      </a:cubicBezTo>
                      <a:cubicBezTo>
                        <a:pt x="17821" y="110871"/>
                        <a:pt x="15364" y="111604"/>
                        <a:pt x="13325" y="108947"/>
                      </a:cubicBezTo>
                      <a:cubicBezTo>
                        <a:pt x="11801" y="106956"/>
                        <a:pt x="13849" y="103699"/>
                        <a:pt x="10944" y="101841"/>
                      </a:cubicBezTo>
                      <a:cubicBezTo>
                        <a:pt x="9058" y="100641"/>
                        <a:pt x="1743" y="100784"/>
                        <a:pt x="0" y="101813"/>
                      </a:cubicBezTo>
                      <a:cubicBezTo>
                        <a:pt x="10258" y="80115"/>
                        <a:pt x="20783" y="58550"/>
                        <a:pt x="31442" y="37052"/>
                      </a:cubicBezTo>
                      <a:cubicBezTo>
                        <a:pt x="33309" y="33299"/>
                        <a:pt x="36805" y="22108"/>
                        <a:pt x="40005" y="19879"/>
                      </a:cubicBezTo>
                      <a:cubicBezTo>
                        <a:pt x="42824" y="17907"/>
                        <a:pt x="53492" y="19183"/>
                        <a:pt x="57198" y="19059"/>
                      </a:cubicBezTo>
                      <a:cubicBezTo>
                        <a:pt x="62636" y="18878"/>
                        <a:pt x="68428" y="19269"/>
                        <a:pt x="73828" y="18536"/>
                      </a:cubicBezTo>
                      <a:cubicBezTo>
                        <a:pt x="79810" y="17726"/>
                        <a:pt x="84563" y="14640"/>
                        <a:pt x="89992" y="11792"/>
                      </a:cubicBezTo>
                      <a:cubicBezTo>
                        <a:pt x="89640" y="29546"/>
                        <a:pt x="118424" y="14630"/>
                        <a:pt x="125339" y="11716"/>
                      </a:cubicBezTo>
                      <a:cubicBezTo>
                        <a:pt x="139455" y="5763"/>
                        <a:pt x="151857" y="2457"/>
                        <a:pt x="166983" y="0"/>
                      </a:cubicBezTo>
                      <a:cubicBezTo>
                        <a:pt x="163897" y="6563"/>
                        <a:pt x="160782" y="13154"/>
                        <a:pt x="157677" y="19755"/>
                      </a:cubicBezTo>
                      <a:lnTo>
                        <a:pt x="157677" y="19755"/>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85" name="Freeform: Shape 484">
                  <a:extLst>
                    <a:ext uri="{FF2B5EF4-FFF2-40B4-BE49-F238E27FC236}">
                      <a16:creationId xmlns:a16="http://schemas.microsoft.com/office/drawing/2014/main" id="{456DB566-F0F5-486B-A6D8-5D3364EF7855}"/>
                    </a:ext>
                  </a:extLst>
                </p:cNvPr>
                <p:cNvSpPr/>
                <p:nvPr/>
              </p:nvSpPr>
              <p:spPr>
                <a:xfrm>
                  <a:off x="3403758" y="2946854"/>
                  <a:ext cx="217693" cy="134356"/>
                </a:xfrm>
                <a:custGeom>
                  <a:avLst/>
                  <a:gdLst>
                    <a:gd name="connsiteX0" fmla="*/ 217694 w 217693"/>
                    <a:gd name="connsiteY0" fmla="*/ 368 h 134356"/>
                    <a:gd name="connsiteX1" fmla="*/ 206397 w 217693"/>
                    <a:gd name="connsiteY1" fmla="*/ 25229 h 134356"/>
                    <a:gd name="connsiteX2" fmla="*/ 196167 w 217693"/>
                    <a:gd name="connsiteY2" fmla="*/ 45298 h 134356"/>
                    <a:gd name="connsiteX3" fmla="*/ 197844 w 217693"/>
                    <a:gd name="connsiteY3" fmla="*/ 50975 h 134356"/>
                    <a:gd name="connsiteX4" fmla="*/ 190595 w 217693"/>
                    <a:gd name="connsiteY4" fmla="*/ 66672 h 134356"/>
                    <a:gd name="connsiteX5" fmla="*/ 172831 w 217693"/>
                    <a:gd name="connsiteY5" fmla="*/ 94018 h 134356"/>
                    <a:gd name="connsiteX6" fmla="*/ 160115 w 217693"/>
                    <a:gd name="connsiteY6" fmla="*/ 120412 h 134356"/>
                    <a:gd name="connsiteX7" fmla="*/ 153762 w 217693"/>
                    <a:gd name="connsiteY7" fmla="*/ 123231 h 134356"/>
                    <a:gd name="connsiteX8" fmla="*/ 153714 w 217693"/>
                    <a:gd name="connsiteY8" fmla="*/ 127394 h 134356"/>
                    <a:gd name="connsiteX9" fmla="*/ 141770 w 217693"/>
                    <a:gd name="connsiteY9" fmla="*/ 134357 h 134356"/>
                    <a:gd name="connsiteX10" fmla="*/ 148895 w 217693"/>
                    <a:gd name="connsiteY10" fmla="*/ 118659 h 134356"/>
                    <a:gd name="connsiteX11" fmla="*/ 147104 w 217693"/>
                    <a:gd name="connsiteY11" fmla="*/ 126765 h 134356"/>
                    <a:gd name="connsiteX12" fmla="*/ 132359 w 217693"/>
                    <a:gd name="connsiteY12" fmla="*/ 116716 h 134356"/>
                    <a:gd name="connsiteX13" fmla="*/ 123977 w 217693"/>
                    <a:gd name="connsiteY13" fmla="*/ 108687 h 134356"/>
                    <a:gd name="connsiteX14" fmla="*/ 123387 w 217693"/>
                    <a:gd name="connsiteY14" fmla="*/ 98752 h 134356"/>
                    <a:gd name="connsiteX15" fmla="*/ 109271 w 217693"/>
                    <a:gd name="connsiteY15" fmla="*/ 95076 h 134356"/>
                    <a:gd name="connsiteX16" fmla="*/ 39700 w 217693"/>
                    <a:gd name="connsiteY16" fmla="*/ 95028 h 134356"/>
                    <a:gd name="connsiteX17" fmla="*/ 0 w 217693"/>
                    <a:gd name="connsiteY17" fmla="*/ 95009 h 134356"/>
                    <a:gd name="connsiteX18" fmla="*/ 5686 w 217693"/>
                    <a:gd name="connsiteY18" fmla="*/ 82836 h 134356"/>
                    <a:gd name="connsiteX19" fmla="*/ 16964 w 217693"/>
                    <a:gd name="connsiteY19" fmla="*/ 74959 h 134356"/>
                    <a:gd name="connsiteX20" fmla="*/ 36509 w 217693"/>
                    <a:gd name="connsiteY20" fmla="*/ 64757 h 134356"/>
                    <a:gd name="connsiteX21" fmla="*/ 35595 w 217693"/>
                    <a:gd name="connsiteY21" fmla="*/ 59766 h 134356"/>
                    <a:gd name="connsiteX22" fmla="*/ 38319 w 217693"/>
                    <a:gd name="connsiteY22" fmla="*/ 48689 h 134356"/>
                    <a:gd name="connsiteX23" fmla="*/ 63008 w 217693"/>
                    <a:gd name="connsiteY23" fmla="*/ 43650 h 134356"/>
                    <a:gd name="connsiteX24" fmla="*/ 89706 w 217693"/>
                    <a:gd name="connsiteY24" fmla="*/ 43764 h 134356"/>
                    <a:gd name="connsiteX25" fmla="*/ 103622 w 217693"/>
                    <a:gd name="connsiteY25" fmla="*/ 43745 h 134356"/>
                    <a:gd name="connsiteX26" fmla="*/ 114814 w 217693"/>
                    <a:gd name="connsiteY26" fmla="*/ 34401 h 134356"/>
                    <a:gd name="connsiteX27" fmla="*/ 159629 w 217693"/>
                    <a:gd name="connsiteY27" fmla="*/ 7484 h 134356"/>
                    <a:gd name="connsiteX28" fmla="*/ 217694 w 217693"/>
                    <a:gd name="connsiteY28" fmla="*/ 368 h 134356"/>
                    <a:gd name="connsiteX29" fmla="*/ 217694 w 217693"/>
                    <a:gd name="connsiteY29" fmla="*/ 368 h 134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7693" h="134356">
                      <a:moveTo>
                        <a:pt x="217694" y="368"/>
                      </a:moveTo>
                      <a:cubicBezTo>
                        <a:pt x="214160" y="8608"/>
                        <a:pt x="211512" y="18133"/>
                        <a:pt x="206397" y="25229"/>
                      </a:cubicBezTo>
                      <a:cubicBezTo>
                        <a:pt x="202378" y="30810"/>
                        <a:pt x="198044" y="38726"/>
                        <a:pt x="196167" y="45298"/>
                      </a:cubicBezTo>
                      <a:cubicBezTo>
                        <a:pt x="201558" y="41269"/>
                        <a:pt x="198939" y="48155"/>
                        <a:pt x="197844" y="50975"/>
                      </a:cubicBezTo>
                      <a:cubicBezTo>
                        <a:pt x="195777" y="56318"/>
                        <a:pt x="192976" y="61462"/>
                        <a:pt x="190595" y="66672"/>
                      </a:cubicBezTo>
                      <a:cubicBezTo>
                        <a:pt x="186185" y="76368"/>
                        <a:pt x="177574" y="84950"/>
                        <a:pt x="172831" y="94018"/>
                      </a:cubicBezTo>
                      <a:cubicBezTo>
                        <a:pt x="169069" y="101219"/>
                        <a:pt x="164706" y="116173"/>
                        <a:pt x="160115" y="120412"/>
                      </a:cubicBezTo>
                      <a:cubicBezTo>
                        <a:pt x="158524" y="121879"/>
                        <a:pt x="155276" y="121679"/>
                        <a:pt x="153762" y="123231"/>
                      </a:cubicBezTo>
                      <a:cubicBezTo>
                        <a:pt x="153286" y="123717"/>
                        <a:pt x="154667" y="126232"/>
                        <a:pt x="153714" y="127394"/>
                      </a:cubicBezTo>
                      <a:cubicBezTo>
                        <a:pt x="150933" y="130785"/>
                        <a:pt x="145294" y="131899"/>
                        <a:pt x="141770" y="134357"/>
                      </a:cubicBezTo>
                      <a:cubicBezTo>
                        <a:pt x="144475" y="130851"/>
                        <a:pt x="152971" y="123450"/>
                        <a:pt x="148895" y="118659"/>
                      </a:cubicBezTo>
                      <a:cubicBezTo>
                        <a:pt x="149133" y="121431"/>
                        <a:pt x="148447" y="124327"/>
                        <a:pt x="147104" y="126765"/>
                      </a:cubicBezTo>
                      <a:cubicBezTo>
                        <a:pt x="142237" y="123393"/>
                        <a:pt x="137036" y="120336"/>
                        <a:pt x="132359" y="116716"/>
                      </a:cubicBezTo>
                      <a:cubicBezTo>
                        <a:pt x="129930" y="114830"/>
                        <a:pt x="124720" y="111697"/>
                        <a:pt x="123977" y="108687"/>
                      </a:cubicBezTo>
                      <a:cubicBezTo>
                        <a:pt x="122577" y="102953"/>
                        <a:pt x="126816" y="103553"/>
                        <a:pt x="123387" y="98752"/>
                      </a:cubicBezTo>
                      <a:cubicBezTo>
                        <a:pt x="119939" y="93913"/>
                        <a:pt x="115681" y="95085"/>
                        <a:pt x="109271" y="95076"/>
                      </a:cubicBezTo>
                      <a:cubicBezTo>
                        <a:pt x="86077" y="95066"/>
                        <a:pt x="62894" y="95037"/>
                        <a:pt x="39700" y="95028"/>
                      </a:cubicBezTo>
                      <a:cubicBezTo>
                        <a:pt x="26470" y="95028"/>
                        <a:pt x="13230" y="94999"/>
                        <a:pt x="0" y="95009"/>
                      </a:cubicBezTo>
                      <a:cubicBezTo>
                        <a:pt x="1867" y="90999"/>
                        <a:pt x="3505" y="86694"/>
                        <a:pt x="5686" y="82836"/>
                      </a:cubicBezTo>
                      <a:cubicBezTo>
                        <a:pt x="8830" y="77292"/>
                        <a:pt x="10697" y="77121"/>
                        <a:pt x="16964" y="74959"/>
                      </a:cubicBezTo>
                      <a:cubicBezTo>
                        <a:pt x="23574" y="72682"/>
                        <a:pt x="33918" y="71053"/>
                        <a:pt x="36509" y="64757"/>
                      </a:cubicBezTo>
                      <a:cubicBezTo>
                        <a:pt x="36366" y="65091"/>
                        <a:pt x="35500" y="60490"/>
                        <a:pt x="35595" y="59766"/>
                      </a:cubicBezTo>
                      <a:cubicBezTo>
                        <a:pt x="35633" y="59433"/>
                        <a:pt x="38529" y="48384"/>
                        <a:pt x="38319" y="48689"/>
                      </a:cubicBezTo>
                      <a:cubicBezTo>
                        <a:pt x="41853" y="43574"/>
                        <a:pt x="57750" y="43679"/>
                        <a:pt x="63008" y="43650"/>
                      </a:cubicBezTo>
                      <a:cubicBezTo>
                        <a:pt x="71904" y="43602"/>
                        <a:pt x="80810" y="43736"/>
                        <a:pt x="89706" y="43764"/>
                      </a:cubicBezTo>
                      <a:cubicBezTo>
                        <a:pt x="93602" y="43783"/>
                        <a:pt x="99993" y="44993"/>
                        <a:pt x="103622" y="43745"/>
                      </a:cubicBezTo>
                      <a:cubicBezTo>
                        <a:pt x="107394" y="42440"/>
                        <a:pt x="111681" y="37030"/>
                        <a:pt x="114814" y="34401"/>
                      </a:cubicBezTo>
                      <a:cubicBezTo>
                        <a:pt x="127883" y="23438"/>
                        <a:pt x="144647" y="15742"/>
                        <a:pt x="159629" y="7484"/>
                      </a:cubicBezTo>
                      <a:cubicBezTo>
                        <a:pt x="177689" y="-2480"/>
                        <a:pt x="197615" y="387"/>
                        <a:pt x="217694" y="368"/>
                      </a:cubicBezTo>
                      <a:lnTo>
                        <a:pt x="217694" y="368"/>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86" name="Freeform: Shape 485">
                  <a:extLst>
                    <a:ext uri="{FF2B5EF4-FFF2-40B4-BE49-F238E27FC236}">
                      <a16:creationId xmlns:a16="http://schemas.microsoft.com/office/drawing/2014/main" id="{06934C83-9E27-4BAE-AECE-1C67D3864802}"/>
                    </a:ext>
                  </a:extLst>
                </p:cNvPr>
                <p:cNvSpPr/>
                <p:nvPr/>
              </p:nvSpPr>
              <p:spPr>
                <a:xfrm>
                  <a:off x="2236283" y="3041504"/>
                  <a:ext cx="226338" cy="221168"/>
                </a:xfrm>
                <a:custGeom>
                  <a:avLst/>
                  <a:gdLst>
                    <a:gd name="connsiteX0" fmla="*/ 110685 w 226338"/>
                    <a:gd name="connsiteY0" fmla="*/ 183868 h 221168"/>
                    <a:gd name="connsiteX1" fmla="*/ 88073 w 226338"/>
                    <a:gd name="connsiteY1" fmla="*/ 190945 h 221168"/>
                    <a:gd name="connsiteX2" fmla="*/ 73367 w 226338"/>
                    <a:gd name="connsiteY2" fmla="*/ 221168 h 221168"/>
                    <a:gd name="connsiteX3" fmla="*/ 34152 w 226338"/>
                    <a:gd name="connsiteY3" fmla="*/ 152883 h 221168"/>
                    <a:gd name="connsiteX4" fmla="*/ 12416 w 226338"/>
                    <a:gd name="connsiteY4" fmla="*/ 117127 h 221168"/>
                    <a:gd name="connsiteX5" fmla="*/ 1920 w 226338"/>
                    <a:gd name="connsiteY5" fmla="*/ 100391 h 221168"/>
                    <a:gd name="connsiteX6" fmla="*/ 6577 w 226338"/>
                    <a:gd name="connsiteY6" fmla="*/ 82665 h 221168"/>
                    <a:gd name="connsiteX7" fmla="*/ 50364 w 226338"/>
                    <a:gd name="connsiteY7" fmla="*/ 18162 h 221168"/>
                    <a:gd name="connsiteX8" fmla="*/ 61346 w 226338"/>
                    <a:gd name="connsiteY8" fmla="*/ 2407 h 221168"/>
                    <a:gd name="connsiteX9" fmla="*/ 82301 w 226338"/>
                    <a:gd name="connsiteY9" fmla="*/ 398 h 221168"/>
                    <a:gd name="connsiteX10" fmla="*/ 125021 w 226338"/>
                    <a:gd name="connsiteY10" fmla="*/ 379 h 221168"/>
                    <a:gd name="connsiteX11" fmla="*/ 226338 w 226338"/>
                    <a:gd name="connsiteY11" fmla="*/ 379 h 221168"/>
                    <a:gd name="connsiteX12" fmla="*/ 136641 w 226338"/>
                    <a:gd name="connsiteY12" fmla="*/ 141415 h 221168"/>
                    <a:gd name="connsiteX13" fmla="*/ 110685 w 226338"/>
                    <a:gd name="connsiteY13" fmla="*/ 183868 h 221168"/>
                    <a:gd name="connsiteX14" fmla="*/ 110685 w 226338"/>
                    <a:gd name="connsiteY14" fmla="*/ 183868 h 22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6338" h="221168">
                      <a:moveTo>
                        <a:pt x="110685" y="183868"/>
                      </a:moveTo>
                      <a:cubicBezTo>
                        <a:pt x="102342" y="192888"/>
                        <a:pt x="95626" y="178077"/>
                        <a:pt x="88073" y="190945"/>
                      </a:cubicBezTo>
                      <a:cubicBezTo>
                        <a:pt x="82425" y="200566"/>
                        <a:pt x="79472" y="211291"/>
                        <a:pt x="73367" y="221168"/>
                      </a:cubicBezTo>
                      <a:cubicBezTo>
                        <a:pt x="59965" y="198603"/>
                        <a:pt x="47230" y="175639"/>
                        <a:pt x="34152" y="152883"/>
                      </a:cubicBezTo>
                      <a:cubicBezTo>
                        <a:pt x="27180" y="140758"/>
                        <a:pt x="19922" y="128928"/>
                        <a:pt x="12416" y="117127"/>
                      </a:cubicBezTo>
                      <a:cubicBezTo>
                        <a:pt x="8882" y="111573"/>
                        <a:pt x="5320" y="106030"/>
                        <a:pt x="1920" y="100391"/>
                      </a:cubicBezTo>
                      <a:cubicBezTo>
                        <a:pt x="-2700" y="92733"/>
                        <a:pt x="1881" y="89742"/>
                        <a:pt x="6577" y="82665"/>
                      </a:cubicBezTo>
                      <a:cubicBezTo>
                        <a:pt x="20950" y="61015"/>
                        <a:pt x="35562" y="39526"/>
                        <a:pt x="50364" y="18162"/>
                      </a:cubicBezTo>
                      <a:cubicBezTo>
                        <a:pt x="53478" y="13666"/>
                        <a:pt x="57041" y="5703"/>
                        <a:pt x="61346" y="2407"/>
                      </a:cubicBezTo>
                      <a:cubicBezTo>
                        <a:pt x="66185" y="-1317"/>
                        <a:pt x="75767" y="388"/>
                        <a:pt x="82301" y="398"/>
                      </a:cubicBezTo>
                      <a:cubicBezTo>
                        <a:pt x="96541" y="417"/>
                        <a:pt x="110781" y="369"/>
                        <a:pt x="125021" y="379"/>
                      </a:cubicBezTo>
                      <a:cubicBezTo>
                        <a:pt x="158796" y="398"/>
                        <a:pt x="192562" y="369"/>
                        <a:pt x="226338" y="379"/>
                      </a:cubicBezTo>
                      <a:cubicBezTo>
                        <a:pt x="195448" y="46746"/>
                        <a:pt x="165511" y="93752"/>
                        <a:pt x="136641" y="141415"/>
                      </a:cubicBezTo>
                      <a:cubicBezTo>
                        <a:pt x="128793" y="154360"/>
                        <a:pt x="121373" y="173600"/>
                        <a:pt x="110685" y="183868"/>
                      </a:cubicBezTo>
                      <a:lnTo>
                        <a:pt x="110685" y="183868"/>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87" name="Freeform: Shape 486">
                  <a:extLst>
                    <a:ext uri="{FF2B5EF4-FFF2-40B4-BE49-F238E27FC236}">
                      <a16:creationId xmlns:a16="http://schemas.microsoft.com/office/drawing/2014/main" id="{B82F9BA4-B837-415E-B53A-CA57ED6F179E}"/>
                    </a:ext>
                  </a:extLst>
                </p:cNvPr>
                <p:cNvSpPr/>
                <p:nvPr/>
              </p:nvSpPr>
              <p:spPr>
                <a:xfrm>
                  <a:off x="2408986" y="3198501"/>
                  <a:ext cx="266757" cy="180734"/>
                </a:xfrm>
                <a:custGeom>
                  <a:avLst/>
                  <a:gdLst>
                    <a:gd name="connsiteX0" fmla="*/ 80010 w 266757"/>
                    <a:gd name="connsiteY0" fmla="*/ 164069 h 180734"/>
                    <a:gd name="connsiteX1" fmla="*/ 82753 w 266757"/>
                    <a:gd name="connsiteY1" fmla="*/ 165679 h 180734"/>
                    <a:gd name="connsiteX2" fmla="*/ 36833 w 266757"/>
                    <a:gd name="connsiteY2" fmla="*/ 165374 h 180734"/>
                    <a:gd name="connsiteX3" fmla="*/ 24365 w 266757"/>
                    <a:gd name="connsiteY3" fmla="*/ 179509 h 180734"/>
                    <a:gd name="connsiteX4" fmla="*/ 0 w 266757"/>
                    <a:gd name="connsiteY4" fmla="*/ 179556 h 180734"/>
                    <a:gd name="connsiteX5" fmla="*/ 69409 w 266757"/>
                    <a:gd name="connsiteY5" fmla="*/ 47216 h 180734"/>
                    <a:gd name="connsiteX6" fmla="*/ 87078 w 266757"/>
                    <a:gd name="connsiteY6" fmla="*/ 15603 h 180734"/>
                    <a:gd name="connsiteX7" fmla="*/ 95450 w 266757"/>
                    <a:gd name="connsiteY7" fmla="*/ 896 h 180734"/>
                    <a:gd name="connsiteX8" fmla="*/ 115643 w 266757"/>
                    <a:gd name="connsiteY8" fmla="*/ 829 h 180734"/>
                    <a:gd name="connsiteX9" fmla="*/ 185318 w 266757"/>
                    <a:gd name="connsiteY9" fmla="*/ 848 h 180734"/>
                    <a:gd name="connsiteX10" fmla="*/ 266757 w 266757"/>
                    <a:gd name="connsiteY10" fmla="*/ 848 h 180734"/>
                    <a:gd name="connsiteX11" fmla="*/ 215360 w 266757"/>
                    <a:gd name="connsiteY11" fmla="*/ 96298 h 180734"/>
                    <a:gd name="connsiteX12" fmla="*/ 190157 w 266757"/>
                    <a:gd name="connsiteY12" fmla="*/ 147124 h 180734"/>
                    <a:gd name="connsiteX13" fmla="*/ 184204 w 266757"/>
                    <a:gd name="connsiteY13" fmla="*/ 158278 h 180734"/>
                    <a:gd name="connsiteX14" fmla="*/ 169554 w 266757"/>
                    <a:gd name="connsiteY14" fmla="*/ 158287 h 180734"/>
                    <a:gd name="connsiteX15" fmla="*/ 141008 w 266757"/>
                    <a:gd name="connsiteY15" fmla="*/ 158297 h 180734"/>
                    <a:gd name="connsiteX16" fmla="*/ 79848 w 266757"/>
                    <a:gd name="connsiteY16" fmla="*/ 158335 h 180734"/>
                    <a:gd name="connsiteX17" fmla="*/ 80010 w 266757"/>
                    <a:gd name="connsiteY17" fmla="*/ 164069 h 180734"/>
                    <a:gd name="connsiteX18" fmla="*/ 80010 w 266757"/>
                    <a:gd name="connsiteY18" fmla="*/ 164069 h 18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6757" h="180734">
                      <a:moveTo>
                        <a:pt x="80010" y="164069"/>
                      </a:moveTo>
                      <a:cubicBezTo>
                        <a:pt x="80924" y="164602"/>
                        <a:pt x="81839" y="165145"/>
                        <a:pt x="82753" y="165679"/>
                      </a:cubicBezTo>
                      <a:cubicBezTo>
                        <a:pt x="67770" y="165117"/>
                        <a:pt x="51787" y="164221"/>
                        <a:pt x="36833" y="165374"/>
                      </a:cubicBezTo>
                      <a:cubicBezTo>
                        <a:pt x="25879" y="166212"/>
                        <a:pt x="31956" y="174594"/>
                        <a:pt x="24365" y="179509"/>
                      </a:cubicBezTo>
                      <a:cubicBezTo>
                        <a:pt x="20145" y="182242"/>
                        <a:pt x="5134" y="179547"/>
                        <a:pt x="0" y="179556"/>
                      </a:cubicBezTo>
                      <a:cubicBezTo>
                        <a:pt x="22212" y="134951"/>
                        <a:pt x="45348" y="90850"/>
                        <a:pt x="69409" y="47216"/>
                      </a:cubicBezTo>
                      <a:cubicBezTo>
                        <a:pt x="75238" y="36643"/>
                        <a:pt x="81124" y="26109"/>
                        <a:pt x="87078" y="15603"/>
                      </a:cubicBezTo>
                      <a:cubicBezTo>
                        <a:pt x="89097" y="12040"/>
                        <a:pt x="92240" y="2563"/>
                        <a:pt x="95450" y="896"/>
                      </a:cubicBezTo>
                      <a:cubicBezTo>
                        <a:pt x="99279" y="-1085"/>
                        <a:pt x="111166" y="839"/>
                        <a:pt x="115643" y="829"/>
                      </a:cubicBezTo>
                      <a:cubicBezTo>
                        <a:pt x="138865" y="791"/>
                        <a:pt x="162096" y="848"/>
                        <a:pt x="185318" y="848"/>
                      </a:cubicBezTo>
                      <a:cubicBezTo>
                        <a:pt x="212465" y="848"/>
                        <a:pt x="239611" y="820"/>
                        <a:pt x="266757" y="848"/>
                      </a:cubicBezTo>
                      <a:cubicBezTo>
                        <a:pt x="249888" y="32081"/>
                        <a:pt x="231743" y="63856"/>
                        <a:pt x="215360" y="96298"/>
                      </a:cubicBezTo>
                      <a:cubicBezTo>
                        <a:pt x="206826" y="113215"/>
                        <a:pt x="198368" y="130122"/>
                        <a:pt x="190157" y="147124"/>
                      </a:cubicBezTo>
                      <a:cubicBezTo>
                        <a:pt x="188671" y="150200"/>
                        <a:pt x="186795" y="156839"/>
                        <a:pt x="184204" y="158278"/>
                      </a:cubicBezTo>
                      <a:cubicBezTo>
                        <a:pt x="181413" y="159830"/>
                        <a:pt x="172793" y="158287"/>
                        <a:pt x="169554" y="158287"/>
                      </a:cubicBezTo>
                      <a:cubicBezTo>
                        <a:pt x="160039" y="158287"/>
                        <a:pt x="150524" y="158287"/>
                        <a:pt x="141008" y="158297"/>
                      </a:cubicBezTo>
                      <a:cubicBezTo>
                        <a:pt x="120625" y="158306"/>
                        <a:pt x="100232" y="158211"/>
                        <a:pt x="79848" y="158335"/>
                      </a:cubicBezTo>
                      <a:cubicBezTo>
                        <a:pt x="79905" y="160097"/>
                        <a:pt x="79543" y="162392"/>
                        <a:pt x="80010" y="164069"/>
                      </a:cubicBezTo>
                      <a:lnTo>
                        <a:pt x="80010" y="164069"/>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88" name="Freeform: Shape 487">
                  <a:extLst>
                    <a:ext uri="{FF2B5EF4-FFF2-40B4-BE49-F238E27FC236}">
                      <a16:creationId xmlns:a16="http://schemas.microsoft.com/office/drawing/2014/main" id="{4E806AAC-72C9-40F6-A0C8-6ABB8133677B}"/>
                    </a:ext>
                  </a:extLst>
                </p:cNvPr>
                <p:cNvSpPr/>
                <p:nvPr/>
              </p:nvSpPr>
              <p:spPr>
                <a:xfrm>
                  <a:off x="3487011" y="3062959"/>
                  <a:ext cx="63455" cy="75011"/>
                </a:xfrm>
                <a:custGeom>
                  <a:avLst/>
                  <a:gdLst>
                    <a:gd name="connsiteX0" fmla="*/ 47544 w 63455"/>
                    <a:gd name="connsiteY0" fmla="*/ 27558 h 75011"/>
                    <a:gd name="connsiteX1" fmla="*/ 54230 w 63455"/>
                    <a:gd name="connsiteY1" fmla="*/ 27691 h 75011"/>
                    <a:gd name="connsiteX2" fmla="*/ 43258 w 63455"/>
                    <a:gd name="connsiteY2" fmla="*/ 48608 h 75011"/>
                    <a:gd name="connsiteX3" fmla="*/ 46363 w 63455"/>
                    <a:gd name="connsiteY3" fmla="*/ 42150 h 75011"/>
                    <a:gd name="connsiteX4" fmla="*/ 31028 w 63455"/>
                    <a:gd name="connsiteY4" fmla="*/ 56142 h 75011"/>
                    <a:gd name="connsiteX5" fmla="*/ 22217 w 63455"/>
                    <a:gd name="connsiteY5" fmla="*/ 64210 h 75011"/>
                    <a:gd name="connsiteX6" fmla="*/ 7949 w 63455"/>
                    <a:gd name="connsiteY6" fmla="*/ 75011 h 75011"/>
                    <a:gd name="connsiteX7" fmla="*/ 6205 w 63455"/>
                    <a:gd name="connsiteY7" fmla="*/ 66877 h 75011"/>
                    <a:gd name="connsiteX8" fmla="*/ 567 w 63455"/>
                    <a:gd name="connsiteY8" fmla="*/ 54466 h 75011"/>
                    <a:gd name="connsiteX9" fmla="*/ 15521 w 63455"/>
                    <a:gd name="connsiteY9" fmla="*/ 45046 h 75011"/>
                    <a:gd name="connsiteX10" fmla="*/ 29837 w 63455"/>
                    <a:gd name="connsiteY10" fmla="*/ 37064 h 75011"/>
                    <a:gd name="connsiteX11" fmla="*/ 26999 w 63455"/>
                    <a:gd name="connsiteY11" fmla="*/ 17090 h 75011"/>
                    <a:gd name="connsiteX12" fmla="*/ 42762 w 63455"/>
                    <a:gd name="connsiteY12" fmla="*/ 1192 h 75011"/>
                    <a:gd name="connsiteX13" fmla="*/ 52773 w 63455"/>
                    <a:gd name="connsiteY13" fmla="*/ 3136 h 75011"/>
                    <a:gd name="connsiteX14" fmla="*/ 63327 w 63455"/>
                    <a:gd name="connsiteY14" fmla="*/ 10317 h 75011"/>
                    <a:gd name="connsiteX15" fmla="*/ 47544 w 63455"/>
                    <a:gd name="connsiteY15" fmla="*/ 27558 h 75011"/>
                    <a:gd name="connsiteX16" fmla="*/ 47544 w 63455"/>
                    <a:gd name="connsiteY16" fmla="*/ 27558 h 75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455" h="75011">
                      <a:moveTo>
                        <a:pt x="47544" y="27558"/>
                      </a:moveTo>
                      <a:cubicBezTo>
                        <a:pt x="49754" y="28453"/>
                        <a:pt x="52116" y="28539"/>
                        <a:pt x="54230" y="27691"/>
                      </a:cubicBezTo>
                      <a:cubicBezTo>
                        <a:pt x="54621" y="33882"/>
                        <a:pt x="46591" y="43464"/>
                        <a:pt x="43258" y="48608"/>
                      </a:cubicBezTo>
                      <a:cubicBezTo>
                        <a:pt x="44105" y="46379"/>
                        <a:pt x="45191" y="44245"/>
                        <a:pt x="46363" y="42150"/>
                      </a:cubicBezTo>
                      <a:cubicBezTo>
                        <a:pt x="41381" y="45179"/>
                        <a:pt x="38067" y="57552"/>
                        <a:pt x="31028" y="56142"/>
                      </a:cubicBezTo>
                      <a:cubicBezTo>
                        <a:pt x="29866" y="61610"/>
                        <a:pt x="25989" y="61495"/>
                        <a:pt x="22217" y="64210"/>
                      </a:cubicBezTo>
                      <a:cubicBezTo>
                        <a:pt x="17588" y="67553"/>
                        <a:pt x="14559" y="74830"/>
                        <a:pt x="7949" y="75011"/>
                      </a:cubicBezTo>
                      <a:cubicBezTo>
                        <a:pt x="13330" y="67963"/>
                        <a:pt x="11225" y="70001"/>
                        <a:pt x="6205" y="66877"/>
                      </a:cubicBezTo>
                      <a:cubicBezTo>
                        <a:pt x="1633" y="64038"/>
                        <a:pt x="-1291" y="59390"/>
                        <a:pt x="567" y="54466"/>
                      </a:cubicBezTo>
                      <a:cubicBezTo>
                        <a:pt x="3062" y="47836"/>
                        <a:pt x="10568" y="47722"/>
                        <a:pt x="15521" y="45046"/>
                      </a:cubicBezTo>
                      <a:cubicBezTo>
                        <a:pt x="20417" y="42398"/>
                        <a:pt x="24265" y="39169"/>
                        <a:pt x="29837" y="37064"/>
                      </a:cubicBezTo>
                      <a:cubicBezTo>
                        <a:pt x="26017" y="28005"/>
                        <a:pt x="21807" y="25205"/>
                        <a:pt x="26999" y="17090"/>
                      </a:cubicBezTo>
                      <a:cubicBezTo>
                        <a:pt x="30466" y="11670"/>
                        <a:pt x="35790" y="4669"/>
                        <a:pt x="42762" y="1192"/>
                      </a:cubicBezTo>
                      <a:cubicBezTo>
                        <a:pt x="47468" y="-1160"/>
                        <a:pt x="48487" y="221"/>
                        <a:pt x="52773" y="3136"/>
                      </a:cubicBezTo>
                      <a:cubicBezTo>
                        <a:pt x="54535" y="4336"/>
                        <a:pt x="62832" y="8374"/>
                        <a:pt x="63327" y="10317"/>
                      </a:cubicBezTo>
                      <a:cubicBezTo>
                        <a:pt x="65089" y="17271"/>
                        <a:pt x="48153" y="20357"/>
                        <a:pt x="47544" y="27558"/>
                      </a:cubicBezTo>
                      <a:lnTo>
                        <a:pt x="47544" y="27558"/>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89" name="Freeform: Shape 488">
                  <a:extLst>
                    <a:ext uri="{FF2B5EF4-FFF2-40B4-BE49-F238E27FC236}">
                      <a16:creationId xmlns:a16="http://schemas.microsoft.com/office/drawing/2014/main" id="{7FB91BB5-58DD-4693-B626-24222243BCFA}"/>
                    </a:ext>
                  </a:extLst>
                </p:cNvPr>
                <p:cNvSpPr/>
                <p:nvPr/>
              </p:nvSpPr>
              <p:spPr>
                <a:xfrm>
                  <a:off x="3613820" y="2938080"/>
                  <a:ext cx="72592" cy="82119"/>
                </a:xfrm>
                <a:custGeom>
                  <a:avLst/>
                  <a:gdLst>
                    <a:gd name="connsiteX0" fmla="*/ 72592 w 72592"/>
                    <a:gd name="connsiteY0" fmla="*/ 47 h 82119"/>
                    <a:gd name="connsiteX1" fmla="*/ 55314 w 72592"/>
                    <a:gd name="connsiteY1" fmla="*/ 46033 h 82119"/>
                    <a:gd name="connsiteX2" fmla="*/ 51266 w 72592"/>
                    <a:gd name="connsiteY2" fmla="*/ 56730 h 82119"/>
                    <a:gd name="connsiteX3" fmla="*/ 51438 w 72592"/>
                    <a:gd name="connsiteY3" fmla="*/ 68579 h 82119"/>
                    <a:gd name="connsiteX4" fmla="*/ 31978 w 72592"/>
                    <a:gd name="connsiteY4" fmla="*/ 81295 h 82119"/>
                    <a:gd name="connsiteX5" fmla="*/ 7280 w 72592"/>
                    <a:gd name="connsiteY5" fmla="*/ 81038 h 82119"/>
                    <a:gd name="connsiteX6" fmla="*/ 4584 w 72592"/>
                    <a:gd name="connsiteY6" fmla="*/ 70141 h 82119"/>
                    <a:gd name="connsiteX7" fmla="*/ 20262 w 72592"/>
                    <a:gd name="connsiteY7" fmla="*/ 48091 h 82119"/>
                    <a:gd name="connsiteX8" fmla="*/ 35645 w 72592"/>
                    <a:gd name="connsiteY8" fmla="*/ 30203 h 82119"/>
                    <a:gd name="connsiteX9" fmla="*/ 47075 w 72592"/>
                    <a:gd name="connsiteY9" fmla="*/ 25135 h 82119"/>
                    <a:gd name="connsiteX10" fmla="*/ 50914 w 72592"/>
                    <a:gd name="connsiteY10" fmla="*/ 16572 h 82119"/>
                    <a:gd name="connsiteX11" fmla="*/ 60439 w 72592"/>
                    <a:gd name="connsiteY11" fmla="*/ 5161 h 82119"/>
                    <a:gd name="connsiteX12" fmla="*/ 66049 w 72592"/>
                    <a:gd name="connsiteY12" fmla="*/ 199 h 82119"/>
                    <a:gd name="connsiteX13" fmla="*/ 72592 w 72592"/>
                    <a:gd name="connsiteY13" fmla="*/ 47 h 82119"/>
                    <a:gd name="connsiteX14" fmla="*/ 72592 w 72592"/>
                    <a:gd name="connsiteY14" fmla="*/ 47 h 8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592" h="82119">
                      <a:moveTo>
                        <a:pt x="72592" y="47"/>
                      </a:moveTo>
                      <a:cubicBezTo>
                        <a:pt x="66773" y="15353"/>
                        <a:pt x="60991" y="30669"/>
                        <a:pt x="55314" y="46033"/>
                      </a:cubicBezTo>
                      <a:cubicBezTo>
                        <a:pt x="54066" y="49424"/>
                        <a:pt x="52000" y="53206"/>
                        <a:pt x="51266" y="56730"/>
                      </a:cubicBezTo>
                      <a:cubicBezTo>
                        <a:pt x="50361" y="61092"/>
                        <a:pt x="51971" y="64474"/>
                        <a:pt x="51438" y="68579"/>
                      </a:cubicBezTo>
                      <a:cubicBezTo>
                        <a:pt x="50561" y="75418"/>
                        <a:pt x="38845" y="79495"/>
                        <a:pt x="31978" y="81295"/>
                      </a:cubicBezTo>
                      <a:cubicBezTo>
                        <a:pt x="24739" y="83190"/>
                        <a:pt x="14795" y="81257"/>
                        <a:pt x="7280" y="81038"/>
                      </a:cubicBezTo>
                      <a:cubicBezTo>
                        <a:pt x="-3646" y="80714"/>
                        <a:pt x="-302" y="77066"/>
                        <a:pt x="4584" y="70141"/>
                      </a:cubicBezTo>
                      <a:cubicBezTo>
                        <a:pt x="10013" y="62454"/>
                        <a:pt x="13671" y="54806"/>
                        <a:pt x="20262" y="48091"/>
                      </a:cubicBezTo>
                      <a:cubicBezTo>
                        <a:pt x="25425" y="42823"/>
                        <a:pt x="29978" y="33898"/>
                        <a:pt x="35645" y="30203"/>
                      </a:cubicBezTo>
                      <a:cubicBezTo>
                        <a:pt x="38950" y="28041"/>
                        <a:pt x="43951" y="28279"/>
                        <a:pt x="47075" y="25135"/>
                      </a:cubicBezTo>
                      <a:cubicBezTo>
                        <a:pt x="50113" y="22087"/>
                        <a:pt x="48818" y="19811"/>
                        <a:pt x="50914" y="16572"/>
                      </a:cubicBezTo>
                      <a:cubicBezTo>
                        <a:pt x="53371" y="12762"/>
                        <a:pt x="57210" y="8629"/>
                        <a:pt x="60439" y="5161"/>
                      </a:cubicBezTo>
                      <a:cubicBezTo>
                        <a:pt x="62001" y="3485"/>
                        <a:pt x="63849" y="1066"/>
                        <a:pt x="66049" y="199"/>
                      </a:cubicBezTo>
                      <a:cubicBezTo>
                        <a:pt x="68335" y="-706"/>
                        <a:pt x="69773" y="1875"/>
                        <a:pt x="72592" y="47"/>
                      </a:cubicBezTo>
                      <a:lnTo>
                        <a:pt x="72592" y="47"/>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90" name="Freeform: Shape 489">
                  <a:extLst>
                    <a:ext uri="{FF2B5EF4-FFF2-40B4-BE49-F238E27FC236}">
                      <a16:creationId xmlns:a16="http://schemas.microsoft.com/office/drawing/2014/main" id="{B5152071-B5FC-4FA7-9559-F57AFE62EB43}"/>
                    </a:ext>
                  </a:extLst>
                </p:cNvPr>
                <p:cNvSpPr/>
                <p:nvPr/>
              </p:nvSpPr>
              <p:spPr>
                <a:xfrm>
                  <a:off x="2718767" y="3010297"/>
                  <a:ext cx="236073" cy="94657"/>
                </a:xfrm>
                <a:custGeom>
                  <a:avLst/>
                  <a:gdLst>
                    <a:gd name="connsiteX0" fmla="*/ 56979 w 236073"/>
                    <a:gd name="connsiteY0" fmla="*/ 47 h 94657"/>
                    <a:gd name="connsiteX1" fmla="*/ 182823 w 236073"/>
                    <a:gd name="connsiteY1" fmla="*/ 47 h 94657"/>
                    <a:gd name="connsiteX2" fmla="*/ 195853 w 236073"/>
                    <a:gd name="connsiteY2" fmla="*/ 4715 h 94657"/>
                    <a:gd name="connsiteX3" fmla="*/ 210179 w 236073"/>
                    <a:gd name="connsiteY3" fmla="*/ 3991 h 94657"/>
                    <a:gd name="connsiteX4" fmla="*/ 233667 w 236073"/>
                    <a:gd name="connsiteY4" fmla="*/ 15164 h 94657"/>
                    <a:gd name="connsiteX5" fmla="*/ 236058 w 236073"/>
                    <a:gd name="connsiteY5" fmla="*/ 18355 h 94657"/>
                    <a:gd name="connsiteX6" fmla="*/ 233839 w 236073"/>
                    <a:gd name="connsiteY6" fmla="*/ 24546 h 94657"/>
                    <a:gd name="connsiteX7" fmla="*/ 233363 w 236073"/>
                    <a:gd name="connsiteY7" fmla="*/ 36014 h 94657"/>
                    <a:gd name="connsiteX8" fmla="*/ 229448 w 236073"/>
                    <a:gd name="connsiteY8" fmla="*/ 51492 h 94657"/>
                    <a:gd name="connsiteX9" fmla="*/ 222313 w 236073"/>
                    <a:gd name="connsiteY9" fmla="*/ 70113 h 94657"/>
                    <a:gd name="connsiteX10" fmla="*/ 222742 w 236073"/>
                    <a:gd name="connsiteY10" fmla="*/ 94545 h 94657"/>
                    <a:gd name="connsiteX11" fmla="*/ 36986 w 236073"/>
                    <a:gd name="connsiteY11" fmla="*/ 94555 h 94657"/>
                    <a:gd name="connsiteX12" fmla="*/ 55178 w 236073"/>
                    <a:gd name="connsiteY12" fmla="*/ 63065 h 94657"/>
                    <a:gd name="connsiteX13" fmla="*/ 0 w 236073"/>
                    <a:gd name="connsiteY13" fmla="*/ 63065 h 94657"/>
                    <a:gd name="connsiteX14" fmla="*/ 23632 w 236073"/>
                    <a:gd name="connsiteY14" fmla="*/ 23679 h 94657"/>
                    <a:gd name="connsiteX15" fmla="*/ 35662 w 236073"/>
                    <a:gd name="connsiteY15" fmla="*/ 3991 h 94657"/>
                    <a:gd name="connsiteX16" fmla="*/ 45072 w 236073"/>
                    <a:gd name="connsiteY16" fmla="*/ 47 h 94657"/>
                    <a:gd name="connsiteX17" fmla="*/ 56979 w 236073"/>
                    <a:gd name="connsiteY17" fmla="*/ 47 h 94657"/>
                    <a:gd name="connsiteX18" fmla="*/ 56979 w 236073"/>
                    <a:gd name="connsiteY18" fmla="*/ 47 h 9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6073" h="94657">
                      <a:moveTo>
                        <a:pt x="56979" y="47"/>
                      </a:moveTo>
                      <a:cubicBezTo>
                        <a:pt x="98927" y="86"/>
                        <a:pt x="140884" y="-76"/>
                        <a:pt x="182823" y="47"/>
                      </a:cubicBezTo>
                      <a:cubicBezTo>
                        <a:pt x="190919" y="67"/>
                        <a:pt x="189338" y="1886"/>
                        <a:pt x="195853" y="4715"/>
                      </a:cubicBezTo>
                      <a:cubicBezTo>
                        <a:pt x="200673" y="6810"/>
                        <a:pt x="204968" y="4315"/>
                        <a:pt x="210179" y="3991"/>
                      </a:cubicBezTo>
                      <a:cubicBezTo>
                        <a:pt x="219151" y="3438"/>
                        <a:pt x="229924" y="7268"/>
                        <a:pt x="233667" y="15164"/>
                      </a:cubicBezTo>
                      <a:cubicBezTo>
                        <a:pt x="234305" y="16516"/>
                        <a:pt x="235725" y="15583"/>
                        <a:pt x="236058" y="18355"/>
                      </a:cubicBezTo>
                      <a:cubicBezTo>
                        <a:pt x="236277" y="20117"/>
                        <a:pt x="234125" y="22584"/>
                        <a:pt x="233839" y="24546"/>
                      </a:cubicBezTo>
                      <a:cubicBezTo>
                        <a:pt x="233248" y="28584"/>
                        <a:pt x="234229" y="32023"/>
                        <a:pt x="233363" y="36014"/>
                      </a:cubicBezTo>
                      <a:cubicBezTo>
                        <a:pt x="231867" y="42939"/>
                        <a:pt x="230886" y="46368"/>
                        <a:pt x="229448" y="51492"/>
                      </a:cubicBezTo>
                      <a:cubicBezTo>
                        <a:pt x="228124" y="56207"/>
                        <a:pt x="224457" y="63484"/>
                        <a:pt x="222313" y="70113"/>
                      </a:cubicBezTo>
                      <a:cubicBezTo>
                        <a:pt x="219856" y="77714"/>
                        <a:pt x="220599" y="87201"/>
                        <a:pt x="222742" y="94545"/>
                      </a:cubicBezTo>
                      <a:cubicBezTo>
                        <a:pt x="160830" y="94793"/>
                        <a:pt x="98908" y="94555"/>
                        <a:pt x="36986" y="94555"/>
                      </a:cubicBezTo>
                      <a:cubicBezTo>
                        <a:pt x="42996" y="84029"/>
                        <a:pt x="49054" y="73523"/>
                        <a:pt x="55178" y="63065"/>
                      </a:cubicBezTo>
                      <a:cubicBezTo>
                        <a:pt x="36786" y="63065"/>
                        <a:pt x="18393" y="63065"/>
                        <a:pt x="0" y="63065"/>
                      </a:cubicBezTo>
                      <a:cubicBezTo>
                        <a:pt x="7820" y="49901"/>
                        <a:pt x="15678" y="36766"/>
                        <a:pt x="23632" y="23679"/>
                      </a:cubicBezTo>
                      <a:cubicBezTo>
                        <a:pt x="27442" y="17402"/>
                        <a:pt x="30890" y="9563"/>
                        <a:pt x="35662" y="3991"/>
                      </a:cubicBezTo>
                      <a:cubicBezTo>
                        <a:pt x="39519" y="-514"/>
                        <a:pt x="38233" y="57"/>
                        <a:pt x="45072" y="47"/>
                      </a:cubicBezTo>
                      <a:cubicBezTo>
                        <a:pt x="49044" y="57"/>
                        <a:pt x="53016" y="47"/>
                        <a:pt x="56979" y="47"/>
                      </a:cubicBezTo>
                      <a:lnTo>
                        <a:pt x="56979" y="47"/>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91" name="Freeform: Shape 490">
                  <a:extLst>
                    <a:ext uri="{FF2B5EF4-FFF2-40B4-BE49-F238E27FC236}">
                      <a16:creationId xmlns:a16="http://schemas.microsoft.com/office/drawing/2014/main" id="{502378A7-9E1E-40F8-BBAF-2A954F35F740}"/>
                    </a:ext>
                  </a:extLst>
                </p:cNvPr>
                <p:cNvSpPr/>
                <p:nvPr/>
              </p:nvSpPr>
              <p:spPr>
                <a:xfrm>
                  <a:off x="2816275" y="2821268"/>
                  <a:ext cx="241249" cy="97925"/>
                </a:xfrm>
                <a:custGeom>
                  <a:avLst/>
                  <a:gdLst>
                    <a:gd name="connsiteX0" fmla="*/ 200130 w 241249"/>
                    <a:gd name="connsiteY0" fmla="*/ 94017 h 97925"/>
                    <a:gd name="connsiteX1" fmla="*/ 123920 w 241249"/>
                    <a:gd name="connsiteY1" fmla="*/ 96417 h 97925"/>
                    <a:gd name="connsiteX2" fmla="*/ 44520 w 241249"/>
                    <a:gd name="connsiteY2" fmla="*/ 96417 h 97925"/>
                    <a:gd name="connsiteX3" fmla="*/ 0 w 241249"/>
                    <a:gd name="connsiteY3" fmla="*/ 96417 h 97925"/>
                    <a:gd name="connsiteX4" fmla="*/ 59646 w 241249"/>
                    <a:gd name="connsiteY4" fmla="*/ 6301 h 97925"/>
                    <a:gd name="connsiteX5" fmla="*/ 68713 w 241249"/>
                    <a:gd name="connsiteY5" fmla="*/ 310 h 97925"/>
                    <a:gd name="connsiteX6" fmla="*/ 86497 w 241249"/>
                    <a:gd name="connsiteY6" fmla="*/ 348 h 97925"/>
                    <a:gd name="connsiteX7" fmla="*/ 113186 w 241249"/>
                    <a:gd name="connsiteY7" fmla="*/ 358 h 97925"/>
                    <a:gd name="connsiteX8" fmla="*/ 175489 w 241249"/>
                    <a:gd name="connsiteY8" fmla="*/ 339 h 97925"/>
                    <a:gd name="connsiteX9" fmla="*/ 241249 w 241249"/>
                    <a:gd name="connsiteY9" fmla="*/ 339 h 97925"/>
                    <a:gd name="connsiteX10" fmla="*/ 227267 w 241249"/>
                    <a:gd name="connsiteY10" fmla="*/ 26694 h 97925"/>
                    <a:gd name="connsiteX11" fmla="*/ 219551 w 241249"/>
                    <a:gd name="connsiteY11" fmla="*/ 49774 h 97925"/>
                    <a:gd name="connsiteX12" fmla="*/ 208683 w 241249"/>
                    <a:gd name="connsiteY12" fmla="*/ 70243 h 97925"/>
                    <a:gd name="connsiteX13" fmla="*/ 200130 w 241249"/>
                    <a:gd name="connsiteY13" fmla="*/ 94017 h 97925"/>
                    <a:gd name="connsiteX14" fmla="*/ 200130 w 241249"/>
                    <a:gd name="connsiteY14" fmla="*/ 94017 h 97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1249" h="97925">
                      <a:moveTo>
                        <a:pt x="200130" y="94017"/>
                      </a:moveTo>
                      <a:cubicBezTo>
                        <a:pt x="198053" y="101075"/>
                        <a:pt x="133788" y="96417"/>
                        <a:pt x="123920" y="96417"/>
                      </a:cubicBezTo>
                      <a:cubicBezTo>
                        <a:pt x="97450" y="96417"/>
                        <a:pt x="70980" y="96417"/>
                        <a:pt x="44520" y="96417"/>
                      </a:cubicBezTo>
                      <a:cubicBezTo>
                        <a:pt x="29680" y="96417"/>
                        <a:pt x="14840" y="96417"/>
                        <a:pt x="0" y="96417"/>
                      </a:cubicBezTo>
                      <a:cubicBezTo>
                        <a:pt x="19564" y="66176"/>
                        <a:pt x="39414" y="36105"/>
                        <a:pt x="59646" y="6301"/>
                      </a:cubicBezTo>
                      <a:cubicBezTo>
                        <a:pt x="63151" y="1129"/>
                        <a:pt x="63103" y="1034"/>
                        <a:pt x="68713" y="310"/>
                      </a:cubicBezTo>
                      <a:cubicBezTo>
                        <a:pt x="74352" y="-414"/>
                        <a:pt x="80801" y="358"/>
                        <a:pt x="86497" y="348"/>
                      </a:cubicBezTo>
                      <a:cubicBezTo>
                        <a:pt x="95383" y="329"/>
                        <a:pt x="104289" y="367"/>
                        <a:pt x="113186" y="358"/>
                      </a:cubicBezTo>
                      <a:cubicBezTo>
                        <a:pt x="133950" y="320"/>
                        <a:pt x="154724" y="339"/>
                        <a:pt x="175489" y="339"/>
                      </a:cubicBezTo>
                      <a:cubicBezTo>
                        <a:pt x="197406" y="348"/>
                        <a:pt x="219332" y="339"/>
                        <a:pt x="241249" y="339"/>
                      </a:cubicBezTo>
                      <a:cubicBezTo>
                        <a:pt x="237639" y="9883"/>
                        <a:pt x="230915" y="17408"/>
                        <a:pt x="227267" y="26694"/>
                      </a:cubicBezTo>
                      <a:cubicBezTo>
                        <a:pt x="224152" y="34629"/>
                        <a:pt x="223818" y="42220"/>
                        <a:pt x="219551" y="49774"/>
                      </a:cubicBezTo>
                      <a:cubicBezTo>
                        <a:pt x="215656" y="56689"/>
                        <a:pt x="212179" y="63632"/>
                        <a:pt x="208683" y="70243"/>
                      </a:cubicBezTo>
                      <a:cubicBezTo>
                        <a:pt x="204635" y="77929"/>
                        <a:pt x="205921" y="87292"/>
                        <a:pt x="200130" y="94017"/>
                      </a:cubicBezTo>
                      <a:lnTo>
                        <a:pt x="200130" y="94017"/>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92" name="Freeform: Shape 491">
                  <a:extLst>
                    <a:ext uri="{FF2B5EF4-FFF2-40B4-BE49-F238E27FC236}">
                      <a16:creationId xmlns:a16="http://schemas.microsoft.com/office/drawing/2014/main" id="{884A2453-D257-479D-A56A-CC77C360D57C}"/>
                    </a:ext>
                  </a:extLst>
                </p:cNvPr>
                <p:cNvSpPr/>
                <p:nvPr/>
              </p:nvSpPr>
              <p:spPr>
                <a:xfrm>
                  <a:off x="3177387" y="3211692"/>
                  <a:ext cx="258575" cy="86106"/>
                </a:xfrm>
                <a:custGeom>
                  <a:avLst/>
                  <a:gdLst>
                    <a:gd name="connsiteX0" fmla="*/ 257661 w 258575"/>
                    <a:gd name="connsiteY0" fmla="*/ 7127 h 86106"/>
                    <a:gd name="connsiteX1" fmla="*/ 257308 w 258575"/>
                    <a:gd name="connsiteY1" fmla="*/ 15642 h 86106"/>
                    <a:gd name="connsiteX2" fmla="*/ 250031 w 258575"/>
                    <a:gd name="connsiteY2" fmla="*/ 10403 h 86106"/>
                    <a:gd name="connsiteX3" fmla="*/ 245431 w 258575"/>
                    <a:gd name="connsiteY3" fmla="*/ 13213 h 86106"/>
                    <a:gd name="connsiteX4" fmla="*/ 245754 w 258575"/>
                    <a:gd name="connsiteY4" fmla="*/ 15537 h 86106"/>
                    <a:gd name="connsiteX5" fmla="*/ 232743 w 258575"/>
                    <a:gd name="connsiteY5" fmla="*/ 11975 h 86106"/>
                    <a:gd name="connsiteX6" fmla="*/ 229581 w 258575"/>
                    <a:gd name="connsiteY6" fmla="*/ 20528 h 86106"/>
                    <a:gd name="connsiteX7" fmla="*/ 248450 w 258575"/>
                    <a:gd name="connsiteY7" fmla="*/ 20128 h 86106"/>
                    <a:gd name="connsiteX8" fmla="*/ 244631 w 258575"/>
                    <a:gd name="connsiteY8" fmla="*/ 28939 h 86106"/>
                    <a:gd name="connsiteX9" fmla="*/ 253346 w 258575"/>
                    <a:gd name="connsiteY9" fmla="*/ 20976 h 86106"/>
                    <a:gd name="connsiteX10" fmla="*/ 254079 w 258575"/>
                    <a:gd name="connsiteY10" fmla="*/ 28453 h 86106"/>
                    <a:gd name="connsiteX11" fmla="*/ 240716 w 258575"/>
                    <a:gd name="connsiteY11" fmla="*/ 38407 h 86106"/>
                    <a:gd name="connsiteX12" fmla="*/ 229457 w 258575"/>
                    <a:gd name="connsiteY12" fmla="*/ 38197 h 86106"/>
                    <a:gd name="connsiteX13" fmla="*/ 226809 w 258575"/>
                    <a:gd name="connsiteY13" fmla="*/ 35225 h 86106"/>
                    <a:gd name="connsiteX14" fmla="*/ 215322 w 258575"/>
                    <a:gd name="connsiteY14" fmla="*/ 34092 h 86106"/>
                    <a:gd name="connsiteX15" fmla="*/ 225609 w 258575"/>
                    <a:gd name="connsiteY15" fmla="*/ 40312 h 86106"/>
                    <a:gd name="connsiteX16" fmla="*/ 224095 w 258575"/>
                    <a:gd name="connsiteY16" fmla="*/ 44893 h 86106"/>
                    <a:gd name="connsiteX17" fmla="*/ 209883 w 258575"/>
                    <a:gd name="connsiteY17" fmla="*/ 45827 h 86106"/>
                    <a:gd name="connsiteX18" fmla="*/ 227524 w 258575"/>
                    <a:gd name="connsiteY18" fmla="*/ 52694 h 86106"/>
                    <a:gd name="connsiteX19" fmla="*/ 208817 w 258575"/>
                    <a:gd name="connsiteY19" fmla="*/ 60114 h 86106"/>
                    <a:gd name="connsiteX20" fmla="*/ 203216 w 258575"/>
                    <a:gd name="connsiteY20" fmla="*/ 59971 h 86106"/>
                    <a:gd name="connsiteX21" fmla="*/ 198501 w 258575"/>
                    <a:gd name="connsiteY21" fmla="*/ 62572 h 86106"/>
                    <a:gd name="connsiteX22" fmla="*/ 194929 w 258575"/>
                    <a:gd name="connsiteY22" fmla="*/ 59171 h 86106"/>
                    <a:gd name="connsiteX23" fmla="*/ 193396 w 258575"/>
                    <a:gd name="connsiteY23" fmla="*/ 65601 h 86106"/>
                    <a:gd name="connsiteX24" fmla="*/ 183985 w 258575"/>
                    <a:gd name="connsiteY24" fmla="*/ 70697 h 86106"/>
                    <a:gd name="connsiteX25" fmla="*/ 170583 w 258575"/>
                    <a:gd name="connsiteY25" fmla="*/ 84089 h 86106"/>
                    <a:gd name="connsiteX26" fmla="*/ 172603 w 258575"/>
                    <a:gd name="connsiteY26" fmla="*/ 76869 h 86106"/>
                    <a:gd name="connsiteX27" fmla="*/ 165564 w 258575"/>
                    <a:gd name="connsiteY27" fmla="*/ 84917 h 86106"/>
                    <a:gd name="connsiteX28" fmla="*/ 151495 w 258575"/>
                    <a:gd name="connsiteY28" fmla="*/ 86060 h 86106"/>
                    <a:gd name="connsiteX29" fmla="*/ 138189 w 258575"/>
                    <a:gd name="connsiteY29" fmla="*/ 66944 h 86106"/>
                    <a:gd name="connsiteX30" fmla="*/ 131445 w 258575"/>
                    <a:gd name="connsiteY30" fmla="*/ 57085 h 86106"/>
                    <a:gd name="connsiteX31" fmla="*/ 120472 w 258575"/>
                    <a:gd name="connsiteY31" fmla="*/ 56742 h 86106"/>
                    <a:gd name="connsiteX32" fmla="*/ 99422 w 258575"/>
                    <a:gd name="connsiteY32" fmla="*/ 56085 h 86106"/>
                    <a:gd name="connsiteX33" fmla="*/ 94955 w 258575"/>
                    <a:gd name="connsiteY33" fmla="*/ 48618 h 86106"/>
                    <a:gd name="connsiteX34" fmla="*/ 77048 w 258575"/>
                    <a:gd name="connsiteY34" fmla="*/ 45046 h 86106"/>
                    <a:gd name="connsiteX35" fmla="*/ 54855 w 258575"/>
                    <a:gd name="connsiteY35" fmla="*/ 45312 h 86106"/>
                    <a:gd name="connsiteX36" fmla="*/ 30480 w 258575"/>
                    <a:gd name="connsiteY36" fmla="*/ 50685 h 86106"/>
                    <a:gd name="connsiteX37" fmla="*/ 0 w 258575"/>
                    <a:gd name="connsiteY37" fmla="*/ 51056 h 86106"/>
                    <a:gd name="connsiteX38" fmla="*/ 13992 w 258575"/>
                    <a:gd name="connsiteY38" fmla="*/ 38674 h 86106"/>
                    <a:gd name="connsiteX39" fmla="*/ 35109 w 258575"/>
                    <a:gd name="connsiteY39" fmla="*/ 30730 h 86106"/>
                    <a:gd name="connsiteX40" fmla="*/ 53016 w 258575"/>
                    <a:gd name="connsiteY40" fmla="*/ 21567 h 86106"/>
                    <a:gd name="connsiteX41" fmla="*/ 63046 w 258575"/>
                    <a:gd name="connsiteY41" fmla="*/ 20052 h 86106"/>
                    <a:gd name="connsiteX42" fmla="*/ 77134 w 258575"/>
                    <a:gd name="connsiteY42" fmla="*/ 14709 h 86106"/>
                    <a:gd name="connsiteX43" fmla="*/ 90535 w 258575"/>
                    <a:gd name="connsiteY43" fmla="*/ 8051 h 86106"/>
                    <a:gd name="connsiteX44" fmla="*/ 100632 w 258575"/>
                    <a:gd name="connsiteY44" fmla="*/ 459 h 86106"/>
                    <a:gd name="connsiteX45" fmla="*/ 122311 w 258575"/>
                    <a:gd name="connsiteY45" fmla="*/ 640 h 86106"/>
                    <a:gd name="connsiteX46" fmla="*/ 209817 w 258575"/>
                    <a:gd name="connsiteY46" fmla="*/ 1402 h 86106"/>
                    <a:gd name="connsiteX47" fmla="*/ 258575 w 258575"/>
                    <a:gd name="connsiteY47" fmla="*/ 1812 h 86106"/>
                    <a:gd name="connsiteX48" fmla="*/ 257661 w 258575"/>
                    <a:gd name="connsiteY48" fmla="*/ 7127 h 86106"/>
                    <a:gd name="connsiteX49" fmla="*/ 257661 w 258575"/>
                    <a:gd name="connsiteY49" fmla="*/ 7127 h 8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58575" h="86106">
                      <a:moveTo>
                        <a:pt x="257661" y="7127"/>
                      </a:moveTo>
                      <a:cubicBezTo>
                        <a:pt x="258013" y="9937"/>
                        <a:pt x="257870" y="12861"/>
                        <a:pt x="257308" y="15642"/>
                      </a:cubicBezTo>
                      <a:cubicBezTo>
                        <a:pt x="256061" y="12527"/>
                        <a:pt x="252765" y="11899"/>
                        <a:pt x="250031" y="10403"/>
                      </a:cubicBezTo>
                      <a:cubicBezTo>
                        <a:pt x="249774" y="13623"/>
                        <a:pt x="248136" y="15404"/>
                        <a:pt x="245431" y="13213"/>
                      </a:cubicBezTo>
                      <a:cubicBezTo>
                        <a:pt x="245535" y="13985"/>
                        <a:pt x="245640" y="14766"/>
                        <a:pt x="245754" y="15537"/>
                      </a:cubicBezTo>
                      <a:cubicBezTo>
                        <a:pt x="242954" y="14137"/>
                        <a:pt x="227676" y="23291"/>
                        <a:pt x="232743" y="11975"/>
                      </a:cubicBezTo>
                      <a:cubicBezTo>
                        <a:pt x="231258" y="14728"/>
                        <a:pt x="230943" y="17728"/>
                        <a:pt x="229581" y="20528"/>
                      </a:cubicBezTo>
                      <a:cubicBezTo>
                        <a:pt x="235630" y="21709"/>
                        <a:pt x="242907" y="18214"/>
                        <a:pt x="248450" y="20128"/>
                      </a:cubicBezTo>
                      <a:cubicBezTo>
                        <a:pt x="247545" y="23281"/>
                        <a:pt x="245936" y="25939"/>
                        <a:pt x="244631" y="28939"/>
                      </a:cubicBezTo>
                      <a:cubicBezTo>
                        <a:pt x="249422" y="28358"/>
                        <a:pt x="248288" y="21481"/>
                        <a:pt x="253346" y="20976"/>
                      </a:cubicBezTo>
                      <a:cubicBezTo>
                        <a:pt x="257651" y="20547"/>
                        <a:pt x="256032" y="25434"/>
                        <a:pt x="254079" y="28453"/>
                      </a:cubicBezTo>
                      <a:cubicBezTo>
                        <a:pt x="252051" y="31568"/>
                        <a:pt x="244412" y="37054"/>
                        <a:pt x="240716" y="38407"/>
                      </a:cubicBezTo>
                      <a:cubicBezTo>
                        <a:pt x="236553" y="39931"/>
                        <a:pt x="233601" y="37635"/>
                        <a:pt x="229457" y="38197"/>
                      </a:cubicBezTo>
                      <a:cubicBezTo>
                        <a:pt x="230086" y="32749"/>
                        <a:pt x="228724" y="35473"/>
                        <a:pt x="226809" y="35225"/>
                      </a:cubicBezTo>
                      <a:cubicBezTo>
                        <a:pt x="222885" y="34711"/>
                        <a:pt x="220494" y="37683"/>
                        <a:pt x="215322" y="34092"/>
                      </a:cubicBezTo>
                      <a:cubicBezTo>
                        <a:pt x="217113" y="38435"/>
                        <a:pt x="223742" y="36988"/>
                        <a:pt x="225609" y="40312"/>
                      </a:cubicBezTo>
                      <a:cubicBezTo>
                        <a:pt x="227305" y="43341"/>
                        <a:pt x="226238" y="41693"/>
                        <a:pt x="224095" y="44893"/>
                      </a:cubicBezTo>
                      <a:cubicBezTo>
                        <a:pt x="220075" y="50913"/>
                        <a:pt x="214455" y="52961"/>
                        <a:pt x="209883" y="45827"/>
                      </a:cubicBezTo>
                      <a:cubicBezTo>
                        <a:pt x="211198" y="57971"/>
                        <a:pt x="222380" y="47475"/>
                        <a:pt x="227524" y="52694"/>
                      </a:cubicBezTo>
                      <a:cubicBezTo>
                        <a:pt x="222152" y="57895"/>
                        <a:pt x="215789" y="59438"/>
                        <a:pt x="208817" y="60114"/>
                      </a:cubicBezTo>
                      <a:cubicBezTo>
                        <a:pt x="207188" y="60267"/>
                        <a:pt x="204730" y="59600"/>
                        <a:pt x="203216" y="59971"/>
                      </a:cubicBezTo>
                      <a:cubicBezTo>
                        <a:pt x="201930" y="60295"/>
                        <a:pt x="199673" y="62638"/>
                        <a:pt x="198501" y="62572"/>
                      </a:cubicBezTo>
                      <a:cubicBezTo>
                        <a:pt x="195891" y="62419"/>
                        <a:pt x="194472" y="63115"/>
                        <a:pt x="194929" y="59171"/>
                      </a:cubicBezTo>
                      <a:cubicBezTo>
                        <a:pt x="193996" y="60657"/>
                        <a:pt x="194053" y="64724"/>
                        <a:pt x="193396" y="65601"/>
                      </a:cubicBezTo>
                      <a:cubicBezTo>
                        <a:pt x="192062" y="67382"/>
                        <a:pt x="185995" y="69430"/>
                        <a:pt x="183985" y="70697"/>
                      </a:cubicBezTo>
                      <a:cubicBezTo>
                        <a:pt x="177965" y="74497"/>
                        <a:pt x="174765" y="78431"/>
                        <a:pt x="170583" y="84089"/>
                      </a:cubicBezTo>
                      <a:cubicBezTo>
                        <a:pt x="171602" y="81803"/>
                        <a:pt x="172412" y="79374"/>
                        <a:pt x="172603" y="76869"/>
                      </a:cubicBezTo>
                      <a:cubicBezTo>
                        <a:pt x="171002" y="81307"/>
                        <a:pt x="169593" y="83717"/>
                        <a:pt x="165564" y="84917"/>
                      </a:cubicBezTo>
                      <a:cubicBezTo>
                        <a:pt x="164830" y="85137"/>
                        <a:pt x="152229" y="86356"/>
                        <a:pt x="151495" y="86060"/>
                      </a:cubicBezTo>
                      <a:cubicBezTo>
                        <a:pt x="147104" y="84270"/>
                        <a:pt x="140970" y="70992"/>
                        <a:pt x="138189" y="66944"/>
                      </a:cubicBezTo>
                      <a:cubicBezTo>
                        <a:pt x="136579" y="64601"/>
                        <a:pt x="133874" y="58381"/>
                        <a:pt x="131445" y="57085"/>
                      </a:cubicBezTo>
                      <a:cubicBezTo>
                        <a:pt x="129140" y="55866"/>
                        <a:pt x="123149" y="56828"/>
                        <a:pt x="120472" y="56742"/>
                      </a:cubicBezTo>
                      <a:cubicBezTo>
                        <a:pt x="113452" y="56523"/>
                        <a:pt x="106442" y="56304"/>
                        <a:pt x="99422" y="56085"/>
                      </a:cubicBezTo>
                      <a:cubicBezTo>
                        <a:pt x="101670" y="52418"/>
                        <a:pt x="100251" y="44503"/>
                        <a:pt x="94955" y="48618"/>
                      </a:cubicBezTo>
                      <a:cubicBezTo>
                        <a:pt x="97193" y="43846"/>
                        <a:pt x="80791" y="45208"/>
                        <a:pt x="77048" y="45046"/>
                      </a:cubicBezTo>
                      <a:cubicBezTo>
                        <a:pt x="69542" y="44741"/>
                        <a:pt x="61960" y="43769"/>
                        <a:pt x="54855" y="45312"/>
                      </a:cubicBezTo>
                      <a:cubicBezTo>
                        <a:pt x="46539" y="47122"/>
                        <a:pt x="39119" y="50218"/>
                        <a:pt x="30480" y="50685"/>
                      </a:cubicBezTo>
                      <a:cubicBezTo>
                        <a:pt x="20364" y="51237"/>
                        <a:pt x="10125" y="50932"/>
                        <a:pt x="0" y="51056"/>
                      </a:cubicBezTo>
                      <a:cubicBezTo>
                        <a:pt x="4496" y="43350"/>
                        <a:pt x="7420" y="43141"/>
                        <a:pt x="13992" y="38674"/>
                      </a:cubicBezTo>
                      <a:cubicBezTo>
                        <a:pt x="21098" y="33844"/>
                        <a:pt x="27165" y="33530"/>
                        <a:pt x="35109" y="30730"/>
                      </a:cubicBezTo>
                      <a:cubicBezTo>
                        <a:pt x="41920" y="28339"/>
                        <a:pt x="47377" y="25053"/>
                        <a:pt x="53016" y="21567"/>
                      </a:cubicBezTo>
                      <a:cubicBezTo>
                        <a:pt x="55369" y="20109"/>
                        <a:pt x="63256" y="15175"/>
                        <a:pt x="63046" y="20052"/>
                      </a:cubicBezTo>
                      <a:cubicBezTo>
                        <a:pt x="67799" y="19138"/>
                        <a:pt x="72542" y="15852"/>
                        <a:pt x="77134" y="14709"/>
                      </a:cubicBezTo>
                      <a:cubicBezTo>
                        <a:pt x="80515" y="13870"/>
                        <a:pt x="86630" y="11089"/>
                        <a:pt x="90535" y="8051"/>
                      </a:cubicBezTo>
                      <a:cubicBezTo>
                        <a:pt x="94498" y="4974"/>
                        <a:pt x="95479" y="1307"/>
                        <a:pt x="100632" y="459"/>
                      </a:cubicBezTo>
                      <a:cubicBezTo>
                        <a:pt x="107442" y="-646"/>
                        <a:pt x="115405" y="583"/>
                        <a:pt x="122311" y="640"/>
                      </a:cubicBezTo>
                      <a:cubicBezTo>
                        <a:pt x="151476" y="888"/>
                        <a:pt x="180651" y="1155"/>
                        <a:pt x="209817" y="1402"/>
                      </a:cubicBezTo>
                      <a:cubicBezTo>
                        <a:pt x="226066" y="1545"/>
                        <a:pt x="242325" y="1707"/>
                        <a:pt x="258575" y="1812"/>
                      </a:cubicBezTo>
                      <a:cubicBezTo>
                        <a:pt x="256194" y="3898"/>
                        <a:pt x="257032" y="4926"/>
                        <a:pt x="257661" y="7127"/>
                      </a:cubicBezTo>
                      <a:lnTo>
                        <a:pt x="257661" y="7127"/>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93" name="Freeform: Shape 492">
                  <a:extLst>
                    <a:ext uri="{FF2B5EF4-FFF2-40B4-BE49-F238E27FC236}">
                      <a16:creationId xmlns:a16="http://schemas.microsoft.com/office/drawing/2014/main" id="{87ACC620-9F7D-41A9-AA08-4D5D0542E015}"/>
                    </a:ext>
                  </a:extLst>
                </p:cNvPr>
                <p:cNvSpPr/>
                <p:nvPr/>
              </p:nvSpPr>
              <p:spPr>
                <a:xfrm>
                  <a:off x="2527167" y="2821371"/>
                  <a:ext cx="352773" cy="144080"/>
                </a:xfrm>
                <a:custGeom>
                  <a:avLst/>
                  <a:gdLst>
                    <a:gd name="connsiteX0" fmla="*/ 308663 w 352773"/>
                    <a:gd name="connsiteY0" fmla="*/ 66283 h 144080"/>
                    <a:gd name="connsiteX1" fmla="*/ 276630 w 352773"/>
                    <a:gd name="connsiteY1" fmla="*/ 115698 h 144080"/>
                    <a:gd name="connsiteX2" fmla="*/ 263753 w 352773"/>
                    <a:gd name="connsiteY2" fmla="*/ 125985 h 144080"/>
                    <a:gd name="connsiteX3" fmla="*/ 236797 w 352773"/>
                    <a:gd name="connsiteY3" fmla="*/ 125985 h 144080"/>
                    <a:gd name="connsiteX4" fmla="*/ 125831 w 352773"/>
                    <a:gd name="connsiteY4" fmla="*/ 125985 h 144080"/>
                    <a:gd name="connsiteX5" fmla="*/ 94360 w 352773"/>
                    <a:gd name="connsiteY5" fmla="*/ 125966 h 144080"/>
                    <a:gd name="connsiteX6" fmla="*/ 79863 w 352773"/>
                    <a:gd name="connsiteY6" fmla="*/ 127090 h 144080"/>
                    <a:gd name="connsiteX7" fmla="*/ 69814 w 352773"/>
                    <a:gd name="connsiteY7" fmla="*/ 141806 h 144080"/>
                    <a:gd name="connsiteX8" fmla="*/ 63109 w 352773"/>
                    <a:gd name="connsiteY8" fmla="*/ 135768 h 144080"/>
                    <a:gd name="connsiteX9" fmla="*/ 58232 w 352773"/>
                    <a:gd name="connsiteY9" fmla="*/ 140311 h 144080"/>
                    <a:gd name="connsiteX10" fmla="*/ 45773 w 352773"/>
                    <a:gd name="connsiteY10" fmla="*/ 140168 h 144080"/>
                    <a:gd name="connsiteX11" fmla="*/ 36343 w 352773"/>
                    <a:gd name="connsiteY11" fmla="*/ 140759 h 144080"/>
                    <a:gd name="connsiteX12" fmla="*/ 32486 w 352773"/>
                    <a:gd name="connsiteY12" fmla="*/ 142740 h 144080"/>
                    <a:gd name="connsiteX13" fmla="*/ 25780 w 352773"/>
                    <a:gd name="connsiteY13" fmla="*/ 141845 h 144080"/>
                    <a:gd name="connsiteX14" fmla="*/ 18122 w 352773"/>
                    <a:gd name="connsiteY14" fmla="*/ 138473 h 144080"/>
                    <a:gd name="connsiteX15" fmla="*/ 18474 w 352773"/>
                    <a:gd name="connsiteY15" fmla="*/ 132281 h 144080"/>
                    <a:gd name="connsiteX16" fmla="*/ 13921 w 352773"/>
                    <a:gd name="connsiteY16" fmla="*/ 128662 h 144080"/>
                    <a:gd name="connsiteX17" fmla="*/ 17131 w 352773"/>
                    <a:gd name="connsiteY17" fmla="*/ 123156 h 144080"/>
                    <a:gd name="connsiteX18" fmla="*/ 17331 w 352773"/>
                    <a:gd name="connsiteY18" fmla="*/ 113584 h 144080"/>
                    <a:gd name="connsiteX19" fmla="*/ 16160 w 352773"/>
                    <a:gd name="connsiteY19" fmla="*/ 104945 h 144080"/>
                    <a:gd name="connsiteX20" fmla="*/ 5 w 352773"/>
                    <a:gd name="connsiteY20" fmla="*/ 107516 h 144080"/>
                    <a:gd name="connsiteX21" fmla="*/ 6911 w 352773"/>
                    <a:gd name="connsiteY21" fmla="*/ 99592 h 144080"/>
                    <a:gd name="connsiteX22" fmla="*/ 12121 w 352773"/>
                    <a:gd name="connsiteY22" fmla="*/ 95105 h 144080"/>
                    <a:gd name="connsiteX23" fmla="*/ 13807 w 352773"/>
                    <a:gd name="connsiteY23" fmla="*/ 91057 h 144080"/>
                    <a:gd name="connsiteX24" fmla="*/ 29666 w 352773"/>
                    <a:gd name="connsiteY24" fmla="*/ 73760 h 144080"/>
                    <a:gd name="connsiteX25" fmla="*/ 22665 w 352773"/>
                    <a:gd name="connsiteY25" fmla="*/ 73722 h 144080"/>
                    <a:gd name="connsiteX26" fmla="*/ 20322 w 352773"/>
                    <a:gd name="connsiteY26" fmla="*/ 71388 h 144080"/>
                    <a:gd name="connsiteX27" fmla="*/ 17493 w 352773"/>
                    <a:gd name="connsiteY27" fmla="*/ 56948 h 144080"/>
                    <a:gd name="connsiteX28" fmla="*/ 12388 w 352773"/>
                    <a:gd name="connsiteY28" fmla="*/ 48414 h 144080"/>
                    <a:gd name="connsiteX29" fmla="*/ 16703 w 352773"/>
                    <a:gd name="connsiteY29" fmla="*/ 37565 h 144080"/>
                    <a:gd name="connsiteX30" fmla="*/ 22570 w 352773"/>
                    <a:gd name="connsiteY30" fmla="*/ 22306 h 144080"/>
                    <a:gd name="connsiteX31" fmla="*/ 35743 w 352773"/>
                    <a:gd name="connsiteY31" fmla="*/ 5075 h 144080"/>
                    <a:gd name="connsiteX32" fmla="*/ 55031 w 352773"/>
                    <a:gd name="connsiteY32" fmla="*/ 208 h 144080"/>
                    <a:gd name="connsiteX33" fmla="*/ 95503 w 352773"/>
                    <a:gd name="connsiteY33" fmla="*/ 217 h 144080"/>
                    <a:gd name="connsiteX34" fmla="*/ 258752 w 352773"/>
                    <a:gd name="connsiteY34" fmla="*/ 217 h 144080"/>
                    <a:gd name="connsiteX35" fmla="*/ 352773 w 352773"/>
                    <a:gd name="connsiteY35" fmla="*/ 217 h 144080"/>
                    <a:gd name="connsiteX36" fmla="*/ 308663 w 352773"/>
                    <a:gd name="connsiteY36" fmla="*/ 66283 h 144080"/>
                    <a:gd name="connsiteX37" fmla="*/ 308663 w 352773"/>
                    <a:gd name="connsiteY37" fmla="*/ 66283 h 14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52773" h="144080">
                      <a:moveTo>
                        <a:pt x="308663" y="66283"/>
                      </a:moveTo>
                      <a:cubicBezTo>
                        <a:pt x="297900" y="82704"/>
                        <a:pt x="287203" y="99163"/>
                        <a:pt x="276630" y="115698"/>
                      </a:cubicBezTo>
                      <a:cubicBezTo>
                        <a:pt x="271582" y="123595"/>
                        <a:pt x="272478" y="125909"/>
                        <a:pt x="263753" y="125985"/>
                      </a:cubicBezTo>
                      <a:cubicBezTo>
                        <a:pt x="254771" y="126062"/>
                        <a:pt x="245788" y="125985"/>
                        <a:pt x="236797" y="125985"/>
                      </a:cubicBezTo>
                      <a:cubicBezTo>
                        <a:pt x="199811" y="125985"/>
                        <a:pt x="162816" y="125928"/>
                        <a:pt x="125831" y="125985"/>
                      </a:cubicBezTo>
                      <a:cubicBezTo>
                        <a:pt x="115334" y="125995"/>
                        <a:pt x="104838" y="125938"/>
                        <a:pt x="94360" y="125966"/>
                      </a:cubicBezTo>
                      <a:cubicBezTo>
                        <a:pt x="89912" y="125976"/>
                        <a:pt x="83140" y="124900"/>
                        <a:pt x="79863" y="127090"/>
                      </a:cubicBezTo>
                      <a:cubicBezTo>
                        <a:pt x="75986" y="129672"/>
                        <a:pt x="72462" y="137930"/>
                        <a:pt x="69814" y="141806"/>
                      </a:cubicBezTo>
                      <a:cubicBezTo>
                        <a:pt x="65042" y="138463"/>
                        <a:pt x="70852" y="132034"/>
                        <a:pt x="63109" y="135768"/>
                      </a:cubicBezTo>
                      <a:cubicBezTo>
                        <a:pt x="60708" y="136930"/>
                        <a:pt x="60346" y="139501"/>
                        <a:pt x="58232" y="140311"/>
                      </a:cubicBezTo>
                      <a:cubicBezTo>
                        <a:pt x="55289" y="141435"/>
                        <a:pt x="49069" y="140235"/>
                        <a:pt x="45773" y="140168"/>
                      </a:cubicBezTo>
                      <a:cubicBezTo>
                        <a:pt x="42344" y="140092"/>
                        <a:pt x="39515" y="140273"/>
                        <a:pt x="36343" y="140759"/>
                      </a:cubicBezTo>
                      <a:cubicBezTo>
                        <a:pt x="34934" y="140978"/>
                        <a:pt x="34029" y="142521"/>
                        <a:pt x="32486" y="142740"/>
                      </a:cubicBezTo>
                      <a:cubicBezTo>
                        <a:pt x="30352" y="143045"/>
                        <a:pt x="27942" y="141464"/>
                        <a:pt x="25780" y="141845"/>
                      </a:cubicBezTo>
                      <a:cubicBezTo>
                        <a:pt x="18893" y="143045"/>
                        <a:pt x="17493" y="147693"/>
                        <a:pt x="18122" y="138473"/>
                      </a:cubicBezTo>
                      <a:cubicBezTo>
                        <a:pt x="18312" y="135691"/>
                        <a:pt x="19922" y="135120"/>
                        <a:pt x="18474" y="132281"/>
                      </a:cubicBezTo>
                      <a:cubicBezTo>
                        <a:pt x="17455" y="130281"/>
                        <a:pt x="14083" y="133253"/>
                        <a:pt x="13921" y="128662"/>
                      </a:cubicBezTo>
                      <a:cubicBezTo>
                        <a:pt x="13893" y="127957"/>
                        <a:pt x="16798" y="124709"/>
                        <a:pt x="17131" y="123156"/>
                      </a:cubicBezTo>
                      <a:cubicBezTo>
                        <a:pt x="17712" y="120489"/>
                        <a:pt x="16446" y="116889"/>
                        <a:pt x="17331" y="113584"/>
                      </a:cubicBezTo>
                      <a:cubicBezTo>
                        <a:pt x="18503" y="109231"/>
                        <a:pt x="21741" y="105259"/>
                        <a:pt x="16160" y="104945"/>
                      </a:cubicBezTo>
                      <a:cubicBezTo>
                        <a:pt x="13378" y="104792"/>
                        <a:pt x="1348" y="115670"/>
                        <a:pt x="5" y="107516"/>
                      </a:cubicBezTo>
                      <a:cubicBezTo>
                        <a:pt x="-204" y="106212"/>
                        <a:pt x="5749" y="100820"/>
                        <a:pt x="6911" y="99592"/>
                      </a:cubicBezTo>
                      <a:cubicBezTo>
                        <a:pt x="8911" y="97487"/>
                        <a:pt x="10159" y="97982"/>
                        <a:pt x="12121" y="95105"/>
                      </a:cubicBezTo>
                      <a:cubicBezTo>
                        <a:pt x="12359" y="94753"/>
                        <a:pt x="13169" y="92105"/>
                        <a:pt x="13807" y="91057"/>
                      </a:cubicBezTo>
                      <a:cubicBezTo>
                        <a:pt x="17731" y="84675"/>
                        <a:pt x="25913" y="80399"/>
                        <a:pt x="29666" y="73760"/>
                      </a:cubicBezTo>
                      <a:cubicBezTo>
                        <a:pt x="27818" y="73960"/>
                        <a:pt x="24732" y="74417"/>
                        <a:pt x="22665" y="73722"/>
                      </a:cubicBezTo>
                      <a:cubicBezTo>
                        <a:pt x="21294" y="73265"/>
                        <a:pt x="25228" y="70188"/>
                        <a:pt x="20322" y="71388"/>
                      </a:cubicBezTo>
                      <a:cubicBezTo>
                        <a:pt x="19446" y="66892"/>
                        <a:pt x="19570" y="61492"/>
                        <a:pt x="17493" y="56948"/>
                      </a:cubicBezTo>
                      <a:cubicBezTo>
                        <a:pt x="15969" y="53615"/>
                        <a:pt x="11988" y="51090"/>
                        <a:pt x="12388" y="48414"/>
                      </a:cubicBezTo>
                      <a:cubicBezTo>
                        <a:pt x="12912" y="44890"/>
                        <a:pt x="16636" y="42375"/>
                        <a:pt x="16703" y="37565"/>
                      </a:cubicBezTo>
                      <a:cubicBezTo>
                        <a:pt x="16798" y="30345"/>
                        <a:pt x="17798" y="28611"/>
                        <a:pt x="22570" y="22306"/>
                      </a:cubicBezTo>
                      <a:cubicBezTo>
                        <a:pt x="26933" y="16543"/>
                        <a:pt x="31209" y="10685"/>
                        <a:pt x="35743" y="5075"/>
                      </a:cubicBezTo>
                      <a:cubicBezTo>
                        <a:pt x="41087" y="-1535"/>
                        <a:pt x="46554" y="208"/>
                        <a:pt x="55031" y="208"/>
                      </a:cubicBezTo>
                      <a:cubicBezTo>
                        <a:pt x="68519" y="217"/>
                        <a:pt x="82016" y="217"/>
                        <a:pt x="95503" y="217"/>
                      </a:cubicBezTo>
                      <a:cubicBezTo>
                        <a:pt x="149919" y="208"/>
                        <a:pt x="204336" y="217"/>
                        <a:pt x="258752" y="217"/>
                      </a:cubicBezTo>
                      <a:cubicBezTo>
                        <a:pt x="290099" y="217"/>
                        <a:pt x="321436" y="217"/>
                        <a:pt x="352773" y="217"/>
                      </a:cubicBezTo>
                      <a:cubicBezTo>
                        <a:pt x="337962" y="22191"/>
                        <a:pt x="323189" y="44156"/>
                        <a:pt x="308663" y="66283"/>
                      </a:cubicBezTo>
                      <a:lnTo>
                        <a:pt x="308663" y="66283"/>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94" name="Freeform: Shape 493">
                  <a:extLst>
                    <a:ext uri="{FF2B5EF4-FFF2-40B4-BE49-F238E27FC236}">
                      <a16:creationId xmlns:a16="http://schemas.microsoft.com/office/drawing/2014/main" id="{133D7167-6E52-4FE6-B8FA-0D2849353B41}"/>
                    </a:ext>
                  </a:extLst>
                </p:cNvPr>
                <p:cNvSpPr/>
                <p:nvPr/>
              </p:nvSpPr>
              <p:spPr>
                <a:xfrm>
                  <a:off x="2912630" y="3262236"/>
                  <a:ext cx="154819" cy="150278"/>
                </a:xfrm>
                <a:custGeom>
                  <a:avLst/>
                  <a:gdLst>
                    <a:gd name="connsiteX0" fmla="*/ 95679 w 154819"/>
                    <a:gd name="connsiteY0" fmla="*/ 121756 h 150278"/>
                    <a:gd name="connsiteX1" fmla="*/ 84315 w 154819"/>
                    <a:gd name="connsiteY1" fmla="*/ 146140 h 150278"/>
                    <a:gd name="connsiteX2" fmla="*/ 73133 w 154819"/>
                    <a:gd name="connsiteY2" fmla="*/ 144559 h 150278"/>
                    <a:gd name="connsiteX3" fmla="*/ 61351 w 154819"/>
                    <a:gd name="connsiteY3" fmla="*/ 146807 h 150278"/>
                    <a:gd name="connsiteX4" fmla="*/ 50683 w 154819"/>
                    <a:gd name="connsiteY4" fmla="*/ 142578 h 150278"/>
                    <a:gd name="connsiteX5" fmla="*/ 49216 w 154819"/>
                    <a:gd name="connsiteY5" fmla="*/ 136310 h 150278"/>
                    <a:gd name="connsiteX6" fmla="*/ 56179 w 154819"/>
                    <a:gd name="connsiteY6" fmla="*/ 126118 h 150278"/>
                    <a:gd name="connsiteX7" fmla="*/ 0 w 154819"/>
                    <a:gd name="connsiteY7" fmla="*/ 126099 h 150278"/>
                    <a:gd name="connsiteX8" fmla="*/ 8573 w 154819"/>
                    <a:gd name="connsiteY8" fmla="*/ 114441 h 150278"/>
                    <a:gd name="connsiteX9" fmla="*/ 21841 w 154819"/>
                    <a:gd name="connsiteY9" fmla="*/ 98763 h 150278"/>
                    <a:gd name="connsiteX10" fmla="*/ 33681 w 154819"/>
                    <a:gd name="connsiteY10" fmla="*/ 89438 h 150278"/>
                    <a:gd name="connsiteX11" fmla="*/ 35824 w 154819"/>
                    <a:gd name="connsiteY11" fmla="*/ 79160 h 150278"/>
                    <a:gd name="connsiteX12" fmla="*/ 38567 w 154819"/>
                    <a:gd name="connsiteY12" fmla="*/ 70464 h 150278"/>
                    <a:gd name="connsiteX13" fmla="*/ 45539 w 154819"/>
                    <a:gd name="connsiteY13" fmla="*/ 56329 h 150278"/>
                    <a:gd name="connsiteX14" fmla="*/ 47568 w 154819"/>
                    <a:gd name="connsiteY14" fmla="*/ 44775 h 150278"/>
                    <a:gd name="connsiteX15" fmla="*/ 55978 w 154819"/>
                    <a:gd name="connsiteY15" fmla="*/ 36498 h 150278"/>
                    <a:gd name="connsiteX16" fmla="*/ 57655 w 154819"/>
                    <a:gd name="connsiteY16" fmla="*/ 31973 h 150278"/>
                    <a:gd name="connsiteX17" fmla="*/ 62998 w 154819"/>
                    <a:gd name="connsiteY17" fmla="*/ 28116 h 150278"/>
                    <a:gd name="connsiteX18" fmla="*/ 76457 w 154819"/>
                    <a:gd name="connsiteY18" fmla="*/ 17886 h 150278"/>
                    <a:gd name="connsiteX19" fmla="*/ 100889 w 154819"/>
                    <a:gd name="connsiteY19" fmla="*/ 141 h 150278"/>
                    <a:gd name="connsiteX20" fmla="*/ 144037 w 154819"/>
                    <a:gd name="connsiteY20" fmla="*/ 227 h 150278"/>
                    <a:gd name="connsiteX21" fmla="*/ 154143 w 154819"/>
                    <a:gd name="connsiteY21" fmla="*/ 6113 h 150278"/>
                    <a:gd name="connsiteX22" fmla="*/ 142094 w 154819"/>
                    <a:gd name="connsiteY22" fmla="*/ 27801 h 150278"/>
                    <a:gd name="connsiteX23" fmla="*/ 95679 w 154819"/>
                    <a:gd name="connsiteY23" fmla="*/ 121756 h 150278"/>
                    <a:gd name="connsiteX24" fmla="*/ 95679 w 154819"/>
                    <a:gd name="connsiteY24" fmla="*/ 121756 h 15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4819" h="150278">
                      <a:moveTo>
                        <a:pt x="95679" y="121756"/>
                      </a:moveTo>
                      <a:cubicBezTo>
                        <a:pt x="93259" y="128833"/>
                        <a:pt x="90716" y="144121"/>
                        <a:pt x="84315" y="146140"/>
                      </a:cubicBezTo>
                      <a:cubicBezTo>
                        <a:pt x="79781" y="147569"/>
                        <a:pt x="77219" y="144730"/>
                        <a:pt x="73133" y="144559"/>
                      </a:cubicBezTo>
                      <a:cubicBezTo>
                        <a:pt x="70723" y="144464"/>
                        <a:pt x="63551" y="146092"/>
                        <a:pt x="61351" y="146807"/>
                      </a:cubicBezTo>
                      <a:cubicBezTo>
                        <a:pt x="51121" y="150102"/>
                        <a:pt x="51940" y="154179"/>
                        <a:pt x="50683" y="142578"/>
                      </a:cubicBezTo>
                      <a:cubicBezTo>
                        <a:pt x="50378" y="139815"/>
                        <a:pt x="48625" y="139358"/>
                        <a:pt x="49216" y="136310"/>
                      </a:cubicBezTo>
                      <a:cubicBezTo>
                        <a:pt x="49901" y="132738"/>
                        <a:pt x="54312" y="129338"/>
                        <a:pt x="56179" y="126118"/>
                      </a:cubicBezTo>
                      <a:cubicBezTo>
                        <a:pt x="37452" y="126118"/>
                        <a:pt x="18726" y="126147"/>
                        <a:pt x="0" y="126099"/>
                      </a:cubicBezTo>
                      <a:cubicBezTo>
                        <a:pt x="3743" y="123375"/>
                        <a:pt x="5496" y="117946"/>
                        <a:pt x="8573" y="114441"/>
                      </a:cubicBezTo>
                      <a:cubicBezTo>
                        <a:pt x="12935" y="109469"/>
                        <a:pt x="16393" y="103144"/>
                        <a:pt x="21841" y="98763"/>
                      </a:cubicBezTo>
                      <a:cubicBezTo>
                        <a:pt x="25927" y="95486"/>
                        <a:pt x="30118" y="93124"/>
                        <a:pt x="33681" y="89438"/>
                      </a:cubicBezTo>
                      <a:cubicBezTo>
                        <a:pt x="39767" y="83132"/>
                        <a:pt x="35938" y="86218"/>
                        <a:pt x="35824" y="79160"/>
                      </a:cubicBezTo>
                      <a:cubicBezTo>
                        <a:pt x="35776" y="76388"/>
                        <a:pt x="37833" y="71778"/>
                        <a:pt x="38567" y="70464"/>
                      </a:cubicBezTo>
                      <a:cubicBezTo>
                        <a:pt x="41377" y="65435"/>
                        <a:pt x="42929" y="62139"/>
                        <a:pt x="45539" y="56329"/>
                      </a:cubicBezTo>
                      <a:cubicBezTo>
                        <a:pt x="46949" y="53195"/>
                        <a:pt x="46387" y="47680"/>
                        <a:pt x="47568" y="44775"/>
                      </a:cubicBezTo>
                      <a:cubicBezTo>
                        <a:pt x="49025" y="41174"/>
                        <a:pt x="52835" y="39860"/>
                        <a:pt x="55978" y="36498"/>
                      </a:cubicBezTo>
                      <a:cubicBezTo>
                        <a:pt x="57293" y="35088"/>
                        <a:pt x="56617" y="33088"/>
                        <a:pt x="57655" y="31973"/>
                      </a:cubicBezTo>
                      <a:cubicBezTo>
                        <a:pt x="58284" y="31297"/>
                        <a:pt x="62579" y="28440"/>
                        <a:pt x="62998" y="28116"/>
                      </a:cubicBezTo>
                      <a:cubicBezTo>
                        <a:pt x="67027" y="24963"/>
                        <a:pt x="72790" y="21220"/>
                        <a:pt x="76457" y="17886"/>
                      </a:cubicBezTo>
                      <a:cubicBezTo>
                        <a:pt x="84877" y="10228"/>
                        <a:pt x="88544" y="103"/>
                        <a:pt x="100889" y="141"/>
                      </a:cubicBezTo>
                      <a:cubicBezTo>
                        <a:pt x="115272" y="188"/>
                        <a:pt x="129712" y="274"/>
                        <a:pt x="144037" y="227"/>
                      </a:cubicBezTo>
                      <a:cubicBezTo>
                        <a:pt x="151343" y="198"/>
                        <a:pt x="156782" y="-1717"/>
                        <a:pt x="154143" y="6113"/>
                      </a:cubicBezTo>
                      <a:cubicBezTo>
                        <a:pt x="151648" y="13495"/>
                        <a:pt x="145875" y="20953"/>
                        <a:pt x="142094" y="27801"/>
                      </a:cubicBezTo>
                      <a:cubicBezTo>
                        <a:pt x="125101" y="58500"/>
                        <a:pt x="107223" y="88561"/>
                        <a:pt x="95679" y="121756"/>
                      </a:cubicBezTo>
                      <a:lnTo>
                        <a:pt x="95679" y="121756"/>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95" name="Freeform: Shape 494">
                  <a:extLst>
                    <a:ext uri="{FF2B5EF4-FFF2-40B4-BE49-F238E27FC236}">
                      <a16:creationId xmlns:a16="http://schemas.microsoft.com/office/drawing/2014/main" id="{C6A613BA-8147-46C8-B7D8-7D6C13F96AD2}"/>
                    </a:ext>
                  </a:extLst>
                </p:cNvPr>
                <p:cNvSpPr/>
                <p:nvPr/>
              </p:nvSpPr>
              <p:spPr>
                <a:xfrm>
                  <a:off x="2905410" y="3084357"/>
                  <a:ext cx="162323" cy="147298"/>
                </a:xfrm>
                <a:custGeom>
                  <a:avLst/>
                  <a:gdLst>
                    <a:gd name="connsiteX0" fmla="*/ 143085 w 162323"/>
                    <a:gd name="connsiteY0" fmla="*/ 22333 h 147298"/>
                    <a:gd name="connsiteX1" fmla="*/ 151000 w 162323"/>
                    <a:gd name="connsiteY1" fmla="*/ 45279 h 147298"/>
                    <a:gd name="connsiteX2" fmla="*/ 151505 w 162323"/>
                    <a:gd name="connsiteY2" fmla="*/ 54861 h 147298"/>
                    <a:gd name="connsiteX3" fmla="*/ 162011 w 162323"/>
                    <a:gd name="connsiteY3" fmla="*/ 55823 h 147298"/>
                    <a:gd name="connsiteX4" fmla="*/ 151181 w 162323"/>
                    <a:gd name="connsiteY4" fmla="*/ 69825 h 147298"/>
                    <a:gd name="connsiteX5" fmla="*/ 154772 w 162323"/>
                    <a:gd name="connsiteY5" fmla="*/ 85208 h 147298"/>
                    <a:gd name="connsiteX6" fmla="*/ 159782 w 162323"/>
                    <a:gd name="connsiteY6" fmla="*/ 102439 h 147298"/>
                    <a:gd name="connsiteX7" fmla="*/ 157105 w 162323"/>
                    <a:gd name="connsiteY7" fmla="*/ 112869 h 147298"/>
                    <a:gd name="connsiteX8" fmla="*/ 159325 w 162323"/>
                    <a:gd name="connsiteY8" fmla="*/ 113411 h 147298"/>
                    <a:gd name="connsiteX9" fmla="*/ 162316 w 162323"/>
                    <a:gd name="connsiteY9" fmla="*/ 116555 h 147298"/>
                    <a:gd name="connsiteX10" fmla="*/ 158344 w 162323"/>
                    <a:gd name="connsiteY10" fmla="*/ 123994 h 147298"/>
                    <a:gd name="connsiteX11" fmla="*/ 146066 w 162323"/>
                    <a:gd name="connsiteY11" fmla="*/ 131137 h 147298"/>
                    <a:gd name="connsiteX12" fmla="*/ 145666 w 162323"/>
                    <a:gd name="connsiteY12" fmla="*/ 129061 h 147298"/>
                    <a:gd name="connsiteX13" fmla="*/ 141142 w 162323"/>
                    <a:gd name="connsiteY13" fmla="*/ 135109 h 147298"/>
                    <a:gd name="connsiteX14" fmla="*/ 137112 w 162323"/>
                    <a:gd name="connsiteY14" fmla="*/ 138938 h 147298"/>
                    <a:gd name="connsiteX15" fmla="*/ 130969 w 162323"/>
                    <a:gd name="connsiteY15" fmla="*/ 146501 h 147298"/>
                    <a:gd name="connsiteX16" fmla="*/ 112928 w 162323"/>
                    <a:gd name="connsiteY16" fmla="*/ 146768 h 147298"/>
                    <a:gd name="connsiteX17" fmla="*/ 118691 w 162323"/>
                    <a:gd name="connsiteY17" fmla="*/ 130756 h 147298"/>
                    <a:gd name="connsiteX18" fmla="*/ 79153 w 162323"/>
                    <a:gd name="connsiteY18" fmla="*/ 130756 h 147298"/>
                    <a:gd name="connsiteX19" fmla="*/ 0 w 162323"/>
                    <a:gd name="connsiteY19" fmla="*/ 130756 h 147298"/>
                    <a:gd name="connsiteX20" fmla="*/ 38643 w 162323"/>
                    <a:gd name="connsiteY20" fmla="*/ 53937 h 147298"/>
                    <a:gd name="connsiteX21" fmla="*/ 37633 w 162323"/>
                    <a:gd name="connsiteY21" fmla="*/ 39240 h 147298"/>
                    <a:gd name="connsiteX22" fmla="*/ 39976 w 162323"/>
                    <a:gd name="connsiteY22" fmla="*/ 30620 h 147298"/>
                    <a:gd name="connsiteX23" fmla="*/ 45120 w 162323"/>
                    <a:gd name="connsiteY23" fmla="*/ 26772 h 147298"/>
                    <a:gd name="connsiteX24" fmla="*/ 35404 w 162323"/>
                    <a:gd name="connsiteY24" fmla="*/ 18190 h 147298"/>
                    <a:gd name="connsiteX25" fmla="*/ 35947 w 162323"/>
                    <a:gd name="connsiteY25" fmla="*/ 13256 h 147298"/>
                    <a:gd name="connsiteX26" fmla="*/ 33757 w 162323"/>
                    <a:gd name="connsiteY26" fmla="*/ 10703 h 147298"/>
                    <a:gd name="connsiteX27" fmla="*/ 34700 w 162323"/>
                    <a:gd name="connsiteY27" fmla="*/ 1578 h 147298"/>
                    <a:gd name="connsiteX28" fmla="*/ 109480 w 162323"/>
                    <a:gd name="connsiteY28" fmla="*/ 1102 h 147298"/>
                    <a:gd name="connsiteX29" fmla="*/ 126902 w 162323"/>
                    <a:gd name="connsiteY29" fmla="*/ 988 h 147298"/>
                    <a:gd name="connsiteX30" fmla="*/ 146295 w 162323"/>
                    <a:gd name="connsiteY30" fmla="*/ 864 h 147298"/>
                    <a:gd name="connsiteX31" fmla="*/ 143085 w 162323"/>
                    <a:gd name="connsiteY31" fmla="*/ 22333 h 147298"/>
                    <a:gd name="connsiteX32" fmla="*/ 143085 w 162323"/>
                    <a:gd name="connsiteY32" fmla="*/ 22333 h 147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2323" h="147298">
                      <a:moveTo>
                        <a:pt x="143085" y="22333"/>
                      </a:moveTo>
                      <a:cubicBezTo>
                        <a:pt x="139741" y="31287"/>
                        <a:pt x="149971" y="36888"/>
                        <a:pt x="151000" y="45279"/>
                      </a:cubicBezTo>
                      <a:cubicBezTo>
                        <a:pt x="151324" y="47918"/>
                        <a:pt x="148923" y="52861"/>
                        <a:pt x="151505" y="54861"/>
                      </a:cubicBezTo>
                      <a:cubicBezTo>
                        <a:pt x="153000" y="56023"/>
                        <a:pt x="159687" y="51927"/>
                        <a:pt x="162011" y="55823"/>
                      </a:cubicBezTo>
                      <a:cubicBezTo>
                        <a:pt x="164259" y="59614"/>
                        <a:pt x="153734" y="66615"/>
                        <a:pt x="151181" y="69825"/>
                      </a:cubicBezTo>
                      <a:cubicBezTo>
                        <a:pt x="145132" y="77426"/>
                        <a:pt x="148723" y="79321"/>
                        <a:pt x="154772" y="85208"/>
                      </a:cubicBezTo>
                      <a:cubicBezTo>
                        <a:pt x="160430" y="90713"/>
                        <a:pt x="162687" y="94942"/>
                        <a:pt x="159782" y="102439"/>
                      </a:cubicBezTo>
                      <a:cubicBezTo>
                        <a:pt x="158448" y="105887"/>
                        <a:pt x="154229" y="108315"/>
                        <a:pt x="157105" y="112869"/>
                      </a:cubicBezTo>
                      <a:cubicBezTo>
                        <a:pt x="157905" y="114135"/>
                        <a:pt x="160268" y="114688"/>
                        <a:pt x="159325" y="113411"/>
                      </a:cubicBezTo>
                      <a:cubicBezTo>
                        <a:pt x="159430" y="113554"/>
                        <a:pt x="162211" y="112850"/>
                        <a:pt x="162316" y="116555"/>
                      </a:cubicBezTo>
                      <a:cubicBezTo>
                        <a:pt x="162382" y="118898"/>
                        <a:pt x="159944" y="122308"/>
                        <a:pt x="158344" y="123994"/>
                      </a:cubicBezTo>
                      <a:cubicBezTo>
                        <a:pt x="154296" y="128242"/>
                        <a:pt x="150514" y="127099"/>
                        <a:pt x="146066" y="131137"/>
                      </a:cubicBezTo>
                      <a:cubicBezTo>
                        <a:pt x="145837" y="130518"/>
                        <a:pt x="145771" y="129813"/>
                        <a:pt x="145666" y="129061"/>
                      </a:cubicBezTo>
                      <a:cubicBezTo>
                        <a:pt x="143637" y="130252"/>
                        <a:pt x="142684" y="133147"/>
                        <a:pt x="141142" y="135109"/>
                      </a:cubicBezTo>
                      <a:cubicBezTo>
                        <a:pt x="139913" y="136690"/>
                        <a:pt x="138170" y="137500"/>
                        <a:pt x="137112" y="138938"/>
                      </a:cubicBezTo>
                      <a:cubicBezTo>
                        <a:pt x="135150" y="141586"/>
                        <a:pt x="135112" y="145034"/>
                        <a:pt x="130969" y="146501"/>
                      </a:cubicBezTo>
                      <a:cubicBezTo>
                        <a:pt x="126263" y="148168"/>
                        <a:pt x="117977" y="146692"/>
                        <a:pt x="112928" y="146768"/>
                      </a:cubicBezTo>
                      <a:cubicBezTo>
                        <a:pt x="118205" y="141291"/>
                        <a:pt x="138141" y="130747"/>
                        <a:pt x="118691" y="130756"/>
                      </a:cubicBezTo>
                      <a:cubicBezTo>
                        <a:pt x="105508" y="130766"/>
                        <a:pt x="92335" y="130766"/>
                        <a:pt x="79153" y="130756"/>
                      </a:cubicBezTo>
                      <a:cubicBezTo>
                        <a:pt x="52769" y="130756"/>
                        <a:pt x="26384" y="130756"/>
                        <a:pt x="0" y="130756"/>
                      </a:cubicBezTo>
                      <a:cubicBezTo>
                        <a:pt x="12687" y="105058"/>
                        <a:pt x="25403" y="79360"/>
                        <a:pt x="38643" y="53937"/>
                      </a:cubicBezTo>
                      <a:cubicBezTo>
                        <a:pt x="42367" y="46794"/>
                        <a:pt x="38595" y="46889"/>
                        <a:pt x="37633" y="39240"/>
                      </a:cubicBezTo>
                      <a:cubicBezTo>
                        <a:pt x="36986" y="34097"/>
                        <a:pt x="35709" y="34897"/>
                        <a:pt x="39976" y="30620"/>
                      </a:cubicBezTo>
                      <a:cubicBezTo>
                        <a:pt x="41739" y="28849"/>
                        <a:pt x="44710" y="29363"/>
                        <a:pt x="45120" y="26772"/>
                      </a:cubicBezTo>
                      <a:cubicBezTo>
                        <a:pt x="45453" y="24658"/>
                        <a:pt x="37262" y="22905"/>
                        <a:pt x="35404" y="18190"/>
                      </a:cubicBezTo>
                      <a:cubicBezTo>
                        <a:pt x="34833" y="16742"/>
                        <a:pt x="36166" y="14866"/>
                        <a:pt x="35947" y="13256"/>
                      </a:cubicBezTo>
                      <a:cubicBezTo>
                        <a:pt x="35709" y="11570"/>
                        <a:pt x="33880" y="12084"/>
                        <a:pt x="33757" y="10703"/>
                      </a:cubicBezTo>
                      <a:cubicBezTo>
                        <a:pt x="33480" y="7608"/>
                        <a:pt x="35100" y="4836"/>
                        <a:pt x="34700" y="1578"/>
                      </a:cubicBezTo>
                      <a:cubicBezTo>
                        <a:pt x="59626" y="1464"/>
                        <a:pt x="84553" y="1274"/>
                        <a:pt x="109480" y="1102"/>
                      </a:cubicBezTo>
                      <a:cubicBezTo>
                        <a:pt x="115291" y="1064"/>
                        <a:pt x="121101" y="1026"/>
                        <a:pt x="126902" y="988"/>
                      </a:cubicBezTo>
                      <a:cubicBezTo>
                        <a:pt x="131597" y="959"/>
                        <a:pt x="142161" y="-1136"/>
                        <a:pt x="146295" y="864"/>
                      </a:cubicBezTo>
                      <a:cubicBezTo>
                        <a:pt x="154905" y="5007"/>
                        <a:pt x="144647" y="15599"/>
                        <a:pt x="143085" y="22333"/>
                      </a:cubicBezTo>
                      <a:lnTo>
                        <a:pt x="143085" y="22333"/>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96" name="Freeform: Shape 495">
                  <a:extLst>
                    <a:ext uri="{FF2B5EF4-FFF2-40B4-BE49-F238E27FC236}">
                      <a16:creationId xmlns:a16="http://schemas.microsoft.com/office/drawing/2014/main" id="{351AA4D9-F144-4A1E-AF0B-429213E34EB2}"/>
                    </a:ext>
                  </a:extLst>
                </p:cNvPr>
                <p:cNvSpPr/>
                <p:nvPr/>
              </p:nvSpPr>
              <p:spPr>
                <a:xfrm>
                  <a:off x="2972532" y="2809909"/>
                  <a:ext cx="268214" cy="186126"/>
                </a:xfrm>
                <a:custGeom>
                  <a:avLst/>
                  <a:gdLst>
                    <a:gd name="connsiteX0" fmla="*/ 178079 w 268214"/>
                    <a:gd name="connsiteY0" fmla="*/ 23557 h 186126"/>
                    <a:gd name="connsiteX1" fmla="*/ 196815 w 268214"/>
                    <a:gd name="connsiteY1" fmla="*/ 34273 h 186126"/>
                    <a:gd name="connsiteX2" fmla="*/ 207083 w 268214"/>
                    <a:gd name="connsiteY2" fmla="*/ 33177 h 186126"/>
                    <a:gd name="connsiteX3" fmla="*/ 214979 w 268214"/>
                    <a:gd name="connsiteY3" fmla="*/ 40416 h 186126"/>
                    <a:gd name="connsiteX4" fmla="*/ 236239 w 268214"/>
                    <a:gd name="connsiteY4" fmla="*/ 36597 h 186126"/>
                    <a:gd name="connsiteX5" fmla="*/ 236992 w 268214"/>
                    <a:gd name="connsiteY5" fmla="*/ 39273 h 186126"/>
                    <a:gd name="connsiteX6" fmla="*/ 241192 w 268214"/>
                    <a:gd name="connsiteY6" fmla="*/ 39445 h 186126"/>
                    <a:gd name="connsiteX7" fmla="*/ 253841 w 268214"/>
                    <a:gd name="connsiteY7" fmla="*/ 39359 h 186126"/>
                    <a:gd name="connsiteX8" fmla="*/ 258537 w 268214"/>
                    <a:gd name="connsiteY8" fmla="*/ 42969 h 186126"/>
                    <a:gd name="connsiteX9" fmla="*/ 268214 w 268214"/>
                    <a:gd name="connsiteY9" fmla="*/ 43055 h 186126"/>
                    <a:gd name="connsiteX10" fmla="*/ 252546 w 268214"/>
                    <a:gd name="connsiteY10" fmla="*/ 57066 h 186126"/>
                    <a:gd name="connsiteX11" fmla="*/ 235296 w 268214"/>
                    <a:gd name="connsiteY11" fmla="*/ 65134 h 186126"/>
                    <a:gd name="connsiteX12" fmla="*/ 198187 w 268214"/>
                    <a:gd name="connsiteY12" fmla="*/ 76154 h 186126"/>
                    <a:gd name="connsiteX13" fmla="*/ 167554 w 268214"/>
                    <a:gd name="connsiteY13" fmla="*/ 89060 h 186126"/>
                    <a:gd name="connsiteX14" fmla="*/ 156791 w 268214"/>
                    <a:gd name="connsiteY14" fmla="*/ 104577 h 186126"/>
                    <a:gd name="connsiteX15" fmla="*/ 141484 w 268214"/>
                    <a:gd name="connsiteY15" fmla="*/ 111768 h 186126"/>
                    <a:gd name="connsiteX16" fmla="*/ 135360 w 268214"/>
                    <a:gd name="connsiteY16" fmla="*/ 116731 h 186126"/>
                    <a:gd name="connsiteX17" fmla="*/ 137293 w 268214"/>
                    <a:gd name="connsiteY17" fmla="*/ 122417 h 186126"/>
                    <a:gd name="connsiteX18" fmla="*/ 128235 w 268214"/>
                    <a:gd name="connsiteY18" fmla="*/ 134647 h 186126"/>
                    <a:gd name="connsiteX19" fmla="*/ 121853 w 268214"/>
                    <a:gd name="connsiteY19" fmla="*/ 146144 h 186126"/>
                    <a:gd name="connsiteX20" fmla="*/ 131950 w 268214"/>
                    <a:gd name="connsiteY20" fmla="*/ 154573 h 186126"/>
                    <a:gd name="connsiteX21" fmla="*/ 142742 w 268214"/>
                    <a:gd name="connsiteY21" fmla="*/ 166689 h 186126"/>
                    <a:gd name="connsiteX22" fmla="*/ 142218 w 268214"/>
                    <a:gd name="connsiteY22" fmla="*/ 183158 h 186126"/>
                    <a:gd name="connsiteX23" fmla="*/ 100317 w 268214"/>
                    <a:gd name="connsiteY23" fmla="*/ 184682 h 186126"/>
                    <a:gd name="connsiteX24" fmla="*/ 0 w 268214"/>
                    <a:gd name="connsiteY24" fmla="*/ 184701 h 186126"/>
                    <a:gd name="connsiteX25" fmla="*/ 19202 w 268214"/>
                    <a:gd name="connsiteY25" fmla="*/ 151868 h 186126"/>
                    <a:gd name="connsiteX26" fmla="*/ 28632 w 268214"/>
                    <a:gd name="connsiteY26" fmla="*/ 135942 h 186126"/>
                    <a:gd name="connsiteX27" fmla="*/ 33338 w 268214"/>
                    <a:gd name="connsiteY27" fmla="*/ 128113 h 186126"/>
                    <a:gd name="connsiteX28" fmla="*/ 29099 w 268214"/>
                    <a:gd name="connsiteY28" fmla="*/ 123293 h 186126"/>
                    <a:gd name="connsiteX29" fmla="*/ 33442 w 268214"/>
                    <a:gd name="connsiteY29" fmla="*/ 115187 h 186126"/>
                    <a:gd name="connsiteX30" fmla="*/ 44596 w 268214"/>
                    <a:gd name="connsiteY30" fmla="*/ 104319 h 186126"/>
                    <a:gd name="connsiteX31" fmla="*/ 54855 w 268214"/>
                    <a:gd name="connsiteY31" fmla="*/ 78288 h 186126"/>
                    <a:gd name="connsiteX32" fmla="*/ 67770 w 268214"/>
                    <a:gd name="connsiteY32" fmla="*/ 50484 h 186126"/>
                    <a:gd name="connsiteX33" fmla="*/ 79477 w 268214"/>
                    <a:gd name="connsiteY33" fmla="*/ 24357 h 186126"/>
                    <a:gd name="connsiteX34" fmla="*/ 84001 w 268214"/>
                    <a:gd name="connsiteY34" fmla="*/ 14242 h 186126"/>
                    <a:gd name="connsiteX35" fmla="*/ 88868 w 268214"/>
                    <a:gd name="connsiteY35" fmla="*/ 11660 h 186126"/>
                    <a:gd name="connsiteX36" fmla="*/ 109842 w 268214"/>
                    <a:gd name="connsiteY36" fmla="*/ 11717 h 186126"/>
                    <a:gd name="connsiteX37" fmla="*/ 125968 w 268214"/>
                    <a:gd name="connsiteY37" fmla="*/ 11717 h 186126"/>
                    <a:gd name="connsiteX38" fmla="*/ 142608 w 268214"/>
                    <a:gd name="connsiteY38" fmla="*/ 5774 h 186126"/>
                    <a:gd name="connsiteX39" fmla="*/ 151962 w 268214"/>
                    <a:gd name="connsiteY39" fmla="*/ 3297 h 186126"/>
                    <a:gd name="connsiteX40" fmla="*/ 147142 w 268214"/>
                    <a:gd name="connsiteY40" fmla="*/ 18042 h 186126"/>
                    <a:gd name="connsiteX41" fmla="*/ 164440 w 268214"/>
                    <a:gd name="connsiteY41" fmla="*/ 23395 h 186126"/>
                    <a:gd name="connsiteX42" fmla="*/ 168774 w 268214"/>
                    <a:gd name="connsiteY42" fmla="*/ 26376 h 186126"/>
                    <a:gd name="connsiteX43" fmla="*/ 178079 w 268214"/>
                    <a:gd name="connsiteY43" fmla="*/ 23557 h 186126"/>
                    <a:gd name="connsiteX44" fmla="*/ 178079 w 268214"/>
                    <a:gd name="connsiteY44" fmla="*/ 23557 h 186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68214" h="186126">
                      <a:moveTo>
                        <a:pt x="178079" y="23557"/>
                      </a:moveTo>
                      <a:cubicBezTo>
                        <a:pt x="184290" y="22519"/>
                        <a:pt x="200968" y="24824"/>
                        <a:pt x="196815" y="34273"/>
                      </a:cubicBezTo>
                      <a:cubicBezTo>
                        <a:pt x="200197" y="33082"/>
                        <a:pt x="203292" y="31701"/>
                        <a:pt x="207083" y="33177"/>
                      </a:cubicBezTo>
                      <a:cubicBezTo>
                        <a:pt x="210026" y="34320"/>
                        <a:pt x="211293" y="39054"/>
                        <a:pt x="214979" y="40416"/>
                      </a:cubicBezTo>
                      <a:cubicBezTo>
                        <a:pt x="222628" y="43255"/>
                        <a:pt x="228695" y="35244"/>
                        <a:pt x="236239" y="36597"/>
                      </a:cubicBezTo>
                      <a:cubicBezTo>
                        <a:pt x="237668" y="36854"/>
                        <a:pt x="235534" y="38921"/>
                        <a:pt x="236992" y="39273"/>
                      </a:cubicBezTo>
                      <a:cubicBezTo>
                        <a:pt x="238220" y="39569"/>
                        <a:pt x="239878" y="39111"/>
                        <a:pt x="241192" y="39445"/>
                      </a:cubicBezTo>
                      <a:cubicBezTo>
                        <a:pt x="244850" y="40359"/>
                        <a:pt x="250593" y="38168"/>
                        <a:pt x="253841" y="39359"/>
                      </a:cubicBezTo>
                      <a:cubicBezTo>
                        <a:pt x="256080" y="40178"/>
                        <a:pt x="255689" y="41854"/>
                        <a:pt x="258537" y="42969"/>
                      </a:cubicBezTo>
                      <a:cubicBezTo>
                        <a:pt x="260556" y="43759"/>
                        <a:pt x="265757" y="42912"/>
                        <a:pt x="268214" y="43055"/>
                      </a:cubicBezTo>
                      <a:cubicBezTo>
                        <a:pt x="262995" y="47731"/>
                        <a:pt x="257766" y="52389"/>
                        <a:pt x="252546" y="57066"/>
                      </a:cubicBezTo>
                      <a:cubicBezTo>
                        <a:pt x="246240" y="62695"/>
                        <a:pt x="243830" y="65448"/>
                        <a:pt x="235296" y="65134"/>
                      </a:cubicBezTo>
                      <a:cubicBezTo>
                        <a:pt x="221494" y="64629"/>
                        <a:pt x="210874" y="71068"/>
                        <a:pt x="198187" y="76154"/>
                      </a:cubicBezTo>
                      <a:cubicBezTo>
                        <a:pt x="187547" y="80421"/>
                        <a:pt x="174098" y="80602"/>
                        <a:pt x="167554" y="89060"/>
                      </a:cubicBezTo>
                      <a:cubicBezTo>
                        <a:pt x="163592" y="94175"/>
                        <a:pt x="162211" y="101014"/>
                        <a:pt x="156791" y="104577"/>
                      </a:cubicBezTo>
                      <a:cubicBezTo>
                        <a:pt x="152229" y="107558"/>
                        <a:pt x="146180" y="108415"/>
                        <a:pt x="141484" y="111768"/>
                      </a:cubicBezTo>
                      <a:cubicBezTo>
                        <a:pt x="139913" y="112882"/>
                        <a:pt x="136017" y="114797"/>
                        <a:pt x="135360" y="116731"/>
                      </a:cubicBezTo>
                      <a:cubicBezTo>
                        <a:pt x="134131" y="120302"/>
                        <a:pt x="137836" y="119036"/>
                        <a:pt x="137293" y="122417"/>
                      </a:cubicBezTo>
                      <a:cubicBezTo>
                        <a:pt x="136617" y="126598"/>
                        <a:pt x="130464" y="130913"/>
                        <a:pt x="128235" y="134647"/>
                      </a:cubicBezTo>
                      <a:cubicBezTo>
                        <a:pt x="126978" y="136743"/>
                        <a:pt x="121396" y="143620"/>
                        <a:pt x="121853" y="146144"/>
                      </a:cubicBezTo>
                      <a:cubicBezTo>
                        <a:pt x="122349" y="148868"/>
                        <a:pt x="129959" y="152697"/>
                        <a:pt x="131950" y="154573"/>
                      </a:cubicBezTo>
                      <a:cubicBezTo>
                        <a:pt x="136150" y="158536"/>
                        <a:pt x="138322" y="162651"/>
                        <a:pt x="142742" y="166689"/>
                      </a:cubicBezTo>
                      <a:cubicBezTo>
                        <a:pt x="147228" y="170785"/>
                        <a:pt x="147971" y="177995"/>
                        <a:pt x="142218" y="183158"/>
                      </a:cubicBezTo>
                      <a:cubicBezTo>
                        <a:pt x="135941" y="188787"/>
                        <a:pt x="109604" y="184682"/>
                        <a:pt x="100317" y="184682"/>
                      </a:cubicBezTo>
                      <a:cubicBezTo>
                        <a:pt x="66875" y="184691"/>
                        <a:pt x="33442" y="184710"/>
                        <a:pt x="0" y="184701"/>
                      </a:cubicBezTo>
                      <a:cubicBezTo>
                        <a:pt x="6363" y="173738"/>
                        <a:pt x="12764" y="162784"/>
                        <a:pt x="19202" y="151868"/>
                      </a:cubicBezTo>
                      <a:cubicBezTo>
                        <a:pt x="22336" y="146553"/>
                        <a:pt x="25479" y="141238"/>
                        <a:pt x="28632" y="135942"/>
                      </a:cubicBezTo>
                      <a:cubicBezTo>
                        <a:pt x="29709" y="134133"/>
                        <a:pt x="33490" y="130008"/>
                        <a:pt x="33338" y="128113"/>
                      </a:cubicBezTo>
                      <a:cubicBezTo>
                        <a:pt x="33080" y="124922"/>
                        <a:pt x="29842" y="125627"/>
                        <a:pt x="29099" y="123293"/>
                      </a:cubicBezTo>
                      <a:cubicBezTo>
                        <a:pt x="27356" y="117797"/>
                        <a:pt x="29670" y="117893"/>
                        <a:pt x="33442" y="115187"/>
                      </a:cubicBezTo>
                      <a:cubicBezTo>
                        <a:pt x="38348" y="111673"/>
                        <a:pt x="41481" y="109692"/>
                        <a:pt x="44596" y="104319"/>
                      </a:cubicBezTo>
                      <a:cubicBezTo>
                        <a:pt x="49378" y="96071"/>
                        <a:pt x="50321" y="86927"/>
                        <a:pt x="54855" y="78288"/>
                      </a:cubicBezTo>
                      <a:cubicBezTo>
                        <a:pt x="59236" y="69934"/>
                        <a:pt x="65170" y="59971"/>
                        <a:pt x="67770" y="50484"/>
                      </a:cubicBezTo>
                      <a:cubicBezTo>
                        <a:pt x="70466" y="40645"/>
                        <a:pt x="74324" y="33349"/>
                        <a:pt x="79477" y="24357"/>
                      </a:cubicBezTo>
                      <a:cubicBezTo>
                        <a:pt x="81096" y="21519"/>
                        <a:pt x="82077" y="16528"/>
                        <a:pt x="84001" y="14242"/>
                      </a:cubicBezTo>
                      <a:cubicBezTo>
                        <a:pt x="86554" y="11213"/>
                        <a:pt x="84582" y="12794"/>
                        <a:pt x="88868" y="11660"/>
                      </a:cubicBezTo>
                      <a:cubicBezTo>
                        <a:pt x="94545" y="10174"/>
                        <a:pt x="103918" y="11708"/>
                        <a:pt x="109842" y="11717"/>
                      </a:cubicBezTo>
                      <a:cubicBezTo>
                        <a:pt x="115214" y="11717"/>
                        <a:pt x="120587" y="11708"/>
                        <a:pt x="125968" y="11717"/>
                      </a:cubicBezTo>
                      <a:cubicBezTo>
                        <a:pt x="134779" y="11727"/>
                        <a:pt x="137693" y="13337"/>
                        <a:pt x="142608" y="5774"/>
                      </a:cubicBezTo>
                      <a:cubicBezTo>
                        <a:pt x="145447" y="1402"/>
                        <a:pt x="151638" y="-3351"/>
                        <a:pt x="151962" y="3297"/>
                      </a:cubicBezTo>
                      <a:cubicBezTo>
                        <a:pt x="152133" y="6793"/>
                        <a:pt x="145266" y="14213"/>
                        <a:pt x="147142" y="18042"/>
                      </a:cubicBezTo>
                      <a:cubicBezTo>
                        <a:pt x="149295" y="22423"/>
                        <a:pt x="160077" y="21795"/>
                        <a:pt x="164440" y="23395"/>
                      </a:cubicBezTo>
                      <a:cubicBezTo>
                        <a:pt x="166688" y="24214"/>
                        <a:pt x="165392" y="26024"/>
                        <a:pt x="168774" y="26376"/>
                      </a:cubicBezTo>
                      <a:cubicBezTo>
                        <a:pt x="171831" y="26691"/>
                        <a:pt x="175546" y="25176"/>
                        <a:pt x="178079" y="23557"/>
                      </a:cubicBezTo>
                      <a:lnTo>
                        <a:pt x="178079" y="23557"/>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97" name="Freeform: Shape 496">
                  <a:extLst>
                    <a:ext uri="{FF2B5EF4-FFF2-40B4-BE49-F238E27FC236}">
                      <a16:creationId xmlns:a16="http://schemas.microsoft.com/office/drawing/2014/main" id="{8C9CB5FE-E5C2-4E0B-BDC6-00CC18AFF61E}"/>
                    </a:ext>
                  </a:extLst>
                </p:cNvPr>
                <p:cNvSpPr/>
                <p:nvPr/>
              </p:nvSpPr>
              <p:spPr>
                <a:xfrm>
                  <a:off x="3190788" y="2843471"/>
                  <a:ext cx="188053" cy="208129"/>
                </a:xfrm>
                <a:custGeom>
                  <a:avLst/>
                  <a:gdLst>
                    <a:gd name="connsiteX0" fmla="*/ 97203 w 188053"/>
                    <a:gd name="connsiteY0" fmla="*/ 7511 h 208129"/>
                    <a:gd name="connsiteX1" fmla="*/ 129073 w 188053"/>
                    <a:gd name="connsiteY1" fmla="*/ 28285 h 208129"/>
                    <a:gd name="connsiteX2" fmla="*/ 145047 w 188053"/>
                    <a:gd name="connsiteY2" fmla="*/ 39029 h 208129"/>
                    <a:gd name="connsiteX3" fmla="*/ 152600 w 188053"/>
                    <a:gd name="connsiteY3" fmla="*/ 44068 h 208129"/>
                    <a:gd name="connsiteX4" fmla="*/ 151057 w 188053"/>
                    <a:gd name="connsiteY4" fmla="*/ 53088 h 208129"/>
                    <a:gd name="connsiteX5" fmla="*/ 161592 w 188053"/>
                    <a:gd name="connsiteY5" fmla="*/ 55831 h 208129"/>
                    <a:gd name="connsiteX6" fmla="*/ 162697 w 188053"/>
                    <a:gd name="connsiteY6" fmla="*/ 63327 h 208129"/>
                    <a:gd name="connsiteX7" fmla="*/ 171622 w 188053"/>
                    <a:gd name="connsiteY7" fmla="*/ 68547 h 208129"/>
                    <a:gd name="connsiteX8" fmla="*/ 168621 w 188053"/>
                    <a:gd name="connsiteY8" fmla="*/ 78177 h 208129"/>
                    <a:gd name="connsiteX9" fmla="*/ 185395 w 188053"/>
                    <a:gd name="connsiteY9" fmla="*/ 90207 h 208129"/>
                    <a:gd name="connsiteX10" fmla="*/ 187214 w 188053"/>
                    <a:gd name="connsiteY10" fmla="*/ 98455 h 208129"/>
                    <a:gd name="connsiteX11" fmla="*/ 184452 w 188053"/>
                    <a:gd name="connsiteY11" fmla="*/ 107428 h 208129"/>
                    <a:gd name="connsiteX12" fmla="*/ 172060 w 188053"/>
                    <a:gd name="connsiteY12" fmla="*/ 148109 h 208129"/>
                    <a:gd name="connsiteX13" fmla="*/ 158077 w 188053"/>
                    <a:gd name="connsiteY13" fmla="*/ 163254 h 208129"/>
                    <a:gd name="connsiteX14" fmla="*/ 146056 w 188053"/>
                    <a:gd name="connsiteY14" fmla="*/ 178742 h 208129"/>
                    <a:gd name="connsiteX15" fmla="*/ 128473 w 188053"/>
                    <a:gd name="connsiteY15" fmla="*/ 188210 h 208129"/>
                    <a:gd name="connsiteX16" fmla="*/ 117558 w 188053"/>
                    <a:gd name="connsiteY16" fmla="*/ 201240 h 208129"/>
                    <a:gd name="connsiteX17" fmla="*/ 70123 w 188053"/>
                    <a:gd name="connsiteY17" fmla="*/ 207822 h 208129"/>
                    <a:gd name="connsiteX18" fmla="*/ 71018 w 188053"/>
                    <a:gd name="connsiteY18" fmla="*/ 205983 h 208129"/>
                    <a:gd name="connsiteX19" fmla="*/ 4353 w 188053"/>
                    <a:gd name="connsiteY19" fmla="*/ 205955 h 208129"/>
                    <a:gd name="connsiteX20" fmla="*/ 22050 w 188053"/>
                    <a:gd name="connsiteY20" fmla="*/ 180532 h 208129"/>
                    <a:gd name="connsiteX21" fmla="*/ 37567 w 188053"/>
                    <a:gd name="connsiteY21" fmla="*/ 145928 h 208129"/>
                    <a:gd name="connsiteX22" fmla="*/ 87220 w 188053"/>
                    <a:gd name="connsiteY22" fmla="*/ 96770 h 208129"/>
                    <a:gd name="connsiteX23" fmla="*/ 59693 w 188053"/>
                    <a:gd name="connsiteY23" fmla="*/ 95969 h 208129"/>
                    <a:gd name="connsiteX24" fmla="*/ 48035 w 188053"/>
                    <a:gd name="connsiteY24" fmla="*/ 99770 h 208129"/>
                    <a:gd name="connsiteX25" fmla="*/ 52121 w 188053"/>
                    <a:gd name="connsiteY25" fmla="*/ 92226 h 208129"/>
                    <a:gd name="connsiteX26" fmla="*/ 46663 w 188053"/>
                    <a:gd name="connsiteY26" fmla="*/ 92331 h 208129"/>
                    <a:gd name="connsiteX27" fmla="*/ 47692 w 188053"/>
                    <a:gd name="connsiteY27" fmla="*/ 78224 h 208129"/>
                    <a:gd name="connsiteX28" fmla="*/ 36290 w 188053"/>
                    <a:gd name="connsiteY28" fmla="*/ 71709 h 208129"/>
                    <a:gd name="connsiteX29" fmla="*/ 23127 w 188053"/>
                    <a:gd name="connsiteY29" fmla="*/ 66775 h 208129"/>
                    <a:gd name="connsiteX30" fmla="*/ 3562 w 188053"/>
                    <a:gd name="connsiteY30" fmla="*/ 61660 h 208129"/>
                    <a:gd name="connsiteX31" fmla="*/ 0 w 188053"/>
                    <a:gd name="connsiteY31" fmla="*/ 55126 h 208129"/>
                    <a:gd name="connsiteX32" fmla="*/ 18679 w 188053"/>
                    <a:gd name="connsiteY32" fmla="*/ 37410 h 208129"/>
                    <a:gd name="connsiteX33" fmla="*/ 43320 w 188053"/>
                    <a:gd name="connsiteY33" fmla="*/ 15407 h 208129"/>
                    <a:gd name="connsiteX34" fmla="*/ 68932 w 188053"/>
                    <a:gd name="connsiteY34" fmla="*/ 4377 h 208129"/>
                    <a:gd name="connsiteX35" fmla="*/ 85468 w 188053"/>
                    <a:gd name="connsiteY35" fmla="*/ 186 h 208129"/>
                    <a:gd name="connsiteX36" fmla="*/ 97203 w 188053"/>
                    <a:gd name="connsiteY36" fmla="*/ 7511 h 208129"/>
                    <a:gd name="connsiteX37" fmla="*/ 97203 w 188053"/>
                    <a:gd name="connsiteY37" fmla="*/ 7511 h 208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053" h="208129">
                      <a:moveTo>
                        <a:pt x="97203" y="7511"/>
                      </a:moveTo>
                      <a:cubicBezTo>
                        <a:pt x="107833" y="14426"/>
                        <a:pt x="118567" y="21189"/>
                        <a:pt x="129073" y="28285"/>
                      </a:cubicBezTo>
                      <a:cubicBezTo>
                        <a:pt x="134398" y="31866"/>
                        <a:pt x="139713" y="35457"/>
                        <a:pt x="145047" y="39029"/>
                      </a:cubicBezTo>
                      <a:cubicBezTo>
                        <a:pt x="146409" y="39934"/>
                        <a:pt x="152000" y="42496"/>
                        <a:pt x="152600" y="44068"/>
                      </a:cubicBezTo>
                      <a:cubicBezTo>
                        <a:pt x="153495" y="46401"/>
                        <a:pt x="150333" y="50507"/>
                        <a:pt x="151057" y="53088"/>
                      </a:cubicBezTo>
                      <a:cubicBezTo>
                        <a:pt x="153191" y="60679"/>
                        <a:pt x="156181" y="56088"/>
                        <a:pt x="161592" y="55831"/>
                      </a:cubicBezTo>
                      <a:cubicBezTo>
                        <a:pt x="169126" y="55469"/>
                        <a:pt x="163840" y="57546"/>
                        <a:pt x="162697" y="63327"/>
                      </a:cubicBezTo>
                      <a:cubicBezTo>
                        <a:pt x="160582" y="73967"/>
                        <a:pt x="166307" y="66480"/>
                        <a:pt x="171622" y="68547"/>
                      </a:cubicBezTo>
                      <a:cubicBezTo>
                        <a:pt x="178546" y="71252"/>
                        <a:pt x="172002" y="75148"/>
                        <a:pt x="168621" y="78177"/>
                      </a:cubicBezTo>
                      <a:cubicBezTo>
                        <a:pt x="173803" y="82082"/>
                        <a:pt x="180985" y="85492"/>
                        <a:pt x="185395" y="90207"/>
                      </a:cubicBezTo>
                      <a:cubicBezTo>
                        <a:pt x="188938" y="93988"/>
                        <a:pt x="188262" y="93369"/>
                        <a:pt x="187214" y="98455"/>
                      </a:cubicBezTo>
                      <a:cubicBezTo>
                        <a:pt x="186585" y="101484"/>
                        <a:pt x="185376" y="104475"/>
                        <a:pt x="184452" y="107428"/>
                      </a:cubicBezTo>
                      <a:cubicBezTo>
                        <a:pt x="180480" y="120125"/>
                        <a:pt x="178299" y="136451"/>
                        <a:pt x="172060" y="148109"/>
                      </a:cubicBezTo>
                      <a:cubicBezTo>
                        <a:pt x="168983" y="153862"/>
                        <a:pt x="162344" y="158244"/>
                        <a:pt x="158077" y="163254"/>
                      </a:cubicBezTo>
                      <a:cubicBezTo>
                        <a:pt x="153914" y="168140"/>
                        <a:pt x="151076" y="174627"/>
                        <a:pt x="146056" y="178742"/>
                      </a:cubicBezTo>
                      <a:cubicBezTo>
                        <a:pt x="140970" y="182923"/>
                        <a:pt x="133988" y="184923"/>
                        <a:pt x="128473" y="188210"/>
                      </a:cubicBezTo>
                      <a:cubicBezTo>
                        <a:pt x="122825" y="191572"/>
                        <a:pt x="121729" y="197582"/>
                        <a:pt x="117558" y="201240"/>
                      </a:cubicBezTo>
                      <a:cubicBezTo>
                        <a:pt x="106423" y="210984"/>
                        <a:pt x="84001" y="207402"/>
                        <a:pt x="70123" y="207822"/>
                      </a:cubicBezTo>
                      <a:cubicBezTo>
                        <a:pt x="70418" y="207212"/>
                        <a:pt x="70723" y="206593"/>
                        <a:pt x="71018" y="205983"/>
                      </a:cubicBezTo>
                      <a:cubicBezTo>
                        <a:pt x="48797" y="205983"/>
                        <a:pt x="26575" y="205974"/>
                        <a:pt x="4353" y="205955"/>
                      </a:cubicBezTo>
                      <a:cubicBezTo>
                        <a:pt x="10287" y="197773"/>
                        <a:pt x="17650" y="189581"/>
                        <a:pt x="22050" y="180532"/>
                      </a:cubicBezTo>
                      <a:cubicBezTo>
                        <a:pt x="27613" y="169064"/>
                        <a:pt x="30528" y="156729"/>
                        <a:pt x="37567" y="145928"/>
                      </a:cubicBezTo>
                      <a:cubicBezTo>
                        <a:pt x="50273" y="126440"/>
                        <a:pt x="66980" y="108142"/>
                        <a:pt x="87220" y="96770"/>
                      </a:cubicBezTo>
                      <a:cubicBezTo>
                        <a:pt x="75886" y="88616"/>
                        <a:pt x="71114" y="87873"/>
                        <a:pt x="59693" y="95969"/>
                      </a:cubicBezTo>
                      <a:cubicBezTo>
                        <a:pt x="57455" y="97560"/>
                        <a:pt x="49940" y="104799"/>
                        <a:pt x="48035" y="99770"/>
                      </a:cubicBezTo>
                      <a:cubicBezTo>
                        <a:pt x="46825" y="96569"/>
                        <a:pt x="50368" y="94303"/>
                        <a:pt x="52121" y="92226"/>
                      </a:cubicBezTo>
                      <a:cubicBezTo>
                        <a:pt x="50711" y="92512"/>
                        <a:pt x="48206" y="92064"/>
                        <a:pt x="46663" y="92331"/>
                      </a:cubicBezTo>
                      <a:cubicBezTo>
                        <a:pt x="49397" y="86759"/>
                        <a:pt x="59065" y="81253"/>
                        <a:pt x="47692" y="78224"/>
                      </a:cubicBezTo>
                      <a:cubicBezTo>
                        <a:pt x="53559" y="71871"/>
                        <a:pt x="40062" y="72433"/>
                        <a:pt x="36290" y="71709"/>
                      </a:cubicBezTo>
                      <a:cubicBezTo>
                        <a:pt x="31413" y="70776"/>
                        <a:pt x="27870" y="68366"/>
                        <a:pt x="23127" y="66775"/>
                      </a:cubicBezTo>
                      <a:cubicBezTo>
                        <a:pt x="18564" y="65242"/>
                        <a:pt x="6839" y="64994"/>
                        <a:pt x="3562" y="61660"/>
                      </a:cubicBezTo>
                      <a:cubicBezTo>
                        <a:pt x="1314" y="59365"/>
                        <a:pt x="5972" y="54621"/>
                        <a:pt x="0" y="55126"/>
                      </a:cubicBezTo>
                      <a:cubicBezTo>
                        <a:pt x="2800" y="48687"/>
                        <a:pt x="13259" y="42258"/>
                        <a:pt x="18679" y="37410"/>
                      </a:cubicBezTo>
                      <a:cubicBezTo>
                        <a:pt x="26889" y="30075"/>
                        <a:pt x="35109" y="22741"/>
                        <a:pt x="43320" y="15407"/>
                      </a:cubicBezTo>
                      <a:cubicBezTo>
                        <a:pt x="50911" y="8625"/>
                        <a:pt x="59284" y="7844"/>
                        <a:pt x="68932" y="4377"/>
                      </a:cubicBezTo>
                      <a:cubicBezTo>
                        <a:pt x="73562" y="2720"/>
                        <a:pt x="80477" y="-852"/>
                        <a:pt x="85468" y="186"/>
                      </a:cubicBezTo>
                      <a:cubicBezTo>
                        <a:pt x="89240" y="967"/>
                        <a:pt x="93945" y="5406"/>
                        <a:pt x="97203" y="7511"/>
                      </a:cubicBezTo>
                      <a:lnTo>
                        <a:pt x="97203" y="7511"/>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98" name="Freeform: Shape 497">
                  <a:extLst>
                    <a:ext uri="{FF2B5EF4-FFF2-40B4-BE49-F238E27FC236}">
                      <a16:creationId xmlns:a16="http://schemas.microsoft.com/office/drawing/2014/main" id="{31EB8B2A-D7D7-46F8-A91C-A55F7BEF3D2A}"/>
                    </a:ext>
                  </a:extLst>
                </p:cNvPr>
                <p:cNvSpPr/>
                <p:nvPr/>
              </p:nvSpPr>
              <p:spPr>
                <a:xfrm>
                  <a:off x="3664856" y="2870333"/>
                  <a:ext cx="132586" cy="137868"/>
                </a:xfrm>
                <a:custGeom>
                  <a:avLst/>
                  <a:gdLst>
                    <a:gd name="connsiteX0" fmla="*/ 105414 w 132586"/>
                    <a:gd name="connsiteY0" fmla="*/ 7405 h 137868"/>
                    <a:gd name="connsiteX1" fmla="*/ 122569 w 132586"/>
                    <a:gd name="connsiteY1" fmla="*/ 3204 h 137868"/>
                    <a:gd name="connsiteX2" fmla="*/ 130589 w 132586"/>
                    <a:gd name="connsiteY2" fmla="*/ 7910 h 137868"/>
                    <a:gd name="connsiteX3" fmla="*/ 131112 w 132586"/>
                    <a:gd name="connsiteY3" fmla="*/ 17358 h 137868"/>
                    <a:gd name="connsiteX4" fmla="*/ 117120 w 132586"/>
                    <a:gd name="connsiteY4" fmla="*/ 51477 h 137868"/>
                    <a:gd name="connsiteX5" fmla="*/ 120292 w 132586"/>
                    <a:gd name="connsiteY5" fmla="*/ 57640 h 137868"/>
                    <a:gd name="connsiteX6" fmla="*/ 123245 w 132586"/>
                    <a:gd name="connsiteY6" fmla="*/ 59802 h 137868"/>
                    <a:gd name="connsiteX7" fmla="*/ 120273 w 132586"/>
                    <a:gd name="connsiteY7" fmla="*/ 62135 h 137868"/>
                    <a:gd name="connsiteX8" fmla="*/ 119311 w 132586"/>
                    <a:gd name="connsiteY8" fmla="*/ 70451 h 137868"/>
                    <a:gd name="connsiteX9" fmla="*/ 126159 w 132586"/>
                    <a:gd name="connsiteY9" fmla="*/ 71727 h 137868"/>
                    <a:gd name="connsiteX10" fmla="*/ 122940 w 132586"/>
                    <a:gd name="connsiteY10" fmla="*/ 80690 h 137868"/>
                    <a:gd name="connsiteX11" fmla="*/ 117939 w 132586"/>
                    <a:gd name="connsiteY11" fmla="*/ 87291 h 137868"/>
                    <a:gd name="connsiteX12" fmla="*/ 110510 w 132586"/>
                    <a:gd name="connsiteY12" fmla="*/ 87882 h 137868"/>
                    <a:gd name="connsiteX13" fmla="*/ 105252 w 132586"/>
                    <a:gd name="connsiteY13" fmla="*/ 90510 h 137868"/>
                    <a:gd name="connsiteX14" fmla="*/ 97461 w 132586"/>
                    <a:gd name="connsiteY14" fmla="*/ 92349 h 137868"/>
                    <a:gd name="connsiteX15" fmla="*/ 90793 w 132586"/>
                    <a:gd name="connsiteY15" fmla="*/ 96464 h 137868"/>
                    <a:gd name="connsiteX16" fmla="*/ 81782 w 132586"/>
                    <a:gd name="connsiteY16" fmla="*/ 92587 h 137868"/>
                    <a:gd name="connsiteX17" fmla="*/ 76286 w 132586"/>
                    <a:gd name="connsiteY17" fmla="*/ 100426 h 137868"/>
                    <a:gd name="connsiteX18" fmla="*/ 69800 w 132586"/>
                    <a:gd name="connsiteY18" fmla="*/ 97883 h 137868"/>
                    <a:gd name="connsiteX19" fmla="*/ 73915 w 132586"/>
                    <a:gd name="connsiteY19" fmla="*/ 94635 h 137868"/>
                    <a:gd name="connsiteX20" fmla="*/ 71781 w 132586"/>
                    <a:gd name="connsiteY20" fmla="*/ 94254 h 137868"/>
                    <a:gd name="connsiteX21" fmla="*/ 74191 w 132586"/>
                    <a:gd name="connsiteY21" fmla="*/ 90596 h 137868"/>
                    <a:gd name="connsiteX22" fmla="*/ 60780 w 132586"/>
                    <a:gd name="connsiteY22" fmla="*/ 103141 h 137868"/>
                    <a:gd name="connsiteX23" fmla="*/ 44759 w 132586"/>
                    <a:gd name="connsiteY23" fmla="*/ 111808 h 137868"/>
                    <a:gd name="connsiteX24" fmla="*/ 44921 w 132586"/>
                    <a:gd name="connsiteY24" fmla="*/ 109113 h 137868"/>
                    <a:gd name="connsiteX25" fmla="*/ 41749 w 132586"/>
                    <a:gd name="connsiteY25" fmla="*/ 112332 h 137868"/>
                    <a:gd name="connsiteX26" fmla="*/ 42463 w 132586"/>
                    <a:gd name="connsiteY26" fmla="*/ 108770 h 137868"/>
                    <a:gd name="connsiteX27" fmla="*/ 38491 w 132586"/>
                    <a:gd name="connsiteY27" fmla="*/ 113237 h 137868"/>
                    <a:gd name="connsiteX28" fmla="*/ 37501 w 132586"/>
                    <a:gd name="connsiteY28" fmla="*/ 111389 h 137868"/>
                    <a:gd name="connsiteX29" fmla="*/ 35310 w 132586"/>
                    <a:gd name="connsiteY29" fmla="*/ 115752 h 137868"/>
                    <a:gd name="connsiteX30" fmla="*/ 31014 w 132586"/>
                    <a:gd name="connsiteY30" fmla="*/ 115266 h 137868"/>
                    <a:gd name="connsiteX31" fmla="*/ 32157 w 132586"/>
                    <a:gd name="connsiteY31" fmla="*/ 113142 h 137868"/>
                    <a:gd name="connsiteX32" fmla="*/ 21470 w 132586"/>
                    <a:gd name="connsiteY32" fmla="*/ 118914 h 137868"/>
                    <a:gd name="connsiteX33" fmla="*/ 11736 w 132586"/>
                    <a:gd name="connsiteY33" fmla="*/ 128144 h 137868"/>
                    <a:gd name="connsiteX34" fmla="*/ 848 w 132586"/>
                    <a:gd name="connsiteY34" fmla="*/ 137869 h 137868"/>
                    <a:gd name="connsiteX35" fmla="*/ 8688 w 132586"/>
                    <a:gd name="connsiteY35" fmla="*/ 101921 h 137868"/>
                    <a:gd name="connsiteX36" fmla="*/ 15412 w 132586"/>
                    <a:gd name="connsiteY36" fmla="*/ 84005 h 137868"/>
                    <a:gd name="connsiteX37" fmla="*/ 22423 w 132586"/>
                    <a:gd name="connsiteY37" fmla="*/ 67346 h 137868"/>
                    <a:gd name="connsiteX38" fmla="*/ 26023 w 132586"/>
                    <a:gd name="connsiteY38" fmla="*/ 68593 h 137868"/>
                    <a:gd name="connsiteX39" fmla="*/ 30357 w 132586"/>
                    <a:gd name="connsiteY39" fmla="*/ 64621 h 137868"/>
                    <a:gd name="connsiteX40" fmla="*/ 34148 w 132586"/>
                    <a:gd name="connsiteY40" fmla="*/ 63155 h 137868"/>
                    <a:gd name="connsiteX41" fmla="*/ 39510 w 132586"/>
                    <a:gd name="connsiteY41" fmla="*/ 56792 h 137868"/>
                    <a:gd name="connsiteX42" fmla="*/ 51864 w 132586"/>
                    <a:gd name="connsiteY42" fmla="*/ 46838 h 137868"/>
                    <a:gd name="connsiteX43" fmla="*/ 56941 w 132586"/>
                    <a:gd name="connsiteY43" fmla="*/ 38075 h 137868"/>
                    <a:gd name="connsiteX44" fmla="*/ 64676 w 132586"/>
                    <a:gd name="connsiteY44" fmla="*/ 31684 h 137868"/>
                    <a:gd name="connsiteX45" fmla="*/ 74629 w 132586"/>
                    <a:gd name="connsiteY45" fmla="*/ 19683 h 137868"/>
                    <a:gd name="connsiteX46" fmla="*/ 84783 w 132586"/>
                    <a:gd name="connsiteY46" fmla="*/ 11882 h 137868"/>
                    <a:gd name="connsiteX47" fmla="*/ 105414 w 132586"/>
                    <a:gd name="connsiteY47" fmla="*/ 642 h 137868"/>
                    <a:gd name="connsiteX48" fmla="*/ 105414 w 132586"/>
                    <a:gd name="connsiteY48" fmla="*/ 7405 h 137868"/>
                    <a:gd name="connsiteX49" fmla="*/ 105414 w 132586"/>
                    <a:gd name="connsiteY49" fmla="*/ 7405 h 13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32586" h="137868">
                      <a:moveTo>
                        <a:pt x="105414" y="7405"/>
                      </a:moveTo>
                      <a:cubicBezTo>
                        <a:pt x="111253" y="8672"/>
                        <a:pt x="117415" y="3147"/>
                        <a:pt x="122569" y="3204"/>
                      </a:cubicBezTo>
                      <a:cubicBezTo>
                        <a:pt x="126226" y="3242"/>
                        <a:pt x="128436" y="4509"/>
                        <a:pt x="130589" y="7910"/>
                      </a:cubicBezTo>
                      <a:cubicBezTo>
                        <a:pt x="133513" y="12510"/>
                        <a:pt x="132817" y="12034"/>
                        <a:pt x="131112" y="17358"/>
                      </a:cubicBezTo>
                      <a:cubicBezTo>
                        <a:pt x="127493" y="28636"/>
                        <a:pt x="119082" y="40133"/>
                        <a:pt x="117120" y="51477"/>
                      </a:cubicBezTo>
                      <a:cubicBezTo>
                        <a:pt x="116225" y="56659"/>
                        <a:pt x="116453" y="54077"/>
                        <a:pt x="120292" y="57640"/>
                      </a:cubicBezTo>
                      <a:cubicBezTo>
                        <a:pt x="122397" y="59592"/>
                        <a:pt x="122397" y="56573"/>
                        <a:pt x="123245" y="59802"/>
                      </a:cubicBezTo>
                      <a:cubicBezTo>
                        <a:pt x="123407" y="60392"/>
                        <a:pt x="120597" y="61392"/>
                        <a:pt x="120273" y="62135"/>
                      </a:cubicBezTo>
                      <a:cubicBezTo>
                        <a:pt x="119539" y="63793"/>
                        <a:pt x="118492" y="69060"/>
                        <a:pt x="119311" y="70451"/>
                      </a:cubicBezTo>
                      <a:cubicBezTo>
                        <a:pt x="120911" y="73204"/>
                        <a:pt x="123064" y="70508"/>
                        <a:pt x="126159" y="71727"/>
                      </a:cubicBezTo>
                      <a:cubicBezTo>
                        <a:pt x="125474" y="74947"/>
                        <a:pt x="124702" y="77861"/>
                        <a:pt x="122940" y="80690"/>
                      </a:cubicBezTo>
                      <a:cubicBezTo>
                        <a:pt x="129093" y="82062"/>
                        <a:pt x="120759" y="86329"/>
                        <a:pt x="117939" y="87291"/>
                      </a:cubicBezTo>
                      <a:cubicBezTo>
                        <a:pt x="116006" y="87948"/>
                        <a:pt x="112862" y="87205"/>
                        <a:pt x="110510" y="87882"/>
                      </a:cubicBezTo>
                      <a:cubicBezTo>
                        <a:pt x="108405" y="88491"/>
                        <a:pt x="107062" y="89967"/>
                        <a:pt x="105252" y="90510"/>
                      </a:cubicBezTo>
                      <a:cubicBezTo>
                        <a:pt x="101633" y="91606"/>
                        <a:pt x="100890" y="90720"/>
                        <a:pt x="97461" y="92349"/>
                      </a:cubicBezTo>
                      <a:cubicBezTo>
                        <a:pt x="95165" y="93444"/>
                        <a:pt x="93289" y="94968"/>
                        <a:pt x="90793" y="96464"/>
                      </a:cubicBezTo>
                      <a:cubicBezTo>
                        <a:pt x="91888" y="88215"/>
                        <a:pt x="83478" y="96406"/>
                        <a:pt x="81782" y="92587"/>
                      </a:cubicBezTo>
                      <a:cubicBezTo>
                        <a:pt x="80277" y="94082"/>
                        <a:pt x="77839" y="99874"/>
                        <a:pt x="76286" y="100426"/>
                      </a:cubicBezTo>
                      <a:cubicBezTo>
                        <a:pt x="75534" y="100693"/>
                        <a:pt x="72219" y="97378"/>
                        <a:pt x="69800" y="97883"/>
                      </a:cubicBezTo>
                      <a:cubicBezTo>
                        <a:pt x="71229" y="96749"/>
                        <a:pt x="72143" y="95492"/>
                        <a:pt x="73915" y="94635"/>
                      </a:cubicBezTo>
                      <a:cubicBezTo>
                        <a:pt x="73334" y="94606"/>
                        <a:pt x="72391" y="94301"/>
                        <a:pt x="71781" y="94254"/>
                      </a:cubicBezTo>
                      <a:cubicBezTo>
                        <a:pt x="72667" y="93168"/>
                        <a:pt x="73305" y="91549"/>
                        <a:pt x="74191" y="90596"/>
                      </a:cubicBezTo>
                      <a:cubicBezTo>
                        <a:pt x="68828" y="94854"/>
                        <a:pt x="65714" y="98121"/>
                        <a:pt x="60780" y="103141"/>
                      </a:cubicBezTo>
                      <a:cubicBezTo>
                        <a:pt x="55798" y="108227"/>
                        <a:pt x="51064" y="108579"/>
                        <a:pt x="44759" y="111808"/>
                      </a:cubicBezTo>
                      <a:cubicBezTo>
                        <a:pt x="44921" y="110884"/>
                        <a:pt x="44816" y="109979"/>
                        <a:pt x="44921" y="109113"/>
                      </a:cubicBezTo>
                      <a:cubicBezTo>
                        <a:pt x="43968" y="110694"/>
                        <a:pt x="42673" y="111361"/>
                        <a:pt x="41749" y="112332"/>
                      </a:cubicBezTo>
                      <a:cubicBezTo>
                        <a:pt x="42139" y="111151"/>
                        <a:pt x="42187" y="109960"/>
                        <a:pt x="42463" y="108770"/>
                      </a:cubicBezTo>
                      <a:cubicBezTo>
                        <a:pt x="40920" y="110275"/>
                        <a:pt x="39568" y="111199"/>
                        <a:pt x="38491" y="113237"/>
                      </a:cubicBezTo>
                      <a:cubicBezTo>
                        <a:pt x="38244" y="112704"/>
                        <a:pt x="37729" y="112151"/>
                        <a:pt x="37501" y="111389"/>
                      </a:cubicBezTo>
                      <a:cubicBezTo>
                        <a:pt x="37129" y="112942"/>
                        <a:pt x="35891" y="114361"/>
                        <a:pt x="35310" y="115752"/>
                      </a:cubicBezTo>
                      <a:cubicBezTo>
                        <a:pt x="33052" y="115152"/>
                        <a:pt x="34234" y="114675"/>
                        <a:pt x="31014" y="115266"/>
                      </a:cubicBezTo>
                      <a:cubicBezTo>
                        <a:pt x="31414" y="114561"/>
                        <a:pt x="31710" y="113837"/>
                        <a:pt x="32157" y="113142"/>
                      </a:cubicBezTo>
                      <a:cubicBezTo>
                        <a:pt x="28071" y="113837"/>
                        <a:pt x="24480" y="116114"/>
                        <a:pt x="21470" y="118914"/>
                      </a:cubicBezTo>
                      <a:cubicBezTo>
                        <a:pt x="23909" y="121905"/>
                        <a:pt x="14317" y="126058"/>
                        <a:pt x="11736" y="128144"/>
                      </a:cubicBezTo>
                      <a:cubicBezTo>
                        <a:pt x="7897" y="131249"/>
                        <a:pt x="5220" y="135440"/>
                        <a:pt x="848" y="137869"/>
                      </a:cubicBezTo>
                      <a:cubicBezTo>
                        <a:pt x="-2342" y="125381"/>
                        <a:pt x="4173" y="114056"/>
                        <a:pt x="8688" y="101921"/>
                      </a:cubicBezTo>
                      <a:cubicBezTo>
                        <a:pt x="10916" y="95949"/>
                        <a:pt x="13164" y="89977"/>
                        <a:pt x="15412" y="84005"/>
                      </a:cubicBezTo>
                      <a:cubicBezTo>
                        <a:pt x="16860" y="80176"/>
                        <a:pt x="19022" y="69270"/>
                        <a:pt x="22423" y="67346"/>
                      </a:cubicBezTo>
                      <a:cubicBezTo>
                        <a:pt x="24432" y="66203"/>
                        <a:pt x="26823" y="68165"/>
                        <a:pt x="26023" y="68593"/>
                      </a:cubicBezTo>
                      <a:cubicBezTo>
                        <a:pt x="27699" y="67698"/>
                        <a:pt x="28633" y="66126"/>
                        <a:pt x="30357" y="64621"/>
                      </a:cubicBezTo>
                      <a:cubicBezTo>
                        <a:pt x="31490" y="63640"/>
                        <a:pt x="32986" y="64212"/>
                        <a:pt x="34148" y="63155"/>
                      </a:cubicBezTo>
                      <a:cubicBezTo>
                        <a:pt x="36101" y="61373"/>
                        <a:pt x="36501" y="58802"/>
                        <a:pt x="39510" y="56792"/>
                      </a:cubicBezTo>
                      <a:cubicBezTo>
                        <a:pt x="44273" y="53611"/>
                        <a:pt x="48502" y="51439"/>
                        <a:pt x="51864" y="46838"/>
                      </a:cubicBezTo>
                      <a:cubicBezTo>
                        <a:pt x="53741" y="44276"/>
                        <a:pt x="54646" y="40676"/>
                        <a:pt x="56941" y="38075"/>
                      </a:cubicBezTo>
                      <a:cubicBezTo>
                        <a:pt x="59208" y="35513"/>
                        <a:pt x="62409" y="34103"/>
                        <a:pt x="64676" y="31684"/>
                      </a:cubicBezTo>
                      <a:cubicBezTo>
                        <a:pt x="68505" y="27617"/>
                        <a:pt x="70152" y="23369"/>
                        <a:pt x="74629" y="19683"/>
                      </a:cubicBezTo>
                      <a:cubicBezTo>
                        <a:pt x="77915" y="16977"/>
                        <a:pt x="81411" y="14491"/>
                        <a:pt x="84783" y="11882"/>
                      </a:cubicBezTo>
                      <a:cubicBezTo>
                        <a:pt x="89593" y="8157"/>
                        <a:pt x="99061" y="-2739"/>
                        <a:pt x="105414" y="642"/>
                      </a:cubicBezTo>
                      <a:cubicBezTo>
                        <a:pt x="103299" y="2909"/>
                        <a:pt x="102547" y="5843"/>
                        <a:pt x="105414" y="7405"/>
                      </a:cubicBezTo>
                      <a:lnTo>
                        <a:pt x="105414" y="7405"/>
                      </a:lnTo>
                      <a:close/>
                    </a:path>
                  </a:pathLst>
                </a:custGeom>
                <a:solidFill>
                  <a:srgbClr val="D6D6D2"/>
                </a:solidFill>
                <a:ln w="7144" cap="flat">
                  <a:solidFill>
                    <a:srgbClr val="FFFFFF"/>
                  </a:solidFill>
                  <a:prstDash val="solid"/>
                  <a:miter/>
                </a:ln>
              </p:spPr>
              <p:txBody>
                <a:bodyPr rtlCol="0" anchor="ctr"/>
                <a:lstStyle/>
                <a:p>
                  <a:endParaRPr lang="en-US"/>
                </a:p>
              </p:txBody>
            </p:sp>
            <p:sp>
              <p:nvSpPr>
                <p:cNvPr id="499" name="Freeform: Shape 498">
                  <a:extLst>
                    <a:ext uri="{FF2B5EF4-FFF2-40B4-BE49-F238E27FC236}">
                      <a16:creationId xmlns:a16="http://schemas.microsoft.com/office/drawing/2014/main" id="{C974664A-FD6F-4C39-BE3F-04C768B778CE}"/>
                    </a:ext>
                  </a:extLst>
                </p:cNvPr>
                <p:cNvSpPr/>
                <p:nvPr/>
              </p:nvSpPr>
              <p:spPr>
                <a:xfrm>
                  <a:off x="3371620" y="3113502"/>
                  <a:ext cx="114642" cy="55794"/>
                </a:xfrm>
                <a:custGeom>
                  <a:avLst/>
                  <a:gdLst>
                    <a:gd name="connsiteX0" fmla="*/ 110290 w 114642"/>
                    <a:gd name="connsiteY0" fmla="*/ 132 h 55794"/>
                    <a:gd name="connsiteX1" fmla="*/ 95831 w 114642"/>
                    <a:gd name="connsiteY1" fmla="*/ 40051 h 55794"/>
                    <a:gd name="connsiteX2" fmla="*/ 114643 w 114642"/>
                    <a:gd name="connsiteY2" fmla="*/ 40032 h 55794"/>
                    <a:gd name="connsiteX3" fmla="*/ 112462 w 114642"/>
                    <a:gd name="connsiteY3" fmla="*/ 42861 h 55794"/>
                    <a:gd name="connsiteX4" fmla="*/ 112795 w 114642"/>
                    <a:gd name="connsiteY4" fmla="*/ 40984 h 55794"/>
                    <a:gd name="connsiteX5" fmla="*/ 85563 w 114642"/>
                    <a:gd name="connsiteY5" fmla="*/ 55272 h 55794"/>
                    <a:gd name="connsiteX6" fmla="*/ 85935 w 114642"/>
                    <a:gd name="connsiteY6" fmla="*/ 49043 h 55794"/>
                    <a:gd name="connsiteX7" fmla="*/ 90373 w 114642"/>
                    <a:gd name="connsiteY7" fmla="*/ 42966 h 55794"/>
                    <a:gd name="connsiteX8" fmla="*/ 86401 w 114642"/>
                    <a:gd name="connsiteY8" fmla="*/ 45195 h 55794"/>
                    <a:gd name="connsiteX9" fmla="*/ 86411 w 114642"/>
                    <a:gd name="connsiteY9" fmla="*/ 43918 h 55794"/>
                    <a:gd name="connsiteX10" fmla="*/ 89497 w 114642"/>
                    <a:gd name="connsiteY10" fmla="*/ 35422 h 55794"/>
                    <a:gd name="connsiteX11" fmla="*/ 81363 w 114642"/>
                    <a:gd name="connsiteY11" fmla="*/ 32021 h 55794"/>
                    <a:gd name="connsiteX12" fmla="*/ 87440 w 114642"/>
                    <a:gd name="connsiteY12" fmla="*/ 27745 h 55794"/>
                    <a:gd name="connsiteX13" fmla="*/ 84277 w 114642"/>
                    <a:gd name="connsiteY13" fmla="*/ 25754 h 55794"/>
                    <a:gd name="connsiteX14" fmla="*/ 92631 w 114642"/>
                    <a:gd name="connsiteY14" fmla="*/ 19010 h 55794"/>
                    <a:gd name="connsiteX15" fmla="*/ 89497 w 114642"/>
                    <a:gd name="connsiteY15" fmla="*/ 20877 h 55794"/>
                    <a:gd name="connsiteX16" fmla="*/ 103156 w 114642"/>
                    <a:gd name="connsiteY16" fmla="*/ 11038 h 55794"/>
                    <a:gd name="connsiteX17" fmla="*/ 100070 w 114642"/>
                    <a:gd name="connsiteY17" fmla="*/ 9942 h 55794"/>
                    <a:gd name="connsiteX18" fmla="*/ 105032 w 114642"/>
                    <a:gd name="connsiteY18" fmla="*/ 6790 h 55794"/>
                    <a:gd name="connsiteX19" fmla="*/ 102232 w 114642"/>
                    <a:gd name="connsiteY19" fmla="*/ 6990 h 55794"/>
                    <a:gd name="connsiteX20" fmla="*/ 103622 w 114642"/>
                    <a:gd name="connsiteY20" fmla="*/ 4456 h 55794"/>
                    <a:gd name="connsiteX21" fmla="*/ 93726 w 114642"/>
                    <a:gd name="connsiteY21" fmla="*/ 10914 h 55794"/>
                    <a:gd name="connsiteX22" fmla="*/ 93612 w 114642"/>
                    <a:gd name="connsiteY22" fmla="*/ 9076 h 55794"/>
                    <a:gd name="connsiteX23" fmla="*/ 91269 w 114642"/>
                    <a:gd name="connsiteY23" fmla="*/ 12724 h 55794"/>
                    <a:gd name="connsiteX24" fmla="*/ 90830 w 114642"/>
                    <a:gd name="connsiteY24" fmla="*/ 10162 h 55794"/>
                    <a:gd name="connsiteX25" fmla="*/ 82344 w 114642"/>
                    <a:gd name="connsiteY25" fmla="*/ 14400 h 55794"/>
                    <a:gd name="connsiteX26" fmla="*/ 79962 w 114642"/>
                    <a:gd name="connsiteY26" fmla="*/ 20829 h 55794"/>
                    <a:gd name="connsiteX27" fmla="*/ 74762 w 114642"/>
                    <a:gd name="connsiteY27" fmla="*/ 38517 h 55794"/>
                    <a:gd name="connsiteX28" fmla="*/ 73342 w 114642"/>
                    <a:gd name="connsiteY28" fmla="*/ 42327 h 55794"/>
                    <a:gd name="connsiteX29" fmla="*/ 70647 w 114642"/>
                    <a:gd name="connsiteY29" fmla="*/ 35098 h 55794"/>
                    <a:gd name="connsiteX30" fmla="*/ 73238 w 114642"/>
                    <a:gd name="connsiteY30" fmla="*/ 51633 h 55794"/>
                    <a:gd name="connsiteX31" fmla="*/ 62370 w 114642"/>
                    <a:gd name="connsiteY31" fmla="*/ 42089 h 55794"/>
                    <a:gd name="connsiteX32" fmla="*/ 60474 w 114642"/>
                    <a:gd name="connsiteY32" fmla="*/ 45185 h 55794"/>
                    <a:gd name="connsiteX33" fmla="*/ 59350 w 114642"/>
                    <a:gd name="connsiteY33" fmla="*/ 40356 h 55794"/>
                    <a:gd name="connsiteX34" fmla="*/ 52359 w 114642"/>
                    <a:gd name="connsiteY34" fmla="*/ 41537 h 55794"/>
                    <a:gd name="connsiteX35" fmla="*/ 64408 w 114642"/>
                    <a:gd name="connsiteY35" fmla="*/ 26373 h 55794"/>
                    <a:gd name="connsiteX36" fmla="*/ 63608 w 114642"/>
                    <a:gd name="connsiteY36" fmla="*/ 28983 h 55794"/>
                    <a:gd name="connsiteX37" fmla="*/ 65703 w 114642"/>
                    <a:gd name="connsiteY37" fmla="*/ 22515 h 55794"/>
                    <a:gd name="connsiteX38" fmla="*/ 55331 w 114642"/>
                    <a:gd name="connsiteY38" fmla="*/ 19572 h 55794"/>
                    <a:gd name="connsiteX39" fmla="*/ 55007 w 114642"/>
                    <a:gd name="connsiteY39" fmla="*/ 17372 h 55794"/>
                    <a:gd name="connsiteX40" fmla="*/ 53769 w 114642"/>
                    <a:gd name="connsiteY40" fmla="*/ 13829 h 55794"/>
                    <a:gd name="connsiteX41" fmla="*/ 50540 w 114642"/>
                    <a:gd name="connsiteY41" fmla="*/ 8971 h 55794"/>
                    <a:gd name="connsiteX42" fmla="*/ 50911 w 114642"/>
                    <a:gd name="connsiteY42" fmla="*/ 3999 h 55794"/>
                    <a:gd name="connsiteX43" fmla="*/ 44120 w 114642"/>
                    <a:gd name="connsiteY43" fmla="*/ 1418 h 55794"/>
                    <a:gd name="connsiteX44" fmla="*/ 34900 w 114642"/>
                    <a:gd name="connsiteY44" fmla="*/ 3732 h 55794"/>
                    <a:gd name="connsiteX45" fmla="*/ 26089 w 114642"/>
                    <a:gd name="connsiteY45" fmla="*/ 3208 h 55794"/>
                    <a:gd name="connsiteX46" fmla="*/ 0 w 114642"/>
                    <a:gd name="connsiteY46" fmla="*/ 16248 h 55794"/>
                    <a:gd name="connsiteX47" fmla="*/ 5772 w 114642"/>
                    <a:gd name="connsiteY47" fmla="*/ 3627 h 55794"/>
                    <a:gd name="connsiteX48" fmla="*/ 19250 w 114642"/>
                    <a:gd name="connsiteY48" fmla="*/ 122 h 55794"/>
                    <a:gd name="connsiteX49" fmla="*/ 49187 w 114642"/>
                    <a:gd name="connsiteY49" fmla="*/ 122 h 55794"/>
                    <a:gd name="connsiteX50" fmla="*/ 110290 w 114642"/>
                    <a:gd name="connsiteY50" fmla="*/ 132 h 55794"/>
                    <a:gd name="connsiteX51" fmla="*/ 110290 w 114642"/>
                    <a:gd name="connsiteY51" fmla="*/ 132 h 55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14642" h="55794">
                      <a:moveTo>
                        <a:pt x="110290" y="132"/>
                      </a:moveTo>
                      <a:cubicBezTo>
                        <a:pt x="105404" y="13419"/>
                        <a:pt x="100575" y="26725"/>
                        <a:pt x="95831" y="40051"/>
                      </a:cubicBezTo>
                      <a:cubicBezTo>
                        <a:pt x="102099" y="40051"/>
                        <a:pt x="108366" y="40089"/>
                        <a:pt x="114643" y="40032"/>
                      </a:cubicBezTo>
                      <a:cubicBezTo>
                        <a:pt x="114081" y="41280"/>
                        <a:pt x="113519" y="42042"/>
                        <a:pt x="112462" y="42861"/>
                      </a:cubicBezTo>
                      <a:cubicBezTo>
                        <a:pt x="112528" y="42080"/>
                        <a:pt x="113386" y="41737"/>
                        <a:pt x="112795" y="40984"/>
                      </a:cubicBezTo>
                      <a:cubicBezTo>
                        <a:pt x="104861" y="47461"/>
                        <a:pt x="97784" y="58301"/>
                        <a:pt x="85563" y="55272"/>
                      </a:cubicBezTo>
                      <a:cubicBezTo>
                        <a:pt x="88411" y="53100"/>
                        <a:pt x="89106" y="50605"/>
                        <a:pt x="85935" y="49043"/>
                      </a:cubicBezTo>
                      <a:cubicBezTo>
                        <a:pt x="88144" y="47547"/>
                        <a:pt x="89411" y="45299"/>
                        <a:pt x="90373" y="42966"/>
                      </a:cubicBezTo>
                      <a:cubicBezTo>
                        <a:pt x="89249" y="43775"/>
                        <a:pt x="87563" y="44271"/>
                        <a:pt x="86401" y="45195"/>
                      </a:cubicBezTo>
                      <a:cubicBezTo>
                        <a:pt x="86401" y="44766"/>
                        <a:pt x="86411" y="44347"/>
                        <a:pt x="86411" y="43918"/>
                      </a:cubicBezTo>
                      <a:cubicBezTo>
                        <a:pt x="82401" y="47728"/>
                        <a:pt x="74752" y="34460"/>
                        <a:pt x="89497" y="35422"/>
                      </a:cubicBezTo>
                      <a:cubicBezTo>
                        <a:pt x="86430" y="33907"/>
                        <a:pt x="85668" y="27583"/>
                        <a:pt x="81363" y="32021"/>
                      </a:cubicBezTo>
                      <a:cubicBezTo>
                        <a:pt x="82725" y="28992"/>
                        <a:pt x="86630" y="29402"/>
                        <a:pt x="87440" y="27745"/>
                      </a:cubicBezTo>
                      <a:cubicBezTo>
                        <a:pt x="88678" y="25182"/>
                        <a:pt x="87649" y="23830"/>
                        <a:pt x="84277" y="25754"/>
                      </a:cubicBezTo>
                      <a:cubicBezTo>
                        <a:pt x="85687" y="20753"/>
                        <a:pt x="90621" y="24373"/>
                        <a:pt x="92631" y="19010"/>
                      </a:cubicBezTo>
                      <a:cubicBezTo>
                        <a:pt x="91707" y="19763"/>
                        <a:pt x="90488" y="20210"/>
                        <a:pt x="89497" y="20877"/>
                      </a:cubicBezTo>
                      <a:cubicBezTo>
                        <a:pt x="90107" y="14086"/>
                        <a:pt x="97088" y="10628"/>
                        <a:pt x="103156" y="11038"/>
                      </a:cubicBezTo>
                      <a:cubicBezTo>
                        <a:pt x="102137" y="10790"/>
                        <a:pt x="101117" y="10228"/>
                        <a:pt x="100070" y="9942"/>
                      </a:cubicBezTo>
                      <a:cubicBezTo>
                        <a:pt x="101822" y="9009"/>
                        <a:pt x="103270" y="7685"/>
                        <a:pt x="105032" y="6790"/>
                      </a:cubicBezTo>
                      <a:cubicBezTo>
                        <a:pt x="104099" y="6856"/>
                        <a:pt x="103165" y="6923"/>
                        <a:pt x="102232" y="6990"/>
                      </a:cubicBezTo>
                      <a:cubicBezTo>
                        <a:pt x="102699" y="6151"/>
                        <a:pt x="103156" y="5304"/>
                        <a:pt x="103622" y="4456"/>
                      </a:cubicBezTo>
                      <a:cubicBezTo>
                        <a:pt x="98517" y="4561"/>
                        <a:pt x="98955" y="10295"/>
                        <a:pt x="93726" y="10914"/>
                      </a:cubicBezTo>
                      <a:cubicBezTo>
                        <a:pt x="93878" y="9704"/>
                        <a:pt x="93774" y="10133"/>
                        <a:pt x="93612" y="9076"/>
                      </a:cubicBezTo>
                      <a:cubicBezTo>
                        <a:pt x="93050" y="10533"/>
                        <a:pt x="92012" y="11486"/>
                        <a:pt x="91269" y="12724"/>
                      </a:cubicBezTo>
                      <a:cubicBezTo>
                        <a:pt x="91126" y="11866"/>
                        <a:pt x="90973" y="11019"/>
                        <a:pt x="90830" y="10162"/>
                      </a:cubicBezTo>
                      <a:cubicBezTo>
                        <a:pt x="88316" y="12752"/>
                        <a:pt x="86477" y="17543"/>
                        <a:pt x="82344" y="14400"/>
                      </a:cubicBezTo>
                      <a:cubicBezTo>
                        <a:pt x="83020" y="16496"/>
                        <a:pt x="85782" y="24592"/>
                        <a:pt x="79962" y="20829"/>
                      </a:cubicBezTo>
                      <a:cubicBezTo>
                        <a:pt x="81086" y="25001"/>
                        <a:pt x="75867" y="34317"/>
                        <a:pt x="74762" y="38517"/>
                      </a:cubicBezTo>
                      <a:cubicBezTo>
                        <a:pt x="74266" y="40413"/>
                        <a:pt x="77162" y="44013"/>
                        <a:pt x="73342" y="42327"/>
                      </a:cubicBezTo>
                      <a:cubicBezTo>
                        <a:pt x="70723" y="41175"/>
                        <a:pt x="70323" y="37632"/>
                        <a:pt x="70647" y="35098"/>
                      </a:cubicBezTo>
                      <a:cubicBezTo>
                        <a:pt x="66989" y="41718"/>
                        <a:pt x="76876" y="45204"/>
                        <a:pt x="73238" y="51633"/>
                      </a:cubicBezTo>
                      <a:cubicBezTo>
                        <a:pt x="70237" y="47204"/>
                        <a:pt x="62351" y="47766"/>
                        <a:pt x="62370" y="42089"/>
                      </a:cubicBezTo>
                      <a:cubicBezTo>
                        <a:pt x="61932" y="43366"/>
                        <a:pt x="61008" y="44051"/>
                        <a:pt x="60474" y="45185"/>
                      </a:cubicBezTo>
                      <a:cubicBezTo>
                        <a:pt x="59884" y="43089"/>
                        <a:pt x="59055" y="42680"/>
                        <a:pt x="59350" y="40356"/>
                      </a:cubicBezTo>
                      <a:cubicBezTo>
                        <a:pt x="56988" y="41051"/>
                        <a:pt x="54731" y="41442"/>
                        <a:pt x="52359" y="41537"/>
                      </a:cubicBezTo>
                      <a:cubicBezTo>
                        <a:pt x="54226" y="34479"/>
                        <a:pt x="63103" y="33650"/>
                        <a:pt x="64408" y="26373"/>
                      </a:cubicBezTo>
                      <a:cubicBezTo>
                        <a:pt x="64141" y="27240"/>
                        <a:pt x="63875" y="28116"/>
                        <a:pt x="63608" y="28983"/>
                      </a:cubicBezTo>
                      <a:cubicBezTo>
                        <a:pt x="67075" y="27859"/>
                        <a:pt x="67742" y="25316"/>
                        <a:pt x="65703" y="22515"/>
                      </a:cubicBezTo>
                      <a:cubicBezTo>
                        <a:pt x="62827" y="25859"/>
                        <a:pt x="57550" y="22392"/>
                        <a:pt x="55331" y="19572"/>
                      </a:cubicBezTo>
                      <a:cubicBezTo>
                        <a:pt x="54864" y="18982"/>
                        <a:pt x="55035" y="17401"/>
                        <a:pt x="55007" y="17372"/>
                      </a:cubicBezTo>
                      <a:cubicBezTo>
                        <a:pt x="57026" y="19744"/>
                        <a:pt x="53064" y="12028"/>
                        <a:pt x="53769" y="13829"/>
                      </a:cubicBezTo>
                      <a:cubicBezTo>
                        <a:pt x="53150" y="12238"/>
                        <a:pt x="51187" y="10866"/>
                        <a:pt x="50540" y="8971"/>
                      </a:cubicBezTo>
                      <a:cubicBezTo>
                        <a:pt x="50311" y="8295"/>
                        <a:pt x="50959" y="4656"/>
                        <a:pt x="50911" y="3999"/>
                      </a:cubicBezTo>
                      <a:cubicBezTo>
                        <a:pt x="48073" y="4104"/>
                        <a:pt x="46453" y="1560"/>
                        <a:pt x="44120" y="1418"/>
                      </a:cubicBezTo>
                      <a:cubicBezTo>
                        <a:pt x="41148" y="1227"/>
                        <a:pt x="37700" y="2865"/>
                        <a:pt x="34900" y="3732"/>
                      </a:cubicBezTo>
                      <a:cubicBezTo>
                        <a:pt x="32556" y="4466"/>
                        <a:pt x="26127" y="8895"/>
                        <a:pt x="26089" y="3208"/>
                      </a:cubicBezTo>
                      <a:cubicBezTo>
                        <a:pt x="17888" y="8142"/>
                        <a:pt x="9058" y="11076"/>
                        <a:pt x="0" y="16248"/>
                      </a:cubicBezTo>
                      <a:cubicBezTo>
                        <a:pt x="1705" y="12505"/>
                        <a:pt x="3181" y="6790"/>
                        <a:pt x="5772" y="3627"/>
                      </a:cubicBezTo>
                      <a:cubicBezTo>
                        <a:pt x="9592" y="-1011"/>
                        <a:pt x="12697" y="122"/>
                        <a:pt x="19250" y="122"/>
                      </a:cubicBezTo>
                      <a:cubicBezTo>
                        <a:pt x="29232" y="122"/>
                        <a:pt x="39205" y="122"/>
                        <a:pt x="49187" y="122"/>
                      </a:cubicBezTo>
                      <a:cubicBezTo>
                        <a:pt x="69561" y="132"/>
                        <a:pt x="89926" y="132"/>
                        <a:pt x="110290" y="132"/>
                      </a:cubicBezTo>
                      <a:lnTo>
                        <a:pt x="110290" y="132"/>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00" name="Freeform: Shape 499">
                  <a:extLst>
                    <a:ext uri="{FF2B5EF4-FFF2-40B4-BE49-F238E27FC236}">
                      <a16:creationId xmlns:a16="http://schemas.microsoft.com/office/drawing/2014/main" id="{886D354C-6B14-4B9B-A70F-3658B1888665}"/>
                    </a:ext>
                  </a:extLst>
                </p:cNvPr>
                <p:cNvSpPr/>
                <p:nvPr/>
              </p:nvSpPr>
              <p:spPr>
                <a:xfrm>
                  <a:off x="3577996" y="3014107"/>
                  <a:ext cx="93768" cy="43872"/>
                </a:xfrm>
                <a:custGeom>
                  <a:avLst/>
                  <a:gdLst>
                    <a:gd name="connsiteX0" fmla="*/ 81775 w 93768"/>
                    <a:gd name="connsiteY0" fmla="*/ 5068 h 43872"/>
                    <a:gd name="connsiteX1" fmla="*/ 83670 w 93768"/>
                    <a:gd name="connsiteY1" fmla="*/ 8363 h 43872"/>
                    <a:gd name="connsiteX2" fmla="*/ 76365 w 93768"/>
                    <a:gd name="connsiteY2" fmla="*/ 12145 h 43872"/>
                    <a:gd name="connsiteX3" fmla="*/ 69392 w 93768"/>
                    <a:gd name="connsiteY3" fmla="*/ 17355 h 43872"/>
                    <a:gd name="connsiteX4" fmla="*/ 75584 w 93768"/>
                    <a:gd name="connsiteY4" fmla="*/ 28194 h 43872"/>
                    <a:gd name="connsiteX5" fmla="*/ 78003 w 93768"/>
                    <a:gd name="connsiteY5" fmla="*/ 34709 h 43872"/>
                    <a:gd name="connsiteX6" fmla="*/ 87671 w 93768"/>
                    <a:gd name="connsiteY6" fmla="*/ 34805 h 43872"/>
                    <a:gd name="connsiteX7" fmla="*/ 91262 w 93768"/>
                    <a:gd name="connsiteY7" fmla="*/ 29271 h 43872"/>
                    <a:gd name="connsiteX8" fmla="*/ 88833 w 93768"/>
                    <a:gd name="connsiteY8" fmla="*/ 26680 h 43872"/>
                    <a:gd name="connsiteX9" fmla="*/ 91652 w 93768"/>
                    <a:gd name="connsiteY9" fmla="*/ 37176 h 43872"/>
                    <a:gd name="connsiteX10" fmla="*/ 69697 w 93768"/>
                    <a:gd name="connsiteY10" fmla="*/ 42463 h 43872"/>
                    <a:gd name="connsiteX11" fmla="*/ 71716 w 93768"/>
                    <a:gd name="connsiteY11" fmla="*/ 36919 h 43872"/>
                    <a:gd name="connsiteX12" fmla="*/ 55038 w 93768"/>
                    <a:gd name="connsiteY12" fmla="*/ 43872 h 43872"/>
                    <a:gd name="connsiteX13" fmla="*/ 58915 w 93768"/>
                    <a:gd name="connsiteY13" fmla="*/ 35795 h 43872"/>
                    <a:gd name="connsiteX14" fmla="*/ 56067 w 93768"/>
                    <a:gd name="connsiteY14" fmla="*/ 37024 h 43872"/>
                    <a:gd name="connsiteX15" fmla="*/ 55914 w 93768"/>
                    <a:gd name="connsiteY15" fmla="*/ 27251 h 43872"/>
                    <a:gd name="connsiteX16" fmla="*/ 16833 w 93768"/>
                    <a:gd name="connsiteY16" fmla="*/ 27528 h 43872"/>
                    <a:gd name="connsiteX17" fmla="*/ 2593 w 93768"/>
                    <a:gd name="connsiteY17" fmla="*/ 19965 h 43872"/>
                    <a:gd name="connsiteX18" fmla="*/ 13671 w 93768"/>
                    <a:gd name="connsiteY18" fmla="*/ 5430 h 43872"/>
                    <a:gd name="connsiteX19" fmla="*/ 27911 w 93768"/>
                    <a:gd name="connsiteY19" fmla="*/ 4515 h 43872"/>
                    <a:gd name="connsiteX20" fmla="*/ 56038 w 93768"/>
                    <a:gd name="connsiteY20" fmla="*/ 5344 h 43872"/>
                    <a:gd name="connsiteX21" fmla="*/ 69792 w 93768"/>
                    <a:gd name="connsiteY21" fmla="*/ 4487 h 43872"/>
                    <a:gd name="connsiteX22" fmla="*/ 83165 w 93768"/>
                    <a:gd name="connsiteY22" fmla="*/ 153 h 43872"/>
                    <a:gd name="connsiteX23" fmla="*/ 81775 w 93768"/>
                    <a:gd name="connsiteY23" fmla="*/ 5068 h 43872"/>
                    <a:gd name="connsiteX24" fmla="*/ 81775 w 93768"/>
                    <a:gd name="connsiteY24" fmla="*/ 5068 h 4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3768" h="43872">
                      <a:moveTo>
                        <a:pt x="81775" y="5068"/>
                      </a:moveTo>
                      <a:cubicBezTo>
                        <a:pt x="84556" y="7068"/>
                        <a:pt x="85575" y="6249"/>
                        <a:pt x="83670" y="8363"/>
                      </a:cubicBezTo>
                      <a:cubicBezTo>
                        <a:pt x="82384" y="9792"/>
                        <a:pt x="78117" y="11040"/>
                        <a:pt x="76365" y="12145"/>
                      </a:cubicBezTo>
                      <a:cubicBezTo>
                        <a:pt x="73945" y="13659"/>
                        <a:pt x="71783" y="15764"/>
                        <a:pt x="69392" y="17355"/>
                      </a:cubicBezTo>
                      <a:cubicBezTo>
                        <a:pt x="72793" y="19527"/>
                        <a:pt x="82022" y="22489"/>
                        <a:pt x="75584" y="28194"/>
                      </a:cubicBezTo>
                      <a:cubicBezTo>
                        <a:pt x="79832" y="30099"/>
                        <a:pt x="75479" y="32404"/>
                        <a:pt x="78003" y="34709"/>
                      </a:cubicBezTo>
                      <a:cubicBezTo>
                        <a:pt x="80546" y="37024"/>
                        <a:pt x="84889" y="36262"/>
                        <a:pt x="87671" y="34805"/>
                      </a:cubicBezTo>
                      <a:cubicBezTo>
                        <a:pt x="91900" y="32604"/>
                        <a:pt x="91843" y="33871"/>
                        <a:pt x="91262" y="29271"/>
                      </a:cubicBezTo>
                      <a:cubicBezTo>
                        <a:pt x="90909" y="26508"/>
                        <a:pt x="91157" y="26185"/>
                        <a:pt x="88833" y="26680"/>
                      </a:cubicBezTo>
                      <a:cubicBezTo>
                        <a:pt x="88614" y="21136"/>
                        <a:pt x="97786" y="31614"/>
                        <a:pt x="91652" y="37176"/>
                      </a:cubicBezTo>
                      <a:cubicBezTo>
                        <a:pt x="88795" y="39767"/>
                        <a:pt x="74450" y="41472"/>
                        <a:pt x="69697" y="42463"/>
                      </a:cubicBezTo>
                      <a:cubicBezTo>
                        <a:pt x="70488" y="40824"/>
                        <a:pt x="70850" y="38615"/>
                        <a:pt x="71716" y="36919"/>
                      </a:cubicBezTo>
                      <a:cubicBezTo>
                        <a:pt x="67954" y="37443"/>
                        <a:pt x="58505" y="41624"/>
                        <a:pt x="55038" y="43872"/>
                      </a:cubicBezTo>
                      <a:cubicBezTo>
                        <a:pt x="54905" y="40748"/>
                        <a:pt x="56438" y="37815"/>
                        <a:pt x="58915" y="35795"/>
                      </a:cubicBezTo>
                      <a:cubicBezTo>
                        <a:pt x="58229" y="36233"/>
                        <a:pt x="56886" y="36529"/>
                        <a:pt x="56067" y="37024"/>
                      </a:cubicBezTo>
                      <a:cubicBezTo>
                        <a:pt x="53571" y="34043"/>
                        <a:pt x="54952" y="30395"/>
                        <a:pt x="55914" y="27251"/>
                      </a:cubicBezTo>
                      <a:cubicBezTo>
                        <a:pt x="44370" y="27413"/>
                        <a:pt x="27435" y="23422"/>
                        <a:pt x="16833" y="27528"/>
                      </a:cubicBezTo>
                      <a:cubicBezTo>
                        <a:pt x="12728" y="22251"/>
                        <a:pt x="-6979" y="32585"/>
                        <a:pt x="2593" y="19965"/>
                      </a:cubicBezTo>
                      <a:cubicBezTo>
                        <a:pt x="5660" y="15917"/>
                        <a:pt x="9451" y="8173"/>
                        <a:pt x="13671" y="5430"/>
                      </a:cubicBezTo>
                      <a:cubicBezTo>
                        <a:pt x="17205" y="3134"/>
                        <a:pt x="23301" y="4363"/>
                        <a:pt x="27911" y="4515"/>
                      </a:cubicBezTo>
                      <a:cubicBezTo>
                        <a:pt x="37284" y="4830"/>
                        <a:pt x="46656" y="5077"/>
                        <a:pt x="56038" y="5344"/>
                      </a:cubicBezTo>
                      <a:cubicBezTo>
                        <a:pt x="60829" y="5477"/>
                        <a:pt x="65268" y="5972"/>
                        <a:pt x="69792" y="4487"/>
                      </a:cubicBezTo>
                      <a:cubicBezTo>
                        <a:pt x="74460" y="2953"/>
                        <a:pt x="77736" y="-800"/>
                        <a:pt x="83165" y="153"/>
                      </a:cubicBezTo>
                      <a:cubicBezTo>
                        <a:pt x="81584" y="1972"/>
                        <a:pt x="82280" y="2896"/>
                        <a:pt x="81775" y="5068"/>
                      </a:cubicBezTo>
                      <a:lnTo>
                        <a:pt x="81775" y="5068"/>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01" name="Freeform: Shape 500">
                  <a:extLst>
                    <a:ext uri="{FF2B5EF4-FFF2-40B4-BE49-F238E27FC236}">
                      <a16:creationId xmlns:a16="http://schemas.microsoft.com/office/drawing/2014/main" id="{E902CADA-694F-43FE-B38A-9A270982BE81}"/>
                    </a:ext>
                  </a:extLst>
                </p:cNvPr>
                <p:cNvSpPr/>
                <p:nvPr/>
              </p:nvSpPr>
              <p:spPr>
                <a:xfrm>
                  <a:off x="2831892" y="3323888"/>
                  <a:ext cx="136906" cy="128092"/>
                </a:xfrm>
                <a:custGeom>
                  <a:avLst/>
                  <a:gdLst>
                    <a:gd name="connsiteX0" fmla="*/ 94749 w 136906"/>
                    <a:gd name="connsiteY0" fmla="*/ 64466 h 128092"/>
                    <a:gd name="connsiteX1" fmla="*/ 136906 w 136906"/>
                    <a:gd name="connsiteY1" fmla="*/ 64466 h 128092"/>
                    <a:gd name="connsiteX2" fmla="*/ 129677 w 136906"/>
                    <a:gd name="connsiteY2" fmla="*/ 77753 h 128092"/>
                    <a:gd name="connsiteX3" fmla="*/ 133058 w 136906"/>
                    <a:gd name="connsiteY3" fmla="*/ 89936 h 128092"/>
                    <a:gd name="connsiteX4" fmla="*/ 118571 w 136906"/>
                    <a:gd name="connsiteY4" fmla="*/ 84649 h 128092"/>
                    <a:gd name="connsiteX5" fmla="*/ 106207 w 136906"/>
                    <a:gd name="connsiteY5" fmla="*/ 91584 h 128092"/>
                    <a:gd name="connsiteX6" fmla="*/ 118485 w 136906"/>
                    <a:gd name="connsiteY6" fmla="*/ 93593 h 128092"/>
                    <a:gd name="connsiteX7" fmla="*/ 128162 w 136906"/>
                    <a:gd name="connsiteY7" fmla="*/ 91450 h 128092"/>
                    <a:gd name="connsiteX8" fmla="*/ 122981 w 136906"/>
                    <a:gd name="connsiteY8" fmla="*/ 97603 h 128092"/>
                    <a:gd name="connsiteX9" fmla="*/ 134782 w 136906"/>
                    <a:gd name="connsiteY9" fmla="*/ 94546 h 128092"/>
                    <a:gd name="connsiteX10" fmla="*/ 130410 w 136906"/>
                    <a:gd name="connsiteY10" fmla="*/ 102652 h 128092"/>
                    <a:gd name="connsiteX11" fmla="*/ 121933 w 136906"/>
                    <a:gd name="connsiteY11" fmla="*/ 106252 h 128092"/>
                    <a:gd name="connsiteX12" fmla="*/ 124533 w 136906"/>
                    <a:gd name="connsiteY12" fmla="*/ 114567 h 128092"/>
                    <a:gd name="connsiteX13" fmla="*/ 132620 w 136906"/>
                    <a:gd name="connsiteY13" fmla="*/ 116930 h 128092"/>
                    <a:gd name="connsiteX14" fmla="*/ 135887 w 136906"/>
                    <a:gd name="connsiteY14" fmla="*/ 121111 h 128092"/>
                    <a:gd name="connsiteX15" fmla="*/ 129543 w 136906"/>
                    <a:gd name="connsiteY15" fmla="*/ 126979 h 128092"/>
                    <a:gd name="connsiteX16" fmla="*/ 122609 w 136906"/>
                    <a:gd name="connsiteY16" fmla="*/ 128093 h 128092"/>
                    <a:gd name="connsiteX17" fmla="*/ 117542 w 136906"/>
                    <a:gd name="connsiteY17" fmla="*/ 117568 h 128092"/>
                    <a:gd name="connsiteX18" fmla="*/ 114551 w 136906"/>
                    <a:gd name="connsiteY18" fmla="*/ 117006 h 128092"/>
                    <a:gd name="connsiteX19" fmla="*/ 114837 w 136906"/>
                    <a:gd name="connsiteY19" fmla="*/ 114672 h 128092"/>
                    <a:gd name="connsiteX20" fmla="*/ 106217 w 136906"/>
                    <a:gd name="connsiteY20" fmla="*/ 110576 h 128092"/>
                    <a:gd name="connsiteX21" fmla="*/ 105569 w 136906"/>
                    <a:gd name="connsiteY21" fmla="*/ 118606 h 128092"/>
                    <a:gd name="connsiteX22" fmla="*/ 102035 w 136906"/>
                    <a:gd name="connsiteY22" fmla="*/ 123216 h 128092"/>
                    <a:gd name="connsiteX23" fmla="*/ 98625 w 136906"/>
                    <a:gd name="connsiteY23" fmla="*/ 120463 h 128092"/>
                    <a:gd name="connsiteX24" fmla="*/ 86881 w 136906"/>
                    <a:gd name="connsiteY24" fmla="*/ 122168 h 128092"/>
                    <a:gd name="connsiteX25" fmla="*/ 69850 w 136906"/>
                    <a:gd name="connsiteY25" fmla="*/ 118396 h 128092"/>
                    <a:gd name="connsiteX26" fmla="*/ 74308 w 136906"/>
                    <a:gd name="connsiteY26" fmla="*/ 117492 h 128092"/>
                    <a:gd name="connsiteX27" fmla="*/ 74451 w 136906"/>
                    <a:gd name="connsiteY27" fmla="*/ 109738 h 128092"/>
                    <a:gd name="connsiteX28" fmla="*/ 64593 w 136906"/>
                    <a:gd name="connsiteY28" fmla="*/ 105204 h 128092"/>
                    <a:gd name="connsiteX29" fmla="*/ 52515 w 136906"/>
                    <a:gd name="connsiteY29" fmla="*/ 103576 h 128092"/>
                    <a:gd name="connsiteX30" fmla="*/ 47343 w 136906"/>
                    <a:gd name="connsiteY30" fmla="*/ 109395 h 128092"/>
                    <a:gd name="connsiteX31" fmla="*/ 30617 w 136906"/>
                    <a:gd name="connsiteY31" fmla="*/ 107795 h 128092"/>
                    <a:gd name="connsiteX32" fmla="*/ 16672 w 136906"/>
                    <a:gd name="connsiteY32" fmla="*/ 102747 h 128092"/>
                    <a:gd name="connsiteX33" fmla="*/ 1651 w 136906"/>
                    <a:gd name="connsiteY33" fmla="*/ 104271 h 128092"/>
                    <a:gd name="connsiteX34" fmla="*/ 3642 w 136906"/>
                    <a:gd name="connsiteY34" fmla="*/ 99708 h 128092"/>
                    <a:gd name="connsiteX35" fmla="*/ 9938 w 136906"/>
                    <a:gd name="connsiteY35" fmla="*/ 89774 h 128092"/>
                    <a:gd name="connsiteX36" fmla="*/ 23063 w 136906"/>
                    <a:gd name="connsiteY36" fmla="*/ 68400 h 128092"/>
                    <a:gd name="connsiteX37" fmla="*/ 26464 w 136906"/>
                    <a:gd name="connsiteY37" fmla="*/ 48893 h 128092"/>
                    <a:gd name="connsiteX38" fmla="*/ 27331 w 136906"/>
                    <a:gd name="connsiteY38" fmla="*/ 39520 h 128092"/>
                    <a:gd name="connsiteX39" fmla="*/ 24330 w 136906"/>
                    <a:gd name="connsiteY39" fmla="*/ 33024 h 128092"/>
                    <a:gd name="connsiteX40" fmla="*/ 27902 w 136906"/>
                    <a:gd name="connsiteY40" fmla="*/ 25013 h 128092"/>
                    <a:gd name="connsiteX41" fmla="*/ 33379 w 136906"/>
                    <a:gd name="connsiteY41" fmla="*/ 12659 h 128092"/>
                    <a:gd name="connsiteX42" fmla="*/ 36551 w 136906"/>
                    <a:gd name="connsiteY42" fmla="*/ 5611 h 128092"/>
                    <a:gd name="connsiteX43" fmla="*/ 42428 w 136906"/>
                    <a:gd name="connsiteY43" fmla="*/ 1172 h 128092"/>
                    <a:gd name="connsiteX44" fmla="*/ 81537 w 136906"/>
                    <a:gd name="connsiteY44" fmla="*/ 1077 h 128092"/>
                    <a:gd name="connsiteX45" fmla="*/ 122266 w 136906"/>
                    <a:gd name="connsiteY45" fmla="*/ 1020 h 128092"/>
                    <a:gd name="connsiteX46" fmla="*/ 117418 w 136906"/>
                    <a:gd name="connsiteY46" fmla="*/ 14555 h 128092"/>
                    <a:gd name="connsiteX47" fmla="*/ 112770 w 136906"/>
                    <a:gd name="connsiteY47" fmla="*/ 28776 h 128092"/>
                    <a:gd name="connsiteX48" fmla="*/ 94015 w 136906"/>
                    <a:gd name="connsiteY48" fmla="*/ 46692 h 128092"/>
                    <a:gd name="connsiteX49" fmla="*/ 85881 w 136906"/>
                    <a:gd name="connsiteY49" fmla="*/ 55712 h 128092"/>
                    <a:gd name="connsiteX50" fmla="*/ 80709 w 136906"/>
                    <a:gd name="connsiteY50" fmla="*/ 64466 h 128092"/>
                    <a:gd name="connsiteX51" fmla="*/ 94749 w 136906"/>
                    <a:gd name="connsiteY51" fmla="*/ 64466 h 128092"/>
                    <a:gd name="connsiteX52" fmla="*/ 94749 w 136906"/>
                    <a:gd name="connsiteY52" fmla="*/ 64466 h 128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36906" h="128092">
                      <a:moveTo>
                        <a:pt x="94749" y="64466"/>
                      </a:moveTo>
                      <a:cubicBezTo>
                        <a:pt x="108808" y="64466"/>
                        <a:pt x="122857" y="64466"/>
                        <a:pt x="136906" y="64466"/>
                      </a:cubicBezTo>
                      <a:cubicBezTo>
                        <a:pt x="134163" y="69219"/>
                        <a:pt x="129810" y="72172"/>
                        <a:pt x="129677" y="77753"/>
                      </a:cubicBezTo>
                      <a:cubicBezTo>
                        <a:pt x="129629" y="79582"/>
                        <a:pt x="131610" y="89202"/>
                        <a:pt x="133058" y="89936"/>
                      </a:cubicBezTo>
                      <a:cubicBezTo>
                        <a:pt x="126810" y="92508"/>
                        <a:pt x="123000" y="85688"/>
                        <a:pt x="118571" y="84649"/>
                      </a:cubicBezTo>
                      <a:cubicBezTo>
                        <a:pt x="113094" y="83373"/>
                        <a:pt x="109646" y="87640"/>
                        <a:pt x="106207" y="91584"/>
                      </a:cubicBezTo>
                      <a:cubicBezTo>
                        <a:pt x="110217" y="95679"/>
                        <a:pt x="113418" y="94917"/>
                        <a:pt x="118485" y="93593"/>
                      </a:cubicBezTo>
                      <a:cubicBezTo>
                        <a:pt x="119418" y="93355"/>
                        <a:pt x="127791" y="89650"/>
                        <a:pt x="128162" y="91450"/>
                      </a:cubicBezTo>
                      <a:cubicBezTo>
                        <a:pt x="128839" y="94784"/>
                        <a:pt x="120514" y="93060"/>
                        <a:pt x="122981" y="97603"/>
                      </a:cubicBezTo>
                      <a:cubicBezTo>
                        <a:pt x="125600" y="102423"/>
                        <a:pt x="131058" y="93631"/>
                        <a:pt x="134782" y="94546"/>
                      </a:cubicBezTo>
                      <a:cubicBezTo>
                        <a:pt x="133677" y="98975"/>
                        <a:pt x="133973" y="99746"/>
                        <a:pt x="130410" y="102652"/>
                      </a:cubicBezTo>
                      <a:cubicBezTo>
                        <a:pt x="128429" y="104261"/>
                        <a:pt x="122885" y="104776"/>
                        <a:pt x="121933" y="106252"/>
                      </a:cubicBezTo>
                      <a:cubicBezTo>
                        <a:pt x="119752" y="109643"/>
                        <a:pt x="120847" y="111996"/>
                        <a:pt x="124533" y="114567"/>
                      </a:cubicBezTo>
                      <a:cubicBezTo>
                        <a:pt x="126648" y="116034"/>
                        <a:pt x="130991" y="115739"/>
                        <a:pt x="132620" y="116930"/>
                      </a:cubicBezTo>
                      <a:cubicBezTo>
                        <a:pt x="133887" y="117873"/>
                        <a:pt x="134125" y="119959"/>
                        <a:pt x="135887" y="121111"/>
                      </a:cubicBezTo>
                      <a:cubicBezTo>
                        <a:pt x="134354" y="123816"/>
                        <a:pt x="131487" y="124397"/>
                        <a:pt x="129543" y="126979"/>
                      </a:cubicBezTo>
                      <a:cubicBezTo>
                        <a:pt x="127819" y="123730"/>
                        <a:pt x="125172" y="126636"/>
                        <a:pt x="122609" y="128093"/>
                      </a:cubicBezTo>
                      <a:cubicBezTo>
                        <a:pt x="127086" y="122635"/>
                        <a:pt x="120742" y="120235"/>
                        <a:pt x="117542" y="117568"/>
                      </a:cubicBezTo>
                      <a:cubicBezTo>
                        <a:pt x="117104" y="117196"/>
                        <a:pt x="115256" y="117520"/>
                        <a:pt x="114551" y="117006"/>
                      </a:cubicBezTo>
                      <a:cubicBezTo>
                        <a:pt x="114313" y="116834"/>
                        <a:pt x="115447" y="115063"/>
                        <a:pt x="114837" y="114672"/>
                      </a:cubicBezTo>
                      <a:cubicBezTo>
                        <a:pt x="112170" y="112948"/>
                        <a:pt x="109617" y="111729"/>
                        <a:pt x="106217" y="110576"/>
                      </a:cubicBezTo>
                      <a:cubicBezTo>
                        <a:pt x="107760" y="113415"/>
                        <a:pt x="107531" y="115110"/>
                        <a:pt x="105569" y="118606"/>
                      </a:cubicBezTo>
                      <a:cubicBezTo>
                        <a:pt x="104874" y="119854"/>
                        <a:pt x="103588" y="122730"/>
                        <a:pt x="102035" y="123216"/>
                      </a:cubicBezTo>
                      <a:cubicBezTo>
                        <a:pt x="96282" y="125045"/>
                        <a:pt x="101359" y="122064"/>
                        <a:pt x="98625" y="120463"/>
                      </a:cubicBezTo>
                      <a:cubicBezTo>
                        <a:pt x="92329" y="116787"/>
                        <a:pt x="93529" y="120111"/>
                        <a:pt x="86881" y="122168"/>
                      </a:cubicBezTo>
                      <a:cubicBezTo>
                        <a:pt x="81118" y="123940"/>
                        <a:pt x="75489" y="120721"/>
                        <a:pt x="69850" y="118396"/>
                      </a:cubicBezTo>
                      <a:cubicBezTo>
                        <a:pt x="71765" y="117739"/>
                        <a:pt x="71431" y="117149"/>
                        <a:pt x="74308" y="117492"/>
                      </a:cubicBezTo>
                      <a:cubicBezTo>
                        <a:pt x="73632" y="115015"/>
                        <a:pt x="72689" y="112139"/>
                        <a:pt x="74451" y="109738"/>
                      </a:cubicBezTo>
                      <a:cubicBezTo>
                        <a:pt x="68050" y="114139"/>
                        <a:pt x="67707" y="108214"/>
                        <a:pt x="64593" y="105204"/>
                      </a:cubicBezTo>
                      <a:cubicBezTo>
                        <a:pt x="62126" y="102823"/>
                        <a:pt x="56325" y="100051"/>
                        <a:pt x="52515" y="103576"/>
                      </a:cubicBezTo>
                      <a:cubicBezTo>
                        <a:pt x="48343" y="107424"/>
                        <a:pt x="52953" y="107090"/>
                        <a:pt x="47343" y="109395"/>
                      </a:cubicBezTo>
                      <a:cubicBezTo>
                        <a:pt x="42780" y="111281"/>
                        <a:pt x="35065" y="109395"/>
                        <a:pt x="30617" y="107795"/>
                      </a:cubicBezTo>
                      <a:cubicBezTo>
                        <a:pt x="25464" y="105928"/>
                        <a:pt x="22482" y="103137"/>
                        <a:pt x="16672" y="102747"/>
                      </a:cubicBezTo>
                      <a:cubicBezTo>
                        <a:pt x="13234" y="102528"/>
                        <a:pt x="4356" y="105433"/>
                        <a:pt x="1651" y="104271"/>
                      </a:cubicBezTo>
                      <a:cubicBezTo>
                        <a:pt x="-2292" y="102566"/>
                        <a:pt x="1832" y="102261"/>
                        <a:pt x="3642" y="99708"/>
                      </a:cubicBezTo>
                      <a:cubicBezTo>
                        <a:pt x="5909" y="96527"/>
                        <a:pt x="8147" y="93689"/>
                        <a:pt x="9938" y="89774"/>
                      </a:cubicBezTo>
                      <a:cubicBezTo>
                        <a:pt x="13662" y="81630"/>
                        <a:pt x="17825" y="76048"/>
                        <a:pt x="23063" y="68400"/>
                      </a:cubicBezTo>
                      <a:cubicBezTo>
                        <a:pt x="27797" y="61485"/>
                        <a:pt x="26245" y="56694"/>
                        <a:pt x="26464" y="48893"/>
                      </a:cubicBezTo>
                      <a:cubicBezTo>
                        <a:pt x="26531" y="46435"/>
                        <a:pt x="27521" y="42454"/>
                        <a:pt x="27331" y="39520"/>
                      </a:cubicBezTo>
                      <a:cubicBezTo>
                        <a:pt x="27178" y="37196"/>
                        <a:pt x="24349" y="34891"/>
                        <a:pt x="24330" y="33024"/>
                      </a:cubicBezTo>
                      <a:cubicBezTo>
                        <a:pt x="24311" y="30967"/>
                        <a:pt x="27093" y="26871"/>
                        <a:pt x="27902" y="25013"/>
                      </a:cubicBezTo>
                      <a:cubicBezTo>
                        <a:pt x="29722" y="20870"/>
                        <a:pt x="31579" y="16803"/>
                        <a:pt x="33379" y="12659"/>
                      </a:cubicBezTo>
                      <a:cubicBezTo>
                        <a:pt x="34360" y="10412"/>
                        <a:pt x="35198" y="7649"/>
                        <a:pt x="36551" y="5611"/>
                      </a:cubicBezTo>
                      <a:cubicBezTo>
                        <a:pt x="39380" y="1353"/>
                        <a:pt x="37694" y="2211"/>
                        <a:pt x="42428" y="1172"/>
                      </a:cubicBezTo>
                      <a:cubicBezTo>
                        <a:pt x="54201" y="-1418"/>
                        <a:pt x="69441" y="1096"/>
                        <a:pt x="81537" y="1077"/>
                      </a:cubicBezTo>
                      <a:cubicBezTo>
                        <a:pt x="95111" y="1058"/>
                        <a:pt x="108693" y="1096"/>
                        <a:pt x="122266" y="1020"/>
                      </a:cubicBezTo>
                      <a:cubicBezTo>
                        <a:pt x="123362" y="5954"/>
                        <a:pt x="118066" y="10278"/>
                        <a:pt x="117418" y="14555"/>
                      </a:cubicBezTo>
                      <a:cubicBezTo>
                        <a:pt x="116094" y="23318"/>
                        <a:pt x="120580" y="21794"/>
                        <a:pt x="112770" y="28776"/>
                      </a:cubicBezTo>
                      <a:cubicBezTo>
                        <a:pt x="106379" y="34491"/>
                        <a:pt x="99635" y="39777"/>
                        <a:pt x="94015" y="46692"/>
                      </a:cubicBezTo>
                      <a:cubicBezTo>
                        <a:pt x="91729" y="49502"/>
                        <a:pt x="87500" y="53093"/>
                        <a:pt x="85881" y="55712"/>
                      </a:cubicBezTo>
                      <a:cubicBezTo>
                        <a:pt x="84128" y="58541"/>
                        <a:pt x="83747" y="62256"/>
                        <a:pt x="80709" y="64466"/>
                      </a:cubicBezTo>
                      <a:cubicBezTo>
                        <a:pt x="85405" y="64456"/>
                        <a:pt x="90081" y="64466"/>
                        <a:pt x="94749" y="64466"/>
                      </a:cubicBezTo>
                      <a:lnTo>
                        <a:pt x="94749" y="64466"/>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02" name="Freeform: Shape 501">
                  <a:extLst>
                    <a:ext uri="{FF2B5EF4-FFF2-40B4-BE49-F238E27FC236}">
                      <a16:creationId xmlns:a16="http://schemas.microsoft.com/office/drawing/2014/main" id="{995142C9-8875-4220-A75D-8E4A6D102E80}"/>
                    </a:ext>
                  </a:extLst>
                </p:cNvPr>
                <p:cNvSpPr/>
                <p:nvPr/>
              </p:nvSpPr>
              <p:spPr>
                <a:xfrm>
                  <a:off x="3052228" y="3132428"/>
                  <a:ext cx="226761" cy="82739"/>
                </a:xfrm>
                <a:custGeom>
                  <a:avLst/>
                  <a:gdLst>
                    <a:gd name="connsiteX0" fmla="*/ 173088 w 226761"/>
                    <a:gd name="connsiteY0" fmla="*/ 989 h 82739"/>
                    <a:gd name="connsiteX1" fmla="*/ 181689 w 226761"/>
                    <a:gd name="connsiteY1" fmla="*/ 4761 h 82739"/>
                    <a:gd name="connsiteX2" fmla="*/ 185195 w 226761"/>
                    <a:gd name="connsiteY2" fmla="*/ 10514 h 82739"/>
                    <a:gd name="connsiteX3" fmla="*/ 192033 w 226761"/>
                    <a:gd name="connsiteY3" fmla="*/ 13895 h 82739"/>
                    <a:gd name="connsiteX4" fmla="*/ 202292 w 226761"/>
                    <a:gd name="connsiteY4" fmla="*/ 15286 h 82739"/>
                    <a:gd name="connsiteX5" fmla="*/ 217380 w 226761"/>
                    <a:gd name="connsiteY5" fmla="*/ 13095 h 82739"/>
                    <a:gd name="connsiteX6" fmla="*/ 221437 w 226761"/>
                    <a:gd name="connsiteY6" fmla="*/ 22220 h 82739"/>
                    <a:gd name="connsiteX7" fmla="*/ 216865 w 226761"/>
                    <a:gd name="connsiteY7" fmla="*/ 31136 h 82739"/>
                    <a:gd name="connsiteX8" fmla="*/ 226762 w 226761"/>
                    <a:gd name="connsiteY8" fmla="*/ 49957 h 82739"/>
                    <a:gd name="connsiteX9" fmla="*/ 201873 w 226761"/>
                    <a:gd name="connsiteY9" fmla="*/ 62263 h 82739"/>
                    <a:gd name="connsiteX10" fmla="*/ 183661 w 226761"/>
                    <a:gd name="connsiteY10" fmla="*/ 73770 h 82739"/>
                    <a:gd name="connsiteX11" fmla="*/ 145875 w 226761"/>
                    <a:gd name="connsiteY11" fmla="*/ 79408 h 82739"/>
                    <a:gd name="connsiteX12" fmla="*/ 47463 w 226761"/>
                    <a:gd name="connsiteY12" fmla="*/ 77189 h 82739"/>
                    <a:gd name="connsiteX13" fmla="*/ 41862 w 226761"/>
                    <a:gd name="connsiteY13" fmla="*/ 76694 h 82739"/>
                    <a:gd name="connsiteX14" fmla="*/ 40272 w 226761"/>
                    <a:gd name="connsiteY14" fmla="*/ 81266 h 82739"/>
                    <a:gd name="connsiteX15" fmla="*/ 28908 w 226761"/>
                    <a:gd name="connsiteY15" fmla="*/ 82714 h 82739"/>
                    <a:gd name="connsiteX16" fmla="*/ 0 w 226761"/>
                    <a:gd name="connsiteY16" fmla="*/ 82714 h 82739"/>
                    <a:gd name="connsiteX17" fmla="*/ 9201 w 226761"/>
                    <a:gd name="connsiteY17" fmla="*/ 78389 h 82739"/>
                    <a:gd name="connsiteX18" fmla="*/ 15840 w 226761"/>
                    <a:gd name="connsiteY18" fmla="*/ 66435 h 82739"/>
                    <a:gd name="connsiteX19" fmla="*/ 29566 w 226761"/>
                    <a:gd name="connsiteY19" fmla="*/ 62311 h 82739"/>
                    <a:gd name="connsiteX20" fmla="*/ 38462 w 226761"/>
                    <a:gd name="connsiteY20" fmla="*/ 58234 h 82739"/>
                    <a:gd name="connsiteX21" fmla="*/ 50302 w 226761"/>
                    <a:gd name="connsiteY21" fmla="*/ 52053 h 82739"/>
                    <a:gd name="connsiteX22" fmla="*/ 59598 w 226761"/>
                    <a:gd name="connsiteY22" fmla="*/ 41756 h 82739"/>
                    <a:gd name="connsiteX23" fmla="*/ 70752 w 226761"/>
                    <a:gd name="connsiteY23" fmla="*/ 40727 h 82739"/>
                    <a:gd name="connsiteX24" fmla="*/ 74133 w 226761"/>
                    <a:gd name="connsiteY24" fmla="*/ 36870 h 82739"/>
                    <a:gd name="connsiteX25" fmla="*/ 84201 w 226761"/>
                    <a:gd name="connsiteY25" fmla="*/ 41223 h 82739"/>
                    <a:gd name="connsiteX26" fmla="*/ 90564 w 226761"/>
                    <a:gd name="connsiteY26" fmla="*/ 37832 h 82739"/>
                    <a:gd name="connsiteX27" fmla="*/ 98060 w 226761"/>
                    <a:gd name="connsiteY27" fmla="*/ 37860 h 82739"/>
                    <a:gd name="connsiteX28" fmla="*/ 103537 w 226761"/>
                    <a:gd name="connsiteY28" fmla="*/ 37346 h 82739"/>
                    <a:gd name="connsiteX29" fmla="*/ 107061 w 226761"/>
                    <a:gd name="connsiteY29" fmla="*/ 33641 h 82739"/>
                    <a:gd name="connsiteX30" fmla="*/ 112462 w 226761"/>
                    <a:gd name="connsiteY30" fmla="*/ 29850 h 82739"/>
                    <a:gd name="connsiteX31" fmla="*/ 120253 w 226761"/>
                    <a:gd name="connsiteY31" fmla="*/ 35289 h 82739"/>
                    <a:gd name="connsiteX32" fmla="*/ 126711 w 226761"/>
                    <a:gd name="connsiteY32" fmla="*/ 28716 h 82739"/>
                    <a:gd name="connsiteX33" fmla="*/ 133912 w 226761"/>
                    <a:gd name="connsiteY33" fmla="*/ 24906 h 82739"/>
                    <a:gd name="connsiteX34" fmla="*/ 141665 w 226761"/>
                    <a:gd name="connsiteY34" fmla="*/ 19144 h 82739"/>
                    <a:gd name="connsiteX35" fmla="*/ 146866 w 226761"/>
                    <a:gd name="connsiteY35" fmla="*/ 12495 h 82739"/>
                    <a:gd name="connsiteX36" fmla="*/ 155848 w 226761"/>
                    <a:gd name="connsiteY36" fmla="*/ 12867 h 82739"/>
                    <a:gd name="connsiteX37" fmla="*/ 165392 w 226761"/>
                    <a:gd name="connsiteY37" fmla="*/ 9285 h 82739"/>
                    <a:gd name="connsiteX38" fmla="*/ 165316 w 226761"/>
                    <a:gd name="connsiteY38" fmla="*/ 5866 h 82739"/>
                    <a:gd name="connsiteX39" fmla="*/ 173088 w 226761"/>
                    <a:gd name="connsiteY39" fmla="*/ 989 h 82739"/>
                    <a:gd name="connsiteX40" fmla="*/ 173088 w 226761"/>
                    <a:gd name="connsiteY40" fmla="*/ 989 h 82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26761" h="82739">
                      <a:moveTo>
                        <a:pt x="173088" y="989"/>
                      </a:moveTo>
                      <a:cubicBezTo>
                        <a:pt x="178251" y="951"/>
                        <a:pt x="178879" y="713"/>
                        <a:pt x="181689" y="4761"/>
                      </a:cubicBezTo>
                      <a:cubicBezTo>
                        <a:pt x="183318" y="7123"/>
                        <a:pt x="182680" y="8390"/>
                        <a:pt x="185195" y="10514"/>
                      </a:cubicBezTo>
                      <a:cubicBezTo>
                        <a:pt x="185175" y="10505"/>
                        <a:pt x="192319" y="13953"/>
                        <a:pt x="192033" y="13895"/>
                      </a:cubicBezTo>
                      <a:cubicBezTo>
                        <a:pt x="194643" y="14400"/>
                        <a:pt x="199396" y="15086"/>
                        <a:pt x="202292" y="15286"/>
                      </a:cubicBezTo>
                      <a:cubicBezTo>
                        <a:pt x="207454" y="15658"/>
                        <a:pt x="212160" y="12495"/>
                        <a:pt x="217380" y="13095"/>
                      </a:cubicBezTo>
                      <a:cubicBezTo>
                        <a:pt x="216513" y="17696"/>
                        <a:pt x="221085" y="18763"/>
                        <a:pt x="221437" y="22220"/>
                      </a:cubicBezTo>
                      <a:cubicBezTo>
                        <a:pt x="221809" y="25868"/>
                        <a:pt x="217418" y="28097"/>
                        <a:pt x="216865" y="31136"/>
                      </a:cubicBezTo>
                      <a:cubicBezTo>
                        <a:pt x="215779" y="37032"/>
                        <a:pt x="220332" y="49157"/>
                        <a:pt x="226762" y="49957"/>
                      </a:cubicBezTo>
                      <a:cubicBezTo>
                        <a:pt x="218684" y="54367"/>
                        <a:pt x="209807" y="57768"/>
                        <a:pt x="201873" y="62263"/>
                      </a:cubicBezTo>
                      <a:cubicBezTo>
                        <a:pt x="195624" y="65797"/>
                        <a:pt x="190557" y="70865"/>
                        <a:pt x="183661" y="73770"/>
                      </a:cubicBezTo>
                      <a:cubicBezTo>
                        <a:pt x="170412" y="79370"/>
                        <a:pt x="160039" y="79856"/>
                        <a:pt x="145875" y="79408"/>
                      </a:cubicBezTo>
                      <a:cubicBezTo>
                        <a:pt x="113300" y="78380"/>
                        <a:pt x="78858" y="78475"/>
                        <a:pt x="47463" y="77189"/>
                      </a:cubicBezTo>
                      <a:cubicBezTo>
                        <a:pt x="46272" y="77141"/>
                        <a:pt x="42834" y="76198"/>
                        <a:pt x="41862" y="76694"/>
                      </a:cubicBezTo>
                      <a:cubicBezTo>
                        <a:pt x="40434" y="77418"/>
                        <a:pt x="41881" y="80342"/>
                        <a:pt x="40272" y="81266"/>
                      </a:cubicBezTo>
                      <a:cubicBezTo>
                        <a:pt x="37147" y="83057"/>
                        <a:pt x="33347" y="82714"/>
                        <a:pt x="28908" y="82714"/>
                      </a:cubicBezTo>
                      <a:cubicBezTo>
                        <a:pt x="19279" y="82714"/>
                        <a:pt x="9639" y="82714"/>
                        <a:pt x="0" y="82714"/>
                      </a:cubicBezTo>
                      <a:cubicBezTo>
                        <a:pt x="3143" y="78485"/>
                        <a:pt x="5810" y="80628"/>
                        <a:pt x="9201" y="78389"/>
                      </a:cubicBezTo>
                      <a:cubicBezTo>
                        <a:pt x="13792" y="75370"/>
                        <a:pt x="13411" y="70274"/>
                        <a:pt x="15840" y="66435"/>
                      </a:cubicBezTo>
                      <a:cubicBezTo>
                        <a:pt x="19517" y="60606"/>
                        <a:pt x="23527" y="60987"/>
                        <a:pt x="29566" y="62311"/>
                      </a:cubicBezTo>
                      <a:cubicBezTo>
                        <a:pt x="38167" y="64206"/>
                        <a:pt x="34623" y="63949"/>
                        <a:pt x="38462" y="58234"/>
                      </a:cubicBezTo>
                      <a:cubicBezTo>
                        <a:pt x="41662" y="53462"/>
                        <a:pt x="45739" y="55148"/>
                        <a:pt x="50302" y="52053"/>
                      </a:cubicBezTo>
                      <a:cubicBezTo>
                        <a:pt x="54178" y="49414"/>
                        <a:pt x="55416" y="44937"/>
                        <a:pt x="59598" y="41756"/>
                      </a:cubicBezTo>
                      <a:cubicBezTo>
                        <a:pt x="61903" y="40003"/>
                        <a:pt x="69504" y="36060"/>
                        <a:pt x="70752" y="40727"/>
                      </a:cubicBezTo>
                      <a:cubicBezTo>
                        <a:pt x="71752" y="39404"/>
                        <a:pt x="73352" y="38546"/>
                        <a:pt x="74133" y="36870"/>
                      </a:cubicBezTo>
                      <a:cubicBezTo>
                        <a:pt x="75105" y="37394"/>
                        <a:pt x="83191" y="41166"/>
                        <a:pt x="84201" y="41223"/>
                      </a:cubicBezTo>
                      <a:cubicBezTo>
                        <a:pt x="86611" y="41366"/>
                        <a:pt x="88078" y="38841"/>
                        <a:pt x="90564" y="37832"/>
                      </a:cubicBezTo>
                      <a:cubicBezTo>
                        <a:pt x="94459" y="36232"/>
                        <a:pt x="95088" y="37794"/>
                        <a:pt x="98060" y="37860"/>
                      </a:cubicBezTo>
                      <a:cubicBezTo>
                        <a:pt x="101041" y="37927"/>
                        <a:pt x="99917" y="39223"/>
                        <a:pt x="103537" y="37346"/>
                      </a:cubicBezTo>
                      <a:cubicBezTo>
                        <a:pt x="104575" y="36803"/>
                        <a:pt x="106061" y="34489"/>
                        <a:pt x="107061" y="33641"/>
                      </a:cubicBezTo>
                      <a:cubicBezTo>
                        <a:pt x="108337" y="32565"/>
                        <a:pt x="110909" y="29431"/>
                        <a:pt x="112462" y="29850"/>
                      </a:cubicBezTo>
                      <a:cubicBezTo>
                        <a:pt x="115491" y="30660"/>
                        <a:pt x="113252" y="37575"/>
                        <a:pt x="120253" y="35289"/>
                      </a:cubicBezTo>
                      <a:cubicBezTo>
                        <a:pt x="123149" y="34346"/>
                        <a:pt x="124482" y="30440"/>
                        <a:pt x="126711" y="28716"/>
                      </a:cubicBezTo>
                      <a:cubicBezTo>
                        <a:pt x="129111" y="26859"/>
                        <a:pt x="131464" y="26488"/>
                        <a:pt x="133912" y="24906"/>
                      </a:cubicBezTo>
                      <a:cubicBezTo>
                        <a:pt x="136027" y="23544"/>
                        <a:pt x="139941" y="20849"/>
                        <a:pt x="141665" y="19144"/>
                      </a:cubicBezTo>
                      <a:cubicBezTo>
                        <a:pt x="143370" y="17458"/>
                        <a:pt x="144751" y="13381"/>
                        <a:pt x="146866" y="12495"/>
                      </a:cubicBezTo>
                      <a:cubicBezTo>
                        <a:pt x="149295" y="11486"/>
                        <a:pt x="153143" y="13162"/>
                        <a:pt x="155848" y="12867"/>
                      </a:cubicBezTo>
                      <a:cubicBezTo>
                        <a:pt x="158334" y="12600"/>
                        <a:pt x="163582" y="11171"/>
                        <a:pt x="165392" y="9285"/>
                      </a:cubicBezTo>
                      <a:cubicBezTo>
                        <a:pt x="167326" y="7276"/>
                        <a:pt x="164544" y="7171"/>
                        <a:pt x="165316" y="5866"/>
                      </a:cubicBezTo>
                      <a:cubicBezTo>
                        <a:pt x="166802" y="3351"/>
                        <a:pt x="169488" y="-2268"/>
                        <a:pt x="173088" y="989"/>
                      </a:cubicBezTo>
                      <a:lnTo>
                        <a:pt x="173088" y="989"/>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03" name="Freeform: Shape 502">
                  <a:extLst>
                    <a:ext uri="{FF2B5EF4-FFF2-40B4-BE49-F238E27FC236}">
                      <a16:creationId xmlns:a16="http://schemas.microsoft.com/office/drawing/2014/main" id="{30AB62BD-F9EC-47D4-B861-348A832DA148}"/>
                    </a:ext>
                  </a:extLst>
                </p:cNvPr>
                <p:cNvSpPr/>
                <p:nvPr/>
              </p:nvSpPr>
              <p:spPr>
                <a:xfrm>
                  <a:off x="2703737" y="3104031"/>
                  <a:ext cx="246708" cy="96160"/>
                </a:xfrm>
                <a:custGeom>
                  <a:avLst/>
                  <a:gdLst>
                    <a:gd name="connsiteX0" fmla="*/ 242030 w 246708"/>
                    <a:gd name="connsiteY0" fmla="*/ 4888 h 96160"/>
                    <a:gd name="connsiteX1" fmla="*/ 245878 w 246708"/>
                    <a:gd name="connsiteY1" fmla="*/ 8993 h 96160"/>
                    <a:gd name="connsiteX2" fmla="*/ 238858 w 246708"/>
                    <a:gd name="connsiteY2" fmla="*/ 18261 h 96160"/>
                    <a:gd name="connsiteX3" fmla="*/ 239335 w 246708"/>
                    <a:gd name="connsiteY3" fmla="*/ 24195 h 96160"/>
                    <a:gd name="connsiteX4" fmla="*/ 243373 w 246708"/>
                    <a:gd name="connsiteY4" fmla="*/ 28405 h 96160"/>
                    <a:gd name="connsiteX5" fmla="*/ 236334 w 246708"/>
                    <a:gd name="connsiteY5" fmla="*/ 42017 h 96160"/>
                    <a:gd name="connsiteX6" fmla="*/ 222323 w 246708"/>
                    <a:gd name="connsiteY6" fmla="*/ 69601 h 96160"/>
                    <a:gd name="connsiteX7" fmla="*/ 208426 w 246708"/>
                    <a:gd name="connsiteY7" fmla="*/ 95356 h 96160"/>
                    <a:gd name="connsiteX8" fmla="*/ 190890 w 246708"/>
                    <a:gd name="connsiteY8" fmla="*/ 95337 h 96160"/>
                    <a:gd name="connsiteX9" fmla="*/ 174593 w 246708"/>
                    <a:gd name="connsiteY9" fmla="*/ 95337 h 96160"/>
                    <a:gd name="connsiteX10" fmla="*/ 140741 w 246708"/>
                    <a:gd name="connsiteY10" fmla="*/ 95337 h 96160"/>
                    <a:gd name="connsiteX11" fmla="*/ 75314 w 246708"/>
                    <a:gd name="connsiteY11" fmla="*/ 95337 h 96160"/>
                    <a:gd name="connsiteX12" fmla="*/ 0 w 246708"/>
                    <a:gd name="connsiteY12" fmla="*/ 95347 h 96160"/>
                    <a:gd name="connsiteX13" fmla="*/ 30499 w 246708"/>
                    <a:gd name="connsiteY13" fmla="*/ 39207 h 96160"/>
                    <a:gd name="connsiteX14" fmla="*/ 45834 w 246708"/>
                    <a:gd name="connsiteY14" fmla="*/ 11765 h 96160"/>
                    <a:gd name="connsiteX15" fmla="*/ 54988 w 246708"/>
                    <a:gd name="connsiteY15" fmla="*/ 859 h 96160"/>
                    <a:gd name="connsiteX16" fmla="*/ 69551 w 246708"/>
                    <a:gd name="connsiteY16" fmla="*/ 830 h 96160"/>
                    <a:gd name="connsiteX17" fmla="*/ 180308 w 246708"/>
                    <a:gd name="connsiteY17" fmla="*/ 830 h 96160"/>
                    <a:gd name="connsiteX18" fmla="*/ 210388 w 246708"/>
                    <a:gd name="connsiteY18" fmla="*/ 840 h 96160"/>
                    <a:gd name="connsiteX19" fmla="*/ 242030 w 246708"/>
                    <a:gd name="connsiteY19" fmla="*/ 4888 h 96160"/>
                    <a:gd name="connsiteX20" fmla="*/ 242030 w 246708"/>
                    <a:gd name="connsiteY20" fmla="*/ 4888 h 96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6708" h="96160">
                      <a:moveTo>
                        <a:pt x="242030" y="4888"/>
                      </a:moveTo>
                      <a:cubicBezTo>
                        <a:pt x="246183" y="3335"/>
                        <a:pt x="247860" y="5298"/>
                        <a:pt x="245878" y="8993"/>
                      </a:cubicBezTo>
                      <a:cubicBezTo>
                        <a:pt x="243307" y="13765"/>
                        <a:pt x="238878" y="11032"/>
                        <a:pt x="238858" y="18261"/>
                      </a:cubicBezTo>
                      <a:cubicBezTo>
                        <a:pt x="238858" y="19176"/>
                        <a:pt x="239020" y="23443"/>
                        <a:pt x="239335" y="24195"/>
                      </a:cubicBezTo>
                      <a:cubicBezTo>
                        <a:pt x="239878" y="25462"/>
                        <a:pt x="243316" y="27881"/>
                        <a:pt x="243373" y="28405"/>
                      </a:cubicBezTo>
                      <a:cubicBezTo>
                        <a:pt x="243678" y="31520"/>
                        <a:pt x="237839" y="39102"/>
                        <a:pt x="236334" y="42017"/>
                      </a:cubicBezTo>
                      <a:cubicBezTo>
                        <a:pt x="231600" y="51180"/>
                        <a:pt x="226971" y="60390"/>
                        <a:pt x="222323" y="69601"/>
                      </a:cubicBezTo>
                      <a:cubicBezTo>
                        <a:pt x="219313" y="75592"/>
                        <a:pt x="213941" y="92728"/>
                        <a:pt x="208426" y="95356"/>
                      </a:cubicBezTo>
                      <a:cubicBezTo>
                        <a:pt x="204587" y="97185"/>
                        <a:pt x="195253" y="95318"/>
                        <a:pt x="190890" y="95337"/>
                      </a:cubicBezTo>
                      <a:cubicBezTo>
                        <a:pt x="185461" y="95356"/>
                        <a:pt x="180032" y="95318"/>
                        <a:pt x="174593" y="95337"/>
                      </a:cubicBezTo>
                      <a:cubicBezTo>
                        <a:pt x="163306" y="95376"/>
                        <a:pt x="152019" y="95356"/>
                        <a:pt x="140741" y="95337"/>
                      </a:cubicBezTo>
                      <a:cubicBezTo>
                        <a:pt x="118929" y="95290"/>
                        <a:pt x="97126" y="95356"/>
                        <a:pt x="75314" y="95337"/>
                      </a:cubicBezTo>
                      <a:cubicBezTo>
                        <a:pt x="50216" y="95318"/>
                        <a:pt x="25108" y="95395"/>
                        <a:pt x="0" y="95347"/>
                      </a:cubicBezTo>
                      <a:cubicBezTo>
                        <a:pt x="10030" y="76554"/>
                        <a:pt x="20183" y="57838"/>
                        <a:pt x="30499" y="39207"/>
                      </a:cubicBezTo>
                      <a:cubicBezTo>
                        <a:pt x="35576" y="30044"/>
                        <a:pt x="40681" y="20881"/>
                        <a:pt x="45834" y="11765"/>
                      </a:cubicBezTo>
                      <a:cubicBezTo>
                        <a:pt x="48701" y="6688"/>
                        <a:pt x="50044" y="2450"/>
                        <a:pt x="54988" y="859"/>
                      </a:cubicBezTo>
                      <a:cubicBezTo>
                        <a:pt x="58960" y="-417"/>
                        <a:pt x="65370" y="821"/>
                        <a:pt x="69551" y="830"/>
                      </a:cubicBezTo>
                      <a:cubicBezTo>
                        <a:pt x="106461" y="868"/>
                        <a:pt x="143380" y="830"/>
                        <a:pt x="180308" y="830"/>
                      </a:cubicBezTo>
                      <a:cubicBezTo>
                        <a:pt x="190338" y="830"/>
                        <a:pt x="200358" y="840"/>
                        <a:pt x="210388" y="840"/>
                      </a:cubicBezTo>
                      <a:cubicBezTo>
                        <a:pt x="218808" y="830"/>
                        <a:pt x="237039" y="-2732"/>
                        <a:pt x="242030" y="4888"/>
                      </a:cubicBezTo>
                      <a:lnTo>
                        <a:pt x="242030" y="4888"/>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04" name="Freeform: Shape 503">
                  <a:extLst>
                    <a:ext uri="{FF2B5EF4-FFF2-40B4-BE49-F238E27FC236}">
                      <a16:creationId xmlns:a16="http://schemas.microsoft.com/office/drawing/2014/main" id="{D8022620-BB05-496B-8E90-FB1624A02628}"/>
                    </a:ext>
                  </a:extLst>
                </p:cNvPr>
                <p:cNvSpPr/>
                <p:nvPr/>
              </p:nvSpPr>
              <p:spPr>
                <a:xfrm>
                  <a:off x="3111064" y="3049000"/>
                  <a:ext cx="150743" cy="125577"/>
                </a:xfrm>
                <a:custGeom>
                  <a:avLst/>
                  <a:gdLst>
                    <a:gd name="connsiteX0" fmla="*/ 102756 w 150743"/>
                    <a:gd name="connsiteY0" fmla="*/ 94647 h 125577"/>
                    <a:gd name="connsiteX1" fmla="*/ 91679 w 150743"/>
                    <a:gd name="connsiteY1" fmla="*/ 95828 h 125577"/>
                    <a:gd name="connsiteX2" fmla="*/ 77820 w 150743"/>
                    <a:gd name="connsiteY2" fmla="*/ 105572 h 125577"/>
                    <a:gd name="connsiteX3" fmla="*/ 63932 w 150743"/>
                    <a:gd name="connsiteY3" fmla="*/ 116659 h 125577"/>
                    <a:gd name="connsiteX4" fmla="*/ 57046 w 150743"/>
                    <a:gd name="connsiteY4" fmla="*/ 118803 h 125577"/>
                    <a:gd name="connsiteX5" fmla="*/ 54379 w 150743"/>
                    <a:gd name="connsiteY5" fmla="*/ 114269 h 125577"/>
                    <a:gd name="connsiteX6" fmla="*/ 40072 w 150743"/>
                    <a:gd name="connsiteY6" fmla="*/ 122393 h 125577"/>
                    <a:gd name="connsiteX7" fmla="*/ 33319 w 150743"/>
                    <a:gd name="connsiteY7" fmla="*/ 120536 h 125577"/>
                    <a:gd name="connsiteX8" fmla="*/ 25661 w 150743"/>
                    <a:gd name="connsiteY8" fmla="*/ 125032 h 125577"/>
                    <a:gd name="connsiteX9" fmla="*/ 15298 w 150743"/>
                    <a:gd name="connsiteY9" fmla="*/ 120298 h 125577"/>
                    <a:gd name="connsiteX10" fmla="*/ 11916 w 150743"/>
                    <a:gd name="connsiteY10" fmla="*/ 124156 h 125577"/>
                    <a:gd name="connsiteX11" fmla="*/ 19 w 150743"/>
                    <a:gd name="connsiteY11" fmla="*/ 125546 h 125577"/>
                    <a:gd name="connsiteX12" fmla="*/ 13735 w 150743"/>
                    <a:gd name="connsiteY12" fmla="*/ 108649 h 125577"/>
                    <a:gd name="connsiteX13" fmla="*/ 29023 w 150743"/>
                    <a:gd name="connsiteY13" fmla="*/ 94971 h 125577"/>
                    <a:gd name="connsiteX14" fmla="*/ 34709 w 150743"/>
                    <a:gd name="connsiteY14" fmla="*/ 78236 h 125577"/>
                    <a:gd name="connsiteX15" fmla="*/ 58484 w 150743"/>
                    <a:gd name="connsiteY15" fmla="*/ 34611 h 125577"/>
                    <a:gd name="connsiteX16" fmla="*/ 71171 w 150743"/>
                    <a:gd name="connsiteY16" fmla="*/ 9532 h 125577"/>
                    <a:gd name="connsiteX17" fmla="*/ 78905 w 150743"/>
                    <a:gd name="connsiteY17" fmla="*/ 445 h 125577"/>
                    <a:gd name="connsiteX18" fmla="*/ 91479 w 150743"/>
                    <a:gd name="connsiteY18" fmla="*/ 435 h 125577"/>
                    <a:gd name="connsiteX19" fmla="*/ 150743 w 150743"/>
                    <a:gd name="connsiteY19" fmla="*/ 464 h 125577"/>
                    <a:gd name="connsiteX20" fmla="*/ 123921 w 150743"/>
                    <a:gd name="connsiteY20" fmla="*/ 54842 h 125577"/>
                    <a:gd name="connsiteX21" fmla="*/ 109852 w 150743"/>
                    <a:gd name="connsiteY21" fmla="*/ 84208 h 125577"/>
                    <a:gd name="connsiteX22" fmla="*/ 102756 w 150743"/>
                    <a:gd name="connsiteY22" fmla="*/ 94647 h 125577"/>
                    <a:gd name="connsiteX23" fmla="*/ 102756 w 150743"/>
                    <a:gd name="connsiteY23" fmla="*/ 94647 h 125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0743" h="125577">
                      <a:moveTo>
                        <a:pt x="102756" y="94647"/>
                      </a:moveTo>
                      <a:cubicBezTo>
                        <a:pt x="98556" y="95838"/>
                        <a:pt x="94584" y="95266"/>
                        <a:pt x="91679" y="95828"/>
                      </a:cubicBezTo>
                      <a:cubicBezTo>
                        <a:pt x="85792" y="96981"/>
                        <a:pt x="83487" y="101924"/>
                        <a:pt x="77820" y="105572"/>
                      </a:cubicBezTo>
                      <a:cubicBezTo>
                        <a:pt x="72752" y="108830"/>
                        <a:pt x="68857" y="113183"/>
                        <a:pt x="63932" y="116659"/>
                      </a:cubicBezTo>
                      <a:cubicBezTo>
                        <a:pt x="61608" y="118298"/>
                        <a:pt x="60141" y="120308"/>
                        <a:pt x="57046" y="118803"/>
                      </a:cubicBezTo>
                      <a:cubicBezTo>
                        <a:pt x="55150" y="117879"/>
                        <a:pt x="54836" y="114488"/>
                        <a:pt x="54379" y="114269"/>
                      </a:cubicBezTo>
                      <a:cubicBezTo>
                        <a:pt x="49797" y="112135"/>
                        <a:pt x="45549" y="121879"/>
                        <a:pt x="40072" y="122393"/>
                      </a:cubicBezTo>
                      <a:cubicBezTo>
                        <a:pt x="38539" y="122536"/>
                        <a:pt x="36576" y="119784"/>
                        <a:pt x="33319" y="120536"/>
                      </a:cubicBezTo>
                      <a:cubicBezTo>
                        <a:pt x="30518" y="121184"/>
                        <a:pt x="28385" y="124994"/>
                        <a:pt x="25661" y="125032"/>
                      </a:cubicBezTo>
                      <a:cubicBezTo>
                        <a:pt x="25423" y="125032"/>
                        <a:pt x="15869" y="120622"/>
                        <a:pt x="15298" y="120298"/>
                      </a:cubicBezTo>
                      <a:cubicBezTo>
                        <a:pt x="14517" y="121965"/>
                        <a:pt x="12888" y="122832"/>
                        <a:pt x="11916" y="124156"/>
                      </a:cubicBezTo>
                      <a:cubicBezTo>
                        <a:pt x="10316" y="117459"/>
                        <a:pt x="3467" y="126165"/>
                        <a:pt x="19" y="125546"/>
                      </a:cubicBezTo>
                      <a:cubicBezTo>
                        <a:pt x="-495" y="119069"/>
                        <a:pt x="9335" y="111802"/>
                        <a:pt x="13735" y="108649"/>
                      </a:cubicBezTo>
                      <a:cubicBezTo>
                        <a:pt x="18765" y="105048"/>
                        <a:pt x="25642" y="100267"/>
                        <a:pt x="29023" y="94971"/>
                      </a:cubicBezTo>
                      <a:cubicBezTo>
                        <a:pt x="32633" y="89323"/>
                        <a:pt x="30728" y="83484"/>
                        <a:pt x="34709" y="78236"/>
                      </a:cubicBezTo>
                      <a:cubicBezTo>
                        <a:pt x="44396" y="65443"/>
                        <a:pt x="51083" y="49422"/>
                        <a:pt x="58484" y="34611"/>
                      </a:cubicBezTo>
                      <a:cubicBezTo>
                        <a:pt x="62675" y="26229"/>
                        <a:pt x="66894" y="17866"/>
                        <a:pt x="71171" y="9532"/>
                      </a:cubicBezTo>
                      <a:cubicBezTo>
                        <a:pt x="73752" y="4503"/>
                        <a:pt x="74124" y="1855"/>
                        <a:pt x="78905" y="445"/>
                      </a:cubicBezTo>
                      <a:cubicBezTo>
                        <a:pt x="82277" y="-555"/>
                        <a:pt x="88050" y="445"/>
                        <a:pt x="91479" y="435"/>
                      </a:cubicBezTo>
                      <a:cubicBezTo>
                        <a:pt x="111233" y="435"/>
                        <a:pt x="130988" y="454"/>
                        <a:pt x="150743" y="464"/>
                      </a:cubicBezTo>
                      <a:cubicBezTo>
                        <a:pt x="141894" y="18638"/>
                        <a:pt x="132750" y="36659"/>
                        <a:pt x="123921" y="54842"/>
                      </a:cubicBezTo>
                      <a:cubicBezTo>
                        <a:pt x="119215" y="64539"/>
                        <a:pt x="115110" y="74816"/>
                        <a:pt x="109852" y="84208"/>
                      </a:cubicBezTo>
                      <a:cubicBezTo>
                        <a:pt x="107785" y="87894"/>
                        <a:pt x="107414" y="93818"/>
                        <a:pt x="102756" y="94647"/>
                      </a:cubicBezTo>
                      <a:lnTo>
                        <a:pt x="102756" y="94647"/>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05" name="Freeform: Shape 504">
                  <a:extLst>
                    <a:ext uri="{FF2B5EF4-FFF2-40B4-BE49-F238E27FC236}">
                      <a16:creationId xmlns:a16="http://schemas.microsoft.com/office/drawing/2014/main" id="{665407CF-C33F-496C-83EA-5187F5058F06}"/>
                    </a:ext>
                  </a:extLst>
                </p:cNvPr>
                <p:cNvSpPr/>
                <p:nvPr/>
              </p:nvSpPr>
              <p:spPr>
                <a:xfrm>
                  <a:off x="3047861" y="3025737"/>
                  <a:ext cx="164025" cy="173897"/>
                </a:xfrm>
                <a:custGeom>
                  <a:avLst/>
                  <a:gdLst>
                    <a:gd name="connsiteX0" fmla="*/ 151452 w 164025"/>
                    <a:gd name="connsiteY0" fmla="*/ 17926 h 173897"/>
                    <a:gd name="connsiteX1" fmla="*/ 143147 w 164025"/>
                    <a:gd name="connsiteY1" fmla="*/ 23689 h 173897"/>
                    <a:gd name="connsiteX2" fmla="*/ 138679 w 164025"/>
                    <a:gd name="connsiteY2" fmla="*/ 24384 h 173897"/>
                    <a:gd name="connsiteX3" fmla="*/ 134193 w 164025"/>
                    <a:gd name="connsiteY3" fmla="*/ 33128 h 173897"/>
                    <a:gd name="connsiteX4" fmla="*/ 120687 w 164025"/>
                    <a:gd name="connsiteY4" fmla="*/ 59865 h 173897"/>
                    <a:gd name="connsiteX5" fmla="*/ 96798 w 164025"/>
                    <a:gd name="connsiteY5" fmla="*/ 103918 h 173897"/>
                    <a:gd name="connsiteX6" fmla="*/ 87663 w 164025"/>
                    <a:gd name="connsiteY6" fmla="*/ 122891 h 173897"/>
                    <a:gd name="connsiteX7" fmla="*/ 73262 w 164025"/>
                    <a:gd name="connsiteY7" fmla="*/ 133140 h 173897"/>
                    <a:gd name="connsiteX8" fmla="*/ 57803 w 164025"/>
                    <a:gd name="connsiteY8" fmla="*/ 155448 h 173897"/>
                    <a:gd name="connsiteX9" fmla="*/ 46030 w 164025"/>
                    <a:gd name="connsiteY9" fmla="*/ 161430 h 173897"/>
                    <a:gd name="connsiteX10" fmla="*/ 41972 w 164025"/>
                    <a:gd name="connsiteY10" fmla="*/ 169859 h 173897"/>
                    <a:gd name="connsiteX11" fmla="*/ 19998 w 164025"/>
                    <a:gd name="connsiteY11" fmla="*/ 173898 h 173897"/>
                    <a:gd name="connsiteX12" fmla="*/ 14464 w 164025"/>
                    <a:gd name="connsiteY12" fmla="*/ 164859 h 173897"/>
                    <a:gd name="connsiteX13" fmla="*/ 18474 w 164025"/>
                    <a:gd name="connsiteY13" fmla="*/ 154943 h 173897"/>
                    <a:gd name="connsiteX14" fmla="*/ 12340 w 164025"/>
                    <a:gd name="connsiteY14" fmla="*/ 143856 h 173897"/>
                    <a:gd name="connsiteX15" fmla="*/ 11587 w 164025"/>
                    <a:gd name="connsiteY15" fmla="*/ 125320 h 173897"/>
                    <a:gd name="connsiteX16" fmla="*/ 20436 w 164025"/>
                    <a:gd name="connsiteY16" fmla="*/ 115929 h 173897"/>
                    <a:gd name="connsiteX17" fmla="*/ 9939 w 164025"/>
                    <a:gd name="connsiteY17" fmla="*/ 113186 h 173897"/>
                    <a:gd name="connsiteX18" fmla="*/ 8244 w 164025"/>
                    <a:gd name="connsiteY18" fmla="*/ 102803 h 173897"/>
                    <a:gd name="connsiteX19" fmla="*/ 557 w 164025"/>
                    <a:gd name="connsiteY19" fmla="*/ 88268 h 173897"/>
                    <a:gd name="connsiteX20" fmla="*/ 10358 w 164025"/>
                    <a:gd name="connsiteY20" fmla="*/ 66246 h 173897"/>
                    <a:gd name="connsiteX21" fmla="*/ 19445 w 164025"/>
                    <a:gd name="connsiteY21" fmla="*/ 58445 h 173897"/>
                    <a:gd name="connsiteX22" fmla="*/ 30009 w 164025"/>
                    <a:gd name="connsiteY22" fmla="*/ 49768 h 173897"/>
                    <a:gd name="connsiteX23" fmla="*/ 42239 w 164025"/>
                    <a:gd name="connsiteY23" fmla="*/ 33871 h 173897"/>
                    <a:gd name="connsiteX24" fmla="*/ 68004 w 164025"/>
                    <a:gd name="connsiteY24" fmla="*/ 19831 h 173897"/>
                    <a:gd name="connsiteX25" fmla="*/ 65546 w 164025"/>
                    <a:gd name="connsiteY25" fmla="*/ 0 h 173897"/>
                    <a:gd name="connsiteX26" fmla="*/ 164025 w 164025"/>
                    <a:gd name="connsiteY26" fmla="*/ 638 h 173897"/>
                    <a:gd name="connsiteX27" fmla="*/ 151452 w 164025"/>
                    <a:gd name="connsiteY27" fmla="*/ 17926 h 173897"/>
                    <a:gd name="connsiteX28" fmla="*/ 151452 w 164025"/>
                    <a:gd name="connsiteY28" fmla="*/ 17926 h 17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64025" h="173897">
                      <a:moveTo>
                        <a:pt x="151452" y="17926"/>
                      </a:moveTo>
                      <a:cubicBezTo>
                        <a:pt x="147776" y="23003"/>
                        <a:pt x="147890" y="21765"/>
                        <a:pt x="143147" y="23689"/>
                      </a:cubicBezTo>
                      <a:cubicBezTo>
                        <a:pt x="141489" y="24355"/>
                        <a:pt x="140070" y="23355"/>
                        <a:pt x="138679" y="24384"/>
                      </a:cubicBezTo>
                      <a:cubicBezTo>
                        <a:pt x="136698" y="25841"/>
                        <a:pt x="135336" y="30890"/>
                        <a:pt x="134193" y="33128"/>
                      </a:cubicBezTo>
                      <a:cubicBezTo>
                        <a:pt x="129650" y="42024"/>
                        <a:pt x="125154" y="50940"/>
                        <a:pt x="120687" y="59865"/>
                      </a:cubicBezTo>
                      <a:cubicBezTo>
                        <a:pt x="113143" y="74943"/>
                        <a:pt x="104961" y="89983"/>
                        <a:pt x="96798" y="103918"/>
                      </a:cubicBezTo>
                      <a:cubicBezTo>
                        <a:pt x="93045" y="110318"/>
                        <a:pt x="94045" y="116776"/>
                        <a:pt x="87663" y="122891"/>
                      </a:cubicBezTo>
                      <a:cubicBezTo>
                        <a:pt x="83472" y="126911"/>
                        <a:pt x="77014" y="129616"/>
                        <a:pt x="73262" y="133140"/>
                      </a:cubicBezTo>
                      <a:cubicBezTo>
                        <a:pt x="66775" y="139246"/>
                        <a:pt x="63879" y="148628"/>
                        <a:pt x="57803" y="155448"/>
                      </a:cubicBezTo>
                      <a:cubicBezTo>
                        <a:pt x="54383" y="159296"/>
                        <a:pt x="50240" y="158467"/>
                        <a:pt x="46030" y="161430"/>
                      </a:cubicBezTo>
                      <a:cubicBezTo>
                        <a:pt x="42534" y="163887"/>
                        <a:pt x="44477" y="167707"/>
                        <a:pt x="41972" y="169859"/>
                      </a:cubicBezTo>
                      <a:cubicBezTo>
                        <a:pt x="36266" y="174746"/>
                        <a:pt x="24351" y="160906"/>
                        <a:pt x="19998" y="173898"/>
                      </a:cubicBezTo>
                      <a:cubicBezTo>
                        <a:pt x="17940" y="169345"/>
                        <a:pt x="11844" y="175708"/>
                        <a:pt x="14464" y="164859"/>
                      </a:cubicBezTo>
                      <a:cubicBezTo>
                        <a:pt x="15321" y="161296"/>
                        <a:pt x="18521" y="159420"/>
                        <a:pt x="18474" y="154943"/>
                      </a:cubicBezTo>
                      <a:cubicBezTo>
                        <a:pt x="18426" y="150114"/>
                        <a:pt x="16245" y="147437"/>
                        <a:pt x="12340" y="143856"/>
                      </a:cubicBezTo>
                      <a:cubicBezTo>
                        <a:pt x="4158" y="136331"/>
                        <a:pt x="3758" y="133912"/>
                        <a:pt x="11587" y="125320"/>
                      </a:cubicBezTo>
                      <a:cubicBezTo>
                        <a:pt x="12911" y="123873"/>
                        <a:pt x="20531" y="118072"/>
                        <a:pt x="20436" y="115929"/>
                      </a:cubicBezTo>
                      <a:cubicBezTo>
                        <a:pt x="20207" y="110947"/>
                        <a:pt x="11311" y="114148"/>
                        <a:pt x="9939" y="113186"/>
                      </a:cubicBezTo>
                      <a:cubicBezTo>
                        <a:pt x="6768" y="110947"/>
                        <a:pt x="9054" y="107032"/>
                        <a:pt x="8244" y="102803"/>
                      </a:cubicBezTo>
                      <a:cubicBezTo>
                        <a:pt x="7148" y="97041"/>
                        <a:pt x="2091" y="93688"/>
                        <a:pt x="557" y="88268"/>
                      </a:cubicBezTo>
                      <a:cubicBezTo>
                        <a:pt x="-2043" y="78981"/>
                        <a:pt x="5005" y="72133"/>
                        <a:pt x="10358" y="66246"/>
                      </a:cubicBezTo>
                      <a:cubicBezTo>
                        <a:pt x="13883" y="62370"/>
                        <a:pt x="14711" y="61198"/>
                        <a:pt x="19445" y="58445"/>
                      </a:cubicBezTo>
                      <a:cubicBezTo>
                        <a:pt x="23198" y="56264"/>
                        <a:pt x="27351" y="53226"/>
                        <a:pt x="30009" y="49768"/>
                      </a:cubicBezTo>
                      <a:cubicBezTo>
                        <a:pt x="35733" y="42377"/>
                        <a:pt x="30837" y="36947"/>
                        <a:pt x="42239" y="33871"/>
                      </a:cubicBezTo>
                      <a:cubicBezTo>
                        <a:pt x="52649" y="31061"/>
                        <a:pt x="60479" y="27984"/>
                        <a:pt x="68004" y="19831"/>
                      </a:cubicBezTo>
                      <a:cubicBezTo>
                        <a:pt x="74309" y="13011"/>
                        <a:pt x="68451" y="6925"/>
                        <a:pt x="65546" y="0"/>
                      </a:cubicBezTo>
                      <a:cubicBezTo>
                        <a:pt x="98370" y="219"/>
                        <a:pt x="131202" y="429"/>
                        <a:pt x="164025" y="638"/>
                      </a:cubicBezTo>
                      <a:cubicBezTo>
                        <a:pt x="159834" y="6391"/>
                        <a:pt x="155643" y="12154"/>
                        <a:pt x="151452" y="17926"/>
                      </a:cubicBezTo>
                      <a:lnTo>
                        <a:pt x="151452" y="17926"/>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06" name="Freeform: Shape 505">
                  <a:extLst>
                    <a:ext uri="{FF2B5EF4-FFF2-40B4-BE49-F238E27FC236}">
                      <a16:creationId xmlns:a16="http://schemas.microsoft.com/office/drawing/2014/main" id="{D00A4AD1-21C8-4695-BCCC-5F12E096D3C8}"/>
                    </a:ext>
                  </a:extLst>
                </p:cNvPr>
                <p:cNvSpPr/>
                <p:nvPr/>
              </p:nvSpPr>
              <p:spPr>
                <a:xfrm>
                  <a:off x="2380944" y="2821617"/>
                  <a:ext cx="215165" cy="220286"/>
                </a:xfrm>
                <a:custGeom>
                  <a:avLst/>
                  <a:gdLst>
                    <a:gd name="connsiteX0" fmla="*/ 166535 w 215165"/>
                    <a:gd name="connsiteY0" fmla="*/ 71142 h 220286"/>
                    <a:gd name="connsiteX1" fmla="*/ 168878 w 215165"/>
                    <a:gd name="connsiteY1" fmla="*/ 73476 h 220286"/>
                    <a:gd name="connsiteX2" fmla="*/ 175879 w 215165"/>
                    <a:gd name="connsiteY2" fmla="*/ 73514 h 220286"/>
                    <a:gd name="connsiteX3" fmla="*/ 161515 w 215165"/>
                    <a:gd name="connsiteY3" fmla="*/ 88678 h 220286"/>
                    <a:gd name="connsiteX4" fmla="*/ 158296 w 215165"/>
                    <a:gd name="connsiteY4" fmla="*/ 94926 h 220286"/>
                    <a:gd name="connsiteX5" fmla="*/ 150981 w 215165"/>
                    <a:gd name="connsiteY5" fmla="*/ 100822 h 220286"/>
                    <a:gd name="connsiteX6" fmla="*/ 152914 w 215165"/>
                    <a:gd name="connsiteY6" fmla="*/ 109280 h 220286"/>
                    <a:gd name="connsiteX7" fmla="*/ 166202 w 215165"/>
                    <a:gd name="connsiteY7" fmla="*/ 106899 h 220286"/>
                    <a:gd name="connsiteX8" fmla="*/ 163630 w 215165"/>
                    <a:gd name="connsiteY8" fmla="*/ 112890 h 220286"/>
                    <a:gd name="connsiteX9" fmla="*/ 163116 w 215165"/>
                    <a:gd name="connsiteY9" fmla="*/ 122063 h 220286"/>
                    <a:gd name="connsiteX10" fmla="*/ 160744 w 215165"/>
                    <a:gd name="connsiteY10" fmla="*/ 127540 h 220286"/>
                    <a:gd name="connsiteX11" fmla="*/ 162773 w 215165"/>
                    <a:gd name="connsiteY11" fmla="*/ 131864 h 220286"/>
                    <a:gd name="connsiteX12" fmla="*/ 165544 w 215165"/>
                    <a:gd name="connsiteY12" fmla="*/ 135512 h 220286"/>
                    <a:gd name="connsiteX13" fmla="*/ 163706 w 215165"/>
                    <a:gd name="connsiteY13" fmla="*/ 143532 h 220286"/>
                    <a:gd name="connsiteX14" fmla="*/ 167869 w 215165"/>
                    <a:gd name="connsiteY14" fmla="*/ 143066 h 220286"/>
                    <a:gd name="connsiteX15" fmla="*/ 178803 w 215165"/>
                    <a:gd name="connsiteY15" fmla="*/ 142484 h 220286"/>
                    <a:gd name="connsiteX16" fmla="*/ 185166 w 215165"/>
                    <a:gd name="connsiteY16" fmla="*/ 139694 h 220286"/>
                    <a:gd name="connsiteX17" fmla="*/ 196748 w 215165"/>
                    <a:gd name="connsiteY17" fmla="*/ 140256 h 220286"/>
                    <a:gd name="connsiteX18" fmla="*/ 205959 w 215165"/>
                    <a:gd name="connsiteY18" fmla="*/ 139494 h 220286"/>
                    <a:gd name="connsiteX19" fmla="*/ 211293 w 215165"/>
                    <a:gd name="connsiteY19" fmla="*/ 134150 h 220286"/>
                    <a:gd name="connsiteX20" fmla="*/ 214941 w 215165"/>
                    <a:gd name="connsiteY20" fmla="*/ 143132 h 220286"/>
                    <a:gd name="connsiteX21" fmla="*/ 201044 w 215165"/>
                    <a:gd name="connsiteY21" fmla="*/ 163773 h 220286"/>
                    <a:gd name="connsiteX22" fmla="*/ 173622 w 215165"/>
                    <a:gd name="connsiteY22" fmla="*/ 205188 h 220286"/>
                    <a:gd name="connsiteX23" fmla="*/ 167202 w 215165"/>
                    <a:gd name="connsiteY23" fmla="*/ 215027 h 220286"/>
                    <a:gd name="connsiteX24" fmla="*/ 157220 w 215165"/>
                    <a:gd name="connsiteY24" fmla="*/ 220266 h 220286"/>
                    <a:gd name="connsiteX25" fmla="*/ 127778 w 215165"/>
                    <a:gd name="connsiteY25" fmla="*/ 220247 h 220286"/>
                    <a:gd name="connsiteX26" fmla="*/ 0 w 215165"/>
                    <a:gd name="connsiteY26" fmla="*/ 220256 h 220286"/>
                    <a:gd name="connsiteX27" fmla="*/ 39500 w 215165"/>
                    <a:gd name="connsiteY27" fmla="*/ 163297 h 220286"/>
                    <a:gd name="connsiteX28" fmla="*/ 47444 w 215165"/>
                    <a:gd name="connsiteY28" fmla="*/ 154457 h 220286"/>
                    <a:gd name="connsiteX29" fmla="*/ 50683 w 215165"/>
                    <a:gd name="connsiteY29" fmla="*/ 151648 h 220286"/>
                    <a:gd name="connsiteX30" fmla="*/ 48358 w 215165"/>
                    <a:gd name="connsiteY30" fmla="*/ 148371 h 220286"/>
                    <a:gd name="connsiteX31" fmla="*/ 48644 w 215165"/>
                    <a:gd name="connsiteY31" fmla="*/ 143542 h 220286"/>
                    <a:gd name="connsiteX32" fmla="*/ 54578 w 215165"/>
                    <a:gd name="connsiteY32" fmla="*/ 138732 h 220286"/>
                    <a:gd name="connsiteX33" fmla="*/ 68589 w 215165"/>
                    <a:gd name="connsiteY33" fmla="*/ 128749 h 220286"/>
                    <a:gd name="connsiteX34" fmla="*/ 94116 w 215165"/>
                    <a:gd name="connsiteY34" fmla="*/ 106899 h 220286"/>
                    <a:gd name="connsiteX35" fmla="*/ 92326 w 215165"/>
                    <a:gd name="connsiteY35" fmla="*/ 95583 h 220286"/>
                    <a:gd name="connsiteX36" fmla="*/ 96917 w 215165"/>
                    <a:gd name="connsiteY36" fmla="*/ 85449 h 220286"/>
                    <a:gd name="connsiteX37" fmla="*/ 131016 w 215165"/>
                    <a:gd name="connsiteY37" fmla="*/ 37852 h 220286"/>
                    <a:gd name="connsiteX38" fmla="*/ 152657 w 215165"/>
                    <a:gd name="connsiteY38" fmla="*/ 9287 h 220286"/>
                    <a:gd name="connsiteX39" fmla="*/ 167259 w 215165"/>
                    <a:gd name="connsiteY39" fmla="*/ 0 h 220286"/>
                    <a:gd name="connsiteX40" fmla="*/ 185566 w 215165"/>
                    <a:gd name="connsiteY40" fmla="*/ 0 h 220286"/>
                    <a:gd name="connsiteX41" fmla="*/ 168259 w 215165"/>
                    <a:gd name="connsiteY41" fmla="*/ 22755 h 220286"/>
                    <a:gd name="connsiteX42" fmla="*/ 162287 w 215165"/>
                    <a:gd name="connsiteY42" fmla="*/ 33499 h 220286"/>
                    <a:gd name="connsiteX43" fmla="*/ 162496 w 215165"/>
                    <a:gd name="connsiteY43" fmla="*/ 42481 h 220286"/>
                    <a:gd name="connsiteX44" fmla="*/ 161077 w 215165"/>
                    <a:gd name="connsiteY44" fmla="*/ 53369 h 220286"/>
                    <a:gd name="connsiteX45" fmla="*/ 166535 w 215165"/>
                    <a:gd name="connsiteY45" fmla="*/ 71142 h 220286"/>
                    <a:gd name="connsiteX46" fmla="*/ 166535 w 215165"/>
                    <a:gd name="connsiteY46" fmla="*/ 71142 h 220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15165" h="220286">
                      <a:moveTo>
                        <a:pt x="166535" y="71142"/>
                      </a:moveTo>
                      <a:cubicBezTo>
                        <a:pt x="171364" y="69961"/>
                        <a:pt x="167630" y="73133"/>
                        <a:pt x="168878" y="73476"/>
                      </a:cubicBezTo>
                      <a:cubicBezTo>
                        <a:pt x="171012" y="74066"/>
                        <a:pt x="173974" y="73714"/>
                        <a:pt x="175879" y="73514"/>
                      </a:cubicBezTo>
                      <a:cubicBezTo>
                        <a:pt x="172583" y="79324"/>
                        <a:pt x="165811" y="83525"/>
                        <a:pt x="161515" y="88678"/>
                      </a:cubicBezTo>
                      <a:cubicBezTo>
                        <a:pt x="160039" y="90459"/>
                        <a:pt x="159096" y="93783"/>
                        <a:pt x="158296" y="94926"/>
                      </a:cubicBezTo>
                      <a:cubicBezTo>
                        <a:pt x="155991" y="98222"/>
                        <a:pt x="153867" y="98317"/>
                        <a:pt x="150981" y="100822"/>
                      </a:cubicBezTo>
                      <a:cubicBezTo>
                        <a:pt x="145266" y="105785"/>
                        <a:pt x="145856" y="110166"/>
                        <a:pt x="152914" y="109280"/>
                      </a:cubicBezTo>
                      <a:cubicBezTo>
                        <a:pt x="156696" y="108804"/>
                        <a:pt x="164306" y="100451"/>
                        <a:pt x="166202" y="106899"/>
                      </a:cubicBezTo>
                      <a:cubicBezTo>
                        <a:pt x="166411" y="107633"/>
                        <a:pt x="163916" y="111900"/>
                        <a:pt x="163630" y="112890"/>
                      </a:cubicBezTo>
                      <a:cubicBezTo>
                        <a:pt x="162725" y="116100"/>
                        <a:pt x="163573" y="119358"/>
                        <a:pt x="163116" y="122063"/>
                      </a:cubicBezTo>
                      <a:cubicBezTo>
                        <a:pt x="162906" y="123339"/>
                        <a:pt x="160763" y="127063"/>
                        <a:pt x="160744" y="127540"/>
                      </a:cubicBezTo>
                      <a:cubicBezTo>
                        <a:pt x="160611" y="130673"/>
                        <a:pt x="161754" y="129931"/>
                        <a:pt x="162773" y="131864"/>
                      </a:cubicBezTo>
                      <a:cubicBezTo>
                        <a:pt x="163601" y="133445"/>
                        <a:pt x="164963" y="132093"/>
                        <a:pt x="165544" y="135512"/>
                      </a:cubicBezTo>
                      <a:cubicBezTo>
                        <a:pt x="165945" y="137903"/>
                        <a:pt x="161858" y="141284"/>
                        <a:pt x="163706" y="143532"/>
                      </a:cubicBezTo>
                      <a:cubicBezTo>
                        <a:pt x="165925" y="146237"/>
                        <a:pt x="165945" y="143161"/>
                        <a:pt x="167869" y="143066"/>
                      </a:cubicBezTo>
                      <a:cubicBezTo>
                        <a:pt x="170659" y="142913"/>
                        <a:pt x="176012" y="142885"/>
                        <a:pt x="178803" y="142484"/>
                      </a:cubicBezTo>
                      <a:cubicBezTo>
                        <a:pt x="181070" y="142151"/>
                        <a:pt x="182775" y="140218"/>
                        <a:pt x="185166" y="139694"/>
                      </a:cubicBezTo>
                      <a:cubicBezTo>
                        <a:pt x="188614" y="138932"/>
                        <a:pt x="193253" y="140265"/>
                        <a:pt x="196748" y="140256"/>
                      </a:cubicBezTo>
                      <a:cubicBezTo>
                        <a:pt x="199187" y="140246"/>
                        <a:pt x="204035" y="140475"/>
                        <a:pt x="205959" y="139494"/>
                      </a:cubicBezTo>
                      <a:cubicBezTo>
                        <a:pt x="207540" y="138694"/>
                        <a:pt x="208674" y="134369"/>
                        <a:pt x="211293" y="134150"/>
                      </a:cubicBezTo>
                      <a:cubicBezTo>
                        <a:pt x="215065" y="133845"/>
                        <a:pt x="215560" y="140856"/>
                        <a:pt x="214941" y="143132"/>
                      </a:cubicBezTo>
                      <a:cubicBezTo>
                        <a:pt x="213112" y="149847"/>
                        <a:pt x="204949" y="157934"/>
                        <a:pt x="201044" y="163773"/>
                      </a:cubicBezTo>
                      <a:cubicBezTo>
                        <a:pt x="191834" y="177527"/>
                        <a:pt x="182680" y="191329"/>
                        <a:pt x="173622" y="205188"/>
                      </a:cubicBezTo>
                      <a:cubicBezTo>
                        <a:pt x="171498" y="208436"/>
                        <a:pt x="169526" y="211912"/>
                        <a:pt x="167202" y="215027"/>
                      </a:cubicBezTo>
                      <a:cubicBezTo>
                        <a:pt x="163516" y="219970"/>
                        <a:pt x="163582" y="220237"/>
                        <a:pt x="157220" y="220266"/>
                      </a:cubicBezTo>
                      <a:cubicBezTo>
                        <a:pt x="147409" y="220323"/>
                        <a:pt x="137589" y="220247"/>
                        <a:pt x="127778" y="220247"/>
                      </a:cubicBezTo>
                      <a:cubicBezTo>
                        <a:pt x="85192" y="220247"/>
                        <a:pt x="42596" y="220266"/>
                        <a:pt x="0" y="220256"/>
                      </a:cubicBezTo>
                      <a:cubicBezTo>
                        <a:pt x="12802" y="201520"/>
                        <a:pt x="24689" y="180489"/>
                        <a:pt x="39500" y="163297"/>
                      </a:cubicBezTo>
                      <a:cubicBezTo>
                        <a:pt x="42167" y="160211"/>
                        <a:pt x="45034" y="157629"/>
                        <a:pt x="47444" y="154457"/>
                      </a:cubicBezTo>
                      <a:cubicBezTo>
                        <a:pt x="48073" y="153629"/>
                        <a:pt x="50663" y="152676"/>
                        <a:pt x="50683" y="151648"/>
                      </a:cubicBezTo>
                      <a:cubicBezTo>
                        <a:pt x="50721" y="149419"/>
                        <a:pt x="48397" y="148923"/>
                        <a:pt x="48358" y="148371"/>
                      </a:cubicBezTo>
                      <a:cubicBezTo>
                        <a:pt x="48177" y="145885"/>
                        <a:pt x="46006" y="148133"/>
                        <a:pt x="48644" y="143542"/>
                      </a:cubicBezTo>
                      <a:cubicBezTo>
                        <a:pt x="49682" y="141732"/>
                        <a:pt x="52949" y="139951"/>
                        <a:pt x="54578" y="138732"/>
                      </a:cubicBezTo>
                      <a:cubicBezTo>
                        <a:pt x="59179" y="135303"/>
                        <a:pt x="64189" y="132493"/>
                        <a:pt x="68589" y="128749"/>
                      </a:cubicBezTo>
                      <a:cubicBezTo>
                        <a:pt x="75867" y="122549"/>
                        <a:pt x="89268" y="114986"/>
                        <a:pt x="94116" y="106899"/>
                      </a:cubicBezTo>
                      <a:cubicBezTo>
                        <a:pt x="97793" y="100765"/>
                        <a:pt x="92488" y="101451"/>
                        <a:pt x="92326" y="95583"/>
                      </a:cubicBezTo>
                      <a:cubicBezTo>
                        <a:pt x="92240" y="92288"/>
                        <a:pt x="95450" y="88078"/>
                        <a:pt x="96917" y="85449"/>
                      </a:cubicBezTo>
                      <a:cubicBezTo>
                        <a:pt x="106147" y="68913"/>
                        <a:pt x="119405" y="53292"/>
                        <a:pt x="131016" y="37852"/>
                      </a:cubicBezTo>
                      <a:cubicBezTo>
                        <a:pt x="138198" y="28308"/>
                        <a:pt x="145418" y="18793"/>
                        <a:pt x="152657" y="9287"/>
                      </a:cubicBezTo>
                      <a:cubicBezTo>
                        <a:pt x="157705" y="2667"/>
                        <a:pt x="158696" y="0"/>
                        <a:pt x="167259" y="0"/>
                      </a:cubicBezTo>
                      <a:cubicBezTo>
                        <a:pt x="173364" y="0"/>
                        <a:pt x="179460" y="0"/>
                        <a:pt x="185566" y="0"/>
                      </a:cubicBezTo>
                      <a:cubicBezTo>
                        <a:pt x="179794" y="7572"/>
                        <a:pt x="174012" y="15154"/>
                        <a:pt x="168259" y="22755"/>
                      </a:cubicBezTo>
                      <a:cubicBezTo>
                        <a:pt x="165459" y="26460"/>
                        <a:pt x="162782" y="29194"/>
                        <a:pt x="162287" y="33499"/>
                      </a:cubicBezTo>
                      <a:cubicBezTo>
                        <a:pt x="161925" y="36576"/>
                        <a:pt x="163497" y="39272"/>
                        <a:pt x="162496" y="42481"/>
                      </a:cubicBezTo>
                      <a:cubicBezTo>
                        <a:pt x="160163" y="50006"/>
                        <a:pt x="156534" y="45863"/>
                        <a:pt x="161077" y="53369"/>
                      </a:cubicBezTo>
                      <a:cubicBezTo>
                        <a:pt x="164582" y="59103"/>
                        <a:pt x="165173" y="64665"/>
                        <a:pt x="166535" y="71142"/>
                      </a:cubicBezTo>
                      <a:lnTo>
                        <a:pt x="166535" y="71142"/>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07" name="Freeform: Shape 506">
                  <a:extLst>
                    <a:ext uri="{FF2B5EF4-FFF2-40B4-BE49-F238E27FC236}">
                      <a16:creationId xmlns:a16="http://schemas.microsoft.com/office/drawing/2014/main" id="{B0119BE1-F3CB-4AD9-88B7-F3018FB4D99C}"/>
                    </a:ext>
                  </a:extLst>
                </p:cNvPr>
                <p:cNvSpPr/>
                <p:nvPr/>
              </p:nvSpPr>
              <p:spPr>
                <a:xfrm>
                  <a:off x="2940174" y="2994132"/>
                  <a:ext cx="178668" cy="97593"/>
                </a:xfrm>
                <a:custGeom>
                  <a:avLst/>
                  <a:gdLst>
                    <a:gd name="connsiteX0" fmla="*/ 126780 w 178668"/>
                    <a:gd name="connsiteY0" fmla="*/ 90298 h 97593"/>
                    <a:gd name="connsiteX1" fmla="*/ 114512 w 178668"/>
                    <a:gd name="connsiteY1" fmla="*/ 96870 h 97593"/>
                    <a:gd name="connsiteX2" fmla="*/ 112254 w 178668"/>
                    <a:gd name="connsiteY2" fmla="*/ 93346 h 97593"/>
                    <a:gd name="connsiteX3" fmla="*/ 103615 w 178668"/>
                    <a:gd name="connsiteY3" fmla="*/ 91165 h 97593"/>
                    <a:gd name="connsiteX4" fmla="*/ 55533 w 178668"/>
                    <a:gd name="connsiteY4" fmla="*/ 91460 h 97593"/>
                    <a:gd name="connsiteX5" fmla="*/ 7279 w 178668"/>
                    <a:gd name="connsiteY5" fmla="*/ 91765 h 97593"/>
                    <a:gd name="connsiteX6" fmla="*/ 3012 w 178668"/>
                    <a:gd name="connsiteY6" fmla="*/ 82688 h 97593"/>
                    <a:gd name="connsiteX7" fmla="*/ 8651 w 178668"/>
                    <a:gd name="connsiteY7" fmla="*/ 69743 h 97593"/>
                    <a:gd name="connsiteX8" fmla="*/ 9470 w 178668"/>
                    <a:gd name="connsiteY8" fmla="*/ 63123 h 97593"/>
                    <a:gd name="connsiteX9" fmla="*/ 12032 w 178668"/>
                    <a:gd name="connsiteY9" fmla="*/ 51055 h 97593"/>
                    <a:gd name="connsiteX10" fmla="*/ 14547 w 178668"/>
                    <a:gd name="connsiteY10" fmla="*/ 34939 h 97593"/>
                    <a:gd name="connsiteX11" fmla="*/ 14194 w 178668"/>
                    <a:gd name="connsiteY11" fmla="*/ 23852 h 97593"/>
                    <a:gd name="connsiteX12" fmla="*/ 25615 w 178668"/>
                    <a:gd name="connsiteY12" fmla="*/ 11622 h 97593"/>
                    <a:gd name="connsiteX13" fmla="*/ 24796 w 178668"/>
                    <a:gd name="connsiteY13" fmla="*/ 8288 h 97593"/>
                    <a:gd name="connsiteX14" fmla="*/ 27510 w 178668"/>
                    <a:gd name="connsiteY14" fmla="*/ 4792 h 97593"/>
                    <a:gd name="connsiteX15" fmla="*/ 31263 w 178668"/>
                    <a:gd name="connsiteY15" fmla="*/ 487 h 97593"/>
                    <a:gd name="connsiteX16" fmla="*/ 42188 w 178668"/>
                    <a:gd name="connsiteY16" fmla="*/ 487 h 97593"/>
                    <a:gd name="connsiteX17" fmla="*/ 67382 w 178668"/>
                    <a:gd name="connsiteY17" fmla="*/ 477 h 97593"/>
                    <a:gd name="connsiteX18" fmla="*/ 173891 w 178668"/>
                    <a:gd name="connsiteY18" fmla="*/ 439 h 97593"/>
                    <a:gd name="connsiteX19" fmla="*/ 173833 w 178668"/>
                    <a:gd name="connsiteY19" fmla="*/ 5402 h 97593"/>
                    <a:gd name="connsiteX20" fmla="*/ 170814 w 178668"/>
                    <a:gd name="connsiteY20" fmla="*/ 10774 h 97593"/>
                    <a:gd name="connsiteX21" fmla="*/ 167204 w 178668"/>
                    <a:gd name="connsiteY21" fmla="*/ 18346 h 97593"/>
                    <a:gd name="connsiteX22" fmla="*/ 170252 w 178668"/>
                    <a:gd name="connsiteY22" fmla="*/ 25757 h 97593"/>
                    <a:gd name="connsiteX23" fmla="*/ 173853 w 178668"/>
                    <a:gd name="connsiteY23" fmla="*/ 28538 h 97593"/>
                    <a:gd name="connsiteX24" fmla="*/ 173233 w 178668"/>
                    <a:gd name="connsiteY24" fmla="*/ 31605 h 97593"/>
                    <a:gd name="connsiteX25" fmla="*/ 176262 w 178668"/>
                    <a:gd name="connsiteY25" fmla="*/ 37501 h 97593"/>
                    <a:gd name="connsiteX26" fmla="*/ 177415 w 178668"/>
                    <a:gd name="connsiteY26" fmla="*/ 49150 h 97593"/>
                    <a:gd name="connsiteX27" fmla="*/ 147173 w 178668"/>
                    <a:gd name="connsiteY27" fmla="*/ 65857 h 97593"/>
                    <a:gd name="connsiteX28" fmla="*/ 140420 w 178668"/>
                    <a:gd name="connsiteY28" fmla="*/ 77716 h 97593"/>
                    <a:gd name="connsiteX29" fmla="*/ 126780 w 178668"/>
                    <a:gd name="connsiteY29" fmla="*/ 90298 h 97593"/>
                    <a:gd name="connsiteX30" fmla="*/ 126780 w 178668"/>
                    <a:gd name="connsiteY30" fmla="*/ 90298 h 97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78668" h="97593">
                      <a:moveTo>
                        <a:pt x="126780" y="90298"/>
                      </a:moveTo>
                      <a:cubicBezTo>
                        <a:pt x="120370" y="91689"/>
                        <a:pt x="119293" y="100071"/>
                        <a:pt x="114512" y="96870"/>
                      </a:cubicBezTo>
                      <a:cubicBezTo>
                        <a:pt x="114074" y="96575"/>
                        <a:pt x="113073" y="94089"/>
                        <a:pt x="112254" y="93346"/>
                      </a:cubicBezTo>
                      <a:cubicBezTo>
                        <a:pt x="109740" y="91108"/>
                        <a:pt x="108397" y="91117"/>
                        <a:pt x="103615" y="91165"/>
                      </a:cubicBezTo>
                      <a:cubicBezTo>
                        <a:pt x="87585" y="91289"/>
                        <a:pt x="71564" y="91355"/>
                        <a:pt x="55533" y="91460"/>
                      </a:cubicBezTo>
                      <a:cubicBezTo>
                        <a:pt x="39445" y="91565"/>
                        <a:pt x="23367" y="91632"/>
                        <a:pt x="7279" y="91765"/>
                      </a:cubicBezTo>
                      <a:cubicBezTo>
                        <a:pt x="-2579" y="91851"/>
                        <a:pt x="-741" y="89584"/>
                        <a:pt x="3012" y="82688"/>
                      </a:cubicBezTo>
                      <a:cubicBezTo>
                        <a:pt x="5212" y="78639"/>
                        <a:pt x="7556" y="73534"/>
                        <a:pt x="8651" y="69743"/>
                      </a:cubicBezTo>
                      <a:cubicBezTo>
                        <a:pt x="9013" y="68495"/>
                        <a:pt x="9108" y="64638"/>
                        <a:pt x="9470" y="63123"/>
                      </a:cubicBezTo>
                      <a:cubicBezTo>
                        <a:pt x="9956" y="61075"/>
                        <a:pt x="11489" y="54894"/>
                        <a:pt x="12032" y="51055"/>
                      </a:cubicBezTo>
                      <a:cubicBezTo>
                        <a:pt x="12794" y="45664"/>
                        <a:pt x="13671" y="40463"/>
                        <a:pt x="14547" y="34939"/>
                      </a:cubicBezTo>
                      <a:cubicBezTo>
                        <a:pt x="15004" y="32043"/>
                        <a:pt x="12975" y="26557"/>
                        <a:pt x="14194" y="23852"/>
                      </a:cubicBezTo>
                      <a:cubicBezTo>
                        <a:pt x="16290" y="19213"/>
                        <a:pt x="23262" y="16451"/>
                        <a:pt x="25615" y="11622"/>
                      </a:cubicBezTo>
                      <a:cubicBezTo>
                        <a:pt x="26567" y="9669"/>
                        <a:pt x="24386" y="9621"/>
                        <a:pt x="24796" y="8288"/>
                      </a:cubicBezTo>
                      <a:cubicBezTo>
                        <a:pt x="25205" y="6954"/>
                        <a:pt x="26787" y="6059"/>
                        <a:pt x="27510" y="4792"/>
                      </a:cubicBezTo>
                      <a:cubicBezTo>
                        <a:pt x="29425" y="1430"/>
                        <a:pt x="27091" y="1992"/>
                        <a:pt x="31263" y="487"/>
                      </a:cubicBezTo>
                      <a:cubicBezTo>
                        <a:pt x="34283" y="-608"/>
                        <a:pt x="38931" y="487"/>
                        <a:pt x="42188" y="487"/>
                      </a:cubicBezTo>
                      <a:cubicBezTo>
                        <a:pt x="50589" y="477"/>
                        <a:pt x="58981" y="468"/>
                        <a:pt x="67382" y="477"/>
                      </a:cubicBezTo>
                      <a:cubicBezTo>
                        <a:pt x="102882" y="506"/>
                        <a:pt x="138391" y="439"/>
                        <a:pt x="173891" y="439"/>
                      </a:cubicBezTo>
                      <a:cubicBezTo>
                        <a:pt x="172548" y="3173"/>
                        <a:pt x="174100" y="3668"/>
                        <a:pt x="173833" y="5402"/>
                      </a:cubicBezTo>
                      <a:cubicBezTo>
                        <a:pt x="173491" y="7583"/>
                        <a:pt x="172291" y="8240"/>
                        <a:pt x="170814" y="10774"/>
                      </a:cubicBezTo>
                      <a:cubicBezTo>
                        <a:pt x="169423" y="13165"/>
                        <a:pt x="167642" y="15527"/>
                        <a:pt x="167204" y="18346"/>
                      </a:cubicBezTo>
                      <a:cubicBezTo>
                        <a:pt x="166223" y="24538"/>
                        <a:pt x="168033" y="21842"/>
                        <a:pt x="170252" y="25757"/>
                      </a:cubicBezTo>
                      <a:cubicBezTo>
                        <a:pt x="170690" y="26538"/>
                        <a:pt x="173062" y="27319"/>
                        <a:pt x="173853" y="28538"/>
                      </a:cubicBezTo>
                      <a:cubicBezTo>
                        <a:pt x="174243" y="29129"/>
                        <a:pt x="172919" y="30891"/>
                        <a:pt x="173233" y="31605"/>
                      </a:cubicBezTo>
                      <a:cubicBezTo>
                        <a:pt x="174167" y="33710"/>
                        <a:pt x="175253" y="35405"/>
                        <a:pt x="176262" y="37501"/>
                      </a:cubicBezTo>
                      <a:cubicBezTo>
                        <a:pt x="178215" y="41540"/>
                        <a:pt x="179920" y="44607"/>
                        <a:pt x="177415" y="49150"/>
                      </a:cubicBezTo>
                      <a:cubicBezTo>
                        <a:pt x="170881" y="60961"/>
                        <a:pt x="158089" y="61742"/>
                        <a:pt x="147173" y="65857"/>
                      </a:cubicBezTo>
                      <a:cubicBezTo>
                        <a:pt x="139286" y="68829"/>
                        <a:pt x="142487" y="71943"/>
                        <a:pt x="140420" y="77716"/>
                      </a:cubicBezTo>
                      <a:cubicBezTo>
                        <a:pt x="138572" y="82869"/>
                        <a:pt x="131247" y="87564"/>
                        <a:pt x="126780" y="90298"/>
                      </a:cubicBezTo>
                      <a:lnTo>
                        <a:pt x="126780" y="90298"/>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08" name="Freeform: Shape 507">
                  <a:extLst>
                    <a:ext uri="{FF2B5EF4-FFF2-40B4-BE49-F238E27FC236}">
                      <a16:creationId xmlns:a16="http://schemas.microsoft.com/office/drawing/2014/main" id="{2757B310-BDB1-484A-A280-5E4D0B8A6331}"/>
                    </a:ext>
                  </a:extLst>
                </p:cNvPr>
                <p:cNvSpPr/>
                <p:nvPr/>
              </p:nvSpPr>
              <p:spPr>
                <a:xfrm>
                  <a:off x="3107349" y="3262315"/>
                  <a:ext cx="132645" cy="145593"/>
                </a:xfrm>
                <a:custGeom>
                  <a:avLst/>
                  <a:gdLst>
                    <a:gd name="connsiteX0" fmla="*/ 104680 w 132645"/>
                    <a:gd name="connsiteY0" fmla="*/ 62 h 145593"/>
                    <a:gd name="connsiteX1" fmla="*/ 96983 w 132645"/>
                    <a:gd name="connsiteY1" fmla="*/ 5891 h 145593"/>
                    <a:gd name="connsiteX2" fmla="*/ 97107 w 132645"/>
                    <a:gd name="connsiteY2" fmla="*/ 11806 h 145593"/>
                    <a:gd name="connsiteX3" fmla="*/ 105185 w 132645"/>
                    <a:gd name="connsiteY3" fmla="*/ 18378 h 145593"/>
                    <a:gd name="connsiteX4" fmla="*/ 107747 w 132645"/>
                    <a:gd name="connsiteY4" fmla="*/ 31618 h 145593"/>
                    <a:gd name="connsiteX5" fmla="*/ 117253 w 132645"/>
                    <a:gd name="connsiteY5" fmla="*/ 45915 h 145593"/>
                    <a:gd name="connsiteX6" fmla="*/ 119986 w 132645"/>
                    <a:gd name="connsiteY6" fmla="*/ 54040 h 145593"/>
                    <a:gd name="connsiteX7" fmla="*/ 125435 w 132645"/>
                    <a:gd name="connsiteY7" fmla="*/ 66127 h 145593"/>
                    <a:gd name="connsiteX8" fmla="*/ 124844 w 132645"/>
                    <a:gd name="connsiteY8" fmla="*/ 74947 h 145593"/>
                    <a:gd name="connsiteX9" fmla="*/ 127892 w 132645"/>
                    <a:gd name="connsiteY9" fmla="*/ 81729 h 145593"/>
                    <a:gd name="connsiteX10" fmla="*/ 132645 w 132645"/>
                    <a:gd name="connsiteY10" fmla="*/ 93635 h 145593"/>
                    <a:gd name="connsiteX11" fmla="*/ 124911 w 132645"/>
                    <a:gd name="connsiteY11" fmla="*/ 97903 h 145593"/>
                    <a:gd name="connsiteX12" fmla="*/ 124149 w 132645"/>
                    <a:gd name="connsiteY12" fmla="*/ 101246 h 145593"/>
                    <a:gd name="connsiteX13" fmla="*/ 119272 w 132645"/>
                    <a:gd name="connsiteY13" fmla="*/ 104475 h 145593"/>
                    <a:gd name="connsiteX14" fmla="*/ 115595 w 132645"/>
                    <a:gd name="connsiteY14" fmla="*/ 109095 h 145593"/>
                    <a:gd name="connsiteX15" fmla="*/ 117958 w 132645"/>
                    <a:gd name="connsiteY15" fmla="*/ 109333 h 145593"/>
                    <a:gd name="connsiteX16" fmla="*/ 109890 w 132645"/>
                    <a:gd name="connsiteY16" fmla="*/ 114943 h 145593"/>
                    <a:gd name="connsiteX17" fmla="*/ 106328 w 132645"/>
                    <a:gd name="connsiteY17" fmla="*/ 119782 h 145593"/>
                    <a:gd name="connsiteX18" fmla="*/ 99565 w 132645"/>
                    <a:gd name="connsiteY18" fmla="*/ 132307 h 145593"/>
                    <a:gd name="connsiteX19" fmla="*/ 86011 w 132645"/>
                    <a:gd name="connsiteY19" fmla="*/ 132507 h 145593"/>
                    <a:gd name="connsiteX20" fmla="*/ 78562 w 132645"/>
                    <a:gd name="connsiteY20" fmla="*/ 145089 h 145593"/>
                    <a:gd name="connsiteX21" fmla="*/ 75648 w 132645"/>
                    <a:gd name="connsiteY21" fmla="*/ 139755 h 145593"/>
                    <a:gd name="connsiteX22" fmla="*/ 0 w 132645"/>
                    <a:gd name="connsiteY22" fmla="*/ 134860 h 145593"/>
                    <a:gd name="connsiteX23" fmla="*/ 1162 w 132645"/>
                    <a:gd name="connsiteY23" fmla="*/ 116095 h 145593"/>
                    <a:gd name="connsiteX24" fmla="*/ 8973 w 132645"/>
                    <a:gd name="connsiteY24" fmla="*/ 95674 h 145593"/>
                    <a:gd name="connsiteX25" fmla="*/ 13916 w 132645"/>
                    <a:gd name="connsiteY25" fmla="*/ 89082 h 145593"/>
                    <a:gd name="connsiteX26" fmla="*/ 17050 w 132645"/>
                    <a:gd name="connsiteY26" fmla="*/ 83834 h 145593"/>
                    <a:gd name="connsiteX27" fmla="*/ 18317 w 132645"/>
                    <a:gd name="connsiteY27" fmla="*/ 64908 h 145593"/>
                    <a:gd name="connsiteX28" fmla="*/ 27184 w 132645"/>
                    <a:gd name="connsiteY28" fmla="*/ 24713 h 145593"/>
                    <a:gd name="connsiteX29" fmla="*/ 31813 w 132645"/>
                    <a:gd name="connsiteY29" fmla="*/ 5120 h 145593"/>
                    <a:gd name="connsiteX30" fmla="*/ 38795 w 132645"/>
                    <a:gd name="connsiteY30" fmla="*/ 119 h 145593"/>
                    <a:gd name="connsiteX31" fmla="*/ 50749 w 132645"/>
                    <a:gd name="connsiteY31" fmla="*/ 233 h 145593"/>
                    <a:gd name="connsiteX32" fmla="*/ 104680 w 132645"/>
                    <a:gd name="connsiteY32" fmla="*/ 62 h 145593"/>
                    <a:gd name="connsiteX33" fmla="*/ 104680 w 132645"/>
                    <a:gd name="connsiteY33" fmla="*/ 62 h 145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2645" h="145593">
                      <a:moveTo>
                        <a:pt x="104680" y="62"/>
                      </a:moveTo>
                      <a:cubicBezTo>
                        <a:pt x="102565" y="2195"/>
                        <a:pt x="98688" y="3624"/>
                        <a:pt x="96983" y="5891"/>
                      </a:cubicBezTo>
                      <a:cubicBezTo>
                        <a:pt x="93869" y="10034"/>
                        <a:pt x="94602" y="7815"/>
                        <a:pt x="97107" y="11806"/>
                      </a:cubicBezTo>
                      <a:cubicBezTo>
                        <a:pt x="99174" y="15092"/>
                        <a:pt x="103661" y="15864"/>
                        <a:pt x="105185" y="18378"/>
                      </a:cubicBezTo>
                      <a:cubicBezTo>
                        <a:pt x="107156" y="21645"/>
                        <a:pt x="105851" y="27922"/>
                        <a:pt x="107747" y="31618"/>
                      </a:cubicBezTo>
                      <a:cubicBezTo>
                        <a:pt x="110357" y="36685"/>
                        <a:pt x="115024" y="40896"/>
                        <a:pt x="117253" y="45915"/>
                      </a:cubicBezTo>
                      <a:cubicBezTo>
                        <a:pt x="118558" y="48868"/>
                        <a:pt x="118929" y="51116"/>
                        <a:pt x="119986" y="54040"/>
                      </a:cubicBezTo>
                      <a:cubicBezTo>
                        <a:pt x="121701" y="58764"/>
                        <a:pt x="124911" y="60965"/>
                        <a:pt x="125435" y="66127"/>
                      </a:cubicBezTo>
                      <a:cubicBezTo>
                        <a:pt x="125740" y="69080"/>
                        <a:pt x="124301" y="71899"/>
                        <a:pt x="124844" y="74947"/>
                      </a:cubicBezTo>
                      <a:cubicBezTo>
                        <a:pt x="125216" y="76976"/>
                        <a:pt x="127502" y="78919"/>
                        <a:pt x="127892" y="81729"/>
                      </a:cubicBezTo>
                      <a:cubicBezTo>
                        <a:pt x="128730" y="87692"/>
                        <a:pt x="124720" y="91292"/>
                        <a:pt x="132645" y="93635"/>
                      </a:cubicBezTo>
                      <a:cubicBezTo>
                        <a:pt x="130464" y="96788"/>
                        <a:pt x="127330" y="96112"/>
                        <a:pt x="124911" y="97903"/>
                      </a:cubicBezTo>
                      <a:cubicBezTo>
                        <a:pt x="123177" y="99188"/>
                        <a:pt x="125273" y="100179"/>
                        <a:pt x="124149" y="101246"/>
                      </a:cubicBezTo>
                      <a:cubicBezTo>
                        <a:pt x="122577" y="102741"/>
                        <a:pt x="120739" y="103037"/>
                        <a:pt x="119272" y="104475"/>
                      </a:cubicBezTo>
                      <a:cubicBezTo>
                        <a:pt x="118329" y="105399"/>
                        <a:pt x="118196" y="108018"/>
                        <a:pt x="115595" y="109095"/>
                      </a:cubicBezTo>
                      <a:cubicBezTo>
                        <a:pt x="116415" y="109133"/>
                        <a:pt x="117186" y="109304"/>
                        <a:pt x="117958" y="109333"/>
                      </a:cubicBezTo>
                      <a:cubicBezTo>
                        <a:pt x="115357" y="111504"/>
                        <a:pt x="113357" y="114524"/>
                        <a:pt x="109890" y="114943"/>
                      </a:cubicBezTo>
                      <a:cubicBezTo>
                        <a:pt x="112338" y="117191"/>
                        <a:pt x="109880" y="121906"/>
                        <a:pt x="106328" y="119782"/>
                      </a:cubicBezTo>
                      <a:cubicBezTo>
                        <a:pt x="104508" y="123363"/>
                        <a:pt x="102365" y="129602"/>
                        <a:pt x="99565" y="132307"/>
                      </a:cubicBezTo>
                      <a:cubicBezTo>
                        <a:pt x="94926" y="136793"/>
                        <a:pt x="91392" y="130040"/>
                        <a:pt x="86011" y="132507"/>
                      </a:cubicBezTo>
                      <a:cubicBezTo>
                        <a:pt x="80943" y="134831"/>
                        <a:pt x="83591" y="142870"/>
                        <a:pt x="78562" y="145089"/>
                      </a:cubicBezTo>
                      <a:cubicBezTo>
                        <a:pt x="74181" y="147023"/>
                        <a:pt x="74619" y="142994"/>
                        <a:pt x="75648" y="139755"/>
                      </a:cubicBezTo>
                      <a:cubicBezTo>
                        <a:pt x="50435" y="138108"/>
                        <a:pt x="25213" y="136574"/>
                        <a:pt x="0" y="134860"/>
                      </a:cubicBezTo>
                      <a:cubicBezTo>
                        <a:pt x="1295" y="128345"/>
                        <a:pt x="-1410" y="122658"/>
                        <a:pt x="1162" y="116095"/>
                      </a:cubicBezTo>
                      <a:cubicBezTo>
                        <a:pt x="3743" y="109495"/>
                        <a:pt x="5401" y="101465"/>
                        <a:pt x="8973" y="95674"/>
                      </a:cubicBezTo>
                      <a:cubicBezTo>
                        <a:pt x="10411" y="93331"/>
                        <a:pt x="12287" y="91235"/>
                        <a:pt x="13916" y="89082"/>
                      </a:cubicBezTo>
                      <a:cubicBezTo>
                        <a:pt x="16573" y="85577"/>
                        <a:pt x="16078" y="86711"/>
                        <a:pt x="17050" y="83834"/>
                      </a:cubicBezTo>
                      <a:cubicBezTo>
                        <a:pt x="19059" y="77843"/>
                        <a:pt x="17469" y="71280"/>
                        <a:pt x="18317" y="64908"/>
                      </a:cubicBezTo>
                      <a:cubicBezTo>
                        <a:pt x="20107" y="51459"/>
                        <a:pt x="24127" y="37924"/>
                        <a:pt x="27184" y="24713"/>
                      </a:cubicBezTo>
                      <a:cubicBezTo>
                        <a:pt x="28670" y="18302"/>
                        <a:pt x="29575" y="11273"/>
                        <a:pt x="31813" y="5120"/>
                      </a:cubicBezTo>
                      <a:cubicBezTo>
                        <a:pt x="33861" y="-510"/>
                        <a:pt x="32347" y="614"/>
                        <a:pt x="38795" y="119"/>
                      </a:cubicBezTo>
                      <a:cubicBezTo>
                        <a:pt x="42720" y="-186"/>
                        <a:pt x="46825" y="186"/>
                        <a:pt x="50749" y="233"/>
                      </a:cubicBezTo>
                      <a:cubicBezTo>
                        <a:pt x="68618" y="452"/>
                        <a:pt x="87497" y="-91"/>
                        <a:pt x="104680" y="62"/>
                      </a:cubicBezTo>
                      <a:lnTo>
                        <a:pt x="104680" y="62"/>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09" name="Freeform: Shape 508">
                  <a:extLst>
                    <a:ext uri="{FF2B5EF4-FFF2-40B4-BE49-F238E27FC236}">
                      <a16:creationId xmlns:a16="http://schemas.microsoft.com/office/drawing/2014/main" id="{F6E7BD55-F250-40B7-80DC-B349111C41C1}"/>
                    </a:ext>
                  </a:extLst>
                </p:cNvPr>
                <p:cNvSpPr/>
                <p:nvPr/>
              </p:nvSpPr>
              <p:spPr>
                <a:xfrm>
                  <a:off x="3025701" y="3387610"/>
                  <a:ext cx="183773" cy="185826"/>
                </a:xfrm>
                <a:custGeom>
                  <a:avLst/>
                  <a:gdLst>
                    <a:gd name="connsiteX0" fmla="*/ 152743 w 183773"/>
                    <a:gd name="connsiteY0" fmla="*/ 14165 h 185826"/>
                    <a:gd name="connsiteX1" fmla="*/ 157305 w 183773"/>
                    <a:gd name="connsiteY1" fmla="*/ 14460 h 185826"/>
                    <a:gd name="connsiteX2" fmla="*/ 158839 w 183773"/>
                    <a:gd name="connsiteY2" fmla="*/ 20575 h 185826"/>
                    <a:gd name="connsiteX3" fmla="*/ 166421 w 183773"/>
                    <a:gd name="connsiteY3" fmla="*/ 7774 h 185826"/>
                    <a:gd name="connsiteX4" fmla="*/ 177194 w 183773"/>
                    <a:gd name="connsiteY4" fmla="*/ 9040 h 185826"/>
                    <a:gd name="connsiteX5" fmla="*/ 180708 w 183773"/>
                    <a:gd name="connsiteY5" fmla="*/ 14413 h 185826"/>
                    <a:gd name="connsiteX6" fmla="*/ 178994 w 183773"/>
                    <a:gd name="connsiteY6" fmla="*/ 25795 h 185826"/>
                    <a:gd name="connsiteX7" fmla="*/ 180118 w 183773"/>
                    <a:gd name="connsiteY7" fmla="*/ 63190 h 185826"/>
                    <a:gd name="connsiteX8" fmla="*/ 183461 w 183773"/>
                    <a:gd name="connsiteY8" fmla="*/ 81335 h 185826"/>
                    <a:gd name="connsiteX9" fmla="*/ 180794 w 183773"/>
                    <a:gd name="connsiteY9" fmla="*/ 98385 h 185826"/>
                    <a:gd name="connsiteX10" fmla="*/ 182851 w 183773"/>
                    <a:gd name="connsiteY10" fmla="*/ 78792 h 185826"/>
                    <a:gd name="connsiteX11" fmla="*/ 178413 w 183773"/>
                    <a:gd name="connsiteY11" fmla="*/ 84393 h 185826"/>
                    <a:gd name="connsiteX12" fmla="*/ 179165 w 183773"/>
                    <a:gd name="connsiteY12" fmla="*/ 79002 h 185826"/>
                    <a:gd name="connsiteX13" fmla="*/ 180975 w 183773"/>
                    <a:gd name="connsiteY13" fmla="*/ 76687 h 185826"/>
                    <a:gd name="connsiteX14" fmla="*/ 179318 w 183773"/>
                    <a:gd name="connsiteY14" fmla="*/ 75325 h 185826"/>
                    <a:gd name="connsiteX15" fmla="*/ 178146 w 183773"/>
                    <a:gd name="connsiteY15" fmla="*/ 73315 h 185826"/>
                    <a:gd name="connsiteX16" fmla="*/ 179041 w 183773"/>
                    <a:gd name="connsiteY16" fmla="*/ 102338 h 185826"/>
                    <a:gd name="connsiteX17" fmla="*/ 181794 w 183773"/>
                    <a:gd name="connsiteY17" fmla="*/ 132789 h 185826"/>
                    <a:gd name="connsiteX18" fmla="*/ 170012 w 183773"/>
                    <a:gd name="connsiteY18" fmla="*/ 163488 h 185826"/>
                    <a:gd name="connsiteX19" fmla="*/ 169469 w 183773"/>
                    <a:gd name="connsiteY19" fmla="*/ 162079 h 185826"/>
                    <a:gd name="connsiteX20" fmla="*/ 148323 w 183773"/>
                    <a:gd name="connsiteY20" fmla="*/ 183624 h 185826"/>
                    <a:gd name="connsiteX21" fmla="*/ 133883 w 183773"/>
                    <a:gd name="connsiteY21" fmla="*/ 185405 h 185826"/>
                    <a:gd name="connsiteX22" fmla="*/ 139046 w 183773"/>
                    <a:gd name="connsiteY22" fmla="*/ 182681 h 185826"/>
                    <a:gd name="connsiteX23" fmla="*/ 137893 w 183773"/>
                    <a:gd name="connsiteY23" fmla="*/ 179309 h 185826"/>
                    <a:gd name="connsiteX24" fmla="*/ 134836 w 183773"/>
                    <a:gd name="connsiteY24" fmla="*/ 172432 h 185826"/>
                    <a:gd name="connsiteX25" fmla="*/ 132721 w 183773"/>
                    <a:gd name="connsiteY25" fmla="*/ 165127 h 185826"/>
                    <a:gd name="connsiteX26" fmla="*/ 126959 w 183773"/>
                    <a:gd name="connsiteY26" fmla="*/ 161288 h 185826"/>
                    <a:gd name="connsiteX27" fmla="*/ 123787 w 183773"/>
                    <a:gd name="connsiteY27" fmla="*/ 145219 h 185826"/>
                    <a:gd name="connsiteX28" fmla="*/ 121682 w 183773"/>
                    <a:gd name="connsiteY28" fmla="*/ 142809 h 185826"/>
                    <a:gd name="connsiteX29" fmla="*/ 127549 w 183773"/>
                    <a:gd name="connsiteY29" fmla="*/ 136609 h 185826"/>
                    <a:gd name="connsiteX30" fmla="*/ 120120 w 183773"/>
                    <a:gd name="connsiteY30" fmla="*/ 140952 h 185826"/>
                    <a:gd name="connsiteX31" fmla="*/ 124844 w 183773"/>
                    <a:gd name="connsiteY31" fmla="*/ 127960 h 185826"/>
                    <a:gd name="connsiteX32" fmla="*/ 114433 w 183773"/>
                    <a:gd name="connsiteY32" fmla="*/ 128770 h 185826"/>
                    <a:gd name="connsiteX33" fmla="*/ 109557 w 183773"/>
                    <a:gd name="connsiteY33" fmla="*/ 111015 h 185826"/>
                    <a:gd name="connsiteX34" fmla="*/ 121796 w 183773"/>
                    <a:gd name="connsiteY34" fmla="*/ 98318 h 185826"/>
                    <a:gd name="connsiteX35" fmla="*/ 116310 w 183773"/>
                    <a:gd name="connsiteY35" fmla="*/ 96080 h 185826"/>
                    <a:gd name="connsiteX36" fmla="*/ 115176 w 183773"/>
                    <a:gd name="connsiteY36" fmla="*/ 102776 h 185826"/>
                    <a:gd name="connsiteX37" fmla="*/ 110490 w 183773"/>
                    <a:gd name="connsiteY37" fmla="*/ 98185 h 185826"/>
                    <a:gd name="connsiteX38" fmla="*/ 124206 w 183773"/>
                    <a:gd name="connsiteY38" fmla="*/ 73315 h 185826"/>
                    <a:gd name="connsiteX39" fmla="*/ 119205 w 183773"/>
                    <a:gd name="connsiteY39" fmla="*/ 55818 h 185826"/>
                    <a:gd name="connsiteX40" fmla="*/ 107252 w 183773"/>
                    <a:gd name="connsiteY40" fmla="*/ 34586 h 185826"/>
                    <a:gd name="connsiteX41" fmla="*/ 96136 w 183773"/>
                    <a:gd name="connsiteY41" fmla="*/ 29424 h 185826"/>
                    <a:gd name="connsiteX42" fmla="*/ 87859 w 183773"/>
                    <a:gd name="connsiteY42" fmla="*/ 33653 h 185826"/>
                    <a:gd name="connsiteX43" fmla="*/ 70428 w 183773"/>
                    <a:gd name="connsiteY43" fmla="*/ 39273 h 185826"/>
                    <a:gd name="connsiteX44" fmla="*/ 55731 w 183773"/>
                    <a:gd name="connsiteY44" fmla="*/ 37234 h 185826"/>
                    <a:gd name="connsiteX45" fmla="*/ 56817 w 183773"/>
                    <a:gd name="connsiteY45" fmla="*/ 40454 h 185826"/>
                    <a:gd name="connsiteX46" fmla="*/ 51321 w 183773"/>
                    <a:gd name="connsiteY46" fmla="*/ 28424 h 185826"/>
                    <a:gd name="connsiteX47" fmla="*/ 55397 w 183773"/>
                    <a:gd name="connsiteY47" fmla="*/ 23233 h 185826"/>
                    <a:gd name="connsiteX48" fmla="*/ 47844 w 183773"/>
                    <a:gd name="connsiteY48" fmla="*/ 26185 h 185826"/>
                    <a:gd name="connsiteX49" fmla="*/ 31775 w 183773"/>
                    <a:gd name="connsiteY49" fmla="*/ 19689 h 185826"/>
                    <a:gd name="connsiteX50" fmla="*/ 41548 w 183773"/>
                    <a:gd name="connsiteY50" fmla="*/ 19489 h 185826"/>
                    <a:gd name="connsiteX51" fmla="*/ 9144 w 183773"/>
                    <a:gd name="connsiteY51" fmla="*/ 21585 h 185826"/>
                    <a:gd name="connsiteX52" fmla="*/ 17916 w 183773"/>
                    <a:gd name="connsiteY52" fmla="*/ 14308 h 185826"/>
                    <a:gd name="connsiteX53" fmla="*/ 14888 w 183773"/>
                    <a:gd name="connsiteY53" fmla="*/ 16499 h 185826"/>
                    <a:gd name="connsiteX54" fmla="*/ 0 w 183773"/>
                    <a:gd name="connsiteY54" fmla="*/ 22518 h 185826"/>
                    <a:gd name="connsiteX55" fmla="*/ 2562 w 183773"/>
                    <a:gd name="connsiteY55" fmla="*/ 19842 h 185826"/>
                    <a:gd name="connsiteX56" fmla="*/ 1162 w 183773"/>
                    <a:gd name="connsiteY56" fmla="*/ 20366 h 185826"/>
                    <a:gd name="connsiteX57" fmla="*/ 5810 w 183773"/>
                    <a:gd name="connsiteY57" fmla="*/ 13555 h 185826"/>
                    <a:gd name="connsiteX58" fmla="*/ 4153 w 183773"/>
                    <a:gd name="connsiteY58" fmla="*/ 4068 h 185826"/>
                    <a:gd name="connsiteX59" fmla="*/ 32575 w 183773"/>
                    <a:gd name="connsiteY59" fmla="*/ 735 h 185826"/>
                    <a:gd name="connsiteX60" fmla="*/ 62179 w 183773"/>
                    <a:gd name="connsiteY60" fmla="*/ 735 h 185826"/>
                    <a:gd name="connsiteX61" fmla="*/ 76705 w 183773"/>
                    <a:gd name="connsiteY61" fmla="*/ 725 h 185826"/>
                    <a:gd name="connsiteX62" fmla="*/ 81677 w 183773"/>
                    <a:gd name="connsiteY62" fmla="*/ 9555 h 185826"/>
                    <a:gd name="connsiteX63" fmla="*/ 152743 w 183773"/>
                    <a:gd name="connsiteY63" fmla="*/ 14165 h 185826"/>
                    <a:gd name="connsiteX64" fmla="*/ 152743 w 183773"/>
                    <a:gd name="connsiteY64" fmla="*/ 14165 h 18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83773" h="185826">
                      <a:moveTo>
                        <a:pt x="152743" y="14165"/>
                      </a:moveTo>
                      <a:cubicBezTo>
                        <a:pt x="154048" y="13908"/>
                        <a:pt x="155972" y="14374"/>
                        <a:pt x="157305" y="14460"/>
                      </a:cubicBezTo>
                      <a:cubicBezTo>
                        <a:pt x="156515" y="16727"/>
                        <a:pt x="155648" y="20518"/>
                        <a:pt x="158839" y="20575"/>
                      </a:cubicBezTo>
                      <a:cubicBezTo>
                        <a:pt x="164192" y="20661"/>
                        <a:pt x="163106" y="9964"/>
                        <a:pt x="166421" y="7774"/>
                      </a:cubicBezTo>
                      <a:cubicBezTo>
                        <a:pt x="169507" y="5735"/>
                        <a:pt x="174089" y="7431"/>
                        <a:pt x="177194" y="9040"/>
                      </a:cubicBezTo>
                      <a:cubicBezTo>
                        <a:pt x="181518" y="11279"/>
                        <a:pt x="180604" y="8936"/>
                        <a:pt x="180708" y="14413"/>
                      </a:cubicBezTo>
                      <a:cubicBezTo>
                        <a:pt x="180765" y="17946"/>
                        <a:pt x="179403" y="22214"/>
                        <a:pt x="178994" y="25795"/>
                      </a:cubicBezTo>
                      <a:cubicBezTo>
                        <a:pt x="177594" y="38244"/>
                        <a:pt x="177346" y="50855"/>
                        <a:pt x="180118" y="63190"/>
                      </a:cubicBezTo>
                      <a:cubicBezTo>
                        <a:pt x="181613" y="69848"/>
                        <a:pt x="184776" y="75496"/>
                        <a:pt x="183461" y="81335"/>
                      </a:cubicBezTo>
                      <a:cubicBezTo>
                        <a:pt x="182023" y="87688"/>
                        <a:pt x="179880" y="91251"/>
                        <a:pt x="180794" y="98385"/>
                      </a:cubicBezTo>
                      <a:cubicBezTo>
                        <a:pt x="177451" y="91851"/>
                        <a:pt x="180232" y="85193"/>
                        <a:pt x="182851" y="78792"/>
                      </a:cubicBezTo>
                      <a:cubicBezTo>
                        <a:pt x="181108" y="80278"/>
                        <a:pt x="180032" y="82545"/>
                        <a:pt x="178413" y="84393"/>
                      </a:cubicBezTo>
                      <a:cubicBezTo>
                        <a:pt x="178089" y="82431"/>
                        <a:pt x="179194" y="80745"/>
                        <a:pt x="179165" y="79002"/>
                      </a:cubicBezTo>
                      <a:cubicBezTo>
                        <a:pt x="179156" y="78259"/>
                        <a:pt x="180899" y="77563"/>
                        <a:pt x="180975" y="76687"/>
                      </a:cubicBezTo>
                      <a:cubicBezTo>
                        <a:pt x="181051" y="75811"/>
                        <a:pt x="179337" y="75973"/>
                        <a:pt x="179318" y="75325"/>
                      </a:cubicBezTo>
                      <a:cubicBezTo>
                        <a:pt x="179261" y="73515"/>
                        <a:pt x="179832" y="68619"/>
                        <a:pt x="178146" y="73315"/>
                      </a:cubicBezTo>
                      <a:cubicBezTo>
                        <a:pt x="175231" y="81450"/>
                        <a:pt x="178337" y="93880"/>
                        <a:pt x="179041" y="102338"/>
                      </a:cubicBezTo>
                      <a:cubicBezTo>
                        <a:pt x="179842" y="111834"/>
                        <a:pt x="183509" y="123588"/>
                        <a:pt x="181794" y="132789"/>
                      </a:cubicBezTo>
                      <a:cubicBezTo>
                        <a:pt x="179813" y="143438"/>
                        <a:pt x="173650" y="153306"/>
                        <a:pt x="170012" y="163488"/>
                      </a:cubicBezTo>
                      <a:cubicBezTo>
                        <a:pt x="169764" y="162984"/>
                        <a:pt x="169612" y="162393"/>
                        <a:pt x="169469" y="162079"/>
                      </a:cubicBezTo>
                      <a:cubicBezTo>
                        <a:pt x="163659" y="170785"/>
                        <a:pt x="159039" y="181433"/>
                        <a:pt x="148323" y="183624"/>
                      </a:cubicBezTo>
                      <a:cubicBezTo>
                        <a:pt x="146123" y="184072"/>
                        <a:pt x="135484" y="186872"/>
                        <a:pt x="133883" y="185405"/>
                      </a:cubicBezTo>
                      <a:cubicBezTo>
                        <a:pt x="131207" y="182938"/>
                        <a:pt x="135426" y="176423"/>
                        <a:pt x="139046" y="182681"/>
                      </a:cubicBezTo>
                      <a:cubicBezTo>
                        <a:pt x="141142" y="179814"/>
                        <a:pt x="138389" y="181291"/>
                        <a:pt x="137893" y="179309"/>
                      </a:cubicBezTo>
                      <a:cubicBezTo>
                        <a:pt x="137608" y="178147"/>
                        <a:pt x="135455" y="174366"/>
                        <a:pt x="134836" y="172432"/>
                      </a:cubicBezTo>
                      <a:cubicBezTo>
                        <a:pt x="134274" y="170680"/>
                        <a:pt x="133531" y="166308"/>
                        <a:pt x="132721" y="165127"/>
                      </a:cubicBezTo>
                      <a:cubicBezTo>
                        <a:pt x="131293" y="163060"/>
                        <a:pt x="129550" y="163241"/>
                        <a:pt x="126959" y="161288"/>
                      </a:cubicBezTo>
                      <a:cubicBezTo>
                        <a:pt x="121168" y="156945"/>
                        <a:pt x="123225" y="151554"/>
                        <a:pt x="123787" y="145219"/>
                      </a:cubicBezTo>
                      <a:cubicBezTo>
                        <a:pt x="123882" y="144153"/>
                        <a:pt x="121463" y="143552"/>
                        <a:pt x="121682" y="142809"/>
                      </a:cubicBezTo>
                      <a:cubicBezTo>
                        <a:pt x="122244" y="140905"/>
                        <a:pt x="126130" y="137914"/>
                        <a:pt x="127549" y="136609"/>
                      </a:cubicBezTo>
                      <a:cubicBezTo>
                        <a:pt x="125444" y="137333"/>
                        <a:pt x="121834" y="142029"/>
                        <a:pt x="120120" y="140952"/>
                      </a:cubicBezTo>
                      <a:cubicBezTo>
                        <a:pt x="117348" y="139219"/>
                        <a:pt x="123225" y="129246"/>
                        <a:pt x="124844" y="127960"/>
                      </a:cubicBezTo>
                      <a:cubicBezTo>
                        <a:pt x="118110" y="126560"/>
                        <a:pt x="119853" y="135123"/>
                        <a:pt x="114433" y="128770"/>
                      </a:cubicBezTo>
                      <a:cubicBezTo>
                        <a:pt x="110480" y="124141"/>
                        <a:pt x="113586" y="115835"/>
                        <a:pt x="109557" y="111015"/>
                      </a:cubicBezTo>
                      <a:cubicBezTo>
                        <a:pt x="113662" y="109805"/>
                        <a:pt x="123149" y="102633"/>
                        <a:pt x="121796" y="98318"/>
                      </a:cubicBezTo>
                      <a:cubicBezTo>
                        <a:pt x="117681" y="100509"/>
                        <a:pt x="119444" y="94556"/>
                        <a:pt x="116310" y="96080"/>
                      </a:cubicBezTo>
                      <a:cubicBezTo>
                        <a:pt x="115481" y="96480"/>
                        <a:pt x="116986" y="100909"/>
                        <a:pt x="115176" y="102776"/>
                      </a:cubicBezTo>
                      <a:cubicBezTo>
                        <a:pt x="110700" y="107396"/>
                        <a:pt x="109604" y="101871"/>
                        <a:pt x="110490" y="98185"/>
                      </a:cubicBezTo>
                      <a:cubicBezTo>
                        <a:pt x="112614" y="89308"/>
                        <a:pt x="121301" y="82183"/>
                        <a:pt x="124206" y="73315"/>
                      </a:cubicBezTo>
                      <a:cubicBezTo>
                        <a:pt x="126863" y="65228"/>
                        <a:pt x="124835" y="62342"/>
                        <a:pt x="119205" y="55818"/>
                      </a:cubicBezTo>
                      <a:cubicBezTo>
                        <a:pt x="113671" y="49417"/>
                        <a:pt x="112385" y="40663"/>
                        <a:pt x="107252" y="34586"/>
                      </a:cubicBezTo>
                      <a:cubicBezTo>
                        <a:pt x="104356" y="31158"/>
                        <a:pt x="100108" y="29453"/>
                        <a:pt x="96136" y="29424"/>
                      </a:cubicBezTo>
                      <a:cubicBezTo>
                        <a:pt x="90687" y="29376"/>
                        <a:pt x="90897" y="32224"/>
                        <a:pt x="87859" y="33653"/>
                      </a:cubicBezTo>
                      <a:cubicBezTo>
                        <a:pt x="83372" y="35749"/>
                        <a:pt x="75981" y="37787"/>
                        <a:pt x="70428" y="39273"/>
                      </a:cubicBezTo>
                      <a:cubicBezTo>
                        <a:pt x="66675" y="40273"/>
                        <a:pt x="51121" y="46131"/>
                        <a:pt x="55731" y="37234"/>
                      </a:cubicBezTo>
                      <a:cubicBezTo>
                        <a:pt x="56064" y="38377"/>
                        <a:pt x="56455" y="39349"/>
                        <a:pt x="56817" y="40454"/>
                      </a:cubicBezTo>
                      <a:cubicBezTo>
                        <a:pt x="60617" y="36482"/>
                        <a:pt x="53607" y="32072"/>
                        <a:pt x="51321" y="28424"/>
                      </a:cubicBezTo>
                      <a:cubicBezTo>
                        <a:pt x="54731" y="27652"/>
                        <a:pt x="51540" y="25738"/>
                        <a:pt x="55397" y="23233"/>
                      </a:cubicBezTo>
                      <a:cubicBezTo>
                        <a:pt x="51245" y="23061"/>
                        <a:pt x="50835" y="26424"/>
                        <a:pt x="47844" y="26185"/>
                      </a:cubicBezTo>
                      <a:cubicBezTo>
                        <a:pt x="43729" y="25842"/>
                        <a:pt x="36309" y="20985"/>
                        <a:pt x="31775" y="19689"/>
                      </a:cubicBezTo>
                      <a:cubicBezTo>
                        <a:pt x="35109" y="19223"/>
                        <a:pt x="38272" y="18299"/>
                        <a:pt x="41548" y="19489"/>
                      </a:cubicBezTo>
                      <a:cubicBezTo>
                        <a:pt x="40243" y="13393"/>
                        <a:pt x="14345" y="20832"/>
                        <a:pt x="9144" y="21585"/>
                      </a:cubicBezTo>
                      <a:cubicBezTo>
                        <a:pt x="12440" y="18937"/>
                        <a:pt x="18726" y="19899"/>
                        <a:pt x="17916" y="14308"/>
                      </a:cubicBezTo>
                      <a:cubicBezTo>
                        <a:pt x="17059" y="15117"/>
                        <a:pt x="15792" y="15517"/>
                        <a:pt x="14888" y="16499"/>
                      </a:cubicBezTo>
                      <a:cubicBezTo>
                        <a:pt x="12602" y="14403"/>
                        <a:pt x="5334" y="23309"/>
                        <a:pt x="0" y="22518"/>
                      </a:cubicBezTo>
                      <a:cubicBezTo>
                        <a:pt x="1153" y="21690"/>
                        <a:pt x="1772" y="20604"/>
                        <a:pt x="2562" y="19842"/>
                      </a:cubicBezTo>
                      <a:cubicBezTo>
                        <a:pt x="2096" y="20023"/>
                        <a:pt x="1629" y="20194"/>
                        <a:pt x="1162" y="20366"/>
                      </a:cubicBezTo>
                      <a:cubicBezTo>
                        <a:pt x="3029" y="18861"/>
                        <a:pt x="5325" y="15975"/>
                        <a:pt x="5810" y="13555"/>
                      </a:cubicBezTo>
                      <a:cubicBezTo>
                        <a:pt x="6553" y="9869"/>
                        <a:pt x="3077" y="7878"/>
                        <a:pt x="4153" y="4068"/>
                      </a:cubicBezTo>
                      <a:cubicBezTo>
                        <a:pt x="5953" y="-2323"/>
                        <a:pt x="26356" y="725"/>
                        <a:pt x="32575" y="735"/>
                      </a:cubicBezTo>
                      <a:cubicBezTo>
                        <a:pt x="42443" y="735"/>
                        <a:pt x="52311" y="735"/>
                        <a:pt x="62179" y="735"/>
                      </a:cubicBezTo>
                      <a:cubicBezTo>
                        <a:pt x="66647" y="735"/>
                        <a:pt x="72304" y="-161"/>
                        <a:pt x="76705" y="725"/>
                      </a:cubicBezTo>
                      <a:cubicBezTo>
                        <a:pt x="82191" y="1830"/>
                        <a:pt x="83001" y="2649"/>
                        <a:pt x="81677" y="9555"/>
                      </a:cubicBezTo>
                      <a:cubicBezTo>
                        <a:pt x="105346" y="11184"/>
                        <a:pt x="129054" y="12612"/>
                        <a:pt x="152743" y="14165"/>
                      </a:cubicBezTo>
                      <a:lnTo>
                        <a:pt x="152743" y="14165"/>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10" name="Freeform: Shape 509">
                  <a:extLst>
                    <a:ext uri="{FF2B5EF4-FFF2-40B4-BE49-F238E27FC236}">
                      <a16:creationId xmlns:a16="http://schemas.microsoft.com/office/drawing/2014/main" id="{6BD79DE5-9434-4B31-8E6F-1CDAA5C2D2F1}"/>
                    </a:ext>
                  </a:extLst>
                </p:cNvPr>
                <p:cNvSpPr/>
                <p:nvPr/>
              </p:nvSpPr>
              <p:spPr>
                <a:xfrm>
                  <a:off x="3467442" y="3109880"/>
                  <a:ext cx="25831" cy="43901"/>
                </a:xfrm>
                <a:custGeom>
                  <a:avLst/>
                  <a:gdLst>
                    <a:gd name="connsiteX0" fmla="*/ 18536 w 25831"/>
                    <a:gd name="connsiteY0" fmla="*/ 38082 h 43901"/>
                    <a:gd name="connsiteX1" fmla="*/ 16355 w 25831"/>
                    <a:gd name="connsiteY1" fmla="*/ 39387 h 43901"/>
                    <a:gd name="connsiteX2" fmla="*/ 19136 w 25831"/>
                    <a:gd name="connsiteY2" fmla="*/ 42911 h 43901"/>
                    <a:gd name="connsiteX3" fmla="*/ 9563 w 25831"/>
                    <a:gd name="connsiteY3" fmla="*/ 43683 h 43901"/>
                    <a:gd name="connsiteX4" fmla="*/ 0 w 25831"/>
                    <a:gd name="connsiteY4" fmla="*/ 43683 h 43901"/>
                    <a:gd name="connsiteX5" fmla="*/ 25832 w 25831"/>
                    <a:gd name="connsiteY5" fmla="*/ 830 h 43901"/>
                    <a:gd name="connsiteX6" fmla="*/ 18488 w 25831"/>
                    <a:gd name="connsiteY6" fmla="*/ 7555 h 43901"/>
                    <a:gd name="connsiteX7" fmla="*/ 18841 w 25831"/>
                    <a:gd name="connsiteY7" fmla="*/ 17165 h 43901"/>
                    <a:gd name="connsiteX8" fmla="*/ 18183 w 25831"/>
                    <a:gd name="connsiteY8" fmla="*/ 28776 h 43901"/>
                    <a:gd name="connsiteX9" fmla="*/ 18536 w 25831"/>
                    <a:gd name="connsiteY9" fmla="*/ 38082 h 43901"/>
                    <a:gd name="connsiteX10" fmla="*/ 18536 w 25831"/>
                    <a:gd name="connsiteY10" fmla="*/ 38082 h 4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31" h="43901">
                      <a:moveTo>
                        <a:pt x="18536" y="38082"/>
                      </a:moveTo>
                      <a:cubicBezTo>
                        <a:pt x="17812" y="38511"/>
                        <a:pt x="17088" y="38949"/>
                        <a:pt x="16355" y="39387"/>
                      </a:cubicBezTo>
                      <a:cubicBezTo>
                        <a:pt x="18698" y="38940"/>
                        <a:pt x="20898" y="40387"/>
                        <a:pt x="19136" y="42911"/>
                      </a:cubicBezTo>
                      <a:cubicBezTo>
                        <a:pt x="18012" y="44521"/>
                        <a:pt x="11487" y="43683"/>
                        <a:pt x="9563" y="43683"/>
                      </a:cubicBezTo>
                      <a:cubicBezTo>
                        <a:pt x="6372" y="43683"/>
                        <a:pt x="3191" y="43683"/>
                        <a:pt x="0" y="43683"/>
                      </a:cubicBezTo>
                      <a:cubicBezTo>
                        <a:pt x="3258" y="34539"/>
                        <a:pt x="11325" y="-6295"/>
                        <a:pt x="25832" y="830"/>
                      </a:cubicBezTo>
                      <a:cubicBezTo>
                        <a:pt x="23422" y="2754"/>
                        <a:pt x="19831" y="4878"/>
                        <a:pt x="18488" y="7555"/>
                      </a:cubicBezTo>
                      <a:cubicBezTo>
                        <a:pt x="16450" y="11603"/>
                        <a:pt x="18898" y="13260"/>
                        <a:pt x="18841" y="17165"/>
                      </a:cubicBezTo>
                      <a:cubicBezTo>
                        <a:pt x="18764" y="21652"/>
                        <a:pt x="16821" y="23995"/>
                        <a:pt x="18183" y="28776"/>
                      </a:cubicBezTo>
                      <a:cubicBezTo>
                        <a:pt x="19374" y="32986"/>
                        <a:pt x="23441" y="34367"/>
                        <a:pt x="18536" y="38082"/>
                      </a:cubicBezTo>
                      <a:lnTo>
                        <a:pt x="18536" y="38082"/>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11" name="Freeform: Shape 510">
                  <a:extLst>
                    <a:ext uri="{FF2B5EF4-FFF2-40B4-BE49-F238E27FC236}">
                      <a16:creationId xmlns:a16="http://schemas.microsoft.com/office/drawing/2014/main" id="{055AD17E-C713-4A0F-B12E-7B4E0BA9DDDF}"/>
                    </a:ext>
                  </a:extLst>
                </p:cNvPr>
                <p:cNvSpPr/>
                <p:nvPr/>
              </p:nvSpPr>
              <p:spPr>
                <a:xfrm>
                  <a:off x="3557744" y="3040114"/>
                  <a:ext cx="64859" cy="33534"/>
                </a:xfrm>
                <a:custGeom>
                  <a:avLst/>
                  <a:gdLst>
                    <a:gd name="connsiteX0" fmla="*/ 37399 w 64859"/>
                    <a:gd name="connsiteY0" fmla="*/ 702 h 33534"/>
                    <a:gd name="connsiteX1" fmla="*/ 64860 w 64859"/>
                    <a:gd name="connsiteY1" fmla="*/ 1063 h 33534"/>
                    <a:gd name="connsiteX2" fmla="*/ 58411 w 64859"/>
                    <a:gd name="connsiteY2" fmla="*/ 16894 h 33534"/>
                    <a:gd name="connsiteX3" fmla="*/ 44362 w 64859"/>
                    <a:gd name="connsiteY3" fmla="*/ 23724 h 33534"/>
                    <a:gd name="connsiteX4" fmla="*/ 23731 w 64859"/>
                    <a:gd name="connsiteY4" fmla="*/ 24571 h 33534"/>
                    <a:gd name="connsiteX5" fmla="*/ 823 w 64859"/>
                    <a:gd name="connsiteY5" fmla="*/ 33534 h 33534"/>
                    <a:gd name="connsiteX6" fmla="*/ 7891 w 64859"/>
                    <a:gd name="connsiteY6" fmla="*/ 26381 h 33534"/>
                    <a:gd name="connsiteX7" fmla="*/ 8729 w 64859"/>
                    <a:gd name="connsiteY7" fmla="*/ 20961 h 33534"/>
                    <a:gd name="connsiteX8" fmla="*/ 13206 w 64859"/>
                    <a:gd name="connsiteY8" fmla="*/ 11989 h 33534"/>
                    <a:gd name="connsiteX9" fmla="*/ 23759 w 64859"/>
                    <a:gd name="connsiteY9" fmla="*/ 187 h 33534"/>
                    <a:gd name="connsiteX10" fmla="*/ 37399 w 64859"/>
                    <a:gd name="connsiteY10" fmla="*/ 702 h 33534"/>
                    <a:gd name="connsiteX11" fmla="*/ 37399 w 64859"/>
                    <a:gd name="connsiteY11" fmla="*/ 702 h 3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859" h="33534">
                      <a:moveTo>
                        <a:pt x="37399" y="702"/>
                      </a:moveTo>
                      <a:cubicBezTo>
                        <a:pt x="40609" y="2768"/>
                        <a:pt x="58287" y="968"/>
                        <a:pt x="64860" y="1063"/>
                      </a:cubicBezTo>
                      <a:cubicBezTo>
                        <a:pt x="62783" y="6283"/>
                        <a:pt x="60964" y="11894"/>
                        <a:pt x="58411" y="16894"/>
                      </a:cubicBezTo>
                      <a:cubicBezTo>
                        <a:pt x="55144" y="23295"/>
                        <a:pt x="51429" y="22904"/>
                        <a:pt x="44362" y="23724"/>
                      </a:cubicBezTo>
                      <a:cubicBezTo>
                        <a:pt x="37971" y="24466"/>
                        <a:pt x="29903" y="23390"/>
                        <a:pt x="23731" y="24571"/>
                      </a:cubicBezTo>
                      <a:cubicBezTo>
                        <a:pt x="16749" y="25905"/>
                        <a:pt x="7186" y="30248"/>
                        <a:pt x="823" y="33534"/>
                      </a:cubicBezTo>
                      <a:cubicBezTo>
                        <a:pt x="-2539" y="27810"/>
                        <a:pt x="5319" y="29324"/>
                        <a:pt x="7891" y="26381"/>
                      </a:cubicBezTo>
                      <a:cubicBezTo>
                        <a:pt x="7805" y="26476"/>
                        <a:pt x="8548" y="21428"/>
                        <a:pt x="8729" y="20961"/>
                      </a:cubicBezTo>
                      <a:cubicBezTo>
                        <a:pt x="9900" y="17885"/>
                        <a:pt x="11739" y="14932"/>
                        <a:pt x="13206" y="11989"/>
                      </a:cubicBezTo>
                      <a:cubicBezTo>
                        <a:pt x="16444" y="5502"/>
                        <a:pt x="16978" y="1121"/>
                        <a:pt x="23759" y="187"/>
                      </a:cubicBezTo>
                      <a:cubicBezTo>
                        <a:pt x="28017" y="-394"/>
                        <a:pt x="33094" y="549"/>
                        <a:pt x="37399" y="702"/>
                      </a:cubicBezTo>
                      <a:lnTo>
                        <a:pt x="37399" y="702"/>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12" name="Freeform: Shape 511">
                  <a:extLst>
                    <a:ext uri="{FF2B5EF4-FFF2-40B4-BE49-F238E27FC236}">
                      <a16:creationId xmlns:a16="http://schemas.microsoft.com/office/drawing/2014/main" id="{FFCDE9CE-4F86-4D8F-BE52-E9F2FA77670F}"/>
                    </a:ext>
                  </a:extLst>
                </p:cNvPr>
                <p:cNvSpPr/>
                <p:nvPr/>
              </p:nvSpPr>
              <p:spPr>
                <a:xfrm>
                  <a:off x="2504474" y="3073359"/>
                  <a:ext cx="269500" cy="126195"/>
                </a:xfrm>
                <a:custGeom>
                  <a:avLst/>
                  <a:gdLst>
                    <a:gd name="connsiteX0" fmla="*/ 10706 w 269500"/>
                    <a:gd name="connsiteY0" fmla="*/ 126000 h 126195"/>
                    <a:gd name="connsiteX1" fmla="*/ 0 w 269500"/>
                    <a:gd name="connsiteY1" fmla="*/ 126000 h 126195"/>
                    <a:gd name="connsiteX2" fmla="*/ 63265 w 269500"/>
                    <a:gd name="connsiteY2" fmla="*/ 19673 h 126195"/>
                    <a:gd name="connsiteX3" fmla="*/ 70952 w 269500"/>
                    <a:gd name="connsiteY3" fmla="*/ 7281 h 126195"/>
                    <a:gd name="connsiteX4" fmla="*/ 84525 w 269500"/>
                    <a:gd name="connsiteY4" fmla="*/ 23 h 126195"/>
                    <a:gd name="connsiteX5" fmla="*/ 119739 w 269500"/>
                    <a:gd name="connsiteY5" fmla="*/ 4 h 126195"/>
                    <a:gd name="connsiteX6" fmla="*/ 189290 w 269500"/>
                    <a:gd name="connsiteY6" fmla="*/ 4 h 126195"/>
                    <a:gd name="connsiteX7" fmla="*/ 269500 w 269500"/>
                    <a:gd name="connsiteY7" fmla="*/ 13 h 126195"/>
                    <a:gd name="connsiteX8" fmla="*/ 203978 w 269500"/>
                    <a:gd name="connsiteY8" fmla="*/ 117161 h 126195"/>
                    <a:gd name="connsiteX9" fmla="*/ 193424 w 269500"/>
                    <a:gd name="connsiteY9" fmla="*/ 126000 h 126195"/>
                    <a:gd name="connsiteX10" fmla="*/ 174784 w 269500"/>
                    <a:gd name="connsiteY10" fmla="*/ 126000 h 126195"/>
                    <a:gd name="connsiteX11" fmla="*/ 143370 w 269500"/>
                    <a:gd name="connsiteY11" fmla="*/ 126000 h 126195"/>
                    <a:gd name="connsiteX12" fmla="*/ 81372 w 269500"/>
                    <a:gd name="connsiteY12" fmla="*/ 126000 h 126195"/>
                    <a:gd name="connsiteX13" fmla="*/ 10706 w 269500"/>
                    <a:gd name="connsiteY13" fmla="*/ 126000 h 126195"/>
                    <a:gd name="connsiteX14" fmla="*/ 10706 w 269500"/>
                    <a:gd name="connsiteY14" fmla="*/ 126000 h 126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9500" h="126195">
                      <a:moveTo>
                        <a:pt x="10706" y="126000"/>
                      </a:moveTo>
                      <a:cubicBezTo>
                        <a:pt x="7134" y="126000"/>
                        <a:pt x="3562" y="126000"/>
                        <a:pt x="0" y="126000"/>
                      </a:cubicBezTo>
                      <a:cubicBezTo>
                        <a:pt x="20545" y="90234"/>
                        <a:pt x="41624" y="54782"/>
                        <a:pt x="63265" y="19673"/>
                      </a:cubicBezTo>
                      <a:cubicBezTo>
                        <a:pt x="65818" y="15529"/>
                        <a:pt x="68380" y="11405"/>
                        <a:pt x="70952" y="7281"/>
                      </a:cubicBezTo>
                      <a:cubicBezTo>
                        <a:pt x="75505" y="-34"/>
                        <a:pt x="75829" y="32"/>
                        <a:pt x="84525" y="23"/>
                      </a:cubicBezTo>
                      <a:cubicBezTo>
                        <a:pt x="96260" y="4"/>
                        <a:pt x="108004" y="-6"/>
                        <a:pt x="119739" y="4"/>
                      </a:cubicBezTo>
                      <a:cubicBezTo>
                        <a:pt x="142923" y="13"/>
                        <a:pt x="166107" y="4"/>
                        <a:pt x="189290" y="4"/>
                      </a:cubicBezTo>
                      <a:cubicBezTo>
                        <a:pt x="216027" y="4"/>
                        <a:pt x="242764" y="4"/>
                        <a:pt x="269500" y="13"/>
                      </a:cubicBezTo>
                      <a:cubicBezTo>
                        <a:pt x="246917" y="38647"/>
                        <a:pt x="225133" y="77737"/>
                        <a:pt x="203978" y="117161"/>
                      </a:cubicBezTo>
                      <a:cubicBezTo>
                        <a:pt x="200511" y="123629"/>
                        <a:pt x="200730" y="125476"/>
                        <a:pt x="193424" y="126000"/>
                      </a:cubicBezTo>
                      <a:cubicBezTo>
                        <a:pt x="187281" y="126438"/>
                        <a:pt x="180946" y="126000"/>
                        <a:pt x="174784" y="126000"/>
                      </a:cubicBezTo>
                      <a:cubicBezTo>
                        <a:pt x="164306" y="126000"/>
                        <a:pt x="153838" y="126000"/>
                        <a:pt x="143370" y="126000"/>
                      </a:cubicBezTo>
                      <a:cubicBezTo>
                        <a:pt x="122711" y="126000"/>
                        <a:pt x="102041" y="126000"/>
                        <a:pt x="81372" y="126000"/>
                      </a:cubicBezTo>
                      <a:cubicBezTo>
                        <a:pt x="57807" y="126000"/>
                        <a:pt x="34252" y="126000"/>
                        <a:pt x="10706" y="126000"/>
                      </a:cubicBezTo>
                      <a:lnTo>
                        <a:pt x="10706" y="12600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13" name="Freeform: Shape 512">
                  <a:extLst>
                    <a:ext uri="{FF2B5EF4-FFF2-40B4-BE49-F238E27FC236}">
                      <a16:creationId xmlns:a16="http://schemas.microsoft.com/office/drawing/2014/main" id="{F0F73666-C07B-4670-98E5-337A9A07975A}"/>
                    </a:ext>
                  </a:extLst>
                </p:cNvPr>
                <p:cNvSpPr/>
                <p:nvPr/>
              </p:nvSpPr>
              <p:spPr>
                <a:xfrm>
                  <a:off x="2128891" y="3041863"/>
                  <a:ext cx="181751" cy="298218"/>
                </a:xfrm>
                <a:custGeom>
                  <a:avLst/>
                  <a:gdLst>
                    <a:gd name="connsiteX0" fmla="*/ 54076 w 181751"/>
                    <a:gd name="connsiteY0" fmla="*/ 0 h 298218"/>
                    <a:gd name="connsiteX1" fmla="*/ 170138 w 181751"/>
                    <a:gd name="connsiteY1" fmla="*/ 0 h 298218"/>
                    <a:gd name="connsiteX2" fmla="*/ 124171 w 181751"/>
                    <a:gd name="connsiteY2" fmla="*/ 67046 h 298218"/>
                    <a:gd name="connsiteX3" fmla="*/ 110398 w 181751"/>
                    <a:gd name="connsiteY3" fmla="*/ 87668 h 298218"/>
                    <a:gd name="connsiteX4" fmla="*/ 107521 w 181751"/>
                    <a:gd name="connsiteY4" fmla="*/ 97098 h 298218"/>
                    <a:gd name="connsiteX5" fmla="*/ 113293 w 181751"/>
                    <a:gd name="connsiteY5" fmla="*/ 106480 h 298218"/>
                    <a:gd name="connsiteX6" fmla="*/ 136868 w 181751"/>
                    <a:gd name="connsiteY6" fmla="*/ 144370 h 298218"/>
                    <a:gd name="connsiteX7" fmla="*/ 159099 w 181751"/>
                    <a:gd name="connsiteY7" fmla="*/ 183185 h 298218"/>
                    <a:gd name="connsiteX8" fmla="*/ 169395 w 181751"/>
                    <a:gd name="connsiteY8" fmla="*/ 201378 h 298218"/>
                    <a:gd name="connsiteX9" fmla="*/ 180254 w 181751"/>
                    <a:gd name="connsiteY9" fmla="*/ 220056 h 298218"/>
                    <a:gd name="connsiteX10" fmla="*/ 178968 w 181751"/>
                    <a:gd name="connsiteY10" fmla="*/ 235810 h 298218"/>
                    <a:gd name="connsiteX11" fmla="*/ 178863 w 181751"/>
                    <a:gd name="connsiteY11" fmla="*/ 244821 h 298218"/>
                    <a:gd name="connsiteX12" fmla="*/ 162366 w 181751"/>
                    <a:gd name="connsiteY12" fmla="*/ 259271 h 298218"/>
                    <a:gd name="connsiteX13" fmla="*/ 148250 w 181751"/>
                    <a:gd name="connsiteY13" fmla="*/ 273063 h 298218"/>
                    <a:gd name="connsiteX14" fmla="*/ 145116 w 181751"/>
                    <a:gd name="connsiteY14" fmla="*/ 290151 h 298218"/>
                    <a:gd name="connsiteX15" fmla="*/ 121113 w 181751"/>
                    <a:gd name="connsiteY15" fmla="*/ 293846 h 298218"/>
                    <a:gd name="connsiteX16" fmla="*/ 64620 w 181751"/>
                    <a:gd name="connsiteY16" fmla="*/ 298218 h 298218"/>
                    <a:gd name="connsiteX17" fmla="*/ 63544 w 181751"/>
                    <a:gd name="connsiteY17" fmla="*/ 294103 h 298218"/>
                    <a:gd name="connsiteX18" fmla="*/ 65678 w 181751"/>
                    <a:gd name="connsiteY18" fmla="*/ 270386 h 298218"/>
                    <a:gd name="connsiteX19" fmla="*/ 58543 w 181751"/>
                    <a:gd name="connsiteY19" fmla="*/ 261614 h 298218"/>
                    <a:gd name="connsiteX20" fmla="*/ 48942 w 181751"/>
                    <a:gd name="connsiteY20" fmla="*/ 260080 h 298218"/>
                    <a:gd name="connsiteX21" fmla="*/ 51143 w 181751"/>
                    <a:gd name="connsiteY21" fmla="*/ 251470 h 298218"/>
                    <a:gd name="connsiteX22" fmla="*/ 41894 w 181751"/>
                    <a:gd name="connsiteY22" fmla="*/ 251251 h 298218"/>
                    <a:gd name="connsiteX23" fmla="*/ 31273 w 181751"/>
                    <a:gd name="connsiteY23" fmla="*/ 241687 h 298218"/>
                    <a:gd name="connsiteX24" fmla="*/ 60 w 181751"/>
                    <a:gd name="connsiteY24" fmla="*/ 233753 h 298218"/>
                    <a:gd name="connsiteX25" fmla="*/ 9785 w 181751"/>
                    <a:gd name="connsiteY25" fmla="*/ 218113 h 298218"/>
                    <a:gd name="connsiteX26" fmla="*/ 6785 w 181751"/>
                    <a:gd name="connsiteY26" fmla="*/ 214341 h 298218"/>
                    <a:gd name="connsiteX27" fmla="*/ 8832 w 181751"/>
                    <a:gd name="connsiteY27" fmla="*/ 209007 h 298218"/>
                    <a:gd name="connsiteX28" fmla="*/ 3013 w 181751"/>
                    <a:gd name="connsiteY28" fmla="*/ 197387 h 298218"/>
                    <a:gd name="connsiteX29" fmla="*/ 422 w 181751"/>
                    <a:gd name="connsiteY29" fmla="*/ 182337 h 298218"/>
                    <a:gd name="connsiteX30" fmla="*/ 7127 w 181751"/>
                    <a:gd name="connsiteY30" fmla="*/ 167697 h 298218"/>
                    <a:gd name="connsiteX31" fmla="*/ 11080 w 181751"/>
                    <a:gd name="connsiteY31" fmla="*/ 162201 h 298218"/>
                    <a:gd name="connsiteX32" fmla="*/ 4508 w 181751"/>
                    <a:gd name="connsiteY32" fmla="*/ 157972 h 298218"/>
                    <a:gd name="connsiteX33" fmla="*/ 13843 w 181751"/>
                    <a:gd name="connsiteY33" fmla="*/ 132683 h 298218"/>
                    <a:gd name="connsiteX34" fmla="*/ 16329 w 181751"/>
                    <a:gd name="connsiteY34" fmla="*/ 142456 h 298218"/>
                    <a:gd name="connsiteX35" fmla="*/ 21215 w 181751"/>
                    <a:gd name="connsiteY35" fmla="*/ 125511 h 298218"/>
                    <a:gd name="connsiteX36" fmla="*/ 43542 w 181751"/>
                    <a:gd name="connsiteY36" fmla="*/ 124254 h 298218"/>
                    <a:gd name="connsiteX37" fmla="*/ 32188 w 181751"/>
                    <a:gd name="connsiteY37" fmla="*/ 122758 h 298218"/>
                    <a:gd name="connsiteX38" fmla="*/ 26044 w 181751"/>
                    <a:gd name="connsiteY38" fmla="*/ 123958 h 298218"/>
                    <a:gd name="connsiteX39" fmla="*/ 20948 w 181751"/>
                    <a:gd name="connsiteY39" fmla="*/ 121453 h 298218"/>
                    <a:gd name="connsiteX40" fmla="*/ 10347 w 181751"/>
                    <a:gd name="connsiteY40" fmla="*/ 130731 h 298218"/>
                    <a:gd name="connsiteX41" fmla="*/ 650 w 181751"/>
                    <a:gd name="connsiteY41" fmla="*/ 126368 h 298218"/>
                    <a:gd name="connsiteX42" fmla="*/ 6223 w 181751"/>
                    <a:gd name="connsiteY42" fmla="*/ 118853 h 298218"/>
                    <a:gd name="connsiteX43" fmla="*/ 6889 w 181751"/>
                    <a:gd name="connsiteY43" fmla="*/ 122130 h 298218"/>
                    <a:gd name="connsiteX44" fmla="*/ 2460 w 181751"/>
                    <a:gd name="connsiteY44" fmla="*/ 103070 h 298218"/>
                    <a:gd name="connsiteX45" fmla="*/ 3927 w 181751"/>
                    <a:gd name="connsiteY45" fmla="*/ 91354 h 298218"/>
                    <a:gd name="connsiteX46" fmla="*/ 10528 w 181751"/>
                    <a:gd name="connsiteY46" fmla="*/ 79019 h 298218"/>
                    <a:gd name="connsiteX47" fmla="*/ 14243 w 181751"/>
                    <a:gd name="connsiteY47" fmla="*/ 59265 h 298218"/>
                    <a:gd name="connsiteX48" fmla="*/ 15805 w 181751"/>
                    <a:gd name="connsiteY48" fmla="*/ 48035 h 298218"/>
                    <a:gd name="connsiteX49" fmla="*/ 24911 w 181751"/>
                    <a:gd name="connsiteY49" fmla="*/ 39700 h 298218"/>
                    <a:gd name="connsiteX50" fmla="*/ 24187 w 181751"/>
                    <a:gd name="connsiteY50" fmla="*/ 40853 h 298218"/>
                    <a:gd name="connsiteX51" fmla="*/ 40903 w 181751"/>
                    <a:gd name="connsiteY51" fmla="*/ 23022 h 298218"/>
                    <a:gd name="connsiteX52" fmla="*/ 48714 w 181751"/>
                    <a:gd name="connsiteY52" fmla="*/ 11173 h 298218"/>
                    <a:gd name="connsiteX53" fmla="*/ 50400 w 181751"/>
                    <a:gd name="connsiteY53" fmla="*/ 5115 h 298218"/>
                    <a:gd name="connsiteX54" fmla="*/ 54076 w 181751"/>
                    <a:gd name="connsiteY54" fmla="*/ 0 h 298218"/>
                    <a:gd name="connsiteX55" fmla="*/ 54076 w 181751"/>
                    <a:gd name="connsiteY55" fmla="*/ 0 h 298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81751" h="298218">
                      <a:moveTo>
                        <a:pt x="54076" y="0"/>
                      </a:moveTo>
                      <a:cubicBezTo>
                        <a:pt x="92767" y="19"/>
                        <a:pt x="131457" y="0"/>
                        <a:pt x="170138" y="0"/>
                      </a:cubicBezTo>
                      <a:cubicBezTo>
                        <a:pt x="154603" y="22212"/>
                        <a:pt x="139306" y="44567"/>
                        <a:pt x="124171" y="67046"/>
                      </a:cubicBezTo>
                      <a:cubicBezTo>
                        <a:pt x="119561" y="73905"/>
                        <a:pt x="114979" y="80782"/>
                        <a:pt x="110398" y="87668"/>
                      </a:cubicBezTo>
                      <a:cubicBezTo>
                        <a:pt x="107626" y="91840"/>
                        <a:pt x="106397" y="92821"/>
                        <a:pt x="107521" y="97098"/>
                      </a:cubicBezTo>
                      <a:cubicBezTo>
                        <a:pt x="108340" y="100222"/>
                        <a:pt x="111579" y="103737"/>
                        <a:pt x="113293" y="106480"/>
                      </a:cubicBezTo>
                      <a:cubicBezTo>
                        <a:pt x="121189" y="119101"/>
                        <a:pt x="129514" y="131426"/>
                        <a:pt x="136868" y="144370"/>
                      </a:cubicBezTo>
                      <a:cubicBezTo>
                        <a:pt x="144230" y="157343"/>
                        <a:pt x="151784" y="170202"/>
                        <a:pt x="159099" y="183185"/>
                      </a:cubicBezTo>
                      <a:cubicBezTo>
                        <a:pt x="162518" y="189252"/>
                        <a:pt x="165919" y="195339"/>
                        <a:pt x="169395" y="201378"/>
                      </a:cubicBezTo>
                      <a:cubicBezTo>
                        <a:pt x="172291" y="206397"/>
                        <a:pt x="179349" y="214417"/>
                        <a:pt x="180254" y="220056"/>
                      </a:cubicBezTo>
                      <a:cubicBezTo>
                        <a:pt x="180883" y="223999"/>
                        <a:pt x="177539" y="231315"/>
                        <a:pt x="178968" y="235810"/>
                      </a:cubicBezTo>
                      <a:cubicBezTo>
                        <a:pt x="180940" y="242021"/>
                        <a:pt x="184150" y="240087"/>
                        <a:pt x="178863" y="244821"/>
                      </a:cubicBezTo>
                      <a:cubicBezTo>
                        <a:pt x="172767" y="250298"/>
                        <a:pt x="167186" y="252174"/>
                        <a:pt x="162366" y="259271"/>
                      </a:cubicBezTo>
                      <a:cubicBezTo>
                        <a:pt x="158356" y="265176"/>
                        <a:pt x="152079" y="267910"/>
                        <a:pt x="148250" y="273063"/>
                      </a:cubicBezTo>
                      <a:cubicBezTo>
                        <a:pt x="142725" y="280511"/>
                        <a:pt x="152946" y="284302"/>
                        <a:pt x="145116" y="290151"/>
                      </a:cubicBezTo>
                      <a:cubicBezTo>
                        <a:pt x="139401" y="294427"/>
                        <a:pt x="128028" y="293303"/>
                        <a:pt x="121113" y="293846"/>
                      </a:cubicBezTo>
                      <a:cubicBezTo>
                        <a:pt x="102282" y="295323"/>
                        <a:pt x="83451" y="296685"/>
                        <a:pt x="64620" y="298218"/>
                      </a:cubicBezTo>
                      <a:cubicBezTo>
                        <a:pt x="66497" y="295656"/>
                        <a:pt x="67268" y="292856"/>
                        <a:pt x="63544" y="294103"/>
                      </a:cubicBezTo>
                      <a:cubicBezTo>
                        <a:pt x="65982" y="284740"/>
                        <a:pt x="71745" y="280083"/>
                        <a:pt x="65678" y="270386"/>
                      </a:cubicBezTo>
                      <a:cubicBezTo>
                        <a:pt x="64154" y="267948"/>
                        <a:pt x="60915" y="263004"/>
                        <a:pt x="58543" y="261614"/>
                      </a:cubicBezTo>
                      <a:cubicBezTo>
                        <a:pt x="54514" y="259242"/>
                        <a:pt x="52800" y="261518"/>
                        <a:pt x="48942" y="260080"/>
                      </a:cubicBezTo>
                      <a:cubicBezTo>
                        <a:pt x="50676" y="258594"/>
                        <a:pt x="53019" y="253679"/>
                        <a:pt x="51143" y="251470"/>
                      </a:cubicBezTo>
                      <a:cubicBezTo>
                        <a:pt x="49666" y="249717"/>
                        <a:pt x="43599" y="251508"/>
                        <a:pt x="41894" y="251251"/>
                      </a:cubicBezTo>
                      <a:cubicBezTo>
                        <a:pt x="32769" y="249841"/>
                        <a:pt x="35788" y="245945"/>
                        <a:pt x="31273" y="241687"/>
                      </a:cubicBezTo>
                      <a:cubicBezTo>
                        <a:pt x="23596" y="234420"/>
                        <a:pt x="5804" y="242325"/>
                        <a:pt x="60" y="233753"/>
                      </a:cubicBezTo>
                      <a:cubicBezTo>
                        <a:pt x="1936" y="231391"/>
                        <a:pt x="10004" y="220637"/>
                        <a:pt x="9785" y="218113"/>
                      </a:cubicBezTo>
                      <a:cubicBezTo>
                        <a:pt x="9642" y="216522"/>
                        <a:pt x="6785" y="214465"/>
                        <a:pt x="6785" y="214341"/>
                      </a:cubicBezTo>
                      <a:cubicBezTo>
                        <a:pt x="6775" y="213341"/>
                        <a:pt x="8871" y="209864"/>
                        <a:pt x="8832" y="209007"/>
                      </a:cubicBezTo>
                      <a:cubicBezTo>
                        <a:pt x="8671" y="205321"/>
                        <a:pt x="4032" y="200825"/>
                        <a:pt x="3013" y="197387"/>
                      </a:cubicBezTo>
                      <a:cubicBezTo>
                        <a:pt x="1736" y="193053"/>
                        <a:pt x="1279" y="187109"/>
                        <a:pt x="422" y="182337"/>
                      </a:cubicBezTo>
                      <a:cubicBezTo>
                        <a:pt x="-1093" y="174012"/>
                        <a:pt x="1546" y="173631"/>
                        <a:pt x="7127" y="167697"/>
                      </a:cubicBezTo>
                      <a:cubicBezTo>
                        <a:pt x="8432" y="166307"/>
                        <a:pt x="11147" y="164459"/>
                        <a:pt x="11080" y="162201"/>
                      </a:cubicBezTo>
                      <a:cubicBezTo>
                        <a:pt x="10928" y="157277"/>
                        <a:pt x="7442" y="160277"/>
                        <a:pt x="4508" y="157972"/>
                      </a:cubicBezTo>
                      <a:cubicBezTo>
                        <a:pt x="-969" y="153667"/>
                        <a:pt x="6270" y="131016"/>
                        <a:pt x="13843" y="132683"/>
                      </a:cubicBezTo>
                      <a:cubicBezTo>
                        <a:pt x="9928" y="136303"/>
                        <a:pt x="12652" y="140999"/>
                        <a:pt x="16329" y="142456"/>
                      </a:cubicBezTo>
                      <a:cubicBezTo>
                        <a:pt x="16186" y="135903"/>
                        <a:pt x="15233" y="128445"/>
                        <a:pt x="21215" y="125511"/>
                      </a:cubicBezTo>
                      <a:cubicBezTo>
                        <a:pt x="26854" y="122749"/>
                        <a:pt x="37531" y="123958"/>
                        <a:pt x="43542" y="124254"/>
                      </a:cubicBezTo>
                      <a:cubicBezTo>
                        <a:pt x="40732" y="123254"/>
                        <a:pt x="34883" y="122672"/>
                        <a:pt x="32188" y="122758"/>
                      </a:cubicBezTo>
                      <a:cubicBezTo>
                        <a:pt x="30788" y="122796"/>
                        <a:pt x="27578" y="124082"/>
                        <a:pt x="26044" y="123958"/>
                      </a:cubicBezTo>
                      <a:cubicBezTo>
                        <a:pt x="24015" y="123787"/>
                        <a:pt x="22939" y="121110"/>
                        <a:pt x="20948" y="121453"/>
                      </a:cubicBezTo>
                      <a:cubicBezTo>
                        <a:pt x="15109" y="122472"/>
                        <a:pt x="14547" y="131283"/>
                        <a:pt x="10347" y="130731"/>
                      </a:cubicBezTo>
                      <a:cubicBezTo>
                        <a:pt x="5994" y="130159"/>
                        <a:pt x="5518" y="120777"/>
                        <a:pt x="650" y="126368"/>
                      </a:cubicBezTo>
                      <a:cubicBezTo>
                        <a:pt x="2765" y="124206"/>
                        <a:pt x="4937" y="121653"/>
                        <a:pt x="6223" y="118853"/>
                      </a:cubicBezTo>
                      <a:cubicBezTo>
                        <a:pt x="6442" y="119948"/>
                        <a:pt x="6670" y="121034"/>
                        <a:pt x="6889" y="122130"/>
                      </a:cubicBezTo>
                      <a:cubicBezTo>
                        <a:pt x="8947" y="115729"/>
                        <a:pt x="4394" y="109328"/>
                        <a:pt x="2460" y="103070"/>
                      </a:cubicBezTo>
                      <a:cubicBezTo>
                        <a:pt x="422" y="96479"/>
                        <a:pt x="1022" y="97546"/>
                        <a:pt x="3927" y="91354"/>
                      </a:cubicBezTo>
                      <a:cubicBezTo>
                        <a:pt x="6242" y="86449"/>
                        <a:pt x="7566" y="83410"/>
                        <a:pt x="10528" y="79019"/>
                      </a:cubicBezTo>
                      <a:cubicBezTo>
                        <a:pt x="15328" y="71923"/>
                        <a:pt x="15929" y="67609"/>
                        <a:pt x="14243" y="59265"/>
                      </a:cubicBezTo>
                      <a:cubicBezTo>
                        <a:pt x="13204" y="54131"/>
                        <a:pt x="11966" y="53130"/>
                        <a:pt x="15805" y="48035"/>
                      </a:cubicBezTo>
                      <a:cubicBezTo>
                        <a:pt x="18053" y="45044"/>
                        <a:pt x="21767" y="41758"/>
                        <a:pt x="24911" y="39700"/>
                      </a:cubicBezTo>
                      <a:cubicBezTo>
                        <a:pt x="25187" y="40376"/>
                        <a:pt x="24330" y="40329"/>
                        <a:pt x="24187" y="40853"/>
                      </a:cubicBezTo>
                      <a:cubicBezTo>
                        <a:pt x="29426" y="38633"/>
                        <a:pt x="35645" y="28880"/>
                        <a:pt x="40903" y="23022"/>
                      </a:cubicBezTo>
                      <a:cubicBezTo>
                        <a:pt x="44351" y="19183"/>
                        <a:pt x="46904" y="16126"/>
                        <a:pt x="48714" y="11173"/>
                      </a:cubicBezTo>
                      <a:cubicBezTo>
                        <a:pt x="49723" y="8420"/>
                        <a:pt x="49228" y="7496"/>
                        <a:pt x="50400" y="5115"/>
                      </a:cubicBezTo>
                      <a:cubicBezTo>
                        <a:pt x="51352" y="3210"/>
                        <a:pt x="53352" y="2086"/>
                        <a:pt x="54076" y="0"/>
                      </a:cubicBezTo>
                      <a:lnTo>
                        <a:pt x="54076" y="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14" name="Freeform: Shape 513">
                  <a:extLst>
                    <a:ext uri="{FF2B5EF4-FFF2-40B4-BE49-F238E27FC236}">
                      <a16:creationId xmlns:a16="http://schemas.microsoft.com/office/drawing/2014/main" id="{339F9BA9-9312-408C-957C-1357CFC6868B}"/>
                    </a:ext>
                  </a:extLst>
                </p:cNvPr>
                <p:cNvSpPr/>
                <p:nvPr/>
              </p:nvSpPr>
              <p:spPr>
                <a:xfrm>
                  <a:off x="2259643" y="3199254"/>
                  <a:ext cx="244811" cy="178889"/>
                </a:xfrm>
                <a:custGeom>
                  <a:avLst/>
                  <a:gdLst>
                    <a:gd name="connsiteX0" fmla="*/ 232143 w 244811"/>
                    <a:gd name="connsiteY0" fmla="*/ 22441 h 178889"/>
                    <a:gd name="connsiteX1" fmla="*/ 172155 w 244811"/>
                    <a:gd name="connsiteY1" fmla="*/ 133636 h 178889"/>
                    <a:gd name="connsiteX2" fmla="*/ 159201 w 244811"/>
                    <a:gd name="connsiteY2" fmla="*/ 159058 h 178889"/>
                    <a:gd name="connsiteX3" fmla="*/ 152143 w 244811"/>
                    <a:gd name="connsiteY3" fmla="*/ 173222 h 178889"/>
                    <a:gd name="connsiteX4" fmla="*/ 140008 w 244811"/>
                    <a:gd name="connsiteY4" fmla="*/ 178832 h 178889"/>
                    <a:gd name="connsiteX5" fmla="*/ 103908 w 244811"/>
                    <a:gd name="connsiteY5" fmla="*/ 178889 h 178889"/>
                    <a:gd name="connsiteX6" fmla="*/ 71485 w 244811"/>
                    <a:gd name="connsiteY6" fmla="*/ 170974 h 178889"/>
                    <a:gd name="connsiteX7" fmla="*/ 0 w 244811"/>
                    <a:gd name="connsiteY7" fmla="*/ 141618 h 178889"/>
                    <a:gd name="connsiteX8" fmla="*/ 6753 w 244811"/>
                    <a:gd name="connsiteY8" fmla="*/ 135084 h 178889"/>
                    <a:gd name="connsiteX9" fmla="*/ 12535 w 244811"/>
                    <a:gd name="connsiteY9" fmla="*/ 133883 h 178889"/>
                    <a:gd name="connsiteX10" fmla="*/ 17897 w 244811"/>
                    <a:gd name="connsiteY10" fmla="*/ 127749 h 178889"/>
                    <a:gd name="connsiteX11" fmla="*/ 15030 w 244811"/>
                    <a:gd name="connsiteY11" fmla="*/ 122349 h 178889"/>
                    <a:gd name="connsiteX12" fmla="*/ 23279 w 244811"/>
                    <a:gd name="connsiteY12" fmla="*/ 111290 h 178889"/>
                    <a:gd name="connsiteX13" fmla="*/ 33576 w 244811"/>
                    <a:gd name="connsiteY13" fmla="*/ 97612 h 178889"/>
                    <a:gd name="connsiteX14" fmla="*/ 48911 w 244811"/>
                    <a:gd name="connsiteY14" fmla="*/ 87049 h 178889"/>
                    <a:gd name="connsiteX15" fmla="*/ 48273 w 244811"/>
                    <a:gd name="connsiteY15" fmla="*/ 80115 h 178889"/>
                    <a:gd name="connsiteX16" fmla="*/ 56817 w 244811"/>
                    <a:gd name="connsiteY16" fmla="*/ 52483 h 178889"/>
                    <a:gd name="connsiteX17" fmla="*/ 67056 w 244811"/>
                    <a:gd name="connsiteY17" fmla="*/ 28956 h 178889"/>
                    <a:gd name="connsiteX18" fmla="*/ 78772 w 244811"/>
                    <a:gd name="connsiteY18" fmla="*/ 28804 h 178889"/>
                    <a:gd name="connsiteX19" fmla="*/ 81162 w 244811"/>
                    <a:gd name="connsiteY19" fmla="*/ 30661 h 178889"/>
                    <a:gd name="connsiteX20" fmla="*/ 88316 w 244811"/>
                    <a:gd name="connsiteY20" fmla="*/ 25394 h 178889"/>
                    <a:gd name="connsiteX21" fmla="*/ 97907 w 244811"/>
                    <a:gd name="connsiteY21" fmla="*/ 9125 h 178889"/>
                    <a:gd name="connsiteX22" fmla="*/ 112185 w 244811"/>
                    <a:gd name="connsiteY22" fmla="*/ 0 h 178889"/>
                    <a:gd name="connsiteX23" fmla="*/ 153295 w 244811"/>
                    <a:gd name="connsiteY23" fmla="*/ 29 h 178889"/>
                    <a:gd name="connsiteX24" fmla="*/ 244812 w 244811"/>
                    <a:gd name="connsiteY24" fmla="*/ 95 h 178889"/>
                    <a:gd name="connsiteX25" fmla="*/ 232143 w 244811"/>
                    <a:gd name="connsiteY25" fmla="*/ 22441 h 178889"/>
                    <a:gd name="connsiteX26" fmla="*/ 232143 w 244811"/>
                    <a:gd name="connsiteY26" fmla="*/ 22441 h 17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44811" h="178889">
                      <a:moveTo>
                        <a:pt x="232143" y="22441"/>
                      </a:moveTo>
                      <a:cubicBezTo>
                        <a:pt x="211531" y="59169"/>
                        <a:pt x="191414" y="96174"/>
                        <a:pt x="172155" y="133636"/>
                      </a:cubicBezTo>
                      <a:cubicBezTo>
                        <a:pt x="167802" y="142094"/>
                        <a:pt x="163468" y="150562"/>
                        <a:pt x="159201" y="159058"/>
                      </a:cubicBezTo>
                      <a:cubicBezTo>
                        <a:pt x="156867" y="163716"/>
                        <a:pt x="154762" y="168707"/>
                        <a:pt x="152143" y="173222"/>
                      </a:cubicBezTo>
                      <a:cubicBezTo>
                        <a:pt x="148466" y="179565"/>
                        <a:pt x="147533" y="178813"/>
                        <a:pt x="140008" y="178832"/>
                      </a:cubicBezTo>
                      <a:cubicBezTo>
                        <a:pt x="127978" y="178851"/>
                        <a:pt x="115948" y="178861"/>
                        <a:pt x="103908" y="178889"/>
                      </a:cubicBezTo>
                      <a:cubicBezTo>
                        <a:pt x="91430" y="178918"/>
                        <a:pt x="82963" y="175641"/>
                        <a:pt x="71485" y="170974"/>
                      </a:cubicBezTo>
                      <a:cubicBezTo>
                        <a:pt x="47625" y="161268"/>
                        <a:pt x="23813" y="151448"/>
                        <a:pt x="0" y="141618"/>
                      </a:cubicBezTo>
                      <a:cubicBezTo>
                        <a:pt x="2476" y="139818"/>
                        <a:pt x="4258" y="136627"/>
                        <a:pt x="6753" y="135084"/>
                      </a:cubicBezTo>
                      <a:cubicBezTo>
                        <a:pt x="8382" y="134083"/>
                        <a:pt x="10744" y="134960"/>
                        <a:pt x="12535" y="133883"/>
                      </a:cubicBezTo>
                      <a:cubicBezTo>
                        <a:pt x="14583" y="132645"/>
                        <a:pt x="17612" y="130454"/>
                        <a:pt x="17897" y="127749"/>
                      </a:cubicBezTo>
                      <a:cubicBezTo>
                        <a:pt x="18240" y="124463"/>
                        <a:pt x="15154" y="125101"/>
                        <a:pt x="15030" y="122349"/>
                      </a:cubicBezTo>
                      <a:cubicBezTo>
                        <a:pt x="14754" y="116205"/>
                        <a:pt x="19755" y="114357"/>
                        <a:pt x="23279" y="111290"/>
                      </a:cubicBezTo>
                      <a:cubicBezTo>
                        <a:pt x="28223" y="107004"/>
                        <a:pt x="29861" y="102461"/>
                        <a:pt x="33576" y="97612"/>
                      </a:cubicBezTo>
                      <a:cubicBezTo>
                        <a:pt x="37614" y="92345"/>
                        <a:pt x="44767" y="91431"/>
                        <a:pt x="48911" y="87049"/>
                      </a:cubicBezTo>
                      <a:cubicBezTo>
                        <a:pt x="53664" y="82020"/>
                        <a:pt x="50035" y="86220"/>
                        <a:pt x="48273" y="80115"/>
                      </a:cubicBezTo>
                      <a:cubicBezTo>
                        <a:pt x="45101" y="69085"/>
                        <a:pt x="52702" y="62046"/>
                        <a:pt x="56817" y="52483"/>
                      </a:cubicBezTo>
                      <a:cubicBezTo>
                        <a:pt x="59560" y="46101"/>
                        <a:pt x="61798" y="33499"/>
                        <a:pt x="67056" y="28956"/>
                      </a:cubicBezTo>
                      <a:cubicBezTo>
                        <a:pt x="71409" y="25203"/>
                        <a:pt x="75219" y="28013"/>
                        <a:pt x="78772" y="28804"/>
                      </a:cubicBezTo>
                      <a:cubicBezTo>
                        <a:pt x="79562" y="28985"/>
                        <a:pt x="79077" y="30832"/>
                        <a:pt x="81162" y="30661"/>
                      </a:cubicBezTo>
                      <a:cubicBezTo>
                        <a:pt x="83372" y="30480"/>
                        <a:pt x="86982" y="26899"/>
                        <a:pt x="88316" y="25394"/>
                      </a:cubicBezTo>
                      <a:cubicBezTo>
                        <a:pt x="92269" y="20946"/>
                        <a:pt x="94821" y="14316"/>
                        <a:pt x="97907" y="9125"/>
                      </a:cubicBezTo>
                      <a:cubicBezTo>
                        <a:pt x="102813" y="895"/>
                        <a:pt x="102546" y="-10"/>
                        <a:pt x="112185" y="0"/>
                      </a:cubicBezTo>
                      <a:cubicBezTo>
                        <a:pt x="125882" y="19"/>
                        <a:pt x="139589" y="10"/>
                        <a:pt x="153295" y="29"/>
                      </a:cubicBezTo>
                      <a:cubicBezTo>
                        <a:pt x="183804" y="57"/>
                        <a:pt x="214303" y="95"/>
                        <a:pt x="244812" y="95"/>
                      </a:cubicBezTo>
                      <a:cubicBezTo>
                        <a:pt x="240582" y="7544"/>
                        <a:pt x="236353" y="14992"/>
                        <a:pt x="232143" y="22441"/>
                      </a:cubicBezTo>
                      <a:lnTo>
                        <a:pt x="232143" y="22441"/>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15" name="Freeform: Shape 514">
                  <a:extLst>
                    <a:ext uri="{FF2B5EF4-FFF2-40B4-BE49-F238E27FC236}">
                      <a16:creationId xmlns:a16="http://schemas.microsoft.com/office/drawing/2014/main" id="{FAAA1FF2-3580-437D-AD3E-8E549FAE8EBF}"/>
                    </a:ext>
                  </a:extLst>
                </p:cNvPr>
                <p:cNvSpPr/>
                <p:nvPr/>
              </p:nvSpPr>
              <p:spPr>
                <a:xfrm>
                  <a:off x="2866649" y="3215075"/>
                  <a:ext cx="171092" cy="110512"/>
                </a:xfrm>
                <a:custGeom>
                  <a:avLst/>
                  <a:gdLst>
                    <a:gd name="connsiteX0" fmla="*/ 155471 w 171092"/>
                    <a:gd name="connsiteY0" fmla="*/ 12687 h 110512"/>
                    <a:gd name="connsiteX1" fmla="*/ 151690 w 171092"/>
                    <a:gd name="connsiteY1" fmla="*/ 16050 h 110512"/>
                    <a:gd name="connsiteX2" fmla="*/ 171092 w 171092"/>
                    <a:gd name="connsiteY2" fmla="*/ 15764 h 110512"/>
                    <a:gd name="connsiteX3" fmla="*/ 162567 w 171092"/>
                    <a:gd name="connsiteY3" fmla="*/ 23451 h 110512"/>
                    <a:gd name="connsiteX4" fmla="*/ 147860 w 171092"/>
                    <a:gd name="connsiteY4" fmla="*/ 41653 h 110512"/>
                    <a:gd name="connsiteX5" fmla="*/ 133182 w 171092"/>
                    <a:gd name="connsiteY5" fmla="*/ 52750 h 110512"/>
                    <a:gd name="connsiteX6" fmla="*/ 119781 w 171092"/>
                    <a:gd name="connsiteY6" fmla="*/ 66265 h 110512"/>
                    <a:gd name="connsiteX7" fmla="*/ 105903 w 171092"/>
                    <a:gd name="connsiteY7" fmla="*/ 78296 h 110512"/>
                    <a:gd name="connsiteX8" fmla="*/ 94949 w 171092"/>
                    <a:gd name="connsiteY8" fmla="*/ 89021 h 110512"/>
                    <a:gd name="connsiteX9" fmla="*/ 91101 w 171092"/>
                    <a:gd name="connsiteY9" fmla="*/ 101441 h 110512"/>
                    <a:gd name="connsiteX10" fmla="*/ 86662 w 171092"/>
                    <a:gd name="connsiteY10" fmla="*/ 109804 h 110512"/>
                    <a:gd name="connsiteX11" fmla="*/ 71413 w 171092"/>
                    <a:gd name="connsiteY11" fmla="*/ 109842 h 110512"/>
                    <a:gd name="connsiteX12" fmla="*/ 3757 w 171092"/>
                    <a:gd name="connsiteY12" fmla="*/ 109928 h 110512"/>
                    <a:gd name="connsiteX13" fmla="*/ 9615 w 171092"/>
                    <a:gd name="connsiteY13" fmla="*/ 96603 h 110512"/>
                    <a:gd name="connsiteX14" fmla="*/ 5024 w 171092"/>
                    <a:gd name="connsiteY14" fmla="*/ 91802 h 110512"/>
                    <a:gd name="connsiteX15" fmla="*/ 33 w 171092"/>
                    <a:gd name="connsiteY15" fmla="*/ 89859 h 110512"/>
                    <a:gd name="connsiteX16" fmla="*/ 5424 w 171092"/>
                    <a:gd name="connsiteY16" fmla="*/ 78686 h 110512"/>
                    <a:gd name="connsiteX17" fmla="*/ 26884 w 171092"/>
                    <a:gd name="connsiteY17" fmla="*/ 35157 h 110512"/>
                    <a:gd name="connsiteX18" fmla="*/ 36542 w 171092"/>
                    <a:gd name="connsiteY18" fmla="*/ 6572 h 110512"/>
                    <a:gd name="connsiteX19" fmla="*/ 46705 w 171092"/>
                    <a:gd name="connsiteY19" fmla="*/ 29 h 110512"/>
                    <a:gd name="connsiteX20" fmla="*/ 62526 w 171092"/>
                    <a:gd name="connsiteY20" fmla="*/ 0 h 110512"/>
                    <a:gd name="connsiteX21" fmla="*/ 123038 w 171092"/>
                    <a:gd name="connsiteY21" fmla="*/ 38 h 110512"/>
                    <a:gd name="connsiteX22" fmla="*/ 157481 w 171092"/>
                    <a:gd name="connsiteY22" fmla="*/ 10 h 110512"/>
                    <a:gd name="connsiteX23" fmla="*/ 155471 w 171092"/>
                    <a:gd name="connsiteY23" fmla="*/ 12687 h 110512"/>
                    <a:gd name="connsiteX24" fmla="*/ 155471 w 171092"/>
                    <a:gd name="connsiteY24" fmla="*/ 12687 h 110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1092" h="110512">
                      <a:moveTo>
                        <a:pt x="155471" y="12687"/>
                      </a:moveTo>
                      <a:cubicBezTo>
                        <a:pt x="154119" y="13583"/>
                        <a:pt x="152899" y="14973"/>
                        <a:pt x="151690" y="16050"/>
                      </a:cubicBezTo>
                      <a:cubicBezTo>
                        <a:pt x="158157" y="15954"/>
                        <a:pt x="164625" y="15850"/>
                        <a:pt x="171092" y="15764"/>
                      </a:cubicBezTo>
                      <a:cubicBezTo>
                        <a:pt x="170025" y="20069"/>
                        <a:pt x="165491" y="20469"/>
                        <a:pt x="162567" y="23451"/>
                      </a:cubicBezTo>
                      <a:cubicBezTo>
                        <a:pt x="157281" y="28851"/>
                        <a:pt x="153004" y="36176"/>
                        <a:pt x="147860" y="41653"/>
                      </a:cubicBezTo>
                      <a:cubicBezTo>
                        <a:pt x="143670" y="46120"/>
                        <a:pt x="138040" y="49387"/>
                        <a:pt x="133182" y="52750"/>
                      </a:cubicBezTo>
                      <a:cubicBezTo>
                        <a:pt x="127972" y="56350"/>
                        <a:pt x="124639" y="62294"/>
                        <a:pt x="119781" y="66265"/>
                      </a:cubicBezTo>
                      <a:cubicBezTo>
                        <a:pt x="114980" y="70190"/>
                        <a:pt x="109275" y="74171"/>
                        <a:pt x="105903" y="78296"/>
                      </a:cubicBezTo>
                      <a:cubicBezTo>
                        <a:pt x="103274" y="81515"/>
                        <a:pt x="97864" y="85125"/>
                        <a:pt x="94949" y="89021"/>
                      </a:cubicBezTo>
                      <a:cubicBezTo>
                        <a:pt x="93292" y="91230"/>
                        <a:pt x="92730" y="97612"/>
                        <a:pt x="91101" y="101441"/>
                      </a:cubicBezTo>
                      <a:cubicBezTo>
                        <a:pt x="90053" y="103927"/>
                        <a:pt x="89872" y="108280"/>
                        <a:pt x="86662" y="109804"/>
                      </a:cubicBezTo>
                      <a:cubicBezTo>
                        <a:pt x="83338" y="111376"/>
                        <a:pt x="75070" y="109842"/>
                        <a:pt x="71413" y="109842"/>
                      </a:cubicBezTo>
                      <a:cubicBezTo>
                        <a:pt x="48858" y="109880"/>
                        <a:pt x="26312" y="109909"/>
                        <a:pt x="3757" y="109928"/>
                      </a:cubicBezTo>
                      <a:cubicBezTo>
                        <a:pt x="5557" y="105832"/>
                        <a:pt x="8748" y="100975"/>
                        <a:pt x="9615" y="96603"/>
                      </a:cubicBezTo>
                      <a:cubicBezTo>
                        <a:pt x="10853" y="90278"/>
                        <a:pt x="10482" y="93193"/>
                        <a:pt x="5024" y="91802"/>
                      </a:cubicBezTo>
                      <a:cubicBezTo>
                        <a:pt x="2976" y="91278"/>
                        <a:pt x="966" y="93659"/>
                        <a:pt x="33" y="89859"/>
                      </a:cubicBezTo>
                      <a:cubicBezTo>
                        <a:pt x="-444" y="87897"/>
                        <a:pt x="4443" y="80705"/>
                        <a:pt x="5424" y="78686"/>
                      </a:cubicBezTo>
                      <a:cubicBezTo>
                        <a:pt x="12434" y="64218"/>
                        <a:pt x="20673" y="49968"/>
                        <a:pt x="26884" y="35157"/>
                      </a:cubicBezTo>
                      <a:cubicBezTo>
                        <a:pt x="30732" y="25965"/>
                        <a:pt x="33303" y="16002"/>
                        <a:pt x="36542" y="6572"/>
                      </a:cubicBezTo>
                      <a:cubicBezTo>
                        <a:pt x="38971" y="-514"/>
                        <a:pt x="39266" y="48"/>
                        <a:pt x="46705" y="29"/>
                      </a:cubicBezTo>
                      <a:cubicBezTo>
                        <a:pt x="51982" y="19"/>
                        <a:pt x="57249" y="0"/>
                        <a:pt x="62526" y="0"/>
                      </a:cubicBezTo>
                      <a:cubicBezTo>
                        <a:pt x="82662" y="10"/>
                        <a:pt x="102864" y="10"/>
                        <a:pt x="123038" y="38"/>
                      </a:cubicBezTo>
                      <a:cubicBezTo>
                        <a:pt x="134516" y="57"/>
                        <a:pt x="146003" y="0"/>
                        <a:pt x="157481" y="10"/>
                      </a:cubicBezTo>
                      <a:cubicBezTo>
                        <a:pt x="173464" y="29"/>
                        <a:pt x="162348" y="7696"/>
                        <a:pt x="155471" y="12687"/>
                      </a:cubicBezTo>
                      <a:lnTo>
                        <a:pt x="155471" y="12687"/>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16" name="Freeform: Shape 515">
                  <a:extLst>
                    <a:ext uri="{FF2B5EF4-FFF2-40B4-BE49-F238E27FC236}">
                      <a16:creationId xmlns:a16="http://schemas.microsoft.com/office/drawing/2014/main" id="{96C7D84D-410B-4259-B401-71149AA10285}"/>
                    </a:ext>
                  </a:extLst>
                </p:cNvPr>
                <p:cNvSpPr/>
                <p:nvPr/>
              </p:nvSpPr>
              <p:spPr>
                <a:xfrm>
                  <a:off x="3000060" y="3261610"/>
                  <a:ext cx="140284" cy="151014"/>
                </a:xfrm>
                <a:custGeom>
                  <a:avLst/>
                  <a:gdLst>
                    <a:gd name="connsiteX0" fmla="*/ 29661 w 140284"/>
                    <a:gd name="connsiteY0" fmla="*/ 133221 h 151014"/>
                    <a:gd name="connsiteX1" fmla="*/ 27480 w 140284"/>
                    <a:gd name="connsiteY1" fmla="*/ 145309 h 151014"/>
                    <a:gd name="connsiteX2" fmla="*/ 9839 w 140284"/>
                    <a:gd name="connsiteY2" fmla="*/ 151014 h 151014"/>
                    <a:gd name="connsiteX3" fmla="*/ 15040 w 140284"/>
                    <a:gd name="connsiteY3" fmla="*/ 149604 h 151014"/>
                    <a:gd name="connsiteX4" fmla="*/ 16364 w 140284"/>
                    <a:gd name="connsiteY4" fmla="*/ 145452 h 151014"/>
                    <a:gd name="connsiteX5" fmla="*/ 15364 w 140284"/>
                    <a:gd name="connsiteY5" fmla="*/ 136422 h 151014"/>
                    <a:gd name="connsiteX6" fmla="*/ 0 w 140284"/>
                    <a:gd name="connsiteY6" fmla="*/ 146604 h 151014"/>
                    <a:gd name="connsiteX7" fmla="*/ 32137 w 140284"/>
                    <a:gd name="connsiteY7" fmla="*/ 69632 h 151014"/>
                    <a:gd name="connsiteX8" fmla="*/ 66694 w 140284"/>
                    <a:gd name="connsiteY8" fmla="*/ 14 h 151014"/>
                    <a:gd name="connsiteX9" fmla="*/ 140284 w 140284"/>
                    <a:gd name="connsiteY9" fmla="*/ 748 h 151014"/>
                    <a:gd name="connsiteX10" fmla="*/ 125454 w 140284"/>
                    <a:gd name="connsiteY10" fmla="*/ 67718 h 151014"/>
                    <a:gd name="connsiteX11" fmla="*/ 124349 w 140284"/>
                    <a:gd name="connsiteY11" fmla="*/ 84549 h 151014"/>
                    <a:gd name="connsiteX12" fmla="*/ 123358 w 140284"/>
                    <a:gd name="connsiteY12" fmla="*/ 88206 h 151014"/>
                    <a:gd name="connsiteX13" fmla="*/ 118196 w 140284"/>
                    <a:gd name="connsiteY13" fmla="*/ 93664 h 151014"/>
                    <a:gd name="connsiteX14" fmla="*/ 112586 w 140284"/>
                    <a:gd name="connsiteY14" fmla="*/ 108733 h 151014"/>
                    <a:gd name="connsiteX15" fmla="*/ 107042 w 140284"/>
                    <a:gd name="connsiteY15" fmla="*/ 126716 h 151014"/>
                    <a:gd name="connsiteX16" fmla="*/ 64484 w 140284"/>
                    <a:gd name="connsiteY16" fmla="*/ 126744 h 151014"/>
                    <a:gd name="connsiteX17" fmla="*/ 43291 w 140284"/>
                    <a:gd name="connsiteY17" fmla="*/ 126744 h 151014"/>
                    <a:gd name="connsiteX18" fmla="*/ 29661 w 140284"/>
                    <a:gd name="connsiteY18" fmla="*/ 133221 h 151014"/>
                    <a:gd name="connsiteX19" fmla="*/ 29661 w 140284"/>
                    <a:gd name="connsiteY19" fmla="*/ 133221 h 151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0284" h="151014">
                      <a:moveTo>
                        <a:pt x="29661" y="133221"/>
                      </a:moveTo>
                      <a:cubicBezTo>
                        <a:pt x="34738" y="137250"/>
                        <a:pt x="30728" y="141956"/>
                        <a:pt x="27480" y="145309"/>
                      </a:cubicBezTo>
                      <a:cubicBezTo>
                        <a:pt x="22298" y="150652"/>
                        <a:pt x="17193" y="150338"/>
                        <a:pt x="9839" y="151014"/>
                      </a:cubicBezTo>
                      <a:cubicBezTo>
                        <a:pt x="10554" y="150719"/>
                        <a:pt x="14802" y="150100"/>
                        <a:pt x="15040" y="149604"/>
                      </a:cubicBezTo>
                      <a:cubicBezTo>
                        <a:pt x="16012" y="147623"/>
                        <a:pt x="15735" y="148157"/>
                        <a:pt x="16364" y="145452"/>
                      </a:cubicBezTo>
                      <a:cubicBezTo>
                        <a:pt x="16364" y="145452"/>
                        <a:pt x="16335" y="138022"/>
                        <a:pt x="15364" y="136422"/>
                      </a:cubicBezTo>
                      <a:cubicBezTo>
                        <a:pt x="8563" y="142413"/>
                        <a:pt x="10163" y="147090"/>
                        <a:pt x="0" y="146604"/>
                      </a:cubicBezTo>
                      <a:cubicBezTo>
                        <a:pt x="8944" y="119620"/>
                        <a:pt x="18650" y="94674"/>
                        <a:pt x="32137" y="69632"/>
                      </a:cubicBezTo>
                      <a:cubicBezTo>
                        <a:pt x="36843" y="60908"/>
                        <a:pt x="72619" y="4862"/>
                        <a:pt x="66694" y="14"/>
                      </a:cubicBezTo>
                      <a:cubicBezTo>
                        <a:pt x="91211" y="-100"/>
                        <a:pt x="115757" y="500"/>
                        <a:pt x="140284" y="748"/>
                      </a:cubicBezTo>
                      <a:cubicBezTo>
                        <a:pt x="135074" y="22512"/>
                        <a:pt x="127540" y="45448"/>
                        <a:pt x="125454" y="67718"/>
                      </a:cubicBezTo>
                      <a:cubicBezTo>
                        <a:pt x="124920" y="73443"/>
                        <a:pt x="126168" y="79148"/>
                        <a:pt x="124349" y="84549"/>
                      </a:cubicBezTo>
                      <a:cubicBezTo>
                        <a:pt x="123768" y="86282"/>
                        <a:pt x="124673" y="86082"/>
                        <a:pt x="123358" y="88206"/>
                      </a:cubicBezTo>
                      <a:cubicBezTo>
                        <a:pt x="122453" y="89683"/>
                        <a:pt x="119415" y="92169"/>
                        <a:pt x="118196" y="93664"/>
                      </a:cubicBezTo>
                      <a:cubicBezTo>
                        <a:pt x="113890" y="98979"/>
                        <a:pt x="114214" y="102703"/>
                        <a:pt x="112586" y="108733"/>
                      </a:cubicBezTo>
                      <a:cubicBezTo>
                        <a:pt x="110852" y="115114"/>
                        <a:pt x="105413" y="119486"/>
                        <a:pt x="107042" y="126716"/>
                      </a:cubicBezTo>
                      <a:cubicBezTo>
                        <a:pt x="92859" y="126754"/>
                        <a:pt x="78667" y="126744"/>
                        <a:pt x="64484" y="126744"/>
                      </a:cubicBezTo>
                      <a:cubicBezTo>
                        <a:pt x="57417" y="126744"/>
                        <a:pt x="50359" y="126744"/>
                        <a:pt x="43291" y="126744"/>
                      </a:cubicBezTo>
                      <a:cubicBezTo>
                        <a:pt x="37386" y="126754"/>
                        <a:pt x="28299" y="124382"/>
                        <a:pt x="29661" y="133221"/>
                      </a:cubicBezTo>
                      <a:lnTo>
                        <a:pt x="29661" y="133221"/>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17" name="Freeform: Shape 516">
                  <a:extLst>
                    <a:ext uri="{FF2B5EF4-FFF2-40B4-BE49-F238E27FC236}">
                      <a16:creationId xmlns:a16="http://schemas.microsoft.com/office/drawing/2014/main" id="{6E4AD19A-39C8-47B4-B452-1D9CC2324FDD}"/>
                    </a:ext>
                  </a:extLst>
                </p:cNvPr>
                <p:cNvSpPr/>
                <p:nvPr/>
              </p:nvSpPr>
              <p:spPr>
                <a:xfrm>
                  <a:off x="1539582" y="2115724"/>
                  <a:ext cx="1060970" cy="525497"/>
                </a:xfrm>
                <a:custGeom>
                  <a:avLst/>
                  <a:gdLst>
                    <a:gd name="connsiteX0" fmla="*/ 791232 w 1060970"/>
                    <a:gd name="connsiteY0" fmla="*/ 17644 h 525497"/>
                    <a:gd name="connsiteX1" fmla="*/ 813178 w 1060970"/>
                    <a:gd name="connsiteY1" fmla="*/ 11644 h 525497"/>
                    <a:gd name="connsiteX2" fmla="*/ 818198 w 1060970"/>
                    <a:gd name="connsiteY2" fmla="*/ 15997 h 525497"/>
                    <a:gd name="connsiteX3" fmla="*/ 852554 w 1060970"/>
                    <a:gd name="connsiteY3" fmla="*/ 14873 h 525497"/>
                    <a:gd name="connsiteX4" fmla="*/ 868242 w 1060970"/>
                    <a:gd name="connsiteY4" fmla="*/ 18349 h 525497"/>
                    <a:gd name="connsiteX5" fmla="*/ 859736 w 1060970"/>
                    <a:gd name="connsiteY5" fmla="*/ 24798 h 525497"/>
                    <a:gd name="connsiteX6" fmla="*/ 858241 w 1060970"/>
                    <a:gd name="connsiteY6" fmla="*/ 26265 h 525497"/>
                    <a:gd name="connsiteX7" fmla="*/ 868090 w 1060970"/>
                    <a:gd name="connsiteY7" fmla="*/ 26522 h 525497"/>
                    <a:gd name="connsiteX8" fmla="*/ 860155 w 1060970"/>
                    <a:gd name="connsiteY8" fmla="*/ 29922 h 525497"/>
                    <a:gd name="connsiteX9" fmla="*/ 883910 w 1060970"/>
                    <a:gd name="connsiteY9" fmla="*/ 29027 h 525497"/>
                    <a:gd name="connsiteX10" fmla="*/ 903008 w 1060970"/>
                    <a:gd name="connsiteY10" fmla="*/ 28836 h 525497"/>
                    <a:gd name="connsiteX11" fmla="*/ 924277 w 1060970"/>
                    <a:gd name="connsiteY11" fmla="*/ 30770 h 525497"/>
                    <a:gd name="connsiteX12" fmla="*/ 931078 w 1060970"/>
                    <a:gd name="connsiteY12" fmla="*/ 33904 h 525497"/>
                    <a:gd name="connsiteX13" fmla="*/ 940108 w 1060970"/>
                    <a:gd name="connsiteY13" fmla="*/ 34609 h 525497"/>
                    <a:gd name="connsiteX14" fmla="*/ 971779 w 1060970"/>
                    <a:gd name="connsiteY14" fmla="*/ 38990 h 525497"/>
                    <a:gd name="connsiteX15" fmla="*/ 985637 w 1060970"/>
                    <a:gd name="connsiteY15" fmla="*/ 43905 h 525497"/>
                    <a:gd name="connsiteX16" fmla="*/ 1004783 w 1060970"/>
                    <a:gd name="connsiteY16" fmla="*/ 42819 h 525497"/>
                    <a:gd name="connsiteX17" fmla="*/ 1038863 w 1060970"/>
                    <a:gd name="connsiteY17" fmla="*/ 43095 h 525497"/>
                    <a:gd name="connsiteX18" fmla="*/ 1042187 w 1060970"/>
                    <a:gd name="connsiteY18" fmla="*/ 48486 h 525497"/>
                    <a:gd name="connsiteX19" fmla="*/ 1051351 w 1060970"/>
                    <a:gd name="connsiteY19" fmla="*/ 52268 h 525497"/>
                    <a:gd name="connsiteX20" fmla="*/ 1054103 w 1060970"/>
                    <a:gd name="connsiteY20" fmla="*/ 55144 h 525497"/>
                    <a:gd name="connsiteX21" fmla="*/ 1060971 w 1060970"/>
                    <a:gd name="connsiteY21" fmla="*/ 55154 h 525497"/>
                    <a:gd name="connsiteX22" fmla="*/ 802481 w 1060970"/>
                    <a:gd name="connsiteY22" fmla="*/ 285268 h 525497"/>
                    <a:gd name="connsiteX23" fmla="*/ 732930 w 1060970"/>
                    <a:gd name="connsiteY23" fmla="*/ 349705 h 525497"/>
                    <a:gd name="connsiteX24" fmla="*/ 738283 w 1060970"/>
                    <a:gd name="connsiteY24" fmla="*/ 351334 h 525497"/>
                    <a:gd name="connsiteX25" fmla="*/ 744703 w 1060970"/>
                    <a:gd name="connsiteY25" fmla="*/ 350381 h 525497"/>
                    <a:gd name="connsiteX26" fmla="*/ 755123 w 1060970"/>
                    <a:gd name="connsiteY26" fmla="*/ 352667 h 525497"/>
                    <a:gd name="connsiteX27" fmla="*/ 767639 w 1060970"/>
                    <a:gd name="connsiteY27" fmla="*/ 348733 h 525497"/>
                    <a:gd name="connsiteX28" fmla="*/ 779659 w 1060970"/>
                    <a:gd name="connsiteY28" fmla="*/ 348333 h 525497"/>
                    <a:gd name="connsiteX29" fmla="*/ 773840 w 1060970"/>
                    <a:gd name="connsiteY29" fmla="*/ 362269 h 525497"/>
                    <a:gd name="connsiteX30" fmla="*/ 769772 w 1060970"/>
                    <a:gd name="connsiteY30" fmla="*/ 393320 h 525497"/>
                    <a:gd name="connsiteX31" fmla="*/ 787613 w 1060970"/>
                    <a:gd name="connsiteY31" fmla="*/ 387996 h 525497"/>
                    <a:gd name="connsiteX32" fmla="*/ 806987 w 1060970"/>
                    <a:gd name="connsiteY32" fmla="*/ 381557 h 525497"/>
                    <a:gd name="connsiteX33" fmla="*/ 843001 w 1060970"/>
                    <a:gd name="connsiteY33" fmla="*/ 366669 h 525497"/>
                    <a:gd name="connsiteX34" fmla="*/ 847230 w 1060970"/>
                    <a:gd name="connsiteY34" fmla="*/ 375051 h 525497"/>
                    <a:gd name="connsiteX35" fmla="*/ 843906 w 1060970"/>
                    <a:gd name="connsiteY35" fmla="*/ 382281 h 525497"/>
                    <a:gd name="connsiteX36" fmla="*/ 848639 w 1060970"/>
                    <a:gd name="connsiteY36" fmla="*/ 387910 h 525497"/>
                    <a:gd name="connsiteX37" fmla="*/ 847954 w 1060970"/>
                    <a:gd name="connsiteY37" fmla="*/ 396673 h 525497"/>
                    <a:gd name="connsiteX38" fmla="*/ 851630 w 1060970"/>
                    <a:gd name="connsiteY38" fmla="*/ 403331 h 525497"/>
                    <a:gd name="connsiteX39" fmla="*/ 849573 w 1060970"/>
                    <a:gd name="connsiteY39" fmla="*/ 411532 h 525497"/>
                    <a:gd name="connsiteX40" fmla="*/ 836914 w 1060970"/>
                    <a:gd name="connsiteY40" fmla="*/ 451146 h 525497"/>
                    <a:gd name="connsiteX41" fmla="*/ 842753 w 1060970"/>
                    <a:gd name="connsiteY41" fmla="*/ 452813 h 525497"/>
                    <a:gd name="connsiteX42" fmla="*/ 835819 w 1060970"/>
                    <a:gd name="connsiteY42" fmla="*/ 458157 h 525497"/>
                    <a:gd name="connsiteX43" fmla="*/ 839676 w 1060970"/>
                    <a:gd name="connsiteY43" fmla="*/ 460167 h 525497"/>
                    <a:gd name="connsiteX44" fmla="*/ 834542 w 1060970"/>
                    <a:gd name="connsiteY44" fmla="*/ 466558 h 525497"/>
                    <a:gd name="connsiteX45" fmla="*/ 845572 w 1060970"/>
                    <a:gd name="connsiteY45" fmla="*/ 470987 h 525497"/>
                    <a:gd name="connsiteX46" fmla="*/ 850935 w 1060970"/>
                    <a:gd name="connsiteY46" fmla="*/ 473521 h 525497"/>
                    <a:gd name="connsiteX47" fmla="*/ 856698 w 1060970"/>
                    <a:gd name="connsiteY47" fmla="*/ 477874 h 525497"/>
                    <a:gd name="connsiteX48" fmla="*/ 855050 w 1060970"/>
                    <a:gd name="connsiteY48" fmla="*/ 481274 h 525497"/>
                    <a:gd name="connsiteX49" fmla="*/ 862394 w 1060970"/>
                    <a:gd name="connsiteY49" fmla="*/ 481693 h 525497"/>
                    <a:gd name="connsiteX50" fmla="*/ 849887 w 1060970"/>
                    <a:gd name="connsiteY50" fmla="*/ 493980 h 525497"/>
                    <a:gd name="connsiteX51" fmla="*/ 839648 w 1060970"/>
                    <a:gd name="connsiteY51" fmla="*/ 507439 h 525497"/>
                    <a:gd name="connsiteX52" fmla="*/ 823532 w 1060970"/>
                    <a:gd name="connsiteY52" fmla="*/ 517955 h 525497"/>
                    <a:gd name="connsiteX53" fmla="*/ 805396 w 1060970"/>
                    <a:gd name="connsiteY53" fmla="*/ 522708 h 525497"/>
                    <a:gd name="connsiteX54" fmla="*/ 811501 w 1060970"/>
                    <a:gd name="connsiteY54" fmla="*/ 510992 h 525497"/>
                    <a:gd name="connsiteX55" fmla="*/ 822951 w 1060970"/>
                    <a:gd name="connsiteY55" fmla="*/ 506629 h 525497"/>
                    <a:gd name="connsiteX56" fmla="*/ 821217 w 1060970"/>
                    <a:gd name="connsiteY56" fmla="*/ 506191 h 525497"/>
                    <a:gd name="connsiteX57" fmla="*/ 830780 w 1060970"/>
                    <a:gd name="connsiteY57" fmla="*/ 493980 h 525497"/>
                    <a:gd name="connsiteX58" fmla="*/ 838829 w 1060970"/>
                    <a:gd name="connsiteY58" fmla="*/ 482379 h 525497"/>
                    <a:gd name="connsiteX59" fmla="*/ 813673 w 1060970"/>
                    <a:gd name="connsiteY59" fmla="*/ 489208 h 525497"/>
                    <a:gd name="connsiteX60" fmla="*/ 799671 w 1060970"/>
                    <a:gd name="connsiteY60" fmla="*/ 499486 h 525497"/>
                    <a:gd name="connsiteX61" fmla="*/ 806120 w 1060970"/>
                    <a:gd name="connsiteY61" fmla="*/ 489761 h 525497"/>
                    <a:gd name="connsiteX62" fmla="*/ 829666 w 1060970"/>
                    <a:gd name="connsiteY62" fmla="*/ 478635 h 525497"/>
                    <a:gd name="connsiteX63" fmla="*/ 822827 w 1060970"/>
                    <a:gd name="connsiteY63" fmla="*/ 473025 h 525497"/>
                    <a:gd name="connsiteX64" fmla="*/ 822608 w 1060970"/>
                    <a:gd name="connsiteY64" fmla="*/ 465434 h 525497"/>
                    <a:gd name="connsiteX65" fmla="*/ 820436 w 1060970"/>
                    <a:gd name="connsiteY65" fmla="*/ 464691 h 525497"/>
                    <a:gd name="connsiteX66" fmla="*/ 823722 w 1060970"/>
                    <a:gd name="connsiteY66" fmla="*/ 461014 h 525497"/>
                    <a:gd name="connsiteX67" fmla="*/ 824341 w 1060970"/>
                    <a:gd name="connsiteY67" fmla="*/ 451899 h 525497"/>
                    <a:gd name="connsiteX68" fmla="*/ 812340 w 1060970"/>
                    <a:gd name="connsiteY68" fmla="*/ 448232 h 525497"/>
                    <a:gd name="connsiteX69" fmla="*/ 818569 w 1060970"/>
                    <a:gd name="connsiteY69" fmla="*/ 442336 h 525497"/>
                    <a:gd name="connsiteX70" fmla="*/ 822846 w 1060970"/>
                    <a:gd name="connsiteY70" fmla="*/ 433154 h 525497"/>
                    <a:gd name="connsiteX71" fmla="*/ 832952 w 1060970"/>
                    <a:gd name="connsiteY71" fmla="*/ 435821 h 525497"/>
                    <a:gd name="connsiteX72" fmla="*/ 840724 w 1060970"/>
                    <a:gd name="connsiteY72" fmla="*/ 426010 h 525497"/>
                    <a:gd name="connsiteX73" fmla="*/ 827037 w 1060970"/>
                    <a:gd name="connsiteY73" fmla="*/ 421124 h 525497"/>
                    <a:gd name="connsiteX74" fmla="*/ 844296 w 1060970"/>
                    <a:gd name="connsiteY74" fmla="*/ 405836 h 525497"/>
                    <a:gd name="connsiteX75" fmla="*/ 829828 w 1060970"/>
                    <a:gd name="connsiteY75" fmla="*/ 413751 h 525497"/>
                    <a:gd name="connsiteX76" fmla="*/ 820855 w 1060970"/>
                    <a:gd name="connsiteY76" fmla="*/ 407408 h 525497"/>
                    <a:gd name="connsiteX77" fmla="*/ 825294 w 1060970"/>
                    <a:gd name="connsiteY77" fmla="*/ 398797 h 525497"/>
                    <a:gd name="connsiteX78" fmla="*/ 825894 w 1060970"/>
                    <a:gd name="connsiteY78" fmla="*/ 393720 h 525497"/>
                    <a:gd name="connsiteX79" fmla="*/ 837371 w 1060970"/>
                    <a:gd name="connsiteY79" fmla="*/ 377451 h 525497"/>
                    <a:gd name="connsiteX80" fmla="*/ 826884 w 1060970"/>
                    <a:gd name="connsiteY80" fmla="*/ 385224 h 525497"/>
                    <a:gd name="connsiteX81" fmla="*/ 816207 w 1060970"/>
                    <a:gd name="connsiteY81" fmla="*/ 402302 h 525497"/>
                    <a:gd name="connsiteX82" fmla="*/ 805767 w 1060970"/>
                    <a:gd name="connsiteY82" fmla="*/ 414608 h 525497"/>
                    <a:gd name="connsiteX83" fmla="*/ 802053 w 1060970"/>
                    <a:gd name="connsiteY83" fmla="*/ 410313 h 525497"/>
                    <a:gd name="connsiteX84" fmla="*/ 792080 w 1060970"/>
                    <a:gd name="connsiteY84" fmla="*/ 409551 h 525497"/>
                    <a:gd name="connsiteX85" fmla="*/ 809654 w 1060970"/>
                    <a:gd name="connsiteY85" fmla="*/ 393873 h 525497"/>
                    <a:gd name="connsiteX86" fmla="*/ 804339 w 1060970"/>
                    <a:gd name="connsiteY86" fmla="*/ 394634 h 525497"/>
                    <a:gd name="connsiteX87" fmla="*/ 806729 w 1060970"/>
                    <a:gd name="connsiteY87" fmla="*/ 389148 h 525497"/>
                    <a:gd name="connsiteX88" fmla="*/ 793337 w 1060970"/>
                    <a:gd name="connsiteY88" fmla="*/ 395654 h 525497"/>
                    <a:gd name="connsiteX89" fmla="*/ 786813 w 1060970"/>
                    <a:gd name="connsiteY89" fmla="*/ 389977 h 525497"/>
                    <a:gd name="connsiteX90" fmla="*/ 779421 w 1060970"/>
                    <a:gd name="connsiteY90" fmla="*/ 394644 h 525497"/>
                    <a:gd name="connsiteX91" fmla="*/ 789375 w 1060970"/>
                    <a:gd name="connsiteY91" fmla="*/ 400092 h 525497"/>
                    <a:gd name="connsiteX92" fmla="*/ 784946 w 1060970"/>
                    <a:gd name="connsiteY92" fmla="*/ 402712 h 525497"/>
                    <a:gd name="connsiteX93" fmla="*/ 783993 w 1060970"/>
                    <a:gd name="connsiteY93" fmla="*/ 411208 h 525497"/>
                    <a:gd name="connsiteX94" fmla="*/ 763724 w 1060970"/>
                    <a:gd name="connsiteY94" fmla="*/ 409722 h 525497"/>
                    <a:gd name="connsiteX95" fmla="*/ 757352 w 1060970"/>
                    <a:gd name="connsiteY95" fmla="*/ 397416 h 525497"/>
                    <a:gd name="connsiteX96" fmla="*/ 751894 w 1060970"/>
                    <a:gd name="connsiteY96" fmla="*/ 386595 h 525497"/>
                    <a:gd name="connsiteX97" fmla="*/ 754180 w 1060970"/>
                    <a:gd name="connsiteY97" fmla="*/ 385443 h 525497"/>
                    <a:gd name="connsiteX98" fmla="*/ 737721 w 1060970"/>
                    <a:gd name="connsiteY98" fmla="*/ 375461 h 525497"/>
                    <a:gd name="connsiteX99" fmla="*/ 739035 w 1060970"/>
                    <a:gd name="connsiteY99" fmla="*/ 372517 h 525497"/>
                    <a:gd name="connsiteX100" fmla="*/ 747570 w 1060970"/>
                    <a:gd name="connsiteY100" fmla="*/ 368898 h 525497"/>
                    <a:gd name="connsiteX101" fmla="*/ 755647 w 1060970"/>
                    <a:gd name="connsiteY101" fmla="*/ 360945 h 525497"/>
                    <a:gd name="connsiteX102" fmla="*/ 750475 w 1060970"/>
                    <a:gd name="connsiteY102" fmla="*/ 371422 h 525497"/>
                    <a:gd name="connsiteX103" fmla="*/ 764953 w 1060970"/>
                    <a:gd name="connsiteY103" fmla="*/ 364364 h 525497"/>
                    <a:gd name="connsiteX104" fmla="*/ 754790 w 1060970"/>
                    <a:gd name="connsiteY104" fmla="*/ 360002 h 525497"/>
                    <a:gd name="connsiteX105" fmla="*/ 740378 w 1060970"/>
                    <a:gd name="connsiteY105" fmla="*/ 365698 h 525497"/>
                    <a:gd name="connsiteX106" fmla="*/ 709955 w 1060970"/>
                    <a:gd name="connsiteY106" fmla="*/ 362230 h 525497"/>
                    <a:gd name="connsiteX107" fmla="*/ 717871 w 1060970"/>
                    <a:gd name="connsiteY107" fmla="*/ 355849 h 525497"/>
                    <a:gd name="connsiteX108" fmla="*/ 707107 w 1060970"/>
                    <a:gd name="connsiteY108" fmla="*/ 359906 h 525497"/>
                    <a:gd name="connsiteX109" fmla="*/ 687715 w 1060970"/>
                    <a:gd name="connsiteY109" fmla="*/ 356392 h 525497"/>
                    <a:gd name="connsiteX110" fmla="*/ 649091 w 1060970"/>
                    <a:gd name="connsiteY110" fmla="*/ 358640 h 525497"/>
                    <a:gd name="connsiteX111" fmla="*/ 644100 w 1060970"/>
                    <a:gd name="connsiteY111" fmla="*/ 350762 h 525497"/>
                    <a:gd name="connsiteX112" fmla="*/ 647500 w 1060970"/>
                    <a:gd name="connsiteY112" fmla="*/ 344695 h 525497"/>
                    <a:gd name="connsiteX113" fmla="*/ 658797 w 1060970"/>
                    <a:gd name="connsiteY113" fmla="*/ 338085 h 525497"/>
                    <a:gd name="connsiteX114" fmla="*/ 641814 w 1060970"/>
                    <a:gd name="connsiteY114" fmla="*/ 344866 h 525497"/>
                    <a:gd name="connsiteX115" fmla="*/ 623783 w 1060970"/>
                    <a:gd name="connsiteY115" fmla="*/ 344095 h 525497"/>
                    <a:gd name="connsiteX116" fmla="*/ 635079 w 1060970"/>
                    <a:gd name="connsiteY116" fmla="*/ 338647 h 525497"/>
                    <a:gd name="connsiteX117" fmla="*/ 624288 w 1060970"/>
                    <a:gd name="connsiteY117" fmla="*/ 338342 h 525497"/>
                    <a:gd name="connsiteX118" fmla="*/ 626097 w 1060970"/>
                    <a:gd name="connsiteY118" fmla="*/ 336008 h 525497"/>
                    <a:gd name="connsiteX119" fmla="*/ 616801 w 1060970"/>
                    <a:gd name="connsiteY119" fmla="*/ 336189 h 525497"/>
                    <a:gd name="connsiteX120" fmla="*/ 623859 w 1060970"/>
                    <a:gd name="connsiteY120" fmla="*/ 333608 h 525497"/>
                    <a:gd name="connsiteX121" fmla="*/ 636975 w 1060970"/>
                    <a:gd name="connsiteY121" fmla="*/ 324102 h 525497"/>
                    <a:gd name="connsiteX122" fmla="*/ 615972 w 1060970"/>
                    <a:gd name="connsiteY122" fmla="*/ 328340 h 525497"/>
                    <a:gd name="connsiteX123" fmla="*/ 604285 w 1060970"/>
                    <a:gd name="connsiteY123" fmla="*/ 329969 h 525497"/>
                    <a:gd name="connsiteX124" fmla="*/ 601113 w 1060970"/>
                    <a:gd name="connsiteY124" fmla="*/ 328655 h 525497"/>
                    <a:gd name="connsiteX125" fmla="*/ 592884 w 1060970"/>
                    <a:gd name="connsiteY125" fmla="*/ 331217 h 525497"/>
                    <a:gd name="connsiteX126" fmla="*/ 606495 w 1060970"/>
                    <a:gd name="connsiteY126" fmla="*/ 320749 h 525497"/>
                    <a:gd name="connsiteX127" fmla="*/ 592722 w 1060970"/>
                    <a:gd name="connsiteY127" fmla="*/ 325112 h 525497"/>
                    <a:gd name="connsiteX128" fmla="*/ 583711 w 1060970"/>
                    <a:gd name="connsiteY128" fmla="*/ 327293 h 525497"/>
                    <a:gd name="connsiteX129" fmla="*/ 589197 w 1060970"/>
                    <a:gd name="connsiteY129" fmla="*/ 326264 h 525497"/>
                    <a:gd name="connsiteX130" fmla="*/ 576882 w 1060970"/>
                    <a:gd name="connsiteY130" fmla="*/ 332884 h 525497"/>
                    <a:gd name="connsiteX131" fmla="*/ 575958 w 1060970"/>
                    <a:gd name="connsiteY131" fmla="*/ 337103 h 525497"/>
                    <a:gd name="connsiteX132" fmla="*/ 559737 w 1060970"/>
                    <a:gd name="connsiteY132" fmla="*/ 343723 h 525497"/>
                    <a:gd name="connsiteX133" fmla="*/ 575701 w 1060970"/>
                    <a:gd name="connsiteY133" fmla="*/ 343552 h 525497"/>
                    <a:gd name="connsiteX134" fmla="*/ 567604 w 1060970"/>
                    <a:gd name="connsiteY134" fmla="*/ 346581 h 525497"/>
                    <a:gd name="connsiteX135" fmla="*/ 559546 w 1060970"/>
                    <a:gd name="connsiteY135" fmla="*/ 353029 h 525497"/>
                    <a:gd name="connsiteX136" fmla="*/ 532190 w 1060970"/>
                    <a:gd name="connsiteY136" fmla="*/ 358087 h 525497"/>
                    <a:gd name="connsiteX137" fmla="*/ 528295 w 1060970"/>
                    <a:gd name="connsiteY137" fmla="*/ 355811 h 525497"/>
                    <a:gd name="connsiteX138" fmla="*/ 511092 w 1060970"/>
                    <a:gd name="connsiteY138" fmla="*/ 366488 h 525497"/>
                    <a:gd name="connsiteX139" fmla="*/ 514140 w 1060970"/>
                    <a:gd name="connsiteY139" fmla="*/ 361668 h 525497"/>
                    <a:gd name="connsiteX140" fmla="*/ 504454 w 1060970"/>
                    <a:gd name="connsiteY140" fmla="*/ 366698 h 525497"/>
                    <a:gd name="connsiteX141" fmla="*/ 500948 w 1060970"/>
                    <a:gd name="connsiteY141" fmla="*/ 368184 h 525497"/>
                    <a:gd name="connsiteX142" fmla="*/ 495033 w 1060970"/>
                    <a:gd name="connsiteY142" fmla="*/ 370851 h 525497"/>
                    <a:gd name="connsiteX143" fmla="*/ 477917 w 1060970"/>
                    <a:gd name="connsiteY143" fmla="*/ 374661 h 525497"/>
                    <a:gd name="connsiteX144" fmla="*/ 465277 w 1060970"/>
                    <a:gd name="connsiteY144" fmla="*/ 380490 h 525497"/>
                    <a:gd name="connsiteX145" fmla="*/ 456343 w 1060970"/>
                    <a:gd name="connsiteY145" fmla="*/ 381776 h 525497"/>
                    <a:gd name="connsiteX146" fmla="*/ 437683 w 1060970"/>
                    <a:gd name="connsiteY146" fmla="*/ 382290 h 525497"/>
                    <a:gd name="connsiteX147" fmla="*/ 477422 w 1060970"/>
                    <a:gd name="connsiteY147" fmla="*/ 366002 h 525497"/>
                    <a:gd name="connsiteX148" fmla="*/ 461934 w 1060970"/>
                    <a:gd name="connsiteY148" fmla="*/ 370127 h 525497"/>
                    <a:gd name="connsiteX149" fmla="*/ 467887 w 1060970"/>
                    <a:gd name="connsiteY149" fmla="*/ 360059 h 525497"/>
                    <a:gd name="connsiteX150" fmla="*/ 500586 w 1060970"/>
                    <a:gd name="connsiteY150" fmla="*/ 340028 h 525497"/>
                    <a:gd name="connsiteX151" fmla="*/ 517541 w 1060970"/>
                    <a:gd name="connsiteY151" fmla="*/ 332770 h 525497"/>
                    <a:gd name="connsiteX152" fmla="*/ 536658 w 1060970"/>
                    <a:gd name="connsiteY152" fmla="*/ 326893 h 525497"/>
                    <a:gd name="connsiteX153" fmla="*/ 539772 w 1060970"/>
                    <a:gd name="connsiteY153" fmla="*/ 329045 h 525497"/>
                    <a:gd name="connsiteX154" fmla="*/ 548116 w 1060970"/>
                    <a:gd name="connsiteY154" fmla="*/ 328826 h 525497"/>
                    <a:gd name="connsiteX155" fmla="*/ 563861 w 1060970"/>
                    <a:gd name="connsiteY155" fmla="*/ 329664 h 525497"/>
                    <a:gd name="connsiteX156" fmla="*/ 552621 w 1060970"/>
                    <a:gd name="connsiteY156" fmla="*/ 325131 h 525497"/>
                    <a:gd name="connsiteX157" fmla="*/ 556565 w 1060970"/>
                    <a:gd name="connsiteY157" fmla="*/ 320492 h 525497"/>
                    <a:gd name="connsiteX158" fmla="*/ 579711 w 1060970"/>
                    <a:gd name="connsiteY158" fmla="*/ 311967 h 525497"/>
                    <a:gd name="connsiteX159" fmla="*/ 562537 w 1060970"/>
                    <a:gd name="connsiteY159" fmla="*/ 315891 h 525497"/>
                    <a:gd name="connsiteX160" fmla="*/ 544516 w 1060970"/>
                    <a:gd name="connsiteY160" fmla="*/ 318815 h 525497"/>
                    <a:gd name="connsiteX161" fmla="*/ 508111 w 1060970"/>
                    <a:gd name="connsiteY161" fmla="*/ 328283 h 525497"/>
                    <a:gd name="connsiteX162" fmla="*/ 493843 w 1060970"/>
                    <a:gd name="connsiteY162" fmla="*/ 335922 h 525497"/>
                    <a:gd name="connsiteX163" fmla="*/ 474345 w 1060970"/>
                    <a:gd name="connsiteY163" fmla="*/ 343380 h 525497"/>
                    <a:gd name="connsiteX164" fmla="*/ 449170 w 1060970"/>
                    <a:gd name="connsiteY164" fmla="*/ 350019 h 525497"/>
                    <a:gd name="connsiteX165" fmla="*/ 428635 w 1060970"/>
                    <a:gd name="connsiteY165" fmla="*/ 364088 h 525497"/>
                    <a:gd name="connsiteX166" fmla="*/ 431511 w 1060970"/>
                    <a:gd name="connsiteY166" fmla="*/ 365097 h 525497"/>
                    <a:gd name="connsiteX167" fmla="*/ 418167 w 1060970"/>
                    <a:gd name="connsiteY167" fmla="*/ 369612 h 525497"/>
                    <a:gd name="connsiteX168" fmla="*/ 420853 w 1060970"/>
                    <a:gd name="connsiteY168" fmla="*/ 367641 h 525497"/>
                    <a:gd name="connsiteX169" fmla="*/ 410185 w 1060970"/>
                    <a:gd name="connsiteY169" fmla="*/ 370632 h 525497"/>
                    <a:gd name="connsiteX170" fmla="*/ 389887 w 1060970"/>
                    <a:gd name="connsiteY170" fmla="*/ 380033 h 525497"/>
                    <a:gd name="connsiteX171" fmla="*/ 381038 w 1060970"/>
                    <a:gd name="connsiteY171" fmla="*/ 387024 h 525497"/>
                    <a:gd name="connsiteX172" fmla="*/ 391706 w 1060970"/>
                    <a:gd name="connsiteY172" fmla="*/ 392291 h 525497"/>
                    <a:gd name="connsiteX173" fmla="*/ 370180 w 1060970"/>
                    <a:gd name="connsiteY173" fmla="*/ 402912 h 525497"/>
                    <a:gd name="connsiteX174" fmla="*/ 346958 w 1060970"/>
                    <a:gd name="connsiteY174" fmla="*/ 412875 h 525497"/>
                    <a:gd name="connsiteX175" fmla="*/ 348558 w 1060970"/>
                    <a:gd name="connsiteY175" fmla="*/ 413027 h 525497"/>
                    <a:gd name="connsiteX176" fmla="*/ 312982 w 1060970"/>
                    <a:gd name="connsiteY176" fmla="*/ 425105 h 525497"/>
                    <a:gd name="connsiteX177" fmla="*/ 279778 w 1060970"/>
                    <a:gd name="connsiteY177" fmla="*/ 436344 h 525497"/>
                    <a:gd name="connsiteX178" fmla="*/ 268319 w 1060970"/>
                    <a:gd name="connsiteY178" fmla="*/ 439774 h 525497"/>
                    <a:gd name="connsiteX179" fmla="*/ 254689 w 1060970"/>
                    <a:gd name="connsiteY179" fmla="*/ 448213 h 525497"/>
                    <a:gd name="connsiteX180" fmla="*/ 223742 w 1060970"/>
                    <a:gd name="connsiteY180" fmla="*/ 459328 h 525497"/>
                    <a:gd name="connsiteX181" fmla="*/ 209112 w 1060970"/>
                    <a:gd name="connsiteY181" fmla="*/ 464243 h 525497"/>
                    <a:gd name="connsiteX182" fmla="*/ 191967 w 1060970"/>
                    <a:gd name="connsiteY182" fmla="*/ 467748 h 525497"/>
                    <a:gd name="connsiteX183" fmla="*/ 194882 w 1060970"/>
                    <a:gd name="connsiteY183" fmla="*/ 468387 h 525497"/>
                    <a:gd name="connsiteX184" fmla="*/ 171688 w 1060970"/>
                    <a:gd name="connsiteY184" fmla="*/ 475283 h 525497"/>
                    <a:gd name="connsiteX185" fmla="*/ 174193 w 1060970"/>
                    <a:gd name="connsiteY185" fmla="*/ 478836 h 525497"/>
                    <a:gd name="connsiteX186" fmla="*/ 163782 w 1060970"/>
                    <a:gd name="connsiteY186" fmla="*/ 483179 h 525497"/>
                    <a:gd name="connsiteX187" fmla="*/ 166935 w 1060970"/>
                    <a:gd name="connsiteY187" fmla="*/ 479378 h 525497"/>
                    <a:gd name="connsiteX188" fmla="*/ 142389 w 1060970"/>
                    <a:gd name="connsiteY188" fmla="*/ 488084 h 525497"/>
                    <a:gd name="connsiteX189" fmla="*/ 119605 w 1060970"/>
                    <a:gd name="connsiteY189" fmla="*/ 496924 h 525497"/>
                    <a:gd name="connsiteX190" fmla="*/ 126340 w 1060970"/>
                    <a:gd name="connsiteY190" fmla="*/ 490666 h 525497"/>
                    <a:gd name="connsiteX191" fmla="*/ 96507 w 1060970"/>
                    <a:gd name="connsiteY191" fmla="*/ 499400 h 525497"/>
                    <a:gd name="connsiteX192" fmla="*/ 83963 w 1060970"/>
                    <a:gd name="connsiteY192" fmla="*/ 500791 h 525497"/>
                    <a:gd name="connsiteX193" fmla="*/ 66237 w 1060970"/>
                    <a:gd name="connsiteY193" fmla="*/ 504601 h 525497"/>
                    <a:gd name="connsiteX194" fmla="*/ 78572 w 1060970"/>
                    <a:gd name="connsiteY194" fmla="*/ 499533 h 525497"/>
                    <a:gd name="connsiteX195" fmla="*/ 30518 w 1060970"/>
                    <a:gd name="connsiteY195" fmla="*/ 514202 h 525497"/>
                    <a:gd name="connsiteX196" fmla="*/ 34471 w 1060970"/>
                    <a:gd name="connsiteY196" fmla="*/ 509011 h 525497"/>
                    <a:gd name="connsiteX197" fmla="*/ 16145 w 1060970"/>
                    <a:gd name="connsiteY197" fmla="*/ 518126 h 525497"/>
                    <a:gd name="connsiteX198" fmla="*/ 14230 w 1060970"/>
                    <a:gd name="connsiteY198" fmla="*/ 514764 h 525497"/>
                    <a:gd name="connsiteX199" fmla="*/ 10773 w 1060970"/>
                    <a:gd name="connsiteY199" fmla="*/ 517488 h 525497"/>
                    <a:gd name="connsiteX200" fmla="*/ 0 w 1060970"/>
                    <a:gd name="connsiteY200" fmla="*/ 521727 h 525497"/>
                    <a:gd name="connsiteX201" fmla="*/ 39176 w 1060970"/>
                    <a:gd name="connsiteY201" fmla="*/ 504048 h 525497"/>
                    <a:gd name="connsiteX202" fmla="*/ 96431 w 1060970"/>
                    <a:gd name="connsiteY202" fmla="*/ 484712 h 525497"/>
                    <a:gd name="connsiteX203" fmla="*/ 93878 w 1060970"/>
                    <a:gd name="connsiteY203" fmla="*/ 486608 h 525497"/>
                    <a:gd name="connsiteX204" fmla="*/ 102537 w 1060970"/>
                    <a:gd name="connsiteY204" fmla="*/ 485370 h 525497"/>
                    <a:gd name="connsiteX205" fmla="*/ 95850 w 1060970"/>
                    <a:gd name="connsiteY205" fmla="*/ 492637 h 525497"/>
                    <a:gd name="connsiteX206" fmla="*/ 104813 w 1060970"/>
                    <a:gd name="connsiteY206" fmla="*/ 489170 h 525497"/>
                    <a:gd name="connsiteX207" fmla="*/ 112090 w 1060970"/>
                    <a:gd name="connsiteY207" fmla="*/ 490466 h 525497"/>
                    <a:gd name="connsiteX208" fmla="*/ 110661 w 1060970"/>
                    <a:gd name="connsiteY208" fmla="*/ 486751 h 525497"/>
                    <a:gd name="connsiteX209" fmla="*/ 115462 w 1060970"/>
                    <a:gd name="connsiteY209" fmla="*/ 482674 h 525497"/>
                    <a:gd name="connsiteX210" fmla="*/ 148485 w 1060970"/>
                    <a:gd name="connsiteY210" fmla="*/ 468244 h 525497"/>
                    <a:gd name="connsiteX211" fmla="*/ 183518 w 1060970"/>
                    <a:gd name="connsiteY211" fmla="*/ 457385 h 525497"/>
                    <a:gd name="connsiteX212" fmla="*/ 181670 w 1060970"/>
                    <a:gd name="connsiteY212" fmla="*/ 459462 h 525497"/>
                    <a:gd name="connsiteX213" fmla="*/ 192529 w 1060970"/>
                    <a:gd name="connsiteY213" fmla="*/ 454594 h 525497"/>
                    <a:gd name="connsiteX214" fmla="*/ 211579 w 1060970"/>
                    <a:gd name="connsiteY214" fmla="*/ 444993 h 525497"/>
                    <a:gd name="connsiteX215" fmla="*/ 229724 w 1060970"/>
                    <a:gd name="connsiteY215" fmla="*/ 438288 h 525497"/>
                    <a:gd name="connsiteX216" fmla="*/ 241840 w 1060970"/>
                    <a:gd name="connsiteY216" fmla="*/ 437345 h 525497"/>
                    <a:gd name="connsiteX217" fmla="*/ 252079 w 1060970"/>
                    <a:gd name="connsiteY217" fmla="*/ 425457 h 525497"/>
                    <a:gd name="connsiteX218" fmla="*/ 273348 w 1060970"/>
                    <a:gd name="connsiteY218" fmla="*/ 416047 h 525497"/>
                    <a:gd name="connsiteX219" fmla="*/ 268453 w 1060970"/>
                    <a:gd name="connsiteY219" fmla="*/ 414170 h 525497"/>
                    <a:gd name="connsiteX220" fmla="*/ 298552 w 1060970"/>
                    <a:gd name="connsiteY220" fmla="*/ 398968 h 525497"/>
                    <a:gd name="connsiteX221" fmla="*/ 317211 w 1060970"/>
                    <a:gd name="connsiteY221" fmla="*/ 386433 h 525497"/>
                    <a:gd name="connsiteX222" fmla="*/ 289827 w 1060970"/>
                    <a:gd name="connsiteY222" fmla="*/ 396854 h 525497"/>
                    <a:gd name="connsiteX223" fmla="*/ 263252 w 1060970"/>
                    <a:gd name="connsiteY223" fmla="*/ 401950 h 525497"/>
                    <a:gd name="connsiteX224" fmla="*/ 281054 w 1060970"/>
                    <a:gd name="connsiteY224" fmla="*/ 391377 h 525497"/>
                    <a:gd name="connsiteX225" fmla="*/ 263519 w 1060970"/>
                    <a:gd name="connsiteY225" fmla="*/ 391491 h 525497"/>
                    <a:gd name="connsiteX226" fmla="*/ 253622 w 1060970"/>
                    <a:gd name="connsiteY226" fmla="*/ 398911 h 525497"/>
                    <a:gd name="connsiteX227" fmla="*/ 244573 w 1060970"/>
                    <a:gd name="connsiteY227" fmla="*/ 407950 h 525497"/>
                    <a:gd name="connsiteX228" fmla="*/ 240611 w 1060970"/>
                    <a:gd name="connsiteY228" fmla="*/ 393463 h 525497"/>
                    <a:gd name="connsiteX229" fmla="*/ 229352 w 1060970"/>
                    <a:gd name="connsiteY229" fmla="*/ 389053 h 525497"/>
                    <a:gd name="connsiteX230" fmla="*/ 199882 w 1060970"/>
                    <a:gd name="connsiteY230" fmla="*/ 396844 h 525497"/>
                    <a:gd name="connsiteX231" fmla="*/ 171336 w 1060970"/>
                    <a:gd name="connsiteY231" fmla="*/ 401873 h 525497"/>
                    <a:gd name="connsiteX232" fmla="*/ 187776 w 1060970"/>
                    <a:gd name="connsiteY232" fmla="*/ 396301 h 525497"/>
                    <a:gd name="connsiteX233" fmla="*/ 201025 w 1060970"/>
                    <a:gd name="connsiteY233" fmla="*/ 387205 h 525497"/>
                    <a:gd name="connsiteX234" fmla="*/ 193872 w 1060970"/>
                    <a:gd name="connsiteY234" fmla="*/ 388262 h 525497"/>
                    <a:gd name="connsiteX235" fmla="*/ 208883 w 1060970"/>
                    <a:gd name="connsiteY235" fmla="*/ 376461 h 525497"/>
                    <a:gd name="connsiteX236" fmla="*/ 222514 w 1060970"/>
                    <a:gd name="connsiteY236" fmla="*/ 360097 h 525497"/>
                    <a:gd name="connsiteX237" fmla="*/ 237077 w 1060970"/>
                    <a:gd name="connsiteY237" fmla="*/ 345066 h 525497"/>
                    <a:gd name="connsiteX238" fmla="*/ 254527 w 1060970"/>
                    <a:gd name="connsiteY238" fmla="*/ 337256 h 525497"/>
                    <a:gd name="connsiteX239" fmla="*/ 220980 w 1060970"/>
                    <a:gd name="connsiteY239" fmla="*/ 350686 h 525497"/>
                    <a:gd name="connsiteX240" fmla="*/ 222742 w 1060970"/>
                    <a:gd name="connsiteY240" fmla="*/ 351877 h 525497"/>
                    <a:gd name="connsiteX241" fmla="*/ 191919 w 1060970"/>
                    <a:gd name="connsiteY241" fmla="*/ 364012 h 525497"/>
                    <a:gd name="connsiteX242" fmla="*/ 174146 w 1060970"/>
                    <a:gd name="connsiteY242" fmla="*/ 365231 h 525497"/>
                    <a:gd name="connsiteX243" fmla="*/ 176146 w 1060970"/>
                    <a:gd name="connsiteY243" fmla="*/ 359325 h 525497"/>
                    <a:gd name="connsiteX244" fmla="*/ 175755 w 1060970"/>
                    <a:gd name="connsiteY244" fmla="*/ 349572 h 525497"/>
                    <a:gd name="connsiteX245" fmla="*/ 174946 w 1060970"/>
                    <a:gd name="connsiteY245" fmla="*/ 343371 h 525497"/>
                    <a:gd name="connsiteX246" fmla="*/ 168859 w 1060970"/>
                    <a:gd name="connsiteY246" fmla="*/ 342095 h 525497"/>
                    <a:gd name="connsiteX247" fmla="*/ 193386 w 1060970"/>
                    <a:gd name="connsiteY247" fmla="*/ 331484 h 525497"/>
                    <a:gd name="connsiteX248" fmla="*/ 202140 w 1060970"/>
                    <a:gd name="connsiteY248" fmla="*/ 334465 h 525497"/>
                    <a:gd name="connsiteX249" fmla="*/ 193910 w 1060970"/>
                    <a:gd name="connsiteY249" fmla="*/ 340504 h 525497"/>
                    <a:gd name="connsiteX250" fmla="*/ 208921 w 1060970"/>
                    <a:gd name="connsiteY250" fmla="*/ 340561 h 525497"/>
                    <a:gd name="connsiteX251" fmla="*/ 222733 w 1060970"/>
                    <a:gd name="connsiteY251" fmla="*/ 335284 h 525497"/>
                    <a:gd name="connsiteX252" fmla="*/ 215151 w 1060970"/>
                    <a:gd name="connsiteY252" fmla="*/ 332255 h 525497"/>
                    <a:gd name="connsiteX253" fmla="*/ 224561 w 1060970"/>
                    <a:gd name="connsiteY253" fmla="*/ 330703 h 525497"/>
                    <a:gd name="connsiteX254" fmla="*/ 214246 w 1060970"/>
                    <a:gd name="connsiteY254" fmla="*/ 331665 h 525497"/>
                    <a:gd name="connsiteX255" fmla="*/ 198996 w 1060970"/>
                    <a:gd name="connsiteY255" fmla="*/ 330055 h 525497"/>
                    <a:gd name="connsiteX256" fmla="*/ 190243 w 1060970"/>
                    <a:gd name="connsiteY256" fmla="*/ 328598 h 525497"/>
                    <a:gd name="connsiteX257" fmla="*/ 202825 w 1060970"/>
                    <a:gd name="connsiteY257" fmla="*/ 324130 h 525497"/>
                    <a:gd name="connsiteX258" fmla="*/ 197272 w 1060970"/>
                    <a:gd name="connsiteY258" fmla="*/ 324683 h 525497"/>
                    <a:gd name="connsiteX259" fmla="*/ 199996 w 1060970"/>
                    <a:gd name="connsiteY259" fmla="*/ 321587 h 525497"/>
                    <a:gd name="connsiteX260" fmla="*/ 195139 w 1060970"/>
                    <a:gd name="connsiteY260" fmla="*/ 321425 h 525497"/>
                    <a:gd name="connsiteX261" fmla="*/ 200320 w 1060970"/>
                    <a:gd name="connsiteY261" fmla="*/ 319187 h 525497"/>
                    <a:gd name="connsiteX262" fmla="*/ 186176 w 1060970"/>
                    <a:gd name="connsiteY262" fmla="*/ 324426 h 525497"/>
                    <a:gd name="connsiteX263" fmla="*/ 191138 w 1060970"/>
                    <a:gd name="connsiteY263" fmla="*/ 318196 h 525497"/>
                    <a:gd name="connsiteX264" fmla="*/ 188547 w 1060970"/>
                    <a:gd name="connsiteY264" fmla="*/ 317072 h 525497"/>
                    <a:gd name="connsiteX265" fmla="*/ 197006 w 1060970"/>
                    <a:gd name="connsiteY265" fmla="*/ 310757 h 525497"/>
                    <a:gd name="connsiteX266" fmla="*/ 190043 w 1060970"/>
                    <a:gd name="connsiteY266" fmla="*/ 311691 h 525497"/>
                    <a:gd name="connsiteX267" fmla="*/ 204264 w 1060970"/>
                    <a:gd name="connsiteY267" fmla="*/ 305728 h 525497"/>
                    <a:gd name="connsiteX268" fmla="*/ 208369 w 1060970"/>
                    <a:gd name="connsiteY268" fmla="*/ 301318 h 525497"/>
                    <a:gd name="connsiteX269" fmla="*/ 214760 w 1060970"/>
                    <a:gd name="connsiteY269" fmla="*/ 300432 h 525497"/>
                    <a:gd name="connsiteX270" fmla="*/ 216360 w 1060970"/>
                    <a:gd name="connsiteY270" fmla="*/ 297937 h 525497"/>
                    <a:gd name="connsiteX271" fmla="*/ 237334 w 1060970"/>
                    <a:gd name="connsiteY271" fmla="*/ 286459 h 525497"/>
                    <a:gd name="connsiteX272" fmla="*/ 273139 w 1060970"/>
                    <a:gd name="connsiteY272" fmla="*/ 273800 h 525497"/>
                    <a:gd name="connsiteX273" fmla="*/ 265005 w 1060970"/>
                    <a:gd name="connsiteY273" fmla="*/ 276515 h 525497"/>
                    <a:gd name="connsiteX274" fmla="*/ 279654 w 1060970"/>
                    <a:gd name="connsiteY274" fmla="*/ 265580 h 525497"/>
                    <a:gd name="connsiteX275" fmla="*/ 289150 w 1060970"/>
                    <a:gd name="connsiteY275" fmla="*/ 263475 h 525497"/>
                    <a:gd name="connsiteX276" fmla="*/ 291951 w 1060970"/>
                    <a:gd name="connsiteY276" fmla="*/ 260399 h 525497"/>
                    <a:gd name="connsiteX277" fmla="*/ 310220 w 1060970"/>
                    <a:gd name="connsiteY277" fmla="*/ 257293 h 525497"/>
                    <a:gd name="connsiteX278" fmla="*/ 305000 w 1060970"/>
                    <a:gd name="connsiteY278" fmla="*/ 264132 h 525497"/>
                    <a:gd name="connsiteX279" fmla="*/ 331470 w 1060970"/>
                    <a:gd name="connsiteY279" fmla="*/ 259160 h 525497"/>
                    <a:gd name="connsiteX280" fmla="*/ 362817 w 1060970"/>
                    <a:gd name="connsiteY280" fmla="*/ 247826 h 525497"/>
                    <a:gd name="connsiteX281" fmla="*/ 361598 w 1060970"/>
                    <a:gd name="connsiteY281" fmla="*/ 249807 h 525497"/>
                    <a:gd name="connsiteX282" fmla="*/ 398193 w 1060970"/>
                    <a:gd name="connsiteY282" fmla="*/ 242396 h 525497"/>
                    <a:gd name="connsiteX283" fmla="*/ 410318 w 1060970"/>
                    <a:gd name="connsiteY283" fmla="*/ 231919 h 525497"/>
                    <a:gd name="connsiteX284" fmla="*/ 412871 w 1060970"/>
                    <a:gd name="connsiteY284" fmla="*/ 219489 h 525497"/>
                    <a:gd name="connsiteX285" fmla="*/ 437026 w 1060970"/>
                    <a:gd name="connsiteY285" fmla="*/ 211955 h 525497"/>
                    <a:gd name="connsiteX286" fmla="*/ 441312 w 1060970"/>
                    <a:gd name="connsiteY286" fmla="*/ 204687 h 525497"/>
                    <a:gd name="connsiteX287" fmla="*/ 430216 w 1060970"/>
                    <a:gd name="connsiteY287" fmla="*/ 207278 h 525497"/>
                    <a:gd name="connsiteX288" fmla="*/ 407337 w 1060970"/>
                    <a:gd name="connsiteY288" fmla="*/ 211802 h 525497"/>
                    <a:gd name="connsiteX289" fmla="*/ 380790 w 1060970"/>
                    <a:gd name="connsiteY289" fmla="*/ 221356 h 525497"/>
                    <a:gd name="connsiteX290" fmla="*/ 382019 w 1060970"/>
                    <a:gd name="connsiteY290" fmla="*/ 212993 h 525497"/>
                    <a:gd name="connsiteX291" fmla="*/ 381152 w 1060970"/>
                    <a:gd name="connsiteY291" fmla="*/ 216784 h 525497"/>
                    <a:gd name="connsiteX292" fmla="*/ 375190 w 1060970"/>
                    <a:gd name="connsiteY292" fmla="*/ 219803 h 525497"/>
                    <a:gd name="connsiteX293" fmla="*/ 338442 w 1060970"/>
                    <a:gd name="connsiteY293" fmla="*/ 218184 h 525497"/>
                    <a:gd name="connsiteX294" fmla="*/ 317163 w 1060970"/>
                    <a:gd name="connsiteY294" fmla="*/ 215317 h 525497"/>
                    <a:gd name="connsiteX295" fmla="*/ 322221 w 1060970"/>
                    <a:gd name="connsiteY295" fmla="*/ 203963 h 525497"/>
                    <a:gd name="connsiteX296" fmla="*/ 320173 w 1060970"/>
                    <a:gd name="connsiteY296" fmla="*/ 197667 h 525497"/>
                    <a:gd name="connsiteX297" fmla="*/ 324031 w 1060970"/>
                    <a:gd name="connsiteY297" fmla="*/ 197305 h 525497"/>
                    <a:gd name="connsiteX298" fmla="*/ 342662 w 1060970"/>
                    <a:gd name="connsiteY298" fmla="*/ 193438 h 525497"/>
                    <a:gd name="connsiteX299" fmla="*/ 342824 w 1060970"/>
                    <a:gd name="connsiteY299" fmla="*/ 192028 h 525497"/>
                    <a:gd name="connsiteX300" fmla="*/ 322717 w 1060970"/>
                    <a:gd name="connsiteY300" fmla="*/ 178093 h 525497"/>
                    <a:gd name="connsiteX301" fmla="*/ 320259 w 1060970"/>
                    <a:gd name="connsiteY301" fmla="*/ 180198 h 525497"/>
                    <a:gd name="connsiteX302" fmla="*/ 359197 w 1060970"/>
                    <a:gd name="connsiteY302" fmla="*/ 169549 h 525497"/>
                    <a:gd name="connsiteX303" fmla="*/ 378457 w 1060970"/>
                    <a:gd name="connsiteY303" fmla="*/ 164796 h 525497"/>
                    <a:gd name="connsiteX304" fmla="*/ 392792 w 1060970"/>
                    <a:gd name="connsiteY304" fmla="*/ 164891 h 525497"/>
                    <a:gd name="connsiteX305" fmla="*/ 389849 w 1060970"/>
                    <a:gd name="connsiteY305" fmla="*/ 162434 h 525497"/>
                    <a:gd name="connsiteX306" fmla="*/ 419271 w 1060970"/>
                    <a:gd name="connsiteY306" fmla="*/ 155195 h 525497"/>
                    <a:gd name="connsiteX307" fmla="*/ 451847 w 1060970"/>
                    <a:gd name="connsiteY307" fmla="*/ 150737 h 525497"/>
                    <a:gd name="connsiteX308" fmla="*/ 452085 w 1060970"/>
                    <a:gd name="connsiteY308" fmla="*/ 152061 h 525497"/>
                    <a:gd name="connsiteX309" fmla="*/ 446503 w 1060970"/>
                    <a:gd name="connsiteY309" fmla="*/ 152023 h 525497"/>
                    <a:gd name="connsiteX310" fmla="*/ 428539 w 1060970"/>
                    <a:gd name="connsiteY310" fmla="*/ 163367 h 525497"/>
                    <a:gd name="connsiteX311" fmla="*/ 462182 w 1060970"/>
                    <a:gd name="connsiteY311" fmla="*/ 167968 h 525497"/>
                    <a:gd name="connsiteX312" fmla="*/ 481136 w 1060970"/>
                    <a:gd name="connsiteY312" fmla="*/ 163882 h 525497"/>
                    <a:gd name="connsiteX313" fmla="*/ 487737 w 1060970"/>
                    <a:gd name="connsiteY313" fmla="*/ 161424 h 525497"/>
                    <a:gd name="connsiteX314" fmla="*/ 494147 w 1060970"/>
                    <a:gd name="connsiteY314" fmla="*/ 162615 h 525497"/>
                    <a:gd name="connsiteX315" fmla="*/ 493747 w 1060970"/>
                    <a:gd name="connsiteY315" fmla="*/ 164206 h 525497"/>
                    <a:gd name="connsiteX316" fmla="*/ 497738 w 1060970"/>
                    <a:gd name="connsiteY316" fmla="*/ 159624 h 525497"/>
                    <a:gd name="connsiteX317" fmla="*/ 483603 w 1060970"/>
                    <a:gd name="connsiteY317" fmla="*/ 158472 h 525497"/>
                    <a:gd name="connsiteX318" fmla="*/ 484451 w 1060970"/>
                    <a:gd name="connsiteY318" fmla="*/ 146975 h 525497"/>
                    <a:gd name="connsiteX319" fmla="*/ 496653 w 1060970"/>
                    <a:gd name="connsiteY319" fmla="*/ 141222 h 525497"/>
                    <a:gd name="connsiteX320" fmla="*/ 494519 w 1060970"/>
                    <a:gd name="connsiteY320" fmla="*/ 144918 h 525497"/>
                    <a:gd name="connsiteX321" fmla="*/ 496310 w 1060970"/>
                    <a:gd name="connsiteY321" fmla="*/ 145460 h 525497"/>
                    <a:gd name="connsiteX322" fmla="*/ 490261 w 1060970"/>
                    <a:gd name="connsiteY322" fmla="*/ 153357 h 525497"/>
                    <a:gd name="connsiteX323" fmla="*/ 499558 w 1060970"/>
                    <a:gd name="connsiteY323" fmla="*/ 154538 h 525497"/>
                    <a:gd name="connsiteX324" fmla="*/ 519417 w 1060970"/>
                    <a:gd name="connsiteY324" fmla="*/ 157119 h 525497"/>
                    <a:gd name="connsiteX325" fmla="*/ 526037 w 1060970"/>
                    <a:gd name="connsiteY325" fmla="*/ 151499 h 525497"/>
                    <a:gd name="connsiteX326" fmla="*/ 516426 w 1060970"/>
                    <a:gd name="connsiteY326" fmla="*/ 149109 h 525497"/>
                    <a:gd name="connsiteX327" fmla="*/ 496424 w 1060970"/>
                    <a:gd name="connsiteY327" fmla="*/ 148118 h 525497"/>
                    <a:gd name="connsiteX328" fmla="*/ 512969 w 1060970"/>
                    <a:gd name="connsiteY328" fmla="*/ 139336 h 525497"/>
                    <a:gd name="connsiteX329" fmla="*/ 497786 w 1060970"/>
                    <a:gd name="connsiteY329" fmla="*/ 138060 h 525497"/>
                    <a:gd name="connsiteX330" fmla="*/ 500853 w 1060970"/>
                    <a:gd name="connsiteY330" fmla="*/ 135412 h 525497"/>
                    <a:gd name="connsiteX331" fmla="*/ 481746 w 1060970"/>
                    <a:gd name="connsiteY331" fmla="*/ 136993 h 525497"/>
                    <a:gd name="connsiteX332" fmla="*/ 483203 w 1060970"/>
                    <a:gd name="connsiteY332" fmla="*/ 122591 h 525497"/>
                    <a:gd name="connsiteX333" fmla="*/ 474488 w 1060970"/>
                    <a:gd name="connsiteY333" fmla="*/ 105389 h 525497"/>
                    <a:gd name="connsiteX334" fmla="*/ 458362 w 1060970"/>
                    <a:gd name="connsiteY334" fmla="*/ 95864 h 525497"/>
                    <a:gd name="connsiteX335" fmla="*/ 466296 w 1060970"/>
                    <a:gd name="connsiteY335" fmla="*/ 93825 h 525497"/>
                    <a:gd name="connsiteX336" fmla="*/ 461953 w 1060970"/>
                    <a:gd name="connsiteY336" fmla="*/ 95416 h 525497"/>
                    <a:gd name="connsiteX337" fmla="*/ 481994 w 1060970"/>
                    <a:gd name="connsiteY337" fmla="*/ 86901 h 525497"/>
                    <a:gd name="connsiteX338" fmla="*/ 493166 w 1060970"/>
                    <a:gd name="connsiteY338" fmla="*/ 79300 h 525497"/>
                    <a:gd name="connsiteX339" fmla="*/ 505606 w 1060970"/>
                    <a:gd name="connsiteY339" fmla="*/ 79786 h 525497"/>
                    <a:gd name="connsiteX340" fmla="*/ 553707 w 1060970"/>
                    <a:gd name="connsiteY340" fmla="*/ 73204 h 525497"/>
                    <a:gd name="connsiteX341" fmla="*/ 598837 w 1060970"/>
                    <a:gd name="connsiteY341" fmla="*/ 52154 h 525497"/>
                    <a:gd name="connsiteX342" fmla="*/ 646214 w 1060970"/>
                    <a:gd name="connsiteY342" fmla="*/ 33742 h 525497"/>
                    <a:gd name="connsiteX343" fmla="*/ 635032 w 1060970"/>
                    <a:gd name="connsiteY343" fmla="*/ 39095 h 525497"/>
                    <a:gd name="connsiteX344" fmla="*/ 666579 w 1060970"/>
                    <a:gd name="connsiteY344" fmla="*/ 33742 h 525497"/>
                    <a:gd name="connsiteX345" fmla="*/ 696373 w 1060970"/>
                    <a:gd name="connsiteY345" fmla="*/ 26303 h 525497"/>
                    <a:gd name="connsiteX346" fmla="*/ 689410 w 1060970"/>
                    <a:gd name="connsiteY346" fmla="*/ 29313 h 525497"/>
                    <a:gd name="connsiteX347" fmla="*/ 690496 w 1060970"/>
                    <a:gd name="connsiteY347" fmla="*/ 30103 h 525497"/>
                    <a:gd name="connsiteX348" fmla="*/ 683876 w 1060970"/>
                    <a:gd name="connsiteY348" fmla="*/ 33704 h 525497"/>
                    <a:gd name="connsiteX349" fmla="*/ 687753 w 1060970"/>
                    <a:gd name="connsiteY349" fmla="*/ 33761 h 525497"/>
                    <a:gd name="connsiteX350" fmla="*/ 686457 w 1060970"/>
                    <a:gd name="connsiteY350" fmla="*/ 35418 h 525497"/>
                    <a:gd name="connsiteX351" fmla="*/ 706688 w 1060970"/>
                    <a:gd name="connsiteY351" fmla="*/ 27684 h 525497"/>
                    <a:gd name="connsiteX352" fmla="*/ 699764 w 1060970"/>
                    <a:gd name="connsiteY352" fmla="*/ 27503 h 525497"/>
                    <a:gd name="connsiteX353" fmla="*/ 696668 w 1060970"/>
                    <a:gd name="connsiteY353" fmla="*/ 24207 h 525497"/>
                    <a:gd name="connsiteX354" fmla="*/ 724624 w 1060970"/>
                    <a:gd name="connsiteY354" fmla="*/ 17121 h 525497"/>
                    <a:gd name="connsiteX355" fmla="*/ 717842 w 1060970"/>
                    <a:gd name="connsiteY355" fmla="*/ 20492 h 525497"/>
                    <a:gd name="connsiteX356" fmla="*/ 760781 w 1060970"/>
                    <a:gd name="connsiteY356" fmla="*/ 14635 h 525497"/>
                    <a:gd name="connsiteX357" fmla="*/ 804958 w 1060970"/>
                    <a:gd name="connsiteY357" fmla="*/ 195 h 525497"/>
                    <a:gd name="connsiteX358" fmla="*/ 811863 w 1060970"/>
                    <a:gd name="connsiteY358" fmla="*/ 6929 h 525497"/>
                    <a:gd name="connsiteX359" fmla="*/ 791070 w 1060970"/>
                    <a:gd name="connsiteY359" fmla="*/ 14968 h 525497"/>
                    <a:gd name="connsiteX360" fmla="*/ 791232 w 1060970"/>
                    <a:gd name="connsiteY360" fmla="*/ 17644 h 525497"/>
                    <a:gd name="connsiteX361" fmla="*/ 791232 w 1060970"/>
                    <a:gd name="connsiteY361" fmla="*/ 17644 h 525497"/>
                    <a:gd name="connsiteX362" fmla="*/ 154391 w 1060970"/>
                    <a:gd name="connsiteY362" fmla="*/ 244511 h 525497"/>
                    <a:gd name="connsiteX363" fmla="*/ 173584 w 1060970"/>
                    <a:gd name="connsiteY363" fmla="*/ 243606 h 525497"/>
                    <a:gd name="connsiteX364" fmla="*/ 181070 w 1060970"/>
                    <a:gd name="connsiteY364" fmla="*/ 249178 h 525497"/>
                    <a:gd name="connsiteX365" fmla="*/ 187471 w 1060970"/>
                    <a:gd name="connsiteY365" fmla="*/ 251112 h 525497"/>
                    <a:gd name="connsiteX366" fmla="*/ 186680 w 1060970"/>
                    <a:gd name="connsiteY366" fmla="*/ 252902 h 525497"/>
                    <a:gd name="connsiteX367" fmla="*/ 203197 w 1060970"/>
                    <a:gd name="connsiteY367" fmla="*/ 254884 h 525497"/>
                    <a:gd name="connsiteX368" fmla="*/ 183594 w 1060970"/>
                    <a:gd name="connsiteY368" fmla="*/ 259208 h 525497"/>
                    <a:gd name="connsiteX369" fmla="*/ 166526 w 1060970"/>
                    <a:gd name="connsiteY369" fmla="*/ 266056 h 525497"/>
                    <a:gd name="connsiteX370" fmla="*/ 164792 w 1060970"/>
                    <a:gd name="connsiteY370" fmla="*/ 258484 h 525497"/>
                    <a:gd name="connsiteX371" fmla="*/ 160734 w 1060970"/>
                    <a:gd name="connsiteY371" fmla="*/ 250940 h 525497"/>
                    <a:gd name="connsiteX372" fmla="*/ 146047 w 1060970"/>
                    <a:gd name="connsiteY372" fmla="*/ 253226 h 525497"/>
                    <a:gd name="connsiteX373" fmla="*/ 153886 w 1060970"/>
                    <a:gd name="connsiteY373" fmla="*/ 241777 h 525497"/>
                    <a:gd name="connsiteX374" fmla="*/ 154391 w 1060970"/>
                    <a:gd name="connsiteY374" fmla="*/ 244511 h 525497"/>
                    <a:gd name="connsiteX375" fmla="*/ 154391 w 1060970"/>
                    <a:gd name="connsiteY375" fmla="*/ 244511 h 525497"/>
                    <a:gd name="connsiteX376" fmla="*/ 144247 w 1060970"/>
                    <a:gd name="connsiteY376" fmla="*/ 347086 h 525497"/>
                    <a:gd name="connsiteX377" fmla="*/ 150666 w 1060970"/>
                    <a:gd name="connsiteY377" fmla="*/ 350048 h 525497"/>
                    <a:gd name="connsiteX378" fmla="*/ 141275 w 1060970"/>
                    <a:gd name="connsiteY378" fmla="*/ 359163 h 525497"/>
                    <a:gd name="connsiteX379" fmla="*/ 126530 w 1060970"/>
                    <a:gd name="connsiteY379" fmla="*/ 363288 h 525497"/>
                    <a:gd name="connsiteX380" fmla="*/ 120834 w 1060970"/>
                    <a:gd name="connsiteY380" fmla="*/ 366260 h 525497"/>
                    <a:gd name="connsiteX381" fmla="*/ 118443 w 1060970"/>
                    <a:gd name="connsiteY381" fmla="*/ 364859 h 525497"/>
                    <a:gd name="connsiteX382" fmla="*/ 105623 w 1060970"/>
                    <a:gd name="connsiteY382" fmla="*/ 358220 h 525497"/>
                    <a:gd name="connsiteX383" fmla="*/ 116557 w 1060970"/>
                    <a:gd name="connsiteY383" fmla="*/ 352077 h 525497"/>
                    <a:gd name="connsiteX384" fmla="*/ 144247 w 1060970"/>
                    <a:gd name="connsiteY384" fmla="*/ 347086 h 525497"/>
                    <a:gd name="connsiteX385" fmla="*/ 144247 w 1060970"/>
                    <a:gd name="connsiteY385" fmla="*/ 347086 h 525497"/>
                    <a:gd name="connsiteX386" fmla="*/ 813797 w 1060970"/>
                    <a:gd name="connsiteY386" fmla="*/ 417075 h 525497"/>
                    <a:gd name="connsiteX387" fmla="*/ 823827 w 1060970"/>
                    <a:gd name="connsiteY387" fmla="*/ 417637 h 525497"/>
                    <a:gd name="connsiteX388" fmla="*/ 817378 w 1060970"/>
                    <a:gd name="connsiteY388" fmla="*/ 434220 h 525497"/>
                    <a:gd name="connsiteX389" fmla="*/ 820693 w 1060970"/>
                    <a:gd name="connsiteY389" fmla="*/ 422276 h 525497"/>
                    <a:gd name="connsiteX390" fmla="*/ 814588 w 1060970"/>
                    <a:gd name="connsiteY390" fmla="*/ 428534 h 525497"/>
                    <a:gd name="connsiteX391" fmla="*/ 807930 w 1060970"/>
                    <a:gd name="connsiteY391" fmla="*/ 441421 h 525497"/>
                    <a:gd name="connsiteX392" fmla="*/ 792918 w 1060970"/>
                    <a:gd name="connsiteY392" fmla="*/ 448679 h 525497"/>
                    <a:gd name="connsiteX393" fmla="*/ 782955 w 1060970"/>
                    <a:gd name="connsiteY393" fmla="*/ 450041 h 525497"/>
                    <a:gd name="connsiteX394" fmla="*/ 797157 w 1060970"/>
                    <a:gd name="connsiteY394" fmla="*/ 438497 h 525497"/>
                    <a:gd name="connsiteX395" fmla="*/ 799471 w 1060970"/>
                    <a:gd name="connsiteY395" fmla="*/ 431315 h 525497"/>
                    <a:gd name="connsiteX396" fmla="*/ 806253 w 1060970"/>
                    <a:gd name="connsiteY396" fmla="*/ 422962 h 525497"/>
                    <a:gd name="connsiteX397" fmla="*/ 814035 w 1060970"/>
                    <a:gd name="connsiteY397" fmla="*/ 411008 h 525497"/>
                    <a:gd name="connsiteX398" fmla="*/ 813797 w 1060970"/>
                    <a:gd name="connsiteY398" fmla="*/ 417075 h 525497"/>
                    <a:gd name="connsiteX399" fmla="*/ 813797 w 1060970"/>
                    <a:gd name="connsiteY399" fmla="*/ 417075 h 525497"/>
                    <a:gd name="connsiteX400" fmla="*/ 791156 w 1060970"/>
                    <a:gd name="connsiteY400" fmla="*/ 414475 h 525497"/>
                    <a:gd name="connsiteX401" fmla="*/ 785212 w 1060970"/>
                    <a:gd name="connsiteY401" fmla="*/ 421800 h 525497"/>
                    <a:gd name="connsiteX402" fmla="*/ 802577 w 1060970"/>
                    <a:gd name="connsiteY402" fmla="*/ 420838 h 525497"/>
                    <a:gd name="connsiteX403" fmla="*/ 785555 w 1060970"/>
                    <a:gd name="connsiteY403" fmla="*/ 429458 h 525497"/>
                    <a:gd name="connsiteX404" fmla="*/ 792852 w 1060970"/>
                    <a:gd name="connsiteY404" fmla="*/ 430858 h 525497"/>
                    <a:gd name="connsiteX405" fmla="*/ 786384 w 1060970"/>
                    <a:gd name="connsiteY405" fmla="*/ 438516 h 525497"/>
                    <a:gd name="connsiteX406" fmla="*/ 778364 w 1060970"/>
                    <a:gd name="connsiteY406" fmla="*/ 432811 h 525497"/>
                    <a:gd name="connsiteX407" fmla="*/ 761581 w 1060970"/>
                    <a:gd name="connsiteY407" fmla="*/ 439602 h 525497"/>
                    <a:gd name="connsiteX408" fmla="*/ 764438 w 1060970"/>
                    <a:gd name="connsiteY408" fmla="*/ 431611 h 525497"/>
                    <a:gd name="connsiteX409" fmla="*/ 762200 w 1060970"/>
                    <a:gd name="connsiteY409" fmla="*/ 423829 h 525497"/>
                    <a:gd name="connsiteX410" fmla="*/ 776126 w 1060970"/>
                    <a:gd name="connsiteY410" fmla="*/ 415275 h 525497"/>
                    <a:gd name="connsiteX411" fmla="*/ 776583 w 1060970"/>
                    <a:gd name="connsiteY411" fmla="*/ 419066 h 525497"/>
                    <a:gd name="connsiteX412" fmla="*/ 791156 w 1060970"/>
                    <a:gd name="connsiteY412" fmla="*/ 414475 h 525497"/>
                    <a:gd name="connsiteX413" fmla="*/ 791156 w 1060970"/>
                    <a:gd name="connsiteY413" fmla="*/ 414475 h 525497"/>
                    <a:gd name="connsiteX414" fmla="*/ 363464 w 1060970"/>
                    <a:gd name="connsiteY414" fmla="*/ 427715 h 525497"/>
                    <a:gd name="connsiteX415" fmla="*/ 361674 w 1060970"/>
                    <a:gd name="connsiteY415" fmla="*/ 429448 h 525497"/>
                    <a:gd name="connsiteX416" fmla="*/ 374847 w 1060970"/>
                    <a:gd name="connsiteY416" fmla="*/ 427658 h 525497"/>
                    <a:gd name="connsiteX417" fmla="*/ 372037 w 1060970"/>
                    <a:gd name="connsiteY417" fmla="*/ 434297 h 525497"/>
                    <a:gd name="connsiteX418" fmla="*/ 348453 w 1060970"/>
                    <a:gd name="connsiteY418" fmla="*/ 438897 h 525497"/>
                    <a:gd name="connsiteX419" fmla="*/ 352015 w 1060970"/>
                    <a:gd name="connsiteY419" fmla="*/ 442517 h 525497"/>
                    <a:gd name="connsiteX420" fmla="*/ 341995 w 1060970"/>
                    <a:gd name="connsiteY420" fmla="*/ 444774 h 525497"/>
                    <a:gd name="connsiteX421" fmla="*/ 315839 w 1060970"/>
                    <a:gd name="connsiteY421" fmla="*/ 452013 h 525497"/>
                    <a:gd name="connsiteX422" fmla="*/ 298742 w 1060970"/>
                    <a:gd name="connsiteY422" fmla="*/ 460328 h 525497"/>
                    <a:gd name="connsiteX423" fmla="*/ 312172 w 1060970"/>
                    <a:gd name="connsiteY423" fmla="*/ 453737 h 525497"/>
                    <a:gd name="connsiteX424" fmla="*/ 305733 w 1060970"/>
                    <a:gd name="connsiteY424" fmla="*/ 453004 h 525497"/>
                    <a:gd name="connsiteX425" fmla="*/ 310972 w 1060970"/>
                    <a:gd name="connsiteY425" fmla="*/ 449832 h 525497"/>
                    <a:gd name="connsiteX426" fmla="*/ 301657 w 1060970"/>
                    <a:gd name="connsiteY426" fmla="*/ 450622 h 525497"/>
                    <a:gd name="connsiteX427" fmla="*/ 298790 w 1060970"/>
                    <a:gd name="connsiteY427" fmla="*/ 456033 h 525497"/>
                    <a:gd name="connsiteX428" fmla="*/ 301962 w 1060970"/>
                    <a:gd name="connsiteY428" fmla="*/ 444155 h 525497"/>
                    <a:gd name="connsiteX429" fmla="*/ 329241 w 1060970"/>
                    <a:gd name="connsiteY429" fmla="*/ 433792 h 525497"/>
                    <a:gd name="connsiteX430" fmla="*/ 325917 w 1060970"/>
                    <a:gd name="connsiteY430" fmla="*/ 444050 h 525497"/>
                    <a:gd name="connsiteX431" fmla="*/ 333575 w 1060970"/>
                    <a:gd name="connsiteY431" fmla="*/ 434268 h 525497"/>
                    <a:gd name="connsiteX432" fmla="*/ 337804 w 1060970"/>
                    <a:gd name="connsiteY432" fmla="*/ 433477 h 525497"/>
                    <a:gd name="connsiteX433" fmla="*/ 337528 w 1060970"/>
                    <a:gd name="connsiteY433" fmla="*/ 430820 h 525497"/>
                    <a:gd name="connsiteX434" fmla="*/ 345024 w 1060970"/>
                    <a:gd name="connsiteY434" fmla="*/ 430639 h 525497"/>
                    <a:gd name="connsiteX435" fmla="*/ 356025 w 1060970"/>
                    <a:gd name="connsiteY435" fmla="*/ 427839 h 525497"/>
                    <a:gd name="connsiteX436" fmla="*/ 367198 w 1060970"/>
                    <a:gd name="connsiteY436" fmla="*/ 425419 h 525497"/>
                    <a:gd name="connsiteX437" fmla="*/ 363464 w 1060970"/>
                    <a:gd name="connsiteY437" fmla="*/ 427715 h 525497"/>
                    <a:gd name="connsiteX438" fmla="*/ 363464 w 1060970"/>
                    <a:gd name="connsiteY438" fmla="*/ 427715 h 525497"/>
                    <a:gd name="connsiteX439" fmla="*/ 781402 w 1060970"/>
                    <a:gd name="connsiteY439" fmla="*/ 442602 h 525497"/>
                    <a:gd name="connsiteX440" fmla="*/ 760895 w 1060970"/>
                    <a:gd name="connsiteY440" fmla="*/ 471777 h 525497"/>
                    <a:gd name="connsiteX441" fmla="*/ 762591 w 1060970"/>
                    <a:gd name="connsiteY441" fmla="*/ 463786 h 525497"/>
                    <a:gd name="connsiteX442" fmla="*/ 757304 w 1060970"/>
                    <a:gd name="connsiteY442" fmla="*/ 462329 h 525497"/>
                    <a:gd name="connsiteX443" fmla="*/ 760276 w 1060970"/>
                    <a:gd name="connsiteY443" fmla="*/ 459214 h 525497"/>
                    <a:gd name="connsiteX444" fmla="*/ 756561 w 1060970"/>
                    <a:gd name="connsiteY444" fmla="*/ 459966 h 525497"/>
                    <a:gd name="connsiteX445" fmla="*/ 765972 w 1060970"/>
                    <a:gd name="connsiteY445" fmla="*/ 452261 h 525497"/>
                    <a:gd name="connsiteX446" fmla="*/ 766439 w 1060970"/>
                    <a:gd name="connsiteY446" fmla="*/ 445822 h 525497"/>
                    <a:gd name="connsiteX447" fmla="*/ 750237 w 1060970"/>
                    <a:gd name="connsiteY447" fmla="*/ 453375 h 525497"/>
                    <a:gd name="connsiteX448" fmla="*/ 758104 w 1060970"/>
                    <a:gd name="connsiteY448" fmla="*/ 445231 h 525497"/>
                    <a:gd name="connsiteX449" fmla="*/ 767801 w 1060970"/>
                    <a:gd name="connsiteY449" fmla="*/ 441393 h 525497"/>
                    <a:gd name="connsiteX450" fmla="*/ 781402 w 1060970"/>
                    <a:gd name="connsiteY450" fmla="*/ 442602 h 525497"/>
                    <a:gd name="connsiteX451" fmla="*/ 781402 w 1060970"/>
                    <a:gd name="connsiteY451" fmla="*/ 442602 h 525497"/>
                    <a:gd name="connsiteX452" fmla="*/ 784327 w 1060970"/>
                    <a:gd name="connsiteY452" fmla="*/ 474483 h 525497"/>
                    <a:gd name="connsiteX453" fmla="*/ 792547 w 1060970"/>
                    <a:gd name="connsiteY453" fmla="*/ 477426 h 525497"/>
                    <a:gd name="connsiteX454" fmla="*/ 788241 w 1060970"/>
                    <a:gd name="connsiteY454" fmla="*/ 482331 h 525497"/>
                    <a:gd name="connsiteX455" fmla="*/ 792604 w 1060970"/>
                    <a:gd name="connsiteY455" fmla="*/ 501524 h 525497"/>
                    <a:gd name="connsiteX456" fmla="*/ 787375 w 1060970"/>
                    <a:gd name="connsiteY456" fmla="*/ 498009 h 525497"/>
                    <a:gd name="connsiteX457" fmla="*/ 781050 w 1060970"/>
                    <a:gd name="connsiteY457" fmla="*/ 501762 h 525497"/>
                    <a:gd name="connsiteX458" fmla="*/ 784089 w 1060970"/>
                    <a:gd name="connsiteY458" fmla="*/ 509592 h 525497"/>
                    <a:gd name="connsiteX459" fmla="*/ 789261 w 1060970"/>
                    <a:gd name="connsiteY459" fmla="*/ 509392 h 525497"/>
                    <a:gd name="connsiteX460" fmla="*/ 776764 w 1060970"/>
                    <a:gd name="connsiteY460" fmla="*/ 523136 h 525497"/>
                    <a:gd name="connsiteX461" fmla="*/ 767486 w 1060970"/>
                    <a:gd name="connsiteY461" fmla="*/ 518155 h 525497"/>
                    <a:gd name="connsiteX462" fmla="*/ 771163 w 1060970"/>
                    <a:gd name="connsiteY462" fmla="*/ 512383 h 525497"/>
                    <a:gd name="connsiteX463" fmla="*/ 765277 w 1060970"/>
                    <a:gd name="connsiteY463" fmla="*/ 515421 h 525497"/>
                    <a:gd name="connsiteX464" fmla="*/ 764953 w 1060970"/>
                    <a:gd name="connsiteY464" fmla="*/ 506763 h 525497"/>
                    <a:gd name="connsiteX465" fmla="*/ 769744 w 1060970"/>
                    <a:gd name="connsiteY465" fmla="*/ 504810 h 525497"/>
                    <a:gd name="connsiteX466" fmla="*/ 774630 w 1060970"/>
                    <a:gd name="connsiteY466" fmla="*/ 498085 h 525497"/>
                    <a:gd name="connsiteX467" fmla="*/ 769363 w 1060970"/>
                    <a:gd name="connsiteY467" fmla="*/ 494961 h 525497"/>
                    <a:gd name="connsiteX468" fmla="*/ 764562 w 1060970"/>
                    <a:gd name="connsiteY468" fmla="*/ 492504 h 525497"/>
                    <a:gd name="connsiteX469" fmla="*/ 769858 w 1060970"/>
                    <a:gd name="connsiteY469" fmla="*/ 490723 h 525497"/>
                    <a:gd name="connsiteX470" fmla="*/ 781336 w 1060970"/>
                    <a:gd name="connsiteY470" fmla="*/ 484570 h 525497"/>
                    <a:gd name="connsiteX471" fmla="*/ 768563 w 1060970"/>
                    <a:gd name="connsiteY471" fmla="*/ 486265 h 525497"/>
                    <a:gd name="connsiteX472" fmla="*/ 778850 w 1060970"/>
                    <a:gd name="connsiteY472" fmla="*/ 480779 h 525497"/>
                    <a:gd name="connsiteX473" fmla="*/ 784327 w 1060970"/>
                    <a:gd name="connsiteY473" fmla="*/ 474483 h 525497"/>
                    <a:gd name="connsiteX474" fmla="*/ 784327 w 1060970"/>
                    <a:gd name="connsiteY474" fmla="*/ 474483 h 52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Lst>
                  <a:rect l="l" t="t" r="r" b="b"/>
                  <a:pathLst>
                    <a:path w="1060970" h="525497">
                      <a:moveTo>
                        <a:pt x="791232" y="17644"/>
                      </a:moveTo>
                      <a:cubicBezTo>
                        <a:pt x="798719" y="18492"/>
                        <a:pt x="806329" y="13987"/>
                        <a:pt x="813178" y="11644"/>
                      </a:cubicBezTo>
                      <a:cubicBezTo>
                        <a:pt x="820369" y="9186"/>
                        <a:pt x="829380" y="11701"/>
                        <a:pt x="818198" y="15997"/>
                      </a:cubicBezTo>
                      <a:cubicBezTo>
                        <a:pt x="826199" y="22950"/>
                        <a:pt x="842782" y="14444"/>
                        <a:pt x="852554" y="14873"/>
                      </a:cubicBezTo>
                      <a:cubicBezTo>
                        <a:pt x="854697" y="14968"/>
                        <a:pt x="868413" y="16502"/>
                        <a:pt x="868242" y="18349"/>
                      </a:cubicBezTo>
                      <a:cubicBezTo>
                        <a:pt x="868194" y="18835"/>
                        <a:pt x="850916" y="24112"/>
                        <a:pt x="859736" y="24798"/>
                      </a:cubicBezTo>
                      <a:cubicBezTo>
                        <a:pt x="859241" y="25284"/>
                        <a:pt x="858736" y="25779"/>
                        <a:pt x="858241" y="26265"/>
                      </a:cubicBezTo>
                      <a:cubicBezTo>
                        <a:pt x="861441" y="26893"/>
                        <a:pt x="864803" y="26560"/>
                        <a:pt x="868090" y="26522"/>
                      </a:cubicBezTo>
                      <a:cubicBezTo>
                        <a:pt x="865575" y="27884"/>
                        <a:pt x="862889" y="29103"/>
                        <a:pt x="860155" y="29922"/>
                      </a:cubicBezTo>
                      <a:cubicBezTo>
                        <a:pt x="868918" y="30589"/>
                        <a:pt x="875414" y="30017"/>
                        <a:pt x="883910" y="29027"/>
                      </a:cubicBezTo>
                      <a:cubicBezTo>
                        <a:pt x="891178" y="28179"/>
                        <a:pt x="895198" y="30132"/>
                        <a:pt x="903008" y="28836"/>
                      </a:cubicBezTo>
                      <a:cubicBezTo>
                        <a:pt x="910066" y="27674"/>
                        <a:pt x="917781" y="27379"/>
                        <a:pt x="924277" y="30770"/>
                      </a:cubicBezTo>
                      <a:cubicBezTo>
                        <a:pt x="927487" y="32446"/>
                        <a:pt x="927906" y="32818"/>
                        <a:pt x="931078" y="33904"/>
                      </a:cubicBezTo>
                      <a:cubicBezTo>
                        <a:pt x="933421" y="34704"/>
                        <a:pt x="937222" y="33770"/>
                        <a:pt x="940108" y="34609"/>
                      </a:cubicBezTo>
                      <a:cubicBezTo>
                        <a:pt x="938422" y="40152"/>
                        <a:pt x="966702" y="38361"/>
                        <a:pt x="971779" y="38990"/>
                      </a:cubicBezTo>
                      <a:cubicBezTo>
                        <a:pt x="977360" y="39695"/>
                        <a:pt x="981504" y="42790"/>
                        <a:pt x="985637" y="43905"/>
                      </a:cubicBezTo>
                      <a:cubicBezTo>
                        <a:pt x="992353" y="45705"/>
                        <a:pt x="998315" y="43762"/>
                        <a:pt x="1004783" y="42819"/>
                      </a:cubicBezTo>
                      <a:cubicBezTo>
                        <a:pt x="1013041" y="41609"/>
                        <a:pt x="1031596" y="37371"/>
                        <a:pt x="1038863" y="43095"/>
                      </a:cubicBezTo>
                      <a:cubicBezTo>
                        <a:pt x="1040778" y="44610"/>
                        <a:pt x="1040930" y="47496"/>
                        <a:pt x="1042187" y="48486"/>
                      </a:cubicBezTo>
                      <a:cubicBezTo>
                        <a:pt x="1044264" y="50125"/>
                        <a:pt x="1048864" y="51172"/>
                        <a:pt x="1051351" y="52268"/>
                      </a:cubicBezTo>
                      <a:cubicBezTo>
                        <a:pt x="1053055" y="53011"/>
                        <a:pt x="1052208" y="54440"/>
                        <a:pt x="1054103" y="55144"/>
                      </a:cubicBezTo>
                      <a:cubicBezTo>
                        <a:pt x="1055570" y="55687"/>
                        <a:pt x="1059047" y="54735"/>
                        <a:pt x="1060971" y="55154"/>
                      </a:cubicBezTo>
                      <a:cubicBezTo>
                        <a:pt x="973836" y="130763"/>
                        <a:pt x="887492" y="207278"/>
                        <a:pt x="802481" y="285268"/>
                      </a:cubicBezTo>
                      <a:cubicBezTo>
                        <a:pt x="779193" y="306633"/>
                        <a:pt x="756018" y="328121"/>
                        <a:pt x="732930" y="349705"/>
                      </a:cubicBezTo>
                      <a:cubicBezTo>
                        <a:pt x="734663" y="350229"/>
                        <a:pt x="736492" y="351039"/>
                        <a:pt x="738283" y="351334"/>
                      </a:cubicBezTo>
                      <a:cubicBezTo>
                        <a:pt x="741302" y="351829"/>
                        <a:pt x="742302" y="350210"/>
                        <a:pt x="744703" y="350381"/>
                      </a:cubicBezTo>
                      <a:cubicBezTo>
                        <a:pt x="748094" y="350619"/>
                        <a:pt x="751503" y="352925"/>
                        <a:pt x="755123" y="352667"/>
                      </a:cubicBezTo>
                      <a:cubicBezTo>
                        <a:pt x="759238" y="352372"/>
                        <a:pt x="763448" y="349334"/>
                        <a:pt x="767639" y="348733"/>
                      </a:cubicBezTo>
                      <a:cubicBezTo>
                        <a:pt x="771535" y="348172"/>
                        <a:pt x="775726" y="348467"/>
                        <a:pt x="779659" y="348333"/>
                      </a:cubicBezTo>
                      <a:cubicBezTo>
                        <a:pt x="775602" y="352372"/>
                        <a:pt x="761648" y="358573"/>
                        <a:pt x="773840" y="362269"/>
                      </a:cubicBezTo>
                      <a:cubicBezTo>
                        <a:pt x="764800" y="370936"/>
                        <a:pt x="787327" y="384090"/>
                        <a:pt x="769772" y="393320"/>
                      </a:cubicBezTo>
                      <a:cubicBezTo>
                        <a:pt x="774754" y="393930"/>
                        <a:pt x="782574" y="389567"/>
                        <a:pt x="787613" y="387996"/>
                      </a:cubicBezTo>
                      <a:cubicBezTo>
                        <a:pt x="794642" y="385805"/>
                        <a:pt x="800938" y="386224"/>
                        <a:pt x="806987" y="381557"/>
                      </a:cubicBezTo>
                      <a:cubicBezTo>
                        <a:pt x="816702" y="374051"/>
                        <a:pt x="829256" y="367155"/>
                        <a:pt x="843001" y="366669"/>
                      </a:cubicBezTo>
                      <a:cubicBezTo>
                        <a:pt x="849811" y="366431"/>
                        <a:pt x="849792" y="369965"/>
                        <a:pt x="847230" y="375051"/>
                      </a:cubicBezTo>
                      <a:cubicBezTo>
                        <a:pt x="845791" y="377909"/>
                        <a:pt x="843172" y="378861"/>
                        <a:pt x="843906" y="382281"/>
                      </a:cubicBezTo>
                      <a:cubicBezTo>
                        <a:pt x="844163" y="383462"/>
                        <a:pt x="848430" y="385938"/>
                        <a:pt x="848639" y="387910"/>
                      </a:cubicBezTo>
                      <a:cubicBezTo>
                        <a:pt x="849059" y="391939"/>
                        <a:pt x="846039" y="392044"/>
                        <a:pt x="847954" y="396673"/>
                      </a:cubicBezTo>
                      <a:cubicBezTo>
                        <a:pt x="849087" y="399416"/>
                        <a:pt x="850887" y="399911"/>
                        <a:pt x="851630" y="403331"/>
                      </a:cubicBezTo>
                      <a:cubicBezTo>
                        <a:pt x="852649" y="408055"/>
                        <a:pt x="850335" y="408246"/>
                        <a:pt x="849573" y="411532"/>
                      </a:cubicBezTo>
                      <a:cubicBezTo>
                        <a:pt x="846601" y="424286"/>
                        <a:pt x="848697" y="443974"/>
                        <a:pt x="836914" y="451146"/>
                      </a:cubicBezTo>
                      <a:cubicBezTo>
                        <a:pt x="838895" y="451470"/>
                        <a:pt x="840772" y="452480"/>
                        <a:pt x="842753" y="452813"/>
                      </a:cubicBezTo>
                      <a:cubicBezTo>
                        <a:pt x="840438" y="454594"/>
                        <a:pt x="838133" y="456376"/>
                        <a:pt x="835819" y="458157"/>
                      </a:cubicBezTo>
                      <a:cubicBezTo>
                        <a:pt x="837190" y="458528"/>
                        <a:pt x="838314" y="459776"/>
                        <a:pt x="839676" y="460167"/>
                      </a:cubicBezTo>
                      <a:cubicBezTo>
                        <a:pt x="837724" y="462252"/>
                        <a:pt x="836552" y="464291"/>
                        <a:pt x="834542" y="466558"/>
                      </a:cubicBezTo>
                      <a:cubicBezTo>
                        <a:pt x="841019" y="465720"/>
                        <a:pt x="840877" y="467644"/>
                        <a:pt x="845572" y="470987"/>
                      </a:cubicBezTo>
                      <a:cubicBezTo>
                        <a:pt x="847268" y="472197"/>
                        <a:pt x="849325" y="472397"/>
                        <a:pt x="850935" y="473521"/>
                      </a:cubicBezTo>
                      <a:cubicBezTo>
                        <a:pt x="853488" y="475302"/>
                        <a:pt x="853345" y="477064"/>
                        <a:pt x="856698" y="477874"/>
                      </a:cubicBezTo>
                      <a:cubicBezTo>
                        <a:pt x="855917" y="478816"/>
                        <a:pt x="855821" y="480321"/>
                        <a:pt x="855050" y="481274"/>
                      </a:cubicBezTo>
                      <a:cubicBezTo>
                        <a:pt x="857317" y="482550"/>
                        <a:pt x="859993" y="482741"/>
                        <a:pt x="862394" y="481693"/>
                      </a:cubicBezTo>
                      <a:cubicBezTo>
                        <a:pt x="861203" y="488046"/>
                        <a:pt x="854212" y="490094"/>
                        <a:pt x="849887" y="493980"/>
                      </a:cubicBezTo>
                      <a:cubicBezTo>
                        <a:pt x="845506" y="497914"/>
                        <a:pt x="843829" y="503543"/>
                        <a:pt x="839648" y="507439"/>
                      </a:cubicBezTo>
                      <a:cubicBezTo>
                        <a:pt x="835419" y="511382"/>
                        <a:pt x="828589" y="515078"/>
                        <a:pt x="823532" y="517955"/>
                      </a:cubicBezTo>
                      <a:cubicBezTo>
                        <a:pt x="816474" y="521946"/>
                        <a:pt x="812616" y="523108"/>
                        <a:pt x="805396" y="522708"/>
                      </a:cubicBezTo>
                      <a:cubicBezTo>
                        <a:pt x="806710" y="519536"/>
                        <a:pt x="808996" y="513221"/>
                        <a:pt x="811501" y="510992"/>
                      </a:cubicBezTo>
                      <a:cubicBezTo>
                        <a:pt x="814759" y="508087"/>
                        <a:pt x="819512" y="508744"/>
                        <a:pt x="822951" y="506629"/>
                      </a:cubicBezTo>
                      <a:cubicBezTo>
                        <a:pt x="822369" y="506477"/>
                        <a:pt x="821798" y="506334"/>
                        <a:pt x="821217" y="506191"/>
                      </a:cubicBezTo>
                      <a:cubicBezTo>
                        <a:pt x="823512" y="501524"/>
                        <a:pt x="828465" y="498705"/>
                        <a:pt x="830780" y="493980"/>
                      </a:cubicBezTo>
                      <a:cubicBezTo>
                        <a:pt x="833790" y="487837"/>
                        <a:pt x="832095" y="485865"/>
                        <a:pt x="838829" y="482379"/>
                      </a:cubicBezTo>
                      <a:cubicBezTo>
                        <a:pt x="830961" y="484579"/>
                        <a:pt x="820836" y="485274"/>
                        <a:pt x="813673" y="489208"/>
                      </a:cubicBezTo>
                      <a:cubicBezTo>
                        <a:pt x="809863" y="491304"/>
                        <a:pt x="804520" y="499800"/>
                        <a:pt x="799671" y="499486"/>
                      </a:cubicBezTo>
                      <a:cubicBezTo>
                        <a:pt x="790727" y="498905"/>
                        <a:pt x="803739" y="491104"/>
                        <a:pt x="806120" y="489761"/>
                      </a:cubicBezTo>
                      <a:cubicBezTo>
                        <a:pt x="814616" y="484989"/>
                        <a:pt x="820455" y="481226"/>
                        <a:pt x="829666" y="478635"/>
                      </a:cubicBezTo>
                      <a:cubicBezTo>
                        <a:pt x="821217" y="477702"/>
                        <a:pt x="824313" y="478083"/>
                        <a:pt x="822827" y="473025"/>
                      </a:cubicBezTo>
                      <a:cubicBezTo>
                        <a:pt x="821998" y="470187"/>
                        <a:pt x="819331" y="469501"/>
                        <a:pt x="822608" y="465434"/>
                      </a:cubicBezTo>
                      <a:cubicBezTo>
                        <a:pt x="821750" y="465224"/>
                        <a:pt x="821188" y="464929"/>
                        <a:pt x="820436" y="464691"/>
                      </a:cubicBezTo>
                      <a:cubicBezTo>
                        <a:pt x="821722" y="463719"/>
                        <a:pt x="822427" y="461976"/>
                        <a:pt x="823722" y="461014"/>
                      </a:cubicBezTo>
                      <a:cubicBezTo>
                        <a:pt x="816807" y="460224"/>
                        <a:pt x="821207" y="454051"/>
                        <a:pt x="824341" y="451899"/>
                      </a:cubicBezTo>
                      <a:cubicBezTo>
                        <a:pt x="820169" y="452489"/>
                        <a:pt x="816150" y="449784"/>
                        <a:pt x="812340" y="448232"/>
                      </a:cubicBezTo>
                      <a:cubicBezTo>
                        <a:pt x="814454" y="446336"/>
                        <a:pt x="816797" y="444526"/>
                        <a:pt x="818569" y="442336"/>
                      </a:cubicBezTo>
                      <a:cubicBezTo>
                        <a:pt x="819531" y="441145"/>
                        <a:pt x="822274" y="433496"/>
                        <a:pt x="822846" y="433154"/>
                      </a:cubicBezTo>
                      <a:cubicBezTo>
                        <a:pt x="827399" y="430439"/>
                        <a:pt x="829075" y="434544"/>
                        <a:pt x="832952" y="435821"/>
                      </a:cubicBezTo>
                      <a:cubicBezTo>
                        <a:pt x="826913" y="425734"/>
                        <a:pt x="832971" y="427505"/>
                        <a:pt x="840724" y="426010"/>
                      </a:cubicBezTo>
                      <a:cubicBezTo>
                        <a:pt x="833961" y="423886"/>
                        <a:pt x="824827" y="430858"/>
                        <a:pt x="827037" y="421124"/>
                      </a:cubicBezTo>
                      <a:cubicBezTo>
                        <a:pt x="828589" y="414285"/>
                        <a:pt x="838000" y="409122"/>
                        <a:pt x="844296" y="405836"/>
                      </a:cubicBezTo>
                      <a:cubicBezTo>
                        <a:pt x="839343" y="407036"/>
                        <a:pt x="834514" y="413332"/>
                        <a:pt x="829828" y="413751"/>
                      </a:cubicBezTo>
                      <a:cubicBezTo>
                        <a:pt x="826856" y="414018"/>
                        <a:pt x="821598" y="410951"/>
                        <a:pt x="820855" y="407408"/>
                      </a:cubicBezTo>
                      <a:cubicBezTo>
                        <a:pt x="820131" y="403950"/>
                        <a:pt x="824198" y="401416"/>
                        <a:pt x="825294" y="398797"/>
                      </a:cubicBezTo>
                      <a:cubicBezTo>
                        <a:pt x="825894" y="397359"/>
                        <a:pt x="824684" y="396244"/>
                        <a:pt x="825894" y="393720"/>
                      </a:cubicBezTo>
                      <a:cubicBezTo>
                        <a:pt x="828561" y="388138"/>
                        <a:pt x="833228" y="381738"/>
                        <a:pt x="837371" y="377451"/>
                      </a:cubicBezTo>
                      <a:cubicBezTo>
                        <a:pt x="833676" y="380576"/>
                        <a:pt x="829113" y="382252"/>
                        <a:pt x="826884" y="385224"/>
                      </a:cubicBezTo>
                      <a:cubicBezTo>
                        <a:pt x="823151" y="390205"/>
                        <a:pt x="819864" y="396863"/>
                        <a:pt x="816207" y="402302"/>
                      </a:cubicBezTo>
                      <a:cubicBezTo>
                        <a:pt x="813835" y="405826"/>
                        <a:pt x="810663" y="414065"/>
                        <a:pt x="805767" y="414608"/>
                      </a:cubicBezTo>
                      <a:cubicBezTo>
                        <a:pt x="799338" y="415323"/>
                        <a:pt x="803910" y="411332"/>
                        <a:pt x="802053" y="410313"/>
                      </a:cubicBezTo>
                      <a:cubicBezTo>
                        <a:pt x="798890" y="408579"/>
                        <a:pt x="795604" y="409713"/>
                        <a:pt x="792080" y="409551"/>
                      </a:cubicBezTo>
                      <a:cubicBezTo>
                        <a:pt x="798805" y="402721"/>
                        <a:pt x="800405" y="396797"/>
                        <a:pt x="809654" y="393873"/>
                      </a:cubicBezTo>
                      <a:cubicBezTo>
                        <a:pt x="807901" y="394253"/>
                        <a:pt x="806206" y="394111"/>
                        <a:pt x="804339" y="394634"/>
                      </a:cubicBezTo>
                      <a:cubicBezTo>
                        <a:pt x="805101" y="393349"/>
                        <a:pt x="805882" y="390529"/>
                        <a:pt x="806729" y="389148"/>
                      </a:cubicBezTo>
                      <a:cubicBezTo>
                        <a:pt x="800614" y="393453"/>
                        <a:pt x="800491" y="399635"/>
                        <a:pt x="793337" y="395654"/>
                      </a:cubicBezTo>
                      <a:cubicBezTo>
                        <a:pt x="792413" y="395139"/>
                        <a:pt x="791861" y="389558"/>
                        <a:pt x="786813" y="389977"/>
                      </a:cubicBezTo>
                      <a:cubicBezTo>
                        <a:pt x="785308" y="390110"/>
                        <a:pt x="782288" y="393834"/>
                        <a:pt x="779421" y="394644"/>
                      </a:cubicBezTo>
                      <a:cubicBezTo>
                        <a:pt x="785374" y="393168"/>
                        <a:pt x="787279" y="396625"/>
                        <a:pt x="789375" y="400092"/>
                      </a:cubicBezTo>
                      <a:cubicBezTo>
                        <a:pt x="787965" y="400788"/>
                        <a:pt x="786651" y="402293"/>
                        <a:pt x="784946" y="402712"/>
                      </a:cubicBezTo>
                      <a:cubicBezTo>
                        <a:pt x="794080" y="399883"/>
                        <a:pt x="789842" y="409446"/>
                        <a:pt x="783993" y="411208"/>
                      </a:cubicBezTo>
                      <a:cubicBezTo>
                        <a:pt x="776126" y="413589"/>
                        <a:pt x="769763" y="415361"/>
                        <a:pt x="763724" y="409722"/>
                      </a:cubicBezTo>
                      <a:cubicBezTo>
                        <a:pt x="759324" y="405617"/>
                        <a:pt x="758009" y="402693"/>
                        <a:pt x="757352" y="397416"/>
                      </a:cubicBezTo>
                      <a:cubicBezTo>
                        <a:pt x="756752" y="392634"/>
                        <a:pt x="759085" y="387643"/>
                        <a:pt x="751894" y="386595"/>
                      </a:cubicBezTo>
                      <a:cubicBezTo>
                        <a:pt x="752713" y="386291"/>
                        <a:pt x="753399" y="385776"/>
                        <a:pt x="754180" y="385443"/>
                      </a:cubicBezTo>
                      <a:cubicBezTo>
                        <a:pt x="750094" y="385224"/>
                        <a:pt x="739064" y="379709"/>
                        <a:pt x="737721" y="375461"/>
                      </a:cubicBezTo>
                      <a:cubicBezTo>
                        <a:pt x="736644" y="372032"/>
                        <a:pt x="735721" y="375461"/>
                        <a:pt x="739035" y="372517"/>
                      </a:cubicBezTo>
                      <a:cubicBezTo>
                        <a:pt x="740978" y="370803"/>
                        <a:pt x="745303" y="370698"/>
                        <a:pt x="747570" y="368898"/>
                      </a:cubicBezTo>
                      <a:cubicBezTo>
                        <a:pt x="750189" y="366821"/>
                        <a:pt x="751618" y="361497"/>
                        <a:pt x="755647" y="360945"/>
                      </a:cubicBezTo>
                      <a:cubicBezTo>
                        <a:pt x="762933" y="359944"/>
                        <a:pt x="751989" y="369479"/>
                        <a:pt x="750475" y="371422"/>
                      </a:cubicBezTo>
                      <a:cubicBezTo>
                        <a:pt x="755418" y="368050"/>
                        <a:pt x="758380" y="363354"/>
                        <a:pt x="764953" y="364364"/>
                      </a:cubicBezTo>
                      <a:cubicBezTo>
                        <a:pt x="757409" y="363164"/>
                        <a:pt x="763562" y="358182"/>
                        <a:pt x="754790" y="360002"/>
                      </a:cubicBezTo>
                      <a:cubicBezTo>
                        <a:pt x="749941" y="361011"/>
                        <a:pt x="745227" y="364240"/>
                        <a:pt x="740378" y="365698"/>
                      </a:cubicBezTo>
                      <a:cubicBezTo>
                        <a:pt x="730167" y="368765"/>
                        <a:pt x="718480" y="370022"/>
                        <a:pt x="709955" y="362230"/>
                      </a:cubicBezTo>
                      <a:cubicBezTo>
                        <a:pt x="713318" y="360840"/>
                        <a:pt x="716947" y="359640"/>
                        <a:pt x="717871" y="355849"/>
                      </a:cubicBezTo>
                      <a:cubicBezTo>
                        <a:pt x="714699" y="356811"/>
                        <a:pt x="711479" y="359754"/>
                        <a:pt x="707107" y="359906"/>
                      </a:cubicBezTo>
                      <a:cubicBezTo>
                        <a:pt x="700907" y="360125"/>
                        <a:pt x="694030" y="357001"/>
                        <a:pt x="687715" y="356392"/>
                      </a:cubicBezTo>
                      <a:cubicBezTo>
                        <a:pt x="674722" y="355144"/>
                        <a:pt x="661940" y="359963"/>
                        <a:pt x="649091" y="358640"/>
                      </a:cubicBezTo>
                      <a:cubicBezTo>
                        <a:pt x="659454" y="356430"/>
                        <a:pt x="645233" y="352296"/>
                        <a:pt x="644100" y="350762"/>
                      </a:cubicBezTo>
                      <a:cubicBezTo>
                        <a:pt x="641785" y="347610"/>
                        <a:pt x="642766" y="347991"/>
                        <a:pt x="647500" y="344695"/>
                      </a:cubicBezTo>
                      <a:cubicBezTo>
                        <a:pt x="651100" y="342180"/>
                        <a:pt x="654853" y="340009"/>
                        <a:pt x="658797" y="338085"/>
                      </a:cubicBezTo>
                      <a:cubicBezTo>
                        <a:pt x="652844" y="339647"/>
                        <a:pt x="647462" y="342504"/>
                        <a:pt x="641814" y="344866"/>
                      </a:cubicBezTo>
                      <a:cubicBezTo>
                        <a:pt x="634260" y="348038"/>
                        <a:pt x="631269" y="344562"/>
                        <a:pt x="623783" y="344095"/>
                      </a:cubicBezTo>
                      <a:cubicBezTo>
                        <a:pt x="627698" y="342657"/>
                        <a:pt x="631565" y="340894"/>
                        <a:pt x="635079" y="338647"/>
                      </a:cubicBezTo>
                      <a:cubicBezTo>
                        <a:pt x="631488" y="338542"/>
                        <a:pt x="627888" y="338447"/>
                        <a:pt x="624288" y="338342"/>
                      </a:cubicBezTo>
                      <a:cubicBezTo>
                        <a:pt x="624945" y="337646"/>
                        <a:pt x="625440" y="336656"/>
                        <a:pt x="626097" y="336008"/>
                      </a:cubicBezTo>
                      <a:cubicBezTo>
                        <a:pt x="622859" y="335179"/>
                        <a:pt x="619392" y="337275"/>
                        <a:pt x="616801" y="336189"/>
                      </a:cubicBezTo>
                      <a:cubicBezTo>
                        <a:pt x="619163" y="335399"/>
                        <a:pt x="621554" y="334608"/>
                        <a:pt x="623859" y="333608"/>
                      </a:cubicBezTo>
                      <a:cubicBezTo>
                        <a:pt x="613696" y="330827"/>
                        <a:pt x="635003" y="324483"/>
                        <a:pt x="636975" y="324102"/>
                      </a:cubicBezTo>
                      <a:cubicBezTo>
                        <a:pt x="630288" y="321178"/>
                        <a:pt x="622573" y="327350"/>
                        <a:pt x="615972" y="328340"/>
                      </a:cubicBezTo>
                      <a:cubicBezTo>
                        <a:pt x="612791" y="328826"/>
                        <a:pt x="607324" y="329522"/>
                        <a:pt x="604285" y="329969"/>
                      </a:cubicBezTo>
                      <a:cubicBezTo>
                        <a:pt x="604695" y="329912"/>
                        <a:pt x="602161" y="328598"/>
                        <a:pt x="601113" y="328655"/>
                      </a:cubicBezTo>
                      <a:cubicBezTo>
                        <a:pt x="598646" y="328779"/>
                        <a:pt x="595913" y="332598"/>
                        <a:pt x="592884" y="331217"/>
                      </a:cubicBezTo>
                      <a:cubicBezTo>
                        <a:pt x="587588" y="328807"/>
                        <a:pt x="604218" y="321911"/>
                        <a:pt x="606495" y="320749"/>
                      </a:cubicBezTo>
                      <a:cubicBezTo>
                        <a:pt x="601790" y="321940"/>
                        <a:pt x="597446" y="324102"/>
                        <a:pt x="592722" y="325112"/>
                      </a:cubicBezTo>
                      <a:cubicBezTo>
                        <a:pt x="589598" y="325778"/>
                        <a:pt x="586797" y="325464"/>
                        <a:pt x="583711" y="327293"/>
                      </a:cubicBezTo>
                      <a:cubicBezTo>
                        <a:pt x="585292" y="326836"/>
                        <a:pt x="587464" y="326702"/>
                        <a:pt x="589197" y="326264"/>
                      </a:cubicBezTo>
                      <a:cubicBezTo>
                        <a:pt x="585721" y="329102"/>
                        <a:pt x="580454" y="330560"/>
                        <a:pt x="576882" y="332884"/>
                      </a:cubicBezTo>
                      <a:cubicBezTo>
                        <a:pt x="574634" y="334351"/>
                        <a:pt x="570633" y="334370"/>
                        <a:pt x="575958" y="337103"/>
                      </a:cubicBezTo>
                      <a:cubicBezTo>
                        <a:pt x="571310" y="341904"/>
                        <a:pt x="565442" y="340780"/>
                        <a:pt x="559737" y="343723"/>
                      </a:cubicBezTo>
                      <a:cubicBezTo>
                        <a:pt x="562547" y="342904"/>
                        <a:pt x="578406" y="339504"/>
                        <a:pt x="575701" y="343552"/>
                      </a:cubicBezTo>
                      <a:cubicBezTo>
                        <a:pt x="574100" y="345962"/>
                        <a:pt x="569919" y="345457"/>
                        <a:pt x="567604" y="346581"/>
                      </a:cubicBezTo>
                      <a:cubicBezTo>
                        <a:pt x="564318" y="348172"/>
                        <a:pt x="562470" y="351115"/>
                        <a:pt x="559546" y="353029"/>
                      </a:cubicBezTo>
                      <a:cubicBezTo>
                        <a:pt x="555517" y="355658"/>
                        <a:pt x="534943" y="366326"/>
                        <a:pt x="532190" y="358087"/>
                      </a:cubicBezTo>
                      <a:cubicBezTo>
                        <a:pt x="528999" y="359611"/>
                        <a:pt x="525932" y="360049"/>
                        <a:pt x="528295" y="355811"/>
                      </a:cubicBezTo>
                      <a:cubicBezTo>
                        <a:pt x="522675" y="359373"/>
                        <a:pt x="516931" y="363202"/>
                        <a:pt x="511092" y="366488"/>
                      </a:cubicBezTo>
                      <a:cubicBezTo>
                        <a:pt x="512293" y="365088"/>
                        <a:pt x="513083" y="363088"/>
                        <a:pt x="514140" y="361668"/>
                      </a:cubicBezTo>
                      <a:cubicBezTo>
                        <a:pt x="510959" y="362716"/>
                        <a:pt x="506387" y="365717"/>
                        <a:pt x="504454" y="366698"/>
                      </a:cubicBezTo>
                      <a:cubicBezTo>
                        <a:pt x="504730" y="366555"/>
                        <a:pt x="500844" y="368222"/>
                        <a:pt x="500948" y="368184"/>
                      </a:cubicBezTo>
                      <a:cubicBezTo>
                        <a:pt x="499015" y="368850"/>
                        <a:pt x="497024" y="370117"/>
                        <a:pt x="495033" y="370851"/>
                      </a:cubicBezTo>
                      <a:cubicBezTo>
                        <a:pt x="489090" y="373041"/>
                        <a:pt x="482756" y="372737"/>
                        <a:pt x="477917" y="374661"/>
                      </a:cubicBezTo>
                      <a:cubicBezTo>
                        <a:pt x="473726" y="376327"/>
                        <a:pt x="469716" y="378994"/>
                        <a:pt x="465277" y="380490"/>
                      </a:cubicBezTo>
                      <a:cubicBezTo>
                        <a:pt x="460781" y="382004"/>
                        <a:pt x="460162" y="381452"/>
                        <a:pt x="456343" y="381776"/>
                      </a:cubicBezTo>
                      <a:cubicBezTo>
                        <a:pt x="451609" y="382176"/>
                        <a:pt x="441703" y="387605"/>
                        <a:pt x="437683" y="382290"/>
                      </a:cubicBezTo>
                      <a:cubicBezTo>
                        <a:pt x="447456" y="372765"/>
                        <a:pt x="465887" y="374194"/>
                        <a:pt x="477422" y="366002"/>
                      </a:cubicBezTo>
                      <a:cubicBezTo>
                        <a:pt x="472678" y="366507"/>
                        <a:pt x="466896" y="371022"/>
                        <a:pt x="461934" y="370127"/>
                      </a:cubicBezTo>
                      <a:cubicBezTo>
                        <a:pt x="451790" y="368298"/>
                        <a:pt x="463906" y="362307"/>
                        <a:pt x="467887" y="360059"/>
                      </a:cubicBezTo>
                      <a:cubicBezTo>
                        <a:pt x="479546" y="353477"/>
                        <a:pt x="490414" y="348953"/>
                        <a:pt x="500586" y="340028"/>
                      </a:cubicBezTo>
                      <a:cubicBezTo>
                        <a:pt x="506035" y="335246"/>
                        <a:pt x="510416" y="334894"/>
                        <a:pt x="517541" y="332770"/>
                      </a:cubicBezTo>
                      <a:cubicBezTo>
                        <a:pt x="523046" y="331131"/>
                        <a:pt x="531028" y="326531"/>
                        <a:pt x="536658" y="326893"/>
                      </a:cubicBezTo>
                      <a:cubicBezTo>
                        <a:pt x="538982" y="327045"/>
                        <a:pt x="538429" y="328883"/>
                        <a:pt x="539772" y="329045"/>
                      </a:cubicBezTo>
                      <a:cubicBezTo>
                        <a:pt x="542763" y="329407"/>
                        <a:pt x="544973" y="328836"/>
                        <a:pt x="548116" y="328826"/>
                      </a:cubicBezTo>
                      <a:cubicBezTo>
                        <a:pt x="552364" y="328817"/>
                        <a:pt x="562556" y="333789"/>
                        <a:pt x="563861" y="329664"/>
                      </a:cubicBezTo>
                      <a:cubicBezTo>
                        <a:pt x="560165" y="329131"/>
                        <a:pt x="554698" y="329102"/>
                        <a:pt x="552621" y="325131"/>
                      </a:cubicBezTo>
                      <a:cubicBezTo>
                        <a:pt x="550288" y="320654"/>
                        <a:pt x="552536" y="322492"/>
                        <a:pt x="556565" y="320492"/>
                      </a:cubicBezTo>
                      <a:cubicBezTo>
                        <a:pt x="564156" y="316720"/>
                        <a:pt x="571500" y="314244"/>
                        <a:pt x="579711" y="311967"/>
                      </a:cubicBezTo>
                      <a:cubicBezTo>
                        <a:pt x="573434" y="311691"/>
                        <a:pt x="568176" y="313291"/>
                        <a:pt x="562537" y="315891"/>
                      </a:cubicBezTo>
                      <a:cubicBezTo>
                        <a:pt x="555774" y="319016"/>
                        <a:pt x="550926" y="318625"/>
                        <a:pt x="544516" y="318815"/>
                      </a:cubicBezTo>
                      <a:cubicBezTo>
                        <a:pt x="534372" y="319130"/>
                        <a:pt x="519122" y="324854"/>
                        <a:pt x="508111" y="328283"/>
                      </a:cubicBezTo>
                      <a:cubicBezTo>
                        <a:pt x="502444" y="330045"/>
                        <a:pt x="498653" y="333627"/>
                        <a:pt x="493843" y="335922"/>
                      </a:cubicBezTo>
                      <a:cubicBezTo>
                        <a:pt x="487680" y="338866"/>
                        <a:pt x="480374" y="339751"/>
                        <a:pt x="474345" y="343380"/>
                      </a:cubicBezTo>
                      <a:cubicBezTo>
                        <a:pt x="465372" y="348772"/>
                        <a:pt x="459181" y="351391"/>
                        <a:pt x="449170" y="350019"/>
                      </a:cubicBezTo>
                      <a:cubicBezTo>
                        <a:pt x="461077" y="359240"/>
                        <a:pt x="432245" y="362773"/>
                        <a:pt x="428635" y="364088"/>
                      </a:cubicBezTo>
                      <a:cubicBezTo>
                        <a:pt x="429597" y="364431"/>
                        <a:pt x="430549" y="364764"/>
                        <a:pt x="431511" y="365097"/>
                      </a:cubicBezTo>
                      <a:cubicBezTo>
                        <a:pt x="428606" y="368603"/>
                        <a:pt x="422386" y="369889"/>
                        <a:pt x="418167" y="369612"/>
                      </a:cubicBezTo>
                      <a:cubicBezTo>
                        <a:pt x="419081" y="369031"/>
                        <a:pt x="419976" y="368203"/>
                        <a:pt x="420853" y="367641"/>
                      </a:cubicBezTo>
                      <a:cubicBezTo>
                        <a:pt x="417395" y="367393"/>
                        <a:pt x="413509" y="369308"/>
                        <a:pt x="410185" y="370632"/>
                      </a:cubicBezTo>
                      <a:cubicBezTo>
                        <a:pt x="410670" y="373222"/>
                        <a:pt x="392697" y="378575"/>
                        <a:pt x="389887" y="380033"/>
                      </a:cubicBezTo>
                      <a:cubicBezTo>
                        <a:pt x="387572" y="381233"/>
                        <a:pt x="379971" y="384671"/>
                        <a:pt x="381038" y="387024"/>
                      </a:cubicBezTo>
                      <a:cubicBezTo>
                        <a:pt x="382362" y="389920"/>
                        <a:pt x="391106" y="387262"/>
                        <a:pt x="391706" y="392291"/>
                      </a:cubicBezTo>
                      <a:cubicBezTo>
                        <a:pt x="392401" y="398083"/>
                        <a:pt x="374180" y="401674"/>
                        <a:pt x="370180" y="402912"/>
                      </a:cubicBezTo>
                      <a:cubicBezTo>
                        <a:pt x="362198" y="405398"/>
                        <a:pt x="354397" y="409560"/>
                        <a:pt x="346958" y="412875"/>
                      </a:cubicBezTo>
                      <a:cubicBezTo>
                        <a:pt x="347491" y="412923"/>
                        <a:pt x="348024" y="412970"/>
                        <a:pt x="348558" y="413027"/>
                      </a:cubicBezTo>
                      <a:cubicBezTo>
                        <a:pt x="337509" y="419942"/>
                        <a:pt x="324936" y="419742"/>
                        <a:pt x="312982" y="425105"/>
                      </a:cubicBezTo>
                      <a:cubicBezTo>
                        <a:pt x="302333" y="429877"/>
                        <a:pt x="290503" y="432420"/>
                        <a:pt x="279778" y="436344"/>
                      </a:cubicBezTo>
                      <a:cubicBezTo>
                        <a:pt x="275425" y="437935"/>
                        <a:pt x="272606" y="438707"/>
                        <a:pt x="268319" y="439774"/>
                      </a:cubicBezTo>
                      <a:cubicBezTo>
                        <a:pt x="260956" y="441612"/>
                        <a:pt x="259804" y="444345"/>
                        <a:pt x="254689" y="448213"/>
                      </a:cubicBezTo>
                      <a:cubicBezTo>
                        <a:pt x="247526" y="453623"/>
                        <a:pt x="232677" y="457347"/>
                        <a:pt x="223742" y="459328"/>
                      </a:cubicBezTo>
                      <a:cubicBezTo>
                        <a:pt x="218284" y="460538"/>
                        <a:pt x="214408" y="462557"/>
                        <a:pt x="209112" y="464243"/>
                      </a:cubicBezTo>
                      <a:cubicBezTo>
                        <a:pt x="203406" y="466053"/>
                        <a:pt x="197920" y="464681"/>
                        <a:pt x="191967" y="467748"/>
                      </a:cubicBezTo>
                      <a:cubicBezTo>
                        <a:pt x="192862" y="467939"/>
                        <a:pt x="194015" y="468253"/>
                        <a:pt x="194882" y="468387"/>
                      </a:cubicBezTo>
                      <a:cubicBezTo>
                        <a:pt x="186861" y="470234"/>
                        <a:pt x="179175" y="471015"/>
                        <a:pt x="171688" y="475283"/>
                      </a:cubicBezTo>
                      <a:cubicBezTo>
                        <a:pt x="175031" y="474635"/>
                        <a:pt x="176289" y="476073"/>
                        <a:pt x="174193" y="478836"/>
                      </a:cubicBezTo>
                      <a:cubicBezTo>
                        <a:pt x="172803" y="480664"/>
                        <a:pt x="166345" y="482074"/>
                        <a:pt x="163782" y="483179"/>
                      </a:cubicBezTo>
                      <a:cubicBezTo>
                        <a:pt x="164697" y="482322"/>
                        <a:pt x="165811" y="480407"/>
                        <a:pt x="166935" y="479378"/>
                      </a:cubicBezTo>
                      <a:cubicBezTo>
                        <a:pt x="158991" y="480864"/>
                        <a:pt x="150905" y="486236"/>
                        <a:pt x="142389" y="488084"/>
                      </a:cubicBezTo>
                      <a:cubicBezTo>
                        <a:pt x="133560" y="489999"/>
                        <a:pt x="127854" y="494056"/>
                        <a:pt x="119605" y="496924"/>
                      </a:cubicBezTo>
                      <a:cubicBezTo>
                        <a:pt x="121720" y="494723"/>
                        <a:pt x="124254" y="492913"/>
                        <a:pt x="126340" y="490666"/>
                      </a:cubicBezTo>
                      <a:cubicBezTo>
                        <a:pt x="118081" y="488075"/>
                        <a:pt x="104604" y="496962"/>
                        <a:pt x="96507" y="499400"/>
                      </a:cubicBezTo>
                      <a:cubicBezTo>
                        <a:pt x="92564" y="500581"/>
                        <a:pt x="87640" y="499895"/>
                        <a:pt x="83963" y="500791"/>
                      </a:cubicBezTo>
                      <a:cubicBezTo>
                        <a:pt x="77829" y="502286"/>
                        <a:pt x="72904" y="505896"/>
                        <a:pt x="66237" y="504601"/>
                      </a:cubicBezTo>
                      <a:cubicBezTo>
                        <a:pt x="68885" y="501305"/>
                        <a:pt x="74124" y="497990"/>
                        <a:pt x="78572" y="499533"/>
                      </a:cubicBezTo>
                      <a:cubicBezTo>
                        <a:pt x="76562" y="490570"/>
                        <a:pt x="37852" y="519364"/>
                        <a:pt x="30518" y="514202"/>
                      </a:cubicBezTo>
                      <a:cubicBezTo>
                        <a:pt x="32966" y="513507"/>
                        <a:pt x="34452" y="511621"/>
                        <a:pt x="34471" y="509011"/>
                      </a:cubicBezTo>
                      <a:cubicBezTo>
                        <a:pt x="27851" y="508525"/>
                        <a:pt x="24336" y="519517"/>
                        <a:pt x="16145" y="518126"/>
                      </a:cubicBezTo>
                      <a:cubicBezTo>
                        <a:pt x="15107" y="517945"/>
                        <a:pt x="17193" y="514678"/>
                        <a:pt x="14230" y="514764"/>
                      </a:cubicBezTo>
                      <a:cubicBezTo>
                        <a:pt x="12297" y="514821"/>
                        <a:pt x="12278" y="516774"/>
                        <a:pt x="10773" y="517488"/>
                      </a:cubicBezTo>
                      <a:cubicBezTo>
                        <a:pt x="7182" y="519183"/>
                        <a:pt x="4086" y="521422"/>
                        <a:pt x="0" y="521727"/>
                      </a:cubicBezTo>
                      <a:cubicBezTo>
                        <a:pt x="12316" y="511440"/>
                        <a:pt x="24679" y="510154"/>
                        <a:pt x="39176" y="504048"/>
                      </a:cubicBezTo>
                      <a:cubicBezTo>
                        <a:pt x="56674" y="496685"/>
                        <a:pt x="76905" y="484617"/>
                        <a:pt x="96431" y="484712"/>
                      </a:cubicBezTo>
                      <a:cubicBezTo>
                        <a:pt x="95174" y="485360"/>
                        <a:pt x="94659" y="486027"/>
                        <a:pt x="93878" y="486608"/>
                      </a:cubicBezTo>
                      <a:cubicBezTo>
                        <a:pt x="96784" y="486694"/>
                        <a:pt x="99765" y="486275"/>
                        <a:pt x="102537" y="485370"/>
                      </a:cubicBezTo>
                      <a:cubicBezTo>
                        <a:pt x="101870" y="486113"/>
                        <a:pt x="91735" y="489503"/>
                        <a:pt x="95850" y="492637"/>
                      </a:cubicBezTo>
                      <a:cubicBezTo>
                        <a:pt x="97469" y="493866"/>
                        <a:pt x="102241" y="489237"/>
                        <a:pt x="104813" y="489170"/>
                      </a:cubicBezTo>
                      <a:cubicBezTo>
                        <a:pt x="107147" y="489113"/>
                        <a:pt x="108871" y="493580"/>
                        <a:pt x="112090" y="490466"/>
                      </a:cubicBezTo>
                      <a:cubicBezTo>
                        <a:pt x="113348" y="489256"/>
                        <a:pt x="110052" y="487760"/>
                        <a:pt x="110661" y="486751"/>
                      </a:cubicBezTo>
                      <a:cubicBezTo>
                        <a:pt x="111785" y="484893"/>
                        <a:pt x="113528" y="484046"/>
                        <a:pt x="115462" y="482674"/>
                      </a:cubicBezTo>
                      <a:cubicBezTo>
                        <a:pt x="125206" y="475807"/>
                        <a:pt x="137217" y="471835"/>
                        <a:pt x="148485" y="468244"/>
                      </a:cubicBezTo>
                      <a:cubicBezTo>
                        <a:pt x="159915" y="464615"/>
                        <a:pt x="171926" y="460347"/>
                        <a:pt x="183518" y="457385"/>
                      </a:cubicBezTo>
                      <a:cubicBezTo>
                        <a:pt x="182699" y="458042"/>
                        <a:pt x="182308" y="458681"/>
                        <a:pt x="181670" y="459462"/>
                      </a:cubicBezTo>
                      <a:cubicBezTo>
                        <a:pt x="186519" y="462167"/>
                        <a:pt x="189128" y="457204"/>
                        <a:pt x="192529" y="454594"/>
                      </a:cubicBezTo>
                      <a:cubicBezTo>
                        <a:pt x="198063" y="450346"/>
                        <a:pt x="205102" y="447517"/>
                        <a:pt x="211579" y="444993"/>
                      </a:cubicBezTo>
                      <a:cubicBezTo>
                        <a:pt x="217541" y="442669"/>
                        <a:pt x="223676" y="440393"/>
                        <a:pt x="229724" y="438288"/>
                      </a:cubicBezTo>
                      <a:cubicBezTo>
                        <a:pt x="235372" y="436316"/>
                        <a:pt x="237744" y="439764"/>
                        <a:pt x="241840" y="437345"/>
                      </a:cubicBezTo>
                      <a:cubicBezTo>
                        <a:pt x="237277" y="433839"/>
                        <a:pt x="248964" y="427801"/>
                        <a:pt x="252079" y="425457"/>
                      </a:cubicBezTo>
                      <a:cubicBezTo>
                        <a:pt x="259652" y="419800"/>
                        <a:pt x="263747" y="417028"/>
                        <a:pt x="273348" y="416047"/>
                      </a:cubicBezTo>
                      <a:cubicBezTo>
                        <a:pt x="271605" y="415475"/>
                        <a:pt x="270348" y="414532"/>
                        <a:pt x="268453" y="414170"/>
                      </a:cubicBezTo>
                      <a:cubicBezTo>
                        <a:pt x="275625" y="405179"/>
                        <a:pt x="288036" y="402264"/>
                        <a:pt x="298552" y="398968"/>
                      </a:cubicBezTo>
                      <a:cubicBezTo>
                        <a:pt x="299037" y="395263"/>
                        <a:pt x="313087" y="388881"/>
                        <a:pt x="317211" y="386433"/>
                      </a:cubicBezTo>
                      <a:cubicBezTo>
                        <a:pt x="308096" y="391034"/>
                        <a:pt x="299771" y="394520"/>
                        <a:pt x="289827" y="396854"/>
                      </a:cubicBezTo>
                      <a:cubicBezTo>
                        <a:pt x="282921" y="398473"/>
                        <a:pt x="269605" y="404960"/>
                        <a:pt x="263252" y="401950"/>
                      </a:cubicBezTo>
                      <a:cubicBezTo>
                        <a:pt x="267729" y="394225"/>
                        <a:pt x="271234" y="389329"/>
                        <a:pt x="281054" y="391377"/>
                      </a:cubicBezTo>
                      <a:cubicBezTo>
                        <a:pt x="276758" y="381604"/>
                        <a:pt x="267710" y="396473"/>
                        <a:pt x="263519" y="391491"/>
                      </a:cubicBezTo>
                      <a:cubicBezTo>
                        <a:pt x="260975" y="394977"/>
                        <a:pt x="256823" y="396178"/>
                        <a:pt x="253622" y="398911"/>
                      </a:cubicBezTo>
                      <a:cubicBezTo>
                        <a:pt x="250450" y="401626"/>
                        <a:pt x="248441" y="406026"/>
                        <a:pt x="244573" y="407950"/>
                      </a:cubicBezTo>
                      <a:cubicBezTo>
                        <a:pt x="233296" y="413561"/>
                        <a:pt x="242592" y="399130"/>
                        <a:pt x="240611" y="393463"/>
                      </a:cubicBezTo>
                      <a:cubicBezTo>
                        <a:pt x="236591" y="394263"/>
                        <a:pt x="224933" y="398949"/>
                        <a:pt x="229352" y="389053"/>
                      </a:cubicBezTo>
                      <a:cubicBezTo>
                        <a:pt x="219580" y="391434"/>
                        <a:pt x="209379" y="393815"/>
                        <a:pt x="199882" y="396844"/>
                      </a:cubicBezTo>
                      <a:cubicBezTo>
                        <a:pt x="189671" y="400092"/>
                        <a:pt x="182690" y="403293"/>
                        <a:pt x="171336" y="401873"/>
                      </a:cubicBezTo>
                      <a:cubicBezTo>
                        <a:pt x="176927" y="400254"/>
                        <a:pt x="183042" y="399730"/>
                        <a:pt x="187776" y="396301"/>
                      </a:cubicBezTo>
                      <a:cubicBezTo>
                        <a:pt x="192615" y="392787"/>
                        <a:pt x="195091" y="389701"/>
                        <a:pt x="201025" y="387205"/>
                      </a:cubicBezTo>
                      <a:cubicBezTo>
                        <a:pt x="198558" y="386995"/>
                        <a:pt x="196177" y="387348"/>
                        <a:pt x="193872" y="388262"/>
                      </a:cubicBezTo>
                      <a:cubicBezTo>
                        <a:pt x="195358" y="381500"/>
                        <a:pt x="203683" y="379728"/>
                        <a:pt x="208883" y="376461"/>
                      </a:cubicBezTo>
                      <a:cubicBezTo>
                        <a:pt x="215856" y="372089"/>
                        <a:pt x="217999" y="366707"/>
                        <a:pt x="222514" y="360097"/>
                      </a:cubicBezTo>
                      <a:cubicBezTo>
                        <a:pt x="227552" y="352724"/>
                        <a:pt x="229029" y="349381"/>
                        <a:pt x="237077" y="345066"/>
                      </a:cubicBezTo>
                      <a:cubicBezTo>
                        <a:pt x="242707" y="342047"/>
                        <a:pt x="249212" y="340047"/>
                        <a:pt x="254527" y="337256"/>
                      </a:cubicBezTo>
                      <a:cubicBezTo>
                        <a:pt x="243297" y="336113"/>
                        <a:pt x="231705" y="347905"/>
                        <a:pt x="220980" y="350686"/>
                      </a:cubicBezTo>
                      <a:cubicBezTo>
                        <a:pt x="221571" y="351086"/>
                        <a:pt x="222161" y="351477"/>
                        <a:pt x="222742" y="351877"/>
                      </a:cubicBezTo>
                      <a:cubicBezTo>
                        <a:pt x="216570" y="360506"/>
                        <a:pt x="201825" y="362354"/>
                        <a:pt x="191919" y="364012"/>
                      </a:cubicBezTo>
                      <a:cubicBezTo>
                        <a:pt x="189081" y="364488"/>
                        <a:pt x="176784" y="367355"/>
                        <a:pt x="174146" y="365231"/>
                      </a:cubicBezTo>
                      <a:cubicBezTo>
                        <a:pt x="169307" y="361335"/>
                        <a:pt x="175784" y="362030"/>
                        <a:pt x="176146" y="359325"/>
                      </a:cubicBezTo>
                      <a:cubicBezTo>
                        <a:pt x="176698" y="355106"/>
                        <a:pt x="172964" y="354353"/>
                        <a:pt x="175755" y="349572"/>
                      </a:cubicBezTo>
                      <a:cubicBezTo>
                        <a:pt x="170078" y="350648"/>
                        <a:pt x="169821" y="344847"/>
                        <a:pt x="174946" y="343371"/>
                      </a:cubicBezTo>
                      <a:cubicBezTo>
                        <a:pt x="173126" y="342676"/>
                        <a:pt x="170983" y="342228"/>
                        <a:pt x="168859" y="342095"/>
                      </a:cubicBezTo>
                      <a:cubicBezTo>
                        <a:pt x="175231" y="339570"/>
                        <a:pt x="186614" y="332017"/>
                        <a:pt x="193386" y="331484"/>
                      </a:cubicBezTo>
                      <a:cubicBezTo>
                        <a:pt x="195082" y="331350"/>
                        <a:pt x="201778" y="332322"/>
                        <a:pt x="202140" y="334465"/>
                      </a:cubicBezTo>
                      <a:cubicBezTo>
                        <a:pt x="202625" y="337313"/>
                        <a:pt x="196025" y="339447"/>
                        <a:pt x="193910" y="340504"/>
                      </a:cubicBezTo>
                      <a:cubicBezTo>
                        <a:pt x="198577" y="339418"/>
                        <a:pt x="215722" y="329874"/>
                        <a:pt x="208921" y="340561"/>
                      </a:cubicBezTo>
                      <a:cubicBezTo>
                        <a:pt x="213779" y="339066"/>
                        <a:pt x="218151" y="337465"/>
                        <a:pt x="222733" y="335284"/>
                      </a:cubicBezTo>
                      <a:cubicBezTo>
                        <a:pt x="221066" y="332846"/>
                        <a:pt x="218256" y="332522"/>
                        <a:pt x="215151" y="332255"/>
                      </a:cubicBezTo>
                      <a:cubicBezTo>
                        <a:pt x="218303" y="331074"/>
                        <a:pt x="221409" y="331836"/>
                        <a:pt x="224561" y="330703"/>
                      </a:cubicBezTo>
                      <a:cubicBezTo>
                        <a:pt x="223304" y="326235"/>
                        <a:pt x="217399" y="331093"/>
                        <a:pt x="214246" y="331665"/>
                      </a:cubicBezTo>
                      <a:cubicBezTo>
                        <a:pt x="208588" y="332693"/>
                        <a:pt x="204216" y="330684"/>
                        <a:pt x="198996" y="330055"/>
                      </a:cubicBezTo>
                      <a:cubicBezTo>
                        <a:pt x="197072" y="329826"/>
                        <a:pt x="188795" y="331274"/>
                        <a:pt x="190243" y="328598"/>
                      </a:cubicBezTo>
                      <a:cubicBezTo>
                        <a:pt x="191291" y="326645"/>
                        <a:pt x="200606" y="325378"/>
                        <a:pt x="202825" y="324130"/>
                      </a:cubicBezTo>
                      <a:cubicBezTo>
                        <a:pt x="201035" y="324473"/>
                        <a:pt x="199120" y="324207"/>
                        <a:pt x="197272" y="324683"/>
                      </a:cubicBezTo>
                      <a:cubicBezTo>
                        <a:pt x="198091" y="323711"/>
                        <a:pt x="198368" y="322597"/>
                        <a:pt x="199996" y="321587"/>
                      </a:cubicBezTo>
                      <a:cubicBezTo>
                        <a:pt x="196710" y="323045"/>
                        <a:pt x="197215" y="322225"/>
                        <a:pt x="195139" y="321425"/>
                      </a:cubicBezTo>
                      <a:cubicBezTo>
                        <a:pt x="196853" y="320797"/>
                        <a:pt x="198511" y="319511"/>
                        <a:pt x="200320" y="319187"/>
                      </a:cubicBezTo>
                      <a:cubicBezTo>
                        <a:pt x="194739" y="319044"/>
                        <a:pt x="191948" y="325874"/>
                        <a:pt x="186176" y="324426"/>
                      </a:cubicBezTo>
                      <a:cubicBezTo>
                        <a:pt x="187423" y="322064"/>
                        <a:pt x="189186" y="320054"/>
                        <a:pt x="191138" y="318196"/>
                      </a:cubicBezTo>
                      <a:cubicBezTo>
                        <a:pt x="190271" y="317815"/>
                        <a:pt x="189405" y="317444"/>
                        <a:pt x="188547" y="317072"/>
                      </a:cubicBezTo>
                      <a:cubicBezTo>
                        <a:pt x="190900" y="313958"/>
                        <a:pt x="195053" y="313872"/>
                        <a:pt x="197006" y="310757"/>
                      </a:cubicBezTo>
                      <a:cubicBezTo>
                        <a:pt x="194643" y="310272"/>
                        <a:pt x="192310" y="310633"/>
                        <a:pt x="190043" y="311691"/>
                      </a:cubicBezTo>
                      <a:cubicBezTo>
                        <a:pt x="192167" y="305519"/>
                        <a:pt x="199082" y="307366"/>
                        <a:pt x="204264" y="305728"/>
                      </a:cubicBezTo>
                      <a:cubicBezTo>
                        <a:pt x="197596" y="302842"/>
                        <a:pt x="205607" y="301880"/>
                        <a:pt x="208369" y="301318"/>
                      </a:cubicBezTo>
                      <a:cubicBezTo>
                        <a:pt x="210293" y="300918"/>
                        <a:pt x="213036" y="301375"/>
                        <a:pt x="214760" y="300432"/>
                      </a:cubicBezTo>
                      <a:cubicBezTo>
                        <a:pt x="216246" y="299623"/>
                        <a:pt x="215094" y="298803"/>
                        <a:pt x="216360" y="297937"/>
                      </a:cubicBezTo>
                      <a:cubicBezTo>
                        <a:pt x="223133" y="293317"/>
                        <a:pt x="229619" y="289821"/>
                        <a:pt x="237334" y="286459"/>
                      </a:cubicBezTo>
                      <a:cubicBezTo>
                        <a:pt x="251565" y="280258"/>
                        <a:pt x="261080" y="281125"/>
                        <a:pt x="273139" y="273800"/>
                      </a:cubicBezTo>
                      <a:cubicBezTo>
                        <a:pt x="270367" y="274524"/>
                        <a:pt x="267643" y="275439"/>
                        <a:pt x="265005" y="276515"/>
                      </a:cubicBezTo>
                      <a:cubicBezTo>
                        <a:pt x="268996" y="272133"/>
                        <a:pt x="274158" y="267942"/>
                        <a:pt x="279654" y="265580"/>
                      </a:cubicBezTo>
                      <a:cubicBezTo>
                        <a:pt x="282702" y="264266"/>
                        <a:pt x="286350" y="264713"/>
                        <a:pt x="289150" y="263475"/>
                      </a:cubicBezTo>
                      <a:cubicBezTo>
                        <a:pt x="291617" y="262389"/>
                        <a:pt x="290484" y="261208"/>
                        <a:pt x="291951" y="260399"/>
                      </a:cubicBezTo>
                      <a:cubicBezTo>
                        <a:pt x="295970" y="258160"/>
                        <a:pt x="306181" y="254036"/>
                        <a:pt x="310220" y="257293"/>
                      </a:cubicBezTo>
                      <a:cubicBezTo>
                        <a:pt x="315144" y="261265"/>
                        <a:pt x="308219" y="262466"/>
                        <a:pt x="305000" y="264132"/>
                      </a:cubicBezTo>
                      <a:cubicBezTo>
                        <a:pt x="314382" y="260675"/>
                        <a:pt x="320802" y="262923"/>
                        <a:pt x="331470" y="259160"/>
                      </a:cubicBezTo>
                      <a:cubicBezTo>
                        <a:pt x="339633" y="256284"/>
                        <a:pt x="354482" y="246378"/>
                        <a:pt x="362817" y="247826"/>
                      </a:cubicBezTo>
                      <a:cubicBezTo>
                        <a:pt x="362407" y="248483"/>
                        <a:pt x="362007" y="249150"/>
                        <a:pt x="361598" y="249807"/>
                      </a:cubicBezTo>
                      <a:cubicBezTo>
                        <a:pt x="372170" y="253712"/>
                        <a:pt x="388696" y="247016"/>
                        <a:pt x="398193" y="242396"/>
                      </a:cubicBezTo>
                      <a:cubicBezTo>
                        <a:pt x="403650" y="239739"/>
                        <a:pt x="406317" y="236291"/>
                        <a:pt x="410318" y="231919"/>
                      </a:cubicBezTo>
                      <a:cubicBezTo>
                        <a:pt x="412356" y="229690"/>
                        <a:pt x="423710" y="217784"/>
                        <a:pt x="412871" y="219489"/>
                      </a:cubicBezTo>
                      <a:cubicBezTo>
                        <a:pt x="420195" y="214717"/>
                        <a:pt x="429692" y="217889"/>
                        <a:pt x="437026" y="211955"/>
                      </a:cubicBezTo>
                      <a:cubicBezTo>
                        <a:pt x="438283" y="210945"/>
                        <a:pt x="442932" y="207049"/>
                        <a:pt x="441312" y="204687"/>
                      </a:cubicBezTo>
                      <a:cubicBezTo>
                        <a:pt x="439655" y="202268"/>
                        <a:pt x="432140" y="206868"/>
                        <a:pt x="430216" y="207278"/>
                      </a:cubicBezTo>
                      <a:cubicBezTo>
                        <a:pt x="422577" y="208926"/>
                        <a:pt x="415385" y="209611"/>
                        <a:pt x="407337" y="211802"/>
                      </a:cubicBezTo>
                      <a:cubicBezTo>
                        <a:pt x="399126" y="214031"/>
                        <a:pt x="389039" y="221413"/>
                        <a:pt x="380790" y="221356"/>
                      </a:cubicBezTo>
                      <a:cubicBezTo>
                        <a:pt x="384200" y="219060"/>
                        <a:pt x="386582" y="214155"/>
                        <a:pt x="382019" y="212993"/>
                      </a:cubicBezTo>
                      <a:cubicBezTo>
                        <a:pt x="378400" y="212069"/>
                        <a:pt x="377809" y="215698"/>
                        <a:pt x="381152" y="216784"/>
                      </a:cubicBezTo>
                      <a:cubicBezTo>
                        <a:pt x="379105" y="217660"/>
                        <a:pt x="377114" y="218670"/>
                        <a:pt x="375190" y="219803"/>
                      </a:cubicBezTo>
                      <a:cubicBezTo>
                        <a:pt x="371456" y="207773"/>
                        <a:pt x="345948" y="217298"/>
                        <a:pt x="338442" y="218184"/>
                      </a:cubicBezTo>
                      <a:cubicBezTo>
                        <a:pt x="332432" y="218889"/>
                        <a:pt x="322945" y="217603"/>
                        <a:pt x="317163" y="215317"/>
                      </a:cubicBezTo>
                      <a:cubicBezTo>
                        <a:pt x="306181" y="210973"/>
                        <a:pt x="317411" y="208821"/>
                        <a:pt x="322221" y="203963"/>
                      </a:cubicBezTo>
                      <a:cubicBezTo>
                        <a:pt x="320183" y="203201"/>
                        <a:pt x="318792" y="199858"/>
                        <a:pt x="320173" y="197667"/>
                      </a:cubicBezTo>
                      <a:cubicBezTo>
                        <a:pt x="321545" y="195486"/>
                        <a:pt x="321678" y="198181"/>
                        <a:pt x="324031" y="197305"/>
                      </a:cubicBezTo>
                      <a:cubicBezTo>
                        <a:pt x="329070" y="195438"/>
                        <a:pt x="337175" y="192285"/>
                        <a:pt x="342662" y="193438"/>
                      </a:cubicBezTo>
                      <a:cubicBezTo>
                        <a:pt x="342919" y="192990"/>
                        <a:pt x="342976" y="192514"/>
                        <a:pt x="342824" y="192028"/>
                      </a:cubicBezTo>
                      <a:cubicBezTo>
                        <a:pt x="335785" y="190590"/>
                        <a:pt x="299104" y="184380"/>
                        <a:pt x="322717" y="178093"/>
                      </a:cubicBezTo>
                      <a:cubicBezTo>
                        <a:pt x="321821" y="178712"/>
                        <a:pt x="321107" y="179522"/>
                        <a:pt x="320259" y="180198"/>
                      </a:cubicBezTo>
                      <a:cubicBezTo>
                        <a:pt x="333537" y="177179"/>
                        <a:pt x="346386" y="173912"/>
                        <a:pt x="359197" y="169549"/>
                      </a:cubicBezTo>
                      <a:cubicBezTo>
                        <a:pt x="364808" y="167635"/>
                        <a:pt x="372475" y="164587"/>
                        <a:pt x="378457" y="164796"/>
                      </a:cubicBezTo>
                      <a:cubicBezTo>
                        <a:pt x="383267" y="164968"/>
                        <a:pt x="387277" y="167587"/>
                        <a:pt x="392792" y="164891"/>
                      </a:cubicBezTo>
                      <a:cubicBezTo>
                        <a:pt x="391687" y="164310"/>
                        <a:pt x="390944" y="163044"/>
                        <a:pt x="389849" y="162434"/>
                      </a:cubicBezTo>
                      <a:cubicBezTo>
                        <a:pt x="398450" y="156814"/>
                        <a:pt x="409670" y="157300"/>
                        <a:pt x="419271" y="155195"/>
                      </a:cubicBezTo>
                      <a:cubicBezTo>
                        <a:pt x="430387" y="152757"/>
                        <a:pt x="440388" y="151014"/>
                        <a:pt x="451847" y="150737"/>
                      </a:cubicBezTo>
                      <a:cubicBezTo>
                        <a:pt x="451923" y="151175"/>
                        <a:pt x="452009" y="151614"/>
                        <a:pt x="452085" y="152061"/>
                      </a:cubicBezTo>
                      <a:cubicBezTo>
                        <a:pt x="450209" y="151661"/>
                        <a:pt x="448294" y="152280"/>
                        <a:pt x="446503" y="152023"/>
                      </a:cubicBezTo>
                      <a:cubicBezTo>
                        <a:pt x="447808" y="155338"/>
                        <a:pt x="432397" y="161710"/>
                        <a:pt x="428539" y="163367"/>
                      </a:cubicBezTo>
                      <a:cubicBezTo>
                        <a:pt x="429701" y="170987"/>
                        <a:pt x="455571" y="167892"/>
                        <a:pt x="462182" y="167968"/>
                      </a:cubicBezTo>
                      <a:cubicBezTo>
                        <a:pt x="470449" y="168063"/>
                        <a:pt x="473183" y="167149"/>
                        <a:pt x="481136" y="163882"/>
                      </a:cubicBezTo>
                      <a:cubicBezTo>
                        <a:pt x="483241" y="163015"/>
                        <a:pt x="485423" y="161653"/>
                        <a:pt x="487737" y="161424"/>
                      </a:cubicBezTo>
                      <a:cubicBezTo>
                        <a:pt x="489966" y="161205"/>
                        <a:pt x="490795" y="164025"/>
                        <a:pt x="494147" y="162615"/>
                      </a:cubicBezTo>
                      <a:cubicBezTo>
                        <a:pt x="494014" y="163148"/>
                        <a:pt x="493881" y="163682"/>
                        <a:pt x="493747" y="164206"/>
                      </a:cubicBezTo>
                      <a:cubicBezTo>
                        <a:pt x="495557" y="163101"/>
                        <a:pt x="496786" y="161377"/>
                        <a:pt x="497738" y="159624"/>
                      </a:cubicBezTo>
                      <a:cubicBezTo>
                        <a:pt x="492185" y="157643"/>
                        <a:pt x="489414" y="157624"/>
                        <a:pt x="483603" y="158472"/>
                      </a:cubicBezTo>
                      <a:cubicBezTo>
                        <a:pt x="484051" y="156595"/>
                        <a:pt x="494300" y="145756"/>
                        <a:pt x="484451" y="146975"/>
                      </a:cubicBezTo>
                      <a:cubicBezTo>
                        <a:pt x="486194" y="142346"/>
                        <a:pt x="492138" y="138803"/>
                        <a:pt x="496653" y="141222"/>
                      </a:cubicBezTo>
                      <a:cubicBezTo>
                        <a:pt x="495948" y="142346"/>
                        <a:pt x="495414" y="143937"/>
                        <a:pt x="494519" y="144918"/>
                      </a:cubicBezTo>
                      <a:cubicBezTo>
                        <a:pt x="495119" y="145099"/>
                        <a:pt x="495710" y="145280"/>
                        <a:pt x="496310" y="145460"/>
                      </a:cubicBezTo>
                      <a:cubicBezTo>
                        <a:pt x="493538" y="147318"/>
                        <a:pt x="488394" y="149575"/>
                        <a:pt x="490261" y="153357"/>
                      </a:cubicBezTo>
                      <a:cubicBezTo>
                        <a:pt x="492319" y="157529"/>
                        <a:pt x="496110" y="154433"/>
                        <a:pt x="499558" y="154538"/>
                      </a:cubicBezTo>
                      <a:cubicBezTo>
                        <a:pt x="507435" y="154766"/>
                        <a:pt x="510007" y="160653"/>
                        <a:pt x="519417" y="157119"/>
                      </a:cubicBezTo>
                      <a:cubicBezTo>
                        <a:pt x="521084" y="156490"/>
                        <a:pt x="526904" y="153890"/>
                        <a:pt x="526037" y="151499"/>
                      </a:cubicBezTo>
                      <a:cubicBezTo>
                        <a:pt x="526256" y="152099"/>
                        <a:pt x="516855" y="149128"/>
                        <a:pt x="516426" y="149109"/>
                      </a:cubicBezTo>
                      <a:cubicBezTo>
                        <a:pt x="508406" y="148661"/>
                        <a:pt x="500929" y="156824"/>
                        <a:pt x="496424" y="148118"/>
                      </a:cubicBezTo>
                      <a:cubicBezTo>
                        <a:pt x="500710" y="143660"/>
                        <a:pt x="507206" y="141308"/>
                        <a:pt x="512969" y="139336"/>
                      </a:cubicBezTo>
                      <a:cubicBezTo>
                        <a:pt x="510569" y="135316"/>
                        <a:pt x="501767" y="137707"/>
                        <a:pt x="497786" y="138060"/>
                      </a:cubicBezTo>
                      <a:cubicBezTo>
                        <a:pt x="498862" y="137221"/>
                        <a:pt x="499662" y="136155"/>
                        <a:pt x="500853" y="135412"/>
                      </a:cubicBezTo>
                      <a:cubicBezTo>
                        <a:pt x="494633" y="137707"/>
                        <a:pt x="488318" y="138917"/>
                        <a:pt x="481746" y="136993"/>
                      </a:cubicBezTo>
                      <a:cubicBezTo>
                        <a:pt x="469678" y="133459"/>
                        <a:pt x="481232" y="129725"/>
                        <a:pt x="483203" y="122591"/>
                      </a:cubicBezTo>
                      <a:cubicBezTo>
                        <a:pt x="484670" y="117276"/>
                        <a:pt x="478812" y="108818"/>
                        <a:pt x="474488" y="105389"/>
                      </a:cubicBezTo>
                      <a:cubicBezTo>
                        <a:pt x="468487" y="100626"/>
                        <a:pt x="465191" y="99074"/>
                        <a:pt x="458362" y="95864"/>
                      </a:cubicBezTo>
                      <a:cubicBezTo>
                        <a:pt x="460943" y="94987"/>
                        <a:pt x="463601" y="94235"/>
                        <a:pt x="466296" y="93825"/>
                      </a:cubicBezTo>
                      <a:cubicBezTo>
                        <a:pt x="464820" y="94254"/>
                        <a:pt x="463410" y="94940"/>
                        <a:pt x="461953" y="95416"/>
                      </a:cubicBezTo>
                      <a:cubicBezTo>
                        <a:pt x="468649" y="96616"/>
                        <a:pt x="476450" y="90196"/>
                        <a:pt x="481994" y="86901"/>
                      </a:cubicBezTo>
                      <a:cubicBezTo>
                        <a:pt x="484889" y="85177"/>
                        <a:pt x="490014" y="80243"/>
                        <a:pt x="493166" y="79300"/>
                      </a:cubicBezTo>
                      <a:cubicBezTo>
                        <a:pt x="496595" y="78271"/>
                        <a:pt x="502006" y="79757"/>
                        <a:pt x="505606" y="79786"/>
                      </a:cubicBezTo>
                      <a:cubicBezTo>
                        <a:pt x="521789" y="79948"/>
                        <a:pt x="538277" y="78081"/>
                        <a:pt x="553707" y="73204"/>
                      </a:cubicBezTo>
                      <a:cubicBezTo>
                        <a:pt x="570919" y="67756"/>
                        <a:pt x="582806" y="59440"/>
                        <a:pt x="598837" y="52154"/>
                      </a:cubicBezTo>
                      <a:cubicBezTo>
                        <a:pt x="614039" y="45238"/>
                        <a:pt x="630355" y="39019"/>
                        <a:pt x="646214" y="33742"/>
                      </a:cubicBezTo>
                      <a:cubicBezTo>
                        <a:pt x="645681" y="37780"/>
                        <a:pt x="638670" y="38018"/>
                        <a:pt x="635032" y="39095"/>
                      </a:cubicBezTo>
                      <a:cubicBezTo>
                        <a:pt x="645224" y="38380"/>
                        <a:pt x="656711" y="36237"/>
                        <a:pt x="666579" y="33742"/>
                      </a:cubicBezTo>
                      <a:cubicBezTo>
                        <a:pt x="674865" y="31646"/>
                        <a:pt x="688362" y="23531"/>
                        <a:pt x="696373" y="26303"/>
                      </a:cubicBezTo>
                      <a:cubicBezTo>
                        <a:pt x="694049" y="27303"/>
                        <a:pt x="691725" y="28303"/>
                        <a:pt x="689410" y="29313"/>
                      </a:cubicBezTo>
                      <a:cubicBezTo>
                        <a:pt x="689772" y="29579"/>
                        <a:pt x="690134" y="29837"/>
                        <a:pt x="690496" y="30103"/>
                      </a:cubicBezTo>
                      <a:cubicBezTo>
                        <a:pt x="688286" y="31303"/>
                        <a:pt x="686086" y="32504"/>
                        <a:pt x="683876" y="33704"/>
                      </a:cubicBezTo>
                      <a:cubicBezTo>
                        <a:pt x="685105" y="33789"/>
                        <a:pt x="686524" y="33875"/>
                        <a:pt x="687753" y="33761"/>
                      </a:cubicBezTo>
                      <a:cubicBezTo>
                        <a:pt x="687324" y="34313"/>
                        <a:pt x="686886" y="34866"/>
                        <a:pt x="686457" y="35418"/>
                      </a:cubicBezTo>
                      <a:cubicBezTo>
                        <a:pt x="694192" y="30103"/>
                        <a:pt x="697563" y="29341"/>
                        <a:pt x="706688" y="27684"/>
                      </a:cubicBezTo>
                      <a:cubicBezTo>
                        <a:pt x="704745" y="27636"/>
                        <a:pt x="701497" y="28189"/>
                        <a:pt x="699764" y="27503"/>
                      </a:cubicBezTo>
                      <a:cubicBezTo>
                        <a:pt x="697592" y="26655"/>
                        <a:pt x="700716" y="24436"/>
                        <a:pt x="696668" y="24207"/>
                      </a:cubicBezTo>
                      <a:cubicBezTo>
                        <a:pt x="702897" y="22178"/>
                        <a:pt x="718737" y="14568"/>
                        <a:pt x="724624" y="17121"/>
                      </a:cubicBezTo>
                      <a:cubicBezTo>
                        <a:pt x="722414" y="18454"/>
                        <a:pt x="719595" y="18711"/>
                        <a:pt x="717842" y="20492"/>
                      </a:cubicBezTo>
                      <a:cubicBezTo>
                        <a:pt x="730996" y="20950"/>
                        <a:pt x="748027" y="18292"/>
                        <a:pt x="760781" y="14635"/>
                      </a:cubicBezTo>
                      <a:cubicBezTo>
                        <a:pt x="772925" y="11158"/>
                        <a:pt x="792518" y="-1729"/>
                        <a:pt x="804958" y="195"/>
                      </a:cubicBezTo>
                      <a:cubicBezTo>
                        <a:pt x="791728" y="1328"/>
                        <a:pt x="806472" y="6929"/>
                        <a:pt x="811863" y="6929"/>
                      </a:cubicBezTo>
                      <a:cubicBezTo>
                        <a:pt x="808673" y="12834"/>
                        <a:pt x="796909" y="13711"/>
                        <a:pt x="791070" y="14968"/>
                      </a:cubicBezTo>
                      <a:cubicBezTo>
                        <a:pt x="793223" y="15968"/>
                        <a:pt x="791070" y="16187"/>
                        <a:pt x="791232" y="17644"/>
                      </a:cubicBezTo>
                      <a:lnTo>
                        <a:pt x="791232" y="17644"/>
                      </a:lnTo>
                      <a:close/>
                      <a:moveTo>
                        <a:pt x="154391" y="244511"/>
                      </a:moveTo>
                      <a:cubicBezTo>
                        <a:pt x="154877" y="248359"/>
                        <a:pt x="170031" y="244378"/>
                        <a:pt x="173584" y="243606"/>
                      </a:cubicBezTo>
                      <a:cubicBezTo>
                        <a:pt x="178432" y="242549"/>
                        <a:pt x="188405" y="243006"/>
                        <a:pt x="181070" y="249178"/>
                      </a:cubicBezTo>
                      <a:cubicBezTo>
                        <a:pt x="183118" y="250112"/>
                        <a:pt x="185252" y="250750"/>
                        <a:pt x="187471" y="251112"/>
                      </a:cubicBezTo>
                      <a:cubicBezTo>
                        <a:pt x="187319" y="251617"/>
                        <a:pt x="186785" y="252417"/>
                        <a:pt x="186680" y="252902"/>
                      </a:cubicBezTo>
                      <a:cubicBezTo>
                        <a:pt x="191900" y="254569"/>
                        <a:pt x="197739" y="253074"/>
                        <a:pt x="203197" y="254884"/>
                      </a:cubicBezTo>
                      <a:cubicBezTo>
                        <a:pt x="196215" y="259780"/>
                        <a:pt x="191405" y="257855"/>
                        <a:pt x="183594" y="259208"/>
                      </a:cubicBezTo>
                      <a:cubicBezTo>
                        <a:pt x="177346" y="260284"/>
                        <a:pt x="172574" y="264980"/>
                        <a:pt x="166526" y="266056"/>
                      </a:cubicBezTo>
                      <a:cubicBezTo>
                        <a:pt x="169116" y="262647"/>
                        <a:pt x="172403" y="258017"/>
                        <a:pt x="164792" y="258484"/>
                      </a:cubicBezTo>
                      <a:cubicBezTo>
                        <a:pt x="168392" y="254731"/>
                        <a:pt x="164830" y="252112"/>
                        <a:pt x="160734" y="250940"/>
                      </a:cubicBezTo>
                      <a:cubicBezTo>
                        <a:pt x="155581" y="249464"/>
                        <a:pt x="151019" y="252226"/>
                        <a:pt x="146047" y="253226"/>
                      </a:cubicBezTo>
                      <a:cubicBezTo>
                        <a:pt x="128588" y="256713"/>
                        <a:pt x="146656" y="242901"/>
                        <a:pt x="153886" y="241777"/>
                      </a:cubicBezTo>
                      <a:cubicBezTo>
                        <a:pt x="154067" y="242682"/>
                        <a:pt x="154229" y="243597"/>
                        <a:pt x="154391" y="244511"/>
                      </a:cubicBezTo>
                      <a:lnTo>
                        <a:pt x="154391" y="244511"/>
                      </a:lnTo>
                      <a:close/>
                      <a:moveTo>
                        <a:pt x="144247" y="347086"/>
                      </a:moveTo>
                      <a:cubicBezTo>
                        <a:pt x="145323" y="350715"/>
                        <a:pt x="150762" y="346171"/>
                        <a:pt x="150666" y="350048"/>
                      </a:cubicBezTo>
                      <a:cubicBezTo>
                        <a:pt x="150666" y="350419"/>
                        <a:pt x="141780" y="358754"/>
                        <a:pt x="141275" y="359163"/>
                      </a:cubicBezTo>
                      <a:cubicBezTo>
                        <a:pt x="136417" y="363097"/>
                        <a:pt x="132245" y="361516"/>
                        <a:pt x="126530" y="363288"/>
                      </a:cubicBezTo>
                      <a:cubicBezTo>
                        <a:pt x="125282" y="363669"/>
                        <a:pt x="121539" y="366193"/>
                        <a:pt x="120834" y="366260"/>
                      </a:cubicBezTo>
                      <a:cubicBezTo>
                        <a:pt x="118558" y="366479"/>
                        <a:pt x="119453" y="364945"/>
                        <a:pt x="118443" y="364859"/>
                      </a:cubicBezTo>
                      <a:cubicBezTo>
                        <a:pt x="115129" y="364564"/>
                        <a:pt x="106518" y="361183"/>
                        <a:pt x="105623" y="358220"/>
                      </a:cubicBezTo>
                      <a:cubicBezTo>
                        <a:pt x="103280" y="350486"/>
                        <a:pt x="112252" y="352458"/>
                        <a:pt x="116557" y="352077"/>
                      </a:cubicBezTo>
                      <a:cubicBezTo>
                        <a:pt x="125911" y="351229"/>
                        <a:pt x="134779" y="346933"/>
                        <a:pt x="144247" y="347086"/>
                      </a:cubicBezTo>
                      <a:lnTo>
                        <a:pt x="144247" y="347086"/>
                      </a:lnTo>
                      <a:close/>
                      <a:moveTo>
                        <a:pt x="813797" y="417075"/>
                      </a:moveTo>
                      <a:cubicBezTo>
                        <a:pt x="817064" y="417714"/>
                        <a:pt x="820512" y="417999"/>
                        <a:pt x="823827" y="417637"/>
                      </a:cubicBezTo>
                      <a:cubicBezTo>
                        <a:pt x="823560" y="423991"/>
                        <a:pt x="820712" y="429086"/>
                        <a:pt x="817378" y="434220"/>
                      </a:cubicBezTo>
                      <a:cubicBezTo>
                        <a:pt x="815912" y="430163"/>
                        <a:pt x="821588" y="425762"/>
                        <a:pt x="820693" y="422276"/>
                      </a:cubicBezTo>
                      <a:cubicBezTo>
                        <a:pt x="819493" y="417571"/>
                        <a:pt x="815416" y="425715"/>
                        <a:pt x="814588" y="428534"/>
                      </a:cubicBezTo>
                      <a:cubicBezTo>
                        <a:pt x="812940" y="434182"/>
                        <a:pt x="813168" y="437840"/>
                        <a:pt x="807930" y="441421"/>
                      </a:cubicBezTo>
                      <a:cubicBezTo>
                        <a:pt x="803881" y="444184"/>
                        <a:pt x="797747" y="446336"/>
                        <a:pt x="792918" y="448679"/>
                      </a:cubicBezTo>
                      <a:cubicBezTo>
                        <a:pt x="790470" y="449870"/>
                        <a:pt x="781679" y="454937"/>
                        <a:pt x="782955" y="450041"/>
                      </a:cubicBezTo>
                      <a:cubicBezTo>
                        <a:pt x="784241" y="445117"/>
                        <a:pt x="794252" y="442736"/>
                        <a:pt x="797157" y="438497"/>
                      </a:cubicBezTo>
                      <a:cubicBezTo>
                        <a:pt x="798138" y="437068"/>
                        <a:pt x="798367" y="433258"/>
                        <a:pt x="799471" y="431315"/>
                      </a:cubicBezTo>
                      <a:cubicBezTo>
                        <a:pt x="801205" y="428248"/>
                        <a:pt x="804139" y="425781"/>
                        <a:pt x="806253" y="422962"/>
                      </a:cubicBezTo>
                      <a:cubicBezTo>
                        <a:pt x="809025" y="419257"/>
                        <a:pt x="810501" y="413942"/>
                        <a:pt x="814035" y="411008"/>
                      </a:cubicBezTo>
                      <a:cubicBezTo>
                        <a:pt x="815178" y="412780"/>
                        <a:pt x="814997" y="415027"/>
                        <a:pt x="813797" y="417075"/>
                      </a:cubicBezTo>
                      <a:lnTo>
                        <a:pt x="813797" y="417075"/>
                      </a:lnTo>
                      <a:close/>
                      <a:moveTo>
                        <a:pt x="791156" y="414475"/>
                      </a:moveTo>
                      <a:cubicBezTo>
                        <a:pt x="792709" y="418895"/>
                        <a:pt x="787860" y="420181"/>
                        <a:pt x="785212" y="421800"/>
                      </a:cubicBezTo>
                      <a:cubicBezTo>
                        <a:pt x="787698" y="422305"/>
                        <a:pt x="800967" y="414285"/>
                        <a:pt x="802577" y="420838"/>
                      </a:cubicBezTo>
                      <a:cubicBezTo>
                        <a:pt x="804529" y="428772"/>
                        <a:pt x="788660" y="427553"/>
                        <a:pt x="785555" y="429458"/>
                      </a:cubicBezTo>
                      <a:cubicBezTo>
                        <a:pt x="787537" y="431134"/>
                        <a:pt x="790108" y="430953"/>
                        <a:pt x="792852" y="430858"/>
                      </a:cubicBezTo>
                      <a:cubicBezTo>
                        <a:pt x="792661" y="433516"/>
                        <a:pt x="789423" y="438449"/>
                        <a:pt x="786384" y="438516"/>
                      </a:cubicBezTo>
                      <a:cubicBezTo>
                        <a:pt x="782669" y="438592"/>
                        <a:pt x="781860" y="433316"/>
                        <a:pt x="778364" y="432811"/>
                      </a:cubicBezTo>
                      <a:cubicBezTo>
                        <a:pt x="771439" y="431811"/>
                        <a:pt x="769830" y="443202"/>
                        <a:pt x="761581" y="439602"/>
                      </a:cubicBezTo>
                      <a:cubicBezTo>
                        <a:pt x="762114" y="436735"/>
                        <a:pt x="764381" y="434192"/>
                        <a:pt x="764438" y="431611"/>
                      </a:cubicBezTo>
                      <a:cubicBezTo>
                        <a:pt x="764515" y="428267"/>
                        <a:pt x="761229" y="427134"/>
                        <a:pt x="762200" y="423829"/>
                      </a:cubicBezTo>
                      <a:cubicBezTo>
                        <a:pt x="763534" y="419257"/>
                        <a:pt x="772773" y="418018"/>
                        <a:pt x="776126" y="415275"/>
                      </a:cubicBezTo>
                      <a:cubicBezTo>
                        <a:pt x="775964" y="416694"/>
                        <a:pt x="776621" y="417780"/>
                        <a:pt x="776583" y="419066"/>
                      </a:cubicBezTo>
                      <a:cubicBezTo>
                        <a:pt x="778783" y="416209"/>
                        <a:pt x="788384" y="413370"/>
                        <a:pt x="791156" y="414475"/>
                      </a:cubicBezTo>
                      <a:lnTo>
                        <a:pt x="791156" y="414475"/>
                      </a:lnTo>
                      <a:close/>
                      <a:moveTo>
                        <a:pt x="363464" y="427715"/>
                      </a:moveTo>
                      <a:cubicBezTo>
                        <a:pt x="362874" y="428296"/>
                        <a:pt x="362274" y="428877"/>
                        <a:pt x="361674" y="429448"/>
                      </a:cubicBezTo>
                      <a:cubicBezTo>
                        <a:pt x="365655" y="428563"/>
                        <a:pt x="371046" y="425496"/>
                        <a:pt x="374847" y="427658"/>
                      </a:cubicBezTo>
                      <a:cubicBezTo>
                        <a:pt x="372923" y="429277"/>
                        <a:pt x="364598" y="433392"/>
                        <a:pt x="372037" y="434297"/>
                      </a:cubicBezTo>
                      <a:cubicBezTo>
                        <a:pt x="364588" y="443079"/>
                        <a:pt x="356178" y="434335"/>
                        <a:pt x="348453" y="438897"/>
                      </a:cubicBezTo>
                      <a:cubicBezTo>
                        <a:pt x="351434" y="438516"/>
                        <a:pt x="354768" y="439592"/>
                        <a:pt x="352015" y="442517"/>
                      </a:cubicBezTo>
                      <a:cubicBezTo>
                        <a:pt x="350501" y="444126"/>
                        <a:pt x="344129" y="444307"/>
                        <a:pt x="341995" y="444774"/>
                      </a:cubicBezTo>
                      <a:cubicBezTo>
                        <a:pt x="333404" y="446631"/>
                        <a:pt x="324593" y="450861"/>
                        <a:pt x="315839" y="452013"/>
                      </a:cubicBezTo>
                      <a:cubicBezTo>
                        <a:pt x="318430" y="455556"/>
                        <a:pt x="302114" y="461214"/>
                        <a:pt x="298742" y="460328"/>
                      </a:cubicBezTo>
                      <a:cubicBezTo>
                        <a:pt x="301695" y="456966"/>
                        <a:pt x="308343" y="456014"/>
                        <a:pt x="312172" y="453737"/>
                      </a:cubicBezTo>
                      <a:cubicBezTo>
                        <a:pt x="310286" y="452442"/>
                        <a:pt x="308010" y="451927"/>
                        <a:pt x="305733" y="453004"/>
                      </a:cubicBezTo>
                      <a:cubicBezTo>
                        <a:pt x="307534" y="452127"/>
                        <a:pt x="309315" y="450765"/>
                        <a:pt x="310972" y="449832"/>
                      </a:cubicBezTo>
                      <a:cubicBezTo>
                        <a:pt x="308105" y="448679"/>
                        <a:pt x="304457" y="449070"/>
                        <a:pt x="301657" y="450622"/>
                      </a:cubicBezTo>
                      <a:cubicBezTo>
                        <a:pt x="308448" y="449975"/>
                        <a:pt x="301390" y="456023"/>
                        <a:pt x="298790" y="456033"/>
                      </a:cubicBezTo>
                      <a:cubicBezTo>
                        <a:pt x="293237" y="456052"/>
                        <a:pt x="299847" y="446851"/>
                        <a:pt x="301962" y="444155"/>
                      </a:cubicBezTo>
                      <a:cubicBezTo>
                        <a:pt x="306429" y="438488"/>
                        <a:pt x="321821" y="430610"/>
                        <a:pt x="329241" y="433792"/>
                      </a:cubicBezTo>
                      <a:cubicBezTo>
                        <a:pt x="327555" y="435897"/>
                        <a:pt x="323745" y="441488"/>
                        <a:pt x="325917" y="444050"/>
                      </a:cubicBezTo>
                      <a:cubicBezTo>
                        <a:pt x="327003" y="440240"/>
                        <a:pt x="330470" y="436640"/>
                        <a:pt x="333575" y="434268"/>
                      </a:cubicBezTo>
                      <a:cubicBezTo>
                        <a:pt x="334337" y="433687"/>
                        <a:pt x="337699" y="433611"/>
                        <a:pt x="337804" y="433477"/>
                      </a:cubicBezTo>
                      <a:cubicBezTo>
                        <a:pt x="338585" y="432563"/>
                        <a:pt x="337347" y="430982"/>
                        <a:pt x="337528" y="430820"/>
                      </a:cubicBezTo>
                      <a:cubicBezTo>
                        <a:pt x="338861" y="429610"/>
                        <a:pt x="350406" y="421543"/>
                        <a:pt x="345024" y="430639"/>
                      </a:cubicBezTo>
                      <a:cubicBezTo>
                        <a:pt x="348196" y="429887"/>
                        <a:pt x="353330" y="429210"/>
                        <a:pt x="356025" y="427839"/>
                      </a:cubicBezTo>
                      <a:cubicBezTo>
                        <a:pt x="359921" y="425848"/>
                        <a:pt x="362750" y="419666"/>
                        <a:pt x="367198" y="425419"/>
                      </a:cubicBezTo>
                      <a:cubicBezTo>
                        <a:pt x="366046" y="426124"/>
                        <a:pt x="364741" y="427248"/>
                        <a:pt x="363464" y="427715"/>
                      </a:cubicBezTo>
                      <a:lnTo>
                        <a:pt x="363464" y="427715"/>
                      </a:lnTo>
                      <a:close/>
                      <a:moveTo>
                        <a:pt x="781402" y="442602"/>
                      </a:moveTo>
                      <a:cubicBezTo>
                        <a:pt x="776964" y="454251"/>
                        <a:pt x="769591" y="463376"/>
                        <a:pt x="760895" y="471777"/>
                      </a:cubicBezTo>
                      <a:cubicBezTo>
                        <a:pt x="747046" y="485160"/>
                        <a:pt x="754028" y="468939"/>
                        <a:pt x="762591" y="463786"/>
                      </a:cubicBezTo>
                      <a:cubicBezTo>
                        <a:pt x="760247" y="464872"/>
                        <a:pt x="758476" y="464424"/>
                        <a:pt x="757304" y="462329"/>
                      </a:cubicBezTo>
                      <a:cubicBezTo>
                        <a:pt x="758342" y="461557"/>
                        <a:pt x="759343" y="459776"/>
                        <a:pt x="760276" y="459214"/>
                      </a:cubicBezTo>
                      <a:cubicBezTo>
                        <a:pt x="759076" y="459595"/>
                        <a:pt x="757761" y="459604"/>
                        <a:pt x="756561" y="459966"/>
                      </a:cubicBezTo>
                      <a:cubicBezTo>
                        <a:pt x="756866" y="456099"/>
                        <a:pt x="763114" y="454623"/>
                        <a:pt x="765972" y="452261"/>
                      </a:cubicBezTo>
                      <a:cubicBezTo>
                        <a:pt x="762638" y="451280"/>
                        <a:pt x="765905" y="448622"/>
                        <a:pt x="766439" y="445822"/>
                      </a:cubicBezTo>
                      <a:cubicBezTo>
                        <a:pt x="760486" y="447574"/>
                        <a:pt x="756933" y="453004"/>
                        <a:pt x="750237" y="453375"/>
                      </a:cubicBezTo>
                      <a:cubicBezTo>
                        <a:pt x="753961" y="451384"/>
                        <a:pt x="754942" y="447603"/>
                        <a:pt x="758104" y="445231"/>
                      </a:cubicBezTo>
                      <a:cubicBezTo>
                        <a:pt x="760886" y="443145"/>
                        <a:pt x="764610" y="442936"/>
                        <a:pt x="767801" y="441393"/>
                      </a:cubicBezTo>
                      <a:cubicBezTo>
                        <a:pt x="773906" y="438440"/>
                        <a:pt x="778707" y="433725"/>
                        <a:pt x="781402" y="442602"/>
                      </a:cubicBezTo>
                      <a:lnTo>
                        <a:pt x="781402" y="442602"/>
                      </a:lnTo>
                      <a:close/>
                      <a:moveTo>
                        <a:pt x="784327" y="474483"/>
                      </a:moveTo>
                      <a:cubicBezTo>
                        <a:pt x="787860" y="475340"/>
                        <a:pt x="792594" y="473587"/>
                        <a:pt x="792547" y="477426"/>
                      </a:cubicBezTo>
                      <a:cubicBezTo>
                        <a:pt x="792518" y="479226"/>
                        <a:pt x="789556" y="481522"/>
                        <a:pt x="788241" y="482331"/>
                      </a:cubicBezTo>
                      <a:cubicBezTo>
                        <a:pt x="799233" y="486760"/>
                        <a:pt x="790985" y="493380"/>
                        <a:pt x="792604" y="501524"/>
                      </a:cubicBezTo>
                      <a:cubicBezTo>
                        <a:pt x="790937" y="501029"/>
                        <a:pt x="788546" y="498057"/>
                        <a:pt x="787375" y="498009"/>
                      </a:cubicBezTo>
                      <a:cubicBezTo>
                        <a:pt x="786194" y="497971"/>
                        <a:pt x="782374" y="501229"/>
                        <a:pt x="781050" y="501762"/>
                      </a:cubicBezTo>
                      <a:cubicBezTo>
                        <a:pt x="788118" y="500276"/>
                        <a:pt x="790994" y="506591"/>
                        <a:pt x="784089" y="509592"/>
                      </a:cubicBezTo>
                      <a:cubicBezTo>
                        <a:pt x="785632" y="509296"/>
                        <a:pt x="787603" y="509735"/>
                        <a:pt x="789261" y="509392"/>
                      </a:cubicBezTo>
                      <a:cubicBezTo>
                        <a:pt x="787298" y="513125"/>
                        <a:pt x="780726" y="520365"/>
                        <a:pt x="776764" y="523136"/>
                      </a:cubicBezTo>
                      <a:cubicBezTo>
                        <a:pt x="766105" y="530585"/>
                        <a:pt x="774611" y="518021"/>
                        <a:pt x="767486" y="518155"/>
                      </a:cubicBezTo>
                      <a:cubicBezTo>
                        <a:pt x="768363" y="516088"/>
                        <a:pt x="769706" y="514221"/>
                        <a:pt x="771163" y="512383"/>
                      </a:cubicBezTo>
                      <a:cubicBezTo>
                        <a:pt x="769334" y="512497"/>
                        <a:pt x="766677" y="516126"/>
                        <a:pt x="765277" y="515421"/>
                      </a:cubicBezTo>
                      <a:cubicBezTo>
                        <a:pt x="764991" y="515278"/>
                        <a:pt x="764715" y="507125"/>
                        <a:pt x="764953" y="506763"/>
                      </a:cubicBezTo>
                      <a:cubicBezTo>
                        <a:pt x="766001" y="505172"/>
                        <a:pt x="768639" y="505925"/>
                        <a:pt x="769744" y="504810"/>
                      </a:cubicBezTo>
                      <a:cubicBezTo>
                        <a:pt x="772144" y="502410"/>
                        <a:pt x="770163" y="499619"/>
                        <a:pt x="774630" y="498085"/>
                      </a:cubicBezTo>
                      <a:cubicBezTo>
                        <a:pt x="771877" y="497333"/>
                        <a:pt x="767448" y="499324"/>
                        <a:pt x="769363" y="494961"/>
                      </a:cubicBezTo>
                      <a:cubicBezTo>
                        <a:pt x="767363" y="495438"/>
                        <a:pt x="763743" y="495276"/>
                        <a:pt x="764562" y="492504"/>
                      </a:cubicBezTo>
                      <a:cubicBezTo>
                        <a:pt x="765248" y="490180"/>
                        <a:pt x="768506" y="491104"/>
                        <a:pt x="769858" y="490723"/>
                      </a:cubicBezTo>
                      <a:cubicBezTo>
                        <a:pt x="773192" y="489808"/>
                        <a:pt x="779678" y="490037"/>
                        <a:pt x="781336" y="484570"/>
                      </a:cubicBezTo>
                      <a:cubicBezTo>
                        <a:pt x="777107" y="483493"/>
                        <a:pt x="772058" y="487675"/>
                        <a:pt x="768563" y="486265"/>
                      </a:cubicBezTo>
                      <a:cubicBezTo>
                        <a:pt x="771363" y="483531"/>
                        <a:pt x="775802" y="483274"/>
                        <a:pt x="778850" y="480779"/>
                      </a:cubicBezTo>
                      <a:cubicBezTo>
                        <a:pt x="781002" y="479026"/>
                        <a:pt x="780983" y="475987"/>
                        <a:pt x="784327" y="474483"/>
                      </a:cubicBezTo>
                      <a:lnTo>
                        <a:pt x="784327" y="474483"/>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18" name="Freeform: Shape 517">
                  <a:extLst>
                    <a:ext uri="{FF2B5EF4-FFF2-40B4-BE49-F238E27FC236}">
                      <a16:creationId xmlns:a16="http://schemas.microsoft.com/office/drawing/2014/main" id="{4C92DED3-4689-444A-A288-734D75B1EA0A}"/>
                    </a:ext>
                  </a:extLst>
                </p:cNvPr>
                <p:cNvSpPr/>
                <p:nvPr/>
              </p:nvSpPr>
              <p:spPr>
                <a:xfrm>
                  <a:off x="2272493" y="2171258"/>
                  <a:ext cx="406212" cy="304616"/>
                </a:xfrm>
                <a:custGeom>
                  <a:avLst/>
                  <a:gdLst>
                    <a:gd name="connsiteX0" fmla="*/ 330508 w 406212"/>
                    <a:gd name="connsiteY0" fmla="*/ 125 h 304616"/>
                    <a:gd name="connsiteX1" fmla="*/ 350082 w 406212"/>
                    <a:gd name="connsiteY1" fmla="*/ 887 h 304616"/>
                    <a:gd name="connsiteX2" fmla="*/ 367732 w 406212"/>
                    <a:gd name="connsiteY2" fmla="*/ 11698 h 304616"/>
                    <a:gd name="connsiteX3" fmla="*/ 398307 w 406212"/>
                    <a:gd name="connsiteY3" fmla="*/ 23442 h 304616"/>
                    <a:gd name="connsiteX4" fmla="*/ 378266 w 406212"/>
                    <a:gd name="connsiteY4" fmla="*/ 41483 h 304616"/>
                    <a:gd name="connsiteX5" fmla="*/ 357588 w 406212"/>
                    <a:gd name="connsiteY5" fmla="*/ 60323 h 304616"/>
                    <a:gd name="connsiteX6" fmla="*/ 356854 w 406212"/>
                    <a:gd name="connsiteY6" fmla="*/ 65962 h 304616"/>
                    <a:gd name="connsiteX7" fmla="*/ 352006 w 406212"/>
                    <a:gd name="connsiteY7" fmla="*/ 71325 h 304616"/>
                    <a:gd name="connsiteX8" fmla="*/ 338966 w 406212"/>
                    <a:gd name="connsiteY8" fmla="*/ 82669 h 304616"/>
                    <a:gd name="connsiteX9" fmla="*/ 384896 w 406212"/>
                    <a:gd name="connsiteY9" fmla="*/ 83002 h 304616"/>
                    <a:gd name="connsiteX10" fmla="*/ 383905 w 406212"/>
                    <a:gd name="connsiteY10" fmla="*/ 89384 h 304616"/>
                    <a:gd name="connsiteX11" fmla="*/ 379543 w 406212"/>
                    <a:gd name="connsiteY11" fmla="*/ 95118 h 304616"/>
                    <a:gd name="connsiteX12" fmla="*/ 367074 w 406212"/>
                    <a:gd name="connsiteY12" fmla="*/ 105062 h 304616"/>
                    <a:gd name="connsiteX13" fmla="*/ 370989 w 406212"/>
                    <a:gd name="connsiteY13" fmla="*/ 105672 h 304616"/>
                    <a:gd name="connsiteX14" fmla="*/ 359712 w 406212"/>
                    <a:gd name="connsiteY14" fmla="*/ 115444 h 304616"/>
                    <a:gd name="connsiteX15" fmla="*/ 376666 w 406212"/>
                    <a:gd name="connsiteY15" fmla="*/ 113749 h 304616"/>
                    <a:gd name="connsiteX16" fmla="*/ 372704 w 406212"/>
                    <a:gd name="connsiteY16" fmla="*/ 117273 h 304616"/>
                    <a:gd name="connsiteX17" fmla="*/ 388058 w 406212"/>
                    <a:gd name="connsiteY17" fmla="*/ 114854 h 304616"/>
                    <a:gd name="connsiteX18" fmla="*/ 379657 w 406212"/>
                    <a:gd name="connsiteY18" fmla="*/ 120331 h 304616"/>
                    <a:gd name="connsiteX19" fmla="*/ 380162 w 406212"/>
                    <a:gd name="connsiteY19" fmla="*/ 124988 h 304616"/>
                    <a:gd name="connsiteX20" fmla="*/ 375704 w 406212"/>
                    <a:gd name="connsiteY20" fmla="*/ 128970 h 304616"/>
                    <a:gd name="connsiteX21" fmla="*/ 352358 w 406212"/>
                    <a:gd name="connsiteY21" fmla="*/ 140695 h 304616"/>
                    <a:gd name="connsiteX22" fmla="*/ 356987 w 406212"/>
                    <a:gd name="connsiteY22" fmla="*/ 140790 h 304616"/>
                    <a:gd name="connsiteX23" fmla="*/ 355025 w 406212"/>
                    <a:gd name="connsiteY23" fmla="*/ 143172 h 304616"/>
                    <a:gd name="connsiteX24" fmla="*/ 357407 w 406212"/>
                    <a:gd name="connsiteY24" fmla="*/ 143772 h 304616"/>
                    <a:gd name="connsiteX25" fmla="*/ 343500 w 406212"/>
                    <a:gd name="connsiteY25" fmla="*/ 152620 h 304616"/>
                    <a:gd name="connsiteX26" fmla="*/ 353054 w 406212"/>
                    <a:gd name="connsiteY26" fmla="*/ 159964 h 304616"/>
                    <a:gd name="connsiteX27" fmla="*/ 347977 w 406212"/>
                    <a:gd name="connsiteY27" fmla="*/ 165422 h 304616"/>
                    <a:gd name="connsiteX28" fmla="*/ 362083 w 406212"/>
                    <a:gd name="connsiteY28" fmla="*/ 170413 h 304616"/>
                    <a:gd name="connsiteX29" fmla="*/ 358750 w 406212"/>
                    <a:gd name="connsiteY29" fmla="*/ 176385 h 304616"/>
                    <a:gd name="connsiteX30" fmla="*/ 366693 w 406212"/>
                    <a:gd name="connsiteY30" fmla="*/ 183681 h 304616"/>
                    <a:gd name="connsiteX31" fmla="*/ 359473 w 406212"/>
                    <a:gd name="connsiteY31" fmla="*/ 187520 h 304616"/>
                    <a:gd name="connsiteX32" fmla="*/ 363731 w 406212"/>
                    <a:gd name="connsiteY32" fmla="*/ 187234 h 304616"/>
                    <a:gd name="connsiteX33" fmla="*/ 363541 w 406212"/>
                    <a:gd name="connsiteY33" fmla="*/ 193264 h 304616"/>
                    <a:gd name="connsiteX34" fmla="*/ 349806 w 406212"/>
                    <a:gd name="connsiteY34" fmla="*/ 200417 h 304616"/>
                    <a:gd name="connsiteX35" fmla="*/ 350911 w 406212"/>
                    <a:gd name="connsiteY35" fmla="*/ 206237 h 304616"/>
                    <a:gd name="connsiteX36" fmla="*/ 354797 w 406212"/>
                    <a:gd name="connsiteY36" fmla="*/ 207275 h 304616"/>
                    <a:gd name="connsiteX37" fmla="*/ 343805 w 406212"/>
                    <a:gd name="connsiteY37" fmla="*/ 222620 h 304616"/>
                    <a:gd name="connsiteX38" fmla="*/ 346624 w 406212"/>
                    <a:gd name="connsiteY38" fmla="*/ 224810 h 304616"/>
                    <a:gd name="connsiteX39" fmla="*/ 344176 w 406212"/>
                    <a:gd name="connsiteY39" fmla="*/ 226268 h 304616"/>
                    <a:gd name="connsiteX40" fmla="*/ 340281 w 406212"/>
                    <a:gd name="connsiteY40" fmla="*/ 229659 h 304616"/>
                    <a:gd name="connsiteX41" fmla="*/ 334375 w 406212"/>
                    <a:gd name="connsiteY41" fmla="*/ 235802 h 304616"/>
                    <a:gd name="connsiteX42" fmla="*/ 341652 w 406212"/>
                    <a:gd name="connsiteY42" fmla="*/ 237422 h 304616"/>
                    <a:gd name="connsiteX43" fmla="*/ 347301 w 406212"/>
                    <a:gd name="connsiteY43" fmla="*/ 236926 h 304616"/>
                    <a:gd name="connsiteX44" fmla="*/ 350253 w 406212"/>
                    <a:gd name="connsiteY44" fmla="*/ 242403 h 304616"/>
                    <a:gd name="connsiteX45" fmla="*/ 351539 w 406212"/>
                    <a:gd name="connsiteY45" fmla="*/ 247032 h 304616"/>
                    <a:gd name="connsiteX46" fmla="*/ 352625 w 406212"/>
                    <a:gd name="connsiteY46" fmla="*/ 254157 h 304616"/>
                    <a:gd name="connsiteX47" fmla="*/ 360617 w 406212"/>
                    <a:gd name="connsiteY47" fmla="*/ 256395 h 304616"/>
                    <a:gd name="connsiteX48" fmla="*/ 351072 w 406212"/>
                    <a:gd name="connsiteY48" fmla="*/ 269892 h 304616"/>
                    <a:gd name="connsiteX49" fmla="*/ 353873 w 406212"/>
                    <a:gd name="connsiteY49" fmla="*/ 270111 h 304616"/>
                    <a:gd name="connsiteX50" fmla="*/ 347358 w 406212"/>
                    <a:gd name="connsiteY50" fmla="*/ 279370 h 304616"/>
                    <a:gd name="connsiteX51" fmla="*/ 367655 w 406212"/>
                    <a:gd name="connsiteY51" fmla="*/ 276417 h 304616"/>
                    <a:gd name="connsiteX52" fmla="*/ 372780 w 406212"/>
                    <a:gd name="connsiteY52" fmla="*/ 275750 h 304616"/>
                    <a:gd name="connsiteX53" fmla="*/ 383410 w 406212"/>
                    <a:gd name="connsiteY53" fmla="*/ 278665 h 304616"/>
                    <a:gd name="connsiteX54" fmla="*/ 396469 w 406212"/>
                    <a:gd name="connsiteY54" fmla="*/ 276522 h 304616"/>
                    <a:gd name="connsiteX55" fmla="*/ 406213 w 406212"/>
                    <a:gd name="connsiteY55" fmla="*/ 273607 h 304616"/>
                    <a:gd name="connsiteX56" fmla="*/ 396735 w 406212"/>
                    <a:gd name="connsiteY56" fmla="*/ 288056 h 304616"/>
                    <a:gd name="connsiteX57" fmla="*/ 399736 w 406212"/>
                    <a:gd name="connsiteY57" fmla="*/ 288714 h 304616"/>
                    <a:gd name="connsiteX58" fmla="*/ 392687 w 406212"/>
                    <a:gd name="connsiteY58" fmla="*/ 302172 h 304616"/>
                    <a:gd name="connsiteX59" fmla="*/ 395878 w 406212"/>
                    <a:gd name="connsiteY59" fmla="*/ 303592 h 304616"/>
                    <a:gd name="connsiteX60" fmla="*/ 102175 w 406212"/>
                    <a:gd name="connsiteY60" fmla="*/ 303592 h 304616"/>
                    <a:gd name="connsiteX61" fmla="*/ 58588 w 406212"/>
                    <a:gd name="connsiteY61" fmla="*/ 303592 h 304616"/>
                    <a:gd name="connsiteX62" fmla="*/ 36805 w 406212"/>
                    <a:gd name="connsiteY62" fmla="*/ 303592 h 304616"/>
                    <a:gd name="connsiteX63" fmla="*/ 46730 w 406212"/>
                    <a:gd name="connsiteY63" fmla="*/ 292809 h 304616"/>
                    <a:gd name="connsiteX64" fmla="*/ 35928 w 406212"/>
                    <a:gd name="connsiteY64" fmla="*/ 293162 h 304616"/>
                    <a:gd name="connsiteX65" fmla="*/ 22184 w 406212"/>
                    <a:gd name="connsiteY65" fmla="*/ 297134 h 304616"/>
                    <a:gd name="connsiteX66" fmla="*/ 12344 w 406212"/>
                    <a:gd name="connsiteY66" fmla="*/ 294514 h 304616"/>
                    <a:gd name="connsiteX67" fmla="*/ 6372 w 406212"/>
                    <a:gd name="connsiteY67" fmla="*/ 296105 h 304616"/>
                    <a:gd name="connsiteX68" fmla="*/ 0 w 406212"/>
                    <a:gd name="connsiteY68" fmla="*/ 294171 h 304616"/>
                    <a:gd name="connsiteX69" fmla="*/ 126063 w 406212"/>
                    <a:gd name="connsiteY69" fmla="*/ 178271 h 304616"/>
                    <a:gd name="connsiteX70" fmla="*/ 254660 w 406212"/>
                    <a:gd name="connsiteY70" fmla="*/ 63657 h 304616"/>
                    <a:gd name="connsiteX71" fmla="*/ 293780 w 406212"/>
                    <a:gd name="connsiteY71" fmla="*/ 29405 h 304616"/>
                    <a:gd name="connsiteX72" fmla="*/ 330508 w 406212"/>
                    <a:gd name="connsiteY72" fmla="*/ 125 h 304616"/>
                    <a:gd name="connsiteX73" fmla="*/ 330508 w 406212"/>
                    <a:gd name="connsiteY73" fmla="*/ 125 h 304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06212" h="304616">
                      <a:moveTo>
                        <a:pt x="330508" y="125"/>
                      </a:moveTo>
                      <a:cubicBezTo>
                        <a:pt x="337071" y="925"/>
                        <a:pt x="343662" y="87"/>
                        <a:pt x="350082" y="887"/>
                      </a:cubicBezTo>
                      <a:cubicBezTo>
                        <a:pt x="360293" y="2164"/>
                        <a:pt x="361407" y="5516"/>
                        <a:pt x="367732" y="11698"/>
                      </a:cubicBezTo>
                      <a:cubicBezTo>
                        <a:pt x="375295" y="19099"/>
                        <a:pt x="387401" y="24090"/>
                        <a:pt x="398307" y="23442"/>
                      </a:cubicBezTo>
                      <a:cubicBezTo>
                        <a:pt x="391620" y="29443"/>
                        <a:pt x="384943" y="35453"/>
                        <a:pt x="378266" y="41483"/>
                      </a:cubicBezTo>
                      <a:cubicBezTo>
                        <a:pt x="372608" y="46598"/>
                        <a:pt x="361274" y="53703"/>
                        <a:pt x="357588" y="60323"/>
                      </a:cubicBezTo>
                      <a:cubicBezTo>
                        <a:pt x="356178" y="62866"/>
                        <a:pt x="358226" y="63324"/>
                        <a:pt x="356854" y="65962"/>
                      </a:cubicBezTo>
                      <a:cubicBezTo>
                        <a:pt x="356016" y="67572"/>
                        <a:pt x="353378" y="69972"/>
                        <a:pt x="352006" y="71325"/>
                      </a:cubicBezTo>
                      <a:cubicBezTo>
                        <a:pt x="348005" y="75258"/>
                        <a:pt x="341500" y="77449"/>
                        <a:pt x="338966" y="82669"/>
                      </a:cubicBezTo>
                      <a:cubicBezTo>
                        <a:pt x="353092" y="85431"/>
                        <a:pt x="370380" y="83002"/>
                        <a:pt x="384896" y="83002"/>
                      </a:cubicBezTo>
                      <a:cubicBezTo>
                        <a:pt x="383076" y="85631"/>
                        <a:pt x="385286" y="86479"/>
                        <a:pt x="383905" y="89384"/>
                      </a:cubicBezTo>
                      <a:cubicBezTo>
                        <a:pt x="383429" y="90375"/>
                        <a:pt x="380048" y="94470"/>
                        <a:pt x="379543" y="95118"/>
                      </a:cubicBezTo>
                      <a:cubicBezTo>
                        <a:pt x="376114" y="99490"/>
                        <a:pt x="371284" y="100823"/>
                        <a:pt x="367074" y="105062"/>
                      </a:cubicBezTo>
                      <a:cubicBezTo>
                        <a:pt x="368465" y="104900"/>
                        <a:pt x="369875" y="105624"/>
                        <a:pt x="370989" y="105672"/>
                      </a:cubicBezTo>
                      <a:cubicBezTo>
                        <a:pt x="367722" y="110053"/>
                        <a:pt x="362417" y="110710"/>
                        <a:pt x="359712" y="115444"/>
                      </a:cubicBezTo>
                      <a:cubicBezTo>
                        <a:pt x="364560" y="117426"/>
                        <a:pt x="371342" y="113777"/>
                        <a:pt x="376666" y="113749"/>
                      </a:cubicBezTo>
                      <a:cubicBezTo>
                        <a:pt x="375647" y="114501"/>
                        <a:pt x="373875" y="116549"/>
                        <a:pt x="372704" y="117273"/>
                      </a:cubicBezTo>
                      <a:cubicBezTo>
                        <a:pt x="378771" y="117216"/>
                        <a:pt x="382172" y="113644"/>
                        <a:pt x="388058" y="114854"/>
                      </a:cubicBezTo>
                      <a:cubicBezTo>
                        <a:pt x="386229" y="117645"/>
                        <a:pt x="380971" y="117616"/>
                        <a:pt x="379657" y="120331"/>
                      </a:cubicBezTo>
                      <a:cubicBezTo>
                        <a:pt x="379247" y="121178"/>
                        <a:pt x="380886" y="123474"/>
                        <a:pt x="380162" y="124988"/>
                      </a:cubicBezTo>
                      <a:cubicBezTo>
                        <a:pt x="378876" y="127665"/>
                        <a:pt x="378190" y="127074"/>
                        <a:pt x="375704" y="128970"/>
                      </a:cubicBezTo>
                      <a:cubicBezTo>
                        <a:pt x="369684" y="133551"/>
                        <a:pt x="356578" y="135056"/>
                        <a:pt x="352358" y="140695"/>
                      </a:cubicBezTo>
                      <a:cubicBezTo>
                        <a:pt x="353711" y="140400"/>
                        <a:pt x="355987" y="140905"/>
                        <a:pt x="356987" y="140790"/>
                      </a:cubicBezTo>
                      <a:cubicBezTo>
                        <a:pt x="356130" y="141514"/>
                        <a:pt x="355597" y="142533"/>
                        <a:pt x="355025" y="143172"/>
                      </a:cubicBezTo>
                      <a:cubicBezTo>
                        <a:pt x="355816" y="143372"/>
                        <a:pt x="356616" y="143572"/>
                        <a:pt x="357407" y="143772"/>
                      </a:cubicBezTo>
                      <a:cubicBezTo>
                        <a:pt x="354806" y="147610"/>
                        <a:pt x="347043" y="149049"/>
                        <a:pt x="343500" y="152620"/>
                      </a:cubicBezTo>
                      <a:cubicBezTo>
                        <a:pt x="347796" y="152801"/>
                        <a:pt x="353120" y="155497"/>
                        <a:pt x="353054" y="159964"/>
                      </a:cubicBezTo>
                      <a:cubicBezTo>
                        <a:pt x="353016" y="162517"/>
                        <a:pt x="351234" y="162622"/>
                        <a:pt x="347977" y="165422"/>
                      </a:cubicBezTo>
                      <a:cubicBezTo>
                        <a:pt x="354787" y="166765"/>
                        <a:pt x="366713" y="158888"/>
                        <a:pt x="362083" y="170413"/>
                      </a:cubicBezTo>
                      <a:cubicBezTo>
                        <a:pt x="361017" y="173080"/>
                        <a:pt x="358645" y="173356"/>
                        <a:pt x="358750" y="176385"/>
                      </a:cubicBezTo>
                      <a:cubicBezTo>
                        <a:pt x="358854" y="178986"/>
                        <a:pt x="363274" y="183777"/>
                        <a:pt x="366693" y="183681"/>
                      </a:cubicBezTo>
                      <a:cubicBezTo>
                        <a:pt x="364979" y="185853"/>
                        <a:pt x="361426" y="185339"/>
                        <a:pt x="359473" y="187520"/>
                      </a:cubicBezTo>
                      <a:cubicBezTo>
                        <a:pt x="360483" y="187206"/>
                        <a:pt x="362541" y="187482"/>
                        <a:pt x="363731" y="187234"/>
                      </a:cubicBezTo>
                      <a:cubicBezTo>
                        <a:pt x="363569" y="189292"/>
                        <a:pt x="364988" y="190920"/>
                        <a:pt x="363541" y="193264"/>
                      </a:cubicBezTo>
                      <a:cubicBezTo>
                        <a:pt x="360921" y="197493"/>
                        <a:pt x="353530" y="197826"/>
                        <a:pt x="349806" y="200417"/>
                      </a:cubicBezTo>
                      <a:cubicBezTo>
                        <a:pt x="352092" y="201769"/>
                        <a:pt x="352625" y="203884"/>
                        <a:pt x="350911" y="206237"/>
                      </a:cubicBezTo>
                      <a:cubicBezTo>
                        <a:pt x="352073" y="206351"/>
                        <a:pt x="353825" y="207303"/>
                        <a:pt x="354797" y="207275"/>
                      </a:cubicBezTo>
                      <a:cubicBezTo>
                        <a:pt x="347234" y="212790"/>
                        <a:pt x="343767" y="215038"/>
                        <a:pt x="343805" y="222620"/>
                      </a:cubicBezTo>
                      <a:cubicBezTo>
                        <a:pt x="343805" y="223467"/>
                        <a:pt x="346939" y="223677"/>
                        <a:pt x="346624" y="224810"/>
                      </a:cubicBezTo>
                      <a:cubicBezTo>
                        <a:pt x="346291" y="226039"/>
                        <a:pt x="344624" y="225449"/>
                        <a:pt x="344176" y="226268"/>
                      </a:cubicBezTo>
                      <a:cubicBezTo>
                        <a:pt x="343805" y="226944"/>
                        <a:pt x="340976" y="229020"/>
                        <a:pt x="340281" y="229659"/>
                      </a:cubicBezTo>
                      <a:cubicBezTo>
                        <a:pt x="338157" y="231621"/>
                        <a:pt x="336737" y="234192"/>
                        <a:pt x="334375" y="235802"/>
                      </a:cubicBezTo>
                      <a:cubicBezTo>
                        <a:pt x="336185" y="236650"/>
                        <a:pt x="340290" y="237364"/>
                        <a:pt x="341652" y="237422"/>
                      </a:cubicBezTo>
                      <a:cubicBezTo>
                        <a:pt x="340738" y="237383"/>
                        <a:pt x="347205" y="236888"/>
                        <a:pt x="347301" y="236926"/>
                      </a:cubicBezTo>
                      <a:cubicBezTo>
                        <a:pt x="350730" y="238174"/>
                        <a:pt x="349358" y="238955"/>
                        <a:pt x="350253" y="242403"/>
                      </a:cubicBezTo>
                      <a:cubicBezTo>
                        <a:pt x="350691" y="244098"/>
                        <a:pt x="351368" y="245365"/>
                        <a:pt x="351539" y="247032"/>
                      </a:cubicBezTo>
                      <a:cubicBezTo>
                        <a:pt x="351834" y="249890"/>
                        <a:pt x="349434" y="251185"/>
                        <a:pt x="352625" y="254157"/>
                      </a:cubicBezTo>
                      <a:cubicBezTo>
                        <a:pt x="354473" y="255890"/>
                        <a:pt x="359416" y="254890"/>
                        <a:pt x="360617" y="256395"/>
                      </a:cubicBezTo>
                      <a:cubicBezTo>
                        <a:pt x="364055" y="260739"/>
                        <a:pt x="354349" y="268225"/>
                        <a:pt x="351072" y="269892"/>
                      </a:cubicBezTo>
                      <a:cubicBezTo>
                        <a:pt x="351244" y="269883"/>
                        <a:pt x="353111" y="270149"/>
                        <a:pt x="353873" y="270111"/>
                      </a:cubicBezTo>
                      <a:cubicBezTo>
                        <a:pt x="352492" y="273550"/>
                        <a:pt x="348720" y="275912"/>
                        <a:pt x="347358" y="279370"/>
                      </a:cubicBezTo>
                      <a:cubicBezTo>
                        <a:pt x="354721" y="280132"/>
                        <a:pt x="361150" y="276531"/>
                        <a:pt x="367655" y="276417"/>
                      </a:cubicBezTo>
                      <a:cubicBezTo>
                        <a:pt x="367151" y="280436"/>
                        <a:pt x="370456" y="275741"/>
                        <a:pt x="372780" y="275750"/>
                      </a:cubicBezTo>
                      <a:cubicBezTo>
                        <a:pt x="376190" y="275760"/>
                        <a:pt x="379514" y="278750"/>
                        <a:pt x="383410" y="278665"/>
                      </a:cubicBezTo>
                      <a:cubicBezTo>
                        <a:pt x="386591" y="278598"/>
                        <a:pt x="393487" y="277379"/>
                        <a:pt x="396469" y="276522"/>
                      </a:cubicBezTo>
                      <a:cubicBezTo>
                        <a:pt x="400764" y="275293"/>
                        <a:pt x="400536" y="271950"/>
                        <a:pt x="406213" y="273607"/>
                      </a:cubicBezTo>
                      <a:cubicBezTo>
                        <a:pt x="403927" y="281160"/>
                        <a:pt x="397250" y="279598"/>
                        <a:pt x="396735" y="288056"/>
                      </a:cubicBezTo>
                      <a:cubicBezTo>
                        <a:pt x="397735" y="288275"/>
                        <a:pt x="398736" y="288495"/>
                        <a:pt x="399736" y="288714"/>
                      </a:cubicBezTo>
                      <a:cubicBezTo>
                        <a:pt x="396878" y="292486"/>
                        <a:pt x="396716" y="299858"/>
                        <a:pt x="392687" y="302172"/>
                      </a:cubicBezTo>
                      <a:cubicBezTo>
                        <a:pt x="394316" y="302420"/>
                        <a:pt x="395392" y="303439"/>
                        <a:pt x="395878" y="303592"/>
                      </a:cubicBezTo>
                      <a:cubicBezTo>
                        <a:pt x="297980" y="303592"/>
                        <a:pt x="200073" y="303554"/>
                        <a:pt x="102175" y="303592"/>
                      </a:cubicBezTo>
                      <a:cubicBezTo>
                        <a:pt x="87649" y="303601"/>
                        <a:pt x="73123" y="303592"/>
                        <a:pt x="58588" y="303592"/>
                      </a:cubicBezTo>
                      <a:cubicBezTo>
                        <a:pt x="54578" y="303592"/>
                        <a:pt x="39795" y="305897"/>
                        <a:pt x="36805" y="303592"/>
                      </a:cubicBezTo>
                      <a:cubicBezTo>
                        <a:pt x="33118" y="300763"/>
                        <a:pt x="44139" y="295381"/>
                        <a:pt x="46730" y="292809"/>
                      </a:cubicBezTo>
                      <a:cubicBezTo>
                        <a:pt x="43158" y="292924"/>
                        <a:pt x="39481" y="292781"/>
                        <a:pt x="35928" y="293162"/>
                      </a:cubicBezTo>
                      <a:cubicBezTo>
                        <a:pt x="31204" y="293667"/>
                        <a:pt x="26718" y="296829"/>
                        <a:pt x="22184" y="297134"/>
                      </a:cubicBezTo>
                      <a:cubicBezTo>
                        <a:pt x="18517" y="297381"/>
                        <a:pt x="15850" y="294733"/>
                        <a:pt x="12344" y="294514"/>
                      </a:cubicBezTo>
                      <a:cubicBezTo>
                        <a:pt x="10620" y="294410"/>
                        <a:pt x="8506" y="296162"/>
                        <a:pt x="6372" y="296105"/>
                      </a:cubicBezTo>
                      <a:cubicBezTo>
                        <a:pt x="4439" y="296048"/>
                        <a:pt x="1819" y="294724"/>
                        <a:pt x="0" y="294171"/>
                      </a:cubicBezTo>
                      <a:cubicBezTo>
                        <a:pt x="41710" y="255195"/>
                        <a:pt x="83734" y="216562"/>
                        <a:pt x="126063" y="178271"/>
                      </a:cubicBezTo>
                      <a:cubicBezTo>
                        <a:pt x="168650" y="139752"/>
                        <a:pt x="211541" y="101566"/>
                        <a:pt x="254660" y="63657"/>
                      </a:cubicBezTo>
                      <a:cubicBezTo>
                        <a:pt x="267681" y="52217"/>
                        <a:pt x="280721" y="40806"/>
                        <a:pt x="293780" y="29405"/>
                      </a:cubicBezTo>
                      <a:cubicBezTo>
                        <a:pt x="299752" y="24233"/>
                        <a:pt x="323488" y="-2028"/>
                        <a:pt x="330508" y="125"/>
                      </a:cubicBezTo>
                      <a:lnTo>
                        <a:pt x="330508" y="125"/>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19" name="Freeform: Shape 518">
                  <a:extLst>
                    <a:ext uri="{FF2B5EF4-FFF2-40B4-BE49-F238E27FC236}">
                      <a16:creationId xmlns:a16="http://schemas.microsoft.com/office/drawing/2014/main" id="{96FE6DE9-C321-4DA1-A84F-1D75C7D0386D}"/>
                    </a:ext>
                  </a:extLst>
                </p:cNvPr>
                <p:cNvSpPr/>
                <p:nvPr/>
              </p:nvSpPr>
              <p:spPr>
                <a:xfrm>
                  <a:off x="2724320" y="2474855"/>
                  <a:ext cx="459495" cy="348000"/>
                </a:xfrm>
                <a:custGeom>
                  <a:avLst/>
                  <a:gdLst>
                    <a:gd name="connsiteX0" fmla="*/ 2734 w 459495"/>
                    <a:gd name="connsiteY0" fmla="*/ 346752 h 348000"/>
                    <a:gd name="connsiteX1" fmla="*/ 0 w 459495"/>
                    <a:gd name="connsiteY1" fmla="*/ 346752 h 348000"/>
                    <a:gd name="connsiteX2" fmla="*/ 147685 w 459495"/>
                    <a:gd name="connsiteY2" fmla="*/ 151633 h 348000"/>
                    <a:gd name="connsiteX3" fmla="*/ 225743 w 459495"/>
                    <a:gd name="connsiteY3" fmla="*/ 54401 h 348000"/>
                    <a:gd name="connsiteX4" fmla="*/ 264309 w 459495"/>
                    <a:gd name="connsiteY4" fmla="*/ 7424 h 348000"/>
                    <a:gd name="connsiteX5" fmla="*/ 277635 w 459495"/>
                    <a:gd name="connsiteY5" fmla="*/ 14 h 348000"/>
                    <a:gd name="connsiteX6" fmla="*/ 293522 w 459495"/>
                    <a:gd name="connsiteY6" fmla="*/ 4 h 348000"/>
                    <a:gd name="connsiteX7" fmla="*/ 322526 w 459495"/>
                    <a:gd name="connsiteY7" fmla="*/ 4 h 348000"/>
                    <a:gd name="connsiteX8" fmla="*/ 459496 w 459495"/>
                    <a:gd name="connsiteY8" fmla="*/ 4 h 348000"/>
                    <a:gd name="connsiteX9" fmla="*/ 311277 w 459495"/>
                    <a:gd name="connsiteY9" fmla="*/ 206801 h 348000"/>
                    <a:gd name="connsiteX10" fmla="*/ 241497 w 459495"/>
                    <a:gd name="connsiteY10" fmla="*/ 319358 h 348000"/>
                    <a:gd name="connsiteX11" fmla="*/ 225200 w 459495"/>
                    <a:gd name="connsiteY11" fmla="*/ 346552 h 348000"/>
                    <a:gd name="connsiteX12" fmla="*/ 196139 w 459495"/>
                    <a:gd name="connsiteY12" fmla="*/ 346743 h 348000"/>
                    <a:gd name="connsiteX13" fmla="*/ 136074 w 459495"/>
                    <a:gd name="connsiteY13" fmla="*/ 346743 h 348000"/>
                    <a:gd name="connsiteX14" fmla="*/ 2734 w 459495"/>
                    <a:gd name="connsiteY14" fmla="*/ 346752 h 348000"/>
                    <a:gd name="connsiteX15" fmla="*/ 2734 w 459495"/>
                    <a:gd name="connsiteY15" fmla="*/ 346752 h 3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9495" h="348000">
                      <a:moveTo>
                        <a:pt x="2734" y="346752"/>
                      </a:moveTo>
                      <a:cubicBezTo>
                        <a:pt x="1819" y="346752"/>
                        <a:pt x="914" y="346752"/>
                        <a:pt x="0" y="346752"/>
                      </a:cubicBezTo>
                      <a:cubicBezTo>
                        <a:pt x="47911" y="280735"/>
                        <a:pt x="97136" y="215641"/>
                        <a:pt x="147685" y="151633"/>
                      </a:cubicBezTo>
                      <a:cubicBezTo>
                        <a:pt x="173450" y="119010"/>
                        <a:pt x="199539" y="86663"/>
                        <a:pt x="225743" y="54401"/>
                      </a:cubicBezTo>
                      <a:cubicBezTo>
                        <a:pt x="238516" y="38676"/>
                        <a:pt x="251365" y="22950"/>
                        <a:pt x="264309" y="7424"/>
                      </a:cubicBezTo>
                      <a:cubicBezTo>
                        <a:pt x="269519" y="1176"/>
                        <a:pt x="269691" y="-15"/>
                        <a:pt x="277635" y="14"/>
                      </a:cubicBezTo>
                      <a:cubicBezTo>
                        <a:pt x="282931" y="33"/>
                        <a:pt x="288227" y="4"/>
                        <a:pt x="293522" y="4"/>
                      </a:cubicBezTo>
                      <a:cubicBezTo>
                        <a:pt x="303190" y="4"/>
                        <a:pt x="312858" y="4"/>
                        <a:pt x="322526" y="4"/>
                      </a:cubicBezTo>
                      <a:cubicBezTo>
                        <a:pt x="368179" y="-5"/>
                        <a:pt x="413833" y="4"/>
                        <a:pt x="459496" y="4"/>
                      </a:cubicBezTo>
                      <a:cubicBezTo>
                        <a:pt x="407661" y="67498"/>
                        <a:pt x="357197" y="135135"/>
                        <a:pt x="311277" y="206801"/>
                      </a:cubicBezTo>
                      <a:cubicBezTo>
                        <a:pt x="287455" y="243978"/>
                        <a:pt x="264014" y="281430"/>
                        <a:pt x="241497" y="319358"/>
                      </a:cubicBezTo>
                      <a:cubicBezTo>
                        <a:pt x="238306" y="324740"/>
                        <a:pt x="230619" y="343714"/>
                        <a:pt x="225200" y="346552"/>
                      </a:cubicBezTo>
                      <a:cubicBezTo>
                        <a:pt x="219208" y="349696"/>
                        <a:pt x="203283" y="346743"/>
                        <a:pt x="196139" y="346743"/>
                      </a:cubicBezTo>
                      <a:cubicBezTo>
                        <a:pt x="176117" y="346743"/>
                        <a:pt x="156096" y="346743"/>
                        <a:pt x="136074" y="346743"/>
                      </a:cubicBezTo>
                      <a:cubicBezTo>
                        <a:pt x="91688" y="346743"/>
                        <a:pt x="47244" y="346733"/>
                        <a:pt x="2734" y="346752"/>
                      </a:cubicBezTo>
                      <a:lnTo>
                        <a:pt x="2734" y="346752"/>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20" name="Freeform: Shape 519">
                  <a:extLst>
                    <a:ext uri="{FF2B5EF4-FFF2-40B4-BE49-F238E27FC236}">
                      <a16:creationId xmlns:a16="http://schemas.microsoft.com/office/drawing/2014/main" id="{DD77CE24-0BC2-4815-B8BE-B37FE743FF33}"/>
                    </a:ext>
                  </a:extLst>
                </p:cNvPr>
                <p:cNvSpPr/>
                <p:nvPr/>
              </p:nvSpPr>
              <p:spPr>
                <a:xfrm>
                  <a:off x="3491600" y="2394417"/>
                  <a:ext cx="648963" cy="553694"/>
                </a:xfrm>
                <a:custGeom>
                  <a:avLst/>
                  <a:gdLst>
                    <a:gd name="connsiteX0" fmla="*/ 31439 w 648963"/>
                    <a:gd name="connsiteY0" fmla="*/ 515591 h 553694"/>
                    <a:gd name="connsiteX1" fmla="*/ 7932 w 648963"/>
                    <a:gd name="connsiteY1" fmla="*/ 510029 h 553694"/>
                    <a:gd name="connsiteX2" fmla="*/ 159 w 648963"/>
                    <a:gd name="connsiteY2" fmla="*/ 490255 h 553694"/>
                    <a:gd name="connsiteX3" fmla="*/ 15542 w 648963"/>
                    <a:gd name="connsiteY3" fmla="*/ 450926 h 553694"/>
                    <a:gd name="connsiteX4" fmla="*/ 59986 w 648963"/>
                    <a:gd name="connsiteY4" fmla="*/ 366544 h 553694"/>
                    <a:gd name="connsiteX5" fmla="*/ 61757 w 648963"/>
                    <a:gd name="connsiteY5" fmla="*/ 371459 h 553694"/>
                    <a:gd name="connsiteX6" fmla="*/ 61091 w 648963"/>
                    <a:gd name="connsiteY6" fmla="*/ 364449 h 553694"/>
                    <a:gd name="connsiteX7" fmla="*/ 65872 w 648963"/>
                    <a:gd name="connsiteY7" fmla="*/ 355590 h 553694"/>
                    <a:gd name="connsiteX8" fmla="*/ 77674 w 648963"/>
                    <a:gd name="connsiteY8" fmla="*/ 344351 h 553694"/>
                    <a:gd name="connsiteX9" fmla="*/ 81512 w 648963"/>
                    <a:gd name="connsiteY9" fmla="*/ 349361 h 553694"/>
                    <a:gd name="connsiteX10" fmla="*/ 80560 w 648963"/>
                    <a:gd name="connsiteY10" fmla="*/ 357667 h 553694"/>
                    <a:gd name="connsiteX11" fmla="*/ 89980 w 648963"/>
                    <a:gd name="connsiteY11" fmla="*/ 348304 h 553694"/>
                    <a:gd name="connsiteX12" fmla="*/ 88751 w 648963"/>
                    <a:gd name="connsiteY12" fmla="*/ 339388 h 553694"/>
                    <a:gd name="connsiteX13" fmla="*/ 110182 w 648963"/>
                    <a:gd name="connsiteY13" fmla="*/ 324244 h 553694"/>
                    <a:gd name="connsiteX14" fmla="*/ 110916 w 648963"/>
                    <a:gd name="connsiteY14" fmla="*/ 318443 h 553694"/>
                    <a:gd name="connsiteX15" fmla="*/ 109420 w 648963"/>
                    <a:gd name="connsiteY15" fmla="*/ 311833 h 553694"/>
                    <a:gd name="connsiteX16" fmla="*/ 113450 w 648963"/>
                    <a:gd name="connsiteY16" fmla="*/ 305498 h 553694"/>
                    <a:gd name="connsiteX17" fmla="*/ 112230 w 648963"/>
                    <a:gd name="connsiteY17" fmla="*/ 299603 h 553694"/>
                    <a:gd name="connsiteX18" fmla="*/ 124956 w 648963"/>
                    <a:gd name="connsiteY18" fmla="*/ 274504 h 553694"/>
                    <a:gd name="connsiteX19" fmla="*/ 122070 w 648963"/>
                    <a:gd name="connsiteY19" fmla="*/ 266360 h 553694"/>
                    <a:gd name="connsiteX20" fmla="*/ 125680 w 648963"/>
                    <a:gd name="connsiteY20" fmla="*/ 264150 h 553694"/>
                    <a:gd name="connsiteX21" fmla="*/ 120174 w 648963"/>
                    <a:gd name="connsiteY21" fmla="*/ 248844 h 553694"/>
                    <a:gd name="connsiteX22" fmla="*/ 146530 w 648963"/>
                    <a:gd name="connsiteY22" fmla="*/ 240795 h 553694"/>
                    <a:gd name="connsiteX23" fmla="*/ 174886 w 648963"/>
                    <a:gd name="connsiteY23" fmla="*/ 230822 h 553694"/>
                    <a:gd name="connsiteX24" fmla="*/ 222901 w 648963"/>
                    <a:gd name="connsiteY24" fmla="*/ 201657 h 553694"/>
                    <a:gd name="connsiteX25" fmla="*/ 244675 w 648963"/>
                    <a:gd name="connsiteY25" fmla="*/ 150260 h 553694"/>
                    <a:gd name="connsiteX26" fmla="*/ 229388 w 648963"/>
                    <a:gd name="connsiteY26" fmla="*/ 130934 h 553694"/>
                    <a:gd name="connsiteX27" fmla="*/ 228331 w 648963"/>
                    <a:gd name="connsiteY27" fmla="*/ 115313 h 553694"/>
                    <a:gd name="connsiteX28" fmla="*/ 253543 w 648963"/>
                    <a:gd name="connsiteY28" fmla="*/ 99520 h 553694"/>
                    <a:gd name="connsiteX29" fmla="*/ 252838 w 648963"/>
                    <a:gd name="connsiteY29" fmla="*/ 97006 h 553694"/>
                    <a:gd name="connsiteX30" fmla="*/ 257763 w 648963"/>
                    <a:gd name="connsiteY30" fmla="*/ 93681 h 553694"/>
                    <a:gd name="connsiteX31" fmla="*/ 266869 w 648963"/>
                    <a:gd name="connsiteY31" fmla="*/ 93748 h 553694"/>
                    <a:gd name="connsiteX32" fmla="*/ 276270 w 648963"/>
                    <a:gd name="connsiteY32" fmla="*/ 79146 h 553694"/>
                    <a:gd name="connsiteX33" fmla="*/ 270641 w 648963"/>
                    <a:gd name="connsiteY33" fmla="*/ 77708 h 553694"/>
                    <a:gd name="connsiteX34" fmla="*/ 274241 w 648963"/>
                    <a:gd name="connsiteY34" fmla="*/ 69069 h 553694"/>
                    <a:gd name="connsiteX35" fmla="*/ 281089 w 648963"/>
                    <a:gd name="connsiteY35" fmla="*/ 62744 h 553694"/>
                    <a:gd name="connsiteX36" fmla="*/ 283909 w 648963"/>
                    <a:gd name="connsiteY36" fmla="*/ 54486 h 553694"/>
                    <a:gd name="connsiteX37" fmla="*/ 270250 w 648963"/>
                    <a:gd name="connsiteY37" fmla="*/ 54677 h 553694"/>
                    <a:gd name="connsiteX38" fmla="*/ 286757 w 648963"/>
                    <a:gd name="connsiteY38" fmla="*/ 43637 h 553694"/>
                    <a:gd name="connsiteX39" fmla="*/ 299644 w 648963"/>
                    <a:gd name="connsiteY39" fmla="*/ 31464 h 553694"/>
                    <a:gd name="connsiteX40" fmla="*/ 307455 w 648963"/>
                    <a:gd name="connsiteY40" fmla="*/ 3937 h 553694"/>
                    <a:gd name="connsiteX41" fmla="*/ 331982 w 648963"/>
                    <a:gd name="connsiteY41" fmla="*/ 879 h 553694"/>
                    <a:gd name="connsiteX42" fmla="*/ 355127 w 648963"/>
                    <a:gd name="connsiteY42" fmla="*/ 9623 h 553694"/>
                    <a:gd name="connsiteX43" fmla="*/ 351003 w 648963"/>
                    <a:gd name="connsiteY43" fmla="*/ 11395 h 553694"/>
                    <a:gd name="connsiteX44" fmla="*/ 364567 w 648963"/>
                    <a:gd name="connsiteY44" fmla="*/ 7823 h 553694"/>
                    <a:gd name="connsiteX45" fmla="*/ 377397 w 648963"/>
                    <a:gd name="connsiteY45" fmla="*/ 13548 h 553694"/>
                    <a:gd name="connsiteX46" fmla="*/ 393723 w 648963"/>
                    <a:gd name="connsiteY46" fmla="*/ 6223 h 553694"/>
                    <a:gd name="connsiteX47" fmla="*/ 408315 w 648963"/>
                    <a:gd name="connsiteY47" fmla="*/ 5175 h 553694"/>
                    <a:gd name="connsiteX48" fmla="*/ 414344 w 648963"/>
                    <a:gd name="connsiteY48" fmla="*/ 10604 h 553694"/>
                    <a:gd name="connsiteX49" fmla="*/ 420907 w 648963"/>
                    <a:gd name="connsiteY49" fmla="*/ 13367 h 553694"/>
                    <a:gd name="connsiteX50" fmla="*/ 414935 w 648963"/>
                    <a:gd name="connsiteY50" fmla="*/ 22511 h 553694"/>
                    <a:gd name="connsiteX51" fmla="*/ 427717 w 648963"/>
                    <a:gd name="connsiteY51" fmla="*/ 23263 h 553694"/>
                    <a:gd name="connsiteX52" fmla="*/ 422926 w 648963"/>
                    <a:gd name="connsiteY52" fmla="*/ 30016 h 553694"/>
                    <a:gd name="connsiteX53" fmla="*/ 436814 w 648963"/>
                    <a:gd name="connsiteY53" fmla="*/ 29245 h 553694"/>
                    <a:gd name="connsiteX54" fmla="*/ 429241 w 648963"/>
                    <a:gd name="connsiteY54" fmla="*/ 35122 h 553694"/>
                    <a:gd name="connsiteX55" fmla="*/ 433642 w 648963"/>
                    <a:gd name="connsiteY55" fmla="*/ 35960 h 553694"/>
                    <a:gd name="connsiteX56" fmla="*/ 438957 w 648963"/>
                    <a:gd name="connsiteY56" fmla="*/ 44352 h 553694"/>
                    <a:gd name="connsiteX57" fmla="*/ 449025 w 648963"/>
                    <a:gd name="connsiteY57" fmla="*/ 47238 h 553694"/>
                    <a:gd name="connsiteX58" fmla="*/ 458359 w 648963"/>
                    <a:gd name="connsiteY58" fmla="*/ 46876 h 553694"/>
                    <a:gd name="connsiteX59" fmla="*/ 464712 w 648963"/>
                    <a:gd name="connsiteY59" fmla="*/ 53372 h 553694"/>
                    <a:gd name="connsiteX60" fmla="*/ 476819 w 648963"/>
                    <a:gd name="connsiteY60" fmla="*/ 47380 h 553694"/>
                    <a:gd name="connsiteX61" fmla="*/ 460169 w 648963"/>
                    <a:gd name="connsiteY61" fmla="*/ 69126 h 553694"/>
                    <a:gd name="connsiteX62" fmla="*/ 454530 w 648963"/>
                    <a:gd name="connsiteY62" fmla="*/ 79137 h 553694"/>
                    <a:gd name="connsiteX63" fmla="*/ 433213 w 648963"/>
                    <a:gd name="connsiteY63" fmla="*/ 79651 h 553694"/>
                    <a:gd name="connsiteX64" fmla="*/ 433337 w 648963"/>
                    <a:gd name="connsiteY64" fmla="*/ 80975 h 553694"/>
                    <a:gd name="connsiteX65" fmla="*/ 453921 w 648963"/>
                    <a:gd name="connsiteY65" fmla="*/ 85319 h 553694"/>
                    <a:gd name="connsiteX66" fmla="*/ 444872 w 648963"/>
                    <a:gd name="connsiteY66" fmla="*/ 101216 h 553694"/>
                    <a:gd name="connsiteX67" fmla="*/ 447387 w 648963"/>
                    <a:gd name="connsiteY67" fmla="*/ 106740 h 553694"/>
                    <a:gd name="connsiteX68" fmla="*/ 441090 w 648963"/>
                    <a:gd name="connsiteY68" fmla="*/ 115694 h 553694"/>
                    <a:gd name="connsiteX69" fmla="*/ 434575 w 648963"/>
                    <a:gd name="connsiteY69" fmla="*/ 114217 h 553694"/>
                    <a:gd name="connsiteX70" fmla="*/ 424022 w 648963"/>
                    <a:gd name="connsiteY70" fmla="*/ 119513 h 553694"/>
                    <a:gd name="connsiteX71" fmla="*/ 435528 w 648963"/>
                    <a:gd name="connsiteY71" fmla="*/ 120552 h 553694"/>
                    <a:gd name="connsiteX72" fmla="*/ 447796 w 648963"/>
                    <a:gd name="connsiteY72" fmla="*/ 115522 h 553694"/>
                    <a:gd name="connsiteX73" fmla="*/ 466027 w 648963"/>
                    <a:gd name="connsiteY73" fmla="*/ 119132 h 553694"/>
                    <a:gd name="connsiteX74" fmla="*/ 459474 w 648963"/>
                    <a:gd name="connsiteY74" fmla="*/ 136325 h 553694"/>
                    <a:gd name="connsiteX75" fmla="*/ 436804 w 648963"/>
                    <a:gd name="connsiteY75" fmla="*/ 146545 h 553694"/>
                    <a:gd name="connsiteX76" fmla="*/ 462465 w 648963"/>
                    <a:gd name="connsiteY76" fmla="*/ 134344 h 553694"/>
                    <a:gd name="connsiteX77" fmla="*/ 464112 w 648963"/>
                    <a:gd name="connsiteY77" fmla="*/ 139097 h 553694"/>
                    <a:gd name="connsiteX78" fmla="*/ 475723 w 648963"/>
                    <a:gd name="connsiteY78" fmla="*/ 130734 h 553694"/>
                    <a:gd name="connsiteX79" fmla="*/ 471056 w 648963"/>
                    <a:gd name="connsiteY79" fmla="*/ 143764 h 553694"/>
                    <a:gd name="connsiteX80" fmla="*/ 483057 w 648963"/>
                    <a:gd name="connsiteY80" fmla="*/ 134039 h 553694"/>
                    <a:gd name="connsiteX81" fmla="*/ 503708 w 648963"/>
                    <a:gd name="connsiteY81" fmla="*/ 127105 h 553694"/>
                    <a:gd name="connsiteX82" fmla="*/ 516376 w 648963"/>
                    <a:gd name="connsiteY82" fmla="*/ 118485 h 553694"/>
                    <a:gd name="connsiteX83" fmla="*/ 517862 w 648963"/>
                    <a:gd name="connsiteY83" fmla="*/ 129915 h 553694"/>
                    <a:gd name="connsiteX84" fmla="*/ 528854 w 648963"/>
                    <a:gd name="connsiteY84" fmla="*/ 116380 h 553694"/>
                    <a:gd name="connsiteX85" fmla="*/ 533721 w 648963"/>
                    <a:gd name="connsiteY85" fmla="*/ 112912 h 553694"/>
                    <a:gd name="connsiteX86" fmla="*/ 542741 w 648963"/>
                    <a:gd name="connsiteY86" fmla="*/ 110084 h 553694"/>
                    <a:gd name="connsiteX87" fmla="*/ 546008 w 648963"/>
                    <a:gd name="connsiteY87" fmla="*/ 102063 h 553694"/>
                    <a:gd name="connsiteX88" fmla="*/ 556010 w 648963"/>
                    <a:gd name="connsiteY88" fmla="*/ 99768 h 553694"/>
                    <a:gd name="connsiteX89" fmla="*/ 550180 w 648963"/>
                    <a:gd name="connsiteY89" fmla="*/ 90243 h 553694"/>
                    <a:gd name="connsiteX90" fmla="*/ 562144 w 648963"/>
                    <a:gd name="connsiteY90" fmla="*/ 87709 h 553694"/>
                    <a:gd name="connsiteX91" fmla="*/ 580184 w 648963"/>
                    <a:gd name="connsiteY91" fmla="*/ 70850 h 553694"/>
                    <a:gd name="connsiteX92" fmla="*/ 577460 w 648963"/>
                    <a:gd name="connsiteY92" fmla="*/ 76032 h 553694"/>
                    <a:gd name="connsiteX93" fmla="*/ 572488 w 648963"/>
                    <a:gd name="connsiteY93" fmla="*/ 78470 h 553694"/>
                    <a:gd name="connsiteX94" fmla="*/ 569564 w 648963"/>
                    <a:gd name="connsiteY94" fmla="*/ 79365 h 553694"/>
                    <a:gd name="connsiteX95" fmla="*/ 572250 w 648963"/>
                    <a:gd name="connsiteY95" fmla="*/ 81937 h 553694"/>
                    <a:gd name="connsiteX96" fmla="*/ 564391 w 648963"/>
                    <a:gd name="connsiteY96" fmla="*/ 93510 h 553694"/>
                    <a:gd name="connsiteX97" fmla="*/ 573469 w 648963"/>
                    <a:gd name="connsiteY97" fmla="*/ 95758 h 553694"/>
                    <a:gd name="connsiteX98" fmla="*/ 565258 w 648963"/>
                    <a:gd name="connsiteY98" fmla="*/ 107140 h 553694"/>
                    <a:gd name="connsiteX99" fmla="*/ 567383 w 648963"/>
                    <a:gd name="connsiteY99" fmla="*/ 111350 h 553694"/>
                    <a:gd name="connsiteX100" fmla="*/ 560105 w 648963"/>
                    <a:gd name="connsiteY100" fmla="*/ 110988 h 553694"/>
                    <a:gd name="connsiteX101" fmla="*/ 556591 w 648963"/>
                    <a:gd name="connsiteY101" fmla="*/ 114484 h 553694"/>
                    <a:gd name="connsiteX102" fmla="*/ 565773 w 648963"/>
                    <a:gd name="connsiteY102" fmla="*/ 116199 h 553694"/>
                    <a:gd name="connsiteX103" fmla="*/ 568859 w 648963"/>
                    <a:gd name="connsiteY103" fmla="*/ 118866 h 553694"/>
                    <a:gd name="connsiteX104" fmla="*/ 582985 w 648963"/>
                    <a:gd name="connsiteY104" fmla="*/ 118532 h 553694"/>
                    <a:gd name="connsiteX105" fmla="*/ 569059 w 648963"/>
                    <a:gd name="connsiteY105" fmla="*/ 122485 h 553694"/>
                    <a:gd name="connsiteX106" fmla="*/ 571078 w 648963"/>
                    <a:gd name="connsiteY106" fmla="*/ 127914 h 553694"/>
                    <a:gd name="connsiteX107" fmla="*/ 555286 w 648963"/>
                    <a:gd name="connsiteY107" fmla="*/ 136954 h 553694"/>
                    <a:gd name="connsiteX108" fmla="*/ 553943 w 648963"/>
                    <a:gd name="connsiteY108" fmla="*/ 142259 h 553694"/>
                    <a:gd name="connsiteX109" fmla="*/ 555429 w 648963"/>
                    <a:gd name="connsiteY109" fmla="*/ 150022 h 553694"/>
                    <a:gd name="connsiteX110" fmla="*/ 558924 w 648963"/>
                    <a:gd name="connsiteY110" fmla="*/ 151936 h 553694"/>
                    <a:gd name="connsiteX111" fmla="*/ 565344 w 648963"/>
                    <a:gd name="connsiteY111" fmla="*/ 152184 h 553694"/>
                    <a:gd name="connsiteX112" fmla="*/ 554562 w 648963"/>
                    <a:gd name="connsiteY112" fmla="*/ 164919 h 553694"/>
                    <a:gd name="connsiteX113" fmla="*/ 544951 w 648963"/>
                    <a:gd name="connsiteY113" fmla="*/ 178845 h 553694"/>
                    <a:gd name="connsiteX114" fmla="*/ 538265 w 648963"/>
                    <a:gd name="connsiteY114" fmla="*/ 183683 h 553694"/>
                    <a:gd name="connsiteX115" fmla="*/ 539093 w 648963"/>
                    <a:gd name="connsiteY115" fmla="*/ 191475 h 553694"/>
                    <a:gd name="connsiteX116" fmla="*/ 535893 w 648963"/>
                    <a:gd name="connsiteY116" fmla="*/ 199771 h 553694"/>
                    <a:gd name="connsiteX117" fmla="*/ 531654 w 648963"/>
                    <a:gd name="connsiteY117" fmla="*/ 203381 h 553694"/>
                    <a:gd name="connsiteX118" fmla="*/ 541055 w 648963"/>
                    <a:gd name="connsiteY118" fmla="*/ 205648 h 553694"/>
                    <a:gd name="connsiteX119" fmla="*/ 535931 w 648963"/>
                    <a:gd name="connsiteY119" fmla="*/ 211468 h 553694"/>
                    <a:gd name="connsiteX120" fmla="*/ 544113 w 648963"/>
                    <a:gd name="connsiteY120" fmla="*/ 221783 h 553694"/>
                    <a:gd name="connsiteX121" fmla="*/ 540941 w 648963"/>
                    <a:gd name="connsiteY121" fmla="*/ 228279 h 553694"/>
                    <a:gd name="connsiteX122" fmla="*/ 528778 w 648963"/>
                    <a:gd name="connsiteY122" fmla="*/ 234261 h 553694"/>
                    <a:gd name="connsiteX123" fmla="*/ 527816 w 648963"/>
                    <a:gd name="connsiteY123" fmla="*/ 239862 h 553694"/>
                    <a:gd name="connsiteX124" fmla="*/ 523558 w 648963"/>
                    <a:gd name="connsiteY124" fmla="*/ 244700 h 553694"/>
                    <a:gd name="connsiteX125" fmla="*/ 513795 w 648963"/>
                    <a:gd name="connsiteY125" fmla="*/ 249672 h 553694"/>
                    <a:gd name="connsiteX126" fmla="*/ 500974 w 648963"/>
                    <a:gd name="connsiteY126" fmla="*/ 246510 h 553694"/>
                    <a:gd name="connsiteX127" fmla="*/ 483362 w 648963"/>
                    <a:gd name="connsiteY127" fmla="*/ 246748 h 553694"/>
                    <a:gd name="connsiteX128" fmla="*/ 469284 w 648963"/>
                    <a:gd name="connsiteY128" fmla="*/ 245234 h 553694"/>
                    <a:gd name="connsiteX129" fmla="*/ 467713 w 648963"/>
                    <a:gd name="connsiteY129" fmla="*/ 240767 h 553694"/>
                    <a:gd name="connsiteX130" fmla="*/ 461503 w 648963"/>
                    <a:gd name="connsiteY130" fmla="*/ 238652 h 553694"/>
                    <a:gd name="connsiteX131" fmla="*/ 449758 w 648963"/>
                    <a:gd name="connsiteY131" fmla="*/ 233775 h 553694"/>
                    <a:gd name="connsiteX132" fmla="*/ 445863 w 648963"/>
                    <a:gd name="connsiteY132" fmla="*/ 244977 h 553694"/>
                    <a:gd name="connsiteX133" fmla="*/ 434966 w 648963"/>
                    <a:gd name="connsiteY133" fmla="*/ 235995 h 553694"/>
                    <a:gd name="connsiteX134" fmla="*/ 431908 w 648963"/>
                    <a:gd name="connsiteY134" fmla="*/ 249977 h 553694"/>
                    <a:gd name="connsiteX135" fmla="*/ 421136 w 648963"/>
                    <a:gd name="connsiteY135" fmla="*/ 251539 h 553694"/>
                    <a:gd name="connsiteX136" fmla="*/ 417802 w 648963"/>
                    <a:gd name="connsiteY136" fmla="*/ 260836 h 553694"/>
                    <a:gd name="connsiteX137" fmla="*/ 409029 w 648963"/>
                    <a:gd name="connsiteY137" fmla="*/ 266894 h 553694"/>
                    <a:gd name="connsiteX138" fmla="*/ 411325 w 648963"/>
                    <a:gd name="connsiteY138" fmla="*/ 277009 h 553694"/>
                    <a:gd name="connsiteX139" fmla="*/ 408820 w 648963"/>
                    <a:gd name="connsiteY139" fmla="*/ 281581 h 553694"/>
                    <a:gd name="connsiteX140" fmla="*/ 415621 w 648963"/>
                    <a:gd name="connsiteY140" fmla="*/ 283905 h 553694"/>
                    <a:gd name="connsiteX141" fmla="*/ 418307 w 648963"/>
                    <a:gd name="connsiteY141" fmla="*/ 289773 h 553694"/>
                    <a:gd name="connsiteX142" fmla="*/ 407667 w 648963"/>
                    <a:gd name="connsiteY142" fmla="*/ 310147 h 553694"/>
                    <a:gd name="connsiteX143" fmla="*/ 423145 w 648963"/>
                    <a:gd name="connsiteY143" fmla="*/ 302193 h 553694"/>
                    <a:gd name="connsiteX144" fmla="*/ 423441 w 648963"/>
                    <a:gd name="connsiteY144" fmla="*/ 309508 h 553694"/>
                    <a:gd name="connsiteX145" fmla="*/ 415973 w 648963"/>
                    <a:gd name="connsiteY145" fmla="*/ 327473 h 553694"/>
                    <a:gd name="connsiteX146" fmla="*/ 419154 w 648963"/>
                    <a:gd name="connsiteY146" fmla="*/ 323101 h 553694"/>
                    <a:gd name="connsiteX147" fmla="*/ 422993 w 648963"/>
                    <a:gd name="connsiteY147" fmla="*/ 325930 h 553694"/>
                    <a:gd name="connsiteX148" fmla="*/ 424650 w 648963"/>
                    <a:gd name="connsiteY148" fmla="*/ 330121 h 553694"/>
                    <a:gd name="connsiteX149" fmla="*/ 428898 w 648963"/>
                    <a:gd name="connsiteY149" fmla="*/ 329749 h 553694"/>
                    <a:gd name="connsiteX150" fmla="*/ 447720 w 648963"/>
                    <a:gd name="connsiteY150" fmla="*/ 328273 h 553694"/>
                    <a:gd name="connsiteX151" fmla="*/ 454111 w 648963"/>
                    <a:gd name="connsiteY151" fmla="*/ 339026 h 553694"/>
                    <a:gd name="connsiteX152" fmla="*/ 452187 w 648963"/>
                    <a:gd name="connsiteY152" fmla="*/ 343141 h 553694"/>
                    <a:gd name="connsiteX153" fmla="*/ 457645 w 648963"/>
                    <a:gd name="connsiteY153" fmla="*/ 343379 h 553694"/>
                    <a:gd name="connsiteX154" fmla="*/ 464122 w 648963"/>
                    <a:gd name="connsiteY154" fmla="*/ 334855 h 553694"/>
                    <a:gd name="connsiteX155" fmla="*/ 473171 w 648963"/>
                    <a:gd name="connsiteY155" fmla="*/ 325653 h 553694"/>
                    <a:gd name="connsiteX156" fmla="*/ 478866 w 648963"/>
                    <a:gd name="connsiteY156" fmla="*/ 309623 h 553694"/>
                    <a:gd name="connsiteX157" fmla="*/ 488534 w 648963"/>
                    <a:gd name="connsiteY157" fmla="*/ 301469 h 553694"/>
                    <a:gd name="connsiteX158" fmla="*/ 497831 w 648963"/>
                    <a:gd name="connsiteY158" fmla="*/ 300422 h 553694"/>
                    <a:gd name="connsiteX159" fmla="*/ 497916 w 648963"/>
                    <a:gd name="connsiteY159" fmla="*/ 310747 h 553694"/>
                    <a:gd name="connsiteX160" fmla="*/ 478200 w 648963"/>
                    <a:gd name="connsiteY160" fmla="*/ 318024 h 553694"/>
                    <a:gd name="connsiteX161" fmla="*/ 479191 w 648963"/>
                    <a:gd name="connsiteY161" fmla="*/ 331807 h 553694"/>
                    <a:gd name="connsiteX162" fmla="*/ 519634 w 648963"/>
                    <a:gd name="connsiteY162" fmla="*/ 332416 h 553694"/>
                    <a:gd name="connsiteX163" fmla="*/ 563506 w 648963"/>
                    <a:gd name="connsiteY163" fmla="*/ 332416 h 553694"/>
                    <a:gd name="connsiteX164" fmla="*/ 648964 w 648963"/>
                    <a:gd name="connsiteY164" fmla="*/ 332416 h 553694"/>
                    <a:gd name="connsiteX165" fmla="*/ 642116 w 648963"/>
                    <a:gd name="connsiteY165" fmla="*/ 349980 h 553694"/>
                    <a:gd name="connsiteX166" fmla="*/ 634296 w 648963"/>
                    <a:gd name="connsiteY166" fmla="*/ 349094 h 553694"/>
                    <a:gd name="connsiteX167" fmla="*/ 623542 w 648963"/>
                    <a:gd name="connsiteY167" fmla="*/ 350961 h 553694"/>
                    <a:gd name="connsiteX168" fmla="*/ 597910 w 648963"/>
                    <a:gd name="connsiteY168" fmla="*/ 359496 h 553694"/>
                    <a:gd name="connsiteX169" fmla="*/ 564811 w 648963"/>
                    <a:gd name="connsiteY169" fmla="*/ 380317 h 553694"/>
                    <a:gd name="connsiteX170" fmla="*/ 549990 w 648963"/>
                    <a:gd name="connsiteY170" fmla="*/ 387461 h 553694"/>
                    <a:gd name="connsiteX171" fmla="*/ 530711 w 648963"/>
                    <a:gd name="connsiteY171" fmla="*/ 387947 h 553694"/>
                    <a:gd name="connsiteX172" fmla="*/ 512518 w 648963"/>
                    <a:gd name="connsiteY172" fmla="*/ 390633 h 553694"/>
                    <a:gd name="connsiteX173" fmla="*/ 496688 w 648963"/>
                    <a:gd name="connsiteY173" fmla="*/ 387928 h 553694"/>
                    <a:gd name="connsiteX174" fmla="*/ 480343 w 648963"/>
                    <a:gd name="connsiteY174" fmla="*/ 385956 h 553694"/>
                    <a:gd name="connsiteX175" fmla="*/ 461112 w 648963"/>
                    <a:gd name="connsiteY175" fmla="*/ 387366 h 553694"/>
                    <a:gd name="connsiteX176" fmla="*/ 391141 w 648963"/>
                    <a:gd name="connsiteY176" fmla="*/ 388509 h 553694"/>
                    <a:gd name="connsiteX177" fmla="*/ 357899 w 648963"/>
                    <a:gd name="connsiteY177" fmla="*/ 406911 h 553694"/>
                    <a:gd name="connsiteX178" fmla="*/ 345298 w 648963"/>
                    <a:gd name="connsiteY178" fmla="*/ 416455 h 553694"/>
                    <a:gd name="connsiteX179" fmla="*/ 323790 w 648963"/>
                    <a:gd name="connsiteY179" fmla="*/ 420741 h 553694"/>
                    <a:gd name="connsiteX180" fmla="*/ 324714 w 648963"/>
                    <a:gd name="connsiteY180" fmla="*/ 422237 h 553694"/>
                    <a:gd name="connsiteX181" fmla="*/ 303845 w 648963"/>
                    <a:gd name="connsiteY181" fmla="*/ 431428 h 553694"/>
                    <a:gd name="connsiteX182" fmla="*/ 283699 w 648963"/>
                    <a:gd name="connsiteY182" fmla="*/ 446268 h 553694"/>
                    <a:gd name="connsiteX183" fmla="*/ 241627 w 648963"/>
                    <a:gd name="connsiteY183" fmla="*/ 444087 h 553694"/>
                    <a:gd name="connsiteX184" fmla="*/ 259649 w 648963"/>
                    <a:gd name="connsiteY184" fmla="*/ 449974 h 553694"/>
                    <a:gd name="connsiteX185" fmla="*/ 264392 w 648963"/>
                    <a:gd name="connsiteY185" fmla="*/ 460918 h 553694"/>
                    <a:gd name="connsiteX186" fmla="*/ 246371 w 648963"/>
                    <a:gd name="connsiteY186" fmla="*/ 474291 h 553694"/>
                    <a:gd name="connsiteX187" fmla="*/ 228540 w 648963"/>
                    <a:gd name="connsiteY187" fmla="*/ 486616 h 553694"/>
                    <a:gd name="connsiteX188" fmla="*/ 190754 w 648963"/>
                    <a:gd name="connsiteY188" fmla="*/ 501047 h 553694"/>
                    <a:gd name="connsiteX189" fmla="*/ 171028 w 648963"/>
                    <a:gd name="connsiteY189" fmla="*/ 510267 h 553694"/>
                    <a:gd name="connsiteX190" fmla="*/ 153616 w 648963"/>
                    <a:gd name="connsiteY190" fmla="*/ 518087 h 553694"/>
                    <a:gd name="connsiteX191" fmla="*/ 134852 w 648963"/>
                    <a:gd name="connsiteY191" fmla="*/ 529965 h 553694"/>
                    <a:gd name="connsiteX192" fmla="*/ 111583 w 648963"/>
                    <a:gd name="connsiteY192" fmla="*/ 536213 h 553694"/>
                    <a:gd name="connsiteX193" fmla="*/ 118326 w 648963"/>
                    <a:gd name="connsiteY193" fmla="*/ 540680 h 553694"/>
                    <a:gd name="connsiteX194" fmla="*/ 110354 w 648963"/>
                    <a:gd name="connsiteY194" fmla="*/ 544462 h 553694"/>
                    <a:gd name="connsiteX195" fmla="*/ 109944 w 648963"/>
                    <a:gd name="connsiteY195" fmla="*/ 535060 h 553694"/>
                    <a:gd name="connsiteX196" fmla="*/ 81179 w 648963"/>
                    <a:gd name="connsiteY196" fmla="*/ 537108 h 553694"/>
                    <a:gd name="connsiteX197" fmla="*/ 66558 w 648963"/>
                    <a:gd name="connsiteY197" fmla="*/ 538699 h 553694"/>
                    <a:gd name="connsiteX198" fmla="*/ 54099 w 648963"/>
                    <a:gd name="connsiteY198" fmla="*/ 536937 h 553694"/>
                    <a:gd name="connsiteX199" fmla="*/ 49089 w 648963"/>
                    <a:gd name="connsiteY199" fmla="*/ 525097 h 553694"/>
                    <a:gd name="connsiteX200" fmla="*/ 44593 w 648963"/>
                    <a:gd name="connsiteY200" fmla="*/ 527764 h 553694"/>
                    <a:gd name="connsiteX201" fmla="*/ 38631 w 648963"/>
                    <a:gd name="connsiteY201" fmla="*/ 523145 h 553694"/>
                    <a:gd name="connsiteX202" fmla="*/ 31439 w 648963"/>
                    <a:gd name="connsiteY202" fmla="*/ 515591 h 553694"/>
                    <a:gd name="connsiteX203" fmla="*/ 31439 w 648963"/>
                    <a:gd name="connsiteY203" fmla="*/ 515591 h 553694"/>
                    <a:gd name="connsiteX204" fmla="*/ 491240 w 648963"/>
                    <a:gd name="connsiteY204" fmla="*/ 424018 h 553694"/>
                    <a:gd name="connsiteX205" fmla="*/ 452882 w 648963"/>
                    <a:gd name="connsiteY205" fmla="*/ 416112 h 553694"/>
                    <a:gd name="connsiteX206" fmla="*/ 443929 w 648963"/>
                    <a:gd name="connsiteY206" fmla="*/ 406035 h 553694"/>
                    <a:gd name="connsiteX207" fmla="*/ 435823 w 648963"/>
                    <a:gd name="connsiteY207" fmla="*/ 397748 h 553694"/>
                    <a:gd name="connsiteX208" fmla="*/ 471694 w 648963"/>
                    <a:gd name="connsiteY208" fmla="*/ 404730 h 553694"/>
                    <a:gd name="connsiteX209" fmla="*/ 487744 w 648963"/>
                    <a:gd name="connsiteY209" fmla="*/ 414455 h 553694"/>
                    <a:gd name="connsiteX210" fmla="*/ 491240 w 648963"/>
                    <a:gd name="connsiteY210" fmla="*/ 424018 h 553694"/>
                    <a:gd name="connsiteX211" fmla="*/ 491240 w 648963"/>
                    <a:gd name="connsiteY211" fmla="*/ 424018 h 553694"/>
                    <a:gd name="connsiteX212" fmla="*/ 425355 w 648963"/>
                    <a:gd name="connsiteY212" fmla="*/ 430952 h 553694"/>
                    <a:gd name="connsiteX213" fmla="*/ 417154 w 648963"/>
                    <a:gd name="connsiteY213" fmla="*/ 431981 h 553694"/>
                    <a:gd name="connsiteX214" fmla="*/ 403114 w 648963"/>
                    <a:gd name="connsiteY214" fmla="*/ 450612 h 553694"/>
                    <a:gd name="connsiteX215" fmla="*/ 374873 w 648963"/>
                    <a:gd name="connsiteY215" fmla="*/ 454955 h 553694"/>
                    <a:gd name="connsiteX216" fmla="*/ 368577 w 648963"/>
                    <a:gd name="connsiteY216" fmla="*/ 453850 h 553694"/>
                    <a:gd name="connsiteX217" fmla="*/ 361976 w 648963"/>
                    <a:gd name="connsiteY217" fmla="*/ 454784 h 553694"/>
                    <a:gd name="connsiteX218" fmla="*/ 346726 w 648963"/>
                    <a:gd name="connsiteY218" fmla="*/ 458156 h 553694"/>
                    <a:gd name="connsiteX219" fmla="*/ 324505 w 648963"/>
                    <a:gd name="connsiteY219" fmla="*/ 458527 h 553694"/>
                    <a:gd name="connsiteX220" fmla="*/ 310865 w 648963"/>
                    <a:gd name="connsiteY220" fmla="*/ 459613 h 553694"/>
                    <a:gd name="connsiteX221" fmla="*/ 300873 w 648963"/>
                    <a:gd name="connsiteY221" fmla="*/ 466452 h 553694"/>
                    <a:gd name="connsiteX222" fmla="*/ 276756 w 648963"/>
                    <a:gd name="connsiteY222" fmla="*/ 480701 h 553694"/>
                    <a:gd name="connsiteX223" fmla="*/ 278689 w 648963"/>
                    <a:gd name="connsiteY223" fmla="*/ 476548 h 553694"/>
                    <a:gd name="connsiteX224" fmla="*/ 240199 w 648963"/>
                    <a:gd name="connsiteY224" fmla="*/ 504038 h 553694"/>
                    <a:gd name="connsiteX225" fmla="*/ 225168 w 648963"/>
                    <a:gd name="connsiteY225" fmla="*/ 522107 h 553694"/>
                    <a:gd name="connsiteX226" fmla="*/ 212767 w 648963"/>
                    <a:gd name="connsiteY226" fmla="*/ 532689 h 553694"/>
                    <a:gd name="connsiteX227" fmla="*/ 202823 w 648963"/>
                    <a:gd name="connsiteY227" fmla="*/ 541137 h 553694"/>
                    <a:gd name="connsiteX228" fmla="*/ 195031 w 648963"/>
                    <a:gd name="connsiteY228" fmla="*/ 543604 h 553694"/>
                    <a:gd name="connsiteX229" fmla="*/ 176991 w 648963"/>
                    <a:gd name="connsiteY229" fmla="*/ 552729 h 553694"/>
                    <a:gd name="connsiteX230" fmla="*/ 150045 w 648963"/>
                    <a:gd name="connsiteY230" fmla="*/ 552777 h 553694"/>
                    <a:gd name="connsiteX231" fmla="*/ 93352 w 648963"/>
                    <a:gd name="connsiteY231" fmla="*/ 552844 h 553694"/>
                    <a:gd name="connsiteX232" fmla="*/ 127337 w 648963"/>
                    <a:gd name="connsiteY232" fmla="*/ 540042 h 553694"/>
                    <a:gd name="connsiteX233" fmla="*/ 152369 w 648963"/>
                    <a:gd name="connsiteY233" fmla="*/ 519687 h 553694"/>
                    <a:gd name="connsiteX234" fmla="*/ 185211 w 648963"/>
                    <a:gd name="connsiteY234" fmla="*/ 504123 h 553694"/>
                    <a:gd name="connsiteX235" fmla="*/ 217958 w 648963"/>
                    <a:gd name="connsiteY235" fmla="*/ 494903 h 553694"/>
                    <a:gd name="connsiteX236" fmla="*/ 277975 w 648963"/>
                    <a:gd name="connsiteY236" fmla="*/ 458232 h 553694"/>
                    <a:gd name="connsiteX237" fmla="*/ 346755 w 648963"/>
                    <a:gd name="connsiteY237" fmla="*/ 429171 h 553694"/>
                    <a:gd name="connsiteX238" fmla="*/ 387427 w 648963"/>
                    <a:gd name="connsiteY238" fmla="*/ 419770 h 553694"/>
                    <a:gd name="connsiteX239" fmla="*/ 425355 w 648963"/>
                    <a:gd name="connsiteY239" fmla="*/ 430952 h 553694"/>
                    <a:gd name="connsiteX240" fmla="*/ 425355 w 648963"/>
                    <a:gd name="connsiteY240" fmla="*/ 430952 h 553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648963" h="553694">
                      <a:moveTo>
                        <a:pt x="31439" y="515591"/>
                      </a:moveTo>
                      <a:cubicBezTo>
                        <a:pt x="24296" y="514144"/>
                        <a:pt x="14351" y="513944"/>
                        <a:pt x="7932" y="510029"/>
                      </a:cubicBezTo>
                      <a:cubicBezTo>
                        <a:pt x="2169" y="506505"/>
                        <a:pt x="940" y="496913"/>
                        <a:pt x="159" y="490255"/>
                      </a:cubicBezTo>
                      <a:cubicBezTo>
                        <a:pt x="-1432" y="476510"/>
                        <a:pt x="9275" y="463080"/>
                        <a:pt x="15542" y="450926"/>
                      </a:cubicBezTo>
                      <a:cubicBezTo>
                        <a:pt x="30115" y="422675"/>
                        <a:pt x="44936" y="394548"/>
                        <a:pt x="59986" y="366544"/>
                      </a:cubicBezTo>
                      <a:cubicBezTo>
                        <a:pt x="60681" y="368221"/>
                        <a:pt x="61529" y="369525"/>
                        <a:pt x="61757" y="371459"/>
                      </a:cubicBezTo>
                      <a:cubicBezTo>
                        <a:pt x="62510" y="368830"/>
                        <a:pt x="60681" y="366449"/>
                        <a:pt x="61091" y="364449"/>
                      </a:cubicBezTo>
                      <a:cubicBezTo>
                        <a:pt x="61691" y="361505"/>
                        <a:pt x="64434" y="358267"/>
                        <a:pt x="65872" y="355590"/>
                      </a:cubicBezTo>
                      <a:cubicBezTo>
                        <a:pt x="69034" y="349742"/>
                        <a:pt x="70396" y="344694"/>
                        <a:pt x="77674" y="344351"/>
                      </a:cubicBezTo>
                      <a:cubicBezTo>
                        <a:pt x="77178" y="348437"/>
                        <a:pt x="80464" y="346065"/>
                        <a:pt x="81512" y="349361"/>
                      </a:cubicBezTo>
                      <a:cubicBezTo>
                        <a:pt x="82341" y="351971"/>
                        <a:pt x="80798" y="355019"/>
                        <a:pt x="80560" y="357667"/>
                      </a:cubicBezTo>
                      <a:cubicBezTo>
                        <a:pt x="82331" y="354485"/>
                        <a:pt x="89094" y="350733"/>
                        <a:pt x="89980" y="348304"/>
                      </a:cubicBezTo>
                      <a:cubicBezTo>
                        <a:pt x="91132" y="345132"/>
                        <a:pt x="87475" y="342494"/>
                        <a:pt x="88751" y="339388"/>
                      </a:cubicBezTo>
                      <a:cubicBezTo>
                        <a:pt x="90523" y="335055"/>
                        <a:pt x="105820" y="325625"/>
                        <a:pt x="110182" y="324244"/>
                      </a:cubicBezTo>
                      <a:cubicBezTo>
                        <a:pt x="107963" y="321777"/>
                        <a:pt x="111078" y="321405"/>
                        <a:pt x="110916" y="318443"/>
                      </a:cubicBezTo>
                      <a:cubicBezTo>
                        <a:pt x="110811" y="316557"/>
                        <a:pt x="109154" y="313471"/>
                        <a:pt x="109420" y="311833"/>
                      </a:cubicBezTo>
                      <a:cubicBezTo>
                        <a:pt x="109849" y="309232"/>
                        <a:pt x="113068" y="307423"/>
                        <a:pt x="113450" y="305498"/>
                      </a:cubicBezTo>
                      <a:cubicBezTo>
                        <a:pt x="113897" y="303222"/>
                        <a:pt x="111887" y="302050"/>
                        <a:pt x="112230" y="299603"/>
                      </a:cubicBezTo>
                      <a:cubicBezTo>
                        <a:pt x="113107" y="293202"/>
                        <a:pt x="117155" y="274742"/>
                        <a:pt x="124956" y="274504"/>
                      </a:cubicBezTo>
                      <a:cubicBezTo>
                        <a:pt x="120165" y="270732"/>
                        <a:pt x="131509" y="268008"/>
                        <a:pt x="122070" y="266360"/>
                      </a:cubicBezTo>
                      <a:cubicBezTo>
                        <a:pt x="123756" y="265960"/>
                        <a:pt x="124546" y="264722"/>
                        <a:pt x="125680" y="264150"/>
                      </a:cubicBezTo>
                      <a:cubicBezTo>
                        <a:pt x="117450" y="262074"/>
                        <a:pt x="125746" y="251463"/>
                        <a:pt x="120174" y="248844"/>
                      </a:cubicBezTo>
                      <a:cubicBezTo>
                        <a:pt x="126727" y="243872"/>
                        <a:pt x="138500" y="243214"/>
                        <a:pt x="146530" y="240795"/>
                      </a:cubicBezTo>
                      <a:cubicBezTo>
                        <a:pt x="156188" y="237880"/>
                        <a:pt x="165580" y="234728"/>
                        <a:pt x="174886" y="230822"/>
                      </a:cubicBezTo>
                      <a:cubicBezTo>
                        <a:pt x="190992" y="224060"/>
                        <a:pt x="210281" y="213897"/>
                        <a:pt x="222901" y="201657"/>
                      </a:cubicBezTo>
                      <a:cubicBezTo>
                        <a:pt x="235398" y="189522"/>
                        <a:pt x="246314" y="167824"/>
                        <a:pt x="244675" y="150260"/>
                      </a:cubicBezTo>
                      <a:cubicBezTo>
                        <a:pt x="243656" y="139316"/>
                        <a:pt x="236589" y="137020"/>
                        <a:pt x="229388" y="130934"/>
                      </a:cubicBezTo>
                      <a:cubicBezTo>
                        <a:pt x="222196" y="124847"/>
                        <a:pt x="220491" y="121875"/>
                        <a:pt x="228331" y="115313"/>
                      </a:cubicBezTo>
                      <a:cubicBezTo>
                        <a:pt x="235741" y="109112"/>
                        <a:pt x="247038" y="106150"/>
                        <a:pt x="253543" y="99520"/>
                      </a:cubicBezTo>
                      <a:cubicBezTo>
                        <a:pt x="254010" y="99044"/>
                        <a:pt x="252057" y="97939"/>
                        <a:pt x="252838" y="97006"/>
                      </a:cubicBezTo>
                      <a:cubicBezTo>
                        <a:pt x="253896" y="95748"/>
                        <a:pt x="256372" y="94643"/>
                        <a:pt x="257763" y="93681"/>
                      </a:cubicBezTo>
                      <a:cubicBezTo>
                        <a:pt x="263173" y="89929"/>
                        <a:pt x="260973" y="92110"/>
                        <a:pt x="266869" y="93748"/>
                      </a:cubicBezTo>
                      <a:cubicBezTo>
                        <a:pt x="264202" y="90614"/>
                        <a:pt x="273870" y="82175"/>
                        <a:pt x="276270" y="79146"/>
                      </a:cubicBezTo>
                      <a:cubicBezTo>
                        <a:pt x="273936" y="79404"/>
                        <a:pt x="272136" y="78480"/>
                        <a:pt x="270641" y="77708"/>
                      </a:cubicBezTo>
                      <a:cubicBezTo>
                        <a:pt x="277384" y="77051"/>
                        <a:pt x="272917" y="73212"/>
                        <a:pt x="274241" y="69069"/>
                      </a:cubicBezTo>
                      <a:cubicBezTo>
                        <a:pt x="275327" y="65668"/>
                        <a:pt x="278537" y="64497"/>
                        <a:pt x="281089" y="62744"/>
                      </a:cubicBezTo>
                      <a:cubicBezTo>
                        <a:pt x="270707" y="65049"/>
                        <a:pt x="281680" y="55829"/>
                        <a:pt x="283909" y="54486"/>
                      </a:cubicBezTo>
                      <a:cubicBezTo>
                        <a:pt x="278718" y="55401"/>
                        <a:pt x="275175" y="54419"/>
                        <a:pt x="270250" y="54677"/>
                      </a:cubicBezTo>
                      <a:cubicBezTo>
                        <a:pt x="275298" y="50581"/>
                        <a:pt x="282252" y="48485"/>
                        <a:pt x="286757" y="43637"/>
                      </a:cubicBezTo>
                      <a:cubicBezTo>
                        <a:pt x="291872" y="38132"/>
                        <a:pt x="292548" y="35427"/>
                        <a:pt x="299644" y="31464"/>
                      </a:cubicBezTo>
                      <a:cubicBezTo>
                        <a:pt x="286662" y="23168"/>
                        <a:pt x="296615" y="8442"/>
                        <a:pt x="307455" y="3937"/>
                      </a:cubicBezTo>
                      <a:cubicBezTo>
                        <a:pt x="315932" y="413"/>
                        <a:pt x="322895" y="-1102"/>
                        <a:pt x="331982" y="879"/>
                      </a:cubicBezTo>
                      <a:cubicBezTo>
                        <a:pt x="338125" y="2222"/>
                        <a:pt x="351413" y="4689"/>
                        <a:pt x="355127" y="9623"/>
                      </a:cubicBezTo>
                      <a:cubicBezTo>
                        <a:pt x="353880" y="10166"/>
                        <a:pt x="352346" y="11138"/>
                        <a:pt x="351003" y="11395"/>
                      </a:cubicBezTo>
                      <a:cubicBezTo>
                        <a:pt x="354956" y="11338"/>
                        <a:pt x="359890" y="7728"/>
                        <a:pt x="364567" y="7823"/>
                      </a:cubicBezTo>
                      <a:cubicBezTo>
                        <a:pt x="369948" y="7937"/>
                        <a:pt x="373244" y="12233"/>
                        <a:pt x="377397" y="13548"/>
                      </a:cubicBezTo>
                      <a:cubicBezTo>
                        <a:pt x="376120" y="9109"/>
                        <a:pt x="389855" y="7556"/>
                        <a:pt x="393723" y="6223"/>
                      </a:cubicBezTo>
                      <a:cubicBezTo>
                        <a:pt x="400419" y="3918"/>
                        <a:pt x="402381" y="1860"/>
                        <a:pt x="408315" y="5175"/>
                      </a:cubicBezTo>
                      <a:cubicBezTo>
                        <a:pt x="410763" y="6547"/>
                        <a:pt x="412201" y="9138"/>
                        <a:pt x="414344" y="10604"/>
                      </a:cubicBezTo>
                      <a:cubicBezTo>
                        <a:pt x="415240" y="11224"/>
                        <a:pt x="421107" y="13633"/>
                        <a:pt x="420907" y="13367"/>
                      </a:cubicBezTo>
                      <a:cubicBezTo>
                        <a:pt x="423364" y="16767"/>
                        <a:pt x="418411" y="19996"/>
                        <a:pt x="414935" y="22511"/>
                      </a:cubicBezTo>
                      <a:cubicBezTo>
                        <a:pt x="419469" y="21920"/>
                        <a:pt x="424212" y="17501"/>
                        <a:pt x="427717" y="23263"/>
                      </a:cubicBezTo>
                      <a:cubicBezTo>
                        <a:pt x="430346" y="27587"/>
                        <a:pt x="428022" y="29578"/>
                        <a:pt x="422926" y="30016"/>
                      </a:cubicBezTo>
                      <a:cubicBezTo>
                        <a:pt x="426155" y="30721"/>
                        <a:pt x="434642" y="24978"/>
                        <a:pt x="436814" y="29245"/>
                      </a:cubicBezTo>
                      <a:cubicBezTo>
                        <a:pt x="438223" y="32026"/>
                        <a:pt x="431461" y="32817"/>
                        <a:pt x="429241" y="35122"/>
                      </a:cubicBezTo>
                      <a:cubicBezTo>
                        <a:pt x="430680" y="35312"/>
                        <a:pt x="431994" y="36065"/>
                        <a:pt x="433642" y="35960"/>
                      </a:cubicBezTo>
                      <a:cubicBezTo>
                        <a:pt x="424688" y="38046"/>
                        <a:pt x="435737" y="43428"/>
                        <a:pt x="438957" y="44352"/>
                      </a:cubicBezTo>
                      <a:cubicBezTo>
                        <a:pt x="442071" y="45247"/>
                        <a:pt x="445824" y="46666"/>
                        <a:pt x="449025" y="47238"/>
                      </a:cubicBezTo>
                      <a:cubicBezTo>
                        <a:pt x="451168" y="47619"/>
                        <a:pt x="456702" y="46028"/>
                        <a:pt x="458359" y="46876"/>
                      </a:cubicBezTo>
                      <a:cubicBezTo>
                        <a:pt x="463322" y="49400"/>
                        <a:pt x="458264" y="52819"/>
                        <a:pt x="464712" y="53372"/>
                      </a:cubicBezTo>
                      <a:cubicBezTo>
                        <a:pt x="468770" y="53724"/>
                        <a:pt x="474018" y="45790"/>
                        <a:pt x="476819" y="47380"/>
                      </a:cubicBezTo>
                      <a:cubicBezTo>
                        <a:pt x="481953" y="50295"/>
                        <a:pt x="461436" y="65106"/>
                        <a:pt x="460169" y="69126"/>
                      </a:cubicBezTo>
                      <a:cubicBezTo>
                        <a:pt x="458483" y="74489"/>
                        <a:pt x="461484" y="76422"/>
                        <a:pt x="454530" y="79137"/>
                      </a:cubicBezTo>
                      <a:cubicBezTo>
                        <a:pt x="448720" y="81413"/>
                        <a:pt x="439233" y="80470"/>
                        <a:pt x="433213" y="79651"/>
                      </a:cubicBezTo>
                      <a:cubicBezTo>
                        <a:pt x="433251" y="80089"/>
                        <a:pt x="433299" y="80527"/>
                        <a:pt x="433337" y="80975"/>
                      </a:cubicBezTo>
                      <a:cubicBezTo>
                        <a:pt x="438881" y="81928"/>
                        <a:pt x="452197" y="78870"/>
                        <a:pt x="453921" y="85319"/>
                      </a:cubicBezTo>
                      <a:cubicBezTo>
                        <a:pt x="455702" y="91986"/>
                        <a:pt x="445786" y="95244"/>
                        <a:pt x="444872" y="101216"/>
                      </a:cubicBezTo>
                      <a:cubicBezTo>
                        <a:pt x="454197" y="101397"/>
                        <a:pt x="451892" y="101425"/>
                        <a:pt x="447387" y="106740"/>
                      </a:cubicBezTo>
                      <a:cubicBezTo>
                        <a:pt x="445405" y="109083"/>
                        <a:pt x="444758" y="113665"/>
                        <a:pt x="441090" y="115694"/>
                      </a:cubicBezTo>
                      <a:cubicBezTo>
                        <a:pt x="434794" y="119189"/>
                        <a:pt x="438652" y="114275"/>
                        <a:pt x="434575" y="114217"/>
                      </a:cubicBezTo>
                      <a:cubicBezTo>
                        <a:pt x="433985" y="114208"/>
                        <a:pt x="424479" y="119151"/>
                        <a:pt x="424022" y="119513"/>
                      </a:cubicBezTo>
                      <a:cubicBezTo>
                        <a:pt x="429194" y="120332"/>
                        <a:pt x="430242" y="121999"/>
                        <a:pt x="435528" y="120552"/>
                      </a:cubicBezTo>
                      <a:cubicBezTo>
                        <a:pt x="439786" y="119380"/>
                        <a:pt x="443357" y="116322"/>
                        <a:pt x="447796" y="115522"/>
                      </a:cubicBezTo>
                      <a:cubicBezTo>
                        <a:pt x="453168" y="114551"/>
                        <a:pt x="463465" y="113027"/>
                        <a:pt x="466027" y="119132"/>
                      </a:cubicBezTo>
                      <a:cubicBezTo>
                        <a:pt x="468475" y="124990"/>
                        <a:pt x="463817" y="132143"/>
                        <a:pt x="459474" y="136325"/>
                      </a:cubicBezTo>
                      <a:cubicBezTo>
                        <a:pt x="452844" y="142707"/>
                        <a:pt x="442805" y="140792"/>
                        <a:pt x="436804" y="146545"/>
                      </a:cubicBezTo>
                      <a:cubicBezTo>
                        <a:pt x="447587" y="143192"/>
                        <a:pt x="454473" y="142735"/>
                        <a:pt x="462465" y="134344"/>
                      </a:cubicBezTo>
                      <a:cubicBezTo>
                        <a:pt x="472285" y="124028"/>
                        <a:pt x="473618" y="132372"/>
                        <a:pt x="464112" y="139097"/>
                      </a:cubicBezTo>
                      <a:cubicBezTo>
                        <a:pt x="468761" y="137544"/>
                        <a:pt x="472171" y="133839"/>
                        <a:pt x="475723" y="130734"/>
                      </a:cubicBezTo>
                      <a:cubicBezTo>
                        <a:pt x="475571" y="135363"/>
                        <a:pt x="472733" y="139821"/>
                        <a:pt x="471056" y="143764"/>
                      </a:cubicBezTo>
                      <a:cubicBezTo>
                        <a:pt x="475371" y="139287"/>
                        <a:pt x="476971" y="136506"/>
                        <a:pt x="483057" y="134039"/>
                      </a:cubicBezTo>
                      <a:cubicBezTo>
                        <a:pt x="489563" y="131400"/>
                        <a:pt x="497660" y="130296"/>
                        <a:pt x="503708" y="127105"/>
                      </a:cubicBezTo>
                      <a:cubicBezTo>
                        <a:pt x="506861" y="125447"/>
                        <a:pt x="512071" y="117265"/>
                        <a:pt x="516376" y="118485"/>
                      </a:cubicBezTo>
                      <a:cubicBezTo>
                        <a:pt x="521215" y="119856"/>
                        <a:pt x="519919" y="126781"/>
                        <a:pt x="517862" y="129915"/>
                      </a:cubicBezTo>
                      <a:cubicBezTo>
                        <a:pt x="525072" y="125400"/>
                        <a:pt x="519481" y="116741"/>
                        <a:pt x="528854" y="116380"/>
                      </a:cubicBezTo>
                      <a:cubicBezTo>
                        <a:pt x="525692" y="113703"/>
                        <a:pt x="531197" y="112179"/>
                        <a:pt x="533721" y="112912"/>
                      </a:cubicBezTo>
                      <a:cubicBezTo>
                        <a:pt x="534626" y="109988"/>
                        <a:pt x="539893" y="111531"/>
                        <a:pt x="542741" y="110084"/>
                      </a:cubicBezTo>
                      <a:cubicBezTo>
                        <a:pt x="531264" y="108721"/>
                        <a:pt x="542884" y="99997"/>
                        <a:pt x="546008" y="102063"/>
                      </a:cubicBezTo>
                      <a:cubicBezTo>
                        <a:pt x="544113" y="93272"/>
                        <a:pt x="552866" y="98806"/>
                        <a:pt x="556010" y="99768"/>
                      </a:cubicBezTo>
                      <a:cubicBezTo>
                        <a:pt x="553457" y="95415"/>
                        <a:pt x="547313" y="96387"/>
                        <a:pt x="550180" y="90243"/>
                      </a:cubicBezTo>
                      <a:cubicBezTo>
                        <a:pt x="552733" y="84776"/>
                        <a:pt x="558524" y="86785"/>
                        <a:pt x="562144" y="87709"/>
                      </a:cubicBezTo>
                      <a:cubicBezTo>
                        <a:pt x="556143" y="84528"/>
                        <a:pt x="573821" y="66735"/>
                        <a:pt x="580184" y="70850"/>
                      </a:cubicBezTo>
                      <a:cubicBezTo>
                        <a:pt x="568535" y="72574"/>
                        <a:pt x="578679" y="73755"/>
                        <a:pt x="577460" y="76032"/>
                      </a:cubicBezTo>
                      <a:cubicBezTo>
                        <a:pt x="576555" y="77746"/>
                        <a:pt x="573326" y="77089"/>
                        <a:pt x="572488" y="78470"/>
                      </a:cubicBezTo>
                      <a:cubicBezTo>
                        <a:pt x="572097" y="79118"/>
                        <a:pt x="570221" y="78527"/>
                        <a:pt x="569564" y="79365"/>
                      </a:cubicBezTo>
                      <a:cubicBezTo>
                        <a:pt x="568516" y="80718"/>
                        <a:pt x="572250" y="81947"/>
                        <a:pt x="572250" y="81937"/>
                      </a:cubicBezTo>
                      <a:cubicBezTo>
                        <a:pt x="571659" y="83128"/>
                        <a:pt x="564763" y="89519"/>
                        <a:pt x="564391" y="93510"/>
                      </a:cubicBezTo>
                      <a:cubicBezTo>
                        <a:pt x="563782" y="100111"/>
                        <a:pt x="568221" y="95206"/>
                        <a:pt x="573469" y="95758"/>
                      </a:cubicBezTo>
                      <a:cubicBezTo>
                        <a:pt x="570592" y="99644"/>
                        <a:pt x="566020" y="101092"/>
                        <a:pt x="565258" y="107140"/>
                      </a:cubicBezTo>
                      <a:cubicBezTo>
                        <a:pt x="565058" y="108750"/>
                        <a:pt x="567963" y="110607"/>
                        <a:pt x="567383" y="111350"/>
                      </a:cubicBezTo>
                      <a:cubicBezTo>
                        <a:pt x="565877" y="113255"/>
                        <a:pt x="561772" y="110893"/>
                        <a:pt x="560105" y="110988"/>
                      </a:cubicBezTo>
                      <a:cubicBezTo>
                        <a:pt x="555867" y="111236"/>
                        <a:pt x="552190" y="111436"/>
                        <a:pt x="556591" y="114484"/>
                      </a:cubicBezTo>
                      <a:cubicBezTo>
                        <a:pt x="558658" y="115913"/>
                        <a:pt x="563325" y="115332"/>
                        <a:pt x="565773" y="116199"/>
                      </a:cubicBezTo>
                      <a:cubicBezTo>
                        <a:pt x="567573" y="116837"/>
                        <a:pt x="565525" y="118532"/>
                        <a:pt x="568859" y="118866"/>
                      </a:cubicBezTo>
                      <a:cubicBezTo>
                        <a:pt x="572059" y="119189"/>
                        <a:pt x="581108" y="113151"/>
                        <a:pt x="582985" y="118532"/>
                      </a:cubicBezTo>
                      <a:cubicBezTo>
                        <a:pt x="584251" y="122152"/>
                        <a:pt x="571421" y="120780"/>
                        <a:pt x="569059" y="122485"/>
                      </a:cubicBezTo>
                      <a:cubicBezTo>
                        <a:pt x="562858" y="126943"/>
                        <a:pt x="571678" y="124647"/>
                        <a:pt x="571078" y="127914"/>
                      </a:cubicBezTo>
                      <a:cubicBezTo>
                        <a:pt x="570602" y="130524"/>
                        <a:pt x="557486" y="134544"/>
                        <a:pt x="555286" y="136954"/>
                      </a:cubicBezTo>
                      <a:cubicBezTo>
                        <a:pt x="551438" y="141164"/>
                        <a:pt x="553762" y="137601"/>
                        <a:pt x="553943" y="142259"/>
                      </a:cubicBezTo>
                      <a:cubicBezTo>
                        <a:pt x="554000" y="143773"/>
                        <a:pt x="554448" y="148364"/>
                        <a:pt x="555429" y="150022"/>
                      </a:cubicBezTo>
                      <a:cubicBezTo>
                        <a:pt x="554247" y="148012"/>
                        <a:pt x="560458" y="152479"/>
                        <a:pt x="558924" y="151936"/>
                      </a:cubicBezTo>
                      <a:cubicBezTo>
                        <a:pt x="561105" y="152698"/>
                        <a:pt x="562829" y="153279"/>
                        <a:pt x="565344" y="152184"/>
                      </a:cubicBezTo>
                      <a:cubicBezTo>
                        <a:pt x="562611" y="156842"/>
                        <a:pt x="557372" y="159756"/>
                        <a:pt x="554562" y="164919"/>
                      </a:cubicBezTo>
                      <a:cubicBezTo>
                        <a:pt x="551990" y="169643"/>
                        <a:pt x="549285" y="174720"/>
                        <a:pt x="544951" y="178845"/>
                      </a:cubicBezTo>
                      <a:cubicBezTo>
                        <a:pt x="543475" y="180254"/>
                        <a:pt x="539008" y="181816"/>
                        <a:pt x="538265" y="183683"/>
                      </a:cubicBezTo>
                      <a:cubicBezTo>
                        <a:pt x="537302" y="186112"/>
                        <a:pt x="540293" y="189189"/>
                        <a:pt x="539093" y="191475"/>
                      </a:cubicBezTo>
                      <a:cubicBezTo>
                        <a:pt x="537931" y="193694"/>
                        <a:pt x="525377" y="197009"/>
                        <a:pt x="535893" y="199771"/>
                      </a:cubicBezTo>
                      <a:cubicBezTo>
                        <a:pt x="533892" y="200685"/>
                        <a:pt x="533169" y="202247"/>
                        <a:pt x="531654" y="203381"/>
                      </a:cubicBezTo>
                      <a:cubicBezTo>
                        <a:pt x="534845" y="203971"/>
                        <a:pt x="537655" y="205248"/>
                        <a:pt x="541055" y="205648"/>
                      </a:cubicBezTo>
                      <a:cubicBezTo>
                        <a:pt x="539455" y="207962"/>
                        <a:pt x="536407" y="208134"/>
                        <a:pt x="535931" y="211468"/>
                      </a:cubicBezTo>
                      <a:cubicBezTo>
                        <a:pt x="535360" y="215525"/>
                        <a:pt x="539998" y="221640"/>
                        <a:pt x="544113" y="221783"/>
                      </a:cubicBezTo>
                      <a:cubicBezTo>
                        <a:pt x="543056" y="224393"/>
                        <a:pt x="542818" y="226574"/>
                        <a:pt x="540941" y="228279"/>
                      </a:cubicBezTo>
                      <a:cubicBezTo>
                        <a:pt x="537645" y="231251"/>
                        <a:pt x="531654" y="230327"/>
                        <a:pt x="528778" y="234261"/>
                      </a:cubicBezTo>
                      <a:cubicBezTo>
                        <a:pt x="527568" y="235918"/>
                        <a:pt x="528825" y="237985"/>
                        <a:pt x="527816" y="239862"/>
                      </a:cubicBezTo>
                      <a:cubicBezTo>
                        <a:pt x="526863" y="241633"/>
                        <a:pt x="524901" y="243272"/>
                        <a:pt x="523558" y="244700"/>
                      </a:cubicBezTo>
                      <a:cubicBezTo>
                        <a:pt x="519586" y="248910"/>
                        <a:pt x="519062" y="249815"/>
                        <a:pt x="513795" y="249672"/>
                      </a:cubicBezTo>
                      <a:cubicBezTo>
                        <a:pt x="509547" y="249558"/>
                        <a:pt x="505289" y="246986"/>
                        <a:pt x="500974" y="246510"/>
                      </a:cubicBezTo>
                      <a:cubicBezTo>
                        <a:pt x="495116" y="245872"/>
                        <a:pt x="489211" y="246767"/>
                        <a:pt x="483362" y="246748"/>
                      </a:cubicBezTo>
                      <a:cubicBezTo>
                        <a:pt x="479314" y="246739"/>
                        <a:pt x="472885" y="247310"/>
                        <a:pt x="469284" y="245234"/>
                      </a:cubicBezTo>
                      <a:cubicBezTo>
                        <a:pt x="467618" y="244272"/>
                        <a:pt x="468980" y="241710"/>
                        <a:pt x="467713" y="240767"/>
                      </a:cubicBezTo>
                      <a:cubicBezTo>
                        <a:pt x="466208" y="239643"/>
                        <a:pt x="463293" y="239852"/>
                        <a:pt x="461503" y="238652"/>
                      </a:cubicBezTo>
                      <a:cubicBezTo>
                        <a:pt x="454711" y="234109"/>
                        <a:pt x="453263" y="221488"/>
                        <a:pt x="449758" y="233775"/>
                      </a:cubicBezTo>
                      <a:cubicBezTo>
                        <a:pt x="448901" y="236776"/>
                        <a:pt x="448768" y="243586"/>
                        <a:pt x="445863" y="244977"/>
                      </a:cubicBezTo>
                      <a:cubicBezTo>
                        <a:pt x="438852" y="248348"/>
                        <a:pt x="438414" y="236957"/>
                        <a:pt x="434966" y="235995"/>
                      </a:cubicBezTo>
                      <a:cubicBezTo>
                        <a:pt x="427079" y="233794"/>
                        <a:pt x="433585" y="247148"/>
                        <a:pt x="431908" y="249977"/>
                      </a:cubicBezTo>
                      <a:cubicBezTo>
                        <a:pt x="428708" y="255359"/>
                        <a:pt x="424517" y="250301"/>
                        <a:pt x="421136" y="251539"/>
                      </a:cubicBezTo>
                      <a:cubicBezTo>
                        <a:pt x="416249" y="253330"/>
                        <a:pt x="419640" y="257550"/>
                        <a:pt x="417802" y="260836"/>
                      </a:cubicBezTo>
                      <a:cubicBezTo>
                        <a:pt x="416154" y="263779"/>
                        <a:pt x="410477" y="263798"/>
                        <a:pt x="409029" y="266894"/>
                      </a:cubicBezTo>
                      <a:cubicBezTo>
                        <a:pt x="407448" y="270265"/>
                        <a:pt x="411030" y="273475"/>
                        <a:pt x="411325" y="277009"/>
                      </a:cubicBezTo>
                      <a:cubicBezTo>
                        <a:pt x="411449" y="278419"/>
                        <a:pt x="408401" y="280391"/>
                        <a:pt x="408820" y="281581"/>
                      </a:cubicBezTo>
                      <a:cubicBezTo>
                        <a:pt x="409391" y="283210"/>
                        <a:pt x="414373" y="282877"/>
                        <a:pt x="415621" y="283905"/>
                      </a:cubicBezTo>
                      <a:cubicBezTo>
                        <a:pt x="415001" y="283400"/>
                        <a:pt x="418278" y="290258"/>
                        <a:pt x="418307" y="289773"/>
                      </a:cubicBezTo>
                      <a:cubicBezTo>
                        <a:pt x="418059" y="295183"/>
                        <a:pt x="403352" y="306003"/>
                        <a:pt x="407667" y="310147"/>
                      </a:cubicBezTo>
                      <a:cubicBezTo>
                        <a:pt x="413001" y="315271"/>
                        <a:pt x="419488" y="303336"/>
                        <a:pt x="423145" y="302193"/>
                      </a:cubicBezTo>
                      <a:cubicBezTo>
                        <a:pt x="430565" y="299888"/>
                        <a:pt x="426441" y="305346"/>
                        <a:pt x="423441" y="309508"/>
                      </a:cubicBezTo>
                      <a:cubicBezTo>
                        <a:pt x="421402" y="312337"/>
                        <a:pt x="412096" y="325006"/>
                        <a:pt x="415973" y="327473"/>
                      </a:cubicBezTo>
                      <a:cubicBezTo>
                        <a:pt x="416535" y="327835"/>
                        <a:pt x="418850" y="323063"/>
                        <a:pt x="419154" y="323101"/>
                      </a:cubicBezTo>
                      <a:cubicBezTo>
                        <a:pt x="420621" y="323301"/>
                        <a:pt x="421764" y="325015"/>
                        <a:pt x="422993" y="325930"/>
                      </a:cubicBezTo>
                      <a:cubicBezTo>
                        <a:pt x="424107" y="326749"/>
                        <a:pt x="422536" y="329120"/>
                        <a:pt x="424650" y="330121"/>
                      </a:cubicBezTo>
                      <a:cubicBezTo>
                        <a:pt x="426993" y="331235"/>
                        <a:pt x="427498" y="329682"/>
                        <a:pt x="428898" y="329749"/>
                      </a:cubicBezTo>
                      <a:cubicBezTo>
                        <a:pt x="435737" y="330092"/>
                        <a:pt x="440510" y="323148"/>
                        <a:pt x="447720" y="328273"/>
                      </a:cubicBezTo>
                      <a:cubicBezTo>
                        <a:pt x="451092" y="330673"/>
                        <a:pt x="453883" y="336198"/>
                        <a:pt x="454111" y="339026"/>
                      </a:cubicBezTo>
                      <a:cubicBezTo>
                        <a:pt x="454206" y="340198"/>
                        <a:pt x="451025" y="340084"/>
                        <a:pt x="452187" y="343141"/>
                      </a:cubicBezTo>
                      <a:cubicBezTo>
                        <a:pt x="453444" y="346437"/>
                        <a:pt x="455064" y="344341"/>
                        <a:pt x="457645" y="343379"/>
                      </a:cubicBezTo>
                      <a:cubicBezTo>
                        <a:pt x="463065" y="341360"/>
                        <a:pt x="461931" y="339169"/>
                        <a:pt x="464122" y="334855"/>
                      </a:cubicBezTo>
                      <a:cubicBezTo>
                        <a:pt x="466417" y="330311"/>
                        <a:pt x="470294" y="329197"/>
                        <a:pt x="473171" y="325653"/>
                      </a:cubicBezTo>
                      <a:cubicBezTo>
                        <a:pt x="477142" y="320758"/>
                        <a:pt x="475447" y="314766"/>
                        <a:pt x="478866" y="309623"/>
                      </a:cubicBezTo>
                      <a:cubicBezTo>
                        <a:pt x="481305" y="305946"/>
                        <a:pt x="484943" y="303974"/>
                        <a:pt x="488534" y="301469"/>
                      </a:cubicBezTo>
                      <a:cubicBezTo>
                        <a:pt x="491478" y="299402"/>
                        <a:pt x="495954" y="294107"/>
                        <a:pt x="497831" y="300422"/>
                      </a:cubicBezTo>
                      <a:cubicBezTo>
                        <a:pt x="499098" y="304708"/>
                        <a:pt x="492449" y="307232"/>
                        <a:pt x="497916" y="310747"/>
                      </a:cubicBezTo>
                      <a:cubicBezTo>
                        <a:pt x="491878" y="314119"/>
                        <a:pt x="482734" y="311575"/>
                        <a:pt x="478200" y="318024"/>
                      </a:cubicBezTo>
                      <a:cubicBezTo>
                        <a:pt x="482486" y="320519"/>
                        <a:pt x="486925" y="330930"/>
                        <a:pt x="479191" y="331807"/>
                      </a:cubicBezTo>
                      <a:cubicBezTo>
                        <a:pt x="491316" y="334921"/>
                        <a:pt x="507051" y="332416"/>
                        <a:pt x="519634" y="332416"/>
                      </a:cubicBezTo>
                      <a:cubicBezTo>
                        <a:pt x="534254" y="332416"/>
                        <a:pt x="548885" y="332416"/>
                        <a:pt x="563506" y="332416"/>
                      </a:cubicBezTo>
                      <a:cubicBezTo>
                        <a:pt x="591995" y="332416"/>
                        <a:pt x="620475" y="332416"/>
                        <a:pt x="648964" y="332416"/>
                      </a:cubicBezTo>
                      <a:cubicBezTo>
                        <a:pt x="647802" y="335388"/>
                        <a:pt x="644744" y="348228"/>
                        <a:pt x="642116" y="349980"/>
                      </a:cubicBezTo>
                      <a:cubicBezTo>
                        <a:pt x="641677" y="350276"/>
                        <a:pt x="635477" y="349056"/>
                        <a:pt x="634296" y="349094"/>
                      </a:cubicBezTo>
                      <a:cubicBezTo>
                        <a:pt x="630771" y="349199"/>
                        <a:pt x="626895" y="349923"/>
                        <a:pt x="623542" y="350961"/>
                      </a:cubicBezTo>
                      <a:cubicBezTo>
                        <a:pt x="614074" y="353895"/>
                        <a:pt x="605597" y="353819"/>
                        <a:pt x="597910" y="359496"/>
                      </a:cubicBezTo>
                      <a:cubicBezTo>
                        <a:pt x="587623" y="367097"/>
                        <a:pt x="575974" y="374212"/>
                        <a:pt x="564811" y="380317"/>
                      </a:cubicBezTo>
                      <a:cubicBezTo>
                        <a:pt x="560048" y="382927"/>
                        <a:pt x="555438" y="386461"/>
                        <a:pt x="549990" y="387461"/>
                      </a:cubicBezTo>
                      <a:cubicBezTo>
                        <a:pt x="543589" y="388652"/>
                        <a:pt x="536883" y="387471"/>
                        <a:pt x="530711" y="387947"/>
                      </a:cubicBezTo>
                      <a:cubicBezTo>
                        <a:pt x="524815" y="388404"/>
                        <a:pt x="518310" y="389204"/>
                        <a:pt x="512518" y="390633"/>
                      </a:cubicBezTo>
                      <a:cubicBezTo>
                        <a:pt x="505660" y="392328"/>
                        <a:pt x="503955" y="388966"/>
                        <a:pt x="496688" y="387928"/>
                      </a:cubicBezTo>
                      <a:cubicBezTo>
                        <a:pt x="491192" y="387137"/>
                        <a:pt x="485982" y="386051"/>
                        <a:pt x="480343" y="385956"/>
                      </a:cubicBezTo>
                      <a:cubicBezTo>
                        <a:pt x="473504" y="385851"/>
                        <a:pt x="467951" y="388423"/>
                        <a:pt x="461112" y="387366"/>
                      </a:cubicBezTo>
                      <a:cubicBezTo>
                        <a:pt x="438785" y="383927"/>
                        <a:pt x="412754" y="385842"/>
                        <a:pt x="391141" y="388509"/>
                      </a:cubicBezTo>
                      <a:cubicBezTo>
                        <a:pt x="378597" y="390052"/>
                        <a:pt x="366662" y="396462"/>
                        <a:pt x="357899" y="406911"/>
                      </a:cubicBezTo>
                      <a:cubicBezTo>
                        <a:pt x="353470" y="412188"/>
                        <a:pt x="352203" y="414845"/>
                        <a:pt x="345298" y="416455"/>
                      </a:cubicBezTo>
                      <a:cubicBezTo>
                        <a:pt x="338144" y="418132"/>
                        <a:pt x="330905" y="418751"/>
                        <a:pt x="323790" y="420741"/>
                      </a:cubicBezTo>
                      <a:cubicBezTo>
                        <a:pt x="324095" y="421237"/>
                        <a:pt x="324400" y="421742"/>
                        <a:pt x="324714" y="422237"/>
                      </a:cubicBezTo>
                      <a:cubicBezTo>
                        <a:pt x="317637" y="425447"/>
                        <a:pt x="310865" y="427914"/>
                        <a:pt x="303845" y="431428"/>
                      </a:cubicBezTo>
                      <a:cubicBezTo>
                        <a:pt x="296110" y="435305"/>
                        <a:pt x="290433" y="441077"/>
                        <a:pt x="283699" y="446268"/>
                      </a:cubicBezTo>
                      <a:cubicBezTo>
                        <a:pt x="270250" y="456641"/>
                        <a:pt x="256906" y="446888"/>
                        <a:pt x="241627" y="444087"/>
                      </a:cubicBezTo>
                      <a:cubicBezTo>
                        <a:pt x="246285" y="448326"/>
                        <a:pt x="253696" y="447592"/>
                        <a:pt x="259649" y="449974"/>
                      </a:cubicBezTo>
                      <a:cubicBezTo>
                        <a:pt x="267183" y="452974"/>
                        <a:pt x="271279" y="453603"/>
                        <a:pt x="264392" y="460918"/>
                      </a:cubicBezTo>
                      <a:cubicBezTo>
                        <a:pt x="259220" y="466423"/>
                        <a:pt x="252848" y="470424"/>
                        <a:pt x="246371" y="474291"/>
                      </a:cubicBezTo>
                      <a:cubicBezTo>
                        <a:pt x="240132" y="478015"/>
                        <a:pt x="234836" y="483073"/>
                        <a:pt x="228540" y="486616"/>
                      </a:cubicBezTo>
                      <a:cubicBezTo>
                        <a:pt x="215843" y="493760"/>
                        <a:pt x="204299" y="497561"/>
                        <a:pt x="190754" y="501047"/>
                      </a:cubicBezTo>
                      <a:cubicBezTo>
                        <a:pt x="183630" y="502885"/>
                        <a:pt x="177896" y="507457"/>
                        <a:pt x="171028" y="510267"/>
                      </a:cubicBezTo>
                      <a:cubicBezTo>
                        <a:pt x="164589" y="512896"/>
                        <a:pt x="159246" y="514372"/>
                        <a:pt x="153616" y="518087"/>
                      </a:cubicBezTo>
                      <a:cubicBezTo>
                        <a:pt x="147549" y="522097"/>
                        <a:pt x="141643" y="527412"/>
                        <a:pt x="134852" y="529965"/>
                      </a:cubicBezTo>
                      <a:cubicBezTo>
                        <a:pt x="126889" y="532946"/>
                        <a:pt x="120403" y="537404"/>
                        <a:pt x="111583" y="536213"/>
                      </a:cubicBezTo>
                      <a:cubicBezTo>
                        <a:pt x="113849" y="538175"/>
                        <a:pt x="118269" y="537975"/>
                        <a:pt x="118326" y="540680"/>
                      </a:cubicBezTo>
                      <a:cubicBezTo>
                        <a:pt x="118364" y="542452"/>
                        <a:pt x="111983" y="544185"/>
                        <a:pt x="110354" y="544462"/>
                      </a:cubicBezTo>
                      <a:cubicBezTo>
                        <a:pt x="101067" y="546014"/>
                        <a:pt x="105810" y="540718"/>
                        <a:pt x="109944" y="535060"/>
                      </a:cubicBezTo>
                      <a:cubicBezTo>
                        <a:pt x="101553" y="529355"/>
                        <a:pt x="89951" y="534718"/>
                        <a:pt x="81179" y="537108"/>
                      </a:cubicBezTo>
                      <a:cubicBezTo>
                        <a:pt x="76016" y="538518"/>
                        <a:pt x="71244" y="539385"/>
                        <a:pt x="66558" y="538699"/>
                      </a:cubicBezTo>
                      <a:cubicBezTo>
                        <a:pt x="63862" y="538309"/>
                        <a:pt x="56881" y="538356"/>
                        <a:pt x="54099" y="536937"/>
                      </a:cubicBezTo>
                      <a:cubicBezTo>
                        <a:pt x="48860" y="534251"/>
                        <a:pt x="52547" y="526955"/>
                        <a:pt x="49089" y="525097"/>
                      </a:cubicBezTo>
                      <a:cubicBezTo>
                        <a:pt x="46813" y="523878"/>
                        <a:pt x="46670" y="528079"/>
                        <a:pt x="44593" y="527764"/>
                      </a:cubicBezTo>
                      <a:cubicBezTo>
                        <a:pt x="41526" y="527298"/>
                        <a:pt x="40259" y="525193"/>
                        <a:pt x="38631" y="523145"/>
                      </a:cubicBezTo>
                      <a:cubicBezTo>
                        <a:pt x="35897" y="519735"/>
                        <a:pt x="36468" y="518649"/>
                        <a:pt x="31439" y="515591"/>
                      </a:cubicBezTo>
                      <a:lnTo>
                        <a:pt x="31439" y="515591"/>
                      </a:lnTo>
                      <a:close/>
                      <a:moveTo>
                        <a:pt x="491240" y="424018"/>
                      </a:moveTo>
                      <a:cubicBezTo>
                        <a:pt x="479067" y="424542"/>
                        <a:pt x="463341" y="423485"/>
                        <a:pt x="452882" y="416112"/>
                      </a:cubicBezTo>
                      <a:cubicBezTo>
                        <a:pt x="448539" y="413055"/>
                        <a:pt x="448282" y="409397"/>
                        <a:pt x="443929" y="406035"/>
                      </a:cubicBezTo>
                      <a:cubicBezTo>
                        <a:pt x="440033" y="403015"/>
                        <a:pt x="426403" y="401530"/>
                        <a:pt x="435823" y="397748"/>
                      </a:cubicBezTo>
                      <a:cubicBezTo>
                        <a:pt x="444110" y="394424"/>
                        <a:pt x="463970" y="401044"/>
                        <a:pt x="471694" y="404730"/>
                      </a:cubicBezTo>
                      <a:cubicBezTo>
                        <a:pt x="477285" y="407397"/>
                        <a:pt x="482591" y="411207"/>
                        <a:pt x="487744" y="414455"/>
                      </a:cubicBezTo>
                      <a:cubicBezTo>
                        <a:pt x="490259" y="416046"/>
                        <a:pt x="499469" y="423085"/>
                        <a:pt x="491240" y="424018"/>
                      </a:cubicBezTo>
                      <a:lnTo>
                        <a:pt x="491240" y="424018"/>
                      </a:lnTo>
                      <a:close/>
                      <a:moveTo>
                        <a:pt x="425355" y="430952"/>
                      </a:moveTo>
                      <a:cubicBezTo>
                        <a:pt x="424231" y="434419"/>
                        <a:pt x="420545" y="431733"/>
                        <a:pt x="417154" y="431981"/>
                      </a:cubicBezTo>
                      <a:cubicBezTo>
                        <a:pt x="431251" y="439449"/>
                        <a:pt x="408477" y="447650"/>
                        <a:pt x="403114" y="450612"/>
                      </a:cubicBezTo>
                      <a:cubicBezTo>
                        <a:pt x="392732" y="456365"/>
                        <a:pt x="386188" y="458680"/>
                        <a:pt x="374873" y="454955"/>
                      </a:cubicBezTo>
                      <a:cubicBezTo>
                        <a:pt x="370901" y="453641"/>
                        <a:pt x="372425" y="453755"/>
                        <a:pt x="368577" y="453850"/>
                      </a:cubicBezTo>
                      <a:cubicBezTo>
                        <a:pt x="367062" y="453879"/>
                        <a:pt x="363700" y="454574"/>
                        <a:pt x="361976" y="454784"/>
                      </a:cubicBezTo>
                      <a:cubicBezTo>
                        <a:pt x="356794" y="455384"/>
                        <a:pt x="351851" y="455908"/>
                        <a:pt x="346726" y="458156"/>
                      </a:cubicBezTo>
                      <a:cubicBezTo>
                        <a:pt x="343526" y="459565"/>
                        <a:pt x="323581" y="466976"/>
                        <a:pt x="324505" y="458527"/>
                      </a:cubicBezTo>
                      <a:cubicBezTo>
                        <a:pt x="319790" y="458527"/>
                        <a:pt x="314513" y="458927"/>
                        <a:pt x="310865" y="459613"/>
                      </a:cubicBezTo>
                      <a:cubicBezTo>
                        <a:pt x="305416" y="460642"/>
                        <a:pt x="304026" y="461118"/>
                        <a:pt x="300873" y="466452"/>
                      </a:cubicBezTo>
                      <a:cubicBezTo>
                        <a:pt x="295101" y="476206"/>
                        <a:pt x="287690" y="477358"/>
                        <a:pt x="276756" y="480701"/>
                      </a:cubicBezTo>
                      <a:cubicBezTo>
                        <a:pt x="277565" y="479587"/>
                        <a:pt x="277746" y="477758"/>
                        <a:pt x="278689" y="476548"/>
                      </a:cubicBezTo>
                      <a:cubicBezTo>
                        <a:pt x="270079" y="472005"/>
                        <a:pt x="245275" y="497580"/>
                        <a:pt x="240199" y="504038"/>
                      </a:cubicBezTo>
                      <a:cubicBezTo>
                        <a:pt x="235265" y="510315"/>
                        <a:pt x="229893" y="515448"/>
                        <a:pt x="225168" y="522107"/>
                      </a:cubicBezTo>
                      <a:cubicBezTo>
                        <a:pt x="221730" y="526964"/>
                        <a:pt x="217910" y="529193"/>
                        <a:pt x="212767" y="532689"/>
                      </a:cubicBezTo>
                      <a:cubicBezTo>
                        <a:pt x="208128" y="535842"/>
                        <a:pt x="207061" y="538451"/>
                        <a:pt x="202823" y="541137"/>
                      </a:cubicBezTo>
                      <a:cubicBezTo>
                        <a:pt x="198336" y="543976"/>
                        <a:pt x="200479" y="543804"/>
                        <a:pt x="195031" y="543604"/>
                      </a:cubicBezTo>
                      <a:cubicBezTo>
                        <a:pt x="186401" y="543281"/>
                        <a:pt x="184154" y="550720"/>
                        <a:pt x="176991" y="552729"/>
                      </a:cubicBezTo>
                      <a:cubicBezTo>
                        <a:pt x="169352" y="554873"/>
                        <a:pt x="158017" y="552777"/>
                        <a:pt x="150045" y="552777"/>
                      </a:cubicBezTo>
                      <a:cubicBezTo>
                        <a:pt x="131147" y="552796"/>
                        <a:pt x="112249" y="552834"/>
                        <a:pt x="93352" y="552844"/>
                      </a:cubicBezTo>
                      <a:cubicBezTo>
                        <a:pt x="103991" y="550777"/>
                        <a:pt x="117688" y="544709"/>
                        <a:pt x="127337" y="540042"/>
                      </a:cubicBezTo>
                      <a:cubicBezTo>
                        <a:pt x="136405" y="535661"/>
                        <a:pt x="142958" y="525031"/>
                        <a:pt x="152369" y="519687"/>
                      </a:cubicBezTo>
                      <a:cubicBezTo>
                        <a:pt x="162637" y="513867"/>
                        <a:pt x="174657" y="509257"/>
                        <a:pt x="185211" y="504123"/>
                      </a:cubicBezTo>
                      <a:cubicBezTo>
                        <a:pt x="195069" y="499332"/>
                        <a:pt x="207547" y="498570"/>
                        <a:pt x="217958" y="494903"/>
                      </a:cubicBezTo>
                      <a:cubicBezTo>
                        <a:pt x="241285" y="486674"/>
                        <a:pt x="257477" y="471119"/>
                        <a:pt x="277975" y="458232"/>
                      </a:cubicBezTo>
                      <a:cubicBezTo>
                        <a:pt x="299016" y="445002"/>
                        <a:pt x="322761" y="435743"/>
                        <a:pt x="346755" y="429171"/>
                      </a:cubicBezTo>
                      <a:cubicBezTo>
                        <a:pt x="360538" y="425399"/>
                        <a:pt x="373149" y="421141"/>
                        <a:pt x="387427" y="419770"/>
                      </a:cubicBezTo>
                      <a:cubicBezTo>
                        <a:pt x="399457" y="418617"/>
                        <a:pt x="419583" y="416998"/>
                        <a:pt x="425355" y="430952"/>
                      </a:cubicBezTo>
                      <a:lnTo>
                        <a:pt x="425355" y="430952"/>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21" name="Freeform: Shape 520">
                  <a:extLst>
                    <a:ext uri="{FF2B5EF4-FFF2-40B4-BE49-F238E27FC236}">
                      <a16:creationId xmlns:a16="http://schemas.microsoft.com/office/drawing/2014/main" id="{06E80582-D64A-4F0B-AD5B-1BA73C4FA49C}"/>
                    </a:ext>
                  </a:extLst>
                </p:cNvPr>
                <p:cNvSpPr/>
                <p:nvPr/>
              </p:nvSpPr>
              <p:spPr>
                <a:xfrm>
                  <a:off x="3883208" y="2882443"/>
                  <a:ext cx="59526" cy="34669"/>
                </a:xfrm>
                <a:custGeom>
                  <a:avLst/>
                  <a:gdLst>
                    <a:gd name="connsiteX0" fmla="*/ 13135 w 59526"/>
                    <a:gd name="connsiteY0" fmla="*/ 18688 h 34669"/>
                    <a:gd name="connsiteX1" fmla="*/ 20469 w 59526"/>
                    <a:gd name="connsiteY1" fmla="*/ 16250 h 34669"/>
                    <a:gd name="connsiteX2" fmla="*/ 25413 w 59526"/>
                    <a:gd name="connsiteY2" fmla="*/ 17440 h 34669"/>
                    <a:gd name="connsiteX3" fmla="*/ 43805 w 59526"/>
                    <a:gd name="connsiteY3" fmla="*/ 18907 h 34669"/>
                    <a:gd name="connsiteX4" fmla="*/ 56093 w 59526"/>
                    <a:gd name="connsiteY4" fmla="*/ 18136 h 34669"/>
                    <a:gd name="connsiteX5" fmla="*/ 56559 w 59526"/>
                    <a:gd name="connsiteY5" fmla="*/ 21707 h 34669"/>
                    <a:gd name="connsiteX6" fmla="*/ 41396 w 59526"/>
                    <a:gd name="connsiteY6" fmla="*/ 32547 h 34669"/>
                    <a:gd name="connsiteX7" fmla="*/ 42777 w 59526"/>
                    <a:gd name="connsiteY7" fmla="*/ 33461 h 34669"/>
                    <a:gd name="connsiteX8" fmla="*/ 32271 w 59526"/>
                    <a:gd name="connsiteY8" fmla="*/ 31299 h 34669"/>
                    <a:gd name="connsiteX9" fmla="*/ 29089 w 59526"/>
                    <a:gd name="connsiteY9" fmla="*/ 31347 h 34669"/>
                    <a:gd name="connsiteX10" fmla="*/ 33376 w 59526"/>
                    <a:gd name="connsiteY10" fmla="*/ 23479 h 34669"/>
                    <a:gd name="connsiteX11" fmla="*/ 24127 w 59526"/>
                    <a:gd name="connsiteY11" fmla="*/ 27146 h 34669"/>
                    <a:gd name="connsiteX12" fmla="*/ 27118 w 59526"/>
                    <a:gd name="connsiteY12" fmla="*/ 27508 h 34669"/>
                    <a:gd name="connsiteX13" fmla="*/ 12116 w 59526"/>
                    <a:gd name="connsiteY13" fmla="*/ 21879 h 34669"/>
                    <a:gd name="connsiteX14" fmla="*/ 13621 w 59526"/>
                    <a:gd name="connsiteY14" fmla="*/ 20917 h 34669"/>
                    <a:gd name="connsiteX15" fmla="*/ 4601 w 59526"/>
                    <a:gd name="connsiteY15" fmla="*/ 20041 h 34669"/>
                    <a:gd name="connsiteX16" fmla="*/ 0 w 59526"/>
                    <a:gd name="connsiteY16" fmla="*/ 13259 h 34669"/>
                    <a:gd name="connsiteX17" fmla="*/ 15878 w 59526"/>
                    <a:gd name="connsiteY17" fmla="*/ 0 h 34669"/>
                    <a:gd name="connsiteX18" fmla="*/ 13573 w 59526"/>
                    <a:gd name="connsiteY18" fmla="*/ 5353 h 34669"/>
                    <a:gd name="connsiteX19" fmla="*/ 10058 w 59526"/>
                    <a:gd name="connsiteY19" fmla="*/ 8668 h 34669"/>
                    <a:gd name="connsiteX20" fmla="*/ 11278 w 59526"/>
                    <a:gd name="connsiteY20" fmla="*/ 11154 h 34669"/>
                    <a:gd name="connsiteX21" fmla="*/ 11125 w 59526"/>
                    <a:gd name="connsiteY21" fmla="*/ 17412 h 34669"/>
                    <a:gd name="connsiteX22" fmla="*/ 13135 w 59526"/>
                    <a:gd name="connsiteY22" fmla="*/ 18688 h 34669"/>
                    <a:gd name="connsiteX23" fmla="*/ 13135 w 59526"/>
                    <a:gd name="connsiteY23" fmla="*/ 18688 h 34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9526" h="34669">
                      <a:moveTo>
                        <a:pt x="13135" y="18688"/>
                      </a:moveTo>
                      <a:cubicBezTo>
                        <a:pt x="15850" y="18021"/>
                        <a:pt x="17164" y="16269"/>
                        <a:pt x="20469" y="16250"/>
                      </a:cubicBezTo>
                      <a:cubicBezTo>
                        <a:pt x="21269" y="16250"/>
                        <a:pt x="24412" y="17116"/>
                        <a:pt x="25413" y="17440"/>
                      </a:cubicBezTo>
                      <a:cubicBezTo>
                        <a:pt x="32337" y="19641"/>
                        <a:pt x="36052" y="19679"/>
                        <a:pt x="43805" y="18907"/>
                      </a:cubicBezTo>
                      <a:cubicBezTo>
                        <a:pt x="47158" y="18574"/>
                        <a:pt x="52740" y="17335"/>
                        <a:pt x="56093" y="18136"/>
                      </a:cubicBezTo>
                      <a:cubicBezTo>
                        <a:pt x="61236" y="19355"/>
                        <a:pt x="59931" y="18955"/>
                        <a:pt x="56559" y="21707"/>
                      </a:cubicBezTo>
                      <a:cubicBezTo>
                        <a:pt x="51302" y="26003"/>
                        <a:pt x="42634" y="24470"/>
                        <a:pt x="41396" y="32547"/>
                      </a:cubicBezTo>
                      <a:cubicBezTo>
                        <a:pt x="41939" y="32995"/>
                        <a:pt x="42167" y="32909"/>
                        <a:pt x="42777" y="33461"/>
                      </a:cubicBezTo>
                      <a:cubicBezTo>
                        <a:pt x="39710" y="34681"/>
                        <a:pt x="31766" y="36166"/>
                        <a:pt x="32271" y="31299"/>
                      </a:cubicBezTo>
                      <a:cubicBezTo>
                        <a:pt x="31070" y="31471"/>
                        <a:pt x="30175" y="31347"/>
                        <a:pt x="29089" y="31347"/>
                      </a:cubicBezTo>
                      <a:cubicBezTo>
                        <a:pt x="37586" y="30356"/>
                        <a:pt x="26508" y="26851"/>
                        <a:pt x="33376" y="23479"/>
                      </a:cubicBezTo>
                      <a:cubicBezTo>
                        <a:pt x="30308" y="24727"/>
                        <a:pt x="27280" y="26060"/>
                        <a:pt x="24127" y="27146"/>
                      </a:cubicBezTo>
                      <a:cubicBezTo>
                        <a:pt x="25127" y="27270"/>
                        <a:pt x="26117" y="27384"/>
                        <a:pt x="27118" y="27508"/>
                      </a:cubicBezTo>
                      <a:cubicBezTo>
                        <a:pt x="22622" y="30242"/>
                        <a:pt x="13106" y="27375"/>
                        <a:pt x="12116" y="21879"/>
                      </a:cubicBezTo>
                      <a:cubicBezTo>
                        <a:pt x="12792" y="21517"/>
                        <a:pt x="13202" y="21250"/>
                        <a:pt x="13621" y="20917"/>
                      </a:cubicBezTo>
                      <a:cubicBezTo>
                        <a:pt x="10563" y="20469"/>
                        <a:pt x="7553" y="20974"/>
                        <a:pt x="4601" y="20041"/>
                      </a:cubicBezTo>
                      <a:cubicBezTo>
                        <a:pt x="8506" y="15297"/>
                        <a:pt x="4972" y="12697"/>
                        <a:pt x="0" y="13259"/>
                      </a:cubicBezTo>
                      <a:cubicBezTo>
                        <a:pt x="1248" y="7487"/>
                        <a:pt x="11125" y="2800"/>
                        <a:pt x="15878" y="0"/>
                      </a:cubicBezTo>
                      <a:cubicBezTo>
                        <a:pt x="15392" y="1838"/>
                        <a:pt x="14154" y="3724"/>
                        <a:pt x="13573" y="5353"/>
                      </a:cubicBezTo>
                      <a:cubicBezTo>
                        <a:pt x="13125" y="6610"/>
                        <a:pt x="10201" y="7363"/>
                        <a:pt x="10058" y="8668"/>
                      </a:cubicBezTo>
                      <a:cubicBezTo>
                        <a:pt x="9963" y="9525"/>
                        <a:pt x="11373" y="10249"/>
                        <a:pt x="11278" y="11154"/>
                      </a:cubicBezTo>
                      <a:cubicBezTo>
                        <a:pt x="11001" y="14011"/>
                        <a:pt x="15269" y="14583"/>
                        <a:pt x="11125" y="17412"/>
                      </a:cubicBezTo>
                      <a:cubicBezTo>
                        <a:pt x="12640" y="17421"/>
                        <a:pt x="12306" y="18183"/>
                        <a:pt x="13135" y="18688"/>
                      </a:cubicBezTo>
                      <a:lnTo>
                        <a:pt x="13135" y="18688"/>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22" name="Freeform: Shape 521">
                  <a:extLst>
                    <a:ext uri="{FF2B5EF4-FFF2-40B4-BE49-F238E27FC236}">
                      <a16:creationId xmlns:a16="http://schemas.microsoft.com/office/drawing/2014/main" id="{C4E0627B-26A3-4E6D-873F-7F2A22956788}"/>
                    </a:ext>
                  </a:extLst>
                </p:cNvPr>
                <p:cNvSpPr/>
                <p:nvPr/>
              </p:nvSpPr>
              <p:spPr>
                <a:xfrm>
                  <a:off x="3118970" y="2574681"/>
                  <a:ext cx="482545" cy="476994"/>
                </a:xfrm>
                <a:custGeom>
                  <a:avLst/>
                  <a:gdLst>
                    <a:gd name="connsiteX0" fmla="*/ 31642 w 482545"/>
                    <a:gd name="connsiteY0" fmla="*/ 258785 h 476994"/>
                    <a:gd name="connsiteX1" fmla="*/ 24193 w 482545"/>
                    <a:gd name="connsiteY1" fmla="*/ 261385 h 476994"/>
                    <a:gd name="connsiteX2" fmla="*/ 19059 w 482545"/>
                    <a:gd name="connsiteY2" fmla="*/ 259071 h 476994"/>
                    <a:gd name="connsiteX3" fmla="*/ 1381 w 482545"/>
                    <a:gd name="connsiteY3" fmla="*/ 254556 h 476994"/>
                    <a:gd name="connsiteX4" fmla="*/ 0 w 482545"/>
                    <a:gd name="connsiteY4" fmla="*/ 235058 h 476994"/>
                    <a:gd name="connsiteX5" fmla="*/ 52692 w 482545"/>
                    <a:gd name="connsiteY5" fmla="*/ 153010 h 476994"/>
                    <a:gd name="connsiteX6" fmla="*/ 67113 w 482545"/>
                    <a:gd name="connsiteY6" fmla="*/ 131103 h 476994"/>
                    <a:gd name="connsiteX7" fmla="*/ 85258 w 482545"/>
                    <a:gd name="connsiteY7" fmla="*/ 118777 h 476994"/>
                    <a:gd name="connsiteX8" fmla="*/ 129350 w 482545"/>
                    <a:gd name="connsiteY8" fmla="*/ 96460 h 476994"/>
                    <a:gd name="connsiteX9" fmla="*/ 218189 w 482545"/>
                    <a:gd name="connsiteY9" fmla="*/ 46778 h 476994"/>
                    <a:gd name="connsiteX10" fmla="*/ 263871 w 482545"/>
                    <a:gd name="connsiteY10" fmla="*/ 22336 h 476994"/>
                    <a:gd name="connsiteX11" fmla="*/ 285788 w 482545"/>
                    <a:gd name="connsiteY11" fmla="*/ 10773 h 476994"/>
                    <a:gd name="connsiteX12" fmla="*/ 306476 w 482545"/>
                    <a:gd name="connsiteY12" fmla="*/ 0 h 476994"/>
                    <a:gd name="connsiteX13" fmla="*/ 323107 w 482545"/>
                    <a:gd name="connsiteY13" fmla="*/ 14926 h 476994"/>
                    <a:gd name="connsiteX14" fmla="*/ 326717 w 482545"/>
                    <a:gd name="connsiteY14" fmla="*/ 25508 h 476994"/>
                    <a:gd name="connsiteX15" fmla="*/ 338680 w 482545"/>
                    <a:gd name="connsiteY15" fmla="*/ 28975 h 476994"/>
                    <a:gd name="connsiteX16" fmla="*/ 364131 w 482545"/>
                    <a:gd name="connsiteY16" fmla="*/ 40177 h 476994"/>
                    <a:gd name="connsiteX17" fmla="*/ 360436 w 482545"/>
                    <a:gd name="connsiteY17" fmla="*/ 55198 h 476994"/>
                    <a:gd name="connsiteX18" fmla="*/ 398259 w 482545"/>
                    <a:gd name="connsiteY18" fmla="*/ 48168 h 476994"/>
                    <a:gd name="connsiteX19" fmla="*/ 416252 w 482545"/>
                    <a:gd name="connsiteY19" fmla="*/ 50921 h 476994"/>
                    <a:gd name="connsiteX20" fmla="*/ 431530 w 482545"/>
                    <a:gd name="connsiteY20" fmla="*/ 53693 h 476994"/>
                    <a:gd name="connsiteX21" fmla="*/ 417586 w 482545"/>
                    <a:gd name="connsiteY21" fmla="*/ 83973 h 476994"/>
                    <a:gd name="connsiteX22" fmla="*/ 418052 w 482545"/>
                    <a:gd name="connsiteY22" fmla="*/ 91517 h 476994"/>
                    <a:gd name="connsiteX23" fmla="*/ 412975 w 482545"/>
                    <a:gd name="connsiteY23" fmla="*/ 100422 h 476994"/>
                    <a:gd name="connsiteX24" fmla="*/ 401564 w 482545"/>
                    <a:gd name="connsiteY24" fmla="*/ 116415 h 476994"/>
                    <a:gd name="connsiteX25" fmla="*/ 403174 w 482545"/>
                    <a:gd name="connsiteY25" fmla="*/ 131693 h 476994"/>
                    <a:gd name="connsiteX26" fmla="*/ 396335 w 482545"/>
                    <a:gd name="connsiteY26" fmla="*/ 145133 h 476994"/>
                    <a:gd name="connsiteX27" fmla="*/ 417528 w 482545"/>
                    <a:gd name="connsiteY27" fmla="*/ 158858 h 476994"/>
                    <a:gd name="connsiteX28" fmla="*/ 401984 w 482545"/>
                    <a:gd name="connsiteY28" fmla="*/ 179756 h 476994"/>
                    <a:gd name="connsiteX29" fmla="*/ 428815 w 482545"/>
                    <a:gd name="connsiteY29" fmla="*/ 178232 h 476994"/>
                    <a:gd name="connsiteX30" fmla="*/ 421024 w 482545"/>
                    <a:gd name="connsiteY30" fmla="*/ 207912 h 476994"/>
                    <a:gd name="connsiteX31" fmla="*/ 386972 w 482545"/>
                    <a:gd name="connsiteY31" fmla="*/ 272968 h 476994"/>
                    <a:gd name="connsiteX32" fmla="*/ 373951 w 482545"/>
                    <a:gd name="connsiteY32" fmla="*/ 301114 h 476994"/>
                    <a:gd name="connsiteX33" fmla="*/ 382676 w 482545"/>
                    <a:gd name="connsiteY33" fmla="*/ 330527 h 476994"/>
                    <a:gd name="connsiteX34" fmla="*/ 411261 w 482545"/>
                    <a:gd name="connsiteY34" fmla="*/ 342148 h 476994"/>
                    <a:gd name="connsiteX35" fmla="*/ 416623 w 482545"/>
                    <a:gd name="connsiteY35" fmla="*/ 347463 h 476994"/>
                    <a:gd name="connsiteX36" fmla="*/ 422024 w 482545"/>
                    <a:gd name="connsiteY36" fmla="*/ 344901 h 476994"/>
                    <a:gd name="connsiteX37" fmla="*/ 430178 w 482545"/>
                    <a:gd name="connsiteY37" fmla="*/ 357340 h 476994"/>
                    <a:gd name="connsiteX38" fmla="*/ 447113 w 482545"/>
                    <a:gd name="connsiteY38" fmla="*/ 358617 h 476994"/>
                    <a:gd name="connsiteX39" fmla="*/ 482546 w 482545"/>
                    <a:gd name="connsiteY39" fmla="*/ 354816 h 476994"/>
                    <a:gd name="connsiteX40" fmla="*/ 478907 w 482545"/>
                    <a:gd name="connsiteY40" fmla="*/ 365941 h 476994"/>
                    <a:gd name="connsiteX41" fmla="*/ 432540 w 482545"/>
                    <a:gd name="connsiteY41" fmla="*/ 386677 h 476994"/>
                    <a:gd name="connsiteX42" fmla="*/ 393897 w 482545"/>
                    <a:gd name="connsiteY42" fmla="*/ 411499 h 476994"/>
                    <a:gd name="connsiteX43" fmla="*/ 344576 w 482545"/>
                    <a:gd name="connsiteY43" fmla="*/ 415814 h 476994"/>
                    <a:gd name="connsiteX44" fmla="*/ 322793 w 482545"/>
                    <a:gd name="connsiteY44" fmla="*/ 421101 h 476994"/>
                    <a:gd name="connsiteX45" fmla="*/ 320897 w 482545"/>
                    <a:gd name="connsiteY45" fmla="*/ 436598 h 476994"/>
                    <a:gd name="connsiteX46" fmla="*/ 281273 w 482545"/>
                    <a:gd name="connsiteY46" fmla="*/ 454133 h 476994"/>
                    <a:gd name="connsiteX47" fmla="*/ 254508 w 482545"/>
                    <a:gd name="connsiteY47" fmla="*/ 459296 h 476994"/>
                    <a:gd name="connsiteX48" fmla="*/ 230400 w 482545"/>
                    <a:gd name="connsiteY48" fmla="*/ 467306 h 476994"/>
                    <a:gd name="connsiteX49" fmla="*/ 192005 w 482545"/>
                    <a:gd name="connsiteY49" fmla="*/ 467135 h 476994"/>
                    <a:gd name="connsiteX50" fmla="*/ 209502 w 482545"/>
                    <a:gd name="connsiteY50" fmla="*/ 452257 h 476994"/>
                    <a:gd name="connsiteX51" fmla="*/ 227028 w 482545"/>
                    <a:gd name="connsiteY51" fmla="*/ 435683 h 476994"/>
                    <a:gd name="connsiteX52" fmla="*/ 243907 w 482545"/>
                    <a:gd name="connsiteY52" fmla="*/ 416767 h 476994"/>
                    <a:gd name="connsiteX53" fmla="*/ 252203 w 482545"/>
                    <a:gd name="connsiteY53" fmla="*/ 389116 h 476994"/>
                    <a:gd name="connsiteX54" fmla="*/ 259442 w 482545"/>
                    <a:gd name="connsiteY54" fmla="*/ 365751 h 476994"/>
                    <a:gd name="connsiteX55" fmla="*/ 253241 w 482545"/>
                    <a:gd name="connsiteY55" fmla="*/ 356121 h 476994"/>
                    <a:gd name="connsiteX56" fmla="*/ 240392 w 482545"/>
                    <a:gd name="connsiteY56" fmla="*/ 346948 h 476994"/>
                    <a:gd name="connsiteX57" fmla="*/ 245459 w 482545"/>
                    <a:gd name="connsiteY57" fmla="*/ 338433 h 476994"/>
                    <a:gd name="connsiteX58" fmla="*/ 234534 w 482545"/>
                    <a:gd name="connsiteY58" fmla="*/ 338490 h 476994"/>
                    <a:gd name="connsiteX59" fmla="*/ 233372 w 482545"/>
                    <a:gd name="connsiteY59" fmla="*/ 324622 h 476994"/>
                    <a:gd name="connsiteX60" fmla="*/ 224571 w 482545"/>
                    <a:gd name="connsiteY60" fmla="*/ 325441 h 476994"/>
                    <a:gd name="connsiteX61" fmla="*/ 223390 w 482545"/>
                    <a:gd name="connsiteY61" fmla="*/ 312154 h 476994"/>
                    <a:gd name="connsiteX62" fmla="*/ 198587 w 482545"/>
                    <a:gd name="connsiteY62" fmla="*/ 295523 h 476994"/>
                    <a:gd name="connsiteX63" fmla="*/ 174603 w 482545"/>
                    <a:gd name="connsiteY63" fmla="*/ 279931 h 476994"/>
                    <a:gd name="connsiteX64" fmla="*/ 150438 w 482545"/>
                    <a:gd name="connsiteY64" fmla="*/ 269748 h 476994"/>
                    <a:gd name="connsiteX65" fmla="*/ 122225 w 482545"/>
                    <a:gd name="connsiteY65" fmla="*/ 278273 h 476994"/>
                    <a:gd name="connsiteX66" fmla="*/ 111538 w 482545"/>
                    <a:gd name="connsiteY66" fmla="*/ 278245 h 476994"/>
                    <a:gd name="connsiteX67" fmla="*/ 108947 w 482545"/>
                    <a:gd name="connsiteY67" fmla="*/ 275711 h 476994"/>
                    <a:gd name="connsiteX68" fmla="*/ 102003 w 482545"/>
                    <a:gd name="connsiteY68" fmla="*/ 275054 h 476994"/>
                    <a:gd name="connsiteX69" fmla="*/ 94707 w 482545"/>
                    <a:gd name="connsiteY69" fmla="*/ 274635 h 476994"/>
                    <a:gd name="connsiteX70" fmla="*/ 90135 w 482545"/>
                    <a:gd name="connsiteY70" fmla="*/ 272968 h 476994"/>
                    <a:gd name="connsiteX71" fmla="*/ 78029 w 482545"/>
                    <a:gd name="connsiteY71" fmla="*/ 275006 h 476994"/>
                    <a:gd name="connsiteX72" fmla="*/ 50349 w 482545"/>
                    <a:gd name="connsiteY72" fmla="*/ 269463 h 476994"/>
                    <a:gd name="connsiteX73" fmla="*/ 31642 w 482545"/>
                    <a:gd name="connsiteY73" fmla="*/ 258785 h 476994"/>
                    <a:gd name="connsiteX74" fmla="*/ 31642 w 482545"/>
                    <a:gd name="connsiteY74" fmla="*/ 258785 h 476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482545" h="476994">
                      <a:moveTo>
                        <a:pt x="31642" y="258785"/>
                      </a:moveTo>
                      <a:cubicBezTo>
                        <a:pt x="29556" y="260128"/>
                        <a:pt x="26737" y="261424"/>
                        <a:pt x="24193" y="261385"/>
                      </a:cubicBezTo>
                      <a:cubicBezTo>
                        <a:pt x="20288" y="261328"/>
                        <a:pt x="20822" y="259690"/>
                        <a:pt x="19059" y="259071"/>
                      </a:cubicBezTo>
                      <a:cubicBezTo>
                        <a:pt x="15497" y="257814"/>
                        <a:pt x="3343" y="257347"/>
                        <a:pt x="1381" y="254556"/>
                      </a:cubicBezTo>
                      <a:cubicBezTo>
                        <a:pt x="-3000" y="248346"/>
                        <a:pt x="14049" y="233658"/>
                        <a:pt x="0" y="235058"/>
                      </a:cubicBezTo>
                      <a:cubicBezTo>
                        <a:pt x="17183" y="207464"/>
                        <a:pt x="34861" y="180185"/>
                        <a:pt x="52692" y="153010"/>
                      </a:cubicBezTo>
                      <a:cubicBezTo>
                        <a:pt x="57464" y="145723"/>
                        <a:pt x="62027" y="138170"/>
                        <a:pt x="67113" y="131103"/>
                      </a:cubicBezTo>
                      <a:cubicBezTo>
                        <a:pt x="71857" y="124511"/>
                        <a:pt x="77924" y="122482"/>
                        <a:pt x="85258" y="118777"/>
                      </a:cubicBezTo>
                      <a:cubicBezTo>
                        <a:pt x="99946" y="111367"/>
                        <a:pt x="114881" y="104299"/>
                        <a:pt x="129350" y="96460"/>
                      </a:cubicBezTo>
                      <a:cubicBezTo>
                        <a:pt x="159172" y="80296"/>
                        <a:pt x="188338" y="62923"/>
                        <a:pt x="218189" y="46778"/>
                      </a:cubicBezTo>
                      <a:cubicBezTo>
                        <a:pt x="233382" y="38558"/>
                        <a:pt x="248650" y="30499"/>
                        <a:pt x="263871" y="22336"/>
                      </a:cubicBezTo>
                      <a:cubicBezTo>
                        <a:pt x="271158" y="18431"/>
                        <a:pt x="278473" y="14612"/>
                        <a:pt x="285788" y="10773"/>
                      </a:cubicBezTo>
                      <a:cubicBezTo>
                        <a:pt x="290551" y="8268"/>
                        <a:pt x="301152" y="-66"/>
                        <a:pt x="306476" y="0"/>
                      </a:cubicBezTo>
                      <a:cubicBezTo>
                        <a:pt x="310172" y="48"/>
                        <a:pt x="320859" y="10764"/>
                        <a:pt x="323107" y="14926"/>
                      </a:cubicBezTo>
                      <a:cubicBezTo>
                        <a:pt x="324907" y="18269"/>
                        <a:pt x="323812" y="22851"/>
                        <a:pt x="326717" y="25508"/>
                      </a:cubicBezTo>
                      <a:cubicBezTo>
                        <a:pt x="329346" y="27918"/>
                        <a:pt x="335490" y="27899"/>
                        <a:pt x="338680" y="28975"/>
                      </a:cubicBezTo>
                      <a:cubicBezTo>
                        <a:pt x="346177" y="31500"/>
                        <a:pt x="358530" y="34690"/>
                        <a:pt x="364131" y="40177"/>
                      </a:cubicBezTo>
                      <a:cubicBezTo>
                        <a:pt x="371580" y="47482"/>
                        <a:pt x="367084" y="48816"/>
                        <a:pt x="360436" y="55198"/>
                      </a:cubicBezTo>
                      <a:cubicBezTo>
                        <a:pt x="371170" y="47625"/>
                        <a:pt x="385191" y="47702"/>
                        <a:pt x="398259" y="48168"/>
                      </a:cubicBezTo>
                      <a:cubicBezTo>
                        <a:pt x="404165" y="48378"/>
                        <a:pt x="410137" y="50588"/>
                        <a:pt x="416252" y="50921"/>
                      </a:cubicBezTo>
                      <a:cubicBezTo>
                        <a:pt x="420976" y="51178"/>
                        <a:pt x="427425" y="50921"/>
                        <a:pt x="431530" y="53693"/>
                      </a:cubicBezTo>
                      <a:cubicBezTo>
                        <a:pt x="442998" y="61437"/>
                        <a:pt x="418776" y="75457"/>
                        <a:pt x="417586" y="83973"/>
                      </a:cubicBezTo>
                      <a:cubicBezTo>
                        <a:pt x="417243" y="86411"/>
                        <a:pt x="418700" y="88488"/>
                        <a:pt x="418052" y="91517"/>
                      </a:cubicBezTo>
                      <a:cubicBezTo>
                        <a:pt x="417243" y="95336"/>
                        <a:pt x="414966" y="97251"/>
                        <a:pt x="412975" y="100422"/>
                      </a:cubicBezTo>
                      <a:cubicBezTo>
                        <a:pt x="409089" y="106604"/>
                        <a:pt x="406032" y="110900"/>
                        <a:pt x="401564" y="116415"/>
                      </a:cubicBezTo>
                      <a:cubicBezTo>
                        <a:pt x="397078" y="121949"/>
                        <a:pt x="400955" y="125435"/>
                        <a:pt x="403174" y="131693"/>
                      </a:cubicBezTo>
                      <a:cubicBezTo>
                        <a:pt x="406575" y="141275"/>
                        <a:pt x="404813" y="140913"/>
                        <a:pt x="396335" y="145133"/>
                      </a:cubicBezTo>
                      <a:cubicBezTo>
                        <a:pt x="404022" y="144533"/>
                        <a:pt x="414480" y="150229"/>
                        <a:pt x="417528" y="158858"/>
                      </a:cubicBezTo>
                      <a:cubicBezTo>
                        <a:pt x="422138" y="171955"/>
                        <a:pt x="410775" y="174232"/>
                        <a:pt x="401984" y="179756"/>
                      </a:cubicBezTo>
                      <a:cubicBezTo>
                        <a:pt x="411318" y="177861"/>
                        <a:pt x="420129" y="168126"/>
                        <a:pt x="428815" y="178232"/>
                      </a:cubicBezTo>
                      <a:cubicBezTo>
                        <a:pt x="436474" y="187148"/>
                        <a:pt x="425529" y="199387"/>
                        <a:pt x="421024" y="207912"/>
                      </a:cubicBezTo>
                      <a:cubicBezTo>
                        <a:pt x="409584" y="229543"/>
                        <a:pt x="398174" y="251203"/>
                        <a:pt x="386972" y="272968"/>
                      </a:cubicBezTo>
                      <a:cubicBezTo>
                        <a:pt x="382191" y="282274"/>
                        <a:pt x="375771" y="291494"/>
                        <a:pt x="373951" y="301114"/>
                      </a:cubicBezTo>
                      <a:cubicBezTo>
                        <a:pt x="372180" y="310449"/>
                        <a:pt x="372704" y="326346"/>
                        <a:pt x="382676" y="330527"/>
                      </a:cubicBezTo>
                      <a:cubicBezTo>
                        <a:pt x="393649" y="335138"/>
                        <a:pt x="403831" y="332842"/>
                        <a:pt x="411261" y="342148"/>
                      </a:cubicBezTo>
                      <a:cubicBezTo>
                        <a:pt x="412747" y="344015"/>
                        <a:pt x="412956" y="347025"/>
                        <a:pt x="416623" y="347463"/>
                      </a:cubicBezTo>
                      <a:cubicBezTo>
                        <a:pt x="418976" y="347749"/>
                        <a:pt x="419814" y="343481"/>
                        <a:pt x="422024" y="344901"/>
                      </a:cubicBezTo>
                      <a:cubicBezTo>
                        <a:pt x="426987" y="348101"/>
                        <a:pt x="420291" y="355464"/>
                        <a:pt x="430178" y="357340"/>
                      </a:cubicBezTo>
                      <a:cubicBezTo>
                        <a:pt x="435626" y="358369"/>
                        <a:pt x="441579" y="359674"/>
                        <a:pt x="447113" y="358617"/>
                      </a:cubicBezTo>
                      <a:cubicBezTo>
                        <a:pt x="457524" y="356626"/>
                        <a:pt x="472516" y="347939"/>
                        <a:pt x="482546" y="354816"/>
                      </a:cubicBezTo>
                      <a:cubicBezTo>
                        <a:pt x="480051" y="358245"/>
                        <a:pt x="474745" y="362217"/>
                        <a:pt x="478907" y="365941"/>
                      </a:cubicBezTo>
                      <a:cubicBezTo>
                        <a:pt x="463687" y="373209"/>
                        <a:pt x="447627" y="377209"/>
                        <a:pt x="432540" y="386677"/>
                      </a:cubicBezTo>
                      <a:cubicBezTo>
                        <a:pt x="419243" y="395021"/>
                        <a:pt x="406089" y="401041"/>
                        <a:pt x="393897" y="411499"/>
                      </a:cubicBezTo>
                      <a:cubicBezTo>
                        <a:pt x="383048" y="420815"/>
                        <a:pt x="358797" y="415538"/>
                        <a:pt x="344576" y="415814"/>
                      </a:cubicBezTo>
                      <a:cubicBezTo>
                        <a:pt x="339585" y="415910"/>
                        <a:pt x="326146" y="416814"/>
                        <a:pt x="322793" y="421101"/>
                      </a:cubicBezTo>
                      <a:cubicBezTo>
                        <a:pt x="320812" y="423644"/>
                        <a:pt x="321764" y="434312"/>
                        <a:pt x="320897" y="436598"/>
                      </a:cubicBezTo>
                      <a:cubicBezTo>
                        <a:pt x="317449" y="445704"/>
                        <a:pt x="291741" y="450923"/>
                        <a:pt x="281273" y="454133"/>
                      </a:cubicBezTo>
                      <a:cubicBezTo>
                        <a:pt x="272596" y="456791"/>
                        <a:pt x="263490" y="457877"/>
                        <a:pt x="254508" y="459296"/>
                      </a:cubicBezTo>
                      <a:cubicBezTo>
                        <a:pt x="245774" y="460677"/>
                        <a:pt x="238525" y="463877"/>
                        <a:pt x="230400" y="467306"/>
                      </a:cubicBezTo>
                      <a:cubicBezTo>
                        <a:pt x="222675" y="470554"/>
                        <a:pt x="189176" y="487480"/>
                        <a:pt x="192005" y="467135"/>
                      </a:cubicBezTo>
                      <a:cubicBezTo>
                        <a:pt x="193195" y="458601"/>
                        <a:pt x="203254" y="455838"/>
                        <a:pt x="209502" y="452257"/>
                      </a:cubicBezTo>
                      <a:cubicBezTo>
                        <a:pt x="217589" y="447618"/>
                        <a:pt x="221351" y="443046"/>
                        <a:pt x="227028" y="435683"/>
                      </a:cubicBezTo>
                      <a:cubicBezTo>
                        <a:pt x="231981" y="429264"/>
                        <a:pt x="240116" y="423796"/>
                        <a:pt x="243907" y="416767"/>
                      </a:cubicBezTo>
                      <a:cubicBezTo>
                        <a:pt x="248126" y="408956"/>
                        <a:pt x="249603" y="397650"/>
                        <a:pt x="252203" y="389116"/>
                      </a:cubicBezTo>
                      <a:cubicBezTo>
                        <a:pt x="254422" y="381848"/>
                        <a:pt x="258804" y="373247"/>
                        <a:pt x="259442" y="365751"/>
                      </a:cubicBezTo>
                      <a:cubicBezTo>
                        <a:pt x="259928" y="360074"/>
                        <a:pt x="258051" y="359588"/>
                        <a:pt x="253241" y="356121"/>
                      </a:cubicBezTo>
                      <a:cubicBezTo>
                        <a:pt x="248974" y="353054"/>
                        <a:pt x="244573" y="350168"/>
                        <a:pt x="240392" y="346948"/>
                      </a:cubicBezTo>
                      <a:cubicBezTo>
                        <a:pt x="242649" y="344920"/>
                        <a:pt x="249022" y="341748"/>
                        <a:pt x="245459" y="338433"/>
                      </a:cubicBezTo>
                      <a:cubicBezTo>
                        <a:pt x="242421" y="335614"/>
                        <a:pt x="236982" y="340948"/>
                        <a:pt x="234534" y="338490"/>
                      </a:cubicBezTo>
                      <a:cubicBezTo>
                        <a:pt x="228305" y="332270"/>
                        <a:pt x="244707" y="324031"/>
                        <a:pt x="233372" y="324622"/>
                      </a:cubicBezTo>
                      <a:cubicBezTo>
                        <a:pt x="229686" y="324812"/>
                        <a:pt x="227190" y="327565"/>
                        <a:pt x="224571" y="325441"/>
                      </a:cubicBezTo>
                      <a:cubicBezTo>
                        <a:pt x="220151" y="321869"/>
                        <a:pt x="225276" y="315621"/>
                        <a:pt x="223390" y="312154"/>
                      </a:cubicBezTo>
                      <a:cubicBezTo>
                        <a:pt x="220104" y="306124"/>
                        <a:pt x="204445" y="299457"/>
                        <a:pt x="198587" y="295523"/>
                      </a:cubicBezTo>
                      <a:cubicBezTo>
                        <a:pt x="190671" y="290208"/>
                        <a:pt x="182613" y="285103"/>
                        <a:pt x="174603" y="279931"/>
                      </a:cubicBezTo>
                      <a:cubicBezTo>
                        <a:pt x="166897" y="274968"/>
                        <a:pt x="159829" y="267767"/>
                        <a:pt x="150438" y="269748"/>
                      </a:cubicBezTo>
                      <a:cubicBezTo>
                        <a:pt x="140837" y="271777"/>
                        <a:pt x="132255" y="277940"/>
                        <a:pt x="122225" y="278273"/>
                      </a:cubicBezTo>
                      <a:cubicBezTo>
                        <a:pt x="119805" y="278359"/>
                        <a:pt x="113509" y="279016"/>
                        <a:pt x="111538" y="278245"/>
                      </a:cubicBezTo>
                      <a:cubicBezTo>
                        <a:pt x="110509" y="277835"/>
                        <a:pt x="108661" y="275635"/>
                        <a:pt x="108947" y="275711"/>
                      </a:cubicBezTo>
                      <a:cubicBezTo>
                        <a:pt x="107080" y="275216"/>
                        <a:pt x="105070" y="275149"/>
                        <a:pt x="102003" y="275054"/>
                      </a:cubicBezTo>
                      <a:cubicBezTo>
                        <a:pt x="99679" y="274987"/>
                        <a:pt x="96964" y="275159"/>
                        <a:pt x="94707" y="274635"/>
                      </a:cubicBezTo>
                      <a:cubicBezTo>
                        <a:pt x="93116" y="274263"/>
                        <a:pt x="90345" y="273025"/>
                        <a:pt x="90135" y="272968"/>
                      </a:cubicBezTo>
                      <a:cubicBezTo>
                        <a:pt x="86220" y="271987"/>
                        <a:pt x="83572" y="273282"/>
                        <a:pt x="78029" y="275006"/>
                      </a:cubicBezTo>
                      <a:cubicBezTo>
                        <a:pt x="64979" y="279073"/>
                        <a:pt x="62875" y="264529"/>
                        <a:pt x="50349" y="269463"/>
                      </a:cubicBezTo>
                      <a:cubicBezTo>
                        <a:pt x="54769" y="260061"/>
                        <a:pt x="37690" y="257804"/>
                        <a:pt x="31642" y="258785"/>
                      </a:cubicBezTo>
                      <a:lnTo>
                        <a:pt x="31642" y="258785"/>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23" name="Freeform: Shape 522">
                  <a:extLst>
                    <a:ext uri="{FF2B5EF4-FFF2-40B4-BE49-F238E27FC236}">
                      <a16:creationId xmlns:a16="http://schemas.microsoft.com/office/drawing/2014/main" id="{89371D2F-A294-477F-A16C-33C43EC02E80}"/>
                    </a:ext>
                  </a:extLst>
                </p:cNvPr>
                <p:cNvSpPr/>
                <p:nvPr/>
              </p:nvSpPr>
              <p:spPr>
                <a:xfrm>
                  <a:off x="2980991" y="1746091"/>
                  <a:ext cx="1519039" cy="729095"/>
                </a:xfrm>
                <a:custGeom>
                  <a:avLst/>
                  <a:gdLst>
                    <a:gd name="connsiteX0" fmla="*/ 715394 w 1519039"/>
                    <a:gd name="connsiteY0" fmla="*/ 563080 h 729095"/>
                    <a:gd name="connsiteX1" fmla="*/ 732873 w 1519039"/>
                    <a:gd name="connsiteY1" fmla="*/ 560937 h 729095"/>
                    <a:gd name="connsiteX2" fmla="*/ 733149 w 1519039"/>
                    <a:gd name="connsiteY2" fmla="*/ 564442 h 729095"/>
                    <a:gd name="connsiteX3" fmla="*/ 739750 w 1519039"/>
                    <a:gd name="connsiteY3" fmla="*/ 565928 h 729095"/>
                    <a:gd name="connsiteX4" fmla="*/ 747560 w 1519039"/>
                    <a:gd name="connsiteY4" fmla="*/ 572577 h 729095"/>
                    <a:gd name="connsiteX5" fmla="*/ 767410 w 1519039"/>
                    <a:gd name="connsiteY5" fmla="*/ 583845 h 729095"/>
                    <a:gd name="connsiteX6" fmla="*/ 757828 w 1519039"/>
                    <a:gd name="connsiteY6" fmla="*/ 602285 h 729095"/>
                    <a:gd name="connsiteX7" fmla="*/ 778145 w 1519039"/>
                    <a:gd name="connsiteY7" fmla="*/ 601752 h 729095"/>
                    <a:gd name="connsiteX8" fmla="*/ 785012 w 1519039"/>
                    <a:gd name="connsiteY8" fmla="*/ 602018 h 729095"/>
                    <a:gd name="connsiteX9" fmla="*/ 783146 w 1519039"/>
                    <a:gd name="connsiteY9" fmla="*/ 605904 h 729095"/>
                    <a:gd name="connsiteX10" fmla="*/ 790404 w 1519039"/>
                    <a:gd name="connsiteY10" fmla="*/ 609038 h 729095"/>
                    <a:gd name="connsiteX11" fmla="*/ 771030 w 1519039"/>
                    <a:gd name="connsiteY11" fmla="*/ 617887 h 729095"/>
                    <a:gd name="connsiteX12" fmla="*/ 756676 w 1519039"/>
                    <a:gd name="connsiteY12" fmla="*/ 616182 h 729095"/>
                    <a:gd name="connsiteX13" fmla="*/ 740255 w 1519039"/>
                    <a:gd name="connsiteY13" fmla="*/ 611105 h 729095"/>
                    <a:gd name="connsiteX14" fmla="*/ 741188 w 1519039"/>
                    <a:gd name="connsiteY14" fmla="*/ 604038 h 729095"/>
                    <a:gd name="connsiteX15" fmla="*/ 731987 w 1519039"/>
                    <a:gd name="connsiteY15" fmla="*/ 602066 h 729095"/>
                    <a:gd name="connsiteX16" fmla="*/ 728386 w 1519039"/>
                    <a:gd name="connsiteY16" fmla="*/ 598256 h 729095"/>
                    <a:gd name="connsiteX17" fmla="*/ 716080 w 1519039"/>
                    <a:gd name="connsiteY17" fmla="*/ 605438 h 729095"/>
                    <a:gd name="connsiteX18" fmla="*/ 691096 w 1519039"/>
                    <a:gd name="connsiteY18" fmla="*/ 617592 h 729095"/>
                    <a:gd name="connsiteX19" fmla="*/ 662454 w 1519039"/>
                    <a:gd name="connsiteY19" fmla="*/ 630069 h 729095"/>
                    <a:gd name="connsiteX20" fmla="*/ 660292 w 1519039"/>
                    <a:gd name="connsiteY20" fmla="*/ 621849 h 729095"/>
                    <a:gd name="connsiteX21" fmla="*/ 659635 w 1519039"/>
                    <a:gd name="connsiteY21" fmla="*/ 612391 h 729095"/>
                    <a:gd name="connsiteX22" fmla="*/ 629364 w 1519039"/>
                    <a:gd name="connsiteY22" fmla="*/ 615839 h 729095"/>
                    <a:gd name="connsiteX23" fmla="*/ 650500 w 1519039"/>
                    <a:gd name="connsiteY23" fmla="*/ 602790 h 729095"/>
                    <a:gd name="connsiteX24" fmla="*/ 662016 w 1519039"/>
                    <a:gd name="connsiteY24" fmla="*/ 597770 h 729095"/>
                    <a:gd name="connsiteX25" fmla="*/ 667884 w 1519039"/>
                    <a:gd name="connsiteY25" fmla="*/ 585064 h 729095"/>
                    <a:gd name="connsiteX26" fmla="*/ 691401 w 1519039"/>
                    <a:gd name="connsiteY26" fmla="*/ 558975 h 729095"/>
                    <a:gd name="connsiteX27" fmla="*/ 716137 w 1519039"/>
                    <a:gd name="connsiteY27" fmla="*/ 543335 h 729095"/>
                    <a:gd name="connsiteX28" fmla="*/ 718376 w 1519039"/>
                    <a:gd name="connsiteY28" fmla="*/ 552164 h 729095"/>
                    <a:gd name="connsiteX29" fmla="*/ 713604 w 1519039"/>
                    <a:gd name="connsiteY29" fmla="*/ 555251 h 729095"/>
                    <a:gd name="connsiteX30" fmla="*/ 715394 w 1519039"/>
                    <a:gd name="connsiteY30" fmla="*/ 563080 h 729095"/>
                    <a:gd name="connsiteX31" fmla="*/ 715394 w 1519039"/>
                    <a:gd name="connsiteY31" fmla="*/ 563080 h 729095"/>
                    <a:gd name="connsiteX32" fmla="*/ 733835 w 1519039"/>
                    <a:gd name="connsiteY32" fmla="*/ 635746 h 729095"/>
                    <a:gd name="connsiteX33" fmla="*/ 710384 w 1519039"/>
                    <a:gd name="connsiteY33" fmla="*/ 652758 h 729095"/>
                    <a:gd name="connsiteX34" fmla="*/ 694030 w 1519039"/>
                    <a:gd name="connsiteY34" fmla="*/ 659492 h 729095"/>
                    <a:gd name="connsiteX35" fmla="*/ 678723 w 1519039"/>
                    <a:gd name="connsiteY35" fmla="*/ 660749 h 729095"/>
                    <a:gd name="connsiteX36" fmla="*/ 678942 w 1519039"/>
                    <a:gd name="connsiteY36" fmla="*/ 653129 h 729095"/>
                    <a:gd name="connsiteX37" fmla="*/ 683333 w 1519039"/>
                    <a:gd name="connsiteY37" fmla="*/ 649338 h 729095"/>
                    <a:gd name="connsiteX38" fmla="*/ 701316 w 1519039"/>
                    <a:gd name="connsiteY38" fmla="*/ 637299 h 729095"/>
                    <a:gd name="connsiteX39" fmla="*/ 709041 w 1519039"/>
                    <a:gd name="connsiteY39" fmla="*/ 638318 h 729095"/>
                    <a:gd name="connsiteX40" fmla="*/ 717480 w 1519039"/>
                    <a:gd name="connsiteY40" fmla="*/ 636051 h 729095"/>
                    <a:gd name="connsiteX41" fmla="*/ 733835 w 1519039"/>
                    <a:gd name="connsiteY41" fmla="*/ 635746 h 729095"/>
                    <a:gd name="connsiteX42" fmla="*/ 733835 w 1519039"/>
                    <a:gd name="connsiteY42" fmla="*/ 635746 h 729095"/>
                    <a:gd name="connsiteX43" fmla="*/ 1385088 w 1519039"/>
                    <a:gd name="connsiteY43" fmla="*/ 3772 h 729095"/>
                    <a:gd name="connsiteX44" fmla="*/ 1412443 w 1519039"/>
                    <a:gd name="connsiteY44" fmla="*/ 5648 h 729095"/>
                    <a:gd name="connsiteX45" fmla="*/ 1437618 w 1519039"/>
                    <a:gd name="connsiteY45" fmla="*/ 6610 h 729095"/>
                    <a:gd name="connsiteX46" fmla="*/ 1396308 w 1519039"/>
                    <a:gd name="connsiteY46" fmla="*/ 15231 h 729095"/>
                    <a:gd name="connsiteX47" fmla="*/ 1451277 w 1519039"/>
                    <a:gd name="connsiteY47" fmla="*/ 9763 h 729095"/>
                    <a:gd name="connsiteX48" fmla="*/ 1466593 w 1519039"/>
                    <a:gd name="connsiteY48" fmla="*/ 9116 h 729095"/>
                    <a:gd name="connsiteX49" fmla="*/ 1476289 w 1519039"/>
                    <a:gd name="connsiteY49" fmla="*/ 9878 h 729095"/>
                    <a:gd name="connsiteX50" fmla="*/ 1487100 w 1519039"/>
                    <a:gd name="connsiteY50" fmla="*/ 11516 h 729095"/>
                    <a:gd name="connsiteX51" fmla="*/ 1483090 w 1519039"/>
                    <a:gd name="connsiteY51" fmla="*/ 13345 h 729095"/>
                    <a:gd name="connsiteX52" fmla="*/ 1485586 w 1519039"/>
                    <a:gd name="connsiteY52" fmla="*/ 21622 h 729095"/>
                    <a:gd name="connsiteX53" fmla="*/ 1513294 w 1519039"/>
                    <a:gd name="connsiteY53" fmla="*/ 20365 h 729095"/>
                    <a:gd name="connsiteX54" fmla="*/ 1511017 w 1519039"/>
                    <a:gd name="connsiteY54" fmla="*/ 29671 h 729095"/>
                    <a:gd name="connsiteX55" fmla="*/ 1458392 w 1519039"/>
                    <a:gd name="connsiteY55" fmla="*/ 42310 h 729095"/>
                    <a:gd name="connsiteX56" fmla="*/ 1434113 w 1519039"/>
                    <a:gd name="connsiteY56" fmla="*/ 44777 h 729095"/>
                    <a:gd name="connsiteX57" fmla="*/ 1410300 w 1519039"/>
                    <a:gd name="connsiteY57" fmla="*/ 47863 h 729095"/>
                    <a:gd name="connsiteX58" fmla="*/ 1393422 w 1519039"/>
                    <a:gd name="connsiteY58" fmla="*/ 53588 h 729095"/>
                    <a:gd name="connsiteX59" fmla="*/ 1365809 w 1519039"/>
                    <a:gd name="connsiteY59" fmla="*/ 59074 h 729095"/>
                    <a:gd name="connsiteX60" fmla="*/ 1406424 w 1519039"/>
                    <a:gd name="connsiteY60" fmla="*/ 54283 h 729095"/>
                    <a:gd name="connsiteX61" fmla="*/ 1441380 w 1519039"/>
                    <a:gd name="connsiteY61" fmla="*/ 51778 h 729095"/>
                    <a:gd name="connsiteX62" fmla="*/ 1407833 w 1519039"/>
                    <a:gd name="connsiteY62" fmla="*/ 62598 h 729095"/>
                    <a:gd name="connsiteX63" fmla="*/ 1375401 w 1519039"/>
                    <a:gd name="connsiteY63" fmla="*/ 71781 h 729095"/>
                    <a:gd name="connsiteX64" fmla="*/ 1340996 w 1519039"/>
                    <a:gd name="connsiteY64" fmla="*/ 83953 h 729095"/>
                    <a:gd name="connsiteX65" fmla="*/ 1315812 w 1519039"/>
                    <a:gd name="connsiteY65" fmla="*/ 81801 h 729095"/>
                    <a:gd name="connsiteX66" fmla="*/ 1318651 w 1519039"/>
                    <a:gd name="connsiteY66" fmla="*/ 91097 h 729095"/>
                    <a:gd name="connsiteX67" fmla="*/ 1303611 w 1519039"/>
                    <a:gd name="connsiteY67" fmla="*/ 92755 h 729095"/>
                    <a:gd name="connsiteX68" fmla="*/ 1282579 w 1519039"/>
                    <a:gd name="connsiteY68" fmla="*/ 95479 h 729095"/>
                    <a:gd name="connsiteX69" fmla="*/ 1309945 w 1519039"/>
                    <a:gd name="connsiteY69" fmla="*/ 95850 h 729095"/>
                    <a:gd name="connsiteX70" fmla="*/ 1291885 w 1519039"/>
                    <a:gd name="connsiteY70" fmla="*/ 101603 h 729095"/>
                    <a:gd name="connsiteX71" fmla="*/ 1295819 w 1519039"/>
                    <a:gd name="connsiteY71" fmla="*/ 102727 h 729095"/>
                    <a:gd name="connsiteX72" fmla="*/ 1265053 w 1519039"/>
                    <a:gd name="connsiteY72" fmla="*/ 107766 h 729095"/>
                    <a:gd name="connsiteX73" fmla="*/ 1229192 w 1519039"/>
                    <a:gd name="connsiteY73" fmla="*/ 103994 h 729095"/>
                    <a:gd name="connsiteX74" fmla="*/ 1251537 w 1519039"/>
                    <a:gd name="connsiteY74" fmla="*/ 109309 h 729095"/>
                    <a:gd name="connsiteX75" fmla="*/ 1233735 w 1519039"/>
                    <a:gd name="connsiteY75" fmla="*/ 114957 h 729095"/>
                    <a:gd name="connsiteX76" fmla="*/ 1208399 w 1519039"/>
                    <a:gd name="connsiteY76" fmla="*/ 117091 h 729095"/>
                    <a:gd name="connsiteX77" fmla="*/ 1180995 w 1519039"/>
                    <a:gd name="connsiteY77" fmla="*/ 114167 h 729095"/>
                    <a:gd name="connsiteX78" fmla="*/ 1199159 w 1519039"/>
                    <a:gd name="connsiteY78" fmla="*/ 122577 h 729095"/>
                    <a:gd name="connsiteX79" fmla="*/ 1220315 w 1519039"/>
                    <a:gd name="connsiteY79" fmla="*/ 123073 h 729095"/>
                    <a:gd name="connsiteX80" fmla="*/ 1183291 w 1519039"/>
                    <a:gd name="connsiteY80" fmla="*/ 127045 h 729095"/>
                    <a:gd name="connsiteX81" fmla="*/ 1140390 w 1519039"/>
                    <a:gd name="connsiteY81" fmla="*/ 127930 h 729095"/>
                    <a:gd name="connsiteX82" fmla="*/ 1155459 w 1519039"/>
                    <a:gd name="connsiteY82" fmla="*/ 131531 h 729095"/>
                    <a:gd name="connsiteX83" fmla="*/ 1177433 w 1519039"/>
                    <a:gd name="connsiteY83" fmla="*/ 129550 h 729095"/>
                    <a:gd name="connsiteX84" fmla="*/ 1194397 w 1519039"/>
                    <a:gd name="connsiteY84" fmla="*/ 133979 h 729095"/>
                    <a:gd name="connsiteX85" fmla="*/ 1211066 w 1519039"/>
                    <a:gd name="connsiteY85" fmla="*/ 138989 h 729095"/>
                    <a:gd name="connsiteX86" fmla="*/ 1169346 w 1519039"/>
                    <a:gd name="connsiteY86" fmla="*/ 145685 h 729095"/>
                    <a:gd name="connsiteX87" fmla="*/ 1188720 w 1519039"/>
                    <a:gd name="connsiteY87" fmla="*/ 151476 h 729095"/>
                    <a:gd name="connsiteX88" fmla="*/ 1169499 w 1519039"/>
                    <a:gd name="connsiteY88" fmla="*/ 161487 h 729095"/>
                    <a:gd name="connsiteX89" fmla="*/ 1150630 w 1519039"/>
                    <a:gd name="connsiteY89" fmla="*/ 163840 h 729095"/>
                    <a:gd name="connsiteX90" fmla="*/ 1127332 w 1519039"/>
                    <a:gd name="connsiteY90" fmla="*/ 163497 h 729095"/>
                    <a:gd name="connsiteX91" fmla="*/ 1116778 w 1519039"/>
                    <a:gd name="connsiteY91" fmla="*/ 177194 h 729095"/>
                    <a:gd name="connsiteX92" fmla="*/ 1075773 w 1519039"/>
                    <a:gd name="connsiteY92" fmla="*/ 183852 h 729095"/>
                    <a:gd name="connsiteX93" fmla="*/ 1054732 w 1519039"/>
                    <a:gd name="connsiteY93" fmla="*/ 179003 h 729095"/>
                    <a:gd name="connsiteX94" fmla="*/ 1052494 w 1519039"/>
                    <a:gd name="connsiteY94" fmla="*/ 181794 h 729095"/>
                    <a:gd name="connsiteX95" fmla="*/ 1035568 w 1519039"/>
                    <a:gd name="connsiteY95" fmla="*/ 184366 h 729095"/>
                    <a:gd name="connsiteX96" fmla="*/ 1051884 w 1519039"/>
                    <a:gd name="connsiteY96" fmla="*/ 184995 h 729095"/>
                    <a:gd name="connsiteX97" fmla="*/ 1069200 w 1519039"/>
                    <a:gd name="connsiteY97" fmla="*/ 188443 h 729095"/>
                    <a:gd name="connsiteX98" fmla="*/ 1082174 w 1519039"/>
                    <a:gd name="connsiteY98" fmla="*/ 187090 h 729095"/>
                    <a:gd name="connsiteX99" fmla="*/ 1083802 w 1519039"/>
                    <a:gd name="connsiteY99" fmla="*/ 192462 h 729095"/>
                    <a:gd name="connsiteX100" fmla="*/ 1086555 w 1519039"/>
                    <a:gd name="connsiteY100" fmla="*/ 196625 h 729095"/>
                    <a:gd name="connsiteX101" fmla="*/ 1097890 w 1519039"/>
                    <a:gd name="connsiteY101" fmla="*/ 194463 h 729095"/>
                    <a:gd name="connsiteX102" fmla="*/ 1098375 w 1519039"/>
                    <a:gd name="connsiteY102" fmla="*/ 204235 h 729095"/>
                    <a:gd name="connsiteX103" fmla="*/ 1075735 w 1519039"/>
                    <a:gd name="connsiteY103" fmla="*/ 211322 h 729095"/>
                    <a:gd name="connsiteX104" fmla="*/ 1032929 w 1519039"/>
                    <a:gd name="connsiteY104" fmla="*/ 218999 h 729095"/>
                    <a:gd name="connsiteX105" fmla="*/ 1040321 w 1519039"/>
                    <a:gd name="connsiteY105" fmla="*/ 211912 h 729095"/>
                    <a:gd name="connsiteX106" fmla="*/ 1030796 w 1519039"/>
                    <a:gd name="connsiteY106" fmla="*/ 209160 h 729095"/>
                    <a:gd name="connsiteX107" fmla="*/ 1022004 w 1519039"/>
                    <a:gd name="connsiteY107" fmla="*/ 205397 h 729095"/>
                    <a:gd name="connsiteX108" fmla="*/ 1014251 w 1519039"/>
                    <a:gd name="connsiteY108" fmla="*/ 201997 h 729095"/>
                    <a:gd name="connsiteX109" fmla="*/ 998887 w 1519039"/>
                    <a:gd name="connsiteY109" fmla="*/ 210674 h 729095"/>
                    <a:gd name="connsiteX110" fmla="*/ 980361 w 1519039"/>
                    <a:gd name="connsiteY110" fmla="*/ 203511 h 729095"/>
                    <a:gd name="connsiteX111" fmla="*/ 961930 w 1519039"/>
                    <a:gd name="connsiteY111" fmla="*/ 214484 h 729095"/>
                    <a:gd name="connsiteX112" fmla="*/ 943632 w 1519039"/>
                    <a:gd name="connsiteY112" fmla="*/ 213370 h 729095"/>
                    <a:gd name="connsiteX113" fmla="*/ 931364 w 1519039"/>
                    <a:gd name="connsiteY113" fmla="*/ 208521 h 729095"/>
                    <a:gd name="connsiteX114" fmla="*/ 920877 w 1519039"/>
                    <a:gd name="connsiteY114" fmla="*/ 211789 h 729095"/>
                    <a:gd name="connsiteX115" fmla="*/ 914962 w 1519039"/>
                    <a:gd name="connsiteY115" fmla="*/ 206331 h 729095"/>
                    <a:gd name="connsiteX116" fmla="*/ 905742 w 1519039"/>
                    <a:gd name="connsiteY116" fmla="*/ 212293 h 729095"/>
                    <a:gd name="connsiteX117" fmla="*/ 893112 w 1519039"/>
                    <a:gd name="connsiteY117" fmla="*/ 212027 h 729095"/>
                    <a:gd name="connsiteX118" fmla="*/ 899865 w 1519039"/>
                    <a:gd name="connsiteY118" fmla="*/ 200444 h 729095"/>
                    <a:gd name="connsiteX119" fmla="*/ 890026 w 1519039"/>
                    <a:gd name="connsiteY119" fmla="*/ 211379 h 729095"/>
                    <a:gd name="connsiteX120" fmla="*/ 872347 w 1519039"/>
                    <a:gd name="connsiteY120" fmla="*/ 209293 h 729095"/>
                    <a:gd name="connsiteX121" fmla="*/ 885035 w 1519039"/>
                    <a:gd name="connsiteY121" fmla="*/ 197787 h 729095"/>
                    <a:gd name="connsiteX122" fmla="*/ 906294 w 1519039"/>
                    <a:gd name="connsiteY122" fmla="*/ 190881 h 729095"/>
                    <a:gd name="connsiteX123" fmla="*/ 942032 w 1519039"/>
                    <a:gd name="connsiteY123" fmla="*/ 187462 h 729095"/>
                    <a:gd name="connsiteX124" fmla="*/ 931802 w 1519039"/>
                    <a:gd name="connsiteY124" fmla="*/ 180508 h 729095"/>
                    <a:gd name="connsiteX125" fmla="*/ 936136 w 1519039"/>
                    <a:gd name="connsiteY125" fmla="*/ 167726 h 729095"/>
                    <a:gd name="connsiteX126" fmla="*/ 954605 w 1519039"/>
                    <a:gd name="connsiteY126" fmla="*/ 165173 h 729095"/>
                    <a:gd name="connsiteX127" fmla="*/ 963806 w 1519039"/>
                    <a:gd name="connsiteY127" fmla="*/ 167535 h 729095"/>
                    <a:gd name="connsiteX128" fmla="*/ 969807 w 1519039"/>
                    <a:gd name="connsiteY128" fmla="*/ 175594 h 729095"/>
                    <a:gd name="connsiteX129" fmla="*/ 1041064 w 1519039"/>
                    <a:gd name="connsiteY129" fmla="*/ 162030 h 729095"/>
                    <a:gd name="connsiteX130" fmla="*/ 1010450 w 1519039"/>
                    <a:gd name="connsiteY130" fmla="*/ 175774 h 729095"/>
                    <a:gd name="connsiteX131" fmla="*/ 996144 w 1519039"/>
                    <a:gd name="connsiteY131" fmla="*/ 175774 h 729095"/>
                    <a:gd name="connsiteX132" fmla="*/ 979875 w 1519039"/>
                    <a:gd name="connsiteY132" fmla="*/ 175670 h 729095"/>
                    <a:gd name="connsiteX133" fmla="*/ 984037 w 1519039"/>
                    <a:gd name="connsiteY133" fmla="*/ 169888 h 729095"/>
                    <a:gd name="connsiteX134" fmla="*/ 983694 w 1519039"/>
                    <a:gd name="connsiteY134" fmla="*/ 165392 h 729095"/>
                    <a:gd name="connsiteX135" fmla="*/ 992524 w 1519039"/>
                    <a:gd name="connsiteY135" fmla="*/ 160906 h 729095"/>
                    <a:gd name="connsiteX136" fmla="*/ 1014260 w 1519039"/>
                    <a:gd name="connsiteY136" fmla="*/ 156229 h 729095"/>
                    <a:gd name="connsiteX137" fmla="*/ 1002668 w 1519039"/>
                    <a:gd name="connsiteY137" fmla="*/ 154219 h 729095"/>
                    <a:gd name="connsiteX138" fmla="*/ 1011650 w 1519039"/>
                    <a:gd name="connsiteY138" fmla="*/ 145152 h 729095"/>
                    <a:gd name="connsiteX139" fmla="*/ 974198 w 1519039"/>
                    <a:gd name="connsiteY139" fmla="*/ 159211 h 729095"/>
                    <a:gd name="connsiteX140" fmla="*/ 985904 w 1519039"/>
                    <a:gd name="connsiteY140" fmla="*/ 150971 h 729095"/>
                    <a:gd name="connsiteX141" fmla="*/ 951100 w 1519039"/>
                    <a:gd name="connsiteY141" fmla="*/ 156210 h 729095"/>
                    <a:gd name="connsiteX142" fmla="*/ 964606 w 1519039"/>
                    <a:gd name="connsiteY142" fmla="*/ 145456 h 729095"/>
                    <a:gd name="connsiteX143" fmla="*/ 979189 w 1519039"/>
                    <a:gd name="connsiteY143" fmla="*/ 137379 h 729095"/>
                    <a:gd name="connsiteX144" fmla="*/ 1014060 w 1519039"/>
                    <a:gd name="connsiteY144" fmla="*/ 133207 h 729095"/>
                    <a:gd name="connsiteX145" fmla="*/ 1047226 w 1519039"/>
                    <a:gd name="connsiteY145" fmla="*/ 136922 h 729095"/>
                    <a:gd name="connsiteX146" fmla="*/ 1078792 w 1519039"/>
                    <a:gd name="connsiteY146" fmla="*/ 131045 h 729095"/>
                    <a:gd name="connsiteX147" fmla="*/ 1060514 w 1519039"/>
                    <a:gd name="connsiteY147" fmla="*/ 133188 h 729095"/>
                    <a:gd name="connsiteX148" fmla="*/ 1040063 w 1519039"/>
                    <a:gd name="connsiteY148" fmla="*/ 131998 h 729095"/>
                    <a:gd name="connsiteX149" fmla="*/ 1028824 w 1519039"/>
                    <a:gd name="connsiteY149" fmla="*/ 127559 h 729095"/>
                    <a:gd name="connsiteX150" fmla="*/ 1046293 w 1519039"/>
                    <a:gd name="connsiteY150" fmla="*/ 128588 h 729095"/>
                    <a:gd name="connsiteX151" fmla="*/ 1038158 w 1519039"/>
                    <a:gd name="connsiteY151" fmla="*/ 122654 h 729095"/>
                    <a:gd name="connsiteX152" fmla="*/ 1032281 w 1519039"/>
                    <a:gd name="connsiteY152" fmla="*/ 113757 h 729095"/>
                    <a:gd name="connsiteX153" fmla="*/ 1014127 w 1519039"/>
                    <a:gd name="connsiteY153" fmla="*/ 106880 h 729095"/>
                    <a:gd name="connsiteX154" fmla="*/ 1020975 w 1519039"/>
                    <a:gd name="connsiteY154" fmla="*/ 90154 h 729095"/>
                    <a:gd name="connsiteX155" fmla="*/ 1044978 w 1519039"/>
                    <a:gd name="connsiteY155" fmla="*/ 90202 h 729095"/>
                    <a:gd name="connsiteX156" fmla="*/ 1086879 w 1519039"/>
                    <a:gd name="connsiteY156" fmla="*/ 101003 h 729095"/>
                    <a:gd name="connsiteX157" fmla="*/ 1103671 w 1519039"/>
                    <a:gd name="connsiteY157" fmla="*/ 110471 h 729095"/>
                    <a:gd name="connsiteX158" fmla="*/ 1124312 w 1519039"/>
                    <a:gd name="connsiteY158" fmla="*/ 109176 h 729095"/>
                    <a:gd name="connsiteX159" fmla="*/ 1104014 w 1519039"/>
                    <a:gd name="connsiteY159" fmla="*/ 105461 h 729095"/>
                    <a:gd name="connsiteX160" fmla="*/ 1088146 w 1519039"/>
                    <a:gd name="connsiteY160" fmla="*/ 93317 h 729095"/>
                    <a:gd name="connsiteX161" fmla="*/ 1097594 w 1519039"/>
                    <a:gd name="connsiteY161" fmla="*/ 86773 h 729095"/>
                    <a:gd name="connsiteX162" fmla="*/ 1124836 w 1519039"/>
                    <a:gd name="connsiteY162" fmla="*/ 84792 h 729095"/>
                    <a:gd name="connsiteX163" fmla="*/ 1164908 w 1519039"/>
                    <a:gd name="connsiteY163" fmla="*/ 76638 h 729095"/>
                    <a:gd name="connsiteX164" fmla="*/ 1210294 w 1519039"/>
                    <a:gd name="connsiteY164" fmla="*/ 71114 h 729095"/>
                    <a:gd name="connsiteX165" fmla="*/ 1177824 w 1519039"/>
                    <a:gd name="connsiteY165" fmla="*/ 68790 h 729095"/>
                    <a:gd name="connsiteX166" fmla="*/ 1221191 w 1519039"/>
                    <a:gd name="connsiteY166" fmla="*/ 53712 h 729095"/>
                    <a:gd name="connsiteX167" fmla="*/ 1186377 w 1519039"/>
                    <a:gd name="connsiteY167" fmla="*/ 60817 h 729095"/>
                    <a:gd name="connsiteX168" fmla="*/ 1171947 w 1519039"/>
                    <a:gd name="connsiteY168" fmla="*/ 63789 h 729095"/>
                    <a:gd name="connsiteX169" fmla="*/ 1160088 w 1519039"/>
                    <a:gd name="connsiteY169" fmla="*/ 70990 h 729095"/>
                    <a:gd name="connsiteX170" fmla="*/ 1127579 w 1519039"/>
                    <a:gd name="connsiteY170" fmla="*/ 78429 h 729095"/>
                    <a:gd name="connsiteX171" fmla="*/ 1093441 w 1519039"/>
                    <a:gd name="connsiteY171" fmla="*/ 80572 h 729095"/>
                    <a:gd name="connsiteX172" fmla="*/ 1109910 w 1519039"/>
                    <a:gd name="connsiteY172" fmla="*/ 74438 h 729095"/>
                    <a:gd name="connsiteX173" fmla="*/ 1087050 w 1519039"/>
                    <a:gd name="connsiteY173" fmla="*/ 76276 h 729095"/>
                    <a:gd name="connsiteX174" fmla="*/ 1067048 w 1519039"/>
                    <a:gd name="connsiteY174" fmla="*/ 81915 h 729095"/>
                    <a:gd name="connsiteX175" fmla="*/ 1044635 w 1519039"/>
                    <a:gd name="connsiteY175" fmla="*/ 81325 h 729095"/>
                    <a:gd name="connsiteX176" fmla="*/ 1026290 w 1519039"/>
                    <a:gd name="connsiteY176" fmla="*/ 78915 h 729095"/>
                    <a:gd name="connsiteX177" fmla="*/ 1060285 w 1519039"/>
                    <a:gd name="connsiteY177" fmla="*/ 67551 h 729095"/>
                    <a:gd name="connsiteX178" fmla="*/ 1077849 w 1519039"/>
                    <a:gd name="connsiteY178" fmla="*/ 65427 h 729095"/>
                    <a:gd name="connsiteX179" fmla="*/ 1098918 w 1519039"/>
                    <a:gd name="connsiteY179" fmla="*/ 62598 h 729095"/>
                    <a:gd name="connsiteX180" fmla="*/ 1052503 w 1519039"/>
                    <a:gd name="connsiteY180" fmla="*/ 66018 h 729095"/>
                    <a:gd name="connsiteX181" fmla="*/ 1014146 w 1519039"/>
                    <a:gd name="connsiteY181" fmla="*/ 77657 h 729095"/>
                    <a:gd name="connsiteX182" fmla="*/ 984656 w 1519039"/>
                    <a:gd name="connsiteY182" fmla="*/ 70209 h 729095"/>
                    <a:gd name="connsiteX183" fmla="*/ 1027395 w 1519039"/>
                    <a:gd name="connsiteY183" fmla="*/ 67323 h 729095"/>
                    <a:gd name="connsiteX184" fmla="*/ 1072077 w 1519039"/>
                    <a:gd name="connsiteY184" fmla="*/ 58246 h 729095"/>
                    <a:gd name="connsiteX185" fmla="*/ 1024871 w 1519039"/>
                    <a:gd name="connsiteY185" fmla="*/ 64713 h 729095"/>
                    <a:gd name="connsiteX186" fmla="*/ 996163 w 1519039"/>
                    <a:gd name="connsiteY186" fmla="*/ 65380 h 729095"/>
                    <a:gd name="connsiteX187" fmla="*/ 976722 w 1519039"/>
                    <a:gd name="connsiteY187" fmla="*/ 63332 h 729095"/>
                    <a:gd name="connsiteX188" fmla="*/ 993800 w 1519039"/>
                    <a:gd name="connsiteY188" fmla="*/ 59379 h 729095"/>
                    <a:gd name="connsiteX189" fmla="*/ 987276 w 1519039"/>
                    <a:gd name="connsiteY189" fmla="*/ 56902 h 729095"/>
                    <a:gd name="connsiteX190" fmla="*/ 1010069 w 1519039"/>
                    <a:gd name="connsiteY190" fmla="*/ 51530 h 729095"/>
                    <a:gd name="connsiteX191" fmla="*/ 1029605 w 1519039"/>
                    <a:gd name="connsiteY191" fmla="*/ 50702 h 729095"/>
                    <a:gd name="connsiteX192" fmla="*/ 1003173 w 1519039"/>
                    <a:gd name="connsiteY192" fmla="*/ 50502 h 729095"/>
                    <a:gd name="connsiteX193" fmla="*/ 972807 w 1519039"/>
                    <a:gd name="connsiteY193" fmla="*/ 53731 h 729095"/>
                    <a:gd name="connsiteX194" fmla="*/ 992076 w 1519039"/>
                    <a:gd name="connsiteY194" fmla="*/ 47263 h 729095"/>
                    <a:gd name="connsiteX195" fmla="*/ 974484 w 1519039"/>
                    <a:gd name="connsiteY195" fmla="*/ 47025 h 729095"/>
                    <a:gd name="connsiteX196" fmla="*/ 958491 w 1519039"/>
                    <a:gd name="connsiteY196" fmla="*/ 47235 h 729095"/>
                    <a:gd name="connsiteX197" fmla="*/ 991286 w 1519039"/>
                    <a:gd name="connsiteY197" fmla="*/ 39176 h 729095"/>
                    <a:gd name="connsiteX198" fmla="*/ 1026624 w 1519039"/>
                    <a:gd name="connsiteY198" fmla="*/ 33642 h 729095"/>
                    <a:gd name="connsiteX199" fmla="*/ 1043912 w 1519039"/>
                    <a:gd name="connsiteY199" fmla="*/ 33557 h 729095"/>
                    <a:gd name="connsiteX200" fmla="*/ 1050303 w 1519039"/>
                    <a:gd name="connsiteY200" fmla="*/ 37052 h 729095"/>
                    <a:gd name="connsiteX201" fmla="*/ 1055913 w 1519039"/>
                    <a:gd name="connsiteY201" fmla="*/ 34624 h 729095"/>
                    <a:gd name="connsiteX202" fmla="*/ 1086441 w 1519039"/>
                    <a:gd name="connsiteY202" fmla="*/ 35919 h 729095"/>
                    <a:gd name="connsiteX203" fmla="*/ 1063552 w 1519039"/>
                    <a:gd name="connsiteY203" fmla="*/ 29851 h 729095"/>
                    <a:gd name="connsiteX204" fmla="*/ 1063666 w 1519039"/>
                    <a:gd name="connsiteY204" fmla="*/ 28861 h 729095"/>
                    <a:gd name="connsiteX205" fmla="*/ 1103433 w 1519039"/>
                    <a:gd name="connsiteY205" fmla="*/ 22574 h 729095"/>
                    <a:gd name="connsiteX206" fmla="*/ 1120883 w 1519039"/>
                    <a:gd name="connsiteY206" fmla="*/ 26146 h 729095"/>
                    <a:gd name="connsiteX207" fmla="*/ 1137533 w 1519039"/>
                    <a:gd name="connsiteY207" fmla="*/ 32833 h 729095"/>
                    <a:gd name="connsiteX208" fmla="*/ 1132351 w 1519039"/>
                    <a:gd name="connsiteY208" fmla="*/ 29556 h 729095"/>
                    <a:gd name="connsiteX209" fmla="*/ 1156002 w 1519039"/>
                    <a:gd name="connsiteY209" fmla="*/ 32985 h 729095"/>
                    <a:gd name="connsiteX210" fmla="*/ 1171832 w 1519039"/>
                    <a:gd name="connsiteY210" fmla="*/ 36167 h 729095"/>
                    <a:gd name="connsiteX211" fmla="*/ 1184386 w 1519039"/>
                    <a:gd name="connsiteY211" fmla="*/ 40329 h 729095"/>
                    <a:gd name="connsiteX212" fmla="*/ 1151354 w 1519039"/>
                    <a:gd name="connsiteY212" fmla="*/ 28337 h 729095"/>
                    <a:gd name="connsiteX213" fmla="*/ 1143876 w 1519039"/>
                    <a:gd name="connsiteY213" fmla="*/ 21984 h 729095"/>
                    <a:gd name="connsiteX214" fmla="*/ 1158592 w 1519039"/>
                    <a:gd name="connsiteY214" fmla="*/ 19403 h 729095"/>
                    <a:gd name="connsiteX215" fmla="*/ 1152592 w 1519039"/>
                    <a:gd name="connsiteY215" fmla="*/ 16783 h 729095"/>
                    <a:gd name="connsiteX216" fmla="*/ 1175595 w 1519039"/>
                    <a:gd name="connsiteY216" fmla="*/ 17269 h 729095"/>
                    <a:gd name="connsiteX217" fmla="*/ 1187872 w 1519039"/>
                    <a:gd name="connsiteY217" fmla="*/ 12745 h 729095"/>
                    <a:gd name="connsiteX218" fmla="*/ 1214238 w 1519039"/>
                    <a:gd name="connsiteY218" fmla="*/ 14345 h 729095"/>
                    <a:gd name="connsiteX219" fmla="*/ 1194207 w 1519039"/>
                    <a:gd name="connsiteY219" fmla="*/ 7573 h 729095"/>
                    <a:gd name="connsiteX220" fmla="*/ 1214171 w 1519039"/>
                    <a:gd name="connsiteY220" fmla="*/ 6610 h 729095"/>
                    <a:gd name="connsiteX221" fmla="*/ 1237964 w 1519039"/>
                    <a:gd name="connsiteY221" fmla="*/ 7468 h 729095"/>
                    <a:gd name="connsiteX222" fmla="*/ 1255871 w 1519039"/>
                    <a:gd name="connsiteY222" fmla="*/ 15021 h 729095"/>
                    <a:gd name="connsiteX223" fmla="*/ 1259891 w 1519039"/>
                    <a:gd name="connsiteY223" fmla="*/ 18879 h 729095"/>
                    <a:gd name="connsiteX224" fmla="*/ 1269302 w 1519039"/>
                    <a:gd name="connsiteY224" fmla="*/ 16564 h 729095"/>
                    <a:gd name="connsiteX225" fmla="*/ 1249994 w 1519039"/>
                    <a:gd name="connsiteY225" fmla="*/ 3963 h 729095"/>
                    <a:gd name="connsiteX226" fmla="*/ 1290457 w 1519039"/>
                    <a:gd name="connsiteY226" fmla="*/ 3467 h 729095"/>
                    <a:gd name="connsiteX227" fmla="*/ 1323213 w 1519039"/>
                    <a:gd name="connsiteY227" fmla="*/ 13002 h 729095"/>
                    <a:gd name="connsiteX228" fmla="*/ 1314155 w 1519039"/>
                    <a:gd name="connsiteY228" fmla="*/ 5696 h 729095"/>
                    <a:gd name="connsiteX229" fmla="*/ 1327642 w 1519039"/>
                    <a:gd name="connsiteY229" fmla="*/ 1677 h 729095"/>
                    <a:gd name="connsiteX230" fmla="*/ 1342654 w 1519039"/>
                    <a:gd name="connsiteY230" fmla="*/ 1038 h 729095"/>
                    <a:gd name="connsiteX231" fmla="*/ 1357513 w 1519039"/>
                    <a:gd name="connsiteY231" fmla="*/ 7030 h 729095"/>
                    <a:gd name="connsiteX232" fmla="*/ 1350959 w 1519039"/>
                    <a:gd name="connsiteY232" fmla="*/ 4191 h 729095"/>
                    <a:gd name="connsiteX233" fmla="*/ 1385088 w 1519039"/>
                    <a:gd name="connsiteY233" fmla="*/ 3772 h 729095"/>
                    <a:gd name="connsiteX234" fmla="*/ 1385088 w 1519039"/>
                    <a:gd name="connsiteY234" fmla="*/ 3772 h 729095"/>
                    <a:gd name="connsiteX235" fmla="*/ 942318 w 1519039"/>
                    <a:gd name="connsiteY235" fmla="*/ 63113 h 729095"/>
                    <a:gd name="connsiteX236" fmla="*/ 951643 w 1519039"/>
                    <a:gd name="connsiteY236" fmla="*/ 80105 h 729095"/>
                    <a:gd name="connsiteX237" fmla="*/ 964559 w 1519039"/>
                    <a:gd name="connsiteY237" fmla="*/ 83030 h 729095"/>
                    <a:gd name="connsiteX238" fmla="*/ 975913 w 1519039"/>
                    <a:gd name="connsiteY238" fmla="*/ 83687 h 729095"/>
                    <a:gd name="connsiteX239" fmla="*/ 970245 w 1519039"/>
                    <a:gd name="connsiteY239" fmla="*/ 90097 h 729095"/>
                    <a:gd name="connsiteX240" fmla="*/ 983018 w 1519039"/>
                    <a:gd name="connsiteY240" fmla="*/ 94593 h 729095"/>
                    <a:gd name="connsiteX241" fmla="*/ 980723 w 1519039"/>
                    <a:gd name="connsiteY241" fmla="*/ 90764 h 729095"/>
                    <a:gd name="connsiteX242" fmla="*/ 988762 w 1519039"/>
                    <a:gd name="connsiteY242" fmla="*/ 85316 h 729095"/>
                    <a:gd name="connsiteX243" fmla="*/ 1000315 w 1519039"/>
                    <a:gd name="connsiteY243" fmla="*/ 88564 h 729095"/>
                    <a:gd name="connsiteX244" fmla="*/ 989667 w 1519039"/>
                    <a:gd name="connsiteY244" fmla="*/ 95726 h 729095"/>
                    <a:gd name="connsiteX245" fmla="*/ 1002240 w 1519039"/>
                    <a:gd name="connsiteY245" fmla="*/ 100422 h 729095"/>
                    <a:gd name="connsiteX246" fmla="*/ 989019 w 1519039"/>
                    <a:gd name="connsiteY246" fmla="*/ 112033 h 729095"/>
                    <a:gd name="connsiteX247" fmla="*/ 1010641 w 1519039"/>
                    <a:gd name="connsiteY247" fmla="*/ 115205 h 729095"/>
                    <a:gd name="connsiteX248" fmla="*/ 1020156 w 1519039"/>
                    <a:gd name="connsiteY248" fmla="*/ 110985 h 729095"/>
                    <a:gd name="connsiteX249" fmla="*/ 1023166 w 1519039"/>
                    <a:gd name="connsiteY249" fmla="*/ 121758 h 729095"/>
                    <a:gd name="connsiteX250" fmla="*/ 990933 w 1519039"/>
                    <a:gd name="connsiteY250" fmla="*/ 129483 h 729095"/>
                    <a:gd name="connsiteX251" fmla="*/ 978941 w 1519039"/>
                    <a:gd name="connsiteY251" fmla="*/ 132883 h 729095"/>
                    <a:gd name="connsiteX252" fmla="*/ 965587 w 1519039"/>
                    <a:gd name="connsiteY252" fmla="*/ 139037 h 729095"/>
                    <a:gd name="connsiteX253" fmla="*/ 966397 w 1519039"/>
                    <a:gd name="connsiteY253" fmla="*/ 128883 h 729095"/>
                    <a:gd name="connsiteX254" fmla="*/ 949595 w 1519039"/>
                    <a:gd name="connsiteY254" fmla="*/ 141237 h 729095"/>
                    <a:gd name="connsiteX255" fmla="*/ 948147 w 1519039"/>
                    <a:gd name="connsiteY255" fmla="*/ 146504 h 729095"/>
                    <a:gd name="connsiteX256" fmla="*/ 938260 w 1519039"/>
                    <a:gd name="connsiteY256" fmla="*/ 143409 h 729095"/>
                    <a:gd name="connsiteX257" fmla="*/ 936565 w 1519039"/>
                    <a:gd name="connsiteY257" fmla="*/ 148904 h 729095"/>
                    <a:gd name="connsiteX258" fmla="*/ 930240 w 1519039"/>
                    <a:gd name="connsiteY258" fmla="*/ 154191 h 729095"/>
                    <a:gd name="connsiteX259" fmla="*/ 919610 w 1519039"/>
                    <a:gd name="connsiteY259" fmla="*/ 150543 h 729095"/>
                    <a:gd name="connsiteX260" fmla="*/ 912228 w 1519039"/>
                    <a:gd name="connsiteY260" fmla="*/ 144513 h 729095"/>
                    <a:gd name="connsiteX261" fmla="*/ 914324 w 1519039"/>
                    <a:gd name="connsiteY261" fmla="*/ 156153 h 729095"/>
                    <a:gd name="connsiteX262" fmla="*/ 907161 w 1519039"/>
                    <a:gd name="connsiteY262" fmla="*/ 153095 h 729095"/>
                    <a:gd name="connsiteX263" fmla="*/ 895464 w 1519039"/>
                    <a:gd name="connsiteY263" fmla="*/ 152124 h 729095"/>
                    <a:gd name="connsiteX264" fmla="*/ 892331 w 1519039"/>
                    <a:gd name="connsiteY264" fmla="*/ 157096 h 729095"/>
                    <a:gd name="connsiteX265" fmla="*/ 871938 w 1519039"/>
                    <a:gd name="connsiteY265" fmla="*/ 154705 h 729095"/>
                    <a:gd name="connsiteX266" fmla="*/ 857679 w 1519039"/>
                    <a:gd name="connsiteY266" fmla="*/ 147323 h 729095"/>
                    <a:gd name="connsiteX267" fmla="*/ 878272 w 1519039"/>
                    <a:gd name="connsiteY267" fmla="*/ 144723 h 729095"/>
                    <a:gd name="connsiteX268" fmla="*/ 854888 w 1519039"/>
                    <a:gd name="connsiteY268" fmla="*/ 142770 h 729095"/>
                    <a:gd name="connsiteX269" fmla="*/ 859708 w 1519039"/>
                    <a:gd name="connsiteY269" fmla="*/ 137389 h 729095"/>
                    <a:gd name="connsiteX270" fmla="*/ 846411 w 1519039"/>
                    <a:gd name="connsiteY270" fmla="*/ 130512 h 729095"/>
                    <a:gd name="connsiteX271" fmla="*/ 869785 w 1519039"/>
                    <a:gd name="connsiteY271" fmla="*/ 125559 h 729095"/>
                    <a:gd name="connsiteX272" fmla="*/ 888197 w 1519039"/>
                    <a:gd name="connsiteY272" fmla="*/ 121072 h 729095"/>
                    <a:gd name="connsiteX273" fmla="*/ 909428 w 1519039"/>
                    <a:gd name="connsiteY273" fmla="*/ 118577 h 729095"/>
                    <a:gd name="connsiteX274" fmla="*/ 894388 w 1519039"/>
                    <a:gd name="connsiteY274" fmla="*/ 118624 h 729095"/>
                    <a:gd name="connsiteX275" fmla="*/ 881844 w 1519039"/>
                    <a:gd name="connsiteY275" fmla="*/ 116310 h 729095"/>
                    <a:gd name="connsiteX276" fmla="*/ 855545 w 1519039"/>
                    <a:gd name="connsiteY276" fmla="*/ 120777 h 729095"/>
                    <a:gd name="connsiteX277" fmla="*/ 860517 w 1519039"/>
                    <a:gd name="connsiteY277" fmla="*/ 118167 h 729095"/>
                    <a:gd name="connsiteX278" fmla="*/ 827913 w 1519039"/>
                    <a:gd name="connsiteY278" fmla="*/ 117148 h 729095"/>
                    <a:gd name="connsiteX279" fmla="*/ 860851 w 1519039"/>
                    <a:gd name="connsiteY279" fmla="*/ 107128 h 729095"/>
                    <a:gd name="connsiteX280" fmla="*/ 834876 w 1519039"/>
                    <a:gd name="connsiteY280" fmla="*/ 109585 h 729095"/>
                    <a:gd name="connsiteX281" fmla="*/ 825884 w 1519039"/>
                    <a:gd name="connsiteY281" fmla="*/ 103985 h 729095"/>
                    <a:gd name="connsiteX282" fmla="*/ 827303 w 1519039"/>
                    <a:gd name="connsiteY282" fmla="*/ 94545 h 729095"/>
                    <a:gd name="connsiteX283" fmla="*/ 857469 w 1519039"/>
                    <a:gd name="connsiteY283" fmla="*/ 97212 h 729095"/>
                    <a:gd name="connsiteX284" fmla="*/ 875128 w 1519039"/>
                    <a:gd name="connsiteY284" fmla="*/ 92678 h 729095"/>
                    <a:gd name="connsiteX285" fmla="*/ 844353 w 1519039"/>
                    <a:gd name="connsiteY285" fmla="*/ 91964 h 729095"/>
                    <a:gd name="connsiteX286" fmla="*/ 855859 w 1519039"/>
                    <a:gd name="connsiteY286" fmla="*/ 87268 h 729095"/>
                    <a:gd name="connsiteX287" fmla="*/ 850944 w 1519039"/>
                    <a:gd name="connsiteY287" fmla="*/ 79953 h 729095"/>
                    <a:gd name="connsiteX288" fmla="*/ 863594 w 1519039"/>
                    <a:gd name="connsiteY288" fmla="*/ 76514 h 729095"/>
                    <a:gd name="connsiteX289" fmla="*/ 874652 w 1519039"/>
                    <a:gd name="connsiteY289" fmla="*/ 80810 h 729095"/>
                    <a:gd name="connsiteX290" fmla="*/ 890568 w 1519039"/>
                    <a:gd name="connsiteY290" fmla="*/ 81210 h 729095"/>
                    <a:gd name="connsiteX291" fmla="*/ 880234 w 1519039"/>
                    <a:gd name="connsiteY291" fmla="*/ 77772 h 729095"/>
                    <a:gd name="connsiteX292" fmla="*/ 875710 w 1519039"/>
                    <a:gd name="connsiteY292" fmla="*/ 73952 h 729095"/>
                    <a:gd name="connsiteX293" fmla="*/ 868699 w 1519039"/>
                    <a:gd name="connsiteY293" fmla="*/ 72419 h 729095"/>
                    <a:gd name="connsiteX294" fmla="*/ 898008 w 1519039"/>
                    <a:gd name="connsiteY294" fmla="*/ 65513 h 729095"/>
                    <a:gd name="connsiteX295" fmla="*/ 916143 w 1519039"/>
                    <a:gd name="connsiteY295" fmla="*/ 60722 h 729095"/>
                    <a:gd name="connsiteX296" fmla="*/ 903199 w 1519039"/>
                    <a:gd name="connsiteY296" fmla="*/ 59341 h 729095"/>
                    <a:gd name="connsiteX297" fmla="*/ 911238 w 1519039"/>
                    <a:gd name="connsiteY297" fmla="*/ 56293 h 729095"/>
                    <a:gd name="connsiteX298" fmla="*/ 942318 w 1519039"/>
                    <a:gd name="connsiteY298" fmla="*/ 63113 h 729095"/>
                    <a:gd name="connsiteX299" fmla="*/ 942318 w 1519039"/>
                    <a:gd name="connsiteY299" fmla="*/ 63113 h 729095"/>
                    <a:gd name="connsiteX300" fmla="*/ 681628 w 1519039"/>
                    <a:gd name="connsiteY300" fmla="*/ 120358 h 729095"/>
                    <a:gd name="connsiteX301" fmla="*/ 685010 w 1519039"/>
                    <a:gd name="connsiteY301" fmla="*/ 131264 h 729095"/>
                    <a:gd name="connsiteX302" fmla="*/ 686810 w 1519039"/>
                    <a:gd name="connsiteY302" fmla="*/ 132093 h 729095"/>
                    <a:gd name="connsiteX303" fmla="*/ 685419 w 1519039"/>
                    <a:gd name="connsiteY303" fmla="*/ 134103 h 729095"/>
                    <a:gd name="connsiteX304" fmla="*/ 705107 w 1519039"/>
                    <a:gd name="connsiteY304" fmla="*/ 127588 h 729095"/>
                    <a:gd name="connsiteX305" fmla="*/ 715232 w 1519039"/>
                    <a:gd name="connsiteY305" fmla="*/ 131331 h 729095"/>
                    <a:gd name="connsiteX306" fmla="*/ 710489 w 1519039"/>
                    <a:gd name="connsiteY306" fmla="*/ 136551 h 729095"/>
                    <a:gd name="connsiteX307" fmla="*/ 724452 w 1519039"/>
                    <a:gd name="connsiteY307" fmla="*/ 136179 h 729095"/>
                    <a:gd name="connsiteX308" fmla="*/ 733187 w 1519039"/>
                    <a:gd name="connsiteY308" fmla="*/ 143437 h 729095"/>
                    <a:gd name="connsiteX309" fmla="*/ 722986 w 1519039"/>
                    <a:gd name="connsiteY309" fmla="*/ 152257 h 729095"/>
                    <a:gd name="connsiteX310" fmla="*/ 722195 w 1519039"/>
                    <a:gd name="connsiteY310" fmla="*/ 166297 h 729095"/>
                    <a:gd name="connsiteX311" fmla="*/ 695497 w 1519039"/>
                    <a:gd name="connsiteY311" fmla="*/ 164287 h 729095"/>
                    <a:gd name="connsiteX312" fmla="*/ 695316 w 1519039"/>
                    <a:gd name="connsiteY312" fmla="*/ 157191 h 729095"/>
                    <a:gd name="connsiteX313" fmla="*/ 682981 w 1519039"/>
                    <a:gd name="connsiteY313" fmla="*/ 153581 h 729095"/>
                    <a:gd name="connsiteX314" fmla="*/ 668427 w 1519039"/>
                    <a:gd name="connsiteY314" fmla="*/ 150105 h 729095"/>
                    <a:gd name="connsiteX315" fmla="*/ 628641 w 1519039"/>
                    <a:gd name="connsiteY315" fmla="*/ 149152 h 729095"/>
                    <a:gd name="connsiteX316" fmla="*/ 660416 w 1519039"/>
                    <a:gd name="connsiteY316" fmla="*/ 143085 h 729095"/>
                    <a:gd name="connsiteX317" fmla="*/ 651415 w 1519039"/>
                    <a:gd name="connsiteY317" fmla="*/ 141789 h 729095"/>
                    <a:gd name="connsiteX318" fmla="*/ 666483 w 1519039"/>
                    <a:gd name="connsiteY318" fmla="*/ 138598 h 729095"/>
                    <a:gd name="connsiteX319" fmla="*/ 652434 w 1519039"/>
                    <a:gd name="connsiteY319" fmla="*/ 137179 h 729095"/>
                    <a:gd name="connsiteX320" fmla="*/ 661883 w 1519039"/>
                    <a:gd name="connsiteY320" fmla="*/ 132855 h 729095"/>
                    <a:gd name="connsiteX321" fmla="*/ 639013 w 1519039"/>
                    <a:gd name="connsiteY321" fmla="*/ 135674 h 729095"/>
                    <a:gd name="connsiteX322" fmla="*/ 648814 w 1519039"/>
                    <a:gd name="connsiteY322" fmla="*/ 129435 h 729095"/>
                    <a:gd name="connsiteX323" fmla="*/ 634175 w 1519039"/>
                    <a:gd name="connsiteY323" fmla="*/ 129264 h 729095"/>
                    <a:gd name="connsiteX324" fmla="*/ 652434 w 1519039"/>
                    <a:gd name="connsiteY324" fmla="*/ 120387 h 729095"/>
                    <a:gd name="connsiteX325" fmla="*/ 681628 w 1519039"/>
                    <a:gd name="connsiteY325" fmla="*/ 120358 h 729095"/>
                    <a:gd name="connsiteX326" fmla="*/ 681628 w 1519039"/>
                    <a:gd name="connsiteY326" fmla="*/ 120358 h 729095"/>
                    <a:gd name="connsiteX327" fmla="*/ 796090 w 1519039"/>
                    <a:gd name="connsiteY327" fmla="*/ 145066 h 729095"/>
                    <a:gd name="connsiteX328" fmla="*/ 815226 w 1519039"/>
                    <a:gd name="connsiteY328" fmla="*/ 148085 h 729095"/>
                    <a:gd name="connsiteX329" fmla="*/ 804758 w 1519039"/>
                    <a:gd name="connsiteY329" fmla="*/ 154715 h 729095"/>
                    <a:gd name="connsiteX330" fmla="*/ 803405 w 1519039"/>
                    <a:gd name="connsiteY330" fmla="*/ 162039 h 729095"/>
                    <a:gd name="connsiteX331" fmla="*/ 786822 w 1519039"/>
                    <a:gd name="connsiteY331" fmla="*/ 164773 h 729095"/>
                    <a:gd name="connsiteX332" fmla="*/ 769992 w 1519039"/>
                    <a:gd name="connsiteY332" fmla="*/ 166745 h 729095"/>
                    <a:gd name="connsiteX333" fmla="*/ 764438 w 1519039"/>
                    <a:gd name="connsiteY333" fmla="*/ 164706 h 729095"/>
                    <a:gd name="connsiteX334" fmla="*/ 757942 w 1519039"/>
                    <a:gd name="connsiteY334" fmla="*/ 158925 h 729095"/>
                    <a:gd name="connsiteX335" fmla="*/ 772211 w 1519039"/>
                    <a:gd name="connsiteY335" fmla="*/ 157039 h 729095"/>
                    <a:gd name="connsiteX336" fmla="*/ 757685 w 1519039"/>
                    <a:gd name="connsiteY336" fmla="*/ 154553 h 729095"/>
                    <a:gd name="connsiteX337" fmla="*/ 755523 w 1519039"/>
                    <a:gd name="connsiteY337" fmla="*/ 145818 h 729095"/>
                    <a:gd name="connsiteX338" fmla="*/ 761838 w 1519039"/>
                    <a:gd name="connsiteY338" fmla="*/ 143342 h 729095"/>
                    <a:gd name="connsiteX339" fmla="*/ 763867 w 1519039"/>
                    <a:gd name="connsiteY339" fmla="*/ 136970 h 729095"/>
                    <a:gd name="connsiteX340" fmla="*/ 796090 w 1519039"/>
                    <a:gd name="connsiteY340" fmla="*/ 145066 h 729095"/>
                    <a:gd name="connsiteX341" fmla="*/ 796090 w 1519039"/>
                    <a:gd name="connsiteY341" fmla="*/ 145066 h 729095"/>
                    <a:gd name="connsiteX342" fmla="*/ 790708 w 1519039"/>
                    <a:gd name="connsiteY342" fmla="*/ 168355 h 729095"/>
                    <a:gd name="connsiteX343" fmla="*/ 825980 w 1519039"/>
                    <a:gd name="connsiteY343" fmla="*/ 169040 h 729095"/>
                    <a:gd name="connsiteX344" fmla="*/ 813568 w 1519039"/>
                    <a:gd name="connsiteY344" fmla="*/ 179051 h 729095"/>
                    <a:gd name="connsiteX345" fmla="*/ 796900 w 1519039"/>
                    <a:gd name="connsiteY345" fmla="*/ 178289 h 729095"/>
                    <a:gd name="connsiteX346" fmla="*/ 773478 w 1519039"/>
                    <a:gd name="connsiteY346" fmla="*/ 178032 h 729095"/>
                    <a:gd name="connsiteX347" fmla="*/ 790708 w 1519039"/>
                    <a:gd name="connsiteY347" fmla="*/ 168355 h 729095"/>
                    <a:gd name="connsiteX348" fmla="*/ 790708 w 1519039"/>
                    <a:gd name="connsiteY348" fmla="*/ 168355 h 729095"/>
                    <a:gd name="connsiteX349" fmla="*/ 791156 w 1519039"/>
                    <a:gd name="connsiteY349" fmla="*/ 196053 h 729095"/>
                    <a:gd name="connsiteX350" fmla="*/ 807958 w 1519039"/>
                    <a:gd name="connsiteY350" fmla="*/ 201397 h 729095"/>
                    <a:gd name="connsiteX351" fmla="*/ 794214 w 1519039"/>
                    <a:gd name="connsiteY351" fmla="*/ 210693 h 729095"/>
                    <a:gd name="connsiteX352" fmla="*/ 842048 w 1519039"/>
                    <a:gd name="connsiteY352" fmla="*/ 203330 h 729095"/>
                    <a:gd name="connsiteX353" fmla="*/ 850125 w 1519039"/>
                    <a:gd name="connsiteY353" fmla="*/ 210017 h 729095"/>
                    <a:gd name="connsiteX354" fmla="*/ 835609 w 1519039"/>
                    <a:gd name="connsiteY354" fmla="*/ 210436 h 729095"/>
                    <a:gd name="connsiteX355" fmla="*/ 854697 w 1519039"/>
                    <a:gd name="connsiteY355" fmla="*/ 212370 h 729095"/>
                    <a:gd name="connsiteX356" fmla="*/ 872757 w 1519039"/>
                    <a:gd name="connsiteY356" fmla="*/ 217265 h 729095"/>
                    <a:gd name="connsiteX357" fmla="*/ 850306 w 1519039"/>
                    <a:gd name="connsiteY357" fmla="*/ 219809 h 729095"/>
                    <a:gd name="connsiteX358" fmla="*/ 830018 w 1519039"/>
                    <a:gd name="connsiteY358" fmla="*/ 217875 h 729095"/>
                    <a:gd name="connsiteX359" fmla="*/ 842020 w 1519039"/>
                    <a:gd name="connsiteY359" fmla="*/ 222571 h 729095"/>
                    <a:gd name="connsiteX360" fmla="*/ 854412 w 1519039"/>
                    <a:gd name="connsiteY360" fmla="*/ 227162 h 729095"/>
                    <a:gd name="connsiteX361" fmla="*/ 855288 w 1519039"/>
                    <a:gd name="connsiteY361" fmla="*/ 229705 h 729095"/>
                    <a:gd name="connsiteX362" fmla="*/ 858707 w 1519039"/>
                    <a:gd name="connsiteY362" fmla="*/ 229553 h 729095"/>
                    <a:gd name="connsiteX363" fmla="*/ 861765 w 1519039"/>
                    <a:gd name="connsiteY363" fmla="*/ 232677 h 729095"/>
                    <a:gd name="connsiteX364" fmla="*/ 848706 w 1519039"/>
                    <a:gd name="connsiteY364" fmla="*/ 238506 h 729095"/>
                    <a:gd name="connsiteX365" fmla="*/ 864060 w 1519039"/>
                    <a:gd name="connsiteY365" fmla="*/ 239897 h 729095"/>
                    <a:gd name="connsiteX366" fmla="*/ 868823 w 1519039"/>
                    <a:gd name="connsiteY366" fmla="*/ 235639 h 729095"/>
                    <a:gd name="connsiteX367" fmla="*/ 876176 w 1519039"/>
                    <a:gd name="connsiteY367" fmla="*/ 240116 h 729095"/>
                    <a:gd name="connsiteX368" fmla="*/ 887682 w 1519039"/>
                    <a:gd name="connsiteY368" fmla="*/ 239059 h 729095"/>
                    <a:gd name="connsiteX369" fmla="*/ 889216 w 1519039"/>
                    <a:gd name="connsiteY369" fmla="*/ 240497 h 729095"/>
                    <a:gd name="connsiteX370" fmla="*/ 896255 w 1519039"/>
                    <a:gd name="connsiteY370" fmla="*/ 237049 h 729095"/>
                    <a:gd name="connsiteX371" fmla="*/ 919506 w 1519039"/>
                    <a:gd name="connsiteY371" fmla="*/ 242383 h 729095"/>
                    <a:gd name="connsiteX372" fmla="*/ 917648 w 1519039"/>
                    <a:gd name="connsiteY372" fmla="*/ 240487 h 729095"/>
                    <a:gd name="connsiteX373" fmla="*/ 941851 w 1519039"/>
                    <a:gd name="connsiteY373" fmla="*/ 236077 h 729095"/>
                    <a:gd name="connsiteX374" fmla="*/ 967692 w 1519039"/>
                    <a:gd name="connsiteY374" fmla="*/ 230553 h 729095"/>
                    <a:gd name="connsiteX375" fmla="*/ 981132 w 1519039"/>
                    <a:gd name="connsiteY375" fmla="*/ 232524 h 729095"/>
                    <a:gd name="connsiteX376" fmla="*/ 994924 w 1519039"/>
                    <a:gd name="connsiteY376" fmla="*/ 230410 h 729095"/>
                    <a:gd name="connsiteX377" fmla="*/ 1019537 w 1519039"/>
                    <a:gd name="connsiteY377" fmla="*/ 233144 h 729095"/>
                    <a:gd name="connsiteX378" fmla="*/ 1029072 w 1519039"/>
                    <a:gd name="connsiteY378" fmla="*/ 236087 h 729095"/>
                    <a:gd name="connsiteX379" fmla="*/ 1031253 w 1519039"/>
                    <a:gd name="connsiteY379" fmla="*/ 240868 h 729095"/>
                    <a:gd name="connsiteX380" fmla="*/ 1041207 w 1519039"/>
                    <a:gd name="connsiteY380" fmla="*/ 248384 h 729095"/>
                    <a:gd name="connsiteX381" fmla="*/ 1019623 w 1519039"/>
                    <a:gd name="connsiteY381" fmla="*/ 255242 h 729095"/>
                    <a:gd name="connsiteX382" fmla="*/ 1036387 w 1519039"/>
                    <a:gd name="connsiteY382" fmla="*/ 257956 h 729095"/>
                    <a:gd name="connsiteX383" fmla="*/ 1017508 w 1519039"/>
                    <a:gd name="connsiteY383" fmla="*/ 259375 h 729095"/>
                    <a:gd name="connsiteX384" fmla="*/ 1012060 w 1519039"/>
                    <a:gd name="connsiteY384" fmla="*/ 269510 h 729095"/>
                    <a:gd name="connsiteX385" fmla="*/ 987057 w 1519039"/>
                    <a:gd name="connsiteY385" fmla="*/ 271196 h 729095"/>
                    <a:gd name="connsiteX386" fmla="*/ 960911 w 1519039"/>
                    <a:gd name="connsiteY386" fmla="*/ 262100 h 729095"/>
                    <a:gd name="connsiteX387" fmla="*/ 954453 w 1519039"/>
                    <a:gd name="connsiteY387" fmla="*/ 259423 h 729095"/>
                    <a:gd name="connsiteX388" fmla="*/ 955015 w 1519039"/>
                    <a:gd name="connsiteY388" fmla="*/ 263738 h 729095"/>
                    <a:gd name="connsiteX389" fmla="*/ 934507 w 1519039"/>
                    <a:gd name="connsiteY389" fmla="*/ 271053 h 729095"/>
                    <a:gd name="connsiteX390" fmla="*/ 924335 w 1519039"/>
                    <a:gd name="connsiteY390" fmla="*/ 271548 h 729095"/>
                    <a:gd name="connsiteX391" fmla="*/ 917724 w 1519039"/>
                    <a:gd name="connsiteY391" fmla="*/ 268748 h 729095"/>
                    <a:gd name="connsiteX392" fmla="*/ 912219 w 1519039"/>
                    <a:gd name="connsiteY392" fmla="*/ 271482 h 729095"/>
                    <a:gd name="connsiteX393" fmla="*/ 909523 w 1519039"/>
                    <a:gd name="connsiteY393" fmla="*/ 268900 h 729095"/>
                    <a:gd name="connsiteX394" fmla="*/ 907361 w 1519039"/>
                    <a:gd name="connsiteY394" fmla="*/ 270301 h 729095"/>
                    <a:gd name="connsiteX395" fmla="*/ 889626 w 1519039"/>
                    <a:gd name="connsiteY395" fmla="*/ 271644 h 729095"/>
                    <a:gd name="connsiteX396" fmla="*/ 872366 w 1519039"/>
                    <a:gd name="connsiteY396" fmla="*/ 272348 h 729095"/>
                    <a:gd name="connsiteX397" fmla="*/ 848459 w 1519039"/>
                    <a:gd name="connsiteY397" fmla="*/ 272272 h 729095"/>
                    <a:gd name="connsiteX398" fmla="*/ 856078 w 1519039"/>
                    <a:gd name="connsiteY398" fmla="*/ 263109 h 729095"/>
                    <a:gd name="connsiteX399" fmla="*/ 843677 w 1519039"/>
                    <a:gd name="connsiteY399" fmla="*/ 266091 h 729095"/>
                    <a:gd name="connsiteX400" fmla="*/ 844248 w 1519039"/>
                    <a:gd name="connsiteY400" fmla="*/ 262957 h 729095"/>
                    <a:gd name="connsiteX401" fmla="*/ 837552 w 1519039"/>
                    <a:gd name="connsiteY401" fmla="*/ 264671 h 729095"/>
                    <a:gd name="connsiteX402" fmla="*/ 830085 w 1519039"/>
                    <a:gd name="connsiteY402" fmla="*/ 269605 h 729095"/>
                    <a:gd name="connsiteX403" fmla="*/ 816521 w 1519039"/>
                    <a:gd name="connsiteY403" fmla="*/ 269929 h 729095"/>
                    <a:gd name="connsiteX404" fmla="*/ 808415 w 1519039"/>
                    <a:gd name="connsiteY404" fmla="*/ 268538 h 729095"/>
                    <a:gd name="connsiteX405" fmla="*/ 802157 w 1519039"/>
                    <a:gd name="connsiteY405" fmla="*/ 265310 h 729095"/>
                    <a:gd name="connsiteX406" fmla="*/ 806348 w 1519039"/>
                    <a:gd name="connsiteY406" fmla="*/ 262071 h 729095"/>
                    <a:gd name="connsiteX407" fmla="*/ 789146 w 1519039"/>
                    <a:gd name="connsiteY407" fmla="*/ 267176 h 729095"/>
                    <a:gd name="connsiteX408" fmla="*/ 785003 w 1519039"/>
                    <a:gd name="connsiteY408" fmla="*/ 259242 h 729095"/>
                    <a:gd name="connsiteX409" fmla="*/ 790051 w 1519039"/>
                    <a:gd name="connsiteY409" fmla="*/ 252460 h 729095"/>
                    <a:gd name="connsiteX410" fmla="*/ 787756 w 1519039"/>
                    <a:gd name="connsiteY410" fmla="*/ 246974 h 729095"/>
                    <a:gd name="connsiteX411" fmla="*/ 792890 w 1519039"/>
                    <a:gd name="connsiteY411" fmla="*/ 241821 h 729095"/>
                    <a:gd name="connsiteX412" fmla="*/ 805625 w 1519039"/>
                    <a:gd name="connsiteY412" fmla="*/ 229676 h 729095"/>
                    <a:gd name="connsiteX413" fmla="*/ 801510 w 1519039"/>
                    <a:gd name="connsiteY413" fmla="*/ 219666 h 729095"/>
                    <a:gd name="connsiteX414" fmla="*/ 796385 w 1519039"/>
                    <a:gd name="connsiteY414" fmla="*/ 213503 h 729095"/>
                    <a:gd name="connsiteX415" fmla="*/ 787289 w 1519039"/>
                    <a:gd name="connsiteY415" fmla="*/ 216227 h 729095"/>
                    <a:gd name="connsiteX416" fmla="*/ 774278 w 1519039"/>
                    <a:gd name="connsiteY416" fmla="*/ 215970 h 729095"/>
                    <a:gd name="connsiteX417" fmla="*/ 763934 w 1519039"/>
                    <a:gd name="connsiteY417" fmla="*/ 216160 h 729095"/>
                    <a:gd name="connsiteX418" fmla="*/ 757076 w 1519039"/>
                    <a:gd name="connsiteY418" fmla="*/ 216561 h 729095"/>
                    <a:gd name="connsiteX419" fmla="*/ 753866 w 1519039"/>
                    <a:gd name="connsiteY419" fmla="*/ 213141 h 729095"/>
                    <a:gd name="connsiteX420" fmla="*/ 756561 w 1519039"/>
                    <a:gd name="connsiteY420" fmla="*/ 206416 h 729095"/>
                    <a:gd name="connsiteX421" fmla="*/ 737054 w 1519039"/>
                    <a:gd name="connsiteY421" fmla="*/ 201949 h 729095"/>
                    <a:gd name="connsiteX422" fmla="*/ 747484 w 1519039"/>
                    <a:gd name="connsiteY422" fmla="*/ 199720 h 729095"/>
                    <a:gd name="connsiteX423" fmla="*/ 758914 w 1519039"/>
                    <a:gd name="connsiteY423" fmla="*/ 192081 h 729095"/>
                    <a:gd name="connsiteX424" fmla="*/ 791156 w 1519039"/>
                    <a:gd name="connsiteY424" fmla="*/ 196053 h 729095"/>
                    <a:gd name="connsiteX425" fmla="*/ 791156 w 1519039"/>
                    <a:gd name="connsiteY425" fmla="*/ 196053 h 729095"/>
                    <a:gd name="connsiteX426" fmla="*/ 496014 w 1519039"/>
                    <a:gd name="connsiteY426" fmla="*/ 222999 h 729095"/>
                    <a:gd name="connsiteX427" fmla="*/ 494062 w 1519039"/>
                    <a:gd name="connsiteY427" fmla="*/ 230943 h 729095"/>
                    <a:gd name="connsiteX428" fmla="*/ 512207 w 1519039"/>
                    <a:gd name="connsiteY428" fmla="*/ 234887 h 729095"/>
                    <a:gd name="connsiteX429" fmla="*/ 520598 w 1519039"/>
                    <a:gd name="connsiteY429" fmla="*/ 230496 h 729095"/>
                    <a:gd name="connsiteX430" fmla="*/ 542630 w 1519039"/>
                    <a:gd name="connsiteY430" fmla="*/ 225162 h 729095"/>
                    <a:gd name="connsiteX431" fmla="*/ 523770 w 1519039"/>
                    <a:gd name="connsiteY431" fmla="*/ 246783 h 729095"/>
                    <a:gd name="connsiteX432" fmla="*/ 488547 w 1519039"/>
                    <a:gd name="connsiteY432" fmla="*/ 258471 h 729095"/>
                    <a:gd name="connsiteX433" fmla="*/ 472669 w 1519039"/>
                    <a:gd name="connsiteY433" fmla="*/ 256499 h 729095"/>
                    <a:gd name="connsiteX434" fmla="*/ 456209 w 1519039"/>
                    <a:gd name="connsiteY434" fmla="*/ 256546 h 729095"/>
                    <a:gd name="connsiteX435" fmla="*/ 459457 w 1519039"/>
                    <a:gd name="connsiteY435" fmla="*/ 255556 h 729095"/>
                    <a:gd name="connsiteX436" fmla="*/ 427282 w 1519039"/>
                    <a:gd name="connsiteY436" fmla="*/ 260985 h 729095"/>
                    <a:gd name="connsiteX437" fmla="*/ 446580 w 1519039"/>
                    <a:gd name="connsiteY437" fmla="*/ 240202 h 729095"/>
                    <a:gd name="connsiteX438" fmla="*/ 470907 w 1519039"/>
                    <a:gd name="connsiteY438" fmla="*/ 237230 h 729095"/>
                    <a:gd name="connsiteX439" fmla="*/ 466820 w 1519039"/>
                    <a:gd name="connsiteY439" fmla="*/ 225571 h 729095"/>
                    <a:gd name="connsiteX440" fmla="*/ 468078 w 1519039"/>
                    <a:gd name="connsiteY440" fmla="*/ 217103 h 729095"/>
                    <a:gd name="connsiteX441" fmla="*/ 512312 w 1519039"/>
                    <a:gd name="connsiteY441" fmla="*/ 201035 h 729095"/>
                    <a:gd name="connsiteX442" fmla="*/ 502777 w 1519039"/>
                    <a:gd name="connsiteY442" fmla="*/ 210960 h 729095"/>
                    <a:gd name="connsiteX443" fmla="*/ 501882 w 1519039"/>
                    <a:gd name="connsiteY443" fmla="*/ 218675 h 729095"/>
                    <a:gd name="connsiteX444" fmla="*/ 496014 w 1519039"/>
                    <a:gd name="connsiteY444" fmla="*/ 222999 h 729095"/>
                    <a:gd name="connsiteX445" fmla="*/ 496014 w 1519039"/>
                    <a:gd name="connsiteY445" fmla="*/ 222999 h 729095"/>
                    <a:gd name="connsiteX446" fmla="*/ 713708 w 1519039"/>
                    <a:gd name="connsiteY446" fmla="*/ 210103 h 729095"/>
                    <a:gd name="connsiteX447" fmla="*/ 708155 w 1519039"/>
                    <a:gd name="connsiteY447" fmla="*/ 220885 h 729095"/>
                    <a:gd name="connsiteX448" fmla="*/ 691572 w 1519039"/>
                    <a:gd name="connsiteY448" fmla="*/ 232343 h 729095"/>
                    <a:gd name="connsiteX449" fmla="*/ 698773 w 1519039"/>
                    <a:gd name="connsiteY449" fmla="*/ 235106 h 729095"/>
                    <a:gd name="connsiteX450" fmla="*/ 692553 w 1519039"/>
                    <a:gd name="connsiteY450" fmla="*/ 242497 h 729095"/>
                    <a:gd name="connsiteX451" fmla="*/ 688953 w 1519039"/>
                    <a:gd name="connsiteY451" fmla="*/ 240592 h 729095"/>
                    <a:gd name="connsiteX452" fmla="*/ 682571 w 1519039"/>
                    <a:gd name="connsiteY452" fmla="*/ 243564 h 729095"/>
                    <a:gd name="connsiteX453" fmla="*/ 673941 w 1519039"/>
                    <a:gd name="connsiteY453" fmla="*/ 249955 h 729095"/>
                    <a:gd name="connsiteX454" fmla="*/ 664588 w 1519039"/>
                    <a:gd name="connsiteY454" fmla="*/ 255270 h 729095"/>
                    <a:gd name="connsiteX455" fmla="*/ 645347 w 1519039"/>
                    <a:gd name="connsiteY455" fmla="*/ 255289 h 729095"/>
                    <a:gd name="connsiteX456" fmla="*/ 627336 w 1519039"/>
                    <a:gd name="connsiteY456" fmla="*/ 256089 h 729095"/>
                    <a:gd name="connsiteX457" fmla="*/ 633613 w 1519039"/>
                    <a:gd name="connsiteY457" fmla="*/ 248526 h 729095"/>
                    <a:gd name="connsiteX458" fmla="*/ 624735 w 1519039"/>
                    <a:gd name="connsiteY458" fmla="*/ 245364 h 729095"/>
                    <a:gd name="connsiteX459" fmla="*/ 645757 w 1519039"/>
                    <a:gd name="connsiteY459" fmla="*/ 238373 h 729095"/>
                    <a:gd name="connsiteX460" fmla="*/ 664350 w 1519039"/>
                    <a:gd name="connsiteY460" fmla="*/ 234287 h 729095"/>
                    <a:gd name="connsiteX461" fmla="*/ 629088 w 1519039"/>
                    <a:gd name="connsiteY461" fmla="*/ 236706 h 729095"/>
                    <a:gd name="connsiteX462" fmla="*/ 595608 w 1519039"/>
                    <a:gd name="connsiteY462" fmla="*/ 239840 h 729095"/>
                    <a:gd name="connsiteX463" fmla="*/ 606790 w 1519039"/>
                    <a:gd name="connsiteY463" fmla="*/ 231220 h 729095"/>
                    <a:gd name="connsiteX464" fmla="*/ 619868 w 1519039"/>
                    <a:gd name="connsiteY464" fmla="*/ 229800 h 729095"/>
                    <a:gd name="connsiteX465" fmla="*/ 632127 w 1519039"/>
                    <a:gd name="connsiteY465" fmla="*/ 231124 h 729095"/>
                    <a:gd name="connsiteX466" fmla="*/ 624735 w 1519039"/>
                    <a:gd name="connsiteY466" fmla="*/ 229629 h 729095"/>
                    <a:gd name="connsiteX467" fmla="*/ 628374 w 1519039"/>
                    <a:gd name="connsiteY467" fmla="*/ 225028 h 729095"/>
                    <a:gd name="connsiteX468" fmla="*/ 632527 w 1519039"/>
                    <a:gd name="connsiteY468" fmla="*/ 217342 h 729095"/>
                    <a:gd name="connsiteX469" fmla="*/ 622535 w 1519039"/>
                    <a:gd name="connsiteY469" fmla="*/ 215799 h 729095"/>
                    <a:gd name="connsiteX470" fmla="*/ 636022 w 1519039"/>
                    <a:gd name="connsiteY470" fmla="*/ 210560 h 729095"/>
                    <a:gd name="connsiteX471" fmla="*/ 641480 w 1519039"/>
                    <a:gd name="connsiteY471" fmla="*/ 211836 h 729095"/>
                    <a:gd name="connsiteX472" fmla="*/ 642795 w 1519039"/>
                    <a:gd name="connsiteY472" fmla="*/ 215922 h 729095"/>
                    <a:gd name="connsiteX473" fmla="*/ 661607 w 1519039"/>
                    <a:gd name="connsiteY473" fmla="*/ 226038 h 729095"/>
                    <a:gd name="connsiteX474" fmla="*/ 658244 w 1519039"/>
                    <a:gd name="connsiteY474" fmla="*/ 220685 h 729095"/>
                    <a:gd name="connsiteX475" fmla="*/ 669455 w 1519039"/>
                    <a:gd name="connsiteY475" fmla="*/ 220161 h 729095"/>
                    <a:gd name="connsiteX476" fmla="*/ 654987 w 1519039"/>
                    <a:gd name="connsiteY476" fmla="*/ 217132 h 729095"/>
                    <a:gd name="connsiteX477" fmla="*/ 665359 w 1519039"/>
                    <a:gd name="connsiteY477" fmla="*/ 214932 h 729095"/>
                    <a:gd name="connsiteX478" fmla="*/ 655501 w 1519039"/>
                    <a:gd name="connsiteY478" fmla="*/ 207979 h 729095"/>
                    <a:gd name="connsiteX479" fmla="*/ 681609 w 1519039"/>
                    <a:gd name="connsiteY479" fmla="*/ 206769 h 729095"/>
                    <a:gd name="connsiteX480" fmla="*/ 690667 w 1519039"/>
                    <a:gd name="connsiteY480" fmla="*/ 209569 h 729095"/>
                    <a:gd name="connsiteX481" fmla="*/ 698192 w 1519039"/>
                    <a:gd name="connsiteY481" fmla="*/ 203445 h 729095"/>
                    <a:gd name="connsiteX482" fmla="*/ 713708 w 1519039"/>
                    <a:gd name="connsiteY482" fmla="*/ 210103 h 729095"/>
                    <a:gd name="connsiteX483" fmla="*/ 713708 w 1519039"/>
                    <a:gd name="connsiteY483" fmla="*/ 210103 h 729095"/>
                    <a:gd name="connsiteX484" fmla="*/ 613410 w 1519039"/>
                    <a:gd name="connsiteY484" fmla="*/ 224333 h 729095"/>
                    <a:gd name="connsiteX485" fmla="*/ 615829 w 1519039"/>
                    <a:gd name="connsiteY485" fmla="*/ 226276 h 729095"/>
                    <a:gd name="connsiteX486" fmla="*/ 585245 w 1519039"/>
                    <a:gd name="connsiteY486" fmla="*/ 232229 h 729095"/>
                    <a:gd name="connsiteX487" fmla="*/ 594855 w 1519039"/>
                    <a:gd name="connsiteY487" fmla="*/ 227362 h 729095"/>
                    <a:gd name="connsiteX488" fmla="*/ 576767 w 1519039"/>
                    <a:gd name="connsiteY488" fmla="*/ 226914 h 729095"/>
                    <a:gd name="connsiteX489" fmla="*/ 583254 w 1519039"/>
                    <a:gd name="connsiteY489" fmla="*/ 223638 h 729095"/>
                    <a:gd name="connsiteX490" fmla="*/ 573415 w 1519039"/>
                    <a:gd name="connsiteY490" fmla="*/ 221390 h 729095"/>
                    <a:gd name="connsiteX491" fmla="*/ 613743 w 1519039"/>
                    <a:gd name="connsiteY491" fmla="*/ 215932 h 729095"/>
                    <a:gd name="connsiteX492" fmla="*/ 610476 w 1519039"/>
                    <a:gd name="connsiteY492" fmla="*/ 221809 h 729095"/>
                    <a:gd name="connsiteX493" fmla="*/ 613410 w 1519039"/>
                    <a:gd name="connsiteY493" fmla="*/ 224333 h 729095"/>
                    <a:gd name="connsiteX494" fmla="*/ 613410 w 1519039"/>
                    <a:gd name="connsiteY494" fmla="*/ 224333 h 729095"/>
                    <a:gd name="connsiteX495" fmla="*/ 758676 w 1519039"/>
                    <a:gd name="connsiteY495" fmla="*/ 255423 h 729095"/>
                    <a:gd name="connsiteX496" fmla="*/ 736578 w 1519039"/>
                    <a:gd name="connsiteY496" fmla="*/ 267424 h 729095"/>
                    <a:gd name="connsiteX497" fmla="*/ 726091 w 1519039"/>
                    <a:gd name="connsiteY497" fmla="*/ 267576 h 729095"/>
                    <a:gd name="connsiteX498" fmla="*/ 718195 w 1519039"/>
                    <a:gd name="connsiteY498" fmla="*/ 262795 h 729095"/>
                    <a:gd name="connsiteX499" fmla="*/ 707603 w 1519039"/>
                    <a:gd name="connsiteY499" fmla="*/ 261652 h 729095"/>
                    <a:gd name="connsiteX500" fmla="*/ 701859 w 1519039"/>
                    <a:gd name="connsiteY500" fmla="*/ 258823 h 729095"/>
                    <a:gd name="connsiteX501" fmla="*/ 697582 w 1519039"/>
                    <a:gd name="connsiteY501" fmla="*/ 256251 h 729095"/>
                    <a:gd name="connsiteX502" fmla="*/ 713889 w 1519039"/>
                    <a:gd name="connsiteY502" fmla="*/ 247317 h 729095"/>
                    <a:gd name="connsiteX503" fmla="*/ 735292 w 1519039"/>
                    <a:gd name="connsiteY503" fmla="*/ 238439 h 729095"/>
                    <a:gd name="connsiteX504" fmla="*/ 757447 w 1519039"/>
                    <a:gd name="connsiteY504" fmla="*/ 239192 h 729095"/>
                    <a:gd name="connsiteX505" fmla="*/ 758676 w 1519039"/>
                    <a:gd name="connsiteY505" fmla="*/ 255423 h 729095"/>
                    <a:gd name="connsiteX506" fmla="*/ 758676 w 1519039"/>
                    <a:gd name="connsiteY506" fmla="*/ 255423 h 729095"/>
                    <a:gd name="connsiteX507" fmla="*/ 744636 w 1519039"/>
                    <a:gd name="connsiteY507" fmla="*/ 282731 h 729095"/>
                    <a:gd name="connsiteX508" fmla="*/ 756285 w 1519039"/>
                    <a:gd name="connsiteY508" fmla="*/ 286398 h 729095"/>
                    <a:gd name="connsiteX509" fmla="*/ 767715 w 1519039"/>
                    <a:gd name="connsiteY509" fmla="*/ 287341 h 729095"/>
                    <a:gd name="connsiteX510" fmla="*/ 794118 w 1519039"/>
                    <a:gd name="connsiteY510" fmla="*/ 291941 h 729095"/>
                    <a:gd name="connsiteX511" fmla="*/ 773916 w 1519039"/>
                    <a:gd name="connsiteY511" fmla="*/ 302876 h 729095"/>
                    <a:gd name="connsiteX512" fmla="*/ 754713 w 1519039"/>
                    <a:gd name="connsiteY512" fmla="*/ 311858 h 729095"/>
                    <a:gd name="connsiteX513" fmla="*/ 756314 w 1519039"/>
                    <a:gd name="connsiteY513" fmla="*/ 313163 h 729095"/>
                    <a:gd name="connsiteX514" fmla="*/ 726834 w 1519039"/>
                    <a:gd name="connsiteY514" fmla="*/ 328041 h 729095"/>
                    <a:gd name="connsiteX515" fmla="*/ 707784 w 1519039"/>
                    <a:gd name="connsiteY515" fmla="*/ 325546 h 729095"/>
                    <a:gd name="connsiteX516" fmla="*/ 688905 w 1519039"/>
                    <a:gd name="connsiteY516" fmla="*/ 326965 h 729095"/>
                    <a:gd name="connsiteX517" fmla="*/ 683447 w 1519039"/>
                    <a:gd name="connsiteY517" fmla="*/ 342843 h 729095"/>
                    <a:gd name="connsiteX518" fmla="*/ 668522 w 1519039"/>
                    <a:gd name="connsiteY518" fmla="*/ 350101 h 729095"/>
                    <a:gd name="connsiteX519" fmla="*/ 650672 w 1519039"/>
                    <a:gd name="connsiteY519" fmla="*/ 349930 h 729095"/>
                    <a:gd name="connsiteX520" fmla="*/ 661911 w 1519039"/>
                    <a:gd name="connsiteY520" fmla="*/ 329270 h 729095"/>
                    <a:gd name="connsiteX521" fmla="*/ 671255 w 1519039"/>
                    <a:gd name="connsiteY521" fmla="*/ 313801 h 729095"/>
                    <a:gd name="connsiteX522" fmla="*/ 683505 w 1519039"/>
                    <a:gd name="connsiteY522" fmla="*/ 297380 h 729095"/>
                    <a:gd name="connsiteX523" fmla="*/ 701897 w 1519039"/>
                    <a:gd name="connsiteY523" fmla="*/ 298142 h 729095"/>
                    <a:gd name="connsiteX524" fmla="*/ 699154 w 1519039"/>
                    <a:gd name="connsiteY524" fmla="*/ 289913 h 729095"/>
                    <a:gd name="connsiteX525" fmla="*/ 711041 w 1519039"/>
                    <a:gd name="connsiteY525" fmla="*/ 285188 h 729095"/>
                    <a:gd name="connsiteX526" fmla="*/ 728177 w 1519039"/>
                    <a:gd name="connsiteY526" fmla="*/ 283655 h 729095"/>
                    <a:gd name="connsiteX527" fmla="*/ 744636 w 1519039"/>
                    <a:gd name="connsiteY527" fmla="*/ 282731 h 729095"/>
                    <a:gd name="connsiteX528" fmla="*/ 744636 w 1519039"/>
                    <a:gd name="connsiteY528" fmla="*/ 282731 h 729095"/>
                    <a:gd name="connsiteX529" fmla="*/ 601999 w 1519039"/>
                    <a:gd name="connsiteY529" fmla="*/ 289503 h 729095"/>
                    <a:gd name="connsiteX530" fmla="*/ 624726 w 1519039"/>
                    <a:gd name="connsiteY530" fmla="*/ 294847 h 729095"/>
                    <a:gd name="connsiteX531" fmla="*/ 647357 w 1519039"/>
                    <a:gd name="connsiteY531" fmla="*/ 291322 h 729095"/>
                    <a:gd name="connsiteX532" fmla="*/ 655177 w 1519039"/>
                    <a:gd name="connsiteY532" fmla="*/ 298295 h 729095"/>
                    <a:gd name="connsiteX533" fmla="*/ 638023 w 1519039"/>
                    <a:gd name="connsiteY533" fmla="*/ 304133 h 729095"/>
                    <a:gd name="connsiteX534" fmla="*/ 644157 w 1519039"/>
                    <a:gd name="connsiteY534" fmla="*/ 305448 h 729095"/>
                    <a:gd name="connsiteX535" fmla="*/ 631060 w 1519039"/>
                    <a:gd name="connsiteY535" fmla="*/ 309925 h 729095"/>
                    <a:gd name="connsiteX536" fmla="*/ 607705 w 1519039"/>
                    <a:gd name="connsiteY536" fmla="*/ 321155 h 729095"/>
                    <a:gd name="connsiteX537" fmla="*/ 623783 w 1519039"/>
                    <a:gd name="connsiteY537" fmla="*/ 318154 h 729095"/>
                    <a:gd name="connsiteX538" fmla="*/ 627021 w 1519039"/>
                    <a:gd name="connsiteY538" fmla="*/ 323555 h 729095"/>
                    <a:gd name="connsiteX539" fmla="*/ 625821 w 1519039"/>
                    <a:gd name="connsiteY539" fmla="*/ 330546 h 729095"/>
                    <a:gd name="connsiteX540" fmla="*/ 638651 w 1519039"/>
                    <a:gd name="connsiteY540" fmla="*/ 332175 h 729095"/>
                    <a:gd name="connsiteX541" fmla="*/ 624897 w 1519039"/>
                    <a:gd name="connsiteY541" fmla="*/ 340909 h 729095"/>
                    <a:gd name="connsiteX542" fmla="*/ 618525 w 1519039"/>
                    <a:gd name="connsiteY542" fmla="*/ 349796 h 729095"/>
                    <a:gd name="connsiteX543" fmla="*/ 581901 w 1519039"/>
                    <a:gd name="connsiteY543" fmla="*/ 355587 h 729095"/>
                    <a:gd name="connsiteX544" fmla="*/ 574224 w 1519039"/>
                    <a:gd name="connsiteY544" fmla="*/ 367884 h 729095"/>
                    <a:gd name="connsiteX545" fmla="*/ 556860 w 1519039"/>
                    <a:gd name="connsiteY545" fmla="*/ 371199 h 729095"/>
                    <a:gd name="connsiteX546" fmla="*/ 550326 w 1519039"/>
                    <a:gd name="connsiteY546" fmla="*/ 360921 h 729095"/>
                    <a:gd name="connsiteX547" fmla="*/ 539591 w 1519039"/>
                    <a:gd name="connsiteY547" fmla="*/ 344510 h 729095"/>
                    <a:gd name="connsiteX548" fmla="*/ 534381 w 1519039"/>
                    <a:gd name="connsiteY548" fmla="*/ 340824 h 729095"/>
                    <a:gd name="connsiteX549" fmla="*/ 525580 w 1519039"/>
                    <a:gd name="connsiteY549" fmla="*/ 341462 h 729095"/>
                    <a:gd name="connsiteX550" fmla="*/ 523227 w 1519039"/>
                    <a:gd name="connsiteY550" fmla="*/ 337376 h 729095"/>
                    <a:gd name="connsiteX551" fmla="*/ 516855 w 1519039"/>
                    <a:gd name="connsiteY551" fmla="*/ 331032 h 729095"/>
                    <a:gd name="connsiteX552" fmla="*/ 525818 w 1519039"/>
                    <a:gd name="connsiteY552" fmla="*/ 319335 h 729095"/>
                    <a:gd name="connsiteX553" fmla="*/ 536096 w 1519039"/>
                    <a:gd name="connsiteY553" fmla="*/ 316983 h 729095"/>
                    <a:gd name="connsiteX554" fmla="*/ 539772 w 1519039"/>
                    <a:gd name="connsiteY554" fmla="*/ 320135 h 729095"/>
                    <a:gd name="connsiteX555" fmla="*/ 548459 w 1519039"/>
                    <a:gd name="connsiteY555" fmla="*/ 328222 h 729095"/>
                    <a:gd name="connsiteX556" fmla="*/ 569033 w 1519039"/>
                    <a:gd name="connsiteY556" fmla="*/ 319993 h 729095"/>
                    <a:gd name="connsiteX557" fmla="*/ 569938 w 1519039"/>
                    <a:gd name="connsiteY557" fmla="*/ 314935 h 729095"/>
                    <a:gd name="connsiteX558" fmla="*/ 586273 w 1519039"/>
                    <a:gd name="connsiteY558" fmla="*/ 312554 h 729095"/>
                    <a:gd name="connsiteX559" fmla="*/ 575786 w 1519039"/>
                    <a:gd name="connsiteY559" fmla="*/ 309172 h 729095"/>
                    <a:gd name="connsiteX560" fmla="*/ 563737 w 1519039"/>
                    <a:gd name="connsiteY560" fmla="*/ 308896 h 729095"/>
                    <a:gd name="connsiteX561" fmla="*/ 574891 w 1519039"/>
                    <a:gd name="connsiteY561" fmla="*/ 301314 h 729095"/>
                    <a:gd name="connsiteX562" fmla="*/ 579987 w 1519039"/>
                    <a:gd name="connsiteY562" fmla="*/ 301190 h 729095"/>
                    <a:gd name="connsiteX563" fmla="*/ 576672 w 1519039"/>
                    <a:gd name="connsiteY563" fmla="*/ 296104 h 729095"/>
                    <a:gd name="connsiteX564" fmla="*/ 601180 w 1519039"/>
                    <a:gd name="connsiteY564" fmla="*/ 292627 h 729095"/>
                    <a:gd name="connsiteX565" fmla="*/ 595560 w 1519039"/>
                    <a:gd name="connsiteY565" fmla="*/ 291827 h 729095"/>
                    <a:gd name="connsiteX566" fmla="*/ 601999 w 1519039"/>
                    <a:gd name="connsiteY566" fmla="*/ 289503 h 729095"/>
                    <a:gd name="connsiteX567" fmla="*/ 601999 w 1519039"/>
                    <a:gd name="connsiteY567" fmla="*/ 289503 h 729095"/>
                    <a:gd name="connsiteX568" fmla="*/ 805053 w 1519039"/>
                    <a:gd name="connsiteY568" fmla="*/ 381962 h 729095"/>
                    <a:gd name="connsiteX569" fmla="*/ 823160 w 1519039"/>
                    <a:gd name="connsiteY569" fmla="*/ 378466 h 729095"/>
                    <a:gd name="connsiteX570" fmla="*/ 840991 w 1519039"/>
                    <a:gd name="connsiteY570" fmla="*/ 377971 h 729095"/>
                    <a:gd name="connsiteX571" fmla="*/ 844439 w 1519039"/>
                    <a:gd name="connsiteY571" fmla="*/ 379362 h 729095"/>
                    <a:gd name="connsiteX572" fmla="*/ 857622 w 1519039"/>
                    <a:gd name="connsiteY572" fmla="*/ 364408 h 729095"/>
                    <a:gd name="connsiteX573" fmla="*/ 847411 w 1519039"/>
                    <a:gd name="connsiteY573" fmla="*/ 360855 h 729095"/>
                    <a:gd name="connsiteX574" fmla="*/ 841048 w 1519039"/>
                    <a:gd name="connsiteY574" fmla="*/ 351215 h 729095"/>
                    <a:gd name="connsiteX575" fmla="*/ 859174 w 1519039"/>
                    <a:gd name="connsiteY575" fmla="*/ 343491 h 729095"/>
                    <a:gd name="connsiteX576" fmla="*/ 876233 w 1519039"/>
                    <a:gd name="connsiteY576" fmla="*/ 348949 h 729095"/>
                    <a:gd name="connsiteX577" fmla="*/ 876262 w 1519039"/>
                    <a:gd name="connsiteY577" fmla="*/ 338928 h 729095"/>
                    <a:gd name="connsiteX578" fmla="*/ 862260 w 1519039"/>
                    <a:gd name="connsiteY578" fmla="*/ 337157 h 729095"/>
                    <a:gd name="connsiteX579" fmla="*/ 863584 w 1519039"/>
                    <a:gd name="connsiteY579" fmla="*/ 327222 h 729095"/>
                    <a:gd name="connsiteX580" fmla="*/ 893064 w 1519039"/>
                    <a:gd name="connsiteY580" fmla="*/ 325698 h 729095"/>
                    <a:gd name="connsiteX581" fmla="*/ 893578 w 1519039"/>
                    <a:gd name="connsiteY581" fmla="*/ 324450 h 729095"/>
                    <a:gd name="connsiteX582" fmla="*/ 876919 w 1519039"/>
                    <a:gd name="connsiteY582" fmla="*/ 318221 h 729095"/>
                    <a:gd name="connsiteX583" fmla="*/ 888435 w 1519039"/>
                    <a:gd name="connsiteY583" fmla="*/ 309305 h 729095"/>
                    <a:gd name="connsiteX584" fmla="*/ 916781 w 1519039"/>
                    <a:gd name="connsiteY584" fmla="*/ 305800 h 729095"/>
                    <a:gd name="connsiteX585" fmla="*/ 936841 w 1519039"/>
                    <a:gd name="connsiteY585" fmla="*/ 298104 h 729095"/>
                    <a:gd name="connsiteX586" fmla="*/ 960825 w 1519039"/>
                    <a:gd name="connsiteY586" fmla="*/ 296380 h 729095"/>
                    <a:gd name="connsiteX587" fmla="*/ 969397 w 1519039"/>
                    <a:gd name="connsiteY587" fmla="*/ 311877 h 729095"/>
                    <a:gd name="connsiteX588" fmla="*/ 972626 w 1519039"/>
                    <a:gd name="connsiteY588" fmla="*/ 318326 h 729095"/>
                    <a:gd name="connsiteX589" fmla="*/ 973712 w 1519039"/>
                    <a:gd name="connsiteY589" fmla="*/ 326536 h 729095"/>
                    <a:gd name="connsiteX590" fmla="*/ 943556 w 1519039"/>
                    <a:gd name="connsiteY590" fmla="*/ 342043 h 729095"/>
                    <a:gd name="connsiteX591" fmla="*/ 960130 w 1519039"/>
                    <a:gd name="connsiteY591" fmla="*/ 336595 h 729095"/>
                    <a:gd name="connsiteX592" fmla="*/ 951147 w 1519039"/>
                    <a:gd name="connsiteY592" fmla="*/ 347529 h 729095"/>
                    <a:gd name="connsiteX593" fmla="*/ 941908 w 1519039"/>
                    <a:gd name="connsiteY593" fmla="*/ 353425 h 729095"/>
                    <a:gd name="connsiteX594" fmla="*/ 969302 w 1519039"/>
                    <a:gd name="connsiteY594" fmla="*/ 345215 h 729095"/>
                    <a:gd name="connsiteX595" fmla="*/ 971379 w 1519039"/>
                    <a:gd name="connsiteY595" fmla="*/ 338109 h 729095"/>
                    <a:gd name="connsiteX596" fmla="*/ 977275 w 1519039"/>
                    <a:gd name="connsiteY596" fmla="*/ 340338 h 729095"/>
                    <a:gd name="connsiteX597" fmla="*/ 987200 w 1519039"/>
                    <a:gd name="connsiteY597" fmla="*/ 339585 h 729095"/>
                    <a:gd name="connsiteX598" fmla="*/ 985790 w 1519039"/>
                    <a:gd name="connsiteY598" fmla="*/ 351215 h 729095"/>
                    <a:gd name="connsiteX599" fmla="*/ 989219 w 1519039"/>
                    <a:gd name="connsiteY599" fmla="*/ 351663 h 729095"/>
                    <a:gd name="connsiteX600" fmla="*/ 995143 w 1519039"/>
                    <a:gd name="connsiteY600" fmla="*/ 341081 h 729095"/>
                    <a:gd name="connsiteX601" fmla="*/ 1018461 w 1519039"/>
                    <a:gd name="connsiteY601" fmla="*/ 343900 h 729095"/>
                    <a:gd name="connsiteX602" fmla="*/ 1004068 w 1519039"/>
                    <a:gd name="connsiteY602" fmla="*/ 336518 h 729095"/>
                    <a:gd name="connsiteX603" fmla="*/ 1013984 w 1519039"/>
                    <a:gd name="connsiteY603" fmla="*/ 330508 h 729095"/>
                    <a:gd name="connsiteX604" fmla="*/ 1048179 w 1519039"/>
                    <a:gd name="connsiteY604" fmla="*/ 330603 h 729095"/>
                    <a:gd name="connsiteX605" fmla="*/ 1071001 w 1519039"/>
                    <a:gd name="connsiteY605" fmla="*/ 341452 h 729095"/>
                    <a:gd name="connsiteX606" fmla="*/ 1056246 w 1519039"/>
                    <a:gd name="connsiteY606" fmla="*/ 350273 h 729095"/>
                    <a:gd name="connsiteX607" fmla="*/ 1041673 w 1519039"/>
                    <a:gd name="connsiteY607" fmla="*/ 359702 h 729095"/>
                    <a:gd name="connsiteX608" fmla="*/ 1078506 w 1519039"/>
                    <a:gd name="connsiteY608" fmla="*/ 348244 h 729095"/>
                    <a:gd name="connsiteX609" fmla="*/ 1056304 w 1519039"/>
                    <a:gd name="connsiteY609" fmla="*/ 360512 h 729095"/>
                    <a:gd name="connsiteX610" fmla="*/ 1066143 w 1519039"/>
                    <a:gd name="connsiteY610" fmla="*/ 361017 h 729095"/>
                    <a:gd name="connsiteX611" fmla="*/ 1050512 w 1519039"/>
                    <a:gd name="connsiteY611" fmla="*/ 375037 h 729095"/>
                    <a:gd name="connsiteX612" fmla="*/ 1069096 w 1519039"/>
                    <a:gd name="connsiteY612" fmla="*/ 362398 h 729095"/>
                    <a:gd name="connsiteX613" fmla="*/ 1088069 w 1519039"/>
                    <a:gd name="connsiteY613" fmla="*/ 358788 h 729095"/>
                    <a:gd name="connsiteX614" fmla="*/ 1071315 w 1519039"/>
                    <a:gd name="connsiteY614" fmla="*/ 369561 h 729095"/>
                    <a:gd name="connsiteX615" fmla="*/ 1084898 w 1519039"/>
                    <a:gd name="connsiteY615" fmla="*/ 363788 h 729095"/>
                    <a:gd name="connsiteX616" fmla="*/ 1090117 w 1519039"/>
                    <a:gd name="connsiteY616" fmla="*/ 373390 h 729095"/>
                    <a:gd name="connsiteX617" fmla="*/ 1095394 w 1519039"/>
                    <a:gd name="connsiteY617" fmla="*/ 364493 h 729095"/>
                    <a:gd name="connsiteX618" fmla="*/ 1107805 w 1519039"/>
                    <a:gd name="connsiteY618" fmla="*/ 362645 h 729095"/>
                    <a:gd name="connsiteX619" fmla="*/ 1130818 w 1519039"/>
                    <a:gd name="connsiteY619" fmla="*/ 369589 h 729095"/>
                    <a:gd name="connsiteX620" fmla="*/ 1115006 w 1519039"/>
                    <a:gd name="connsiteY620" fmla="*/ 379076 h 729095"/>
                    <a:gd name="connsiteX621" fmla="*/ 1092984 w 1519039"/>
                    <a:gd name="connsiteY621" fmla="*/ 387630 h 729095"/>
                    <a:gd name="connsiteX622" fmla="*/ 1116139 w 1519039"/>
                    <a:gd name="connsiteY622" fmla="*/ 380991 h 729095"/>
                    <a:gd name="connsiteX623" fmla="*/ 1128122 w 1519039"/>
                    <a:gd name="connsiteY623" fmla="*/ 381867 h 729095"/>
                    <a:gd name="connsiteX624" fmla="*/ 1137247 w 1519039"/>
                    <a:gd name="connsiteY624" fmla="*/ 379829 h 729095"/>
                    <a:gd name="connsiteX625" fmla="*/ 1101071 w 1519039"/>
                    <a:gd name="connsiteY625" fmla="*/ 400212 h 729095"/>
                    <a:gd name="connsiteX626" fmla="*/ 1113816 w 1519039"/>
                    <a:gd name="connsiteY626" fmla="*/ 396497 h 729095"/>
                    <a:gd name="connsiteX627" fmla="*/ 1105138 w 1519039"/>
                    <a:gd name="connsiteY627" fmla="*/ 409785 h 729095"/>
                    <a:gd name="connsiteX628" fmla="*/ 1135447 w 1519039"/>
                    <a:gd name="connsiteY628" fmla="*/ 390344 h 729095"/>
                    <a:gd name="connsiteX629" fmla="*/ 1166479 w 1519039"/>
                    <a:gd name="connsiteY629" fmla="*/ 391192 h 729095"/>
                    <a:gd name="connsiteX630" fmla="*/ 1166355 w 1519039"/>
                    <a:gd name="connsiteY630" fmla="*/ 402670 h 729095"/>
                    <a:gd name="connsiteX631" fmla="*/ 1132551 w 1519039"/>
                    <a:gd name="connsiteY631" fmla="*/ 412461 h 729095"/>
                    <a:gd name="connsiteX632" fmla="*/ 1154802 w 1519039"/>
                    <a:gd name="connsiteY632" fmla="*/ 407727 h 729095"/>
                    <a:gd name="connsiteX633" fmla="*/ 1153582 w 1519039"/>
                    <a:gd name="connsiteY633" fmla="*/ 414461 h 729095"/>
                    <a:gd name="connsiteX634" fmla="*/ 1173080 w 1519039"/>
                    <a:gd name="connsiteY634" fmla="*/ 409756 h 729095"/>
                    <a:gd name="connsiteX635" fmla="*/ 1178243 w 1519039"/>
                    <a:gd name="connsiteY635" fmla="*/ 403889 h 729095"/>
                    <a:gd name="connsiteX636" fmla="*/ 1186053 w 1519039"/>
                    <a:gd name="connsiteY636" fmla="*/ 408213 h 729095"/>
                    <a:gd name="connsiteX637" fmla="*/ 1184853 w 1519039"/>
                    <a:gd name="connsiteY637" fmla="*/ 422605 h 729095"/>
                    <a:gd name="connsiteX638" fmla="*/ 1172004 w 1519039"/>
                    <a:gd name="connsiteY638" fmla="*/ 420996 h 729095"/>
                    <a:gd name="connsiteX639" fmla="*/ 1163203 w 1519039"/>
                    <a:gd name="connsiteY639" fmla="*/ 424367 h 729095"/>
                    <a:gd name="connsiteX640" fmla="*/ 1140114 w 1519039"/>
                    <a:gd name="connsiteY640" fmla="*/ 429187 h 729095"/>
                    <a:gd name="connsiteX641" fmla="*/ 1153916 w 1519039"/>
                    <a:gd name="connsiteY641" fmla="*/ 427311 h 729095"/>
                    <a:gd name="connsiteX642" fmla="*/ 1168727 w 1519039"/>
                    <a:gd name="connsiteY642" fmla="*/ 430568 h 729095"/>
                    <a:gd name="connsiteX643" fmla="*/ 1190606 w 1519039"/>
                    <a:gd name="connsiteY643" fmla="*/ 436940 h 729095"/>
                    <a:gd name="connsiteX644" fmla="*/ 1167756 w 1519039"/>
                    <a:gd name="connsiteY644" fmla="*/ 439417 h 729095"/>
                    <a:gd name="connsiteX645" fmla="*/ 1153163 w 1519039"/>
                    <a:gd name="connsiteY645" fmla="*/ 437979 h 729095"/>
                    <a:gd name="connsiteX646" fmla="*/ 1137237 w 1519039"/>
                    <a:gd name="connsiteY646" fmla="*/ 442227 h 729095"/>
                    <a:gd name="connsiteX647" fmla="*/ 1154154 w 1519039"/>
                    <a:gd name="connsiteY647" fmla="*/ 440055 h 729095"/>
                    <a:gd name="connsiteX648" fmla="*/ 1159755 w 1519039"/>
                    <a:gd name="connsiteY648" fmla="*/ 449609 h 729095"/>
                    <a:gd name="connsiteX649" fmla="*/ 1143391 w 1519039"/>
                    <a:gd name="connsiteY649" fmla="*/ 450266 h 729095"/>
                    <a:gd name="connsiteX650" fmla="*/ 1126712 w 1519039"/>
                    <a:gd name="connsiteY650" fmla="*/ 449428 h 729095"/>
                    <a:gd name="connsiteX651" fmla="*/ 1143867 w 1519039"/>
                    <a:gd name="connsiteY651" fmla="*/ 453476 h 729095"/>
                    <a:gd name="connsiteX652" fmla="*/ 1150791 w 1519039"/>
                    <a:gd name="connsiteY652" fmla="*/ 460305 h 729095"/>
                    <a:gd name="connsiteX653" fmla="*/ 1162098 w 1519039"/>
                    <a:gd name="connsiteY653" fmla="*/ 461296 h 729095"/>
                    <a:gd name="connsiteX654" fmla="*/ 1175804 w 1519039"/>
                    <a:gd name="connsiteY654" fmla="*/ 462772 h 729095"/>
                    <a:gd name="connsiteX655" fmla="*/ 1170423 w 1519039"/>
                    <a:gd name="connsiteY655" fmla="*/ 464506 h 729095"/>
                    <a:gd name="connsiteX656" fmla="*/ 1167679 w 1519039"/>
                    <a:gd name="connsiteY656" fmla="*/ 465782 h 729095"/>
                    <a:gd name="connsiteX657" fmla="*/ 1168222 w 1519039"/>
                    <a:gd name="connsiteY657" fmla="*/ 468021 h 729095"/>
                    <a:gd name="connsiteX658" fmla="*/ 1168670 w 1519039"/>
                    <a:gd name="connsiteY658" fmla="*/ 471145 h 729095"/>
                    <a:gd name="connsiteX659" fmla="*/ 1164803 w 1519039"/>
                    <a:gd name="connsiteY659" fmla="*/ 474745 h 729095"/>
                    <a:gd name="connsiteX660" fmla="*/ 1170518 w 1519039"/>
                    <a:gd name="connsiteY660" fmla="*/ 473012 h 729095"/>
                    <a:gd name="connsiteX661" fmla="*/ 1169346 w 1519039"/>
                    <a:gd name="connsiteY661" fmla="*/ 475888 h 729095"/>
                    <a:gd name="connsiteX662" fmla="*/ 1175014 w 1519039"/>
                    <a:gd name="connsiteY662" fmla="*/ 469545 h 729095"/>
                    <a:gd name="connsiteX663" fmla="*/ 1183815 w 1519039"/>
                    <a:gd name="connsiteY663" fmla="*/ 467973 h 729095"/>
                    <a:gd name="connsiteX664" fmla="*/ 1169756 w 1519039"/>
                    <a:gd name="connsiteY664" fmla="*/ 481489 h 729095"/>
                    <a:gd name="connsiteX665" fmla="*/ 1186110 w 1519039"/>
                    <a:gd name="connsiteY665" fmla="*/ 474564 h 729095"/>
                    <a:gd name="connsiteX666" fmla="*/ 1183500 w 1519039"/>
                    <a:gd name="connsiteY666" fmla="*/ 478136 h 729095"/>
                    <a:gd name="connsiteX667" fmla="*/ 1193768 w 1519039"/>
                    <a:gd name="connsiteY667" fmla="*/ 477793 h 729095"/>
                    <a:gd name="connsiteX668" fmla="*/ 1191216 w 1519039"/>
                    <a:gd name="connsiteY668" fmla="*/ 487032 h 729095"/>
                    <a:gd name="connsiteX669" fmla="*/ 1208713 w 1519039"/>
                    <a:gd name="connsiteY669" fmla="*/ 477107 h 729095"/>
                    <a:gd name="connsiteX670" fmla="*/ 1200855 w 1519039"/>
                    <a:gd name="connsiteY670" fmla="*/ 482346 h 729095"/>
                    <a:gd name="connsiteX671" fmla="*/ 1207989 w 1519039"/>
                    <a:gd name="connsiteY671" fmla="*/ 482718 h 729095"/>
                    <a:gd name="connsiteX672" fmla="*/ 1214981 w 1519039"/>
                    <a:gd name="connsiteY672" fmla="*/ 485947 h 729095"/>
                    <a:gd name="connsiteX673" fmla="*/ 1220019 w 1519039"/>
                    <a:gd name="connsiteY673" fmla="*/ 487928 h 729095"/>
                    <a:gd name="connsiteX674" fmla="*/ 1223172 w 1519039"/>
                    <a:gd name="connsiteY674" fmla="*/ 490471 h 729095"/>
                    <a:gd name="connsiteX675" fmla="*/ 1213018 w 1519039"/>
                    <a:gd name="connsiteY675" fmla="*/ 497262 h 729095"/>
                    <a:gd name="connsiteX676" fmla="*/ 1201141 w 1519039"/>
                    <a:gd name="connsiteY676" fmla="*/ 497262 h 729095"/>
                    <a:gd name="connsiteX677" fmla="*/ 1218857 w 1519039"/>
                    <a:gd name="connsiteY677" fmla="*/ 499586 h 729095"/>
                    <a:gd name="connsiteX678" fmla="*/ 1235507 w 1519039"/>
                    <a:gd name="connsiteY678" fmla="*/ 500910 h 729095"/>
                    <a:gd name="connsiteX679" fmla="*/ 1226982 w 1519039"/>
                    <a:gd name="connsiteY679" fmla="*/ 507778 h 729095"/>
                    <a:gd name="connsiteX680" fmla="*/ 1214409 w 1519039"/>
                    <a:gd name="connsiteY680" fmla="*/ 513912 h 729095"/>
                    <a:gd name="connsiteX681" fmla="*/ 1235221 w 1519039"/>
                    <a:gd name="connsiteY681" fmla="*/ 510426 h 729095"/>
                    <a:gd name="connsiteX682" fmla="*/ 1241384 w 1519039"/>
                    <a:gd name="connsiteY682" fmla="*/ 510740 h 729095"/>
                    <a:gd name="connsiteX683" fmla="*/ 1252280 w 1519039"/>
                    <a:gd name="connsiteY683" fmla="*/ 506987 h 729095"/>
                    <a:gd name="connsiteX684" fmla="*/ 1263663 w 1519039"/>
                    <a:gd name="connsiteY684" fmla="*/ 520618 h 729095"/>
                    <a:gd name="connsiteX685" fmla="*/ 1246232 w 1519039"/>
                    <a:gd name="connsiteY685" fmla="*/ 519551 h 729095"/>
                    <a:gd name="connsiteX686" fmla="*/ 1247585 w 1519039"/>
                    <a:gd name="connsiteY686" fmla="*/ 529762 h 729095"/>
                    <a:gd name="connsiteX687" fmla="*/ 1233050 w 1519039"/>
                    <a:gd name="connsiteY687" fmla="*/ 526990 h 729095"/>
                    <a:gd name="connsiteX688" fmla="*/ 1230649 w 1519039"/>
                    <a:gd name="connsiteY688" fmla="*/ 532657 h 729095"/>
                    <a:gd name="connsiteX689" fmla="*/ 1239641 w 1519039"/>
                    <a:gd name="connsiteY689" fmla="*/ 538696 h 729095"/>
                    <a:gd name="connsiteX690" fmla="*/ 1225334 w 1519039"/>
                    <a:gd name="connsiteY690" fmla="*/ 539296 h 729095"/>
                    <a:gd name="connsiteX691" fmla="*/ 1219276 w 1519039"/>
                    <a:gd name="connsiteY691" fmla="*/ 550459 h 729095"/>
                    <a:gd name="connsiteX692" fmla="*/ 1204246 w 1519039"/>
                    <a:gd name="connsiteY692" fmla="*/ 544440 h 729095"/>
                    <a:gd name="connsiteX693" fmla="*/ 1196912 w 1519039"/>
                    <a:gd name="connsiteY693" fmla="*/ 550488 h 729095"/>
                    <a:gd name="connsiteX694" fmla="*/ 1203189 w 1519039"/>
                    <a:gd name="connsiteY694" fmla="*/ 551879 h 729095"/>
                    <a:gd name="connsiteX695" fmla="*/ 1195159 w 1519039"/>
                    <a:gd name="connsiteY695" fmla="*/ 565823 h 729095"/>
                    <a:gd name="connsiteX696" fmla="*/ 1189882 w 1519039"/>
                    <a:gd name="connsiteY696" fmla="*/ 571024 h 729095"/>
                    <a:gd name="connsiteX697" fmla="*/ 1184196 w 1519039"/>
                    <a:gd name="connsiteY697" fmla="*/ 570671 h 729095"/>
                    <a:gd name="connsiteX698" fmla="*/ 1182643 w 1519039"/>
                    <a:gd name="connsiteY698" fmla="*/ 567871 h 729095"/>
                    <a:gd name="connsiteX699" fmla="*/ 1177681 w 1519039"/>
                    <a:gd name="connsiteY699" fmla="*/ 568347 h 729095"/>
                    <a:gd name="connsiteX700" fmla="*/ 1178957 w 1519039"/>
                    <a:gd name="connsiteY700" fmla="*/ 558679 h 729095"/>
                    <a:gd name="connsiteX701" fmla="*/ 1168013 w 1519039"/>
                    <a:gd name="connsiteY701" fmla="*/ 567623 h 729095"/>
                    <a:gd name="connsiteX702" fmla="*/ 1162002 w 1519039"/>
                    <a:gd name="connsiteY702" fmla="*/ 544849 h 729095"/>
                    <a:gd name="connsiteX703" fmla="*/ 1177328 w 1519039"/>
                    <a:gd name="connsiteY703" fmla="*/ 538315 h 729095"/>
                    <a:gd name="connsiteX704" fmla="*/ 1189854 w 1519039"/>
                    <a:gd name="connsiteY704" fmla="*/ 529800 h 729095"/>
                    <a:gd name="connsiteX705" fmla="*/ 1153011 w 1519039"/>
                    <a:gd name="connsiteY705" fmla="*/ 539153 h 729095"/>
                    <a:gd name="connsiteX706" fmla="*/ 1161259 w 1519039"/>
                    <a:gd name="connsiteY706" fmla="*/ 533333 h 729095"/>
                    <a:gd name="connsiteX707" fmla="*/ 1145229 w 1519039"/>
                    <a:gd name="connsiteY707" fmla="*/ 531771 h 729095"/>
                    <a:gd name="connsiteX708" fmla="*/ 1138285 w 1519039"/>
                    <a:gd name="connsiteY708" fmla="*/ 520189 h 729095"/>
                    <a:gd name="connsiteX709" fmla="*/ 1130427 w 1519039"/>
                    <a:gd name="connsiteY709" fmla="*/ 522627 h 729095"/>
                    <a:gd name="connsiteX710" fmla="*/ 1126103 w 1519039"/>
                    <a:gd name="connsiteY710" fmla="*/ 530124 h 729095"/>
                    <a:gd name="connsiteX711" fmla="*/ 1116530 w 1519039"/>
                    <a:gd name="connsiteY711" fmla="*/ 525075 h 729095"/>
                    <a:gd name="connsiteX712" fmla="*/ 1124636 w 1519039"/>
                    <a:gd name="connsiteY712" fmla="*/ 538715 h 729095"/>
                    <a:gd name="connsiteX713" fmla="*/ 1108148 w 1519039"/>
                    <a:gd name="connsiteY713" fmla="*/ 540125 h 729095"/>
                    <a:gd name="connsiteX714" fmla="*/ 1092822 w 1519039"/>
                    <a:gd name="connsiteY714" fmla="*/ 533495 h 729095"/>
                    <a:gd name="connsiteX715" fmla="*/ 1099604 w 1519039"/>
                    <a:gd name="connsiteY715" fmla="*/ 535115 h 729095"/>
                    <a:gd name="connsiteX716" fmla="*/ 1100623 w 1519039"/>
                    <a:gd name="connsiteY716" fmla="*/ 539620 h 729095"/>
                    <a:gd name="connsiteX717" fmla="*/ 1105062 w 1519039"/>
                    <a:gd name="connsiteY717" fmla="*/ 546935 h 729095"/>
                    <a:gd name="connsiteX718" fmla="*/ 1099947 w 1519039"/>
                    <a:gd name="connsiteY718" fmla="*/ 553507 h 729095"/>
                    <a:gd name="connsiteX719" fmla="*/ 1110558 w 1519039"/>
                    <a:gd name="connsiteY719" fmla="*/ 551441 h 729095"/>
                    <a:gd name="connsiteX720" fmla="*/ 1116092 w 1519039"/>
                    <a:gd name="connsiteY720" fmla="*/ 557432 h 729095"/>
                    <a:gd name="connsiteX721" fmla="*/ 1109644 w 1519039"/>
                    <a:gd name="connsiteY721" fmla="*/ 560384 h 729095"/>
                    <a:gd name="connsiteX722" fmla="*/ 1113434 w 1519039"/>
                    <a:gd name="connsiteY722" fmla="*/ 568633 h 729095"/>
                    <a:gd name="connsiteX723" fmla="*/ 1115063 w 1519039"/>
                    <a:gd name="connsiteY723" fmla="*/ 577129 h 729095"/>
                    <a:gd name="connsiteX724" fmla="*/ 1123112 w 1519039"/>
                    <a:gd name="connsiteY724" fmla="*/ 573177 h 729095"/>
                    <a:gd name="connsiteX725" fmla="*/ 1125179 w 1519039"/>
                    <a:gd name="connsiteY725" fmla="*/ 579863 h 729095"/>
                    <a:gd name="connsiteX726" fmla="*/ 1137018 w 1519039"/>
                    <a:gd name="connsiteY726" fmla="*/ 576577 h 729095"/>
                    <a:gd name="connsiteX727" fmla="*/ 1144029 w 1519039"/>
                    <a:gd name="connsiteY727" fmla="*/ 582921 h 729095"/>
                    <a:gd name="connsiteX728" fmla="*/ 1136237 w 1519039"/>
                    <a:gd name="connsiteY728" fmla="*/ 586912 h 729095"/>
                    <a:gd name="connsiteX729" fmla="*/ 1144972 w 1519039"/>
                    <a:gd name="connsiteY729" fmla="*/ 589379 h 729095"/>
                    <a:gd name="connsiteX730" fmla="*/ 1131646 w 1519039"/>
                    <a:gd name="connsiteY730" fmla="*/ 593008 h 729095"/>
                    <a:gd name="connsiteX731" fmla="*/ 1136409 w 1519039"/>
                    <a:gd name="connsiteY731" fmla="*/ 601609 h 729095"/>
                    <a:gd name="connsiteX732" fmla="*/ 1147772 w 1519039"/>
                    <a:gd name="connsiteY732" fmla="*/ 601923 h 729095"/>
                    <a:gd name="connsiteX733" fmla="*/ 1143267 w 1519039"/>
                    <a:gd name="connsiteY733" fmla="*/ 605457 h 729095"/>
                    <a:gd name="connsiteX734" fmla="*/ 1147753 w 1519039"/>
                    <a:gd name="connsiteY734" fmla="*/ 612362 h 729095"/>
                    <a:gd name="connsiteX735" fmla="*/ 1143791 w 1519039"/>
                    <a:gd name="connsiteY735" fmla="*/ 615391 h 729095"/>
                    <a:gd name="connsiteX736" fmla="*/ 1141619 w 1519039"/>
                    <a:gd name="connsiteY736" fmla="*/ 622183 h 729095"/>
                    <a:gd name="connsiteX737" fmla="*/ 1131894 w 1519039"/>
                    <a:gd name="connsiteY737" fmla="*/ 610229 h 729095"/>
                    <a:gd name="connsiteX738" fmla="*/ 1126874 w 1519039"/>
                    <a:gd name="connsiteY738" fmla="*/ 627345 h 729095"/>
                    <a:gd name="connsiteX739" fmla="*/ 1129970 w 1519039"/>
                    <a:gd name="connsiteY739" fmla="*/ 636384 h 729095"/>
                    <a:gd name="connsiteX740" fmla="*/ 1122150 w 1519039"/>
                    <a:gd name="connsiteY740" fmla="*/ 636804 h 729095"/>
                    <a:gd name="connsiteX741" fmla="*/ 1117997 w 1519039"/>
                    <a:gd name="connsiteY741" fmla="*/ 644157 h 729095"/>
                    <a:gd name="connsiteX742" fmla="*/ 1111568 w 1519039"/>
                    <a:gd name="connsiteY742" fmla="*/ 640985 h 729095"/>
                    <a:gd name="connsiteX743" fmla="*/ 1104147 w 1519039"/>
                    <a:gd name="connsiteY743" fmla="*/ 637080 h 729095"/>
                    <a:gd name="connsiteX744" fmla="*/ 1097194 w 1519039"/>
                    <a:gd name="connsiteY744" fmla="*/ 630898 h 729095"/>
                    <a:gd name="connsiteX745" fmla="*/ 1093823 w 1519039"/>
                    <a:gd name="connsiteY745" fmla="*/ 634175 h 729095"/>
                    <a:gd name="connsiteX746" fmla="*/ 1090479 w 1519039"/>
                    <a:gd name="connsiteY746" fmla="*/ 625974 h 729095"/>
                    <a:gd name="connsiteX747" fmla="*/ 1083031 w 1519039"/>
                    <a:gd name="connsiteY747" fmla="*/ 626259 h 729095"/>
                    <a:gd name="connsiteX748" fmla="*/ 1076906 w 1519039"/>
                    <a:gd name="connsiteY748" fmla="*/ 622126 h 729095"/>
                    <a:gd name="connsiteX749" fmla="*/ 1070029 w 1519039"/>
                    <a:gd name="connsiteY749" fmla="*/ 611200 h 729095"/>
                    <a:gd name="connsiteX750" fmla="*/ 1048388 w 1519039"/>
                    <a:gd name="connsiteY750" fmla="*/ 610619 h 729095"/>
                    <a:gd name="connsiteX751" fmla="*/ 1052684 w 1519039"/>
                    <a:gd name="connsiteY751" fmla="*/ 623211 h 729095"/>
                    <a:gd name="connsiteX752" fmla="*/ 1064323 w 1519039"/>
                    <a:gd name="connsiteY752" fmla="*/ 631355 h 729095"/>
                    <a:gd name="connsiteX753" fmla="*/ 1061542 w 1519039"/>
                    <a:gd name="connsiteY753" fmla="*/ 634003 h 729095"/>
                    <a:gd name="connsiteX754" fmla="*/ 1082078 w 1519039"/>
                    <a:gd name="connsiteY754" fmla="*/ 652082 h 729095"/>
                    <a:gd name="connsiteX755" fmla="*/ 1086383 w 1519039"/>
                    <a:gd name="connsiteY755" fmla="*/ 657806 h 729095"/>
                    <a:gd name="connsiteX756" fmla="*/ 1087088 w 1519039"/>
                    <a:gd name="connsiteY756" fmla="*/ 661149 h 729095"/>
                    <a:gd name="connsiteX757" fmla="*/ 1083250 w 1519039"/>
                    <a:gd name="connsiteY757" fmla="*/ 666150 h 729095"/>
                    <a:gd name="connsiteX758" fmla="*/ 1077916 w 1519039"/>
                    <a:gd name="connsiteY758" fmla="*/ 669741 h 729095"/>
                    <a:gd name="connsiteX759" fmla="*/ 1062904 w 1519039"/>
                    <a:gd name="connsiteY759" fmla="*/ 664483 h 729095"/>
                    <a:gd name="connsiteX760" fmla="*/ 1047769 w 1519039"/>
                    <a:gd name="connsiteY760" fmla="*/ 660197 h 729095"/>
                    <a:gd name="connsiteX761" fmla="*/ 1016632 w 1519039"/>
                    <a:gd name="connsiteY761" fmla="*/ 646929 h 729095"/>
                    <a:gd name="connsiteX762" fmla="*/ 1011612 w 1519039"/>
                    <a:gd name="connsiteY762" fmla="*/ 641090 h 729095"/>
                    <a:gd name="connsiteX763" fmla="*/ 1002773 w 1519039"/>
                    <a:gd name="connsiteY763" fmla="*/ 641899 h 729095"/>
                    <a:gd name="connsiteX764" fmla="*/ 984266 w 1519039"/>
                    <a:gd name="connsiteY764" fmla="*/ 634232 h 729095"/>
                    <a:gd name="connsiteX765" fmla="*/ 989990 w 1519039"/>
                    <a:gd name="connsiteY765" fmla="*/ 630498 h 729095"/>
                    <a:gd name="connsiteX766" fmla="*/ 979237 w 1519039"/>
                    <a:gd name="connsiteY766" fmla="*/ 631746 h 729095"/>
                    <a:gd name="connsiteX767" fmla="*/ 971283 w 1519039"/>
                    <a:gd name="connsiteY767" fmla="*/ 621192 h 729095"/>
                    <a:gd name="connsiteX768" fmla="*/ 988105 w 1519039"/>
                    <a:gd name="connsiteY768" fmla="*/ 616020 h 729095"/>
                    <a:gd name="connsiteX769" fmla="*/ 981380 w 1519039"/>
                    <a:gd name="connsiteY769" fmla="*/ 611762 h 729095"/>
                    <a:gd name="connsiteX770" fmla="*/ 970036 w 1519039"/>
                    <a:gd name="connsiteY770" fmla="*/ 611362 h 729095"/>
                    <a:gd name="connsiteX771" fmla="*/ 975894 w 1519039"/>
                    <a:gd name="connsiteY771" fmla="*/ 606266 h 729095"/>
                    <a:gd name="connsiteX772" fmla="*/ 967511 w 1519039"/>
                    <a:gd name="connsiteY772" fmla="*/ 608438 h 729095"/>
                    <a:gd name="connsiteX773" fmla="*/ 966464 w 1519039"/>
                    <a:gd name="connsiteY773" fmla="*/ 602171 h 729095"/>
                    <a:gd name="connsiteX774" fmla="*/ 955777 w 1519039"/>
                    <a:gd name="connsiteY774" fmla="*/ 590226 h 729095"/>
                    <a:gd name="connsiteX775" fmla="*/ 963235 w 1519039"/>
                    <a:gd name="connsiteY775" fmla="*/ 584454 h 729095"/>
                    <a:gd name="connsiteX776" fmla="*/ 951243 w 1519039"/>
                    <a:gd name="connsiteY776" fmla="*/ 584949 h 729095"/>
                    <a:gd name="connsiteX777" fmla="*/ 944594 w 1519039"/>
                    <a:gd name="connsiteY777" fmla="*/ 589045 h 729095"/>
                    <a:gd name="connsiteX778" fmla="*/ 944318 w 1519039"/>
                    <a:gd name="connsiteY778" fmla="*/ 583568 h 729095"/>
                    <a:gd name="connsiteX779" fmla="*/ 936927 w 1519039"/>
                    <a:gd name="connsiteY779" fmla="*/ 581654 h 729095"/>
                    <a:gd name="connsiteX780" fmla="*/ 935593 w 1519039"/>
                    <a:gd name="connsiteY780" fmla="*/ 576729 h 729095"/>
                    <a:gd name="connsiteX781" fmla="*/ 929583 w 1519039"/>
                    <a:gd name="connsiteY781" fmla="*/ 578701 h 729095"/>
                    <a:gd name="connsiteX782" fmla="*/ 929021 w 1519039"/>
                    <a:gd name="connsiteY782" fmla="*/ 587312 h 729095"/>
                    <a:gd name="connsiteX783" fmla="*/ 915181 w 1519039"/>
                    <a:gd name="connsiteY783" fmla="*/ 587321 h 729095"/>
                    <a:gd name="connsiteX784" fmla="*/ 904599 w 1519039"/>
                    <a:gd name="connsiteY784" fmla="*/ 589131 h 729095"/>
                    <a:gd name="connsiteX785" fmla="*/ 894398 w 1519039"/>
                    <a:gd name="connsiteY785" fmla="*/ 591188 h 729095"/>
                    <a:gd name="connsiteX786" fmla="*/ 869947 w 1519039"/>
                    <a:gd name="connsiteY786" fmla="*/ 593836 h 729095"/>
                    <a:gd name="connsiteX787" fmla="*/ 853754 w 1519039"/>
                    <a:gd name="connsiteY787" fmla="*/ 584397 h 729095"/>
                    <a:gd name="connsiteX788" fmla="*/ 866442 w 1519039"/>
                    <a:gd name="connsiteY788" fmla="*/ 570129 h 729095"/>
                    <a:gd name="connsiteX789" fmla="*/ 879596 w 1519039"/>
                    <a:gd name="connsiteY789" fmla="*/ 566404 h 729095"/>
                    <a:gd name="connsiteX790" fmla="*/ 884625 w 1519039"/>
                    <a:gd name="connsiteY790" fmla="*/ 559746 h 729095"/>
                    <a:gd name="connsiteX791" fmla="*/ 906351 w 1519039"/>
                    <a:gd name="connsiteY791" fmla="*/ 559746 h 729095"/>
                    <a:gd name="connsiteX792" fmla="*/ 918553 w 1519039"/>
                    <a:gd name="connsiteY792" fmla="*/ 564947 h 729095"/>
                    <a:gd name="connsiteX793" fmla="*/ 917848 w 1519039"/>
                    <a:gd name="connsiteY793" fmla="*/ 573367 h 729095"/>
                    <a:gd name="connsiteX794" fmla="*/ 924049 w 1519039"/>
                    <a:gd name="connsiteY794" fmla="*/ 568471 h 729095"/>
                    <a:gd name="connsiteX795" fmla="*/ 920953 w 1519039"/>
                    <a:gd name="connsiteY795" fmla="*/ 561556 h 729095"/>
                    <a:gd name="connsiteX796" fmla="*/ 934774 w 1519039"/>
                    <a:gd name="connsiteY796" fmla="*/ 561547 h 729095"/>
                    <a:gd name="connsiteX797" fmla="*/ 955748 w 1519039"/>
                    <a:gd name="connsiteY797" fmla="*/ 557356 h 729095"/>
                    <a:gd name="connsiteX798" fmla="*/ 974550 w 1519039"/>
                    <a:gd name="connsiteY798" fmla="*/ 550850 h 729095"/>
                    <a:gd name="connsiteX799" fmla="*/ 967807 w 1519039"/>
                    <a:gd name="connsiteY799" fmla="*/ 533829 h 729095"/>
                    <a:gd name="connsiteX800" fmla="*/ 981828 w 1519039"/>
                    <a:gd name="connsiteY800" fmla="*/ 528200 h 729095"/>
                    <a:gd name="connsiteX801" fmla="*/ 996363 w 1519039"/>
                    <a:gd name="connsiteY801" fmla="*/ 521446 h 729095"/>
                    <a:gd name="connsiteX802" fmla="*/ 1008707 w 1519039"/>
                    <a:gd name="connsiteY802" fmla="*/ 516293 h 729095"/>
                    <a:gd name="connsiteX803" fmla="*/ 1018651 w 1519039"/>
                    <a:gd name="connsiteY803" fmla="*/ 507387 h 729095"/>
                    <a:gd name="connsiteX804" fmla="*/ 1033606 w 1519039"/>
                    <a:gd name="connsiteY804" fmla="*/ 501472 h 729095"/>
                    <a:gd name="connsiteX805" fmla="*/ 1034396 w 1519039"/>
                    <a:gd name="connsiteY805" fmla="*/ 493786 h 729095"/>
                    <a:gd name="connsiteX806" fmla="*/ 1033110 w 1519039"/>
                    <a:gd name="connsiteY806" fmla="*/ 478079 h 729095"/>
                    <a:gd name="connsiteX807" fmla="*/ 1032643 w 1519039"/>
                    <a:gd name="connsiteY807" fmla="*/ 465535 h 729095"/>
                    <a:gd name="connsiteX808" fmla="*/ 1021185 w 1519039"/>
                    <a:gd name="connsiteY808" fmla="*/ 463258 h 729095"/>
                    <a:gd name="connsiteX809" fmla="*/ 1026519 w 1519039"/>
                    <a:gd name="connsiteY809" fmla="*/ 454609 h 729095"/>
                    <a:gd name="connsiteX810" fmla="*/ 1021442 w 1519039"/>
                    <a:gd name="connsiteY810" fmla="*/ 455695 h 729095"/>
                    <a:gd name="connsiteX811" fmla="*/ 1016660 w 1519039"/>
                    <a:gd name="connsiteY811" fmla="*/ 459905 h 729095"/>
                    <a:gd name="connsiteX812" fmla="*/ 1010755 w 1519039"/>
                    <a:gd name="connsiteY812" fmla="*/ 451314 h 729095"/>
                    <a:gd name="connsiteX813" fmla="*/ 1006526 w 1519039"/>
                    <a:gd name="connsiteY813" fmla="*/ 450847 h 729095"/>
                    <a:gd name="connsiteX814" fmla="*/ 1011841 w 1519039"/>
                    <a:gd name="connsiteY814" fmla="*/ 448009 h 729095"/>
                    <a:gd name="connsiteX815" fmla="*/ 1008240 w 1519039"/>
                    <a:gd name="connsiteY815" fmla="*/ 446504 h 729095"/>
                    <a:gd name="connsiteX816" fmla="*/ 1014946 w 1519039"/>
                    <a:gd name="connsiteY816" fmla="*/ 443846 h 729095"/>
                    <a:gd name="connsiteX817" fmla="*/ 1001106 w 1519039"/>
                    <a:gd name="connsiteY817" fmla="*/ 447818 h 729095"/>
                    <a:gd name="connsiteX818" fmla="*/ 995496 w 1519039"/>
                    <a:gd name="connsiteY818" fmla="*/ 447027 h 729095"/>
                    <a:gd name="connsiteX819" fmla="*/ 987352 w 1519039"/>
                    <a:gd name="connsiteY819" fmla="*/ 450190 h 729095"/>
                    <a:gd name="connsiteX820" fmla="*/ 969197 w 1519039"/>
                    <a:gd name="connsiteY820" fmla="*/ 454809 h 729095"/>
                    <a:gd name="connsiteX821" fmla="*/ 972988 w 1519039"/>
                    <a:gd name="connsiteY821" fmla="*/ 447123 h 729095"/>
                    <a:gd name="connsiteX822" fmla="*/ 986733 w 1519039"/>
                    <a:gd name="connsiteY822" fmla="*/ 444379 h 729095"/>
                    <a:gd name="connsiteX823" fmla="*/ 997839 w 1519039"/>
                    <a:gd name="connsiteY823" fmla="*/ 435845 h 729095"/>
                    <a:gd name="connsiteX824" fmla="*/ 985914 w 1519039"/>
                    <a:gd name="connsiteY824" fmla="*/ 430492 h 729095"/>
                    <a:gd name="connsiteX825" fmla="*/ 994601 w 1519039"/>
                    <a:gd name="connsiteY825" fmla="*/ 424425 h 729095"/>
                    <a:gd name="connsiteX826" fmla="*/ 975427 w 1519039"/>
                    <a:gd name="connsiteY826" fmla="*/ 424720 h 729095"/>
                    <a:gd name="connsiteX827" fmla="*/ 977255 w 1519039"/>
                    <a:gd name="connsiteY827" fmla="*/ 418329 h 729095"/>
                    <a:gd name="connsiteX828" fmla="*/ 969645 w 1519039"/>
                    <a:gd name="connsiteY828" fmla="*/ 416909 h 729095"/>
                    <a:gd name="connsiteX829" fmla="*/ 973341 w 1519039"/>
                    <a:gd name="connsiteY829" fmla="*/ 407365 h 729095"/>
                    <a:gd name="connsiteX830" fmla="*/ 965044 w 1519039"/>
                    <a:gd name="connsiteY830" fmla="*/ 406870 h 729095"/>
                    <a:gd name="connsiteX831" fmla="*/ 959396 w 1519039"/>
                    <a:gd name="connsiteY831" fmla="*/ 403355 h 729095"/>
                    <a:gd name="connsiteX832" fmla="*/ 948404 w 1519039"/>
                    <a:gd name="connsiteY832" fmla="*/ 396964 h 729095"/>
                    <a:gd name="connsiteX833" fmla="*/ 950605 w 1519039"/>
                    <a:gd name="connsiteY833" fmla="*/ 406175 h 729095"/>
                    <a:gd name="connsiteX834" fmla="*/ 935536 w 1519039"/>
                    <a:gd name="connsiteY834" fmla="*/ 416843 h 729095"/>
                    <a:gd name="connsiteX835" fmla="*/ 888721 w 1519039"/>
                    <a:gd name="connsiteY835" fmla="*/ 410813 h 729095"/>
                    <a:gd name="connsiteX836" fmla="*/ 899227 w 1519039"/>
                    <a:gd name="connsiteY836" fmla="*/ 419424 h 729095"/>
                    <a:gd name="connsiteX837" fmla="*/ 884796 w 1519039"/>
                    <a:gd name="connsiteY837" fmla="*/ 416205 h 729095"/>
                    <a:gd name="connsiteX838" fmla="*/ 865461 w 1519039"/>
                    <a:gd name="connsiteY838" fmla="*/ 417681 h 729095"/>
                    <a:gd name="connsiteX839" fmla="*/ 846582 w 1519039"/>
                    <a:gd name="connsiteY839" fmla="*/ 414852 h 729095"/>
                    <a:gd name="connsiteX840" fmla="*/ 809654 w 1519039"/>
                    <a:gd name="connsiteY840" fmla="*/ 410337 h 729095"/>
                    <a:gd name="connsiteX841" fmla="*/ 791689 w 1519039"/>
                    <a:gd name="connsiteY841" fmla="*/ 409537 h 729095"/>
                    <a:gd name="connsiteX842" fmla="*/ 796843 w 1519039"/>
                    <a:gd name="connsiteY842" fmla="*/ 399145 h 729095"/>
                    <a:gd name="connsiteX843" fmla="*/ 786441 w 1519039"/>
                    <a:gd name="connsiteY843" fmla="*/ 401574 h 729095"/>
                    <a:gd name="connsiteX844" fmla="*/ 779402 w 1519039"/>
                    <a:gd name="connsiteY844" fmla="*/ 402431 h 729095"/>
                    <a:gd name="connsiteX845" fmla="*/ 762562 w 1519039"/>
                    <a:gd name="connsiteY845" fmla="*/ 405756 h 729095"/>
                    <a:gd name="connsiteX846" fmla="*/ 756418 w 1519039"/>
                    <a:gd name="connsiteY846" fmla="*/ 401584 h 729095"/>
                    <a:gd name="connsiteX847" fmla="*/ 746998 w 1519039"/>
                    <a:gd name="connsiteY847" fmla="*/ 397774 h 729095"/>
                    <a:gd name="connsiteX848" fmla="*/ 746389 w 1519039"/>
                    <a:gd name="connsiteY848" fmla="*/ 380362 h 729095"/>
                    <a:gd name="connsiteX849" fmla="*/ 793566 w 1519039"/>
                    <a:gd name="connsiteY849" fmla="*/ 381943 h 729095"/>
                    <a:gd name="connsiteX850" fmla="*/ 784012 w 1519039"/>
                    <a:gd name="connsiteY850" fmla="*/ 376447 h 729095"/>
                    <a:gd name="connsiteX851" fmla="*/ 772782 w 1519039"/>
                    <a:gd name="connsiteY851" fmla="*/ 374895 h 729095"/>
                    <a:gd name="connsiteX852" fmla="*/ 752875 w 1519039"/>
                    <a:gd name="connsiteY852" fmla="*/ 370627 h 729095"/>
                    <a:gd name="connsiteX853" fmla="*/ 753532 w 1519039"/>
                    <a:gd name="connsiteY853" fmla="*/ 356454 h 729095"/>
                    <a:gd name="connsiteX854" fmla="*/ 768229 w 1519039"/>
                    <a:gd name="connsiteY854" fmla="*/ 345300 h 729095"/>
                    <a:gd name="connsiteX855" fmla="*/ 782117 w 1519039"/>
                    <a:gd name="connsiteY855" fmla="*/ 329489 h 729095"/>
                    <a:gd name="connsiteX856" fmla="*/ 806320 w 1519039"/>
                    <a:gd name="connsiteY856" fmla="*/ 311868 h 729095"/>
                    <a:gd name="connsiteX857" fmla="*/ 863860 w 1519039"/>
                    <a:gd name="connsiteY857" fmla="*/ 293284 h 729095"/>
                    <a:gd name="connsiteX858" fmla="*/ 897798 w 1519039"/>
                    <a:gd name="connsiteY858" fmla="*/ 293780 h 729095"/>
                    <a:gd name="connsiteX859" fmla="*/ 878977 w 1519039"/>
                    <a:gd name="connsiteY859" fmla="*/ 304772 h 729095"/>
                    <a:gd name="connsiteX860" fmla="*/ 847287 w 1519039"/>
                    <a:gd name="connsiteY860" fmla="*/ 322793 h 729095"/>
                    <a:gd name="connsiteX861" fmla="*/ 843534 w 1519039"/>
                    <a:gd name="connsiteY861" fmla="*/ 334337 h 729095"/>
                    <a:gd name="connsiteX862" fmla="*/ 835952 w 1519039"/>
                    <a:gd name="connsiteY862" fmla="*/ 345815 h 729095"/>
                    <a:gd name="connsiteX863" fmla="*/ 837200 w 1519039"/>
                    <a:gd name="connsiteY863" fmla="*/ 362807 h 729095"/>
                    <a:gd name="connsiteX864" fmla="*/ 842810 w 1519039"/>
                    <a:gd name="connsiteY864" fmla="*/ 372332 h 729095"/>
                    <a:gd name="connsiteX865" fmla="*/ 825237 w 1519039"/>
                    <a:gd name="connsiteY865" fmla="*/ 376476 h 729095"/>
                    <a:gd name="connsiteX866" fmla="*/ 805053 w 1519039"/>
                    <a:gd name="connsiteY866" fmla="*/ 381962 h 729095"/>
                    <a:gd name="connsiteX867" fmla="*/ 805053 w 1519039"/>
                    <a:gd name="connsiteY867" fmla="*/ 381962 h 729095"/>
                    <a:gd name="connsiteX868" fmla="*/ 1007335 w 1519039"/>
                    <a:gd name="connsiteY868" fmla="*/ 298685 h 729095"/>
                    <a:gd name="connsiteX869" fmla="*/ 1049836 w 1519039"/>
                    <a:gd name="connsiteY869" fmla="*/ 303000 h 729095"/>
                    <a:gd name="connsiteX870" fmla="*/ 1057504 w 1519039"/>
                    <a:gd name="connsiteY870" fmla="*/ 312192 h 729095"/>
                    <a:gd name="connsiteX871" fmla="*/ 1060866 w 1519039"/>
                    <a:gd name="connsiteY871" fmla="*/ 316144 h 729095"/>
                    <a:gd name="connsiteX872" fmla="*/ 1061066 w 1519039"/>
                    <a:gd name="connsiteY872" fmla="*/ 322031 h 729095"/>
                    <a:gd name="connsiteX873" fmla="*/ 1022366 w 1519039"/>
                    <a:gd name="connsiteY873" fmla="*/ 322726 h 729095"/>
                    <a:gd name="connsiteX874" fmla="*/ 983799 w 1519039"/>
                    <a:gd name="connsiteY874" fmla="*/ 324469 h 729095"/>
                    <a:gd name="connsiteX875" fmla="*/ 983523 w 1519039"/>
                    <a:gd name="connsiteY875" fmla="*/ 316906 h 729095"/>
                    <a:gd name="connsiteX876" fmla="*/ 982485 w 1519039"/>
                    <a:gd name="connsiteY876" fmla="*/ 311449 h 729095"/>
                    <a:gd name="connsiteX877" fmla="*/ 975522 w 1519039"/>
                    <a:gd name="connsiteY877" fmla="*/ 308753 h 729095"/>
                    <a:gd name="connsiteX878" fmla="*/ 979503 w 1519039"/>
                    <a:gd name="connsiteY878" fmla="*/ 304086 h 729095"/>
                    <a:gd name="connsiteX879" fmla="*/ 1007335 w 1519039"/>
                    <a:gd name="connsiteY879" fmla="*/ 298685 h 729095"/>
                    <a:gd name="connsiteX880" fmla="*/ 1007335 w 1519039"/>
                    <a:gd name="connsiteY880" fmla="*/ 298685 h 729095"/>
                    <a:gd name="connsiteX881" fmla="*/ 467239 w 1519039"/>
                    <a:gd name="connsiteY881" fmla="*/ 321821 h 729095"/>
                    <a:gd name="connsiteX882" fmla="*/ 459010 w 1519039"/>
                    <a:gd name="connsiteY882" fmla="*/ 313106 h 729095"/>
                    <a:gd name="connsiteX883" fmla="*/ 456895 w 1519039"/>
                    <a:gd name="connsiteY883" fmla="*/ 307162 h 729095"/>
                    <a:gd name="connsiteX884" fmla="*/ 449732 w 1519039"/>
                    <a:gd name="connsiteY884" fmla="*/ 304181 h 729095"/>
                    <a:gd name="connsiteX885" fmla="*/ 496214 w 1519039"/>
                    <a:gd name="connsiteY885" fmla="*/ 298533 h 729095"/>
                    <a:gd name="connsiteX886" fmla="*/ 499405 w 1519039"/>
                    <a:gd name="connsiteY886" fmla="*/ 301952 h 729095"/>
                    <a:gd name="connsiteX887" fmla="*/ 490833 w 1519039"/>
                    <a:gd name="connsiteY887" fmla="*/ 309953 h 729095"/>
                    <a:gd name="connsiteX888" fmla="*/ 467239 w 1519039"/>
                    <a:gd name="connsiteY888" fmla="*/ 321821 h 729095"/>
                    <a:gd name="connsiteX889" fmla="*/ 467239 w 1519039"/>
                    <a:gd name="connsiteY889" fmla="*/ 321821 h 729095"/>
                    <a:gd name="connsiteX890" fmla="*/ 432683 w 1519039"/>
                    <a:gd name="connsiteY890" fmla="*/ 310220 h 729095"/>
                    <a:gd name="connsiteX891" fmla="*/ 447256 w 1519039"/>
                    <a:gd name="connsiteY891" fmla="*/ 311630 h 729095"/>
                    <a:gd name="connsiteX892" fmla="*/ 461048 w 1519039"/>
                    <a:gd name="connsiteY892" fmla="*/ 324555 h 729095"/>
                    <a:gd name="connsiteX893" fmla="*/ 449590 w 1519039"/>
                    <a:gd name="connsiteY893" fmla="*/ 352054 h 729095"/>
                    <a:gd name="connsiteX894" fmla="*/ 446256 w 1519039"/>
                    <a:gd name="connsiteY894" fmla="*/ 368027 h 729095"/>
                    <a:gd name="connsiteX895" fmla="*/ 432721 w 1519039"/>
                    <a:gd name="connsiteY895" fmla="*/ 378590 h 729095"/>
                    <a:gd name="connsiteX896" fmla="*/ 438626 w 1519039"/>
                    <a:gd name="connsiteY896" fmla="*/ 392306 h 729095"/>
                    <a:gd name="connsiteX897" fmla="*/ 449904 w 1519039"/>
                    <a:gd name="connsiteY897" fmla="*/ 396774 h 729095"/>
                    <a:gd name="connsiteX898" fmla="*/ 453295 w 1519039"/>
                    <a:gd name="connsiteY898" fmla="*/ 395278 h 729095"/>
                    <a:gd name="connsiteX899" fmla="*/ 460505 w 1519039"/>
                    <a:gd name="connsiteY899" fmla="*/ 401431 h 729095"/>
                    <a:gd name="connsiteX900" fmla="*/ 464801 w 1519039"/>
                    <a:gd name="connsiteY900" fmla="*/ 404994 h 729095"/>
                    <a:gd name="connsiteX901" fmla="*/ 469840 w 1519039"/>
                    <a:gd name="connsiteY901" fmla="*/ 404794 h 729095"/>
                    <a:gd name="connsiteX902" fmla="*/ 469440 w 1519039"/>
                    <a:gd name="connsiteY902" fmla="*/ 409556 h 729095"/>
                    <a:gd name="connsiteX903" fmla="*/ 475593 w 1519039"/>
                    <a:gd name="connsiteY903" fmla="*/ 418833 h 729095"/>
                    <a:gd name="connsiteX904" fmla="*/ 463639 w 1519039"/>
                    <a:gd name="connsiteY904" fmla="*/ 418529 h 729095"/>
                    <a:gd name="connsiteX905" fmla="*/ 456971 w 1519039"/>
                    <a:gd name="connsiteY905" fmla="*/ 422948 h 729095"/>
                    <a:gd name="connsiteX906" fmla="*/ 449961 w 1519039"/>
                    <a:gd name="connsiteY906" fmla="*/ 419338 h 729095"/>
                    <a:gd name="connsiteX907" fmla="*/ 436131 w 1519039"/>
                    <a:gd name="connsiteY907" fmla="*/ 424529 h 729095"/>
                    <a:gd name="connsiteX908" fmla="*/ 422691 w 1519039"/>
                    <a:gd name="connsiteY908" fmla="*/ 425930 h 729095"/>
                    <a:gd name="connsiteX909" fmla="*/ 416204 w 1519039"/>
                    <a:gd name="connsiteY909" fmla="*/ 425006 h 729095"/>
                    <a:gd name="connsiteX910" fmla="*/ 420500 w 1519039"/>
                    <a:gd name="connsiteY910" fmla="*/ 430035 h 729095"/>
                    <a:gd name="connsiteX911" fmla="*/ 411842 w 1519039"/>
                    <a:gd name="connsiteY911" fmla="*/ 438865 h 729095"/>
                    <a:gd name="connsiteX912" fmla="*/ 431759 w 1519039"/>
                    <a:gd name="connsiteY912" fmla="*/ 430978 h 729095"/>
                    <a:gd name="connsiteX913" fmla="*/ 441579 w 1519039"/>
                    <a:gd name="connsiteY913" fmla="*/ 430683 h 729095"/>
                    <a:gd name="connsiteX914" fmla="*/ 438226 w 1519039"/>
                    <a:gd name="connsiteY914" fmla="*/ 434340 h 729095"/>
                    <a:gd name="connsiteX915" fmla="*/ 436426 w 1519039"/>
                    <a:gd name="connsiteY915" fmla="*/ 437541 h 729095"/>
                    <a:gd name="connsiteX916" fmla="*/ 439626 w 1519039"/>
                    <a:gd name="connsiteY916" fmla="*/ 439598 h 729095"/>
                    <a:gd name="connsiteX917" fmla="*/ 423196 w 1519039"/>
                    <a:gd name="connsiteY917" fmla="*/ 447199 h 729095"/>
                    <a:gd name="connsiteX918" fmla="*/ 387353 w 1519039"/>
                    <a:gd name="connsiteY918" fmla="*/ 450095 h 729095"/>
                    <a:gd name="connsiteX919" fmla="*/ 369303 w 1519039"/>
                    <a:gd name="connsiteY919" fmla="*/ 448942 h 729095"/>
                    <a:gd name="connsiteX920" fmla="*/ 367960 w 1519039"/>
                    <a:gd name="connsiteY920" fmla="*/ 442741 h 729095"/>
                    <a:gd name="connsiteX921" fmla="*/ 344796 w 1519039"/>
                    <a:gd name="connsiteY921" fmla="*/ 439427 h 729095"/>
                    <a:gd name="connsiteX922" fmla="*/ 344072 w 1519039"/>
                    <a:gd name="connsiteY922" fmla="*/ 431397 h 729095"/>
                    <a:gd name="connsiteX923" fmla="*/ 323593 w 1519039"/>
                    <a:gd name="connsiteY923" fmla="*/ 441141 h 729095"/>
                    <a:gd name="connsiteX924" fmla="*/ 299228 w 1519039"/>
                    <a:gd name="connsiteY924" fmla="*/ 446989 h 729095"/>
                    <a:gd name="connsiteX925" fmla="*/ 249050 w 1519039"/>
                    <a:gd name="connsiteY925" fmla="*/ 456991 h 729095"/>
                    <a:gd name="connsiteX926" fmla="*/ 199768 w 1519039"/>
                    <a:gd name="connsiteY926" fmla="*/ 460420 h 729095"/>
                    <a:gd name="connsiteX927" fmla="*/ 176603 w 1519039"/>
                    <a:gd name="connsiteY927" fmla="*/ 459981 h 729095"/>
                    <a:gd name="connsiteX928" fmla="*/ 185871 w 1519039"/>
                    <a:gd name="connsiteY928" fmla="*/ 439169 h 729095"/>
                    <a:gd name="connsiteX929" fmla="*/ 150933 w 1519039"/>
                    <a:gd name="connsiteY929" fmla="*/ 436617 h 729095"/>
                    <a:gd name="connsiteX930" fmla="*/ 135655 w 1519039"/>
                    <a:gd name="connsiteY930" fmla="*/ 433311 h 729095"/>
                    <a:gd name="connsiteX931" fmla="*/ 132064 w 1519039"/>
                    <a:gd name="connsiteY931" fmla="*/ 424844 h 729095"/>
                    <a:gd name="connsiteX932" fmla="*/ 135579 w 1519039"/>
                    <a:gd name="connsiteY932" fmla="*/ 419843 h 729095"/>
                    <a:gd name="connsiteX933" fmla="*/ 143351 w 1519039"/>
                    <a:gd name="connsiteY933" fmla="*/ 413747 h 729095"/>
                    <a:gd name="connsiteX934" fmla="*/ 170831 w 1519039"/>
                    <a:gd name="connsiteY934" fmla="*/ 413747 h 729095"/>
                    <a:gd name="connsiteX935" fmla="*/ 226695 w 1519039"/>
                    <a:gd name="connsiteY935" fmla="*/ 413757 h 729095"/>
                    <a:gd name="connsiteX936" fmla="*/ 221923 w 1519039"/>
                    <a:gd name="connsiteY936" fmla="*/ 419053 h 729095"/>
                    <a:gd name="connsiteX937" fmla="*/ 238049 w 1519039"/>
                    <a:gd name="connsiteY937" fmla="*/ 413776 h 729095"/>
                    <a:gd name="connsiteX938" fmla="*/ 260633 w 1519039"/>
                    <a:gd name="connsiteY938" fmla="*/ 413766 h 729095"/>
                    <a:gd name="connsiteX939" fmla="*/ 281483 w 1519039"/>
                    <a:gd name="connsiteY939" fmla="*/ 413747 h 729095"/>
                    <a:gd name="connsiteX940" fmla="*/ 300942 w 1519039"/>
                    <a:gd name="connsiteY940" fmla="*/ 398993 h 729095"/>
                    <a:gd name="connsiteX941" fmla="*/ 362217 w 1519039"/>
                    <a:gd name="connsiteY941" fmla="*/ 331651 h 729095"/>
                    <a:gd name="connsiteX942" fmla="*/ 369160 w 1519039"/>
                    <a:gd name="connsiteY942" fmla="*/ 324060 h 729095"/>
                    <a:gd name="connsiteX943" fmla="*/ 377533 w 1519039"/>
                    <a:gd name="connsiteY943" fmla="*/ 322936 h 729095"/>
                    <a:gd name="connsiteX944" fmla="*/ 382457 w 1519039"/>
                    <a:gd name="connsiteY944" fmla="*/ 332042 h 729095"/>
                    <a:gd name="connsiteX945" fmla="*/ 374256 w 1519039"/>
                    <a:gd name="connsiteY945" fmla="*/ 359521 h 729095"/>
                    <a:gd name="connsiteX946" fmla="*/ 397297 w 1519039"/>
                    <a:gd name="connsiteY946" fmla="*/ 354140 h 729095"/>
                    <a:gd name="connsiteX947" fmla="*/ 403755 w 1519039"/>
                    <a:gd name="connsiteY947" fmla="*/ 332546 h 729095"/>
                    <a:gd name="connsiteX948" fmla="*/ 421729 w 1519039"/>
                    <a:gd name="connsiteY948" fmla="*/ 312477 h 729095"/>
                    <a:gd name="connsiteX949" fmla="*/ 432683 w 1519039"/>
                    <a:gd name="connsiteY949" fmla="*/ 310220 h 729095"/>
                    <a:gd name="connsiteX950" fmla="*/ 432683 w 1519039"/>
                    <a:gd name="connsiteY950" fmla="*/ 310220 h 729095"/>
                    <a:gd name="connsiteX951" fmla="*/ 662445 w 1519039"/>
                    <a:gd name="connsiteY951" fmla="*/ 358207 h 729095"/>
                    <a:gd name="connsiteX952" fmla="*/ 673532 w 1519039"/>
                    <a:gd name="connsiteY952" fmla="*/ 358902 h 729095"/>
                    <a:gd name="connsiteX953" fmla="*/ 678523 w 1519039"/>
                    <a:gd name="connsiteY953" fmla="*/ 372285 h 729095"/>
                    <a:gd name="connsiteX954" fmla="*/ 667798 w 1519039"/>
                    <a:gd name="connsiteY954" fmla="*/ 386953 h 729095"/>
                    <a:gd name="connsiteX955" fmla="*/ 674065 w 1519039"/>
                    <a:gd name="connsiteY955" fmla="*/ 403765 h 729095"/>
                    <a:gd name="connsiteX956" fmla="*/ 679942 w 1519039"/>
                    <a:gd name="connsiteY956" fmla="*/ 409032 h 729095"/>
                    <a:gd name="connsiteX957" fmla="*/ 668903 w 1519039"/>
                    <a:gd name="connsiteY957" fmla="*/ 408013 h 729095"/>
                    <a:gd name="connsiteX958" fmla="*/ 665988 w 1519039"/>
                    <a:gd name="connsiteY958" fmla="*/ 406927 h 729095"/>
                    <a:gd name="connsiteX959" fmla="*/ 659673 w 1519039"/>
                    <a:gd name="connsiteY959" fmla="*/ 410528 h 729095"/>
                    <a:gd name="connsiteX960" fmla="*/ 669417 w 1519039"/>
                    <a:gd name="connsiteY960" fmla="*/ 412576 h 729095"/>
                    <a:gd name="connsiteX961" fmla="*/ 641280 w 1519039"/>
                    <a:gd name="connsiteY961" fmla="*/ 424253 h 729095"/>
                    <a:gd name="connsiteX962" fmla="*/ 654872 w 1519039"/>
                    <a:gd name="connsiteY962" fmla="*/ 424720 h 729095"/>
                    <a:gd name="connsiteX963" fmla="*/ 677409 w 1519039"/>
                    <a:gd name="connsiteY963" fmla="*/ 425234 h 729095"/>
                    <a:gd name="connsiteX964" fmla="*/ 668655 w 1519039"/>
                    <a:gd name="connsiteY964" fmla="*/ 428739 h 729095"/>
                    <a:gd name="connsiteX965" fmla="*/ 688839 w 1519039"/>
                    <a:gd name="connsiteY965" fmla="*/ 430902 h 729095"/>
                    <a:gd name="connsiteX966" fmla="*/ 671513 w 1519039"/>
                    <a:gd name="connsiteY966" fmla="*/ 436064 h 729095"/>
                    <a:gd name="connsiteX967" fmla="*/ 672551 w 1519039"/>
                    <a:gd name="connsiteY967" fmla="*/ 435359 h 729095"/>
                    <a:gd name="connsiteX968" fmla="*/ 667331 w 1519039"/>
                    <a:gd name="connsiteY968" fmla="*/ 436293 h 729095"/>
                    <a:gd name="connsiteX969" fmla="*/ 673303 w 1519039"/>
                    <a:gd name="connsiteY969" fmla="*/ 446970 h 729095"/>
                    <a:gd name="connsiteX970" fmla="*/ 670531 w 1519039"/>
                    <a:gd name="connsiteY970" fmla="*/ 452038 h 729095"/>
                    <a:gd name="connsiteX971" fmla="*/ 664836 w 1519039"/>
                    <a:gd name="connsiteY971" fmla="*/ 466392 h 729095"/>
                    <a:gd name="connsiteX972" fmla="*/ 667122 w 1519039"/>
                    <a:gd name="connsiteY972" fmla="*/ 467735 h 729095"/>
                    <a:gd name="connsiteX973" fmla="*/ 676408 w 1519039"/>
                    <a:gd name="connsiteY973" fmla="*/ 462106 h 729095"/>
                    <a:gd name="connsiteX974" fmla="*/ 689820 w 1519039"/>
                    <a:gd name="connsiteY974" fmla="*/ 449352 h 729095"/>
                    <a:gd name="connsiteX975" fmla="*/ 708384 w 1519039"/>
                    <a:gd name="connsiteY975" fmla="*/ 437283 h 729095"/>
                    <a:gd name="connsiteX976" fmla="*/ 722662 w 1519039"/>
                    <a:gd name="connsiteY976" fmla="*/ 447380 h 729095"/>
                    <a:gd name="connsiteX977" fmla="*/ 720557 w 1519039"/>
                    <a:gd name="connsiteY977" fmla="*/ 464087 h 729095"/>
                    <a:gd name="connsiteX978" fmla="*/ 710403 w 1519039"/>
                    <a:gd name="connsiteY978" fmla="*/ 466258 h 729095"/>
                    <a:gd name="connsiteX979" fmla="*/ 699240 w 1519039"/>
                    <a:gd name="connsiteY979" fmla="*/ 479289 h 729095"/>
                    <a:gd name="connsiteX980" fmla="*/ 703488 w 1519039"/>
                    <a:gd name="connsiteY980" fmla="*/ 498996 h 729095"/>
                    <a:gd name="connsiteX981" fmla="*/ 705145 w 1519039"/>
                    <a:gd name="connsiteY981" fmla="*/ 502530 h 729095"/>
                    <a:gd name="connsiteX982" fmla="*/ 715604 w 1519039"/>
                    <a:gd name="connsiteY982" fmla="*/ 497539 h 729095"/>
                    <a:gd name="connsiteX983" fmla="*/ 728977 w 1519039"/>
                    <a:gd name="connsiteY983" fmla="*/ 491433 h 729095"/>
                    <a:gd name="connsiteX984" fmla="*/ 763438 w 1519039"/>
                    <a:gd name="connsiteY984" fmla="*/ 465515 h 729095"/>
                    <a:gd name="connsiteX985" fmla="*/ 777040 w 1519039"/>
                    <a:gd name="connsiteY985" fmla="*/ 453200 h 729095"/>
                    <a:gd name="connsiteX986" fmla="*/ 792356 w 1519039"/>
                    <a:gd name="connsiteY986" fmla="*/ 451914 h 729095"/>
                    <a:gd name="connsiteX987" fmla="*/ 788394 w 1519039"/>
                    <a:gd name="connsiteY987" fmla="*/ 450228 h 729095"/>
                    <a:gd name="connsiteX988" fmla="*/ 797738 w 1519039"/>
                    <a:gd name="connsiteY988" fmla="*/ 443818 h 729095"/>
                    <a:gd name="connsiteX989" fmla="*/ 792261 w 1519039"/>
                    <a:gd name="connsiteY989" fmla="*/ 434721 h 729095"/>
                    <a:gd name="connsiteX990" fmla="*/ 801015 w 1519039"/>
                    <a:gd name="connsiteY990" fmla="*/ 419005 h 729095"/>
                    <a:gd name="connsiteX991" fmla="*/ 815264 w 1519039"/>
                    <a:gd name="connsiteY991" fmla="*/ 419129 h 729095"/>
                    <a:gd name="connsiteX992" fmla="*/ 830875 w 1519039"/>
                    <a:gd name="connsiteY992" fmla="*/ 420415 h 729095"/>
                    <a:gd name="connsiteX993" fmla="*/ 863860 w 1519039"/>
                    <a:gd name="connsiteY993" fmla="*/ 425091 h 729095"/>
                    <a:gd name="connsiteX994" fmla="*/ 852630 w 1519039"/>
                    <a:gd name="connsiteY994" fmla="*/ 429740 h 729095"/>
                    <a:gd name="connsiteX995" fmla="*/ 858660 w 1519039"/>
                    <a:gd name="connsiteY995" fmla="*/ 437464 h 729095"/>
                    <a:gd name="connsiteX996" fmla="*/ 875414 w 1519039"/>
                    <a:gd name="connsiteY996" fmla="*/ 441236 h 729095"/>
                    <a:gd name="connsiteX997" fmla="*/ 856726 w 1519039"/>
                    <a:gd name="connsiteY997" fmla="*/ 448971 h 729095"/>
                    <a:gd name="connsiteX998" fmla="*/ 868309 w 1519039"/>
                    <a:gd name="connsiteY998" fmla="*/ 454190 h 729095"/>
                    <a:gd name="connsiteX999" fmla="*/ 847782 w 1519039"/>
                    <a:gd name="connsiteY999" fmla="*/ 462286 h 729095"/>
                    <a:gd name="connsiteX1000" fmla="*/ 838743 w 1519039"/>
                    <a:gd name="connsiteY1000" fmla="*/ 461753 h 729095"/>
                    <a:gd name="connsiteX1001" fmla="*/ 835581 w 1519039"/>
                    <a:gd name="connsiteY1001" fmla="*/ 465144 h 729095"/>
                    <a:gd name="connsiteX1002" fmla="*/ 841086 w 1519039"/>
                    <a:gd name="connsiteY1002" fmla="*/ 470688 h 729095"/>
                    <a:gd name="connsiteX1003" fmla="*/ 835457 w 1519039"/>
                    <a:gd name="connsiteY1003" fmla="*/ 482070 h 729095"/>
                    <a:gd name="connsiteX1004" fmla="*/ 841210 w 1519039"/>
                    <a:gd name="connsiteY1004" fmla="*/ 494643 h 729095"/>
                    <a:gd name="connsiteX1005" fmla="*/ 810406 w 1519039"/>
                    <a:gd name="connsiteY1005" fmla="*/ 513807 h 729095"/>
                    <a:gd name="connsiteX1006" fmla="*/ 793842 w 1519039"/>
                    <a:gd name="connsiteY1006" fmla="*/ 521284 h 729095"/>
                    <a:gd name="connsiteX1007" fmla="*/ 783488 w 1519039"/>
                    <a:gd name="connsiteY1007" fmla="*/ 523751 h 729095"/>
                    <a:gd name="connsiteX1008" fmla="*/ 772449 w 1519039"/>
                    <a:gd name="connsiteY1008" fmla="*/ 528076 h 729095"/>
                    <a:gd name="connsiteX1009" fmla="*/ 767286 w 1519039"/>
                    <a:gd name="connsiteY1009" fmla="*/ 517598 h 729095"/>
                    <a:gd name="connsiteX1010" fmla="*/ 763286 w 1519039"/>
                    <a:gd name="connsiteY1010" fmla="*/ 513350 h 729095"/>
                    <a:gd name="connsiteX1011" fmla="*/ 745998 w 1519039"/>
                    <a:gd name="connsiteY1011" fmla="*/ 511721 h 729095"/>
                    <a:gd name="connsiteX1012" fmla="*/ 759095 w 1519039"/>
                    <a:gd name="connsiteY1012" fmla="*/ 516636 h 729095"/>
                    <a:gd name="connsiteX1013" fmla="*/ 760000 w 1519039"/>
                    <a:gd name="connsiteY1013" fmla="*/ 532686 h 729095"/>
                    <a:gd name="connsiteX1014" fmla="*/ 749932 w 1519039"/>
                    <a:gd name="connsiteY1014" fmla="*/ 530895 h 729095"/>
                    <a:gd name="connsiteX1015" fmla="*/ 740778 w 1519039"/>
                    <a:gd name="connsiteY1015" fmla="*/ 532695 h 729095"/>
                    <a:gd name="connsiteX1016" fmla="*/ 731815 w 1519039"/>
                    <a:gd name="connsiteY1016" fmla="*/ 525132 h 729095"/>
                    <a:gd name="connsiteX1017" fmla="*/ 720166 w 1519039"/>
                    <a:gd name="connsiteY1017" fmla="*/ 523189 h 729095"/>
                    <a:gd name="connsiteX1018" fmla="*/ 700850 w 1519039"/>
                    <a:gd name="connsiteY1018" fmla="*/ 525999 h 729095"/>
                    <a:gd name="connsiteX1019" fmla="*/ 711022 w 1519039"/>
                    <a:gd name="connsiteY1019" fmla="*/ 535458 h 729095"/>
                    <a:gd name="connsiteX1020" fmla="*/ 685286 w 1519039"/>
                    <a:gd name="connsiteY1020" fmla="*/ 549764 h 729095"/>
                    <a:gd name="connsiteX1021" fmla="*/ 663950 w 1519039"/>
                    <a:gd name="connsiteY1021" fmla="*/ 560194 h 729095"/>
                    <a:gd name="connsiteX1022" fmla="*/ 639347 w 1519039"/>
                    <a:gd name="connsiteY1022" fmla="*/ 551526 h 729095"/>
                    <a:gd name="connsiteX1023" fmla="*/ 618315 w 1519039"/>
                    <a:gd name="connsiteY1023" fmla="*/ 541877 h 729095"/>
                    <a:gd name="connsiteX1024" fmla="*/ 619068 w 1519039"/>
                    <a:gd name="connsiteY1024" fmla="*/ 543811 h 729095"/>
                    <a:gd name="connsiteX1025" fmla="*/ 585759 w 1519039"/>
                    <a:gd name="connsiteY1025" fmla="*/ 541430 h 729095"/>
                    <a:gd name="connsiteX1026" fmla="*/ 591626 w 1519039"/>
                    <a:gd name="connsiteY1026" fmla="*/ 545154 h 729095"/>
                    <a:gd name="connsiteX1027" fmla="*/ 609924 w 1519039"/>
                    <a:gd name="connsiteY1027" fmla="*/ 545449 h 729095"/>
                    <a:gd name="connsiteX1028" fmla="*/ 622964 w 1519039"/>
                    <a:gd name="connsiteY1028" fmla="*/ 557194 h 729095"/>
                    <a:gd name="connsiteX1029" fmla="*/ 643585 w 1519039"/>
                    <a:gd name="connsiteY1029" fmla="*/ 562480 h 729095"/>
                    <a:gd name="connsiteX1030" fmla="*/ 666007 w 1519039"/>
                    <a:gd name="connsiteY1030" fmla="*/ 564433 h 729095"/>
                    <a:gd name="connsiteX1031" fmla="*/ 594360 w 1519039"/>
                    <a:gd name="connsiteY1031" fmla="*/ 599208 h 729095"/>
                    <a:gd name="connsiteX1032" fmla="*/ 586521 w 1519039"/>
                    <a:gd name="connsiteY1032" fmla="*/ 601856 h 729095"/>
                    <a:gd name="connsiteX1033" fmla="*/ 582025 w 1519039"/>
                    <a:gd name="connsiteY1033" fmla="*/ 597103 h 729095"/>
                    <a:gd name="connsiteX1034" fmla="*/ 574777 w 1519039"/>
                    <a:gd name="connsiteY1034" fmla="*/ 598770 h 729095"/>
                    <a:gd name="connsiteX1035" fmla="*/ 569452 w 1519039"/>
                    <a:gd name="connsiteY1035" fmla="*/ 603466 h 729095"/>
                    <a:gd name="connsiteX1036" fmla="*/ 551802 w 1519039"/>
                    <a:gd name="connsiteY1036" fmla="*/ 614058 h 729095"/>
                    <a:gd name="connsiteX1037" fmla="*/ 539277 w 1519039"/>
                    <a:gd name="connsiteY1037" fmla="*/ 614486 h 729095"/>
                    <a:gd name="connsiteX1038" fmla="*/ 524256 w 1519039"/>
                    <a:gd name="connsiteY1038" fmla="*/ 609972 h 729095"/>
                    <a:gd name="connsiteX1039" fmla="*/ 525780 w 1519039"/>
                    <a:gd name="connsiteY1039" fmla="*/ 608705 h 729095"/>
                    <a:gd name="connsiteX1040" fmla="*/ 493405 w 1519039"/>
                    <a:gd name="connsiteY1040" fmla="*/ 598161 h 729095"/>
                    <a:gd name="connsiteX1041" fmla="*/ 496357 w 1519039"/>
                    <a:gd name="connsiteY1041" fmla="*/ 607419 h 729095"/>
                    <a:gd name="connsiteX1042" fmla="*/ 500367 w 1519039"/>
                    <a:gd name="connsiteY1042" fmla="*/ 606133 h 729095"/>
                    <a:gd name="connsiteX1043" fmla="*/ 517855 w 1519039"/>
                    <a:gd name="connsiteY1043" fmla="*/ 612496 h 729095"/>
                    <a:gd name="connsiteX1044" fmla="*/ 507740 w 1519039"/>
                    <a:gd name="connsiteY1044" fmla="*/ 616801 h 729095"/>
                    <a:gd name="connsiteX1045" fmla="*/ 522827 w 1519039"/>
                    <a:gd name="connsiteY1045" fmla="*/ 612829 h 729095"/>
                    <a:gd name="connsiteX1046" fmla="*/ 535819 w 1519039"/>
                    <a:gd name="connsiteY1046" fmla="*/ 619039 h 729095"/>
                    <a:gd name="connsiteX1047" fmla="*/ 540144 w 1519039"/>
                    <a:gd name="connsiteY1047" fmla="*/ 627764 h 729095"/>
                    <a:gd name="connsiteX1048" fmla="*/ 530409 w 1519039"/>
                    <a:gd name="connsiteY1048" fmla="*/ 635994 h 729095"/>
                    <a:gd name="connsiteX1049" fmla="*/ 515293 w 1519039"/>
                    <a:gd name="connsiteY1049" fmla="*/ 640223 h 729095"/>
                    <a:gd name="connsiteX1050" fmla="*/ 500567 w 1519039"/>
                    <a:gd name="connsiteY1050" fmla="*/ 638623 h 729095"/>
                    <a:gd name="connsiteX1051" fmla="*/ 498815 w 1519039"/>
                    <a:gd name="connsiteY1051" fmla="*/ 645481 h 729095"/>
                    <a:gd name="connsiteX1052" fmla="*/ 482908 w 1519039"/>
                    <a:gd name="connsiteY1052" fmla="*/ 648567 h 729095"/>
                    <a:gd name="connsiteX1053" fmla="*/ 474155 w 1519039"/>
                    <a:gd name="connsiteY1053" fmla="*/ 653825 h 729095"/>
                    <a:gd name="connsiteX1054" fmla="*/ 474926 w 1519039"/>
                    <a:gd name="connsiteY1054" fmla="*/ 660483 h 729095"/>
                    <a:gd name="connsiteX1055" fmla="*/ 463734 w 1519039"/>
                    <a:gd name="connsiteY1055" fmla="*/ 654301 h 729095"/>
                    <a:gd name="connsiteX1056" fmla="*/ 452066 w 1519039"/>
                    <a:gd name="connsiteY1056" fmla="*/ 665331 h 729095"/>
                    <a:gd name="connsiteX1057" fmla="*/ 447713 w 1519039"/>
                    <a:gd name="connsiteY1057" fmla="*/ 667826 h 729095"/>
                    <a:gd name="connsiteX1058" fmla="*/ 447951 w 1519039"/>
                    <a:gd name="connsiteY1058" fmla="*/ 672732 h 729095"/>
                    <a:gd name="connsiteX1059" fmla="*/ 429920 w 1519039"/>
                    <a:gd name="connsiteY1059" fmla="*/ 680780 h 729095"/>
                    <a:gd name="connsiteX1060" fmla="*/ 419138 w 1519039"/>
                    <a:gd name="connsiteY1060" fmla="*/ 688610 h 729095"/>
                    <a:gd name="connsiteX1061" fmla="*/ 403898 w 1519039"/>
                    <a:gd name="connsiteY1061" fmla="*/ 701583 h 729095"/>
                    <a:gd name="connsiteX1062" fmla="*/ 385134 w 1519039"/>
                    <a:gd name="connsiteY1062" fmla="*/ 713089 h 729095"/>
                    <a:gd name="connsiteX1063" fmla="*/ 375961 w 1519039"/>
                    <a:gd name="connsiteY1063" fmla="*/ 726272 h 729095"/>
                    <a:gd name="connsiteX1064" fmla="*/ 352435 w 1519039"/>
                    <a:gd name="connsiteY1064" fmla="*/ 728758 h 729095"/>
                    <a:gd name="connsiteX1065" fmla="*/ 302524 w 1519039"/>
                    <a:gd name="connsiteY1065" fmla="*/ 728748 h 729095"/>
                    <a:gd name="connsiteX1066" fmla="*/ 202844 w 1519039"/>
                    <a:gd name="connsiteY1066" fmla="*/ 728748 h 729095"/>
                    <a:gd name="connsiteX1067" fmla="*/ 307639 w 1519039"/>
                    <a:gd name="connsiteY1067" fmla="*/ 595589 h 729095"/>
                    <a:gd name="connsiteX1068" fmla="*/ 172355 w 1519039"/>
                    <a:gd name="connsiteY1068" fmla="*/ 579158 h 729095"/>
                    <a:gd name="connsiteX1069" fmla="*/ 156124 w 1519039"/>
                    <a:gd name="connsiteY1069" fmla="*/ 574367 h 729095"/>
                    <a:gd name="connsiteX1070" fmla="*/ 146647 w 1519039"/>
                    <a:gd name="connsiteY1070" fmla="*/ 555612 h 729095"/>
                    <a:gd name="connsiteX1071" fmla="*/ 127054 w 1519039"/>
                    <a:gd name="connsiteY1071" fmla="*/ 555536 h 729095"/>
                    <a:gd name="connsiteX1072" fmla="*/ 106651 w 1519039"/>
                    <a:gd name="connsiteY1072" fmla="*/ 555470 h 729095"/>
                    <a:gd name="connsiteX1073" fmla="*/ 80848 w 1519039"/>
                    <a:gd name="connsiteY1073" fmla="*/ 537591 h 729095"/>
                    <a:gd name="connsiteX1074" fmla="*/ 55226 w 1519039"/>
                    <a:gd name="connsiteY1074" fmla="*/ 518846 h 729095"/>
                    <a:gd name="connsiteX1075" fmla="*/ 0 w 1519039"/>
                    <a:gd name="connsiteY1075" fmla="*/ 476698 h 729095"/>
                    <a:gd name="connsiteX1076" fmla="*/ 48282 w 1519039"/>
                    <a:gd name="connsiteY1076" fmla="*/ 427435 h 729095"/>
                    <a:gd name="connsiteX1077" fmla="*/ 81363 w 1519039"/>
                    <a:gd name="connsiteY1077" fmla="*/ 439988 h 729095"/>
                    <a:gd name="connsiteX1078" fmla="*/ 112024 w 1519039"/>
                    <a:gd name="connsiteY1078" fmla="*/ 448656 h 729095"/>
                    <a:gd name="connsiteX1079" fmla="*/ 125158 w 1519039"/>
                    <a:gd name="connsiteY1079" fmla="*/ 449847 h 729095"/>
                    <a:gd name="connsiteX1080" fmla="*/ 124873 w 1519039"/>
                    <a:gd name="connsiteY1080" fmla="*/ 446104 h 729095"/>
                    <a:gd name="connsiteX1081" fmla="*/ 127692 w 1519039"/>
                    <a:gd name="connsiteY1081" fmla="*/ 446208 h 729095"/>
                    <a:gd name="connsiteX1082" fmla="*/ 134598 w 1519039"/>
                    <a:gd name="connsiteY1082" fmla="*/ 445713 h 729095"/>
                    <a:gd name="connsiteX1083" fmla="*/ 152133 w 1519039"/>
                    <a:gd name="connsiteY1083" fmla="*/ 452781 h 729095"/>
                    <a:gd name="connsiteX1084" fmla="*/ 156810 w 1519039"/>
                    <a:gd name="connsiteY1084" fmla="*/ 463725 h 729095"/>
                    <a:gd name="connsiteX1085" fmla="*/ 146895 w 1519039"/>
                    <a:gd name="connsiteY1085" fmla="*/ 468840 h 729095"/>
                    <a:gd name="connsiteX1086" fmla="*/ 138389 w 1519039"/>
                    <a:gd name="connsiteY1086" fmla="*/ 468468 h 729095"/>
                    <a:gd name="connsiteX1087" fmla="*/ 131740 w 1519039"/>
                    <a:gd name="connsiteY1087" fmla="*/ 470649 h 729095"/>
                    <a:gd name="connsiteX1088" fmla="*/ 110538 w 1519039"/>
                    <a:gd name="connsiteY1088" fmla="*/ 479879 h 729095"/>
                    <a:gd name="connsiteX1089" fmla="*/ 150238 w 1519039"/>
                    <a:gd name="connsiteY1089" fmla="*/ 486213 h 729095"/>
                    <a:gd name="connsiteX1090" fmla="*/ 190843 w 1519039"/>
                    <a:gd name="connsiteY1090" fmla="*/ 484299 h 729095"/>
                    <a:gd name="connsiteX1091" fmla="*/ 208093 w 1519039"/>
                    <a:gd name="connsiteY1091" fmla="*/ 482279 h 729095"/>
                    <a:gd name="connsiteX1092" fmla="*/ 229267 w 1519039"/>
                    <a:gd name="connsiteY1092" fmla="*/ 477022 h 729095"/>
                    <a:gd name="connsiteX1093" fmla="*/ 231096 w 1519039"/>
                    <a:gd name="connsiteY1093" fmla="*/ 481746 h 729095"/>
                    <a:gd name="connsiteX1094" fmla="*/ 237268 w 1519039"/>
                    <a:gd name="connsiteY1094" fmla="*/ 485280 h 729095"/>
                    <a:gd name="connsiteX1095" fmla="*/ 239906 w 1519039"/>
                    <a:gd name="connsiteY1095" fmla="*/ 495005 h 729095"/>
                    <a:gd name="connsiteX1096" fmla="*/ 248745 w 1519039"/>
                    <a:gd name="connsiteY1096" fmla="*/ 489204 h 729095"/>
                    <a:gd name="connsiteX1097" fmla="*/ 252946 w 1519039"/>
                    <a:gd name="connsiteY1097" fmla="*/ 498710 h 729095"/>
                    <a:gd name="connsiteX1098" fmla="*/ 238592 w 1519039"/>
                    <a:gd name="connsiteY1098" fmla="*/ 505397 h 729095"/>
                    <a:gd name="connsiteX1099" fmla="*/ 246860 w 1519039"/>
                    <a:gd name="connsiteY1099" fmla="*/ 527247 h 729095"/>
                    <a:gd name="connsiteX1100" fmla="*/ 251441 w 1519039"/>
                    <a:gd name="connsiteY1100" fmla="*/ 509521 h 729095"/>
                    <a:gd name="connsiteX1101" fmla="*/ 262195 w 1519039"/>
                    <a:gd name="connsiteY1101" fmla="*/ 512036 h 729095"/>
                    <a:gd name="connsiteX1102" fmla="*/ 262700 w 1519039"/>
                    <a:gd name="connsiteY1102" fmla="*/ 506578 h 729095"/>
                    <a:gd name="connsiteX1103" fmla="*/ 265328 w 1519039"/>
                    <a:gd name="connsiteY1103" fmla="*/ 504273 h 729095"/>
                    <a:gd name="connsiteX1104" fmla="*/ 263757 w 1519039"/>
                    <a:gd name="connsiteY1104" fmla="*/ 500863 h 729095"/>
                    <a:gd name="connsiteX1105" fmla="*/ 268367 w 1519039"/>
                    <a:gd name="connsiteY1105" fmla="*/ 489814 h 729095"/>
                    <a:gd name="connsiteX1106" fmla="*/ 267586 w 1519039"/>
                    <a:gd name="connsiteY1106" fmla="*/ 485232 h 729095"/>
                    <a:gd name="connsiteX1107" fmla="*/ 273844 w 1519039"/>
                    <a:gd name="connsiteY1107" fmla="*/ 480908 h 729095"/>
                    <a:gd name="connsiteX1108" fmla="*/ 286874 w 1519039"/>
                    <a:gd name="connsiteY1108" fmla="*/ 475002 h 729095"/>
                    <a:gd name="connsiteX1109" fmla="*/ 312068 w 1519039"/>
                    <a:gd name="connsiteY1109" fmla="*/ 470307 h 729095"/>
                    <a:gd name="connsiteX1110" fmla="*/ 322964 w 1519039"/>
                    <a:gd name="connsiteY1110" fmla="*/ 464677 h 729095"/>
                    <a:gd name="connsiteX1111" fmla="*/ 339042 w 1519039"/>
                    <a:gd name="connsiteY1111" fmla="*/ 457543 h 729095"/>
                    <a:gd name="connsiteX1112" fmla="*/ 320088 w 1519039"/>
                    <a:gd name="connsiteY1112" fmla="*/ 461401 h 729095"/>
                    <a:gd name="connsiteX1113" fmla="*/ 312715 w 1519039"/>
                    <a:gd name="connsiteY1113" fmla="*/ 465039 h 729095"/>
                    <a:gd name="connsiteX1114" fmla="*/ 304048 w 1519039"/>
                    <a:gd name="connsiteY1114" fmla="*/ 466058 h 729095"/>
                    <a:gd name="connsiteX1115" fmla="*/ 287455 w 1519039"/>
                    <a:gd name="connsiteY1115" fmla="*/ 468306 h 729095"/>
                    <a:gd name="connsiteX1116" fmla="*/ 282645 w 1519039"/>
                    <a:gd name="connsiteY1116" fmla="*/ 471459 h 729095"/>
                    <a:gd name="connsiteX1117" fmla="*/ 273291 w 1519039"/>
                    <a:gd name="connsiteY1117" fmla="*/ 472021 h 729095"/>
                    <a:gd name="connsiteX1118" fmla="*/ 274234 w 1519039"/>
                    <a:gd name="connsiteY1118" fmla="*/ 463068 h 729095"/>
                    <a:gd name="connsiteX1119" fmla="*/ 295237 w 1519039"/>
                    <a:gd name="connsiteY1119" fmla="*/ 456543 h 729095"/>
                    <a:gd name="connsiteX1120" fmla="*/ 336080 w 1519039"/>
                    <a:gd name="connsiteY1120" fmla="*/ 448323 h 729095"/>
                    <a:gd name="connsiteX1121" fmla="*/ 345453 w 1519039"/>
                    <a:gd name="connsiteY1121" fmla="*/ 457467 h 729095"/>
                    <a:gd name="connsiteX1122" fmla="*/ 348777 w 1519039"/>
                    <a:gd name="connsiteY1122" fmla="*/ 467249 h 729095"/>
                    <a:gd name="connsiteX1123" fmla="*/ 347901 w 1519039"/>
                    <a:gd name="connsiteY1123" fmla="*/ 468906 h 729095"/>
                    <a:gd name="connsiteX1124" fmla="*/ 352939 w 1519039"/>
                    <a:gd name="connsiteY1124" fmla="*/ 469545 h 729095"/>
                    <a:gd name="connsiteX1125" fmla="*/ 372770 w 1519039"/>
                    <a:gd name="connsiteY1125" fmla="*/ 473878 h 729095"/>
                    <a:gd name="connsiteX1126" fmla="*/ 392735 w 1519039"/>
                    <a:gd name="connsiteY1126" fmla="*/ 485223 h 729095"/>
                    <a:gd name="connsiteX1127" fmla="*/ 447799 w 1519039"/>
                    <a:gd name="connsiteY1127" fmla="*/ 482632 h 729095"/>
                    <a:gd name="connsiteX1128" fmla="*/ 460248 w 1519039"/>
                    <a:gd name="connsiteY1128" fmla="*/ 485585 h 729095"/>
                    <a:gd name="connsiteX1129" fmla="*/ 475059 w 1519039"/>
                    <a:gd name="connsiteY1129" fmla="*/ 483251 h 729095"/>
                    <a:gd name="connsiteX1130" fmla="*/ 475107 w 1519039"/>
                    <a:gd name="connsiteY1130" fmla="*/ 478727 h 729095"/>
                    <a:gd name="connsiteX1131" fmla="*/ 480031 w 1519039"/>
                    <a:gd name="connsiteY1131" fmla="*/ 475117 h 729095"/>
                    <a:gd name="connsiteX1132" fmla="*/ 484861 w 1519039"/>
                    <a:gd name="connsiteY1132" fmla="*/ 485023 h 729095"/>
                    <a:gd name="connsiteX1133" fmla="*/ 495691 w 1519039"/>
                    <a:gd name="connsiteY1133" fmla="*/ 488090 h 729095"/>
                    <a:gd name="connsiteX1134" fmla="*/ 498662 w 1519039"/>
                    <a:gd name="connsiteY1134" fmla="*/ 477879 h 729095"/>
                    <a:gd name="connsiteX1135" fmla="*/ 484718 w 1519039"/>
                    <a:gd name="connsiteY1135" fmla="*/ 479212 h 729095"/>
                    <a:gd name="connsiteX1136" fmla="*/ 486166 w 1519039"/>
                    <a:gd name="connsiteY1136" fmla="*/ 470478 h 729095"/>
                    <a:gd name="connsiteX1137" fmla="*/ 490318 w 1519039"/>
                    <a:gd name="connsiteY1137" fmla="*/ 464763 h 729095"/>
                    <a:gd name="connsiteX1138" fmla="*/ 496624 w 1519039"/>
                    <a:gd name="connsiteY1138" fmla="*/ 466116 h 729095"/>
                    <a:gd name="connsiteX1139" fmla="*/ 504958 w 1519039"/>
                    <a:gd name="connsiteY1139" fmla="*/ 464582 h 729095"/>
                    <a:gd name="connsiteX1140" fmla="*/ 517331 w 1519039"/>
                    <a:gd name="connsiteY1140" fmla="*/ 461896 h 729095"/>
                    <a:gd name="connsiteX1141" fmla="*/ 519303 w 1519039"/>
                    <a:gd name="connsiteY1141" fmla="*/ 468744 h 729095"/>
                    <a:gd name="connsiteX1142" fmla="*/ 532448 w 1519039"/>
                    <a:gd name="connsiteY1142" fmla="*/ 467001 h 729095"/>
                    <a:gd name="connsiteX1143" fmla="*/ 519456 w 1519039"/>
                    <a:gd name="connsiteY1143" fmla="*/ 475564 h 729095"/>
                    <a:gd name="connsiteX1144" fmla="*/ 540877 w 1519039"/>
                    <a:gd name="connsiteY1144" fmla="*/ 468935 h 729095"/>
                    <a:gd name="connsiteX1145" fmla="*/ 518236 w 1519039"/>
                    <a:gd name="connsiteY1145" fmla="*/ 488871 h 729095"/>
                    <a:gd name="connsiteX1146" fmla="*/ 513969 w 1519039"/>
                    <a:gd name="connsiteY1146" fmla="*/ 497824 h 729095"/>
                    <a:gd name="connsiteX1147" fmla="*/ 516998 w 1519039"/>
                    <a:gd name="connsiteY1147" fmla="*/ 499529 h 729095"/>
                    <a:gd name="connsiteX1148" fmla="*/ 523570 w 1519039"/>
                    <a:gd name="connsiteY1148" fmla="*/ 498301 h 729095"/>
                    <a:gd name="connsiteX1149" fmla="*/ 519093 w 1519039"/>
                    <a:gd name="connsiteY1149" fmla="*/ 502472 h 729095"/>
                    <a:gd name="connsiteX1150" fmla="*/ 523446 w 1519039"/>
                    <a:gd name="connsiteY1150" fmla="*/ 507197 h 729095"/>
                    <a:gd name="connsiteX1151" fmla="*/ 512683 w 1519039"/>
                    <a:gd name="connsiteY1151" fmla="*/ 509064 h 729095"/>
                    <a:gd name="connsiteX1152" fmla="*/ 502091 w 1519039"/>
                    <a:gd name="connsiteY1152" fmla="*/ 506473 h 729095"/>
                    <a:gd name="connsiteX1153" fmla="*/ 504901 w 1519039"/>
                    <a:gd name="connsiteY1153" fmla="*/ 520360 h 729095"/>
                    <a:gd name="connsiteX1154" fmla="*/ 507416 w 1519039"/>
                    <a:gd name="connsiteY1154" fmla="*/ 510245 h 729095"/>
                    <a:gd name="connsiteX1155" fmla="*/ 522989 w 1519039"/>
                    <a:gd name="connsiteY1155" fmla="*/ 509130 h 729095"/>
                    <a:gd name="connsiteX1156" fmla="*/ 534343 w 1519039"/>
                    <a:gd name="connsiteY1156" fmla="*/ 495624 h 729095"/>
                    <a:gd name="connsiteX1157" fmla="*/ 540801 w 1519039"/>
                    <a:gd name="connsiteY1157" fmla="*/ 480575 h 729095"/>
                    <a:gd name="connsiteX1158" fmla="*/ 570862 w 1519039"/>
                    <a:gd name="connsiteY1158" fmla="*/ 471069 h 729095"/>
                    <a:gd name="connsiteX1159" fmla="*/ 604123 w 1519039"/>
                    <a:gd name="connsiteY1159" fmla="*/ 457286 h 729095"/>
                    <a:gd name="connsiteX1160" fmla="*/ 600275 w 1519039"/>
                    <a:gd name="connsiteY1160" fmla="*/ 456838 h 729095"/>
                    <a:gd name="connsiteX1161" fmla="*/ 605780 w 1519039"/>
                    <a:gd name="connsiteY1161" fmla="*/ 446542 h 729095"/>
                    <a:gd name="connsiteX1162" fmla="*/ 593884 w 1519039"/>
                    <a:gd name="connsiteY1162" fmla="*/ 452257 h 729095"/>
                    <a:gd name="connsiteX1163" fmla="*/ 586388 w 1519039"/>
                    <a:gd name="connsiteY1163" fmla="*/ 448952 h 729095"/>
                    <a:gd name="connsiteX1164" fmla="*/ 603009 w 1519039"/>
                    <a:gd name="connsiteY1164" fmla="*/ 440998 h 729095"/>
                    <a:gd name="connsiteX1165" fmla="*/ 604999 w 1519039"/>
                    <a:gd name="connsiteY1165" fmla="*/ 434959 h 729095"/>
                    <a:gd name="connsiteX1166" fmla="*/ 619639 w 1519039"/>
                    <a:gd name="connsiteY1166" fmla="*/ 432149 h 729095"/>
                    <a:gd name="connsiteX1167" fmla="*/ 611391 w 1519039"/>
                    <a:gd name="connsiteY1167" fmla="*/ 437331 h 729095"/>
                    <a:gd name="connsiteX1168" fmla="*/ 622640 w 1519039"/>
                    <a:gd name="connsiteY1168" fmla="*/ 433473 h 729095"/>
                    <a:gd name="connsiteX1169" fmla="*/ 620554 w 1519039"/>
                    <a:gd name="connsiteY1169" fmla="*/ 433254 h 729095"/>
                    <a:gd name="connsiteX1170" fmla="*/ 606200 w 1519039"/>
                    <a:gd name="connsiteY1170" fmla="*/ 430673 h 729095"/>
                    <a:gd name="connsiteX1171" fmla="*/ 601199 w 1519039"/>
                    <a:gd name="connsiteY1171" fmla="*/ 425358 h 729095"/>
                    <a:gd name="connsiteX1172" fmla="*/ 597132 w 1519039"/>
                    <a:gd name="connsiteY1172" fmla="*/ 426796 h 729095"/>
                    <a:gd name="connsiteX1173" fmla="*/ 587931 w 1519039"/>
                    <a:gd name="connsiteY1173" fmla="*/ 423072 h 729095"/>
                    <a:gd name="connsiteX1174" fmla="*/ 576796 w 1519039"/>
                    <a:gd name="connsiteY1174" fmla="*/ 407842 h 729095"/>
                    <a:gd name="connsiteX1175" fmla="*/ 599589 w 1519039"/>
                    <a:gd name="connsiteY1175" fmla="*/ 396497 h 729095"/>
                    <a:gd name="connsiteX1176" fmla="*/ 603037 w 1519039"/>
                    <a:gd name="connsiteY1176" fmla="*/ 391925 h 729095"/>
                    <a:gd name="connsiteX1177" fmla="*/ 594008 w 1519039"/>
                    <a:gd name="connsiteY1177" fmla="*/ 385772 h 729095"/>
                    <a:gd name="connsiteX1178" fmla="*/ 604190 w 1519039"/>
                    <a:gd name="connsiteY1178" fmla="*/ 376238 h 729095"/>
                    <a:gd name="connsiteX1179" fmla="*/ 619173 w 1519039"/>
                    <a:gd name="connsiteY1179" fmla="*/ 369637 h 729095"/>
                    <a:gd name="connsiteX1180" fmla="*/ 623888 w 1519039"/>
                    <a:gd name="connsiteY1180" fmla="*/ 372256 h 729095"/>
                    <a:gd name="connsiteX1181" fmla="*/ 632889 w 1519039"/>
                    <a:gd name="connsiteY1181" fmla="*/ 366808 h 729095"/>
                    <a:gd name="connsiteX1182" fmla="*/ 625935 w 1519039"/>
                    <a:gd name="connsiteY1182" fmla="*/ 363846 h 729095"/>
                    <a:gd name="connsiteX1183" fmla="*/ 640299 w 1519039"/>
                    <a:gd name="connsiteY1183" fmla="*/ 356788 h 729095"/>
                    <a:gd name="connsiteX1184" fmla="*/ 658035 w 1519039"/>
                    <a:gd name="connsiteY1184" fmla="*/ 351492 h 729095"/>
                    <a:gd name="connsiteX1185" fmla="*/ 662445 w 1519039"/>
                    <a:gd name="connsiteY1185" fmla="*/ 358207 h 729095"/>
                    <a:gd name="connsiteX1186" fmla="*/ 662445 w 1519039"/>
                    <a:gd name="connsiteY1186" fmla="*/ 358207 h 729095"/>
                    <a:gd name="connsiteX1187" fmla="*/ 544049 w 1519039"/>
                    <a:gd name="connsiteY1187" fmla="*/ 425053 h 729095"/>
                    <a:gd name="connsiteX1188" fmla="*/ 554908 w 1519039"/>
                    <a:gd name="connsiteY1188" fmla="*/ 430140 h 729095"/>
                    <a:gd name="connsiteX1189" fmla="*/ 561051 w 1519039"/>
                    <a:gd name="connsiteY1189" fmla="*/ 438226 h 729095"/>
                    <a:gd name="connsiteX1190" fmla="*/ 561127 w 1519039"/>
                    <a:gd name="connsiteY1190" fmla="*/ 447637 h 729095"/>
                    <a:gd name="connsiteX1191" fmla="*/ 569014 w 1519039"/>
                    <a:gd name="connsiteY1191" fmla="*/ 451447 h 729095"/>
                    <a:gd name="connsiteX1192" fmla="*/ 551850 w 1519039"/>
                    <a:gd name="connsiteY1192" fmla="*/ 457048 h 729095"/>
                    <a:gd name="connsiteX1193" fmla="*/ 512874 w 1519039"/>
                    <a:gd name="connsiteY1193" fmla="*/ 457076 h 729095"/>
                    <a:gd name="connsiteX1194" fmla="*/ 504111 w 1519039"/>
                    <a:gd name="connsiteY1194" fmla="*/ 453190 h 729095"/>
                    <a:gd name="connsiteX1195" fmla="*/ 503930 w 1519039"/>
                    <a:gd name="connsiteY1195" fmla="*/ 450285 h 729095"/>
                    <a:gd name="connsiteX1196" fmla="*/ 494900 w 1519039"/>
                    <a:gd name="connsiteY1196" fmla="*/ 447428 h 729095"/>
                    <a:gd name="connsiteX1197" fmla="*/ 483832 w 1519039"/>
                    <a:gd name="connsiteY1197" fmla="*/ 448542 h 729095"/>
                    <a:gd name="connsiteX1198" fmla="*/ 492366 w 1519039"/>
                    <a:gd name="connsiteY1198" fmla="*/ 440865 h 729095"/>
                    <a:gd name="connsiteX1199" fmla="*/ 511407 w 1519039"/>
                    <a:gd name="connsiteY1199" fmla="*/ 436226 h 729095"/>
                    <a:gd name="connsiteX1200" fmla="*/ 518503 w 1519039"/>
                    <a:gd name="connsiteY1200" fmla="*/ 430197 h 729095"/>
                    <a:gd name="connsiteX1201" fmla="*/ 526590 w 1519039"/>
                    <a:gd name="connsiteY1201" fmla="*/ 430921 h 729095"/>
                    <a:gd name="connsiteX1202" fmla="*/ 534819 w 1519039"/>
                    <a:gd name="connsiteY1202" fmla="*/ 419214 h 729095"/>
                    <a:gd name="connsiteX1203" fmla="*/ 544049 w 1519039"/>
                    <a:gd name="connsiteY1203" fmla="*/ 425053 h 729095"/>
                    <a:gd name="connsiteX1204" fmla="*/ 544049 w 1519039"/>
                    <a:gd name="connsiteY1204" fmla="*/ 425053 h 729095"/>
                    <a:gd name="connsiteX1205" fmla="*/ 980437 w 1519039"/>
                    <a:gd name="connsiteY1205" fmla="*/ 466639 h 729095"/>
                    <a:gd name="connsiteX1206" fmla="*/ 988952 w 1519039"/>
                    <a:gd name="connsiteY1206" fmla="*/ 474412 h 729095"/>
                    <a:gd name="connsiteX1207" fmla="*/ 984285 w 1519039"/>
                    <a:gd name="connsiteY1207" fmla="*/ 480251 h 729095"/>
                    <a:gd name="connsiteX1208" fmla="*/ 979218 w 1519039"/>
                    <a:gd name="connsiteY1208" fmla="*/ 489080 h 729095"/>
                    <a:gd name="connsiteX1209" fmla="*/ 939146 w 1519039"/>
                    <a:gd name="connsiteY1209" fmla="*/ 500720 h 729095"/>
                    <a:gd name="connsiteX1210" fmla="*/ 944109 w 1519039"/>
                    <a:gd name="connsiteY1210" fmla="*/ 476898 h 729095"/>
                    <a:gd name="connsiteX1211" fmla="*/ 980437 w 1519039"/>
                    <a:gd name="connsiteY1211" fmla="*/ 466639 h 729095"/>
                    <a:gd name="connsiteX1212" fmla="*/ 980437 w 1519039"/>
                    <a:gd name="connsiteY1212" fmla="*/ 466639 h 729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Lst>
                  <a:rect l="l" t="t" r="r" b="b"/>
                  <a:pathLst>
                    <a:path w="1519039" h="729095">
                      <a:moveTo>
                        <a:pt x="715394" y="563080"/>
                      </a:moveTo>
                      <a:cubicBezTo>
                        <a:pt x="724186" y="563899"/>
                        <a:pt x="724653" y="552183"/>
                        <a:pt x="732873" y="560937"/>
                      </a:cubicBezTo>
                      <a:cubicBezTo>
                        <a:pt x="733701" y="561813"/>
                        <a:pt x="731949" y="563509"/>
                        <a:pt x="733149" y="564442"/>
                      </a:cubicBezTo>
                      <a:cubicBezTo>
                        <a:pt x="734978" y="565880"/>
                        <a:pt x="737683" y="565347"/>
                        <a:pt x="739750" y="565928"/>
                      </a:cubicBezTo>
                      <a:cubicBezTo>
                        <a:pt x="746284" y="567766"/>
                        <a:pt x="743674" y="568443"/>
                        <a:pt x="747560" y="572577"/>
                      </a:cubicBezTo>
                      <a:cubicBezTo>
                        <a:pt x="752770" y="578130"/>
                        <a:pt x="764096" y="577644"/>
                        <a:pt x="767410" y="583845"/>
                      </a:cubicBezTo>
                      <a:cubicBezTo>
                        <a:pt x="773059" y="594379"/>
                        <a:pt x="762695" y="597551"/>
                        <a:pt x="757828" y="602285"/>
                      </a:cubicBezTo>
                      <a:cubicBezTo>
                        <a:pt x="764877" y="602361"/>
                        <a:pt x="771211" y="601418"/>
                        <a:pt x="778145" y="601752"/>
                      </a:cubicBezTo>
                      <a:cubicBezTo>
                        <a:pt x="782717" y="601971"/>
                        <a:pt x="780793" y="597980"/>
                        <a:pt x="785012" y="602018"/>
                      </a:cubicBezTo>
                      <a:cubicBezTo>
                        <a:pt x="787479" y="604380"/>
                        <a:pt x="785374" y="605619"/>
                        <a:pt x="783146" y="605904"/>
                      </a:cubicBezTo>
                      <a:cubicBezTo>
                        <a:pt x="785746" y="606371"/>
                        <a:pt x="788299" y="607428"/>
                        <a:pt x="790404" y="609038"/>
                      </a:cubicBezTo>
                      <a:cubicBezTo>
                        <a:pt x="784974" y="612810"/>
                        <a:pt x="777297" y="615706"/>
                        <a:pt x="771030" y="617887"/>
                      </a:cubicBezTo>
                      <a:cubicBezTo>
                        <a:pt x="764934" y="620011"/>
                        <a:pt x="762695" y="618601"/>
                        <a:pt x="756676" y="616182"/>
                      </a:cubicBezTo>
                      <a:cubicBezTo>
                        <a:pt x="754352" y="615239"/>
                        <a:pt x="740807" y="612410"/>
                        <a:pt x="740255" y="611105"/>
                      </a:cubicBezTo>
                      <a:cubicBezTo>
                        <a:pt x="739064" y="608286"/>
                        <a:pt x="744255" y="607019"/>
                        <a:pt x="741188" y="604038"/>
                      </a:cubicBezTo>
                      <a:cubicBezTo>
                        <a:pt x="739788" y="602676"/>
                        <a:pt x="734082" y="602856"/>
                        <a:pt x="731987" y="602066"/>
                      </a:cubicBezTo>
                      <a:cubicBezTo>
                        <a:pt x="737130" y="597570"/>
                        <a:pt x="732434" y="597751"/>
                        <a:pt x="728386" y="598256"/>
                      </a:cubicBezTo>
                      <a:cubicBezTo>
                        <a:pt x="722271" y="599018"/>
                        <a:pt x="720366" y="602047"/>
                        <a:pt x="716080" y="605438"/>
                      </a:cubicBezTo>
                      <a:cubicBezTo>
                        <a:pt x="708365" y="611553"/>
                        <a:pt x="699240" y="612915"/>
                        <a:pt x="691096" y="617592"/>
                      </a:cubicBezTo>
                      <a:cubicBezTo>
                        <a:pt x="683000" y="622240"/>
                        <a:pt x="672875" y="631260"/>
                        <a:pt x="662454" y="630069"/>
                      </a:cubicBezTo>
                      <a:cubicBezTo>
                        <a:pt x="656225" y="629355"/>
                        <a:pt x="658101" y="627764"/>
                        <a:pt x="660292" y="621849"/>
                      </a:cubicBezTo>
                      <a:cubicBezTo>
                        <a:pt x="662864" y="614934"/>
                        <a:pt x="665798" y="613801"/>
                        <a:pt x="659635" y="612391"/>
                      </a:cubicBezTo>
                      <a:cubicBezTo>
                        <a:pt x="654996" y="611334"/>
                        <a:pt x="631412" y="619344"/>
                        <a:pt x="629364" y="615839"/>
                      </a:cubicBezTo>
                      <a:cubicBezTo>
                        <a:pt x="626469" y="610905"/>
                        <a:pt x="647300" y="603790"/>
                        <a:pt x="650500" y="602790"/>
                      </a:cubicBezTo>
                      <a:cubicBezTo>
                        <a:pt x="654139" y="601656"/>
                        <a:pt x="659454" y="600809"/>
                        <a:pt x="662016" y="597770"/>
                      </a:cubicBezTo>
                      <a:cubicBezTo>
                        <a:pt x="664855" y="594398"/>
                        <a:pt x="665007" y="588836"/>
                        <a:pt x="667884" y="585064"/>
                      </a:cubicBezTo>
                      <a:cubicBezTo>
                        <a:pt x="674770" y="576005"/>
                        <a:pt x="683905" y="567643"/>
                        <a:pt x="691401" y="558975"/>
                      </a:cubicBezTo>
                      <a:cubicBezTo>
                        <a:pt x="696354" y="553241"/>
                        <a:pt x="708660" y="540296"/>
                        <a:pt x="716137" y="543335"/>
                      </a:cubicBezTo>
                      <a:cubicBezTo>
                        <a:pt x="719985" y="544897"/>
                        <a:pt x="720500" y="548469"/>
                        <a:pt x="718376" y="552164"/>
                      </a:cubicBezTo>
                      <a:cubicBezTo>
                        <a:pt x="717433" y="553822"/>
                        <a:pt x="714423" y="553384"/>
                        <a:pt x="713604" y="555251"/>
                      </a:cubicBezTo>
                      <a:cubicBezTo>
                        <a:pt x="713642" y="555174"/>
                        <a:pt x="716375" y="560585"/>
                        <a:pt x="715394" y="563080"/>
                      </a:cubicBezTo>
                      <a:lnTo>
                        <a:pt x="715394" y="563080"/>
                      </a:lnTo>
                      <a:close/>
                      <a:moveTo>
                        <a:pt x="733835" y="635746"/>
                      </a:moveTo>
                      <a:cubicBezTo>
                        <a:pt x="734539" y="643519"/>
                        <a:pt x="715928" y="649967"/>
                        <a:pt x="710384" y="652758"/>
                      </a:cubicBezTo>
                      <a:cubicBezTo>
                        <a:pt x="705812" y="655063"/>
                        <a:pt x="699202" y="659121"/>
                        <a:pt x="694030" y="659492"/>
                      </a:cubicBezTo>
                      <a:cubicBezTo>
                        <a:pt x="688419" y="659892"/>
                        <a:pt x="684867" y="659083"/>
                        <a:pt x="678723" y="660749"/>
                      </a:cubicBezTo>
                      <a:cubicBezTo>
                        <a:pt x="680799" y="657835"/>
                        <a:pt x="678018" y="654872"/>
                        <a:pt x="678942" y="653129"/>
                      </a:cubicBezTo>
                      <a:cubicBezTo>
                        <a:pt x="680180" y="650815"/>
                        <a:pt x="681276" y="651101"/>
                        <a:pt x="683333" y="649338"/>
                      </a:cubicBezTo>
                      <a:cubicBezTo>
                        <a:pt x="687467" y="645833"/>
                        <a:pt x="696420" y="638394"/>
                        <a:pt x="701316" y="637299"/>
                      </a:cubicBezTo>
                      <a:cubicBezTo>
                        <a:pt x="704279" y="636632"/>
                        <a:pt x="706164" y="638404"/>
                        <a:pt x="709041" y="638318"/>
                      </a:cubicBezTo>
                      <a:cubicBezTo>
                        <a:pt x="711975" y="638223"/>
                        <a:pt x="714604" y="636451"/>
                        <a:pt x="717480" y="636051"/>
                      </a:cubicBezTo>
                      <a:cubicBezTo>
                        <a:pt x="721966" y="635422"/>
                        <a:pt x="729663" y="634051"/>
                        <a:pt x="733835" y="635746"/>
                      </a:cubicBezTo>
                      <a:lnTo>
                        <a:pt x="733835" y="635746"/>
                      </a:lnTo>
                      <a:close/>
                      <a:moveTo>
                        <a:pt x="1385088" y="3772"/>
                      </a:moveTo>
                      <a:cubicBezTo>
                        <a:pt x="1394393" y="4153"/>
                        <a:pt x="1403357" y="5039"/>
                        <a:pt x="1412443" y="5648"/>
                      </a:cubicBezTo>
                      <a:cubicBezTo>
                        <a:pt x="1420673" y="6201"/>
                        <a:pt x="1429541" y="4629"/>
                        <a:pt x="1437618" y="6610"/>
                      </a:cubicBezTo>
                      <a:cubicBezTo>
                        <a:pt x="1426083" y="14069"/>
                        <a:pt x="1409195" y="10992"/>
                        <a:pt x="1396308" y="15231"/>
                      </a:cubicBezTo>
                      <a:cubicBezTo>
                        <a:pt x="1414967" y="16564"/>
                        <a:pt x="1432970" y="10573"/>
                        <a:pt x="1451277" y="9763"/>
                      </a:cubicBezTo>
                      <a:cubicBezTo>
                        <a:pt x="1457068" y="9506"/>
                        <a:pt x="1460992" y="7582"/>
                        <a:pt x="1466593" y="9116"/>
                      </a:cubicBezTo>
                      <a:cubicBezTo>
                        <a:pt x="1471432" y="10440"/>
                        <a:pt x="1469879" y="10506"/>
                        <a:pt x="1476289" y="9878"/>
                      </a:cubicBezTo>
                      <a:cubicBezTo>
                        <a:pt x="1479728" y="9535"/>
                        <a:pt x="1484814" y="9439"/>
                        <a:pt x="1487100" y="11516"/>
                      </a:cubicBezTo>
                      <a:cubicBezTo>
                        <a:pt x="1485576" y="11830"/>
                        <a:pt x="1484452" y="12887"/>
                        <a:pt x="1483090" y="13345"/>
                      </a:cubicBezTo>
                      <a:cubicBezTo>
                        <a:pt x="1487872" y="16126"/>
                        <a:pt x="1493682" y="18564"/>
                        <a:pt x="1485586" y="21622"/>
                      </a:cubicBezTo>
                      <a:cubicBezTo>
                        <a:pt x="1494301" y="20336"/>
                        <a:pt x="1504502" y="17898"/>
                        <a:pt x="1513294" y="20365"/>
                      </a:cubicBezTo>
                      <a:cubicBezTo>
                        <a:pt x="1522943" y="23070"/>
                        <a:pt x="1519238" y="26765"/>
                        <a:pt x="1511017" y="29671"/>
                      </a:cubicBezTo>
                      <a:cubicBezTo>
                        <a:pt x="1493834" y="35728"/>
                        <a:pt x="1476232" y="38653"/>
                        <a:pt x="1458392" y="42310"/>
                      </a:cubicBezTo>
                      <a:cubicBezTo>
                        <a:pt x="1450229" y="43977"/>
                        <a:pt x="1442114" y="43053"/>
                        <a:pt x="1434113" y="44777"/>
                      </a:cubicBezTo>
                      <a:cubicBezTo>
                        <a:pt x="1426893" y="46339"/>
                        <a:pt x="1417291" y="45825"/>
                        <a:pt x="1410300" y="47863"/>
                      </a:cubicBezTo>
                      <a:cubicBezTo>
                        <a:pt x="1404100" y="49654"/>
                        <a:pt x="1400327" y="52426"/>
                        <a:pt x="1393422" y="53588"/>
                      </a:cubicBezTo>
                      <a:cubicBezTo>
                        <a:pt x="1385754" y="54883"/>
                        <a:pt x="1372143" y="54455"/>
                        <a:pt x="1365809" y="59074"/>
                      </a:cubicBezTo>
                      <a:cubicBezTo>
                        <a:pt x="1378020" y="61570"/>
                        <a:pt x="1394412" y="56017"/>
                        <a:pt x="1406424" y="54283"/>
                      </a:cubicBezTo>
                      <a:cubicBezTo>
                        <a:pt x="1418311" y="52569"/>
                        <a:pt x="1429369" y="50987"/>
                        <a:pt x="1441380" y="51778"/>
                      </a:cubicBezTo>
                      <a:cubicBezTo>
                        <a:pt x="1434513" y="58884"/>
                        <a:pt x="1416977" y="59893"/>
                        <a:pt x="1407833" y="62598"/>
                      </a:cubicBezTo>
                      <a:cubicBezTo>
                        <a:pt x="1397041" y="65789"/>
                        <a:pt x="1386269" y="68761"/>
                        <a:pt x="1375401" y="71781"/>
                      </a:cubicBezTo>
                      <a:cubicBezTo>
                        <a:pt x="1363494" y="75086"/>
                        <a:pt x="1352293" y="79039"/>
                        <a:pt x="1340996" y="83953"/>
                      </a:cubicBezTo>
                      <a:cubicBezTo>
                        <a:pt x="1330757" y="88411"/>
                        <a:pt x="1325337" y="86868"/>
                        <a:pt x="1315812" y="81801"/>
                      </a:cubicBezTo>
                      <a:cubicBezTo>
                        <a:pt x="1316784" y="85258"/>
                        <a:pt x="1320832" y="88364"/>
                        <a:pt x="1318651" y="91097"/>
                      </a:cubicBezTo>
                      <a:cubicBezTo>
                        <a:pt x="1316889" y="93288"/>
                        <a:pt x="1306363" y="92431"/>
                        <a:pt x="1303611" y="92755"/>
                      </a:cubicBezTo>
                      <a:cubicBezTo>
                        <a:pt x="1297829" y="93450"/>
                        <a:pt x="1287428" y="92812"/>
                        <a:pt x="1282579" y="95479"/>
                      </a:cubicBezTo>
                      <a:cubicBezTo>
                        <a:pt x="1291581" y="98431"/>
                        <a:pt x="1301191" y="92640"/>
                        <a:pt x="1309945" y="95850"/>
                      </a:cubicBezTo>
                      <a:cubicBezTo>
                        <a:pt x="1305744" y="99994"/>
                        <a:pt x="1297543" y="100384"/>
                        <a:pt x="1291885" y="101603"/>
                      </a:cubicBezTo>
                      <a:cubicBezTo>
                        <a:pt x="1293314" y="101746"/>
                        <a:pt x="1294438" y="102442"/>
                        <a:pt x="1295819" y="102727"/>
                      </a:cubicBezTo>
                      <a:cubicBezTo>
                        <a:pt x="1288923" y="108995"/>
                        <a:pt x="1273797" y="109433"/>
                        <a:pt x="1265053" y="107766"/>
                      </a:cubicBezTo>
                      <a:cubicBezTo>
                        <a:pt x="1252861" y="105442"/>
                        <a:pt x="1241679" y="100927"/>
                        <a:pt x="1229192" y="103994"/>
                      </a:cubicBezTo>
                      <a:cubicBezTo>
                        <a:pt x="1233783" y="105461"/>
                        <a:pt x="1250366" y="103670"/>
                        <a:pt x="1251537" y="109309"/>
                      </a:cubicBezTo>
                      <a:cubicBezTo>
                        <a:pt x="1253023" y="116453"/>
                        <a:pt x="1237431" y="114576"/>
                        <a:pt x="1233735" y="114957"/>
                      </a:cubicBezTo>
                      <a:cubicBezTo>
                        <a:pt x="1225382" y="115815"/>
                        <a:pt x="1216828" y="116767"/>
                        <a:pt x="1208399" y="117091"/>
                      </a:cubicBezTo>
                      <a:cubicBezTo>
                        <a:pt x="1199369" y="117443"/>
                        <a:pt x="1190120" y="114710"/>
                        <a:pt x="1180995" y="114167"/>
                      </a:cubicBezTo>
                      <a:cubicBezTo>
                        <a:pt x="1186758" y="116710"/>
                        <a:pt x="1192816" y="120901"/>
                        <a:pt x="1199159" y="122577"/>
                      </a:cubicBezTo>
                      <a:cubicBezTo>
                        <a:pt x="1206399" y="124492"/>
                        <a:pt x="1213095" y="122244"/>
                        <a:pt x="1220315" y="123073"/>
                      </a:cubicBezTo>
                      <a:cubicBezTo>
                        <a:pt x="1210866" y="134741"/>
                        <a:pt x="1196388" y="126283"/>
                        <a:pt x="1183291" y="127045"/>
                      </a:cubicBezTo>
                      <a:cubicBezTo>
                        <a:pt x="1168984" y="127883"/>
                        <a:pt x="1154640" y="127111"/>
                        <a:pt x="1140390" y="127930"/>
                      </a:cubicBezTo>
                      <a:cubicBezTo>
                        <a:pt x="1145219" y="129569"/>
                        <a:pt x="1149458" y="131883"/>
                        <a:pt x="1155459" y="131531"/>
                      </a:cubicBezTo>
                      <a:cubicBezTo>
                        <a:pt x="1162745" y="131112"/>
                        <a:pt x="1170061" y="129235"/>
                        <a:pt x="1177433" y="129550"/>
                      </a:cubicBezTo>
                      <a:cubicBezTo>
                        <a:pt x="1184310" y="129845"/>
                        <a:pt x="1188234" y="133007"/>
                        <a:pt x="1194397" y="133979"/>
                      </a:cubicBezTo>
                      <a:cubicBezTo>
                        <a:pt x="1200426" y="134931"/>
                        <a:pt x="1205865" y="136732"/>
                        <a:pt x="1211066" y="138989"/>
                      </a:cubicBezTo>
                      <a:cubicBezTo>
                        <a:pt x="1198921" y="148628"/>
                        <a:pt x="1183519" y="143256"/>
                        <a:pt x="1169346" y="145685"/>
                      </a:cubicBezTo>
                      <a:cubicBezTo>
                        <a:pt x="1174814" y="146066"/>
                        <a:pt x="1185091" y="147485"/>
                        <a:pt x="1188720" y="151476"/>
                      </a:cubicBezTo>
                      <a:cubicBezTo>
                        <a:pt x="1181967" y="154019"/>
                        <a:pt x="1176023" y="159201"/>
                        <a:pt x="1169499" y="161487"/>
                      </a:cubicBezTo>
                      <a:cubicBezTo>
                        <a:pt x="1164269" y="163325"/>
                        <a:pt x="1156173" y="163306"/>
                        <a:pt x="1150630" y="163840"/>
                      </a:cubicBezTo>
                      <a:cubicBezTo>
                        <a:pt x="1144276" y="164449"/>
                        <a:pt x="1133113" y="160877"/>
                        <a:pt x="1127332" y="163497"/>
                      </a:cubicBezTo>
                      <a:cubicBezTo>
                        <a:pt x="1121978" y="165916"/>
                        <a:pt x="1121026" y="173574"/>
                        <a:pt x="1116778" y="177194"/>
                      </a:cubicBezTo>
                      <a:cubicBezTo>
                        <a:pt x="1107253" y="185280"/>
                        <a:pt x="1087374" y="183718"/>
                        <a:pt x="1075773" y="183852"/>
                      </a:cubicBezTo>
                      <a:cubicBezTo>
                        <a:pt x="1067486" y="183947"/>
                        <a:pt x="1062104" y="182309"/>
                        <a:pt x="1054732" y="179003"/>
                      </a:cubicBezTo>
                      <a:cubicBezTo>
                        <a:pt x="1048465" y="176194"/>
                        <a:pt x="1046016" y="179289"/>
                        <a:pt x="1052494" y="181794"/>
                      </a:cubicBezTo>
                      <a:cubicBezTo>
                        <a:pt x="1047407" y="184499"/>
                        <a:pt x="1040911" y="183471"/>
                        <a:pt x="1035568" y="184366"/>
                      </a:cubicBezTo>
                      <a:cubicBezTo>
                        <a:pt x="1039873" y="189271"/>
                        <a:pt x="1046493" y="185490"/>
                        <a:pt x="1051884" y="184995"/>
                      </a:cubicBezTo>
                      <a:cubicBezTo>
                        <a:pt x="1058837" y="184366"/>
                        <a:pt x="1063057" y="188157"/>
                        <a:pt x="1069200" y="188443"/>
                      </a:cubicBezTo>
                      <a:cubicBezTo>
                        <a:pt x="1072896" y="188624"/>
                        <a:pt x="1078459" y="185319"/>
                        <a:pt x="1082174" y="187090"/>
                      </a:cubicBezTo>
                      <a:cubicBezTo>
                        <a:pt x="1087155" y="189471"/>
                        <a:pt x="1082859" y="189043"/>
                        <a:pt x="1083802" y="192462"/>
                      </a:cubicBezTo>
                      <a:cubicBezTo>
                        <a:pt x="1084393" y="194586"/>
                        <a:pt x="1080602" y="194929"/>
                        <a:pt x="1086555" y="196625"/>
                      </a:cubicBezTo>
                      <a:cubicBezTo>
                        <a:pt x="1091032" y="197901"/>
                        <a:pt x="1093813" y="194682"/>
                        <a:pt x="1097890" y="194463"/>
                      </a:cubicBezTo>
                      <a:cubicBezTo>
                        <a:pt x="1106510" y="194005"/>
                        <a:pt x="1104672" y="200273"/>
                        <a:pt x="1098375" y="204235"/>
                      </a:cubicBezTo>
                      <a:cubicBezTo>
                        <a:pt x="1091679" y="208445"/>
                        <a:pt x="1083193" y="209007"/>
                        <a:pt x="1075735" y="211322"/>
                      </a:cubicBezTo>
                      <a:cubicBezTo>
                        <a:pt x="1063466" y="215132"/>
                        <a:pt x="1045845" y="221399"/>
                        <a:pt x="1032929" y="218999"/>
                      </a:cubicBezTo>
                      <a:cubicBezTo>
                        <a:pt x="1033767" y="217218"/>
                        <a:pt x="1040416" y="213522"/>
                        <a:pt x="1040321" y="211912"/>
                      </a:cubicBezTo>
                      <a:cubicBezTo>
                        <a:pt x="1040063" y="207464"/>
                        <a:pt x="1032986" y="209217"/>
                        <a:pt x="1030796" y="209160"/>
                      </a:cubicBezTo>
                      <a:cubicBezTo>
                        <a:pt x="1024604" y="209007"/>
                        <a:pt x="1026290" y="207940"/>
                        <a:pt x="1022004" y="205397"/>
                      </a:cubicBezTo>
                      <a:cubicBezTo>
                        <a:pt x="1019480" y="203902"/>
                        <a:pt x="1016670" y="204502"/>
                        <a:pt x="1014251" y="201997"/>
                      </a:cubicBezTo>
                      <a:cubicBezTo>
                        <a:pt x="1021461" y="212674"/>
                        <a:pt x="1005031" y="210445"/>
                        <a:pt x="998887" y="210674"/>
                      </a:cubicBezTo>
                      <a:cubicBezTo>
                        <a:pt x="991010" y="210960"/>
                        <a:pt x="980123" y="214065"/>
                        <a:pt x="980361" y="203511"/>
                      </a:cubicBezTo>
                      <a:cubicBezTo>
                        <a:pt x="973427" y="212027"/>
                        <a:pt x="972826" y="213493"/>
                        <a:pt x="961930" y="214484"/>
                      </a:cubicBezTo>
                      <a:cubicBezTo>
                        <a:pt x="955577" y="215065"/>
                        <a:pt x="949785" y="215503"/>
                        <a:pt x="943632" y="213370"/>
                      </a:cubicBezTo>
                      <a:cubicBezTo>
                        <a:pt x="936308" y="210826"/>
                        <a:pt x="937565" y="205740"/>
                        <a:pt x="931364" y="208521"/>
                      </a:cubicBezTo>
                      <a:cubicBezTo>
                        <a:pt x="924820" y="211455"/>
                        <a:pt x="928002" y="212236"/>
                        <a:pt x="920877" y="211789"/>
                      </a:cubicBezTo>
                      <a:cubicBezTo>
                        <a:pt x="916867" y="211541"/>
                        <a:pt x="912743" y="211408"/>
                        <a:pt x="914962" y="206331"/>
                      </a:cubicBezTo>
                      <a:cubicBezTo>
                        <a:pt x="911028" y="211455"/>
                        <a:pt x="911466" y="211760"/>
                        <a:pt x="905742" y="212293"/>
                      </a:cubicBezTo>
                      <a:cubicBezTo>
                        <a:pt x="901675" y="212665"/>
                        <a:pt x="897265" y="211760"/>
                        <a:pt x="893112" y="212027"/>
                      </a:cubicBezTo>
                      <a:cubicBezTo>
                        <a:pt x="894950" y="207721"/>
                        <a:pt x="897179" y="204264"/>
                        <a:pt x="899865" y="200444"/>
                      </a:cubicBezTo>
                      <a:cubicBezTo>
                        <a:pt x="896845" y="202683"/>
                        <a:pt x="892569" y="210493"/>
                        <a:pt x="890026" y="211379"/>
                      </a:cubicBezTo>
                      <a:cubicBezTo>
                        <a:pt x="886578" y="212579"/>
                        <a:pt x="876338" y="210007"/>
                        <a:pt x="872347" y="209293"/>
                      </a:cubicBezTo>
                      <a:cubicBezTo>
                        <a:pt x="876386" y="204569"/>
                        <a:pt x="879491" y="200273"/>
                        <a:pt x="885035" y="197787"/>
                      </a:cubicBezTo>
                      <a:cubicBezTo>
                        <a:pt x="891331" y="194958"/>
                        <a:pt x="899589" y="192872"/>
                        <a:pt x="906294" y="190881"/>
                      </a:cubicBezTo>
                      <a:cubicBezTo>
                        <a:pt x="917658" y="187509"/>
                        <a:pt x="930364" y="189367"/>
                        <a:pt x="942032" y="187462"/>
                      </a:cubicBezTo>
                      <a:cubicBezTo>
                        <a:pt x="938984" y="182023"/>
                        <a:pt x="935346" y="184366"/>
                        <a:pt x="931802" y="180508"/>
                      </a:cubicBezTo>
                      <a:cubicBezTo>
                        <a:pt x="926678" y="174927"/>
                        <a:pt x="930783" y="169564"/>
                        <a:pt x="936136" y="167726"/>
                      </a:cubicBezTo>
                      <a:cubicBezTo>
                        <a:pt x="941622" y="165849"/>
                        <a:pt x="948804" y="164640"/>
                        <a:pt x="954605" y="165173"/>
                      </a:cubicBezTo>
                      <a:cubicBezTo>
                        <a:pt x="957196" y="165411"/>
                        <a:pt x="961549" y="166192"/>
                        <a:pt x="963806" y="167535"/>
                      </a:cubicBezTo>
                      <a:cubicBezTo>
                        <a:pt x="967902" y="169964"/>
                        <a:pt x="967131" y="172479"/>
                        <a:pt x="969807" y="175594"/>
                      </a:cubicBezTo>
                      <a:cubicBezTo>
                        <a:pt x="984676" y="192891"/>
                        <a:pt x="1027671" y="175851"/>
                        <a:pt x="1041064" y="162030"/>
                      </a:cubicBezTo>
                      <a:cubicBezTo>
                        <a:pt x="1030405" y="165516"/>
                        <a:pt x="1021452" y="173050"/>
                        <a:pt x="1010450" y="175774"/>
                      </a:cubicBezTo>
                      <a:cubicBezTo>
                        <a:pt x="1005049" y="177118"/>
                        <a:pt x="1001382" y="175755"/>
                        <a:pt x="996144" y="175774"/>
                      </a:cubicBezTo>
                      <a:cubicBezTo>
                        <a:pt x="990210" y="175784"/>
                        <a:pt x="985609" y="179137"/>
                        <a:pt x="979875" y="175670"/>
                      </a:cubicBezTo>
                      <a:cubicBezTo>
                        <a:pt x="981113" y="173955"/>
                        <a:pt x="983342" y="171860"/>
                        <a:pt x="984037" y="169888"/>
                      </a:cubicBezTo>
                      <a:cubicBezTo>
                        <a:pt x="984428" y="168783"/>
                        <a:pt x="983228" y="166183"/>
                        <a:pt x="983694" y="165392"/>
                      </a:cubicBezTo>
                      <a:cubicBezTo>
                        <a:pt x="985161" y="162906"/>
                        <a:pt x="988876" y="162144"/>
                        <a:pt x="992524" y="160906"/>
                      </a:cubicBezTo>
                      <a:cubicBezTo>
                        <a:pt x="999915" y="158401"/>
                        <a:pt x="1006373" y="154734"/>
                        <a:pt x="1014260" y="156229"/>
                      </a:cubicBezTo>
                      <a:cubicBezTo>
                        <a:pt x="1010479" y="153610"/>
                        <a:pt x="1007145" y="153991"/>
                        <a:pt x="1002668" y="154219"/>
                      </a:cubicBezTo>
                      <a:cubicBezTo>
                        <a:pt x="1005659" y="151200"/>
                        <a:pt x="1008659" y="148181"/>
                        <a:pt x="1011650" y="145152"/>
                      </a:cubicBezTo>
                      <a:cubicBezTo>
                        <a:pt x="999096" y="154124"/>
                        <a:pt x="989562" y="158125"/>
                        <a:pt x="974198" y="159211"/>
                      </a:cubicBezTo>
                      <a:cubicBezTo>
                        <a:pt x="978351" y="156705"/>
                        <a:pt x="982085" y="153943"/>
                        <a:pt x="985904" y="150971"/>
                      </a:cubicBezTo>
                      <a:cubicBezTo>
                        <a:pt x="977189" y="155200"/>
                        <a:pt x="960301" y="161411"/>
                        <a:pt x="951100" y="156210"/>
                      </a:cubicBezTo>
                      <a:cubicBezTo>
                        <a:pt x="956158" y="152133"/>
                        <a:pt x="958625" y="148333"/>
                        <a:pt x="964606" y="145456"/>
                      </a:cubicBezTo>
                      <a:cubicBezTo>
                        <a:pt x="969369" y="143161"/>
                        <a:pt x="974350" y="139141"/>
                        <a:pt x="979189" y="137379"/>
                      </a:cubicBezTo>
                      <a:cubicBezTo>
                        <a:pt x="988162" y="134103"/>
                        <a:pt x="1004516" y="133388"/>
                        <a:pt x="1014060" y="133207"/>
                      </a:cubicBezTo>
                      <a:cubicBezTo>
                        <a:pt x="1024957" y="132998"/>
                        <a:pt x="1036644" y="137494"/>
                        <a:pt x="1047226" y="136922"/>
                      </a:cubicBezTo>
                      <a:cubicBezTo>
                        <a:pt x="1056427" y="136427"/>
                        <a:pt x="1070553" y="136189"/>
                        <a:pt x="1078792" y="131045"/>
                      </a:cubicBezTo>
                      <a:cubicBezTo>
                        <a:pt x="1072553" y="130845"/>
                        <a:pt x="1066810" y="133493"/>
                        <a:pt x="1060514" y="133188"/>
                      </a:cubicBezTo>
                      <a:cubicBezTo>
                        <a:pt x="1053713" y="132855"/>
                        <a:pt x="1046912" y="132293"/>
                        <a:pt x="1040063" y="131998"/>
                      </a:cubicBezTo>
                      <a:cubicBezTo>
                        <a:pt x="1037835" y="131902"/>
                        <a:pt x="1026014" y="131969"/>
                        <a:pt x="1028824" y="127559"/>
                      </a:cubicBezTo>
                      <a:cubicBezTo>
                        <a:pt x="1031348" y="123597"/>
                        <a:pt x="1042749" y="128921"/>
                        <a:pt x="1046293" y="128588"/>
                      </a:cubicBezTo>
                      <a:cubicBezTo>
                        <a:pt x="1043892" y="126254"/>
                        <a:pt x="1040597" y="125082"/>
                        <a:pt x="1038158" y="122654"/>
                      </a:cubicBezTo>
                      <a:cubicBezTo>
                        <a:pt x="1035777" y="120282"/>
                        <a:pt x="1034539" y="116386"/>
                        <a:pt x="1032281" y="113757"/>
                      </a:cubicBezTo>
                      <a:cubicBezTo>
                        <a:pt x="1026690" y="107223"/>
                        <a:pt x="1019699" y="111481"/>
                        <a:pt x="1014127" y="106880"/>
                      </a:cubicBezTo>
                      <a:cubicBezTo>
                        <a:pt x="1008479" y="102222"/>
                        <a:pt x="1015670" y="92374"/>
                        <a:pt x="1020975" y="90154"/>
                      </a:cubicBezTo>
                      <a:cubicBezTo>
                        <a:pt x="1028300" y="87097"/>
                        <a:pt x="1037215" y="90021"/>
                        <a:pt x="1044978" y="90202"/>
                      </a:cubicBezTo>
                      <a:cubicBezTo>
                        <a:pt x="1061161" y="90592"/>
                        <a:pt x="1073439" y="90745"/>
                        <a:pt x="1086879" y="101003"/>
                      </a:cubicBezTo>
                      <a:cubicBezTo>
                        <a:pt x="1093089" y="105747"/>
                        <a:pt x="1095413" y="109147"/>
                        <a:pt x="1103671" y="110471"/>
                      </a:cubicBezTo>
                      <a:cubicBezTo>
                        <a:pt x="1110806" y="111614"/>
                        <a:pt x="1117435" y="111586"/>
                        <a:pt x="1124312" y="109176"/>
                      </a:cubicBezTo>
                      <a:cubicBezTo>
                        <a:pt x="1116759" y="108185"/>
                        <a:pt x="1110501" y="110147"/>
                        <a:pt x="1104014" y="105461"/>
                      </a:cubicBezTo>
                      <a:cubicBezTo>
                        <a:pt x="1099785" y="102403"/>
                        <a:pt x="1091117" y="97489"/>
                        <a:pt x="1088146" y="93317"/>
                      </a:cubicBezTo>
                      <a:cubicBezTo>
                        <a:pt x="1083021" y="86125"/>
                        <a:pt x="1091194" y="87392"/>
                        <a:pt x="1097594" y="86773"/>
                      </a:cubicBezTo>
                      <a:cubicBezTo>
                        <a:pt x="1106653" y="85897"/>
                        <a:pt x="1115787" y="85706"/>
                        <a:pt x="1124836" y="84792"/>
                      </a:cubicBezTo>
                      <a:cubicBezTo>
                        <a:pt x="1138790" y="83372"/>
                        <a:pt x="1151277" y="78924"/>
                        <a:pt x="1164908" y="76638"/>
                      </a:cubicBezTo>
                      <a:cubicBezTo>
                        <a:pt x="1179071" y="74267"/>
                        <a:pt x="1197064" y="75705"/>
                        <a:pt x="1210294" y="71114"/>
                      </a:cubicBezTo>
                      <a:cubicBezTo>
                        <a:pt x="1200207" y="69542"/>
                        <a:pt x="1187149" y="72924"/>
                        <a:pt x="1177824" y="68790"/>
                      </a:cubicBezTo>
                      <a:cubicBezTo>
                        <a:pt x="1188949" y="57531"/>
                        <a:pt x="1207789" y="59922"/>
                        <a:pt x="1221191" y="53712"/>
                      </a:cubicBezTo>
                      <a:cubicBezTo>
                        <a:pt x="1209199" y="55436"/>
                        <a:pt x="1197874" y="56988"/>
                        <a:pt x="1186377" y="60817"/>
                      </a:cubicBezTo>
                      <a:cubicBezTo>
                        <a:pt x="1181472" y="62446"/>
                        <a:pt x="1176661" y="62398"/>
                        <a:pt x="1171947" y="63789"/>
                      </a:cubicBezTo>
                      <a:cubicBezTo>
                        <a:pt x="1167374" y="65151"/>
                        <a:pt x="1164307" y="68952"/>
                        <a:pt x="1160088" y="70990"/>
                      </a:cubicBezTo>
                      <a:cubicBezTo>
                        <a:pt x="1150534" y="75591"/>
                        <a:pt x="1137923" y="77000"/>
                        <a:pt x="1127579" y="78429"/>
                      </a:cubicBezTo>
                      <a:cubicBezTo>
                        <a:pt x="1116882" y="79905"/>
                        <a:pt x="1104129" y="82668"/>
                        <a:pt x="1093441" y="80572"/>
                      </a:cubicBezTo>
                      <a:cubicBezTo>
                        <a:pt x="1098547" y="77581"/>
                        <a:pt x="1104634" y="77057"/>
                        <a:pt x="1109910" y="74438"/>
                      </a:cubicBezTo>
                      <a:cubicBezTo>
                        <a:pt x="1102614" y="74571"/>
                        <a:pt x="1094223" y="75143"/>
                        <a:pt x="1087050" y="76276"/>
                      </a:cubicBezTo>
                      <a:cubicBezTo>
                        <a:pt x="1080126" y="77372"/>
                        <a:pt x="1074010" y="80982"/>
                        <a:pt x="1067048" y="81915"/>
                      </a:cubicBezTo>
                      <a:cubicBezTo>
                        <a:pt x="1059504" y="82925"/>
                        <a:pt x="1052036" y="82172"/>
                        <a:pt x="1044635" y="81325"/>
                      </a:cubicBezTo>
                      <a:cubicBezTo>
                        <a:pt x="1038920" y="80667"/>
                        <a:pt x="1031281" y="82449"/>
                        <a:pt x="1026290" y="78915"/>
                      </a:cubicBezTo>
                      <a:cubicBezTo>
                        <a:pt x="1034510" y="71990"/>
                        <a:pt x="1049884" y="69456"/>
                        <a:pt x="1060285" y="67551"/>
                      </a:cubicBezTo>
                      <a:cubicBezTo>
                        <a:pt x="1066114" y="66485"/>
                        <a:pt x="1071953" y="65866"/>
                        <a:pt x="1077849" y="65427"/>
                      </a:cubicBezTo>
                      <a:cubicBezTo>
                        <a:pt x="1083698" y="64989"/>
                        <a:pt x="1094070" y="66399"/>
                        <a:pt x="1098918" y="62598"/>
                      </a:cubicBezTo>
                      <a:cubicBezTo>
                        <a:pt x="1083526" y="63551"/>
                        <a:pt x="1067800" y="63913"/>
                        <a:pt x="1052503" y="66018"/>
                      </a:cubicBezTo>
                      <a:cubicBezTo>
                        <a:pt x="1039178" y="67856"/>
                        <a:pt x="1027290" y="75314"/>
                        <a:pt x="1014146" y="77657"/>
                      </a:cubicBezTo>
                      <a:cubicBezTo>
                        <a:pt x="1010298" y="78343"/>
                        <a:pt x="983437" y="76133"/>
                        <a:pt x="984656" y="70209"/>
                      </a:cubicBezTo>
                      <a:cubicBezTo>
                        <a:pt x="985761" y="64865"/>
                        <a:pt x="1022747" y="67656"/>
                        <a:pt x="1027395" y="67323"/>
                      </a:cubicBezTo>
                      <a:cubicBezTo>
                        <a:pt x="1041892" y="66275"/>
                        <a:pt x="1058513" y="63589"/>
                        <a:pt x="1072077" y="58246"/>
                      </a:cubicBezTo>
                      <a:cubicBezTo>
                        <a:pt x="1056427" y="56369"/>
                        <a:pt x="1040482" y="63703"/>
                        <a:pt x="1024871" y="64713"/>
                      </a:cubicBezTo>
                      <a:cubicBezTo>
                        <a:pt x="1015327" y="65332"/>
                        <a:pt x="1005716" y="64856"/>
                        <a:pt x="996163" y="65380"/>
                      </a:cubicBezTo>
                      <a:cubicBezTo>
                        <a:pt x="990095" y="65723"/>
                        <a:pt x="981285" y="68828"/>
                        <a:pt x="976722" y="63332"/>
                      </a:cubicBezTo>
                      <a:cubicBezTo>
                        <a:pt x="981104" y="59417"/>
                        <a:pt x="988343" y="60522"/>
                        <a:pt x="993800" y="59379"/>
                      </a:cubicBezTo>
                      <a:cubicBezTo>
                        <a:pt x="991315" y="58750"/>
                        <a:pt x="988533" y="58522"/>
                        <a:pt x="987276" y="56902"/>
                      </a:cubicBezTo>
                      <a:cubicBezTo>
                        <a:pt x="994629" y="54474"/>
                        <a:pt x="1002364" y="52454"/>
                        <a:pt x="1010069" y="51530"/>
                      </a:cubicBezTo>
                      <a:cubicBezTo>
                        <a:pt x="1016098" y="50806"/>
                        <a:pt x="1024023" y="52321"/>
                        <a:pt x="1029605" y="50702"/>
                      </a:cubicBezTo>
                      <a:cubicBezTo>
                        <a:pt x="1020613" y="49587"/>
                        <a:pt x="1012174" y="49340"/>
                        <a:pt x="1003173" y="50502"/>
                      </a:cubicBezTo>
                      <a:cubicBezTo>
                        <a:pt x="994353" y="51654"/>
                        <a:pt x="981513" y="57122"/>
                        <a:pt x="972807" y="53731"/>
                      </a:cubicBezTo>
                      <a:cubicBezTo>
                        <a:pt x="978741" y="50445"/>
                        <a:pt x="986209" y="50549"/>
                        <a:pt x="992076" y="47263"/>
                      </a:cubicBezTo>
                      <a:cubicBezTo>
                        <a:pt x="986276" y="47330"/>
                        <a:pt x="980151" y="46415"/>
                        <a:pt x="974484" y="47025"/>
                      </a:cubicBezTo>
                      <a:cubicBezTo>
                        <a:pt x="968902" y="47616"/>
                        <a:pt x="963682" y="51197"/>
                        <a:pt x="958491" y="47235"/>
                      </a:cubicBezTo>
                      <a:cubicBezTo>
                        <a:pt x="966006" y="40881"/>
                        <a:pt x="981789" y="39729"/>
                        <a:pt x="991286" y="39176"/>
                      </a:cubicBezTo>
                      <a:cubicBezTo>
                        <a:pt x="1003659" y="38453"/>
                        <a:pt x="1014460" y="35462"/>
                        <a:pt x="1026624" y="33642"/>
                      </a:cubicBezTo>
                      <a:cubicBezTo>
                        <a:pt x="1032062" y="32833"/>
                        <a:pt x="1038539" y="31928"/>
                        <a:pt x="1043912" y="33557"/>
                      </a:cubicBezTo>
                      <a:cubicBezTo>
                        <a:pt x="1046093" y="34223"/>
                        <a:pt x="1048055" y="36871"/>
                        <a:pt x="1050303" y="37052"/>
                      </a:cubicBezTo>
                      <a:cubicBezTo>
                        <a:pt x="1051255" y="37129"/>
                        <a:pt x="1054456" y="34843"/>
                        <a:pt x="1055913" y="34624"/>
                      </a:cubicBezTo>
                      <a:cubicBezTo>
                        <a:pt x="1066581" y="33061"/>
                        <a:pt x="1075887" y="38510"/>
                        <a:pt x="1086441" y="35919"/>
                      </a:cubicBezTo>
                      <a:cubicBezTo>
                        <a:pt x="1079983" y="32080"/>
                        <a:pt x="1070801" y="31547"/>
                        <a:pt x="1063552" y="29851"/>
                      </a:cubicBezTo>
                      <a:cubicBezTo>
                        <a:pt x="1063590" y="29518"/>
                        <a:pt x="1063628" y="29194"/>
                        <a:pt x="1063666" y="28861"/>
                      </a:cubicBezTo>
                      <a:cubicBezTo>
                        <a:pt x="1076468" y="27442"/>
                        <a:pt x="1091032" y="20555"/>
                        <a:pt x="1103433" y="22574"/>
                      </a:cubicBezTo>
                      <a:cubicBezTo>
                        <a:pt x="1108653" y="23422"/>
                        <a:pt x="1116292" y="23698"/>
                        <a:pt x="1120883" y="26146"/>
                      </a:cubicBezTo>
                      <a:cubicBezTo>
                        <a:pt x="1126036" y="28899"/>
                        <a:pt x="1130408" y="36776"/>
                        <a:pt x="1137533" y="32833"/>
                      </a:cubicBezTo>
                      <a:cubicBezTo>
                        <a:pt x="1135171" y="32328"/>
                        <a:pt x="1133923" y="30852"/>
                        <a:pt x="1132351" y="29556"/>
                      </a:cubicBezTo>
                      <a:cubicBezTo>
                        <a:pt x="1138038" y="24965"/>
                        <a:pt x="1149772" y="31480"/>
                        <a:pt x="1156002" y="32985"/>
                      </a:cubicBezTo>
                      <a:cubicBezTo>
                        <a:pt x="1161221" y="34243"/>
                        <a:pt x="1166651" y="34900"/>
                        <a:pt x="1171832" y="36167"/>
                      </a:cubicBezTo>
                      <a:cubicBezTo>
                        <a:pt x="1175985" y="37186"/>
                        <a:pt x="1180262" y="40043"/>
                        <a:pt x="1184386" y="40329"/>
                      </a:cubicBezTo>
                      <a:cubicBezTo>
                        <a:pt x="1178319" y="31556"/>
                        <a:pt x="1160669" y="31833"/>
                        <a:pt x="1151354" y="28337"/>
                      </a:cubicBezTo>
                      <a:cubicBezTo>
                        <a:pt x="1147839" y="27013"/>
                        <a:pt x="1140952" y="25241"/>
                        <a:pt x="1143876" y="21984"/>
                      </a:cubicBezTo>
                      <a:cubicBezTo>
                        <a:pt x="1146391" y="19193"/>
                        <a:pt x="1155182" y="20317"/>
                        <a:pt x="1158592" y="19403"/>
                      </a:cubicBezTo>
                      <a:cubicBezTo>
                        <a:pt x="1156459" y="18831"/>
                        <a:pt x="1154449" y="17955"/>
                        <a:pt x="1152592" y="16783"/>
                      </a:cubicBezTo>
                      <a:cubicBezTo>
                        <a:pt x="1159516" y="12059"/>
                        <a:pt x="1168270" y="19069"/>
                        <a:pt x="1175595" y="17269"/>
                      </a:cubicBezTo>
                      <a:cubicBezTo>
                        <a:pt x="1165098" y="9116"/>
                        <a:pt x="1184386" y="12154"/>
                        <a:pt x="1187872" y="12745"/>
                      </a:cubicBezTo>
                      <a:cubicBezTo>
                        <a:pt x="1196426" y="14183"/>
                        <a:pt x="1205532" y="14897"/>
                        <a:pt x="1214238" y="14345"/>
                      </a:cubicBezTo>
                      <a:cubicBezTo>
                        <a:pt x="1207580" y="11573"/>
                        <a:pt x="1200483" y="11764"/>
                        <a:pt x="1194207" y="7573"/>
                      </a:cubicBezTo>
                      <a:cubicBezTo>
                        <a:pt x="1199179" y="4620"/>
                        <a:pt x="1208284" y="6096"/>
                        <a:pt x="1214171" y="6610"/>
                      </a:cubicBezTo>
                      <a:cubicBezTo>
                        <a:pt x="1222000" y="7296"/>
                        <a:pt x="1230268" y="6258"/>
                        <a:pt x="1237964" y="7468"/>
                      </a:cubicBezTo>
                      <a:cubicBezTo>
                        <a:pt x="1244079" y="8430"/>
                        <a:pt x="1250747" y="11659"/>
                        <a:pt x="1255871" y="15021"/>
                      </a:cubicBezTo>
                      <a:cubicBezTo>
                        <a:pt x="1258005" y="16421"/>
                        <a:pt x="1256976" y="18155"/>
                        <a:pt x="1259891" y="18879"/>
                      </a:cubicBezTo>
                      <a:cubicBezTo>
                        <a:pt x="1262063" y="19412"/>
                        <a:pt x="1267149" y="17259"/>
                        <a:pt x="1269302" y="16564"/>
                      </a:cubicBezTo>
                      <a:cubicBezTo>
                        <a:pt x="1264549" y="11335"/>
                        <a:pt x="1253462" y="10763"/>
                        <a:pt x="1249994" y="3963"/>
                      </a:cubicBezTo>
                      <a:cubicBezTo>
                        <a:pt x="1263634" y="3296"/>
                        <a:pt x="1276826" y="2829"/>
                        <a:pt x="1290457" y="3467"/>
                      </a:cubicBezTo>
                      <a:cubicBezTo>
                        <a:pt x="1302610" y="4039"/>
                        <a:pt x="1310954" y="11059"/>
                        <a:pt x="1323213" y="13002"/>
                      </a:cubicBezTo>
                      <a:cubicBezTo>
                        <a:pt x="1320156" y="10744"/>
                        <a:pt x="1312212" y="9573"/>
                        <a:pt x="1314155" y="5696"/>
                      </a:cubicBezTo>
                      <a:cubicBezTo>
                        <a:pt x="1315517" y="2972"/>
                        <a:pt x="1325280" y="2029"/>
                        <a:pt x="1327642" y="1677"/>
                      </a:cubicBezTo>
                      <a:cubicBezTo>
                        <a:pt x="1331919" y="1038"/>
                        <a:pt x="1338358" y="38"/>
                        <a:pt x="1342654" y="1038"/>
                      </a:cubicBezTo>
                      <a:cubicBezTo>
                        <a:pt x="1347902" y="2267"/>
                        <a:pt x="1351969" y="7249"/>
                        <a:pt x="1357513" y="7030"/>
                      </a:cubicBezTo>
                      <a:cubicBezTo>
                        <a:pt x="1355455" y="5820"/>
                        <a:pt x="1353255" y="4848"/>
                        <a:pt x="1350959" y="4191"/>
                      </a:cubicBezTo>
                      <a:cubicBezTo>
                        <a:pt x="1358160" y="-1267"/>
                        <a:pt x="1377563" y="-1381"/>
                        <a:pt x="1385088" y="3772"/>
                      </a:cubicBezTo>
                      <a:lnTo>
                        <a:pt x="1385088" y="3772"/>
                      </a:lnTo>
                      <a:close/>
                      <a:moveTo>
                        <a:pt x="942318" y="63113"/>
                      </a:moveTo>
                      <a:cubicBezTo>
                        <a:pt x="942737" y="69209"/>
                        <a:pt x="955196" y="76905"/>
                        <a:pt x="951643" y="80105"/>
                      </a:cubicBezTo>
                      <a:cubicBezTo>
                        <a:pt x="955310" y="81334"/>
                        <a:pt x="960730" y="82944"/>
                        <a:pt x="964559" y="83030"/>
                      </a:cubicBezTo>
                      <a:cubicBezTo>
                        <a:pt x="967378" y="83087"/>
                        <a:pt x="974350" y="79477"/>
                        <a:pt x="975913" y="83687"/>
                      </a:cubicBezTo>
                      <a:cubicBezTo>
                        <a:pt x="976636" y="85620"/>
                        <a:pt x="969998" y="88268"/>
                        <a:pt x="970245" y="90097"/>
                      </a:cubicBezTo>
                      <a:cubicBezTo>
                        <a:pt x="970760" y="93917"/>
                        <a:pt x="979903" y="95879"/>
                        <a:pt x="983018" y="94593"/>
                      </a:cubicBezTo>
                      <a:cubicBezTo>
                        <a:pt x="989114" y="92069"/>
                        <a:pt x="980732" y="93440"/>
                        <a:pt x="980723" y="90764"/>
                      </a:cubicBezTo>
                      <a:cubicBezTo>
                        <a:pt x="980704" y="86640"/>
                        <a:pt x="985723" y="85735"/>
                        <a:pt x="988762" y="85316"/>
                      </a:cubicBezTo>
                      <a:cubicBezTo>
                        <a:pt x="992229" y="84849"/>
                        <a:pt x="1000287" y="85058"/>
                        <a:pt x="1000315" y="88564"/>
                      </a:cubicBezTo>
                      <a:cubicBezTo>
                        <a:pt x="1000354" y="93345"/>
                        <a:pt x="992391" y="94021"/>
                        <a:pt x="989667" y="95726"/>
                      </a:cubicBezTo>
                      <a:cubicBezTo>
                        <a:pt x="993905" y="96317"/>
                        <a:pt x="1001868" y="95679"/>
                        <a:pt x="1002240" y="100422"/>
                      </a:cubicBezTo>
                      <a:cubicBezTo>
                        <a:pt x="1002573" y="104708"/>
                        <a:pt x="992600" y="110119"/>
                        <a:pt x="989019" y="112033"/>
                      </a:cubicBezTo>
                      <a:cubicBezTo>
                        <a:pt x="993391" y="112567"/>
                        <a:pt x="1013346" y="105594"/>
                        <a:pt x="1010641" y="115205"/>
                      </a:cubicBezTo>
                      <a:cubicBezTo>
                        <a:pt x="1012822" y="114595"/>
                        <a:pt x="1017784" y="110204"/>
                        <a:pt x="1020156" y="110985"/>
                      </a:cubicBezTo>
                      <a:cubicBezTo>
                        <a:pt x="1023109" y="111957"/>
                        <a:pt x="1024642" y="119806"/>
                        <a:pt x="1023166" y="121758"/>
                      </a:cubicBezTo>
                      <a:cubicBezTo>
                        <a:pt x="1018937" y="127340"/>
                        <a:pt x="997953" y="127721"/>
                        <a:pt x="990933" y="129483"/>
                      </a:cubicBezTo>
                      <a:cubicBezTo>
                        <a:pt x="986485" y="130597"/>
                        <a:pt x="982875" y="131302"/>
                        <a:pt x="978941" y="132883"/>
                      </a:cubicBezTo>
                      <a:cubicBezTo>
                        <a:pt x="974560" y="134636"/>
                        <a:pt x="970217" y="137732"/>
                        <a:pt x="965587" y="139037"/>
                      </a:cubicBezTo>
                      <a:cubicBezTo>
                        <a:pt x="951776" y="142942"/>
                        <a:pt x="961415" y="132988"/>
                        <a:pt x="966397" y="128883"/>
                      </a:cubicBezTo>
                      <a:cubicBezTo>
                        <a:pt x="957786" y="130931"/>
                        <a:pt x="955710" y="136951"/>
                        <a:pt x="949595" y="141237"/>
                      </a:cubicBezTo>
                      <a:cubicBezTo>
                        <a:pt x="955310" y="141799"/>
                        <a:pt x="951738" y="146018"/>
                        <a:pt x="948147" y="146504"/>
                      </a:cubicBezTo>
                      <a:cubicBezTo>
                        <a:pt x="943890" y="147085"/>
                        <a:pt x="942346" y="140951"/>
                        <a:pt x="938260" y="143409"/>
                      </a:cubicBezTo>
                      <a:cubicBezTo>
                        <a:pt x="937365" y="143951"/>
                        <a:pt x="937393" y="147809"/>
                        <a:pt x="936565" y="148904"/>
                      </a:cubicBezTo>
                      <a:cubicBezTo>
                        <a:pt x="935193" y="150714"/>
                        <a:pt x="932307" y="153219"/>
                        <a:pt x="930240" y="154191"/>
                      </a:cubicBezTo>
                      <a:cubicBezTo>
                        <a:pt x="924306" y="156982"/>
                        <a:pt x="923268" y="155848"/>
                        <a:pt x="919610" y="150543"/>
                      </a:cubicBezTo>
                      <a:cubicBezTo>
                        <a:pt x="918420" y="148800"/>
                        <a:pt x="914629" y="139237"/>
                        <a:pt x="912228" y="144513"/>
                      </a:cubicBezTo>
                      <a:cubicBezTo>
                        <a:pt x="910990" y="147228"/>
                        <a:pt x="917153" y="153524"/>
                        <a:pt x="914324" y="156153"/>
                      </a:cubicBezTo>
                      <a:cubicBezTo>
                        <a:pt x="912409" y="157925"/>
                        <a:pt x="908923" y="153905"/>
                        <a:pt x="907161" y="153095"/>
                      </a:cubicBezTo>
                      <a:cubicBezTo>
                        <a:pt x="903522" y="151429"/>
                        <a:pt x="899608" y="150829"/>
                        <a:pt x="895464" y="152124"/>
                      </a:cubicBezTo>
                      <a:cubicBezTo>
                        <a:pt x="902884" y="154315"/>
                        <a:pt x="896055" y="156886"/>
                        <a:pt x="892331" y="157096"/>
                      </a:cubicBezTo>
                      <a:cubicBezTo>
                        <a:pt x="885758" y="157477"/>
                        <a:pt x="878300" y="156267"/>
                        <a:pt x="871938" y="154705"/>
                      </a:cubicBezTo>
                      <a:cubicBezTo>
                        <a:pt x="869433" y="154096"/>
                        <a:pt x="856860" y="151095"/>
                        <a:pt x="857679" y="147323"/>
                      </a:cubicBezTo>
                      <a:cubicBezTo>
                        <a:pt x="858117" y="145323"/>
                        <a:pt x="876433" y="144866"/>
                        <a:pt x="878272" y="144723"/>
                      </a:cubicBezTo>
                      <a:cubicBezTo>
                        <a:pt x="871223" y="141856"/>
                        <a:pt x="861536" y="145361"/>
                        <a:pt x="854888" y="142770"/>
                      </a:cubicBezTo>
                      <a:cubicBezTo>
                        <a:pt x="844477" y="138713"/>
                        <a:pt x="854907" y="137941"/>
                        <a:pt x="859708" y="137389"/>
                      </a:cubicBezTo>
                      <a:cubicBezTo>
                        <a:pt x="856983" y="136198"/>
                        <a:pt x="843182" y="134807"/>
                        <a:pt x="846411" y="130512"/>
                      </a:cubicBezTo>
                      <a:cubicBezTo>
                        <a:pt x="849278" y="126702"/>
                        <a:pt x="865051" y="126083"/>
                        <a:pt x="869785" y="125559"/>
                      </a:cubicBezTo>
                      <a:cubicBezTo>
                        <a:pt x="876595" y="124797"/>
                        <a:pt x="881691" y="122206"/>
                        <a:pt x="888197" y="121072"/>
                      </a:cubicBezTo>
                      <a:cubicBezTo>
                        <a:pt x="895217" y="119844"/>
                        <a:pt x="902475" y="120329"/>
                        <a:pt x="909428" y="118577"/>
                      </a:cubicBezTo>
                      <a:cubicBezTo>
                        <a:pt x="904742" y="118739"/>
                        <a:pt x="899027" y="119501"/>
                        <a:pt x="894388" y="118624"/>
                      </a:cubicBezTo>
                      <a:cubicBezTo>
                        <a:pt x="889826" y="117767"/>
                        <a:pt x="886901" y="115900"/>
                        <a:pt x="881844" y="116310"/>
                      </a:cubicBezTo>
                      <a:cubicBezTo>
                        <a:pt x="873643" y="116967"/>
                        <a:pt x="863641" y="122501"/>
                        <a:pt x="855545" y="120777"/>
                      </a:cubicBezTo>
                      <a:cubicBezTo>
                        <a:pt x="857050" y="119987"/>
                        <a:pt x="858469" y="118615"/>
                        <a:pt x="860517" y="118167"/>
                      </a:cubicBezTo>
                      <a:cubicBezTo>
                        <a:pt x="849049" y="115119"/>
                        <a:pt x="838352" y="124654"/>
                        <a:pt x="827913" y="117148"/>
                      </a:cubicBezTo>
                      <a:cubicBezTo>
                        <a:pt x="836152" y="108385"/>
                        <a:pt x="851411" y="114138"/>
                        <a:pt x="860851" y="107128"/>
                      </a:cubicBezTo>
                      <a:cubicBezTo>
                        <a:pt x="852526" y="107671"/>
                        <a:pt x="843248" y="111519"/>
                        <a:pt x="834876" y="109585"/>
                      </a:cubicBezTo>
                      <a:cubicBezTo>
                        <a:pt x="831904" y="108899"/>
                        <a:pt x="827132" y="107214"/>
                        <a:pt x="825884" y="103985"/>
                      </a:cubicBezTo>
                      <a:cubicBezTo>
                        <a:pt x="824541" y="100527"/>
                        <a:pt x="827389" y="98460"/>
                        <a:pt x="827303" y="94545"/>
                      </a:cubicBezTo>
                      <a:cubicBezTo>
                        <a:pt x="837419" y="95888"/>
                        <a:pt x="847258" y="97108"/>
                        <a:pt x="857469" y="97212"/>
                      </a:cubicBezTo>
                      <a:cubicBezTo>
                        <a:pt x="864289" y="97279"/>
                        <a:pt x="868547" y="94869"/>
                        <a:pt x="875128" y="92678"/>
                      </a:cubicBezTo>
                      <a:cubicBezTo>
                        <a:pt x="863422" y="91888"/>
                        <a:pt x="854393" y="94879"/>
                        <a:pt x="844353" y="91964"/>
                      </a:cubicBezTo>
                      <a:cubicBezTo>
                        <a:pt x="829951" y="87773"/>
                        <a:pt x="851564" y="87535"/>
                        <a:pt x="855859" y="87268"/>
                      </a:cubicBezTo>
                      <a:cubicBezTo>
                        <a:pt x="853211" y="84392"/>
                        <a:pt x="849706" y="83372"/>
                        <a:pt x="850944" y="79953"/>
                      </a:cubicBezTo>
                      <a:cubicBezTo>
                        <a:pt x="852735" y="75029"/>
                        <a:pt x="859860" y="76267"/>
                        <a:pt x="863594" y="76514"/>
                      </a:cubicBezTo>
                      <a:cubicBezTo>
                        <a:pt x="869280" y="76895"/>
                        <a:pt x="871157" y="79591"/>
                        <a:pt x="874652" y="80810"/>
                      </a:cubicBezTo>
                      <a:cubicBezTo>
                        <a:pt x="879053" y="82344"/>
                        <a:pt x="886073" y="81220"/>
                        <a:pt x="890568" y="81210"/>
                      </a:cubicBezTo>
                      <a:cubicBezTo>
                        <a:pt x="887425" y="79229"/>
                        <a:pt x="882891" y="79172"/>
                        <a:pt x="880234" y="77772"/>
                      </a:cubicBezTo>
                      <a:cubicBezTo>
                        <a:pt x="879119" y="77181"/>
                        <a:pt x="878034" y="75067"/>
                        <a:pt x="875710" y="73952"/>
                      </a:cubicBezTo>
                      <a:cubicBezTo>
                        <a:pt x="873690" y="72981"/>
                        <a:pt x="870861" y="72733"/>
                        <a:pt x="868699" y="72419"/>
                      </a:cubicBezTo>
                      <a:cubicBezTo>
                        <a:pt x="878129" y="64942"/>
                        <a:pt x="887035" y="67123"/>
                        <a:pt x="898008" y="65513"/>
                      </a:cubicBezTo>
                      <a:cubicBezTo>
                        <a:pt x="901132" y="65056"/>
                        <a:pt x="922382" y="65237"/>
                        <a:pt x="916143" y="60722"/>
                      </a:cubicBezTo>
                      <a:cubicBezTo>
                        <a:pt x="914781" y="59731"/>
                        <a:pt x="903446" y="62046"/>
                        <a:pt x="903199" y="59341"/>
                      </a:cubicBezTo>
                      <a:cubicBezTo>
                        <a:pt x="902865" y="55750"/>
                        <a:pt x="909457" y="56426"/>
                        <a:pt x="911238" y="56293"/>
                      </a:cubicBezTo>
                      <a:cubicBezTo>
                        <a:pt x="919077" y="55702"/>
                        <a:pt x="938432" y="54293"/>
                        <a:pt x="942318" y="63113"/>
                      </a:cubicBezTo>
                      <a:lnTo>
                        <a:pt x="942318" y="63113"/>
                      </a:lnTo>
                      <a:close/>
                      <a:moveTo>
                        <a:pt x="681628" y="120358"/>
                      </a:moveTo>
                      <a:cubicBezTo>
                        <a:pt x="688962" y="120672"/>
                        <a:pt x="693230" y="128350"/>
                        <a:pt x="685010" y="131264"/>
                      </a:cubicBezTo>
                      <a:cubicBezTo>
                        <a:pt x="685610" y="131540"/>
                        <a:pt x="686210" y="131817"/>
                        <a:pt x="686810" y="132093"/>
                      </a:cubicBezTo>
                      <a:cubicBezTo>
                        <a:pt x="686429" y="132598"/>
                        <a:pt x="685543" y="133407"/>
                        <a:pt x="685419" y="134103"/>
                      </a:cubicBezTo>
                      <a:cubicBezTo>
                        <a:pt x="692277" y="132607"/>
                        <a:pt x="697211" y="126683"/>
                        <a:pt x="705107" y="127588"/>
                      </a:cubicBezTo>
                      <a:cubicBezTo>
                        <a:pt x="706231" y="127711"/>
                        <a:pt x="715070" y="130836"/>
                        <a:pt x="715232" y="131331"/>
                      </a:cubicBezTo>
                      <a:cubicBezTo>
                        <a:pt x="716052" y="133798"/>
                        <a:pt x="712213" y="134455"/>
                        <a:pt x="710489" y="136551"/>
                      </a:cubicBezTo>
                      <a:cubicBezTo>
                        <a:pt x="715147" y="137732"/>
                        <a:pt x="720090" y="135055"/>
                        <a:pt x="724452" y="136179"/>
                      </a:cubicBezTo>
                      <a:cubicBezTo>
                        <a:pt x="729358" y="137455"/>
                        <a:pt x="729358" y="141561"/>
                        <a:pt x="733187" y="143437"/>
                      </a:cubicBezTo>
                      <a:cubicBezTo>
                        <a:pt x="729748" y="147457"/>
                        <a:pt x="725043" y="146895"/>
                        <a:pt x="722986" y="152257"/>
                      </a:cubicBezTo>
                      <a:cubicBezTo>
                        <a:pt x="733997" y="153676"/>
                        <a:pt x="729215" y="163630"/>
                        <a:pt x="722195" y="166297"/>
                      </a:cubicBezTo>
                      <a:cubicBezTo>
                        <a:pt x="716671" y="168383"/>
                        <a:pt x="698964" y="170402"/>
                        <a:pt x="695497" y="164287"/>
                      </a:cubicBezTo>
                      <a:cubicBezTo>
                        <a:pt x="693830" y="161335"/>
                        <a:pt x="697506" y="160315"/>
                        <a:pt x="695316" y="157191"/>
                      </a:cubicBezTo>
                      <a:cubicBezTo>
                        <a:pt x="693868" y="155124"/>
                        <a:pt x="686267" y="154096"/>
                        <a:pt x="682981" y="153581"/>
                      </a:cubicBezTo>
                      <a:cubicBezTo>
                        <a:pt x="680028" y="153115"/>
                        <a:pt x="659587" y="155077"/>
                        <a:pt x="668427" y="150105"/>
                      </a:cubicBezTo>
                      <a:cubicBezTo>
                        <a:pt x="662673" y="150590"/>
                        <a:pt x="630536" y="158201"/>
                        <a:pt x="628641" y="149152"/>
                      </a:cubicBezTo>
                      <a:cubicBezTo>
                        <a:pt x="626716" y="139960"/>
                        <a:pt x="655149" y="146733"/>
                        <a:pt x="660416" y="143085"/>
                      </a:cubicBezTo>
                      <a:cubicBezTo>
                        <a:pt x="657816" y="141494"/>
                        <a:pt x="654510" y="141942"/>
                        <a:pt x="651415" y="141789"/>
                      </a:cubicBezTo>
                      <a:cubicBezTo>
                        <a:pt x="656254" y="139951"/>
                        <a:pt x="661540" y="140332"/>
                        <a:pt x="666483" y="138598"/>
                      </a:cubicBezTo>
                      <a:cubicBezTo>
                        <a:pt x="662788" y="136122"/>
                        <a:pt x="656901" y="138313"/>
                        <a:pt x="652434" y="137179"/>
                      </a:cubicBezTo>
                      <a:cubicBezTo>
                        <a:pt x="655139" y="135255"/>
                        <a:pt x="659187" y="134674"/>
                        <a:pt x="661883" y="132855"/>
                      </a:cubicBezTo>
                      <a:cubicBezTo>
                        <a:pt x="656111" y="125549"/>
                        <a:pt x="645662" y="138808"/>
                        <a:pt x="639013" y="135674"/>
                      </a:cubicBezTo>
                      <a:cubicBezTo>
                        <a:pt x="642080" y="133398"/>
                        <a:pt x="646195" y="132283"/>
                        <a:pt x="648814" y="129435"/>
                      </a:cubicBezTo>
                      <a:cubicBezTo>
                        <a:pt x="644290" y="127845"/>
                        <a:pt x="638966" y="129359"/>
                        <a:pt x="634175" y="129264"/>
                      </a:cubicBezTo>
                      <a:cubicBezTo>
                        <a:pt x="637632" y="121625"/>
                        <a:pt x="645052" y="120329"/>
                        <a:pt x="652434" y="120387"/>
                      </a:cubicBezTo>
                      <a:cubicBezTo>
                        <a:pt x="661521" y="120482"/>
                        <a:pt x="672951" y="116986"/>
                        <a:pt x="681628" y="120358"/>
                      </a:cubicBezTo>
                      <a:lnTo>
                        <a:pt x="681628" y="120358"/>
                      </a:lnTo>
                      <a:close/>
                      <a:moveTo>
                        <a:pt x="796090" y="145066"/>
                      </a:moveTo>
                      <a:cubicBezTo>
                        <a:pt x="801053" y="146685"/>
                        <a:pt x="811463" y="143256"/>
                        <a:pt x="815226" y="148085"/>
                      </a:cubicBezTo>
                      <a:cubicBezTo>
                        <a:pt x="818940" y="152848"/>
                        <a:pt x="808339" y="152533"/>
                        <a:pt x="804758" y="154715"/>
                      </a:cubicBezTo>
                      <a:cubicBezTo>
                        <a:pt x="812311" y="156334"/>
                        <a:pt x="807749" y="160515"/>
                        <a:pt x="803405" y="162039"/>
                      </a:cubicBezTo>
                      <a:cubicBezTo>
                        <a:pt x="798633" y="163716"/>
                        <a:pt x="791928" y="164011"/>
                        <a:pt x="786822" y="164773"/>
                      </a:cubicBezTo>
                      <a:cubicBezTo>
                        <a:pt x="781212" y="165611"/>
                        <a:pt x="775583" y="165926"/>
                        <a:pt x="769992" y="166745"/>
                      </a:cubicBezTo>
                      <a:cubicBezTo>
                        <a:pt x="767191" y="167145"/>
                        <a:pt x="757961" y="168640"/>
                        <a:pt x="764438" y="164706"/>
                      </a:cubicBezTo>
                      <a:cubicBezTo>
                        <a:pt x="761876" y="163211"/>
                        <a:pt x="754885" y="161916"/>
                        <a:pt x="757942" y="158925"/>
                      </a:cubicBezTo>
                      <a:cubicBezTo>
                        <a:pt x="759847" y="157058"/>
                        <a:pt x="768982" y="158668"/>
                        <a:pt x="772211" y="157039"/>
                      </a:cubicBezTo>
                      <a:cubicBezTo>
                        <a:pt x="767286" y="156134"/>
                        <a:pt x="762772" y="155058"/>
                        <a:pt x="757685" y="154553"/>
                      </a:cubicBezTo>
                      <a:cubicBezTo>
                        <a:pt x="756895" y="153105"/>
                        <a:pt x="754104" y="147419"/>
                        <a:pt x="755523" y="145818"/>
                      </a:cubicBezTo>
                      <a:cubicBezTo>
                        <a:pt x="757104" y="144056"/>
                        <a:pt x="760514" y="145142"/>
                        <a:pt x="761838" y="143342"/>
                      </a:cubicBezTo>
                      <a:cubicBezTo>
                        <a:pt x="764038" y="140341"/>
                        <a:pt x="759752" y="139684"/>
                        <a:pt x="763867" y="136970"/>
                      </a:cubicBezTo>
                      <a:cubicBezTo>
                        <a:pt x="769039" y="133541"/>
                        <a:pt x="798471" y="138789"/>
                        <a:pt x="796090" y="145066"/>
                      </a:cubicBezTo>
                      <a:lnTo>
                        <a:pt x="796090" y="145066"/>
                      </a:lnTo>
                      <a:close/>
                      <a:moveTo>
                        <a:pt x="790708" y="168355"/>
                      </a:moveTo>
                      <a:cubicBezTo>
                        <a:pt x="800081" y="172765"/>
                        <a:pt x="815702" y="167640"/>
                        <a:pt x="825980" y="169040"/>
                      </a:cubicBezTo>
                      <a:cubicBezTo>
                        <a:pt x="840858" y="171069"/>
                        <a:pt x="819760" y="178918"/>
                        <a:pt x="813568" y="179051"/>
                      </a:cubicBezTo>
                      <a:cubicBezTo>
                        <a:pt x="808073" y="179175"/>
                        <a:pt x="802434" y="178365"/>
                        <a:pt x="796900" y="178289"/>
                      </a:cubicBezTo>
                      <a:cubicBezTo>
                        <a:pt x="792137" y="178232"/>
                        <a:pt x="777192" y="180737"/>
                        <a:pt x="773478" y="178032"/>
                      </a:cubicBezTo>
                      <a:cubicBezTo>
                        <a:pt x="764257" y="171317"/>
                        <a:pt x="786746" y="168450"/>
                        <a:pt x="790708" y="168355"/>
                      </a:cubicBezTo>
                      <a:lnTo>
                        <a:pt x="790708" y="168355"/>
                      </a:lnTo>
                      <a:close/>
                      <a:moveTo>
                        <a:pt x="791156" y="196053"/>
                      </a:moveTo>
                      <a:cubicBezTo>
                        <a:pt x="794652" y="196558"/>
                        <a:pt x="808168" y="195196"/>
                        <a:pt x="807958" y="201397"/>
                      </a:cubicBezTo>
                      <a:cubicBezTo>
                        <a:pt x="807825" y="205254"/>
                        <a:pt x="796871" y="208779"/>
                        <a:pt x="794214" y="210693"/>
                      </a:cubicBezTo>
                      <a:cubicBezTo>
                        <a:pt x="808996" y="206702"/>
                        <a:pt x="826189" y="201435"/>
                        <a:pt x="842048" y="203330"/>
                      </a:cubicBezTo>
                      <a:cubicBezTo>
                        <a:pt x="846277" y="203835"/>
                        <a:pt x="858574" y="207093"/>
                        <a:pt x="850125" y="210017"/>
                      </a:cubicBezTo>
                      <a:cubicBezTo>
                        <a:pt x="845610" y="211588"/>
                        <a:pt x="838829" y="206140"/>
                        <a:pt x="835609" y="210436"/>
                      </a:cubicBezTo>
                      <a:cubicBezTo>
                        <a:pt x="841858" y="211503"/>
                        <a:pt x="848354" y="211369"/>
                        <a:pt x="854697" y="212370"/>
                      </a:cubicBezTo>
                      <a:cubicBezTo>
                        <a:pt x="858088" y="212903"/>
                        <a:pt x="874557" y="213455"/>
                        <a:pt x="872757" y="217265"/>
                      </a:cubicBezTo>
                      <a:cubicBezTo>
                        <a:pt x="871042" y="220866"/>
                        <a:pt x="853164" y="219847"/>
                        <a:pt x="850306" y="219809"/>
                      </a:cubicBezTo>
                      <a:cubicBezTo>
                        <a:pt x="843753" y="219704"/>
                        <a:pt x="836419" y="216875"/>
                        <a:pt x="830018" y="217875"/>
                      </a:cubicBezTo>
                      <a:cubicBezTo>
                        <a:pt x="831209" y="220380"/>
                        <a:pt x="838972" y="221933"/>
                        <a:pt x="842020" y="222571"/>
                      </a:cubicBezTo>
                      <a:cubicBezTo>
                        <a:pt x="848116" y="223847"/>
                        <a:pt x="849592" y="224181"/>
                        <a:pt x="854412" y="227162"/>
                      </a:cubicBezTo>
                      <a:cubicBezTo>
                        <a:pt x="855088" y="227581"/>
                        <a:pt x="854116" y="229095"/>
                        <a:pt x="855288" y="229705"/>
                      </a:cubicBezTo>
                      <a:cubicBezTo>
                        <a:pt x="856269" y="230210"/>
                        <a:pt x="857764" y="228543"/>
                        <a:pt x="858707" y="229553"/>
                      </a:cubicBezTo>
                      <a:cubicBezTo>
                        <a:pt x="859879" y="230800"/>
                        <a:pt x="862089" y="230839"/>
                        <a:pt x="861765" y="232677"/>
                      </a:cubicBezTo>
                      <a:cubicBezTo>
                        <a:pt x="861231" y="235696"/>
                        <a:pt x="850611" y="237468"/>
                        <a:pt x="848706" y="238506"/>
                      </a:cubicBezTo>
                      <a:cubicBezTo>
                        <a:pt x="855802" y="238125"/>
                        <a:pt x="858707" y="242497"/>
                        <a:pt x="864060" y="239897"/>
                      </a:cubicBezTo>
                      <a:cubicBezTo>
                        <a:pt x="865994" y="238954"/>
                        <a:pt x="865156" y="236039"/>
                        <a:pt x="868823" y="235639"/>
                      </a:cubicBezTo>
                      <a:cubicBezTo>
                        <a:pt x="872766" y="235210"/>
                        <a:pt x="873033" y="239173"/>
                        <a:pt x="876176" y="240116"/>
                      </a:cubicBezTo>
                      <a:cubicBezTo>
                        <a:pt x="878443" y="240792"/>
                        <a:pt x="885501" y="239135"/>
                        <a:pt x="887682" y="239059"/>
                      </a:cubicBezTo>
                      <a:cubicBezTo>
                        <a:pt x="887911" y="239049"/>
                        <a:pt x="887444" y="240725"/>
                        <a:pt x="889216" y="240497"/>
                      </a:cubicBezTo>
                      <a:cubicBezTo>
                        <a:pt x="891645" y="240192"/>
                        <a:pt x="893588" y="236963"/>
                        <a:pt x="896255" y="237049"/>
                      </a:cubicBezTo>
                      <a:cubicBezTo>
                        <a:pt x="902503" y="237239"/>
                        <a:pt x="912466" y="248469"/>
                        <a:pt x="919506" y="242383"/>
                      </a:cubicBezTo>
                      <a:cubicBezTo>
                        <a:pt x="918886" y="241754"/>
                        <a:pt x="918267" y="241116"/>
                        <a:pt x="917648" y="240487"/>
                      </a:cubicBezTo>
                      <a:cubicBezTo>
                        <a:pt x="925020" y="237849"/>
                        <a:pt x="934117" y="237239"/>
                        <a:pt x="941851" y="236077"/>
                      </a:cubicBezTo>
                      <a:cubicBezTo>
                        <a:pt x="950195" y="234820"/>
                        <a:pt x="959587" y="231077"/>
                        <a:pt x="967692" y="230553"/>
                      </a:cubicBezTo>
                      <a:cubicBezTo>
                        <a:pt x="972245" y="230267"/>
                        <a:pt x="976579" y="232563"/>
                        <a:pt x="981132" y="232524"/>
                      </a:cubicBezTo>
                      <a:cubicBezTo>
                        <a:pt x="985733" y="232486"/>
                        <a:pt x="990343" y="230858"/>
                        <a:pt x="994924" y="230410"/>
                      </a:cubicBezTo>
                      <a:cubicBezTo>
                        <a:pt x="1002859" y="229638"/>
                        <a:pt x="1011993" y="230496"/>
                        <a:pt x="1019537" y="233144"/>
                      </a:cubicBezTo>
                      <a:cubicBezTo>
                        <a:pt x="1013993" y="237344"/>
                        <a:pt x="1026938" y="235782"/>
                        <a:pt x="1029072" y="236087"/>
                      </a:cubicBezTo>
                      <a:cubicBezTo>
                        <a:pt x="1033282" y="236677"/>
                        <a:pt x="1040073" y="239573"/>
                        <a:pt x="1031253" y="240868"/>
                      </a:cubicBezTo>
                      <a:cubicBezTo>
                        <a:pt x="1035301" y="242259"/>
                        <a:pt x="1048369" y="240297"/>
                        <a:pt x="1041207" y="248384"/>
                      </a:cubicBezTo>
                      <a:cubicBezTo>
                        <a:pt x="1036930" y="253203"/>
                        <a:pt x="1025271" y="252794"/>
                        <a:pt x="1019623" y="255242"/>
                      </a:cubicBezTo>
                      <a:cubicBezTo>
                        <a:pt x="1022785" y="257356"/>
                        <a:pt x="1036320" y="253670"/>
                        <a:pt x="1036387" y="257956"/>
                      </a:cubicBezTo>
                      <a:cubicBezTo>
                        <a:pt x="1036482" y="264271"/>
                        <a:pt x="1020537" y="259204"/>
                        <a:pt x="1017508" y="259375"/>
                      </a:cubicBezTo>
                      <a:cubicBezTo>
                        <a:pt x="1020432" y="262328"/>
                        <a:pt x="1015689" y="267862"/>
                        <a:pt x="1012060" y="269510"/>
                      </a:cubicBezTo>
                      <a:cubicBezTo>
                        <a:pt x="1005716" y="272396"/>
                        <a:pt x="994372" y="269786"/>
                        <a:pt x="987057" y="271196"/>
                      </a:cubicBezTo>
                      <a:cubicBezTo>
                        <a:pt x="980837" y="272396"/>
                        <a:pt x="948528" y="274168"/>
                        <a:pt x="960911" y="262100"/>
                      </a:cubicBezTo>
                      <a:cubicBezTo>
                        <a:pt x="959253" y="261661"/>
                        <a:pt x="955872" y="258947"/>
                        <a:pt x="954453" y="259423"/>
                      </a:cubicBezTo>
                      <a:cubicBezTo>
                        <a:pt x="951548" y="260395"/>
                        <a:pt x="955967" y="262366"/>
                        <a:pt x="955015" y="263738"/>
                      </a:cubicBezTo>
                      <a:cubicBezTo>
                        <a:pt x="950347" y="270443"/>
                        <a:pt x="941632" y="270120"/>
                        <a:pt x="934507" y="271053"/>
                      </a:cubicBezTo>
                      <a:cubicBezTo>
                        <a:pt x="931183" y="271482"/>
                        <a:pt x="927706" y="272291"/>
                        <a:pt x="924335" y="271548"/>
                      </a:cubicBezTo>
                      <a:cubicBezTo>
                        <a:pt x="922696" y="271186"/>
                        <a:pt x="918877" y="268710"/>
                        <a:pt x="917724" y="268748"/>
                      </a:cubicBezTo>
                      <a:cubicBezTo>
                        <a:pt x="916438" y="268777"/>
                        <a:pt x="914295" y="271158"/>
                        <a:pt x="912219" y="271482"/>
                      </a:cubicBezTo>
                      <a:cubicBezTo>
                        <a:pt x="910552" y="271739"/>
                        <a:pt x="909923" y="268891"/>
                        <a:pt x="909523" y="268900"/>
                      </a:cubicBezTo>
                      <a:cubicBezTo>
                        <a:pt x="908447" y="268910"/>
                        <a:pt x="908257" y="270272"/>
                        <a:pt x="907361" y="270301"/>
                      </a:cubicBezTo>
                      <a:cubicBezTo>
                        <a:pt x="901236" y="270548"/>
                        <a:pt x="895702" y="272177"/>
                        <a:pt x="889626" y="271644"/>
                      </a:cubicBezTo>
                      <a:cubicBezTo>
                        <a:pt x="882348" y="271005"/>
                        <a:pt x="880596" y="272387"/>
                        <a:pt x="872366" y="272348"/>
                      </a:cubicBezTo>
                      <a:cubicBezTo>
                        <a:pt x="866413" y="272320"/>
                        <a:pt x="853793" y="275263"/>
                        <a:pt x="848459" y="272272"/>
                      </a:cubicBezTo>
                      <a:cubicBezTo>
                        <a:pt x="843086" y="269262"/>
                        <a:pt x="852716" y="265719"/>
                        <a:pt x="856078" y="263109"/>
                      </a:cubicBezTo>
                      <a:cubicBezTo>
                        <a:pt x="851840" y="259709"/>
                        <a:pt x="847877" y="264452"/>
                        <a:pt x="843677" y="266091"/>
                      </a:cubicBezTo>
                      <a:cubicBezTo>
                        <a:pt x="843944" y="265262"/>
                        <a:pt x="843925" y="263843"/>
                        <a:pt x="844248" y="262957"/>
                      </a:cubicBezTo>
                      <a:cubicBezTo>
                        <a:pt x="842248" y="263900"/>
                        <a:pt x="839276" y="263747"/>
                        <a:pt x="837552" y="264671"/>
                      </a:cubicBezTo>
                      <a:cubicBezTo>
                        <a:pt x="834819" y="266129"/>
                        <a:pt x="834380" y="268481"/>
                        <a:pt x="830085" y="269605"/>
                      </a:cubicBezTo>
                      <a:cubicBezTo>
                        <a:pt x="825513" y="270796"/>
                        <a:pt x="821131" y="270510"/>
                        <a:pt x="816521" y="269929"/>
                      </a:cubicBezTo>
                      <a:cubicBezTo>
                        <a:pt x="814521" y="269672"/>
                        <a:pt x="810311" y="269167"/>
                        <a:pt x="808415" y="268538"/>
                      </a:cubicBezTo>
                      <a:cubicBezTo>
                        <a:pt x="805853" y="267691"/>
                        <a:pt x="805529" y="265329"/>
                        <a:pt x="802157" y="265310"/>
                      </a:cubicBezTo>
                      <a:cubicBezTo>
                        <a:pt x="803539" y="264386"/>
                        <a:pt x="804920" y="262814"/>
                        <a:pt x="806348" y="262071"/>
                      </a:cubicBezTo>
                      <a:cubicBezTo>
                        <a:pt x="800900" y="264081"/>
                        <a:pt x="794947" y="269548"/>
                        <a:pt x="789146" y="267176"/>
                      </a:cubicBezTo>
                      <a:cubicBezTo>
                        <a:pt x="784822" y="265414"/>
                        <a:pt x="784288" y="263462"/>
                        <a:pt x="785003" y="259242"/>
                      </a:cubicBezTo>
                      <a:cubicBezTo>
                        <a:pt x="785594" y="255746"/>
                        <a:pt x="789813" y="253946"/>
                        <a:pt x="790051" y="252460"/>
                      </a:cubicBezTo>
                      <a:cubicBezTo>
                        <a:pt x="790356" y="250489"/>
                        <a:pt x="787260" y="249622"/>
                        <a:pt x="787756" y="246974"/>
                      </a:cubicBezTo>
                      <a:cubicBezTo>
                        <a:pt x="788213" y="244545"/>
                        <a:pt x="791156" y="243088"/>
                        <a:pt x="792890" y="241821"/>
                      </a:cubicBezTo>
                      <a:cubicBezTo>
                        <a:pt x="797566" y="238392"/>
                        <a:pt x="805529" y="237030"/>
                        <a:pt x="805625" y="229676"/>
                      </a:cubicBezTo>
                      <a:cubicBezTo>
                        <a:pt x="805653" y="226943"/>
                        <a:pt x="802453" y="222361"/>
                        <a:pt x="801510" y="219666"/>
                      </a:cubicBezTo>
                      <a:cubicBezTo>
                        <a:pt x="799681" y="214456"/>
                        <a:pt x="801748" y="214236"/>
                        <a:pt x="796385" y="213503"/>
                      </a:cubicBezTo>
                      <a:cubicBezTo>
                        <a:pt x="793366" y="213093"/>
                        <a:pt x="790118" y="215818"/>
                        <a:pt x="787289" y="216227"/>
                      </a:cubicBezTo>
                      <a:cubicBezTo>
                        <a:pt x="783107" y="216837"/>
                        <a:pt x="778459" y="216160"/>
                        <a:pt x="774278" y="215970"/>
                      </a:cubicBezTo>
                      <a:cubicBezTo>
                        <a:pt x="770639" y="215799"/>
                        <a:pt x="767544" y="215903"/>
                        <a:pt x="763934" y="216160"/>
                      </a:cubicBezTo>
                      <a:cubicBezTo>
                        <a:pt x="761590" y="216322"/>
                        <a:pt x="759495" y="217180"/>
                        <a:pt x="757076" y="216561"/>
                      </a:cubicBezTo>
                      <a:cubicBezTo>
                        <a:pt x="754599" y="215932"/>
                        <a:pt x="756047" y="214132"/>
                        <a:pt x="753866" y="213141"/>
                      </a:cubicBezTo>
                      <a:cubicBezTo>
                        <a:pt x="742931" y="208159"/>
                        <a:pt x="748370" y="210503"/>
                        <a:pt x="756561" y="206416"/>
                      </a:cubicBezTo>
                      <a:cubicBezTo>
                        <a:pt x="753123" y="207112"/>
                        <a:pt x="737740" y="205064"/>
                        <a:pt x="737054" y="201949"/>
                      </a:cubicBezTo>
                      <a:cubicBezTo>
                        <a:pt x="736321" y="198663"/>
                        <a:pt x="744693" y="201159"/>
                        <a:pt x="747484" y="199720"/>
                      </a:cubicBezTo>
                      <a:cubicBezTo>
                        <a:pt x="734511" y="195082"/>
                        <a:pt x="754780" y="192729"/>
                        <a:pt x="758914" y="192081"/>
                      </a:cubicBezTo>
                      <a:cubicBezTo>
                        <a:pt x="769753" y="190367"/>
                        <a:pt x="780764" y="192767"/>
                        <a:pt x="791156" y="196053"/>
                      </a:cubicBezTo>
                      <a:lnTo>
                        <a:pt x="791156" y="196053"/>
                      </a:lnTo>
                      <a:close/>
                      <a:moveTo>
                        <a:pt x="496014" y="222999"/>
                      </a:moveTo>
                      <a:cubicBezTo>
                        <a:pt x="511502" y="222828"/>
                        <a:pt x="502406" y="226314"/>
                        <a:pt x="494062" y="230943"/>
                      </a:cubicBezTo>
                      <a:cubicBezTo>
                        <a:pt x="496996" y="231029"/>
                        <a:pt x="521751" y="222657"/>
                        <a:pt x="512207" y="234887"/>
                      </a:cubicBezTo>
                      <a:cubicBezTo>
                        <a:pt x="514179" y="232134"/>
                        <a:pt x="517369" y="230791"/>
                        <a:pt x="520598" y="230496"/>
                      </a:cubicBezTo>
                      <a:cubicBezTo>
                        <a:pt x="515864" y="223438"/>
                        <a:pt x="538591" y="221533"/>
                        <a:pt x="542630" y="225162"/>
                      </a:cubicBezTo>
                      <a:cubicBezTo>
                        <a:pt x="549697" y="231515"/>
                        <a:pt x="528885" y="243050"/>
                        <a:pt x="523770" y="246783"/>
                      </a:cubicBezTo>
                      <a:cubicBezTo>
                        <a:pt x="514169" y="253775"/>
                        <a:pt x="500415" y="257528"/>
                        <a:pt x="488547" y="258471"/>
                      </a:cubicBezTo>
                      <a:cubicBezTo>
                        <a:pt x="483080" y="258899"/>
                        <a:pt x="478022" y="256432"/>
                        <a:pt x="472669" y="256499"/>
                      </a:cubicBezTo>
                      <a:cubicBezTo>
                        <a:pt x="466830" y="256575"/>
                        <a:pt x="461839" y="259594"/>
                        <a:pt x="456209" y="256546"/>
                      </a:cubicBezTo>
                      <a:cubicBezTo>
                        <a:pt x="457343" y="256337"/>
                        <a:pt x="458372" y="255794"/>
                        <a:pt x="459457" y="255556"/>
                      </a:cubicBezTo>
                      <a:cubicBezTo>
                        <a:pt x="455305" y="252175"/>
                        <a:pt x="434092" y="260356"/>
                        <a:pt x="427282" y="260985"/>
                      </a:cubicBezTo>
                      <a:cubicBezTo>
                        <a:pt x="432759" y="255118"/>
                        <a:pt x="439436" y="243764"/>
                        <a:pt x="446580" y="240202"/>
                      </a:cubicBezTo>
                      <a:cubicBezTo>
                        <a:pt x="452771" y="237106"/>
                        <a:pt x="465811" y="244640"/>
                        <a:pt x="470907" y="237230"/>
                      </a:cubicBezTo>
                      <a:cubicBezTo>
                        <a:pt x="476364" y="229295"/>
                        <a:pt x="451285" y="231334"/>
                        <a:pt x="466820" y="225571"/>
                      </a:cubicBezTo>
                      <a:cubicBezTo>
                        <a:pt x="473821" y="222980"/>
                        <a:pt x="479374" y="219170"/>
                        <a:pt x="468078" y="217103"/>
                      </a:cubicBezTo>
                      <a:cubicBezTo>
                        <a:pt x="477203" y="207302"/>
                        <a:pt x="498834" y="194463"/>
                        <a:pt x="512312" y="201035"/>
                      </a:cubicBezTo>
                      <a:cubicBezTo>
                        <a:pt x="509788" y="204845"/>
                        <a:pt x="503339" y="205235"/>
                        <a:pt x="502777" y="210960"/>
                      </a:cubicBezTo>
                      <a:cubicBezTo>
                        <a:pt x="502425" y="214532"/>
                        <a:pt x="507673" y="214427"/>
                        <a:pt x="501882" y="218675"/>
                      </a:cubicBezTo>
                      <a:cubicBezTo>
                        <a:pt x="500110" y="219990"/>
                        <a:pt x="492223" y="221152"/>
                        <a:pt x="496014" y="222999"/>
                      </a:cubicBezTo>
                      <a:lnTo>
                        <a:pt x="496014" y="222999"/>
                      </a:lnTo>
                      <a:close/>
                      <a:moveTo>
                        <a:pt x="713708" y="210103"/>
                      </a:moveTo>
                      <a:cubicBezTo>
                        <a:pt x="710022" y="214294"/>
                        <a:pt x="710898" y="216713"/>
                        <a:pt x="708155" y="220885"/>
                      </a:cubicBezTo>
                      <a:cubicBezTo>
                        <a:pt x="705079" y="225590"/>
                        <a:pt x="696982" y="231296"/>
                        <a:pt x="691572" y="232343"/>
                      </a:cubicBezTo>
                      <a:cubicBezTo>
                        <a:pt x="693077" y="233591"/>
                        <a:pt x="696497" y="234144"/>
                        <a:pt x="698773" y="235106"/>
                      </a:cubicBezTo>
                      <a:cubicBezTo>
                        <a:pt x="696220" y="237630"/>
                        <a:pt x="694392" y="241783"/>
                        <a:pt x="692553" y="242497"/>
                      </a:cubicBezTo>
                      <a:cubicBezTo>
                        <a:pt x="692649" y="242459"/>
                        <a:pt x="689639" y="240554"/>
                        <a:pt x="688953" y="240592"/>
                      </a:cubicBezTo>
                      <a:cubicBezTo>
                        <a:pt x="687372" y="240668"/>
                        <a:pt x="683676" y="242488"/>
                        <a:pt x="682571" y="243564"/>
                      </a:cubicBezTo>
                      <a:cubicBezTo>
                        <a:pt x="681723" y="244383"/>
                        <a:pt x="676827" y="259937"/>
                        <a:pt x="673941" y="249955"/>
                      </a:cubicBezTo>
                      <a:cubicBezTo>
                        <a:pt x="671141" y="254213"/>
                        <a:pt x="671760" y="254641"/>
                        <a:pt x="664588" y="255270"/>
                      </a:cubicBezTo>
                      <a:cubicBezTo>
                        <a:pt x="658035" y="255842"/>
                        <a:pt x="651710" y="255061"/>
                        <a:pt x="645347" y="255289"/>
                      </a:cubicBezTo>
                      <a:cubicBezTo>
                        <a:pt x="640947" y="255442"/>
                        <a:pt x="631965" y="258718"/>
                        <a:pt x="627336" y="256089"/>
                      </a:cubicBezTo>
                      <a:cubicBezTo>
                        <a:pt x="619620" y="251727"/>
                        <a:pt x="629431" y="249612"/>
                        <a:pt x="633613" y="248526"/>
                      </a:cubicBezTo>
                      <a:cubicBezTo>
                        <a:pt x="630793" y="247117"/>
                        <a:pt x="627659" y="246469"/>
                        <a:pt x="624735" y="245364"/>
                      </a:cubicBezTo>
                      <a:cubicBezTo>
                        <a:pt x="628298" y="241516"/>
                        <a:pt x="640328" y="240268"/>
                        <a:pt x="645757" y="238373"/>
                      </a:cubicBezTo>
                      <a:cubicBezTo>
                        <a:pt x="650929" y="236563"/>
                        <a:pt x="660444" y="237011"/>
                        <a:pt x="664350" y="234287"/>
                      </a:cubicBezTo>
                      <a:cubicBezTo>
                        <a:pt x="652558" y="234725"/>
                        <a:pt x="640823" y="235353"/>
                        <a:pt x="629088" y="236706"/>
                      </a:cubicBezTo>
                      <a:cubicBezTo>
                        <a:pt x="619801" y="237782"/>
                        <a:pt x="604399" y="241459"/>
                        <a:pt x="595608" y="239840"/>
                      </a:cubicBezTo>
                      <a:cubicBezTo>
                        <a:pt x="584244" y="237754"/>
                        <a:pt x="602123" y="233267"/>
                        <a:pt x="606790" y="231220"/>
                      </a:cubicBezTo>
                      <a:cubicBezTo>
                        <a:pt x="612048" y="228905"/>
                        <a:pt x="613944" y="228191"/>
                        <a:pt x="619868" y="229800"/>
                      </a:cubicBezTo>
                      <a:cubicBezTo>
                        <a:pt x="624773" y="231134"/>
                        <a:pt x="626564" y="233344"/>
                        <a:pt x="632127" y="231124"/>
                      </a:cubicBezTo>
                      <a:cubicBezTo>
                        <a:pt x="629641" y="231267"/>
                        <a:pt x="625564" y="232896"/>
                        <a:pt x="624735" y="229629"/>
                      </a:cubicBezTo>
                      <a:cubicBezTo>
                        <a:pt x="624145" y="227276"/>
                        <a:pt x="626240" y="225552"/>
                        <a:pt x="628374" y="225028"/>
                      </a:cubicBezTo>
                      <a:cubicBezTo>
                        <a:pt x="612658" y="226905"/>
                        <a:pt x="631888" y="217989"/>
                        <a:pt x="632527" y="217342"/>
                      </a:cubicBezTo>
                      <a:cubicBezTo>
                        <a:pt x="628983" y="217361"/>
                        <a:pt x="625383" y="218227"/>
                        <a:pt x="622535" y="215799"/>
                      </a:cubicBezTo>
                      <a:cubicBezTo>
                        <a:pt x="626126" y="213017"/>
                        <a:pt x="631355" y="210341"/>
                        <a:pt x="636022" y="210560"/>
                      </a:cubicBezTo>
                      <a:cubicBezTo>
                        <a:pt x="637394" y="210626"/>
                        <a:pt x="640328" y="210826"/>
                        <a:pt x="641480" y="211836"/>
                      </a:cubicBezTo>
                      <a:cubicBezTo>
                        <a:pt x="643557" y="213655"/>
                        <a:pt x="642461" y="215465"/>
                        <a:pt x="642795" y="215922"/>
                      </a:cubicBezTo>
                      <a:cubicBezTo>
                        <a:pt x="645928" y="220075"/>
                        <a:pt x="654587" y="230115"/>
                        <a:pt x="661607" y="226038"/>
                      </a:cubicBezTo>
                      <a:cubicBezTo>
                        <a:pt x="658959" y="225371"/>
                        <a:pt x="656092" y="222961"/>
                        <a:pt x="658244" y="220685"/>
                      </a:cubicBezTo>
                      <a:cubicBezTo>
                        <a:pt x="659492" y="219361"/>
                        <a:pt x="667674" y="220399"/>
                        <a:pt x="669455" y="220161"/>
                      </a:cubicBezTo>
                      <a:cubicBezTo>
                        <a:pt x="665331" y="219856"/>
                        <a:pt x="658559" y="219285"/>
                        <a:pt x="654987" y="217132"/>
                      </a:cubicBezTo>
                      <a:cubicBezTo>
                        <a:pt x="658025" y="215360"/>
                        <a:pt x="662092" y="216141"/>
                        <a:pt x="665359" y="214932"/>
                      </a:cubicBezTo>
                      <a:cubicBezTo>
                        <a:pt x="661168" y="211760"/>
                        <a:pt x="646967" y="213560"/>
                        <a:pt x="655501" y="207979"/>
                      </a:cubicBezTo>
                      <a:cubicBezTo>
                        <a:pt x="661988" y="203740"/>
                        <a:pt x="675332" y="203759"/>
                        <a:pt x="681609" y="206769"/>
                      </a:cubicBezTo>
                      <a:cubicBezTo>
                        <a:pt x="685467" y="208617"/>
                        <a:pt x="685648" y="212360"/>
                        <a:pt x="690667" y="209569"/>
                      </a:cubicBezTo>
                      <a:cubicBezTo>
                        <a:pt x="693601" y="207940"/>
                        <a:pt x="692258" y="203768"/>
                        <a:pt x="698192" y="203445"/>
                      </a:cubicBezTo>
                      <a:cubicBezTo>
                        <a:pt x="701497" y="203283"/>
                        <a:pt x="712899" y="207655"/>
                        <a:pt x="713708" y="210103"/>
                      </a:cubicBezTo>
                      <a:lnTo>
                        <a:pt x="713708" y="210103"/>
                      </a:lnTo>
                      <a:close/>
                      <a:moveTo>
                        <a:pt x="613410" y="224333"/>
                      </a:moveTo>
                      <a:cubicBezTo>
                        <a:pt x="614210" y="224981"/>
                        <a:pt x="615020" y="225628"/>
                        <a:pt x="615829" y="226276"/>
                      </a:cubicBezTo>
                      <a:cubicBezTo>
                        <a:pt x="607552" y="231220"/>
                        <a:pt x="594941" y="232267"/>
                        <a:pt x="585245" y="232229"/>
                      </a:cubicBezTo>
                      <a:cubicBezTo>
                        <a:pt x="588283" y="230238"/>
                        <a:pt x="591560" y="228867"/>
                        <a:pt x="594855" y="227362"/>
                      </a:cubicBezTo>
                      <a:cubicBezTo>
                        <a:pt x="589731" y="223571"/>
                        <a:pt x="582482" y="230343"/>
                        <a:pt x="576767" y="226914"/>
                      </a:cubicBezTo>
                      <a:cubicBezTo>
                        <a:pt x="578930" y="225819"/>
                        <a:pt x="581092" y="224733"/>
                        <a:pt x="583254" y="223638"/>
                      </a:cubicBezTo>
                      <a:cubicBezTo>
                        <a:pt x="579625" y="223219"/>
                        <a:pt x="575682" y="224400"/>
                        <a:pt x="573415" y="221390"/>
                      </a:cubicBezTo>
                      <a:cubicBezTo>
                        <a:pt x="579034" y="215484"/>
                        <a:pt x="606381" y="212941"/>
                        <a:pt x="613743" y="215932"/>
                      </a:cubicBezTo>
                      <a:cubicBezTo>
                        <a:pt x="612734" y="217932"/>
                        <a:pt x="611638" y="219894"/>
                        <a:pt x="610476" y="221809"/>
                      </a:cubicBezTo>
                      <a:cubicBezTo>
                        <a:pt x="611981" y="222256"/>
                        <a:pt x="612124" y="223619"/>
                        <a:pt x="613410" y="224333"/>
                      </a:cubicBezTo>
                      <a:lnTo>
                        <a:pt x="613410" y="224333"/>
                      </a:lnTo>
                      <a:close/>
                      <a:moveTo>
                        <a:pt x="758676" y="255423"/>
                      </a:moveTo>
                      <a:cubicBezTo>
                        <a:pt x="756752" y="266548"/>
                        <a:pt x="745236" y="267167"/>
                        <a:pt x="736578" y="267424"/>
                      </a:cubicBezTo>
                      <a:cubicBezTo>
                        <a:pt x="733320" y="267519"/>
                        <a:pt x="729339" y="268386"/>
                        <a:pt x="726091" y="267576"/>
                      </a:cubicBezTo>
                      <a:cubicBezTo>
                        <a:pt x="722919" y="266786"/>
                        <a:pt x="721119" y="263852"/>
                        <a:pt x="718195" y="262795"/>
                      </a:cubicBezTo>
                      <a:cubicBezTo>
                        <a:pt x="715061" y="261652"/>
                        <a:pt x="710851" y="262900"/>
                        <a:pt x="707603" y="261652"/>
                      </a:cubicBezTo>
                      <a:cubicBezTo>
                        <a:pt x="704755" y="260557"/>
                        <a:pt x="706536" y="256108"/>
                        <a:pt x="701859" y="258823"/>
                      </a:cubicBezTo>
                      <a:cubicBezTo>
                        <a:pt x="702174" y="256261"/>
                        <a:pt x="700145" y="255718"/>
                        <a:pt x="697582" y="256251"/>
                      </a:cubicBezTo>
                      <a:cubicBezTo>
                        <a:pt x="701183" y="250727"/>
                        <a:pt x="708603" y="250069"/>
                        <a:pt x="713889" y="247317"/>
                      </a:cubicBezTo>
                      <a:cubicBezTo>
                        <a:pt x="721071" y="243573"/>
                        <a:pt x="726843" y="240183"/>
                        <a:pt x="735292" y="238439"/>
                      </a:cubicBezTo>
                      <a:cubicBezTo>
                        <a:pt x="742550" y="236944"/>
                        <a:pt x="750923" y="234544"/>
                        <a:pt x="757447" y="239192"/>
                      </a:cubicBezTo>
                      <a:cubicBezTo>
                        <a:pt x="763753" y="243659"/>
                        <a:pt x="764181" y="250641"/>
                        <a:pt x="758676" y="255423"/>
                      </a:cubicBezTo>
                      <a:lnTo>
                        <a:pt x="758676" y="255423"/>
                      </a:lnTo>
                      <a:close/>
                      <a:moveTo>
                        <a:pt x="744636" y="282731"/>
                      </a:moveTo>
                      <a:cubicBezTo>
                        <a:pt x="748808" y="283655"/>
                        <a:pt x="752494" y="285007"/>
                        <a:pt x="756285" y="286398"/>
                      </a:cubicBezTo>
                      <a:cubicBezTo>
                        <a:pt x="760800" y="288046"/>
                        <a:pt x="761914" y="287893"/>
                        <a:pt x="767715" y="287341"/>
                      </a:cubicBezTo>
                      <a:cubicBezTo>
                        <a:pt x="775021" y="286646"/>
                        <a:pt x="788803" y="285741"/>
                        <a:pt x="794118" y="291941"/>
                      </a:cubicBezTo>
                      <a:cubicBezTo>
                        <a:pt x="788146" y="297218"/>
                        <a:pt x="780774" y="299285"/>
                        <a:pt x="773916" y="302876"/>
                      </a:cubicBezTo>
                      <a:cubicBezTo>
                        <a:pt x="767201" y="306400"/>
                        <a:pt x="762257" y="310039"/>
                        <a:pt x="754713" y="311858"/>
                      </a:cubicBezTo>
                      <a:cubicBezTo>
                        <a:pt x="755180" y="312268"/>
                        <a:pt x="755866" y="312792"/>
                        <a:pt x="756314" y="313163"/>
                      </a:cubicBezTo>
                      <a:cubicBezTo>
                        <a:pt x="749113" y="319297"/>
                        <a:pt x="736425" y="327241"/>
                        <a:pt x="726834" y="328041"/>
                      </a:cubicBezTo>
                      <a:cubicBezTo>
                        <a:pt x="720509" y="328575"/>
                        <a:pt x="714099" y="325888"/>
                        <a:pt x="707784" y="325546"/>
                      </a:cubicBezTo>
                      <a:cubicBezTo>
                        <a:pt x="701526" y="325203"/>
                        <a:pt x="695115" y="326355"/>
                        <a:pt x="688905" y="326965"/>
                      </a:cubicBezTo>
                      <a:cubicBezTo>
                        <a:pt x="703650" y="333651"/>
                        <a:pt x="692725" y="337052"/>
                        <a:pt x="683447" y="342843"/>
                      </a:cubicBezTo>
                      <a:cubicBezTo>
                        <a:pt x="677266" y="346710"/>
                        <a:pt x="675685" y="349758"/>
                        <a:pt x="668522" y="350101"/>
                      </a:cubicBezTo>
                      <a:cubicBezTo>
                        <a:pt x="663235" y="350358"/>
                        <a:pt x="655853" y="350977"/>
                        <a:pt x="650672" y="349930"/>
                      </a:cubicBezTo>
                      <a:cubicBezTo>
                        <a:pt x="656806" y="343129"/>
                        <a:pt x="659997" y="337947"/>
                        <a:pt x="661911" y="329270"/>
                      </a:cubicBezTo>
                      <a:cubicBezTo>
                        <a:pt x="663445" y="322345"/>
                        <a:pt x="666826" y="319345"/>
                        <a:pt x="671255" y="313801"/>
                      </a:cubicBezTo>
                      <a:cubicBezTo>
                        <a:pt x="675161" y="308934"/>
                        <a:pt x="678275" y="300847"/>
                        <a:pt x="683505" y="297380"/>
                      </a:cubicBezTo>
                      <a:cubicBezTo>
                        <a:pt x="690020" y="293065"/>
                        <a:pt x="695354" y="299552"/>
                        <a:pt x="701897" y="298142"/>
                      </a:cubicBezTo>
                      <a:cubicBezTo>
                        <a:pt x="697706" y="297418"/>
                        <a:pt x="697116" y="293103"/>
                        <a:pt x="699154" y="289913"/>
                      </a:cubicBezTo>
                      <a:cubicBezTo>
                        <a:pt x="701231" y="286665"/>
                        <a:pt x="707765" y="285836"/>
                        <a:pt x="711041" y="285188"/>
                      </a:cubicBezTo>
                      <a:cubicBezTo>
                        <a:pt x="716728" y="284074"/>
                        <a:pt x="722414" y="284055"/>
                        <a:pt x="728177" y="283655"/>
                      </a:cubicBezTo>
                      <a:cubicBezTo>
                        <a:pt x="733463" y="283293"/>
                        <a:pt x="739283" y="281483"/>
                        <a:pt x="744636" y="282731"/>
                      </a:cubicBezTo>
                      <a:lnTo>
                        <a:pt x="744636" y="282731"/>
                      </a:lnTo>
                      <a:close/>
                      <a:moveTo>
                        <a:pt x="601999" y="289503"/>
                      </a:moveTo>
                      <a:cubicBezTo>
                        <a:pt x="611277" y="295018"/>
                        <a:pt x="614305" y="296056"/>
                        <a:pt x="624726" y="294847"/>
                      </a:cubicBezTo>
                      <a:cubicBezTo>
                        <a:pt x="632136" y="293980"/>
                        <a:pt x="639966" y="291303"/>
                        <a:pt x="647357" y="291322"/>
                      </a:cubicBezTo>
                      <a:cubicBezTo>
                        <a:pt x="651739" y="291332"/>
                        <a:pt x="659025" y="292418"/>
                        <a:pt x="655177" y="298295"/>
                      </a:cubicBezTo>
                      <a:cubicBezTo>
                        <a:pt x="652177" y="302876"/>
                        <a:pt x="641737" y="301047"/>
                        <a:pt x="638023" y="304133"/>
                      </a:cubicBezTo>
                      <a:cubicBezTo>
                        <a:pt x="639480" y="303952"/>
                        <a:pt x="643738" y="303257"/>
                        <a:pt x="644157" y="305448"/>
                      </a:cubicBezTo>
                      <a:cubicBezTo>
                        <a:pt x="644633" y="307943"/>
                        <a:pt x="632784" y="309410"/>
                        <a:pt x="631060" y="309925"/>
                      </a:cubicBezTo>
                      <a:cubicBezTo>
                        <a:pt x="624992" y="311725"/>
                        <a:pt x="611200" y="315421"/>
                        <a:pt x="607705" y="321155"/>
                      </a:cubicBezTo>
                      <a:cubicBezTo>
                        <a:pt x="613039" y="321240"/>
                        <a:pt x="618030" y="317097"/>
                        <a:pt x="623783" y="318154"/>
                      </a:cubicBezTo>
                      <a:cubicBezTo>
                        <a:pt x="626983" y="318745"/>
                        <a:pt x="633222" y="321945"/>
                        <a:pt x="627021" y="323555"/>
                      </a:cubicBezTo>
                      <a:cubicBezTo>
                        <a:pt x="632403" y="325117"/>
                        <a:pt x="629479" y="329032"/>
                        <a:pt x="625821" y="330546"/>
                      </a:cubicBezTo>
                      <a:cubicBezTo>
                        <a:pt x="630279" y="331375"/>
                        <a:pt x="640994" y="323974"/>
                        <a:pt x="638651" y="332175"/>
                      </a:cubicBezTo>
                      <a:cubicBezTo>
                        <a:pt x="637118" y="337557"/>
                        <a:pt x="629393" y="340157"/>
                        <a:pt x="624897" y="340909"/>
                      </a:cubicBezTo>
                      <a:cubicBezTo>
                        <a:pt x="629812" y="344967"/>
                        <a:pt x="621011" y="347729"/>
                        <a:pt x="618525" y="349796"/>
                      </a:cubicBezTo>
                      <a:cubicBezTo>
                        <a:pt x="627936" y="358988"/>
                        <a:pt x="566976" y="367818"/>
                        <a:pt x="581901" y="355587"/>
                      </a:cubicBezTo>
                      <a:cubicBezTo>
                        <a:pt x="573938" y="356740"/>
                        <a:pt x="578139" y="363331"/>
                        <a:pt x="574224" y="367884"/>
                      </a:cubicBezTo>
                      <a:cubicBezTo>
                        <a:pt x="570005" y="372790"/>
                        <a:pt x="561680" y="372209"/>
                        <a:pt x="556860" y="371199"/>
                      </a:cubicBezTo>
                      <a:cubicBezTo>
                        <a:pt x="548526" y="369465"/>
                        <a:pt x="552745" y="368732"/>
                        <a:pt x="550326" y="360921"/>
                      </a:cubicBezTo>
                      <a:cubicBezTo>
                        <a:pt x="548564" y="355226"/>
                        <a:pt x="543668" y="348139"/>
                        <a:pt x="539591" y="344510"/>
                      </a:cubicBezTo>
                      <a:cubicBezTo>
                        <a:pt x="540306" y="345139"/>
                        <a:pt x="533667" y="340662"/>
                        <a:pt x="534381" y="340824"/>
                      </a:cubicBezTo>
                      <a:cubicBezTo>
                        <a:pt x="531381" y="340138"/>
                        <a:pt x="528571" y="342824"/>
                        <a:pt x="525580" y="341462"/>
                      </a:cubicBezTo>
                      <a:cubicBezTo>
                        <a:pt x="522180" y="339909"/>
                        <a:pt x="525018" y="339414"/>
                        <a:pt x="523227" y="337376"/>
                      </a:cubicBezTo>
                      <a:cubicBezTo>
                        <a:pt x="521913" y="335880"/>
                        <a:pt x="517979" y="333185"/>
                        <a:pt x="516855" y="331032"/>
                      </a:cubicBezTo>
                      <a:cubicBezTo>
                        <a:pt x="513721" y="325060"/>
                        <a:pt x="520789" y="321707"/>
                        <a:pt x="525818" y="319335"/>
                      </a:cubicBezTo>
                      <a:cubicBezTo>
                        <a:pt x="528514" y="318068"/>
                        <a:pt x="532971" y="316049"/>
                        <a:pt x="536096" y="316983"/>
                      </a:cubicBezTo>
                      <a:cubicBezTo>
                        <a:pt x="540096" y="318173"/>
                        <a:pt x="538048" y="318145"/>
                        <a:pt x="539772" y="320135"/>
                      </a:cubicBezTo>
                      <a:cubicBezTo>
                        <a:pt x="543582" y="324517"/>
                        <a:pt x="541639" y="327784"/>
                        <a:pt x="548459" y="328222"/>
                      </a:cubicBezTo>
                      <a:cubicBezTo>
                        <a:pt x="558737" y="328889"/>
                        <a:pt x="561518" y="324193"/>
                        <a:pt x="569033" y="319993"/>
                      </a:cubicBezTo>
                      <a:cubicBezTo>
                        <a:pt x="570376" y="327108"/>
                        <a:pt x="580768" y="313839"/>
                        <a:pt x="569938" y="314935"/>
                      </a:cubicBezTo>
                      <a:cubicBezTo>
                        <a:pt x="574500" y="307581"/>
                        <a:pt x="580368" y="314430"/>
                        <a:pt x="586273" y="312554"/>
                      </a:cubicBezTo>
                      <a:cubicBezTo>
                        <a:pt x="580825" y="311801"/>
                        <a:pt x="581568" y="308905"/>
                        <a:pt x="575786" y="309172"/>
                      </a:cubicBezTo>
                      <a:cubicBezTo>
                        <a:pt x="570738" y="309401"/>
                        <a:pt x="568500" y="311306"/>
                        <a:pt x="563737" y="308896"/>
                      </a:cubicBezTo>
                      <a:cubicBezTo>
                        <a:pt x="551297" y="302609"/>
                        <a:pt x="569547" y="299571"/>
                        <a:pt x="574891" y="301314"/>
                      </a:cubicBezTo>
                      <a:cubicBezTo>
                        <a:pt x="576710" y="301905"/>
                        <a:pt x="580206" y="308362"/>
                        <a:pt x="579987" y="301190"/>
                      </a:cubicBezTo>
                      <a:cubicBezTo>
                        <a:pt x="579930" y="299114"/>
                        <a:pt x="575005" y="300000"/>
                        <a:pt x="576672" y="296104"/>
                      </a:cubicBezTo>
                      <a:cubicBezTo>
                        <a:pt x="580025" y="288312"/>
                        <a:pt x="595913" y="296713"/>
                        <a:pt x="601180" y="292627"/>
                      </a:cubicBezTo>
                      <a:cubicBezTo>
                        <a:pt x="599180" y="293075"/>
                        <a:pt x="597170" y="292094"/>
                        <a:pt x="595560" y="291827"/>
                      </a:cubicBezTo>
                      <a:cubicBezTo>
                        <a:pt x="597399" y="290408"/>
                        <a:pt x="599618" y="289655"/>
                        <a:pt x="601999" y="289503"/>
                      </a:cubicBezTo>
                      <a:lnTo>
                        <a:pt x="601999" y="289503"/>
                      </a:lnTo>
                      <a:close/>
                      <a:moveTo>
                        <a:pt x="805053" y="381962"/>
                      </a:moveTo>
                      <a:cubicBezTo>
                        <a:pt x="809711" y="383762"/>
                        <a:pt x="818074" y="379581"/>
                        <a:pt x="823160" y="378466"/>
                      </a:cubicBezTo>
                      <a:cubicBezTo>
                        <a:pt x="828875" y="377219"/>
                        <a:pt x="835266" y="376781"/>
                        <a:pt x="840991" y="377971"/>
                      </a:cubicBezTo>
                      <a:cubicBezTo>
                        <a:pt x="835562" y="380657"/>
                        <a:pt x="840372" y="382172"/>
                        <a:pt x="844439" y="379362"/>
                      </a:cubicBezTo>
                      <a:cubicBezTo>
                        <a:pt x="846553" y="377905"/>
                        <a:pt x="857526" y="367256"/>
                        <a:pt x="857622" y="364408"/>
                      </a:cubicBezTo>
                      <a:cubicBezTo>
                        <a:pt x="857802" y="358940"/>
                        <a:pt x="851135" y="363503"/>
                        <a:pt x="847411" y="360855"/>
                      </a:cubicBezTo>
                      <a:cubicBezTo>
                        <a:pt x="844296" y="358645"/>
                        <a:pt x="845058" y="353854"/>
                        <a:pt x="841048" y="351215"/>
                      </a:cubicBezTo>
                      <a:cubicBezTo>
                        <a:pt x="844887" y="348729"/>
                        <a:pt x="854774" y="344110"/>
                        <a:pt x="859174" y="343491"/>
                      </a:cubicBezTo>
                      <a:cubicBezTo>
                        <a:pt x="865784" y="342548"/>
                        <a:pt x="870966" y="348891"/>
                        <a:pt x="876233" y="348949"/>
                      </a:cubicBezTo>
                      <a:cubicBezTo>
                        <a:pt x="870490" y="342624"/>
                        <a:pt x="868242" y="342367"/>
                        <a:pt x="876262" y="338928"/>
                      </a:cubicBezTo>
                      <a:cubicBezTo>
                        <a:pt x="872185" y="337614"/>
                        <a:pt x="865270" y="340328"/>
                        <a:pt x="862260" y="337157"/>
                      </a:cubicBezTo>
                      <a:cubicBezTo>
                        <a:pt x="859526" y="334280"/>
                        <a:pt x="861794" y="329622"/>
                        <a:pt x="863584" y="327222"/>
                      </a:cubicBezTo>
                      <a:cubicBezTo>
                        <a:pt x="871280" y="316849"/>
                        <a:pt x="883253" y="322583"/>
                        <a:pt x="893064" y="325698"/>
                      </a:cubicBezTo>
                      <a:cubicBezTo>
                        <a:pt x="893235" y="325288"/>
                        <a:pt x="893407" y="324869"/>
                        <a:pt x="893578" y="324450"/>
                      </a:cubicBezTo>
                      <a:cubicBezTo>
                        <a:pt x="890673" y="323279"/>
                        <a:pt x="878510" y="320716"/>
                        <a:pt x="876919" y="318221"/>
                      </a:cubicBezTo>
                      <a:cubicBezTo>
                        <a:pt x="874443" y="314316"/>
                        <a:pt x="883739" y="311020"/>
                        <a:pt x="888435" y="309305"/>
                      </a:cubicBezTo>
                      <a:cubicBezTo>
                        <a:pt x="898198" y="305753"/>
                        <a:pt x="907142" y="305715"/>
                        <a:pt x="916781" y="305800"/>
                      </a:cubicBezTo>
                      <a:cubicBezTo>
                        <a:pt x="913457" y="300085"/>
                        <a:pt x="932745" y="298876"/>
                        <a:pt x="936841" y="298104"/>
                      </a:cubicBezTo>
                      <a:cubicBezTo>
                        <a:pt x="944747" y="296599"/>
                        <a:pt x="952672" y="295285"/>
                        <a:pt x="960825" y="296380"/>
                      </a:cubicBezTo>
                      <a:cubicBezTo>
                        <a:pt x="974817" y="298266"/>
                        <a:pt x="964778" y="304714"/>
                        <a:pt x="969397" y="311877"/>
                      </a:cubicBezTo>
                      <a:cubicBezTo>
                        <a:pt x="972731" y="317049"/>
                        <a:pt x="973417" y="311868"/>
                        <a:pt x="972626" y="318326"/>
                      </a:cubicBezTo>
                      <a:cubicBezTo>
                        <a:pt x="972236" y="321507"/>
                        <a:pt x="968607" y="324145"/>
                        <a:pt x="973712" y="326536"/>
                      </a:cubicBezTo>
                      <a:cubicBezTo>
                        <a:pt x="966006" y="334299"/>
                        <a:pt x="951586" y="334432"/>
                        <a:pt x="943556" y="342043"/>
                      </a:cubicBezTo>
                      <a:cubicBezTo>
                        <a:pt x="948319" y="340071"/>
                        <a:pt x="954834" y="335623"/>
                        <a:pt x="960130" y="336595"/>
                      </a:cubicBezTo>
                      <a:cubicBezTo>
                        <a:pt x="957186" y="340090"/>
                        <a:pt x="944289" y="343510"/>
                        <a:pt x="951147" y="347529"/>
                      </a:cubicBezTo>
                      <a:cubicBezTo>
                        <a:pt x="946242" y="347225"/>
                        <a:pt x="944499" y="349815"/>
                        <a:pt x="941908" y="353425"/>
                      </a:cubicBezTo>
                      <a:cubicBezTo>
                        <a:pt x="951195" y="354340"/>
                        <a:pt x="959072" y="340805"/>
                        <a:pt x="969302" y="345215"/>
                      </a:cubicBezTo>
                      <a:cubicBezTo>
                        <a:pt x="966149" y="341538"/>
                        <a:pt x="968293" y="339824"/>
                        <a:pt x="971379" y="338109"/>
                      </a:cubicBezTo>
                      <a:cubicBezTo>
                        <a:pt x="978046" y="334432"/>
                        <a:pt x="975274" y="339957"/>
                        <a:pt x="977275" y="340338"/>
                      </a:cubicBezTo>
                      <a:cubicBezTo>
                        <a:pt x="980694" y="340976"/>
                        <a:pt x="984476" y="337623"/>
                        <a:pt x="987200" y="339585"/>
                      </a:cubicBezTo>
                      <a:cubicBezTo>
                        <a:pt x="991791" y="342900"/>
                        <a:pt x="983923" y="346767"/>
                        <a:pt x="985790" y="351215"/>
                      </a:cubicBezTo>
                      <a:cubicBezTo>
                        <a:pt x="988628" y="357959"/>
                        <a:pt x="988971" y="352130"/>
                        <a:pt x="989219" y="351663"/>
                      </a:cubicBezTo>
                      <a:cubicBezTo>
                        <a:pt x="990933" y="348472"/>
                        <a:pt x="989171" y="343062"/>
                        <a:pt x="995143" y="341081"/>
                      </a:cubicBezTo>
                      <a:cubicBezTo>
                        <a:pt x="1000230" y="339395"/>
                        <a:pt x="1015594" y="347853"/>
                        <a:pt x="1018461" y="343900"/>
                      </a:cubicBezTo>
                      <a:cubicBezTo>
                        <a:pt x="1015156" y="343376"/>
                        <a:pt x="1004192" y="340300"/>
                        <a:pt x="1004068" y="336518"/>
                      </a:cubicBezTo>
                      <a:cubicBezTo>
                        <a:pt x="1003945" y="332880"/>
                        <a:pt x="1011746" y="331203"/>
                        <a:pt x="1013984" y="330508"/>
                      </a:cubicBezTo>
                      <a:cubicBezTo>
                        <a:pt x="1025376" y="326955"/>
                        <a:pt x="1037130" y="326231"/>
                        <a:pt x="1048179" y="330603"/>
                      </a:cubicBezTo>
                      <a:cubicBezTo>
                        <a:pt x="1053799" y="332823"/>
                        <a:pt x="1074068" y="331289"/>
                        <a:pt x="1071001" y="341452"/>
                      </a:cubicBezTo>
                      <a:cubicBezTo>
                        <a:pt x="1069439" y="346615"/>
                        <a:pt x="1060466" y="348044"/>
                        <a:pt x="1056246" y="350273"/>
                      </a:cubicBezTo>
                      <a:cubicBezTo>
                        <a:pt x="1051150" y="352959"/>
                        <a:pt x="1046721" y="356845"/>
                        <a:pt x="1041673" y="359702"/>
                      </a:cubicBezTo>
                      <a:cubicBezTo>
                        <a:pt x="1052741" y="357207"/>
                        <a:pt x="1065257" y="341986"/>
                        <a:pt x="1078506" y="348244"/>
                      </a:cubicBezTo>
                      <a:cubicBezTo>
                        <a:pt x="1091899" y="354578"/>
                        <a:pt x="1059256" y="359083"/>
                        <a:pt x="1056304" y="360512"/>
                      </a:cubicBezTo>
                      <a:cubicBezTo>
                        <a:pt x="1059476" y="361379"/>
                        <a:pt x="1062895" y="361417"/>
                        <a:pt x="1066143" y="361017"/>
                      </a:cubicBezTo>
                      <a:cubicBezTo>
                        <a:pt x="1060914" y="365827"/>
                        <a:pt x="1056704" y="370980"/>
                        <a:pt x="1050512" y="375037"/>
                      </a:cubicBezTo>
                      <a:cubicBezTo>
                        <a:pt x="1058437" y="374085"/>
                        <a:pt x="1061981" y="365579"/>
                        <a:pt x="1069096" y="362398"/>
                      </a:cubicBezTo>
                      <a:cubicBezTo>
                        <a:pt x="1073096" y="360607"/>
                        <a:pt x="1084116" y="356826"/>
                        <a:pt x="1088069" y="358788"/>
                      </a:cubicBezTo>
                      <a:cubicBezTo>
                        <a:pt x="1083707" y="363427"/>
                        <a:pt x="1076773" y="366389"/>
                        <a:pt x="1071315" y="369561"/>
                      </a:cubicBezTo>
                      <a:cubicBezTo>
                        <a:pt x="1075877" y="368941"/>
                        <a:pt x="1080888" y="365998"/>
                        <a:pt x="1084898" y="363788"/>
                      </a:cubicBezTo>
                      <a:cubicBezTo>
                        <a:pt x="1087574" y="366941"/>
                        <a:pt x="1086517" y="370875"/>
                        <a:pt x="1090117" y="373390"/>
                      </a:cubicBezTo>
                      <a:cubicBezTo>
                        <a:pt x="1092698" y="368599"/>
                        <a:pt x="1090708" y="367760"/>
                        <a:pt x="1095394" y="364493"/>
                      </a:cubicBezTo>
                      <a:cubicBezTo>
                        <a:pt x="1100881" y="360664"/>
                        <a:pt x="1102643" y="362055"/>
                        <a:pt x="1107805" y="362645"/>
                      </a:cubicBezTo>
                      <a:cubicBezTo>
                        <a:pt x="1113473" y="363284"/>
                        <a:pt x="1127875" y="362722"/>
                        <a:pt x="1130818" y="369589"/>
                      </a:cubicBezTo>
                      <a:cubicBezTo>
                        <a:pt x="1134418" y="378009"/>
                        <a:pt x="1119940" y="378305"/>
                        <a:pt x="1115006" y="379076"/>
                      </a:cubicBezTo>
                      <a:cubicBezTo>
                        <a:pt x="1107539" y="380248"/>
                        <a:pt x="1100138" y="384934"/>
                        <a:pt x="1092984" y="387630"/>
                      </a:cubicBezTo>
                      <a:cubicBezTo>
                        <a:pt x="1101738" y="387572"/>
                        <a:pt x="1107634" y="380210"/>
                        <a:pt x="1116139" y="380991"/>
                      </a:cubicBezTo>
                      <a:cubicBezTo>
                        <a:pt x="1121445" y="381476"/>
                        <a:pt x="1122817" y="383391"/>
                        <a:pt x="1128122" y="381867"/>
                      </a:cubicBezTo>
                      <a:cubicBezTo>
                        <a:pt x="1130618" y="381143"/>
                        <a:pt x="1134951" y="377238"/>
                        <a:pt x="1137247" y="379829"/>
                      </a:cubicBezTo>
                      <a:cubicBezTo>
                        <a:pt x="1143733" y="387125"/>
                        <a:pt x="1105872" y="398831"/>
                        <a:pt x="1101071" y="400212"/>
                      </a:cubicBezTo>
                      <a:cubicBezTo>
                        <a:pt x="1105653" y="403089"/>
                        <a:pt x="1110539" y="394002"/>
                        <a:pt x="1113816" y="396497"/>
                      </a:cubicBezTo>
                      <a:cubicBezTo>
                        <a:pt x="1117549" y="399345"/>
                        <a:pt x="1107243" y="407508"/>
                        <a:pt x="1105138" y="409785"/>
                      </a:cubicBezTo>
                      <a:cubicBezTo>
                        <a:pt x="1116359" y="404317"/>
                        <a:pt x="1122779" y="394268"/>
                        <a:pt x="1135447" y="390344"/>
                      </a:cubicBezTo>
                      <a:cubicBezTo>
                        <a:pt x="1146610" y="386887"/>
                        <a:pt x="1156021" y="387430"/>
                        <a:pt x="1166479" y="391192"/>
                      </a:cubicBezTo>
                      <a:cubicBezTo>
                        <a:pt x="1178633" y="395573"/>
                        <a:pt x="1178948" y="399031"/>
                        <a:pt x="1166355" y="402670"/>
                      </a:cubicBezTo>
                      <a:cubicBezTo>
                        <a:pt x="1155840" y="405698"/>
                        <a:pt x="1141086" y="405041"/>
                        <a:pt x="1132551" y="412461"/>
                      </a:cubicBezTo>
                      <a:cubicBezTo>
                        <a:pt x="1138619" y="414109"/>
                        <a:pt x="1148058" y="408327"/>
                        <a:pt x="1154802" y="407727"/>
                      </a:cubicBezTo>
                      <a:cubicBezTo>
                        <a:pt x="1167632" y="406584"/>
                        <a:pt x="1160526" y="410175"/>
                        <a:pt x="1153582" y="414461"/>
                      </a:cubicBezTo>
                      <a:cubicBezTo>
                        <a:pt x="1158145" y="417043"/>
                        <a:pt x="1168698" y="412433"/>
                        <a:pt x="1173080" y="409756"/>
                      </a:cubicBezTo>
                      <a:cubicBezTo>
                        <a:pt x="1169918" y="407670"/>
                        <a:pt x="1175347" y="404194"/>
                        <a:pt x="1178243" y="403889"/>
                      </a:cubicBezTo>
                      <a:cubicBezTo>
                        <a:pt x="1181967" y="403489"/>
                        <a:pt x="1183824" y="405756"/>
                        <a:pt x="1186053" y="408213"/>
                      </a:cubicBezTo>
                      <a:cubicBezTo>
                        <a:pt x="1190292" y="412861"/>
                        <a:pt x="1192235" y="420824"/>
                        <a:pt x="1184853" y="422605"/>
                      </a:cubicBezTo>
                      <a:cubicBezTo>
                        <a:pt x="1181119" y="423510"/>
                        <a:pt x="1176128" y="420567"/>
                        <a:pt x="1172004" y="420996"/>
                      </a:cubicBezTo>
                      <a:cubicBezTo>
                        <a:pt x="1168337" y="421377"/>
                        <a:pt x="1166403" y="423434"/>
                        <a:pt x="1163203" y="424367"/>
                      </a:cubicBezTo>
                      <a:cubicBezTo>
                        <a:pt x="1156107" y="426425"/>
                        <a:pt x="1146200" y="423967"/>
                        <a:pt x="1140114" y="429187"/>
                      </a:cubicBezTo>
                      <a:cubicBezTo>
                        <a:pt x="1144819" y="429178"/>
                        <a:pt x="1149239" y="427273"/>
                        <a:pt x="1153916" y="427311"/>
                      </a:cubicBezTo>
                      <a:cubicBezTo>
                        <a:pt x="1159117" y="427349"/>
                        <a:pt x="1163593" y="430082"/>
                        <a:pt x="1168727" y="430568"/>
                      </a:cubicBezTo>
                      <a:cubicBezTo>
                        <a:pt x="1173051" y="430978"/>
                        <a:pt x="1191301" y="428854"/>
                        <a:pt x="1190606" y="436940"/>
                      </a:cubicBezTo>
                      <a:cubicBezTo>
                        <a:pt x="1190054" y="443389"/>
                        <a:pt x="1172090" y="439855"/>
                        <a:pt x="1167756" y="439417"/>
                      </a:cubicBezTo>
                      <a:cubicBezTo>
                        <a:pt x="1163003" y="438931"/>
                        <a:pt x="1158202" y="437550"/>
                        <a:pt x="1153163" y="437979"/>
                      </a:cubicBezTo>
                      <a:cubicBezTo>
                        <a:pt x="1147706" y="438445"/>
                        <a:pt x="1142419" y="440589"/>
                        <a:pt x="1137237" y="442227"/>
                      </a:cubicBezTo>
                      <a:cubicBezTo>
                        <a:pt x="1142209" y="443779"/>
                        <a:pt x="1148601" y="439446"/>
                        <a:pt x="1154154" y="440055"/>
                      </a:cubicBezTo>
                      <a:cubicBezTo>
                        <a:pt x="1160783" y="440779"/>
                        <a:pt x="1166593" y="444332"/>
                        <a:pt x="1159755" y="449609"/>
                      </a:cubicBezTo>
                      <a:cubicBezTo>
                        <a:pt x="1154735" y="453476"/>
                        <a:pt x="1149449" y="450333"/>
                        <a:pt x="1143391" y="450266"/>
                      </a:cubicBezTo>
                      <a:cubicBezTo>
                        <a:pt x="1138161" y="450209"/>
                        <a:pt x="1131970" y="449009"/>
                        <a:pt x="1126712" y="449428"/>
                      </a:cubicBezTo>
                      <a:cubicBezTo>
                        <a:pt x="1132637" y="453038"/>
                        <a:pt x="1137780" y="451457"/>
                        <a:pt x="1143867" y="453476"/>
                      </a:cubicBezTo>
                      <a:cubicBezTo>
                        <a:pt x="1150468" y="455657"/>
                        <a:pt x="1145724" y="457781"/>
                        <a:pt x="1150791" y="460305"/>
                      </a:cubicBezTo>
                      <a:cubicBezTo>
                        <a:pt x="1152259" y="461039"/>
                        <a:pt x="1159755" y="460772"/>
                        <a:pt x="1162098" y="461296"/>
                      </a:cubicBezTo>
                      <a:cubicBezTo>
                        <a:pt x="1166451" y="462258"/>
                        <a:pt x="1171966" y="461010"/>
                        <a:pt x="1175804" y="462772"/>
                      </a:cubicBezTo>
                      <a:cubicBezTo>
                        <a:pt x="1174614" y="463287"/>
                        <a:pt x="1171089" y="463734"/>
                        <a:pt x="1170423" y="464506"/>
                      </a:cubicBezTo>
                      <a:cubicBezTo>
                        <a:pt x="1169794" y="465230"/>
                        <a:pt x="1168346" y="464744"/>
                        <a:pt x="1167679" y="465782"/>
                      </a:cubicBezTo>
                      <a:cubicBezTo>
                        <a:pt x="1166870" y="467039"/>
                        <a:pt x="1168460" y="467582"/>
                        <a:pt x="1168222" y="468021"/>
                      </a:cubicBezTo>
                      <a:cubicBezTo>
                        <a:pt x="1168499" y="467497"/>
                        <a:pt x="1168670" y="471116"/>
                        <a:pt x="1168670" y="471145"/>
                      </a:cubicBezTo>
                      <a:cubicBezTo>
                        <a:pt x="1168575" y="471926"/>
                        <a:pt x="1165574" y="474088"/>
                        <a:pt x="1164803" y="474745"/>
                      </a:cubicBezTo>
                      <a:cubicBezTo>
                        <a:pt x="1166298" y="473907"/>
                        <a:pt x="1169089" y="473507"/>
                        <a:pt x="1170518" y="473012"/>
                      </a:cubicBezTo>
                      <a:cubicBezTo>
                        <a:pt x="1170127" y="473974"/>
                        <a:pt x="1169737" y="474926"/>
                        <a:pt x="1169346" y="475888"/>
                      </a:cubicBezTo>
                      <a:cubicBezTo>
                        <a:pt x="1172308" y="474440"/>
                        <a:pt x="1172547" y="471135"/>
                        <a:pt x="1175014" y="469545"/>
                      </a:cubicBezTo>
                      <a:cubicBezTo>
                        <a:pt x="1177309" y="468068"/>
                        <a:pt x="1181176" y="468316"/>
                        <a:pt x="1183815" y="467973"/>
                      </a:cubicBezTo>
                      <a:cubicBezTo>
                        <a:pt x="1179405" y="473316"/>
                        <a:pt x="1176319" y="478698"/>
                        <a:pt x="1169756" y="481489"/>
                      </a:cubicBezTo>
                      <a:cubicBezTo>
                        <a:pt x="1174575" y="483518"/>
                        <a:pt x="1181186" y="475793"/>
                        <a:pt x="1186110" y="474564"/>
                      </a:cubicBezTo>
                      <a:cubicBezTo>
                        <a:pt x="1185120" y="475431"/>
                        <a:pt x="1184443" y="477136"/>
                        <a:pt x="1183500" y="478136"/>
                      </a:cubicBezTo>
                      <a:cubicBezTo>
                        <a:pt x="1185491" y="479441"/>
                        <a:pt x="1192768" y="475517"/>
                        <a:pt x="1193768" y="477793"/>
                      </a:cubicBezTo>
                      <a:cubicBezTo>
                        <a:pt x="1195359" y="481441"/>
                        <a:pt x="1186825" y="481975"/>
                        <a:pt x="1191216" y="487032"/>
                      </a:cubicBezTo>
                      <a:cubicBezTo>
                        <a:pt x="1192711" y="482108"/>
                        <a:pt x="1203379" y="471040"/>
                        <a:pt x="1208713" y="477107"/>
                      </a:cubicBezTo>
                      <a:cubicBezTo>
                        <a:pt x="1207189" y="477879"/>
                        <a:pt x="1200836" y="480203"/>
                        <a:pt x="1200855" y="482346"/>
                      </a:cubicBezTo>
                      <a:cubicBezTo>
                        <a:pt x="1200883" y="485489"/>
                        <a:pt x="1206665" y="482603"/>
                        <a:pt x="1207989" y="482718"/>
                      </a:cubicBezTo>
                      <a:cubicBezTo>
                        <a:pt x="1212952" y="483118"/>
                        <a:pt x="1210799" y="483842"/>
                        <a:pt x="1214981" y="485947"/>
                      </a:cubicBezTo>
                      <a:cubicBezTo>
                        <a:pt x="1213942" y="485423"/>
                        <a:pt x="1221391" y="489261"/>
                        <a:pt x="1220019" y="487928"/>
                      </a:cubicBezTo>
                      <a:cubicBezTo>
                        <a:pt x="1220600" y="488480"/>
                        <a:pt x="1222400" y="488776"/>
                        <a:pt x="1223172" y="490471"/>
                      </a:cubicBezTo>
                      <a:cubicBezTo>
                        <a:pt x="1217009" y="492719"/>
                        <a:pt x="1217581" y="495729"/>
                        <a:pt x="1213018" y="497262"/>
                      </a:cubicBezTo>
                      <a:cubicBezTo>
                        <a:pt x="1209789" y="498348"/>
                        <a:pt x="1204522" y="497272"/>
                        <a:pt x="1201141" y="497262"/>
                      </a:cubicBezTo>
                      <a:cubicBezTo>
                        <a:pt x="1205979" y="500358"/>
                        <a:pt x="1212561" y="501225"/>
                        <a:pt x="1218857" y="499586"/>
                      </a:cubicBezTo>
                      <a:cubicBezTo>
                        <a:pt x="1225325" y="497900"/>
                        <a:pt x="1229001" y="494757"/>
                        <a:pt x="1235507" y="500910"/>
                      </a:cubicBezTo>
                      <a:cubicBezTo>
                        <a:pt x="1231659" y="502291"/>
                        <a:pt x="1230087" y="505540"/>
                        <a:pt x="1226982" y="507778"/>
                      </a:cubicBezTo>
                      <a:cubicBezTo>
                        <a:pt x="1223315" y="510416"/>
                        <a:pt x="1218467" y="511978"/>
                        <a:pt x="1214409" y="513912"/>
                      </a:cubicBezTo>
                      <a:cubicBezTo>
                        <a:pt x="1221486" y="513502"/>
                        <a:pt x="1228049" y="510340"/>
                        <a:pt x="1235221" y="510426"/>
                      </a:cubicBezTo>
                      <a:cubicBezTo>
                        <a:pt x="1237212" y="510445"/>
                        <a:pt x="1239498" y="510883"/>
                        <a:pt x="1241384" y="510740"/>
                      </a:cubicBezTo>
                      <a:cubicBezTo>
                        <a:pt x="1244708" y="510493"/>
                        <a:pt x="1249689" y="506825"/>
                        <a:pt x="1252280" y="506987"/>
                      </a:cubicBezTo>
                      <a:cubicBezTo>
                        <a:pt x="1255509" y="507197"/>
                        <a:pt x="1265825" y="516979"/>
                        <a:pt x="1263663" y="520618"/>
                      </a:cubicBezTo>
                      <a:cubicBezTo>
                        <a:pt x="1260691" y="525609"/>
                        <a:pt x="1251233" y="516998"/>
                        <a:pt x="1246232" y="519551"/>
                      </a:cubicBezTo>
                      <a:cubicBezTo>
                        <a:pt x="1251728" y="523275"/>
                        <a:pt x="1260548" y="528552"/>
                        <a:pt x="1247585" y="529762"/>
                      </a:cubicBezTo>
                      <a:cubicBezTo>
                        <a:pt x="1242155" y="530266"/>
                        <a:pt x="1238202" y="525542"/>
                        <a:pt x="1233050" y="526990"/>
                      </a:cubicBezTo>
                      <a:cubicBezTo>
                        <a:pt x="1235897" y="529847"/>
                        <a:pt x="1233783" y="531609"/>
                        <a:pt x="1230649" y="532657"/>
                      </a:cubicBezTo>
                      <a:cubicBezTo>
                        <a:pt x="1233916" y="534057"/>
                        <a:pt x="1237945" y="535677"/>
                        <a:pt x="1239641" y="538696"/>
                      </a:cubicBezTo>
                      <a:cubicBezTo>
                        <a:pt x="1234774" y="540087"/>
                        <a:pt x="1229840" y="538439"/>
                        <a:pt x="1225334" y="539296"/>
                      </a:cubicBezTo>
                      <a:cubicBezTo>
                        <a:pt x="1233383" y="542411"/>
                        <a:pt x="1222639" y="549002"/>
                        <a:pt x="1219276" y="550459"/>
                      </a:cubicBezTo>
                      <a:cubicBezTo>
                        <a:pt x="1212904" y="553222"/>
                        <a:pt x="1206932" y="551421"/>
                        <a:pt x="1204246" y="544440"/>
                      </a:cubicBezTo>
                      <a:cubicBezTo>
                        <a:pt x="1204541" y="549126"/>
                        <a:pt x="1200569" y="549726"/>
                        <a:pt x="1196912" y="550488"/>
                      </a:cubicBezTo>
                      <a:cubicBezTo>
                        <a:pt x="1198959" y="551126"/>
                        <a:pt x="1201055" y="551593"/>
                        <a:pt x="1203189" y="551879"/>
                      </a:cubicBezTo>
                      <a:cubicBezTo>
                        <a:pt x="1199760" y="556079"/>
                        <a:pt x="1198426" y="561518"/>
                        <a:pt x="1195159" y="565823"/>
                      </a:cubicBezTo>
                      <a:cubicBezTo>
                        <a:pt x="1193730" y="567719"/>
                        <a:pt x="1191987" y="569833"/>
                        <a:pt x="1189882" y="571024"/>
                      </a:cubicBezTo>
                      <a:cubicBezTo>
                        <a:pt x="1184215" y="574234"/>
                        <a:pt x="1187863" y="572129"/>
                        <a:pt x="1184196" y="570671"/>
                      </a:cubicBezTo>
                      <a:cubicBezTo>
                        <a:pt x="1183891" y="570548"/>
                        <a:pt x="1183662" y="568290"/>
                        <a:pt x="1182643" y="567871"/>
                      </a:cubicBezTo>
                      <a:cubicBezTo>
                        <a:pt x="1180900" y="567138"/>
                        <a:pt x="1178671" y="568671"/>
                        <a:pt x="1177681" y="568347"/>
                      </a:cubicBezTo>
                      <a:cubicBezTo>
                        <a:pt x="1172242" y="566557"/>
                        <a:pt x="1174394" y="563480"/>
                        <a:pt x="1178957" y="558679"/>
                      </a:cubicBezTo>
                      <a:cubicBezTo>
                        <a:pt x="1174757" y="560642"/>
                        <a:pt x="1171080" y="564137"/>
                        <a:pt x="1168013" y="567623"/>
                      </a:cubicBezTo>
                      <a:cubicBezTo>
                        <a:pt x="1162565" y="562728"/>
                        <a:pt x="1157878" y="550069"/>
                        <a:pt x="1162002" y="544849"/>
                      </a:cubicBezTo>
                      <a:cubicBezTo>
                        <a:pt x="1165422" y="540515"/>
                        <a:pt x="1172985" y="540725"/>
                        <a:pt x="1177328" y="538315"/>
                      </a:cubicBezTo>
                      <a:cubicBezTo>
                        <a:pt x="1181881" y="535791"/>
                        <a:pt x="1184700" y="531581"/>
                        <a:pt x="1189854" y="529800"/>
                      </a:cubicBezTo>
                      <a:cubicBezTo>
                        <a:pt x="1177747" y="528895"/>
                        <a:pt x="1166870" y="546402"/>
                        <a:pt x="1153011" y="539153"/>
                      </a:cubicBezTo>
                      <a:cubicBezTo>
                        <a:pt x="1155240" y="536439"/>
                        <a:pt x="1158240" y="535096"/>
                        <a:pt x="1161259" y="533333"/>
                      </a:cubicBezTo>
                      <a:cubicBezTo>
                        <a:pt x="1155792" y="535162"/>
                        <a:pt x="1149839" y="536867"/>
                        <a:pt x="1145229" y="531771"/>
                      </a:cubicBezTo>
                      <a:cubicBezTo>
                        <a:pt x="1142114" y="528323"/>
                        <a:pt x="1143629" y="520351"/>
                        <a:pt x="1138285" y="520189"/>
                      </a:cubicBezTo>
                      <a:cubicBezTo>
                        <a:pt x="1138933" y="525704"/>
                        <a:pt x="1131932" y="521303"/>
                        <a:pt x="1130427" y="522627"/>
                      </a:cubicBezTo>
                      <a:cubicBezTo>
                        <a:pt x="1128522" y="524294"/>
                        <a:pt x="1132646" y="530628"/>
                        <a:pt x="1126103" y="530124"/>
                      </a:cubicBezTo>
                      <a:cubicBezTo>
                        <a:pt x="1123426" y="529914"/>
                        <a:pt x="1119416" y="522389"/>
                        <a:pt x="1116530" y="525075"/>
                      </a:cubicBezTo>
                      <a:cubicBezTo>
                        <a:pt x="1112291" y="529019"/>
                        <a:pt x="1122941" y="536705"/>
                        <a:pt x="1124636" y="538715"/>
                      </a:cubicBezTo>
                      <a:cubicBezTo>
                        <a:pt x="1120274" y="542820"/>
                        <a:pt x="1113187" y="543687"/>
                        <a:pt x="1108148" y="540125"/>
                      </a:cubicBezTo>
                      <a:cubicBezTo>
                        <a:pt x="1101433" y="535381"/>
                        <a:pt x="1102490" y="530362"/>
                        <a:pt x="1092822" y="533495"/>
                      </a:cubicBezTo>
                      <a:cubicBezTo>
                        <a:pt x="1094985" y="533457"/>
                        <a:pt x="1097832" y="533772"/>
                        <a:pt x="1099604" y="535115"/>
                      </a:cubicBezTo>
                      <a:cubicBezTo>
                        <a:pt x="1104414" y="538772"/>
                        <a:pt x="1100071" y="536963"/>
                        <a:pt x="1100623" y="539620"/>
                      </a:cubicBezTo>
                      <a:cubicBezTo>
                        <a:pt x="1101442" y="543592"/>
                        <a:pt x="1098442" y="545249"/>
                        <a:pt x="1105062" y="546935"/>
                      </a:cubicBezTo>
                      <a:cubicBezTo>
                        <a:pt x="1103014" y="549078"/>
                        <a:pt x="1100633" y="551012"/>
                        <a:pt x="1099947" y="553507"/>
                      </a:cubicBezTo>
                      <a:cubicBezTo>
                        <a:pt x="1102871" y="552764"/>
                        <a:pt x="1107443" y="550040"/>
                        <a:pt x="1110558" y="551441"/>
                      </a:cubicBezTo>
                      <a:cubicBezTo>
                        <a:pt x="1114454" y="553184"/>
                        <a:pt x="1110758" y="556851"/>
                        <a:pt x="1116092" y="557432"/>
                      </a:cubicBezTo>
                      <a:cubicBezTo>
                        <a:pt x="1114111" y="558651"/>
                        <a:pt x="1111796" y="559480"/>
                        <a:pt x="1109644" y="560384"/>
                      </a:cubicBezTo>
                      <a:cubicBezTo>
                        <a:pt x="1113616" y="561318"/>
                        <a:pt x="1115168" y="565204"/>
                        <a:pt x="1113434" y="568633"/>
                      </a:cubicBezTo>
                      <a:cubicBezTo>
                        <a:pt x="1118721" y="567433"/>
                        <a:pt x="1115101" y="573786"/>
                        <a:pt x="1115063" y="577129"/>
                      </a:cubicBezTo>
                      <a:cubicBezTo>
                        <a:pt x="1118321" y="573729"/>
                        <a:pt x="1117816" y="569833"/>
                        <a:pt x="1123112" y="573177"/>
                      </a:cubicBezTo>
                      <a:cubicBezTo>
                        <a:pt x="1128075" y="576301"/>
                        <a:pt x="1122188" y="580016"/>
                        <a:pt x="1125179" y="579863"/>
                      </a:cubicBezTo>
                      <a:cubicBezTo>
                        <a:pt x="1130789" y="579577"/>
                        <a:pt x="1130380" y="573881"/>
                        <a:pt x="1137018" y="576577"/>
                      </a:cubicBezTo>
                      <a:cubicBezTo>
                        <a:pt x="1138047" y="576996"/>
                        <a:pt x="1143657" y="582025"/>
                        <a:pt x="1144029" y="582921"/>
                      </a:cubicBezTo>
                      <a:cubicBezTo>
                        <a:pt x="1141514" y="584435"/>
                        <a:pt x="1138714" y="585454"/>
                        <a:pt x="1136237" y="586912"/>
                      </a:cubicBezTo>
                      <a:cubicBezTo>
                        <a:pt x="1139771" y="586616"/>
                        <a:pt x="1145991" y="585207"/>
                        <a:pt x="1144972" y="589379"/>
                      </a:cubicBezTo>
                      <a:cubicBezTo>
                        <a:pt x="1143695" y="594617"/>
                        <a:pt x="1135237" y="592550"/>
                        <a:pt x="1131646" y="593008"/>
                      </a:cubicBezTo>
                      <a:cubicBezTo>
                        <a:pt x="1134113" y="594198"/>
                        <a:pt x="1140514" y="598561"/>
                        <a:pt x="1136409" y="601609"/>
                      </a:cubicBezTo>
                      <a:cubicBezTo>
                        <a:pt x="1139933" y="603161"/>
                        <a:pt x="1143905" y="601494"/>
                        <a:pt x="1147772" y="601923"/>
                      </a:cubicBezTo>
                      <a:cubicBezTo>
                        <a:pt x="1146515" y="603904"/>
                        <a:pt x="1145800" y="604647"/>
                        <a:pt x="1143267" y="605457"/>
                      </a:cubicBezTo>
                      <a:cubicBezTo>
                        <a:pt x="1148515" y="604142"/>
                        <a:pt x="1149249" y="609200"/>
                        <a:pt x="1147753" y="612362"/>
                      </a:cubicBezTo>
                      <a:cubicBezTo>
                        <a:pt x="1147791" y="612277"/>
                        <a:pt x="1144267" y="614753"/>
                        <a:pt x="1143791" y="615391"/>
                      </a:cubicBezTo>
                      <a:cubicBezTo>
                        <a:pt x="1142524" y="617106"/>
                        <a:pt x="1142810" y="620163"/>
                        <a:pt x="1141619" y="622183"/>
                      </a:cubicBezTo>
                      <a:cubicBezTo>
                        <a:pt x="1134142" y="634879"/>
                        <a:pt x="1136371" y="615191"/>
                        <a:pt x="1131894" y="610229"/>
                      </a:cubicBezTo>
                      <a:cubicBezTo>
                        <a:pt x="1132427" y="616858"/>
                        <a:pt x="1127112" y="622735"/>
                        <a:pt x="1126874" y="627345"/>
                      </a:cubicBezTo>
                      <a:cubicBezTo>
                        <a:pt x="1126779" y="629260"/>
                        <a:pt x="1130980" y="634318"/>
                        <a:pt x="1129970" y="636384"/>
                      </a:cubicBezTo>
                      <a:cubicBezTo>
                        <a:pt x="1128255" y="639890"/>
                        <a:pt x="1124760" y="636270"/>
                        <a:pt x="1122150" y="636804"/>
                      </a:cubicBezTo>
                      <a:cubicBezTo>
                        <a:pt x="1116406" y="637975"/>
                        <a:pt x="1122436" y="639623"/>
                        <a:pt x="1117997" y="644157"/>
                      </a:cubicBezTo>
                      <a:cubicBezTo>
                        <a:pt x="1114406" y="647814"/>
                        <a:pt x="1114358" y="643804"/>
                        <a:pt x="1111568" y="640985"/>
                      </a:cubicBezTo>
                      <a:cubicBezTo>
                        <a:pt x="1109186" y="638556"/>
                        <a:pt x="1105615" y="638013"/>
                        <a:pt x="1104147" y="637080"/>
                      </a:cubicBezTo>
                      <a:cubicBezTo>
                        <a:pt x="1101957" y="635689"/>
                        <a:pt x="1100138" y="632384"/>
                        <a:pt x="1097194" y="630898"/>
                      </a:cubicBezTo>
                      <a:cubicBezTo>
                        <a:pt x="1097337" y="633536"/>
                        <a:pt x="1096490" y="635089"/>
                        <a:pt x="1093823" y="634175"/>
                      </a:cubicBezTo>
                      <a:cubicBezTo>
                        <a:pt x="1090689" y="633108"/>
                        <a:pt x="1091146" y="628822"/>
                        <a:pt x="1090479" y="625974"/>
                      </a:cubicBezTo>
                      <a:cubicBezTo>
                        <a:pt x="1086736" y="634889"/>
                        <a:pt x="1087422" y="630679"/>
                        <a:pt x="1083031" y="626259"/>
                      </a:cubicBezTo>
                      <a:cubicBezTo>
                        <a:pt x="1081649" y="624869"/>
                        <a:pt x="1079507" y="624421"/>
                        <a:pt x="1076906" y="622126"/>
                      </a:cubicBezTo>
                      <a:cubicBezTo>
                        <a:pt x="1073687" y="619278"/>
                        <a:pt x="1073191" y="614191"/>
                        <a:pt x="1070029" y="611200"/>
                      </a:cubicBezTo>
                      <a:cubicBezTo>
                        <a:pt x="1070801" y="634232"/>
                        <a:pt x="1058933" y="604161"/>
                        <a:pt x="1048388" y="610619"/>
                      </a:cubicBezTo>
                      <a:cubicBezTo>
                        <a:pt x="1043549" y="613591"/>
                        <a:pt x="1050608" y="620097"/>
                        <a:pt x="1052684" y="623211"/>
                      </a:cubicBezTo>
                      <a:cubicBezTo>
                        <a:pt x="1056113" y="628374"/>
                        <a:pt x="1056551" y="631603"/>
                        <a:pt x="1064323" y="631355"/>
                      </a:cubicBezTo>
                      <a:cubicBezTo>
                        <a:pt x="1063647" y="631765"/>
                        <a:pt x="1062523" y="633403"/>
                        <a:pt x="1061542" y="634003"/>
                      </a:cubicBezTo>
                      <a:cubicBezTo>
                        <a:pt x="1069953" y="636632"/>
                        <a:pt x="1078116" y="645119"/>
                        <a:pt x="1082078" y="652082"/>
                      </a:cubicBezTo>
                      <a:cubicBezTo>
                        <a:pt x="1082783" y="653320"/>
                        <a:pt x="1086069" y="657063"/>
                        <a:pt x="1086383" y="657806"/>
                      </a:cubicBezTo>
                      <a:cubicBezTo>
                        <a:pt x="1087679" y="660902"/>
                        <a:pt x="1088127" y="657111"/>
                        <a:pt x="1087088" y="661149"/>
                      </a:cubicBezTo>
                      <a:cubicBezTo>
                        <a:pt x="1087612" y="659111"/>
                        <a:pt x="1082269" y="667093"/>
                        <a:pt x="1083250" y="666150"/>
                      </a:cubicBezTo>
                      <a:cubicBezTo>
                        <a:pt x="1081231" y="668093"/>
                        <a:pt x="1081611" y="669227"/>
                        <a:pt x="1077916" y="669741"/>
                      </a:cubicBezTo>
                      <a:cubicBezTo>
                        <a:pt x="1072820" y="670465"/>
                        <a:pt x="1067591" y="666083"/>
                        <a:pt x="1062904" y="664483"/>
                      </a:cubicBezTo>
                      <a:cubicBezTo>
                        <a:pt x="1057456" y="662626"/>
                        <a:pt x="1053560" y="660949"/>
                        <a:pt x="1047769" y="660197"/>
                      </a:cubicBezTo>
                      <a:cubicBezTo>
                        <a:pt x="1036168" y="658682"/>
                        <a:pt x="1022566" y="658254"/>
                        <a:pt x="1016632" y="646929"/>
                      </a:cubicBezTo>
                      <a:cubicBezTo>
                        <a:pt x="1014298" y="642471"/>
                        <a:pt x="1016775" y="642471"/>
                        <a:pt x="1011612" y="641090"/>
                      </a:cubicBezTo>
                      <a:cubicBezTo>
                        <a:pt x="1008688" y="640299"/>
                        <a:pt x="1005678" y="642176"/>
                        <a:pt x="1002773" y="641899"/>
                      </a:cubicBezTo>
                      <a:cubicBezTo>
                        <a:pt x="996372" y="641309"/>
                        <a:pt x="990181" y="636765"/>
                        <a:pt x="984266" y="634232"/>
                      </a:cubicBezTo>
                      <a:cubicBezTo>
                        <a:pt x="986057" y="632860"/>
                        <a:pt x="988009" y="631651"/>
                        <a:pt x="989990" y="630498"/>
                      </a:cubicBezTo>
                      <a:cubicBezTo>
                        <a:pt x="985971" y="631193"/>
                        <a:pt x="983018" y="633546"/>
                        <a:pt x="979237" y="631746"/>
                      </a:cubicBezTo>
                      <a:cubicBezTo>
                        <a:pt x="974941" y="629707"/>
                        <a:pt x="974769" y="624011"/>
                        <a:pt x="971283" y="621192"/>
                      </a:cubicBezTo>
                      <a:cubicBezTo>
                        <a:pt x="977427" y="619306"/>
                        <a:pt x="982704" y="621125"/>
                        <a:pt x="988105" y="616020"/>
                      </a:cubicBezTo>
                      <a:cubicBezTo>
                        <a:pt x="984114" y="616144"/>
                        <a:pt x="984847" y="613029"/>
                        <a:pt x="981380" y="611762"/>
                      </a:cubicBezTo>
                      <a:cubicBezTo>
                        <a:pt x="977808" y="610448"/>
                        <a:pt x="973646" y="612658"/>
                        <a:pt x="970036" y="611362"/>
                      </a:cubicBezTo>
                      <a:cubicBezTo>
                        <a:pt x="971636" y="609333"/>
                        <a:pt x="973817" y="607838"/>
                        <a:pt x="975894" y="606266"/>
                      </a:cubicBezTo>
                      <a:cubicBezTo>
                        <a:pt x="973769" y="606324"/>
                        <a:pt x="968988" y="609324"/>
                        <a:pt x="967511" y="608438"/>
                      </a:cubicBezTo>
                      <a:cubicBezTo>
                        <a:pt x="965473" y="607228"/>
                        <a:pt x="967369" y="604066"/>
                        <a:pt x="966464" y="602171"/>
                      </a:cubicBezTo>
                      <a:cubicBezTo>
                        <a:pt x="965054" y="599246"/>
                        <a:pt x="958996" y="591655"/>
                        <a:pt x="955777" y="590226"/>
                      </a:cubicBezTo>
                      <a:cubicBezTo>
                        <a:pt x="958082" y="588083"/>
                        <a:pt x="960939" y="586578"/>
                        <a:pt x="963235" y="584454"/>
                      </a:cubicBezTo>
                      <a:cubicBezTo>
                        <a:pt x="958968" y="585169"/>
                        <a:pt x="955462" y="583654"/>
                        <a:pt x="951243" y="584949"/>
                      </a:cubicBezTo>
                      <a:cubicBezTo>
                        <a:pt x="949100" y="585607"/>
                        <a:pt x="946852" y="588483"/>
                        <a:pt x="944594" y="589045"/>
                      </a:cubicBezTo>
                      <a:cubicBezTo>
                        <a:pt x="938908" y="590464"/>
                        <a:pt x="945604" y="585559"/>
                        <a:pt x="944318" y="583568"/>
                      </a:cubicBezTo>
                      <a:cubicBezTo>
                        <a:pt x="943223" y="581873"/>
                        <a:pt x="938746" y="583168"/>
                        <a:pt x="936927" y="581654"/>
                      </a:cubicBezTo>
                      <a:cubicBezTo>
                        <a:pt x="935050" y="580092"/>
                        <a:pt x="938546" y="578015"/>
                        <a:pt x="935593" y="576729"/>
                      </a:cubicBezTo>
                      <a:cubicBezTo>
                        <a:pt x="934850" y="576406"/>
                        <a:pt x="929878" y="578130"/>
                        <a:pt x="929583" y="578701"/>
                      </a:cubicBezTo>
                      <a:cubicBezTo>
                        <a:pt x="928192" y="581330"/>
                        <a:pt x="934488" y="583435"/>
                        <a:pt x="929021" y="587312"/>
                      </a:cubicBezTo>
                      <a:cubicBezTo>
                        <a:pt x="925535" y="589788"/>
                        <a:pt x="918896" y="587940"/>
                        <a:pt x="915181" y="587321"/>
                      </a:cubicBezTo>
                      <a:cubicBezTo>
                        <a:pt x="909257" y="586331"/>
                        <a:pt x="909771" y="586978"/>
                        <a:pt x="904599" y="589131"/>
                      </a:cubicBezTo>
                      <a:cubicBezTo>
                        <a:pt x="901370" y="590474"/>
                        <a:pt x="898236" y="590474"/>
                        <a:pt x="894398" y="591188"/>
                      </a:cubicBezTo>
                      <a:cubicBezTo>
                        <a:pt x="885444" y="592855"/>
                        <a:pt x="879072" y="595903"/>
                        <a:pt x="869947" y="593836"/>
                      </a:cubicBezTo>
                      <a:cubicBezTo>
                        <a:pt x="864165" y="592531"/>
                        <a:pt x="853831" y="592646"/>
                        <a:pt x="853754" y="584397"/>
                      </a:cubicBezTo>
                      <a:cubicBezTo>
                        <a:pt x="853697" y="578701"/>
                        <a:pt x="861679" y="572491"/>
                        <a:pt x="866442" y="570129"/>
                      </a:cubicBezTo>
                      <a:cubicBezTo>
                        <a:pt x="870385" y="568176"/>
                        <a:pt x="876100" y="568719"/>
                        <a:pt x="879596" y="566404"/>
                      </a:cubicBezTo>
                      <a:cubicBezTo>
                        <a:pt x="883444" y="563852"/>
                        <a:pt x="881958" y="562566"/>
                        <a:pt x="884625" y="559746"/>
                      </a:cubicBezTo>
                      <a:cubicBezTo>
                        <a:pt x="889530" y="554565"/>
                        <a:pt x="900303" y="557975"/>
                        <a:pt x="906351" y="559746"/>
                      </a:cubicBezTo>
                      <a:cubicBezTo>
                        <a:pt x="909790" y="560746"/>
                        <a:pt x="915972" y="562289"/>
                        <a:pt x="918553" y="564947"/>
                      </a:cubicBezTo>
                      <a:cubicBezTo>
                        <a:pt x="924211" y="570786"/>
                        <a:pt x="917915" y="569348"/>
                        <a:pt x="917848" y="573367"/>
                      </a:cubicBezTo>
                      <a:cubicBezTo>
                        <a:pt x="917762" y="579225"/>
                        <a:pt x="924582" y="572176"/>
                        <a:pt x="924049" y="568471"/>
                      </a:cubicBezTo>
                      <a:cubicBezTo>
                        <a:pt x="923611" y="565376"/>
                        <a:pt x="917562" y="563994"/>
                        <a:pt x="920953" y="561556"/>
                      </a:cubicBezTo>
                      <a:cubicBezTo>
                        <a:pt x="923020" y="560061"/>
                        <a:pt x="931726" y="562242"/>
                        <a:pt x="934774" y="561547"/>
                      </a:cubicBezTo>
                      <a:cubicBezTo>
                        <a:pt x="941832" y="559927"/>
                        <a:pt x="948766" y="559823"/>
                        <a:pt x="955748" y="557356"/>
                      </a:cubicBezTo>
                      <a:cubicBezTo>
                        <a:pt x="962301" y="555031"/>
                        <a:pt x="974512" y="558308"/>
                        <a:pt x="974550" y="550850"/>
                      </a:cubicBezTo>
                      <a:cubicBezTo>
                        <a:pt x="974589" y="543868"/>
                        <a:pt x="962759" y="540582"/>
                        <a:pt x="967807" y="533829"/>
                      </a:cubicBezTo>
                      <a:cubicBezTo>
                        <a:pt x="970064" y="530800"/>
                        <a:pt x="978294" y="529657"/>
                        <a:pt x="981828" y="528200"/>
                      </a:cubicBezTo>
                      <a:cubicBezTo>
                        <a:pt x="986752" y="526161"/>
                        <a:pt x="991638" y="523904"/>
                        <a:pt x="996363" y="521446"/>
                      </a:cubicBezTo>
                      <a:cubicBezTo>
                        <a:pt x="1000201" y="519446"/>
                        <a:pt x="1005202" y="518436"/>
                        <a:pt x="1008707" y="516293"/>
                      </a:cubicBezTo>
                      <a:cubicBezTo>
                        <a:pt x="1012365" y="514064"/>
                        <a:pt x="1014498" y="509492"/>
                        <a:pt x="1018651" y="507387"/>
                      </a:cubicBezTo>
                      <a:cubicBezTo>
                        <a:pt x="1023233" y="505073"/>
                        <a:pt x="1030205" y="505930"/>
                        <a:pt x="1033606" y="501472"/>
                      </a:cubicBezTo>
                      <a:cubicBezTo>
                        <a:pt x="1035568" y="498901"/>
                        <a:pt x="1034644" y="497948"/>
                        <a:pt x="1034396" y="493786"/>
                      </a:cubicBezTo>
                      <a:cubicBezTo>
                        <a:pt x="1034044" y="488014"/>
                        <a:pt x="1034482" y="483832"/>
                        <a:pt x="1033110" y="478079"/>
                      </a:cubicBezTo>
                      <a:cubicBezTo>
                        <a:pt x="1032205" y="474259"/>
                        <a:pt x="1028319" y="467773"/>
                        <a:pt x="1032643" y="465535"/>
                      </a:cubicBezTo>
                      <a:cubicBezTo>
                        <a:pt x="1029795" y="465639"/>
                        <a:pt x="1020318" y="470516"/>
                        <a:pt x="1021185" y="463258"/>
                      </a:cubicBezTo>
                      <a:cubicBezTo>
                        <a:pt x="1021528" y="460381"/>
                        <a:pt x="1029872" y="458219"/>
                        <a:pt x="1026519" y="454609"/>
                      </a:cubicBezTo>
                      <a:cubicBezTo>
                        <a:pt x="1024357" y="452285"/>
                        <a:pt x="1021699" y="455552"/>
                        <a:pt x="1021442" y="455695"/>
                      </a:cubicBezTo>
                      <a:cubicBezTo>
                        <a:pt x="1019147" y="456972"/>
                        <a:pt x="1023890" y="460486"/>
                        <a:pt x="1016660" y="459905"/>
                      </a:cubicBezTo>
                      <a:cubicBezTo>
                        <a:pt x="1012355" y="459562"/>
                        <a:pt x="1008355" y="455219"/>
                        <a:pt x="1010755" y="451314"/>
                      </a:cubicBezTo>
                      <a:cubicBezTo>
                        <a:pt x="1008850" y="451552"/>
                        <a:pt x="1007869" y="450990"/>
                        <a:pt x="1006526" y="450847"/>
                      </a:cubicBezTo>
                      <a:cubicBezTo>
                        <a:pt x="1008526" y="450333"/>
                        <a:pt x="1010183" y="448980"/>
                        <a:pt x="1011841" y="448009"/>
                      </a:cubicBezTo>
                      <a:cubicBezTo>
                        <a:pt x="1010736" y="447789"/>
                        <a:pt x="1008936" y="446646"/>
                        <a:pt x="1008240" y="446504"/>
                      </a:cubicBezTo>
                      <a:cubicBezTo>
                        <a:pt x="1010450" y="445589"/>
                        <a:pt x="1012717" y="444780"/>
                        <a:pt x="1014946" y="443846"/>
                      </a:cubicBezTo>
                      <a:cubicBezTo>
                        <a:pt x="1010526" y="441970"/>
                        <a:pt x="1005383" y="447294"/>
                        <a:pt x="1001106" y="447818"/>
                      </a:cubicBezTo>
                      <a:cubicBezTo>
                        <a:pt x="999782" y="447980"/>
                        <a:pt x="997201" y="446885"/>
                        <a:pt x="995496" y="447027"/>
                      </a:cubicBezTo>
                      <a:cubicBezTo>
                        <a:pt x="994077" y="447142"/>
                        <a:pt x="988771" y="449694"/>
                        <a:pt x="987352" y="450190"/>
                      </a:cubicBezTo>
                      <a:cubicBezTo>
                        <a:pt x="984761" y="451095"/>
                        <a:pt x="971912" y="457229"/>
                        <a:pt x="969197" y="454809"/>
                      </a:cubicBezTo>
                      <a:cubicBezTo>
                        <a:pt x="967940" y="453685"/>
                        <a:pt x="970864" y="449056"/>
                        <a:pt x="972988" y="447123"/>
                      </a:cubicBezTo>
                      <a:cubicBezTo>
                        <a:pt x="977732" y="442817"/>
                        <a:pt x="980704" y="444999"/>
                        <a:pt x="986733" y="444379"/>
                      </a:cubicBezTo>
                      <a:cubicBezTo>
                        <a:pt x="990476" y="443999"/>
                        <a:pt x="1000011" y="440998"/>
                        <a:pt x="997839" y="435845"/>
                      </a:cubicBezTo>
                      <a:cubicBezTo>
                        <a:pt x="996077" y="431673"/>
                        <a:pt x="987342" y="434083"/>
                        <a:pt x="985914" y="430492"/>
                      </a:cubicBezTo>
                      <a:cubicBezTo>
                        <a:pt x="984104" y="425939"/>
                        <a:pt x="992324" y="424968"/>
                        <a:pt x="994601" y="424425"/>
                      </a:cubicBezTo>
                      <a:cubicBezTo>
                        <a:pt x="987200" y="421453"/>
                        <a:pt x="983094" y="428768"/>
                        <a:pt x="975427" y="424720"/>
                      </a:cubicBezTo>
                      <a:cubicBezTo>
                        <a:pt x="981380" y="422167"/>
                        <a:pt x="987171" y="419757"/>
                        <a:pt x="977255" y="418329"/>
                      </a:cubicBezTo>
                      <a:cubicBezTo>
                        <a:pt x="973131" y="417738"/>
                        <a:pt x="971007" y="420577"/>
                        <a:pt x="969645" y="416909"/>
                      </a:cubicBezTo>
                      <a:cubicBezTo>
                        <a:pt x="968683" y="414328"/>
                        <a:pt x="974522" y="410232"/>
                        <a:pt x="973341" y="407365"/>
                      </a:cubicBezTo>
                      <a:cubicBezTo>
                        <a:pt x="972122" y="404394"/>
                        <a:pt x="968273" y="407499"/>
                        <a:pt x="965044" y="406870"/>
                      </a:cubicBezTo>
                      <a:cubicBezTo>
                        <a:pt x="962206" y="406318"/>
                        <a:pt x="961711" y="405460"/>
                        <a:pt x="959396" y="403355"/>
                      </a:cubicBezTo>
                      <a:cubicBezTo>
                        <a:pt x="954329" y="398736"/>
                        <a:pt x="956624" y="393087"/>
                        <a:pt x="948404" y="396964"/>
                      </a:cubicBezTo>
                      <a:cubicBezTo>
                        <a:pt x="936041" y="402793"/>
                        <a:pt x="949223" y="400298"/>
                        <a:pt x="950605" y="406175"/>
                      </a:cubicBezTo>
                      <a:cubicBezTo>
                        <a:pt x="952395" y="413823"/>
                        <a:pt x="940403" y="416109"/>
                        <a:pt x="935536" y="416843"/>
                      </a:cubicBezTo>
                      <a:cubicBezTo>
                        <a:pt x="920191" y="419129"/>
                        <a:pt x="904399" y="406746"/>
                        <a:pt x="888721" y="410813"/>
                      </a:cubicBezTo>
                      <a:cubicBezTo>
                        <a:pt x="891350" y="413147"/>
                        <a:pt x="899817" y="414204"/>
                        <a:pt x="899227" y="419424"/>
                      </a:cubicBezTo>
                      <a:cubicBezTo>
                        <a:pt x="898531" y="425634"/>
                        <a:pt x="888644" y="416271"/>
                        <a:pt x="884796" y="416205"/>
                      </a:cubicBezTo>
                      <a:cubicBezTo>
                        <a:pt x="877605" y="416062"/>
                        <a:pt x="872862" y="419938"/>
                        <a:pt x="865461" y="417681"/>
                      </a:cubicBezTo>
                      <a:cubicBezTo>
                        <a:pt x="856583" y="414976"/>
                        <a:pt x="856069" y="414023"/>
                        <a:pt x="846582" y="414852"/>
                      </a:cubicBezTo>
                      <a:cubicBezTo>
                        <a:pt x="833457" y="415995"/>
                        <a:pt x="822065" y="409804"/>
                        <a:pt x="809654" y="410337"/>
                      </a:cubicBezTo>
                      <a:cubicBezTo>
                        <a:pt x="804739" y="410547"/>
                        <a:pt x="795814" y="415271"/>
                        <a:pt x="791689" y="409537"/>
                      </a:cubicBezTo>
                      <a:cubicBezTo>
                        <a:pt x="788794" y="405508"/>
                        <a:pt x="793318" y="400936"/>
                        <a:pt x="796843" y="399145"/>
                      </a:cubicBezTo>
                      <a:cubicBezTo>
                        <a:pt x="793280" y="400298"/>
                        <a:pt x="790165" y="401393"/>
                        <a:pt x="786441" y="401574"/>
                      </a:cubicBezTo>
                      <a:cubicBezTo>
                        <a:pt x="783488" y="401717"/>
                        <a:pt x="779631" y="402374"/>
                        <a:pt x="779402" y="402431"/>
                      </a:cubicBezTo>
                      <a:cubicBezTo>
                        <a:pt x="777935" y="402784"/>
                        <a:pt x="766334" y="406175"/>
                        <a:pt x="762562" y="405756"/>
                      </a:cubicBezTo>
                      <a:cubicBezTo>
                        <a:pt x="759333" y="405384"/>
                        <a:pt x="759276" y="403451"/>
                        <a:pt x="756418" y="401584"/>
                      </a:cubicBezTo>
                      <a:cubicBezTo>
                        <a:pt x="753628" y="399755"/>
                        <a:pt x="749246" y="400003"/>
                        <a:pt x="746998" y="397774"/>
                      </a:cubicBezTo>
                      <a:cubicBezTo>
                        <a:pt x="741645" y="392449"/>
                        <a:pt x="747313" y="385763"/>
                        <a:pt x="746389" y="380362"/>
                      </a:cubicBezTo>
                      <a:cubicBezTo>
                        <a:pt x="761448" y="379267"/>
                        <a:pt x="779116" y="388858"/>
                        <a:pt x="793566" y="381943"/>
                      </a:cubicBezTo>
                      <a:cubicBezTo>
                        <a:pt x="789556" y="380886"/>
                        <a:pt x="787451" y="377971"/>
                        <a:pt x="784012" y="376447"/>
                      </a:cubicBezTo>
                      <a:cubicBezTo>
                        <a:pt x="780412" y="374857"/>
                        <a:pt x="776688" y="375133"/>
                        <a:pt x="772782" y="374895"/>
                      </a:cubicBezTo>
                      <a:cubicBezTo>
                        <a:pt x="766429" y="374504"/>
                        <a:pt x="758361" y="374352"/>
                        <a:pt x="752875" y="370627"/>
                      </a:cubicBezTo>
                      <a:cubicBezTo>
                        <a:pt x="746360" y="366208"/>
                        <a:pt x="749598" y="362884"/>
                        <a:pt x="753532" y="356454"/>
                      </a:cubicBezTo>
                      <a:cubicBezTo>
                        <a:pt x="757561" y="349882"/>
                        <a:pt x="761724" y="349644"/>
                        <a:pt x="768229" y="345300"/>
                      </a:cubicBezTo>
                      <a:cubicBezTo>
                        <a:pt x="759466" y="343519"/>
                        <a:pt x="779869" y="330832"/>
                        <a:pt x="782117" y="329489"/>
                      </a:cubicBezTo>
                      <a:cubicBezTo>
                        <a:pt x="790937" y="324241"/>
                        <a:pt x="796833" y="316087"/>
                        <a:pt x="806320" y="311868"/>
                      </a:cubicBezTo>
                      <a:cubicBezTo>
                        <a:pt x="825141" y="303505"/>
                        <a:pt x="842753" y="295818"/>
                        <a:pt x="863860" y="293284"/>
                      </a:cubicBezTo>
                      <a:cubicBezTo>
                        <a:pt x="870728" y="292456"/>
                        <a:pt x="892254" y="289417"/>
                        <a:pt x="897798" y="293780"/>
                      </a:cubicBezTo>
                      <a:cubicBezTo>
                        <a:pt x="903951" y="298618"/>
                        <a:pt x="882977" y="303057"/>
                        <a:pt x="878977" y="304772"/>
                      </a:cubicBezTo>
                      <a:cubicBezTo>
                        <a:pt x="868251" y="309382"/>
                        <a:pt x="856526" y="315687"/>
                        <a:pt x="847287" y="322793"/>
                      </a:cubicBezTo>
                      <a:cubicBezTo>
                        <a:pt x="840476" y="328032"/>
                        <a:pt x="844601" y="327765"/>
                        <a:pt x="843534" y="334337"/>
                      </a:cubicBezTo>
                      <a:cubicBezTo>
                        <a:pt x="842791" y="338957"/>
                        <a:pt x="838248" y="341814"/>
                        <a:pt x="835952" y="345815"/>
                      </a:cubicBezTo>
                      <a:cubicBezTo>
                        <a:pt x="832190" y="352368"/>
                        <a:pt x="832047" y="356988"/>
                        <a:pt x="837200" y="362807"/>
                      </a:cubicBezTo>
                      <a:cubicBezTo>
                        <a:pt x="841086" y="367189"/>
                        <a:pt x="846992" y="367789"/>
                        <a:pt x="842810" y="372332"/>
                      </a:cubicBezTo>
                      <a:cubicBezTo>
                        <a:pt x="839419" y="376019"/>
                        <a:pt x="829770" y="375542"/>
                        <a:pt x="825237" y="376476"/>
                      </a:cubicBezTo>
                      <a:cubicBezTo>
                        <a:pt x="818617" y="377819"/>
                        <a:pt x="811482" y="379800"/>
                        <a:pt x="805053" y="381962"/>
                      </a:cubicBezTo>
                      <a:lnTo>
                        <a:pt x="805053" y="381962"/>
                      </a:lnTo>
                      <a:close/>
                      <a:moveTo>
                        <a:pt x="1007335" y="298685"/>
                      </a:moveTo>
                      <a:cubicBezTo>
                        <a:pt x="1019642" y="300857"/>
                        <a:pt x="1038873" y="293770"/>
                        <a:pt x="1049836" y="303000"/>
                      </a:cubicBezTo>
                      <a:cubicBezTo>
                        <a:pt x="1052798" y="305486"/>
                        <a:pt x="1054580" y="309325"/>
                        <a:pt x="1057504" y="312192"/>
                      </a:cubicBezTo>
                      <a:cubicBezTo>
                        <a:pt x="1056551" y="311258"/>
                        <a:pt x="1061304" y="317535"/>
                        <a:pt x="1060866" y="316144"/>
                      </a:cubicBezTo>
                      <a:cubicBezTo>
                        <a:pt x="1060314" y="314382"/>
                        <a:pt x="1059875" y="323850"/>
                        <a:pt x="1061066" y="322031"/>
                      </a:cubicBezTo>
                      <a:cubicBezTo>
                        <a:pt x="1056227" y="329432"/>
                        <a:pt x="1031129" y="322583"/>
                        <a:pt x="1022366" y="322726"/>
                      </a:cubicBezTo>
                      <a:cubicBezTo>
                        <a:pt x="1013708" y="322879"/>
                        <a:pt x="990133" y="332346"/>
                        <a:pt x="983799" y="324469"/>
                      </a:cubicBezTo>
                      <a:cubicBezTo>
                        <a:pt x="981637" y="321783"/>
                        <a:pt x="983247" y="320374"/>
                        <a:pt x="983523" y="316906"/>
                      </a:cubicBezTo>
                      <a:cubicBezTo>
                        <a:pt x="983885" y="312163"/>
                        <a:pt x="986066" y="314116"/>
                        <a:pt x="982485" y="311449"/>
                      </a:cubicBezTo>
                      <a:cubicBezTo>
                        <a:pt x="980580" y="310039"/>
                        <a:pt x="976332" y="312077"/>
                        <a:pt x="975522" y="308753"/>
                      </a:cubicBezTo>
                      <a:cubicBezTo>
                        <a:pt x="974951" y="306429"/>
                        <a:pt x="977684" y="304486"/>
                        <a:pt x="979503" y="304086"/>
                      </a:cubicBezTo>
                      <a:cubicBezTo>
                        <a:pt x="973703" y="290227"/>
                        <a:pt x="1002916" y="297456"/>
                        <a:pt x="1007335" y="298685"/>
                      </a:cubicBezTo>
                      <a:lnTo>
                        <a:pt x="1007335" y="298685"/>
                      </a:lnTo>
                      <a:close/>
                      <a:moveTo>
                        <a:pt x="467239" y="321821"/>
                      </a:moveTo>
                      <a:cubicBezTo>
                        <a:pt x="463763" y="321802"/>
                        <a:pt x="460515" y="316021"/>
                        <a:pt x="459010" y="313106"/>
                      </a:cubicBezTo>
                      <a:cubicBezTo>
                        <a:pt x="457400" y="309991"/>
                        <a:pt x="461277" y="311268"/>
                        <a:pt x="456895" y="307162"/>
                      </a:cubicBezTo>
                      <a:cubicBezTo>
                        <a:pt x="455038" y="305419"/>
                        <a:pt x="452171" y="304676"/>
                        <a:pt x="449732" y="304181"/>
                      </a:cubicBezTo>
                      <a:cubicBezTo>
                        <a:pt x="456381" y="294532"/>
                        <a:pt x="488233" y="291037"/>
                        <a:pt x="496214" y="298533"/>
                      </a:cubicBezTo>
                      <a:cubicBezTo>
                        <a:pt x="498034" y="300247"/>
                        <a:pt x="499777" y="298714"/>
                        <a:pt x="499405" y="301952"/>
                      </a:cubicBezTo>
                      <a:cubicBezTo>
                        <a:pt x="499072" y="304905"/>
                        <a:pt x="493024" y="308410"/>
                        <a:pt x="490833" y="309953"/>
                      </a:cubicBezTo>
                      <a:cubicBezTo>
                        <a:pt x="483889" y="314839"/>
                        <a:pt x="475288" y="319192"/>
                        <a:pt x="467239" y="321821"/>
                      </a:cubicBezTo>
                      <a:lnTo>
                        <a:pt x="467239" y="321821"/>
                      </a:lnTo>
                      <a:close/>
                      <a:moveTo>
                        <a:pt x="432683" y="310220"/>
                      </a:moveTo>
                      <a:cubicBezTo>
                        <a:pt x="438912" y="315230"/>
                        <a:pt x="440722" y="309763"/>
                        <a:pt x="447256" y="311630"/>
                      </a:cubicBezTo>
                      <a:cubicBezTo>
                        <a:pt x="452361" y="313096"/>
                        <a:pt x="460943" y="318945"/>
                        <a:pt x="461048" y="324555"/>
                      </a:cubicBezTo>
                      <a:cubicBezTo>
                        <a:pt x="461191" y="332289"/>
                        <a:pt x="451171" y="343395"/>
                        <a:pt x="449590" y="352054"/>
                      </a:cubicBezTo>
                      <a:cubicBezTo>
                        <a:pt x="448494" y="358045"/>
                        <a:pt x="450361" y="362817"/>
                        <a:pt x="446256" y="368027"/>
                      </a:cubicBezTo>
                      <a:cubicBezTo>
                        <a:pt x="443532" y="371494"/>
                        <a:pt x="433769" y="374695"/>
                        <a:pt x="432721" y="378590"/>
                      </a:cubicBezTo>
                      <a:cubicBezTo>
                        <a:pt x="432035" y="381143"/>
                        <a:pt x="436531" y="390068"/>
                        <a:pt x="438626" y="392306"/>
                      </a:cubicBezTo>
                      <a:cubicBezTo>
                        <a:pt x="442189" y="396097"/>
                        <a:pt x="446075" y="396831"/>
                        <a:pt x="449904" y="396774"/>
                      </a:cubicBezTo>
                      <a:cubicBezTo>
                        <a:pt x="453380" y="396726"/>
                        <a:pt x="447561" y="392868"/>
                        <a:pt x="453295" y="395278"/>
                      </a:cubicBezTo>
                      <a:cubicBezTo>
                        <a:pt x="455047" y="396021"/>
                        <a:pt x="458514" y="400050"/>
                        <a:pt x="460505" y="401431"/>
                      </a:cubicBezTo>
                      <a:cubicBezTo>
                        <a:pt x="461953" y="402431"/>
                        <a:pt x="463144" y="404308"/>
                        <a:pt x="464801" y="404994"/>
                      </a:cubicBezTo>
                      <a:cubicBezTo>
                        <a:pt x="466154" y="405546"/>
                        <a:pt x="468897" y="404013"/>
                        <a:pt x="469840" y="404794"/>
                      </a:cubicBezTo>
                      <a:cubicBezTo>
                        <a:pt x="471354" y="406041"/>
                        <a:pt x="470668" y="407823"/>
                        <a:pt x="469440" y="409556"/>
                      </a:cubicBezTo>
                      <a:cubicBezTo>
                        <a:pt x="478565" y="408927"/>
                        <a:pt x="482908" y="409699"/>
                        <a:pt x="475593" y="418833"/>
                      </a:cubicBezTo>
                      <a:cubicBezTo>
                        <a:pt x="472411" y="422796"/>
                        <a:pt x="458800" y="427225"/>
                        <a:pt x="463639" y="418529"/>
                      </a:cubicBezTo>
                      <a:cubicBezTo>
                        <a:pt x="461867" y="419738"/>
                        <a:pt x="459172" y="422672"/>
                        <a:pt x="456971" y="422948"/>
                      </a:cubicBezTo>
                      <a:cubicBezTo>
                        <a:pt x="452981" y="423453"/>
                        <a:pt x="453200" y="420215"/>
                        <a:pt x="449961" y="419338"/>
                      </a:cubicBezTo>
                      <a:cubicBezTo>
                        <a:pt x="444322" y="417805"/>
                        <a:pt x="439817" y="422148"/>
                        <a:pt x="436131" y="424529"/>
                      </a:cubicBezTo>
                      <a:cubicBezTo>
                        <a:pt x="430473" y="428177"/>
                        <a:pt x="429701" y="427901"/>
                        <a:pt x="422691" y="425930"/>
                      </a:cubicBezTo>
                      <a:cubicBezTo>
                        <a:pt x="421472" y="425587"/>
                        <a:pt x="417690" y="421500"/>
                        <a:pt x="416204" y="425006"/>
                      </a:cubicBezTo>
                      <a:cubicBezTo>
                        <a:pt x="415557" y="426539"/>
                        <a:pt x="419671" y="429616"/>
                        <a:pt x="420500" y="430035"/>
                      </a:cubicBezTo>
                      <a:cubicBezTo>
                        <a:pt x="418890" y="433864"/>
                        <a:pt x="414785" y="436055"/>
                        <a:pt x="411842" y="438865"/>
                      </a:cubicBezTo>
                      <a:cubicBezTo>
                        <a:pt x="418567" y="436207"/>
                        <a:pt x="424567" y="432559"/>
                        <a:pt x="431759" y="430978"/>
                      </a:cubicBezTo>
                      <a:cubicBezTo>
                        <a:pt x="433083" y="430683"/>
                        <a:pt x="440655" y="428511"/>
                        <a:pt x="441579" y="430683"/>
                      </a:cubicBezTo>
                      <a:cubicBezTo>
                        <a:pt x="442855" y="433645"/>
                        <a:pt x="438702" y="432435"/>
                        <a:pt x="438226" y="434340"/>
                      </a:cubicBezTo>
                      <a:cubicBezTo>
                        <a:pt x="438045" y="435093"/>
                        <a:pt x="436655" y="436817"/>
                        <a:pt x="436426" y="437541"/>
                      </a:cubicBezTo>
                      <a:cubicBezTo>
                        <a:pt x="436455" y="437445"/>
                        <a:pt x="440331" y="436998"/>
                        <a:pt x="439626" y="439598"/>
                      </a:cubicBezTo>
                      <a:cubicBezTo>
                        <a:pt x="438074" y="445294"/>
                        <a:pt x="427530" y="446199"/>
                        <a:pt x="423196" y="447199"/>
                      </a:cubicBezTo>
                      <a:cubicBezTo>
                        <a:pt x="411337" y="449923"/>
                        <a:pt x="399488" y="452542"/>
                        <a:pt x="387353" y="450095"/>
                      </a:cubicBezTo>
                      <a:cubicBezTo>
                        <a:pt x="380390" y="448694"/>
                        <a:pt x="375999" y="449028"/>
                        <a:pt x="369303" y="448942"/>
                      </a:cubicBezTo>
                      <a:cubicBezTo>
                        <a:pt x="357264" y="448799"/>
                        <a:pt x="363264" y="446970"/>
                        <a:pt x="367960" y="442741"/>
                      </a:cubicBezTo>
                      <a:cubicBezTo>
                        <a:pt x="364627" y="442694"/>
                        <a:pt x="346329" y="441836"/>
                        <a:pt x="344796" y="439427"/>
                      </a:cubicBezTo>
                      <a:cubicBezTo>
                        <a:pt x="342462" y="435769"/>
                        <a:pt x="351406" y="432892"/>
                        <a:pt x="344072" y="431397"/>
                      </a:cubicBezTo>
                      <a:cubicBezTo>
                        <a:pt x="338414" y="430244"/>
                        <a:pt x="328593" y="438836"/>
                        <a:pt x="323593" y="441141"/>
                      </a:cubicBezTo>
                      <a:cubicBezTo>
                        <a:pt x="315468" y="444884"/>
                        <a:pt x="308172" y="446361"/>
                        <a:pt x="299228" y="446989"/>
                      </a:cubicBezTo>
                      <a:cubicBezTo>
                        <a:pt x="282254" y="448189"/>
                        <a:pt x="266319" y="455467"/>
                        <a:pt x="249050" y="456991"/>
                      </a:cubicBezTo>
                      <a:cubicBezTo>
                        <a:pt x="232467" y="458448"/>
                        <a:pt x="216380" y="459600"/>
                        <a:pt x="199768" y="460420"/>
                      </a:cubicBezTo>
                      <a:cubicBezTo>
                        <a:pt x="194520" y="460677"/>
                        <a:pt x="180108" y="464715"/>
                        <a:pt x="176603" y="459981"/>
                      </a:cubicBezTo>
                      <a:cubicBezTo>
                        <a:pt x="171669" y="453295"/>
                        <a:pt x="183328" y="444379"/>
                        <a:pt x="185871" y="439169"/>
                      </a:cubicBezTo>
                      <a:cubicBezTo>
                        <a:pt x="174174" y="435940"/>
                        <a:pt x="162859" y="437522"/>
                        <a:pt x="150933" y="436617"/>
                      </a:cubicBezTo>
                      <a:cubicBezTo>
                        <a:pt x="146209" y="436255"/>
                        <a:pt x="139656" y="436255"/>
                        <a:pt x="135655" y="433311"/>
                      </a:cubicBezTo>
                      <a:cubicBezTo>
                        <a:pt x="130702" y="429663"/>
                        <a:pt x="135093" y="430187"/>
                        <a:pt x="132064" y="424844"/>
                      </a:cubicBezTo>
                      <a:cubicBezTo>
                        <a:pt x="138998" y="426692"/>
                        <a:pt x="134979" y="422662"/>
                        <a:pt x="135579" y="419843"/>
                      </a:cubicBezTo>
                      <a:cubicBezTo>
                        <a:pt x="136731" y="414433"/>
                        <a:pt x="137151" y="414481"/>
                        <a:pt x="143351" y="413747"/>
                      </a:cubicBezTo>
                      <a:cubicBezTo>
                        <a:pt x="152229" y="412699"/>
                        <a:pt x="161897" y="413757"/>
                        <a:pt x="170831" y="413747"/>
                      </a:cubicBezTo>
                      <a:cubicBezTo>
                        <a:pt x="189452" y="413747"/>
                        <a:pt x="208074" y="413766"/>
                        <a:pt x="226695" y="413757"/>
                      </a:cubicBezTo>
                      <a:cubicBezTo>
                        <a:pt x="225104" y="415519"/>
                        <a:pt x="223514" y="417281"/>
                        <a:pt x="221923" y="419053"/>
                      </a:cubicBezTo>
                      <a:cubicBezTo>
                        <a:pt x="228543" y="419843"/>
                        <a:pt x="232515" y="414881"/>
                        <a:pt x="238049" y="413776"/>
                      </a:cubicBezTo>
                      <a:cubicBezTo>
                        <a:pt x="244945" y="412404"/>
                        <a:pt x="253594" y="413766"/>
                        <a:pt x="260633" y="413766"/>
                      </a:cubicBezTo>
                      <a:cubicBezTo>
                        <a:pt x="267576" y="413776"/>
                        <a:pt x="274549" y="413909"/>
                        <a:pt x="281483" y="413747"/>
                      </a:cubicBezTo>
                      <a:cubicBezTo>
                        <a:pt x="291056" y="413528"/>
                        <a:pt x="294523" y="406099"/>
                        <a:pt x="300942" y="398993"/>
                      </a:cubicBezTo>
                      <a:cubicBezTo>
                        <a:pt x="321269" y="376466"/>
                        <a:pt x="341738" y="354054"/>
                        <a:pt x="362217" y="331651"/>
                      </a:cubicBezTo>
                      <a:cubicBezTo>
                        <a:pt x="364493" y="329156"/>
                        <a:pt x="366713" y="326365"/>
                        <a:pt x="369160" y="324060"/>
                      </a:cubicBezTo>
                      <a:cubicBezTo>
                        <a:pt x="373618" y="319859"/>
                        <a:pt x="372199" y="319697"/>
                        <a:pt x="377533" y="322936"/>
                      </a:cubicBezTo>
                      <a:cubicBezTo>
                        <a:pt x="380362" y="324660"/>
                        <a:pt x="386829" y="329413"/>
                        <a:pt x="382457" y="332042"/>
                      </a:cubicBezTo>
                      <a:cubicBezTo>
                        <a:pt x="392611" y="332470"/>
                        <a:pt x="373161" y="354911"/>
                        <a:pt x="374256" y="359521"/>
                      </a:cubicBezTo>
                      <a:cubicBezTo>
                        <a:pt x="376057" y="367094"/>
                        <a:pt x="394821" y="355835"/>
                        <a:pt x="397297" y="354140"/>
                      </a:cubicBezTo>
                      <a:cubicBezTo>
                        <a:pt x="393716" y="345939"/>
                        <a:pt x="400764" y="338776"/>
                        <a:pt x="403755" y="332546"/>
                      </a:cubicBezTo>
                      <a:cubicBezTo>
                        <a:pt x="408299" y="323088"/>
                        <a:pt x="410499" y="313811"/>
                        <a:pt x="421729" y="312477"/>
                      </a:cubicBezTo>
                      <a:cubicBezTo>
                        <a:pt x="417500" y="306848"/>
                        <a:pt x="430073" y="308924"/>
                        <a:pt x="432683" y="310220"/>
                      </a:cubicBezTo>
                      <a:lnTo>
                        <a:pt x="432683" y="310220"/>
                      </a:lnTo>
                      <a:close/>
                      <a:moveTo>
                        <a:pt x="662445" y="358207"/>
                      </a:moveTo>
                      <a:cubicBezTo>
                        <a:pt x="666074" y="358350"/>
                        <a:pt x="670360" y="357311"/>
                        <a:pt x="673532" y="358902"/>
                      </a:cubicBezTo>
                      <a:cubicBezTo>
                        <a:pt x="666655" y="362874"/>
                        <a:pt x="678266" y="366627"/>
                        <a:pt x="678523" y="372285"/>
                      </a:cubicBezTo>
                      <a:cubicBezTo>
                        <a:pt x="678761" y="377457"/>
                        <a:pt x="672322" y="384953"/>
                        <a:pt x="667798" y="386953"/>
                      </a:cubicBezTo>
                      <a:cubicBezTo>
                        <a:pt x="672017" y="389020"/>
                        <a:pt x="680923" y="399783"/>
                        <a:pt x="674065" y="403765"/>
                      </a:cubicBezTo>
                      <a:cubicBezTo>
                        <a:pt x="675065" y="404479"/>
                        <a:pt x="687048" y="403031"/>
                        <a:pt x="679942" y="409032"/>
                      </a:cubicBezTo>
                      <a:cubicBezTo>
                        <a:pt x="676951" y="411566"/>
                        <a:pt x="671722" y="408365"/>
                        <a:pt x="668903" y="408013"/>
                      </a:cubicBezTo>
                      <a:cubicBezTo>
                        <a:pt x="666931" y="407765"/>
                        <a:pt x="668417" y="406775"/>
                        <a:pt x="665988" y="406927"/>
                      </a:cubicBezTo>
                      <a:cubicBezTo>
                        <a:pt x="664150" y="407051"/>
                        <a:pt x="661254" y="409508"/>
                        <a:pt x="659673" y="410528"/>
                      </a:cubicBezTo>
                      <a:cubicBezTo>
                        <a:pt x="662883" y="411899"/>
                        <a:pt x="666712" y="409937"/>
                        <a:pt x="669417" y="412576"/>
                      </a:cubicBezTo>
                      <a:cubicBezTo>
                        <a:pt x="660702" y="417481"/>
                        <a:pt x="650710" y="420986"/>
                        <a:pt x="641280" y="424253"/>
                      </a:cubicBezTo>
                      <a:cubicBezTo>
                        <a:pt x="645662" y="425520"/>
                        <a:pt x="650358" y="422748"/>
                        <a:pt x="654872" y="424720"/>
                      </a:cubicBezTo>
                      <a:cubicBezTo>
                        <a:pt x="650615" y="430540"/>
                        <a:pt x="674808" y="424548"/>
                        <a:pt x="677409" y="425234"/>
                      </a:cubicBezTo>
                      <a:cubicBezTo>
                        <a:pt x="674570" y="426539"/>
                        <a:pt x="671474" y="427368"/>
                        <a:pt x="668655" y="428739"/>
                      </a:cubicBezTo>
                      <a:cubicBezTo>
                        <a:pt x="673037" y="427625"/>
                        <a:pt x="685610" y="427644"/>
                        <a:pt x="688839" y="430902"/>
                      </a:cubicBezTo>
                      <a:cubicBezTo>
                        <a:pt x="683600" y="431311"/>
                        <a:pt x="675437" y="438369"/>
                        <a:pt x="671513" y="436064"/>
                      </a:cubicBezTo>
                      <a:cubicBezTo>
                        <a:pt x="671856" y="435836"/>
                        <a:pt x="672208" y="435597"/>
                        <a:pt x="672551" y="435359"/>
                      </a:cubicBezTo>
                      <a:cubicBezTo>
                        <a:pt x="670817" y="435255"/>
                        <a:pt x="668893" y="435750"/>
                        <a:pt x="667331" y="436293"/>
                      </a:cubicBezTo>
                      <a:cubicBezTo>
                        <a:pt x="671617" y="440141"/>
                        <a:pt x="674132" y="441017"/>
                        <a:pt x="673303" y="446970"/>
                      </a:cubicBezTo>
                      <a:cubicBezTo>
                        <a:pt x="672760" y="450809"/>
                        <a:pt x="672751" y="448475"/>
                        <a:pt x="670531" y="452038"/>
                      </a:cubicBezTo>
                      <a:cubicBezTo>
                        <a:pt x="667445" y="457000"/>
                        <a:pt x="659940" y="461220"/>
                        <a:pt x="664836" y="466392"/>
                      </a:cubicBezTo>
                      <a:cubicBezTo>
                        <a:pt x="666712" y="468373"/>
                        <a:pt x="664283" y="467754"/>
                        <a:pt x="667122" y="467735"/>
                      </a:cubicBezTo>
                      <a:cubicBezTo>
                        <a:pt x="668960" y="467725"/>
                        <a:pt x="674951" y="463296"/>
                        <a:pt x="676408" y="462106"/>
                      </a:cubicBezTo>
                      <a:cubicBezTo>
                        <a:pt x="681047" y="458343"/>
                        <a:pt x="685410" y="453609"/>
                        <a:pt x="689820" y="449352"/>
                      </a:cubicBezTo>
                      <a:cubicBezTo>
                        <a:pt x="694239" y="445075"/>
                        <a:pt x="702040" y="438226"/>
                        <a:pt x="708384" y="437283"/>
                      </a:cubicBezTo>
                      <a:cubicBezTo>
                        <a:pt x="713375" y="436531"/>
                        <a:pt x="719566" y="442875"/>
                        <a:pt x="722662" y="447380"/>
                      </a:cubicBezTo>
                      <a:cubicBezTo>
                        <a:pt x="725824" y="451980"/>
                        <a:pt x="723310" y="459591"/>
                        <a:pt x="720557" y="464087"/>
                      </a:cubicBezTo>
                      <a:cubicBezTo>
                        <a:pt x="718719" y="467097"/>
                        <a:pt x="709841" y="473078"/>
                        <a:pt x="710403" y="466258"/>
                      </a:cubicBezTo>
                      <a:cubicBezTo>
                        <a:pt x="705336" y="466554"/>
                        <a:pt x="700716" y="474840"/>
                        <a:pt x="699240" y="479289"/>
                      </a:cubicBezTo>
                      <a:cubicBezTo>
                        <a:pt x="697002" y="486042"/>
                        <a:pt x="700831" y="493395"/>
                        <a:pt x="703488" y="498996"/>
                      </a:cubicBezTo>
                      <a:cubicBezTo>
                        <a:pt x="704869" y="501891"/>
                        <a:pt x="700240" y="501949"/>
                        <a:pt x="705145" y="502530"/>
                      </a:cubicBezTo>
                      <a:cubicBezTo>
                        <a:pt x="707822" y="502853"/>
                        <a:pt x="712965" y="498605"/>
                        <a:pt x="715604" y="497539"/>
                      </a:cubicBezTo>
                      <a:cubicBezTo>
                        <a:pt x="720385" y="495595"/>
                        <a:pt x="724948" y="494786"/>
                        <a:pt x="728977" y="491433"/>
                      </a:cubicBezTo>
                      <a:cubicBezTo>
                        <a:pt x="740026" y="482232"/>
                        <a:pt x="753151" y="475793"/>
                        <a:pt x="763438" y="465515"/>
                      </a:cubicBezTo>
                      <a:cubicBezTo>
                        <a:pt x="767839" y="461124"/>
                        <a:pt x="770420" y="454819"/>
                        <a:pt x="777040" y="453200"/>
                      </a:cubicBezTo>
                      <a:cubicBezTo>
                        <a:pt x="781784" y="452038"/>
                        <a:pt x="787194" y="454076"/>
                        <a:pt x="792356" y="451914"/>
                      </a:cubicBezTo>
                      <a:cubicBezTo>
                        <a:pt x="791004" y="451685"/>
                        <a:pt x="789708" y="450637"/>
                        <a:pt x="788394" y="450228"/>
                      </a:cubicBezTo>
                      <a:cubicBezTo>
                        <a:pt x="790480" y="447275"/>
                        <a:pt x="796843" y="447351"/>
                        <a:pt x="797738" y="443818"/>
                      </a:cubicBezTo>
                      <a:cubicBezTo>
                        <a:pt x="799014" y="438817"/>
                        <a:pt x="790156" y="442484"/>
                        <a:pt x="792261" y="434721"/>
                      </a:cubicBezTo>
                      <a:cubicBezTo>
                        <a:pt x="793509" y="430149"/>
                        <a:pt x="802824" y="423263"/>
                        <a:pt x="801015" y="419005"/>
                      </a:cubicBezTo>
                      <a:cubicBezTo>
                        <a:pt x="804967" y="417681"/>
                        <a:pt x="810863" y="419538"/>
                        <a:pt x="815264" y="419129"/>
                      </a:cubicBezTo>
                      <a:cubicBezTo>
                        <a:pt x="821150" y="418576"/>
                        <a:pt x="825437" y="418605"/>
                        <a:pt x="830875" y="420415"/>
                      </a:cubicBezTo>
                      <a:cubicBezTo>
                        <a:pt x="840962" y="423767"/>
                        <a:pt x="854707" y="420281"/>
                        <a:pt x="863860" y="425091"/>
                      </a:cubicBezTo>
                      <a:cubicBezTo>
                        <a:pt x="860765" y="428597"/>
                        <a:pt x="856821" y="428587"/>
                        <a:pt x="852630" y="429740"/>
                      </a:cubicBezTo>
                      <a:cubicBezTo>
                        <a:pt x="856012" y="432064"/>
                        <a:pt x="864137" y="432549"/>
                        <a:pt x="858660" y="437464"/>
                      </a:cubicBezTo>
                      <a:cubicBezTo>
                        <a:pt x="861479" y="437426"/>
                        <a:pt x="876938" y="435340"/>
                        <a:pt x="875414" y="441236"/>
                      </a:cubicBezTo>
                      <a:cubicBezTo>
                        <a:pt x="874576" y="444475"/>
                        <a:pt x="859546" y="447132"/>
                        <a:pt x="856726" y="448971"/>
                      </a:cubicBezTo>
                      <a:cubicBezTo>
                        <a:pt x="861479" y="448990"/>
                        <a:pt x="870928" y="447608"/>
                        <a:pt x="868309" y="454190"/>
                      </a:cubicBezTo>
                      <a:cubicBezTo>
                        <a:pt x="866442" y="458877"/>
                        <a:pt x="852202" y="461953"/>
                        <a:pt x="847782" y="462286"/>
                      </a:cubicBezTo>
                      <a:cubicBezTo>
                        <a:pt x="844582" y="462525"/>
                        <a:pt x="842867" y="460162"/>
                        <a:pt x="838743" y="461753"/>
                      </a:cubicBezTo>
                      <a:cubicBezTo>
                        <a:pt x="834114" y="463544"/>
                        <a:pt x="837047" y="461220"/>
                        <a:pt x="835581" y="465144"/>
                      </a:cubicBezTo>
                      <a:cubicBezTo>
                        <a:pt x="834181" y="468887"/>
                        <a:pt x="834781" y="474821"/>
                        <a:pt x="841086" y="470688"/>
                      </a:cubicBezTo>
                      <a:cubicBezTo>
                        <a:pt x="837305" y="474955"/>
                        <a:pt x="833466" y="476060"/>
                        <a:pt x="835457" y="482070"/>
                      </a:cubicBezTo>
                      <a:cubicBezTo>
                        <a:pt x="837352" y="487785"/>
                        <a:pt x="843553" y="487985"/>
                        <a:pt x="841210" y="494643"/>
                      </a:cubicBezTo>
                      <a:cubicBezTo>
                        <a:pt x="837019" y="506549"/>
                        <a:pt x="819369" y="508635"/>
                        <a:pt x="810406" y="513807"/>
                      </a:cubicBezTo>
                      <a:cubicBezTo>
                        <a:pt x="805444" y="516665"/>
                        <a:pt x="799338" y="519713"/>
                        <a:pt x="793842" y="521284"/>
                      </a:cubicBezTo>
                      <a:cubicBezTo>
                        <a:pt x="790270" y="522304"/>
                        <a:pt x="786965" y="522475"/>
                        <a:pt x="783488" y="523751"/>
                      </a:cubicBezTo>
                      <a:cubicBezTo>
                        <a:pt x="780460" y="524856"/>
                        <a:pt x="775869" y="528476"/>
                        <a:pt x="772449" y="528076"/>
                      </a:cubicBezTo>
                      <a:cubicBezTo>
                        <a:pt x="765601" y="527285"/>
                        <a:pt x="771897" y="522180"/>
                        <a:pt x="767286" y="517598"/>
                      </a:cubicBezTo>
                      <a:cubicBezTo>
                        <a:pt x="766372" y="516693"/>
                        <a:pt x="756076" y="514874"/>
                        <a:pt x="763286" y="513350"/>
                      </a:cubicBezTo>
                      <a:cubicBezTo>
                        <a:pt x="758809" y="506730"/>
                        <a:pt x="752418" y="505987"/>
                        <a:pt x="745998" y="511721"/>
                      </a:cubicBezTo>
                      <a:cubicBezTo>
                        <a:pt x="752856" y="514036"/>
                        <a:pt x="755056" y="506844"/>
                        <a:pt x="759095" y="516636"/>
                      </a:cubicBezTo>
                      <a:cubicBezTo>
                        <a:pt x="760343" y="519646"/>
                        <a:pt x="763905" y="529981"/>
                        <a:pt x="760000" y="532686"/>
                      </a:cubicBezTo>
                      <a:cubicBezTo>
                        <a:pt x="757295" y="534553"/>
                        <a:pt x="752761" y="530619"/>
                        <a:pt x="749932" y="530895"/>
                      </a:cubicBezTo>
                      <a:cubicBezTo>
                        <a:pt x="744988" y="531390"/>
                        <a:pt x="746332" y="534010"/>
                        <a:pt x="740778" y="532695"/>
                      </a:cubicBezTo>
                      <a:cubicBezTo>
                        <a:pt x="735197" y="531381"/>
                        <a:pt x="735082" y="528180"/>
                        <a:pt x="731815" y="525132"/>
                      </a:cubicBezTo>
                      <a:cubicBezTo>
                        <a:pt x="727843" y="521418"/>
                        <a:pt x="726262" y="522694"/>
                        <a:pt x="720166" y="523189"/>
                      </a:cubicBezTo>
                      <a:cubicBezTo>
                        <a:pt x="714499" y="523647"/>
                        <a:pt x="703231" y="520265"/>
                        <a:pt x="700850" y="525999"/>
                      </a:cubicBezTo>
                      <a:cubicBezTo>
                        <a:pt x="698040" y="532772"/>
                        <a:pt x="712013" y="529238"/>
                        <a:pt x="711022" y="535458"/>
                      </a:cubicBezTo>
                      <a:cubicBezTo>
                        <a:pt x="710108" y="541192"/>
                        <a:pt x="689429" y="547669"/>
                        <a:pt x="685286" y="549764"/>
                      </a:cubicBezTo>
                      <a:cubicBezTo>
                        <a:pt x="678542" y="553174"/>
                        <a:pt x="671389" y="558537"/>
                        <a:pt x="663950" y="560194"/>
                      </a:cubicBezTo>
                      <a:cubicBezTo>
                        <a:pt x="651729" y="562928"/>
                        <a:pt x="647910" y="557813"/>
                        <a:pt x="639347" y="551526"/>
                      </a:cubicBezTo>
                      <a:cubicBezTo>
                        <a:pt x="634975" y="548316"/>
                        <a:pt x="625697" y="540611"/>
                        <a:pt x="618315" y="541877"/>
                      </a:cubicBezTo>
                      <a:cubicBezTo>
                        <a:pt x="618563" y="542525"/>
                        <a:pt x="618811" y="543163"/>
                        <a:pt x="619068" y="543811"/>
                      </a:cubicBezTo>
                      <a:cubicBezTo>
                        <a:pt x="608390" y="543611"/>
                        <a:pt x="596541" y="538553"/>
                        <a:pt x="585759" y="541430"/>
                      </a:cubicBezTo>
                      <a:cubicBezTo>
                        <a:pt x="587473" y="543020"/>
                        <a:pt x="589445" y="544259"/>
                        <a:pt x="591626" y="545154"/>
                      </a:cubicBezTo>
                      <a:cubicBezTo>
                        <a:pt x="593265" y="539134"/>
                        <a:pt x="605952" y="544287"/>
                        <a:pt x="609924" y="545449"/>
                      </a:cubicBezTo>
                      <a:cubicBezTo>
                        <a:pt x="618458" y="547945"/>
                        <a:pt x="617144" y="551202"/>
                        <a:pt x="622964" y="557194"/>
                      </a:cubicBezTo>
                      <a:cubicBezTo>
                        <a:pt x="627888" y="562270"/>
                        <a:pt x="636822" y="562023"/>
                        <a:pt x="643585" y="562480"/>
                      </a:cubicBezTo>
                      <a:cubicBezTo>
                        <a:pt x="647748" y="562756"/>
                        <a:pt x="663445" y="560699"/>
                        <a:pt x="666007" y="564433"/>
                      </a:cubicBezTo>
                      <a:cubicBezTo>
                        <a:pt x="668588" y="568176"/>
                        <a:pt x="601647" y="616630"/>
                        <a:pt x="594360" y="599208"/>
                      </a:cubicBezTo>
                      <a:cubicBezTo>
                        <a:pt x="594684" y="605352"/>
                        <a:pt x="590407" y="603285"/>
                        <a:pt x="586521" y="601856"/>
                      </a:cubicBezTo>
                      <a:cubicBezTo>
                        <a:pt x="584178" y="600999"/>
                        <a:pt x="579530" y="602266"/>
                        <a:pt x="582025" y="597103"/>
                      </a:cubicBezTo>
                      <a:cubicBezTo>
                        <a:pt x="579587" y="597542"/>
                        <a:pt x="577139" y="598018"/>
                        <a:pt x="574777" y="598770"/>
                      </a:cubicBezTo>
                      <a:cubicBezTo>
                        <a:pt x="581073" y="602237"/>
                        <a:pt x="573443" y="604723"/>
                        <a:pt x="569452" y="603466"/>
                      </a:cubicBezTo>
                      <a:cubicBezTo>
                        <a:pt x="572872" y="613782"/>
                        <a:pt x="556832" y="613420"/>
                        <a:pt x="551802" y="614058"/>
                      </a:cubicBezTo>
                      <a:cubicBezTo>
                        <a:pt x="546659" y="614715"/>
                        <a:pt x="544859" y="616411"/>
                        <a:pt x="539277" y="614486"/>
                      </a:cubicBezTo>
                      <a:cubicBezTo>
                        <a:pt x="534334" y="612781"/>
                        <a:pt x="528857" y="611581"/>
                        <a:pt x="524256" y="609972"/>
                      </a:cubicBezTo>
                      <a:cubicBezTo>
                        <a:pt x="524713" y="609457"/>
                        <a:pt x="525389" y="609076"/>
                        <a:pt x="525780" y="608705"/>
                      </a:cubicBezTo>
                      <a:cubicBezTo>
                        <a:pt x="516626" y="608886"/>
                        <a:pt x="499034" y="607743"/>
                        <a:pt x="493405" y="598161"/>
                      </a:cubicBezTo>
                      <a:cubicBezTo>
                        <a:pt x="493862" y="600961"/>
                        <a:pt x="484270" y="611953"/>
                        <a:pt x="496357" y="607419"/>
                      </a:cubicBezTo>
                      <a:cubicBezTo>
                        <a:pt x="492728" y="603495"/>
                        <a:pt x="497815" y="605495"/>
                        <a:pt x="500367" y="606133"/>
                      </a:cubicBezTo>
                      <a:cubicBezTo>
                        <a:pt x="505416" y="607400"/>
                        <a:pt x="513255" y="609953"/>
                        <a:pt x="517855" y="612496"/>
                      </a:cubicBezTo>
                      <a:cubicBezTo>
                        <a:pt x="514674" y="614363"/>
                        <a:pt x="510921" y="615125"/>
                        <a:pt x="507740" y="616801"/>
                      </a:cubicBezTo>
                      <a:cubicBezTo>
                        <a:pt x="513207" y="617039"/>
                        <a:pt x="517627" y="612867"/>
                        <a:pt x="522827" y="612829"/>
                      </a:cubicBezTo>
                      <a:cubicBezTo>
                        <a:pt x="527504" y="612801"/>
                        <a:pt x="531533" y="616744"/>
                        <a:pt x="535819" y="619039"/>
                      </a:cubicBezTo>
                      <a:cubicBezTo>
                        <a:pt x="541382" y="622021"/>
                        <a:pt x="542744" y="621935"/>
                        <a:pt x="540144" y="627764"/>
                      </a:cubicBezTo>
                      <a:cubicBezTo>
                        <a:pt x="538258" y="631993"/>
                        <a:pt x="534648" y="634641"/>
                        <a:pt x="530409" y="635994"/>
                      </a:cubicBezTo>
                      <a:cubicBezTo>
                        <a:pt x="526009" y="637404"/>
                        <a:pt x="519855" y="639490"/>
                        <a:pt x="515293" y="640223"/>
                      </a:cubicBezTo>
                      <a:cubicBezTo>
                        <a:pt x="510302" y="641033"/>
                        <a:pt x="505416" y="638566"/>
                        <a:pt x="500567" y="638623"/>
                      </a:cubicBezTo>
                      <a:cubicBezTo>
                        <a:pt x="492843" y="638709"/>
                        <a:pt x="487985" y="645281"/>
                        <a:pt x="498815" y="645481"/>
                      </a:cubicBezTo>
                      <a:cubicBezTo>
                        <a:pt x="496843" y="650967"/>
                        <a:pt x="487728" y="646748"/>
                        <a:pt x="482908" y="648567"/>
                      </a:cubicBezTo>
                      <a:cubicBezTo>
                        <a:pt x="481784" y="648986"/>
                        <a:pt x="474545" y="653110"/>
                        <a:pt x="474155" y="653825"/>
                      </a:cubicBezTo>
                      <a:cubicBezTo>
                        <a:pt x="473288" y="655425"/>
                        <a:pt x="475907" y="657740"/>
                        <a:pt x="474926" y="660483"/>
                      </a:cubicBezTo>
                      <a:cubicBezTo>
                        <a:pt x="471173" y="657778"/>
                        <a:pt x="469183" y="654711"/>
                        <a:pt x="463734" y="654301"/>
                      </a:cubicBezTo>
                      <a:cubicBezTo>
                        <a:pt x="473850" y="659359"/>
                        <a:pt x="456495" y="664588"/>
                        <a:pt x="452066" y="665331"/>
                      </a:cubicBezTo>
                      <a:cubicBezTo>
                        <a:pt x="453590" y="669760"/>
                        <a:pt x="449780" y="666131"/>
                        <a:pt x="447713" y="667826"/>
                      </a:cubicBezTo>
                      <a:cubicBezTo>
                        <a:pt x="446437" y="668874"/>
                        <a:pt x="442836" y="670913"/>
                        <a:pt x="447951" y="672732"/>
                      </a:cubicBezTo>
                      <a:cubicBezTo>
                        <a:pt x="442855" y="676828"/>
                        <a:pt x="435292" y="676904"/>
                        <a:pt x="429920" y="680780"/>
                      </a:cubicBezTo>
                      <a:cubicBezTo>
                        <a:pt x="425748" y="683800"/>
                        <a:pt x="422643" y="686238"/>
                        <a:pt x="419138" y="688610"/>
                      </a:cubicBezTo>
                      <a:cubicBezTo>
                        <a:pt x="414242" y="691915"/>
                        <a:pt x="409099" y="697859"/>
                        <a:pt x="403898" y="701583"/>
                      </a:cubicBezTo>
                      <a:cubicBezTo>
                        <a:pt x="397374" y="706250"/>
                        <a:pt x="392659" y="710689"/>
                        <a:pt x="385134" y="713089"/>
                      </a:cubicBezTo>
                      <a:cubicBezTo>
                        <a:pt x="387944" y="716347"/>
                        <a:pt x="378714" y="724376"/>
                        <a:pt x="375961" y="726272"/>
                      </a:cubicBezTo>
                      <a:cubicBezTo>
                        <a:pt x="369932" y="730434"/>
                        <a:pt x="360121" y="728767"/>
                        <a:pt x="352435" y="728758"/>
                      </a:cubicBezTo>
                      <a:cubicBezTo>
                        <a:pt x="335794" y="728739"/>
                        <a:pt x="319164" y="728748"/>
                        <a:pt x="302524" y="728748"/>
                      </a:cubicBezTo>
                      <a:cubicBezTo>
                        <a:pt x="269300" y="728748"/>
                        <a:pt x="236068" y="728748"/>
                        <a:pt x="202844" y="728748"/>
                      </a:cubicBezTo>
                      <a:cubicBezTo>
                        <a:pt x="237211" y="684181"/>
                        <a:pt x="274939" y="641309"/>
                        <a:pt x="307639" y="595589"/>
                      </a:cubicBezTo>
                      <a:cubicBezTo>
                        <a:pt x="262538" y="590150"/>
                        <a:pt x="217446" y="584635"/>
                        <a:pt x="172355" y="579158"/>
                      </a:cubicBezTo>
                      <a:cubicBezTo>
                        <a:pt x="167088" y="578520"/>
                        <a:pt x="160096" y="578511"/>
                        <a:pt x="156124" y="574367"/>
                      </a:cubicBezTo>
                      <a:cubicBezTo>
                        <a:pt x="152038" y="570100"/>
                        <a:pt x="151495" y="558803"/>
                        <a:pt x="146647" y="555612"/>
                      </a:cubicBezTo>
                      <a:cubicBezTo>
                        <a:pt x="143885" y="553793"/>
                        <a:pt x="130683" y="555555"/>
                        <a:pt x="127054" y="555536"/>
                      </a:cubicBezTo>
                      <a:cubicBezTo>
                        <a:pt x="121282" y="555508"/>
                        <a:pt x="112252" y="556955"/>
                        <a:pt x="106651" y="555470"/>
                      </a:cubicBezTo>
                      <a:cubicBezTo>
                        <a:pt x="98088" y="553174"/>
                        <a:pt x="88163" y="542868"/>
                        <a:pt x="80848" y="537591"/>
                      </a:cubicBezTo>
                      <a:cubicBezTo>
                        <a:pt x="72276" y="531390"/>
                        <a:pt x="63732" y="525142"/>
                        <a:pt x="55226" y="518846"/>
                      </a:cubicBezTo>
                      <a:cubicBezTo>
                        <a:pt x="36614" y="505063"/>
                        <a:pt x="18174" y="491042"/>
                        <a:pt x="0" y="476698"/>
                      </a:cubicBezTo>
                      <a:cubicBezTo>
                        <a:pt x="16069" y="460239"/>
                        <a:pt x="32176" y="443837"/>
                        <a:pt x="48282" y="427435"/>
                      </a:cubicBezTo>
                      <a:cubicBezTo>
                        <a:pt x="55693" y="438417"/>
                        <a:pt x="71133" y="433902"/>
                        <a:pt x="81363" y="439988"/>
                      </a:cubicBezTo>
                      <a:cubicBezTo>
                        <a:pt x="91126" y="445808"/>
                        <a:pt x="100803" y="447799"/>
                        <a:pt x="112024" y="448656"/>
                      </a:cubicBezTo>
                      <a:cubicBezTo>
                        <a:pt x="115862" y="448952"/>
                        <a:pt x="122025" y="450837"/>
                        <a:pt x="125158" y="449847"/>
                      </a:cubicBezTo>
                      <a:cubicBezTo>
                        <a:pt x="125378" y="449771"/>
                        <a:pt x="123625" y="446751"/>
                        <a:pt x="124873" y="446104"/>
                      </a:cubicBezTo>
                      <a:cubicBezTo>
                        <a:pt x="125625" y="445703"/>
                        <a:pt x="127006" y="446513"/>
                        <a:pt x="127692" y="446208"/>
                      </a:cubicBezTo>
                      <a:cubicBezTo>
                        <a:pt x="128464" y="445865"/>
                        <a:pt x="133455" y="445627"/>
                        <a:pt x="134598" y="445713"/>
                      </a:cubicBezTo>
                      <a:cubicBezTo>
                        <a:pt x="139875" y="446132"/>
                        <a:pt x="148276" y="448999"/>
                        <a:pt x="152133" y="452781"/>
                      </a:cubicBezTo>
                      <a:cubicBezTo>
                        <a:pt x="155658" y="456219"/>
                        <a:pt x="154762" y="462401"/>
                        <a:pt x="156810" y="463725"/>
                      </a:cubicBezTo>
                      <a:cubicBezTo>
                        <a:pt x="154467" y="467059"/>
                        <a:pt x="150914" y="468202"/>
                        <a:pt x="146895" y="468840"/>
                      </a:cubicBezTo>
                      <a:cubicBezTo>
                        <a:pt x="144066" y="469278"/>
                        <a:pt x="141199" y="468173"/>
                        <a:pt x="138389" y="468468"/>
                      </a:cubicBezTo>
                      <a:cubicBezTo>
                        <a:pt x="135465" y="468783"/>
                        <a:pt x="134541" y="469840"/>
                        <a:pt x="131740" y="470649"/>
                      </a:cubicBezTo>
                      <a:cubicBezTo>
                        <a:pt x="124311" y="472812"/>
                        <a:pt x="117024" y="475802"/>
                        <a:pt x="110538" y="479879"/>
                      </a:cubicBezTo>
                      <a:cubicBezTo>
                        <a:pt x="120415" y="486461"/>
                        <a:pt x="138370" y="485804"/>
                        <a:pt x="150238" y="486213"/>
                      </a:cubicBezTo>
                      <a:cubicBezTo>
                        <a:pt x="163782" y="486680"/>
                        <a:pt x="177365" y="486385"/>
                        <a:pt x="190843" y="484299"/>
                      </a:cubicBezTo>
                      <a:cubicBezTo>
                        <a:pt x="197558" y="483261"/>
                        <a:pt x="201663" y="483775"/>
                        <a:pt x="208093" y="482279"/>
                      </a:cubicBezTo>
                      <a:cubicBezTo>
                        <a:pt x="211636" y="481451"/>
                        <a:pt x="225590" y="475012"/>
                        <a:pt x="229267" y="477022"/>
                      </a:cubicBezTo>
                      <a:cubicBezTo>
                        <a:pt x="228943" y="476841"/>
                        <a:pt x="230753" y="481270"/>
                        <a:pt x="231096" y="481746"/>
                      </a:cubicBezTo>
                      <a:cubicBezTo>
                        <a:pt x="234086" y="485899"/>
                        <a:pt x="229448" y="484061"/>
                        <a:pt x="237268" y="485280"/>
                      </a:cubicBezTo>
                      <a:cubicBezTo>
                        <a:pt x="247726" y="486909"/>
                        <a:pt x="238582" y="488223"/>
                        <a:pt x="239906" y="495005"/>
                      </a:cubicBezTo>
                      <a:cubicBezTo>
                        <a:pt x="241973" y="493938"/>
                        <a:pt x="246679" y="488785"/>
                        <a:pt x="248745" y="489204"/>
                      </a:cubicBezTo>
                      <a:cubicBezTo>
                        <a:pt x="248631" y="489185"/>
                        <a:pt x="252603" y="497262"/>
                        <a:pt x="252946" y="498710"/>
                      </a:cubicBezTo>
                      <a:cubicBezTo>
                        <a:pt x="254622" y="505654"/>
                        <a:pt x="244754" y="508864"/>
                        <a:pt x="238592" y="505397"/>
                      </a:cubicBezTo>
                      <a:cubicBezTo>
                        <a:pt x="241068" y="510978"/>
                        <a:pt x="242125" y="523970"/>
                        <a:pt x="246860" y="527247"/>
                      </a:cubicBezTo>
                      <a:cubicBezTo>
                        <a:pt x="247326" y="521589"/>
                        <a:pt x="243811" y="512998"/>
                        <a:pt x="251441" y="509521"/>
                      </a:cubicBezTo>
                      <a:cubicBezTo>
                        <a:pt x="254232" y="508245"/>
                        <a:pt x="259423" y="509769"/>
                        <a:pt x="262195" y="512036"/>
                      </a:cubicBezTo>
                      <a:cubicBezTo>
                        <a:pt x="261995" y="510759"/>
                        <a:pt x="262376" y="507911"/>
                        <a:pt x="262700" y="506578"/>
                      </a:cubicBezTo>
                      <a:cubicBezTo>
                        <a:pt x="262985" y="505444"/>
                        <a:pt x="265062" y="505759"/>
                        <a:pt x="265328" y="504273"/>
                      </a:cubicBezTo>
                      <a:cubicBezTo>
                        <a:pt x="265519" y="503206"/>
                        <a:pt x="263290" y="502434"/>
                        <a:pt x="263757" y="500863"/>
                      </a:cubicBezTo>
                      <a:cubicBezTo>
                        <a:pt x="264995" y="496719"/>
                        <a:pt x="267186" y="493567"/>
                        <a:pt x="268367" y="489814"/>
                      </a:cubicBezTo>
                      <a:cubicBezTo>
                        <a:pt x="268738" y="488652"/>
                        <a:pt x="266719" y="487128"/>
                        <a:pt x="267586" y="485232"/>
                      </a:cubicBezTo>
                      <a:cubicBezTo>
                        <a:pt x="268786" y="482632"/>
                        <a:pt x="271777" y="482279"/>
                        <a:pt x="273844" y="480908"/>
                      </a:cubicBezTo>
                      <a:cubicBezTo>
                        <a:pt x="279378" y="477212"/>
                        <a:pt x="279883" y="475983"/>
                        <a:pt x="286874" y="475002"/>
                      </a:cubicBezTo>
                      <a:cubicBezTo>
                        <a:pt x="294808" y="473888"/>
                        <a:pt x="304886" y="473240"/>
                        <a:pt x="312068" y="470307"/>
                      </a:cubicBezTo>
                      <a:cubicBezTo>
                        <a:pt x="315363" y="468954"/>
                        <a:pt x="318697" y="465963"/>
                        <a:pt x="322964" y="464677"/>
                      </a:cubicBezTo>
                      <a:cubicBezTo>
                        <a:pt x="328565" y="462972"/>
                        <a:pt x="335604" y="462963"/>
                        <a:pt x="339042" y="457543"/>
                      </a:cubicBezTo>
                      <a:cubicBezTo>
                        <a:pt x="333889" y="455619"/>
                        <a:pt x="324745" y="458924"/>
                        <a:pt x="320088" y="461401"/>
                      </a:cubicBezTo>
                      <a:cubicBezTo>
                        <a:pt x="317011" y="463039"/>
                        <a:pt x="315620" y="464296"/>
                        <a:pt x="312715" y="465039"/>
                      </a:cubicBezTo>
                      <a:cubicBezTo>
                        <a:pt x="310420" y="465630"/>
                        <a:pt x="306686" y="465487"/>
                        <a:pt x="304048" y="466058"/>
                      </a:cubicBezTo>
                      <a:cubicBezTo>
                        <a:pt x="298161" y="467344"/>
                        <a:pt x="292837" y="465868"/>
                        <a:pt x="287455" y="468306"/>
                      </a:cubicBezTo>
                      <a:cubicBezTo>
                        <a:pt x="285864" y="469030"/>
                        <a:pt x="285531" y="470659"/>
                        <a:pt x="282645" y="471459"/>
                      </a:cubicBezTo>
                      <a:cubicBezTo>
                        <a:pt x="281168" y="471869"/>
                        <a:pt x="274796" y="472393"/>
                        <a:pt x="273291" y="472021"/>
                      </a:cubicBezTo>
                      <a:cubicBezTo>
                        <a:pt x="264366" y="469840"/>
                        <a:pt x="268624" y="466297"/>
                        <a:pt x="274234" y="463068"/>
                      </a:cubicBezTo>
                      <a:cubicBezTo>
                        <a:pt x="282273" y="458438"/>
                        <a:pt x="286102" y="457591"/>
                        <a:pt x="295237" y="456543"/>
                      </a:cubicBezTo>
                      <a:cubicBezTo>
                        <a:pt x="309020" y="454962"/>
                        <a:pt x="322364" y="449618"/>
                        <a:pt x="336080" y="448323"/>
                      </a:cubicBezTo>
                      <a:cubicBezTo>
                        <a:pt x="344024" y="447570"/>
                        <a:pt x="348682" y="449513"/>
                        <a:pt x="345453" y="457467"/>
                      </a:cubicBezTo>
                      <a:cubicBezTo>
                        <a:pt x="343986" y="461086"/>
                        <a:pt x="340671" y="470173"/>
                        <a:pt x="348777" y="467249"/>
                      </a:cubicBezTo>
                      <a:cubicBezTo>
                        <a:pt x="348482" y="467801"/>
                        <a:pt x="348196" y="468354"/>
                        <a:pt x="347901" y="468906"/>
                      </a:cubicBezTo>
                      <a:cubicBezTo>
                        <a:pt x="349682" y="468668"/>
                        <a:pt x="351311" y="469583"/>
                        <a:pt x="352939" y="469545"/>
                      </a:cubicBezTo>
                      <a:cubicBezTo>
                        <a:pt x="341671" y="477155"/>
                        <a:pt x="371170" y="473736"/>
                        <a:pt x="372770" y="473878"/>
                      </a:cubicBezTo>
                      <a:cubicBezTo>
                        <a:pt x="380314" y="474536"/>
                        <a:pt x="383543" y="484356"/>
                        <a:pt x="392735" y="485223"/>
                      </a:cubicBezTo>
                      <a:cubicBezTo>
                        <a:pt x="411042" y="486947"/>
                        <a:pt x="429235" y="479879"/>
                        <a:pt x="447799" y="482632"/>
                      </a:cubicBezTo>
                      <a:cubicBezTo>
                        <a:pt x="452066" y="483261"/>
                        <a:pt x="456028" y="485232"/>
                        <a:pt x="460248" y="485585"/>
                      </a:cubicBezTo>
                      <a:cubicBezTo>
                        <a:pt x="463144" y="485823"/>
                        <a:pt x="472850" y="484946"/>
                        <a:pt x="475059" y="483251"/>
                      </a:cubicBezTo>
                      <a:cubicBezTo>
                        <a:pt x="479365" y="479965"/>
                        <a:pt x="473412" y="482365"/>
                        <a:pt x="475107" y="478727"/>
                      </a:cubicBezTo>
                      <a:cubicBezTo>
                        <a:pt x="476126" y="476536"/>
                        <a:pt x="476250" y="473602"/>
                        <a:pt x="480031" y="475117"/>
                      </a:cubicBezTo>
                      <a:cubicBezTo>
                        <a:pt x="483013" y="476317"/>
                        <a:pt x="482784" y="482718"/>
                        <a:pt x="484861" y="485023"/>
                      </a:cubicBezTo>
                      <a:cubicBezTo>
                        <a:pt x="487737" y="488204"/>
                        <a:pt x="491414" y="488861"/>
                        <a:pt x="495691" y="488090"/>
                      </a:cubicBezTo>
                      <a:cubicBezTo>
                        <a:pt x="502653" y="486842"/>
                        <a:pt x="508645" y="480470"/>
                        <a:pt x="498662" y="477879"/>
                      </a:cubicBezTo>
                      <a:cubicBezTo>
                        <a:pt x="494633" y="476831"/>
                        <a:pt x="487661" y="481270"/>
                        <a:pt x="484718" y="479212"/>
                      </a:cubicBezTo>
                      <a:cubicBezTo>
                        <a:pt x="479660" y="475669"/>
                        <a:pt x="485365" y="472221"/>
                        <a:pt x="486166" y="470478"/>
                      </a:cubicBezTo>
                      <a:cubicBezTo>
                        <a:pt x="488261" y="465896"/>
                        <a:pt x="483832" y="465744"/>
                        <a:pt x="490318" y="464763"/>
                      </a:cubicBezTo>
                      <a:cubicBezTo>
                        <a:pt x="491242" y="464620"/>
                        <a:pt x="495014" y="466087"/>
                        <a:pt x="496624" y="466116"/>
                      </a:cubicBezTo>
                      <a:cubicBezTo>
                        <a:pt x="499234" y="466154"/>
                        <a:pt x="502406" y="465039"/>
                        <a:pt x="504958" y="464582"/>
                      </a:cubicBezTo>
                      <a:cubicBezTo>
                        <a:pt x="501748" y="458381"/>
                        <a:pt x="514931" y="459905"/>
                        <a:pt x="517331" y="461896"/>
                      </a:cubicBezTo>
                      <a:cubicBezTo>
                        <a:pt x="519313" y="463534"/>
                        <a:pt x="518065" y="467725"/>
                        <a:pt x="519303" y="468744"/>
                      </a:cubicBezTo>
                      <a:cubicBezTo>
                        <a:pt x="521808" y="470783"/>
                        <a:pt x="529914" y="468030"/>
                        <a:pt x="532448" y="467001"/>
                      </a:cubicBezTo>
                      <a:cubicBezTo>
                        <a:pt x="528580" y="470478"/>
                        <a:pt x="523170" y="472050"/>
                        <a:pt x="519456" y="475564"/>
                      </a:cubicBezTo>
                      <a:cubicBezTo>
                        <a:pt x="526352" y="475793"/>
                        <a:pt x="533648" y="469868"/>
                        <a:pt x="540877" y="468935"/>
                      </a:cubicBezTo>
                      <a:cubicBezTo>
                        <a:pt x="533057" y="474650"/>
                        <a:pt x="525104" y="482137"/>
                        <a:pt x="518236" y="488871"/>
                      </a:cubicBezTo>
                      <a:cubicBezTo>
                        <a:pt x="515931" y="491128"/>
                        <a:pt x="512493" y="494281"/>
                        <a:pt x="513969" y="497824"/>
                      </a:cubicBezTo>
                      <a:cubicBezTo>
                        <a:pt x="514988" y="500291"/>
                        <a:pt x="512893" y="499024"/>
                        <a:pt x="516998" y="499529"/>
                      </a:cubicBezTo>
                      <a:cubicBezTo>
                        <a:pt x="518808" y="499748"/>
                        <a:pt x="521713" y="498510"/>
                        <a:pt x="523570" y="498301"/>
                      </a:cubicBezTo>
                      <a:cubicBezTo>
                        <a:pt x="522665" y="499577"/>
                        <a:pt x="520703" y="501406"/>
                        <a:pt x="519093" y="502472"/>
                      </a:cubicBezTo>
                      <a:cubicBezTo>
                        <a:pt x="524332" y="499882"/>
                        <a:pt x="528199" y="502711"/>
                        <a:pt x="523446" y="507197"/>
                      </a:cubicBezTo>
                      <a:cubicBezTo>
                        <a:pt x="520665" y="509816"/>
                        <a:pt x="516179" y="509226"/>
                        <a:pt x="512683" y="509064"/>
                      </a:cubicBezTo>
                      <a:cubicBezTo>
                        <a:pt x="510673" y="508969"/>
                        <a:pt x="502291" y="506263"/>
                        <a:pt x="502091" y="506473"/>
                      </a:cubicBezTo>
                      <a:cubicBezTo>
                        <a:pt x="498720" y="509978"/>
                        <a:pt x="509054" y="515455"/>
                        <a:pt x="504901" y="520360"/>
                      </a:cubicBezTo>
                      <a:cubicBezTo>
                        <a:pt x="511321" y="517732"/>
                        <a:pt x="503949" y="513607"/>
                        <a:pt x="507416" y="510245"/>
                      </a:cubicBezTo>
                      <a:cubicBezTo>
                        <a:pt x="509873" y="507864"/>
                        <a:pt x="518798" y="511616"/>
                        <a:pt x="522989" y="509130"/>
                      </a:cubicBezTo>
                      <a:cubicBezTo>
                        <a:pt x="527285" y="506578"/>
                        <a:pt x="532352" y="499986"/>
                        <a:pt x="534343" y="495624"/>
                      </a:cubicBezTo>
                      <a:cubicBezTo>
                        <a:pt x="538001" y="487575"/>
                        <a:pt x="533229" y="486718"/>
                        <a:pt x="540801" y="480575"/>
                      </a:cubicBezTo>
                      <a:cubicBezTo>
                        <a:pt x="550440" y="472745"/>
                        <a:pt x="559680" y="475936"/>
                        <a:pt x="570862" y="471069"/>
                      </a:cubicBezTo>
                      <a:cubicBezTo>
                        <a:pt x="581806" y="466297"/>
                        <a:pt x="593389" y="462315"/>
                        <a:pt x="604123" y="457286"/>
                      </a:cubicBezTo>
                      <a:cubicBezTo>
                        <a:pt x="602752" y="457467"/>
                        <a:pt x="601513" y="456895"/>
                        <a:pt x="600275" y="456838"/>
                      </a:cubicBezTo>
                      <a:cubicBezTo>
                        <a:pt x="601132" y="454714"/>
                        <a:pt x="607447" y="449256"/>
                        <a:pt x="605780" y="446542"/>
                      </a:cubicBezTo>
                      <a:cubicBezTo>
                        <a:pt x="603990" y="443617"/>
                        <a:pt x="596998" y="451228"/>
                        <a:pt x="593884" y="452257"/>
                      </a:cubicBezTo>
                      <a:cubicBezTo>
                        <a:pt x="588883" y="453904"/>
                        <a:pt x="580882" y="455124"/>
                        <a:pt x="586388" y="448952"/>
                      </a:cubicBezTo>
                      <a:cubicBezTo>
                        <a:pt x="590140" y="444751"/>
                        <a:pt x="598237" y="443932"/>
                        <a:pt x="603009" y="440998"/>
                      </a:cubicBezTo>
                      <a:cubicBezTo>
                        <a:pt x="596275" y="442084"/>
                        <a:pt x="602590" y="436178"/>
                        <a:pt x="604999" y="434959"/>
                      </a:cubicBezTo>
                      <a:cubicBezTo>
                        <a:pt x="608924" y="432978"/>
                        <a:pt x="615305" y="433150"/>
                        <a:pt x="619639" y="432149"/>
                      </a:cubicBezTo>
                      <a:cubicBezTo>
                        <a:pt x="617191" y="434083"/>
                        <a:pt x="613972" y="435359"/>
                        <a:pt x="611391" y="437331"/>
                      </a:cubicBezTo>
                      <a:cubicBezTo>
                        <a:pt x="614248" y="438626"/>
                        <a:pt x="619735" y="435216"/>
                        <a:pt x="622640" y="433473"/>
                      </a:cubicBezTo>
                      <a:cubicBezTo>
                        <a:pt x="621944" y="433397"/>
                        <a:pt x="621249" y="433321"/>
                        <a:pt x="620554" y="433254"/>
                      </a:cubicBezTo>
                      <a:cubicBezTo>
                        <a:pt x="628888" y="426492"/>
                        <a:pt x="608800" y="432559"/>
                        <a:pt x="606200" y="430673"/>
                      </a:cubicBezTo>
                      <a:cubicBezTo>
                        <a:pt x="602790" y="428197"/>
                        <a:pt x="605133" y="426330"/>
                        <a:pt x="601199" y="425358"/>
                      </a:cubicBezTo>
                      <a:cubicBezTo>
                        <a:pt x="600818" y="425263"/>
                        <a:pt x="598141" y="426796"/>
                        <a:pt x="597132" y="426796"/>
                      </a:cubicBezTo>
                      <a:cubicBezTo>
                        <a:pt x="594198" y="426787"/>
                        <a:pt x="590617" y="424177"/>
                        <a:pt x="587931" y="423072"/>
                      </a:cubicBezTo>
                      <a:cubicBezTo>
                        <a:pt x="581073" y="420281"/>
                        <a:pt x="573805" y="417586"/>
                        <a:pt x="576796" y="407842"/>
                      </a:cubicBezTo>
                      <a:cubicBezTo>
                        <a:pt x="578863" y="401088"/>
                        <a:pt x="593036" y="394640"/>
                        <a:pt x="599589" y="396497"/>
                      </a:cubicBezTo>
                      <a:cubicBezTo>
                        <a:pt x="598227" y="394154"/>
                        <a:pt x="600085" y="392783"/>
                        <a:pt x="603037" y="391925"/>
                      </a:cubicBezTo>
                      <a:cubicBezTo>
                        <a:pt x="597122" y="392773"/>
                        <a:pt x="588283" y="395307"/>
                        <a:pt x="594008" y="385772"/>
                      </a:cubicBezTo>
                      <a:cubicBezTo>
                        <a:pt x="596303" y="381953"/>
                        <a:pt x="601123" y="378762"/>
                        <a:pt x="604190" y="376238"/>
                      </a:cubicBezTo>
                      <a:cubicBezTo>
                        <a:pt x="608209" y="372923"/>
                        <a:pt x="613515" y="369094"/>
                        <a:pt x="619173" y="369637"/>
                      </a:cubicBezTo>
                      <a:cubicBezTo>
                        <a:pt x="620725" y="369780"/>
                        <a:pt x="621668" y="372304"/>
                        <a:pt x="623888" y="372256"/>
                      </a:cubicBezTo>
                      <a:cubicBezTo>
                        <a:pt x="627050" y="372190"/>
                        <a:pt x="630269" y="368418"/>
                        <a:pt x="632889" y="366808"/>
                      </a:cubicBezTo>
                      <a:cubicBezTo>
                        <a:pt x="630222" y="366332"/>
                        <a:pt x="623649" y="367560"/>
                        <a:pt x="625935" y="363846"/>
                      </a:cubicBezTo>
                      <a:cubicBezTo>
                        <a:pt x="627326" y="361569"/>
                        <a:pt x="637556" y="358121"/>
                        <a:pt x="640299" y="356788"/>
                      </a:cubicBezTo>
                      <a:cubicBezTo>
                        <a:pt x="645081" y="354473"/>
                        <a:pt x="652586" y="351130"/>
                        <a:pt x="658035" y="351492"/>
                      </a:cubicBezTo>
                      <a:cubicBezTo>
                        <a:pt x="666369" y="352044"/>
                        <a:pt x="658492" y="353016"/>
                        <a:pt x="662445" y="358207"/>
                      </a:cubicBezTo>
                      <a:lnTo>
                        <a:pt x="662445" y="358207"/>
                      </a:lnTo>
                      <a:close/>
                      <a:moveTo>
                        <a:pt x="544049" y="425053"/>
                      </a:moveTo>
                      <a:cubicBezTo>
                        <a:pt x="549335" y="422920"/>
                        <a:pt x="550888" y="426701"/>
                        <a:pt x="554908" y="430140"/>
                      </a:cubicBezTo>
                      <a:cubicBezTo>
                        <a:pt x="558841" y="433511"/>
                        <a:pt x="560108" y="433340"/>
                        <a:pt x="561051" y="438226"/>
                      </a:cubicBezTo>
                      <a:cubicBezTo>
                        <a:pt x="561613" y="441160"/>
                        <a:pt x="559079" y="444741"/>
                        <a:pt x="561127" y="447637"/>
                      </a:cubicBezTo>
                      <a:cubicBezTo>
                        <a:pt x="563280" y="450685"/>
                        <a:pt x="572853" y="447570"/>
                        <a:pt x="569014" y="451447"/>
                      </a:cubicBezTo>
                      <a:cubicBezTo>
                        <a:pt x="566395" y="454095"/>
                        <a:pt x="555832" y="455448"/>
                        <a:pt x="551850" y="457048"/>
                      </a:cubicBezTo>
                      <a:cubicBezTo>
                        <a:pt x="538353" y="462448"/>
                        <a:pt x="525618" y="462877"/>
                        <a:pt x="512874" y="457076"/>
                      </a:cubicBezTo>
                      <a:cubicBezTo>
                        <a:pt x="510026" y="455781"/>
                        <a:pt x="506749" y="454695"/>
                        <a:pt x="504111" y="453190"/>
                      </a:cubicBezTo>
                      <a:cubicBezTo>
                        <a:pt x="503292" y="452723"/>
                        <a:pt x="506959" y="450923"/>
                        <a:pt x="503930" y="450285"/>
                      </a:cubicBezTo>
                      <a:cubicBezTo>
                        <a:pt x="501244" y="449713"/>
                        <a:pt x="491585" y="454438"/>
                        <a:pt x="494900" y="447428"/>
                      </a:cubicBezTo>
                      <a:cubicBezTo>
                        <a:pt x="491195" y="447094"/>
                        <a:pt x="487023" y="452171"/>
                        <a:pt x="483832" y="448542"/>
                      </a:cubicBezTo>
                      <a:cubicBezTo>
                        <a:pt x="479222" y="443294"/>
                        <a:pt x="489442" y="441322"/>
                        <a:pt x="492366" y="440865"/>
                      </a:cubicBezTo>
                      <a:cubicBezTo>
                        <a:pt x="498643" y="439884"/>
                        <a:pt x="505844" y="439922"/>
                        <a:pt x="511407" y="436226"/>
                      </a:cubicBezTo>
                      <a:cubicBezTo>
                        <a:pt x="514236" y="434350"/>
                        <a:pt x="515417" y="429997"/>
                        <a:pt x="518503" y="430197"/>
                      </a:cubicBezTo>
                      <a:cubicBezTo>
                        <a:pt x="516284" y="423586"/>
                        <a:pt x="524580" y="430663"/>
                        <a:pt x="526590" y="430921"/>
                      </a:cubicBezTo>
                      <a:cubicBezTo>
                        <a:pt x="522151" y="424958"/>
                        <a:pt x="530028" y="420653"/>
                        <a:pt x="534819" y="419214"/>
                      </a:cubicBezTo>
                      <a:cubicBezTo>
                        <a:pt x="539972" y="417652"/>
                        <a:pt x="551669" y="420948"/>
                        <a:pt x="544049" y="425053"/>
                      </a:cubicBezTo>
                      <a:lnTo>
                        <a:pt x="544049" y="425053"/>
                      </a:lnTo>
                      <a:close/>
                      <a:moveTo>
                        <a:pt x="980437" y="466639"/>
                      </a:moveTo>
                      <a:cubicBezTo>
                        <a:pt x="987962" y="468849"/>
                        <a:pt x="991086" y="467592"/>
                        <a:pt x="988952" y="474412"/>
                      </a:cubicBezTo>
                      <a:cubicBezTo>
                        <a:pt x="988562" y="475641"/>
                        <a:pt x="985218" y="478841"/>
                        <a:pt x="984285" y="480251"/>
                      </a:cubicBezTo>
                      <a:cubicBezTo>
                        <a:pt x="982351" y="483156"/>
                        <a:pt x="981494" y="486328"/>
                        <a:pt x="979218" y="489080"/>
                      </a:cubicBezTo>
                      <a:cubicBezTo>
                        <a:pt x="969978" y="500225"/>
                        <a:pt x="952453" y="500377"/>
                        <a:pt x="939146" y="500720"/>
                      </a:cubicBezTo>
                      <a:cubicBezTo>
                        <a:pt x="920372" y="501206"/>
                        <a:pt x="936346" y="482213"/>
                        <a:pt x="944109" y="476898"/>
                      </a:cubicBezTo>
                      <a:cubicBezTo>
                        <a:pt x="954958" y="469468"/>
                        <a:pt x="966959" y="464115"/>
                        <a:pt x="980437" y="466639"/>
                      </a:cubicBezTo>
                      <a:lnTo>
                        <a:pt x="980437" y="466639"/>
                      </a:lnTo>
                      <a:close/>
                    </a:path>
                  </a:pathLst>
                </a:custGeom>
                <a:solidFill>
                  <a:srgbClr val="D6D6D2"/>
                </a:solidFill>
                <a:ln w="9525" cap="flat">
                  <a:solidFill>
                    <a:srgbClr val="FFFFFF"/>
                  </a:solidFill>
                  <a:prstDash val="solid"/>
                  <a:miter/>
                </a:ln>
              </p:spPr>
              <p:txBody>
                <a:bodyPr rtlCol="0" anchor="ctr"/>
                <a:lstStyle/>
                <a:p>
                  <a:endParaRPr lang="en-US"/>
                </a:p>
              </p:txBody>
            </p:sp>
            <p:sp>
              <p:nvSpPr>
                <p:cNvPr id="524" name="Freeform: Shape 523">
                  <a:extLst>
                    <a:ext uri="{FF2B5EF4-FFF2-40B4-BE49-F238E27FC236}">
                      <a16:creationId xmlns:a16="http://schemas.microsoft.com/office/drawing/2014/main" id="{8BA0F296-0971-414E-A8C1-2772DD12C80E}"/>
                    </a:ext>
                  </a:extLst>
                </p:cNvPr>
                <p:cNvSpPr/>
                <p:nvPr/>
              </p:nvSpPr>
              <p:spPr>
                <a:xfrm>
                  <a:off x="3800158" y="2884100"/>
                  <a:ext cx="197422" cy="110116"/>
                </a:xfrm>
                <a:custGeom>
                  <a:avLst/>
                  <a:gdLst>
                    <a:gd name="connsiteX0" fmla="*/ 161812 w 197422"/>
                    <a:gd name="connsiteY0" fmla="*/ 33528 h 110116"/>
                    <a:gd name="connsiteX1" fmla="*/ 168689 w 197422"/>
                    <a:gd name="connsiteY1" fmla="*/ 32309 h 110116"/>
                    <a:gd name="connsiteX2" fmla="*/ 162869 w 197422"/>
                    <a:gd name="connsiteY2" fmla="*/ 35500 h 110116"/>
                    <a:gd name="connsiteX3" fmla="*/ 164346 w 197422"/>
                    <a:gd name="connsiteY3" fmla="*/ 36328 h 110116"/>
                    <a:gd name="connsiteX4" fmla="*/ 160145 w 197422"/>
                    <a:gd name="connsiteY4" fmla="*/ 41129 h 110116"/>
                    <a:gd name="connsiteX5" fmla="*/ 169642 w 197422"/>
                    <a:gd name="connsiteY5" fmla="*/ 39443 h 110116"/>
                    <a:gd name="connsiteX6" fmla="*/ 179328 w 197422"/>
                    <a:gd name="connsiteY6" fmla="*/ 32776 h 110116"/>
                    <a:gd name="connsiteX7" fmla="*/ 171899 w 197422"/>
                    <a:gd name="connsiteY7" fmla="*/ 33157 h 110116"/>
                    <a:gd name="connsiteX8" fmla="*/ 188282 w 197422"/>
                    <a:gd name="connsiteY8" fmla="*/ 25632 h 110116"/>
                    <a:gd name="connsiteX9" fmla="*/ 193987 w 197422"/>
                    <a:gd name="connsiteY9" fmla="*/ 31175 h 110116"/>
                    <a:gd name="connsiteX10" fmla="*/ 196178 w 197422"/>
                    <a:gd name="connsiteY10" fmla="*/ 32880 h 110116"/>
                    <a:gd name="connsiteX11" fmla="*/ 169108 w 197422"/>
                    <a:gd name="connsiteY11" fmla="*/ 44672 h 110116"/>
                    <a:gd name="connsiteX12" fmla="*/ 149944 w 197422"/>
                    <a:gd name="connsiteY12" fmla="*/ 40405 h 110116"/>
                    <a:gd name="connsiteX13" fmla="*/ 169022 w 197422"/>
                    <a:gd name="connsiteY13" fmla="*/ 15850 h 110116"/>
                    <a:gd name="connsiteX14" fmla="*/ 193187 w 197422"/>
                    <a:gd name="connsiteY14" fmla="*/ 172 h 110116"/>
                    <a:gd name="connsiteX15" fmla="*/ 191587 w 197422"/>
                    <a:gd name="connsiteY15" fmla="*/ 9068 h 110116"/>
                    <a:gd name="connsiteX16" fmla="*/ 182605 w 197422"/>
                    <a:gd name="connsiteY16" fmla="*/ 21317 h 110116"/>
                    <a:gd name="connsiteX17" fmla="*/ 161812 w 197422"/>
                    <a:gd name="connsiteY17" fmla="*/ 33528 h 110116"/>
                    <a:gd name="connsiteX18" fmla="*/ 161812 w 197422"/>
                    <a:gd name="connsiteY18" fmla="*/ 33528 h 110116"/>
                    <a:gd name="connsiteX19" fmla="*/ 88041 w 197422"/>
                    <a:gd name="connsiteY19" fmla="*/ 33080 h 110116"/>
                    <a:gd name="connsiteX20" fmla="*/ 95213 w 197422"/>
                    <a:gd name="connsiteY20" fmla="*/ 35643 h 110116"/>
                    <a:gd name="connsiteX21" fmla="*/ 100538 w 197422"/>
                    <a:gd name="connsiteY21" fmla="*/ 38481 h 110116"/>
                    <a:gd name="connsiteX22" fmla="*/ 116682 w 197422"/>
                    <a:gd name="connsiteY22" fmla="*/ 39967 h 110116"/>
                    <a:gd name="connsiteX23" fmla="*/ 114215 w 197422"/>
                    <a:gd name="connsiteY23" fmla="*/ 42882 h 110116"/>
                    <a:gd name="connsiteX24" fmla="*/ 121340 w 197422"/>
                    <a:gd name="connsiteY24" fmla="*/ 43568 h 110116"/>
                    <a:gd name="connsiteX25" fmla="*/ 126350 w 197422"/>
                    <a:gd name="connsiteY25" fmla="*/ 41320 h 110116"/>
                    <a:gd name="connsiteX26" fmla="*/ 138590 w 197422"/>
                    <a:gd name="connsiteY26" fmla="*/ 37719 h 110116"/>
                    <a:gd name="connsiteX27" fmla="*/ 141133 w 197422"/>
                    <a:gd name="connsiteY27" fmla="*/ 42758 h 110116"/>
                    <a:gd name="connsiteX28" fmla="*/ 148991 w 197422"/>
                    <a:gd name="connsiteY28" fmla="*/ 42272 h 110116"/>
                    <a:gd name="connsiteX29" fmla="*/ 145334 w 197422"/>
                    <a:gd name="connsiteY29" fmla="*/ 51759 h 110116"/>
                    <a:gd name="connsiteX30" fmla="*/ 155668 w 197422"/>
                    <a:gd name="connsiteY30" fmla="*/ 53521 h 110116"/>
                    <a:gd name="connsiteX31" fmla="*/ 148525 w 197422"/>
                    <a:gd name="connsiteY31" fmla="*/ 55902 h 110116"/>
                    <a:gd name="connsiteX32" fmla="*/ 125665 w 197422"/>
                    <a:gd name="connsiteY32" fmla="*/ 63484 h 110116"/>
                    <a:gd name="connsiteX33" fmla="*/ 99223 w 197422"/>
                    <a:gd name="connsiteY33" fmla="*/ 71181 h 110116"/>
                    <a:gd name="connsiteX34" fmla="*/ 79421 w 197422"/>
                    <a:gd name="connsiteY34" fmla="*/ 73295 h 110116"/>
                    <a:gd name="connsiteX35" fmla="*/ 71791 w 197422"/>
                    <a:gd name="connsiteY35" fmla="*/ 78915 h 110116"/>
                    <a:gd name="connsiteX36" fmla="*/ 68676 w 197422"/>
                    <a:gd name="connsiteY36" fmla="*/ 74829 h 110116"/>
                    <a:gd name="connsiteX37" fmla="*/ 63619 w 197422"/>
                    <a:gd name="connsiteY37" fmla="*/ 79458 h 110116"/>
                    <a:gd name="connsiteX38" fmla="*/ 63057 w 197422"/>
                    <a:gd name="connsiteY38" fmla="*/ 76334 h 110116"/>
                    <a:gd name="connsiteX39" fmla="*/ 56999 w 197422"/>
                    <a:gd name="connsiteY39" fmla="*/ 83020 h 110116"/>
                    <a:gd name="connsiteX40" fmla="*/ 49931 w 197422"/>
                    <a:gd name="connsiteY40" fmla="*/ 88983 h 110116"/>
                    <a:gd name="connsiteX41" fmla="*/ 27824 w 197422"/>
                    <a:gd name="connsiteY41" fmla="*/ 103242 h 110116"/>
                    <a:gd name="connsiteX42" fmla="*/ 19280 w 197422"/>
                    <a:gd name="connsiteY42" fmla="*/ 107137 h 110116"/>
                    <a:gd name="connsiteX43" fmla="*/ 14460 w 197422"/>
                    <a:gd name="connsiteY43" fmla="*/ 109947 h 110116"/>
                    <a:gd name="connsiteX44" fmla="*/ 7478 w 197422"/>
                    <a:gd name="connsiteY44" fmla="*/ 104975 h 110116"/>
                    <a:gd name="connsiteX45" fmla="*/ 1935 w 197422"/>
                    <a:gd name="connsiteY45" fmla="*/ 102937 h 110116"/>
                    <a:gd name="connsiteX46" fmla="*/ 16965 w 197422"/>
                    <a:gd name="connsiteY46" fmla="*/ 76895 h 110116"/>
                    <a:gd name="connsiteX47" fmla="*/ 7764 w 197422"/>
                    <a:gd name="connsiteY47" fmla="*/ 81077 h 110116"/>
                    <a:gd name="connsiteX48" fmla="*/ 29252 w 197422"/>
                    <a:gd name="connsiteY48" fmla="*/ 70857 h 110116"/>
                    <a:gd name="connsiteX49" fmla="*/ 22356 w 197422"/>
                    <a:gd name="connsiteY49" fmla="*/ 72847 h 110116"/>
                    <a:gd name="connsiteX50" fmla="*/ 64876 w 197422"/>
                    <a:gd name="connsiteY50" fmla="*/ 52683 h 110116"/>
                    <a:gd name="connsiteX51" fmla="*/ 67667 w 197422"/>
                    <a:gd name="connsiteY51" fmla="*/ 53569 h 110116"/>
                    <a:gd name="connsiteX52" fmla="*/ 69324 w 197422"/>
                    <a:gd name="connsiteY52" fmla="*/ 62579 h 110116"/>
                    <a:gd name="connsiteX53" fmla="*/ 94175 w 197422"/>
                    <a:gd name="connsiteY53" fmla="*/ 51816 h 110116"/>
                    <a:gd name="connsiteX54" fmla="*/ 69610 w 197422"/>
                    <a:gd name="connsiteY54" fmla="*/ 50940 h 110116"/>
                    <a:gd name="connsiteX55" fmla="*/ 52875 w 197422"/>
                    <a:gd name="connsiteY55" fmla="*/ 51511 h 110116"/>
                    <a:gd name="connsiteX56" fmla="*/ 88041 w 197422"/>
                    <a:gd name="connsiteY56" fmla="*/ 33080 h 110116"/>
                    <a:gd name="connsiteX57" fmla="*/ 88041 w 197422"/>
                    <a:gd name="connsiteY57" fmla="*/ 33080 h 110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97422" h="110116">
                      <a:moveTo>
                        <a:pt x="161812" y="33528"/>
                      </a:moveTo>
                      <a:cubicBezTo>
                        <a:pt x="163907" y="33033"/>
                        <a:pt x="166403" y="32585"/>
                        <a:pt x="168689" y="32309"/>
                      </a:cubicBezTo>
                      <a:cubicBezTo>
                        <a:pt x="167260" y="33709"/>
                        <a:pt x="165088" y="34881"/>
                        <a:pt x="162869" y="35500"/>
                      </a:cubicBezTo>
                      <a:cubicBezTo>
                        <a:pt x="163364" y="35776"/>
                        <a:pt x="163850" y="36052"/>
                        <a:pt x="164346" y="36328"/>
                      </a:cubicBezTo>
                      <a:cubicBezTo>
                        <a:pt x="162174" y="37338"/>
                        <a:pt x="160050" y="38815"/>
                        <a:pt x="160145" y="41129"/>
                      </a:cubicBezTo>
                      <a:cubicBezTo>
                        <a:pt x="163507" y="39215"/>
                        <a:pt x="166336" y="40586"/>
                        <a:pt x="169642" y="39443"/>
                      </a:cubicBezTo>
                      <a:cubicBezTo>
                        <a:pt x="172985" y="38281"/>
                        <a:pt x="176728" y="35109"/>
                        <a:pt x="179328" y="32776"/>
                      </a:cubicBezTo>
                      <a:cubicBezTo>
                        <a:pt x="176671" y="33204"/>
                        <a:pt x="173928" y="34119"/>
                        <a:pt x="171899" y="33157"/>
                      </a:cubicBezTo>
                      <a:cubicBezTo>
                        <a:pt x="174004" y="31899"/>
                        <a:pt x="190596" y="16688"/>
                        <a:pt x="188282" y="25632"/>
                      </a:cubicBezTo>
                      <a:cubicBezTo>
                        <a:pt x="192740" y="24879"/>
                        <a:pt x="202646" y="27080"/>
                        <a:pt x="193987" y="31175"/>
                      </a:cubicBezTo>
                      <a:cubicBezTo>
                        <a:pt x="194721" y="31747"/>
                        <a:pt x="195445" y="32318"/>
                        <a:pt x="196178" y="32880"/>
                      </a:cubicBezTo>
                      <a:cubicBezTo>
                        <a:pt x="189396" y="37738"/>
                        <a:pt x="177633" y="44053"/>
                        <a:pt x="169108" y="44672"/>
                      </a:cubicBezTo>
                      <a:cubicBezTo>
                        <a:pt x="163079" y="45111"/>
                        <a:pt x="151477" y="47835"/>
                        <a:pt x="149944" y="40405"/>
                      </a:cubicBezTo>
                      <a:cubicBezTo>
                        <a:pt x="147782" y="29985"/>
                        <a:pt x="163050" y="21774"/>
                        <a:pt x="169022" y="15850"/>
                      </a:cubicBezTo>
                      <a:cubicBezTo>
                        <a:pt x="174509" y="10411"/>
                        <a:pt x="184405" y="-1571"/>
                        <a:pt x="193187" y="172"/>
                      </a:cubicBezTo>
                      <a:cubicBezTo>
                        <a:pt x="190777" y="2762"/>
                        <a:pt x="192644" y="6020"/>
                        <a:pt x="191587" y="9068"/>
                      </a:cubicBezTo>
                      <a:cubicBezTo>
                        <a:pt x="190187" y="13107"/>
                        <a:pt x="185177" y="17850"/>
                        <a:pt x="182605" y="21317"/>
                      </a:cubicBezTo>
                      <a:cubicBezTo>
                        <a:pt x="177461" y="28223"/>
                        <a:pt x="169708" y="29623"/>
                        <a:pt x="161812" y="33528"/>
                      </a:cubicBezTo>
                      <a:lnTo>
                        <a:pt x="161812" y="33528"/>
                      </a:lnTo>
                      <a:close/>
                      <a:moveTo>
                        <a:pt x="88041" y="33080"/>
                      </a:moveTo>
                      <a:cubicBezTo>
                        <a:pt x="90717" y="37729"/>
                        <a:pt x="91937" y="34271"/>
                        <a:pt x="95213" y="35643"/>
                      </a:cubicBezTo>
                      <a:cubicBezTo>
                        <a:pt x="96670" y="36252"/>
                        <a:pt x="99309" y="38186"/>
                        <a:pt x="100538" y="38481"/>
                      </a:cubicBezTo>
                      <a:cubicBezTo>
                        <a:pt x="104538" y="39472"/>
                        <a:pt x="111358" y="38434"/>
                        <a:pt x="116682" y="39967"/>
                      </a:cubicBezTo>
                      <a:cubicBezTo>
                        <a:pt x="115739" y="40862"/>
                        <a:pt x="115311" y="42053"/>
                        <a:pt x="114215" y="42882"/>
                      </a:cubicBezTo>
                      <a:cubicBezTo>
                        <a:pt x="116911" y="42091"/>
                        <a:pt x="119349" y="43891"/>
                        <a:pt x="121340" y="43568"/>
                      </a:cubicBezTo>
                      <a:cubicBezTo>
                        <a:pt x="122683" y="43348"/>
                        <a:pt x="125084" y="41767"/>
                        <a:pt x="126350" y="41320"/>
                      </a:cubicBezTo>
                      <a:cubicBezTo>
                        <a:pt x="131160" y="39634"/>
                        <a:pt x="136142" y="36033"/>
                        <a:pt x="138590" y="37719"/>
                      </a:cubicBezTo>
                      <a:cubicBezTo>
                        <a:pt x="139666" y="38462"/>
                        <a:pt x="138295" y="41405"/>
                        <a:pt x="141133" y="42758"/>
                      </a:cubicBezTo>
                      <a:cubicBezTo>
                        <a:pt x="143848" y="44053"/>
                        <a:pt x="146801" y="40796"/>
                        <a:pt x="148991" y="42272"/>
                      </a:cubicBezTo>
                      <a:cubicBezTo>
                        <a:pt x="155611" y="46720"/>
                        <a:pt x="148877" y="50054"/>
                        <a:pt x="145334" y="51759"/>
                      </a:cubicBezTo>
                      <a:cubicBezTo>
                        <a:pt x="147315" y="51883"/>
                        <a:pt x="154897" y="50959"/>
                        <a:pt x="155668" y="53521"/>
                      </a:cubicBezTo>
                      <a:cubicBezTo>
                        <a:pt x="156564" y="56474"/>
                        <a:pt x="149791" y="55559"/>
                        <a:pt x="148525" y="55902"/>
                      </a:cubicBezTo>
                      <a:cubicBezTo>
                        <a:pt x="140790" y="57998"/>
                        <a:pt x="133370" y="61036"/>
                        <a:pt x="125665" y="63484"/>
                      </a:cubicBezTo>
                      <a:cubicBezTo>
                        <a:pt x="116949" y="66256"/>
                        <a:pt x="108148" y="69133"/>
                        <a:pt x="99223" y="71181"/>
                      </a:cubicBezTo>
                      <a:cubicBezTo>
                        <a:pt x="93584" y="72466"/>
                        <a:pt x="84564" y="76829"/>
                        <a:pt x="79421" y="73295"/>
                      </a:cubicBezTo>
                      <a:cubicBezTo>
                        <a:pt x="81345" y="79153"/>
                        <a:pt x="75963" y="80077"/>
                        <a:pt x="71791" y="78915"/>
                      </a:cubicBezTo>
                      <a:cubicBezTo>
                        <a:pt x="69696" y="78334"/>
                        <a:pt x="70324" y="74971"/>
                        <a:pt x="68676" y="74829"/>
                      </a:cubicBezTo>
                      <a:cubicBezTo>
                        <a:pt x="67391" y="74705"/>
                        <a:pt x="64752" y="78353"/>
                        <a:pt x="63619" y="79458"/>
                      </a:cubicBezTo>
                      <a:cubicBezTo>
                        <a:pt x="63428" y="78419"/>
                        <a:pt x="63247" y="77372"/>
                        <a:pt x="63057" y="76334"/>
                      </a:cubicBezTo>
                      <a:cubicBezTo>
                        <a:pt x="57513" y="76943"/>
                        <a:pt x="58951" y="80439"/>
                        <a:pt x="56999" y="83020"/>
                      </a:cubicBezTo>
                      <a:cubicBezTo>
                        <a:pt x="55551" y="84935"/>
                        <a:pt x="52665" y="87297"/>
                        <a:pt x="49931" y="88983"/>
                      </a:cubicBezTo>
                      <a:cubicBezTo>
                        <a:pt x="42864" y="93336"/>
                        <a:pt x="35634" y="100184"/>
                        <a:pt x="27824" y="103242"/>
                      </a:cubicBezTo>
                      <a:cubicBezTo>
                        <a:pt x="24176" y="104670"/>
                        <a:pt x="22585" y="104947"/>
                        <a:pt x="19280" y="107137"/>
                      </a:cubicBezTo>
                      <a:cubicBezTo>
                        <a:pt x="17946" y="108023"/>
                        <a:pt x="16651" y="109595"/>
                        <a:pt x="14460" y="109947"/>
                      </a:cubicBezTo>
                      <a:cubicBezTo>
                        <a:pt x="8650" y="110881"/>
                        <a:pt x="9783" y="107785"/>
                        <a:pt x="7478" y="104975"/>
                      </a:cubicBezTo>
                      <a:cubicBezTo>
                        <a:pt x="5773" y="102899"/>
                        <a:pt x="5659" y="98012"/>
                        <a:pt x="1935" y="102937"/>
                      </a:cubicBezTo>
                      <a:cubicBezTo>
                        <a:pt x="-5609" y="93736"/>
                        <a:pt x="10926" y="81239"/>
                        <a:pt x="16965" y="76895"/>
                      </a:cubicBezTo>
                      <a:cubicBezTo>
                        <a:pt x="13479" y="76753"/>
                        <a:pt x="10784" y="79267"/>
                        <a:pt x="7764" y="81077"/>
                      </a:cubicBezTo>
                      <a:cubicBezTo>
                        <a:pt x="13965" y="74524"/>
                        <a:pt x="22842" y="76210"/>
                        <a:pt x="29252" y="70857"/>
                      </a:cubicBezTo>
                      <a:cubicBezTo>
                        <a:pt x="27024" y="71742"/>
                        <a:pt x="24719" y="72409"/>
                        <a:pt x="22356" y="72847"/>
                      </a:cubicBezTo>
                      <a:cubicBezTo>
                        <a:pt x="27386" y="68399"/>
                        <a:pt x="65343" y="56207"/>
                        <a:pt x="64876" y="52683"/>
                      </a:cubicBezTo>
                      <a:cubicBezTo>
                        <a:pt x="65810" y="52978"/>
                        <a:pt x="66743" y="53273"/>
                        <a:pt x="67667" y="53569"/>
                      </a:cubicBezTo>
                      <a:cubicBezTo>
                        <a:pt x="62952" y="58227"/>
                        <a:pt x="67019" y="58560"/>
                        <a:pt x="69324" y="62579"/>
                      </a:cubicBezTo>
                      <a:cubicBezTo>
                        <a:pt x="67514" y="52178"/>
                        <a:pt x="88774" y="54759"/>
                        <a:pt x="94175" y="51816"/>
                      </a:cubicBezTo>
                      <a:cubicBezTo>
                        <a:pt x="86155" y="50245"/>
                        <a:pt x="77639" y="51026"/>
                        <a:pt x="69610" y="50940"/>
                      </a:cubicBezTo>
                      <a:cubicBezTo>
                        <a:pt x="65209" y="50883"/>
                        <a:pt x="55694" y="53702"/>
                        <a:pt x="52875" y="51511"/>
                      </a:cubicBezTo>
                      <a:cubicBezTo>
                        <a:pt x="57037" y="46920"/>
                        <a:pt x="82850" y="29080"/>
                        <a:pt x="88041" y="33080"/>
                      </a:cubicBezTo>
                      <a:lnTo>
                        <a:pt x="88041" y="3308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25" name="Freeform: Shape 524">
                  <a:extLst>
                    <a:ext uri="{FF2B5EF4-FFF2-40B4-BE49-F238E27FC236}">
                      <a16:creationId xmlns:a16="http://schemas.microsoft.com/office/drawing/2014/main" id="{689F126B-AD01-4954-824A-7216DA159E4B}"/>
                    </a:ext>
                  </a:extLst>
                </p:cNvPr>
                <p:cNvSpPr/>
                <p:nvPr/>
              </p:nvSpPr>
              <p:spPr>
                <a:xfrm>
                  <a:off x="3898330" y="2465225"/>
                  <a:ext cx="307994" cy="430905"/>
                </a:xfrm>
                <a:custGeom>
                  <a:avLst/>
                  <a:gdLst>
                    <a:gd name="connsiteX0" fmla="*/ 165291 w 307994"/>
                    <a:gd name="connsiteY0" fmla="*/ 9282 h 430905"/>
                    <a:gd name="connsiteX1" fmla="*/ 176807 w 307994"/>
                    <a:gd name="connsiteY1" fmla="*/ 7643 h 430905"/>
                    <a:gd name="connsiteX2" fmla="*/ 173958 w 307994"/>
                    <a:gd name="connsiteY2" fmla="*/ 17816 h 430905"/>
                    <a:gd name="connsiteX3" fmla="*/ 181779 w 307994"/>
                    <a:gd name="connsiteY3" fmla="*/ 25017 h 430905"/>
                    <a:gd name="connsiteX4" fmla="*/ 174978 w 307994"/>
                    <a:gd name="connsiteY4" fmla="*/ 28275 h 430905"/>
                    <a:gd name="connsiteX5" fmla="*/ 177616 w 307994"/>
                    <a:gd name="connsiteY5" fmla="*/ 32437 h 430905"/>
                    <a:gd name="connsiteX6" fmla="*/ 182484 w 307994"/>
                    <a:gd name="connsiteY6" fmla="*/ 36885 h 430905"/>
                    <a:gd name="connsiteX7" fmla="*/ 169606 w 307994"/>
                    <a:gd name="connsiteY7" fmla="*/ 39466 h 430905"/>
                    <a:gd name="connsiteX8" fmla="*/ 187503 w 307994"/>
                    <a:gd name="connsiteY8" fmla="*/ 39352 h 430905"/>
                    <a:gd name="connsiteX9" fmla="*/ 183255 w 307994"/>
                    <a:gd name="connsiteY9" fmla="*/ 45334 h 430905"/>
                    <a:gd name="connsiteX10" fmla="*/ 186455 w 307994"/>
                    <a:gd name="connsiteY10" fmla="*/ 53468 h 430905"/>
                    <a:gd name="connsiteX11" fmla="*/ 169158 w 307994"/>
                    <a:gd name="connsiteY11" fmla="*/ 62260 h 430905"/>
                    <a:gd name="connsiteX12" fmla="*/ 180073 w 307994"/>
                    <a:gd name="connsiteY12" fmla="*/ 59707 h 430905"/>
                    <a:gd name="connsiteX13" fmla="*/ 193913 w 307994"/>
                    <a:gd name="connsiteY13" fmla="*/ 57011 h 430905"/>
                    <a:gd name="connsiteX14" fmla="*/ 171120 w 307994"/>
                    <a:gd name="connsiteY14" fmla="*/ 72185 h 430905"/>
                    <a:gd name="connsiteX15" fmla="*/ 188503 w 307994"/>
                    <a:gd name="connsiteY15" fmla="*/ 67803 h 430905"/>
                    <a:gd name="connsiteX16" fmla="*/ 193256 w 307994"/>
                    <a:gd name="connsiteY16" fmla="*/ 72613 h 430905"/>
                    <a:gd name="connsiteX17" fmla="*/ 200238 w 307994"/>
                    <a:gd name="connsiteY17" fmla="*/ 74995 h 430905"/>
                    <a:gd name="connsiteX18" fmla="*/ 196466 w 307994"/>
                    <a:gd name="connsiteY18" fmla="*/ 84853 h 430905"/>
                    <a:gd name="connsiteX19" fmla="*/ 181931 w 307994"/>
                    <a:gd name="connsiteY19" fmla="*/ 88739 h 430905"/>
                    <a:gd name="connsiteX20" fmla="*/ 191018 w 307994"/>
                    <a:gd name="connsiteY20" fmla="*/ 96331 h 430905"/>
                    <a:gd name="connsiteX21" fmla="*/ 198562 w 307994"/>
                    <a:gd name="connsiteY21" fmla="*/ 98379 h 430905"/>
                    <a:gd name="connsiteX22" fmla="*/ 199495 w 307994"/>
                    <a:gd name="connsiteY22" fmla="*/ 109389 h 430905"/>
                    <a:gd name="connsiteX23" fmla="*/ 189770 w 307994"/>
                    <a:gd name="connsiteY23" fmla="*/ 114619 h 430905"/>
                    <a:gd name="connsiteX24" fmla="*/ 174587 w 307994"/>
                    <a:gd name="connsiteY24" fmla="*/ 110837 h 430905"/>
                    <a:gd name="connsiteX25" fmla="*/ 177330 w 307994"/>
                    <a:gd name="connsiteY25" fmla="*/ 109418 h 430905"/>
                    <a:gd name="connsiteX26" fmla="*/ 171977 w 307994"/>
                    <a:gd name="connsiteY26" fmla="*/ 110399 h 430905"/>
                    <a:gd name="connsiteX27" fmla="*/ 186589 w 307994"/>
                    <a:gd name="connsiteY27" fmla="*/ 119086 h 430905"/>
                    <a:gd name="connsiteX28" fmla="*/ 178921 w 307994"/>
                    <a:gd name="connsiteY28" fmla="*/ 121353 h 430905"/>
                    <a:gd name="connsiteX29" fmla="*/ 191894 w 307994"/>
                    <a:gd name="connsiteY29" fmla="*/ 124296 h 430905"/>
                    <a:gd name="connsiteX30" fmla="*/ 183017 w 307994"/>
                    <a:gd name="connsiteY30" fmla="*/ 128382 h 430905"/>
                    <a:gd name="connsiteX31" fmla="*/ 191342 w 307994"/>
                    <a:gd name="connsiteY31" fmla="*/ 128849 h 430905"/>
                    <a:gd name="connsiteX32" fmla="*/ 186179 w 307994"/>
                    <a:gd name="connsiteY32" fmla="*/ 135783 h 430905"/>
                    <a:gd name="connsiteX33" fmla="*/ 192961 w 307994"/>
                    <a:gd name="connsiteY33" fmla="*/ 139508 h 430905"/>
                    <a:gd name="connsiteX34" fmla="*/ 202772 w 307994"/>
                    <a:gd name="connsiteY34" fmla="*/ 137488 h 430905"/>
                    <a:gd name="connsiteX35" fmla="*/ 204267 w 307994"/>
                    <a:gd name="connsiteY35" fmla="*/ 144241 h 430905"/>
                    <a:gd name="connsiteX36" fmla="*/ 210506 w 307994"/>
                    <a:gd name="connsiteY36" fmla="*/ 142432 h 430905"/>
                    <a:gd name="connsiteX37" fmla="*/ 208153 w 307994"/>
                    <a:gd name="connsiteY37" fmla="*/ 153471 h 430905"/>
                    <a:gd name="connsiteX38" fmla="*/ 193771 w 307994"/>
                    <a:gd name="connsiteY38" fmla="*/ 165254 h 430905"/>
                    <a:gd name="connsiteX39" fmla="*/ 213097 w 307994"/>
                    <a:gd name="connsiteY39" fmla="*/ 159015 h 430905"/>
                    <a:gd name="connsiteX40" fmla="*/ 217012 w 307994"/>
                    <a:gd name="connsiteY40" fmla="*/ 157624 h 430905"/>
                    <a:gd name="connsiteX41" fmla="*/ 219202 w 307994"/>
                    <a:gd name="connsiteY41" fmla="*/ 159243 h 430905"/>
                    <a:gd name="connsiteX42" fmla="*/ 224527 w 307994"/>
                    <a:gd name="connsiteY42" fmla="*/ 161606 h 430905"/>
                    <a:gd name="connsiteX43" fmla="*/ 209754 w 307994"/>
                    <a:gd name="connsiteY43" fmla="*/ 173007 h 430905"/>
                    <a:gd name="connsiteX44" fmla="*/ 234957 w 307994"/>
                    <a:gd name="connsiteY44" fmla="*/ 163920 h 430905"/>
                    <a:gd name="connsiteX45" fmla="*/ 243767 w 307994"/>
                    <a:gd name="connsiteY45" fmla="*/ 174121 h 430905"/>
                    <a:gd name="connsiteX46" fmla="*/ 257112 w 307994"/>
                    <a:gd name="connsiteY46" fmla="*/ 171064 h 430905"/>
                    <a:gd name="connsiteX47" fmla="*/ 266951 w 307994"/>
                    <a:gd name="connsiteY47" fmla="*/ 179636 h 430905"/>
                    <a:gd name="connsiteX48" fmla="*/ 254931 w 307994"/>
                    <a:gd name="connsiteY48" fmla="*/ 186504 h 430905"/>
                    <a:gd name="connsiteX49" fmla="*/ 240148 w 307994"/>
                    <a:gd name="connsiteY49" fmla="*/ 190390 h 430905"/>
                    <a:gd name="connsiteX50" fmla="*/ 227337 w 307994"/>
                    <a:gd name="connsiteY50" fmla="*/ 197400 h 430905"/>
                    <a:gd name="connsiteX51" fmla="*/ 201248 w 307994"/>
                    <a:gd name="connsiteY51" fmla="*/ 203954 h 430905"/>
                    <a:gd name="connsiteX52" fmla="*/ 189837 w 307994"/>
                    <a:gd name="connsiteY52" fmla="*/ 207030 h 430905"/>
                    <a:gd name="connsiteX53" fmla="*/ 180274 w 307994"/>
                    <a:gd name="connsiteY53" fmla="*/ 209554 h 430905"/>
                    <a:gd name="connsiteX54" fmla="*/ 185465 w 307994"/>
                    <a:gd name="connsiteY54" fmla="*/ 214793 h 430905"/>
                    <a:gd name="connsiteX55" fmla="*/ 178616 w 307994"/>
                    <a:gd name="connsiteY55" fmla="*/ 218784 h 430905"/>
                    <a:gd name="connsiteX56" fmla="*/ 179769 w 307994"/>
                    <a:gd name="connsiteY56" fmla="*/ 219308 h 430905"/>
                    <a:gd name="connsiteX57" fmla="*/ 176664 w 307994"/>
                    <a:gd name="connsiteY57" fmla="*/ 221032 h 430905"/>
                    <a:gd name="connsiteX58" fmla="*/ 176768 w 307994"/>
                    <a:gd name="connsiteY58" fmla="*/ 221756 h 430905"/>
                    <a:gd name="connsiteX59" fmla="*/ 193390 w 307994"/>
                    <a:gd name="connsiteY59" fmla="*/ 214088 h 430905"/>
                    <a:gd name="connsiteX60" fmla="*/ 211192 w 307994"/>
                    <a:gd name="connsiteY60" fmla="*/ 207735 h 430905"/>
                    <a:gd name="connsiteX61" fmla="*/ 247949 w 307994"/>
                    <a:gd name="connsiteY61" fmla="*/ 195372 h 430905"/>
                    <a:gd name="connsiteX62" fmla="*/ 239300 w 307994"/>
                    <a:gd name="connsiteY62" fmla="*/ 192514 h 430905"/>
                    <a:gd name="connsiteX63" fmla="*/ 258093 w 307994"/>
                    <a:gd name="connsiteY63" fmla="*/ 192847 h 430905"/>
                    <a:gd name="connsiteX64" fmla="*/ 263808 w 307994"/>
                    <a:gd name="connsiteY64" fmla="*/ 205192 h 430905"/>
                    <a:gd name="connsiteX65" fmla="*/ 251530 w 307994"/>
                    <a:gd name="connsiteY65" fmla="*/ 211240 h 430905"/>
                    <a:gd name="connsiteX66" fmla="*/ 254778 w 307994"/>
                    <a:gd name="connsiteY66" fmla="*/ 215365 h 430905"/>
                    <a:gd name="connsiteX67" fmla="*/ 278229 w 307994"/>
                    <a:gd name="connsiteY67" fmla="*/ 206040 h 430905"/>
                    <a:gd name="connsiteX68" fmla="*/ 283582 w 307994"/>
                    <a:gd name="connsiteY68" fmla="*/ 211278 h 430905"/>
                    <a:gd name="connsiteX69" fmla="*/ 288554 w 307994"/>
                    <a:gd name="connsiteY69" fmla="*/ 214326 h 430905"/>
                    <a:gd name="connsiteX70" fmla="*/ 290049 w 307994"/>
                    <a:gd name="connsiteY70" fmla="*/ 218936 h 430905"/>
                    <a:gd name="connsiteX71" fmla="*/ 284563 w 307994"/>
                    <a:gd name="connsiteY71" fmla="*/ 234834 h 430905"/>
                    <a:gd name="connsiteX72" fmla="*/ 268637 w 307994"/>
                    <a:gd name="connsiteY72" fmla="*/ 244482 h 430905"/>
                    <a:gd name="connsiteX73" fmla="*/ 282439 w 307994"/>
                    <a:gd name="connsiteY73" fmla="*/ 246683 h 430905"/>
                    <a:gd name="connsiteX74" fmla="*/ 274733 w 307994"/>
                    <a:gd name="connsiteY74" fmla="*/ 249207 h 430905"/>
                    <a:gd name="connsiteX75" fmla="*/ 279943 w 307994"/>
                    <a:gd name="connsiteY75" fmla="*/ 256894 h 430905"/>
                    <a:gd name="connsiteX76" fmla="*/ 264751 w 307994"/>
                    <a:gd name="connsiteY76" fmla="*/ 265952 h 430905"/>
                    <a:gd name="connsiteX77" fmla="*/ 235376 w 307994"/>
                    <a:gd name="connsiteY77" fmla="*/ 279173 h 430905"/>
                    <a:gd name="connsiteX78" fmla="*/ 242224 w 307994"/>
                    <a:gd name="connsiteY78" fmla="*/ 261608 h 430905"/>
                    <a:gd name="connsiteX79" fmla="*/ 156766 w 307994"/>
                    <a:gd name="connsiteY79" fmla="*/ 261608 h 430905"/>
                    <a:gd name="connsiteX80" fmla="*/ 112894 w 307994"/>
                    <a:gd name="connsiteY80" fmla="*/ 261608 h 430905"/>
                    <a:gd name="connsiteX81" fmla="*/ 72451 w 307994"/>
                    <a:gd name="connsiteY81" fmla="*/ 260999 h 430905"/>
                    <a:gd name="connsiteX82" fmla="*/ 71460 w 307994"/>
                    <a:gd name="connsiteY82" fmla="*/ 247216 h 430905"/>
                    <a:gd name="connsiteX83" fmla="*/ 91177 w 307994"/>
                    <a:gd name="connsiteY83" fmla="*/ 239939 h 430905"/>
                    <a:gd name="connsiteX84" fmla="*/ 84195 w 307994"/>
                    <a:gd name="connsiteY84" fmla="*/ 227680 h 430905"/>
                    <a:gd name="connsiteX85" fmla="*/ 79747 w 307994"/>
                    <a:gd name="connsiteY85" fmla="*/ 233500 h 430905"/>
                    <a:gd name="connsiteX86" fmla="*/ 75461 w 307994"/>
                    <a:gd name="connsiteY86" fmla="*/ 234596 h 430905"/>
                    <a:gd name="connsiteX87" fmla="*/ 69508 w 307994"/>
                    <a:gd name="connsiteY87" fmla="*/ 247026 h 430905"/>
                    <a:gd name="connsiteX88" fmla="*/ 55763 w 307994"/>
                    <a:gd name="connsiteY88" fmla="*/ 267543 h 430905"/>
                    <a:gd name="connsiteX89" fmla="*/ 48295 w 307994"/>
                    <a:gd name="connsiteY89" fmla="*/ 273962 h 430905"/>
                    <a:gd name="connsiteX90" fmla="*/ 48086 w 307994"/>
                    <a:gd name="connsiteY90" fmla="*/ 267419 h 430905"/>
                    <a:gd name="connsiteX91" fmla="*/ 40885 w 307994"/>
                    <a:gd name="connsiteY91" fmla="*/ 257370 h 430905"/>
                    <a:gd name="connsiteX92" fmla="*/ 29398 w 307994"/>
                    <a:gd name="connsiteY92" fmla="*/ 257846 h 430905"/>
                    <a:gd name="connsiteX93" fmla="*/ 22225 w 307994"/>
                    <a:gd name="connsiteY93" fmla="*/ 258941 h 430905"/>
                    <a:gd name="connsiteX94" fmla="*/ 19025 w 307994"/>
                    <a:gd name="connsiteY94" fmla="*/ 259780 h 430905"/>
                    <a:gd name="connsiteX95" fmla="*/ 16301 w 307994"/>
                    <a:gd name="connsiteY95" fmla="*/ 255179 h 430905"/>
                    <a:gd name="connsiteX96" fmla="*/ 12424 w 307994"/>
                    <a:gd name="connsiteY96" fmla="*/ 252350 h 430905"/>
                    <a:gd name="connsiteX97" fmla="*/ 9443 w 307994"/>
                    <a:gd name="connsiteY97" fmla="*/ 256560 h 430905"/>
                    <a:gd name="connsiteX98" fmla="*/ 11262 w 307994"/>
                    <a:gd name="connsiteY98" fmla="*/ 249131 h 430905"/>
                    <a:gd name="connsiteX99" fmla="*/ 16206 w 307994"/>
                    <a:gd name="connsiteY99" fmla="*/ 239110 h 430905"/>
                    <a:gd name="connsiteX100" fmla="*/ 20930 w 307994"/>
                    <a:gd name="connsiteY100" fmla="*/ 232548 h 430905"/>
                    <a:gd name="connsiteX101" fmla="*/ 8814 w 307994"/>
                    <a:gd name="connsiteY101" fmla="*/ 238720 h 430905"/>
                    <a:gd name="connsiteX102" fmla="*/ 880 w 307994"/>
                    <a:gd name="connsiteY102" fmla="*/ 239301 h 430905"/>
                    <a:gd name="connsiteX103" fmla="*/ 4699 w 307994"/>
                    <a:gd name="connsiteY103" fmla="*/ 229957 h 430905"/>
                    <a:gd name="connsiteX104" fmla="*/ 11529 w 307994"/>
                    <a:gd name="connsiteY104" fmla="*/ 219022 h 430905"/>
                    <a:gd name="connsiteX105" fmla="*/ 8776 w 307994"/>
                    <a:gd name="connsiteY105" fmla="*/ 213060 h 430905"/>
                    <a:gd name="connsiteX106" fmla="*/ 2175 w 307994"/>
                    <a:gd name="connsiteY106" fmla="*/ 210831 h 430905"/>
                    <a:gd name="connsiteX107" fmla="*/ 4423 w 307994"/>
                    <a:gd name="connsiteY107" fmla="*/ 206668 h 430905"/>
                    <a:gd name="connsiteX108" fmla="*/ 2280 w 307994"/>
                    <a:gd name="connsiteY108" fmla="*/ 196124 h 430905"/>
                    <a:gd name="connsiteX109" fmla="*/ 10986 w 307994"/>
                    <a:gd name="connsiteY109" fmla="*/ 190323 h 430905"/>
                    <a:gd name="connsiteX110" fmla="*/ 14120 w 307994"/>
                    <a:gd name="connsiteY110" fmla="*/ 180760 h 430905"/>
                    <a:gd name="connsiteX111" fmla="*/ 25169 w 307994"/>
                    <a:gd name="connsiteY111" fmla="*/ 179179 h 430905"/>
                    <a:gd name="connsiteX112" fmla="*/ 24273 w 307994"/>
                    <a:gd name="connsiteY112" fmla="*/ 169721 h 430905"/>
                    <a:gd name="connsiteX113" fmla="*/ 39094 w 307994"/>
                    <a:gd name="connsiteY113" fmla="*/ 174293 h 430905"/>
                    <a:gd name="connsiteX114" fmla="*/ 46219 w 307994"/>
                    <a:gd name="connsiteY114" fmla="*/ 157167 h 430905"/>
                    <a:gd name="connsiteX115" fmla="*/ 55849 w 307994"/>
                    <a:gd name="connsiteY115" fmla="*/ 168597 h 430905"/>
                    <a:gd name="connsiteX116" fmla="*/ 61373 w 307994"/>
                    <a:gd name="connsiteY116" fmla="*/ 170969 h 430905"/>
                    <a:gd name="connsiteX117" fmla="*/ 63783 w 307994"/>
                    <a:gd name="connsiteY117" fmla="*/ 175141 h 430905"/>
                    <a:gd name="connsiteX118" fmla="*/ 99016 w 307994"/>
                    <a:gd name="connsiteY118" fmla="*/ 176474 h 430905"/>
                    <a:gd name="connsiteX119" fmla="*/ 112456 w 307994"/>
                    <a:gd name="connsiteY119" fmla="*/ 178369 h 430905"/>
                    <a:gd name="connsiteX120" fmla="*/ 121800 w 307994"/>
                    <a:gd name="connsiteY120" fmla="*/ 167511 h 430905"/>
                    <a:gd name="connsiteX121" fmla="*/ 123762 w 307994"/>
                    <a:gd name="connsiteY121" fmla="*/ 161796 h 430905"/>
                    <a:gd name="connsiteX122" fmla="*/ 132563 w 307994"/>
                    <a:gd name="connsiteY122" fmla="*/ 158100 h 430905"/>
                    <a:gd name="connsiteX123" fmla="*/ 137392 w 307994"/>
                    <a:gd name="connsiteY123" fmla="*/ 150957 h 430905"/>
                    <a:gd name="connsiteX124" fmla="*/ 129210 w 307994"/>
                    <a:gd name="connsiteY124" fmla="*/ 140641 h 430905"/>
                    <a:gd name="connsiteX125" fmla="*/ 134335 w 307994"/>
                    <a:gd name="connsiteY125" fmla="*/ 134821 h 430905"/>
                    <a:gd name="connsiteX126" fmla="*/ 124934 w 307994"/>
                    <a:gd name="connsiteY126" fmla="*/ 132554 h 430905"/>
                    <a:gd name="connsiteX127" fmla="*/ 129172 w 307994"/>
                    <a:gd name="connsiteY127" fmla="*/ 128944 h 430905"/>
                    <a:gd name="connsiteX128" fmla="*/ 132372 w 307994"/>
                    <a:gd name="connsiteY128" fmla="*/ 120648 h 430905"/>
                    <a:gd name="connsiteX129" fmla="*/ 131544 w 307994"/>
                    <a:gd name="connsiteY129" fmla="*/ 112857 h 430905"/>
                    <a:gd name="connsiteX130" fmla="*/ 138230 w 307994"/>
                    <a:gd name="connsiteY130" fmla="*/ 108018 h 430905"/>
                    <a:gd name="connsiteX131" fmla="*/ 147841 w 307994"/>
                    <a:gd name="connsiteY131" fmla="*/ 94092 h 430905"/>
                    <a:gd name="connsiteX132" fmla="*/ 158623 w 307994"/>
                    <a:gd name="connsiteY132" fmla="*/ 81357 h 430905"/>
                    <a:gd name="connsiteX133" fmla="*/ 150089 w 307994"/>
                    <a:gd name="connsiteY133" fmla="*/ 78976 h 430905"/>
                    <a:gd name="connsiteX134" fmla="*/ 145774 w 307994"/>
                    <a:gd name="connsiteY134" fmla="*/ 68089 h 430905"/>
                    <a:gd name="connsiteX135" fmla="*/ 161957 w 307994"/>
                    <a:gd name="connsiteY135" fmla="*/ 58783 h 430905"/>
                    <a:gd name="connsiteX136" fmla="*/ 160366 w 307994"/>
                    <a:gd name="connsiteY136" fmla="*/ 53068 h 430905"/>
                    <a:gd name="connsiteX137" fmla="*/ 175740 w 307994"/>
                    <a:gd name="connsiteY137" fmla="*/ 49306 h 430905"/>
                    <a:gd name="connsiteX138" fmla="*/ 167958 w 307994"/>
                    <a:gd name="connsiteY138" fmla="*/ 46524 h 430905"/>
                    <a:gd name="connsiteX139" fmla="*/ 155556 w 307994"/>
                    <a:gd name="connsiteY139" fmla="*/ 44639 h 430905"/>
                    <a:gd name="connsiteX140" fmla="*/ 149594 w 307994"/>
                    <a:gd name="connsiteY140" fmla="*/ 39857 h 430905"/>
                    <a:gd name="connsiteX141" fmla="*/ 159138 w 307994"/>
                    <a:gd name="connsiteY141" fmla="*/ 41124 h 430905"/>
                    <a:gd name="connsiteX142" fmla="*/ 158585 w 307994"/>
                    <a:gd name="connsiteY142" fmla="*/ 37666 h 430905"/>
                    <a:gd name="connsiteX143" fmla="*/ 166748 w 307994"/>
                    <a:gd name="connsiteY143" fmla="*/ 24912 h 430905"/>
                    <a:gd name="connsiteX144" fmla="*/ 157623 w 307994"/>
                    <a:gd name="connsiteY144" fmla="*/ 26103 h 430905"/>
                    <a:gd name="connsiteX145" fmla="*/ 161376 w 307994"/>
                    <a:gd name="connsiteY145" fmla="*/ 16092 h 430905"/>
                    <a:gd name="connsiteX146" fmla="*/ 166262 w 307994"/>
                    <a:gd name="connsiteY146" fmla="*/ 11444 h 430905"/>
                    <a:gd name="connsiteX147" fmla="*/ 162843 w 307994"/>
                    <a:gd name="connsiteY147" fmla="*/ 8529 h 430905"/>
                    <a:gd name="connsiteX148" fmla="*/ 166824 w 307994"/>
                    <a:gd name="connsiteY148" fmla="*/ 7196 h 430905"/>
                    <a:gd name="connsiteX149" fmla="*/ 170177 w 307994"/>
                    <a:gd name="connsiteY149" fmla="*/ 5672 h 430905"/>
                    <a:gd name="connsiteX150" fmla="*/ 167653 w 307994"/>
                    <a:gd name="connsiteY150" fmla="*/ 3452 h 430905"/>
                    <a:gd name="connsiteX151" fmla="*/ 172635 w 307994"/>
                    <a:gd name="connsiteY151" fmla="*/ 185 h 430905"/>
                    <a:gd name="connsiteX152" fmla="*/ 165291 w 307994"/>
                    <a:gd name="connsiteY152" fmla="*/ 9282 h 430905"/>
                    <a:gd name="connsiteX153" fmla="*/ 165291 w 307994"/>
                    <a:gd name="connsiteY153" fmla="*/ 9282 h 430905"/>
                    <a:gd name="connsiteX154" fmla="*/ 278467 w 307994"/>
                    <a:gd name="connsiteY154" fmla="*/ 276267 h 430905"/>
                    <a:gd name="connsiteX155" fmla="*/ 261036 w 307994"/>
                    <a:gd name="connsiteY155" fmla="*/ 287012 h 430905"/>
                    <a:gd name="connsiteX156" fmla="*/ 264237 w 307994"/>
                    <a:gd name="connsiteY156" fmla="*/ 291269 h 430905"/>
                    <a:gd name="connsiteX157" fmla="*/ 252825 w 307994"/>
                    <a:gd name="connsiteY157" fmla="*/ 300585 h 430905"/>
                    <a:gd name="connsiteX158" fmla="*/ 220431 w 307994"/>
                    <a:gd name="connsiteY158" fmla="*/ 336846 h 430905"/>
                    <a:gd name="connsiteX159" fmla="*/ 236976 w 307994"/>
                    <a:gd name="connsiteY159" fmla="*/ 325493 h 430905"/>
                    <a:gd name="connsiteX160" fmla="*/ 243663 w 307994"/>
                    <a:gd name="connsiteY160" fmla="*/ 321511 h 430905"/>
                    <a:gd name="connsiteX161" fmla="*/ 241434 w 307994"/>
                    <a:gd name="connsiteY161" fmla="*/ 326550 h 430905"/>
                    <a:gd name="connsiteX162" fmla="*/ 258979 w 307994"/>
                    <a:gd name="connsiteY162" fmla="*/ 325197 h 430905"/>
                    <a:gd name="connsiteX163" fmla="*/ 238205 w 307994"/>
                    <a:gd name="connsiteY163" fmla="*/ 336665 h 430905"/>
                    <a:gd name="connsiteX164" fmla="*/ 245815 w 307994"/>
                    <a:gd name="connsiteY164" fmla="*/ 335065 h 430905"/>
                    <a:gd name="connsiteX165" fmla="*/ 237605 w 307994"/>
                    <a:gd name="connsiteY165" fmla="*/ 341933 h 430905"/>
                    <a:gd name="connsiteX166" fmla="*/ 246101 w 307994"/>
                    <a:gd name="connsiteY166" fmla="*/ 340599 h 430905"/>
                    <a:gd name="connsiteX167" fmla="*/ 249397 w 307994"/>
                    <a:gd name="connsiteY167" fmla="*/ 342257 h 430905"/>
                    <a:gd name="connsiteX168" fmla="*/ 256531 w 307994"/>
                    <a:gd name="connsiteY168" fmla="*/ 340742 h 430905"/>
                    <a:gd name="connsiteX169" fmla="*/ 256017 w 307994"/>
                    <a:gd name="connsiteY169" fmla="*/ 344428 h 430905"/>
                    <a:gd name="connsiteX170" fmla="*/ 260160 w 307994"/>
                    <a:gd name="connsiteY170" fmla="*/ 343304 h 430905"/>
                    <a:gd name="connsiteX171" fmla="*/ 252397 w 307994"/>
                    <a:gd name="connsiteY171" fmla="*/ 353668 h 430905"/>
                    <a:gd name="connsiteX172" fmla="*/ 263513 w 307994"/>
                    <a:gd name="connsiteY172" fmla="*/ 346552 h 430905"/>
                    <a:gd name="connsiteX173" fmla="*/ 263255 w 307994"/>
                    <a:gd name="connsiteY173" fmla="*/ 347962 h 430905"/>
                    <a:gd name="connsiteX174" fmla="*/ 280553 w 307994"/>
                    <a:gd name="connsiteY174" fmla="*/ 339475 h 430905"/>
                    <a:gd name="connsiteX175" fmla="*/ 278819 w 307994"/>
                    <a:gd name="connsiteY175" fmla="*/ 345790 h 430905"/>
                    <a:gd name="connsiteX176" fmla="*/ 300803 w 307994"/>
                    <a:gd name="connsiteY176" fmla="*/ 348419 h 430905"/>
                    <a:gd name="connsiteX177" fmla="*/ 280191 w 307994"/>
                    <a:gd name="connsiteY177" fmla="*/ 362859 h 430905"/>
                    <a:gd name="connsiteX178" fmla="*/ 288516 w 307994"/>
                    <a:gd name="connsiteY178" fmla="*/ 362116 h 430905"/>
                    <a:gd name="connsiteX179" fmla="*/ 284401 w 307994"/>
                    <a:gd name="connsiteY179" fmla="*/ 365412 h 430905"/>
                    <a:gd name="connsiteX180" fmla="*/ 291107 w 307994"/>
                    <a:gd name="connsiteY180" fmla="*/ 366260 h 430905"/>
                    <a:gd name="connsiteX181" fmla="*/ 277029 w 307994"/>
                    <a:gd name="connsiteY181" fmla="*/ 375270 h 430905"/>
                    <a:gd name="connsiteX182" fmla="*/ 307994 w 307994"/>
                    <a:gd name="connsiteY182" fmla="*/ 366984 h 430905"/>
                    <a:gd name="connsiteX183" fmla="*/ 288211 w 307994"/>
                    <a:gd name="connsiteY183" fmla="*/ 381128 h 430905"/>
                    <a:gd name="connsiteX184" fmla="*/ 279315 w 307994"/>
                    <a:gd name="connsiteY184" fmla="*/ 387053 h 430905"/>
                    <a:gd name="connsiteX185" fmla="*/ 285335 w 307994"/>
                    <a:gd name="connsiteY185" fmla="*/ 387215 h 430905"/>
                    <a:gd name="connsiteX186" fmla="*/ 277648 w 307994"/>
                    <a:gd name="connsiteY186" fmla="*/ 398197 h 430905"/>
                    <a:gd name="connsiteX187" fmla="*/ 294012 w 307994"/>
                    <a:gd name="connsiteY187" fmla="*/ 388205 h 430905"/>
                    <a:gd name="connsiteX188" fmla="*/ 304908 w 307994"/>
                    <a:gd name="connsiteY188" fmla="*/ 385729 h 430905"/>
                    <a:gd name="connsiteX189" fmla="*/ 292211 w 307994"/>
                    <a:gd name="connsiteY189" fmla="*/ 403045 h 430905"/>
                    <a:gd name="connsiteX190" fmla="*/ 304537 w 307994"/>
                    <a:gd name="connsiteY190" fmla="*/ 395597 h 430905"/>
                    <a:gd name="connsiteX191" fmla="*/ 304575 w 307994"/>
                    <a:gd name="connsiteY191" fmla="*/ 405055 h 430905"/>
                    <a:gd name="connsiteX192" fmla="*/ 296136 w 307994"/>
                    <a:gd name="connsiteY192" fmla="*/ 414332 h 430905"/>
                    <a:gd name="connsiteX193" fmla="*/ 294155 w 307994"/>
                    <a:gd name="connsiteY193" fmla="*/ 419428 h 430905"/>
                    <a:gd name="connsiteX194" fmla="*/ 283010 w 307994"/>
                    <a:gd name="connsiteY194" fmla="*/ 430344 h 430905"/>
                    <a:gd name="connsiteX195" fmla="*/ 278819 w 307994"/>
                    <a:gd name="connsiteY195" fmla="*/ 428182 h 430905"/>
                    <a:gd name="connsiteX196" fmla="*/ 271704 w 307994"/>
                    <a:gd name="connsiteY196" fmla="*/ 430563 h 430905"/>
                    <a:gd name="connsiteX197" fmla="*/ 276971 w 307994"/>
                    <a:gd name="connsiteY197" fmla="*/ 414589 h 430905"/>
                    <a:gd name="connsiteX198" fmla="*/ 260112 w 307994"/>
                    <a:gd name="connsiteY198" fmla="*/ 424705 h 430905"/>
                    <a:gd name="connsiteX199" fmla="*/ 271076 w 307994"/>
                    <a:gd name="connsiteY199" fmla="*/ 408293 h 430905"/>
                    <a:gd name="connsiteX200" fmla="*/ 268866 w 307994"/>
                    <a:gd name="connsiteY200" fmla="*/ 392196 h 430905"/>
                    <a:gd name="connsiteX201" fmla="*/ 253959 w 307994"/>
                    <a:gd name="connsiteY201" fmla="*/ 407379 h 430905"/>
                    <a:gd name="connsiteX202" fmla="*/ 258350 w 307994"/>
                    <a:gd name="connsiteY202" fmla="*/ 402302 h 430905"/>
                    <a:gd name="connsiteX203" fmla="*/ 236747 w 307994"/>
                    <a:gd name="connsiteY203" fmla="*/ 415904 h 430905"/>
                    <a:gd name="connsiteX204" fmla="*/ 215126 w 307994"/>
                    <a:gd name="connsiteY204" fmla="*/ 423276 h 430905"/>
                    <a:gd name="connsiteX205" fmla="*/ 227413 w 307994"/>
                    <a:gd name="connsiteY205" fmla="*/ 413885 h 430905"/>
                    <a:gd name="connsiteX206" fmla="*/ 238148 w 307994"/>
                    <a:gd name="connsiteY206" fmla="*/ 405064 h 430905"/>
                    <a:gd name="connsiteX207" fmla="*/ 251292 w 307994"/>
                    <a:gd name="connsiteY207" fmla="*/ 398254 h 430905"/>
                    <a:gd name="connsiteX208" fmla="*/ 241100 w 307994"/>
                    <a:gd name="connsiteY208" fmla="*/ 398654 h 430905"/>
                    <a:gd name="connsiteX209" fmla="*/ 232328 w 307994"/>
                    <a:gd name="connsiteY209" fmla="*/ 403407 h 430905"/>
                    <a:gd name="connsiteX210" fmla="*/ 214068 w 307994"/>
                    <a:gd name="connsiteY210" fmla="*/ 403360 h 430905"/>
                    <a:gd name="connsiteX211" fmla="*/ 224765 w 307994"/>
                    <a:gd name="connsiteY211" fmla="*/ 393396 h 430905"/>
                    <a:gd name="connsiteX212" fmla="*/ 217488 w 307994"/>
                    <a:gd name="connsiteY212" fmla="*/ 394349 h 430905"/>
                    <a:gd name="connsiteX213" fmla="*/ 212887 w 307994"/>
                    <a:gd name="connsiteY213" fmla="*/ 398264 h 430905"/>
                    <a:gd name="connsiteX214" fmla="*/ 197114 w 307994"/>
                    <a:gd name="connsiteY214" fmla="*/ 401378 h 430905"/>
                    <a:gd name="connsiteX215" fmla="*/ 157909 w 307994"/>
                    <a:gd name="connsiteY215" fmla="*/ 397892 h 430905"/>
                    <a:gd name="connsiteX216" fmla="*/ 158461 w 307994"/>
                    <a:gd name="connsiteY216" fmla="*/ 396187 h 430905"/>
                    <a:gd name="connsiteX217" fmla="*/ 133906 w 307994"/>
                    <a:gd name="connsiteY217" fmla="*/ 390510 h 430905"/>
                    <a:gd name="connsiteX218" fmla="*/ 151451 w 307994"/>
                    <a:gd name="connsiteY218" fmla="*/ 380080 h 430905"/>
                    <a:gd name="connsiteX219" fmla="*/ 168072 w 307994"/>
                    <a:gd name="connsiteY219" fmla="*/ 371260 h 430905"/>
                    <a:gd name="connsiteX220" fmla="*/ 146165 w 307994"/>
                    <a:gd name="connsiteY220" fmla="*/ 371270 h 430905"/>
                    <a:gd name="connsiteX221" fmla="*/ 157995 w 307994"/>
                    <a:gd name="connsiteY221" fmla="*/ 364174 h 430905"/>
                    <a:gd name="connsiteX222" fmla="*/ 158071 w 307994"/>
                    <a:gd name="connsiteY222" fmla="*/ 368803 h 430905"/>
                    <a:gd name="connsiteX223" fmla="*/ 166624 w 307994"/>
                    <a:gd name="connsiteY223" fmla="*/ 359811 h 430905"/>
                    <a:gd name="connsiteX224" fmla="*/ 182540 w 307994"/>
                    <a:gd name="connsiteY224" fmla="*/ 356582 h 430905"/>
                    <a:gd name="connsiteX225" fmla="*/ 185712 w 307994"/>
                    <a:gd name="connsiteY225" fmla="*/ 348972 h 430905"/>
                    <a:gd name="connsiteX226" fmla="*/ 189218 w 307994"/>
                    <a:gd name="connsiteY226" fmla="*/ 339285 h 430905"/>
                    <a:gd name="connsiteX227" fmla="*/ 191894 w 307994"/>
                    <a:gd name="connsiteY227" fmla="*/ 341276 h 430905"/>
                    <a:gd name="connsiteX228" fmla="*/ 193075 w 307994"/>
                    <a:gd name="connsiteY228" fmla="*/ 338732 h 430905"/>
                    <a:gd name="connsiteX229" fmla="*/ 194304 w 307994"/>
                    <a:gd name="connsiteY229" fmla="*/ 332522 h 430905"/>
                    <a:gd name="connsiteX230" fmla="*/ 209830 w 307994"/>
                    <a:gd name="connsiteY230" fmla="*/ 315148 h 430905"/>
                    <a:gd name="connsiteX231" fmla="*/ 223212 w 307994"/>
                    <a:gd name="connsiteY231" fmla="*/ 305328 h 430905"/>
                    <a:gd name="connsiteX232" fmla="*/ 231671 w 307994"/>
                    <a:gd name="connsiteY232" fmla="*/ 294879 h 430905"/>
                    <a:gd name="connsiteX233" fmla="*/ 244701 w 307994"/>
                    <a:gd name="connsiteY233" fmla="*/ 282716 h 430905"/>
                    <a:gd name="connsiteX234" fmla="*/ 267570 w 307994"/>
                    <a:gd name="connsiteY234" fmla="*/ 276325 h 430905"/>
                    <a:gd name="connsiteX235" fmla="*/ 272057 w 307994"/>
                    <a:gd name="connsiteY235" fmla="*/ 278049 h 430905"/>
                    <a:gd name="connsiteX236" fmla="*/ 273085 w 307994"/>
                    <a:gd name="connsiteY236" fmla="*/ 275277 h 430905"/>
                    <a:gd name="connsiteX237" fmla="*/ 278467 w 307994"/>
                    <a:gd name="connsiteY237" fmla="*/ 276267 h 430905"/>
                    <a:gd name="connsiteX238" fmla="*/ 278467 w 307994"/>
                    <a:gd name="connsiteY238" fmla="*/ 276267 h 430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Lst>
                  <a:rect l="l" t="t" r="r" b="b"/>
                  <a:pathLst>
                    <a:path w="307994" h="430905">
                      <a:moveTo>
                        <a:pt x="165291" y="9282"/>
                      </a:moveTo>
                      <a:cubicBezTo>
                        <a:pt x="167510" y="9405"/>
                        <a:pt x="174530" y="6138"/>
                        <a:pt x="176807" y="7643"/>
                      </a:cubicBezTo>
                      <a:cubicBezTo>
                        <a:pt x="180417" y="10034"/>
                        <a:pt x="176635" y="15530"/>
                        <a:pt x="173958" y="17816"/>
                      </a:cubicBezTo>
                      <a:cubicBezTo>
                        <a:pt x="181474" y="11320"/>
                        <a:pt x="178407" y="20797"/>
                        <a:pt x="181779" y="25017"/>
                      </a:cubicBezTo>
                      <a:cubicBezTo>
                        <a:pt x="179740" y="26484"/>
                        <a:pt x="177407" y="27627"/>
                        <a:pt x="174978" y="28275"/>
                      </a:cubicBezTo>
                      <a:cubicBezTo>
                        <a:pt x="176835" y="28789"/>
                        <a:pt x="179569" y="29999"/>
                        <a:pt x="177616" y="32437"/>
                      </a:cubicBezTo>
                      <a:cubicBezTo>
                        <a:pt x="182960" y="29056"/>
                        <a:pt x="187541" y="32294"/>
                        <a:pt x="182484" y="36885"/>
                      </a:cubicBezTo>
                      <a:cubicBezTo>
                        <a:pt x="179378" y="39705"/>
                        <a:pt x="173425" y="38962"/>
                        <a:pt x="169606" y="39466"/>
                      </a:cubicBezTo>
                      <a:cubicBezTo>
                        <a:pt x="174673" y="42476"/>
                        <a:pt x="181950" y="36885"/>
                        <a:pt x="187503" y="39352"/>
                      </a:cubicBezTo>
                      <a:cubicBezTo>
                        <a:pt x="183027" y="40286"/>
                        <a:pt x="187627" y="43381"/>
                        <a:pt x="183255" y="45334"/>
                      </a:cubicBezTo>
                      <a:cubicBezTo>
                        <a:pt x="190646" y="44562"/>
                        <a:pt x="192685" y="48906"/>
                        <a:pt x="186455" y="53468"/>
                      </a:cubicBezTo>
                      <a:cubicBezTo>
                        <a:pt x="181645" y="57002"/>
                        <a:pt x="174492" y="59278"/>
                        <a:pt x="169158" y="62260"/>
                      </a:cubicBezTo>
                      <a:cubicBezTo>
                        <a:pt x="171939" y="61993"/>
                        <a:pt x="180750" y="55135"/>
                        <a:pt x="180073" y="59707"/>
                      </a:cubicBezTo>
                      <a:cubicBezTo>
                        <a:pt x="184808" y="59031"/>
                        <a:pt x="189008" y="56926"/>
                        <a:pt x="193913" y="57011"/>
                      </a:cubicBezTo>
                      <a:cubicBezTo>
                        <a:pt x="189560" y="66317"/>
                        <a:pt x="179026" y="67108"/>
                        <a:pt x="171120" y="72185"/>
                      </a:cubicBezTo>
                      <a:cubicBezTo>
                        <a:pt x="176216" y="72213"/>
                        <a:pt x="182922" y="66394"/>
                        <a:pt x="188503" y="67803"/>
                      </a:cubicBezTo>
                      <a:cubicBezTo>
                        <a:pt x="193275" y="69013"/>
                        <a:pt x="189856" y="70042"/>
                        <a:pt x="193256" y="72613"/>
                      </a:cubicBezTo>
                      <a:cubicBezTo>
                        <a:pt x="194837" y="73804"/>
                        <a:pt x="199000" y="73337"/>
                        <a:pt x="200238" y="74995"/>
                      </a:cubicBezTo>
                      <a:cubicBezTo>
                        <a:pt x="201648" y="76881"/>
                        <a:pt x="198628" y="82729"/>
                        <a:pt x="196466" y="84853"/>
                      </a:cubicBezTo>
                      <a:cubicBezTo>
                        <a:pt x="194028" y="87244"/>
                        <a:pt x="185151" y="89606"/>
                        <a:pt x="181931" y="88739"/>
                      </a:cubicBezTo>
                      <a:cubicBezTo>
                        <a:pt x="186017" y="92854"/>
                        <a:pt x="202715" y="87387"/>
                        <a:pt x="191018" y="96331"/>
                      </a:cubicBezTo>
                      <a:cubicBezTo>
                        <a:pt x="193590" y="99017"/>
                        <a:pt x="195818" y="96855"/>
                        <a:pt x="198562" y="98379"/>
                      </a:cubicBezTo>
                      <a:cubicBezTo>
                        <a:pt x="204600" y="101731"/>
                        <a:pt x="202372" y="105303"/>
                        <a:pt x="199495" y="109389"/>
                      </a:cubicBezTo>
                      <a:cubicBezTo>
                        <a:pt x="196028" y="114323"/>
                        <a:pt x="196504" y="114847"/>
                        <a:pt x="189770" y="114619"/>
                      </a:cubicBezTo>
                      <a:cubicBezTo>
                        <a:pt x="185160" y="114457"/>
                        <a:pt x="177864" y="113809"/>
                        <a:pt x="174587" y="110837"/>
                      </a:cubicBezTo>
                      <a:cubicBezTo>
                        <a:pt x="175502" y="110361"/>
                        <a:pt x="176416" y="109894"/>
                        <a:pt x="177330" y="109418"/>
                      </a:cubicBezTo>
                      <a:cubicBezTo>
                        <a:pt x="175378" y="109142"/>
                        <a:pt x="173758" y="109723"/>
                        <a:pt x="171977" y="110399"/>
                      </a:cubicBezTo>
                      <a:cubicBezTo>
                        <a:pt x="174244" y="115000"/>
                        <a:pt x="182769" y="116247"/>
                        <a:pt x="186589" y="119086"/>
                      </a:cubicBezTo>
                      <a:cubicBezTo>
                        <a:pt x="184122" y="119362"/>
                        <a:pt x="181150" y="119924"/>
                        <a:pt x="178921" y="121353"/>
                      </a:cubicBezTo>
                      <a:cubicBezTo>
                        <a:pt x="182788" y="123915"/>
                        <a:pt x="187884" y="122220"/>
                        <a:pt x="191894" y="124296"/>
                      </a:cubicBezTo>
                      <a:cubicBezTo>
                        <a:pt x="188789" y="125801"/>
                        <a:pt x="184627" y="125239"/>
                        <a:pt x="183017" y="128382"/>
                      </a:cubicBezTo>
                      <a:cubicBezTo>
                        <a:pt x="185712" y="129220"/>
                        <a:pt x="188579" y="128973"/>
                        <a:pt x="191342" y="128849"/>
                      </a:cubicBezTo>
                      <a:cubicBezTo>
                        <a:pt x="191294" y="133288"/>
                        <a:pt x="189818" y="134916"/>
                        <a:pt x="186179" y="135783"/>
                      </a:cubicBezTo>
                      <a:cubicBezTo>
                        <a:pt x="188037" y="136250"/>
                        <a:pt x="193513" y="139593"/>
                        <a:pt x="192961" y="139508"/>
                      </a:cubicBezTo>
                      <a:cubicBezTo>
                        <a:pt x="196638" y="140041"/>
                        <a:pt x="199190" y="137069"/>
                        <a:pt x="202772" y="137488"/>
                      </a:cubicBezTo>
                      <a:cubicBezTo>
                        <a:pt x="202905" y="140498"/>
                        <a:pt x="204381" y="141041"/>
                        <a:pt x="204267" y="144241"/>
                      </a:cubicBezTo>
                      <a:cubicBezTo>
                        <a:pt x="206001" y="142089"/>
                        <a:pt x="208039" y="141508"/>
                        <a:pt x="210506" y="142432"/>
                      </a:cubicBezTo>
                      <a:cubicBezTo>
                        <a:pt x="205543" y="147280"/>
                        <a:pt x="210154" y="149394"/>
                        <a:pt x="208153" y="153471"/>
                      </a:cubicBezTo>
                      <a:cubicBezTo>
                        <a:pt x="206668" y="156500"/>
                        <a:pt x="197066" y="163291"/>
                        <a:pt x="193771" y="165254"/>
                      </a:cubicBezTo>
                      <a:cubicBezTo>
                        <a:pt x="200619" y="163939"/>
                        <a:pt x="205705" y="159977"/>
                        <a:pt x="213097" y="159015"/>
                      </a:cubicBezTo>
                      <a:cubicBezTo>
                        <a:pt x="214392" y="158843"/>
                        <a:pt x="215602" y="157281"/>
                        <a:pt x="217012" y="157624"/>
                      </a:cubicBezTo>
                      <a:cubicBezTo>
                        <a:pt x="217640" y="157776"/>
                        <a:pt x="219621" y="159339"/>
                        <a:pt x="219202" y="159243"/>
                      </a:cubicBezTo>
                      <a:cubicBezTo>
                        <a:pt x="218964" y="159186"/>
                        <a:pt x="221383" y="161977"/>
                        <a:pt x="224527" y="161606"/>
                      </a:cubicBezTo>
                      <a:cubicBezTo>
                        <a:pt x="219764" y="165473"/>
                        <a:pt x="213402" y="167949"/>
                        <a:pt x="209754" y="173007"/>
                      </a:cubicBezTo>
                      <a:cubicBezTo>
                        <a:pt x="215068" y="168692"/>
                        <a:pt x="231070" y="157234"/>
                        <a:pt x="234957" y="163920"/>
                      </a:cubicBezTo>
                      <a:cubicBezTo>
                        <a:pt x="238157" y="169416"/>
                        <a:pt x="233814" y="173997"/>
                        <a:pt x="243767" y="174121"/>
                      </a:cubicBezTo>
                      <a:cubicBezTo>
                        <a:pt x="248949" y="174178"/>
                        <a:pt x="251844" y="169873"/>
                        <a:pt x="257112" y="171064"/>
                      </a:cubicBezTo>
                      <a:cubicBezTo>
                        <a:pt x="254045" y="179208"/>
                        <a:pt x="265780" y="175798"/>
                        <a:pt x="266951" y="179636"/>
                      </a:cubicBezTo>
                      <a:cubicBezTo>
                        <a:pt x="267951" y="182913"/>
                        <a:pt x="257226" y="186056"/>
                        <a:pt x="254931" y="186504"/>
                      </a:cubicBezTo>
                      <a:cubicBezTo>
                        <a:pt x="249368" y="187599"/>
                        <a:pt x="245139" y="187837"/>
                        <a:pt x="240148" y="190390"/>
                      </a:cubicBezTo>
                      <a:cubicBezTo>
                        <a:pt x="235786" y="192619"/>
                        <a:pt x="232023" y="196019"/>
                        <a:pt x="227337" y="197400"/>
                      </a:cubicBezTo>
                      <a:cubicBezTo>
                        <a:pt x="219193" y="199791"/>
                        <a:pt x="209896" y="202582"/>
                        <a:pt x="201248" y="203954"/>
                      </a:cubicBezTo>
                      <a:cubicBezTo>
                        <a:pt x="197038" y="204620"/>
                        <a:pt x="193904" y="204687"/>
                        <a:pt x="189837" y="207030"/>
                      </a:cubicBezTo>
                      <a:cubicBezTo>
                        <a:pt x="185798" y="209364"/>
                        <a:pt x="186398" y="213879"/>
                        <a:pt x="180274" y="209554"/>
                      </a:cubicBezTo>
                      <a:cubicBezTo>
                        <a:pt x="181293" y="211983"/>
                        <a:pt x="183655" y="212526"/>
                        <a:pt x="185465" y="214793"/>
                      </a:cubicBezTo>
                      <a:cubicBezTo>
                        <a:pt x="183141" y="216212"/>
                        <a:pt x="180664" y="217108"/>
                        <a:pt x="178616" y="218784"/>
                      </a:cubicBezTo>
                      <a:cubicBezTo>
                        <a:pt x="178997" y="218955"/>
                        <a:pt x="179388" y="219137"/>
                        <a:pt x="179769" y="219308"/>
                      </a:cubicBezTo>
                      <a:cubicBezTo>
                        <a:pt x="178750" y="219898"/>
                        <a:pt x="177750" y="220460"/>
                        <a:pt x="176664" y="221032"/>
                      </a:cubicBezTo>
                      <a:cubicBezTo>
                        <a:pt x="176702" y="221270"/>
                        <a:pt x="176740" y="221508"/>
                        <a:pt x="176768" y="221756"/>
                      </a:cubicBezTo>
                      <a:cubicBezTo>
                        <a:pt x="183312" y="220832"/>
                        <a:pt x="187570" y="216308"/>
                        <a:pt x="193390" y="214088"/>
                      </a:cubicBezTo>
                      <a:cubicBezTo>
                        <a:pt x="199381" y="211802"/>
                        <a:pt x="205305" y="210802"/>
                        <a:pt x="211192" y="207735"/>
                      </a:cubicBezTo>
                      <a:cubicBezTo>
                        <a:pt x="223365" y="201391"/>
                        <a:pt x="234423" y="197029"/>
                        <a:pt x="247949" y="195372"/>
                      </a:cubicBezTo>
                      <a:cubicBezTo>
                        <a:pt x="245596" y="194638"/>
                        <a:pt x="234823" y="195772"/>
                        <a:pt x="239300" y="192514"/>
                      </a:cubicBezTo>
                      <a:cubicBezTo>
                        <a:pt x="242805" y="189961"/>
                        <a:pt x="254473" y="191333"/>
                        <a:pt x="258093" y="192847"/>
                      </a:cubicBezTo>
                      <a:cubicBezTo>
                        <a:pt x="261493" y="194257"/>
                        <a:pt x="266332" y="200334"/>
                        <a:pt x="263808" y="205192"/>
                      </a:cubicBezTo>
                      <a:cubicBezTo>
                        <a:pt x="261932" y="208802"/>
                        <a:pt x="254569" y="208916"/>
                        <a:pt x="251530" y="211240"/>
                      </a:cubicBezTo>
                      <a:cubicBezTo>
                        <a:pt x="254378" y="211640"/>
                        <a:pt x="254940" y="212298"/>
                        <a:pt x="254778" y="215365"/>
                      </a:cubicBezTo>
                      <a:cubicBezTo>
                        <a:pt x="260617" y="212498"/>
                        <a:pt x="270828" y="203115"/>
                        <a:pt x="278229" y="206040"/>
                      </a:cubicBezTo>
                      <a:cubicBezTo>
                        <a:pt x="280524" y="206944"/>
                        <a:pt x="281315" y="209145"/>
                        <a:pt x="283582" y="211278"/>
                      </a:cubicBezTo>
                      <a:cubicBezTo>
                        <a:pt x="285430" y="213021"/>
                        <a:pt x="286573" y="211393"/>
                        <a:pt x="288554" y="214326"/>
                      </a:cubicBezTo>
                      <a:cubicBezTo>
                        <a:pt x="289259" y="215374"/>
                        <a:pt x="289887" y="217698"/>
                        <a:pt x="290049" y="218936"/>
                      </a:cubicBezTo>
                      <a:cubicBezTo>
                        <a:pt x="290811" y="224709"/>
                        <a:pt x="286020" y="229462"/>
                        <a:pt x="284563" y="234834"/>
                      </a:cubicBezTo>
                      <a:cubicBezTo>
                        <a:pt x="281753" y="245216"/>
                        <a:pt x="277619" y="239891"/>
                        <a:pt x="268637" y="244482"/>
                      </a:cubicBezTo>
                      <a:cubicBezTo>
                        <a:pt x="271380" y="244844"/>
                        <a:pt x="281058" y="243625"/>
                        <a:pt x="282439" y="246683"/>
                      </a:cubicBezTo>
                      <a:cubicBezTo>
                        <a:pt x="284439" y="251102"/>
                        <a:pt x="276886" y="250169"/>
                        <a:pt x="274733" y="249207"/>
                      </a:cubicBezTo>
                      <a:cubicBezTo>
                        <a:pt x="277095" y="251950"/>
                        <a:pt x="281858" y="252569"/>
                        <a:pt x="279943" y="256894"/>
                      </a:cubicBezTo>
                      <a:cubicBezTo>
                        <a:pt x="278353" y="260494"/>
                        <a:pt x="268456" y="264066"/>
                        <a:pt x="264751" y="265952"/>
                      </a:cubicBezTo>
                      <a:cubicBezTo>
                        <a:pt x="256778" y="270000"/>
                        <a:pt x="244091" y="279125"/>
                        <a:pt x="235376" y="279173"/>
                      </a:cubicBezTo>
                      <a:cubicBezTo>
                        <a:pt x="237652" y="273315"/>
                        <a:pt x="239938" y="267457"/>
                        <a:pt x="242224" y="261608"/>
                      </a:cubicBezTo>
                      <a:cubicBezTo>
                        <a:pt x="213735" y="261608"/>
                        <a:pt x="185255" y="261608"/>
                        <a:pt x="156766" y="261608"/>
                      </a:cubicBezTo>
                      <a:cubicBezTo>
                        <a:pt x="142145" y="261608"/>
                        <a:pt x="127515" y="261608"/>
                        <a:pt x="112894" y="261608"/>
                      </a:cubicBezTo>
                      <a:cubicBezTo>
                        <a:pt x="100283" y="261608"/>
                        <a:pt x="84614" y="264066"/>
                        <a:pt x="72451" y="260999"/>
                      </a:cubicBezTo>
                      <a:cubicBezTo>
                        <a:pt x="80118" y="259903"/>
                        <a:pt x="75803" y="249807"/>
                        <a:pt x="71460" y="247216"/>
                      </a:cubicBezTo>
                      <a:cubicBezTo>
                        <a:pt x="76061" y="240787"/>
                        <a:pt x="85119" y="243349"/>
                        <a:pt x="91177" y="239939"/>
                      </a:cubicBezTo>
                      <a:cubicBezTo>
                        <a:pt x="86691" y="236891"/>
                        <a:pt x="95749" y="221870"/>
                        <a:pt x="84195" y="227680"/>
                      </a:cubicBezTo>
                      <a:cubicBezTo>
                        <a:pt x="82109" y="228728"/>
                        <a:pt x="81528" y="232071"/>
                        <a:pt x="79747" y="233500"/>
                      </a:cubicBezTo>
                      <a:cubicBezTo>
                        <a:pt x="78651" y="234367"/>
                        <a:pt x="76299" y="233795"/>
                        <a:pt x="75461" y="234596"/>
                      </a:cubicBezTo>
                      <a:cubicBezTo>
                        <a:pt x="71622" y="238244"/>
                        <a:pt x="71012" y="242206"/>
                        <a:pt x="69508" y="247026"/>
                      </a:cubicBezTo>
                      <a:cubicBezTo>
                        <a:pt x="66945" y="255179"/>
                        <a:pt x="60735" y="260589"/>
                        <a:pt x="55763" y="267543"/>
                      </a:cubicBezTo>
                      <a:cubicBezTo>
                        <a:pt x="54467" y="269352"/>
                        <a:pt x="52734" y="274486"/>
                        <a:pt x="48295" y="273962"/>
                      </a:cubicBezTo>
                      <a:cubicBezTo>
                        <a:pt x="40809" y="273077"/>
                        <a:pt x="48286" y="269438"/>
                        <a:pt x="48086" y="267419"/>
                      </a:cubicBezTo>
                      <a:cubicBezTo>
                        <a:pt x="47838" y="264933"/>
                        <a:pt x="43314" y="259065"/>
                        <a:pt x="40885" y="257370"/>
                      </a:cubicBezTo>
                      <a:cubicBezTo>
                        <a:pt x="35208" y="253417"/>
                        <a:pt x="33865" y="256789"/>
                        <a:pt x="29398" y="257846"/>
                      </a:cubicBezTo>
                      <a:cubicBezTo>
                        <a:pt x="26578" y="258513"/>
                        <a:pt x="25264" y="259094"/>
                        <a:pt x="22225" y="258941"/>
                      </a:cubicBezTo>
                      <a:cubicBezTo>
                        <a:pt x="21340" y="258903"/>
                        <a:pt x="20606" y="260446"/>
                        <a:pt x="19025" y="259780"/>
                      </a:cubicBezTo>
                      <a:cubicBezTo>
                        <a:pt x="15929" y="258484"/>
                        <a:pt x="17815" y="256246"/>
                        <a:pt x="16301" y="255179"/>
                      </a:cubicBezTo>
                      <a:cubicBezTo>
                        <a:pt x="14986" y="254255"/>
                        <a:pt x="13948" y="252541"/>
                        <a:pt x="12424" y="252350"/>
                      </a:cubicBezTo>
                      <a:cubicBezTo>
                        <a:pt x="12072" y="252303"/>
                        <a:pt x="9843" y="256779"/>
                        <a:pt x="9443" y="256560"/>
                      </a:cubicBezTo>
                      <a:cubicBezTo>
                        <a:pt x="5318" y="254255"/>
                        <a:pt x="10024" y="251579"/>
                        <a:pt x="11262" y="249131"/>
                      </a:cubicBezTo>
                      <a:cubicBezTo>
                        <a:pt x="13034" y="245626"/>
                        <a:pt x="14024" y="242206"/>
                        <a:pt x="16206" y="239110"/>
                      </a:cubicBezTo>
                      <a:cubicBezTo>
                        <a:pt x="17301" y="237558"/>
                        <a:pt x="21216" y="234424"/>
                        <a:pt x="20930" y="232548"/>
                      </a:cubicBezTo>
                      <a:cubicBezTo>
                        <a:pt x="19615" y="223718"/>
                        <a:pt x="10510" y="237701"/>
                        <a:pt x="8814" y="238720"/>
                      </a:cubicBezTo>
                      <a:cubicBezTo>
                        <a:pt x="7547" y="239491"/>
                        <a:pt x="2442" y="240787"/>
                        <a:pt x="880" y="239301"/>
                      </a:cubicBezTo>
                      <a:cubicBezTo>
                        <a:pt x="-1987" y="236558"/>
                        <a:pt x="2918" y="232491"/>
                        <a:pt x="4699" y="229957"/>
                      </a:cubicBezTo>
                      <a:cubicBezTo>
                        <a:pt x="6623" y="227223"/>
                        <a:pt x="11329" y="222499"/>
                        <a:pt x="11529" y="219022"/>
                      </a:cubicBezTo>
                      <a:cubicBezTo>
                        <a:pt x="11510" y="219384"/>
                        <a:pt x="8471" y="212802"/>
                        <a:pt x="8776" y="213060"/>
                      </a:cubicBezTo>
                      <a:cubicBezTo>
                        <a:pt x="7319" y="211878"/>
                        <a:pt x="2804" y="212517"/>
                        <a:pt x="2175" y="210831"/>
                      </a:cubicBezTo>
                      <a:cubicBezTo>
                        <a:pt x="1689" y="209526"/>
                        <a:pt x="4509" y="208011"/>
                        <a:pt x="4423" y="206668"/>
                      </a:cubicBezTo>
                      <a:cubicBezTo>
                        <a:pt x="4195" y="203192"/>
                        <a:pt x="642" y="199258"/>
                        <a:pt x="2280" y="196124"/>
                      </a:cubicBezTo>
                      <a:cubicBezTo>
                        <a:pt x="3871" y="193086"/>
                        <a:pt x="9338" y="193162"/>
                        <a:pt x="10986" y="190323"/>
                      </a:cubicBezTo>
                      <a:cubicBezTo>
                        <a:pt x="12796" y="187190"/>
                        <a:pt x="9490" y="182675"/>
                        <a:pt x="14120" y="180760"/>
                      </a:cubicBezTo>
                      <a:cubicBezTo>
                        <a:pt x="17330" y="179427"/>
                        <a:pt x="22044" y="184304"/>
                        <a:pt x="25169" y="179179"/>
                      </a:cubicBezTo>
                      <a:cubicBezTo>
                        <a:pt x="26464" y="177055"/>
                        <a:pt x="23787" y="172664"/>
                        <a:pt x="24273" y="169721"/>
                      </a:cubicBezTo>
                      <a:cubicBezTo>
                        <a:pt x="26483" y="156091"/>
                        <a:pt x="31522" y="178198"/>
                        <a:pt x="39094" y="174293"/>
                      </a:cubicBezTo>
                      <a:cubicBezTo>
                        <a:pt x="43371" y="172093"/>
                        <a:pt x="42228" y="156795"/>
                        <a:pt x="46219" y="157167"/>
                      </a:cubicBezTo>
                      <a:cubicBezTo>
                        <a:pt x="49362" y="157453"/>
                        <a:pt x="52867" y="166482"/>
                        <a:pt x="55849" y="168597"/>
                      </a:cubicBezTo>
                      <a:cubicBezTo>
                        <a:pt x="57506" y="169778"/>
                        <a:pt x="60011" y="169987"/>
                        <a:pt x="61373" y="170969"/>
                      </a:cubicBezTo>
                      <a:cubicBezTo>
                        <a:pt x="62468" y="171759"/>
                        <a:pt x="61811" y="174159"/>
                        <a:pt x="63783" y="175141"/>
                      </a:cubicBezTo>
                      <a:cubicBezTo>
                        <a:pt x="72984" y="179703"/>
                        <a:pt x="88929" y="174302"/>
                        <a:pt x="99016" y="176474"/>
                      </a:cubicBezTo>
                      <a:cubicBezTo>
                        <a:pt x="103655" y="177474"/>
                        <a:pt x="107912" y="180427"/>
                        <a:pt x="112456" y="178369"/>
                      </a:cubicBezTo>
                      <a:cubicBezTo>
                        <a:pt x="115742" y="176884"/>
                        <a:pt x="120142" y="170578"/>
                        <a:pt x="121800" y="167511"/>
                      </a:cubicBezTo>
                      <a:cubicBezTo>
                        <a:pt x="122943" y="165396"/>
                        <a:pt x="121828" y="163987"/>
                        <a:pt x="123762" y="161796"/>
                      </a:cubicBezTo>
                      <a:cubicBezTo>
                        <a:pt x="125724" y="159567"/>
                        <a:pt x="130268" y="159729"/>
                        <a:pt x="132563" y="158100"/>
                      </a:cubicBezTo>
                      <a:cubicBezTo>
                        <a:pt x="135935" y="155709"/>
                        <a:pt x="135754" y="154881"/>
                        <a:pt x="137392" y="150957"/>
                      </a:cubicBezTo>
                      <a:cubicBezTo>
                        <a:pt x="133373" y="150737"/>
                        <a:pt x="128448" y="144737"/>
                        <a:pt x="129210" y="140641"/>
                      </a:cubicBezTo>
                      <a:cubicBezTo>
                        <a:pt x="129820" y="137364"/>
                        <a:pt x="132696" y="137155"/>
                        <a:pt x="134335" y="134821"/>
                      </a:cubicBezTo>
                      <a:cubicBezTo>
                        <a:pt x="130934" y="134374"/>
                        <a:pt x="128172" y="133069"/>
                        <a:pt x="124934" y="132554"/>
                      </a:cubicBezTo>
                      <a:cubicBezTo>
                        <a:pt x="126438" y="131383"/>
                        <a:pt x="127238" y="129859"/>
                        <a:pt x="129172" y="128944"/>
                      </a:cubicBezTo>
                      <a:cubicBezTo>
                        <a:pt x="118656" y="126182"/>
                        <a:pt x="131220" y="122867"/>
                        <a:pt x="132372" y="120648"/>
                      </a:cubicBezTo>
                      <a:cubicBezTo>
                        <a:pt x="133573" y="118362"/>
                        <a:pt x="130582" y="115285"/>
                        <a:pt x="131544" y="112857"/>
                      </a:cubicBezTo>
                      <a:cubicBezTo>
                        <a:pt x="132287" y="110980"/>
                        <a:pt x="136754" y="109428"/>
                        <a:pt x="138230" y="108018"/>
                      </a:cubicBezTo>
                      <a:cubicBezTo>
                        <a:pt x="142564" y="103893"/>
                        <a:pt x="145269" y="98807"/>
                        <a:pt x="147841" y="94092"/>
                      </a:cubicBezTo>
                      <a:cubicBezTo>
                        <a:pt x="150651" y="88930"/>
                        <a:pt x="155890" y="86006"/>
                        <a:pt x="158623" y="81357"/>
                      </a:cubicBezTo>
                      <a:cubicBezTo>
                        <a:pt x="154728" y="83091"/>
                        <a:pt x="152023" y="81157"/>
                        <a:pt x="150089" y="78976"/>
                      </a:cubicBezTo>
                      <a:cubicBezTo>
                        <a:pt x="149194" y="77976"/>
                        <a:pt x="144974" y="70442"/>
                        <a:pt x="145774" y="68089"/>
                      </a:cubicBezTo>
                      <a:cubicBezTo>
                        <a:pt x="147479" y="63088"/>
                        <a:pt x="158500" y="62041"/>
                        <a:pt x="161957" y="58783"/>
                      </a:cubicBezTo>
                      <a:cubicBezTo>
                        <a:pt x="167967" y="53116"/>
                        <a:pt x="158300" y="57850"/>
                        <a:pt x="160366" y="53068"/>
                      </a:cubicBezTo>
                      <a:cubicBezTo>
                        <a:pt x="162319" y="48591"/>
                        <a:pt x="174473" y="52449"/>
                        <a:pt x="175740" y="49306"/>
                      </a:cubicBezTo>
                      <a:cubicBezTo>
                        <a:pt x="177607" y="44696"/>
                        <a:pt x="170882" y="46048"/>
                        <a:pt x="167958" y="46524"/>
                      </a:cubicBezTo>
                      <a:cubicBezTo>
                        <a:pt x="159204" y="47953"/>
                        <a:pt x="161928" y="47467"/>
                        <a:pt x="155556" y="44639"/>
                      </a:cubicBezTo>
                      <a:cubicBezTo>
                        <a:pt x="153670" y="43800"/>
                        <a:pt x="142317" y="43276"/>
                        <a:pt x="149594" y="39857"/>
                      </a:cubicBezTo>
                      <a:cubicBezTo>
                        <a:pt x="152280" y="38600"/>
                        <a:pt x="156823" y="42553"/>
                        <a:pt x="159138" y="41124"/>
                      </a:cubicBezTo>
                      <a:cubicBezTo>
                        <a:pt x="162567" y="39009"/>
                        <a:pt x="158014" y="40066"/>
                        <a:pt x="158585" y="37666"/>
                      </a:cubicBezTo>
                      <a:cubicBezTo>
                        <a:pt x="160166" y="31056"/>
                        <a:pt x="163357" y="29732"/>
                        <a:pt x="166748" y="24912"/>
                      </a:cubicBezTo>
                      <a:cubicBezTo>
                        <a:pt x="164615" y="24674"/>
                        <a:pt x="158890" y="27332"/>
                        <a:pt x="157623" y="26103"/>
                      </a:cubicBezTo>
                      <a:cubicBezTo>
                        <a:pt x="155451" y="23998"/>
                        <a:pt x="159842" y="17883"/>
                        <a:pt x="161376" y="16092"/>
                      </a:cubicBezTo>
                      <a:cubicBezTo>
                        <a:pt x="162938" y="14263"/>
                        <a:pt x="165653" y="13082"/>
                        <a:pt x="166262" y="11444"/>
                      </a:cubicBezTo>
                      <a:cubicBezTo>
                        <a:pt x="166377" y="11149"/>
                        <a:pt x="161576" y="10167"/>
                        <a:pt x="162843" y="8529"/>
                      </a:cubicBezTo>
                      <a:cubicBezTo>
                        <a:pt x="163729" y="7386"/>
                        <a:pt x="166062" y="8358"/>
                        <a:pt x="166824" y="7196"/>
                      </a:cubicBezTo>
                      <a:cubicBezTo>
                        <a:pt x="167425" y="6272"/>
                        <a:pt x="169710" y="6843"/>
                        <a:pt x="170177" y="5672"/>
                      </a:cubicBezTo>
                      <a:cubicBezTo>
                        <a:pt x="170749" y="4252"/>
                        <a:pt x="167948" y="2995"/>
                        <a:pt x="167653" y="3452"/>
                      </a:cubicBezTo>
                      <a:cubicBezTo>
                        <a:pt x="168444" y="2262"/>
                        <a:pt x="167834" y="-777"/>
                        <a:pt x="172635" y="185"/>
                      </a:cubicBezTo>
                      <a:cubicBezTo>
                        <a:pt x="182960" y="2281"/>
                        <a:pt x="168339" y="7862"/>
                        <a:pt x="165291" y="9282"/>
                      </a:cubicBezTo>
                      <a:lnTo>
                        <a:pt x="165291" y="9282"/>
                      </a:lnTo>
                      <a:close/>
                      <a:moveTo>
                        <a:pt x="278467" y="276267"/>
                      </a:moveTo>
                      <a:cubicBezTo>
                        <a:pt x="273828" y="281440"/>
                        <a:pt x="259445" y="281535"/>
                        <a:pt x="261036" y="287012"/>
                      </a:cubicBezTo>
                      <a:cubicBezTo>
                        <a:pt x="261770" y="289536"/>
                        <a:pt x="266399" y="284707"/>
                        <a:pt x="264237" y="291269"/>
                      </a:cubicBezTo>
                      <a:cubicBezTo>
                        <a:pt x="262474" y="296622"/>
                        <a:pt x="256407" y="297413"/>
                        <a:pt x="252825" y="300585"/>
                      </a:cubicBezTo>
                      <a:cubicBezTo>
                        <a:pt x="241824" y="310300"/>
                        <a:pt x="224870" y="323016"/>
                        <a:pt x="220431" y="336846"/>
                      </a:cubicBezTo>
                      <a:cubicBezTo>
                        <a:pt x="226108" y="333694"/>
                        <a:pt x="231775" y="329265"/>
                        <a:pt x="236976" y="325493"/>
                      </a:cubicBezTo>
                      <a:cubicBezTo>
                        <a:pt x="239262" y="323835"/>
                        <a:pt x="240681" y="320864"/>
                        <a:pt x="243663" y="321511"/>
                      </a:cubicBezTo>
                      <a:cubicBezTo>
                        <a:pt x="245015" y="321806"/>
                        <a:pt x="241624" y="326397"/>
                        <a:pt x="241434" y="326550"/>
                      </a:cubicBezTo>
                      <a:cubicBezTo>
                        <a:pt x="247396" y="323321"/>
                        <a:pt x="252988" y="325188"/>
                        <a:pt x="258979" y="325197"/>
                      </a:cubicBezTo>
                      <a:cubicBezTo>
                        <a:pt x="253940" y="331589"/>
                        <a:pt x="244082" y="331189"/>
                        <a:pt x="238205" y="336665"/>
                      </a:cubicBezTo>
                      <a:cubicBezTo>
                        <a:pt x="240567" y="335341"/>
                        <a:pt x="243196" y="334475"/>
                        <a:pt x="245815" y="335065"/>
                      </a:cubicBezTo>
                      <a:cubicBezTo>
                        <a:pt x="244196" y="338580"/>
                        <a:pt x="240824" y="339961"/>
                        <a:pt x="237605" y="341933"/>
                      </a:cubicBezTo>
                      <a:cubicBezTo>
                        <a:pt x="240595" y="341418"/>
                        <a:pt x="243596" y="340523"/>
                        <a:pt x="246101" y="340599"/>
                      </a:cubicBezTo>
                      <a:cubicBezTo>
                        <a:pt x="247444" y="340637"/>
                        <a:pt x="247615" y="342228"/>
                        <a:pt x="249397" y="342257"/>
                      </a:cubicBezTo>
                      <a:cubicBezTo>
                        <a:pt x="251616" y="342285"/>
                        <a:pt x="254397" y="341361"/>
                        <a:pt x="256531" y="340742"/>
                      </a:cubicBezTo>
                      <a:cubicBezTo>
                        <a:pt x="256188" y="341866"/>
                        <a:pt x="256378" y="343390"/>
                        <a:pt x="256017" y="344428"/>
                      </a:cubicBezTo>
                      <a:cubicBezTo>
                        <a:pt x="257721" y="343628"/>
                        <a:pt x="262675" y="336170"/>
                        <a:pt x="260160" y="343304"/>
                      </a:cubicBezTo>
                      <a:cubicBezTo>
                        <a:pt x="258684" y="347476"/>
                        <a:pt x="254131" y="349743"/>
                        <a:pt x="252397" y="353668"/>
                      </a:cubicBezTo>
                      <a:cubicBezTo>
                        <a:pt x="256683" y="351982"/>
                        <a:pt x="258350" y="348134"/>
                        <a:pt x="263513" y="346552"/>
                      </a:cubicBezTo>
                      <a:cubicBezTo>
                        <a:pt x="263532" y="347238"/>
                        <a:pt x="263351" y="347191"/>
                        <a:pt x="263255" y="347962"/>
                      </a:cubicBezTo>
                      <a:cubicBezTo>
                        <a:pt x="268532" y="345305"/>
                        <a:pt x="274905" y="340914"/>
                        <a:pt x="280553" y="339475"/>
                      </a:cubicBezTo>
                      <a:cubicBezTo>
                        <a:pt x="279534" y="341409"/>
                        <a:pt x="278876" y="343781"/>
                        <a:pt x="278819" y="345790"/>
                      </a:cubicBezTo>
                      <a:cubicBezTo>
                        <a:pt x="282744" y="340475"/>
                        <a:pt x="301022" y="340314"/>
                        <a:pt x="300803" y="348419"/>
                      </a:cubicBezTo>
                      <a:cubicBezTo>
                        <a:pt x="300641" y="354401"/>
                        <a:pt x="284830" y="360973"/>
                        <a:pt x="280191" y="362859"/>
                      </a:cubicBezTo>
                      <a:cubicBezTo>
                        <a:pt x="282982" y="362793"/>
                        <a:pt x="285706" y="362231"/>
                        <a:pt x="288516" y="362116"/>
                      </a:cubicBezTo>
                      <a:cubicBezTo>
                        <a:pt x="287420" y="362707"/>
                        <a:pt x="285420" y="364793"/>
                        <a:pt x="284401" y="365412"/>
                      </a:cubicBezTo>
                      <a:cubicBezTo>
                        <a:pt x="286620" y="365850"/>
                        <a:pt x="288792" y="366126"/>
                        <a:pt x="291107" y="366260"/>
                      </a:cubicBezTo>
                      <a:cubicBezTo>
                        <a:pt x="286439" y="371032"/>
                        <a:pt x="283020" y="372175"/>
                        <a:pt x="277029" y="375270"/>
                      </a:cubicBezTo>
                      <a:cubicBezTo>
                        <a:pt x="288040" y="372822"/>
                        <a:pt x="297222" y="370070"/>
                        <a:pt x="307994" y="366984"/>
                      </a:cubicBezTo>
                      <a:cubicBezTo>
                        <a:pt x="308042" y="374746"/>
                        <a:pt x="294145" y="379223"/>
                        <a:pt x="288211" y="381128"/>
                      </a:cubicBezTo>
                      <a:cubicBezTo>
                        <a:pt x="290964" y="385995"/>
                        <a:pt x="282810" y="386034"/>
                        <a:pt x="279315" y="387053"/>
                      </a:cubicBezTo>
                      <a:cubicBezTo>
                        <a:pt x="281239" y="387005"/>
                        <a:pt x="283706" y="387291"/>
                        <a:pt x="285335" y="387215"/>
                      </a:cubicBezTo>
                      <a:cubicBezTo>
                        <a:pt x="283334" y="390234"/>
                        <a:pt x="273514" y="393892"/>
                        <a:pt x="277648" y="398197"/>
                      </a:cubicBezTo>
                      <a:cubicBezTo>
                        <a:pt x="281877" y="402597"/>
                        <a:pt x="291488" y="389834"/>
                        <a:pt x="294012" y="388205"/>
                      </a:cubicBezTo>
                      <a:cubicBezTo>
                        <a:pt x="296964" y="386291"/>
                        <a:pt x="308099" y="379938"/>
                        <a:pt x="304908" y="385729"/>
                      </a:cubicBezTo>
                      <a:cubicBezTo>
                        <a:pt x="302727" y="389691"/>
                        <a:pt x="289773" y="396902"/>
                        <a:pt x="292211" y="403045"/>
                      </a:cubicBezTo>
                      <a:cubicBezTo>
                        <a:pt x="294602" y="409074"/>
                        <a:pt x="302098" y="395940"/>
                        <a:pt x="304537" y="395597"/>
                      </a:cubicBezTo>
                      <a:cubicBezTo>
                        <a:pt x="308776" y="394997"/>
                        <a:pt x="306299" y="402026"/>
                        <a:pt x="304575" y="405055"/>
                      </a:cubicBezTo>
                      <a:cubicBezTo>
                        <a:pt x="302517" y="408646"/>
                        <a:pt x="298308" y="410837"/>
                        <a:pt x="296136" y="414332"/>
                      </a:cubicBezTo>
                      <a:cubicBezTo>
                        <a:pt x="295021" y="416123"/>
                        <a:pt x="295193" y="417704"/>
                        <a:pt x="294155" y="419428"/>
                      </a:cubicBezTo>
                      <a:cubicBezTo>
                        <a:pt x="291868" y="423219"/>
                        <a:pt x="287878" y="429715"/>
                        <a:pt x="283010" y="430344"/>
                      </a:cubicBezTo>
                      <a:cubicBezTo>
                        <a:pt x="281582" y="430534"/>
                        <a:pt x="280915" y="428029"/>
                        <a:pt x="278819" y="428182"/>
                      </a:cubicBezTo>
                      <a:cubicBezTo>
                        <a:pt x="277038" y="428315"/>
                        <a:pt x="273276" y="432030"/>
                        <a:pt x="271704" y="430563"/>
                      </a:cubicBezTo>
                      <a:cubicBezTo>
                        <a:pt x="270590" y="429534"/>
                        <a:pt x="276429" y="416037"/>
                        <a:pt x="276971" y="414589"/>
                      </a:cubicBezTo>
                      <a:cubicBezTo>
                        <a:pt x="273533" y="415780"/>
                        <a:pt x="263713" y="426896"/>
                        <a:pt x="260112" y="424705"/>
                      </a:cubicBezTo>
                      <a:cubicBezTo>
                        <a:pt x="255150" y="421676"/>
                        <a:pt x="269390" y="410903"/>
                        <a:pt x="271076" y="408293"/>
                      </a:cubicBezTo>
                      <a:cubicBezTo>
                        <a:pt x="272923" y="405426"/>
                        <a:pt x="276553" y="391625"/>
                        <a:pt x="268866" y="392196"/>
                      </a:cubicBezTo>
                      <a:cubicBezTo>
                        <a:pt x="263903" y="392568"/>
                        <a:pt x="259979" y="405865"/>
                        <a:pt x="253959" y="407379"/>
                      </a:cubicBezTo>
                      <a:cubicBezTo>
                        <a:pt x="255245" y="405550"/>
                        <a:pt x="256721" y="403845"/>
                        <a:pt x="258350" y="402302"/>
                      </a:cubicBezTo>
                      <a:cubicBezTo>
                        <a:pt x="250301" y="406122"/>
                        <a:pt x="243653" y="409132"/>
                        <a:pt x="236747" y="415904"/>
                      </a:cubicBezTo>
                      <a:cubicBezTo>
                        <a:pt x="232794" y="419781"/>
                        <a:pt x="221279" y="426220"/>
                        <a:pt x="215126" y="423276"/>
                      </a:cubicBezTo>
                      <a:cubicBezTo>
                        <a:pt x="205896" y="418866"/>
                        <a:pt x="224622" y="415294"/>
                        <a:pt x="227413" y="413885"/>
                      </a:cubicBezTo>
                      <a:cubicBezTo>
                        <a:pt x="231642" y="411751"/>
                        <a:pt x="234176" y="407379"/>
                        <a:pt x="238148" y="405064"/>
                      </a:cubicBezTo>
                      <a:cubicBezTo>
                        <a:pt x="242777" y="402359"/>
                        <a:pt x="247558" y="402702"/>
                        <a:pt x="251292" y="398254"/>
                      </a:cubicBezTo>
                      <a:cubicBezTo>
                        <a:pt x="247349" y="400416"/>
                        <a:pt x="244815" y="398559"/>
                        <a:pt x="241100" y="398654"/>
                      </a:cubicBezTo>
                      <a:cubicBezTo>
                        <a:pt x="233452" y="398845"/>
                        <a:pt x="237776" y="400559"/>
                        <a:pt x="232328" y="403407"/>
                      </a:cubicBezTo>
                      <a:cubicBezTo>
                        <a:pt x="228299" y="405503"/>
                        <a:pt x="218812" y="403360"/>
                        <a:pt x="214068" y="403360"/>
                      </a:cubicBezTo>
                      <a:cubicBezTo>
                        <a:pt x="219945" y="400664"/>
                        <a:pt x="223632" y="400816"/>
                        <a:pt x="224765" y="393396"/>
                      </a:cubicBezTo>
                      <a:cubicBezTo>
                        <a:pt x="222193" y="394968"/>
                        <a:pt x="219107" y="393692"/>
                        <a:pt x="217488" y="394349"/>
                      </a:cubicBezTo>
                      <a:cubicBezTo>
                        <a:pt x="215535" y="395130"/>
                        <a:pt x="214783" y="397473"/>
                        <a:pt x="212887" y="398264"/>
                      </a:cubicBezTo>
                      <a:cubicBezTo>
                        <a:pt x="208668" y="400016"/>
                        <a:pt x="201495" y="401169"/>
                        <a:pt x="197114" y="401378"/>
                      </a:cubicBezTo>
                      <a:cubicBezTo>
                        <a:pt x="184836" y="401969"/>
                        <a:pt x="170082" y="399397"/>
                        <a:pt x="157909" y="397892"/>
                      </a:cubicBezTo>
                      <a:cubicBezTo>
                        <a:pt x="158223" y="397149"/>
                        <a:pt x="158366" y="396873"/>
                        <a:pt x="158461" y="396187"/>
                      </a:cubicBezTo>
                      <a:cubicBezTo>
                        <a:pt x="152213" y="399759"/>
                        <a:pt x="123952" y="406303"/>
                        <a:pt x="133906" y="390510"/>
                      </a:cubicBezTo>
                      <a:cubicBezTo>
                        <a:pt x="137040" y="385538"/>
                        <a:pt x="146450" y="383128"/>
                        <a:pt x="151451" y="380080"/>
                      </a:cubicBezTo>
                      <a:cubicBezTo>
                        <a:pt x="156957" y="376728"/>
                        <a:pt x="162538" y="374356"/>
                        <a:pt x="168072" y="371260"/>
                      </a:cubicBezTo>
                      <a:cubicBezTo>
                        <a:pt x="161710" y="372403"/>
                        <a:pt x="152766" y="371441"/>
                        <a:pt x="146165" y="371270"/>
                      </a:cubicBezTo>
                      <a:cubicBezTo>
                        <a:pt x="148441" y="367946"/>
                        <a:pt x="154194" y="365441"/>
                        <a:pt x="157995" y="364174"/>
                      </a:cubicBezTo>
                      <a:cubicBezTo>
                        <a:pt x="154908" y="365441"/>
                        <a:pt x="153032" y="369651"/>
                        <a:pt x="158071" y="368803"/>
                      </a:cubicBezTo>
                      <a:cubicBezTo>
                        <a:pt x="161014" y="368307"/>
                        <a:pt x="164538" y="362097"/>
                        <a:pt x="166624" y="359811"/>
                      </a:cubicBezTo>
                      <a:cubicBezTo>
                        <a:pt x="174273" y="351429"/>
                        <a:pt x="173387" y="355030"/>
                        <a:pt x="182540" y="356582"/>
                      </a:cubicBezTo>
                      <a:cubicBezTo>
                        <a:pt x="178692" y="353953"/>
                        <a:pt x="182950" y="350601"/>
                        <a:pt x="185712" y="348972"/>
                      </a:cubicBezTo>
                      <a:cubicBezTo>
                        <a:pt x="174768" y="351343"/>
                        <a:pt x="185274" y="340742"/>
                        <a:pt x="189218" y="339285"/>
                      </a:cubicBezTo>
                      <a:cubicBezTo>
                        <a:pt x="190008" y="338990"/>
                        <a:pt x="191561" y="341504"/>
                        <a:pt x="191894" y="341276"/>
                      </a:cubicBezTo>
                      <a:cubicBezTo>
                        <a:pt x="194856" y="339171"/>
                        <a:pt x="191580" y="340999"/>
                        <a:pt x="193075" y="338732"/>
                      </a:cubicBezTo>
                      <a:cubicBezTo>
                        <a:pt x="193047" y="338780"/>
                        <a:pt x="193723" y="333627"/>
                        <a:pt x="194304" y="332522"/>
                      </a:cubicBezTo>
                      <a:cubicBezTo>
                        <a:pt x="197466" y="326445"/>
                        <a:pt x="205324" y="320540"/>
                        <a:pt x="209830" y="315148"/>
                      </a:cubicBezTo>
                      <a:cubicBezTo>
                        <a:pt x="213326" y="310977"/>
                        <a:pt x="217069" y="304823"/>
                        <a:pt x="223212" y="305328"/>
                      </a:cubicBezTo>
                      <a:cubicBezTo>
                        <a:pt x="218259" y="302233"/>
                        <a:pt x="228842" y="297632"/>
                        <a:pt x="231671" y="294879"/>
                      </a:cubicBezTo>
                      <a:cubicBezTo>
                        <a:pt x="234566" y="292060"/>
                        <a:pt x="240262" y="285745"/>
                        <a:pt x="244701" y="282716"/>
                      </a:cubicBezTo>
                      <a:cubicBezTo>
                        <a:pt x="250378" y="278839"/>
                        <a:pt x="262455" y="275858"/>
                        <a:pt x="267570" y="276325"/>
                      </a:cubicBezTo>
                      <a:cubicBezTo>
                        <a:pt x="268066" y="276363"/>
                        <a:pt x="270599" y="278115"/>
                        <a:pt x="272057" y="278049"/>
                      </a:cubicBezTo>
                      <a:cubicBezTo>
                        <a:pt x="273838" y="277963"/>
                        <a:pt x="271904" y="275477"/>
                        <a:pt x="273085" y="275277"/>
                      </a:cubicBezTo>
                      <a:cubicBezTo>
                        <a:pt x="275705" y="274801"/>
                        <a:pt x="278372" y="273315"/>
                        <a:pt x="278467" y="276267"/>
                      </a:cubicBezTo>
                      <a:lnTo>
                        <a:pt x="278467" y="276267"/>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26" name="Freeform: Shape 525">
                  <a:extLst>
                    <a:ext uri="{FF2B5EF4-FFF2-40B4-BE49-F238E27FC236}">
                      <a16:creationId xmlns:a16="http://schemas.microsoft.com/office/drawing/2014/main" id="{AA85C02F-79D9-4A68-9AAC-C8F9F0181015}"/>
                    </a:ext>
                  </a:extLst>
                </p:cNvPr>
                <p:cNvSpPr/>
                <p:nvPr/>
              </p:nvSpPr>
              <p:spPr>
                <a:xfrm>
                  <a:off x="3768683" y="2850972"/>
                  <a:ext cx="122516" cy="93589"/>
                </a:xfrm>
                <a:custGeom>
                  <a:avLst/>
                  <a:gdLst>
                    <a:gd name="connsiteX0" fmla="*/ 81207 w 122516"/>
                    <a:gd name="connsiteY0" fmla="*/ 11 h 93589"/>
                    <a:gd name="connsiteX1" fmla="*/ 91722 w 122516"/>
                    <a:gd name="connsiteY1" fmla="*/ 4468 h 93589"/>
                    <a:gd name="connsiteX2" fmla="*/ 95142 w 122516"/>
                    <a:gd name="connsiteY2" fmla="*/ 11907 h 93589"/>
                    <a:gd name="connsiteX3" fmla="*/ 114049 w 122516"/>
                    <a:gd name="connsiteY3" fmla="*/ 6754 h 93589"/>
                    <a:gd name="connsiteX4" fmla="*/ 112163 w 122516"/>
                    <a:gd name="connsiteY4" fmla="*/ 8450 h 93589"/>
                    <a:gd name="connsiteX5" fmla="*/ 120297 w 122516"/>
                    <a:gd name="connsiteY5" fmla="*/ 10602 h 93589"/>
                    <a:gd name="connsiteX6" fmla="*/ 109772 w 122516"/>
                    <a:gd name="connsiteY6" fmla="*/ 22042 h 93589"/>
                    <a:gd name="connsiteX7" fmla="*/ 95837 w 122516"/>
                    <a:gd name="connsiteY7" fmla="*/ 30243 h 93589"/>
                    <a:gd name="connsiteX8" fmla="*/ 108210 w 122516"/>
                    <a:gd name="connsiteY8" fmla="*/ 31519 h 93589"/>
                    <a:gd name="connsiteX9" fmla="*/ 105429 w 122516"/>
                    <a:gd name="connsiteY9" fmla="*/ 43578 h 93589"/>
                    <a:gd name="connsiteX10" fmla="*/ 105295 w 122516"/>
                    <a:gd name="connsiteY10" fmla="*/ 57370 h 93589"/>
                    <a:gd name="connsiteX11" fmla="*/ 122516 w 122516"/>
                    <a:gd name="connsiteY11" fmla="*/ 61561 h 93589"/>
                    <a:gd name="connsiteX12" fmla="*/ 99104 w 122516"/>
                    <a:gd name="connsiteY12" fmla="*/ 66619 h 93589"/>
                    <a:gd name="connsiteX13" fmla="*/ 77263 w 122516"/>
                    <a:gd name="connsiteY13" fmla="*/ 81030 h 93589"/>
                    <a:gd name="connsiteX14" fmla="*/ 51479 w 122516"/>
                    <a:gd name="connsiteY14" fmla="*/ 86469 h 93589"/>
                    <a:gd name="connsiteX15" fmla="*/ 55022 w 122516"/>
                    <a:gd name="connsiteY15" fmla="*/ 83288 h 93589"/>
                    <a:gd name="connsiteX16" fmla="*/ 51231 w 122516"/>
                    <a:gd name="connsiteY16" fmla="*/ 85250 h 93589"/>
                    <a:gd name="connsiteX17" fmla="*/ 49345 w 122516"/>
                    <a:gd name="connsiteY17" fmla="*/ 89279 h 93589"/>
                    <a:gd name="connsiteX18" fmla="*/ 44249 w 122516"/>
                    <a:gd name="connsiteY18" fmla="*/ 91374 h 93589"/>
                    <a:gd name="connsiteX19" fmla="*/ 41268 w 122516"/>
                    <a:gd name="connsiteY19" fmla="*/ 92841 h 93589"/>
                    <a:gd name="connsiteX20" fmla="*/ 38525 w 122516"/>
                    <a:gd name="connsiteY20" fmla="*/ 91936 h 93589"/>
                    <a:gd name="connsiteX21" fmla="*/ 27209 w 122516"/>
                    <a:gd name="connsiteY21" fmla="*/ 93375 h 93589"/>
                    <a:gd name="connsiteX22" fmla="*/ 21027 w 122516"/>
                    <a:gd name="connsiteY22" fmla="*/ 90631 h 93589"/>
                    <a:gd name="connsiteX23" fmla="*/ 15646 w 122516"/>
                    <a:gd name="connsiteY23" fmla="*/ 86212 h 93589"/>
                    <a:gd name="connsiteX24" fmla="*/ 18551 w 122516"/>
                    <a:gd name="connsiteY24" fmla="*/ 76973 h 93589"/>
                    <a:gd name="connsiteX25" fmla="*/ 12931 w 122516"/>
                    <a:gd name="connsiteY25" fmla="*/ 74849 h 93589"/>
                    <a:gd name="connsiteX26" fmla="*/ 13874 w 122516"/>
                    <a:gd name="connsiteY26" fmla="*/ 69610 h 93589"/>
                    <a:gd name="connsiteX27" fmla="*/ 22494 w 122516"/>
                    <a:gd name="connsiteY27" fmla="*/ 48312 h 93589"/>
                    <a:gd name="connsiteX28" fmla="*/ 21037 w 122516"/>
                    <a:gd name="connsiteY28" fmla="*/ 22385 h 93589"/>
                    <a:gd name="connsiteX29" fmla="*/ 558 w 122516"/>
                    <a:gd name="connsiteY29" fmla="*/ 26195 h 93589"/>
                    <a:gd name="connsiteX30" fmla="*/ 12417 w 122516"/>
                    <a:gd name="connsiteY30" fmla="*/ 20261 h 93589"/>
                    <a:gd name="connsiteX31" fmla="*/ 22713 w 122516"/>
                    <a:gd name="connsiteY31" fmla="*/ 12450 h 93589"/>
                    <a:gd name="connsiteX32" fmla="*/ 25666 w 122516"/>
                    <a:gd name="connsiteY32" fmla="*/ 5602 h 93589"/>
                    <a:gd name="connsiteX33" fmla="*/ 32886 w 122516"/>
                    <a:gd name="connsiteY33" fmla="*/ 4183 h 93589"/>
                    <a:gd name="connsiteX34" fmla="*/ 38068 w 122516"/>
                    <a:gd name="connsiteY34" fmla="*/ 1992 h 93589"/>
                    <a:gd name="connsiteX35" fmla="*/ 47431 w 122516"/>
                    <a:gd name="connsiteY35" fmla="*/ 2001 h 93589"/>
                    <a:gd name="connsiteX36" fmla="*/ 81207 w 122516"/>
                    <a:gd name="connsiteY36" fmla="*/ 11 h 93589"/>
                    <a:gd name="connsiteX37" fmla="*/ 81207 w 122516"/>
                    <a:gd name="connsiteY37" fmla="*/ 11 h 9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2516" h="93589">
                      <a:moveTo>
                        <a:pt x="81207" y="11"/>
                      </a:moveTo>
                      <a:cubicBezTo>
                        <a:pt x="84254" y="3087"/>
                        <a:pt x="88693" y="2087"/>
                        <a:pt x="91722" y="4468"/>
                      </a:cubicBezTo>
                      <a:cubicBezTo>
                        <a:pt x="94084" y="6326"/>
                        <a:pt x="93741" y="11079"/>
                        <a:pt x="95142" y="11907"/>
                      </a:cubicBezTo>
                      <a:cubicBezTo>
                        <a:pt x="97904" y="13536"/>
                        <a:pt x="110448" y="7373"/>
                        <a:pt x="114049" y="6754"/>
                      </a:cubicBezTo>
                      <a:cubicBezTo>
                        <a:pt x="113420" y="7316"/>
                        <a:pt x="112791" y="7888"/>
                        <a:pt x="112163" y="8450"/>
                      </a:cubicBezTo>
                      <a:cubicBezTo>
                        <a:pt x="115049" y="7773"/>
                        <a:pt x="118183" y="8440"/>
                        <a:pt x="120297" y="10602"/>
                      </a:cubicBezTo>
                      <a:cubicBezTo>
                        <a:pt x="115401" y="13765"/>
                        <a:pt x="113734" y="18232"/>
                        <a:pt x="109772" y="22042"/>
                      </a:cubicBezTo>
                      <a:cubicBezTo>
                        <a:pt x="106076" y="25595"/>
                        <a:pt x="100314" y="27881"/>
                        <a:pt x="95837" y="30243"/>
                      </a:cubicBezTo>
                      <a:cubicBezTo>
                        <a:pt x="99018" y="33500"/>
                        <a:pt x="103962" y="29643"/>
                        <a:pt x="108210" y="31519"/>
                      </a:cubicBezTo>
                      <a:cubicBezTo>
                        <a:pt x="104095" y="37968"/>
                        <a:pt x="104895" y="37815"/>
                        <a:pt x="105429" y="43578"/>
                      </a:cubicBezTo>
                      <a:cubicBezTo>
                        <a:pt x="105848" y="48112"/>
                        <a:pt x="105000" y="53370"/>
                        <a:pt x="105295" y="57370"/>
                      </a:cubicBezTo>
                      <a:cubicBezTo>
                        <a:pt x="109381" y="57675"/>
                        <a:pt x="120145" y="57665"/>
                        <a:pt x="122516" y="61561"/>
                      </a:cubicBezTo>
                      <a:cubicBezTo>
                        <a:pt x="117630" y="63428"/>
                        <a:pt x="101485" y="76334"/>
                        <a:pt x="99104" y="66619"/>
                      </a:cubicBezTo>
                      <a:cubicBezTo>
                        <a:pt x="98609" y="76058"/>
                        <a:pt x="84683" y="78106"/>
                        <a:pt x="77263" y="81030"/>
                      </a:cubicBezTo>
                      <a:cubicBezTo>
                        <a:pt x="71529" y="83288"/>
                        <a:pt x="55908" y="94203"/>
                        <a:pt x="51479" y="86469"/>
                      </a:cubicBezTo>
                      <a:cubicBezTo>
                        <a:pt x="52622" y="85574"/>
                        <a:pt x="53803" y="83964"/>
                        <a:pt x="55022" y="83288"/>
                      </a:cubicBezTo>
                      <a:cubicBezTo>
                        <a:pt x="54146" y="83669"/>
                        <a:pt x="51850" y="84659"/>
                        <a:pt x="51231" y="85250"/>
                      </a:cubicBezTo>
                      <a:cubicBezTo>
                        <a:pt x="49355" y="87041"/>
                        <a:pt x="51536" y="87660"/>
                        <a:pt x="49345" y="89279"/>
                      </a:cubicBezTo>
                      <a:cubicBezTo>
                        <a:pt x="48221" y="90108"/>
                        <a:pt x="45640" y="90974"/>
                        <a:pt x="44249" y="91374"/>
                      </a:cubicBezTo>
                      <a:cubicBezTo>
                        <a:pt x="43249" y="91651"/>
                        <a:pt x="42325" y="92603"/>
                        <a:pt x="41268" y="92841"/>
                      </a:cubicBezTo>
                      <a:cubicBezTo>
                        <a:pt x="39868" y="93165"/>
                        <a:pt x="38915" y="91851"/>
                        <a:pt x="38525" y="91936"/>
                      </a:cubicBezTo>
                      <a:cubicBezTo>
                        <a:pt x="34134" y="92832"/>
                        <a:pt x="30953" y="94099"/>
                        <a:pt x="27209" y="93375"/>
                      </a:cubicBezTo>
                      <a:cubicBezTo>
                        <a:pt x="27409" y="93413"/>
                        <a:pt x="23237" y="90898"/>
                        <a:pt x="21027" y="90631"/>
                      </a:cubicBezTo>
                      <a:cubicBezTo>
                        <a:pt x="15970" y="90003"/>
                        <a:pt x="15427" y="92032"/>
                        <a:pt x="15646" y="86212"/>
                      </a:cubicBezTo>
                      <a:cubicBezTo>
                        <a:pt x="15798" y="82221"/>
                        <a:pt x="20132" y="79506"/>
                        <a:pt x="18551" y="76973"/>
                      </a:cubicBezTo>
                      <a:cubicBezTo>
                        <a:pt x="18227" y="76468"/>
                        <a:pt x="14008" y="76544"/>
                        <a:pt x="12931" y="74849"/>
                      </a:cubicBezTo>
                      <a:cubicBezTo>
                        <a:pt x="11160" y="72086"/>
                        <a:pt x="12931" y="72791"/>
                        <a:pt x="13874" y="69610"/>
                      </a:cubicBezTo>
                      <a:cubicBezTo>
                        <a:pt x="15960" y="62599"/>
                        <a:pt x="19599" y="55284"/>
                        <a:pt x="22494" y="48312"/>
                      </a:cubicBezTo>
                      <a:cubicBezTo>
                        <a:pt x="25542" y="40968"/>
                        <a:pt x="35039" y="24880"/>
                        <a:pt x="21037" y="22385"/>
                      </a:cubicBezTo>
                      <a:cubicBezTo>
                        <a:pt x="16198" y="21518"/>
                        <a:pt x="5121" y="30719"/>
                        <a:pt x="558" y="26195"/>
                      </a:cubicBezTo>
                      <a:cubicBezTo>
                        <a:pt x="-2823" y="22833"/>
                        <a:pt x="10169" y="21128"/>
                        <a:pt x="12417" y="20261"/>
                      </a:cubicBezTo>
                      <a:cubicBezTo>
                        <a:pt x="17446" y="18327"/>
                        <a:pt x="19970" y="16746"/>
                        <a:pt x="22713" y="12450"/>
                      </a:cubicBezTo>
                      <a:cubicBezTo>
                        <a:pt x="23818" y="10726"/>
                        <a:pt x="24142" y="6973"/>
                        <a:pt x="25666" y="5602"/>
                      </a:cubicBezTo>
                      <a:cubicBezTo>
                        <a:pt x="28038" y="3459"/>
                        <a:pt x="29514" y="4802"/>
                        <a:pt x="32886" y="4183"/>
                      </a:cubicBezTo>
                      <a:cubicBezTo>
                        <a:pt x="34096" y="3963"/>
                        <a:pt x="35820" y="2449"/>
                        <a:pt x="38068" y="1992"/>
                      </a:cubicBezTo>
                      <a:cubicBezTo>
                        <a:pt x="40935" y="1401"/>
                        <a:pt x="44516" y="1992"/>
                        <a:pt x="47431" y="2001"/>
                      </a:cubicBezTo>
                      <a:cubicBezTo>
                        <a:pt x="47088" y="11269"/>
                        <a:pt x="75796" y="-399"/>
                        <a:pt x="81207" y="11"/>
                      </a:cubicBezTo>
                      <a:lnTo>
                        <a:pt x="81207" y="11"/>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27" name="Freeform: Shape 526">
                  <a:extLst>
                    <a:ext uri="{FF2B5EF4-FFF2-40B4-BE49-F238E27FC236}">
                      <a16:creationId xmlns:a16="http://schemas.microsoft.com/office/drawing/2014/main" id="{693447B7-8D9F-45BA-B63B-9D9E63D80639}"/>
                    </a:ext>
                  </a:extLst>
                </p:cNvPr>
                <p:cNvSpPr/>
                <p:nvPr/>
              </p:nvSpPr>
              <p:spPr>
                <a:xfrm>
                  <a:off x="2949520" y="2474824"/>
                  <a:ext cx="477097" cy="346883"/>
                </a:xfrm>
                <a:custGeom>
                  <a:avLst/>
                  <a:gdLst>
                    <a:gd name="connsiteX0" fmla="*/ 381876 w 477097"/>
                    <a:gd name="connsiteY0" fmla="*/ 34611 h 346883"/>
                    <a:gd name="connsiteX1" fmla="*/ 387906 w 477097"/>
                    <a:gd name="connsiteY1" fmla="*/ 40507 h 346883"/>
                    <a:gd name="connsiteX2" fmla="*/ 377571 w 477097"/>
                    <a:gd name="connsiteY2" fmla="*/ 53699 h 346883"/>
                    <a:gd name="connsiteX3" fmla="*/ 401765 w 477097"/>
                    <a:gd name="connsiteY3" fmla="*/ 38792 h 346883"/>
                    <a:gd name="connsiteX4" fmla="*/ 414623 w 477097"/>
                    <a:gd name="connsiteY4" fmla="*/ 40192 h 346883"/>
                    <a:gd name="connsiteX5" fmla="*/ 410356 w 477097"/>
                    <a:gd name="connsiteY5" fmla="*/ 53032 h 346883"/>
                    <a:gd name="connsiteX6" fmla="*/ 403574 w 477097"/>
                    <a:gd name="connsiteY6" fmla="*/ 81159 h 346883"/>
                    <a:gd name="connsiteX7" fmla="*/ 384810 w 477097"/>
                    <a:gd name="connsiteY7" fmla="*/ 97038 h 346883"/>
                    <a:gd name="connsiteX8" fmla="*/ 399498 w 477097"/>
                    <a:gd name="connsiteY8" fmla="*/ 93132 h 346883"/>
                    <a:gd name="connsiteX9" fmla="*/ 396316 w 477097"/>
                    <a:gd name="connsiteY9" fmla="*/ 95361 h 346883"/>
                    <a:gd name="connsiteX10" fmla="*/ 438112 w 477097"/>
                    <a:gd name="connsiteY10" fmla="*/ 86474 h 346883"/>
                    <a:gd name="connsiteX11" fmla="*/ 456533 w 477097"/>
                    <a:gd name="connsiteY11" fmla="*/ 94047 h 346883"/>
                    <a:gd name="connsiteX12" fmla="*/ 477098 w 477097"/>
                    <a:gd name="connsiteY12" fmla="*/ 99257 h 346883"/>
                    <a:gd name="connsiteX13" fmla="*/ 277073 w 477097"/>
                    <a:gd name="connsiteY13" fmla="*/ 207404 h 346883"/>
                    <a:gd name="connsiteX14" fmla="*/ 252794 w 477097"/>
                    <a:gd name="connsiteY14" fmla="*/ 219643 h 346883"/>
                    <a:gd name="connsiteX15" fmla="*/ 231067 w 477097"/>
                    <a:gd name="connsiteY15" fmla="*/ 239370 h 346883"/>
                    <a:gd name="connsiteX16" fmla="*/ 201073 w 477097"/>
                    <a:gd name="connsiteY16" fmla="*/ 285309 h 346883"/>
                    <a:gd name="connsiteX17" fmla="*/ 170012 w 477097"/>
                    <a:gd name="connsiteY17" fmla="*/ 334086 h 346883"/>
                    <a:gd name="connsiteX18" fmla="*/ 163363 w 477097"/>
                    <a:gd name="connsiteY18" fmla="*/ 344516 h 346883"/>
                    <a:gd name="connsiteX19" fmla="*/ 151267 w 477097"/>
                    <a:gd name="connsiteY19" fmla="*/ 346793 h 346883"/>
                    <a:gd name="connsiteX20" fmla="*/ 122968 w 477097"/>
                    <a:gd name="connsiteY20" fmla="*/ 346783 h 346883"/>
                    <a:gd name="connsiteX21" fmla="*/ 0 w 477097"/>
                    <a:gd name="connsiteY21" fmla="*/ 346783 h 346883"/>
                    <a:gd name="connsiteX22" fmla="*/ 121701 w 477097"/>
                    <a:gd name="connsiteY22" fmla="*/ 151959 h 346883"/>
                    <a:gd name="connsiteX23" fmla="*/ 187966 w 477097"/>
                    <a:gd name="connsiteY23" fmla="*/ 60814 h 346883"/>
                    <a:gd name="connsiteX24" fmla="*/ 222209 w 477097"/>
                    <a:gd name="connsiteY24" fmla="*/ 15837 h 346883"/>
                    <a:gd name="connsiteX25" fmla="*/ 231124 w 477097"/>
                    <a:gd name="connsiteY25" fmla="*/ 4226 h 346883"/>
                    <a:gd name="connsiteX26" fmla="*/ 244640 w 477097"/>
                    <a:gd name="connsiteY26" fmla="*/ 54 h 346883"/>
                    <a:gd name="connsiteX27" fmla="*/ 274063 w 477097"/>
                    <a:gd name="connsiteY27" fmla="*/ 54 h 346883"/>
                    <a:gd name="connsiteX28" fmla="*/ 405165 w 477097"/>
                    <a:gd name="connsiteY28" fmla="*/ 16 h 346883"/>
                    <a:gd name="connsiteX29" fmla="*/ 379790 w 477097"/>
                    <a:gd name="connsiteY29" fmla="*/ 29410 h 346883"/>
                    <a:gd name="connsiteX30" fmla="*/ 381876 w 477097"/>
                    <a:gd name="connsiteY30" fmla="*/ 34611 h 346883"/>
                    <a:gd name="connsiteX31" fmla="*/ 381876 w 477097"/>
                    <a:gd name="connsiteY31" fmla="*/ 34611 h 346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77097" h="346883">
                      <a:moveTo>
                        <a:pt x="381876" y="34611"/>
                      </a:moveTo>
                      <a:cubicBezTo>
                        <a:pt x="384686" y="35401"/>
                        <a:pt x="384543" y="39573"/>
                        <a:pt x="387906" y="40507"/>
                      </a:cubicBezTo>
                      <a:cubicBezTo>
                        <a:pt x="384867" y="45203"/>
                        <a:pt x="380791" y="49127"/>
                        <a:pt x="377571" y="53699"/>
                      </a:cubicBezTo>
                      <a:cubicBezTo>
                        <a:pt x="386820" y="47346"/>
                        <a:pt x="389106" y="38230"/>
                        <a:pt x="401765" y="38792"/>
                      </a:cubicBezTo>
                      <a:cubicBezTo>
                        <a:pt x="403374" y="38859"/>
                        <a:pt x="413890" y="38973"/>
                        <a:pt x="414623" y="40192"/>
                      </a:cubicBezTo>
                      <a:cubicBezTo>
                        <a:pt x="414881" y="40621"/>
                        <a:pt x="410670" y="51651"/>
                        <a:pt x="410356" y="53032"/>
                      </a:cubicBezTo>
                      <a:cubicBezTo>
                        <a:pt x="408365" y="61767"/>
                        <a:pt x="406832" y="72958"/>
                        <a:pt x="403574" y="81159"/>
                      </a:cubicBezTo>
                      <a:cubicBezTo>
                        <a:pt x="400555" y="88751"/>
                        <a:pt x="391897" y="93875"/>
                        <a:pt x="384810" y="97038"/>
                      </a:cubicBezTo>
                      <a:cubicBezTo>
                        <a:pt x="389896" y="96114"/>
                        <a:pt x="394173" y="92942"/>
                        <a:pt x="399498" y="93132"/>
                      </a:cubicBezTo>
                      <a:cubicBezTo>
                        <a:pt x="398431" y="93875"/>
                        <a:pt x="397716" y="94723"/>
                        <a:pt x="396316" y="95361"/>
                      </a:cubicBezTo>
                      <a:cubicBezTo>
                        <a:pt x="409242" y="91846"/>
                        <a:pt x="424529" y="86217"/>
                        <a:pt x="438112" y="86474"/>
                      </a:cubicBezTo>
                      <a:cubicBezTo>
                        <a:pt x="445560" y="86617"/>
                        <a:pt x="450114" y="91342"/>
                        <a:pt x="456533" y="94047"/>
                      </a:cubicBezTo>
                      <a:cubicBezTo>
                        <a:pt x="462610" y="96609"/>
                        <a:pt x="470526" y="98523"/>
                        <a:pt x="477098" y="99257"/>
                      </a:cubicBezTo>
                      <a:cubicBezTo>
                        <a:pt x="409880" y="134223"/>
                        <a:pt x="344662" y="173276"/>
                        <a:pt x="277073" y="207404"/>
                      </a:cubicBezTo>
                      <a:cubicBezTo>
                        <a:pt x="268976" y="211490"/>
                        <a:pt x="260890" y="215567"/>
                        <a:pt x="252794" y="219643"/>
                      </a:cubicBezTo>
                      <a:cubicBezTo>
                        <a:pt x="241287" y="225425"/>
                        <a:pt x="238182" y="228587"/>
                        <a:pt x="231067" y="239370"/>
                      </a:cubicBezTo>
                      <a:cubicBezTo>
                        <a:pt x="220990" y="254629"/>
                        <a:pt x="210998" y="269945"/>
                        <a:pt x="201073" y="285309"/>
                      </a:cubicBezTo>
                      <a:cubicBezTo>
                        <a:pt x="190605" y="301501"/>
                        <a:pt x="180299" y="317779"/>
                        <a:pt x="170012" y="334086"/>
                      </a:cubicBezTo>
                      <a:cubicBezTo>
                        <a:pt x="168183" y="336991"/>
                        <a:pt x="165954" y="342306"/>
                        <a:pt x="163363" y="344516"/>
                      </a:cubicBezTo>
                      <a:cubicBezTo>
                        <a:pt x="159791" y="347564"/>
                        <a:pt x="156343" y="346802"/>
                        <a:pt x="151267" y="346793"/>
                      </a:cubicBezTo>
                      <a:cubicBezTo>
                        <a:pt x="141837" y="346783"/>
                        <a:pt x="132407" y="346783"/>
                        <a:pt x="122968" y="346783"/>
                      </a:cubicBezTo>
                      <a:cubicBezTo>
                        <a:pt x="81982" y="346783"/>
                        <a:pt x="40986" y="346783"/>
                        <a:pt x="0" y="346783"/>
                      </a:cubicBezTo>
                      <a:cubicBezTo>
                        <a:pt x="39348" y="281070"/>
                        <a:pt x="79639" y="215976"/>
                        <a:pt x="121701" y="151959"/>
                      </a:cubicBezTo>
                      <a:cubicBezTo>
                        <a:pt x="142332" y="120555"/>
                        <a:pt x="165306" y="90761"/>
                        <a:pt x="187966" y="60814"/>
                      </a:cubicBezTo>
                      <a:cubicBezTo>
                        <a:pt x="199339" y="45784"/>
                        <a:pt x="210741" y="30772"/>
                        <a:pt x="222209" y="15837"/>
                      </a:cubicBezTo>
                      <a:cubicBezTo>
                        <a:pt x="225104" y="12065"/>
                        <a:pt x="227819" y="7655"/>
                        <a:pt x="231124" y="4226"/>
                      </a:cubicBezTo>
                      <a:cubicBezTo>
                        <a:pt x="235934" y="-765"/>
                        <a:pt x="237182" y="45"/>
                        <a:pt x="244640" y="54"/>
                      </a:cubicBezTo>
                      <a:cubicBezTo>
                        <a:pt x="254441" y="64"/>
                        <a:pt x="264252" y="35"/>
                        <a:pt x="274063" y="54"/>
                      </a:cubicBezTo>
                      <a:cubicBezTo>
                        <a:pt x="317754" y="149"/>
                        <a:pt x="361464" y="121"/>
                        <a:pt x="405165" y="16"/>
                      </a:cubicBezTo>
                      <a:cubicBezTo>
                        <a:pt x="398069" y="7464"/>
                        <a:pt x="390992" y="27448"/>
                        <a:pt x="379790" y="29410"/>
                      </a:cubicBezTo>
                      <a:cubicBezTo>
                        <a:pt x="382943" y="29886"/>
                        <a:pt x="383781" y="31810"/>
                        <a:pt x="381876" y="34611"/>
                      </a:cubicBezTo>
                      <a:lnTo>
                        <a:pt x="381876" y="34611"/>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28" name="Freeform: Shape 527">
                  <a:extLst>
                    <a:ext uri="{FF2B5EF4-FFF2-40B4-BE49-F238E27FC236}">
                      <a16:creationId xmlns:a16="http://schemas.microsoft.com/office/drawing/2014/main" id="{31DD43A1-9ACB-4619-BA2E-9DE8746079C6}"/>
                    </a:ext>
                  </a:extLst>
                </p:cNvPr>
                <p:cNvSpPr/>
                <p:nvPr/>
              </p:nvSpPr>
              <p:spPr>
                <a:xfrm>
                  <a:off x="2254037" y="2474859"/>
                  <a:ext cx="504572" cy="366682"/>
                </a:xfrm>
                <a:custGeom>
                  <a:avLst/>
                  <a:gdLst>
                    <a:gd name="connsiteX0" fmla="*/ 143175 w 504572"/>
                    <a:gd name="connsiteY0" fmla="*/ 129559 h 366682"/>
                    <a:gd name="connsiteX1" fmla="*/ 147938 w 504572"/>
                    <a:gd name="connsiteY1" fmla="*/ 122596 h 366682"/>
                    <a:gd name="connsiteX2" fmla="*/ 140594 w 504572"/>
                    <a:gd name="connsiteY2" fmla="*/ 122177 h 366682"/>
                    <a:gd name="connsiteX3" fmla="*/ 142242 w 504572"/>
                    <a:gd name="connsiteY3" fmla="*/ 118777 h 366682"/>
                    <a:gd name="connsiteX4" fmla="*/ 137318 w 504572"/>
                    <a:gd name="connsiteY4" fmla="*/ 114710 h 366682"/>
                    <a:gd name="connsiteX5" fmla="*/ 131107 w 504572"/>
                    <a:gd name="connsiteY5" fmla="*/ 111890 h 366682"/>
                    <a:gd name="connsiteX6" fmla="*/ 120077 w 504572"/>
                    <a:gd name="connsiteY6" fmla="*/ 107461 h 366682"/>
                    <a:gd name="connsiteX7" fmla="*/ 125211 w 504572"/>
                    <a:gd name="connsiteY7" fmla="*/ 101070 h 366682"/>
                    <a:gd name="connsiteX8" fmla="*/ 121354 w 504572"/>
                    <a:gd name="connsiteY8" fmla="*/ 99060 h 366682"/>
                    <a:gd name="connsiteX9" fmla="*/ 128288 w 504572"/>
                    <a:gd name="connsiteY9" fmla="*/ 93716 h 366682"/>
                    <a:gd name="connsiteX10" fmla="*/ 122449 w 504572"/>
                    <a:gd name="connsiteY10" fmla="*/ 92050 h 366682"/>
                    <a:gd name="connsiteX11" fmla="*/ 130698 w 504572"/>
                    <a:gd name="connsiteY11" fmla="*/ 76552 h 366682"/>
                    <a:gd name="connsiteX12" fmla="*/ 134955 w 504572"/>
                    <a:gd name="connsiteY12" fmla="*/ 56531 h 366682"/>
                    <a:gd name="connsiteX13" fmla="*/ 136127 w 504572"/>
                    <a:gd name="connsiteY13" fmla="*/ 40081 h 366682"/>
                    <a:gd name="connsiteX14" fmla="*/ 131831 w 504572"/>
                    <a:gd name="connsiteY14" fmla="*/ 35090 h 366682"/>
                    <a:gd name="connsiteX15" fmla="*/ 133241 w 504572"/>
                    <a:gd name="connsiteY15" fmla="*/ 30890 h 366682"/>
                    <a:gd name="connsiteX16" fmla="*/ 129231 w 504572"/>
                    <a:gd name="connsiteY16" fmla="*/ 21174 h 366682"/>
                    <a:gd name="connsiteX17" fmla="*/ 132755 w 504572"/>
                    <a:gd name="connsiteY17" fmla="*/ 7391 h 366682"/>
                    <a:gd name="connsiteX18" fmla="*/ 113153 w 504572"/>
                    <a:gd name="connsiteY18" fmla="*/ 11344 h 366682"/>
                    <a:gd name="connsiteX19" fmla="*/ 97427 w 504572"/>
                    <a:gd name="connsiteY19" fmla="*/ 17707 h 366682"/>
                    <a:gd name="connsiteX20" fmla="*/ 87006 w 504572"/>
                    <a:gd name="connsiteY20" fmla="*/ 25841 h 366682"/>
                    <a:gd name="connsiteX21" fmla="*/ 76462 w 504572"/>
                    <a:gd name="connsiteY21" fmla="*/ 27861 h 366682"/>
                    <a:gd name="connsiteX22" fmla="*/ 55307 w 504572"/>
                    <a:gd name="connsiteY22" fmla="*/ 34214 h 366682"/>
                    <a:gd name="connsiteX23" fmla="*/ 61860 w 504572"/>
                    <a:gd name="connsiteY23" fmla="*/ 19783 h 366682"/>
                    <a:gd name="connsiteX24" fmla="*/ 59374 w 504572"/>
                    <a:gd name="connsiteY24" fmla="*/ 3162 h 366682"/>
                    <a:gd name="connsiteX25" fmla="*/ 54393 w 504572"/>
                    <a:gd name="connsiteY25" fmla="*/ 0 h 366682"/>
                    <a:gd name="connsiteX26" fmla="*/ 234092 w 504572"/>
                    <a:gd name="connsiteY26" fmla="*/ 10 h 366682"/>
                    <a:gd name="connsiteX27" fmla="*/ 412914 w 504572"/>
                    <a:gd name="connsiteY27" fmla="*/ 10 h 366682"/>
                    <a:gd name="connsiteX28" fmla="*/ 504573 w 504572"/>
                    <a:gd name="connsiteY28" fmla="*/ 10 h 366682"/>
                    <a:gd name="connsiteX29" fmla="*/ 354697 w 504572"/>
                    <a:gd name="connsiteY29" fmla="*/ 170126 h 366682"/>
                    <a:gd name="connsiteX30" fmla="*/ 333923 w 504572"/>
                    <a:gd name="connsiteY30" fmla="*/ 195424 h 366682"/>
                    <a:gd name="connsiteX31" fmla="*/ 335190 w 504572"/>
                    <a:gd name="connsiteY31" fmla="*/ 200873 h 366682"/>
                    <a:gd name="connsiteX32" fmla="*/ 328418 w 504572"/>
                    <a:gd name="connsiteY32" fmla="*/ 204292 h 366682"/>
                    <a:gd name="connsiteX33" fmla="*/ 331389 w 504572"/>
                    <a:gd name="connsiteY33" fmla="*/ 208950 h 366682"/>
                    <a:gd name="connsiteX34" fmla="*/ 335885 w 504572"/>
                    <a:gd name="connsiteY34" fmla="*/ 209150 h 366682"/>
                    <a:gd name="connsiteX35" fmla="*/ 336171 w 504572"/>
                    <a:gd name="connsiteY35" fmla="*/ 213693 h 366682"/>
                    <a:gd name="connsiteX36" fmla="*/ 343353 w 504572"/>
                    <a:gd name="connsiteY36" fmla="*/ 213370 h 366682"/>
                    <a:gd name="connsiteX37" fmla="*/ 344953 w 504572"/>
                    <a:gd name="connsiteY37" fmla="*/ 218494 h 366682"/>
                    <a:gd name="connsiteX38" fmla="*/ 345182 w 504572"/>
                    <a:gd name="connsiteY38" fmla="*/ 223904 h 366682"/>
                    <a:gd name="connsiteX39" fmla="*/ 346848 w 504572"/>
                    <a:gd name="connsiteY39" fmla="*/ 228676 h 366682"/>
                    <a:gd name="connsiteX40" fmla="*/ 341124 w 504572"/>
                    <a:gd name="connsiteY40" fmla="*/ 239887 h 366682"/>
                    <a:gd name="connsiteX41" fmla="*/ 353459 w 504572"/>
                    <a:gd name="connsiteY41" fmla="*/ 239982 h 366682"/>
                    <a:gd name="connsiteX42" fmla="*/ 358107 w 504572"/>
                    <a:gd name="connsiteY42" fmla="*/ 247136 h 366682"/>
                    <a:gd name="connsiteX43" fmla="*/ 357269 w 504572"/>
                    <a:gd name="connsiteY43" fmla="*/ 261061 h 366682"/>
                    <a:gd name="connsiteX44" fmla="*/ 365498 w 504572"/>
                    <a:gd name="connsiteY44" fmla="*/ 259661 h 366682"/>
                    <a:gd name="connsiteX45" fmla="*/ 364279 w 504572"/>
                    <a:gd name="connsiteY45" fmla="*/ 272596 h 366682"/>
                    <a:gd name="connsiteX46" fmla="*/ 367251 w 504572"/>
                    <a:gd name="connsiteY46" fmla="*/ 276082 h 366682"/>
                    <a:gd name="connsiteX47" fmla="*/ 366822 w 504572"/>
                    <a:gd name="connsiteY47" fmla="*/ 280330 h 366682"/>
                    <a:gd name="connsiteX48" fmla="*/ 371147 w 504572"/>
                    <a:gd name="connsiteY48" fmla="*/ 283855 h 366682"/>
                    <a:gd name="connsiteX49" fmla="*/ 371099 w 504572"/>
                    <a:gd name="connsiteY49" fmla="*/ 286407 h 366682"/>
                    <a:gd name="connsiteX50" fmla="*/ 368585 w 504572"/>
                    <a:gd name="connsiteY50" fmla="*/ 288103 h 366682"/>
                    <a:gd name="connsiteX51" fmla="*/ 371585 w 504572"/>
                    <a:gd name="connsiteY51" fmla="*/ 292008 h 366682"/>
                    <a:gd name="connsiteX52" fmla="*/ 372747 w 504572"/>
                    <a:gd name="connsiteY52" fmla="*/ 293827 h 366682"/>
                    <a:gd name="connsiteX53" fmla="*/ 372195 w 504572"/>
                    <a:gd name="connsiteY53" fmla="*/ 297599 h 366682"/>
                    <a:gd name="connsiteX54" fmla="*/ 377814 w 504572"/>
                    <a:gd name="connsiteY54" fmla="*/ 304486 h 366682"/>
                    <a:gd name="connsiteX55" fmla="*/ 370070 w 504572"/>
                    <a:gd name="connsiteY55" fmla="*/ 318230 h 366682"/>
                    <a:gd name="connsiteX56" fmla="*/ 364003 w 504572"/>
                    <a:gd name="connsiteY56" fmla="*/ 329422 h 366682"/>
                    <a:gd name="connsiteX57" fmla="*/ 361507 w 504572"/>
                    <a:gd name="connsiteY57" fmla="*/ 336042 h 366682"/>
                    <a:gd name="connsiteX58" fmla="*/ 365079 w 504572"/>
                    <a:gd name="connsiteY58" fmla="*/ 342748 h 366682"/>
                    <a:gd name="connsiteX59" fmla="*/ 347363 w 504572"/>
                    <a:gd name="connsiteY59" fmla="*/ 346758 h 366682"/>
                    <a:gd name="connsiteX60" fmla="*/ 289622 w 504572"/>
                    <a:gd name="connsiteY60" fmla="*/ 346758 h 366682"/>
                    <a:gd name="connsiteX61" fmla="*/ 177075 w 504572"/>
                    <a:gd name="connsiteY61" fmla="*/ 346767 h 366682"/>
                    <a:gd name="connsiteX62" fmla="*/ 146081 w 504572"/>
                    <a:gd name="connsiteY62" fmla="*/ 346767 h 366682"/>
                    <a:gd name="connsiteX63" fmla="*/ 128916 w 504572"/>
                    <a:gd name="connsiteY63" fmla="*/ 346767 h 366682"/>
                    <a:gd name="connsiteX64" fmla="*/ 132612 w 504572"/>
                    <a:gd name="connsiteY64" fmla="*/ 342433 h 366682"/>
                    <a:gd name="connsiteX65" fmla="*/ 129917 w 504572"/>
                    <a:gd name="connsiteY65" fmla="*/ 342462 h 366682"/>
                    <a:gd name="connsiteX66" fmla="*/ 144699 w 504572"/>
                    <a:gd name="connsiteY66" fmla="*/ 333966 h 366682"/>
                    <a:gd name="connsiteX67" fmla="*/ 132946 w 504572"/>
                    <a:gd name="connsiteY67" fmla="*/ 335699 h 366682"/>
                    <a:gd name="connsiteX68" fmla="*/ 143928 w 504572"/>
                    <a:gd name="connsiteY68" fmla="*/ 325098 h 366682"/>
                    <a:gd name="connsiteX69" fmla="*/ 123468 w 504572"/>
                    <a:gd name="connsiteY69" fmla="*/ 332213 h 366682"/>
                    <a:gd name="connsiteX70" fmla="*/ 125164 w 504572"/>
                    <a:gd name="connsiteY70" fmla="*/ 328060 h 366682"/>
                    <a:gd name="connsiteX71" fmla="*/ 133708 w 504572"/>
                    <a:gd name="connsiteY71" fmla="*/ 325079 h 366682"/>
                    <a:gd name="connsiteX72" fmla="*/ 132669 w 504572"/>
                    <a:gd name="connsiteY72" fmla="*/ 316240 h 366682"/>
                    <a:gd name="connsiteX73" fmla="*/ 137403 w 504572"/>
                    <a:gd name="connsiteY73" fmla="*/ 309248 h 366682"/>
                    <a:gd name="connsiteX74" fmla="*/ 117953 w 504572"/>
                    <a:gd name="connsiteY74" fmla="*/ 322231 h 366682"/>
                    <a:gd name="connsiteX75" fmla="*/ 113791 w 504572"/>
                    <a:gd name="connsiteY75" fmla="*/ 303590 h 366682"/>
                    <a:gd name="connsiteX76" fmla="*/ 124992 w 504572"/>
                    <a:gd name="connsiteY76" fmla="*/ 295465 h 366682"/>
                    <a:gd name="connsiteX77" fmla="*/ 132022 w 504572"/>
                    <a:gd name="connsiteY77" fmla="*/ 287569 h 366682"/>
                    <a:gd name="connsiteX78" fmla="*/ 119353 w 504572"/>
                    <a:gd name="connsiteY78" fmla="*/ 297628 h 366682"/>
                    <a:gd name="connsiteX79" fmla="*/ 108600 w 504572"/>
                    <a:gd name="connsiteY79" fmla="*/ 294599 h 366682"/>
                    <a:gd name="connsiteX80" fmla="*/ 101761 w 504572"/>
                    <a:gd name="connsiteY80" fmla="*/ 300047 h 366682"/>
                    <a:gd name="connsiteX81" fmla="*/ 97998 w 504572"/>
                    <a:gd name="connsiteY81" fmla="*/ 298999 h 366682"/>
                    <a:gd name="connsiteX82" fmla="*/ 82492 w 504572"/>
                    <a:gd name="connsiteY82" fmla="*/ 297723 h 366682"/>
                    <a:gd name="connsiteX83" fmla="*/ 100703 w 504572"/>
                    <a:gd name="connsiteY83" fmla="*/ 292837 h 366682"/>
                    <a:gd name="connsiteX84" fmla="*/ 84320 w 504572"/>
                    <a:gd name="connsiteY84" fmla="*/ 293646 h 366682"/>
                    <a:gd name="connsiteX85" fmla="*/ 92169 w 504572"/>
                    <a:gd name="connsiteY85" fmla="*/ 288665 h 366682"/>
                    <a:gd name="connsiteX86" fmla="*/ 89369 w 504572"/>
                    <a:gd name="connsiteY86" fmla="*/ 288522 h 366682"/>
                    <a:gd name="connsiteX87" fmla="*/ 94426 w 504572"/>
                    <a:gd name="connsiteY87" fmla="*/ 281759 h 366682"/>
                    <a:gd name="connsiteX88" fmla="*/ 69109 w 504572"/>
                    <a:gd name="connsiteY88" fmla="*/ 275549 h 366682"/>
                    <a:gd name="connsiteX89" fmla="*/ 107561 w 504572"/>
                    <a:gd name="connsiteY89" fmla="*/ 261395 h 366682"/>
                    <a:gd name="connsiteX90" fmla="*/ 90312 w 504572"/>
                    <a:gd name="connsiteY90" fmla="*/ 261490 h 366682"/>
                    <a:gd name="connsiteX91" fmla="*/ 77053 w 504572"/>
                    <a:gd name="connsiteY91" fmla="*/ 268481 h 366682"/>
                    <a:gd name="connsiteX92" fmla="*/ 89131 w 504572"/>
                    <a:gd name="connsiteY92" fmla="*/ 252260 h 366682"/>
                    <a:gd name="connsiteX93" fmla="*/ 85711 w 504572"/>
                    <a:gd name="connsiteY93" fmla="*/ 252355 h 366682"/>
                    <a:gd name="connsiteX94" fmla="*/ 112591 w 504572"/>
                    <a:gd name="connsiteY94" fmla="*/ 239601 h 366682"/>
                    <a:gd name="connsiteX95" fmla="*/ 115877 w 504572"/>
                    <a:gd name="connsiteY95" fmla="*/ 244031 h 366682"/>
                    <a:gd name="connsiteX96" fmla="*/ 116772 w 504572"/>
                    <a:gd name="connsiteY96" fmla="*/ 250136 h 366682"/>
                    <a:gd name="connsiteX97" fmla="*/ 117772 w 504572"/>
                    <a:gd name="connsiteY97" fmla="*/ 243002 h 366682"/>
                    <a:gd name="connsiteX98" fmla="*/ 116115 w 504572"/>
                    <a:gd name="connsiteY98" fmla="*/ 236668 h 366682"/>
                    <a:gd name="connsiteX99" fmla="*/ 130926 w 504572"/>
                    <a:gd name="connsiteY99" fmla="*/ 225504 h 366682"/>
                    <a:gd name="connsiteX100" fmla="*/ 104190 w 504572"/>
                    <a:gd name="connsiteY100" fmla="*/ 240849 h 366682"/>
                    <a:gd name="connsiteX101" fmla="*/ 73919 w 504572"/>
                    <a:gd name="connsiteY101" fmla="*/ 258709 h 366682"/>
                    <a:gd name="connsiteX102" fmla="*/ 77624 w 504572"/>
                    <a:gd name="connsiteY102" fmla="*/ 248355 h 366682"/>
                    <a:gd name="connsiteX103" fmla="*/ 88311 w 504572"/>
                    <a:gd name="connsiteY103" fmla="*/ 242811 h 366682"/>
                    <a:gd name="connsiteX104" fmla="*/ 99151 w 504572"/>
                    <a:gd name="connsiteY104" fmla="*/ 234696 h 366682"/>
                    <a:gd name="connsiteX105" fmla="*/ 85587 w 504572"/>
                    <a:gd name="connsiteY105" fmla="*/ 240611 h 366682"/>
                    <a:gd name="connsiteX106" fmla="*/ 106437 w 504572"/>
                    <a:gd name="connsiteY106" fmla="*/ 223361 h 366682"/>
                    <a:gd name="connsiteX107" fmla="*/ 96874 w 504572"/>
                    <a:gd name="connsiteY107" fmla="*/ 222285 h 366682"/>
                    <a:gd name="connsiteX108" fmla="*/ 100742 w 504572"/>
                    <a:gd name="connsiteY108" fmla="*/ 212874 h 366682"/>
                    <a:gd name="connsiteX109" fmla="*/ 93464 w 504572"/>
                    <a:gd name="connsiteY109" fmla="*/ 208988 h 366682"/>
                    <a:gd name="connsiteX110" fmla="*/ 108762 w 504572"/>
                    <a:gd name="connsiteY110" fmla="*/ 198368 h 366682"/>
                    <a:gd name="connsiteX111" fmla="*/ 103342 w 504572"/>
                    <a:gd name="connsiteY111" fmla="*/ 202940 h 366682"/>
                    <a:gd name="connsiteX112" fmla="*/ 107333 w 504572"/>
                    <a:gd name="connsiteY112" fmla="*/ 205978 h 366682"/>
                    <a:gd name="connsiteX113" fmla="*/ 112048 w 504572"/>
                    <a:gd name="connsiteY113" fmla="*/ 206854 h 366682"/>
                    <a:gd name="connsiteX114" fmla="*/ 119858 w 504572"/>
                    <a:gd name="connsiteY114" fmla="*/ 211903 h 366682"/>
                    <a:gd name="connsiteX115" fmla="*/ 109247 w 504572"/>
                    <a:gd name="connsiteY115" fmla="*/ 203854 h 366682"/>
                    <a:gd name="connsiteX116" fmla="*/ 121230 w 504572"/>
                    <a:gd name="connsiteY116" fmla="*/ 193529 h 366682"/>
                    <a:gd name="connsiteX117" fmla="*/ 101951 w 504572"/>
                    <a:gd name="connsiteY117" fmla="*/ 198206 h 366682"/>
                    <a:gd name="connsiteX118" fmla="*/ 90464 w 504572"/>
                    <a:gd name="connsiteY118" fmla="*/ 207388 h 366682"/>
                    <a:gd name="connsiteX119" fmla="*/ 78015 w 504572"/>
                    <a:gd name="connsiteY119" fmla="*/ 212636 h 366682"/>
                    <a:gd name="connsiteX120" fmla="*/ 77843 w 504572"/>
                    <a:gd name="connsiteY120" fmla="*/ 203187 h 366682"/>
                    <a:gd name="connsiteX121" fmla="*/ 85359 w 504572"/>
                    <a:gd name="connsiteY121" fmla="*/ 189995 h 366682"/>
                    <a:gd name="connsiteX122" fmla="*/ 92102 w 504572"/>
                    <a:gd name="connsiteY122" fmla="*/ 184737 h 366682"/>
                    <a:gd name="connsiteX123" fmla="*/ 104571 w 504572"/>
                    <a:gd name="connsiteY123" fmla="*/ 181794 h 366682"/>
                    <a:gd name="connsiteX124" fmla="*/ 88873 w 504572"/>
                    <a:gd name="connsiteY124" fmla="*/ 177965 h 366682"/>
                    <a:gd name="connsiteX125" fmla="*/ 102818 w 504572"/>
                    <a:gd name="connsiteY125" fmla="*/ 166507 h 366682"/>
                    <a:gd name="connsiteX126" fmla="*/ 142080 w 504572"/>
                    <a:gd name="connsiteY126" fmla="*/ 142980 h 366682"/>
                    <a:gd name="connsiteX127" fmla="*/ 139146 w 504572"/>
                    <a:gd name="connsiteY127" fmla="*/ 139922 h 366682"/>
                    <a:gd name="connsiteX128" fmla="*/ 118134 w 504572"/>
                    <a:gd name="connsiteY128" fmla="*/ 155743 h 366682"/>
                    <a:gd name="connsiteX129" fmla="*/ 130431 w 504572"/>
                    <a:gd name="connsiteY129" fmla="*/ 142675 h 366682"/>
                    <a:gd name="connsiteX130" fmla="*/ 143175 w 504572"/>
                    <a:gd name="connsiteY130" fmla="*/ 129559 h 366682"/>
                    <a:gd name="connsiteX131" fmla="*/ 143175 w 504572"/>
                    <a:gd name="connsiteY131" fmla="*/ 129559 h 366682"/>
                    <a:gd name="connsiteX132" fmla="*/ 25913 w 504572"/>
                    <a:gd name="connsiteY132" fmla="*/ 185014 h 366682"/>
                    <a:gd name="connsiteX133" fmla="*/ 31000 w 504572"/>
                    <a:gd name="connsiteY133" fmla="*/ 192957 h 366682"/>
                    <a:gd name="connsiteX134" fmla="*/ 14483 w 504572"/>
                    <a:gd name="connsiteY134" fmla="*/ 199615 h 366682"/>
                    <a:gd name="connsiteX135" fmla="*/ 32543 w 504572"/>
                    <a:gd name="connsiteY135" fmla="*/ 192481 h 366682"/>
                    <a:gd name="connsiteX136" fmla="*/ 40601 w 504572"/>
                    <a:gd name="connsiteY136" fmla="*/ 187738 h 366682"/>
                    <a:gd name="connsiteX137" fmla="*/ 51002 w 504572"/>
                    <a:gd name="connsiteY137" fmla="*/ 184566 h 366682"/>
                    <a:gd name="connsiteX138" fmla="*/ 33790 w 504572"/>
                    <a:gd name="connsiteY138" fmla="*/ 197415 h 366682"/>
                    <a:gd name="connsiteX139" fmla="*/ 19770 w 504572"/>
                    <a:gd name="connsiteY139" fmla="*/ 210522 h 366682"/>
                    <a:gd name="connsiteX140" fmla="*/ 967 w 504572"/>
                    <a:gd name="connsiteY140" fmla="*/ 213331 h 366682"/>
                    <a:gd name="connsiteX141" fmla="*/ 8701 w 504572"/>
                    <a:gd name="connsiteY141" fmla="*/ 209493 h 366682"/>
                    <a:gd name="connsiteX142" fmla="*/ 4377 w 504572"/>
                    <a:gd name="connsiteY142" fmla="*/ 205321 h 366682"/>
                    <a:gd name="connsiteX143" fmla="*/ 4101 w 504572"/>
                    <a:gd name="connsiteY143" fmla="*/ 201806 h 366682"/>
                    <a:gd name="connsiteX144" fmla="*/ 8730 w 504572"/>
                    <a:gd name="connsiteY144" fmla="*/ 191548 h 366682"/>
                    <a:gd name="connsiteX145" fmla="*/ 25913 w 504572"/>
                    <a:gd name="connsiteY145" fmla="*/ 185014 h 366682"/>
                    <a:gd name="connsiteX146" fmla="*/ 25913 w 504572"/>
                    <a:gd name="connsiteY146" fmla="*/ 185014 h 366682"/>
                    <a:gd name="connsiteX147" fmla="*/ 65690 w 504572"/>
                    <a:gd name="connsiteY147" fmla="*/ 294865 h 366682"/>
                    <a:gd name="connsiteX148" fmla="*/ 95074 w 504572"/>
                    <a:gd name="connsiteY148" fmla="*/ 303228 h 366682"/>
                    <a:gd name="connsiteX149" fmla="*/ 100589 w 504572"/>
                    <a:gd name="connsiteY149" fmla="*/ 309343 h 366682"/>
                    <a:gd name="connsiteX150" fmla="*/ 99951 w 504572"/>
                    <a:gd name="connsiteY150" fmla="*/ 323479 h 366682"/>
                    <a:gd name="connsiteX151" fmla="*/ 97370 w 504572"/>
                    <a:gd name="connsiteY151" fmla="*/ 329832 h 366682"/>
                    <a:gd name="connsiteX152" fmla="*/ 108552 w 504572"/>
                    <a:gd name="connsiteY152" fmla="*/ 337385 h 366682"/>
                    <a:gd name="connsiteX153" fmla="*/ 107704 w 504572"/>
                    <a:gd name="connsiteY153" fmla="*/ 359702 h 366682"/>
                    <a:gd name="connsiteX154" fmla="*/ 112791 w 504572"/>
                    <a:gd name="connsiteY154" fmla="*/ 356044 h 366682"/>
                    <a:gd name="connsiteX155" fmla="*/ 83358 w 504572"/>
                    <a:gd name="connsiteY155" fmla="*/ 361998 h 366682"/>
                    <a:gd name="connsiteX156" fmla="*/ 71033 w 504572"/>
                    <a:gd name="connsiteY156" fmla="*/ 352130 h 366682"/>
                    <a:gd name="connsiteX157" fmla="*/ 89588 w 504572"/>
                    <a:gd name="connsiteY157" fmla="*/ 339833 h 366682"/>
                    <a:gd name="connsiteX158" fmla="*/ 73938 w 504572"/>
                    <a:gd name="connsiteY158" fmla="*/ 346786 h 366682"/>
                    <a:gd name="connsiteX159" fmla="*/ 65175 w 504572"/>
                    <a:gd name="connsiteY159" fmla="*/ 348501 h 366682"/>
                    <a:gd name="connsiteX160" fmla="*/ 59975 w 504572"/>
                    <a:gd name="connsiteY160" fmla="*/ 343643 h 366682"/>
                    <a:gd name="connsiteX161" fmla="*/ 67233 w 504572"/>
                    <a:gd name="connsiteY161" fmla="*/ 340681 h 366682"/>
                    <a:gd name="connsiteX162" fmla="*/ 60860 w 504572"/>
                    <a:gd name="connsiteY162" fmla="*/ 338719 h 366682"/>
                    <a:gd name="connsiteX163" fmla="*/ 65318 w 504572"/>
                    <a:gd name="connsiteY163" fmla="*/ 333889 h 366682"/>
                    <a:gd name="connsiteX164" fmla="*/ 57908 w 504572"/>
                    <a:gd name="connsiteY164" fmla="*/ 332756 h 366682"/>
                    <a:gd name="connsiteX165" fmla="*/ 55212 w 504572"/>
                    <a:gd name="connsiteY165" fmla="*/ 334499 h 366682"/>
                    <a:gd name="connsiteX166" fmla="*/ 50021 w 504572"/>
                    <a:gd name="connsiteY166" fmla="*/ 334032 h 366682"/>
                    <a:gd name="connsiteX167" fmla="*/ 67299 w 504572"/>
                    <a:gd name="connsiteY167" fmla="*/ 325345 h 366682"/>
                    <a:gd name="connsiteX168" fmla="*/ 54164 w 504572"/>
                    <a:gd name="connsiteY168" fmla="*/ 316935 h 366682"/>
                    <a:gd name="connsiteX169" fmla="*/ 46954 w 504572"/>
                    <a:gd name="connsiteY169" fmla="*/ 317544 h 366682"/>
                    <a:gd name="connsiteX170" fmla="*/ 50811 w 504572"/>
                    <a:gd name="connsiteY170" fmla="*/ 310677 h 366682"/>
                    <a:gd name="connsiteX171" fmla="*/ 45925 w 504572"/>
                    <a:gd name="connsiteY171" fmla="*/ 313392 h 366682"/>
                    <a:gd name="connsiteX172" fmla="*/ 34657 w 504572"/>
                    <a:gd name="connsiteY172" fmla="*/ 311010 h 366682"/>
                    <a:gd name="connsiteX173" fmla="*/ 40020 w 504572"/>
                    <a:gd name="connsiteY173" fmla="*/ 305152 h 366682"/>
                    <a:gd name="connsiteX174" fmla="*/ 37877 w 504572"/>
                    <a:gd name="connsiteY174" fmla="*/ 304752 h 366682"/>
                    <a:gd name="connsiteX175" fmla="*/ 51869 w 504572"/>
                    <a:gd name="connsiteY175" fmla="*/ 302285 h 366682"/>
                    <a:gd name="connsiteX176" fmla="*/ 57222 w 504572"/>
                    <a:gd name="connsiteY176" fmla="*/ 296666 h 366682"/>
                    <a:gd name="connsiteX177" fmla="*/ 47944 w 504572"/>
                    <a:gd name="connsiteY177" fmla="*/ 298456 h 366682"/>
                    <a:gd name="connsiteX178" fmla="*/ 37419 w 504572"/>
                    <a:gd name="connsiteY178" fmla="*/ 294465 h 366682"/>
                    <a:gd name="connsiteX179" fmla="*/ 65690 w 504572"/>
                    <a:gd name="connsiteY179" fmla="*/ 294865 h 366682"/>
                    <a:gd name="connsiteX180" fmla="*/ 65690 w 504572"/>
                    <a:gd name="connsiteY180" fmla="*/ 294865 h 366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504572" h="366682">
                      <a:moveTo>
                        <a:pt x="143175" y="129559"/>
                      </a:moveTo>
                      <a:cubicBezTo>
                        <a:pt x="145519" y="127806"/>
                        <a:pt x="147424" y="125492"/>
                        <a:pt x="147938" y="122596"/>
                      </a:cubicBezTo>
                      <a:cubicBezTo>
                        <a:pt x="145547" y="123615"/>
                        <a:pt x="142871" y="123482"/>
                        <a:pt x="140594" y="122177"/>
                      </a:cubicBezTo>
                      <a:cubicBezTo>
                        <a:pt x="141356" y="121215"/>
                        <a:pt x="141461" y="119720"/>
                        <a:pt x="142242" y="118777"/>
                      </a:cubicBezTo>
                      <a:cubicBezTo>
                        <a:pt x="138518" y="117796"/>
                        <a:pt x="139918" y="116300"/>
                        <a:pt x="137318" y="114710"/>
                      </a:cubicBezTo>
                      <a:cubicBezTo>
                        <a:pt x="135289" y="113471"/>
                        <a:pt x="133108" y="113300"/>
                        <a:pt x="131107" y="111890"/>
                      </a:cubicBezTo>
                      <a:cubicBezTo>
                        <a:pt x="126621" y="108728"/>
                        <a:pt x="126440" y="106137"/>
                        <a:pt x="120077" y="107461"/>
                      </a:cubicBezTo>
                      <a:cubicBezTo>
                        <a:pt x="122087" y="105194"/>
                        <a:pt x="123249" y="103146"/>
                        <a:pt x="125211" y="101070"/>
                      </a:cubicBezTo>
                      <a:cubicBezTo>
                        <a:pt x="123840" y="100689"/>
                        <a:pt x="122716" y="99422"/>
                        <a:pt x="121354" y="99060"/>
                      </a:cubicBezTo>
                      <a:cubicBezTo>
                        <a:pt x="123668" y="97279"/>
                        <a:pt x="125973" y="95498"/>
                        <a:pt x="128288" y="93716"/>
                      </a:cubicBezTo>
                      <a:cubicBezTo>
                        <a:pt x="126326" y="93297"/>
                        <a:pt x="124430" y="92364"/>
                        <a:pt x="122449" y="92050"/>
                      </a:cubicBezTo>
                      <a:cubicBezTo>
                        <a:pt x="129802" y="87544"/>
                        <a:pt x="129174" y="84677"/>
                        <a:pt x="130698" y="76552"/>
                      </a:cubicBezTo>
                      <a:cubicBezTo>
                        <a:pt x="131926" y="69980"/>
                        <a:pt x="133069" y="62922"/>
                        <a:pt x="134955" y="56531"/>
                      </a:cubicBezTo>
                      <a:cubicBezTo>
                        <a:pt x="136565" y="51044"/>
                        <a:pt x="138994" y="46044"/>
                        <a:pt x="136127" y="40081"/>
                      </a:cubicBezTo>
                      <a:cubicBezTo>
                        <a:pt x="135146" y="38052"/>
                        <a:pt x="132250" y="37567"/>
                        <a:pt x="131831" y="35090"/>
                      </a:cubicBezTo>
                      <a:cubicBezTo>
                        <a:pt x="131603" y="33699"/>
                        <a:pt x="133327" y="32099"/>
                        <a:pt x="133241" y="30890"/>
                      </a:cubicBezTo>
                      <a:cubicBezTo>
                        <a:pt x="133022" y="27651"/>
                        <a:pt x="129050" y="23708"/>
                        <a:pt x="129231" y="21174"/>
                      </a:cubicBezTo>
                      <a:cubicBezTo>
                        <a:pt x="129545" y="16964"/>
                        <a:pt x="140261" y="12087"/>
                        <a:pt x="132755" y="7391"/>
                      </a:cubicBezTo>
                      <a:cubicBezTo>
                        <a:pt x="129650" y="5448"/>
                        <a:pt x="117477" y="10525"/>
                        <a:pt x="113153" y="11344"/>
                      </a:cubicBezTo>
                      <a:cubicBezTo>
                        <a:pt x="107838" y="12344"/>
                        <a:pt x="102046" y="15040"/>
                        <a:pt x="97427" y="17707"/>
                      </a:cubicBezTo>
                      <a:cubicBezTo>
                        <a:pt x="93550" y="19945"/>
                        <a:pt x="91493" y="24155"/>
                        <a:pt x="87006" y="25841"/>
                      </a:cubicBezTo>
                      <a:cubicBezTo>
                        <a:pt x="83730" y="27070"/>
                        <a:pt x="80015" y="27032"/>
                        <a:pt x="76462" y="27861"/>
                      </a:cubicBezTo>
                      <a:cubicBezTo>
                        <a:pt x="70471" y="29270"/>
                        <a:pt x="61175" y="35100"/>
                        <a:pt x="55307" y="34214"/>
                      </a:cubicBezTo>
                      <a:cubicBezTo>
                        <a:pt x="61708" y="30747"/>
                        <a:pt x="63203" y="25746"/>
                        <a:pt x="61860" y="19783"/>
                      </a:cubicBezTo>
                      <a:cubicBezTo>
                        <a:pt x="60698" y="14630"/>
                        <a:pt x="54545" y="7725"/>
                        <a:pt x="59374" y="3162"/>
                      </a:cubicBezTo>
                      <a:cubicBezTo>
                        <a:pt x="57641" y="2381"/>
                        <a:pt x="55936" y="695"/>
                        <a:pt x="54393" y="0"/>
                      </a:cubicBezTo>
                      <a:cubicBezTo>
                        <a:pt x="114296" y="38"/>
                        <a:pt x="174198" y="10"/>
                        <a:pt x="234092" y="10"/>
                      </a:cubicBezTo>
                      <a:cubicBezTo>
                        <a:pt x="293699" y="10"/>
                        <a:pt x="353316" y="10"/>
                        <a:pt x="412914" y="10"/>
                      </a:cubicBezTo>
                      <a:cubicBezTo>
                        <a:pt x="443470" y="10"/>
                        <a:pt x="474026" y="10"/>
                        <a:pt x="504573" y="10"/>
                      </a:cubicBezTo>
                      <a:cubicBezTo>
                        <a:pt x="453852" y="56045"/>
                        <a:pt x="403779" y="112662"/>
                        <a:pt x="354697" y="170126"/>
                      </a:cubicBezTo>
                      <a:cubicBezTo>
                        <a:pt x="349649" y="176032"/>
                        <a:pt x="335457" y="187890"/>
                        <a:pt x="333923" y="195424"/>
                      </a:cubicBezTo>
                      <a:cubicBezTo>
                        <a:pt x="333513" y="197415"/>
                        <a:pt x="336209" y="199463"/>
                        <a:pt x="335190" y="200873"/>
                      </a:cubicBezTo>
                      <a:cubicBezTo>
                        <a:pt x="333494" y="203225"/>
                        <a:pt x="330037" y="199901"/>
                        <a:pt x="328418" y="204292"/>
                      </a:cubicBezTo>
                      <a:cubicBezTo>
                        <a:pt x="329065" y="206235"/>
                        <a:pt x="330208" y="207826"/>
                        <a:pt x="331389" y="208950"/>
                      </a:cubicBezTo>
                      <a:cubicBezTo>
                        <a:pt x="331990" y="209531"/>
                        <a:pt x="335028" y="208445"/>
                        <a:pt x="335885" y="209150"/>
                      </a:cubicBezTo>
                      <a:cubicBezTo>
                        <a:pt x="337181" y="210217"/>
                        <a:pt x="334904" y="212750"/>
                        <a:pt x="336171" y="213693"/>
                      </a:cubicBezTo>
                      <a:cubicBezTo>
                        <a:pt x="340848" y="217160"/>
                        <a:pt x="341076" y="212446"/>
                        <a:pt x="343353" y="213370"/>
                      </a:cubicBezTo>
                      <a:cubicBezTo>
                        <a:pt x="345667" y="214313"/>
                        <a:pt x="347363" y="215903"/>
                        <a:pt x="344953" y="218494"/>
                      </a:cubicBezTo>
                      <a:cubicBezTo>
                        <a:pt x="346163" y="220151"/>
                        <a:pt x="344944" y="222361"/>
                        <a:pt x="345182" y="223904"/>
                      </a:cubicBezTo>
                      <a:cubicBezTo>
                        <a:pt x="345353" y="224981"/>
                        <a:pt x="347258" y="225276"/>
                        <a:pt x="346848" y="228676"/>
                      </a:cubicBezTo>
                      <a:cubicBezTo>
                        <a:pt x="346487" y="231648"/>
                        <a:pt x="342943" y="237411"/>
                        <a:pt x="341124" y="239887"/>
                      </a:cubicBezTo>
                      <a:cubicBezTo>
                        <a:pt x="347591" y="240240"/>
                        <a:pt x="347915" y="234677"/>
                        <a:pt x="353459" y="239982"/>
                      </a:cubicBezTo>
                      <a:cubicBezTo>
                        <a:pt x="345725" y="245640"/>
                        <a:pt x="349420" y="248498"/>
                        <a:pt x="358107" y="247136"/>
                      </a:cubicBezTo>
                      <a:cubicBezTo>
                        <a:pt x="356574" y="250631"/>
                        <a:pt x="358002" y="256946"/>
                        <a:pt x="357269" y="261061"/>
                      </a:cubicBezTo>
                      <a:cubicBezTo>
                        <a:pt x="360669" y="260814"/>
                        <a:pt x="363089" y="257223"/>
                        <a:pt x="365498" y="259661"/>
                      </a:cubicBezTo>
                      <a:cubicBezTo>
                        <a:pt x="367232" y="261404"/>
                        <a:pt x="364127" y="270767"/>
                        <a:pt x="364279" y="272596"/>
                      </a:cubicBezTo>
                      <a:cubicBezTo>
                        <a:pt x="364403" y="274196"/>
                        <a:pt x="366861" y="274758"/>
                        <a:pt x="367251" y="276082"/>
                      </a:cubicBezTo>
                      <a:cubicBezTo>
                        <a:pt x="367765" y="277797"/>
                        <a:pt x="365737" y="278454"/>
                        <a:pt x="366822" y="280330"/>
                      </a:cubicBezTo>
                      <a:cubicBezTo>
                        <a:pt x="367832" y="282092"/>
                        <a:pt x="370118" y="280988"/>
                        <a:pt x="371147" y="283855"/>
                      </a:cubicBezTo>
                      <a:cubicBezTo>
                        <a:pt x="371518" y="284893"/>
                        <a:pt x="370918" y="285769"/>
                        <a:pt x="371099" y="286407"/>
                      </a:cubicBezTo>
                      <a:cubicBezTo>
                        <a:pt x="371242" y="286912"/>
                        <a:pt x="368318" y="287264"/>
                        <a:pt x="368585" y="288103"/>
                      </a:cubicBezTo>
                      <a:cubicBezTo>
                        <a:pt x="369080" y="289608"/>
                        <a:pt x="371271" y="290322"/>
                        <a:pt x="371585" y="292008"/>
                      </a:cubicBezTo>
                      <a:cubicBezTo>
                        <a:pt x="371290" y="290417"/>
                        <a:pt x="373547" y="294932"/>
                        <a:pt x="372747" y="293827"/>
                      </a:cubicBezTo>
                      <a:cubicBezTo>
                        <a:pt x="372499" y="293475"/>
                        <a:pt x="371413" y="296485"/>
                        <a:pt x="372195" y="297599"/>
                      </a:cubicBezTo>
                      <a:cubicBezTo>
                        <a:pt x="373718" y="299780"/>
                        <a:pt x="379986" y="294656"/>
                        <a:pt x="377814" y="304486"/>
                      </a:cubicBezTo>
                      <a:cubicBezTo>
                        <a:pt x="376614" y="309905"/>
                        <a:pt x="373090" y="314106"/>
                        <a:pt x="370070" y="318230"/>
                      </a:cubicBezTo>
                      <a:cubicBezTo>
                        <a:pt x="367480" y="321774"/>
                        <a:pt x="358393" y="328679"/>
                        <a:pt x="364003" y="329422"/>
                      </a:cubicBezTo>
                      <a:cubicBezTo>
                        <a:pt x="360784" y="331613"/>
                        <a:pt x="361222" y="333099"/>
                        <a:pt x="361507" y="336042"/>
                      </a:cubicBezTo>
                      <a:cubicBezTo>
                        <a:pt x="361888" y="339814"/>
                        <a:pt x="364946" y="340052"/>
                        <a:pt x="365079" y="342748"/>
                      </a:cubicBezTo>
                      <a:cubicBezTo>
                        <a:pt x="365460" y="349882"/>
                        <a:pt x="353230" y="346758"/>
                        <a:pt x="347363" y="346758"/>
                      </a:cubicBezTo>
                      <a:cubicBezTo>
                        <a:pt x="328113" y="346758"/>
                        <a:pt x="308863" y="346758"/>
                        <a:pt x="289622" y="346758"/>
                      </a:cubicBezTo>
                      <a:cubicBezTo>
                        <a:pt x="252103" y="346758"/>
                        <a:pt x="214594" y="346767"/>
                        <a:pt x="177075" y="346767"/>
                      </a:cubicBezTo>
                      <a:cubicBezTo>
                        <a:pt x="166740" y="346767"/>
                        <a:pt x="156406" y="346767"/>
                        <a:pt x="146081" y="346767"/>
                      </a:cubicBezTo>
                      <a:cubicBezTo>
                        <a:pt x="138184" y="346767"/>
                        <a:pt x="135403" y="343024"/>
                        <a:pt x="128916" y="346767"/>
                      </a:cubicBezTo>
                      <a:cubicBezTo>
                        <a:pt x="130212" y="344853"/>
                        <a:pt x="130460" y="343681"/>
                        <a:pt x="132612" y="342433"/>
                      </a:cubicBezTo>
                      <a:cubicBezTo>
                        <a:pt x="131593" y="342624"/>
                        <a:pt x="130793" y="342405"/>
                        <a:pt x="129917" y="342462"/>
                      </a:cubicBezTo>
                      <a:cubicBezTo>
                        <a:pt x="132727" y="335080"/>
                        <a:pt x="139985" y="339766"/>
                        <a:pt x="144699" y="333966"/>
                      </a:cubicBezTo>
                      <a:cubicBezTo>
                        <a:pt x="140699" y="337280"/>
                        <a:pt x="137527" y="335642"/>
                        <a:pt x="132946" y="335699"/>
                      </a:cubicBezTo>
                      <a:cubicBezTo>
                        <a:pt x="136184" y="332289"/>
                        <a:pt x="140375" y="328336"/>
                        <a:pt x="143928" y="325098"/>
                      </a:cubicBezTo>
                      <a:cubicBezTo>
                        <a:pt x="137565" y="328412"/>
                        <a:pt x="130879" y="336871"/>
                        <a:pt x="123468" y="332213"/>
                      </a:cubicBezTo>
                      <a:cubicBezTo>
                        <a:pt x="114734" y="326727"/>
                        <a:pt x="128716" y="319992"/>
                        <a:pt x="125164" y="328060"/>
                      </a:cubicBezTo>
                      <a:cubicBezTo>
                        <a:pt x="128240" y="327698"/>
                        <a:pt x="130936" y="326469"/>
                        <a:pt x="133708" y="325079"/>
                      </a:cubicBezTo>
                      <a:cubicBezTo>
                        <a:pt x="124259" y="329584"/>
                        <a:pt x="129078" y="319440"/>
                        <a:pt x="132669" y="316240"/>
                      </a:cubicBezTo>
                      <a:cubicBezTo>
                        <a:pt x="134832" y="314315"/>
                        <a:pt x="142956" y="311448"/>
                        <a:pt x="137403" y="309248"/>
                      </a:cubicBezTo>
                      <a:cubicBezTo>
                        <a:pt x="137956" y="314573"/>
                        <a:pt x="123173" y="322907"/>
                        <a:pt x="117953" y="322231"/>
                      </a:cubicBezTo>
                      <a:cubicBezTo>
                        <a:pt x="105085" y="320564"/>
                        <a:pt x="118115" y="307038"/>
                        <a:pt x="113791" y="303590"/>
                      </a:cubicBezTo>
                      <a:cubicBezTo>
                        <a:pt x="116191" y="299666"/>
                        <a:pt x="121563" y="298466"/>
                        <a:pt x="124992" y="295465"/>
                      </a:cubicBezTo>
                      <a:cubicBezTo>
                        <a:pt x="127688" y="293103"/>
                        <a:pt x="129355" y="289951"/>
                        <a:pt x="132022" y="287569"/>
                      </a:cubicBezTo>
                      <a:cubicBezTo>
                        <a:pt x="126754" y="289503"/>
                        <a:pt x="124344" y="294980"/>
                        <a:pt x="119353" y="297628"/>
                      </a:cubicBezTo>
                      <a:cubicBezTo>
                        <a:pt x="115753" y="299542"/>
                        <a:pt x="99551" y="302114"/>
                        <a:pt x="108600" y="294599"/>
                      </a:cubicBezTo>
                      <a:cubicBezTo>
                        <a:pt x="106466" y="295970"/>
                        <a:pt x="104104" y="299380"/>
                        <a:pt x="101761" y="300047"/>
                      </a:cubicBezTo>
                      <a:cubicBezTo>
                        <a:pt x="99456" y="300704"/>
                        <a:pt x="99313" y="298952"/>
                        <a:pt x="97998" y="298999"/>
                      </a:cubicBezTo>
                      <a:cubicBezTo>
                        <a:pt x="92617" y="299190"/>
                        <a:pt x="87607" y="299561"/>
                        <a:pt x="82492" y="297723"/>
                      </a:cubicBezTo>
                      <a:cubicBezTo>
                        <a:pt x="86225" y="293475"/>
                        <a:pt x="96036" y="295332"/>
                        <a:pt x="100703" y="292837"/>
                      </a:cubicBezTo>
                      <a:cubicBezTo>
                        <a:pt x="95274" y="292532"/>
                        <a:pt x="89626" y="294846"/>
                        <a:pt x="84320" y="293646"/>
                      </a:cubicBezTo>
                      <a:cubicBezTo>
                        <a:pt x="86397" y="291198"/>
                        <a:pt x="89397" y="290189"/>
                        <a:pt x="92169" y="288665"/>
                      </a:cubicBezTo>
                      <a:cubicBezTo>
                        <a:pt x="91255" y="288636"/>
                        <a:pt x="90416" y="288503"/>
                        <a:pt x="89369" y="288522"/>
                      </a:cubicBezTo>
                      <a:cubicBezTo>
                        <a:pt x="90559" y="286626"/>
                        <a:pt x="93283" y="284359"/>
                        <a:pt x="94426" y="281759"/>
                      </a:cubicBezTo>
                      <a:cubicBezTo>
                        <a:pt x="87416" y="288207"/>
                        <a:pt x="59670" y="290103"/>
                        <a:pt x="69109" y="275549"/>
                      </a:cubicBezTo>
                      <a:cubicBezTo>
                        <a:pt x="77415" y="262757"/>
                        <a:pt x="94998" y="264043"/>
                        <a:pt x="107561" y="261395"/>
                      </a:cubicBezTo>
                      <a:cubicBezTo>
                        <a:pt x="102132" y="261118"/>
                        <a:pt x="95646" y="260185"/>
                        <a:pt x="90312" y="261490"/>
                      </a:cubicBezTo>
                      <a:cubicBezTo>
                        <a:pt x="87768" y="262109"/>
                        <a:pt x="78939" y="269015"/>
                        <a:pt x="77053" y="268481"/>
                      </a:cubicBezTo>
                      <a:cubicBezTo>
                        <a:pt x="69747" y="266395"/>
                        <a:pt x="87016" y="253575"/>
                        <a:pt x="89131" y="252260"/>
                      </a:cubicBezTo>
                      <a:cubicBezTo>
                        <a:pt x="87988" y="252289"/>
                        <a:pt x="86854" y="252317"/>
                        <a:pt x="85711" y="252355"/>
                      </a:cubicBezTo>
                      <a:cubicBezTo>
                        <a:pt x="92512" y="244973"/>
                        <a:pt x="102818" y="241240"/>
                        <a:pt x="112591" y="239601"/>
                      </a:cubicBezTo>
                      <a:cubicBezTo>
                        <a:pt x="111581" y="243897"/>
                        <a:pt x="114762" y="241116"/>
                        <a:pt x="115877" y="244031"/>
                      </a:cubicBezTo>
                      <a:cubicBezTo>
                        <a:pt x="116658" y="246078"/>
                        <a:pt x="115239" y="248088"/>
                        <a:pt x="116772" y="250136"/>
                      </a:cubicBezTo>
                      <a:cubicBezTo>
                        <a:pt x="116801" y="248031"/>
                        <a:pt x="118020" y="244669"/>
                        <a:pt x="117772" y="243002"/>
                      </a:cubicBezTo>
                      <a:cubicBezTo>
                        <a:pt x="117239" y="239459"/>
                        <a:pt x="113486" y="241440"/>
                        <a:pt x="116115" y="236668"/>
                      </a:cubicBezTo>
                      <a:cubicBezTo>
                        <a:pt x="119134" y="231162"/>
                        <a:pt x="129469" y="233058"/>
                        <a:pt x="130926" y="225504"/>
                      </a:cubicBezTo>
                      <a:cubicBezTo>
                        <a:pt x="125297" y="232848"/>
                        <a:pt x="112734" y="238030"/>
                        <a:pt x="104190" y="240849"/>
                      </a:cubicBezTo>
                      <a:cubicBezTo>
                        <a:pt x="92140" y="244821"/>
                        <a:pt x="84378" y="251298"/>
                        <a:pt x="73919" y="258709"/>
                      </a:cubicBezTo>
                      <a:cubicBezTo>
                        <a:pt x="75129" y="256413"/>
                        <a:pt x="76338" y="250012"/>
                        <a:pt x="77624" y="248355"/>
                      </a:cubicBezTo>
                      <a:cubicBezTo>
                        <a:pt x="80006" y="245297"/>
                        <a:pt x="84568" y="245193"/>
                        <a:pt x="88311" y="242811"/>
                      </a:cubicBezTo>
                      <a:cubicBezTo>
                        <a:pt x="92302" y="240268"/>
                        <a:pt x="94550" y="236906"/>
                        <a:pt x="99151" y="234696"/>
                      </a:cubicBezTo>
                      <a:cubicBezTo>
                        <a:pt x="94179" y="235544"/>
                        <a:pt x="90331" y="239125"/>
                        <a:pt x="85587" y="240611"/>
                      </a:cubicBezTo>
                      <a:cubicBezTo>
                        <a:pt x="90359" y="234382"/>
                        <a:pt x="99427" y="226933"/>
                        <a:pt x="106437" y="223361"/>
                      </a:cubicBezTo>
                      <a:cubicBezTo>
                        <a:pt x="101065" y="224171"/>
                        <a:pt x="95160" y="228991"/>
                        <a:pt x="96874" y="222285"/>
                      </a:cubicBezTo>
                      <a:cubicBezTo>
                        <a:pt x="97751" y="218827"/>
                        <a:pt x="102589" y="217046"/>
                        <a:pt x="100742" y="212874"/>
                      </a:cubicBezTo>
                      <a:cubicBezTo>
                        <a:pt x="99760" y="210664"/>
                        <a:pt x="95503" y="209217"/>
                        <a:pt x="93464" y="208988"/>
                      </a:cubicBezTo>
                      <a:cubicBezTo>
                        <a:pt x="95208" y="202835"/>
                        <a:pt x="102246" y="197453"/>
                        <a:pt x="108762" y="198368"/>
                      </a:cubicBezTo>
                      <a:cubicBezTo>
                        <a:pt x="107190" y="200120"/>
                        <a:pt x="105342" y="201673"/>
                        <a:pt x="103342" y="202940"/>
                      </a:cubicBezTo>
                      <a:cubicBezTo>
                        <a:pt x="105294" y="203616"/>
                        <a:pt x="105609" y="205083"/>
                        <a:pt x="107333" y="205978"/>
                      </a:cubicBezTo>
                      <a:cubicBezTo>
                        <a:pt x="110276" y="207512"/>
                        <a:pt x="108866" y="206264"/>
                        <a:pt x="112048" y="206854"/>
                      </a:cubicBezTo>
                      <a:cubicBezTo>
                        <a:pt x="116182" y="207626"/>
                        <a:pt x="119411" y="205292"/>
                        <a:pt x="119858" y="211903"/>
                      </a:cubicBezTo>
                      <a:cubicBezTo>
                        <a:pt x="125411" y="202863"/>
                        <a:pt x="111057" y="207512"/>
                        <a:pt x="109247" y="203854"/>
                      </a:cubicBezTo>
                      <a:cubicBezTo>
                        <a:pt x="106285" y="197853"/>
                        <a:pt x="117858" y="194148"/>
                        <a:pt x="121230" y="193529"/>
                      </a:cubicBezTo>
                      <a:cubicBezTo>
                        <a:pt x="118229" y="189252"/>
                        <a:pt x="105980" y="195882"/>
                        <a:pt x="101951" y="198206"/>
                      </a:cubicBezTo>
                      <a:cubicBezTo>
                        <a:pt x="97579" y="200720"/>
                        <a:pt x="94655" y="204930"/>
                        <a:pt x="90464" y="207388"/>
                      </a:cubicBezTo>
                      <a:cubicBezTo>
                        <a:pt x="86559" y="209693"/>
                        <a:pt x="82044" y="210141"/>
                        <a:pt x="78015" y="212636"/>
                      </a:cubicBezTo>
                      <a:cubicBezTo>
                        <a:pt x="76424" y="209550"/>
                        <a:pt x="75605" y="206216"/>
                        <a:pt x="77843" y="203187"/>
                      </a:cubicBezTo>
                      <a:cubicBezTo>
                        <a:pt x="62480" y="202225"/>
                        <a:pt x="82149" y="192138"/>
                        <a:pt x="85359" y="189995"/>
                      </a:cubicBezTo>
                      <a:cubicBezTo>
                        <a:pt x="87816" y="188357"/>
                        <a:pt x="89359" y="185842"/>
                        <a:pt x="92102" y="184737"/>
                      </a:cubicBezTo>
                      <a:cubicBezTo>
                        <a:pt x="95884" y="183213"/>
                        <a:pt x="100589" y="183328"/>
                        <a:pt x="104571" y="181794"/>
                      </a:cubicBezTo>
                      <a:cubicBezTo>
                        <a:pt x="99980" y="181308"/>
                        <a:pt x="87826" y="186138"/>
                        <a:pt x="88873" y="177965"/>
                      </a:cubicBezTo>
                      <a:cubicBezTo>
                        <a:pt x="89454" y="173460"/>
                        <a:pt x="99284" y="168516"/>
                        <a:pt x="102818" y="166507"/>
                      </a:cubicBezTo>
                      <a:cubicBezTo>
                        <a:pt x="116020" y="158991"/>
                        <a:pt x="128555" y="150171"/>
                        <a:pt x="142080" y="142980"/>
                      </a:cubicBezTo>
                      <a:cubicBezTo>
                        <a:pt x="138508" y="144456"/>
                        <a:pt x="136594" y="143494"/>
                        <a:pt x="139146" y="139922"/>
                      </a:cubicBezTo>
                      <a:cubicBezTo>
                        <a:pt x="131993" y="145371"/>
                        <a:pt x="126402" y="151581"/>
                        <a:pt x="118134" y="155743"/>
                      </a:cubicBezTo>
                      <a:cubicBezTo>
                        <a:pt x="119506" y="151390"/>
                        <a:pt x="127440" y="146799"/>
                        <a:pt x="130431" y="142675"/>
                      </a:cubicBezTo>
                      <a:cubicBezTo>
                        <a:pt x="134250" y="137370"/>
                        <a:pt x="138051" y="133569"/>
                        <a:pt x="143175" y="129559"/>
                      </a:cubicBezTo>
                      <a:lnTo>
                        <a:pt x="143175" y="129559"/>
                      </a:lnTo>
                      <a:close/>
                      <a:moveTo>
                        <a:pt x="25913" y="185014"/>
                      </a:moveTo>
                      <a:cubicBezTo>
                        <a:pt x="27123" y="188100"/>
                        <a:pt x="40410" y="183937"/>
                        <a:pt x="31000" y="192957"/>
                      </a:cubicBezTo>
                      <a:cubicBezTo>
                        <a:pt x="26751" y="197034"/>
                        <a:pt x="19141" y="196529"/>
                        <a:pt x="14483" y="199615"/>
                      </a:cubicBezTo>
                      <a:cubicBezTo>
                        <a:pt x="22017" y="201149"/>
                        <a:pt x="27218" y="197415"/>
                        <a:pt x="32543" y="192481"/>
                      </a:cubicBezTo>
                      <a:cubicBezTo>
                        <a:pt x="36562" y="188766"/>
                        <a:pt x="35295" y="189319"/>
                        <a:pt x="40601" y="187738"/>
                      </a:cubicBezTo>
                      <a:cubicBezTo>
                        <a:pt x="43992" y="186728"/>
                        <a:pt x="47640" y="185385"/>
                        <a:pt x="51002" y="184566"/>
                      </a:cubicBezTo>
                      <a:cubicBezTo>
                        <a:pt x="45906" y="189805"/>
                        <a:pt x="39496" y="192919"/>
                        <a:pt x="33790" y="197415"/>
                      </a:cubicBezTo>
                      <a:cubicBezTo>
                        <a:pt x="28866" y="201292"/>
                        <a:pt x="25065" y="207274"/>
                        <a:pt x="19770" y="210522"/>
                      </a:cubicBezTo>
                      <a:cubicBezTo>
                        <a:pt x="16388" y="212598"/>
                        <a:pt x="3806" y="217370"/>
                        <a:pt x="967" y="213331"/>
                      </a:cubicBezTo>
                      <a:cubicBezTo>
                        <a:pt x="-2976" y="207731"/>
                        <a:pt x="6254" y="209483"/>
                        <a:pt x="8701" y="209493"/>
                      </a:cubicBezTo>
                      <a:cubicBezTo>
                        <a:pt x="7911" y="208217"/>
                        <a:pt x="4768" y="206340"/>
                        <a:pt x="4377" y="205321"/>
                      </a:cubicBezTo>
                      <a:cubicBezTo>
                        <a:pt x="3520" y="203016"/>
                        <a:pt x="4101" y="204035"/>
                        <a:pt x="4101" y="201806"/>
                      </a:cubicBezTo>
                      <a:cubicBezTo>
                        <a:pt x="4101" y="198387"/>
                        <a:pt x="6654" y="194234"/>
                        <a:pt x="8730" y="191548"/>
                      </a:cubicBezTo>
                      <a:cubicBezTo>
                        <a:pt x="14712" y="183823"/>
                        <a:pt x="17379" y="184814"/>
                        <a:pt x="25913" y="185014"/>
                      </a:cubicBezTo>
                      <a:lnTo>
                        <a:pt x="25913" y="185014"/>
                      </a:lnTo>
                      <a:close/>
                      <a:moveTo>
                        <a:pt x="65690" y="294865"/>
                      </a:moveTo>
                      <a:cubicBezTo>
                        <a:pt x="75319" y="298885"/>
                        <a:pt x="85092" y="300409"/>
                        <a:pt x="95074" y="303228"/>
                      </a:cubicBezTo>
                      <a:cubicBezTo>
                        <a:pt x="101408" y="305019"/>
                        <a:pt x="100437" y="303200"/>
                        <a:pt x="100589" y="309343"/>
                      </a:cubicBezTo>
                      <a:cubicBezTo>
                        <a:pt x="100675" y="313115"/>
                        <a:pt x="100637" y="319811"/>
                        <a:pt x="99951" y="323479"/>
                      </a:cubicBezTo>
                      <a:cubicBezTo>
                        <a:pt x="99475" y="325984"/>
                        <a:pt x="96617" y="326260"/>
                        <a:pt x="97370" y="329832"/>
                      </a:cubicBezTo>
                      <a:cubicBezTo>
                        <a:pt x="98408" y="334766"/>
                        <a:pt x="105495" y="334880"/>
                        <a:pt x="108552" y="337385"/>
                      </a:cubicBezTo>
                      <a:cubicBezTo>
                        <a:pt x="114972" y="342652"/>
                        <a:pt x="110181" y="352939"/>
                        <a:pt x="107704" y="359702"/>
                      </a:cubicBezTo>
                      <a:cubicBezTo>
                        <a:pt x="109047" y="358150"/>
                        <a:pt x="111210" y="357188"/>
                        <a:pt x="112791" y="356044"/>
                      </a:cubicBezTo>
                      <a:cubicBezTo>
                        <a:pt x="108181" y="370942"/>
                        <a:pt x="95484" y="367455"/>
                        <a:pt x="83358" y="361998"/>
                      </a:cubicBezTo>
                      <a:cubicBezTo>
                        <a:pt x="79482" y="360255"/>
                        <a:pt x="68509" y="357245"/>
                        <a:pt x="71033" y="352130"/>
                      </a:cubicBezTo>
                      <a:cubicBezTo>
                        <a:pt x="73491" y="347148"/>
                        <a:pt x="85921" y="346034"/>
                        <a:pt x="89588" y="339833"/>
                      </a:cubicBezTo>
                      <a:cubicBezTo>
                        <a:pt x="83920" y="344900"/>
                        <a:pt x="81549" y="346005"/>
                        <a:pt x="73938" y="346786"/>
                      </a:cubicBezTo>
                      <a:cubicBezTo>
                        <a:pt x="72852" y="346891"/>
                        <a:pt x="65947" y="348720"/>
                        <a:pt x="65175" y="348501"/>
                      </a:cubicBezTo>
                      <a:cubicBezTo>
                        <a:pt x="62956" y="347863"/>
                        <a:pt x="62327" y="345043"/>
                        <a:pt x="59975" y="343643"/>
                      </a:cubicBezTo>
                      <a:cubicBezTo>
                        <a:pt x="62413" y="342871"/>
                        <a:pt x="65013" y="342024"/>
                        <a:pt x="67233" y="340681"/>
                      </a:cubicBezTo>
                      <a:cubicBezTo>
                        <a:pt x="65937" y="339042"/>
                        <a:pt x="63899" y="337204"/>
                        <a:pt x="60860" y="338719"/>
                      </a:cubicBezTo>
                      <a:cubicBezTo>
                        <a:pt x="61756" y="336871"/>
                        <a:pt x="63404" y="335128"/>
                        <a:pt x="65318" y="333889"/>
                      </a:cubicBezTo>
                      <a:cubicBezTo>
                        <a:pt x="61784" y="335175"/>
                        <a:pt x="61384" y="333432"/>
                        <a:pt x="57908" y="332756"/>
                      </a:cubicBezTo>
                      <a:cubicBezTo>
                        <a:pt x="57050" y="332584"/>
                        <a:pt x="56250" y="334423"/>
                        <a:pt x="55212" y="334499"/>
                      </a:cubicBezTo>
                      <a:cubicBezTo>
                        <a:pt x="53383" y="334632"/>
                        <a:pt x="53840" y="330641"/>
                        <a:pt x="50021" y="334032"/>
                      </a:cubicBezTo>
                      <a:cubicBezTo>
                        <a:pt x="52488" y="325203"/>
                        <a:pt x="60727" y="328498"/>
                        <a:pt x="67299" y="325345"/>
                      </a:cubicBezTo>
                      <a:cubicBezTo>
                        <a:pt x="54945" y="327031"/>
                        <a:pt x="62299" y="318249"/>
                        <a:pt x="54164" y="316935"/>
                      </a:cubicBezTo>
                      <a:cubicBezTo>
                        <a:pt x="52355" y="316640"/>
                        <a:pt x="47973" y="321869"/>
                        <a:pt x="46954" y="317544"/>
                      </a:cubicBezTo>
                      <a:cubicBezTo>
                        <a:pt x="46287" y="314735"/>
                        <a:pt x="51421" y="313858"/>
                        <a:pt x="50811" y="310677"/>
                      </a:cubicBezTo>
                      <a:cubicBezTo>
                        <a:pt x="49421" y="312144"/>
                        <a:pt x="47678" y="312506"/>
                        <a:pt x="45925" y="313392"/>
                      </a:cubicBezTo>
                      <a:cubicBezTo>
                        <a:pt x="47421" y="306476"/>
                        <a:pt x="38400" y="311591"/>
                        <a:pt x="34657" y="311010"/>
                      </a:cubicBezTo>
                      <a:cubicBezTo>
                        <a:pt x="36619" y="309448"/>
                        <a:pt x="38915" y="307572"/>
                        <a:pt x="40020" y="305152"/>
                      </a:cubicBezTo>
                      <a:cubicBezTo>
                        <a:pt x="39305" y="305019"/>
                        <a:pt x="38591" y="304886"/>
                        <a:pt x="37877" y="304752"/>
                      </a:cubicBezTo>
                      <a:cubicBezTo>
                        <a:pt x="40105" y="301581"/>
                        <a:pt x="49802" y="296285"/>
                        <a:pt x="51869" y="302285"/>
                      </a:cubicBezTo>
                      <a:cubicBezTo>
                        <a:pt x="52755" y="299704"/>
                        <a:pt x="54555" y="297494"/>
                        <a:pt x="57222" y="296666"/>
                      </a:cubicBezTo>
                      <a:cubicBezTo>
                        <a:pt x="51926" y="295246"/>
                        <a:pt x="51526" y="297466"/>
                        <a:pt x="47944" y="298456"/>
                      </a:cubicBezTo>
                      <a:cubicBezTo>
                        <a:pt x="43877" y="299580"/>
                        <a:pt x="36476" y="301171"/>
                        <a:pt x="37419" y="294465"/>
                      </a:cubicBezTo>
                      <a:cubicBezTo>
                        <a:pt x="39286" y="281045"/>
                        <a:pt x="60422" y="291294"/>
                        <a:pt x="65690" y="294865"/>
                      </a:cubicBezTo>
                      <a:lnTo>
                        <a:pt x="65690" y="294865"/>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29" name="Freeform: Shape 528">
                  <a:extLst>
                    <a:ext uri="{FF2B5EF4-FFF2-40B4-BE49-F238E27FC236}">
                      <a16:creationId xmlns:a16="http://schemas.microsoft.com/office/drawing/2014/main" id="{8F95F1E4-0D4F-4F35-A401-1F3D7C1D665A}"/>
                    </a:ext>
                  </a:extLst>
                </p:cNvPr>
                <p:cNvSpPr/>
                <p:nvPr/>
              </p:nvSpPr>
              <p:spPr>
                <a:xfrm>
                  <a:off x="2582446" y="2474760"/>
                  <a:ext cx="412413" cy="347080"/>
                </a:xfrm>
                <a:custGeom>
                  <a:avLst/>
                  <a:gdLst>
                    <a:gd name="connsiteX0" fmla="*/ 247279 w 412413"/>
                    <a:gd name="connsiteY0" fmla="*/ 205962 h 347080"/>
                    <a:gd name="connsiteX1" fmla="*/ 180356 w 412413"/>
                    <a:gd name="connsiteY1" fmla="*/ 294373 h 347080"/>
                    <a:gd name="connsiteX2" fmla="*/ 146561 w 412413"/>
                    <a:gd name="connsiteY2" fmla="*/ 340436 h 347080"/>
                    <a:gd name="connsiteX3" fmla="*/ 136350 w 412413"/>
                    <a:gd name="connsiteY3" fmla="*/ 346856 h 347080"/>
                    <a:gd name="connsiteX4" fmla="*/ 122330 w 412413"/>
                    <a:gd name="connsiteY4" fmla="*/ 346847 h 347080"/>
                    <a:gd name="connsiteX5" fmla="*/ 96783 w 412413"/>
                    <a:gd name="connsiteY5" fmla="*/ 346847 h 347080"/>
                    <a:gd name="connsiteX6" fmla="*/ 35890 w 412413"/>
                    <a:gd name="connsiteY6" fmla="*/ 346847 h 347080"/>
                    <a:gd name="connsiteX7" fmla="*/ 35595 w 412413"/>
                    <a:gd name="connsiteY7" fmla="*/ 329511 h 347080"/>
                    <a:gd name="connsiteX8" fmla="*/ 41662 w 412413"/>
                    <a:gd name="connsiteY8" fmla="*/ 318329 h 347080"/>
                    <a:gd name="connsiteX9" fmla="*/ 49406 w 412413"/>
                    <a:gd name="connsiteY9" fmla="*/ 304584 h 347080"/>
                    <a:gd name="connsiteX10" fmla="*/ 43786 w 412413"/>
                    <a:gd name="connsiteY10" fmla="*/ 297698 h 347080"/>
                    <a:gd name="connsiteX11" fmla="*/ 44339 w 412413"/>
                    <a:gd name="connsiteY11" fmla="*/ 293926 h 347080"/>
                    <a:gd name="connsiteX12" fmla="*/ 43177 w 412413"/>
                    <a:gd name="connsiteY12" fmla="*/ 292097 h 347080"/>
                    <a:gd name="connsiteX13" fmla="*/ 40176 w 412413"/>
                    <a:gd name="connsiteY13" fmla="*/ 288192 h 347080"/>
                    <a:gd name="connsiteX14" fmla="*/ 42691 w 412413"/>
                    <a:gd name="connsiteY14" fmla="*/ 286496 h 347080"/>
                    <a:gd name="connsiteX15" fmla="*/ 42739 w 412413"/>
                    <a:gd name="connsiteY15" fmla="*/ 283944 h 347080"/>
                    <a:gd name="connsiteX16" fmla="*/ 38414 w 412413"/>
                    <a:gd name="connsiteY16" fmla="*/ 280419 h 347080"/>
                    <a:gd name="connsiteX17" fmla="*/ 38843 w 412413"/>
                    <a:gd name="connsiteY17" fmla="*/ 276171 h 347080"/>
                    <a:gd name="connsiteX18" fmla="*/ 35871 w 412413"/>
                    <a:gd name="connsiteY18" fmla="*/ 272685 h 347080"/>
                    <a:gd name="connsiteX19" fmla="*/ 37090 w 412413"/>
                    <a:gd name="connsiteY19" fmla="*/ 259750 h 347080"/>
                    <a:gd name="connsiteX20" fmla="*/ 28861 w 412413"/>
                    <a:gd name="connsiteY20" fmla="*/ 261150 h 347080"/>
                    <a:gd name="connsiteX21" fmla="*/ 29699 w 412413"/>
                    <a:gd name="connsiteY21" fmla="*/ 247225 h 347080"/>
                    <a:gd name="connsiteX22" fmla="*/ 25051 w 412413"/>
                    <a:gd name="connsiteY22" fmla="*/ 240071 h 347080"/>
                    <a:gd name="connsiteX23" fmla="*/ 12716 w 412413"/>
                    <a:gd name="connsiteY23" fmla="*/ 239976 h 347080"/>
                    <a:gd name="connsiteX24" fmla="*/ 18440 w 412413"/>
                    <a:gd name="connsiteY24" fmla="*/ 228765 h 347080"/>
                    <a:gd name="connsiteX25" fmla="*/ 17383 w 412413"/>
                    <a:gd name="connsiteY25" fmla="*/ 224050 h 347080"/>
                    <a:gd name="connsiteX26" fmla="*/ 16535 w 412413"/>
                    <a:gd name="connsiteY26" fmla="*/ 218583 h 347080"/>
                    <a:gd name="connsiteX27" fmla="*/ 15288 w 412413"/>
                    <a:gd name="connsiteY27" fmla="*/ 213220 h 347080"/>
                    <a:gd name="connsiteX28" fmla="*/ 7753 w 412413"/>
                    <a:gd name="connsiteY28" fmla="*/ 213792 h 347080"/>
                    <a:gd name="connsiteX29" fmla="*/ 7782 w 412413"/>
                    <a:gd name="connsiteY29" fmla="*/ 209410 h 347080"/>
                    <a:gd name="connsiteX30" fmla="*/ 3381 w 412413"/>
                    <a:gd name="connsiteY30" fmla="*/ 208991 h 347080"/>
                    <a:gd name="connsiteX31" fmla="*/ 0 w 412413"/>
                    <a:gd name="connsiteY31" fmla="*/ 204410 h 347080"/>
                    <a:gd name="connsiteX32" fmla="*/ 4572 w 412413"/>
                    <a:gd name="connsiteY32" fmla="*/ 201305 h 347080"/>
                    <a:gd name="connsiteX33" fmla="*/ 7106 w 412413"/>
                    <a:gd name="connsiteY33" fmla="*/ 200143 h 347080"/>
                    <a:gd name="connsiteX34" fmla="*/ 5229 w 412413"/>
                    <a:gd name="connsiteY34" fmla="*/ 197857 h 347080"/>
                    <a:gd name="connsiteX35" fmla="*/ 16450 w 412413"/>
                    <a:gd name="connsiteY35" fmla="*/ 181769 h 347080"/>
                    <a:gd name="connsiteX36" fmla="*/ 52654 w 412413"/>
                    <a:gd name="connsiteY36" fmla="*/ 139535 h 347080"/>
                    <a:gd name="connsiteX37" fmla="*/ 120025 w 412413"/>
                    <a:gd name="connsiteY37" fmla="*/ 62649 h 347080"/>
                    <a:gd name="connsiteX38" fmla="*/ 153924 w 412413"/>
                    <a:gd name="connsiteY38" fmla="*/ 24721 h 347080"/>
                    <a:gd name="connsiteX39" fmla="*/ 170640 w 412413"/>
                    <a:gd name="connsiteY39" fmla="*/ 6185 h 347080"/>
                    <a:gd name="connsiteX40" fmla="*/ 192005 w 412413"/>
                    <a:gd name="connsiteY40" fmla="*/ 127 h 347080"/>
                    <a:gd name="connsiteX41" fmla="*/ 294761 w 412413"/>
                    <a:gd name="connsiteY41" fmla="*/ 108 h 347080"/>
                    <a:gd name="connsiteX42" fmla="*/ 412414 w 412413"/>
                    <a:gd name="connsiteY42" fmla="*/ 108 h 347080"/>
                    <a:gd name="connsiteX43" fmla="*/ 281854 w 412413"/>
                    <a:gd name="connsiteY43" fmla="*/ 161557 h 347080"/>
                    <a:gd name="connsiteX44" fmla="*/ 247279 w 412413"/>
                    <a:gd name="connsiteY44" fmla="*/ 205962 h 347080"/>
                    <a:gd name="connsiteX45" fmla="*/ 247279 w 412413"/>
                    <a:gd name="connsiteY45" fmla="*/ 205962 h 34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12413" h="347080">
                      <a:moveTo>
                        <a:pt x="247279" y="205962"/>
                      </a:moveTo>
                      <a:cubicBezTo>
                        <a:pt x="224733" y="235252"/>
                        <a:pt x="202378" y="264684"/>
                        <a:pt x="180356" y="294373"/>
                      </a:cubicBezTo>
                      <a:cubicBezTo>
                        <a:pt x="169012" y="309671"/>
                        <a:pt x="157744" y="325025"/>
                        <a:pt x="146561" y="340436"/>
                      </a:cubicBezTo>
                      <a:cubicBezTo>
                        <a:pt x="142389" y="346189"/>
                        <a:pt x="142808" y="346132"/>
                        <a:pt x="136350" y="346856"/>
                      </a:cubicBezTo>
                      <a:cubicBezTo>
                        <a:pt x="131797" y="347361"/>
                        <a:pt x="126902" y="346856"/>
                        <a:pt x="122330" y="346847"/>
                      </a:cubicBezTo>
                      <a:cubicBezTo>
                        <a:pt x="113814" y="346847"/>
                        <a:pt x="105299" y="346847"/>
                        <a:pt x="96783" y="346847"/>
                      </a:cubicBezTo>
                      <a:cubicBezTo>
                        <a:pt x="76486" y="346847"/>
                        <a:pt x="56188" y="346847"/>
                        <a:pt x="35890" y="346847"/>
                      </a:cubicBezTo>
                      <a:cubicBezTo>
                        <a:pt x="39834" y="341122"/>
                        <a:pt x="26651" y="335750"/>
                        <a:pt x="35595" y="329511"/>
                      </a:cubicBezTo>
                      <a:cubicBezTo>
                        <a:pt x="30023" y="328768"/>
                        <a:pt x="39110" y="321872"/>
                        <a:pt x="41662" y="318329"/>
                      </a:cubicBezTo>
                      <a:cubicBezTo>
                        <a:pt x="44644" y="314166"/>
                        <a:pt x="48196" y="310014"/>
                        <a:pt x="49406" y="304584"/>
                      </a:cubicBezTo>
                      <a:cubicBezTo>
                        <a:pt x="51692" y="294278"/>
                        <a:pt x="45368" y="299946"/>
                        <a:pt x="43786" y="297698"/>
                      </a:cubicBezTo>
                      <a:cubicBezTo>
                        <a:pt x="43005" y="296583"/>
                        <a:pt x="44091" y="293573"/>
                        <a:pt x="44339" y="293926"/>
                      </a:cubicBezTo>
                      <a:cubicBezTo>
                        <a:pt x="44891" y="294688"/>
                        <a:pt x="42929" y="290744"/>
                        <a:pt x="43177" y="292097"/>
                      </a:cubicBezTo>
                      <a:cubicBezTo>
                        <a:pt x="42863" y="290411"/>
                        <a:pt x="40662" y="289697"/>
                        <a:pt x="40176" y="288192"/>
                      </a:cubicBezTo>
                      <a:cubicBezTo>
                        <a:pt x="39881" y="287268"/>
                        <a:pt x="42843" y="287011"/>
                        <a:pt x="42691" y="286496"/>
                      </a:cubicBezTo>
                      <a:cubicBezTo>
                        <a:pt x="42501" y="285858"/>
                        <a:pt x="43110" y="284982"/>
                        <a:pt x="42739" y="283944"/>
                      </a:cubicBezTo>
                      <a:cubicBezTo>
                        <a:pt x="41710" y="281096"/>
                        <a:pt x="39433" y="282181"/>
                        <a:pt x="38414" y="280419"/>
                      </a:cubicBezTo>
                      <a:cubicBezTo>
                        <a:pt x="37319" y="278514"/>
                        <a:pt x="39357" y="277876"/>
                        <a:pt x="38843" y="276171"/>
                      </a:cubicBezTo>
                      <a:cubicBezTo>
                        <a:pt x="38452" y="274885"/>
                        <a:pt x="35985" y="274200"/>
                        <a:pt x="35871" y="272685"/>
                      </a:cubicBezTo>
                      <a:cubicBezTo>
                        <a:pt x="35709" y="270704"/>
                        <a:pt x="38862" y="261636"/>
                        <a:pt x="37090" y="259750"/>
                      </a:cubicBezTo>
                      <a:cubicBezTo>
                        <a:pt x="34766" y="257274"/>
                        <a:pt x="32175" y="260912"/>
                        <a:pt x="28861" y="261150"/>
                      </a:cubicBezTo>
                      <a:cubicBezTo>
                        <a:pt x="29518" y="257274"/>
                        <a:pt x="28213" y="250435"/>
                        <a:pt x="29699" y="247225"/>
                      </a:cubicBezTo>
                      <a:cubicBezTo>
                        <a:pt x="21012" y="248577"/>
                        <a:pt x="17316" y="245729"/>
                        <a:pt x="25051" y="240071"/>
                      </a:cubicBezTo>
                      <a:cubicBezTo>
                        <a:pt x="19507" y="234766"/>
                        <a:pt x="19183" y="240329"/>
                        <a:pt x="12716" y="239976"/>
                      </a:cubicBezTo>
                      <a:cubicBezTo>
                        <a:pt x="14487" y="237443"/>
                        <a:pt x="18078" y="231766"/>
                        <a:pt x="18440" y="228765"/>
                      </a:cubicBezTo>
                      <a:cubicBezTo>
                        <a:pt x="18726" y="226346"/>
                        <a:pt x="17440" y="224698"/>
                        <a:pt x="17383" y="224050"/>
                      </a:cubicBezTo>
                      <a:cubicBezTo>
                        <a:pt x="17355" y="223707"/>
                        <a:pt x="17259" y="219631"/>
                        <a:pt x="16535" y="218583"/>
                      </a:cubicBezTo>
                      <a:cubicBezTo>
                        <a:pt x="18564" y="216402"/>
                        <a:pt x="17812" y="214544"/>
                        <a:pt x="15288" y="213220"/>
                      </a:cubicBezTo>
                      <a:cubicBezTo>
                        <a:pt x="13516" y="212287"/>
                        <a:pt x="12335" y="217183"/>
                        <a:pt x="7753" y="213792"/>
                      </a:cubicBezTo>
                      <a:cubicBezTo>
                        <a:pt x="6553" y="212906"/>
                        <a:pt x="8849" y="210172"/>
                        <a:pt x="7782" y="209410"/>
                      </a:cubicBezTo>
                      <a:cubicBezTo>
                        <a:pt x="6791" y="208687"/>
                        <a:pt x="4077" y="209668"/>
                        <a:pt x="3381" y="208991"/>
                      </a:cubicBezTo>
                      <a:cubicBezTo>
                        <a:pt x="2029" y="207696"/>
                        <a:pt x="838" y="207001"/>
                        <a:pt x="0" y="204410"/>
                      </a:cubicBezTo>
                      <a:cubicBezTo>
                        <a:pt x="1057" y="201629"/>
                        <a:pt x="3839" y="202448"/>
                        <a:pt x="4572" y="201305"/>
                      </a:cubicBezTo>
                      <a:cubicBezTo>
                        <a:pt x="5029" y="200590"/>
                        <a:pt x="6448" y="201410"/>
                        <a:pt x="7106" y="200143"/>
                      </a:cubicBezTo>
                      <a:cubicBezTo>
                        <a:pt x="8010" y="198400"/>
                        <a:pt x="4962" y="198714"/>
                        <a:pt x="5229" y="197857"/>
                      </a:cubicBezTo>
                      <a:cubicBezTo>
                        <a:pt x="7029" y="192123"/>
                        <a:pt x="11878" y="187141"/>
                        <a:pt x="16450" y="181769"/>
                      </a:cubicBezTo>
                      <a:cubicBezTo>
                        <a:pt x="28470" y="167653"/>
                        <a:pt x="40529" y="153565"/>
                        <a:pt x="52654" y="139535"/>
                      </a:cubicBezTo>
                      <a:cubicBezTo>
                        <a:pt x="74933" y="113751"/>
                        <a:pt x="97374" y="88110"/>
                        <a:pt x="120025" y="62649"/>
                      </a:cubicBezTo>
                      <a:cubicBezTo>
                        <a:pt x="131302" y="49981"/>
                        <a:pt x="142589" y="37332"/>
                        <a:pt x="153924" y="24721"/>
                      </a:cubicBezTo>
                      <a:cubicBezTo>
                        <a:pt x="159477" y="18529"/>
                        <a:pt x="165078" y="12376"/>
                        <a:pt x="170640" y="6185"/>
                      </a:cubicBezTo>
                      <a:cubicBezTo>
                        <a:pt x="177517" y="-1454"/>
                        <a:pt x="181727" y="146"/>
                        <a:pt x="192005" y="127"/>
                      </a:cubicBezTo>
                      <a:cubicBezTo>
                        <a:pt x="226238" y="80"/>
                        <a:pt x="260480" y="108"/>
                        <a:pt x="294761" y="108"/>
                      </a:cubicBezTo>
                      <a:cubicBezTo>
                        <a:pt x="333975" y="108"/>
                        <a:pt x="373189" y="108"/>
                        <a:pt x="412414" y="108"/>
                      </a:cubicBezTo>
                      <a:cubicBezTo>
                        <a:pt x="368208" y="53362"/>
                        <a:pt x="324602" y="107112"/>
                        <a:pt x="281854" y="161557"/>
                      </a:cubicBezTo>
                      <a:cubicBezTo>
                        <a:pt x="270272" y="176302"/>
                        <a:pt x="258756" y="191122"/>
                        <a:pt x="247279" y="205962"/>
                      </a:cubicBezTo>
                      <a:lnTo>
                        <a:pt x="247279" y="205962"/>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30" name="Freeform: Shape 529">
                  <a:extLst>
                    <a:ext uri="{FF2B5EF4-FFF2-40B4-BE49-F238E27FC236}">
                      <a16:creationId xmlns:a16="http://schemas.microsoft.com/office/drawing/2014/main" id="{DD91B86E-B644-4850-8274-D47B7B9301FB}"/>
                    </a:ext>
                  </a:extLst>
                </p:cNvPr>
                <p:cNvSpPr/>
                <p:nvPr/>
              </p:nvSpPr>
              <p:spPr>
                <a:xfrm>
                  <a:off x="9655234" y="5251463"/>
                  <a:ext cx="488228" cy="293395"/>
                </a:xfrm>
                <a:custGeom>
                  <a:avLst/>
                  <a:gdLst>
                    <a:gd name="connsiteX0" fmla="*/ 481985 w 488228"/>
                    <a:gd name="connsiteY0" fmla="*/ 12230 h 293395"/>
                    <a:gd name="connsiteX1" fmla="*/ 466687 w 488228"/>
                    <a:gd name="connsiteY1" fmla="*/ 30004 h 293395"/>
                    <a:gd name="connsiteX2" fmla="*/ 450504 w 488228"/>
                    <a:gd name="connsiteY2" fmla="*/ 48806 h 293395"/>
                    <a:gd name="connsiteX3" fmla="*/ 418157 w 488228"/>
                    <a:gd name="connsiteY3" fmla="*/ 85077 h 293395"/>
                    <a:gd name="connsiteX4" fmla="*/ 387001 w 488228"/>
                    <a:gd name="connsiteY4" fmla="*/ 116815 h 293395"/>
                    <a:gd name="connsiteX5" fmla="*/ 350834 w 488228"/>
                    <a:gd name="connsiteY5" fmla="*/ 143485 h 293395"/>
                    <a:gd name="connsiteX6" fmla="*/ 351892 w 488228"/>
                    <a:gd name="connsiteY6" fmla="*/ 144161 h 293395"/>
                    <a:gd name="connsiteX7" fmla="*/ 333547 w 488228"/>
                    <a:gd name="connsiteY7" fmla="*/ 152267 h 293395"/>
                    <a:gd name="connsiteX8" fmla="*/ 316830 w 488228"/>
                    <a:gd name="connsiteY8" fmla="*/ 164268 h 293395"/>
                    <a:gd name="connsiteX9" fmla="*/ 303886 w 488228"/>
                    <a:gd name="connsiteY9" fmla="*/ 175631 h 293395"/>
                    <a:gd name="connsiteX10" fmla="*/ 291742 w 488228"/>
                    <a:gd name="connsiteY10" fmla="*/ 184585 h 293395"/>
                    <a:gd name="connsiteX11" fmla="*/ 294247 w 488228"/>
                    <a:gd name="connsiteY11" fmla="*/ 185356 h 293395"/>
                    <a:gd name="connsiteX12" fmla="*/ 261767 w 488228"/>
                    <a:gd name="connsiteY12" fmla="*/ 211817 h 293395"/>
                    <a:gd name="connsiteX13" fmla="*/ 239116 w 488228"/>
                    <a:gd name="connsiteY13" fmla="*/ 229276 h 293395"/>
                    <a:gd name="connsiteX14" fmla="*/ 179299 w 488228"/>
                    <a:gd name="connsiteY14" fmla="*/ 288579 h 293395"/>
                    <a:gd name="connsiteX15" fmla="*/ 163011 w 488228"/>
                    <a:gd name="connsiteY15" fmla="*/ 287369 h 293395"/>
                    <a:gd name="connsiteX16" fmla="*/ 140180 w 488228"/>
                    <a:gd name="connsiteY16" fmla="*/ 271920 h 293395"/>
                    <a:gd name="connsiteX17" fmla="*/ 152343 w 488228"/>
                    <a:gd name="connsiteY17" fmla="*/ 247764 h 293395"/>
                    <a:gd name="connsiteX18" fmla="*/ 134541 w 488228"/>
                    <a:gd name="connsiteY18" fmla="*/ 249479 h 293395"/>
                    <a:gd name="connsiteX19" fmla="*/ 108900 w 488228"/>
                    <a:gd name="connsiteY19" fmla="*/ 248488 h 293395"/>
                    <a:gd name="connsiteX20" fmla="*/ 82811 w 488228"/>
                    <a:gd name="connsiteY20" fmla="*/ 242411 h 293395"/>
                    <a:gd name="connsiteX21" fmla="*/ 69971 w 488228"/>
                    <a:gd name="connsiteY21" fmla="*/ 245431 h 293395"/>
                    <a:gd name="connsiteX22" fmla="*/ 61046 w 488228"/>
                    <a:gd name="connsiteY22" fmla="*/ 251384 h 293395"/>
                    <a:gd name="connsiteX23" fmla="*/ 55731 w 488228"/>
                    <a:gd name="connsiteY23" fmla="*/ 238916 h 293395"/>
                    <a:gd name="connsiteX24" fmla="*/ 45749 w 488228"/>
                    <a:gd name="connsiteY24" fmla="*/ 227581 h 293395"/>
                    <a:gd name="connsiteX25" fmla="*/ 43405 w 488228"/>
                    <a:gd name="connsiteY25" fmla="*/ 220599 h 293395"/>
                    <a:gd name="connsiteX26" fmla="*/ 48759 w 488228"/>
                    <a:gd name="connsiteY26" fmla="*/ 208378 h 293395"/>
                    <a:gd name="connsiteX27" fmla="*/ 38634 w 488228"/>
                    <a:gd name="connsiteY27" fmla="*/ 203235 h 293395"/>
                    <a:gd name="connsiteX28" fmla="*/ 29489 w 488228"/>
                    <a:gd name="connsiteY28" fmla="*/ 209131 h 293395"/>
                    <a:gd name="connsiteX29" fmla="*/ 29756 w 488228"/>
                    <a:gd name="connsiteY29" fmla="*/ 189900 h 293395"/>
                    <a:gd name="connsiteX30" fmla="*/ 13792 w 488228"/>
                    <a:gd name="connsiteY30" fmla="*/ 190033 h 293395"/>
                    <a:gd name="connsiteX31" fmla="*/ 0 w 488228"/>
                    <a:gd name="connsiteY31" fmla="*/ 185804 h 293395"/>
                    <a:gd name="connsiteX32" fmla="*/ 62694 w 488228"/>
                    <a:gd name="connsiteY32" fmla="*/ 87639 h 293395"/>
                    <a:gd name="connsiteX33" fmla="*/ 96746 w 488228"/>
                    <a:gd name="connsiteY33" fmla="*/ 34376 h 293395"/>
                    <a:gd name="connsiteX34" fmla="*/ 112072 w 488228"/>
                    <a:gd name="connsiteY34" fmla="*/ 26879 h 293395"/>
                    <a:gd name="connsiteX35" fmla="*/ 250727 w 488228"/>
                    <a:gd name="connsiteY35" fmla="*/ 26908 h 293395"/>
                    <a:gd name="connsiteX36" fmla="*/ 317468 w 488228"/>
                    <a:gd name="connsiteY36" fmla="*/ 26879 h 293395"/>
                    <a:gd name="connsiteX37" fmla="*/ 342472 w 488228"/>
                    <a:gd name="connsiteY37" fmla="*/ 22984 h 293395"/>
                    <a:gd name="connsiteX38" fmla="*/ 364932 w 488228"/>
                    <a:gd name="connsiteY38" fmla="*/ 14344 h 293395"/>
                    <a:gd name="connsiteX39" fmla="*/ 377895 w 488228"/>
                    <a:gd name="connsiteY39" fmla="*/ 13383 h 293395"/>
                    <a:gd name="connsiteX40" fmla="*/ 384067 w 488228"/>
                    <a:gd name="connsiteY40" fmla="*/ 13145 h 293395"/>
                    <a:gd name="connsiteX41" fmla="*/ 388839 w 488228"/>
                    <a:gd name="connsiteY41" fmla="*/ 15954 h 293395"/>
                    <a:gd name="connsiteX42" fmla="*/ 401307 w 488228"/>
                    <a:gd name="connsiteY42" fmla="*/ 17336 h 293395"/>
                    <a:gd name="connsiteX43" fmla="*/ 405508 w 488228"/>
                    <a:gd name="connsiteY43" fmla="*/ 23869 h 293395"/>
                    <a:gd name="connsiteX44" fmla="*/ 408013 w 488228"/>
                    <a:gd name="connsiteY44" fmla="*/ 30128 h 293395"/>
                    <a:gd name="connsiteX45" fmla="*/ 420491 w 488228"/>
                    <a:gd name="connsiteY45" fmla="*/ 23393 h 293395"/>
                    <a:gd name="connsiteX46" fmla="*/ 426777 w 488228"/>
                    <a:gd name="connsiteY46" fmla="*/ 24117 h 293395"/>
                    <a:gd name="connsiteX47" fmla="*/ 433702 w 488228"/>
                    <a:gd name="connsiteY47" fmla="*/ 15535 h 293395"/>
                    <a:gd name="connsiteX48" fmla="*/ 455581 w 488228"/>
                    <a:gd name="connsiteY48" fmla="*/ 3715 h 293395"/>
                    <a:gd name="connsiteX49" fmla="*/ 488214 w 488228"/>
                    <a:gd name="connsiteY49" fmla="*/ 0 h 293395"/>
                    <a:gd name="connsiteX50" fmla="*/ 481985 w 488228"/>
                    <a:gd name="connsiteY50" fmla="*/ 12230 h 293395"/>
                    <a:gd name="connsiteX51" fmla="*/ 481985 w 488228"/>
                    <a:gd name="connsiteY51" fmla="*/ 12230 h 293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8228" h="293395">
                      <a:moveTo>
                        <a:pt x="481985" y="12230"/>
                      </a:moveTo>
                      <a:cubicBezTo>
                        <a:pt x="480336" y="20850"/>
                        <a:pt x="472783" y="24774"/>
                        <a:pt x="466687" y="30004"/>
                      </a:cubicBezTo>
                      <a:cubicBezTo>
                        <a:pt x="460210" y="35547"/>
                        <a:pt x="455943" y="42320"/>
                        <a:pt x="450504" y="48806"/>
                      </a:cubicBezTo>
                      <a:cubicBezTo>
                        <a:pt x="439989" y="61331"/>
                        <a:pt x="427330" y="71571"/>
                        <a:pt x="418157" y="85077"/>
                      </a:cubicBezTo>
                      <a:cubicBezTo>
                        <a:pt x="410023" y="97060"/>
                        <a:pt x="398793" y="108423"/>
                        <a:pt x="387001" y="116815"/>
                      </a:cubicBezTo>
                      <a:cubicBezTo>
                        <a:pt x="375381" y="125073"/>
                        <a:pt x="365017" y="140389"/>
                        <a:pt x="350834" y="143485"/>
                      </a:cubicBezTo>
                      <a:cubicBezTo>
                        <a:pt x="351187" y="143704"/>
                        <a:pt x="351540" y="143942"/>
                        <a:pt x="351892" y="144161"/>
                      </a:cubicBezTo>
                      <a:cubicBezTo>
                        <a:pt x="346767" y="147914"/>
                        <a:pt x="339176" y="148561"/>
                        <a:pt x="333547" y="152267"/>
                      </a:cubicBezTo>
                      <a:cubicBezTo>
                        <a:pt x="327993" y="155915"/>
                        <a:pt x="321888" y="160020"/>
                        <a:pt x="316830" y="164268"/>
                      </a:cubicBezTo>
                      <a:cubicBezTo>
                        <a:pt x="311915" y="168392"/>
                        <a:pt x="307772" y="171031"/>
                        <a:pt x="303886" y="175631"/>
                      </a:cubicBezTo>
                      <a:cubicBezTo>
                        <a:pt x="300000" y="180222"/>
                        <a:pt x="297037" y="183404"/>
                        <a:pt x="291742" y="184585"/>
                      </a:cubicBezTo>
                      <a:cubicBezTo>
                        <a:pt x="292684" y="184756"/>
                        <a:pt x="293389" y="185013"/>
                        <a:pt x="294247" y="185356"/>
                      </a:cubicBezTo>
                      <a:cubicBezTo>
                        <a:pt x="281597" y="192738"/>
                        <a:pt x="271634" y="200987"/>
                        <a:pt x="261767" y="211817"/>
                      </a:cubicBezTo>
                      <a:cubicBezTo>
                        <a:pt x="255518" y="218684"/>
                        <a:pt x="247508" y="222485"/>
                        <a:pt x="239116" y="229276"/>
                      </a:cubicBezTo>
                      <a:cubicBezTo>
                        <a:pt x="216875" y="247269"/>
                        <a:pt x="197291" y="266405"/>
                        <a:pt x="179299" y="288579"/>
                      </a:cubicBezTo>
                      <a:cubicBezTo>
                        <a:pt x="172584" y="296856"/>
                        <a:pt x="171317" y="293132"/>
                        <a:pt x="163011" y="287369"/>
                      </a:cubicBezTo>
                      <a:cubicBezTo>
                        <a:pt x="155686" y="282292"/>
                        <a:pt x="148295" y="275644"/>
                        <a:pt x="140180" y="271920"/>
                      </a:cubicBezTo>
                      <a:cubicBezTo>
                        <a:pt x="144571" y="268643"/>
                        <a:pt x="155696" y="252660"/>
                        <a:pt x="152343" y="247764"/>
                      </a:cubicBezTo>
                      <a:cubicBezTo>
                        <a:pt x="148257" y="241802"/>
                        <a:pt x="138589" y="248603"/>
                        <a:pt x="134541" y="249479"/>
                      </a:cubicBezTo>
                      <a:cubicBezTo>
                        <a:pt x="126006" y="251327"/>
                        <a:pt x="117396" y="247783"/>
                        <a:pt x="108900" y="248488"/>
                      </a:cubicBezTo>
                      <a:cubicBezTo>
                        <a:pt x="98327" y="249346"/>
                        <a:pt x="92116" y="242516"/>
                        <a:pt x="82811" y="242411"/>
                      </a:cubicBezTo>
                      <a:cubicBezTo>
                        <a:pt x="78420" y="242364"/>
                        <a:pt x="73581" y="242840"/>
                        <a:pt x="69971" y="245431"/>
                      </a:cubicBezTo>
                      <a:cubicBezTo>
                        <a:pt x="66809" y="247717"/>
                        <a:pt x="66256" y="252393"/>
                        <a:pt x="61046" y="251384"/>
                      </a:cubicBezTo>
                      <a:cubicBezTo>
                        <a:pt x="54103" y="250031"/>
                        <a:pt x="57188" y="243345"/>
                        <a:pt x="55731" y="238916"/>
                      </a:cubicBezTo>
                      <a:cubicBezTo>
                        <a:pt x="53959" y="233534"/>
                        <a:pt x="48692" y="231896"/>
                        <a:pt x="45749" y="227581"/>
                      </a:cubicBezTo>
                      <a:cubicBezTo>
                        <a:pt x="45901" y="227800"/>
                        <a:pt x="43405" y="220599"/>
                        <a:pt x="43405" y="220599"/>
                      </a:cubicBezTo>
                      <a:cubicBezTo>
                        <a:pt x="44091" y="216798"/>
                        <a:pt x="51083" y="211998"/>
                        <a:pt x="48759" y="208378"/>
                      </a:cubicBezTo>
                      <a:cubicBezTo>
                        <a:pt x="48997" y="208750"/>
                        <a:pt x="37605" y="203197"/>
                        <a:pt x="38634" y="203235"/>
                      </a:cubicBezTo>
                      <a:cubicBezTo>
                        <a:pt x="35672" y="203130"/>
                        <a:pt x="31938" y="209740"/>
                        <a:pt x="29489" y="209131"/>
                      </a:cubicBezTo>
                      <a:cubicBezTo>
                        <a:pt x="23965" y="207769"/>
                        <a:pt x="35243" y="194062"/>
                        <a:pt x="29756" y="189900"/>
                      </a:cubicBezTo>
                      <a:cubicBezTo>
                        <a:pt x="24270" y="185728"/>
                        <a:pt x="19041" y="189938"/>
                        <a:pt x="13792" y="190033"/>
                      </a:cubicBezTo>
                      <a:cubicBezTo>
                        <a:pt x="8782" y="190129"/>
                        <a:pt x="5115" y="186966"/>
                        <a:pt x="0" y="185804"/>
                      </a:cubicBezTo>
                      <a:cubicBezTo>
                        <a:pt x="20460" y="153743"/>
                        <a:pt x="41863" y="120148"/>
                        <a:pt x="62694" y="87639"/>
                      </a:cubicBezTo>
                      <a:cubicBezTo>
                        <a:pt x="74057" y="69894"/>
                        <a:pt x="85449" y="52149"/>
                        <a:pt x="96746" y="34376"/>
                      </a:cubicBezTo>
                      <a:cubicBezTo>
                        <a:pt x="102165" y="25841"/>
                        <a:pt x="101708" y="26851"/>
                        <a:pt x="112072" y="26879"/>
                      </a:cubicBezTo>
                      <a:cubicBezTo>
                        <a:pt x="158239" y="26994"/>
                        <a:pt x="204502" y="26832"/>
                        <a:pt x="250727" y="26908"/>
                      </a:cubicBezTo>
                      <a:cubicBezTo>
                        <a:pt x="272977" y="26937"/>
                        <a:pt x="295218" y="26889"/>
                        <a:pt x="317468" y="26879"/>
                      </a:cubicBezTo>
                      <a:cubicBezTo>
                        <a:pt x="328051" y="26879"/>
                        <a:pt x="334109" y="27937"/>
                        <a:pt x="342472" y="22984"/>
                      </a:cubicBezTo>
                      <a:cubicBezTo>
                        <a:pt x="349272" y="18955"/>
                        <a:pt x="358217" y="14497"/>
                        <a:pt x="364932" y="14344"/>
                      </a:cubicBezTo>
                      <a:cubicBezTo>
                        <a:pt x="369047" y="14240"/>
                        <a:pt x="373495" y="13802"/>
                        <a:pt x="377895" y="13383"/>
                      </a:cubicBezTo>
                      <a:cubicBezTo>
                        <a:pt x="379924" y="13183"/>
                        <a:pt x="382020" y="12744"/>
                        <a:pt x="384067" y="13145"/>
                      </a:cubicBezTo>
                      <a:cubicBezTo>
                        <a:pt x="386382" y="13592"/>
                        <a:pt x="386811" y="15564"/>
                        <a:pt x="388839" y="15954"/>
                      </a:cubicBezTo>
                      <a:cubicBezTo>
                        <a:pt x="392897" y="16726"/>
                        <a:pt x="397602" y="14240"/>
                        <a:pt x="401307" y="17336"/>
                      </a:cubicBezTo>
                      <a:cubicBezTo>
                        <a:pt x="401746" y="17697"/>
                        <a:pt x="405479" y="23717"/>
                        <a:pt x="405508" y="23869"/>
                      </a:cubicBezTo>
                      <a:cubicBezTo>
                        <a:pt x="406232" y="28623"/>
                        <a:pt x="402307" y="31252"/>
                        <a:pt x="408013" y="30128"/>
                      </a:cubicBezTo>
                      <a:cubicBezTo>
                        <a:pt x="412233" y="29308"/>
                        <a:pt x="415890" y="24755"/>
                        <a:pt x="420491" y="23393"/>
                      </a:cubicBezTo>
                      <a:cubicBezTo>
                        <a:pt x="420357" y="26937"/>
                        <a:pt x="424129" y="25441"/>
                        <a:pt x="426777" y="24117"/>
                      </a:cubicBezTo>
                      <a:cubicBezTo>
                        <a:pt x="431397" y="21822"/>
                        <a:pt x="431702" y="18374"/>
                        <a:pt x="433702" y="15535"/>
                      </a:cubicBezTo>
                      <a:cubicBezTo>
                        <a:pt x="438788" y="8287"/>
                        <a:pt x="448276" y="9430"/>
                        <a:pt x="455581" y="3715"/>
                      </a:cubicBezTo>
                      <a:cubicBezTo>
                        <a:pt x="461839" y="10573"/>
                        <a:pt x="479822" y="4162"/>
                        <a:pt x="488214" y="0"/>
                      </a:cubicBezTo>
                      <a:cubicBezTo>
                        <a:pt x="488509" y="4581"/>
                        <a:pt x="484394" y="8563"/>
                        <a:pt x="481985" y="12230"/>
                      </a:cubicBezTo>
                      <a:lnTo>
                        <a:pt x="481985" y="1223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31" name="Freeform: Shape 530">
                  <a:extLst>
                    <a:ext uri="{FF2B5EF4-FFF2-40B4-BE49-F238E27FC236}">
                      <a16:creationId xmlns:a16="http://schemas.microsoft.com/office/drawing/2014/main" id="{68D03873-71A5-4370-B781-45AB1EAE4ECF}"/>
                    </a:ext>
                  </a:extLst>
                </p:cNvPr>
                <p:cNvSpPr/>
                <p:nvPr/>
              </p:nvSpPr>
              <p:spPr>
                <a:xfrm>
                  <a:off x="9561651" y="5436048"/>
                  <a:ext cx="267090" cy="161475"/>
                </a:xfrm>
                <a:custGeom>
                  <a:avLst/>
                  <a:gdLst>
                    <a:gd name="connsiteX0" fmla="*/ 267090 w 267090"/>
                    <a:gd name="connsiteY0" fmla="*/ 110109 h 161475"/>
                    <a:gd name="connsiteX1" fmla="*/ 234200 w 267090"/>
                    <a:gd name="connsiteY1" fmla="*/ 119291 h 161475"/>
                    <a:gd name="connsiteX2" fmla="*/ 196310 w 267090"/>
                    <a:gd name="connsiteY2" fmla="*/ 124396 h 161475"/>
                    <a:gd name="connsiteX3" fmla="*/ 155581 w 267090"/>
                    <a:gd name="connsiteY3" fmla="*/ 144304 h 161475"/>
                    <a:gd name="connsiteX4" fmla="*/ 130587 w 267090"/>
                    <a:gd name="connsiteY4" fmla="*/ 154010 h 161475"/>
                    <a:gd name="connsiteX5" fmla="*/ 135578 w 267090"/>
                    <a:gd name="connsiteY5" fmla="*/ 152314 h 161475"/>
                    <a:gd name="connsiteX6" fmla="*/ 124853 w 267090"/>
                    <a:gd name="connsiteY6" fmla="*/ 161249 h 161475"/>
                    <a:gd name="connsiteX7" fmla="*/ 119148 w 267090"/>
                    <a:gd name="connsiteY7" fmla="*/ 154248 h 161475"/>
                    <a:gd name="connsiteX8" fmla="*/ 120977 w 267090"/>
                    <a:gd name="connsiteY8" fmla="*/ 146866 h 161475"/>
                    <a:gd name="connsiteX9" fmla="*/ 113233 w 267090"/>
                    <a:gd name="connsiteY9" fmla="*/ 142713 h 161475"/>
                    <a:gd name="connsiteX10" fmla="*/ 122682 w 267090"/>
                    <a:gd name="connsiteY10" fmla="*/ 133531 h 161475"/>
                    <a:gd name="connsiteX11" fmla="*/ 98993 w 267090"/>
                    <a:gd name="connsiteY11" fmla="*/ 136560 h 161475"/>
                    <a:gd name="connsiteX12" fmla="*/ 116424 w 267090"/>
                    <a:gd name="connsiteY12" fmla="*/ 126197 h 161475"/>
                    <a:gd name="connsiteX13" fmla="*/ 94935 w 267090"/>
                    <a:gd name="connsiteY13" fmla="*/ 130150 h 161475"/>
                    <a:gd name="connsiteX14" fmla="*/ 100717 w 267090"/>
                    <a:gd name="connsiteY14" fmla="*/ 132455 h 161475"/>
                    <a:gd name="connsiteX15" fmla="*/ 70513 w 267090"/>
                    <a:gd name="connsiteY15" fmla="*/ 144751 h 161475"/>
                    <a:gd name="connsiteX16" fmla="*/ 57712 w 267090"/>
                    <a:gd name="connsiteY16" fmla="*/ 150552 h 161475"/>
                    <a:gd name="connsiteX17" fmla="*/ 45148 w 267090"/>
                    <a:gd name="connsiteY17" fmla="*/ 146009 h 161475"/>
                    <a:gd name="connsiteX18" fmla="*/ 32908 w 267090"/>
                    <a:gd name="connsiteY18" fmla="*/ 137779 h 161475"/>
                    <a:gd name="connsiteX19" fmla="*/ 25727 w 267090"/>
                    <a:gd name="connsiteY19" fmla="*/ 137855 h 161475"/>
                    <a:gd name="connsiteX20" fmla="*/ 19192 w 267090"/>
                    <a:gd name="connsiteY20" fmla="*/ 134579 h 161475"/>
                    <a:gd name="connsiteX21" fmla="*/ 6610 w 267090"/>
                    <a:gd name="connsiteY21" fmla="*/ 137551 h 161475"/>
                    <a:gd name="connsiteX22" fmla="*/ 0 w 267090"/>
                    <a:gd name="connsiteY22" fmla="*/ 128092 h 161475"/>
                    <a:gd name="connsiteX23" fmla="*/ 92735 w 267090"/>
                    <a:gd name="connsiteY23" fmla="*/ 0 h 161475"/>
                    <a:gd name="connsiteX24" fmla="*/ 101212 w 267090"/>
                    <a:gd name="connsiteY24" fmla="*/ 3934 h 161475"/>
                    <a:gd name="connsiteX25" fmla="*/ 116681 w 267090"/>
                    <a:gd name="connsiteY25" fmla="*/ 3496 h 161475"/>
                    <a:gd name="connsiteX26" fmla="*/ 122120 w 267090"/>
                    <a:gd name="connsiteY26" fmla="*/ 17612 h 161475"/>
                    <a:gd name="connsiteX27" fmla="*/ 125263 w 267090"/>
                    <a:gd name="connsiteY27" fmla="*/ 23184 h 161475"/>
                    <a:gd name="connsiteX28" fmla="*/ 130702 w 267090"/>
                    <a:gd name="connsiteY28" fmla="*/ 18669 h 161475"/>
                    <a:gd name="connsiteX29" fmla="*/ 132759 w 267090"/>
                    <a:gd name="connsiteY29" fmla="*/ 20479 h 161475"/>
                    <a:gd name="connsiteX30" fmla="*/ 142665 w 267090"/>
                    <a:gd name="connsiteY30" fmla="*/ 26127 h 161475"/>
                    <a:gd name="connsiteX31" fmla="*/ 137646 w 267090"/>
                    <a:gd name="connsiteY31" fmla="*/ 37738 h 161475"/>
                    <a:gd name="connsiteX32" fmla="*/ 142541 w 267090"/>
                    <a:gd name="connsiteY32" fmla="*/ 46139 h 161475"/>
                    <a:gd name="connsiteX33" fmla="*/ 149314 w 267090"/>
                    <a:gd name="connsiteY33" fmla="*/ 59160 h 161475"/>
                    <a:gd name="connsiteX34" fmla="*/ 167564 w 267090"/>
                    <a:gd name="connsiteY34" fmla="*/ 58846 h 161475"/>
                    <a:gd name="connsiteX35" fmla="*/ 193519 w 267090"/>
                    <a:gd name="connsiteY35" fmla="*/ 63684 h 161475"/>
                    <a:gd name="connsiteX36" fmla="*/ 208426 w 267090"/>
                    <a:gd name="connsiteY36" fmla="*/ 62989 h 161475"/>
                    <a:gd name="connsiteX37" fmla="*/ 214903 w 267090"/>
                    <a:gd name="connsiteY37" fmla="*/ 65980 h 161475"/>
                    <a:gd name="connsiteX38" fmla="*/ 222913 w 267090"/>
                    <a:gd name="connsiteY38" fmla="*/ 64198 h 161475"/>
                    <a:gd name="connsiteX39" fmla="*/ 228123 w 267090"/>
                    <a:gd name="connsiteY39" fmla="*/ 64865 h 161475"/>
                    <a:gd name="connsiteX40" fmla="*/ 232562 w 267090"/>
                    <a:gd name="connsiteY40" fmla="*/ 61931 h 161475"/>
                    <a:gd name="connsiteX41" fmla="*/ 243040 w 267090"/>
                    <a:gd name="connsiteY41" fmla="*/ 61446 h 161475"/>
                    <a:gd name="connsiteX42" fmla="*/ 233753 w 267090"/>
                    <a:gd name="connsiteY42" fmla="*/ 87316 h 161475"/>
                    <a:gd name="connsiteX43" fmla="*/ 267090 w 267090"/>
                    <a:gd name="connsiteY43" fmla="*/ 110109 h 161475"/>
                    <a:gd name="connsiteX44" fmla="*/ 267090 w 267090"/>
                    <a:gd name="connsiteY44" fmla="*/ 110109 h 16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67090" h="161475">
                      <a:moveTo>
                        <a:pt x="267090" y="110109"/>
                      </a:moveTo>
                      <a:cubicBezTo>
                        <a:pt x="256994" y="115710"/>
                        <a:pt x="245926" y="119434"/>
                        <a:pt x="234200" y="119291"/>
                      </a:cubicBezTo>
                      <a:cubicBezTo>
                        <a:pt x="221342" y="119139"/>
                        <a:pt x="208512" y="120244"/>
                        <a:pt x="196310" y="124396"/>
                      </a:cubicBezTo>
                      <a:cubicBezTo>
                        <a:pt x="181889" y="129311"/>
                        <a:pt x="169211" y="137731"/>
                        <a:pt x="155581" y="144304"/>
                      </a:cubicBezTo>
                      <a:cubicBezTo>
                        <a:pt x="150028" y="146971"/>
                        <a:pt x="127578" y="146199"/>
                        <a:pt x="130587" y="154010"/>
                      </a:cubicBezTo>
                      <a:cubicBezTo>
                        <a:pt x="132378" y="152705"/>
                        <a:pt x="134435" y="152552"/>
                        <a:pt x="135578" y="152314"/>
                      </a:cubicBezTo>
                      <a:cubicBezTo>
                        <a:pt x="133302" y="155658"/>
                        <a:pt x="129521" y="162839"/>
                        <a:pt x="124853" y="161249"/>
                      </a:cubicBezTo>
                      <a:cubicBezTo>
                        <a:pt x="128987" y="155267"/>
                        <a:pt x="125901" y="150419"/>
                        <a:pt x="119148" y="154248"/>
                      </a:cubicBezTo>
                      <a:cubicBezTo>
                        <a:pt x="119986" y="151847"/>
                        <a:pt x="120615" y="149371"/>
                        <a:pt x="120977" y="146866"/>
                      </a:cubicBezTo>
                      <a:cubicBezTo>
                        <a:pt x="117548" y="147304"/>
                        <a:pt x="114700" y="145942"/>
                        <a:pt x="113233" y="142713"/>
                      </a:cubicBezTo>
                      <a:cubicBezTo>
                        <a:pt x="116595" y="139284"/>
                        <a:pt x="122387" y="139036"/>
                        <a:pt x="122682" y="133531"/>
                      </a:cubicBezTo>
                      <a:cubicBezTo>
                        <a:pt x="115443" y="130759"/>
                        <a:pt x="101765" y="149209"/>
                        <a:pt x="98993" y="136560"/>
                      </a:cubicBezTo>
                      <a:cubicBezTo>
                        <a:pt x="103974" y="137703"/>
                        <a:pt x="117348" y="132379"/>
                        <a:pt x="116424" y="126197"/>
                      </a:cubicBezTo>
                      <a:cubicBezTo>
                        <a:pt x="115385" y="119129"/>
                        <a:pt x="99946" y="128273"/>
                        <a:pt x="94935" y="130150"/>
                      </a:cubicBezTo>
                      <a:cubicBezTo>
                        <a:pt x="97450" y="130273"/>
                        <a:pt x="99393" y="130950"/>
                        <a:pt x="100717" y="132455"/>
                      </a:cubicBezTo>
                      <a:cubicBezTo>
                        <a:pt x="90964" y="137284"/>
                        <a:pt x="80296" y="139532"/>
                        <a:pt x="70513" y="144751"/>
                      </a:cubicBezTo>
                      <a:cubicBezTo>
                        <a:pt x="66589" y="146847"/>
                        <a:pt x="62169" y="149743"/>
                        <a:pt x="57712" y="150552"/>
                      </a:cubicBezTo>
                      <a:cubicBezTo>
                        <a:pt x="51044" y="151752"/>
                        <a:pt x="49949" y="149066"/>
                        <a:pt x="45148" y="146009"/>
                      </a:cubicBezTo>
                      <a:cubicBezTo>
                        <a:pt x="41624" y="143780"/>
                        <a:pt x="36786" y="138674"/>
                        <a:pt x="32908" y="137779"/>
                      </a:cubicBezTo>
                      <a:cubicBezTo>
                        <a:pt x="30470" y="137198"/>
                        <a:pt x="27965" y="138370"/>
                        <a:pt x="25727" y="137855"/>
                      </a:cubicBezTo>
                      <a:cubicBezTo>
                        <a:pt x="22983" y="137227"/>
                        <a:pt x="22355" y="134874"/>
                        <a:pt x="19192" y="134579"/>
                      </a:cubicBezTo>
                      <a:cubicBezTo>
                        <a:pt x="15059" y="134207"/>
                        <a:pt x="10353" y="140122"/>
                        <a:pt x="6610" y="137551"/>
                      </a:cubicBezTo>
                      <a:cubicBezTo>
                        <a:pt x="3248" y="135255"/>
                        <a:pt x="5629" y="129673"/>
                        <a:pt x="0" y="128092"/>
                      </a:cubicBezTo>
                      <a:cubicBezTo>
                        <a:pt x="30909" y="85401"/>
                        <a:pt x="61826" y="42691"/>
                        <a:pt x="92735" y="0"/>
                      </a:cubicBezTo>
                      <a:cubicBezTo>
                        <a:pt x="94526" y="2048"/>
                        <a:pt x="98384" y="3115"/>
                        <a:pt x="101212" y="3934"/>
                      </a:cubicBezTo>
                      <a:cubicBezTo>
                        <a:pt x="107118" y="5639"/>
                        <a:pt x="110251" y="2953"/>
                        <a:pt x="116681" y="3496"/>
                      </a:cubicBezTo>
                      <a:cubicBezTo>
                        <a:pt x="128949" y="4515"/>
                        <a:pt x="124187" y="10687"/>
                        <a:pt x="122120" y="17612"/>
                      </a:cubicBezTo>
                      <a:cubicBezTo>
                        <a:pt x="120596" y="22708"/>
                        <a:pt x="120910" y="24317"/>
                        <a:pt x="125263" y="23184"/>
                      </a:cubicBezTo>
                      <a:cubicBezTo>
                        <a:pt x="127206" y="22679"/>
                        <a:pt x="128568" y="18964"/>
                        <a:pt x="130702" y="18669"/>
                      </a:cubicBezTo>
                      <a:cubicBezTo>
                        <a:pt x="132921" y="18364"/>
                        <a:pt x="131826" y="20336"/>
                        <a:pt x="132759" y="20479"/>
                      </a:cubicBezTo>
                      <a:cubicBezTo>
                        <a:pt x="136588" y="21107"/>
                        <a:pt x="142627" y="22384"/>
                        <a:pt x="142665" y="26127"/>
                      </a:cubicBezTo>
                      <a:cubicBezTo>
                        <a:pt x="142713" y="30137"/>
                        <a:pt x="137570" y="33509"/>
                        <a:pt x="137646" y="37738"/>
                      </a:cubicBezTo>
                      <a:cubicBezTo>
                        <a:pt x="137683" y="40196"/>
                        <a:pt x="140389" y="43605"/>
                        <a:pt x="142541" y="46139"/>
                      </a:cubicBezTo>
                      <a:cubicBezTo>
                        <a:pt x="147056" y="51463"/>
                        <a:pt x="147751" y="52569"/>
                        <a:pt x="149314" y="59160"/>
                      </a:cubicBezTo>
                      <a:cubicBezTo>
                        <a:pt x="152952" y="74438"/>
                        <a:pt x="160353" y="61446"/>
                        <a:pt x="167564" y="58846"/>
                      </a:cubicBezTo>
                      <a:cubicBezTo>
                        <a:pt x="178946" y="54731"/>
                        <a:pt x="183556" y="62055"/>
                        <a:pt x="193519" y="63684"/>
                      </a:cubicBezTo>
                      <a:cubicBezTo>
                        <a:pt x="198968" y="64579"/>
                        <a:pt x="203292" y="62236"/>
                        <a:pt x="208426" y="62989"/>
                      </a:cubicBezTo>
                      <a:cubicBezTo>
                        <a:pt x="210617" y="63303"/>
                        <a:pt x="212503" y="65684"/>
                        <a:pt x="214903" y="65980"/>
                      </a:cubicBezTo>
                      <a:cubicBezTo>
                        <a:pt x="218760" y="66447"/>
                        <a:pt x="219503" y="64579"/>
                        <a:pt x="222913" y="64198"/>
                      </a:cubicBezTo>
                      <a:cubicBezTo>
                        <a:pt x="224599" y="64008"/>
                        <a:pt x="226876" y="65132"/>
                        <a:pt x="228123" y="64865"/>
                      </a:cubicBezTo>
                      <a:cubicBezTo>
                        <a:pt x="229867" y="64484"/>
                        <a:pt x="230771" y="62312"/>
                        <a:pt x="232562" y="61931"/>
                      </a:cubicBezTo>
                      <a:cubicBezTo>
                        <a:pt x="234648" y="61484"/>
                        <a:pt x="241116" y="60779"/>
                        <a:pt x="243040" y="61446"/>
                      </a:cubicBezTo>
                      <a:cubicBezTo>
                        <a:pt x="252050" y="64579"/>
                        <a:pt x="238687" y="83744"/>
                        <a:pt x="233753" y="87316"/>
                      </a:cubicBezTo>
                      <a:cubicBezTo>
                        <a:pt x="245583" y="92773"/>
                        <a:pt x="256404" y="102670"/>
                        <a:pt x="267090" y="110109"/>
                      </a:cubicBezTo>
                      <a:lnTo>
                        <a:pt x="267090" y="110109"/>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32" name="Freeform: Shape 531">
                  <a:extLst>
                    <a:ext uri="{FF2B5EF4-FFF2-40B4-BE49-F238E27FC236}">
                      <a16:creationId xmlns:a16="http://schemas.microsoft.com/office/drawing/2014/main" id="{FA133EC6-76F7-42AC-940F-CA7F7047D2C3}"/>
                    </a:ext>
                  </a:extLst>
                </p:cNvPr>
                <p:cNvSpPr/>
                <p:nvPr/>
              </p:nvSpPr>
              <p:spPr>
                <a:xfrm>
                  <a:off x="9560956" y="5646065"/>
                  <a:ext cx="131833" cy="92312"/>
                </a:xfrm>
                <a:custGeom>
                  <a:avLst/>
                  <a:gdLst>
                    <a:gd name="connsiteX0" fmla="*/ 102222 w 131833"/>
                    <a:gd name="connsiteY0" fmla="*/ 45310 h 92312"/>
                    <a:gd name="connsiteX1" fmla="*/ 96888 w 131833"/>
                    <a:gd name="connsiteY1" fmla="*/ 49863 h 92312"/>
                    <a:gd name="connsiteX2" fmla="*/ 99155 w 131833"/>
                    <a:gd name="connsiteY2" fmla="*/ 43862 h 92312"/>
                    <a:gd name="connsiteX3" fmla="*/ 102575 w 131833"/>
                    <a:gd name="connsiteY3" fmla="*/ 40881 h 92312"/>
                    <a:gd name="connsiteX4" fmla="*/ 79743 w 131833"/>
                    <a:gd name="connsiteY4" fmla="*/ 58817 h 92312"/>
                    <a:gd name="connsiteX5" fmla="*/ 56473 w 131833"/>
                    <a:gd name="connsiteY5" fmla="*/ 80267 h 92312"/>
                    <a:gd name="connsiteX6" fmla="*/ 64827 w 131833"/>
                    <a:gd name="connsiteY6" fmla="*/ 71276 h 92312"/>
                    <a:gd name="connsiteX7" fmla="*/ 52559 w 131833"/>
                    <a:gd name="connsiteY7" fmla="*/ 74381 h 92312"/>
                    <a:gd name="connsiteX8" fmla="*/ 55026 w 131833"/>
                    <a:gd name="connsiteY8" fmla="*/ 66751 h 92312"/>
                    <a:gd name="connsiteX9" fmla="*/ 36747 w 131833"/>
                    <a:gd name="connsiteY9" fmla="*/ 78257 h 92312"/>
                    <a:gd name="connsiteX10" fmla="*/ 21564 w 131833"/>
                    <a:gd name="connsiteY10" fmla="*/ 92078 h 92312"/>
                    <a:gd name="connsiteX11" fmla="*/ 13763 w 131833"/>
                    <a:gd name="connsiteY11" fmla="*/ 89449 h 92312"/>
                    <a:gd name="connsiteX12" fmla="*/ 0 w 131833"/>
                    <a:gd name="connsiteY12" fmla="*/ 90573 h 92312"/>
                    <a:gd name="connsiteX13" fmla="*/ 10877 w 131833"/>
                    <a:gd name="connsiteY13" fmla="*/ 83286 h 92312"/>
                    <a:gd name="connsiteX14" fmla="*/ 1962 w 131833"/>
                    <a:gd name="connsiteY14" fmla="*/ 81410 h 92312"/>
                    <a:gd name="connsiteX15" fmla="*/ 2734 w 131833"/>
                    <a:gd name="connsiteY15" fmla="*/ 72199 h 92312"/>
                    <a:gd name="connsiteX16" fmla="*/ 12830 w 131833"/>
                    <a:gd name="connsiteY16" fmla="*/ 49092 h 92312"/>
                    <a:gd name="connsiteX17" fmla="*/ 13154 w 131833"/>
                    <a:gd name="connsiteY17" fmla="*/ 57350 h 92312"/>
                    <a:gd name="connsiteX18" fmla="*/ 18707 w 131833"/>
                    <a:gd name="connsiteY18" fmla="*/ 46453 h 92312"/>
                    <a:gd name="connsiteX19" fmla="*/ 14725 w 131833"/>
                    <a:gd name="connsiteY19" fmla="*/ 48025 h 92312"/>
                    <a:gd name="connsiteX20" fmla="*/ 23260 w 131833"/>
                    <a:gd name="connsiteY20" fmla="*/ 22612 h 92312"/>
                    <a:gd name="connsiteX21" fmla="*/ 40700 w 131833"/>
                    <a:gd name="connsiteY21" fmla="*/ 0 h 92312"/>
                    <a:gd name="connsiteX22" fmla="*/ 53959 w 131833"/>
                    <a:gd name="connsiteY22" fmla="*/ 3953 h 92312"/>
                    <a:gd name="connsiteX23" fmla="*/ 61055 w 131833"/>
                    <a:gd name="connsiteY23" fmla="*/ 8934 h 92312"/>
                    <a:gd name="connsiteX24" fmla="*/ 72437 w 131833"/>
                    <a:gd name="connsiteY24" fmla="*/ 15430 h 92312"/>
                    <a:gd name="connsiteX25" fmla="*/ 86563 w 131833"/>
                    <a:gd name="connsiteY25" fmla="*/ 15621 h 92312"/>
                    <a:gd name="connsiteX26" fmla="*/ 98279 w 131833"/>
                    <a:gd name="connsiteY26" fmla="*/ 10144 h 92312"/>
                    <a:gd name="connsiteX27" fmla="*/ 107775 w 131833"/>
                    <a:gd name="connsiteY27" fmla="*/ 10363 h 92312"/>
                    <a:gd name="connsiteX28" fmla="*/ 113995 w 131833"/>
                    <a:gd name="connsiteY28" fmla="*/ 6753 h 92312"/>
                    <a:gd name="connsiteX29" fmla="*/ 120662 w 131833"/>
                    <a:gd name="connsiteY29" fmla="*/ 6162 h 92312"/>
                    <a:gd name="connsiteX30" fmla="*/ 131150 w 131833"/>
                    <a:gd name="connsiteY30" fmla="*/ 4581 h 92312"/>
                    <a:gd name="connsiteX31" fmla="*/ 102222 w 131833"/>
                    <a:gd name="connsiteY31" fmla="*/ 45310 h 92312"/>
                    <a:gd name="connsiteX32" fmla="*/ 102222 w 131833"/>
                    <a:gd name="connsiteY32" fmla="*/ 45310 h 9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31833" h="92312">
                      <a:moveTo>
                        <a:pt x="102222" y="45310"/>
                      </a:moveTo>
                      <a:cubicBezTo>
                        <a:pt x="100431" y="47310"/>
                        <a:pt x="99107" y="49101"/>
                        <a:pt x="96888" y="49863"/>
                      </a:cubicBezTo>
                      <a:cubicBezTo>
                        <a:pt x="98907" y="48111"/>
                        <a:pt x="100355" y="46072"/>
                        <a:pt x="99155" y="43862"/>
                      </a:cubicBezTo>
                      <a:cubicBezTo>
                        <a:pt x="100812" y="42910"/>
                        <a:pt x="101355" y="41805"/>
                        <a:pt x="102575" y="40881"/>
                      </a:cubicBezTo>
                      <a:cubicBezTo>
                        <a:pt x="94136" y="45072"/>
                        <a:pt x="87001" y="52664"/>
                        <a:pt x="79743" y="58817"/>
                      </a:cubicBezTo>
                      <a:cubicBezTo>
                        <a:pt x="70951" y="66256"/>
                        <a:pt x="67656" y="76952"/>
                        <a:pt x="56473" y="80267"/>
                      </a:cubicBezTo>
                      <a:cubicBezTo>
                        <a:pt x="56664" y="71523"/>
                        <a:pt x="64008" y="75743"/>
                        <a:pt x="64827" y="71276"/>
                      </a:cubicBezTo>
                      <a:cubicBezTo>
                        <a:pt x="66065" y="64551"/>
                        <a:pt x="53902" y="74171"/>
                        <a:pt x="52559" y="74381"/>
                      </a:cubicBezTo>
                      <a:cubicBezTo>
                        <a:pt x="54530" y="72285"/>
                        <a:pt x="55626" y="69561"/>
                        <a:pt x="55026" y="66751"/>
                      </a:cubicBezTo>
                      <a:cubicBezTo>
                        <a:pt x="52768" y="70590"/>
                        <a:pt x="39157" y="85792"/>
                        <a:pt x="36747" y="78257"/>
                      </a:cubicBezTo>
                      <a:cubicBezTo>
                        <a:pt x="33766" y="81896"/>
                        <a:pt x="28451" y="90497"/>
                        <a:pt x="21564" y="92078"/>
                      </a:cubicBezTo>
                      <a:cubicBezTo>
                        <a:pt x="17002" y="93135"/>
                        <a:pt x="17011" y="90326"/>
                        <a:pt x="13763" y="89449"/>
                      </a:cubicBezTo>
                      <a:cubicBezTo>
                        <a:pt x="10201" y="88468"/>
                        <a:pt x="3505" y="89411"/>
                        <a:pt x="0" y="90573"/>
                      </a:cubicBezTo>
                      <a:cubicBezTo>
                        <a:pt x="3047" y="83677"/>
                        <a:pt x="6886" y="87278"/>
                        <a:pt x="10877" y="83286"/>
                      </a:cubicBezTo>
                      <a:cubicBezTo>
                        <a:pt x="8820" y="82829"/>
                        <a:pt x="2791" y="82934"/>
                        <a:pt x="1962" y="81410"/>
                      </a:cubicBezTo>
                      <a:cubicBezTo>
                        <a:pt x="1686" y="80886"/>
                        <a:pt x="2619" y="73247"/>
                        <a:pt x="2734" y="72199"/>
                      </a:cubicBezTo>
                      <a:cubicBezTo>
                        <a:pt x="3562" y="64037"/>
                        <a:pt x="7620" y="56474"/>
                        <a:pt x="12830" y="49092"/>
                      </a:cubicBezTo>
                      <a:cubicBezTo>
                        <a:pt x="15087" y="51587"/>
                        <a:pt x="15211" y="54711"/>
                        <a:pt x="13154" y="57350"/>
                      </a:cubicBezTo>
                      <a:cubicBezTo>
                        <a:pt x="19974" y="53435"/>
                        <a:pt x="14887" y="50882"/>
                        <a:pt x="18707" y="46453"/>
                      </a:cubicBezTo>
                      <a:cubicBezTo>
                        <a:pt x="17297" y="47320"/>
                        <a:pt x="16068" y="47406"/>
                        <a:pt x="14725" y="48025"/>
                      </a:cubicBezTo>
                      <a:cubicBezTo>
                        <a:pt x="22069" y="42367"/>
                        <a:pt x="19735" y="30880"/>
                        <a:pt x="23260" y="22612"/>
                      </a:cubicBezTo>
                      <a:cubicBezTo>
                        <a:pt x="27384" y="12944"/>
                        <a:pt x="34299" y="7896"/>
                        <a:pt x="40700" y="0"/>
                      </a:cubicBezTo>
                      <a:cubicBezTo>
                        <a:pt x="44748" y="4353"/>
                        <a:pt x="50225" y="2638"/>
                        <a:pt x="53959" y="3953"/>
                      </a:cubicBezTo>
                      <a:cubicBezTo>
                        <a:pt x="56464" y="4839"/>
                        <a:pt x="58541" y="7210"/>
                        <a:pt x="61055" y="8934"/>
                      </a:cubicBezTo>
                      <a:cubicBezTo>
                        <a:pt x="64446" y="11258"/>
                        <a:pt x="67132" y="14830"/>
                        <a:pt x="72437" y="15430"/>
                      </a:cubicBezTo>
                      <a:cubicBezTo>
                        <a:pt x="76514" y="15897"/>
                        <a:pt x="86144" y="10725"/>
                        <a:pt x="86563" y="15621"/>
                      </a:cubicBezTo>
                      <a:cubicBezTo>
                        <a:pt x="89202" y="10868"/>
                        <a:pt x="93659" y="10935"/>
                        <a:pt x="98279" y="10144"/>
                      </a:cubicBezTo>
                      <a:cubicBezTo>
                        <a:pt x="101222" y="9639"/>
                        <a:pt x="105823" y="10820"/>
                        <a:pt x="107775" y="10363"/>
                      </a:cubicBezTo>
                      <a:cubicBezTo>
                        <a:pt x="110061" y="9820"/>
                        <a:pt x="111804" y="7486"/>
                        <a:pt x="113995" y="6753"/>
                      </a:cubicBezTo>
                      <a:cubicBezTo>
                        <a:pt x="116871" y="5791"/>
                        <a:pt x="117729" y="6725"/>
                        <a:pt x="120662" y="6162"/>
                      </a:cubicBezTo>
                      <a:cubicBezTo>
                        <a:pt x="124167" y="5496"/>
                        <a:pt x="127873" y="2029"/>
                        <a:pt x="131150" y="4581"/>
                      </a:cubicBezTo>
                      <a:cubicBezTo>
                        <a:pt x="136884" y="9039"/>
                        <a:pt x="104737" y="38490"/>
                        <a:pt x="102222" y="45310"/>
                      </a:cubicBezTo>
                      <a:lnTo>
                        <a:pt x="102222" y="45310"/>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33" name="Freeform: Shape 532">
                  <a:extLst>
                    <a:ext uri="{FF2B5EF4-FFF2-40B4-BE49-F238E27FC236}">
                      <a16:creationId xmlns:a16="http://schemas.microsoft.com/office/drawing/2014/main" id="{6FB3069D-F1A8-4815-A752-16132D01F758}"/>
                    </a:ext>
                  </a:extLst>
                </p:cNvPr>
                <p:cNvSpPr/>
                <p:nvPr/>
              </p:nvSpPr>
              <p:spPr>
                <a:xfrm>
                  <a:off x="9720709" y="4702136"/>
                  <a:ext cx="455875" cy="580273"/>
                </a:xfrm>
                <a:custGeom>
                  <a:avLst/>
                  <a:gdLst>
                    <a:gd name="connsiteX0" fmla="*/ 425044 w 455875"/>
                    <a:gd name="connsiteY0" fmla="*/ 541526 h 580273"/>
                    <a:gd name="connsiteX1" fmla="*/ 417843 w 455875"/>
                    <a:gd name="connsiteY1" fmla="*/ 551718 h 580273"/>
                    <a:gd name="connsiteX2" fmla="*/ 407889 w 455875"/>
                    <a:gd name="connsiteY2" fmla="*/ 555061 h 580273"/>
                    <a:gd name="connsiteX3" fmla="*/ 390097 w 455875"/>
                    <a:gd name="connsiteY3" fmla="*/ 553013 h 580273"/>
                    <a:gd name="connsiteX4" fmla="*/ 368218 w 455875"/>
                    <a:gd name="connsiteY4" fmla="*/ 564833 h 580273"/>
                    <a:gd name="connsiteX5" fmla="*/ 362169 w 455875"/>
                    <a:gd name="connsiteY5" fmla="*/ 573044 h 580273"/>
                    <a:gd name="connsiteX6" fmla="*/ 355006 w 455875"/>
                    <a:gd name="connsiteY6" fmla="*/ 572692 h 580273"/>
                    <a:gd name="connsiteX7" fmla="*/ 340900 w 455875"/>
                    <a:gd name="connsiteY7" fmla="*/ 580245 h 580273"/>
                    <a:gd name="connsiteX8" fmla="*/ 340119 w 455875"/>
                    <a:gd name="connsiteY8" fmla="*/ 576711 h 580273"/>
                    <a:gd name="connsiteX9" fmla="*/ 340157 w 455875"/>
                    <a:gd name="connsiteY9" fmla="*/ 573644 h 580273"/>
                    <a:gd name="connsiteX10" fmla="*/ 337195 w 455875"/>
                    <a:gd name="connsiteY10" fmla="*/ 570796 h 580273"/>
                    <a:gd name="connsiteX11" fmla="*/ 330327 w 455875"/>
                    <a:gd name="connsiteY11" fmla="*/ 564957 h 580273"/>
                    <a:gd name="connsiteX12" fmla="*/ 322822 w 455875"/>
                    <a:gd name="connsiteY12" fmla="*/ 565224 h 580273"/>
                    <a:gd name="connsiteX13" fmla="*/ 315744 w 455875"/>
                    <a:gd name="connsiteY13" fmla="*/ 562366 h 580273"/>
                    <a:gd name="connsiteX14" fmla="*/ 288627 w 455875"/>
                    <a:gd name="connsiteY14" fmla="*/ 566948 h 580273"/>
                    <a:gd name="connsiteX15" fmla="*/ 270453 w 455875"/>
                    <a:gd name="connsiteY15" fmla="*/ 576178 h 580273"/>
                    <a:gd name="connsiteX16" fmla="*/ 248764 w 455875"/>
                    <a:gd name="connsiteY16" fmla="*/ 576197 h 580273"/>
                    <a:gd name="connsiteX17" fmla="*/ 206416 w 455875"/>
                    <a:gd name="connsiteY17" fmla="*/ 576206 h 580273"/>
                    <a:gd name="connsiteX18" fmla="*/ 101022 w 455875"/>
                    <a:gd name="connsiteY18" fmla="*/ 576206 h 580273"/>
                    <a:gd name="connsiteX19" fmla="*/ 36023 w 455875"/>
                    <a:gd name="connsiteY19" fmla="*/ 576216 h 580273"/>
                    <a:gd name="connsiteX20" fmla="*/ 89716 w 455875"/>
                    <a:gd name="connsiteY20" fmla="*/ 481709 h 580273"/>
                    <a:gd name="connsiteX21" fmla="*/ 0 w 455875"/>
                    <a:gd name="connsiteY21" fmla="*/ 481709 h 580273"/>
                    <a:gd name="connsiteX22" fmla="*/ 114291 w 455875"/>
                    <a:gd name="connsiteY22" fmla="*/ 219867 h 580273"/>
                    <a:gd name="connsiteX23" fmla="*/ 129854 w 455875"/>
                    <a:gd name="connsiteY23" fmla="*/ 184253 h 580273"/>
                    <a:gd name="connsiteX24" fmla="*/ 151648 w 455875"/>
                    <a:gd name="connsiteY24" fmla="*/ 193825 h 580273"/>
                    <a:gd name="connsiteX25" fmla="*/ 158982 w 455875"/>
                    <a:gd name="connsiteY25" fmla="*/ 200721 h 580273"/>
                    <a:gd name="connsiteX26" fmla="*/ 159105 w 455875"/>
                    <a:gd name="connsiteY26" fmla="*/ 206036 h 580273"/>
                    <a:gd name="connsiteX27" fmla="*/ 164611 w 455875"/>
                    <a:gd name="connsiteY27" fmla="*/ 210151 h 580273"/>
                    <a:gd name="connsiteX28" fmla="*/ 185242 w 455875"/>
                    <a:gd name="connsiteY28" fmla="*/ 220362 h 580273"/>
                    <a:gd name="connsiteX29" fmla="*/ 210750 w 455875"/>
                    <a:gd name="connsiteY29" fmla="*/ 206779 h 580273"/>
                    <a:gd name="connsiteX30" fmla="*/ 241325 w 455875"/>
                    <a:gd name="connsiteY30" fmla="*/ 164593 h 580273"/>
                    <a:gd name="connsiteX31" fmla="*/ 255489 w 455875"/>
                    <a:gd name="connsiteY31" fmla="*/ 140218 h 580273"/>
                    <a:gd name="connsiteX32" fmla="*/ 262985 w 455875"/>
                    <a:gd name="connsiteY32" fmla="*/ 113482 h 580273"/>
                    <a:gd name="connsiteX33" fmla="*/ 264700 w 455875"/>
                    <a:gd name="connsiteY33" fmla="*/ 98461 h 580273"/>
                    <a:gd name="connsiteX34" fmla="*/ 271986 w 455875"/>
                    <a:gd name="connsiteY34" fmla="*/ 85669 h 580273"/>
                    <a:gd name="connsiteX35" fmla="*/ 287807 w 455875"/>
                    <a:gd name="connsiteY35" fmla="*/ 66038 h 580273"/>
                    <a:gd name="connsiteX36" fmla="*/ 283836 w 455875"/>
                    <a:gd name="connsiteY36" fmla="*/ 56818 h 580273"/>
                    <a:gd name="connsiteX37" fmla="*/ 293189 w 455875"/>
                    <a:gd name="connsiteY37" fmla="*/ 39968 h 580273"/>
                    <a:gd name="connsiteX38" fmla="*/ 295370 w 455875"/>
                    <a:gd name="connsiteY38" fmla="*/ 42444 h 580273"/>
                    <a:gd name="connsiteX39" fmla="*/ 307077 w 455875"/>
                    <a:gd name="connsiteY39" fmla="*/ 17832 h 580273"/>
                    <a:gd name="connsiteX40" fmla="*/ 313144 w 455875"/>
                    <a:gd name="connsiteY40" fmla="*/ 6554 h 580273"/>
                    <a:gd name="connsiteX41" fmla="*/ 322555 w 455875"/>
                    <a:gd name="connsiteY41" fmla="*/ 1 h 580273"/>
                    <a:gd name="connsiteX42" fmla="*/ 324355 w 455875"/>
                    <a:gd name="connsiteY42" fmla="*/ 6668 h 580273"/>
                    <a:gd name="connsiteX43" fmla="*/ 328232 w 455875"/>
                    <a:gd name="connsiteY43" fmla="*/ 12841 h 580273"/>
                    <a:gd name="connsiteX44" fmla="*/ 328489 w 455875"/>
                    <a:gd name="connsiteY44" fmla="*/ 19394 h 580273"/>
                    <a:gd name="connsiteX45" fmla="*/ 334118 w 455875"/>
                    <a:gd name="connsiteY45" fmla="*/ 39301 h 580273"/>
                    <a:gd name="connsiteX46" fmla="*/ 329879 w 455875"/>
                    <a:gd name="connsiteY46" fmla="*/ 46521 h 580273"/>
                    <a:gd name="connsiteX47" fmla="*/ 332365 w 455875"/>
                    <a:gd name="connsiteY47" fmla="*/ 52960 h 580273"/>
                    <a:gd name="connsiteX48" fmla="*/ 334852 w 455875"/>
                    <a:gd name="connsiteY48" fmla="*/ 73496 h 580273"/>
                    <a:gd name="connsiteX49" fmla="*/ 333527 w 455875"/>
                    <a:gd name="connsiteY49" fmla="*/ 82945 h 580273"/>
                    <a:gd name="connsiteX50" fmla="*/ 330251 w 455875"/>
                    <a:gd name="connsiteY50" fmla="*/ 94870 h 580273"/>
                    <a:gd name="connsiteX51" fmla="*/ 330584 w 455875"/>
                    <a:gd name="connsiteY51" fmla="*/ 114272 h 580273"/>
                    <a:gd name="connsiteX52" fmla="*/ 346072 w 455875"/>
                    <a:gd name="connsiteY52" fmla="*/ 113044 h 580273"/>
                    <a:gd name="connsiteX53" fmla="*/ 359073 w 455875"/>
                    <a:gd name="connsiteY53" fmla="*/ 121264 h 580273"/>
                    <a:gd name="connsiteX54" fmla="*/ 371160 w 455875"/>
                    <a:gd name="connsiteY54" fmla="*/ 135456 h 580273"/>
                    <a:gd name="connsiteX55" fmla="*/ 365970 w 455875"/>
                    <a:gd name="connsiteY55" fmla="*/ 156221 h 580273"/>
                    <a:gd name="connsiteX56" fmla="*/ 362007 w 455875"/>
                    <a:gd name="connsiteY56" fmla="*/ 176318 h 580273"/>
                    <a:gd name="connsiteX57" fmla="*/ 369732 w 455875"/>
                    <a:gd name="connsiteY57" fmla="*/ 195463 h 580273"/>
                    <a:gd name="connsiteX58" fmla="*/ 365417 w 455875"/>
                    <a:gd name="connsiteY58" fmla="*/ 222476 h 580273"/>
                    <a:gd name="connsiteX59" fmla="*/ 362608 w 455875"/>
                    <a:gd name="connsiteY59" fmla="*/ 247165 h 580273"/>
                    <a:gd name="connsiteX60" fmla="*/ 364064 w 455875"/>
                    <a:gd name="connsiteY60" fmla="*/ 266377 h 580273"/>
                    <a:gd name="connsiteX61" fmla="*/ 373952 w 455875"/>
                    <a:gd name="connsiteY61" fmla="*/ 269311 h 580273"/>
                    <a:gd name="connsiteX62" fmla="*/ 376285 w 455875"/>
                    <a:gd name="connsiteY62" fmla="*/ 273635 h 580273"/>
                    <a:gd name="connsiteX63" fmla="*/ 381315 w 455875"/>
                    <a:gd name="connsiteY63" fmla="*/ 274121 h 580273"/>
                    <a:gd name="connsiteX64" fmla="*/ 386639 w 455875"/>
                    <a:gd name="connsiteY64" fmla="*/ 277388 h 580273"/>
                    <a:gd name="connsiteX65" fmla="*/ 391163 w 455875"/>
                    <a:gd name="connsiteY65" fmla="*/ 285894 h 580273"/>
                    <a:gd name="connsiteX66" fmla="*/ 399469 w 455875"/>
                    <a:gd name="connsiteY66" fmla="*/ 290456 h 580273"/>
                    <a:gd name="connsiteX67" fmla="*/ 403746 w 455875"/>
                    <a:gd name="connsiteY67" fmla="*/ 294866 h 580273"/>
                    <a:gd name="connsiteX68" fmla="*/ 408299 w 455875"/>
                    <a:gd name="connsiteY68" fmla="*/ 296095 h 580273"/>
                    <a:gd name="connsiteX69" fmla="*/ 413851 w 455875"/>
                    <a:gd name="connsiteY69" fmla="*/ 303077 h 580273"/>
                    <a:gd name="connsiteX70" fmla="*/ 410003 w 455875"/>
                    <a:gd name="connsiteY70" fmla="*/ 307487 h 580273"/>
                    <a:gd name="connsiteX71" fmla="*/ 414624 w 455875"/>
                    <a:gd name="connsiteY71" fmla="*/ 327385 h 580273"/>
                    <a:gd name="connsiteX72" fmla="*/ 414404 w 455875"/>
                    <a:gd name="connsiteY72" fmla="*/ 345435 h 580273"/>
                    <a:gd name="connsiteX73" fmla="*/ 410023 w 455875"/>
                    <a:gd name="connsiteY73" fmla="*/ 369628 h 580273"/>
                    <a:gd name="connsiteX74" fmla="*/ 414424 w 455875"/>
                    <a:gd name="connsiteY74" fmla="*/ 368028 h 580273"/>
                    <a:gd name="connsiteX75" fmla="*/ 416490 w 455875"/>
                    <a:gd name="connsiteY75" fmla="*/ 373086 h 580273"/>
                    <a:gd name="connsiteX76" fmla="*/ 421624 w 455875"/>
                    <a:gd name="connsiteY76" fmla="*/ 362589 h 580273"/>
                    <a:gd name="connsiteX77" fmla="*/ 426634 w 455875"/>
                    <a:gd name="connsiteY77" fmla="*/ 365771 h 580273"/>
                    <a:gd name="connsiteX78" fmla="*/ 433531 w 455875"/>
                    <a:gd name="connsiteY78" fmla="*/ 373333 h 580273"/>
                    <a:gd name="connsiteX79" fmla="*/ 438550 w 455875"/>
                    <a:gd name="connsiteY79" fmla="*/ 367437 h 580273"/>
                    <a:gd name="connsiteX80" fmla="*/ 432045 w 455875"/>
                    <a:gd name="connsiteY80" fmla="*/ 390583 h 580273"/>
                    <a:gd name="connsiteX81" fmla="*/ 432082 w 455875"/>
                    <a:gd name="connsiteY81" fmla="*/ 411957 h 580273"/>
                    <a:gd name="connsiteX82" fmla="*/ 447532 w 455875"/>
                    <a:gd name="connsiteY82" fmla="*/ 425416 h 580273"/>
                    <a:gd name="connsiteX83" fmla="*/ 447560 w 455875"/>
                    <a:gd name="connsiteY83" fmla="*/ 437541 h 580273"/>
                    <a:gd name="connsiteX84" fmla="*/ 453247 w 455875"/>
                    <a:gd name="connsiteY84" fmla="*/ 446466 h 580273"/>
                    <a:gd name="connsiteX85" fmla="*/ 452971 w 455875"/>
                    <a:gd name="connsiteY85" fmla="*/ 456963 h 580273"/>
                    <a:gd name="connsiteX86" fmla="*/ 455609 w 455875"/>
                    <a:gd name="connsiteY86" fmla="*/ 460230 h 580273"/>
                    <a:gd name="connsiteX87" fmla="*/ 454066 w 455875"/>
                    <a:gd name="connsiteY87" fmla="*/ 467859 h 580273"/>
                    <a:gd name="connsiteX88" fmla="*/ 449780 w 455875"/>
                    <a:gd name="connsiteY88" fmla="*/ 485957 h 580273"/>
                    <a:gd name="connsiteX89" fmla="*/ 434911 w 455875"/>
                    <a:gd name="connsiteY89" fmla="*/ 512675 h 580273"/>
                    <a:gd name="connsiteX90" fmla="*/ 427825 w 455875"/>
                    <a:gd name="connsiteY90" fmla="*/ 526286 h 580273"/>
                    <a:gd name="connsiteX91" fmla="*/ 425044 w 455875"/>
                    <a:gd name="connsiteY91" fmla="*/ 541526 h 580273"/>
                    <a:gd name="connsiteX92" fmla="*/ 425044 w 455875"/>
                    <a:gd name="connsiteY92" fmla="*/ 541526 h 58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455875" h="580273">
                      <a:moveTo>
                        <a:pt x="425044" y="541526"/>
                      </a:moveTo>
                      <a:cubicBezTo>
                        <a:pt x="421691" y="546746"/>
                        <a:pt x="424053" y="549031"/>
                        <a:pt x="417843" y="551718"/>
                      </a:cubicBezTo>
                      <a:cubicBezTo>
                        <a:pt x="415243" y="552841"/>
                        <a:pt x="410442" y="554508"/>
                        <a:pt x="407889" y="555061"/>
                      </a:cubicBezTo>
                      <a:cubicBezTo>
                        <a:pt x="402546" y="556204"/>
                        <a:pt x="393145" y="556051"/>
                        <a:pt x="390097" y="553013"/>
                      </a:cubicBezTo>
                      <a:cubicBezTo>
                        <a:pt x="382829" y="558699"/>
                        <a:pt x="373189" y="557575"/>
                        <a:pt x="368218" y="564833"/>
                      </a:cubicBezTo>
                      <a:cubicBezTo>
                        <a:pt x="366532" y="567291"/>
                        <a:pt x="366017" y="570720"/>
                        <a:pt x="362169" y="573044"/>
                      </a:cubicBezTo>
                      <a:cubicBezTo>
                        <a:pt x="359569" y="574616"/>
                        <a:pt x="354806" y="576235"/>
                        <a:pt x="355006" y="572692"/>
                      </a:cubicBezTo>
                      <a:cubicBezTo>
                        <a:pt x="352434" y="573549"/>
                        <a:pt x="342862" y="580778"/>
                        <a:pt x="340900" y="580245"/>
                      </a:cubicBezTo>
                      <a:cubicBezTo>
                        <a:pt x="336928" y="579159"/>
                        <a:pt x="341776" y="579588"/>
                        <a:pt x="340119" y="576711"/>
                      </a:cubicBezTo>
                      <a:cubicBezTo>
                        <a:pt x="340071" y="576635"/>
                        <a:pt x="340233" y="574130"/>
                        <a:pt x="340157" y="573644"/>
                      </a:cubicBezTo>
                      <a:cubicBezTo>
                        <a:pt x="339947" y="572234"/>
                        <a:pt x="337947" y="572091"/>
                        <a:pt x="337195" y="570796"/>
                      </a:cubicBezTo>
                      <a:cubicBezTo>
                        <a:pt x="335252" y="567386"/>
                        <a:pt x="336395" y="565900"/>
                        <a:pt x="330327" y="564957"/>
                      </a:cubicBezTo>
                      <a:cubicBezTo>
                        <a:pt x="327908" y="564576"/>
                        <a:pt x="325193" y="565738"/>
                        <a:pt x="322822" y="565224"/>
                      </a:cubicBezTo>
                      <a:cubicBezTo>
                        <a:pt x="320259" y="564671"/>
                        <a:pt x="319268" y="562795"/>
                        <a:pt x="315744" y="562366"/>
                      </a:cubicBezTo>
                      <a:cubicBezTo>
                        <a:pt x="306619" y="561252"/>
                        <a:pt x="296218" y="563081"/>
                        <a:pt x="288627" y="566948"/>
                      </a:cubicBezTo>
                      <a:cubicBezTo>
                        <a:pt x="283188" y="569729"/>
                        <a:pt x="276034" y="574720"/>
                        <a:pt x="270453" y="576178"/>
                      </a:cubicBezTo>
                      <a:cubicBezTo>
                        <a:pt x="264176" y="577816"/>
                        <a:pt x="255194" y="576206"/>
                        <a:pt x="248764" y="576197"/>
                      </a:cubicBezTo>
                      <a:cubicBezTo>
                        <a:pt x="234648" y="576187"/>
                        <a:pt x="220532" y="576206"/>
                        <a:pt x="206416" y="576206"/>
                      </a:cubicBezTo>
                      <a:cubicBezTo>
                        <a:pt x="171288" y="576216"/>
                        <a:pt x="136150" y="576206"/>
                        <a:pt x="101022" y="576206"/>
                      </a:cubicBezTo>
                      <a:cubicBezTo>
                        <a:pt x="79363" y="576216"/>
                        <a:pt x="57684" y="576216"/>
                        <a:pt x="36023" y="576216"/>
                      </a:cubicBezTo>
                      <a:cubicBezTo>
                        <a:pt x="53921" y="544707"/>
                        <a:pt x="71818" y="513217"/>
                        <a:pt x="89716" y="481709"/>
                      </a:cubicBezTo>
                      <a:cubicBezTo>
                        <a:pt x="59807" y="481709"/>
                        <a:pt x="29909" y="481709"/>
                        <a:pt x="0" y="481709"/>
                      </a:cubicBezTo>
                      <a:cubicBezTo>
                        <a:pt x="38100" y="394431"/>
                        <a:pt x="76200" y="307144"/>
                        <a:pt x="114291" y="219867"/>
                      </a:cubicBezTo>
                      <a:cubicBezTo>
                        <a:pt x="119472" y="207989"/>
                        <a:pt x="124577" y="196073"/>
                        <a:pt x="129854" y="184253"/>
                      </a:cubicBezTo>
                      <a:cubicBezTo>
                        <a:pt x="134903" y="191511"/>
                        <a:pt x="144409" y="191006"/>
                        <a:pt x="151648" y="193825"/>
                      </a:cubicBezTo>
                      <a:cubicBezTo>
                        <a:pt x="157077" y="195940"/>
                        <a:pt x="157506" y="194816"/>
                        <a:pt x="158982" y="200721"/>
                      </a:cubicBezTo>
                      <a:cubicBezTo>
                        <a:pt x="159439" y="202531"/>
                        <a:pt x="158144" y="204055"/>
                        <a:pt x="159105" y="206036"/>
                      </a:cubicBezTo>
                      <a:cubicBezTo>
                        <a:pt x="160973" y="209903"/>
                        <a:pt x="161115" y="207779"/>
                        <a:pt x="164611" y="210151"/>
                      </a:cubicBezTo>
                      <a:cubicBezTo>
                        <a:pt x="171107" y="214561"/>
                        <a:pt x="177003" y="220895"/>
                        <a:pt x="185242" y="220362"/>
                      </a:cubicBezTo>
                      <a:cubicBezTo>
                        <a:pt x="194672" y="219762"/>
                        <a:pt x="205207" y="214114"/>
                        <a:pt x="210750" y="206779"/>
                      </a:cubicBezTo>
                      <a:cubicBezTo>
                        <a:pt x="221589" y="192463"/>
                        <a:pt x="233962" y="181119"/>
                        <a:pt x="241325" y="164593"/>
                      </a:cubicBezTo>
                      <a:cubicBezTo>
                        <a:pt x="245202" y="155906"/>
                        <a:pt x="251136" y="148620"/>
                        <a:pt x="255489" y="140218"/>
                      </a:cubicBezTo>
                      <a:cubicBezTo>
                        <a:pt x="259880" y="131732"/>
                        <a:pt x="259156" y="122178"/>
                        <a:pt x="262985" y="113482"/>
                      </a:cubicBezTo>
                      <a:cubicBezTo>
                        <a:pt x="265586" y="107586"/>
                        <a:pt x="263443" y="104300"/>
                        <a:pt x="264700" y="98461"/>
                      </a:cubicBezTo>
                      <a:cubicBezTo>
                        <a:pt x="265690" y="93822"/>
                        <a:pt x="269510" y="89631"/>
                        <a:pt x="271986" y="85669"/>
                      </a:cubicBezTo>
                      <a:cubicBezTo>
                        <a:pt x="274891" y="81030"/>
                        <a:pt x="278349" y="60008"/>
                        <a:pt x="287807" y="66038"/>
                      </a:cubicBezTo>
                      <a:cubicBezTo>
                        <a:pt x="289846" y="59218"/>
                        <a:pt x="285150" y="61123"/>
                        <a:pt x="283836" y="56818"/>
                      </a:cubicBezTo>
                      <a:cubicBezTo>
                        <a:pt x="282340" y="51893"/>
                        <a:pt x="289370" y="43930"/>
                        <a:pt x="293189" y="39968"/>
                      </a:cubicBezTo>
                      <a:cubicBezTo>
                        <a:pt x="293761" y="40930"/>
                        <a:pt x="294847" y="41549"/>
                        <a:pt x="295370" y="42444"/>
                      </a:cubicBezTo>
                      <a:cubicBezTo>
                        <a:pt x="297094" y="33500"/>
                        <a:pt x="303562" y="26290"/>
                        <a:pt x="307077" y="17832"/>
                      </a:cubicBezTo>
                      <a:cubicBezTo>
                        <a:pt x="309239" y="12641"/>
                        <a:pt x="309296" y="9783"/>
                        <a:pt x="313144" y="6554"/>
                      </a:cubicBezTo>
                      <a:cubicBezTo>
                        <a:pt x="314458" y="5440"/>
                        <a:pt x="321402" y="-85"/>
                        <a:pt x="322555" y="1"/>
                      </a:cubicBezTo>
                      <a:cubicBezTo>
                        <a:pt x="326612" y="353"/>
                        <a:pt x="323717" y="3935"/>
                        <a:pt x="324355" y="6668"/>
                      </a:cubicBezTo>
                      <a:cubicBezTo>
                        <a:pt x="324764" y="8383"/>
                        <a:pt x="327574" y="10545"/>
                        <a:pt x="328232" y="12841"/>
                      </a:cubicBezTo>
                      <a:cubicBezTo>
                        <a:pt x="328689" y="14450"/>
                        <a:pt x="328613" y="17708"/>
                        <a:pt x="328489" y="19394"/>
                      </a:cubicBezTo>
                      <a:cubicBezTo>
                        <a:pt x="327793" y="29347"/>
                        <a:pt x="321536" y="36720"/>
                        <a:pt x="334118" y="39301"/>
                      </a:cubicBezTo>
                      <a:cubicBezTo>
                        <a:pt x="333242" y="41578"/>
                        <a:pt x="330260" y="44292"/>
                        <a:pt x="329879" y="46521"/>
                      </a:cubicBezTo>
                      <a:cubicBezTo>
                        <a:pt x="329041" y="51341"/>
                        <a:pt x="330832" y="49493"/>
                        <a:pt x="332365" y="52960"/>
                      </a:cubicBezTo>
                      <a:cubicBezTo>
                        <a:pt x="335146" y="59199"/>
                        <a:pt x="335480" y="66352"/>
                        <a:pt x="334852" y="73496"/>
                      </a:cubicBezTo>
                      <a:cubicBezTo>
                        <a:pt x="334575" y="76639"/>
                        <a:pt x="334013" y="79897"/>
                        <a:pt x="333527" y="82945"/>
                      </a:cubicBezTo>
                      <a:cubicBezTo>
                        <a:pt x="332889" y="87040"/>
                        <a:pt x="331003" y="90698"/>
                        <a:pt x="330251" y="94870"/>
                      </a:cubicBezTo>
                      <a:cubicBezTo>
                        <a:pt x="329642" y="98261"/>
                        <a:pt x="329165" y="111281"/>
                        <a:pt x="330584" y="114272"/>
                      </a:cubicBezTo>
                      <a:cubicBezTo>
                        <a:pt x="334309" y="122064"/>
                        <a:pt x="341157" y="115053"/>
                        <a:pt x="346072" y="113044"/>
                      </a:cubicBezTo>
                      <a:cubicBezTo>
                        <a:pt x="355940" y="108996"/>
                        <a:pt x="354473" y="115092"/>
                        <a:pt x="359073" y="121264"/>
                      </a:cubicBezTo>
                      <a:cubicBezTo>
                        <a:pt x="362988" y="126512"/>
                        <a:pt x="371104" y="129331"/>
                        <a:pt x="371160" y="135456"/>
                      </a:cubicBezTo>
                      <a:cubicBezTo>
                        <a:pt x="371208" y="141419"/>
                        <a:pt x="366656" y="149820"/>
                        <a:pt x="365970" y="156221"/>
                      </a:cubicBezTo>
                      <a:cubicBezTo>
                        <a:pt x="365170" y="163783"/>
                        <a:pt x="364198" y="169212"/>
                        <a:pt x="362007" y="176318"/>
                      </a:cubicBezTo>
                      <a:cubicBezTo>
                        <a:pt x="360407" y="181481"/>
                        <a:pt x="361722" y="196454"/>
                        <a:pt x="369732" y="195463"/>
                      </a:cubicBezTo>
                      <a:cubicBezTo>
                        <a:pt x="364712" y="202960"/>
                        <a:pt x="369446" y="213875"/>
                        <a:pt x="365417" y="222476"/>
                      </a:cubicBezTo>
                      <a:cubicBezTo>
                        <a:pt x="362693" y="228286"/>
                        <a:pt x="350082" y="243631"/>
                        <a:pt x="362608" y="247165"/>
                      </a:cubicBezTo>
                      <a:cubicBezTo>
                        <a:pt x="357969" y="254461"/>
                        <a:pt x="355749" y="261005"/>
                        <a:pt x="364064" y="266377"/>
                      </a:cubicBezTo>
                      <a:cubicBezTo>
                        <a:pt x="367341" y="268501"/>
                        <a:pt x="370847" y="267730"/>
                        <a:pt x="373952" y="269311"/>
                      </a:cubicBezTo>
                      <a:cubicBezTo>
                        <a:pt x="375009" y="269854"/>
                        <a:pt x="375666" y="273445"/>
                        <a:pt x="376285" y="273635"/>
                      </a:cubicBezTo>
                      <a:cubicBezTo>
                        <a:pt x="377828" y="274130"/>
                        <a:pt x="379924" y="273664"/>
                        <a:pt x="381315" y="274121"/>
                      </a:cubicBezTo>
                      <a:cubicBezTo>
                        <a:pt x="386496" y="275845"/>
                        <a:pt x="383505" y="272683"/>
                        <a:pt x="386639" y="277388"/>
                      </a:cubicBezTo>
                      <a:cubicBezTo>
                        <a:pt x="388611" y="280360"/>
                        <a:pt x="388029" y="283065"/>
                        <a:pt x="391163" y="285894"/>
                      </a:cubicBezTo>
                      <a:cubicBezTo>
                        <a:pt x="393725" y="288199"/>
                        <a:pt x="396535" y="288294"/>
                        <a:pt x="399469" y="290456"/>
                      </a:cubicBezTo>
                      <a:cubicBezTo>
                        <a:pt x="401050" y="291618"/>
                        <a:pt x="402155" y="293933"/>
                        <a:pt x="403746" y="294866"/>
                      </a:cubicBezTo>
                      <a:cubicBezTo>
                        <a:pt x="404984" y="295581"/>
                        <a:pt x="407222" y="295324"/>
                        <a:pt x="408299" y="296095"/>
                      </a:cubicBezTo>
                      <a:cubicBezTo>
                        <a:pt x="410661" y="297800"/>
                        <a:pt x="413242" y="299753"/>
                        <a:pt x="413851" y="303077"/>
                      </a:cubicBezTo>
                      <a:cubicBezTo>
                        <a:pt x="415224" y="310554"/>
                        <a:pt x="411956" y="305125"/>
                        <a:pt x="410003" y="307487"/>
                      </a:cubicBezTo>
                      <a:cubicBezTo>
                        <a:pt x="403431" y="315450"/>
                        <a:pt x="412756" y="319260"/>
                        <a:pt x="414624" y="327385"/>
                      </a:cubicBezTo>
                      <a:cubicBezTo>
                        <a:pt x="415766" y="332357"/>
                        <a:pt x="414785" y="341205"/>
                        <a:pt x="414404" y="345435"/>
                      </a:cubicBezTo>
                      <a:cubicBezTo>
                        <a:pt x="413661" y="353693"/>
                        <a:pt x="409861" y="360941"/>
                        <a:pt x="410023" y="369628"/>
                      </a:cubicBezTo>
                      <a:cubicBezTo>
                        <a:pt x="411270" y="368818"/>
                        <a:pt x="413080" y="369047"/>
                        <a:pt x="414424" y="368028"/>
                      </a:cubicBezTo>
                      <a:cubicBezTo>
                        <a:pt x="414652" y="369904"/>
                        <a:pt x="416014" y="371371"/>
                        <a:pt x="416490" y="373086"/>
                      </a:cubicBezTo>
                      <a:cubicBezTo>
                        <a:pt x="419605" y="370380"/>
                        <a:pt x="417900" y="365304"/>
                        <a:pt x="421624" y="362589"/>
                      </a:cubicBezTo>
                      <a:cubicBezTo>
                        <a:pt x="426348" y="359151"/>
                        <a:pt x="424310" y="362561"/>
                        <a:pt x="426634" y="365771"/>
                      </a:cubicBezTo>
                      <a:cubicBezTo>
                        <a:pt x="427501" y="366961"/>
                        <a:pt x="431806" y="373486"/>
                        <a:pt x="433531" y="373333"/>
                      </a:cubicBezTo>
                      <a:cubicBezTo>
                        <a:pt x="436055" y="373133"/>
                        <a:pt x="435512" y="366875"/>
                        <a:pt x="438550" y="367437"/>
                      </a:cubicBezTo>
                      <a:cubicBezTo>
                        <a:pt x="444570" y="368542"/>
                        <a:pt x="433464" y="387459"/>
                        <a:pt x="432045" y="390583"/>
                      </a:cubicBezTo>
                      <a:cubicBezTo>
                        <a:pt x="428616" y="398184"/>
                        <a:pt x="427577" y="404471"/>
                        <a:pt x="432082" y="411957"/>
                      </a:cubicBezTo>
                      <a:cubicBezTo>
                        <a:pt x="436112" y="418634"/>
                        <a:pt x="445780" y="418691"/>
                        <a:pt x="447532" y="425416"/>
                      </a:cubicBezTo>
                      <a:cubicBezTo>
                        <a:pt x="448503" y="429188"/>
                        <a:pt x="445904" y="433769"/>
                        <a:pt x="447560" y="437541"/>
                      </a:cubicBezTo>
                      <a:cubicBezTo>
                        <a:pt x="449532" y="442037"/>
                        <a:pt x="452524" y="441580"/>
                        <a:pt x="453247" y="446466"/>
                      </a:cubicBezTo>
                      <a:cubicBezTo>
                        <a:pt x="453733" y="449762"/>
                        <a:pt x="451838" y="453238"/>
                        <a:pt x="452971" y="456963"/>
                      </a:cubicBezTo>
                      <a:cubicBezTo>
                        <a:pt x="453409" y="458392"/>
                        <a:pt x="455276" y="458382"/>
                        <a:pt x="455609" y="460230"/>
                      </a:cubicBezTo>
                      <a:cubicBezTo>
                        <a:pt x="456390" y="464573"/>
                        <a:pt x="455323" y="463926"/>
                        <a:pt x="454066" y="467859"/>
                      </a:cubicBezTo>
                      <a:cubicBezTo>
                        <a:pt x="451456" y="476089"/>
                        <a:pt x="454990" y="479575"/>
                        <a:pt x="449780" y="485957"/>
                      </a:cubicBezTo>
                      <a:cubicBezTo>
                        <a:pt x="443151" y="494091"/>
                        <a:pt x="440503" y="503912"/>
                        <a:pt x="434911" y="512675"/>
                      </a:cubicBezTo>
                      <a:cubicBezTo>
                        <a:pt x="431568" y="517913"/>
                        <a:pt x="429016" y="519933"/>
                        <a:pt x="427825" y="526286"/>
                      </a:cubicBezTo>
                      <a:cubicBezTo>
                        <a:pt x="426844" y="531382"/>
                        <a:pt x="426968" y="536649"/>
                        <a:pt x="425044" y="541526"/>
                      </a:cubicBezTo>
                      <a:lnTo>
                        <a:pt x="425044" y="541526"/>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34" name="Freeform: Shape 533">
                  <a:extLst>
                    <a:ext uri="{FF2B5EF4-FFF2-40B4-BE49-F238E27FC236}">
                      <a16:creationId xmlns:a16="http://schemas.microsoft.com/office/drawing/2014/main" id="{A36F9A31-1CA2-4D48-A666-E8B62507CF7B}"/>
                    </a:ext>
                  </a:extLst>
                </p:cNvPr>
                <p:cNvSpPr/>
                <p:nvPr/>
              </p:nvSpPr>
              <p:spPr>
                <a:xfrm>
                  <a:off x="9354168" y="5182609"/>
                  <a:ext cx="456266" cy="381038"/>
                </a:xfrm>
                <a:custGeom>
                  <a:avLst/>
                  <a:gdLst>
                    <a:gd name="connsiteX0" fmla="*/ 402555 w 456266"/>
                    <a:gd name="connsiteY0" fmla="*/ 95753 h 381038"/>
                    <a:gd name="connsiteX1" fmla="*/ 301057 w 456266"/>
                    <a:gd name="connsiteY1" fmla="*/ 254648 h 381038"/>
                    <a:gd name="connsiteX2" fmla="*/ 300228 w 456266"/>
                    <a:gd name="connsiteY2" fmla="*/ 253439 h 381038"/>
                    <a:gd name="connsiteX3" fmla="*/ 229267 w 456266"/>
                    <a:gd name="connsiteY3" fmla="*/ 351451 h 381038"/>
                    <a:gd name="connsiteX4" fmla="*/ 204301 w 456266"/>
                    <a:gd name="connsiteY4" fmla="*/ 381026 h 381038"/>
                    <a:gd name="connsiteX5" fmla="*/ 194663 w 456266"/>
                    <a:gd name="connsiteY5" fmla="*/ 362253 h 381038"/>
                    <a:gd name="connsiteX6" fmla="*/ 204225 w 456266"/>
                    <a:gd name="connsiteY6" fmla="*/ 342269 h 381038"/>
                    <a:gd name="connsiteX7" fmla="*/ 212960 w 456266"/>
                    <a:gd name="connsiteY7" fmla="*/ 317171 h 381038"/>
                    <a:gd name="connsiteX8" fmla="*/ 207931 w 456266"/>
                    <a:gd name="connsiteY8" fmla="*/ 305407 h 381038"/>
                    <a:gd name="connsiteX9" fmla="*/ 215551 w 456266"/>
                    <a:gd name="connsiteY9" fmla="*/ 301245 h 381038"/>
                    <a:gd name="connsiteX10" fmla="*/ 221847 w 456266"/>
                    <a:gd name="connsiteY10" fmla="*/ 297349 h 381038"/>
                    <a:gd name="connsiteX11" fmla="*/ 212227 w 456266"/>
                    <a:gd name="connsiteY11" fmla="*/ 298921 h 381038"/>
                    <a:gd name="connsiteX12" fmla="*/ 185185 w 456266"/>
                    <a:gd name="connsiteY12" fmla="*/ 304074 h 381038"/>
                    <a:gd name="connsiteX13" fmla="*/ 207454 w 456266"/>
                    <a:gd name="connsiteY13" fmla="*/ 285538 h 381038"/>
                    <a:gd name="connsiteX14" fmla="*/ 213798 w 456266"/>
                    <a:gd name="connsiteY14" fmla="*/ 258621 h 381038"/>
                    <a:gd name="connsiteX15" fmla="*/ 187566 w 456266"/>
                    <a:gd name="connsiteY15" fmla="*/ 283624 h 381038"/>
                    <a:gd name="connsiteX16" fmla="*/ 156163 w 456266"/>
                    <a:gd name="connsiteY16" fmla="*/ 292330 h 381038"/>
                    <a:gd name="connsiteX17" fmla="*/ 168459 w 456266"/>
                    <a:gd name="connsiteY17" fmla="*/ 282262 h 381038"/>
                    <a:gd name="connsiteX18" fmla="*/ 181156 w 456266"/>
                    <a:gd name="connsiteY18" fmla="*/ 278890 h 381038"/>
                    <a:gd name="connsiteX19" fmla="*/ 199663 w 456266"/>
                    <a:gd name="connsiteY19" fmla="*/ 255877 h 381038"/>
                    <a:gd name="connsiteX20" fmla="*/ 224114 w 456266"/>
                    <a:gd name="connsiteY20" fmla="*/ 235103 h 381038"/>
                    <a:gd name="connsiteX21" fmla="*/ 227333 w 456266"/>
                    <a:gd name="connsiteY21" fmla="*/ 228102 h 381038"/>
                    <a:gd name="connsiteX22" fmla="*/ 233725 w 456266"/>
                    <a:gd name="connsiteY22" fmla="*/ 224454 h 381038"/>
                    <a:gd name="connsiteX23" fmla="*/ 238144 w 456266"/>
                    <a:gd name="connsiteY23" fmla="*/ 208471 h 381038"/>
                    <a:gd name="connsiteX24" fmla="*/ 210093 w 456266"/>
                    <a:gd name="connsiteY24" fmla="*/ 233389 h 381038"/>
                    <a:gd name="connsiteX25" fmla="*/ 178137 w 456266"/>
                    <a:gd name="connsiteY25" fmla="*/ 249848 h 381038"/>
                    <a:gd name="connsiteX26" fmla="*/ 147228 w 456266"/>
                    <a:gd name="connsiteY26" fmla="*/ 269488 h 381038"/>
                    <a:gd name="connsiteX27" fmla="*/ 140170 w 456266"/>
                    <a:gd name="connsiteY27" fmla="*/ 274079 h 381038"/>
                    <a:gd name="connsiteX28" fmla="*/ 138398 w 456266"/>
                    <a:gd name="connsiteY28" fmla="*/ 280214 h 381038"/>
                    <a:gd name="connsiteX29" fmla="*/ 127235 w 456266"/>
                    <a:gd name="connsiteY29" fmla="*/ 282861 h 381038"/>
                    <a:gd name="connsiteX30" fmla="*/ 119691 w 456266"/>
                    <a:gd name="connsiteY30" fmla="*/ 271717 h 381038"/>
                    <a:gd name="connsiteX31" fmla="*/ 130207 w 456266"/>
                    <a:gd name="connsiteY31" fmla="*/ 268231 h 381038"/>
                    <a:gd name="connsiteX32" fmla="*/ 134388 w 456266"/>
                    <a:gd name="connsiteY32" fmla="*/ 246781 h 381038"/>
                    <a:gd name="connsiteX33" fmla="*/ 135427 w 456266"/>
                    <a:gd name="connsiteY33" fmla="*/ 235827 h 381038"/>
                    <a:gd name="connsiteX34" fmla="*/ 131836 w 456266"/>
                    <a:gd name="connsiteY34" fmla="*/ 227645 h 381038"/>
                    <a:gd name="connsiteX35" fmla="*/ 125454 w 456266"/>
                    <a:gd name="connsiteY35" fmla="*/ 220816 h 381038"/>
                    <a:gd name="connsiteX36" fmla="*/ 131873 w 456266"/>
                    <a:gd name="connsiteY36" fmla="*/ 213263 h 381038"/>
                    <a:gd name="connsiteX37" fmla="*/ 132655 w 456266"/>
                    <a:gd name="connsiteY37" fmla="*/ 205395 h 381038"/>
                    <a:gd name="connsiteX38" fmla="*/ 124501 w 456266"/>
                    <a:gd name="connsiteY38" fmla="*/ 196422 h 381038"/>
                    <a:gd name="connsiteX39" fmla="*/ 113586 w 456266"/>
                    <a:gd name="connsiteY39" fmla="*/ 196070 h 381038"/>
                    <a:gd name="connsiteX40" fmla="*/ 102851 w 456266"/>
                    <a:gd name="connsiteY40" fmla="*/ 188774 h 381038"/>
                    <a:gd name="connsiteX41" fmla="*/ 90516 w 456266"/>
                    <a:gd name="connsiteY41" fmla="*/ 190917 h 381038"/>
                    <a:gd name="connsiteX42" fmla="*/ 80506 w 456266"/>
                    <a:gd name="connsiteY42" fmla="*/ 182201 h 381038"/>
                    <a:gd name="connsiteX43" fmla="*/ 59912 w 456266"/>
                    <a:gd name="connsiteY43" fmla="*/ 176324 h 381038"/>
                    <a:gd name="connsiteX44" fmla="*/ 32261 w 456266"/>
                    <a:gd name="connsiteY44" fmla="*/ 177267 h 381038"/>
                    <a:gd name="connsiteX45" fmla="*/ 0 w 456266"/>
                    <a:gd name="connsiteY45" fmla="*/ 180611 h 381038"/>
                    <a:gd name="connsiteX46" fmla="*/ 54436 w 456266"/>
                    <a:gd name="connsiteY46" fmla="*/ 80360 h 381038"/>
                    <a:gd name="connsiteX47" fmla="*/ 88049 w 456266"/>
                    <a:gd name="connsiteY47" fmla="*/ 18457 h 381038"/>
                    <a:gd name="connsiteX48" fmla="*/ 100156 w 456266"/>
                    <a:gd name="connsiteY48" fmla="*/ 1303 h 381038"/>
                    <a:gd name="connsiteX49" fmla="*/ 143599 w 456266"/>
                    <a:gd name="connsiteY49" fmla="*/ 1284 h 381038"/>
                    <a:gd name="connsiteX50" fmla="*/ 218780 w 456266"/>
                    <a:gd name="connsiteY50" fmla="*/ 1264 h 381038"/>
                    <a:gd name="connsiteX51" fmla="*/ 354939 w 456266"/>
                    <a:gd name="connsiteY51" fmla="*/ 1255 h 381038"/>
                    <a:gd name="connsiteX52" fmla="*/ 456266 w 456266"/>
                    <a:gd name="connsiteY52" fmla="*/ 1255 h 381038"/>
                    <a:gd name="connsiteX53" fmla="*/ 402555 w 456266"/>
                    <a:gd name="connsiteY53" fmla="*/ 95753 h 381038"/>
                    <a:gd name="connsiteX54" fmla="*/ 402555 w 456266"/>
                    <a:gd name="connsiteY54" fmla="*/ 95753 h 381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56266" h="381038">
                      <a:moveTo>
                        <a:pt x="402555" y="95753"/>
                      </a:moveTo>
                      <a:cubicBezTo>
                        <a:pt x="368722" y="148721"/>
                        <a:pt x="334889" y="201680"/>
                        <a:pt x="301057" y="254648"/>
                      </a:cubicBezTo>
                      <a:cubicBezTo>
                        <a:pt x="300818" y="254430"/>
                        <a:pt x="300524" y="253734"/>
                        <a:pt x="300228" y="253439"/>
                      </a:cubicBezTo>
                      <a:cubicBezTo>
                        <a:pt x="276606" y="286129"/>
                        <a:pt x="252917" y="318780"/>
                        <a:pt x="229267" y="351451"/>
                      </a:cubicBezTo>
                      <a:cubicBezTo>
                        <a:pt x="223914" y="358843"/>
                        <a:pt x="213503" y="380636"/>
                        <a:pt x="204301" y="381026"/>
                      </a:cubicBezTo>
                      <a:cubicBezTo>
                        <a:pt x="193377" y="381483"/>
                        <a:pt x="196101" y="369558"/>
                        <a:pt x="194663" y="362253"/>
                      </a:cubicBezTo>
                      <a:cubicBezTo>
                        <a:pt x="192719" y="352356"/>
                        <a:pt x="197558" y="348965"/>
                        <a:pt x="204225" y="342269"/>
                      </a:cubicBezTo>
                      <a:cubicBezTo>
                        <a:pt x="210464" y="336011"/>
                        <a:pt x="214389" y="326334"/>
                        <a:pt x="212960" y="317171"/>
                      </a:cubicBezTo>
                      <a:cubicBezTo>
                        <a:pt x="212427" y="313789"/>
                        <a:pt x="207378" y="308274"/>
                        <a:pt x="207931" y="305407"/>
                      </a:cubicBezTo>
                      <a:cubicBezTo>
                        <a:pt x="208531" y="302226"/>
                        <a:pt x="212150" y="302759"/>
                        <a:pt x="215551" y="301245"/>
                      </a:cubicBezTo>
                      <a:cubicBezTo>
                        <a:pt x="215636" y="308513"/>
                        <a:pt x="222047" y="297873"/>
                        <a:pt x="221847" y="297349"/>
                      </a:cubicBezTo>
                      <a:cubicBezTo>
                        <a:pt x="220504" y="293749"/>
                        <a:pt x="214656" y="297930"/>
                        <a:pt x="212227" y="298921"/>
                      </a:cubicBezTo>
                      <a:cubicBezTo>
                        <a:pt x="204121" y="302245"/>
                        <a:pt x="194167" y="306607"/>
                        <a:pt x="185185" y="304074"/>
                      </a:cubicBezTo>
                      <a:cubicBezTo>
                        <a:pt x="192471" y="297597"/>
                        <a:pt x="201177" y="293311"/>
                        <a:pt x="207454" y="285538"/>
                      </a:cubicBezTo>
                      <a:cubicBezTo>
                        <a:pt x="213836" y="277642"/>
                        <a:pt x="213836" y="268346"/>
                        <a:pt x="213798" y="258621"/>
                      </a:cubicBezTo>
                      <a:cubicBezTo>
                        <a:pt x="204064" y="265993"/>
                        <a:pt x="196539" y="275375"/>
                        <a:pt x="187566" y="283624"/>
                      </a:cubicBezTo>
                      <a:cubicBezTo>
                        <a:pt x="180718" y="289910"/>
                        <a:pt x="165745" y="293834"/>
                        <a:pt x="156163" y="292330"/>
                      </a:cubicBezTo>
                      <a:cubicBezTo>
                        <a:pt x="159925" y="288767"/>
                        <a:pt x="163820" y="283586"/>
                        <a:pt x="168459" y="282262"/>
                      </a:cubicBezTo>
                      <a:cubicBezTo>
                        <a:pt x="174384" y="280576"/>
                        <a:pt x="175889" y="283071"/>
                        <a:pt x="181156" y="278890"/>
                      </a:cubicBezTo>
                      <a:cubicBezTo>
                        <a:pt x="188833" y="272784"/>
                        <a:pt x="192471" y="262726"/>
                        <a:pt x="199663" y="255877"/>
                      </a:cubicBezTo>
                      <a:cubicBezTo>
                        <a:pt x="207321" y="248600"/>
                        <a:pt x="219237" y="244009"/>
                        <a:pt x="224114" y="235103"/>
                      </a:cubicBezTo>
                      <a:cubicBezTo>
                        <a:pt x="225285" y="232979"/>
                        <a:pt x="225580" y="229931"/>
                        <a:pt x="227333" y="228102"/>
                      </a:cubicBezTo>
                      <a:cubicBezTo>
                        <a:pt x="228876" y="226483"/>
                        <a:pt x="232115" y="226340"/>
                        <a:pt x="233725" y="224454"/>
                      </a:cubicBezTo>
                      <a:cubicBezTo>
                        <a:pt x="236658" y="221016"/>
                        <a:pt x="239135" y="213015"/>
                        <a:pt x="238144" y="208471"/>
                      </a:cubicBezTo>
                      <a:cubicBezTo>
                        <a:pt x="230457" y="219520"/>
                        <a:pt x="219770" y="224235"/>
                        <a:pt x="210093" y="233389"/>
                      </a:cubicBezTo>
                      <a:cubicBezTo>
                        <a:pt x="200110" y="242828"/>
                        <a:pt x="190243" y="244400"/>
                        <a:pt x="178137" y="249848"/>
                      </a:cubicBezTo>
                      <a:cubicBezTo>
                        <a:pt x="166897" y="254896"/>
                        <a:pt x="157515" y="262764"/>
                        <a:pt x="147228" y="269488"/>
                      </a:cubicBezTo>
                      <a:cubicBezTo>
                        <a:pt x="145447" y="270651"/>
                        <a:pt x="141341" y="272517"/>
                        <a:pt x="140170" y="274079"/>
                      </a:cubicBezTo>
                      <a:cubicBezTo>
                        <a:pt x="138675" y="276080"/>
                        <a:pt x="139913" y="277937"/>
                        <a:pt x="138398" y="280214"/>
                      </a:cubicBezTo>
                      <a:cubicBezTo>
                        <a:pt x="133198" y="288091"/>
                        <a:pt x="134674" y="277004"/>
                        <a:pt x="127235" y="282861"/>
                      </a:cubicBezTo>
                      <a:cubicBezTo>
                        <a:pt x="127092" y="278994"/>
                        <a:pt x="125044" y="269965"/>
                        <a:pt x="119691" y="271717"/>
                      </a:cubicBezTo>
                      <a:cubicBezTo>
                        <a:pt x="124739" y="264002"/>
                        <a:pt x="125311" y="276203"/>
                        <a:pt x="130207" y="268231"/>
                      </a:cubicBezTo>
                      <a:cubicBezTo>
                        <a:pt x="134055" y="261964"/>
                        <a:pt x="135274" y="253439"/>
                        <a:pt x="134388" y="246781"/>
                      </a:cubicBezTo>
                      <a:cubicBezTo>
                        <a:pt x="133655" y="241275"/>
                        <a:pt x="134598" y="241171"/>
                        <a:pt x="135427" y="235827"/>
                      </a:cubicBezTo>
                      <a:cubicBezTo>
                        <a:pt x="136179" y="231007"/>
                        <a:pt x="136103" y="229541"/>
                        <a:pt x="131836" y="227645"/>
                      </a:cubicBezTo>
                      <a:cubicBezTo>
                        <a:pt x="126254" y="225159"/>
                        <a:pt x="124444" y="228883"/>
                        <a:pt x="125454" y="220816"/>
                      </a:cubicBezTo>
                      <a:cubicBezTo>
                        <a:pt x="126321" y="213920"/>
                        <a:pt x="129064" y="216120"/>
                        <a:pt x="131873" y="213263"/>
                      </a:cubicBezTo>
                      <a:cubicBezTo>
                        <a:pt x="136217" y="208843"/>
                        <a:pt x="134826" y="209262"/>
                        <a:pt x="132655" y="205395"/>
                      </a:cubicBezTo>
                      <a:cubicBezTo>
                        <a:pt x="131140" y="202680"/>
                        <a:pt x="127473" y="197689"/>
                        <a:pt x="124501" y="196422"/>
                      </a:cubicBezTo>
                      <a:cubicBezTo>
                        <a:pt x="121187" y="195012"/>
                        <a:pt x="116967" y="197222"/>
                        <a:pt x="113586" y="196070"/>
                      </a:cubicBezTo>
                      <a:cubicBezTo>
                        <a:pt x="109518" y="194689"/>
                        <a:pt x="107194" y="189621"/>
                        <a:pt x="102851" y="188774"/>
                      </a:cubicBezTo>
                      <a:cubicBezTo>
                        <a:pt x="98774" y="187973"/>
                        <a:pt x="94459" y="191536"/>
                        <a:pt x="90516" y="190917"/>
                      </a:cubicBezTo>
                      <a:cubicBezTo>
                        <a:pt x="85516" y="190136"/>
                        <a:pt x="84039" y="185640"/>
                        <a:pt x="80506" y="182201"/>
                      </a:cubicBezTo>
                      <a:cubicBezTo>
                        <a:pt x="73771" y="175648"/>
                        <a:pt x="68694" y="173962"/>
                        <a:pt x="59912" y="176324"/>
                      </a:cubicBezTo>
                      <a:cubicBezTo>
                        <a:pt x="50797" y="178782"/>
                        <a:pt x="41596" y="176820"/>
                        <a:pt x="32261" y="177267"/>
                      </a:cubicBezTo>
                      <a:cubicBezTo>
                        <a:pt x="21593" y="177782"/>
                        <a:pt x="10525" y="178715"/>
                        <a:pt x="0" y="180611"/>
                      </a:cubicBezTo>
                      <a:cubicBezTo>
                        <a:pt x="16859" y="149064"/>
                        <a:pt x="36595" y="113269"/>
                        <a:pt x="54436" y="80360"/>
                      </a:cubicBezTo>
                      <a:cubicBezTo>
                        <a:pt x="65627" y="59710"/>
                        <a:pt x="76981" y="39136"/>
                        <a:pt x="88049" y="18457"/>
                      </a:cubicBezTo>
                      <a:cubicBezTo>
                        <a:pt x="91773" y="11514"/>
                        <a:pt x="94498" y="2579"/>
                        <a:pt x="100156" y="1303"/>
                      </a:cubicBezTo>
                      <a:cubicBezTo>
                        <a:pt x="113147" y="-1622"/>
                        <a:pt x="130254" y="1293"/>
                        <a:pt x="143599" y="1284"/>
                      </a:cubicBezTo>
                      <a:cubicBezTo>
                        <a:pt x="168659" y="1246"/>
                        <a:pt x="193720" y="1264"/>
                        <a:pt x="218780" y="1264"/>
                      </a:cubicBezTo>
                      <a:cubicBezTo>
                        <a:pt x="264166" y="1284"/>
                        <a:pt x="309553" y="1303"/>
                        <a:pt x="354939" y="1255"/>
                      </a:cubicBezTo>
                      <a:cubicBezTo>
                        <a:pt x="388096" y="1226"/>
                        <a:pt x="422453" y="1246"/>
                        <a:pt x="456266" y="1255"/>
                      </a:cubicBezTo>
                      <a:cubicBezTo>
                        <a:pt x="438350" y="32754"/>
                        <a:pt x="420452" y="64244"/>
                        <a:pt x="402555" y="95753"/>
                      </a:cubicBezTo>
                      <a:lnTo>
                        <a:pt x="402555" y="95753"/>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35" name="Freeform: Shape 534">
                  <a:extLst>
                    <a:ext uri="{FF2B5EF4-FFF2-40B4-BE49-F238E27FC236}">
                      <a16:creationId xmlns:a16="http://schemas.microsoft.com/office/drawing/2014/main" id="{BF03764A-001C-406B-9D12-CAF80117C49C}"/>
                    </a:ext>
                  </a:extLst>
                </p:cNvPr>
                <p:cNvSpPr/>
                <p:nvPr/>
              </p:nvSpPr>
              <p:spPr>
                <a:xfrm>
                  <a:off x="9451561" y="4717062"/>
                  <a:ext cx="406019" cy="467039"/>
                </a:xfrm>
                <a:custGeom>
                  <a:avLst/>
                  <a:gdLst>
                    <a:gd name="connsiteX0" fmla="*/ 398993 w 406019"/>
                    <a:gd name="connsiteY0" fmla="*/ 169337 h 467039"/>
                    <a:gd name="connsiteX1" fmla="*/ 295542 w 406019"/>
                    <a:gd name="connsiteY1" fmla="*/ 406395 h 467039"/>
                    <a:gd name="connsiteX2" fmla="*/ 273454 w 406019"/>
                    <a:gd name="connsiteY2" fmla="*/ 456849 h 467039"/>
                    <a:gd name="connsiteX3" fmla="*/ 264023 w 406019"/>
                    <a:gd name="connsiteY3" fmla="*/ 466869 h 467039"/>
                    <a:gd name="connsiteX4" fmla="*/ 129254 w 406019"/>
                    <a:gd name="connsiteY4" fmla="*/ 466802 h 467039"/>
                    <a:gd name="connsiteX5" fmla="*/ 0 w 406019"/>
                    <a:gd name="connsiteY5" fmla="*/ 466802 h 467039"/>
                    <a:gd name="connsiteX6" fmla="*/ 125302 w 406019"/>
                    <a:gd name="connsiteY6" fmla="*/ 147477 h 467039"/>
                    <a:gd name="connsiteX7" fmla="*/ 135579 w 406019"/>
                    <a:gd name="connsiteY7" fmla="*/ 121302 h 467039"/>
                    <a:gd name="connsiteX8" fmla="*/ 141504 w 406019"/>
                    <a:gd name="connsiteY8" fmla="*/ 125398 h 467039"/>
                    <a:gd name="connsiteX9" fmla="*/ 148228 w 406019"/>
                    <a:gd name="connsiteY9" fmla="*/ 116920 h 467039"/>
                    <a:gd name="connsiteX10" fmla="*/ 154667 w 406019"/>
                    <a:gd name="connsiteY10" fmla="*/ 124740 h 467039"/>
                    <a:gd name="connsiteX11" fmla="*/ 164154 w 406019"/>
                    <a:gd name="connsiteY11" fmla="*/ 114949 h 467039"/>
                    <a:gd name="connsiteX12" fmla="*/ 161944 w 406019"/>
                    <a:gd name="connsiteY12" fmla="*/ 106405 h 467039"/>
                    <a:gd name="connsiteX13" fmla="*/ 154144 w 406019"/>
                    <a:gd name="connsiteY13" fmla="*/ 102004 h 467039"/>
                    <a:gd name="connsiteX14" fmla="*/ 159078 w 406019"/>
                    <a:gd name="connsiteY14" fmla="*/ 94308 h 467039"/>
                    <a:gd name="connsiteX15" fmla="*/ 172069 w 406019"/>
                    <a:gd name="connsiteY15" fmla="*/ 80021 h 467039"/>
                    <a:gd name="connsiteX16" fmla="*/ 186385 w 406019"/>
                    <a:gd name="connsiteY16" fmla="*/ 70429 h 467039"/>
                    <a:gd name="connsiteX17" fmla="*/ 190138 w 406019"/>
                    <a:gd name="connsiteY17" fmla="*/ 55989 h 467039"/>
                    <a:gd name="connsiteX18" fmla="*/ 197454 w 406019"/>
                    <a:gd name="connsiteY18" fmla="*/ 50569 h 467039"/>
                    <a:gd name="connsiteX19" fmla="*/ 200454 w 406019"/>
                    <a:gd name="connsiteY19" fmla="*/ 47036 h 467039"/>
                    <a:gd name="connsiteX20" fmla="*/ 204083 w 406019"/>
                    <a:gd name="connsiteY20" fmla="*/ 46721 h 467039"/>
                    <a:gd name="connsiteX21" fmla="*/ 206588 w 406019"/>
                    <a:gd name="connsiteY21" fmla="*/ 46217 h 467039"/>
                    <a:gd name="connsiteX22" fmla="*/ 207979 w 406019"/>
                    <a:gd name="connsiteY22" fmla="*/ 40368 h 467039"/>
                    <a:gd name="connsiteX23" fmla="*/ 212350 w 406019"/>
                    <a:gd name="connsiteY23" fmla="*/ 40378 h 467039"/>
                    <a:gd name="connsiteX24" fmla="*/ 215361 w 406019"/>
                    <a:gd name="connsiteY24" fmla="*/ 43140 h 467039"/>
                    <a:gd name="connsiteX25" fmla="*/ 216351 w 406019"/>
                    <a:gd name="connsiteY25" fmla="*/ 40168 h 467039"/>
                    <a:gd name="connsiteX26" fmla="*/ 218113 w 406019"/>
                    <a:gd name="connsiteY26" fmla="*/ 37110 h 467039"/>
                    <a:gd name="connsiteX27" fmla="*/ 221590 w 406019"/>
                    <a:gd name="connsiteY27" fmla="*/ 36634 h 467039"/>
                    <a:gd name="connsiteX28" fmla="*/ 224314 w 406019"/>
                    <a:gd name="connsiteY28" fmla="*/ 31748 h 467039"/>
                    <a:gd name="connsiteX29" fmla="*/ 232039 w 406019"/>
                    <a:gd name="connsiteY29" fmla="*/ 27976 h 467039"/>
                    <a:gd name="connsiteX30" fmla="*/ 247602 w 406019"/>
                    <a:gd name="connsiteY30" fmla="*/ 33624 h 467039"/>
                    <a:gd name="connsiteX31" fmla="*/ 257518 w 406019"/>
                    <a:gd name="connsiteY31" fmla="*/ 33424 h 467039"/>
                    <a:gd name="connsiteX32" fmla="*/ 265176 w 406019"/>
                    <a:gd name="connsiteY32" fmla="*/ 35139 h 467039"/>
                    <a:gd name="connsiteX33" fmla="*/ 275901 w 406019"/>
                    <a:gd name="connsiteY33" fmla="*/ 29729 h 467039"/>
                    <a:gd name="connsiteX34" fmla="*/ 276606 w 406019"/>
                    <a:gd name="connsiteY34" fmla="*/ 13155 h 467039"/>
                    <a:gd name="connsiteX35" fmla="*/ 267215 w 406019"/>
                    <a:gd name="connsiteY35" fmla="*/ 9078 h 467039"/>
                    <a:gd name="connsiteX36" fmla="*/ 258452 w 406019"/>
                    <a:gd name="connsiteY36" fmla="*/ 6335 h 467039"/>
                    <a:gd name="connsiteX37" fmla="*/ 254441 w 406019"/>
                    <a:gd name="connsiteY37" fmla="*/ 2697 h 467039"/>
                    <a:gd name="connsiteX38" fmla="*/ 262680 w 406019"/>
                    <a:gd name="connsiteY38" fmla="*/ 2497 h 467039"/>
                    <a:gd name="connsiteX39" fmla="*/ 265214 w 406019"/>
                    <a:gd name="connsiteY39" fmla="*/ 4030 h 467039"/>
                    <a:gd name="connsiteX40" fmla="*/ 267205 w 406019"/>
                    <a:gd name="connsiteY40" fmla="*/ 1868 h 467039"/>
                    <a:gd name="connsiteX41" fmla="*/ 274558 w 406019"/>
                    <a:gd name="connsiteY41" fmla="*/ 4297 h 467039"/>
                    <a:gd name="connsiteX42" fmla="*/ 281245 w 406019"/>
                    <a:gd name="connsiteY42" fmla="*/ 9450 h 467039"/>
                    <a:gd name="connsiteX43" fmla="*/ 290246 w 406019"/>
                    <a:gd name="connsiteY43" fmla="*/ 8202 h 467039"/>
                    <a:gd name="connsiteX44" fmla="*/ 293799 w 406019"/>
                    <a:gd name="connsiteY44" fmla="*/ 16575 h 467039"/>
                    <a:gd name="connsiteX45" fmla="*/ 303791 w 406019"/>
                    <a:gd name="connsiteY45" fmla="*/ 20042 h 467039"/>
                    <a:gd name="connsiteX46" fmla="*/ 322355 w 406019"/>
                    <a:gd name="connsiteY46" fmla="*/ 24480 h 467039"/>
                    <a:gd name="connsiteX47" fmla="*/ 330498 w 406019"/>
                    <a:gd name="connsiteY47" fmla="*/ 27538 h 467039"/>
                    <a:gd name="connsiteX48" fmla="*/ 340881 w 406019"/>
                    <a:gd name="connsiteY48" fmla="*/ 26481 h 467039"/>
                    <a:gd name="connsiteX49" fmla="*/ 348396 w 406019"/>
                    <a:gd name="connsiteY49" fmla="*/ 32081 h 467039"/>
                    <a:gd name="connsiteX50" fmla="*/ 358578 w 406019"/>
                    <a:gd name="connsiteY50" fmla="*/ 29729 h 467039"/>
                    <a:gd name="connsiteX51" fmla="*/ 378162 w 406019"/>
                    <a:gd name="connsiteY51" fmla="*/ 20356 h 467039"/>
                    <a:gd name="connsiteX52" fmla="*/ 374447 w 406019"/>
                    <a:gd name="connsiteY52" fmla="*/ 24299 h 467039"/>
                    <a:gd name="connsiteX53" fmla="*/ 376228 w 406019"/>
                    <a:gd name="connsiteY53" fmla="*/ 24890 h 467039"/>
                    <a:gd name="connsiteX54" fmla="*/ 368598 w 406019"/>
                    <a:gd name="connsiteY54" fmla="*/ 31519 h 467039"/>
                    <a:gd name="connsiteX55" fmla="*/ 376114 w 406019"/>
                    <a:gd name="connsiteY55" fmla="*/ 30653 h 467039"/>
                    <a:gd name="connsiteX56" fmla="*/ 380124 w 406019"/>
                    <a:gd name="connsiteY56" fmla="*/ 39377 h 467039"/>
                    <a:gd name="connsiteX57" fmla="*/ 386515 w 406019"/>
                    <a:gd name="connsiteY57" fmla="*/ 31814 h 467039"/>
                    <a:gd name="connsiteX58" fmla="*/ 393068 w 406019"/>
                    <a:gd name="connsiteY58" fmla="*/ 24566 h 467039"/>
                    <a:gd name="connsiteX59" fmla="*/ 399536 w 406019"/>
                    <a:gd name="connsiteY59" fmla="*/ 32624 h 467039"/>
                    <a:gd name="connsiteX60" fmla="*/ 405842 w 406019"/>
                    <a:gd name="connsiteY60" fmla="*/ 37015 h 467039"/>
                    <a:gd name="connsiteX61" fmla="*/ 392192 w 406019"/>
                    <a:gd name="connsiteY61" fmla="*/ 48388 h 467039"/>
                    <a:gd name="connsiteX62" fmla="*/ 389640 w 406019"/>
                    <a:gd name="connsiteY62" fmla="*/ 55989 h 467039"/>
                    <a:gd name="connsiteX63" fmla="*/ 381953 w 406019"/>
                    <a:gd name="connsiteY63" fmla="*/ 64790 h 467039"/>
                    <a:gd name="connsiteX64" fmla="*/ 379143 w 406019"/>
                    <a:gd name="connsiteY64" fmla="*/ 61704 h 467039"/>
                    <a:gd name="connsiteX65" fmla="*/ 374799 w 406019"/>
                    <a:gd name="connsiteY65" fmla="*/ 63066 h 467039"/>
                    <a:gd name="connsiteX66" fmla="*/ 365265 w 406019"/>
                    <a:gd name="connsiteY66" fmla="*/ 70715 h 467039"/>
                    <a:gd name="connsiteX67" fmla="*/ 363512 w 406019"/>
                    <a:gd name="connsiteY67" fmla="*/ 83364 h 467039"/>
                    <a:gd name="connsiteX68" fmla="*/ 356578 w 406019"/>
                    <a:gd name="connsiteY68" fmla="*/ 94337 h 467039"/>
                    <a:gd name="connsiteX69" fmla="*/ 336957 w 406019"/>
                    <a:gd name="connsiteY69" fmla="*/ 112730 h 467039"/>
                    <a:gd name="connsiteX70" fmla="*/ 354835 w 406019"/>
                    <a:gd name="connsiteY70" fmla="*/ 132618 h 467039"/>
                    <a:gd name="connsiteX71" fmla="*/ 361702 w 406019"/>
                    <a:gd name="connsiteY71" fmla="*/ 141409 h 467039"/>
                    <a:gd name="connsiteX72" fmla="*/ 368065 w 406019"/>
                    <a:gd name="connsiteY72" fmla="*/ 141933 h 467039"/>
                    <a:gd name="connsiteX73" fmla="*/ 368951 w 406019"/>
                    <a:gd name="connsiteY73" fmla="*/ 148496 h 467039"/>
                    <a:gd name="connsiteX74" fmla="*/ 374618 w 406019"/>
                    <a:gd name="connsiteY74" fmla="*/ 148124 h 467039"/>
                    <a:gd name="connsiteX75" fmla="*/ 379362 w 406019"/>
                    <a:gd name="connsiteY75" fmla="*/ 151287 h 467039"/>
                    <a:gd name="connsiteX76" fmla="*/ 389697 w 406019"/>
                    <a:gd name="connsiteY76" fmla="*/ 157640 h 467039"/>
                    <a:gd name="connsiteX77" fmla="*/ 398993 w 406019"/>
                    <a:gd name="connsiteY77" fmla="*/ 169337 h 467039"/>
                    <a:gd name="connsiteX78" fmla="*/ 398993 w 406019"/>
                    <a:gd name="connsiteY78" fmla="*/ 169337 h 467039"/>
                    <a:gd name="connsiteX79" fmla="*/ 242707 w 406019"/>
                    <a:gd name="connsiteY79" fmla="*/ 6373 h 467039"/>
                    <a:gd name="connsiteX80" fmla="*/ 228572 w 406019"/>
                    <a:gd name="connsiteY80" fmla="*/ 20089 h 467039"/>
                    <a:gd name="connsiteX81" fmla="*/ 215637 w 406019"/>
                    <a:gd name="connsiteY81" fmla="*/ 18651 h 467039"/>
                    <a:gd name="connsiteX82" fmla="*/ 209484 w 406019"/>
                    <a:gd name="connsiteY82" fmla="*/ 8383 h 467039"/>
                    <a:gd name="connsiteX83" fmla="*/ 210760 w 406019"/>
                    <a:gd name="connsiteY83" fmla="*/ 39 h 467039"/>
                    <a:gd name="connsiteX84" fmla="*/ 216646 w 406019"/>
                    <a:gd name="connsiteY84" fmla="*/ 6211 h 467039"/>
                    <a:gd name="connsiteX85" fmla="*/ 237677 w 406019"/>
                    <a:gd name="connsiteY85" fmla="*/ 296 h 467039"/>
                    <a:gd name="connsiteX86" fmla="*/ 242707 w 406019"/>
                    <a:gd name="connsiteY86" fmla="*/ 6373 h 467039"/>
                    <a:gd name="connsiteX87" fmla="*/ 242707 w 406019"/>
                    <a:gd name="connsiteY87" fmla="*/ 6373 h 467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06019" h="467039">
                      <a:moveTo>
                        <a:pt x="398993" y="169337"/>
                      </a:moveTo>
                      <a:cubicBezTo>
                        <a:pt x="364113" y="245260"/>
                        <a:pt x="329889" y="328061"/>
                        <a:pt x="295542" y="406395"/>
                      </a:cubicBezTo>
                      <a:cubicBezTo>
                        <a:pt x="288170" y="423216"/>
                        <a:pt x="280845" y="440094"/>
                        <a:pt x="273454" y="456849"/>
                      </a:cubicBezTo>
                      <a:cubicBezTo>
                        <a:pt x="269920" y="464850"/>
                        <a:pt x="271377" y="466793"/>
                        <a:pt x="264023" y="466869"/>
                      </a:cubicBezTo>
                      <a:cubicBezTo>
                        <a:pt x="219285" y="467326"/>
                        <a:pt x="174155" y="466707"/>
                        <a:pt x="129254" y="466802"/>
                      </a:cubicBezTo>
                      <a:cubicBezTo>
                        <a:pt x="86496" y="466898"/>
                        <a:pt x="41853" y="466793"/>
                        <a:pt x="0" y="466802"/>
                      </a:cubicBezTo>
                      <a:cubicBezTo>
                        <a:pt x="41786" y="360360"/>
                        <a:pt x="83544" y="253909"/>
                        <a:pt x="125302" y="147477"/>
                      </a:cubicBezTo>
                      <a:cubicBezTo>
                        <a:pt x="128654" y="138942"/>
                        <a:pt x="131302" y="129417"/>
                        <a:pt x="135579" y="121302"/>
                      </a:cubicBezTo>
                      <a:cubicBezTo>
                        <a:pt x="139722" y="113472"/>
                        <a:pt x="139694" y="118016"/>
                        <a:pt x="141504" y="125398"/>
                      </a:cubicBezTo>
                      <a:cubicBezTo>
                        <a:pt x="144085" y="121388"/>
                        <a:pt x="142666" y="116063"/>
                        <a:pt x="148228" y="116920"/>
                      </a:cubicBezTo>
                      <a:cubicBezTo>
                        <a:pt x="152076" y="117521"/>
                        <a:pt x="153238" y="122007"/>
                        <a:pt x="154667" y="124740"/>
                      </a:cubicBezTo>
                      <a:cubicBezTo>
                        <a:pt x="158268" y="117473"/>
                        <a:pt x="155163" y="116825"/>
                        <a:pt x="164154" y="114949"/>
                      </a:cubicBezTo>
                      <a:cubicBezTo>
                        <a:pt x="159782" y="112968"/>
                        <a:pt x="156343" y="109224"/>
                        <a:pt x="161944" y="106405"/>
                      </a:cubicBezTo>
                      <a:cubicBezTo>
                        <a:pt x="159506" y="106767"/>
                        <a:pt x="154810" y="104948"/>
                        <a:pt x="154144" y="102004"/>
                      </a:cubicBezTo>
                      <a:cubicBezTo>
                        <a:pt x="153543" y="99366"/>
                        <a:pt x="156953" y="96432"/>
                        <a:pt x="159078" y="94308"/>
                      </a:cubicBezTo>
                      <a:cubicBezTo>
                        <a:pt x="164478" y="88898"/>
                        <a:pt x="167783" y="86459"/>
                        <a:pt x="172069" y="80021"/>
                      </a:cubicBezTo>
                      <a:cubicBezTo>
                        <a:pt x="176403" y="73524"/>
                        <a:pt x="180937" y="74877"/>
                        <a:pt x="186385" y="70429"/>
                      </a:cubicBezTo>
                      <a:cubicBezTo>
                        <a:pt x="192557" y="65390"/>
                        <a:pt x="184823" y="61780"/>
                        <a:pt x="190138" y="55989"/>
                      </a:cubicBezTo>
                      <a:cubicBezTo>
                        <a:pt x="191729" y="54256"/>
                        <a:pt x="195529" y="52217"/>
                        <a:pt x="197454" y="50569"/>
                      </a:cubicBezTo>
                      <a:cubicBezTo>
                        <a:pt x="198682" y="49522"/>
                        <a:pt x="199120" y="48007"/>
                        <a:pt x="200454" y="47036"/>
                      </a:cubicBezTo>
                      <a:cubicBezTo>
                        <a:pt x="201378" y="46369"/>
                        <a:pt x="203540" y="47198"/>
                        <a:pt x="204083" y="46721"/>
                      </a:cubicBezTo>
                      <a:cubicBezTo>
                        <a:pt x="204445" y="46416"/>
                        <a:pt x="206026" y="46769"/>
                        <a:pt x="206588" y="46217"/>
                      </a:cubicBezTo>
                      <a:cubicBezTo>
                        <a:pt x="207816" y="45007"/>
                        <a:pt x="206579" y="41654"/>
                        <a:pt x="207979" y="40368"/>
                      </a:cubicBezTo>
                      <a:cubicBezTo>
                        <a:pt x="210770" y="37815"/>
                        <a:pt x="210560" y="40378"/>
                        <a:pt x="212350" y="40378"/>
                      </a:cubicBezTo>
                      <a:cubicBezTo>
                        <a:pt x="212684" y="40378"/>
                        <a:pt x="214160" y="43292"/>
                        <a:pt x="215361" y="43140"/>
                      </a:cubicBezTo>
                      <a:cubicBezTo>
                        <a:pt x="217037" y="42940"/>
                        <a:pt x="215713" y="40558"/>
                        <a:pt x="216351" y="40168"/>
                      </a:cubicBezTo>
                      <a:cubicBezTo>
                        <a:pt x="215151" y="40901"/>
                        <a:pt x="218837" y="36101"/>
                        <a:pt x="218113" y="37110"/>
                      </a:cubicBezTo>
                      <a:cubicBezTo>
                        <a:pt x="218751" y="36225"/>
                        <a:pt x="220875" y="37263"/>
                        <a:pt x="221590" y="36634"/>
                      </a:cubicBezTo>
                      <a:cubicBezTo>
                        <a:pt x="223314" y="35120"/>
                        <a:pt x="222409" y="33196"/>
                        <a:pt x="224314" y="31748"/>
                      </a:cubicBezTo>
                      <a:cubicBezTo>
                        <a:pt x="227048" y="29681"/>
                        <a:pt x="229857" y="32443"/>
                        <a:pt x="232039" y="27976"/>
                      </a:cubicBezTo>
                      <a:cubicBezTo>
                        <a:pt x="231629" y="37987"/>
                        <a:pt x="241392" y="33482"/>
                        <a:pt x="247602" y="33624"/>
                      </a:cubicBezTo>
                      <a:cubicBezTo>
                        <a:pt x="251098" y="33700"/>
                        <a:pt x="253994" y="33748"/>
                        <a:pt x="257518" y="33424"/>
                      </a:cubicBezTo>
                      <a:cubicBezTo>
                        <a:pt x="260823" y="33139"/>
                        <a:pt x="263281" y="30386"/>
                        <a:pt x="265176" y="35139"/>
                      </a:cubicBezTo>
                      <a:cubicBezTo>
                        <a:pt x="266567" y="29986"/>
                        <a:pt x="271368" y="29024"/>
                        <a:pt x="275901" y="29729"/>
                      </a:cubicBezTo>
                      <a:cubicBezTo>
                        <a:pt x="271101" y="24995"/>
                        <a:pt x="279035" y="17537"/>
                        <a:pt x="276606" y="13155"/>
                      </a:cubicBezTo>
                      <a:cubicBezTo>
                        <a:pt x="274634" y="9593"/>
                        <a:pt x="270806" y="9345"/>
                        <a:pt x="267215" y="9078"/>
                      </a:cubicBezTo>
                      <a:cubicBezTo>
                        <a:pt x="261071" y="8621"/>
                        <a:pt x="263214" y="10097"/>
                        <a:pt x="258452" y="6335"/>
                      </a:cubicBezTo>
                      <a:cubicBezTo>
                        <a:pt x="256861" y="5078"/>
                        <a:pt x="253937" y="4497"/>
                        <a:pt x="254441" y="2697"/>
                      </a:cubicBezTo>
                      <a:cubicBezTo>
                        <a:pt x="256108" y="-3247"/>
                        <a:pt x="261481" y="2487"/>
                        <a:pt x="262680" y="2497"/>
                      </a:cubicBezTo>
                      <a:cubicBezTo>
                        <a:pt x="263062" y="2497"/>
                        <a:pt x="264357" y="3964"/>
                        <a:pt x="265214" y="4030"/>
                      </a:cubicBezTo>
                      <a:cubicBezTo>
                        <a:pt x="266386" y="4135"/>
                        <a:pt x="266605" y="1811"/>
                        <a:pt x="267205" y="1868"/>
                      </a:cubicBezTo>
                      <a:cubicBezTo>
                        <a:pt x="270520" y="2182"/>
                        <a:pt x="270977" y="1297"/>
                        <a:pt x="274558" y="4297"/>
                      </a:cubicBezTo>
                      <a:cubicBezTo>
                        <a:pt x="277502" y="6754"/>
                        <a:pt x="278235" y="9183"/>
                        <a:pt x="281245" y="9450"/>
                      </a:cubicBezTo>
                      <a:cubicBezTo>
                        <a:pt x="284969" y="9783"/>
                        <a:pt x="286026" y="4668"/>
                        <a:pt x="290246" y="8202"/>
                      </a:cubicBezTo>
                      <a:cubicBezTo>
                        <a:pt x="292428" y="10031"/>
                        <a:pt x="291275" y="14622"/>
                        <a:pt x="293799" y="16575"/>
                      </a:cubicBezTo>
                      <a:cubicBezTo>
                        <a:pt x="294018" y="16756"/>
                        <a:pt x="302838" y="19832"/>
                        <a:pt x="303791" y="20042"/>
                      </a:cubicBezTo>
                      <a:cubicBezTo>
                        <a:pt x="310906" y="21661"/>
                        <a:pt x="315439" y="21108"/>
                        <a:pt x="322355" y="24480"/>
                      </a:cubicBezTo>
                      <a:cubicBezTo>
                        <a:pt x="324803" y="25661"/>
                        <a:pt x="327546" y="27443"/>
                        <a:pt x="330498" y="27538"/>
                      </a:cubicBezTo>
                      <a:cubicBezTo>
                        <a:pt x="334376" y="27671"/>
                        <a:pt x="337747" y="25414"/>
                        <a:pt x="340881" y="26481"/>
                      </a:cubicBezTo>
                      <a:cubicBezTo>
                        <a:pt x="343424" y="27338"/>
                        <a:pt x="344996" y="31253"/>
                        <a:pt x="348396" y="32081"/>
                      </a:cubicBezTo>
                      <a:cubicBezTo>
                        <a:pt x="353359" y="33300"/>
                        <a:pt x="354130" y="31576"/>
                        <a:pt x="358578" y="29729"/>
                      </a:cubicBezTo>
                      <a:cubicBezTo>
                        <a:pt x="364627" y="27223"/>
                        <a:pt x="372152" y="21575"/>
                        <a:pt x="378162" y="20356"/>
                      </a:cubicBezTo>
                      <a:cubicBezTo>
                        <a:pt x="376209" y="21375"/>
                        <a:pt x="375704" y="22937"/>
                        <a:pt x="374447" y="24299"/>
                      </a:cubicBezTo>
                      <a:cubicBezTo>
                        <a:pt x="375038" y="24500"/>
                        <a:pt x="375628" y="24700"/>
                        <a:pt x="376228" y="24890"/>
                      </a:cubicBezTo>
                      <a:cubicBezTo>
                        <a:pt x="374609" y="26376"/>
                        <a:pt x="368694" y="29243"/>
                        <a:pt x="368598" y="31519"/>
                      </a:cubicBezTo>
                      <a:cubicBezTo>
                        <a:pt x="368408" y="36272"/>
                        <a:pt x="374104" y="29881"/>
                        <a:pt x="376114" y="30653"/>
                      </a:cubicBezTo>
                      <a:cubicBezTo>
                        <a:pt x="380305" y="32272"/>
                        <a:pt x="375495" y="37691"/>
                        <a:pt x="380124" y="39377"/>
                      </a:cubicBezTo>
                      <a:cubicBezTo>
                        <a:pt x="386649" y="41740"/>
                        <a:pt x="385286" y="34329"/>
                        <a:pt x="386515" y="31814"/>
                      </a:cubicBezTo>
                      <a:cubicBezTo>
                        <a:pt x="386925" y="30957"/>
                        <a:pt x="389725" y="24861"/>
                        <a:pt x="393068" y="24566"/>
                      </a:cubicBezTo>
                      <a:cubicBezTo>
                        <a:pt x="398622" y="24109"/>
                        <a:pt x="395735" y="29300"/>
                        <a:pt x="399536" y="32624"/>
                      </a:cubicBezTo>
                      <a:cubicBezTo>
                        <a:pt x="401698" y="34510"/>
                        <a:pt x="407061" y="30929"/>
                        <a:pt x="405842" y="37015"/>
                      </a:cubicBezTo>
                      <a:cubicBezTo>
                        <a:pt x="405118" y="40654"/>
                        <a:pt x="394697" y="45464"/>
                        <a:pt x="392192" y="48388"/>
                      </a:cubicBezTo>
                      <a:cubicBezTo>
                        <a:pt x="388715" y="52474"/>
                        <a:pt x="391240" y="51731"/>
                        <a:pt x="389640" y="55989"/>
                      </a:cubicBezTo>
                      <a:cubicBezTo>
                        <a:pt x="388525" y="58961"/>
                        <a:pt x="385639" y="64114"/>
                        <a:pt x="381953" y="64790"/>
                      </a:cubicBezTo>
                      <a:cubicBezTo>
                        <a:pt x="381829" y="64809"/>
                        <a:pt x="380257" y="61704"/>
                        <a:pt x="379143" y="61704"/>
                      </a:cubicBezTo>
                      <a:cubicBezTo>
                        <a:pt x="377923" y="61695"/>
                        <a:pt x="376066" y="62752"/>
                        <a:pt x="374799" y="63066"/>
                      </a:cubicBezTo>
                      <a:cubicBezTo>
                        <a:pt x="369284" y="64381"/>
                        <a:pt x="367303" y="66324"/>
                        <a:pt x="365265" y="70715"/>
                      </a:cubicBezTo>
                      <a:cubicBezTo>
                        <a:pt x="363246" y="75087"/>
                        <a:pt x="364665" y="79144"/>
                        <a:pt x="363512" y="83364"/>
                      </a:cubicBezTo>
                      <a:cubicBezTo>
                        <a:pt x="362560" y="86869"/>
                        <a:pt x="358988" y="91832"/>
                        <a:pt x="356578" y="94337"/>
                      </a:cubicBezTo>
                      <a:cubicBezTo>
                        <a:pt x="351511" y="99642"/>
                        <a:pt x="339452" y="105757"/>
                        <a:pt x="336957" y="112730"/>
                      </a:cubicBezTo>
                      <a:cubicBezTo>
                        <a:pt x="333661" y="121940"/>
                        <a:pt x="350101" y="127017"/>
                        <a:pt x="354835" y="132618"/>
                      </a:cubicBezTo>
                      <a:cubicBezTo>
                        <a:pt x="357874" y="136218"/>
                        <a:pt x="355807" y="139352"/>
                        <a:pt x="361702" y="141409"/>
                      </a:cubicBezTo>
                      <a:cubicBezTo>
                        <a:pt x="363970" y="142209"/>
                        <a:pt x="365779" y="142352"/>
                        <a:pt x="368065" y="141933"/>
                      </a:cubicBezTo>
                      <a:cubicBezTo>
                        <a:pt x="365836" y="144838"/>
                        <a:pt x="366227" y="146753"/>
                        <a:pt x="368951" y="148496"/>
                      </a:cubicBezTo>
                      <a:cubicBezTo>
                        <a:pt x="370418" y="149439"/>
                        <a:pt x="373142" y="147648"/>
                        <a:pt x="374618" y="148124"/>
                      </a:cubicBezTo>
                      <a:cubicBezTo>
                        <a:pt x="376209" y="148639"/>
                        <a:pt x="377723" y="150267"/>
                        <a:pt x="379362" y="151287"/>
                      </a:cubicBezTo>
                      <a:cubicBezTo>
                        <a:pt x="382705" y="153392"/>
                        <a:pt x="386420" y="155449"/>
                        <a:pt x="389697" y="157640"/>
                      </a:cubicBezTo>
                      <a:cubicBezTo>
                        <a:pt x="394440" y="160812"/>
                        <a:pt x="395269" y="164888"/>
                        <a:pt x="398993" y="169337"/>
                      </a:cubicBezTo>
                      <a:lnTo>
                        <a:pt x="398993" y="169337"/>
                      </a:lnTo>
                      <a:close/>
                      <a:moveTo>
                        <a:pt x="242707" y="6373"/>
                      </a:moveTo>
                      <a:cubicBezTo>
                        <a:pt x="246917" y="9431"/>
                        <a:pt x="232153" y="18089"/>
                        <a:pt x="228572" y="20089"/>
                      </a:cubicBezTo>
                      <a:cubicBezTo>
                        <a:pt x="222247" y="23623"/>
                        <a:pt x="221628" y="23871"/>
                        <a:pt x="215637" y="18651"/>
                      </a:cubicBezTo>
                      <a:cubicBezTo>
                        <a:pt x="212274" y="15717"/>
                        <a:pt x="210274" y="12898"/>
                        <a:pt x="209484" y="8383"/>
                      </a:cubicBezTo>
                      <a:cubicBezTo>
                        <a:pt x="209236" y="6916"/>
                        <a:pt x="208969" y="401"/>
                        <a:pt x="210760" y="39"/>
                      </a:cubicBezTo>
                      <a:cubicBezTo>
                        <a:pt x="212484" y="-313"/>
                        <a:pt x="215084" y="5678"/>
                        <a:pt x="216646" y="6211"/>
                      </a:cubicBezTo>
                      <a:cubicBezTo>
                        <a:pt x="221561" y="7916"/>
                        <a:pt x="233782" y="3621"/>
                        <a:pt x="237677" y="296"/>
                      </a:cubicBezTo>
                      <a:cubicBezTo>
                        <a:pt x="239649" y="2344"/>
                        <a:pt x="241668" y="3792"/>
                        <a:pt x="242707" y="6373"/>
                      </a:cubicBezTo>
                      <a:lnTo>
                        <a:pt x="242707" y="6373"/>
                      </a:lnTo>
                      <a:close/>
                    </a:path>
                  </a:pathLst>
                </a:custGeom>
                <a:solidFill>
                  <a:srgbClr val="D6D6D2"/>
                </a:solidFill>
                <a:ln w="7144" cap="flat">
                  <a:solidFill>
                    <a:srgbClr val="FFFFFF"/>
                  </a:solidFill>
                  <a:prstDash val="solid"/>
                  <a:miter/>
                </a:ln>
              </p:spPr>
              <p:txBody>
                <a:bodyPr rtlCol="0" anchor="ctr"/>
                <a:lstStyle/>
                <a:p>
                  <a:endParaRPr lang="en-US"/>
                </a:p>
              </p:txBody>
            </p:sp>
            <p:sp>
              <p:nvSpPr>
                <p:cNvPr id="536" name="Freeform: Shape 535">
                  <a:extLst>
                    <a:ext uri="{FF2B5EF4-FFF2-40B4-BE49-F238E27FC236}">
                      <a16:creationId xmlns:a16="http://schemas.microsoft.com/office/drawing/2014/main" id="{687DC84A-B6A3-4D72-9044-D79B2867EE94}"/>
                    </a:ext>
                  </a:extLst>
                </p:cNvPr>
                <p:cNvSpPr/>
                <p:nvPr/>
              </p:nvSpPr>
              <p:spPr>
                <a:xfrm>
                  <a:off x="8902545" y="4798144"/>
                  <a:ext cx="686556" cy="671723"/>
                </a:xfrm>
                <a:custGeom>
                  <a:avLst/>
                  <a:gdLst>
                    <a:gd name="connsiteX0" fmla="*/ 548997 w 686556"/>
                    <a:gd name="connsiteY0" fmla="*/ 385711 h 671723"/>
                    <a:gd name="connsiteX1" fmla="*/ 504734 w 686556"/>
                    <a:gd name="connsiteY1" fmla="*/ 467245 h 671723"/>
                    <a:gd name="connsiteX2" fmla="*/ 472111 w 686556"/>
                    <a:gd name="connsiteY2" fmla="*/ 527329 h 671723"/>
                    <a:gd name="connsiteX3" fmla="*/ 452661 w 686556"/>
                    <a:gd name="connsiteY3" fmla="*/ 563162 h 671723"/>
                    <a:gd name="connsiteX4" fmla="*/ 420648 w 686556"/>
                    <a:gd name="connsiteY4" fmla="*/ 575811 h 671723"/>
                    <a:gd name="connsiteX5" fmla="*/ 379966 w 686556"/>
                    <a:gd name="connsiteY5" fmla="*/ 584326 h 671723"/>
                    <a:gd name="connsiteX6" fmla="*/ 357383 w 686556"/>
                    <a:gd name="connsiteY6" fmla="*/ 582907 h 671723"/>
                    <a:gd name="connsiteX7" fmla="*/ 336599 w 686556"/>
                    <a:gd name="connsiteY7" fmla="*/ 590679 h 671723"/>
                    <a:gd name="connsiteX8" fmla="*/ 294756 w 686556"/>
                    <a:gd name="connsiteY8" fmla="*/ 604795 h 671723"/>
                    <a:gd name="connsiteX9" fmla="*/ 256151 w 686556"/>
                    <a:gd name="connsiteY9" fmla="*/ 632599 h 671723"/>
                    <a:gd name="connsiteX10" fmla="*/ 245712 w 686556"/>
                    <a:gd name="connsiteY10" fmla="*/ 635180 h 671723"/>
                    <a:gd name="connsiteX11" fmla="*/ 240206 w 686556"/>
                    <a:gd name="connsiteY11" fmla="*/ 637057 h 671723"/>
                    <a:gd name="connsiteX12" fmla="*/ 235968 w 686556"/>
                    <a:gd name="connsiteY12" fmla="*/ 634190 h 671723"/>
                    <a:gd name="connsiteX13" fmla="*/ 210031 w 686556"/>
                    <a:gd name="connsiteY13" fmla="*/ 637485 h 671723"/>
                    <a:gd name="connsiteX14" fmla="*/ 162663 w 686556"/>
                    <a:gd name="connsiteY14" fmla="*/ 635885 h 671723"/>
                    <a:gd name="connsiteX15" fmla="*/ 138346 w 686556"/>
                    <a:gd name="connsiteY15" fmla="*/ 639552 h 671723"/>
                    <a:gd name="connsiteX16" fmla="*/ 116505 w 686556"/>
                    <a:gd name="connsiteY16" fmla="*/ 652173 h 671723"/>
                    <a:gd name="connsiteX17" fmla="*/ 91531 w 686556"/>
                    <a:gd name="connsiteY17" fmla="*/ 661069 h 671723"/>
                    <a:gd name="connsiteX18" fmla="*/ 66556 w 686556"/>
                    <a:gd name="connsiteY18" fmla="*/ 671023 h 671723"/>
                    <a:gd name="connsiteX19" fmla="*/ 39743 w 686556"/>
                    <a:gd name="connsiteY19" fmla="*/ 670109 h 671723"/>
                    <a:gd name="connsiteX20" fmla="*/ 17997 w 686556"/>
                    <a:gd name="connsiteY20" fmla="*/ 662822 h 671723"/>
                    <a:gd name="connsiteX21" fmla="*/ 11920 w 686556"/>
                    <a:gd name="connsiteY21" fmla="*/ 650773 h 671723"/>
                    <a:gd name="connsiteX22" fmla="*/ 529 w 686556"/>
                    <a:gd name="connsiteY22" fmla="*/ 647134 h 671723"/>
                    <a:gd name="connsiteX23" fmla="*/ 12216 w 686556"/>
                    <a:gd name="connsiteY23" fmla="*/ 622474 h 671723"/>
                    <a:gd name="connsiteX24" fmla="*/ 32361 w 686556"/>
                    <a:gd name="connsiteY24" fmla="*/ 617950 h 671723"/>
                    <a:gd name="connsiteX25" fmla="*/ 45525 w 686556"/>
                    <a:gd name="connsiteY25" fmla="*/ 595213 h 671723"/>
                    <a:gd name="connsiteX26" fmla="*/ 61193 w 686556"/>
                    <a:gd name="connsiteY26" fmla="*/ 572087 h 671723"/>
                    <a:gd name="connsiteX27" fmla="*/ 63708 w 686556"/>
                    <a:gd name="connsiteY27" fmla="*/ 546236 h 671723"/>
                    <a:gd name="connsiteX28" fmla="*/ 77405 w 686556"/>
                    <a:gd name="connsiteY28" fmla="*/ 496820 h 671723"/>
                    <a:gd name="connsiteX29" fmla="*/ 77824 w 686556"/>
                    <a:gd name="connsiteY29" fmla="*/ 473027 h 671723"/>
                    <a:gd name="connsiteX30" fmla="*/ 79110 w 686556"/>
                    <a:gd name="connsiteY30" fmla="*/ 463083 h 671723"/>
                    <a:gd name="connsiteX31" fmla="*/ 75881 w 686556"/>
                    <a:gd name="connsiteY31" fmla="*/ 449624 h 671723"/>
                    <a:gd name="connsiteX32" fmla="*/ 81367 w 686556"/>
                    <a:gd name="connsiteY32" fmla="*/ 434584 h 671723"/>
                    <a:gd name="connsiteX33" fmla="*/ 80834 w 686556"/>
                    <a:gd name="connsiteY33" fmla="*/ 418953 h 671723"/>
                    <a:gd name="connsiteX34" fmla="*/ 73443 w 686556"/>
                    <a:gd name="connsiteY34" fmla="*/ 391474 h 671723"/>
                    <a:gd name="connsiteX35" fmla="*/ 79967 w 686556"/>
                    <a:gd name="connsiteY35" fmla="*/ 388264 h 671723"/>
                    <a:gd name="connsiteX36" fmla="*/ 85044 w 686556"/>
                    <a:gd name="connsiteY36" fmla="*/ 403970 h 671723"/>
                    <a:gd name="connsiteX37" fmla="*/ 87006 w 686556"/>
                    <a:gd name="connsiteY37" fmla="*/ 384587 h 671723"/>
                    <a:gd name="connsiteX38" fmla="*/ 87654 w 686556"/>
                    <a:gd name="connsiteY38" fmla="*/ 374224 h 671723"/>
                    <a:gd name="connsiteX39" fmla="*/ 93826 w 686556"/>
                    <a:gd name="connsiteY39" fmla="*/ 380815 h 671723"/>
                    <a:gd name="connsiteX40" fmla="*/ 89949 w 686556"/>
                    <a:gd name="connsiteY40" fmla="*/ 388921 h 671723"/>
                    <a:gd name="connsiteX41" fmla="*/ 95741 w 686556"/>
                    <a:gd name="connsiteY41" fmla="*/ 386187 h 671723"/>
                    <a:gd name="connsiteX42" fmla="*/ 102761 w 686556"/>
                    <a:gd name="connsiteY42" fmla="*/ 394836 h 671723"/>
                    <a:gd name="connsiteX43" fmla="*/ 106923 w 686556"/>
                    <a:gd name="connsiteY43" fmla="*/ 373881 h 671723"/>
                    <a:gd name="connsiteX44" fmla="*/ 106333 w 686556"/>
                    <a:gd name="connsiteY44" fmla="*/ 329714 h 671723"/>
                    <a:gd name="connsiteX45" fmla="*/ 132793 w 686556"/>
                    <a:gd name="connsiteY45" fmla="*/ 291985 h 671723"/>
                    <a:gd name="connsiteX46" fmla="*/ 134165 w 686556"/>
                    <a:gd name="connsiteY46" fmla="*/ 280688 h 671723"/>
                    <a:gd name="connsiteX47" fmla="*/ 140755 w 686556"/>
                    <a:gd name="connsiteY47" fmla="*/ 270725 h 671723"/>
                    <a:gd name="connsiteX48" fmla="*/ 157043 w 686556"/>
                    <a:gd name="connsiteY48" fmla="*/ 254333 h 671723"/>
                    <a:gd name="connsiteX49" fmla="*/ 152129 w 686556"/>
                    <a:gd name="connsiteY49" fmla="*/ 265115 h 671723"/>
                    <a:gd name="connsiteX50" fmla="*/ 149843 w 686556"/>
                    <a:gd name="connsiteY50" fmla="*/ 274945 h 671723"/>
                    <a:gd name="connsiteX51" fmla="*/ 184599 w 686556"/>
                    <a:gd name="connsiteY51" fmla="*/ 250094 h 671723"/>
                    <a:gd name="connsiteX52" fmla="*/ 223785 w 686556"/>
                    <a:gd name="connsiteY52" fmla="*/ 229110 h 671723"/>
                    <a:gd name="connsiteX53" fmla="*/ 245873 w 686556"/>
                    <a:gd name="connsiteY53" fmla="*/ 218957 h 671723"/>
                    <a:gd name="connsiteX54" fmla="*/ 265819 w 686556"/>
                    <a:gd name="connsiteY54" fmla="*/ 218881 h 671723"/>
                    <a:gd name="connsiteX55" fmla="*/ 307014 w 686556"/>
                    <a:gd name="connsiteY55" fmla="*/ 206860 h 671723"/>
                    <a:gd name="connsiteX56" fmla="*/ 329389 w 686556"/>
                    <a:gd name="connsiteY56" fmla="*/ 196821 h 671723"/>
                    <a:gd name="connsiteX57" fmla="*/ 337828 w 686556"/>
                    <a:gd name="connsiteY57" fmla="*/ 197164 h 671723"/>
                    <a:gd name="connsiteX58" fmla="*/ 350411 w 686556"/>
                    <a:gd name="connsiteY58" fmla="*/ 195449 h 671723"/>
                    <a:gd name="connsiteX59" fmla="*/ 394464 w 686556"/>
                    <a:gd name="connsiteY59" fmla="*/ 182848 h 671723"/>
                    <a:gd name="connsiteX60" fmla="*/ 426868 w 686556"/>
                    <a:gd name="connsiteY60" fmla="*/ 151624 h 671723"/>
                    <a:gd name="connsiteX61" fmla="*/ 446118 w 686556"/>
                    <a:gd name="connsiteY61" fmla="*/ 138909 h 671723"/>
                    <a:gd name="connsiteX62" fmla="*/ 449394 w 686556"/>
                    <a:gd name="connsiteY62" fmla="*/ 133584 h 671723"/>
                    <a:gd name="connsiteX63" fmla="*/ 447823 w 686556"/>
                    <a:gd name="connsiteY63" fmla="*/ 130955 h 671723"/>
                    <a:gd name="connsiteX64" fmla="*/ 448794 w 686556"/>
                    <a:gd name="connsiteY64" fmla="*/ 124488 h 671723"/>
                    <a:gd name="connsiteX65" fmla="*/ 477283 w 686556"/>
                    <a:gd name="connsiteY65" fmla="*/ 92322 h 671723"/>
                    <a:gd name="connsiteX66" fmla="*/ 485427 w 686556"/>
                    <a:gd name="connsiteY66" fmla="*/ 84492 h 671723"/>
                    <a:gd name="connsiteX67" fmla="*/ 486599 w 686556"/>
                    <a:gd name="connsiteY67" fmla="*/ 97913 h 671723"/>
                    <a:gd name="connsiteX68" fmla="*/ 492971 w 686556"/>
                    <a:gd name="connsiteY68" fmla="*/ 118630 h 671723"/>
                    <a:gd name="connsiteX69" fmla="*/ 499820 w 686556"/>
                    <a:gd name="connsiteY69" fmla="*/ 102485 h 671723"/>
                    <a:gd name="connsiteX70" fmla="*/ 504744 w 686556"/>
                    <a:gd name="connsiteY70" fmla="*/ 106123 h 671723"/>
                    <a:gd name="connsiteX71" fmla="*/ 508611 w 686556"/>
                    <a:gd name="connsiteY71" fmla="*/ 97961 h 671723"/>
                    <a:gd name="connsiteX72" fmla="*/ 501620 w 686556"/>
                    <a:gd name="connsiteY72" fmla="*/ 85816 h 671723"/>
                    <a:gd name="connsiteX73" fmla="*/ 506544 w 686556"/>
                    <a:gd name="connsiteY73" fmla="*/ 82692 h 671723"/>
                    <a:gd name="connsiteX74" fmla="*/ 509983 w 686556"/>
                    <a:gd name="connsiteY74" fmla="*/ 76587 h 671723"/>
                    <a:gd name="connsiteX75" fmla="*/ 514831 w 686556"/>
                    <a:gd name="connsiteY75" fmla="*/ 82330 h 671723"/>
                    <a:gd name="connsiteX76" fmla="*/ 522737 w 686556"/>
                    <a:gd name="connsiteY76" fmla="*/ 79511 h 671723"/>
                    <a:gd name="connsiteX77" fmla="*/ 531709 w 686556"/>
                    <a:gd name="connsiteY77" fmla="*/ 82768 h 671723"/>
                    <a:gd name="connsiteX78" fmla="*/ 541368 w 686556"/>
                    <a:gd name="connsiteY78" fmla="*/ 83407 h 671723"/>
                    <a:gd name="connsiteX79" fmla="*/ 532595 w 686556"/>
                    <a:gd name="connsiteY79" fmla="*/ 75472 h 671723"/>
                    <a:gd name="connsiteX80" fmla="*/ 538406 w 686556"/>
                    <a:gd name="connsiteY80" fmla="*/ 73567 h 671723"/>
                    <a:gd name="connsiteX81" fmla="*/ 543216 w 686556"/>
                    <a:gd name="connsiteY81" fmla="*/ 64614 h 671723"/>
                    <a:gd name="connsiteX82" fmla="*/ 537196 w 686556"/>
                    <a:gd name="connsiteY82" fmla="*/ 69871 h 671723"/>
                    <a:gd name="connsiteX83" fmla="*/ 537100 w 686556"/>
                    <a:gd name="connsiteY83" fmla="*/ 58956 h 671723"/>
                    <a:gd name="connsiteX84" fmla="*/ 544244 w 686556"/>
                    <a:gd name="connsiteY84" fmla="*/ 54250 h 671723"/>
                    <a:gd name="connsiteX85" fmla="*/ 557732 w 686556"/>
                    <a:gd name="connsiteY85" fmla="*/ 53936 h 671723"/>
                    <a:gd name="connsiteX86" fmla="*/ 560951 w 686556"/>
                    <a:gd name="connsiteY86" fmla="*/ 48907 h 671723"/>
                    <a:gd name="connsiteX87" fmla="*/ 555722 w 686556"/>
                    <a:gd name="connsiteY87" fmla="*/ 46192 h 671723"/>
                    <a:gd name="connsiteX88" fmla="*/ 561732 w 686556"/>
                    <a:gd name="connsiteY88" fmla="*/ 40763 h 671723"/>
                    <a:gd name="connsiteX89" fmla="*/ 569095 w 686556"/>
                    <a:gd name="connsiteY89" fmla="*/ 42135 h 671723"/>
                    <a:gd name="connsiteX90" fmla="*/ 572276 w 686556"/>
                    <a:gd name="connsiteY90" fmla="*/ 41992 h 671723"/>
                    <a:gd name="connsiteX91" fmla="*/ 569943 w 686556"/>
                    <a:gd name="connsiteY91" fmla="*/ 37801 h 671723"/>
                    <a:gd name="connsiteX92" fmla="*/ 580754 w 686556"/>
                    <a:gd name="connsiteY92" fmla="*/ 24009 h 671723"/>
                    <a:gd name="connsiteX93" fmla="*/ 586792 w 686556"/>
                    <a:gd name="connsiteY93" fmla="*/ 16189 h 671723"/>
                    <a:gd name="connsiteX94" fmla="*/ 586068 w 686556"/>
                    <a:gd name="connsiteY94" fmla="*/ 24437 h 671723"/>
                    <a:gd name="connsiteX95" fmla="*/ 592393 w 686556"/>
                    <a:gd name="connsiteY95" fmla="*/ 27238 h 671723"/>
                    <a:gd name="connsiteX96" fmla="*/ 598194 w 686556"/>
                    <a:gd name="connsiteY96" fmla="*/ 20465 h 671723"/>
                    <a:gd name="connsiteX97" fmla="*/ 602652 w 686556"/>
                    <a:gd name="connsiteY97" fmla="*/ 13569 h 671723"/>
                    <a:gd name="connsiteX98" fmla="*/ 604032 w 686556"/>
                    <a:gd name="connsiteY98" fmla="*/ 6730 h 671723"/>
                    <a:gd name="connsiteX99" fmla="*/ 607728 w 686556"/>
                    <a:gd name="connsiteY99" fmla="*/ 12902 h 671723"/>
                    <a:gd name="connsiteX100" fmla="*/ 611300 w 686556"/>
                    <a:gd name="connsiteY100" fmla="*/ 9359 h 671723"/>
                    <a:gd name="connsiteX101" fmla="*/ 615882 w 686556"/>
                    <a:gd name="connsiteY101" fmla="*/ 10864 h 671723"/>
                    <a:gd name="connsiteX102" fmla="*/ 621406 w 686556"/>
                    <a:gd name="connsiteY102" fmla="*/ 10540 h 671723"/>
                    <a:gd name="connsiteX103" fmla="*/ 625721 w 686556"/>
                    <a:gd name="connsiteY103" fmla="*/ 5673 h 671723"/>
                    <a:gd name="connsiteX104" fmla="*/ 634160 w 686556"/>
                    <a:gd name="connsiteY104" fmla="*/ 701 h 671723"/>
                    <a:gd name="connsiteX105" fmla="*/ 644924 w 686556"/>
                    <a:gd name="connsiteY105" fmla="*/ 7950 h 671723"/>
                    <a:gd name="connsiteX106" fmla="*/ 652982 w 686556"/>
                    <a:gd name="connsiteY106" fmla="*/ 16760 h 671723"/>
                    <a:gd name="connsiteX107" fmla="*/ 655468 w 686556"/>
                    <a:gd name="connsiteY107" fmla="*/ 23027 h 671723"/>
                    <a:gd name="connsiteX108" fmla="*/ 660716 w 686556"/>
                    <a:gd name="connsiteY108" fmla="*/ 28314 h 671723"/>
                    <a:gd name="connsiteX109" fmla="*/ 658897 w 686556"/>
                    <a:gd name="connsiteY109" fmla="*/ 36858 h 671723"/>
                    <a:gd name="connsiteX110" fmla="*/ 653458 w 686556"/>
                    <a:gd name="connsiteY110" fmla="*/ 49631 h 671723"/>
                    <a:gd name="connsiteX111" fmla="*/ 659487 w 686556"/>
                    <a:gd name="connsiteY111" fmla="*/ 48659 h 671723"/>
                    <a:gd name="connsiteX112" fmla="*/ 659068 w 686556"/>
                    <a:gd name="connsiteY112" fmla="*/ 41544 h 671723"/>
                    <a:gd name="connsiteX113" fmla="*/ 667183 w 686556"/>
                    <a:gd name="connsiteY113" fmla="*/ 35639 h 671723"/>
                    <a:gd name="connsiteX114" fmla="*/ 686557 w 686556"/>
                    <a:gd name="connsiteY114" fmla="*/ 35181 h 671723"/>
                    <a:gd name="connsiteX115" fmla="*/ 566285 w 686556"/>
                    <a:gd name="connsiteY115" fmla="*/ 341667 h 671723"/>
                    <a:gd name="connsiteX116" fmla="*/ 548997 w 686556"/>
                    <a:gd name="connsiteY116" fmla="*/ 385711 h 671723"/>
                    <a:gd name="connsiteX117" fmla="*/ 548997 w 686556"/>
                    <a:gd name="connsiteY117" fmla="*/ 385711 h 671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686556" h="671723">
                      <a:moveTo>
                        <a:pt x="548997" y="385711"/>
                      </a:moveTo>
                      <a:cubicBezTo>
                        <a:pt x="534243" y="412895"/>
                        <a:pt x="519479" y="440061"/>
                        <a:pt x="504734" y="467245"/>
                      </a:cubicBezTo>
                      <a:cubicBezTo>
                        <a:pt x="493857" y="487276"/>
                        <a:pt x="482999" y="507298"/>
                        <a:pt x="472111" y="527329"/>
                      </a:cubicBezTo>
                      <a:cubicBezTo>
                        <a:pt x="466349" y="537949"/>
                        <a:pt x="461015" y="554303"/>
                        <a:pt x="452661" y="563162"/>
                      </a:cubicBezTo>
                      <a:cubicBezTo>
                        <a:pt x="446394" y="569810"/>
                        <a:pt x="429773" y="573115"/>
                        <a:pt x="420648" y="575811"/>
                      </a:cubicBezTo>
                      <a:cubicBezTo>
                        <a:pt x="407741" y="579621"/>
                        <a:pt x="393463" y="583783"/>
                        <a:pt x="379966" y="584326"/>
                      </a:cubicBezTo>
                      <a:cubicBezTo>
                        <a:pt x="372404" y="584631"/>
                        <a:pt x="364879" y="582545"/>
                        <a:pt x="357383" y="582907"/>
                      </a:cubicBezTo>
                      <a:cubicBezTo>
                        <a:pt x="349744" y="583259"/>
                        <a:pt x="343476" y="587889"/>
                        <a:pt x="336599" y="590679"/>
                      </a:cubicBezTo>
                      <a:cubicBezTo>
                        <a:pt x="322902" y="596242"/>
                        <a:pt x="308996" y="601062"/>
                        <a:pt x="294756" y="604795"/>
                      </a:cubicBezTo>
                      <a:cubicBezTo>
                        <a:pt x="279306" y="608863"/>
                        <a:pt x="270067" y="625017"/>
                        <a:pt x="256151" y="632599"/>
                      </a:cubicBezTo>
                      <a:cubicBezTo>
                        <a:pt x="252217" y="634742"/>
                        <a:pt x="249703" y="634447"/>
                        <a:pt x="245712" y="635180"/>
                      </a:cubicBezTo>
                      <a:cubicBezTo>
                        <a:pt x="243768" y="635542"/>
                        <a:pt x="242025" y="637171"/>
                        <a:pt x="240206" y="637057"/>
                      </a:cubicBezTo>
                      <a:cubicBezTo>
                        <a:pt x="239444" y="637009"/>
                        <a:pt x="237501" y="634485"/>
                        <a:pt x="235968" y="634190"/>
                      </a:cubicBezTo>
                      <a:cubicBezTo>
                        <a:pt x="228138" y="632627"/>
                        <a:pt x="217708" y="636266"/>
                        <a:pt x="210031" y="637485"/>
                      </a:cubicBezTo>
                      <a:cubicBezTo>
                        <a:pt x="211536" y="627560"/>
                        <a:pt x="169340" y="635180"/>
                        <a:pt x="162663" y="635885"/>
                      </a:cubicBezTo>
                      <a:cubicBezTo>
                        <a:pt x="154395" y="636771"/>
                        <a:pt x="146299" y="635285"/>
                        <a:pt x="138346" y="639552"/>
                      </a:cubicBezTo>
                      <a:cubicBezTo>
                        <a:pt x="130450" y="643781"/>
                        <a:pt x="125716" y="650534"/>
                        <a:pt x="116505" y="652173"/>
                      </a:cubicBezTo>
                      <a:cubicBezTo>
                        <a:pt x="106694" y="653916"/>
                        <a:pt x="100798" y="656345"/>
                        <a:pt x="91531" y="661069"/>
                      </a:cubicBezTo>
                      <a:cubicBezTo>
                        <a:pt x="83234" y="665289"/>
                        <a:pt x="75700" y="669251"/>
                        <a:pt x="66556" y="671023"/>
                      </a:cubicBezTo>
                      <a:cubicBezTo>
                        <a:pt x="57526" y="672776"/>
                        <a:pt x="48859" y="670766"/>
                        <a:pt x="39743" y="670109"/>
                      </a:cubicBezTo>
                      <a:cubicBezTo>
                        <a:pt x="33561" y="669661"/>
                        <a:pt x="22455" y="667746"/>
                        <a:pt x="17997" y="662822"/>
                      </a:cubicBezTo>
                      <a:cubicBezTo>
                        <a:pt x="14892" y="659393"/>
                        <a:pt x="15826" y="654326"/>
                        <a:pt x="11920" y="650773"/>
                      </a:cubicBezTo>
                      <a:cubicBezTo>
                        <a:pt x="8511" y="647658"/>
                        <a:pt x="1910" y="648944"/>
                        <a:pt x="529" y="647134"/>
                      </a:cubicBezTo>
                      <a:cubicBezTo>
                        <a:pt x="-2681" y="642962"/>
                        <a:pt x="9673" y="626579"/>
                        <a:pt x="12216" y="622474"/>
                      </a:cubicBezTo>
                      <a:cubicBezTo>
                        <a:pt x="17559" y="631484"/>
                        <a:pt x="27122" y="623112"/>
                        <a:pt x="32361" y="617950"/>
                      </a:cubicBezTo>
                      <a:cubicBezTo>
                        <a:pt x="39352" y="611034"/>
                        <a:pt x="40191" y="602852"/>
                        <a:pt x="45525" y="595213"/>
                      </a:cubicBezTo>
                      <a:cubicBezTo>
                        <a:pt x="50773" y="587698"/>
                        <a:pt x="57012" y="581174"/>
                        <a:pt x="61193" y="572087"/>
                      </a:cubicBezTo>
                      <a:cubicBezTo>
                        <a:pt x="64889" y="564038"/>
                        <a:pt x="63432" y="554961"/>
                        <a:pt x="63708" y="546236"/>
                      </a:cubicBezTo>
                      <a:cubicBezTo>
                        <a:pt x="64298" y="526938"/>
                        <a:pt x="69728" y="514327"/>
                        <a:pt x="77405" y="496820"/>
                      </a:cubicBezTo>
                      <a:cubicBezTo>
                        <a:pt x="81367" y="487800"/>
                        <a:pt x="76967" y="481656"/>
                        <a:pt x="77824" y="473027"/>
                      </a:cubicBezTo>
                      <a:cubicBezTo>
                        <a:pt x="78205" y="469274"/>
                        <a:pt x="79738" y="467274"/>
                        <a:pt x="79110" y="463083"/>
                      </a:cubicBezTo>
                      <a:cubicBezTo>
                        <a:pt x="78414" y="458520"/>
                        <a:pt x="75671" y="454101"/>
                        <a:pt x="75881" y="449624"/>
                      </a:cubicBezTo>
                      <a:cubicBezTo>
                        <a:pt x="76129" y="444452"/>
                        <a:pt x="80110" y="439546"/>
                        <a:pt x="81367" y="434584"/>
                      </a:cubicBezTo>
                      <a:cubicBezTo>
                        <a:pt x="82720" y="429221"/>
                        <a:pt x="81643" y="424325"/>
                        <a:pt x="80834" y="418953"/>
                      </a:cubicBezTo>
                      <a:cubicBezTo>
                        <a:pt x="79443" y="409771"/>
                        <a:pt x="76186" y="400284"/>
                        <a:pt x="73443" y="391474"/>
                      </a:cubicBezTo>
                      <a:cubicBezTo>
                        <a:pt x="76557" y="394169"/>
                        <a:pt x="78281" y="392512"/>
                        <a:pt x="79967" y="388264"/>
                      </a:cubicBezTo>
                      <a:cubicBezTo>
                        <a:pt x="81567" y="393093"/>
                        <a:pt x="77272" y="405971"/>
                        <a:pt x="85044" y="403970"/>
                      </a:cubicBezTo>
                      <a:cubicBezTo>
                        <a:pt x="95169" y="401351"/>
                        <a:pt x="87559" y="390302"/>
                        <a:pt x="87006" y="384587"/>
                      </a:cubicBezTo>
                      <a:cubicBezTo>
                        <a:pt x="86720" y="381644"/>
                        <a:pt x="85044" y="376281"/>
                        <a:pt x="87654" y="374224"/>
                      </a:cubicBezTo>
                      <a:cubicBezTo>
                        <a:pt x="91388" y="371271"/>
                        <a:pt x="94140" y="377767"/>
                        <a:pt x="93826" y="380815"/>
                      </a:cubicBezTo>
                      <a:cubicBezTo>
                        <a:pt x="93607" y="383111"/>
                        <a:pt x="89159" y="386568"/>
                        <a:pt x="89949" y="388921"/>
                      </a:cubicBezTo>
                      <a:cubicBezTo>
                        <a:pt x="91216" y="392683"/>
                        <a:pt x="94512" y="388016"/>
                        <a:pt x="95741" y="386187"/>
                      </a:cubicBezTo>
                      <a:cubicBezTo>
                        <a:pt x="96750" y="389940"/>
                        <a:pt x="93912" y="403875"/>
                        <a:pt x="102761" y="394836"/>
                      </a:cubicBezTo>
                      <a:cubicBezTo>
                        <a:pt x="108085" y="389397"/>
                        <a:pt x="108218" y="380386"/>
                        <a:pt x="106923" y="373881"/>
                      </a:cubicBezTo>
                      <a:cubicBezTo>
                        <a:pt x="104456" y="361546"/>
                        <a:pt x="100798" y="341201"/>
                        <a:pt x="106333" y="329714"/>
                      </a:cubicBezTo>
                      <a:cubicBezTo>
                        <a:pt x="113266" y="315331"/>
                        <a:pt x="127049" y="306930"/>
                        <a:pt x="132793" y="291985"/>
                      </a:cubicBezTo>
                      <a:cubicBezTo>
                        <a:pt x="134317" y="288023"/>
                        <a:pt x="133126" y="284336"/>
                        <a:pt x="134165" y="280688"/>
                      </a:cubicBezTo>
                      <a:cubicBezTo>
                        <a:pt x="135155" y="277174"/>
                        <a:pt x="138470" y="273773"/>
                        <a:pt x="140755" y="270725"/>
                      </a:cubicBezTo>
                      <a:cubicBezTo>
                        <a:pt x="145461" y="264477"/>
                        <a:pt x="149433" y="257190"/>
                        <a:pt x="157043" y="254333"/>
                      </a:cubicBezTo>
                      <a:cubicBezTo>
                        <a:pt x="156596" y="258523"/>
                        <a:pt x="153443" y="261248"/>
                        <a:pt x="152129" y="265115"/>
                      </a:cubicBezTo>
                      <a:cubicBezTo>
                        <a:pt x="150871" y="268820"/>
                        <a:pt x="152662" y="271087"/>
                        <a:pt x="149843" y="274945"/>
                      </a:cubicBezTo>
                      <a:cubicBezTo>
                        <a:pt x="163825" y="270239"/>
                        <a:pt x="169988" y="255180"/>
                        <a:pt x="184599" y="250094"/>
                      </a:cubicBezTo>
                      <a:cubicBezTo>
                        <a:pt x="199411" y="244932"/>
                        <a:pt x="210212" y="236416"/>
                        <a:pt x="223785" y="229110"/>
                      </a:cubicBezTo>
                      <a:cubicBezTo>
                        <a:pt x="230719" y="225377"/>
                        <a:pt x="238473" y="221652"/>
                        <a:pt x="245873" y="218957"/>
                      </a:cubicBezTo>
                      <a:cubicBezTo>
                        <a:pt x="253293" y="216261"/>
                        <a:pt x="258761" y="218119"/>
                        <a:pt x="265819" y="218881"/>
                      </a:cubicBezTo>
                      <a:cubicBezTo>
                        <a:pt x="279563" y="220347"/>
                        <a:pt x="293441" y="209537"/>
                        <a:pt x="307014" y="206860"/>
                      </a:cubicBezTo>
                      <a:cubicBezTo>
                        <a:pt x="315835" y="205126"/>
                        <a:pt x="321245" y="199107"/>
                        <a:pt x="329389" y="196821"/>
                      </a:cubicBezTo>
                      <a:cubicBezTo>
                        <a:pt x="331856" y="196135"/>
                        <a:pt x="335151" y="196944"/>
                        <a:pt x="337828" y="197164"/>
                      </a:cubicBezTo>
                      <a:cubicBezTo>
                        <a:pt x="343667" y="197659"/>
                        <a:pt x="344858" y="196859"/>
                        <a:pt x="350411" y="195449"/>
                      </a:cubicBezTo>
                      <a:cubicBezTo>
                        <a:pt x="365660" y="191582"/>
                        <a:pt x="380157" y="190763"/>
                        <a:pt x="394464" y="182848"/>
                      </a:cubicBezTo>
                      <a:cubicBezTo>
                        <a:pt x="408637" y="175009"/>
                        <a:pt x="415361" y="162054"/>
                        <a:pt x="426868" y="151624"/>
                      </a:cubicBezTo>
                      <a:cubicBezTo>
                        <a:pt x="432506" y="146500"/>
                        <a:pt x="440136" y="144052"/>
                        <a:pt x="446118" y="138909"/>
                      </a:cubicBezTo>
                      <a:cubicBezTo>
                        <a:pt x="449642" y="135889"/>
                        <a:pt x="448994" y="136975"/>
                        <a:pt x="449394" y="133584"/>
                      </a:cubicBezTo>
                      <a:cubicBezTo>
                        <a:pt x="449346" y="134003"/>
                        <a:pt x="447899" y="131727"/>
                        <a:pt x="447823" y="130955"/>
                      </a:cubicBezTo>
                      <a:cubicBezTo>
                        <a:pt x="447623" y="129012"/>
                        <a:pt x="448518" y="126450"/>
                        <a:pt x="448794" y="124488"/>
                      </a:cubicBezTo>
                      <a:cubicBezTo>
                        <a:pt x="451490" y="105124"/>
                        <a:pt x="465491" y="104562"/>
                        <a:pt x="477283" y="92322"/>
                      </a:cubicBezTo>
                      <a:cubicBezTo>
                        <a:pt x="478950" y="90588"/>
                        <a:pt x="482560" y="83283"/>
                        <a:pt x="485427" y="84492"/>
                      </a:cubicBezTo>
                      <a:cubicBezTo>
                        <a:pt x="486275" y="84854"/>
                        <a:pt x="486151" y="95980"/>
                        <a:pt x="486599" y="97913"/>
                      </a:cubicBezTo>
                      <a:cubicBezTo>
                        <a:pt x="488209" y="104904"/>
                        <a:pt x="489923" y="112162"/>
                        <a:pt x="492971" y="118630"/>
                      </a:cubicBezTo>
                      <a:cubicBezTo>
                        <a:pt x="493714" y="116277"/>
                        <a:pt x="497648" y="103009"/>
                        <a:pt x="499820" y="102485"/>
                      </a:cubicBezTo>
                      <a:cubicBezTo>
                        <a:pt x="501925" y="101971"/>
                        <a:pt x="502601" y="106381"/>
                        <a:pt x="504744" y="106123"/>
                      </a:cubicBezTo>
                      <a:cubicBezTo>
                        <a:pt x="505840" y="105990"/>
                        <a:pt x="508192" y="99104"/>
                        <a:pt x="508611" y="97961"/>
                      </a:cubicBezTo>
                      <a:cubicBezTo>
                        <a:pt x="505601" y="97989"/>
                        <a:pt x="500486" y="89093"/>
                        <a:pt x="501620" y="85816"/>
                      </a:cubicBezTo>
                      <a:cubicBezTo>
                        <a:pt x="501658" y="85702"/>
                        <a:pt x="505725" y="83702"/>
                        <a:pt x="506544" y="82692"/>
                      </a:cubicBezTo>
                      <a:cubicBezTo>
                        <a:pt x="508145" y="80701"/>
                        <a:pt x="505734" y="75815"/>
                        <a:pt x="509983" y="76587"/>
                      </a:cubicBezTo>
                      <a:cubicBezTo>
                        <a:pt x="513259" y="77177"/>
                        <a:pt x="511535" y="81940"/>
                        <a:pt x="514831" y="82330"/>
                      </a:cubicBezTo>
                      <a:cubicBezTo>
                        <a:pt x="516651" y="82540"/>
                        <a:pt x="519289" y="78911"/>
                        <a:pt x="522737" y="79511"/>
                      </a:cubicBezTo>
                      <a:cubicBezTo>
                        <a:pt x="525680" y="80025"/>
                        <a:pt x="527499" y="82482"/>
                        <a:pt x="531709" y="82768"/>
                      </a:cubicBezTo>
                      <a:cubicBezTo>
                        <a:pt x="534910" y="82978"/>
                        <a:pt x="538243" y="82664"/>
                        <a:pt x="541368" y="83407"/>
                      </a:cubicBezTo>
                      <a:cubicBezTo>
                        <a:pt x="539006" y="79492"/>
                        <a:pt x="526547" y="83597"/>
                        <a:pt x="532595" y="75472"/>
                      </a:cubicBezTo>
                      <a:cubicBezTo>
                        <a:pt x="534319" y="73177"/>
                        <a:pt x="536491" y="75101"/>
                        <a:pt x="538406" y="73567"/>
                      </a:cubicBezTo>
                      <a:cubicBezTo>
                        <a:pt x="539949" y="72338"/>
                        <a:pt x="542539" y="66604"/>
                        <a:pt x="543216" y="64614"/>
                      </a:cubicBezTo>
                      <a:cubicBezTo>
                        <a:pt x="540729" y="65804"/>
                        <a:pt x="539149" y="67862"/>
                        <a:pt x="537196" y="69871"/>
                      </a:cubicBezTo>
                      <a:cubicBezTo>
                        <a:pt x="537339" y="65128"/>
                        <a:pt x="534938" y="63623"/>
                        <a:pt x="537100" y="58956"/>
                      </a:cubicBezTo>
                      <a:cubicBezTo>
                        <a:pt x="539615" y="53555"/>
                        <a:pt x="541329" y="56422"/>
                        <a:pt x="544244" y="54250"/>
                      </a:cubicBezTo>
                      <a:cubicBezTo>
                        <a:pt x="549074" y="50631"/>
                        <a:pt x="552988" y="43278"/>
                        <a:pt x="557732" y="53936"/>
                      </a:cubicBezTo>
                      <a:cubicBezTo>
                        <a:pt x="559751" y="53031"/>
                        <a:pt x="560846" y="51222"/>
                        <a:pt x="560951" y="48907"/>
                      </a:cubicBezTo>
                      <a:cubicBezTo>
                        <a:pt x="557208" y="50193"/>
                        <a:pt x="555807" y="49126"/>
                        <a:pt x="555722" y="46192"/>
                      </a:cubicBezTo>
                      <a:cubicBezTo>
                        <a:pt x="555674" y="44135"/>
                        <a:pt x="559218" y="41392"/>
                        <a:pt x="561732" y="40763"/>
                      </a:cubicBezTo>
                      <a:cubicBezTo>
                        <a:pt x="563799" y="40249"/>
                        <a:pt x="566085" y="42211"/>
                        <a:pt x="569095" y="42135"/>
                      </a:cubicBezTo>
                      <a:cubicBezTo>
                        <a:pt x="571019" y="42077"/>
                        <a:pt x="570695" y="43621"/>
                        <a:pt x="572276" y="41992"/>
                      </a:cubicBezTo>
                      <a:cubicBezTo>
                        <a:pt x="575000" y="39172"/>
                        <a:pt x="570419" y="39515"/>
                        <a:pt x="569943" y="37801"/>
                      </a:cubicBezTo>
                      <a:cubicBezTo>
                        <a:pt x="567418" y="28476"/>
                        <a:pt x="573953" y="27685"/>
                        <a:pt x="580754" y="24009"/>
                      </a:cubicBezTo>
                      <a:cubicBezTo>
                        <a:pt x="584278" y="22104"/>
                        <a:pt x="584163" y="17646"/>
                        <a:pt x="586792" y="16189"/>
                      </a:cubicBezTo>
                      <a:cubicBezTo>
                        <a:pt x="591059" y="13817"/>
                        <a:pt x="586944" y="22865"/>
                        <a:pt x="586068" y="24437"/>
                      </a:cubicBezTo>
                      <a:cubicBezTo>
                        <a:pt x="590231" y="20599"/>
                        <a:pt x="591459" y="22961"/>
                        <a:pt x="592393" y="27238"/>
                      </a:cubicBezTo>
                      <a:cubicBezTo>
                        <a:pt x="594041" y="24199"/>
                        <a:pt x="596499" y="23151"/>
                        <a:pt x="598194" y="20465"/>
                      </a:cubicBezTo>
                      <a:cubicBezTo>
                        <a:pt x="599004" y="19189"/>
                        <a:pt x="602280" y="14665"/>
                        <a:pt x="602652" y="13569"/>
                      </a:cubicBezTo>
                      <a:cubicBezTo>
                        <a:pt x="603299" y="11674"/>
                        <a:pt x="602233" y="7225"/>
                        <a:pt x="604032" y="6730"/>
                      </a:cubicBezTo>
                      <a:cubicBezTo>
                        <a:pt x="607033" y="5902"/>
                        <a:pt x="607643" y="10645"/>
                        <a:pt x="607728" y="12902"/>
                      </a:cubicBezTo>
                      <a:cubicBezTo>
                        <a:pt x="608319" y="12264"/>
                        <a:pt x="610681" y="9340"/>
                        <a:pt x="611300" y="9359"/>
                      </a:cubicBezTo>
                      <a:cubicBezTo>
                        <a:pt x="613557" y="9435"/>
                        <a:pt x="614081" y="10673"/>
                        <a:pt x="615882" y="10864"/>
                      </a:cubicBezTo>
                      <a:cubicBezTo>
                        <a:pt x="618873" y="11198"/>
                        <a:pt x="617405" y="12760"/>
                        <a:pt x="621406" y="10540"/>
                      </a:cubicBezTo>
                      <a:cubicBezTo>
                        <a:pt x="623245" y="9512"/>
                        <a:pt x="624645" y="7102"/>
                        <a:pt x="625721" y="5673"/>
                      </a:cubicBezTo>
                      <a:cubicBezTo>
                        <a:pt x="628416" y="2120"/>
                        <a:pt x="627769" y="-1575"/>
                        <a:pt x="634160" y="701"/>
                      </a:cubicBezTo>
                      <a:cubicBezTo>
                        <a:pt x="636608" y="1568"/>
                        <a:pt x="642390" y="6064"/>
                        <a:pt x="644924" y="7950"/>
                      </a:cubicBezTo>
                      <a:cubicBezTo>
                        <a:pt x="648038" y="10255"/>
                        <a:pt x="651029" y="13436"/>
                        <a:pt x="652982" y="16760"/>
                      </a:cubicBezTo>
                      <a:cubicBezTo>
                        <a:pt x="654115" y="18674"/>
                        <a:pt x="654277" y="21180"/>
                        <a:pt x="655468" y="23027"/>
                      </a:cubicBezTo>
                      <a:cubicBezTo>
                        <a:pt x="656754" y="25018"/>
                        <a:pt x="659678" y="26218"/>
                        <a:pt x="660716" y="28314"/>
                      </a:cubicBezTo>
                      <a:cubicBezTo>
                        <a:pt x="662897" y="32733"/>
                        <a:pt x="661792" y="32143"/>
                        <a:pt x="658897" y="36858"/>
                      </a:cubicBezTo>
                      <a:cubicBezTo>
                        <a:pt x="656382" y="40944"/>
                        <a:pt x="654982" y="45107"/>
                        <a:pt x="653458" y="49631"/>
                      </a:cubicBezTo>
                      <a:cubicBezTo>
                        <a:pt x="655582" y="47507"/>
                        <a:pt x="657611" y="45068"/>
                        <a:pt x="659487" y="48659"/>
                      </a:cubicBezTo>
                      <a:cubicBezTo>
                        <a:pt x="659954" y="46354"/>
                        <a:pt x="658154" y="43878"/>
                        <a:pt x="659068" y="41544"/>
                      </a:cubicBezTo>
                      <a:cubicBezTo>
                        <a:pt x="660287" y="38429"/>
                        <a:pt x="664488" y="37220"/>
                        <a:pt x="667183" y="35639"/>
                      </a:cubicBezTo>
                      <a:cubicBezTo>
                        <a:pt x="674489" y="31362"/>
                        <a:pt x="677756" y="32819"/>
                        <a:pt x="686557" y="35181"/>
                      </a:cubicBezTo>
                      <a:cubicBezTo>
                        <a:pt x="646466" y="137347"/>
                        <a:pt x="606376" y="239502"/>
                        <a:pt x="566285" y="341667"/>
                      </a:cubicBezTo>
                      <a:cubicBezTo>
                        <a:pt x="560522" y="356345"/>
                        <a:pt x="554760" y="371023"/>
                        <a:pt x="548997" y="385711"/>
                      </a:cubicBezTo>
                      <a:lnTo>
                        <a:pt x="548997" y="385711"/>
                      </a:lnTo>
                      <a:close/>
                    </a:path>
                  </a:pathLst>
                </a:custGeom>
                <a:solidFill>
                  <a:srgbClr val="D6D6D2"/>
                </a:solidFill>
                <a:ln w="7144" cap="flat">
                  <a:solidFill>
                    <a:srgbClr val="FFFFFF"/>
                  </a:solidFill>
                  <a:prstDash val="solid"/>
                  <a:miter/>
                </a:ln>
              </p:spPr>
              <p:txBody>
                <a:bodyPr rtlCol="0" anchor="ctr"/>
                <a:lstStyle/>
                <a:p>
                  <a:endParaRPr lang="en-US"/>
                </a:p>
              </p:txBody>
            </p:sp>
          </p:grpSp>
          <p:grpSp>
            <p:nvGrpSpPr>
              <p:cNvPr id="454" name="Graphic 6">
                <a:extLst>
                  <a:ext uri="{FF2B5EF4-FFF2-40B4-BE49-F238E27FC236}">
                    <a16:creationId xmlns:a16="http://schemas.microsoft.com/office/drawing/2014/main" id="{104B6C02-5707-4A5A-9420-AC692E1D3E61}"/>
                  </a:ext>
                </a:extLst>
              </p:cNvPr>
              <p:cNvGrpSpPr/>
              <p:nvPr/>
            </p:nvGrpSpPr>
            <p:grpSpPr>
              <a:xfrm>
                <a:off x="2825209" y="2253460"/>
                <a:ext cx="5508421" cy="2565120"/>
                <a:chOff x="2825209" y="2253460"/>
                <a:chExt cx="5508421" cy="2565120"/>
              </a:xfrm>
              <a:solidFill>
                <a:srgbClr val="FFFFFF"/>
              </a:solidFill>
            </p:grpSpPr>
            <p:sp>
              <p:nvSpPr>
                <p:cNvPr id="455" name="Freeform: Shape 454">
                  <a:extLst>
                    <a:ext uri="{FF2B5EF4-FFF2-40B4-BE49-F238E27FC236}">
                      <a16:creationId xmlns:a16="http://schemas.microsoft.com/office/drawing/2014/main" id="{B551DE20-B3AA-49E0-BF3A-6E98C06FFB72}"/>
                    </a:ext>
                  </a:extLst>
                </p:cNvPr>
                <p:cNvSpPr/>
                <p:nvPr/>
              </p:nvSpPr>
              <p:spPr>
                <a:xfrm>
                  <a:off x="3316413" y="2898169"/>
                  <a:ext cx="132454" cy="111728"/>
                </a:xfrm>
                <a:custGeom>
                  <a:avLst/>
                  <a:gdLst>
                    <a:gd name="connsiteX0" fmla="*/ 34862 w 132454"/>
                    <a:gd name="connsiteY0" fmla="*/ 991 h 111728"/>
                    <a:gd name="connsiteX1" fmla="*/ 38167 w 132454"/>
                    <a:gd name="connsiteY1" fmla="*/ 181 h 111728"/>
                    <a:gd name="connsiteX2" fmla="*/ 40129 w 132454"/>
                    <a:gd name="connsiteY2" fmla="*/ 0 h 111728"/>
                    <a:gd name="connsiteX3" fmla="*/ 40996 w 132454"/>
                    <a:gd name="connsiteY3" fmla="*/ 733 h 111728"/>
                    <a:gd name="connsiteX4" fmla="*/ 41281 w 132454"/>
                    <a:gd name="connsiteY4" fmla="*/ 1753 h 111728"/>
                    <a:gd name="connsiteX5" fmla="*/ 40796 w 132454"/>
                    <a:gd name="connsiteY5" fmla="*/ 2838 h 111728"/>
                    <a:gd name="connsiteX6" fmla="*/ 39500 w 132454"/>
                    <a:gd name="connsiteY6" fmla="*/ 4162 h 111728"/>
                    <a:gd name="connsiteX7" fmla="*/ 38805 w 132454"/>
                    <a:gd name="connsiteY7" fmla="*/ 5334 h 111728"/>
                    <a:gd name="connsiteX8" fmla="*/ 38719 w 132454"/>
                    <a:gd name="connsiteY8" fmla="*/ 6353 h 111728"/>
                    <a:gd name="connsiteX9" fmla="*/ 39976 w 132454"/>
                    <a:gd name="connsiteY9" fmla="*/ 6887 h 111728"/>
                    <a:gd name="connsiteX10" fmla="*/ 42596 w 132454"/>
                    <a:gd name="connsiteY10" fmla="*/ 6944 h 111728"/>
                    <a:gd name="connsiteX11" fmla="*/ 43844 w 132454"/>
                    <a:gd name="connsiteY11" fmla="*/ 7229 h 111728"/>
                    <a:gd name="connsiteX12" fmla="*/ 43891 w 132454"/>
                    <a:gd name="connsiteY12" fmla="*/ 8068 h 111728"/>
                    <a:gd name="connsiteX13" fmla="*/ 44358 w 132454"/>
                    <a:gd name="connsiteY13" fmla="*/ 8201 h 111728"/>
                    <a:gd name="connsiteX14" fmla="*/ 49006 w 132454"/>
                    <a:gd name="connsiteY14" fmla="*/ 8582 h 111728"/>
                    <a:gd name="connsiteX15" fmla="*/ 50616 w 132454"/>
                    <a:gd name="connsiteY15" fmla="*/ 8963 h 111728"/>
                    <a:gd name="connsiteX16" fmla="*/ 50883 w 132454"/>
                    <a:gd name="connsiteY16" fmla="*/ 9506 h 111728"/>
                    <a:gd name="connsiteX17" fmla="*/ 53502 w 132454"/>
                    <a:gd name="connsiteY17" fmla="*/ 10230 h 111728"/>
                    <a:gd name="connsiteX18" fmla="*/ 64122 w 132454"/>
                    <a:gd name="connsiteY18" fmla="*/ 12001 h 111728"/>
                    <a:gd name="connsiteX19" fmla="*/ 67723 w 132454"/>
                    <a:gd name="connsiteY19" fmla="*/ 11782 h 111728"/>
                    <a:gd name="connsiteX20" fmla="*/ 72704 w 132454"/>
                    <a:gd name="connsiteY20" fmla="*/ 11192 h 111728"/>
                    <a:gd name="connsiteX21" fmla="*/ 73676 w 132454"/>
                    <a:gd name="connsiteY21" fmla="*/ 12173 h 111728"/>
                    <a:gd name="connsiteX22" fmla="*/ 74295 w 132454"/>
                    <a:gd name="connsiteY22" fmla="*/ 12287 h 111728"/>
                    <a:gd name="connsiteX23" fmla="*/ 75457 w 132454"/>
                    <a:gd name="connsiteY23" fmla="*/ 12135 h 111728"/>
                    <a:gd name="connsiteX24" fmla="*/ 82325 w 132454"/>
                    <a:gd name="connsiteY24" fmla="*/ 11621 h 111728"/>
                    <a:gd name="connsiteX25" fmla="*/ 82687 w 132454"/>
                    <a:gd name="connsiteY25" fmla="*/ 12583 h 111728"/>
                    <a:gd name="connsiteX26" fmla="*/ 85468 w 132454"/>
                    <a:gd name="connsiteY26" fmla="*/ 13497 h 111728"/>
                    <a:gd name="connsiteX27" fmla="*/ 87563 w 132454"/>
                    <a:gd name="connsiteY27" fmla="*/ 13573 h 111728"/>
                    <a:gd name="connsiteX28" fmla="*/ 90288 w 132454"/>
                    <a:gd name="connsiteY28" fmla="*/ 13668 h 111728"/>
                    <a:gd name="connsiteX29" fmla="*/ 95269 w 132454"/>
                    <a:gd name="connsiteY29" fmla="*/ 14106 h 111728"/>
                    <a:gd name="connsiteX30" fmla="*/ 96355 w 132454"/>
                    <a:gd name="connsiteY30" fmla="*/ 14430 h 111728"/>
                    <a:gd name="connsiteX31" fmla="*/ 95917 w 132454"/>
                    <a:gd name="connsiteY31" fmla="*/ 15469 h 111728"/>
                    <a:gd name="connsiteX32" fmla="*/ 95717 w 132454"/>
                    <a:gd name="connsiteY32" fmla="*/ 15897 h 111728"/>
                    <a:gd name="connsiteX33" fmla="*/ 96107 w 132454"/>
                    <a:gd name="connsiteY33" fmla="*/ 15907 h 111728"/>
                    <a:gd name="connsiteX34" fmla="*/ 96984 w 132454"/>
                    <a:gd name="connsiteY34" fmla="*/ 15411 h 111728"/>
                    <a:gd name="connsiteX35" fmla="*/ 98098 w 132454"/>
                    <a:gd name="connsiteY35" fmla="*/ 15230 h 111728"/>
                    <a:gd name="connsiteX36" fmla="*/ 99050 w 132454"/>
                    <a:gd name="connsiteY36" fmla="*/ 14783 h 111728"/>
                    <a:gd name="connsiteX37" fmla="*/ 99822 w 132454"/>
                    <a:gd name="connsiteY37" fmla="*/ 14078 h 111728"/>
                    <a:gd name="connsiteX38" fmla="*/ 100717 w 132454"/>
                    <a:gd name="connsiteY38" fmla="*/ 13945 h 111728"/>
                    <a:gd name="connsiteX39" fmla="*/ 102137 w 132454"/>
                    <a:gd name="connsiteY39" fmla="*/ 14859 h 111728"/>
                    <a:gd name="connsiteX40" fmla="*/ 101965 w 132454"/>
                    <a:gd name="connsiteY40" fmla="*/ 15354 h 111728"/>
                    <a:gd name="connsiteX41" fmla="*/ 98774 w 132454"/>
                    <a:gd name="connsiteY41" fmla="*/ 16440 h 111728"/>
                    <a:gd name="connsiteX42" fmla="*/ 98822 w 132454"/>
                    <a:gd name="connsiteY42" fmla="*/ 16897 h 111728"/>
                    <a:gd name="connsiteX43" fmla="*/ 98831 w 132454"/>
                    <a:gd name="connsiteY43" fmla="*/ 17174 h 111728"/>
                    <a:gd name="connsiteX44" fmla="*/ 99470 w 132454"/>
                    <a:gd name="connsiteY44" fmla="*/ 17326 h 111728"/>
                    <a:gd name="connsiteX45" fmla="*/ 99279 w 132454"/>
                    <a:gd name="connsiteY45" fmla="*/ 17812 h 111728"/>
                    <a:gd name="connsiteX46" fmla="*/ 98117 w 132454"/>
                    <a:gd name="connsiteY46" fmla="*/ 18393 h 111728"/>
                    <a:gd name="connsiteX47" fmla="*/ 98746 w 132454"/>
                    <a:gd name="connsiteY47" fmla="*/ 18755 h 111728"/>
                    <a:gd name="connsiteX48" fmla="*/ 101689 w 132454"/>
                    <a:gd name="connsiteY48" fmla="*/ 17926 h 111728"/>
                    <a:gd name="connsiteX49" fmla="*/ 103127 w 132454"/>
                    <a:gd name="connsiteY49" fmla="*/ 17878 h 111728"/>
                    <a:gd name="connsiteX50" fmla="*/ 106699 w 132454"/>
                    <a:gd name="connsiteY50" fmla="*/ 18517 h 111728"/>
                    <a:gd name="connsiteX51" fmla="*/ 108480 w 132454"/>
                    <a:gd name="connsiteY51" fmla="*/ 18517 h 111728"/>
                    <a:gd name="connsiteX52" fmla="*/ 109814 w 132454"/>
                    <a:gd name="connsiteY52" fmla="*/ 17983 h 111728"/>
                    <a:gd name="connsiteX53" fmla="*/ 110214 w 132454"/>
                    <a:gd name="connsiteY53" fmla="*/ 17507 h 111728"/>
                    <a:gd name="connsiteX54" fmla="*/ 110843 w 132454"/>
                    <a:gd name="connsiteY54" fmla="*/ 17193 h 111728"/>
                    <a:gd name="connsiteX55" fmla="*/ 111090 w 132454"/>
                    <a:gd name="connsiteY55" fmla="*/ 17326 h 111728"/>
                    <a:gd name="connsiteX56" fmla="*/ 110890 w 132454"/>
                    <a:gd name="connsiteY56" fmla="*/ 17964 h 111728"/>
                    <a:gd name="connsiteX57" fmla="*/ 110223 w 132454"/>
                    <a:gd name="connsiteY57" fmla="*/ 19126 h 111728"/>
                    <a:gd name="connsiteX58" fmla="*/ 111700 w 132454"/>
                    <a:gd name="connsiteY58" fmla="*/ 19536 h 111728"/>
                    <a:gd name="connsiteX59" fmla="*/ 115310 w 132454"/>
                    <a:gd name="connsiteY59" fmla="*/ 19212 h 111728"/>
                    <a:gd name="connsiteX60" fmla="*/ 117348 w 132454"/>
                    <a:gd name="connsiteY60" fmla="*/ 19260 h 111728"/>
                    <a:gd name="connsiteX61" fmla="*/ 119291 w 132454"/>
                    <a:gd name="connsiteY61" fmla="*/ 19260 h 111728"/>
                    <a:gd name="connsiteX62" fmla="*/ 119491 w 132454"/>
                    <a:gd name="connsiteY62" fmla="*/ 19536 h 111728"/>
                    <a:gd name="connsiteX63" fmla="*/ 119605 w 132454"/>
                    <a:gd name="connsiteY63" fmla="*/ 20269 h 111728"/>
                    <a:gd name="connsiteX64" fmla="*/ 120406 w 132454"/>
                    <a:gd name="connsiteY64" fmla="*/ 21593 h 111728"/>
                    <a:gd name="connsiteX65" fmla="*/ 120596 w 132454"/>
                    <a:gd name="connsiteY65" fmla="*/ 22184 h 111728"/>
                    <a:gd name="connsiteX66" fmla="*/ 120368 w 132454"/>
                    <a:gd name="connsiteY66" fmla="*/ 23527 h 111728"/>
                    <a:gd name="connsiteX67" fmla="*/ 121034 w 132454"/>
                    <a:gd name="connsiteY67" fmla="*/ 24336 h 111728"/>
                    <a:gd name="connsiteX68" fmla="*/ 121015 w 132454"/>
                    <a:gd name="connsiteY68" fmla="*/ 25070 h 111728"/>
                    <a:gd name="connsiteX69" fmla="*/ 120758 w 132454"/>
                    <a:gd name="connsiteY69" fmla="*/ 25698 h 111728"/>
                    <a:gd name="connsiteX70" fmla="*/ 120767 w 132454"/>
                    <a:gd name="connsiteY70" fmla="*/ 26318 h 111728"/>
                    <a:gd name="connsiteX71" fmla="*/ 121015 w 132454"/>
                    <a:gd name="connsiteY71" fmla="*/ 27746 h 111728"/>
                    <a:gd name="connsiteX72" fmla="*/ 121768 w 132454"/>
                    <a:gd name="connsiteY72" fmla="*/ 28756 h 111728"/>
                    <a:gd name="connsiteX73" fmla="*/ 122015 w 132454"/>
                    <a:gd name="connsiteY73" fmla="*/ 29623 h 111728"/>
                    <a:gd name="connsiteX74" fmla="*/ 121749 w 132454"/>
                    <a:gd name="connsiteY74" fmla="*/ 30651 h 111728"/>
                    <a:gd name="connsiteX75" fmla="*/ 122215 w 132454"/>
                    <a:gd name="connsiteY75" fmla="*/ 31051 h 111728"/>
                    <a:gd name="connsiteX76" fmla="*/ 123435 w 132454"/>
                    <a:gd name="connsiteY76" fmla="*/ 30823 h 111728"/>
                    <a:gd name="connsiteX77" fmla="*/ 124111 w 132454"/>
                    <a:gd name="connsiteY77" fmla="*/ 30394 h 111728"/>
                    <a:gd name="connsiteX78" fmla="*/ 124473 w 132454"/>
                    <a:gd name="connsiteY78" fmla="*/ 29537 h 111728"/>
                    <a:gd name="connsiteX79" fmla="*/ 124806 w 132454"/>
                    <a:gd name="connsiteY79" fmla="*/ 29699 h 111728"/>
                    <a:gd name="connsiteX80" fmla="*/ 124759 w 132454"/>
                    <a:gd name="connsiteY80" fmla="*/ 31156 h 111728"/>
                    <a:gd name="connsiteX81" fmla="*/ 123520 w 132454"/>
                    <a:gd name="connsiteY81" fmla="*/ 33461 h 111728"/>
                    <a:gd name="connsiteX82" fmla="*/ 123034 w 132454"/>
                    <a:gd name="connsiteY82" fmla="*/ 34795 h 111728"/>
                    <a:gd name="connsiteX83" fmla="*/ 123054 w 132454"/>
                    <a:gd name="connsiteY83" fmla="*/ 36652 h 111728"/>
                    <a:gd name="connsiteX84" fmla="*/ 124063 w 132454"/>
                    <a:gd name="connsiteY84" fmla="*/ 37167 h 111728"/>
                    <a:gd name="connsiteX85" fmla="*/ 124559 w 132454"/>
                    <a:gd name="connsiteY85" fmla="*/ 37890 h 111728"/>
                    <a:gd name="connsiteX86" fmla="*/ 126806 w 132454"/>
                    <a:gd name="connsiteY86" fmla="*/ 38395 h 111728"/>
                    <a:gd name="connsiteX87" fmla="*/ 127140 w 132454"/>
                    <a:gd name="connsiteY87" fmla="*/ 38252 h 111728"/>
                    <a:gd name="connsiteX88" fmla="*/ 127254 w 132454"/>
                    <a:gd name="connsiteY88" fmla="*/ 37052 h 111728"/>
                    <a:gd name="connsiteX89" fmla="*/ 127664 w 132454"/>
                    <a:gd name="connsiteY89" fmla="*/ 36738 h 111728"/>
                    <a:gd name="connsiteX90" fmla="*/ 128540 w 132454"/>
                    <a:gd name="connsiteY90" fmla="*/ 36671 h 111728"/>
                    <a:gd name="connsiteX91" fmla="*/ 129883 w 132454"/>
                    <a:gd name="connsiteY91" fmla="*/ 36843 h 111728"/>
                    <a:gd name="connsiteX92" fmla="*/ 130512 w 132454"/>
                    <a:gd name="connsiteY92" fmla="*/ 37433 h 111728"/>
                    <a:gd name="connsiteX93" fmla="*/ 130445 w 132454"/>
                    <a:gd name="connsiteY93" fmla="*/ 38443 h 111728"/>
                    <a:gd name="connsiteX94" fmla="*/ 129559 w 132454"/>
                    <a:gd name="connsiteY94" fmla="*/ 39748 h 111728"/>
                    <a:gd name="connsiteX95" fmla="*/ 127245 w 132454"/>
                    <a:gd name="connsiteY95" fmla="*/ 41072 h 111728"/>
                    <a:gd name="connsiteX96" fmla="*/ 126425 w 132454"/>
                    <a:gd name="connsiteY96" fmla="*/ 42205 h 111728"/>
                    <a:gd name="connsiteX97" fmla="*/ 126435 w 132454"/>
                    <a:gd name="connsiteY97" fmla="*/ 42910 h 111728"/>
                    <a:gd name="connsiteX98" fmla="*/ 126787 w 132454"/>
                    <a:gd name="connsiteY98" fmla="*/ 43043 h 111728"/>
                    <a:gd name="connsiteX99" fmla="*/ 127473 w 132454"/>
                    <a:gd name="connsiteY99" fmla="*/ 42596 h 111728"/>
                    <a:gd name="connsiteX100" fmla="*/ 128054 w 132454"/>
                    <a:gd name="connsiteY100" fmla="*/ 42815 h 111728"/>
                    <a:gd name="connsiteX101" fmla="*/ 128530 w 132454"/>
                    <a:gd name="connsiteY101" fmla="*/ 43701 h 111728"/>
                    <a:gd name="connsiteX102" fmla="*/ 128416 w 132454"/>
                    <a:gd name="connsiteY102" fmla="*/ 44415 h 111728"/>
                    <a:gd name="connsiteX103" fmla="*/ 127711 w 132454"/>
                    <a:gd name="connsiteY103" fmla="*/ 44958 h 111728"/>
                    <a:gd name="connsiteX104" fmla="*/ 125930 w 132454"/>
                    <a:gd name="connsiteY104" fmla="*/ 45263 h 111728"/>
                    <a:gd name="connsiteX105" fmla="*/ 125587 w 132454"/>
                    <a:gd name="connsiteY105" fmla="*/ 45806 h 111728"/>
                    <a:gd name="connsiteX106" fmla="*/ 126740 w 132454"/>
                    <a:gd name="connsiteY106" fmla="*/ 46987 h 111728"/>
                    <a:gd name="connsiteX107" fmla="*/ 127311 w 132454"/>
                    <a:gd name="connsiteY107" fmla="*/ 48558 h 111728"/>
                    <a:gd name="connsiteX108" fmla="*/ 127921 w 132454"/>
                    <a:gd name="connsiteY108" fmla="*/ 48720 h 111728"/>
                    <a:gd name="connsiteX109" fmla="*/ 128054 w 132454"/>
                    <a:gd name="connsiteY109" fmla="*/ 49225 h 111728"/>
                    <a:gd name="connsiteX110" fmla="*/ 127721 w 132454"/>
                    <a:gd name="connsiteY110" fmla="*/ 50073 h 111728"/>
                    <a:gd name="connsiteX111" fmla="*/ 128149 w 132454"/>
                    <a:gd name="connsiteY111" fmla="*/ 50635 h 111728"/>
                    <a:gd name="connsiteX112" fmla="*/ 129835 w 132454"/>
                    <a:gd name="connsiteY112" fmla="*/ 51264 h 111728"/>
                    <a:gd name="connsiteX113" fmla="*/ 129797 w 132454"/>
                    <a:gd name="connsiteY113" fmla="*/ 52892 h 111728"/>
                    <a:gd name="connsiteX114" fmla="*/ 129740 w 132454"/>
                    <a:gd name="connsiteY114" fmla="*/ 53854 h 111728"/>
                    <a:gd name="connsiteX115" fmla="*/ 129550 w 132454"/>
                    <a:gd name="connsiteY115" fmla="*/ 54959 h 111728"/>
                    <a:gd name="connsiteX116" fmla="*/ 130083 w 132454"/>
                    <a:gd name="connsiteY116" fmla="*/ 55083 h 111728"/>
                    <a:gd name="connsiteX117" fmla="*/ 130797 w 132454"/>
                    <a:gd name="connsiteY117" fmla="*/ 54559 h 111728"/>
                    <a:gd name="connsiteX118" fmla="*/ 131283 w 132454"/>
                    <a:gd name="connsiteY118" fmla="*/ 53588 h 111728"/>
                    <a:gd name="connsiteX119" fmla="*/ 132455 w 132454"/>
                    <a:gd name="connsiteY119" fmla="*/ 53197 h 111728"/>
                    <a:gd name="connsiteX120" fmla="*/ 132302 w 132454"/>
                    <a:gd name="connsiteY120" fmla="*/ 53711 h 111728"/>
                    <a:gd name="connsiteX121" fmla="*/ 131150 w 132454"/>
                    <a:gd name="connsiteY121" fmla="*/ 54902 h 111728"/>
                    <a:gd name="connsiteX122" fmla="*/ 130816 w 132454"/>
                    <a:gd name="connsiteY122" fmla="*/ 55855 h 111728"/>
                    <a:gd name="connsiteX123" fmla="*/ 131302 w 132454"/>
                    <a:gd name="connsiteY123" fmla="*/ 56550 h 111728"/>
                    <a:gd name="connsiteX124" fmla="*/ 130112 w 132454"/>
                    <a:gd name="connsiteY124" fmla="*/ 56798 h 111728"/>
                    <a:gd name="connsiteX125" fmla="*/ 127273 w 132454"/>
                    <a:gd name="connsiteY125" fmla="*/ 56579 h 111728"/>
                    <a:gd name="connsiteX126" fmla="*/ 126416 w 132454"/>
                    <a:gd name="connsiteY126" fmla="*/ 55617 h 111728"/>
                    <a:gd name="connsiteX127" fmla="*/ 126187 w 132454"/>
                    <a:gd name="connsiteY127" fmla="*/ 55264 h 111728"/>
                    <a:gd name="connsiteX128" fmla="*/ 125340 w 132454"/>
                    <a:gd name="connsiteY128" fmla="*/ 55159 h 111728"/>
                    <a:gd name="connsiteX129" fmla="*/ 125225 w 132454"/>
                    <a:gd name="connsiteY129" fmla="*/ 54816 h 111728"/>
                    <a:gd name="connsiteX130" fmla="*/ 126111 w 132454"/>
                    <a:gd name="connsiteY130" fmla="*/ 53835 h 111728"/>
                    <a:gd name="connsiteX131" fmla="*/ 125997 w 132454"/>
                    <a:gd name="connsiteY131" fmla="*/ 53569 h 111728"/>
                    <a:gd name="connsiteX132" fmla="*/ 124073 w 132454"/>
                    <a:gd name="connsiteY132" fmla="*/ 53797 h 111728"/>
                    <a:gd name="connsiteX133" fmla="*/ 121901 w 132454"/>
                    <a:gd name="connsiteY133" fmla="*/ 54492 h 111728"/>
                    <a:gd name="connsiteX134" fmla="*/ 120310 w 132454"/>
                    <a:gd name="connsiteY134" fmla="*/ 55340 h 111728"/>
                    <a:gd name="connsiteX135" fmla="*/ 119834 w 132454"/>
                    <a:gd name="connsiteY135" fmla="*/ 56321 h 111728"/>
                    <a:gd name="connsiteX136" fmla="*/ 120120 w 132454"/>
                    <a:gd name="connsiteY136" fmla="*/ 57341 h 111728"/>
                    <a:gd name="connsiteX137" fmla="*/ 121149 w 132454"/>
                    <a:gd name="connsiteY137" fmla="*/ 58398 h 111728"/>
                    <a:gd name="connsiteX138" fmla="*/ 120901 w 132454"/>
                    <a:gd name="connsiteY138" fmla="*/ 60198 h 111728"/>
                    <a:gd name="connsiteX139" fmla="*/ 119377 w 132454"/>
                    <a:gd name="connsiteY139" fmla="*/ 62741 h 111728"/>
                    <a:gd name="connsiteX140" fmla="*/ 117758 w 132454"/>
                    <a:gd name="connsiteY140" fmla="*/ 64456 h 111728"/>
                    <a:gd name="connsiteX141" fmla="*/ 116034 w 132454"/>
                    <a:gd name="connsiteY141" fmla="*/ 65332 h 111728"/>
                    <a:gd name="connsiteX142" fmla="*/ 112538 w 132454"/>
                    <a:gd name="connsiteY142" fmla="*/ 64703 h 111728"/>
                    <a:gd name="connsiteX143" fmla="*/ 107280 w 132454"/>
                    <a:gd name="connsiteY143" fmla="*/ 62551 h 111728"/>
                    <a:gd name="connsiteX144" fmla="*/ 104651 w 132454"/>
                    <a:gd name="connsiteY144" fmla="*/ 60636 h 111728"/>
                    <a:gd name="connsiteX145" fmla="*/ 104413 w 132454"/>
                    <a:gd name="connsiteY145" fmla="*/ 58036 h 111728"/>
                    <a:gd name="connsiteX146" fmla="*/ 103946 w 132454"/>
                    <a:gd name="connsiteY146" fmla="*/ 57855 h 111728"/>
                    <a:gd name="connsiteX147" fmla="*/ 100308 w 132454"/>
                    <a:gd name="connsiteY147" fmla="*/ 58693 h 111728"/>
                    <a:gd name="connsiteX148" fmla="*/ 98041 w 132454"/>
                    <a:gd name="connsiteY148" fmla="*/ 59769 h 111728"/>
                    <a:gd name="connsiteX149" fmla="*/ 95783 w 132454"/>
                    <a:gd name="connsiteY149" fmla="*/ 61303 h 111728"/>
                    <a:gd name="connsiteX150" fmla="*/ 95593 w 132454"/>
                    <a:gd name="connsiteY150" fmla="*/ 60827 h 111728"/>
                    <a:gd name="connsiteX151" fmla="*/ 97488 w 132454"/>
                    <a:gd name="connsiteY151" fmla="*/ 58331 h 111728"/>
                    <a:gd name="connsiteX152" fmla="*/ 98527 w 132454"/>
                    <a:gd name="connsiteY152" fmla="*/ 56779 h 111728"/>
                    <a:gd name="connsiteX153" fmla="*/ 98727 w 132454"/>
                    <a:gd name="connsiteY153" fmla="*/ 56159 h 111728"/>
                    <a:gd name="connsiteX154" fmla="*/ 98327 w 132454"/>
                    <a:gd name="connsiteY154" fmla="*/ 55664 h 111728"/>
                    <a:gd name="connsiteX155" fmla="*/ 97336 w 132454"/>
                    <a:gd name="connsiteY155" fmla="*/ 55274 h 111728"/>
                    <a:gd name="connsiteX156" fmla="*/ 95641 w 132454"/>
                    <a:gd name="connsiteY156" fmla="*/ 55493 h 111728"/>
                    <a:gd name="connsiteX157" fmla="*/ 92688 w 132454"/>
                    <a:gd name="connsiteY157" fmla="*/ 56655 h 111728"/>
                    <a:gd name="connsiteX158" fmla="*/ 92221 w 132454"/>
                    <a:gd name="connsiteY158" fmla="*/ 56521 h 111728"/>
                    <a:gd name="connsiteX159" fmla="*/ 92488 w 132454"/>
                    <a:gd name="connsiteY159" fmla="*/ 56121 h 111728"/>
                    <a:gd name="connsiteX160" fmla="*/ 95888 w 132454"/>
                    <a:gd name="connsiteY160" fmla="*/ 54216 h 111728"/>
                    <a:gd name="connsiteX161" fmla="*/ 97222 w 132454"/>
                    <a:gd name="connsiteY161" fmla="*/ 53169 h 111728"/>
                    <a:gd name="connsiteX162" fmla="*/ 97717 w 132454"/>
                    <a:gd name="connsiteY162" fmla="*/ 52207 h 111728"/>
                    <a:gd name="connsiteX163" fmla="*/ 98508 w 132454"/>
                    <a:gd name="connsiteY163" fmla="*/ 51340 h 111728"/>
                    <a:gd name="connsiteX164" fmla="*/ 99603 w 132454"/>
                    <a:gd name="connsiteY164" fmla="*/ 50568 h 111728"/>
                    <a:gd name="connsiteX165" fmla="*/ 99603 w 132454"/>
                    <a:gd name="connsiteY165" fmla="*/ 50225 h 111728"/>
                    <a:gd name="connsiteX166" fmla="*/ 98508 w 132454"/>
                    <a:gd name="connsiteY166" fmla="*/ 50292 h 111728"/>
                    <a:gd name="connsiteX167" fmla="*/ 97803 w 132454"/>
                    <a:gd name="connsiteY167" fmla="*/ 50625 h 111728"/>
                    <a:gd name="connsiteX168" fmla="*/ 95993 w 132454"/>
                    <a:gd name="connsiteY168" fmla="*/ 51987 h 111728"/>
                    <a:gd name="connsiteX169" fmla="*/ 94450 w 132454"/>
                    <a:gd name="connsiteY169" fmla="*/ 51864 h 111728"/>
                    <a:gd name="connsiteX170" fmla="*/ 94412 w 132454"/>
                    <a:gd name="connsiteY170" fmla="*/ 51549 h 111728"/>
                    <a:gd name="connsiteX171" fmla="*/ 95241 w 132454"/>
                    <a:gd name="connsiteY171" fmla="*/ 50768 h 111728"/>
                    <a:gd name="connsiteX172" fmla="*/ 95136 w 132454"/>
                    <a:gd name="connsiteY172" fmla="*/ 50282 h 111728"/>
                    <a:gd name="connsiteX173" fmla="*/ 94107 w 132454"/>
                    <a:gd name="connsiteY173" fmla="*/ 50082 h 111728"/>
                    <a:gd name="connsiteX174" fmla="*/ 94193 w 132454"/>
                    <a:gd name="connsiteY174" fmla="*/ 49187 h 111728"/>
                    <a:gd name="connsiteX175" fmla="*/ 93917 w 132454"/>
                    <a:gd name="connsiteY175" fmla="*/ 48997 h 111728"/>
                    <a:gd name="connsiteX176" fmla="*/ 92831 w 132454"/>
                    <a:gd name="connsiteY176" fmla="*/ 48377 h 111728"/>
                    <a:gd name="connsiteX177" fmla="*/ 93536 w 132454"/>
                    <a:gd name="connsiteY177" fmla="*/ 46711 h 111728"/>
                    <a:gd name="connsiteX178" fmla="*/ 93736 w 132454"/>
                    <a:gd name="connsiteY178" fmla="*/ 45368 h 111728"/>
                    <a:gd name="connsiteX179" fmla="*/ 93421 w 132454"/>
                    <a:gd name="connsiteY179" fmla="*/ 44348 h 111728"/>
                    <a:gd name="connsiteX180" fmla="*/ 93850 w 132454"/>
                    <a:gd name="connsiteY180" fmla="*/ 43329 h 111728"/>
                    <a:gd name="connsiteX181" fmla="*/ 95507 w 132454"/>
                    <a:gd name="connsiteY181" fmla="*/ 41672 h 111728"/>
                    <a:gd name="connsiteX182" fmla="*/ 95317 w 132454"/>
                    <a:gd name="connsiteY182" fmla="*/ 41443 h 111728"/>
                    <a:gd name="connsiteX183" fmla="*/ 92659 w 132454"/>
                    <a:gd name="connsiteY183" fmla="*/ 41224 h 111728"/>
                    <a:gd name="connsiteX184" fmla="*/ 87506 w 132454"/>
                    <a:gd name="connsiteY184" fmla="*/ 41024 h 111728"/>
                    <a:gd name="connsiteX185" fmla="*/ 84601 w 132454"/>
                    <a:gd name="connsiteY185" fmla="*/ 41367 h 111728"/>
                    <a:gd name="connsiteX186" fmla="*/ 83925 w 132454"/>
                    <a:gd name="connsiteY186" fmla="*/ 42243 h 111728"/>
                    <a:gd name="connsiteX187" fmla="*/ 84211 w 132454"/>
                    <a:gd name="connsiteY187" fmla="*/ 42891 h 111728"/>
                    <a:gd name="connsiteX188" fmla="*/ 85449 w 132454"/>
                    <a:gd name="connsiteY188" fmla="*/ 43320 h 111728"/>
                    <a:gd name="connsiteX189" fmla="*/ 86116 w 132454"/>
                    <a:gd name="connsiteY189" fmla="*/ 44053 h 111728"/>
                    <a:gd name="connsiteX190" fmla="*/ 86135 w 132454"/>
                    <a:gd name="connsiteY190" fmla="*/ 44691 h 111728"/>
                    <a:gd name="connsiteX191" fmla="*/ 86773 w 132454"/>
                    <a:gd name="connsiteY191" fmla="*/ 45339 h 111728"/>
                    <a:gd name="connsiteX192" fmla="*/ 87211 w 132454"/>
                    <a:gd name="connsiteY192" fmla="*/ 46720 h 111728"/>
                    <a:gd name="connsiteX193" fmla="*/ 87459 w 132454"/>
                    <a:gd name="connsiteY193" fmla="*/ 48806 h 111728"/>
                    <a:gd name="connsiteX194" fmla="*/ 87983 w 132454"/>
                    <a:gd name="connsiteY194" fmla="*/ 49673 h 111728"/>
                    <a:gd name="connsiteX195" fmla="*/ 88964 w 132454"/>
                    <a:gd name="connsiteY195" fmla="*/ 49778 h 111728"/>
                    <a:gd name="connsiteX196" fmla="*/ 89440 w 132454"/>
                    <a:gd name="connsiteY196" fmla="*/ 49978 h 111728"/>
                    <a:gd name="connsiteX197" fmla="*/ 88306 w 132454"/>
                    <a:gd name="connsiteY197" fmla="*/ 52083 h 111728"/>
                    <a:gd name="connsiteX198" fmla="*/ 88125 w 132454"/>
                    <a:gd name="connsiteY198" fmla="*/ 53369 h 111728"/>
                    <a:gd name="connsiteX199" fmla="*/ 88630 w 132454"/>
                    <a:gd name="connsiteY199" fmla="*/ 54559 h 111728"/>
                    <a:gd name="connsiteX200" fmla="*/ 88554 w 132454"/>
                    <a:gd name="connsiteY200" fmla="*/ 55893 h 111728"/>
                    <a:gd name="connsiteX201" fmla="*/ 87335 w 132454"/>
                    <a:gd name="connsiteY201" fmla="*/ 58207 h 111728"/>
                    <a:gd name="connsiteX202" fmla="*/ 86278 w 132454"/>
                    <a:gd name="connsiteY202" fmla="*/ 60493 h 111728"/>
                    <a:gd name="connsiteX203" fmla="*/ 85001 w 132454"/>
                    <a:gd name="connsiteY203" fmla="*/ 61979 h 111728"/>
                    <a:gd name="connsiteX204" fmla="*/ 82677 w 132454"/>
                    <a:gd name="connsiteY204" fmla="*/ 63684 h 111728"/>
                    <a:gd name="connsiteX205" fmla="*/ 81029 w 132454"/>
                    <a:gd name="connsiteY205" fmla="*/ 65113 h 111728"/>
                    <a:gd name="connsiteX206" fmla="*/ 80039 w 132454"/>
                    <a:gd name="connsiteY206" fmla="*/ 66256 h 111728"/>
                    <a:gd name="connsiteX207" fmla="*/ 78877 w 132454"/>
                    <a:gd name="connsiteY207" fmla="*/ 67018 h 111728"/>
                    <a:gd name="connsiteX208" fmla="*/ 77524 w 132454"/>
                    <a:gd name="connsiteY208" fmla="*/ 67399 h 111728"/>
                    <a:gd name="connsiteX209" fmla="*/ 75924 w 132454"/>
                    <a:gd name="connsiteY209" fmla="*/ 68208 h 111728"/>
                    <a:gd name="connsiteX210" fmla="*/ 74066 w 132454"/>
                    <a:gd name="connsiteY210" fmla="*/ 69447 h 111728"/>
                    <a:gd name="connsiteX211" fmla="*/ 72495 w 132454"/>
                    <a:gd name="connsiteY211" fmla="*/ 70980 h 111728"/>
                    <a:gd name="connsiteX212" fmla="*/ 71199 w 132454"/>
                    <a:gd name="connsiteY212" fmla="*/ 72819 h 111728"/>
                    <a:gd name="connsiteX213" fmla="*/ 69247 w 132454"/>
                    <a:gd name="connsiteY213" fmla="*/ 74714 h 111728"/>
                    <a:gd name="connsiteX214" fmla="*/ 66618 w 132454"/>
                    <a:gd name="connsiteY214" fmla="*/ 76657 h 111728"/>
                    <a:gd name="connsiteX215" fmla="*/ 64875 w 132454"/>
                    <a:gd name="connsiteY215" fmla="*/ 78877 h 111728"/>
                    <a:gd name="connsiteX216" fmla="*/ 64018 w 132454"/>
                    <a:gd name="connsiteY216" fmla="*/ 81362 h 111728"/>
                    <a:gd name="connsiteX217" fmla="*/ 58788 w 132454"/>
                    <a:gd name="connsiteY217" fmla="*/ 92059 h 111728"/>
                    <a:gd name="connsiteX218" fmla="*/ 57788 w 132454"/>
                    <a:gd name="connsiteY218" fmla="*/ 94717 h 111728"/>
                    <a:gd name="connsiteX219" fmla="*/ 56283 w 132454"/>
                    <a:gd name="connsiteY219" fmla="*/ 97346 h 111728"/>
                    <a:gd name="connsiteX220" fmla="*/ 54283 w 132454"/>
                    <a:gd name="connsiteY220" fmla="*/ 99946 h 111728"/>
                    <a:gd name="connsiteX221" fmla="*/ 52064 w 132454"/>
                    <a:gd name="connsiteY221" fmla="*/ 101984 h 111728"/>
                    <a:gd name="connsiteX222" fmla="*/ 49616 w 132454"/>
                    <a:gd name="connsiteY222" fmla="*/ 103461 h 111728"/>
                    <a:gd name="connsiteX223" fmla="*/ 47358 w 132454"/>
                    <a:gd name="connsiteY223" fmla="*/ 104556 h 111728"/>
                    <a:gd name="connsiteX224" fmla="*/ 45310 w 132454"/>
                    <a:gd name="connsiteY224" fmla="*/ 105251 h 111728"/>
                    <a:gd name="connsiteX225" fmla="*/ 43129 w 132454"/>
                    <a:gd name="connsiteY225" fmla="*/ 106432 h 111728"/>
                    <a:gd name="connsiteX226" fmla="*/ 40815 w 132454"/>
                    <a:gd name="connsiteY226" fmla="*/ 108099 h 111728"/>
                    <a:gd name="connsiteX227" fmla="*/ 37538 w 132454"/>
                    <a:gd name="connsiteY227" fmla="*/ 109604 h 111728"/>
                    <a:gd name="connsiteX228" fmla="*/ 33328 w 132454"/>
                    <a:gd name="connsiteY228" fmla="*/ 110919 h 111728"/>
                    <a:gd name="connsiteX229" fmla="*/ 30061 w 132454"/>
                    <a:gd name="connsiteY229" fmla="*/ 111728 h 111728"/>
                    <a:gd name="connsiteX230" fmla="*/ 29985 w 132454"/>
                    <a:gd name="connsiteY230" fmla="*/ 111071 h 111728"/>
                    <a:gd name="connsiteX231" fmla="*/ 29842 w 132454"/>
                    <a:gd name="connsiteY231" fmla="*/ 109728 h 111728"/>
                    <a:gd name="connsiteX232" fmla="*/ 31433 w 132454"/>
                    <a:gd name="connsiteY232" fmla="*/ 103470 h 111728"/>
                    <a:gd name="connsiteX233" fmla="*/ 34776 w 132454"/>
                    <a:gd name="connsiteY233" fmla="*/ 92297 h 111728"/>
                    <a:gd name="connsiteX234" fmla="*/ 36424 w 132454"/>
                    <a:gd name="connsiteY234" fmla="*/ 85373 h 111728"/>
                    <a:gd name="connsiteX235" fmla="*/ 36328 w 132454"/>
                    <a:gd name="connsiteY235" fmla="*/ 82706 h 111728"/>
                    <a:gd name="connsiteX236" fmla="*/ 35414 w 132454"/>
                    <a:gd name="connsiteY236" fmla="*/ 80677 h 111728"/>
                    <a:gd name="connsiteX237" fmla="*/ 33652 w 132454"/>
                    <a:gd name="connsiteY237" fmla="*/ 79286 h 111728"/>
                    <a:gd name="connsiteX238" fmla="*/ 32090 w 132454"/>
                    <a:gd name="connsiteY238" fmla="*/ 78686 h 111728"/>
                    <a:gd name="connsiteX239" fmla="*/ 30709 w 132454"/>
                    <a:gd name="connsiteY239" fmla="*/ 78877 h 111728"/>
                    <a:gd name="connsiteX240" fmla="*/ 28118 w 132454"/>
                    <a:gd name="connsiteY240" fmla="*/ 80010 h 111728"/>
                    <a:gd name="connsiteX241" fmla="*/ 23832 w 132454"/>
                    <a:gd name="connsiteY241" fmla="*/ 81001 h 111728"/>
                    <a:gd name="connsiteX242" fmla="*/ 21955 w 132454"/>
                    <a:gd name="connsiteY242" fmla="*/ 81658 h 111728"/>
                    <a:gd name="connsiteX243" fmla="*/ 20612 w 132454"/>
                    <a:gd name="connsiteY243" fmla="*/ 82534 h 111728"/>
                    <a:gd name="connsiteX244" fmla="*/ 19307 w 132454"/>
                    <a:gd name="connsiteY244" fmla="*/ 83048 h 111728"/>
                    <a:gd name="connsiteX245" fmla="*/ 18040 w 132454"/>
                    <a:gd name="connsiteY245" fmla="*/ 83201 h 111728"/>
                    <a:gd name="connsiteX246" fmla="*/ 17783 w 132454"/>
                    <a:gd name="connsiteY246" fmla="*/ 83430 h 111728"/>
                    <a:gd name="connsiteX247" fmla="*/ 18555 w 132454"/>
                    <a:gd name="connsiteY247" fmla="*/ 83753 h 111728"/>
                    <a:gd name="connsiteX248" fmla="*/ 18136 w 132454"/>
                    <a:gd name="connsiteY248" fmla="*/ 84601 h 111728"/>
                    <a:gd name="connsiteX249" fmla="*/ 13649 w 132454"/>
                    <a:gd name="connsiteY249" fmla="*/ 88411 h 111728"/>
                    <a:gd name="connsiteX250" fmla="*/ 13649 w 132454"/>
                    <a:gd name="connsiteY250" fmla="*/ 88411 h 111728"/>
                    <a:gd name="connsiteX251" fmla="*/ 13649 w 132454"/>
                    <a:gd name="connsiteY251" fmla="*/ 88411 h 111728"/>
                    <a:gd name="connsiteX252" fmla="*/ 13649 w 132454"/>
                    <a:gd name="connsiteY252" fmla="*/ 88411 h 111728"/>
                    <a:gd name="connsiteX253" fmla="*/ 13649 w 132454"/>
                    <a:gd name="connsiteY253" fmla="*/ 88411 h 111728"/>
                    <a:gd name="connsiteX254" fmla="*/ 13649 w 132454"/>
                    <a:gd name="connsiteY254" fmla="*/ 88411 h 111728"/>
                    <a:gd name="connsiteX255" fmla="*/ 12630 w 132454"/>
                    <a:gd name="connsiteY255" fmla="*/ 89278 h 111728"/>
                    <a:gd name="connsiteX256" fmla="*/ 10925 w 132454"/>
                    <a:gd name="connsiteY256" fmla="*/ 89592 h 111728"/>
                    <a:gd name="connsiteX257" fmla="*/ 9268 w 132454"/>
                    <a:gd name="connsiteY257" fmla="*/ 90345 h 111728"/>
                    <a:gd name="connsiteX258" fmla="*/ 6991 w 132454"/>
                    <a:gd name="connsiteY258" fmla="*/ 92259 h 111728"/>
                    <a:gd name="connsiteX259" fmla="*/ 5486 w 132454"/>
                    <a:gd name="connsiteY259" fmla="*/ 92745 h 111728"/>
                    <a:gd name="connsiteX260" fmla="*/ 3743 w 132454"/>
                    <a:gd name="connsiteY260" fmla="*/ 92564 h 111728"/>
                    <a:gd name="connsiteX261" fmla="*/ 1267 w 132454"/>
                    <a:gd name="connsiteY261" fmla="*/ 91402 h 111728"/>
                    <a:gd name="connsiteX262" fmla="*/ 19 w 132454"/>
                    <a:gd name="connsiteY262" fmla="*/ 90240 h 111728"/>
                    <a:gd name="connsiteX263" fmla="*/ 0 w 132454"/>
                    <a:gd name="connsiteY263" fmla="*/ 89068 h 111728"/>
                    <a:gd name="connsiteX264" fmla="*/ 667 w 132454"/>
                    <a:gd name="connsiteY264" fmla="*/ 87678 h 111728"/>
                    <a:gd name="connsiteX265" fmla="*/ 2038 w 132454"/>
                    <a:gd name="connsiteY265" fmla="*/ 86039 h 111728"/>
                    <a:gd name="connsiteX266" fmla="*/ 2658 w 132454"/>
                    <a:gd name="connsiteY266" fmla="*/ 84725 h 111728"/>
                    <a:gd name="connsiteX267" fmla="*/ 5201 w 132454"/>
                    <a:gd name="connsiteY267" fmla="*/ 81991 h 111728"/>
                    <a:gd name="connsiteX268" fmla="*/ 7258 w 132454"/>
                    <a:gd name="connsiteY268" fmla="*/ 81010 h 111728"/>
                    <a:gd name="connsiteX269" fmla="*/ 9639 w 132454"/>
                    <a:gd name="connsiteY269" fmla="*/ 80791 h 111728"/>
                    <a:gd name="connsiteX270" fmla="*/ 11116 w 132454"/>
                    <a:gd name="connsiteY270" fmla="*/ 80353 h 111728"/>
                    <a:gd name="connsiteX271" fmla="*/ 11678 w 132454"/>
                    <a:gd name="connsiteY271" fmla="*/ 79715 h 111728"/>
                    <a:gd name="connsiteX272" fmla="*/ 12621 w 132454"/>
                    <a:gd name="connsiteY272" fmla="*/ 79248 h 111728"/>
                    <a:gd name="connsiteX273" fmla="*/ 13916 w 132454"/>
                    <a:gd name="connsiteY273" fmla="*/ 78981 h 111728"/>
                    <a:gd name="connsiteX274" fmla="*/ 15783 w 132454"/>
                    <a:gd name="connsiteY274" fmla="*/ 77238 h 111728"/>
                    <a:gd name="connsiteX275" fmla="*/ 18221 w 132454"/>
                    <a:gd name="connsiteY275" fmla="*/ 74047 h 111728"/>
                    <a:gd name="connsiteX276" fmla="*/ 20069 w 132454"/>
                    <a:gd name="connsiteY276" fmla="*/ 72285 h 111728"/>
                    <a:gd name="connsiteX277" fmla="*/ 20898 w 132454"/>
                    <a:gd name="connsiteY277" fmla="*/ 71980 h 111728"/>
                    <a:gd name="connsiteX278" fmla="*/ 21479 w 132454"/>
                    <a:gd name="connsiteY278" fmla="*/ 72085 h 111728"/>
                    <a:gd name="connsiteX279" fmla="*/ 21308 w 132454"/>
                    <a:gd name="connsiteY279" fmla="*/ 72485 h 111728"/>
                    <a:gd name="connsiteX280" fmla="*/ 24965 w 132454"/>
                    <a:gd name="connsiteY280" fmla="*/ 70437 h 111728"/>
                    <a:gd name="connsiteX281" fmla="*/ 26651 w 132454"/>
                    <a:gd name="connsiteY281" fmla="*/ 69018 h 111728"/>
                    <a:gd name="connsiteX282" fmla="*/ 27451 w 132454"/>
                    <a:gd name="connsiteY282" fmla="*/ 67551 h 111728"/>
                    <a:gd name="connsiteX283" fmla="*/ 29861 w 132454"/>
                    <a:gd name="connsiteY283" fmla="*/ 63294 h 111728"/>
                    <a:gd name="connsiteX284" fmla="*/ 31566 w 132454"/>
                    <a:gd name="connsiteY284" fmla="*/ 60550 h 111728"/>
                    <a:gd name="connsiteX285" fmla="*/ 32576 w 132454"/>
                    <a:gd name="connsiteY285" fmla="*/ 59303 h 111728"/>
                    <a:gd name="connsiteX286" fmla="*/ 34071 w 132454"/>
                    <a:gd name="connsiteY286" fmla="*/ 56093 h 111728"/>
                    <a:gd name="connsiteX287" fmla="*/ 34671 w 132454"/>
                    <a:gd name="connsiteY287" fmla="*/ 53445 h 111728"/>
                    <a:gd name="connsiteX288" fmla="*/ 33242 w 132454"/>
                    <a:gd name="connsiteY288" fmla="*/ 50540 h 111728"/>
                    <a:gd name="connsiteX289" fmla="*/ 33328 w 132454"/>
                    <a:gd name="connsiteY289" fmla="*/ 49578 h 111728"/>
                    <a:gd name="connsiteX290" fmla="*/ 33947 w 132454"/>
                    <a:gd name="connsiteY290" fmla="*/ 48549 h 111728"/>
                    <a:gd name="connsiteX291" fmla="*/ 35109 w 132454"/>
                    <a:gd name="connsiteY291" fmla="*/ 47473 h 111728"/>
                    <a:gd name="connsiteX292" fmla="*/ 36538 w 132454"/>
                    <a:gd name="connsiteY292" fmla="*/ 47225 h 111728"/>
                    <a:gd name="connsiteX293" fmla="*/ 38376 w 132454"/>
                    <a:gd name="connsiteY293" fmla="*/ 48063 h 111728"/>
                    <a:gd name="connsiteX294" fmla="*/ 38862 w 132454"/>
                    <a:gd name="connsiteY294" fmla="*/ 47863 h 111728"/>
                    <a:gd name="connsiteX295" fmla="*/ 38481 w 132454"/>
                    <a:gd name="connsiteY295" fmla="*/ 47377 h 111728"/>
                    <a:gd name="connsiteX296" fmla="*/ 38614 w 132454"/>
                    <a:gd name="connsiteY296" fmla="*/ 46396 h 111728"/>
                    <a:gd name="connsiteX297" fmla="*/ 39243 w 132454"/>
                    <a:gd name="connsiteY297" fmla="*/ 44958 h 111728"/>
                    <a:gd name="connsiteX298" fmla="*/ 39357 w 132454"/>
                    <a:gd name="connsiteY298" fmla="*/ 44167 h 111728"/>
                    <a:gd name="connsiteX299" fmla="*/ 38957 w 132454"/>
                    <a:gd name="connsiteY299" fmla="*/ 44025 h 111728"/>
                    <a:gd name="connsiteX300" fmla="*/ 38548 w 132454"/>
                    <a:gd name="connsiteY300" fmla="*/ 42377 h 111728"/>
                    <a:gd name="connsiteX301" fmla="*/ 38814 w 132454"/>
                    <a:gd name="connsiteY301" fmla="*/ 41519 h 111728"/>
                    <a:gd name="connsiteX302" fmla="*/ 39367 w 132454"/>
                    <a:gd name="connsiteY302" fmla="*/ 40729 h 111728"/>
                    <a:gd name="connsiteX303" fmla="*/ 39300 w 132454"/>
                    <a:gd name="connsiteY303" fmla="*/ 39929 h 111728"/>
                    <a:gd name="connsiteX304" fmla="*/ 38252 w 132454"/>
                    <a:gd name="connsiteY304" fmla="*/ 38681 h 111728"/>
                    <a:gd name="connsiteX305" fmla="*/ 35833 w 132454"/>
                    <a:gd name="connsiteY305" fmla="*/ 37405 h 111728"/>
                    <a:gd name="connsiteX306" fmla="*/ 29718 w 132454"/>
                    <a:gd name="connsiteY306" fmla="*/ 34976 h 111728"/>
                    <a:gd name="connsiteX307" fmla="*/ 28880 w 132454"/>
                    <a:gd name="connsiteY307" fmla="*/ 34033 h 111728"/>
                    <a:gd name="connsiteX308" fmla="*/ 27337 w 132454"/>
                    <a:gd name="connsiteY308" fmla="*/ 33480 h 111728"/>
                    <a:gd name="connsiteX309" fmla="*/ 25118 w 132454"/>
                    <a:gd name="connsiteY309" fmla="*/ 33309 h 111728"/>
                    <a:gd name="connsiteX310" fmla="*/ 24022 w 132454"/>
                    <a:gd name="connsiteY310" fmla="*/ 32575 h 111728"/>
                    <a:gd name="connsiteX311" fmla="*/ 24079 w 132454"/>
                    <a:gd name="connsiteY311" fmla="*/ 31271 h 111728"/>
                    <a:gd name="connsiteX312" fmla="*/ 23679 w 132454"/>
                    <a:gd name="connsiteY312" fmla="*/ 30099 h 111728"/>
                    <a:gd name="connsiteX313" fmla="*/ 22812 w 132454"/>
                    <a:gd name="connsiteY313" fmla="*/ 29051 h 111728"/>
                    <a:gd name="connsiteX314" fmla="*/ 20926 w 132454"/>
                    <a:gd name="connsiteY314" fmla="*/ 28356 h 111728"/>
                    <a:gd name="connsiteX315" fmla="*/ 18012 w 132454"/>
                    <a:gd name="connsiteY315" fmla="*/ 28042 h 111728"/>
                    <a:gd name="connsiteX316" fmla="*/ 15354 w 132454"/>
                    <a:gd name="connsiteY316" fmla="*/ 26908 h 111728"/>
                    <a:gd name="connsiteX317" fmla="*/ 12954 w 132454"/>
                    <a:gd name="connsiteY317" fmla="*/ 24975 h 111728"/>
                    <a:gd name="connsiteX318" fmla="*/ 11354 w 132454"/>
                    <a:gd name="connsiteY318" fmla="*/ 24384 h 111728"/>
                    <a:gd name="connsiteX319" fmla="*/ 12678 w 132454"/>
                    <a:gd name="connsiteY319" fmla="*/ 22165 h 111728"/>
                    <a:gd name="connsiteX320" fmla="*/ 13440 w 132454"/>
                    <a:gd name="connsiteY320" fmla="*/ 22203 h 111728"/>
                    <a:gd name="connsiteX321" fmla="*/ 13973 w 132454"/>
                    <a:gd name="connsiteY321" fmla="*/ 21917 h 111728"/>
                    <a:gd name="connsiteX322" fmla="*/ 14173 w 132454"/>
                    <a:gd name="connsiteY322" fmla="*/ 21574 h 111728"/>
                    <a:gd name="connsiteX323" fmla="*/ 14059 w 132454"/>
                    <a:gd name="connsiteY323" fmla="*/ 21155 h 111728"/>
                    <a:gd name="connsiteX324" fmla="*/ 15088 w 132454"/>
                    <a:gd name="connsiteY324" fmla="*/ 19621 h 111728"/>
                    <a:gd name="connsiteX325" fmla="*/ 15116 w 132454"/>
                    <a:gd name="connsiteY325" fmla="*/ 19183 h 111728"/>
                    <a:gd name="connsiteX326" fmla="*/ 17717 w 132454"/>
                    <a:gd name="connsiteY326" fmla="*/ 16802 h 111728"/>
                    <a:gd name="connsiteX327" fmla="*/ 19193 w 132454"/>
                    <a:gd name="connsiteY327" fmla="*/ 16192 h 111728"/>
                    <a:gd name="connsiteX328" fmla="*/ 20403 w 132454"/>
                    <a:gd name="connsiteY328" fmla="*/ 16412 h 111728"/>
                    <a:gd name="connsiteX329" fmla="*/ 20984 w 132454"/>
                    <a:gd name="connsiteY329" fmla="*/ 16926 h 111728"/>
                    <a:gd name="connsiteX330" fmla="*/ 20907 w 132454"/>
                    <a:gd name="connsiteY330" fmla="*/ 17726 h 111728"/>
                    <a:gd name="connsiteX331" fmla="*/ 21165 w 132454"/>
                    <a:gd name="connsiteY331" fmla="*/ 18012 h 111728"/>
                    <a:gd name="connsiteX332" fmla="*/ 21974 w 132454"/>
                    <a:gd name="connsiteY332" fmla="*/ 18040 h 111728"/>
                    <a:gd name="connsiteX333" fmla="*/ 22374 w 132454"/>
                    <a:gd name="connsiteY333" fmla="*/ 18155 h 111728"/>
                    <a:gd name="connsiteX334" fmla="*/ 22679 w 132454"/>
                    <a:gd name="connsiteY334" fmla="*/ 18088 h 111728"/>
                    <a:gd name="connsiteX335" fmla="*/ 23327 w 132454"/>
                    <a:gd name="connsiteY335" fmla="*/ 17650 h 111728"/>
                    <a:gd name="connsiteX336" fmla="*/ 26060 w 132454"/>
                    <a:gd name="connsiteY336" fmla="*/ 17850 h 111728"/>
                    <a:gd name="connsiteX337" fmla="*/ 35090 w 132454"/>
                    <a:gd name="connsiteY337" fmla="*/ 19050 h 111728"/>
                    <a:gd name="connsiteX338" fmla="*/ 36519 w 132454"/>
                    <a:gd name="connsiteY338" fmla="*/ 18859 h 111728"/>
                    <a:gd name="connsiteX339" fmla="*/ 37490 w 132454"/>
                    <a:gd name="connsiteY339" fmla="*/ 18440 h 111728"/>
                    <a:gd name="connsiteX340" fmla="*/ 38014 w 132454"/>
                    <a:gd name="connsiteY340" fmla="*/ 17793 h 111728"/>
                    <a:gd name="connsiteX341" fmla="*/ 37719 w 132454"/>
                    <a:gd name="connsiteY341" fmla="*/ 17183 h 111728"/>
                    <a:gd name="connsiteX342" fmla="*/ 35871 w 132454"/>
                    <a:gd name="connsiteY342" fmla="*/ 15897 h 111728"/>
                    <a:gd name="connsiteX343" fmla="*/ 35547 w 132454"/>
                    <a:gd name="connsiteY343" fmla="*/ 15059 h 111728"/>
                    <a:gd name="connsiteX344" fmla="*/ 35766 w 132454"/>
                    <a:gd name="connsiteY344" fmla="*/ 14268 h 111728"/>
                    <a:gd name="connsiteX345" fmla="*/ 36528 w 132454"/>
                    <a:gd name="connsiteY345" fmla="*/ 13516 h 111728"/>
                    <a:gd name="connsiteX346" fmla="*/ 36338 w 132454"/>
                    <a:gd name="connsiteY346" fmla="*/ 12840 h 111728"/>
                    <a:gd name="connsiteX347" fmla="*/ 35233 w 132454"/>
                    <a:gd name="connsiteY347" fmla="*/ 12230 h 111728"/>
                    <a:gd name="connsiteX348" fmla="*/ 32166 w 132454"/>
                    <a:gd name="connsiteY348" fmla="*/ 12059 h 111728"/>
                    <a:gd name="connsiteX349" fmla="*/ 31937 w 132454"/>
                    <a:gd name="connsiteY349" fmla="*/ 11439 h 111728"/>
                    <a:gd name="connsiteX350" fmla="*/ 32518 w 132454"/>
                    <a:gd name="connsiteY350" fmla="*/ 10830 h 111728"/>
                    <a:gd name="connsiteX351" fmla="*/ 33852 w 132454"/>
                    <a:gd name="connsiteY351" fmla="*/ 10058 h 111728"/>
                    <a:gd name="connsiteX352" fmla="*/ 34500 w 132454"/>
                    <a:gd name="connsiteY352" fmla="*/ 8915 h 111728"/>
                    <a:gd name="connsiteX353" fmla="*/ 34547 w 132454"/>
                    <a:gd name="connsiteY353" fmla="*/ 8268 h 111728"/>
                    <a:gd name="connsiteX354" fmla="*/ 35166 w 132454"/>
                    <a:gd name="connsiteY354" fmla="*/ 6306 h 111728"/>
                    <a:gd name="connsiteX355" fmla="*/ 35185 w 132454"/>
                    <a:gd name="connsiteY355" fmla="*/ 4991 h 111728"/>
                    <a:gd name="connsiteX356" fmla="*/ 34833 w 132454"/>
                    <a:gd name="connsiteY356" fmla="*/ 3048 h 111728"/>
                    <a:gd name="connsiteX357" fmla="*/ 34662 w 132454"/>
                    <a:gd name="connsiteY357" fmla="*/ 2343 h 111728"/>
                    <a:gd name="connsiteX358" fmla="*/ 34071 w 132454"/>
                    <a:gd name="connsiteY358" fmla="*/ 1924 h 111728"/>
                    <a:gd name="connsiteX359" fmla="*/ 34862 w 132454"/>
                    <a:gd name="connsiteY359" fmla="*/ 991 h 111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Lst>
                  <a:rect l="l" t="t" r="r" b="b"/>
                  <a:pathLst>
                    <a:path w="132454" h="111728">
                      <a:moveTo>
                        <a:pt x="34862" y="991"/>
                      </a:moveTo>
                      <a:lnTo>
                        <a:pt x="38167" y="181"/>
                      </a:lnTo>
                      <a:lnTo>
                        <a:pt x="40129" y="0"/>
                      </a:lnTo>
                      <a:lnTo>
                        <a:pt x="40996" y="733"/>
                      </a:lnTo>
                      <a:lnTo>
                        <a:pt x="41281" y="1753"/>
                      </a:lnTo>
                      <a:lnTo>
                        <a:pt x="40796" y="2838"/>
                      </a:lnTo>
                      <a:lnTo>
                        <a:pt x="39500" y="4162"/>
                      </a:lnTo>
                      <a:lnTo>
                        <a:pt x="38805" y="5334"/>
                      </a:lnTo>
                      <a:lnTo>
                        <a:pt x="38719" y="6353"/>
                      </a:lnTo>
                      <a:lnTo>
                        <a:pt x="39976" y="6887"/>
                      </a:lnTo>
                      <a:lnTo>
                        <a:pt x="42596" y="6944"/>
                      </a:lnTo>
                      <a:lnTo>
                        <a:pt x="43844" y="7229"/>
                      </a:lnTo>
                      <a:lnTo>
                        <a:pt x="43891" y="8068"/>
                      </a:lnTo>
                      <a:lnTo>
                        <a:pt x="44358" y="8201"/>
                      </a:lnTo>
                      <a:lnTo>
                        <a:pt x="49006" y="8582"/>
                      </a:lnTo>
                      <a:lnTo>
                        <a:pt x="50616" y="8963"/>
                      </a:lnTo>
                      <a:lnTo>
                        <a:pt x="50883" y="9506"/>
                      </a:lnTo>
                      <a:lnTo>
                        <a:pt x="53502" y="10230"/>
                      </a:lnTo>
                      <a:lnTo>
                        <a:pt x="64122" y="12001"/>
                      </a:lnTo>
                      <a:lnTo>
                        <a:pt x="67723" y="11782"/>
                      </a:lnTo>
                      <a:lnTo>
                        <a:pt x="72704" y="11192"/>
                      </a:lnTo>
                      <a:lnTo>
                        <a:pt x="73676" y="12173"/>
                      </a:lnTo>
                      <a:lnTo>
                        <a:pt x="74295" y="12287"/>
                      </a:lnTo>
                      <a:lnTo>
                        <a:pt x="75457" y="12135"/>
                      </a:lnTo>
                      <a:lnTo>
                        <a:pt x="82325" y="11621"/>
                      </a:lnTo>
                      <a:lnTo>
                        <a:pt x="82687" y="12583"/>
                      </a:lnTo>
                      <a:lnTo>
                        <a:pt x="85468" y="13497"/>
                      </a:lnTo>
                      <a:lnTo>
                        <a:pt x="87563" y="13573"/>
                      </a:lnTo>
                      <a:lnTo>
                        <a:pt x="90288" y="13668"/>
                      </a:lnTo>
                      <a:lnTo>
                        <a:pt x="95269" y="14106"/>
                      </a:lnTo>
                      <a:lnTo>
                        <a:pt x="96355" y="14430"/>
                      </a:lnTo>
                      <a:lnTo>
                        <a:pt x="95917" y="15469"/>
                      </a:lnTo>
                      <a:lnTo>
                        <a:pt x="95717" y="15897"/>
                      </a:lnTo>
                      <a:lnTo>
                        <a:pt x="96107" y="15907"/>
                      </a:lnTo>
                      <a:lnTo>
                        <a:pt x="96984" y="15411"/>
                      </a:lnTo>
                      <a:lnTo>
                        <a:pt x="98098" y="15230"/>
                      </a:lnTo>
                      <a:lnTo>
                        <a:pt x="99050" y="14783"/>
                      </a:lnTo>
                      <a:lnTo>
                        <a:pt x="99822" y="14078"/>
                      </a:lnTo>
                      <a:lnTo>
                        <a:pt x="100717" y="13945"/>
                      </a:lnTo>
                      <a:lnTo>
                        <a:pt x="102137" y="14859"/>
                      </a:lnTo>
                      <a:lnTo>
                        <a:pt x="101965" y="15354"/>
                      </a:lnTo>
                      <a:lnTo>
                        <a:pt x="98774" y="16440"/>
                      </a:lnTo>
                      <a:lnTo>
                        <a:pt x="98822" y="16897"/>
                      </a:lnTo>
                      <a:lnTo>
                        <a:pt x="98831" y="17174"/>
                      </a:lnTo>
                      <a:lnTo>
                        <a:pt x="99470" y="17326"/>
                      </a:lnTo>
                      <a:lnTo>
                        <a:pt x="99279" y="17812"/>
                      </a:lnTo>
                      <a:lnTo>
                        <a:pt x="98117" y="18393"/>
                      </a:lnTo>
                      <a:lnTo>
                        <a:pt x="98746" y="18755"/>
                      </a:lnTo>
                      <a:lnTo>
                        <a:pt x="101689" y="17926"/>
                      </a:lnTo>
                      <a:lnTo>
                        <a:pt x="103127" y="17878"/>
                      </a:lnTo>
                      <a:lnTo>
                        <a:pt x="106699" y="18517"/>
                      </a:lnTo>
                      <a:lnTo>
                        <a:pt x="108480" y="18517"/>
                      </a:lnTo>
                      <a:lnTo>
                        <a:pt x="109814" y="17983"/>
                      </a:lnTo>
                      <a:lnTo>
                        <a:pt x="110214" y="17507"/>
                      </a:lnTo>
                      <a:lnTo>
                        <a:pt x="110843" y="17193"/>
                      </a:lnTo>
                      <a:lnTo>
                        <a:pt x="111090" y="17326"/>
                      </a:lnTo>
                      <a:lnTo>
                        <a:pt x="110890" y="17964"/>
                      </a:lnTo>
                      <a:lnTo>
                        <a:pt x="110223" y="19126"/>
                      </a:lnTo>
                      <a:lnTo>
                        <a:pt x="111700" y="19536"/>
                      </a:lnTo>
                      <a:lnTo>
                        <a:pt x="115310" y="19212"/>
                      </a:lnTo>
                      <a:lnTo>
                        <a:pt x="117348" y="19260"/>
                      </a:lnTo>
                      <a:lnTo>
                        <a:pt x="119291" y="19260"/>
                      </a:lnTo>
                      <a:lnTo>
                        <a:pt x="119491" y="19536"/>
                      </a:lnTo>
                      <a:lnTo>
                        <a:pt x="119605" y="20269"/>
                      </a:lnTo>
                      <a:lnTo>
                        <a:pt x="120406" y="21593"/>
                      </a:lnTo>
                      <a:lnTo>
                        <a:pt x="120596" y="22184"/>
                      </a:lnTo>
                      <a:lnTo>
                        <a:pt x="120368" y="23527"/>
                      </a:lnTo>
                      <a:lnTo>
                        <a:pt x="121034" y="24336"/>
                      </a:lnTo>
                      <a:lnTo>
                        <a:pt x="121015" y="25070"/>
                      </a:lnTo>
                      <a:lnTo>
                        <a:pt x="120758" y="25698"/>
                      </a:lnTo>
                      <a:lnTo>
                        <a:pt x="120767" y="26318"/>
                      </a:lnTo>
                      <a:lnTo>
                        <a:pt x="121015" y="27746"/>
                      </a:lnTo>
                      <a:lnTo>
                        <a:pt x="121768" y="28756"/>
                      </a:lnTo>
                      <a:lnTo>
                        <a:pt x="122015" y="29623"/>
                      </a:lnTo>
                      <a:lnTo>
                        <a:pt x="121749" y="30651"/>
                      </a:lnTo>
                      <a:lnTo>
                        <a:pt x="122215" y="31051"/>
                      </a:lnTo>
                      <a:lnTo>
                        <a:pt x="123435" y="30823"/>
                      </a:lnTo>
                      <a:lnTo>
                        <a:pt x="124111" y="30394"/>
                      </a:lnTo>
                      <a:lnTo>
                        <a:pt x="124473" y="29537"/>
                      </a:lnTo>
                      <a:lnTo>
                        <a:pt x="124806" y="29699"/>
                      </a:lnTo>
                      <a:lnTo>
                        <a:pt x="124759" y="31156"/>
                      </a:lnTo>
                      <a:lnTo>
                        <a:pt x="123520" y="33461"/>
                      </a:lnTo>
                      <a:lnTo>
                        <a:pt x="123034" y="34795"/>
                      </a:lnTo>
                      <a:lnTo>
                        <a:pt x="123054" y="36652"/>
                      </a:lnTo>
                      <a:lnTo>
                        <a:pt x="124063" y="37167"/>
                      </a:lnTo>
                      <a:lnTo>
                        <a:pt x="124559" y="37890"/>
                      </a:lnTo>
                      <a:lnTo>
                        <a:pt x="126806" y="38395"/>
                      </a:lnTo>
                      <a:lnTo>
                        <a:pt x="127140" y="38252"/>
                      </a:lnTo>
                      <a:lnTo>
                        <a:pt x="127254" y="37052"/>
                      </a:lnTo>
                      <a:lnTo>
                        <a:pt x="127664" y="36738"/>
                      </a:lnTo>
                      <a:lnTo>
                        <a:pt x="128540" y="36671"/>
                      </a:lnTo>
                      <a:lnTo>
                        <a:pt x="129883" y="36843"/>
                      </a:lnTo>
                      <a:lnTo>
                        <a:pt x="130512" y="37433"/>
                      </a:lnTo>
                      <a:lnTo>
                        <a:pt x="130445" y="38443"/>
                      </a:lnTo>
                      <a:lnTo>
                        <a:pt x="129559" y="39748"/>
                      </a:lnTo>
                      <a:lnTo>
                        <a:pt x="127245" y="41072"/>
                      </a:lnTo>
                      <a:lnTo>
                        <a:pt x="126425" y="42205"/>
                      </a:lnTo>
                      <a:lnTo>
                        <a:pt x="126435" y="42910"/>
                      </a:lnTo>
                      <a:lnTo>
                        <a:pt x="126787" y="43043"/>
                      </a:lnTo>
                      <a:lnTo>
                        <a:pt x="127473" y="42596"/>
                      </a:lnTo>
                      <a:lnTo>
                        <a:pt x="128054" y="42815"/>
                      </a:lnTo>
                      <a:lnTo>
                        <a:pt x="128530" y="43701"/>
                      </a:lnTo>
                      <a:lnTo>
                        <a:pt x="128416" y="44415"/>
                      </a:lnTo>
                      <a:lnTo>
                        <a:pt x="127711" y="44958"/>
                      </a:lnTo>
                      <a:lnTo>
                        <a:pt x="125930" y="45263"/>
                      </a:lnTo>
                      <a:lnTo>
                        <a:pt x="125587" y="45806"/>
                      </a:lnTo>
                      <a:lnTo>
                        <a:pt x="126740" y="46987"/>
                      </a:lnTo>
                      <a:lnTo>
                        <a:pt x="127311" y="48558"/>
                      </a:lnTo>
                      <a:lnTo>
                        <a:pt x="127921" y="48720"/>
                      </a:lnTo>
                      <a:lnTo>
                        <a:pt x="128054" y="49225"/>
                      </a:lnTo>
                      <a:lnTo>
                        <a:pt x="127721" y="50073"/>
                      </a:lnTo>
                      <a:lnTo>
                        <a:pt x="128149" y="50635"/>
                      </a:lnTo>
                      <a:lnTo>
                        <a:pt x="129835" y="51264"/>
                      </a:lnTo>
                      <a:lnTo>
                        <a:pt x="129797" y="52892"/>
                      </a:lnTo>
                      <a:lnTo>
                        <a:pt x="129740" y="53854"/>
                      </a:lnTo>
                      <a:lnTo>
                        <a:pt x="129550" y="54959"/>
                      </a:lnTo>
                      <a:lnTo>
                        <a:pt x="130083" y="55083"/>
                      </a:lnTo>
                      <a:lnTo>
                        <a:pt x="130797" y="54559"/>
                      </a:lnTo>
                      <a:lnTo>
                        <a:pt x="131283" y="53588"/>
                      </a:lnTo>
                      <a:lnTo>
                        <a:pt x="132455" y="53197"/>
                      </a:lnTo>
                      <a:lnTo>
                        <a:pt x="132302" y="53711"/>
                      </a:lnTo>
                      <a:lnTo>
                        <a:pt x="131150" y="54902"/>
                      </a:lnTo>
                      <a:lnTo>
                        <a:pt x="130816" y="55855"/>
                      </a:lnTo>
                      <a:lnTo>
                        <a:pt x="131302" y="56550"/>
                      </a:lnTo>
                      <a:lnTo>
                        <a:pt x="130112" y="56798"/>
                      </a:lnTo>
                      <a:lnTo>
                        <a:pt x="127273" y="56579"/>
                      </a:lnTo>
                      <a:lnTo>
                        <a:pt x="126416" y="55617"/>
                      </a:lnTo>
                      <a:lnTo>
                        <a:pt x="126187" y="55264"/>
                      </a:lnTo>
                      <a:lnTo>
                        <a:pt x="125340" y="55159"/>
                      </a:lnTo>
                      <a:lnTo>
                        <a:pt x="125225" y="54816"/>
                      </a:lnTo>
                      <a:lnTo>
                        <a:pt x="126111" y="53835"/>
                      </a:lnTo>
                      <a:lnTo>
                        <a:pt x="125997" y="53569"/>
                      </a:lnTo>
                      <a:lnTo>
                        <a:pt x="124073" y="53797"/>
                      </a:lnTo>
                      <a:lnTo>
                        <a:pt x="121901" y="54492"/>
                      </a:lnTo>
                      <a:lnTo>
                        <a:pt x="120310" y="55340"/>
                      </a:lnTo>
                      <a:lnTo>
                        <a:pt x="119834" y="56321"/>
                      </a:lnTo>
                      <a:lnTo>
                        <a:pt x="120120" y="57341"/>
                      </a:lnTo>
                      <a:lnTo>
                        <a:pt x="121149" y="58398"/>
                      </a:lnTo>
                      <a:lnTo>
                        <a:pt x="120901" y="60198"/>
                      </a:lnTo>
                      <a:lnTo>
                        <a:pt x="119377" y="62741"/>
                      </a:lnTo>
                      <a:lnTo>
                        <a:pt x="117758" y="64456"/>
                      </a:lnTo>
                      <a:lnTo>
                        <a:pt x="116034" y="65332"/>
                      </a:lnTo>
                      <a:lnTo>
                        <a:pt x="112538" y="64703"/>
                      </a:lnTo>
                      <a:lnTo>
                        <a:pt x="107280" y="62551"/>
                      </a:lnTo>
                      <a:lnTo>
                        <a:pt x="104651" y="60636"/>
                      </a:lnTo>
                      <a:lnTo>
                        <a:pt x="104413" y="58036"/>
                      </a:lnTo>
                      <a:lnTo>
                        <a:pt x="103946" y="57855"/>
                      </a:lnTo>
                      <a:lnTo>
                        <a:pt x="100308" y="58693"/>
                      </a:lnTo>
                      <a:lnTo>
                        <a:pt x="98041" y="59769"/>
                      </a:lnTo>
                      <a:lnTo>
                        <a:pt x="95783" y="61303"/>
                      </a:lnTo>
                      <a:lnTo>
                        <a:pt x="95593" y="60827"/>
                      </a:lnTo>
                      <a:lnTo>
                        <a:pt x="97488" y="58331"/>
                      </a:lnTo>
                      <a:lnTo>
                        <a:pt x="98527" y="56779"/>
                      </a:lnTo>
                      <a:lnTo>
                        <a:pt x="98727" y="56159"/>
                      </a:lnTo>
                      <a:lnTo>
                        <a:pt x="98327" y="55664"/>
                      </a:lnTo>
                      <a:lnTo>
                        <a:pt x="97336" y="55274"/>
                      </a:lnTo>
                      <a:lnTo>
                        <a:pt x="95641" y="55493"/>
                      </a:lnTo>
                      <a:lnTo>
                        <a:pt x="92688" y="56655"/>
                      </a:lnTo>
                      <a:lnTo>
                        <a:pt x="92221" y="56521"/>
                      </a:lnTo>
                      <a:lnTo>
                        <a:pt x="92488" y="56121"/>
                      </a:lnTo>
                      <a:lnTo>
                        <a:pt x="95888" y="54216"/>
                      </a:lnTo>
                      <a:lnTo>
                        <a:pt x="97222" y="53169"/>
                      </a:lnTo>
                      <a:lnTo>
                        <a:pt x="97717" y="52207"/>
                      </a:lnTo>
                      <a:lnTo>
                        <a:pt x="98508" y="51340"/>
                      </a:lnTo>
                      <a:lnTo>
                        <a:pt x="99603" y="50568"/>
                      </a:lnTo>
                      <a:lnTo>
                        <a:pt x="99603" y="50225"/>
                      </a:lnTo>
                      <a:lnTo>
                        <a:pt x="98508" y="50292"/>
                      </a:lnTo>
                      <a:lnTo>
                        <a:pt x="97803" y="50625"/>
                      </a:lnTo>
                      <a:lnTo>
                        <a:pt x="95993" y="51987"/>
                      </a:lnTo>
                      <a:lnTo>
                        <a:pt x="94450" y="51864"/>
                      </a:lnTo>
                      <a:lnTo>
                        <a:pt x="94412" y="51549"/>
                      </a:lnTo>
                      <a:lnTo>
                        <a:pt x="95241" y="50768"/>
                      </a:lnTo>
                      <a:lnTo>
                        <a:pt x="95136" y="50282"/>
                      </a:lnTo>
                      <a:lnTo>
                        <a:pt x="94107" y="50082"/>
                      </a:lnTo>
                      <a:lnTo>
                        <a:pt x="94193" y="49187"/>
                      </a:lnTo>
                      <a:lnTo>
                        <a:pt x="93917" y="48997"/>
                      </a:lnTo>
                      <a:lnTo>
                        <a:pt x="92831" y="48377"/>
                      </a:lnTo>
                      <a:lnTo>
                        <a:pt x="93536" y="46711"/>
                      </a:lnTo>
                      <a:lnTo>
                        <a:pt x="93736" y="45368"/>
                      </a:lnTo>
                      <a:lnTo>
                        <a:pt x="93421" y="44348"/>
                      </a:lnTo>
                      <a:lnTo>
                        <a:pt x="93850" y="43329"/>
                      </a:lnTo>
                      <a:lnTo>
                        <a:pt x="95507" y="41672"/>
                      </a:lnTo>
                      <a:lnTo>
                        <a:pt x="95317" y="41443"/>
                      </a:lnTo>
                      <a:lnTo>
                        <a:pt x="92659" y="41224"/>
                      </a:lnTo>
                      <a:lnTo>
                        <a:pt x="87506" y="41024"/>
                      </a:lnTo>
                      <a:lnTo>
                        <a:pt x="84601" y="41367"/>
                      </a:lnTo>
                      <a:lnTo>
                        <a:pt x="83925" y="42243"/>
                      </a:lnTo>
                      <a:lnTo>
                        <a:pt x="84211" y="42891"/>
                      </a:lnTo>
                      <a:lnTo>
                        <a:pt x="85449" y="43320"/>
                      </a:lnTo>
                      <a:lnTo>
                        <a:pt x="86116" y="44053"/>
                      </a:lnTo>
                      <a:lnTo>
                        <a:pt x="86135" y="44691"/>
                      </a:lnTo>
                      <a:lnTo>
                        <a:pt x="86773" y="45339"/>
                      </a:lnTo>
                      <a:lnTo>
                        <a:pt x="87211" y="46720"/>
                      </a:lnTo>
                      <a:lnTo>
                        <a:pt x="87459" y="48806"/>
                      </a:lnTo>
                      <a:lnTo>
                        <a:pt x="87983" y="49673"/>
                      </a:lnTo>
                      <a:lnTo>
                        <a:pt x="88964" y="49778"/>
                      </a:lnTo>
                      <a:lnTo>
                        <a:pt x="89440" y="49978"/>
                      </a:lnTo>
                      <a:lnTo>
                        <a:pt x="88306" y="52083"/>
                      </a:lnTo>
                      <a:lnTo>
                        <a:pt x="88125" y="53369"/>
                      </a:lnTo>
                      <a:lnTo>
                        <a:pt x="88630" y="54559"/>
                      </a:lnTo>
                      <a:lnTo>
                        <a:pt x="88554" y="55893"/>
                      </a:lnTo>
                      <a:lnTo>
                        <a:pt x="87335" y="58207"/>
                      </a:lnTo>
                      <a:lnTo>
                        <a:pt x="86278" y="60493"/>
                      </a:lnTo>
                      <a:lnTo>
                        <a:pt x="85001" y="61979"/>
                      </a:lnTo>
                      <a:lnTo>
                        <a:pt x="82677" y="63684"/>
                      </a:lnTo>
                      <a:lnTo>
                        <a:pt x="81029" y="65113"/>
                      </a:lnTo>
                      <a:lnTo>
                        <a:pt x="80039" y="66256"/>
                      </a:lnTo>
                      <a:lnTo>
                        <a:pt x="78877" y="67018"/>
                      </a:lnTo>
                      <a:lnTo>
                        <a:pt x="77524" y="67399"/>
                      </a:lnTo>
                      <a:lnTo>
                        <a:pt x="75924" y="68208"/>
                      </a:lnTo>
                      <a:lnTo>
                        <a:pt x="74066" y="69447"/>
                      </a:lnTo>
                      <a:lnTo>
                        <a:pt x="72495" y="70980"/>
                      </a:lnTo>
                      <a:lnTo>
                        <a:pt x="71199" y="72819"/>
                      </a:lnTo>
                      <a:lnTo>
                        <a:pt x="69247" y="74714"/>
                      </a:lnTo>
                      <a:lnTo>
                        <a:pt x="66618" y="76657"/>
                      </a:lnTo>
                      <a:lnTo>
                        <a:pt x="64875" y="78877"/>
                      </a:lnTo>
                      <a:lnTo>
                        <a:pt x="64018" y="81362"/>
                      </a:lnTo>
                      <a:lnTo>
                        <a:pt x="58788" y="92059"/>
                      </a:lnTo>
                      <a:lnTo>
                        <a:pt x="57788" y="94717"/>
                      </a:lnTo>
                      <a:lnTo>
                        <a:pt x="56283" y="97346"/>
                      </a:lnTo>
                      <a:lnTo>
                        <a:pt x="54283" y="99946"/>
                      </a:lnTo>
                      <a:lnTo>
                        <a:pt x="52064" y="101984"/>
                      </a:lnTo>
                      <a:lnTo>
                        <a:pt x="49616" y="103461"/>
                      </a:lnTo>
                      <a:lnTo>
                        <a:pt x="47358" y="104556"/>
                      </a:lnTo>
                      <a:lnTo>
                        <a:pt x="45310" y="105251"/>
                      </a:lnTo>
                      <a:lnTo>
                        <a:pt x="43129" y="106432"/>
                      </a:lnTo>
                      <a:lnTo>
                        <a:pt x="40815" y="108099"/>
                      </a:lnTo>
                      <a:lnTo>
                        <a:pt x="37538" y="109604"/>
                      </a:lnTo>
                      <a:lnTo>
                        <a:pt x="33328" y="110919"/>
                      </a:lnTo>
                      <a:lnTo>
                        <a:pt x="30061" y="111728"/>
                      </a:lnTo>
                      <a:lnTo>
                        <a:pt x="29985" y="111071"/>
                      </a:lnTo>
                      <a:lnTo>
                        <a:pt x="29842" y="109728"/>
                      </a:lnTo>
                      <a:lnTo>
                        <a:pt x="31433" y="103470"/>
                      </a:lnTo>
                      <a:lnTo>
                        <a:pt x="34776" y="92297"/>
                      </a:lnTo>
                      <a:lnTo>
                        <a:pt x="36424" y="85373"/>
                      </a:lnTo>
                      <a:lnTo>
                        <a:pt x="36328" y="82706"/>
                      </a:lnTo>
                      <a:lnTo>
                        <a:pt x="35414" y="80677"/>
                      </a:lnTo>
                      <a:lnTo>
                        <a:pt x="33652" y="79286"/>
                      </a:lnTo>
                      <a:lnTo>
                        <a:pt x="32090" y="78686"/>
                      </a:lnTo>
                      <a:lnTo>
                        <a:pt x="30709" y="78877"/>
                      </a:lnTo>
                      <a:lnTo>
                        <a:pt x="28118" y="80010"/>
                      </a:lnTo>
                      <a:lnTo>
                        <a:pt x="23832" y="81001"/>
                      </a:lnTo>
                      <a:lnTo>
                        <a:pt x="21955" y="81658"/>
                      </a:lnTo>
                      <a:lnTo>
                        <a:pt x="20612" y="82534"/>
                      </a:lnTo>
                      <a:lnTo>
                        <a:pt x="19307" y="83048"/>
                      </a:lnTo>
                      <a:lnTo>
                        <a:pt x="18040" y="83201"/>
                      </a:lnTo>
                      <a:lnTo>
                        <a:pt x="17783" y="83430"/>
                      </a:lnTo>
                      <a:lnTo>
                        <a:pt x="18555" y="83753"/>
                      </a:lnTo>
                      <a:lnTo>
                        <a:pt x="18136" y="84601"/>
                      </a:lnTo>
                      <a:lnTo>
                        <a:pt x="13649" y="88411"/>
                      </a:lnTo>
                      <a:lnTo>
                        <a:pt x="13649" y="88411"/>
                      </a:lnTo>
                      <a:lnTo>
                        <a:pt x="13649" y="88411"/>
                      </a:lnTo>
                      <a:lnTo>
                        <a:pt x="13649" y="88411"/>
                      </a:lnTo>
                      <a:lnTo>
                        <a:pt x="13649" y="88411"/>
                      </a:lnTo>
                      <a:lnTo>
                        <a:pt x="13649" y="88411"/>
                      </a:lnTo>
                      <a:lnTo>
                        <a:pt x="12630" y="89278"/>
                      </a:lnTo>
                      <a:lnTo>
                        <a:pt x="10925" y="89592"/>
                      </a:lnTo>
                      <a:lnTo>
                        <a:pt x="9268" y="90345"/>
                      </a:lnTo>
                      <a:lnTo>
                        <a:pt x="6991" y="92259"/>
                      </a:lnTo>
                      <a:lnTo>
                        <a:pt x="5486" y="92745"/>
                      </a:lnTo>
                      <a:lnTo>
                        <a:pt x="3743" y="92564"/>
                      </a:lnTo>
                      <a:lnTo>
                        <a:pt x="1267" y="91402"/>
                      </a:lnTo>
                      <a:lnTo>
                        <a:pt x="19" y="90240"/>
                      </a:lnTo>
                      <a:lnTo>
                        <a:pt x="0" y="89068"/>
                      </a:lnTo>
                      <a:lnTo>
                        <a:pt x="667" y="87678"/>
                      </a:lnTo>
                      <a:lnTo>
                        <a:pt x="2038" y="86039"/>
                      </a:lnTo>
                      <a:lnTo>
                        <a:pt x="2658" y="84725"/>
                      </a:lnTo>
                      <a:lnTo>
                        <a:pt x="5201" y="81991"/>
                      </a:lnTo>
                      <a:lnTo>
                        <a:pt x="7258" y="81010"/>
                      </a:lnTo>
                      <a:lnTo>
                        <a:pt x="9639" y="80791"/>
                      </a:lnTo>
                      <a:lnTo>
                        <a:pt x="11116" y="80353"/>
                      </a:lnTo>
                      <a:lnTo>
                        <a:pt x="11678" y="79715"/>
                      </a:lnTo>
                      <a:lnTo>
                        <a:pt x="12621" y="79248"/>
                      </a:lnTo>
                      <a:lnTo>
                        <a:pt x="13916" y="78981"/>
                      </a:lnTo>
                      <a:lnTo>
                        <a:pt x="15783" y="77238"/>
                      </a:lnTo>
                      <a:lnTo>
                        <a:pt x="18221" y="74047"/>
                      </a:lnTo>
                      <a:lnTo>
                        <a:pt x="20069" y="72285"/>
                      </a:lnTo>
                      <a:lnTo>
                        <a:pt x="20898" y="71980"/>
                      </a:lnTo>
                      <a:lnTo>
                        <a:pt x="21479" y="72085"/>
                      </a:lnTo>
                      <a:lnTo>
                        <a:pt x="21308" y="72485"/>
                      </a:lnTo>
                      <a:lnTo>
                        <a:pt x="24965" y="70437"/>
                      </a:lnTo>
                      <a:lnTo>
                        <a:pt x="26651" y="69018"/>
                      </a:lnTo>
                      <a:lnTo>
                        <a:pt x="27451" y="67551"/>
                      </a:lnTo>
                      <a:lnTo>
                        <a:pt x="29861" y="63294"/>
                      </a:lnTo>
                      <a:lnTo>
                        <a:pt x="31566" y="60550"/>
                      </a:lnTo>
                      <a:lnTo>
                        <a:pt x="32576" y="59303"/>
                      </a:lnTo>
                      <a:lnTo>
                        <a:pt x="34071" y="56093"/>
                      </a:lnTo>
                      <a:lnTo>
                        <a:pt x="34671" y="53445"/>
                      </a:lnTo>
                      <a:lnTo>
                        <a:pt x="33242" y="50540"/>
                      </a:lnTo>
                      <a:lnTo>
                        <a:pt x="33328" y="49578"/>
                      </a:lnTo>
                      <a:lnTo>
                        <a:pt x="33947" y="48549"/>
                      </a:lnTo>
                      <a:lnTo>
                        <a:pt x="35109" y="47473"/>
                      </a:lnTo>
                      <a:lnTo>
                        <a:pt x="36538" y="47225"/>
                      </a:lnTo>
                      <a:lnTo>
                        <a:pt x="38376" y="48063"/>
                      </a:lnTo>
                      <a:lnTo>
                        <a:pt x="38862" y="47863"/>
                      </a:lnTo>
                      <a:lnTo>
                        <a:pt x="38481" y="47377"/>
                      </a:lnTo>
                      <a:lnTo>
                        <a:pt x="38614" y="46396"/>
                      </a:lnTo>
                      <a:lnTo>
                        <a:pt x="39243" y="44958"/>
                      </a:lnTo>
                      <a:lnTo>
                        <a:pt x="39357" y="44167"/>
                      </a:lnTo>
                      <a:lnTo>
                        <a:pt x="38957" y="44025"/>
                      </a:lnTo>
                      <a:lnTo>
                        <a:pt x="38548" y="42377"/>
                      </a:lnTo>
                      <a:lnTo>
                        <a:pt x="38814" y="41519"/>
                      </a:lnTo>
                      <a:lnTo>
                        <a:pt x="39367" y="40729"/>
                      </a:lnTo>
                      <a:lnTo>
                        <a:pt x="39300" y="39929"/>
                      </a:lnTo>
                      <a:lnTo>
                        <a:pt x="38252" y="38681"/>
                      </a:lnTo>
                      <a:lnTo>
                        <a:pt x="35833" y="37405"/>
                      </a:lnTo>
                      <a:lnTo>
                        <a:pt x="29718" y="34976"/>
                      </a:lnTo>
                      <a:lnTo>
                        <a:pt x="28880" y="34033"/>
                      </a:lnTo>
                      <a:lnTo>
                        <a:pt x="27337" y="33480"/>
                      </a:lnTo>
                      <a:lnTo>
                        <a:pt x="25118" y="33309"/>
                      </a:lnTo>
                      <a:lnTo>
                        <a:pt x="24022" y="32575"/>
                      </a:lnTo>
                      <a:lnTo>
                        <a:pt x="24079" y="31271"/>
                      </a:lnTo>
                      <a:lnTo>
                        <a:pt x="23679" y="30099"/>
                      </a:lnTo>
                      <a:lnTo>
                        <a:pt x="22812" y="29051"/>
                      </a:lnTo>
                      <a:lnTo>
                        <a:pt x="20926" y="28356"/>
                      </a:lnTo>
                      <a:lnTo>
                        <a:pt x="18012" y="28042"/>
                      </a:lnTo>
                      <a:lnTo>
                        <a:pt x="15354" y="26908"/>
                      </a:lnTo>
                      <a:lnTo>
                        <a:pt x="12954" y="24975"/>
                      </a:lnTo>
                      <a:lnTo>
                        <a:pt x="11354" y="24384"/>
                      </a:lnTo>
                      <a:lnTo>
                        <a:pt x="12678" y="22165"/>
                      </a:lnTo>
                      <a:lnTo>
                        <a:pt x="13440" y="22203"/>
                      </a:lnTo>
                      <a:lnTo>
                        <a:pt x="13973" y="21917"/>
                      </a:lnTo>
                      <a:lnTo>
                        <a:pt x="14173" y="21574"/>
                      </a:lnTo>
                      <a:lnTo>
                        <a:pt x="14059" y="21155"/>
                      </a:lnTo>
                      <a:lnTo>
                        <a:pt x="15088" y="19621"/>
                      </a:lnTo>
                      <a:lnTo>
                        <a:pt x="15116" y="19183"/>
                      </a:lnTo>
                      <a:lnTo>
                        <a:pt x="17717" y="16802"/>
                      </a:lnTo>
                      <a:lnTo>
                        <a:pt x="19193" y="16192"/>
                      </a:lnTo>
                      <a:lnTo>
                        <a:pt x="20403" y="16412"/>
                      </a:lnTo>
                      <a:lnTo>
                        <a:pt x="20984" y="16926"/>
                      </a:lnTo>
                      <a:lnTo>
                        <a:pt x="20907" y="17726"/>
                      </a:lnTo>
                      <a:lnTo>
                        <a:pt x="21165" y="18012"/>
                      </a:lnTo>
                      <a:lnTo>
                        <a:pt x="21974" y="18040"/>
                      </a:lnTo>
                      <a:lnTo>
                        <a:pt x="22374" y="18155"/>
                      </a:lnTo>
                      <a:lnTo>
                        <a:pt x="22679" y="18088"/>
                      </a:lnTo>
                      <a:lnTo>
                        <a:pt x="23327" y="17650"/>
                      </a:lnTo>
                      <a:lnTo>
                        <a:pt x="26060" y="17850"/>
                      </a:lnTo>
                      <a:lnTo>
                        <a:pt x="35090" y="19050"/>
                      </a:lnTo>
                      <a:lnTo>
                        <a:pt x="36519" y="18859"/>
                      </a:lnTo>
                      <a:lnTo>
                        <a:pt x="37490" y="18440"/>
                      </a:lnTo>
                      <a:lnTo>
                        <a:pt x="38014" y="17793"/>
                      </a:lnTo>
                      <a:lnTo>
                        <a:pt x="37719" y="17183"/>
                      </a:lnTo>
                      <a:lnTo>
                        <a:pt x="35871" y="15897"/>
                      </a:lnTo>
                      <a:lnTo>
                        <a:pt x="35547" y="15059"/>
                      </a:lnTo>
                      <a:lnTo>
                        <a:pt x="35766" y="14268"/>
                      </a:lnTo>
                      <a:lnTo>
                        <a:pt x="36528" y="13516"/>
                      </a:lnTo>
                      <a:lnTo>
                        <a:pt x="36338" y="12840"/>
                      </a:lnTo>
                      <a:lnTo>
                        <a:pt x="35233" y="12230"/>
                      </a:lnTo>
                      <a:lnTo>
                        <a:pt x="32166" y="12059"/>
                      </a:lnTo>
                      <a:lnTo>
                        <a:pt x="31937" y="11439"/>
                      </a:lnTo>
                      <a:lnTo>
                        <a:pt x="32518" y="10830"/>
                      </a:lnTo>
                      <a:lnTo>
                        <a:pt x="33852" y="10058"/>
                      </a:lnTo>
                      <a:lnTo>
                        <a:pt x="34500" y="8915"/>
                      </a:lnTo>
                      <a:lnTo>
                        <a:pt x="34547" y="8268"/>
                      </a:lnTo>
                      <a:lnTo>
                        <a:pt x="35166" y="6306"/>
                      </a:lnTo>
                      <a:lnTo>
                        <a:pt x="35185" y="4991"/>
                      </a:lnTo>
                      <a:lnTo>
                        <a:pt x="34833" y="3048"/>
                      </a:lnTo>
                      <a:lnTo>
                        <a:pt x="34662" y="2343"/>
                      </a:lnTo>
                      <a:lnTo>
                        <a:pt x="34071" y="1924"/>
                      </a:lnTo>
                      <a:lnTo>
                        <a:pt x="34862" y="991"/>
                      </a:lnTo>
                      <a:close/>
                    </a:path>
                  </a:pathLst>
                </a:custGeom>
                <a:solidFill>
                  <a:srgbClr val="FFFFFF"/>
                </a:solidFill>
                <a:ln w="9525" cap="flat">
                  <a:noFill/>
                  <a:prstDash val="solid"/>
                  <a:miter/>
                </a:ln>
              </p:spPr>
              <p:txBody>
                <a:bodyPr rtlCol="0" anchor="ctr"/>
                <a:lstStyle/>
                <a:p>
                  <a:endParaRPr lang="en-US"/>
                </a:p>
              </p:txBody>
            </p:sp>
            <p:sp>
              <p:nvSpPr>
                <p:cNvPr id="456" name="Freeform: Shape 455">
                  <a:extLst>
                    <a:ext uri="{FF2B5EF4-FFF2-40B4-BE49-F238E27FC236}">
                      <a16:creationId xmlns:a16="http://schemas.microsoft.com/office/drawing/2014/main" id="{D5877B47-9C89-44BF-9DBB-3CCABF921E49}"/>
                    </a:ext>
                  </a:extLst>
                </p:cNvPr>
                <p:cNvSpPr/>
                <p:nvPr/>
              </p:nvSpPr>
              <p:spPr>
                <a:xfrm>
                  <a:off x="3149173" y="2821359"/>
                  <a:ext cx="212817" cy="80800"/>
                </a:xfrm>
                <a:custGeom>
                  <a:avLst/>
                  <a:gdLst>
                    <a:gd name="connsiteX0" fmla="*/ 199587 w 212817"/>
                    <a:gd name="connsiteY0" fmla="*/ 78086 h 80800"/>
                    <a:gd name="connsiteX1" fmla="*/ 202101 w 212817"/>
                    <a:gd name="connsiteY1" fmla="*/ 77800 h 80800"/>
                    <a:gd name="connsiteX2" fmla="*/ 201282 w 212817"/>
                    <a:gd name="connsiteY2" fmla="*/ 78629 h 80800"/>
                    <a:gd name="connsiteX3" fmla="*/ 200473 w 212817"/>
                    <a:gd name="connsiteY3" fmla="*/ 78715 h 80800"/>
                    <a:gd name="connsiteX4" fmla="*/ 199282 w 212817"/>
                    <a:gd name="connsiteY4" fmla="*/ 79077 h 80800"/>
                    <a:gd name="connsiteX5" fmla="*/ 197691 w 212817"/>
                    <a:gd name="connsiteY5" fmla="*/ 79915 h 80800"/>
                    <a:gd name="connsiteX6" fmla="*/ 195586 w 212817"/>
                    <a:gd name="connsiteY6" fmla="*/ 80801 h 80800"/>
                    <a:gd name="connsiteX7" fmla="*/ 194024 w 212817"/>
                    <a:gd name="connsiteY7" fmla="*/ 80581 h 80800"/>
                    <a:gd name="connsiteX8" fmla="*/ 193529 w 212817"/>
                    <a:gd name="connsiteY8" fmla="*/ 79353 h 80800"/>
                    <a:gd name="connsiteX9" fmla="*/ 192005 w 212817"/>
                    <a:gd name="connsiteY9" fmla="*/ 79086 h 80800"/>
                    <a:gd name="connsiteX10" fmla="*/ 189462 w 212817"/>
                    <a:gd name="connsiteY10" fmla="*/ 79791 h 80800"/>
                    <a:gd name="connsiteX11" fmla="*/ 187547 w 212817"/>
                    <a:gd name="connsiteY11" fmla="*/ 79762 h 80800"/>
                    <a:gd name="connsiteX12" fmla="*/ 186290 w 212817"/>
                    <a:gd name="connsiteY12" fmla="*/ 78991 h 80800"/>
                    <a:gd name="connsiteX13" fmla="*/ 183299 w 212817"/>
                    <a:gd name="connsiteY13" fmla="*/ 78619 h 80800"/>
                    <a:gd name="connsiteX14" fmla="*/ 183232 w 212817"/>
                    <a:gd name="connsiteY14" fmla="*/ 78038 h 80800"/>
                    <a:gd name="connsiteX15" fmla="*/ 183614 w 212817"/>
                    <a:gd name="connsiteY15" fmla="*/ 77438 h 80800"/>
                    <a:gd name="connsiteX16" fmla="*/ 184461 w 212817"/>
                    <a:gd name="connsiteY16" fmla="*/ 76800 h 80800"/>
                    <a:gd name="connsiteX17" fmla="*/ 185557 w 212817"/>
                    <a:gd name="connsiteY17" fmla="*/ 75295 h 80800"/>
                    <a:gd name="connsiteX18" fmla="*/ 186900 w 212817"/>
                    <a:gd name="connsiteY18" fmla="*/ 72914 h 80800"/>
                    <a:gd name="connsiteX19" fmla="*/ 188243 w 212817"/>
                    <a:gd name="connsiteY19" fmla="*/ 71238 h 80800"/>
                    <a:gd name="connsiteX20" fmla="*/ 189576 w 212817"/>
                    <a:gd name="connsiteY20" fmla="*/ 70256 h 80800"/>
                    <a:gd name="connsiteX21" fmla="*/ 188557 w 212817"/>
                    <a:gd name="connsiteY21" fmla="*/ 69856 h 80800"/>
                    <a:gd name="connsiteX22" fmla="*/ 185185 w 212817"/>
                    <a:gd name="connsiteY22" fmla="*/ 70028 h 80800"/>
                    <a:gd name="connsiteX23" fmla="*/ 180975 w 212817"/>
                    <a:gd name="connsiteY23" fmla="*/ 70837 h 80800"/>
                    <a:gd name="connsiteX24" fmla="*/ 175927 w 212817"/>
                    <a:gd name="connsiteY24" fmla="*/ 72276 h 80800"/>
                    <a:gd name="connsiteX25" fmla="*/ 171012 w 212817"/>
                    <a:gd name="connsiteY25" fmla="*/ 72781 h 80800"/>
                    <a:gd name="connsiteX26" fmla="*/ 166240 w 212817"/>
                    <a:gd name="connsiteY26" fmla="*/ 72352 h 80800"/>
                    <a:gd name="connsiteX27" fmla="*/ 162430 w 212817"/>
                    <a:gd name="connsiteY27" fmla="*/ 72419 h 80800"/>
                    <a:gd name="connsiteX28" fmla="*/ 157848 w 212817"/>
                    <a:gd name="connsiteY28" fmla="*/ 73142 h 80800"/>
                    <a:gd name="connsiteX29" fmla="*/ 157258 w 212817"/>
                    <a:gd name="connsiteY29" fmla="*/ 72904 h 80800"/>
                    <a:gd name="connsiteX30" fmla="*/ 154096 w 212817"/>
                    <a:gd name="connsiteY30" fmla="*/ 73866 h 80800"/>
                    <a:gd name="connsiteX31" fmla="*/ 148361 w 212817"/>
                    <a:gd name="connsiteY31" fmla="*/ 76019 h 80800"/>
                    <a:gd name="connsiteX32" fmla="*/ 143856 w 212817"/>
                    <a:gd name="connsiteY32" fmla="*/ 78019 h 80800"/>
                    <a:gd name="connsiteX33" fmla="*/ 139789 w 212817"/>
                    <a:gd name="connsiteY33" fmla="*/ 80267 h 80800"/>
                    <a:gd name="connsiteX34" fmla="*/ 139341 w 212817"/>
                    <a:gd name="connsiteY34" fmla="*/ 80286 h 80800"/>
                    <a:gd name="connsiteX35" fmla="*/ 138941 w 212817"/>
                    <a:gd name="connsiteY35" fmla="*/ 79791 h 80800"/>
                    <a:gd name="connsiteX36" fmla="*/ 137893 w 212817"/>
                    <a:gd name="connsiteY36" fmla="*/ 79096 h 80800"/>
                    <a:gd name="connsiteX37" fmla="*/ 136379 w 212817"/>
                    <a:gd name="connsiteY37" fmla="*/ 79077 h 80800"/>
                    <a:gd name="connsiteX38" fmla="*/ 134398 w 212817"/>
                    <a:gd name="connsiteY38" fmla="*/ 79734 h 80800"/>
                    <a:gd name="connsiteX39" fmla="*/ 132979 w 212817"/>
                    <a:gd name="connsiteY39" fmla="*/ 79324 h 80800"/>
                    <a:gd name="connsiteX40" fmla="*/ 132112 w 212817"/>
                    <a:gd name="connsiteY40" fmla="*/ 77848 h 80800"/>
                    <a:gd name="connsiteX41" fmla="*/ 130816 w 212817"/>
                    <a:gd name="connsiteY41" fmla="*/ 77429 h 80800"/>
                    <a:gd name="connsiteX42" fmla="*/ 129092 w 212817"/>
                    <a:gd name="connsiteY42" fmla="*/ 78076 h 80800"/>
                    <a:gd name="connsiteX43" fmla="*/ 126673 w 212817"/>
                    <a:gd name="connsiteY43" fmla="*/ 78362 h 80800"/>
                    <a:gd name="connsiteX44" fmla="*/ 121873 w 212817"/>
                    <a:gd name="connsiteY44" fmla="*/ 78019 h 80800"/>
                    <a:gd name="connsiteX45" fmla="*/ 121615 w 212817"/>
                    <a:gd name="connsiteY45" fmla="*/ 77543 h 80800"/>
                    <a:gd name="connsiteX46" fmla="*/ 122053 w 212817"/>
                    <a:gd name="connsiteY46" fmla="*/ 75952 h 80800"/>
                    <a:gd name="connsiteX47" fmla="*/ 121892 w 212817"/>
                    <a:gd name="connsiteY47" fmla="*/ 75257 h 80800"/>
                    <a:gd name="connsiteX48" fmla="*/ 121196 w 212817"/>
                    <a:gd name="connsiteY48" fmla="*/ 74771 h 80800"/>
                    <a:gd name="connsiteX49" fmla="*/ 120625 w 212817"/>
                    <a:gd name="connsiteY49" fmla="*/ 73009 h 80800"/>
                    <a:gd name="connsiteX50" fmla="*/ 119739 w 212817"/>
                    <a:gd name="connsiteY50" fmla="*/ 68504 h 80800"/>
                    <a:gd name="connsiteX51" fmla="*/ 119101 w 212817"/>
                    <a:gd name="connsiteY51" fmla="*/ 67961 h 80800"/>
                    <a:gd name="connsiteX52" fmla="*/ 117100 w 212817"/>
                    <a:gd name="connsiteY52" fmla="*/ 66570 h 80800"/>
                    <a:gd name="connsiteX53" fmla="*/ 114814 w 212817"/>
                    <a:gd name="connsiteY53" fmla="*/ 65942 h 80800"/>
                    <a:gd name="connsiteX54" fmla="*/ 108623 w 212817"/>
                    <a:gd name="connsiteY54" fmla="*/ 65065 h 80800"/>
                    <a:gd name="connsiteX55" fmla="*/ 107528 w 212817"/>
                    <a:gd name="connsiteY55" fmla="*/ 64446 h 80800"/>
                    <a:gd name="connsiteX56" fmla="*/ 106594 w 212817"/>
                    <a:gd name="connsiteY56" fmla="*/ 64570 h 80800"/>
                    <a:gd name="connsiteX57" fmla="*/ 100803 w 212817"/>
                    <a:gd name="connsiteY57" fmla="*/ 67008 h 80800"/>
                    <a:gd name="connsiteX58" fmla="*/ 100327 w 212817"/>
                    <a:gd name="connsiteY58" fmla="*/ 67542 h 80800"/>
                    <a:gd name="connsiteX59" fmla="*/ 99765 w 212817"/>
                    <a:gd name="connsiteY59" fmla="*/ 68056 h 80800"/>
                    <a:gd name="connsiteX60" fmla="*/ 98565 w 212817"/>
                    <a:gd name="connsiteY60" fmla="*/ 68904 h 80800"/>
                    <a:gd name="connsiteX61" fmla="*/ 97765 w 212817"/>
                    <a:gd name="connsiteY61" fmla="*/ 69294 h 80800"/>
                    <a:gd name="connsiteX62" fmla="*/ 97631 w 212817"/>
                    <a:gd name="connsiteY62" fmla="*/ 68894 h 80800"/>
                    <a:gd name="connsiteX63" fmla="*/ 97679 w 212817"/>
                    <a:gd name="connsiteY63" fmla="*/ 68180 h 80800"/>
                    <a:gd name="connsiteX64" fmla="*/ 98622 w 212817"/>
                    <a:gd name="connsiteY64" fmla="*/ 66627 h 80800"/>
                    <a:gd name="connsiteX65" fmla="*/ 100460 w 212817"/>
                    <a:gd name="connsiteY65" fmla="*/ 64208 h 80800"/>
                    <a:gd name="connsiteX66" fmla="*/ 101070 w 212817"/>
                    <a:gd name="connsiteY66" fmla="*/ 62646 h 80800"/>
                    <a:gd name="connsiteX67" fmla="*/ 100470 w 212817"/>
                    <a:gd name="connsiteY67" fmla="*/ 61913 h 80800"/>
                    <a:gd name="connsiteX68" fmla="*/ 100527 w 212817"/>
                    <a:gd name="connsiteY68" fmla="*/ 61046 h 80800"/>
                    <a:gd name="connsiteX69" fmla="*/ 101241 w 212817"/>
                    <a:gd name="connsiteY69" fmla="*/ 60027 h 80800"/>
                    <a:gd name="connsiteX70" fmla="*/ 100975 w 212817"/>
                    <a:gd name="connsiteY70" fmla="*/ 59207 h 80800"/>
                    <a:gd name="connsiteX71" fmla="*/ 99708 w 212817"/>
                    <a:gd name="connsiteY71" fmla="*/ 58588 h 80800"/>
                    <a:gd name="connsiteX72" fmla="*/ 99422 w 212817"/>
                    <a:gd name="connsiteY72" fmla="*/ 57788 h 80800"/>
                    <a:gd name="connsiteX73" fmla="*/ 100098 w 212817"/>
                    <a:gd name="connsiteY73" fmla="*/ 56788 h 80800"/>
                    <a:gd name="connsiteX74" fmla="*/ 100336 w 212817"/>
                    <a:gd name="connsiteY74" fmla="*/ 56102 h 80800"/>
                    <a:gd name="connsiteX75" fmla="*/ 100117 w 212817"/>
                    <a:gd name="connsiteY75" fmla="*/ 55731 h 80800"/>
                    <a:gd name="connsiteX76" fmla="*/ 97946 w 212817"/>
                    <a:gd name="connsiteY76" fmla="*/ 56521 h 80800"/>
                    <a:gd name="connsiteX77" fmla="*/ 93821 w 212817"/>
                    <a:gd name="connsiteY77" fmla="*/ 58445 h 80800"/>
                    <a:gd name="connsiteX78" fmla="*/ 90792 w 212817"/>
                    <a:gd name="connsiteY78" fmla="*/ 60169 h 80800"/>
                    <a:gd name="connsiteX79" fmla="*/ 88849 w 212817"/>
                    <a:gd name="connsiteY79" fmla="*/ 61684 h 80800"/>
                    <a:gd name="connsiteX80" fmla="*/ 86744 w 212817"/>
                    <a:gd name="connsiteY80" fmla="*/ 62551 h 80800"/>
                    <a:gd name="connsiteX81" fmla="*/ 84477 w 212817"/>
                    <a:gd name="connsiteY81" fmla="*/ 62751 h 80800"/>
                    <a:gd name="connsiteX82" fmla="*/ 82401 w 212817"/>
                    <a:gd name="connsiteY82" fmla="*/ 63398 h 80800"/>
                    <a:gd name="connsiteX83" fmla="*/ 78096 w 212817"/>
                    <a:gd name="connsiteY83" fmla="*/ 65618 h 80800"/>
                    <a:gd name="connsiteX84" fmla="*/ 75171 w 212817"/>
                    <a:gd name="connsiteY84" fmla="*/ 66761 h 80800"/>
                    <a:gd name="connsiteX85" fmla="*/ 70933 w 212817"/>
                    <a:gd name="connsiteY85" fmla="*/ 67599 h 80800"/>
                    <a:gd name="connsiteX86" fmla="*/ 65370 w 212817"/>
                    <a:gd name="connsiteY86" fmla="*/ 68123 h 80800"/>
                    <a:gd name="connsiteX87" fmla="*/ 60160 w 212817"/>
                    <a:gd name="connsiteY87" fmla="*/ 69561 h 80800"/>
                    <a:gd name="connsiteX88" fmla="*/ 55293 w 212817"/>
                    <a:gd name="connsiteY88" fmla="*/ 71923 h 80800"/>
                    <a:gd name="connsiteX89" fmla="*/ 49892 w 212817"/>
                    <a:gd name="connsiteY89" fmla="*/ 73914 h 80800"/>
                    <a:gd name="connsiteX90" fmla="*/ 43968 w 212817"/>
                    <a:gd name="connsiteY90" fmla="*/ 75552 h 80800"/>
                    <a:gd name="connsiteX91" fmla="*/ 40243 w 212817"/>
                    <a:gd name="connsiteY91" fmla="*/ 76133 h 80800"/>
                    <a:gd name="connsiteX92" fmla="*/ 38729 w 212817"/>
                    <a:gd name="connsiteY92" fmla="*/ 75657 h 80800"/>
                    <a:gd name="connsiteX93" fmla="*/ 37176 w 212817"/>
                    <a:gd name="connsiteY93" fmla="*/ 74647 h 80800"/>
                    <a:gd name="connsiteX94" fmla="*/ 35023 w 212817"/>
                    <a:gd name="connsiteY94" fmla="*/ 72838 h 80800"/>
                    <a:gd name="connsiteX95" fmla="*/ 34462 w 212817"/>
                    <a:gd name="connsiteY95" fmla="*/ 73009 h 80800"/>
                    <a:gd name="connsiteX96" fmla="*/ 34500 w 212817"/>
                    <a:gd name="connsiteY96" fmla="*/ 73381 h 80800"/>
                    <a:gd name="connsiteX97" fmla="*/ 34252 w 212817"/>
                    <a:gd name="connsiteY97" fmla="*/ 73695 h 80800"/>
                    <a:gd name="connsiteX98" fmla="*/ 33366 w 212817"/>
                    <a:gd name="connsiteY98" fmla="*/ 74209 h 80800"/>
                    <a:gd name="connsiteX99" fmla="*/ 28518 w 212817"/>
                    <a:gd name="connsiteY99" fmla="*/ 75552 h 80800"/>
                    <a:gd name="connsiteX100" fmla="*/ 28270 w 212817"/>
                    <a:gd name="connsiteY100" fmla="*/ 75047 h 80800"/>
                    <a:gd name="connsiteX101" fmla="*/ 30851 w 212817"/>
                    <a:gd name="connsiteY101" fmla="*/ 73209 h 80800"/>
                    <a:gd name="connsiteX102" fmla="*/ 32242 w 212817"/>
                    <a:gd name="connsiteY102" fmla="*/ 71847 h 80800"/>
                    <a:gd name="connsiteX103" fmla="*/ 32928 w 212817"/>
                    <a:gd name="connsiteY103" fmla="*/ 70590 h 80800"/>
                    <a:gd name="connsiteX104" fmla="*/ 34500 w 212817"/>
                    <a:gd name="connsiteY104" fmla="*/ 69037 h 80800"/>
                    <a:gd name="connsiteX105" fmla="*/ 36948 w 212817"/>
                    <a:gd name="connsiteY105" fmla="*/ 67199 h 80800"/>
                    <a:gd name="connsiteX106" fmla="*/ 38176 w 212817"/>
                    <a:gd name="connsiteY106" fmla="*/ 65951 h 80800"/>
                    <a:gd name="connsiteX107" fmla="*/ 38195 w 212817"/>
                    <a:gd name="connsiteY107" fmla="*/ 65294 h 80800"/>
                    <a:gd name="connsiteX108" fmla="*/ 37271 w 212817"/>
                    <a:gd name="connsiteY108" fmla="*/ 64237 h 80800"/>
                    <a:gd name="connsiteX109" fmla="*/ 36071 w 212817"/>
                    <a:gd name="connsiteY109" fmla="*/ 64160 h 80800"/>
                    <a:gd name="connsiteX110" fmla="*/ 34290 w 212817"/>
                    <a:gd name="connsiteY110" fmla="*/ 64513 h 80800"/>
                    <a:gd name="connsiteX111" fmla="*/ 27918 w 212817"/>
                    <a:gd name="connsiteY111" fmla="*/ 67227 h 80800"/>
                    <a:gd name="connsiteX112" fmla="*/ 27556 w 212817"/>
                    <a:gd name="connsiteY112" fmla="*/ 67027 h 80800"/>
                    <a:gd name="connsiteX113" fmla="*/ 26270 w 212817"/>
                    <a:gd name="connsiteY113" fmla="*/ 66589 h 80800"/>
                    <a:gd name="connsiteX114" fmla="*/ 25851 w 212817"/>
                    <a:gd name="connsiteY114" fmla="*/ 66665 h 80800"/>
                    <a:gd name="connsiteX115" fmla="*/ 20784 w 212817"/>
                    <a:gd name="connsiteY115" fmla="*/ 69018 h 80800"/>
                    <a:gd name="connsiteX116" fmla="*/ 16202 w 212817"/>
                    <a:gd name="connsiteY116" fmla="*/ 70428 h 80800"/>
                    <a:gd name="connsiteX117" fmla="*/ 6096 w 212817"/>
                    <a:gd name="connsiteY117" fmla="*/ 72438 h 80800"/>
                    <a:gd name="connsiteX118" fmla="*/ 3696 w 212817"/>
                    <a:gd name="connsiteY118" fmla="*/ 72676 h 80800"/>
                    <a:gd name="connsiteX119" fmla="*/ 2019 w 212817"/>
                    <a:gd name="connsiteY119" fmla="*/ 72533 h 80800"/>
                    <a:gd name="connsiteX120" fmla="*/ 429 w 212817"/>
                    <a:gd name="connsiteY120" fmla="*/ 71361 h 80800"/>
                    <a:gd name="connsiteX121" fmla="*/ 0 w 212817"/>
                    <a:gd name="connsiteY121" fmla="*/ 70561 h 80800"/>
                    <a:gd name="connsiteX122" fmla="*/ 591 w 212817"/>
                    <a:gd name="connsiteY122" fmla="*/ 69694 h 80800"/>
                    <a:gd name="connsiteX123" fmla="*/ 2181 w 212817"/>
                    <a:gd name="connsiteY123" fmla="*/ 68761 h 80800"/>
                    <a:gd name="connsiteX124" fmla="*/ 17555 w 212817"/>
                    <a:gd name="connsiteY124" fmla="*/ 61484 h 80800"/>
                    <a:gd name="connsiteX125" fmla="*/ 27442 w 212817"/>
                    <a:gd name="connsiteY125" fmla="*/ 56293 h 80800"/>
                    <a:gd name="connsiteX126" fmla="*/ 44482 w 212817"/>
                    <a:gd name="connsiteY126" fmla="*/ 46558 h 80800"/>
                    <a:gd name="connsiteX127" fmla="*/ 48530 w 212817"/>
                    <a:gd name="connsiteY127" fmla="*/ 44625 h 80800"/>
                    <a:gd name="connsiteX128" fmla="*/ 56988 w 212817"/>
                    <a:gd name="connsiteY128" fmla="*/ 41386 h 80800"/>
                    <a:gd name="connsiteX129" fmla="*/ 69342 w 212817"/>
                    <a:gd name="connsiteY129" fmla="*/ 38281 h 80800"/>
                    <a:gd name="connsiteX130" fmla="*/ 75543 w 212817"/>
                    <a:gd name="connsiteY130" fmla="*/ 36557 h 80800"/>
                    <a:gd name="connsiteX131" fmla="*/ 81134 w 212817"/>
                    <a:gd name="connsiteY131" fmla="*/ 34681 h 80800"/>
                    <a:gd name="connsiteX132" fmla="*/ 84858 w 212817"/>
                    <a:gd name="connsiteY132" fmla="*/ 33233 h 80800"/>
                    <a:gd name="connsiteX133" fmla="*/ 86687 w 212817"/>
                    <a:gd name="connsiteY133" fmla="*/ 32223 h 80800"/>
                    <a:gd name="connsiteX134" fmla="*/ 87963 w 212817"/>
                    <a:gd name="connsiteY134" fmla="*/ 31756 h 80800"/>
                    <a:gd name="connsiteX135" fmla="*/ 88687 w 212817"/>
                    <a:gd name="connsiteY135" fmla="*/ 31823 h 80800"/>
                    <a:gd name="connsiteX136" fmla="*/ 90583 w 212817"/>
                    <a:gd name="connsiteY136" fmla="*/ 31147 h 80800"/>
                    <a:gd name="connsiteX137" fmla="*/ 94602 w 212817"/>
                    <a:gd name="connsiteY137" fmla="*/ 28651 h 80800"/>
                    <a:gd name="connsiteX138" fmla="*/ 95012 w 212817"/>
                    <a:gd name="connsiteY138" fmla="*/ 28451 h 80800"/>
                    <a:gd name="connsiteX139" fmla="*/ 97860 w 212817"/>
                    <a:gd name="connsiteY139" fmla="*/ 27746 h 80800"/>
                    <a:gd name="connsiteX140" fmla="*/ 99346 w 212817"/>
                    <a:gd name="connsiteY140" fmla="*/ 26556 h 80800"/>
                    <a:gd name="connsiteX141" fmla="*/ 100660 w 212817"/>
                    <a:gd name="connsiteY141" fmla="*/ 25127 h 80800"/>
                    <a:gd name="connsiteX142" fmla="*/ 103203 w 212817"/>
                    <a:gd name="connsiteY142" fmla="*/ 22746 h 80800"/>
                    <a:gd name="connsiteX143" fmla="*/ 104585 w 212817"/>
                    <a:gd name="connsiteY143" fmla="*/ 21765 h 80800"/>
                    <a:gd name="connsiteX144" fmla="*/ 105404 w 212817"/>
                    <a:gd name="connsiteY144" fmla="*/ 20688 h 80800"/>
                    <a:gd name="connsiteX145" fmla="*/ 105689 w 212817"/>
                    <a:gd name="connsiteY145" fmla="*/ 19507 h 80800"/>
                    <a:gd name="connsiteX146" fmla="*/ 106452 w 212817"/>
                    <a:gd name="connsiteY146" fmla="*/ 18393 h 80800"/>
                    <a:gd name="connsiteX147" fmla="*/ 107699 w 212817"/>
                    <a:gd name="connsiteY147" fmla="*/ 17345 h 80800"/>
                    <a:gd name="connsiteX148" fmla="*/ 111547 w 212817"/>
                    <a:gd name="connsiteY148" fmla="*/ 15869 h 80800"/>
                    <a:gd name="connsiteX149" fmla="*/ 121272 w 212817"/>
                    <a:gd name="connsiteY149" fmla="*/ 13183 h 80800"/>
                    <a:gd name="connsiteX150" fmla="*/ 121358 w 212817"/>
                    <a:gd name="connsiteY150" fmla="*/ 13516 h 80800"/>
                    <a:gd name="connsiteX151" fmla="*/ 118729 w 212817"/>
                    <a:gd name="connsiteY151" fmla="*/ 15592 h 80800"/>
                    <a:gd name="connsiteX152" fmla="*/ 114919 w 212817"/>
                    <a:gd name="connsiteY152" fmla="*/ 19526 h 80800"/>
                    <a:gd name="connsiteX153" fmla="*/ 114329 w 212817"/>
                    <a:gd name="connsiteY153" fmla="*/ 19631 h 80800"/>
                    <a:gd name="connsiteX154" fmla="*/ 113557 w 212817"/>
                    <a:gd name="connsiteY154" fmla="*/ 20117 h 80800"/>
                    <a:gd name="connsiteX155" fmla="*/ 112605 w 212817"/>
                    <a:gd name="connsiteY155" fmla="*/ 20974 h 80800"/>
                    <a:gd name="connsiteX156" fmla="*/ 113795 w 212817"/>
                    <a:gd name="connsiteY156" fmla="*/ 20917 h 80800"/>
                    <a:gd name="connsiteX157" fmla="*/ 117129 w 212817"/>
                    <a:gd name="connsiteY157" fmla="*/ 19936 h 80800"/>
                    <a:gd name="connsiteX158" fmla="*/ 118691 w 212817"/>
                    <a:gd name="connsiteY158" fmla="*/ 19441 h 80800"/>
                    <a:gd name="connsiteX159" fmla="*/ 119577 w 212817"/>
                    <a:gd name="connsiteY159" fmla="*/ 18479 h 80800"/>
                    <a:gd name="connsiteX160" fmla="*/ 121120 w 212817"/>
                    <a:gd name="connsiteY160" fmla="*/ 16545 h 80800"/>
                    <a:gd name="connsiteX161" fmla="*/ 122330 w 212817"/>
                    <a:gd name="connsiteY161" fmla="*/ 15469 h 80800"/>
                    <a:gd name="connsiteX162" fmla="*/ 123215 w 212817"/>
                    <a:gd name="connsiteY162" fmla="*/ 15269 h 80800"/>
                    <a:gd name="connsiteX163" fmla="*/ 124254 w 212817"/>
                    <a:gd name="connsiteY163" fmla="*/ 14335 h 80800"/>
                    <a:gd name="connsiteX164" fmla="*/ 125463 w 212817"/>
                    <a:gd name="connsiteY164" fmla="*/ 12687 h 80800"/>
                    <a:gd name="connsiteX165" fmla="*/ 126644 w 212817"/>
                    <a:gd name="connsiteY165" fmla="*/ 11697 h 80800"/>
                    <a:gd name="connsiteX166" fmla="*/ 127787 w 212817"/>
                    <a:gd name="connsiteY166" fmla="*/ 11382 h 80800"/>
                    <a:gd name="connsiteX167" fmla="*/ 128530 w 212817"/>
                    <a:gd name="connsiteY167" fmla="*/ 10801 h 80800"/>
                    <a:gd name="connsiteX168" fmla="*/ 128940 w 212817"/>
                    <a:gd name="connsiteY168" fmla="*/ 9992 h 80800"/>
                    <a:gd name="connsiteX169" fmla="*/ 130454 w 212817"/>
                    <a:gd name="connsiteY169" fmla="*/ 7810 h 80800"/>
                    <a:gd name="connsiteX170" fmla="*/ 131245 w 212817"/>
                    <a:gd name="connsiteY170" fmla="*/ 6791 h 80800"/>
                    <a:gd name="connsiteX171" fmla="*/ 132959 w 212817"/>
                    <a:gd name="connsiteY171" fmla="*/ 5296 h 80800"/>
                    <a:gd name="connsiteX172" fmla="*/ 134407 w 212817"/>
                    <a:gd name="connsiteY172" fmla="*/ 4839 h 80800"/>
                    <a:gd name="connsiteX173" fmla="*/ 135979 w 212817"/>
                    <a:gd name="connsiteY173" fmla="*/ 4934 h 80800"/>
                    <a:gd name="connsiteX174" fmla="*/ 136655 w 212817"/>
                    <a:gd name="connsiteY174" fmla="*/ 5696 h 80800"/>
                    <a:gd name="connsiteX175" fmla="*/ 136446 w 212817"/>
                    <a:gd name="connsiteY175" fmla="*/ 7115 h 80800"/>
                    <a:gd name="connsiteX176" fmla="*/ 135931 w 212817"/>
                    <a:gd name="connsiteY176" fmla="*/ 8287 h 80800"/>
                    <a:gd name="connsiteX177" fmla="*/ 135122 w 212817"/>
                    <a:gd name="connsiteY177" fmla="*/ 9220 h 80800"/>
                    <a:gd name="connsiteX178" fmla="*/ 132569 w 212817"/>
                    <a:gd name="connsiteY178" fmla="*/ 10897 h 80800"/>
                    <a:gd name="connsiteX179" fmla="*/ 125721 w 212817"/>
                    <a:gd name="connsiteY179" fmla="*/ 14916 h 80800"/>
                    <a:gd name="connsiteX180" fmla="*/ 124597 w 212817"/>
                    <a:gd name="connsiteY180" fmla="*/ 16040 h 80800"/>
                    <a:gd name="connsiteX181" fmla="*/ 124654 w 212817"/>
                    <a:gd name="connsiteY181" fmla="*/ 16621 h 80800"/>
                    <a:gd name="connsiteX182" fmla="*/ 124425 w 212817"/>
                    <a:gd name="connsiteY182" fmla="*/ 17478 h 80800"/>
                    <a:gd name="connsiteX183" fmla="*/ 124901 w 212817"/>
                    <a:gd name="connsiteY183" fmla="*/ 17583 h 80800"/>
                    <a:gd name="connsiteX184" fmla="*/ 126330 w 212817"/>
                    <a:gd name="connsiteY184" fmla="*/ 16840 h 80800"/>
                    <a:gd name="connsiteX185" fmla="*/ 127140 w 212817"/>
                    <a:gd name="connsiteY185" fmla="*/ 16173 h 80800"/>
                    <a:gd name="connsiteX186" fmla="*/ 127340 w 212817"/>
                    <a:gd name="connsiteY186" fmla="*/ 15592 h 80800"/>
                    <a:gd name="connsiteX187" fmla="*/ 128140 w 212817"/>
                    <a:gd name="connsiteY187" fmla="*/ 14830 h 80800"/>
                    <a:gd name="connsiteX188" fmla="*/ 129521 w 212817"/>
                    <a:gd name="connsiteY188" fmla="*/ 13887 h 80800"/>
                    <a:gd name="connsiteX189" fmla="*/ 130340 w 212817"/>
                    <a:gd name="connsiteY189" fmla="*/ 13621 h 80800"/>
                    <a:gd name="connsiteX190" fmla="*/ 130616 w 212817"/>
                    <a:gd name="connsiteY190" fmla="*/ 13992 h 80800"/>
                    <a:gd name="connsiteX191" fmla="*/ 131521 w 212817"/>
                    <a:gd name="connsiteY191" fmla="*/ 13830 h 80800"/>
                    <a:gd name="connsiteX192" fmla="*/ 133055 w 212817"/>
                    <a:gd name="connsiteY192" fmla="*/ 13135 h 80800"/>
                    <a:gd name="connsiteX193" fmla="*/ 135293 w 212817"/>
                    <a:gd name="connsiteY193" fmla="*/ 12773 h 80800"/>
                    <a:gd name="connsiteX194" fmla="*/ 135693 w 212817"/>
                    <a:gd name="connsiteY194" fmla="*/ 12744 h 80800"/>
                    <a:gd name="connsiteX195" fmla="*/ 139732 w 212817"/>
                    <a:gd name="connsiteY195" fmla="*/ 10039 h 80800"/>
                    <a:gd name="connsiteX196" fmla="*/ 141408 w 212817"/>
                    <a:gd name="connsiteY196" fmla="*/ 8458 h 80800"/>
                    <a:gd name="connsiteX197" fmla="*/ 142199 w 212817"/>
                    <a:gd name="connsiteY197" fmla="*/ 7096 h 80800"/>
                    <a:gd name="connsiteX198" fmla="*/ 142008 w 212817"/>
                    <a:gd name="connsiteY198" fmla="*/ 5686 h 80800"/>
                    <a:gd name="connsiteX199" fmla="*/ 140837 w 212817"/>
                    <a:gd name="connsiteY199" fmla="*/ 4229 h 80800"/>
                    <a:gd name="connsiteX200" fmla="*/ 141170 w 212817"/>
                    <a:gd name="connsiteY200" fmla="*/ 2657 h 80800"/>
                    <a:gd name="connsiteX201" fmla="*/ 141570 w 212817"/>
                    <a:gd name="connsiteY201" fmla="*/ 1867 h 80800"/>
                    <a:gd name="connsiteX202" fmla="*/ 141761 w 212817"/>
                    <a:gd name="connsiteY202" fmla="*/ 876 h 80800"/>
                    <a:gd name="connsiteX203" fmla="*/ 142399 w 212817"/>
                    <a:gd name="connsiteY203" fmla="*/ 505 h 80800"/>
                    <a:gd name="connsiteX204" fmla="*/ 143485 w 212817"/>
                    <a:gd name="connsiteY204" fmla="*/ 752 h 80800"/>
                    <a:gd name="connsiteX205" fmla="*/ 144590 w 212817"/>
                    <a:gd name="connsiteY205" fmla="*/ 629 h 80800"/>
                    <a:gd name="connsiteX206" fmla="*/ 145742 w 212817"/>
                    <a:gd name="connsiteY206" fmla="*/ 105 h 80800"/>
                    <a:gd name="connsiteX207" fmla="*/ 147323 w 212817"/>
                    <a:gd name="connsiteY207" fmla="*/ 0 h 80800"/>
                    <a:gd name="connsiteX208" fmla="*/ 148514 w 212817"/>
                    <a:gd name="connsiteY208" fmla="*/ 86 h 80800"/>
                    <a:gd name="connsiteX209" fmla="*/ 149266 w 212817"/>
                    <a:gd name="connsiteY209" fmla="*/ 1343 h 80800"/>
                    <a:gd name="connsiteX210" fmla="*/ 153905 w 212817"/>
                    <a:gd name="connsiteY210" fmla="*/ 2562 h 80800"/>
                    <a:gd name="connsiteX211" fmla="*/ 155505 w 212817"/>
                    <a:gd name="connsiteY211" fmla="*/ 3210 h 80800"/>
                    <a:gd name="connsiteX212" fmla="*/ 157563 w 212817"/>
                    <a:gd name="connsiteY212" fmla="*/ 3877 h 80800"/>
                    <a:gd name="connsiteX213" fmla="*/ 158058 w 212817"/>
                    <a:gd name="connsiteY213" fmla="*/ 4096 h 80800"/>
                    <a:gd name="connsiteX214" fmla="*/ 158058 w 212817"/>
                    <a:gd name="connsiteY214" fmla="*/ 4810 h 80800"/>
                    <a:gd name="connsiteX215" fmla="*/ 158791 w 212817"/>
                    <a:gd name="connsiteY215" fmla="*/ 5115 h 80800"/>
                    <a:gd name="connsiteX216" fmla="*/ 160249 w 212817"/>
                    <a:gd name="connsiteY216" fmla="*/ 5001 h 80800"/>
                    <a:gd name="connsiteX217" fmla="*/ 161592 w 212817"/>
                    <a:gd name="connsiteY217" fmla="*/ 5239 h 80800"/>
                    <a:gd name="connsiteX218" fmla="*/ 163459 w 212817"/>
                    <a:gd name="connsiteY218" fmla="*/ 6344 h 80800"/>
                    <a:gd name="connsiteX219" fmla="*/ 165326 w 212817"/>
                    <a:gd name="connsiteY219" fmla="*/ 7096 h 80800"/>
                    <a:gd name="connsiteX220" fmla="*/ 169012 w 212817"/>
                    <a:gd name="connsiteY220" fmla="*/ 6991 h 80800"/>
                    <a:gd name="connsiteX221" fmla="*/ 171183 w 212817"/>
                    <a:gd name="connsiteY221" fmla="*/ 6677 h 80800"/>
                    <a:gd name="connsiteX222" fmla="*/ 174050 w 212817"/>
                    <a:gd name="connsiteY222" fmla="*/ 7191 h 80800"/>
                    <a:gd name="connsiteX223" fmla="*/ 175822 w 212817"/>
                    <a:gd name="connsiteY223" fmla="*/ 7191 h 80800"/>
                    <a:gd name="connsiteX224" fmla="*/ 178118 w 212817"/>
                    <a:gd name="connsiteY224" fmla="*/ 6306 h 80800"/>
                    <a:gd name="connsiteX225" fmla="*/ 179784 w 212817"/>
                    <a:gd name="connsiteY225" fmla="*/ 6077 h 80800"/>
                    <a:gd name="connsiteX226" fmla="*/ 180842 w 212817"/>
                    <a:gd name="connsiteY226" fmla="*/ 6496 h 80800"/>
                    <a:gd name="connsiteX227" fmla="*/ 181089 w 212817"/>
                    <a:gd name="connsiteY227" fmla="*/ 7039 h 80800"/>
                    <a:gd name="connsiteX228" fmla="*/ 181699 w 212817"/>
                    <a:gd name="connsiteY228" fmla="*/ 7810 h 80800"/>
                    <a:gd name="connsiteX229" fmla="*/ 185099 w 212817"/>
                    <a:gd name="connsiteY229" fmla="*/ 7439 h 80800"/>
                    <a:gd name="connsiteX230" fmla="*/ 185680 w 212817"/>
                    <a:gd name="connsiteY230" fmla="*/ 7649 h 80800"/>
                    <a:gd name="connsiteX231" fmla="*/ 186147 w 212817"/>
                    <a:gd name="connsiteY231" fmla="*/ 8496 h 80800"/>
                    <a:gd name="connsiteX232" fmla="*/ 185995 w 212817"/>
                    <a:gd name="connsiteY232" fmla="*/ 9039 h 80800"/>
                    <a:gd name="connsiteX233" fmla="*/ 186014 w 212817"/>
                    <a:gd name="connsiteY233" fmla="*/ 9877 h 80800"/>
                    <a:gd name="connsiteX234" fmla="*/ 186319 w 212817"/>
                    <a:gd name="connsiteY234" fmla="*/ 11478 h 80800"/>
                    <a:gd name="connsiteX235" fmla="*/ 186290 w 212817"/>
                    <a:gd name="connsiteY235" fmla="*/ 12030 h 80800"/>
                    <a:gd name="connsiteX236" fmla="*/ 186738 w 212817"/>
                    <a:gd name="connsiteY236" fmla="*/ 12697 h 80800"/>
                    <a:gd name="connsiteX237" fmla="*/ 186538 w 212817"/>
                    <a:gd name="connsiteY237" fmla="*/ 14249 h 80800"/>
                    <a:gd name="connsiteX238" fmla="*/ 185661 w 212817"/>
                    <a:gd name="connsiteY238" fmla="*/ 16707 h 80800"/>
                    <a:gd name="connsiteX239" fmla="*/ 185385 w 212817"/>
                    <a:gd name="connsiteY239" fmla="*/ 18202 h 80800"/>
                    <a:gd name="connsiteX240" fmla="*/ 185709 w 212817"/>
                    <a:gd name="connsiteY240" fmla="*/ 18755 h 80800"/>
                    <a:gd name="connsiteX241" fmla="*/ 185623 w 212817"/>
                    <a:gd name="connsiteY241" fmla="*/ 19383 h 80800"/>
                    <a:gd name="connsiteX242" fmla="*/ 184756 w 212817"/>
                    <a:gd name="connsiteY242" fmla="*/ 21946 h 80800"/>
                    <a:gd name="connsiteX243" fmla="*/ 184547 w 212817"/>
                    <a:gd name="connsiteY243" fmla="*/ 24898 h 80800"/>
                    <a:gd name="connsiteX244" fmla="*/ 185080 w 212817"/>
                    <a:gd name="connsiteY244" fmla="*/ 27775 h 80800"/>
                    <a:gd name="connsiteX245" fmla="*/ 186376 w 212817"/>
                    <a:gd name="connsiteY245" fmla="*/ 30594 h 80800"/>
                    <a:gd name="connsiteX246" fmla="*/ 188909 w 212817"/>
                    <a:gd name="connsiteY246" fmla="*/ 32461 h 80800"/>
                    <a:gd name="connsiteX247" fmla="*/ 192681 w 212817"/>
                    <a:gd name="connsiteY247" fmla="*/ 33385 h 80800"/>
                    <a:gd name="connsiteX248" fmla="*/ 196377 w 212817"/>
                    <a:gd name="connsiteY248" fmla="*/ 33595 h 80800"/>
                    <a:gd name="connsiteX249" fmla="*/ 199997 w 212817"/>
                    <a:gd name="connsiteY249" fmla="*/ 33090 h 80800"/>
                    <a:gd name="connsiteX250" fmla="*/ 204578 w 212817"/>
                    <a:gd name="connsiteY250" fmla="*/ 32814 h 80800"/>
                    <a:gd name="connsiteX251" fmla="*/ 210131 w 212817"/>
                    <a:gd name="connsiteY251" fmla="*/ 32776 h 80800"/>
                    <a:gd name="connsiteX252" fmla="*/ 212817 w 212817"/>
                    <a:gd name="connsiteY252" fmla="*/ 33099 h 80800"/>
                    <a:gd name="connsiteX253" fmla="*/ 212627 w 212817"/>
                    <a:gd name="connsiteY253" fmla="*/ 33785 h 80800"/>
                    <a:gd name="connsiteX254" fmla="*/ 211550 w 212817"/>
                    <a:gd name="connsiteY254" fmla="*/ 34785 h 80800"/>
                    <a:gd name="connsiteX255" fmla="*/ 209579 w 212817"/>
                    <a:gd name="connsiteY255" fmla="*/ 36090 h 80800"/>
                    <a:gd name="connsiteX256" fmla="*/ 208979 w 212817"/>
                    <a:gd name="connsiteY256" fmla="*/ 36938 h 80800"/>
                    <a:gd name="connsiteX257" fmla="*/ 208312 w 212817"/>
                    <a:gd name="connsiteY257" fmla="*/ 38052 h 80800"/>
                    <a:gd name="connsiteX258" fmla="*/ 206483 w 212817"/>
                    <a:gd name="connsiteY258" fmla="*/ 39529 h 80800"/>
                    <a:gd name="connsiteX259" fmla="*/ 205464 w 212817"/>
                    <a:gd name="connsiteY259" fmla="*/ 40415 h 80800"/>
                    <a:gd name="connsiteX260" fmla="*/ 205292 w 212817"/>
                    <a:gd name="connsiteY260" fmla="*/ 41034 h 80800"/>
                    <a:gd name="connsiteX261" fmla="*/ 204540 w 212817"/>
                    <a:gd name="connsiteY261" fmla="*/ 41862 h 80800"/>
                    <a:gd name="connsiteX262" fmla="*/ 203216 w 212817"/>
                    <a:gd name="connsiteY262" fmla="*/ 42901 h 80800"/>
                    <a:gd name="connsiteX263" fmla="*/ 202892 w 212817"/>
                    <a:gd name="connsiteY263" fmla="*/ 44291 h 80800"/>
                    <a:gd name="connsiteX264" fmla="*/ 203578 w 212817"/>
                    <a:gd name="connsiteY264" fmla="*/ 46025 h 80800"/>
                    <a:gd name="connsiteX265" fmla="*/ 204797 w 212817"/>
                    <a:gd name="connsiteY265" fmla="*/ 47425 h 80800"/>
                    <a:gd name="connsiteX266" fmla="*/ 206578 w 212817"/>
                    <a:gd name="connsiteY266" fmla="*/ 48492 h 80800"/>
                    <a:gd name="connsiteX267" fmla="*/ 207445 w 212817"/>
                    <a:gd name="connsiteY267" fmla="*/ 49587 h 80800"/>
                    <a:gd name="connsiteX268" fmla="*/ 207416 w 212817"/>
                    <a:gd name="connsiteY268" fmla="*/ 50730 h 80800"/>
                    <a:gd name="connsiteX269" fmla="*/ 207731 w 212817"/>
                    <a:gd name="connsiteY269" fmla="*/ 51359 h 80800"/>
                    <a:gd name="connsiteX270" fmla="*/ 208398 w 212817"/>
                    <a:gd name="connsiteY270" fmla="*/ 51473 h 80800"/>
                    <a:gd name="connsiteX271" fmla="*/ 208769 w 212817"/>
                    <a:gd name="connsiteY271" fmla="*/ 51997 h 80800"/>
                    <a:gd name="connsiteX272" fmla="*/ 208836 w 212817"/>
                    <a:gd name="connsiteY272" fmla="*/ 52949 h 80800"/>
                    <a:gd name="connsiteX273" fmla="*/ 207302 w 212817"/>
                    <a:gd name="connsiteY273" fmla="*/ 54607 h 80800"/>
                    <a:gd name="connsiteX274" fmla="*/ 204149 w 212817"/>
                    <a:gd name="connsiteY274" fmla="*/ 57007 h 80800"/>
                    <a:gd name="connsiteX275" fmla="*/ 202483 w 212817"/>
                    <a:gd name="connsiteY275" fmla="*/ 58550 h 80800"/>
                    <a:gd name="connsiteX276" fmla="*/ 202292 w 212817"/>
                    <a:gd name="connsiteY276" fmla="*/ 59246 h 80800"/>
                    <a:gd name="connsiteX277" fmla="*/ 199301 w 212817"/>
                    <a:gd name="connsiteY277" fmla="*/ 61865 h 80800"/>
                    <a:gd name="connsiteX278" fmla="*/ 198653 w 212817"/>
                    <a:gd name="connsiteY278" fmla="*/ 62894 h 80800"/>
                    <a:gd name="connsiteX279" fmla="*/ 198920 w 212817"/>
                    <a:gd name="connsiteY279" fmla="*/ 63608 h 80800"/>
                    <a:gd name="connsiteX280" fmla="*/ 200882 w 212817"/>
                    <a:gd name="connsiteY280" fmla="*/ 64627 h 80800"/>
                    <a:gd name="connsiteX281" fmla="*/ 201244 w 212817"/>
                    <a:gd name="connsiteY281" fmla="*/ 65465 h 80800"/>
                    <a:gd name="connsiteX282" fmla="*/ 201835 w 212817"/>
                    <a:gd name="connsiteY282" fmla="*/ 65589 h 80800"/>
                    <a:gd name="connsiteX283" fmla="*/ 202625 w 212817"/>
                    <a:gd name="connsiteY283" fmla="*/ 64999 h 80800"/>
                    <a:gd name="connsiteX284" fmla="*/ 203768 w 212817"/>
                    <a:gd name="connsiteY284" fmla="*/ 64732 h 80800"/>
                    <a:gd name="connsiteX285" fmla="*/ 205245 w 212817"/>
                    <a:gd name="connsiteY285" fmla="*/ 64789 h 80800"/>
                    <a:gd name="connsiteX286" fmla="*/ 206426 w 212817"/>
                    <a:gd name="connsiteY286" fmla="*/ 65199 h 80800"/>
                    <a:gd name="connsiteX287" fmla="*/ 207321 w 212817"/>
                    <a:gd name="connsiteY287" fmla="*/ 65989 h 80800"/>
                    <a:gd name="connsiteX288" fmla="*/ 207350 w 212817"/>
                    <a:gd name="connsiteY288" fmla="*/ 66799 h 80800"/>
                    <a:gd name="connsiteX289" fmla="*/ 206512 w 212817"/>
                    <a:gd name="connsiteY289" fmla="*/ 67637 h 80800"/>
                    <a:gd name="connsiteX290" fmla="*/ 205673 w 212817"/>
                    <a:gd name="connsiteY290" fmla="*/ 67932 h 80800"/>
                    <a:gd name="connsiteX291" fmla="*/ 203702 w 212817"/>
                    <a:gd name="connsiteY291" fmla="*/ 67809 h 80800"/>
                    <a:gd name="connsiteX292" fmla="*/ 202321 w 212817"/>
                    <a:gd name="connsiteY292" fmla="*/ 68237 h 80800"/>
                    <a:gd name="connsiteX293" fmla="*/ 201149 w 212817"/>
                    <a:gd name="connsiteY293" fmla="*/ 69132 h 80800"/>
                    <a:gd name="connsiteX294" fmla="*/ 199663 w 212817"/>
                    <a:gd name="connsiteY294" fmla="*/ 71523 h 80800"/>
                    <a:gd name="connsiteX295" fmla="*/ 199673 w 212817"/>
                    <a:gd name="connsiteY295" fmla="*/ 72542 h 80800"/>
                    <a:gd name="connsiteX296" fmla="*/ 200006 w 212817"/>
                    <a:gd name="connsiteY296" fmla="*/ 72542 h 80800"/>
                    <a:gd name="connsiteX297" fmla="*/ 200720 w 212817"/>
                    <a:gd name="connsiteY297" fmla="*/ 72057 h 80800"/>
                    <a:gd name="connsiteX298" fmla="*/ 201825 w 212817"/>
                    <a:gd name="connsiteY298" fmla="*/ 71095 h 80800"/>
                    <a:gd name="connsiteX299" fmla="*/ 202521 w 212817"/>
                    <a:gd name="connsiteY299" fmla="*/ 70990 h 80800"/>
                    <a:gd name="connsiteX300" fmla="*/ 202806 w 212817"/>
                    <a:gd name="connsiteY300" fmla="*/ 71733 h 80800"/>
                    <a:gd name="connsiteX301" fmla="*/ 201235 w 212817"/>
                    <a:gd name="connsiteY301" fmla="*/ 73276 h 80800"/>
                    <a:gd name="connsiteX302" fmla="*/ 197815 w 212817"/>
                    <a:gd name="connsiteY302" fmla="*/ 75619 h 80800"/>
                    <a:gd name="connsiteX303" fmla="*/ 196863 w 212817"/>
                    <a:gd name="connsiteY303" fmla="*/ 76352 h 80800"/>
                    <a:gd name="connsiteX304" fmla="*/ 196301 w 212817"/>
                    <a:gd name="connsiteY304" fmla="*/ 77400 h 80800"/>
                    <a:gd name="connsiteX305" fmla="*/ 197091 w 212817"/>
                    <a:gd name="connsiteY305" fmla="*/ 79296 h 80800"/>
                    <a:gd name="connsiteX306" fmla="*/ 197853 w 212817"/>
                    <a:gd name="connsiteY306" fmla="*/ 79115 h 80800"/>
                    <a:gd name="connsiteX307" fmla="*/ 198549 w 212817"/>
                    <a:gd name="connsiteY307" fmla="*/ 78648 h 80800"/>
                    <a:gd name="connsiteX308" fmla="*/ 199587 w 212817"/>
                    <a:gd name="connsiteY308" fmla="*/ 78086 h 8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Lst>
                  <a:rect l="l" t="t" r="r" b="b"/>
                  <a:pathLst>
                    <a:path w="212817" h="80800">
                      <a:moveTo>
                        <a:pt x="199587" y="78086"/>
                      </a:moveTo>
                      <a:lnTo>
                        <a:pt x="202101" y="77800"/>
                      </a:lnTo>
                      <a:lnTo>
                        <a:pt x="201282" y="78629"/>
                      </a:lnTo>
                      <a:lnTo>
                        <a:pt x="200473" y="78715"/>
                      </a:lnTo>
                      <a:lnTo>
                        <a:pt x="199282" y="79077"/>
                      </a:lnTo>
                      <a:lnTo>
                        <a:pt x="197691" y="79915"/>
                      </a:lnTo>
                      <a:lnTo>
                        <a:pt x="195586" y="80801"/>
                      </a:lnTo>
                      <a:lnTo>
                        <a:pt x="194024" y="80581"/>
                      </a:lnTo>
                      <a:lnTo>
                        <a:pt x="193529" y="79353"/>
                      </a:lnTo>
                      <a:lnTo>
                        <a:pt x="192005" y="79086"/>
                      </a:lnTo>
                      <a:lnTo>
                        <a:pt x="189462" y="79791"/>
                      </a:lnTo>
                      <a:lnTo>
                        <a:pt x="187547" y="79762"/>
                      </a:lnTo>
                      <a:lnTo>
                        <a:pt x="186290" y="78991"/>
                      </a:lnTo>
                      <a:lnTo>
                        <a:pt x="183299" y="78619"/>
                      </a:lnTo>
                      <a:lnTo>
                        <a:pt x="183232" y="78038"/>
                      </a:lnTo>
                      <a:lnTo>
                        <a:pt x="183614" y="77438"/>
                      </a:lnTo>
                      <a:lnTo>
                        <a:pt x="184461" y="76800"/>
                      </a:lnTo>
                      <a:lnTo>
                        <a:pt x="185557" y="75295"/>
                      </a:lnTo>
                      <a:lnTo>
                        <a:pt x="186900" y="72914"/>
                      </a:lnTo>
                      <a:lnTo>
                        <a:pt x="188243" y="71238"/>
                      </a:lnTo>
                      <a:lnTo>
                        <a:pt x="189576" y="70256"/>
                      </a:lnTo>
                      <a:lnTo>
                        <a:pt x="188557" y="69856"/>
                      </a:lnTo>
                      <a:lnTo>
                        <a:pt x="185185" y="70028"/>
                      </a:lnTo>
                      <a:lnTo>
                        <a:pt x="180975" y="70837"/>
                      </a:lnTo>
                      <a:lnTo>
                        <a:pt x="175927" y="72276"/>
                      </a:lnTo>
                      <a:lnTo>
                        <a:pt x="171012" y="72781"/>
                      </a:lnTo>
                      <a:lnTo>
                        <a:pt x="166240" y="72352"/>
                      </a:lnTo>
                      <a:lnTo>
                        <a:pt x="162430" y="72419"/>
                      </a:lnTo>
                      <a:lnTo>
                        <a:pt x="157848" y="73142"/>
                      </a:lnTo>
                      <a:lnTo>
                        <a:pt x="157258" y="72904"/>
                      </a:lnTo>
                      <a:lnTo>
                        <a:pt x="154096" y="73866"/>
                      </a:lnTo>
                      <a:lnTo>
                        <a:pt x="148361" y="76019"/>
                      </a:lnTo>
                      <a:lnTo>
                        <a:pt x="143856" y="78019"/>
                      </a:lnTo>
                      <a:lnTo>
                        <a:pt x="139789" y="80267"/>
                      </a:lnTo>
                      <a:lnTo>
                        <a:pt x="139341" y="80286"/>
                      </a:lnTo>
                      <a:lnTo>
                        <a:pt x="138941" y="79791"/>
                      </a:lnTo>
                      <a:lnTo>
                        <a:pt x="137893" y="79096"/>
                      </a:lnTo>
                      <a:lnTo>
                        <a:pt x="136379" y="79077"/>
                      </a:lnTo>
                      <a:lnTo>
                        <a:pt x="134398" y="79734"/>
                      </a:lnTo>
                      <a:lnTo>
                        <a:pt x="132979" y="79324"/>
                      </a:lnTo>
                      <a:lnTo>
                        <a:pt x="132112" y="77848"/>
                      </a:lnTo>
                      <a:lnTo>
                        <a:pt x="130816" y="77429"/>
                      </a:lnTo>
                      <a:lnTo>
                        <a:pt x="129092" y="78076"/>
                      </a:lnTo>
                      <a:lnTo>
                        <a:pt x="126673" y="78362"/>
                      </a:lnTo>
                      <a:lnTo>
                        <a:pt x="121873" y="78019"/>
                      </a:lnTo>
                      <a:lnTo>
                        <a:pt x="121615" y="77543"/>
                      </a:lnTo>
                      <a:lnTo>
                        <a:pt x="122053" y="75952"/>
                      </a:lnTo>
                      <a:lnTo>
                        <a:pt x="121892" y="75257"/>
                      </a:lnTo>
                      <a:lnTo>
                        <a:pt x="121196" y="74771"/>
                      </a:lnTo>
                      <a:lnTo>
                        <a:pt x="120625" y="73009"/>
                      </a:lnTo>
                      <a:lnTo>
                        <a:pt x="119739" y="68504"/>
                      </a:lnTo>
                      <a:lnTo>
                        <a:pt x="119101" y="67961"/>
                      </a:lnTo>
                      <a:lnTo>
                        <a:pt x="117100" y="66570"/>
                      </a:lnTo>
                      <a:lnTo>
                        <a:pt x="114814" y="65942"/>
                      </a:lnTo>
                      <a:lnTo>
                        <a:pt x="108623" y="65065"/>
                      </a:lnTo>
                      <a:lnTo>
                        <a:pt x="107528" y="64446"/>
                      </a:lnTo>
                      <a:lnTo>
                        <a:pt x="106594" y="64570"/>
                      </a:lnTo>
                      <a:lnTo>
                        <a:pt x="100803" y="67008"/>
                      </a:lnTo>
                      <a:lnTo>
                        <a:pt x="100327" y="67542"/>
                      </a:lnTo>
                      <a:lnTo>
                        <a:pt x="99765" y="68056"/>
                      </a:lnTo>
                      <a:lnTo>
                        <a:pt x="98565" y="68904"/>
                      </a:lnTo>
                      <a:lnTo>
                        <a:pt x="97765" y="69294"/>
                      </a:lnTo>
                      <a:lnTo>
                        <a:pt x="97631" y="68894"/>
                      </a:lnTo>
                      <a:lnTo>
                        <a:pt x="97679" y="68180"/>
                      </a:lnTo>
                      <a:lnTo>
                        <a:pt x="98622" y="66627"/>
                      </a:lnTo>
                      <a:lnTo>
                        <a:pt x="100460" y="64208"/>
                      </a:lnTo>
                      <a:lnTo>
                        <a:pt x="101070" y="62646"/>
                      </a:lnTo>
                      <a:lnTo>
                        <a:pt x="100470" y="61913"/>
                      </a:lnTo>
                      <a:lnTo>
                        <a:pt x="100527" y="61046"/>
                      </a:lnTo>
                      <a:lnTo>
                        <a:pt x="101241" y="60027"/>
                      </a:lnTo>
                      <a:lnTo>
                        <a:pt x="100975" y="59207"/>
                      </a:lnTo>
                      <a:lnTo>
                        <a:pt x="99708" y="58588"/>
                      </a:lnTo>
                      <a:lnTo>
                        <a:pt x="99422" y="57788"/>
                      </a:lnTo>
                      <a:lnTo>
                        <a:pt x="100098" y="56788"/>
                      </a:lnTo>
                      <a:lnTo>
                        <a:pt x="100336" y="56102"/>
                      </a:lnTo>
                      <a:lnTo>
                        <a:pt x="100117" y="55731"/>
                      </a:lnTo>
                      <a:lnTo>
                        <a:pt x="97946" y="56521"/>
                      </a:lnTo>
                      <a:lnTo>
                        <a:pt x="93821" y="58445"/>
                      </a:lnTo>
                      <a:lnTo>
                        <a:pt x="90792" y="60169"/>
                      </a:lnTo>
                      <a:lnTo>
                        <a:pt x="88849" y="61684"/>
                      </a:lnTo>
                      <a:lnTo>
                        <a:pt x="86744" y="62551"/>
                      </a:lnTo>
                      <a:lnTo>
                        <a:pt x="84477" y="62751"/>
                      </a:lnTo>
                      <a:lnTo>
                        <a:pt x="82401" y="63398"/>
                      </a:lnTo>
                      <a:lnTo>
                        <a:pt x="78096" y="65618"/>
                      </a:lnTo>
                      <a:lnTo>
                        <a:pt x="75171" y="66761"/>
                      </a:lnTo>
                      <a:lnTo>
                        <a:pt x="70933" y="67599"/>
                      </a:lnTo>
                      <a:lnTo>
                        <a:pt x="65370" y="68123"/>
                      </a:lnTo>
                      <a:lnTo>
                        <a:pt x="60160" y="69561"/>
                      </a:lnTo>
                      <a:lnTo>
                        <a:pt x="55293" y="71923"/>
                      </a:lnTo>
                      <a:lnTo>
                        <a:pt x="49892" y="73914"/>
                      </a:lnTo>
                      <a:lnTo>
                        <a:pt x="43968" y="75552"/>
                      </a:lnTo>
                      <a:lnTo>
                        <a:pt x="40243" y="76133"/>
                      </a:lnTo>
                      <a:lnTo>
                        <a:pt x="38729" y="75657"/>
                      </a:lnTo>
                      <a:lnTo>
                        <a:pt x="37176" y="74647"/>
                      </a:lnTo>
                      <a:lnTo>
                        <a:pt x="35023" y="72838"/>
                      </a:lnTo>
                      <a:lnTo>
                        <a:pt x="34462" y="73009"/>
                      </a:lnTo>
                      <a:lnTo>
                        <a:pt x="34500" y="73381"/>
                      </a:lnTo>
                      <a:lnTo>
                        <a:pt x="34252" y="73695"/>
                      </a:lnTo>
                      <a:lnTo>
                        <a:pt x="33366" y="74209"/>
                      </a:lnTo>
                      <a:lnTo>
                        <a:pt x="28518" y="75552"/>
                      </a:lnTo>
                      <a:lnTo>
                        <a:pt x="28270" y="75047"/>
                      </a:lnTo>
                      <a:lnTo>
                        <a:pt x="30851" y="73209"/>
                      </a:lnTo>
                      <a:lnTo>
                        <a:pt x="32242" y="71847"/>
                      </a:lnTo>
                      <a:lnTo>
                        <a:pt x="32928" y="70590"/>
                      </a:lnTo>
                      <a:lnTo>
                        <a:pt x="34500" y="69037"/>
                      </a:lnTo>
                      <a:lnTo>
                        <a:pt x="36948" y="67199"/>
                      </a:lnTo>
                      <a:lnTo>
                        <a:pt x="38176" y="65951"/>
                      </a:lnTo>
                      <a:lnTo>
                        <a:pt x="38195" y="65294"/>
                      </a:lnTo>
                      <a:lnTo>
                        <a:pt x="37271" y="64237"/>
                      </a:lnTo>
                      <a:lnTo>
                        <a:pt x="36071" y="64160"/>
                      </a:lnTo>
                      <a:lnTo>
                        <a:pt x="34290" y="64513"/>
                      </a:lnTo>
                      <a:lnTo>
                        <a:pt x="27918" y="67227"/>
                      </a:lnTo>
                      <a:lnTo>
                        <a:pt x="27556" y="67027"/>
                      </a:lnTo>
                      <a:lnTo>
                        <a:pt x="26270" y="66589"/>
                      </a:lnTo>
                      <a:lnTo>
                        <a:pt x="25851" y="66665"/>
                      </a:lnTo>
                      <a:lnTo>
                        <a:pt x="20784" y="69018"/>
                      </a:lnTo>
                      <a:lnTo>
                        <a:pt x="16202" y="70428"/>
                      </a:lnTo>
                      <a:lnTo>
                        <a:pt x="6096" y="72438"/>
                      </a:lnTo>
                      <a:lnTo>
                        <a:pt x="3696" y="72676"/>
                      </a:lnTo>
                      <a:lnTo>
                        <a:pt x="2019" y="72533"/>
                      </a:lnTo>
                      <a:lnTo>
                        <a:pt x="429" y="71361"/>
                      </a:lnTo>
                      <a:lnTo>
                        <a:pt x="0" y="70561"/>
                      </a:lnTo>
                      <a:lnTo>
                        <a:pt x="591" y="69694"/>
                      </a:lnTo>
                      <a:lnTo>
                        <a:pt x="2181" y="68761"/>
                      </a:lnTo>
                      <a:lnTo>
                        <a:pt x="17555" y="61484"/>
                      </a:lnTo>
                      <a:lnTo>
                        <a:pt x="27442" y="56293"/>
                      </a:lnTo>
                      <a:lnTo>
                        <a:pt x="44482" y="46558"/>
                      </a:lnTo>
                      <a:lnTo>
                        <a:pt x="48530" y="44625"/>
                      </a:lnTo>
                      <a:lnTo>
                        <a:pt x="56988" y="41386"/>
                      </a:lnTo>
                      <a:lnTo>
                        <a:pt x="69342" y="38281"/>
                      </a:lnTo>
                      <a:lnTo>
                        <a:pt x="75543" y="36557"/>
                      </a:lnTo>
                      <a:lnTo>
                        <a:pt x="81134" y="34681"/>
                      </a:lnTo>
                      <a:lnTo>
                        <a:pt x="84858" y="33233"/>
                      </a:lnTo>
                      <a:lnTo>
                        <a:pt x="86687" y="32223"/>
                      </a:lnTo>
                      <a:lnTo>
                        <a:pt x="87963" y="31756"/>
                      </a:lnTo>
                      <a:lnTo>
                        <a:pt x="88687" y="31823"/>
                      </a:lnTo>
                      <a:lnTo>
                        <a:pt x="90583" y="31147"/>
                      </a:lnTo>
                      <a:lnTo>
                        <a:pt x="94602" y="28651"/>
                      </a:lnTo>
                      <a:lnTo>
                        <a:pt x="95012" y="28451"/>
                      </a:lnTo>
                      <a:lnTo>
                        <a:pt x="97860" y="27746"/>
                      </a:lnTo>
                      <a:lnTo>
                        <a:pt x="99346" y="26556"/>
                      </a:lnTo>
                      <a:lnTo>
                        <a:pt x="100660" y="25127"/>
                      </a:lnTo>
                      <a:lnTo>
                        <a:pt x="103203" y="22746"/>
                      </a:lnTo>
                      <a:lnTo>
                        <a:pt x="104585" y="21765"/>
                      </a:lnTo>
                      <a:lnTo>
                        <a:pt x="105404" y="20688"/>
                      </a:lnTo>
                      <a:lnTo>
                        <a:pt x="105689" y="19507"/>
                      </a:lnTo>
                      <a:lnTo>
                        <a:pt x="106452" y="18393"/>
                      </a:lnTo>
                      <a:lnTo>
                        <a:pt x="107699" y="17345"/>
                      </a:lnTo>
                      <a:lnTo>
                        <a:pt x="111547" y="15869"/>
                      </a:lnTo>
                      <a:lnTo>
                        <a:pt x="121272" y="13183"/>
                      </a:lnTo>
                      <a:lnTo>
                        <a:pt x="121358" y="13516"/>
                      </a:lnTo>
                      <a:lnTo>
                        <a:pt x="118729" y="15592"/>
                      </a:lnTo>
                      <a:lnTo>
                        <a:pt x="114919" y="19526"/>
                      </a:lnTo>
                      <a:lnTo>
                        <a:pt x="114329" y="19631"/>
                      </a:lnTo>
                      <a:lnTo>
                        <a:pt x="113557" y="20117"/>
                      </a:lnTo>
                      <a:lnTo>
                        <a:pt x="112605" y="20974"/>
                      </a:lnTo>
                      <a:lnTo>
                        <a:pt x="113795" y="20917"/>
                      </a:lnTo>
                      <a:lnTo>
                        <a:pt x="117129" y="19936"/>
                      </a:lnTo>
                      <a:lnTo>
                        <a:pt x="118691" y="19441"/>
                      </a:lnTo>
                      <a:lnTo>
                        <a:pt x="119577" y="18479"/>
                      </a:lnTo>
                      <a:lnTo>
                        <a:pt x="121120" y="16545"/>
                      </a:lnTo>
                      <a:lnTo>
                        <a:pt x="122330" y="15469"/>
                      </a:lnTo>
                      <a:lnTo>
                        <a:pt x="123215" y="15269"/>
                      </a:lnTo>
                      <a:lnTo>
                        <a:pt x="124254" y="14335"/>
                      </a:lnTo>
                      <a:lnTo>
                        <a:pt x="125463" y="12687"/>
                      </a:lnTo>
                      <a:lnTo>
                        <a:pt x="126644" y="11697"/>
                      </a:lnTo>
                      <a:lnTo>
                        <a:pt x="127787" y="11382"/>
                      </a:lnTo>
                      <a:lnTo>
                        <a:pt x="128530" y="10801"/>
                      </a:lnTo>
                      <a:lnTo>
                        <a:pt x="128940" y="9992"/>
                      </a:lnTo>
                      <a:lnTo>
                        <a:pt x="130454" y="7810"/>
                      </a:lnTo>
                      <a:lnTo>
                        <a:pt x="131245" y="6791"/>
                      </a:lnTo>
                      <a:lnTo>
                        <a:pt x="132959" y="5296"/>
                      </a:lnTo>
                      <a:lnTo>
                        <a:pt x="134407" y="4839"/>
                      </a:lnTo>
                      <a:lnTo>
                        <a:pt x="135979" y="4934"/>
                      </a:lnTo>
                      <a:lnTo>
                        <a:pt x="136655" y="5696"/>
                      </a:lnTo>
                      <a:lnTo>
                        <a:pt x="136446" y="7115"/>
                      </a:lnTo>
                      <a:lnTo>
                        <a:pt x="135931" y="8287"/>
                      </a:lnTo>
                      <a:lnTo>
                        <a:pt x="135122" y="9220"/>
                      </a:lnTo>
                      <a:lnTo>
                        <a:pt x="132569" y="10897"/>
                      </a:lnTo>
                      <a:lnTo>
                        <a:pt x="125721" y="14916"/>
                      </a:lnTo>
                      <a:lnTo>
                        <a:pt x="124597" y="16040"/>
                      </a:lnTo>
                      <a:lnTo>
                        <a:pt x="124654" y="16621"/>
                      </a:lnTo>
                      <a:lnTo>
                        <a:pt x="124425" y="17478"/>
                      </a:lnTo>
                      <a:lnTo>
                        <a:pt x="124901" y="17583"/>
                      </a:lnTo>
                      <a:lnTo>
                        <a:pt x="126330" y="16840"/>
                      </a:lnTo>
                      <a:lnTo>
                        <a:pt x="127140" y="16173"/>
                      </a:lnTo>
                      <a:lnTo>
                        <a:pt x="127340" y="15592"/>
                      </a:lnTo>
                      <a:lnTo>
                        <a:pt x="128140" y="14830"/>
                      </a:lnTo>
                      <a:lnTo>
                        <a:pt x="129521" y="13887"/>
                      </a:lnTo>
                      <a:lnTo>
                        <a:pt x="130340" y="13621"/>
                      </a:lnTo>
                      <a:lnTo>
                        <a:pt x="130616" y="13992"/>
                      </a:lnTo>
                      <a:lnTo>
                        <a:pt x="131521" y="13830"/>
                      </a:lnTo>
                      <a:lnTo>
                        <a:pt x="133055" y="13135"/>
                      </a:lnTo>
                      <a:lnTo>
                        <a:pt x="135293" y="12773"/>
                      </a:lnTo>
                      <a:lnTo>
                        <a:pt x="135693" y="12744"/>
                      </a:lnTo>
                      <a:lnTo>
                        <a:pt x="139732" y="10039"/>
                      </a:lnTo>
                      <a:lnTo>
                        <a:pt x="141408" y="8458"/>
                      </a:lnTo>
                      <a:lnTo>
                        <a:pt x="142199" y="7096"/>
                      </a:lnTo>
                      <a:lnTo>
                        <a:pt x="142008" y="5686"/>
                      </a:lnTo>
                      <a:lnTo>
                        <a:pt x="140837" y="4229"/>
                      </a:lnTo>
                      <a:lnTo>
                        <a:pt x="141170" y="2657"/>
                      </a:lnTo>
                      <a:lnTo>
                        <a:pt x="141570" y="1867"/>
                      </a:lnTo>
                      <a:lnTo>
                        <a:pt x="141761" y="876"/>
                      </a:lnTo>
                      <a:lnTo>
                        <a:pt x="142399" y="505"/>
                      </a:lnTo>
                      <a:lnTo>
                        <a:pt x="143485" y="752"/>
                      </a:lnTo>
                      <a:lnTo>
                        <a:pt x="144590" y="629"/>
                      </a:lnTo>
                      <a:lnTo>
                        <a:pt x="145742" y="105"/>
                      </a:lnTo>
                      <a:lnTo>
                        <a:pt x="147323" y="0"/>
                      </a:lnTo>
                      <a:lnTo>
                        <a:pt x="148514" y="86"/>
                      </a:lnTo>
                      <a:lnTo>
                        <a:pt x="149266" y="1343"/>
                      </a:lnTo>
                      <a:lnTo>
                        <a:pt x="153905" y="2562"/>
                      </a:lnTo>
                      <a:lnTo>
                        <a:pt x="155505" y="3210"/>
                      </a:lnTo>
                      <a:lnTo>
                        <a:pt x="157563" y="3877"/>
                      </a:lnTo>
                      <a:lnTo>
                        <a:pt x="158058" y="4096"/>
                      </a:lnTo>
                      <a:lnTo>
                        <a:pt x="158058" y="4810"/>
                      </a:lnTo>
                      <a:lnTo>
                        <a:pt x="158791" y="5115"/>
                      </a:lnTo>
                      <a:lnTo>
                        <a:pt x="160249" y="5001"/>
                      </a:lnTo>
                      <a:lnTo>
                        <a:pt x="161592" y="5239"/>
                      </a:lnTo>
                      <a:lnTo>
                        <a:pt x="163459" y="6344"/>
                      </a:lnTo>
                      <a:lnTo>
                        <a:pt x="165326" y="7096"/>
                      </a:lnTo>
                      <a:lnTo>
                        <a:pt x="169012" y="6991"/>
                      </a:lnTo>
                      <a:lnTo>
                        <a:pt x="171183" y="6677"/>
                      </a:lnTo>
                      <a:lnTo>
                        <a:pt x="174050" y="7191"/>
                      </a:lnTo>
                      <a:lnTo>
                        <a:pt x="175822" y="7191"/>
                      </a:lnTo>
                      <a:lnTo>
                        <a:pt x="178118" y="6306"/>
                      </a:lnTo>
                      <a:lnTo>
                        <a:pt x="179784" y="6077"/>
                      </a:lnTo>
                      <a:lnTo>
                        <a:pt x="180842" y="6496"/>
                      </a:lnTo>
                      <a:lnTo>
                        <a:pt x="181089" y="7039"/>
                      </a:lnTo>
                      <a:lnTo>
                        <a:pt x="181699" y="7810"/>
                      </a:lnTo>
                      <a:lnTo>
                        <a:pt x="185099" y="7439"/>
                      </a:lnTo>
                      <a:lnTo>
                        <a:pt x="185680" y="7649"/>
                      </a:lnTo>
                      <a:lnTo>
                        <a:pt x="186147" y="8496"/>
                      </a:lnTo>
                      <a:lnTo>
                        <a:pt x="185995" y="9039"/>
                      </a:lnTo>
                      <a:lnTo>
                        <a:pt x="186014" y="9877"/>
                      </a:lnTo>
                      <a:lnTo>
                        <a:pt x="186319" y="11478"/>
                      </a:lnTo>
                      <a:lnTo>
                        <a:pt x="186290" y="12030"/>
                      </a:lnTo>
                      <a:lnTo>
                        <a:pt x="186738" y="12697"/>
                      </a:lnTo>
                      <a:lnTo>
                        <a:pt x="186538" y="14249"/>
                      </a:lnTo>
                      <a:lnTo>
                        <a:pt x="185661" y="16707"/>
                      </a:lnTo>
                      <a:lnTo>
                        <a:pt x="185385" y="18202"/>
                      </a:lnTo>
                      <a:lnTo>
                        <a:pt x="185709" y="18755"/>
                      </a:lnTo>
                      <a:lnTo>
                        <a:pt x="185623" y="19383"/>
                      </a:lnTo>
                      <a:lnTo>
                        <a:pt x="184756" y="21946"/>
                      </a:lnTo>
                      <a:lnTo>
                        <a:pt x="184547" y="24898"/>
                      </a:lnTo>
                      <a:lnTo>
                        <a:pt x="185080" y="27775"/>
                      </a:lnTo>
                      <a:lnTo>
                        <a:pt x="186376" y="30594"/>
                      </a:lnTo>
                      <a:lnTo>
                        <a:pt x="188909" y="32461"/>
                      </a:lnTo>
                      <a:lnTo>
                        <a:pt x="192681" y="33385"/>
                      </a:lnTo>
                      <a:lnTo>
                        <a:pt x="196377" y="33595"/>
                      </a:lnTo>
                      <a:lnTo>
                        <a:pt x="199997" y="33090"/>
                      </a:lnTo>
                      <a:lnTo>
                        <a:pt x="204578" y="32814"/>
                      </a:lnTo>
                      <a:lnTo>
                        <a:pt x="210131" y="32776"/>
                      </a:lnTo>
                      <a:lnTo>
                        <a:pt x="212817" y="33099"/>
                      </a:lnTo>
                      <a:lnTo>
                        <a:pt x="212627" y="33785"/>
                      </a:lnTo>
                      <a:lnTo>
                        <a:pt x="211550" y="34785"/>
                      </a:lnTo>
                      <a:lnTo>
                        <a:pt x="209579" y="36090"/>
                      </a:lnTo>
                      <a:lnTo>
                        <a:pt x="208979" y="36938"/>
                      </a:lnTo>
                      <a:lnTo>
                        <a:pt x="208312" y="38052"/>
                      </a:lnTo>
                      <a:lnTo>
                        <a:pt x="206483" y="39529"/>
                      </a:lnTo>
                      <a:lnTo>
                        <a:pt x="205464" y="40415"/>
                      </a:lnTo>
                      <a:lnTo>
                        <a:pt x="205292" y="41034"/>
                      </a:lnTo>
                      <a:lnTo>
                        <a:pt x="204540" y="41862"/>
                      </a:lnTo>
                      <a:lnTo>
                        <a:pt x="203216" y="42901"/>
                      </a:lnTo>
                      <a:lnTo>
                        <a:pt x="202892" y="44291"/>
                      </a:lnTo>
                      <a:lnTo>
                        <a:pt x="203578" y="46025"/>
                      </a:lnTo>
                      <a:lnTo>
                        <a:pt x="204797" y="47425"/>
                      </a:lnTo>
                      <a:lnTo>
                        <a:pt x="206578" y="48492"/>
                      </a:lnTo>
                      <a:lnTo>
                        <a:pt x="207445" y="49587"/>
                      </a:lnTo>
                      <a:lnTo>
                        <a:pt x="207416" y="50730"/>
                      </a:lnTo>
                      <a:lnTo>
                        <a:pt x="207731" y="51359"/>
                      </a:lnTo>
                      <a:lnTo>
                        <a:pt x="208398" y="51473"/>
                      </a:lnTo>
                      <a:lnTo>
                        <a:pt x="208769" y="51997"/>
                      </a:lnTo>
                      <a:lnTo>
                        <a:pt x="208836" y="52949"/>
                      </a:lnTo>
                      <a:lnTo>
                        <a:pt x="207302" y="54607"/>
                      </a:lnTo>
                      <a:lnTo>
                        <a:pt x="204149" y="57007"/>
                      </a:lnTo>
                      <a:lnTo>
                        <a:pt x="202483" y="58550"/>
                      </a:lnTo>
                      <a:lnTo>
                        <a:pt x="202292" y="59246"/>
                      </a:lnTo>
                      <a:lnTo>
                        <a:pt x="199301" y="61865"/>
                      </a:lnTo>
                      <a:lnTo>
                        <a:pt x="198653" y="62894"/>
                      </a:lnTo>
                      <a:lnTo>
                        <a:pt x="198920" y="63608"/>
                      </a:lnTo>
                      <a:lnTo>
                        <a:pt x="200882" y="64627"/>
                      </a:lnTo>
                      <a:lnTo>
                        <a:pt x="201244" y="65465"/>
                      </a:lnTo>
                      <a:lnTo>
                        <a:pt x="201835" y="65589"/>
                      </a:lnTo>
                      <a:lnTo>
                        <a:pt x="202625" y="64999"/>
                      </a:lnTo>
                      <a:lnTo>
                        <a:pt x="203768" y="64732"/>
                      </a:lnTo>
                      <a:lnTo>
                        <a:pt x="205245" y="64789"/>
                      </a:lnTo>
                      <a:lnTo>
                        <a:pt x="206426" y="65199"/>
                      </a:lnTo>
                      <a:lnTo>
                        <a:pt x="207321" y="65989"/>
                      </a:lnTo>
                      <a:lnTo>
                        <a:pt x="207350" y="66799"/>
                      </a:lnTo>
                      <a:lnTo>
                        <a:pt x="206512" y="67637"/>
                      </a:lnTo>
                      <a:lnTo>
                        <a:pt x="205673" y="67932"/>
                      </a:lnTo>
                      <a:lnTo>
                        <a:pt x="203702" y="67809"/>
                      </a:lnTo>
                      <a:lnTo>
                        <a:pt x="202321" y="68237"/>
                      </a:lnTo>
                      <a:lnTo>
                        <a:pt x="201149" y="69132"/>
                      </a:lnTo>
                      <a:lnTo>
                        <a:pt x="199663" y="71523"/>
                      </a:lnTo>
                      <a:lnTo>
                        <a:pt x="199673" y="72542"/>
                      </a:lnTo>
                      <a:lnTo>
                        <a:pt x="200006" y="72542"/>
                      </a:lnTo>
                      <a:lnTo>
                        <a:pt x="200720" y="72057"/>
                      </a:lnTo>
                      <a:lnTo>
                        <a:pt x="201825" y="71095"/>
                      </a:lnTo>
                      <a:lnTo>
                        <a:pt x="202521" y="70990"/>
                      </a:lnTo>
                      <a:lnTo>
                        <a:pt x="202806" y="71733"/>
                      </a:lnTo>
                      <a:lnTo>
                        <a:pt x="201235" y="73276"/>
                      </a:lnTo>
                      <a:lnTo>
                        <a:pt x="197815" y="75619"/>
                      </a:lnTo>
                      <a:lnTo>
                        <a:pt x="196863" y="76352"/>
                      </a:lnTo>
                      <a:lnTo>
                        <a:pt x="196301" y="77400"/>
                      </a:lnTo>
                      <a:lnTo>
                        <a:pt x="197091" y="79296"/>
                      </a:lnTo>
                      <a:lnTo>
                        <a:pt x="197853" y="79115"/>
                      </a:lnTo>
                      <a:lnTo>
                        <a:pt x="198549" y="78648"/>
                      </a:lnTo>
                      <a:lnTo>
                        <a:pt x="199587" y="78086"/>
                      </a:lnTo>
                      <a:close/>
                    </a:path>
                  </a:pathLst>
                </a:custGeom>
                <a:solidFill>
                  <a:srgbClr val="FFFFFF"/>
                </a:solidFill>
                <a:ln w="9525" cap="flat">
                  <a:noFill/>
                  <a:prstDash val="solid"/>
                  <a:miter/>
                </a:ln>
              </p:spPr>
              <p:txBody>
                <a:bodyPr rtlCol="0" anchor="ctr"/>
                <a:lstStyle/>
                <a:p>
                  <a:endParaRPr lang="en-US"/>
                </a:p>
              </p:txBody>
            </p:sp>
            <p:sp>
              <p:nvSpPr>
                <p:cNvPr id="457" name="Freeform: Shape 456">
                  <a:extLst>
                    <a:ext uri="{FF2B5EF4-FFF2-40B4-BE49-F238E27FC236}">
                      <a16:creationId xmlns:a16="http://schemas.microsoft.com/office/drawing/2014/main" id="{4732222A-97A2-4233-B5A1-49A118F05ADF}"/>
                    </a:ext>
                  </a:extLst>
                </p:cNvPr>
                <p:cNvSpPr/>
                <p:nvPr/>
              </p:nvSpPr>
              <p:spPr>
                <a:xfrm>
                  <a:off x="3185978" y="2912514"/>
                  <a:ext cx="143008" cy="140808"/>
                </a:xfrm>
                <a:custGeom>
                  <a:avLst/>
                  <a:gdLst>
                    <a:gd name="connsiteX0" fmla="*/ 141751 w 143008"/>
                    <a:gd name="connsiteY0" fmla="*/ 9916 h 140808"/>
                    <a:gd name="connsiteX1" fmla="*/ 141542 w 143008"/>
                    <a:gd name="connsiteY1" fmla="*/ 9839 h 140808"/>
                    <a:gd name="connsiteX2" fmla="*/ 140294 w 143008"/>
                    <a:gd name="connsiteY2" fmla="*/ 10458 h 140808"/>
                    <a:gd name="connsiteX3" fmla="*/ 138579 w 143008"/>
                    <a:gd name="connsiteY3" fmla="*/ 10659 h 140808"/>
                    <a:gd name="connsiteX4" fmla="*/ 136408 w 143008"/>
                    <a:gd name="connsiteY4" fmla="*/ 10449 h 140808"/>
                    <a:gd name="connsiteX5" fmla="*/ 135465 w 143008"/>
                    <a:gd name="connsiteY5" fmla="*/ 10706 h 140808"/>
                    <a:gd name="connsiteX6" fmla="*/ 135760 w 143008"/>
                    <a:gd name="connsiteY6" fmla="*/ 11449 h 140808"/>
                    <a:gd name="connsiteX7" fmla="*/ 134560 w 143008"/>
                    <a:gd name="connsiteY7" fmla="*/ 12611 h 140808"/>
                    <a:gd name="connsiteX8" fmla="*/ 131855 w 143008"/>
                    <a:gd name="connsiteY8" fmla="*/ 14202 h 140808"/>
                    <a:gd name="connsiteX9" fmla="*/ 129912 w 143008"/>
                    <a:gd name="connsiteY9" fmla="*/ 15812 h 140808"/>
                    <a:gd name="connsiteX10" fmla="*/ 128750 w 143008"/>
                    <a:gd name="connsiteY10" fmla="*/ 17450 h 140808"/>
                    <a:gd name="connsiteX11" fmla="*/ 128273 w 143008"/>
                    <a:gd name="connsiteY11" fmla="*/ 18907 h 140808"/>
                    <a:gd name="connsiteX12" fmla="*/ 128483 w 143008"/>
                    <a:gd name="connsiteY12" fmla="*/ 20184 h 140808"/>
                    <a:gd name="connsiteX13" fmla="*/ 129350 w 143008"/>
                    <a:gd name="connsiteY13" fmla="*/ 21003 h 140808"/>
                    <a:gd name="connsiteX14" fmla="*/ 130855 w 143008"/>
                    <a:gd name="connsiteY14" fmla="*/ 21384 h 140808"/>
                    <a:gd name="connsiteX15" fmla="*/ 130940 w 143008"/>
                    <a:gd name="connsiteY15" fmla="*/ 21888 h 140808"/>
                    <a:gd name="connsiteX16" fmla="*/ 129607 w 143008"/>
                    <a:gd name="connsiteY16" fmla="*/ 22517 h 140808"/>
                    <a:gd name="connsiteX17" fmla="*/ 127654 w 143008"/>
                    <a:gd name="connsiteY17" fmla="*/ 22879 h 140808"/>
                    <a:gd name="connsiteX18" fmla="*/ 125073 w 143008"/>
                    <a:gd name="connsiteY18" fmla="*/ 22965 h 140808"/>
                    <a:gd name="connsiteX19" fmla="*/ 122149 w 143008"/>
                    <a:gd name="connsiteY19" fmla="*/ 23670 h 140808"/>
                    <a:gd name="connsiteX20" fmla="*/ 118853 w 143008"/>
                    <a:gd name="connsiteY20" fmla="*/ 24994 h 140808"/>
                    <a:gd name="connsiteX21" fmla="*/ 116719 w 143008"/>
                    <a:gd name="connsiteY21" fmla="*/ 26175 h 140808"/>
                    <a:gd name="connsiteX22" fmla="*/ 115748 w 143008"/>
                    <a:gd name="connsiteY22" fmla="*/ 27222 h 140808"/>
                    <a:gd name="connsiteX23" fmla="*/ 114872 w 143008"/>
                    <a:gd name="connsiteY23" fmla="*/ 28737 h 140808"/>
                    <a:gd name="connsiteX24" fmla="*/ 113252 w 143008"/>
                    <a:gd name="connsiteY24" fmla="*/ 32433 h 140808"/>
                    <a:gd name="connsiteX25" fmla="*/ 112300 w 143008"/>
                    <a:gd name="connsiteY25" fmla="*/ 33861 h 140808"/>
                    <a:gd name="connsiteX26" fmla="*/ 109804 w 143008"/>
                    <a:gd name="connsiteY26" fmla="*/ 36490 h 140808"/>
                    <a:gd name="connsiteX27" fmla="*/ 106537 w 143008"/>
                    <a:gd name="connsiteY27" fmla="*/ 39929 h 140808"/>
                    <a:gd name="connsiteX28" fmla="*/ 103661 w 143008"/>
                    <a:gd name="connsiteY28" fmla="*/ 42081 h 140808"/>
                    <a:gd name="connsiteX29" fmla="*/ 103489 w 143008"/>
                    <a:gd name="connsiteY29" fmla="*/ 41786 h 140808"/>
                    <a:gd name="connsiteX30" fmla="*/ 104327 w 143008"/>
                    <a:gd name="connsiteY30" fmla="*/ 40739 h 140808"/>
                    <a:gd name="connsiteX31" fmla="*/ 107585 w 143008"/>
                    <a:gd name="connsiteY31" fmla="*/ 37300 h 140808"/>
                    <a:gd name="connsiteX32" fmla="*/ 108575 w 143008"/>
                    <a:gd name="connsiteY32" fmla="*/ 35843 h 140808"/>
                    <a:gd name="connsiteX33" fmla="*/ 108833 w 143008"/>
                    <a:gd name="connsiteY33" fmla="*/ 35071 h 140808"/>
                    <a:gd name="connsiteX34" fmla="*/ 108376 w 143008"/>
                    <a:gd name="connsiteY34" fmla="*/ 34995 h 140808"/>
                    <a:gd name="connsiteX35" fmla="*/ 107452 w 143008"/>
                    <a:gd name="connsiteY35" fmla="*/ 35662 h 140808"/>
                    <a:gd name="connsiteX36" fmla="*/ 106061 w 143008"/>
                    <a:gd name="connsiteY36" fmla="*/ 37071 h 140808"/>
                    <a:gd name="connsiteX37" fmla="*/ 105528 w 143008"/>
                    <a:gd name="connsiteY37" fmla="*/ 37833 h 140808"/>
                    <a:gd name="connsiteX38" fmla="*/ 105832 w 143008"/>
                    <a:gd name="connsiteY38" fmla="*/ 37957 h 140808"/>
                    <a:gd name="connsiteX39" fmla="*/ 105061 w 143008"/>
                    <a:gd name="connsiteY39" fmla="*/ 38910 h 140808"/>
                    <a:gd name="connsiteX40" fmla="*/ 103203 w 143008"/>
                    <a:gd name="connsiteY40" fmla="*/ 40700 h 140808"/>
                    <a:gd name="connsiteX41" fmla="*/ 102222 w 143008"/>
                    <a:gd name="connsiteY41" fmla="*/ 41072 h 140808"/>
                    <a:gd name="connsiteX42" fmla="*/ 102108 w 143008"/>
                    <a:gd name="connsiteY42" fmla="*/ 40015 h 140808"/>
                    <a:gd name="connsiteX43" fmla="*/ 102889 w 143008"/>
                    <a:gd name="connsiteY43" fmla="*/ 38624 h 140808"/>
                    <a:gd name="connsiteX44" fmla="*/ 105451 w 143008"/>
                    <a:gd name="connsiteY44" fmla="*/ 35843 h 140808"/>
                    <a:gd name="connsiteX45" fmla="*/ 105347 w 143008"/>
                    <a:gd name="connsiteY45" fmla="*/ 35300 h 140808"/>
                    <a:gd name="connsiteX46" fmla="*/ 106890 w 143008"/>
                    <a:gd name="connsiteY46" fmla="*/ 33566 h 140808"/>
                    <a:gd name="connsiteX47" fmla="*/ 107833 w 143008"/>
                    <a:gd name="connsiteY47" fmla="*/ 32309 h 140808"/>
                    <a:gd name="connsiteX48" fmla="*/ 108204 w 143008"/>
                    <a:gd name="connsiteY48" fmla="*/ 31004 h 140808"/>
                    <a:gd name="connsiteX49" fmla="*/ 109090 w 143008"/>
                    <a:gd name="connsiteY49" fmla="*/ 29813 h 140808"/>
                    <a:gd name="connsiteX50" fmla="*/ 110519 w 143008"/>
                    <a:gd name="connsiteY50" fmla="*/ 28718 h 140808"/>
                    <a:gd name="connsiteX51" fmla="*/ 110433 w 143008"/>
                    <a:gd name="connsiteY51" fmla="*/ 28385 h 140808"/>
                    <a:gd name="connsiteX52" fmla="*/ 108842 w 143008"/>
                    <a:gd name="connsiteY52" fmla="*/ 28813 h 140808"/>
                    <a:gd name="connsiteX53" fmla="*/ 105804 w 143008"/>
                    <a:gd name="connsiteY53" fmla="*/ 30851 h 140808"/>
                    <a:gd name="connsiteX54" fmla="*/ 101327 w 143008"/>
                    <a:gd name="connsiteY54" fmla="*/ 34500 h 140808"/>
                    <a:gd name="connsiteX55" fmla="*/ 98498 w 143008"/>
                    <a:gd name="connsiteY55" fmla="*/ 36100 h 140808"/>
                    <a:gd name="connsiteX56" fmla="*/ 97326 w 143008"/>
                    <a:gd name="connsiteY56" fmla="*/ 35633 h 140808"/>
                    <a:gd name="connsiteX57" fmla="*/ 96022 w 143008"/>
                    <a:gd name="connsiteY57" fmla="*/ 35938 h 140808"/>
                    <a:gd name="connsiteX58" fmla="*/ 94593 w 143008"/>
                    <a:gd name="connsiteY58" fmla="*/ 37014 h 140808"/>
                    <a:gd name="connsiteX59" fmla="*/ 93374 w 143008"/>
                    <a:gd name="connsiteY59" fmla="*/ 37548 h 140808"/>
                    <a:gd name="connsiteX60" fmla="*/ 92374 w 143008"/>
                    <a:gd name="connsiteY60" fmla="*/ 37529 h 140808"/>
                    <a:gd name="connsiteX61" fmla="*/ 91088 w 143008"/>
                    <a:gd name="connsiteY61" fmla="*/ 38795 h 140808"/>
                    <a:gd name="connsiteX62" fmla="*/ 89506 w 143008"/>
                    <a:gd name="connsiteY62" fmla="*/ 41367 h 140808"/>
                    <a:gd name="connsiteX63" fmla="*/ 87725 w 143008"/>
                    <a:gd name="connsiteY63" fmla="*/ 42834 h 140808"/>
                    <a:gd name="connsiteX64" fmla="*/ 84277 w 143008"/>
                    <a:gd name="connsiteY64" fmla="*/ 43691 h 140808"/>
                    <a:gd name="connsiteX65" fmla="*/ 83334 w 143008"/>
                    <a:gd name="connsiteY65" fmla="*/ 44367 h 140808"/>
                    <a:gd name="connsiteX66" fmla="*/ 82772 w 143008"/>
                    <a:gd name="connsiteY66" fmla="*/ 45310 h 140808"/>
                    <a:gd name="connsiteX67" fmla="*/ 82601 w 143008"/>
                    <a:gd name="connsiteY67" fmla="*/ 46549 h 140808"/>
                    <a:gd name="connsiteX68" fmla="*/ 81315 w 143008"/>
                    <a:gd name="connsiteY68" fmla="*/ 49016 h 140808"/>
                    <a:gd name="connsiteX69" fmla="*/ 78905 w 143008"/>
                    <a:gd name="connsiteY69" fmla="*/ 52721 h 140808"/>
                    <a:gd name="connsiteX70" fmla="*/ 76200 w 143008"/>
                    <a:gd name="connsiteY70" fmla="*/ 55969 h 140808"/>
                    <a:gd name="connsiteX71" fmla="*/ 73209 w 143008"/>
                    <a:gd name="connsiteY71" fmla="*/ 58750 h 140808"/>
                    <a:gd name="connsiteX72" fmla="*/ 70304 w 143008"/>
                    <a:gd name="connsiteY72" fmla="*/ 61046 h 140808"/>
                    <a:gd name="connsiteX73" fmla="*/ 65913 w 143008"/>
                    <a:gd name="connsiteY73" fmla="*/ 64065 h 140808"/>
                    <a:gd name="connsiteX74" fmla="*/ 65551 w 143008"/>
                    <a:gd name="connsiteY74" fmla="*/ 64665 h 140808"/>
                    <a:gd name="connsiteX75" fmla="*/ 65694 w 143008"/>
                    <a:gd name="connsiteY75" fmla="*/ 67027 h 140808"/>
                    <a:gd name="connsiteX76" fmla="*/ 65351 w 143008"/>
                    <a:gd name="connsiteY76" fmla="*/ 68790 h 140808"/>
                    <a:gd name="connsiteX77" fmla="*/ 63799 w 143008"/>
                    <a:gd name="connsiteY77" fmla="*/ 72295 h 140808"/>
                    <a:gd name="connsiteX78" fmla="*/ 63427 w 143008"/>
                    <a:gd name="connsiteY78" fmla="*/ 72876 h 140808"/>
                    <a:gd name="connsiteX79" fmla="*/ 58455 w 143008"/>
                    <a:gd name="connsiteY79" fmla="*/ 77210 h 140808"/>
                    <a:gd name="connsiteX80" fmla="*/ 58084 w 143008"/>
                    <a:gd name="connsiteY80" fmla="*/ 77829 h 140808"/>
                    <a:gd name="connsiteX81" fmla="*/ 57226 w 143008"/>
                    <a:gd name="connsiteY81" fmla="*/ 85077 h 140808"/>
                    <a:gd name="connsiteX82" fmla="*/ 57112 w 143008"/>
                    <a:gd name="connsiteY82" fmla="*/ 90288 h 140808"/>
                    <a:gd name="connsiteX83" fmla="*/ 57131 w 143008"/>
                    <a:gd name="connsiteY83" fmla="*/ 90840 h 140808"/>
                    <a:gd name="connsiteX84" fmla="*/ 56826 w 143008"/>
                    <a:gd name="connsiteY84" fmla="*/ 92916 h 140808"/>
                    <a:gd name="connsiteX85" fmla="*/ 56160 w 143008"/>
                    <a:gd name="connsiteY85" fmla="*/ 96993 h 140808"/>
                    <a:gd name="connsiteX86" fmla="*/ 54826 w 143008"/>
                    <a:gd name="connsiteY86" fmla="*/ 101032 h 140808"/>
                    <a:gd name="connsiteX87" fmla="*/ 52816 w 143008"/>
                    <a:gd name="connsiteY87" fmla="*/ 105051 h 140808"/>
                    <a:gd name="connsiteX88" fmla="*/ 50492 w 143008"/>
                    <a:gd name="connsiteY88" fmla="*/ 108928 h 140808"/>
                    <a:gd name="connsiteX89" fmla="*/ 47854 w 143008"/>
                    <a:gd name="connsiteY89" fmla="*/ 112671 h 140808"/>
                    <a:gd name="connsiteX90" fmla="*/ 44939 w 143008"/>
                    <a:gd name="connsiteY90" fmla="*/ 116253 h 140808"/>
                    <a:gd name="connsiteX91" fmla="*/ 41767 w 143008"/>
                    <a:gd name="connsiteY91" fmla="*/ 119663 h 140808"/>
                    <a:gd name="connsiteX92" fmla="*/ 38891 w 143008"/>
                    <a:gd name="connsiteY92" fmla="*/ 122358 h 140808"/>
                    <a:gd name="connsiteX93" fmla="*/ 33538 w 143008"/>
                    <a:gd name="connsiteY93" fmla="*/ 126816 h 140808"/>
                    <a:gd name="connsiteX94" fmla="*/ 30518 w 143008"/>
                    <a:gd name="connsiteY94" fmla="*/ 129788 h 140808"/>
                    <a:gd name="connsiteX95" fmla="*/ 27737 w 143008"/>
                    <a:gd name="connsiteY95" fmla="*/ 132188 h 140808"/>
                    <a:gd name="connsiteX96" fmla="*/ 25184 w 143008"/>
                    <a:gd name="connsiteY96" fmla="*/ 134017 h 140808"/>
                    <a:gd name="connsiteX97" fmla="*/ 21222 w 143008"/>
                    <a:gd name="connsiteY97" fmla="*/ 136055 h 140808"/>
                    <a:gd name="connsiteX98" fmla="*/ 11783 w 143008"/>
                    <a:gd name="connsiteY98" fmla="*/ 139808 h 140808"/>
                    <a:gd name="connsiteX99" fmla="*/ 9039 w 143008"/>
                    <a:gd name="connsiteY99" fmla="*/ 140532 h 140808"/>
                    <a:gd name="connsiteX100" fmla="*/ 6296 w 143008"/>
                    <a:gd name="connsiteY100" fmla="*/ 140808 h 140808"/>
                    <a:gd name="connsiteX101" fmla="*/ 3543 w 143008"/>
                    <a:gd name="connsiteY101" fmla="*/ 140627 h 140808"/>
                    <a:gd name="connsiteX102" fmla="*/ 2210 w 143008"/>
                    <a:gd name="connsiteY102" fmla="*/ 140208 h 140808"/>
                    <a:gd name="connsiteX103" fmla="*/ 2219 w 143008"/>
                    <a:gd name="connsiteY103" fmla="*/ 139513 h 140808"/>
                    <a:gd name="connsiteX104" fmla="*/ 1648 w 143008"/>
                    <a:gd name="connsiteY104" fmla="*/ 139446 h 140808"/>
                    <a:gd name="connsiteX105" fmla="*/ 1057 w 143008"/>
                    <a:gd name="connsiteY105" fmla="*/ 138979 h 140808"/>
                    <a:gd name="connsiteX106" fmla="*/ 429 w 143008"/>
                    <a:gd name="connsiteY106" fmla="*/ 138189 h 140808"/>
                    <a:gd name="connsiteX107" fmla="*/ 0 w 143008"/>
                    <a:gd name="connsiteY107" fmla="*/ 136760 h 140808"/>
                    <a:gd name="connsiteX108" fmla="*/ 248 w 143008"/>
                    <a:gd name="connsiteY108" fmla="*/ 133826 h 140808"/>
                    <a:gd name="connsiteX109" fmla="*/ 1172 w 143008"/>
                    <a:gd name="connsiteY109" fmla="*/ 129388 h 140808"/>
                    <a:gd name="connsiteX110" fmla="*/ 1343 w 143008"/>
                    <a:gd name="connsiteY110" fmla="*/ 126740 h 140808"/>
                    <a:gd name="connsiteX111" fmla="*/ 743 w 143008"/>
                    <a:gd name="connsiteY111" fmla="*/ 125882 h 140808"/>
                    <a:gd name="connsiteX112" fmla="*/ 495 w 143008"/>
                    <a:gd name="connsiteY112" fmla="*/ 124539 h 140808"/>
                    <a:gd name="connsiteX113" fmla="*/ 581 w 143008"/>
                    <a:gd name="connsiteY113" fmla="*/ 122739 h 140808"/>
                    <a:gd name="connsiteX114" fmla="*/ 2277 w 143008"/>
                    <a:gd name="connsiteY114" fmla="*/ 118653 h 140808"/>
                    <a:gd name="connsiteX115" fmla="*/ 5582 w 143008"/>
                    <a:gd name="connsiteY115" fmla="*/ 112290 h 140808"/>
                    <a:gd name="connsiteX116" fmla="*/ 8106 w 143008"/>
                    <a:gd name="connsiteY116" fmla="*/ 107966 h 140808"/>
                    <a:gd name="connsiteX117" fmla="*/ 9858 w 143008"/>
                    <a:gd name="connsiteY117" fmla="*/ 105661 h 140808"/>
                    <a:gd name="connsiteX118" fmla="*/ 10611 w 143008"/>
                    <a:gd name="connsiteY118" fmla="*/ 103899 h 140808"/>
                    <a:gd name="connsiteX119" fmla="*/ 10382 w 143008"/>
                    <a:gd name="connsiteY119" fmla="*/ 102689 h 140808"/>
                    <a:gd name="connsiteX120" fmla="*/ 10630 w 143008"/>
                    <a:gd name="connsiteY120" fmla="*/ 101184 h 140808"/>
                    <a:gd name="connsiteX121" fmla="*/ 11373 w 143008"/>
                    <a:gd name="connsiteY121" fmla="*/ 99384 h 140808"/>
                    <a:gd name="connsiteX122" fmla="*/ 11573 w 143008"/>
                    <a:gd name="connsiteY122" fmla="*/ 98155 h 140808"/>
                    <a:gd name="connsiteX123" fmla="*/ 11211 w 143008"/>
                    <a:gd name="connsiteY123" fmla="*/ 97517 h 140808"/>
                    <a:gd name="connsiteX124" fmla="*/ 11525 w 143008"/>
                    <a:gd name="connsiteY124" fmla="*/ 96603 h 140808"/>
                    <a:gd name="connsiteX125" fmla="*/ 12525 w 143008"/>
                    <a:gd name="connsiteY125" fmla="*/ 95450 h 140808"/>
                    <a:gd name="connsiteX126" fmla="*/ 12945 w 143008"/>
                    <a:gd name="connsiteY126" fmla="*/ 94650 h 140808"/>
                    <a:gd name="connsiteX127" fmla="*/ 12792 w 143008"/>
                    <a:gd name="connsiteY127" fmla="*/ 94221 h 140808"/>
                    <a:gd name="connsiteX128" fmla="*/ 13040 w 143008"/>
                    <a:gd name="connsiteY128" fmla="*/ 93574 h 140808"/>
                    <a:gd name="connsiteX129" fmla="*/ 13688 w 143008"/>
                    <a:gd name="connsiteY129" fmla="*/ 92716 h 140808"/>
                    <a:gd name="connsiteX130" fmla="*/ 14669 w 143008"/>
                    <a:gd name="connsiteY130" fmla="*/ 90192 h 140808"/>
                    <a:gd name="connsiteX131" fmla="*/ 15564 w 143008"/>
                    <a:gd name="connsiteY131" fmla="*/ 88649 h 140808"/>
                    <a:gd name="connsiteX132" fmla="*/ 16926 w 143008"/>
                    <a:gd name="connsiteY132" fmla="*/ 86982 h 140808"/>
                    <a:gd name="connsiteX133" fmla="*/ 20069 w 143008"/>
                    <a:gd name="connsiteY133" fmla="*/ 83953 h 140808"/>
                    <a:gd name="connsiteX134" fmla="*/ 21346 w 143008"/>
                    <a:gd name="connsiteY134" fmla="*/ 82477 h 140808"/>
                    <a:gd name="connsiteX135" fmla="*/ 22270 w 143008"/>
                    <a:gd name="connsiteY135" fmla="*/ 80963 h 140808"/>
                    <a:gd name="connsiteX136" fmla="*/ 24013 w 143008"/>
                    <a:gd name="connsiteY136" fmla="*/ 79048 h 140808"/>
                    <a:gd name="connsiteX137" fmla="*/ 28108 w 143008"/>
                    <a:gd name="connsiteY137" fmla="*/ 75114 h 140808"/>
                    <a:gd name="connsiteX138" fmla="*/ 28632 w 143008"/>
                    <a:gd name="connsiteY138" fmla="*/ 74219 h 140808"/>
                    <a:gd name="connsiteX139" fmla="*/ 28889 w 143008"/>
                    <a:gd name="connsiteY139" fmla="*/ 72428 h 140808"/>
                    <a:gd name="connsiteX140" fmla="*/ 29432 w 143008"/>
                    <a:gd name="connsiteY140" fmla="*/ 71104 h 140808"/>
                    <a:gd name="connsiteX141" fmla="*/ 30518 w 143008"/>
                    <a:gd name="connsiteY141" fmla="*/ 69342 h 140808"/>
                    <a:gd name="connsiteX142" fmla="*/ 32309 w 143008"/>
                    <a:gd name="connsiteY142" fmla="*/ 67161 h 140808"/>
                    <a:gd name="connsiteX143" fmla="*/ 34814 w 143008"/>
                    <a:gd name="connsiteY143" fmla="*/ 64570 h 140808"/>
                    <a:gd name="connsiteX144" fmla="*/ 37414 w 143008"/>
                    <a:gd name="connsiteY144" fmla="*/ 62494 h 140808"/>
                    <a:gd name="connsiteX145" fmla="*/ 40091 w 143008"/>
                    <a:gd name="connsiteY145" fmla="*/ 60941 h 140808"/>
                    <a:gd name="connsiteX146" fmla="*/ 41634 w 143008"/>
                    <a:gd name="connsiteY146" fmla="*/ 59169 h 140808"/>
                    <a:gd name="connsiteX147" fmla="*/ 42043 w 143008"/>
                    <a:gd name="connsiteY147" fmla="*/ 57188 h 140808"/>
                    <a:gd name="connsiteX148" fmla="*/ 43844 w 143008"/>
                    <a:gd name="connsiteY148" fmla="*/ 54264 h 140808"/>
                    <a:gd name="connsiteX149" fmla="*/ 47015 w 143008"/>
                    <a:gd name="connsiteY149" fmla="*/ 50397 h 140808"/>
                    <a:gd name="connsiteX150" fmla="*/ 49797 w 143008"/>
                    <a:gd name="connsiteY150" fmla="*/ 47492 h 140808"/>
                    <a:gd name="connsiteX151" fmla="*/ 52188 w 143008"/>
                    <a:gd name="connsiteY151" fmla="*/ 45558 h 140808"/>
                    <a:gd name="connsiteX152" fmla="*/ 54112 w 143008"/>
                    <a:gd name="connsiteY152" fmla="*/ 43720 h 140808"/>
                    <a:gd name="connsiteX153" fmla="*/ 55550 w 143008"/>
                    <a:gd name="connsiteY153" fmla="*/ 41977 h 140808"/>
                    <a:gd name="connsiteX154" fmla="*/ 55740 w 143008"/>
                    <a:gd name="connsiteY154" fmla="*/ 41196 h 140808"/>
                    <a:gd name="connsiteX155" fmla="*/ 55178 w 143008"/>
                    <a:gd name="connsiteY155" fmla="*/ 40357 h 140808"/>
                    <a:gd name="connsiteX156" fmla="*/ 54855 w 143008"/>
                    <a:gd name="connsiteY156" fmla="*/ 39138 h 140808"/>
                    <a:gd name="connsiteX157" fmla="*/ 53369 w 143008"/>
                    <a:gd name="connsiteY157" fmla="*/ 38872 h 140808"/>
                    <a:gd name="connsiteX158" fmla="*/ 50902 w 143008"/>
                    <a:gd name="connsiteY158" fmla="*/ 39681 h 140808"/>
                    <a:gd name="connsiteX159" fmla="*/ 50654 w 143008"/>
                    <a:gd name="connsiteY159" fmla="*/ 39624 h 140808"/>
                    <a:gd name="connsiteX160" fmla="*/ 49568 w 143008"/>
                    <a:gd name="connsiteY160" fmla="*/ 39729 h 140808"/>
                    <a:gd name="connsiteX161" fmla="*/ 46654 w 143008"/>
                    <a:gd name="connsiteY161" fmla="*/ 41520 h 140808"/>
                    <a:gd name="connsiteX162" fmla="*/ 43263 w 143008"/>
                    <a:gd name="connsiteY162" fmla="*/ 44615 h 140808"/>
                    <a:gd name="connsiteX163" fmla="*/ 41310 w 143008"/>
                    <a:gd name="connsiteY163" fmla="*/ 45892 h 140808"/>
                    <a:gd name="connsiteX164" fmla="*/ 39129 w 143008"/>
                    <a:gd name="connsiteY164" fmla="*/ 46758 h 140808"/>
                    <a:gd name="connsiteX165" fmla="*/ 37338 w 143008"/>
                    <a:gd name="connsiteY165" fmla="*/ 47720 h 140808"/>
                    <a:gd name="connsiteX166" fmla="*/ 35928 w 143008"/>
                    <a:gd name="connsiteY166" fmla="*/ 48787 h 140808"/>
                    <a:gd name="connsiteX167" fmla="*/ 34719 w 143008"/>
                    <a:gd name="connsiteY167" fmla="*/ 49025 h 140808"/>
                    <a:gd name="connsiteX168" fmla="*/ 33709 w 143008"/>
                    <a:gd name="connsiteY168" fmla="*/ 48425 h 140808"/>
                    <a:gd name="connsiteX169" fmla="*/ 34252 w 143008"/>
                    <a:gd name="connsiteY169" fmla="*/ 46958 h 140808"/>
                    <a:gd name="connsiteX170" fmla="*/ 36338 w 143008"/>
                    <a:gd name="connsiteY170" fmla="*/ 44606 h 140808"/>
                    <a:gd name="connsiteX171" fmla="*/ 38795 w 143008"/>
                    <a:gd name="connsiteY171" fmla="*/ 42367 h 140808"/>
                    <a:gd name="connsiteX172" fmla="*/ 43339 w 143008"/>
                    <a:gd name="connsiteY172" fmla="*/ 38681 h 140808"/>
                    <a:gd name="connsiteX173" fmla="*/ 43901 w 143008"/>
                    <a:gd name="connsiteY173" fmla="*/ 37805 h 140808"/>
                    <a:gd name="connsiteX174" fmla="*/ 45110 w 143008"/>
                    <a:gd name="connsiteY174" fmla="*/ 36728 h 140808"/>
                    <a:gd name="connsiteX175" fmla="*/ 49921 w 143008"/>
                    <a:gd name="connsiteY175" fmla="*/ 35138 h 140808"/>
                    <a:gd name="connsiteX176" fmla="*/ 52111 w 143008"/>
                    <a:gd name="connsiteY176" fmla="*/ 33890 h 140808"/>
                    <a:gd name="connsiteX177" fmla="*/ 53493 w 143008"/>
                    <a:gd name="connsiteY177" fmla="*/ 32299 h 140808"/>
                    <a:gd name="connsiteX178" fmla="*/ 54902 w 143008"/>
                    <a:gd name="connsiteY178" fmla="*/ 29956 h 140808"/>
                    <a:gd name="connsiteX179" fmla="*/ 55512 w 143008"/>
                    <a:gd name="connsiteY179" fmla="*/ 29299 h 140808"/>
                    <a:gd name="connsiteX180" fmla="*/ 56236 w 143008"/>
                    <a:gd name="connsiteY180" fmla="*/ 29023 h 140808"/>
                    <a:gd name="connsiteX181" fmla="*/ 59036 w 143008"/>
                    <a:gd name="connsiteY181" fmla="*/ 27061 h 140808"/>
                    <a:gd name="connsiteX182" fmla="*/ 63903 w 143008"/>
                    <a:gd name="connsiteY182" fmla="*/ 23422 h 140808"/>
                    <a:gd name="connsiteX183" fmla="*/ 68542 w 143008"/>
                    <a:gd name="connsiteY183" fmla="*/ 19650 h 140808"/>
                    <a:gd name="connsiteX184" fmla="*/ 72942 w 143008"/>
                    <a:gd name="connsiteY184" fmla="*/ 15773 h 140808"/>
                    <a:gd name="connsiteX185" fmla="*/ 75810 w 143008"/>
                    <a:gd name="connsiteY185" fmla="*/ 13592 h 140808"/>
                    <a:gd name="connsiteX186" fmla="*/ 77143 w 143008"/>
                    <a:gd name="connsiteY186" fmla="*/ 13087 h 140808"/>
                    <a:gd name="connsiteX187" fmla="*/ 78562 w 143008"/>
                    <a:gd name="connsiteY187" fmla="*/ 11906 h 140808"/>
                    <a:gd name="connsiteX188" fmla="*/ 81753 w 143008"/>
                    <a:gd name="connsiteY188" fmla="*/ 8296 h 140808"/>
                    <a:gd name="connsiteX189" fmla="*/ 83563 w 143008"/>
                    <a:gd name="connsiteY189" fmla="*/ 6648 h 140808"/>
                    <a:gd name="connsiteX190" fmla="*/ 84525 w 143008"/>
                    <a:gd name="connsiteY190" fmla="*/ 6020 h 140808"/>
                    <a:gd name="connsiteX191" fmla="*/ 84611 w 143008"/>
                    <a:gd name="connsiteY191" fmla="*/ 6410 h 140808"/>
                    <a:gd name="connsiteX192" fmla="*/ 82944 w 143008"/>
                    <a:gd name="connsiteY192" fmla="*/ 8392 h 140808"/>
                    <a:gd name="connsiteX193" fmla="*/ 82048 w 143008"/>
                    <a:gd name="connsiteY193" fmla="*/ 10039 h 140808"/>
                    <a:gd name="connsiteX194" fmla="*/ 81410 w 143008"/>
                    <a:gd name="connsiteY194" fmla="*/ 12135 h 140808"/>
                    <a:gd name="connsiteX195" fmla="*/ 81991 w 143008"/>
                    <a:gd name="connsiteY195" fmla="*/ 12859 h 140808"/>
                    <a:gd name="connsiteX196" fmla="*/ 83792 w 143008"/>
                    <a:gd name="connsiteY196" fmla="*/ 12202 h 140808"/>
                    <a:gd name="connsiteX197" fmla="*/ 85773 w 143008"/>
                    <a:gd name="connsiteY197" fmla="*/ 10820 h 140808"/>
                    <a:gd name="connsiteX198" fmla="*/ 87963 w 143008"/>
                    <a:gd name="connsiteY198" fmla="*/ 8706 h 140808"/>
                    <a:gd name="connsiteX199" fmla="*/ 89640 w 143008"/>
                    <a:gd name="connsiteY199" fmla="*/ 7830 h 140808"/>
                    <a:gd name="connsiteX200" fmla="*/ 90802 w 143008"/>
                    <a:gd name="connsiteY200" fmla="*/ 8192 h 140808"/>
                    <a:gd name="connsiteX201" fmla="*/ 92002 w 143008"/>
                    <a:gd name="connsiteY201" fmla="*/ 8058 h 140808"/>
                    <a:gd name="connsiteX202" fmla="*/ 93231 w 143008"/>
                    <a:gd name="connsiteY202" fmla="*/ 7429 h 140808"/>
                    <a:gd name="connsiteX203" fmla="*/ 95107 w 143008"/>
                    <a:gd name="connsiteY203" fmla="*/ 7115 h 140808"/>
                    <a:gd name="connsiteX204" fmla="*/ 94993 w 143008"/>
                    <a:gd name="connsiteY204" fmla="*/ 7906 h 140808"/>
                    <a:gd name="connsiteX205" fmla="*/ 93917 w 143008"/>
                    <a:gd name="connsiteY205" fmla="*/ 9506 h 140808"/>
                    <a:gd name="connsiteX206" fmla="*/ 92955 w 143008"/>
                    <a:gd name="connsiteY206" fmla="*/ 10287 h 140808"/>
                    <a:gd name="connsiteX207" fmla="*/ 92116 w 143008"/>
                    <a:gd name="connsiteY207" fmla="*/ 10230 h 140808"/>
                    <a:gd name="connsiteX208" fmla="*/ 90659 w 143008"/>
                    <a:gd name="connsiteY208" fmla="*/ 11078 h 140808"/>
                    <a:gd name="connsiteX209" fmla="*/ 88592 w 143008"/>
                    <a:gd name="connsiteY209" fmla="*/ 12821 h 140808"/>
                    <a:gd name="connsiteX210" fmla="*/ 87887 w 143008"/>
                    <a:gd name="connsiteY210" fmla="*/ 14211 h 140808"/>
                    <a:gd name="connsiteX211" fmla="*/ 88535 w 143008"/>
                    <a:gd name="connsiteY211" fmla="*/ 15250 h 140808"/>
                    <a:gd name="connsiteX212" fmla="*/ 89116 w 143008"/>
                    <a:gd name="connsiteY212" fmla="*/ 15297 h 140808"/>
                    <a:gd name="connsiteX213" fmla="*/ 89602 w 143008"/>
                    <a:gd name="connsiteY213" fmla="*/ 14373 h 140808"/>
                    <a:gd name="connsiteX214" fmla="*/ 90669 w 143008"/>
                    <a:gd name="connsiteY214" fmla="*/ 13440 h 140808"/>
                    <a:gd name="connsiteX215" fmla="*/ 93383 w 143008"/>
                    <a:gd name="connsiteY215" fmla="*/ 11744 h 140808"/>
                    <a:gd name="connsiteX216" fmla="*/ 93850 w 143008"/>
                    <a:gd name="connsiteY216" fmla="*/ 11192 h 140808"/>
                    <a:gd name="connsiteX217" fmla="*/ 98079 w 143008"/>
                    <a:gd name="connsiteY217" fmla="*/ 9697 h 140808"/>
                    <a:gd name="connsiteX218" fmla="*/ 99889 w 143008"/>
                    <a:gd name="connsiteY218" fmla="*/ 8734 h 140808"/>
                    <a:gd name="connsiteX219" fmla="*/ 100832 w 143008"/>
                    <a:gd name="connsiteY219" fmla="*/ 7649 h 140808"/>
                    <a:gd name="connsiteX220" fmla="*/ 103804 w 143008"/>
                    <a:gd name="connsiteY220" fmla="*/ 5410 h 140808"/>
                    <a:gd name="connsiteX221" fmla="*/ 105870 w 143008"/>
                    <a:gd name="connsiteY221" fmla="*/ 4696 h 140808"/>
                    <a:gd name="connsiteX222" fmla="*/ 108318 w 143008"/>
                    <a:gd name="connsiteY222" fmla="*/ 4391 h 140808"/>
                    <a:gd name="connsiteX223" fmla="*/ 110442 w 143008"/>
                    <a:gd name="connsiteY223" fmla="*/ 4591 h 140808"/>
                    <a:gd name="connsiteX224" fmla="*/ 112214 w 143008"/>
                    <a:gd name="connsiteY224" fmla="*/ 5286 h 140808"/>
                    <a:gd name="connsiteX225" fmla="*/ 113433 w 143008"/>
                    <a:gd name="connsiteY225" fmla="*/ 5277 h 140808"/>
                    <a:gd name="connsiteX226" fmla="*/ 114119 w 143008"/>
                    <a:gd name="connsiteY226" fmla="*/ 4543 h 140808"/>
                    <a:gd name="connsiteX227" fmla="*/ 116215 w 143008"/>
                    <a:gd name="connsiteY227" fmla="*/ 4058 h 140808"/>
                    <a:gd name="connsiteX228" fmla="*/ 119729 w 143008"/>
                    <a:gd name="connsiteY228" fmla="*/ 3810 h 140808"/>
                    <a:gd name="connsiteX229" fmla="*/ 122768 w 143008"/>
                    <a:gd name="connsiteY229" fmla="*/ 2772 h 140808"/>
                    <a:gd name="connsiteX230" fmla="*/ 125330 w 143008"/>
                    <a:gd name="connsiteY230" fmla="*/ 962 h 140808"/>
                    <a:gd name="connsiteX231" fmla="*/ 127864 w 143008"/>
                    <a:gd name="connsiteY231" fmla="*/ 38 h 140808"/>
                    <a:gd name="connsiteX232" fmla="*/ 130359 w 143008"/>
                    <a:gd name="connsiteY232" fmla="*/ 0 h 140808"/>
                    <a:gd name="connsiteX233" fmla="*/ 133369 w 143008"/>
                    <a:gd name="connsiteY233" fmla="*/ 638 h 140808"/>
                    <a:gd name="connsiteX234" fmla="*/ 136912 w 143008"/>
                    <a:gd name="connsiteY234" fmla="*/ 1972 h 140808"/>
                    <a:gd name="connsiteX235" fmla="*/ 139389 w 143008"/>
                    <a:gd name="connsiteY235" fmla="*/ 3762 h 140808"/>
                    <a:gd name="connsiteX236" fmla="*/ 142008 w 143008"/>
                    <a:gd name="connsiteY236" fmla="*/ 7372 h 140808"/>
                    <a:gd name="connsiteX237" fmla="*/ 143008 w 143008"/>
                    <a:gd name="connsiteY237" fmla="*/ 7744 h 140808"/>
                    <a:gd name="connsiteX238" fmla="*/ 141751 w 143008"/>
                    <a:gd name="connsiteY238" fmla="*/ 9916 h 140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Lst>
                  <a:rect l="l" t="t" r="r" b="b"/>
                  <a:pathLst>
                    <a:path w="143008" h="140808">
                      <a:moveTo>
                        <a:pt x="141751" y="9916"/>
                      </a:moveTo>
                      <a:lnTo>
                        <a:pt x="141542" y="9839"/>
                      </a:lnTo>
                      <a:lnTo>
                        <a:pt x="140294" y="10458"/>
                      </a:lnTo>
                      <a:lnTo>
                        <a:pt x="138579" y="10659"/>
                      </a:lnTo>
                      <a:lnTo>
                        <a:pt x="136408" y="10449"/>
                      </a:lnTo>
                      <a:lnTo>
                        <a:pt x="135465" y="10706"/>
                      </a:lnTo>
                      <a:lnTo>
                        <a:pt x="135760" y="11449"/>
                      </a:lnTo>
                      <a:lnTo>
                        <a:pt x="134560" y="12611"/>
                      </a:lnTo>
                      <a:lnTo>
                        <a:pt x="131855" y="14202"/>
                      </a:lnTo>
                      <a:lnTo>
                        <a:pt x="129912" y="15812"/>
                      </a:lnTo>
                      <a:lnTo>
                        <a:pt x="128750" y="17450"/>
                      </a:lnTo>
                      <a:lnTo>
                        <a:pt x="128273" y="18907"/>
                      </a:lnTo>
                      <a:lnTo>
                        <a:pt x="128483" y="20184"/>
                      </a:lnTo>
                      <a:lnTo>
                        <a:pt x="129350" y="21003"/>
                      </a:lnTo>
                      <a:lnTo>
                        <a:pt x="130855" y="21384"/>
                      </a:lnTo>
                      <a:lnTo>
                        <a:pt x="130940" y="21888"/>
                      </a:lnTo>
                      <a:lnTo>
                        <a:pt x="129607" y="22517"/>
                      </a:lnTo>
                      <a:lnTo>
                        <a:pt x="127654" y="22879"/>
                      </a:lnTo>
                      <a:lnTo>
                        <a:pt x="125073" y="22965"/>
                      </a:lnTo>
                      <a:lnTo>
                        <a:pt x="122149" y="23670"/>
                      </a:lnTo>
                      <a:lnTo>
                        <a:pt x="118853" y="24994"/>
                      </a:lnTo>
                      <a:lnTo>
                        <a:pt x="116719" y="26175"/>
                      </a:lnTo>
                      <a:lnTo>
                        <a:pt x="115748" y="27222"/>
                      </a:lnTo>
                      <a:lnTo>
                        <a:pt x="114872" y="28737"/>
                      </a:lnTo>
                      <a:lnTo>
                        <a:pt x="113252" y="32433"/>
                      </a:lnTo>
                      <a:lnTo>
                        <a:pt x="112300" y="33861"/>
                      </a:lnTo>
                      <a:lnTo>
                        <a:pt x="109804" y="36490"/>
                      </a:lnTo>
                      <a:lnTo>
                        <a:pt x="106537" y="39929"/>
                      </a:lnTo>
                      <a:lnTo>
                        <a:pt x="103661" y="42081"/>
                      </a:lnTo>
                      <a:lnTo>
                        <a:pt x="103489" y="41786"/>
                      </a:lnTo>
                      <a:lnTo>
                        <a:pt x="104327" y="40739"/>
                      </a:lnTo>
                      <a:lnTo>
                        <a:pt x="107585" y="37300"/>
                      </a:lnTo>
                      <a:lnTo>
                        <a:pt x="108575" y="35843"/>
                      </a:lnTo>
                      <a:lnTo>
                        <a:pt x="108833" y="35071"/>
                      </a:lnTo>
                      <a:lnTo>
                        <a:pt x="108376" y="34995"/>
                      </a:lnTo>
                      <a:lnTo>
                        <a:pt x="107452" y="35662"/>
                      </a:lnTo>
                      <a:lnTo>
                        <a:pt x="106061" y="37071"/>
                      </a:lnTo>
                      <a:lnTo>
                        <a:pt x="105528" y="37833"/>
                      </a:lnTo>
                      <a:lnTo>
                        <a:pt x="105832" y="37957"/>
                      </a:lnTo>
                      <a:lnTo>
                        <a:pt x="105061" y="38910"/>
                      </a:lnTo>
                      <a:lnTo>
                        <a:pt x="103203" y="40700"/>
                      </a:lnTo>
                      <a:lnTo>
                        <a:pt x="102222" y="41072"/>
                      </a:lnTo>
                      <a:lnTo>
                        <a:pt x="102108" y="40015"/>
                      </a:lnTo>
                      <a:lnTo>
                        <a:pt x="102889" y="38624"/>
                      </a:lnTo>
                      <a:lnTo>
                        <a:pt x="105451" y="35843"/>
                      </a:lnTo>
                      <a:lnTo>
                        <a:pt x="105347" y="35300"/>
                      </a:lnTo>
                      <a:lnTo>
                        <a:pt x="106890" y="33566"/>
                      </a:lnTo>
                      <a:lnTo>
                        <a:pt x="107833" y="32309"/>
                      </a:lnTo>
                      <a:lnTo>
                        <a:pt x="108204" y="31004"/>
                      </a:lnTo>
                      <a:lnTo>
                        <a:pt x="109090" y="29813"/>
                      </a:lnTo>
                      <a:lnTo>
                        <a:pt x="110519" y="28718"/>
                      </a:lnTo>
                      <a:lnTo>
                        <a:pt x="110433" y="28385"/>
                      </a:lnTo>
                      <a:lnTo>
                        <a:pt x="108842" y="28813"/>
                      </a:lnTo>
                      <a:lnTo>
                        <a:pt x="105804" y="30851"/>
                      </a:lnTo>
                      <a:lnTo>
                        <a:pt x="101327" y="34500"/>
                      </a:lnTo>
                      <a:lnTo>
                        <a:pt x="98498" y="36100"/>
                      </a:lnTo>
                      <a:lnTo>
                        <a:pt x="97326" y="35633"/>
                      </a:lnTo>
                      <a:lnTo>
                        <a:pt x="96022" y="35938"/>
                      </a:lnTo>
                      <a:lnTo>
                        <a:pt x="94593" y="37014"/>
                      </a:lnTo>
                      <a:lnTo>
                        <a:pt x="93374" y="37548"/>
                      </a:lnTo>
                      <a:lnTo>
                        <a:pt x="92374" y="37529"/>
                      </a:lnTo>
                      <a:lnTo>
                        <a:pt x="91088" y="38795"/>
                      </a:lnTo>
                      <a:lnTo>
                        <a:pt x="89506" y="41367"/>
                      </a:lnTo>
                      <a:lnTo>
                        <a:pt x="87725" y="42834"/>
                      </a:lnTo>
                      <a:lnTo>
                        <a:pt x="84277" y="43691"/>
                      </a:lnTo>
                      <a:lnTo>
                        <a:pt x="83334" y="44367"/>
                      </a:lnTo>
                      <a:lnTo>
                        <a:pt x="82772" y="45310"/>
                      </a:lnTo>
                      <a:lnTo>
                        <a:pt x="82601" y="46549"/>
                      </a:lnTo>
                      <a:lnTo>
                        <a:pt x="81315" y="49016"/>
                      </a:lnTo>
                      <a:lnTo>
                        <a:pt x="78905" y="52721"/>
                      </a:lnTo>
                      <a:lnTo>
                        <a:pt x="76200" y="55969"/>
                      </a:lnTo>
                      <a:lnTo>
                        <a:pt x="73209" y="58750"/>
                      </a:lnTo>
                      <a:lnTo>
                        <a:pt x="70304" y="61046"/>
                      </a:lnTo>
                      <a:lnTo>
                        <a:pt x="65913" y="64065"/>
                      </a:lnTo>
                      <a:lnTo>
                        <a:pt x="65551" y="64665"/>
                      </a:lnTo>
                      <a:lnTo>
                        <a:pt x="65694" y="67027"/>
                      </a:lnTo>
                      <a:lnTo>
                        <a:pt x="65351" y="68790"/>
                      </a:lnTo>
                      <a:lnTo>
                        <a:pt x="63799" y="72295"/>
                      </a:lnTo>
                      <a:lnTo>
                        <a:pt x="63427" y="72876"/>
                      </a:lnTo>
                      <a:lnTo>
                        <a:pt x="58455" y="77210"/>
                      </a:lnTo>
                      <a:lnTo>
                        <a:pt x="58084" y="77829"/>
                      </a:lnTo>
                      <a:lnTo>
                        <a:pt x="57226" y="85077"/>
                      </a:lnTo>
                      <a:lnTo>
                        <a:pt x="57112" y="90288"/>
                      </a:lnTo>
                      <a:lnTo>
                        <a:pt x="57131" y="90840"/>
                      </a:lnTo>
                      <a:lnTo>
                        <a:pt x="56826" y="92916"/>
                      </a:lnTo>
                      <a:lnTo>
                        <a:pt x="56160" y="96993"/>
                      </a:lnTo>
                      <a:lnTo>
                        <a:pt x="54826" y="101032"/>
                      </a:lnTo>
                      <a:lnTo>
                        <a:pt x="52816" y="105051"/>
                      </a:lnTo>
                      <a:lnTo>
                        <a:pt x="50492" y="108928"/>
                      </a:lnTo>
                      <a:lnTo>
                        <a:pt x="47854" y="112671"/>
                      </a:lnTo>
                      <a:lnTo>
                        <a:pt x="44939" y="116253"/>
                      </a:lnTo>
                      <a:lnTo>
                        <a:pt x="41767" y="119663"/>
                      </a:lnTo>
                      <a:lnTo>
                        <a:pt x="38891" y="122358"/>
                      </a:lnTo>
                      <a:lnTo>
                        <a:pt x="33538" y="126816"/>
                      </a:lnTo>
                      <a:lnTo>
                        <a:pt x="30518" y="129788"/>
                      </a:lnTo>
                      <a:lnTo>
                        <a:pt x="27737" y="132188"/>
                      </a:lnTo>
                      <a:lnTo>
                        <a:pt x="25184" y="134017"/>
                      </a:lnTo>
                      <a:lnTo>
                        <a:pt x="21222" y="136055"/>
                      </a:lnTo>
                      <a:lnTo>
                        <a:pt x="11783" y="139808"/>
                      </a:lnTo>
                      <a:lnTo>
                        <a:pt x="9039" y="140532"/>
                      </a:lnTo>
                      <a:lnTo>
                        <a:pt x="6296" y="140808"/>
                      </a:lnTo>
                      <a:lnTo>
                        <a:pt x="3543" y="140627"/>
                      </a:lnTo>
                      <a:lnTo>
                        <a:pt x="2210" y="140208"/>
                      </a:lnTo>
                      <a:lnTo>
                        <a:pt x="2219" y="139513"/>
                      </a:lnTo>
                      <a:lnTo>
                        <a:pt x="1648" y="139446"/>
                      </a:lnTo>
                      <a:lnTo>
                        <a:pt x="1057" y="138979"/>
                      </a:lnTo>
                      <a:lnTo>
                        <a:pt x="429" y="138189"/>
                      </a:lnTo>
                      <a:lnTo>
                        <a:pt x="0" y="136760"/>
                      </a:lnTo>
                      <a:lnTo>
                        <a:pt x="248" y="133826"/>
                      </a:lnTo>
                      <a:lnTo>
                        <a:pt x="1172" y="129388"/>
                      </a:lnTo>
                      <a:lnTo>
                        <a:pt x="1343" y="126740"/>
                      </a:lnTo>
                      <a:lnTo>
                        <a:pt x="743" y="125882"/>
                      </a:lnTo>
                      <a:lnTo>
                        <a:pt x="495" y="124539"/>
                      </a:lnTo>
                      <a:lnTo>
                        <a:pt x="581" y="122739"/>
                      </a:lnTo>
                      <a:lnTo>
                        <a:pt x="2277" y="118653"/>
                      </a:lnTo>
                      <a:lnTo>
                        <a:pt x="5582" y="112290"/>
                      </a:lnTo>
                      <a:lnTo>
                        <a:pt x="8106" y="107966"/>
                      </a:lnTo>
                      <a:lnTo>
                        <a:pt x="9858" y="105661"/>
                      </a:lnTo>
                      <a:lnTo>
                        <a:pt x="10611" y="103899"/>
                      </a:lnTo>
                      <a:lnTo>
                        <a:pt x="10382" y="102689"/>
                      </a:lnTo>
                      <a:lnTo>
                        <a:pt x="10630" y="101184"/>
                      </a:lnTo>
                      <a:lnTo>
                        <a:pt x="11373" y="99384"/>
                      </a:lnTo>
                      <a:lnTo>
                        <a:pt x="11573" y="98155"/>
                      </a:lnTo>
                      <a:lnTo>
                        <a:pt x="11211" y="97517"/>
                      </a:lnTo>
                      <a:lnTo>
                        <a:pt x="11525" y="96603"/>
                      </a:lnTo>
                      <a:lnTo>
                        <a:pt x="12525" y="95450"/>
                      </a:lnTo>
                      <a:lnTo>
                        <a:pt x="12945" y="94650"/>
                      </a:lnTo>
                      <a:lnTo>
                        <a:pt x="12792" y="94221"/>
                      </a:lnTo>
                      <a:lnTo>
                        <a:pt x="13040" y="93574"/>
                      </a:lnTo>
                      <a:lnTo>
                        <a:pt x="13688" y="92716"/>
                      </a:lnTo>
                      <a:lnTo>
                        <a:pt x="14669" y="90192"/>
                      </a:lnTo>
                      <a:lnTo>
                        <a:pt x="15564" y="88649"/>
                      </a:lnTo>
                      <a:lnTo>
                        <a:pt x="16926" y="86982"/>
                      </a:lnTo>
                      <a:lnTo>
                        <a:pt x="20069" y="83953"/>
                      </a:lnTo>
                      <a:lnTo>
                        <a:pt x="21346" y="82477"/>
                      </a:lnTo>
                      <a:lnTo>
                        <a:pt x="22270" y="80963"/>
                      </a:lnTo>
                      <a:lnTo>
                        <a:pt x="24013" y="79048"/>
                      </a:lnTo>
                      <a:lnTo>
                        <a:pt x="28108" y="75114"/>
                      </a:lnTo>
                      <a:lnTo>
                        <a:pt x="28632" y="74219"/>
                      </a:lnTo>
                      <a:lnTo>
                        <a:pt x="28889" y="72428"/>
                      </a:lnTo>
                      <a:lnTo>
                        <a:pt x="29432" y="71104"/>
                      </a:lnTo>
                      <a:lnTo>
                        <a:pt x="30518" y="69342"/>
                      </a:lnTo>
                      <a:lnTo>
                        <a:pt x="32309" y="67161"/>
                      </a:lnTo>
                      <a:lnTo>
                        <a:pt x="34814" y="64570"/>
                      </a:lnTo>
                      <a:lnTo>
                        <a:pt x="37414" y="62494"/>
                      </a:lnTo>
                      <a:lnTo>
                        <a:pt x="40091" y="60941"/>
                      </a:lnTo>
                      <a:lnTo>
                        <a:pt x="41634" y="59169"/>
                      </a:lnTo>
                      <a:lnTo>
                        <a:pt x="42043" y="57188"/>
                      </a:lnTo>
                      <a:lnTo>
                        <a:pt x="43844" y="54264"/>
                      </a:lnTo>
                      <a:lnTo>
                        <a:pt x="47015" y="50397"/>
                      </a:lnTo>
                      <a:lnTo>
                        <a:pt x="49797" y="47492"/>
                      </a:lnTo>
                      <a:lnTo>
                        <a:pt x="52188" y="45558"/>
                      </a:lnTo>
                      <a:lnTo>
                        <a:pt x="54112" y="43720"/>
                      </a:lnTo>
                      <a:lnTo>
                        <a:pt x="55550" y="41977"/>
                      </a:lnTo>
                      <a:lnTo>
                        <a:pt x="55740" y="41196"/>
                      </a:lnTo>
                      <a:lnTo>
                        <a:pt x="55178" y="40357"/>
                      </a:lnTo>
                      <a:lnTo>
                        <a:pt x="54855" y="39138"/>
                      </a:lnTo>
                      <a:lnTo>
                        <a:pt x="53369" y="38872"/>
                      </a:lnTo>
                      <a:lnTo>
                        <a:pt x="50902" y="39681"/>
                      </a:lnTo>
                      <a:lnTo>
                        <a:pt x="50654" y="39624"/>
                      </a:lnTo>
                      <a:lnTo>
                        <a:pt x="49568" y="39729"/>
                      </a:lnTo>
                      <a:lnTo>
                        <a:pt x="46654" y="41520"/>
                      </a:lnTo>
                      <a:lnTo>
                        <a:pt x="43263" y="44615"/>
                      </a:lnTo>
                      <a:lnTo>
                        <a:pt x="41310" y="45892"/>
                      </a:lnTo>
                      <a:lnTo>
                        <a:pt x="39129" y="46758"/>
                      </a:lnTo>
                      <a:lnTo>
                        <a:pt x="37338" y="47720"/>
                      </a:lnTo>
                      <a:lnTo>
                        <a:pt x="35928" y="48787"/>
                      </a:lnTo>
                      <a:lnTo>
                        <a:pt x="34719" y="49025"/>
                      </a:lnTo>
                      <a:lnTo>
                        <a:pt x="33709" y="48425"/>
                      </a:lnTo>
                      <a:lnTo>
                        <a:pt x="34252" y="46958"/>
                      </a:lnTo>
                      <a:lnTo>
                        <a:pt x="36338" y="44606"/>
                      </a:lnTo>
                      <a:lnTo>
                        <a:pt x="38795" y="42367"/>
                      </a:lnTo>
                      <a:lnTo>
                        <a:pt x="43339" y="38681"/>
                      </a:lnTo>
                      <a:lnTo>
                        <a:pt x="43901" y="37805"/>
                      </a:lnTo>
                      <a:lnTo>
                        <a:pt x="45110" y="36728"/>
                      </a:lnTo>
                      <a:lnTo>
                        <a:pt x="49921" y="35138"/>
                      </a:lnTo>
                      <a:lnTo>
                        <a:pt x="52111" y="33890"/>
                      </a:lnTo>
                      <a:lnTo>
                        <a:pt x="53493" y="32299"/>
                      </a:lnTo>
                      <a:lnTo>
                        <a:pt x="54902" y="29956"/>
                      </a:lnTo>
                      <a:lnTo>
                        <a:pt x="55512" y="29299"/>
                      </a:lnTo>
                      <a:lnTo>
                        <a:pt x="56236" y="29023"/>
                      </a:lnTo>
                      <a:lnTo>
                        <a:pt x="59036" y="27061"/>
                      </a:lnTo>
                      <a:lnTo>
                        <a:pt x="63903" y="23422"/>
                      </a:lnTo>
                      <a:lnTo>
                        <a:pt x="68542" y="19650"/>
                      </a:lnTo>
                      <a:lnTo>
                        <a:pt x="72942" y="15773"/>
                      </a:lnTo>
                      <a:lnTo>
                        <a:pt x="75810" y="13592"/>
                      </a:lnTo>
                      <a:lnTo>
                        <a:pt x="77143" y="13087"/>
                      </a:lnTo>
                      <a:lnTo>
                        <a:pt x="78562" y="11906"/>
                      </a:lnTo>
                      <a:lnTo>
                        <a:pt x="81753" y="8296"/>
                      </a:lnTo>
                      <a:lnTo>
                        <a:pt x="83563" y="6648"/>
                      </a:lnTo>
                      <a:lnTo>
                        <a:pt x="84525" y="6020"/>
                      </a:lnTo>
                      <a:lnTo>
                        <a:pt x="84611" y="6410"/>
                      </a:lnTo>
                      <a:lnTo>
                        <a:pt x="82944" y="8392"/>
                      </a:lnTo>
                      <a:lnTo>
                        <a:pt x="82048" y="10039"/>
                      </a:lnTo>
                      <a:lnTo>
                        <a:pt x="81410" y="12135"/>
                      </a:lnTo>
                      <a:lnTo>
                        <a:pt x="81991" y="12859"/>
                      </a:lnTo>
                      <a:lnTo>
                        <a:pt x="83792" y="12202"/>
                      </a:lnTo>
                      <a:lnTo>
                        <a:pt x="85773" y="10820"/>
                      </a:lnTo>
                      <a:lnTo>
                        <a:pt x="87963" y="8706"/>
                      </a:lnTo>
                      <a:lnTo>
                        <a:pt x="89640" y="7830"/>
                      </a:lnTo>
                      <a:lnTo>
                        <a:pt x="90802" y="8192"/>
                      </a:lnTo>
                      <a:lnTo>
                        <a:pt x="92002" y="8058"/>
                      </a:lnTo>
                      <a:lnTo>
                        <a:pt x="93231" y="7429"/>
                      </a:lnTo>
                      <a:lnTo>
                        <a:pt x="95107" y="7115"/>
                      </a:lnTo>
                      <a:lnTo>
                        <a:pt x="94993" y="7906"/>
                      </a:lnTo>
                      <a:lnTo>
                        <a:pt x="93917" y="9506"/>
                      </a:lnTo>
                      <a:lnTo>
                        <a:pt x="92955" y="10287"/>
                      </a:lnTo>
                      <a:lnTo>
                        <a:pt x="92116" y="10230"/>
                      </a:lnTo>
                      <a:lnTo>
                        <a:pt x="90659" y="11078"/>
                      </a:lnTo>
                      <a:lnTo>
                        <a:pt x="88592" y="12821"/>
                      </a:lnTo>
                      <a:lnTo>
                        <a:pt x="87887" y="14211"/>
                      </a:lnTo>
                      <a:lnTo>
                        <a:pt x="88535" y="15250"/>
                      </a:lnTo>
                      <a:lnTo>
                        <a:pt x="89116" y="15297"/>
                      </a:lnTo>
                      <a:lnTo>
                        <a:pt x="89602" y="14373"/>
                      </a:lnTo>
                      <a:lnTo>
                        <a:pt x="90669" y="13440"/>
                      </a:lnTo>
                      <a:lnTo>
                        <a:pt x="93383" y="11744"/>
                      </a:lnTo>
                      <a:lnTo>
                        <a:pt x="93850" y="11192"/>
                      </a:lnTo>
                      <a:lnTo>
                        <a:pt x="98079" y="9697"/>
                      </a:lnTo>
                      <a:lnTo>
                        <a:pt x="99889" y="8734"/>
                      </a:lnTo>
                      <a:lnTo>
                        <a:pt x="100832" y="7649"/>
                      </a:lnTo>
                      <a:lnTo>
                        <a:pt x="103804" y="5410"/>
                      </a:lnTo>
                      <a:lnTo>
                        <a:pt x="105870" y="4696"/>
                      </a:lnTo>
                      <a:lnTo>
                        <a:pt x="108318" y="4391"/>
                      </a:lnTo>
                      <a:lnTo>
                        <a:pt x="110442" y="4591"/>
                      </a:lnTo>
                      <a:lnTo>
                        <a:pt x="112214" y="5286"/>
                      </a:lnTo>
                      <a:lnTo>
                        <a:pt x="113433" y="5277"/>
                      </a:lnTo>
                      <a:lnTo>
                        <a:pt x="114119" y="4543"/>
                      </a:lnTo>
                      <a:lnTo>
                        <a:pt x="116215" y="4058"/>
                      </a:lnTo>
                      <a:lnTo>
                        <a:pt x="119729" y="3810"/>
                      </a:lnTo>
                      <a:lnTo>
                        <a:pt x="122768" y="2772"/>
                      </a:lnTo>
                      <a:lnTo>
                        <a:pt x="125330" y="962"/>
                      </a:lnTo>
                      <a:lnTo>
                        <a:pt x="127864" y="38"/>
                      </a:lnTo>
                      <a:lnTo>
                        <a:pt x="130359" y="0"/>
                      </a:lnTo>
                      <a:lnTo>
                        <a:pt x="133369" y="638"/>
                      </a:lnTo>
                      <a:lnTo>
                        <a:pt x="136912" y="1972"/>
                      </a:lnTo>
                      <a:lnTo>
                        <a:pt x="139389" y="3762"/>
                      </a:lnTo>
                      <a:lnTo>
                        <a:pt x="142008" y="7372"/>
                      </a:lnTo>
                      <a:lnTo>
                        <a:pt x="143008" y="7744"/>
                      </a:lnTo>
                      <a:lnTo>
                        <a:pt x="141751" y="9916"/>
                      </a:lnTo>
                      <a:close/>
                    </a:path>
                  </a:pathLst>
                </a:custGeom>
                <a:solidFill>
                  <a:srgbClr val="FFFFFF"/>
                </a:solidFill>
                <a:ln w="9525" cap="flat">
                  <a:noFill/>
                  <a:prstDash val="solid"/>
                  <a:miter/>
                </a:ln>
              </p:spPr>
              <p:txBody>
                <a:bodyPr rtlCol="0" anchor="ctr"/>
                <a:lstStyle/>
                <a:p>
                  <a:endParaRPr lang="en-US"/>
                </a:p>
              </p:txBody>
            </p:sp>
            <p:sp>
              <p:nvSpPr>
                <p:cNvPr id="458" name="Freeform: Shape 457">
                  <a:extLst>
                    <a:ext uri="{FF2B5EF4-FFF2-40B4-BE49-F238E27FC236}">
                      <a16:creationId xmlns:a16="http://schemas.microsoft.com/office/drawing/2014/main" id="{307C3303-6C64-4943-A423-4BFAA20E9B8B}"/>
                    </a:ext>
                  </a:extLst>
                </p:cNvPr>
                <p:cNvSpPr/>
                <p:nvPr/>
              </p:nvSpPr>
              <p:spPr>
                <a:xfrm>
                  <a:off x="2825209" y="2253460"/>
                  <a:ext cx="180184" cy="69399"/>
                </a:xfrm>
                <a:custGeom>
                  <a:avLst/>
                  <a:gdLst>
                    <a:gd name="connsiteX0" fmla="*/ 170002 w 180184"/>
                    <a:gd name="connsiteY0" fmla="*/ 19088 h 69399"/>
                    <a:gd name="connsiteX1" fmla="*/ 170002 w 180184"/>
                    <a:gd name="connsiteY1" fmla="*/ 19088 h 69399"/>
                    <a:gd name="connsiteX2" fmla="*/ 170002 w 180184"/>
                    <a:gd name="connsiteY2" fmla="*/ 19088 h 69399"/>
                    <a:gd name="connsiteX3" fmla="*/ 170002 w 180184"/>
                    <a:gd name="connsiteY3" fmla="*/ 19088 h 69399"/>
                    <a:gd name="connsiteX4" fmla="*/ 174650 w 180184"/>
                    <a:gd name="connsiteY4" fmla="*/ 18050 h 69399"/>
                    <a:gd name="connsiteX5" fmla="*/ 178375 w 180184"/>
                    <a:gd name="connsiteY5" fmla="*/ 17221 h 69399"/>
                    <a:gd name="connsiteX6" fmla="*/ 178327 w 180184"/>
                    <a:gd name="connsiteY6" fmla="*/ 17936 h 69399"/>
                    <a:gd name="connsiteX7" fmla="*/ 176470 w 180184"/>
                    <a:gd name="connsiteY7" fmla="*/ 19069 h 69399"/>
                    <a:gd name="connsiteX8" fmla="*/ 173907 w 180184"/>
                    <a:gd name="connsiteY8" fmla="*/ 20317 h 69399"/>
                    <a:gd name="connsiteX9" fmla="*/ 172917 w 180184"/>
                    <a:gd name="connsiteY9" fmla="*/ 20917 h 69399"/>
                    <a:gd name="connsiteX10" fmla="*/ 171117 w 180184"/>
                    <a:gd name="connsiteY10" fmla="*/ 21850 h 69399"/>
                    <a:gd name="connsiteX11" fmla="*/ 170078 w 180184"/>
                    <a:gd name="connsiteY11" fmla="*/ 22974 h 69399"/>
                    <a:gd name="connsiteX12" fmla="*/ 168545 w 180184"/>
                    <a:gd name="connsiteY12" fmla="*/ 24451 h 69399"/>
                    <a:gd name="connsiteX13" fmla="*/ 166668 w 180184"/>
                    <a:gd name="connsiteY13" fmla="*/ 25308 h 69399"/>
                    <a:gd name="connsiteX14" fmla="*/ 164935 w 180184"/>
                    <a:gd name="connsiteY14" fmla="*/ 25908 h 69399"/>
                    <a:gd name="connsiteX15" fmla="*/ 163639 w 180184"/>
                    <a:gd name="connsiteY15" fmla="*/ 26546 h 69399"/>
                    <a:gd name="connsiteX16" fmla="*/ 161220 w 180184"/>
                    <a:gd name="connsiteY16" fmla="*/ 27718 h 69399"/>
                    <a:gd name="connsiteX17" fmla="*/ 159763 w 180184"/>
                    <a:gd name="connsiteY17" fmla="*/ 28070 h 69399"/>
                    <a:gd name="connsiteX18" fmla="*/ 157372 w 180184"/>
                    <a:gd name="connsiteY18" fmla="*/ 29118 h 69399"/>
                    <a:gd name="connsiteX19" fmla="*/ 157086 w 180184"/>
                    <a:gd name="connsiteY19" fmla="*/ 29794 h 69399"/>
                    <a:gd name="connsiteX20" fmla="*/ 157982 w 180184"/>
                    <a:gd name="connsiteY20" fmla="*/ 30337 h 69399"/>
                    <a:gd name="connsiteX21" fmla="*/ 156934 w 180184"/>
                    <a:gd name="connsiteY21" fmla="*/ 31061 h 69399"/>
                    <a:gd name="connsiteX22" fmla="*/ 153419 w 180184"/>
                    <a:gd name="connsiteY22" fmla="*/ 31299 h 69399"/>
                    <a:gd name="connsiteX23" fmla="*/ 151705 w 180184"/>
                    <a:gd name="connsiteY23" fmla="*/ 32090 h 69399"/>
                    <a:gd name="connsiteX24" fmla="*/ 149876 w 180184"/>
                    <a:gd name="connsiteY24" fmla="*/ 33623 h 69399"/>
                    <a:gd name="connsiteX25" fmla="*/ 146742 w 180184"/>
                    <a:gd name="connsiteY25" fmla="*/ 35414 h 69399"/>
                    <a:gd name="connsiteX26" fmla="*/ 145066 w 180184"/>
                    <a:gd name="connsiteY26" fmla="*/ 36957 h 69399"/>
                    <a:gd name="connsiteX27" fmla="*/ 145475 w 180184"/>
                    <a:gd name="connsiteY27" fmla="*/ 37738 h 69399"/>
                    <a:gd name="connsiteX28" fmla="*/ 147533 w 180184"/>
                    <a:gd name="connsiteY28" fmla="*/ 37757 h 69399"/>
                    <a:gd name="connsiteX29" fmla="*/ 152209 w 180184"/>
                    <a:gd name="connsiteY29" fmla="*/ 37252 h 69399"/>
                    <a:gd name="connsiteX30" fmla="*/ 152629 w 180184"/>
                    <a:gd name="connsiteY30" fmla="*/ 37462 h 69399"/>
                    <a:gd name="connsiteX31" fmla="*/ 150238 w 180184"/>
                    <a:gd name="connsiteY31" fmla="*/ 38729 h 69399"/>
                    <a:gd name="connsiteX32" fmla="*/ 149114 w 180184"/>
                    <a:gd name="connsiteY32" fmla="*/ 39881 h 69399"/>
                    <a:gd name="connsiteX33" fmla="*/ 147009 w 180184"/>
                    <a:gd name="connsiteY33" fmla="*/ 41167 h 69399"/>
                    <a:gd name="connsiteX34" fmla="*/ 144132 w 180184"/>
                    <a:gd name="connsiteY34" fmla="*/ 42091 h 69399"/>
                    <a:gd name="connsiteX35" fmla="*/ 141246 w 180184"/>
                    <a:gd name="connsiteY35" fmla="*/ 42443 h 69399"/>
                    <a:gd name="connsiteX36" fmla="*/ 138293 w 180184"/>
                    <a:gd name="connsiteY36" fmla="*/ 42843 h 69399"/>
                    <a:gd name="connsiteX37" fmla="*/ 135579 w 180184"/>
                    <a:gd name="connsiteY37" fmla="*/ 43024 h 69399"/>
                    <a:gd name="connsiteX38" fmla="*/ 135884 w 180184"/>
                    <a:gd name="connsiteY38" fmla="*/ 42520 h 69399"/>
                    <a:gd name="connsiteX39" fmla="*/ 134503 w 180184"/>
                    <a:gd name="connsiteY39" fmla="*/ 42405 h 69399"/>
                    <a:gd name="connsiteX40" fmla="*/ 130759 w 180184"/>
                    <a:gd name="connsiteY40" fmla="*/ 43644 h 69399"/>
                    <a:gd name="connsiteX41" fmla="*/ 128997 w 180184"/>
                    <a:gd name="connsiteY41" fmla="*/ 42081 h 69399"/>
                    <a:gd name="connsiteX42" fmla="*/ 128149 w 180184"/>
                    <a:gd name="connsiteY42" fmla="*/ 40157 h 69399"/>
                    <a:gd name="connsiteX43" fmla="*/ 126606 w 180184"/>
                    <a:gd name="connsiteY43" fmla="*/ 39233 h 69399"/>
                    <a:gd name="connsiteX44" fmla="*/ 119577 w 180184"/>
                    <a:gd name="connsiteY44" fmla="*/ 38852 h 69399"/>
                    <a:gd name="connsiteX45" fmla="*/ 114405 w 180184"/>
                    <a:gd name="connsiteY45" fmla="*/ 38967 h 69399"/>
                    <a:gd name="connsiteX46" fmla="*/ 111547 w 180184"/>
                    <a:gd name="connsiteY46" fmla="*/ 39291 h 69399"/>
                    <a:gd name="connsiteX47" fmla="*/ 108728 w 180184"/>
                    <a:gd name="connsiteY47" fmla="*/ 40253 h 69399"/>
                    <a:gd name="connsiteX48" fmla="*/ 107737 w 180184"/>
                    <a:gd name="connsiteY48" fmla="*/ 41453 h 69399"/>
                    <a:gd name="connsiteX49" fmla="*/ 101260 w 180184"/>
                    <a:gd name="connsiteY49" fmla="*/ 43739 h 69399"/>
                    <a:gd name="connsiteX50" fmla="*/ 98698 w 180184"/>
                    <a:gd name="connsiteY50" fmla="*/ 44491 h 69399"/>
                    <a:gd name="connsiteX51" fmla="*/ 97460 w 180184"/>
                    <a:gd name="connsiteY51" fmla="*/ 45463 h 69399"/>
                    <a:gd name="connsiteX52" fmla="*/ 99689 w 180184"/>
                    <a:gd name="connsiteY52" fmla="*/ 48406 h 69399"/>
                    <a:gd name="connsiteX53" fmla="*/ 102089 w 180184"/>
                    <a:gd name="connsiteY53" fmla="*/ 51083 h 69399"/>
                    <a:gd name="connsiteX54" fmla="*/ 101594 w 180184"/>
                    <a:gd name="connsiteY54" fmla="*/ 52359 h 69399"/>
                    <a:gd name="connsiteX55" fmla="*/ 99832 w 180184"/>
                    <a:gd name="connsiteY55" fmla="*/ 53092 h 69399"/>
                    <a:gd name="connsiteX56" fmla="*/ 96193 w 180184"/>
                    <a:gd name="connsiteY56" fmla="*/ 53149 h 69399"/>
                    <a:gd name="connsiteX57" fmla="*/ 91926 w 180184"/>
                    <a:gd name="connsiteY57" fmla="*/ 53692 h 69399"/>
                    <a:gd name="connsiteX58" fmla="*/ 87840 w 180184"/>
                    <a:gd name="connsiteY58" fmla="*/ 55512 h 69399"/>
                    <a:gd name="connsiteX59" fmla="*/ 83582 w 180184"/>
                    <a:gd name="connsiteY59" fmla="*/ 57531 h 69399"/>
                    <a:gd name="connsiteX60" fmla="*/ 81324 w 180184"/>
                    <a:gd name="connsiteY60" fmla="*/ 58398 h 69399"/>
                    <a:gd name="connsiteX61" fmla="*/ 71371 w 180184"/>
                    <a:gd name="connsiteY61" fmla="*/ 61646 h 69399"/>
                    <a:gd name="connsiteX62" fmla="*/ 58998 w 180184"/>
                    <a:gd name="connsiteY62" fmla="*/ 65322 h 69399"/>
                    <a:gd name="connsiteX63" fmla="*/ 56340 w 180184"/>
                    <a:gd name="connsiteY63" fmla="*/ 65970 h 69399"/>
                    <a:gd name="connsiteX64" fmla="*/ 52568 w 180184"/>
                    <a:gd name="connsiteY64" fmla="*/ 67094 h 69399"/>
                    <a:gd name="connsiteX65" fmla="*/ 50073 w 180184"/>
                    <a:gd name="connsiteY65" fmla="*/ 68294 h 69399"/>
                    <a:gd name="connsiteX66" fmla="*/ 46825 w 180184"/>
                    <a:gd name="connsiteY66" fmla="*/ 69399 h 69399"/>
                    <a:gd name="connsiteX67" fmla="*/ 43977 w 180184"/>
                    <a:gd name="connsiteY67" fmla="*/ 69171 h 69399"/>
                    <a:gd name="connsiteX68" fmla="*/ 43015 w 180184"/>
                    <a:gd name="connsiteY68" fmla="*/ 67723 h 69399"/>
                    <a:gd name="connsiteX69" fmla="*/ 44453 w 180184"/>
                    <a:gd name="connsiteY69" fmla="*/ 66027 h 69399"/>
                    <a:gd name="connsiteX70" fmla="*/ 47368 w 180184"/>
                    <a:gd name="connsiteY70" fmla="*/ 64922 h 69399"/>
                    <a:gd name="connsiteX71" fmla="*/ 49273 w 180184"/>
                    <a:gd name="connsiteY71" fmla="*/ 64751 h 69399"/>
                    <a:gd name="connsiteX72" fmla="*/ 52216 w 180184"/>
                    <a:gd name="connsiteY72" fmla="*/ 64160 h 69399"/>
                    <a:gd name="connsiteX73" fmla="*/ 55350 w 180184"/>
                    <a:gd name="connsiteY73" fmla="*/ 63808 h 69399"/>
                    <a:gd name="connsiteX74" fmla="*/ 58312 w 180184"/>
                    <a:gd name="connsiteY74" fmla="*/ 62722 h 69399"/>
                    <a:gd name="connsiteX75" fmla="*/ 59893 w 180184"/>
                    <a:gd name="connsiteY75" fmla="*/ 61341 h 69399"/>
                    <a:gd name="connsiteX76" fmla="*/ 75990 w 180184"/>
                    <a:gd name="connsiteY76" fmla="*/ 54816 h 69399"/>
                    <a:gd name="connsiteX77" fmla="*/ 82896 w 180184"/>
                    <a:gd name="connsiteY77" fmla="*/ 50968 h 69399"/>
                    <a:gd name="connsiteX78" fmla="*/ 86678 w 180184"/>
                    <a:gd name="connsiteY78" fmla="*/ 47901 h 69399"/>
                    <a:gd name="connsiteX79" fmla="*/ 87792 w 180184"/>
                    <a:gd name="connsiteY79" fmla="*/ 46377 h 69399"/>
                    <a:gd name="connsiteX80" fmla="*/ 86792 w 180184"/>
                    <a:gd name="connsiteY80" fmla="*/ 45510 h 69399"/>
                    <a:gd name="connsiteX81" fmla="*/ 82991 w 180184"/>
                    <a:gd name="connsiteY81" fmla="*/ 44872 h 69399"/>
                    <a:gd name="connsiteX82" fmla="*/ 74409 w 180184"/>
                    <a:gd name="connsiteY82" fmla="*/ 46520 h 69399"/>
                    <a:gd name="connsiteX83" fmla="*/ 68151 w 180184"/>
                    <a:gd name="connsiteY83" fmla="*/ 48311 h 69399"/>
                    <a:gd name="connsiteX84" fmla="*/ 62151 w 180184"/>
                    <a:gd name="connsiteY84" fmla="*/ 50235 h 69399"/>
                    <a:gd name="connsiteX85" fmla="*/ 55978 w 180184"/>
                    <a:gd name="connsiteY85" fmla="*/ 52473 h 69399"/>
                    <a:gd name="connsiteX86" fmla="*/ 55359 w 180184"/>
                    <a:gd name="connsiteY86" fmla="*/ 53149 h 69399"/>
                    <a:gd name="connsiteX87" fmla="*/ 53492 w 180184"/>
                    <a:gd name="connsiteY87" fmla="*/ 54559 h 69399"/>
                    <a:gd name="connsiteX88" fmla="*/ 50587 w 180184"/>
                    <a:gd name="connsiteY88" fmla="*/ 56721 h 69399"/>
                    <a:gd name="connsiteX89" fmla="*/ 48835 w 180184"/>
                    <a:gd name="connsiteY89" fmla="*/ 58407 h 69399"/>
                    <a:gd name="connsiteX90" fmla="*/ 47311 w 180184"/>
                    <a:gd name="connsiteY90" fmla="*/ 59893 h 69399"/>
                    <a:gd name="connsiteX91" fmla="*/ 46263 w 180184"/>
                    <a:gd name="connsiteY91" fmla="*/ 60998 h 69399"/>
                    <a:gd name="connsiteX92" fmla="*/ 44596 w 180184"/>
                    <a:gd name="connsiteY92" fmla="*/ 61617 h 69399"/>
                    <a:gd name="connsiteX93" fmla="*/ 42767 w 180184"/>
                    <a:gd name="connsiteY93" fmla="*/ 62027 h 69399"/>
                    <a:gd name="connsiteX94" fmla="*/ 41100 w 180184"/>
                    <a:gd name="connsiteY94" fmla="*/ 62751 h 69399"/>
                    <a:gd name="connsiteX95" fmla="*/ 36290 w 180184"/>
                    <a:gd name="connsiteY95" fmla="*/ 64065 h 69399"/>
                    <a:gd name="connsiteX96" fmla="*/ 32747 w 180184"/>
                    <a:gd name="connsiteY96" fmla="*/ 65151 h 69399"/>
                    <a:gd name="connsiteX97" fmla="*/ 23031 w 180184"/>
                    <a:gd name="connsiteY97" fmla="*/ 63198 h 69399"/>
                    <a:gd name="connsiteX98" fmla="*/ 16935 w 180184"/>
                    <a:gd name="connsiteY98" fmla="*/ 61779 h 69399"/>
                    <a:gd name="connsiteX99" fmla="*/ 7610 w 180184"/>
                    <a:gd name="connsiteY99" fmla="*/ 60341 h 69399"/>
                    <a:gd name="connsiteX100" fmla="*/ 5991 w 180184"/>
                    <a:gd name="connsiteY100" fmla="*/ 60274 h 69399"/>
                    <a:gd name="connsiteX101" fmla="*/ 6506 w 180184"/>
                    <a:gd name="connsiteY101" fmla="*/ 59150 h 69399"/>
                    <a:gd name="connsiteX102" fmla="*/ 8144 w 180184"/>
                    <a:gd name="connsiteY102" fmla="*/ 58112 h 69399"/>
                    <a:gd name="connsiteX103" fmla="*/ 10849 w 180184"/>
                    <a:gd name="connsiteY103" fmla="*/ 57636 h 69399"/>
                    <a:gd name="connsiteX104" fmla="*/ 14840 w 180184"/>
                    <a:gd name="connsiteY104" fmla="*/ 57121 h 69399"/>
                    <a:gd name="connsiteX105" fmla="*/ 24232 w 180184"/>
                    <a:gd name="connsiteY105" fmla="*/ 55169 h 69399"/>
                    <a:gd name="connsiteX106" fmla="*/ 28127 w 180184"/>
                    <a:gd name="connsiteY106" fmla="*/ 53140 h 69399"/>
                    <a:gd name="connsiteX107" fmla="*/ 30099 w 180184"/>
                    <a:gd name="connsiteY107" fmla="*/ 51064 h 69399"/>
                    <a:gd name="connsiteX108" fmla="*/ 29870 w 180184"/>
                    <a:gd name="connsiteY108" fmla="*/ 48587 h 69399"/>
                    <a:gd name="connsiteX109" fmla="*/ 33499 w 180184"/>
                    <a:gd name="connsiteY109" fmla="*/ 47187 h 69399"/>
                    <a:gd name="connsiteX110" fmla="*/ 39633 w 180184"/>
                    <a:gd name="connsiteY110" fmla="*/ 45406 h 69399"/>
                    <a:gd name="connsiteX111" fmla="*/ 46501 w 180184"/>
                    <a:gd name="connsiteY111" fmla="*/ 43244 h 69399"/>
                    <a:gd name="connsiteX112" fmla="*/ 53188 w 180184"/>
                    <a:gd name="connsiteY112" fmla="*/ 40234 h 69399"/>
                    <a:gd name="connsiteX113" fmla="*/ 56112 w 180184"/>
                    <a:gd name="connsiteY113" fmla="*/ 38186 h 69399"/>
                    <a:gd name="connsiteX114" fmla="*/ 51835 w 180184"/>
                    <a:gd name="connsiteY114" fmla="*/ 34204 h 69399"/>
                    <a:gd name="connsiteX115" fmla="*/ 52740 w 180184"/>
                    <a:gd name="connsiteY115" fmla="*/ 32871 h 69399"/>
                    <a:gd name="connsiteX116" fmla="*/ 56959 w 180184"/>
                    <a:gd name="connsiteY116" fmla="*/ 32214 h 69399"/>
                    <a:gd name="connsiteX117" fmla="*/ 63122 w 180184"/>
                    <a:gd name="connsiteY117" fmla="*/ 33166 h 69399"/>
                    <a:gd name="connsiteX118" fmla="*/ 68799 w 180184"/>
                    <a:gd name="connsiteY118" fmla="*/ 34071 h 69399"/>
                    <a:gd name="connsiteX119" fmla="*/ 75657 w 180184"/>
                    <a:gd name="connsiteY119" fmla="*/ 33785 h 69399"/>
                    <a:gd name="connsiteX120" fmla="*/ 81029 w 180184"/>
                    <a:gd name="connsiteY120" fmla="*/ 32385 h 69399"/>
                    <a:gd name="connsiteX121" fmla="*/ 83620 w 180184"/>
                    <a:gd name="connsiteY121" fmla="*/ 30718 h 69399"/>
                    <a:gd name="connsiteX122" fmla="*/ 84125 w 180184"/>
                    <a:gd name="connsiteY122" fmla="*/ 29527 h 69399"/>
                    <a:gd name="connsiteX123" fmla="*/ 79419 w 180184"/>
                    <a:gd name="connsiteY123" fmla="*/ 28575 h 69399"/>
                    <a:gd name="connsiteX124" fmla="*/ 77533 w 180184"/>
                    <a:gd name="connsiteY124" fmla="*/ 26813 h 69399"/>
                    <a:gd name="connsiteX125" fmla="*/ 70075 w 180184"/>
                    <a:gd name="connsiteY125" fmla="*/ 25051 h 69399"/>
                    <a:gd name="connsiteX126" fmla="*/ 63398 w 180184"/>
                    <a:gd name="connsiteY126" fmla="*/ 24517 h 69399"/>
                    <a:gd name="connsiteX127" fmla="*/ 56579 w 180184"/>
                    <a:gd name="connsiteY127" fmla="*/ 24527 h 69399"/>
                    <a:gd name="connsiteX128" fmla="*/ 50721 w 180184"/>
                    <a:gd name="connsiteY128" fmla="*/ 24394 h 69399"/>
                    <a:gd name="connsiteX129" fmla="*/ 49559 w 180184"/>
                    <a:gd name="connsiteY129" fmla="*/ 25479 h 69399"/>
                    <a:gd name="connsiteX130" fmla="*/ 48682 w 180184"/>
                    <a:gd name="connsiteY130" fmla="*/ 26984 h 69399"/>
                    <a:gd name="connsiteX131" fmla="*/ 46187 w 180184"/>
                    <a:gd name="connsiteY131" fmla="*/ 28461 h 69399"/>
                    <a:gd name="connsiteX132" fmla="*/ 44234 w 180184"/>
                    <a:gd name="connsiteY132" fmla="*/ 29280 h 69399"/>
                    <a:gd name="connsiteX133" fmla="*/ 43253 w 180184"/>
                    <a:gd name="connsiteY133" fmla="*/ 30137 h 69399"/>
                    <a:gd name="connsiteX134" fmla="*/ 42253 w 180184"/>
                    <a:gd name="connsiteY134" fmla="*/ 30747 h 69399"/>
                    <a:gd name="connsiteX135" fmla="*/ 41739 w 180184"/>
                    <a:gd name="connsiteY135" fmla="*/ 30413 h 69399"/>
                    <a:gd name="connsiteX136" fmla="*/ 42005 w 180184"/>
                    <a:gd name="connsiteY136" fmla="*/ 29166 h 69399"/>
                    <a:gd name="connsiteX137" fmla="*/ 38595 w 180184"/>
                    <a:gd name="connsiteY137" fmla="*/ 28165 h 69399"/>
                    <a:gd name="connsiteX138" fmla="*/ 34900 w 180184"/>
                    <a:gd name="connsiteY138" fmla="*/ 28042 h 69399"/>
                    <a:gd name="connsiteX139" fmla="*/ 30032 w 180184"/>
                    <a:gd name="connsiteY139" fmla="*/ 28480 h 69399"/>
                    <a:gd name="connsiteX140" fmla="*/ 23955 w 180184"/>
                    <a:gd name="connsiteY140" fmla="*/ 28327 h 69399"/>
                    <a:gd name="connsiteX141" fmla="*/ 20155 w 180184"/>
                    <a:gd name="connsiteY141" fmla="*/ 27480 h 69399"/>
                    <a:gd name="connsiteX142" fmla="*/ 14745 w 180184"/>
                    <a:gd name="connsiteY142" fmla="*/ 27613 h 69399"/>
                    <a:gd name="connsiteX143" fmla="*/ 11373 w 180184"/>
                    <a:gd name="connsiteY143" fmla="*/ 28975 h 69399"/>
                    <a:gd name="connsiteX144" fmla="*/ 10049 w 180184"/>
                    <a:gd name="connsiteY144" fmla="*/ 30680 h 69399"/>
                    <a:gd name="connsiteX145" fmla="*/ 8439 w 180184"/>
                    <a:gd name="connsiteY145" fmla="*/ 31937 h 69399"/>
                    <a:gd name="connsiteX146" fmla="*/ 7001 w 180184"/>
                    <a:gd name="connsiteY146" fmla="*/ 32223 h 69399"/>
                    <a:gd name="connsiteX147" fmla="*/ 6820 w 180184"/>
                    <a:gd name="connsiteY147" fmla="*/ 31642 h 69399"/>
                    <a:gd name="connsiteX148" fmla="*/ 6048 w 180184"/>
                    <a:gd name="connsiteY148" fmla="*/ 31175 h 69399"/>
                    <a:gd name="connsiteX149" fmla="*/ 3477 w 180184"/>
                    <a:gd name="connsiteY149" fmla="*/ 32585 h 69399"/>
                    <a:gd name="connsiteX150" fmla="*/ 1086 w 180184"/>
                    <a:gd name="connsiteY150" fmla="*/ 34280 h 69399"/>
                    <a:gd name="connsiteX151" fmla="*/ 57 w 180184"/>
                    <a:gd name="connsiteY151" fmla="*/ 33499 h 69399"/>
                    <a:gd name="connsiteX152" fmla="*/ 0 w 180184"/>
                    <a:gd name="connsiteY152" fmla="*/ 32109 h 69399"/>
                    <a:gd name="connsiteX153" fmla="*/ 210 w 180184"/>
                    <a:gd name="connsiteY153" fmla="*/ 30632 h 69399"/>
                    <a:gd name="connsiteX154" fmla="*/ 1810 w 180184"/>
                    <a:gd name="connsiteY154" fmla="*/ 27480 h 69399"/>
                    <a:gd name="connsiteX155" fmla="*/ 5258 w 180184"/>
                    <a:gd name="connsiteY155" fmla="*/ 24622 h 69399"/>
                    <a:gd name="connsiteX156" fmla="*/ 11925 w 180184"/>
                    <a:gd name="connsiteY156" fmla="*/ 23622 h 69399"/>
                    <a:gd name="connsiteX157" fmla="*/ 16526 w 180184"/>
                    <a:gd name="connsiteY157" fmla="*/ 23803 h 69399"/>
                    <a:gd name="connsiteX158" fmla="*/ 18031 w 180184"/>
                    <a:gd name="connsiteY158" fmla="*/ 23736 h 69399"/>
                    <a:gd name="connsiteX159" fmla="*/ 21727 w 180184"/>
                    <a:gd name="connsiteY159" fmla="*/ 22698 h 69399"/>
                    <a:gd name="connsiteX160" fmla="*/ 44072 w 180184"/>
                    <a:gd name="connsiteY160" fmla="*/ 18964 h 69399"/>
                    <a:gd name="connsiteX161" fmla="*/ 55283 w 180184"/>
                    <a:gd name="connsiteY161" fmla="*/ 16145 h 69399"/>
                    <a:gd name="connsiteX162" fmla="*/ 55778 w 180184"/>
                    <a:gd name="connsiteY162" fmla="*/ 16326 h 69399"/>
                    <a:gd name="connsiteX163" fmla="*/ 54959 w 180184"/>
                    <a:gd name="connsiteY163" fmla="*/ 17221 h 69399"/>
                    <a:gd name="connsiteX164" fmla="*/ 55883 w 180184"/>
                    <a:gd name="connsiteY164" fmla="*/ 17516 h 69399"/>
                    <a:gd name="connsiteX165" fmla="*/ 58760 w 180184"/>
                    <a:gd name="connsiteY165" fmla="*/ 16850 h 69399"/>
                    <a:gd name="connsiteX166" fmla="*/ 63103 w 180184"/>
                    <a:gd name="connsiteY166" fmla="*/ 15640 h 69399"/>
                    <a:gd name="connsiteX167" fmla="*/ 70885 w 180184"/>
                    <a:gd name="connsiteY167" fmla="*/ 14792 h 69399"/>
                    <a:gd name="connsiteX168" fmla="*/ 72238 w 180184"/>
                    <a:gd name="connsiteY168" fmla="*/ 13554 h 69399"/>
                    <a:gd name="connsiteX169" fmla="*/ 74657 w 180184"/>
                    <a:gd name="connsiteY169" fmla="*/ 13583 h 69399"/>
                    <a:gd name="connsiteX170" fmla="*/ 75676 w 180184"/>
                    <a:gd name="connsiteY170" fmla="*/ 14049 h 69399"/>
                    <a:gd name="connsiteX171" fmla="*/ 85296 w 180184"/>
                    <a:gd name="connsiteY171" fmla="*/ 12402 h 69399"/>
                    <a:gd name="connsiteX172" fmla="*/ 95764 w 180184"/>
                    <a:gd name="connsiteY172" fmla="*/ 10096 h 69399"/>
                    <a:gd name="connsiteX173" fmla="*/ 97784 w 180184"/>
                    <a:gd name="connsiteY173" fmla="*/ 9782 h 69399"/>
                    <a:gd name="connsiteX174" fmla="*/ 100041 w 180184"/>
                    <a:gd name="connsiteY174" fmla="*/ 9125 h 69399"/>
                    <a:gd name="connsiteX175" fmla="*/ 107747 w 180184"/>
                    <a:gd name="connsiteY175" fmla="*/ 6210 h 69399"/>
                    <a:gd name="connsiteX176" fmla="*/ 121882 w 180184"/>
                    <a:gd name="connsiteY176" fmla="*/ 3867 h 69399"/>
                    <a:gd name="connsiteX177" fmla="*/ 124768 w 180184"/>
                    <a:gd name="connsiteY177" fmla="*/ 3143 h 69399"/>
                    <a:gd name="connsiteX178" fmla="*/ 134322 w 180184"/>
                    <a:gd name="connsiteY178" fmla="*/ 1629 h 69399"/>
                    <a:gd name="connsiteX179" fmla="*/ 137674 w 180184"/>
                    <a:gd name="connsiteY179" fmla="*/ 905 h 69399"/>
                    <a:gd name="connsiteX180" fmla="*/ 143475 w 180184"/>
                    <a:gd name="connsiteY180" fmla="*/ 0 h 69399"/>
                    <a:gd name="connsiteX181" fmla="*/ 144742 w 180184"/>
                    <a:gd name="connsiteY181" fmla="*/ 791 h 69399"/>
                    <a:gd name="connsiteX182" fmla="*/ 144971 w 180184"/>
                    <a:gd name="connsiteY182" fmla="*/ 1238 h 69399"/>
                    <a:gd name="connsiteX183" fmla="*/ 146875 w 180184"/>
                    <a:gd name="connsiteY183" fmla="*/ 1172 h 69399"/>
                    <a:gd name="connsiteX184" fmla="*/ 151057 w 180184"/>
                    <a:gd name="connsiteY184" fmla="*/ 2000 h 69399"/>
                    <a:gd name="connsiteX185" fmla="*/ 155153 w 180184"/>
                    <a:gd name="connsiteY185" fmla="*/ 3038 h 69399"/>
                    <a:gd name="connsiteX186" fmla="*/ 156934 w 180184"/>
                    <a:gd name="connsiteY186" fmla="*/ 3791 h 69399"/>
                    <a:gd name="connsiteX187" fmla="*/ 151114 w 180184"/>
                    <a:gd name="connsiteY187" fmla="*/ 6315 h 69399"/>
                    <a:gd name="connsiteX188" fmla="*/ 141675 w 180184"/>
                    <a:gd name="connsiteY188" fmla="*/ 8934 h 69399"/>
                    <a:gd name="connsiteX189" fmla="*/ 135922 w 180184"/>
                    <a:gd name="connsiteY189" fmla="*/ 10487 h 69399"/>
                    <a:gd name="connsiteX190" fmla="*/ 129797 w 180184"/>
                    <a:gd name="connsiteY190" fmla="*/ 11582 h 69399"/>
                    <a:gd name="connsiteX191" fmla="*/ 127549 w 180184"/>
                    <a:gd name="connsiteY191" fmla="*/ 11830 h 69399"/>
                    <a:gd name="connsiteX192" fmla="*/ 126702 w 180184"/>
                    <a:gd name="connsiteY192" fmla="*/ 12459 h 69399"/>
                    <a:gd name="connsiteX193" fmla="*/ 124930 w 180184"/>
                    <a:gd name="connsiteY193" fmla="*/ 13516 h 69399"/>
                    <a:gd name="connsiteX194" fmla="*/ 122196 w 180184"/>
                    <a:gd name="connsiteY194" fmla="*/ 14545 h 69399"/>
                    <a:gd name="connsiteX195" fmla="*/ 118596 w 180184"/>
                    <a:gd name="connsiteY195" fmla="*/ 15507 h 69399"/>
                    <a:gd name="connsiteX196" fmla="*/ 118062 w 180184"/>
                    <a:gd name="connsiteY196" fmla="*/ 15831 h 69399"/>
                    <a:gd name="connsiteX197" fmla="*/ 117615 w 180184"/>
                    <a:gd name="connsiteY197" fmla="*/ 16907 h 69399"/>
                    <a:gd name="connsiteX198" fmla="*/ 116672 w 180184"/>
                    <a:gd name="connsiteY198" fmla="*/ 17621 h 69399"/>
                    <a:gd name="connsiteX199" fmla="*/ 114338 w 180184"/>
                    <a:gd name="connsiteY199" fmla="*/ 18078 h 69399"/>
                    <a:gd name="connsiteX200" fmla="*/ 111843 w 180184"/>
                    <a:gd name="connsiteY200" fmla="*/ 19145 h 69399"/>
                    <a:gd name="connsiteX201" fmla="*/ 111747 w 180184"/>
                    <a:gd name="connsiteY201" fmla="*/ 19983 h 69399"/>
                    <a:gd name="connsiteX202" fmla="*/ 116376 w 180184"/>
                    <a:gd name="connsiteY202" fmla="*/ 20098 h 69399"/>
                    <a:gd name="connsiteX203" fmla="*/ 120758 w 180184"/>
                    <a:gd name="connsiteY203" fmla="*/ 20460 h 69399"/>
                    <a:gd name="connsiteX204" fmla="*/ 121206 w 180184"/>
                    <a:gd name="connsiteY204" fmla="*/ 21231 h 69399"/>
                    <a:gd name="connsiteX205" fmla="*/ 124654 w 180184"/>
                    <a:gd name="connsiteY205" fmla="*/ 22117 h 69399"/>
                    <a:gd name="connsiteX206" fmla="*/ 125168 w 180184"/>
                    <a:gd name="connsiteY206" fmla="*/ 22622 h 69399"/>
                    <a:gd name="connsiteX207" fmla="*/ 127921 w 180184"/>
                    <a:gd name="connsiteY207" fmla="*/ 22746 h 69399"/>
                    <a:gd name="connsiteX208" fmla="*/ 129759 w 180184"/>
                    <a:gd name="connsiteY208" fmla="*/ 22460 h 69399"/>
                    <a:gd name="connsiteX209" fmla="*/ 131112 w 180184"/>
                    <a:gd name="connsiteY209" fmla="*/ 21784 h 69399"/>
                    <a:gd name="connsiteX210" fmla="*/ 139246 w 180184"/>
                    <a:gd name="connsiteY210" fmla="*/ 22155 h 69399"/>
                    <a:gd name="connsiteX211" fmla="*/ 147104 w 180184"/>
                    <a:gd name="connsiteY211" fmla="*/ 22003 h 69399"/>
                    <a:gd name="connsiteX212" fmla="*/ 150924 w 180184"/>
                    <a:gd name="connsiteY212" fmla="*/ 21479 h 69399"/>
                    <a:gd name="connsiteX213" fmla="*/ 158344 w 180184"/>
                    <a:gd name="connsiteY213" fmla="*/ 19879 h 69399"/>
                    <a:gd name="connsiteX214" fmla="*/ 162173 w 180184"/>
                    <a:gd name="connsiteY214" fmla="*/ 17936 h 69399"/>
                    <a:gd name="connsiteX215" fmla="*/ 165040 w 180184"/>
                    <a:gd name="connsiteY215" fmla="*/ 16202 h 69399"/>
                    <a:gd name="connsiteX216" fmla="*/ 171726 w 180184"/>
                    <a:gd name="connsiteY216" fmla="*/ 13497 h 69399"/>
                    <a:gd name="connsiteX217" fmla="*/ 176508 w 180184"/>
                    <a:gd name="connsiteY217" fmla="*/ 12306 h 69399"/>
                    <a:gd name="connsiteX218" fmla="*/ 179565 w 180184"/>
                    <a:gd name="connsiteY218" fmla="*/ 11659 h 69399"/>
                    <a:gd name="connsiteX219" fmla="*/ 180184 w 180184"/>
                    <a:gd name="connsiteY219" fmla="*/ 11687 h 69399"/>
                    <a:gd name="connsiteX220" fmla="*/ 179994 w 180184"/>
                    <a:gd name="connsiteY220" fmla="*/ 12211 h 69399"/>
                    <a:gd name="connsiteX221" fmla="*/ 179041 w 180184"/>
                    <a:gd name="connsiteY221" fmla="*/ 12859 h 69399"/>
                    <a:gd name="connsiteX222" fmla="*/ 178451 w 180184"/>
                    <a:gd name="connsiteY222" fmla="*/ 13659 h 69399"/>
                    <a:gd name="connsiteX223" fmla="*/ 176184 w 180184"/>
                    <a:gd name="connsiteY223" fmla="*/ 15069 h 69399"/>
                    <a:gd name="connsiteX224" fmla="*/ 171907 w 180184"/>
                    <a:gd name="connsiteY224" fmla="*/ 17097 h 69399"/>
                    <a:gd name="connsiteX225" fmla="*/ 170621 w 180184"/>
                    <a:gd name="connsiteY225" fmla="*/ 17917 h 69399"/>
                    <a:gd name="connsiteX226" fmla="*/ 170002 w 180184"/>
                    <a:gd name="connsiteY226" fmla="*/ 18621 h 69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180184" h="69399">
                      <a:moveTo>
                        <a:pt x="170002" y="19088"/>
                      </a:moveTo>
                      <a:lnTo>
                        <a:pt x="170002" y="19088"/>
                      </a:lnTo>
                      <a:lnTo>
                        <a:pt x="170002" y="19088"/>
                      </a:lnTo>
                      <a:lnTo>
                        <a:pt x="170002" y="19088"/>
                      </a:lnTo>
                      <a:lnTo>
                        <a:pt x="174650" y="18050"/>
                      </a:lnTo>
                      <a:lnTo>
                        <a:pt x="178375" y="17221"/>
                      </a:lnTo>
                      <a:lnTo>
                        <a:pt x="178327" y="17936"/>
                      </a:lnTo>
                      <a:lnTo>
                        <a:pt x="176470" y="19069"/>
                      </a:lnTo>
                      <a:lnTo>
                        <a:pt x="173907" y="20317"/>
                      </a:lnTo>
                      <a:lnTo>
                        <a:pt x="172917" y="20917"/>
                      </a:lnTo>
                      <a:lnTo>
                        <a:pt x="171117" y="21850"/>
                      </a:lnTo>
                      <a:lnTo>
                        <a:pt x="170078" y="22974"/>
                      </a:lnTo>
                      <a:lnTo>
                        <a:pt x="168545" y="24451"/>
                      </a:lnTo>
                      <a:lnTo>
                        <a:pt x="166668" y="25308"/>
                      </a:lnTo>
                      <a:lnTo>
                        <a:pt x="164935" y="25908"/>
                      </a:lnTo>
                      <a:lnTo>
                        <a:pt x="163639" y="26546"/>
                      </a:lnTo>
                      <a:lnTo>
                        <a:pt x="161220" y="27718"/>
                      </a:lnTo>
                      <a:lnTo>
                        <a:pt x="159763" y="28070"/>
                      </a:lnTo>
                      <a:lnTo>
                        <a:pt x="157372" y="29118"/>
                      </a:lnTo>
                      <a:lnTo>
                        <a:pt x="157086" y="29794"/>
                      </a:lnTo>
                      <a:lnTo>
                        <a:pt x="157982" y="30337"/>
                      </a:lnTo>
                      <a:lnTo>
                        <a:pt x="156934" y="31061"/>
                      </a:lnTo>
                      <a:lnTo>
                        <a:pt x="153419" y="31299"/>
                      </a:lnTo>
                      <a:lnTo>
                        <a:pt x="151705" y="32090"/>
                      </a:lnTo>
                      <a:lnTo>
                        <a:pt x="149876" y="33623"/>
                      </a:lnTo>
                      <a:lnTo>
                        <a:pt x="146742" y="35414"/>
                      </a:lnTo>
                      <a:lnTo>
                        <a:pt x="145066" y="36957"/>
                      </a:lnTo>
                      <a:lnTo>
                        <a:pt x="145475" y="37738"/>
                      </a:lnTo>
                      <a:lnTo>
                        <a:pt x="147533" y="37757"/>
                      </a:lnTo>
                      <a:lnTo>
                        <a:pt x="152209" y="37252"/>
                      </a:lnTo>
                      <a:lnTo>
                        <a:pt x="152629" y="37462"/>
                      </a:lnTo>
                      <a:lnTo>
                        <a:pt x="150238" y="38729"/>
                      </a:lnTo>
                      <a:lnTo>
                        <a:pt x="149114" y="39881"/>
                      </a:lnTo>
                      <a:lnTo>
                        <a:pt x="147009" y="41167"/>
                      </a:lnTo>
                      <a:lnTo>
                        <a:pt x="144132" y="42091"/>
                      </a:lnTo>
                      <a:lnTo>
                        <a:pt x="141246" y="42443"/>
                      </a:lnTo>
                      <a:lnTo>
                        <a:pt x="138293" y="42843"/>
                      </a:lnTo>
                      <a:lnTo>
                        <a:pt x="135579" y="43024"/>
                      </a:lnTo>
                      <a:lnTo>
                        <a:pt x="135884" y="42520"/>
                      </a:lnTo>
                      <a:lnTo>
                        <a:pt x="134503" y="42405"/>
                      </a:lnTo>
                      <a:lnTo>
                        <a:pt x="130759" y="43644"/>
                      </a:lnTo>
                      <a:lnTo>
                        <a:pt x="128997" y="42081"/>
                      </a:lnTo>
                      <a:lnTo>
                        <a:pt x="128149" y="40157"/>
                      </a:lnTo>
                      <a:lnTo>
                        <a:pt x="126606" y="39233"/>
                      </a:lnTo>
                      <a:lnTo>
                        <a:pt x="119577" y="38852"/>
                      </a:lnTo>
                      <a:lnTo>
                        <a:pt x="114405" y="38967"/>
                      </a:lnTo>
                      <a:lnTo>
                        <a:pt x="111547" y="39291"/>
                      </a:lnTo>
                      <a:lnTo>
                        <a:pt x="108728" y="40253"/>
                      </a:lnTo>
                      <a:lnTo>
                        <a:pt x="107737" y="41453"/>
                      </a:lnTo>
                      <a:lnTo>
                        <a:pt x="101260" y="43739"/>
                      </a:lnTo>
                      <a:lnTo>
                        <a:pt x="98698" y="44491"/>
                      </a:lnTo>
                      <a:lnTo>
                        <a:pt x="97460" y="45463"/>
                      </a:lnTo>
                      <a:lnTo>
                        <a:pt x="99689" y="48406"/>
                      </a:lnTo>
                      <a:lnTo>
                        <a:pt x="102089" y="51083"/>
                      </a:lnTo>
                      <a:lnTo>
                        <a:pt x="101594" y="52359"/>
                      </a:lnTo>
                      <a:lnTo>
                        <a:pt x="99832" y="53092"/>
                      </a:lnTo>
                      <a:lnTo>
                        <a:pt x="96193" y="53149"/>
                      </a:lnTo>
                      <a:lnTo>
                        <a:pt x="91926" y="53692"/>
                      </a:lnTo>
                      <a:lnTo>
                        <a:pt x="87840" y="55512"/>
                      </a:lnTo>
                      <a:lnTo>
                        <a:pt x="83582" y="57531"/>
                      </a:lnTo>
                      <a:lnTo>
                        <a:pt x="81324" y="58398"/>
                      </a:lnTo>
                      <a:lnTo>
                        <a:pt x="71371" y="61646"/>
                      </a:lnTo>
                      <a:lnTo>
                        <a:pt x="58998" y="65322"/>
                      </a:lnTo>
                      <a:lnTo>
                        <a:pt x="56340" y="65970"/>
                      </a:lnTo>
                      <a:lnTo>
                        <a:pt x="52568" y="67094"/>
                      </a:lnTo>
                      <a:lnTo>
                        <a:pt x="50073" y="68294"/>
                      </a:lnTo>
                      <a:lnTo>
                        <a:pt x="46825" y="69399"/>
                      </a:lnTo>
                      <a:lnTo>
                        <a:pt x="43977" y="69171"/>
                      </a:lnTo>
                      <a:lnTo>
                        <a:pt x="43015" y="67723"/>
                      </a:lnTo>
                      <a:lnTo>
                        <a:pt x="44453" y="66027"/>
                      </a:lnTo>
                      <a:lnTo>
                        <a:pt x="47368" y="64922"/>
                      </a:lnTo>
                      <a:lnTo>
                        <a:pt x="49273" y="64751"/>
                      </a:lnTo>
                      <a:lnTo>
                        <a:pt x="52216" y="64160"/>
                      </a:lnTo>
                      <a:lnTo>
                        <a:pt x="55350" y="63808"/>
                      </a:lnTo>
                      <a:lnTo>
                        <a:pt x="58312" y="62722"/>
                      </a:lnTo>
                      <a:lnTo>
                        <a:pt x="59893" y="61341"/>
                      </a:lnTo>
                      <a:lnTo>
                        <a:pt x="75990" y="54816"/>
                      </a:lnTo>
                      <a:lnTo>
                        <a:pt x="82896" y="50968"/>
                      </a:lnTo>
                      <a:lnTo>
                        <a:pt x="86678" y="47901"/>
                      </a:lnTo>
                      <a:lnTo>
                        <a:pt x="87792" y="46377"/>
                      </a:lnTo>
                      <a:lnTo>
                        <a:pt x="86792" y="45510"/>
                      </a:lnTo>
                      <a:lnTo>
                        <a:pt x="82991" y="44872"/>
                      </a:lnTo>
                      <a:lnTo>
                        <a:pt x="74409" y="46520"/>
                      </a:lnTo>
                      <a:lnTo>
                        <a:pt x="68151" y="48311"/>
                      </a:lnTo>
                      <a:lnTo>
                        <a:pt x="62151" y="50235"/>
                      </a:lnTo>
                      <a:lnTo>
                        <a:pt x="55978" y="52473"/>
                      </a:lnTo>
                      <a:lnTo>
                        <a:pt x="55359" y="53149"/>
                      </a:lnTo>
                      <a:lnTo>
                        <a:pt x="53492" y="54559"/>
                      </a:lnTo>
                      <a:lnTo>
                        <a:pt x="50587" y="56721"/>
                      </a:lnTo>
                      <a:lnTo>
                        <a:pt x="48835" y="58407"/>
                      </a:lnTo>
                      <a:lnTo>
                        <a:pt x="47311" y="59893"/>
                      </a:lnTo>
                      <a:lnTo>
                        <a:pt x="46263" y="60998"/>
                      </a:lnTo>
                      <a:lnTo>
                        <a:pt x="44596" y="61617"/>
                      </a:lnTo>
                      <a:lnTo>
                        <a:pt x="42767" y="62027"/>
                      </a:lnTo>
                      <a:lnTo>
                        <a:pt x="41100" y="62751"/>
                      </a:lnTo>
                      <a:lnTo>
                        <a:pt x="36290" y="64065"/>
                      </a:lnTo>
                      <a:lnTo>
                        <a:pt x="32747" y="65151"/>
                      </a:lnTo>
                      <a:lnTo>
                        <a:pt x="23031" y="63198"/>
                      </a:lnTo>
                      <a:lnTo>
                        <a:pt x="16935" y="61779"/>
                      </a:lnTo>
                      <a:lnTo>
                        <a:pt x="7610" y="60341"/>
                      </a:lnTo>
                      <a:lnTo>
                        <a:pt x="5991" y="60274"/>
                      </a:lnTo>
                      <a:lnTo>
                        <a:pt x="6506" y="59150"/>
                      </a:lnTo>
                      <a:lnTo>
                        <a:pt x="8144" y="58112"/>
                      </a:lnTo>
                      <a:lnTo>
                        <a:pt x="10849" y="57636"/>
                      </a:lnTo>
                      <a:lnTo>
                        <a:pt x="14840" y="57121"/>
                      </a:lnTo>
                      <a:lnTo>
                        <a:pt x="24232" y="55169"/>
                      </a:lnTo>
                      <a:lnTo>
                        <a:pt x="28127" y="53140"/>
                      </a:lnTo>
                      <a:lnTo>
                        <a:pt x="30099" y="51064"/>
                      </a:lnTo>
                      <a:lnTo>
                        <a:pt x="29870" y="48587"/>
                      </a:lnTo>
                      <a:lnTo>
                        <a:pt x="33499" y="47187"/>
                      </a:lnTo>
                      <a:lnTo>
                        <a:pt x="39633" y="45406"/>
                      </a:lnTo>
                      <a:lnTo>
                        <a:pt x="46501" y="43244"/>
                      </a:lnTo>
                      <a:lnTo>
                        <a:pt x="53188" y="40234"/>
                      </a:lnTo>
                      <a:lnTo>
                        <a:pt x="56112" y="38186"/>
                      </a:lnTo>
                      <a:lnTo>
                        <a:pt x="51835" y="34204"/>
                      </a:lnTo>
                      <a:lnTo>
                        <a:pt x="52740" y="32871"/>
                      </a:lnTo>
                      <a:lnTo>
                        <a:pt x="56959" y="32214"/>
                      </a:lnTo>
                      <a:lnTo>
                        <a:pt x="63122" y="33166"/>
                      </a:lnTo>
                      <a:lnTo>
                        <a:pt x="68799" y="34071"/>
                      </a:lnTo>
                      <a:lnTo>
                        <a:pt x="75657" y="33785"/>
                      </a:lnTo>
                      <a:lnTo>
                        <a:pt x="81029" y="32385"/>
                      </a:lnTo>
                      <a:lnTo>
                        <a:pt x="83620" y="30718"/>
                      </a:lnTo>
                      <a:lnTo>
                        <a:pt x="84125" y="29527"/>
                      </a:lnTo>
                      <a:lnTo>
                        <a:pt x="79419" y="28575"/>
                      </a:lnTo>
                      <a:lnTo>
                        <a:pt x="77533" y="26813"/>
                      </a:lnTo>
                      <a:lnTo>
                        <a:pt x="70075" y="25051"/>
                      </a:lnTo>
                      <a:lnTo>
                        <a:pt x="63398" y="24517"/>
                      </a:lnTo>
                      <a:lnTo>
                        <a:pt x="56579" y="24527"/>
                      </a:lnTo>
                      <a:lnTo>
                        <a:pt x="50721" y="24394"/>
                      </a:lnTo>
                      <a:lnTo>
                        <a:pt x="49559" y="25479"/>
                      </a:lnTo>
                      <a:lnTo>
                        <a:pt x="48682" y="26984"/>
                      </a:lnTo>
                      <a:lnTo>
                        <a:pt x="46187" y="28461"/>
                      </a:lnTo>
                      <a:lnTo>
                        <a:pt x="44234" y="29280"/>
                      </a:lnTo>
                      <a:lnTo>
                        <a:pt x="43253" y="30137"/>
                      </a:lnTo>
                      <a:lnTo>
                        <a:pt x="42253" y="30747"/>
                      </a:lnTo>
                      <a:lnTo>
                        <a:pt x="41739" y="30413"/>
                      </a:lnTo>
                      <a:lnTo>
                        <a:pt x="42005" y="29166"/>
                      </a:lnTo>
                      <a:lnTo>
                        <a:pt x="38595" y="28165"/>
                      </a:lnTo>
                      <a:lnTo>
                        <a:pt x="34900" y="28042"/>
                      </a:lnTo>
                      <a:lnTo>
                        <a:pt x="30032" y="28480"/>
                      </a:lnTo>
                      <a:lnTo>
                        <a:pt x="23955" y="28327"/>
                      </a:lnTo>
                      <a:lnTo>
                        <a:pt x="20155" y="27480"/>
                      </a:lnTo>
                      <a:lnTo>
                        <a:pt x="14745" y="27613"/>
                      </a:lnTo>
                      <a:lnTo>
                        <a:pt x="11373" y="28975"/>
                      </a:lnTo>
                      <a:lnTo>
                        <a:pt x="10049" y="30680"/>
                      </a:lnTo>
                      <a:lnTo>
                        <a:pt x="8439" y="31937"/>
                      </a:lnTo>
                      <a:lnTo>
                        <a:pt x="7001" y="32223"/>
                      </a:lnTo>
                      <a:lnTo>
                        <a:pt x="6820" y="31642"/>
                      </a:lnTo>
                      <a:lnTo>
                        <a:pt x="6048" y="31175"/>
                      </a:lnTo>
                      <a:lnTo>
                        <a:pt x="3477" y="32585"/>
                      </a:lnTo>
                      <a:lnTo>
                        <a:pt x="1086" y="34280"/>
                      </a:lnTo>
                      <a:lnTo>
                        <a:pt x="57" y="33499"/>
                      </a:lnTo>
                      <a:lnTo>
                        <a:pt x="0" y="32109"/>
                      </a:lnTo>
                      <a:lnTo>
                        <a:pt x="210" y="30632"/>
                      </a:lnTo>
                      <a:lnTo>
                        <a:pt x="1810" y="27480"/>
                      </a:lnTo>
                      <a:lnTo>
                        <a:pt x="5258" y="24622"/>
                      </a:lnTo>
                      <a:lnTo>
                        <a:pt x="11925" y="23622"/>
                      </a:lnTo>
                      <a:lnTo>
                        <a:pt x="16526" y="23803"/>
                      </a:lnTo>
                      <a:lnTo>
                        <a:pt x="18031" y="23736"/>
                      </a:lnTo>
                      <a:lnTo>
                        <a:pt x="21727" y="22698"/>
                      </a:lnTo>
                      <a:lnTo>
                        <a:pt x="44072" y="18964"/>
                      </a:lnTo>
                      <a:lnTo>
                        <a:pt x="55283" y="16145"/>
                      </a:lnTo>
                      <a:lnTo>
                        <a:pt x="55778" y="16326"/>
                      </a:lnTo>
                      <a:lnTo>
                        <a:pt x="54959" y="17221"/>
                      </a:lnTo>
                      <a:lnTo>
                        <a:pt x="55883" y="17516"/>
                      </a:lnTo>
                      <a:lnTo>
                        <a:pt x="58760" y="16850"/>
                      </a:lnTo>
                      <a:lnTo>
                        <a:pt x="63103" y="15640"/>
                      </a:lnTo>
                      <a:lnTo>
                        <a:pt x="70885" y="14792"/>
                      </a:lnTo>
                      <a:lnTo>
                        <a:pt x="72238" y="13554"/>
                      </a:lnTo>
                      <a:lnTo>
                        <a:pt x="74657" y="13583"/>
                      </a:lnTo>
                      <a:lnTo>
                        <a:pt x="75676" y="14049"/>
                      </a:lnTo>
                      <a:lnTo>
                        <a:pt x="85296" y="12402"/>
                      </a:lnTo>
                      <a:lnTo>
                        <a:pt x="95764" y="10096"/>
                      </a:lnTo>
                      <a:lnTo>
                        <a:pt x="97784" y="9782"/>
                      </a:lnTo>
                      <a:lnTo>
                        <a:pt x="100041" y="9125"/>
                      </a:lnTo>
                      <a:lnTo>
                        <a:pt x="107747" y="6210"/>
                      </a:lnTo>
                      <a:lnTo>
                        <a:pt x="121882" y="3867"/>
                      </a:lnTo>
                      <a:lnTo>
                        <a:pt x="124768" y="3143"/>
                      </a:lnTo>
                      <a:lnTo>
                        <a:pt x="134322" y="1629"/>
                      </a:lnTo>
                      <a:lnTo>
                        <a:pt x="137674" y="905"/>
                      </a:lnTo>
                      <a:lnTo>
                        <a:pt x="143475" y="0"/>
                      </a:lnTo>
                      <a:lnTo>
                        <a:pt x="144742" y="791"/>
                      </a:lnTo>
                      <a:lnTo>
                        <a:pt x="144971" y="1238"/>
                      </a:lnTo>
                      <a:lnTo>
                        <a:pt x="146875" y="1172"/>
                      </a:lnTo>
                      <a:lnTo>
                        <a:pt x="151057" y="2000"/>
                      </a:lnTo>
                      <a:lnTo>
                        <a:pt x="155153" y="3038"/>
                      </a:lnTo>
                      <a:lnTo>
                        <a:pt x="156934" y="3791"/>
                      </a:lnTo>
                      <a:lnTo>
                        <a:pt x="151114" y="6315"/>
                      </a:lnTo>
                      <a:lnTo>
                        <a:pt x="141675" y="8934"/>
                      </a:lnTo>
                      <a:lnTo>
                        <a:pt x="135922" y="10487"/>
                      </a:lnTo>
                      <a:lnTo>
                        <a:pt x="129797" y="11582"/>
                      </a:lnTo>
                      <a:lnTo>
                        <a:pt x="127549" y="11830"/>
                      </a:lnTo>
                      <a:lnTo>
                        <a:pt x="126702" y="12459"/>
                      </a:lnTo>
                      <a:lnTo>
                        <a:pt x="124930" y="13516"/>
                      </a:lnTo>
                      <a:lnTo>
                        <a:pt x="122196" y="14545"/>
                      </a:lnTo>
                      <a:lnTo>
                        <a:pt x="118596" y="15507"/>
                      </a:lnTo>
                      <a:lnTo>
                        <a:pt x="118062" y="15831"/>
                      </a:lnTo>
                      <a:lnTo>
                        <a:pt x="117615" y="16907"/>
                      </a:lnTo>
                      <a:lnTo>
                        <a:pt x="116672" y="17621"/>
                      </a:lnTo>
                      <a:lnTo>
                        <a:pt x="114338" y="18078"/>
                      </a:lnTo>
                      <a:lnTo>
                        <a:pt x="111843" y="19145"/>
                      </a:lnTo>
                      <a:lnTo>
                        <a:pt x="111747" y="19983"/>
                      </a:lnTo>
                      <a:lnTo>
                        <a:pt x="116376" y="20098"/>
                      </a:lnTo>
                      <a:lnTo>
                        <a:pt x="120758" y="20460"/>
                      </a:lnTo>
                      <a:lnTo>
                        <a:pt x="121206" y="21231"/>
                      </a:lnTo>
                      <a:lnTo>
                        <a:pt x="124654" y="22117"/>
                      </a:lnTo>
                      <a:lnTo>
                        <a:pt x="125168" y="22622"/>
                      </a:lnTo>
                      <a:lnTo>
                        <a:pt x="127921" y="22746"/>
                      </a:lnTo>
                      <a:lnTo>
                        <a:pt x="129759" y="22460"/>
                      </a:lnTo>
                      <a:lnTo>
                        <a:pt x="131112" y="21784"/>
                      </a:lnTo>
                      <a:lnTo>
                        <a:pt x="139246" y="22155"/>
                      </a:lnTo>
                      <a:lnTo>
                        <a:pt x="147104" y="22003"/>
                      </a:lnTo>
                      <a:lnTo>
                        <a:pt x="150924" y="21479"/>
                      </a:lnTo>
                      <a:lnTo>
                        <a:pt x="158344" y="19879"/>
                      </a:lnTo>
                      <a:lnTo>
                        <a:pt x="162173" y="17936"/>
                      </a:lnTo>
                      <a:lnTo>
                        <a:pt x="165040" y="16202"/>
                      </a:lnTo>
                      <a:lnTo>
                        <a:pt x="171726" y="13497"/>
                      </a:lnTo>
                      <a:lnTo>
                        <a:pt x="176508" y="12306"/>
                      </a:lnTo>
                      <a:lnTo>
                        <a:pt x="179565" y="11659"/>
                      </a:lnTo>
                      <a:lnTo>
                        <a:pt x="180184" y="11687"/>
                      </a:lnTo>
                      <a:lnTo>
                        <a:pt x="179994" y="12211"/>
                      </a:lnTo>
                      <a:lnTo>
                        <a:pt x="179041" y="12859"/>
                      </a:lnTo>
                      <a:lnTo>
                        <a:pt x="178451" y="13659"/>
                      </a:lnTo>
                      <a:lnTo>
                        <a:pt x="176184" y="15069"/>
                      </a:lnTo>
                      <a:lnTo>
                        <a:pt x="171907" y="17097"/>
                      </a:lnTo>
                      <a:lnTo>
                        <a:pt x="170621" y="17917"/>
                      </a:lnTo>
                      <a:lnTo>
                        <a:pt x="170002" y="18621"/>
                      </a:lnTo>
                      <a:close/>
                    </a:path>
                  </a:pathLst>
                </a:custGeom>
                <a:solidFill>
                  <a:srgbClr val="FFFFFF"/>
                </a:solidFill>
                <a:ln w="9525" cap="flat">
                  <a:noFill/>
                  <a:prstDash val="solid"/>
                  <a:miter/>
                </a:ln>
              </p:spPr>
              <p:txBody>
                <a:bodyPr rtlCol="0" anchor="ctr"/>
                <a:lstStyle/>
                <a:p>
                  <a:endParaRPr lang="en-US"/>
                </a:p>
              </p:txBody>
            </p:sp>
            <p:sp>
              <p:nvSpPr>
                <p:cNvPr id="459" name="Freeform: Shape 458">
                  <a:extLst>
                    <a:ext uri="{FF2B5EF4-FFF2-40B4-BE49-F238E27FC236}">
                      <a16:creationId xmlns:a16="http://schemas.microsoft.com/office/drawing/2014/main" id="{9CBFB818-7B9D-41DD-967F-F18D20E62391}"/>
                    </a:ext>
                  </a:extLst>
                </p:cNvPr>
                <p:cNvSpPr/>
                <p:nvPr/>
              </p:nvSpPr>
              <p:spPr>
                <a:xfrm>
                  <a:off x="3422779" y="2963282"/>
                  <a:ext cx="125577" cy="40862"/>
                </a:xfrm>
                <a:custGeom>
                  <a:avLst/>
                  <a:gdLst>
                    <a:gd name="connsiteX0" fmla="*/ 125578 w 125577"/>
                    <a:gd name="connsiteY0" fmla="*/ 352 h 40862"/>
                    <a:gd name="connsiteX1" fmla="*/ 125578 w 125577"/>
                    <a:gd name="connsiteY1" fmla="*/ 352 h 40862"/>
                    <a:gd name="connsiteX2" fmla="*/ 125578 w 125577"/>
                    <a:gd name="connsiteY2" fmla="*/ 352 h 40862"/>
                    <a:gd name="connsiteX3" fmla="*/ 125501 w 125577"/>
                    <a:gd name="connsiteY3" fmla="*/ 1153 h 40862"/>
                    <a:gd name="connsiteX4" fmla="*/ 124673 w 125577"/>
                    <a:gd name="connsiteY4" fmla="*/ 2067 h 40862"/>
                    <a:gd name="connsiteX5" fmla="*/ 123082 w 125577"/>
                    <a:gd name="connsiteY5" fmla="*/ 3096 h 40862"/>
                    <a:gd name="connsiteX6" fmla="*/ 108995 w 125577"/>
                    <a:gd name="connsiteY6" fmla="*/ 9839 h 40862"/>
                    <a:gd name="connsiteX7" fmla="*/ 104765 w 125577"/>
                    <a:gd name="connsiteY7" fmla="*/ 12268 h 40862"/>
                    <a:gd name="connsiteX8" fmla="*/ 105289 w 125577"/>
                    <a:gd name="connsiteY8" fmla="*/ 13640 h 40862"/>
                    <a:gd name="connsiteX9" fmla="*/ 105108 w 125577"/>
                    <a:gd name="connsiteY9" fmla="*/ 14249 h 40862"/>
                    <a:gd name="connsiteX10" fmla="*/ 105842 w 125577"/>
                    <a:gd name="connsiteY10" fmla="*/ 14145 h 40862"/>
                    <a:gd name="connsiteX11" fmla="*/ 108633 w 125577"/>
                    <a:gd name="connsiteY11" fmla="*/ 12973 h 40862"/>
                    <a:gd name="connsiteX12" fmla="*/ 109233 w 125577"/>
                    <a:gd name="connsiteY12" fmla="*/ 13106 h 40862"/>
                    <a:gd name="connsiteX13" fmla="*/ 109404 w 125577"/>
                    <a:gd name="connsiteY13" fmla="*/ 13421 h 40862"/>
                    <a:gd name="connsiteX14" fmla="*/ 109252 w 125577"/>
                    <a:gd name="connsiteY14" fmla="*/ 14173 h 40862"/>
                    <a:gd name="connsiteX15" fmla="*/ 107613 w 125577"/>
                    <a:gd name="connsiteY15" fmla="*/ 15497 h 40862"/>
                    <a:gd name="connsiteX16" fmla="*/ 107928 w 125577"/>
                    <a:gd name="connsiteY16" fmla="*/ 15802 h 40862"/>
                    <a:gd name="connsiteX17" fmla="*/ 110052 w 125577"/>
                    <a:gd name="connsiteY17" fmla="*/ 15507 h 40862"/>
                    <a:gd name="connsiteX18" fmla="*/ 110833 w 125577"/>
                    <a:gd name="connsiteY18" fmla="*/ 15650 h 40862"/>
                    <a:gd name="connsiteX19" fmla="*/ 109614 w 125577"/>
                    <a:gd name="connsiteY19" fmla="*/ 16650 h 40862"/>
                    <a:gd name="connsiteX20" fmla="*/ 108290 w 125577"/>
                    <a:gd name="connsiteY20" fmla="*/ 17288 h 40862"/>
                    <a:gd name="connsiteX21" fmla="*/ 107833 w 125577"/>
                    <a:gd name="connsiteY21" fmla="*/ 17907 h 40862"/>
                    <a:gd name="connsiteX22" fmla="*/ 105575 w 125577"/>
                    <a:gd name="connsiteY22" fmla="*/ 19555 h 40862"/>
                    <a:gd name="connsiteX23" fmla="*/ 104765 w 125577"/>
                    <a:gd name="connsiteY23" fmla="*/ 19888 h 40862"/>
                    <a:gd name="connsiteX24" fmla="*/ 104489 w 125577"/>
                    <a:gd name="connsiteY24" fmla="*/ 19669 h 40862"/>
                    <a:gd name="connsiteX25" fmla="*/ 104937 w 125577"/>
                    <a:gd name="connsiteY25" fmla="*/ 18926 h 40862"/>
                    <a:gd name="connsiteX26" fmla="*/ 103156 w 125577"/>
                    <a:gd name="connsiteY26" fmla="*/ 19717 h 40862"/>
                    <a:gd name="connsiteX27" fmla="*/ 102756 w 125577"/>
                    <a:gd name="connsiteY27" fmla="*/ 20364 h 40862"/>
                    <a:gd name="connsiteX28" fmla="*/ 103289 w 125577"/>
                    <a:gd name="connsiteY28" fmla="*/ 20984 h 40862"/>
                    <a:gd name="connsiteX29" fmla="*/ 103489 w 125577"/>
                    <a:gd name="connsiteY29" fmla="*/ 21936 h 40862"/>
                    <a:gd name="connsiteX30" fmla="*/ 103346 w 125577"/>
                    <a:gd name="connsiteY30" fmla="*/ 23222 h 40862"/>
                    <a:gd name="connsiteX31" fmla="*/ 102308 w 125577"/>
                    <a:gd name="connsiteY31" fmla="*/ 25984 h 40862"/>
                    <a:gd name="connsiteX32" fmla="*/ 102337 w 125577"/>
                    <a:gd name="connsiteY32" fmla="*/ 26527 h 40862"/>
                    <a:gd name="connsiteX33" fmla="*/ 102337 w 125577"/>
                    <a:gd name="connsiteY33" fmla="*/ 26784 h 40862"/>
                    <a:gd name="connsiteX34" fmla="*/ 102060 w 125577"/>
                    <a:gd name="connsiteY34" fmla="*/ 27099 h 40862"/>
                    <a:gd name="connsiteX35" fmla="*/ 101632 w 125577"/>
                    <a:gd name="connsiteY35" fmla="*/ 27737 h 40862"/>
                    <a:gd name="connsiteX36" fmla="*/ 101670 w 125577"/>
                    <a:gd name="connsiteY36" fmla="*/ 28318 h 40862"/>
                    <a:gd name="connsiteX37" fmla="*/ 101117 w 125577"/>
                    <a:gd name="connsiteY37" fmla="*/ 28994 h 40862"/>
                    <a:gd name="connsiteX38" fmla="*/ 99974 w 125577"/>
                    <a:gd name="connsiteY38" fmla="*/ 29756 h 40862"/>
                    <a:gd name="connsiteX39" fmla="*/ 98203 w 125577"/>
                    <a:gd name="connsiteY39" fmla="*/ 30166 h 40862"/>
                    <a:gd name="connsiteX40" fmla="*/ 95821 w 125577"/>
                    <a:gd name="connsiteY40" fmla="*/ 30242 h 40862"/>
                    <a:gd name="connsiteX41" fmla="*/ 92793 w 125577"/>
                    <a:gd name="connsiteY41" fmla="*/ 31118 h 40862"/>
                    <a:gd name="connsiteX42" fmla="*/ 89116 w 125577"/>
                    <a:gd name="connsiteY42" fmla="*/ 32795 h 40862"/>
                    <a:gd name="connsiteX43" fmla="*/ 86411 w 125577"/>
                    <a:gd name="connsiteY43" fmla="*/ 34338 h 40862"/>
                    <a:gd name="connsiteX44" fmla="*/ 84696 w 125577"/>
                    <a:gd name="connsiteY44" fmla="*/ 35728 h 40862"/>
                    <a:gd name="connsiteX45" fmla="*/ 83629 w 125577"/>
                    <a:gd name="connsiteY45" fmla="*/ 36309 h 40862"/>
                    <a:gd name="connsiteX46" fmla="*/ 83220 w 125577"/>
                    <a:gd name="connsiteY46" fmla="*/ 36081 h 40862"/>
                    <a:gd name="connsiteX47" fmla="*/ 78781 w 125577"/>
                    <a:gd name="connsiteY47" fmla="*/ 37214 h 40862"/>
                    <a:gd name="connsiteX48" fmla="*/ 77029 w 125577"/>
                    <a:gd name="connsiteY48" fmla="*/ 37976 h 40862"/>
                    <a:gd name="connsiteX49" fmla="*/ 76352 w 125577"/>
                    <a:gd name="connsiteY49" fmla="*/ 38671 h 40862"/>
                    <a:gd name="connsiteX50" fmla="*/ 75933 w 125577"/>
                    <a:gd name="connsiteY50" fmla="*/ 38805 h 40862"/>
                    <a:gd name="connsiteX51" fmla="*/ 75762 w 125577"/>
                    <a:gd name="connsiteY51" fmla="*/ 38376 h 40862"/>
                    <a:gd name="connsiteX52" fmla="*/ 73123 w 125577"/>
                    <a:gd name="connsiteY52" fmla="*/ 38043 h 40862"/>
                    <a:gd name="connsiteX53" fmla="*/ 67999 w 125577"/>
                    <a:gd name="connsiteY53" fmla="*/ 37833 h 40862"/>
                    <a:gd name="connsiteX54" fmla="*/ 63827 w 125577"/>
                    <a:gd name="connsiteY54" fmla="*/ 38043 h 40862"/>
                    <a:gd name="connsiteX55" fmla="*/ 60569 w 125577"/>
                    <a:gd name="connsiteY55" fmla="*/ 38681 h 40862"/>
                    <a:gd name="connsiteX56" fmla="*/ 58150 w 125577"/>
                    <a:gd name="connsiteY56" fmla="*/ 38319 h 40862"/>
                    <a:gd name="connsiteX57" fmla="*/ 56540 w 125577"/>
                    <a:gd name="connsiteY57" fmla="*/ 36928 h 40862"/>
                    <a:gd name="connsiteX58" fmla="*/ 53473 w 125577"/>
                    <a:gd name="connsiteY58" fmla="*/ 35852 h 40862"/>
                    <a:gd name="connsiteX59" fmla="*/ 44872 w 125577"/>
                    <a:gd name="connsiteY59" fmla="*/ 34671 h 40862"/>
                    <a:gd name="connsiteX60" fmla="*/ 37081 w 125577"/>
                    <a:gd name="connsiteY60" fmla="*/ 34890 h 40862"/>
                    <a:gd name="connsiteX61" fmla="*/ 30385 w 125577"/>
                    <a:gd name="connsiteY61" fmla="*/ 35709 h 40862"/>
                    <a:gd name="connsiteX62" fmla="*/ 19355 w 125577"/>
                    <a:gd name="connsiteY62" fmla="*/ 38110 h 40862"/>
                    <a:gd name="connsiteX63" fmla="*/ 14354 w 125577"/>
                    <a:gd name="connsiteY63" fmla="*/ 39462 h 40862"/>
                    <a:gd name="connsiteX64" fmla="*/ 11716 w 125577"/>
                    <a:gd name="connsiteY64" fmla="*/ 40557 h 40862"/>
                    <a:gd name="connsiteX65" fmla="*/ 10316 w 125577"/>
                    <a:gd name="connsiteY65" fmla="*/ 40862 h 40862"/>
                    <a:gd name="connsiteX66" fmla="*/ 8734 w 125577"/>
                    <a:gd name="connsiteY66" fmla="*/ 40519 h 40862"/>
                    <a:gd name="connsiteX67" fmla="*/ 5305 w 125577"/>
                    <a:gd name="connsiteY67" fmla="*/ 40491 h 40862"/>
                    <a:gd name="connsiteX68" fmla="*/ 2677 w 125577"/>
                    <a:gd name="connsiteY68" fmla="*/ 39691 h 40862"/>
                    <a:gd name="connsiteX69" fmla="*/ 505 w 125577"/>
                    <a:gd name="connsiteY69" fmla="*/ 39129 h 40862"/>
                    <a:gd name="connsiteX70" fmla="*/ 0 w 125577"/>
                    <a:gd name="connsiteY70" fmla="*/ 37605 h 40862"/>
                    <a:gd name="connsiteX71" fmla="*/ 257 w 125577"/>
                    <a:gd name="connsiteY71" fmla="*/ 37014 h 40862"/>
                    <a:gd name="connsiteX72" fmla="*/ 5458 w 125577"/>
                    <a:gd name="connsiteY72" fmla="*/ 32833 h 40862"/>
                    <a:gd name="connsiteX73" fmla="*/ 7629 w 125577"/>
                    <a:gd name="connsiteY73" fmla="*/ 30928 h 40862"/>
                    <a:gd name="connsiteX74" fmla="*/ 8582 w 125577"/>
                    <a:gd name="connsiteY74" fmla="*/ 29718 h 40862"/>
                    <a:gd name="connsiteX75" fmla="*/ 9725 w 125577"/>
                    <a:gd name="connsiteY75" fmla="*/ 28880 h 40862"/>
                    <a:gd name="connsiteX76" fmla="*/ 12135 w 125577"/>
                    <a:gd name="connsiteY76" fmla="*/ 27823 h 40862"/>
                    <a:gd name="connsiteX77" fmla="*/ 13002 w 125577"/>
                    <a:gd name="connsiteY77" fmla="*/ 27070 h 40862"/>
                    <a:gd name="connsiteX78" fmla="*/ 14097 w 125577"/>
                    <a:gd name="connsiteY78" fmla="*/ 26718 h 40862"/>
                    <a:gd name="connsiteX79" fmla="*/ 15421 w 125577"/>
                    <a:gd name="connsiteY79" fmla="*/ 26775 h 40862"/>
                    <a:gd name="connsiteX80" fmla="*/ 18631 w 125577"/>
                    <a:gd name="connsiteY80" fmla="*/ 25384 h 40862"/>
                    <a:gd name="connsiteX81" fmla="*/ 23717 w 125577"/>
                    <a:gd name="connsiteY81" fmla="*/ 22546 h 40862"/>
                    <a:gd name="connsiteX82" fmla="*/ 27384 w 125577"/>
                    <a:gd name="connsiteY82" fmla="*/ 20803 h 40862"/>
                    <a:gd name="connsiteX83" fmla="*/ 29642 w 125577"/>
                    <a:gd name="connsiteY83" fmla="*/ 20155 h 40862"/>
                    <a:gd name="connsiteX84" fmla="*/ 35262 w 125577"/>
                    <a:gd name="connsiteY84" fmla="*/ 19498 h 40862"/>
                    <a:gd name="connsiteX85" fmla="*/ 39005 w 125577"/>
                    <a:gd name="connsiteY85" fmla="*/ 18679 h 40862"/>
                    <a:gd name="connsiteX86" fmla="*/ 41538 w 125577"/>
                    <a:gd name="connsiteY86" fmla="*/ 18383 h 40862"/>
                    <a:gd name="connsiteX87" fmla="*/ 42872 w 125577"/>
                    <a:gd name="connsiteY87" fmla="*/ 18602 h 40862"/>
                    <a:gd name="connsiteX88" fmla="*/ 45253 w 125577"/>
                    <a:gd name="connsiteY88" fmla="*/ 18269 h 40862"/>
                    <a:gd name="connsiteX89" fmla="*/ 48692 w 125577"/>
                    <a:gd name="connsiteY89" fmla="*/ 17355 h 40862"/>
                    <a:gd name="connsiteX90" fmla="*/ 53035 w 125577"/>
                    <a:gd name="connsiteY90" fmla="*/ 16697 h 40862"/>
                    <a:gd name="connsiteX91" fmla="*/ 58293 w 125577"/>
                    <a:gd name="connsiteY91" fmla="*/ 16269 h 40862"/>
                    <a:gd name="connsiteX92" fmla="*/ 61732 w 125577"/>
                    <a:gd name="connsiteY92" fmla="*/ 15802 h 40862"/>
                    <a:gd name="connsiteX93" fmla="*/ 63379 w 125577"/>
                    <a:gd name="connsiteY93" fmla="*/ 15269 h 40862"/>
                    <a:gd name="connsiteX94" fmla="*/ 66142 w 125577"/>
                    <a:gd name="connsiteY94" fmla="*/ 15307 h 40862"/>
                    <a:gd name="connsiteX95" fmla="*/ 66980 w 125577"/>
                    <a:gd name="connsiteY95" fmla="*/ 14554 h 40862"/>
                    <a:gd name="connsiteX96" fmla="*/ 67885 w 125577"/>
                    <a:gd name="connsiteY96" fmla="*/ 14183 h 40862"/>
                    <a:gd name="connsiteX97" fmla="*/ 70456 w 125577"/>
                    <a:gd name="connsiteY97" fmla="*/ 14383 h 40862"/>
                    <a:gd name="connsiteX98" fmla="*/ 71180 w 125577"/>
                    <a:gd name="connsiteY98" fmla="*/ 14811 h 40862"/>
                    <a:gd name="connsiteX99" fmla="*/ 71180 w 125577"/>
                    <a:gd name="connsiteY99" fmla="*/ 15135 h 40862"/>
                    <a:gd name="connsiteX100" fmla="*/ 70428 w 125577"/>
                    <a:gd name="connsiteY100" fmla="*/ 15354 h 40862"/>
                    <a:gd name="connsiteX101" fmla="*/ 70542 w 125577"/>
                    <a:gd name="connsiteY101" fmla="*/ 15897 h 40862"/>
                    <a:gd name="connsiteX102" fmla="*/ 71514 w 125577"/>
                    <a:gd name="connsiteY102" fmla="*/ 16774 h 40862"/>
                    <a:gd name="connsiteX103" fmla="*/ 73609 w 125577"/>
                    <a:gd name="connsiteY103" fmla="*/ 17040 h 40862"/>
                    <a:gd name="connsiteX104" fmla="*/ 76476 w 125577"/>
                    <a:gd name="connsiteY104" fmla="*/ 16478 h 40862"/>
                    <a:gd name="connsiteX105" fmla="*/ 78134 w 125577"/>
                    <a:gd name="connsiteY105" fmla="*/ 16716 h 40862"/>
                    <a:gd name="connsiteX106" fmla="*/ 77505 w 125577"/>
                    <a:gd name="connsiteY106" fmla="*/ 17107 h 40862"/>
                    <a:gd name="connsiteX107" fmla="*/ 76562 w 125577"/>
                    <a:gd name="connsiteY107" fmla="*/ 17097 h 40862"/>
                    <a:gd name="connsiteX108" fmla="*/ 76362 w 125577"/>
                    <a:gd name="connsiteY108" fmla="*/ 17278 h 40862"/>
                    <a:gd name="connsiteX109" fmla="*/ 76695 w 125577"/>
                    <a:gd name="connsiteY109" fmla="*/ 18031 h 40862"/>
                    <a:gd name="connsiteX110" fmla="*/ 77276 w 125577"/>
                    <a:gd name="connsiteY110" fmla="*/ 18069 h 40862"/>
                    <a:gd name="connsiteX111" fmla="*/ 79753 w 125577"/>
                    <a:gd name="connsiteY111" fmla="*/ 17250 h 40862"/>
                    <a:gd name="connsiteX112" fmla="*/ 79734 w 125577"/>
                    <a:gd name="connsiteY112" fmla="*/ 17574 h 40862"/>
                    <a:gd name="connsiteX113" fmla="*/ 78257 w 125577"/>
                    <a:gd name="connsiteY113" fmla="*/ 18764 h 40862"/>
                    <a:gd name="connsiteX114" fmla="*/ 78210 w 125577"/>
                    <a:gd name="connsiteY114" fmla="*/ 19507 h 40862"/>
                    <a:gd name="connsiteX115" fmla="*/ 79610 w 125577"/>
                    <a:gd name="connsiteY115" fmla="*/ 19812 h 40862"/>
                    <a:gd name="connsiteX116" fmla="*/ 82477 w 125577"/>
                    <a:gd name="connsiteY116" fmla="*/ 19288 h 40862"/>
                    <a:gd name="connsiteX117" fmla="*/ 86420 w 125577"/>
                    <a:gd name="connsiteY117" fmla="*/ 17821 h 40862"/>
                    <a:gd name="connsiteX118" fmla="*/ 88106 w 125577"/>
                    <a:gd name="connsiteY118" fmla="*/ 17402 h 40862"/>
                    <a:gd name="connsiteX119" fmla="*/ 88668 w 125577"/>
                    <a:gd name="connsiteY119" fmla="*/ 16707 h 40862"/>
                    <a:gd name="connsiteX120" fmla="*/ 87592 w 125577"/>
                    <a:gd name="connsiteY120" fmla="*/ 16707 h 40862"/>
                    <a:gd name="connsiteX121" fmla="*/ 84677 w 125577"/>
                    <a:gd name="connsiteY121" fmla="*/ 16964 h 40862"/>
                    <a:gd name="connsiteX122" fmla="*/ 83687 w 125577"/>
                    <a:gd name="connsiteY122" fmla="*/ 17402 h 40862"/>
                    <a:gd name="connsiteX123" fmla="*/ 83782 w 125577"/>
                    <a:gd name="connsiteY123" fmla="*/ 17116 h 40862"/>
                    <a:gd name="connsiteX124" fmla="*/ 84839 w 125577"/>
                    <a:gd name="connsiteY124" fmla="*/ 16002 h 40862"/>
                    <a:gd name="connsiteX125" fmla="*/ 88135 w 125577"/>
                    <a:gd name="connsiteY125" fmla="*/ 14392 h 40862"/>
                    <a:gd name="connsiteX126" fmla="*/ 89697 w 125577"/>
                    <a:gd name="connsiteY126" fmla="*/ 13459 h 40862"/>
                    <a:gd name="connsiteX127" fmla="*/ 90859 w 125577"/>
                    <a:gd name="connsiteY127" fmla="*/ 12459 h 40862"/>
                    <a:gd name="connsiteX128" fmla="*/ 90116 w 125577"/>
                    <a:gd name="connsiteY128" fmla="*/ 12478 h 40862"/>
                    <a:gd name="connsiteX129" fmla="*/ 87478 w 125577"/>
                    <a:gd name="connsiteY129" fmla="*/ 13516 h 40862"/>
                    <a:gd name="connsiteX130" fmla="*/ 85296 w 125577"/>
                    <a:gd name="connsiteY130" fmla="*/ 14078 h 40862"/>
                    <a:gd name="connsiteX131" fmla="*/ 83572 w 125577"/>
                    <a:gd name="connsiteY131" fmla="*/ 14145 h 40862"/>
                    <a:gd name="connsiteX132" fmla="*/ 83668 w 125577"/>
                    <a:gd name="connsiteY132" fmla="*/ 13106 h 40862"/>
                    <a:gd name="connsiteX133" fmla="*/ 85601 w 125577"/>
                    <a:gd name="connsiteY133" fmla="*/ 10935 h 40862"/>
                    <a:gd name="connsiteX134" fmla="*/ 85106 w 125577"/>
                    <a:gd name="connsiteY134" fmla="*/ 10154 h 40862"/>
                    <a:gd name="connsiteX135" fmla="*/ 80362 w 125577"/>
                    <a:gd name="connsiteY135" fmla="*/ 11230 h 40862"/>
                    <a:gd name="connsiteX136" fmla="*/ 79696 w 125577"/>
                    <a:gd name="connsiteY136" fmla="*/ 11601 h 40862"/>
                    <a:gd name="connsiteX137" fmla="*/ 79543 w 125577"/>
                    <a:gd name="connsiteY137" fmla="*/ 11897 h 40862"/>
                    <a:gd name="connsiteX138" fmla="*/ 79905 w 125577"/>
                    <a:gd name="connsiteY138" fmla="*/ 12116 h 40862"/>
                    <a:gd name="connsiteX139" fmla="*/ 79753 w 125577"/>
                    <a:gd name="connsiteY139" fmla="*/ 12316 h 40862"/>
                    <a:gd name="connsiteX140" fmla="*/ 79096 w 125577"/>
                    <a:gd name="connsiteY140" fmla="*/ 12516 h 40862"/>
                    <a:gd name="connsiteX141" fmla="*/ 78229 w 125577"/>
                    <a:gd name="connsiteY141" fmla="*/ 12316 h 40862"/>
                    <a:gd name="connsiteX142" fmla="*/ 78457 w 125577"/>
                    <a:gd name="connsiteY142" fmla="*/ 11849 h 40862"/>
                    <a:gd name="connsiteX143" fmla="*/ 79277 w 125577"/>
                    <a:gd name="connsiteY143" fmla="*/ 11106 h 40862"/>
                    <a:gd name="connsiteX144" fmla="*/ 78915 w 125577"/>
                    <a:gd name="connsiteY144" fmla="*/ 10782 h 40862"/>
                    <a:gd name="connsiteX145" fmla="*/ 77514 w 125577"/>
                    <a:gd name="connsiteY145" fmla="*/ 11011 h 40862"/>
                    <a:gd name="connsiteX146" fmla="*/ 75533 w 125577"/>
                    <a:gd name="connsiteY146" fmla="*/ 11487 h 40862"/>
                    <a:gd name="connsiteX147" fmla="*/ 71057 w 125577"/>
                    <a:gd name="connsiteY147" fmla="*/ 12944 h 40862"/>
                    <a:gd name="connsiteX148" fmla="*/ 71247 w 125577"/>
                    <a:gd name="connsiteY148" fmla="*/ 12630 h 40862"/>
                    <a:gd name="connsiteX149" fmla="*/ 72685 w 125577"/>
                    <a:gd name="connsiteY149" fmla="*/ 11697 h 40862"/>
                    <a:gd name="connsiteX150" fmla="*/ 77267 w 125577"/>
                    <a:gd name="connsiteY150" fmla="*/ 10535 h 40862"/>
                    <a:gd name="connsiteX151" fmla="*/ 79486 w 125577"/>
                    <a:gd name="connsiteY151" fmla="*/ 9982 h 40862"/>
                    <a:gd name="connsiteX152" fmla="*/ 80696 w 125577"/>
                    <a:gd name="connsiteY152" fmla="*/ 10058 h 40862"/>
                    <a:gd name="connsiteX153" fmla="*/ 81667 w 125577"/>
                    <a:gd name="connsiteY153" fmla="*/ 9639 h 40862"/>
                    <a:gd name="connsiteX154" fmla="*/ 82353 w 125577"/>
                    <a:gd name="connsiteY154" fmla="*/ 9649 h 40862"/>
                    <a:gd name="connsiteX155" fmla="*/ 82753 w 125577"/>
                    <a:gd name="connsiteY155" fmla="*/ 10068 h 40862"/>
                    <a:gd name="connsiteX156" fmla="*/ 84334 w 125577"/>
                    <a:gd name="connsiteY156" fmla="*/ 9896 h 40862"/>
                    <a:gd name="connsiteX157" fmla="*/ 87106 w 125577"/>
                    <a:gd name="connsiteY157" fmla="*/ 9125 h 40862"/>
                    <a:gd name="connsiteX158" fmla="*/ 88021 w 125577"/>
                    <a:gd name="connsiteY158" fmla="*/ 9382 h 40862"/>
                    <a:gd name="connsiteX159" fmla="*/ 87078 w 125577"/>
                    <a:gd name="connsiteY159" fmla="*/ 10649 h 40862"/>
                    <a:gd name="connsiteX160" fmla="*/ 87649 w 125577"/>
                    <a:gd name="connsiteY160" fmla="*/ 10763 h 40862"/>
                    <a:gd name="connsiteX161" fmla="*/ 89735 w 125577"/>
                    <a:gd name="connsiteY161" fmla="*/ 9716 h 40862"/>
                    <a:gd name="connsiteX162" fmla="*/ 90926 w 125577"/>
                    <a:gd name="connsiteY162" fmla="*/ 9353 h 40862"/>
                    <a:gd name="connsiteX163" fmla="*/ 91240 w 125577"/>
                    <a:gd name="connsiteY163" fmla="*/ 9677 h 40862"/>
                    <a:gd name="connsiteX164" fmla="*/ 87058 w 125577"/>
                    <a:gd name="connsiteY164" fmla="*/ 11392 h 40862"/>
                    <a:gd name="connsiteX165" fmla="*/ 85735 w 125577"/>
                    <a:gd name="connsiteY165" fmla="*/ 12240 h 40862"/>
                    <a:gd name="connsiteX166" fmla="*/ 85325 w 125577"/>
                    <a:gd name="connsiteY166" fmla="*/ 12716 h 40862"/>
                    <a:gd name="connsiteX167" fmla="*/ 85601 w 125577"/>
                    <a:gd name="connsiteY167" fmla="*/ 13345 h 40862"/>
                    <a:gd name="connsiteX168" fmla="*/ 86992 w 125577"/>
                    <a:gd name="connsiteY168" fmla="*/ 13249 h 40862"/>
                    <a:gd name="connsiteX169" fmla="*/ 94116 w 125577"/>
                    <a:gd name="connsiteY169" fmla="*/ 9849 h 40862"/>
                    <a:gd name="connsiteX170" fmla="*/ 97326 w 125577"/>
                    <a:gd name="connsiteY170" fmla="*/ 8725 h 40862"/>
                    <a:gd name="connsiteX171" fmla="*/ 100298 w 125577"/>
                    <a:gd name="connsiteY171" fmla="*/ 8077 h 40862"/>
                    <a:gd name="connsiteX172" fmla="*/ 103041 w 125577"/>
                    <a:gd name="connsiteY172" fmla="*/ 7906 h 40862"/>
                    <a:gd name="connsiteX173" fmla="*/ 105546 w 125577"/>
                    <a:gd name="connsiteY173" fmla="*/ 7315 h 40862"/>
                    <a:gd name="connsiteX174" fmla="*/ 107833 w 125577"/>
                    <a:gd name="connsiteY174" fmla="*/ 6306 h 40862"/>
                    <a:gd name="connsiteX175" fmla="*/ 116548 w 125577"/>
                    <a:gd name="connsiteY175" fmla="*/ 4039 h 40862"/>
                    <a:gd name="connsiteX176" fmla="*/ 120320 w 125577"/>
                    <a:gd name="connsiteY176" fmla="*/ 2648 h 40862"/>
                    <a:gd name="connsiteX177" fmla="*/ 124454 w 125577"/>
                    <a:gd name="connsiteY177" fmla="*/ 143 h 40862"/>
                    <a:gd name="connsiteX178" fmla="*/ 125225 w 125577"/>
                    <a:gd name="connsiteY178" fmla="*/ 0 h 40862"/>
                    <a:gd name="connsiteX179" fmla="*/ 125578 w 125577"/>
                    <a:gd name="connsiteY179" fmla="*/ 352 h 40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25577" h="40862">
                      <a:moveTo>
                        <a:pt x="125578" y="352"/>
                      </a:moveTo>
                      <a:lnTo>
                        <a:pt x="125578" y="352"/>
                      </a:lnTo>
                      <a:lnTo>
                        <a:pt x="125578" y="352"/>
                      </a:lnTo>
                      <a:lnTo>
                        <a:pt x="125501" y="1153"/>
                      </a:lnTo>
                      <a:lnTo>
                        <a:pt x="124673" y="2067"/>
                      </a:lnTo>
                      <a:lnTo>
                        <a:pt x="123082" y="3096"/>
                      </a:lnTo>
                      <a:lnTo>
                        <a:pt x="108995" y="9839"/>
                      </a:lnTo>
                      <a:lnTo>
                        <a:pt x="104765" y="12268"/>
                      </a:lnTo>
                      <a:lnTo>
                        <a:pt x="105289" y="13640"/>
                      </a:lnTo>
                      <a:lnTo>
                        <a:pt x="105108" y="14249"/>
                      </a:lnTo>
                      <a:lnTo>
                        <a:pt x="105842" y="14145"/>
                      </a:lnTo>
                      <a:lnTo>
                        <a:pt x="108633" y="12973"/>
                      </a:lnTo>
                      <a:lnTo>
                        <a:pt x="109233" y="13106"/>
                      </a:lnTo>
                      <a:lnTo>
                        <a:pt x="109404" y="13421"/>
                      </a:lnTo>
                      <a:lnTo>
                        <a:pt x="109252" y="14173"/>
                      </a:lnTo>
                      <a:lnTo>
                        <a:pt x="107613" y="15497"/>
                      </a:lnTo>
                      <a:lnTo>
                        <a:pt x="107928" y="15802"/>
                      </a:lnTo>
                      <a:lnTo>
                        <a:pt x="110052" y="15507"/>
                      </a:lnTo>
                      <a:lnTo>
                        <a:pt x="110833" y="15650"/>
                      </a:lnTo>
                      <a:lnTo>
                        <a:pt x="109614" y="16650"/>
                      </a:lnTo>
                      <a:lnTo>
                        <a:pt x="108290" y="17288"/>
                      </a:lnTo>
                      <a:lnTo>
                        <a:pt x="107833" y="17907"/>
                      </a:lnTo>
                      <a:lnTo>
                        <a:pt x="105575" y="19555"/>
                      </a:lnTo>
                      <a:lnTo>
                        <a:pt x="104765" y="19888"/>
                      </a:lnTo>
                      <a:lnTo>
                        <a:pt x="104489" y="19669"/>
                      </a:lnTo>
                      <a:lnTo>
                        <a:pt x="104937" y="18926"/>
                      </a:lnTo>
                      <a:lnTo>
                        <a:pt x="103156" y="19717"/>
                      </a:lnTo>
                      <a:lnTo>
                        <a:pt x="102756" y="20364"/>
                      </a:lnTo>
                      <a:lnTo>
                        <a:pt x="103289" y="20984"/>
                      </a:lnTo>
                      <a:lnTo>
                        <a:pt x="103489" y="21936"/>
                      </a:lnTo>
                      <a:lnTo>
                        <a:pt x="103346" y="23222"/>
                      </a:lnTo>
                      <a:lnTo>
                        <a:pt x="102308" y="25984"/>
                      </a:lnTo>
                      <a:lnTo>
                        <a:pt x="102337" y="26527"/>
                      </a:lnTo>
                      <a:lnTo>
                        <a:pt x="102337" y="26784"/>
                      </a:lnTo>
                      <a:lnTo>
                        <a:pt x="102060" y="27099"/>
                      </a:lnTo>
                      <a:lnTo>
                        <a:pt x="101632" y="27737"/>
                      </a:lnTo>
                      <a:lnTo>
                        <a:pt x="101670" y="28318"/>
                      </a:lnTo>
                      <a:lnTo>
                        <a:pt x="101117" y="28994"/>
                      </a:lnTo>
                      <a:lnTo>
                        <a:pt x="99974" y="29756"/>
                      </a:lnTo>
                      <a:lnTo>
                        <a:pt x="98203" y="30166"/>
                      </a:lnTo>
                      <a:lnTo>
                        <a:pt x="95821" y="30242"/>
                      </a:lnTo>
                      <a:lnTo>
                        <a:pt x="92793" y="31118"/>
                      </a:lnTo>
                      <a:lnTo>
                        <a:pt x="89116" y="32795"/>
                      </a:lnTo>
                      <a:lnTo>
                        <a:pt x="86411" y="34338"/>
                      </a:lnTo>
                      <a:lnTo>
                        <a:pt x="84696" y="35728"/>
                      </a:lnTo>
                      <a:lnTo>
                        <a:pt x="83629" y="36309"/>
                      </a:lnTo>
                      <a:lnTo>
                        <a:pt x="83220" y="36081"/>
                      </a:lnTo>
                      <a:lnTo>
                        <a:pt x="78781" y="37214"/>
                      </a:lnTo>
                      <a:lnTo>
                        <a:pt x="77029" y="37976"/>
                      </a:lnTo>
                      <a:lnTo>
                        <a:pt x="76352" y="38671"/>
                      </a:lnTo>
                      <a:lnTo>
                        <a:pt x="75933" y="38805"/>
                      </a:lnTo>
                      <a:lnTo>
                        <a:pt x="75762" y="38376"/>
                      </a:lnTo>
                      <a:lnTo>
                        <a:pt x="73123" y="38043"/>
                      </a:lnTo>
                      <a:lnTo>
                        <a:pt x="67999" y="37833"/>
                      </a:lnTo>
                      <a:lnTo>
                        <a:pt x="63827" y="38043"/>
                      </a:lnTo>
                      <a:lnTo>
                        <a:pt x="60569" y="38681"/>
                      </a:lnTo>
                      <a:lnTo>
                        <a:pt x="58150" y="38319"/>
                      </a:lnTo>
                      <a:lnTo>
                        <a:pt x="56540" y="36928"/>
                      </a:lnTo>
                      <a:lnTo>
                        <a:pt x="53473" y="35852"/>
                      </a:lnTo>
                      <a:lnTo>
                        <a:pt x="44872" y="34671"/>
                      </a:lnTo>
                      <a:lnTo>
                        <a:pt x="37081" y="34890"/>
                      </a:lnTo>
                      <a:lnTo>
                        <a:pt x="30385" y="35709"/>
                      </a:lnTo>
                      <a:lnTo>
                        <a:pt x="19355" y="38110"/>
                      </a:lnTo>
                      <a:lnTo>
                        <a:pt x="14354" y="39462"/>
                      </a:lnTo>
                      <a:lnTo>
                        <a:pt x="11716" y="40557"/>
                      </a:lnTo>
                      <a:lnTo>
                        <a:pt x="10316" y="40862"/>
                      </a:lnTo>
                      <a:lnTo>
                        <a:pt x="8734" y="40519"/>
                      </a:lnTo>
                      <a:lnTo>
                        <a:pt x="5305" y="40491"/>
                      </a:lnTo>
                      <a:lnTo>
                        <a:pt x="2677" y="39691"/>
                      </a:lnTo>
                      <a:lnTo>
                        <a:pt x="505" y="39129"/>
                      </a:lnTo>
                      <a:lnTo>
                        <a:pt x="0" y="37605"/>
                      </a:lnTo>
                      <a:lnTo>
                        <a:pt x="257" y="37014"/>
                      </a:lnTo>
                      <a:lnTo>
                        <a:pt x="5458" y="32833"/>
                      </a:lnTo>
                      <a:lnTo>
                        <a:pt x="7629" y="30928"/>
                      </a:lnTo>
                      <a:lnTo>
                        <a:pt x="8582" y="29718"/>
                      </a:lnTo>
                      <a:lnTo>
                        <a:pt x="9725" y="28880"/>
                      </a:lnTo>
                      <a:lnTo>
                        <a:pt x="12135" y="27823"/>
                      </a:lnTo>
                      <a:lnTo>
                        <a:pt x="13002" y="27070"/>
                      </a:lnTo>
                      <a:lnTo>
                        <a:pt x="14097" y="26718"/>
                      </a:lnTo>
                      <a:lnTo>
                        <a:pt x="15421" y="26775"/>
                      </a:lnTo>
                      <a:lnTo>
                        <a:pt x="18631" y="25384"/>
                      </a:lnTo>
                      <a:lnTo>
                        <a:pt x="23717" y="22546"/>
                      </a:lnTo>
                      <a:lnTo>
                        <a:pt x="27384" y="20803"/>
                      </a:lnTo>
                      <a:lnTo>
                        <a:pt x="29642" y="20155"/>
                      </a:lnTo>
                      <a:lnTo>
                        <a:pt x="35262" y="19498"/>
                      </a:lnTo>
                      <a:lnTo>
                        <a:pt x="39005" y="18679"/>
                      </a:lnTo>
                      <a:lnTo>
                        <a:pt x="41538" y="18383"/>
                      </a:lnTo>
                      <a:lnTo>
                        <a:pt x="42872" y="18602"/>
                      </a:lnTo>
                      <a:lnTo>
                        <a:pt x="45253" y="18269"/>
                      </a:lnTo>
                      <a:lnTo>
                        <a:pt x="48692" y="17355"/>
                      </a:lnTo>
                      <a:lnTo>
                        <a:pt x="53035" y="16697"/>
                      </a:lnTo>
                      <a:lnTo>
                        <a:pt x="58293" y="16269"/>
                      </a:lnTo>
                      <a:lnTo>
                        <a:pt x="61732" y="15802"/>
                      </a:lnTo>
                      <a:lnTo>
                        <a:pt x="63379" y="15269"/>
                      </a:lnTo>
                      <a:lnTo>
                        <a:pt x="66142" y="15307"/>
                      </a:lnTo>
                      <a:lnTo>
                        <a:pt x="66980" y="14554"/>
                      </a:lnTo>
                      <a:lnTo>
                        <a:pt x="67885" y="14183"/>
                      </a:lnTo>
                      <a:lnTo>
                        <a:pt x="70456" y="14383"/>
                      </a:lnTo>
                      <a:lnTo>
                        <a:pt x="71180" y="14811"/>
                      </a:lnTo>
                      <a:lnTo>
                        <a:pt x="71180" y="15135"/>
                      </a:lnTo>
                      <a:lnTo>
                        <a:pt x="70428" y="15354"/>
                      </a:lnTo>
                      <a:lnTo>
                        <a:pt x="70542" y="15897"/>
                      </a:lnTo>
                      <a:lnTo>
                        <a:pt x="71514" y="16774"/>
                      </a:lnTo>
                      <a:lnTo>
                        <a:pt x="73609" y="17040"/>
                      </a:lnTo>
                      <a:lnTo>
                        <a:pt x="76476" y="16478"/>
                      </a:lnTo>
                      <a:lnTo>
                        <a:pt x="78134" y="16716"/>
                      </a:lnTo>
                      <a:lnTo>
                        <a:pt x="77505" y="17107"/>
                      </a:lnTo>
                      <a:lnTo>
                        <a:pt x="76562" y="17097"/>
                      </a:lnTo>
                      <a:lnTo>
                        <a:pt x="76362" y="17278"/>
                      </a:lnTo>
                      <a:lnTo>
                        <a:pt x="76695" y="18031"/>
                      </a:lnTo>
                      <a:lnTo>
                        <a:pt x="77276" y="18069"/>
                      </a:lnTo>
                      <a:lnTo>
                        <a:pt x="79753" y="17250"/>
                      </a:lnTo>
                      <a:lnTo>
                        <a:pt x="79734" y="17574"/>
                      </a:lnTo>
                      <a:lnTo>
                        <a:pt x="78257" y="18764"/>
                      </a:lnTo>
                      <a:lnTo>
                        <a:pt x="78210" y="19507"/>
                      </a:lnTo>
                      <a:lnTo>
                        <a:pt x="79610" y="19812"/>
                      </a:lnTo>
                      <a:lnTo>
                        <a:pt x="82477" y="19288"/>
                      </a:lnTo>
                      <a:lnTo>
                        <a:pt x="86420" y="17821"/>
                      </a:lnTo>
                      <a:lnTo>
                        <a:pt x="88106" y="17402"/>
                      </a:lnTo>
                      <a:lnTo>
                        <a:pt x="88668" y="16707"/>
                      </a:lnTo>
                      <a:lnTo>
                        <a:pt x="87592" y="16707"/>
                      </a:lnTo>
                      <a:lnTo>
                        <a:pt x="84677" y="16964"/>
                      </a:lnTo>
                      <a:lnTo>
                        <a:pt x="83687" y="17402"/>
                      </a:lnTo>
                      <a:lnTo>
                        <a:pt x="83782" y="17116"/>
                      </a:lnTo>
                      <a:lnTo>
                        <a:pt x="84839" y="16002"/>
                      </a:lnTo>
                      <a:lnTo>
                        <a:pt x="88135" y="14392"/>
                      </a:lnTo>
                      <a:lnTo>
                        <a:pt x="89697" y="13459"/>
                      </a:lnTo>
                      <a:lnTo>
                        <a:pt x="90859" y="12459"/>
                      </a:lnTo>
                      <a:lnTo>
                        <a:pt x="90116" y="12478"/>
                      </a:lnTo>
                      <a:lnTo>
                        <a:pt x="87478" y="13516"/>
                      </a:lnTo>
                      <a:lnTo>
                        <a:pt x="85296" y="14078"/>
                      </a:lnTo>
                      <a:lnTo>
                        <a:pt x="83572" y="14145"/>
                      </a:lnTo>
                      <a:lnTo>
                        <a:pt x="83668" y="13106"/>
                      </a:lnTo>
                      <a:lnTo>
                        <a:pt x="85601" y="10935"/>
                      </a:lnTo>
                      <a:lnTo>
                        <a:pt x="85106" y="10154"/>
                      </a:lnTo>
                      <a:lnTo>
                        <a:pt x="80362" y="11230"/>
                      </a:lnTo>
                      <a:lnTo>
                        <a:pt x="79696" y="11601"/>
                      </a:lnTo>
                      <a:lnTo>
                        <a:pt x="79543" y="11897"/>
                      </a:lnTo>
                      <a:lnTo>
                        <a:pt x="79905" y="12116"/>
                      </a:lnTo>
                      <a:lnTo>
                        <a:pt x="79753" y="12316"/>
                      </a:lnTo>
                      <a:lnTo>
                        <a:pt x="79096" y="12516"/>
                      </a:lnTo>
                      <a:lnTo>
                        <a:pt x="78229" y="12316"/>
                      </a:lnTo>
                      <a:lnTo>
                        <a:pt x="78457" y="11849"/>
                      </a:lnTo>
                      <a:lnTo>
                        <a:pt x="79277" y="11106"/>
                      </a:lnTo>
                      <a:lnTo>
                        <a:pt x="78915" y="10782"/>
                      </a:lnTo>
                      <a:lnTo>
                        <a:pt x="77514" y="11011"/>
                      </a:lnTo>
                      <a:lnTo>
                        <a:pt x="75533" y="11487"/>
                      </a:lnTo>
                      <a:lnTo>
                        <a:pt x="71057" y="12944"/>
                      </a:lnTo>
                      <a:lnTo>
                        <a:pt x="71247" y="12630"/>
                      </a:lnTo>
                      <a:lnTo>
                        <a:pt x="72685" y="11697"/>
                      </a:lnTo>
                      <a:lnTo>
                        <a:pt x="77267" y="10535"/>
                      </a:lnTo>
                      <a:lnTo>
                        <a:pt x="79486" y="9982"/>
                      </a:lnTo>
                      <a:lnTo>
                        <a:pt x="80696" y="10058"/>
                      </a:lnTo>
                      <a:lnTo>
                        <a:pt x="81667" y="9639"/>
                      </a:lnTo>
                      <a:lnTo>
                        <a:pt x="82353" y="9649"/>
                      </a:lnTo>
                      <a:lnTo>
                        <a:pt x="82753" y="10068"/>
                      </a:lnTo>
                      <a:lnTo>
                        <a:pt x="84334" y="9896"/>
                      </a:lnTo>
                      <a:lnTo>
                        <a:pt x="87106" y="9125"/>
                      </a:lnTo>
                      <a:lnTo>
                        <a:pt x="88021" y="9382"/>
                      </a:lnTo>
                      <a:lnTo>
                        <a:pt x="87078" y="10649"/>
                      </a:lnTo>
                      <a:lnTo>
                        <a:pt x="87649" y="10763"/>
                      </a:lnTo>
                      <a:lnTo>
                        <a:pt x="89735" y="9716"/>
                      </a:lnTo>
                      <a:lnTo>
                        <a:pt x="90926" y="9353"/>
                      </a:lnTo>
                      <a:lnTo>
                        <a:pt x="91240" y="9677"/>
                      </a:lnTo>
                      <a:lnTo>
                        <a:pt x="87058" y="11392"/>
                      </a:lnTo>
                      <a:lnTo>
                        <a:pt x="85735" y="12240"/>
                      </a:lnTo>
                      <a:lnTo>
                        <a:pt x="85325" y="12716"/>
                      </a:lnTo>
                      <a:lnTo>
                        <a:pt x="85601" y="13345"/>
                      </a:lnTo>
                      <a:lnTo>
                        <a:pt x="86992" y="13249"/>
                      </a:lnTo>
                      <a:lnTo>
                        <a:pt x="94116" y="9849"/>
                      </a:lnTo>
                      <a:lnTo>
                        <a:pt x="97326" y="8725"/>
                      </a:lnTo>
                      <a:lnTo>
                        <a:pt x="100298" y="8077"/>
                      </a:lnTo>
                      <a:lnTo>
                        <a:pt x="103041" y="7906"/>
                      </a:lnTo>
                      <a:lnTo>
                        <a:pt x="105546" y="7315"/>
                      </a:lnTo>
                      <a:lnTo>
                        <a:pt x="107833" y="6306"/>
                      </a:lnTo>
                      <a:lnTo>
                        <a:pt x="116548" y="4039"/>
                      </a:lnTo>
                      <a:lnTo>
                        <a:pt x="120320" y="2648"/>
                      </a:lnTo>
                      <a:lnTo>
                        <a:pt x="124454" y="143"/>
                      </a:lnTo>
                      <a:lnTo>
                        <a:pt x="125225" y="0"/>
                      </a:lnTo>
                      <a:lnTo>
                        <a:pt x="125578" y="352"/>
                      </a:lnTo>
                      <a:close/>
                    </a:path>
                  </a:pathLst>
                </a:custGeom>
                <a:solidFill>
                  <a:srgbClr val="FFFFFF"/>
                </a:solidFill>
                <a:ln w="9525" cap="flat">
                  <a:noFill/>
                  <a:prstDash val="solid"/>
                  <a:miter/>
                </a:ln>
              </p:spPr>
              <p:txBody>
                <a:bodyPr rtlCol="0" anchor="ctr"/>
                <a:lstStyle/>
                <a:p>
                  <a:endParaRPr lang="en-US"/>
                </a:p>
              </p:txBody>
            </p:sp>
            <p:sp>
              <p:nvSpPr>
                <p:cNvPr id="460" name="Freeform: Shape 459">
                  <a:extLst>
                    <a:ext uri="{FF2B5EF4-FFF2-40B4-BE49-F238E27FC236}">
                      <a16:creationId xmlns:a16="http://schemas.microsoft.com/office/drawing/2014/main" id="{11E7D411-A2AD-4650-9B30-FF89C305E32A}"/>
                    </a:ext>
                  </a:extLst>
                </p:cNvPr>
                <p:cNvSpPr/>
                <p:nvPr/>
              </p:nvSpPr>
              <p:spPr>
                <a:xfrm>
                  <a:off x="2850527" y="2381962"/>
                  <a:ext cx="243125" cy="66551"/>
                </a:xfrm>
                <a:custGeom>
                  <a:avLst/>
                  <a:gdLst>
                    <a:gd name="connsiteX0" fmla="*/ 241259 w 243125"/>
                    <a:gd name="connsiteY0" fmla="*/ 4524 h 66551"/>
                    <a:gd name="connsiteX1" fmla="*/ 241259 w 243125"/>
                    <a:gd name="connsiteY1" fmla="*/ 4524 h 66551"/>
                    <a:gd name="connsiteX2" fmla="*/ 241259 w 243125"/>
                    <a:gd name="connsiteY2" fmla="*/ 4524 h 66551"/>
                    <a:gd name="connsiteX3" fmla="*/ 243126 w 243125"/>
                    <a:gd name="connsiteY3" fmla="*/ 5115 h 66551"/>
                    <a:gd name="connsiteX4" fmla="*/ 242402 w 243125"/>
                    <a:gd name="connsiteY4" fmla="*/ 5725 h 66551"/>
                    <a:gd name="connsiteX5" fmla="*/ 241402 w 243125"/>
                    <a:gd name="connsiteY5" fmla="*/ 6239 h 66551"/>
                    <a:gd name="connsiteX6" fmla="*/ 240125 w 243125"/>
                    <a:gd name="connsiteY6" fmla="*/ 6648 h 66551"/>
                    <a:gd name="connsiteX7" fmla="*/ 239544 w 243125"/>
                    <a:gd name="connsiteY7" fmla="*/ 7487 h 66551"/>
                    <a:gd name="connsiteX8" fmla="*/ 238496 w 243125"/>
                    <a:gd name="connsiteY8" fmla="*/ 8201 h 66551"/>
                    <a:gd name="connsiteX9" fmla="*/ 230381 w 243125"/>
                    <a:gd name="connsiteY9" fmla="*/ 11125 h 66551"/>
                    <a:gd name="connsiteX10" fmla="*/ 229590 w 243125"/>
                    <a:gd name="connsiteY10" fmla="*/ 10954 h 66551"/>
                    <a:gd name="connsiteX11" fmla="*/ 231734 w 243125"/>
                    <a:gd name="connsiteY11" fmla="*/ 9230 h 66551"/>
                    <a:gd name="connsiteX12" fmla="*/ 232467 w 243125"/>
                    <a:gd name="connsiteY12" fmla="*/ 7344 h 66551"/>
                    <a:gd name="connsiteX13" fmla="*/ 230867 w 243125"/>
                    <a:gd name="connsiteY13" fmla="*/ 6648 h 66551"/>
                    <a:gd name="connsiteX14" fmla="*/ 225114 w 243125"/>
                    <a:gd name="connsiteY14" fmla="*/ 5448 h 66551"/>
                    <a:gd name="connsiteX15" fmla="*/ 224380 w 243125"/>
                    <a:gd name="connsiteY15" fmla="*/ 4810 h 66551"/>
                    <a:gd name="connsiteX16" fmla="*/ 220285 w 243125"/>
                    <a:gd name="connsiteY16" fmla="*/ 4286 h 66551"/>
                    <a:gd name="connsiteX17" fmla="*/ 212827 w 243125"/>
                    <a:gd name="connsiteY17" fmla="*/ 3896 h 66551"/>
                    <a:gd name="connsiteX18" fmla="*/ 208636 w 243125"/>
                    <a:gd name="connsiteY18" fmla="*/ 3839 h 66551"/>
                    <a:gd name="connsiteX19" fmla="*/ 207712 w 243125"/>
                    <a:gd name="connsiteY19" fmla="*/ 4124 h 66551"/>
                    <a:gd name="connsiteX20" fmla="*/ 205645 w 243125"/>
                    <a:gd name="connsiteY20" fmla="*/ 3724 h 66551"/>
                    <a:gd name="connsiteX21" fmla="*/ 204216 w 243125"/>
                    <a:gd name="connsiteY21" fmla="*/ 3839 h 66551"/>
                    <a:gd name="connsiteX22" fmla="*/ 202797 w 243125"/>
                    <a:gd name="connsiteY22" fmla="*/ 4439 h 66551"/>
                    <a:gd name="connsiteX23" fmla="*/ 200282 w 243125"/>
                    <a:gd name="connsiteY23" fmla="*/ 5896 h 66551"/>
                    <a:gd name="connsiteX24" fmla="*/ 194453 w 243125"/>
                    <a:gd name="connsiteY24" fmla="*/ 7039 h 66551"/>
                    <a:gd name="connsiteX25" fmla="*/ 185728 w 243125"/>
                    <a:gd name="connsiteY25" fmla="*/ 9115 h 66551"/>
                    <a:gd name="connsiteX26" fmla="*/ 184413 w 243125"/>
                    <a:gd name="connsiteY26" fmla="*/ 9963 h 66551"/>
                    <a:gd name="connsiteX27" fmla="*/ 184452 w 243125"/>
                    <a:gd name="connsiteY27" fmla="*/ 10516 h 66551"/>
                    <a:gd name="connsiteX28" fmla="*/ 195796 w 243125"/>
                    <a:gd name="connsiteY28" fmla="*/ 8973 h 66551"/>
                    <a:gd name="connsiteX29" fmla="*/ 202540 w 243125"/>
                    <a:gd name="connsiteY29" fmla="*/ 9163 h 66551"/>
                    <a:gd name="connsiteX30" fmla="*/ 203321 w 243125"/>
                    <a:gd name="connsiteY30" fmla="*/ 8849 h 66551"/>
                    <a:gd name="connsiteX31" fmla="*/ 206102 w 243125"/>
                    <a:gd name="connsiteY31" fmla="*/ 8363 h 66551"/>
                    <a:gd name="connsiteX32" fmla="*/ 218351 w 243125"/>
                    <a:gd name="connsiteY32" fmla="*/ 8734 h 66551"/>
                    <a:gd name="connsiteX33" fmla="*/ 220409 w 243125"/>
                    <a:gd name="connsiteY33" fmla="*/ 8915 h 66551"/>
                    <a:gd name="connsiteX34" fmla="*/ 220685 w 243125"/>
                    <a:gd name="connsiteY34" fmla="*/ 9487 h 66551"/>
                    <a:gd name="connsiteX35" fmla="*/ 217208 w 243125"/>
                    <a:gd name="connsiteY35" fmla="*/ 10830 h 66551"/>
                    <a:gd name="connsiteX36" fmla="*/ 213579 w 243125"/>
                    <a:gd name="connsiteY36" fmla="*/ 11801 h 66551"/>
                    <a:gd name="connsiteX37" fmla="*/ 209798 w 243125"/>
                    <a:gd name="connsiteY37" fmla="*/ 12401 h 66551"/>
                    <a:gd name="connsiteX38" fmla="*/ 207740 w 243125"/>
                    <a:gd name="connsiteY38" fmla="*/ 12506 h 66551"/>
                    <a:gd name="connsiteX39" fmla="*/ 206435 w 243125"/>
                    <a:gd name="connsiteY39" fmla="*/ 11963 h 66551"/>
                    <a:gd name="connsiteX40" fmla="*/ 204854 w 243125"/>
                    <a:gd name="connsiteY40" fmla="*/ 12021 h 66551"/>
                    <a:gd name="connsiteX41" fmla="*/ 201235 w 243125"/>
                    <a:gd name="connsiteY41" fmla="*/ 12868 h 66551"/>
                    <a:gd name="connsiteX42" fmla="*/ 198844 w 243125"/>
                    <a:gd name="connsiteY42" fmla="*/ 13021 h 66551"/>
                    <a:gd name="connsiteX43" fmla="*/ 194234 w 243125"/>
                    <a:gd name="connsiteY43" fmla="*/ 12773 h 66551"/>
                    <a:gd name="connsiteX44" fmla="*/ 193653 w 243125"/>
                    <a:gd name="connsiteY44" fmla="*/ 13021 h 66551"/>
                    <a:gd name="connsiteX45" fmla="*/ 195263 w 243125"/>
                    <a:gd name="connsiteY45" fmla="*/ 13716 h 66551"/>
                    <a:gd name="connsiteX46" fmla="*/ 195215 w 243125"/>
                    <a:gd name="connsiteY46" fmla="*/ 14764 h 66551"/>
                    <a:gd name="connsiteX47" fmla="*/ 192681 w 243125"/>
                    <a:gd name="connsiteY47" fmla="*/ 16726 h 66551"/>
                    <a:gd name="connsiteX48" fmla="*/ 191538 w 243125"/>
                    <a:gd name="connsiteY48" fmla="*/ 17497 h 66551"/>
                    <a:gd name="connsiteX49" fmla="*/ 190271 w 243125"/>
                    <a:gd name="connsiteY49" fmla="*/ 17764 h 66551"/>
                    <a:gd name="connsiteX50" fmla="*/ 186071 w 243125"/>
                    <a:gd name="connsiteY50" fmla="*/ 17269 h 66551"/>
                    <a:gd name="connsiteX51" fmla="*/ 182937 w 243125"/>
                    <a:gd name="connsiteY51" fmla="*/ 17964 h 66551"/>
                    <a:gd name="connsiteX52" fmla="*/ 181394 w 243125"/>
                    <a:gd name="connsiteY52" fmla="*/ 18698 h 66551"/>
                    <a:gd name="connsiteX53" fmla="*/ 176755 w 243125"/>
                    <a:gd name="connsiteY53" fmla="*/ 20450 h 66551"/>
                    <a:gd name="connsiteX54" fmla="*/ 174850 w 243125"/>
                    <a:gd name="connsiteY54" fmla="*/ 21107 h 66551"/>
                    <a:gd name="connsiteX55" fmla="*/ 174041 w 243125"/>
                    <a:gd name="connsiteY55" fmla="*/ 21850 h 66551"/>
                    <a:gd name="connsiteX56" fmla="*/ 173250 w 243125"/>
                    <a:gd name="connsiteY56" fmla="*/ 22622 h 66551"/>
                    <a:gd name="connsiteX57" fmla="*/ 170278 w 243125"/>
                    <a:gd name="connsiteY57" fmla="*/ 23898 h 66551"/>
                    <a:gd name="connsiteX58" fmla="*/ 163982 w 243125"/>
                    <a:gd name="connsiteY58" fmla="*/ 25879 h 66551"/>
                    <a:gd name="connsiteX59" fmla="*/ 163049 w 243125"/>
                    <a:gd name="connsiteY59" fmla="*/ 26870 h 66551"/>
                    <a:gd name="connsiteX60" fmla="*/ 161306 w 243125"/>
                    <a:gd name="connsiteY60" fmla="*/ 27727 h 66551"/>
                    <a:gd name="connsiteX61" fmla="*/ 160906 w 243125"/>
                    <a:gd name="connsiteY61" fmla="*/ 28089 h 66551"/>
                    <a:gd name="connsiteX62" fmla="*/ 164021 w 243125"/>
                    <a:gd name="connsiteY62" fmla="*/ 27918 h 66551"/>
                    <a:gd name="connsiteX63" fmla="*/ 163763 w 243125"/>
                    <a:gd name="connsiteY63" fmla="*/ 28413 h 66551"/>
                    <a:gd name="connsiteX64" fmla="*/ 158344 w 243125"/>
                    <a:gd name="connsiteY64" fmla="*/ 31537 h 66551"/>
                    <a:gd name="connsiteX65" fmla="*/ 150676 w 243125"/>
                    <a:gd name="connsiteY65" fmla="*/ 34452 h 66551"/>
                    <a:gd name="connsiteX66" fmla="*/ 141665 w 243125"/>
                    <a:gd name="connsiteY66" fmla="*/ 38271 h 66551"/>
                    <a:gd name="connsiteX67" fmla="*/ 136541 w 243125"/>
                    <a:gd name="connsiteY67" fmla="*/ 41129 h 66551"/>
                    <a:gd name="connsiteX68" fmla="*/ 135884 w 243125"/>
                    <a:gd name="connsiteY68" fmla="*/ 41786 h 66551"/>
                    <a:gd name="connsiteX69" fmla="*/ 131778 w 243125"/>
                    <a:gd name="connsiteY69" fmla="*/ 43291 h 66551"/>
                    <a:gd name="connsiteX70" fmla="*/ 120625 w 243125"/>
                    <a:gd name="connsiteY70" fmla="*/ 46863 h 66551"/>
                    <a:gd name="connsiteX71" fmla="*/ 114129 w 243125"/>
                    <a:gd name="connsiteY71" fmla="*/ 48530 h 66551"/>
                    <a:gd name="connsiteX72" fmla="*/ 111814 w 243125"/>
                    <a:gd name="connsiteY72" fmla="*/ 49149 h 66551"/>
                    <a:gd name="connsiteX73" fmla="*/ 111462 w 243125"/>
                    <a:gd name="connsiteY73" fmla="*/ 48701 h 66551"/>
                    <a:gd name="connsiteX74" fmla="*/ 112290 w 243125"/>
                    <a:gd name="connsiteY74" fmla="*/ 48035 h 66551"/>
                    <a:gd name="connsiteX75" fmla="*/ 112519 w 243125"/>
                    <a:gd name="connsiteY75" fmla="*/ 47311 h 66551"/>
                    <a:gd name="connsiteX76" fmla="*/ 111538 w 243125"/>
                    <a:gd name="connsiteY76" fmla="*/ 46196 h 66551"/>
                    <a:gd name="connsiteX77" fmla="*/ 109709 w 243125"/>
                    <a:gd name="connsiteY77" fmla="*/ 46758 h 66551"/>
                    <a:gd name="connsiteX78" fmla="*/ 104223 w 243125"/>
                    <a:gd name="connsiteY78" fmla="*/ 47434 h 66551"/>
                    <a:gd name="connsiteX79" fmla="*/ 102518 w 243125"/>
                    <a:gd name="connsiteY79" fmla="*/ 48330 h 66551"/>
                    <a:gd name="connsiteX80" fmla="*/ 98736 w 243125"/>
                    <a:gd name="connsiteY80" fmla="*/ 49549 h 66551"/>
                    <a:gd name="connsiteX81" fmla="*/ 95555 w 243125"/>
                    <a:gd name="connsiteY81" fmla="*/ 50892 h 66551"/>
                    <a:gd name="connsiteX82" fmla="*/ 92878 w 243125"/>
                    <a:gd name="connsiteY82" fmla="*/ 51968 h 66551"/>
                    <a:gd name="connsiteX83" fmla="*/ 91678 w 243125"/>
                    <a:gd name="connsiteY83" fmla="*/ 52759 h 66551"/>
                    <a:gd name="connsiteX84" fmla="*/ 90716 w 243125"/>
                    <a:gd name="connsiteY84" fmla="*/ 53711 h 66551"/>
                    <a:gd name="connsiteX85" fmla="*/ 90373 w 243125"/>
                    <a:gd name="connsiteY85" fmla="*/ 54712 h 66551"/>
                    <a:gd name="connsiteX86" fmla="*/ 89459 w 243125"/>
                    <a:gd name="connsiteY86" fmla="*/ 55502 h 66551"/>
                    <a:gd name="connsiteX87" fmla="*/ 88116 w 243125"/>
                    <a:gd name="connsiteY87" fmla="*/ 56045 h 66551"/>
                    <a:gd name="connsiteX88" fmla="*/ 87973 w 243125"/>
                    <a:gd name="connsiteY88" fmla="*/ 56321 h 66551"/>
                    <a:gd name="connsiteX89" fmla="*/ 89602 w 243125"/>
                    <a:gd name="connsiteY89" fmla="*/ 56512 h 66551"/>
                    <a:gd name="connsiteX90" fmla="*/ 89621 w 243125"/>
                    <a:gd name="connsiteY90" fmla="*/ 56874 h 66551"/>
                    <a:gd name="connsiteX91" fmla="*/ 88611 w 243125"/>
                    <a:gd name="connsiteY91" fmla="*/ 58131 h 66551"/>
                    <a:gd name="connsiteX92" fmla="*/ 86897 w 243125"/>
                    <a:gd name="connsiteY92" fmla="*/ 59188 h 66551"/>
                    <a:gd name="connsiteX93" fmla="*/ 84163 w 243125"/>
                    <a:gd name="connsiteY93" fmla="*/ 60579 h 66551"/>
                    <a:gd name="connsiteX94" fmla="*/ 80905 w 243125"/>
                    <a:gd name="connsiteY94" fmla="*/ 61560 h 66551"/>
                    <a:gd name="connsiteX95" fmla="*/ 77133 w 243125"/>
                    <a:gd name="connsiteY95" fmla="*/ 62122 h 66551"/>
                    <a:gd name="connsiteX96" fmla="*/ 74562 w 243125"/>
                    <a:gd name="connsiteY96" fmla="*/ 62027 h 66551"/>
                    <a:gd name="connsiteX97" fmla="*/ 73200 w 243125"/>
                    <a:gd name="connsiteY97" fmla="*/ 61274 h 66551"/>
                    <a:gd name="connsiteX98" fmla="*/ 68856 w 243125"/>
                    <a:gd name="connsiteY98" fmla="*/ 61827 h 66551"/>
                    <a:gd name="connsiteX99" fmla="*/ 61522 w 243125"/>
                    <a:gd name="connsiteY99" fmla="*/ 63684 h 66551"/>
                    <a:gd name="connsiteX100" fmla="*/ 57521 w 243125"/>
                    <a:gd name="connsiteY100" fmla="*/ 64379 h 66551"/>
                    <a:gd name="connsiteX101" fmla="*/ 56855 w 243125"/>
                    <a:gd name="connsiteY101" fmla="*/ 63894 h 66551"/>
                    <a:gd name="connsiteX102" fmla="*/ 53226 w 243125"/>
                    <a:gd name="connsiteY102" fmla="*/ 64294 h 66551"/>
                    <a:gd name="connsiteX103" fmla="*/ 41577 w 243125"/>
                    <a:gd name="connsiteY103" fmla="*/ 66351 h 66551"/>
                    <a:gd name="connsiteX104" fmla="*/ 38119 w 243125"/>
                    <a:gd name="connsiteY104" fmla="*/ 66551 h 66551"/>
                    <a:gd name="connsiteX105" fmla="*/ 32309 w 243125"/>
                    <a:gd name="connsiteY105" fmla="*/ 65961 h 66551"/>
                    <a:gd name="connsiteX106" fmla="*/ 28946 w 243125"/>
                    <a:gd name="connsiteY106" fmla="*/ 66237 h 66551"/>
                    <a:gd name="connsiteX107" fmla="*/ 25279 w 243125"/>
                    <a:gd name="connsiteY107" fmla="*/ 65608 h 66551"/>
                    <a:gd name="connsiteX108" fmla="*/ 19040 w 243125"/>
                    <a:gd name="connsiteY108" fmla="*/ 62932 h 66551"/>
                    <a:gd name="connsiteX109" fmla="*/ 18374 w 243125"/>
                    <a:gd name="connsiteY109" fmla="*/ 61655 h 66551"/>
                    <a:gd name="connsiteX110" fmla="*/ 18774 w 243125"/>
                    <a:gd name="connsiteY110" fmla="*/ 60531 h 66551"/>
                    <a:gd name="connsiteX111" fmla="*/ 16469 w 243125"/>
                    <a:gd name="connsiteY111" fmla="*/ 60912 h 66551"/>
                    <a:gd name="connsiteX112" fmla="*/ 15354 w 243125"/>
                    <a:gd name="connsiteY112" fmla="*/ 60798 h 66551"/>
                    <a:gd name="connsiteX113" fmla="*/ 14564 w 243125"/>
                    <a:gd name="connsiteY113" fmla="*/ 60246 h 66551"/>
                    <a:gd name="connsiteX114" fmla="*/ 6267 w 243125"/>
                    <a:gd name="connsiteY114" fmla="*/ 59855 h 66551"/>
                    <a:gd name="connsiteX115" fmla="*/ 3724 w 243125"/>
                    <a:gd name="connsiteY115" fmla="*/ 59112 h 66551"/>
                    <a:gd name="connsiteX116" fmla="*/ 3143 w 243125"/>
                    <a:gd name="connsiteY116" fmla="*/ 58398 h 66551"/>
                    <a:gd name="connsiteX117" fmla="*/ 2153 w 243125"/>
                    <a:gd name="connsiteY117" fmla="*/ 55321 h 66551"/>
                    <a:gd name="connsiteX118" fmla="*/ 1886 w 243125"/>
                    <a:gd name="connsiteY118" fmla="*/ 53892 h 66551"/>
                    <a:gd name="connsiteX119" fmla="*/ 1172 w 243125"/>
                    <a:gd name="connsiteY119" fmla="*/ 53321 h 66551"/>
                    <a:gd name="connsiteX120" fmla="*/ 248 w 243125"/>
                    <a:gd name="connsiteY120" fmla="*/ 52492 h 66551"/>
                    <a:gd name="connsiteX121" fmla="*/ 0 w 243125"/>
                    <a:gd name="connsiteY121" fmla="*/ 51768 h 66551"/>
                    <a:gd name="connsiteX122" fmla="*/ 952 w 243125"/>
                    <a:gd name="connsiteY122" fmla="*/ 51787 h 66551"/>
                    <a:gd name="connsiteX123" fmla="*/ 3438 w 243125"/>
                    <a:gd name="connsiteY123" fmla="*/ 53016 h 66551"/>
                    <a:gd name="connsiteX124" fmla="*/ 7449 w 243125"/>
                    <a:gd name="connsiteY124" fmla="*/ 55474 h 66551"/>
                    <a:gd name="connsiteX125" fmla="*/ 9563 w 243125"/>
                    <a:gd name="connsiteY125" fmla="*/ 56750 h 66551"/>
                    <a:gd name="connsiteX126" fmla="*/ 12144 w 243125"/>
                    <a:gd name="connsiteY126" fmla="*/ 56131 h 66551"/>
                    <a:gd name="connsiteX127" fmla="*/ 17516 w 243125"/>
                    <a:gd name="connsiteY127" fmla="*/ 54969 h 66551"/>
                    <a:gd name="connsiteX128" fmla="*/ 19336 w 243125"/>
                    <a:gd name="connsiteY128" fmla="*/ 54397 h 66551"/>
                    <a:gd name="connsiteX129" fmla="*/ 20107 w 243125"/>
                    <a:gd name="connsiteY129" fmla="*/ 53864 h 66551"/>
                    <a:gd name="connsiteX130" fmla="*/ 20040 w 243125"/>
                    <a:gd name="connsiteY130" fmla="*/ 52083 h 66551"/>
                    <a:gd name="connsiteX131" fmla="*/ 21003 w 243125"/>
                    <a:gd name="connsiteY131" fmla="*/ 51340 h 66551"/>
                    <a:gd name="connsiteX132" fmla="*/ 21717 w 243125"/>
                    <a:gd name="connsiteY132" fmla="*/ 51083 h 66551"/>
                    <a:gd name="connsiteX133" fmla="*/ 25517 w 243125"/>
                    <a:gd name="connsiteY133" fmla="*/ 51254 h 66551"/>
                    <a:gd name="connsiteX134" fmla="*/ 27041 w 243125"/>
                    <a:gd name="connsiteY134" fmla="*/ 51730 h 66551"/>
                    <a:gd name="connsiteX135" fmla="*/ 27775 w 243125"/>
                    <a:gd name="connsiteY135" fmla="*/ 52492 h 66551"/>
                    <a:gd name="connsiteX136" fmla="*/ 29394 w 243125"/>
                    <a:gd name="connsiteY136" fmla="*/ 52864 h 66551"/>
                    <a:gd name="connsiteX137" fmla="*/ 33128 w 243125"/>
                    <a:gd name="connsiteY137" fmla="*/ 53073 h 66551"/>
                    <a:gd name="connsiteX138" fmla="*/ 33871 w 243125"/>
                    <a:gd name="connsiteY138" fmla="*/ 54264 h 66551"/>
                    <a:gd name="connsiteX139" fmla="*/ 36595 w 243125"/>
                    <a:gd name="connsiteY139" fmla="*/ 55693 h 66551"/>
                    <a:gd name="connsiteX140" fmla="*/ 37119 w 243125"/>
                    <a:gd name="connsiteY140" fmla="*/ 55397 h 66551"/>
                    <a:gd name="connsiteX141" fmla="*/ 37462 w 243125"/>
                    <a:gd name="connsiteY141" fmla="*/ 54597 h 66551"/>
                    <a:gd name="connsiteX142" fmla="*/ 37138 w 243125"/>
                    <a:gd name="connsiteY142" fmla="*/ 54073 h 66551"/>
                    <a:gd name="connsiteX143" fmla="*/ 37605 w 243125"/>
                    <a:gd name="connsiteY143" fmla="*/ 53750 h 66551"/>
                    <a:gd name="connsiteX144" fmla="*/ 41272 w 243125"/>
                    <a:gd name="connsiteY144" fmla="*/ 52521 h 66551"/>
                    <a:gd name="connsiteX145" fmla="*/ 42053 w 243125"/>
                    <a:gd name="connsiteY145" fmla="*/ 51959 h 66551"/>
                    <a:gd name="connsiteX146" fmla="*/ 41653 w 243125"/>
                    <a:gd name="connsiteY146" fmla="*/ 51168 h 66551"/>
                    <a:gd name="connsiteX147" fmla="*/ 40091 w 243125"/>
                    <a:gd name="connsiteY147" fmla="*/ 50149 h 66551"/>
                    <a:gd name="connsiteX148" fmla="*/ 40062 w 243125"/>
                    <a:gd name="connsiteY148" fmla="*/ 49454 h 66551"/>
                    <a:gd name="connsiteX149" fmla="*/ 42681 w 243125"/>
                    <a:gd name="connsiteY149" fmla="*/ 48663 h 66551"/>
                    <a:gd name="connsiteX150" fmla="*/ 44015 w 243125"/>
                    <a:gd name="connsiteY150" fmla="*/ 48158 h 66551"/>
                    <a:gd name="connsiteX151" fmla="*/ 44520 w 243125"/>
                    <a:gd name="connsiteY151" fmla="*/ 48568 h 66551"/>
                    <a:gd name="connsiteX152" fmla="*/ 45825 w 243125"/>
                    <a:gd name="connsiteY152" fmla="*/ 48520 h 66551"/>
                    <a:gd name="connsiteX153" fmla="*/ 49187 w 243125"/>
                    <a:gd name="connsiteY153" fmla="*/ 47606 h 66551"/>
                    <a:gd name="connsiteX154" fmla="*/ 49606 w 243125"/>
                    <a:gd name="connsiteY154" fmla="*/ 47292 h 66551"/>
                    <a:gd name="connsiteX155" fmla="*/ 49339 w 243125"/>
                    <a:gd name="connsiteY155" fmla="*/ 46720 h 66551"/>
                    <a:gd name="connsiteX156" fmla="*/ 49539 w 243125"/>
                    <a:gd name="connsiteY156" fmla="*/ 46292 h 66551"/>
                    <a:gd name="connsiteX157" fmla="*/ 50530 w 243125"/>
                    <a:gd name="connsiteY157" fmla="*/ 45339 h 66551"/>
                    <a:gd name="connsiteX158" fmla="*/ 52978 w 243125"/>
                    <a:gd name="connsiteY158" fmla="*/ 43558 h 66551"/>
                    <a:gd name="connsiteX159" fmla="*/ 54759 w 243125"/>
                    <a:gd name="connsiteY159" fmla="*/ 42310 h 66551"/>
                    <a:gd name="connsiteX160" fmla="*/ 56207 w 243125"/>
                    <a:gd name="connsiteY160" fmla="*/ 41243 h 66551"/>
                    <a:gd name="connsiteX161" fmla="*/ 59512 w 243125"/>
                    <a:gd name="connsiteY161" fmla="*/ 39805 h 66551"/>
                    <a:gd name="connsiteX162" fmla="*/ 60627 w 243125"/>
                    <a:gd name="connsiteY162" fmla="*/ 38681 h 66551"/>
                    <a:gd name="connsiteX163" fmla="*/ 61322 w 243125"/>
                    <a:gd name="connsiteY163" fmla="*/ 38119 h 66551"/>
                    <a:gd name="connsiteX164" fmla="*/ 62913 w 243125"/>
                    <a:gd name="connsiteY164" fmla="*/ 37605 h 66551"/>
                    <a:gd name="connsiteX165" fmla="*/ 67475 w 243125"/>
                    <a:gd name="connsiteY165" fmla="*/ 36919 h 66551"/>
                    <a:gd name="connsiteX166" fmla="*/ 70171 w 243125"/>
                    <a:gd name="connsiteY166" fmla="*/ 37100 h 66551"/>
                    <a:gd name="connsiteX167" fmla="*/ 70113 w 243125"/>
                    <a:gd name="connsiteY167" fmla="*/ 37624 h 66551"/>
                    <a:gd name="connsiteX168" fmla="*/ 69894 w 243125"/>
                    <a:gd name="connsiteY168" fmla="*/ 38062 h 66551"/>
                    <a:gd name="connsiteX169" fmla="*/ 70361 w 243125"/>
                    <a:gd name="connsiteY169" fmla="*/ 38262 h 66551"/>
                    <a:gd name="connsiteX170" fmla="*/ 77362 w 243125"/>
                    <a:gd name="connsiteY170" fmla="*/ 37290 h 66551"/>
                    <a:gd name="connsiteX171" fmla="*/ 78600 w 243125"/>
                    <a:gd name="connsiteY171" fmla="*/ 37262 h 66551"/>
                    <a:gd name="connsiteX172" fmla="*/ 82715 w 243125"/>
                    <a:gd name="connsiteY172" fmla="*/ 35871 h 66551"/>
                    <a:gd name="connsiteX173" fmla="*/ 85649 w 243125"/>
                    <a:gd name="connsiteY173" fmla="*/ 34461 h 66551"/>
                    <a:gd name="connsiteX174" fmla="*/ 86268 w 243125"/>
                    <a:gd name="connsiteY174" fmla="*/ 34080 h 66551"/>
                    <a:gd name="connsiteX175" fmla="*/ 87411 w 243125"/>
                    <a:gd name="connsiteY175" fmla="*/ 32385 h 66551"/>
                    <a:gd name="connsiteX176" fmla="*/ 87373 w 243125"/>
                    <a:gd name="connsiteY176" fmla="*/ 32004 h 66551"/>
                    <a:gd name="connsiteX177" fmla="*/ 86096 w 243125"/>
                    <a:gd name="connsiteY177" fmla="*/ 31956 h 66551"/>
                    <a:gd name="connsiteX178" fmla="*/ 85782 w 243125"/>
                    <a:gd name="connsiteY178" fmla="*/ 31337 h 66551"/>
                    <a:gd name="connsiteX179" fmla="*/ 86392 w 243125"/>
                    <a:gd name="connsiteY179" fmla="*/ 30147 h 66551"/>
                    <a:gd name="connsiteX180" fmla="*/ 85877 w 243125"/>
                    <a:gd name="connsiteY180" fmla="*/ 28956 h 66551"/>
                    <a:gd name="connsiteX181" fmla="*/ 84344 w 243125"/>
                    <a:gd name="connsiteY181" fmla="*/ 28232 h 66551"/>
                    <a:gd name="connsiteX182" fmla="*/ 83477 w 243125"/>
                    <a:gd name="connsiteY182" fmla="*/ 26851 h 66551"/>
                    <a:gd name="connsiteX183" fmla="*/ 83572 w 243125"/>
                    <a:gd name="connsiteY183" fmla="*/ 26203 h 66551"/>
                    <a:gd name="connsiteX184" fmla="*/ 84658 w 243125"/>
                    <a:gd name="connsiteY184" fmla="*/ 25403 h 66551"/>
                    <a:gd name="connsiteX185" fmla="*/ 84858 w 243125"/>
                    <a:gd name="connsiteY185" fmla="*/ 25127 h 66551"/>
                    <a:gd name="connsiteX186" fmla="*/ 85315 w 243125"/>
                    <a:gd name="connsiteY186" fmla="*/ 24470 h 66551"/>
                    <a:gd name="connsiteX187" fmla="*/ 84439 w 243125"/>
                    <a:gd name="connsiteY187" fmla="*/ 22288 h 66551"/>
                    <a:gd name="connsiteX188" fmla="*/ 83591 w 243125"/>
                    <a:gd name="connsiteY188" fmla="*/ 22174 h 66551"/>
                    <a:gd name="connsiteX189" fmla="*/ 81410 w 243125"/>
                    <a:gd name="connsiteY189" fmla="*/ 22498 h 66551"/>
                    <a:gd name="connsiteX190" fmla="*/ 81496 w 243125"/>
                    <a:gd name="connsiteY190" fmla="*/ 21955 h 66551"/>
                    <a:gd name="connsiteX191" fmla="*/ 83858 w 243125"/>
                    <a:gd name="connsiteY191" fmla="*/ 20545 h 66551"/>
                    <a:gd name="connsiteX192" fmla="*/ 84830 w 243125"/>
                    <a:gd name="connsiteY192" fmla="*/ 19602 h 66551"/>
                    <a:gd name="connsiteX193" fmla="*/ 84411 w 243125"/>
                    <a:gd name="connsiteY193" fmla="*/ 19107 h 66551"/>
                    <a:gd name="connsiteX194" fmla="*/ 84734 w 243125"/>
                    <a:gd name="connsiteY194" fmla="*/ 18288 h 66551"/>
                    <a:gd name="connsiteX195" fmla="*/ 85820 w 243125"/>
                    <a:gd name="connsiteY195" fmla="*/ 17126 h 66551"/>
                    <a:gd name="connsiteX196" fmla="*/ 87011 w 243125"/>
                    <a:gd name="connsiteY196" fmla="*/ 16126 h 66551"/>
                    <a:gd name="connsiteX197" fmla="*/ 88306 w 243125"/>
                    <a:gd name="connsiteY197" fmla="*/ 15278 h 66551"/>
                    <a:gd name="connsiteX198" fmla="*/ 88335 w 243125"/>
                    <a:gd name="connsiteY198" fmla="*/ 14783 h 66551"/>
                    <a:gd name="connsiteX199" fmla="*/ 86392 w 243125"/>
                    <a:gd name="connsiteY199" fmla="*/ 14859 h 66551"/>
                    <a:gd name="connsiteX200" fmla="*/ 78924 w 243125"/>
                    <a:gd name="connsiteY200" fmla="*/ 14678 h 66551"/>
                    <a:gd name="connsiteX201" fmla="*/ 79162 w 243125"/>
                    <a:gd name="connsiteY201" fmla="*/ 12992 h 66551"/>
                    <a:gd name="connsiteX202" fmla="*/ 79077 w 243125"/>
                    <a:gd name="connsiteY202" fmla="*/ 12173 h 66551"/>
                    <a:gd name="connsiteX203" fmla="*/ 79657 w 243125"/>
                    <a:gd name="connsiteY203" fmla="*/ 11097 h 66551"/>
                    <a:gd name="connsiteX204" fmla="*/ 79305 w 243125"/>
                    <a:gd name="connsiteY204" fmla="*/ 10020 h 66551"/>
                    <a:gd name="connsiteX205" fmla="*/ 77791 w 243125"/>
                    <a:gd name="connsiteY205" fmla="*/ 8506 h 66551"/>
                    <a:gd name="connsiteX206" fmla="*/ 77991 w 243125"/>
                    <a:gd name="connsiteY206" fmla="*/ 7115 h 66551"/>
                    <a:gd name="connsiteX207" fmla="*/ 79896 w 243125"/>
                    <a:gd name="connsiteY207" fmla="*/ 5848 h 66551"/>
                    <a:gd name="connsiteX208" fmla="*/ 81944 w 243125"/>
                    <a:gd name="connsiteY208" fmla="*/ 5905 h 66551"/>
                    <a:gd name="connsiteX209" fmla="*/ 84134 w 243125"/>
                    <a:gd name="connsiteY209" fmla="*/ 7287 h 66551"/>
                    <a:gd name="connsiteX210" fmla="*/ 84020 w 243125"/>
                    <a:gd name="connsiteY210" fmla="*/ 8049 h 66551"/>
                    <a:gd name="connsiteX211" fmla="*/ 82848 w 243125"/>
                    <a:gd name="connsiteY211" fmla="*/ 8944 h 66551"/>
                    <a:gd name="connsiteX212" fmla="*/ 83306 w 243125"/>
                    <a:gd name="connsiteY212" fmla="*/ 9192 h 66551"/>
                    <a:gd name="connsiteX213" fmla="*/ 84639 w 243125"/>
                    <a:gd name="connsiteY213" fmla="*/ 9058 h 66551"/>
                    <a:gd name="connsiteX214" fmla="*/ 91859 w 243125"/>
                    <a:gd name="connsiteY214" fmla="*/ 10839 h 66551"/>
                    <a:gd name="connsiteX215" fmla="*/ 92383 w 243125"/>
                    <a:gd name="connsiteY215" fmla="*/ 11354 h 66551"/>
                    <a:gd name="connsiteX216" fmla="*/ 92440 w 243125"/>
                    <a:gd name="connsiteY216" fmla="*/ 12040 h 66551"/>
                    <a:gd name="connsiteX217" fmla="*/ 92040 w 243125"/>
                    <a:gd name="connsiteY217" fmla="*/ 12878 h 66551"/>
                    <a:gd name="connsiteX218" fmla="*/ 92212 w 243125"/>
                    <a:gd name="connsiteY218" fmla="*/ 13630 h 66551"/>
                    <a:gd name="connsiteX219" fmla="*/ 92954 w 243125"/>
                    <a:gd name="connsiteY219" fmla="*/ 14278 h 66551"/>
                    <a:gd name="connsiteX220" fmla="*/ 96783 w 243125"/>
                    <a:gd name="connsiteY220" fmla="*/ 15288 h 66551"/>
                    <a:gd name="connsiteX221" fmla="*/ 98308 w 243125"/>
                    <a:gd name="connsiteY221" fmla="*/ 17002 h 66551"/>
                    <a:gd name="connsiteX222" fmla="*/ 98603 w 243125"/>
                    <a:gd name="connsiteY222" fmla="*/ 18126 h 66551"/>
                    <a:gd name="connsiteX223" fmla="*/ 100155 w 243125"/>
                    <a:gd name="connsiteY223" fmla="*/ 18669 h 66551"/>
                    <a:gd name="connsiteX224" fmla="*/ 104889 w 243125"/>
                    <a:gd name="connsiteY224" fmla="*/ 18231 h 66551"/>
                    <a:gd name="connsiteX225" fmla="*/ 106804 w 243125"/>
                    <a:gd name="connsiteY225" fmla="*/ 17745 h 66551"/>
                    <a:gd name="connsiteX226" fmla="*/ 107833 w 243125"/>
                    <a:gd name="connsiteY226" fmla="*/ 17126 h 66551"/>
                    <a:gd name="connsiteX227" fmla="*/ 108747 w 243125"/>
                    <a:gd name="connsiteY227" fmla="*/ 16878 h 66551"/>
                    <a:gd name="connsiteX228" fmla="*/ 109538 w 243125"/>
                    <a:gd name="connsiteY228" fmla="*/ 16974 h 66551"/>
                    <a:gd name="connsiteX229" fmla="*/ 110071 w 243125"/>
                    <a:gd name="connsiteY229" fmla="*/ 17850 h 66551"/>
                    <a:gd name="connsiteX230" fmla="*/ 109785 w 243125"/>
                    <a:gd name="connsiteY230" fmla="*/ 18231 h 66551"/>
                    <a:gd name="connsiteX231" fmla="*/ 107975 w 243125"/>
                    <a:gd name="connsiteY231" fmla="*/ 19707 h 66551"/>
                    <a:gd name="connsiteX232" fmla="*/ 108109 w 243125"/>
                    <a:gd name="connsiteY232" fmla="*/ 20136 h 66551"/>
                    <a:gd name="connsiteX233" fmla="*/ 108775 w 243125"/>
                    <a:gd name="connsiteY233" fmla="*/ 21203 h 66551"/>
                    <a:gd name="connsiteX234" fmla="*/ 109156 w 243125"/>
                    <a:gd name="connsiteY234" fmla="*/ 21269 h 66551"/>
                    <a:gd name="connsiteX235" fmla="*/ 110519 w 243125"/>
                    <a:gd name="connsiteY235" fmla="*/ 21060 h 66551"/>
                    <a:gd name="connsiteX236" fmla="*/ 111538 w 243125"/>
                    <a:gd name="connsiteY236" fmla="*/ 21536 h 66551"/>
                    <a:gd name="connsiteX237" fmla="*/ 112824 w 243125"/>
                    <a:gd name="connsiteY237" fmla="*/ 23498 h 66551"/>
                    <a:gd name="connsiteX238" fmla="*/ 112700 w 243125"/>
                    <a:gd name="connsiteY238" fmla="*/ 24451 h 66551"/>
                    <a:gd name="connsiteX239" fmla="*/ 113128 w 243125"/>
                    <a:gd name="connsiteY239" fmla="*/ 26746 h 66551"/>
                    <a:gd name="connsiteX240" fmla="*/ 115005 w 243125"/>
                    <a:gd name="connsiteY240" fmla="*/ 29394 h 66551"/>
                    <a:gd name="connsiteX241" fmla="*/ 116767 w 243125"/>
                    <a:gd name="connsiteY241" fmla="*/ 29537 h 66551"/>
                    <a:gd name="connsiteX242" fmla="*/ 120767 w 243125"/>
                    <a:gd name="connsiteY242" fmla="*/ 29832 h 66551"/>
                    <a:gd name="connsiteX243" fmla="*/ 125930 w 243125"/>
                    <a:gd name="connsiteY243" fmla="*/ 29089 h 66551"/>
                    <a:gd name="connsiteX244" fmla="*/ 127416 w 243125"/>
                    <a:gd name="connsiteY244" fmla="*/ 29404 h 66551"/>
                    <a:gd name="connsiteX245" fmla="*/ 128892 w 243125"/>
                    <a:gd name="connsiteY245" fmla="*/ 28594 h 66551"/>
                    <a:gd name="connsiteX246" fmla="*/ 131569 w 243125"/>
                    <a:gd name="connsiteY246" fmla="*/ 27680 h 66551"/>
                    <a:gd name="connsiteX247" fmla="*/ 131864 w 243125"/>
                    <a:gd name="connsiteY247" fmla="*/ 27794 h 66551"/>
                    <a:gd name="connsiteX248" fmla="*/ 131302 w 243125"/>
                    <a:gd name="connsiteY248" fmla="*/ 28832 h 66551"/>
                    <a:gd name="connsiteX249" fmla="*/ 140694 w 243125"/>
                    <a:gd name="connsiteY249" fmla="*/ 27661 h 66551"/>
                    <a:gd name="connsiteX250" fmla="*/ 147609 w 243125"/>
                    <a:gd name="connsiteY250" fmla="*/ 25756 h 66551"/>
                    <a:gd name="connsiteX251" fmla="*/ 155277 w 243125"/>
                    <a:gd name="connsiteY251" fmla="*/ 22755 h 66551"/>
                    <a:gd name="connsiteX252" fmla="*/ 159677 w 243125"/>
                    <a:gd name="connsiteY252" fmla="*/ 20869 h 66551"/>
                    <a:gd name="connsiteX253" fmla="*/ 166030 w 243125"/>
                    <a:gd name="connsiteY253" fmla="*/ 18393 h 66551"/>
                    <a:gd name="connsiteX254" fmla="*/ 169278 w 243125"/>
                    <a:gd name="connsiteY254" fmla="*/ 16754 h 66551"/>
                    <a:gd name="connsiteX255" fmla="*/ 172669 w 243125"/>
                    <a:gd name="connsiteY255" fmla="*/ 14364 h 66551"/>
                    <a:gd name="connsiteX256" fmla="*/ 175041 w 243125"/>
                    <a:gd name="connsiteY256" fmla="*/ 12944 h 66551"/>
                    <a:gd name="connsiteX257" fmla="*/ 176403 w 243125"/>
                    <a:gd name="connsiteY257" fmla="*/ 12487 h 66551"/>
                    <a:gd name="connsiteX258" fmla="*/ 178365 w 243125"/>
                    <a:gd name="connsiteY258" fmla="*/ 11240 h 66551"/>
                    <a:gd name="connsiteX259" fmla="*/ 180946 w 243125"/>
                    <a:gd name="connsiteY259" fmla="*/ 9182 h 66551"/>
                    <a:gd name="connsiteX260" fmla="*/ 184547 w 243125"/>
                    <a:gd name="connsiteY260" fmla="*/ 7249 h 66551"/>
                    <a:gd name="connsiteX261" fmla="*/ 189186 w 243125"/>
                    <a:gd name="connsiteY261" fmla="*/ 5439 h 66551"/>
                    <a:gd name="connsiteX262" fmla="*/ 194805 w 243125"/>
                    <a:gd name="connsiteY262" fmla="*/ 3667 h 66551"/>
                    <a:gd name="connsiteX263" fmla="*/ 206654 w 243125"/>
                    <a:gd name="connsiteY263" fmla="*/ 781 h 66551"/>
                    <a:gd name="connsiteX264" fmla="*/ 210531 w 243125"/>
                    <a:gd name="connsiteY264" fmla="*/ 219 h 66551"/>
                    <a:gd name="connsiteX265" fmla="*/ 221456 w 243125"/>
                    <a:gd name="connsiteY265" fmla="*/ 0 h 66551"/>
                    <a:gd name="connsiteX266" fmla="*/ 222904 w 243125"/>
                    <a:gd name="connsiteY266" fmla="*/ 257 h 66551"/>
                    <a:gd name="connsiteX267" fmla="*/ 224523 w 243125"/>
                    <a:gd name="connsiteY267" fmla="*/ 867 h 66551"/>
                    <a:gd name="connsiteX268" fmla="*/ 228409 w 243125"/>
                    <a:gd name="connsiteY268" fmla="*/ 1276 h 66551"/>
                    <a:gd name="connsiteX269" fmla="*/ 229514 w 243125"/>
                    <a:gd name="connsiteY269" fmla="*/ 1772 h 66551"/>
                    <a:gd name="connsiteX270" fmla="*/ 235401 w 243125"/>
                    <a:gd name="connsiteY270" fmla="*/ 2657 h 66551"/>
                    <a:gd name="connsiteX271" fmla="*/ 238620 w 243125"/>
                    <a:gd name="connsiteY271" fmla="*/ 3296 h 66551"/>
                    <a:gd name="connsiteX272" fmla="*/ 241316 w 243125"/>
                    <a:gd name="connsiteY272" fmla="*/ 3867 h 66551"/>
                    <a:gd name="connsiteX273" fmla="*/ 241259 w 243125"/>
                    <a:gd name="connsiteY273" fmla="*/ 4524 h 6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Lst>
                  <a:rect l="l" t="t" r="r" b="b"/>
                  <a:pathLst>
                    <a:path w="243125" h="66551">
                      <a:moveTo>
                        <a:pt x="241259" y="4524"/>
                      </a:moveTo>
                      <a:lnTo>
                        <a:pt x="241259" y="4524"/>
                      </a:lnTo>
                      <a:lnTo>
                        <a:pt x="241259" y="4524"/>
                      </a:lnTo>
                      <a:lnTo>
                        <a:pt x="243126" y="5115"/>
                      </a:lnTo>
                      <a:lnTo>
                        <a:pt x="242402" y="5725"/>
                      </a:lnTo>
                      <a:lnTo>
                        <a:pt x="241402" y="6239"/>
                      </a:lnTo>
                      <a:lnTo>
                        <a:pt x="240125" y="6648"/>
                      </a:lnTo>
                      <a:lnTo>
                        <a:pt x="239544" y="7487"/>
                      </a:lnTo>
                      <a:lnTo>
                        <a:pt x="238496" y="8201"/>
                      </a:lnTo>
                      <a:lnTo>
                        <a:pt x="230381" y="11125"/>
                      </a:lnTo>
                      <a:lnTo>
                        <a:pt x="229590" y="10954"/>
                      </a:lnTo>
                      <a:lnTo>
                        <a:pt x="231734" y="9230"/>
                      </a:lnTo>
                      <a:lnTo>
                        <a:pt x="232467" y="7344"/>
                      </a:lnTo>
                      <a:lnTo>
                        <a:pt x="230867" y="6648"/>
                      </a:lnTo>
                      <a:lnTo>
                        <a:pt x="225114" y="5448"/>
                      </a:lnTo>
                      <a:lnTo>
                        <a:pt x="224380" y="4810"/>
                      </a:lnTo>
                      <a:lnTo>
                        <a:pt x="220285" y="4286"/>
                      </a:lnTo>
                      <a:lnTo>
                        <a:pt x="212827" y="3896"/>
                      </a:lnTo>
                      <a:lnTo>
                        <a:pt x="208636" y="3839"/>
                      </a:lnTo>
                      <a:lnTo>
                        <a:pt x="207712" y="4124"/>
                      </a:lnTo>
                      <a:lnTo>
                        <a:pt x="205645" y="3724"/>
                      </a:lnTo>
                      <a:lnTo>
                        <a:pt x="204216" y="3839"/>
                      </a:lnTo>
                      <a:lnTo>
                        <a:pt x="202797" y="4439"/>
                      </a:lnTo>
                      <a:lnTo>
                        <a:pt x="200282" y="5896"/>
                      </a:lnTo>
                      <a:lnTo>
                        <a:pt x="194453" y="7039"/>
                      </a:lnTo>
                      <a:lnTo>
                        <a:pt x="185728" y="9115"/>
                      </a:lnTo>
                      <a:lnTo>
                        <a:pt x="184413" y="9963"/>
                      </a:lnTo>
                      <a:lnTo>
                        <a:pt x="184452" y="10516"/>
                      </a:lnTo>
                      <a:lnTo>
                        <a:pt x="195796" y="8973"/>
                      </a:lnTo>
                      <a:lnTo>
                        <a:pt x="202540" y="9163"/>
                      </a:lnTo>
                      <a:lnTo>
                        <a:pt x="203321" y="8849"/>
                      </a:lnTo>
                      <a:lnTo>
                        <a:pt x="206102" y="8363"/>
                      </a:lnTo>
                      <a:lnTo>
                        <a:pt x="218351" y="8734"/>
                      </a:lnTo>
                      <a:lnTo>
                        <a:pt x="220409" y="8915"/>
                      </a:lnTo>
                      <a:lnTo>
                        <a:pt x="220685" y="9487"/>
                      </a:lnTo>
                      <a:lnTo>
                        <a:pt x="217208" y="10830"/>
                      </a:lnTo>
                      <a:lnTo>
                        <a:pt x="213579" y="11801"/>
                      </a:lnTo>
                      <a:lnTo>
                        <a:pt x="209798" y="12401"/>
                      </a:lnTo>
                      <a:lnTo>
                        <a:pt x="207740" y="12506"/>
                      </a:lnTo>
                      <a:lnTo>
                        <a:pt x="206435" y="11963"/>
                      </a:lnTo>
                      <a:lnTo>
                        <a:pt x="204854" y="12021"/>
                      </a:lnTo>
                      <a:lnTo>
                        <a:pt x="201235" y="12868"/>
                      </a:lnTo>
                      <a:lnTo>
                        <a:pt x="198844" y="13021"/>
                      </a:lnTo>
                      <a:lnTo>
                        <a:pt x="194234" y="12773"/>
                      </a:lnTo>
                      <a:lnTo>
                        <a:pt x="193653" y="13021"/>
                      </a:lnTo>
                      <a:lnTo>
                        <a:pt x="195263" y="13716"/>
                      </a:lnTo>
                      <a:lnTo>
                        <a:pt x="195215" y="14764"/>
                      </a:lnTo>
                      <a:lnTo>
                        <a:pt x="192681" y="16726"/>
                      </a:lnTo>
                      <a:lnTo>
                        <a:pt x="191538" y="17497"/>
                      </a:lnTo>
                      <a:lnTo>
                        <a:pt x="190271" y="17764"/>
                      </a:lnTo>
                      <a:lnTo>
                        <a:pt x="186071" y="17269"/>
                      </a:lnTo>
                      <a:lnTo>
                        <a:pt x="182937" y="17964"/>
                      </a:lnTo>
                      <a:lnTo>
                        <a:pt x="181394" y="18698"/>
                      </a:lnTo>
                      <a:lnTo>
                        <a:pt x="176755" y="20450"/>
                      </a:lnTo>
                      <a:lnTo>
                        <a:pt x="174850" y="21107"/>
                      </a:lnTo>
                      <a:lnTo>
                        <a:pt x="174041" y="21850"/>
                      </a:lnTo>
                      <a:lnTo>
                        <a:pt x="173250" y="22622"/>
                      </a:lnTo>
                      <a:lnTo>
                        <a:pt x="170278" y="23898"/>
                      </a:lnTo>
                      <a:lnTo>
                        <a:pt x="163982" y="25879"/>
                      </a:lnTo>
                      <a:lnTo>
                        <a:pt x="163049" y="26870"/>
                      </a:lnTo>
                      <a:lnTo>
                        <a:pt x="161306" y="27727"/>
                      </a:lnTo>
                      <a:lnTo>
                        <a:pt x="160906" y="28089"/>
                      </a:lnTo>
                      <a:lnTo>
                        <a:pt x="164021" y="27918"/>
                      </a:lnTo>
                      <a:lnTo>
                        <a:pt x="163763" y="28413"/>
                      </a:lnTo>
                      <a:lnTo>
                        <a:pt x="158344" y="31537"/>
                      </a:lnTo>
                      <a:lnTo>
                        <a:pt x="150676" y="34452"/>
                      </a:lnTo>
                      <a:lnTo>
                        <a:pt x="141665" y="38271"/>
                      </a:lnTo>
                      <a:lnTo>
                        <a:pt x="136541" y="41129"/>
                      </a:lnTo>
                      <a:lnTo>
                        <a:pt x="135884" y="41786"/>
                      </a:lnTo>
                      <a:lnTo>
                        <a:pt x="131778" y="43291"/>
                      </a:lnTo>
                      <a:lnTo>
                        <a:pt x="120625" y="46863"/>
                      </a:lnTo>
                      <a:lnTo>
                        <a:pt x="114129" y="48530"/>
                      </a:lnTo>
                      <a:lnTo>
                        <a:pt x="111814" y="49149"/>
                      </a:lnTo>
                      <a:lnTo>
                        <a:pt x="111462" y="48701"/>
                      </a:lnTo>
                      <a:lnTo>
                        <a:pt x="112290" y="48035"/>
                      </a:lnTo>
                      <a:lnTo>
                        <a:pt x="112519" y="47311"/>
                      </a:lnTo>
                      <a:lnTo>
                        <a:pt x="111538" y="46196"/>
                      </a:lnTo>
                      <a:lnTo>
                        <a:pt x="109709" y="46758"/>
                      </a:lnTo>
                      <a:lnTo>
                        <a:pt x="104223" y="47434"/>
                      </a:lnTo>
                      <a:lnTo>
                        <a:pt x="102518" y="48330"/>
                      </a:lnTo>
                      <a:lnTo>
                        <a:pt x="98736" y="49549"/>
                      </a:lnTo>
                      <a:lnTo>
                        <a:pt x="95555" y="50892"/>
                      </a:lnTo>
                      <a:lnTo>
                        <a:pt x="92878" y="51968"/>
                      </a:lnTo>
                      <a:lnTo>
                        <a:pt x="91678" y="52759"/>
                      </a:lnTo>
                      <a:lnTo>
                        <a:pt x="90716" y="53711"/>
                      </a:lnTo>
                      <a:lnTo>
                        <a:pt x="90373" y="54712"/>
                      </a:lnTo>
                      <a:lnTo>
                        <a:pt x="89459" y="55502"/>
                      </a:lnTo>
                      <a:lnTo>
                        <a:pt x="88116" y="56045"/>
                      </a:lnTo>
                      <a:lnTo>
                        <a:pt x="87973" y="56321"/>
                      </a:lnTo>
                      <a:lnTo>
                        <a:pt x="89602" y="56512"/>
                      </a:lnTo>
                      <a:lnTo>
                        <a:pt x="89621" y="56874"/>
                      </a:lnTo>
                      <a:lnTo>
                        <a:pt x="88611" y="58131"/>
                      </a:lnTo>
                      <a:lnTo>
                        <a:pt x="86897" y="59188"/>
                      </a:lnTo>
                      <a:lnTo>
                        <a:pt x="84163" y="60579"/>
                      </a:lnTo>
                      <a:lnTo>
                        <a:pt x="80905" y="61560"/>
                      </a:lnTo>
                      <a:lnTo>
                        <a:pt x="77133" y="62122"/>
                      </a:lnTo>
                      <a:lnTo>
                        <a:pt x="74562" y="62027"/>
                      </a:lnTo>
                      <a:lnTo>
                        <a:pt x="73200" y="61274"/>
                      </a:lnTo>
                      <a:lnTo>
                        <a:pt x="68856" y="61827"/>
                      </a:lnTo>
                      <a:lnTo>
                        <a:pt x="61522" y="63684"/>
                      </a:lnTo>
                      <a:lnTo>
                        <a:pt x="57521" y="64379"/>
                      </a:lnTo>
                      <a:lnTo>
                        <a:pt x="56855" y="63894"/>
                      </a:lnTo>
                      <a:lnTo>
                        <a:pt x="53226" y="64294"/>
                      </a:lnTo>
                      <a:lnTo>
                        <a:pt x="41577" y="66351"/>
                      </a:lnTo>
                      <a:lnTo>
                        <a:pt x="38119" y="66551"/>
                      </a:lnTo>
                      <a:lnTo>
                        <a:pt x="32309" y="65961"/>
                      </a:lnTo>
                      <a:lnTo>
                        <a:pt x="28946" y="66237"/>
                      </a:lnTo>
                      <a:lnTo>
                        <a:pt x="25279" y="65608"/>
                      </a:lnTo>
                      <a:lnTo>
                        <a:pt x="19040" y="62932"/>
                      </a:lnTo>
                      <a:lnTo>
                        <a:pt x="18374" y="61655"/>
                      </a:lnTo>
                      <a:lnTo>
                        <a:pt x="18774" y="60531"/>
                      </a:lnTo>
                      <a:lnTo>
                        <a:pt x="16469" y="60912"/>
                      </a:lnTo>
                      <a:lnTo>
                        <a:pt x="15354" y="60798"/>
                      </a:lnTo>
                      <a:lnTo>
                        <a:pt x="14564" y="60246"/>
                      </a:lnTo>
                      <a:lnTo>
                        <a:pt x="6267" y="59855"/>
                      </a:lnTo>
                      <a:lnTo>
                        <a:pt x="3724" y="59112"/>
                      </a:lnTo>
                      <a:lnTo>
                        <a:pt x="3143" y="58398"/>
                      </a:lnTo>
                      <a:lnTo>
                        <a:pt x="2153" y="55321"/>
                      </a:lnTo>
                      <a:lnTo>
                        <a:pt x="1886" y="53892"/>
                      </a:lnTo>
                      <a:lnTo>
                        <a:pt x="1172" y="53321"/>
                      </a:lnTo>
                      <a:lnTo>
                        <a:pt x="248" y="52492"/>
                      </a:lnTo>
                      <a:lnTo>
                        <a:pt x="0" y="51768"/>
                      </a:lnTo>
                      <a:lnTo>
                        <a:pt x="952" y="51787"/>
                      </a:lnTo>
                      <a:lnTo>
                        <a:pt x="3438" y="53016"/>
                      </a:lnTo>
                      <a:lnTo>
                        <a:pt x="7449" y="55474"/>
                      </a:lnTo>
                      <a:lnTo>
                        <a:pt x="9563" y="56750"/>
                      </a:lnTo>
                      <a:lnTo>
                        <a:pt x="12144" y="56131"/>
                      </a:lnTo>
                      <a:lnTo>
                        <a:pt x="17516" y="54969"/>
                      </a:lnTo>
                      <a:lnTo>
                        <a:pt x="19336" y="54397"/>
                      </a:lnTo>
                      <a:lnTo>
                        <a:pt x="20107" y="53864"/>
                      </a:lnTo>
                      <a:lnTo>
                        <a:pt x="20040" y="52083"/>
                      </a:lnTo>
                      <a:lnTo>
                        <a:pt x="21003" y="51340"/>
                      </a:lnTo>
                      <a:lnTo>
                        <a:pt x="21717" y="51083"/>
                      </a:lnTo>
                      <a:lnTo>
                        <a:pt x="25517" y="51254"/>
                      </a:lnTo>
                      <a:lnTo>
                        <a:pt x="27041" y="51730"/>
                      </a:lnTo>
                      <a:lnTo>
                        <a:pt x="27775" y="52492"/>
                      </a:lnTo>
                      <a:lnTo>
                        <a:pt x="29394" y="52864"/>
                      </a:lnTo>
                      <a:lnTo>
                        <a:pt x="33128" y="53073"/>
                      </a:lnTo>
                      <a:lnTo>
                        <a:pt x="33871" y="54264"/>
                      </a:lnTo>
                      <a:lnTo>
                        <a:pt x="36595" y="55693"/>
                      </a:lnTo>
                      <a:lnTo>
                        <a:pt x="37119" y="55397"/>
                      </a:lnTo>
                      <a:lnTo>
                        <a:pt x="37462" y="54597"/>
                      </a:lnTo>
                      <a:lnTo>
                        <a:pt x="37138" y="54073"/>
                      </a:lnTo>
                      <a:lnTo>
                        <a:pt x="37605" y="53750"/>
                      </a:lnTo>
                      <a:lnTo>
                        <a:pt x="41272" y="52521"/>
                      </a:lnTo>
                      <a:lnTo>
                        <a:pt x="42053" y="51959"/>
                      </a:lnTo>
                      <a:lnTo>
                        <a:pt x="41653" y="51168"/>
                      </a:lnTo>
                      <a:lnTo>
                        <a:pt x="40091" y="50149"/>
                      </a:lnTo>
                      <a:lnTo>
                        <a:pt x="40062" y="49454"/>
                      </a:lnTo>
                      <a:lnTo>
                        <a:pt x="42681" y="48663"/>
                      </a:lnTo>
                      <a:lnTo>
                        <a:pt x="44015" y="48158"/>
                      </a:lnTo>
                      <a:lnTo>
                        <a:pt x="44520" y="48568"/>
                      </a:lnTo>
                      <a:lnTo>
                        <a:pt x="45825" y="48520"/>
                      </a:lnTo>
                      <a:lnTo>
                        <a:pt x="49187" y="47606"/>
                      </a:lnTo>
                      <a:lnTo>
                        <a:pt x="49606" y="47292"/>
                      </a:lnTo>
                      <a:lnTo>
                        <a:pt x="49339" y="46720"/>
                      </a:lnTo>
                      <a:lnTo>
                        <a:pt x="49539" y="46292"/>
                      </a:lnTo>
                      <a:lnTo>
                        <a:pt x="50530" y="45339"/>
                      </a:lnTo>
                      <a:lnTo>
                        <a:pt x="52978" y="43558"/>
                      </a:lnTo>
                      <a:lnTo>
                        <a:pt x="54759" y="42310"/>
                      </a:lnTo>
                      <a:lnTo>
                        <a:pt x="56207" y="41243"/>
                      </a:lnTo>
                      <a:lnTo>
                        <a:pt x="59512" y="39805"/>
                      </a:lnTo>
                      <a:lnTo>
                        <a:pt x="60627" y="38681"/>
                      </a:lnTo>
                      <a:lnTo>
                        <a:pt x="61322" y="38119"/>
                      </a:lnTo>
                      <a:lnTo>
                        <a:pt x="62913" y="37605"/>
                      </a:lnTo>
                      <a:lnTo>
                        <a:pt x="67475" y="36919"/>
                      </a:lnTo>
                      <a:lnTo>
                        <a:pt x="70171" y="37100"/>
                      </a:lnTo>
                      <a:lnTo>
                        <a:pt x="70113" y="37624"/>
                      </a:lnTo>
                      <a:lnTo>
                        <a:pt x="69894" y="38062"/>
                      </a:lnTo>
                      <a:lnTo>
                        <a:pt x="70361" y="38262"/>
                      </a:lnTo>
                      <a:lnTo>
                        <a:pt x="77362" y="37290"/>
                      </a:lnTo>
                      <a:lnTo>
                        <a:pt x="78600" y="37262"/>
                      </a:lnTo>
                      <a:lnTo>
                        <a:pt x="82715" y="35871"/>
                      </a:lnTo>
                      <a:lnTo>
                        <a:pt x="85649" y="34461"/>
                      </a:lnTo>
                      <a:lnTo>
                        <a:pt x="86268" y="34080"/>
                      </a:lnTo>
                      <a:lnTo>
                        <a:pt x="87411" y="32385"/>
                      </a:lnTo>
                      <a:lnTo>
                        <a:pt x="87373" y="32004"/>
                      </a:lnTo>
                      <a:lnTo>
                        <a:pt x="86096" y="31956"/>
                      </a:lnTo>
                      <a:lnTo>
                        <a:pt x="85782" y="31337"/>
                      </a:lnTo>
                      <a:lnTo>
                        <a:pt x="86392" y="30147"/>
                      </a:lnTo>
                      <a:lnTo>
                        <a:pt x="85877" y="28956"/>
                      </a:lnTo>
                      <a:lnTo>
                        <a:pt x="84344" y="28232"/>
                      </a:lnTo>
                      <a:lnTo>
                        <a:pt x="83477" y="26851"/>
                      </a:lnTo>
                      <a:lnTo>
                        <a:pt x="83572" y="26203"/>
                      </a:lnTo>
                      <a:lnTo>
                        <a:pt x="84658" y="25403"/>
                      </a:lnTo>
                      <a:lnTo>
                        <a:pt x="84858" y="25127"/>
                      </a:lnTo>
                      <a:lnTo>
                        <a:pt x="85315" y="24470"/>
                      </a:lnTo>
                      <a:lnTo>
                        <a:pt x="84439" y="22288"/>
                      </a:lnTo>
                      <a:lnTo>
                        <a:pt x="83591" y="22174"/>
                      </a:lnTo>
                      <a:lnTo>
                        <a:pt x="81410" y="22498"/>
                      </a:lnTo>
                      <a:lnTo>
                        <a:pt x="81496" y="21955"/>
                      </a:lnTo>
                      <a:lnTo>
                        <a:pt x="83858" y="20545"/>
                      </a:lnTo>
                      <a:lnTo>
                        <a:pt x="84830" y="19602"/>
                      </a:lnTo>
                      <a:lnTo>
                        <a:pt x="84411" y="19107"/>
                      </a:lnTo>
                      <a:lnTo>
                        <a:pt x="84734" y="18288"/>
                      </a:lnTo>
                      <a:lnTo>
                        <a:pt x="85820" y="17126"/>
                      </a:lnTo>
                      <a:lnTo>
                        <a:pt x="87011" y="16126"/>
                      </a:lnTo>
                      <a:lnTo>
                        <a:pt x="88306" y="15278"/>
                      </a:lnTo>
                      <a:lnTo>
                        <a:pt x="88335" y="14783"/>
                      </a:lnTo>
                      <a:lnTo>
                        <a:pt x="86392" y="14859"/>
                      </a:lnTo>
                      <a:lnTo>
                        <a:pt x="78924" y="14678"/>
                      </a:lnTo>
                      <a:lnTo>
                        <a:pt x="79162" y="12992"/>
                      </a:lnTo>
                      <a:lnTo>
                        <a:pt x="79077" y="12173"/>
                      </a:lnTo>
                      <a:lnTo>
                        <a:pt x="79657" y="11097"/>
                      </a:lnTo>
                      <a:lnTo>
                        <a:pt x="79305" y="10020"/>
                      </a:lnTo>
                      <a:lnTo>
                        <a:pt x="77791" y="8506"/>
                      </a:lnTo>
                      <a:lnTo>
                        <a:pt x="77991" y="7115"/>
                      </a:lnTo>
                      <a:lnTo>
                        <a:pt x="79896" y="5848"/>
                      </a:lnTo>
                      <a:lnTo>
                        <a:pt x="81944" y="5905"/>
                      </a:lnTo>
                      <a:lnTo>
                        <a:pt x="84134" y="7287"/>
                      </a:lnTo>
                      <a:lnTo>
                        <a:pt x="84020" y="8049"/>
                      </a:lnTo>
                      <a:lnTo>
                        <a:pt x="82848" y="8944"/>
                      </a:lnTo>
                      <a:lnTo>
                        <a:pt x="83306" y="9192"/>
                      </a:lnTo>
                      <a:lnTo>
                        <a:pt x="84639" y="9058"/>
                      </a:lnTo>
                      <a:lnTo>
                        <a:pt x="91859" y="10839"/>
                      </a:lnTo>
                      <a:lnTo>
                        <a:pt x="92383" y="11354"/>
                      </a:lnTo>
                      <a:lnTo>
                        <a:pt x="92440" y="12040"/>
                      </a:lnTo>
                      <a:lnTo>
                        <a:pt x="92040" y="12878"/>
                      </a:lnTo>
                      <a:lnTo>
                        <a:pt x="92212" y="13630"/>
                      </a:lnTo>
                      <a:lnTo>
                        <a:pt x="92954" y="14278"/>
                      </a:lnTo>
                      <a:lnTo>
                        <a:pt x="96783" y="15288"/>
                      </a:lnTo>
                      <a:lnTo>
                        <a:pt x="98308" y="17002"/>
                      </a:lnTo>
                      <a:lnTo>
                        <a:pt x="98603" y="18126"/>
                      </a:lnTo>
                      <a:lnTo>
                        <a:pt x="100155" y="18669"/>
                      </a:lnTo>
                      <a:lnTo>
                        <a:pt x="104889" y="18231"/>
                      </a:lnTo>
                      <a:lnTo>
                        <a:pt x="106804" y="17745"/>
                      </a:lnTo>
                      <a:lnTo>
                        <a:pt x="107833" y="17126"/>
                      </a:lnTo>
                      <a:lnTo>
                        <a:pt x="108747" y="16878"/>
                      </a:lnTo>
                      <a:lnTo>
                        <a:pt x="109538" y="16974"/>
                      </a:lnTo>
                      <a:lnTo>
                        <a:pt x="110071" y="17850"/>
                      </a:lnTo>
                      <a:lnTo>
                        <a:pt x="109785" y="18231"/>
                      </a:lnTo>
                      <a:lnTo>
                        <a:pt x="107975" y="19707"/>
                      </a:lnTo>
                      <a:lnTo>
                        <a:pt x="108109" y="20136"/>
                      </a:lnTo>
                      <a:lnTo>
                        <a:pt x="108775" y="21203"/>
                      </a:lnTo>
                      <a:lnTo>
                        <a:pt x="109156" y="21269"/>
                      </a:lnTo>
                      <a:lnTo>
                        <a:pt x="110519" y="21060"/>
                      </a:lnTo>
                      <a:lnTo>
                        <a:pt x="111538" y="21536"/>
                      </a:lnTo>
                      <a:lnTo>
                        <a:pt x="112824" y="23498"/>
                      </a:lnTo>
                      <a:lnTo>
                        <a:pt x="112700" y="24451"/>
                      </a:lnTo>
                      <a:lnTo>
                        <a:pt x="113128" y="26746"/>
                      </a:lnTo>
                      <a:lnTo>
                        <a:pt x="115005" y="29394"/>
                      </a:lnTo>
                      <a:lnTo>
                        <a:pt x="116767" y="29537"/>
                      </a:lnTo>
                      <a:lnTo>
                        <a:pt x="120767" y="29832"/>
                      </a:lnTo>
                      <a:lnTo>
                        <a:pt x="125930" y="29089"/>
                      </a:lnTo>
                      <a:lnTo>
                        <a:pt x="127416" y="29404"/>
                      </a:lnTo>
                      <a:lnTo>
                        <a:pt x="128892" y="28594"/>
                      </a:lnTo>
                      <a:lnTo>
                        <a:pt x="131569" y="27680"/>
                      </a:lnTo>
                      <a:lnTo>
                        <a:pt x="131864" y="27794"/>
                      </a:lnTo>
                      <a:lnTo>
                        <a:pt x="131302" y="28832"/>
                      </a:lnTo>
                      <a:lnTo>
                        <a:pt x="140694" y="27661"/>
                      </a:lnTo>
                      <a:lnTo>
                        <a:pt x="147609" y="25756"/>
                      </a:lnTo>
                      <a:lnTo>
                        <a:pt x="155277" y="22755"/>
                      </a:lnTo>
                      <a:lnTo>
                        <a:pt x="159677" y="20869"/>
                      </a:lnTo>
                      <a:lnTo>
                        <a:pt x="166030" y="18393"/>
                      </a:lnTo>
                      <a:lnTo>
                        <a:pt x="169278" y="16754"/>
                      </a:lnTo>
                      <a:lnTo>
                        <a:pt x="172669" y="14364"/>
                      </a:lnTo>
                      <a:lnTo>
                        <a:pt x="175041" y="12944"/>
                      </a:lnTo>
                      <a:lnTo>
                        <a:pt x="176403" y="12487"/>
                      </a:lnTo>
                      <a:lnTo>
                        <a:pt x="178365" y="11240"/>
                      </a:lnTo>
                      <a:lnTo>
                        <a:pt x="180946" y="9182"/>
                      </a:lnTo>
                      <a:lnTo>
                        <a:pt x="184547" y="7249"/>
                      </a:lnTo>
                      <a:lnTo>
                        <a:pt x="189186" y="5439"/>
                      </a:lnTo>
                      <a:lnTo>
                        <a:pt x="194805" y="3667"/>
                      </a:lnTo>
                      <a:lnTo>
                        <a:pt x="206654" y="781"/>
                      </a:lnTo>
                      <a:lnTo>
                        <a:pt x="210531" y="219"/>
                      </a:lnTo>
                      <a:lnTo>
                        <a:pt x="221456" y="0"/>
                      </a:lnTo>
                      <a:lnTo>
                        <a:pt x="222904" y="257"/>
                      </a:lnTo>
                      <a:lnTo>
                        <a:pt x="224523" y="867"/>
                      </a:lnTo>
                      <a:lnTo>
                        <a:pt x="228409" y="1276"/>
                      </a:lnTo>
                      <a:lnTo>
                        <a:pt x="229514" y="1772"/>
                      </a:lnTo>
                      <a:lnTo>
                        <a:pt x="235401" y="2657"/>
                      </a:lnTo>
                      <a:lnTo>
                        <a:pt x="238620" y="3296"/>
                      </a:lnTo>
                      <a:lnTo>
                        <a:pt x="241316" y="3867"/>
                      </a:lnTo>
                      <a:lnTo>
                        <a:pt x="241259" y="4524"/>
                      </a:lnTo>
                      <a:close/>
                    </a:path>
                  </a:pathLst>
                </a:custGeom>
                <a:solidFill>
                  <a:srgbClr val="FFFFFF"/>
                </a:solidFill>
                <a:ln w="9525" cap="flat">
                  <a:noFill/>
                  <a:prstDash val="solid"/>
                  <a:miter/>
                </a:ln>
              </p:spPr>
              <p:txBody>
                <a:bodyPr rtlCol="0" anchor="ctr"/>
                <a:lstStyle/>
                <a:p>
                  <a:endParaRPr lang="en-US"/>
                </a:p>
              </p:txBody>
            </p:sp>
            <p:sp>
              <p:nvSpPr>
                <p:cNvPr id="461" name="Freeform: Shape 460">
                  <a:extLst>
                    <a:ext uri="{FF2B5EF4-FFF2-40B4-BE49-F238E27FC236}">
                      <a16:creationId xmlns:a16="http://schemas.microsoft.com/office/drawing/2014/main" id="{E00889C5-C819-403A-BE6E-B8CA2B956982}"/>
                    </a:ext>
                  </a:extLst>
                </p:cNvPr>
                <p:cNvSpPr/>
                <p:nvPr/>
              </p:nvSpPr>
              <p:spPr>
                <a:xfrm>
                  <a:off x="3094252" y="2650881"/>
                  <a:ext cx="59664" cy="126463"/>
                </a:xfrm>
                <a:custGeom>
                  <a:avLst/>
                  <a:gdLst>
                    <a:gd name="connsiteX0" fmla="*/ 20679 w 59664"/>
                    <a:gd name="connsiteY0" fmla="*/ 116043 h 126463"/>
                    <a:gd name="connsiteX1" fmla="*/ 20679 w 59664"/>
                    <a:gd name="connsiteY1" fmla="*/ 116043 h 126463"/>
                    <a:gd name="connsiteX2" fmla="*/ 20260 w 59664"/>
                    <a:gd name="connsiteY2" fmla="*/ 117243 h 126463"/>
                    <a:gd name="connsiteX3" fmla="*/ 20536 w 59664"/>
                    <a:gd name="connsiteY3" fmla="*/ 119367 h 126463"/>
                    <a:gd name="connsiteX4" fmla="*/ 18126 w 59664"/>
                    <a:gd name="connsiteY4" fmla="*/ 119215 h 126463"/>
                    <a:gd name="connsiteX5" fmla="*/ 17135 w 59664"/>
                    <a:gd name="connsiteY5" fmla="*/ 118358 h 126463"/>
                    <a:gd name="connsiteX6" fmla="*/ 16307 w 59664"/>
                    <a:gd name="connsiteY6" fmla="*/ 116081 h 126463"/>
                    <a:gd name="connsiteX7" fmla="*/ 15002 w 59664"/>
                    <a:gd name="connsiteY7" fmla="*/ 117110 h 126463"/>
                    <a:gd name="connsiteX8" fmla="*/ 13802 w 59664"/>
                    <a:gd name="connsiteY8" fmla="*/ 118100 h 126463"/>
                    <a:gd name="connsiteX9" fmla="*/ 12306 w 59664"/>
                    <a:gd name="connsiteY9" fmla="*/ 120129 h 126463"/>
                    <a:gd name="connsiteX10" fmla="*/ 11001 w 59664"/>
                    <a:gd name="connsiteY10" fmla="*/ 121606 h 126463"/>
                    <a:gd name="connsiteX11" fmla="*/ 10077 w 59664"/>
                    <a:gd name="connsiteY11" fmla="*/ 124254 h 126463"/>
                    <a:gd name="connsiteX12" fmla="*/ 9039 w 59664"/>
                    <a:gd name="connsiteY12" fmla="*/ 125073 h 126463"/>
                    <a:gd name="connsiteX13" fmla="*/ 5886 w 59664"/>
                    <a:gd name="connsiteY13" fmla="*/ 126463 h 126463"/>
                    <a:gd name="connsiteX14" fmla="*/ 3877 w 59664"/>
                    <a:gd name="connsiteY14" fmla="*/ 126463 h 126463"/>
                    <a:gd name="connsiteX15" fmla="*/ 1610 w 59664"/>
                    <a:gd name="connsiteY15" fmla="*/ 125816 h 126463"/>
                    <a:gd name="connsiteX16" fmla="*/ 810 w 59664"/>
                    <a:gd name="connsiteY16" fmla="*/ 124463 h 126463"/>
                    <a:gd name="connsiteX17" fmla="*/ 2238 w 59664"/>
                    <a:gd name="connsiteY17" fmla="*/ 121044 h 126463"/>
                    <a:gd name="connsiteX18" fmla="*/ 3381 w 59664"/>
                    <a:gd name="connsiteY18" fmla="*/ 118720 h 126463"/>
                    <a:gd name="connsiteX19" fmla="*/ 4020 w 59664"/>
                    <a:gd name="connsiteY19" fmla="*/ 117481 h 126463"/>
                    <a:gd name="connsiteX20" fmla="*/ 7087 w 59664"/>
                    <a:gd name="connsiteY20" fmla="*/ 113881 h 126463"/>
                    <a:gd name="connsiteX21" fmla="*/ 8106 w 59664"/>
                    <a:gd name="connsiteY21" fmla="*/ 112424 h 126463"/>
                    <a:gd name="connsiteX22" fmla="*/ 9496 w 59664"/>
                    <a:gd name="connsiteY22" fmla="*/ 109795 h 126463"/>
                    <a:gd name="connsiteX23" fmla="*/ 12973 w 59664"/>
                    <a:gd name="connsiteY23" fmla="*/ 105613 h 126463"/>
                    <a:gd name="connsiteX24" fmla="*/ 13735 w 59664"/>
                    <a:gd name="connsiteY24" fmla="*/ 104908 h 126463"/>
                    <a:gd name="connsiteX25" fmla="*/ 16888 w 59664"/>
                    <a:gd name="connsiteY25" fmla="*/ 103470 h 126463"/>
                    <a:gd name="connsiteX26" fmla="*/ 17697 w 59664"/>
                    <a:gd name="connsiteY26" fmla="*/ 102546 h 126463"/>
                    <a:gd name="connsiteX27" fmla="*/ 20507 w 59664"/>
                    <a:gd name="connsiteY27" fmla="*/ 100546 h 126463"/>
                    <a:gd name="connsiteX28" fmla="*/ 23308 w 59664"/>
                    <a:gd name="connsiteY28" fmla="*/ 99470 h 126463"/>
                    <a:gd name="connsiteX29" fmla="*/ 26432 w 59664"/>
                    <a:gd name="connsiteY29" fmla="*/ 97288 h 126463"/>
                    <a:gd name="connsiteX30" fmla="*/ 26708 w 59664"/>
                    <a:gd name="connsiteY30" fmla="*/ 96698 h 126463"/>
                    <a:gd name="connsiteX31" fmla="*/ 25184 w 59664"/>
                    <a:gd name="connsiteY31" fmla="*/ 96050 h 126463"/>
                    <a:gd name="connsiteX32" fmla="*/ 24775 w 59664"/>
                    <a:gd name="connsiteY32" fmla="*/ 95974 h 126463"/>
                    <a:gd name="connsiteX33" fmla="*/ 16764 w 59664"/>
                    <a:gd name="connsiteY33" fmla="*/ 101032 h 126463"/>
                    <a:gd name="connsiteX34" fmla="*/ 15754 w 59664"/>
                    <a:gd name="connsiteY34" fmla="*/ 101432 h 126463"/>
                    <a:gd name="connsiteX35" fmla="*/ 14916 w 59664"/>
                    <a:gd name="connsiteY35" fmla="*/ 101070 h 126463"/>
                    <a:gd name="connsiteX36" fmla="*/ 15831 w 59664"/>
                    <a:gd name="connsiteY36" fmla="*/ 99603 h 126463"/>
                    <a:gd name="connsiteX37" fmla="*/ 19241 w 59664"/>
                    <a:gd name="connsiteY37" fmla="*/ 97060 h 126463"/>
                    <a:gd name="connsiteX38" fmla="*/ 28270 w 59664"/>
                    <a:gd name="connsiteY38" fmla="*/ 90030 h 126463"/>
                    <a:gd name="connsiteX39" fmla="*/ 29223 w 59664"/>
                    <a:gd name="connsiteY39" fmla="*/ 88802 h 126463"/>
                    <a:gd name="connsiteX40" fmla="*/ 29261 w 59664"/>
                    <a:gd name="connsiteY40" fmla="*/ 88211 h 126463"/>
                    <a:gd name="connsiteX41" fmla="*/ 28365 w 59664"/>
                    <a:gd name="connsiteY41" fmla="*/ 88240 h 126463"/>
                    <a:gd name="connsiteX42" fmla="*/ 28356 w 59664"/>
                    <a:gd name="connsiteY42" fmla="*/ 87792 h 126463"/>
                    <a:gd name="connsiteX43" fmla="*/ 28899 w 59664"/>
                    <a:gd name="connsiteY43" fmla="*/ 86201 h 126463"/>
                    <a:gd name="connsiteX44" fmla="*/ 29366 w 59664"/>
                    <a:gd name="connsiteY44" fmla="*/ 85125 h 126463"/>
                    <a:gd name="connsiteX45" fmla="*/ 29166 w 59664"/>
                    <a:gd name="connsiteY45" fmla="*/ 84753 h 126463"/>
                    <a:gd name="connsiteX46" fmla="*/ 28270 w 59664"/>
                    <a:gd name="connsiteY46" fmla="*/ 84687 h 126463"/>
                    <a:gd name="connsiteX47" fmla="*/ 22336 w 59664"/>
                    <a:gd name="connsiteY47" fmla="*/ 86554 h 126463"/>
                    <a:gd name="connsiteX48" fmla="*/ 20793 w 59664"/>
                    <a:gd name="connsiteY48" fmla="*/ 87278 h 126463"/>
                    <a:gd name="connsiteX49" fmla="*/ 19536 w 59664"/>
                    <a:gd name="connsiteY49" fmla="*/ 88373 h 126463"/>
                    <a:gd name="connsiteX50" fmla="*/ 18116 w 59664"/>
                    <a:gd name="connsiteY50" fmla="*/ 90611 h 126463"/>
                    <a:gd name="connsiteX51" fmla="*/ 16974 w 59664"/>
                    <a:gd name="connsiteY51" fmla="*/ 91688 h 126463"/>
                    <a:gd name="connsiteX52" fmla="*/ 13868 w 59664"/>
                    <a:gd name="connsiteY52" fmla="*/ 93316 h 126463"/>
                    <a:gd name="connsiteX53" fmla="*/ 12897 w 59664"/>
                    <a:gd name="connsiteY53" fmla="*/ 93526 h 126463"/>
                    <a:gd name="connsiteX54" fmla="*/ 13306 w 59664"/>
                    <a:gd name="connsiteY54" fmla="*/ 92021 h 126463"/>
                    <a:gd name="connsiteX55" fmla="*/ 15097 w 59664"/>
                    <a:gd name="connsiteY55" fmla="*/ 88811 h 126463"/>
                    <a:gd name="connsiteX56" fmla="*/ 17326 w 59664"/>
                    <a:gd name="connsiteY56" fmla="*/ 85925 h 126463"/>
                    <a:gd name="connsiteX57" fmla="*/ 19993 w 59664"/>
                    <a:gd name="connsiteY57" fmla="*/ 83363 h 126463"/>
                    <a:gd name="connsiteX58" fmla="*/ 21812 w 59664"/>
                    <a:gd name="connsiteY58" fmla="*/ 80258 h 126463"/>
                    <a:gd name="connsiteX59" fmla="*/ 22803 w 59664"/>
                    <a:gd name="connsiteY59" fmla="*/ 76600 h 126463"/>
                    <a:gd name="connsiteX60" fmla="*/ 22774 w 59664"/>
                    <a:gd name="connsiteY60" fmla="*/ 74752 h 126463"/>
                    <a:gd name="connsiteX61" fmla="*/ 20241 w 59664"/>
                    <a:gd name="connsiteY61" fmla="*/ 75152 h 126463"/>
                    <a:gd name="connsiteX62" fmla="*/ 18402 w 59664"/>
                    <a:gd name="connsiteY62" fmla="*/ 75990 h 126463"/>
                    <a:gd name="connsiteX63" fmla="*/ 15421 w 59664"/>
                    <a:gd name="connsiteY63" fmla="*/ 78391 h 126463"/>
                    <a:gd name="connsiteX64" fmla="*/ 14821 w 59664"/>
                    <a:gd name="connsiteY64" fmla="*/ 78410 h 126463"/>
                    <a:gd name="connsiteX65" fmla="*/ 15478 w 59664"/>
                    <a:gd name="connsiteY65" fmla="*/ 76410 h 126463"/>
                    <a:gd name="connsiteX66" fmla="*/ 18926 w 59664"/>
                    <a:gd name="connsiteY66" fmla="*/ 74085 h 126463"/>
                    <a:gd name="connsiteX67" fmla="*/ 20698 w 59664"/>
                    <a:gd name="connsiteY67" fmla="*/ 72619 h 126463"/>
                    <a:gd name="connsiteX68" fmla="*/ 21184 w 59664"/>
                    <a:gd name="connsiteY68" fmla="*/ 71828 h 126463"/>
                    <a:gd name="connsiteX69" fmla="*/ 20383 w 59664"/>
                    <a:gd name="connsiteY69" fmla="*/ 71714 h 126463"/>
                    <a:gd name="connsiteX70" fmla="*/ 16621 w 59664"/>
                    <a:gd name="connsiteY70" fmla="*/ 71685 h 126463"/>
                    <a:gd name="connsiteX71" fmla="*/ 14983 w 59664"/>
                    <a:gd name="connsiteY71" fmla="*/ 71752 h 126463"/>
                    <a:gd name="connsiteX72" fmla="*/ 13621 w 59664"/>
                    <a:gd name="connsiteY72" fmla="*/ 72580 h 126463"/>
                    <a:gd name="connsiteX73" fmla="*/ 14335 w 59664"/>
                    <a:gd name="connsiteY73" fmla="*/ 73238 h 126463"/>
                    <a:gd name="connsiteX74" fmla="*/ 13249 w 59664"/>
                    <a:gd name="connsiteY74" fmla="*/ 74590 h 126463"/>
                    <a:gd name="connsiteX75" fmla="*/ 9039 w 59664"/>
                    <a:gd name="connsiteY75" fmla="*/ 78705 h 126463"/>
                    <a:gd name="connsiteX76" fmla="*/ 7715 w 59664"/>
                    <a:gd name="connsiteY76" fmla="*/ 79496 h 126463"/>
                    <a:gd name="connsiteX77" fmla="*/ 4972 w 59664"/>
                    <a:gd name="connsiteY77" fmla="*/ 78305 h 126463"/>
                    <a:gd name="connsiteX78" fmla="*/ 4248 w 59664"/>
                    <a:gd name="connsiteY78" fmla="*/ 76600 h 126463"/>
                    <a:gd name="connsiteX79" fmla="*/ 5534 w 59664"/>
                    <a:gd name="connsiteY79" fmla="*/ 74381 h 126463"/>
                    <a:gd name="connsiteX80" fmla="*/ 5886 w 59664"/>
                    <a:gd name="connsiteY80" fmla="*/ 72866 h 126463"/>
                    <a:gd name="connsiteX81" fmla="*/ 5486 w 59664"/>
                    <a:gd name="connsiteY81" fmla="*/ 70885 h 126463"/>
                    <a:gd name="connsiteX82" fmla="*/ 6420 w 59664"/>
                    <a:gd name="connsiteY82" fmla="*/ 69361 h 126463"/>
                    <a:gd name="connsiteX83" fmla="*/ 6763 w 59664"/>
                    <a:gd name="connsiteY83" fmla="*/ 67170 h 126463"/>
                    <a:gd name="connsiteX84" fmla="*/ 2819 w 59664"/>
                    <a:gd name="connsiteY84" fmla="*/ 63979 h 126463"/>
                    <a:gd name="connsiteX85" fmla="*/ 2915 w 59664"/>
                    <a:gd name="connsiteY85" fmla="*/ 62913 h 126463"/>
                    <a:gd name="connsiteX86" fmla="*/ 4039 w 59664"/>
                    <a:gd name="connsiteY86" fmla="*/ 60693 h 126463"/>
                    <a:gd name="connsiteX87" fmla="*/ 3429 w 59664"/>
                    <a:gd name="connsiteY87" fmla="*/ 58483 h 126463"/>
                    <a:gd name="connsiteX88" fmla="*/ 591 w 59664"/>
                    <a:gd name="connsiteY88" fmla="*/ 53168 h 126463"/>
                    <a:gd name="connsiteX89" fmla="*/ 1057 w 59664"/>
                    <a:gd name="connsiteY89" fmla="*/ 51854 h 126463"/>
                    <a:gd name="connsiteX90" fmla="*/ 1572 w 59664"/>
                    <a:gd name="connsiteY90" fmla="*/ 51340 h 126463"/>
                    <a:gd name="connsiteX91" fmla="*/ 1248 w 59664"/>
                    <a:gd name="connsiteY91" fmla="*/ 49035 h 126463"/>
                    <a:gd name="connsiteX92" fmla="*/ 2010 w 59664"/>
                    <a:gd name="connsiteY92" fmla="*/ 47644 h 126463"/>
                    <a:gd name="connsiteX93" fmla="*/ 2562 w 59664"/>
                    <a:gd name="connsiteY93" fmla="*/ 47168 h 126463"/>
                    <a:gd name="connsiteX94" fmla="*/ 6715 w 59664"/>
                    <a:gd name="connsiteY94" fmla="*/ 45625 h 126463"/>
                    <a:gd name="connsiteX95" fmla="*/ 14707 w 59664"/>
                    <a:gd name="connsiteY95" fmla="*/ 43948 h 126463"/>
                    <a:gd name="connsiteX96" fmla="*/ 16316 w 59664"/>
                    <a:gd name="connsiteY96" fmla="*/ 43139 h 126463"/>
                    <a:gd name="connsiteX97" fmla="*/ 15135 w 59664"/>
                    <a:gd name="connsiteY97" fmla="*/ 42462 h 126463"/>
                    <a:gd name="connsiteX98" fmla="*/ 11192 w 59664"/>
                    <a:gd name="connsiteY98" fmla="*/ 41919 h 126463"/>
                    <a:gd name="connsiteX99" fmla="*/ 8553 w 59664"/>
                    <a:gd name="connsiteY99" fmla="*/ 42110 h 126463"/>
                    <a:gd name="connsiteX100" fmla="*/ 5496 w 59664"/>
                    <a:gd name="connsiteY100" fmla="*/ 42615 h 126463"/>
                    <a:gd name="connsiteX101" fmla="*/ 3029 w 59664"/>
                    <a:gd name="connsiteY101" fmla="*/ 43015 h 126463"/>
                    <a:gd name="connsiteX102" fmla="*/ 2067 w 59664"/>
                    <a:gd name="connsiteY102" fmla="*/ 42224 h 126463"/>
                    <a:gd name="connsiteX103" fmla="*/ 867 w 59664"/>
                    <a:gd name="connsiteY103" fmla="*/ 39005 h 126463"/>
                    <a:gd name="connsiteX104" fmla="*/ 0 w 59664"/>
                    <a:gd name="connsiteY104" fmla="*/ 38691 h 126463"/>
                    <a:gd name="connsiteX105" fmla="*/ 276 w 59664"/>
                    <a:gd name="connsiteY105" fmla="*/ 37909 h 126463"/>
                    <a:gd name="connsiteX106" fmla="*/ 4372 w 59664"/>
                    <a:gd name="connsiteY106" fmla="*/ 33404 h 126463"/>
                    <a:gd name="connsiteX107" fmla="*/ 10087 w 59664"/>
                    <a:gd name="connsiteY107" fmla="*/ 29394 h 126463"/>
                    <a:gd name="connsiteX108" fmla="*/ 12840 w 59664"/>
                    <a:gd name="connsiteY108" fmla="*/ 26975 h 126463"/>
                    <a:gd name="connsiteX109" fmla="*/ 16678 w 59664"/>
                    <a:gd name="connsiteY109" fmla="*/ 23203 h 126463"/>
                    <a:gd name="connsiteX110" fmla="*/ 17869 w 59664"/>
                    <a:gd name="connsiteY110" fmla="*/ 21888 h 126463"/>
                    <a:gd name="connsiteX111" fmla="*/ 18183 w 59664"/>
                    <a:gd name="connsiteY111" fmla="*/ 20774 h 126463"/>
                    <a:gd name="connsiteX112" fmla="*/ 22488 w 59664"/>
                    <a:gd name="connsiteY112" fmla="*/ 17183 h 126463"/>
                    <a:gd name="connsiteX113" fmla="*/ 26098 w 59664"/>
                    <a:gd name="connsiteY113" fmla="*/ 16250 h 126463"/>
                    <a:gd name="connsiteX114" fmla="*/ 27651 w 59664"/>
                    <a:gd name="connsiteY114" fmla="*/ 16878 h 126463"/>
                    <a:gd name="connsiteX115" fmla="*/ 29842 w 59664"/>
                    <a:gd name="connsiteY115" fmla="*/ 17964 h 126463"/>
                    <a:gd name="connsiteX116" fmla="*/ 34004 w 59664"/>
                    <a:gd name="connsiteY116" fmla="*/ 17659 h 126463"/>
                    <a:gd name="connsiteX117" fmla="*/ 37529 w 59664"/>
                    <a:gd name="connsiteY117" fmla="*/ 18231 h 126463"/>
                    <a:gd name="connsiteX118" fmla="*/ 42100 w 59664"/>
                    <a:gd name="connsiteY118" fmla="*/ 22146 h 126463"/>
                    <a:gd name="connsiteX119" fmla="*/ 42920 w 59664"/>
                    <a:gd name="connsiteY119" fmla="*/ 22612 h 126463"/>
                    <a:gd name="connsiteX120" fmla="*/ 44387 w 59664"/>
                    <a:gd name="connsiteY120" fmla="*/ 22450 h 126463"/>
                    <a:gd name="connsiteX121" fmla="*/ 45453 w 59664"/>
                    <a:gd name="connsiteY121" fmla="*/ 21250 h 126463"/>
                    <a:gd name="connsiteX122" fmla="*/ 42882 w 59664"/>
                    <a:gd name="connsiteY122" fmla="*/ 18593 h 126463"/>
                    <a:gd name="connsiteX123" fmla="*/ 40786 w 59664"/>
                    <a:gd name="connsiteY123" fmla="*/ 16974 h 126463"/>
                    <a:gd name="connsiteX124" fmla="*/ 40196 w 59664"/>
                    <a:gd name="connsiteY124" fmla="*/ 15764 h 126463"/>
                    <a:gd name="connsiteX125" fmla="*/ 40405 w 59664"/>
                    <a:gd name="connsiteY125" fmla="*/ 14087 h 126463"/>
                    <a:gd name="connsiteX126" fmla="*/ 41596 w 59664"/>
                    <a:gd name="connsiteY126" fmla="*/ 12440 h 126463"/>
                    <a:gd name="connsiteX127" fmla="*/ 43796 w 59664"/>
                    <a:gd name="connsiteY127" fmla="*/ 10820 h 126463"/>
                    <a:gd name="connsiteX128" fmla="*/ 49054 w 59664"/>
                    <a:gd name="connsiteY128" fmla="*/ 6125 h 126463"/>
                    <a:gd name="connsiteX129" fmla="*/ 57064 w 59664"/>
                    <a:gd name="connsiteY129" fmla="*/ 86 h 126463"/>
                    <a:gd name="connsiteX130" fmla="*/ 57579 w 59664"/>
                    <a:gd name="connsiteY130" fmla="*/ 0 h 126463"/>
                    <a:gd name="connsiteX131" fmla="*/ 58512 w 59664"/>
                    <a:gd name="connsiteY131" fmla="*/ 1191 h 126463"/>
                    <a:gd name="connsiteX132" fmla="*/ 58017 w 59664"/>
                    <a:gd name="connsiteY132" fmla="*/ 1895 h 126463"/>
                    <a:gd name="connsiteX133" fmla="*/ 55902 w 59664"/>
                    <a:gd name="connsiteY133" fmla="*/ 2867 h 126463"/>
                    <a:gd name="connsiteX134" fmla="*/ 55959 w 59664"/>
                    <a:gd name="connsiteY134" fmla="*/ 3048 h 126463"/>
                    <a:gd name="connsiteX135" fmla="*/ 59446 w 59664"/>
                    <a:gd name="connsiteY135" fmla="*/ 3019 h 126463"/>
                    <a:gd name="connsiteX136" fmla="*/ 59665 w 59664"/>
                    <a:gd name="connsiteY136" fmla="*/ 3543 h 126463"/>
                    <a:gd name="connsiteX137" fmla="*/ 57807 w 59664"/>
                    <a:gd name="connsiteY137" fmla="*/ 4648 h 126463"/>
                    <a:gd name="connsiteX138" fmla="*/ 50949 w 59664"/>
                    <a:gd name="connsiteY138" fmla="*/ 6639 h 126463"/>
                    <a:gd name="connsiteX139" fmla="*/ 46025 w 59664"/>
                    <a:gd name="connsiteY139" fmla="*/ 10516 h 126463"/>
                    <a:gd name="connsiteX140" fmla="*/ 43815 w 59664"/>
                    <a:gd name="connsiteY140" fmla="*/ 12211 h 126463"/>
                    <a:gd name="connsiteX141" fmla="*/ 43634 w 59664"/>
                    <a:gd name="connsiteY141" fmla="*/ 13211 h 126463"/>
                    <a:gd name="connsiteX142" fmla="*/ 45549 w 59664"/>
                    <a:gd name="connsiteY142" fmla="*/ 15192 h 126463"/>
                    <a:gd name="connsiteX143" fmla="*/ 46120 w 59664"/>
                    <a:gd name="connsiteY143" fmla="*/ 14916 h 126463"/>
                    <a:gd name="connsiteX144" fmla="*/ 47273 w 59664"/>
                    <a:gd name="connsiteY144" fmla="*/ 13725 h 126463"/>
                    <a:gd name="connsiteX145" fmla="*/ 48606 w 59664"/>
                    <a:gd name="connsiteY145" fmla="*/ 12944 h 126463"/>
                    <a:gd name="connsiteX146" fmla="*/ 50711 w 59664"/>
                    <a:gd name="connsiteY146" fmla="*/ 12097 h 126463"/>
                    <a:gd name="connsiteX147" fmla="*/ 54216 w 59664"/>
                    <a:gd name="connsiteY147" fmla="*/ 11697 h 126463"/>
                    <a:gd name="connsiteX148" fmla="*/ 56998 w 59664"/>
                    <a:gd name="connsiteY148" fmla="*/ 10458 h 126463"/>
                    <a:gd name="connsiteX149" fmla="*/ 56693 w 59664"/>
                    <a:gd name="connsiteY149" fmla="*/ 11097 h 126463"/>
                    <a:gd name="connsiteX150" fmla="*/ 54845 w 59664"/>
                    <a:gd name="connsiteY150" fmla="*/ 12583 h 126463"/>
                    <a:gd name="connsiteX151" fmla="*/ 48854 w 59664"/>
                    <a:gd name="connsiteY151" fmla="*/ 13649 h 126463"/>
                    <a:gd name="connsiteX152" fmla="*/ 48492 w 59664"/>
                    <a:gd name="connsiteY152" fmla="*/ 13964 h 126463"/>
                    <a:gd name="connsiteX153" fmla="*/ 47768 w 59664"/>
                    <a:gd name="connsiteY153" fmla="*/ 16459 h 126463"/>
                    <a:gd name="connsiteX154" fmla="*/ 47054 w 59664"/>
                    <a:gd name="connsiteY154" fmla="*/ 21336 h 126463"/>
                    <a:gd name="connsiteX155" fmla="*/ 46472 w 59664"/>
                    <a:gd name="connsiteY155" fmla="*/ 22622 h 126463"/>
                    <a:gd name="connsiteX156" fmla="*/ 45101 w 59664"/>
                    <a:gd name="connsiteY156" fmla="*/ 24298 h 126463"/>
                    <a:gd name="connsiteX157" fmla="*/ 44739 w 59664"/>
                    <a:gd name="connsiteY157" fmla="*/ 26184 h 126463"/>
                    <a:gd name="connsiteX158" fmla="*/ 45406 w 59664"/>
                    <a:gd name="connsiteY158" fmla="*/ 28280 h 126463"/>
                    <a:gd name="connsiteX159" fmla="*/ 44310 w 59664"/>
                    <a:gd name="connsiteY159" fmla="*/ 31880 h 126463"/>
                    <a:gd name="connsiteX160" fmla="*/ 43729 w 59664"/>
                    <a:gd name="connsiteY160" fmla="*/ 35328 h 126463"/>
                    <a:gd name="connsiteX161" fmla="*/ 44491 w 59664"/>
                    <a:gd name="connsiteY161" fmla="*/ 38157 h 126463"/>
                    <a:gd name="connsiteX162" fmla="*/ 43682 w 59664"/>
                    <a:gd name="connsiteY162" fmla="*/ 40748 h 126463"/>
                    <a:gd name="connsiteX163" fmla="*/ 43844 w 59664"/>
                    <a:gd name="connsiteY163" fmla="*/ 43663 h 126463"/>
                    <a:gd name="connsiteX164" fmla="*/ 43529 w 59664"/>
                    <a:gd name="connsiteY164" fmla="*/ 44301 h 126463"/>
                    <a:gd name="connsiteX165" fmla="*/ 42253 w 59664"/>
                    <a:gd name="connsiteY165" fmla="*/ 45110 h 126463"/>
                    <a:gd name="connsiteX166" fmla="*/ 40710 w 59664"/>
                    <a:gd name="connsiteY166" fmla="*/ 45606 h 126463"/>
                    <a:gd name="connsiteX167" fmla="*/ 39529 w 59664"/>
                    <a:gd name="connsiteY167" fmla="*/ 48311 h 126463"/>
                    <a:gd name="connsiteX168" fmla="*/ 39148 w 59664"/>
                    <a:gd name="connsiteY168" fmla="*/ 51302 h 126463"/>
                    <a:gd name="connsiteX169" fmla="*/ 40196 w 59664"/>
                    <a:gd name="connsiteY169" fmla="*/ 54797 h 126463"/>
                    <a:gd name="connsiteX170" fmla="*/ 38224 w 59664"/>
                    <a:gd name="connsiteY170" fmla="*/ 60950 h 126463"/>
                    <a:gd name="connsiteX171" fmla="*/ 37890 w 59664"/>
                    <a:gd name="connsiteY171" fmla="*/ 62998 h 126463"/>
                    <a:gd name="connsiteX172" fmla="*/ 36595 w 59664"/>
                    <a:gd name="connsiteY172" fmla="*/ 67513 h 126463"/>
                    <a:gd name="connsiteX173" fmla="*/ 36224 w 59664"/>
                    <a:gd name="connsiteY173" fmla="*/ 67904 h 126463"/>
                    <a:gd name="connsiteX174" fmla="*/ 34814 w 59664"/>
                    <a:gd name="connsiteY174" fmla="*/ 69561 h 126463"/>
                    <a:gd name="connsiteX175" fmla="*/ 34138 w 59664"/>
                    <a:gd name="connsiteY175" fmla="*/ 71799 h 126463"/>
                    <a:gd name="connsiteX176" fmla="*/ 33671 w 59664"/>
                    <a:gd name="connsiteY176" fmla="*/ 73571 h 126463"/>
                    <a:gd name="connsiteX177" fmla="*/ 34423 w 59664"/>
                    <a:gd name="connsiteY177" fmla="*/ 76219 h 126463"/>
                    <a:gd name="connsiteX178" fmla="*/ 33976 w 59664"/>
                    <a:gd name="connsiteY178" fmla="*/ 77819 h 126463"/>
                    <a:gd name="connsiteX179" fmla="*/ 32452 w 59664"/>
                    <a:gd name="connsiteY179" fmla="*/ 79391 h 126463"/>
                    <a:gd name="connsiteX180" fmla="*/ 32156 w 59664"/>
                    <a:gd name="connsiteY180" fmla="*/ 80200 h 126463"/>
                    <a:gd name="connsiteX181" fmla="*/ 33814 w 59664"/>
                    <a:gd name="connsiteY181" fmla="*/ 80572 h 126463"/>
                    <a:gd name="connsiteX182" fmla="*/ 34576 w 59664"/>
                    <a:gd name="connsiteY182" fmla="*/ 81829 h 126463"/>
                    <a:gd name="connsiteX183" fmla="*/ 34519 w 59664"/>
                    <a:gd name="connsiteY183" fmla="*/ 82591 h 126463"/>
                    <a:gd name="connsiteX184" fmla="*/ 33728 w 59664"/>
                    <a:gd name="connsiteY184" fmla="*/ 83134 h 126463"/>
                    <a:gd name="connsiteX185" fmla="*/ 32204 w 59664"/>
                    <a:gd name="connsiteY185" fmla="*/ 83468 h 126463"/>
                    <a:gd name="connsiteX186" fmla="*/ 31861 w 59664"/>
                    <a:gd name="connsiteY186" fmla="*/ 85325 h 126463"/>
                    <a:gd name="connsiteX187" fmla="*/ 32709 w 59664"/>
                    <a:gd name="connsiteY187" fmla="*/ 88716 h 126463"/>
                    <a:gd name="connsiteX188" fmla="*/ 32633 w 59664"/>
                    <a:gd name="connsiteY188" fmla="*/ 90792 h 126463"/>
                    <a:gd name="connsiteX189" fmla="*/ 31613 w 59664"/>
                    <a:gd name="connsiteY189" fmla="*/ 92507 h 126463"/>
                    <a:gd name="connsiteX190" fmla="*/ 31613 w 59664"/>
                    <a:gd name="connsiteY190" fmla="*/ 94488 h 126463"/>
                    <a:gd name="connsiteX191" fmla="*/ 33318 w 59664"/>
                    <a:gd name="connsiteY191" fmla="*/ 97765 h 126463"/>
                    <a:gd name="connsiteX192" fmla="*/ 33509 w 59664"/>
                    <a:gd name="connsiteY192" fmla="*/ 99584 h 126463"/>
                    <a:gd name="connsiteX193" fmla="*/ 32680 w 59664"/>
                    <a:gd name="connsiteY193" fmla="*/ 100946 h 126463"/>
                    <a:gd name="connsiteX194" fmla="*/ 30823 w 59664"/>
                    <a:gd name="connsiteY194" fmla="*/ 101860 h 126463"/>
                    <a:gd name="connsiteX195" fmla="*/ 29994 w 59664"/>
                    <a:gd name="connsiteY195" fmla="*/ 102689 h 126463"/>
                    <a:gd name="connsiteX196" fmla="*/ 27489 w 59664"/>
                    <a:gd name="connsiteY196" fmla="*/ 104737 h 126463"/>
                    <a:gd name="connsiteX197" fmla="*/ 25879 w 59664"/>
                    <a:gd name="connsiteY197" fmla="*/ 106870 h 126463"/>
                    <a:gd name="connsiteX198" fmla="*/ 23431 w 59664"/>
                    <a:gd name="connsiteY198" fmla="*/ 111995 h 126463"/>
                    <a:gd name="connsiteX199" fmla="*/ 21707 w 59664"/>
                    <a:gd name="connsiteY199" fmla="*/ 115043 h 126463"/>
                    <a:gd name="connsiteX200" fmla="*/ 20679 w 59664"/>
                    <a:gd name="connsiteY200" fmla="*/ 116043 h 12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59664" h="126463">
                      <a:moveTo>
                        <a:pt x="20679" y="116043"/>
                      </a:moveTo>
                      <a:lnTo>
                        <a:pt x="20679" y="116043"/>
                      </a:lnTo>
                      <a:lnTo>
                        <a:pt x="20260" y="117243"/>
                      </a:lnTo>
                      <a:lnTo>
                        <a:pt x="20536" y="119367"/>
                      </a:lnTo>
                      <a:lnTo>
                        <a:pt x="18126" y="119215"/>
                      </a:lnTo>
                      <a:lnTo>
                        <a:pt x="17135" y="118358"/>
                      </a:lnTo>
                      <a:lnTo>
                        <a:pt x="16307" y="116081"/>
                      </a:lnTo>
                      <a:lnTo>
                        <a:pt x="15002" y="117110"/>
                      </a:lnTo>
                      <a:lnTo>
                        <a:pt x="13802" y="118100"/>
                      </a:lnTo>
                      <a:lnTo>
                        <a:pt x="12306" y="120129"/>
                      </a:lnTo>
                      <a:lnTo>
                        <a:pt x="11001" y="121606"/>
                      </a:lnTo>
                      <a:lnTo>
                        <a:pt x="10077" y="124254"/>
                      </a:lnTo>
                      <a:lnTo>
                        <a:pt x="9039" y="125073"/>
                      </a:lnTo>
                      <a:lnTo>
                        <a:pt x="5886" y="126463"/>
                      </a:lnTo>
                      <a:lnTo>
                        <a:pt x="3877" y="126463"/>
                      </a:lnTo>
                      <a:lnTo>
                        <a:pt x="1610" y="125816"/>
                      </a:lnTo>
                      <a:lnTo>
                        <a:pt x="810" y="124463"/>
                      </a:lnTo>
                      <a:lnTo>
                        <a:pt x="2238" y="121044"/>
                      </a:lnTo>
                      <a:lnTo>
                        <a:pt x="3381" y="118720"/>
                      </a:lnTo>
                      <a:lnTo>
                        <a:pt x="4020" y="117481"/>
                      </a:lnTo>
                      <a:lnTo>
                        <a:pt x="7087" y="113881"/>
                      </a:lnTo>
                      <a:lnTo>
                        <a:pt x="8106" y="112424"/>
                      </a:lnTo>
                      <a:lnTo>
                        <a:pt x="9496" y="109795"/>
                      </a:lnTo>
                      <a:lnTo>
                        <a:pt x="12973" y="105613"/>
                      </a:lnTo>
                      <a:lnTo>
                        <a:pt x="13735" y="104908"/>
                      </a:lnTo>
                      <a:lnTo>
                        <a:pt x="16888" y="103470"/>
                      </a:lnTo>
                      <a:lnTo>
                        <a:pt x="17697" y="102546"/>
                      </a:lnTo>
                      <a:lnTo>
                        <a:pt x="20507" y="100546"/>
                      </a:lnTo>
                      <a:lnTo>
                        <a:pt x="23308" y="99470"/>
                      </a:lnTo>
                      <a:lnTo>
                        <a:pt x="26432" y="97288"/>
                      </a:lnTo>
                      <a:lnTo>
                        <a:pt x="26708" y="96698"/>
                      </a:lnTo>
                      <a:lnTo>
                        <a:pt x="25184" y="96050"/>
                      </a:lnTo>
                      <a:lnTo>
                        <a:pt x="24775" y="95974"/>
                      </a:lnTo>
                      <a:lnTo>
                        <a:pt x="16764" y="101032"/>
                      </a:lnTo>
                      <a:lnTo>
                        <a:pt x="15754" y="101432"/>
                      </a:lnTo>
                      <a:lnTo>
                        <a:pt x="14916" y="101070"/>
                      </a:lnTo>
                      <a:lnTo>
                        <a:pt x="15831" y="99603"/>
                      </a:lnTo>
                      <a:lnTo>
                        <a:pt x="19241" y="97060"/>
                      </a:lnTo>
                      <a:lnTo>
                        <a:pt x="28270" y="90030"/>
                      </a:lnTo>
                      <a:lnTo>
                        <a:pt x="29223" y="88802"/>
                      </a:lnTo>
                      <a:lnTo>
                        <a:pt x="29261" y="88211"/>
                      </a:lnTo>
                      <a:lnTo>
                        <a:pt x="28365" y="88240"/>
                      </a:lnTo>
                      <a:lnTo>
                        <a:pt x="28356" y="87792"/>
                      </a:lnTo>
                      <a:lnTo>
                        <a:pt x="28899" y="86201"/>
                      </a:lnTo>
                      <a:lnTo>
                        <a:pt x="29366" y="85125"/>
                      </a:lnTo>
                      <a:lnTo>
                        <a:pt x="29166" y="84753"/>
                      </a:lnTo>
                      <a:lnTo>
                        <a:pt x="28270" y="84687"/>
                      </a:lnTo>
                      <a:lnTo>
                        <a:pt x="22336" y="86554"/>
                      </a:lnTo>
                      <a:lnTo>
                        <a:pt x="20793" y="87278"/>
                      </a:lnTo>
                      <a:lnTo>
                        <a:pt x="19536" y="88373"/>
                      </a:lnTo>
                      <a:lnTo>
                        <a:pt x="18116" y="90611"/>
                      </a:lnTo>
                      <a:lnTo>
                        <a:pt x="16974" y="91688"/>
                      </a:lnTo>
                      <a:lnTo>
                        <a:pt x="13868" y="93316"/>
                      </a:lnTo>
                      <a:lnTo>
                        <a:pt x="12897" y="93526"/>
                      </a:lnTo>
                      <a:lnTo>
                        <a:pt x="13306" y="92021"/>
                      </a:lnTo>
                      <a:lnTo>
                        <a:pt x="15097" y="88811"/>
                      </a:lnTo>
                      <a:lnTo>
                        <a:pt x="17326" y="85925"/>
                      </a:lnTo>
                      <a:lnTo>
                        <a:pt x="19993" y="83363"/>
                      </a:lnTo>
                      <a:lnTo>
                        <a:pt x="21812" y="80258"/>
                      </a:lnTo>
                      <a:lnTo>
                        <a:pt x="22803" y="76600"/>
                      </a:lnTo>
                      <a:lnTo>
                        <a:pt x="22774" y="74752"/>
                      </a:lnTo>
                      <a:lnTo>
                        <a:pt x="20241" y="75152"/>
                      </a:lnTo>
                      <a:lnTo>
                        <a:pt x="18402" y="75990"/>
                      </a:lnTo>
                      <a:lnTo>
                        <a:pt x="15421" y="78391"/>
                      </a:lnTo>
                      <a:lnTo>
                        <a:pt x="14821" y="78410"/>
                      </a:lnTo>
                      <a:lnTo>
                        <a:pt x="15478" y="76410"/>
                      </a:lnTo>
                      <a:lnTo>
                        <a:pt x="18926" y="74085"/>
                      </a:lnTo>
                      <a:lnTo>
                        <a:pt x="20698" y="72619"/>
                      </a:lnTo>
                      <a:lnTo>
                        <a:pt x="21184" y="71828"/>
                      </a:lnTo>
                      <a:lnTo>
                        <a:pt x="20383" y="71714"/>
                      </a:lnTo>
                      <a:lnTo>
                        <a:pt x="16621" y="71685"/>
                      </a:lnTo>
                      <a:lnTo>
                        <a:pt x="14983" y="71752"/>
                      </a:lnTo>
                      <a:lnTo>
                        <a:pt x="13621" y="72580"/>
                      </a:lnTo>
                      <a:lnTo>
                        <a:pt x="14335" y="73238"/>
                      </a:lnTo>
                      <a:lnTo>
                        <a:pt x="13249" y="74590"/>
                      </a:lnTo>
                      <a:lnTo>
                        <a:pt x="9039" y="78705"/>
                      </a:lnTo>
                      <a:lnTo>
                        <a:pt x="7715" y="79496"/>
                      </a:lnTo>
                      <a:lnTo>
                        <a:pt x="4972" y="78305"/>
                      </a:lnTo>
                      <a:lnTo>
                        <a:pt x="4248" y="76600"/>
                      </a:lnTo>
                      <a:lnTo>
                        <a:pt x="5534" y="74381"/>
                      </a:lnTo>
                      <a:lnTo>
                        <a:pt x="5886" y="72866"/>
                      </a:lnTo>
                      <a:lnTo>
                        <a:pt x="5486" y="70885"/>
                      </a:lnTo>
                      <a:lnTo>
                        <a:pt x="6420" y="69361"/>
                      </a:lnTo>
                      <a:lnTo>
                        <a:pt x="6763" y="67170"/>
                      </a:lnTo>
                      <a:lnTo>
                        <a:pt x="2819" y="63979"/>
                      </a:lnTo>
                      <a:lnTo>
                        <a:pt x="2915" y="62913"/>
                      </a:lnTo>
                      <a:lnTo>
                        <a:pt x="4039" y="60693"/>
                      </a:lnTo>
                      <a:lnTo>
                        <a:pt x="3429" y="58483"/>
                      </a:lnTo>
                      <a:lnTo>
                        <a:pt x="591" y="53168"/>
                      </a:lnTo>
                      <a:lnTo>
                        <a:pt x="1057" y="51854"/>
                      </a:lnTo>
                      <a:lnTo>
                        <a:pt x="1572" y="51340"/>
                      </a:lnTo>
                      <a:lnTo>
                        <a:pt x="1248" y="49035"/>
                      </a:lnTo>
                      <a:lnTo>
                        <a:pt x="2010" y="47644"/>
                      </a:lnTo>
                      <a:lnTo>
                        <a:pt x="2562" y="47168"/>
                      </a:lnTo>
                      <a:lnTo>
                        <a:pt x="6715" y="45625"/>
                      </a:lnTo>
                      <a:lnTo>
                        <a:pt x="14707" y="43948"/>
                      </a:lnTo>
                      <a:lnTo>
                        <a:pt x="16316" y="43139"/>
                      </a:lnTo>
                      <a:lnTo>
                        <a:pt x="15135" y="42462"/>
                      </a:lnTo>
                      <a:lnTo>
                        <a:pt x="11192" y="41919"/>
                      </a:lnTo>
                      <a:lnTo>
                        <a:pt x="8553" y="42110"/>
                      </a:lnTo>
                      <a:lnTo>
                        <a:pt x="5496" y="42615"/>
                      </a:lnTo>
                      <a:lnTo>
                        <a:pt x="3029" y="43015"/>
                      </a:lnTo>
                      <a:lnTo>
                        <a:pt x="2067" y="42224"/>
                      </a:lnTo>
                      <a:lnTo>
                        <a:pt x="867" y="39005"/>
                      </a:lnTo>
                      <a:lnTo>
                        <a:pt x="0" y="38691"/>
                      </a:lnTo>
                      <a:lnTo>
                        <a:pt x="276" y="37909"/>
                      </a:lnTo>
                      <a:lnTo>
                        <a:pt x="4372" y="33404"/>
                      </a:lnTo>
                      <a:lnTo>
                        <a:pt x="10087" y="29394"/>
                      </a:lnTo>
                      <a:lnTo>
                        <a:pt x="12840" y="26975"/>
                      </a:lnTo>
                      <a:lnTo>
                        <a:pt x="16678" y="23203"/>
                      </a:lnTo>
                      <a:lnTo>
                        <a:pt x="17869" y="21888"/>
                      </a:lnTo>
                      <a:lnTo>
                        <a:pt x="18183" y="20774"/>
                      </a:lnTo>
                      <a:lnTo>
                        <a:pt x="22488" y="17183"/>
                      </a:lnTo>
                      <a:lnTo>
                        <a:pt x="26098" y="16250"/>
                      </a:lnTo>
                      <a:lnTo>
                        <a:pt x="27651" y="16878"/>
                      </a:lnTo>
                      <a:lnTo>
                        <a:pt x="29842" y="17964"/>
                      </a:lnTo>
                      <a:lnTo>
                        <a:pt x="34004" y="17659"/>
                      </a:lnTo>
                      <a:lnTo>
                        <a:pt x="37529" y="18231"/>
                      </a:lnTo>
                      <a:lnTo>
                        <a:pt x="42100" y="22146"/>
                      </a:lnTo>
                      <a:lnTo>
                        <a:pt x="42920" y="22612"/>
                      </a:lnTo>
                      <a:lnTo>
                        <a:pt x="44387" y="22450"/>
                      </a:lnTo>
                      <a:lnTo>
                        <a:pt x="45453" y="21250"/>
                      </a:lnTo>
                      <a:lnTo>
                        <a:pt x="42882" y="18593"/>
                      </a:lnTo>
                      <a:lnTo>
                        <a:pt x="40786" y="16974"/>
                      </a:lnTo>
                      <a:lnTo>
                        <a:pt x="40196" y="15764"/>
                      </a:lnTo>
                      <a:lnTo>
                        <a:pt x="40405" y="14087"/>
                      </a:lnTo>
                      <a:lnTo>
                        <a:pt x="41596" y="12440"/>
                      </a:lnTo>
                      <a:lnTo>
                        <a:pt x="43796" y="10820"/>
                      </a:lnTo>
                      <a:lnTo>
                        <a:pt x="49054" y="6125"/>
                      </a:lnTo>
                      <a:lnTo>
                        <a:pt x="57064" y="86"/>
                      </a:lnTo>
                      <a:lnTo>
                        <a:pt x="57579" y="0"/>
                      </a:lnTo>
                      <a:lnTo>
                        <a:pt x="58512" y="1191"/>
                      </a:lnTo>
                      <a:lnTo>
                        <a:pt x="58017" y="1895"/>
                      </a:lnTo>
                      <a:lnTo>
                        <a:pt x="55902" y="2867"/>
                      </a:lnTo>
                      <a:lnTo>
                        <a:pt x="55959" y="3048"/>
                      </a:lnTo>
                      <a:lnTo>
                        <a:pt x="59446" y="3019"/>
                      </a:lnTo>
                      <a:lnTo>
                        <a:pt x="59665" y="3543"/>
                      </a:lnTo>
                      <a:lnTo>
                        <a:pt x="57807" y="4648"/>
                      </a:lnTo>
                      <a:lnTo>
                        <a:pt x="50949" y="6639"/>
                      </a:lnTo>
                      <a:lnTo>
                        <a:pt x="46025" y="10516"/>
                      </a:lnTo>
                      <a:lnTo>
                        <a:pt x="43815" y="12211"/>
                      </a:lnTo>
                      <a:lnTo>
                        <a:pt x="43634" y="13211"/>
                      </a:lnTo>
                      <a:lnTo>
                        <a:pt x="45549" y="15192"/>
                      </a:lnTo>
                      <a:lnTo>
                        <a:pt x="46120" y="14916"/>
                      </a:lnTo>
                      <a:lnTo>
                        <a:pt x="47273" y="13725"/>
                      </a:lnTo>
                      <a:lnTo>
                        <a:pt x="48606" y="12944"/>
                      </a:lnTo>
                      <a:lnTo>
                        <a:pt x="50711" y="12097"/>
                      </a:lnTo>
                      <a:lnTo>
                        <a:pt x="54216" y="11697"/>
                      </a:lnTo>
                      <a:lnTo>
                        <a:pt x="56998" y="10458"/>
                      </a:lnTo>
                      <a:lnTo>
                        <a:pt x="56693" y="11097"/>
                      </a:lnTo>
                      <a:lnTo>
                        <a:pt x="54845" y="12583"/>
                      </a:lnTo>
                      <a:lnTo>
                        <a:pt x="48854" y="13649"/>
                      </a:lnTo>
                      <a:lnTo>
                        <a:pt x="48492" y="13964"/>
                      </a:lnTo>
                      <a:lnTo>
                        <a:pt x="47768" y="16459"/>
                      </a:lnTo>
                      <a:lnTo>
                        <a:pt x="47054" y="21336"/>
                      </a:lnTo>
                      <a:lnTo>
                        <a:pt x="46472" y="22622"/>
                      </a:lnTo>
                      <a:lnTo>
                        <a:pt x="45101" y="24298"/>
                      </a:lnTo>
                      <a:lnTo>
                        <a:pt x="44739" y="26184"/>
                      </a:lnTo>
                      <a:lnTo>
                        <a:pt x="45406" y="28280"/>
                      </a:lnTo>
                      <a:lnTo>
                        <a:pt x="44310" y="31880"/>
                      </a:lnTo>
                      <a:lnTo>
                        <a:pt x="43729" y="35328"/>
                      </a:lnTo>
                      <a:lnTo>
                        <a:pt x="44491" y="38157"/>
                      </a:lnTo>
                      <a:lnTo>
                        <a:pt x="43682" y="40748"/>
                      </a:lnTo>
                      <a:lnTo>
                        <a:pt x="43844" y="43663"/>
                      </a:lnTo>
                      <a:lnTo>
                        <a:pt x="43529" y="44301"/>
                      </a:lnTo>
                      <a:lnTo>
                        <a:pt x="42253" y="45110"/>
                      </a:lnTo>
                      <a:lnTo>
                        <a:pt x="40710" y="45606"/>
                      </a:lnTo>
                      <a:lnTo>
                        <a:pt x="39529" y="48311"/>
                      </a:lnTo>
                      <a:lnTo>
                        <a:pt x="39148" y="51302"/>
                      </a:lnTo>
                      <a:lnTo>
                        <a:pt x="40196" y="54797"/>
                      </a:lnTo>
                      <a:lnTo>
                        <a:pt x="38224" y="60950"/>
                      </a:lnTo>
                      <a:lnTo>
                        <a:pt x="37890" y="62998"/>
                      </a:lnTo>
                      <a:lnTo>
                        <a:pt x="36595" y="67513"/>
                      </a:lnTo>
                      <a:lnTo>
                        <a:pt x="36224" y="67904"/>
                      </a:lnTo>
                      <a:lnTo>
                        <a:pt x="34814" y="69561"/>
                      </a:lnTo>
                      <a:lnTo>
                        <a:pt x="34138" y="71799"/>
                      </a:lnTo>
                      <a:lnTo>
                        <a:pt x="33671" y="73571"/>
                      </a:lnTo>
                      <a:lnTo>
                        <a:pt x="34423" y="76219"/>
                      </a:lnTo>
                      <a:lnTo>
                        <a:pt x="33976" y="77819"/>
                      </a:lnTo>
                      <a:lnTo>
                        <a:pt x="32452" y="79391"/>
                      </a:lnTo>
                      <a:lnTo>
                        <a:pt x="32156" y="80200"/>
                      </a:lnTo>
                      <a:lnTo>
                        <a:pt x="33814" y="80572"/>
                      </a:lnTo>
                      <a:lnTo>
                        <a:pt x="34576" y="81829"/>
                      </a:lnTo>
                      <a:lnTo>
                        <a:pt x="34519" y="82591"/>
                      </a:lnTo>
                      <a:lnTo>
                        <a:pt x="33728" y="83134"/>
                      </a:lnTo>
                      <a:lnTo>
                        <a:pt x="32204" y="83468"/>
                      </a:lnTo>
                      <a:lnTo>
                        <a:pt x="31861" y="85325"/>
                      </a:lnTo>
                      <a:lnTo>
                        <a:pt x="32709" y="88716"/>
                      </a:lnTo>
                      <a:lnTo>
                        <a:pt x="32633" y="90792"/>
                      </a:lnTo>
                      <a:lnTo>
                        <a:pt x="31613" y="92507"/>
                      </a:lnTo>
                      <a:lnTo>
                        <a:pt x="31613" y="94488"/>
                      </a:lnTo>
                      <a:lnTo>
                        <a:pt x="33318" y="97765"/>
                      </a:lnTo>
                      <a:lnTo>
                        <a:pt x="33509" y="99584"/>
                      </a:lnTo>
                      <a:lnTo>
                        <a:pt x="32680" y="100946"/>
                      </a:lnTo>
                      <a:lnTo>
                        <a:pt x="30823" y="101860"/>
                      </a:lnTo>
                      <a:lnTo>
                        <a:pt x="29994" y="102689"/>
                      </a:lnTo>
                      <a:lnTo>
                        <a:pt x="27489" y="104737"/>
                      </a:lnTo>
                      <a:lnTo>
                        <a:pt x="25879" y="106870"/>
                      </a:lnTo>
                      <a:lnTo>
                        <a:pt x="23431" y="111995"/>
                      </a:lnTo>
                      <a:lnTo>
                        <a:pt x="21707" y="115043"/>
                      </a:lnTo>
                      <a:lnTo>
                        <a:pt x="20679" y="116043"/>
                      </a:lnTo>
                      <a:close/>
                    </a:path>
                  </a:pathLst>
                </a:custGeom>
                <a:solidFill>
                  <a:srgbClr val="FFFFFF"/>
                </a:solidFill>
                <a:ln w="9525" cap="flat">
                  <a:noFill/>
                  <a:prstDash val="solid"/>
                  <a:miter/>
                </a:ln>
              </p:spPr>
              <p:txBody>
                <a:bodyPr rtlCol="0" anchor="ctr"/>
                <a:lstStyle/>
                <a:p>
                  <a:endParaRPr lang="en-US"/>
                </a:p>
              </p:txBody>
            </p:sp>
            <p:sp>
              <p:nvSpPr>
                <p:cNvPr id="462" name="Freeform: Shape 461">
                  <a:extLst>
                    <a:ext uri="{FF2B5EF4-FFF2-40B4-BE49-F238E27FC236}">
                      <a16:creationId xmlns:a16="http://schemas.microsoft.com/office/drawing/2014/main" id="{783EDF68-3D90-4D12-BC47-5489EF11A67F}"/>
                    </a:ext>
                  </a:extLst>
                </p:cNvPr>
                <p:cNvSpPr/>
                <p:nvPr/>
              </p:nvSpPr>
              <p:spPr>
                <a:xfrm>
                  <a:off x="8239457" y="2607885"/>
                  <a:ext cx="94173" cy="135312"/>
                </a:xfrm>
                <a:custGeom>
                  <a:avLst/>
                  <a:gdLst>
                    <a:gd name="connsiteX0" fmla="*/ 63598 w 94173"/>
                    <a:gd name="connsiteY0" fmla="*/ 7525 h 135312"/>
                    <a:gd name="connsiteX1" fmla="*/ 63598 w 94173"/>
                    <a:gd name="connsiteY1" fmla="*/ 7525 h 135312"/>
                    <a:gd name="connsiteX2" fmla="*/ 63598 w 94173"/>
                    <a:gd name="connsiteY2" fmla="*/ 7525 h 135312"/>
                    <a:gd name="connsiteX3" fmla="*/ 65770 w 94173"/>
                    <a:gd name="connsiteY3" fmla="*/ 10468 h 135312"/>
                    <a:gd name="connsiteX4" fmla="*/ 66037 w 94173"/>
                    <a:gd name="connsiteY4" fmla="*/ 11849 h 135312"/>
                    <a:gd name="connsiteX5" fmla="*/ 66999 w 94173"/>
                    <a:gd name="connsiteY5" fmla="*/ 14116 h 135312"/>
                    <a:gd name="connsiteX6" fmla="*/ 68009 w 94173"/>
                    <a:gd name="connsiteY6" fmla="*/ 15688 h 135312"/>
                    <a:gd name="connsiteX7" fmla="*/ 69571 w 94173"/>
                    <a:gd name="connsiteY7" fmla="*/ 18659 h 135312"/>
                    <a:gd name="connsiteX8" fmla="*/ 70552 w 94173"/>
                    <a:gd name="connsiteY8" fmla="*/ 20107 h 135312"/>
                    <a:gd name="connsiteX9" fmla="*/ 72562 w 94173"/>
                    <a:gd name="connsiteY9" fmla="*/ 21898 h 135312"/>
                    <a:gd name="connsiteX10" fmla="*/ 73552 w 94173"/>
                    <a:gd name="connsiteY10" fmla="*/ 23260 h 135312"/>
                    <a:gd name="connsiteX11" fmla="*/ 75009 w 94173"/>
                    <a:gd name="connsiteY11" fmla="*/ 26660 h 135312"/>
                    <a:gd name="connsiteX12" fmla="*/ 75400 w 94173"/>
                    <a:gd name="connsiteY12" fmla="*/ 27603 h 135312"/>
                    <a:gd name="connsiteX13" fmla="*/ 76219 w 94173"/>
                    <a:gd name="connsiteY13" fmla="*/ 29232 h 135312"/>
                    <a:gd name="connsiteX14" fmla="*/ 76334 w 94173"/>
                    <a:gd name="connsiteY14" fmla="*/ 30585 h 135312"/>
                    <a:gd name="connsiteX15" fmla="*/ 76886 w 94173"/>
                    <a:gd name="connsiteY15" fmla="*/ 31699 h 135312"/>
                    <a:gd name="connsiteX16" fmla="*/ 78610 w 94173"/>
                    <a:gd name="connsiteY16" fmla="*/ 34719 h 135312"/>
                    <a:gd name="connsiteX17" fmla="*/ 78210 w 94173"/>
                    <a:gd name="connsiteY17" fmla="*/ 36195 h 135312"/>
                    <a:gd name="connsiteX18" fmla="*/ 79420 w 94173"/>
                    <a:gd name="connsiteY18" fmla="*/ 38414 h 135312"/>
                    <a:gd name="connsiteX19" fmla="*/ 82934 w 94173"/>
                    <a:gd name="connsiteY19" fmla="*/ 44024 h 135312"/>
                    <a:gd name="connsiteX20" fmla="*/ 85973 w 94173"/>
                    <a:gd name="connsiteY20" fmla="*/ 47749 h 135312"/>
                    <a:gd name="connsiteX21" fmla="*/ 89574 w 94173"/>
                    <a:gd name="connsiteY21" fmla="*/ 50530 h 135312"/>
                    <a:gd name="connsiteX22" fmla="*/ 90126 w 94173"/>
                    <a:gd name="connsiteY22" fmla="*/ 51168 h 135312"/>
                    <a:gd name="connsiteX23" fmla="*/ 90593 w 94173"/>
                    <a:gd name="connsiteY23" fmla="*/ 52349 h 135312"/>
                    <a:gd name="connsiteX24" fmla="*/ 90993 w 94173"/>
                    <a:gd name="connsiteY24" fmla="*/ 54083 h 135312"/>
                    <a:gd name="connsiteX25" fmla="*/ 90678 w 94173"/>
                    <a:gd name="connsiteY25" fmla="*/ 56083 h 135312"/>
                    <a:gd name="connsiteX26" fmla="*/ 89268 w 94173"/>
                    <a:gd name="connsiteY26" fmla="*/ 60160 h 135312"/>
                    <a:gd name="connsiteX27" fmla="*/ 89431 w 94173"/>
                    <a:gd name="connsiteY27" fmla="*/ 61446 h 135312"/>
                    <a:gd name="connsiteX28" fmla="*/ 89974 w 94173"/>
                    <a:gd name="connsiteY28" fmla="*/ 62551 h 135312"/>
                    <a:gd name="connsiteX29" fmla="*/ 91478 w 94173"/>
                    <a:gd name="connsiteY29" fmla="*/ 64303 h 135312"/>
                    <a:gd name="connsiteX30" fmla="*/ 92869 w 94173"/>
                    <a:gd name="connsiteY30" fmla="*/ 66142 h 135312"/>
                    <a:gd name="connsiteX31" fmla="*/ 93212 w 94173"/>
                    <a:gd name="connsiteY31" fmla="*/ 66732 h 135312"/>
                    <a:gd name="connsiteX32" fmla="*/ 93193 w 94173"/>
                    <a:gd name="connsiteY32" fmla="*/ 67427 h 135312"/>
                    <a:gd name="connsiteX33" fmla="*/ 89478 w 94173"/>
                    <a:gd name="connsiteY33" fmla="*/ 67389 h 135312"/>
                    <a:gd name="connsiteX34" fmla="*/ 88240 w 94173"/>
                    <a:gd name="connsiteY34" fmla="*/ 66484 h 135312"/>
                    <a:gd name="connsiteX35" fmla="*/ 86659 w 94173"/>
                    <a:gd name="connsiteY35" fmla="*/ 63579 h 135312"/>
                    <a:gd name="connsiteX36" fmla="*/ 86230 w 94173"/>
                    <a:gd name="connsiteY36" fmla="*/ 62179 h 135312"/>
                    <a:gd name="connsiteX37" fmla="*/ 85601 w 94173"/>
                    <a:gd name="connsiteY37" fmla="*/ 61341 h 135312"/>
                    <a:gd name="connsiteX38" fmla="*/ 84240 w 94173"/>
                    <a:gd name="connsiteY38" fmla="*/ 60484 h 135312"/>
                    <a:gd name="connsiteX39" fmla="*/ 83011 w 94173"/>
                    <a:gd name="connsiteY39" fmla="*/ 60150 h 135312"/>
                    <a:gd name="connsiteX40" fmla="*/ 81905 w 94173"/>
                    <a:gd name="connsiteY40" fmla="*/ 60350 h 135312"/>
                    <a:gd name="connsiteX41" fmla="*/ 81077 w 94173"/>
                    <a:gd name="connsiteY41" fmla="*/ 60998 h 135312"/>
                    <a:gd name="connsiteX42" fmla="*/ 80525 w 94173"/>
                    <a:gd name="connsiteY42" fmla="*/ 62093 h 135312"/>
                    <a:gd name="connsiteX43" fmla="*/ 80486 w 94173"/>
                    <a:gd name="connsiteY43" fmla="*/ 69180 h 135312"/>
                    <a:gd name="connsiteX44" fmla="*/ 79982 w 94173"/>
                    <a:gd name="connsiteY44" fmla="*/ 71352 h 135312"/>
                    <a:gd name="connsiteX45" fmla="*/ 80429 w 94173"/>
                    <a:gd name="connsiteY45" fmla="*/ 71542 h 135312"/>
                    <a:gd name="connsiteX46" fmla="*/ 81992 w 94173"/>
                    <a:gd name="connsiteY46" fmla="*/ 70256 h 135312"/>
                    <a:gd name="connsiteX47" fmla="*/ 83630 w 94173"/>
                    <a:gd name="connsiteY47" fmla="*/ 69542 h 135312"/>
                    <a:gd name="connsiteX48" fmla="*/ 86002 w 94173"/>
                    <a:gd name="connsiteY48" fmla="*/ 69047 h 135312"/>
                    <a:gd name="connsiteX49" fmla="*/ 88478 w 94173"/>
                    <a:gd name="connsiteY49" fmla="*/ 69704 h 135312"/>
                    <a:gd name="connsiteX50" fmla="*/ 91078 w 94173"/>
                    <a:gd name="connsiteY50" fmla="*/ 71523 h 135312"/>
                    <a:gd name="connsiteX51" fmla="*/ 92964 w 94173"/>
                    <a:gd name="connsiteY51" fmla="*/ 73323 h 135312"/>
                    <a:gd name="connsiteX52" fmla="*/ 94174 w 94173"/>
                    <a:gd name="connsiteY52" fmla="*/ 75124 h 135312"/>
                    <a:gd name="connsiteX53" fmla="*/ 94050 w 94173"/>
                    <a:gd name="connsiteY53" fmla="*/ 76657 h 135312"/>
                    <a:gd name="connsiteX54" fmla="*/ 91469 w 94173"/>
                    <a:gd name="connsiteY54" fmla="*/ 78648 h 135312"/>
                    <a:gd name="connsiteX55" fmla="*/ 90564 w 94173"/>
                    <a:gd name="connsiteY55" fmla="*/ 78753 h 135312"/>
                    <a:gd name="connsiteX56" fmla="*/ 89774 w 94173"/>
                    <a:gd name="connsiteY56" fmla="*/ 78572 h 135312"/>
                    <a:gd name="connsiteX57" fmla="*/ 88621 w 94173"/>
                    <a:gd name="connsiteY57" fmla="*/ 77924 h 135312"/>
                    <a:gd name="connsiteX58" fmla="*/ 88297 w 94173"/>
                    <a:gd name="connsiteY58" fmla="*/ 78000 h 135312"/>
                    <a:gd name="connsiteX59" fmla="*/ 84830 w 94173"/>
                    <a:gd name="connsiteY59" fmla="*/ 82363 h 135312"/>
                    <a:gd name="connsiteX60" fmla="*/ 83849 w 94173"/>
                    <a:gd name="connsiteY60" fmla="*/ 84058 h 135312"/>
                    <a:gd name="connsiteX61" fmla="*/ 84106 w 94173"/>
                    <a:gd name="connsiteY61" fmla="*/ 84572 h 135312"/>
                    <a:gd name="connsiteX62" fmla="*/ 85811 w 94173"/>
                    <a:gd name="connsiteY62" fmla="*/ 85735 h 135312"/>
                    <a:gd name="connsiteX63" fmla="*/ 86373 w 94173"/>
                    <a:gd name="connsiteY63" fmla="*/ 86325 h 135312"/>
                    <a:gd name="connsiteX64" fmla="*/ 86344 w 94173"/>
                    <a:gd name="connsiteY64" fmla="*/ 87859 h 135312"/>
                    <a:gd name="connsiteX65" fmla="*/ 86020 w 94173"/>
                    <a:gd name="connsiteY65" fmla="*/ 89230 h 135312"/>
                    <a:gd name="connsiteX66" fmla="*/ 82868 w 94173"/>
                    <a:gd name="connsiteY66" fmla="*/ 92650 h 135312"/>
                    <a:gd name="connsiteX67" fmla="*/ 82706 w 94173"/>
                    <a:gd name="connsiteY67" fmla="*/ 94431 h 135312"/>
                    <a:gd name="connsiteX68" fmla="*/ 79601 w 94173"/>
                    <a:gd name="connsiteY68" fmla="*/ 96526 h 135312"/>
                    <a:gd name="connsiteX69" fmla="*/ 77657 w 94173"/>
                    <a:gd name="connsiteY69" fmla="*/ 96926 h 135312"/>
                    <a:gd name="connsiteX70" fmla="*/ 75238 w 94173"/>
                    <a:gd name="connsiteY70" fmla="*/ 96926 h 135312"/>
                    <a:gd name="connsiteX71" fmla="*/ 71628 w 94173"/>
                    <a:gd name="connsiteY71" fmla="*/ 98603 h 135312"/>
                    <a:gd name="connsiteX72" fmla="*/ 66837 w 94173"/>
                    <a:gd name="connsiteY72" fmla="*/ 101956 h 135312"/>
                    <a:gd name="connsiteX73" fmla="*/ 64323 w 94173"/>
                    <a:gd name="connsiteY73" fmla="*/ 104061 h 135312"/>
                    <a:gd name="connsiteX74" fmla="*/ 64123 w 94173"/>
                    <a:gd name="connsiteY74" fmla="*/ 104946 h 135312"/>
                    <a:gd name="connsiteX75" fmla="*/ 64665 w 94173"/>
                    <a:gd name="connsiteY75" fmla="*/ 107785 h 135312"/>
                    <a:gd name="connsiteX76" fmla="*/ 64380 w 94173"/>
                    <a:gd name="connsiteY76" fmla="*/ 108661 h 135312"/>
                    <a:gd name="connsiteX77" fmla="*/ 63294 w 94173"/>
                    <a:gd name="connsiteY77" fmla="*/ 109042 h 135312"/>
                    <a:gd name="connsiteX78" fmla="*/ 61293 w 94173"/>
                    <a:gd name="connsiteY78" fmla="*/ 108366 h 135312"/>
                    <a:gd name="connsiteX79" fmla="*/ 58151 w 94173"/>
                    <a:gd name="connsiteY79" fmla="*/ 107347 h 135312"/>
                    <a:gd name="connsiteX80" fmla="*/ 55293 w 94173"/>
                    <a:gd name="connsiteY80" fmla="*/ 106947 h 135312"/>
                    <a:gd name="connsiteX81" fmla="*/ 53226 w 94173"/>
                    <a:gd name="connsiteY81" fmla="*/ 107852 h 135312"/>
                    <a:gd name="connsiteX82" fmla="*/ 52007 w 94173"/>
                    <a:gd name="connsiteY82" fmla="*/ 108842 h 135312"/>
                    <a:gd name="connsiteX83" fmla="*/ 51816 w 94173"/>
                    <a:gd name="connsiteY83" fmla="*/ 110138 h 135312"/>
                    <a:gd name="connsiteX84" fmla="*/ 52740 w 94173"/>
                    <a:gd name="connsiteY84" fmla="*/ 111757 h 135312"/>
                    <a:gd name="connsiteX85" fmla="*/ 54722 w 94173"/>
                    <a:gd name="connsiteY85" fmla="*/ 113690 h 135312"/>
                    <a:gd name="connsiteX86" fmla="*/ 55731 w 94173"/>
                    <a:gd name="connsiteY86" fmla="*/ 115776 h 135312"/>
                    <a:gd name="connsiteX87" fmla="*/ 57227 w 94173"/>
                    <a:gd name="connsiteY87" fmla="*/ 120386 h 135312"/>
                    <a:gd name="connsiteX88" fmla="*/ 56817 w 94173"/>
                    <a:gd name="connsiteY88" fmla="*/ 121663 h 135312"/>
                    <a:gd name="connsiteX89" fmla="*/ 56274 w 94173"/>
                    <a:gd name="connsiteY89" fmla="*/ 123339 h 135312"/>
                    <a:gd name="connsiteX90" fmla="*/ 55807 w 94173"/>
                    <a:gd name="connsiteY90" fmla="*/ 126121 h 135312"/>
                    <a:gd name="connsiteX91" fmla="*/ 53160 w 94173"/>
                    <a:gd name="connsiteY91" fmla="*/ 128426 h 135312"/>
                    <a:gd name="connsiteX92" fmla="*/ 45863 w 94173"/>
                    <a:gd name="connsiteY92" fmla="*/ 131159 h 135312"/>
                    <a:gd name="connsiteX93" fmla="*/ 37729 w 94173"/>
                    <a:gd name="connsiteY93" fmla="*/ 132959 h 135312"/>
                    <a:gd name="connsiteX94" fmla="*/ 34367 w 94173"/>
                    <a:gd name="connsiteY94" fmla="*/ 134064 h 135312"/>
                    <a:gd name="connsiteX95" fmla="*/ 33147 w 94173"/>
                    <a:gd name="connsiteY95" fmla="*/ 135084 h 135312"/>
                    <a:gd name="connsiteX96" fmla="*/ 28946 w 94173"/>
                    <a:gd name="connsiteY96" fmla="*/ 135312 h 135312"/>
                    <a:gd name="connsiteX97" fmla="*/ 21774 w 94173"/>
                    <a:gd name="connsiteY97" fmla="*/ 134769 h 135312"/>
                    <a:gd name="connsiteX98" fmla="*/ 15021 w 94173"/>
                    <a:gd name="connsiteY98" fmla="*/ 133645 h 135312"/>
                    <a:gd name="connsiteX99" fmla="*/ 4134 w 94173"/>
                    <a:gd name="connsiteY99" fmla="*/ 130531 h 135312"/>
                    <a:gd name="connsiteX100" fmla="*/ 1514 w 94173"/>
                    <a:gd name="connsiteY100" fmla="*/ 129445 h 135312"/>
                    <a:gd name="connsiteX101" fmla="*/ 134 w 94173"/>
                    <a:gd name="connsiteY101" fmla="*/ 128635 h 135312"/>
                    <a:gd name="connsiteX102" fmla="*/ 0 w 94173"/>
                    <a:gd name="connsiteY102" fmla="*/ 128111 h 135312"/>
                    <a:gd name="connsiteX103" fmla="*/ 258 w 94173"/>
                    <a:gd name="connsiteY103" fmla="*/ 127749 h 135312"/>
                    <a:gd name="connsiteX104" fmla="*/ 1257 w 94173"/>
                    <a:gd name="connsiteY104" fmla="*/ 127454 h 135312"/>
                    <a:gd name="connsiteX105" fmla="*/ 9125 w 94173"/>
                    <a:gd name="connsiteY105" fmla="*/ 126263 h 135312"/>
                    <a:gd name="connsiteX106" fmla="*/ 14193 w 94173"/>
                    <a:gd name="connsiteY106" fmla="*/ 125844 h 135312"/>
                    <a:gd name="connsiteX107" fmla="*/ 19098 w 94173"/>
                    <a:gd name="connsiteY107" fmla="*/ 125806 h 135312"/>
                    <a:gd name="connsiteX108" fmla="*/ 21813 w 94173"/>
                    <a:gd name="connsiteY108" fmla="*/ 125111 h 135312"/>
                    <a:gd name="connsiteX109" fmla="*/ 22336 w 94173"/>
                    <a:gd name="connsiteY109" fmla="*/ 123758 h 135312"/>
                    <a:gd name="connsiteX110" fmla="*/ 24175 w 94173"/>
                    <a:gd name="connsiteY110" fmla="*/ 123082 h 135312"/>
                    <a:gd name="connsiteX111" fmla="*/ 25565 w 94173"/>
                    <a:gd name="connsiteY111" fmla="*/ 123082 h 135312"/>
                    <a:gd name="connsiteX112" fmla="*/ 27327 w 94173"/>
                    <a:gd name="connsiteY112" fmla="*/ 123082 h 135312"/>
                    <a:gd name="connsiteX113" fmla="*/ 30052 w 94173"/>
                    <a:gd name="connsiteY113" fmla="*/ 122701 h 135312"/>
                    <a:gd name="connsiteX114" fmla="*/ 32357 w 94173"/>
                    <a:gd name="connsiteY114" fmla="*/ 121958 h 135312"/>
                    <a:gd name="connsiteX115" fmla="*/ 33595 w 94173"/>
                    <a:gd name="connsiteY115" fmla="*/ 120939 h 135312"/>
                    <a:gd name="connsiteX116" fmla="*/ 33776 w 94173"/>
                    <a:gd name="connsiteY116" fmla="*/ 119663 h 135312"/>
                    <a:gd name="connsiteX117" fmla="*/ 34566 w 94173"/>
                    <a:gd name="connsiteY117" fmla="*/ 118691 h 135312"/>
                    <a:gd name="connsiteX118" fmla="*/ 35976 w 94173"/>
                    <a:gd name="connsiteY118" fmla="*/ 118043 h 135312"/>
                    <a:gd name="connsiteX119" fmla="*/ 38034 w 94173"/>
                    <a:gd name="connsiteY119" fmla="*/ 115576 h 135312"/>
                    <a:gd name="connsiteX120" fmla="*/ 38662 w 94173"/>
                    <a:gd name="connsiteY120" fmla="*/ 112185 h 135312"/>
                    <a:gd name="connsiteX121" fmla="*/ 39005 w 94173"/>
                    <a:gd name="connsiteY121" fmla="*/ 106813 h 135312"/>
                    <a:gd name="connsiteX122" fmla="*/ 41186 w 94173"/>
                    <a:gd name="connsiteY122" fmla="*/ 102870 h 135312"/>
                    <a:gd name="connsiteX123" fmla="*/ 45225 w 94173"/>
                    <a:gd name="connsiteY123" fmla="*/ 100346 h 135312"/>
                    <a:gd name="connsiteX124" fmla="*/ 47759 w 94173"/>
                    <a:gd name="connsiteY124" fmla="*/ 98317 h 135312"/>
                    <a:gd name="connsiteX125" fmla="*/ 48778 w 94173"/>
                    <a:gd name="connsiteY125" fmla="*/ 96764 h 135312"/>
                    <a:gd name="connsiteX126" fmla="*/ 48978 w 94173"/>
                    <a:gd name="connsiteY126" fmla="*/ 95631 h 135312"/>
                    <a:gd name="connsiteX127" fmla="*/ 49988 w 94173"/>
                    <a:gd name="connsiteY127" fmla="*/ 92783 h 135312"/>
                    <a:gd name="connsiteX128" fmla="*/ 50521 w 94173"/>
                    <a:gd name="connsiteY128" fmla="*/ 91611 h 135312"/>
                    <a:gd name="connsiteX129" fmla="*/ 50311 w 94173"/>
                    <a:gd name="connsiteY129" fmla="*/ 90449 h 135312"/>
                    <a:gd name="connsiteX130" fmla="*/ 51216 w 94173"/>
                    <a:gd name="connsiteY130" fmla="*/ 88335 h 135312"/>
                    <a:gd name="connsiteX131" fmla="*/ 50931 w 94173"/>
                    <a:gd name="connsiteY131" fmla="*/ 87401 h 135312"/>
                    <a:gd name="connsiteX132" fmla="*/ 49702 w 94173"/>
                    <a:gd name="connsiteY132" fmla="*/ 86563 h 135312"/>
                    <a:gd name="connsiteX133" fmla="*/ 47349 w 94173"/>
                    <a:gd name="connsiteY133" fmla="*/ 86792 h 135312"/>
                    <a:gd name="connsiteX134" fmla="*/ 47006 w 94173"/>
                    <a:gd name="connsiteY134" fmla="*/ 86087 h 135312"/>
                    <a:gd name="connsiteX135" fmla="*/ 47435 w 94173"/>
                    <a:gd name="connsiteY135" fmla="*/ 84249 h 135312"/>
                    <a:gd name="connsiteX136" fmla="*/ 49721 w 94173"/>
                    <a:gd name="connsiteY136" fmla="*/ 79886 h 135312"/>
                    <a:gd name="connsiteX137" fmla="*/ 51978 w 94173"/>
                    <a:gd name="connsiteY137" fmla="*/ 77524 h 135312"/>
                    <a:gd name="connsiteX138" fmla="*/ 56684 w 94173"/>
                    <a:gd name="connsiteY138" fmla="*/ 73657 h 135312"/>
                    <a:gd name="connsiteX139" fmla="*/ 56665 w 94173"/>
                    <a:gd name="connsiteY139" fmla="*/ 73228 h 135312"/>
                    <a:gd name="connsiteX140" fmla="*/ 55598 w 94173"/>
                    <a:gd name="connsiteY140" fmla="*/ 71676 h 135312"/>
                    <a:gd name="connsiteX141" fmla="*/ 55131 w 94173"/>
                    <a:gd name="connsiteY141" fmla="*/ 70237 h 135312"/>
                    <a:gd name="connsiteX142" fmla="*/ 54912 w 94173"/>
                    <a:gd name="connsiteY142" fmla="*/ 68247 h 135312"/>
                    <a:gd name="connsiteX143" fmla="*/ 56588 w 94173"/>
                    <a:gd name="connsiteY143" fmla="*/ 65084 h 135312"/>
                    <a:gd name="connsiteX144" fmla="*/ 60132 w 94173"/>
                    <a:gd name="connsiteY144" fmla="*/ 60741 h 135312"/>
                    <a:gd name="connsiteX145" fmla="*/ 61113 w 94173"/>
                    <a:gd name="connsiteY145" fmla="*/ 56740 h 135312"/>
                    <a:gd name="connsiteX146" fmla="*/ 60960 w 94173"/>
                    <a:gd name="connsiteY146" fmla="*/ 54845 h 135312"/>
                    <a:gd name="connsiteX147" fmla="*/ 60503 w 94173"/>
                    <a:gd name="connsiteY147" fmla="*/ 53521 h 135312"/>
                    <a:gd name="connsiteX148" fmla="*/ 59827 w 94173"/>
                    <a:gd name="connsiteY148" fmla="*/ 50540 h 135312"/>
                    <a:gd name="connsiteX149" fmla="*/ 60093 w 94173"/>
                    <a:gd name="connsiteY149" fmla="*/ 49378 h 135312"/>
                    <a:gd name="connsiteX150" fmla="*/ 60093 w 94173"/>
                    <a:gd name="connsiteY150" fmla="*/ 47273 h 135312"/>
                    <a:gd name="connsiteX151" fmla="*/ 59474 w 94173"/>
                    <a:gd name="connsiteY151" fmla="*/ 44977 h 135312"/>
                    <a:gd name="connsiteX152" fmla="*/ 58236 w 94173"/>
                    <a:gd name="connsiteY152" fmla="*/ 42481 h 135312"/>
                    <a:gd name="connsiteX153" fmla="*/ 57845 w 94173"/>
                    <a:gd name="connsiteY153" fmla="*/ 40491 h 135312"/>
                    <a:gd name="connsiteX154" fmla="*/ 58446 w 94173"/>
                    <a:gd name="connsiteY154" fmla="*/ 37081 h 135312"/>
                    <a:gd name="connsiteX155" fmla="*/ 58264 w 94173"/>
                    <a:gd name="connsiteY155" fmla="*/ 34823 h 135312"/>
                    <a:gd name="connsiteX156" fmla="*/ 57674 w 94173"/>
                    <a:gd name="connsiteY156" fmla="*/ 32737 h 135312"/>
                    <a:gd name="connsiteX157" fmla="*/ 56674 w 94173"/>
                    <a:gd name="connsiteY157" fmla="*/ 30813 h 135312"/>
                    <a:gd name="connsiteX158" fmla="*/ 56255 w 94173"/>
                    <a:gd name="connsiteY158" fmla="*/ 29146 h 135312"/>
                    <a:gd name="connsiteX159" fmla="*/ 56407 w 94173"/>
                    <a:gd name="connsiteY159" fmla="*/ 27727 h 135312"/>
                    <a:gd name="connsiteX160" fmla="*/ 55893 w 94173"/>
                    <a:gd name="connsiteY160" fmla="*/ 26699 h 135312"/>
                    <a:gd name="connsiteX161" fmla="*/ 54712 w 94173"/>
                    <a:gd name="connsiteY161" fmla="*/ 26051 h 135312"/>
                    <a:gd name="connsiteX162" fmla="*/ 54816 w 94173"/>
                    <a:gd name="connsiteY162" fmla="*/ 25032 h 135312"/>
                    <a:gd name="connsiteX163" fmla="*/ 56207 w 94173"/>
                    <a:gd name="connsiteY163" fmla="*/ 23641 h 135312"/>
                    <a:gd name="connsiteX164" fmla="*/ 55855 w 94173"/>
                    <a:gd name="connsiteY164" fmla="*/ 21384 h 135312"/>
                    <a:gd name="connsiteX165" fmla="*/ 55045 w 94173"/>
                    <a:gd name="connsiteY165" fmla="*/ 18412 h 135312"/>
                    <a:gd name="connsiteX166" fmla="*/ 54036 w 94173"/>
                    <a:gd name="connsiteY166" fmla="*/ 16278 h 135312"/>
                    <a:gd name="connsiteX167" fmla="*/ 50864 w 94173"/>
                    <a:gd name="connsiteY167" fmla="*/ 11744 h 135312"/>
                    <a:gd name="connsiteX168" fmla="*/ 48863 w 94173"/>
                    <a:gd name="connsiteY168" fmla="*/ 9906 h 135312"/>
                    <a:gd name="connsiteX169" fmla="*/ 47149 w 94173"/>
                    <a:gd name="connsiteY169" fmla="*/ 7639 h 135312"/>
                    <a:gd name="connsiteX170" fmla="*/ 47301 w 94173"/>
                    <a:gd name="connsiteY170" fmla="*/ 6410 h 135312"/>
                    <a:gd name="connsiteX171" fmla="*/ 48320 w 94173"/>
                    <a:gd name="connsiteY171" fmla="*/ 5363 h 135312"/>
                    <a:gd name="connsiteX172" fmla="*/ 50035 w 94173"/>
                    <a:gd name="connsiteY172" fmla="*/ 1486 h 135312"/>
                    <a:gd name="connsiteX173" fmla="*/ 50721 w 94173"/>
                    <a:gd name="connsiteY173" fmla="*/ 219 h 135312"/>
                    <a:gd name="connsiteX174" fmla="*/ 52788 w 94173"/>
                    <a:gd name="connsiteY174" fmla="*/ 0 h 135312"/>
                    <a:gd name="connsiteX175" fmla="*/ 55216 w 94173"/>
                    <a:gd name="connsiteY175" fmla="*/ 162 h 135312"/>
                    <a:gd name="connsiteX176" fmla="*/ 57808 w 94173"/>
                    <a:gd name="connsiteY176" fmla="*/ 752 h 135312"/>
                    <a:gd name="connsiteX177" fmla="*/ 62532 w 94173"/>
                    <a:gd name="connsiteY177" fmla="*/ 3343 h 135312"/>
                    <a:gd name="connsiteX178" fmla="*/ 62637 w 94173"/>
                    <a:gd name="connsiteY178" fmla="*/ 6410 h 135312"/>
                    <a:gd name="connsiteX179" fmla="*/ 63598 w 94173"/>
                    <a:gd name="connsiteY179" fmla="*/ 7525 h 135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94173" h="135312">
                      <a:moveTo>
                        <a:pt x="63598" y="7525"/>
                      </a:moveTo>
                      <a:lnTo>
                        <a:pt x="63598" y="7525"/>
                      </a:lnTo>
                      <a:lnTo>
                        <a:pt x="63598" y="7525"/>
                      </a:lnTo>
                      <a:lnTo>
                        <a:pt x="65770" y="10468"/>
                      </a:lnTo>
                      <a:lnTo>
                        <a:pt x="66037" y="11849"/>
                      </a:lnTo>
                      <a:lnTo>
                        <a:pt x="66999" y="14116"/>
                      </a:lnTo>
                      <a:lnTo>
                        <a:pt x="68009" y="15688"/>
                      </a:lnTo>
                      <a:lnTo>
                        <a:pt x="69571" y="18659"/>
                      </a:lnTo>
                      <a:lnTo>
                        <a:pt x="70552" y="20107"/>
                      </a:lnTo>
                      <a:lnTo>
                        <a:pt x="72562" y="21898"/>
                      </a:lnTo>
                      <a:lnTo>
                        <a:pt x="73552" y="23260"/>
                      </a:lnTo>
                      <a:lnTo>
                        <a:pt x="75009" y="26660"/>
                      </a:lnTo>
                      <a:lnTo>
                        <a:pt x="75400" y="27603"/>
                      </a:lnTo>
                      <a:lnTo>
                        <a:pt x="76219" y="29232"/>
                      </a:lnTo>
                      <a:lnTo>
                        <a:pt x="76334" y="30585"/>
                      </a:lnTo>
                      <a:lnTo>
                        <a:pt x="76886" y="31699"/>
                      </a:lnTo>
                      <a:lnTo>
                        <a:pt x="78610" y="34719"/>
                      </a:lnTo>
                      <a:lnTo>
                        <a:pt x="78210" y="36195"/>
                      </a:lnTo>
                      <a:lnTo>
                        <a:pt x="79420" y="38414"/>
                      </a:lnTo>
                      <a:lnTo>
                        <a:pt x="82934" y="44024"/>
                      </a:lnTo>
                      <a:lnTo>
                        <a:pt x="85973" y="47749"/>
                      </a:lnTo>
                      <a:lnTo>
                        <a:pt x="89574" y="50530"/>
                      </a:lnTo>
                      <a:lnTo>
                        <a:pt x="90126" y="51168"/>
                      </a:lnTo>
                      <a:lnTo>
                        <a:pt x="90593" y="52349"/>
                      </a:lnTo>
                      <a:lnTo>
                        <a:pt x="90993" y="54083"/>
                      </a:lnTo>
                      <a:lnTo>
                        <a:pt x="90678" y="56083"/>
                      </a:lnTo>
                      <a:lnTo>
                        <a:pt x="89268" y="60160"/>
                      </a:lnTo>
                      <a:lnTo>
                        <a:pt x="89431" y="61446"/>
                      </a:lnTo>
                      <a:lnTo>
                        <a:pt x="89974" y="62551"/>
                      </a:lnTo>
                      <a:lnTo>
                        <a:pt x="91478" y="64303"/>
                      </a:lnTo>
                      <a:lnTo>
                        <a:pt x="92869" y="66142"/>
                      </a:lnTo>
                      <a:lnTo>
                        <a:pt x="93212" y="66732"/>
                      </a:lnTo>
                      <a:lnTo>
                        <a:pt x="93193" y="67427"/>
                      </a:lnTo>
                      <a:lnTo>
                        <a:pt x="89478" y="67389"/>
                      </a:lnTo>
                      <a:lnTo>
                        <a:pt x="88240" y="66484"/>
                      </a:lnTo>
                      <a:lnTo>
                        <a:pt x="86659" y="63579"/>
                      </a:lnTo>
                      <a:lnTo>
                        <a:pt x="86230" y="62179"/>
                      </a:lnTo>
                      <a:lnTo>
                        <a:pt x="85601" y="61341"/>
                      </a:lnTo>
                      <a:lnTo>
                        <a:pt x="84240" y="60484"/>
                      </a:lnTo>
                      <a:lnTo>
                        <a:pt x="83011" y="60150"/>
                      </a:lnTo>
                      <a:lnTo>
                        <a:pt x="81905" y="60350"/>
                      </a:lnTo>
                      <a:lnTo>
                        <a:pt x="81077" y="60998"/>
                      </a:lnTo>
                      <a:lnTo>
                        <a:pt x="80525" y="62093"/>
                      </a:lnTo>
                      <a:lnTo>
                        <a:pt x="80486" y="69180"/>
                      </a:lnTo>
                      <a:lnTo>
                        <a:pt x="79982" y="71352"/>
                      </a:lnTo>
                      <a:lnTo>
                        <a:pt x="80429" y="71542"/>
                      </a:lnTo>
                      <a:lnTo>
                        <a:pt x="81992" y="70256"/>
                      </a:lnTo>
                      <a:lnTo>
                        <a:pt x="83630" y="69542"/>
                      </a:lnTo>
                      <a:lnTo>
                        <a:pt x="86002" y="69047"/>
                      </a:lnTo>
                      <a:lnTo>
                        <a:pt x="88478" y="69704"/>
                      </a:lnTo>
                      <a:lnTo>
                        <a:pt x="91078" y="71523"/>
                      </a:lnTo>
                      <a:lnTo>
                        <a:pt x="92964" y="73323"/>
                      </a:lnTo>
                      <a:lnTo>
                        <a:pt x="94174" y="75124"/>
                      </a:lnTo>
                      <a:lnTo>
                        <a:pt x="94050" y="76657"/>
                      </a:lnTo>
                      <a:lnTo>
                        <a:pt x="91469" y="78648"/>
                      </a:lnTo>
                      <a:lnTo>
                        <a:pt x="90564" y="78753"/>
                      </a:lnTo>
                      <a:lnTo>
                        <a:pt x="89774" y="78572"/>
                      </a:lnTo>
                      <a:lnTo>
                        <a:pt x="88621" y="77924"/>
                      </a:lnTo>
                      <a:lnTo>
                        <a:pt x="88297" y="78000"/>
                      </a:lnTo>
                      <a:lnTo>
                        <a:pt x="84830" y="82363"/>
                      </a:lnTo>
                      <a:lnTo>
                        <a:pt x="83849" y="84058"/>
                      </a:lnTo>
                      <a:lnTo>
                        <a:pt x="84106" y="84572"/>
                      </a:lnTo>
                      <a:lnTo>
                        <a:pt x="85811" y="85735"/>
                      </a:lnTo>
                      <a:lnTo>
                        <a:pt x="86373" y="86325"/>
                      </a:lnTo>
                      <a:lnTo>
                        <a:pt x="86344" y="87859"/>
                      </a:lnTo>
                      <a:lnTo>
                        <a:pt x="86020" y="89230"/>
                      </a:lnTo>
                      <a:lnTo>
                        <a:pt x="82868" y="92650"/>
                      </a:lnTo>
                      <a:lnTo>
                        <a:pt x="82706" y="94431"/>
                      </a:lnTo>
                      <a:lnTo>
                        <a:pt x="79601" y="96526"/>
                      </a:lnTo>
                      <a:lnTo>
                        <a:pt x="77657" y="96926"/>
                      </a:lnTo>
                      <a:lnTo>
                        <a:pt x="75238" y="96926"/>
                      </a:lnTo>
                      <a:lnTo>
                        <a:pt x="71628" y="98603"/>
                      </a:lnTo>
                      <a:lnTo>
                        <a:pt x="66837" y="101956"/>
                      </a:lnTo>
                      <a:lnTo>
                        <a:pt x="64323" y="104061"/>
                      </a:lnTo>
                      <a:lnTo>
                        <a:pt x="64123" y="104946"/>
                      </a:lnTo>
                      <a:lnTo>
                        <a:pt x="64665" y="107785"/>
                      </a:lnTo>
                      <a:lnTo>
                        <a:pt x="64380" y="108661"/>
                      </a:lnTo>
                      <a:lnTo>
                        <a:pt x="63294" y="109042"/>
                      </a:lnTo>
                      <a:lnTo>
                        <a:pt x="61293" y="108366"/>
                      </a:lnTo>
                      <a:lnTo>
                        <a:pt x="58151" y="107347"/>
                      </a:lnTo>
                      <a:lnTo>
                        <a:pt x="55293" y="106947"/>
                      </a:lnTo>
                      <a:lnTo>
                        <a:pt x="53226" y="107852"/>
                      </a:lnTo>
                      <a:lnTo>
                        <a:pt x="52007" y="108842"/>
                      </a:lnTo>
                      <a:lnTo>
                        <a:pt x="51816" y="110138"/>
                      </a:lnTo>
                      <a:lnTo>
                        <a:pt x="52740" y="111757"/>
                      </a:lnTo>
                      <a:lnTo>
                        <a:pt x="54722" y="113690"/>
                      </a:lnTo>
                      <a:lnTo>
                        <a:pt x="55731" y="115776"/>
                      </a:lnTo>
                      <a:lnTo>
                        <a:pt x="57227" y="120386"/>
                      </a:lnTo>
                      <a:lnTo>
                        <a:pt x="56817" y="121663"/>
                      </a:lnTo>
                      <a:lnTo>
                        <a:pt x="56274" y="123339"/>
                      </a:lnTo>
                      <a:lnTo>
                        <a:pt x="55807" y="126121"/>
                      </a:lnTo>
                      <a:lnTo>
                        <a:pt x="53160" y="128426"/>
                      </a:lnTo>
                      <a:lnTo>
                        <a:pt x="45863" y="131159"/>
                      </a:lnTo>
                      <a:lnTo>
                        <a:pt x="37729" y="132959"/>
                      </a:lnTo>
                      <a:lnTo>
                        <a:pt x="34367" y="134064"/>
                      </a:lnTo>
                      <a:lnTo>
                        <a:pt x="33147" y="135084"/>
                      </a:lnTo>
                      <a:lnTo>
                        <a:pt x="28946" y="135312"/>
                      </a:lnTo>
                      <a:lnTo>
                        <a:pt x="21774" y="134769"/>
                      </a:lnTo>
                      <a:lnTo>
                        <a:pt x="15021" y="133645"/>
                      </a:lnTo>
                      <a:lnTo>
                        <a:pt x="4134" y="130531"/>
                      </a:lnTo>
                      <a:lnTo>
                        <a:pt x="1514" y="129445"/>
                      </a:lnTo>
                      <a:lnTo>
                        <a:pt x="134" y="128635"/>
                      </a:lnTo>
                      <a:lnTo>
                        <a:pt x="0" y="128111"/>
                      </a:lnTo>
                      <a:lnTo>
                        <a:pt x="258" y="127749"/>
                      </a:lnTo>
                      <a:lnTo>
                        <a:pt x="1257" y="127454"/>
                      </a:lnTo>
                      <a:lnTo>
                        <a:pt x="9125" y="126263"/>
                      </a:lnTo>
                      <a:lnTo>
                        <a:pt x="14193" y="125844"/>
                      </a:lnTo>
                      <a:lnTo>
                        <a:pt x="19098" y="125806"/>
                      </a:lnTo>
                      <a:lnTo>
                        <a:pt x="21813" y="125111"/>
                      </a:lnTo>
                      <a:lnTo>
                        <a:pt x="22336" y="123758"/>
                      </a:lnTo>
                      <a:lnTo>
                        <a:pt x="24175" y="123082"/>
                      </a:lnTo>
                      <a:lnTo>
                        <a:pt x="25565" y="123082"/>
                      </a:lnTo>
                      <a:lnTo>
                        <a:pt x="27327" y="123082"/>
                      </a:lnTo>
                      <a:lnTo>
                        <a:pt x="30052" y="122701"/>
                      </a:lnTo>
                      <a:lnTo>
                        <a:pt x="32357" y="121958"/>
                      </a:lnTo>
                      <a:lnTo>
                        <a:pt x="33595" y="120939"/>
                      </a:lnTo>
                      <a:lnTo>
                        <a:pt x="33776" y="119663"/>
                      </a:lnTo>
                      <a:lnTo>
                        <a:pt x="34566" y="118691"/>
                      </a:lnTo>
                      <a:lnTo>
                        <a:pt x="35976" y="118043"/>
                      </a:lnTo>
                      <a:lnTo>
                        <a:pt x="38034" y="115576"/>
                      </a:lnTo>
                      <a:lnTo>
                        <a:pt x="38662" y="112185"/>
                      </a:lnTo>
                      <a:lnTo>
                        <a:pt x="39005" y="106813"/>
                      </a:lnTo>
                      <a:lnTo>
                        <a:pt x="41186" y="102870"/>
                      </a:lnTo>
                      <a:lnTo>
                        <a:pt x="45225" y="100346"/>
                      </a:lnTo>
                      <a:lnTo>
                        <a:pt x="47759" y="98317"/>
                      </a:lnTo>
                      <a:lnTo>
                        <a:pt x="48778" y="96764"/>
                      </a:lnTo>
                      <a:lnTo>
                        <a:pt x="48978" y="95631"/>
                      </a:lnTo>
                      <a:lnTo>
                        <a:pt x="49988" y="92783"/>
                      </a:lnTo>
                      <a:lnTo>
                        <a:pt x="50521" y="91611"/>
                      </a:lnTo>
                      <a:lnTo>
                        <a:pt x="50311" y="90449"/>
                      </a:lnTo>
                      <a:lnTo>
                        <a:pt x="51216" y="88335"/>
                      </a:lnTo>
                      <a:lnTo>
                        <a:pt x="50931" y="87401"/>
                      </a:lnTo>
                      <a:lnTo>
                        <a:pt x="49702" y="86563"/>
                      </a:lnTo>
                      <a:lnTo>
                        <a:pt x="47349" y="86792"/>
                      </a:lnTo>
                      <a:lnTo>
                        <a:pt x="47006" y="86087"/>
                      </a:lnTo>
                      <a:lnTo>
                        <a:pt x="47435" y="84249"/>
                      </a:lnTo>
                      <a:lnTo>
                        <a:pt x="49721" y="79886"/>
                      </a:lnTo>
                      <a:lnTo>
                        <a:pt x="51978" y="77524"/>
                      </a:lnTo>
                      <a:lnTo>
                        <a:pt x="56684" y="73657"/>
                      </a:lnTo>
                      <a:lnTo>
                        <a:pt x="56665" y="73228"/>
                      </a:lnTo>
                      <a:lnTo>
                        <a:pt x="55598" y="71676"/>
                      </a:lnTo>
                      <a:lnTo>
                        <a:pt x="55131" y="70237"/>
                      </a:lnTo>
                      <a:lnTo>
                        <a:pt x="54912" y="68247"/>
                      </a:lnTo>
                      <a:lnTo>
                        <a:pt x="56588" y="65084"/>
                      </a:lnTo>
                      <a:lnTo>
                        <a:pt x="60132" y="60741"/>
                      </a:lnTo>
                      <a:lnTo>
                        <a:pt x="61113" y="56740"/>
                      </a:lnTo>
                      <a:lnTo>
                        <a:pt x="60960" y="54845"/>
                      </a:lnTo>
                      <a:lnTo>
                        <a:pt x="60503" y="53521"/>
                      </a:lnTo>
                      <a:lnTo>
                        <a:pt x="59827" y="50540"/>
                      </a:lnTo>
                      <a:lnTo>
                        <a:pt x="60093" y="49378"/>
                      </a:lnTo>
                      <a:lnTo>
                        <a:pt x="60093" y="47273"/>
                      </a:lnTo>
                      <a:lnTo>
                        <a:pt x="59474" y="44977"/>
                      </a:lnTo>
                      <a:lnTo>
                        <a:pt x="58236" y="42481"/>
                      </a:lnTo>
                      <a:lnTo>
                        <a:pt x="57845" y="40491"/>
                      </a:lnTo>
                      <a:lnTo>
                        <a:pt x="58446" y="37081"/>
                      </a:lnTo>
                      <a:lnTo>
                        <a:pt x="58264" y="34823"/>
                      </a:lnTo>
                      <a:lnTo>
                        <a:pt x="57674" y="32737"/>
                      </a:lnTo>
                      <a:lnTo>
                        <a:pt x="56674" y="30813"/>
                      </a:lnTo>
                      <a:lnTo>
                        <a:pt x="56255" y="29146"/>
                      </a:lnTo>
                      <a:lnTo>
                        <a:pt x="56407" y="27727"/>
                      </a:lnTo>
                      <a:lnTo>
                        <a:pt x="55893" y="26699"/>
                      </a:lnTo>
                      <a:lnTo>
                        <a:pt x="54712" y="26051"/>
                      </a:lnTo>
                      <a:lnTo>
                        <a:pt x="54816" y="25032"/>
                      </a:lnTo>
                      <a:lnTo>
                        <a:pt x="56207" y="23641"/>
                      </a:lnTo>
                      <a:lnTo>
                        <a:pt x="55855" y="21384"/>
                      </a:lnTo>
                      <a:lnTo>
                        <a:pt x="55045" y="18412"/>
                      </a:lnTo>
                      <a:lnTo>
                        <a:pt x="54036" y="16278"/>
                      </a:lnTo>
                      <a:lnTo>
                        <a:pt x="50864" y="11744"/>
                      </a:lnTo>
                      <a:lnTo>
                        <a:pt x="48863" y="9906"/>
                      </a:lnTo>
                      <a:lnTo>
                        <a:pt x="47149" y="7639"/>
                      </a:lnTo>
                      <a:lnTo>
                        <a:pt x="47301" y="6410"/>
                      </a:lnTo>
                      <a:lnTo>
                        <a:pt x="48320" y="5363"/>
                      </a:lnTo>
                      <a:lnTo>
                        <a:pt x="50035" y="1486"/>
                      </a:lnTo>
                      <a:lnTo>
                        <a:pt x="50721" y="219"/>
                      </a:lnTo>
                      <a:lnTo>
                        <a:pt x="52788" y="0"/>
                      </a:lnTo>
                      <a:lnTo>
                        <a:pt x="55216" y="162"/>
                      </a:lnTo>
                      <a:lnTo>
                        <a:pt x="57808" y="752"/>
                      </a:lnTo>
                      <a:lnTo>
                        <a:pt x="62532" y="3343"/>
                      </a:lnTo>
                      <a:lnTo>
                        <a:pt x="62637" y="6410"/>
                      </a:lnTo>
                      <a:lnTo>
                        <a:pt x="63598" y="7525"/>
                      </a:lnTo>
                      <a:close/>
                    </a:path>
                  </a:pathLst>
                </a:custGeom>
                <a:solidFill>
                  <a:srgbClr val="FFFFFF"/>
                </a:solidFill>
                <a:ln w="9525" cap="flat">
                  <a:noFill/>
                  <a:prstDash val="solid"/>
                  <a:miter/>
                </a:ln>
              </p:spPr>
              <p:txBody>
                <a:bodyPr rtlCol="0" anchor="ctr"/>
                <a:lstStyle/>
                <a:p>
                  <a:endParaRPr lang="en-US"/>
                </a:p>
              </p:txBody>
            </p:sp>
            <p:sp>
              <p:nvSpPr>
                <p:cNvPr id="463" name="Freeform: Shape 462">
                  <a:extLst>
                    <a:ext uri="{FF2B5EF4-FFF2-40B4-BE49-F238E27FC236}">
                      <a16:creationId xmlns:a16="http://schemas.microsoft.com/office/drawing/2014/main" id="{E38718F7-4F73-46DE-AA6B-F4B48845A1D6}"/>
                    </a:ext>
                  </a:extLst>
                </p:cNvPr>
                <p:cNvSpPr/>
                <p:nvPr/>
              </p:nvSpPr>
              <p:spPr>
                <a:xfrm>
                  <a:off x="6590737" y="4350036"/>
                  <a:ext cx="99450" cy="108870"/>
                </a:xfrm>
                <a:custGeom>
                  <a:avLst/>
                  <a:gdLst>
                    <a:gd name="connsiteX0" fmla="*/ 96441 w 99450"/>
                    <a:gd name="connsiteY0" fmla="*/ 17745 h 108870"/>
                    <a:gd name="connsiteX1" fmla="*/ 96441 w 99450"/>
                    <a:gd name="connsiteY1" fmla="*/ 17745 h 108870"/>
                    <a:gd name="connsiteX2" fmla="*/ 96441 w 99450"/>
                    <a:gd name="connsiteY2" fmla="*/ 17745 h 108870"/>
                    <a:gd name="connsiteX3" fmla="*/ 99451 w 99450"/>
                    <a:gd name="connsiteY3" fmla="*/ 23536 h 108870"/>
                    <a:gd name="connsiteX4" fmla="*/ 98974 w 99450"/>
                    <a:gd name="connsiteY4" fmla="*/ 24184 h 108870"/>
                    <a:gd name="connsiteX5" fmla="*/ 95984 w 99450"/>
                    <a:gd name="connsiteY5" fmla="*/ 25089 h 108870"/>
                    <a:gd name="connsiteX6" fmla="*/ 92002 w 99450"/>
                    <a:gd name="connsiteY6" fmla="*/ 25241 h 108870"/>
                    <a:gd name="connsiteX7" fmla="*/ 88878 w 99450"/>
                    <a:gd name="connsiteY7" fmla="*/ 25984 h 108870"/>
                    <a:gd name="connsiteX8" fmla="*/ 88278 w 99450"/>
                    <a:gd name="connsiteY8" fmla="*/ 26479 h 108870"/>
                    <a:gd name="connsiteX9" fmla="*/ 88802 w 99450"/>
                    <a:gd name="connsiteY9" fmla="*/ 29470 h 108870"/>
                    <a:gd name="connsiteX10" fmla="*/ 88202 w 99450"/>
                    <a:gd name="connsiteY10" fmla="*/ 30451 h 108870"/>
                    <a:gd name="connsiteX11" fmla="*/ 87221 w 99450"/>
                    <a:gd name="connsiteY11" fmla="*/ 30671 h 108870"/>
                    <a:gd name="connsiteX12" fmla="*/ 85659 w 99450"/>
                    <a:gd name="connsiteY12" fmla="*/ 29299 h 108870"/>
                    <a:gd name="connsiteX13" fmla="*/ 84201 w 99450"/>
                    <a:gd name="connsiteY13" fmla="*/ 29318 h 108870"/>
                    <a:gd name="connsiteX14" fmla="*/ 82515 w 99450"/>
                    <a:gd name="connsiteY14" fmla="*/ 28880 h 108870"/>
                    <a:gd name="connsiteX15" fmla="*/ 80677 w 99450"/>
                    <a:gd name="connsiteY15" fmla="*/ 28765 h 108870"/>
                    <a:gd name="connsiteX16" fmla="*/ 79343 w 99450"/>
                    <a:gd name="connsiteY16" fmla="*/ 29661 h 108870"/>
                    <a:gd name="connsiteX17" fmla="*/ 76334 w 99450"/>
                    <a:gd name="connsiteY17" fmla="*/ 33099 h 108870"/>
                    <a:gd name="connsiteX18" fmla="*/ 75705 w 99450"/>
                    <a:gd name="connsiteY18" fmla="*/ 35166 h 108870"/>
                    <a:gd name="connsiteX19" fmla="*/ 75952 w 99450"/>
                    <a:gd name="connsiteY19" fmla="*/ 37690 h 108870"/>
                    <a:gd name="connsiteX20" fmla="*/ 77134 w 99450"/>
                    <a:gd name="connsiteY20" fmla="*/ 39986 h 108870"/>
                    <a:gd name="connsiteX21" fmla="*/ 78924 w 99450"/>
                    <a:gd name="connsiteY21" fmla="*/ 42548 h 108870"/>
                    <a:gd name="connsiteX22" fmla="*/ 78324 w 99450"/>
                    <a:gd name="connsiteY22" fmla="*/ 44453 h 108870"/>
                    <a:gd name="connsiteX23" fmla="*/ 77610 w 99450"/>
                    <a:gd name="connsiteY23" fmla="*/ 45568 h 108870"/>
                    <a:gd name="connsiteX24" fmla="*/ 75991 w 99450"/>
                    <a:gd name="connsiteY24" fmla="*/ 46272 h 108870"/>
                    <a:gd name="connsiteX25" fmla="*/ 75772 w 99450"/>
                    <a:gd name="connsiteY25" fmla="*/ 47406 h 108870"/>
                    <a:gd name="connsiteX26" fmla="*/ 71600 w 99450"/>
                    <a:gd name="connsiteY26" fmla="*/ 52264 h 108870"/>
                    <a:gd name="connsiteX27" fmla="*/ 70676 w 99450"/>
                    <a:gd name="connsiteY27" fmla="*/ 54130 h 108870"/>
                    <a:gd name="connsiteX28" fmla="*/ 70800 w 99450"/>
                    <a:gd name="connsiteY28" fmla="*/ 55121 h 108870"/>
                    <a:gd name="connsiteX29" fmla="*/ 72209 w 99450"/>
                    <a:gd name="connsiteY29" fmla="*/ 56464 h 108870"/>
                    <a:gd name="connsiteX30" fmla="*/ 71895 w 99450"/>
                    <a:gd name="connsiteY30" fmla="*/ 57055 h 108870"/>
                    <a:gd name="connsiteX31" fmla="*/ 68780 w 99450"/>
                    <a:gd name="connsiteY31" fmla="*/ 57140 h 108870"/>
                    <a:gd name="connsiteX32" fmla="*/ 68304 w 99450"/>
                    <a:gd name="connsiteY32" fmla="*/ 57798 h 108870"/>
                    <a:gd name="connsiteX33" fmla="*/ 68304 w 99450"/>
                    <a:gd name="connsiteY33" fmla="*/ 58645 h 108870"/>
                    <a:gd name="connsiteX34" fmla="*/ 67894 w 99450"/>
                    <a:gd name="connsiteY34" fmla="*/ 59141 h 108870"/>
                    <a:gd name="connsiteX35" fmla="*/ 68085 w 99450"/>
                    <a:gd name="connsiteY35" fmla="*/ 59731 h 108870"/>
                    <a:gd name="connsiteX36" fmla="*/ 71018 w 99450"/>
                    <a:gd name="connsiteY36" fmla="*/ 61960 h 108870"/>
                    <a:gd name="connsiteX37" fmla="*/ 71190 w 99450"/>
                    <a:gd name="connsiteY37" fmla="*/ 62541 h 108870"/>
                    <a:gd name="connsiteX38" fmla="*/ 70199 w 99450"/>
                    <a:gd name="connsiteY38" fmla="*/ 62512 h 108870"/>
                    <a:gd name="connsiteX39" fmla="*/ 67085 w 99450"/>
                    <a:gd name="connsiteY39" fmla="*/ 61655 h 108870"/>
                    <a:gd name="connsiteX40" fmla="*/ 65199 w 99450"/>
                    <a:gd name="connsiteY40" fmla="*/ 61474 h 108870"/>
                    <a:gd name="connsiteX41" fmla="*/ 63798 w 99450"/>
                    <a:gd name="connsiteY41" fmla="*/ 61722 h 108870"/>
                    <a:gd name="connsiteX42" fmla="*/ 63227 w 99450"/>
                    <a:gd name="connsiteY42" fmla="*/ 62294 h 108870"/>
                    <a:gd name="connsiteX43" fmla="*/ 62522 w 99450"/>
                    <a:gd name="connsiteY43" fmla="*/ 64341 h 108870"/>
                    <a:gd name="connsiteX44" fmla="*/ 63179 w 99450"/>
                    <a:gd name="connsiteY44" fmla="*/ 65379 h 108870"/>
                    <a:gd name="connsiteX45" fmla="*/ 63427 w 99450"/>
                    <a:gd name="connsiteY45" fmla="*/ 66456 h 108870"/>
                    <a:gd name="connsiteX46" fmla="*/ 61093 w 99450"/>
                    <a:gd name="connsiteY46" fmla="*/ 68113 h 108870"/>
                    <a:gd name="connsiteX47" fmla="*/ 60798 w 99450"/>
                    <a:gd name="connsiteY47" fmla="*/ 70333 h 108870"/>
                    <a:gd name="connsiteX48" fmla="*/ 59322 w 99450"/>
                    <a:gd name="connsiteY48" fmla="*/ 71533 h 108870"/>
                    <a:gd name="connsiteX49" fmla="*/ 57512 w 99450"/>
                    <a:gd name="connsiteY49" fmla="*/ 72247 h 108870"/>
                    <a:gd name="connsiteX50" fmla="*/ 54779 w 99450"/>
                    <a:gd name="connsiteY50" fmla="*/ 71923 h 108870"/>
                    <a:gd name="connsiteX51" fmla="*/ 53645 w 99450"/>
                    <a:gd name="connsiteY51" fmla="*/ 72504 h 108870"/>
                    <a:gd name="connsiteX52" fmla="*/ 52540 w 99450"/>
                    <a:gd name="connsiteY52" fmla="*/ 73590 h 108870"/>
                    <a:gd name="connsiteX53" fmla="*/ 51473 w 99450"/>
                    <a:gd name="connsiteY53" fmla="*/ 75381 h 108870"/>
                    <a:gd name="connsiteX54" fmla="*/ 56283 w 99450"/>
                    <a:gd name="connsiteY54" fmla="*/ 75181 h 108870"/>
                    <a:gd name="connsiteX55" fmla="*/ 57141 w 99450"/>
                    <a:gd name="connsiteY55" fmla="*/ 75571 h 108870"/>
                    <a:gd name="connsiteX56" fmla="*/ 57550 w 99450"/>
                    <a:gd name="connsiteY56" fmla="*/ 76362 h 108870"/>
                    <a:gd name="connsiteX57" fmla="*/ 58474 w 99450"/>
                    <a:gd name="connsiteY57" fmla="*/ 77219 h 108870"/>
                    <a:gd name="connsiteX58" fmla="*/ 58579 w 99450"/>
                    <a:gd name="connsiteY58" fmla="*/ 77743 h 108870"/>
                    <a:gd name="connsiteX59" fmla="*/ 55074 w 99450"/>
                    <a:gd name="connsiteY59" fmla="*/ 77772 h 108870"/>
                    <a:gd name="connsiteX60" fmla="*/ 53854 w 99450"/>
                    <a:gd name="connsiteY60" fmla="*/ 78867 h 108870"/>
                    <a:gd name="connsiteX61" fmla="*/ 51531 w 99450"/>
                    <a:gd name="connsiteY61" fmla="*/ 78591 h 108870"/>
                    <a:gd name="connsiteX62" fmla="*/ 49378 w 99450"/>
                    <a:gd name="connsiteY62" fmla="*/ 80115 h 108870"/>
                    <a:gd name="connsiteX63" fmla="*/ 49169 w 99450"/>
                    <a:gd name="connsiteY63" fmla="*/ 80867 h 108870"/>
                    <a:gd name="connsiteX64" fmla="*/ 50731 w 99450"/>
                    <a:gd name="connsiteY64" fmla="*/ 81772 h 108870"/>
                    <a:gd name="connsiteX65" fmla="*/ 58312 w 99450"/>
                    <a:gd name="connsiteY65" fmla="*/ 82953 h 108870"/>
                    <a:gd name="connsiteX66" fmla="*/ 60436 w 99450"/>
                    <a:gd name="connsiteY66" fmla="*/ 83134 h 108870"/>
                    <a:gd name="connsiteX67" fmla="*/ 65761 w 99450"/>
                    <a:gd name="connsiteY67" fmla="*/ 81362 h 108870"/>
                    <a:gd name="connsiteX68" fmla="*/ 67066 w 99450"/>
                    <a:gd name="connsiteY68" fmla="*/ 81744 h 108870"/>
                    <a:gd name="connsiteX69" fmla="*/ 67523 w 99450"/>
                    <a:gd name="connsiteY69" fmla="*/ 82801 h 108870"/>
                    <a:gd name="connsiteX70" fmla="*/ 67494 w 99450"/>
                    <a:gd name="connsiteY70" fmla="*/ 83896 h 108870"/>
                    <a:gd name="connsiteX71" fmla="*/ 66161 w 99450"/>
                    <a:gd name="connsiteY71" fmla="*/ 85344 h 108870"/>
                    <a:gd name="connsiteX72" fmla="*/ 60665 w 99450"/>
                    <a:gd name="connsiteY72" fmla="*/ 89106 h 108870"/>
                    <a:gd name="connsiteX73" fmla="*/ 58008 w 99450"/>
                    <a:gd name="connsiteY73" fmla="*/ 91392 h 108870"/>
                    <a:gd name="connsiteX74" fmla="*/ 55550 w 99450"/>
                    <a:gd name="connsiteY74" fmla="*/ 92316 h 108870"/>
                    <a:gd name="connsiteX75" fmla="*/ 55836 w 99450"/>
                    <a:gd name="connsiteY75" fmla="*/ 93678 h 108870"/>
                    <a:gd name="connsiteX76" fmla="*/ 55674 w 99450"/>
                    <a:gd name="connsiteY76" fmla="*/ 94288 h 108870"/>
                    <a:gd name="connsiteX77" fmla="*/ 54988 w 99450"/>
                    <a:gd name="connsiteY77" fmla="*/ 94583 h 108870"/>
                    <a:gd name="connsiteX78" fmla="*/ 48530 w 99450"/>
                    <a:gd name="connsiteY78" fmla="*/ 93240 h 108870"/>
                    <a:gd name="connsiteX79" fmla="*/ 44053 w 99450"/>
                    <a:gd name="connsiteY79" fmla="*/ 90773 h 108870"/>
                    <a:gd name="connsiteX80" fmla="*/ 41910 w 99450"/>
                    <a:gd name="connsiteY80" fmla="*/ 90506 h 108870"/>
                    <a:gd name="connsiteX81" fmla="*/ 40186 w 99450"/>
                    <a:gd name="connsiteY81" fmla="*/ 91097 h 108870"/>
                    <a:gd name="connsiteX82" fmla="*/ 39024 w 99450"/>
                    <a:gd name="connsiteY82" fmla="*/ 91992 h 108870"/>
                    <a:gd name="connsiteX83" fmla="*/ 38510 w 99450"/>
                    <a:gd name="connsiteY83" fmla="*/ 93088 h 108870"/>
                    <a:gd name="connsiteX84" fmla="*/ 38186 w 99450"/>
                    <a:gd name="connsiteY84" fmla="*/ 98765 h 108870"/>
                    <a:gd name="connsiteX85" fmla="*/ 40110 w 99450"/>
                    <a:gd name="connsiteY85" fmla="*/ 103622 h 108870"/>
                    <a:gd name="connsiteX86" fmla="*/ 40567 w 99450"/>
                    <a:gd name="connsiteY86" fmla="*/ 104575 h 108870"/>
                    <a:gd name="connsiteX87" fmla="*/ 38358 w 99450"/>
                    <a:gd name="connsiteY87" fmla="*/ 104994 h 108870"/>
                    <a:gd name="connsiteX88" fmla="*/ 34766 w 99450"/>
                    <a:gd name="connsiteY88" fmla="*/ 108452 h 108870"/>
                    <a:gd name="connsiteX89" fmla="*/ 34147 w 99450"/>
                    <a:gd name="connsiteY89" fmla="*/ 108871 h 108870"/>
                    <a:gd name="connsiteX90" fmla="*/ 34595 w 99450"/>
                    <a:gd name="connsiteY90" fmla="*/ 106528 h 108870"/>
                    <a:gd name="connsiteX91" fmla="*/ 34338 w 99450"/>
                    <a:gd name="connsiteY91" fmla="*/ 105165 h 108870"/>
                    <a:gd name="connsiteX92" fmla="*/ 36976 w 99450"/>
                    <a:gd name="connsiteY92" fmla="*/ 102965 h 108870"/>
                    <a:gd name="connsiteX93" fmla="*/ 37462 w 99450"/>
                    <a:gd name="connsiteY93" fmla="*/ 101698 h 108870"/>
                    <a:gd name="connsiteX94" fmla="*/ 35995 w 99450"/>
                    <a:gd name="connsiteY94" fmla="*/ 98231 h 108870"/>
                    <a:gd name="connsiteX95" fmla="*/ 36357 w 99450"/>
                    <a:gd name="connsiteY95" fmla="*/ 94964 h 108870"/>
                    <a:gd name="connsiteX96" fmla="*/ 35957 w 99450"/>
                    <a:gd name="connsiteY96" fmla="*/ 94069 h 108870"/>
                    <a:gd name="connsiteX97" fmla="*/ 34090 w 99450"/>
                    <a:gd name="connsiteY97" fmla="*/ 94021 h 108870"/>
                    <a:gd name="connsiteX98" fmla="*/ 32547 w 99450"/>
                    <a:gd name="connsiteY98" fmla="*/ 93640 h 108870"/>
                    <a:gd name="connsiteX99" fmla="*/ 32004 w 99450"/>
                    <a:gd name="connsiteY99" fmla="*/ 93307 h 108870"/>
                    <a:gd name="connsiteX100" fmla="*/ 31585 w 99450"/>
                    <a:gd name="connsiteY100" fmla="*/ 92202 h 108870"/>
                    <a:gd name="connsiteX101" fmla="*/ 30718 w 99450"/>
                    <a:gd name="connsiteY101" fmla="*/ 91659 h 108870"/>
                    <a:gd name="connsiteX102" fmla="*/ 27680 w 99450"/>
                    <a:gd name="connsiteY102" fmla="*/ 93840 h 108870"/>
                    <a:gd name="connsiteX103" fmla="*/ 27290 w 99450"/>
                    <a:gd name="connsiteY103" fmla="*/ 93412 h 108870"/>
                    <a:gd name="connsiteX104" fmla="*/ 27299 w 99450"/>
                    <a:gd name="connsiteY104" fmla="*/ 92412 h 108870"/>
                    <a:gd name="connsiteX105" fmla="*/ 26851 w 99450"/>
                    <a:gd name="connsiteY105" fmla="*/ 92135 h 108870"/>
                    <a:gd name="connsiteX106" fmla="*/ 24289 w 99450"/>
                    <a:gd name="connsiteY106" fmla="*/ 91850 h 108870"/>
                    <a:gd name="connsiteX107" fmla="*/ 22784 w 99450"/>
                    <a:gd name="connsiteY107" fmla="*/ 91164 h 108870"/>
                    <a:gd name="connsiteX108" fmla="*/ 21717 w 99450"/>
                    <a:gd name="connsiteY108" fmla="*/ 90278 h 108870"/>
                    <a:gd name="connsiteX109" fmla="*/ 20564 w 99450"/>
                    <a:gd name="connsiteY109" fmla="*/ 87430 h 108870"/>
                    <a:gd name="connsiteX110" fmla="*/ 19421 w 99450"/>
                    <a:gd name="connsiteY110" fmla="*/ 86763 h 108870"/>
                    <a:gd name="connsiteX111" fmla="*/ 18069 w 99450"/>
                    <a:gd name="connsiteY111" fmla="*/ 86782 h 108870"/>
                    <a:gd name="connsiteX112" fmla="*/ 17136 w 99450"/>
                    <a:gd name="connsiteY112" fmla="*/ 87621 h 108870"/>
                    <a:gd name="connsiteX113" fmla="*/ 15936 w 99450"/>
                    <a:gd name="connsiteY113" fmla="*/ 89392 h 108870"/>
                    <a:gd name="connsiteX114" fmla="*/ 14078 w 99450"/>
                    <a:gd name="connsiteY114" fmla="*/ 89745 h 108870"/>
                    <a:gd name="connsiteX115" fmla="*/ 13488 w 99450"/>
                    <a:gd name="connsiteY115" fmla="*/ 90288 h 108870"/>
                    <a:gd name="connsiteX116" fmla="*/ 14850 w 99450"/>
                    <a:gd name="connsiteY116" fmla="*/ 93183 h 108870"/>
                    <a:gd name="connsiteX117" fmla="*/ 15145 w 99450"/>
                    <a:gd name="connsiteY117" fmla="*/ 94402 h 108870"/>
                    <a:gd name="connsiteX118" fmla="*/ 14507 w 99450"/>
                    <a:gd name="connsiteY118" fmla="*/ 94783 h 108870"/>
                    <a:gd name="connsiteX119" fmla="*/ 11392 w 99450"/>
                    <a:gd name="connsiteY119" fmla="*/ 94136 h 108870"/>
                    <a:gd name="connsiteX120" fmla="*/ 9973 w 99450"/>
                    <a:gd name="connsiteY120" fmla="*/ 95098 h 108870"/>
                    <a:gd name="connsiteX121" fmla="*/ 9401 w 99450"/>
                    <a:gd name="connsiteY121" fmla="*/ 97041 h 108870"/>
                    <a:gd name="connsiteX122" fmla="*/ 9697 w 99450"/>
                    <a:gd name="connsiteY122" fmla="*/ 99203 h 108870"/>
                    <a:gd name="connsiteX123" fmla="*/ 10430 w 99450"/>
                    <a:gd name="connsiteY123" fmla="*/ 101708 h 108870"/>
                    <a:gd name="connsiteX124" fmla="*/ 9401 w 99450"/>
                    <a:gd name="connsiteY124" fmla="*/ 101555 h 108870"/>
                    <a:gd name="connsiteX125" fmla="*/ 7763 w 99450"/>
                    <a:gd name="connsiteY125" fmla="*/ 99117 h 108870"/>
                    <a:gd name="connsiteX126" fmla="*/ 7144 w 99450"/>
                    <a:gd name="connsiteY126" fmla="*/ 99317 h 108870"/>
                    <a:gd name="connsiteX127" fmla="*/ 6725 w 99450"/>
                    <a:gd name="connsiteY127" fmla="*/ 99936 h 108870"/>
                    <a:gd name="connsiteX128" fmla="*/ 5563 w 99450"/>
                    <a:gd name="connsiteY128" fmla="*/ 100098 h 108870"/>
                    <a:gd name="connsiteX129" fmla="*/ 4601 w 99450"/>
                    <a:gd name="connsiteY129" fmla="*/ 103013 h 108870"/>
                    <a:gd name="connsiteX130" fmla="*/ 4049 w 99450"/>
                    <a:gd name="connsiteY130" fmla="*/ 102794 h 108870"/>
                    <a:gd name="connsiteX131" fmla="*/ 3524 w 99450"/>
                    <a:gd name="connsiteY131" fmla="*/ 101498 h 108870"/>
                    <a:gd name="connsiteX132" fmla="*/ 3477 w 99450"/>
                    <a:gd name="connsiteY132" fmla="*/ 99717 h 108870"/>
                    <a:gd name="connsiteX133" fmla="*/ 4544 w 99450"/>
                    <a:gd name="connsiteY133" fmla="*/ 97441 h 108870"/>
                    <a:gd name="connsiteX134" fmla="*/ 3134 w 99450"/>
                    <a:gd name="connsiteY134" fmla="*/ 96698 h 108870"/>
                    <a:gd name="connsiteX135" fmla="*/ 2296 w 99450"/>
                    <a:gd name="connsiteY135" fmla="*/ 95717 h 108870"/>
                    <a:gd name="connsiteX136" fmla="*/ 2077 w 99450"/>
                    <a:gd name="connsiteY136" fmla="*/ 94555 h 108870"/>
                    <a:gd name="connsiteX137" fmla="*/ 3696 w 99450"/>
                    <a:gd name="connsiteY137" fmla="*/ 92535 h 108870"/>
                    <a:gd name="connsiteX138" fmla="*/ 3563 w 99450"/>
                    <a:gd name="connsiteY138" fmla="*/ 91716 h 108870"/>
                    <a:gd name="connsiteX139" fmla="*/ 3115 w 99450"/>
                    <a:gd name="connsiteY139" fmla="*/ 90430 h 108870"/>
                    <a:gd name="connsiteX140" fmla="*/ 2257 w 99450"/>
                    <a:gd name="connsiteY140" fmla="*/ 89097 h 108870"/>
                    <a:gd name="connsiteX141" fmla="*/ 1086 w 99450"/>
                    <a:gd name="connsiteY141" fmla="*/ 88192 h 108870"/>
                    <a:gd name="connsiteX142" fmla="*/ 267 w 99450"/>
                    <a:gd name="connsiteY142" fmla="*/ 86582 h 108870"/>
                    <a:gd name="connsiteX143" fmla="*/ 343 w 99450"/>
                    <a:gd name="connsiteY143" fmla="*/ 80372 h 108870"/>
                    <a:gd name="connsiteX144" fmla="*/ 0 w 99450"/>
                    <a:gd name="connsiteY144" fmla="*/ 78372 h 108870"/>
                    <a:gd name="connsiteX145" fmla="*/ 38 w 99450"/>
                    <a:gd name="connsiteY145" fmla="*/ 75724 h 108870"/>
                    <a:gd name="connsiteX146" fmla="*/ 3286 w 99450"/>
                    <a:gd name="connsiteY146" fmla="*/ 61855 h 108870"/>
                    <a:gd name="connsiteX147" fmla="*/ 4772 w 99450"/>
                    <a:gd name="connsiteY147" fmla="*/ 59560 h 108870"/>
                    <a:gd name="connsiteX148" fmla="*/ 5258 w 99450"/>
                    <a:gd name="connsiteY148" fmla="*/ 57683 h 108870"/>
                    <a:gd name="connsiteX149" fmla="*/ 6563 w 99450"/>
                    <a:gd name="connsiteY149" fmla="*/ 49263 h 108870"/>
                    <a:gd name="connsiteX150" fmla="*/ 6430 w 99450"/>
                    <a:gd name="connsiteY150" fmla="*/ 47749 h 108870"/>
                    <a:gd name="connsiteX151" fmla="*/ 6068 w 99450"/>
                    <a:gd name="connsiteY151" fmla="*/ 46892 h 108870"/>
                    <a:gd name="connsiteX152" fmla="*/ 5439 w 99450"/>
                    <a:gd name="connsiteY152" fmla="*/ 46768 h 108870"/>
                    <a:gd name="connsiteX153" fmla="*/ 4668 w 99450"/>
                    <a:gd name="connsiteY153" fmla="*/ 47044 h 108870"/>
                    <a:gd name="connsiteX154" fmla="*/ 3982 w 99450"/>
                    <a:gd name="connsiteY154" fmla="*/ 46692 h 108870"/>
                    <a:gd name="connsiteX155" fmla="*/ 3524 w 99450"/>
                    <a:gd name="connsiteY155" fmla="*/ 44348 h 108870"/>
                    <a:gd name="connsiteX156" fmla="*/ 3163 w 99450"/>
                    <a:gd name="connsiteY156" fmla="*/ 42834 h 108870"/>
                    <a:gd name="connsiteX157" fmla="*/ 2420 w 99450"/>
                    <a:gd name="connsiteY157" fmla="*/ 41243 h 108870"/>
                    <a:gd name="connsiteX158" fmla="*/ 2143 w 99450"/>
                    <a:gd name="connsiteY158" fmla="*/ 39748 h 108870"/>
                    <a:gd name="connsiteX159" fmla="*/ 5144 w 99450"/>
                    <a:gd name="connsiteY159" fmla="*/ 32785 h 108870"/>
                    <a:gd name="connsiteX160" fmla="*/ 6696 w 99450"/>
                    <a:gd name="connsiteY160" fmla="*/ 30013 h 108870"/>
                    <a:gd name="connsiteX161" fmla="*/ 10716 w 99450"/>
                    <a:gd name="connsiteY161" fmla="*/ 24994 h 108870"/>
                    <a:gd name="connsiteX162" fmla="*/ 10916 w 99450"/>
                    <a:gd name="connsiteY162" fmla="*/ 22908 h 108870"/>
                    <a:gd name="connsiteX163" fmla="*/ 10135 w 99450"/>
                    <a:gd name="connsiteY163" fmla="*/ 21545 h 108870"/>
                    <a:gd name="connsiteX164" fmla="*/ 9020 w 99450"/>
                    <a:gd name="connsiteY164" fmla="*/ 20564 h 108870"/>
                    <a:gd name="connsiteX165" fmla="*/ 8811 w 99450"/>
                    <a:gd name="connsiteY165" fmla="*/ 19860 h 108870"/>
                    <a:gd name="connsiteX166" fmla="*/ 9353 w 99450"/>
                    <a:gd name="connsiteY166" fmla="*/ 19031 h 108870"/>
                    <a:gd name="connsiteX167" fmla="*/ 11935 w 99450"/>
                    <a:gd name="connsiteY167" fmla="*/ 17726 h 108870"/>
                    <a:gd name="connsiteX168" fmla="*/ 12659 w 99450"/>
                    <a:gd name="connsiteY168" fmla="*/ 16659 h 108870"/>
                    <a:gd name="connsiteX169" fmla="*/ 15945 w 99450"/>
                    <a:gd name="connsiteY169" fmla="*/ 16126 h 108870"/>
                    <a:gd name="connsiteX170" fmla="*/ 17517 w 99450"/>
                    <a:gd name="connsiteY170" fmla="*/ 14592 h 108870"/>
                    <a:gd name="connsiteX171" fmla="*/ 19050 w 99450"/>
                    <a:gd name="connsiteY171" fmla="*/ 15030 h 108870"/>
                    <a:gd name="connsiteX172" fmla="*/ 19955 w 99450"/>
                    <a:gd name="connsiteY172" fmla="*/ 14221 h 108870"/>
                    <a:gd name="connsiteX173" fmla="*/ 21984 w 99450"/>
                    <a:gd name="connsiteY173" fmla="*/ 14411 h 108870"/>
                    <a:gd name="connsiteX174" fmla="*/ 23013 w 99450"/>
                    <a:gd name="connsiteY174" fmla="*/ 12792 h 108870"/>
                    <a:gd name="connsiteX175" fmla="*/ 23936 w 99450"/>
                    <a:gd name="connsiteY175" fmla="*/ 12059 h 108870"/>
                    <a:gd name="connsiteX176" fmla="*/ 24698 w 99450"/>
                    <a:gd name="connsiteY176" fmla="*/ 11954 h 108870"/>
                    <a:gd name="connsiteX177" fmla="*/ 25070 w 99450"/>
                    <a:gd name="connsiteY177" fmla="*/ 13116 h 108870"/>
                    <a:gd name="connsiteX178" fmla="*/ 26232 w 99450"/>
                    <a:gd name="connsiteY178" fmla="*/ 13221 h 108870"/>
                    <a:gd name="connsiteX179" fmla="*/ 27708 w 99450"/>
                    <a:gd name="connsiteY179" fmla="*/ 12687 h 108870"/>
                    <a:gd name="connsiteX180" fmla="*/ 28690 w 99450"/>
                    <a:gd name="connsiteY180" fmla="*/ 11763 h 108870"/>
                    <a:gd name="connsiteX181" fmla="*/ 29433 w 99450"/>
                    <a:gd name="connsiteY181" fmla="*/ 8792 h 108870"/>
                    <a:gd name="connsiteX182" fmla="*/ 30299 w 99450"/>
                    <a:gd name="connsiteY182" fmla="*/ 7477 h 108870"/>
                    <a:gd name="connsiteX183" fmla="*/ 31290 w 99450"/>
                    <a:gd name="connsiteY183" fmla="*/ 6915 h 108870"/>
                    <a:gd name="connsiteX184" fmla="*/ 32347 w 99450"/>
                    <a:gd name="connsiteY184" fmla="*/ 8906 h 108870"/>
                    <a:gd name="connsiteX185" fmla="*/ 33319 w 99450"/>
                    <a:gd name="connsiteY185" fmla="*/ 9220 h 108870"/>
                    <a:gd name="connsiteX186" fmla="*/ 32223 w 99450"/>
                    <a:gd name="connsiteY186" fmla="*/ 10554 h 108870"/>
                    <a:gd name="connsiteX187" fmla="*/ 32042 w 99450"/>
                    <a:gd name="connsiteY187" fmla="*/ 11173 h 108870"/>
                    <a:gd name="connsiteX188" fmla="*/ 32709 w 99450"/>
                    <a:gd name="connsiteY188" fmla="*/ 11459 h 108870"/>
                    <a:gd name="connsiteX189" fmla="*/ 34062 w 99450"/>
                    <a:gd name="connsiteY189" fmla="*/ 11449 h 108870"/>
                    <a:gd name="connsiteX190" fmla="*/ 35462 w 99450"/>
                    <a:gd name="connsiteY190" fmla="*/ 11116 h 108870"/>
                    <a:gd name="connsiteX191" fmla="*/ 37767 w 99450"/>
                    <a:gd name="connsiteY191" fmla="*/ 9525 h 108870"/>
                    <a:gd name="connsiteX192" fmla="*/ 38595 w 99450"/>
                    <a:gd name="connsiteY192" fmla="*/ 9544 h 108870"/>
                    <a:gd name="connsiteX193" fmla="*/ 39119 w 99450"/>
                    <a:gd name="connsiteY193" fmla="*/ 11325 h 108870"/>
                    <a:gd name="connsiteX194" fmla="*/ 39738 w 99450"/>
                    <a:gd name="connsiteY194" fmla="*/ 11859 h 108870"/>
                    <a:gd name="connsiteX195" fmla="*/ 41091 w 99450"/>
                    <a:gd name="connsiteY195" fmla="*/ 11477 h 108870"/>
                    <a:gd name="connsiteX196" fmla="*/ 43082 w 99450"/>
                    <a:gd name="connsiteY196" fmla="*/ 10249 h 108870"/>
                    <a:gd name="connsiteX197" fmla="*/ 44606 w 99450"/>
                    <a:gd name="connsiteY197" fmla="*/ 8782 h 108870"/>
                    <a:gd name="connsiteX198" fmla="*/ 44815 w 99450"/>
                    <a:gd name="connsiteY198" fmla="*/ 7344 h 108870"/>
                    <a:gd name="connsiteX199" fmla="*/ 46730 w 99450"/>
                    <a:gd name="connsiteY199" fmla="*/ 6934 h 108870"/>
                    <a:gd name="connsiteX200" fmla="*/ 48739 w 99450"/>
                    <a:gd name="connsiteY200" fmla="*/ 2648 h 108870"/>
                    <a:gd name="connsiteX201" fmla="*/ 48302 w 99450"/>
                    <a:gd name="connsiteY201" fmla="*/ 1381 h 108870"/>
                    <a:gd name="connsiteX202" fmla="*/ 50111 w 99450"/>
                    <a:gd name="connsiteY202" fmla="*/ 657 h 108870"/>
                    <a:gd name="connsiteX203" fmla="*/ 50978 w 99450"/>
                    <a:gd name="connsiteY203" fmla="*/ 295 h 108870"/>
                    <a:gd name="connsiteX204" fmla="*/ 52197 w 99450"/>
                    <a:gd name="connsiteY204" fmla="*/ 648 h 108870"/>
                    <a:gd name="connsiteX205" fmla="*/ 53854 w 99450"/>
                    <a:gd name="connsiteY205" fmla="*/ 0 h 108870"/>
                    <a:gd name="connsiteX206" fmla="*/ 53978 w 99450"/>
                    <a:gd name="connsiteY206" fmla="*/ 600 h 108870"/>
                    <a:gd name="connsiteX207" fmla="*/ 52854 w 99450"/>
                    <a:gd name="connsiteY207" fmla="*/ 3248 h 108870"/>
                    <a:gd name="connsiteX208" fmla="*/ 53530 w 99450"/>
                    <a:gd name="connsiteY208" fmla="*/ 3858 h 108870"/>
                    <a:gd name="connsiteX209" fmla="*/ 56931 w 99450"/>
                    <a:gd name="connsiteY209" fmla="*/ 4343 h 108870"/>
                    <a:gd name="connsiteX210" fmla="*/ 57655 w 99450"/>
                    <a:gd name="connsiteY210" fmla="*/ 4934 h 108870"/>
                    <a:gd name="connsiteX211" fmla="*/ 57674 w 99450"/>
                    <a:gd name="connsiteY211" fmla="*/ 5610 h 108870"/>
                    <a:gd name="connsiteX212" fmla="*/ 56293 w 99450"/>
                    <a:gd name="connsiteY212" fmla="*/ 6325 h 108870"/>
                    <a:gd name="connsiteX213" fmla="*/ 56493 w 99450"/>
                    <a:gd name="connsiteY213" fmla="*/ 7163 h 108870"/>
                    <a:gd name="connsiteX214" fmla="*/ 57608 w 99450"/>
                    <a:gd name="connsiteY214" fmla="*/ 7982 h 108870"/>
                    <a:gd name="connsiteX215" fmla="*/ 59160 w 99450"/>
                    <a:gd name="connsiteY215" fmla="*/ 8344 h 108870"/>
                    <a:gd name="connsiteX216" fmla="*/ 60665 w 99450"/>
                    <a:gd name="connsiteY216" fmla="*/ 7849 h 108870"/>
                    <a:gd name="connsiteX217" fmla="*/ 62532 w 99450"/>
                    <a:gd name="connsiteY217" fmla="*/ 5382 h 108870"/>
                    <a:gd name="connsiteX218" fmla="*/ 63818 w 99450"/>
                    <a:gd name="connsiteY218" fmla="*/ 4886 h 108870"/>
                    <a:gd name="connsiteX219" fmla="*/ 64847 w 99450"/>
                    <a:gd name="connsiteY219" fmla="*/ 5134 h 108870"/>
                    <a:gd name="connsiteX220" fmla="*/ 65332 w 99450"/>
                    <a:gd name="connsiteY220" fmla="*/ 7591 h 108870"/>
                    <a:gd name="connsiteX221" fmla="*/ 65847 w 99450"/>
                    <a:gd name="connsiteY221" fmla="*/ 8296 h 108870"/>
                    <a:gd name="connsiteX222" fmla="*/ 69504 w 99450"/>
                    <a:gd name="connsiteY222" fmla="*/ 9010 h 108870"/>
                    <a:gd name="connsiteX223" fmla="*/ 72152 w 99450"/>
                    <a:gd name="connsiteY223" fmla="*/ 8001 h 108870"/>
                    <a:gd name="connsiteX224" fmla="*/ 73086 w 99450"/>
                    <a:gd name="connsiteY224" fmla="*/ 8134 h 108870"/>
                    <a:gd name="connsiteX225" fmla="*/ 73066 w 99450"/>
                    <a:gd name="connsiteY225" fmla="*/ 12059 h 108870"/>
                    <a:gd name="connsiteX226" fmla="*/ 73323 w 99450"/>
                    <a:gd name="connsiteY226" fmla="*/ 14068 h 108870"/>
                    <a:gd name="connsiteX227" fmla="*/ 73981 w 99450"/>
                    <a:gd name="connsiteY227" fmla="*/ 15612 h 108870"/>
                    <a:gd name="connsiteX228" fmla="*/ 74791 w 99450"/>
                    <a:gd name="connsiteY228" fmla="*/ 16811 h 108870"/>
                    <a:gd name="connsiteX229" fmla="*/ 75752 w 99450"/>
                    <a:gd name="connsiteY229" fmla="*/ 17393 h 108870"/>
                    <a:gd name="connsiteX230" fmla="*/ 77524 w 99450"/>
                    <a:gd name="connsiteY230" fmla="*/ 17354 h 108870"/>
                    <a:gd name="connsiteX231" fmla="*/ 77838 w 99450"/>
                    <a:gd name="connsiteY231" fmla="*/ 17726 h 108870"/>
                    <a:gd name="connsiteX232" fmla="*/ 77277 w 99450"/>
                    <a:gd name="connsiteY232" fmla="*/ 19050 h 108870"/>
                    <a:gd name="connsiteX233" fmla="*/ 77572 w 99450"/>
                    <a:gd name="connsiteY233" fmla="*/ 20003 h 108870"/>
                    <a:gd name="connsiteX234" fmla="*/ 80982 w 99450"/>
                    <a:gd name="connsiteY234" fmla="*/ 23012 h 108870"/>
                    <a:gd name="connsiteX235" fmla="*/ 82839 w 99450"/>
                    <a:gd name="connsiteY235" fmla="*/ 25898 h 108870"/>
                    <a:gd name="connsiteX236" fmla="*/ 83639 w 99450"/>
                    <a:gd name="connsiteY236" fmla="*/ 26070 h 108870"/>
                    <a:gd name="connsiteX237" fmla="*/ 84392 w 99450"/>
                    <a:gd name="connsiteY237" fmla="*/ 25479 h 108870"/>
                    <a:gd name="connsiteX238" fmla="*/ 85001 w 99450"/>
                    <a:gd name="connsiteY238" fmla="*/ 24736 h 108870"/>
                    <a:gd name="connsiteX239" fmla="*/ 85525 w 99450"/>
                    <a:gd name="connsiteY239" fmla="*/ 22517 h 108870"/>
                    <a:gd name="connsiteX240" fmla="*/ 87087 w 99450"/>
                    <a:gd name="connsiteY240" fmla="*/ 21031 h 108870"/>
                    <a:gd name="connsiteX241" fmla="*/ 90821 w 99450"/>
                    <a:gd name="connsiteY241" fmla="*/ 19383 h 108870"/>
                    <a:gd name="connsiteX242" fmla="*/ 96441 w 99450"/>
                    <a:gd name="connsiteY242" fmla="*/ 17745 h 10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Lst>
                  <a:rect l="l" t="t" r="r" b="b"/>
                  <a:pathLst>
                    <a:path w="99450" h="108870">
                      <a:moveTo>
                        <a:pt x="96441" y="17745"/>
                      </a:moveTo>
                      <a:lnTo>
                        <a:pt x="96441" y="17745"/>
                      </a:lnTo>
                      <a:lnTo>
                        <a:pt x="96441" y="17745"/>
                      </a:lnTo>
                      <a:lnTo>
                        <a:pt x="99451" y="23536"/>
                      </a:lnTo>
                      <a:lnTo>
                        <a:pt x="98974" y="24184"/>
                      </a:lnTo>
                      <a:lnTo>
                        <a:pt x="95984" y="25089"/>
                      </a:lnTo>
                      <a:lnTo>
                        <a:pt x="92002" y="25241"/>
                      </a:lnTo>
                      <a:lnTo>
                        <a:pt x="88878" y="25984"/>
                      </a:lnTo>
                      <a:lnTo>
                        <a:pt x="88278" y="26479"/>
                      </a:lnTo>
                      <a:lnTo>
                        <a:pt x="88802" y="29470"/>
                      </a:lnTo>
                      <a:lnTo>
                        <a:pt x="88202" y="30451"/>
                      </a:lnTo>
                      <a:lnTo>
                        <a:pt x="87221" y="30671"/>
                      </a:lnTo>
                      <a:lnTo>
                        <a:pt x="85659" y="29299"/>
                      </a:lnTo>
                      <a:lnTo>
                        <a:pt x="84201" y="29318"/>
                      </a:lnTo>
                      <a:lnTo>
                        <a:pt x="82515" y="28880"/>
                      </a:lnTo>
                      <a:lnTo>
                        <a:pt x="80677" y="28765"/>
                      </a:lnTo>
                      <a:lnTo>
                        <a:pt x="79343" y="29661"/>
                      </a:lnTo>
                      <a:lnTo>
                        <a:pt x="76334" y="33099"/>
                      </a:lnTo>
                      <a:lnTo>
                        <a:pt x="75705" y="35166"/>
                      </a:lnTo>
                      <a:lnTo>
                        <a:pt x="75952" y="37690"/>
                      </a:lnTo>
                      <a:lnTo>
                        <a:pt x="77134" y="39986"/>
                      </a:lnTo>
                      <a:lnTo>
                        <a:pt x="78924" y="42548"/>
                      </a:lnTo>
                      <a:lnTo>
                        <a:pt x="78324" y="44453"/>
                      </a:lnTo>
                      <a:lnTo>
                        <a:pt x="77610" y="45568"/>
                      </a:lnTo>
                      <a:lnTo>
                        <a:pt x="75991" y="46272"/>
                      </a:lnTo>
                      <a:lnTo>
                        <a:pt x="75772" y="47406"/>
                      </a:lnTo>
                      <a:lnTo>
                        <a:pt x="71600" y="52264"/>
                      </a:lnTo>
                      <a:lnTo>
                        <a:pt x="70676" y="54130"/>
                      </a:lnTo>
                      <a:lnTo>
                        <a:pt x="70800" y="55121"/>
                      </a:lnTo>
                      <a:lnTo>
                        <a:pt x="72209" y="56464"/>
                      </a:lnTo>
                      <a:lnTo>
                        <a:pt x="71895" y="57055"/>
                      </a:lnTo>
                      <a:lnTo>
                        <a:pt x="68780" y="57140"/>
                      </a:lnTo>
                      <a:lnTo>
                        <a:pt x="68304" y="57798"/>
                      </a:lnTo>
                      <a:lnTo>
                        <a:pt x="68304" y="58645"/>
                      </a:lnTo>
                      <a:lnTo>
                        <a:pt x="67894" y="59141"/>
                      </a:lnTo>
                      <a:lnTo>
                        <a:pt x="68085" y="59731"/>
                      </a:lnTo>
                      <a:lnTo>
                        <a:pt x="71018" y="61960"/>
                      </a:lnTo>
                      <a:lnTo>
                        <a:pt x="71190" y="62541"/>
                      </a:lnTo>
                      <a:lnTo>
                        <a:pt x="70199" y="62512"/>
                      </a:lnTo>
                      <a:lnTo>
                        <a:pt x="67085" y="61655"/>
                      </a:lnTo>
                      <a:lnTo>
                        <a:pt x="65199" y="61474"/>
                      </a:lnTo>
                      <a:lnTo>
                        <a:pt x="63798" y="61722"/>
                      </a:lnTo>
                      <a:lnTo>
                        <a:pt x="63227" y="62294"/>
                      </a:lnTo>
                      <a:lnTo>
                        <a:pt x="62522" y="64341"/>
                      </a:lnTo>
                      <a:lnTo>
                        <a:pt x="63179" y="65379"/>
                      </a:lnTo>
                      <a:lnTo>
                        <a:pt x="63427" y="66456"/>
                      </a:lnTo>
                      <a:lnTo>
                        <a:pt x="61093" y="68113"/>
                      </a:lnTo>
                      <a:lnTo>
                        <a:pt x="60798" y="70333"/>
                      </a:lnTo>
                      <a:lnTo>
                        <a:pt x="59322" y="71533"/>
                      </a:lnTo>
                      <a:lnTo>
                        <a:pt x="57512" y="72247"/>
                      </a:lnTo>
                      <a:lnTo>
                        <a:pt x="54779" y="71923"/>
                      </a:lnTo>
                      <a:lnTo>
                        <a:pt x="53645" y="72504"/>
                      </a:lnTo>
                      <a:lnTo>
                        <a:pt x="52540" y="73590"/>
                      </a:lnTo>
                      <a:lnTo>
                        <a:pt x="51473" y="75381"/>
                      </a:lnTo>
                      <a:lnTo>
                        <a:pt x="56283" y="75181"/>
                      </a:lnTo>
                      <a:lnTo>
                        <a:pt x="57141" y="75571"/>
                      </a:lnTo>
                      <a:lnTo>
                        <a:pt x="57550" y="76362"/>
                      </a:lnTo>
                      <a:lnTo>
                        <a:pt x="58474" y="77219"/>
                      </a:lnTo>
                      <a:lnTo>
                        <a:pt x="58579" y="77743"/>
                      </a:lnTo>
                      <a:lnTo>
                        <a:pt x="55074" y="77772"/>
                      </a:lnTo>
                      <a:lnTo>
                        <a:pt x="53854" y="78867"/>
                      </a:lnTo>
                      <a:lnTo>
                        <a:pt x="51531" y="78591"/>
                      </a:lnTo>
                      <a:lnTo>
                        <a:pt x="49378" y="80115"/>
                      </a:lnTo>
                      <a:lnTo>
                        <a:pt x="49169" y="80867"/>
                      </a:lnTo>
                      <a:lnTo>
                        <a:pt x="50731" y="81772"/>
                      </a:lnTo>
                      <a:lnTo>
                        <a:pt x="58312" y="82953"/>
                      </a:lnTo>
                      <a:lnTo>
                        <a:pt x="60436" y="83134"/>
                      </a:lnTo>
                      <a:lnTo>
                        <a:pt x="65761" y="81362"/>
                      </a:lnTo>
                      <a:lnTo>
                        <a:pt x="67066" y="81744"/>
                      </a:lnTo>
                      <a:lnTo>
                        <a:pt x="67523" y="82801"/>
                      </a:lnTo>
                      <a:lnTo>
                        <a:pt x="67494" y="83896"/>
                      </a:lnTo>
                      <a:lnTo>
                        <a:pt x="66161" y="85344"/>
                      </a:lnTo>
                      <a:lnTo>
                        <a:pt x="60665" y="89106"/>
                      </a:lnTo>
                      <a:lnTo>
                        <a:pt x="58008" y="91392"/>
                      </a:lnTo>
                      <a:lnTo>
                        <a:pt x="55550" y="92316"/>
                      </a:lnTo>
                      <a:lnTo>
                        <a:pt x="55836" y="93678"/>
                      </a:lnTo>
                      <a:lnTo>
                        <a:pt x="55674" y="94288"/>
                      </a:lnTo>
                      <a:lnTo>
                        <a:pt x="54988" y="94583"/>
                      </a:lnTo>
                      <a:lnTo>
                        <a:pt x="48530" y="93240"/>
                      </a:lnTo>
                      <a:lnTo>
                        <a:pt x="44053" y="90773"/>
                      </a:lnTo>
                      <a:lnTo>
                        <a:pt x="41910" y="90506"/>
                      </a:lnTo>
                      <a:lnTo>
                        <a:pt x="40186" y="91097"/>
                      </a:lnTo>
                      <a:lnTo>
                        <a:pt x="39024" y="91992"/>
                      </a:lnTo>
                      <a:lnTo>
                        <a:pt x="38510" y="93088"/>
                      </a:lnTo>
                      <a:lnTo>
                        <a:pt x="38186" y="98765"/>
                      </a:lnTo>
                      <a:lnTo>
                        <a:pt x="40110" y="103622"/>
                      </a:lnTo>
                      <a:lnTo>
                        <a:pt x="40567" y="104575"/>
                      </a:lnTo>
                      <a:lnTo>
                        <a:pt x="38358" y="104994"/>
                      </a:lnTo>
                      <a:lnTo>
                        <a:pt x="34766" y="108452"/>
                      </a:lnTo>
                      <a:lnTo>
                        <a:pt x="34147" y="108871"/>
                      </a:lnTo>
                      <a:lnTo>
                        <a:pt x="34595" y="106528"/>
                      </a:lnTo>
                      <a:lnTo>
                        <a:pt x="34338" y="105165"/>
                      </a:lnTo>
                      <a:lnTo>
                        <a:pt x="36976" y="102965"/>
                      </a:lnTo>
                      <a:lnTo>
                        <a:pt x="37462" y="101698"/>
                      </a:lnTo>
                      <a:lnTo>
                        <a:pt x="35995" y="98231"/>
                      </a:lnTo>
                      <a:lnTo>
                        <a:pt x="36357" y="94964"/>
                      </a:lnTo>
                      <a:lnTo>
                        <a:pt x="35957" y="94069"/>
                      </a:lnTo>
                      <a:lnTo>
                        <a:pt x="34090" y="94021"/>
                      </a:lnTo>
                      <a:lnTo>
                        <a:pt x="32547" y="93640"/>
                      </a:lnTo>
                      <a:lnTo>
                        <a:pt x="32004" y="93307"/>
                      </a:lnTo>
                      <a:lnTo>
                        <a:pt x="31585" y="92202"/>
                      </a:lnTo>
                      <a:lnTo>
                        <a:pt x="30718" y="91659"/>
                      </a:lnTo>
                      <a:lnTo>
                        <a:pt x="27680" y="93840"/>
                      </a:lnTo>
                      <a:lnTo>
                        <a:pt x="27290" y="93412"/>
                      </a:lnTo>
                      <a:lnTo>
                        <a:pt x="27299" y="92412"/>
                      </a:lnTo>
                      <a:lnTo>
                        <a:pt x="26851" y="92135"/>
                      </a:lnTo>
                      <a:lnTo>
                        <a:pt x="24289" y="91850"/>
                      </a:lnTo>
                      <a:lnTo>
                        <a:pt x="22784" y="91164"/>
                      </a:lnTo>
                      <a:lnTo>
                        <a:pt x="21717" y="90278"/>
                      </a:lnTo>
                      <a:lnTo>
                        <a:pt x="20564" y="87430"/>
                      </a:lnTo>
                      <a:lnTo>
                        <a:pt x="19421" y="86763"/>
                      </a:lnTo>
                      <a:lnTo>
                        <a:pt x="18069" y="86782"/>
                      </a:lnTo>
                      <a:lnTo>
                        <a:pt x="17136" y="87621"/>
                      </a:lnTo>
                      <a:lnTo>
                        <a:pt x="15936" y="89392"/>
                      </a:lnTo>
                      <a:lnTo>
                        <a:pt x="14078" y="89745"/>
                      </a:lnTo>
                      <a:lnTo>
                        <a:pt x="13488" y="90288"/>
                      </a:lnTo>
                      <a:lnTo>
                        <a:pt x="14850" y="93183"/>
                      </a:lnTo>
                      <a:lnTo>
                        <a:pt x="15145" y="94402"/>
                      </a:lnTo>
                      <a:lnTo>
                        <a:pt x="14507" y="94783"/>
                      </a:lnTo>
                      <a:lnTo>
                        <a:pt x="11392" y="94136"/>
                      </a:lnTo>
                      <a:lnTo>
                        <a:pt x="9973" y="95098"/>
                      </a:lnTo>
                      <a:lnTo>
                        <a:pt x="9401" y="97041"/>
                      </a:lnTo>
                      <a:lnTo>
                        <a:pt x="9697" y="99203"/>
                      </a:lnTo>
                      <a:lnTo>
                        <a:pt x="10430" y="101708"/>
                      </a:lnTo>
                      <a:lnTo>
                        <a:pt x="9401" y="101555"/>
                      </a:lnTo>
                      <a:lnTo>
                        <a:pt x="7763" y="99117"/>
                      </a:lnTo>
                      <a:lnTo>
                        <a:pt x="7144" y="99317"/>
                      </a:lnTo>
                      <a:lnTo>
                        <a:pt x="6725" y="99936"/>
                      </a:lnTo>
                      <a:lnTo>
                        <a:pt x="5563" y="100098"/>
                      </a:lnTo>
                      <a:lnTo>
                        <a:pt x="4601" y="103013"/>
                      </a:lnTo>
                      <a:lnTo>
                        <a:pt x="4049" y="102794"/>
                      </a:lnTo>
                      <a:lnTo>
                        <a:pt x="3524" y="101498"/>
                      </a:lnTo>
                      <a:lnTo>
                        <a:pt x="3477" y="99717"/>
                      </a:lnTo>
                      <a:lnTo>
                        <a:pt x="4544" y="97441"/>
                      </a:lnTo>
                      <a:lnTo>
                        <a:pt x="3134" y="96698"/>
                      </a:lnTo>
                      <a:lnTo>
                        <a:pt x="2296" y="95717"/>
                      </a:lnTo>
                      <a:lnTo>
                        <a:pt x="2077" y="94555"/>
                      </a:lnTo>
                      <a:lnTo>
                        <a:pt x="3696" y="92535"/>
                      </a:lnTo>
                      <a:lnTo>
                        <a:pt x="3563" y="91716"/>
                      </a:lnTo>
                      <a:lnTo>
                        <a:pt x="3115" y="90430"/>
                      </a:lnTo>
                      <a:lnTo>
                        <a:pt x="2257" y="89097"/>
                      </a:lnTo>
                      <a:lnTo>
                        <a:pt x="1086" y="88192"/>
                      </a:lnTo>
                      <a:lnTo>
                        <a:pt x="267" y="86582"/>
                      </a:lnTo>
                      <a:lnTo>
                        <a:pt x="343" y="80372"/>
                      </a:lnTo>
                      <a:lnTo>
                        <a:pt x="0" y="78372"/>
                      </a:lnTo>
                      <a:lnTo>
                        <a:pt x="38" y="75724"/>
                      </a:lnTo>
                      <a:lnTo>
                        <a:pt x="3286" y="61855"/>
                      </a:lnTo>
                      <a:lnTo>
                        <a:pt x="4772" y="59560"/>
                      </a:lnTo>
                      <a:lnTo>
                        <a:pt x="5258" y="57683"/>
                      </a:lnTo>
                      <a:lnTo>
                        <a:pt x="6563" y="49263"/>
                      </a:lnTo>
                      <a:lnTo>
                        <a:pt x="6430" y="47749"/>
                      </a:lnTo>
                      <a:lnTo>
                        <a:pt x="6068" y="46892"/>
                      </a:lnTo>
                      <a:lnTo>
                        <a:pt x="5439" y="46768"/>
                      </a:lnTo>
                      <a:lnTo>
                        <a:pt x="4668" y="47044"/>
                      </a:lnTo>
                      <a:lnTo>
                        <a:pt x="3982" y="46692"/>
                      </a:lnTo>
                      <a:lnTo>
                        <a:pt x="3524" y="44348"/>
                      </a:lnTo>
                      <a:lnTo>
                        <a:pt x="3163" y="42834"/>
                      </a:lnTo>
                      <a:lnTo>
                        <a:pt x="2420" y="41243"/>
                      </a:lnTo>
                      <a:lnTo>
                        <a:pt x="2143" y="39748"/>
                      </a:lnTo>
                      <a:lnTo>
                        <a:pt x="5144" y="32785"/>
                      </a:lnTo>
                      <a:lnTo>
                        <a:pt x="6696" y="30013"/>
                      </a:lnTo>
                      <a:lnTo>
                        <a:pt x="10716" y="24994"/>
                      </a:lnTo>
                      <a:lnTo>
                        <a:pt x="10916" y="22908"/>
                      </a:lnTo>
                      <a:lnTo>
                        <a:pt x="10135" y="21545"/>
                      </a:lnTo>
                      <a:lnTo>
                        <a:pt x="9020" y="20564"/>
                      </a:lnTo>
                      <a:lnTo>
                        <a:pt x="8811" y="19860"/>
                      </a:lnTo>
                      <a:lnTo>
                        <a:pt x="9353" y="19031"/>
                      </a:lnTo>
                      <a:lnTo>
                        <a:pt x="11935" y="17726"/>
                      </a:lnTo>
                      <a:lnTo>
                        <a:pt x="12659" y="16659"/>
                      </a:lnTo>
                      <a:lnTo>
                        <a:pt x="15945" y="16126"/>
                      </a:lnTo>
                      <a:lnTo>
                        <a:pt x="17517" y="14592"/>
                      </a:lnTo>
                      <a:lnTo>
                        <a:pt x="19050" y="15030"/>
                      </a:lnTo>
                      <a:lnTo>
                        <a:pt x="19955" y="14221"/>
                      </a:lnTo>
                      <a:lnTo>
                        <a:pt x="21984" y="14411"/>
                      </a:lnTo>
                      <a:lnTo>
                        <a:pt x="23013" y="12792"/>
                      </a:lnTo>
                      <a:lnTo>
                        <a:pt x="23936" y="12059"/>
                      </a:lnTo>
                      <a:lnTo>
                        <a:pt x="24698" y="11954"/>
                      </a:lnTo>
                      <a:lnTo>
                        <a:pt x="25070" y="13116"/>
                      </a:lnTo>
                      <a:lnTo>
                        <a:pt x="26232" y="13221"/>
                      </a:lnTo>
                      <a:lnTo>
                        <a:pt x="27708" y="12687"/>
                      </a:lnTo>
                      <a:lnTo>
                        <a:pt x="28690" y="11763"/>
                      </a:lnTo>
                      <a:lnTo>
                        <a:pt x="29433" y="8792"/>
                      </a:lnTo>
                      <a:lnTo>
                        <a:pt x="30299" y="7477"/>
                      </a:lnTo>
                      <a:lnTo>
                        <a:pt x="31290" y="6915"/>
                      </a:lnTo>
                      <a:lnTo>
                        <a:pt x="32347" y="8906"/>
                      </a:lnTo>
                      <a:lnTo>
                        <a:pt x="33319" y="9220"/>
                      </a:lnTo>
                      <a:lnTo>
                        <a:pt x="32223" y="10554"/>
                      </a:lnTo>
                      <a:lnTo>
                        <a:pt x="32042" y="11173"/>
                      </a:lnTo>
                      <a:lnTo>
                        <a:pt x="32709" y="11459"/>
                      </a:lnTo>
                      <a:lnTo>
                        <a:pt x="34062" y="11449"/>
                      </a:lnTo>
                      <a:lnTo>
                        <a:pt x="35462" y="11116"/>
                      </a:lnTo>
                      <a:lnTo>
                        <a:pt x="37767" y="9525"/>
                      </a:lnTo>
                      <a:lnTo>
                        <a:pt x="38595" y="9544"/>
                      </a:lnTo>
                      <a:lnTo>
                        <a:pt x="39119" y="11325"/>
                      </a:lnTo>
                      <a:lnTo>
                        <a:pt x="39738" y="11859"/>
                      </a:lnTo>
                      <a:lnTo>
                        <a:pt x="41091" y="11477"/>
                      </a:lnTo>
                      <a:lnTo>
                        <a:pt x="43082" y="10249"/>
                      </a:lnTo>
                      <a:lnTo>
                        <a:pt x="44606" y="8782"/>
                      </a:lnTo>
                      <a:lnTo>
                        <a:pt x="44815" y="7344"/>
                      </a:lnTo>
                      <a:lnTo>
                        <a:pt x="46730" y="6934"/>
                      </a:lnTo>
                      <a:lnTo>
                        <a:pt x="48739" y="2648"/>
                      </a:lnTo>
                      <a:lnTo>
                        <a:pt x="48302" y="1381"/>
                      </a:lnTo>
                      <a:lnTo>
                        <a:pt x="50111" y="657"/>
                      </a:lnTo>
                      <a:lnTo>
                        <a:pt x="50978" y="295"/>
                      </a:lnTo>
                      <a:lnTo>
                        <a:pt x="52197" y="648"/>
                      </a:lnTo>
                      <a:lnTo>
                        <a:pt x="53854" y="0"/>
                      </a:lnTo>
                      <a:lnTo>
                        <a:pt x="53978" y="600"/>
                      </a:lnTo>
                      <a:lnTo>
                        <a:pt x="52854" y="3248"/>
                      </a:lnTo>
                      <a:lnTo>
                        <a:pt x="53530" y="3858"/>
                      </a:lnTo>
                      <a:lnTo>
                        <a:pt x="56931" y="4343"/>
                      </a:lnTo>
                      <a:lnTo>
                        <a:pt x="57655" y="4934"/>
                      </a:lnTo>
                      <a:lnTo>
                        <a:pt x="57674" y="5610"/>
                      </a:lnTo>
                      <a:lnTo>
                        <a:pt x="56293" y="6325"/>
                      </a:lnTo>
                      <a:lnTo>
                        <a:pt x="56493" y="7163"/>
                      </a:lnTo>
                      <a:lnTo>
                        <a:pt x="57608" y="7982"/>
                      </a:lnTo>
                      <a:lnTo>
                        <a:pt x="59160" y="8344"/>
                      </a:lnTo>
                      <a:lnTo>
                        <a:pt x="60665" y="7849"/>
                      </a:lnTo>
                      <a:lnTo>
                        <a:pt x="62532" y="5382"/>
                      </a:lnTo>
                      <a:lnTo>
                        <a:pt x="63818" y="4886"/>
                      </a:lnTo>
                      <a:lnTo>
                        <a:pt x="64847" y="5134"/>
                      </a:lnTo>
                      <a:lnTo>
                        <a:pt x="65332" y="7591"/>
                      </a:lnTo>
                      <a:lnTo>
                        <a:pt x="65847" y="8296"/>
                      </a:lnTo>
                      <a:lnTo>
                        <a:pt x="69504" y="9010"/>
                      </a:lnTo>
                      <a:lnTo>
                        <a:pt x="72152" y="8001"/>
                      </a:lnTo>
                      <a:lnTo>
                        <a:pt x="73086" y="8134"/>
                      </a:lnTo>
                      <a:lnTo>
                        <a:pt x="73066" y="12059"/>
                      </a:lnTo>
                      <a:lnTo>
                        <a:pt x="73323" y="14068"/>
                      </a:lnTo>
                      <a:lnTo>
                        <a:pt x="73981" y="15612"/>
                      </a:lnTo>
                      <a:lnTo>
                        <a:pt x="74791" y="16811"/>
                      </a:lnTo>
                      <a:lnTo>
                        <a:pt x="75752" y="17393"/>
                      </a:lnTo>
                      <a:lnTo>
                        <a:pt x="77524" y="17354"/>
                      </a:lnTo>
                      <a:lnTo>
                        <a:pt x="77838" y="17726"/>
                      </a:lnTo>
                      <a:lnTo>
                        <a:pt x="77277" y="19050"/>
                      </a:lnTo>
                      <a:lnTo>
                        <a:pt x="77572" y="20003"/>
                      </a:lnTo>
                      <a:lnTo>
                        <a:pt x="80982" y="23012"/>
                      </a:lnTo>
                      <a:lnTo>
                        <a:pt x="82839" y="25898"/>
                      </a:lnTo>
                      <a:lnTo>
                        <a:pt x="83639" y="26070"/>
                      </a:lnTo>
                      <a:lnTo>
                        <a:pt x="84392" y="25479"/>
                      </a:lnTo>
                      <a:lnTo>
                        <a:pt x="85001" y="24736"/>
                      </a:lnTo>
                      <a:lnTo>
                        <a:pt x="85525" y="22517"/>
                      </a:lnTo>
                      <a:lnTo>
                        <a:pt x="87087" y="21031"/>
                      </a:lnTo>
                      <a:lnTo>
                        <a:pt x="90821" y="19383"/>
                      </a:lnTo>
                      <a:lnTo>
                        <a:pt x="96441" y="17745"/>
                      </a:lnTo>
                      <a:close/>
                    </a:path>
                  </a:pathLst>
                </a:custGeom>
                <a:solidFill>
                  <a:srgbClr val="FFFFFF"/>
                </a:solidFill>
                <a:ln w="9525" cap="flat">
                  <a:noFill/>
                  <a:prstDash val="solid"/>
                  <a:miter/>
                </a:ln>
              </p:spPr>
              <p:txBody>
                <a:bodyPr rtlCol="0" anchor="ctr"/>
                <a:lstStyle/>
                <a:p>
                  <a:endParaRPr lang="en-US"/>
                </a:p>
              </p:txBody>
            </p:sp>
            <p:sp>
              <p:nvSpPr>
                <p:cNvPr id="464" name="Freeform: Shape 463">
                  <a:extLst>
                    <a:ext uri="{FF2B5EF4-FFF2-40B4-BE49-F238E27FC236}">
                      <a16:creationId xmlns:a16="http://schemas.microsoft.com/office/drawing/2014/main" id="{7FDDE496-7557-4A04-8B68-32D7AAE6655C}"/>
                    </a:ext>
                  </a:extLst>
                </p:cNvPr>
                <p:cNvSpPr/>
                <p:nvPr/>
              </p:nvSpPr>
              <p:spPr>
                <a:xfrm>
                  <a:off x="6653507" y="4664037"/>
                  <a:ext cx="34147" cy="154543"/>
                </a:xfrm>
                <a:custGeom>
                  <a:avLst/>
                  <a:gdLst>
                    <a:gd name="connsiteX0" fmla="*/ 33614 w 34147"/>
                    <a:gd name="connsiteY0" fmla="*/ 150590 h 154543"/>
                    <a:gd name="connsiteX1" fmla="*/ 33614 w 34147"/>
                    <a:gd name="connsiteY1" fmla="*/ 150590 h 154543"/>
                    <a:gd name="connsiteX2" fmla="*/ 33614 w 34147"/>
                    <a:gd name="connsiteY2" fmla="*/ 150590 h 154543"/>
                    <a:gd name="connsiteX3" fmla="*/ 33614 w 34147"/>
                    <a:gd name="connsiteY3" fmla="*/ 150590 h 154543"/>
                    <a:gd name="connsiteX4" fmla="*/ 34147 w 34147"/>
                    <a:gd name="connsiteY4" fmla="*/ 153353 h 154543"/>
                    <a:gd name="connsiteX5" fmla="*/ 33766 w 34147"/>
                    <a:gd name="connsiteY5" fmla="*/ 154172 h 154543"/>
                    <a:gd name="connsiteX6" fmla="*/ 33242 w 34147"/>
                    <a:gd name="connsiteY6" fmla="*/ 154543 h 154543"/>
                    <a:gd name="connsiteX7" fmla="*/ 32585 w 34147"/>
                    <a:gd name="connsiteY7" fmla="*/ 154496 h 154543"/>
                    <a:gd name="connsiteX8" fmla="*/ 31356 w 34147"/>
                    <a:gd name="connsiteY8" fmla="*/ 152971 h 154543"/>
                    <a:gd name="connsiteX9" fmla="*/ 29556 w 34147"/>
                    <a:gd name="connsiteY9" fmla="*/ 150952 h 154543"/>
                    <a:gd name="connsiteX10" fmla="*/ 27289 w 34147"/>
                    <a:gd name="connsiteY10" fmla="*/ 147428 h 154543"/>
                    <a:gd name="connsiteX11" fmla="*/ 26279 w 34147"/>
                    <a:gd name="connsiteY11" fmla="*/ 146818 h 154543"/>
                    <a:gd name="connsiteX12" fmla="*/ 24584 w 34147"/>
                    <a:gd name="connsiteY12" fmla="*/ 146542 h 154543"/>
                    <a:gd name="connsiteX13" fmla="*/ 24269 w 34147"/>
                    <a:gd name="connsiteY13" fmla="*/ 146104 h 154543"/>
                    <a:gd name="connsiteX14" fmla="*/ 24251 w 34147"/>
                    <a:gd name="connsiteY14" fmla="*/ 144085 h 154543"/>
                    <a:gd name="connsiteX15" fmla="*/ 23946 w 34147"/>
                    <a:gd name="connsiteY15" fmla="*/ 143180 h 154543"/>
                    <a:gd name="connsiteX16" fmla="*/ 23260 w 34147"/>
                    <a:gd name="connsiteY16" fmla="*/ 142532 h 154543"/>
                    <a:gd name="connsiteX17" fmla="*/ 22507 w 34147"/>
                    <a:gd name="connsiteY17" fmla="*/ 142237 h 154543"/>
                    <a:gd name="connsiteX18" fmla="*/ 21746 w 34147"/>
                    <a:gd name="connsiteY18" fmla="*/ 142313 h 154543"/>
                    <a:gd name="connsiteX19" fmla="*/ 21450 w 34147"/>
                    <a:gd name="connsiteY19" fmla="*/ 142961 h 154543"/>
                    <a:gd name="connsiteX20" fmla="*/ 21650 w 34147"/>
                    <a:gd name="connsiteY20" fmla="*/ 144208 h 154543"/>
                    <a:gd name="connsiteX21" fmla="*/ 21327 w 34147"/>
                    <a:gd name="connsiteY21" fmla="*/ 145409 h 154543"/>
                    <a:gd name="connsiteX22" fmla="*/ 20450 w 34147"/>
                    <a:gd name="connsiteY22" fmla="*/ 146590 h 154543"/>
                    <a:gd name="connsiteX23" fmla="*/ 20126 w 34147"/>
                    <a:gd name="connsiteY23" fmla="*/ 147466 h 154543"/>
                    <a:gd name="connsiteX24" fmla="*/ 20336 w 34147"/>
                    <a:gd name="connsiteY24" fmla="*/ 148057 h 154543"/>
                    <a:gd name="connsiteX25" fmla="*/ 20136 w 34147"/>
                    <a:gd name="connsiteY25" fmla="*/ 148676 h 154543"/>
                    <a:gd name="connsiteX26" fmla="*/ 18498 w 34147"/>
                    <a:gd name="connsiteY26" fmla="*/ 149885 h 154543"/>
                    <a:gd name="connsiteX27" fmla="*/ 17212 w 34147"/>
                    <a:gd name="connsiteY27" fmla="*/ 150295 h 154543"/>
                    <a:gd name="connsiteX28" fmla="*/ 16526 w 34147"/>
                    <a:gd name="connsiteY28" fmla="*/ 150114 h 154543"/>
                    <a:gd name="connsiteX29" fmla="*/ 16412 w 34147"/>
                    <a:gd name="connsiteY29" fmla="*/ 149314 h 154543"/>
                    <a:gd name="connsiteX30" fmla="*/ 15745 w 34147"/>
                    <a:gd name="connsiteY30" fmla="*/ 148619 h 154543"/>
                    <a:gd name="connsiteX31" fmla="*/ 14526 w 34147"/>
                    <a:gd name="connsiteY31" fmla="*/ 148009 h 154543"/>
                    <a:gd name="connsiteX32" fmla="*/ 13468 w 34147"/>
                    <a:gd name="connsiteY32" fmla="*/ 146856 h 154543"/>
                    <a:gd name="connsiteX33" fmla="*/ 12563 w 34147"/>
                    <a:gd name="connsiteY33" fmla="*/ 145189 h 154543"/>
                    <a:gd name="connsiteX34" fmla="*/ 12059 w 34147"/>
                    <a:gd name="connsiteY34" fmla="*/ 143361 h 154543"/>
                    <a:gd name="connsiteX35" fmla="*/ 11935 w 34147"/>
                    <a:gd name="connsiteY35" fmla="*/ 141379 h 154543"/>
                    <a:gd name="connsiteX36" fmla="*/ 12287 w 34147"/>
                    <a:gd name="connsiteY36" fmla="*/ 139922 h 154543"/>
                    <a:gd name="connsiteX37" fmla="*/ 13116 w 34147"/>
                    <a:gd name="connsiteY37" fmla="*/ 138979 h 154543"/>
                    <a:gd name="connsiteX38" fmla="*/ 14040 w 34147"/>
                    <a:gd name="connsiteY38" fmla="*/ 136998 h 154543"/>
                    <a:gd name="connsiteX39" fmla="*/ 15050 w 34147"/>
                    <a:gd name="connsiteY39" fmla="*/ 134017 h 154543"/>
                    <a:gd name="connsiteX40" fmla="*/ 14744 w 34147"/>
                    <a:gd name="connsiteY40" fmla="*/ 131445 h 154543"/>
                    <a:gd name="connsiteX41" fmla="*/ 13059 w 34147"/>
                    <a:gd name="connsiteY41" fmla="*/ 129264 h 154543"/>
                    <a:gd name="connsiteX42" fmla="*/ 11620 w 34147"/>
                    <a:gd name="connsiteY42" fmla="*/ 128254 h 154543"/>
                    <a:gd name="connsiteX43" fmla="*/ 10382 w 34147"/>
                    <a:gd name="connsiteY43" fmla="*/ 128388 h 154543"/>
                    <a:gd name="connsiteX44" fmla="*/ 8973 w 34147"/>
                    <a:gd name="connsiteY44" fmla="*/ 127063 h 154543"/>
                    <a:gd name="connsiteX45" fmla="*/ 6553 w 34147"/>
                    <a:gd name="connsiteY45" fmla="*/ 122320 h 154543"/>
                    <a:gd name="connsiteX46" fmla="*/ 6372 w 34147"/>
                    <a:gd name="connsiteY46" fmla="*/ 121282 h 154543"/>
                    <a:gd name="connsiteX47" fmla="*/ 6629 w 34147"/>
                    <a:gd name="connsiteY47" fmla="*/ 120101 h 154543"/>
                    <a:gd name="connsiteX48" fmla="*/ 7325 w 34147"/>
                    <a:gd name="connsiteY48" fmla="*/ 118729 h 154543"/>
                    <a:gd name="connsiteX49" fmla="*/ 7715 w 34147"/>
                    <a:gd name="connsiteY49" fmla="*/ 115357 h 154543"/>
                    <a:gd name="connsiteX50" fmla="*/ 7753 w 34147"/>
                    <a:gd name="connsiteY50" fmla="*/ 108623 h 154543"/>
                    <a:gd name="connsiteX51" fmla="*/ 7487 w 34147"/>
                    <a:gd name="connsiteY51" fmla="*/ 107899 h 154543"/>
                    <a:gd name="connsiteX52" fmla="*/ 6991 w 34147"/>
                    <a:gd name="connsiteY52" fmla="*/ 105880 h 154543"/>
                    <a:gd name="connsiteX53" fmla="*/ 6315 w 34147"/>
                    <a:gd name="connsiteY53" fmla="*/ 104861 h 154543"/>
                    <a:gd name="connsiteX54" fmla="*/ 6115 w 34147"/>
                    <a:gd name="connsiteY54" fmla="*/ 103803 h 154543"/>
                    <a:gd name="connsiteX55" fmla="*/ 6372 w 34147"/>
                    <a:gd name="connsiteY55" fmla="*/ 102698 h 154543"/>
                    <a:gd name="connsiteX56" fmla="*/ 6125 w 34147"/>
                    <a:gd name="connsiteY56" fmla="*/ 101870 h 154543"/>
                    <a:gd name="connsiteX57" fmla="*/ 5334 w 34147"/>
                    <a:gd name="connsiteY57" fmla="*/ 101355 h 154543"/>
                    <a:gd name="connsiteX58" fmla="*/ 4696 w 34147"/>
                    <a:gd name="connsiteY58" fmla="*/ 100422 h 154543"/>
                    <a:gd name="connsiteX59" fmla="*/ 4210 w 34147"/>
                    <a:gd name="connsiteY59" fmla="*/ 99117 h 154543"/>
                    <a:gd name="connsiteX60" fmla="*/ 4582 w 34147"/>
                    <a:gd name="connsiteY60" fmla="*/ 94031 h 154543"/>
                    <a:gd name="connsiteX61" fmla="*/ 4163 w 34147"/>
                    <a:gd name="connsiteY61" fmla="*/ 92259 h 154543"/>
                    <a:gd name="connsiteX62" fmla="*/ 3296 w 34147"/>
                    <a:gd name="connsiteY62" fmla="*/ 91259 h 154543"/>
                    <a:gd name="connsiteX63" fmla="*/ 1971 w 34147"/>
                    <a:gd name="connsiteY63" fmla="*/ 90992 h 154543"/>
                    <a:gd name="connsiteX64" fmla="*/ 1000 w 34147"/>
                    <a:gd name="connsiteY64" fmla="*/ 90002 h 154543"/>
                    <a:gd name="connsiteX65" fmla="*/ 67 w 34147"/>
                    <a:gd name="connsiteY65" fmla="*/ 86763 h 154543"/>
                    <a:gd name="connsiteX66" fmla="*/ 0 w 34147"/>
                    <a:gd name="connsiteY66" fmla="*/ 85458 h 154543"/>
                    <a:gd name="connsiteX67" fmla="*/ 1143 w 34147"/>
                    <a:gd name="connsiteY67" fmla="*/ 80410 h 154543"/>
                    <a:gd name="connsiteX68" fmla="*/ 2553 w 34147"/>
                    <a:gd name="connsiteY68" fmla="*/ 78153 h 154543"/>
                    <a:gd name="connsiteX69" fmla="*/ 4629 w 34147"/>
                    <a:gd name="connsiteY69" fmla="*/ 76543 h 154543"/>
                    <a:gd name="connsiteX70" fmla="*/ 5658 w 34147"/>
                    <a:gd name="connsiteY70" fmla="*/ 75124 h 154543"/>
                    <a:gd name="connsiteX71" fmla="*/ 5667 w 34147"/>
                    <a:gd name="connsiteY71" fmla="*/ 73866 h 154543"/>
                    <a:gd name="connsiteX72" fmla="*/ 6696 w 34147"/>
                    <a:gd name="connsiteY72" fmla="*/ 72228 h 154543"/>
                    <a:gd name="connsiteX73" fmla="*/ 9916 w 34147"/>
                    <a:gd name="connsiteY73" fmla="*/ 68780 h 154543"/>
                    <a:gd name="connsiteX74" fmla="*/ 10116 w 34147"/>
                    <a:gd name="connsiteY74" fmla="*/ 67961 h 154543"/>
                    <a:gd name="connsiteX75" fmla="*/ 9506 w 34147"/>
                    <a:gd name="connsiteY75" fmla="*/ 60788 h 154543"/>
                    <a:gd name="connsiteX76" fmla="*/ 8867 w 34147"/>
                    <a:gd name="connsiteY76" fmla="*/ 57217 h 154543"/>
                    <a:gd name="connsiteX77" fmla="*/ 8039 w 34147"/>
                    <a:gd name="connsiteY77" fmla="*/ 54569 h 154543"/>
                    <a:gd name="connsiteX78" fmla="*/ 7934 w 34147"/>
                    <a:gd name="connsiteY78" fmla="*/ 52673 h 154543"/>
                    <a:gd name="connsiteX79" fmla="*/ 8544 w 34147"/>
                    <a:gd name="connsiteY79" fmla="*/ 51511 h 154543"/>
                    <a:gd name="connsiteX80" fmla="*/ 8725 w 34147"/>
                    <a:gd name="connsiteY80" fmla="*/ 50520 h 154543"/>
                    <a:gd name="connsiteX81" fmla="*/ 8449 w 34147"/>
                    <a:gd name="connsiteY81" fmla="*/ 49711 h 154543"/>
                    <a:gd name="connsiteX82" fmla="*/ 8248 w 34147"/>
                    <a:gd name="connsiteY82" fmla="*/ 35223 h 154543"/>
                    <a:gd name="connsiteX83" fmla="*/ 7896 w 34147"/>
                    <a:gd name="connsiteY83" fmla="*/ 34480 h 154543"/>
                    <a:gd name="connsiteX84" fmla="*/ 8087 w 34147"/>
                    <a:gd name="connsiteY84" fmla="*/ 33747 h 154543"/>
                    <a:gd name="connsiteX85" fmla="*/ 8867 w 34147"/>
                    <a:gd name="connsiteY85" fmla="*/ 33052 h 154543"/>
                    <a:gd name="connsiteX86" fmla="*/ 9249 w 34147"/>
                    <a:gd name="connsiteY86" fmla="*/ 32185 h 154543"/>
                    <a:gd name="connsiteX87" fmla="*/ 9268 w 34147"/>
                    <a:gd name="connsiteY87" fmla="*/ 31166 h 154543"/>
                    <a:gd name="connsiteX88" fmla="*/ 9620 w 34147"/>
                    <a:gd name="connsiteY88" fmla="*/ 30442 h 154543"/>
                    <a:gd name="connsiteX89" fmla="*/ 10335 w 34147"/>
                    <a:gd name="connsiteY89" fmla="*/ 30004 h 154543"/>
                    <a:gd name="connsiteX90" fmla="*/ 10058 w 34147"/>
                    <a:gd name="connsiteY90" fmla="*/ 28508 h 154543"/>
                    <a:gd name="connsiteX91" fmla="*/ 8791 w 34147"/>
                    <a:gd name="connsiteY91" fmla="*/ 25975 h 154543"/>
                    <a:gd name="connsiteX92" fmla="*/ 7401 w 34147"/>
                    <a:gd name="connsiteY92" fmla="*/ 23974 h 154543"/>
                    <a:gd name="connsiteX93" fmla="*/ 4496 w 34147"/>
                    <a:gd name="connsiteY93" fmla="*/ 20860 h 154543"/>
                    <a:gd name="connsiteX94" fmla="*/ 3305 w 34147"/>
                    <a:gd name="connsiteY94" fmla="*/ 19002 h 154543"/>
                    <a:gd name="connsiteX95" fmla="*/ 2448 w 34147"/>
                    <a:gd name="connsiteY95" fmla="*/ 16678 h 154543"/>
                    <a:gd name="connsiteX96" fmla="*/ 1334 w 34147"/>
                    <a:gd name="connsiteY96" fmla="*/ 11935 h 154543"/>
                    <a:gd name="connsiteX97" fmla="*/ 686 w 34147"/>
                    <a:gd name="connsiteY97" fmla="*/ 10954 h 154543"/>
                    <a:gd name="connsiteX98" fmla="*/ 371 w 34147"/>
                    <a:gd name="connsiteY98" fmla="*/ 9658 h 154543"/>
                    <a:gd name="connsiteX99" fmla="*/ 400 w 34147"/>
                    <a:gd name="connsiteY99" fmla="*/ 8068 h 154543"/>
                    <a:gd name="connsiteX100" fmla="*/ 800 w 34147"/>
                    <a:gd name="connsiteY100" fmla="*/ 6848 h 154543"/>
                    <a:gd name="connsiteX101" fmla="*/ 2067 w 34147"/>
                    <a:gd name="connsiteY101" fmla="*/ 5143 h 154543"/>
                    <a:gd name="connsiteX102" fmla="*/ 2286 w 34147"/>
                    <a:gd name="connsiteY102" fmla="*/ 4162 h 154543"/>
                    <a:gd name="connsiteX103" fmla="*/ 2086 w 34147"/>
                    <a:gd name="connsiteY103" fmla="*/ 2200 h 154543"/>
                    <a:gd name="connsiteX104" fmla="*/ 2534 w 34147"/>
                    <a:gd name="connsiteY104" fmla="*/ 1143 h 154543"/>
                    <a:gd name="connsiteX105" fmla="*/ 3639 w 34147"/>
                    <a:gd name="connsiteY105" fmla="*/ 0 h 154543"/>
                    <a:gd name="connsiteX106" fmla="*/ 6477 w 34147"/>
                    <a:gd name="connsiteY106" fmla="*/ 1343 h 154543"/>
                    <a:gd name="connsiteX107" fmla="*/ 13440 w 34147"/>
                    <a:gd name="connsiteY107" fmla="*/ 7448 h 154543"/>
                    <a:gd name="connsiteX108" fmla="*/ 13611 w 34147"/>
                    <a:gd name="connsiteY108" fmla="*/ 8249 h 154543"/>
                    <a:gd name="connsiteX109" fmla="*/ 17936 w 34147"/>
                    <a:gd name="connsiteY109" fmla="*/ 14306 h 154543"/>
                    <a:gd name="connsiteX110" fmla="*/ 19307 w 34147"/>
                    <a:gd name="connsiteY110" fmla="*/ 16869 h 154543"/>
                    <a:gd name="connsiteX111" fmla="*/ 19241 w 34147"/>
                    <a:gd name="connsiteY111" fmla="*/ 18221 h 154543"/>
                    <a:gd name="connsiteX112" fmla="*/ 20393 w 34147"/>
                    <a:gd name="connsiteY112" fmla="*/ 23517 h 154543"/>
                    <a:gd name="connsiteX113" fmla="*/ 20574 w 34147"/>
                    <a:gd name="connsiteY113" fmla="*/ 25994 h 154543"/>
                    <a:gd name="connsiteX114" fmla="*/ 20145 w 34147"/>
                    <a:gd name="connsiteY114" fmla="*/ 27880 h 154543"/>
                    <a:gd name="connsiteX115" fmla="*/ 20126 w 34147"/>
                    <a:gd name="connsiteY115" fmla="*/ 29385 h 154543"/>
                    <a:gd name="connsiteX116" fmla="*/ 20574 w 34147"/>
                    <a:gd name="connsiteY116" fmla="*/ 31556 h 154543"/>
                    <a:gd name="connsiteX117" fmla="*/ 20336 w 34147"/>
                    <a:gd name="connsiteY117" fmla="*/ 32471 h 154543"/>
                    <a:gd name="connsiteX118" fmla="*/ 21812 w 34147"/>
                    <a:gd name="connsiteY118" fmla="*/ 35633 h 154543"/>
                    <a:gd name="connsiteX119" fmla="*/ 22441 w 34147"/>
                    <a:gd name="connsiteY119" fmla="*/ 38290 h 154543"/>
                    <a:gd name="connsiteX120" fmla="*/ 22460 w 34147"/>
                    <a:gd name="connsiteY120" fmla="*/ 40891 h 154543"/>
                    <a:gd name="connsiteX121" fmla="*/ 21860 w 34147"/>
                    <a:gd name="connsiteY121" fmla="*/ 43415 h 154543"/>
                    <a:gd name="connsiteX122" fmla="*/ 20202 w 34147"/>
                    <a:gd name="connsiteY122" fmla="*/ 47110 h 154543"/>
                    <a:gd name="connsiteX123" fmla="*/ 19860 w 34147"/>
                    <a:gd name="connsiteY123" fmla="*/ 48606 h 154543"/>
                    <a:gd name="connsiteX124" fmla="*/ 20107 w 34147"/>
                    <a:gd name="connsiteY124" fmla="*/ 49959 h 154543"/>
                    <a:gd name="connsiteX125" fmla="*/ 20955 w 34147"/>
                    <a:gd name="connsiteY125" fmla="*/ 51435 h 154543"/>
                    <a:gd name="connsiteX126" fmla="*/ 22422 w 34147"/>
                    <a:gd name="connsiteY126" fmla="*/ 53007 h 154543"/>
                    <a:gd name="connsiteX127" fmla="*/ 23498 w 34147"/>
                    <a:gd name="connsiteY127" fmla="*/ 54921 h 154543"/>
                    <a:gd name="connsiteX128" fmla="*/ 24165 w 34147"/>
                    <a:gd name="connsiteY128" fmla="*/ 57169 h 154543"/>
                    <a:gd name="connsiteX129" fmla="*/ 24784 w 34147"/>
                    <a:gd name="connsiteY129" fmla="*/ 58179 h 154543"/>
                    <a:gd name="connsiteX130" fmla="*/ 25632 w 34147"/>
                    <a:gd name="connsiteY130" fmla="*/ 58150 h 154543"/>
                    <a:gd name="connsiteX131" fmla="*/ 27156 w 34147"/>
                    <a:gd name="connsiteY131" fmla="*/ 58503 h 154543"/>
                    <a:gd name="connsiteX132" fmla="*/ 28318 w 34147"/>
                    <a:gd name="connsiteY132" fmla="*/ 59817 h 154543"/>
                    <a:gd name="connsiteX133" fmla="*/ 29632 w 34147"/>
                    <a:gd name="connsiteY133" fmla="*/ 62008 h 154543"/>
                    <a:gd name="connsiteX134" fmla="*/ 30109 w 34147"/>
                    <a:gd name="connsiteY134" fmla="*/ 65599 h 154543"/>
                    <a:gd name="connsiteX135" fmla="*/ 29746 w 34147"/>
                    <a:gd name="connsiteY135" fmla="*/ 70561 h 154543"/>
                    <a:gd name="connsiteX136" fmla="*/ 28756 w 34147"/>
                    <a:gd name="connsiteY136" fmla="*/ 74847 h 154543"/>
                    <a:gd name="connsiteX137" fmla="*/ 27184 w 34147"/>
                    <a:gd name="connsiteY137" fmla="*/ 78448 h 154543"/>
                    <a:gd name="connsiteX138" fmla="*/ 26003 w 34147"/>
                    <a:gd name="connsiteY138" fmla="*/ 80400 h 154543"/>
                    <a:gd name="connsiteX139" fmla="*/ 25203 w 34147"/>
                    <a:gd name="connsiteY139" fmla="*/ 80724 h 154543"/>
                    <a:gd name="connsiteX140" fmla="*/ 23765 w 34147"/>
                    <a:gd name="connsiteY140" fmla="*/ 81867 h 154543"/>
                    <a:gd name="connsiteX141" fmla="*/ 21707 w 34147"/>
                    <a:gd name="connsiteY141" fmla="*/ 83839 h 154543"/>
                    <a:gd name="connsiteX142" fmla="*/ 20812 w 34147"/>
                    <a:gd name="connsiteY142" fmla="*/ 85211 h 154543"/>
                    <a:gd name="connsiteX143" fmla="*/ 21088 w 34147"/>
                    <a:gd name="connsiteY143" fmla="*/ 85982 h 154543"/>
                    <a:gd name="connsiteX144" fmla="*/ 21079 w 34147"/>
                    <a:gd name="connsiteY144" fmla="*/ 87706 h 154543"/>
                    <a:gd name="connsiteX145" fmla="*/ 20812 w 34147"/>
                    <a:gd name="connsiteY145" fmla="*/ 90383 h 154543"/>
                    <a:gd name="connsiteX146" fmla="*/ 20469 w 34147"/>
                    <a:gd name="connsiteY146" fmla="*/ 91592 h 154543"/>
                    <a:gd name="connsiteX147" fmla="*/ 20164 w 34147"/>
                    <a:gd name="connsiteY147" fmla="*/ 92212 h 154543"/>
                    <a:gd name="connsiteX148" fmla="*/ 22746 w 34147"/>
                    <a:gd name="connsiteY148" fmla="*/ 99155 h 154543"/>
                    <a:gd name="connsiteX149" fmla="*/ 22993 w 34147"/>
                    <a:gd name="connsiteY149" fmla="*/ 103061 h 154543"/>
                    <a:gd name="connsiteX150" fmla="*/ 21679 w 34147"/>
                    <a:gd name="connsiteY150" fmla="*/ 106318 h 154543"/>
                    <a:gd name="connsiteX151" fmla="*/ 21403 w 34147"/>
                    <a:gd name="connsiteY151" fmla="*/ 109242 h 154543"/>
                    <a:gd name="connsiteX152" fmla="*/ 22184 w 34147"/>
                    <a:gd name="connsiteY152" fmla="*/ 111805 h 154543"/>
                    <a:gd name="connsiteX153" fmla="*/ 22288 w 34147"/>
                    <a:gd name="connsiteY153" fmla="*/ 114890 h 154543"/>
                    <a:gd name="connsiteX154" fmla="*/ 21698 w 34147"/>
                    <a:gd name="connsiteY154" fmla="*/ 118539 h 154543"/>
                    <a:gd name="connsiteX155" fmla="*/ 21898 w 34147"/>
                    <a:gd name="connsiteY155" fmla="*/ 120882 h 154543"/>
                    <a:gd name="connsiteX156" fmla="*/ 22889 w 34147"/>
                    <a:gd name="connsiteY156" fmla="*/ 121948 h 154543"/>
                    <a:gd name="connsiteX157" fmla="*/ 23165 w 34147"/>
                    <a:gd name="connsiteY157" fmla="*/ 124920 h 154543"/>
                    <a:gd name="connsiteX158" fmla="*/ 22727 w 34147"/>
                    <a:gd name="connsiteY158" fmla="*/ 129816 h 154543"/>
                    <a:gd name="connsiteX159" fmla="*/ 22813 w 34147"/>
                    <a:gd name="connsiteY159" fmla="*/ 132512 h 154543"/>
                    <a:gd name="connsiteX160" fmla="*/ 23422 w 34147"/>
                    <a:gd name="connsiteY160" fmla="*/ 132997 h 154543"/>
                    <a:gd name="connsiteX161" fmla="*/ 27784 w 34147"/>
                    <a:gd name="connsiteY161" fmla="*/ 133407 h 154543"/>
                    <a:gd name="connsiteX162" fmla="*/ 28556 w 34147"/>
                    <a:gd name="connsiteY162" fmla="*/ 133817 h 154543"/>
                    <a:gd name="connsiteX163" fmla="*/ 29642 w 34147"/>
                    <a:gd name="connsiteY163" fmla="*/ 136398 h 154543"/>
                    <a:gd name="connsiteX164" fmla="*/ 31671 w 34147"/>
                    <a:gd name="connsiteY164" fmla="*/ 143932 h 154543"/>
                    <a:gd name="connsiteX165" fmla="*/ 31537 w 34147"/>
                    <a:gd name="connsiteY165" fmla="*/ 144694 h 154543"/>
                    <a:gd name="connsiteX166" fmla="*/ 33614 w 34147"/>
                    <a:gd name="connsiteY166" fmla="*/ 150590 h 15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Lst>
                  <a:rect l="l" t="t" r="r" b="b"/>
                  <a:pathLst>
                    <a:path w="34147" h="154543">
                      <a:moveTo>
                        <a:pt x="33614" y="150590"/>
                      </a:moveTo>
                      <a:lnTo>
                        <a:pt x="33614" y="150590"/>
                      </a:lnTo>
                      <a:lnTo>
                        <a:pt x="33614" y="150590"/>
                      </a:lnTo>
                      <a:lnTo>
                        <a:pt x="33614" y="150590"/>
                      </a:lnTo>
                      <a:lnTo>
                        <a:pt x="34147" y="153353"/>
                      </a:lnTo>
                      <a:lnTo>
                        <a:pt x="33766" y="154172"/>
                      </a:lnTo>
                      <a:lnTo>
                        <a:pt x="33242" y="154543"/>
                      </a:lnTo>
                      <a:lnTo>
                        <a:pt x="32585" y="154496"/>
                      </a:lnTo>
                      <a:lnTo>
                        <a:pt x="31356" y="152971"/>
                      </a:lnTo>
                      <a:lnTo>
                        <a:pt x="29556" y="150952"/>
                      </a:lnTo>
                      <a:lnTo>
                        <a:pt x="27289" y="147428"/>
                      </a:lnTo>
                      <a:lnTo>
                        <a:pt x="26279" y="146818"/>
                      </a:lnTo>
                      <a:lnTo>
                        <a:pt x="24584" y="146542"/>
                      </a:lnTo>
                      <a:lnTo>
                        <a:pt x="24269" y="146104"/>
                      </a:lnTo>
                      <a:lnTo>
                        <a:pt x="24251" y="144085"/>
                      </a:lnTo>
                      <a:lnTo>
                        <a:pt x="23946" y="143180"/>
                      </a:lnTo>
                      <a:lnTo>
                        <a:pt x="23260" y="142532"/>
                      </a:lnTo>
                      <a:lnTo>
                        <a:pt x="22507" y="142237"/>
                      </a:lnTo>
                      <a:lnTo>
                        <a:pt x="21746" y="142313"/>
                      </a:lnTo>
                      <a:lnTo>
                        <a:pt x="21450" y="142961"/>
                      </a:lnTo>
                      <a:lnTo>
                        <a:pt x="21650" y="144208"/>
                      </a:lnTo>
                      <a:lnTo>
                        <a:pt x="21327" y="145409"/>
                      </a:lnTo>
                      <a:lnTo>
                        <a:pt x="20450" y="146590"/>
                      </a:lnTo>
                      <a:lnTo>
                        <a:pt x="20126" y="147466"/>
                      </a:lnTo>
                      <a:lnTo>
                        <a:pt x="20336" y="148057"/>
                      </a:lnTo>
                      <a:lnTo>
                        <a:pt x="20136" y="148676"/>
                      </a:lnTo>
                      <a:lnTo>
                        <a:pt x="18498" y="149885"/>
                      </a:lnTo>
                      <a:lnTo>
                        <a:pt x="17212" y="150295"/>
                      </a:lnTo>
                      <a:lnTo>
                        <a:pt x="16526" y="150114"/>
                      </a:lnTo>
                      <a:lnTo>
                        <a:pt x="16412" y="149314"/>
                      </a:lnTo>
                      <a:lnTo>
                        <a:pt x="15745" y="148619"/>
                      </a:lnTo>
                      <a:lnTo>
                        <a:pt x="14526" y="148009"/>
                      </a:lnTo>
                      <a:lnTo>
                        <a:pt x="13468" y="146856"/>
                      </a:lnTo>
                      <a:lnTo>
                        <a:pt x="12563" y="145189"/>
                      </a:lnTo>
                      <a:lnTo>
                        <a:pt x="12059" y="143361"/>
                      </a:lnTo>
                      <a:lnTo>
                        <a:pt x="11935" y="141379"/>
                      </a:lnTo>
                      <a:lnTo>
                        <a:pt x="12287" y="139922"/>
                      </a:lnTo>
                      <a:lnTo>
                        <a:pt x="13116" y="138979"/>
                      </a:lnTo>
                      <a:lnTo>
                        <a:pt x="14040" y="136998"/>
                      </a:lnTo>
                      <a:lnTo>
                        <a:pt x="15050" y="134017"/>
                      </a:lnTo>
                      <a:lnTo>
                        <a:pt x="14744" y="131445"/>
                      </a:lnTo>
                      <a:lnTo>
                        <a:pt x="13059" y="129264"/>
                      </a:lnTo>
                      <a:lnTo>
                        <a:pt x="11620" y="128254"/>
                      </a:lnTo>
                      <a:lnTo>
                        <a:pt x="10382" y="128388"/>
                      </a:lnTo>
                      <a:lnTo>
                        <a:pt x="8973" y="127063"/>
                      </a:lnTo>
                      <a:lnTo>
                        <a:pt x="6553" y="122320"/>
                      </a:lnTo>
                      <a:lnTo>
                        <a:pt x="6372" y="121282"/>
                      </a:lnTo>
                      <a:lnTo>
                        <a:pt x="6629" y="120101"/>
                      </a:lnTo>
                      <a:lnTo>
                        <a:pt x="7325" y="118729"/>
                      </a:lnTo>
                      <a:lnTo>
                        <a:pt x="7715" y="115357"/>
                      </a:lnTo>
                      <a:lnTo>
                        <a:pt x="7753" y="108623"/>
                      </a:lnTo>
                      <a:lnTo>
                        <a:pt x="7487" y="107899"/>
                      </a:lnTo>
                      <a:lnTo>
                        <a:pt x="6991" y="105880"/>
                      </a:lnTo>
                      <a:lnTo>
                        <a:pt x="6315" y="104861"/>
                      </a:lnTo>
                      <a:lnTo>
                        <a:pt x="6115" y="103803"/>
                      </a:lnTo>
                      <a:lnTo>
                        <a:pt x="6372" y="102698"/>
                      </a:lnTo>
                      <a:lnTo>
                        <a:pt x="6125" y="101870"/>
                      </a:lnTo>
                      <a:lnTo>
                        <a:pt x="5334" y="101355"/>
                      </a:lnTo>
                      <a:lnTo>
                        <a:pt x="4696" y="100422"/>
                      </a:lnTo>
                      <a:lnTo>
                        <a:pt x="4210" y="99117"/>
                      </a:lnTo>
                      <a:lnTo>
                        <a:pt x="4582" y="94031"/>
                      </a:lnTo>
                      <a:lnTo>
                        <a:pt x="4163" y="92259"/>
                      </a:lnTo>
                      <a:lnTo>
                        <a:pt x="3296" y="91259"/>
                      </a:lnTo>
                      <a:lnTo>
                        <a:pt x="1971" y="90992"/>
                      </a:lnTo>
                      <a:lnTo>
                        <a:pt x="1000" y="90002"/>
                      </a:lnTo>
                      <a:lnTo>
                        <a:pt x="67" y="86763"/>
                      </a:lnTo>
                      <a:lnTo>
                        <a:pt x="0" y="85458"/>
                      </a:lnTo>
                      <a:lnTo>
                        <a:pt x="1143" y="80410"/>
                      </a:lnTo>
                      <a:lnTo>
                        <a:pt x="2553" y="78153"/>
                      </a:lnTo>
                      <a:lnTo>
                        <a:pt x="4629" y="76543"/>
                      </a:lnTo>
                      <a:lnTo>
                        <a:pt x="5658" y="75124"/>
                      </a:lnTo>
                      <a:lnTo>
                        <a:pt x="5667" y="73866"/>
                      </a:lnTo>
                      <a:lnTo>
                        <a:pt x="6696" y="72228"/>
                      </a:lnTo>
                      <a:lnTo>
                        <a:pt x="9916" y="68780"/>
                      </a:lnTo>
                      <a:lnTo>
                        <a:pt x="10116" y="67961"/>
                      </a:lnTo>
                      <a:lnTo>
                        <a:pt x="9506" y="60788"/>
                      </a:lnTo>
                      <a:lnTo>
                        <a:pt x="8867" y="57217"/>
                      </a:lnTo>
                      <a:lnTo>
                        <a:pt x="8039" y="54569"/>
                      </a:lnTo>
                      <a:lnTo>
                        <a:pt x="7934" y="52673"/>
                      </a:lnTo>
                      <a:lnTo>
                        <a:pt x="8544" y="51511"/>
                      </a:lnTo>
                      <a:lnTo>
                        <a:pt x="8725" y="50520"/>
                      </a:lnTo>
                      <a:lnTo>
                        <a:pt x="8449" y="49711"/>
                      </a:lnTo>
                      <a:lnTo>
                        <a:pt x="8248" y="35223"/>
                      </a:lnTo>
                      <a:lnTo>
                        <a:pt x="7896" y="34480"/>
                      </a:lnTo>
                      <a:lnTo>
                        <a:pt x="8087" y="33747"/>
                      </a:lnTo>
                      <a:lnTo>
                        <a:pt x="8867" y="33052"/>
                      </a:lnTo>
                      <a:lnTo>
                        <a:pt x="9249" y="32185"/>
                      </a:lnTo>
                      <a:lnTo>
                        <a:pt x="9268" y="31166"/>
                      </a:lnTo>
                      <a:lnTo>
                        <a:pt x="9620" y="30442"/>
                      </a:lnTo>
                      <a:lnTo>
                        <a:pt x="10335" y="30004"/>
                      </a:lnTo>
                      <a:lnTo>
                        <a:pt x="10058" y="28508"/>
                      </a:lnTo>
                      <a:lnTo>
                        <a:pt x="8791" y="25975"/>
                      </a:lnTo>
                      <a:lnTo>
                        <a:pt x="7401" y="23974"/>
                      </a:lnTo>
                      <a:lnTo>
                        <a:pt x="4496" y="20860"/>
                      </a:lnTo>
                      <a:lnTo>
                        <a:pt x="3305" y="19002"/>
                      </a:lnTo>
                      <a:lnTo>
                        <a:pt x="2448" y="16678"/>
                      </a:lnTo>
                      <a:lnTo>
                        <a:pt x="1334" y="11935"/>
                      </a:lnTo>
                      <a:lnTo>
                        <a:pt x="686" y="10954"/>
                      </a:lnTo>
                      <a:lnTo>
                        <a:pt x="371" y="9658"/>
                      </a:lnTo>
                      <a:lnTo>
                        <a:pt x="400" y="8068"/>
                      </a:lnTo>
                      <a:lnTo>
                        <a:pt x="800" y="6848"/>
                      </a:lnTo>
                      <a:lnTo>
                        <a:pt x="2067" y="5143"/>
                      </a:lnTo>
                      <a:lnTo>
                        <a:pt x="2286" y="4162"/>
                      </a:lnTo>
                      <a:lnTo>
                        <a:pt x="2086" y="2200"/>
                      </a:lnTo>
                      <a:lnTo>
                        <a:pt x="2534" y="1143"/>
                      </a:lnTo>
                      <a:lnTo>
                        <a:pt x="3639" y="0"/>
                      </a:lnTo>
                      <a:lnTo>
                        <a:pt x="6477" y="1343"/>
                      </a:lnTo>
                      <a:lnTo>
                        <a:pt x="13440" y="7448"/>
                      </a:lnTo>
                      <a:lnTo>
                        <a:pt x="13611" y="8249"/>
                      </a:lnTo>
                      <a:lnTo>
                        <a:pt x="17936" y="14306"/>
                      </a:lnTo>
                      <a:lnTo>
                        <a:pt x="19307" y="16869"/>
                      </a:lnTo>
                      <a:lnTo>
                        <a:pt x="19241" y="18221"/>
                      </a:lnTo>
                      <a:lnTo>
                        <a:pt x="20393" y="23517"/>
                      </a:lnTo>
                      <a:lnTo>
                        <a:pt x="20574" y="25994"/>
                      </a:lnTo>
                      <a:lnTo>
                        <a:pt x="20145" y="27880"/>
                      </a:lnTo>
                      <a:lnTo>
                        <a:pt x="20126" y="29385"/>
                      </a:lnTo>
                      <a:lnTo>
                        <a:pt x="20574" y="31556"/>
                      </a:lnTo>
                      <a:lnTo>
                        <a:pt x="20336" y="32471"/>
                      </a:lnTo>
                      <a:lnTo>
                        <a:pt x="21812" y="35633"/>
                      </a:lnTo>
                      <a:lnTo>
                        <a:pt x="22441" y="38290"/>
                      </a:lnTo>
                      <a:lnTo>
                        <a:pt x="22460" y="40891"/>
                      </a:lnTo>
                      <a:lnTo>
                        <a:pt x="21860" y="43415"/>
                      </a:lnTo>
                      <a:lnTo>
                        <a:pt x="20202" y="47110"/>
                      </a:lnTo>
                      <a:lnTo>
                        <a:pt x="19860" y="48606"/>
                      </a:lnTo>
                      <a:lnTo>
                        <a:pt x="20107" y="49959"/>
                      </a:lnTo>
                      <a:lnTo>
                        <a:pt x="20955" y="51435"/>
                      </a:lnTo>
                      <a:lnTo>
                        <a:pt x="22422" y="53007"/>
                      </a:lnTo>
                      <a:lnTo>
                        <a:pt x="23498" y="54921"/>
                      </a:lnTo>
                      <a:lnTo>
                        <a:pt x="24165" y="57169"/>
                      </a:lnTo>
                      <a:lnTo>
                        <a:pt x="24784" y="58179"/>
                      </a:lnTo>
                      <a:lnTo>
                        <a:pt x="25632" y="58150"/>
                      </a:lnTo>
                      <a:lnTo>
                        <a:pt x="27156" y="58503"/>
                      </a:lnTo>
                      <a:lnTo>
                        <a:pt x="28318" y="59817"/>
                      </a:lnTo>
                      <a:lnTo>
                        <a:pt x="29632" y="62008"/>
                      </a:lnTo>
                      <a:lnTo>
                        <a:pt x="30109" y="65599"/>
                      </a:lnTo>
                      <a:lnTo>
                        <a:pt x="29746" y="70561"/>
                      </a:lnTo>
                      <a:lnTo>
                        <a:pt x="28756" y="74847"/>
                      </a:lnTo>
                      <a:lnTo>
                        <a:pt x="27184" y="78448"/>
                      </a:lnTo>
                      <a:lnTo>
                        <a:pt x="26003" y="80400"/>
                      </a:lnTo>
                      <a:lnTo>
                        <a:pt x="25203" y="80724"/>
                      </a:lnTo>
                      <a:lnTo>
                        <a:pt x="23765" y="81867"/>
                      </a:lnTo>
                      <a:lnTo>
                        <a:pt x="21707" y="83839"/>
                      </a:lnTo>
                      <a:lnTo>
                        <a:pt x="20812" y="85211"/>
                      </a:lnTo>
                      <a:lnTo>
                        <a:pt x="21088" y="85982"/>
                      </a:lnTo>
                      <a:lnTo>
                        <a:pt x="21079" y="87706"/>
                      </a:lnTo>
                      <a:lnTo>
                        <a:pt x="20812" y="90383"/>
                      </a:lnTo>
                      <a:lnTo>
                        <a:pt x="20469" y="91592"/>
                      </a:lnTo>
                      <a:lnTo>
                        <a:pt x="20164" y="92212"/>
                      </a:lnTo>
                      <a:lnTo>
                        <a:pt x="22746" y="99155"/>
                      </a:lnTo>
                      <a:lnTo>
                        <a:pt x="22993" y="103061"/>
                      </a:lnTo>
                      <a:lnTo>
                        <a:pt x="21679" y="106318"/>
                      </a:lnTo>
                      <a:lnTo>
                        <a:pt x="21403" y="109242"/>
                      </a:lnTo>
                      <a:lnTo>
                        <a:pt x="22184" y="111805"/>
                      </a:lnTo>
                      <a:lnTo>
                        <a:pt x="22288" y="114890"/>
                      </a:lnTo>
                      <a:lnTo>
                        <a:pt x="21698" y="118539"/>
                      </a:lnTo>
                      <a:lnTo>
                        <a:pt x="21898" y="120882"/>
                      </a:lnTo>
                      <a:lnTo>
                        <a:pt x="22889" y="121948"/>
                      </a:lnTo>
                      <a:lnTo>
                        <a:pt x="23165" y="124920"/>
                      </a:lnTo>
                      <a:lnTo>
                        <a:pt x="22727" y="129816"/>
                      </a:lnTo>
                      <a:lnTo>
                        <a:pt x="22813" y="132512"/>
                      </a:lnTo>
                      <a:lnTo>
                        <a:pt x="23422" y="132997"/>
                      </a:lnTo>
                      <a:lnTo>
                        <a:pt x="27784" y="133407"/>
                      </a:lnTo>
                      <a:lnTo>
                        <a:pt x="28556" y="133817"/>
                      </a:lnTo>
                      <a:lnTo>
                        <a:pt x="29642" y="136398"/>
                      </a:lnTo>
                      <a:lnTo>
                        <a:pt x="31671" y="143932"/>
                      </a:lnTo>
                      <a:lnTo>
                        <a:pt x="31537" y="144694"/>
                      </a:lnTo>
                      <a:lnTo>
                        <a:pt x="33614" y="150590"/>
                      </a:lnTo>
                      <a:close/>
                    </a:path>
                  </a:pathLst>
                </a:custGeom>
                <a:solidFill>
                  <a:srgbClr val="FFFFFF"/>
                </a:solidFill>
                <a:ln w="9525" cap="flat">
                  <a:noFill/>
                  <a:prstDash val="solid"/>
                  <a:miter/>
                </a:ln>
              </p:spPr>
              <p:txBody>
                <a:bodyPr rtlCol="0" anchor="ctr"/>
                <a:lstStyle/>
                <a:p>
                  <a:endParaRPr lang="en-US"/>
                </a:p>
              </p:txBody>
            </p:sp>
            <p:sp>
              <p:nvSpPr>
                <p:cNvPr id="465" name="Freeform: Shape 464">
                  <a:extLst>
                    <a:ext uri="{FF2B5EF4-FFF2-40B4-BE49-F238E27FC236}">
                      <a16:creationId xmlns:a16="http://schemas.microsoft.com/office/drawing/2014/main" id="{453F21ED-2E6A-4F80-A668-46729DFFB0B4}"/>
                    </a:ext>
                  </a:extLst>
                </p:cNvPr>
                <p:cNvSpPr/>
                <p:nvPr/>
              </p:nvSpPr>
              <p:spPr>
                <a:xfrm>
                  <a:off x="3298402" y="3007011"/>
                  <a:ext cx="144713" cy="53825"/>
                </a:xfrm>
                <a:custGeom>
                  <a:avLst/>
                  <a:gdLst>
                    <a:gd name="connsiteX0" fmla="*/ 17974 w 144713"/>
                    <a:gd name="connsiteY0" fmla="*/ 25860 h 53825"/>
                    <a:gd name="connsiteX1" fmla="*/ 18583 w 144713"/>
                    <a:gd name="connsiteY1" fmla="*/ 26203 h 53825"/>
                    <a:gd name="connsiteX2" fmla="*/ 16888 w 144713"/>
                    <a:gd name="connsiteY2" fmla="*/ 28099 h 53825"/>
                    <a:gd name="connsiteX3" fmla="*/ 15078 w 144713"/>
                    <a:gd name="connsiteY3" fmla="*/ 31109 h 53825"/>
                    <a:gd name="connsiteX4" fmla="*/ 14592 w 144713"/>
                    <a:gd name="connsiteY4" fmla="*/ 32642 h 53825"/>
                    <a:gd name="connsiteX5" fmla="*/ 15554 w 144713"/>
                    <a:gd name="connsiteY5" fmla="*/ 33290 h 53825"/>
                    <a:gd name="connsiteX6" fmla="*/ 18307 w 144713"/>
                    <a:gd name="connsiteY6" fmla="*/ 34671 h 53825"/>
                    <a:gd name="connsiteX7" fmla="*/ 20984 w 144713"/>
                    <a:gd name="connsiteY7" fmla="*/ 34966 h 53825"/>
                    <a:gd name="connsiteX8" fmla="*/ 25527 w 144713"/>
                    <a:gd name="connsiteY8" fmla="*/ 33747 h 53825"/>
                    <a:gd name="connsiteX9" fmla="*/ 26775 w 144713"/>
                    <a:gd name="connsiteY9" fmla="*/ 33709 h 53825"/>
                    <a:gd name="connsiteX10" fmla="*/ 27718 w 144713"/>
                    <a:gd name="connsiteY10" fmla="*/ 34090 h 53825"/>
                    <a:gd name="connsiteX11" fmla="*/ 28356 w 144713"/>
                    <a:gd name="connsiteY11" fmla="*/ 34881 h 53825"/>
                    <a:gd name="connsiteX12" fmla="*/ 28861 w 144713"/>
                    <a:gd name="connsiteY12" fmla="*/ 37014 h 53825"/>
                    <a:gd name="connsiteX13" fmla="*/ 29451 w 144713"/>
                    <a:gd name="connsiteY13" fmla="*/ 36643 h 53825"/>
                    <a:gd name="connsiteX14" fmla="*/ 30547 w 144713"/>
                    <a:gd name="connsiteY14" fmla="*/ 34728 h 53825"/>
                    <a:gd name="connsiteX15" fmla="*/ 32128 w 144713"/>
                    <a:gd name="connsiteY15" fmla="*/ 33052 h 53825"/>
                    <a:gd name="connsiteX16" fmla="*/ 34185 w 144713"/>
                    <a:gd name="connsiteY16" fmla="*/ 31623 h 53825"/>
                    <a:gd name="connsiteX17" fmla="*/ 37776 w 144713"/>
                    <a:gd name="connsiteY17" fmla="*/ 29889 h 53825"/>
                    <a:gd name="connsiteX18" fmla="*/ 42910 w 144713"/>
                    <a:gd name="connsiteY18" fmla="*/ 27861 h 53825"/>
                    <a:gd name="connsiteX19" fmla="*/ 46606 w 144713"/>
                    <a:gd name="connsiteY19" fmla="*/ 26775 h 53825"/>
                    <a:gd name="connsiteX20" fmla="*/ 49701 w 144713"/>
                    <a:gd name="connsiteY20" fmla="*/ 26403 h 53825"/>
                    <a:gd name="connsiteX21" fmla="*/ 50092 w 144713"/>
                    <a:gd name="connsiteY21" fmla="*/ 26070 h 53825"/>
                    <a:gd name="connsiteX22" fmla="*/ 52140 w 144713"/>
                    <a:gd name="connsiteY22" fmla="*/ 24946 h 53825"/>
                    <a:gd name="connsiteX23" fmla="*/ 52273 w 144713"/>
                    <a:gd name="connsiteY23" fmla="*/ 25165 h 53825"/>
                    <a:gd name="connsiteX24" fmla="*/ 51178 w 144713"/>
                    <a:gd name="connsiteY24" fmla="*/ 26251 h 53825"/>
                    <a:gd name="connsiteX25" fmla="*/ 50921 w 144713"/>
                    <a:gd name="connsiteY25" fmla="*/ 26775 h 53825"/>
                    <a:gd name="connsiteX26" fmla="*/ 51492 w 144713"/>
                    <a:gd name="connsiteY26" fmla="*/ 26727 h 53825"/>
                    <a:gd name="connsiteX27" fmla="*/ 52768 w 144713"/>
                    <a:gd name="connsiteY27" fmla="*/ 25565 h 53825"/>
                    <a:gd name="connsiteX28" fmla="*/ 54750 w 144713"/>
                    <a:gd name="connsiteY28" fmla="*/ 23270 h 53825"/>
                    <a:gd name="connsiteX29" fmla="*/ 58103 w 144713"/>
                    <a:gd name="connsiteY29" fmla="*/ 20803 h 53825"/>
                    <a:gd name="connsiteX30" fmla="*/ 66723 w 144713"/>
                    <a:gd name="connsiteY30" fmla="*/ 16240 h 53825"/>
                    <a:gd name="connsiteX31" fmla="*/ 69790 w 144713"/>
                    <a:gd name="connsiteY31" fmla="*/ 15021 h 53825"/>
                    <a:gd name="connsiteX32" fmla="*/ 74304 w 144713"/>
                    <a:gd name="connsiteY32" fmla="*/ 14268 h 53825"/>
                    <a:gd name="connsiteX33" fmla="*/ 80267 w 144713"/>
                    <a:gd name="connsiteY33" fmla="*/ 13992 h 53825"/>
                    <a:gd name="connsiteX34" fmla="*/ 85773 w 144713"/>
                    <a:gd name="connsiteY34" fmla="*/ 14602 h 53825"/>
                    <a:gd name="connsiteX35" fmla="*/ 90821 w 144713"/>
                    <a:gd name="connsiteY35" fmla="*/ 16088 h 53825"/>
                    <a:gd name="connsiteX36" fmla="*/ 94412 w 144713"/>
                    <a:gd name="connsiteY36" fmla="*/ 16783 h 53825"/>
                    <a:gd name="connsiteX37" fmla="*/ 96555 w 144713"/>
                    <a:gd name="connsiteY37" fmla="*/ 16669 h 53825"/>
                    <a:gd name="connsiteX38" fmla="*/ 104375 w 144713"/>
                    <a:gd name="connsiteY38" fmla="*/ 17640 h 53825"/>
                    <a:gd name="connsiteX39" fmla="*/ 105356 w 144713"/>
                    <a:gd name="connsiteY39" fmla="*/ 17402 h 53825"/>
                    <a:gd name="connsiteX40" fmla="*/ 104451 w 144713"/>
                    <a:gd name="connsiteY40" fmla="*/ 16850 h 53825"/>
                    <a:gd name="connsiteX41" fmla="*/ 99250 w 144713"/>
                    <a:gd name="connsiteY41" fmla="*/ 16278 h 53825"/>
                    <a:gd name="connsiteX42" fmla="*/ 97803 w 144713"/>
                    <a:gd name="connsiteY42" fmla="*/ 15697 h 53825"/>
                    <a:gd name="connsiteX43" fmla="*/ 95612 w 144713"/>
                    <a:gd name="connsiteY43" fmla="*/ 15821 h 53825"/>
                    <a:gd name="connsiteX44" fmla="*/ 95612 w 144713"/>
                    <a:gd name="connsiteY44" fmla="*/ 15526 h 53825"/>
                    <a:gd name="connsiteX45" fmla="*/ 98069 w 144713"/>
                    <a:gd name="connsiteY45" fmla="*/ 13564 h 53825"/>
                    <a:gd name="connsiteX46" fmla="*/ 99022 w 144713"/>
                    <a:gd name="connsiteY46" fmla="*/ 13335 h 53825"/>
                    <a:gd name="connsiteX47" fmla="*/ 100441 w 144713"/>
                    <a:gd name="connsiteY47" fmla="*/ 12573 h 53825"/>
                    <a:gd name="connsiteX48" fmla="*/ 102003 w 144713"/>
                    <a:gd name="connsiteY48" fmla="*/ 11582 h 53825"/>
                    <a:gd name="connsiteX49" fmla="*/ 104327 w 144713"/>
                    <a:gd name="connsiteY49" fmla="*/ 10449 h 53825"/>
                    <a:gd name="connsiteX50" fmla="*/ 108042 w 144713"/>
                    <a:gd name="connsiteY50" fmla="*/ 9573 h 53825"/>
                    <a:gd name="connsiteX51" fmla="*/ 113166 w 144713"/>
                    <a:gd name="connsiteY51" fmla="*/ 8934 h 53825"/>
                    <a:gd name="connsiteX52" fmla="*/ 118520 w 144713"/>
                    <a:gd name="connsiteY52" fmla="*/ 7801 h 53825"/>
                    <a:gd name="connsiteX53" fmla="*/ 119872 w 144713"/>
                    <a:gd name="connsiteY53" fmla="*/ 7706 h 53825"/>
                    <a:gd name="connsiteX54" fmla="*/ 120720 w 144713"/>
                    <a:gd name="connsiteY54" fmla="*/ 8049 h 53825"/>
                    <a:gd name="connsiteX55" fmla="*/ 122625 w 144713"/>
                    <a:gd name="connsiteY55" fmla="*/ 7944 h 53825"/>
                    <a:gd name="connsiteX56" fmla="*/ 128692 w 144713"/>
                    <a:gd name="connsiteY56" fmla="*/ 7106 h 53825"/>
                    <a:gd name="connsiteX57" fmla="*/ 132026 w 144713"/>
                    <a:gd name="connsiteY57" fmla="*/ 7115 h 53825"/>
                    <a:gd name="connsiteX58" fmla="*/ 134312 w 144713"/>
                    <a:gd name="connsiteY58" fmla="*/ 7353 h 53825"/>
                    <a:gd name="connsiteX59" fmla="*/ 135560 w 144713"/>
                    <a:gd name="connsiteY59" fmla="*/ 7829 h 53825"/>
                    <a:gd name="connsiteX60" fmla="*/ 137398 w 144713"/>
                    <a:gd name="connsiteY60" fmla="*/ 7687 h 53825"/>
                    <a:gd name="connsiteX61" fmla="*/ 141361 w 144713"/>
                    <a:gd name="connsiteY61" fmla="*/ 6277 h 53825"/>
                    <a:gd name="connsiteX62" fmla="*/ 141989 w 144713"/>
                    <a:gd name="connsiteY62" fmla="*/ 5744 h 53825"/>
                    <a:gd name="connsiteX63" fmla="*/ 141722 w 144713"/>
                    <a:gd name="connsiteY63" fmla="*/ 4877 h 53825"/>
                    <a:gd name="connsiteX64" fmla="*/ 140570 w 144713"/>
                    <a:gd name="connsiteY64" fmla="*/ 3648 h 53825"/>
                    <a:gd name="connsiteX65" fmla="*/ 140227 w 144713"/>
                    <a:gd name="connsiteY65" fmla="*/ 2676 h 53825"/>
                    <a:gd name="connsiteX66" fmla="*/ 140703 w 144713"/>
                    <a:gd name="connsiteY66" fmla="*/ 1962 h 53825"/>
                    <a:gd name="connsiteX67" fmla="*/ 140770 w 144713"/>
                    <a:gd name="connsiteY67" fmla="*/ 1343 h 53825"/>
                    <a:gd name="connsiteX68" fmla="*/ 140370 w 144713"/>
                    <a:gd name="connsiteY68" fmla="*/ 410 h 53825"/>
                    <a:gd name="connsiteX69" fmla="*/ 140760 w 144713"/>
                    <a:gd name="connsiteY69" fmla="*/ 0 h 53825"/>
                    <a:gd name="connsiteX70" fmla="*/ 144532 w 144713"/>
                    <a:gd name="connsiteY70" fmla="*/ 1134 h 53825"/>
                    <a:gd name="connsiteX71" fmla="*/ 144713 w 144713"/>
                    <a:gd name="connsiteY71" fmla="*/ 1533 h 53825"/>
                    <a:gd name="connsiteX72" fmla="*/ 144209 w 144713"/>
                    <a:gd name="connsiteY72" fmla="*/ 2295 h 53825"/>
                    <a:gd name="connsiteX73" fmla="*/ 144209 w 144713"/>
                    <a:gd name="connsiteY73" fmla="*/ 2295 h 53825"/>
                    <a:gd name="connsiteX74" fmla="*/ 144209 w 144713"/>
                    <a:gd name="connsiteY74" fmla="*/ 2295 h 53825"/>
                    <a:gd name="connsiteX75" fmla="*/ 144209 w 144713"/>
                    <a:gd name="connsiteY75" fmla="*/ 2295 h 53825"/>
                    <a:gd name="connsiteX76" fmla="*/ 144209 w 144713"/>
                    <a:gd name="connsiteY76" fmla="*/ 2295 h 53825"/>
                    <a:gd name="connsiteX77" fmla="*/ 144209 w 144713"/>
                    <a:gd name="connsiteY77" fmla="*/ 2295 h 53825"/>
                    <a:gd name="connsiteX78" fmla="*/ 143018 w 144713"/>
                    <a:gd name="connsiteY78" fmla="*/ 3438 h 53825"/>
                    <a:gd name="connsiteX79" fmla="*/ 142418 w 144713"/>
                    <a:gd name="connsiteY79" fmla="*/ 4991 h 53825"/>
                    <a:gd name="connsiteX80" fmla="*/ 142408 w 144713"/>
                    <a:gd name="connsiteY80" fmla="*/ 6953 h 53825"/>
                    <a:gd name="connsiteX81" fmla="*/ 142056 w 144713"/>
                    <a:gd name="connsiteY81" fmla="*/ 8525 h 53825"/>
                    <a:gd name="connsiteX82" fmla="*/ 141361 w 144713"/>
                    <a:gd name="connsiteY82" fmla="*/ 9687 h 53825"/>
                    <a:gd name="connsiteX83" fmla="*/ 139741 w 144713"/>
                    <a:gd name="connsiteY83" fmla="*/ 10792 h 53825"/>
                    <a:gd name="connsiteX84" fmla="*/ 137189 w 144713"/>
                    <a:gd name="connsiteY84" fmla="*/ 11840 h 53825"/>
                    <a:gd name="connsiteX85" fmla="*/ 134550 w 144713"/>
                    <a:gd name="connsiteY85" fmla="*/ 13449 h 53825"/>
                    <a:gd name="connsiteX86" fmla="*/ 131836 w 144713"/>
                    <a:gd name="connsiteY86" fmla="*/ 15602 h 53825"/>
                    <a:gd name="connsiteX87" fmla="*/ 128702 w 144713"/>
                    <a:gd name="connsiteY87" fmla="*/ 17374 h 53825"/>
                    <a:gd name="connsiteX88" fmla="*/ 125158 w 144713"/>
                    <a:gd name="connsiteY88" fmla="*/ 18745 h 53825"/>
                    <a:gd name="connsiteX89" fmla="*/ 121587 w 144713"/>
                    <a:gd name="connsiteY89" fmla="*/ 20460 h 53825"/>
                    <a:gd name="connsiteX90" fmla="*/ 117986 w 144713"/>
                    <a:gd name="connsiteY90" fmla="*/ 22536 h 53825"/>
                    <a:gd name="connsiteX91" fmla="*/ 111395 w 144713"/>
                    <a:gd name="connsiteY91" fmla="*/ 25403 h 53825"/>
                    <a:gd name="connsiteX92" fmla="*/ 98917 w 144713"/>
                    <a:gd name="connsiteY92" fmla="*/ 30251 h 53825"/>
                    <a:gd name="connsiteX93" fmla="*/ 97326 w 144713"/>
                    <a:gd name="connsiteY93" fmla="*/ 30813 h 53825"/>
                    <a:gd name="connsiteX94" fmla="*/ 95850 w 144713"/>
                    <a:gd name="connsiteY94" fmla="*/ 31423 h 53825"/>
                    <a:gd name="connsiteX95" fmla="*/ 93059 w 144713"/>
                    <a:gd name="connsiteY95" fmla="*/ 32480 h 53825"/>
                    <a:gd name="connsiteX96" fmla="*/ 90278 w 144713"/>
                    <a:gd name="connsiteY96" fmla="*/ 33566 h 53825"/>
                    <a:gd name="connsiteX97" fmla="*/ 73409 w 144713"/>
                    <a:gd name="connsiteY97" fmla="*/ 38214 h 53825"/>
                    <a:gd name="connsiteX98" fmla="*/ 61703 w 144713"/>
                    <a:gd name="connsiteY98" fmla="*/ 42091 h 53825"/>
                    <a:gd name="connsiteX99" fmla="*/ 54226 w 144713"/>
                    <a:gd name="connsiteY99" fmla="*/ 45206 h 53825"/>
                    <a:gd name="connsiteX100" fmla="*/ 47158 w 144713"/>
                    <a:gd name="connsiteY100" fmla="*/ 49082 h 53825"/>
                    <a:gd name="connsiteX101" fmla="*/ 44234 w 144713"/>
                    <a:gd name="connsiteY101" fmla="*/ 50263 h 53825"/>
                    <a:gd name="connsiteX102" fmla="*/ 41491 w 144713"/>
                    <a:gd name="connsiteY102" fmla="*/ 50578 h 53825"/>
                    <a:gd name="connsiteX103" fmla="*/ 37490 w 144713"/>
                    <a:gd name="connsiteY103" fmla="*/ 50368 h 53825"/>
                    <a:gd name="connsiteX104" fmla="*/ 32995 w 144713"/>
                    <a:gd name="connsiteY104" fmla="*/ 50835 h 53825"/>
                    <a:gd name="connsiteX105" fmla="*/ 28013 w 144713"/>
                    <a:gd name="connsiteY105" fmla="*/ 51978 h 53825"/>
                    <a:gd name="connsiteX106" fmla="*/ 24698 w 144713"/>
                    <a:gd name="connsiteY106" fmla="*/ 52902 h 53825"/>
                    <a:gd name="connsiteX107" fmla="*/ 23050 w 144713"/>
                    <a:gd name="connsiteY107" fmla="*/ 53616 h 53825"/>
                    <a:gd name="connsiteX108" fmla="*/ 21679 w 144713"/>
                    <a:gd name="connsiteY108" fmla="*/ 53826 h 53825"/>
                    <a:gd name="connsiteX109" fmla="*/ 20603 w 144713"/>
                    <a:gd name="connsiteY109" fmla="*/ 53549 h 53825"/>
                    <a:gd name="connsiteX110" fmla="*/ 18240 w 144713"/>
                    <a:gd name="connsiteY110" fmla="*/ 51654 h 53825"/>
                    <a:gd name="connsiteX111" fmla="*/ 17926 w 144713"/>
                    <a:gd name="connsiteY111" fmla="*/ 51797 h 53825"/>
                    <a:gd name="connsiteX112" fmla="*/ 17183 w 144713"/>
                    <a:gd name="connsiteY112" fmla="*/ 52073 h 53825"/>
                    <a:gd name="connsiteX113" fmla="*/ 15421 w 144713"/>
                    <a:gd name="connsiteY113" fmla="*/ 51740 h 53825"/>
                    <a:gd name="connsiteX114" fmla="*/ 13249 w 144713"/>
                    <a:gd name="connsiteY114" fmla="*/ 51711 h 53825"/>
                    <a:gd name="connsiteX115" fmla="*/ 11020 w 144713"/>
                    <a:gd name="connsiteY115" fmla="*/ 52397 h 53825"/>
                    <a:gd name="connsiteX116" fmla="*/ 9077 w 144713"/>
                    <a:gd name="connsiteY116" fmla="*/ 52502 h 53825"/>
                    <a:gd name="connsiteX117" fmla="*/ 7429 w 144713"/>
                    <a:gd name="connsiteY117" fmla="*/ 52044 h 53825"/>
                    <a:gd name="connsiteX118" fmla="*/ 9315 w 144713"/>
                    <a:gd name="connsiteY118" fmla="*/ 51378 h 53825"/>
                    <a:gd name="connsiteX119" fmla="*/ 17459 w 144713"/>
                    <a:gd name="connsiteY119" fmla="*/ 49949 h 53825"/>
                    <a:gd name="connsiteX120" fmla="*/ 17488 w 144713"/>
                    <a:gd name="connsiteY120" fmla="*/ 49692 h 53825"/>
                    <a:gd name="connsiteX121" fmla="*/ 15202 w 144713"/>
                    <a:gd name="connsiteY121" fmla="*/ 48873 h 53825"/>
                    <a:gd name="connsiteX122" fmla="*/ 14745 w 144713"/>
                    <a:gd name="connsiteY122" fmla="*/ 48111 h 53825"/>
                    <a:gd name="connsiteX123" fmla="*/ 14030 w 144713"/>
                    <a:gd name="connsiteY123" fmla="*/ 48177 h 53825"/>
                    <a:gd name="connsiteX124" fmla="*/ 13078 w 144713"/>
                    <a:gd name="connsiteY124" fmla="*/ 49044 h 53825"/>
                    <a:gd name="connsiteX125" fmla="*/ 11916 w 144713"/>
                    <a:gd name="connsiteY125" fmla="*/ 49425 h 53825"/>
                    <a:gd name="connsiteX126" fmla="*/ 10525 w 144713"/>
                    <a:gd name="connsiteY126" fmla="*/ 49311 h 53825"/>
                    <a:gd name="connsiteX127" fmla="*/ 9382 w 144713"/>
                    <a:gd name="connsiteY127" fmla="*/ 48654 h 53825"/>
                    <a:gd name="connsiteX128" fmla="*/ 8496 w 144713"/>
                    <a:gd name="connsiteY128" fmla="*/ 47463 h 53825"/>
                    <a:gd name="connsiteX129" fmla="*/ 4648 w 144713"/>
                    <a:gd name="connsiteY129" fmla="*/ 45529 h 53825"/>
                    <a:gd name="connsiteX130" fmla="*/ 3800 w 144713"/>
                    <a:gd name="connsiteY130" fmla="*/ 44539 h 53825"/>
                    <a:gd name="connsiteX131" fmla="*/ 2429 w 144713"/>
                    <a:gd name="connsiteY131" fmla="*/ 43882 h 53825"/>
                    <a:gd name="connsiteX132" fmla="*/ 95 w 144713"/>
                    <a:gd name="connsiteY132" fmla="*/ 43539 h 53825"/>
                    <a:gd name="connsiteX133" fmla="*/ 0 w 144713"/>
                    <a:gd name="connsiteY133" fmla="*/ 42977 h 53825"/>
                    <a:gd name="connsiteX134" fmla="*/ 771 w 144713"/>
                    <a:gd name="connsiteY134" fmla="*/ 42224 h 53825"/>
                    <a:gd name="connsiteX135" fmla="*/ 4686 w 144713"/>
                    <a:gd name="connsiteY135" fmla="*/ 38643 h 53825"/>
                    <a:gd name="connsiteX136" fmla="*/ 6610 w 144713"/>
                    <a:gd name="connsiteY136" fmla="*/ 37271 h 53825"/>
                    <a:gd name="connsiteX137" fmla="*/ 7315 w 144713"/>
                    <a:gd name="connsiteY137" fmla="*/ 36909 h 53825"/>
                    <a:gd name="connsiteX138" fmla="*/ 7982 w 144713"/>
                    <a:gd name="connsiteY138" fmla="*/ 36919 h 53825"/>
                    <a:gd name="connsiteX139" fmla="*/ 8458 w 144713"/>
                    <a:gd name="connsiteY139" fmla="*/ 36547 h 53825"/>
                    <a:gd name="connsiteX140" fmla="*/ 8734 w 144713"/>
                    <a:gd name="connsiteY140" fmla="*/ 35785 h 53825"/>
                    <a:gd name="connsiteX141" fmla="*/ 9239 w 144713"/>
                    <a:gd name="connsiteY141" fmla="*/ 35309 h 53825"/>
                    <a:gd name="connsiteX142" fmla="*/ 11258 w 144713"/>
                    <a:gd name="connsiteY142" fmla="*/ 34004 h 53825"/>
                    <a:gd name="connsiteX143" fmla="*/ 12373 w 144713"/>
                    <a:gd name="connsiteY143" fmla="*/ 33309 h 53825"/>
                    <a:gd name="connsiteX144" fmla="*/ 12563 w 144713"/>
                    <a:gd name="connsiteY144" fmla="*/ 32233 h 53825"/>
                    <a:gd name="connsiteX145" fmla="*/ 13897 w 144713"/>
                    <a:gd name="connsiteY145" fmla="*/ 30251 h 53825"/>
                    <a:gd name="connsiteX146" fmla="*/ 16059 w 144713"/>
                    <a:gd name="connsiteY146" fmla="*/ 27689 h 53825"/>
                    <a:gd name="connsiteX147" fmla="*/ 17974 w 144713"/>
                    <a:gd name="connsiteY147" fmla="*/ 25860 h 5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44713" h="53825">
                      <a:moveTo>
                        <a:pt x="17974" y="25860"/>
                      </a:moveTo>
                      <a:lnTo>
                        <a:pt x="18583" y="26203"/>
                      </a:lnTo>
                      <a:lnTo>
                        <a:pt x="16888" y="28099"/>
                      </a:lnTo>
                      <a:lnTo>
                        <a:pt x="15078" y="31109"/>
                      </a:lnTo>
                      <a:lnTo>
                        <a:pt x="14592" y="32642"/>
                      </a:lnTo>
                      <a:lnTo>
                        <a:pt x="15554" y="33290"/>
                      </a:lnTo>
                      <a:lnTo>
                        <a:pt x="18307" y="34671"/>
                      </a:lnTo>
                      <a:lnTo>
                        <a:pt x="20984" y="34966"/>
                      </a:lnTo>
                      <a:lnTo>
                        <a:pt x="25527" y="33747"/>
                      </a:lnTo>
                      <a:lnTo>
                        <a:pt x="26775" y="33709"/>
                      </a:lnTo>
                      <a:lnTo>
                        <a:pt x="27718" y="34090"/>
                      </a:lnTo>
                      <a:lnTo>
                        <a:pt x="28356" y="34881"/>
                      </a:lnTo>
                      <a:lnTo>
                        <a:pt x="28861" y="37014"/>
                      </a:lnTo>
                      <a:lnTo>
                        <a:pt x="29451" y="36643"/>
                      </a:lnTo>
                      <a:lnTo>
                        <a:pt x="30547" y="34728"/>
                      </a:lnTo>
                      <a:lnTo>
                        <a:pt x="32128" y="33052"/>
                      </a:lnTo>
                      <a:lnTo>
                        <a:pt x="34185" y="31623"/>
                      </a:lnTo>
                      <a:lnTo>
                        <a:pt x="37776" y="29889"/>
                      </a:lnTo>
                      <a:lnTo>
                        <a:pt x="42910" y="27861"/>
                      </a:lnTo>
                      <a:lnTo>
                        <a:pt x="46606" y="26775"/>
                      </a:lnTo>
                      <a:lnTo>
                        <a:pt x="49701" y="26403"/>
                      </a:lnTo>
                      <a:lnTo>
                        <a:pt x="50092" y="26070"/>
                      </a:lnTo>
                      <a:lnTo>
                        <a:pt x="52140" y="24946"/>
                      </a:lnTo>
                      <a:lnTo>
                        <a:pt x="52273" y="25165"/>
                      </a:lnTo>
                      <a:lnTo>
                        <a:pt x="51178" y="26251"/>
                      </a:lnTo>
                      <a:lnTo>
                        <a:pt x="50921" y="26775"/>
                      </a:lnTo>
                      <a:lnTo>
                        <a:pt x="51492" y="26727"/>
                      </a:lnTo>
                      <a:lnTo>
                        <a:pt x="52768" y="25565"/>
                      </a:lnTo>
                      <a:lnTo>
                        <a:pt x="54750" y="23270"/>
                      </a:lnTo>
                      <a:lnTo>
                        <a:pt x="58103" y="20803"/>
                      </a:lnTo>
                      <a:lnTo>
                        <a:pt x="66723" y="16240"/>
                      </a:lnTo>
                      <a:lnTo>
                        <a:pt x="69790" y="15021"/>
                      </a:lnTo>
                      <a:lnTo>
                        <a:pt x="74304" y="14268"/>
                      </a:lnTo>
                      <a:lnTo>
                        <a:pt x="80267" y="13992"/>
                      </a:lnTo>
                      <a:lnTo>
                        <a:pt x="85773" y="14602"/>
                      </a:lnTo>
                      <a:lnTo>
                        <a:pt x="90821" y="16088"/>
                      </a:lnTo>
                      <a:lnTo>
                        <a:pt x="94412" y="16783"/>
                      </a:lnTo>
                      <a:lnTo>
                        <a:pt x="96555" y="16669"/>
                      </a:lnTo>
                      <a:lnTo>
                        <a:pt x="104375" y="17640"/>
                      </a:lnTo>
                      <a:lnTo>
                        <a:pt x="105356" y="17402"/>
                      </a:lnTo>
                      <a:lnTo>
                        <a:pt x="104451" y="16850"/>
                      </a:lnTo>
                      <a:lnTo>
                        <a:pt x="99250" y="16278"/>
                      </a:lnTo>
                      <a:lnTo>
                        <a:pt x="97803" y="15697"/>
                      </a:lnTo>
                      <a:lnTo>
                        <a:pt x="95612" y="15821"/>
                      </a:lnTo>
                      <a:lnTo>
                        <a:pt x="95612" y="15526"/>
                      </a:lnTo>
                      <a:lnTo>
                        <a:pt x="98069" y="13564"/>
                      </a:lnTo>
                      <a:lnTo>
                        <a:pt x="99022" y="13335"/>
                      </a:lnTo>
                      <a:lnTo>
                        <a:pt x="100441" y="12573"/>
                      </a:lnTo>
                      <a:lnTo>
                        <a:pt x="102003" y="11582"/>
                      </a:lnTo>
                      <a:lnTo>
                        <a:pt x="104327" y="10449"/>
                      </a:lnTo>
                      <a:lnTo>
                        <a:pt x="108042" y="9573"/>
                      </a:lnTo>
                      <a:lnTo>
                        <a:pt x="113166" y="8934"/>
                      </a:lnTo>
                      <a:lnTo>
                        <a:pt x="118520" y="7801"/>
                      </a:lnTo>
                      <a:lnTo>
                        <a:pt x="119872" y="7706"/>
                      </a:lnTo>
                      <a:lnTo>
                        <a:pt x="120720" y="8049"/>
                      </a:lnTo>
                      <a:lnTo>
                        <a:pt x="122625" y="7944"/>
                      </a:lnTo>
                      <a:lnTo>
                        <a:pt x="128692" y="7106"/>
                      </a:lnTo>
                      <a:lnTo>
                        <a:pt x="132026" y="7115"/>
                      </a:lnTo>
                      <a:lnTo>
                        <a:pt x="134312" y="7353"/>
                      </a:lnTo>
                      <a:lnTo>
                        <a:pt x="135560" y="7829"/>
                      </a:lnTo>
                      <a:lnTo>
                        <a:pt x="137398" y="7687"/>
                      </a:lnTo>
                      <a:lnTo>
                        <a:pt x="141361" y="6277"/>
                      </a:lnTo>
                      <a:lnTo>
                        <a:pt x="141989" y="5744"/>
                      </a:lnTo>
                      <a:lnTo>
                        <a:pt x="141722" y="4877"/>
                      </a:lnTo>
                      <a:lnTo>
                        <a:pt x="140570" y="3648"/>
                      </a:lnTo>
                      <a:lnTo>
                        <a:pt x="140227" y="2676"/>
                      </a:lnTo>
                      <a:lnTo>
                        <a:pt x="140703" y="1962"/>
                      </a:lnTo>
                      <a:lnTo>
                        <a:pt x="140770" y="1343"/>
                      </a:lnTo>
                      <a:lnTo>
                        <a:pt x="140370" y="410"/>
                      </a:lnTo>
                      <a:lnTo>
                        <a:pt x="140760" y="0"/>
                      </a:lnTo>
                      <a:lnTo>
                        <a:pt x="144532" y="1134"/>
                      </a:lnTo>
                      <a:lnTo>
                        <a:pt x="144713" y="1533"/>
                      </a:lnTo>
                      <a:lnTo>
                        <a:pt x="144209" y="2295"/>
                      </a:lnTo>
                      <a:lnTo>
                        <a:pt x="144209" y="2295"/>
                      </a:lnTo>
                      <a:lnTo>
                        <a:pt x="144209" y="2295"/>
                      </a:lnTo>
                      <a:lnTo>
                        <a:pt x="144209" y="2295"/>
                      </a:lnTo>
                      <a:lnTo>
                        <a:pt x="144209" y="2295"/>
                      </a:lnTo>
                      <a:lnTo>
                        <a:pt x="144209" y="2295"/>
                      </a:lnTo>
                      <a:lnTo>
                        <a:pt x="143018" y="3438"/>
                      </a:lnTo>
                      <a:lnTo>
                        <a:pt x="142418" y="4991"/>
                      </a:lnTo>
                      <a:lnTo>
                        <a:pt x="142408" y="6953"/>
                      </a:lnTo>
                      <a:lnTo>
                        <a:pt x="142056" y="8525"/>
                      </a:lnTo>
                      <a:lnTo>
                        <a:pt x="141361" y="9687"/>
                      </a:lnTo>
                      <a:lnTo>
                        <a:pt x="139741" y="10792"/>
                      </a:lnTo>
                      <a:lnTo>
                        <a:pt x="137189" y="11840"/>
                      </a:lnTo>
                      <a:lnTo>
                        <a:pt x="134550" y="13449"/>
                      </a:lnTo>
                      <a:lnTo>
                        <a:pt x="131836" y="15602"/>
                      </a:lnTo>
                      <a:lnTo>
                        <a:pt x="128702" y="17374"/>
                      </a:lnTo>
                      <a:lnTo>
                        <a:pt x="125158" y="18745"/>
                      </a:lnTo>
                      <a:lnTo>
                        <a:pt x="121587" y="20460"/>
                      </a:lnTo>
                      <a:lnTo>
                        <a:pt x="117986" y="22536"/>
                      </a:lnTo>
                      <a:lnTo>
                        <a:pt x="111395" y="25403"/>
                      </a:lnTo>
                      <a:lnTo>
                        <a:pt x="98917" y="30251"/>
                      </a:lnTo>
                      <a:lnTo>
                        <a:pt x="97326" y="30813"/>
                      </a:lnTo>
                      <a:lnTo>
                        <a:pt x="95850" y="31423"/>
                      </a:lnTo>
                      <a:lnTo>
                        <a:pt x="93059" y="32480"/>
                      </a:lnTo>
                      <a:lnTo>
                        <a:pt x="90278" y="33566"/>
                      </a:lnTo>
                      <a:lnTo>
                        <a:pt x="73409" y="38214"/>
                      </a:lnTo>
                      <a:lnTo>
                        <a:pt x="61703" y="42091"/>
                      </a:lnTo>
                      <a:lnTo>
                        <a:pt x="54226" y="45206"/>
                      </a:lnTo>
                      <a:lnTo>
                        <a:pt x="47158" y="49082"/>
                      </a:lnTo>
                      <a:lnTo>
                        <a:pt x="44234" y="50263"/>
                      </a:lnTo>
                      <a:lnTo>
                        <a:pt x="41491" y="50578"/>
                      </a:lnTo>
                      <a:lnTo>
                        <a:pt x="37490" y="50368"/>
                      </a:lnTo>
                      <a:lnTo>
                        <a:pt x="32995" y="50835"/>
                      </a:lnTo>
                      <a:lnTo>
                        <a:pt x="28013" y="51978"/>
                      </a:lnTo>
                      <a:lnTo>
                        <a:pt x="24698" y="52902"/>
                      </a:lnTo>
                      <a:lnTo>
                        <a:pt x="23050" y="53616"/>
                      </a:lnTo>
                      <a:lnTo>
                        <a:pt x="21679" y="53826"/>
                      </a:lnTo>
                      <a:lnTo>
                        <a:pt x="20603" y="53549"/>
                      </a:lnTo>
                      <a:lnTo>
                        <a:pt x="18240" y="51654"/>
                      </a:lnTo>
                      <a:lnTo>
                        <a:pt x="17926" y="51797"/>
                      </a:lnTo>
                      <a:lnTo>
                        <a:pt x="17183" y="52073"/>
                      </a:lnTo>
                      <a:lnTo>
                        <a:pt x="15421" y="51740"/>
                      </a:lnTo>
                      <a:lnTo>
                        <a:pt x="13249" y="51711"/>
                      </a:lnTo>
                      <a:lnTo>
                        <a:pt x="11020" y="52397"/>
                      </a:lnTo>
                      <a:lnTo>
                        <a:pt x="9077" y="52502"/>
                      </a:lnTo>
                      <a:lnTo>
                        <a:pt x="7429" y="52044"/>
                      </a:lnTo>
                      <a:lnTo>
                        <a:pt x="9315" y="51378"/>
                      </a:lnTo>
                      <a:lnTo>
                        <a:pt x="17459" y="49949"/>
                      </a:lnTo>
                      <a:lnTo>
                        <a:pt x="17488" y="49692"/>
                      </a:lnTo>
                      <a:lnTo>
                        <a:pt x="15202" y="48873"/>
                      </a:lnTo>
                      <a:lnTo>
                        <a:pt x="14745" y="48111"/>
                      </a:lnTo>
                      <a:lnTo>
                        <a:pt x="14030" y="48177"/>
                      </a:lnTo>
                      <a:lnTo>
                        <a:pt x="13078" y="49044"/>
                      </a:lnTo>
                      <a:lnTo>
                        <a:pt x="11916" y="49425"/>
                      </a:lnTo>
                      <a:lnTo>
                        <a:pt x="10525" y="49311"/>
                      </a:lnTo>
                      <a:lnTo>
                        <a:pt x="9382" y="48654"/>
                      </a:lnTo>
                      <a:lnTo>
                        <a:pt x="8496" y="47463"/>
                      </a:lnTo>
                      <a:lnTo>
                        <a:pt x="4648" y="45529"/>
                      </a:lnTo>
                      <a:lnTo>
                        <a:pt x="3800" y="44539"/>
                      </a:lnTo>
                      <a:lnTo>
                        <a:pt x="2429" y="43882"/>
                      </a:lnTo>
                      <a:lnTo>
                        <a:pt x="95" y="43539"/>
                      </a:lnTo>
                      <a:lnTo>
                        <a:pt x="0" y="42977"/>
                      </a:lnTo>
                      <a:lnTo>
                        <a:pt x="771" y="42224"/>
                      </a:lnTo>
                      <a:lnTo>
                        <a:pt x="4686" y="38643"/>
                      </a:lnTo>
                      <a:lnTo>
                        <a:pt x="6610" y="37271"/>
                      </a:lnTo>
                      <a:lnTo>
                        <a:pt x="7315" y="36909"/>
                      </a:lnTo>
                      <a:lnTo>
                        <a:pt x="7982" y="36919"/>
                      </a:lnTo>
                      <a:lnTo>
                        <a:pt x="8458" y="36547"/>
                      </a:lnTo>
                      <a:lnTo>
                        <a:pt x="8734" y="35785"/>
                      </a:lnTo>
                      <a:lnTo>
                        <a:pt x="9239" y="35309"/>
                      </a:lnTo>
                      <a:lnTo>
                        <a:pt x="11258" y="34004"/>
                      </a:lnTo>
                      <a:lnTo>
                        <a:pt x="12373" y="33309"/>
                      </a:lnTo>
                      <a:lnTo>
                        <a:pt x="12563" y="32233"/>
                      </a:lnTo>
                      <a:lnTo>
                        <a:pt x="13897" y="30251"/>
                      </a:lnTo>
                      <a:lnTo>
                        <a:pt x="16059" y="27689"/>
                      </a:lnTo>
                      <a:lnTo>
                        <a:pt x="17974" y="25860"/>
                      </a:lnTo>
                      <a:close/>
                    </a:path>
                  </a:pathLst>
                </a:custGeom>
                <a:solidFill>
                  <a:srgbClr val="FFFFFF"/>
                </a:solidFill>
                <a:ln w="9525" cap="flat">
                  <a:noFill/>
                  <a:prstDash val="solid"/>
                  <a:miter/>
                </a:ln>
              </p:spPr>
              <p:txBody>
                <a:bodyPr rtlCol="0" anchor="ctr"/>
                <a:lstStyle/>
                <a:p>
                  <a:endParaRPr lang="en-US"/>
                </a:p>
              </p:txBody>
            </p:sp>
            <p:sp>
              <p:nvSpPr>
                <p:cNvPr id="466" name="Freeform: Shape 465">
                  <a:extLst>
                    <a:ext uri="{FF2B5EF4-FFF2-40B4-BE49-F238E27FC236}">
                      <a16:creationId xmlns:a16="http://schemas.microsoft.com/office/drawing/2014/main" id="{BE770E10-2CDF-428D-BA79-0764ED7E3C2E}"/>
                    </a:ext>
                  </a:extLst>
                </p:cNvPr>
                <p:cNvSpPr/>
                <p:nvPr/>
              </p:nvSpPr>
              <p:spPr>
                <a:xfrm>
                  <a:off x="3149097" y="2821426"/>
                  <a:ext cx="299770" cy="231933"/>
                </a:xfrm>
                <a:custGeom>
                  <a:avLst/>
                  <a:gdLst>
                    <a:gd name="connsiteX0" fmla="*/ 180927 w 299770"/>
                    <a:gd name="connsiteY0" fmla="*/ 165068 h 231933"/>
                    <a:gd name="connsiteX1" fmla="*/ 179908 w 299770"/>
                    <a:gd name="connsiteY1" fmla="*/ 165935 h 231933"/>
                    <a:gd name="connsiteX2" fmla="*/ 178203 w 299770"/>
                    <a:gd name="connsiteY2" fmla="*/ 166249 h 231933"/>
                    <a:gd name="connsiteX3" fmla="*/ 176546 w 299770"/>
                    <a:gd name="connsiteY3" fmla="*/ 167002 h 231933"/>
                    <a:gd name="connsiteX4" fmla="*/ 174269 w 299770"/>
                    <a:gd name="connsiteY4" fmla="*/ 168916 h 231933"/>
                    <a:gd name="connsiteX5" fmla="*/ 172764 w 299770"/>
                    <a:gd name="connsiteY5" fmla="*/ 169402 h 231933"/>
                    <a:gd name="connsiteX6" fmla="*/ 171021 w 299770"/>
                    <a:gd name="connsiteY6" fmla="*/ 169221 h 231933"/>
                    <a:gd name="connsiteX7" fmla="*/ 168545 w 299770"/>
                    <a:gd name="connsiteY7" fmla="*/ 168059 h 231933"/>
                    <a:gd name="connsiteX8" fmla="*/ 167297 w 299770"/>
                    <a:gd name="connsiteY8" fmla="*/ 166897 h 231933"/>
                    <a:gd name="connsiteX9" fmla="*/ 167278 w 299770"/>
                    <a:gd name="connsiteY9" fmla="*/ 165725 h 231933"/>
                    <a:gd name="connsiteX10" fmla="*/ 167945 w 299770"/>
                    <a:gd name="connsiteY10" fmla="*/ 164335 h 231933"/>
                    <a:gd name="connsiteX11" fmla="*/ 169316 w 299770"/>
                    <a:gd name="connsiteY11" fmla="*/ 162697 h 231933"/>
                    <a:gd name="connsiteX12" fmla="*/ 169936 w 299770"/>
                    <a:gd name="connsiteY12" fmla="*/ 161382 h 231933"/>
                    <a:gd name="connsiteX13" fmla="*/ 172479 w 299770"/>
                    <a:gd name="connsiteY13" fmla="*/ 158648 h 231933"/>
                    <a:gd name="connsiteX14" fmla="*/ 174536 w 299770"/>
                    <a:gd name="connsiteY14" fmla="*/ 157667 h 231933"/>
                    <a:gd name="connsiteX15" fmla="*/ 176917 w 299770"/>
                    <a:gd name="connsiteY15" fmla="*/ 157448 h 231933"/>
                    <a:gd name="connsiteX16" fmla="*/ 178394 w 299770"/>
                    <a:gd name="connsiteY16" fmla="*/ 157010 h 231933"/>
                    <a:gd name="connsiteX17" fmla="*/ 178956 w 299770"/>
                    <a:gd name="connsiteY17" fmla="*/ 156372 h 231933"/>
                    <a:gd name="connsiteX18" fmla="*/ 179899 w 299770"/>
                    <a:gd name="connsiteY18" fmla="*/ 155905 h 231933"/>
                    <a:gd name="connsiteX19" fmla="*/ 181194 w 299770"/>
                    <a:gd name="connsiteY19" fmla="*/ 155639 h 231933"/>
                    <a:gd name="connsiteX20" fmla="*/ 183061 w 299770"/>
                    <a:gd name="connsiteY20" fmla="*/ 153895 h 231933"/>
                    <a:gd name="connsiteX21" fmla="*/ 185499 w 299770"/>
                    <a:gd name="connsiteY21" fmla="*/ 150705 h 231933"/>
                    <a:gd name="connsiteX22" fmla="*/ 187347 w 299770"/>
                    <a:gd name="connsiteY22" fmla="*/ 148942 h 231933"/>
                    <a:gd name="connsiteX23" fmla="*/ 188176 w 299770"/>
                    <a:gd name="connsiteY23" fmla="*/ 148638 h 231933"/>
                    <a:gd name="connsiteX24" fmla="*/ 188757 w 299770"/>
                    <a:gd name="connsiteY24" fmla="*/ 148742 h 231933"/>
                    <a:gd name="connsiteX25" fmla="*/ 188585 w 299770"/>
                    <a:gd name="connsiteY25" fmla="*/ 149142 h 231933"/>
                    <a:gd name="connsiteX26" fmla="*/ 192243 w 299770"/>
                    <a:gd name="connsiteY26" fmla="*/ 147095 h 231933"/>
                    <a:gd name="connsiteX27" fmla="*/ 193929 w 299770"/>
                    <a:gd name="connsiteY27" fmla="*/ 145675 h 231933"/>
                    <a:gd name="connsiteX28" fmla="*/ 194729 w 299770"/>
                    <a:gd name="connsiteY28" fmla="*/ 144208 h 231933"/>
                    <a:gd name="connsiteX29" fmla="*/ 197139 w 299770"/>
                    <a:gd name="connsiteY29" fmla="*/ 139951 h 231933"/>
                    <a:gd name="connsiteX30" fmla="*/ 198844 w 299770"/>
                    <a:gd name="connsiteY30" fmla="*/ 137208 h 231933"/>
                    <a:gd name="connsiteX31" fmla="*/ 199854 w 299770"/>
                    <a:gd name="connsiteY31" fmla="*/ 135960 h 231933"/>
                    <a:gd name="connsiteX32" fmla="*/ 201349 w 299770"/>
                    <a:gd name="connsiteY32" fmla="*/ 132750 h 231933"/>
                    <a:gd name="connsiteX33" fmla="*/ 201949 w 299770"/>
                    <a:gd name="connsiteY33" fmla="*/ 130102 h 231933"/>
                    <a:gd name="connsiteX34" fmla="*/ 200520 w 299770"/>
                    <a:gd name="connsiteY34" fmla="*/ 127197 h 231933"/>
                    <a:gd name="connsiteX35" fmla="*/ 200606 w 299770"/>
                    <a:gd name="connsiteY35" fmla="*/ 126235 h 231933"/>
                    <a:gd name="connsiteX36" fmla="*/ 201225 w 299770"/>
                    <a:gd name="connsiteY36" fmla="*/ 125206 h 231933"/>
                    <a:gd name="connsiteX37" fmla="*/ 202387 w 299770"/>
                    <a:gd name="connsiteY37" fmla="*/ 124130 h 231933"/>
                    <a:gd name="connsiteX38" fmla="*/ 203816 w 299770"/>
                    <a:gd name="connsiteY38" fmla="*/ 123882 h 231933"/>
                    <a:gd name="connsiteX39" fmla="*/ 205654 w 299770"/>
                    <a:gd name="connsiteY39" fmla="*/ 124720 h 231933"/>
                    <a:gd name="connsiteX40" fmla="*/ 206140 w 299770"/>
                    <a:gd name="connsiteY40" fmla="*/ 124520 h 231933"/>
                    <a:gd name="connsiteX41" fmla="*/ 205759 w 299770"/>
                    <a:gd name="connsiteY41" fmla="*/ 124035 h 231933"/>
                    <a:gd name="connsiteX42" fmla="*/ 205892 w 299770"/>
                    <a:gd name="connsiteY42" fmla="*/ 123053 h 231933"/>
                    <a:gd name="connsiteX43" fmla="*/ 206521 w 299770"/>
                    <a:gd name="connsiteY43" fmla="*/ 121615 h 231933"/>
                    <a:gd name="connsiteX44" fmla="*/ 206635 w 299770"/>
                    <a:gd name="connsiteY44" fmla="*/ 120825 h 231933"/>
                    <a:gd name="connsiteX45" fmla="*/ 206235 w 299770"/>
                    <a:gd name="connsiteY45" fmla="*/ 120682 h 231933"/>
                    <a:gd name="connsiteX46" fmla="*/ 205826 w 299770"/>
                    <a:gd name="connsiteY46" fmla="*/ 119034 h 231933"/>
                    <a:gd name="connsiteX47" fmla="*/ 206093 w 299770"/>
                    <a:gd name="connsiteY47" fmla="*/ 118177 h 231933"/>
                    <a:gd name="connsiteX48" fmla="*/ 206645 w 299770"/>
                    <a:gd name="connsiteY48" fmla="*/ 117386 h 231933"/>
                    <a:gd name="connsiteX49" fmla="*/ 206578 w 299770"/>
                    <a:gd name="connsiteY49" fmla="*/ 116586 h 231933"/>
                    <a:gd name="connsiteX50" fmla="*/ 205530 w 299770"/>
                    <a:gd name="connsiteY50" fmla="*/ 115338 h 231933"/>
                    <a:gd name="connsiteX51" fmla="*/ 203111 w 299770"/>
                    <a:gd name="connsiteY51" fmla="*/ 114062 h 231933"/>
                    <a:gd name="connsiteX52" fmla="*/ 196996 w 299770"/>
                    <a:gd name="connsiteY52" fmla="*/ 111633 h 231933"/>
                    <a:gd name="connsiteX53" fmla="*/ 196158 w 299770"/>
                    <a:gd name="connsiteY53" fmla="*/ 110690 h 231933"/>
                    <a:gd name="connsiteX54" fmla="*/ 194615 w 299770"/>
                    <a:gd name="connsiteY54" fmla="*/ 110138 h 231933"/>
                    <a:gd name="connsiteX55" fmla="*/ 192396 w 299770"/>
                    <a:gd name="connsiteY55" fmla="*/ 109966 h 231933"/>
                    <a:gd name="connsiteX56" fmla="*/ 191300 w 299770"/>
                    <a:gd name="connsiteY56" fmla="*/ 109233 h 231933"/>
                    <a:gd name="connsiteX57" fmla="*/ 191357 w 299770"/>
                    <a:gd name="connsiteY57" fmla="*/ 107928 h 231933"/>
                    <a:gd name="connsiteX58" fmla="*/ 190957 w 299770"/>
                    <a:gd name="connsiteY58" fmla="*/ 106756 h 231933"/>
                    <a:gd name="connsiteX59" fmla="*/ 190090 w 299770"/>
                    <a:gd name="connsiteY59" fmla="*/ 105708 h 231933"/>
                    <a:gd name="connsiteX60" fmla="*/ 188205 w 299770"/>
                    <a:gd name="connsiteY60" fmla="*/ 105013 h 231933"/>
                    <a:gd name="connsiteX61" fmla="*/ 185290 w 299770"/>
                    <a:gd name="connsiteY61" fmla="*/ 104699 h 231933"/>
                    <a:gd name="connsiteX62" fmla="*/ 182632 w 299770"/>
                    <a:gd name="connsiteY62" fmla="*/ 103565 h 231933"/>
                    <a:gd name="connsiteX63" fmla="*/ 180232 w 299770"/>
                    <a:gd name="connsiteY63" fmla="*/ 101632 h 231933"/>
                    <a:gd name="connsiteX64" fmla="*/ 178422 w 299770"/>
                    <a:gd name="connsiteY64" fmla="*/ 100965 h 231933"/>
                    <a:gd name="connsiteX65" fmla="*/ 177175 w 299770"/>
                    <a:gd name="connsiteY65" fmla="*/ 101584 h 231933"/>
                    <a:gd name="connsiteX66" fmla="*/ 175460 w 299770"/>
                    <a:gd name="connsiteY66" fmla="*/ 101784 h 231933"/>
                    <a:gd name="connsiteX67" fmla="*/ 173288 w 299770"/>
                    <a:gd name="connsiteY67" fmla="*/ 101575 h 231933"/>
                    <a:gd name="connsiteX68" fmla="*/ 172345 w 299770"/>
                    <a:gd name="connsiteY68" fmla="*/ 101832 h 231933"/>
                    <a:gd name="connsiteX69" fmla="*/ 172641 w 299770"/>
                    <a:gd name="connsiteY69" fmla="*/ 102575 h 231933"/>
                    <a:gd name="connsiteX70" fmla="*/ 171441 w 299770"/>
                    <a:gd name="connsiteY70" fmla="*/ 103737 h 231933"/>
                    <a:gd name="connsiteX71" fmla="*/ 168735 w 299770"/>
                    <a:gd name="connsiteY71" fmla="*/ 105327 h 231933"/>
                    <a:gd name="connsiteX72" fmla="*/ 166792 w 299770"/>
                    <a:gd name="connsiteY72" fmla="*/ 106937 h 231933"/>
                    <a:gd name="connsiteX73" fmla="*/ 165630 w 299770"/>
                    <a:gd name="connsiteY73" fmla="*/ 108575 h 231933"/>
                    <a:gd name="connsiteX74" fmla="*/ 165154 w 299770"/>
                    <a:gd name="connsiteY74" fmla="*/ 110033 h 231933"/>
                    <a:gd name="connsiteX75" fmla="*/ 165364 w 299770"/>
                    <a:gd name="connsiteY75" fmla="*/ 111309 h 231933"/>
                    <a:gd name="connsiteX76" fmla="*/ 166230 w 299770"/>
                    <a:gd name="connsiteY76" fmla="*/ 112128 h 231933"/>
                    <a:gd name="connsiteX77" fmla="*/ 167735 w 299770"/>
                    <a:gd name="connsiteY77" fmla="*/ 112509 h 231933"/>
                    <a:gd name="connsiteX78" fmla="*/ 167821 w 299770"/>
                    <a:gd name="connsiteY78" fmla="*/ 113014 h 231933"/>
                    <a:gd name="connsiteX79" fmla="*/ 166488 w 299770"/>
                    <a:gd name="connsiteY79" fmla="*/ 113643 h 231933"/>
                    <a:gd name="connsiteX80" fmla="*/ 164535 w 299770"/>
                    <a:gd name="connsiteY80" fmla="*/ 114005 h 231933"/>
                    <a:gd name="connsiteX81" fmla="*/ 161954 w 299770"/>
                    <a:gd name="connsiteY81" fmla="*/ 114090 h 231933"/>
                    <a:gd name="connsiteX82" fmla="*/ 159029 w 299770"/>
                    <a:gd name="connsiteY82" fmla="*/ 114795 h 231933"/>
                    <a:gd name="connsiteX83" fmla="*/ 155734 w 299770"/>
                    <a:gd name="connsiteY83" fmla="*/ 116119 h 231933"/>
                    <a:gd name="connsiteX84" fmla="*/ 153600 w 299770"/>
                    <a:gd name="connsiteY84" fmla="*/ 117300 h 231933"/>
                    <a:gd name="connsiteX85" fmla="*/ 152629 w 299770"/>
                    <a:gd name="connsiteY85" fmla="*/ 118348 h 231933"/>
                    <a:gd name="connsiteX86" fmla="*/ 151752 w 299770"/>
                    <a:gd name="connsiteY86" fmla="*/ 119863 h 231933"/>
                    <a:gd name="connsiteX87" fmla="*/ 150133 w 299770"/>
                    <a:gd name="connsiteY87" fmla="*/ 123558 h 231933"/>
                    <a:gd name="connsiteX88" fmla="*/ 149181 w 299770"/>
                    <a:gd name="connsiteY88" fmla="*/ 124987 h 231933"/>
                    <a:gd name="connsiteX89" fmla="*/ 146685 w 299770"/>
                    <a:gd name="connsiteY89" fmla="*/ 127616 h 231933"/>
                    <a:gd name="connsiteX90" fmla="*/ 143418 w 299770"/>
                    <a:gd name="connsiteY90" fmla="*/ 131054 h 231933"/>
                    <a:gd name="connsiteX91" fmla="*/ 140541 w 299770"/>
                    <a:gd name="connsiteY91" fmla="*/ 133207 h 231933"/>
                    <a:gd name="connsiteX92" fmla="*/ 140370 w 299770"/>
                    <a:gd name="connsiteY92" fmla="*/ 132912 h 231933"/>
                    <a:gd name="connsiteX93" fmla="*/ 141208 w 299770"/>
                    <a:gd name="connsiteY93" fmla="*/ 131864 h 231933"/>
                    <a:gd name="connsiteX94" fmla="*/ 144466 w 299770"/>
                    <a:gd name="connsiteY94" fmla="*/ 128426 h 231933"/>
                    <a:gd name="connsiteX95" fmla="*/ 145456 w 299770"/>
                    <a:gd name="connsiteY95" fmla="*/ 126968 h 231933"/>
                    <a:gd name="connsiteX96" fmla="*/ 145713 w 299770"/>
                    <a:gd name="connsiteY96" fmla="*/ 126197 h 231933"/>
                    <a:gd name="connsiteX97" fmla="*/ 145256 w 299770"/>
                    <a:gd name="connsiteY97" fmla="*/ 126121 h 231933"/>
                    <a:gd name="connsiteX98" fmla="*/ 144332 w 299770"/>
                    <a:gd name="connsiteY98" fmla="*/ 126787 h 231933"/>
                    <a:gd name="connsiteX99" fmla="*/ 142942 w 299770"/>
                    <a:gd name="connsiteY99" fmla="*/ 128197 h 231933"/>
                    <a:gd name="connsiteX100" fmla="*/ 142408 w 299770"/>
                    <a:gd name="connsiteY100" fmla="*/ 128959 h 231933"/>
                    <a:gd name="connsiteX101" fmla="*/ 142713 w 299770"/>
                    <a:gd name="connsiteY101" fmla="*/ 129083 h 231933"/>
                    <a:gd name="connsiteX102" fmla="*/ 141942 w 299770"/>
                    <a:gd name="connsiteY102" fmla="*/ 130035 h 231933"/>
                    <a:gd name="connsiteX103" fmla="*/ 140084 w 299770"/>
                    <a:gd name="connsiteY103" fmla="*/ 131826 h 231933"/>
                    <a:gd name="connsiteX104" fmla="*/ 139103 w 299770"/>
                    <a:gd name="connsiteY104" fmla="*/ 132197 h 231933"/>
                    <a:gd name="connsiteX105" fmla="*/ 138989 w 299770"/>
                    <a:gd name="connsiteY105" fmla="*/ 131140 h 231933"/>
                    <a:gd name="connsiteX106" fmla="*/ 139770 w 299770"/>
                    <a:gd name="connsiteY106" fmla="*/ 129750 h 231933"/>
                    <a:gd name="connsiteX107" fmla="*/ 142332 w 299770"/>
                    <a:gd name="connsiteY107" fmla="*/ 126968 h 231933"/>
                    <a:gd name="connsiteX108" fmla="*/ 142227 w 299770"/>
                    <a:gd name="connsiteY108" fmla="*/ 126425 h 231933"/>
                    <a:gd name="connsiteX109" fmla="*/ 143770 w 299770"/>
                    <a:gd name="connsiteY109" fmla="*/ 124692 h 231933"/>
                    <a:gd name="connsiteX110" fmla="*/ 144713 w 299770"/>
                    <a:gd name="connsiteY110" fmla="*/ 123434 h 231933"/>
                    <a:gd name="connsiteX111" fmla="*/ 145085 w 299770"/>
                    <a:gd name="connsiteY111" fmla="*/ 122130 h 231933"/>
                    <a:gd name="connsiteX112" fmla="*/ 145971 w 299770"/>
                    <a:gd name="connsiteY112" fmla="*/ 120939 h 231933"/>
                    <a:gd name="connsiteX113" fmla="*/ 147399 w 299770"/>
                    <a:gd name="connsiteY113" fmla="*/ 119844 h 231933"/>
                    <a:gd name="connsiteX114" fmla="*/ 147314 w 299770"/>
                    <a:gd name="connsiteY114" fmla="*/ 119510 h 231933"/>
                    <a:gd name="connsiteX115" fmla="*/ 145723 w 299770"/>
                    <a:gd name="connsiteY115" fmla="*/ 119939 h 231933"/>
                    <a:gd name="connsiteX116" fmla="*/ 142684 w 299770"/>
                    <a:gd name="connsiteY116" fmla="*/ 121977 h 231933"/>
                    <a:gd name="connsiteX117" fmla="*/ 138208 w 299770"/>
                    <a:gd name="connsiteY117" fmla="*/ 125625 h 231933"/>
                    <a:gd name="connsiteX118" fmla="*/ 135379 w 299770"/>
                    <a:gd name="connsiteY118" fmla="*/ 127225 h 231933"/>
                    <a:gd name="connsiteX119" fmla="*/ 134207 w 299770"/>
                    <a:gd name="connsiteY119" fmla="*/ 126759 h 231933"/>
                    <a:gd name="connsiteX120" fmla="*/ 132902 w 299770"/>
                    <a:gd name="connsiteY120" fmla="*/ 127064 h 231933"/>
                    <a:gd name="connsiteX121" fmla="*/ 131474 w 299770"/>
                    <a:gd name="connsiteY121" fmla="*/ 128140 h 231933"/>
                    <a:gd name="connsiteX122" fmla="*/ 130254 w 299770"/>
                    <a:gd name="connsiteY122" fmla="*/ 128673 h 231933"/>
                    <a:gd name="connsiteX123" fmla="*/ 129254 w 299770"/>
                    <a:gd name="connsiteY123" fmla="*/ 128654 h 231933"/>
                    <a:gd name="connsiteX124" fmla="*/ 127968 w 299770"/>
                    <a:gd name="connsiteY124" fmla="*/ 129921 h 231933"/>
                    <a:gd name="connsiteX125" fmla="*/ 126387 w 299770"/>
                    <a:gd name="connsiteY125" fmla="*/ 132493 h 231933"/>
                    <a:gd name="connsiteX126" fmla="*/ 124606 w 299770"/>
                    <a:gd name="connsiteY126" fmla="*/ 133960 h 231933"/>
                    <a:gd name="connsiteX127" fmla="*/ 121158 w 299770"/>
                    <a:gd name="connsiteY127" fmla="*/ 134817 h 231933"/>
                    <a:gd name="connsiteX128" fmla="*/ 120215 w 299770"/>
                    <a:gd name="connsiteY128" fmla="*/ 135493 h 231933"/>
                    <a:gd name="connsiteX129" fmla="*/ 119653 w 299770"/>
                    <a:gd name="connsiteY129" fmla="*/ 136436 h 231933"/>
                    <a:gd name="connsiteX130" fmla="*/ 119482 w 299770"/>
                    <a:gd name="connsiteY130" fmla="*/ 137674 h 231933"/>
                    <a:gd name="connsiteX131" fmla="*/ 118196 w 299770"/>
                    <a:gd name="connsiteY131" fmla="*/ 140141 h 231933"/>
                    <a:gd name="connsiteX132" fmla="*/ 115786 w 299770"/>
                    <a:gd name="connsiteY132" fmla="*/ 143847 h 231933"/>
                    <a:gd name="connsiteX133" fmla="*/ 113081 w 299770"/>
                    <a:gd name="connsiteY133" fmla="*/ 147095 h 231933"/>
                    <a:gd name="connsiteX134" fmla="*/ 110090 w 299770"/>
                    <a:gd name="connsiteY134" fmla="*/ 149876 h 231933"/>
                    <a:gd name="connsiteX135" fmla="*/ 107185 w 299770"/>
                    <a:gd name="connsiteY135" fmla="*/ 152171 h 231933"/>
                    <a:gd name="connsiteX136" fmla="*/ 102794 w 299770"/>
                    <a:gd name="connsiteY136" fmla="*/ 155191 h 231933"/>
                    <a:gd name="connsiteX137" fmla="*/ 102432 w 299770"/>
                    <a:gd name="connsiteY137" fmla="*/ 155791 h 231933"/>
                    <a:gd name="connsiteX138" fmla="*/ 102575 w 299770"/>
                    <a:gd name="connsiteY138" fmla="*/ 158153 h 231933"/>
                    <a:gd name="connsiteX139" fmla="*/ 102232 w 299770"/>
                    <a:gd name="connsiteY139" fmla="*/ 159915 h 231933"/>
                    <a:gd name="connsiteX140" fmla="*/ 100679 w 299770"/>
                    <a:gd name="connsiteY140" fmla="*/ 163420 h 231933"/>
                    <a:gd name="connsiteX141" fmla="*/ 100308 w 299770"/>
                    <a:gd name="connsiteY141" fmla="*/ 164001 h 231933"/>
                    <a:gd name="connsiteX142" fmla="*/ 95336 w 299770"/>
                    <a:gd name="connsiteY142" fmla="*/ 168335 h 231933"/>
                    <a:gd name="connsiteX143" fmla="*/ 94964 w 299770"/>
                    <a:gd name="connsiteY143" fmla="*/ 168954 h 231933"/>
                    <a:gd name="connsiteX144" fmla="*/ 94107 w 299770"/>
                    <a:gd name="connsiteY144" fmla="*/ 176203 h 231933"/>
                    <a:gd name="connsiteX145" fmla="*/ 93993 w 299770"/>
                    <a:gd name="connsiteY145" fmla="*/ 181413 h 231933"/>
                    <a:gd name="connsiteX146" fmla="*/ 94012 w 299770"/>
                    <a:gd name="connsiteY146" fmla="*/ 181966 h 231933"/>
                    <a:gd name="connsiteX147" fmla="*/ 93707 w 299770"/>
                    <a:gd name="connsiteY147" fmla="*/ 184042 h 231933"/>
                    <a:gd name="connsiteX148" fmla="*/ 93040 w 299770"/>
                    <a:gd name="connsiteY148" fmla="*/ 188119 h 231933"/>
                    <a:gd name="connsiteX149" fmla="*/ 91707 w 299770"/>
                    <a:gd name="connsiteY149" fmla="*/ 192157 h 231933"/>
                    <a:gd name="connsiteX150" fmla="*/ 89697 w 299770"/>
                    <a:gd name="connsiteY150" fmla="*/ 196177 h 231933"/>
                    <a:gd name="connsiteX151" fmla="*/ 87373 w 299770"/>
                    <a:gd name="connsiteY151" fmla="*/ 200054 h 231933"/>
                    <a:gd name="connsiteX152" fmla="*/ 84734 w 299770"/>
                    <a:gd name="connsiteY152" fmla="*/ 203797 h 231933"/>
                    <a:gd name="connsiteX153" fmla="*/ 81820 w 299770"/>
                    <a:gd name="connsiteY153" fmla="*/ 207378 h 231933"/>
                    <a:gd name="connsiteX154" fmla="*/ 78648 w 299770"/>
                    <a:gd name="connsiteY154" fmla="*/ 210788 h 231933"/>
                    <a:gd name="connsiteX155" fmla="*/ 75771 w 299770"/>
                    <a:gd name="connsiteY155" fmla="*/ 213484 h 231933"/>
                    <a:gd name="connsiteX156" fmla="*/ 70418 w 299770"/>
                    <a:gd name="connsiteY156" fmla="*/ 217942 h 231933"/>
                    <a:gd name="connsiteX157" fmla="*/ 67399 w 299770"/>
                    <a:gd name="connsiteY157" fmla="*/ 220913 h 231933"/>
                    <a:gd name="connsiteX158" fmla="*/ 64618 w 299770"/>
                    <a:gd name="connsiteY158" fmla="*/ 223314 h 231933"/>
                    <a:gd name="connsiteX159" fmla="*/ 62065 w 299770"/>
                    <a:gd name="connsiteY159" fmla="*/ 225142 h 231933"/>
                    <a:gd name="connsiteX160" fmla="*/ 58103 w 299770"/>
                    <a:gd name="connsiteY160" fmla="*/ 227181 h 231933"/>
                    <a:gd name="connsiteX161" fmla="*/ 48663 w 299770"/>
                    <a:gd name="connsiteY161" fmla="*/ 230934 h 231933"/>
                    <a:gd name="connsiteX162" fmla="*/ 45920 w 299770"/>
                    <a:gd name="connsiteY162" fmla="*/ 231657 h 231933"/>
                    <a:gd name="connsiteX163" fmla="*/ 43177 w 299770"/>
                    <a:gd name="connsiteY163" fmla="*/ 231934 h 231933"/>
                    <a:gd name="connsiteX164" fmla="*/ 40424 w 299770"/>
                    <a:gd name="connsiteY164" fmla="*/ 231753 h 231933"/>
                    <a:gd name="connsiteX165" fmla="*/ 39091 w 299770"/>
                    <a:gd name="connsiteY165" fmla="*/ 231334 h 231933"/>
                    <a:gd name="connsiteX166" fmla="*/ 39100 w 299770"/>
                    <a:gd name="connsiteY166" fmla="*/ 230638 h 231933"/>
                    <a:gd name="connsiteX167" fmla="*/ 38529 w 299770"/>
                    <a:gd name="connsiteY167" fmla="*/ 230572 h 231933"/>
                    <a:gd name="connsiteX168" fmla="*/ 37938 w 299770"/>
                    <a:gd name="connsiteY168" fmla="*/ 230105 h 231933"/>
                    <a:gd name="connsiteX169" fmla="*/ 37309 w 299770"/>
                    <a:gd name="connsiteY169" fmla="*/ 229314 h 231933"/>
                    <a:gd name="connsiteX170" fmla="*/ 36881 w 299770"/>
                    <a:gd name="connsiteY170" fmla="*/ 227886 h 231933"/>
                    <a:gd name="connsiteX171" fmla="*/ 37128 w 299770"/>
                    <a:gd name="connsiteY171" fmla="*/ 224952 h 231933"/>
                    <a:gd name="connsiteX172" fmla="*/ 38052 w 299770"/>
                    <a:gd name="connsiteY172" fmla="*/ 220513 h 231933"/>
                    <a:gd name="connsiteX173" fmla="*/ 38224 w 299770"/>
                    <a:gd name="connsiteY173" fmla="*/ 217865 h 231933"/>
                    <a:gd name="connsiteX174" fmla="*/ 37624 w 299770"/>
                    <a:gd name="connsiteY174" fmla="*/ 217008 h 231933"/>
                    <a:gd name="connsiteX175" fmla="*/ 37376 w 299770"/>
                    <a:gd name="connsiteY175" fmla="*/ 215665 h 231933"/>
                    <a:gd name="connsiteX176" fmla="*/ 37462 w 299770"/>
                    <a:gd name="connsiteY176" fmla="*/ 213865 h 231933"/>
                    <a:gd name="connsiteX177" fmla="*/ 39157 w 299770"/>
                    <a:gd name="connsiteY177" fmla="*/ 209779 h 231933"/>
                    <a:gd name="connsiteX178" fmla="*/ 42463 w 299770"/>
                    <a:gd name="connsiteY178" fmla="*/ 203416 h 231933"/>
                    <a:gd name="connsiteX179" fmla="*/ 44987 w 299770"/>
                    <a:gd name="connsiteY179" fmla="*/ 199092 h 231933"/>
                    <a:gd name="connsiteX180" fmla="*/ 46739 w 299770"/>
                    <a:gd name="connsiteY180" fmla="*/ 196786 h 231933"/>
                    <a:gd name="connsiteX181" fmla="*/ 47492 w 299770"/>
                    <a:gd name="connsiteY181" fmla="*/ 195024 h 231933"/>
                    <a:gd name="connsiteX182" fmla="*/ 47263 w 299770"/>
                    <a:gd name="connsiteY182" fmla="*/ 193815 h 231933"/>
                    <a:gd name="connsiteX183" fmla="*/ 47511 w 299770"/>
                    <a:gd name="connsiteY183" fmla="*/ 192310 h 231933"/>
                    <a:gd name="connsiteX184" fmla="*/ 48254 w 299770"/>
                    <a:gd name="connsiteY184" fmla="*/ 190510 h 231933"/>
                    <a:gd name="connsiteX185" fmla="*/ 48454 w 299770"/>
                    <a:gd name="connsiteY185" fmla="*/ 189281 h 231933"/>
                    <a:gd name="connsiteX186" fmla="*/ 48092 w 299770"/>
                    <a:gd name="connsiteY186" fmla="*/ 188643 h 231933"/>
                    <a:gd name="connsiteX187" fmla="*/ 48406 w 299770"/>
                    <a:gd name="connsiteY187" fmla="*/ 187728 h 231933"/>
                    <a:gd name="connsiteX188" fmla="*/ 49406 w 299770"/>
                    <a:gd name="connsiteY188" fmla="*/ 186576 h 231933"/>
                    <a:gd name="connsiteX189" fmla="*/ 49825 w 299770"/>
                    <a:gd name="connsiteY189" fmla="*/ 185776 h 231933"/>
                    <a:gd name="connsiteX190" fmla="*/ 49673 w 299770"/>
                    <a:gd name="connsiteY190" fmla="*/ 185347 h 231933"/>
                    <a:gd name="connsiteX191" fmla="*/ 49921 w 299770"/>
                    <a:gd name="connsiteY191" fmla="*/ 184699 h 231933"/>
                    <a:gd name="connsiteX192" fmla="*/ 50568 w 299770"/>
                    <a:gd name="connsiteY192" fmla="*/ 183842 h 231933"/>
                    <a:gd name="connsiteX193" fmla="*/ 51549 w 299770"/>
                    <a:gd name="connsiteY193" fmla="*/ 181318 h 231933"/>
                    <a:gd name="connsiteX194" fmla="*/ 52445 w 299770"/>
                    <a:gd name="connsiteY194" fmla="*/ 179775 h 231933"/>
                    <a:gd name="connsiteX195" fmla="*/ 53807 w 299770"/>
                    <a:gd name="connsiteY195" fmla="*/ 178108 h 231933"/>
                    <a:gd name="connsiteX196" fmla="*/ 56950 w 299770"/>
                    <a:gd name="connsiteY196" fmla="*/ 175079 h 231933"/>
                    <a:gd name="connsiteX197" fmla="*/ 58226 w 299770"/>
                    <a:gd name="connsiteY197" fmla="*/ 173603 h 231933"/>
                    <a:gd name="connsiteX198" fmla="*/ 59150 w 299770"/>
                    <a:gd name="connsiteY198" fmla="*/ 172088 h 231933"/>
                    <a:gd name="connsiteX199" fmla="*/ 60893 w 299770"/>
                    <a:gd name="connsiteY199" fmla="*/ 170174 h 231933"/>
                    <a:gd name="connsiteX200" fmla="*/ 64989 w 299770"/>
                    <a:gd name="connsiteY200" fmla="*/ 166240 h 231933"/>
                    <a:gd name="connsiteX201" fmla="*/ 65513 w 299770"/>
                    <a:gd name="connsiteY201" fmla="*/ 165344 h 231933"/>
                    <a:gd name="connsiteX202" fmla="*/ 65770 w 299770"/>
                    <a:gd name="connsiteY202" fmla="*/ 163554 h 231933"/>
                    <a:gd name="connsiteX203" fmla="*/ 66313 w 299770"/>
                    <a:gd name="connsiteY203" fmla="*/ 162230 h 231933"/>
                    <a:gd name="connsiteX204" fmla="*/ 67399 w 299770"/>
                    <a:gd name="connsiteY204" fmla="*/ 160468 h 231933"/>
                    <a:gd name="connsiteX205" fmla="*/ 69190 w 299770"/>
                    <a:gd name="connsiteY205" fmla="*/ 158286 h 231933"/>
                    <a:gd name="connsiteX206" fmla="*/ 71695 w 299770"/>
                    <a:gd name="connsiteY206" fmla="*/ 155696 h 231933"/>
                    <a:gd name="connsiteX207" fmla="*/ 74295 w 299770"/>
                    <a:gd name="connsiteY207" fmla="*/ 153619 h 231933"/>
                    <a:gd name="connsiteX208" fmla="*/ 76972 w 299770"/>
                    <a:gd name="connsiteY208" fmla="*/ 152067 h 231933"/>
                    <a:gd name="connsiteX209" fmla="*/ 78515 w 299770"/>
                    <a:gd name="connsiteY209" fmla="*/ 150295 h 231933"/>
                    <a:gd name="connsiteX210" fmla="*/ 78924 w 299770"/>
                    <a:gd name="connsiteY210" fmla="*/ 148314 h 231933"/>
                    <a:gd name="connsiteX211" fmla="*/ 80724 w 299770"/>
                    <a:gd name="connsiteY211" fmla="*/ 145390 h 231933"/>
                    <a:gd name="connsiteX212" fmla="*/ 83896 w 299770"/>
                    <a:gd name="connsiteY212" fmla="*/ 141522 h 231933"/>
                    <a:gd name="connsiteX213" fmla="*/ 86678 w 299770"/>
                    <a:gd name="connsiteY213" fmla="*/ 138617 h 231933"/>
                    <a:gd name="connsiteX214" fmla="*/ 89068 w 299770"/>
                    <a:gd name="connsiteY214" fmla="*/ 136684 h 231933"/>
                    <a:gd name="connsiteX215" fmla="*/ 90992 w 299770"/>
                    <a:gd name="connsiteY215" fmla="*/ 134845 h 231933"/>
                    <a:gd name="connsiteX216" fmla="*/ 92431 w 299770"/>
                    <a:gd name="connsiteY216" fmla="*/ 133102 h 231933"/>
                    <a:gd name="connsiteX217" fmla="*/ 92621 w 299770"/>
                    <a:gd name="connsiteY217" fmla="*/ 132321 h 231933"/>
                    <a:gd name="connsiteX218" fmla="*/ 92059 w 299770"/>
                    <a:gd name="connsiteY218" fmla="*/ 131483 h 231933"/>
                    <a:gd name="connsiteX219" fmla="*/ 91735 w 299770"/>
                    <a:gd name="connsiteY219" fmla="*/ 130264 h 231933"/>
                    <a:gd name="connsiteX220" fmla="*/ 90249 w 299770"/>
                    <a:gd name="connsiteY220" fmla="*/ 129997 h 231933"/>
                    <a:gd name="connsiteX221" fmla="*/ 87782 w 299770"/>
                    <a:gd name="connsiteY221" fmla="*/ 130807 h 231933"/>
                    <a:gd name="connsiteX222" fmla="*/ 87535 w 299770"/>
                    <a:gd name="connsiteY222" fmla="*/ 130750 h 231933"/>
                    <a:gd name="connsiteX223" fmla="*/ 86449 w 299770"/>
                    <a:gd name="connsiteY223" fmla="*/ 130854 h 231933"/>
                    <a:gd name="connsiteX224" fmla="*/ 83534 w 299770"/>
                    <a:gd name="connsiteY224" fmla="*/ 132645 h 231933"/>
                    <a:gd name="connsiteX225" fmla="*/ 80143 w 299770"/>
                    <a:gd name="connsiteY225" fmla="*/ 135741 h 231933"/>
                    <a:gd name="connsiteX226" fmla="*/ 78191 w 299770"/>
                    <a:gd name="connsiteY226" fmla="*/ 137017 h 231933"/>
                    <a:gd name="connsiteX227" fmla="*/ 76009 w 299770"/>
                    <a:gd name="connsiteY227" fmla="*/ 137884 h 231933"/>
                    <a:gd name="connsiteX228" fmla="*/ 74219 w 299770"/>
                    <a:gd name="connsiteY228" fmla="*/ 138846 h 231933"/>
                    <a:gd name="connsiteX229" fmla="*/ 72809 w 299770"/>
                    <a:gd name="connsiteY229" fmla="*/ 139913 h 231933"/>
                    <a:gd name="connsiteX230" fmla="*/ 71599 w 299770"/>
                    <a:gd name="connsiteY230" fmla="*/ 140151 h 231933"/>
                    <a:gd name="connsiteX231" fmla="*/ 70590 w 299770"/>
                    <a:gd name="connsiteY231" fmla="*/ 139551 h 231933"/>
                    <a:gd name="connsiteX232" fmla="*/ 71133 w 299770"/>
                    <a:gd name="connsiteY232" fmla="*/ 138084 h 231933"/>
                    <a:gd name="connsiteX233" fmla="*/ 73219 w 299770"/>
                    <a:gd name="connsiteY233" fmla="*/ 135731 h 231933"/>
                    <a:gd name="connsiteX234" fmla="*/ 75676 w 299770"/>
                    <a:gd name="connsiteY234" fmla="*/ 133493 h 231933"/>
                    <a:gd name="connsiteX235" fmla="*/ 80220 w 299770"/>
                    <a:gd name="connsiteY235" fmla="*/ 129807 h 231933"/>
                    <a:gd name="connsiteX236" fmla="*/ 80782 w 299770"/>
                    <a:gd name="connsiteY236" fmla="*/ 128930 h 231933"/>
                    <a:gd name="connsiteX237" fmla="*/ 81991 w 299770"/>
                    <a:gd name="connsiteY237" fmla="*/ 127854 h 231933"/>
                    <a:gd name="connsiteX238" fmla="*/ 86801 w 299770"/>
                    <a:gd name="connsiteY238" fmla="*/ 126263 h 231933"/>
                    <a:gd name="connsiteX239" fmla="*/ 88992 w 299770"/>
                    <a:gd name="connsiteY239" fmla="*/ 125016 h 231933"/>
                    <a:gd name="connsiteX240" fmla="*/ 90373 w 299770"/>
                    <a:gd name="connsiteY240" fmla="*/ 123425 h 231933"/>
                    <a:gd name="connsiteX241" fmla="*/ 91783 w 299770"/>
                    <a:gd name="connsiteY241" fmla="*/ 121082 h 231933"/>
                    <a:gd name="connsiteX242" fmla="*/ 92392 w 299770"/>
                    <a:gd name="connsiteY242" fmla="*/ 120425 h 231933"/>
                    <a:gd name="connsiteX243" fmla="*/ 93116 w 299770"/>
                    <a:gd name="connsiteY243" fmla="*/ 120148 h 231933"/>
                    <a:gd name="connsiteX244" fmla="*/ 95917 w 299770"/>
                    <a:gd name="connsiteY244" fmla="*/ 118186 h 231933"/>
                    <a:gd name="connsiteX245" fmla="*/ 100784 w 299770"/>
                    <a:gd name="connsiteY245" fmla="*/ 114548 h 231933"/>
                    <a:gd name="connsiteX246" fmla="*/ 105423 w 299770"/>
                    <a:gd name="connsiteY246" fmla="*/ 110776 h 231933"/>
                    <a:gd name="connsiteX247" fmla="*/ 109823 w 299770"/>
                    <a:gd name="connsiteY247" fmla="*/ 106899 h 231933"/>
                    <a:gd name="connsiteX248" fmla="*/ 112690 w 299770"/>
                    <a:gd name="connsiteY248" fmla="*/ 104718 h 231933"/>
                    <a:gd name="connsiteX249" fmla="*/ 114024 w 299770"/>
                    <a:gd name="connsiteY249" fmla="*/ 104213 h 231933"/>
                    <a:gd name="connsiteX250" fmla="*/ 115443 w 299770"/>
                    <a:gd name="connsiteY250" fmla="*/ 103032 h 231933"/>
                    <a:gd name="connsiteX251" fmla="*/ 118634 w 299770"/>
                    <a:gd name="connsiteY251" fmla="*/ 99422 h 231933"/>
                    <a:gd name="connsiteX252" fmla="*/ 120444 w 299770"/>
                    <a:gd name="connsiteY252" fmla="*/ 97774 h 231933"/>
                    <a:gd name="connsiteX253" fmla="*/ 121406 w 299770"/>
                    <a:gd name="connsiteY253" fmla="*/ 97145 h 231933"/>
                    <a:gd name="connsiteX254" fmla="*/ 121491 w 299770"/>
                    <a:gd name="connsiteY254" fmla="*/ 97536 h 231933"/>
                    <a:gd name="connsiteX255" fmla="*/ 119825 w 299770"/>
                    <a:gd name="connsiteY255" fmla="*/ 99517 h 231933"/>
                    <a:gd name="connsiteX256" fmla="*/ 118929 w 299770"/>
                    <a:gd name="connsiteY256" fmla="*/ 101165 h 231933"/>
                    <a:gd name="connsiteX257" fmla="*/ 118291 w 299770"/>
                    <a:gd name="connsiteY257" fmla="*/ 103260 h 231933"/>
                    <a:gd name="connsiteX258" fmla="*/ 118872 w 299770"/>
                    <a:gd name="connsiteY258" fmla="*/ 103984 h 231933"/>
                    <a:gd name="connsiteX259" fmla="*/ 120672 w 299770"/>
                    <a:gd name="connsiteY259" fmla="*/ 103327 h 231933"/>
                    <a:gd name="connsiteX260" fmla="*/ 122653 w 299770"/>
                    <a:gd name="connsiteY260" fmla="*/ 101946 h 231933"/>
                    <a:gd name="connsiteX261" fmla="*/ 124844 w 299770"/>
                    <a:gd name="connsiteY261" fmla="*/ 99831 h 231933"/>
                    <a:gd name="connsiteX262" fmla="*/ 126521 w 299770"/>
                    <a:gd name="connsiteY262" fmla="*/ 98955 h 231933"/>
                    <a:gd name="connsiteX263" fmla="*/ 127683 w 299770"/>
                    <a:gd name="connsiteY263" fmla="*/ 99317 h 231933"/>
                    <a:gd name="connsiteX264" fmla="*/ 128883 w 299770"/>
                    <a:gd name="connsiteY264" fmla="*/ 99184 h 231933"/>
                    <a:gd name="connsiteX265" fmla="*/ 130112 w 299770"/>
                    <a:gd name="connsiteY265" fmla="*/ 98555 h 231933"/>
                    <a:gd name="connsiteX266" fmla="*/ 131988 w 299770"/>
                    <a:gd name="connsiteY266" fmla="*/ 98241 h 231933"/>
                    <a:gd name="connsiteX267" fmla="*/ 131874 w 299770"/>
                    <a:gd name="connsiteY267" fmla="*/ 99031 h 231933"/>
                    <a:gd name="connsiteX268" fmla="*/ 130797 w 299770"/>
                    <a:gd name="connsiteY268" fmla="*/ 100632 h 231933"/>
                    <a:gd name="connsiteX269" fmla="*/ 129835 w 299770"/>
                    <a:gd name="connsiteY269" fmla="*/ 101413 h 231933"/>
                    <a:gd name="connsiteX270" fmla="*/ 128997 w 299770"/>
                    <a:gd name="connsiteY270" fmla="*/ 101356 h 231933"/>
                    <a:gd name="connsiteX271" fmla="*/ 127540 w 299770"/>
                    <a:gd name="connsiteY271" fmla="*/ 102203 h 231933"/>
                    <a:gd name="connsiteX272" fmla="*/ 125473 w 299770"/>
                    <a:gd name="connsiteY272" fmla="*/ 103946 h 231933"/>
                    <a:gd name="connsiteX273" fmla="*/ 124768 w 299770"/>
                    <a:gd name="connsiteY273" fmla="*/ 105337 h 231933"/>
                    <a:gd name="connsiteX274" fmla="*/ 125416 w 299770"/>
                    <a:gd name="connsiteY274" fmla="*/ 106375 h 231933"/>
                    <a:gd name="connsiteX275" fmla="*/ 125997 w 299770"/>
                    <a:gd name="connsiteY275" fmla="*/ 106423 h 231933"/>
                    <a:gd name="connsiteX276" fmla="*/ 126483 w 299770"/>
                    <a:gd name="connsiteY276" fmla="*/ 105499 h 231933"/>
                    <a:gd name="connsiteX277" fmla="*/ 127549 w 299770"/>
                    <a:gd name="connsiteY277" fmla="*/ 104565 h 231933"/>
                    <a:gd name="connsiteX278" fmla="*/ 130264 w 299770"/>
                    <a:gd name="connsiteY278" fmla="*/ 102870 h 231933"/>
                    <a:gd name="connsiteX279" fmla="*/ 130731 w 299770"/>
                    <a:gd name="connsiteY279" fmla="*/ 102318 h 231933"/>
                    <a:gd name="connsiteX280" fmla="*/ 134960 w 299770"/>
                    <a:gd name="connsiteY280" fmla="*/ 100822 h 231933"/>
                    <a:gd name="connsiteX281" fmla="*/ 136770 w 299770"/>
                    <a:gd name="connsiteY281" fmla="*/ 99860 h 231933"/>
                    <a:gd name="connsiteX282" fmla="*/ 137713 w 299770"/>
                    <a:gd name="connsiteY282" fmla="*/ 98774 h 231933"/>
                    <a:gd name="connsiteX283" fmla="*/ 140684 w 299770"/>
                    <a:gd name="connsiteY283" fmla="*/ 96536 h 231933"/>
                    <a:gd name="connsiteX284" fmla="*/ 142751 w 299770"/>
                    <a:gd name="connsiteY284" fmla="*/ 95821 h 231933"/>
                    <a:gd name="connsiteX285" fmla="*/ 145199 w 299770"/>
                    <a:gd name="connsiteY285" fmla="*/ 95517 h 231933"/>
                    <a:gd name="connsiteX286" fmla="*/ 147323 w 299770"/>
                    <a:gd name="connsiteY286" fmla="*/ 95717 h 231933"/>
                    <a:gd name="connsiteX287" fmla="*/ 149095 w 299770"/>
                    <a:gd name="connsiteY287" fmla="*/ 96412 h 231933"/>
                    <a:gd name="connsiteX288" fmla="*/ 150314 w 299770"/>
                    <a:gd name="connsiteY288" fmla="*/ 96402 h 231933"/>
                    <a:gd name="connsiteX289" fmla="*/ 151000 w 299770"/>
                    <a:gd name="connsiteY289" fmla="*/ 95669 h 231933"/>
                    <a:gd name="connsiteX290" fmla="*/ 153095 w 299770"/>
                    <a:gd name="connsiteY290" fmla="*/ 95183 h 231933"/>
                    <a:gd name="connsiteX291" fmla="*/ 156610 w 299770"/>
                    <a:gd name="connsiteY291" fmla="*/ 94936 h 231933"/>
                    <a:gd name="connsiteX292" fmla="*/ 159649 w 299770"/>
                    <a:gd name="connsiteY292" fmla="*/ 93897 h 231933"/>
                    <a:gd name="connsiteX293" fmla="*/ 162211 w 299770"/>
                    <a:gd name="connsiteY293" fmla="*/ 92088 h 231933"/>
                    <a:gd name="connsiteX294" fmla="*/ 164744 w 299770"/>
                    <a:gd name="connsiteY294" fmla="*/ 91164 h 231933"/>
                    <a:gd name="connsiteX295" fmla="*/ 167240 w 299770"/>
                    <a:gd name="connsiteY295" fmla="*/ 91126 h 231933"/>
                    <a:gd name="connsiteX296" fmla="*/ 170250 w 299770"/>
                    <a:gd name="connsiteY296" fmla="*/ 91764 h 231933"/>
                    <a:gd name="connsiteX297" fmla="*/ 173793 w 299770"/>
                    <a:gd name="connsiteY297" fmla="*/ 93097 h 231933"/>
                    <a:gd name="connsiteX298" fmla="*/ 176270 w 299770"/>
                    <a:gd name="connsiteY298" fmla="*/ 94888 h 231933"/>
                    <a:gd name="connsiteX299" fmla="*/ 178889 w 299770"/>
                    <a:gd name="connsiteY299" fmla="*/ 98498 h 231933"/>
                    <a:gd name="connsiteX300" fmla="*/ 179889 w 299770"/>
                    <a:gd name="connsiteY300" fmla="*/ 98869 h 231933"/>
                    <a:gd name="connsiteX301" fmla="*/ 180651 w 299770"/>
                    <a:gd name="connsiteY301" fmla="*/ 98908 h 231933"/>
                    <a:gd name="connsiteX302" fmla="*/ 181185 w 299770"/>
                    <a:gd name="connsiteY302" fmla="*/ 98622 h 231933"/>
                    <a:gd name="connsiteX303" fmla="*/ 181385 w 299770"/>
                    <a:gd name="connsiteY303" fmla="*/ 98279 h 231933"/>
                    <a:gd name="connsiteX304" fmla="*/ 181270 w 299770"/>
                    <a:gd name="connsiteY304" fmla="*/ 97860 h 231933"/>
                    <a:gd name="connsiteX305" fmla="*/ 182299 w 299770"/>
                    <a:gd name="connsiteY305" fmla="*/ 96326 h 231933"/>
                    <a:gd name="connsiteX306" fmla="*/ 182328 w 299770"/>
                    <a:gd name="connsiteY306" fmla="*/ 95888 h 231933"/>
                    <a:gd name="connsiteX307" fmla="*/ 184928 w 299770"/>
                    <a:gd name="connsiteY307" fmla="*/ 93507 h 231933"/>
                    <a:gd name="connsiteX308" fmla="*/ 186404 w 299770"/>
                    <a:gd name="connsiteY308" fmla="*/ 92897 h 231933"/>
                    <a:gd name="connsiteX309" fmla="*/ 187614 w 299770"/>
                    <a:gd name="connsiteY309" fmla="*/ 93116 h 231933"/>
                    <a:gd name="connsiteX310" fmla="*/ 188195 w 299770"/>
                    <a:gd name="connsiteY310" fmla="*/ 93631 h 231933"/>
                    <a:gd name="connsiteX311" fmla="*/ 188119 w 299770"/>
                    <a:gd name="connsiteY311" fmla="*/ 94431 h 231933"/>
                    <a:gd name="connsiteX312" fmla="*/ 188376 w 299770"/>
                    <a:gd name="connsiteY312" fmla="*/ 94717 h 231933"/>
                    <a:gd name="connsiteX313" fmla="*/ 189186 w 299770"/>
                    <a:gd name="connsiteY313" fmla="*/ 94745 h 231933"/>
                    <a:gd name="connsiteX314" fmla="*/ 189586 w 299770"/>
                    <a:gd name="connsiteY314" fmla="*/ 94859 h 231933"/>
                    <a:gd name="connsiteX315" fmla="*/ 189890 w 299770"/>
                    <a:gd name="connsiteY315" fmla="*/ 94793 h 231933"/>
                    <a:gd name="connsiteX316" fmla="*/ 190538 w 299770"/>
                    <a:gd name="connsiteY316" fmla="*/ 94355 h 231933"/>
                    <a:gd name="connsiteX317" fmla="*/ 193272 w 299770"/>
                    <a:gd name="connsiteY317" fmla="*/ 94555 h 231933"/>
                    <a:gd name="connsiteX318" fmla="*/ 202301 w 299770"/>
                    <a:gd name="connsiteY318" fmla="*/ 95755 h 231933"/>
                    <a:gd name="connsiteX319" fmla="*/ 203730 w 299770"/>
                    <a:gd name="connsiteY319" fmla="*/ 95564 h 231933"/>
                    <a:gd name="connsiteX320" fmla="*/ 204702 w 299770"/>
                    <a:gd name="connsiteY320" fmla="*/ 95145 h 231933"/>
                    <a:gd name="connsiteX321" fmla="*/ 205226 w 299770"/>
                    <a:gd name="connsiteY321" fmla="*/ 94498 h 231933"/>
                    <a:gd name="connsiteX322" fmla="*/ 204930 w 299770"/>
                    <a:gd name="connsiteY322" fmla="*/ 93888 h 231933"/>
                    <a:gd name="connsiteX323" fmla="*/ 203083 w 299770"/>
                    <a:gd name="connsiteY323" fmla="*/ 92602 h 231933"/>
                    <a:gd name="connsiteX324" fmla="*/ 202759 w 299770"/>
                    <a:gd name="connsiteY324" fmla="*/ 91764 h 231933"/>
                    <a:gd name="connsiteX325" fmla="*/ 202978 w 299770"/>
                    <a:gd name="connsiteY325" fmla="*/ 90973 h 231933"/>
                    <a:gd name="connsiteX326" fmla="*/ 203740 w 299770"/>
                    <a:gd name="connsiteY326" fmla="*/ 90221 h 231933"/>
                    <a:gd name="connsiteX327" fmla="*/ 203549 w 299770"/>
                    <a:gd name="connsiteY327" fmla="*/ 89545 h 231933"/>
                    <a:gd name="connsiteX328" fmla="*/ 202444 w 299770"/>
                    <a:gd name="connsiteY328" fmla="*/ 88935 h 231933"/>
                    <a:gd name="connsiteX329" fmla="*/ 199377 w 299770"/>
                    <a:gd name="connsiteY329" fmla="*/ 88763 h 231933"/>
                    <a:gd name="connsiteX330" fmla="*/ 199149 w 299770"/>
                    <a:gd name="connsiteY330" fmla="*/ 88144 h 231933"/>
                    <a:gd name="connsiteX331" fmla="*/ 199730 w 299770"/>
                    <a:gd name="connsiteY331" fmla="*/ 87535 h 231933"/>
                    <a:gd name="connsiteX332" fmla="*/ 201063 w 299770"/>
                    <a:gd name="connsiteY332" fmla="*/ 86763 h 231933"/>
                    <a:gd name="connsiteX333" fmla="*/ 201711 w 299770"/>
                    <a:gd name="connsiteY333" fmla="*/ 85620 h 231933"/>
                    <a:gd name="connsiteX334" fmla="*/ 201759 w 299770"/>
                    <a:gd name="connsiteY334" fmla="*/ 84973 h 231933"/>
                    <a:gd name="connsiteX335" fmla="*/ 202378 w 299770"/>
                    <a:gd name="connsiteY335" fmla="*/ 83010 h 231933"/>
                    <a:gd name="connsiteX336" fmla="*/ 202397 w 299770"/>
                    <a:gd name="connsiteY336" fmla="*/ 81696 h 231933"/>
                    <a:gd name="connsiteX337" fmla="*/ 202044 w 299770"/>
                    <a:gd name="connsiteY337" fmla="*/ 79753 h 231933"/>
                    <a:gd name="connsiteX338" fmla="*/ 201873 w 299770"/>
                    <a:gd name="connsiteY338" fmla="*/ 79048 h 231933"/>
                    <a:gd name="connsiteX339" fmla="*/ 201282 w 299770"/>
                    <a:gd name="connsiteY339" fmla="*/ 78629 h 231933"/>
                    <a:gd name="connsiteX340" fmla="*/ 200473 w 299770"/>
                    <a:gd name="connsiteY340" fmla="*/ 78715 h 231933"/>
                    <a:gd name="connsiteX341" fmla="*/ 199282 w 299770"/>
                    <a:gd name="connsiteY341" fmla="*/ 79076 h 231933"/>
                    <a:gd name="connsiteX342" fmla="*/ 197691 w 299770"/>
                    <a:gd name="connsiteY342" fmla="*/ 79915 h 231933"/>
                    <a:gd name="connsiteX343" fmla="*/ 195586 w 299770"/>
                    <a:gd name="connsiteY343" fmla="*/ 80801 h 231933"/>
                    <a:gd name="connsiteX344" fmla="*/ 194024 w 299770"/>
                    <a:gd name="connsiteY344" fmla="*/ 80581 h 231933"/>
                    <a:gd name="connsiteX345" fmla="*/ 193529 w 299770"/>
                    <a:gd name="connsiteY345" fmla="*/ 79353 h 231933"/>
                    <a:gd name="connsiteX346" fmla="*/ 192005 w 299770"/>
                    <a:gd name="connsiteY346" fmla="*/ 79086 h 231933"/>
                    <a:gd name="connsiteX347" fmla="*/ 189462 w 299770"/>
                    <a:gd name="connsiteY347" fmla="*/ 79791 h 231933"/>
                    <a:gd name="connsiteX348" fmla="*/ 187547 w 299770"/>
                    <a:gd name="connsiteY348" fmla="*/ 79762 h 231933"/>
                    <a:gd name="connsiteX349" fmla="*/ 186290 w 299770"/>
                    <a:gd name="connsiteY349" fmla="*/ 78991 h 231933"/>
                    <a:gd name="connsiteX350" fmla="*/ 183299 w 299770"/>
                    <a:gd name="connsiteY350" fmla="*/ 78619 h 231933"/>
                    <a:gd name="connsiteX351" fmla="*/ 183232 w 299770"/>
                    <a:gd name="connsiteY351" fmla="*/ 78038 h 231933"/>
                    <a:gd name="connsiteX352" fmla="*/ 183614 w 299770"/>
                    <a:gd name="connsiteY352" fmla="*/ 77438 h 231933"/>
                    <a:gd name="connsiteX353" fmla="*/ 184461 w 299770"/>
                    <a:gd name="connsiteY353" fmla="*/ 76800 h 231933"/>
                    <a:gd name="connsiteX354" fmla="*/ 185557 w 299770"/>
                    <a:gd name="connsiteY354" fmla="*/ 75295 h 231933"/>
                    <a:gd name="connsiteX355" fmla="*/ 186900 w 299770"/>
                    <a:gd name="connsiteY355" fmla="*/ 72914 h 231933"/>
                    <a:gd name="connsiteX356" fmla="*/ 188243 w 299770"/>
                    <a:gd name="connsiteY356" fmla="*/ 71237 h 231933"/>
                    <a:gd name="connsiteX357" fmla="*/ 189576 w 299770"/>
                    <a:gd name="connsiteY357" fmla="*/ 70256 h 231933"/>
                    <a:gd name="connsiteX358" fmla="*/ 188557 w 299770"/>
                    <a:gd name="connsiteY358" fmla="*/ 69856 h 231933"/>
                    <a:gd name="connsiteX359" fmla="*/ 185185 w 299770"/>
                    <a:gd name="connsiteY359" fmla="*/ 70028 h 231933"/>
                    <a:gd name="connsiteX360" fmla="*/ 180975 w 299770"/>
                    <a:gd name="connsiteY360" fmla="*/ 70837 h 231933"/>
                    <a:gd name="connsiteX361" fmla="*/ 175927 w 299770"/>
                    <a:gd name="connsiteY361" fmla="*/ 72276 h 231933"/>
                    <a:gd name="connsiteX362" fmla="*/ 171012 w 299770"/>
                    <a:gd name="connsiteY362" fmla="*/ 72781 h 231933"/>
                    <a:gd name="connsiteX363" fmla="*/ 166240 w 299770"/>
                    <a:gd name="connsiteY363" fmla="*/ 72352 h 231933"/>
                    <a:gd name="connsiteX364" fmla="*/ 162430 w 299770"/>
                    <a:gd name="connsiteY364" fmla="*/ 72419 h 231933"/>
                    <a:gd name="connsiteX365" fmla="*/ 157848 w 299770"/>
                    <a:gd name="connsiteY365" fmla="*/ 73142 h 231933"/>
                    <a:gd name="connsiteX366" fmla="*/ 157258 w 299770"/>
                    <a:gd name="connsiteY366" fmla="*/ 72904 h 231933"/>
                    <a:gd name="connsiteX367" fmla="*/ 154096 w 299770"/>
                    <a:gd name="connsiteY367" fmla="*/ 73866 h 231933"/>
                    <a:gd name="connsiteX368" fmla="*/ 148361 w 299770"/>
                    <a:gd name="connsiteY368" fmla="*/ 76019 h 231933"/>
                    <a:gd name="connsiteX369" fmla="*/ 143856 w 299770"/>
                    <a:gd name="connsiteY369" fmla="*/ 78019 h 231933"/>
                    <a:gd name="connsiteX370" fmla="*/ 139789 w 299770"/>
                    <a:gd name="connsiteY370" fmla="*/ 80267 h 231933"/>
                    <a:gd name="connsiteX371" fmla="*/ 139341 w 299770"/>
                    <a:gd name="connsiteY371" fmla="*/ 80286 h 231933"/>
                    <a:gd name="connsiteX372" fmla="*/ 138941 w 299770"/>
                    <a:gd name="connsiteY372" fmla="*/ 79791 h 231933"/>
                    <a:gd name="connsiteX373" fmla="*/ 137893 w 299770"/>
                    <a:gd name="connsiteY373" fmla="*/ 79096 h 231933"/>
                    <a:gd name="connsiteX374" fmla="*/ 136379 w 299770"/>
                    <a:gd name="connsiteY374" fmla="*/ 79076 h 231933"/>
                    <a:gd name="connsiteX375" fmla="*/ 134398 w 299770"/>
                    <a:gd name="connsiteY375" fmla="*/ 79734 h 231933"/>
                    <a:gd name="connsiteX376" fmla="*/ 132979 w 299770"/>
                    <a:gd name="connsiteY376" fmla="*/ 79324 h 231933"/>
                    <a:gd name="connsiteX377" fmla="*/ 132112 w 299770"/>
                    <a:gd name="connsiteY377" fmla="*/ 77848 h 231933"/>
                    <a:gd name="connsiteX378" fmla="*/ 130816 w 299770"/>
                    <a:gd name="connsiteY378" fmla="*/ 77429 h 231933"/>
                    <a:gd name="connsiteX379" fmla="*/ 129092 w 299770"/>
                    <a:gd name="connsiteY379" fmla="*/ 78076 h 231933"/>
                    <a:gd name="connsiteX380" fmla="*/ 126673 w 299770"/>
                    <a:gd name="connsiteY380" fmla="*/ 78362 h 231933"/>
                    <a:gd name="connsiteX381" fmla="*/ 121872 w 299770"/>
                    <a:gd name="connsiteY381" fmla="*/ 78019 h 231933"/>
                    <a:gd name="connsiteX382" fmla="*/ 121615 w 299770"/>
                    <a:gd name="connsiteY382" fmla="*/ 77543 h 231933"/>
                    <a:gd name="connsiteX383" fmla="*/ 122053 w 299770"/>
                    <a:gd name="connsiteY383" fmla="*/ 75952 h 231933"/>
                    <a:gd name="connsiteX384" fmla="*/ 121891 w 299770"/>
                    <a:gd name="connsiteY384" fmla="*/ 75257 h 231933"/>
                    <a:gd name="connsiteX385" fmla="*/ 121196 w 299770"/>
                    <a:gd name="connsiteY385" fmla="*/ 74771 h 231933"/>
                    <a:gd name="connsiteX386" fmla="*/ 120625 w 299770"/>
                    <a:gd name="connsiteY386" fmla="*/ 73009 h 231933"/>
                    <a:gd name="connsiteX387" fmla="*/ 119739 w 299770"/>
                    <a:gd name="connsiteY387" fmla="*/ 68504 h 231933"/>
                    <a:gd name="connsiteX388" fmla="*/ 119101 w 299770"/>
                    <a:gd name="connsiteY388" fmla="*/ 67961 h 231933"/>
                    <a:gd name="connsiteX389" fmla="*/ 117100 w 299770"/>
                    <a:gd name="connsiteY389" fmla="*/ 66570 h 231933"/>
                    <a:gd name="connsiteX390" fmla="*/ 114814 w 299770"/>
                    <a:gd name="connsiteY390" fmla="*/ 65942 h 231933"/>
                    <a:gd name="connsiteX391" fmla="*/ 108623 w 299770"/>
                    <a:gd name="connsiteY391" fmla="*/ 65065 h 231933"/>
                    <a:gd name="connsiteX392" fmla="*/ 107528 w 299770"/>
                    <a:gd name="connsiteY392" fmla="*/ 64446 h 231933"/>
                    <a:gd name="connsiteX393" fmla="*/ 106594 w 299770"/>
                    <a:gd name="connsiteY393" fmla="*/ 64570 h 231933"/>
                    <a:gd name="connsiteX394" fmla="*/ 100803 w 299770"/>
                    <a:gd name="connsiteY394" fmla="*/ 67008 h 231933"/>
                    <a:gd name="connsiteX395" fmla="*/ 100327 w 299770"/>
                    <a:gd name="connsiteY395" fmla="*/ 67542 h 231933"/>
                    <a:gd name="connsiteX396" fmla="*/ 99765 w 299770"/>
                    <a:gd name="connsiteY396" fmla="*/ 68056 h 231933"/>
                    <a:gd name="connsiteX397" fmla="*/ 98565 w 299770"/>
                    <a:gd name="connsiteY397" fmla="*/ 68904 h 231933"/>
                    <a:gd name="connsiteX398" fmla="*/ 97765 w 299770"/>
                    <a:gd name="connsiteY398" fmla="*/ 69294 h 231933"/>
                    <a:gd name="connsiteX399" fmla="*/ 97631 w 299770"/>
                    <a:gd name="connsiteY399" fmla="*/ 68894 h 231933"/>
                    <a:gd name="connsiteX400" fmla="*/ 97679 w 299770"/>
                    <a:gd name="connsiteY400" fmla="*/ 68180 h 231933"/>
                    <a:gd name="connsiteX401" fmla="*/ 98622 w 299770"/>
                    <a:gd name="connsiteY401" fmla="*/ 66627 h 231933"/>
                    <a:gd name="connsiteX402" fmla="*/ 100460 w 299770"/>
                    <a:gd name="connsiteY402" fmla="*/ 64208 h 231933"/>
                    <a:gd name="connsiteX403" fmla="*/ 101070 w 299770"/>
                    <a:gd name="connsiteY403" fmla="*/ 62646 h 231933"/>
                    <a:gd name="connsiteX404" fmla="*/ 100470 w 299770"/>
                    <a:gd name="connsiteY404" fmla="*/ 61913 h 231933"/>
                    <a:gd name="connsiteX405" fmla="*/ 100527 w 299770"/>
                    <a:gd name="connsiteY405" fmla="*/ 61046 h 231933"/>
                    <a:gd name="connsiteX406" fmla="*/ 101241 w 299770"/>
                    <a:gd name="connsiteY406" fmla="*/ 60026 h 231933"/>
                    <a:gd name="connsiteX407" fmla="*/ 100975 w 299770"/>
                    <a:gd name="connsiteY407" fmla="*/ 59207 h 231933"/>
                    <a:gd name="connsiteX408" fmla="*/ 99708 w 299770"/>
                    <a:gd name="connsiteY408" fmla="*/ 58588 h 231933"/>
                    <a:gd name="connsiteX409" fmla="*/ 99422 w 299770"/>
                    <a:gd name="connsiteY409" fmla="*/ 57788 h 231933"/>
                    <a:gd name="connsiteX410" fmla="*/ 100098 w 299770"/>
                    <a:gd name="connsiteY410" fmla="*/ 56788 h 231933"/>
                    <a:gd name="connsiteX411" fmla="*/ 100336 w 299770"/>
                    <a:gd name="connsiteY411" fmla="*/ 56102 h 231933"/>
                    <a:gd name="connsiteX412" fmla="*/ 100117 w 299770"/>
                    <a:gd name="connsiteY412" fmla="*/ 55731 h 231933"/>
                    <a:gd name="connsiteX413" fmla="*/ 97946 w 299770"/>
                    <a:gd name="connsiteY413" fmla="*/ 56521 h 231933"/>
                    <a:gd name="connsiteX414" fmla="*/ 93821 w 299770"/>
                    <a:gd name="connsiteY414" fmla="*/ 58445 h 231933"/>
                    <a:gd name="connsiteX415" fmla="*/ 90792 w 299770"/>
                    <a:gd name="connsiteY415" fmla="*/ 60169 h 231933"/>
                    <a:gd name="connsiteX416" fmla="*/ 88849 w 299770"/>
                    <a:gd name="connsiteY416" fmla="*/ 61684 h 231933"/>
                    <a:gd name="connsiteX417" fmla="*/ 86744 w 299770"/>
                    <a:gd name="connsiteY417" fmla="*/ 62551 h 231933"/>
                    <a:gd name="connsiteX418" fmla="*/ 84477 w 299770"/>
                    <a:gd name="connsiteY418" fmla="*/ 62751 h 231933"/>
                    <a:gd name="connsiteX419" fmla="*/ 82401 w 299770"/>
                    <a:gd name="connsiteY419" fmla="*/ 63398 h 231933"/>
                    <a:gd name="connsiteX420" fmla="*/ 78096 w 299770"/>
                    <a:gd name="connsiteY420" fmla="*/ 65618 h 231933"/>
                    <a:gd name="connsiteX421" fmla="*/ 75171 w 299770"/>
                    <a:gd name="connsiteY421" fmla="*/ 66761 h 231933"/>
                    <a:gd name="connsiteX422" fmla="*/ 70933 w 299770"/>
                    <a:gd name="connsiteY422" fmla="*/ 67599 h 231933"/>
                    <a:gd name="connsiteX423" fmla="*/ 65370 w 299770"/>
                    <a:gd name="connsiteY423" fmla="*/ 68123 h 231933"/>
                    <a:gd name="connsiteX424" fmla="*/ 60160 w 299770"/>
                    <a:gd name="connsiteY424" fmla="*/ 69561 h 231933"/>
                    <a:gd name="connsiteX425" fmla="*/ 55293 w 299770"/>
                    <a:gd name="connsiteY425" fmla="*/ 71923 h 231933"/>
                    <a:gd name="connsiteX426" fmla="*/ 49892 w 299770"/>
                    <a:gd name="connsiteY426" fmla="*/ 73914 h 231933"/>
                    <a:gd name="connsiteX427" fmla="*/ 43967 w 299770"/>
                    <a:gd name="connsiteY427" fmla="*/ 75552 h 231933"/>
                    <a:gd name="connsiteX428" fmla="*/ 40243 w 299770"/>
                    <a:gd name="connsiteY428" fmla="*/ 76133 h 231933"/>
                    <a:gd name="connsiteX429" fmla="*/ 38729 w 299770"/>
                    <a:gd name="connsiteY429" fmla="*/ 75657 h 231933"/>
                    <a:gd name="connsiteX430" fmla="*/ 37176 w 299770"/>
                    <a:gd name="connsiteY430" fmla="*/ 74647 h 231933"/>
                    <a:gd name="connsiteX431" fmla="*/ 35023 w 299770"/>
                    <a:gd name="connsiteY431" fmla="*/ 72838 h 231933"/>
                    <a:gd name="connsiteX432" fmla="*/ 34461 w 299770"/>
                    <a:gd name="connsiteY432" fmla="*/ 73009 h 231933"/>
                    <a:gd name="connsiteX433" fmla="*/ 34499 w 299770"/>
                    <a:gd name="connsiteY433" fmla="*/ 73381 h 231933"/>
                    <a:gd name="connsiteX434" fmla="*/ 34252 w 299770"/>
                    <a:gd name="connsiteY434" fmla="*/ 73695 h 231933"/>
                    <a:gd name="connsiteX435" fmla="*/ 33366 w 299770"/>
                    <a:gd name="connsiteY435" fmla="*/ 74209 h 231933"/>
                    <a:gd name="connsiteX436" fmla="*/ 28518 w 299770"/>
                    <a:gd name="connsiteY436" fmla="*/ 75552 h 231933"/>
                    <a:gd name="connsiteX437" fmla="*/ 28270 w 299770"/>
                    <a:gd name="connsiteY437" fmla="*/ 75047 h 231933"/>
                    <a:gd name="connsiteX438" fmla="*/ 30851 w 299770"/>
                    <a:gd name="connsiteY438" fmla="*/ 73209 h 231933"/>
                    <a:gd name="connsiteX439" fmla="*/ 32242 w 299770"/>
                    <a:gd name="connsiteY439" fmla="*/ 71847 h 231933"/>
                    <a:gd name="connsiteX440" fmla="*/ 32928 w 299770"/>
                    <a:gd name="connsiteY440" fmla="*/ 70590 h 231933"/>
                    <a:gd name="connsiteX441" fmla="*/ 34499 w 299770"/>
                    <a:gd name="connsiteY441" fmla="*/ 69037 h 231933"/>
                    <a:gd name="connsiteX442" fmla="*/ 36947 w 299770"/>
                    <a:gd name="connsiteY442" fmla="*/ 67199 h 231933"/>
                    <a:gd name="connsiteX443" fmla="*/ 38176 w 299770"/>
                    <a:gd name="connsiteY443" fmla="*/ 65951 h 231933"/>
                    <a:gd name="connsiteX444" fmla="*/ 38195 w 299770"/>
                    <a:gd name="connsiteY444" fmla="*/ 65294 h 231933"/>
                    <a:gd name="connsiteX445" fmla="*/ 37271 w 299770"/>
                    <a:gd name="connsiteY445" fmla="*/ 64237 h 231933"/>
                    <a:gd name="connsiteX446" fmla="*/ 36071 w 299770"/>
                    <a:gd name="connsiteY446" fmla="*/ 64160 h 231933"/>
                    <a:gd name="connsiteX447" fmla="*/ 34290 w 299770"/>
                    <a:gd name="connsiteY447" fmla="*/ 64513 h 231933"/>
                    <a:gd name="connsiteX448" fmla="*/ 27918 w 299770"/>
                    <a:gd name="connsiteY448" fmla="*/ 67227 h 231933"/>
                    <a:gd name="connsiteX449" fmla="*/ 27556 w 299770"/>
                    <a:gd name="connsiteY449" fmla="*/ 67027 h 231933"/>
                    <a:gd name="connsiteX450" fmla="*/ 26270 w 299770"/>
                    <a:gd name="connsiteY450" fmla="*/ 66589 h 231933"/>
                    <a:gd name="connsiteX451" fmla="*/ 25851 w 299770"/>
                    <a:gd name="connsiteY451" fmla="*/ 66665 h 231933"/>
                    <a:gd name="connsiteX452" fmla="*/ 20784 w 299770"/>
                    <a:gd name="connsiteY452" fmla="*/ 69018 h 231933"/>
                    <a:gd name="connsiteX453" fmla="*/ 16202 w 299770"/>
                    <a:gd name="connsiteY453" fmla="*/ 70428 h 231933"/>
                    <a:gd name="connsiteX454" fmla="*/ 6096 w 299770"/>
                    <a:gd name="connsiteY454" fmla="*/ 72438 h 231933"/>
                    <a:gd name="connsiteX455" fmla="*/ 3696 w 299770"/>
                    <a:gd name="connsiteY455" fmla="*/ 72676 h 231933"/>
                    <a:gd name="connsiteX456" fmla="*/ 2019 w 299770"/>
                    <a:gd name="connsiteY456" fmla="*/ 72533 h 231933"/>
                    <a:gd name="connsiteX457" fmla="*/ 429 w 299770"/>
                    <a:gd name="connsiteY457" fmla="*/ 71361 h 231933"/>
                    <a:gd name="connsiteX458" fmla="*/ 0 w 299770"/>
                    <a:gd name="connsiteY458" fmla="*/ 70561 h 231933"/>
                    <a:gd name="connsiteX459" fmla="*/ 591 w 299770"/>
                    <a:gd name="connsiteY459" fmla="*/ 69694 h 231933"/>
                    <a:gd name="connsiteX460" fmla="*/ 2181 w 299770"/>
                    <a:gd name="connsiteY460" fmla="*/ 68761 h 231933"/>
                    <a:gd name="connsiteX461" fmla="*/ 17555 w 299770"/>
                    <a:gd name="connsiteY461" fmla="*/ 61484 h 231933"/>
                    <a:gd name="connsiteX462" fmla="*/ 27441 w 299770"/>
                    <a:gd name="connsiteY462" fmla="*/ 56293 h 231933"/>
                    <a:gd name="connsiteX463" fmla="*/ 44482 w 299770"/>
                    <a:gd name="connsiteY463" fmla="*/ 46558 h 231933"/>
                    <a:gd name="connsiteX464" fmla="*/ 48530 w 299770"/>
                    <a:gd name="connsiteY464" fmla="*/ 44625 h 231933"/>
                    <a:gd name="connsiteX465" fmla="*/ 56988 w 299770"/>
                    <a:gd name="connsiteY465" fmla="*/ 41386 h 231933"/>
                    <a:gd name="connsiteX466" fmla="*/ 69342 w 299770"/>
                    <a:gd name="connsiteY466" fmla="*/ 38281 h 231933"/>
                    <a:gd name="connsiteX467" fmla="*/ 75543 w 299770"/>
                    <a:gd name="connsiteY467" fmla="*/ 36557 h 231933"/>
                    <a:gd name="connsiteX468" fmla="*/ 81134 w 299770"/>
                    <a:gd name="connsiteY468" fmla="*/ 34681 h 231933"/>
                    <a:gd name="connsiteX469" fmla="*/ 84858 w 299770"/>
                    <a:gd name="connsiteY469" fmla="*/ 33233 h 231933"/>
                    <a:gd name="connsiteX470" fmla="*/ 86687 w 299770"/>
                    <a:gd name="connsiteY470" fmla="*/ 32223 h 231933"/>
                    <a:gd name="connsiteX471" fmla="*/ 87963 w 299770"/>
                    <a:gd name="connsiteY471" fmla="*/ 31756 h 231933"/>
                    <a:gd name="connsiteX472" fmla="*/ 88687 w 299770"/>
                    <a:gd name="connsiteY472" fmla="*/ 31823 h 231933"/>
                    <a:gd name="connsiteX473" fmla="*/ 90583 w 299770"/>
                    <a:gd name="connsiteY473" fmla="*/ 31147 h 231933"/>
                    <a:gd name="connsiteX474" fmla="*/ 94602 w 299770"/>
                    <a:gd name="connsiteY474" fmla="*/ 28651 h 231933"/>
                    <a:gd name="connsiteX475" fmla="*/ 95012 w 299770"/>
                    <a:gd name="connsiteY475" fmla="*/ 28451 h 231933"/>
                    <a:gd name="connsiteX476" fmla="*/ 97860 w 299770"/>
                    <a:gd name="connsiteY476" fmla="*/ 27746 h 231933"/>
                    <a:gd name="connsiteX477" fmla="*/ 99346 w 299770"/>
                    <a:gd name="connsiteY477" fmla="*/ 26556 h 231933"/>
                    <a:gd name="connsiteX478" fmla="*/ 100660 w 299770"/>
                    <a:gd name="connsiteY478" fmla="*/ 25127 h 231933"/>
                    <a:gd name="connsiteX479" fmla="*/ 103203 w 299770"/>
                    <a:gd name="connsiteY479" fmla="*/ 22746 h 231933"/>
                    <a:gd name="connsiteX480" fmla="*/ 104584 w 299770"/>
                    <a:gd name="connsiteY480" fmla="*/ 21765 h 231933"/>
                    <a:gd name="connsiteX481" fmla="*/ 105404 w 299770"/>
                    <a:gd name="connsiteY481" fmla="*/ 20688 h 231933"/>
                    <a:gd name="connsiteX482" fmla="*/ 105689 w 299770"/>
                    <a:gd name="connsiteY482" fmla="*/ 19507 h 231933"/>
                    <a:gd name="connsiteX483" fmla="*/ 106451 w 299770"/>
                    <a:gd name="connsiteY483" fmla="*/ 18393 h 231933"/>
                    <a:gd name="connsiteX484" fmla="*/ 107699 w 299770"/>
                    <a:gd name="connsiteY484" fmla="*/ 17345 h 231933"/>
                    <a:gd name="connsiteX485" fmla="*/ 111547 w 299770"/>
                    <a:gd name="connsiteY485" fmla="*/ 15869 h 231933"/>
                    <a:gd name="connsiteX486" fmla="*/ 121272 w 299770"/>
                    <a:gd name="connsiteY486" fmla="*/ 13183 h 231933"/>
                    <a:gd name="connsiteX487" fmla="*/ 121358 w 299770"/>
                    <a:gd name="connsiteY487" fmla="*/ 13516 h 231933"/>
                    <a:gd name="connsiteX488" fmla="*/ 118729 w 299770"/>
                    <a:gd name="connsiteY488" fmla="*/ 15592 h 231933"/>
                    <a:gd name="connsiteX489" fmla="*/ 114919 w 299770"/>
                    <a:gd name="connsiteY489" fmla="*/ 19526 h 231933"/>
                    <a:gd name="connsiteX490" fmla="*/ 114329 w 299770"/>
                    <a:gd name="connsiteY490" fmla="*/ 19631 h 231933"/>
                    <a:gd name="connsiteX491" fmla="*/ 113557 w 299770"/>
                    <a:gd name="connsiteY491" fmla="*/ 20117 h 231933"/>
                    <a:gd name="connsiteX492" fmla="*/ 112605 w 299770"/>
                    <a:gd name="connsiteY492" fmla="*/ 20974 h 231933"/>
                    <a:gd name="connsiteX493" fmla="*/ 113795 w 299770"/>
                    <a:gd name="connsiteY493" fmla="*/ 20917 h 231933"/>
                    <a:gd name="connsiteX494" fmla="*/ 117129 w 299770"/>
                    <a:gd name="connsiteY494" fmla="*/ 19936 h 231933"/>
                    <a:gd name="connsiteX495" fmla="*/ 118691 w 299770"/>
                    <a:gd name="connsiteY495" fmla="*/ 19441 h 231933"/>
                    <a:gd name="connsiteX496" fmla="*/ 119577 w 299770"/>
                    <a:gd name="connsiteY496" fmla="*/ 18478 h 231933"/>
                    <a:gd name="connsiteX497" fmla="*/ 121120 w 299770"/>
                    <a:gd name="connsiteY497" fmla="*/ 16545 h 231933"/>
                    <a:gd name="connsiteX498" fmla="*/ 122330 w 299770"/>
                    <a:gd name="connsiteY498" fmla="*/ 15469 h 231933"/>
                    <a:gd name="connsiteX499" fmla="*/ 123215 w 299770"/>
                    <a:gd name="connsiteY499" fmla="*/ 15269 h 231933"/>
                    <a:gd name="connsiteX500" fmla="*/ 124254 w 299770"/>
                    <a:gd name="connsiteY500" fmla="*/ 14335 h 231933"/>
                    <a:gd name="connsiteX501" fmla="*/ 125463 w 299770"/>
                    <a:gd name="connsiteY501" fmla="*/ 12687 h 231933"/>
                    <a:gd name="connsiteX502" fmla="*/ 126644 w 299770"/>
                    <a:gd name="connsiteY502" fmla="*/ 11697 h 231933"/>
                    <a:gd name="connsiteX503" fmla="*/ 127787 w 299770"/>
                    <a:gd name="connsiteY503" fmla="*/ 11382 h 231933"/>
                    <a:gd name="connsiteX504" fmla="*/ 128530 w 299770"/>
                    <a:gd name="connsiteY504" fmla="*/ 10801 h 231933"/>
                    <a:gd name="connsiteX505" fmla="*/ 128940 w 299770"/>
                    <a:gd name="connsiteY505" fmla="*/ 9992 h 231933"/>
                    <a:gd name="connsiteX506" fmla="*/ 130454 w 299770"/>
                    <a:gd name="connsiteY506" fmla="*/ 7810 h 231933"/>
                    <a:gd name="connsiteX507" fmla="*/ 131245 w 299770"/>
                    <a:gd name="connsiteY507" fmla="*/ 6791 h 231933"/>
                    <a:gd name="connsiteX508" fmla="*/ 132959 w 299770"/>
                    <a:gd name="connsiteY508" fmla="*/ 5296 h 231933"/>
                    <a:gd name="connsiteX509" fmla="*/ 134407 w 299770"/>
                    <a:gd name="connsiteY509" fmla="*/ 4839 h 231933"/>
                    <a:gd name="connsiteX510" fmla="*/ 135979 w 299770"/>
                    <a:gd name="connsiteY510" fmla="*/ 4934 h 231933"/>
                    <a:gd name="connsiteX511" fmla="*/ 136655 w 299770"/>
                    <a:gd name="connsiteY511" fmla="*/ 5696 h 231933"/>
                    <a:gd name="connsiteX512" fmla="*/ 136446 w 299770"/>
                    <a:gd name="connsiteY512" fmla="*/ 7115 h 231933"/>
                    <a:gd name="connsiteX513" fmla="*/ 135931 w 299770"/>
                    <a:gd name="connsiteY513" fmla="*/ 8287 h 231933"/>
                    <a:gd name="connsiteX514" fmla="*/ 135122 w 299770"/>
                    <a:gd name="connsiteY514" fmla="*/ 9220 h 231933"/>
                    <a:gd name="connsiteX515" fmla="*/ 132569 w 299770"/>
                    <a:gd name="connsiteY515" fmla="*/ 10897 h 231933"/>
                    <a:gd name="connsiteX516" fmla="*/ 125721 w 299770"/>
                    <a:gd name="connsiteY516" fmla="*/ 14916 h 231933"/>
                    <a:gd name="connsiteX517" fmla="*/ 124597 w 299770"/>
                    <a:gd name="connsiteY517" fmla="*/ 16040 h 231933"/>
                    <a:gd name="connsiteX518" fmla="*/ 124654 w 299770"/>
                    <a:gd name="connsiteY518" fmla="*/ 16621 h 231933"/>
                    <a:gd name="connsiteX519" fmla="*/ 124425 w 299770"/>
                    <a:gd name="connsiteY519" fmla="*/ 17478 h 231933"/>
                    <a:gd name="connsiteX520" fmla="*/ 124901 w 299770"/>
                    <a:gd name="connsiteY520" fmla="*/ 17583 h 231933"/>
                    <a:gd name="connsiteX521" fmla="*/ 126330 w 299770"/>
                    <a:gd name="connsiteY521" fmla="*/ 16840 h 231933"/>
                    <a:gd name="connsiteX522" fmla="*/ 127140 w 299770"/>
                    <a:gd name="connsiteY522" fmla="*/ 16173 h 231933"/>
                    <a:gd name="connsiteX523" fmla="*/ 127340 w 299770"/>
                    <a:gd name="connsiteY523" fmla="*/ 15592 h 231933"/>
                    <a:gd name="connsiteX524" fmla="*/ 128140 w 299770"/>
                    <a:gd name="connsiteY524" fmla="*/ 14830 h 231933"/>
                    <a:gd name="connsiteX525" fmla="*/ 129521 w 299770"/>
                    <a:gd name="connsiteY525" fmla="*/ 13887 h 231933"/>
                    <a:gd name="connsiteX526" fmla="*/ 130340 w 299770"/>
                    <a:gd name="connsiteY526" fmla="*/ 13621 h 231933"/>
                    <a:gd name="connsiteX527" fmla="*/ 130616 w 299770"/>
                    <a:gd name="connsiteY527" fmla="*/ 13992 h 231933"/>
                    <a:gd name="connsiteX528" fmla="*/ 131521 w 299770"/>
                    <a:gd name="connsiteY528" fmla="*/ 13830 h 231933"/>
                    <a:gd name="connsiteX529" fmla="*/ 133055 w 299770"/>
                    <a:gd name="connsiteY529" fmla="*/ 13135 h 231933"/>
                    <a:gd name="connsiteX530" fmla="*/ 135293 w 299770"/>
                    <a:gd name="connsiteY530" fmla="*/ 12773 h 231933"/>
                    <a:gd name="connsiteX531" fmla="*/ 135693 w 299770"/>
                    <a:gd name="connsiteY531" fmla="*/ 12744 h 231933"/>
                    <a:gd name="connsiteX532" fmla="*/ 139732 w 299770"/>
                    <a:gd name="connsiteY532" fmla="*/ 10039 h 231933"/>
                    <a:gd name="connsiteX533" fmla="*/ 141408 w 299770"/>
                    <a:gd name="connsiteY533" fmla="*/ 8458 h 231933"/>
                    <a:gd name="connsiteX534" fmla="*/ 142199 w 299770"/>
                    <a:gd name="connsiteY534" fmla="*/ 7096 h 231933"/>
                    <a:gd name="connsiteX535" fmla="*/ 142008 w 299770"/>
                    <a:gd name="connsiteY535" fmla="*/ 5686 h 231933"/>
                    <a:gd name="connsiteX536" fmla="*/ 140837 w 299770"/>
                    <a:gd name="connsiteY536" fmla="*/ 4229 h 231933"/>
                    <a:gd name="connsiteX537" fmla="*/ 141170 w 299770"/>
                    <a:gd name="connsiteY537" fmla="*/ 2657 h 231933"/>
                    <a:gd name="connsiteX538" fmla="*/ 141570 w 299770"/>
                    <a:gd name="connsiteY538" fmla="*/ 1867 h 231933"/>
                    <a:gd name="connsiteX539" fmla="*/ 141761 w 299770"/>
                    <a:gd name="connsiteY539" fmla="*/ 876 h 231933"/>
                    <a:gd name="connsiteX540" fmla="*/ 142399 w 299770"/>
                    <a:gd name="connsiteY540" fmla="*/ 505 h 231933"/>
                    <a:gd name="connsiteX541" fmla="*/ 143485 w 299770"/>
                    <a:gd name="connsiteY541" fmla="*/ 752 h 231933"/>
                    <a:gd name="connsiteX542" fmla="*/ 144590 w 299770"/>
                    <a:gd name="connsiteY542" fmla="*/ 629 h 231933"/>
                    <a:gd name="connsiteX543" fmla="*/ 145742 w 299770"/>
                    <a:gd name="connsiteY543" fmla="*/ 105 h 231933"/>
                    <a:gd name="connsiteX544" fmla="*/ 147323 w 299770"/>
                    <a:gd name="connsiteY544" fmla="*/ 0 h 231933"/>
                    <a:gd name="connsiteX545" fmla="*/ 148514 w 299770"/>
                    <a:gd name="connsiteY545" fmla="*/ 86 h 231933"/>
                    <a:gd name="connsiteX546" fmla="*/ 149266 w 299770"/>
                    <a:gd name="connsiteY546" fmla="*/ 1343 h 231933"/>
                    <a:gd name="connsiteX547" fmla="*/ 153905 w 299770"/>
                    <a:gd name="connsiteY547" fmla="*/ 2562 h 231933"/>
                    <a:gd name="connsiteX548" fmla="*/ 155505 w 299770"/>
                    <a:gd name="connsiteY548" fmla="*/ 3210 h 231933"/>
                    <a:gd name="connsiteX549" fmla="*/ 157563 w 299770"/>
                    <a:gd name="connsiteY549" fmla="*/ 3877 h 231933"/>
                    <a:gd name="connsiteX550" fmla="*/ 158058 w 299770"/>
                    <a:gd name="connsiteY550" fmla="*/ 4096 h 231933"/>
                    <a:gd name="connsiteX551" fmla="*/ 158058 w 299770"/>
                    <a:gd name="connsiteY551" fmla="*/ 4810 h 231933"/>
                    <a:gd name="connsiteX552" fmla="*/ 158791 w 299770"/>
                    <a:gd name="connsiteY552" fmla="*/ 5115 h 231933"/>
                    <a:gd name="connsiteX553" fmla="*/ 160249 w 299770"/>
                    <a:gd name="connsiteY553" fmla="*/ 5001 h 231933"/>
                    <a:gd name="connsiteX554" fmla="*/ 161592 w 299770"/>
                    <a:gd name="connsiteY554" fmla="*/ 5239 h 231933"/>
                    <a:gd name="connsiteX555" fmla="*/ 163458 w 299770"/>
                    <a:gd name="connsiteY555" fmla="*/ 6344 h 231933"/>
                    <a:gd name="connsiteX556" fmla="*/ 165325 w 299770"/>
                    <a:gd name="connsiteY556" fmla="*/ 7096 h 231933"/>
                    <a:gd name="connsiteX557" fmla="*/ 169012 w 299770"/>
                    <a:gd name="connsiteY557" fmla="*/ 6991 h 231933"/>
                    <a:gd name="connsiteX558" fmla="*/ 171183 w 299770"/>
                    <a:gd name="connsiteY558" fmla="*/ 6677 h 231933"/>
                    <a:gd name="connsiteX559" fmla="*/ 174050 w 299770"/>
                    <a:gd name="connsiteY559" fmla="*/ 7191 h 231933"/>
                    <a:gd name="connsiteX560" fmla="*/ 175822 w 299770"/>
                    <a:gd name="connsiteY560" fmla="*/ 7191 h 231933"/>
                    <a:gd name="connsiteX561" fmla="*/ 178117 w 299770"/>
                    <a:gd name="connsiteY561" fmla="*/ 6306 h 231933"/>
                    <a:gd name="connsiteX562" fmla="*/ 179784 w 299770"/>
                    <a:gd name="connsiteY562" fmla="*/ 6077 h 231933"/>
                    <a:gd name="connsiteX563" fmla="*/ 180842 w 299770"/>
                    <a:gd name="connsiteY563" fmla="*/ 6496 h 231933"/>
                    <a:gd name="connsiteX564" fmla="*/ 181089 w 299770"/>
                    <a:gd name="connsiteY564" fmla="*/ 7039 h 231933"/>
                    <a:gd name="connsiteX565" fmla="*/ 181699 w 299770"/>
                    <a:gd name="connsiteY565" fmla="*/ 7810 h 231933"/>
                    <a:gd name="connsiteX566" fmla="*/ 185099 w 299770"/>
                    <a:gd name="connsiteY566" fmla="*/ 7439 h 231933"/>
                    <a:gd name="connsiteX567" fmla="*/ 185680 w 299770"/>
                    <a:gd name="connsiteY567" fmla="*/ 7649 h 231933"/>
                    <a:gd name="connsiteX568" fmla="*/ 186147 w 299770"/>
                    <a:gd name="connsiteY568" fmla="*/ 8496 h 231933"/>
                    <a:gd name="connsiteX569" fmla="*/ 185995 w 299770"/>
                    <a:gd name="connsiteY569" fmla="*/ 9039 h 231933"/>
                    <a:gd name="connsiteX570" fmla="*/ 186014 w 299770"/>
                    <a:gd name="connsiteY570" fmla="*/ 9877 h 231933"/>
                    <a:gd name="connsiteX571" fmla="*/ 186319 w 299770"/>
                    <a:gd name="connsiteY571" fmla="*/ 11478 h 231933"/>
                    <a:gd name="connsiteX572" fmla="*/ 186290 w 299770"/>
                    <a:gd name="connsiteY572" fmla="*/ 12030 h 231933"/>
                    <a:gd name="connsiteX573" fmla="*/ 186738 w 299770"/>
                    <a:gd name="connsiteY573" fmla="*/ 12697 h 231933"/>
                    <a:gd name="connsiteX574" fmla="*/ 186538 w 299770"/>
                    <a:gd name="connsiteY574" fmla="*/ 14249 h 231933"/>
                    <a:gd name="connsiteX575" fmla="*/ 185661 w 299770"/>
                    <a:gd name="connsiteY575" fmla="*/ 16707 h 231933"/>
                    <a:gd name="connsiteX576" fmla="*/ 185385 w 299770"/>
                    <a:gd name="connsiteY576" fmla="*/ 18202 h 231933"/>
                    <a:gd name="connsiteX577" fmla="*/ 185709 w 299770"/>
                    <a:gd name="connsiteY577" fmla="*/ 18755 h 231933"/>
                    <a:gd name="connsiteX578" fmla="*/ 185623 w 299770"/>
                    <a:gd name="connsiteY578" fmla="*/ 19383 h 231933"/>
                    <a:gd name="connsiteX579" fmla="*/ 184756 w 299770"/>
                    <a:gd name="connsiteY579" fmla="*/ 21946 h 231933"/>
                    <a:gd name="connsiteX580" fmla="*/ 184547 w 299770"/>
                    <a:gd name="connsiteY580" fmla="*/ 24898 h 231933"/>
                    <a:gd name="connsiteX581" fmla="*/ 185080 w 299770"/>
                    <a:gd name="connsiteY581" fmla="*/ 27775 h 231933"/>
                    <a:gd name="connsiteX582" fmla="*/ 186376 w 299770"/>
                    <a:gd name="connsiteY582" fmla="*/ 30594 h 231933"/>
                    <a:gd name="connsiteX583" fmla="*/ 188909 w 299770"/>
                    <a:gd name="connsiteY583" fmla="*/ 32461 h 231933"/>
                    <a:gd name="connsiteX584" fmla="*/ 192681 w 299770"/>
                    <a:gd name="connsiteY584" fmla="*/ 33385 h 231933"/>
                    <a:gd name="connsiteX585" fmla="*/ 196377 w 299770"/>
                    <a:gd name="connsiteY585" fmla="*/ 33595 h 231933"/>
                    <a:gd name="connsiteX586" fmla="*/ 199996 w 299770"/>
                    <a:gd name="connsiteY586" fmla="*/ 33090 h 231933"/>
                    <a:gd name="connsiteX587" fmla="*/ 204578 w 299770"/>
                    <a:gd name="connsiteY587" fmla="*/ 32814 h 231933"/>
                    <a:gd name="connsiteX588" fmla="*/ 210131 w 299770"/>
                    <a:gd name="connsiteY588" fmla="*/ 32775 h 231933"/>
                    <a:gd name="connsiteX589" fmla="*/ 212817 w 299770"/>
                    <a:gd name="connsiteY589" fmla="*/ 33099 h 231933"/>
                    <a:gd name="connsiteX590" fmla="*/ 212627 w 299770"/>
                    <a:gd name="connsiteY590" fmla="*/ 33785 h 231933"/>
                    <a:gd name="connsiteX591" fmla="*/ 211550 w 299770"/>
                    <a:gd name="connsiteY591" fmla="*/ 34785 h 231933"/>
                    <a:gd name="connsiteX592" fmla="*/ 209579 w 299770"/>
                    <a:gd name="connsiteY592" fmla="*/ 36090 h 231933"/>
                    <a:gd name="connsiteX593" fmla="*/ 208979 w 299770"/>
                    <a:gd name="connsiteY593" fmla="*/ 36938 h 231933"/>
                    <a:gd name="connsiteX594" fmla="*/ 208312 w 299770"/>
                    <a:gd name="connsiteY594" fmla="*/ 38052 h 231933"/>
                    <a:gd name="connsiteX595" fmla="*/ 206483 w 299770"/>
                    <a:gd name="connsiteY595" fmla="*/ 39529 h 231933"/>
                    <a:gd name="connsiteX596" fmla="*/ 205464 w 299770"/>
                    <a:gd name="connsiteY596" fmla="*/ 40415 h 231933"/>
                    <a:gd name="connsiteX597" fmla="*/ 205292 w 299770"/>
                    <a:gd name="connsiteY597" fmla="*/ 41034 h 231933"/>
                    <a:gd name="connsiteX598" fmla="*/ 204540 w 299770"/>
                    <a:gd name="connsiteY598" fmla="*/ 41862 h 231933"/>
                    <a:gd name="connsiteX599" fmla="*/ 203216 w 299770"/>
                    <a:gd name="connsiteY599" fmla="*/ 42901 h 231933"/>
                    <a:gd name="connsiteX600" fmla="*/ 202892 w 299770"/>
                    <a:gd name="connsiteY600" fmla="*/ 44291 h 231933"/>
                    <a:gd name="connsiteX601" fmla="*/ 203578 w 299770"/>
                    <a:gd name="connsiteY601" fmla="*/ 46025 h 231933"/>
                    <a:gd name="connsiteX602" fmla="*/ 204797 w 299770"/>
                    <a:gd name="connsiteY602" fmla="*/ 47425 h 231933"/>
                    <a:gd name="connsiteX603" fmla="*/ 206578 w 299770"/>
                    <a:gd name="connsiteY603" fmla="*/ 48492 h 231933"/>
                    <a:gd name="connsiteX604" fmla="*/ 207445 w 299770"/>
                    <a:gd name="connsiteY604" fmla="*/ 49587 h 231933"/>
                    <a:gd name="connsiteX605" fmla="*/ 207416 w 299770"/>
                    <a:gd name="connsiteY605" fmla="*/ 50730 h 231933"/>
                    <a:gd name="connsiteX606" fmla="*/ 207731 w 299770"/>
                    <a:gd name="connsiteY606" fmla="*/ 51359 h 231933"/>
                    <a:gd name="connsiteX607" fmla="*/ 208397 w 299770"/>
                    <a:gd name="connsiteY607" fmla="*/ 51473 h 231933"/>
                    <a:gd name="connsiteX608" fmla="*/ 208769 w 299770"/>
                    <a:gd name="connsiteY608" fmla="*/ 51997 h 231933"/>
                    <a:gd name="connsiteX609" fmla="*/ 208836 w 299770"/>
                    <a:gd name="connsiteY609" fmla="*/ 52949 h 231933"/>
                    <a:gd name="connsiteX610" fmla="*/ 207302 w 299770"/>
                    <a:gd name="connsiteY610" fmla="*/ 54607 h 231933"/>
                    <a:gd name="connsiteX611" fmla="*/ 204149 w 299770"/>
                    <a:gd name="connsiteY611" fmla="*/ 57007 h 231933"/>
                    <a:gd name="connsiteX612" fmla="*/ 202482 w 299770"/>
                    <a:gd name="connsiteY612" fmla="*/ 58550 h 231933"/>
                    <a:gd name="connsiteX613" fmla="*/ 202292 w 299770"/>
                    <a:gd name="connsiteY613" fmla="*/ 59246 h 231933"/>
                    <a:gd name="connsiteX614" fmla="*/ 199301 w 299770"/>
                    <a:gd name="connsiteY614" fmla="*/ 61865 h 231933"/>
                    <a:gd name="connsiteX615" fmla="*/ 198653 w 299770"/>
                    <a:gd name="connsiteY615" fmla="*/ 62894 h 231933"/>
                    <a:gd name="connsiteX616" fmla="*/ 198920 w 299770"/>
                    <a:gd name="connsiteY616" fmla="*/ 63608 h 231933"/>
                    <a:gd name="connsiteX617" fmla="*/ 200882 w 299770"/>
                    <a:gd name="connsiteY617" fmla="*/ 64627 h 231933"/>
                    <a:gd name="connsiteX618" fmla="*/ 201244 w 299770"/>
                    <a:gd name="connsiteY618" fmla="*/ 65465 h 231933"/>
                    <a:gd name="connsiteX619" fmla="*/ 201835 w 299770"/>
                    <a:gd name="connsiteY619" fmla="*/ 65589 h 231933"/>
                    <a:gd name="connsiteX620" fmla="*/ 202625 w 299770"/>
                    <a:gd name="connsiteY620" fmla="*/ 64999 h 231933"/>
                    <a:gd name="connsiteX621" fmla="*/ 203768 w 299770"/>
                    <a:gd name="connsiteY621" fmla="*/ 64732 h 231933"/>
                    <a:gd name="connsiteX622" fmla="*/ 205245 w 299770"/>
                    <a:gd name="connsiteY622" fmla="*/ 64789 h 231933"/>
                    <a:gd name="connsiteX623" fmla="*/ 206426 w 299770"/>
                    <a:gd name="connsiteY623" fmla="*/ 65199 h 231933"/>
                    <a:gd name="connsiteX624" fmla="*/ 207321 w 299770"/>
                    <a:gd name="connsiteY624" fmla="*/ 65989 h 231933"/>
                    <a:gd name="connsiteX625" fmla="*/ 207350 w 299770"/>
                    <a:gd name="connsiteY625" fmla="*/ 66799 h 231933"/>
                    <a:gd name="connsiteX626" fmla="*/ 206512 w 299770"/>
                    <a:gd name="connsiteY626" fmla="*/ 67637 h 231933"/>
                    <a:gd name="connsiteX627" fmla="*/ 205673 w 299770"/>
                    <a:gd name="connsiteY627" fmla="*/ 67932 h 231933"/>
                    <a:gd name="connsiteX628" fmla="*/ 203702 w 299770"/>
                    <a:gd name="connsiteY628" fmla="*/ 67808 h 231933"/>
                    <a:gd name="connsiteX629" fmla="*/ 202321 w 299770"/>
                    <a:gd name="connsiteY629" fmla="*/ 68237 h 231933"/>
                    <a:gd name="connsiteX630" fmla="*/ 201149 w 299770"/>
                    <a:gd name="connsiteY630" fmla="*/ 69132 h 231933"/>
                    <a:gd name="connsiteX631" fmla="*/ 199663 w 299770"/>
                    <a:gd name="connsiteY631" fmla="*/ 71523 h 231933"/>
                    <a:gd name="connsiteX632" fmla="*/ 199673 w 299770"/>
                    <a:gd name="connsiteY632" fmla="*/ 72542 h 231933"/>
                    <a:gd name="connsiteX633" fmla="*/ 200006 w 299770"/>
                    <a:gd name="connsiteY633" fmla="*/ 72542 h 231933"/>
                    <a:gd name="connsiteX634" fmla="*/ 200720 w 299770"/>
                    <a:gd name="connsiteY634" fmla="*/ 72057 h 231933"/>
                    <a:gd name="connsiteX635" fmla="*/ 201825 w 299770"/>
                    <a:gd name="connsiteY635" fmla="*/ 71095 h 231933"/>
                    <a:gd name="connsiteX636" fmla="*/ 202521 w 299770"/>
                    <a:gd name="connsiteY636" fmla="*/ 70990 h 231933"/>
                    <a:gd name="connsiteX637" fmla="*/ 202806 w 299770"/>
                    <a:gd name="connsiteY637" fmla="*/ 71733 h 231933"/>
                    <a:gd name="connsiteX638" fmla="*/ 201235 w 299770"/>
                    <a:gd name="connsiteY638" fmla="*/ 73276 h 231933"/>
                    <a:gd name="connsiteX639" fmla="*/ 197815 w 299770"/>
                    <a:gd name="connsiteY639" fmla="*/ 75619 h 231933"/>
                    <a:gd name="connsiteX640" fmla="*/ 196863 w 299770"/>
                    <a:gd name="connsiteY640" fmla="*/ 76352 h 231933"/>
                    <a:gd name="connsiteX641" fmla="*/ 196301 w 299770"/>
                    <a:gd name="connsiteY641" fmla="*/ 77400 h 231933"/>
                    <a:gd name="connsiteX642" fmla="*/ 197091 w 299770"/>
                    <a:gd name="connsiteY642" fmla="*/ 79296 h 231933"/>
                    <a:gd name="connsiteX643" fmla="*/ 197853 w 299770"/>
                    <a:gd name="connsiteY643" fmla="*/ 79115 h 231933"/>
                    <a:gd name="connsiteX644" fmla="*/ 198549 w 299770"/>
                    <a:gd name="connsiteY644" fmla="*/ 78648 h 231933"/>
                    <a:gd name="connsiteX645" fmla="*/ 199549 w 299770"/>
                    <a:gd name="connsiteY645" fmla="*/ 78067 h 231933"/>
                    <a:gd name="connsiteX646" fmla="*/ 202063 w 299770"/>
                    <a:gd name="connsiteY646" fmla="*/ 77781 h 231933"/>
                    <a:gd name="connsiteX647" fmla="*/ 205369 w 299770"/>
                    <a:gd name="connsiteY647" fmla="*/ 76972 h 231933"/>
                    <a:gd name="connsiteX648" fmla="*/ 207331 w 299770"/>
                    <a:gd name="connsiteY648" fmla="*/ 76791 h 231933"/>
                    <a:gd name="connsiteX649" fmla="*/ 208197 w 299770"/>
                    <a:gd name="connsiteY649" fmla="*/ 77524 h 231933"/>
                    <a:gd name="connsiteX650" fmla="*/ 208483 w 299770"/>
                    <a:gd name="connsiteY650" fmla="*/ 78543 h 231933"/>
                    <a:gd name="connsiteX651" fmla="*/ 207997 w 299770"/>
                    <a:gd name="connsiteY651" fmla="*/ 79629 h 231933"/>
                    <a:gd name="connsiteX652" fmla="*/ 206702 w 299770"/>
                    <a:gd name="connsiteY652" fmla="*/ 80953 h 231933"/>
                    <a:gd name="connsiteX653" fmla="*/ 206007 w 299770"/>
                    <a:gd name="connsiteY653" fmla="*/ 82124 h 231933"/>
                    <a:gd name="connsiteX654" fmla="*/ 205921 w 299770"/>
                    <a:gd name="connsiteY654" fmla="*/ 83144 h 231933"/>
                    <a:gd name="connsiteX655" fmla="*/ 207178 w 299770"/>
                    <a:gd name="connsiteY655" fmla="*/ 83677 h 231933"/>
                    <a:gd name="connsiteX656" fmla="*/ 209798 w 299770"/>
                    <a:gd name="connsiteY656" fmla="*/ 83734 h 231933"/>
                    <a:gd name="connsiteX657" fmla="*/ 211045 w 299770"/>
                    <a:gd name="connsiteY657" fmla="*/ 84020 h 231933"/>
                    <a:gd name="connsiteX658" fmla="*/ 211093 w 299770"/>
                    <a:gd name="connsiteY658" fmla="*/ 84858 h 231933"/>
                    <a:gd name="connsiteX659" fmla="*/ 211560 w 299770"/>
                    <a:gd name="connsiteY659" fmla="*/ 84992 h 231933"/>
                    <a:gd name="connsiteX660" fmla="*/ 216208 w 299770"/>
                    <a:gd name="connsiteY660" fmla="*/ 85373 h 231933"/>
                    <a:gd name="connsiteX661" fmla="*/ 217818 w 299770"/>
                    <a:gd name="connsiteY661" fmla="*/ 85754 h 231933"/>
                    <a:gd name="connsiteX662" fmla="*/ 218084 w 299770"/>
                    <a:gd name="connsiteY662" fmla="*/ 86296 h 231933"/>
                    <a:gd name="connsiteX663" fmla="*/ 220704 w 299770"/>
                    <a:gd name="connsiteY663" fmla="*/ 87020 h 231933"/>
                    <a:gd name="connsiteX664" fmla="*/ 231324 w 299770"/>
                    <a:gd name="connsiteY664" fmla="*/ 88792 h 231933"/>
                    <a:gd name="connsiteX665" fmla="*/ 234925 w 299770"/>
                    <a:gd name="connsiteY665" fmla="*/ 88573 h 231933"/>
                    <a:gd name="connsiteX666" fmla="*/ 239906 w 299770"/>
                    <a:gd name="connsiteY666" fmla="*/ 87982 h 231933"/>
                    <a:gd name="connsiteX667" fmla="*/ 240878 w 299770"/>
                    <a:gd name="connsiteY667" fmla="*/ 88963 h 231933"/>
                    <a:gd name="connsiteX668" fmla="*/ 241497 w 299770"/>
                    <a:gd name="connsiteY668" fmla="*/ 89078 h 231933"/>
                    <a:gd name="connsiteX669" fmla="*/ 242659 w 299770"/>
                    <a:gd name="connsiteY669" fmla="*/ 88925 h 231933"/>
                    <a:gd name="connsiteX670" fmla="*/ 249526 w 299770"/>
                    <a:gd name="connsiteY670" fmla="*/ 88411 h 231933"/>
                    <a:gd name="connsiteX671" fmla="*/ 249888 w 299770"/>
                    <a:gd name="connsiteY671" fmla="*/ 89373 h 231933"/>
                    <a:gd name="connsiteX672" fmla="*/ 252670 w 299770"/>
                    <a:gd name="connsiteY672" fmla="*/ 90287 h 231933"/>
                    <a:gd name="connsiteX673" fmla="*/ 254765 w 299770"/>
                    <a:gd name="connsiteY673" fmla="*/ 90364 h 231933"/>
                    <a:gd name="connsiteX674" fmla="*/ 257489 w 299770"/>
                    <a:gd name="connsiteY674" fmla="*/ 90459 h 231933"/>
                    <a:gd name="connsiteX675" fmla="*/ 262471 w 299770"/>
                    <a:gd name="connsiteY675" fmla="*/ 90897 h 231933"/>
                    <a:gd name="connsiteX676" fmla="*/ 263557 w 299770"/>
                    <a:gd name="connsiteY676" fmla="*/ 91221 h 231933"/>
                    <a:gd name="connsiteX677" fmla="*/ 263119 w 299770"/>
                    <a:gd name="connsiteY677" fmla="*/ 92259 h 231933"/>
                    <a:gd name="connsiteX678" fmla="*/ 262919 w 299770"/>
                    <a:gd name="connsiteY678" fmla="*/ 92688 h 231933"/>
                    <a:gd name="connsiteX679" fmla="*/ 263309 w 299770"/>
                    <a:gd name="connsiteY679" fmla="*/ 92697 h 231933"/>
                    <a:gd name="connsiteX680" fmla="*/ 264185 w 299770"/>
                    <a:gd name="connsiteY680" fmla="*/ 92202 h 231933"/>
                    <a:gd name="connsiteX681" fmla="*/ 265300 w 299770"/>
                    <a:gd name="connsiteY681" fmla="*/ 92021 h 231933"/>
                    <a:gd name="connsiteX682" fmla="*/ 266252 w 299770"/>
                    <a:gd name="connsiteY682" fmla="*/ 91573 h 231933"/>
                    <a:gd name="connsiteX683" fmla="*/ 267024 w 299770"/>
                    <a:gd name="connsiteY683" fmla="*/ 90869 h 231933"/>
                    <a:gd name="connsiteX684" fmla="*/ 267919 w 299770"/>
                    <a:gd name="connsiteY684" fmla="*/ 90735 h 231933"/>
                    <a:gd name="connsiteX685" fmla="*/ 269339 w 299770"/>
                    <a:gd name="connsiteY685" fmla="*/ 91649 h 231933"/>
                    <a:gd name="connsiteX686" fmla="*/ 269167 w 299770"/>
                    <a:gd name="connsiteY686" fmla="*/ 92145 h 231933"/>
                    <a:gd name="connsiteX687" fmla="*/ 265976 w 299770"/>
                    <a:gd name="connsiteY687" fmla="*/ 93231 h 231933"/>
                    <a:gd name="connsiteX688" fmla="*/ 266024 w 299770"/>
                    <a:gd name="connsiteY688" fmla="*/ 93688 h 231933"/>
                    <a:gd name="connsiteX689" fmla="*/ 266033 w 299770"/>
                    <a:gd name="connsiteY689" fmla="*/ 93964 h 231933"/>
                    <a:gd name="connsiteX690" fmla="*/ 266671 w 299770"/>
                    <a:gd name="connsiteY690" fmla="*/ 94116 h 231933"/>
                    <a:gd name="connsiteX691" fmla="*/ 266481 w 299770"/>
                    <a:gd name="connsiteY691" fmla="*/ 94602 h 231933"/>
                    <a:gd name="connsiteX692" fmla="*/ 265319 w 299770"/>
                    <a:gd name="connsiteY692" fmla="*/ 95183 h 231933"/>
                    <a:gd name="connsiteX693" fmla="*/ 265948 w 299770"/>
                    <a:gd name="connsiteY693" fmla="*/ 95545 h 231933"/>
                    <a:gd name="connsiteX694" fmla="*/ 268891 w 299770"/>
                    <a:gd name="connsiteY694" fmla="*/ 94717 h 231933"/>
                    <a:gd name="connsiteX695" fmla="*/ 270329 w 299770"/>
                    <a:gd name="connsiteY695" fmla="*/ 94669 h 231933"/>
                    <a:gd name="connsiteX696" fmla="*/ 273901 w 299770"/>
                    <a:gd name="connsiteY696" fmla="*/ 95307 h 231933"/>
                    <a:gd name="connsiteX697" fmla="*/ 275682 w 299770"/>
                    <a:gd name="connsiteY697" fmla="*/ 95307 h 231933"/>
                    <a:gd name="connsiteX698" fmla="*/ 277016 w 299770"/>
                    <a:gd name="connsiteY698" fmla="*/ 94774 h 231933"/>
                    <a:gd name="connsiteX699" fmla="*/ 277416 w 299770"/>
                    <a:gd name="connsiteY699" fmla="*/ 94297 h 231933"/>
                    <a:gd name="connsiteX700" fmla="*/ 278044 w 299770"/>
                    <a:gd name="connsiteY700" fmla="*/ 93983 h 231933"/>
                    <a:gd name="connsiteX701" fmla="*/ 278292 w 299770"/>
                    <a:gd name="connsiteY701" fmla="*/ 94116 h 231933"/>
                    <a:gd name="connsiteX702" fmla="*/ 278092 w 299770"/>
                    <a:gd name="connsiteY702" fmla="*/ 94755 h 231933"/>
                    <a:gd name="connsiteX703" fmla="*/ 277425 w 299770"/>
                    <a:gd name="connsiteY703" fmla="*/ 95917 h 231933"/>
                    <a:gd name="connsiteX704" fmla="*/ 278902 w 299770"/>
                    <a:gd name="connsiteY704" fmla="*/ 96326 h 231933"/>
                    <a:gd name="connsiteX705" fmla="*/ 282512 w 299770"/>
                    <a:gd name="connsiteY705" fmla="*/ 96002 h 231933"/>
                    <a:gd name="connsiteX706" fmla="*/ 284664 w 299770"/>
                    <a:gd name="connsiteY706" fmla="*/ 96002 h 231933"/>
                    <a:gd name="connsiteX707" fmla="*/ 286607 w 299770"/>
                    <a:gd name="connsiteY707" fmla="*/ 96002 h 231933"/>
                    <a:gd name="connsiteX708" fmla="*/ 286807 w 299770"/>
                    <a:gd name="connsiteY708" fmla="*/ 96279 h 231933"/>
                    <a:gd name="connsiteX709" fmla="*/ 286922 w 299770"/>
                    <a:gd name="connsiteY709" fmla="*/ 97012 h 231933"/>
                    <a:gd name="connsiteX710" fmla="*/ 287722 w 299770"/>
                    <a:gd name="connsiteY710" fmla="*/ 98336 h 231933"/>
                    <a:gd name="connsiteX711" fmla="*/ 287912 w 299770"/>
                    <a:gd name="connsiteY711" fmla="*/ 98927 h 231933"/>
                    <a:gd name="connsiteX712" fmla="*/ 287684 w 299770"/>
                    <a:gd name="connsiteY712" fmla="*/ 100270 h 231933"/>
                    <a:gd name="connsiteX713" fmla="*/ 288350 w 299770"/>
                    <a:gd name="connsiteY713" fmla="*/ 101079 h 231933"/>
                    <a:gd name="connsiteX714" fmla="*/ 288331 w 299770"/>
                    <a:gd name="connsiteY714" fmla="*/ 101813 h 231933"/>
                    <a:gd name="connsiteX715" fmla="*/ 288074 w 299770"/>
                    <a:gd name="connsiteY715" fmla="*/ 102441 h 231933"/>
                    <a:gd name="connsiteX716" fmla="*/ 288084 w 299770"/>
                    <a:gd name="connsiteY716" fmla="*/ 103061 h 231933"/>
                    <a:gd name="connsiteX717" fmla="*/ 288331 w 299770"/>
                    <a:gd name="connsiteY717" fmla="*/ 104489 h 231933"/>
                    <a:gd name="connsiteX718" fmla="*/ 289084 w 299770"/>
                    <a:gd name="connsiteY718" fmla="*/ 105499 h 231933"/>
                    <a:gd name="connsiteX719" fmla="*/ 289331 w 299770"/>
                    <a:gd name="connsiteY719" fmla="*/ 106366 h 231933"/>
                    <a:gd name="connsiteX720" fmla="*/ 289065 w 299770"/>
                    <a:gd name="connsiteY720" fmla="*/ 107394 h 231933"/>
                    <a:gd name="connsiteX721" fmla="*/ 289531 w 299770"/>
                    <a:gd name="connsiteY721" fmla="*/ 107794 h 231933"/>
                    <a:gd name="connsiteX722" fmla="*/ 290751 w 299770"/>
                    <a:gd name="connsiteY722" fmla="*/ 107566 h 231933"/>
                    <a:gd name="connsiteX723" fmla="*/ 291427 w 299770"/>
                    <a:gd name="connsiteY723" fmla="*/ 107137 h 231933"/>
                    <a:gd name="connsiteX724" fmla="*/ 291789 w 299770"/>
                    <a:gd name="connsiteY724" fmla="*/ 106280 h 231933"/>
                    <a:gd name="connsiteX725" fmla="*/ 292122 w 299770"/>
                    <a:gd name="connsiteY725" fmla="*/ 106442 h 231933"/>
                    <a:gd name="connsiteX726" fmla="*/ 292075 w 299770"/>
                    <a:gd name="connsiteY726" fmla="*/ 107899 h 231933"/>
                    <a:gd name="connsiteX727" fmla="*/ 290836 w 299770"/>
                    <a:gd name="connsiteY727" fmla="*/ 110204 h 231933"/>
                    <a:gd name="connsiteX728" fmla="*/ 290351 w 299770"/>
                    <a:gd name="connsiteY728" fmla="*/ 111538 h 231933"/>
                    <a:gd name="connsiteX729" fmla="*/ 290370 w 299770"/>
                    <a:gd name="connsiteY729" fmla="*/ 113395 h 231933"/>
                    <a:gd name="connsiteX730" fmla="*/ 291379 w 299770"/>
                    <a:gd name="connsiteY730" fmla="*/ 113909 h 231933"/>
                    <a:gd name="connsiteX731" fmla="*/ 291875 w 299770"/>
                    <a:gd name="connsiteY731" fmla="*/ 114633 h 231933"/>
                    <a:gd name="connsiteX732" fmla="*/ 294122 w 299770"/>
                    <a:gd name="connsiteY732" fmla="*/ 115138 h 231933"/>
                    <a:gd name="connsiteX733" fmla="*/ 294456 w 299770"/>
                    <a:gd name="connsiteY733" fmla="*/ 114995 h 231933"/>
                    <a:gd name="connsiteX734" fmla="*/ 294570 w 299770"/>
                    <a:gd name="connsiteY734" fmla="*/ 113795 h 231933"/>
                    <a:gd name="connsiteX735" fmla="*/ 294980 w 299770"/>
                    <a:gd name="connsiteY735" fmla="*/ 113481 h 231933"/>
                    <a:gd name="connsiteX736" fmla="*/ 295856 w 299770"/>
                    <a:gd name="connsiteY736" fmla="*/ 113414 h 231933"/>
                    <a:gd name="connsiteX737" fmla="*/ 297199 w 299770"/>
                    <a:gd name="connsiteY737" fmla="*/ 113586 h 231933"/>
                    <a:gd name="connsiteX738" fmla="*/ 297828 w 299770"/>
                    <a:gd name="connsiteY738" fmla="*/ 114176 h 231933"/>
                    <a:gd name="connsiteX739" fmla="*/ 297761 w 299770"/>
                    <a:gd name="connsiteY739" fmla="*/ 115186 h 231933"/>
                    <a:gd name="connsiteX740" fmla="*/ 296875 w 299770"/>
                    <a:gd name="connsiteY740" fmla="*/ 116491 h 231933"/>
                    <a:gd name="connsiteX741" fmla="*/ 294561 w 299770"/>
                    <a:gd name="connsiteY741" fmla="*/ 117815 h 231933"/>
                    <a:gd name="connsiteX742" fmla="*/ 293742 w 299770"/>
                    <a:gd name="connsiteY742" fmla="*/ 118948 h 231933"/>
                    <a:gd name="connsiteX743" fmla="*/ 293751 w 299770"/>
                    <a:gd name="connsiteY743" fmla="*/ 119653 h 231933"/>
                    <a:gd name="connsiteX744" fmla="*/ 294103 w 299770"/>
                    <a:gd name="connsiteY744" fmla="*/ 119786 h 231933"/>
                    <a:gd name="connsiteX745" fmla="*/ 294789 w 299770"/>
                    <a:gd name="connsiteY745" fmla="*/ 119339 h 231933"/>
                    <a:gd name="connsiteX746" fmla="*/ 295370 w 299770"/>
                    <a:gd name="connsiteY746" fmla="*/ 119558 h 231933"/>
                    <a:gd name="connsiteX747" fmla="*/ 295846 w 299770"/>
                    <a:gd name="connsiteY747" fmla="*/ 120444 h 231933"/>
                    <a:gd name="connsiteX748" fmla="*/ 295732 w 299770"/>
                    <a:gd name="connsiteY748" fmla="*/ 121158 h 231933"/>
                    <a:gd name="connsiteX749" fmla="*/ 295027 w 299770"/>
                    <a:gd name="connsiteY749" fmla="*/ 121701 h 231933"/>
                    <a:gd name="connsiteX750" fmla="*/ 293246 w 299770"/>
                    <a:gd name="connsiteY750" fmla="*/ 122006 h 231933"/>
                    <a:gd name="connsiteX751" fmla="*/ 292903 w 299770"/>
                    <a:gd name="connsiteY751" fmla="*/ 122549 h 231933"/>
                    <a:gd name="connsiteX752" fmla="*/ 294056 w 299770"/>
                    <a:gd name="connsiteY752" fmla="*/ 123730 h 231933"/>
                    <a:gd name="connsiteX753" fmla="*/ 294627 w 299770"/>
                    <a:gd name="connsiteY753" fmla="*/ 125301 h 231933"/>
                    <a:gd name="connsiteX754" fmla="*/ 295237 w 299770"/>
                    <a:gd name="connsiteY754" fmla="*/ 125463 h 231933"/>
                    <a:gd name="connsiteX755" fmla="*/ 295370 w 299770"/>
                    <a:gd name="connsiteY755" fmla="*/ 125968 h 231933"/>
                    <a:gd name="connsiteX756" fmla="*/ 295037 w 299770"/>
                    <a:gd name="connsiteY756" fmla="*/ 126816 h 231933"/>
                    <a:gd name="connsiteX757" fmla="*/ 295466 w 299770"/>
                    <a:gd name="connsiteY757" fmla="*/ 127378 h 231933"/>
                    <a:gd name="connsiteX758" fmla="*/ 297151 w 299770"/>
                    <a:gd name="connsiteY758" fmla="*/ 128007 h 231933"/>
                    <a:gd name="connsiteX759" fmla="*/ 297113 w 299770"/>
                    <a:gd name="connsiteY759" fmla="*/ 129635 h 231933"/>
                    <a:gd name="connsiteX760" fmla="*/ 297056 w 299770"/>
                    <a:gd name="connsiteY760" fmla="*/ 130597 h 231933"/>
                    <a:gd name="connsiteX761" fmla="*/ 296866 w 299770"/>
                    <a:gd name="connsiteY761" fmla="*/ 131702 h 231933"/>
                    <a:gd name="connsiteX762" fmla="*/ 297399 w 299770"/>
                    <a:gd name="connsiteY762" fmla="*/ 131826 h 231933"/>
                    <a:gd name="connsiteX763" fmla="*/ 298114 w 299770"/>
                    <a:gd name="connsiteY763" fmla="*/ 131302 h 231933"/>
                    <a:gd name="connsiteX764" fmla="*/ 298599 w 299770"/>
                    <a:gd name="connsiteY764" fmla="*/ 130330 h 231933"/>
                    <a:gd name="connsiteX765" fmla="*/ 299771 w 299770"/>
                    <a:gd name="connsiteY765" fmla="*/ 129940 h 231933"/>
                    <a:gd name="connsiteX766" fmla="*/ 299619 w 299770"/>
                    <a:gd name="connsiteY766" fmla="*/ 130454 h 231933"/>
                    <a:gd name="connsiteX767" fmla="*/ 298466 w 299770"/>
                    <a:gd name="connsiteY767" fmla="*/ 131645 h 231933"/>
                    <a:gd name="connsiteX768" fmla="*/ 298133 w 299770"/>
                    <a:gd name="connsiteY768" fmla="*/ 132598 h 231933"/>
                    <a:gd name="connsiteX769" fmla="*/ 298618 w 299770"/>
                    <a:gd name="connsiteY769" fmla="*/ 133293 h 231933"/>
                    <a:gd name="connsiteX770" fmla="*/ 297428 w 299770"/>
                    <a:gd name="connsiteY770" fmla="*/ 133540 h 231933"/>
                    <a:gd name="connsiteX771" fmla="*/ 294589 w 299770"/>
                    <a:gd name="connsiteY771" fmla="*/ 133321 h 231933"/>
                    <a:gd name="connsiteX772" fmla="*/ 293732 w 299770"/>
                    <a:gd name="connsiteY772" fmla="*/ 132359 h 231933"/>
                    <a:gd name="connsiteX773" fmla="*/ 293503 w 299770"/>
                    <a:gd name="connsiteY773" fmla="*/ 132007 h 231933"/>
                    <a:gd name="connsiteX774" fmla="*/ 292656 w 299770"/>
                    <a:gd name="connsiteY774" fmla="*/ 131902 h 231933"/>
                    <a:gd name="connsiteX775" fmla="*/ 292541 w 299770"/>
                    <a:gd name="connsiteY775" fmla="*/ 131559 h 231933"/>
                    <a:gd name="connsiteX776" fmla="*/ 293427 w 299770"/>
                    <a:gd name="connsiteY776" fmla="*/ 130578 h 231933"/>
                    <a:gd name="connsiteX777" fmla="*/ 293313 w 299770"/>
                    <a:gd name="connsiteY777" fmla="*/ 130311 h 231933"/>
                    <a:gd name="connsiteX778" fmla="*/ 291389 w 299770"/>
                    <a:gd name="connsiteY778" fmla="*/ 130540 h 231933"/>
                    <a:gd name="connsiteX779" fmla="*/ 289217 w 299770"/>
                    <a:gd name="connsiteY779" fmla="*/ 131235 h 231933"/>
                    <a:gd name="connsiteX780" fmla="*/ 287626 w 299770"/>
                    <a:gd name="connsiteY780" fmla="*/ 132083 h 231933"/>
                    <a:gd name="connsiteX781" fmla="*/ 287150 w 299770"/>
                    <a:gd name="connsiteY781" fmla="*/ 133064 h 231933"/>
                    <a:gd name="connsiteX782" fmla="*/ 287436 w 299770"/>
                    <a:gd name="connsiteY782" fmla="*/ 134083 h 231933"/>
                    <a:gd name="connsiteX783" fmla="*/ 288465 w 299770"/>
                    <a:gd name="connsiteY783" fmla="*/ 135141 h 231933"/>
                    <a:gd name="connsiteX784" fmla="*/ 288217 w 299770"/>
                    <a:gd name="connsiteY784" fmla="*/ 136941 h 231933"/>
                    <a:gd name="connsiteX785" fmla="*/ 286693 w 299770"/>
                    <a:gd name="connsiteY785" fmla="*/ 139484 h 231933"/>
                    <a:gd name="connsiteX786" fmla="*/ 285074 w 299770"/>
                    <a:gd name="connsiteY786" fmla="*/ 141199 h 231933"/>
                    <a:gd name="connsiteX787" fmla="*/ 283350 w 299770"/>
                    <a:gd name="connsiteY787" fmla="*/ 142075 h 231933"/>
                    <a:gd name="connsiteX788" fmla="*/ 279854 w 299770"/>
                    <a:gd name="connsiteY788" fmla="*/ 141446 h 231933"/>
                    <a:gd name="connsiteX789" fmla="*/ 274596 w 299770"/>
                    <a:gd name="connsiteY789" fmla="*/ 139294 h 231933"/>
                    <a:gd name="connsiteX790" fmla="*/ 271967 w 299770"/>
                    <a:gd name="connsiteY790" fmla="*/ 137379 h 231933"/>
                    <a:gd name="connsiteX791" fmla="*/ 271729 w 299770"/>
                    <a:gd name="connsiteY791" fmla="*/ 134779 h 231933"/>
                    <a:gd name="connsiteX792" fmla="*/ 271263 w 299770"/>
                    <a:gd name="connsiteY792" fmla="*/ 134598 h 231933"/>
                    <a:gd name="connsiteX793" fmla="*/ 267624 w 299770"/>
                    <a:gd name="connsiteY793" fmla="*/ 135436 h 231933"/>
                    <a:gd name="connsiteX794" fmla="*/ 265357 w 299770"/>
                    <a:gd name="connsiteY794" fmla="*/ 136512 h 231933"/>
                    <a:gd name="connsiteX795" fmla="*/ 263100 w 299770"/>
                    <a:gd name="connsiteY795" fmla="*/ 138046 h 231933"/>
                    <a:gd name="connsiteX796" fmla="*/ 262909 w 299770"/>
                    <a:gd name="connsiteY796" fmla="*/ 137570 h 231933"/>
                    <a:gd name="connsiteX797" fmla="*/ 264804 w 299770"/>
                    <a:gd name="connsiteY797" fmla="*/ 135074 h 231933"/>
                    <a:gd name="connsiteX798" fmla="*/ 265843 w 299770"/>
                    <a:gd name="connsiteY798" fmla="*/ 133521 h 231933"/>
                    <a:gd name="connsiteX799" fmla="*/ 266043 w 299770"/>
                    <a:gd name="connsiteY799" fmla="*/ 132902 h 231933"/>
                    <a:gd name="connsiteX800" fmla="*/ 265643 w 299770"/>
                    <a:gd name="connsiteY800" fmla="*/ 132407 h 231933"/>
                    <a:gd name="connsiteX801" fmla="*/ 264652 w 299770"/>
                    <a:gd name="connsiteY801" fmla="*/ 132016 h 231933"/>
                    <a:gd name="connsiteX802" fmla="*/ 262957 w 299770"/>
                    <a:gd name="connsiteY802" fmla="*/ 132236 h 231933"/>
                    <a:gd name="connsiteX803" fmla="*/ 260004 w 299770"/>
                    <a:gd name="connsiteY803" fmla="*/ 133398 h 231933"/>
                    <a:gd name="connsiteX804" fmla="*/ 259537 w 299770"/>
                    <a:gd name="connsiteY804" fmla="*/ 133264 h 231933"/>
                    <a:gd name="connsiteX805" fmla="*/ 259804 w 299770"/>
                    <a:gd name="connsiteY805" fmla="*/ 132864 h 231933"/>
                    <a:gd name="connsiteX806" fmla="*/ 263204 w 299770"/>
                    <a:gd name="connsiteY806" fmla="*/ 130959 h 231933"/>
                    <a:gd name="connsiteX807" fmla="*/ 264538 w 299770"/>
                    <a:gd name="connsiteY807" fmla="*/ 129911 h 231933"/>
                    <a:gd name="connsiteX808" fmla="*/ 265033 w 299770"/>
                    <a:gd name="connsiteY808" fmla="*/ 128949 h 231933"/>
                    <a:gd name="connsiteX809" fmla="*/ 265824 w 299770"/>
                    <a:gd name="connsiteY809" fmla="*/ 128083 h 231933"/>
                    <a:gd name="connsiteX810" fmla="*/ 266919 w 299770"/>
                    <a:gd name="connsiteY810" fmla="*/ 127311 h 231933"/>
                    <a:gd name="connsiteX811" fmla="*/ 266919 w 299770"/>
                    <a:gd name="connsiteY811" fmla="*/ 126968 h 231933"/>
                    <a:gd name="connsiteX812" fmla="*/ 265824 w 299770"/>
                    <a:gd name="connsiteY812" fmla="*/ 127035 h 231933"/>
                    <a:gd name="connsiteX813" fmla="*/ 265119 w 299770"/>
                    <a:gd name="connsiteY813" fmla="*/ 127368 h 231933"/>
                    <a:gd name="connsiteX814" fmla="*/ 263309 w 299770"/>
                    <a:gd name="connsiteY814" fmla="*/ 128730 h 231933"/>
                    <a:gd name="connsiteX815" fmla="*/ 261766 w 299770"/>
                    <a:gd name="connsiteY815" fmla="*/ 128606 h 231933"/>
                    <a:gd name="connsiteX816" fmla="*/ 261728 w 299770"/>
                    <a:gd name="connsiteY816" fmla="*/ 128292 h 231933"/>
                    <a:gd name="connsiteX817" fmla="*/ 262557 w 299770"/>
                    <a:gd name="connsiteY817" fmla="*/ 127511 h 231933"/>
                    <a:gd name="connsiteX818" fmla="*/ 262452 w 299770"/>
                    <a:gd name="connsiteY818" fmla="*/ 127025 h 231933"/>
                    <a:gd name="connsiteX819" fmla="*/ 261423 w 299770"/>
                    <a:gd name="connsiteY819" fmla="*/ 126825 h 231933"/>
                    <a:gd name="connsiteX820" fmla="*/ 261509 w 299770"/>
                    <a:gd name="connsiteY820" fmla="*/ 125930 h 231933"/>
                    <a:gd name="connsiteX821" fmla="*/ 261233 w 299770"/>
                    <a:gd name="connsiteY821" fmla="*/ 125739 h 231933"/>
                    <a:gd name="connsiteX822" fmla="*/ 260147 w 299770"/>
                    <a:gd name="connsiteY822" fmla="*/ 125120 h 231933"/>
                    <a:gd name="connsiteX823" fmla="*/ 260852 w 299770"/>
                    <a:gd name="connsiteY823" fmla="*/ 123454 h 231933"/>
                    <a:gd name="connsiteX824" fmla="*/ 261052 w 299770"/>
                    <a:gd name="connsiteY824" fmla="*/ 122111 h 231933"/>
                    <a:gd name="connsiteX825" fmla="*/ 260737 w 299770"/>
                    <a:gd name="connsiteY825" fmla="*/ 121091 h 231933"/>
                    <a:gd name="connsiteX826" fmla="*/ 261166 w 299770"/>
                    <a:gd name="connsiteY826" fmla="*/ 120072 h 231933"/>
                    <a:gd name="connsiteX827" fmla="*/ 262823 w 299770"/>
                    <a:gd name="connsiteY827" fmla="*/ 118415 h 231933"/>
                    <a:gd name="connsiteX828" fmla="*/ 262633 w 299770"/>
                    <a:gd name="connsiteY828" fmla="*/ 118186 h 231933"/>
                    <a:gd name="connsiteX829" fmla="*/ 259975 w 299770"/>
                    <a:gd name="connsiteY829" fmla="*/ 117967 h 231933"/>
                    <a:gd name="connsiteX830" fmla="*/ 254822 w 299770"/>
                    <a:gd name="connsiteY830" fmla="*/ 117767 h 231933"/>
                    <a:gd name="connsiteX831" fmla="*/ 251917 w 299770"/>
                    <a:gd name="connsiteY831" fmla="*/ 118110 h 231933"/>
                    <a:gd name="connsiteX832" fmla="*/ 251241 w 299770"/>
                    <a:gd name="connsiteY832" fmla="*/ 118986 h 231933"/>
                    <a:gd name="connsiteX833" fmla="*/ 251527 w 299770"/>
                    <a:gd name="connsiteY833" fmla="*/ 119634 h 231933"/>
                    <a:gd name="connsiteX834" fmla="*/ 252765 w 299770"/>
                    <a:gd name="connsiteY834" fmla="*/ 120063 h 231933"/>
                    <a:gd name="connsiteX835" fmla="*/ 253432 w 299770"/>
                    <a:gd name="connsiteY835" fmla="*/ 120796 h 231933"/>
                    <a:gd name="connsiteX836" fmla="*/ 253451 w 299770"/>
                    <a:gd name="connsiteY836" fmla="*/ 121434 h 231933"/>
                    <a:gd name="connsiteX837" fmla="*/ 254089 w 299770"/>
                    <a:gd name="connsiteY837" fmla="*/ 122082 h 231933"/>
                    <a:gd name="connsiteX838" fmla="*/ 254527 w 299770"/>
                    <a:gd name="connsiteY838" fmla="*/ 123463 h 231933"/>
                    <a:gd name="connsiteX839" fmla="*/ 254775 w 299770"/>
                    <a:gd name="connsiteY839" fmla="*/ 125549 h 231933"/>
                    <a:gd name="connsiteX840" fmla="*/ 255299 w 299770"/>
                    <a:gd name="connsiteY840" fmla="*/ 126416 h 231933"/>
                    <a:gd name="connsiteX841" fmla="*/ 256280 w 299770"/>
                    <a:gd name="connsiteY841" fmla="*/ 126521 h 231933"/>
                    <a:gd name="connsiteX842" fmla="*/ 256756 w 299770"/>
                    <a:gd name="connsiteY842" fmla="*/ 126721 h 231933"/>
                    <a:gd name="connsiteX843" fmla="*/ 255622 w 299770"/>
                    <a:gd name="connsiteY843" fmla="*/ 128826 h 231933"/>
                    <a:gd name="connsiteX844" fmla="*/ 255442 w 299770"/>
                    <a:gd name="connsiteY844" fmla="*/ 130111 h 231933"/>
                    <a:gd name="connsiteX845" fmla="*/ 255946 w 299770"/>
                    <a:gd name="connsiteY845" fmla="*/ 131302 h 231933"/>
                    <a:gd name="connsiteX846" fmla="*/ 255870 w 299770"/>
                    <a:gd name="connsiteY846" fmla="*/ 132636 h 231933"/>
                    <a:gd name="connsiteX847" fmla="*/ 254651 w 299770"/>
                    <a:gd name="connsiteY847" fmla="*/ 134950 h 231933"/>
                    <a:gd name="connsiteX848" fmla="*/ 253594 w 299770"/>
                    <a:gd name="connsiteY848" fmla="*/ 137236 h 231933"/>
                    <a:gd name="connsiteX849" fmla="*/ 252317 w 299770"/>
                    <a:gd name="connsiteY849" fmla="*/ 138722 h 231933"/>
                    <a:gd name="connsiteX850" fmla="*/ 249993 w 299770"/>
                    <a:gd name="connsiteY850" fmla="*/ 140427 h 231933"/>
                    <a:gd name="connsiteX851" fmla="*/ 248345 w 299770"/>
                    <a:gd name="connsiteY851" fmla="*/ 141856 h 231933"/>
                    <a:gd name="connsiteX852" fmla="*/ 247355 w 299770"/>
                    <a:gd name="connsiteY852" fmla="*/ 142999 h 231933"/>
                    <a:gd name="connsiteX853" fmla="*/ 246193 w 299770"/>
                    <a:gd name="connsiteY853" fmla="*/ 143761 h 231933"/>
                    <a:gd name="connsiteX854" fmla="*/ 244840 w 299770"/>
                    <a:gd name="connsiteY854" fmla="*/ 144142 h 231933"/>
                    <a:gd name="connsiteX855" fmla="*/ 243240 w 299770"/>
                    <a:gd name="connsiteY855" fmla="*/ 144951 h 231933"/>
                    <a:gd name="connsiteX856" fmla="*/ 241383 w 299770"/>
                    <a:gd name="connsiteY856" fmla="*/ 146190 h 231933"/>
                    <a:gd name="connsiteX857" fmla="*/ 239811 w 299770"/>
                    <a:gd name="connsiteY857" fmla="*/ 147723 h 231933"/>
                    <a:gd name="connsiteX858" fmla="*/ 238516 w 299770"/>
                    <a:gd name="connsiteY858" fmla="*/ 149562 h 231933"/>
                    <a:gd name="connsiteX859" fmla="*/ 236563 w 299770"/>
                    <a:gd name="connsiteY859" fmla="*/ 151457 h 231933"/>
                    <a:gd name="connsiteX860" fmla="*/ 233934 w 299770"/>
                    <a:gd name="connsiteY860" fmla="*/ 153400 h 231933"/>
                    <a:gd name="connsiteX861" fmla="*/ 232191 w 299770"/>
                    <a:gd name="connsiteY861" fmla="*/ 155620 h 231933"/>
                    <a:gd name="connsiteX862" fmla="*/ 231334 w 299770"/>
                    <a:gd name="connsiteY862" fmla="*/ 158105 h 231933"/>
                    <a:gd name="connsiteX863" fmla="*/ 226105 w 299770"/>
                    <a:gd name="connsiteY863" fmla="*/ 168802 h 231933"/>
                    <a:gd name="connsiteX864" fmla="*/ 225104 w 299770"/>
                    <a:gd name="connsiteY864" fmla="*/ 171460 h 231933"/>
                    <a:gd name="connsiteX865" fmla="*/ 223599 w 299770"/>
                    <a:gd name="connsiteY865" fmla="*/ 174088 h 231933"/>
                    <a:gd name="connsiteX866" fmla="*/ 221599 w 299770"/>
                    <a:gd name="connsiteY866" fmla="*/ 176689 h 231933"/>
                    <a:gd name="connsiteX867" fmla="*/ 219380 w 299770"/>
                    <a:gd name="connsiteY867" fmla="*/ 178727 h 231933"/>
                    <a:gd name="connsiteX868" fmla="*/ 216932 w 299770"/>
                    <a:gd name="connsiteY868" fmla="*/ 180203 h 231933"/>
                    <a:gd name="connsiteX869" fmla="*/ 214674 w 299770"/>
                    <a:gd name="connsiteY869" fmla="*/ 181299 h 231933"/>
                    <a:gd name="connsiteX870" fmla="*/ 212627 w 299770"/>
                    <a:gd name="connsiteY870" fmla="*/ 181994 h 231933"/>
                    <a:gd name="connsiteX871" fmla="*/ 210445 w 299770"/>
                    <a:gd name="connsiteY871" fmla="*/ 183175 h 231933"/>
                    <a:gd name="connsiteX872" fmla="*/ 208131 w 299770"/>
                    <a:gd name="connsiteY872" fmla="*/ 184842 h 231933"/>
                    <a:gd name="connsiteX873" fmla="*/ 204854 w 299770"/>
                    <a:gd name="connsiteY873" fmla="*/ 186347 h 231933"/>
                    <a:gd name="connsiteX874" fmla="*/ 200644 w 299770"/>
                    <a:gd name="connsiteY874" fmla="*/ 187662 h 231933"/>
                    <a:gd name="connsiteX875" fmla="*/ 197377 w 299770"/>
                    <a:gd name="connsiteY875" fmla="*/ 188471 h 231933"/>
                    <a:gd name="connsiteX876" fmla="*/ 197301 w 299770"/>
                    <a:gd name="connsiteY876" fmla="*/ 187814 h 231933"/>
                    <a:gd name="connsiteX877" fmla="*/ 197158 w 299770"/>
                    <a:gd name="connsiteY877" fmla="*/ 186471 h 231933"/>
                    <a:gd name="connsiteX878" fmla="*/ 198749 w 299770"/>
                    <a:gd name="connsiteY878" fmla="*/ 180213 h 231933"/>
                    <a:gd name="connsiteX879" fmla="*/ 202092 w 299770"/>
                    <a:gd name="connsiteY879" fmla="*/ 169040 h 231933"/>
                    <a:gd name="connsiteX880" fmla="*/ 203740 w 299770"/>
                    <a:gd name="connsiteY880" fmla="*/ 162115 h 231933"/>
                    <a:gd name="connsiteX881" fmla="*/ 203645 w 299770"/>
                    <a:gd name="connsiteY881" fmla="*/ 159448 h 231933"/>
                    <a:gd name="connsiteX882" fmla="*/ 202730 w 299770"/>
                    <a:gd name="connsiteY882" fmla="*/ 157420 h 231933"/>
                    <a:gd name="connsiteX883" fmla="*/ 200968 w 299770"/>
                    <a:gd name="connsiteY883" fmla="*/ 156029 h 231933"/>
                    <a:gd name="connsiteX884" fmla="*/ 199406 w 299770"/>
                    <a:gd name="connsiteY884" fmla="*/ 155429 h 231933"/>
                    <a:gd name="connsiteX885" fmla="*/ 198025 w 299770"/>
                    <a:gd name="connsiteY885" fmla="*/ 155620 h 231933"/>
                    <a:gd name="connsiteX886" fmla="*/ 195434 w 299770"/>
                    <a:gd name="connsiteY886" fmla="*/ 156753 h 231933"/>
                    <a:gd name="connsiteX887" fmla="*/ 191148 w 299770"/>
                    <a:gd name="connsiteY887" fmla="*/ 157744 h 231933"/>
                    <a:gd name="connsiteX888" fmla="*/ 189271 w 299770"/>
                    <a:gd name="connsiteY888" fmla="*/ 158401 h 231933"/>
                    <a:gd name="connsiteX889" fmla="*/ 187928 w 299770"/>
                    <a:gd name="connsiteY889" fmla="*/ 159277 h 231933"/>
                    <a:gd name="connsiteX890" fmla="*/ 186623 w 299770"/>
                    <a:gd name="connsiteY890" fmla="*/ 159791 h 231933"/>
                    <a:gd name="connsiteX891" fmla="*/ 185357 w 299770"/>
                    <a:gd name="connsiteY891" fmla="*/ 159944 h 231933"/>
                    <a:gd name="connsiteX892" fmla="*/ 185099 w 299770"/>
                    <a:gd name="connsiteY892" fmla="*/ 160172 h 231933"/>
                    <a:gd name="connsiteX893" fmla="*/ 185871 w 299770"/>
                    <a:gd name="connsiteY893" fmla="*/ 160496 h 231933"/>
                    <a:gd name="connsiteX894" fmla="*/ 185452 w 299770"/>
                    <a:gd name="connsiteY894" fmla="*/ 161344 h 231933"/>
                    <a:gd name="connsiteX895" fmla="*/ 180927 w 299770"/>
                    <a:gd name="connsiteY895" fmla="*/ 165068 h 231933"/>
                    <a:gd name="connsiteX896" fmla="*/ 180927 w 299770"/>
                    <a:gd name="connsiteY896" fmla="*/ 165068 h 231933"/>
                    <a:gd name="connsiteX897" fmla="*/ 180927 w 299770"/>
                    <a:gd name="connsiteY897" fmla="*/ 165068 h 231933"/>
                    <a:gd name="connsiteX898" fmla="*/ 180927 w 299770"/>
                    <a:gd name="connsiteY898" fmla="*/ 165068 h 23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Lst>
                  <a:rect l="l" t="t" r="r" b="b"/>
                  <a:pathLst>
                    <a:path w="299770" h="231933">
                      <a:moveTo>
                        <a:pt x="180927" y="165068"/>
                      </a:moveTo>
                      <a:lnTo>
                        <a:pt x="179908" y="165935"/>
                      </a:lnTo>
                      <a:lnTo>
                        <a:pt x="178203" y="166249"/>
                      </a:lnTo>
                      <a:lnTo>
                        <a:pt x="176546" y="167002"/>
                      </a:lnTo>
                      <a:lnTo>
                        <a:pt x="174269" y="168916"/>
                      </a:lnTo>
                      <a:lnTo>
                        <a:pt x="172764" y="169402"/>
                      </a:lnTo>
                      <a:lnTo>
                        <a:pt x="171021" y="169221"/>
                      </a:lnTo>
                      <a:lnTo>
                        <a:pt x="168545" y="168059"/>
                      </a:lnTo>
                      <a:lnTo>
                        <a:pt x="167297" y="166897"/>
                      </a:lnTo>
                      <a:lnTo>
                        <a:pt x="167278" y="165725"/>
                      </a:lnTo>
                      <a:lnTo>
                        <a:pt x="167945" y="164335"/>
                      </a:lnTo>
                      <a:lnTo>
                        <a:pt x="169316" y="162697"/>
                      </a:lnTo>
                      <a:lnTo>
                        <a:pt x="169936" y="161382"/>
                      </a:lnTo>
                      <a:lnTo>
                        <a:pt x="172479" y="158648"/>
                      </a:lnTo>
                      <a:lnTo>
                        <a:pt x="174536" y="157667"/>
                      </a:lnTo>
                      <a:lnTo>
                        <a:pt x="176917" y="157448"/>
                      </a:lnTo>
                      <a:lnTo>
                        <a:pt x="178394" y="157010"/>
                      </a:lnTo>
                      <a:lnTo>
                        <a:pt x="178956" y="156372"/>
                      </a:lnTo>
                      <a:lnTo>
                        <a:pt x="179899" y="155905"/>
                      </a:lnTo>
                      <a:lnTo>
                        <a:pt x="181194" y="155639"/>
                      </a:lnTo>
                      <a:lnTo>
                        <a:pt x="183061" y="153895"/>
                      </a:lnTo>
                      <a:lnTo>
                        <a:pt x="185499" y="150705"/>
                      </a:lnTo>
                      <a:lnTo>
                        <a:pt x="187347" y="148942"/>
                      </a:lnTo>
                      <a:lnTo>
                        <a:pt x="188176" y="148638"/>
                      </a:lnTo>
                      <a:lnTo>
                        <a:pt x="188757" y="148742"/>
                      </a:lnTo>
                      <a:lnTo>
                        <a:pt x="188585" y="149142"/>
                      </a:lnTo>
                      <a:lnTo>
                        <a:pt x="192243" y="147095"/>
                      </a:lnTo>
                      <a:lnTo>
                        <a:pt x="193929" y="145675"/>
                      </a:lnTo>
                      <a:lnTo>
                        <a:pt x="194729" y="144208"/>
                      </a:lnTo>
                      <a:lnTo>
                        <a:pt x="197139" y="139951"/>
                      </a:lnTo>
                      <a:lnTo>
                        <a:pt x="198844" y="137208"/>
                      </a:lnTo>
                      <a:lnTo>
                        <a:pt x="199854" y="135960"/>
                      </a:lnTo>
                      <a:lnTo>
                        <a:pt x="201349" y="132750"/>
                      </a:lnTo>
                      <a:lnTo>
                        <a:pt x="201949" y="130102"/>
                      </a:lnTo>
                      <a:lnTo>
                        <a:pt x="200520" y="127197"/>
                      </a:lnTo>
                      <a:lnTo>
                        <a:pt x="200606" y="126235"/>
                      </a:lnTo>
                      <a:lnTo>
                        <a:pt x="201225" y="125206"/>
                      </a:lnTo>
                      <a:lnTo>
                        <a:pt x="202387" y="124130"/>
                      </a:lnTo>
                      <a:lnTo>
                        <a:pt x="203816" y="123882"/>
                      </a:lnTo>
                      <a:lnTo>
                        <a:pt x="205654" y="124720"/>
                      </a:lnTo>
                      <a:lnTo>
                        <a:pt x="206140" y="124520"/>
                      </a:lnTo>
                      <a:lnTo>
                        <a:pt x="205759" y="124035"/>
                      </a:lnTo>
                      <a:lnTo>
                        <a:pt x="205892" y="123053"/>
                      </a:lnTo>
                      <a:lnTo>
                        <a:pt x="206521" y="121615"/>
                      </a:lnTo>
                      <a:lnTo>
                        <a:pt x="206635" y="120825"/>
                      </a:lnTo>
                      <a:lnTo>
                        <a:pt x="206235" y="120682"/>
                      </a:lnTo>
                      <a:lnTo>
                        <a:pt x="205826" y="119034"/>
                      </a:lnTo>
                      <a:lnTo>
                        <a:pt x="206093" y="118177"/>
                      </a:lnTo>
                      <a:lnTo>
                        <a:pt x="206645" y="117386"/>
                      </a:lnTo>
                      <a:lnTo>
                        <a:pt x="206578" y="116586"/>
                      </a:lnTo>
                      <a:lnTo>
                        <a:pt x="205530" y="115338"/>
                      </a:lnTo>
                      <a:lnTo>
                        <a:pt x="203111" y="114062"/>
                      </a:lnTo>
                      <a:lnTo>
                        <a:pt x="196996" y="111633"/>
                      </a:lnTo>
                      <a:lnTo>
                        <a:pt x="196158" y="110690"/>
                      </a:lnTo>
                      <a:lnTo>
                        <a:pt x="194615" y="110138"/>
                      </a:lnTo>
                      <a:lnTo>
                        <a:pt x="192396" y="109966"/>
                      </a:lnTo>
                      <a:lnTo>
                        <a:pt x="191300" y="109233"/>
                      </a:lnTo>
                      <a:lnTo>
                        <a:pt x="191357" y="107928"/>
                      </a:lnTo>
                      <a:lnTo>
                        <a:pt x="190957" y="106756"/>
                      </a:lnTo>
                      <a:lnTo>
                        <a:pt x="190090" y="105708"/>
                      </a:lnTo>
                      <a:lnTo>
                        <a:pt x="188205" y="105013"/>
                      </a:lnTo>
                      <a:lnTo>
                        <a:pt x="185290" y="104699"/>
                      </a:lnTo>
                      <a:lnTo>
                        <a:pt x="182632" y="103565"/>
                      </a:lnTo>
                      <a:lnTo>
                        <a:pt x="180232" y="101632"/>
                      </a:lnTo>
                      <a:lnTo>
                        <a:pt x="178422" y="100965"/>
                      </a:lnTo>
                      <a:lnTo>
                        <a:pt x="177175" y="101584"/>
                      </a:lnTo>
                      <a:lnTo>
                        <a:pt x="175460" y="101784"/>
                      </a:lnTo>
                      <a:lnTo>
                        <a:pt x="173288" y="101575"/>
                      </a:lnTo>
                      <a:lnTo>
                        <a:pt x="172345" y="101832"/>
                      </a:lnTo>
                      <a:lnTo>
                        <a:pt x="172641" y="102575"/>
                      </a:lnTo>
                      <a:lnTo>
                        <a:pt x="171441" y="103737"/>
                      </a:lnTo>
                      <a:lnTo>
                        <a:pt x="168735" y="105327"/>
                      </a:lnTo>
                      <a:lnTo>
                        <a:pt x="166792" y="106937"/>
                      </a:lnTo>
                      <a:lnTo>
                        <a:pt x="165630" y="108575"/>
                      </a:lnTo>
                      <a:lnTo>
                        <a:pt x="165154" y="110033"/>
                      </a:lnTo>
                      <a:lnTo>
                        <a:pt x="165364" y="111309"/>
                      </a:lnTo>
                      <a:lnTo>
                        <a:pt x="166230" y="112128"/>
                      </a:lnTo>
                      <a:lnTo>
                        <a:pt x="167735" y="112509"/>
                      </a:lnTo>
                      <a:lnTo>
                        <a:pt x="167821" y="113014"/>
                      </a:lnTo>
                      <a:lnTo>
                        <a:pt x="166488" y="113643"/>
                      </a:lnTo>
                      <a:lnTo>
                        <a:pt x="164535" y="114005"/>
                      </a:lnTo>
                      <a:lnTo>
                        <a:pt x="161954" y="114090"/>
                      </a:lnTo>
                      <a:lnTo>
                        <a:pt x="159029" y="114795"/>
                      </a:lnTo>
                      <a:lnTo>
                        <a:pt x="155734" y="116119"/>
                      </a:lnTo>
                      <a:lnTo>
                        <a:pt x="153600" y="117300"/>
                      </a:lnTo>
                      <a:lnTo>
                        <a:pt x="152629" y="118348"/>
                      </a:lnTo>
                      <a:lnTo>
                        <a:pt x="151752" y="119863"/>
                      </a:lnTo>
                      <a:lnTo>
                        <a:pt x="150133" y="123558"/>
                      </a:lnTo>
                      <a:lnTo>
                        <a:pt x="149181" y="124987"/>
                      </a:lnTo>
                      <a:lnTo>
                        <a:pt x="146685" y="127616"/>
                      </a:lnTo>
                      <a:lnTo>
                        <a:pt x="143418" y="131054"/>
                      </a:lnTo>
                      <a:lnTo>
                        <a:pt x="140541" y="133207"/>
                      </a:lnTo>
                      <a:lnTo>
                        <a:pt x="140370" y="132912"/>
                      </a:lnTo>
                      <a:lnTo>
                        <a:pt x="141208" y="131864"/>
                      </a:lnTo>
                      <a:lnTo>
                        <a:pt x="144466" y="128426"/>
                      </a:lnTo>
                      <a:lnTo>
                        <a:pt x="145456" y="126968"/>
                      </a:lnTo>
                      <a:lnTo>
                        <a:pt x="145713" y="126197"/>
                      </a:lnTo>
                      <a:lnTo>
                        <a:pt x="145256" y="126121"/>
                      </a:lnTo>
                      <a:lnTo>
                        <a:pt x="144332" y="126787"/>
                      </a:lnTo>
                      <a:lnTo>
                        <a:pt x="142942" y="128197"/>
                      </a:lnTo>
                      <a:lnTo>
                        <a:pt x="142408" y="128959"/>
                      </a:lnTo>
                      <a:lnTo>
                        <a:pt x="142713" y="129083"/>
                      </a:lnTo>
                      <a:lnTo>
                        <a:pt x="141942" y="130035"/>
                      </a:lnTo>
                      <a:lnTo>
                        <a:pt x="140084" y="131826"/>
                      </a:lnTo>
                      <a:lnTo>
                        <a:pt x="139103" y="132197"/>
                      </a:lnTo>
                      <a:lnTo>
                        <a:pt x="138989" y="131140"/>
                      </a:lnTo>
                      <a:lnTo>
                        <a:pt x="139770" y="129750"/>
                      </a:lnTo>
                      <a:lnTo>
                        <a:pt x="142332" y="126968"/>
                      </a:lnTo>
                      <a:lnTo>
                        <a:pt x="142227" y="126425"/>
                      </a:lnTo>
                      <a:lnTo>
                        <a:pt x="143770" y="124692"/>
                      </a:lnTo>
                      <a:lnTo>
                        <a:pt x="144713" y="123434"/>
                      </a:lnTo>
                      <a:lnTo>
                        <a:pt x="145085" y="122130"/>
                      </a:lnTo>
                      <a:lnTo>
                        <a:pt x="145971" y="120939"/>
                      </a:lnTo>
                      <a:lnTo>
                        <a:pt x="147399" y="119844"/>
                      </a:lnTo>
                      <a:lnTo>
                        <a:pt x="147314" y="119510"/>
                      </a:lnTo>
                      <a:lnTo>
                        <a:pt x="145723" y="119939"/>
                      </a:lnTo>
                      <a:lnTo>
                        <a:pt x="142684" y="121977"/>
                      </a:lnTo>
                      <a:lnTo>
                        <a:pt x="138208" y="125625"/>
                      </a:lnTo>
                      <a:lnTo>
                        <a:pt x="135379" y="127225"/>
                      </a:lnTo>
                      <a:lnTo>
                        <a:pt x="134207" y="126759"/>
                      </a:lnTo>
                      <a:lnTo>
                        <a:pt x="132902" y="127064"/>
                      </a:lnTo>
                      <a:lnTo>
                        <a:pt x="131474" y="128140"/>
                      </a:lnTo>
                      <a:lnTo>
                        <a:pt x="130254" y="128673"/>
                      </a:lnTo>
                      <a:lnTo>
                        <a:pt x="129254" y="128654"/>
                      </a:lnTo>
                      <a:lnTo>
                        <a:pt x="127968" y="129921"/>
                      </a:lnTo>
                      <a:lnTo>
                        <a:pt x="126387" y="132493"/>
                      </a:lnTo>
                      <a:lnTo>
                        <a:pt x="124606" y="133960"/>
                      </a:lnTo>
                      <a:lnTo>
                        <a:pt x="121158" y="134817"/>
                      </a:lnTo>
                      <a:lnTo>
                        <a:pt x="120215" y="135493"/>
                      </a:lnTo>
                      <a:lnTo>
                        <a:pt x="119653" y="136436"/>
                      </a:lnTo>
                      <a:lnTo>
                        <a:pt x="119482" y="137674"/>
                      </a:lnTo>
                      <a:lnTo>
                        <a:pt x="118196" y="140141"/>
                      </a:lnTo>
                      <a:lnTo>
                        <a:pt x="115786" y="143847"/>
                      </a:lnTo>
                      <a:lnTo>
                        <a:pt x="113081" y="147095"/>
                      </a:lnTo>
                      <a:lnTo>
                        <a:pt x="110090" y="149876"/>
                      </a:lnTo>
                      <a:lnTo>
                        <a:pt x="107185" y="152171"/>
                      </a:lnTo>
                      <a:lnTo>
                        <a:pt x="102794" y="155191"/>
                      </a:lnTo>
                      <a:lnTo>
                        <a:pt x="102432" y="155791"/>
                      </a:lnTo>
                      <a:lnTo>
                        <a:pt x="102575" y="158153"/>
                      </a:lnTo>
                      <a:lnTo>
                        <a:pt x="102232" y="159915"/>
                      </a:lnTo>
                      <a:lnTo>
                        <a:pt x="100679" y="163420"/>
                      </a:lnTo>
                      <a:lnTo>
                        <a:pt x="100308" y="164001"/>
                      </a:lnTo>
                      <a:lnTo>
                        <a:pt x="95336" y="168335"/>
                      </a:lnTo>
                      <a:lnTo>
                        <a:pt x="94964" y="168954"/>
                      </a:lnTo>
                      <a:lnTo>
                        <a:pt x="94107" y="176203"/>
                      </a:lnTo>
                      <a:lnTo>
                        <a:pt x="93993" y="181413"/>
                      </a:lnTo>
                      <a:lnTo>
                        <a:pt x="94012" y="181966"/>
                      </a:lnTo>
                      <a:lnTo>
                        <a:pt x="93707" y="184042"/>
                      </a:lnTo>
                      <a:lnTo>
                        <a:pt x="93040" y="188119"/>
                      </a:lnTo>
                      <a:lnTo>
                        <a:pt x="91707" y="192157"/>
                      </a:lnTo>
                      <a:lnTo>
                        <a:pt x="89697" y="196177"/>
                      </a:lnTo>
                      <a:lnTo>
                        <a:pt x="87373" y="200054"/>
                      </a:lnTo>
                      <a:lnTo>
                        <a:pt x="84734" y="203797"/>
                      </a:lnTo>
                      <a:lnTo>
                        <a:pt x="81820" y="207378"/>
                      </a:lnTo>
                      <a:lnTo>
                        <a:pt x="78648" y="210788"/>
                      </a:lnTo>
                      <a:lnTo>
                        <a:pt x="75771" y="213484"/>
                      </a:lnTo>
                      <a:lnTo>
                        <a:pt x="70418" y="217942"/>
                      </a:lnTo>
                      <a:lnTo>
                        <a:pt x="67399" y="220913"/>
                      </a:lnTo>
                      <a:lnTo>
                        <a:pt x="64618" y="223314"/>
                      </a:lnTo>
                      <a:lnTo>
                        <a:pt x="62065" y="225142"/>
                      </a:lnTo>
                      <a:lnTo>
                        <a:pt x="58103" y="227181"/>
                      </a:lnTo>
                      <a:lnTo>
                        <a:pt x="48663" y="230934"/>
                      </a:lnTo>
                      <a:lnTo>
                        <a:pt x="45920" y="231657"/>
                      </a:lnTo>
                      <a:lnTo>
                        <a:pt x="43177" y="231934"/>
                      </a:lnTo>
                      <a:lnTo>
                        <a:pt x="40424" y="231753"/>
                      </a:lnTo>
                      <a:lnTo>
                        <a:pt x="39091" y="231334"/>
                      </a:lnTo>
                      <a:lnTo>
                        <a:pt x="39100" y="230638"/>
                      </a:lnTo>
                      <a:lnTo>
                        <a:pt x="38529" y="230572"/>
                      </a:lnTo>
                      <a:lnTo>
                        <a:pt x="37938" y="230105"/>
                      </a:lnTo>
                      <a:lnTo>
                        <a:pt x="37309" y="229314"/>
                      </a:lnTo>
                      <a:lnTo>
                        <a:pt x="36881" y="227886"/>
                      </a:lnTo>
                      <a:lnTo>
                        <a:pt x="37128" y="224952"/>
                      </a:lnTo>
                      <a:lnTo>
                        <a:pt x="38052" y="220513"/>
                      </a:lnTo>
                      <a:lnTo>
                        <a:pt x="38224" y="217865"/>
                      </a:lnTo>
                      <a:lnTo>
                        <a:pt x="37624" y="217008"/>
                      </a:lnTo>
                      <a:lnTo>
                        <a:pt x="37376" y="215665"/>
                      </a:lnTo>
                      <a:lnTo>
                        <a:pt x="37462" y="213865"/>
                      </a:lnTo>
                      <a:lnTo>
                        <a:pt x="39157" y="209779"/>
                      </a:lnTo>
                      <a:lnTo>
                        <a:pt x="42463" y="203416"/>
                      </a:lnTo>
                      <a:lnTo>
                        <a:pt x="44987" y="199092"/>
                      </a:lnTo>
                      <a:lnTo>
                        <a:pt x="46739" y="196786"/>
                      </a:lnTo>
                      <a:lnTo>
                        <a:pt x="47492" y="195024"/>
                      </a:lnTo>
                      <a:lnTo>
                        <a:pt x="47263" y="193815"/>
                      </a:lnTo>
                      <a:lnTo>
                        <a:pt x="47511" y="192310"/>
                      </a:lnTo>
                      <a:lnTo>
                        <a:pt x="48254" y="190510"/>
                      </a:lnTo>
                      <a:lnTo>
                        <a:pt x="48454" y="189281"/>
                      </a:lnTo>
                      <a:lnTo>
                        <a:pt x="48092" y="188643"/>
                      </a:lnTo>
                      <a:lnTo>
                        <a:pt x="48406" y="187728"/>
                      </a:lnTo>
                      <a:lnTo>
                        <a:pt x="49406" y="186576"/>
                      </a:lnTo>
                      <a:lnTo>
                        <a:pt x="49825" y="185776"/>
                      </a:lnTo>
                      <a:lnTo>
                        <a:pt x="49673" y="185347"/>
                      </a:lnTo>
                      <a:lnTo>
                        <a:pt x="49921" y="184699"/>
                      </a:lnTo>
                      <a:lnTo>
                        <a:pt x="50568" y="183842"/>
                      </a:lnTo>
                      <a:lnTo>
                        <a:pt x="51549" y="181318"/>
                      </a:lnTo>
                      <a:lnTo>
                        <a:pt x="52445" y="179775"/>
                      </a:lnTo>
                      <a:lnTo>
                        <a:pt x="53807" y="178108"/>
                      </a:lnTo>
                      <a:lnTo>
                        <a:pt x="56950" y="175079"/>
                      </a:lnTo>
                      <a:lnTo>
                        <a:pt x="58226" y="173603"/>
                      </a:lnTo>
                      <a:lnTo>
                        <a:pt x="59150" y="172088"/>
                      </a:lnTo>
                      <a:lnTo>
                        <a:pt x="60893" y="170174"/>
                      </a:lnTo>
                      <a:lnTo>
                        <a:pt x="64989" y="166240"/>
                      </a:lnTo>
                      <a:lnTo>
                        <a:pt x="65513" y="165344"/>
                      </a:lnTo>
                      <a:lnTo>
                        <a:pt x="65770" y="163554"/>
                      </a:lnTo>
                      <a:lnTo>
                        <a:pt x="66313" y="162230"/>
                      </a:lnTo>
                      <a:lnTo>
                        <a:pt x="67399" y="160468"/>
                      </a:lnTo>
                      <a:lnTo>
                        <a:pt x="69190" y="158286"/>
                      </a:lnTo>
                      <a:lnTo>
                        <a:pt x="71695" y="155696"/>
                      </a:lnTo>
                      <a:lnTo>
                        <a:pt x="74295" y="153619"/>
                      </a:lnTo>
                      <a:lnTo>
                        <a:pt x="76972" y="152067"/>
                      </a:lnTo>
                      <a:lnTo>
                        <a:pt x="78515" y="150295"/>
                      </a:lnTo>
                      <a:lnTo>
                        <a:pt x="78924" y="148314"/>
                      </a:lnTo>
                      <a:lnTo>
                        <a:pt x="80724" y="145390"/>
                      </a:lnTo>
                      <a:lnTo>
                        <a:pt x="83896" y="141522"/>
                      </a:lnTo>
                      <a:lnTo>
                        <a:pt x="86678" y="138617"/>
                      </a:lnTo>
                      <a:lnTo>
                        <a:pt x="89068" y="136684"/>
                      </a:lnTo>
                      <a:lnTo>
                        <a:pt x="90992" y="134845"/>
                      </a:lnTo>
                      <a:lnTo>
                        <a:pt x="92431" y="133102"/>
                      </a:lnTo>
                      <a:lnTo>
                        <a:pt x="92621" y="132321"/>
                      </a:lnTo>
                      <a:lnTo>
                        <a:pt x="92059" y="131483"/>
                      </a:lnTo>
                      <a:lnTo>
                        <a:pt x="91735" y="130264"/>
                      </a:lnTo>
                      <a:lnTo>
                        <a:pt x="90249" y="129997"/>
                      </a:lnTo>
                      <a:lnTo>
                        <a:pt x="87782" y="130807"/>
                      </a:lnTo>
                      <a:lnTo>
                        <a:pt x="87535" y="130750"/>
                      </a:lnTo>
                      <a:lnTo>
                        <a:pt x="86449" y="130854"/>
                      </a:lnTo>
                      <a:lnTo>
                        <a:pt x="83534" y="132645"/>
                      </a:lnTo>
                      <a:lnTo>
                        <a:pt x="80143" y="135741"/>
                      </a:lnTo>
                      <a:lnTo>
                        <a:pt x="78191" y="137017"/>
                      </a:lnTo>
                      <a:lnTo>
                        <a:pt x="76009" y="137884"/>
                      </a:lnTo>
                      <a:lnTo>
                        <a:pt x="74219" y="138846"/>
                      </a:lnTo>
                      <a:lnTo>
                        <a:pt x="72809" y="139913"/>
                      </a:lnTo>
                      <a:lnTo>
                        <a:pt x="71599" y="140151"/>
                      </a:lnTo>
                      <a:lnTo>
                        <a:pt x="70590" y="139551"/>
                      </a:lnTo>
                      <a:lnTo>
                        <a:pt x="71133" y="138084"/>
                      </a:lnTo>
                      <a:lnTo>
                        <a:pt x="73219" y="135731"/>
                      </a:lnTo>
                      <a:lnTo>
                        <a:pt x="75676" y="133493"/>
                      </a:lnTo>
                      <a:lnTo>
                        <a:pt x="80220" y="129807"/>
                      </a:lnTo>
                      <a:lnTo>
                        <a:pt x="80782" y="128930"/>
                      </a:lnTo>
                      <a:lnTo>
                        <a:pt x="81991" y="127854"/>
                      </a:lnTo>
                      <a:lnTo>
                        <a:pt x="86801" y="126263"/>
                      </a:lnTo>
                      <a:lnTo>
                        <a:pt x="88992" y="125016"/>
                      </a:lnTo>
                      <a:lnTo>
                        <a:pt x="90373" y="123425"/>
                      </a:lnTo>
                      <a:lnTo>
                        <a:pt x="91783" y="121082"/>
                      </a:lnTo>
                      <a:lnTo>
                        <a:pt x="92392" y="120425"/>
                      </a:lnTo>
                      <a:lnTo>
                        <a:pt x="93116" y="120148"/>
                      </a:lnTo>
                      <a:lnTo>
                        <a:pt x="95917" y="118186"/>
                      </a:lnTo>
                      <a:lnTo>
                        <a:pt x="100784" y="114548"/>
                      </a:lnTo>
                      <a:lnTo>
                        <a:pt x="105423" y="110776"/>
                      </a:lnTo>
                      <a:lnTo>
                        <a:pt x="109823" y="106899"/>
                      </a:lnTo>
                      <a:lnTo>
                        <a:pt x="112690" y="104718"/>
                      </a:lnTo>
                      <a:lnTo>
                        <a:pt x="114024" y="104213"/>
                      </a:lnTo>
                      <a:lnTo>
                        <a:pt x="115443" y="103032"/>
                      </a:lnTo>
                      <a:lnTo>
                        <a:pt x="118634" y="99422"/>
                      </a:lnTo>
                      <a:lnTo>
                        <a:pt x="120444" y="97774"/>
                      </a:lnTo>
                      <a:lnTo>
                        <a:pt x="121406" y="97145"/>
                      </a:lnTo>
                      <a:lnTo>
                        <a:pt x="121491" y="97536"/>
                      </a:lnTo>
                      <a:lnTo>
                        <a:pt x="119825" y="99517"/>
                      </a:lnTo>
                      <a:lnTo>
                        <a:pt x="118929" y="101165"/>
                      </a:lnTo>
                      <a:lnTo>
                        <a:pt x="118291" y="103260"/>
                      </a:lnTo>
                      <a:lnTo>
                        <a:pt x="118872" y="103984"/>
                      </a:lnTo>
                      <a:lnTo>
                        <a:pt x="120672" y="103327"/>
                      </a:lnTo>
                      <a:lnTo>
                        <a:pt x="122653" y="101946"/>
                      </a:lnTo>
                      <a:lnTo>
                        <a:pt x="124844" y="99831"/>
                      </a:lnTo>
                      <a:lnTo>
                        <a:pt x="126521" y="98955"/>
                      </a:lnTo>
                      <a:lnTo>
                        <a:pt x="127683" y="99317"/>
                      </a:lnTo>
                      <a:lnTo>
                        <a:pt x="128883" y="99184"/>
                      </a:lnTo>
                      <a:lnTo>
                        <a:pt x="130112" y="98555"/>
                      </a:lnTo>
                      <a:lnTo>
                        <a:pt x="131988" y="98241"/>
                      </a:lnTo>
                      <a:lnTo>
                        <a:pt x="131874" y="99031"/>
                      </a:lnTo>
                      <a:lnTo>
                        <a:pt x="130797" y="100632"/>
                      </a:lnTo>
                      <a:lnTo>
                        <a:pt x="129835" y="101413"/>
                      </a:lnTo>
                      <a:lnTo>
                        <a:pt x="128997" y="101356"/>
                      </a:lnTo>
                      <a:lnTo>
                        <a:pt x="127540" y="102203"/>
                      </a:lnTo>
                      <a:lnTo>
                        <a:pt x="125473" y="103946"/>
                      </a:lnTo>
                      <a:lnTo>
                        <a:pt x="124768" y="105337"/>
                      </a:lnTo>
                      <a:lnTo>
                        <a:pt x="125416" y="106375"/>
                      </a:lnTo>
                      <a:lnTo>
                        <a:pt x="125997" y="106423"/>
                      </a:lnTo>
                      <a:lnTo>
                        <a:pt x="126483" y="105499"/>
                      </a:lnTo>
                      <a:lnTo>
                        <a:pt x="127549" y="104565"/>
                      </a:lnTo>
                      <a:lnTo>
                        <a:pt x="130264" y="102870"/>
                      </a:lnTo>
                      <a:lnTo>
                        <a:pt x="130731" y="102318"/>
                      </a:lnTo>
                      <a:lnTo>
                        <a:pt x="134960" y="100822"/>
                      </a:lnTo>
                      <a:lnTo>
                        <a:pt x="136770" y="99860"/>
                      </a:lnTo>
                      <a:lnTo>
                        <a:pt x="137713" y="98774"/>
                      </a:lnTo>
                      <a:lnTo>
                        <a:pt x="140684" y="96536"/>
                      </a:lnTo>
                      <a:lnTo>
                        <a:pt x="142751" y="95821"/>
                      </a:lnTo>
                      <a:lnTo>
                        <a:pt x="145199" y="95517"/>
                      </a:lnTo>
                      <a:lnTo>
                        <a:pt x="147323" y="95717"/>
                      </a:lnTo>
                      <a:lnTo>
                        <a:pt x="149095" y="96412"/>
                      </a:lnTo>
                      <a:lnTo>
                        <a:pt x="150314" y="96402"/>
                      </a:lnTo>
                      <a:lnTo>
                        <a:pt x="151000" y="95669"/>
                      </a:lnTo>
                      <a:lnTo>
                        <a:pt x="153095" y="95183"/>
                      </a:lnTo>
                      <a:lnTo>
                        <a:pt x="156610" y="94936"/>
                      </a:lnTo>
                      <a:lnTo>
                        <a:pt x="159649" y="93897"/>
                      </a:lnTo>
                      <a:lnTo>
                        <a:pt x="162211" y="92088"/>
                      </a:lnTo>
                      <a:lnTo>
                        <a:pt x="164744" y="91164"/>
                      </a:lnTo>
                      <a:lnTo>
                        <a:pt x="167240" y="91126"/>
                      </a:lnTo>
                      <a:lnTo>
                        <a:pt x="170250" y="91764"/>
                      </a:lnTo>
                      <a:lnTo>
                        <a:pt x="173793" y="93097"/>
                      </a:lnTo>
                      <a:lnTo>
                        <a:pt x="176270" y="94888"/>
                      </a:lnTo>
                      <a:lnTo>
                        <a:pt x="178889" y="98498"/>
                      </a:lnTo>
                      <a:lnTo>
                        <a:pt x="179889" y="98869"/>
                      </a:lnTo>
                      <a:lnTo>
                        <a:pt x="180651" y="98908"/>
                      </a:lnTo>
                      <a:lnTo>
                        <a:pt x="181185" y="98622"/>
                      </a:lnTo>
                      <a:lnTo>
                        <a:pt x="181385" y="98279"/>
                      </a:lnTo>
                      <a:lnTo>
                        <a:pt x="181270" y="97860"/>
                      </a:lnTo>
                      <a:lnTo>
                        <a:pt x="182299" y="96326"/>
                      </a:lnTo>
                      <a:lnTo>
                        <a:pt x="182328" y="95888"/>
                      </a:lnTo>
                      <a:lnTo>
                        <a:pt x="184928" y="93507"/>
                      </a:lnTo>
                      <a:lnTo>
                        <a:pt x="186404" y="92897"/>
                      </a:lnTo>
                      <a:lnTo>
                        <a:pt x="187614" y="93116"/>
                      </a:lnTo>
                      <a:lnTo>
                        <a:pt x="188195" y="93631"/>
                      </a:lnTo>
                      <a:lnTo>
                        <a:pt x="188119" y="94431"/>
                      </a:lnTo>
                      <a:lnTo>
                        <a:pt x="188376" y="94717"/>
                      </a:lnTo>
                      <a:lnTo>
                        <a:pt x="189186" y="94745"/>
                      </a:lnTo>
                      <a:lnTo>
                        <a:pt x="189586" y="94859"/>
                      </a:lnTo>
                      <a:lnTo>
                        <a:pt x="189890" y="94793"/>
                      </a:lnTo>
                      <a:lnTo>
                        <a:pt x="190538" y="94355"/>
                      </a:lnTo>
                      <a:lnTo>
                        <a:pt x="193272" y="94555"/>
                      </a:lnTo>
                      <a:lnTo>
                        <a:pt x="202301" y="95755"/>
                      </a:lnTo>
                      <a:lnTo>
                        <a:pt x="203730" y="95564"/>
                      </a:lnTo>
                      <a:lnTo>
                        <a:pt x="204702" y="95145"/>
                      </a:lnTo>
                      <a:lnTo>
                        <a:pt x="205226" y="94498"/>
                      </a:lnTo>
                      <a:lnTo>
                        <a:pt x="204930" y="93888"/>
                      </a:lnTo>
                      <a:lnTo>
                        <a:pt x="203083" y="92602"/>
                      </a:lnTo>
                      <a:lnTo>
                        <a:pt x="202759" y="91764"/>
                      </a:lnTo>
                      <a:lnTo>
                        <a:pt x="202978" y="90973"/>
                      </a:lnTo>
                      <a:lnTo>
                        <a:pt x="203740" y="90221"/>
                      </a:lnTo>
                      <a:lnTo>
                        <a:pt x="203549" y="89545"/>
                      </a:lnTo>
                      <a:lnTo>
                        <a:pt x="202444" y="88935"/>
                      </a:lnTo>
                      <a:lnTo>
                        <a:pt x="199377" y="88763"/>
                      </a:lnTo>
                      <a:lnTo>
                        <a:pt x="199149" y="88144"/>
                      </a:lnTo>
                      <a:lnTo>
                        <a:pt x="199730" y="87535"/>
                      </a:lnTo>
                      <a:lnTo>
                        <a:pt x="201063" y="86763"/>
                      </a:lnTo>
                      <a:lnTo>
                        <a:pt x="201711" y="85620"/>
                      </a:lnTo>
                      <a:lnTo>
                        <a:pt x="201759" y="84973"/>
                      </a:lnTo>
                      <a:lnTo>
                        <a:pt x="202378" y="83010"/>
                      </a:lnTo>
                      <a:lnTo>
                        <a:pt x="202397" y="81696"/>
                      </a:lnTo>
                      <a:lnTo>
                        <a:pt x="202044" y="79753"/>
                      </a:lnTo>
                      <a:lnTo>
                        <a:pt x="201873" y="79048"/>
                      </a:lnTo>
                      <a:lnTo>
                        <a:pt x="201282" y="78629"/>
                      </a:lnTo>
                      <a:lnTo>
                        <a:pt x="200473" y="78715"/>
                      </a:lnTo>
                      <a:lnTo>
                        <a:pt x="199282" y="79076"/>
                      </a:lnTo>
                      <a:lnTo>
                        <a:pt x="197691" y="79915"/>
                      </a:lnTo>
                      <a:lnTo>
                        <a:pt x="195586" y="80801"/>
                      </a:lnTo>
                      <a:lnTo>
                        <a:pt x="194024" y="80581"/>
                      </a:lnTo>
                      <a:lnTo>
                        <a:pt x="193529" y="79353"/>
                      </a:lnTo>
                      <a:lnTo>
                        <a:pt x="192005" y="79086"/>
                      </a:lnTo>
                      <a:lnTo>
                        <a:pt x="189462" y="79791"/>
                      </a:lnTo>
                      <a:lnTo>
                        <a:pt x="187547" y="79762"/>
                      </a:lnTo>
                      <a:lnTo>
                        <a:pt x="186290" y="78991"/>
                      </a:lnTo>
                      <a:lnTo>
                        <a:pt x="183299" y="78619"/>
                      </a:lnTo>
                      <a:lnTo>
                        <a:pt x="183232" y="78038"/>
                      </a:lnTo>
                      <a:lnTo>
                        <a:pt x="183614" y="77438"/>
                      </a:lnTo>
                      <a:lnTo>
                        <a:pt x="184461" y="76800"/>
                      </a:lnTo>
                      <a:lnTo>
                        <a:pt x="185557" y="75295"/>
                      </a:lnTo>
                      <a:lnTo>
                        <a:pt x="186900" y="72914"/>
                      </a:lnTo>
                      <a:lnTo>
                        <a:pt x="188243" y="71237"/>
                      </a:lnTo>
                      <a:lnTo>
                        <a:pt x="189576" y="70256"/>
                      </a:lnTo>
                      <a:lnTo>
                        <a:pt x="188557" y="69856"/>
                      </a:lnTo>
                      <a:lnTo>
                        <a:pt x="185185" y="70028"/>
                      </a:lnTo>
                      <a:lnTo>
                        <a:pt x="180975" y="70837"/>
                      </a:lnTo>
                      <a:lnTo>
                        <a:pt x="175927" y="72276"/>
                      </a:lnTo>
                      <a:lnTo>
                        <a:pt x="171012" y="72781"/>
                      </a:lnTo>
                      <a:lnTo>
                        <a:pt x="166240" y="72352"/>
                      </a:lnTo>
                      <a:lnTo>
                        <a:pt x="162430" y="72419"/>
                      </a:lnTo>
                      <a:lnTo>
                        <a:pt x="157848" y="73142"/>
                      </a:lnTo>
                      <a:lnTo>
                        <a:pt x="157258" y="72904"/>
                      </a:lnTo>
                      <a:lnTo>
                        <a:pt x="154096" y="73866"/>
                      </a:lnTo>
                      <a:lnTo>
                        <a:pt x="148361" y="76019"/>
                      </a:lnTo>
                      <a:lnTo>
                        <a:pt x="143856" y="78019"/>
                      </a:lnTo>
                      <a:lnTo>
                        <a:pt x="139789" y="80267"/>
                      </a:lnTo>
                      <a:lnTo>
                        <a:pt x="139341" y="80286"/>
                      </a:lnTo>
                      <a:lnTo>
                        <a:pt x="138941" y="79791"/>
                      </a:lnTo>
                      <a:lnTo>
                        <a:pt x="137893" y="79096"/>
                      </a:lnTo>
                      <a:lnTo>
                        <a:pt x="136379" y="79076"/>
                      </a:lnTo>
                      <a:lnTo>
                        <a:pt x="134398" y="79734"/>
                      </a:lnTo>
                      <a:lnTo>
                        <a:pt x="132979" y="79324"/>
                      </a:lnTo>
                      <a:lnTo>
                        <a:pt x="132112" y="77848"/>
                      </a:lnTo>
                      <a:lnTo>
                        <a:pt x="130816" y="77429"/>
                      </a:lnTo>
                      <a:lnTo>
                        <a:pt x="129092" y="78076"/>
                      </a:lnTo>
                      <a:lnTo>
                        <a:pt x="126673" y="78362"/>
                      </a:lnTo>
                      <a:lnTo>
                        <a:pt x="121872" y="78019"/>
                      </a:lnTo>
                      <a:lnTo>
                        <a:pt x="121615" y="77543"/>
                      </a:lnTo>
                      <a:lnTo>
                        <a:pt x="122053" y="75952"/>
                      </a:lnTo>
                      <a:lnTo>
                        <a:pt x="121891" y="75257"/>
                      </a:lnTo>
                      <a:lnTo>
                        <a:pt x="121196" y="74771"/>
                      </a:lnTo>
                      <a:lnTo>
                        <a:pt x="120625" y="73009"/>
                      </a:lnTo>
                      <a:lnTo>
                        <a:pt x="119739" y="68504"/>
                      </a:lnTo>
                      <a:lnTo>
                        <a:pt x="119101" y="67961"/>
                      </a:lnTo>
                      <a:lnTo>
                        <a:pt x="117100" y="66570"/>
                      </a:lnTo>
                      <a:lnTo>
                        <a:pt x="114814" y="65942"/>
                      </a:lnTo>
                      <a:lnTo>
                        <a:pt x="108623" y="65065"/>
                      </a:lnTo>
                      <a:lnTo>
                        <a:pt x="107528" y="64446"/>
                      </a:lnTo>
                      <a:lnTo>
                        <a:pt x="106594" y="64570"/>
                      </a:lnTo>
                      <a:lnTo>
                        <a:pt x="100803" y="67008"/>
                      </a:lnTo>
                      <a:lnTo>
                        <a:pt x="100327" y="67542"/>
                      </a:lnTo>
                      <a:lnTo>
                        <a:pt x="99765" y="68056"/>
                      </a:lnTo>
                      <a:lnTo>
                        <a:pt x="98565" y="68904"/>
                      </a:lnTo>
                      <a:lnTo>
                        <a:pt x="97765" y="69294"/>
                      </a:lnTo>
                      <a:lnTo>
                        <a:pt x="97631" y="68894"/>
                      </a:lnTo>
                      <a:lnTo>
                        <a:pt x="97679" y="68180"/>
                      </a:lnTo>
                      <a:lnTo>
                        <a:pt x="98622" y="66627"/>
                      </a:lnTo>
                      <a:lnTo>
                        <a:pt x="100460" y="64208"/>
                      </a:lnTo>
                      <a:lnTo>
                        <a:pt x="101070" y="62646"/>
                      </a:lnTo>
                      <a:lnTo>
                        <a:pt x="100470" y="61913"/>
                      </a:lnTo>
                      <a:lnTo>
                        <a:pt x="100527" y="61046"/>
                      </a:lnTo>
                      <a:lnTo>
                        <a:pt x="101241" y="60026"/>
                      </a:lnTo>
                      <a:lnTo>
                        <a:pt x="100975" y="59207"/>
                      </a:lnTo>
                      <a:lnTo>
                        <a:pt x="99708" y="58588"/>
                      </a:lnTo>
                      <a:lnTo>
                        <a:pt x="99422" y="57788"/>
                      </a:lnTo>
                      <a:lnTo>
                        <a:pt x="100098" y="56788"/>
                      </a:lnTo>
                      <a:lnTo>
                        <a:pt x="100336" y="56102"/>
                      </a:lnTo>
                      <a:lnTo>
                        <a:pt x="100117" y="55731"/>
                      </a:lnTo>
                      <a:lnTo>
                        <a:pt x="97946" y="56521"/>
                      </a:lnTo>
                      <a:lnTo>
                        <a:pt x="93821" y="58445"/>
                      </a:lnTo>
                      <a:lnTo>
                        <a:pt x="90792" y="60169"/>
                      </a:lnTo>
                      <a:lnTo>
                        <a:pt x="88849" y="61684"/>
                      </a:lnTo>
                      <a:lnTo>
                        <a:pt x="86744" y="62551"/>
                      </a:lnTo>
                      <a:lnTo>
                        <a:pt x="84477" y="62751"/>
                      </a:lnTo>
                      <a:lnTo>
                        <a:pt x="82401" y="63398"/>
                      </a:lnTo>
                      <a:lnTo>
                        <a:pt x="78096" y="65618"/>
                      </a:lnTo>
                      <a:lnTo>
                        <a:pt x="75171" y="66761"/>
                      </a:lnTo>
                      <a:lnTo>
                        <a:pt x="70933" y="67599"/>
                      </a:lnTo>
                      <a:lnTo>
                        <a:pt x="65370" y="68123"/>
                      </a:lnTo>
                      <a:lnTo>
                        <a:pt x="60160" y="69561"/>
                      </a:lnTo>
                      <a:lnTo>
                        <a:pt x="55293" y="71923"/>
                      </a:lnTo>
                      <a:lnTo>
                        <a:pt x="49892" y="73914"/>
                      </a:lnTo>
                      <a:lnTo>
                        <a:pt x="43967" y="75552"/>
                      </a:lnTo>
                      <a:lnTo>
                        <a:pt x="40243" y="76133"/>
                      </a:lnTo>
                      <a:lnTo>
                        <a:pt x="38729" y="75657"/>
                      </a:lnTo>
                      <a:lnTo>
                        <a:pt x="37176" y="74647"/>
                      </a:lnTo>
                      <a:lnTo>
                        <a:pt x="35023" y="72838"/>
                      </a:lnTo>
                      <a:lnTo>
                        <a:pt x="34461" y="73009"/>
                      </a:lnTo>
                      <a:lnTo>
                        <a:pt x="34499" y="73381"/>
                      </a:lnTo>
                      <a:lnTo>
                        <a:pt x="34252" y="73695"/>
                      </a:lnTo>
                      <a:lnTo>
                        <a:pt x="33366" y="74209"/>
                      </a:lnTo>
                      <a:lnTo>
                        <a:pt x="28518" y="75552"/>
                      </a:lnTo>
                      <a:lnTo>
                        <a:pt x="28270" y="75047"/>
                      </a:lnTo>
                      <a:lnTo>
                        <a:pt x="30851" y="73209"/>
                      </a:lnTo>
                      <a:lnTo>
                        <a:pt x="32242" y="71847"/>
                      </a:lnTo>
                      <a:lnTo>
                        <a:pt x="32928" y="70590"/>
                      </a:lnTo>
                      <a:lnTo>
                        <a:pt x="34499" y="69037"/>
                      </a:lnTo>
                      <a:lnTo>
                        <a:pt x="36947" y="67199"/>
                      </a:lnTo>
                      <a:lnTo>
                        <a:pt x="38176" y="65951"/>
                      </a:lnTo>
                      <a:lnTo>
                        <a:pt x="38195" y="65294"/>
                      </a:lnTo>
                      <a:lnTo>
                        <a:pt x="37271" y="64237"/>
                      </a:lnTo>
                      <a:lnTo>
                        <a:pt x="36071" y="64160"/>
                      </a:lnTo>
                      <a:lnTo>
                        <a:pt x="34290" y="64513"/>
                      </a:lnTo>
                      <a:lnTo>
                        <a:pt x="27918" y="67227"/>
                      </a:lnTo>
                      <a:lnTo>
                        <a:pt x="27556" y="67027"/>
                      </a:lnTo>
                      <a:lnTo>
                        <a:pt x="26270" y="66589"/>
                      </a:lnTo>
                      <a:lnTo>
                        <a:pt x="25851" y="66665"/>
                      </a:lnTo>
                      <a:lnTo>
                        <a:pt x="20784" y="69018"/>
                      </a:lnTo>
                      <a:lnTo>
                        <a:pt x="16202" y="70428"/>
                      </a:lnTo>
                      <a:lnTo>
                        <a:pt x="6096" y="72438"/>
                      </a:lnTo>
                      <a:lnTo>
                        <a:pt x="3696" y="72676"/>
                      </a:lnTo>
                      <a:lnTo>
                        <a:pt x="2019" y="72533"/>
                      </a:lnTo>
                      <a:lnTo>
                        <a:pt x="429" y="71361"/>
                      </a:lnTo>
                      <a:lnTo>
                        <a:pt x="0" y="70561"/>
                      </a:lnTo>
                      <a:lnTo>
                        <a:pt x="591" y="69694"/>
                      </a:lnTo>
                      <a:lnTo>
                        <a:pt x="2181" y="68761"/>
                      </a:lnTo>
                      <a:lnTo>
                        <a:pt x="17555" y="61484"/>
                      </a:lnTo>
                      <a:lnTo>
                        <a:pt x="27441" y="56293"/>
                      </a:lnTo>
                      <a:lnTo>
                        <a:pt x="44482" y="46558"/>
                      </a:lnTo>
                      <a:lnTo>
                        <a:pt x="48530" y="44625"/>
                      </a:lnTo>
                      <a:lnTo>
                        <a:pt x="56988" y="41386"/>
                      </a:lnTo>
                      <a:lnTo>
                        <a:pt x="69342" y="38281"/>
                      </a:lnTo>
                      <a:lnTo>
                        <a:pt x="75543" y="36557"/>
                      </a:lnTo>
                      <a:lnTo>
                        <a:pt x="81134" y="34681"/>
                      </a:lnTo>
                      <a:lnTo>
                        <a:pt x="84858" y="33233"/>
                      </a:lnTo>
                      <a:lnTo>
                        <a:pt x="86687" y="32223"/>
                      </a:lnTo>
                      <a:lnTo>
                        <a:pt x="87963" y="31756"/>
                      </a:lnTo>
                      <a:lnTo>
                        <a:pt x="88687" y="31823"/>
                      </a:lnTo>
                      <a:lnTo>
                        <a:pt x="90583" y="31147"/>
                      </a:lnTo>
                      <a:lnTo>
                        <a:pt x="94602" y="28651"/>
                      </a:lnTo>
                      <a:lnTo>
                        <a:pt x="95012" y="28451"/>
                      </a:lnTo>
                      <a:lnTo>
                        <a:pt x="97860" y="27746"/>
                      </a:lnTo>
                      <a:lnTo>
                        <a:pt x="99346" y="26556"/>
                      </a:lnTo>
                      <a:lnTo>
                        <a:pt x="100660" y="25127"/>
                      </a:lnTo>
                      <a:lnTo>
                        <a:pt x="103203" y="22746"/>
                      </a:lnTo>
                      <a:lnTo>
                        <a:pt x="104584" y="21765"/>
                      </a:lnTo>
                      <a:lnTo>
                        <a:pt x="105404" y="20688"/>
                      </a:lnTo>
                      <a:lnTo>
                        <a:pt x="105689" y="19507"/>
                      </a:lnTo>
                      <a:lnTo>
                        <a:pt x="106451" y="18393"/>
                      </a:lnTo>
                      <a:lnTo>
                        <a:pt x="107699" y="17345"/>
                      </a:lnTo>
                      <a:lnTo>
                        <a:pt x="111547" y="15869"/>
                      </a:lnTo>
                      <a:lnTo>
                        <a:pt x="121272" y="13183"/>
                      </a:lnTo>
                      <a:lnTo>
                        <a:pt x="121358" y="13516"/>
                      </a:lnTo>
                      <a:lnTo>
                        <a:pt x="118729" y="15592"/>
                      </a:lnTo>
                      <a:lnTo>
                        <a:pt x="114919" y="19526"/>
                      </a:lnTo>
                      <a:lnTo>
                        <a:pt x="114329" y="19631"/>
                      </a:lnTo>
                      <a:lnTo>
                        <a:pt x="113557" y="20117"/>
                      </a:lnTo>
                      <a:lnTo>
                        <a:pt x="112605" y="20974"/>
                      </a:lnTo>
                      <a:lnTo>
                        <a:pt x="113795" y="20917"/>
                      </a:lnTo>
                      <a:lnTo>
                        <a:pt x="117129" y="19936"/>
                      </a:lnTo>
                      <a:lnTo>
                        <a:pt x="118691" y="19441"/>
                      </a:lnTo>
                      <a:lnTo>
                        <a:pt x="119577" y="18478"/>
                      </a:lnTo>
                      <a:lnTo>
                        <a:pt x="121120" y="16545"/>
                      </a:lnTo>
                      <a:lnTo>
                        <a:pt x="122330" y="15469"/>
                      </a:lnTo>
                      <a:lnTo>
                        <a:pt x="123215" y="15269"/>
                      </a:lnTo>
                      <a:lnTo>
                        <a:pt x="124254" y="14335"/>
                      </a:lnTo>
                      <a:lnTo>
                        <a:pt x="125463" y="12687"/>
                      </a:lnTo>
                      <a:lnTo>
                        <a:pt x="126644" y="11697"/>
                      </a:lnTo>
                      <a:lnTo>
                        <a:pt x="127787" y="11382"/>
                      </a:lnTo>
                      <a:lnTo>
                        <a:pt x="128530" y="10801"/>
                      </a:lnTo>
                      <a:lnTo>
                        <a:pt x="128940" y="9992"/>
                      </a:lnTo>
                      <a:lnTo>
                        <a:pt x="130454" y="7810"/>
                      </a:lnTo>
                      <a:lnTo>
                        <a:pt x="131245" y="6791"/>
                      </a:lnTo>
                      <a:lnTo>
                        <a:pt x="132959" y="5296"/>
                      </a:lnTo>
                      <a:lnTo>
                        <a:pt x="134407" y="4839"/>
                      </a:lnTo>
                      <a:lnTo>
                        <a:pt x="135979" y="4934"/>
                      </a:lnTo>
                      <a:lnTo>
                        <a:pt x="136655" y="5696"/>
                      </a:lnTo>
                      <a:lnTo>
                        <a:pt x="136446" y="7115"/>
                      </a:lnTo>
                      <a:lnTo>
                        <a:pt x="135931" y="8287"/>
                      </a:lnTo>
                      <a:lnTo>
                        <a:pt x="135122" y="9220"/>
                      </a:lnTo>
                      <a:lnTo>
                        <a:pt x="132569" y="10897"/>
                      </a:lnTo>
                      <a:lnTo>
                        <a:pt x="125721" y="14916"/>
                      </a:lnTo>
                      <a:lnTo>
                        <a:pt x="124597" y="16040"/>
                      </a:lnTo>
                      <a:lnTo>
                        <a:pt x="124654" y="16621"/>
                      </a:lnTo>
                      <a:lnTo>
                        <a:pt x="124425" y="17478"/>
                      </a:lnTo>
                      <a:lnTo>
                        <a:pt x="124901" y="17583"/>
                      </a:lnTo>
                      <a:lnTo>
                        <a:pt x="126330" y="16840"/>
                      </a:lnTo>
                      <a:lnTo>
                        <a:pt x="127140" y="16173"/>
                      </a:lnTo>
                      <a:lnTo>
                        <a:pt x="127340" y="15592"/>
                      </a:lnTo>
                      <a:lnTo>
                        <a:pt x="128140" y="14830"/>
                      </a:lnTo>
                      <a:lnTo>
                        <a:pt x="129521" y="13887"/>
                      </a:lnTo>
                      <a:lnTo>
                        <a:pt x="130340" y="13621"/>
                      </a:lnTo>
                      <a:lnTo>
                        <a:pt x="130616" y="13992"/>
                      </a:lnTo>
                      <a:lnTo>
                        <a:pt x="131521" y="13830"/>
                      </a:lnTo>
                      <a:lnTo>
                        <a:pt x="133055" y="13135"/>
                      </a:lnTo>
                      <a:lnTo>
                        <a:pt x="135293" y="12773"/>
                      </a:lnTo>
                      <a:lnTo>
                        <a:pt x="135693" y="12744"/>
                      </a:lnTo>
                      <a:lnTo>
                        <a:pt x="139732" y="10039"/>
                      </a:lnTo>
                      <a:lnTo>
                        <a:pt x="141408" y="8458"/>
                      </a:lnTo>
                      <a:lnTo>
                        <a:pt x="142199" y="7096"/>
                      </a:lnTo>
                      <a:lnTo>
                        <a:pt x="142008" y="5686"/>
                      </a:lnTo>
                      <a:lnTo>
                        <a:pt x="140837" y="4229"/>
                      </a:lnTo>
                      <a:lnTo>
                        <a:pt x="141170" y="2657"/>
                      </a:lnTo>
                      <a:lnTo>
                        <a:pt x="141570" y="1867"/>
                      </a:lnTo>
                      <a:lnTo>
                        <a:pt x="141761" y="876"/>
                      </a:lnTo>
                      <a:lnTo>
                        <a:pt x="142399" y="505"/>
                      </a:lnTo>
                      <a:lnTo>
                        <a:pt x="143485" y="752"/>
                      </a:lnTo>
                      <a:lnTo>
                        <a:pt x="144590" y="629"/>
                      </a:lnTo>
                      <a:lnTo>
                        <a:pt x="145742" y="105"/>
                      </a:lnTo>
                      <a:lnTo>
                        <a:pt x="147323" y="0"/>
                      </a:lnTo>
                      <a:lnTo>
                        <a:pt x="148514" y="86"/>
                      </a:lnTo>
                      <a:lnTo>
                        <a:pt x="149266" y="1343"/>
                      </a:lnTo>
                      <a:lnTo>
                        <a:pt x="153905" y="2562"/>
                      </a:lnTo>
                      <a:lnTo>
                        <a:pt x="155505" y="3210"/>
                      </a:lnTo>
                      <a:lnTo>
                        <a:pt x="157563" y="3877"/>
                      </a:lnTo>
                      <a:lnTo>
                        <a:pt x="158058" y="4096"/>
                      </a:lnTo>
                      <a:lnTo>
                        <a:pt x="158058" y="4810"/>
                      </a:lnTo>
                      <a:lnTo>
                        <a:pt x="158791" y="5115"/>
                      </a:lnTo>
                      <a:lnTo>
                        <a:pt x="160249" y="5001"/>
                      </a:lnTo>
                      <a:lnTo>
                        <a:pt x="161592" y="5239"/>
                      </a:lnTo>
                      <a:lnTo>
                        <a:pt x="163458" y="6344"/>
                      </a:lnTo>
                      <a:lnTo>
                        <a:pt x="165325" y="7096"/>
                      </a:lnTo>
                      <a:lnTo>
                        <a:pt x="169012" y="6991"/>
                      </a:lnTo>
                      <a:lnTo>
                        <a:pt x="171183" y="6677"/>
                      </a:lnTo>
                      <a:lnTo>
                        <a:pt x="174050" y="7191"/>
                      </a:lnTo>
                      <a:lnTo>
                        <a:pt x="175822" y="7191"/>
                      </a:lnTo>
                      <a:lnTo>
                        <a:pt x="178117" y="6306"/>
                      </a:lnTo>
                      <a:lnTo>
                        <a:pt x="179784" y="6077"/>
                      </a:lnTo>
                      <a:lnTo>
                        <a:pt x="180842" y="6496"/>
                      </a:lnTo>
                      <a:lnTo>
                        <a:pt x="181089" y="7039"/>
                      </a:lnTo>
                      <a:lnTo>
                        <a:pt x="181699" y="7810"/>
                      </a:lnTo>
                      <a:lnTo>
                        <a:pt x="185099" y="7439"/>
                      </a:lnTo>
                      <a:lnTo>
                        <a:pt x="185680" y="7649"/>
                      </a:lnTo>
                      <a:lnTo>
                        <a:pt x="186147" y="8496"/>
                      </a:lnTo>
                      <a:lnTo>
                        <a:pt x="185995" y="9039"/>
                      </a:lnTo>
                      <a:lnTo>
                        <a:pt x="186014" y="9877"/>
                      </a:lnTo>
                      <a:lnTo>
                        <a:pt x="186319" y="11478"/>
                      </a:lnTo>
                      <a:lnTo>
                        <a:pt x="186290" y="12030"/>
                      </a:lnTo>
                      <a:lnTo>
                        <a:pt x="186738" y="12697"/>
                      </a:lnTo>
                      <a:lnTo>
                        <a:pt x="186538" y="14249"/>
                      </a:lnTo>
                      <a:lnTo>
                        <a:pt x="185661" y="16707"/>
                      </a:lnTo>
                      <a:lnTo>
                        <a:pt x="185385" y="18202"/>
                      </a:lnTo>
                      <a:lnTo>
                        <a:pt x="185709" y="18755"/>
                      </a:lnTo>
                      <a:lnTo>
                        <a:pt x="185623" y="19383"/>
                      </a:lnTo>
                      <a:lnTo>
                        <a:pt x="184756" y="21946"/>
                      </a:lnTo>
                      <a:lnTo>
                        <a:pt x="184547" y="24898"/>
                      </a:lnTo>
                      <a:lnTo>
                        <a:pt x="185080" y="27775"/>
                      </a:lnTo>
                      <a:lnTo>
                        <a:pt x="186376" y="30594"/>
                      </a:lnTo>
                      <a:lnTo>
                        <a:pt x="188909" y="32461"/>
                      </a:lnTo>
                      <a:lnTo>
                        <a:pt x="192681" y="33385"/>
                      </a:lnTo>
                      <a:lnTo>
                        <a:pt x="196377" y="33595"/>
                      </a:lnTo>
                      <a:lnTo>
                        <a:pt x="199996" y="33090"/>
                      </a:lnTo>
                      <a:lnTo>
                        <a:pt x="204578" y="32814"/>
                      </a:lnTo>
                      <a:lnTo>
                        <a:pt x="210131" y="32775"/>
                      </a:lnTo>
                      <a:lnTo>
                        <a:pt x="212817" y="33099"/>
                      </a:lnTo>
                      <a:lnTo>
                        <a:pt x="212627" y="33785"/>
                      </a:lnTo>
                      <a:lnTo>
                        <a:pt x="211550" y="34785"/>
                      </a:lnTo>
                      <a:lnTo>
                        <a:pt x="209579" y="36090"/>
                      </a:lnTo>
                      <a:lnTo>
                        <a:pt x="208979" y="36938"/>
                      </a:lnTo>
                      <a:lnTo>
                        <a:pt x="208312" y="38052"/>
                      </a:lnTo>
                      <a:lnTo>
                        <a:pt x="206483" y="39529"/>
                      </a:lnTo>
                      <a:lnTo>
                        <a:pt x="205464" y="40415"/>
                      </a:lnTo>
                      <a:lnTo>
                        <a:pt x="205292" y="41034"/>
                      </a:lnTo>
                      <a:lnTo>
                        <a:pt x="204540" y="41862"/>
                      </a:lnTo>
                      <a:lnTo>
                        <a:pt x="203216" y="42901"/>
                      </a:lnTo>
                      <a:lnTo>
                        <a:pt x="202892" y="44291"/>
                      </a:lnTo>
                      <a:lnTo>
                        <a:pt x="203578" y="46025"/>
                      </a:lnTo>
                      <a:lnTo>
                        <a:pt x="204797" y="47425"/>
                      </a:lnTo>
                      <a:lnTo>
                        <a:pt x="206578" y="48492"/>
                      </a:lnTo>
                      <a:lnTo>
                        <a:pt x="207445" y="49587"/>
                      </a:lnTo>
                      <a:lnTo>
                        <a:pt x="207416" y="50730"/>
                      </a:lnTo>
                      <a:lnTo>
                        <a:pt x="207731" y="51359"/>
                      </a:lnTo>
                      <a:lnTo>
                        <a:pt x="208397" y="51473"/>
                      </a:lnTo>
                      <a:lnTo>
                        <a:pt x="208769" y="51997"/>
                      </a:lnTo>
                      <a:lnTo>
                        <a:pt x="208836" y="52949"/>
                      </a:lnTo>
                      <a:lnTo>
                        <a:pt x="207302" y="54607"/>
                      </a:lnTo>
                      <a:lnTo>
                        <a:pt x="204149" y="57007"/>
                      </a:lnTo>
                      <a:lnTo>
                        <a:pt x="202482" y="58550"/>
                      </a:lnTo>
                      <a:lnTo>
                        <a:pt x="202292" y="59246"/>
                      </a:lnTo>
                      <a:lnTo>
                        <a:pt x="199301" y="61865"/>
                      </a:lnTo>
                      <a:lnTo>
                        <a:pt x="198653" y="62894"/>
                      </a:lnTo>
                      <a:lnTo>
                        <a:pt x="198920" y="63608"/>
                      </a:lnTo>
                      <a:lnTo>
                        <a:pt x="200882" y="64627"/>
                      </a:lnTo>
                      <a:lnTo>
                        <a:pt x="201244" y="65465"/>
                      </a:lnTo>
                      <a:lnTo>
                        <a:pt x="201835" y="65589"/>
                      </a:lnTo>
                      <a:lnTo>
                        <a:pt x="202625" y="64999"/>
                      </a:lnTo>
                      <a:lnTo>
                        <a:pt x="203768" y="64732"/>
                      </a:lnTo>
                      <a:lnTo>
                        <a:pt x="205245" y="64789"/>
                      </a:lnTo>
                      <a:lnTo>
                        <a:pt x="206426" y="65199"/>
                      </a:lnTo>
                      <a:lnTo>
                        <a:pt x="207321" y="65989"/>
                      </a:lnTo>
                      <a:lnTo>
                        <a:pt x="207350" y="66799"/>
                      </a:lnTo>
                      <a:lnTo>
                        <a:pt x="206512" y="67637"/>
                      </a:lnTo>
                      <a:lnTo>
                        <a:pt x="205673" y="67932"/>
                      </a:lnTo>
                      <a:lnTo>
                        <a:pt x="203702" y="67808"/>
                      </a:lnTo>
                      <a:lnTo>
                        <a:pt x="202321" y="68237"/>
                      </a:lnTo>
                      <a:lnTo>
                        <a:pt x="201149" y="69132"/>
                      </a:lnTo>
                      <a:lnTo>
                        <a:pt x="199663" y="71523"/>
                      </a:lnTo>
                      <a:lnTo>
                        <a:pt x="199673" y="72542"/>
                      </a:lnTo>
                      <a:lnTo>
                        <a:pt x="200006" y="72542"/>
                      </a:lnTo>
                      <a:lnTo>
                        <a:pt x="200720" y="72057"/>
                      </a:lnTo>
                      <a:lnTo>
                        <a:pt x="201825" y="71095"/>
                      </a:lnTo>
                      <a:lnTo>
                        <a:pt x="202521" y="70990"/>
                      </a:lnTo>
                      <a:lnTo>
                        <a:pt x="202806" y="71733"/>
                      </a:lnTo>
                      <a:lnTo>
                        <a:pt x="201235" y="73276"/>
                      </a:lnTo>
                      <a:lnTo>
                        <a:pt x="197815" y="75619"/>
                      </a:lnTo>
                      <a:lnTo>
                        <a:pt x="196863" y="76352"/>
                      </a:lnTo>
                      <a:lnTo>
                        <a:pt x="196301" y="77400"/>
                      </a:lnTo>
                      <a:lnTo>
                        <a:pt x="197091" y="79296"/>
                      </a:lnTo>
                      <a:lnTo>
                        <a:pt x="197853" y="79115"/>
                      </a:lnTo>
                      <a:lnTo>
                        <a:pt x="198549" y="78648"/>
                      </a:lnTo>
                      <a:lnTo>
                        <a:pt x="199549" y="78067"/>
                      </a:lnTo>
                      <a:lnTo>
                        <a:pt x="202063" y="77781"/>
                      </a:lnTo>
                      <a:lnTo>
                        <a:pt x="205369" y="76972"/>
                      </a:lnTo>
                      <a:lnTo>
                        <a:pt x="207331" y="76791"/>
                      </a:lnTo>
                      <a:lnTo>
                        <a:pt x="208197" y="77524"/>
                      </a:lnTo>
                      <a:lnTo>
                        <a:pt x="208483" y="78543"/>
                      </a:lnTo>
                      <a:lnTo>
                        <a:pt x="207997" y="79629"/>
                      </a:lnTo>
                      <a:lnTo>
                        <a:pt x="206702" y="80953"/>
                      </a:lnTo>
                      <a:lnTo>
                        <a:pt x="206007" y="82124"/>
                      </a:lnTo>
                      <a:lnTo>
                        <a:pt x="205921" y="83144"/>
                      </a:lnTo>
                      <a:lnTo>
                        <a:pt x="207178" y="83677"/>
                      </a:lnTo>
                      <a:lnTo>
                        <a:pt x="209798" y="83734"/>
                      </a:lnTo>
                      <a:lnTo>
                        <a:pt x="211045" y="84020"/>
                      </a:lnTo>
                      <a:lnTo>
                        <a:pt x="211093" y="84858"/>
                      </a:lnTo>
                      <a:lnTo>
                        <a:pt x="211560" y="84992"/>
                      </a:lnTo>
                      <a:lnTo>
                        <a:pt x="216208" y="85373"/>
                      </a:lnTo>
                      <a:lnTo>
                        <a:pt x="217818" y="85754"/>
                      </a:lnTo>
                      <a:lnTo>
                        <a:pt x="218084" y="86296"/>
                      </a:lnTo>
                      <a:lnTo>
                        <a:pt x="220704" y="87020"/>
                      </a:lnTo>
                      <a:lnTo>
                        <a:pt x="231324" y="88792"/>
                      </a:lnTo>
                      <a:lnTo>
                        <a:pt x="234925" y="88573"/>
                      </a:lnTo>
                      <a:lnTo>
                        <a:pt x="239906" y="87982"/>
                      </a:lnTo>
                      <a:lnTo>
                        <a:pt x="240878" y="88963"/>
                      </a:lnTo>
                      <a:lnTo>
                        <a:pt x="241497" y="89078"/>
                      </a:lnTo>
                      <a:lnTo>
                        <a:pt x="242659" y="88925"/>
                      </a:lnTo>
                      <a:lnTo>
                        <a:pt x="249526" y="88411"/>
                      </a:lnTo>
                      <a:lnTo>
                        <a:pt x="249888" y="89373"/>
                      </a:lnTo>
                      <a:lnTo>
                        <a:pt x="252670" y="90287"/>
                      </a:lnTo>
                      <a:lnTo>
                        <a:pt x="254765" y="90364"/>
                      </a:lnTo>
                      <a:lnTo>
                        <a:pt x="257489" y="90459"/>
                      </a:lnTo>
                      <a:lnTo>
                        <a:pt x="262471" y="90897"/>
                      </a:lnTo>
                      <a:lnTo>
                        <a:pt x="263557" y="91221"/>
                      </a:lnTo>
                      <a:lnTo>
                        <a:pt x="263119" y="92259"/>
                      </a:lnTo>
                      <a:lnTo>
                        <a:pt x="262919" y="92688"/>
                      </a:lnTo>
                      <a:lnTo>
                        <a:pt x="263309" y="92697"/>
                      </a:lnTo>
                      <a:lnTo>
                        <a:pt x="264185" y="92202"/>
                      </a:lnTo>
                      <a:lnTo>
                        <a:pt x="265300" y="92021"/>
                      </a:lnTo>
                      <a:lnTo>
                        <a:pt x="266252" y="91573"/>
                      </a:lnTo>
                      <a:lnTo>
                        <a:pt x="267024" y="90869"/>
                      </a:lnTo>
                      <a:lnTo>
                        <a:pt x="267919" y="90735"/>
                      </a:lnTo>
                      <a:lnTo>
                        <a:pt x="269339" y="91649"/>
                      </a:lnTo>
                      <a:lnTo>
                        <a:pt x="269167" y="92145"/>
                      </a:lnTo>
                      <a:lnTo>
                        <a:pt x="265976" y="93231"/>
                      </a:lnTo>
                      <a:lnTo>
                        <a:pt x="266024" y="93688"/>
                      </a:lnTo>
                      <a:lnTo>
                        <a:pt x="266033" y="93964"/>
                      </a:lnTo>
                      <a:lnTo>
                        <a:pt x="266671" y="94116"/>
                      </a:lnTo>
                      <a:lnTo>
                        <a:pt x="266481" y="94602"/>
                      </a:lnTo>
                      <a:lnTo>
                        <a:pt x="265319" y="95183"/>
                      </a:lnTo>
                      <a:lnTo>
                        <a:pt x="265948" y="95545"/>
                      </a:lnTo>
                      <a:lnTo>
                        <a:pt x="268891" y="94717"/>
                      </a:lnTo>
                      <a:lnTo>
                        <a:pt x="270329" y="94669"/>
                      </a:lnTo>
                      <a:lnTo>
                        <a:pt x="273901" y="95307"/>
                      </a:lnTo>
                      <a:lnTo>
                        <a:pt x="275682" y="95307"/>
                      </a:lnTo>
                      <a:lnTo>
                        <a:pt x="277016" y="94774"/>
                      </a:lnTo>
                      <a:lnTo>
                        <a:pt x="277416" y="94297"/>
                      </a:lnTo>
                      <a:lnTo>
                        <a:pt x="278044" y="93983"/>
                      </a:lnTo>
                      <a:lnTo>
                        <a:pt x="278292" y="94116"/>
                      </a:lnTo>
                      <a:lnTo>
                        <a:pt x="278092" y="94755"/>
                      </a:lnTo>
                      <a:lnTo>
                        <a:pt x="277425" y="95917"/>
                      </a:lnTo>
                      <a:lnTo>
                        <a:pt x="278902" y="96326"/>
                      </a:lnTo>
                      <a:lnTo>
                        <a:pt x="282512" y="96002"/>
                      </a:lnTo>
                      <a:lnTo>
                        <a:pt x="284664" y="96002"/>
                      </a:lnTo>
                      <a:lnTo>
                        <a:pt x="286607" y="96002"/>
                      </a:lnTo>
                      <a:lnTo>
                        <a:pt x="286807" y="96279"/>
                      </a:lnTo>
                      <a:lnTo>
                        <a:pt x="286922" y="97012"/>
                      </a:lnTo>
                      <a:lnTo>
                        <a:pt x="287722" y="98336"/>
                      </a:lnTo>
                      <a:lnTo>
                        <a:pt x="287912" y="98927"/>
                      </a:lnTo>
                      <a:lnTo>
                        <a:pt x="287684" y="100270"/>
                      </a:lnTo>
                      <a:lnTo>
                        <a:pt x="288350" y="101079"/>
                      </a:lnTo>
                      <a:lnTo>
                        <a:pt x="288331" y="101813"/>
                      </a:lnTo>
                      <a:lnTo>
                        <a:pt x="288074" y="102441"/>
                      </a:lnTo>
                      <a:lnTo>
                        <a:pt x="288084" y="103061"/>
                      </a:lnTo>
                      <a:lnTo>
                        <a:pt x="288331" y="104489"/>
                      </a:lnTo>
                      <a:lnTo>
                        <a:pt x="289084" y="105499"/>
                      </a:lnTo>
                      <a:lnTo>
                        <a:pt x="289331" y="106366"/>
                      </a:lnTo>
                      <a:lnTo>
                        <a:pt x="289065" y="107394"/>
                      </a:lnTo>
                      <a:lnTo>
                        <a:pt x="289531" y="107794"/>
                      </a:lnTo>
                      <a:lnTo>
                        <a:pt x="290751" y="107566"/>
                      </a:lnTo>
                      <a:lnTo>
                        <a:pt x="291427" y="107137"/>
                      </a:lnTo>
                      <a:lnTo>
                        <a:pt x="291789" y="106280"/>
                      </a:lnTo>
                      <a:lnTo>
                        <a:pt x="292122" y="106442"/>
                      </a:lnTo>
                      <a:lnTo>
                        <a:pt x="292075" y="107899"/>
                      </a:lnTo>
                      <a:lnTo>
                        <a:pt x="290836" y="110204"/>
                      </a:lnTo>
                      <a:lnTo>
                        <a:pt x="290351" y="111538"/>
                      </a:lnTo>
                      <a:lnTo>
                        <a:pt x="290370" y="113395"/>
                      </a:lnTo>
                      <a:lnTo>
                        <a:pt x="291379" y="113909"/>
                      </a:lnTo>
                      <a:lnTo>
                        <a:pt x="291875" y="114633"/>
                      </a:lnTo>
                      <a:lnTo>
                        <a:pt x="294122" y="115138"/>
                      </a:lnTo>
                      <a:lnTo>
                        <a:pt x="294456" y="114995"/>
                      </a:lnTo>
                      <a:lnTo>
                        <a:pt x="294570" y="113795"/>
                      </a:lnTo>
                      <a:lnTo>
                        <a:pt x="294980" y="113481"/>
                      </a:lnTo>
                      <a:lnTo>
                        <a:pt x="295856" y="113414"/>
                      </a:lnTo>
                      <a:lnTo>
                        <a:pt x="297199" y="113586"/>
                      </a:lnTo>
                      <a:lnTo>
                        <a:pt x="297828" y="114176"/>
                      </a:lnTo>
                      <a:lnTo>
                        <a:pt x="297761" y="115186"/>
                      </a:lnTo>
                      <a:lnTo>
                        <a:pt x="296875" y="116491"/>
                      </a:lnTo>
                      <a:lnTo>
                        <a:pt x="294561" y="117815"/>
                      </a:lnTo>
                      <a:lnTo>
                        <a:pt x="293742" y="118948"/>
                      </a:lnTo>
                      <a:lnTo>
                        <a:pt x="293751" y="119653"/>
                      </a:lnTo>
                      <a:lnTo>
                        <a:pt x="294103" y="119786"/>
                      </a:lnTo>
                      <a:lnTo>
                        <a:pt x="294789" y="119339"/>
                      </a:lnTo>
                      <a:lnTo>
                        <a:pt x="295370" y="119558"/>
                      </a:lnTo>
                      <a:lnTo>
                        <a:pt x="295846" y="120444"/>
                      </a:lnTo>
                      <a:lnTo>
                        <a:pt x="295732" y="121158"/>
                      </a:lnTo>
                      <a:lnTo>
                        <a:pt x="295027" y="121701"/>
                      </a:lnTo>
                      <a:lnTo>
                        <a:pt x="293246" y="122006"/>
                      </a:lnTo>
                      <a:lnTo>
                        <a:pt x="292903" y="122549"/>
                      </a:lnTo>
                      <a:lnTo>
                        <a:pt x="294056" y="123730"/>
                      </a:lnTo>
                      <a:lnTo>
                        <a:pt x="294627" y="125301"/>
                      </a:lnTo>
                      <a:lnTo>
                        <a:pt x="295237" y="125463"/>
                      </a:lnTo>
                      <a:lnTo>
                        <a:pt x="295370" y="125968"/>
                      </a:lnTo>
                      <a:lnTo>
                        <a:pt x="295037" y="126816"/>
                      </a:lnTo>
                      <a:lnTo>
                        <a:pt x="295466" y="127378"/>
                      </a:lnTo>
                      <a:lnTo>
                        <a:pt x="297151" y="128007"/>
                      </a:lnTo>
                      <a:lnTo>
                        <a:pt x="297113" y="129635"/>
                      </a:lnTo>
                      <a:lnTo>
                        <a:pt x="297056" y="130597"/>
                      </a:lnTo>
                      <a:lnTo>
                        <a:pt x="296866" y="131702"/>
                      </a:lnTo>
                      <a:lnTo>
                        <a:pt x="297399" y="131826"/>
                      </a:lnTo>
                      <a:lnTo>
                        <a:pt x="298114" y="131302"/>
                      </a:lnTo>
                      <a:lnTo>
                        <a:pt x="298599" y="130330"/>
                      </a:lnTo>
                      <a:lnTo>
                        <a:pt x="299771" y="129940"/>
                      </a:lnTo>
                      <a:lnTo>
                        <a:pt x="299619" y="130454"/>
                      </a:lnTo>
                      <a:lnTo>
                        <a:pt x="298466" y="131645"/>
                      </a:lnTo>
                      <a:lnTo>
                        <a:pt x="298133" y="132598"/>
                      </a:lnTo>
                      <a:lnTo>
                        <a:pt x="298618" y="133293"/>
                      </a:lnTo>
                      <a:lnTo>
                        <a:pt x="297428" y="133540"/>
                      </a:lnTo>
                      <a:lnTo>
                        <a:pt x="294589" y="133321"/>
                      </a:lnTo>
                      <a:lnTo>
                        <a:pt x="293732" y="132359"/>
                      </a:lnTo>
                      <a:lnTo>
                        <a:pt x="293503" y="132007"/>
                      </a:lnTo>
                      <a:lnTo>
                        <a:pt x="292656" y="131902"/>
                      </a:lnTo>
                      <a:lnTo>
                        <a:pt x="292541" y="131559"/>
                      </a:lnTo>
                      <a:lnTo>
                        <a:pt x="293427" y="130578"/>
                      </a:lnTo>
                      <a:lnTo>
                        <a:pt x="293313" y="130311"/>
                      </a:lnTo>
                      <a:lnTo>
                        <a:pt x="291389" y="130540"/>
                      </a:lnTo>
                      <a:lnTo>
                        <a:pt x="289217" y="131235"/>
                      </a:lnTo>
                      <a:lnTo>
                        <a:pt x="287626" y="132083"/>
                      </a:lnTo>
                      <a:lnTo>
                        <a:pt x="287150" y="133064"/>
                      </a:lnTo>
                      <a:lnTo>
                        <a:pt x="287436" y="134083"/>
                      </a:lnTo>
                      <a:lnTo>
                        <a:pt x="288465" y="135141"/>
                      </a:lnTo>
                      <a:lnTo>
                        <a:pt x="288217" y="136941"/>
                      </a:lnTo>
                      <a:lnTo>
                        <a:pt x="286693" y="139484"/>
                      </a:lnTo>
                      <a:lnTo>
                        <a:pt x="285074" y="141199"/>
                      </a:lnTo>
                      <a:lnTo>
                        <a:pt x="283350" y="142075"/>
                      </a:lnTo>
                      <a:lnTo>
                        <a:pt x="279854" y="141446"/>
                      </a:lnTo>
                      <a:lnTo>
                        <a:pt x="274596" y="139294"/>
                      </a:lnTo>
                      <a:lnTo>
                        <a:pt x="271967" y="137379"/>
                      </a:lnTo>
                      <a:lnTo>
                        <a:pt x="271729" y="134779"/>
                      </a:lnTo>
                      <a:lnTo>
                        <a:pt x="271263" y="134598"/>
                      </a:lnTo>
                      <a:lnTo>
                        <a:pt x="267624" y="135436"/>
                      </a:lnTo>
                      <a:lnTo>
                        <a:pt x="265357" y="136512"/>
                      </a:lnTo>
                      <a:lnTo>
                        <a:pt x="263100" y="138046"/>
                      </a:lnTo>
                      <a:lnTo>
                        <a:pt x="262909" y="137570"/>
                      </a:lnTo>
                      <a:lnTo>
                        <a:pt x="264804" y="135074"/>
                      </a:lnTo>
                      <a:lnTo>
                        <a:pt x="265843" y="133521"/>
                      </a:lnTo>
                      <a:lnTo>
                        <a:pt x="266043" y="132902"/>
                      </a:lnTo>
                      <a:lnTo>
                        <a:pt x="265643" y="132407"/>
                      </a:lnTo>
                      <a:lnTo>
                        <a:pt x="264652" y="132016"/>
                      </a:lnTo>
                      <a:lnTo>
                        <a:pt x="262957" y="132236"/>
                      </a:lnTo>
                      <a:lnTo>
                        <a:pt x="260004" y="133398"/>
                      </a:lnTo>
                      <a:lnTo>
                        <a:pt x="259537" y="133264"/>
                      </a:lnTo>
                      <a:lnTo>
                        <a:pt x="259804" y="132864"/>
                      </a:lnTo>
                      <a:lnTo>
                        <a:pt x="263204" y="130959"/>
                      </a:lnTo>
                      <a:lnTo>
                        <a:pt x="264538" y="129911"/>
                      </a:lnTo>
                      <a:lnTo>
                        <a:pt x="265033" y="128949"/>
                      </a:lnTo>
                      <a:lnTo>
                        <a:pt x="265824" y="128083"/>
                      </a:lnTo>
                      <a:lnTo>
                        <a:pt x="266919" y="127311"/>
                      </a:lnTo>
                      <a:lnTo>
                        <a:pt x="266919" y="126968"/>
                      </a:lnTo>
                      <a:lnTo>
                        <a:pt x="265824" y="127035"/>
                      </a:lnTo>
                      <a:lnTo>
                        <a:pt x="265119" y="127368"/>
                      </a:lnTo>
                      <a:lnTo>
                        <a:pt x="263309" y="128730"/>
                      </a:lnTo>
                      <a:lnTo>
                        <a:pt x="261766" y="128606"/>
                      </a:lnTo>
                      <a:lnTo>
                        <a:pt x="261728" y="128292"/>
                      </a:lnTo>
                      <a:lnTo>
                        <a:pt x="262557" y="127511"/>
                      </a:lnTo>
                      <a:lnTo>
                        <a:pt x="262452" y="127025"/>
                      </a:lnTo>
                      <a:lnTo>
                        <a:pt x="261423" y="126825"/>
                      </a:lnTo>
                      <a:lnTo>
                        <a:pt x="261509" y="125930"/>
                      </a:lnTo>
                      <a:lnTo>
                        <a:pt x="261233" y="125739"/>
                      </a:lnTo>
                      <a:lnTo>
                        <a:pt x="260147" y="125120"/>
                      </a:lnTo>
                      <a:lnTo>
                        <a:pt x="260852" y="123454"/>
                      </a:lnTo>
                      <a:lnTo>
                        <a:pt x="261052" y="122111"/>
                      </a:lnTo>
                      <a:lnTo>
                        <a:pt x="260737" y="121091"/>
                      </a:lnTo>
                      <a:lnTo>
                        <a:pt x="261166" y="120072"/>
                      </a:lnTo>
                      <a:lnTo>
                        <a:pt x="262823" y="118415"/>
                      </a:lnTo>
                      <a:lnTo>
                        <a:pt x="262633" y="118186"/>
                      </a:lnTo>
                      <a:lnTo>
                        <a:pt x="259975" y="117967"/>
                      </a:lnTo>
                      <a:lnTo>
                        <a:pt x="254822" y="117767"/>
                      </a:lnTo>
                      <a:lnTo>
                        <a:pt x="251917" y="118110"/>
                      </a:lnTo>
                      <a:lnTo>
                        <a:pt x="251241" y="118986"/>
                      </a:lnTo>
                      <a:lnTo>
                        <a:pt x="251527" y="119634"/>
                      </a:lnTo>
                      <a:lnTo>
                        <a:pt x="252765" y="120063"/>
                      </a:lnTo>
                      <a:lnTo>
                        <a:pt x="253432" y="120796"/>
                      </a:lnTo>
                      <a:lnTo>
                        <a:pt x="253451" y="121434"/>
                      </a:lnTo>
                      <a:lnTo>
                        <a:pt x="254089" y="122082"/>
                      </a:lnTo>
                      <a:lnTo>
                        <a:pt x="254527" y="123463"/>
                      </a:lnTo>
                      <a:lnTo>
                        <a:pt x="254775" y="125549"/>
                      </a:lnTo>
                      <a:lnTo>
                        <a:pt x="255299" y="126416"/>
                      </a:lnTo>
                      <a:lnTo>
                        <a:pt x="256280" y="126521"/>
                      </a:lnTo>
                      <a:lnTo>
                        <a:pt x="256756" y="126721"/>
                      </a:lnTo>
                      <a:lnTo>
                        <a:pt x="255622" y="128826"/>
                      </a:lnTo>
                      <a:lnTo>
                        <a:pt x="255442" y="130111"/>
                      </a:lnTo>
                      <a:lnTo>
                        <a:pt x="255946" y="131302"/>
                      </a:lnTo>
                      <a:lnTo>
                        <a:pt x="255870" y="132636"/>
                      </a:lnTo>
                      <a:lnTo>
                        <a:pt x="254651" y="134950"/>
                      </a:lnTo>
                      <a:lnTo>
                        <a:pt x="253594" y="137236"/>
                      </a:lnTo>
                      <a:lnTo>
                        <a:pt x="252317" y="138722"/>
                      </a:lnTo>
                      <a:lnTo>
                        <a:pt x="249993" y="140427"/>
                      </a:lnTo>
                      <a:lnTo>
                        <a:pt x="248345" y="141856"/>
                      </a:lnTo>
                      <a:lnTo>
                        <a:pt x="247355" y="142999"/>
                      </a:lnTo>
                      <a:lnTo>
                        <a:pt x="246193" y="143761"/>
                      </a:lnTo>
                      <a:lnTo>
                        <a:pt x="244840" y="144142"/>
                      </a:lnTo>
                      <a:lnTo>
                        <a:pt x="243240" y="144951"/>
                      </a:lnTo>
                      <a:lnTo>
                        <a:pt x="241383" y="146190"/>
                      </a:lnTo>
                      <a:lnTo>
                        <a:pt x="239811" y="147723"/>
                      </a:lnTo>
                      <a:lnTo>
                        <a:pt x="238516" y="149562"/>
                      </a:lnTo>
                      <a:lnTo>
                        <a:pt x="236563" y="151457"/>
                      </a:lnTo>
                      <a:lnTo>
                        <a:pt x="233934" y="153400"/>
                      </a:lnTo>
                      <a:lnTo>
                        <a:pt x="232191" y="155620"/>
                      </a:lnTo>
                      <a:lnTo>
                        <a:pt x="231334" y="158105"/>
                      </a:lnTo>
                      <a:lnTo>
                        <a:pt x="226105" y="168802"/>
                      </a:lnTo>
                      <a:lnTo>
                        <a:pt x="225104" y="171460"/>
                      </a:lnTo>
                      <a:lnTo>
                        <a:pt x="223599" y="174088"/>
                      </a:lnTo>
                      <a:lnTo>
                        <a:pt x="221599" y="176689"/>
                      </a:lnTo>
                      <a:lnTo>
                        <a:pt x="219380" y="178727"/>
                      </a:lnTo>
                      <a:lnTo>
                        <a:pt x="216932" y="180203"/>
                      </a:lnTo>
                      <a:lnTo>
                        <a:pt x="214674" y="181299"/>
                      </a:lnTo>
                      <a:lnTo>
                        <a:pt x="212627" y="181994"/>
                      </a:lnTo>
                      <a:lnTo>
                        <a:pt x="210445" y="183175"/>
                      </a:lnTo>
                      <a:lnTo>
                        <a:pt x="208131" y="184842"/>
                      </a:lnTo>
                      <a:lnTo>
                        <a:pt x="204854" y="186347"/>
                      </a:lnTo>
                      <a:lnTo>
                        <a:pt x="200644" y="187662"/>
                      </a:lnTo>
                      <a:lnTo>
                        <a:pt x="197377" y="188471"/>
                      </a:lnTo>
                      <a:lnTo>
                        <a:pt x="197301" y="187814"/>
                      </a:lnTo>
                      <a:lnTo>
                        <a:pt x="197158" y="186471"/>
                      </a:lnTo>
                      <a:lnTo>
                        <a:pt x="198749" y="180213"/>
                      </a:lnTo>
                      <a:lnTo>
                        <a:pt x="202092" y="169040"/>
                      </a:lnTo>
                      <a:lnTo>
                        <a:pt x="203740" y="162115"/>
                      </a:lnTo>
                      <a:lnTo>
                        <a:pt x="203645" y="159448"/>
                      </a:lnTo>
                      <a:lnTo>
                        <a:pt x="202730" y="157420"/>
                      </a:lnTo>
                      <a:lnTo>
                        <a:pt x="200968" y="156029"/>
                      </a:lnTo>
                      <a:lnTo>
                        <a:pt x="199406" y="155429"/>
                      </a:lnTo>
                      <a:lnTo>
                        <a:pt x="198025" y="155620"/>
                      </a:lnTo>
                      <a:lnTo>
                        <a:pt x="195434" y="156753"/>
                      </a:lnTo>
                      <a:lnTo>
                        <a:pt x="191148" y="157744"/>
                      </a:lnTo>
                      <a:lnTo>
                        <a:pt x="189271" y="158401"/>
                      </a:lnTo>
                      <a:lnTo>
                        <a:pt x="187928" y="159277"/>
                      </a:lnTo>
                      <a:lnTo>
                        <a:pt x="186623" y="159791"/>
                      </a:lnTo>
                      <a:lnTo>
                        <a:pt x="185357" y="159944"/>
                      </a:lnTo>
                      <a:lnTo>
                        <a:pt x="185099" y="160172"/>
                      </a:lnTo>
                      <a:lnTo>
                        <a:pt x="185871" y="160496"/>
                      </a:lnTo>
                      <a:lnTo>
                        <a:pt x="185452" y="161344"/>
                      </a:lnTo>
                      <a:lnTo>
                        <a:pt x="180927" y="165068"/>
                      </a:lnTo>
                      <a:lnTo>
                        <a:pt x="180927" y="165068"/>
                      </a:lnTo>
                      <a:lnTo>
                        <a:pt x="180927" y="165068"/>
                      </a:lnTo>
                      <a:lnTo>
                        <a:pt x="180927" y="165068"/>
                      </a:lnTo>
                      <a:close/>
                    </a:path>
                  </a:pathLst>
                </a:custGeom>
                <a:solidFill>
                  <a:srgbClr val="FFFFFF"/>
                </a:solidFill>
                <a:ln w="9525" cap="flat">
                  <a:noFill/>
                  <a:prstDash val="solid"/>
                  <a:miter/>
                </a:ln>
              </p:spPr>
              <p:txBody>
                <a:bodyPr rtlCol="0" anchor="ctr"/>
                <a:lstStyle/>
                <a:p>
                  <a:endParaRPr lang="en-US"/>
                </a:p>
              </p:txBody>
            </p:sp>
            <p:sp>
              <p:nvSpPr>
                <p:cNvPr id="467" name="Freeform: Shape 466">
                  <a:extLst>
                    <a:ext uri="{FF2B5EF4-FFF2-40B4-BE49-F238E27FC236}">
                      <a16:creationId xmlns:a16="http://schemas.microsoft.com/office/drawing/2014/main" id="{699FC6C2-BA32-4F28-84A8-72951FF97547}"/>
                    </a:ext>
                  </a:extLst>
                </p:cNvPr>
                <p:cNvSpPr/>
                <p:nvPr/>
              </p:nvSpPr>
              <p:spPr>
                <a:xfrm>
                  <a:off x="6507622" y="4470051"/>
                  <a:ext cx="63131" cy="171764"/>
                </a:xfrm>
                <a:custGeom>
                  <a:avLst/>
                  <a:gdLst>
                    <a:gd name="connsiteX0" fmla="*/ 50930 w 63131"/>
                    <a:gd name="connsiteY0" fmla="*/ 165068 h 171764"/>
                    <a:gd name="connsiteX1" fmla="*/ 50711 w 63131"/>
                    <a:gd name="connsiteY1" fmla="*/ 164678 h 171764"/>
                    <a:gd name="connsiteX2" fmla="*/ 48006 w 63131"/>
                    <a:gd name="connsiteY2" fmla="*/ 163649 h 171764"/>
                    <a:gd name="connsiteX3" fmla="*/ 47101 w 63131"/>
                    <a:gd name="connsiteY3" fmla="*/ 163039 h 171764"/>
                    <a:gd name="connsiteX4" fmla="*/ 46806 w 63131"/>
                    <a:gd name="connsiteY4" fmla="*/ 162687 h 171764"/>
                    <a:gd name="connsiteX5" fmla="*/ 46263 w 63131"/>
                    <a:gd name="connsiteY5" fmla="*/ 162811 h 171764"/>
                    <a:gd name="connsiteX6" fmla="*/ 45158 w 63131"/>
                    <a:gd name="connsiteY6" fmla="*/ 163963 h 171764"/>
                    <a:gd name="connsiteX7" fmla="*/ 43053 w 63131"/>
                    <a:gd name="connsiteY7" fmla="*/ 165116 h 171764"/>
                    <a:gd name="connsiteX8" fmla="*/ 42405 w 63131"/>
                    <a:gd name="connsiteY8" fmla="*/ 165087 h 171764"/>
                    <a:gd name="connsiteX9" fmla="*/ 43243 w 63131"/>
                    <a:gd name="connsiteY9" fmla="*/ 164373 h 171764"/>
                    <a:gd name="connsiteX10" fmla="*/ 43558 w 63131"/>
                    <a:gd name="connsiteY10" fmla="*/ 163763 h 171764"/>
                    <a:gd name="connsiteX11" fmla="*/ 43539 w 63131"/>
                    <a:gd name="connsiteY11" fmla="*/ 163030 h 171764"/>
                    <a:gd name="connsiteX12" fmla="*/ 42767 w 63131"/>
                    <a:gd name="connsiteY12" fmla="*/ 162725 h 171764"/>
                    <a:gd name="connsiteX13" fmla="*/ 41262 w 63131"/>
                    <a:gd name="connsiteY13" fmla="*/ 162820 h 171764"/>
                    <a:gd name="connsiteX14" fmla="*/ 40319 w 63131"/>
                    <a:gd name="connsiteY14" fmla="*/ 162525 h 171764"/>
                    <a:gd name="connsiteX15" fmla="*/ 39852 w 63131"/>
                    <a:gd name="connsiteY15" fmla="*/ 160982 h 171764"/>
                    <a:gd name="connsiteX16" fmla="*/ 40348 w 63131"/>
                    <a:gd name="connsiteY16" fmla="*/ 158877 h 171764"/>
                    <a:gd name="connsiteX17" fmla="*/ 40929 w 63131"/>
                    <a:gd name="connsiteY17" fmla="*/ 158020 h 171764"/>
                    <a:gd name="connsiteX18" fmla="*/ 41881 w 63131"/>
                    <a:gd name="connsiteY18" fmla="*/ 157296 h 171764"/>
                    <a:gd name="connsiteX19" fmla="*/ 43205 w 63131"/>
                    <a:gd name="connsiteY19" fmla="*/ 156696 h 171764"/>
                    <a:gd name="connsiteX20" fmla="*/ 44024 w 63131"/>
                    <a:gd name="connsiteY20" fmla="*/ 155105 h 171764"/>
                    <a:gd name="connsiteX21" fmla="*/ 44348 w 63131"/>
                    <a:gd name="connsiteY21" fmla="*/ 152533 h 171764"/>
                    <a:gd name="connsiteX22" fmla="*/ 43996 w 63131"/>
                    <a:gd name="connsiteY22" fmla="*/ 150476 h 171764"/>
                    <a:gd name="connsiteX23" fmla="*/ 42976 w 63131"/>
                    <a:gd name="connsiteY23" fmla="*/ 148857 h 171764"/>
                    <a:gd name="connsiteX24" fmla="*/ 41986 w 63131"/>
                    <a:gd name="connsiteY24" fmla="*/ 147876 h 171764"/>
                    <a:gd name="connsiteX25" fmla="*/ 41014 w 63131"/>
                    <a:gd name="connsiteY25" fmla="*/ 147504 h 171764"/>
                    <a:gd name="connsiteX26" fmla="*/ 40224 w 63131"/>
                    <a:gd name="connsiteY26" fmla="*/ 146742 h 171764"/>
                    <a:gd name="connsiteX27" fmla="*/ 38862 w 63131"/>
                    <a:gd name="connsiteY27" fmla="*/ 144580 h 171764"/>
                    <a:gd name="connsiteX28" fmla="*/ 37995 w 63131"/>
                    <a:gd name="connsiteY28" fmla="*/ 143770 h 171764"/>
                    <a:gd name="connsiteX29" fmla="*/ 35737 w 63131"/>
                    <a:gd name="connsiteY29" fmla="*/ 142827 h 171764"/>
                    <a:gd name="connsiteX30" fmla="*/ 35223 w 63131"/>
                    <a:gd name="connsiteY30" fmla="*/ 142065 h 171764"/>
                    <a:gd name="connsiteX31" fmla="*/ 34937 w 63131"/>
                    <a:gd name="connsiteY31" fmla="*/ 139532 h 171764"/>
                    <a:gd name="connsiteX32" fmla="*/ 33671 w 63131"/>
                    <a:gd name="connsiteY32" fmla="*/ 136436 h 171764"/>
                    <a:gd name="connsiteX33" fmla="*/ 33223 w 63131"/>
                    <a:gd name="connsiteY33" fmla="*/ 133817 h 171764"/>
                    <a:gd name="connsiteX34" fmla="*/ 33556 w 63131"/>
                    <a:gd name="connsiteY34" fmla="*/ 132912 h 171764"/>
                    <a:gd name="connsiteX35" fmla="*/ 33461 w 63131"/>
                    <a:gd name="connsiteY35" fmla="*/ 130273 h 171764"/>
                    <a:gd name="connsiteX36" fmla="*/ 31737 w 63131"/>
                    <a:gd name="connsiteY36" fmla="*/ 124758 h 171764"/>
                    <a:gd name="connsiteX37" fmla="*/ 30042 w 63131"/>
                    <a:gd name="connsiteY37" fmla="*/ 122091 h 171764"/>
                    <a:gd name="connsiteX38" fmla="*/ 27698 w 63131"/>
                    <a:gd name="connsiteY38" fmla="*/ 119910 h 171764"/>
                    <a:gd name="connsiteX39" fmla="*/ 25108 w 63131"/>
                    <a:gd name="connsiteY39" fmla="*/ 118338 h 171764"/>
                    <a:gd name="connsiteX40" fmla="*/ 22212 w 63131"/>
                    <a:gd name="connsiteY40" fmla="*/ 117338 h 171764"/>
                    <a:gd name="connsiteX41" fmla="*/ 19659 w 63131"/>
                    <a:gd name="connsiteY41" fmla="*/ 115195 h 171764"/>
                    <a:gd name="connsiteX42" fmla="*/ 15564 w 63131"/>
                    <a:gd name="connsiteY42" fmla="*/ 109737 h 171764"/>
                    <a:gd name="connsiteX43" fmla="*/ 13135 w 63131"/>
                    <a:gd name="connsiteY43" fmla="*/ 107594 h 171764"/>
                    <a:gd name="connsiteX44" fmla="*/ 12373 w 63131"/>
                    <a:gd name="connsiteY44" fmla="*/ 106518 h 171764"/>
                    <a:gd name="connsiteX45" fmla="*/ 11477 w 63131"/>
                    <a:gd name="connsiteY45" fmla="*/ 103775 h 171764"/>
                    <a:gd name="connsiteX46" fmla="*/ 11687 w 63131"/>
                    <a:gd name="connsiteY46" fmla="*/ 100774 h 171764"/>
                    <a:gd name="connsiteX47" fmla="*/ 11459 w 63131"/>
                    <a:gd name="connsiteY47" fmla="*/ 100060 h 171764"/>
                    <a:gd name="connsiteX48" fmla="*/ 10763 w 63131"/>
                    <a:gd name="connsiteY48" fmla="*/ 100117 h 171764"/>
                    <a:gd name="connsiteX49" fmla="*/ 10210 w 63131"/>
                    <a:gd name="connsiteY49" fmla="*/ 99869 h 171764"/>
                    <a:gd name="connsiteX50" fmla="*/ 9849 w 63131"/>
                    <a:gd name="connsiteY50" fmla="*/ 99317 h 171764"/>
                    <a:gd name="connsiteX51" fmla="*/ 6572 w 63131"/>
                    <a:gd name="connsiteY51" fmla="*/ 89849 h 171764"/>
                    <a:gd name="connsiteX52" fmla="*/ 5896 w 63131"/>
                    <a:gd name="connsiteY52" fmla="*/ 89373 h 171764"/>
                    <a:gd name="connsiteX53" fmla="*/ 5305 w 63131"/>
                    <a:gd name="connsiteY53" fmla="*/ 87973 h 171764"/>
                    <a:gd name="connsiteX54" fmla="*/ 4715 w 63131"/>
                    <a:gd name="connsiteY54" fmla="*/ 87268 h 171764"/>
                    <a:gd name="connsiteX55" fmla="*/ 3657 w 63131"/>
                    <a:gd name="connsiteY55" fmla="*/ 86620 h 171764"/>
                    <a:gd name="connsiteX56" fmla="*/ 2991 w 63131"/>
                    <a:gd name="connsiteY56" fmla="*/ 85039 h 171764"/>
                    <a:gd name="connsiteX57" fmla="*/ 2762 w 63131"/>
                    <a:gd name="connsiteY57" fmla="*/ 82515 h 171764"/>
                    <a:gd name="connsiteX58" fmla="*/ 2991 w 63131"/>
                    <a:gd name="connsiteY58" fmla="*/ 81162 h 171764"/>
                    <a:gd name="connsiteX59" fmla="*/ 3790 w 63131"/>
                    <a:gd name="connsiteY59" fmla="*/ 80448 h 171764"/>
                    <a:gd name="connsiteX60" fmla="*/ 7477 w 63131"/>
                    <a:gd name="connsiteY60" fmla="*/ 77495 h 171764"/>
                    <a:gd name="connsiteX61" fmla="*/ 7829 w 63131"/>
                    <a:gd name="connsiteY61" fmla="*/ 76486 h 171764"/>
                    <a:gd name="connsiteX62" fmla="*/ 7877 w 63131"/>
                    <a:gd name="connsiteY62" fmla="*/ 75857 h 171764"/>
                    <a:gd name="connsiteX63" fmla="*/ 7696 w 63131"/>
                    <a:gd name="connsiteY63" fmla="*/ 73180 h 171764"/>
                    <a:gd name="connsiteX64" fmla="*/ 7991 w 63131"/>
                    <a:gd name="connsiteY64" fmla="*/ 72333 h 171764"/>
                    <a:gd name="connsiteX65" fmla="*/ 8906 w 63131"/>
                    <a:gd name="connsiteY65" fmla="*/ 72190 h 171764"/>
                    <a:gd name="connsiteX66" fmla="*/ 8954 w 63131"/>
                    <a:gd name="connsiteY66" fmla="*/ 71752 h 171764"/>
                    <a:gd name="connsiteX67" fmla="*/ 4562 w 63131"/>
                    <a:gd name="connsiteY67" fmla="*/ 64037 h 171764"/>
                    <a:gd name="connsiteX68" fmla="*/ 2495 w 63131"/>
                    <a:gd name="connsiteY68" fmla="*/ 59769 h 171764"/>
                    <a:gd name="connsiteX69" fmla="*/ 1305 w 63131"/>
                    <a:gd name="connsiteY69" fmla="*/ 56254 h 171764"/>
                    <a:gd name="connsiteX70" fmla="*/ 895 w 63131"/>
                    <a:gd name="connsiteY70" fmla="*/ 54045 h 171764"/>
                    <a:gd name="connsiteX71" fmla="*/ 1238 w 63131"/>
                    <a:gd name="connsiteY71" fmla="*/ 53149 h 171764"/>
                    <a:gd name="connsiteX72" fmla="*/ 1505 w 63131"/>
                    <a:gd name="connsiteY72" fmla="*/ 43339 h 171764"/>
                    <a:gd name="connsiteX73" fmla="*/ 1905 w 63131"/>
                    <a:gd name="connsiteY73" fmla="*/ 39300 h 171764"/>
                    <a:gd name="connsiteX74" fmla="*/ 2667 w 63131"/>
                    <a:gd name="connsiteY74" fmla="*/ 37490 h 171764"/>
                    <a:gd name="connsiteX75" fmla="*/ 3371 w 63131"/>
                    <a:gd name="connsiteY75" fmla="*/ 36719 h 171764"/>
                    <a:gd name="connsiteX76" fmla="*/ 4419 w 63131"/>
                    <a:gd name="connsiteY76" fmla="*/ 36938 h 171764"/>
                    <a:gd name="connsiteX77" fmla="*/ 4429 w 63131"/>
                    <a:gd name="connsiteY77" fmla="*/ 34604 h 171764"/>
                    <a:gd name="connsiteX78" fmla="*/ 6296 w 63131"/>
                    <a:gd name="connsiteY78" fmla="*/ 24031 h 171764"/>
                    <a:gd name="connsiteX79" fmla="*/ 6029 w 63131"/>
                    <a:gd name="connsiteY79" fmla="*/ 22898 h 171764"/>
                    <a:gd name="connsiteX80" fmla="*/ 5476 w 63131"/>
                    <a:gd name="connsiteY80" fmla="*/ 23098 h 171764"/>
                    <a:gd name="connsiteX81" fmla="*/ 5153 w 63131"/>
                    <a:gd name="connsiteY81" fmla="*/ 24555 h 171764"/>
                    <a:gd name="connsiteX82" fmla="*/ 2734 w 63131"/>
                    <a:gd name="connsiteY82" fmla="*/ 31394 h 171764"/>
                    <a:gd name="connsiteX83" fmla="*/ 2334 w 63131"/>
                    <a:gd name="connsiteY83" fmla="*/ 31670 h 171764"/>
                    <a:gd name="connsiteX84" fmla="*/ 133 w 63131"/>
                    <a:gd name="connsiteY84" fmla="*/ 30842 h 171764"/>
                    <a:gd name="connsiteX85" fmla="*/ 0 w 63131"/>
                    <a:gd name="connsiteY85" fmla="*/ 29861 h 171764"/>
                    <a:gd name="connsiteX86" fmla="*/ 1009 w 63131"/>
                    <a:gd name="connsiteY86" fmla="*/ 28556 h 171764"/>
                    <a:gd name="connsiteX87" fmla="*/ 1343 w 63131"/>
                    <a:gd name="connsiteY87" fmla="*/ 27318 h 171764"/>
                    <a:gd name="connsiteX88" fmla="*/ 1038 w 63131"/>
                    <a:gd name="connsiteY88" fmla="*/ 26146 h 171764"/>
                    <a:gd name="connsiteX89" fmla="*/ 1009 w 63131"/>
                    <a:gd name="connsiteY89" fmla="*/ 23736 h 171764"/>
                    <a:gd name="connsiteX90" fmla="*/ 1667 w 63131"/>
                    <a:gd name="connsiteY90" fmla="*/ 17554 h 171764"/>
                    <a:gd name="connsiteX91" fmla="*/ 2124 w 63131"/>
                    <a:gd name="connsiteY91" fmla="*/ 16183 h 171764"/>
                    <a:gd name="connsiteX92" fmla="*/ 2134 w 63131"/>
                    <a:gd name="connsiteY92" fmla="*/ 15059 h 171764"/>
                    <a:gd name="connsiteX93" fmla="*/ 1724 w 63131"/>
                    <a:gd name="connsiteY93" fmla="*/ 14154 h 171764"/>
                    <a:gd name="connsiteX94" fmla="*/ 1952 w 63131"/>
                    <a:gd name="connsiteY94" fmla="*/ 12973 h 171764"/>
                    <a:gd name="connsiteX95" fmla="*/ 2848 w 63131"/>
                    <a:gd name="connsiteY95" fmla="*/ 11497 h 171764"/>
                    <a:gd name="connsiteX96" fmla="*/ 3200 w 63131"/>
                    <a:gd name="connsiteY96" fmla="*/ 8772 h 171764"/>
                    <a:gd name="connsiteX97" fmla="*/ 2971 w 63131"/>
                    <a:gd name="connsiteY97" fmla="*/ 4791 h 171764"/>
                    <a:gd name="connsiteX98" fmla="*/ 3124 w 63131"/>
                    <a:gd name="connsiteY98" fmla="*/ 2181 h 171764"/>
                    <a:gd name="connsiteX99" fmla="*/ 3638 w 63131"/>
                    <a:gd name="connsiteY99" fmla="*/ 981 h 171764"/>
                    <a:gd name="connsiteX100" fmla="*/ 4200 w 63131"/>
                    <a:gd name="connsiteY100" fmla="*/ 248 h 171764"/>
                    <a:gd name="connsiteX101" fmla="*/ 4867 w 63131"/>
                    <a:gd name="connsiteY101" fmla="*/ 0 h 171764"/>
                    <a:gd name="connsiteX102" fmla="*/ 8068 w 63131"/>
                    <a:gd name="connsiteY102" fmla="*/ 524 h 171764"/>
                    <a:gd name="connsiteX103" fmla="*/ 9106 w 63131"/>
                    <a:gd name="connsiteY103" fmla="*/ 1629 h 171764"/>
                    <a:gd name="connsiteX104" fmla="*/ 9039 w 63131"/>
                    <a:gd name="connsiteY104" fmla="*/ 3905 h 171764"/>
                    <a:gd name="connsiteX105" fmla="*/ 9067 w 63131"/>
                    <a:gd name="connsiteY105" fmla="*/ 10211 h 171764"/>
                    <a:gd name="connsiteX106" fmla="*/ 9353 w 63131"/>
                    <a:gd name="connsiteY106" fmla="*/ 14364 h 171764"/>
                    <a:gd name="connsiteX107" fmla="*/ 9877 w 63131"/>
                    <a:gd name="connsiteY107" fmla="*/ 16307 h 171764"/>
                    <a:gd name="connsiteX108" fmla="*/ 12020 w 63131"/>
                    <a:gd name="connsiteY108" fmla="*/ 20117 h 171764"/>
                    <a:gd name="connsiteX109" fmla="*/ 11973 w 63131"/>
                    <a:gd name="connsiteY109" fmla="*/ 20860 h 171764"/>
                    <a:gd name="connsiteX110" fmla="*/ 14706 w 63131"/>
                    <a:gd name="connsiteY110" fmla="*/ 27232 h 171764"/>
                    <a:gd name="connsiteX111" fmla="*/ 16383 w 63131"/>
                    <a:gd name="connsiteY111" fmla="*/ 30280 h 171764"/>
                    <a:gd name="connsiteX112" fmla="*/ 17926 w 63131"/>
                    <a:gd name="connsiteY112" fmla="*/ 32366 h 171764"/>
                    <a:gd name="connsiteX113" fmla="*/ 18631 w 63131"/>
                    <a:gd name="connsiteY113" fmla="*/ 34061 h 171764"/>
                    <a:gd name="connsiteX114" fmla="*/ 18231 w 63131"/>
                    <a:gd name="connsiteY114" fmla="*/ 36252 h 171764"/>
                    <a:gd name="connsiteX115" fmla="*/ 16954 w 63131"/>
                    <a:gd name="connsiteY115" fmla="*/ 45691 h 171764"/>
                    <a:gd name="connsiteX116" fmla="*/ 17107 w 63131"/>
                    <a:gd name="connsiteY116" fmla="*/ 48587 h 171764"/>
                    <a:gd name="connsiteX117" fmla="*/ 16659 w 63131"/>
                    <a:gd name="connsiteY117" fmla="*/ 49073 h 171764"/>
                    <a:gd name="connsiteX118" fmla="*/ 16897 w 63131"/>
                    <a:gd name="connsiteY118" fmla="*/ 49425 h 171764"/>
                    <a:gd name="connsiteX119" fmla="*/ 17821 w 63131"/>
                    <a:gd name="connsiteY119" fmla="*/ 49616 h 171764"/>
                    <a:gd name="connsiteX120" fmla="*/ 19278 w 63131"/>
                    <a:gd name="connsiteY120" fmla="*/ 50425 h 171764"/>
                    <a:gd name="connsiteX121" fmla="*/ 21288 w 63131"/>
                    <a:gd name="connsiteY121" fmla="*/ 51835 h 171764"/>
                    <a:gd name="connsiteX122" fmla="*/ 22593 w 63131"/>
                    <a:gd name="connsiteY122" fmla="*/ 53635 h 171764"/>
                    <a:gd name="connsiteX123" fmla="*/ 23193 w 63131"/>
                    <a:gd name="connsiteY123" fmla="*/ 55778 h 171764"/>
                    <a:gd name="connsiteX124" fmla="*/ 23270 w 63131"/>
                    <a:gd name="connsiteY124" fmla="*/ 57131 h 171764"/>
                    <a:gd name="connsiteX125" fmla="*/ 22831 w 63131"/>
                    <a:gd name="connsiteY125" fmla="*/ 57664 h 171764"/>
                    <a:gd name="connsiteX126" fmla="*/ 22707 w 63131"/>
                    <a:gd name="connsiteY126" fmla="*/ 60427 h 171764"/>
                    <a:gd name="connsiteX127" fmla="*/ 22307 w 63131"/>
                    <a:gd name="connsiteY127" fmla="*/ 60636 h 171764"/>
                    <a:gd name="connsiteX128" fmla="*/ 21784 w 63131"/>
                    <a:gd name="connsiteY128" fmla="*/ 63503 h 171764"/>
                    <a:gd name="connsiteX129" fmla="*/ 21069 w 63131"/>
                    <a:gd name="connsiteY129" fmla="*/ 65113 h 171764"/>
                    <a:gd name="connsiteX130" fmla="*/ 21212 w 63131"/>
                    <a:gd name="connsiteY130" fmla="*/ 67056 h 171764"/>
                    <a:gd name="connsiteX131" fmla="*/ 22870 w 63131"/>
                    <a:gd name="connsiteY131" fmla="*/ 68971 h 171764"/>
                    <a:gd name="connsiteX132" fmla="*/ 24441 w 63131"/>
                    <a:gd name="connsiteY132" fmla="*/ 72199 h 171764"/>
                    <a:gd name="connsiteX133" fmla="*/ 26165 w 63131"/>
                    <a:gd name="connsiteY133" fmla="*/ 76638 h 171764"/>
                    <a:gd name="connsiteX134" fmla="*/ 26955 w 63131"/>
                    <a:gd name="connsiteY134" fmla="*/ 79457 h 171764"/>
                    <a:gd name="connsiteX135" fmla="*/ 26822 w 63131"/>
                    <a:gd name="connsiteY135" fmla="*/ 80658 h 171764"/>
                    <a:gd name="connsiteX136" fmla="*/ 25793 w 63131"/>
                    <a:gd name="connsiteY136" fmla="*/ 81905 h 171764"/>
                    <a:gd name="connsiteX137" fmla="*/ 23879 w 63131"/>
                    <a:gd name="connsiteY137" fmla="*/ 83191 h 171764"/>
                    <a:gd name="connsiteX138" fmla="*/ 22640 w 63131"/>
                    <a:gd name="connsiteY138" fmla="*/ 83734 h 171764"/>
                    <a:gd name="connsiteX139" fmla="*/ 22060 w 63131"/>
                    <a:gd name="connsiteY139" fmla="*/ 83506 h 171764"/>
                    <a:gd name="connsiteX140" fmla="*/ 21317 w 63131"/>
                    <a:gd name="connsiteY140" fmla="*/ 83868 h 171764"/>
                    <a:gd name="connsiteX141" fmla="*/ 20431 w 63131"/>
                    <a:gd name="connsiteY141" fmla="*/ 84801 h 171764"/>
                    <a:gd name="connsiteX142" fmla="*/ 19774 w 63131"/>
                    <a:gd name="connsiteY142" fmla="*/ 86849 h 171764"/>
                    <a:gd name="connsiteX143" fmla="*/ 19316 w 63131"/>
                    <a:gd name="connsiteY143" fmla="*/ 90030 h 171764"/>
                    <a:gd name="connsiteX144" fmla="*/ 19431 w 63131"/>
                    <a:gd name="connsiteY144" fmla="*/ 91535 h 171764"/>
                    <a:gd name="connsiteX145" fmla="*/ 20212 w 63131"/>
                    <a:gd name="connsiteY145" fmla="*/ 92916 h 171764"/>
                    <a:gd name="connsiteX146" fmla="*/ 22393 w 63131"/>
                    <a:gd name="connsiteY146" fmla="*/ 95488 h 171764"/>
                    <a:gd name="connsiteX147" fmla="*/ 26175 w 63131"/>
                    <a:gd name="connsiteY147" fmla="*/ 98927 h 171764"/>
                    <a:gd name="connsiteX148" fmla="*/ 26346 w 63131"/>
                    <a:gd name="connsiteY148" fmla="*/ 99527 h 171764"/>
                    <a:gd name="connsiteX149" fmla="*/ 26822 w 63131"/>
                    <a:gd name="connsiteY149" fmla="*/ 99603 h 171764"/>
                    <a:gd name="connsiteX150" fmla="*/ 28680 w 63131"/>
                    <a:gd name="connsiteY150" fmla="*/ 98612 h 171764"/>
                    <a:gd name="connsiteX151" fmla="*/ 30909 w 63131"/>
                    <a:gd name="connsiteY151" fmla="*/ 98241 h 171764"/>
                    <a:gd name="connsiteX152" fmla="*/ 32252 w 63131"/>
                    <a:gd name="connsiteY152" fmla="*/ 98498 h 171764"/>
                    <a:gd name="connsiteX153" fmla="*/ 33166 w 63131"/>
                    <a:gd name="connsiteY153" fmla="*/ 99041 h 171764"/>
                    <a:gd name="connsiteX154" fmla="*/ 33632 w 63131"/>
                    <a:gd name="connsiteY154" fmla="*/ 99898 h 171764"/>
                    <a:gd name="connsiteX155" fmla="*/ 37214 w 63131"/>
                    <a:gd name="connsiteY155" fmla="*/ 103251 h 171764"/>
                    <a:gd name="connsiteX156" fmla="*/ 38938 w 63131"/>
                    <a:gd name="connsiteY156" fmla="*/ 105585 h 171764"/>
                    <a:gd name="connsiteX157" fmla="*/ 40138 w 63131"/>
                    <a:gd name="connsiteY157" fmla="*/ 108356 h 171764"/>
                    <a:gd name="connsiteX158" fmla="*/ 41853 w 63131"/>
                    <a:gd name="connsiteY158" fmla="*/ 110804 h 171764"/>
                    <a:gd name="connsiteX159" fmla="*/ 44091 w 63131"/>
                    <a:gd name="connsiteY159" fmla="*/ 112909 h 171764"/>
                    <a:gd name="connsiteX160" fmla="*/ 45139 w 63131"/>
                    <a:gd name="connsiteY160" fmla="*/ 115110 h 171764"/>
                    <a:gd name="connsiteX161" fmla="*/ 44986 w 63131"/>
                    <a:gd name="connsiteY161" fmla="*/ 117405 h 171764"/>
                    <a:gd name="connsiteX162" fmla="*/ 44396 w 63131"/>
                    <a:gd name="connsiteY162" fmla="*/ 118624 h 171764"/>
                    <a:gd name="connsiteX163" fmla="*/ 43682 w 63131"/>
                    <a:gd name="connsiteY163" fmla="*/ 118720 h 171764"/>
                    <a:gd name="connsiteX164" fmla="*/ 43405 w 63131"/>
                    <a:gd name="connsiteY164" fmla="*/ 118977 h 171764"/>
                    <a:gd name="connsiteX165" fmla="*/ 43653 w 63131"/>
                    <a:gd name="connsiteY165" fmla="*/ 120548 h 171764"/>
                    <a:gd name="connsiteX166" fmla="*/ 45253 w 63131"/>
                    <a:gd name="connsiteY166" fmla="*/ 124044 h 171764"/>
                    <a:gd name="connsiteX167" fmla="*/ 45844 w 63131"/>
                    <a:gd name="connsiteY167" fmla="*/ 127168 h 171764"/>
                    <a:gd name="connsiteX168" fmla="*/ 45425 w 63131"/>
                    <a:gd name="connsiteY168" fmla="*/ 129959 h 171764"/>
                    <a:gd name="connsiteX169" fmla="*/ 45825 w 63131"/>
                    <a:gd name="connsiteY169" fmla="*/ 132407 h 171764"/>
                    <a:gd name="connsiteX170" fmla="*/ 47044 w 63131"/>
                    <a:gd name="connsiteY170" fmla="*/ 134550 h 171764"/>
                    <a:gd name="connsiteX171" fmla="*/ 49425 w 63131"/>
                    <a:gd name="connsiteY171" fmla="*/ 137417 h 171764"/>
                    <a:gd name="connsiteX172" fmla="*/ 52340 w 63131"/>
                    <a:gd name="connsiteY172" fmla="*/ 144018 h 171764"/>
                    <a:gd name="connsiteX173" fmla="*/ 54721 w 63131"/>
                    <a:gd name="connsiteY173" fmla="*/ 148028 h 171764"/>
                    <a:gd name="connsiteX174" fmla="*/ 54883 w 63131"/>
                    <a:gd name="connsiteY174" fmla="*/ 149200 h 171764"/>
                    <a:gd name="connsiteX175" fmla="*/ 55254 w 63131"/>
                    <a:gd name="connsiteY175" fmla="*/ 149923 h 171764"/>
                    <a:gd name="connsiteX176" fmla="*/ 56226 w 63131"/>
                    <a:gd name="connsiteY176" fmla="*/ 150628 h 171764"/>
                    <a:gd name="connsiteX177" fmla="*/ 56359 w 63131"/>
                    <a:gd name="connsiteY177" fmla="*/ 151219 h 171764"/>
                    <a:gd name="connsiteX178" fmla="*/ 55902 w 63131"/>
                    <a:gd name="connsiteY178" fmla="*/ 151924 h 171764"/>
                    <a:gd name="connsiteX179" fmla="*/ 55921 w 63131"/>
                    <a:gd name="connsiteY179" fmla="*/ 152828 h 171764"/>
                    <a:gd name="connsiteX180" fmla="*/ 56292 w 63131"/>
                    <a:gd name="connsiteY180" fmla="*/ 154343 h 171764"/>
                    <a:gd name="connsiteX181" fmla="*/ 57798 w 63131"/>
                    <a:gd name="connsiteY181" fmla="*/ 156391 h 171764"/>
                    <a:gd name="connsiteX182" fmla="*/ 60436 w 63131"/>
                    <a:gd name="connsiteY182" fmla="*/ 158963 h 171764"/>
                    <a:gd name="connsiteX183" fmla="*/ 61636 w 63131"/>
                    <a:gd name="connsiteY183" fmla="*/ 161039 h 171764"/>
                    <a:gd name="connsiteX184" fmla="*/ 61417 w 63131"/>
                    <a:gd name="connsiteY184" fmla="*/ 162601 h 171764"/>
                    <a:gd name="connsiteX185" fmla="*/ 61769 w 63131"/>
                    <a:gd name="connsiteY185" fmla="*/ 164192 h 171764"/>
                    <a:gd name="connsiteX186" fmla="*/ 62732 w 63131"/>
                    <a:gd name="connsiteY186" fmla="*/ 165821 h 171764"/>
                    <a:gd name="connsiteX187" fmla="*/ 63132 w 63131"/>
                    <a:gd name="connsiteY187" fmla="*/ 167373 h 171764"/>
                    <a:gd name="connsiteX188" fmla="*/ 62732 w 63131"/>
                    <a:gd name="connsiteY188" fmla="*/ 169831 h 171764"/>
                    <a:gd name="connsiteX189" fmla="*/ 62389 w 63131"/>
                    <a:gd name="connsiteY189" fmla="*/ 170221 h 171764"/>
                    <a:gd name="connsiteX190" fmla="*/ 61989 w 63131"/>
                    <a:gd name="connsiteY190" fmla="*/ 170097 h 171764"/>
                    <a:gd name="connsiteX191" fmla="*/ 61531 w 63131"/>
                    <a:gd name="connsiteY191" fmla="*/ 169507 h 171764"/>
                    <a:gd name="connsiteX192" fmla="*/ 60979 w 63131"/>
                    <a:gd name="connsiteY192" fmla="*/ 169659 h 171764"/>
                    <a:gd name="connsiteX193" fmla="*/ 60321 w 63131"/>
                    <a:gd name="connsiteY193" fmla="*/ 170593 h 171764"/>
                    <a:gd name="connsiteX194" fmla="*/ 59378 w 63131"/>
                    <a:gd name="connsiteY194" fmla="*/ 171297 h 171764"/>
                    <a:gd name="connsiteX195" fmla="*/ 58121 w 63131"/>
                    <a:gd name="connsiteY195" fmla="*/ 171764 h 171764"/>
                    <a:gd name="connsiteX196" fmla="*/ 57416 w 63131"/>
                    <a:gd name="connsiteY196" fmla="*/ 171622 h 171764"/>
                    <a:gd name="connsiteX197" fmla="*/ 55883 w 63131"/>
                    <a:gd name="connsiteY197" fmla="*/ 170316 h 171764"/>
                    <a:gd name="connsiteX198" fmla="*/ 50930 w 63131"/>
                    <a:gd name="connsiteY198" fmla="*/ 165068 h 171764"/>
                    <a:gd name="connsiteX199" fmla="*/ 50930 w 63131"/>
                    <a:gd name="connsiteY199" fmla="*/ 165068 h 17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63131" h="171764">
                      <a:moveTo>
                        <a:pt x="50930" y="165068"/>
                      </a:moveTo>
                      <a:lnTo>
                        <a:pt x="50711" y="164678"/>
                      </a:lnTo>
                      <a:lnTo>
                        <a:pt x="48006" y="163649"/>
                      </a:lnTo>
                      <a:lnTo>
                        <a:pt x="47101" y="163039"/>
                      </a:lnTo>
                      <a:lnTo>
                        <a:pt x="46806" y="162687"/>
                      </a:lnTo>
                      <a:lnTo>
                        <a:pt x="46263" y="162811"/>
                      </a:lnTo>
                      <a:lnTo>
                        <a:pt x="45158" y="163963"/>
                      </a:lnTo>
                      <a:lnTo>
                        <a:pt x="43053" y="165116"/>
                      </a:lnTo>
                      <a:lnTo>
                        <a:pt x="42405" y="165087"/>
                      </a:lnTo>
                      <a:lnTo>
                        <a:pt x="43243" y="164373"/>
                      </a:lnTo>
                      <a:lnTo>
                        <a:pt x="43558" y="163763"/>
                      </a:lnTo>
                      <a:lnTo>
                        <a:pt x="43539" y="163030"/>
                      </a:lnTo>
                      <a:lnTo>
                        <a:pt x="42767" y="162725"/>
                      </a:lnTo>
                      <a:lnTo>
                        <a:pt x="41262" y="162820"/>
                      </a:lnTo>
                      <a:lnTo>
                        <a:pt x="40319" y="162525"/>
                      </a:lnTo>
                      <a:lnTo>
                        <a:pt x="39852" y="160982"/>
                      </a:lnTo>
                      <a:lnTo>
                        <a:pt x="40348" y="158877"/>
                      </a:lnTo>
                      <a:lnTo>
                        <a:pt x="40929" y="158020"/>
                      </a:lnTo>
                      <a:lnTo>
                        <a:pt x="41881" y="157296"/>
                      </a:lnTo>
                      <a:lnTo>
                        <a:pt x="43205" y="156696"/>
                      </a:lnTo>
                      <a:lnTo>
                        <a:pt x="44024" y="155105"/>
                      </a:lnTo>
                      <a:lnTo>
                        <a:pt x="44348" y="152533"/>
                      </a:lnTo>
                      <a:lnTo>
                        <a:pt x="43996" y="150476"/>
                      </a:lnTo>
                      <a:lnTo>
                        <a:pt x="42976" y="148857"/>
                      </a:lnTo>
                      <a:lnTo>
                        <a:pt x="41986" y="147876"/>
                      </a:lnTo>
                      <a:lnTo>
                        <a:pt x="41014" y="147504"/>
                      </a:lnTo>
                      <a:lnTo>
                        <a:pt x="40224" y="146742"/>
                      </a:lnTo>
                      <a:lnTo>
                        <a:pt x="38862" y="144580"/>
                      </a:lnTo>
                      <a:lnTo>
                        <a:pt x="37995" y="143770"/>
                      </a:lnTo>
                      <a:lnTo>
                        <a:pt x="35737" y="142827"/>
                      </a:lnTo>
                      <a:lnTo>
                        <a:pt x="35223" y="142065"/>
                      </a:lnTo>
                      <a:lnTo>
                        <a:pt x="34937" y="139532"/>
                      </a:lnTo>
                      <a:lnTo>
                        <a:pt x="33671" y="136436"/>
                      </a:lnTo>
                      <a:lnTo>
                        <a:pt x="33223" y="133817"/>
                      </a:lnTo>
                      <a:lnTo>
                        <a:pt x="33556" y="132912"/>
                      </a:lnTo>
                      <a:lnTo>
                        <a:pt x="33461" y="130273"/>
                      </a:lnTo>
                      <a:lnTo>
                        <a:pt x="31737" y="124758"/>
                      </a:lnTo>
                      <a:lnTo>
                        <a:pt x="30042" y="122091"/>
                      </a:lnTo>
                      <a:lnTo>
                        <a:pt x="27698" y="119910"/>
                      </a:lnTo>
                      <a:lnTo>
                        <a:pt x="25108" y="118338"/>
                      </a:lnTo>
                      <a:lnTo>
                        <a:pt x="22212" y="117338"/>
                      </a:lnTo>
                      <a:lnTo>
                        <a:pt x="19659" y="115195"/>
                      </a:lnTo>
                      <a:lnTo>
                        <a:pt x="15564" y="109737"/>
                      </a:lnTo>
                      <a:lnTo>
                        <a:pt x="13135" y="107594"/>
                      </a:lnTo>
                      <a:lnTo>
                        <a:pt x="12373" y="106518"/>
                      </a:lnTo>
                      <a:lnTo>
                        <a:pt x="11477" y="103775"/>
                      </a:lnTo>
                      <a:lnTo>
                        <a:pt x="11687" y="100774"/>
                      </a:lnTo>
                      <a:lnTo>
                        <a:pt x="11459" y="100060"/>
                      </a:lnTo>
                      <a:lnTo>
                        <a:pt x="10763" y="100117"/>
                      </a:lnTo>
                      <a:lnTo>
                        <a:pt x="10210" y="99869"/>
                      </a:lnTo>
                      <a:lnTo>
                        <a:pt x="9849" y="99317"/>
                      </a:lnTo>
                      <a:lnTo>
                        <a:pt x="6572" y="89849"/>
                      </a:lnTo>
                      <a:lnTo>
                        <a:pt x="5896" y="89373"/>
                      </a:lnTo>
                      <a:lnTo>
                        <a:pt x="5305" y="87973"/>
                      </a:lnTo>
                      <a:lnTo>
                        <a:pt x="4715" y="87268"/>
                      </a:lnTo>
                      <a:lnTo>
                        <a:pt x="3657" y="86620"/>
                      </a:lnTo>
                      <a:lnTo>
                        <a:pt x="2991" y="85039"/>
                      </a:lnTo>
                      <a:lnTo>
                        <a:pt x="2762" y="82515"/>
                      </a:lnTo>
                      <a:lnTo>
                        <a:pt x="2991" y="81162"/>
                      </a:lnTo>
                      <a:lnTo>
                        <a:pt x="3790" y="80448"/>
                      </a:lnTo>
                      <a:lnTo>
                        <a:pt x="7477" y="77495"/>
                      </a:lnTo>
                      <a:lnTo>
                        <a:pt x="7829" y="76486"/>
                      </a:lnTo>
                      <a:lnTo>
                        <a:pt x="7877" y="75857"/>
                      </a:lnTo>
                      <a:lnTo>
                        <a:pt x="7696" y="73180"/>
                      </a:lnTo>
                      <a:lnTo>
                        <a:pt x="7991" y="72333"/>
                      </a:lnTo>
                      <a:lnTo>
                        <a:pt x="8906" y="72190"/>
                      </a:lnTo>
                      <a:lnTo>
                        <a:pt x="8954" y="71752"/>
                      </a:lnTo>
                      <a:lnTo>
                        <a:pt x="4562" y="64037"/>
                      </a:lnTo>
                      <a:lnTo>
                        <a:pt x="2495" y="59769"/>
                      </a:lnTo>
                      <a:lnTo>
                        <a:pt x="1305" y="56254"/>
                      </a:lnTo>
                      <a:lnTo>
                        <a:pt x="895" y="54045"/>
                      </a:lnTo>
                      <a:lnTo>
                        <a:pt x="1238" y="53149"/>
                      </a:lnTo>
                      <a:lnTo>
                        <a:pt x="1505" y="43339"/>
                      </a:lnTo>
                      <a:lnTo>
                        <a:pt x="1905" y="39300"/>
                      </a:lnTo>
                      <a:lnTo>
                        <a:pt x="2667" y="37490"/>
                      </a:lnTo>
                      <a:lnTo>
                        <a:pt x="3371" y="36719"/>
                      </a:lnTo>
                      <a:lnTo>
                        <a:pt x="4419" y="36938"/>
                      </a:lnTo>
                      <a:lnTo>
                        <a:pt x="4429" y="34604"/>
                      </a:lnTo>
                      <a:lnTo>
                        <a:pt x="6296" y="24031"/>
                      </a:lnTo>
                      <a:lnTo>
                        <a:pt x="6029" y="22898"/>
                      </a:lnTo>
                      <a:lnTo>
                        <a:pt x="5476" y="23098"/>
                      </a:lnTo>
                      <a:lnTo>
                        <a:pt x="5153" y="24555"/>
                      </a:lnTo>
                      <a:lnTo>
                        <a:pt x="2734" y="31394"/>
                      </a:lnTo>
                      <a:lnTo>
                        <a:pt x="2334" y="31670"/>
                      </a:lnTo>
                      <a:lnTo>
                        <a:pt x="133" y="30842"/>
                      </a:lnTo>
                      <a:lnTo>
                        <a:pt x="0" y="29861"/>
                      </a:lnTo>
                      <a:lnTo>
                        <a:pt x="1009" y="28556"/>
                      </a:lnTo>
                      <a:lnTo>
                        <a:pt x="1343" y="27318"/>
                      </a:lnTo>
                      <a:lnTo>
                        <a:pt x="1038" y="26146"/>
                      </a:lnTo>
                      <a:lnTo>
                        <a:pt x="1009" y="23736"/>
                      </a:lnTo>
                      <a:lnTo>
                        <a:pt x="1667" y="17554"/>
                      </a:lnTo>
                      <a:lnTo>
                        <a:pt x="2124" y="16183"/>
                      </a:lnTo>
                      <a:lnTo>
                        <a:pt x="2134" y="15059"/>
                      </a:lnTo>
                      <a:lnTo>
                        <a:pt x="1724" y="14154"/>
                      </a:lnTo>
                      <a:lnTo>
                        <a:pt x="1952" y="12973"/>
                      </a:lnTo>
                      <a:lnTo>
                        <a:pt x="2848" y="11497"/>
                      </a:lnTo>
                      <a:lnTo>
                        <a:pt x="3200" y="8772"/>
                      </a:lnTo>
                      <a:lnTo>
                        <a:pt x="2971" y="4791"/>
                      </a:lnTo>
                      <a:lnTo>
                        <a:pt x="3124" y="2181"/>
                      </a:lnTo>
                      <a:lnTo>
                        <a:pt x="3638" y="981"/>
                      </a:lnTo>
                      <a:lnTo>
                        <a:pt x="4200" y="248"/>
                      </a:lnTo>
                      <a:lnTo>
                        <a:pt x="4867" y="0"/>
                      </a:lnTo>
                      <a:lnTo>
                        <a:pt x="8068" y="524"/>
                      </a:lnTo>
                      <a:lnTo>
                        <a:pt x="9106" y="1629"/>
                      </a:lnTo>
                      <a:lnTo>
                        <a:pt x="9039" y="3905"/>
                      </a:lnTo>
                      <a:lnTo>
                        <a:pt x="9067" y="10211"/>
                      </a:lnTo>
                      <a:lnTo>
                        <a:pt x="9353" y="14364"/>
                      </a:lnTo>
                      <a:lnTo>
                        <a:pt x="9877" y="16307"/>
                      </a:lnTo>
                      <a:lnTo>
                        <a:pt x="12020" y="20117"/>
                      </a:lnTo>
                      <a:lnTo>
                        <a:pt x="11973" y="20860"/>
                      </a:lnTo>
                      <a:lnTo>
                        <a:pt x="14706" y="27232"/>
                      </a:lnTo>
                      <a:lnTo>
                        <a:pt x="16383" y="30280"/>
                      </a:lnTo>
                      <a:lnTo>
                        <a:pt x="17926" y="32366"/>
                      </a:lnTo>
                      <a:lnTo>
                        <a:pt x="18631" y="34061"/>
                      </a:lnTo>
                      <a:lnTo>
                        <a:pt x="18231" y="36252"/>
                      </a:lnTo>
                      <a:lnTo>
                        <a:pt x="16954" y="45691"/>
                      </a:lnTo>
                      <a:lnTo>
                        <a:pt x="17107" y="48587"/>
                      </a:lnTo>
                      <a:lnTo>
                        <a:pt x="16659" y="49073"/>
                      </a:lnTo>
                      <a:lnTo>
                        <a:pt x="16897" y="49425"/>
                      </a:lnTo>
                      <a:lnTo>
                        <a:pt x="17821" y="49616"/>
                      </a:lnTo>
                      <a:lnTo>
                        <a:pt x="19278" y="50425"/>
                      </a:lnTo>
                      <a:lnTo>
                        <a:pt x="21288" y="51835"/>
                      </a:lnTo>
                      <a:lnTo>
                        <a:pt x="22593" y="53635"/>
                      </a:lnTo>
                      <a:lnTo>
                        <a:pt x="23193" y="55778"/>
                      </a:lnTo>
                      <a:lnTo>
                        <a:pt x="23270" y="57131"/>
                      </a:lnTo>
                      <a:lnTo>
                        <a:pt x="22831" y="57664"/>
                      </a:lnTo>
                      <a:lnTo>
                        <a:pt x="22707" y="60427"/>
                      </a:lnTo>
                      <a:lnTo>
                        <a:pt x="22307" y="60636"/>
                      </a:lnTo>
                      <a:lnTo>
                        <a:pt x="21784" y="63503"/>
                      </a:lnTo>
                      <a:lnTo>
                        <a:pt x="21069" y="65113"/>
                      </a:lnTo>
                      <a:lnTo>
                        <a:pt x="21212" y="67056"/>
                      </a:lnTo>
                      <a:lnTo>
                        <a:pt x="22870" y="68971"/>
                      </a:lnTo>
                      <a:lnTo>
                        <a:pt x="24441" y="72199"/>
                      </a:lnTo>
                      <a:lnTo>
                        <a:pt x="26165" y="76638"/>
                      </a:lnTo>
                      <a:lnTo>
                        <a:pt x="26955" y="79457"/>
                      </a:lnTo>
                      <a:lnTo>
                        <a:pt x="26822" y="80658"/>
                      </a:lnTo>
                      <a:lnTo>
                        <a:pt x="25793" y="81905"/>
                      </a:lnTo>
                      <a:lnTo>
                        <a:pt x="23879" y="83191"/>
                      </a:lnTo>
                      <a:lnTo>
                        <a:pt x="22640" y="83734"/>
                      </a:lnTo>
                      <a:lnTo>
                        <a:pt x="22060" y="83506"/>
                      </a:lnTo>
                      <a:lnTo>
                        <a:pt x="21317" y="83868"/>
                      </a:lnTo>
                      <a:lnTo>
                        <a:pt x="20431" y="84801"/>
                      </a:lnTo>
                      <a:lnTo>
                        <a:pt x="19774" y="86849"/>
                      </a:lnTo>
                      <a:lnTo>
                        <a:pt x="19316" y="90030"/>
                      </a:lnTo>
                      <a:lnTo>
                        <a:pt x="19431" y="91535"/>
                      </a:lnTo>
                      <a:lnTo>
                        <a:pt x="20212" y="92916"/>
                      </a:lnTo>
                      <a:lnTo>
                        <a:pt x="22393" y="95488"/>
                      </a:lnTo>
                      <a:lnTo>
                        <a:pt x="26175" y="98927"/>
                      </a:lnTo>
                      <a:lnTo>
                        <a:pt x="26346" y="99527"/>
                      </a:lnTo>
                      <a:lnTo>
                        <a:pt x="26822" y="99603"/>
                      </a:lnTo>
                      <a:lnTo>
                        <a:pt x="28680" y="98612"/>
                      </a:lnTo>
                      <a:lnTo>
                        <a:pt x="30909" y="98241"/>
                      </a:lnTo>
                      <a:lnTo>
                        <a:pt x="32252" y="98498"/>
                      </a:lnTo>
                      <a:lnTo>
                        <a:pt x="33166" y="99041"/>
                      </a:lnTo>
                      <a:lnTo>
                        <a:pt x="33632" y="99898"/>
                      </a:lnTo>
                      <a:lnTo>
                        <a:pt x="37214" y="103251"/>
                      </a:lnTo>
                      <a:lnTo>
                        <a:pt x="38938" y="105585"/>
                      </a:lnTo>
                      <a:lnTo>
                        <a:pt x="40138" y="108356"/>
                      </a:lnTo>
                      <a:lnTo>
                        <a:pt x="41853" y="110804"/>
                      </a:lnTo>
                      <a:lnTo>
                        <a:pt x="44091" y="112909"/>
                      </a:lnTo>
                      <a:lnTo>
                        <a:pt x="45139" y="115110"/>
                      </a:lnTo>
                      <a:lnTo>
                        <a:pt x="44986" y="117405"/>
                      </a:lnTo>
                      <a:lnTo>
                        <a:pt x="44396" y="118624"/>
                      </a:lnTo>
                      <a:lnTo>
                        <a:pt x="43682" y="118720"/>
                      </a:lnTo>
                      <a:lnTo>
                        <a:pt x="43405" y="118977"/>
                      </a:lnTo>
                      <a:lnTo>
                        <a:pt x="43653" y="120548"/>
                      </a:lnTo>
                      <a:lnTo>
                        <a:pt x="45253" y="124044"/>
                      </a:lnTo>
                      <a:lnTo>
                        <a:pt x="45844" y="127168"/>
                      </a:lnTo>
                      <a:lnTo>
                        <a:pt x="45425" y="129959"/>
                      </a:lnTo>
                      <a:lnTo>
                        <a:pt x="45825" y="132407"/>
                      </a:lnTo>
                      <a:lnTo>
                        <a:pt x="47044" y="134550"/>
                      </a:lnTo>
                      <a:lnTo>
                        <a:pt x="49425" y="137417"/>
                      </a:lnTo>
                      <a:lnTo>
                        <a:pt x="52340" y="144018"/>
                      </a:lnTo>
                      <a:lnTo>
                        <a:pt x="54721" y="148028"/>
                      </a:lnTo>
                      <a:lnTo>
                        <a:pt x="54883" y="149200"/>
                      </a:lnTo>
                      <a:lnTo>
                        <a:pt x="55254" y="149923"/>
                      </a:lnTo>
                      <a:lnTo>
                        <a:pt x="56226" y="150628"/>
                      </a:lnTo>
                      <a:lnTo>
                        <a:pt x="56359" y="151219"/>
                      </a:lnTo>
                      <a:lnTo>
                        <a:pt x="55902" y="151924"/>
                      </a:lnTo>
                      <a:lnTo>
                        <a:pt x="55921" y="152828"/>
                      </a:lnTo>
                      <a:lnTo>
                        <a:pt x="56292" y="154343"/>
                      </a:lnTo>
                      <a:lnTo>
                        <a:pt x="57798" y="156391"/>
                      </a:lnTo>
                      <a:lnTo>
                        <a:pt x="60436" y="158963"/>
                      </a:lnTo>
                      <a:lnTo>
                        <a:pt x="61636" y="161039"/>
                      </a:lnTo>
                      <a:lnTo>
                        <a:pt x="61417" y="162601"/>
                      </a:lnTo>
                      <a:lnTo>
                        <a:pt x="61769" y="164192"/>
                      </a:lnTo>
                      <a:lnTo>
                        <a:pt x="62732" y="165821"/>
                      </a:lnTo>
                      <a:lnTo>
                        <a:pt x="63132" y="167373"/>
                      </a:lnTo>
                      <a:lnTo>
                        <a:pt x="62732" y="169831"/>
                      </a:lnTo>
                      <a:lnTo>
                        <a:pt x="62389" y="170221"/>
                      </a:lnTo>
                      <a:lnTo>
                        <a:pt x="61989" y="170097"/>
                      </a:lnTo>
                      <a:lnTo>
                        <a:pt x="61531" y="169507"/>
                      </a:lnTo>
                      <a:lnTo>
                        <a:pt x="60979" y="169659"/>
                      </a:lnTo>
                      <a:lnTo>
                        <a:pt x="60321" y="170593"/>
                      </a:lnTo>
                      <a:lnTo>
                        <a:pt x="59378" y="171297"/>
                      </a:lnTo>
                      <a:lnTo>
                        <a:pt x="58121" y="171764"/>
                      </a:lnTo>
                      <a:lnTo>
                        <a:pt x="57416" y="171622"/>
                      </a:lnTo>
                      <a:lnTo>
                        <a:pt x="55883" y="170316"/>
                      </a:lnTo>
                      <a:lnTo>
                        <a:pt x="50930" y="165068"/>
                      </a:lnTo>
                      <a:lnTo>
                        <a:pt x="50930" y="165068"/>
                      </a:lnTo>
                      <a:close/>
                    </a:path>
                  </a:pathLst>
                </a:custGeom>
                <a:solidFill>
                  <a:srgbClr val="FFFFFF"/>
                </a:solidFill>
                <a:ln w="9525" cap="flat">
                  <a:noFill/>
                  <a:prstDash val="solid"/>
                  <a:miter/>
                </a:ln>
              </p:spPr>
              <p:txBody>
                <a:bodyPr rtlCol="0" anchor="ctr"/>
                <a:lstStyle/>
                <a:p>
                  <a:endParaRPr lang="en-US"/>
                </a:p>
              </p:txBody>
            </p:sp>
            <p:sp>
              <p:nvSpPr>
                <p:cNvPr id="468" name="Freeform: Shape 467">
                  <a:extLst>
                    <a:ext uri="{FF2B5EF4-FFF2-40B4-BE49-F238E27FC236}">
                      <a16:creationId xmlns:a16="http://schemas.microsoft.com/office/drawing/2014/main" id="{44EAC031-C533-434B-BCCF-BC7C3C16A3DD}"/>
                    </a:ext>
                  </a:extLst>
                </p:cNvPr>
                <p:cNvSpPr/>
                <p:nvPr/>
              </p:nvSpPr>
              <p:spPr>
                <a:xfrm>
                  <a:off x="6289518" y="2418976"/>
                  <a:ext cx="77324" cy="58835"/>
                </a:xfrm>
                <a:custGeom>
                  <a:avLst/>
                  <a:gdLst>
                    <a:gd name="connsiteX0" fmla="*/ 191 w 77324"/>
                    <a:gd name="connsiteY0" fmla="*/ 17288 h 58835"/>
                    <a:gd name="connsiteX1" fmla="*/ 191 w 77324"/>
                    <a:gd name="connsiteY1" fmla="*/ 17288 h 58835"/>
                    <a:gd name="connsiteX2" fmla="*/ 191 w 77324"/>
                    <a:gd name="connsiteY2" fmla="*/ 17288 h 58835"/>
                    <a:gd name="connsiteX3" fmla="*/ 191 w 77324"/>
                    <a:gd name="connsiteY3" fmla="*/ 17288 h 58835"/>
                    <a:gd name="connsiteX4" fmla="*/ 657 w 77324"/>
                    <a:gd name="connsiteY4" fmla="*/ 16878 h 58835"/>
                    <a:gd name="connsiteX5" fmla="*/ 667 w 77324"/>
                    <a:gd name="connsiteY5" fmla="*/ 16507 h 58835"/>
                    <a:gd name="connsiteX6" fmla="*/ 305 w 77324"/>
                    <a:gd name="connsiteY6" fmla="*/ 15869 h 58835"/>
                    <a:gd name="connsiteX7" fmla="*/ 972 w 77324"/>
                    <a:gd name="connsiteY7" fmla="*/ 15126 h 58835"/>
                    <a:gd name="connsiteX8" fmla="*/ 2362 w 77324"/>
                    <a:gd name="connsiteY8" fmla="*/ 15297 h 58835"/>
                    <a:gd name="connsiteX9" fmla="*/ 4486 w 77324"/>
                    <a:gd name="connsiteY9" fmla="*/ 16402 h 58835"/>
                    <a:gd name="connsiteX10" fmla="*/ 5744 w 77324"/>
                    <a:gd name="connsiteY10" fmla="*/ 16773 h 58835"/>
                    <a:gd name="connsiteX11" fmla="*/ 5963 w 77324"/>
                    <a:gd name="connsiteY11" fmla="*/ 16278 h 58835"/>
                    <a:gd name="connsiteX12" fmla="*/ 5772 w 77324"/>
                    <a:gd name="connsiteY12" fmla="*/ 15897 h 58835"/>
                    <a:gd name="connsiteX13" fmla="*/ 5582 w 77324"/>
                    <a:gd name="connsiteY13" fmla="*/ 14992 h 58835"/>
                    <a:gd name="connsiteX14" fmla="*/ 6410 w 77324"/>
                    <a:gd name="connsiteY14" fmla="*/ 14573 h 58835"/>
                    <a:gd name="connsiteX15" fmla="*/ 7420 w 77324"/>
                    <a:gd name="connsiteY15" fmla="*/ 14526 h 58835"/>
                    <a:gd name="connsiteX16" fmla="*/ 7772 w 77324"/>
                    <a:gd name="connsiteY16" fmla="*/ 14106 h 58835"/>
                    <a:gd name="connsiteX17" fmla="*/ 7687 w 77324"/>
                    <a:gd name="connsiteY17" fmla="*/ 13459 h 58835"/>
                    <a:gd name="connsiteX18" fmla="*/ 7287 w 77324"/>
                    <a:gd name="connsiteY18" fmla="*/ 13040 h 58835"/>
                    <a:gd name="connsiteX19" fmla="*/ 7115 w 77324"/>
                    <a:gd name="connsiteY19" fmla="*/ 12678 h 58835"/>
                    <a:gd name="connsiteX20" fmla="*/ 7506 w 77324"/>
                    <a:gd name="connsiteY20" fmla="*/ 12154 h 58835"/>
                    <a:gd name="connsiteX21" fmla="*/ 7506 w 77324"/>
                    <a:gd name="connsiteY21" fmla="*/ 11249 h 58835"/>
                    <a:gd name="connsiteX22" fmla="*/ 7573 w 77324"/>
                    <a:gd name="connsiteY22" fmla="*/ 10830 h 58835"/>
                    <a:gd name="connsiteX23" fmla="*/ 7934 w 77324"/>
                    <a:gd name="connsiteY23" fmla="*/ 10354 h 58835"/>
                    <a:gd name="connsiteX24" fmla="*/ 8192 w 77324"/>
                    <a:gd name="connsiteY24" fmla="*/ 9963 h 58835"/>
                    <a:gd name="connsiteX25" fmla="*/ 8077 w 77324"/>
                    <a:gd name="connsiteY25" fmla="*/ 9525 h 58835"/>
                    <a:gd name="connsiteX26" fmla="*/ 7544 w 77324"/>
                    <a:gd name="connsiteY26" fmla="*/ 8896 h 58835"/>
                    <a:gd name="connsiteX27" fmla="*/ 7468 w 77324"/>
                    <a:gd name="connsiteY27" fmla="*/ 8201 h 58835"/>
                    <a:gd name="connsiteX28" fmla="*/ 8535 w 77324"/>
                    <a:gd name="connsiteY28" fmla="*/ 8144 h 58835"/>
                    <a:gd name="connsiteX29" fmla="*/ 12964 w 77324"/>
                    <a:gd name="connsiteY29" fmla="*/ 9068 h 58835"/>
                    <a:gd name="connsiteX30" fmla="*/ 13278 w 77324"/>
                    <a:gd name="connsiteY30" fmla="*/ 8982 h 58835"/>
                    <a:gd name="connsiteX31" fmla="*/ 13230 w 77324"/>
                    <a:gd name="connsiteY31" fmla="*/ 8191 h 58835"/>
                    <a:gd name="connsiteX32" fmla="*/ 13773 w 77324"/>
                    <a:gd name="connsiteY32" fmla="*/ 7877 h 58835"/>
                    <a:gd name="connsiteX33" fmla="*/ 14573 w 77324"/>
                    <a:gd name="connsiteY33" fmla="*/ 7553 h 58835"/>
                    <a:gd name="connsiteX34" fmla="*/ 15821 w 77324"/>
                    <a:gd name="connsiteY34" fmla="*/ 7363 h 58835"/>
                    <a:gd name="connsiteX35" fmla="*/ 15926 w 77324"/>
                    <a:gd name="connsiteY35" fmla="*/ 6772 h 58835"/>
                    <a:gd name="connsiteX36" fmla="*/ 15240 w 77324"/>
                    <a:gd name="connsiteY36" fmla="*/ 6163 h 58835"/>
                    <a:gd name="connsiteX37" fmla="*/ 15069 w 77324"/>
                    <a:gd name="connsiteY37" fmla="*/ 5334 h 58835"/>
                    <a:gd name="connsiteX38" fmla="*/ 17907 w 77324"/>
                    <a:gd name="connsiteY38" fmla="*/ 1314 h 58835"/>
                    <a:gd name="connsiteX39" fmla="*/ 19793 w 77324"/>
                    <a:gd name="connsiteY39" fmla="*/ 0 h 58835"/>
                    <a:gd name="connsiteX40" fmla="*/ 20707 w 77324"/>
                    <a:gd name="connsiteY40" fmla="*/ 324 h 58835"/>
                    <a:gd name="connsiteX41" fmla="*/ 20974 w 77324"/>
                    <a:gd name="connsiteY41" fmla="*/ 648 h 58835"/>
                    <a:gd name="connsiteX42" fmla="*/ 21289 w 77324"/>
                    <a:gd name="connsiteY42" fmla="*/ 1038 h 58835"/>
                    <a:gd name="connsiteX43" fmla="*/ 24279 w 77324"/>
                    <a:gd name="connsiteY43" fmla="*/ 1914 h 58835"/>
                    <a:gd name="connsiteX44" fmla="*/ 25194 w 77324"/>
                    <a:gd name="connsiteY44" fmla="*/ 2705 h 58835"/>
                    <a:gd name="connsiteX45" fmla="*/ 25851 w 77324"/>
                    <a:gd name="connsiteY45" fmla="*/ 4096 h 58835"/>
                    <a:gd name="connsiteX46" fmla="*/ 26670 w 77324"/>
                    <a:gd name="connsiteY46" fmla="*/ 4877 h 58835"/>
                    <a:gd name="connsiteX47" fmla="*/ 28137 w 77324"/>
                    <a:gd name="connsiteY47" fmla="*/ 4924 h 58835"/>
                    <a:gd name="connsiteX48" fmla="*/ 28318 w 77324"/>
                    <a:gd name="connsiteY48" fmla="*/ 4572 h 58835"/>
                    <a:gd name="connsiteX49" fmla="*/ 29737 w 77324"/>
                    <a:gd name="connsiteY49" fmla="*/ 4162 h 58835"/>
                    <a:gd name="connsiteX50" fmla="*/ 30214 w 77324"/>
                    <a:gd name="connsiteY50" fmla="*/ 4220 h 58835"/>
                    <a:gd name="connsiteX51" fmla="*/ 31061 w 77324"/>
                    <a:gd name="connsiteY51" fmla="*/ 5039 h 58835"/>
                    <a:gd name="connsiteX52" fmla="*/ 31661 w 77324"/>
                    <a:gd name="connsiteY52" fmla="*/ 5353 h 58835"/>
                    <a:gd name="connsiteX53" fmla="*/ 32042 w 77324"/>
                    <a:gd name="connsiteY53" fmla="*/ 4991 h 58835"/>
                    <a:gd name="connsiteX54" fmla="*/ 32099 w 77324"/>
                    <a:gd name="connsiteY54" fmla="*/ 4648 h 58835"/>
                    <a:gd name="connsiteX55" fmla="*/ 32814 w 77324"/>
                    <a:gd name="connsiteY55" fmla="*/ 4648 h 58835"/>
                    <a:gd name="connsiteX56" fmla="*/ 36214 w 77324"/>
                    <a:gd name="connsiteY56" fmla="*/ 7068 h 58835"/>
                    <a:gd name="connsiteX57" fmla="*/ 37710 w 77324"/>
                    <a:gd name="connsiteY57" fmla="*/ 8744 h 58835"/>
                    <a:gd name="connsiteX58" fmla="*/ 39167 w 77324"/>
                    <a:gd name="connsiteY58" fmla="*/ 10639 h 58835"/>
                    <a:gd name="connsiteX59" fmla="*/ 39919 w 77324"/>
                    <a:gd name="connsiteY59" fmla="*/ 11106 h 58835"/>
                    <a:gd name="connsiteX60" fmla="*/ 40262 w 77324"/>
                    <a:gd name="connsiteY60" fmla="*/ 10973 h 58835"/>
                    <a:gd name="connsiteX61" fmla="*/ 40072 w 77324"/>
                    <a:gd name="connsiteY61" fmla="*/ 10477 h 58835"/>
                    <a:gd name="connsiteX62" fmla="*/ 40024 w 77324"/>
                    <a:gd name="connsiteY62" fmla="*/ 9896 h 58835"/>
                    <a:gd name="connsiteX63" fmla="*/ 40396 w 77324"/>
                    <a:gd name="connsiteY63" fmla="*/ 9849 h 58835"/>
                    <a:gd name="connsiteX64" fmla="*/ 42167 w 77324"/>
                    <a:gd name="connsiteY64" fmla="*/ 11335 h 58835"/>
                    <a:gd name="connsiteX65" fmla="*/ 43920 w 77324"/>
                    <a:gd name="connsiteY65" fmla="*/ 12325 h 58835"/>
                    <a:gd name="connsiteX66" fmla="*/ 46720 w 77324"/>
                    <a:gd name="connsiteY66" fmla="*/ 13468 h 58835"/>
                    <a:gd name="connsiteX67" fmla="*/ 47558 w 77324"/>
                    <a:gd name="connsiteY67" fmla="*/ 14211 h 58835"/>
                    <a:gd name="connsiteX68" fmla="*/ 59407 w 77324"/>
                    <a:gd name="connsiteY68" fmla="*/ 18726 h 58835"/>
                    <a:gd name="connsiteX69" fmla="*/ 63818 w 77324"/>
                    <a:gd name="connsiteY69" fmla="*/ 20717 h 58835"/>
                    <a:gd name="connsiteX70" fmla="*/ 64961 w 77324"/>
                    <a:gd name="connsiteY70" fmla="*/ 21917 h 58835"/>
                    <a:gd name="connsiteX71" fmla="*/ 65647 w 77324"/>
                    <a:gd name="connsiteY71" fmla="*/ 23003 h 58835"/>
                    <a:gd name="connsiteX72" fmla="*/ 65875 w 77324"/>
                    <a:gd name="connsiteY72" fmla="*/ 23974 h 58835"/>
                    <a:gd name="connsiteX73" fmla="*/ 66285 w 77324"/>
                    <a:gd name="connsiteY73" fmla="*/ 24498 h 58835"/>
                    <a:gd name="connsiteX74" fmla="*/ 67332 w 77324"/>
                    <a:gd name="connsiteY74" fmla="*/ 24841 h 58835"/>
                    <a:gd name="connsiteX75" fmla="*/ 67647 w 77324"/>
                    <a:gd name="connsiteY75" fmla="*/ 25394 h 58835"/>
                    <a:gd name="connsiteX76" fmla="*/ 71209 w 77324"/>
                    <a:gd name="connsiteY76" fmla="*/ 28003 h 58835"/>
                    <a:gd name="connsiteX77" fmla="*/ 72666 w 77324"/>
                    <a:gd name="connsiteY77" fmla="*/ 29889 h 58835"/>
                    <a:gd name="connsiteX78" fmla="*/ 73324 w 77324"/>
                    <a:gd name="connsiteY78" fmla="*/ 32090 h 58835"/>
                    <a:gd name="connsiteX79" fmla="*/ 74409 w 77324"/>
                    <a:gd name="connsiteY79" fmla="*/ 33480 h 58835"/>
                    <a:gd name="connsiteX80" fmla="*/ 75952 w 77324"/>
                    <a:gd name="connsiteY80" fmla="*/ 34071 h 58835"/>
                    <a:gd name="connsiteX81" fmla="*/ 76924 w 77324"/>
                    <a:gd name="connsiteY81" fmla="*/ 34804 h 58835"/>
                    <a:gd name="connsiteX82" fmla="*/ 77324 w 77324"/>
                    <a:gd name="connsiteY82" fmla="*/ 35671 h 58835"/>
                    <a:gd name="connsiteX83" fmla="*/ 76886 w 77324"/>
                    <a:gd name="connsiteY83" fmla="*/ 37452 h 58835"/>
                    <a:gd name="connsiteX84" fmla="*/ 76057 w 77324"/>
                    <a:gd name="connsiteY84" fmla="*/ 40253 h 58835"/>
                    <a:gd name="connsiteX85" fmla="*/ 75572 w 77324"/>
                    <a:gd name="connsiteY85" fmla="*/ 40738 h 58835"/>
                    <a:gd name="connsiteX86" fmla="*/ 74714 w 77324"/>
                    <a:gd name="connsiteY86" fmla="*/ 40538 h 58835"/>
                    <a:gd name="connsiteX87" fmla="*/ 73047 w 77324"/>
                    <a:gd name="connsiteY87" fmla="*/ 39500 h 58835"/>
                    <a:gd name="connsiteX88" fmla="*/ 71028 w 77324"/>
                    <a:gd name="connsiteY88" fmla="*/ 39005 h 58835"/>
                    <a:gd name="connsiteX89" fmla="*/ 70095 w 77324"/>
                    <a:gd name="connsiteY89" fmla="*/ 39110 h 58835"/>
                    <a:gd name="connsiteX90" fmla="*/ 70190 w 77324"/>
                    <a:gd name="connsiteY90" fmla="*/ 39814 h 58835"/>
                    <a:gd name="connsiteX91" fmla="*/ 70971 w 77324"/>
                    <a:gd name="connsiteY91" fmla="*/ 40929 h 58835"/>
                    <a:gd name="connsiteX92" fmla="*/ 72428 w 77324"/>
                    <a:gd name="connsiteY92" fmla="*/ 42462 h 58835"/>
                    <a:gd name="connsiteX93" fmla="*/ 72990 w 77324"/>
                    <a:gd name="connsiteY93" fmla="*/ 43558 h 58835"/>
                    <a:gd name="connsiteX94" fmla="*/ 72657 w 77324"/>
                    <a:gd name="connsiteY94" fmla="*/ 44206 h 58835"/>
                    <a:gd name="connsiteX95" fmla="*/ 71371 w 77324"/>
                    <a:gd name="connsiteY95" fmla="*/ 44748 h 58835"/>
                    <a:gd name="connsiteX96" fmla="*/ 71438 w 77324"/>
                    <a:gd name="connsiteY96" fmla="*/ 45510 h 58835"/>
                    <a:gd name="connsiteX97" fmla="*/ 72371 w 77324"/>
                    <a:gd name="connsiteY97" fmla="*/ 46920 h 58835"/>
                    <a:gd name="connsiteX98" fmla="*/ 72628 w 77324"/>
                    <a:gd name="connsiteY98" fmla="*/ 48187 h 58835"/>
                    <a:gd name="connsiteX99" fmla="*/ 72228 w 77324"/>
                    <a:gd name="connsiteY99" fmla="*/ 49330 h 58835"/>
                    <a:gd name="connsiteX100" fmla="*/ 70523 w 77324"/>
                    <a:gd name="connsiteY100" fmla="*/ 50349 h 58835"/>
                    <a:gd name="connsiteX101" fmla="*/ 67456 w 77324"/>
                    <a:gd name="connsiteY101" fmla="*/ 51254 h 58835"/>
                    <a:gd name="connsiteX102" fmla="*/ 65027 w 77324"/>
                    <a:gd name="connsiteY102" fmla="*/ 51054 h 58835"/>
                    <a:gd name="connsiteX103" fmla="*/ 63198 w 77324"/>
                    <a:gd name="connsiteY103" fmla="*/ 49759 h 58835"/>
                    <a:gd name="connsiteX104" fmla="*/ 59693 w 77324"/>
                    <a:gd name="connsiteY104" fmla="*/ 48777 h 58835"/>
                    <a:gd name="connsiteX105" fmla="*/ 54483 w 77324"/>
                    <a:gd name="connsiteY105" fmla="*/ 48111 h 58835"/>
                    <a:gd name="connsiteX106" fmla="*/ 51178 w 77324"/>
                    <a:gd name="connsiteY106" fmla="*/ 48492 h 58835"/>
                    <a:gd name="connsiteX107" fmla="*/ 49311 w 77324"/>
                    <a:gd name="connsiteY107" fmla="*/ 50568 h 58835"/>
                    <a:gd name="connsiteX108" fmla="*/ 49225 w 77324"/>
                    <a:gd name="connsiteY108" fmla="*/ 51016 h 58835"/>
                    <a:gd name="connsiteX109" fmla="*/ 49464 w 77324"/>
                    <a:gd name="connsiteY109" fmla="*/ 51387 h 58835"/>
                    <a:gd name="connsiteX110" fmla="*/ 49673 w 77324"/>
                    <a:gd name="connsiteY110" fmla="*/ 51435 h 58835"/>
                    <a:gd name="connsiteX111" fmla="*/ 49759 w 77324"/>
                    <a:gd name="connsiteY111" fmla="*/ 51711 h 58835"/>
                    <a:gd name="connsiteX112" fmla="*/ 48844 w 77324"/>
                    <a:gd name="connsiteY112" fmla="*/ 53654 h 58835"/>
                    <a:gd name="connsiteX113" fmla="*/ 48968 w 77324"/>
                    <a:gd name="connsiteY113" fmla="*/ 54826 h 58835"/>
                    <a:gd name="connsiteX114" fmla="*/ 49806 w 77324"/>
                    <a:gd name="connsiteY114" fmla="*/ 55978 h 58835"/>
                    <a:gd name="connsiteX115" fmla="*/ 50092 w 77324"/>
                    <a:gd name="connsiteY115" fmla="*/ 56969 h 58835"/>
                    <a:gd name="connsiteX116" fmla="*/ 49816 w 77324"/>
                    <a:gd name="connsiteY116" fmla="*/ 57798 h 58835"/>
                    <a:gd name="connsiteX117" fmla="*/ 49082 w 77324"/>
                    <a:gd name="connsiteY117" fmla="*/ 58426 h 58835"/>
                    <a:gd name="connsiteX118" fmla="*/ 47892 w 77324"/>
                    <a:gd name="connsiteY118" fmla="*/ 58836 h 58835"/>
                    <a:gd name="connsiteX119" fmla="*/ 46587 w 77324"/>
                    <a:gd name="connsiteY119" fmla="*/ 58712 h 58835"/>
                    <a:gd name="connsiteX120" fmla="*/ 45196 w 77324"/>
                    <a:gd name="connsiteY120" fmla="*/ 58036 h 58835"/>
                    <a:gd name="connsiteX121" fmla="*/ 43387 w 77324"/>
                    <a:gd name="connsiteY121" fmla="*/ 57874 h 58835"/>
                    <a:gd name="connsiteX122" fmla="*/ 41167 w 77324"/>
                    <a:gd name="connsiteY122" fmla="*/ 58255 h 58835"/>
                    <a:gd name="connsiteX123" fmla="*/ 39491 w 77324"/>
                    <a:gd name="connsiteY123" fmla="*/ 58188 h 58835"/>
                    <a:gd name="connsiteX124" fmla="*/ 38367 w 77324"/>
                    <a:gd name="connsiteY124" fmla="*/ 57702 h 58835"/>
                    <a:gd name="connsiteX125" fmla="*/ 37814 w 77324"/>
                    <a:gd name="connsiteY125" fmla="*/ 57455 h 58835"/>
                    <a:gd name="connsiteX126" fmla="*/ 38205 w 77324"/>
                    <a:gd name="connsiteY126" fmla="*/ 57083 h 58835"/>
                    <a:gd name="connsiteX127" fmla="*/ 39834 w 77324"/>
                    <a:gd name="connsiteY127" fmla="*/ 55740 h 58835"/>
                    <a:gd name="connsiteX128" fmla="*/ 39586 w 77324"/>
                    <a:gd name="connsiteY128" fmla="*/ 54921 h 58835"/>
                    <a:gd name="connsiteX129" fmla="*/ 38529 w 77324"/>
                    <a:gd name="connsiteY129" fmla="*/ 54140 h 58835"/>
                    <a:gd name="connsiteX130" fmla="*/ 38072 w 77324"/>
                    <a:gd name="connsiteY130" fmla="*/ 53273 h 58835"/>
                    <a:gd name="connsiteX131" fmla="*/ 38157 w 77324"/>
                    <a:gd name="connsiteY131" fmla="*/ 51673 h 58835"/>
                    <a:gd name="connsiteX132" fmla="*/ 37938 w 77324"/>
                    <a:gd name="connsiteY132" fmla="*/ 51302 h 58835"/>
                    <a:gd name="connsiteX133" fmla="*/ 35462 w 77324"/>
                    <a:gd name="connsiteY133" fmla="*/ 49835 h 58835"/>
                    <a:gd name="connsiteX134" fmla="*/ 33481 w 77324"/>
                    <a:gd name="connsiteY134" fmla="*/ 47606 h 58835"/>
                    <a:gd name="connsiteX135" fmla="*/ 29623 w 77324"/>
                    <a:gd name="connsiteY135" fmla="*/ 41977 h 58835"/>
                    <a:gd name="connsiteX136" fmla="*/ 29108 w 77324"/>
                    <a:gd name="connsiteY136" fmla="*/ 41510 h 58835"/>
                    <a:gd name="connsiteX137" fmla="*/ 28747 w 77324"/>
                    <a:gd name="connsiteY137" fmla="*/ 41462 h 58835"/>
                    <a:gd name="connsiteX138" fmla="*/ 28518 w 77324"/>
                    <a:gd name="connsiteY138" fmla="*/ 41843 h 58835"/>
                    <a:gd name="connsiteX139" fmla="*/ 27861 w 77324"/>
                    <a:gd name="connsiteY139" fmla="*/ 41805 h 58835"/>
                    <a:gd name="connsiteX140" fmla="*/ 27489 w 77324"/>
                    <a:gd name="connsiteY140" fmla="*/ 40415 h 58835"/>
                    <a:gd name="connsiteX141" fmla="*/ 26889 w 77324"/>
                    <a:gd name="connsiteY141" fmla="*/ 39395 h 58835"/>
                    <a:gd name="connsiteX142" fmla="*/ 25784 w 77324"/>
                    <a:gd name="connsiteY142" fmla="*/ 38224 h 58835"/>
                    <a:gd name="connsiteX143" fmla="*/ 24156 w 77324"/>
                    <a:gd name="connsiteY143" fmla="*/ 37243 h 58835"/>
                    <a:gd name="connsiteX144" fmla="*/ 20831 w 77324"/>
                    <a:gd name="connsiteY144" fmla="*/ 36062 h 58835"/>
                    <a:gd name="connsiteX145" fmla="*/ 20422 w 77324"/>
                    <a:gd name="connsiteY145" fmla="*/ 35290 h 58835"/>
                    <a:gd name="connsiteX146" fmla="*/ 19603 w 77324"/>
                    <a:gd name="connsiteY146" fmla="*/ 33757 h 58835"/>
                    <a:gd name="connsiteX147" fmla="*/ 19403 w 77324"/>
                    <a:gd name="connsiteY147" fmla="*/ 32871 h 58835"/>
                    <a:gd name="connsiteX148" fmla="*/ 19831 w 77324"/>
                    <a:gd name="connsiteY148" fmla="*/ 32642 h 58835"/>
                    <a:gd name="connsiteX149" fmla="*/ 19822 w 77324"/>
                    <a:gd name="connsiteY149" fmla="*/ 31804 h 58835"/>
                    <a:gd name="connsiteX150" fmla="*/ 19374 w 77324"/>
                    <a:gd name="connsiteY150" fmla="*/ 30347 h 58835"/>
                    <a:gd name="connsiteX151" fmla="*/ 18536 w 77324"/>
                    <a:gd name="connsiteY151" fmla="*/ 29356 h 58835"/>
                    <a:gd name="connsiteX152" fmla="*/ 17326 w 77324"/>
                    <a:gd name="connsiteY152" fmla="*/ 28832 h 58835"/>
                    <a:gd name="connsiteX153" fmla="*/ 16878 w 77324"/>
                    <a:gd name="connsiteY153" fmla="*/ 28394 h 58835"/>
                    <a:gd name="connsiteX154" fmla="*/ 16536 w 77324"/>
                    <a:gd name="connsiteY154" fmla="*/ 27480 h 58835"/>
                    <a:gd name="connsiteX155" fmla="*/ 15726 w 77324"/>
                    <a:gd name="connsiteY155" fmla="*/ 26679 h 58835"/>
                    <a:gd name="connsiteX156" fmla="*/ 12440 w 77324"/>
                    <a:gd name="connsiteY156" fmla="*/ 24260 h 58835"/>
                    <a:gd name="connsiteX157" fmla="*/ 7916 w 77324"/>
                    <a:gd name="connsiteY157" fmla="*/ 21660 h 58835"/>
                    <a:gd name="connsiteX158" fmla="*/ 953 w 77324"/>
                    <a:gd name="connsiteY158" fmla="*/ 18488 h 58835"/>
                    <a:gd name="connsiteX159" fmla="*/ 0 w 77324"/>
                    <a:gd name="connsiteY159" fmla="*/ 17621 h 58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77324" h="58835">
                      <a:moveTo>
                        <a:pt x="191" y="17288"/>
                      </a:moveTo>
                      <a:lnTo>
                        <a:pt x="191" y="17288"/>
                      </a:lnTo>
                      <a:lnTo>
                        <a:pt x="191" y="17288"/>
                      </a:lnTo>
                      <a:lnTo>
                        <a:pt x="191" y="17288"/>
                      </a:lnTo>
                      <a:lnTo>
                        <a:pt x="657" y="16878"/>
                      </a:lnTo>
                      <a:lnTo>
                        <a:pt x="667" y="16507"/>
                      </a:lnTo>
                      <a:lnTo>
                        <a:pt x="305" y="15869"/>
                      </a:lnTo>
                      <a:lnTo>
                        <a:pt x="972" y="15126"/>
                      </a:lnTo>
                      <a:lnTo>
                        <a:pt x="2362" y="15297"/>
                      </a:lnTo>
                      <a:lnTo>
                        <a:pt x="4486" y="16402"/>
                      </a:lnTo>
                      <a:lnTo>
                        <a:pt x="5744" y="16773"/>
                      </a:lnTo>
                      <a:lnTo>
                        <a:pt x="5963" y="16278"/>
                      </a:lnTo>
                      <a:lnTo>
                        <a:pt x="5772" y="15897"/>
                      </a:lnTo>
                      <a:lnTo>
                        <a:pt x="5582" y="14992"/>
                      </a:lnTo>
                      <a:lnTo>
                        <a:pt x="6410" y="14573"/>
                      </a:lnTo>
                      <a:lnTo>
                        <a:pt x="7420" y="14526"/>
                      </a:lnTo>
                      <a:lnTo>
                        <a:pt x="7772" y="14106"/>
                      </a:lnTo>
                      <a:lnTo>
                        <a:pt x="7687" y="13459"/>
                      </a:lnTo>
                      <a:lnTo>
                        <a:pt x="7287" y="13040"/>
                      </a:lnTo>
                      <a:lnTo>
                        <a:pt x="7115" y="12678"/>
                      </a:lnTo>
                      <a:lnTo>
                        <a:pt x="7506" y="12154"/>
                      </a:lnTo>
                      <a:lnTo>
                        <a:pt x="7506" y="11249"/>
                      </a:lnTo>
                      <a:lnTo>
                        <a:pt x="7573" y="10830"/>
                      </a:lnTo>
                      <a:lnTo>
                        <a:pt x="7934" y="10354"/>
                      </a:lnTo>
                      <a:lnTo>
                        <a:pt x="8192" y="9963"/>
                      </a:lnTo>
                      <a:lnTo>
                        <a:pt x="8077" y="9525"/>
                      </a:lnTo>
                      <a:lnTo>
                        <a:pt x="7544" y="8896"/>
                      </a:lnTo>
                      <a:lnTo>
                        <a:pt x="7468" y="8201"/>
                      </a:lnTo>
                      <a:lnTo>
                        <a:pt x="8535" y="8144"/>
                      </a:lnTo>
                      <a:lnTo>
                        <a:pt x="12964" y="9068"/>
                      </a:lnTo>
                      <a:lnTo>
                        <a:pt x="13278" y="8982"/>
                      </a:lnTo>
                      <a:lnTo>
                        <a:pt x="13230" y="8191"/>
                      </a:lnTo>
                      <a:lnTo>
                        <a:pt x="13773" y="7877"/>
                      </a:lnTo>
                      <a:lnTo>
                        <a:pt x="14573" y="7553"/>
                      </a:lnTo>
                      <a:lnTo>
                        <a:pt x="15821" y="7363"/>
                      </a:lnTo>
                      <a:lnTo>
                        <a:pt x="15926" y="6772"/>
                      </a:lnTo>
                      <a:lnTo>
                        <a:pt x="15240" y="6163"/>
                      </a:lnTo>
                      <a:lnTo>
                        <a:pt x="15069" y="5334"/>
                      </a:lnTo>
                      <a:lnTo>
                        <a:pt x="17907" y="1314"/>
                      </a:lnTo>
                      <a:lnTo>
                        <a:pt x="19793" y="0"/>
                      </a:lnTo>
                      <a:lnTo>
                        <a:pt x="20707" y="324"/>
                      </a:lnTo>
                      <a:lnTo>
                        <a:pt x="20974" y="648"/>
                      </a:lnTo>
                      <a:lnTo>
                        <a:pt x="21289" y="1038"/>
                      </a:lnTo>
                      <a:lnTo>
                        <a:pt x="24279" y="1914"/>
                      </a:lnTo>
                      <a:lnTo>
                        <a:pt x="25194" y="2705"/>
                      </a:lnTo>
                      <a:lnTo>
                        <a:pt x="25851" y="4096"/>
                      </a:lnTo>
                      <a:lnTo>
                        <a:pt x="26670" y="4877"/>
                      </a:lnTo>
                      <a:lnTo>
                        <a:pt x="28137" y="4924"/>
                      </a:lnTo>
                      <a:lnTo>
                        <a:pt x="28318" y="4572"/>
                      </a:lnTo>
                      <a:lnTo>
                        <a:pt x="29737" y="4162"/>
                      </a:lnTo>
                      <a:lnTo>
                        <a:pt x="30214" y="4220"/>
                      </a:lnTo>
                      <a:lnTo>
                        <a:pt x="31061" y="5039"/>
                      </a:lnTo>
                      <a:lnTo>
                        <a:pt x="31661" y="5353"/>
                      </a:lnTo>
                      <a:lnTo>
                        <a:pt x="32042" y="4991"/>
                      </a:lnTo>
                      <a:lnTo>
                        <a:pt x="32099" y="4648"/>
                      </a:lnTo>
                      <a:lnTo>
                        <a:pt x="32814" y="4648"/>
                      </a:lnTo>
                      <a:lnTo>
                        <a:pt x="36214" y="7068"/>
                      </a:lnTo>
                      <a:lnTo>
                        <a:pt x="37710" y="8744"/>
                      </a:lnTo>
                      <a:lnTo>
                        <a:pt x="39167" y="10639"/>
                      </a:lnTo>
                      <a:lnTo>
                        <a:pt x="39919" y="11106"/>
                      </a:lnTo>
                      <a:lnTo>
                        <a:pt x="40262" y="10973"/>
                      </a:lnTo>
                      <a:lnTo>
                        <a:pt x="40072" y="10477"/>
                      </a:lnTo>
                      <a:lnTo>
                        <a:pt x="40024" y="9896"/>
                      </a:lnTo>
                      <a:lnTo>
                        <a:pt x="40396" y="9849"/>
                      </a:lnTo>
                      <a:lnTo>
                        <a:pt x="42167" y="11335"/>
                      </a:lnTo>
                      <a:lnTo>
                        <a:pt x="43920" y="12325"/>
                      </a:lnTo>
                      <a:lnTo>
                        <a:pt x="46720" y="13468"/>
                      </a:lnTo>
                      <a:lnTo>
                        <a:pt x="47558" y="14211"/>
                      </a:lnTo>
                      <a:lnTo>
                        <a:pt x="59407" y="18726"/>
                      </a:lnTo>
                      <a:lnTo>
                        <a:pt x="63818" y="20717"/>
                      </a:lnTo>
                      <a:lnTo>
                        <a:pt x="64961" y="21917"/>
                      </a:lnTo>
                      <a:lnTo>
                        <a:pt x="65647" y="23003"/>
                      </a:lnTo>
                      <a:lnTo>
                        <a:pt x="65875" y="23974"/>
                      </a:lnTo>
                      <a:lnTo>
                        <a:pt x="66285" y="24498"/>
                      </a:lnTo>
                      <a:lnTo>
                        <a:pt x="67332" y="24841"/>
                      </a:lnTo>
                      <a:lnTo>
                        <a:pt x="67647" y="25394"/>
                      </a:lnTo>
                      <a:lnTo>
                        <a:pt x="71209" y="28003"/>
                      </a:lnTo>
                      <a:lnTo>
                        <a:pt x="72666" y="29889"/>
                      </a:lnTo>
                      <a:lnTo>
                        <a:pt x="73324" y="32090"/>
                      </a:lnTo>
                      <a:lnTo>
                        <a:pt x="74409" y="33480"/>
                      </a:lnTo>
                      <a:lnTo>
                        <a:pt x="75952" y="34071"/>
                      </a:lnTo>
                      <a:lnTo>
                        <a:pt x="76924" y="34804"/>
                      </a:lnTo>
                      <a:lnTo>
                        <a:pt x="77324" y="35671"/>
                      </a:lnTo>
                      <a:lnTo>
                        <a:pt x="76886" y="37452"/>
                      </a:lnTo>
                      <a:lnTo>
                        <a:pt x="76057" y="40253"/>
                      </a:lnTo>
                      <a:lnTo>
                        <a:pt x="75572" y="40738"/>
                      </a:lnTo>
                      <a:lnTo>
                        <a:pt x="74714" y="40538"/>
                      </a:lnTo>
                      <a:lnTo>
                        <a:pt x="73047" y="39500"/>
                      </a:lnTo>
                      <a:lnTo>
                        <a:pt x="71028" y="39005"/>
                      </a:lnTo>
                      <a:lnTo>
                        <a:pt x="70095" y="39110"/>
                      </a:lnTo>
                      <a:lnTo>
                        <a:pt x="70190" y="39814"/>
                      </a:lnTo>
                      <a:lnTo>
                        <a:pt x="70971" y="40929"/>
                      </a:lnTo>
                      <a:lnTo>
                        <a:pt x="72428" y="42462"/>
                      </a:lnTo>
                      <a:lnTo>
                        <a:pt x="72990" y="43558"/>
                      </a:lnTo>
                      <a:lnTo>
                        <a:pt x="72657" y="44206"/>
                      </a:lnTo>
                      <a:lnTo>
                        <a:pt x="71371" y="44748"/>
                      </a:lnTo>
                      <a:lnTo>
                        <a:pt x="71438" y="45510"/>
                      </a:lnTo>
                      <a:lnTo>
                        <a:pt x="72371" y="46920"/>
                      </a:lnTo>
                      <a:lnTo>
                        <a:pt x="72628" y="48187"/>
                      </a:lnTo>
                      <a:lnTo>
                        <a:pt x="72228" y="49330"/>
                      </a:lnTo>
                      <a:lnTo>
                        <a:pt x="70523" y="50349"/>
                      </a:lnTo>
                      <a:lnTo>
                        <a:pt x="67456" y="51254"/>
                      </a:lnTo>
                      <a:lnTo>
                        <a:pt x="65027" y="51054"/>
                      </a:lnTo>
                      <a:lnTo>
                        <a:pt x="63198" y="49759"/>
                      </a:lnTo>
                      <a:lnTo>
                        <a:pt x="59693" y="48777"/>
                      </a:lnTo>
                      <a:lnTo>
                        <a:pt x="54483" y="48111"/>
                      </a:lnTo>
                      <a:lnTo>
                        <a:pt x="51178" y="48492"/>
                      </a:lnTo>
                      <a:lnTo>
                        <a:pt x="49311" y="50568"/>
                      </a:lnTo>
                      <a:lnTo>
                        <a:pt x="49225" y="51016"/>
                      </a:lnTo>
                      <a:lnTo>
                        <a:pt x="49464" y="51387"/>
                      </a:lnTo>
                      <a:lnTo>
                        <a:pt x="49673" y="51435"/>
                      </a:lnTo>
                      <a:lnTo>
                        <a:pt x="49759" y="51711"/>
                      </a:lnTo>
                      <a:lnTo>
                        <a:pt x="48844" y="53654"/>
                      </a:lnTo>
                      <a:lnTo>
                        <a:pt x="48968" y="54826"/>
                      </a:lnTo>
                      <a:lnTo>
                        <a:pt x="49806" y="55978"/>
                      </a:lnTo>
                      <a:lnTo>
                        <a:pt x="50092" y="56969"/>
                      </a:lnTo>
                      <a:lnTo>
                        <a:pt x="49816" y="57798"/>
                      </a:lnTo>
                      <a:lnTo>
                        <a:pt x="49082" y="58426"/>
                      </a:lnTo>
                      <a:lnTo>
                        <a:pt x="47892" y="58836"/>
                      </a:lnTo>
                      <a:lnTo>
                        <a:pt x="46587" y="58712"/>
                      </a:lnTo>
                      <a:lnTo>
                        <a:pt x="45196" y="58036"/>
                      </a:lnTo>
                      <a:lnTo>
                        <a:pt x="43387" y="57874"/>
                      </a:lnTo>
                      <a:lnTo>
                        <a:pt x="41167" y="58255"/>
                      </a:lnTo>
                      <a:lnTo>
                        <a:pt x="39491" y="58188"/>
                      </a:lnTo>
                      <a:lnTo>
                        <a:pt x="38367" y="57702"/>
                      </a:lnTo>
                      <a:lnTo>
                        <a:pt x="37814" y="57455"/>
                      </a:lnTo>
                      <a:lnTo>
                        <a:pt x="38205" y="57083"/>
                      </a:lnTo>
                      <a:lnTo>
                        <a:pt x="39834" y="55740"/>
                      </a:lnTo>
                      <a:lnTo>
                        <a:pt x="39586" y="54921"/>
                      </a:lnTo>
                      <a:lnTo>
                        <a:pt x="38529" y="54140"/>
                      </a:lnTo>
                      <a:lnTo>
                        <a:pt x="38072" y="53273"/>
                      </a:lnTo>
                      <a:lnTo>
                        <a:pt x="38157" y="51673"/>
                      </a:lnTo>
                      <a:lnTo>
                        <a:pt x="37938" y="51302"/>
                      </a:lnTo>
                      <a:lnTo>
                        <a:pt x="35462" y="49835"/>
                      </a:lnTo>
                      <a:lnTo>
                        <a:pt x="33481" y="47606"/>
                      </a:lnTo>
                      <a:lnTo>
                        <a:pt x="29623" y="41977"/>
                      </a:lnTo>
                      <a:lnTo>
                        <a:pt x="29108" y="41510"/>
                      </a:lnTo>
                      <a:lnTo>
                        <a:pt x="28747" y="41462"/>
                      </a:lnTo>
                      <a:lnTo>
                        <a:pt x="28518" y="41843"/>
                      </a:lnTo>
                      <a:lnTo>
                        <a:pt x="27861" y="41805"/>
                      </a:lnTo>
                      <a:lnTo>
                        <a:pt x="27489" y="40415"/>
                      </a:lnTo>
                      <a:lnTo>
                        <a:pt x="26889" y="39395"/>
                      </a:lnTo>
                      <a:lnTo>
                        <a:pt x="25784" y="38224"/>
                      </a:lnTo>
                      <a:lnTo>
                        <a:pt x="24156" y="37243"/>
                      </a:lnTo>
                      <a:lnTo>
                        <a:pt x="20831" y="36062"/>
                      </a:lnTo>
                      <a:lnTo>
                        <a:pt x="20422" y="35290"/>
                      </a:lnTo>
                      <a:lnTo>
                        <a:pt x="19603" y="33757"/>
                      </a:lnTo>
                      <a:lnTo>
                        <a:pt x="19403" y="32871"/>
                      </a:lnTo>
                      <a:lnTo>
                        <a:pt x="19831" y="32642"/>
                      </a:lnTo>
                      <a:lnTo>
                        <a:pt x="19822" y="31804"/>
                      </a:lnTo>
                      <a:lnTo>
                        <a:pt x="19374" y="30347"/>
                      </a:lnTo>
                      <a:lnTo>
                        <a:pt x="18536" y="29356"/>
                      </a:lnTo>
                      <a:lnTo>
                        <a:pt x="17326" y="28832"/>
                      </a:lnTo>
                      <a:lnTo>
                        <a:pt x="16878" y="28394"/>
                      </a:lnTo>
                      <a:lnTo>
                        <a:pt x="16536" y="27480"/>
                      </a:lnTo>
                      <a:lnTo>
                        <a:pt x="15726" y="26679"/>
                      </a:lnTo>
                      <a:lnTo>
                        <a:pt x="12440" y="24260"/>
                      </a:lnTo>
                      <a:lnTo>
                        <a:pt x="7916" y="21660"/>
                      </a:lnTo>
                      <a:lnTo>
                        <a:pt x="953" y="18488"/>
                      </a:lnTo>
                      <a:lnTo>
                        <a:pt x="0" y="17621"/>
                      </a:lnTo>
                      <a:close/>
                    </a:path>
                  </a:pathLst>
                </a:custGeom>
                <a:solidFill>
                  <a:srgbClr val="FFFFFF"/>
                </a:solidFill>
                <a:ln w="9525" cap="flat">
                  <a:noFill/>
                  <a:prstDash val="solid"/>
                  <a:miter/>
                </a:ln>
              </p:spPr>
              <p:txBody>
                <a:bodyPr rtlCol="0" anchor="ctr"/>
                <a:lstStyle/>
                <a:p>
                  <a:endParaRPr lang="en-US"/>
                </a:p>
              </p:txBody>
            </p:sp>
          </p:grpSp>
        </p:grpSp>
        <p:pic>
          <p:nvPicPr>
            <p:cNvPr id="451" name="Disputed_Territories">
              <a:extLst>
                <a:ext uri="{FF2B5EF4-FFF2-40B4-BE49-F238E27FC236}">
                  <a16:creationId xmlns:a16="http://schemas.microsoft.com/office/drawing/2014/main" id="{E086C4F9-33B9-4AC6-8C86-63FA13562C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28762" y="1727947"/>
              <a:ext cx="9134475" cy="4391025"/>
            </a:xfrm>
            <a:prstGeom prst="rect">
              <a:avLst/>
            </a:prstGeom>
          </p:spPr>
        </p:pic>
      </p:grpSp>
    </p:spTree>
    <p:extLst>
      <p:ext uri="{BB962C8B-B14F-4D97-AF65-F5344CB8AC3E}">
        <p14:creationId xmlns:p14="http://schemas.microsoft.com/office/powerpoint/2010/main" val="3695752088"/>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North America</a:t>
            </a:r>
            <a:endParaRPr lang="de-DE" dirty="0"/>
          </a:p>
        </p:txBody>
      </p:sp>
      <p:sp>
        <p:nvSpPr>
          <p:cNvPr id="3" name="TextBox 2">
            <a:extLst>
              <a:ext uri="{FF2B5EF4-FFF2-40B4-BE49-F238E27FC236}">
                <a16:creationId xmlns:a16="http://schemas.microsoft.com/office/drawing/2014/main" id="{2479E5AD-EA0D-42FB-A756-E49B16036E31}"/>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shade one or more countries</a:t>
            </a:r>
          </a:p>
        </p:txBody>
      </p:sp>
      <p:grpSp>
        <p:nvGrpSpPr>
          <p:cNvPr id="4" name="Group 3" descr="Describe map here">
            <a:extLst>
              <a:ext uri="{FF2B5EF4-FFF2-40B4-BE49-F238E27FC236}">
                <a16:creationId xmlns:a16="http://schemas.microsoft.com/office/drawing/2014/main" id="{697EB3F1-A682-4C03-BF48-EAD442659591}"/>
              </a:ext>
            </a:extLst>
          </p:cNvPr>
          <p:cNvGrpSpPr>
            <a:grpSpLocks noChangeAspect="1"/>
          </p:cNvGrpSpPr>
          <p:nvPr/>
        </p:nvGrpSpPr>
        <p:grpSpPr>
          <a:xfrm>
            <a:off x="3995134" y="1"/>
            <a:ext cx="8197147" cy="6858000"/>
            <a:chOff x="1289041" y="599309"/>
            <a:chExt cx="9699958" cy="8115301"/>
          </a:xfrm>
          <a:solidFill>
            <a:srgbClr val="96968C">
              <a:lumMod val="40000"/>
              <a:lumOff val="60000"/>
            </a:srgbClr>
          </a:solidFill>
        </p:grpSpPr>
        <p:grpSp>
          <p:nvGrpSpPr>
            <p:cNvPr id="5" name="Group 209">
              <a:extLst>
                <a:ext uri="{FF2B5EF4-FFF2-40B4-BE49-F238E27FC236}">
                  <a16:creationId xmlns:a16="http://schemas.microsoft.com/office/drawing/2014/main" id="{DFAC82E8-4984-43B6-85D6-0956ACA997FE}"/>
                </a:ext>
              </a:extLst>
            </p:cNvPr>
            <p:cNvGrpSpPr>
              <a:grpSpLocks/>
            </p:cNvGrpSpPr>
            <p:nvPr/>
          </p:nvGrpSpPr>
          <p:grpSpPr bwMode="auto">
            <a:xfrm>
              <a:off x="1289041" y="1831209"/>
              <a:ext cx="9677400" cy="6662738"/>
              <a:chOff x="786" y="381"/>
              <a:chExt cx="6096" cy="4197"/>
            </a:xfrm>
            <a:grpFill/>
          </p:grpSpPr>
          <p:sp>
            <p:nvSpPr>
              <p:cNvPr id="176" name="Rectangle 9">
                <a:extLst>
                  <a:ext uri="{FF2B5EF4-FFF2-40B4-BE49-F238E27FC236}">
                    <a16:creationId xmlns:a16="http://schemas.microsoft.com/office/drawing/2014/main" id="{9A68BD4D-4BDD-403F-8106-4050522AF017}"/>
                  </a:ext>
                </a:extLst>
              </p:cNvPr>
              <p:cNvSpPr>
                <a:spLocks noChangeArrowheads="1"/>
              </p:cNvSpPr>
              <p:nvPr/>
            </p:nvSpPr>
            <p:spPr bwMode="auto">
              <a:xfrm>
                <a:off x="6187" y="2397"/>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7" name="Freeform 10">
                <a:extLst>
                  <a:ext uri="{FF2B5EF4-FFF2-40B4-BE49-F238E27FC236}">
                    <a16:creationId xmlns:a16="http://schemas.microsoft.com/office/drawing/2014/main" id="{5B6F825E-021F-4740-8497-20FD4EC471A3}"/>
                  </a:ext>
                </a:extLst>
              </p:cNvPr>
              <p:cNvSpPr>
                <a:spLocks/>
              </p:cNvSpPr>
              <p:nvPr/>
            </p:nvSpPr>
            <p:spPr bwMode="auto">
              <a:xfrm>
                <a:off x="6187" y="2397"/>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8" name="Rectangle 11">
                <a:extLst>
                  <a:ext uri="{FF2B5EF4-FFF2-40B4-BE49-F238E27FC236}">
                    <a16:creationId xmlns:a16="http://schemas.microsoft.com/office/drawing/2014/main" id="{D6640D29-9639-489A-8E0F-987E354669C4}"/>
                  </a:ext>
                </a:extLst>
              </p:cNvPr>
              <p:cNvSpPr>
                <a:spLocks noChangeArrowheads="1"/>
              </p:cNvSpPr>
              <p:nvPr/>
            </p:nvSpPr>
            <p:spPr bwMode="auto">
              <a:xfrm>
                <a:off x="4671" y="3516"/>
                <a:ext cx="1" cy="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9" name="Freeform 12">
                <a:extLst>
                  <a:ext uri="{FF2B5EF4-FFF2-40B4-BE49-F238E27FC236}">
                    <a16:creationId xmlns:a16="http://schemas.microsoft.com/office/drawing/2014/main" id="{48470A39-6BBE-4638-9747-7801559654B9}"/>
                  </a:ext>
                </a:extLst>
              </p:cNvPr>
              <p:cNvSpPr>
                <a:spLocks/>
              </p:cNvSpPr>
              <p:nvPr/>
            </p:nvSpPr>
            <p:spPr bwMode="auto">
              <a:xfrm>
                <a:off x="4671" y="3516"/>
                <a:ext cx="0" cy="2"/>
              </a:xfrm>
              <a:custGeom>
                <a:avLst/>
                <a:gdLst>
                  <a:gd name="T0" fmla="*/ 0 h 2"/>
                  <a:gd name="T1" fmla="*/ 2 h 2"/>
                  <a:gd name="T2" fmla="*/ 2 h 2"/>
                  <a:gd name="T3" fmla="*/ 0 h 2"/>
                </a:gdLst>
                <a:ahLst/>
                <a:cxnLst>
                  <a:cxn ang="0">
                    <a:pos x="0" y="T0"/>
                  </a:cxn>
                  <a:cxn ang="0">
                    <a:pos x="0" y="T1"/>
                  </a:cxn>
                  <a:cxn ang="0">
                    <a:pos x="0" y="T2"/>
                  </a:cxn>
                  <a:cxn ang="0">
                    <a:pos x="0" y="T3"/>
                  </a:cxn>
                </a:cxnLst>
                <a:rect l="0" t="0" r="r" b="b"/>
                <a:pathLst>
                  <a:path h="2">
                    <a:moveTo>
                      <a:pt x="0" y="0"/>
                    </a:moveTo>
                    <a:lnTo>
                      <a:pt x="0" y="2"/>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0" name="Freeform 13">
                <a:extLst>
                  <a:ext uri="{FF2B5EF4-FFF2-40B4-BE49-F238E27FC236}">
                    <a16:creationId xmlns:a16="http://schemas.microsoft.com/office/drawing/2014/main" id="{9582D042-AD56-4F40-8542-9571926711B9}"/>
                  </a:ext>
                </a:extLst>
              </p:cNvPr>
              <p:cNvSpPr>
                <a:spLocks noEditPoints="1"/>
              </p:cNvSpPr>
              <p:nvPr/>
            </p:nvSpPr>
            <p:spPr bwMode="auto">
              <a:xfrm>
                <a:off x="3160" y="2035"/>
                <a:ext cx="3169" cy="1537"/>
              </a:xfrm>
              <a:custGeom>
                <a:avLst/>
                <a:gdLst>
                  <a:gd name="T0" fmla="*/ 1179 w 1340"/>
                  <a:gd name="T1" fmla="*/ 236 h 650"/>
                  <a:gd name="T2" fmla="*/ 1178 w 1340"/>
                  <a:gd name="T3" fmla="*/ 232 h 650"/>
                  <a:gd name="T4" fmla="*/ 475 w 1340"/>
                  <a:gd name="T5" fmla="*/ 11 h 650"/>
                  <a:gd name="T6" fmla="*/ 56 w 1340"/>
                  <a:gd name="T7" fmla="*/ 39 h 650"/>
                  <a:gd name="T8" fmla="*/ 49 w 1340"/>
                  <a:gd name="T9" fmla="*/ 55 h 650"/>
                  <a:gd name="T10" fmla="*/ 47 w 1340"/>
                  <a:gd name="T11" fmla="*/ 42 h 650"/>
                  <a:gd name="T12" fmla="*/ 18 w 1340"/>
                  <a:gd name="T13" fmla="*/ 74 h 650"/>
                  <a:gd name="T14" fmla="*/ 13 w 1340"/>
                  <a:gd name="T15" fmla="*/ 162 h 650"/>
                  <a:gd name="T16" fmla="*/ 23 w 1340"/>
                  <a:gd name="T17" fmla="*/ 277 h 650"/>
                  <a:gd name="T18" fmla="*/ 63 w 1340"/>
                  <a:gd name="T19" fmla="*/ 315 h 650"/>
                  <a:gd name="T20" fmla="*/ 55 w 1340"/>
                  <a:gd name="T21" fmla="*/ 325 h 650"/>
                  <a:gd name="T22" fmla="*/ 95 w 1340"/>
                  <a:gd name="T23" fmla="*/ 400 h 650"/>
                  <a:gd name="T24" fmla="*/ 146 w 1340"/>
                  <a:gd name="T25" fmla="*/ 431 h 650"/>
                  <a:gd name="T26" fmla="*/ 235 w 1340"/>
                  <a:gd name="T27" fmla="*/ 461 h 650"/>
                  <a:gd name="T28" fmla="*/ 485 w 1340"/>
                  <a:gd name="T29" fmla="*/ 544 h 650"/>
                  <a:gd name="T30" fmla="*/ 588 w 1340"/>
                  <a:gd name="T31" fmla="*/ 595 h 650"/>
                  <a:gd name="T32" fmla="*/ 631 w 1340"/>
                  <a:gd name="T33" fmla="*/ 596 h 650"/>
                  <a:gd name="T34" fmla="*/ 650 w 1340"/>
                  <a:gd name="T35" fmla="*/ 569 h 650"/>
                  <a:gd name="T36" fmla="*/ 686 w 1340"/>
                  <a:gd name="T37" fmla="*/ 548 h 650"/>
                  <a:gd name="T38" fmla="*/ 695 w 1340"/>
                  <a:gd name="T39" fmla="*/ 544 h 650"/>
                  <a:gd name="T40" fmla="*/ 756 w 1340"/>
                  <a:gd name="T41" fmla="*/ 535 h 650"/>
                  <a:gd name="T42" fmla="*/ 809 w 1340"/>
                  <a:gd name="T43" fmla="*/ 542 h 650"/>
                  <a:gd name="T44" fmla="*/ 817 w 1340"/>
                  <a:gd name="T45" fmla="*/ 536 h 650"/>
                  <a:gd name="T46" fmla="*/ 831 w 1340"/>
                  <a:gd name="T47" fmla="*/ 517 h 650"/>
                  <a:gd name="T48" fmla="*/ 865 w 1340"/>
                  <a:gd name="T49" fmla="*/ 517 h 650"/>
                  <a:gd name="T50" fmla="*/ 912 w 1340"/>
                  <a:gd name="T51" fmla="*/ 527 h 650"/>
                  <a:gd name="T52" fmla="*/ 975 w 1340"/>
                  <a:gd name="T53" fmla="*/ 568 h 650"/>
                  <a:gd name="T54" fmla="*/ 990 w 1340"/>
                  <a:gd name="T55" fmla="*/ 607 h 650"/>
                  <a:gd name="T56" fmla="*/ 1028 w 1340"/>
                  <a:gd name="T57" fmla="*/ 646 h 650"/>
                  <a:gd name="T58" fmla="*/ 1010 w 1340"/>
                  <a:gd name="T59" fmla="*/ 489 h 650"/>
                  <a:gd name="T60" fmla="*/ 1025 w 1340"/>
                  <a:gd name="T61" fmla="*/ 463 h 650"/>
                  <a:gd name="T62" fmla="*/ 1086 w 1340"/>
                  <a:gd name="T63" fmla="*/ 427 h 650"/>
                  <a:gd name="T64" fmla="*/ 1115 w 1340"/>
                  <a:gd name="T65" fmla="*/ 399 h 650"/>
                  <a:gd name="T66" fmla="*/ 1130 w 1340"/>
                  <a:gd name="T67" fmla="*/ 374 h 650"/>
                  <a:gd name="T68" fmla="*/ 1127 w 1340"/>
                  <a:gd name="T69" fmla="*/ 368 h 650"/>
                  <a:gd name="T70" fmla="*/ 1118 w 1340"/>
                  <a:gd name="T71" fmla="*/ 344 h 650"/>
                  <a:gd name="T72" fmla="*/ 1108 w 1340"/>
                  <a:gd name="T73" fmla="*/ 313 h 650"/>
                  <a:gd name="T74" fmla="*/ 1111 w 1340"/>
                  <a:gd name="T75" fmla="*/ 309 h 650"/>
                  <a:gd name="T76" fmla="*/ 1125 w 1340"/>
                  <a:gd name="T77" fmla="*/ 279 h 650"/>
                  <a:gd name="T78" fmla="*/ 1126 w 1340"/>
                  <a:gd name="T79" fmla="*/ 302 h 650"/>
                  <a:gd name="T80" fmla="*/ 1134 w 1340"/>
                  <a:gd name="T81" fmla="*/ 336 h 650"/>
                  <a:gd name="T82" fmla="*/ 1163 w 1340"/>
                  <a:gd name="T83" fmla="*/ 285 h 650"/>
                  <a:gd name="T84" fmla="*/ 1204 w 1340"/>
                  <a:gd name="T85" fmla="*/ 229 h 650"/>
                  <a:gd name="T86" fmla="*/ 1266 w 1340"/>
                  <a:gd name="T87" fmla="*/ 208 h 650"/>
                  <a:gd name="T88" fmla="*/ 1275 w 1340"/>
                  <a:gd name="T89" fmla="*/ 151 h 650"/>
                  <a:gd name="T90" fmla="*/ 1280 w 1340"/>
                  <a:gd name="T91" fmla="*/ 153 h 650"/>
                  <a:gd name="T92" fmla="*/ 1322 w 1340"/>
                  <a:gd name="T93" fmla="*/ 136 h 650"/>
                  <a:gd name="T94" fmla="*/ 1320 w 1340"/>
                  <a:gd name="T95" fmla="*/ 106 h 650"/>
                  <a:gd name="T96" fmla="*/ 1250 w 1340"/>
                  <a:gd name="T97" fmla="*/ 120 h 650"/>
                  <a:gd name="T98" fmla="*/ 1126 w 1340"/>
                  <a:gd name="T99" fmla="*/ 151 h 650"/>
                  <a:gd name="T100" fmla="*/ 1063 w 1340"/>
                  <a:gd name="T101" fmla="*/ 180 h 650"/>
                  <a:gd name="T102" fmla="*/ 972 w 1340"/>
                  <a:gd name="T103" fmla="*/ 222 h 650"/>
                  <a:gd name="T104" fmla="*/ 946 w 1340"/>
                  <a:gd name="T105" fmla="*/ 158 h 650"/>
                  <a:gd name="T106" fmla="*/ 914 w 1340"/>
                  <a:gd name="T107" fmla="*/ 116 h 650"/>
                  <a:gd name="T108" fmla="*/ 894 w 1340"/>
                  <a:gd name="T109" fmla="*/ 132 h 650"/>
                  <a:gd name="T110" fmla="*/ 872 w 1340"/>
                  <a:gd name="T111" fmla="*/ 125 h 650"/>
                  <a:gd name="T112" fmla="*/ 870 w 1340"/>
                  <a:gd name="T113" fmla="*/ 107 h 650"/>
                  <a:gd name="T114" fmla="*/ 937 w 1340"/>
                  <a:gd name="T115" fmla="*/ 96 h 650"/>
                  <a:gd name="T116" fmla="*/ 894 w 1340"/>
                  <a:gd name="T117" fmla="*/ 77 h 650"/>
                  <a:gd name="T118" fmla="*/ 788 w 1340"/>
                  <a:gd name="T119" fmla="*/ 70 h 650"/>
                  <a:gd name="T120" fmla="*/ 751 w 1340"/>
                  <a:gd name="T121" fmla="*/ 33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0" h="650">
                    <a:moveTo>
                      <a:pt x="631" y="596"/>
                    </a:moveTo>
                    <a:cubicBezTo>
                      <a:pt x="631" y="596"/>
                      <a:pt x="631" y="596"/>
                      <a:pt x="631" y="596"/>
                    </a:cubicBezTo>
                    <a:cubicBezTo>
                      <a:pt x="631" y="596"/>
                      <a:pt x="631" y="596"/>
                      <a:pt x="631" y="596"/>
                    </a:cubicBezTo>
                    <a:moveTo>
                      <a:pt x="41" y="318"/>
                    </a:moveTo>
                    <a:cubicBezTo>
                      <a:pt x="40" y="318"/>
                      <a:pt x="40" y="318"/>
                      <a:pt x="40" y="319"/>
                    </a:cubicBezTo>
                    <a:cubicBezTo>
                      <a:pt x="40" y="318"/>
                      <a:pt x="40" y="318"/>
                      <a:pt x="41" y="318"/>
                    </a:cubicBezTo>
                    <a:moveTo>
                      <a:pt x="49" y="25"/>
                    </a:moveTo>
                    <a:cubicBezTo>
                      <a:pt x="49" y="25"/>
                      <a:pt x="49" y="25"/>
                      <a:pt x="49" y="25"/>
                    </a:cubicBezTo>
                    <a:cubicBezTo>
                      <a:pt x="49" y="25"/>
                      <a:pt x="49" y="25"/>
                      <a:pt x="49" y="25"/>
                    </a:cubicBezTo>
                    <a:moveTo>
                      <a:pt x="1038" y="458"/>
                    </a:moveTo>
                    <a:cubicBezTo>
                      <a:pt x="1038" y="458"/>
                      <a:pt x="1038" y="458"/>
                      <a:pt x="1038" y="458"/>
                    </a:cubicBezTo>
                    <a:cubicBezTo>
                      <a:pt x="1038" y="458"/>
                      <a:pt x="1038" y="458"/>
                      <a:pt x="1038" y="458"/>
                    </a:cubicBezTo>
                    <a:cubicBezTo>
                      <a:pt x="1038" y="459"/>
                      <a:pt x="1038" y="459"/>
                      <a:pt x="1037" y="459"/>
                    </a:cubicBezTo>
                    <a:cubicBezTo>
                      <a:pt x="1038" y="459"/>
                      <a:pt x="1038" y="459"/>
                      <a:pt x="1038" y="458"/>
                    </a:cubicBezTo>
                    <a:moveTo>
                      <a:pt x="1038" y="457"/>
                    </a:moveTo>
                    <a:cubicBezTo>
                      <a:pt x="1038" y="456"/>
                      <a:pt x="1037" y="456"/>
                      <a:pt x="1037" y="455"/>
                    </a:cubicBezTo>
                    <a:cubicBezTo>
                      <a:pt x="1037" y="456"/>
                      <a:pt x="1038" y="456"/>
                      <a:pt x="1038" y="457"/>
                    </a:cubicBezTo>
                    <a:moveTo>
                      <a:pt x="1106" y="395"/>
                    </a:moveTo>
                    <a:cubicBezTo>
                      <a:pt x="1106" y="395"/>
                      <a:pt x="1106" y="395"/>
                      <a:pt x="1106" y="395"/>
                    </a:cubicBezTo>
                    <a:cubicBezTo>
                      <a:pt x="1106" y="395"/>
                      <a:pt x="1106" y="395"/>
                      <a:pt x="1106" y="395"/>
                    </a:cubicBezTo>
                    <a:cubicBezTo>
                      <a:pt x="1106" y="395"/>
                      <a:pt x="1106" y="395"/>
                      <a:pt x="1106" y="395"/>
                    </a:cubicBezTo>
                    <a:moveTo>
                      <a:pt x="1179" y="236"/>
                    </a:moveTo>
                    <a:cubicBezTo>
                      <a:pt x="1179" y="236"/>
                      <a:pt x="1179" y="236"/>
                      <a:pt x="1179" y="236"/>
                    </a:cubicBezTo>
                    <a:cubicBezTo>
                      <a:pt x="1179" y="236"/>
                      <a:pt x="1179" y="236"/>
                      <a:pt x="1179" y="236"/>
                    </a:cubicBezTo>
                    <a:cubicBezTo>
                      <a:pt x="1179" y="237"/>
                      <a:pt x="1178" y="238"/>
                      <a:pt x="1178" y="239"/>
                    </a:cubicBezTo>
                    <a:cubicBezTo>
                      <a:pt x="1178" y="238"/>
                      <a:pt x="1179" y="237"/>
                      <a:pt x="1179" y="236"/>
                    </a:cubicBezTo>
                    <a:moveTo>
                      <a:pt x="1178" y="233"/>
                    </a:moveTo>
                    <a:cubicBezTo>
                      <a:pt x="1178" y="233"/>
                      <a:pt x="1178" y="233"/>
                      <a:pt x="1178" y="233"/>
                    </a:cubicBezTo>
                    <a:cubicBezTo>
                      <a:pt x="1178" y="233"/>
                      <a:pt x="1178" y="233"/>
                      <a:pt x="1178" y="233"/>
                    </a:cubicBezTo>
                    <a:moveTo>
                      <a:pt x="1178" y="233"/>
                    </a:moveTo>
                    <a:cubicBezTo>
                      <a:pt x="1178" y="233"/>
                      <a:pt x="1178" y="233"/>
                      <a:pt x="1178" y="233"/>
                    </a:cubicBezTo>
                    <a:cubicBezTo>
                      <a:pt x="1178" y="233"/>
                      <a:pt x="1178" y="233"/>
                      <a:pt x="1178" y="233"/>
                    </a:cubicBezTo>
                    <a:moveTo>
                      <a:pt x="1178" y="229"/>
                    </a:moveTo>
                    <a:cubicBezTo>
                      <a:pt x="1178" y="229"/>
                      <a:pt x="1178" y="229"/>
                      <a:pt x="1178" y="229"/>
                    </a:cubicBezTo>
                    <a:cubicBezTo>
                      <a:pt x="1178" y="229"/>
                      <a:pt x="1178" y="229"/>
                      <a:pt x="1178" y="229"/>
                    </a:cubicBezTo>
                    <a:cubicBezTo>
                      <a:pt x="1178" y="229"/>
                      <a:pt x="1178" y="229"/>
                      <a:pt x="1178" y="229"/>
                    </a:cubicBezTo>
                    <a:cubicBezTo>
                      <a:pt x="1178" y="229"/>
                      <a:pt x="1178" y="229"/>
                      <a:pt x="1178" y="229"/>
                    </a:cubicBezTo>
                    <a:cubicBezTo>
                      <a:pt x="1178" y="229"/>
                      <a:pt x="1178" y="229"/>
                      <a:pt x="1178" y="229"/>
                    </a:cubicBezTo>
                    <a:cubicBezTo>
                      <a:pt x="1178" y="229"/>
                      <a:pt x="1178" y="229"/>
                      <a:pt x="1178" y="229"/>
                    </a:cubicBezTo>
                    <a:cubicBezTo>
                      <a:pt x="1178" y="229"/>
                      <a:pt x="1178" y="229"/>
                      <a:pt x="1178" y="229"/>
                    </a:cubicBezTo>
                    <a:cubicBezTo>
                      <a:pt x="1178" y="229"/>
                      <a:pt x="1178" y="229"/>
                      <a:pt x="1178" y="229"/>
                    </a:cubicBezTo>
                    <a:cubicBezTo>
                      <a:pt x="1178" y="230"/>
                      <a:pt x="1178" y="231"/>
                      <a:pt x="1178" y="232"/>
                    </a:cubicBezTo>
                    <a:cubicBezTo>
                      <a:pt x="1178" y="232"/>
                      <a:pt x="1178" y="232"/>
                      <a:pt x="1178" y="232"/>
                    </a:cubicBezTo>
                    <a:cubicBezTo>
                      <a:pt x="1178" y="232"/>
                      <a:pt x="1178" y="232"/>
                      <a:pt x="1178" y="232"/>
                    </a:cubicBezTo>
                    <a:cubicBezTo>
                      <a:pt x="1178" y="231"/>
                      <a:pt x="1178" y="230"/>
                      <a:pt x="1178" y="229"/>
                    </a:cubicBezTo>
                    <a:cubicBezTo>
                      <a:pt x="1178" y="229"/>
                      <a:pt x="1178" y="229"/>
                      <a:pt x="1178" y="229"/>
                    </a:cubicBezTo>
                    <a:cubicBezTo>
                      <a:pt x="1178" y="229"/>
                      <a:pt x="1178" y="229"/>
                      <a:pt x="1178" y="229"/>
                    </a:cubicBezTo>
                    <a:moveTo>
                      <a:pt x="1178" y="229"/>
                    </a:moveTo>
                    <a:cubicBezTo>
                      <a:pt x="1178" y="229"/>
                      <a:pt x="1178" y="229"/>
                      <a:pt x="1178" y="229"/>
                    </a:cubicBezTo>
                    <a:cubicBezTo>
                      <a:pt x="1178" y="229"/>
                      <a:pt x="1178" y="229"/>
                      <a:pt x="1178" y="229"/>
                    </a:cubicBezTo>
                    <a:moveTo>
                      <a:pt x="1278" y="153"/>
                    </a:moveTo>
                    <a:cubicBezTo>
                      <a:pt x="1278" y="153"/>
                      <a:pt x="1278" y="153"/>
                      <a:pt x="1278" y="153"/>
                    </a:cubicBezTo>
                    <a:cubicBezTo>
                      <a:pt x="1278" y="153"/>
                      <a:pt x="1278" y="153"/>
                      <a:pt x="1278" y="153"/>
                    </a:cubicBezTo>
                    <a:cubicBezTo>
                      <a:pt x="1278" y="153"/>
                      <a:pt x="1278" y="153"/>
                      <a:pt x="1278" y="153"/>
                    </a:cubicBezTo>
                    <a:cubicBezTo>
                      <a:pt x="1278" y="153"/>
                      <a:pt x="1278" y="153"/>
                      <a:pt x="1278" y="153"/>
                    </a:cubicBezTo>
                    <a:moveTo>
                      <a:pt x="1280" y="153"/>
                    </a:moveTo>
                    <a:cubicBezTo>
                      <a:pt x="1280" y="153"/>
                      <a:pt x="1280" y="153"/>
                      <a:pt x="1280" y="153"/>
                    </a:cubicBezTo>
                    <a:moveTo>
                      <a:pt x="691" y="0"/>
                    </a:moveTo>
                    <a:cubicBezTo>
                      <a:pt x="691" y="3"/>
                      <a:pt x="690" y="7"/>
                      <a:pt x="690" y="8"/>
                    </a:cubicBezTo>
                    <a:cubicBezTo>
                      <a:pt x="689" y="9"/>
                      <a:pt x="689" y="9"/>
                      <a:pt x="689" y="9"/>
                    </a:cubicBezTo>
                    <a:cubicBezTo>
                      <a:pt x="688" y="10"/>
                      <a:pt x="687" y="11"/>
                      <a:pt x="681" y="11"/>
                    </a:cubicBezTo>
                    <a:cubicBezTo>
                      <a:pt x="679" y="11"/>
                      <a:pt x="676" y="11"/>
                      <a:pt x="672" y="11"/>
                    </a:cubicBezTo>
                    <a:cubicBezTo>
                      <a:pt x="671" y="11"/>
                      <a:pt x="671" y="11"/>
                      <a:pt x="671" y="11"/>
                    </a:cubicBezTo>
                    <a:cubicBezTo>
                      <a:pt x="632" y="11"/>
                      <a:pt x="632" y="11"/>
                      <a:pt x="632" y="11"/>
                    </a:cubicBezTo>
                    <a:cubicBezTo>
                      <a:pt x="563" y="11"/>
                      <a:pt x="480" y="11"/>
                      <a:pt x="479" y="11"/>
                    </a:cubicBezTo>
                    <a:cubicBezTo>
                      <a:pt x="478" y="11"/>
                      <a:pt x="476" y="11"/>
                      <a:pt x="475" y="11"/>
                    </a:cubicBezTo>
                    <a:cubicBezTo>
                      <a:pt x="473" y="11"/>
                      <a:pt x="471" y="11"/>
                      <a:pt x="470" y="11"/>
                    </a:cubicBezTo>
                    <a:cubicBezTo>
                      <a:pt x="470" y="11"/>
                      <a:pt x="470" y="11"/>
                      <a:pt x="467" y="11"/>
                    </a:cubicBezTo>
                    <a:cubicBezTo>
                      <a:pt x="466" y="11"/>
                      <a:pt x="464" y="11"/>
                      <a:pt x="460" y="11"/>
                    </a:cubicBezTo>
                    <a:cubicBezTo>
                      <a:pt x="460" y="10"/>
                      <a:pt x="460" y="10"/>
                      <a:pt x="460" y="10"/>
                    </a:cubicBezTo>
                    <a:cubicBezTo>
                      <a:pt x="458" y="11"/>
                      <a:pt x="455" y="11"/>
                      <a:pt x="447" y="11"/>
                    </a:cubicBezTo>
                    <a:cubicBezTo>
                      <a:pt x="417" y="11"/>
                      <a:pt x="417" y="11"/>
                      <a:pt x="417" y="11"/>
                    </a:cubicBezTo>
                    <a:cubicBezTo>
                      <a:pt x="395" y="11"/>
                      <a:pt x="372" y="11"/>
                      <a:pt x="369" y="11"/>
                    </a:cubicBezTo>
                    <a:cubicBezTo>
                      <a:pt x="108" y="11"/>
                      <a:pt x="108" y="11"/>
                      <a:pt x="108" y="11"/>
                    </a:cubicBezTo>
                    <a:cubicBezTo>
                      <a:pt x="47" y="11"/>
                      <a:pt x="47" y="11"/>
                      <a:pt x="47" y="11"/>
                    </a:cubicBezTo>
                    <a:cubicBezTo>
                      <a:pt x="46" y="12"/>
                      <a:pt x="46" y="12"/>
                      <a:pt x="46" y="12"/>
                    </a:cubicBezTo>
                    <a:cubicBezTo>
                      <a:pt x="46" y="13"/>
                      <a:pt x="47" y="14"/>
                      <a:pt x="48" y="14"/>
                    </a:cubicBezTo>
                    <a:cubicBezTo>
                      <a:pt x="48" y="15"/>
                      <a:pt x="48" y="16"/>
                      <a:pt x="49" y="16"/>
                    </a:cubicBezTo>
                    <a:cubicBezTo>
                      <a:pt x="49" y="16"/>
                      <a:pt x="50" y="16"/>
                      <a:pt x="51" y="15"/>
                    </a:cubicBezTo>
                    <a:cubicBezTo>
                      <a:pt x="50" y="18"/>
                      <a:pt x="53" y="18"/>
                      <a:pt x="53" y="20"/>
                    </a:cubicBezTo>
                    <a:cubicBezTo>
                      <a:pt x="53" y="20"/>
                      <a:pt x="52" y="22"/>
                      <a:pt x="52" y="23"/>
                    </a:cubicBezTo>
                    <a:cubicBezTo>
                      <a:pt x="51" y="23"/>
                      <a:pt x="52" y="23"/>
                      <a:pt x="52" y="24"/>
                    </a:cubicBezTo>
                    <a:cubicBezTo>
                      <a:pt x="51" y="25"/>
                      <a:pt x="50" y="25"/>
                      <a:pt x="49" y="25"/>
                    </a:cubicBezTo>
                    <a:cubicBezTo>
                      <a:pt x="49" y="25"/>
                      <a:pt x="49" y="25"/>
                      <a:pt x="49" y="25"/>
                    </a:cubicBezTo>
                    <a:cubicBezTo>
                      <a:pt x="51" y="25"/>
                      <a:pt x="54" y="28"/>
                      <a:pt x="54" y="29"/>
                    </a:cubicBezTo>
                    <a:cubicBezTo>
                      <a:pt x="56" y="31"/>
                      <a:pt x="54" y="34"/>
                      <a:pt x="56" y="36"/>
                    </a:cubicBezTo>
                    <a:cubicBezTo>
                      <a:pt x="57" y="37"/>
                      <a:pt x="59" y="36"/>
                      <a:pt x="58" y="37"/>
                    </a:cubicBezTo>
                    <a:cubicBezTo>
                      <a:pt x="58" y="38"/>
                      <a:pt x="57" y="39"/>
                      <a:pt x="56" y="39"/>
                    </a:cubicBezTo>
                    <a:cubicBezTo>
                      <a:pt x="56" y="39"/>
                      <a:pt x="56" y="41"/>
                      <a:pt x="55" y="41"/>
                    </a:cubicBezTo>
                    <a:cubicBezTo>
                      <a:pt x="55" y="42"/>
                      <a:pt x="55" y="42"/>
                      <a:pt x="54" y="43"/>
                    </a:cubicBezTo>
                    <a:cubicBezTo>
                      <a:pt x="54" y="44"/>
                      <a:pt x="55" y="44"/>
                      <a:pt x="55" y="45"/>
                    </a:cubicBezTo>
                    <a:cubicBezTo>
                      <a:pt x="55" y="45"/>
                      <a:pt x="54" y="46"/>
                      <a:pt x="54" y="46"/>
                    </a:cubicBezTo>
                    <a:cubicBezTo>
                      <a:pt x="54" y="48"/>
                      <a:pt x="54" y="48"/>
                      <a:pt x="54" y="48"/>
                    </a:cubicBezTo>
                    <a:cubicBezTo>
                      <a:pt x="54" y="48"/>
                      <a:pt x="54" y="48"/>
                      <a:pt x="54" y="48"/>
                    </a:cubicBezTo>
                    <a:cubicBezTo>
                      <a:pt x="54" y="48"/>
                      <a:pt x="55" y="49"/>
                      <a:pt x="55" y="50"/>
                    </a:cubicBezTo>
                    <a:cubicBezTo>
                      <a:pt x="56" y="50"/>
                      <a:pt x="54" y="50"/>
                      <a:pt x="54" y="51"/>
                    </a:cubicBezTo>
                    <a:cubicBezTo>
                      <a:pt x="55" y="52"/>
                      <a:pt x="55" y="52"/>
                      <a:pt x="55" y="52"/>
                    </a:cubicBezTo>
                    <a:cubicBezTo>
                      <a:pt x="55" y="53"/>
                      <a:pt x="56" y="54"/>
                      <a:pt x="56" y="54"/>
                    </a:cubicBezTo>
                    <a:cubicBezTo>
                      <a:pt x="56" y="56"/>
                      <a:pt x="55" y="55"/>
                      <a:pt x="54" y="57"/>
                    </a:cubicBezTo>
                    <a:cubicBezTo>
                      <a:pt x="53" y="58"/>
                      <a:pt x="52" y="59"/>
                      <a:pt x="50" y="61"/>
                    </a:cubicBezTo>
                    <a:cubicBezTo>
                      <a:pt x="47" y="63"/>
                      <a:pt x="46" y="63"/>
                      <a:pt x="42" y="64"/>
                    </a:cubicBezTo>
                    <a:cubicBezTo>
                      <a:pt x="43" y="65"/>
                      <a:pt x="43" y="65"/>
                      <a:pt x="43" y="65"/>
                    </a:cubicBezTo>
                    <a:cubicBezTo>
                      <a:pt x="40" y="65"/>
                      <a:pt x="40" y="63"/>
                      <a:pt x="42" y="61"/>
                    </a:cubicBezTo>
                    <a:cubicBezTo>
                      <a:pt x="41" y="62"/>
                      <a:pt x="40" y="63"/>
                      <a:pt x="39" y="63"/>
                    </a:cubicBezTo>
                    <a:cubicBezTo>
                      <a:pt x="39" y="62"/>
                      <a:pt x="41" y="62"/>
                      <a:pt x="41" y="61"/>
                    </a:cubicBezTo>
                    <a:cubicBezTo>
                      <a:pt x="42" y="60"/>
                      <a:pt x="41" y="59"/>
                      <a:pt x="42" y="58"/>
                    </a:cubicBezTo>
                    <a:cubicBezTo>
                      <a:pt x="43" y="57"/>
                      <a:pt x="44" y="57"/>
                      <a:pt x="44" y="55"/>
                    </a:cubicBezTo>
                    <a:cubicBezTo>
                      <a:pt x="45" y="57"/>
                      <a:pt x="44" y="59"/>
                      <a:pt x="45" y="61"/>
                    </a:cubicBezTo>
                    <a:cubicBezTo>
                      <a:pt x="46" y="58"/>
                      <a:pt x="46" y="57"/>
                      <a:pt x="49" y="55"/>
                    </a:cubicBezTo>
                    <a:cubicBezTo>
                      <a:pt x="49" y="55"/>
                      <a:pt x="49" y="55"/>
                      <a:pt x="49" y="55"/>
                    </a:cubicBezTo>
                    <a:cubicBezTo>
                      <a:pt x="49" y="55"/>
                      <a:pt x="49" y="55"/>
                      <a:pt x="49" y="55"/>
                    </a:cubicBezTo>
                    <a:cubicBezTo>
                      <a:pt x="49" y="55"/>
                      <a:pt x="49" y="55"/>
                      <a:pt x="49" y="55"/>
                    </a:cubicBezTo>
                    <a:cubicBezTo>
                      <a:pt x="49" y="55"/>
                      <a:pt x="49" y="55"/>
                      <a:pt x="49" y="55"/>
                    </a:cubicBezTo>
                    <a:cubicBezTo>
                      <a:pt x="49" y="55"/>
                      <a:pt x="49" y="55"/>
                      <a:pt x="49" y="55"/>
                    </a:cubicBezTo>
                    <a:cubicBezTo>
                      <a:pt x="48" y="56"/>
                      <a:pt x="48" y="57"/>
                      <a:pt x="47" y="58"/>
                    </a:cubicBezTo>
                    <a:cubicBezTo>
                      <a:pt x="54" y="56"/>
                      <a:pt x="51" y="48"/>
                      <a:pt x="48" y="45"/>
                    </a:cubicBezTo>
                    <a:cubicBezTo>
                      <a:pt x="48" y="45"/>
                      <a:pt x="49" y="45"/>
                      <a:pt x="49" y="45"/>
                    </a:cubicBezTo>
                    <a:cubicBezTo>
                      <a:pt x="51" y="45"/>
                      <a:pt x="52" y="45"/>
                      <a:pt x="52" y="45"/>
                    </a:cubicBezTo>
                    <a:cubicBezTo>
                      <a:pt x="53" y="43"/>
                      <a:pt x="51" y="41"/>
                      <a:pt x="51" y="40"/>
                    </a:cubicBezTo>
                    <a:cubicBezTo>
                      <a:pt x="50" y="42"/>
                      <a:pt x="48" y="43"/>
                      <a:pt x="46" y="45"/>
                    </a:cubicBezTo>
                    <a:cubicBezTo>
                      <a:pt x="45" y="47"/>
                      <a:pt x="43" y="47"/>
                      <a:pt x="41" y="49"/>
                    </a:cubicBezTo>
                    <a:cubicBezTo>
                      <a:pt x="40" y="50"/>
                      <a:pt x="39" y="52"/>
                      <a:pt x="39" y="53"/>
                    </a:cubicBezTo>
                    <a:cubicBezTo>
                      <a:pt x="38" y="55"/>
                      <a:pt x="37" y="55"/>
                      <a:pt x="39" y="55"/>
                    </a:cubicBezTo>
                    <a:cubicBezTo>
                      <a:pt x="39" y="55"/>
                      <a:pt x="39" y="55"/>
                      <a:pt x="39" y="55"/>
                    </a:cubicBezTo>
                    <a:cubicBezTo>
                      <a:pt x="40" y="55"/>
                      <a:pt x="42" y="54"/>
                      <a:pt x="43" y="54"/>
                    </a:cubicBezTo>
                    <a:cubicBezTo>
                      <a:pt x="43" y="54"/>
                      <a:pt x="40" y="56"/>
                      <a:pt x="38" y="56"/>
                    </a:cubicBezTo>
                    <a:cubicBezTo>
                      <a:pt x="38" y="56"/>
                      <a:pt x="37" y="56"/>
                      <a:pt x="37" y="56"/>
                    </a:cubicBezTo>
                    <a:cubicBezTo>
                      <a:pt x="37" y="54"/>
                      <a:pt x="39" y="51"/>
                      <a:pt x="40" y="50"/>
                    </a:cubicBezTo>
                    <a:cubicBezTo>
                      <a:pt x="41" y="48"/>
                      <a:pt x="42" y="47"/>
                      <a:pt x="43" y="46"/>
                    </a:cubicBezTo>
                    <a:cubicBezTo>
                      <a:pt x="44" y="44"/>
                      <a:pt x="43" y="42"/>
                      <a:pt x="44" y="42"/>
                    </a:cubicBezTo>
                    <a:cubicBezTo>
                      <a:pt x="45" y="43"/>
                      <a:pt x="45" y="45"/>
                      <a:pt x="44" y="46"/>
                    </a:cubicBezTo>
                    <a:cubicBezTo>
                      <a:pt x="45" y="45"/>
                      <a:pt x="47" y="43"/>
                      <a:pt x="47" y="42"/>
                    </a:cubicBezTo>
                    <a:cubicBezTo>
                      <a:pt x="48" y="40"/>
                      <a:pt x="49" y="41"/>
                      <a:pt x="48" y="39"/>
                    </a:cubicBezTo>
                    <a:cubicBezTo>
                      <a:pt x="47" y="38"/>
                      <a:pt x="44" y="35"/>
                      <a:pt x="46" y="33"/>
                    </a:cubicBezTo>
                    <a:cubicBezTo>
                      <a:pt x="45" y="34"/>
                      <a:pt x="44" y="37"/>
                      <a:pt x="44" y="37"/>
                    </a:cubicBezTo>
                    <a:cubicBezTo>
                      <a:pt x="44" y="37"/>
                      <a:pt x="44" y="37"/>
                      <a:pt x="43" y="37"/>
                    </a:cubicBezTo>
                    <a:cubicBezTo>
                      <a:pt x="42" y="37"/>
                      <a:pt x="38" y="33"/>
                      <a:pt x="37" y="32"/>
                    </a:cubicBezTo>
                    <a:cubicBezTo>
                      <a:pt x="37" y="32"/>
                      <a:pt x="37" y="32"/>
                      <a:pt x="37" y="32"/>
                    </a:cubicBezTo>
                    <a:cubicBezTo>
                      <a:pt x="35" y="32"/>
                      <a:pt x="33" y="32"/>
                      <a:pt x="31" y="32"/>
                    </a:cubicBezTo>
                    <a:cubicBezTo>
                      <a:pt x="29" y="33"/>
                      <a:pt x="27" y="33"/>
                      <a:pt x="25" y="33"/>
                    </a:cubicBezTo>
                    <a:cubicBezTo>
                      <a:pt x="23" y="33"/>
                      <a:pt x="22" y="33"/>
                      <a:pt x="20" y="32"/>
                    </a:cubicBezTo>
                    <a:cubicBezTo>
                      <a:pt x="13" y="31"/>
                      <a:pt x="7" y="28"/>
                      <a:pt x="0" y="26"/>
                    </a:cubicBezTo>
                    <a:cubicBezTo>
                      <a:pt x="0" y="30"/>
                      <a:pt x="0" y="33"/>
                      <a:pt x="1" y="37"/>
                    </a:cubicBezTo>
                    <a:cubicBezTo>
                      <a:pt x="3" y="42"/>
                      <a:pt x="7" y="47"/>
                      <a:pt x="9" y="52"/>
                    </a:cubicBezTo>
                    <a:cubicBezTo>
                      <a:pt x="9" y="53"/>
                      <a:pt x="9" y="54"/>
                      <a:pt x="10" y="56"/>
                    </a:cubicBezTo>
                    <a:cubicBezTo>
                      <a:pt x="10" y="58"/>
                      <a:pt x="12" y="60"/>
                      <a:pt x="13" y="62"/>
                    </a:cubicBezTo>
                    <a:cubicBezTo>
                      <a:pt x="13" y="64"/>
                      <a:pt x="13" y="66"/>
                      <a:pt x="13" y="68"/>
                    </a:cubicBezTo>
                    <a:cubicBezTo>
                      <a:pt x="14" y="66"/>
                      <a:pt x="14" y="65"/>
                      <a:pt x="15" y="65"/>
                    </a:cubicBezTo>
                    <a:cubicBezTo>
                      <a:pt x="16" y="65"/>
                      <a:pt x="18" y="67"/>
                      <a:pt x="21" y="67"/>
                    </a:cubicBezTo>
                    <a:cubicBezTo>
                      <a:pt x="20" y="68"/>
                      <a:pt x="15" y="69"/>
                      <a:pt x="16" y="71"/>
                    </a:cubicBezTo>
                    <a:cubicBezTo>
                      <a:pt x="15" y="71"/>
                      <a:pt x="15" y="70"/>
                      <a:pt x="14" y="69"/>
                    </a:cubicBezTo>
                    <a:cubicBezTo>
                      <a:pt x="14" y="70"/>
                      <a:pt x="14" y="73"/>
                      <a:pt x="15" y="73"/>
                    </a:cubicBezTo>
                    <a:cubicBezTo>
                      <a:pt x="15" y="74"/>
                      <a:pt x="16" y="74"/>
                      <a:pt x="17" y="74"/>
                    </a:cubicBezTo>
                    <a:cubicBezTo>
                      <a:pt x="17" y="74"/>
                      <a:pt x="17" y="74"/>
                      <a:pt x="18" y="74"/>
                    </a:cubicBezTo>
                    <a:cubicBezTo>
                      <a:pt x="18" y="74"/>
                      <a:pt x="18" y="74"/>
                      <a:pt x="18" y="74"/>
                    </a:cubicBezTo>
                    <a:cubicBezTo>
                      <a:pt x="19" y="74"/>
                      <a:pt x="21" y="74"/>
                      <a:pt x="21" y="76"/>
                    </a:cubicBezTo>
                    <a:cubicBezTo>
                      <a:pt x="19" y="76"/>
                      <a:pt x="18" y="77"/>
                      <a:pt x="19" y="78"/>
                    </a:cubicBezTo>
                    <a:cubicBezTo>
                      <a:pt x="18" y="77"/>
                      <a:pt x="18" y="77"/>
                      <a:pt x="18" y="77"/>
                    </a:cubicBezTo>
                    <a:cubicBezTo>
                      <a:pt x="19" y="78"/>
                      <a:pt x="19" y="79"/>
                      <a:pt x="19" y="80"/>
                    </a:cubicBezTo>
                    <a:cubicBezTo>
                      <a:pt x="19" y="84"/>
                      <a:pt x="19" y="84"/>
                      <a:pt x="19" y="84"/>
                    </a:cubicBezTo>
                    <a:cubicBezTo>
                      <a:pt x="18" y="84"/>
                      <a:pt x="18" y="84"/>
                      <a:pt x="18" y="84"/>
                    </a:cubicBezTo>
                    <a:cubicBezTo>
                      <a:pt x="16" y="84"/>
                      <a:pt x="17" y="79"/>
                      <a:pt x="16" y="78"/>
                    </a:cubicBezTo>
                    <a:cubicBezTo>
                      <a:pt x="15" y="81"/>
                      <a:pt x="17" y="85"/>
                      <a:pt x="15" y="87"/>
                    </a:cubicBezTo>
                    <a:cubicBezTo>
                      <a:pt x="22" y="89"/>
                      <a:pt x="29" y="89"/>
                      <a:pt x="36" y="90"/>
                    </a:cubicBezTo>
                    <a:cubicBezTo>
                      <a:pt x="32" y="91"/>
                      <a:pt x="28" y="91"/>
                      <a:pt x="24" y="92"/>
                    </a:cubicBezTo>
                    <a:cubicBezTo>
                      <a:pt x="24" y="92"/>
                      <a:pt x="24" y="92"/>
                      <a:pt x="23" y="92"/>
                    </a:cubicBezTo>
                    <a:cubicBezTo>
                      <a:pt x="21" y="92"/>
                      <a:pt x="19" y="90"/>
                      <a:pt x="17" y="89"/>
                    </a:cubicBezTo>
                    <a:cubicBezTo>
                      <a:pt x="19" y="94"/>
                      <a:pt x="17" y="97"/>
                      <a:pt x="17" y="101"/>
                    </a:cubicBezTo>
                    <a:cubicBezTo>
                      <a:pt x="18" y="103"/>
                      <a:pt x="19" y="104"/>
                      <a:pt x="18" y="107"/>
                    </a:cubicBezTo>
                    <a:cubicBezTo>
                      <a:pt x="18" y="108"/>
                      <a:pt x="18" y="110"/>
                      <a:pt x="18" y="111"/>
                    </a:cubicBezTo>
                    <a:cubicBezTo>
                      <a:pt x="17" y="113"/>
                      <a:pt x="18" y="114"/>
                      <a:pt x="18" y="115"/>
                    </a:cubicBezTo>
                    <a:cubicBezTo>
                      <a:pt x="18" y="120"/>
                      <a:pt x="17" y="124"/>
                      <a:pt x="16" y="129"/>
                    </a:cubicBezTo>
                    <a:cubicBezTo>
                      <a:pt x="15" y="132"/>
                      <a:pt x="15" y="136"/>
                      <a:pt x="15" y="140"/>
                    </a:cubicBezTo>
                    <a:cubicBezTo>
                      <a:pt x="15" y="144"/>
                      <a:pt x="14" y="149"/>
                      <a:pt x="14" y="153"/>
                    </a:cubicBezTo>
                    <a:cubicBezTo>
                      <a:pt x="14" y="155"/>
                      <a:pt x="14" y="157"/>
                      <a:pt x="13" y="158"/>
                    </a:cubicBezTo>
                    <a:cubicBezTo>
                      <a:pt x="13" y="160"/>
                      <a:pt x="13" y="161"/>
                      <a:pt x="13" y="162"/>
                    </a:cubicBezTo>
                    <a:cubicBezTo>
                      <a:pt x="12" y="165"/>
                      <a:pt x="11" y="168"/>
                      <a:pt x="10" y="171"/>
                    </a:cubicBezTo>
                    <a:cubicBezTo>
                      <a:pt x="10" y="170"/>
                      <a:pt x="11" y="169"/>
                      <a:pt x="12" y="169"/>
                    </a:cubicBezTo>
                    <a:cubicBezTo>
                      <a:pt x="12" y="169"/>
                      <a:pt x="13" y="170"/>
                      <a:pt x="13" y="171"/>
                    </a:cubicBezTo>
                    <a:cubicBezTo>
                      <a:pt x="12" y="171"/>
                      <a:pt x="12" y="171"/>
                      <a:pt x="12" y="171"/>
                    </a:cubicBezTo>
                    <a:cubicBezTo>
                      <a:pt x="10" y="174"/>
                      <a:pt x="4" y="182"/>
                      <a:pt x="4" y="186"/>
                    </a:cubicBezTo>
                    <a:cubicBezTo>
                      <a:pt x="5" y="188"/>
                      <a:pt x="6" y="188"/>
                      <a:pt x="6" y="189"/>
                    </a:cubicBezTo>
                    <a:cubicBezTo>
                      <a:pt x="7" y="192"/>
                      <a:pt x="8" y="191"/>
                      <a:pt x="7" y="194"/>
                    </a:cubicBezTo>
                    <a:cubicBezTo>
                      <a:pt x="7" y="197"/>
                      <a:pt x="7" y="199"/>
                      <a:pt x="7" y="201"/>
                    </a:cubicBezTo>
                    <a:cubicBezTo>
                      <a:pt x="8" y="204"/>
                      <a:pt x="9" y="207"/>
                      <a:pt x="12" y="209"/>
                    </a:cubicBezTo>
                    <a:cubicBezTo>
                      <a:pt x="13" y="210"/>
                      <a:pt x="12" y="214"/>
                      <a:pt x="12" y="216"/>
                    </a:cubicBezTo>
                    <a:cubicBezTo>
                      <a:pt x="12" y="221"/>
                      <a:pt x="13" y="226"/>
                      <a:pt x="13" y="231"/>
                    </a:cubicBezTo>
                    <a:cubicBezTo>
                      <a:pt x="13" y="232"/>
                      <a:pt x="13" y="243"/>
                      <a:pt x="12" y="243"/>
                    </a:cubicBezTo>
                    <a:cubicBezTo>
                      <a:pt x="12" y="243"/>
                      <a:pt x="12" y="243"/>
                      <a:pt x="12" y="243"/>
                    </a:cubicBezTo>
                    <a:cubicBezTo>
                      <a:pt x="12" y="243"/>
                      <a:pt x="12" y="243"/>
                      <a:pt x="12" y="243"/>
                    </a:cubicBezTo>
                    <a:cubicBezTo>
                      <a:pt x="13" y="242"/>
                      <a:pt x="13" y="241"/>
                      <a:pt x="15" y="241"/>
                    </a:cubicBezTo>
                    <a:cubicBezTo>
                      <a:pt x="15" y="241"/>
                      <a:pt x="15" y="241"/>
                      <a:pt x="15" y="241"/>
                    </a:cubicBezTo>
                    <a:cubicBezTo>
                      <a:pt x="14" y="242"/>
                      <a:pt x="12" y="245"/>
                      <a:pt x="11" y="245"/>
                    </a:cubicBezTo>
                    <a:cubicBezTo>
                      <a:pt x="11" y="245"/>
                      <a:pt x="11" y="245"/>
                      <a:pt x="11" y="245"/>
                    </a:cubicBezTo>
                    <a:cubicBezTo>
                      <a:pt x="9" y="248"/>
                      <a:pt x="8" y="251"/>
                      <a:pt x="9" y="254"/>
                    </a:cubicBezTo>
                    <a:cubicBezTo>
                      <a:pt x="10" y="256"/>
                      <a:pt x="16" y="265"/>
                      <a:pt x="18" y="265"/>
                    </a:cubicBezTo>
                    <a:cubicBezTo>
                      <a:pt x="17" y="265"/>
                      <a:pt x="17" y="265"/>
                      <a:pt x="17" y="265"/>
                    </a:cubicBezTo>
                    <a:cubicBezTo>
                      <a:pt x="19" y="268"/>
                      <a:pt x="23" y="273"/>
                      <a:pt x="23" y="277"/>
                    </a:cubicBezTo>
                    <a:cubicBezTo>
                      <a:pt x="23" y="278"/>
                      <a:pt x="22" y="279"/>
                      <a:pt x="22" y="280"/>
                    </a:cubicBezTo>
                    <a:cubicBezTo>
                      <a:pt x="21" y="283"/>
                      <a:pt x="23" y="285"/>
                      <a:pt x="24" y="288"/>
                    </a:cubicBezTo>
                    <a:cubicBezTo>
                      <a:pt x="25" y="292"/>
                      <a:pt x="23" y="293"/>
                      <a:pt x="25" y="296"/>
                    </a:cubicBezTo>
                    <a:cubicBezTo>
                      <a:pt x="30" y="302"/>
                      <a:pt x="35" y="309"/>
                      <a:pt x="40" y="315"/>
                    </a:cubicBezTo>
                    <a:cubicBezTo>
                      <a:pt x="41" y="316"/>
                      <a:pt x="41" y="317"/>
                      <a:pt x="41" y="318"/>
                    </a:cubicBezTo>
                    <a:cubicBezTo>
                      <a:pt x="41" y="318"/>
                      <a:pt x="41" y="317"/>
                      <a:pt x="42" y="317"/>
                    </a:cubicBezTo>
                    <a:cubicBezTo>
                      <a:pt x="44" y="317"/>
                      <a:pt x="46" y="320"/>
                      <a:pt x="48" y="321"/>
                    </a:cubicBezTo>
                    <a:cubicBezTo>
                      <a:pt x="48" y="321"/>
                      <a:pt x="48" y="321"/>
                      <a:pt x="48" y="321"/>
                    </a:cubicBezTo>
                    <a:cubicBezTo>
                      <a:pt x="48" y="321"/>
                      <a:pt x="51" y="323"/>
                      <a:pt x="52" y="323"/>
                    </a:cubicBezTo>
                    <a:cubicBezTo>
                      <a:pt x="53" y="323"/>
                      <a:pt x="53" y="323"/>
                      <a:pt x="52" y="322"/>
                    </a:cubicBezTo>
                    <a:cubicBezTo>
                      <a:pt x="53" y="322"/>
                      <a:pt x="53" y="322"/>
                      <a:pt x="53" y="322"/>
                    </a:cubicBezTo>
                    <a:cubicBezTo>
                      <a:pt x="53" y="321"/>
                      <a:pt x="52" y="320"/>
                      <a:pt x="52" y="320"/>
                    </a:cubicBezTo>
                    <a:cubicBezTo>
                      <a:pt x="52" y="320"/>
                      <a:pt x="52" y="320"/>
                      <a:pt x="52" y="320"/>
                    </a:cubicBezTo>
                    <a:cubicBezTo>
                      <a:pt x="52" y="320"/>
                      <a:pt x="52" y="319"/>
                      <a:pt x="52" y="319"/>
                    </a:cubicBezTo>
                    <a:cubicBezTo>
                      <a:pt x="52" y="318"/>
                      <a:pt x="52" y="317"/>
                      <a:pt x="52" y="317"/>
                    </a:cubicBezTo>
                    <a:cubicBezTo>
                      <a:pt x="52" y="317"/>
                      <a:pt x="52" y="317"/>
                      <a:pt x="52" y="317"/>
                    </a:cubicBezTo>
                    <a:cubicBezTo>
                      <a:pt x="53" y="315"/>
                      <a:pt x="53" y="316"/>
                      <a:pt x="54" y="315"/>
                    </a:cubicBezTo>
                    <a:cubicBezTo>
                      <a:pt x="56" y="315"/>
                      <a:pt x="57" y="317"/>
                      <a:pt x="58" y="317"/>
                    </a:cubicBezTo>
                    <a:cubicBezTo>
                      <a:pt x="59" y="317"/>
                      <a:pt x="59" y="317"/>
                      <a:pt x="60" y="317"/>
                    </a:cubicBezTo>
                    <a:cubicBezTo>
                      <a:pt x="60" y="317"/>
                      <a:pt x="60" y="317"/>
                      <a:pt x="62" y="316"/>
                    </a:cubicBezTo>
                    <a:cubicBezTo>
                      <a:pt x="62" y="316"/>
                      <a:pt x="62" y="315"/>
                      <a:pt x="63" y="315"/>
                    </a:cubicBezTo>
                    <a:cubicBezTo>
                      <a:pt x="63" y="315"/>
                      <a:pt x="63" y="315"/>
                      <a:pt x="63" y="315"/>
                    </a:cubicBezTo>
                    <a:cubicBezTo>
                      <a:pt x="64" y="315"/>
                      <a:pt x="66" y="317"/>
                      <a:pt x="67" y="317"/>
                    </a:cubicBezTo>
                    <a:cubicBezTo>
                      <a:pt x="67" y="317"/>
                      <a:pt x="67" y="317"/>
                      <a:pt x="67" y="317"/>
                    </a:cubicBezTo>
                    <a:cubicBezTo>
                      <a:pt x="68" y="317"/>
                      <a:pt x="69" y="317"/>
                      <a:pt x="69" y="316"/>
                    </a:cubicBezTo>
                    <a:cubicBezTo>
                      <a:pt x="69" y="317"/>
                      <a:pt x="69" y="317"/>
                      <a:pt x="69" y="317"/>
                    </a:cubicBezTo>
                    <a:cubicBezTo>
                      <a:pt x="70" y="317"/>
                      <a:pt x="71" y="316"/>
                      <a:pt x="72" y="316"/>
                    </a:cubicBezTo>
                    <a:cubicBezTo>
                      <a:pt x="73" y="316"/>
                      <a:pt x="74" y="317"/>
                      <a:pt x="76" y="318"/>
                    </a:cubicBezTo>
                    <a:cubicBezTo>
                      <a:pt x="75" y="318"/>
                      <a:pt x="73" y="317"/>
                      <a:pt x="72" y="317"/>
                    </a:cubicBezTo>
                    <a:cubicBezTo>
                      <a:pt x="72" y="317"/>
                      <a:pt x="72" y="317"/>
                      <a:pt x="72" y="317"/>
                    </a:cubicBezTo>
                    <a:cubicBezTo>
                      <a:pt x="71" y="317"/>
                      <a:pt x="71" y="318"/>
                      <a:pt x="71" y="318"/>
                    </a:cubicBezTo>
                    <a:cubicBezTo>
                      <a:pt x="70" y="318"/>
                      <a:pt x="70" y="318"/>
                      <a:pt x="69" y="318"/>
                    </a:cubicBezTo>
                    <a:cubicBezTo>
                      <a:pt x="68" y="318"/>
                      <a:pt x="68" y="318"/>
                      <a:pt x="68" y="318"/>
                    </a:cubicBezTo>
                    <a:cubicBezTo>
                      <a:pt x="66" y="318"/>
                      <a:pt x="65" y="317"/>
                      <a:pt x="64" y="317"/>
                    </a:cubicBezTo>
                    <a:cubicBezTo>
                      <a:pt x="64" y="317"/>
                      <a:pt x="64" y="317"/>
                      <a:pt x="64" y="317"/>
                    </a:cubicBezTo>
                    <a:cubicBezTo>
                      <a:pt x="62" y="317"/>
                      <a:pt x="61" y="318"/>
                      <a:pt x="60" y="318"/>
                    </a:cubicBezTo>
                    <a:cubicBezTo>
                      <a:pt x="60" y="318"/>
                      <a:pt x="60" y="318"/>
                      <a:pt x="60" y="318"/>
                    </a:cubicBezTo>
                    <a:cubicBezTo>
                      <a:pt x="60" y="318"/>
                      <a:pt x="59" y="318"/>
                      <a:pt x="59" y="318"/>
                    </a:cubicBezTo>
                    <a:cubicBezTo>
                      <a:pt x="58" y="318"/>
                      <a:pt x="58" y="318"/>
                      <a:pt x="57" y="318"/>
                    </a:cubicBezTo>
                    <a:cubicBezTo>
                      <a:pt x="56" y="318"/>
                      <a:pt x="56" y="318"/>
                      <a:pt x="55" y="319"/>
                    </a:cubicBezTo>
                    <a:cubicBezTo>
                      <a:pt x="53" y="322"/>
                      <a:pt x="60" y="330"/>
                      <a:pt x="62" y="334"/>
                    </a:cubicBezTo>
                    <a:cubicBezTo>
                      <a:pt x="60" y="332"/>
                      <a:pt x="58" y="332"/>
                      <a:pt x="57" y="330"/>
                    </a:cubicBezTo>
                    <a:cubicBezTo>
                      <a:pt x="56" y="330"/>
                      <a:pt x="55" y="330"/>
                      <a:pt x="55" y="329"/>
                    </a:cubicBezTo>
                    <a:cubicBezTo>
                      <a:pt x="55" y="328"/>
                      <a:pt x="55" y="325"/>
                      <a:pt x="55" y="325"/>
                    </a:cubicBezTo>
                    <a:cubicBezTo>
                      <a:pt x="54" y="324"/>
                      <a:pt x="54" y="324"/>
                      <a:pt x="54" y="324"/>
                    </a:cubicBezTo>
                    <a:cubicBezTo>
                      <a:pt x="52" y="324"/>
                      <a:pt x="51" y="330"/>
                      <a:pt x="52" y="331"/>
                    </a:cubicBezTo>
                    <a:cubicBezTo>
                      <a:pt x="52" y="333"/>
                      <a:pt x="54" y="335"/>
                      <a:pt x="54" y="338"/>
                    </a:cubicBezTo>
                    <a:cubicBezTo>
                      <a:pt x="55" y="341"/>
                      <a:pt x="54" y="341"/>
                      <a:pt x="58" y="343"/>
                    </a:cubicBezTo>
                    <a:cubicBezTo>
                      <a:pt x="60" y="344"/>
                      <a:pt x="63" y="346"/>
                      <a:pt x="65" y="347"/>
                    </a:cubicBezTo>
                    <a:cubicBezTo>
                      <a:pt x="65" y="347"/>
                      <a:pt x="65" y="347"/>
                      <a:pt x="65" y="347"/>
                    </a:cubicBezTo>
                    <a:cubicBezTo>
                      <a:pt x="65" y="347"/>
                      <a:pt x="65" y="347"/>
                      <a:pt x="65" y="347"/>
                    </a:cubicBezTo>
                    <a:cubicBezTo>
                      <a:pt x="65" y="347"/>
                      <a:pt x="65" y="346"/>
                      <a:pt x="65" y="346"/>
                    </a:cubicBezTo>
                    <a:cubicBezTo>
                      <a:pt x="66" y="346"/>
                      <a:pt x="66" y="347"/>
                      <a:pt x="66" y="347"/>
                    </a:cubicBezTo>
                    <a:cubicBezTo>
                      <a:pt x="67" y="348"/>
                      <a:pt x="69" y="353"/>
                      <a:pt x="68" y="355"/>
                    </a:cubicBezTo>
                    <a:cubicBezTo>
                      <a:pt x="67" y="355"/>
                      <a:pt x="67" y="356"/>
                      <a:pt x="66" y="356"/>
                    </a:cubicBezTo>
                    <a:cubicBezTo>
                      <a:pt x="66" y="356"/>
                      <a:pt x="66" y="356"/>
                      <a:pt x="66" y="355"/>
                    </a:cubicBezTo>
                    <a:cubicBezTo>
                      <a:pt x="66" y="355"/>
                      <a:pt x="66" y="355"/>
                      <a:pt x="65" y="355"/>
                    </a:cubicBezTo>
                    <a:cubicBezTo>
                      <a:pt x="65" y="355"/>
                      <a:pt x="65" y="355"/>
                      <a:pt x="65" y="356"/>
                    </a:cubicBezTo>
                    <a:cubicBezTo>
                      <a:pt x="64" y="357"/>
                      <a:pt x="65" y="358"/>
                      <a:pt x="65" y="360"/>
                    </a:cubicBezTo>
                    <a:cubicBezTo>
                      <a:pt x="66" y="361"/>
                      <a:pt x="66" y="362"/>
                      <a:pt x="66" y="363"/>
                    </a:cubicBezTo>
                    <a:cubicBezTo>
                      <a:pt x="68" y="368"/>
                      <a:pt x="73" y="372"/>
                      <a:pt x="76" y="376"/>
                    </a:cubicBezTo>
                    <a:cubicBezTo>
                      <a:pt x="80" y="380"/>
                      <a:pt x="83" y="384"/>
                      <a:pt x="87" y="388"/>
                    </a:cubicBezTo>
                    <a:cubicBezTo>
                      <a:pt x="89" y="389"/>
                      <a:pt x="89" y="390"/>
                      <a:pt x="89" y="391"/>
                    </a:cubicBezTo>
                    <a:cubicBezTo>
                      <a:pt x="90" y="392"/>
                      <a:pt x="89" y="393"/>
                      <a:pt x="91" y="394"/>
                    </a:cubicBezTo>
                    <a:cubicBezTo>
                      <a:pt x="92" y="395"/>
                      <a:pt x="95" y="397"/>
                      <a:pt x="95" y="399"/>
                    </a:cubicBezTo>
                    <a:cubicBezTo>
                      <a:pt x="95" y="399"/>
                      <a:pt x="94" y="400"/>
                      <a:pt x="95" y="400"/>
                    </a:cubicBezTo>
                    <a:cubicBezTo>
                      <a:pt x="95" y="401"/>
                      <a:pt x="95" y="403"/>
                      <a:pt x="95" y="404"/>
                    </a:cubicBezTo>
                    <a:cubicBezTo>
                      <a:pt x="95" y="405"/>
                      <a:pt x="95" y="407"/>
                      <a:pt x="95" y="408"/>
                    </a:cubicBezTo>
                    <a:cubicBezTo>
                      <a:pt x="95" y="409"/>
                      <a:pt x="94" y="410"/>
                      <a:pt x="95" y="410"/>
                    </a:cubicBezTo>
                    <a:cubicBezTo>
                      <a:pt x="98" y="411"/>
                      <a:pt x="101" y="412"/>
                      <a:pt x="104" y="413"/>
                    </a:cubicBezTo>
                    <a:cubicBezTo>
                      <a:pt x="105" y="413"/>
                      <a:pt x="105" y="413"/>
                      <a:pt x="105" y="413"/>
                    </a:cubicBezTo>
                    <a:cubicBezTo>
                      <a:pt x="106" y="413"/>
                      <a:pt x="106" y="414"/>
                      <a:pt x="107" y="415"/>
                    </a:cubicBezTo>
                    <a:cubicBezTo>
                      <a:pt x="109" y="414"/>
                      <a:pt x="110" y="414"/>
                      <a:pt x="110" y="413"/>
                    </a:cubicBezTo>
                    <a:cubicBezTo>
                      <a:pt x="111" y="414"/>
                      <a:pt x="112" y="414"/>
                      <a:pt x="113" y="414"/>
                    </a:cubicBezTo>
                    <a:cubicBezTo>
                      <a:pt x="114" y="414"/>
                      <a:pt x="114" y="414"/>
                      <a:pt x="115" y="414"/>
                    </a:cubicBezTo>
                    <a:cubicBezTo>
                      <a:pt x="116" y="414"/>
                      <a:pt x="116" y="414"/>
                      <a:pt x="117" y="414"/>
                    </a:cubicBezTo>
                    <a:cubicBezTo>
                      <a:pt x="117" y="414"/>
                      <a:pt x="118" y="414"/>
                      <a:pt x="118" y="414"/>
                    </a:cubicBezTo>
                    <a:cubicBezTo>
                      <a:pt x="119" y="414"/>
                      <a:pt x="120" y="414"/>
                      <a:pt x="121" y="415"/>
                    </a:cubicBezTo>
                    <a:cubicBezTo>
                      <a:pt x="125" y="416"/>
                      <a:pt x="128" y="419"/>
                      <a:pt x="132" y="421"/>
                    </a:cubicBezTo>
                    <a:cubicBezTo>
                      <a:pt x="133" y="422"/>
                      <a:pt x="136" y="424"/>
                      <a:pt x="137" y="424"/>
                    </a:cubicBezTo>
                    <a:cubicBezTo>
                      <a:pt x="137" y="424"/>
                      <a:pt x="137" y="424"/>
                      <a:pt x="137" y="424"/>
                    </a:cubicBezTo>
                    <a:cubicBezTo>
                      <a:pt x="138" y="424"/>
                      <a:pt x="139" y="424"/>
                      <a:pt x="139" y="424"/>
                    </a:cubicBezTo>
                    <a:cubicBezTo>
                      <a:pt x="140" y="424"/>
                      <a:pt x="141" y="424"/>
                      <a:pt x="142" y="424"/>
                    </a:cubicBezTo>
                    <a:cubicBezTo>
                      <a:pt x="143" y="424"/>
                      <a:pt x="143" y="424"/>
                      <a:pt x="143" y="424"/>
                    </a:cubicBezTo>
                    <a:cubicBezTo>
                      <a:pt x="144" y="425"/>
                      <a:pt x="144" y="426"/>
                      <a:pt x="144" y="427"/>
                    </a:cubicBezTo>
                    <a:cubicBezTo>
                      <a:pt x="144" y="426"/>
                      <a:pt x="143" y="426"/>
                      <a:pt x="142" y="426"/>
                    </a:cubicBezTo>
                    <a:cubicBezTo>
                      <a:pt x="143" y="426"/>
                      <a:pt x="144" y="427"/>
                      <a:pt x="145" y="428"/>
                    </a:cubicBezTo>
                    <a:cubicBezTo>
                      <a:pt x="145" y="429"/>
                      <a:pt x="146" y="430"/>
                      <a:pt x="146" y="431"/>
                    </a:cubicBezTo>
                    <a:cubicBezTo>
                      <a:pt x="147" y="431"/>
                      <a:pt x="147" y="431"/>
                      <a:pt x="147" y="431"/>
                    </a:cubicBezTo>
                    <a:cubicBezTo>
                      <a:pt x="148" y="431"/>
                      <a:pt x="149" y="431"/>
                      <a:pt x="150" y="431"/>
                    </a:cubicBezTo>
                    <a:cubicBezTo>
                      <a:pt x="153" y="431"/>
                      <a:pt x="154" y="433"/>
                      <a:pt x="157" y="434"/>
                    </a:cubicBezTo>
                    <a:cubicBezTo>
                      <a:pt x="159" y="436"/>
                      <a:pt x="162" y="437"/>
                      <a:pt x="164" y="439"/>
                    </a:cubicBezTo>
                    <a:cubicBezTo>
                      <a:pt x="167" y="442"/>
                      <a:pt x="168" y="444"/>
                      <a:pt x="170" y="448"/>
                    </a:cubicBezTo>
                    <a:cubicBezTo>
                      <a:pt x="172" y="452"/>
                      <a:pt x="173" y="456"/>
                      <a:pt x="175" y="460"/>
                    </a:cubicBezTo>
                    <a:cubicBezTo>
                      <a:pt x="175" y="461"/>
                      <a:pt x="176" y="461"/>
                      <a:pt x="176" y="462"/>
                    </a:cubicBezTo>
                    <a:cubicBezTo>
                      <a:pt x="176" y="462"/>
                      <a:pt x="176" y="462"/>
                      <a:pt x="176" y="462"/>
                    </a:cubicBezTo>
                    <a:cubicBezTo>
                      <a:pt x="176" y="462"/>
                      <a:pt x="176" y="462"/>
                      <a:pt x="176" y="462"/>
                    </a:cubicBezTo>
                    <a:cubicBezTo>
                      <a:pt x="181" y="460"/>
                      <a:pt x="181" y="460"/>
                      <a:pt x="181" y="460"/>
                    </a:cubicBezTo>
                    <a:cubicBezTo>
                      <a:pt x="181" y="460"/>
                      <a:pt x="186" y="459"/>
                      <a:pt x="190" y="459"/>
                    </a:cubicBezTo>
                    <a:cubicBezTo>
                      <a:pt x="192" y="459"/>
                      <a:pt x="197" y="458"/>
                      <a:pt x="202" y="458"/>
                    </a:cubicBezTo>
                    <a:cubicBezTo>
                      <a:pt x="204" y="458"/>
                      <a:pt x="204" y="458"/>
                      <a:pt x="204" y="458"/>
                    </a:cubicBezTo>
                    <a:cubicBezTo>
                      <a:pt x="209" y="457"/>
                      <a:pt x="213" y="457"/>
                      <a:pt x="214" y="457"/>
                    </a:cubicBezTo>
                    <a:cubicBezTo>
                      <a:pt x="215" y="457"/>
                      <a:pt x="217" y="457"/>
                      <a:pt x="218" y="456"/>
                    </a:cubicBezTo>
                    <a:cubicBezTo>
                      <a:pt x="223" y="456"/>
                      <a:pt x="228" y="455"/>
                      <a:pt x="231" y="455"/>
                    </a:cubicBezTo>
                    <a:cubicBezTo>
                      <a:pt x="231" y="455"/>
                      <a:pt x="232" y="455"/>
                      <a:pt x="232" y="455"/>
                    </a:cubicBezTo>
                    <a:cubicBezTo>
                      <a:pt x="233" y="455"/>
                      <a:pt x="233" y="455"/>
                      <a:pt x="233" y="455"/>
                    </a:cubicBezTo>
                    <a:cubicBezTo>
                      <a:pt x="233" y="455"/>
                      <a:pt x="233" y="455"/>
                      <a:pt x="233" y="455"/>
                    </a:cubicBezTo>
                    <a:cubicBezTo>
                      <a:pt x="243" y="457"/>
                      <a:pt x="243" y="457"/>
                      <a:pt x="243" y="457"/>
                    </a:cubicBezTo>
                    <a:cubicBezTo>
                      <a:pt x="236" y="461"/>
                      <a:pt x="236" y="461"/>
                      <a:pt x="236" y="461"/>
                    </a:cubicBezTo>
                    <a:cubicBezTo>
                      <a:pt x="235" y="461"/>
                      <a:pt x="235" y="461"/>
                      <a:pt x="235" y="461"/>
                    </a:cubicBezTo>
                    <a:cubicBezTo>
                      <a:pt x="234" y="461"/>
                      <a:pt x="234" y="461"/>
                      <a:pt x="234" y="461"/>
                    </a:cubicBezTo>
                    <a:cubicBezTo>
                      <a:pt x="234" y="462"/>
                      <a:pt x="234" y="462"/>
                      <a:pt x="234" y="462"/>
                    </a:cubicBezTo>
                    <a:cubicBezTo>
                      <a:pt x="248" y="467"/>
                      <a:pt x="285" y="480"/>
                      <a:pt x="294" y="483"/>
                    </a:cubicBezTo>
                    <a:cubicBezTo>
                      <a:pt x="322" y="491"/>
                      <a:pt x="329" y="491"/>
                      <a:pt x="355" y="491"/>
                    </a:cubicBezTo>
                    <a:cubicBezTo>
                      <a:pt x="379" y="491"/>
                      <a:pt x="379" y="491"/>
                      <a:pt x="379" y="491"/>
                    </a:cubicBezTo>
                    <a:cubicBezTo>
                      <a:pt x="380" y="490"/>
                      <a:pt x="380" y="489"/>
                      <a:pt x="380" y="489"/>
                    </a:cubicBezTo>
                    <a:cubicBezTo>
                      <a:pt x="380" y="488"/>
                      <a:pt x="380" y="487"/>
                      <a:pt x="380" y="486"/>
                    </a:cubicBezTo>
                    <a:cubicBezTo>
                      <a:pt x="380" y="486"/>
                      <a:pt x="380" y="485"/>
                      <a:pt x="380" y="485"/>
                    </a:cubicBezTo>
                    <a:cubicBezTo>
                      <a:pt x="380" y="484"/>
                      <a:pt x="379" y="482"/>
                      <a:pt x="380" y="481"/>
                    </a:cubicBezTo>
                    <a:cubicBezTo>
                      <a:pt x="381" y="480"/>
                      <a:pt x="382" y="479"/>
                      <a:pt x="384" y="479"/>
                    </a:cubicBezTo>
                    <a:cubicBezTo>
                      <a:pt x="384" y="479"/>
                      <a:pt x="384" y="479"/>
                      <a:pt x="384" y="479"/>
                    </a:cubicBezTo>
                    <a:cubicBezTo>
                      <a:pt x="386" y="480"/>
                      <a:pt x="399" y="480"/>
                      <a:pt x="411" y="480"/>
                    </a:cubicBezTo>
                    <a:cubicBezTo>
                      <a:pt x="422" y="480"/>
                      <a:pt x="422" y="480"/>
                      <a:pt x="422" y="480"/>
                    </a:cubicBezTo>
                    <a:cubicBezTo>
                      <a:pt x="428" y="480"/>
                      <a:pt x="430" y="485"/>
                      <a:pt x="431" y="487"/>
                    </a:cubicBezTo>
                    <a:cubicBezTo>
                      <a:pt x="431" y="487"/>
                      <a:pt x="431" y="487"/>
                      <a:pt x="431" y="487"/>
                    </a:cubicBezTo>
                    <a:cubicBezTo>
                      <a:pt x="431" y="488"/>
                      <a:pt x="432" y="489"/>
                      <a:pt x="435" y="490"/>
                    </a:cubicBezTo>
                    <a:cubicBezTo>
                      <a:pt x="436" y="490"/>
                      <a:pt x="439" y="493"/>
                      <a:pt x="443" y="496"/>
                    </a:cubicBezTo>
                    <a:cubicBezTo>
                      <a:pt x="449" y="500"/>
                      <a:pt x="455" y="505"/>
                      <a:pt x="458" y="507"/>
                    </a:cubicBezTo>
                    <a:cubicBezTo>
                      <a:pt x="459" y="508"/>
                      <a:pt x="459" y="508"/>
                      <a:pt x="459" y="508"/>
                    </a:cubicBezTo>
                    <a:cubicBezTo>
                      <a:pt x="460" y="509"/>
                      <a:pt x="462" y="512"/>
                      <a:pt x="465" y="517"/>
                    </a:cubicBezTo>
                    <a:cubicBezTo>
                      <a:pt x="466" y="521"/>
                      <a:pt x="467" y="524"/>
                      <a:pt x="468" y="528"/>
                    </a:cubicBezTo>
                    <a:cubicBezTo>
                      <a:pt x="469" y="535"/>
                      <a:pt x="480" y="541"/>
                      <a:pt x="485" y="544"/>
                    </a:cubicBezTo>
                    <a:cubicBezTo>
                      <a:pt x="488" y="545"/>
                      <a:pt x="488" y="545"/>
                      <a:pt x="488" y="545"/>
                    </a:cubicBezTo>
                    <a:cubicBezTo>
                      <a:pt x="491" y="547"/>
                      <a:pt x="495" y="549"/>
                      <a:pt x="499" y="549"/>
                    </a:cubicBezTo>
                    <a:cubicBezTo>
                      <a:pt x="499" y="549"/>
                      <a:pt x="499" y="549"/>
                      <a:pt x="500" y="549"/>
                    </a:cubicBezTo>
                    <a:cubicBezTo>
                      <a:pt x="501" y="549"/>
                      <a:pt x="501" y="548"/>
                      <a:pt x="502" y="547"/>
                    </a:cubicBezTo>
                    <a:cubicBezTo>
                      <a:pt x="503" y="545"/>
                      <a:pt x="504" y="544"/>
                      <a:pt x="505" y="542"/>
                    </a:cubicBezTo>
                    <a:cubicBezTo>
                      <a:pt x="507" y="536"/>
                      <a:pt x="510" y="531"/>
                      <a:pt x="516" y="531"/>
                    </a:cubicBezTo>
                    <a:cubicBezTo>
                      <a:pt x="516" y="531"/>
                      <a:pt x="516" y="531"/>
                      <a:pt x="516" y="531"/>
                    </a:cubicBezTo>
                    <a:cubicBezTo>
                      <a:pt x="516" y="530"/>
                      <a:pt x="517" y="530"/>
                      <a:pt x="517" y="529"/>
                    </a:cubicBezTo>
                    <a:cubicBezTo>
                      <a:pt x="518" y="528"/>
                      <a:pt x="520" y="528"/>
                      <a:pt x="522" y="528"/>
                    </a:cubicBezTo>
                    <a:cubicBezTo>
                      <a:pt x="523" y="528"/>
                      <a:pt x="524" y="528"/>
                      <a:pt x="525" y="528"/>
                    </a:cubicBezTo>
                    <a:cubicBezTo>
                      <a:pt x="525" y="528"/>
                      <a:pt x="526" y="529"/>
                      <a:pt x="528" y="529"/>
                    </a:cubicBezTo>
                    <a:cubicBezTo>
                      <a:pt x="530" y="530"/>
                      <a:pt x="533" y="531"/>
                      <a:pt x="535" y="531"/>
                    </a:cubicBezTo>
                    <a:cubicBezTo>
                      <a:pt x="536" y="531"/>
                      <a:pt x="536" y="530"/>
                      <a:pt x="536" y="530"/>
                    </a:cubicBezTo>
                    <a:cubicBezTo>
                      <a:pt x="537" y="530"/>
                      <a:pt x="537" y="530"/>
                      <a:pt x="538" y="530"/>
                    </a:cubicBezTo>
                    <a:cubicBezTo>
                      <a:pt x="540" y="530"/>
                      <a:pt x="543" y="532"/>
                      <a:pt x="548" y="536"/>
                    </a:cubicBezTo>
                    <a:cubicBezTo>
                      <a:pt x="549" y="537"/>
                      <a:pt x="549" y="537"/>
                      <a:pt x="550" y="538"/>
                    </a:cubicBezTo>
                    <a:cubicBezTo>
                      <a:pt x="553" y="540"/>
                      <a:pt x="557" y="544"/>
                      <a:pt x="562" y="552"/>
                    </a:cubicBezTo>
                    <a:cubicBezTo>
                      <a:pt x="567" y="562"/>
                      <a:pt x="571" y="568"/>
                      <a:pt x="576" y="575"/>
                    </a:cubicBezTo>
                    <a:cubicBezTo>
                      <a:pt x="578" y="578"/>
                      <a:pt x="580" y="580"/>
                      <a:pt x="580" y="582"/>
                    </a:cubicBezTo>
                    <a:cubicBezTo>
                      <a:pt x="580" y="583"/>
                      <a:pt x="581" y="583"/>
                      <a:pt x="584" y="584"/>
                    </a:cubicBezTo>
                    <a:cubicBezTo>
                      <a:pt x="587" y="586"/>
                      <a:pt x="589" y="590"/>
                      <a:pt x="588" y="594"/>
                    </a:cubicBezTo>
                    <a:cubicBezTo>
                      <a:pt x="588" y="595"/>
                      <a:pt x="588" y="595"/>
                      <a:pt x="588" y="595"/>
                    </a:cubicBezTo>
                    <a:cubicBezTo>
                      <a:pt x="589" y="597"/>
                      <a:pt x="591" y="601"/>
                      <a:pt x="596" y="614"/>
                    </a:cubicBezTo>
                    <a:cubicBezTo>
                      <a:pt x="596" y="615"/>
                      <a:pt x="597" y="615"/>
                      <a:pt x="602" y="617"/>
                    </a:cubicBezTo>
                    <a:cubicBezTo>
                      <a:pt x="607" y="619"/>
                      <a:pt x="610" y="620"/>
                      <a:pt x="612" y="621"/>
                    </a:cubicBezTo>
                    <a:cubicBezTo>
                      <a:pt x="612" y="621"/>
                      <a:pt x="613" y="622"/>
                      <a:pt x="613" y="622"/>
                    </a:cubicBezTo>
                    <a:cubicBezTo>
                      <a:pt x="614" y="622"/>
                      <a:pt x="614" y="622"/>
                      <a:pt x="614" y="622"/>
                    </a:cubicBezTo>
                    <a:cubicBezTo>
                      <a:pt x="615" y="623"/>
                      <a:pt x="620" y="624"/>
                      <a:pt x="622" y="624"/>
                    </a:cubicBezTo>
                    <a:cubicBezTo>
                      <a:pt x="626" y="624"/>
                      <a:pt x="630" y="626"/>
                      <a:pt x="631" y="628"/>
                    </a:cubicBezTo>
                    <a:cubicBezTo>
                      <a:pt x="632" y="628"/>
                      <a:pt x="633" y="628"/>
                      <a:pt x="636" y="627"/>
                    </a:cubicBezTo>
                    <a:cubicBezTo>
                      <a:pt x="635" y="626"/>
                      <a:pt x="635" y="624"/>
                      <a:pt x="635" y="622"/>
                    </a:cubicBezTo>
                    <a:cubicBezTo>
                      <a:pt x="633" y="617"/>
                      <a:pt x="631" y="612"/>
                      <a:pt x="630" y="607"/>
                    </a:cubicBezTo>
                    <a:cubicBezTo>
                      <a:pt x="630" y="605"/>
                      <a:pt x="630" y="604"/>
                      <a:pt x="630" y="603"/>
                    </a:cubicBezTo>
                    <a:cubicBezTo>
                      <a:pt x="630" y="603"/>
                      <a:pt x="630" y="603"/>
                      <a:pt x="630" y="603"/>
                    </a:cubicBezTo>
                    <a:cubicBezTo>
                      <a:pt x="631" y="603"/>
                      <a:pt x="631" y="603"/>
                      <a:pt x="631" y="603"/>
                    </a:cubicBezTo>
                    <a:cubicBezTo>
                      <a:pt x="631" y="602"/>
                      <a:pt x="632" y="602"/>
                      <a:pt x="632" y="602"/>
                    </a:cubicBezTo>
                    <a:cubicBezTo>
                      <a:pt x="632" y="602"/>
                      <a:pt x="632" y="602"/>
                      <a:pt x="632" y="602"/>
                    </a:cubicBezTo>
                    <a:cubicBezTo>
                      <a:pt x="632" y="601"/>
                      <a:pt x="633" y="598"/>
                      <a:pt x="633" y="597"/>
                    </a:cubicBezTo>
                    <a:cubicBezTo>
                      <a:pt x="632" y="597"/>
                      <a:pt x="631" y="597"/>
                      <a:pt x="631" y="597"/>
                    </a:cubicBezTo>
                    <a:cubicBezTo>
                      <a:pt x="629" y="597"/>
                      <a:pt x="628" y="596"/>
                      <a:pt x="625" y="596"/>
                    </a:cubicBezTo>
                    <a:cubicBezTo>
                      <a:pt x="626" y="595"/>
                      <a:pt x="625" y="593"/>
                      <a:pt x="625" y="592"/>
                    </a:cubicBezTo>
                    <a:cubicBezTo>
                      <a:pt x="627" y="593"/>
                      <a:pt x="627" y="595"/>
                      <a:pt x="629" y="596"/>
                    </a:cubicBezTo>
                    <a:cubicBezTo>
                      <a:pt x="629" y="595"/>
                      <a:pt x="629" y="595"/>
                      <a:pt x="629" y="595"/>
                    </a:cubicBezTo>
                    <a:cubicBezTo>
                      <a:pt x="630" y="595"/>
                      <a:pt x="632" y="596"/>
                      <a:pt x="631" y="596"/>
                    </a:cubicBezTo>
                    <a:cubicBezTo>
                      <a:pt x="631" y="596"/>
                      <a:pt x="632" y="596"/>
                      <a:pt x="633" y="595"/>
                    </a:cubicBezTo>
                    <a:cubicBezTo>
                      <a:pt x="634" y="594"/>
                      <a:pt x="635" y="592"/>
                      <a:pt x="635" y="590"/>
                    </a:cubicBezTo>
                    <a:cubicBezTo>
                      <a:pt x="636" y="589"/>
                      <a:pt x="637" y="587"/>
                      <a:pt x="637" y="586"/>
                    </a:cubicBezTo>
                    <a:cubicBezTo>
                      <a:pt x="637" y="585"/>
                      <a:pt x="635" y="586"/>
                      <a:pt x="635" y="585"/>
                    </a:cubicBezTo>
                    <a:cubicBezTo>
                      <a:pt x="634" y="582"/>
                      <a:pt x="634" y="584"/>
                      <a:pt x="631" y="582"/>
                    </a:cubicBezTo>
                    <a:cubicBezTo>
                      <a:pt x="631" y="582"/>
                      <a:pt x="632" y="582"/>
                      <a:pt x="632" y="582"/>
                    </a:cubicBezTo>
                    <a:cubicBezTo>
                      <a:pt x="632" y="582"/>
                      <a:pt x="633" y="582"/>
                      <a:pt x="634" y="581"/>
                    </a:cubicBezTo>
                    <a:cubicBezTo>
                      <a:pt x="635" y="581"/>
                      <a:pt x="635" y="581"/>
                      <a:pt x="636" y="581"/>
                    </a:cubicBezTo>
                    <a:cubicBezTo>
                      <a:pt x="636" y="581"/>
                      <a:pt x="637" y="581"/>
                      <a:pt x="637" y="581"/>
                    </a:cubicBezTo>
                    <a:cubicBezTo>
                      <a:pt x="638" y="582"/>
                      <a:pt x="638" y="583"/>
                      <a:pt x="638" y="583"/>
                    </a:cubicBezTo>
                    <a:cubicBezTo>
                      <a:pt x="638" y="583"/>
                      <a:pt x="639" y="582"/>
                      <a:pt x="639" y="582"/>
                    </a:cubicBezTo>
                    <a:cubicBezTo>
                      <a:pt x="641" y="581"/>
                      <a:pt x="642" y="577"/>
                      <a:pt x="643" y="576"/>
                    </a:cubicBezTo>
                    <a:cubicBezTo>
                      <a:pt x="642" y="576"/>
                      <a:pt x="642" y="576"/>
                      <a:pt x="642" y="576"/>
                    </a:cubicBezTo>
                    <a:cubicBezTo>
                      <a:pt x="641" y="576"/>
                      <a:pt x="640" y="575"/>
                      <a:pt x="639" y="574"/>
                    </a:cubicBezTo>
                    <a:cubicBezTo>
                      <a:pt x="640" y="574"/>
                      <a:pt x="640" y="575"/>
                      <a:pt x="640" y="575"/>
                    </a:cubicBezTo>
                    <a:cubicBezTo>
                      <a:pt x="641" y="575"/>
                      <a:pt x="642" y="574"/>
                      <a:pt x="643" y="573"/>
                    </a:cubicBezTo>
                    <a:cubicBezTo>
                      <a:pt x="643" y="574"/>
                      <a:pt x="643" y="575"/>
                      <a:pt x="643" y="575"/>
                    </a:cubicBezTo>
                    <a:cubicBezTo>
                      <a:pt x="644" y="574"/>
                      <a:pt x="644" y="573"/>
                      <a:pt x="645" y="572"/>
                    </a:cubicBezTo>
                    <a:cubicBezTo>
                      <a:pt x="645" y="573"/>
                      <a:pt x="645" y="574"/>
                      <a:pt x="644" y="575"/>
                    </a:cubicBezTo>
                    <a:cubicBezTo>
                      <a:pt x="645" y="574"/>
                      <a:pt x="646" y="567"/>
                      <a:pt x="648" y="566"/>
                    </a:cubicBezTo>
                    <a:cubicBezTo>
                      <a:pt x="648" y="566"/>
                      <a:pt x="648" y="566"/>
                      <a:pt x="648" y="566"/>
                    </a:cubicBezTo>
                    <a:cubicBezTo>
                      <a:pt x="648" y="566"/>
                      <a:pt x="650" y="569"/>
                      <a:pt x="650" y="569"/>
                    </a:cubicBezTo>
                    <a:cubicBezTo>
                      <a:pt x="651" y="570"/>
                      <a:pt x="650" y="570"/>
                      <a:pt x="651" y="570"/>
                    </a:cubicBezTo>
                    <a:cubicBezTo>
                      <a:pt x="651" y="570"/>
                      <a:pt x="652" y="570"/>
                      <a:pt x="652" y="570"/>
                    </a:cubicBezTo>
                    <a:cubicBezTo>
                      <a:pt x="653" y="570"/>
                      <a:pt x="656" y="568"/>
                      <a:pt x="657" y="567"/>
                    </a:cubicBezTo>
                    <a:cubicBezTo>
                      <a:pt x="654" y="566"/>
                      <a:pt x="652" y="563"/>
                      <a:pt x="651" y="560"/>
                    </a:cubicBezTo>
                    <a:cubicBezTo>
                      <a:pt x="652" y="560"/>
                      <a:pt x="652" y="560"/>
                      <a:pt x="652" y="560"/>
                    </a:cubicBezTo>
                    <a:cubicBezTo>
                      <a:pt x="653" y="560"/>
                      <a:pt x="653" y="562"/>
                      <a:pt x="654" y="562"/>
                    </a:cubicBezTo>
                    <a:cubicBezTo>
                      <a:pt x="654" y="563"/>
                      <a:pt x="655" y="563"/>
                      <a:pt x="656" y="563"/>
                    </a:cubicBezTo>
                    <a:cubicBezTo>
                      <a:pt x="657" y="563"/>
                      <a:pt x="658" y="562"/>
                      <a:pt x="656" y="559"/>
                    </a:cubicBezTo>
                    <a:cubicBezTo>
                      <a:pt x="657" y="560"/>
                      <a:pt x="657" y="562"/>
                      <a:pt x="658" y="562"/>
                    </a:cubicBezTo>
                    <a:cubicBezTo>
                      <a:pt x="658" y="562"/>
                      <a:pt x="658" y="562"/>
                      <a:pt x="658" y="562"/>
                    </a:cubicBezTo>
                    <a:cubicBezTo>
                      <a:pt x="659" y="562"/>
                      <a:pt x="660" y="561"/>
                      <a:pt x="662" y="561"/>
                    </a:cubicBezTo>
                    <a:cubicBezTo>
                      <a:pt x="661" y="563"/>
                      <a:pt x="661" y="563"/>
                      <a:pt x="662" y="563"/>
                    </a:cubicBezTo>
                    <a:cubicBezTo>
                      <a:pt x="662" y="563"/>
                      <a:pt x="663" y="563"/>
                      <a:pt x="663" y="563"/>
                    </a:cubicBezTo>
                    <a:cubicBezTo>
                      <a:pt x="664" y="563"/>
                      <a:pt x="665" y="563"/>
                      <a:pt x="665" y="563"/>
                    </a:cubicBezTo>
                    <a:cubicBezTo>
                      <a:pt x="666" y="563"/>
                      <a:pt x="666" y="563"/>
                      <a:pt x="666" y="563"/>
                    </a:cubicBezTo>
                    <a:cubicBezTo>
                      <a:pt x="665" y="564"/>
                      <a:pt x="663" y="565"/>
                      <a:pt x="661" y="566"/>
                    </a:cubicBezTo>
                    <a:cubicBezTo>
                      <a:pt x="665" y="565"/>
                      <a:pt x="670" y="563"/>
                      <a:pt x="673" y="560"/>
                    </a:cubicBezTo>
                    <a:cubicBezTo>
                      <a:pt x="672" y="561"/>
                      <a:pt x="670" y="561"/>
                      <a:pt x="669" y="561"/>
                    </a:cubicBezTo>
                    <a:cubicBezTo>
                      <a:pt x="669" y="561"/>
                      <a:pt x="668" y="561"/>
                      <a:pt x="668" y="561"/>
                    </a:cubicBezTo>
                    <a:cubicBezTo>
                      <a:pt x="671" y="560"/>
                      <a:pt x="674" y="560"/>
                      <a:pt x="677" y="558"/>
                    </a:cubicBezTo>
                    <a:cubicBezTo>
                      <a:pt x="681" y="556"/>
                      <a:pt x="682" y="553"/>
                      <a:pt x="684" y="550"/>
                    </a:cubicBezTo>
                    <a:cubicBezTo>
                      <a:pt x="685" y="549"/>
                      <a:pt x="686" y="548"/>
                      <a:pt x="686" y="548"/>
                    </a:cubicBezTo>
                    <a:cubicBezTo>
                      <a:pt x="686" y="548"/>
                      <a:pt x="686" y="549"/>
                      <a:pt x="686" y="549"/>
                    </a:cubicBezTo>
                    <a:cubicBezTo>
                      <a:pt x="687" y="549"/>
                      <a:pt x="687" y="549"/>
                      <a:pt x="687" y="549"/>
                    </a:cubicBezTo>
                    <a:cubicBezTo>
                      <a:pt x="687" y="549"/>
                      <a:pt x="687" y="549"/>
                      <a:pt x="687" y="549"/>
                    </a:cubicBezTo>
                    <a:cubicBezTo>
                      <a:pt x="689" y="548"/>
                      <a:pt x="692" y="545"/>
                      <a:pt x="694" y="544"/>
                    </a:cubicBezTo>
                    <a:cubicBezTo>
                      <a:pt x="693" y="543"/>
                      <a:pt x="692" y="543"/>
                      <a:pt x="692" y="542"/>
                    </a:cubicBezTo>
                    <a:cubicBezTo>
                      <a:pt x="691" y="543"/>
                      <a:pt x="691" y="543"/>
                      <a:pt x="691" y="543"/>
                    </a:cubicBezTo>
                    <a:cubicBezTo>
                      <a:pt x="690" y="542"/>
                      <a:pt x="692" y="541"/>
                      <a:pt x="691" y="541"/>
                    </a:cubicBezTo>
                    <a:cubicBezTo>
                      <a:pt x="691" y="540"/>
                      <a:pt x="690" y="541"/>
                      <a:pt x="689" y="540"/>
                    </a:cubicBezTo>
                    <a:cubicBezTo>
                      <a:pt x="689" y="539"/>
                      <a:pt x="690" y="539"/>
                      <a:pt x="690" y="538"/>
                    </a:cubicBezTo>
                    <a:cubicBezTo>
                      <a:pt x="689" y="537"/>
                      <a:pt x="689" y="536"/>
                      <a:pt x="688" y="535"/>
                    </a:cubicBezTo>
                    <a:cubicBezTo>
                      <a:pt x="688" y="535"/>
                      <a:pt x="688" y="535"/>
                      <a:pt x="688" y="535"/>
                    </a:cubicBezTo>
                    <a:cubicBezTo>
                      <a:pt x="689" y="535"/>
                      <a:pt x="691" y="535"/>
                      <a:pt x="691" y="536"/>
                    </a:cubicBezTo>
                    <a:cubicBezTo>
                      <a:pt x="692" y="536"/>
                      <a:pt x="693" y="533"/>
                      <a:pt x="695" y="533"/>
                    </a:cubicBezTo>
                    <a:cubicBezTo>
                      <a:pt x="695" y="533"/>
                      <a:pt x="695" y="533"/>
                      <a:pt x="695" y="533"/>
                    </a:cubicBezTo>
                    <a:cubicBezTo>
                      <a:pt x="696" y="534"/>
                      <a:pt x="696" y="535"/>
                      <a:pt x="696" y="536"/>
                    </a:cubicBezTo>
                    <a:cubicBezTo>
                      <a:pt x="694" y="540"/>
                      <a:pt x="693" y="539"/>
                      <a:pt x="696" y="539"/>
                    </a:cubicBezTo>
                    <a:cubicBezTo>
                      <a:pt x="696" y="539"/>
                      <a:pt x="696" y="539"/>
                      <a:pt x="696" y="539"/>
                    </a:cubicBezTo>
                    <a:cubicBezTo>
                      <a:pt x="697" y="539"/>
                      <a:pt x="698" y="539"/>
                      <a:pt x="698" y="539"/>
                    </a:cubicBezTo>
                    <a:cubicBezTo>
                      <a:pt x="699" y="539"/>
                      <a:pt x="699" y="539"/>
                      <a:pt x="700" y="539"/>
                    </a:cubicBezTo>
                    <a:cubicBezTo>
                      <a:pt x="700" y="539"/>
                      <a:pt x="701" y="539"/>
                      <a:pt x="702" y="539"/>
                    </a:cubicBezTo>
                    <a:cubicBezTo>
                      <a:pt x="700" y="540"/>
                      <a:pt x="695" y="542"/>
                      <a:pt x="694" y="544"/>
                    </a:cubicBezTo>
                    <a:cubicBezTo>
                      <a:pt x="694" y="544"/>
                      <a:pt x="694" y="544"/>
                      <a:pt x="695" y="544"/>
                    </a:cubicBezTo>
                    <a:cubicBezTo>
                      <a:pt x="695" y="544"/>
                      <a:pt x="697" y="542"/>
                      <a:pt x="697" y="542"/>
                    </a:cubicBezTo>
                    <a:cubicBezTo>
                      <a:pt x="698" y="542"/>
                      <a:pt x="700" y="541"/>
                      <a:pt x="702" y="540"/>
                    </a:cubicBezTo>
                    <a:cubicBezTo>
                      <a:pt x="704" y="539"/>
                      <a:pt x="706" y="538"/>
                      <a:pt x="708" y="538"/>
                    </a:cubicBezTo>
                    <a:cubicBezTo>
                      <a:pt x="711" y="536"/>
                      <a:pt x="713" y="537"/>
                      <a:pt x="716" y="536"/>
                    </a:cubicBezTo>
                    <a:cubicBezTo>
                      <a:pt x="714" y="534"/>
                      <a:pt x="717" y="530"/>
                      <a:pt x="717" y="528"/>
                    </a:cubicBezTo>
                    <a:cubicBezTo>
                      <a:pt x="717" y="530"/>
                      <a:pt x="716" y="533"/>
                      <a:pt x="716" y="535"/>
                    </a:cubicBezTo>
                    <a:cubicBezTo>
                      <a:pt x="720" y="533"/>
                      <a:pt x="723" y="534"/>
                      <a:pt x="727" y="533"/>
                    </a:cubicBezTo>
                    <a:cubicBezTo>
                      <a:pt x="729" y="533"/>
                      <a:pt x="726" y="532"/>
                      <a:pt x="726" y="532"/>
                    </a:cubicBezTo>
                    <a:cubicBezTo>
                      <a:pt x="726" y="531"/>
                      <a:pt x="726" y="531"/>
                      <a:pt x="726" y="531"/>
                    </a:cubicBezTo>
                    <a:cubicBezTo>
                      <a:pt x="726" y="531"/>
                      <a:pt x="727" y="531"/>
                      <a:pt x="727" y="531"/>
                    </a:cubicBezTo>
                    <a:cubicBezTo>
                      <a:pt x="728" y="530"/>
                      <a:pt x="728" y="530"/>
                      <a:pt x="728" y="530"/>
                    </a:cubicBezTo>
                    <a:cubicBezTo>
                      <a:pt x="728" y="529"/>
                      <a:pt x="728" y="527"/>
                      <a:pt x="728" y="526"/>
                    </a:cubicBezTo>
                    <a:cubicBezTo>
                      <a:pt x="730" y="526"/>
                      <a:pt x="729" y="527"/>
                      <a:pt x="730" y="528"/>
                    </a:cubicBezTo>
                    <a:cubicBezTo>
                      <a:pt x="732" y="532"/>
                      <a:pt x="739" y="533"/>
                      <a:pt x="743" y="535"/>
                    </a:cubicBezTo>
                    <a:cubicBezTo>
                      <a:pt x="746" y="537"/>
                      <a:pt x="749" y="539"/>
                      <a:pt x="753" y="539"/>
                    </a:cubicBezTo>
                    <a:cubicBezTo>
                      <a:pt x="753" y="539"/>
                      <a:pt x="753" y="539"/>
                      <a:pt x="754" y="539"/>
                    </a:cubicBezTo>
                    <a:cubicBezTo>
                      <a:pt x="755" y="539"/>
                      <a:pt x="756" y="538"/>
                      <a:pt x="758" y="538"/>
                    </a:cubicBezTo>
                    <a:cubicBezTo>
                      <a:pt x="757" y="538"/>
                      <a:pt x="755" y="536"/>
                      <a:pt x="755" y="536"/>
                    </a:cubicBezTo>
                    <a:cubicBezTo>
                      <a:pt x="755" y="535"/>
                      <a:pt x="755" y="535"/>
                      <a:pt x="755" y="535"/>
                    </a:cubicBezTo>
                    <a:cubicBezTo>
                      <a:pt x="755" y="535"/>
                      <a:pt x="755" y="535"/>
                      <a:pt x="755" y="535"/>
                    </a:cubicBezTo>
                    <a:cubicBezTo>
                      <a:pt x="755" y="535"/>
                      <a:pt x="755" y="535"/>
                      <a:pt x="755" y="535"/>
                    </a:cubicBezTo>
                    <a:cubicBezTo>
                      <a:pt x="755" y="535"/>
                      <a:pt x="756" y="535"/>
                      <a:pt x="756" y="535"/>
                    </a:cubicBezTo>
                    <a:cubicBezTo>
                      <a:pt x="757" y="534"/>
                      <a:pt x="761" y="532"/>
                      <a:pt x="763" y="532"/>
                    </a:cubicBezTo>
                    <a:cubicBezTo>
                      <a:pt x="763" y="532"/>
                      <a:pt x="763" y="532"/>
                      <a:pt x="763" y="532"/>
                    </a:cubicBezTo>
                    <a:cubicBezTo>
                      <a:pt x="764" y="532"/>
                      <a:pt x="767" y="534"/>
                      <a:pt x="768" y="535"/>
                    </a:cubicBezTo>
                    <a:cubicBezTo>
                      <a:pt x="768" y="535"/>
                      <a:pt x="768" y="536"/>
                      <a:pt x="769" y="537"/>
                    </a:cubicBezTo>
                    <a:cubicBezTo>
                      <a:pt x="769" y="538"/>
                      <a:pt x="774" y="541"/>
                      <a:pt x="775" y="541"/>
                    </a:cubicBezTo>
                    <a:cubicBezTo>
                      <a:pt x="775" y="541"/>
                      <a:pt x="775" y="541"/>
                      <a:pt x="775" y="541"/>
                    </a:cubicBezTo>
                    <a:cubicBezTo>
                      <a:pt x="776" y="540"/>
                      <a:pt x="777" y="538"/>
                      <a:pt x="777" y="538"/>
                    </a:cubicBezTo>
                    <a:cubicBezTo>
                      <a:pt x="777" y="539"/>
                      <a:pt x="776" y="540"/>
                      <a:pt x="776" y="541"/>
                    </a:cubicBezTo>
                    <a:cubicBezTo>
                      <a:pt x="776" y="543"/>
                      <a:pt x="778" y="543"/>
                      <a:pt x="779" y="544"/>
                    </a:cubicBezTo>
                    <a:cubicBezTo>
                      <a:pt x="782" y="546"/>
                      <a:pt x="785" y="550"/>
                      <a:pt x="788" y="550"/>
                    </a:cubicBezTo>
                    <a:cubicBezTo>
                      <a:pt x="789" y="550"/>
                      <a:pt x="789" y="550"/>
                      <a:pt x="790" y="549"/>
                    </a:cubicBezTo>
                    <a:cubicBezTo>
                      <a:pt x="791" y="549"/>
                      <a:pt x="792" y="547"/>
                      <a:pt x="792" y="546"/>
                    </a:cubicBezTo>
                    <a:cubicBezTo>
                      <a:pt x="793" y="545"/>
                      <a:pt x="794" y="545"/>
                      <a:pt x="796" y="545"/>
                    </a:cubicBezTo>
                    <a:cubicBezTo>
                      <a:pt x="797" y="545"/>
                      <a:pt x="799" y="546"/>
                      <a:pt x="800" y="547"/>
                    </a:cubicBezTo>
                    <a:cubicBezTo>
                      <a:pt x="800" y="549"/>
                      <a:pt x="799" y="551"/>
                      <a:pt x="800" y="551"/>
                    </a:cubicBezTo>
                    <a:cubicBezTo>
                      <a:pt x="801" y="551"/>
                      <a:pt x="801" y="551"/>
                      <a:pt x="802" y="550"/>
                    </a:cubicBezTo>
                    <a:cubicBezTo>
                      <a:pt x="805" y="549"/>
                      <a:pt x="802" y="546"/>
                      <a:pt x="805" y="546"/>
                    </a:cubicBezTo>
                    <a:cubicBezTo>
                      <a:pt x="805" y="546"/>
                      <a:pt x="805" y="546"/>
                      <a:pt x="805" y="546"/>
                    </a:cubicBezTo>
                    <a:cubicBezTo>
                      <a:pt x="804" y="545"/>
                      <a:pt x="805" y="544"/>
                      <a:pt x="804" y="543"/>
                    </a:cubicBezTo>
                    <a:cubicBezTo>
                      <a:pt x="804" y="543"/>
                      <a:pt x="805" y="543"/>
                      <a:pt x="804" y="542"/>
                    </a:cubicBezTo>
                    <a:cubicBezTo>
                      <a:pt x="804" y="541"/>
                      <a:pt x="802" y="541"/>
                      <a:pt x="801" y="539"/>
                    </a:cubicBezTo>
                    <a:cubicBezTo>
                      <a:pt x="803" y="539"/>
                      <a:pt x="811" y="541"/>
                      <a:pt x="809" y="542"/>
                    </a:cubicBezTo>
                    <a:cubicBezTo>
                      <a:pt x="812" y="544"/>
                      <a:pt x="814" y="545"/>
                      <a:pt x="818" y="547"/>
                    </a:cubicBezTo>
                    <a:cubicBezTo>
                      <a:pt x="818" y="548"/>
                      <a:pt x="818" y="549"/>
                      <a:pt x="819" y="550"/>
                    </a:cubicBezTo>
                    <a:cubicBezTo>
                      <a:pt x="820" y="550"/>
                      <a:pt x="820" y="550"/>
                      <a:pt x="820" y="550"/>
                    </a:cubicBezTo>
                    <a:cubicBezTo>
                      <a:pt x="820" y="550"/>
                      <a:pt x="821" y="550"/>
                      <a:pt x="821" y="549"/>
                    </a:cubicBezTo>
                    <a:cubicBezTo>
                      <a:pt x="821" y="549"/>
                      <a:pt x="822" y="549"/>
                      <a:pt x="822" y="549"/>
                    </a:cubicBezTo>
                    <a:cubicBezTo>
                      <a:pt x="822" y="549"/>
                      <a:pt x="822" y="549"/>
                      <a:pt x="822" y="550"/>
                    </a:cubicBezTo>
                    <a:cubicBezTo>
                      <a:pt x="822" y="551"/>
                      <a:pt x="820" y="554"/>
                      <a:pt x="820" y="555"/>
                    </a:cubicBezTo>
                    <a:cubicBezTo>
                      <a:pt x="821" y="554"/>
                      <a:pt x="824" y="554"/>
                      <a:pt x="826" y="553"/>
                    </a:cubicBezTo>
                    <a:cubicBezTo>
                      <a:pt x="825" y="552"/>
                      <a:pt x="829" y="549"/>
                      <a:pt x="827" y="549"/>
                    </a:cubicBezTo>
                    <a:cubicBezTo>
                      <a:pt x="827" y="549"/>
                      <a:pt x="827" y="549"/>
                      <a:pt x="826" y="550"/>
                    </a:cubicBezTo>
                    <a:cubicBezTo>
                      <a:pt x="828" y="549"/>
                      <a:pt x="828" y="549"/>
                      <a:pt x="828" y="548"/>
                    </a:cubicBezTo>
                    <a:cubicBezTo>
                      <a:pt x="827" y="548"/>
                      <a:pt x="826" y="548"/>
                      <a:pt x="825" y="547"/>
                    </a:cubicBezTo>
                    <a:cubicBezTo>
                      <a:pt x="828" y="546"/>
                      <a:pt x="821" y="544"/>
                      <a:pt x="820" y="544"/>
                    </a:cubicBezTo>
                    <a:cubicBezTo>
                      <a:pt x="821" y="543"/>
                      <a:pt x="821" y="543"/>
                      <a:pt x="821" y="543"/>
                    </a:cubicBezTo>
                    <a:cubicBezTo>
                      <a:pt x="819" y="543"/>
                      <a:pt x="818" y="543"/>
                      <a:pt x="816" y="543"/>
                    </a:cubicBezTo>
                    <a:cubicBezTo>
                      <a:pt x="817" y="543"/>
                      <a:pt x="817" y="543"/>
                      <a:pt x="817" y="543"/>
                    </a:cubicBezTo>
                    <a:cubicBezTo>
                      <a:pt x="817" y="542"/>
                      <a:pt x="816" y="543"/>
                      <a:pt x="817" y="541"/>
                    </a:cubicBezTo>
                    <a:cubicBezTo>
                      <a:pt x="814" y="540"/>
                      <a:pt x="813" y="540"/>
                      <a:pt x="812" y="538"/>
                    </a:cubicBezTo>
                    <a:cubicBezTo>
                      <a:pt x="814" y="538"/>
                      <a:pt x="816" y="538"/>
                      <a:pt x="817" y="537"/>
                    </a:cubicBezTo>
                    <a:cubicBezTo>
                      <a:pt x="817" y="537"/>
                      <a:pt x="817" y="536"/>
                      <a:pt x="816" y="536"/>
                    </a:cubicBezTo>
                    <a:cubicBezTo>
                      <a:pt x="817" y="536"/>
                      <a:pt x="817" y="536"/>
                      <a:pt x="817" y="536"/>
                    </a:cubicBezTo>
                    <a:cubicBezTo>
                      <a:pt x="817" y="536"/>
                      <a:pt x="817" y="536"/>
                      <a:pt x="817" y="536"/>
                    </a:cubicBezTo>
                    <a:cubicBezTo>
                      <a:pt x="816" y="536"/>
                      <a:pt x="814" y="536"/>
                      <a:pt x="815" y="535"/>
                    </a:cubicBezTo>
                    <a:cubicBezTo>
                      <a:pt x="815" y="534"/>
                      <a:pt x="819" y="534"/>
                      <a:pt x="821" y="533"/>
                    </a:cubicBezTo>
                    <a:cubicBezTo>
                      <a:pt x="820" y="532"/>
                      <a:pt x="820" y="532"/>
                      <a:pt x="821" y="531"/>
                    </a:cubicBezTo>
                    <a:cubicBezTo>
                      <a:pt x="820" y="531"/>
                      <a:pt x="820" y="531"/>
                      <a:pt x="820" y="531"/>
                    </a:cubicBezTo>
                    <a:cubicBezTo>
                      <a:pt x="820" y="530"/>
                      <a:pt x="820" y="530"/>
                      <a:pt x="820" y="530"/>
                    </a:cubicBezTo>
                    <a:cubicBezTo>
                      <a:pt x="819" y="530"/>
                      <a:pt x="819" y="530"/>
                      <a:pt x="819" y="530"/>
                    </a:cubicBezTo>
                    <a:cubicBezTo>
                      <a:pt x="821" y="529"/>
                      <a:pt x="818" y="529"/>
                      <a:pt x="818" y="526"/>
                    </a:cubicBezTo>
                    <a:cubicBezTo>
                      <a:pt x="817" y="528"/>
                      <a:pt x="816" y="527"/>
                      <a:pt x="815" y="528"/>
                    </a:cubicBezTo>
                    <a:cubicBezTo>
                      <a:pt x="814" y="530"/>
                      <a:pt x="814" y="531"/>
                      <a:pt x="814" y="531"/>
                    </a:cubicBezTo>
                    <a:cubicBezTo>
                      <a:pt x="813" y="531"/>
                      <a:pt x="813" y="530"/>
                      <a:pt x="812" y="530"/>
                    </a:cubicBezTo>
                    <a:cubicBezTo>
                      <a:pt x="812" y="530"/>
                      <a:pt x="809" y="529"/>
                      <a:pt x="809" y="528"/>
                    </a:cubicBezTo>
                    <a:cubicBezTo>
                      <a:pt x="809" y="527"/>
                      <a:pt x="812" y="527"/>
                      <a:pt x="813" y="526"/>
                    </a:cubicBezTo>
                    <a:cubicBezTo>
                      <a:pt x="813" y="526"/>
                      <a:pt x="812" y="526"/>
                      <a:pt x="812" y="526"/>
                    </a:cubicBezTo>
                    <a:cubicBezTo>
                      <a:pt x="811" y="526"/>
                      <a:pt x="809" y="526"/>
                      <a:pt x="807" y="526"/>
                    </a:cubicBezTo>
                    <a:cubicBezTo>
                      <a:pt x="805" y="526"/>
                      <a:pt x="803" y="526"/>
                      <a:pt x="801" y="526"/>
                    </a:cubicBezTo>
                    <a:cubicBezTo>
                      <a:pt x="798" y="526"/>
                      <a:pt x="796" y="526"/>
                      <a:pt x="796" y="524"/>
                    </a:cubicBezTo>
                    <a:cubicBezTo>
                      <a:pt x="795" y="522"/>
                      <a:pt x="803" y="520"/>
                      <a:pt x="806" y="520"/>
                    </a:cubicBezTo>
                    <a:cubicBezTo>
                      <a:pt x="807" y="520"/>
                      <a:pt x="807" y="520"/>
                      <a:pt x="808" y="520"/>
                    </a:cubicBezTo>
                    <a:cubicBezTo>
                      <a:pt x="809" y="521"/>
                      <a:pt x="813" y="523"/>
                      <a:pt x="816" y="523"/>
                    </a:cubicBezTo>
                    <a:cubicBezTo>
                      <a:pt x="816" y="523"/>
                      <a:pt x="817" y="523"/>
                      <a:pt x="817" y="522"/>
                    </a:cubicBezTo>
                    <a:cubicBezTo>
                      <a:pt x="819" y="520"/>
                      <a:pt x="820" y="519"/>
                      <a:pt x="823" y="518"/>
                    </a:cubicBezTo>
                    <a:cubicBezTo>
                      <a:pt x="826" y="518"/>
                      <a:pt x="829" y="517"/>
                      <a:pt x="831" y="517"/>
                    </a:cubicBezTo>
                    <a:cubicBezTo>
                      <a:pt x="832" y="517"/>
                      <a:pt x="832" y="517"/>
                      <a:pt x="832" y="517"/>
                    </a:cubicBezTo>
                    <a:cubicBezTo>
                      <a:pt x="838" y="518"/>
                      <a:pt x="843" y="519"/>
                      <a:pt x="848" y="519"/>
                    </a:cubicBezTo>
                    <a:cubicBezTo>
                      <a:pt x="848" y="519"/>
                      <a:pt x="848" y="519"/>
                      <a:pt x="848" y="519"/>
                    </a:cubicBezTo>
                    <a:cubicBezTo>
                      <a:pt x="849" y="519"/>
                      <a:pt x="850" y="513"/>
                      <a:pt x="851" y="511"/>
                    </a:cubicBezTo>
                    <a:cubicBezTo>
                      <a:pt x="851" y="511"/>
                      <a:pt x="851" y="510"/>
                      <a:pt x="852" y="509"/>
                    </a:cubicBezTo>
                    <a:cubicBezTo>
                      <a:pt x="852" y="511"/>
                      <a:pt x="853" y="511"/>
                      <a:pt x="854" y="512"/>
                    </a:cubicBezTo>
                    <a:cubicBezTo>
                      <a:pt x="854" y="513"/>
                      <a:pt x="853" y="515"/>
                      <a:pt x="853" y="516"/>
                    </a:cubicBezTo>
                    <a:cubicBezTo>
                      <a:pt x="854" y="517"/>
                      <a:pt x="855" y="517"/>
                      <a:pt x="856" y="517"/>
                    </a:cubicBezTo>
                    <a:cubicBezTo>
                      <a:pt x="856" y="518"/>
                      <a:pt x="856" y="520"/>
                      <a:pt x="858" y="521"/>
                    </a:cubicBezTo>
                    <a:cubicBezTo>
                      <a:pt x="858" y="522"/>
                      <a:pt x="858" y="522"/>
                      <a:pt x="859" y="522"/>
                    </a:cubicBezTo>
                    <a:cubicBezTo>
                      <a:pt x="860" y="522"/>
                      <a:pt x="861" y="521"/>
                      <a:pt x="862" y="520"/>
                    </a:cubicBezTo>
                    <a:cubicBezTo>
                      <a:pt x="861" y="520"/>
                      <a:pt x="861" y="520"/>
                      <a:pt x="861" y="520"/>
                    </a:cubicBezTo>
                    <a:cubicBezTo>
                      <a:pt x="864" y="520"/>
                      <a:pt x="864" y="518"/>
                      <a:pt x="865" y="516"/>
                    </a:cubicBezTo>
                    <a:cubicBezTo>
                      <a:pt x="865" y="516"/>
                      <a:pt x="865" y="516"/>
                      <a:pt x="865" y="516"/>
                    </a:cubicBezTo>
                    <a:cubicBezTo>
                      <a:pt x="865" y="516"/>
                      <a:pt x="865" y="516"/>
                      <a:pt x="865" y="516"/>
                    </a:cubicBezTo>
                    <a:cubicBezTo>
                      <a:pt x="865" y="516"/>
                      <a:pt x="865" y="516"/>
                      <a:pt x="865" y="516"/>
                    </a:cubicBezTo>
                    <a:cubicBezTo>
                      <a:pt x="865" y="516"/>
                      <a:pt x="865" y="516"/>
                      <a:pt x="865" y="516"/>
                    </a:cubicBezTo>
                    <a:cubicBezTo>
                      <a:pt x="865" y="517"/>
                      <a:pt x="865" y="518"/>
                      <a:pt x="864" y="519"/>
                    </a:cubicBezTo>
                    <a:cubicBezTo>
                      <a:pt x="865" y="518"/>
                      <a:pt x="865" y="517"/>
                      <a:pt x="865" y="516"/>
                    </a:cubicBezTo>
                    <a:cubicBezTo>
                      <a:pt x="865" y="516"/>
                      <a:pt x="865" y="516"/>
                      <a:pt x="865" y="516"/>
                    </a:cubicBezTo>
                    <a:cubicBezTo>
                      <a:pt x="865" y="516"/>
                      <a:pt x="865" y="517"/>
                      <a:pt x="865" y="517"/>
                    </a:cubicBezTo>
                    <a:cubicBezTo>
                      <a:pt x="865" y="517"/>
                      <a:pt x="865" y="517"/>
                      <a:pt x="865" y="517"/>
                    </a:cubicBezTo>
                    <a:cubicBezTo>
                      <a:pt x="864" y="518"/>
                      <a:pt x="864" y="519"/>
                      <a:pt x="863" y="521"/>
                    </a:cubicBezTo>
                    <a:cubicBezTo>
                      <a:pt x="865" y="520"/>
                      <a:pt x="868" y="519"/>
                      <a:pt x="870" y="518"/>
                    </a:cubicBezTo>
                    <a:cubicBezTo>
                      <a:pt x="871" y="516"/>
                      <a:pt x="870" y="515"/>
                      <a:pt x="871" y="513"/>
                    </a:cubicBezTo>
                    <a:cubicBezTo>
                      <a:pt x="872" y="514"/>
                      <a:pt x="873" y="514"/>
                      <a:pt x="873" y="515"/>
                    </a:cubicBezTo>
                    <a:cubicBezTo>
                      <a:pt x="874" y="514"/>
                      <a:pt x="874" y="513"/>
                      <a:pt x="875" y="513"/>
                    </a:cubicBezTo>
                    <a:cubicBezTo>
                      <a:pt x="876" y="513"/>
                      <a:pt x="877" y="515"/>
                      <a:pt x="877" y="517"/>
                    </a:cubicBezTo>
                    <a:cubicBezTo>
                      <a:pt x="877" y="517"/>
                      <a:pt x="877" y="517"/>
                      <a:pt x="877" y="517"/>
                    </a:cubicBezTo>
                    <a:cubicBezTo>
                      <a:pt x="875" y="517"/>
                      <a:pt x="872" y="518"/>
                      <a:pt x="871" y="519"/>
                    </a:cubicBezTo>
                    <a:cubicBezTo>
                      <a:pt x="879" y="517"/>
                      <a:pt x="887" y="516"/>
                      <a:pt x="895" y="516"/>
                    </a:cubicBezTo>
                    <a:cubicBezTo>
                      <a:pt x="895" y="517"/>
                      <a:pt x="895" y="516"/>
                      <a:pt x="896" y="517"/>
                    </a:cubicBezTo>
                    <a:cubicBezTo>
                      <a:pt x="895" y="517"/>
                      <a:pt x="893" y="517"/>
                      <a:pt x="892" y="517"/>
                    </a:cubicBezTo>
                    <a:cubicBezTo>
                      <a:pt x="892" y="517"/>
                      <a:pt x="892" y="517"/>
                      <a:pt x="892" y="517"/>
                    </a:cubicBezTo>
                    <a:cubicBezTo>
                      <a:pt x="893" y="517"/>
                      <a:pt x="893" y="517"/>
                      <a:pt x="893" y="517"/>
                    </a:cubicBezTo>
                    <a:cubicBezTo>
                      <a:pt x="892" y="517"/>
                      <a:pt x="891" y="517"/>
                      <a:pt x="891" y="517"/>
                    </a:cubicBezTo>
                    <a:cubicBezTo>
                      <a:pt x="890" y="517"/>
                      <a:pt x="893" y="519"/>
                      <a:pt x="894" y="520"/>
                    </a:cubicBezTo>
                    <a:cubicBezTo>
                      <a:pt x="895" y="520"/>
                      <a:pt x="902" y="525"/>
                      <a:pt x="904" y="525"/>
                    </a:cubicBezTo>
                    <a:cubicBezTo>
                      <a:pt x="904" y="525"/>
                      <a:pt x="905" y="525"/>
                      <a:pt x="905" y="524"/>
                    </a:cubicBezTo>
                    <a:cubicBezTo>
                      <a:pt x="906" y="524"/>
                      <a:pt x="903" y="522"/>
                      <a:pt x="902" y="522"/>
                    </a:cubicBezTo>
                    <a:cubicBezTo>
                      <a:pt x="903" y="521"/>
                      <a:pt x="906" y="520"/>
                      <a:pt x="908" y="520"/>
                    </a:cubicBezTo>
                    <a:cubicBezTo>
                      <a:pt x="908" y="520"/>
                      <a:pt x="908" y="520"/>
                      <a:pt x="908" y="521"/>
                    </a:cubicBezTo>
                    <a:cubicBezTo>
                      <a:pt x="908" y="521"/>
                      <a:pt x="906" y="522"/>
                      <a:pt x="906" y="522"/>
                    </a:cubicBezTo>
                    <a:cubicBezTo>
                      <a:pt x="906" y="522"/>
                      <a:pt x="912" y="526"/>
                      <a:pt x="912" y="527"/>
                    </a:cubicBezTo>
                    <a:cubicBezTo>
                      <a:pt x="911" y="527"/>
                      <a:pt x="908" y="525"/>
                      <a:pt x="907" y="525"/>
                    </a:cubicBezTo>
                    <a:cubicBezTo>
                      <a:pt x="906" y="525"/>
                      <a:pt x="906" y="525"/>
                      <a:pt x="906" y="525"/>
                    </a:cubicBezTo>
                    <a:cubicBezTo>
                      <a:pt x="907" y="526"/>
                      <a:pt x="908" y="527"/>
                      <a:pt x="909" y="527"/>
                    </a:cubicBezTo>
                    <a:cubicBezTo>
                      <a:pt x="908" y="527"/>
                      <a:pt x="908" y="527"/>
                      <a:pt x="908" y="527"/>
                    </a:cubicBezTo>
                    <a:cubicBezTo>
                      <a:pt x="909" y="529"/>
                      <a:pt x="911" y="529"/>
                      <a:pt x="913" y="530"/>
                    </a:cubicBezTo>
                    <a:cubicBezTo>
                      <a:pt x="913" y="531"/>
                      <a:pt x="913" y="531"/>
                      <a:pt x="914" y="532"/>
                    </a:cubicBezTo>
                    <a:cubicBezTo>
                      <a:pt x="915" y="534"/>
                      <a:pt x="916" y="535"/>
                      <a:pt x="917" y="535"/>
                    </a:cubicBezTo>
                    <a:cubicBezTo>
                      <a:pt x="917" y="535"/>
                      <a:pt x="918" y="535"/>
                      <a:pt x="919" y="534"/>
                    </a:cubicBezTo>
                    <a:cubicBezTo>
                      <a:pt x="918" y="535"/>
                      <a:pt x="917" y="535"/>
                      <a:pt x="916" y="536"/>
                    </a:cubicBezTo>
                    <a:cubicBezTo>
                      <a:pt x="924" y="533"/>
                      <a:pt x="931" y="530"/>
                      <a:pt x="938" y="528"/>
                    </a:cubicBezTo>
                    <a:cubicBezTo>
                      <a:pt x="941" y="527"/>
                      <a:pt x="942" y="526"/>
                      <a:pt x="944" y="526"/>
                    </a:cubicBezTo>
                    <a:cubicBezTo>
                      <a:pt x="944" y="526"/>
                      <a:pt x="945" y="526"/>
                      <a:pt x="946" y="526"/>
                    </a:cubicBezTo>
                    <a:cubicBezTo>
                      <a:pt x="948" y="527"/>
                      <a:pt x="951" y="529"/>
                      <a:pt x="953" y="531"/>
                    </a:cubicBezTo>
                    <a:cubicBezTo>
                      <a:pt x="954" y="532"/>
                      <a:pt x="955" y="534"/>
                      <a:pt x="957" y="536"/>
                    </a:cubicBezTo>
                    <a:cubicBezTo>
                      <a:pt x="958" y="537"/>
                      <a:pt x="958" y="537"/>
                      <a:pt x="959" y="538"/>
                    </a:cubicBezTo>
                    <a:cubicBezTo>
                      <a:pt x="959" y="539"/>
                      <a:pt x="959" y="540"/>
                      <a:pt x="960" y="541"/>
                    </a:cubicBezTo>
                    <a:cubicBezTo>
                      <a:pt x="963" y="544"/>
                      <a:pt x="968" y="545"/>
                      <a:pt x="972" y="549"/>
                    </a:cubicBezTo>
                    <a:cubicBezTo>
                      <a:pt x="973" y="550"/>
                      <a:pt x="977" y="556"/>
                      <a:pt x="976" y="558"/>
                    </a:cubicBezTo>
                    <a:cubicBezTo>
                      <a:pt x="976" y="558"/>
                      <a:pt x="976" y="558"/>
                      <a:pt x="976" y="558"/>
                    </a:cubicBezTo>
                    <a:cubicBezTo>
                      <a:pt x="975" y="558"/>
                      <a:pt x="976" y="559"/>
                      <a:pt x="976" y="560"/>
                    </a:cubicBezTo>
                    <a:cubicBezTo>
                      <a:pt x="976" y="561"/>
                      <a:pt x="976" y="562"/>
                      <a:pt x="976" y="563"/>
                    </a:cubicBezTo>
                    <a:cubicBezTo>
                      <a:pt x="976" y="565"/>
                      <a:pt x="976" y="566"/>
                      <a:pt x="975" y="568"/>
                    </a:cubicBezTo>
                    <a:cubicBezTo>
                      <a:pt x="975" y="570"/>
                      <a:pt x="973" y="572"/>
                      <a:pt x="973" y="574"/>
                    </a:cubicBezTo>
                    <a:cubicBezTo>
                      <a:pt x="972" y="575"/>
                      <a:pt x="973" y="577"/>
                      <a:pt x="973" y="579"/>
                    </a:cubicBezTo>
                    <a:cubicBezTo>
                      <a:pt x="972" y="579"/>
                      <a:pt x="972" y="580"/>
                      <a:pt x="972" y="580"/>
                    </a:cubicBezTo>
                    <a:cubicBezTo>
                      <a:pt x="971" y="582"/>
                      <a:pt x="973" y="585"/>
                      <a:pt x="974" y="587"/>
                    </a:cubicBezTo>
                    <a:cubicBezTo>
                      <a:pt x="974" y="587"/>
                      <a:pt x="974" y="586"/>
                      <a:pt x="974" y="585"/>
                    </a:cubicBezTo>
                    <a:cubicBezTo>
                      <a:pt x="975" y="586"/>
                      <a:pt x="975" y="586"/>
                      <a:pt x="975" y="586"/>
                    </a:cubicBezTo>
                    <a:cubicBezTo>
                      <a:pt x="976" y="586"/>
                      <a:pt x="976" y="585"/>
                      <a:pt x="977" y="585"/>
                    </a:cubicBezTo>
                    <a:cubicBezTo>
                      <a:pt x="978" y="582"/>
                      <a:pt x="976" y="582"/>
                      <a:pt x="974" y="580"/>
                    </a:cubicBezTo>
                    <a:cubicBezTo>
                      <a:pt x="977" y="581"/>
                      <a:pt x="978" y="583"/>
                      <a:pt x="979" y="583"/>
                    </a:cubicBezTo>
                    <a:cubicBezTo>
                      <a:pt x="980" y="583"/>
                      <a:pt x="980" y="582"/>
                      <a:pt x="981" y="581"/>
                    </a:cubicBezTo>
                    <a:cubicBezTo>
                      <a:pt x="983" y="585"/>
                      <a:pt x="977" y="587"/>
                      <a:pt x="977" y="591"/>
                    </a:cubicBezTo>
                    <a:cubicBezTo>
                      <a:pt x="977" y="591"/>
                      <a:pt x="976" y="591"/>
                      <a:pt x="976" y="591"/>
                    </a:cubicBezTo>
                    <a:cubicBezTo>
                      <a:pt x="976" y="592"/>
                      <a:pt x="978" y="593"/>
                      <a:pt x="978" y="595"/>
                    </a:cubicBezTo>
                    <a:cubicBezTo>
                      <a:pt x="980" y="600"/>
                      <a:pt x="984" y="605"/>
                      <a:pt x="987" y="609"/>
                    </a:cubicBezTo>
                    <a:cubicBezTo>
                      <a:pt x="988" y="608"/>
                      <a:pt x="987" y="606"/>
                      <a:pt x="987" y="606"/>
                    </a:cubicBezTo>
                    <a:cubicBezTo>
                      <a:pt x="988" y="605"/>
                      <a:pt x="989" y="604"/>
                      <a:pt x="992" y="604"/>
                    </a:cubicBezTo>
                    <a:cubicBezTo>
                      <a:pt x="992" y="604"/>
                      <a:pt x="992" y="604"/>
                      <a:pt x="992" y="604"/>
                    </a:cubicBezTo>
                    <a:cubicBezTo>
                      <a:pt x="992" y="604"/>
                      <a:pt x="991" y="604"/>
                      <a:pt x="991" y="604"/>
                    </a:cubicBezTo>
                    <a:cubicBezTo>
                      <a:pt x="991" y="605"/>
                      <a:pt x="990" y="605"/>
                      <a:pt x="990" y="605"/>
                    </a:cubicBezTo>
                    <a:cubicBezTo>
                      <a:pt x="990" y="605"/>
                      <a:pt x="990" y="605"/>
                      <a:pt x="990" y="605"/>
                    </a:cubicBezTo>
                    <a:cubicBezTo>
                      <a:pt x="990" y="605"/>
                      <a:pt x="990" y="605"/>
                      <a:pt x="990" y="605"/>
                    </a:cubicBezTo>
                    <a:cubicBezTo>
                      <a:pt x="989" y="606"/>
                      <a:pt x="990" y="606"/>
                      <a:pt x="990" y="607"/>
                    </a:cubicBezTo>
                    <a:cubicBezTo>
                      <a:pt x="989" y="610"/>
                      <a:pt x="990" y="613"/>
                      <a:pt x="990" y="615"/>
                    </a:cubicBezTo>
                    <a:cubicBezTo>
                      <a:pt x="993" y="615"/>
                      <a:pt x="993" y="612"/>
                      <a:pt x="996" y="611"/>
                    </a:cubicBezTo>
                    <a:cubicBezTo>
                      <a:pt x="994" y="612"/>
                      <a:pt x="993" y="614"/>
                      <a:pt x="992" y="616"/>
                    </a:cubicBezTo>
                    <a:cubicBezTo>
                      <a:pt x="996" y="617"/>
                      <a:pt x="997" y="628"/>
                      <a:pt x="998" y="631"/>
                    </a:cubicBezTo>
                    <a:cubicBezTo>
                      <a:pt x="998" y="631"/>
                      <a:pt x="999" y="630"/>
                      <a:pt x="999" y="630"/>
                    </a:cubicBezTo>
                    <a:cubicBezTo>
                      <a:pt x="999" y="630"/>
                      <a:pt x="999" y="630"/>
                      <a:pt x="1000" y="630"/>
                    </a:cubicBezTo>
                    <a:cubicBezTo>
                      <a:pt x="1002" y="631"/>
                      <a:pt x="1006" y="636"/>
                      <a:pt x="1009" y="639"/>
                    </a:cubicBezTo>
                    <a:cubicBezTo>
                      <a:pt x="1010" y="640"/>
                      <a:pt x="1018" y="647"/>
                      <a:pt x="1015" y="648"/>
                    </a:cubicBezTo>
                    <a:cubicBezTo>
                      <a:pt x="1015" y="648"/>
                      <a:pt x="1015" y="648"/>
                      <a:pt x="1015" y="648"/>
                    </a:cubicBezTo>
                    <a:cubicBezTo>
                      <a:pt x="1015" y="648"/>
                      <a:pt x="1013" y="646"/>
                      <a:pt x="1012" y="646"/>
                    </a:cubicBezTo>
                    <a:cubicBezTo>
                      <a:pt x="1012" y="647"/>
                      <a:pt x="1012" y="649"/>
                      <a:pt x="1012" y="650"/>
                    </a:cubicBezTo>
                    <a:cubicBezTo>
                      <a:pt x="1014" y="650"/>
                      <a:pt x="1015" y="650"/>
                      <a:pt x="1016" y="649"/>
                    </a:cubicBezTo>
                    <a:cubicBezTo>
                      <a:pt x="1017" y="649"/>
                      <a:pt x="1017" y="649"/>
                      <a:pt x="1017" y="649"/>
                    </a:cubicBezTo>
                    <a:cubicBezTo>
                      <a:pt x="1017" y="649"/>
                      <a:pt x="1017" y="649"/>
                      <a:pt x="1017" y="649"/>
                    </a:cubicBezTo>
                    <a:cubicBezTo>
                      <a:pt x="1018" y="649"/>
                      <a:pt x="1019" y="649"/>
                      <a:pt x="1020" y="649"/>
                    </a:cubicBezTo>
                    <a:cubicBezTo>
                      <a:pt x="1020" y="649"/>
                      <a:pt x="1020" y="649"/>
                      <a:pt x="1020" y="649"/>
                    </a:cubicBezTo>
                    <a:cubicBezTo>
                      <a:pt x="1021" y="649"/>
                      <a:pt x="1022" y="649"/>
                      <a:pt x="1022" y="648"/>
                    </a:cubicBezTo>
                    <a:cubicBezTo>
                      <a:pt x="1023" y="648"/>
                      <a:pt x="1024" y="648"/>
                      <a:pt x="1024" y="648"/>
                    </a:cubicBezTo>
                    <a:cubicBezTo>
                      <a:pt x="1025" y="648"/>
                      <a:pt x="1026" y="648"/>
                      <a:pt x="1027" y="649"/>
                    </a:cubicBezTo>
                    <a:cubicBezTo>
                      <a:pt x="1026" y="647"/>
                      <a:pt x="1026" y="647"/>
                      <a:pt x="1026" y="647"/>
                    </a:cubicBezTo>
                    <a:cubicBezTo>
                      <a:pt x="1026" y="648"/>
                      <a:pt x="1028" y="648"/>
                      <a:pt x="1028" y="648"/>
                    </a:cubicBezTo>
                    <a:cubicBezTo>
                      <a:pt x="1027" y="647"/>
                      <a:pt x="1028" y="647"/>
                      <a:pt x="1028" y="646"/>
                    </a:cubicBezTo>
                    <a:cubicBezTo>
                      <a:pt x="1030" y="643"/>
                      <a:pt x="1031" y="641"/>
                      <a:pt x="1033" y="638"/>
                    </a:cubicBezTo>
                    <a:cubicBezTo>
                      <a:pt x="1036" y="630"/>
                      <a:pt x="1036" y="621"/>
                      <a:pt x="1036" y="612"/>
                    </a:cubicBezTo>
                    <a:cubicBezTo>
                      <a:pt x="1037" y="606"/>
                      <a:pt x="1036" y="600"/>
                      <a:pt x="1030" y="597"/>
                    </a:cubicBezTo>
                    <a:cubicBezTo>
                      <a:pt x="1031" y="598"/>
                      <a:pt x="1032" y="598"/>
                      <a:pt x="1033" y="599"/>
                    </a:cubicBezTo>
                    <a:cubicBezTo>
                      <a:pt x="1030" y="595"/>
                      <a:pt x="1030" y="590"/>
                      <a:pt x="1028" y="586"/>
                    </a:cubicBezTo>
                    <a:cubicBezTo>
                      <a:pt x="1027" y="582"/>
                      <a:pt x="1024" y="579"/>
                      <a:pt x="1023" y="575"/>
                    </a:cubicBezTo>
                    <a:cubicBezTo>
                      <a:pt x="1021" y="570"/>
                      <a:pt x="1019" y="564"/>
                      <a:pt x="1018" y="559"/>
                    </a:cubicBezTo>
                    <a:cubicBezTo>
                      <a:pt x="1019" y="559"/>
                      <a:pt x="1019" y="564"/>
                      <a:pt x="1021" y="564"/>
                    </a:cubicBezTo>
                    <a:cubicBezTo>
                      <a:pt x="1021" y="564"/>
                      <a:pt x="1022" y="563"/>
                      <a:pt x="1022" y="563"/>
                    </a:cubicBezTo>
                    <a:cubicBezTo>
                      <a:pt x="1023" y="566"/>
                      <a:pt x="1023" y="570"/>
                      <a:pt x="1023" y="573"/>
                    </a:cubicBezTo>
                    <a:cubicBezTo>
                      <a:pt x="1026" y="565"/>
                      <a:pt x="1024" y="564"/>
                      <a:pt x="1020" y="558"/>
                    </a:cubicBezTo>
                    <a:cubicBezTo>
                      <a:pt x="1018" y="554"/>
                      <a:pt x="1016" y="551"/>
                      <a:pt x="1014" y="547"/>
                    </a:cubicBezTo>
                    <a:cubicBezTo>
                      <a:pt x="1013" y="545"/>
                      <a:pt x="1012" y="542"/>
                      <a:pt x="1011" y="539"/>
                    </a:cubicBezTo>
                    <a:cubicBezTo>
                      <a:pt x="1009" y="535"/>
                      <a:pt x="1008" y="530"/>
                      <a:pt x="1007" y="526"/>
                    </a:cubicBezTo>
                    <a:cubicBezTo>
                      <a:pt x="1005" y="522"/>
                      <a:pt x="1003" y="517"/>
                      <a:pt x="1003" y="512"/>
                    </a:cubicBezTo>
                    <a:cubicBezTo>
                      <a:pt x="1002" y="508"/>
                      <a:pt x="1001" y="502"/>
                      <a:pt x="1003" y="499"/>
                    </a:cubicBezTo>
                    <a:cubicBezTo>
                      <a:pt x="1003" y="498"/>
                      <a:pt x="1004" y="497"/>
                      <a:pt x="1004" y="497"/>
                    </a:cubicBezTo>
                    <a:cubicBezTo>
                      <a:pt x="1004" y="497"/>
                      <a:pt x="1005" y="497"/>
                      <a:pt x="1005" y="498"/>
                    </a:cubicBezTo>
                    <a:cubicBezTo>
                      <a:pt x="1011" y="495"/>
                      <a:pt x="1006" y="495"/>
                      <a:pt x="1003" y="493"/>
                    </a:cubicBezTo>
                    <a:cubicBezTo>
                      <a:pt x="1005" y="494"/>
                      <a:pt x="1005" y="494"/>
                      <a:pt x="1005" y="494"/>
                    </a:cubicBezTo>
                    <a:cubicBezTo>
                      <a:pt x="1006" y="493"/>
                      <a:pt x="1006" y="492"/>
                      <a:pt x="1007" y="491"/>
                    </a:cubicBezTo>
                    <a:cubicBezTo>
                      <a:pt x="1008" y="490"/>
                      <a:pt x="1009" y="490"/>
                      <a:pt x="1010" y="489"/>
                    </a:cubicBezTo>
                    <a:cubicBezTo>
                      <a:pt x="1009" y="489"/>
                      <a:pt x="1008" y="489"/>
                      <a:pt x="1008" y="490"/>
                    </a:cubicBezTo>
                    <a:cubicBezTo>
                      <a:pt x="1008" y="487"/>
                      <a:pt x="1009" y="485"/>
                      <a:pt x="1008" y="483"/>
                    </a:cubicBezTo>
                    <a:cubicBezTo>
                      <a:pt x="1009" y="483"/>
                      <a:pt x="1010" y="484"/>
                      <a:pt x="1011" y="484"/>
                    </a:cubicBezTo>
                    <a:cubicBezTo>
                      <a:pt x="1011" y="484"/>
                      <a:pt x="1011" y="484"/>
                      <a:pt x="1011" y="484"/>
                    </a:cubicBezTo>
                    <a:cubicBezTo>
                      <a:pt x="1013" y="483"/>
                      <a:pt x="1014" y="479"/>
                      <a:pt x="1015" y="478"/>
                    </a:cubicBezTo>
                    <a:cubicBezTo>
                      <a:pt x="1017" y="476"/>
                      <a:pt x="1022" y="472"/>
                      <a:pt x="1022" y="471"/>
                    </a:cubicBezTo>
                    <a:cubicBezTo>
                      <a:pt x="1022" y="470"/>
                      <a:pt x="1020" y="470"/>
                      <a:pt x="1020" y="470"/>
                    </a:cubicBezTo>
                    <a:cubicBezTo>
                      <a:pt x="1019" y="468"/>
                      <a:pt x="1018" y="465"/>
                      <a:pt x="1018" y="463"/>
                    </a:cubicBezTo>
                    <a:cubicBezTo>
                      <a:pt x="1018" y="463"/>
                      <a:pt x="1019" y="464"/>
                      <a:pt x="1019" y="464"/>
                    </a:cubicBezTo>
                    <a:cubicBezTo>
                      <a:pt x="1019" y="465"/>
                      <a:pt x="1019" y="466"/>
                      <a:pt x="1019" y="466"/>
                    </a:cubicBezTo>
                    <a:cubicBezTo>
                      <a:pt x="1020" y="466"/>
                      <a:pt x="1020" y="466"/>
                      <a:pt x="1021" y="466"/>
                    </a:cubicBezTo>
                    <a:cubicBezTo>
                      <a:pt x="1021" y="465"/>
                      <a:pt x="1021" y="465"/>
                      <a:pt x="1022" y="465"/>
                    </a:cubicBezTo>
                    <a:cubicBezTo>
                      <a:pt x="1022" y="465"/>
                      <a:pt x="1023" y="466"/>
                      <a:pt x="1022" y="467"/>
                    </a:cubicBezTo>
                    <a:cubicBezTo>
                      <a:pt x="1023" y="467"/>
                      <a:pt x="1023" y="467"/>
                      <a:pt x="1023" y="467"/>
                    </a:cubicBezTo>
                    <a:cubicBezTo>
                      <a:pt x="1023" y="468"/>
                      <a:pt x="1023" y="468"/>
                      <a:pt x="1023" y="468"/>
                    </a:cubicBezTo>
                    <a:cubicBezTo>
                      <a:pt x="1023" y="468"/>
                      <a:pt x="1024" y="468"/>
                      <a:pt x="1024" y="468"/>
                    </a:cubicBezTo>
                    <a:cubicBezTo>
                      <a:pt x="1026" y="468"/>
                      <a:pt x="1027" y="468"/>
                      <a:pt x="1027" y="466"/>
                    </a:cubicBezTo>
                    <a:cubicBezTo>
                      <a:pt x="1027" y="467"/>
                      <a:pt x="1027" y="467"/>
                      <a:pt x="1027" y="467"/>
                    </a:cubicBezTo>
                    <a:cubicBezTo>
                      <a:pt x="1028" y="464"/>
                      <a:pt x="1024" y="465"/>
                      <a:pt x="1022" y="463"/>
                    </a:cubicBezTo>
                    <a:cubicBezTo>
                      <a:pt x="1022" y="463"/>
                      <a:pt x="1022" y="463"/>
                      <a:pt x="1023" y="463"/>
                    </a:cubicBezTo>
                    <a:cubicBezTo>
                      <a:pt x="1024" y="463"/>
                      <a:pt x="1025" y="463"/>
                      <a:pt x="1025" y="463"/>
                    </a:cubicBezTo>
                    <a:cubicBezTo>
                      <a:pt x="1025" y="463"/>
                      <a:pt x="1025" y="463"/>
                      <a:pt x="1025" y="463"/>
                    </a:cubicBezTo>
                    <a:cubicBezTo>
                      <a:pt x="1025" y="463"/>
                      <a:pt x="1026" y="463"/>
                      <a:pt x="1026" y="463"/>
                    </a:cubicBezTo>
                    <a:cubicBezTo>
                      <a:pt x="1026" y="464"/>
                      <a:pt x="1026" y="464"/>
                      <a:pt x="1027" y="464"/>
                    </a:cubicBezTo>
                    <a:cubicBezTo>
                      <a:pt x="1027" y="464"/>
                      <a:pt x="1027" y="464"/>
                      <a:pt x="1027" y="464"/>
                    </a:cubicBezTo>
                    <a:cubicBezTo>
                      <a:pt x="1028" y="464"/>
                      <a:pt x="1030" y="462"/>
                      <a:pt x="1031" y="461"/>
                    </a:cubicBezTo>
                    <a:cubicBezTo>
                      <a:pt x="1032" y="460"/>
                      <a:pt x="1035" y="461"/>
                      <a:pt x="1036" y="460"/>
                    </a:cubicBezTo>
                    <a:cubicBezTo>
                      <a:pt x="1037" y="460"/>
                      <a:pt x="1037" y="460"/>
                      <a:pt x="1037" y="459"/>
                    </a:cubicBezTo>
                    <a:cubicBezTo>
                      <a:pt x="1037" y="460"/>
                      <a:pt x="1037" y="460"/>
                      <a:pt x="1037" y="460"/>
                    </a:cubicBezTo>
                    <a:cubicBezTo>
                      <a:pt x="1038" y="458"/>
                      <a:pt x="1039" y="457"/>
                      <a:pt x="1039" y="455"/>
                    </a:cubicBezTo>
                    <a:cubicBezTo>
                      <a:pt x="1040" y="456"/>
                      <a:pt x="1040" y="457"/>
                      <a:pt x="1041" y="457"/>
                    </a:cubicBezTo>
                    <a:cubicBezTo>
                      <a:pt x="1041" y="457"/>
                      <a:pt x="1042" y="457"/>
                      <a:pt x="1043" y="457"/>
                    </a:cubicBezTo>
                    <a:cubicBezTo>
                      <a:pt x="1045" y="456"/>
                      <a:pt x="1048" y="452"/>
                      <a:pt x="1050" y="451"/>
                    </a:cubicBezTo>
                    <a:cubicBezTo>
                      <a:pt x="1052" y="450"/>
                      <a:pt x="1058" y="448"/>
                      <a:pt x="1055" y="445"/>
                    </a:cubicBezTo>
                    <a:cubicBezTo>
                      <a:pt x="1054" y="444"/>
                      <a:pt x="1053" y="443"/>
                      <a:pt x="1054" y="441"/>
                    </a:cubicBezTo>
                    <a:cubicBezTo>
                      <a:pt x="1056" y="442"/>
                      <a:pt x="1056" y="444"/>
                      <a:pt x="1056" y="445"/>
                    </a:cubicBezTo>
                    <a:cubicBezTo>
                      <a:pt x="1058" y="441"/>
                      <a:pt x="1058" y="439"/>
                      <a:pt x="1062" y="435"/>
                    </a:cubicBezTo>
                    <a:cubicBezTo>
                      <a:pt x="1064" y="433"/>
                      <a:pt x="1067" y="431"/>
                      <a:pt x="1070" y="428"/>
                    </a:cubicBezTo>
                    <a:cubicBezTo>
                      <a:pt x="1071" y="428"/>
                      <a:pt x="1073" y="427"/>
                      <a:pt x="1075" y="427"/>
                    </a:cubicBezTo>
                    <a:cubicBezTo>
                      <a:pt x="1076" y="427"/>
                      <a:pt x="1077" y="428"/>
                      <a:pt x="1078" y="428"/>
                    </a:cubicBezTo>
                    <a:cubicBezTo>
                      <a:pt x="1079" y="428"/>
                      <a:pt x="1080" y="428"/>
                      <a:pt x="1081" y="428"/>
                    </a:cubicBezTo>
                    <a:cubicBezTo>
                      <a:pt x="1081" y="428"/>
                      <a:pt x="1081" y="428"/>
                      <a:pt x="1081" y="428"/>
                    </a:cubicBezTo>
                    <a:cubicBezTo>
                      <a:pt x="1086" y="428"/>
                      <a:pt x="1085" y="424"/>
                      <a:pt x="1085" y="420"/>
                    </a:cubicBezTo>
                    <a:cubicBezTo>
                      <a:pt x="1086" y="422"/>
                      <a:pt x="1086" y="424"/>
                      <a:pt x="1086" y="427"/>
                    </a:cubicBezTo>
                    <a:cubicBezTo>
                      <a:pt x="1086" y="425"/>
                      <a:pt x="1086" y="424"/>
                      <a:pt x="1087" y="423"/>
                    </a:cubicBezTo>
                    <a:cubicBezTo>
                      <a:pt x="1088" y="419"/>
                      <a:pt x="1093" y="416"/>
                      <a:pt x="1097" y="413"/>
                    </a:cubicBezTo>
                    <a:cubicBezTo>
                      <a:pt x="1096" y="413"/>
                      <a:pt x="1096" y="413"/>
                      <a:pt x="1096" y="413"/>
                    </a:cubicBezTo>
                    <a:cubicBezTo>
                      <a:pt x="1097" y="413"/>
                      <a:pt x="1097" y="412"/>
                      <a:pt x="1098" y="412"/>
                    </a:cubicBezTo>
                    <a:cubicBezTo>
                      <a:pt x="1097" y="412"/>
                      <a:pt x="1097" y="412"/>
                      <a:pt x="1097" y="412"/>
                    </a:cubicBezTo>
                    <a:cubicBezTo>
                      <a:pt x="1098" y="411"/>
                      <a:pt x="1099" y="410"/>
                      <a:pt x="1097" y="410"/>
                    </a:cubicBezTo>
                    <a:cubicBezTo>
                      <a:pt x="1099" y="408"/>
                      <a:pt x="1098" y="407"/>
                      <a:pt x="1097" y="405"/>
                    </a:cubicBezTo>
                    <a:cubicBezTo>
                      <a:pt x="1098" y="406"/>
                      <a:pt x="1098" y="407"/>
                      <a:pt x="1098" y="407"/>
                    </a:cubicBezTo>
                    <a:cubicBezTo>
                      <a:pt x="1099" y="407"/>
                      <a:pt x="1102" y="405"/>
                      <a:pt x="1103" y="405"/>
                    </a:cubicBezTo>
                    <a:cubicBezTo>
                      <a:pt x="1104" y="405"/>
                      <a:pt x="1104" y="405"/>
                      <a:pt x="1104" y="405"/>
                    </a:cubicBezTo>
                    <a:cubicBezTo>
                      <a:pt x="1106" y="406"/>
                      <a:pt x="1104" y="407"/>
                      <a:pt x="1106" y="407"/>
                    </a:cubicBezTo>
                    <a:cubicBezTo>
                      <a:pt x="1106" y="407"/>
                      <a:pt x="1106" y="407"/>
                      <a:pt x="1107" y="407"/>
                    </a:cubicBezTo>
                    <a:cubicBezTo>
                      <a:pt x="1109" y="407"/>
                      <a:pt x="1111" y="405"/>
                      <a:pt x="1113" y="405"/>
                    </a:cubicBezTo>
                    <a:cubicBezTo>
                      <a:pt x="1116" y="404"/>
                      <a:pt x="1122" y="403"/>
                      <a:pt x="1123" y="400"/>
                    </a:cubicBezTo>
                    <a:cubicBezTo>
                      <a:pt x="1124" y="400"/>
                      <a:pt x="1124" y="399"/>
                      <a:pt x="1123" y="399"/>
                    </a:cubicBezTo>
                    <a:cubicBezTo>
                      <a:pt x="1122" y="399"/>
                      <a:pt x="1120" y="400"/>
                      <a:pt x="1120" y="401"/>
                    </a:cubicBezTo>
                    <a:cubicBezTo>
                      <a:pt x="1121" y="399"/>
                      <a:pt x="1121" y="399"/>
                      <a:pt x="1120" y="399"/>
                    </a:cubicBezTo>
                    <a:cubicBezTo>
                      <a:pt x="1119" y="399"/>
                      <a:pt x="1118" y="400"/>
                      <a:pt x="1117" y="400"/>
                    </a:cubicBezTo>
                    <a:cubicBezTo>
                      <a:pt x="1117" y="400"/>
                      <a:pt x="1117" y="400"/>
                      <a:pt x="1117" y="400"/>
                    </a:cubicBezTo>
                    <a:cubicBezTo>
                      <a:pt x="1117" y="400"/>
                      <a:pt x="1117" y="400"/>
                      <a:pt x="1116" y="400"/>
                    </a:cubicBezTo>
                    <a:cubicBezTo>
                      <a:pt x="1116" y="400"/>
                      <a:pt x="1116" y="399"/>
                      <a:pt x="1115" y="399"/>
                    </a:cubicBezTo>
                    <a:cubicBezTo>
                      <a:pt x="1115" y="399"/>
                      <a:pt x="1115" y="399"/>
                      <a:pt x="1115" y="399"/>
                    </a:cubicBezTo>
                    <a:cubicBezTo>
                      <a:pt x="1114" y="400"/>
                      <a:pt x="1114" y="401"/>
                      <a:pt x="1113" y="401"/>
                    </a:cubicBezTo>
                    <a:cubicBezTo>
                      <a:pt x="1112" y="401"/>
                      <a:pt x="1112" y="401"/>
                      <a:pt x="1112" y="401"/>
                    </a:cubicBezTo>
                    <a:cubicBezTo>
                      <a:pt x="1109" y="401"/>
                      <a:pt x="1107" y="398"/>
                      <a:pt x="1106" y="395"/>
                    </a:cubicBezTo>
                    <a:cubicBezTo>
                      <a:pt x="1106" y="395"/>
                      <a:pt x="1106" y="395"/>
                      <a:pt x="1106" y="395"/>
                    </a:cubicBezTo>
                    <a:cubicBezTo>
                      <a:pt x="1107" y="397"/>
                      <a:pt x="1108" y="398"/>
                      <a:pt x="1110" y="398"/>
                    </a:cubicBezTo>
                    <a:cubicBezTo>
                      <a:pt x="1111" y="398"/>
                      <a:pt x="1111" y="398"/>
                      <a:pt x="1112" y="397"/>
                    </a:cubicBezTo>
                    <a:cubicBezTo>
                      <a:pt x="1115" y="397"/>
                      <a:pt x="1122" y="394"/>
                      <a:pt x="1118" y="391"/>
                    </a:cubicBezTo>
                    <a:cubicBezTo>
                      <a:pt x="1114" y="388"/>
                      <a:pt x="1109" y="389"/>
                      <a:pt x="1106" y="385"/>
                    </a:cubicBezTo>
                    <a:cubicBezTo>
                      <a:pt x="1109" y="387"/>
                      <a:pt x="1113" y="387"/>
                      <a:pt x="1117" y="388"/>
                    </a:cubicBezTo>
                    <a:cubicBezTo>
                      <a:pt x="1116" y="387"/>
                      <a:pt x="1116" y="385"/>
                      <a:pt x="1117" y="384"/>
                    </a:cubicBezTo>
                    <a:cubicBezTo>
                      <a:pt x="1117" y="384"/>
                      <a:pt x="1117" y="384"/>
                      <a:pt x="1117" y="384"/>
                    </a:cubicBezTo>
                    <a:cubicBezTo>
                      <a:pt x="1117" y="384"/>
                      <a:pt x="1117" y="385"/>
                      <a:pt x="1117" y="385"/>
                    </a:cubicBezTo>
                    <a:cubicBezTo>
                      <a:pt x="1117" y="385"/>
                      <a:pt x="1117" y="386"/>
                      <a:pt x="1117" y="386"/>
                    </a:cubicBezTo>
                    <a:cubicBezTo>
                      <a:pt x="1117" y="386"/>
                      <a:pt x="1117" y="386"/>
                      <a:pt x="1117" y="386"/>
                    </a:cubicBezTo>
                    <a:cubicBezTo>
                      <a:pt x="1118" y="387"/>
                      <a:pt x="1118" y="387"/>
                      <a:pt x="1118" y="388"/>
                    </a:cubicBezTo>
                    <a:cubicBezTo>
                      <a:pt x="1119" y="387"/>
                      <a:pt x="1120" y="387"/>
                      <a:pt x="1120" y="387"/>
                    </a:cubicBezTo>
                    <a:cubicBezTo>
                      <a:pt x="1121" y="387"/>
                      <a:pt x="1121" y="387"/>
                      <a:pt x="1121" y="388"/>
                    </a:cubicBezTo>
                    <a:cubicBezTo>
                      <a:pt x="1126" y="388"/>
                      <a:pt x="1139" y="384"/>
                      <a:pt x="1137" y="377"/>
                    </a:cubicBezTo>
                    <a:cubicBezTo>
                      <a:pt x="1136" y="375"/>
                      <a:pt x="1135" y="375"/>
                      <a:pt x="1134" y="375"/>
                    </a:cubicBezTo>
                    <a:cubicBezTo>
                      <a:pt x="1133" y="375"/>
                      <a:pt x="1133" y="375"/>
                      <a:pt x="1132" y="375"/>
                    </a:cubicBezTo>
                    <a:cubicBezTo>
                      <a:pt x="1130" y="375"/>
                      <a:pt x="1130" y="380"/>
                      <a:pt x="1129" y="382"/>
                    </a:cubicBezTo>
                    <a:cubicBezTo>
                      <a:pt x="1129" y="380"/>
                      <a:pt x="1128" y="376"/>
                      <a:pt x="1130" y="374"/>
                    </a:cubicBezTo>
                    <a:cubicBezTo>
                      <a:pt x="1129" y="374"/>
                      <a:pt x="1129" y="374"/>
                      <a:pt x="1129" y="374"/>
                    </a:cubicBezTo>
                    <a:cubicBezTo>
                      <a:pt x="1130" y="373"/>
                      <a:pt x="1128" y="372"/>
                      <a:pt x="1127" y="372"/>
                    </a:cubicBezTo>
                    <a:cubicBezTo>
                      <a:pt x="1127" y="372"/>
                      <a:pt x="1126" y="372"/>
                      <a:pt x="1126" y="373"/>
                    </a:cubicBezTo>
                    <a:cubicBezTo>
                      <a:pt x="1125" y="373"/>
                      <a:pt x="1125" y="374"/>
                      <a:pt x="1124" y="374"/>
                    </a:cubicBezTo>
                    <a:cubicBezTo>
                      <a:pt x="1124" y="374"/>
                      <a:pt x="1123" y="374"/>
                      <a:pt x="1123" y="374"/>
                    </a:cubicBezTo>
                    <a:cubicBezTo>
                      <a:pt x="1123" y="374"/>
                      <a:pt x="1123" y="374"/>
                      <a:pt x="1123" y="374"/>
                    </a:cubicBezTo>
                    <a:cubicBezTo>
                      <a:pt x="1122" y="374"/>
                      <a:pt x="1122" y="374"/>
                      <a:pt x="1122" y="374"/>
                    </a:cubicBezTo>
                    <a:cubicBezTo>
                      <a:pt x="1122" y="374"/>
                      <a:pt x="1121" y="374"/>
                      <a:pt x="1121" y="374"/>
                    </a:cubicBezTo>
                    <a:cubicBezTo>
                      <a:pt x="1121" y="374"/>
                      <a:pt x="1121" y="373"/>
                      <a:pt x="1120" y="373"/>
                    </a:cubicBezTo>
                    <a:cubicBezTo>
                      <a:pt x="1119" y="373"/>
                      <a:pt x="1118" y="374"/>
                      <a:pt x="1117" y="374"/>
                    </a:cubicBezTo>
                    <a:cubicBezTo>
                      <a:pt x="1116" y="374"/>
                      <a:pt x="1115" y="374"/>
                      <a:pt x="1114" y="374"/>
                    </a:cubicBezTo>
                    <a:cubicBezTo>
                      <a:pt x="1114" y="374"/>
                      <a:pt x="1114" y="374"/>
                      <a:pt x="1114" y="374"/>
                    </a:cubicBezTo>
                    <a:cubicBezTo>
                      <a:pt x="1115" y="372"/>
                      <a:pt x="1113" y="371"/>
                      <a:pt x="1113" y="369"/>
                    </a:cubicBezTo>
                    <a:cubicBezTo>
                      <a:pt x="1113" y="369"/>
                      <a:pt x="1114" y="364"/>
                      <a:pt x="1114" y="364"/>
                    </a:cubicBezTo>
                    <a:cubicBezTo>
                      <a:pt x="1114" y="364"/>
                      <a:pt x="1114" y="364"/>
                      <a:pt x="1114" y="364"/>
                    </a:cubicBezTo>
                    <a:cubicBezTo>
                      <a:pt x="1115" y="366"/>
                      <a:pt x="1114" y="366"/>
                      <a:pt x="1114" y="367"/>
                    </a:cubicBezTo>
                    <a:cubicBezTo>
                      <a:pt x="1114" y="370"/>
                      <a:pt x="1115" y="372"/>
                      <a:pt x="1117" y="372"/>
                    </a:cubicBezTo>
                    <a:cubicBezTo>
                      <a:pt x="1119" y="372"/>
                      <a:pt x="1121" y="371"/>
                      <a:pt x="1123" y="370"/>
                    </a:cubicBezTo>
                    <a:cubicBezTo>
                      <a:pt x="1122" y="369"/>
                      <a:pt x="1120" y="368"/>
                      <a:pt x="1120" y="367"/>
                    </a:cubicBezTo>
                    <a:cubicBezTo>
                      <a:pt x="1122" y="368"/>
                      <a:pt x="1123" y="369"/>
                      <a:pt x="1126" y="370"/>
                    </a:cubicBezTo>
                    <a:cubicBezTo>
                      <a:pt x="1125" y="369"/>
                      <a:pt x="1124" y="368"/>
                      <a:pt x="1124" y="367"/>
                    </a:cubicBezTo>
                    <a:cubicBezTo>
                      <a:pt x="1125" y="368"/>
                      <a:pt x="1126" y="368"/>
                      <a:pt x="1127" y="368"/>
                    </a:cubicBezTo>
                    <a:cubicBezTo>
                      <a:pt x="1128" y="368"/>
                      <a:pt x="1128" y="368"/>
                      <a:pt x="1129" y="368"/>
                    </a:cubicBezTo>
                    <a:cubicBezTo>
                      <a:pt x="1128" y="367"/>
                      <a:pt x="1126" y="365"/>
                      <a:pt x="1126" y="364"/>
                    </a:cubicBezTo>
                    <a:cubicBezTo>
                      <a:pt x="1126" y="364"/>
                      <a:pt x="1126" y="364"/>
                      <a:pt x="1126" y="364"/>
                    </a:cubicBezTo>
                    <a:cubicBezTo>
                      <a:pt x="1127" y="365"/>
                      <a:pt x="1130" y="368"/>
                      <a:pt x="1132" y="368"/>
                    </a:cubicBezTo>
                    <a:cubicBezTo>
                      <a:pt x="1131" y="367"/>
                      <a:pt x="1131" y="366"/>
                      <a:pt x="1131" y="364"/>
                    </a:cubicBezTo>
                    <a:cubicBezTo>
                      <a:pt x="1132" y="366"/>
                      <a:pt x="1133" y="369"/>
                      <a:pt x="1135" y="370"/>
                    </a:cubicBezTo>
                    <a:cubicBezTo>
                      <a:pt x="1134" y="366"/>
                      <a:pt x="1131" y="362"/>
                      <a:pt x="1130" y="358"/>
                    </a:cubicBezTo>
                    <a:cubicBezTo>
                      <a:pt x="1130" y="358"/>
                      <a:pt x="1130" y="358"/>
                      <a:pt x="1130" y="358"/>
                    </a:cubicBezTo>
                    <a:cubicBezTo>
                      <a:pt x="1132" y="358"/>
                      <a:pt x="1131" y="355"/>
                      <a:pt x="1132" y="353"/>
                    </a:cubicBezTo>
                    <a:cubicBezTo>
                      <a:pt x="1133" y="356"/>
                      <a:pt x="1133" y="359"/>
                      <a:pt x="1134" y="361"/>
                    </a:cubicBezTo>
                    <a:cubicBezTo>
                      <a:pt x="1134" y="358"/>
                      <a:pt x="1133" y="350"/>
                      <a:pt x="1130" y="348"/>
                    </a:cubicBezTo>
                    <a:cubicBezTo>
                      <a:pt x="1130" y="348"/>
                      <a:pt x="1130" y="348"/>
                      <a:pt x="1129" y="348"/>
                    </a:cubicBezTo>
                    <a:cubicBezTo>
                      <a:pt x="1129" y="348"/>
                      <a:pt x="1129" y="348"/>
                      <a:pt x="1128" y="348"/>
                    </a:cubicBezTo>
                    <a:cubicBezTo>
                      <a:pt x="1128" y="348"/>
                      <a:pt x="1128" y="348"/>
                      <a:pt x="1127" y="348"/>
                    </a:cubicBezTo>
                    <a:cubicBezTo>
                      <a:pt x="1127" y="348"/>
                      <a:pt x="1126" y="348"/>
                      <a:pt x="1126" y="348"/>
                    </a:cubicBezTo>
                    <a:cubicBezTo>
                      <a:pt x="1125" y="347"/>
                      <a:pt x="1125" y="347"/>
                      <a:pt x="1124" y="347"/>
                    </a:cubicBezTo>
                    <a:cubicBezTo>
                      <a:pt x="1124" y="347"/>
                      <a:pt x="1124" y="348"/>
                      <a:pt x="1123" y="348"/>
                    </a:cubicBezTo>
                    <a:cubicBezTo>
                      <a:pt x="1123" y="348"/>
                      <a:pt x="1123" y="348"/>
                      <a:pt x="1123" y="348"/>
                    </a:cubicBezTo>
                    <a:cubicBezTo>
                      <a:pt x="1124" y="348"/>
                      <a:pt x="1123" y="349"/>
                      <a:pt x="1123" y="349"/>
                    </a:cubicBezTo>
                    <a:cubicBezTo>
                      <a:pt x="1122" y="349"/>
                      <a:pt x="1119" y="349"/>
                      <a:pt x="1118" y="349"/>
                    </a:cubicBezTo>
                    <a:cubicBezTo>
                      <a:pt x="1121" y="348"/>
                      <a:pt x="1116" y="343"/>
                      <a:pt x="1115" y="341"/>
                    </a:cubicBezTo>
                    <a:cubicBezTo>
                      <a:pt x="1116" y="342"/>
                      <a:pt x="1117" y="343"/>
                      <a:pt x="1118" y="344"/>
                    </a:cubicBezTo>
                    <a:cubicBezTo>
                      <a:pt x="1119" y="345"/>
                      <a:pt x="1120" y="346"/>
                      <a:pt x="1121" y="346"/>
                    </a:cubicBezTo>
                    <a:cubicBezTo>
                      <a:pt x="1121" y="346"/>
                      <a:pt x="1122" y="346"/>
                      <a:pt x="1122" y="346"/>
                    </a:cubicBezTo>
                    <a:cubicBezTo>
                      <a:pt x="1122" y="343"/>
                      <a:pt x="1122" y="341"/>
                      <a:pt x="1120" y="339"/>
                    </a:cubicBezTo>
                    <a:cubicBezTo>
                      <a:pt x="1120" y="338"/>
                      <a:pt x="1120" y="338"/>
                      <a:pt x="1120" y="338"/>
                    </a:cubicBezTo>
                    <a:cubicBezTo>
                      <a:pt x="1120" y="339"/>
                      <a:pt x="1120" y="339"/>
                      <a:pt x="1120" y="339"/>
                    </a:cubicBezTo>
                    <a:cubicBezTo>
                      <a:pt x="1120" y="338"/>
                      <a:pt x="1120" y="338"/>
                      <a:pt x="1120" y="338"/>
                    </a:cubicBezTo>
                    <a:cubicBezTo>
                      <a:pt x="1119" y="338"/>
                      <a:pt x="1119" y="338"/>
                      <a:pt x="1119" y="338"/>
                    </a:cubicBezTo>
                    <a:cubicBezTo>
                      <a:pt x="1120" y="338"/>
                      <a:pt x="1120" y="338"/>
                      <a:pt x="1121" y="338"/>
                    </a:cubicBezTo>
                    <a:cubicBezTo>
                      <a:pt x="1121" y="338"/>
                      <a:pt x="1121" y="338"/>
                      <a:pt x="1121" y="338"/>
                    </a:cubicBezTo>
                    <a:cubicBezTo>
                      <a:pt x="1123" y="338"/>
                      <a:pt x="1124" y="338"/>
                      <a:pt x="1124" y="336"/>
                    </a:cubicBezTo>
                    <a:cubicBezTo>
                      <a:pt x="1126" y="333"/>
                      <a:pt x="1122" y="331"/>
                      <a:pt x="1120" y="329"/>
                    </a:cubicBezTo>
                    <a:cubicBezTo>
                      <a:pt x="1119" y="328"/>
                      <a:pt x="1119" y="328"/>
                      <a:pt x="1119" y="328"/>
                    </a:cubicBezTo>
                    <a:cubicBezTo>
                      <a:pt x="1119" y="327"/>
                      <a:pt x="1119" y="327"/>
                      <a:pt x="1119" y="327"/>
                    </a:cubicBezTo>
                    <a:cubicBezTo>
                      <a:pt x="1119" y="327"/>
                      <a:pt x="1120" y="327"/>
                      <a:pt x="1120" y="328"/>
                    </a:cubicBezTo>
                    <a:cubicBezTo>
                      <a:pt x="1120" y="328"/>
                      <a:pt x="1120" y="328"/>
                      <a:pt x="1120" y="328"/>
                    </a:cubicBezTo>
                    <a:cubicBezTo>
                      <a:pt x="1120" y="328"/>
                      <a:pt x="1120" y="328"/>
                      <a:pt x="1120" y="328"/>
                    </a:cubicBezTo>
                    <a:cubicBezTo>
                      <a:pt x="1120" y="328"/>
                      <a:pt x="1120" y="328"/>
                      <a:pt x="1120" y="328"/>
                    </a:cubicBezTo>
                    <a:cubicBezTo>
                      <a:pt x="1121" y="328"/>
                      <a:pt x="1121" y="329"/>
                      <a:pt x="1121" y="329"/>
                    </a:cubicBezTo>
                    <a:cubicBezTo>
                      <a:pt x="1122" y="329"/>
                      <a:pt x="1124" y="325"/>
                      <a:pt x="1124" y="324"/>
                    </a:cubicBezTo>
                    <a:cubicBezTo>
                      <a:pt x="1125" y="321"/>
                      <a:pt x="1125" y="322"/>
                      <a:pt x="1123" y="321"/>
                    </a:cubicBezTo>
                    <a:cubicBezTo>
                      <a:pt x="1121" y="319"/>
                      <a:pt x="1116" y="316"/>
                      <a:pt x="1114" y="315"/>
                    </a:cubicBezTo>
                    <a:cubicBezTo>
                      <a:pt x="1112" y="315"/>
                      <a:pt x="1110" y="314"/>
                      <a:pt x="1108" y="313"/>
                    </a:cubicBezTo>
                    <a:cubicBezTo>
                      <a:pt x="1107" y="312"/>
                      <a:pt x="1106" y="311"/>
                      <a:pt x="1105" y="310"/>
                    </a:cubicBezTo>
                    <a:cubicBezTo>
                      <a:pt x="1105" y="309"/>
                      <a:pt x="1105" y="309"/>
                      <a:pt x="1105" y="309"/>
                    </a:cubicBezTo>
                    <a:cubicBezTo>
                      <a:pt x="1105" y="309"/>
                      <a:pt x="1104" y="309"/>
                      <a:pt x="1104" y="309"/>
                    </a:cubicBezTo>
                    <a:cubicBezTo>
                      <a:pt x="1104" y="309"/>
                      <a:pt x="1104" y="310"/>
                      <a:pt x="1104" y="310"/>
                    </a:cubicBezTo>
                    <a:cubicBezTo>
                      <a:pt x="1104" y="310"/>
                      <a:pt x="1104" y="310"/>
                      <a:pt x="1104" y="310"/>
                    </a:cubicBezTo>
                    <a:cubicBezTo>
                      <a:pt x="1103" y="310"/>
                      <a:pt x="1103" y="310"/>
                      <a:pt x="1103" y="310"/>
                    </a:cubicBezTo>
                    <a:cubicBezTo>
                      <a:pt x="1103" y="310"/>
                      <a:pt x="1103" y="310"/>
                      <a:pt x="1102" y="310"/>
                    </a:cubicBezTo>
                    <a:cubicBezTo>
                      <a:pt x="1102" y="310"/>
                      <a:pt x="1102" y="310"/>
                      <a:pt x="1101" y="310"/>
                    </a:cubicBezTo>
                    <a:cubicBezTo>
                      <a:pt x="1101" y="310"/>
                      <a:pt x="1101" y="310"/>
                      <a:pt x="1100" y="310"/>
                    </a:cubicBezTo>
                    <a:cubicBezTo>
                      <a:pt x="1099" y="310"/>
                      <a:pt x="1099" y="310"/>
                      <a:pt x="1099" y="310"/>
                    </a:cubicBezTo>
                    <a:cubicBezTo>
                      <a:pt x="1102" y="305"/>
                      <a:pt x="1107" y="300"/>
                      <a:pt x="1106" y="295"/>
                    </a:cubicBezTo>
                    <a:cubicBezTo>
                      <a:pt x="1107" y="299"/>
                      <a:pt x="1104" y="302"/>
                      <a:pt x="1103" y="306"/>
                    </a:cubicBezTo>
                    <a:cubicBezTo>
                      <a:pt x="1102" y="307"/>
                      <a:pt x="1101" y="308"/>
                      <a:pt x="1102" y="309"/>
                    </a:cubicBezTo>
                    <a:cubicBezTo>
                      <a:pt x="1102" y="309"/>
                      <a:pt x="1103" y="309"/>
                      <a:pt x="1103" y="309"/>
                    </a:cubicBezTo>
                    <a:cubicBezTo>
                      <a:pt x="1104" y="309"/>
                      <a:pt x="1104" y="308"/>
                      <a:pt x="1104" y="307"/>
                    </a:cubicBezTo>
                    <a:cubicBezTo>
                      <a:pt x="1104" y="307"/>
                      <a:pt x="1105" y="308"/>
                      <a:pt x="1105" y="308"/>
                    </a:cubicBezTo>
                    <a:cubicBezTo>
                      <a:pt x="1106" y="308"/>
                      <a:pt x="1106" y="307"/>
                      <a:pt x="1106" y="306"/>
                    </a:cubicBezTo>
                    <a:cubicBezTo>
                      <a:pt x="1107" y="307"/>
                      <a:pt x="1108" y="310"/>
                      <a:pt x="1109" y="311"/>
                    </a:cubicBezTo>
                    <a:cubicBezTo>
                      <a:pt x="1109" y="311"/>
                      <a:pt x="1109" y="311"/>
                      <a:pt x="1109" y="311"/>
                    </a:cubicBezTo>
                    <a:cubicBezTo>
                      <a:pt x="1109" y="311"/>
                      <a:pt x="1110" y="310"/>
                      <a:pt x="1110" y="310"/>
                    </a:cubicBezTo>
                    <a:cubicBezTo>
                      <a:pt x="1111" y="310"/>
                      <a:pt x="1111" y="309"/>
                      <a:pt x="1111" y="309"/>
                    </a:cubicBezTo>
                    <a:cubicBezTo>
                      <a:pt x="1111" y="309"/>
                      <a:pt x="1111" y="309"/>
                      <a:pt x="1111" y="309"/>
                    </a:cubicBezTo>
                    <a:cubicBezTo>
                      <a:pt x="1113" y="310"/>
                      <a:pt x="1114" y="311"/>
                      <a:pt x="1116" y="312"/>
                    </a:cubicBezTo>
                    <a:cubicBezTo>
                      <a:pt x="1118" y="314"/>
                      <a:pt x="1121" y="316"/>
                      <a:pt x="1123" y="318"/>
                    </a:cubicBezTo>
                    <a:cubicBezTo>
                      <a:pt x="1123" y="316"/>
                      <a:pt x="1122" y="315"/>
                      <a:pt x="1122" y="313"/>
                    </a:cubicBezTo>
                    <a:cubicBezTo>
                      <a:pt x="1122" y="313"/>
                      <a:pt x="1122" y="311"/>
                      <a:pt x="1122" y="311"/>
                    </a:cubicBezTo>
                    <a:cubicBezTo>
                      <a:pt x="1121" y="311"/>
                      <a:pt x="1121" y="311"/>
                      <a:pt x="1121" y="311"/>
                    </a:cubicBezTo>
                    <a:cubicBezTo>
                      <a:pt x="1121" y="311"/>
                      <a:pt x="1121" y="311"/>
                      <a:pt x="1121" y="311"/>
                    </a:cubicBezTo>
                    <a:cubicBezTo>
                      <a:pt x="1120" y="311"/>
                      <a:pt x="1120" y="311"/>
                      <a:pt x="1120" y="311"/>
                    </a:cubicBezTo>
                    <a:cubicBezTo>
                      <a:pt x="1120" y="311"/>
                      <a:pt x="1120" y="311"/>
                      <a:pt x="1119" y="311"/>
                    </a:cubicBezTo>
                    <a:cubicBezTo>
                      <a:pt x="1116" y="308"/>
                      <a:pt x="1115" y="306"/>
                      <a:pt x="1115" y="301"/>
                    </a:cubicBezTo>
                    <a:cubicBezTo>
                      <a:pt x="1115" y="306"/>
                      <a:pt x="1116" y="307"/>
                      <a:pt x="1122" y="309"/>
                    </a:cubicBezTo>
                    <a:cubicBezTo>
                      <a:pt x="1121" y="307"/>
                      <a:pt x="1119" y="306"/>
                      <a:pt x="1118" y="303"/>
                    </a:cubicBezTo>
                    <a:cubicBezTo>
                      <a:pt x="1118" y="302"/>
                      <a:pt x="1118" y="300"/>
                      <a:pt x="1119" y="299"/>
                    </a:cubicBezTo>
                    <a:cubicBezTo>
                      <a:pt x="1120" y="293"/>
                      <a:pt x="1120" y="294"/>
                      <a:pt x="1117" y="290"/>
                    </a:cubicBezTo>
                    <a:cubicBezTo>
                      <a:pt x="1118" y="291"/>
                      <a:pt x="1119" y="292"/>
                      <a:pt x="1120" y="292"/>
                    </a:cubicBezTo>
                    <a:cubicBezTo>
                      <a:pt x="1119" y="290"/>
                      <a:pt x="1117" y="287"/>
                      <a:pt x="1116" y="285"/>
                    </a:cubicBezTo>
                    <a:cubicBezTo>
                      <a:pt x="1116" y="285"/>
                      <a:pt x="1116" y="285"/>
                      <a:pt x="1116" y="285"/>
                    </a:cubicBezTo>
                    <a:cubicBezTo>
                      <a:pt x="1119" y="285"/>
                      <a:pt x="1120" y="283"/>
                      <a:pt x="1122" y="281"/>
                    </a:cubicBezTo>
                    <a:cubicBezTo>
                      <a:pt x="1122" y="281"/>
                      <a:pt x="1122" y="281"/>
                      <a:pt x="1123" y="281"/>
                    </a:cubicBezTo>
                    <a:cubicBezTo>
                      <a:pt x="1123" y="281"/>
                      <a:pt x="1123" y="281"/>
                      <a:pt x="1123" y="281"/>
                    </a:cubicBezTo>
                    <a:cubicBezTo>
                      <a:pt x="1123" y="281"/>
                      <a:pt x="1123" y="281"/>
                      <a:pt x="1123" y="281"/>
                    </a:cubicBezTo>
                    <a:cubicBezTo>
                      <a:pt x="1123" y="281"/>
                      <a:pt x="1124" y="281"/>
                      <a:pt x="1124" y="280"/>
                    </a:cubicBezTo>
                    <a:cubicBezTo>
                      <a:pt x="1125" y="280"/>
                      <a:pt x="1125" y="279"/>
                      <a:pt x="1125" y="279"/>
                    </a:cubicBezTo>
                    <a:cubicBezTo>
                      <a:pt x="1125" y="279"/>
                      <a:pt x="1125" y="280"/>
                      <a:pt x="1125" y="280"/>
                    </a:cubicBezTo>
                    <a:cubicBezTo>
                      <a:pt x="1127" y="279"/>
                      <a:pt x="1130" y="277"/>
                      <a:pt x="1132" y="276"/>
                    </a:cubicBezTo>
                    <a:cubicBezTo>
                      <a:pt x="1137" y="277"/>
                      <a:pt x="1132" y="277"/>
                      <a:pt x="1133" y="279"/>
                    </a:cubicBezTo>
                    <a:cubicBezTo>
                      <a:pt x="1133" y="279"/>
                      <a:pt x="1130" y="280"/>
                      <a:pt x="1130" y="281"/>
                    </a:cubicBezTo>
                    <a:cubicBezTo>
                      <a:pt x="1130" y="282"/>
                      <a:pt x="1133" y="281"/>
                      <a:pt x="1134" y="282"/>
                    </a:cubicBezTo>
                    <a:cubicBezTo>
                      <a:pt x="1131" y="282"/>
                      <a:pt x="1128" y="281"/>
                      <a:pt x="1126" y="284"/>
                    </a:cubicBezTo>
                    <a:cubicBezTo>
                      <a:pt x="1125" y="285"/>
                      <a:pt x="1125" y="287"/>
                      <a:pt x="1124" y="288"/>
                    </a:cubicBezTo>
                    <a:cubicBezTo>
                      <a:pt x="1126" y="288"/>
                      <a:pt x="1127" y="288"/>
                      <a:pt x="1129" y="288"/>
                    </a:cubicBezTo>
                    <a:cubicBezTo>
                      <a:pt x="1128" y="289"/>
                      <a:pt x="1127" y="290"/>
                      <a:pt x="1127" y="292"/>
                    </a:cubicBezTo>
                    <a:cubicBezTo>
                      <a:pt x="1127" y="292"/>
                      <a:pt x="1126" y="292"/>
                      <a:pt x="1126" y="292"/>
                    </a:cubicBezTo>
                    <a:cubicBezTo>
                      <a:pt x="1126" y="292"/>
                      <a:pt x="1125" y="292"/>
                      <a:pt x="1125" y="292"/>
                    </a:cubicBezTo>
                    <a:cubicBezTo>
                      <a:pt x="1124" y="292"/>
                      <a:pt x="1124" y="291"/>
                      <a:pt x="1123" y="291"/>
                    </a:cubicBezTo>
                    <a:cubicBezTo>
                      <a:pt x="1123" y="291"/>
                      <a:pt x="1123" y="291"/>
                      <a:pt x="1123" y="292"/>
                    </a:cubicBezTo>
                    <a:cubicBezTo>
                      <a:pt x="1123" y="293"/>
                      <a:pt x="1122" y="295"/>
                      <a:pt x="1122" y="296"/>
                    </a:cubicBezTo>
                    <a:cubicBezTo>
                      <a:pt x="1122" y="295"/>
                      <a:pt x="1123" y="294"/>
                      <a:pt x="1124" y="294"/>
                    </a:cubicBezTo>
                    <a:cubicBezTo>
                      <a:pt x="1124" y="294"/>
                      <a:pt x="1124" y="294"/>
                      <a:pt x="1124" y="294"/>
                    </a:cubicBezTo>
                    <a:cubicBezTo>
                      <a:pt x="1125" y="294"/>
                      <a:pt x="1128" y="297"/>
                      <a:pt x="1128" y="298"/>
                    </a:cubicBezTo>
                    <a:cubicBezTo>
                      <a:pt x="1128" y="298"/>
                      <a:pt x="1125" y="299"/>
                      <a:pt x="1125" y="299"/>
                    </a:cubicBezTo>
                    <a:cubicBezTo>
                      <a:pt x="1126" y="301"/>
                      <a:pt x="1128" y="302"/>
                      <a:pt x="1131" y="303"/>
                    </a:cubicBezTo>
                    <a:cubicBezTo>
                      <a:pt x="1130" y="303"/>
                      <a:pt x="1130" y="303"/>
                      <a:pt x="1130" y="303"/>
                    </a:cubicBezTo>
                    <a:cubicBezTo>
                      <a:pt x="1129" y="303"/>
                      <a:pt x="1128" y="303"/>
                      <a:pt x="1128" y="303"/>
                    </a:cubicBezTo>
                    <a:cubicBezTo>
                      <a:pt x="1127" y="303"/>
                      <a:pt x="1126" y="302"/>
                      <a:pt x="1126" y="302"/>
                    </a:cubicBezTo>
                    <a:cubicBezTo>
                      <a:pt x="1126" y="302"/>
                      <a:pt x="1125" y="303"/>
                      <a:pt x="1124" y="303"/>
                    </a:cubicBezTo>
                    <a:cubicBezTo>
                      <a:pt x="1123" y="304"/>
                      <a:pt x="1124" y="304"/>
                      <a:pt x="1125" y="304"/>
                    </a:cubicBezTo>
                    <a:cubicBezTo>
                      <a:pt x="1125" y="304"/>
                      <a:pt x="1126" y="304"/>
                      <a:pt x="1126" y="304"/>
                    </a:cubicBezTo>
                    <a:cubicBezTo>
                      <a:pt x="1126" y="305"/>
                      <a:pt x="1123" y="306"/>
                      <a:pt x="1123" y="307"/>
                    </a:cubicBezTo>
                    <a:cubicBezTo>
                      <a:pt x="1124" y="308"/>
                      <a:pt x="1125" y="309"/>
                      <a:pt x="1125" y="311"/>
                    </a:cubicBezTo>
                    <a:cubicBezTo>
                      <a:pt x="1125" y="310"/>
                      <a:pt x="1125" y="309"/>
                      <a:pt x="1125" y="309"/>
                    </a:cubicBezTo>
                    <a:cubicBezTo>
                      <a:pt x="1127" y="309"/>
                      <a:pt x="1128" y="312"/>
                      <a:pt x="1129" y="312"/>
                    </a:cubicBezTo>
                    <a:cubicBezTo>
                      <a:pt x="1130" y="312"/>
                      <a:pt x="1130" y="312"/>
                      <a:pt x="1130" y="310"/>
                    </a:cubicBezTo>
                    <a:cubicBezTo>
                      <a:pt x="1130" y="311"/>
                      <a:pt x="1131" y="312"/>
                      <a:pt x="1131" y="312"/>
                    </a:cubicBezTo>
                    <a:cubicBezTo>
                      <a:pt x="1132" y="311"/>
                      <a:pt x="1133" y="309"/>
                      <a:pt x="1134" y="309"/>
                    </a:cubicBezTo>
                    <a:cubicBezTo>
                      <a:pt x="1134" y="310"/>
                      <a:pt x="1135" y="311"/>
                      <a:pt x="1134" y="313"/>
                    </a:cubicBezTo>
                    <a:cubicBezTo>
                      <a:pt x="1134" y="314"/>
                      <a:pt x="1132" y="315"/>
                      <a:pt x="1132" y="316"/>
                    </a:cubicBezTo>
                    <a:cubicBezTo>
                      <a:pt x="1132" y="315"/>
                      <a:pt x="1132" y="315"/>
                      <a:pt x="1132" y="315"/>
                    </a:cubicBezTo>
                    <a:cubicBezTo>
                      <a:pt x="1133" y="315"/>
                      <a:pt x="1133" y="316"/>
                      <a:pt x="1134" y="316"/>
                    </a:cubicBezTo>
                    <a:cubicBezTo>
                      <a:pt x="1134" y="316"/>
                      <a:pt x="1135" y="316"/>
                      <a:pt x="1136" y="316"/>
                    </a:cubicBezTo>
                    <a:cubicBezTo>
                      <a:pt x="1136" y="316"/>
                      <a:pt x="1136" y="316"/>
                      <a:pt x="1136" y="316"/>
                    </a:cubicBezTo>
                    <a:cubicBezTo>
                      <a:pt x="1135" y="317"/>
                      <a:pt x="1132" y="320"/>
                      <a:pt x="1134" y="321"/>
                    </a:cubicBezTo>
                    <a:cubicBezTo>
                      <a:pt x="1133" y="321"/>
                      <a:pt x="1139" y="320"/>
                      <a:pt x="1139" y="320"/>
                    </a:cubicBezTo>
                    <a:cubicBezTo>
                      <a:pt x="1135" y="326"/>
                      <a:pt x="1132" y="331"/>
                      <a:pt x="1130" y="338"/>
                    </a:cubicBezTo>
                    <a:cubicBezTo>
                      <a:pt x="1130" y="339"/>
                      <a:pt x="1130" y="342"/>
                      <a:pt x="1132" y="342"/>
                    </a:cubicBezTo>
                    <a:cubicBezTo>
                      <a:pt x="1132" y="342"/>
                      <a:pt x="1132" y="341"/>
                      <a:pt x="1133" y="341"/>
                    </a:cubicBezTo>
                    <a:cubicBezTo>
                      <a:pt x="1134" y="341"/>
                      <a:pt x="1133" y="337"/>
                      <a:pt x="1134" y="336"/>
                    </a:cubicBezTo>
                    <a:cubicBezTo>
                      <a:pt x="1135" y="334"/>
                      <a:pt x="1138" y="333"/>
                      <a:pt x="1139" y="331"/>
                    </a:cubicBezTo>
                    <a:cubicBezTo>
                      <a:pt x="1140" y="331"/>
                      <a:pt x="1140" y="330"/>
                      <a:pt x="1140" y="329"/>
                    </a:cubicBezTo>
                    <a:cubicBezTo>
                      <a:pt x="1140" y="327"/>
                      <a:pt x="1141" y="325"/>
                      <a:pt x="1142" y="324"/>
                    </a:cubicBezTo>
                    <a:cubicBezTo>
                      <a:pt x="1143" y="321"/>
                      <a:pt x="1145" y="319"/>
                      <a:pt x="1146" y="316"/>
                    </a:cubicBezTo>
                    <a:cubicBezTo>
                      <a:pt x="1148" y="314"/>
                      <a:pt x="1150" y="308"/>
                      <a:pt x="1152" y="307"/>
                    </a:cubicBezTo>
                    <a:cubicBezTo>
                      <a:pt x="1152" y="308"/>
                      <a:pt x="1152" y="309"/>
                      <a:pt x="1152" y="310"/>
                    </a:cubicBezTo>
                    <a:cubicBezTo>
                      <a:pt x="1153" y="308"/>
                      <a:pt x="1153" y="305"/>
                      <a:pt x="1152" y="302"/>
                    </a:cubicBezTo>
                    <a:cubicBezTo>
                      <a:pt x="1152" y="303"/>
                      <a:pt x="1151" y="303"/>
                      <a:pt x="1150" y="303"/>
                    </a:cubicBezTo>
                    <a:cubicBezTo>
                      <a:pt x="1150" y="303"/>
                      <a:pt x="1150" y="303"/>
                      <a:pt x="1149" y="303"/>
                    </a:cubicBezTo>
                    <a:cubicBezTo>
                      <a:pt x="1150" y="303"/>
                      <a:pt x="1150" y="302"/>
                      <a:pt x="1150" y="302"/>
                    </a:cubicBezTo>
                    <a:cubicBezTo>
                      <a:pt x="1151" y="301"/>
                      <a:pt x="1151" y="299"/>
                      <a:pt x="1152" y="297"/>
                    </a:cubicBezTo>
                    <a:cubicBezTo>
                      <a:pt x="1146" y="295"/>
                      <a:pt x="1144" y="286"/>
                      <a:pt x="1141" y="281"/>
                    </a:cubicBezTo>
                    <a:cubicBezTo>
                      <a:pt x="1140" y="279"/>
                      <a:pt x="1139" y="278"/>
                      <a:pt x="1139" y="276"/>
                    </a:cubicBezTo>
                    <a:cubicBezTo>
                      <a:pt x="1141" y="270"/>
                      <a:pt x="1148" y="267"/>
                      <a:pt x="1152" y="265"/>
                    </a:cubicBezTo>
                    <a:cubicBezTo>
                      <a:pt x="1152" y="265"/>
                      <a:pt x="1152" y="265"/>
                      <a:pt x="1152" y="265"/>
                    </a:cubicBezTo>
                    <a:cubicBezTo>
                      <a:pt x="1152" y="265"/>
                      <a:pt x="1152" y="265"/>
                      <a:pt x="1153" y="264"/>
                    </a:cubicBezTo>
                    <a:cubicBezTo>
                      <a:pt x="1149" y="267"/>
                      <a:pt x="1144" y="269"/>
                      <a:pt x="1142" y="273"/>
                    </a:cubicBezTo>
                    <a:cubicBezTo>
                      <a:pt x="1139" y="279"/>
                      <a:pt x="1144" y="281"/>
                      <a:pt x="1149" y="285"/>
                    </a:cubicBezTo>
                    <a:cubicBezTo>
                      <a:pt x="1151" y="287"/>
                      <a:pt x="1156" y="286"/>
                      <a:pt x="1156" y="289"/>
                    </a:cubicBezTo>
                    <a:cubicBezTo>
                      <a:pt x="1156" y="290"/>
                      <a:pt x="1155" y="292"/>
                      <a:pt x="1155" y="294"/>
                    </a:cubicBezTo>
                    <a:cubicBezTo>
                      <a:pt x="1156" y="294"/>
                      <a:pt x="1161" y="290"/>
                      <a:pt x="1160" y="289"/>
                    </a:cubicBezTo>
                    <a:cubicBezTo>
                      <a:pt x="1161" y="288"/>
                      <a:pt x="1162" y="286"/>
                      <a:pt x="1163" y="285"/>
                    </a:cubicBezTo>
                    <a:cubicBezTo>
                      <a:pt x="1162" y="284"/>
                      <a:pt x="1162" y="284"/>
                      <a:pt x="1162" y="284"/>
                    </a:cubicBezTo>
                    <a:cubicBezTo>
                      <a:pt x="1163" y="284"/>
                      <a:pt x="1169" y="282"/>
                      <a:pt x="1166" y="281"/>
                    </a:cubicBezTo>
                    <a:cubicBezTo>
                      <a:pt x="1167" y="280"/>
                      <a:pt x="1169" y="279"/>
                      <a:pt x="1170" y="278"/>
                    </a:cubicBezTo>
                    <a:cubicBezTo>
                      <a:pt x="1170" y="278"/>
                      <a:pt x="1171" y="275"/>
                      <a:pt x="1172" y="275"/>
                    </a:cubicBezTo>
                    <a:cubicBezTo>
                      <a:pt x="1174" y="272"/>
                      <a:pt x="1172" y="273"/>
                      <a:pt x="1173" y="271"/>
                    </a:cubicBezTo>
                    <a:cubicBezTo>
                      <a:pt x="1173" y="270"/>
                      <a:pt x="1174" y="269"/>
                      <a:pt x="1174" y="269"/>
                    </a:cubicBezTo>
                    <a:cubicBezTo>
                      <a:pt x="1174" y="267"/>
                      <a:pt x="1174" y="265"/>
                      <a:pt x="1176" y="263"/>
                    </a:cubicBezTo>
                    <a:cubicBezTo>
                      <a:pt x="1176" y="266"/>
                      <a:pt x="1174" y="268"/>
                      <a:pt x="1175" y="271"/>
                    </a:cubicBezTo>
                    <a:cubicBezTo>
                      <a:pt x="1176" y="267"/>
                      <a:pt x="1176" y="263"/>
                      <a:pt x="1177" y="259"/>
                    </a:cubicBezTo>
                    <a:cubicBezTo>
                      <a:pt x="1177" y="257"/>
                      <a:pt x="1178" y="255"/>
                      <a:pt x="1177" y="254"/>
                    </a:cubicBezTo>
                    <a:cubicBezTo>
                      <a:pt x="1176" y="252"/>
                      <a:pt x="1171" y="253"/>
                      <a:pt x="1170" y="252"/>
                    </a:cubicBezTo>
                    <a:cubicBezTo>
                      <a:pt x="1170" y="251"/>
                      <a:pt x="1171" y="250"/>
                      <a:pt x="1172" y="249"/>
                    </a:cubicBezTo>
                    <a:cubicBezTo>
                      <a:pt x="1171" y="248"/>
                      <a:pt x="1170" y="247"/>
                      <a:pt x="1170" y="245"/>
                    </a:cubicBezTo>
                    <a:cubicBezTo>
                      <a:pt x="1170" y="242"/>
                      <a:pt x="1173" y="239"/>
                      <a:pt x="1177" y="239"/>
                    </a:cubicBezTo>
                    <a:cubicBezTo>
                      <a:pt x="1177" y="239"/>
                      <a:pt x="1177" y="239"/>
                      <a:pt x="1177" y="239"/>
                    </a:cubicBezTo>
                    <a:cubicBezTo>
                      <a:pt x="1177" y="239"/>
                      <a:pt x="1177" y="239"/>
                      <a:pt x="1177" y="239"/>
                    </a:cubicBezTo>
                    <a:cubicBezTo>
                      <a:pt x="1178" y="239"/>
                      <a:pt x="1178" y="239"/>
                      <a:pt x="1178" y="239"/>
                    </a:cubicBezTo>
                    <a:cubicBezTo>
                      <a:pt x="1178" y="239"/>
                      <a:pt x="1178" y="239"/>
                      <a:pt x="1178" y="239"/>
                    </a:cubicBezTo>
                    <a:cubicBezTo>
                      <a:pt x="1179" y="240"/>
                      <a:pt x="1180" y="240"/>
                      <a:pt x="1181" y="241"/>
                    </a:cubicBezTo>
                    <a:cubicBezTo>
                      <a:pt x="1183" y="240"/>
                      <a:pt x="1184" y="237"/>
                      <a:pt x="1187" y="236"/>
                    </a:cubicBezTo>
                    <a:cubicBezTo>
                      <a:pt x="1192" y="234"/>
                      <a:pt x="1197" y="231"/>
                      <a:pt x="1202" y="229"/>
                    </a:cubicBezTo>
                    <a:cubicBezTo>
                      <a:pt x="1203" y="229"/>
                      <a:pt x="1203" y="229"/>
                      <a:pt x="1204" y="229"/>
                    </a:cubicBezTo>
                    <a:cubicBezTo>
                      <a:pt x="1206" y="229"/>
                      <a:pt x="1208" y="229"/>
                      <a:pt x="1210" y="229"/>
                    </a:cubicBezTo>
                    <a:cubicBezTo>
                      <a:pt x="1212" y="228"/>
                      <a:pt x="1214" y="228"/>
                      <a:pt x="1215" y="228"/>
                    </a:cubicBezTo>
                    <a:cubicBezTo>
                      <a:pt x="1215" y="228"/>
                      <a:pt x="1216" y="228"/>
                      <a:pt x="1216" y="228"/>
                    </a:cubicBezTo>
                    <a:cubicBezTo>
                      <a:pt x="1219" y="228"/>
                      <a:pt x="1222" y="228"/>
                      <a:pt x="1225" y="228"/>
                    </a:cubicBezTo>
                    <a:cubicBezTo>
                      <a:pt x="1228" y="228"/>
                      <a:pt x="1231" y="228"/>
                      <a:pt x="1235" y="227"/>
                    </a:cubicBezTo>
                    <a:cubicBezTo>
                      <a:pt x="1237" y="226"/>
                      <a:pt x="1237" y="217"/>
                      <a:pt x="1237" y="215"/>
                    </a:cubicBezTo>
                    <a:cubicBezTo>
                      <a:pt x="1238" y="217"/>
                      <a:pt x="1239" y="217"/>
                      <a:pt x="1240" y="217"/>
                    </a:cubicBezTo>
                    <a:cubicBezTo>
                      <a:pt x="1241" y="217"/>
                      <a:pt x="1242" y="216"/>
                      <a:pt x="1244" y="216"/>
                    </a:cubicBezTo>
                    <a:cubicBezTo>
                      <a:pt x="1242" y="219"/>
                      <a:pt x="1242" y="219"/>
                      <a:pt x="1243" y="223"/>
                    </a:cubicBezTo>
                    <a:cubicBezTo>
                      <a:pt x="1246" y="221"/>
                      <a:pt x="1250" y="217"/>
                      <a:pt x="1253" y="217"/>
                    </a:cubicBezTo>
                    <a:cubicBezTo>
                      <a:pt x="1254" y="217"/>
                      <a:pt x="1254" y="217"/>
                      <a:pt x="1254" y="217"/>
                    </a:cubicBezTo>
                    <a:cubicBezTo>
                      <a:pt x="1255" y="217"/>
                      <a:pt x="1255" y="217"/>
                      <a:pt x="1254" y="218"/>
                    </a:cubicBezTo>
                    <a:cubicBezTo>
                      <a:pt x="1256" y="218"/>
                      <a:pt x="1261" y="219"/>
                      <a:pt x="1265" y="219"/>
                    </a:cubicBezTo>
                    <a:cubicBezTo>
                      <a:pt x="1268" y="219"/>
                      <a:pt x="1270" y="219"/>
                      <a:pt x="1271" y="217"/>
                    </a:cubicBezTo>
                    <a:cubicBezTo>
                      <a:pt x="1272" y="217"/>
                      <a:pt x="1271" y="214"/>
                      <a:pt x="1271" y="213"/>
                    </a:cubicBezTo>
                    <a:cubicBezTo>
                      <a:pt x="1270" y="211"/>
                      <a:pt x="1269" y="208"/>
                      <a:pt x="1267" y="208"/>
                    </a:cubicBezTo>
                    <a:cubicBezTo>
                      <a:pt x="1267" y="208"/>
                      <a:pt x="1265" y="207"/>
                      <a:pt x="1264" y="207"/>
                    </a:cubicBezTo>
                    <a:cubicBezTo>
                      <a:pt x="1264" y="207"/>
                      <a:pt x="1264" y="207"/>
                      <a:pt x="1264" y="208"/>
                    </a:cubicBezTo>
                    <a:cubicBezTo>
                      <a:pt x="1264" y="208"/>
                      <a:pt x="1264" y="208"/>
                      <a:pt x="1265" y="208"/>
                    </a:cubicBezTo>
                    <a:cubicBezTo>
                      <a:pt x="1265" y="208"/>
                      <a:pt x="1265" y="208"/>
                      <a:pt x="1265" y="208"/>
                    </a:cubicBezTo>
                    <a:cubicBezTo>
                      <a:pt x="1266" y="208"/>
                      <a:pt x="1266" y="208"/>
                      <a:pt x="1266" y="208"/>
                    </a:cubicBezTo>
                    <a:cubicBezTo>
                      <a:pt x="1266" y="208"/>
                      <a:pt x="1266" y="208"/>
                      <a:pt x="1266" y="208"/>
                    </a:cubicBezTo>
                    <a:cubicBezTo>
                      <a:pt x="1267" y="209"/>
                      <a:pt x="1267" y="210"/>
                      <a:pt x="1268" y="211"/>
                    </a:cubicBezTo>
                    <a:cubicBezTo>
                      <a:pt x="1270" y="215"/>
                      <a:pt x="1270" y="216"/>
                      <a:pt x="1265" y="217"/>
                    </a:cubicBezTo>
                    <a:cubicBezTo>
                      <a:pt x="1264" y="217"/>
                      <a:pt x="1263" y="217"/>
                      <a:pt x="1262" y="217"/>
                    </a:cubicBezTo>
                    <a:cubicBezTo>
                      <a:pt x="1261" y="217"/>
                      <a:pt x="1260" y="217"/>
                      <a:pt x="1259" y="216"/>
                    </a:cubicBezTo>
                    <a:cubicBezTo>
                      <a:pt x="1257" y="215"/>
                      <a:pt x="1257" y="211"/>
                      <a:pt x="1256" y="209"/>
                    </a:cubicBezTo>
                    <a:cubicBezTo>
                      <a:pt x="1255" y="207"/>
                      <a:pt x="1254" y="204"/>
                      <a:pt x="1252" y="203"/>
                    </a:cubicBezTo>
                    <a:cubicBezTo>
                      <a:pt x="1251" y="202"/>
                      <a:pt x="1251" y="202"/>
                      <a:pt x="1250" y="202"/>
                    </a:cubicBezTo>
                    <a:cubicBezTo>
                      <a:pt x="1250" y="202"/>
                      <a:pt x="1249" y="202"/>
                      <a:pt x="1249" y="202"/>
                    </a:cubicBezTo>
                    <a:cubicBezTo>
                      <a:pt x="1249" y="202"/>
                      <a:pt x="1249" y="202"/>
                      <a:pt x="1248" y="202"/>
                    </a:cubicBezTo>
                    <a:cubicBezTo>
                      <a:pt x="1248" y="202"/>
                      <a:pt x="1247" y="202"/>
                      <a:pt x="1245" y="199"/>
                    </a:cubicBezTo>
                    <a:cubicBezTo>
                      <a:pt x="1247" y="199"/>
                      <a:pt x="1249" y="195"/>
                      <a:pt x="1251" y="194"/>
                    </a:cubicBezTo>
                    <a:cubicBezTo>
                      <a:pt x="1252" y="193"/>
                      <a:pt x="1258" y="192"/>
                      <a:pt x="1255" y="190"/>
                    </a:cubicBezTo>
                    <a:cubicBezTo>
                      <a:pt x="1255" y="191"/>
                      <a:pt x="1254" y="192"/>
                      <a:pt x="1254" y="192"/>
                    </a:cubicBezTo>
                    <a:cubicBezTo>
                      <a:pt x="1253" y="192"/>
                      <a:pt x="1253" y="191"/>
                      <a:pt x="1252" y="190"/>
                    </a:cubicBezTo>
                    <a:cubicBezTo>
                      <a:pt x="1250" y="187"/>
                      <a:pt x="1251" y="181"/>
                      <a:pt x="1254" y="178"/>
                    </a:cubicBezTo>
                    <a:cubicBezTo>
                      <a:pt x="1257" y="174"/>
                      <a:pt x="1264" y="169"/>
                      <a:pt x="1265" y="164"/>
                    </a:cubicBezTo>
                    <a:cubicBezTo>
                      <a:pt x="1266" y="159"/>
                      <a:pt x="1266" y="159"/>
                      <a:pt x="1270" y="157"/>
                    </a:cubicBezTo>
                    <a:cubicBezTo>
                      <a:pt x="1269" y="158"/>
                      <a:pt x="1269" y="158"/>
                      <a:pt x="1269" y="158"/>
                    </a:cubicBezTo>
                    <a:cubicBezTo>
                      <a:pt x="1271" y="157"/>
                      <a:pt x="1271" y="157"/>
                      <a:pt x="1272" y="157"/>
                    </a:cubicBezTo>
                    <a:cubicBezTo>
                      <a:pt x="1273" y="157"/>
                      <a:pt x="1273" y="158"/>
                      <a:pt x="1275" y="160"/>
                    </a:cubicBezTo>
                    <a:cubicBezTo>
                      <a:pt x="1274" y="158"/>
                      <a:pt x="1273" y="153"/>
                      <a:pt x="1275" y="151"/>
                    </a:cubicBezTo>
                    <a:cubicBezTo>
                      <a:pt x="1275" y="151"/>
                      <a:pt x="1275" y="151"/>
                      <a:pt x="1275" y="151"/>
                    </a:cubicBezTo>
                    <a:cubicBezTo>
                      <a:pt x="1275" y="152"/>
                      <a:pt x="1275" y="152"/>
                      <a:pt x="1275" y="153"/>
                    </a:cubicBezTo>
                    <a:cubicBezTo>
                      <a:pt x="1274" y="153"/>
                      <a:pt x="1274" y="153"/>
                      <a:pt x="1274" y="153"/>
                    </a:cubicBezTo>
                    <a:cubicBezTo>
                      <a:pt x="1274" y="156"/>
                      <a:pt x="1275" y="158"/>
                      <a:pt x="1276" y="159"/>
                    </a:cubicBezTo>
                    <a:cubicBezTo>
                      <a:pt x="1277" y="157"/>
                      <a:pt x="1277" y="155"/>
                      <a:pt x="1278" y="153"/>
                    </a:cubicBezTo>
                    <a:cubicBezTo>
                      <a:pt x="1278" y="153"/>
                      <a:pt x="1278" y="153"/>
                      <a:pt x="1278" y="153"/>
                    </a:cubicBezTo>
                    <a:cubicBezTo>
                      <a:pt x="1278" y="153"/>
                      <a:pt x="1278" y="153"/>
                      <a:pt x="1278" y="153"/>
                    </a:cubicBezTo>
                    <a:cubicBezTo>
                      <a:pt x="1278" y="153"/>
                      <a:pt x="1278" y="152"/>
                      <a:pt x="1278" y="152"/>
                    </a:cubicBezTo>
                    <a:cubicBezTo>
                      <a:pt x="1278" y="153"/>
                      <a:pt x="1278" y="153"/>
                      <a:pt x="1278" y="153"/>
                    </a:cubicBezTo>
                    <a:cubicBezTo>
                      <a:pt x="1277" y="154"/>
                      <a:pt x="1278" y="157"/>
                      <a:pt x="1279" y="158"/>
                    </a:cubicBezTo>
                    <a:cubicBezTo>
                      <a:pt x="1280" y="157"/>
                      <a:pt x="1280" y="156"/>
                      <a:pt x="1280" y="155"/>
                    </a:cubicBezTo>
                    <a:cubicBezTo>
                      <a:pt x="1280" y="154"/>
                      <a:pt x="1280" y="154"/>
                      <a:pt x="1280" y="154"/>
                    </a:cubicBezTo>
                    <a:cubicBezTo>
                      <a:pt x="1280" y="153"/>
                      <a:pt x="1280" y="153"/>
                      <a:pt x="1280" y="153"/>
                    </a:cubicBezTo>
                    <a:cubicBezTo>
                      <a:pt x="1281" y="153"/>
                      <a:pt x="1281" y="153"/>
                      <a:pt x="1281" y="153"/>
                    </a:cubicBezTo>
                    <a:cubicBezTo>
                      <a:pt x="1280" y="153"/>
                      <a:pt x="1280" y="153"/>
                      <a:pt x="1280" y="153"/>
                    </a:cubicBezTo>
                    <a:cubicBezTo>
                      <a:pt x="1280" y="153"/>
                      <a:pt x="1280" y="153"/>
                      <a:pt x="1280" y="153"/>
                    </a:cubicBezTo>
                    <a:cubicBezTo>
                      <a:pt x="1280" y="153"/>
                      <a:pt x="1280" y="153"/>
                      <a:pt x="1280" y="153"/>
                    </a:cubicBezTo>
                    <a:cubicBezTo>
                      <a:pt x="1280" y="153"/>
                      <a:pt x="1280" y="153"/>
                      <a:pt x="1280" y="153"/>
                    </a:cubicBezTo>
                    <a:cubicBezTo>
                      <a:pt x="1280" y="153"/>
                      <a:pt x="1280" y="153"/>
                      <a:pt x="1280" y="153"/>
                    </a:cubicBezTo>
                    <a:cubicBezTo>
                      <a:pt x="1280" y="153"/>
                      <a:pt x="1280" y="153"/>
                      <a:pt x="1280" y="153"/>
                    </a:cubicBezTo>
                    <a:cubicBezTo>
                      <a:pt x="1280" y="153"/>
                      <a:pt x="1280" y="153"/>
                      <a:pt x="1280" y="153"/>
                    </a:cubicBezTo>
                    <a:cubicBezTo>
                      <a:pt x="1280" y="153"/>
                      <a:pt x="1280" y="153"/>
                      <a:pt x="1280" y="153"/>
                    </a:cubicBezTo>
                    <a:cubicBezTo>
                      <a:pt x="1280" y="153"/>
                      <a:pt x="1280" y="153"/>
                      <a:pt x="1280" y="153"/>
                    </a:cubicBezTo>
                    <a:cubicBezTo>
                      <a:pt x="1280" y="154"/>
                      <a:pt x="1280" y="154"/>
                      <a:pt x="1280" y="155"/>
                    </a:cubicBezTo>
                    <a:cubicBezTo>
                      <a:pt x="1280" y="155"/>
                      <a:pt x="1280" y="155"/>
                      <a:pt x="1280" y="155"/>
                    </a:cubicBezTo>
                    <a:cubicBezTo>
                      <a:pt x="1282" y="155"/>
                      <a:pt x="1283" y="153"/>
                      <a:pt x="1285" y="151"/>
                    </a:cubicBezTo>
                    <a:cubicBezTo>
                      <a:pt x="1284" y="152"/>
                      <a:pt x="1285" y="152"/>
                      <a:pt x="1285" y="153"/>
                    </a:cubicBezTo>
                    <a:cubicBezTo>
                      <a:pt x="1287" y="153"/>
                      <a:pt x="1291" y="153"/>
                      <a:pt x="1291" y="150"/>
                    </a:cubicBezTo>
                    <a:cubicBezTo>
                      <a:pt x="1289" y="150"/>
                      <a:pt x="1294" y="143"/>
                      <a:pt x="1295" y="142"/>
                    </a:cubicBezTo>
                    <a:cubicBezTo>
                      <a:pt x="1295" y="141"/>
                      <a:pt x="1298" y="137"/>
                      <a:pt x="1298" y="137"/>
                    </a:cubicBezTo>
                    <a:cubicBezTo>
                      <a:pt x="1299" y="137"/>
                      <a:pt x="1299" y="137"/>
                      <a:pt x="1299" y="138"/>
                    </a:cubicBezTo>
                    <a:cubicBezTo>
                      <a:pt x="1299" y="139"/>
                      <a:pt x="1298" y="140"/>
                      <a:pt x="1297" y="141"/>
                    </a:cubicBezTo>
                    <a:cubicBezTo>
                      <a:pt x="1298" y="141"/>
                      <a:pt x="1299" y="141"/>
                      <a:pt x="1299" y="140"/>
                    </a:cubicBezTo>
                    <a:cubicBezTo>
                      <a:pt x="1299" y="141"/>
                      <a:pt x="1297" y="142"/>
                      <a:pt x="1297" y="144"/>
                    </a:cubicBezTo>
                    <a:cubicBezTo>
                      <a:pt x="1297" y="144"/>
                      <a:pt x="1298" y="143"/>
                      <a:pt x="1298" y="143"/>
                    </a:cubicBezTo>
                    <a:cubicBezTo>
                      <a:pt x="1300" y="143"/>
                      <a:pt x="1303" y="145"/>
                      <a:pt x="1304" y="146"/>
                    </a:cubicBezTo>
                    <a:cubicBezTo>
                      <a:pt x="1303" y="143"/>
                      <a:pt x="1304" y="141"/>
                      <a:pt x="1306" y="139"/>
                    </a:cubicBezTo>
                    <a:cubicBezTo>
                      <a:pt x="1307" y="139"/>
                      <a:pt x="1308" y="138"/>
                      <a:pt x="1310" y="138"/>
                    </a:cubicBezTo>
                    <a:cubicBezTo>
                      <a:pt x="1311" y="138"/>
                      <a:pt x="1312" y="138"/>
                      <a:pt x="1312" y="139"/>
                    </a:cubicBezTo>
                    <a:cubicBezTo>
                      <a:pt x="1312" y="139"/>
                      <a:pt x="1312" y="139"/>
                      <a:pt x="1312" y="139"/>
                    </a:cubicBezTo>
                    <a:cubicBezTo>
                      <a:pt x="1314" y="139"/>
                      <a:pt x="1313" y="141"/>
                      <a:pt x="1315" y="143"/>
                    </a:cubicBezTo>
                    <a:cubicBezTo>
                      <a:pt x="1316" y="142"/>
                      <a:pt x="1316" y="140"/>
                      <a:pt x="1317" y="139"/>
                    </a:cubicBezTo>
                    <a:cubicBezTo>
                      <a:pt x="1317" y="140"/>
                      <a:pt x="1318" y="141"/>
                      <a:pt x="1318" y="141"/>
                    </a:cubicBezTo>
                    <a:cubicBezTo>
                      <a:pt x="1319" y="139"/>
                      <a:pt x="1320" y="137"/>
                      <a:pt x="1321" y="136"/>
                    </a:cubicBezTo>
                    <a:cubicBezTo>
                      <a:pt x="1321" y="136"/>
                      <a:pt x="1322" y="136"/>
                      <a:pt x="1322" y="136"/>
                    </a:cubicBezTo>
                    <a:cubicBezTo>
                      <a:pt x="1323" y="136"/>
                      <a:pt x="1325" y="135"/>
                      <a:pt x="1326" y="135"/>
                    </a:cubicBezTo>
                    <a:cubicBezTo>
                      <a:pt x="1328" y="134"/>
                      <a:pt x="1329" y="133"/>
                      <a:pt x="1330" y="133"/>
                    </a:cubicBezTo>
                    <a:cubicBezTo>
                      <a:pt x="1330" y="133"/>
                      <a:pt x="1331" y="133"/>
                      <a:pt x="1331" y="133"/>
                    </a:cubicBezTo>
                    <a:cubicBezTo>
                      <a:pt x="1332" y="133"/>
                      <a:pt x="1332" y="135"/>
                      <a:pt x="1333" y="135"/>
                    </a:cubicBezTo>
                    <a:cubicBezTo>
                      <a:pt x="1333" y="135"/>
                      <a:pt x="1334" y="135"/>
                      <a:pt x="1334" y="134"/>
                    </a:cubicBezTo>
                    <a:cubicBezTo>
                      <a:pt x="1335" y="133"/>
                      <a:pt x="1337" y="132"/>
                      <a:pt x="1339" y="130"/>
                    </a:cubicBezTo>
                    <a:cubicBezTo>
                      <a:pt x="1340" y="129"/>
                      <a:pt x="1340" y="129"/>
                      <a:pt x="1339" y="128"/>
                    </a:cubicBezTo>
                    <a:cubicBezTo>
                      <a:pt x="1338" y="128"/>
                      <a:pt x="1338" y="129"/>
                      <a:pt x="1338" y="129"/>
                    </a:cubicBezTo>
                    <a:cubicBezTo>
                      <a:pt x="1338" y="129"/>
                      <a:pt x="1337" y="128"/>
                      <a:pt x="1337" y="128"/>
                    </a:cubicBezTo>
                    <a:cubicBezTo>
                      <a:pt x="1337" y="128"/>
                      <a:pt x="1337" y="128"/>
                      <a:pt x="1336" y="128"/>
                    </a:cubicBezTo>
                    <a:cubicBezTo>
                      <a:pt x="1335" y="128"/>
                      <a:pt x="1334" y="127"/>
                      <a:pt x="1336" y="126"/>
                    </a:cubicBezTo>
                    <a:cubicBezTo>
                      <a:pt x="1337" y="126"/>
                      <a:pt x="1338" y="126"/>
                      <a:pt x="1338" y="125"/>
                    </a:cubicBezTo>
                    <a:cubicBezTo>
                      <a:pt x="1338" y="124"/>
                      <a:pt x="1338" y="124"/>
                      <a:pt x="1338" y="124"/>
                    </a:cubicBezTo>
                    <a:cubicBezTo>
                      <a:pt x="1337" y="124"/>
                      <a:pt x="1337" y="124"/>
                      <a:pt x="1337" y="124"/>
                    </a:cubicBezTo>
                    <a:cubicBezTo>
                      <a:pt x="1337" y="124"/>
                      <a:pt x="1337" y="124"/>
                      <a:pt x="1337" y="124"/>
                    </a:cubicBezTo>
                    <a:cubicBezTo>
                      <a:pt x="1335" y="123"/>
                      <a:pt x="1335" y="123"/>
                      <a:pt x="1335" y="123"/>
                    </a:cubicBezTo>
                    <a:cubicBezTo>
                      <a:pt x="1334" y="123"/>
                      <a:pt x="1333" y="123"/>
                      <a:pt x="1333" y="123"/>
                    </a:cubicBezTo>
                    <a:cubicBezTo>
                      <a:pt x="1332" y="123"/>
                      <a:pt x="1331" y="123"/>
                      <a:pt x="1330" y="123"/>
                    </a:cubicBezTo>
                    <a:cubicBezTo>
                      <a:pt x="1327" y="121"/>
                      <a:pt x="1328" y="116"/>
                      <a:pt x="1328" y="115"/>
                    </a:cubicBezTo>
                    <a:cubicBezTo>
                      <a:pt x="1328" y="115"/>
                      <a:pt x="1328" y="114"/>
                      <a:pt x="1328" y="114"/>
                    </a:cubicBezTo>
                    <a:cubicBezTo>
                      <a:pt x="1328" y="112"/>
                      <a:pt x="1328" y="111"/>
                      <a:pt x="1328" y="110"/>
                    </a:cubicBezTo>
                    <a:cubicBezTo>
                      <a:pt x="1324" y="110"/>
                      <a:pt x="1322" y="109"/>
                      <a:pt x="1320" y="106"/>
                    </a:cubicBezTo>
                    <a:cubicBezTo>
                      <a:pt x="1318" y="104"/>
                      <a:pt x="1319" y="101"/>
                      <a:pt x="1319" y="99"/>
                    </a:cubicBezTo>
                    <a:cubicBezTo>
                      <a:pt x="1319" y="97"/>
                      <a:pt x="1319" y="81"/>
                      <a:pt x="1319" y="73"/>
                    </a:cubicBezTo>
                    <a:cubicBezTo>
                      <a:pt x="1319" y="69"/>
                      <a:pt x="1319" y="65"/>
                      <a:pt x="1318" y="65"/>
                    </a:cubicBezTo>
                    <a:cubicBezTo>
                      <a:pt x="1318" y="65"/>
                      <a:pt x="1318" y="65"/>
                      <a:pt x="1318" y="65"/>
                    </a:cubicBezTo>
                    <a:cubicBezTo>
                      <a:pt x="1317" y="64"/>
                      <a:pt x="1316" y="64"/>
                      <a:pt x="1315" y="63"/>
                    </a:cubicBezTo>
                    <a:cubicBezTo>
                      <a:pt x="1314" y="62"/>
                      <a:pt x="1312" y="61"/>
                      <a:pt x="1311" y="60"/>
                    </a:cubicBezTo>
                    <a:cubicBezTo>
                      <a:pt x="1311" y="59"/>
                      <a:pt x="1311" y="59"/>
                      <a:pt x="1311" y="59"/>
                    </a:cubicBezTo>
                    <a:cubicBezTo>
                      <a:pt x="1310" y="59"/>
                      <a:pt x="1308" y="60"/>
                      <a:pt x="1302" y="62"/>
                    </a:cubicBezTo>
                    <a:cubicBezTo>
                      <a:pt x="1302" y="63"/>
                      <a:pt x="1301" y="63"/>
                      <a:pt x="1301" y="63"/>
                    </a:cubicBezTo>
                    <a:cubicBezTo>
                      <a:pt x="1300" y="63"/>
                      <a:pt x="1300" y="63"/>
                      <a:pt x="1300" y="63"/>
                    </a:cubicBezTo>
                    <a:cubicBezTo>
                      <a:pt x="1299" y="64"/>
                      <a:pt x="1298" y="64"/>
                      <a:pt x="1297" y="64"/>
                    </a:cubicBezTo>
                    <a:cubicBezTo>
                      <a:pt x="1294" y="64"/>
                      <a:pt x="1292" y="61"/>
                      <a:pt x="1291" y="60"/>
                    </a:cubicBezTo>
                    <a:cubicBezTo>
                      <a:pt x="1290" y="59"/>
                      <a:pt x="1290" y="59"/>
                      <a:pt x="1290" y="59"/>
                    </a:cubicBezTo>
                    <a:cubicBezTo>
                      <a:pt x="1290" y="58"/>
                      <a:pt x="1290" y="58"/>
                      <a:pt x="1290" y="58"/>
                    </a:cubicBezTo>
                    <a:cubicBezTo>
                      <a:pt x="1290" y="57"/>
                      <a:pt x="1290" y="57"/>
                      <a:pt x="1290" y="56"/>
                    </a:cubicBezTo>
                    <a:cubicBezTo>
                      <a:pt x="1290" y="56"/>
                      <a:pt x="1289" y="57"/>
                      <a:pt x="1289" y="58"/>
                    </a:cubicBezTo>
                    <a:cubicBezTo>
                      <a:pt x="1289" y="58"/>
                      <a:pt x="1287" y="61"/>
                      <a:pt x="1281" y="71"/>
                    </a:cubicBezTo>
                    <a:cubicBezTo>
                      <a:pt x="1274" y="83"/>
                      <a:pt x="1274" y="83"/>
                      <a:pt x="1274" y="83"/>
                    </a:cubicBezTo>
                    <a:cubicBezTo>
                      <a:pt x="1272" y="86"/>
                      <a:pt x="1268" y="93"/>
                      <a:pt x="1267" y="95"/>
                    </a:cubicBezTo>
                    <a:cubicBezTo>
                      <a:pt x="1269" y="97"/>
                      <a:pt x="1269" y="100"/>
                      <a:pt x="1266" y="102"/>
                    </a:cubicBezTo>
                    <a:cubicBezTo>
                      <a:pt x="1265" y="104"/>
                      <a:pt x="1261" y="110"/>
                      <a:pt x="1258" y="114"/>
                    </a:cubicBezTo>
                    <a:cubicBezTo>
                      <a:pt x="1256" y="118"/>
                      <a:pt x="1254" y="120"/>
                      <a:pt x="1250" y="120"/>
                    </a:cubicBezTo>
                    <a:cubicBezTo>
                      <a:pt x="1248" y="120"/>
                      <a:pt x="1247" y="120"/>
                      <a:pt x="1245" y="119"/>
                    </a:cubicBezTo>
                    <a:cubicBezTo>
                      <a:pt x="1244" y="119"/>
                      <a:pt x="1243" y="119"/>
                      <a:pt x="1243" y="119"/>
                    </a:cubicBezTo>
                    <a:cubicBezTo>
                      <a:pt x="1242" y="119"/>
                      <a:pt x="1242" y="119"/>
                      <a:pt x="1241" y="119"/>
                    </a:cubicBezTo>
                    <a:cubicBezTo>
                      <a:pt x="1241" y="120"/>
                      <a:pt x="1239" y="121"/>
                      <a:pt x="1238" y="125"/>
                    </a:cubicBezTo>
                    <a:cubicBezTo>
                      <a:pt x="1237" y="127"/>
                      <a:pt x="1237" y="127"/>
                      <a:pt x="1237" y="127"/>
                    </a:cubicBezTo>
                    <a:cubicBezTo>
                      <a:pt x="1235" y="127"/>
                      <a:pt x="1235" y="127"/>
                      <a:pt x="1235" y="127"/>
                    </a:cubicBezTo>
                    <a:cubicBezTo>
                      <a:pt x="1235" y="127"/>
                      <a:pt x="1177" y="128"/>
                      <a:pt x="1165" y="128"/>
                    </a:cubicBezTo>
                    <a:cubicBezTo>
                      <a:pt x="1154" y="128"/>
                      <a:pt x="1150" y="131"/>
                      <a:pt x="1149" y="132"/>
                    </a:cubicBezTo>
                    <a:cubicBezTo>
                      <a:pt x="1148" y="133"/>
                      <a:pt x="1147" y="134"/>
                      <a:pt x="1145" y="135"/>
                    </a:cubicBezTo>
                    <a:cubicBezTo>
                      <a:pt x="1144" y="136"/>
                      <a:pt x="1144" y="136"/>
                      <a:pt x="1144" y="136"/>
                    </a:cubicBezTo>
                    <a:cubicBezTo>
                      <a:pt x="1142" y="138"/>
                      <a:pt x="1140" y="140"/>
                      <a:pt x="1139" y="141"/>
                    </a:cubicBezTo>
                    <a:cubicBezTo>
                      <a:pt x="1137" y="142"/>
                      <a:pt x="1135" y="144"/>
                      <a:pt x="1132" y="146"/>
                    </a:cubicBezTo>
                    <a:cubicBezTo>
                      <a:pt x="1131" y="146"/>
                      <a:pt x="1131" y="146"/>
                      <a:pt x="1131" y="146"/>
                    </a:cubicBezTo>
                    <a:cubicBezTo>
                      <a:pt x="1130" y="144"/>
                      <a:pt x="1130" y="144"/>
                      <a:pt x="1130" y="144"/>
                    </a:cubicBezTo>
                    <a:cubicBezTo>
                      <a:pt x="1128" y="145"/>
                      <a:pt x="1128" y="145"/>
                      <a:pt x="1128" y="145"/>
                    </a:cubicBezTo>
                    <a:cubicBezTo>
                      <a:pt x="1127" y="146"/>
                      <a:pt x="1127" y="146"/>
                      <a:pt x="1127" y="146"/>
                    </a:cubicBezTo>
                    <a:cubicBezTo>
                      <a:pt x="1125" y="147"/>
                      <a:pt x="1124" y="148"/>
                      <a:pt x="1123" y="149"/>
                    </a:cubicBezTo>
                    <a:cubicBezTo>
                      <a:pt x="1123" y="149"/>
                      <a:pt x="1122" y="150"/>
                      <a:pt x="1122" y="151"/>
                    </a:cubicBezTo>
                    <a:cubicBezTo>
                      <a:pt x="1122" y="151"/>
                      <a:pt x="1122" y="151"/>
                      <a:pt x="1122" y="151"/>
                    </a:cubicBezTo>
                    <a:cubicBezTo>
                      <a:pt x="1122" y="151"/>
                      <a:pt x="1123" y="152"/>
                      <a:pt x="1123" y="153"/>
                    </a:cubicBezTo>
                    <a:cubicBezTo>
                      <a:pt x="1124" y="152"/>
                      <a:pt x="1125" y="151"/>
                      <a:pt x="1125" y="151"/>
                    </a:cubicBezTo>
                    <a:cubicBezTo>
                      <a:pt x="1126" y="151"/>
                      <a:pt x="1126" y="151"/>
                      <a:pt x="1126" y="151"/>
                    </a:cubicBezTo>
                    <a:cubicBezTo>
                      <a:pt x="1126" y="152"/>
                      <a:pt x="1126" y="153"/>
                      <a:pt x="1125" y="154"/>
                    </a:cubicBezTo>
                    <a:cubicBezTo>
                      <a:pt x="1125" y="154"/>
                      <a:pt x="1126" y="154"/>
                      <a:pt x="1126" y="154"/>
                    </a:cubicBezTo>
                    <a:cubicBezTo>
                      <a:pt x="1126" y="154"/>
                      <a:pt x="1127" y="154"/>
                      <a:pt x="1127" y="154"/>
                    </a:cubicBezTo>
                    <a:cubicBezTo>
                      <a:pt x="1126" y="156"/>
                      <a:pt x="1125" y="156"/>
                      <a:pt x="1123" y="158"/>
                    </a:cubicBezTo>
                    <a:cubicBezTo>
                      <a:pt x="1126" y="159"/>
                      <a:pt x="1127" y="166"/>
                      <a:pt x="1124" y="167"/>
                    </a:cubicBezTo>
                    <a:cubicBezTo>
                      <a:pt x="1124" y="167"/>
                      <a:pt x="1123" y="167"/>
                      <a:pt x="1123" y="167"/>
                    </a:cubicBezTo>
                    <a:cubicBezTo>
                      <a:pt x="1123" y="167"/>
                      <a:pt x="1123" y="167"/>
                      <a:pt x="1122" y="167"/>
                    </a:cubicBezTo>
                    <a:cubicBezTo>
                      <a:pt x="1122" y="167"/>
                      <a:pt x="1122" y="167"/>
                      <a:pt x="1122" y="167"/>
                    </a:cubicBezTo>
                    <a:cubicBezTo>
                      <a:pt x="1122" y="167"/>
                      <a:pt x="1122" y="167"/>
                      <a:pt x="1122" y="167"/>
                    </a:cubicBezTo>
                    <a:cubicBezTo>
                      <a:pt x="1120" y="167"/>
                      <a:pt x="1118" y="169"/>
                      <a:pt x="1116" y="170"/>
                    </a:cubicBezTo>
                    <a:cubicBezTo>
                      <a:pt x="1114" y="172"/>
                      <a:pt x="1112" y="173"/>
                      <a:pt x="1109" y="174"/>
                    </a:cubicBezTo>
                    <a:cubicBezTo>
                      <a:pt x="1109" y="174"/>
                      <a:pt x="1108" y="174"/>
                      <a:pt x="1108" y="174"/>
                    </a:cubicBezTo>
                    <a:cubicBezTo>
                      <a:pt x="1108" y="174"/>
                      <a:pt x="1108" y="174"/>
                      <a:pt x="1107" y="174"/>
                    </a:cubicBezTo>
                    <a:cubicBezTo>
                      <a:pt x="1105" y="173"/>
                      <a:pt x="1103" y="173"/>
                      <a:pt x="1101" y="173"/>
                    </a:cubicBezTo>
                    <a:cubicBezTo>
                      <a:pt x="1100" y="173"/>
                      <a:pt x="1099" y="173"/>
                      <a:pt x="1098" y="173"/>
                    </a:cubicBezTo>
                    <a:cubicBezTo>
                      <a:pt x="1096" y="174"/>
                      <a:pt x="1095" y="174"/>
                      <a:pt x="1094" y="174"/>
                    </a:cubicBezTo>
                    <a:cubicBezTo>
                      <a:pt x="1093" y="174"/>
                      <a:pt x="1092" y="174"/>
                      <a:pt x="1091" y="173"/>
                    </a:cubicBezTo>
                    <a:cubicBezTo>
                      <a:pt x="1088" y="171"/>
                      <a:pt x="1084" y="170"/>
                      <a:pt x="1080" y="170"/>
                    </a:cubicBezTo>
                    <a:cubicBezTo>
                      <a:pt x="1073" y="170"/>
                      <a:pt x="1065" y="173"/>
                      <a:pt x="1059" y="174"/>
                    </a:cubicBezTo>
                    <a:cubicBezTo>
                      <a:pt x="1059" y="176"/>
                      <a:pt x="1059" y="176"/>
                      <a:pt x="1059" y="176"/>
                    </a:cubicBezTo>
                    <a:cubicBezTo>
                      <a:pt x="1060" y="178"/>
                      <a:pt x="1060" y="179"/>
                      <a:pt x="1060" y="179"/>
                    </a:cubicBezTo>
                    <a:cubicBezTo>
                      <a:pt x="1061" y="179"/>
                      <a:pt x="1063" y="179"/>
                      <a:pt x="1063" y="180"/>
                    </a:cubicBezTo>
                    <a:cubicBezTo>
                      <a:pt x="1063" y="181"/>
                      <a:pt x="1063" y="182"/>
                      <a:pt x="1063" y="182"/>
                    </a:cubicBezTo>
                    <a:cubicBezTo>
                      <a:pt x="1063" y="183"/>
                      <a:pt x="1063" y="183"/>
                      <a:pt x="1063" y="184"/>
                    </a:cubicBezTo>
                    <a:cubicBezTo>
                      <a:pt x="1063" y="185"/>
                      <a:pt x="1063" y="185"/>
                      <a:pt x="1063" y="185"/>
                    </a:cubicBezTo>
                    <a:cubicBezTo>
                      <a:pt x="1063" y="186"/>
                      <a:pt x="1065" y="187"/>
                      <a:pt x="1063" y="188"/>
                    </a:cubicBezTo>
                    <a:cubicBezTo>
                      <a:pt x="1062" y="189"/>
                      <a:pt x="1062" y="189"/>
                      <a:pt x="1062" y="189"/>
                    </a:cubicBezTo>
                    <a:cubicBezTo>
                      <a:pt x="1061" y="190"/>
                      <a:pt x="1059" y="191"/>
                      <a:pt x="1057" y="193"/>
                    </a:cubicBezTo>
                    <a:cubicBezTo>
                      <a:pt x="1056" y="193"/>
                      <a:pt x="1056" y="193"/>
                      <a:pt x="1056" y="193"/>
                    </a:cubicBezTo>
                    <a:cubicBezTo>
                      <a:pt x="1052" y="196"/>
                      <a:pt x="1048" y="199"/>
                      <a:pt x="1044" y="202"/>
                    </a:cubicBezTo>
                    <a:cubicBezTo>
                      <a:pt x="1039" y="205"/>
                      <a:pt x="1034" y="207"/>
                      <a:pt x="1030" y="208"/>
                    </a:cubicBezTo>
                    <a:cubicBezTo>
                      <a:pt x="1029" y="208"/>
                      <a:pt x="1029" y="208"/>
                      <a:pt x="1029" y="208"/>
                    </a:cubicBezTo>
                    <a:cubicBezTo>
                      <a:pt x="1023" y="211"/>
                      <a:pt x="1017" y="213"/>
                      <a:pt x="1011" y="215"/>
                    </a:cubicBezTo>
                    <a:cubicBezTo>
                      <a:pt x="1007" y="217"/>
                      <a:pt x="1004" y="219"/>
                      <a:pt x="1001" y="222"/>
                    </a:cubicBezTo>
                    <a:cubicBezTo>
                      <a:pt x="1001" y="222"/>
                      <a:pt x="1001" y="222"/>
                      <a:pt x="1001" y="222"/>
                    </a:cubicBezTo>
                    <a:cubicBezTo>
                      <a:pt x="1001" y="222"/>
                      <a:pt x="1001" y="222"/>
                      <a:pt x="1001" y="222"/>
                    </a:cubicBezTo>
                    <a:cubicBezTo>
                      <a:pt x="1000" y="222"/>
                      <a:pt x="1000" y="222"/>
                      <a:pt x="1000" y="222"/>
                    </a:cubicBezTo>
                    <a:cubicBezTo>
                      <a:pt x="996" y="225"/>
                      <a:pt x="991" y="224"/>
                      <a:pt x="986" y="225"/>
                    </a:cubicBezTo>
                    <a:cubicBezTo>
                      <a:pt x="985" y="225"/>
                      <a:pt x="984" y="225"/>
                      <a:pt x="983" y="226"/>
                    </a:cubicBezTo>
                    <a:cubicBezTo>
                      <a:pt x="982" y="226"/>
                      <a:pt x="981" y="226"/>
                      <a:pt x="980" y="227"/>
                    </a:cubicBezTo>
                    <a:cubicBezTo>
                      <a:pt x="980" y="227"/>
                      <a:pt x="979" y="227"/>
                      <a:pt x="978" y="227"/>
                    </a:cubicBezTo>
                    <a:cubicBezTo>
                      <a:pt x="975" y="227"/>
                      <a:pt x="970" y="226"/>
                      <a:pt x="967" y="225"/>
                    </a:cubicBezTo>
                    <a:cubicBezTo>
                      <a:pt x="969" y="223"/>
                      <a:pt x="971" y="224"/>
                      <a:pt x="973" y="223"/>
                    </a:cubicBezTo>
                    <a:cubicBezTo>
                      <a:pt x="975" y="223"/>
                      <a:pt x="975" y="223"/>
                      <a:pt x="972" y="222"/>
                    </a:cubicBezTo>
                    <a:cubicBezTo>
                      <a:pt x="967" y="220"/>
                      <a:pt x="962" y="218"/>
                      <a:pt x="957" y="217"/>
                    </a:cubicBezTo>
                    <a:cubicBezTo>
                      <a:pt x="962" y="209"/>
                      <a:pt x="967" y="201"/>
                      <a:pt x="971" y="193"/>
                    </a:cubicBezTo>
                    <a:cubicBezTo>
                      <a:pt x="972" y="192"/>
                      <a:pt x="973" y="191"/>
                      <a:pt x="973" y="191"/>
                    </a:cubicBezTo>
                    <a:cubicBezTo>
                      <a:pt x="974" y="190"/>
                      <a:pt x="974" y="190"/>
                      <a:pt x="975" y="190"/>
                    </a:cubicBezTo>
                    <a:cubicBezTo>
                      <a:pt x="975" y="190"/>
                      <a:pt x="975" y="190"/>
                      <a:pt x="976" y="191"/>
                    </a:cubicBezTo>
                    <a:cubicBezTo>
                      <a:pt x="976" y="191"/>
                      <a:pt x="976" y="191"/>
                      <a:pt x="976" y="192"/>
                    </a:cubicBezTo>
                    <a:cubicBezTo>
                      <a:pt x="976" y="192"/>
                      <a:pt x="976" y="192"/>
                      <a:pt x="976" y="192"/>
                    </a:cubicBezTo>
                    <a:cubicBezTo>
                      <a:pt x="977" y="190"/>
                      <a:pt x="978" y="189"/>
                      <a:pt x="979" y="187"/>
                    </a:cubicBezTo>
                    <a:cubicBezTo>
                      <a:pt x="979" y="187"/>
                      <a:pt x="979" y="187"/>
                      <a:pt x="979" y="187"/>
                    </a:cubicBezTo>
                    <a:cubicBezTo>
                      <a:pt x="979" y="187"/>
                      <a:pt x="979" y="187"/>
                      <a:pt x="979" y="187"/>
                    </a:cubicBezTo>
                    <a:cubicBezTo>
                      <a:pt x="979" y="187"/>
                      <a:pt x="979" y="187"/>
                      <a:pt x="979" y="187"/>
                    </a:cubicBezTo>
                    <a:cubicBezTo>
                      <a:pt x="979" y="187"/>
                      <a:pt x="979" y="187"/>
                      <a:pt x="979" y="187"/>
                    </a:cubicBezTo>
                    <a:cubicBezTo>
                      <a:pt x="979" y="186"/>
                      <a:pt x="980" y="185"/>
                      <a:pt x="980" y="184"/>
                    </a:cubicBezTo>
                    <a:cubicBezTo>
                      <a:pt x="982" y="181"/>
                      <a:pt x="981" y="181"/>
                      <a:pt x="980" y="178"/>
                    </a:cubicBezTo>
                    <a:cubicBezTo>
                      <a:pt x="980" y="177"/>
                      <a:pt x="979" y="176"/>
                      <a:pt x="979" y="175"/>
                    </a:cubicBezTo>
                    <a:cubicBezTo>
                      <a:pt x="979" y="172"/>
                      <a:pt x="978" y="170"/>
                      <a:pt x="978" y="167"/>
                    </a:cubicBezTo>
                    <a:cubicBezTo>
                      <a:pt x="977" y="163"/>
                      <a:pt x="977" y="157"/>
                      <a:pt x="974" y="154"/>
                    </a:cubicBezTo>
                    <a:cubicBezTo>
                      <a:pt x="972" y="152"/>
                      <a:pt x="971" y="152"/>
                      <a:pt x="969" y="152"/>
                    </a:cubicBezTo>
                    <a:cubicBezTo>
                      <a:pt x="966" y="152"/>
                      <a:pt x="962" y="155"/>
                      <a:pt x="959" y="156"/>
                    </a:cubicBezTo>
                    <a:cubicBezTo>
                      <a:pt x="957" y="158"/>
                      <a:pt x="951" y="162"/>
                      <a:pt x="948" y="162"/>
                    </a:cubicBezTo>
                    <a:cubicBezTo>
                      <a:pt x="947" y="162"/>
                      <a:pt x="947" y="162"/>
                      <a:pt x="946" y="162"/>
                    </a:cubicBezTo>
                    <a:cubicBezTo>
                      <a:pt x="946" y="161"/>
                      <a:pt x="946" y="159"/>
                      <a:pt x="946" y="158"/>
                    </a:cubicBezTo>
                    <a:cubicBezTo>
                      <a:pt x="946" y="157"/>
                      <a:pt x="947" y="156"/>
                      <a:pt x="947" y="155"/>
                    </a:cubicBezTo>
                    <a:cubicBezTo>
                      <a:pt x="949" y="152"/>
                      <a:pt x="953" y="153"/>
                      <a:pt x="954" y="151"/>
                    </a:cubicBezTo>
                    <a:cubicBezTo>
                      <a:pt x="955" y="150"/>
                      <a:pt x="954" y="148"/>
                      <a:pt x="955" y="147"/>
                    </a:cubicBezTo>
                    <a:cubicBezTo>
                      <a:pt x="956" y="145"/>
                      <a:pt x="959" y="145"/>
                      <a:pt x="960" y="144"/>
                    </a:cubicBezTo>
                    <a:cubicBezTo>
                      <a:pt x="961" y="142"/>
                      <a:pt x="961" y="134"/>
                      <a:pt x="961" y="131"/>
                    </a:cubicBezTo>
                    <a:cubicBezTo>
                      <a:pt x="961" y="129"/>
                      <a:pt x="955" y="123"/>
                      <a:pt x="959" y="123"/>
                    </a:cubicBezTo>
                    <a:cubicBezTo>
                      <a:pt x="959" y="123"/>
                      <a:pt x="960" y="123"/>
                      <a:pt x="961" y="124"/>
                    </a:cubicBezTo>
                    <a:cubicBezTo>
                      <a:pt x="961" y="121"/>
                      <a:pt x="960" y="121"/>
                      <a:pt x="959" y="119"/>
                    </a:cubicBezTo>
                    <a:cubicBezTo>
                      <a:pt x="959" y="118"/>
                      <a:pt x="959" y="117"/>
                      <a:pt x="958" y="116"/>
                    </a:cubicBezTo>
                    <a:cubicBezTo>
                      <a:pt x="957" y="115"/>
                      <a:pt x="953" y="113"/>
                      <a:pt x="951" y="113"/>
                    </a:cubicBezTo>
                    <a:cubicBezTo>
                      <a:pt x="949" y="112"/>
                      <a:pt x="946" y="111"/>
                      <a:pt x="943" y="110"/>
                    </a:cubicBezTo>
                    <a:cubicBezTo>
                      <a:pt x="941" y="109"/>
                      <a:pt x="941" y="106"/>
                      <a:pt x="937" y="106"/>
                    </a:cubicBezTo>
                    <a:cubicBezTo>
                      <a:pt x="937" y="105"/>
                      <a:pt x="936" y="105"/>
                      <a:pt x="936" y="105"/>
                    </a:cubicBezTo>
                    <a:cubicBezTo>
                      <a:pt x="936" y="105"/>
                      <a:pt x="936" y="105"/>
                      <a:pt x="935" y="105"/>
                    </a:cubicBezTo>
                    <a:cubicBezTo>
                      <a:pt x="935" y="105"/>
                      <a:pt x="935" y="105"/>
                      <a:pt x="935" y="105"/>
                    </a:cubicBezTo>
                    <a:cubicBezTo>
                      <a:pt x="934" y="105"/>
                      <a:pt x="933" y="105"/>
                      <a:pt x="933" y="105"/>
                    </a:cubicBezTo>
                    <a:cubicBezTo>
                      <a:pt x="931" y="104"/>
                      <a:pt x="930" y="103"/>
                      <a:pt x="928" y="103"/>
                    </a:cubicBezTo>
                    <a:cubicBezTo>
                      <a:pt x="928" y="102"/>
                      <a:pt x="926" y="102"/>
                      <a:pt x="924" y="102"/>
                    </a:cubicBezTo>
                    <a:cubicBezTo>
                      <a:pt x="923" y="102"/>
                      <a:pt x="923" y="102"/>
                      <a:pt x="922" y="103"/>
                    </a:cubicBezTo>
                    <a:cubicBezTo>
                      <a:pt x="920" y="104"/>
                      <a:pt x="919" y="113"/>
                      <a:pt x="923" y="113"/>
                    </a:cubicBezTo>
                    <a:cubicBezTo>
                      <a:pt x="923" y="113"/>
                      <a:pt x="923" y="113"/>
                      <a:pt x="923" y="113"/>
                    </a:cubicBezTo>
                    <a:cubicBezTo>
                      <a:pt x="921" y="115"/>
                      <a:pt x="917" y="113"/>
                      <a:pt x="914" y="116"/>
                    </a:cubicBezTo>
                    <a:cubicBezTo>
                      <a:pt x="912" y="118"/>
                      <a:pt x="912" y="121"/>
                      <a:pt x="912" y="124"/>
                    </a:cubicBezTo>
                    <a:cubicBezTo>
                      <a:pt x="912" y="126"/>
                      <a:pt x="912" y="126"/>
                      <a:pt x="912" y="126"/>
                    </a:cubicBezTo>
                    <a:cubicBezTo>
                      <a:pt x="911" y="126"/>
                      <a:pt x="911" y="126"/>
                      <a:pt x="911" y="126"/>
                    </a:cubicBezTo>
                    <a:cubicBezTo>
                      <a:pt x="910" y="125"/>
                      <a:pt x="910" y="125"/>
                      <a:pt x="910" y="125"/>
                    </a:cubicBezTo>
                    <a:cubicBezTo>
                      <a:pt x="910" y="125"/>
                      <a:pt x="909" y="125"/>
                      <a:pt x="909" y="125"/>
                    </a:cubicBezTo>
                    <a:cubicBezTo>
                      <a:pt x="908" y="126"/>
                      <a:pt x="908" y="130"/>
                      <a:pt x="907" y="131"/>
                    </a:cubicBezTo>
                    <a:cubicBezTo>
                      <a:pt x="906" y="129"/>
                      <a:pt x="907" y="127"/>
                      <a:pt x="907" y="125"/>
                    </a:cubicBezTo>
                    <a:cubicBezTo>
                      <a:pt x="907" y="125"/>
                      <a:pt x="907" y="125"/>
                      <a:pt x="907" y="125"/>
                    </a:cubicBezTo>
                    <a:cubicBezTo>
                      <a:pt x="907" y="124"/>
                      <a:pt x="908" y="120"/>
                      <a:pt x="907" y="120"/>
                    </a:cubicBezTo>
                    <a:cubicBezTo>
                      <a:pt x="907" y="120"/>
                      <a:pt x="907" y="120"/>
                      <a:pt x="907" y="120"/>
                    </a:cubicBezTo>
                    <a:cubicBezTo>
                      <a:pt x="906" y="120"/>
                      <a:pt x="904" y="123"/>
                      <a:pt x="904" y="123"/>
                    </a:cubicBezTo>
                    <a:cubicBezTo>
                      <a:pt x="903" y="124"/>
                      <a:pt x="903" y="126"/>
                      <a:pt x="902" y="126"/>
                    </a:cubicBezTo>
                    <a:cubicBezTo>
                      <a:pt x="902" y="126"/>
                      <a:pt x="902" y="126"/>
                      <a:pt x="902" y="126"/>
                    </a:cubicBezTo>
                    <a:cubicBezTo>
                      <a:pt x="902" y="126"/>
                      <a:pt x="901" y="126"/>
                      <a:pt x="901" y="126"/>
                    </a:cubicBezTo>
                    <a:cubicBezTo>
                      <a:pt x="901" y="126"/>
                      <a:pt x="901" y="125"/>
                      <a:pt x="900" y="125"/>
                    </a:cubicBezTo>
                    <a:cubicBezTo>
                      <a:pt x="900" y="125"/>
                      <a:pt x="900" y="125"/>
                      <a:pt x="900" y="125"/>
                    </a:cubicBezTo>
                    <a:cubicBezTo>
                      <a:pt x="899" y="126"/>
                      <a:pt x="899" y="127"/>
                      <a:pt x="899" y="127"/>
                    </a:cubicBezTo>
                    <a:cubicBezTo>
                      <a:pt x="898" y="127"/>
                      <a:pt x="898" y="127"/>
                      <a:pt x="898" y="127"/>
                    </a:cubicBezTo>
                    <a:cubicBezTo>
                      <a:pt x="898" y="127"/>
                      <a:pt x="898" y="127"/>
                      <a:pt x="898" y="127"/>
                    </a:cubicBezTo>
                    <a:cubicBezTo>
                      <a:pt x="898" y="127"/>
                      <a:pt x="897" y="127"/>
                      <a:pt x="897" y="127"/>
                    </a:cubicBezTo>
                    <a:cubicBezTo>
                      <a:pt x="897" y="127"/>
                      <a:pt x="897" y="127"/>
                      <a:pt x="897" y="127"/>
                    </a:cubicBezTo>
                    <a:cubicBezTo>
                      <a:pt x="896" y="128"/>
                      <a:pt x="895" y="131"/>
                      <a:pt x="894" y="132"/>
                    </a:cubicBezTo>
                    <a:cubicBezTo>
                      <a:pt x="894" y="133"/>
                      <a:pt x="893" y="133"/>
                      <a:pt x="892" y="133"/>
                    </a:cubicBezTo>
                    <a:cubicBezTo>
                      <a:pt x="889" y="137"/>
                      <a:pt x="889" y="145"/>
                      <a:pt x="887" y="150"/>
                    </a:cubicBezTo>
                    <a:cubicBezTo>
                      <a:pt x="886" y="153"/>
                      <a:pt x="888" y="155"/>
                      <a:pt x="888" y="158"/>
                    </a:cubicBezTo>
                    <a:cubicBezTo>
                      <a:pt x="889" y="162"/>
                      <a:pt x="887" y="166"/>
                      <a:pt x="888" y="169"/>
                    </a:cubicBezTo>
                    <a:cubicBezTo>
                      <a:pt x="888" y="171"/>
                      <a:pt x="889" y="175"/>
                      <a:pt x="891" y="175"/>
                    </a:cubicBezTo>
                    <a:cubicBezTo>
                      <a:pt x="891" y="175"/>
                      <a:pt x="892" y="174"/>
                      <a:pt x="892" y="174"/>
                    </a:cubicBezTo>
                    <a:cubicBezTo>
                      <a:pt x="892" y="177"/>
                      <a:pt x="892" y="179"/>
                      <a:pt x="893" y="182"/>
                    </a:cubicBezTo>
                    <a:cubicBezTo>
                      <a:pt x="893" y="183"/>
                      <a:pt x="893" y="185"/>
                      <a:pt x="893" y="186"/>
                    </a:cubicBezTo>
                    <a:cubicBezTo>
                      <a:pt x="893" y="198"/>
                      <a:pt x="884" y="207"/>
                      <a:pt x="879" y="216"/>
                    </a:cubicBezTo>
                    <a:cubicBezTo>
                      <a:pt x="871" y="220"/>
                      <a:pt x="871" y="220"/>
                      <a:pt x="871" y="220"/>
                    </a:cubicBezTo>
                    <a:cubicBezTo>
                      <a:pt x="871" y="220"/>
                      <a:pt x="870" y="220"/>
                      <a:pt x="870" y="220"/>
                    </a:cubicBezTo>
                    <a:cubicBezTo>
                      <a:pt x="868" y="220"/>
                      <a:pt x="866" y="219"/>
                      <a:pt x="864" y="218"/>
                    </a:cubicBezTo>
                    <a:cubicBezTo>
                      <a:pt x="858" y="208"/>
                      <a:pt x="858" y="208"/>
                      <a:pt x="858" y="208"/>
                    </a:cubicBezTo>
                    <a:cubicBezTo>
                      <a:pt x="857" y="204"/>
                      <a:pt x="856" y="201"/>
                      <a:pt x="856" y="197"/>
                    </a:cubicBezTo>
                    <a:cubicBezTo>
                      <a:pt x="857" y="191"/>
                      <a:pt x="855" y="184"/>
                      <a:pt x="854" y="178"/>
                    </a:cubicBezTo>
                    <a:cubicBezTo>
                      <a:pt x="854" y="175"/>
                      <a:pt x="855" y="173"/>
                      <a:pt x="855" y="170"/>
                    </a:cubicBezTo>
                    <a:cubicBezTo>
                      <a:pt x="857" y="165"/>
                      <a:pt x="857" y="160"/>
                      <a:pt x="858" y="155"/>
                    </a:cubicBezTo>
                    <a:cubicBezTo>
                      <a:pt x="860" y="151"/>
                      <a:pt x="862" y="148"/>
                      <a:pt x="863" y="143"/>
                    </a:cubicBezTo>
                    <a:cubicBezTo>
                      <a:pt x="864" y="140"/>
                      <a:pt x="865" y="137"/>
                      <a:pt x="866" y="133"/>
                    </a:cubicBezTo>
                    <a:cubicBezTo>
                      <a:pt x="867" y="132"/>
                      <a:pt x="867" y="130"/>
                      <a:pt x="866" y="129"/>
                    </a:cubicBezTo>
                    <a:cubicBezTo>
                      <a:pt x="866" y="129"/>
                      <a:pt x="867" y="129"/>
                      <a:pt x="867" y="129"/>
                    </a:cubicBezTo>
                    <a:cubicBezTo>
                      <a:pt x="869" y="129"/>
                      <a:pt x="871" y="127"/>
                      <a:pt x="872" y="125"/>
                    </a:cubicBezTo>
                    <a:cubicBezTo>
                      <a:pt x="874" y="122"/>
                      <a:pt x="874" y="120"/>
                      <a:pt x="873" y="116"/>
                    </a:cubicBezTo>
                    <a:cubicBezTo>
                      <a:pt x="872" y="118"/>
                      <a:pt x="872" y="119"/>
                      <a:pt x="871" y="120"/>
                    </a:cubicBezTo>
                    <a:cubicBezTo>
                      <a:pt x="870" y="121"/>
                      <a:pt x="870" y="120"/>
                      <a:pt x="869" y="121"/>
                    </a:cubicBezTo>
                    <a:cubicBezTo>
                      <a:pt x="869" y="121"/>
                      <a:pt x="869" y="123"/>
                      <a:pt x="868" y="123"/>
                    </a:cubicBezTo>
                    <a:cubicBezTo>
                      <a:pt x="868" y="124"/>
                      <a:pt x="867" y="124"/>
                      <a:pt x="867" y="125"/>
                    </a:cubicBezTo>
                    <a:cubicBezTo>
                      <a:pt x="866" y="126"/>
                      <a:pt x="865" y="128"/>
                      <a:pt x="866" y="129"/>
                    </a:cubicBezTo>
                    <a:cubicBezTo>
                      <a:pt x="866" y="129"/>
                      <a:pt x="865" y="128"/>
                      <a:pt x="865" y="128"/>
                    </a:cubicBezTo>
                    <a:cubicBezTo>
                      <a:pt x="865" y="128"/>
                      <a:pt x="865" y="128"/>
                      <a:pt x="865" y="128"/>
                    </a:cubicBezTo>
                    <a:cubicBezTo>
                      <a:pt x="863" y="128"/>
                      <a:pt x="860" y="130"/>
                      <a:pt x="859" y="131"/>
                    </a:cubicBezTo>
                    <a:cubicBezTo>
                      <a:pt x="857" y="134"/>
                      <a:pt x="857" y="135"/>
                      <a:pt x="854" y="137"/>
                    </a:cubicBezTo>
                    <a:cubicBezTo>
                      <a:pt x="853" y="137"/>
                      <a:pt x="854" y="138"/>
                      <a:pt x="853" y="138"/>
                    </a:cubicBezTo>
                    <a:cubicBezTo>
                      <a:pt x="853" y="138"/>
                      <a:pt x="853" y="138"/>
                      <a:pt x="852" y="137"/>
                    </a:cubicBezTo>
                    <a:cubicBezTo>
                      <a:pt x="851" y="137"/>
                      <a:pt x="851" y="136"/>
                      <a:pt x="851" y="135"/>
                    </a:cubicBezTo>
                    <a:cubicBezTo>
                      <a:pt x="852" y="133"/>
                      <a:pt x="853" y="132"/>
                      <a:pt x="854" y="131"/>
                    </a:cubicBezTo>
                    <a:cubicBezTo>
                      <a:pt x="854" y="130"/>
                      <a:pt x="855" y="127"/>
                      <a:pt x="856" y="126"/>
                    </a:cubicBezTo>
                    <a:cubicBezTo>
                      <a:pt x="856" y="126"/>
                      <a:pt x="857" y="126"/>
                      <a:pt x="858" y="126"/>
                    </a:cubicBezTo>
                    <a:cubicBezTo>
                      <a:pt x="859" y="125"/>
                      <a:pt x="861" y="123"/>
                      <a:pt x="861" y="121"/>
                    </a:cubicBezTo>
                    <a:cubicBezTo>
                      <a:pt x="863" y="118"/>
                      <a:pt x="865" y="116"/>
                      <a:pt x="867" y="113"/>
                    </a:cubicBezTo>
                    <a:cubicBezTo>
                      <a:pt x="868" y="112"/>
                      <a:pt x="868" y="110"/>
                      <a:pt x="869" y="109"/>
                    </a:cubicBezTo>
                    <a:cubicBezTo>
                      <a:pt x="869" y="109"/>
                      <a:pt x="868" y="108"/>
                      <a:pt x="868" y="108"/>
                    </a:cubicBezTo>
                    <a:cubicBezTo>
                      <a:pt x="868" y="108"/>
                      <a:pt x="868" y="108"/>
                      <a:pt x="868" y="108"/>
                    </a:cubicBezTo>
                    <a:cubicBezTo>
                      <a:pt x="869" y="108"/>
                      <a:pt x="869" y="108"/>
                      <a:pt x="870" y="107"/>
                    </a:cubicBezTo>
                    <a:cubicBezTo>
                      <a:pt x="873" y="105"/>
                      <a:pt x="874" y="102"/>
                      <a:pt x="875" y="98"/>
                    </a:cubicBezTo>
                    <a:cubicBezTo>
                      <a:pt x="875" y="101"/>
                      <a:pt x="876" y="103"/>
                      <a:pt x="876" y="105"/>
                    </a:cubicBezTo>
                    <a:cubicBezTo>
                      <a:pt x="877" y="104"/>
                      <a:pt x="878" y="103"/>
                      <a:pt x="879" y="102"/>
                    </a:cubicBezTo>
                    <a:cubicBezTo>
                      <a:pt x="880" y="100"/>
                      <a:pt x="880" y="100"/>
                      <a:pt x="880" y="100"/>
                    </a:cubicBezTo>
                    <a:cubicBezTo>
                      <a:pt x="880" y="100"/>
                      <a:pt x="880" y="100"/>
                      <a:pt x="880" y="100"/>
                    </a:cubicBezTo>
                    <a:cubicBezTo>
                      <a:pt x="881" y="100"/>
                      <a:pt x="885" y="99"/>
                      <a:pt x="885" y="99"/>
                    </a:cubicBezTo>
                    <a:cubicBezTo>
                      <a:pt x="888" y="101"/>
                      <a:pt x="878" y="105"/>
                      <a:pt x="884" y="107"/>
                    </a:cubicBezTo>
                    <a:cubicBezTo>
                      <a:pt x="885" y="105"/>
                      <a:pt x="885" y="104"/>
                      <a:pt x="887" y="103"/>
                    </a:cubicBezTo>
                    <a:cubicBezTo>
                      <a:pt x="888" y="102"/>
                      <a:pt x="889" y="102"/>
                      <a:pt x="890" y="102"/>
                    </a:cubicBezTo>
                    <a:cubicBezTo>
                      <a:pt x="890" y="101"/>
                      <a:pt x="890" y="100"/>
                      <a:pt x="891" y="99"/>
                    </a:cubicBezTo>
                    <a:cubicBezTo>
                      <a:pt x="892" y="98"/>
                      <a:pt x="894" y="97"/>
                      <a:pt x="896" y="97"/>
                    </a:cubicBezTo>
                    <a:cubicBezTo>
                      <a:pt x="897" y="97"/>
                      <a:pt x="899" y="97"/>
                      <a:pt x="900" y="98"/>
                    </a:cubicBezTo>
                    <a:cubicBezTo>
                      <a:pt x="900" y="96"/>
                      <a:pt x="905" y="97"/>
                      <a:pt x="907" y="96"/>
                    </a:cubicBezTo>
                    <a:cubicBezTo>
                      <a:pt x="908" y="95"/>
                      <a:pt x="908" y="94"/>
                      <a:pt x="910" y="93"/>
                    </a:cubicBezTo>
                    <a:cubicBezTo>
                      <a:pt x="910" y="93"/>
                      <a:pt x="910" y="93"/>
                      <a:pt x="911" y="93"/>
                    </a:cubicBezTo>
                    <a:cubicBezTo>
                      <a:pt x="912" y="93"/>
                      <a:pt x="914" y="93"/>
                      <a:pt x="915" y="93"/>
                    </a:cubicBezTo>
                    <a:cubicBezTo>
                      <a:pt x="916" y="94"/>
                      <a:pt x="919" y="94"/>
                      <a:pt x="920" y="95"/>
                    </a:cubicBezTo>
                    <a:cubicBezTo>
                      <a:pt x="922" y="96"/>
                      <a:pt x="925" y="100"/>
                      <a:pt x="927" y="100"/>
                    </a:cubicBezTo>
                    <a:cubicBezTo>
                      <a:pt x="927" y="100"/>
                      <a:pt x="927" y="100"/>
                      <a:pt x="927" y="100"/>
                    </a:cubicBezTo>
                    <a:cubicBezTo>
                      <a:pt x="929" y="100"/>
                      <a:pt x="927" y="95"/>
                      <a:pt x="929" y="94"/>
                    </a:cubicBezTo>
                    <a:cubicBezTo>
                      <a:pt x="930" y="94"/>
                      <a:pt x="930" y="94"/>
                      <a:pt x="930" y="94"/>
                    </a:cubicBezTo>
                    <a:cubicBezTo>
                      <a:pt x="932" y="94"/>
                      <a:pt x="935" y="96"/>
                      <a:pt x="937" y="96"/>
                    </a:cubicBezTo>
                    <a:cubicBezTo>
                      <a:pt x="938" y="96"/>
                      <a:pt x="940" y="96"/>
                      <a:pt x="942" y="97"/>
                    </a:cubicBezTo>
                    <a:cubicBezTo>
                      <a:pt x="943" y="97"/>
                      <a:pt x="944" y="97"/>
                      <a:pt x="945" y="97"/>
                    </a:cubicBezTo>
                    <a:cubicBezTo>
                      <a:pt x="946" y="97"/>
                      <a:pt x="947" y="97"/>
                      <a:pt x="947" y="96"/>
                    </a:cubicBezTo>
                    <a:cubicBezTo>
                      <a:pt x="947" y="95"/>
                      <a:pt x="944" y="94"/>
                      <a:pt x="943" y="93"/>
                    </a:cubicBezTo>
                    <a:cubicBezTo>
                      <a:pt x="943" y="93"/>
                      <a:pt x="944" y="92"/>
                      <a:pt x="944" y="92"/>
                    </a:cubicBezTo>
                    <a:cubicBezTo>
                      <a:pt x="943" y="91"/>
                      <a:pt x="941" y="90"/>
                      <a:pt x="940" y="89"/>
                    </a:cubicBezTo>
                    <a:cubicBezTo>
                      <a:pt x="940" y="88"/>
                      <a:pt x="939" y="85"/>
                      <a:pt x="939" y="83"/>
                    </a:cubicBezTo>
                    <a:cubicBezTo>
                      <a:pt x="938" y="82"/>
                      <a:pt x="937" y="82"/>
                      <a:pt x="937" y="82"/>
                    </a:cubicBezTo>
                    <a:cubicBezTo>
                      <a:pt x="937" y="82"/>
                      <a:pt x="936" y="82"/>
                      <a:pt x="936" y="82"/>
                    </a:cubicBezTo>
                    <a:cubicBezTo>
                      <a:pt x="936" y="82"/>
                      <a:pt x="936" y="82"/>
                      <a:pt x="936" y="82"/>
                    </a:cubicBezTo>
                    <a:cubicBezTo>
                      <a:pt x="936" y="82"/>
                      <a:pt x="936" y="82"/>
                      <a:pt x="936" y="82"/>
                    </a:cubicBezTo>
                    <a:cubicBezTo>
                      <a:pt x="935" y="82"/>
                      <a:pt x="935" y="82"/>
                      <a:pt x="935" y="82"/>
                    </a:cubicBezTo>
                    <a:cubicBezTo>
                      <a:pt x="935" y="82"/>
                      <a:pt x="935" y="82"/>
                      <a:pt x="935" y="82"/>
                    </a:cubicBezTo>
                    <a:cubicBezTo>
                      <a:pt x="934" y="82"/>
                      <a:pt x="934" y="82"/>
                      <a:pt x="933" y="82"/>
                    </a:cubicBezTo>
                    <a:cubicBezTo>
                      <a:pt x="933" y="82"/>
                      <a:pt x="933" y="82"/>
                      <a:pt x="933" y="82"/>
                    </a:cubicBezTo>
                    <a:cubicBezTo>
                      <a:pt x="933" y="82"/>
                      <a:pt x="933" y="82"/>
                      <a:pt x="933" y="82"/>
                    </a:cubicBezTo>
                    <a:cubicBezTo>
                      <a:pt x="932" y="81"/>
                      <a:pt x="931" y="81"/>
                      <a:pt x="931" y="80"/>
                    </a:cubicBezTo>
                    <a:cubicBezTo>
                      <a:pt x="928" y="80"/>
                      <a:pt x="925" y="79"/>
                      <a:pt x="922" y="78"/>
                    </a:cubicBezTo>
                    <a:cubicBezTo>
                      <a:pt x="920" y="78"/>
                      <a:pt x="921" y="74"/>
                      <a:pt x="923" y="73"/>
                    </a:cubicBezTo>
                    <a:cubicBezTo>
                      <a:pt x="922" y="73"/>
                      <a:pt x="922" y="73"/>
                      <a:pt x="922" y="73"/>
                    </a:cubicBezTo>
                    <a:cubicBezTo>
                      <a:pt x="918" y="73"/>
                      <a:pt x="915" y="74"/>
                      <a:pt x="912" y="75"/>
                    </a:cubicBezTo>
                    <a:cubicBezTo>
                      <a:pt x="906" y="76"/>
                      <a:pt x="900" y="76"/>
                      <a:pt x="894" y="77"/>
                    </a:cubicBezTo>
                    <a:cubicBezTo>
                      <a:pt x="892" y="78"/>
                      <a:pt x="890" y="79"/>
                      <a:pt x="889" y="79"/>
                    </a:cubicBezTo>
                    <a:cubicBezTo>
                      <a:pt x="887" y="80"/>
                      <a:pt x="886" y="82"/>
                      <a:pt x="884" y="82"/>
                    </a:cubicBezTo>
                    <a:cubicBezTo>
                      <a:pt x="884" y="83"/>
                      <a:pt x="883" y="83"/>
                      <a:pt x="883" y="83"/>
                    </a:cubicBezTo>
                    <a:cubicBezTo>
                      <a:pt x="881" y="83"/>
                      <a:pt x="879" y="82"/>
                      <a:pt x="877" y="81"/>
                    </a:cubicBezTo>
                    <a:cubicBezTo>
                      <a:pt x="874" y="80"/>
                      <a:pt x="870" y="80"/>
                      <a:pt x="866" y="79"/>
                    </a:cubicBezTo>
                    <a:cubicBezTo>
                      <a:pt x="866" y="79"/>
                      <a:pt x="862" y="74"/>
                      <a:pt x="861" y="73"/>
                    </a:cubicBezTo>
                    <a:cubicBezTo>
                      <a:pt x="858" y="69"/>
                      <a:pt x="853" y="70"/>
                      <a:pt x="848" y="69"/>
                    </a:cubicBezTo>
                    <a:cubicBezTo>
                      <a:pt x="849" y="68"/>
                      <a:pt x="849" y="68"/>
                      <a:pt x="849" y="68"/>
                    </a:cubicBezTo>
                    <a:cubicBezTo>
                      <a:pt x="846" y="69"/>
                      <a:pt x="843" y="71"/>
                      <a:pt x="841" y="74"/>
                    </a:cubicBezTo>
                    <a:cubicBezTo>
                      <a:pt x="841" y="71"/>
                      <a:pt x="842" y="69"/>
                      <a:pt x="842" y="68"/>
                    </a:cubicBezTo>
                    <a:cubicBezTo>
                      <a:pt x="841" y="67"/>
                      <a:pt x="840" y="64"/>
                      <a:pt x="840" y="64"/>
                    </a:cubicBezTo>
                    <a:cubicBezTo>
                      <a:pt x="839" y="63"/>
                      <a:pt x="838" y="62"/>
                      <a:pt x="837" y="62"/>
                    </a:cubicBezTo>
                    <a:cubicBezTo>
                      <a:pt x="837" y="62"/>
                      <a:pt x="838" y="61"/>
                      <a:pt x="837" y="60"/>
                    </a:cubicBezTo>
                    <a:cubicBezTo>
                      <a:pt x="837" y="60"/>
                      <a:pt x="837" y="60"/>
                      <a:pt x="837" y="60"/>
                    </a:cubicBezTo>
                    <a:cubicBezTo>
                      <a:pt x="835" y="60"/>
                      <a:pt x="832" y="62"/>
                      <a:pt x="831" y="63"/>
                    </a:cubicBezTo>
                    <a:cubicBezTo>
                      <a:pt x="823" y="66"/>
                      <a:pt x="816" y="69"/>
                      <a:pt x="809" y="73"/>
                    </a:cubicBezTo>
                    <a:cubicBezTo>
                      <a:pt x="809" y="73"/>
                      <a:pt x="809" y="73"/>
                      <a:pt x="809" y="73"/>
                    </a:cubicBezTo>
                    <a:cubicBezTo>
                      <a:pt x="809" y="73"/>
                      <a:pt x="809" y="73"/>
                      <a:pt x="809" y="73"/>
                    </a:cubicBezTo>
                    <a:cubicBezTo>
                      <a:pt x="805" y="75"/>
                      <a:pt x="801" y="77"/>
                      <a:pt x="796" y="79"/>
                    </a:cubicBezTo>
                    <a:cubicBezTo>
                      <a:pt x="796" y="79"/>
                      <a:pt x="796" y="79"/>
                      <a:pt x="796" y="79"/>
                    </a:cubicBezTo>
                    <a:cubicBezTo>
                      <a:pt x="793" y="79"/>
                      <a:pt x="788" y="76"/>
                      <a:pt x="786" y="75"/>
                    </a:cubicBezTo>
                    <a:cubicBezTo>
                      <a:pt x="784" y="74"/>
                      <a:pt x="788" y="71"/>
                      <a:pt x="788" y="70"/>
                    </a:cubicBezTo>
                    <a:cubicBezTo>
                      <a:pt x="788" y="69"/>
                      <a:pt x="787" y="68"/>
                      <a:pt x="785" y="68"/>
                    </a:cubicBezTo>
                    <a:cubicBezTo>
                      <a:pt x="782" y="68"/>
                      <a:pt x="775" y="72"/>
                      <a:pt x="774" y="72"/>
                    </a:cubicBezTo>
                    <a:cubicBezTo>
                      <a:pt x="771" y="73"/>
                      <a:pt x="769" y="74"/>
                      <a:pt x="766" y="75"/>
                    </a:cubicBezTo>
                    <a:cubicBezTo>
                      <a:pt x="766" y="75"/>
                      <a:pt x="765" y="75"/>
                      <a:pt x="764" y="75"/>
                    </a:cubicBezTo>
                    <a:cubicBezTo>
                      <a:pt x="762" y="75"/>
                      <a:pt x="759" y="74"/>
                      <a:pt x="757" y="74"/>
                    </a:cubicBezTo>
                    <a:cubicBezTo>
                      <a:pt x="765" y="67"/>
                      <a:pt x="773" y="60"/>
                      <a:pt x="781" y="54"/>
                    </a:cubicBezTo>
                    <a:cubicBezTo>
                      <a:pt x="784" y="51"/>
                      <a:pt x="787" y="49"/>
                      <a:pt x="791" y="47"/>
                    </a:cubicBezTo>
                    <a:cubicBezTo>
                      <a:pt x="796" y="45"/>
                      <a:pt x="802" y="42"/>
                      <a:pt x="808" y="40"/>
                    </a:cubicBezTo>
                    <a:cubicBezTo>
                      <a:pt x="807" y="40"/>
                      <a:pt x="807" y="40"/>
                      <a:pt x="806" y="40"/>
                    </a:cubicBezTo>
                    <a:cubicBezTo>
                      <a:pt x="803" y="39"/>
                      <a:pt x="792" y="38"/>
                      <a:pt x="790" y="38"/>
                    </a:cubicBezTo>
                    <a:cubicBezTo>
                      <a:pt x="787" y="37"/>
                      <a:pt x="786" y="35"/>
                      <a:pt x="785" y="34"/>
                    </a:cubicBezTo>
                    <a:cubicBezTo>
                      <a:pt x="784" y="34"/>
                      <a:pt x="783" y="35"/>
                      <a:pt x="781" y="37"/>
                    </a:cubicBezTo>
                    <a:cubicBezTo>
                      <a:pt x="778" y="38"/>
                      <a:pt x="776" y="39"/>
                      <a:pt x="774" y="39"/>
                    </a:cubicBezTo>
                    <a:cubicBezTo>
                      <a:pt x="768" y="39"/>
                      <a:pt x="763" y="34"/>
                      <a:pt x="761" y="32"/>
                    </a:cubicBezTo>
                    <a:cubicBezTo>
                      <a:pt x="761" y="32"/>
                      <a:pt x="761" y="32"/>
                      <a:pt x="761" y="32"/>
                    </a:cubicBezTo>
                    <a:cubicBezTo>
                      <a:pt x="760" y="31"/>
                      <a:pt x="760" y="31"/>
                      <a:pt x="759" y="31"/>
                    </a:cubicBezTo>
                    <a:cubicBezTo>
                      <a:pt x="759" y="30"/>
                      <a:pt x="758" y="30"/>
                      <a:pt x="757" y="30"/>
                    </a:cubicBezTo>
                    <a:cubicBezTo>
                      <a:pt x="757" y="30"/>
                      <a:pt x="757" y="30"/>
                      <a:pt x="757" y="30"/>
                    </a:cubicBezTo>
                    <a:cubicBezTo>
                      <a:pt x="757" y="31"/>
                      <a:pt x="757" y="31"/>
                      <a:pt x="757" y="31"/>
                    </a:cubicBezTo>
                    <a:cubicBezTo>
                      <a:pt x="755" y="32"/>
                      <a:pt x="755" y="32"/>
                      <a:pt x="755" y="32"/>
                    </a:cubicBezTo>
                    <a:cubicBezTo>
                      <a:pt x="754" y="33"/>
                      <a:pt x="753" y="33"/>
                      <a:pt x="752" y="33"/>
                    </a:cubicBezTo>
                    <a:cubicBezTo>
                      <a:pt x="752" y="33"/>
                      <a:pt x="752" y="33"/>
                      <a:pt x="751" y="33"/>
                    </a:cubicBezTo>
                    <a:cubicBezTo>
                      <a:pt x="749" y="33"/>
                      <a:pt x="748" y="30"/>
                      <a:pt x="747" y="27"/>
                    </a:cubicBezTo>
                    <a:cubicBezTo>
                      <a:pt x="747" y="26"/>
                      <a:pt x="743" y="24"/>
                      <a:pt x="739" y="23"/>
                    </a:cubicBezTo>
                    <a:cubicBezTo>
                      <a:pt x="739" y="23"/>
                      <a:pt x="738" y="23"/>
                      <a:pt x="738" y="23"/>
                    </a:cubicBezTo>
                    <a:cubicBezTo>
                      <a:pt x="737" y="23"/>
                      <a:pt x="737" y="23"/>
                      <a:pt x="737" y="23"/>
                    </a:cubicBezTo>
                    <a:cubicBezTo>
                      <a:pt x="735" y="22"/>
                      <a:pt x="733" y="22"/>
                      <a:pt x="732" y="22"/>
                    </a:cubicBezTo>
                    <a:cubicBezTo>
                      <a:pt x="730" y="22"/>
                      <a:pt x="729" y="22"/>
                      <a:pt x="729" y="23"/>
                    </a:cubicBezTo>
                    <a:cubicBezTo>
                      <a:pt x="727" y="24"/>
                      <a:pt x="724" y="25"/>
                      <a:pt x="722" y="25"/>
                    </a:cubicBezTo>
                    <a:cubicBezTo>
                      <a:pt x="715" y="25"/>
                      <a:pt x="709" y="21"/>
                      <a:pt x="708" y="21"/>
                    </a:cubicBezTo>
                    <a:cubicBezTo>
                      <a:pt x="707" y="20"/>
                      <a:pt x="705" y="20"/>
                      <a:pt x="705" y="20"/>
                    </a:cubicBezTo>
                    <a:cubicBezTo>
                      <a:pt x="704" y="20"/>
                      <a:pt x="704" y="20"/>
                      <a:pt x="703" y="20"/>
                    </a:cubicBezTo>
                    <a:cubicBezTo>
                      <a:pt x="701" y="20"/>
                      <a:pt x="699" y="19"/>
                      <a:pt x="698" y="17"/>
                    </a:cubicBezTo>
                    <a:cubicBezTo>
                      <a:pt x="696" y="16"/>
                      <a:pt x="692" y="6"/>
                      <a:pt x="692" y="2"/>
                    </a:cubicBezTo>
                    <a:cubicBezTo>
                      <a:pt x="692" y="1"/>
                      <a:pt x="692" y="1"/>
                      <a:pt x="69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1" name="Rectangle 14">
                <a:extLst>
                  <a:ext uri="{FF2B5EF4-FFF2-40B4-BE49-F238E27FC236}">
                    <a16:creationId xmlns:a16="http://schemas.microsoft.com/office/drawing/2014/main" id="{55E9077E-FD7D-4695-AFB8-D84F85BF8CCD}"/>
                  </a:ext>
                </a:extLst>
              </p:cNvPr>
              <p:cNvSpPr>
                <a:spLocks noChangeArrowheads="1"/>
              </p:cNvSpPr>
              <p:nvPr/>
            </p:nvSpPr>
            <p:spPr bwMode="auto">
              <a:xfrm>
                <a:off x="5674" y="189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2" name="Rectangle 15">
                <a:extLst>
                  <a:ext uri="{FF2B5EF4-FFF2-40B4-BE49-F238E27FC236}">
                    <a16:creationId xmlns:a16="http://schemas.microsoft.com/office/drawing/2014/main" id="{1E27CA58-B4DB-45D7-B572-BB67365CEDA7}"/>
                  </a:ext>
                </a:extLst>
              </p:cNvPr>
              <p:cNvSpPr>
                <a:spLocks noChangeArrowheads="1"/>
              </p:cNvSpPr>
              <p:nvPr/>
            </p:nvSpPr>
            <p:spPr bwMode="auto">
              <a:xfrm>
                <a:off x="5674" y="189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3" name="Rectangle 16">
                <a:extLst>
                  <a:ext uri="{FF2B5EF4-FFF2-40B4-BE49-F238E27FC236}">
                    <a16:creationId xmlns:a16="http://schemas.microsoft.com/office/drawing/2014/main" id="{51A54827-D843-4A20-9B1D-E4F53F64C7B0}"/>
                  </a:ext>
                </a:extLst>
              </p:cNvPr>
              <p:cNvSpPr>
                <a:spLocks noChangeArrowheads="1"/>
              </p:cNvSpPr>
              <p:nvPr/>
            </p:nvSpPr>
            <p:spPr bwMode="auto">
              <a:xfrm>
                <a:off x="3716" y="311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4" name="Rectangle 17">
                <a:extLst>
                  <a:ext uri="{FF2B5EF4-FFF2-40B4-BE49-F238E27FC236}">
                    <a16:creationId xmlns:a16="http://schemas.microsoft.com/office/drawing/2014/main" id="{75F670FC-2B0E-4175-B032-1182B4DCE0AA}"/>
                  </a:ext>
                </a:extLst>
              </p:cNvPr>
              <p:cNvSpPr>
                <a:spLocks noChangeArrowheads="1"/>
              </p:cNvSpPr>
              <p:nvPr/>
            </p:nvSpPr>
            <p:spPr bwMode="auto">
              <a:xfrm>
                <a:off x="3716" y="311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5" name="Freeform 18">
                <a:extLst>
                  <a:ext uri="{FF2B5EF4-FFF2-40B4-BE49-F238E27FC236}">
                    <a16:creationId xmlns:a16="http://schemas.microsoft.com/office/drawing/2014/main" id="{A69EBF2C-64DC-4E09-B0CD-A523EAA2CD60}"/>
                  </a:ext>
                </a:extLst>
              </p:cNvPr>
              <p:cNvSpPr>
                <a:spLocks/>
              </p:cNvSpPr>
              <p:nvPr/>
            </p:nvSpPr>
            <p:spPr bwMode="auto">
              <a:xfrm>
                <a:off x="2971" y="1793"/>
                <a:ext cx="14" cy="12"/>
              </a:xfrm>
              <a:custGeom>
                <a:avLst/>
                <a:gdLst>
                  <a:gd name="T0" fmla="*/ 6 w 6"/>
                  <a:gd name="T1" fmla="*/ 0 h 5"/>
                  <a:gd name="T2" fmla="*/ 1 w 6"/>
                  <a:gd name="T3" fmla="*/ 4 h 5"/>
                  <a:gd name="T4" fmla="*/ 0 w 6"/>
                  <a:gd name="T5" fmla="*/ 5 h 5"/>
                  <a:gd name="T6" fmla="*/ 0 w 6"/>
                  <a:gd name="T7" fmla="*/ 5 h 5"/>
                  <a:gd name="T8" fmla="*/ 2 w 6"/>
                  <a:gd name="T9" fmla="*/ 4 h 5"/>
                  <a:gd name="T10" fmla="*/ 2 w 6"/>
                  <a:gd name="T11" fmla="*/ 4 h 5"/>
                  <a:gd name="T12" fmla="*/ 2 w 6"/>
                  <a:gd name="T13" fmla="*/ 4 h 5"/>
                  <a:gd name="T14" fmla="*/ 2 w 6"/>
                  <a:gd name="T15" fmla="*/ 4 h 5"/>
                  <a:gd name="T16" fmla="*/ 4 w 6"/>
                  <a:gd name="T17" fmla="*/ 2 h 5"/>
                  <a:gd name="T18" fmla="*/ 6 w 6"/>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0"/>
                    </a:moveTo>
                    <a:cubicBezTo>
                      <a:pt x="4" y="2"/>
                      <a:pt x="3" y="2"/>
                      <a:pt x="1" y="4"/>
                    </a:cubicBezTo>
                    <a:cubicBezTo>
                      <a:pt x="1" y="4"/>
                      <a:pt x="0" y="5"/>
                      <a:pt x="0" y="5"/>
                    </a:cubicBezTo>
                    <a:cubicBezTo>
                      <a:pt x="0" y="5"/>
                      <a:pt x="0" y="5"/>
                      <a:pt x="0" y="5"/>
                    </a:cubicBezTo>
                    <a:cubicBezTo>
                      <a:pt x="1" y="5"/>
                      <a:pt x="1" y="4"/>
                      <a:pt x="2" y="4"/>
                    </a:cubicBezTo>
                    <a:cubicBezTo>
                      <a:pt x="2" y="4"/>
                      <a:pt x="2" y="4"/>
                      <a:pt x="2" y="4"/>
                    </a:cubicBezTo>
                    <a:cubicBezTo>
                      <a:pt x="2" y="4"/>
                      <a:pt x="2" y="4"/>
                      <a:pt x="2" y="4"/>
                    </a:cubicBezTo>
                    <a:cubicBezTo>
                      <a:pt x="2" y="4"/>
                      <a:pt x="2" y="4"/>
                      <a:pt x="2" y="4"/>
                    </a:cubicBezTo>
                    <a:cubicBezTo>
                      <a:pt x="3" y="3"/>
                      <a:pt x="4" y="3"/>
                      <a:pt x="4" y="2"/>
                    </a:cubicBezTo>
                    <a:cubicBezTo>
                      <a:pt x="5" y="2"/>
                      <a:pt x="6"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6" name="Rectangle 19">
                <a:extLst>
                  <a:ext uri="{FF2B5EF4-FFF2-40B4-BE49-F238E27FC236}">
                    <a16:creationId xmlns:a16="http://schemas.microsoft.com/office/drawing/2014/main" id="{1BDD38BB-FB46-4CD1-90FB-CB3B00954E53}"/>
                  </a:ext>
                </a:extLst>
              </p:cNvPr>
              <p:cNvSpPr>
                <a:spLocks noChangeArrowheads="1"/>
              </p:cNvSpPr>
              <p:nvPr/>
            </p:nvSpPr>
            <p:spPr bwMode="auto">
              <a:xfrm>
                <a:off x="3276" y="2165"/>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7" name="Rectangle 20">
                <a:extLst>
                  <a:ext uri="{FF2B5EF4-FFF2-40B4-BE49-F238E27FC236}">
                    <a16:creationId xmlns:a16="http://schemas.microsoft.com/office/drawing/2014/main" id="{99B1565D-CDF7-441A-B78A-654054E9FA23}"/>
                  </a:ext>
                </a:extLst>
              </p:cNvPr>
              <p:cNvSpPr>
                <a:spLocks noChangeArrowheads="1"/>
              </p:cNvSpPr>
              <p:nvPr/>
            </p:nvSpPr>
            <p:spPr bwMode="auto">
              <a:xfrm>
                <a:off x="3276" y="2165"/>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8" name="Freeform 21">
                <a:extLst>
                  <a:ext uri="{FF2B5EF4-FFF2-40B4-BE49-F238E27FC236}">
                    <a16:creationId xmlns:a16="http://schemas.microsoft.com/office/drawing/2014/main" id="{39B36A6D-DB17-43D9-AB5F-CC8CDEA454C1}"/>
                  </a:ext>
                </a:extLst>
              </p:cNvPr>
              <p:cNvSpPr>
                <a:spLocks noEditPoints="1"/>
              </p:cNvSpPr>
              <p:nvPr/>
            </p:nvSpPr>
            <p:spPr bwMode="auto">
              <a:xfrm>
                <a:off x="5203" y="3255"/>
                <a:ext cx="3" cy="7"/>
              </a:xfrm>
              <a:custGeom>
                <a:avLst/>
                <a:gdLst>
                  <a:gd name="T0" fmla="*/ 1 w 1"/>
                  <a:gd name="T1" fmla="*/ 0 h 3"/>
                  <a:gd name="T2" fmla="*/ 1 w 1"/>
                  <a:gd name="T3" fmla="*/ 0 h 3"/>
                  <a:gd name="T4" fmla="*/ 1 w 1"/>
                  <a:gd name="T5" fmla="*/ 0 h 3"/>
                  <a:gd name="T6" fmla="*/ 1 w 1"/>
                  <a:gd name="T7" fmla="*/ 0 h 3"/>
                  <a:gd name="T8" fmla="*/ 1 w 1"/>
                  <a:gd name="T9" fmla="*/ 0 h 3"/>
                  <a:gd name="T10" fmla="*/ 1 w 1"/>
                  <a:gd name="T11" fmla="*/ 0 h 3"/>
                  <a:gd name="T12" fmla="*/ 1 w 1"/>
                  <a:gd name="T13" fmla="*/ 0 h 3"/>
                  <a:gd name="T14" fmla="*/ 1 w 1"/>
                  <a:gd name="T15" fmla="*/ 0 h 3"/>
                  <a:gd name="T16" fmla="*/ 0 w 1"/>
                  <a:gd name="T17" fmla="*/ 3 h 3"/>
                  <a:gd name="T18" fmla="*/ 1 w 1"/>
                  <a:gd name="T19" fmla="*/ 0 h 3"/>
                  <a:gd name="T20" fmla="*/ 1 w 1"/>
                  <a:gd name="T21" fmla="*/ 0 h 3"/>
                  <a:gd name="T22" fmla="*/ 1 w 1"/>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3">
                    <a:moveTo>
                      <a:pt x="1" y="0"/>
                    </a:moveTo>
                    <a:cubicBezTo>
                      <a:pt x="1" y="0"/>
                      <a:pt x="1" y="0"/>
                      <a:pt x="1" y="0"/>
                    </a:cubicBezTo>
                    <a:cubicBezTo>
                      <a:pt x="1" y="0"/>
                      <a:pt x="1" y="0"/>
                      <a:pt x="1" y="0"/>
                    </a:cubicBezTo>
                    <a:cubicBezTo>
                      <a:pt x="1" y="0"/>
                      <a:pt x="1" y="0"/>
                      <a:pt x="1" y="0"/>
                    </a:cubicBezTo>
                    <a:moveTo>
                      <a:pt x="1" y="0"/>
                    </a:moveTo>
                    <a:cubicBezTo>
                      <a:pt x="1" y="0"/>
                      <a:pt x="1" y="0"/>
                      <a:pt x="1" y="0"/>
                    </a:cubicBezTo>
                    <a:cubicBezTo>
                      <a:pt x="1" y="0"/>
                      <a:pt x="1" y="0"/>
                      <a:pt x="1" y="0"/>
                    </a:cubicBezTo>
                    <a:cubicBezTo>
                      <a:pt x="1" y="0"/>
                      <a:pt x="1" y="0"/>
                      <a:pt x="1" y="0"/>
                    </a:cubicBezTo>
                    <a:cubicBezTo>
                      <a:pt x="1" y="1"/>
                      <a:pt x="1" y="2"/>
                      <a:pt x="0" y="3"/>
                    </a:cubicBezTo>
                    <a:cubicBezTo>
                      <a:pt x="1" y="2"/>
                      <a:pt x="1" y="1"/>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9" name="Freeform 22">
                <a:extLst>
                  <a:ext uri="{FF2B5EF4-FFF2-40B4-BE49-F238E27FC236}">
                    <a16:creationId xmlns:a16="http://schemas.microsoft.com/office/drawing/2014/main" id="{796DCC85-EFF5-4028-BE7E-C29CECF4793E}"/>
                  </a:ext>
                </a:extLst>
              </p:cNvPr>
              <p:cNvSpPr>
                <a:spLocks/>
              </p:cNvSpPr>
              <p:nvPr/>
            </p:nvSpPr>
            <p:spPr bwMode="auto">
              <a:xfrm>
                <a:off x="5612" y="3111"/>
                <a:ext cx="3" cy="5"/>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0" name="Freeform 23">
                <a:extLst>
                  <a:ext uri="{FF2B5EF4-FFF2-40B4-BE49-F238E27FC236}">
                    <a16:creationId xmlns:a16="http://schemas.microsoft.com/office/drawing/2014/main" id="{F553E83B-8BEB-449A-84D7-8FBE19FDD00D}"/>
                  </a:ext>
                </a:extLst>
              </p:cNvPr>
              <p:cNvSpPr>
                <a:spLocks/>
              </p:cNvSpPr>
              <p:nvPr/>
            </p:nvSpPr>
            <p:spPr bwMode="auto">
              <a:xfrm>
                <a:off x="6591" y="641"/>
                <a:ext cx="7" cy="3"/>
              </a:xfrm>
              <a:custGeom>
                <a:avLst/>
                <a:gdLst>
                  <a:gd name="T0" fmla="*/ 1 w 3"/>
                  <a:gd name="T1" fmla="*/ 0 h 1"/>
                  <a:gd name="T2" fmla="*/ 0 w 3"/>
                  <a:gd name="T3" fmla="*/ 1 h 1"/>
                  <a:gd name="T4" fmla="*/ 0 w 3"/>
                  <a:gd name="T5" fmla="*/ 1 h 1"/>
                  <a:gd name="T6" fmla="*/ 0 w 3"/>
                  <a:gd name="T7" fmla="*/ 1 h 1"/>
                  <a:gd name="T8" fmla="*/ 0 w 3"/>
                  <a:gd name="T9" fmla="*/ 1 h 1"/>
                  <a:gd name="T10" fmla="*/ 0 w 3"/>
                  <a:gd name="T11" fmla="*/ 1 h 1"/>
                  <a:gd name="T12" fmla="*/ 0 w 3"/>
                  <a:gd name="T13" fmla="*/ 1 h 1"/>
                  <a:gd name="T14" fmla="*/ 1 w 3"/>
                  <a:gd name="T15" fmla="*/ 1 h 1"/>
                  <a:gd name="T16" fmla="*/ 1 w 3"/>
                  <a:gd name="T17" fmla="*/ 1 h 1"/>
                  <a:gd name="T18" fmla="*/ 1 w 3"/>
                  <a:gd name="T19" fmla="*/ 1 h 1"/>
                  <a:gd name="T20" fmla="*/ 2 w 3"/>
                  <a:gd name="T21" fmla="*/ 1 h 1"/>
                  <a:gd name="T22" fmla="*/ 2 w 3"/>
                  <a:gd name="T23" fmla="*/ 1 h 1"/>
                  <a:gd name="T24" fmla="*/ 2 w 3"/>
                  <a:gd name="T25" fmla="*/ 1 h 1"/>
                  <a:gd name="T26" fmla="*/ 3 w 3"/>
                  <a:gd name="T27" fmla="*/ 1 h 1"/>
                  <a:gd name="T28" fmla="*/ 3 w 3"/>
                  <a:gd name="T29" fmla="*/ 1 h 1"/>
                  <a:gd name="T30" fmla="*/ 1 w 3"/>
                  <a:gd name="T3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1">
                    <a:moveTo>
                      <a:pt x="1" y="0"/>
                    </a:moveTo>
                    <a:cubicBezTo>
                      <a:pt x="1" y="0"/>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cubicBezTo>
                      <a:pt x="2" y="1"/>
                      <a:pt x="2" y="1"/>
                      <a:pt x="2" y="1"/>
                    </a:cubicBezTo>
                    <a:cubicBezTo>
                      <a:pt x="2" y="1"/>
                      <a:pt x="2" y="1"/>
                      <a:pt x="2" y="1"/>
                    </a:cubicBezTo>
                    <a:cubicBezTo>
                      <a:pt x="2" y="1"/>
                      <a:pt x="2" y="1"/>
                      <a:pt x="2" y="1"/>
                    </a:cubicBezTo>
                    <a:cubicBezTo>
                      <a:pt x="3" y="1"/>
                      <a:pt x="3" y="1"/>
                      <a:pt x="3" y="1"/>
                    </a:cubicBezTo>
                    <a:cubicBezTo>
                      <a:pt x="3" y="1"/>
                      <a:pt x="3" y="1"/>
                      <a:pt x="3" y="1"/>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1" name="Freeform 24">
                <a:extLst>
                  <a:ext uri="{FF2B5EF4-FFF2-40B4-BE49-F238E27FC236}">
                    <a16:creationId xmlns:a16="http://schemas.microsoft.com/office/drawing/2014/main" id="{815A7B08-C4C7-48DB-B5E4-AF85D1CE5FA6}"/>
                  </a:ext>
                </a:extLst>
              </p:cNvPr>
              <p:cNvSpPr>
                <a:spLocks/>
              </p:cNvSpPr>
              <p:nvPr/>
            </p:nvSpPr>
            <p:spPr bwMode="auto">
              <a:xfrm>
                <a:off x="5709" y="4512"/>
                <a:ext cx="3" cy="0"/>
              </a:xfrm>
              <a:custGeom>
                <a:avLst/>
                <a:gdLst>
                  <a:gd name="T0" fmla="*/ 0 w 1"/>
                  <a:gd name="T1" fmla="*/ 0 w 1"/>
                  <a:gd name="T2" fmla="*/ 1 w 1"/>
                  <a:gd name="T3" fmla="*/ 1 w 1"/>
                  <a:gd name="T4" fmla="*/ 1 w 1"/>
                  <a:gd name="T5" fmla="*/ 1 w 1"/>
                  <a:gd name="T6" fmla="*/ 1 w 1"/>
                  <a:gd name="T7" fmla="*/ 1 w 1"/>
                  <a:gd name="T8" fmla="*/ 0 w 1"/>
                  <a:gd name="T9"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1">
                    <a:moveTo>
                      <a:pt x="0" y="0"/>
                    </a:moveTo>
                    <a:cubicBezTo>
                      <a:pt x="0" y="0"/>
                      <a:pt x="0" y="0"/>
                      <a:pt x="0" y="0"/>
                    </a:cubicBezTo>
                    <a:cubicBezTo>
                      <a:pt x="0"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2" name="Freeform 25">
                <a:extLst>
                  <a:ext uri="{FF2B5EF4-FFF2-40B4-BE49-F238E27FC236}">
                    <a16:creationId xmlns:a16="http://schemas.microsoft.com/office/drawing/2014/main" id="{503334CF-4920-4769-AB3D-3C66A866F220}"/>
                  </a:ext>
                </a:extLst>
              </p:cNvPr>
              <p:cNvSpPr>
                <a:spLocks/>
              </p:cNvSpPr>
              <p:nvPr/>
            </p:nvSpPr>
            <p:spPr bwMode="auto">
              <a:xfrm>
                <a:off x="6598" y="4436"/>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3" name="Freeform 26">
                <a:extLst>
                  <a:ext uri="{FF2B5EF4-FFF2-40B4-BE49-F238E27FC236}">
                    <a16:creationId xmlns:a16="http://schemas.microsoft.com/office/drawing/2014/main" id="{315FF8F5-21C0-4C58-B09D-7F91DFAEF0C5}"/>
                  </a:ext>
                </a:extLst>
              </p:cNvPr>
              <p:cNvSpPr>
                <a:spLocks/>
              </p:cNvSpPr>
              <p:nvPr/>
            </p:nvSpPr>
            <p:spPr bwMode="auto">
              <a:xfrm>
                <a:off x="2947" y="1751"/>
                <a:ext cx="5" cy="14"/>
              </a:xfrm>
              <a:custGeom>
                <a:avLst/>
                <a:gdLst>
                  <a:gd name="T0" fmla="*/ 1 w 2"/>
                  <a:gd name="T1" fmla="*/ 0 h 6"/>
                  <a:gd name="T2" fmla="*/ 0 w 2"/>
                  <a:gd name="T3" fmla="*/ 4 h 6"/>
                  <a:gd name="T4" fmla="*/ 0 w 2"/>
                  <a:gd name="T5" fmla="*/ 4 h 6"/>
                  <a:gd name="T6" fmla="*/ 0 w 2"/>
                  <a:gd name="T7" fmla="*/ 4 h 6"/>
                  <a:gd name="T8" fmla="*/ 0 w 2"/>
                  <a:gd name="T9" fmla="*/ 4 h 6"/>
                  <a:gd name="T10" fmla="*/ 1 w 2"/>
                  <a:gd name="T11" fmla="*/ 4 h 6"/>
                  <a:gd name="T12" fmla="*/ 1 w 2"/>
                  <a:gd name="T13" fmla="*/ 4 h 6"/>
                  <a:gd name="T14" fmla="*/ 2 w 2"/>
                  <a:gd name="T15" fmla="*/ 5 h 6"/>
                  <a:gd name="T16" fmla="*/ 2 w 2"/>
                  <a:gd name="T17" fmla="*/ 5 h 6"/>
                  <a:gd name="T18" fmla="*/ 2 w 2"/>
                  <a:gd name="T19" fmla="*/ 6 h 6"/>
                  <a:gd name="T20" fmla="*/ 2 w 2"/>
                  <a:gd name="T21" fmla="*/ 6 h 6"/>
                  <a:gd name="T22" fmla="*/ 2 w 2"/>
                  <a:gd name="T23" fmla="*/ 5 h 6"/>
                  <a:gd name="T24" fmla="*/ 2 w 2"/>
                  <a:gd name="T25" fmla="*/ 5 h 6"/>
                  <a:gd name="T26" fmla="*/ 2 w 2"/>
                  <a:gd name="T27" fmla="*/ 5 h 6"/>
                  <a:gd name="T28" fmla="*/ 2 w 2"/>
                  <a:gd name="T29" fmla="*/ 4 h 6"/>
                  <a:gd name="T30" fmla="*/ 2 w 2"/>
                  <a:gd name="T31" fmla="*/ 2 h 6"/>
                  <a:gd name="T32" fmla="*/ 2 w 2"/>
                  <a:gd name="T33" fmla="*/ 2 h 6"/>
                  <a:gd name="T34" fmla="*/ 2 w 2"/>
                  <a:gd name="T35" fmla="*/ 1 h 6"/>
                  <a:gd name="T36" fmla="*/ 2 w 2"/>
                  <a:gd name="T37" fmla="*/ 1 h 6"/>
                  <a:gd name="T38" fmla="*/ 1 w 2"/>
                  <a:gd name="T39" fmla="*/ 0 h 6"/>
                  <a:gd name="T40" fmla="*/ 1 w 2"/>
                  <a:gd name="T4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6">
                    <a:moveTo>
                      <a:pt x="1" y="0"/>
                    </a:moveTo>
                    <a:cubicBezTo>
                      <a:pt x="1" y="1"/>
                      <a:pt x="1" y="3"/>
                      <a:pt x="0" y="4"/>
                    </a:cubicBezTo>
                    <a:cubicBezTo>
                      <a:pt x="0" y="4"/>
                      <a:pt x="0" y="4"/>
                      <a:pt x="0" y="4"/>
                    </a:cubicBezTo>
                    <a:cubicBezTo>
                      <a:pt x="0" y="4"/>
                      <a:pt x="0" y="4"/>
                      <a:pt x="0" y="4"/>
                    </a:cubicBezTo>
                    <a:cubicBezTo>
                      <a:pt x="0" y="4"/>
                      <a:pt x="0" y="4"/>
                      <a:pt x="0" y="4"/>
                    </a:cubicBezTo>
                    <a:cubicBezTo>
                      <a:pt x="1" y="4"/>
                      <a:pt x="1" y="4"/>
                      <a:pt x="1" y="4"/>
                    </a:cubicBezTo>
                    <a:cubicBezTo>
                      <a:pt x="1" y="4"/>
                      <a:pt x="1" y="4"/>
                      <a:pt x="1" y="4"/>
                    </a:cubicBezTo>
                    <a:cubicBezTo>
                      <a:pt x="1" y="4"/>
                      <a:pt x="2" y="5"/>
                      <a:pt x="2" y="5"/>
                    </a:cubicBezTo>
                    <a:cubicBezTo>
                      <a:pt x="2" y="5"/>
                      <a:pt x="2" y="5"/>
                      <a:pt x="2" y="5"/>
                    </a:cubicBezTo>
                    <a:cubicBezTo>
                      <a:pt x="2" y="6"/>
                      <a:pt x="2" y="6"/>
                      <a:pt x="2" y="6"/>
                    </a:cubicBezTo>
                    <a:cubicBezTo>
                      <a:pt x="2" y="6"/>
                      <a:pt x="2" y="6"/>
                      <a:pt x="2" y="6"/>
                    </a:cubicBezTo>
                    <a:cubicBezTo>
                      <a:pt x="2" y="6"/>
                      <a:pt x="2" y="5"/>
                      <a:pt x="2" y="5"/>
                    </a:cubicBezTo>
                    <a:cubicBezTo>
                      <a:pt x="2" y="5"/>
                      <a:pt x="2" y="5"/>
                      <a:pt x="2" y="5"/>
                    </a:cubicBezTo>
                    <a:cubicBezTo>
                      <a:pt x="2" y="5"/>
                      <a:pt x="2" y="5"/>
                      <a:pt x="2" y="5"/>
                    </a:cubicBezTo>
                    <a:cubicBezTo>
                      <a:pt x="2" y="5"/>
                      <a:pt x="2" y="5"/>
                      <a:pt x="2" y="4"/>
                    </a:cubicBezTo>
                    <a:cubicBezTo>
                      <a:pt x="2" y="3"/>
                      <a:pt x="2" y="3"/>
                      <a:pt x="2" y="2"/>
                    </a:cubicBezTo>
                    <a:cubicBezTo>
                      <a:pt x="2" y="2"/>
                      <a:pt x="2" y="2"/>
                      <a:pt x="2" y="2"/>
                    </a:cubicBezTo>
                    <a:cubicBezTo>
                      <a:pt x="2" y="1"/>
                      <a:pt x="2" y="1"/>
                      <a:pt x="2" y="1"/>
                    </a:cubicBezTo>
                    <a:cubicBezTo>
                      <a:pt x="2" y="1"/>
                      <a:pt x="2" y="1"/>
                      <a:pt x="2" y="1"/>
                    </a:cubicBezTo>
                    <a:cubicBezTo>
                      <a:pt x="2" y="1"/>
                      <a:pt x="2" y="1"/>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4" name="Freeform 27">
                <a:extLst>
                  <a:ext uri="{FF2B5EF4-FFF2-40B4-BE49-F238E27FC236}">
                    <a16:creationId xmlns:a16="http://schemas.microsoft.com/office/drawing/2014/main" id="{68F22A74-A73D-4475-9BA6-6EADD8E317C5}"/>
                  </a:ext>
                </a:extLst>
              </p:cNvPr>
              <p:cNvSpPr>
                <a:spLocks noEditPoints="1"/>
              </p:cNvSpPr>
              <p:nvPr/>
            </p:nvSpPr>
            <p:spPr bwMode="auto">
              <a:xfrm>
                <a:off x="2869" y="1606"/>
                <a:ext cx="0" cy="3"/>
              </a:xfrm>
              <a:custGeom>
                <a:avLst/>
                <a:gdLst>
                  <a:gd name="T0" fmla="*/ 3 h 3"/>
                  <a:gd name="T1" fmla="*/ 3 h 3"/>
                  <a:gd name="T2" fmla="*/ 3 h 3"/>
                  <a:gd name="T3" fmla="*/ 3 h 3"/>
                  <a:gd name="T4" fmla="*/ 0 h 3"/>
                  <a:gd name="T5" fmla="*/ 3 h 3"/>
                  <a:gd name="T6" fmla="*/ 3 h 3"/>
                  <a:gd name="T7" fmla="*/ 3 h 3"/>
                  <a:gd name="T8" fmla="*/ 0 h 3"/>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3">
                    <a:moveTo>
                      <a:pt x="0" y="3"/>
                    </a:moveTo>
                    <a:lnTo>
                      <a:pt x="0" y="3"/>
                    </a:lnTo>
                    <a:lnTo>
                      <a:pt x="0" y="3"/>
                    </a:lnTo>
                    <a:lnTo>
                      <a:pt x="0" y="3"/>
                    </a:lnTo>
                    <a:close/>
                    <a:moveTo>
                      <a:pt x="0" y="0"/>
                    </a:moveTo>
                    <a:lnTo>
                      <a:pt x="0" y="3"/>
                    </a:lnTo>
                    <a:lnTo>
                      <a:pt x="0" y="3"/>
                    </a:lnTo>
                    <a:lnTo>
                      <a:pt x="0"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5" name="Freeform 28">
                <a:extLst>
                  <a:ext uri="{FF2B5EF4-FFF2-40B4-BE49-F238E27FC236}">
                    <a16:creationId xmlns:a16="http://schemas.microsoft.com/office/drawing/2014/main" id="{7FF4FCA8-3822-4D7C-9E10-9679A2F00DEB}"/>
                  </a:ext>
                </a:extLst>
              </p:cNvPr>
              <p:cNvSpPr>
                <a:spLocks noEditPoints="1"/>
              </p:cNvSpPr>
              <p:nvPr/>
            </p:nvSpPr>
            <p:spPr bwMode="auto">
              <a:xfrm>
                <a:off x="2869" y="1606"/>
                <a:ext cx="0" cy="3"/>
              </a:xfrm>
              <a:custGeom>
                <a:avLst/>
                <a:gdLst>
                  <a:gd name="T0" fmla="*/ 3 h 3"/>
                  <a:gd name="T1" fmla="*/ 3 h 3"/>
                  <a:gd name="T2" fmla="*/ 3 h 3"/>
                  <a:gd name="T3" fmla="*/ 3 h 3"/>
                  <a:gd name="T4" fmla="*/ 0 h 3"/>
                  <a:gd name="T5" fmla="*/ 3 h 3"/>
                  <a:gd name="T6" fmla="*/ 3 h 3"/>
                  <a:gd name="T7" fmla="*/ 3 h 3"/>
                  <a:gd name="T8" fmla="*/ 0 h 3"/>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3">
                    <a:moveTo>
                      <a:pt x="0" y="3"/>
                    </a:moveTo>
                    <a:lnTo>
                      <a:pt x="0" y="3"/>
                    </a:lnTo>
                    <a:lnTo>
                      <a:pt x="0" y="3"/>
                    </a:lnTo>
                    <a:lnTo>
                      <a:pt x="0" y="3"/>
                    </a:lnTo>
                    <a:moveTo>
                      <a:pt x="0" y="0"/>
                    </a:moveTo>
                    <a:lnTo>
                      <a:pt x="0" y="3"/>
                    </a:lnTo>
                    <a:lnTo>
                      <a:pt x="0" y="3"/>
                    </a:lnTo>
                    <a:lnTo>
                      <a:pt x="0"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6" name="Freeform 29">
                <a:extLst>
                  <a:ext uri="{FF2B5EF4-FFF2-40B4-BE49-F238E27FC236}">
                    <a16:creationId xmlns:a16="http://schemas.microsoft.com/office/drawing/2014/main" id="{5822B495-0461-4B85-9AF3-5BB5300861A9}"/>
                  </a:ext>
                </a:extLst>
              </p:cNvPr>
              <p:cNvSpPr>
                <a:spLocks/>
              </p:cNvSpPr>
              <p:nvPr/>
            </p:nvSpPr>
            <p:spPr bwMode="auto">
              <a:xfrm>
                <a:off x="3418" y="388"/>
                <a:ext cx="2" cy="19"/>
              </a:xfrm>
              <a:custGeom>
                <a:avLst/>
                <a:gdLst>
                  <a:gd name="T0" fmla="*/ 0 w 1"/>
                  <a:gd name="T1" fmla="*/ 0 h 8"/>
                  <a:gd name="T2" fmla="*/ 0 w 1"/>
                  <a:gd name="T3" fmla="*/ 8 h 8"/>
                  <a:gd name="T4" fmla="*/ 1 w 1"/>
                  <a:gd name="T5" fmla="*/ 3 h 8"/>
                  <a:gd name="T6" fmla="*/ 0 w 1"/>
                  <a:gd name="T7" fmla="*/ 0 h 8"/>
                </a:gdLst>
                <a:ahLst/>
                <a:cxnLst>
                  <a:cxn ang="0">
                    <a:pos x="T0" y="T1"/>
                  </a:cxn>
                  <a:cxn ang="0">
                    <a:pos x="T2" y="T3"/>
                  </a:cxn>
                  <a:cxn ang="0">
                    <a:pos x="T4" y="T5"/>
                  </a:cxn>
                  <a:cxn ang="0">
                    <a:pos x="T6" y="T7"/>
                  </a:cxn>
                </a:cxnLst>
                <a:rect l="0" t="0" r="r" b="b"/>
                <a:pathLst>
                  <a:path w="1" h="8">
                    <a:moveTo>
                      <a:pt x="0" y="0"/>
                    </a:moveTo>
                    <a:cubicBezTo>
                      <a:pt x="0" y="3"/>
                      <a:pt x="0" y="5"/>
                      <a:pt x="0" y="8"/>
                    </a:cubicBezTo>
                    <a:cubicBezTo>
                      <a:pt x="0" y="7"/>
                      <a:pt x="1" y="5"/>
                      <a:pt x="1"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7" name="Rectangle 30">
                <a:extLst>
                  <a:ext uri="{FF2B5EF4-FFF2-40B4-BE49-F238E27FC236}">
                    <a16:creationId xmlns:a16="http://schemas.microsoft.com/office/drawing/2014/main" id="{61D01F2E-1D43-48BF-B1C9-3B3029901FF5}"/>
                  </a:ext>
                </a:extLst>
              </p:cNvPr>
              <p:cNvSpPr>
                <a:spLocks noChangeArrowheads="1"/>
              </p:cNvSpPr>
              <p:nvPr/>
            </p:nvSpPr>
            <p:spPr bwMode="auto">
              <a:xfrm>
                <a:off x="2872" y="161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8" name="Rectangle 31">
                <a:extLst>
                  <a:ext uri="{FF2B5EF4-FFF2-40B4-BE49-F238E27FC236}">
                    <a16:creationId xmlns:a16="http://schemas.microsoft.com/office/drawing/2014/main" id="{67416DA0-8F75-4EF9-B3CF-1CFCF2885FEE}"/>
                  </a:ext>
                </a:extLst>
              </p:cNvPr>
              <p:cNvSpPr>
                <a:spLocks noChangeArrowheads="1"/>
              </p:cNvSpPr>
              <p:nvPr/>
            </p:nvSpPr>
            <p:spPr bwMode="auto">
              <a:xfrm>
                <a:off x="2872" y="161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9" name="Rectangle 32">
                <a:extLst>
                  <a:ext uri="{FF2B5EF4-FFF2-40B4-BE49-F238E27FC236}">
                    <a16:creationId xmlns:a16="http://schemas.microsoft.com/office/drawing/2014/main" id="{D1E75B96-76F5-43CC-9D34-F9C7DAEECDF1}"/>
                  </a:ext>
                </a:extLst>
              </p:cNvPr>
              <p:cNvSpPr>
                <a:spLocks noChangeArrowheads="1"/>
              </p:cNvSpPr>
              <p:nvPr/>
            </p:nvSpPr>
            <p:spPr bwMode="auto">
              <a:xfrm>
                <a:off x="5775" y="296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0" name="Freeform 33">
                <a:extLst>
                  <a:ext uri="{FF2B5EF4-FFF2-40B4-BE49-F238E27FC236}">
                    <a16:creationId xmlns:a16="http://schemas.microsoft.com/office/drawing/2014/main" id="{61F856BB-4A38-41C8-8312-DD65000FF838}"/>
                  </a:ext>
                </a:extLst>
              </p:cNvPr>
              <p:cNvSpPr>
                <a:spLocks/>
              </p:cNvSpPr>
              <p:nvPr/>
            </p:nvSpPr>
            <p:spPr bwMode="auto">
              <a:xfrm>
                <a:off x="5775" y="296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1" name="Freeform 34">
                <a:extLst>
                  <a:ext uri="{FF2B5EF4-FFF2-40B4-BE49-F238E27FC236}">
                    <a16:creationId xmlns:a16="http://schemas.microsoft.com/office/drawing/2014/main" id="{D362D4D4-977D-47B4-B4D8-B39572D89A6B}"/>
                  </a:ext>
                </a:extLst>
              </p:cNvPr>
              <p:cNvSpPr>
                <a:spLocks/>
              </p:cNvSpPr>
              <p:nvPr/>
            </p:nvSpPr>
            <p:spPr bwMode="auto">
              <a:xfrm>
                <a:off x="2926" y="1722"/>
                <a:ext cx="2" cy="3"/>
              </a:xfrm>
              <a:custGeom>
                <a:avLst/>
                <a:gdLst>
                  <a:gd name="T0" fmla="*/ 0 w 1"/>
                  <a:gd name="T1" fmla="*/ 0 h 1"/>
                  <a:gd name="T2" fmla="*/ 0 w 1"/>
                  <a:gd name="T3" fmla="*/ 0 h 1"/>
                  <a:gd name="T4" fmla="*/ 1 w 1"/>
                  <a:gd name="T5" fmla="*/ 1 h 1"/>
                  <a:gd name="T6" fmla="*/ 1 w 1"/>
                  <a:gd name="T7" fmla="*/ 1 h 1"/>
                  <a:gd name="T8" fmla="*/ 1 w 1"/>
                  <a:gd name="T9" fmla="*/ 1 h 1"/>
                  <a:gd name="T10" fmla="*/ 1 w 1"/>
                  <a:gd name="T11" fmla="*/ 1 h 1"/>
                  <a:gd name="T12" fmla="*/ 1 w 1"/>
                  <a:gd name="T13" fmla="*/ 1 h 1"/>
                  <a:gd name="T14" fmla="*/ 1 w 1"/>
                  <a:gd name="T15" fmla="*/ 1 h 1"/>
                  <a:gd name="T16" fmla="*/ 0 w 1"/>
                  <a:gd name="T17" fmla="*/ 0 h 1"/>
                  <a:gd name="T18" fmla="*/ 0 w 1"/>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
                    <a:moveTo>
                      <a:pt x="0" y="0"/>
                    </a:moveTo>
                    <a:cubicBezTo>
                      <a:pt x="0" y="0"/>
                      <a:pt x="0" y="0"/>
                      <a:pt x="0" y="0"/>
                    </a:cubicBezTo>
                    <a:cubicBezTo>
                      <a:pt x="0" y="1"/>
                      <a:pt x="0"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2" name="Freeform 35">
                <a:extLst>
                  <a:ext uri="{FF2B5EF4-FFF2-40B4-BE49-F238E27FC236}">
                    <a16:creationId xmlns:a16="http://schemas.microsoft.com/office/drawing/2014/main" id="{B5D0D603-21EF-46BA-B9C7-58BF81E2992D}"/>
                  </a:ext>
                </a:extLst>
              </p:cNvPr>
              <p:cNvSpPr>
                <a:spLocks/>
              </p:cNvSpPr>
              <p:nvPr/>
            </p:nvSpPr>
            <p:spPr bwMode="auto">
              <a:xfrm>
                <a:off x="6104" y="2091"/>
                <a:ext cx="3" cy="0"/>
              </a:xfrm>
              <a:custGeom>
                <a:avLst/>
                <a:gdLst>
                  <a:gd name="T0" fmla="*/ 3 w 3"/>
                  <a:gd name="T1" fmla="*/ 0 w 3"/>
                  <a:gd name="T2" fmla="*/ 3 w 3"/>
                  <a:gd name="T3" fmla="*/ 3 w 3"/>
                  <a:gd name="T4" fmla="*/ 3 w 3"/>
                </a:gdLst>
                <a:ahLst/>
                <a:cxnLst>
                  <a:cxn ang="0">
                    <a:pos x="T0" y="0"/>
                  </a:cxn>
                  <a:cxn ang="0">
                    <a:pos x="T1" y="0"/>
                  </a:cxn>
                  <a:cxn ang="0">
                    <a:pos x="T2" y="0"/>
                  </a:cxn>
                  <a:cxn ang="0">
                    <a:pos x="T3" y="0"/>
                  </a:cxn>
                  <a:cxn ang="0">
                    <a:pos x="T4" y="0"/>
                  </a:cxn>
                </a:cxnLst>
                <a:rect l="0" t="0" r="r" b="b"/>
                <a:pathLst>
                  <a:path w="3">
                    <a:moveTo>
                      <a:pt x="3" y="0"/>
                    </a:moveTo>
                    <a:lnTo>
                      <a:pt x="0"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3" name="Freeform 36">
                <a:extLst>
                  <a:ext uri="{FF2B5EF4-FFF2-40B4-BE49-F238E27FC236}">
                    <a16:creationId xmlns:a16="http://schemas.microsoft.com/office/drawing/2014/main" id="{C4899265-2777-4B33-B31A-DA93E3CA8E89}"/>
                  </a:ext>
                </a:extLst>
              </p:cNvPr>
              <p:cNvSpPr>
                <a:spLocks/>
              </p:cNvSpPr>
              <p:nvPr/>
            </p:nvSpPr>
            <p:spPr bwMode="auto">
              <a:xfrm>
                <a:off x="6104" y="2091"/>
                <a:ext cx="3" cy="0"/>
              </a:xfrm>
              <a:custGeom>
                <a:avLst/>
                <a:gdLst>
                  <a:gd name="T0" fmla="*/ 3 w 3"/>
                  <a:gd name="T1" fmla="*/ 0 w 3"/>
                  <a:gd name="T2" fmla="*/ 3 w 3"/>
                  <a:gd name="T3" fmla="*/ 3 w 3"/>
                  <a:gd name="T4" fmla="*/ 3 w 3"/>
                </a:gdLst>
                <a:ahLst/>
                <a:cxnLst>
                  <a:cxn ang="0">
                    <a:pos x="T0" y="0"/>
                  </a:cxn>
                  <a:cxn ang="0">
                    <a:pos x="T1" y="0"/>
                  </a:cxn>
                  <a:cxn ang="0">
                    <a:pos x="T2" y="0"/>
                  </a:cxn>
                  <a:cxn ang="0">
                    <a:pos x="T3" y="0"/>
                  </a:cxn>
                  <a:cxn ang="0">
                    <a:pos x="T4" y="0"/>
                  </a:cxn>
                </a:cxnLst>
                <a:rect l="0" t="0" r="r" b="b"/>
                <a:pathLst>
                  <a:path w="3">
                    <a:moveTo>
                      <a:pt x="3" y="0"/>
                    </a:moveTo>
                    <a:lnTo>
                      <a:pt x="0" y="0"/>
                    </a:lnTo>
                    <a:lnTo>
                      <a:pt x="3" y="0"/>
                    </a:lnTo>
                    <a:lnTo>
                      <a:pt x="3" y="0"/>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4" name="Freeform 37">
                <a:extLst>
                  <a:ext uri="{FF2B5EF4-FFF2-40B4-BE49-F238E27FC236}">
                    <a16:creationId xmlns:a16="http://schemas.microsoft.com/office/drawing/2014/main" id="{671D3D0D-630B-46DF-87C9-4C55B68DDC78}"/>
                  </a:ext>
                </a:extLst>
              </p:cNvPr>
              <p:cNvSpPr>
                <a:spLocks/>
              </p:cNvSpPr>
              <p:nvPr/>
            </p:nvSpPr>
            <p:spPr bwMode="auto">
              <a:xfrm>
                <a:off x="2794" y="381"/>
                <a:ext cx="9" cy="9"/>
              </a:xfrm>
              <a:custGeom>
                <a:avLst/>
                <a:gdLst>
                  <a:gd name="T0" fmla="*/ 4 w 4"/>
                  <a:gd name="T1" fmla="*/ 0 h 4"/>
                  <a:gd name="T2" fmla="*/ 0 w 4"/>
                  <a:gd name="T3" fmla="*/ 4 h 4"/>
                  <a:gd name="T4" fmla="*/ 4 w 4"/>
                  <a:gd name="T5" fmla="*/ 0 h 4"/>
                </a:gdLst>
                <a:ahLst/>
                <a:cxnLst>
                  <a:cxn ang="0">
                    <a:pos x="T0" y="T1"/>
                  </a:cxn>
                  <a:cxn ang="0">
                    <a:pos x="T2" y="T3"/>
                  </a:cxn>
                  <a:cxn ang="0">
                    <a:pos x="T4" y="T5"/>
                  </a:cxn>
                </a:cxnLst>
                <a:rect l="0" t="0" r="r" b="b"/>
                <a:pathLst>
                  <a:path w="4" h="4">
                    <a:moveTo>
                      <a:pt x="4" y="0"/>
                    </a:moveTo>
                    <a:cubicBezTo>
                      <a:pt x="4" y="1"/>
                      <a:pt x="1" y="4"/>
                      <a:pt x="0" y="4"/>
                    </a:cubicBezTo>
                    <a:cubicBezTo>
                      <a:pt x="1" y="4"/>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5" name="Freeform 38">
                <a:extLst>
                  <a:ext uri="{FF2B5EF4-FFF2-40B4-BE49-F238E27FC236}">
                    <a16:creationId xmlns:a16="http://schemas.microsoft.com/office/drawing/2014/main" id="{DA70054D-3D11-4932-8F89-5C96AB16D178}"/>
                  </a:ext>
                </a:extLst>
              </p:cNvPr>
              <p:cNvSpPr>
                <a:spLocks/>
              </p:cNvSpPr>
              <p:nvPr/>
            </p:nvSpPr>
            <p:spPr bwMode="auto">
              <a:xfrm>
                <a:off x="6873" y="1874"/>
                <a:ext cx="9" cy="7"/>
              </a:xfrm>
              <a:custGeom>
                <a:avLst/>
                <a:gdLst>
                  <a:gd name="T0" fmla="*/ 4 w 4"/>
                  <a:gd name="T1" fmla="*/ 0 h 3"/>
                  <a:gd name="T2" fmla="*/ 0 w 4"/>
                  <a:gd name="T3" fmla="*/ 2 h 3"/>
                  <a:gd name="T4" fmla="*/ 0 w 4"/>
                  <a:gd name="T5" fmla="*/ 2 h 3"/>
                  <a:gd name="T6" fmla="*/ 1 w 4"/>
                  <a:gd name="T7" fmla="*/ 3 h 3"/>
                  <a:gd name="T8" fmla="*/ 4 w 4"/>
                  <a:gd name="T9" fmla="*/ 0 h 3"/>
                </a:gdLst>
                <a:ahLst/>
                <a:cxnLst>
                  <a:cxn ang="0">
                    <a:pos x="T0" y="T1"/>
                  </a:cxn>
                  <a:cxn ang="0">
                    <a:pos x="T2" y="T3"/>
                  </a:cxn>
                  <a:cxn ang="0">
                    <a:pos x="T4" y="T5"/>
                  </a:cxn>
                  <a:cxn ang="0">
                    <a:pos x="T6" y="T7"/>
                  </a:cxn>
                  <a:cxn ang="0">
                    <a:pos x="T8" y="T9"/>
                  </a:cxn>
                </a:cxnLst>
                <a:rect l="0" t="0" r="r" b="b"/>
                <a:pathLst>
                  <a:path w="4" h="3">
                    <a:moveTo>
                      <a:pt x="4" y="0"/>
                    </a:moveTo>
                    <a:cubicBezTo>
                      <a:pt x="3" y="1"/>
                      <a:pt x="1" y="1"/>
                      <a:pt x="0" y="2"/>
                    </a:cubicBezTo>
                    <a:cubicBezTo>
                      <a:pt x="0" y="2"/>
                      <a:pt x="0" y="2"/>
                      <a:pt x="0" y="2"/>
                    </a:cubicBezTo>
                    <a:cubicBezTo>
                      <a:pt x="0" y="2"/>
                      <a:pt x="1" y="2"/>
                      <a:pt x="1" y="3"/>
                    </a:cubicBezTo>
                    <a:cubicBezTo>
                      <a:pt x="1"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6" name="Freeform 39">
                <a:extLst>
                  <a:ext uri="{FF2B5EF4-FFF2-40B4-BE49-F238E27FC236}">
                    <a16:creationId xmlns:a16="http://schemas.microsoft.com/office/drawing/2014/main" id="{39AF7A09-857D-4EDF-A9B1-62C7A9000F18}"/>
                  </a:ext>
                </a:extLst>
              </p:cNvPr>
              <p:cNvSpPr>
                <a:spLocks/>
              </p:cNvSpPr>
              <p:nvPr/>
            </p:nvSpPr>
            <p:spPr bwMode="auto">
              <a:xfrm>
                <a:off x="2855" y="1658"/>
                <a:ext cx="2" cy="3"/>
              </a:xfrm>
              <a:custGeom>
                <a:avLst/>
                <a:gdLst>
                  <a:gd name="T0" fmla="*/ 1 w 1"/>
                  <a:gd name="T1" fmla="*/ 0 h 1"/>
                  <a:gd name="T2" fmla="*/ 0 w 1"/>
                  <a:gd name="T3" fmla="*/ 0 h 1"/>
                  <a:gd name="T4" fmla="*/ 1 w 1"/>
                  <a:gd name="T5" fmla="*/ 1 h 1"/>
                  <a:gd name="T6" fmla="*/ 1 w 1"/>
                  <a:gd name="T7" fmla="*/ 1 h 1"/>
                  <a:gd name="T8" fmla="*/ 1 w 1"/>
                  <a:gd name="T9" fmla="*/ 0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0" y="0"/>
                      <a:pt x="0" y="0"/>
                      <a:pt x="0" y="0"/>
                    </a:cubicBezTo>
                    <a:cubicBezTo>
                      <a:pt x="1" y="0"/>
                      <a:pt x="1" y="1"/>
                      <a:pt x="1" y="1"/>
                    </a:cubicBezTo>
                    <a:cubicBezTo>
                      <a:pt x="1" y="1"/>
                      <a:pt x="1" y="1"/>
                      <a:pt x="1" y="1"/>
                    </a:cubicBezTo>
                    <a:cubicBezTo>
                      <a:pt x="1" y="1"/>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7" name="Freeform 40">
                <a:extLst>
                  <a:ext uri="{FF2B5EF4-FFF2-40B4-BE49-F238E27FC236}">
                    <a16:creationId xmlns:a16="http://schemas.microsoft.com/office/drawing/2014/main" id="{9C169118-4096-484D-95A8-7F68D1C81F04}"/>
                  </a:ext>
                </a:extLst>
              </p:cNvPr>
              <p:cNvSpPr>
                <a:spLocks/>
              </p:cNvSpPr>
              <p:nvPr/>
            </p:nvSpPr>
            <p:spPr bwMode="auto">
              <a:xfrm>
                <a:off x="6516" y="1964"/>
                <a:ext cx="4" cy="0"/>
              </a:xfrm>
              <a:custGeom>
                <a:avLst/>
                <a:gdLst>
                  <a:gd name="T0" fmla="*/ 1 w 2"/>
                  <a:gd name="T1" fmla="*/ 0 w 2"/>
                  <a:gd name="T2" fmla="*/ 1 w 2"/>
                  <a:gd name="T3" fmla="*/ 1 w 2"/>
                  <a:gd name="T4" fmla="*/ 2 w 2"/>
                  <a:gd name="T5" fmla="*/ 2 w 2"/>
                  <a:gd name="T6" fmla="*/ 2 w 2"/>
                  <a:gd name="T7" fmla="*/ 2 w 2"/>
                  <a:gd name="T8" fmla="*/ 1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1" y="0"/>
                    </a:moveTo>
                    <a:cubicBezTo>
                      <a:pt x="1" y="0"/>
                      <a:pt x="1" y="0"/>
                      <a:pt x="0" y="0"/>
                    </a:cubicBezTo>
                    <a:cubicBezTo>
                      <a:pt x="1" y="0"/>
                      <a:pt x="1" y="0"/>
                      <a:pt x="1" y="0"/>
                    </a:cubicBezTo>
                    <a:cubicBezTo>
                      <a:pt x="1" y="0"/>
                      <a:pt x="1" y="0"/>
                      <a:pt x="1" y="0"/>
                    </a:cubicBezTo>
                    <a:cubicBezTo>
                      <a:pt x="2" y="0"/>
                      <a:pt x="2" y="0"/>
                      <a:pt x="2" y="0"/>
                    </a:cubicBezTo>
                    <a:cubicBezTo>
                      <a:pt x="2" y="0"/>
                      <a:pt x="2" y="0"/>
                      <a:pt x="2" y="0"/>
                    </a:cubicBezTo>
                    <a:cubicBezTo>
                      <a:pt x="2" y="0"/>
                      <a:pt x="2" y="0"/>
                      <a:pt x="2" y="0"/>
                    </a:cubicBezTo>
                    <a:cubicBezTo>
                      <a:pt x="2" y="0"/>
                      <a:pt x="2" y="0"/>
                      <a:pt x="2" y="0"/>
                    </a:cubicBezTo>
                    <a:cubicBezTo>
                      <a:pt x="2"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8" name="Freeform 41">
                <a:extLst>
                  <a:ext uri="{FF2B5EF4-FFF2-40B4-BE49-F238E27FC236}">
                    <a16:creationId xmlns:a16="http://schemas.microsoft.com/office/drawing/2014/main" id="{CA98EF19-A007-421C-ACB8-FA60E55AABC6}"/>
                  </a:ext>
                </a:extLst>
              </p:cNvPr>
              <p:cNvSpPr>
                <a:spLocks/>
              </p:cNvSpPr>
              <p:nvPr/>
            </p:nvSpPr>
            <p:spPr bwMode="auto">
              <a:xfrm>
                <a:off x="6490" y="1959"/>
                <a:ext cx="19" cy="2"/>
              </a:xfrm>
              <a:custGeom>
                <a:avLst/>
                <a:gdLst>
                  <a:gd name="T0" fmla="*/ 6 w 8"/>
                  <a:gd name="T1" fmla="*/ 0 h 1"/>
                  <a:gd name="T2" fmla="*/ 3 w 8"/>
                  <a:gd name="T3" fmla="*/ 1 h 1"/>
                  <a:gd name="T4" fmla="*/ 0 w 8"/>
                  <a:gd name="T5" fmla="*/ 1 h 1"/>
                  <a:gd name="T6" fmla="*/ 1 w 8"/>
                  <a:gd name="T7" fmla="*/ 1 h 1"/>
                  <a:gd name="T8" fmla="*/ 1 w 8"/>
                  <a:gd name="T9" fmla="*/ 1 h 1"/>
                  <a:gd name="T10" fmla="*/ 1 w 8"/>
                  <a:gd name="T11" fmla="*/ 1 h 1"/>
                  <a:gd name="T12" fmla="*/ 8 w 8"/>
                  <a:gd name="T13" fmla="*/ 1 h 1"/>
                  <a:gd name="T14" fmla="*/ 8 w 8"/>
                  <a:gd name="T15" fmla="*/ 1 h 1"/>
                  <a:gd name="T16" fmla="*/ 7 w 8"/>
                  <a:gd name="T17" fmla="*/ 0 h 1"/>
                  <a:gd name="T18" fmla="*/ 7 w 8"/>
                  <a:gd name="T19" fmla="*/ 0 h 1"/>
                  <a:gd name="T20" fmla="*/ 7 w 8"/>
                  <a:gd name="T21" fmla="*/ 0 h 1"/>
                  <a:gd name="T22" fmla="*/ 7 w 8"/>
                  <a:gd name="T23" fmla="*/ 0 h 1"/>
                  <a:gd name="T24" fmla="*/ 7 w 8"/>
                  <a:gd name="T25" fmla="*/ 0 h 1"/>
                  <a:gd name="T26" fmla="*/ 6 w 8"/>
                  <a:gd name="T27" fmla="*/ 0 h 1"/>
                  <a:gd name="T28" fmla="*/ 6 w 8"/>
                  <a:gd name="T29" fmla="*/ 0 h 1"/>
                  <a:gd name="T30" fmla="*/ 6 w 8"/>
                  <a:gd name="T3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
                    <a:moveTo>
                      <a:pt x="6" y="0"/>
                    </a:moveTo>
                    <a:cubicBezTo>
                      <a:pt x="5" y="0"/>
                      <a:pt x="4" y="1"/>
                      <a:pt x="3" y="1"/>
                    </a:cubicBezTo>
                    <a:cubicBezTo>
                      <a:pt x="2" y="1"/>
                      <a:pt x="1" y="1"/>
                      <a:pt x="0" y="1"/>
                    </a:cubicBezTo>
                    <a:cubicBezTo>
                      <a:pt x="1" y="1"/>
                      <a:pt x="1" y="1"/>
                      <a:pt x="1" y="1"/>
                    </a:cubicBezTo>
                    <a:cubicBezTo>
                      <a:pt x="1" y="1"/>
                      <a:pt x="1" y="1"/>
                      <a:pt x="1" y="1"/>
                    </a:cubicBezTo>
                    <a:cubicBezTo>
                      <a:pt x="1" y="1"/>
                      <a:pt x="1" y="1"/>
                      <a:pt x="1" y="1"/>
                    </a:cubicBezTo>
                    <a:cubicBezTo>
                      <a:pt x="3" y="1"/>
                      <a:pt x="6" y="1"/>
                      <a:pt x="8" y="1"/>
                    </a:cubicBezTo>
                    <a:cubicBezTo>
                      <a:pt x="8" y="1"/>
                      <a:pt x="8" y="1"/>
                      <a:pt x="8"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9" name="Rectangle 42">
                <a:extLst>
                  <a:ext uri="{FF2B5EF4-FFF2-40B4-BE49-F238E27FC236}">
                    <a16:creationId xmlns:a16="http://schemas.microsoft.com/office/drawing/2014/main" id="{CE4F993F-CCB2-431C-8394-5AF66C3D6EA9}"/>
                  </a:ext>
                </a:extLst>
              </p:cNvPr>
              <p:cNvSpPr>
                <a:spLocks noChangeArrowheads="1"/>
              </p:cNvSpPr>
              <p:nvPr/>
            </p:nvSpPr>
            <p:spPr bwMode="auto">
              <a:xfrm>
                <a:off x="6523" y="1964"/>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0" name="Freeform 43">
                <a:extLst>
                  <a:ext uri="{FF2B5EF4-FFF2-40B4-BE49-F238E27FC236}">
                    <a16:creationId xmlns:a16="http://schemas.microsoft.com/office/drawing/2014/main" id="{E01727C4-43C6-41E8-A25A-85C47B23792A}"/>
                  </a:ext>
                </a:extLst>
              </p:cNvPr>
              <p:cNvSpPr>
                <a:spLocks/>
              </p:cNvSpPr>
              <p:nvPr/>
            </p:nvSpPr>
            <p:spPr bwMode="auto">
              <a:xfrm>
                <a:off x="6523" y="1964"/>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1" name="Freeform 44">
                <a:extLst>
                  <a:ext uri="{FF2B5EF4-FFF2-40B4-BE49-F238E27FC236}">
                    <a16:creationId xmlns:a16="http://schemas.microsoft.com/office/drawing/2014/main" id="{61801752-74CE-4837-A140-D35E860A429F}"/>
                  </a:ext>
                </a:extLst>
              </p:cNvPr>
              <p:cNvSpPr>
                <a:spLocks noEditPoints="1"/>
              </p:cNvSpPr>
              <p:nvPr/>
            </p:nvSpPr>
            <p:spPr bwMode="auto">
              <a:xfrm>
                <a:off x="5612" y="3118"/>
                <a:ext cx="3" cy="2"/>
              </a:xfrm>
              <a:custGeom>
                <a:avLst/>
                <a:gdLst>
                  <a:gd name="T0" fmla="*/ 1 w 1"/>
                  <a:gd name="T1" fmla="*/ 0 h 1"/>
                  <a:gd name="T2" fmla="*/ 0 w 1"/>
                  <a:gd name="T3" fmla="*/ 1 h 1"/>
                  <a:gd name="T4" fmla="*/ 1 w 1"/>
                  <a:gd name="T5" fmla="*/ 0 h 1"/>
                  <a:gd name="T6" fmla="*/ 1 w 1"/>
                  <a:gd name="T7" fmla="*/ 0 h 1"/>
                  <a:gd name="T8" fmla="*/ 1 w 1"/>
                  <a:gd name="T9" fmla="*/ 0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1"/>
                      <a:pt x="1" y="1"/>
                      <a:pt x="0" y="1"/>
                    </a:cubicBezTo>
                    <a:cubicBezTo>
                      <a:pt x="1" y="1"/>
                      <a:pt x="1" y="1"/>
                      <a:pt x="1" y="0"/>
                    </a:cubicBezTo>
                    <a:moveTo>
                      <a:pt x="1" y="0"/>
                    </a:move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2" name="Rectangle 45">
                <a:extLst>
                  <a:ext uri="{FF2B5EF4-FFF2-40B4-BE49-F238E27FC236}">
                    <a16:creationId xmlns:a16="http://schemas.microsoft.com/office/drawing/2014/main" id="{4D8DCBCA-6206-413B-9BF1-9659A70933A0}"/>
                  </a:ext>
                </a:extLst>
              </p:cNvPr>
              <p:cNvSpPr>
                <a:spLocks noChangeArrowheads="1"/>
              </p:cNvSpPr>
              <p:nvPr/>
            </p:nvSpPr>
            <p:spPr bwMode="auto">
              <a:xfrm>
                <a:off x="1193" y="3745"/>
                <a:ext cx="1" cy="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3" name="Freeform 46">
                <a:extLst>
                  <a:ext uri="{FF2B5EF4-FFF2-40B4-BE49-F238E27FC236}">
                    <a16:creationId xmlns:a16="http://schemas.microsoft.com/office/drawing/2014/main" id="{6411CC0F-2B80-498B-B552-A045815C8CBB}"/>
                  </a:ext>
                </a:extLst>
              </p:cNvPr>
              <p:cNvSpPr>
                <a:spLocks/>
              </p:cNvSpPr>
              <p:nvPr/>
            </p:nvSpPr>
            <p:spPr bwMode="auto">
              <a:xfrm>
                <a:off x="1193" y="3745"/>
                <a:ext cx="0" cy="2"/>
              </a:xfrm>
              <a:custGeom>
                <a:avLst/>
                <a:gdLst>
                  <a:gd name="T0" fmla="*/ 0 h 2"/>
                  <a:gd name="T1" fmla="*/ 2 h 2"/>
                  <a:gd name="T2" fmla="*/ 2 h 2"/>
                  <a:gd name="T3" fmla="*/ 0 h 2"/>
                </a:gdLst>
                <a:ahLst/>
                <a:cxnLst>
                  <a:cxn ang="0">
                    <a:pos x="0" y="T0"/>
                  </a:cxn>
                  <a:cxn ang="0">
                    <a:pos x="0" y="T1"/>
                  </a:cxn>
                  <a:cxn ang="0">
                    <a:pos x="0" y="T2"/>
                  </a:cxn>
                  <a:cxn ang="0">
                    <a:pos x="0" y="T3"/>
                  </a:cxn>
                </a:cxnLst>
                <a:rect l="0" t="0" r="r" b="b"/>
                <a:pathLst>
                  <a:path h="2">
                    <a:moveTo>
                      <a:pt x="0" y="0"/>
                    </a:moveTo>
                    <a:lnTo>
                      <a:pt x="0" y="2"/>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4" name="Freeform 47">
                <a:extLst>
                  <a:ext uri="{FF2B5EF4-FFF2-40B4-BE49-F238E27FC236}">
                    <a16:creationId xmlns:a16="http://schemas.microsoft.com/office/drawing/2014/main" id="{76F22F4A-B28D-4615-8D90-F789F665E598}"/>
                  </a:ext>
                </a:extLst>
              </p:cNvPr>
              <p:cNvSpPr>
                <a:spLocks/>
              </p:cNvSpPr>
              <p:nvPr/>
            </p:nvSpPr>
            <p:spPr bwMode="auto">
              <a:xfrm>
                <a:off x="1405" y="3835"/>
                <a:ext cx="10" cy="2"/>
              </a:xfrm>
              <a:custGeom>
                <a:avLst/>
                <a:gdLst>
                  <a:gd name="T0" fmla="*/ 3 w 4"/>
                  <a:gd name="T1" fmla="*/ 0 h 1"/>
                  <a:gd name="T2" fmla="*/ 0 w 4"/>
                  <a:gd name="T3" fmla="*/ 1 h 1"/>
                  <a:gd name="T4" fmla="*/ 2 w 4"/>
                  <a:gd name="T5" fmla="*/ 1 h 1"/>
                  <a:gd name="T6" fmla="*/ 4 w 4"/>
                  <a:gd name="T7" fmla="*/ 0 h 1"/>
                  <a:gd name="T8" fmla="*/ 3 w 4"/>
                  <a:gd name="T9" fmla="*/ 0 h 1"/>
                </a:gdLst>
                <a:ahLst/>
                <a:cxnLst>
                  <a:cxn ang="0">
                    <a:pos x="T0" y="T1"/>
                  </a:cxn>
                  <a:cxn ang="0">
                    <a:pos x="T2" y="T3"/>
                  </a:cxn>
                  <a:cxn ang="0">
                    <a:pos x="T4" y="T5"/>
                  </a:cxn>
                  <a:cxn ang="0">
                    <a:pos x="T6" y="T7"/>
                  </a:cxn>
                  <a:cxn ang="0">
                    <a:pos x="T8" y="T9"/>
                  </a:cxn>
                </a:cxnLst>
                <a:rect l="0" t="0" r="r" b="b"/>
                <a:pathLst>
                  <a:path w="4" h="1">
                    <a:moveTo>
                      <a:pt x="3" y="0"/>
                    </a:moveTo>
                    <a:cubicBezTo>
                      <a:pt x="2" y="0"/>
                      <a:pt x="1" y="0"/>
                      <a:pt x="0" y="1"/>
                    </a:cubicBezTo>
                    <a:cubicBezTo>
                      <a:pt x="1" y="1"/>
                      <a:pt x="2" y="1"/>
                      <a:pt x="2" y="1"/>
                    </a:cubicBezTo>
                    <a:cubicBezTo>
                      <a:pt x="3" y="1"/>
                      <a:pt x="4" y="1"/>
                      <a:pt x="4"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5" name="Freeform 48">
                <a:extLst>
                  <a:ext uri="{FF2B5EF4-FFF2-40B4-BE49-F238E27FC236}">
                    <a16:creationId xmlns:a16="http://schemas.microsoft.com/office/drawing/2014/main" id="{188E5D54-B905-4AD3-997C-8E62CC61ED6C}"/>
                  </a:ext>
                </a:extLst>
              </p:cNvPr>
              <p:cNvSpPr>
                <a:spLocks/>
              </p:cNvSpPr>
              <p:nvPr/>
            </p:nvSpPr>
            <p:spPr bwMode="auto">
              <a:xfrm>
                <a:off x="1387" y="3814"/>
                <a:ext cx="14" cy="11"/>
              </a:xfrm>
              <a:custGeom>
                <a:avLst/>
                <a:gdLst>
                  <a:gd name="T0" fmla="*/ 4 w 6"/>
                  <a:gd name="T1" fmla="*/ 0 h 5"/>
                  <a:gd name="T2" fmla="*/ 3 w 6"/>
                  <a:gd name="T3" fmla="*/ 1 h 5"/>
                  <a:gd name="T4" fmla="*/ 3 w 6"/>
                  <a:gd name="T5" fmla="*/ 1 h 5"/>
                  <a:gd name="T6" fmla="*/ 0 w 6"/>
                  <a:gd name="T7" fmla="*/ 2 h 5"/>
                  <a:gd name="T8" fmla="*/ 1 w 6"/>
                  <a:gd name="T9" fmla="*/ 4 h 5"/>
                  <a:gd name="T10" fmla="*/ 2 w 6"/>
                  <a:gd name="T11" fmla="*/ 5 h 5"/>
                  <a:gd name="T12" fmla="*/ 3 w 6"/>
                  <a:gd name="T13" fmla="*/ 5 h 5"/>
                  <a:gd name="T14" fmla="*/ 3 w 6"/>
                  <a:gd name="T15" fmla="*/ 5 h 5"/>
                  <a:gd name="T16" fmla="*/ 5 w 6"/>
                  <a:gd name="T17" fmla="*/ 2 h 5"/>
                  <a:gd name="T18" fmla="*/ 4 w 6"/>
                  <a:gd name="T19" fmla="*/ 1 h 5"/>
                  <a:gd name="T20" fmla="*/ 4 w 6"/>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5">
                    <a:moveTo>
                      <a:pt x="4" y="0"/>
                    </a:moveTo>
                    <a:cubicBezTo>
                      <a:pt x="3" y="1"/>
                      <a:pt x="3" y="1"/>
                      <a:pt x="3" y="1"/>
                    </a:cubicBezTo>
                    <a:cubicBezTo>
                      <a:pt x="3" y="1"/>
                      <a:pt x="3" y="1"/>
                      <a:pt x="3" y="1"/>
                    </a:cubicBezTo>
                    <a:cubicBezTo>
                      <a:pt x="2" y="1"/>
                      <a:pt x="1" y="1"/>
                      <a:pt x="0" y="2"/>
                    </a:cubicBezTo>
                    <a:cubicBezTo>
                      <a:pt x="0" y="2"/>
                      <a:pt x="1" y="3"/>
                      <a:pt x="1" y="4"/>
                    </a:cubicBezTo>
                    <a:cubicBezTo>
                      <a:pt x="1" y="4"/>
                      <a:pt x="2" y="5"/>
                      <a:pt x="2" y="5"/>
                    </a:cubicBezTo>
                    <a:cubicBezTo>
                      <a:pt x="2" y="5"/>
                      <a:pt x="2" y="5"/>
                      <a:pt x="3" y="5"/>
                    </a:cubicBezTo>
                    <a:cubicBezTo>
                      <a:pt x="3" y="5"/>
                      <a:pt x="3" y="5"/>
                      <a:pt x="3" y="5"/>
                    </a:cubicBezTo>
                    <a:cubicBezTo>
                      <a:pt x="5" y="4"/>
                      <a:pt x="6" y="4"/>
                      <a:pt x="5" y="2"/>
                    </a:cubicBezTo>
                    <a:cubicBezTo>
                      <a:pt x="5" y="2"/>
                      <a:pt x="4" y="1"/>
                      <a:pt x="4" y="1"/>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6" name="Freeform 49">
                <a:extLst>
                  <a:ext uri="{FF2B5EF4-FFF2-40B4-BE49-F238E27FC236}">
                    <a16:creationId xmlns:a16="http://schemas.microsoft.com/office/drawing/2014/main" id="{5435185B-D0E9-4126-8E24-FB5D702AD2C4}"/>
                  </a:ext>
                </a:extLst>
              </p:cNvPr>
              <p:cNvSpPr>
                <a:spLocks/>
              </p:cNvSpPr>
              <p:nvPr/>
            </p:nvSpPr>
            <p:spPr bwMode="auto">
              <a:xfrm>
                <a:off x="1212" y="3755"/>
                <a:ext cx="7" cy="11"/>
              </a:xfrm>
              <a:custGeom>
                <a:avLst/>
                <a:gdLst>
                  <a:gd name="T0" fmla="*/ 3 w 3"/>
                  <a:gd name="T1" fmla="*/ 0 h 5"/>
                  <a:gd name="T2" fmla="*/ 2 w 3"/>
                  <a:gd name="T3" fmla="*/ 1 h 5"/>
                  <a:gd name="T4" fmla="*/ 0 w 3"/>
                  <a:gd name="T5" fmla="*/ 5 h 5"/>
                  <a:gd name="T6" fmla="*/ 2 w 3"/>
                  <a:gd name="T7" fmla="*/ 1 h 5"/>
                  <a:gd name="T8" fmla="*/ 3 w 3"/>
                  <a:gd name="T9" fmla="*/ 0 h 5"/>
                </a:gdLst>
                <a:ahLst/>
                <a:cxnLst>
                  <a:cxn ang="0">
                    <a:pos x="T0" y="T1"/>
                  </a:cxn>
                  <a:cxn ang="0">
                    <a:pos x="T2" y="T3"/>
                  </a:cxn>
                  <a:cxn ang="0">
                    <a:pos x="T4" y="T5"/>
                  </a:cxn>
                  <a:cxn ang="0">
                    <a:pos x="T6" y="T7"/>
                  </a:cxn>
                  <a:cxn ang="0">
                    <a:pos x="T8" y="T9"/>
                  </a:cxn>
                </a:cxnLst>
                <a:rect l="0" t="0" r="r" b="b"/>
                <a:pathLst>
                  <a:path w="3" h="5">
                    <a:moveTo>
                      <a:pt x="3" y="0"/>
                    </a:moveTo>
                    <a:cubicBezTo>
                      <a:pt x="2" y="1"/>
                      <a:pt x="2" y="1"/>
                      <a:pt x="2" y="1"/>
                    </a:cubicBezTo>
                    <a:cubicBezTo>
                      <a:pt x="1" y="2"/>
                      <a:pt x="1" y="3"/>
                      <a:pt x="0" y="5"/>
                    </a:cubicBezTo>
                    <a:cubicBezTo>
                      <a:pt x="1" y="4"/>
                      <a:pt x="2" y="3"/>
                      <a:pt x="2" y="1"/>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7" name="Freeform 50">
                <a:extLst>
                  <a:ext uri="{FF2B5EF4-FFF2-40B4-BE49-F238E27FC236}">
                    <a16:creationId xmlns:a16="http://schemas.microsoft.com/office/drawing/2014/main" id="{C2E75C59-CC2C-408E-B34B-44BCD5C09FE3}"/>
                  </a:ext>
                </a:extLst>
              </p:cNvPr>
              <p:cNvSpPr>
                <a:spLocks/>
              </p:cNvSpPr>
              <p:nvPr/>
            </p:nvSpPr>
            <p:spPr bwMode="auto">
              <a:xfrm>
                <a:off x="1318" y="3771"/>
                <a:ext cx="35" cy="26"/>
              </a:xfrm>
              <a:custGeom>
                <a:avLst/>
                <a:gdLst>
                  <a:gd name="T0" fmla="*/ 7 w 15"/>
                  <a:gd name="T1" fmla="*/ 0 h 11"/>
                  <a:gd name="T2" fmla="*/ 6 w 15"/>
                  <a:gd name="T3" fmla="*/ 0 h 11"/>
                  <a:gd name="T4" fmla="*/ 4 w 15"/>
                  <a:gd name="T5" fmla="*/ 2 h 11"/>
                  <a:gd name="T6" fmla="*/ 0 w 15"/>
                  <a:gd name="T7" fmla="*/ 3 h 11"/>
                  <a:gd name="T8" fmla="*/ 4 w 15"/>
                  <a:gd name="T9" fmla="*/ 9 h 11"/>
                  <a:gd name="T10" fmla="*/ 5 w 15"/>
                  <a:gd name="T11" fmla="*/ 9 h 11"/>
                  <a:gd name="T12" fmla="*/ 6 w 15"/>
                  <a:gd name="T13" fmla="*/ 8 h 11"/>
                  <a:gd name="T14" fmla="*/ 8 w 15"/>
                  <a:gd name="T15" fmla="*/ 7 h 11"/>
                  <a:gd name="T16" fmla="*/ 8 w 15"/>
                  <a:gd name="T17" fmla="*/ 7 h 11"/>
                  <a:gd name="T18" fmla="*/ 11 w 15"/>
                  <a:gd name="T19" fmla="*/ 11 h 11"/>
                  <a:gd name="T20" fmla="*/ 15 w 15"/>
                  <a:gd name="T21" fmla="*/ 9 h 11"/>
                  <a:gd name="T22" fmla="*/ 7 w 15"/>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1">
                    <a:moveTo>
                      <a:pt x="7" y="0"/>
                    </a:moveTo>
                    <a:cubicBezTo>
                      <a:pt x="7" y="0"/>
                      <a:pt x="6" y="0"/>
                      <a:pt x="6" y="0"/>
                    </a:cubicBezTo>
                    <a:cubicBezTo>
                      <a:pt x="5" y="0"/>
                      <a:pt x="5" y="2"/>
                      <a:pt x="4" y="2"/>
                    </a:cubicBezTo>
                    <a:cubicBezTo>
                      <a:pt x="3" y="3"/>
                      <a:pt x="2" y="3"/>
                      <a:pt x="0" y="3"/>
                    </a:cubicBezTo>
                    <a:cubicBezTo>
                      <a:pt x="2" y="4"/>
                      <a:pt x="2" y="7"/>
                      <a:pt x="4" y="9"/>
                    </a:cubicBezTo>
                    <a:cubicBezTo>
                      <a:pt x="4" y="9"/>
                      <a:pt x="5" y="9"/>
                      <a:pt x="5" y="9"/>
                    </a:cubicBezTo>
                    <a:cubicBezTo>
                      <a:pt x="5" y="9"/>
                      <a:pt x="6" y="9"/>
                      <a:pt x="6" y="8"/>
                    </a:cubicBezTo>
                    <a:cubicBezTo>
                      <a:pt x="6" y="8"/>
                      <a:pt x="7" y="7"/>
                      <a:pt x="8" y="7"/>
                    </a:cubicBezTo>
                    <a:cubicBezTo>
                      <a:pt x="8" y="7"/>
                      <a:pt x="8" y="7"/>
                      <a:pt x="8" y="7"/>
                    </a:cubicBezTo>
                    <a:cubicBezTo>
                      <a:pt x="7" y="8"/>
                      <a:pt x="10" y="10"/>
                      <a:pt x="11" y="11"/>
                    </a:cubicBezTo>
                    <a:cubicBezTo>
                      <a:pt x="13" y="10"/>
                      <a:pt x="14" y="10"/>
                      <a:pt x="15" y="9"/>
                    </a:cubicBezTo>
                    <a:cubicBezTo>
                      <a:pt x="13" y="7"/>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8" name="Freeform 51">
                <a:extLst>
                  <a:ext uri="{FF2B5EF4-FFF2-40B4-BE49-F238E27FC236}">
                    <a16:creationId xmlns:a16="http://schemas.microsoft.com/office/drawing/2014/main" id="{07DD88DA-6691-4545-8BA8-1A3410C950FC}"/>
                  </a:ext>
                </a:extLst>
              </p:cNvPr>
              <p:cNvSpPr>
                <a:spLocks/>
              </p:cNvSpPr>
              <p:nvPr/>
            </p:nvSpPr>
            <p:spPr bwMode="auto">
              <a:xfrm>
                <a:off x="1439" y="3854"/>
                <a:ext cx="71" cy="76"/>
              </a:xfrm>
              <a:custGeom>
                <a:avLst/>
                <a:gdLst>
                  <a:gd name="T0" fmla="*/ 6 w 30"/>
                  <a:gd name="T1" fmla="*/ 0 h 32"/>
                  <a:gd name="T2" fmla="*/ 5 w 30"/>
                  <a:gd name="T3" fmla="*/ 4 h 32"/>
                  <a:gd name="T4" fmla="*/ 5 w 30"/>
                  <a:gd name="T5" fmla="*/ 7 h 32"/>
                  <a:gd name="T6" fmla="*/ 2 w 30"/>
                  <a:gd name="T7" fmla="*/ 11 h 32"/>
                  <a:gd name="T8" fmla="*/ 3 w 30"/>
                  <a:gd name="T9" fmla="*/ 17 h 32"/>
                  <a:gd name="T10" fmla="*/ 4 w 30"/>
                  <a:gd name="T11" fmla="*/ 24 h 32"/>
                  <a:gd name="T12" fmla="*/ 10 w 30"/>
                  <a:gd name="T13" fmla="*/ 32 h 32"/>
                  <a:gd name="T14" fmla="*/ 30 w 30"/>
                  <a:gd name="T15" fmla="*/ 18 h 32"/>
                  <a:gd name="T16" fmla="*/ 26 w 30"/>
                  <a:gd name="T17" fmla="*/ 14 h 32"/>
                  <a:gd name="T18" fmla="*/ 24 w 30"/>
                  <a:gd name="T19" fmla="*/ 12 h 32"/>
                  <a:gd name="T20" fmla="*/ 21 w 30"/>
                  <a:gd name="T21" fmla="*/ 7 h 32"/>
                  <a:gd name="T22" fmla="*/ 17 w 30"/>
                  <a:gd name="T23" fmla="*/ 5 h 32"/>
                  <a:gd name="T24" fmla="*/ 10 w 30"/>
                  <a:gd name="T25" fmla="*/ 2 h 32"/>
                  <a:gd name="T26" fmla="*/ 6 w 30"/>
                  <a:gd name="T2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32">
                    <a:moveTo>
                      <a:pt x="6" y="0"/>
                    </a:moveTo>
                    <a:cubicBezTo>
                      <a:pt x="5" y="0"/>
                      <a:pt x="4" y="1"/>
                      <a:pt x="5" y="4"/>
                    </a:cubicBezTo>
                    <a:cubicBezTo>
                      <a:pt x="6" y="6"/>
                      <a:pt x="6" y="5"/>
                      <a:pt x="5" y="7"/>
                    </a:cubicBezTo>
                    <a:cubicBezTo>
                      <a:pt x="4" y="9"/>
                      <a:pt x="3" y="9"/>
                      <a:pt x="2" y="11"/>
                    </a:cubicBezTo>
                    <a:cubicBezTo>
                      <a:pt x="0" y="13"/>
                      <a:pt x="2" y="14"/>
                      <a:pt x="3" y="17"/>
                    </a:cubicBezTo>
                    <a:cubicBezTo>
                      <a:pt x="4" y="19"/>
                      <a:pt x="5" y="21"/>
                      <a:pt x="4" y="24"/>
                    </a:cubicBezTo>
                    <a:cubicBezTo>
                      <a:pt x="4" y="29"/>
                      <a:pt x="6" y="30"/>
                      <a:pt x="10" y="32"/>
                    </a:cubicBezTo>
                    <a:cubicBezTo>
                      <a:pt x="17" y="27"/>
                      <a:pt x="23" y="22"/>
                      <a:pt x="30" y="18"/>
                    </a:cubicBezTo>
                    <a:cubicBezTo>
                      <a:pt x="28" y="17"/>
                      <a:pt x="27" y="16"/>
                      <a:pt x="26" y="14"/>
                    </a:cubicBezTo>
                    <a:cubicBezTo>
                      <a:pt x="25" y="12"/>
                      <a:pt x="25" y="13"/>
                      <a:pt x="24" y="12"/>
                    </a:cubicBezTo>
                    <a:cubicBezTo>
                      <a:pt x="22" y="10"/>
                      <a:pt x="23" y="8"/>
                      <a:pt x="21" y="7"/>
                    </a:cubicBezTo>
                    <a:cubicBezTo>
                      <a:pt x="19" y="6"/>
                      <a:pt x="18" y="5"/>
                      <a:pt x="17" y="5"/>
                    </a:cubicBezTo>
                    <a:cubicBezTo>
                      <a:pt x="14" y="3"/>
                      <a:pt x="12" y="3"/>
                      <a:pt x="10" y="2"/>
                    </a:cubicBezTo>
                    <a:cubicBezTo>
                      <a:pt x="8"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9" name="Freeform 52">
                <a:extLst>
                  <a:ext uri="{FF2B5EF4-FFF2-40B4-BE49-F238E27FC236}">
                    <a16:creationId xmlns:a16="http://schemas.microsoft.com/office/drawing/2014/main" id="{4CCAEA08-1C1B-4C4C-840E-96C8EB16DBF1}"/>
                  </a:ext>
                </a:extLst>
              </p:cNvPr>
              <p:cNvSpPr>
                <a:spLocks/>
              </p:cNvSpPr>
              <p:nvPr/>
            </p:nvSpPr>
            <p:spPr bwMode="auto">
              <a:xfrm>
                <a:off x="1403" y="3809"/>
                <a:ext cx="43" cy="26"/>
              </a:xfrm>
              <a:custGeom>
                <a:avLst/>
                <a:gdLst>
                  <a:gd name="T0" fmla="*/ 5 w 18"/>
                  <a:gd name="T1" fmla="*/ 0 h 11"/>
                  <a:gd name="T2" fmla="*/ 5 w 18"/>
                  <a:gd name="T3" fmla="*/ 1 h 11"/>
                  <a:gd name="T4" fmla="*/ 5 w 18"/>
                  <a:gd name="T5" fmla="*/ 2 h 11"/>
                  <a:gd name="T6" fmla="*/ 3 w 18"/>
                  <a:gd name="T7" fmla="*/ 1 h 11"/>
                  <a:gd name="T8" fmla="*/ 2 w 18"/>
                  <a:gd name="T9" fmla="*/ 1 h 11"/>
                  <a:gd name="T10" fmla="*/ 3 w 18"/>
                  <a:gd name="T11" fmla="*/ 5 h 11"/>
                  <a:gd name="T12" fmla="*/ 4 w 18"/>
                  <a:gd name="T13" fmla="*/ 6 h 11"/>
                  <a:gd name="T14" fmla="*/ 7 w 18"/>
                  <a:gd name="T15" fmla="*/ 7 h 11"/>
                  <a:gd name="T16" fmla="*/ 7 w 18"/>
                  <a:gd name="T17" fmla="*/ 8 h 11"/>
                  <a:gd name="T18" fmla="*/ 10 w 18"/>
                  <a:gd name="T19" fmla="*/ 11 h 11"/>
                  <a:gd name="T20" fmla="*/ 12 w 18"/>
                  <a:gd name="T21" fmla="*/ 10 h 11"/>
                  <a:gd name="T22" fmla="*/ 14 w 18"/>
                  <a:gd name="T23" fmla="*/ 10 h 11"/>
                  <a:gd name="T24" fmla="*/ 17 w 18"/>
                  <a:gd name="T25" fmla="*/ 9 h 11"/>
                  <a:gd name="T26" fmla="*/ 18 w 18"/>
                  <a:gd name="T27" fmla="*/ 7 h 11"/>
                  <a:gd name="T28" fmla="*/ 16 w 18"/>
                  <a:gd name="T29" fmla="*/ 5 h 11"/>
                  <a:gd name="T30" fmla="*/ 12 w 18"/>
                  <a:gd name="T31" fmla="*/ 2 h 11"/>
                  <a:gd name="T32" fmla="*/ 10 w 18"/>
                  <a:gd name="T33" fmla="*/ 2 h 11"/>
                  <a:gd name="T34" fmla="*/ 10 w 18"/>
                  <a:gd name="T35" fmla="*/ 2 h 11"/>
                  <a:gd name="T36" fmla="*/ 10 w 18"/>
                  <a:gd name="T37" fmla="*/ 2 h 11"/>
                  <a:gd name="T38" fmla="*/ 9 w 18"/>
                  <a:gd name="T39" fmla="*/ 2 h 11"/>
                  <a:gd name="T40" fmla="*/ 5 w 18"/>
                  <a:gd name="T41" fmla="*/ 1 h 11"/>
                  <a:gd name="T42" fmla="*/ 5 w 18"/>
                  <a:gd name="T4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1">
                    <a:moveTo>
                      <a:pt x="5" y="0"/>
                    </a:moveTo>
                    <a:cubicBezTo>
                      <a:pt x="5" y="1"/>
                      <a:pt x="5" y="1"/>
                      <a:pt x="5" y="1"/>
                    </a:cubicBezTo>
                    <a:cubicBezTo>
                      <a:pt x="5" y="2"/>
                      <a:pt x="5" y="2"/>
                      <a:pt x="5" y="2"/>
                    </a:cubicBezTo>
                    <a:cubicBezTo>
                      <a:pt x="4" y="1"/>
                      <a:pt x="3" y="1"/>
                      <a:pt x="3" y="1"/>
                    </a:cubicBezTo>
                    <a:cubicBezTo>
                      <a:pt x="2" y="1"/>
                      <a:pt x="2" y="1"/>
                      <a:pt x="2" y="1"/>
                    </a:cubicBezTo>
                    <a:cubicBezTo>
                      <a:pt x="0" y="3"/>
                      <a:pt x="1" y="4"/>
                      <a:pt x="3" y="5"/>
                    </a:cubicBezTo>
                    <a:cubicBezTo>
                      <a:pt x="3" y="5"/>
                      <a:pt x="4" y="6"/>
                      <a:pt x="4" y="6"/>
                    </a:cubicBezTo>
                    <a:cubicBezTo>
                      <a:pt x="5" y="7"/>
                      <a:pt x="6" y="7"/>
                      <a:pt x="7" y="7"/>
                    </a:cubicBezTo>
                    <a:cubicBezTo>
                      <a:pt x="7" y="8"/>
                      <a:pt x="7" y="8"/>
                      <a:pt x="7" y="8"/>
                    </a:cubicBezTo>
                    <a:cubicBezTo>
                      <a:pt x="8" y="10"/>
                      <a:pt x="9" y="11"/>
                      <a:pt x="10" y="11"/>
                    </a:cubicBezTo>
                    <a:cubicBezTo>
                      <a:pt x="10" y="11"/>
                      <a:pt x="11" y="10"/>
                      <a:pt x="12" y="10"/>
                    </a:cubicBezTo>
                    <a:cubicBezTo>
                      <a:pt x="13" y="10"/>
                      <a:pt x="14" y="10"/>
                      <a:pt x="14" y="10"/>
                    </a:cubicBezTo>
                    <a:cubicBezTo>
                      <a:pt x="15" y="9"/>
                      <a:pt x="16" y="9"/>
                      <a:pt x="17" y="9"/>
                    </a:cubicBezTo>
                    <a:cubicBezTo>
                      <a:pt x="17" y="8"/>
                      <a:pt x="18" y="8"/>
                      <a:pt x="18" y="7"/>
                    </a:cubicBezTo>
                    <a:cubicBezTo>
                      <a:pt x="18" y="7"/>
                      <a:pt x="17" y="6"/>
                      <a:pt x="16" y="5"/>
                    </a:cubicBezTo>
                    <a:cubicBezTo>
                      <a:pt x="15" y="4"/>
                      <a:pt x="12" y="3"/>
                      <a:pt x="12" y="2"/>
                    </a:cubicBezTo>
                    <a:cubicBezTo>
                      <a:pt x="11" y="2"/>
                      <a:pt x="11" y="2"/>
                      <a:pt x="10" y="2"/>
                    </a:cubicBezTo>
                    <a:cubicBezTo>
                      <a:pt x="10" y="2"/>
                      <a:pt x="10" y="2"/>
                      <a:pt x="10" y="2"/>
                    </a:cubicBezTo>
                    <a:cubicBezTo>
                      <a:pt x="10" y="2"/>
                      <a:pt x="10" y="2"/>
                      <a:pt x="10" y="2"/>
                    </a:cubicBezTo>
                    <a:cubicBezTo>
                      <a:pt x="10" y="2"/>
                      <a:pt x="9" y="2"/>
                      <a:pt x="9" y="2"/>
                    </a:cubicBezTo>
                    <a:cubicBezTo>
                      <a:pt x="8" y="1"/>
                      <a:pt x="7" y="1"/>
                      <a:pt x="5"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0" name="Freeform 53">
                <a:extLst>
                  <a:ext uri="{FF2B5EF4-FFF2-40B4-BE49-F238E27FC236}">
                    <a16:creationId xmlns:a16="http://schemas.microsoft.com/office/drawing/2014/main" id="{AECA504D-B183-45C9-B6F9-D189384E0679}"/>
                  </a:ext>
                </a:extLst>
              </p:cNvPr>
              <p:cNvSpPr>
                <a:spLocks/>
              </p:cNvSpPr>
              <p:nvPr/>
            </p:nvSpPr>
            <p:spPr bwMode="auto">
              <a:xfrm>
                <a:off x="1372" y="3797"/>
                <a:ext cx="33" cy="10"/>
              </a:xfrm>
              <a:custGeom>
                <a:avLst/>
                <a:gdLst>
                  <a:gd name="T0" fmla="*/ 2 w 14"/>
                  <a:gd name="T1" fmla="*/ 0 h 4"/>
                  <a:gd name="T2" fmla="*/ 0 w 14"/>
                  <a:gd name="T3" fmla="*/ 3 h 4"/>
                  <a:gd name="T4" fmla="*/ 1 w 14"/>
                  <a:gd name="T5" fmla="*/ 4 h 4"/>
                  <a:gd name="T6" fmla="*/ 3 w 14"/>
                  <a:gd name="T7" fmla="*/ 3 h 4"/>
                  <a:gd name="T8" fmla="*/ 4 w 14"/>
                  <a:gd name="T9" fmla="*/ 3 h 4"/>
                  <a:gd name="T10" fmla="*/ 7 w 14"/>
                  <a:gd name="T11" fmla="*/ 4 h 4"/>
                  <a:gd name="T12" fmla="*/ 14 w 14"/>
                  <a:gd name="T13" fmla="*/ 2 h 4"/>
                  <a:gd name="T14" fmla="*/ 9 w 14"/>
                  <a:gd name="T15" fmla="*/ 1 h 4"/>
                  <a:gd name="T16" fmla="*/ 2 w 14"/>
                  <a:gd name="T17" fmla="*/ 0 h 4"/>
                  <a:gd name="T18" fmla="*/ 2 w 1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4">
                    <a:moveTo>
                      <a:pt x="2" y="0"/>
                    </a:moveTo>
                    <a:cubicBezTo>
                      <a:pt x="0" y="0"/>
                      <a:pt x="1" y="2"/>
                      <a:pt x="0" y="3"/>
                    </a:cubicBezTo>
                    <a:cubicBezTo>
                      <a:pt x="0" y="4"/>
                      <a:pt x="1" y="4"/>
                      <a:pt x="1" y="4"/>
                    </a:cubicBezTo>
                    <a:cubicBezTo>
                      <a:pt x="2" y="4"/>
                      <a:pt x="2" y="4"/>
                      <a:pt x="3" y="3"/>
                    </a:cubicBezTo>
                    <a:cubicBezTo>
                      <a:pt x="3" y="3"/>
                      <a:pt x="4" y="3"/>
                      <a:pt x="4" y="3"/>
                    </a:cubicBezTo>
                    <a:cubicBezTo>
                      <a:pt x="5" y="3"/>
                      <a:pt x="6" y="4"/>
                      <a:pt x="7" y="4"/>
                    </a:cubicBezTo>
                    <a:cubicBezTo>
                      <a:pt x="9" y="3"/>
                      <a:pt x="12" y="3"/>
                      <a:pt x="14" y="2"/>
                    </a:cubicBezTo>
                    <a:cubicBezTo>
                      <a:pt x="13" y="1"/>
                      <a:pt x="11" y="2"/>
                      <a:pt x="9" y="1"/>
                    </a:cubicBezTo>
                    <a:cubicBezTo>
                      <a:pt x="7" y="1"/>
                      <a:pt x="5" y="1"/>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1" name="Freeform 54">
                <a:extLst>
                  <a:ext uri="{FF2B5EF4-FFF2-40B4-BE49-F238E27FC236}">
                    <a16:creationId xmlns:a16="http://schemas.microsoft.com/office/drawing/2014/main" id="{2A9CA4D7-A2E2-4251-818D-0A7210C3E0FF}"/>
                  </a:ext>
                </a:extLst>
              </p:cNvPr>
              <p:cNvSpPr>
                <a:spLocks/>
              </p:cNvSpPr>
              <p:nvPr/>
            </p:nvSpPr>
            <p:spPr bwMode="auto">
              <a:xfrm>
                <a:off x="1233" y="3740"/>
                <a:ext cx="28" cy="19"/>
              </a:xfrm>
              <a:custGeom>
                <a:avLst/>
                <a:gdLst>
                  <a:gd name="T0" fmla="*/ 9 w 12"/>
                  <a:gd name="T1" fmla="*/ 0 h 8"/>
                  <a:gd name="T2" fmla="*/ 8 w 12"/>
                  <a:gd name="T3" fmla="*/ 0 h 8"/>
                  <a:gd name="T4" fmla="*/ 5 w 12"/>
                  <a:gd name="T5" fmla="*/ 1 h 8"/>
                  <a:gd name="T6" fmla="*/ 3 w 12"/>
                  <a:gd name="T7" fmla="*/ 3 h 8"/>
                  <a:gd name="T8" fmla="*/ 4 w 12"/>
                  <a:gd name="T9" fmla="*/ 7 h 8"/>
                  <a:gd name="T10" fmla="*/ 4 w 12"/>
                  <a:gd name="T11" fmla="*/ 7 h 8"/>
                  <a:gd name="T12" fmla="*/ 5 w 12"/>
                  <a:gd name="T13" fmla="*/ 7 h 8"/>
                  <a:gd name="T14" fmla="*/ 9 w 12"/>
                  <a:gd name="T15" fmla="*/ 8 h 8"/>
                  <a:gd name="T16" fmla="*/ 12 w 12"/>
                  <a:gd name="T17" fmla="*/ 4 h 8"/>
                  <a:gd name="T18" fmla="*/ 9 w 12"/>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8">
                    <a:moveTo>
                      <a:pt x="9" y="0"/>
                    </a:moveTo>
                    <a:cubicBezTo>
                      <a:pt x="9" y="0"/>
                      <a:pt x="9" y="0"/>
                      <a:pt x="8" y="0"/>
                    </a:cubicBezTo>
                    <a:cubicBezTo>
                      <a:pt x="7" y="0"/>
                      <a:pt x="6" y="1"/>
                      <a:pt x="5" y="1"/>
                    </a:cubicBezTo>
                    <a:cubicBezTo>
                      <a:pt x="4" y="2"/>
                      <a:pt x="3" y="2"/>
                      <a:pt x="3" y="3"/>
                    </a:cubicBezTo>
                    <a:cubicBezTo>
                      <a:pt x="1" y="4"/>
                      <a:pt x="0" y="6"/>
                      <a:pt x="4" y="7"/>
                    </a:cubicBezTo>
                    <a:cubicBezTo>
                      <a:pt x="4" y="7"/>
                      <a:pt x="4" y="7"/>
                      <a:pt x="4" y="7"/>
                    </a:cubicBezTo>
                    <a:cubicBezTo>
                      <a:pt x="5" y="7"/>
                      <a:pt x="5" y="7"/>
                      <a:pt x="5" y="7"/>
                    </a:cubicBezTo>
                    <a:cubicBezTo>
                      <a:pt x="7" y="7"/>
                      <a:pt x="8" y="8"/>
                      <a:pt x="9" y="8"/>
                    </a:cubicBezTo>
                    <a:cubicBezTo>
                      <a:pt x="11" y="8"/>
                      <a:pt x="12" y="7"/>
                      <a:pt x="12" y="4"/>
                    </a:cubicBezTo>
                    <a:cubicBezTo>
                      <a:pt x="12" y="0"/>
                      <a:pt x="11"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2" name="Freeform 55">
                <a:extLst>
                  <a:ext uri="{FF2B5EF4-FFF2-40B4-BE49-F238E27FC236}">
                    <a16:creationId xmlns:a16="http://schemas.microsoft.com/office/drawing/2014/main" id="{4E9C0074-ADE8-4E35-9B46-E642CA535E33}"/>
                  </a:ext>
                </a:extLst>
              </p:cNvPr>
              <p:cNvSpPr>
                <a:spLocks/>
              </p:cNvSpPr>
              <p:nvPr/>
            </p:nvSpPr>
            <p:spPr bwMode="auto">
              <a:xfrm>
                <a:off x="6050" y="3759"/>
                <a:ext cx="9" cy="5"/>
              </a:xfrm>
              <a:custGeom>
                <a:avLst/>
                <a:gdLst>
                  <a:gd name="T0" fmla="*/ 0 w 4"/>
                  <a:gd name="T1" fmla="*/ 0 h 2"/>
                  <a:gd name="T2" fmla="*/ 4 w 4"/>
                  <a:gd name="T3" fmla="*/ 2 h 2"/>
                  <a:gd name="T4" fmla="*/ 4 w 4"/>
                  <a:gd name="T5" fmla="*/ 2 h 2"/>
                  <a:gd name="T6" fmla="*/ 0 w 4"/>
                  <a:gd name="T7" fmla="*/ 0 h 2"/>
                </a:gdLst>
                <a:ahLst/>
                <a:cxnLst>
                  <a:cxn ang="0">
                    <a:pos x="T0" y="T1"/>
                  </a:cxn>
                  <a:cxn ang="0">
                    <a:pos x="T2" y="T3"/>
                  </a:cxn>
                  <a:cxn ang="0">
                    <a:pos x="T4" y="T5"/>
                  </a:cxn>
                  <a:cxn ang="0">
                    <a:pos x="T6" y="T7"/>
                  </a:cxn>
                </a:cxnLst>
                <a:rect l="0" t="0" r="r" b="b"/>
                <a:pathLst>
                  <a:path w="4" h="2">
                    <a:moveTo>
                      <a:pt x="0" y="0"/>
                    </a:moveTo>
                    <a:cubicBezTo>
                      <a:pt x="1" y="1"/>
                      <a:pt x="3" y="2"/>
                      <a:pt x="4" y="2"/>
                    </a:cubicBezTo>
                    <a:cubicBezTo>
                      <a:pt x="4" y="2"/>
                      <a:pt x="4" y="2"/>
                      <a:pt x="4" y="2"/>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3" name="Freeform 56">
                <a:extLst>
                  <a:ext uri="{FF2B5EF4-FFF2-40B4-BE49-F238E27FC236}">
                    <a16:creationId xmlns:a16="http://schemas.microsoft.com/office/drawing/2014/main" id="{C73BED45-F99E-42BB-AC97-15EBCC326A18}"/>
                  </a:ext>
                </a:extLst>
              </p:cNvPr>
              <p:cNvSpPr>
                <a:spLocks/>
              </p:cNvSpPr>
              <p:nvPr/>
            </p:nvSpPr>
            <p:spPr bwMode="auto">
              <a:xfrm>
                <a:off x="6062" y="3764"/>
                <a:ext cx="9" cy="2"/>
              </a:xfrm>
              <a:custGeom>
                <a:avLst/>
                <a:gdLst>
                  <a:gd name="T0" fmla="*/ 3 w 4"/>
                  <a:gd name="T1" fmla="*/ 0 h 1"/>
                  <a:gd name="T2" fmla="*/ 0 w 4"/>
                  <a:gd name="T3" fmla="*/ 1 h 1"/>
                  <a:gd name="T4" fmla="*/ 4 w 4"/>
                  <a:gd name="T5" fmla="*/ 1 h 1"/>
                  <a:gd name="T6" fmla="*/ 3 w 4"/>
                  <a:gd name="T7" fmla="*/ 0 h 1"/>
                </a:gdLst>
                <a:ahLst/>
                <a:cxnLst>
                  <a:cxn ang="0">
                    <a:pos x="T0" y="T1"/>
                  </a:cxn>
                  <a:cxn ang="0">
                    <a:pos x="T2" y="T3"/>
                  </a:cxn>
                  <a:cxn ang="0">
                    <a:pos x="T4" y="T5"/>
                  </a:cxn>
                  <a:cxn ang="0">
                    <a:pos x="T6" y="T7"/>
                  </a:cxn>
                </a:cxnLst>
                <a:rect l="0" t="0" r="r" b="b"/>
                <a:pathLst>
                  <a:path w="4" h="1">
                    <a:moveTo>
                      <a:pt x="3" y="0"/>
                    </a:moveTo>
                    <a:cubicBezTo>
                      <a:pt x="2" y="0"/>
                      <a:pt x="1" y="0"/>
                      <a:pt x="0" y="1"/>
                    </a:cubicBezTo>
                    <a:cubicBezTo>
                      <a:pt x="2" y="1"/>
                      <a:pt x="3" y="1"/>
                      <a:pt x="4"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4" name="Freeform 57">
                <a:extLst>
                  <a:ext uri="{FF2B5EF4-FFF2-40B4-BE49-F238E27FC236}">
                    <a16:creationId xmlns:a16="http://schemas.microsoft.com/office/drawing/2014/main" id="{8211D768-523D-48E2-A247-B4574C5EFF36}"/>
                  </a:ext>
                </a:extLst>
              </p:cNvPr>
              <p:cNvSpPr>
                <a:spLocks noEditPoints="1"/>
              </p:cNvSpPr>
              <p:nvPr/>
            </p:nvSpPr>
            <p:spPr bwMode="auto">
              <a:xfrm>
                <a:off x="6033" y="3764"/>
                <a:ext cx="12" cy="2"/>
              </a:xfrm>
              <a:custGeom>
                <a:avLst/>
                <a:gdLst>
                  <a:gd name="T0" fmla="*/ 1 w 5"/>
                  <a:gd name="T1" fmla="*/ 1 h 1"/>
                  <a:gd name="T2" fmla="*/ 0 w 5"/>
                  <a:gd name="T3" fmla="*/ 1 h 1"/>
                  <a:gd name="T4" fmla="*/ 1 w 5"/>
                  <a:gd name="T5" fmla="*/ 1 h 1"/>
                  <a:gd name="T6" fmla="*/ 5 w 5"/>
                  <a:gd name="T7" fmla="*/ 0 h 1"/>
                  <a:gd name="T8" fmla="*/ 1 w 5"/>
                  <a:gd name="T9" fmla="*/ 1 h 1"/>
                  <a:gd name="T10" fmla="*/ 1 w 5"/>
                  <a:gd name="T11" fmla="*/ 1 h 1"/>
                  <a:gd name="T12" fmla="*/ 2 w 5"/>
                  <a:gd name="T13" fmla="*/ 1 h 1"/>
                  <a:gd name="T14" fmla="*/ 3 w 5"/>
                  <a:gd name="T15" fmla="*/ 1 h 1"/>
                  <a:gd name="T16" fmla="*/ 4 w 5"/>
                  <a:gd name="T17" fmla="*/ 1 h 1"/>
                  <a:gd name="T18" fmla="*/ 4 w 5"/>
                  <a:gd name="T19" fmla="*/ 1 h 1"/>
                  <a:gd name="T20" fmla="*/ 5 w 5"/>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1">
                    <a:moveTo>
                      <a:pt x="1" y="1"/>
                    </a:moveTo>
                    <a:cubicBezTo>
                      <a:pt x="1" y="1"/>
                      <a:pt x="0" y="1"/>
                      <a:pt x="0" y="1"/>
                    </a:cubicBezTo>
                    <a:cubicBezTo>
                      <a:pt x="0" y="1"/>
                      <a:pt x="1" y="1"/>
                      <a:pt x="1" y="1"/>
                    </a:cubicBezTo>
                    <a:moveTo>
                      <a:pt x="5" y="0"/>
                    </a:moveTo>
                    <a:cubicBezTo>
                      <a:pt x="4" y="1"/>
                      <a:pt x="2" y="1"/>
                      <a:pt x="1" y="1"/>
                    </a:cubicBezTo>
                    <a:cubicBezTo>
                      <a:pt x="1" y="1"/>
                      <a:pt x="1" y="1"/>
                      <a:pt x="1" y="1"/>
                    </a:cubicBezTo>
                    <a:cubicBezTo>
                      <a:pt x="2" y="1"/>
                      <a:pt x="2" y="1"/>
                      <a:pt x="2" y="1"/>
                    </a:cubicBezTo>
                    <a:cubicBezTo>
                      <a:pt x="2" y="1"/>
                      <a:pt x="3" y="1"/>
                      <a:pt x="3" y="1"/>
                    </a:cubicBezTo>
                    <a:cubicBezTo>
                      <a:pt x="3" y="1"/>
                      <a:pt x="4" y="1"/>
                      <a:pt x="4" y="1"/>
                    </a:cubicBezTo>
                    <a:cubicBezTo>
                      <a:pt x="4" y="1"/>
                      <a:pt x="4" y="1"/>
                      <a:pt x="4"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5" name="Freeform 58">
                <a:extLst>
                  <a:ext uri="{FF2B5EF4-FFF2-40B4-BE49-F238E27FC236}">
                    <a16:creationId xmlns:a16="http://schemas.microsoft.com/office/drawing/2014/main" id="{4BB67253-1C50-403F-B184-1FA6664CABC1}"/>
                  </a:ext>
                </a:extLst>
              </p:cNvPr>
              <p:cNvSpPr>
                <a:spLocks/>
              </p:cNvSpPr>
              <p:nvPr/>
            </p:nvSpPr>
            <p:spPr bwMode="auto">
              <a:xfrm>
                <a:off x="6665" y="4355"/>
                <a:ext cx="19" cy="10"/>
              </a:xfrm>
              <a:custGeom>
                <a:avLst/>
                <a:gdLst>
                  <a:gd name="T0" fmla="*/ 7 w 8"/>
                  <a:gd name="T1" fmla="*/ 0 h 4"/>
                  <a:gd name="T2" fmla="*/ 0 w 8"/>
                  <a:gd name="T3" fmla="*/ 4 h 4"/>
                  <a:gd name="T4" fmla="*/ 1 w 8"/>
                  <a:gd name="T5" fmla="*/ 4 h 4"/>
                  <a:gd name="T6" fmla="*/ 4 w 8"/>
                  <a:gd name="T7" fmla="*/ 3 h 4"/>
                  <a:gd name="T8" fmla="*/ 7 w 8"/>
                  <a:gd name="T9" fmla="*/ 0 h 4"/>
                </a:gdLst>
                <a:ahLst/>
                <a:cxnLst>
                  <a:cxn ang="0">
                    <a:pos x="T0" y="T1"/>
                  </a:cxn>
                  <a:cxn ang="0">
                    <a:pos x="T2" y="T3"/>
                  </a:cxn>
                  <a:cxn ang="0">
                    <a:pos x="T4" y="T5"/>
                  </a:cxn>
                  <a:cxn ang="0">
                    <a:pos x="T6" y="T7"/>
                  </a:cxn>
                  <a:cxn ang="0">
                    <a:pos x="T8" y="T9"/>
                  </a:cxn>
                </a:cxnLst>
                <a:rect l="0" t="0" r="r" b="b"/>
                <a:pathLst>
                  <a:path w="8" h="4">
                    <a:moveTo>
                      <a:pt x="7" y="0"/>
                    </a:moveTo>
                    <a:cubicBezTo>
                      <a:pt x="4" y="1"/>
                      <a:pt x="2" y="2"/>
                      <a:pt x="0" y="4"/>
                    </a:cubicBezTo>
                    <a:cubicBezTo>
                      <a:pt x="0" y="4"/>
                      <a:pt x="0" y="4"/>
                      <a:pt x="1" y="4"/>
                    </a:cubicBezTo>
                    <a:cubicBezTo>
                      <a:pt x="2" y="4"/>
                      <a:pt x="3" y="4"/>
                      <a:pt x="4" y="3"/>
                    </a:cubicBezTo>
                    <a:cubicBezTo>
                      <a:pt x="6" y="3"/>
                      <a:pt x="8"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6" name="Freeform 59">
                <a:extLst>
                  <a:ext uri="{FF2B5EF4-FFF2-40B4-BE49-F238E27FC236}">
                    <a16:creationId xmlns:a16="http://schemas.microsoft.com/office/drawing/2014/main" id="{8AC4CD08-12AE-4269-A6C9-8F67A2663A5F}"/>
                  </a:ext>
                </a:extLst>
              </p:cNvPr>
              <p:cNvSpPr>
                <a:spLocks/>
              </p:cNvSpPr>
              <p:nvPr/>
            </p:nvSpPr>
            <p:spPr bwMode="auto">
              <a:xfrm>
                <a:off x="6650" y="4202"/>
                <a:ext cx="12" cy="21"/>
              </a:xfrm>
              <a:custGeom>
                <a:avLst/>
                <a:gdLst>
                  <a:gd name="T0" fmla="*/ 4 w 5"/>
                  <a:gd name="T1" fmla="*/ 0 h 9"/>
                  <a:gd name="T2" fmla="*/ 1 w 5"/>
                  <a:gd name="T3" fmla="*/ 6 h 9"/>
                  <a:gd name="T4" fmla="*/ 3 w 5"/>
                  <a:gd name="T5" fmla="*/ 9 h 9"/>
                  <a:gd name="T6" fmla="*/ 5 w 5"/>
                  <a:gd name="T7" fmla="*/ 5 h 9"/>
                  <a:gd name="T8" fmla="*/ 4 w 5"/>
                  <a:gd name="T9" fmla="*/ 0 h 9"/>
                </a:gdLst>
                <a:ahLst/>
                <a:cxnLst>
                  <a:cxn ang="0">
                    <a:pos x="T0" y="T1"/>
                  </a:cxn>
                  <a:cxn ang="0">
                    <a:pos x="T2" y="T3"/>
                  </a:cxn>
                  <a:cxn ang="0">
                    <a:pos x="T4" y="T5"/>
                  </a:cxn>
                  <a:cxn ang="0">
                    <a:pos x="T6" y="T7"/>
                  </a:cxn>
                  <a:cxn ang="0">
                    <a:pos x="T8" y="T9"/>
                  </a:cxn>
                </a:cxnLst>
                <a:rect l="0" t="0" r="r" b="b"/>
                <a:pathLst>
                  <a:path w="5" h="9">
                    <a:moveTo>
                      <a:pt x="4" y="0"/>
                    </a:moveTo>
                    <a:cubicBezTo>
                      <a:pt x="3" y="1"/>
                      <a:pt x="0" y="4"/>
                      <a:pt x="1" y="6"/>
                    </a:cubicBezTo>
                    <a:cubicBezTo>
                      <a:pt x="1" y="8"/>
                      <a:pt x="3" y="8"/>
                      <a:pt x="3" y="9"/>
                    </a:cubicBezTo>
                    <a:cubicBezTo>
                      <a:pt x="4" y="8"/>
                      <a:pt x="4" y="6"/>
                      <a:pt x="5" y="5"/>
                    </a:cubicBezTo>
                    <a:cubicBezTo>
                      <a:pt x="5" y="3"/>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7" name="Freeform 60">
                <a:extLst>
                  <a:ext uri="{FF2B5EF4-FFF2-40B4-BE49-F238E27FC236}">
                    <a16:creationId xmlns:a16="http://schemas.microsoft.com/office/drawing/2014/main" id="{AEB7FFF9-FC87-4C42-8B6F-CAE75BD6C65F}"/>
                  </a:ext>
                </a:extLst>
              </p:cNvPr>
              <p:cNvSpPr>
                <a:spLocks/>
              </p:cNvSpPr>
              <p:nvPr/>
            </p:nvSpPr>
            <p:spPr bwMode="auto">
              <a:xfrm>
                <a:off x="6553" y="4017"/>
                <a:ext cx="10" cy="7"/>
              </a:xfrm>
              <a:custGeom>
                <a:avLst/>
                <a:gdLst>
                  <a:gd name="T0" fmla="*/ 0 w 4"/>
                  <a:gd name="T1" fmla="*/ 0 h 3"/>
                  <a:gd name="T2" fmla="*/ 4 w 4"/>
                  <a:gd name="T3" fmla="*/ 3 h 3"/>
                  <a:gd name="T4" fmla="*/ 0 w 4"/>
                  <a:gd name="T5" fmla="*/ 0 h 3"/>
                </a:gdLst>
                <a:ahLst/>
                <a:cxnLst>
                  <a:cxn ang="0">
                    <a:pos x="T0" y="T1"/>
                  </a:cxn>
                  <a:cxn ang="0">
                    <a:pos x="T2" y="T3"/>
                  </a:cxn>
                  <a:cxn ang="0">
                    <a:pos x="T4" y="T5"/>
                  </a:cxn>
                </a:cxnLst>
                <a:rect l="0" t="0" r="r" b="b"/>
                <a:pathLst>
                  <a:path w="4" h="3">
                    <a:moveTo>
                      <a:pt x="0" y="0"/>
                    </a:moveTo>
                    <a:cubicBezTo>
                      <a:pt x="0" y="1"/>
                      <a:pt x="3" y="2"/>
                      <a:pt x="4" y="3"/>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8" name="Freeform 61">
                <a:extLst>
                  <a:ext uri="{FF2B5EF4-FFF2-40B4-BE49-F238E27FC236}">
                    <a16:creationId xmlns:a16="http://schemas.microsoft.com/office/drawing/2014/main" id="{43171D13-156C-44FE-8D26-025A30831989}"/>
                  </a:ext>
                </a:extLst>
              </p:cNvPr>
              <p:cNvSpPr>
                <a:spLocks/>
              </p:cNvSpPr>
              <p:nvPr/>
            </p:nvSpPr>
            <p:spPr bwMode="auto">
              <a:xfrm>
                <a:off x="6312" y="3953"/>
                <a:ext cx="92" cy="33"/>
              </a:xfrm>
              <a:custGeom>
                <a:avLst/>
                <a:gdLst>
                  <a:gd name="T0" fmla="*/ 4 w 39"/>
                  <a:gd name="T1" fmla="*/ 0 h 14"/>
                  <a:gd name="T2" fmla="*/ 1 w 39"/>
                  <a:gd name="T3" fmla="*/ 4 h 14"/>
                  <a:gd name="T4" fmla="*/ 2 w 39"/>
                  <a:gd name="T5" fmla="*/ 9 h 14"/>
                  <a:gd name="T6" fmla="*/ 6 w 39"/>
                  <a:gd name="T7" fmla="*/ 13 h 14"/>
                  <a:gd name="T8" fmla="*/ 6 w 39"/>
                  <a:gd name="T9" fmla="*/ 13 h 14"/>
                  <a:gd name="T10" fmla="*/ 11 w 39"/>
                  <a:gd name="T11" fmla="*/ 13 h 14"/>
                  <a:gd name="T12" fmla="*/ 14 w 39"/>
                  <a:gd name="T13" fmla="*/ 12 h 14"/>
                  <a:gd name="T14" fmla="*/ 23 w 39"/>
                  <a:gd name="T15" fmla="*/ 13 h 14"/>
                  <a:gd name="T16" fmla="*/ 25 w 39"/>
                  <a:gd name="T17" fmla="*/ 14 h 14"/>
                  <a:gd name="T18" fmla="*/ 34 w 39"/>
                  <a:gd name="T19" fmla="*/ 11 h 14"/>
                  <a:gd name="T20" fmla="*/ 35 w 39"/>
                  <a:gd name="T21" fmla="*/ 3 h 14"/>
                  <a:gd name="T22" fmla="*/ 29 w 39"/>
                  <a:gd name="T23" fmla="*/ 1 h 14"/>
                  <a:gd name="T24" fmla="*/ 29 w 39"/>
                  <a:gd name="T25" fmla="*/ 1 h 14"/>
                  <a:gd name="T26" fmla="*/ 28 w 39"/>
                  <a:gd name="T27" fmla="*/ 2 h 14"/>
                  <a:gd name="T28" fmla="*/ 27 w 39"/>
                  <a:gd name="T29" fmla="*/ 2 h 14"/>
                  <a:gd name="T30" fmla="*/ 27 w 39"/>
                  <a:gd name="T31" fmla="*/ 2 h 14"/>
                  <a:gd name="T32" fmla="*/ 26 w 39"/>
                  <a:gd name="T33" fmla="*/ 1 h 14"/>
                  <a:gd name="T34" fmla="*/ 21 w 39"/>
                  <a:gd name="T35" fmla="*/ 1 h 14"/>
                  <a:gd name="T36" fmla="*/ 4 w 39"/>
                  <a:gd name="T3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14">
                    <a:moveTo>
                      <a:pt x="4" y="0"/>
                    </a:moveTo>
                    <a:cubicBezTo>
                      <a:pt x="3" y="2"/>
                      <a:pt x="0" y="2"/>
                      <a:pt x="1" y="4"/>
                    </a:cubicBezTo>
                    <a:cubicBezTo>
                      <a:pt x="1" y="6"/>
                      <a:pt x="2" y="8"/>
                      <a:pt x="2" y="9"/>
                    </a:cubicBezTo>
                    <a:cubicBezTo>
                      <a:pt x="3" y="12"/>
                      <a:pt x="3" y="13"/>
                      <a:pt x="6" y="13"/>
                    </a:cubicBezTo>
                    <a:cubicBezTo>
                      <a:pt x="6" y="13"/>
                      <a:pt x="6" y="13"/>
                      <a:pt x="6" y="13"/>
                    </a:cubicBezTo>
                    <a:cubicBezTo>
                      <a:pt x="8" y="13"/>
                      <a:pt x="9" y="13"/>
                      <a:pt x="11" y="13"/>
                    </a:cubicBezTo>
                    <a:cubicBezTo>
                      <a:pt x="12" y="12"/>
                      <a:pt x="13" y="12"/>
                      <a:pt x="14" y="12"/>
                    </a:cubicBezTo>
                    <a:cubicBezTo>
                      <a:pt x="18" y="12"/>
                      <a:pt x="21" y="13"/>
                      <a:pt x="23" y="13"/>
                    </a:cubicBezTo>
                    <a:cubicBezTo>
                      <a:pt x="24" y="13"/>
                      <a:pt x="24" y="14"/>
                      <a:pt x="25" y="14"/>
                    </a:cubicBezTo>
                    <a:cubicBezTo>
                      <a:pt x="28" y="14"/>
                      <a:pt x="32" y="12"/>
                      <a:pt x="34" y="11"/>
                    </a:cubicBezTo>
                    <a:cubicBezTo>
                      <a:pt x="37" y="7"/>
                      <a:pt x="39" y="5"/>
                      <a:pt x="35" y="3"/>
                    </a:cubicBezTo>
                    <a:cubicBezTo>
                      <a:pt x="33" y="2"/>
                      <a:pt x="31" y="2"/>
                      <a:pt x="29" y="1"/>
                    </a:cubicBezTo>
                    <a:cubicBezTo>
                      <a:pt x="29" y="1"/>
                      <a:pt x="29" y="1"/>
                      <a:pt x="29" y="1"/>
                    </a:cubicBezTo>
                    <a:cubicBezTo>
                      <a:pt x="29" y="1"/>
                      <a:pt x="28" y="1"/>
                      <a:pt x="28" y="2"/>
                    </a:cubicBezTo>
                    <a:cubicBezTo>
                      <a:pt x="28" y="2"/>
                      <a:pt x="27" y="2"/>
                      <a:pt x="27" y="2"/>
                    </a:cubicBezTo>
                    <a:cubicBezTo>
                      <a:pt x="27" y="2"/>
                      <a:pt x="27" y="2"/>
                      <a:pt x="27" y="2"/>
                    </a:cubicBezTo>
                    <a:cubicBezTo>
                      <a:pt x="26" y="1"/>
                      <a:pt x="26" y="1"/>
                      <a:pt x="26" y="1"/>
                    </a:cubicBezTo>
                    <a:cubicBezTo>
                      <a:pt x="24" y="1"/>
                      <a:pt x="22" y="1"/>
                      <a:pt x="21" y="1"/>
                    </a:cubicBezTo>
                    <a:cubicBezTo>
                      <a:pt x="15" y="1"/>
                      <a:pt x="9"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9" name="Freeform 62">
                <a:extLst>
                  <a:ext uri="{FF2B5EF4-FFF2-40B4-BE49-F238E27FC236}">
                    <a16:creationId xmlns:a16="http://schemas.microsoft.com/office/drawing/2014/main" id="{8E97102E-597A-4D29-8389-424E5A4073F2}"/>
                  </a:ext>
                </a:extLst>
              </p:cNvPr>
              <p:cNvSpPr>
                <a:spLocks/>
              </p:cNvSpPr>
              <p:nvPr/>
            </p:nvSpPr>
            <p:spPr bwMode="auto">
              <a:xfrm>
                <a:off x="6404" y="3975"/>
                <a:ext cx="12" cy="2"/>
              </a:xfrm>
              <a:custGeom>
                <a:avLst/>
                <a:gdLst>
                  <a:gd name="T0" fmla="*/ 5 w 5"/>
                  <a:gd name="T1" fmla="*/ 0 h 1"/>
                  <a:gd name="T2" fmla="*/ 0 w 5"/>
                  <a:gd name="T3" fmla="*/ 0 h 1"/>
                  <a:gd name="T4" fmla="*/ 3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3" y="0"/>
                      <a:pt x="2" y="0"/>
                      <a:pt x="0" y="0"/>
                    </a:cubicBezTo>
                    <a:cubicBezTo>
                      <a:pt x="1" y="1"/>
                      <a:pt x="2" y="1"/>
                      <a:pt x="3" y="1"/>
                    </a:cubicBezTo>
                    <a:cubicBezTo>
                      <a:pt x="4" y="1"/>
                      <a:pt x="4"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0" name="Freeform 63">
                <a:extLst>
                  <a:ext uri="{FF2B5EF4-FFF2-40B4-BE49-F238E27FC236}">
                    <a16:creationId xmlns:a16="http://schemas.microsoft.com/office/drawing/2014/main" id="{1B316541-7243-45FD-BBE2-7AEE2BABE99D}"/>
                  </a:ext>
                </a:extLst>
              </p:cNvPr>
              <p:cNvSpPr>
                <a:spLocks/>
              </p:cNvSpPr>
              <p:nvPr/>
            </p:nvSpPr>
            <p:spPr bwMode="auto">
              <a:xfrm>
                <a:off x="6589" y="4048"/>
                <a:ext cx="2" cy="9"/>
              </a:xfrm>
              <a:custGeom>
                <a:avLst/>
                <a:gdLst>
                  <a:gd name="T0" fmla="*/ 0 w 1"/>
                  <a:gd name="T1" fmla="*/ 0 h 4"/>
                  <a:gd name="T2" fmla="*/ 0 w 1"/>
                  <a:gd name="T3" fmla="*/ 4 h 4"/>
                  <a:gd name="T4" fmla="*/ 0 w 1"/>
                  <a:gd name="T5" fmla="*/ 0 h 4"/>
                </a:gdLst>
                <a:ahLst/>
                <a:cxnLst>
                  <a:cxn ang="0">
                    <a:pos x="T0" y="T1"/>
                  </a:cxn>
                  <a:cxn ang="0">
                    <a:pos x="T2" y="T3"/>
                  </a:cxn>
                  <a:cxn ang="0">
                    <a:pos x="T4" y="T5"/>
                  </a:cxn>
                </a:cxnLst>
                <a:rect l="0" t="0" r="r" b="b"/>
                <a:pathLst>
                  <a:path w="1" h="4">
                    <a:moveTo>
                      <a:pt x="0" y="0"/>
                    </a:moveTo>
                    <a:cubicBezTo>
                      <a:pt x="0" y="1"/>
                      <a:pt x="0" y="3"/>
                      <a:pt x="0" y="4"/>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1" name="Freeform 64">
                <a:extLst>
                  <a:ext uri="{FF2B5EF4-FFF2-40B4-BE49-F238E27FC236}">
                    <a16:creationId xmlns:a16="http://schemas.microsoft.com/office/drawing/2014/main" id="{C3554E9B-C787-4F72-A819-9E5B3DB1E60A}"/>
                  </a:ext>
                </a:extLst>
              </p:cNvPr>
              <p:cNvSpPr>
                <a:spLocks/>
              </p:cNvSpPr>
              <p:nvPr/>
            </p:nvSpPr>
            <p:spPr bwMode="auto">
              <a:xfrm>
                <a:off x="6641" y="4157"/>
                <a:ext cx="26" cy="23"/>
              </a:xfrm>
              <a:custGeom>
                <a:avLst/>
                <a:gdLst>
                  <a:gd name="T0" fmla="*/ 3 w 11"/>
                  <a:gd name="T1" fmla="*/ 0 h 10"/>
                  <a:gd name="T2" fmla="*/ 3 w 11"/>
                  <a:gd name="T3" fmla="*/ 6 h 10"/>
                  <a:gd name="T4" fmla="*/ 6 w 11"/>
                  <a:gd name="T5" fmla="*/ 9 h 10"/>
                  <a:gd name="T6" fmla="*/ 5 w 11"/>
                  <a:gd name="T7" fmla="*/ 8 h 10"/>
                  <a:gd name="T8" fmla="*/ 5 w 11"/>
                  <a:gd name="T9" fmla="*/ 10 h 10"/>
                  <a:gd name="T10" fmla="*/ 7 w 11"/>
                  <a:gd name="T11" fmla="*/ 10 h 10"/>
                  <a:gd name="T12" fmla="*/ 8 w 11"/>
                  <a:gd name="T13" fmla="*/ 10 h 10"/>
                  <a:gd name="T14" fmla="*/ 9 w 11"/>
                  <a:gd name="T15" fmla="*/ 10 h 10"/>
                  <a:gd name="T16" fmla="*/ 11 w 11"/>
                  <a:gd name="T17" fmla="*/ 10 h 10"/>
                  <a:gd name="T18" fmla="*/ 3 w 11"/>
                  <a:gd name="T19" fmla="*/ 1 h 10"/>
                  <a:gd name="T20" fmla="*/ 3 w 11"/>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0">
                    <a:moveTo>
                      <a:pt x="3" y="0"/>
                    </a:moveTo>
                    <a:cubicBezTo>
                      <a:pt x="0" y="0"/>
                      <a:pt x="2" y="5"/>
                      <a:pt x="3" y="6"/>
                    </a:cubicBezTo>
                    <a:cubicBezTo>
                      <a:pt x="3" y="7"/>
                      <a:pt x="8" y="9"/>
                      <a:pt x="6" y="9"/>
                    </a:cubicBezTo>
                    <a:cubicBezTo>
                      <a:pt x="5" y="9"/>
                      <a:pt x="5" y="9"/>
                      <a:pt x="5" y="8"/>
                    </a:cubicBezTo>
                    <a:cubicBezTo>
                      <a:pt x="5" y="9"/>
                      <a:pt x="5" y="10"/>
                      <a:pt x="5" y="10"/>
                    </a:cubicBezTo>
                    <a:cubicBezTo>
                      <a:pt x="6" y="10"/>
                      <a:pt x="6" y="10"/>
                      <a:pt x="7" y="10"/>
                    </a:cubicBezTo>
                    <a:cubicBezTo>
                      <a:pt x="7" y="10"/>
                      <a:pt x="8" y="10"/>
                      <a:pt x="8" y="10"/>
                    </a:cubicBezTo>
                    <a:cubicBezTo>
                      <a:pt x="8" y="10"/>
                      <a:pt x="9" y="10"/>
                      <a:pt x="9" y="10"/>
                    </a:cubicBezTo>
                    <a:cubicBezTo>
                      <a:pt x="10" y="10"/>
                      <a:pt x="10" y="10"/>
                      <a:pt x="11" y="10"/>
                    </a:cubicBezTo>
                    <a:cubicBezTo>
                      <a:pt x="10" y="6"/>
                      <a:pt x="7" y="2"/>
                      <a:pt x="3" y="1"/>
                    </a:cubicBezTo>
                    <a:cubicBezTo>
                      <a:pt x="3"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2" name="Freeform 65">
                <a:extLst>
                  <a:ext uri="{FF2B5EF4-FFF2-40B4-BE49-F238E27FC236}">
                    <a16:creationId xmlns:a16="http://schemas.microsoft.com/office/drawing/2014/main" id="{B8E567C4-2F2E-4CEA-86FA-8B54A69E3129}"/>
                  </a:ext>
                </a:extLst>
              </p:cNvPr>
              <p:cNvSpPr>
                <a:spLocks/>
              </p:cNvSpPr>
              <p:nvPr/>
            </p:nvSpPr>
            <p:spPr bwMode="auto">
              <a:xfrm>
                <a:off x="5705" y="3953"/>
                <a:ext cx="118" cy="45"/>
              </a:xfrm>
              <a:custGeom>
                <a:avLst/>
                <a:gdLst>
                  <a:gd name="T0" fmla="*/ 14 w 50"/>
                  <a:gd name="T1" fmla="*/ 0 h 19"/>
                  <a:gd name="T2" fmla="*/ 0 w 50"/>
                  <a:gd name="T3" fmla="*/ 5 h 19"/>
                  <a:gd name="T4" fmla="*/ 21 w 50"/>
                  <a:gd name="T5" fmla="*/ 16 h 19"/>
                  <a:gd name="T6" fmla="*/ 27 w 50"/>
                  <a:gd name="T7" fmla="*/ 19 h 19"/>
                  <a:gd name="T8" fmla="*/ 28 w 50"/>
                  <a:gd name="T9" fmla="*/ 19 h 19"/>
                  <a:gd name="T10" fmla="*/ 26 w 50"/>
                  <a:gd name="T11" fmla="*/ 18 h 19"/>
                  <a:gd name="T12" fmla="*/ 28 w 50"/>
                  <a:gd name="T13" fmla="*/ 15 h 19"/>
                  <a:gd name="T14" fmla="*/ 33 w 50"/>
                  <a:gd name="T15" fmla="*/ 14 h 19"/>
                  <a:gd name="T16" fmla="*/ 35 w 50"/>
                  <a:gd name="T17" fmla="*/ 13 h 19"/>
                  <a:gd name="T18" fmla="*/ 40 w 50"/>
                  <a:gd name="T19" fmla="*/ 14 h 19"/>
                  <a:gd name="T20" fmla="*/ 46 w 50"/>
                  <a:gd name="T21" fmla="*/ 15 h 19"/>
                  <a:gd name="T22" fmla="*/ 50 w 50"/>
                  <a:gd name="T23" fmla="*/ 15 h 19"/>
                  <a:gd name="T24" fmla="*/ 33 w 50"/>
                  <a:gd name="T25" fmla="*/ 4 h 19"/>
                  <a:gd name="T26" fmla="*/ 14 w 50"/>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19">
                    <a:moveTo>
                      <a:pt x="14" y="0"/>
                    </a:moveTo>
                    <a:cubicBezTo>
                      <a:pt x="9" y="1"/>
                      <a:pt x="5" y="3"/>
                      <a:pt x="0" y="5"/>
                    </a:cubicBezTo>
                    <a:cubicBezTo>
                      <a:pt x="6" y="9"/>
                      <a:pt x="14" y="15"/>
                      <a:pt x="21" y="16"/>
                    </a:cubicBezTo>
                    <a:cubicBezTo>
                      <a:pt x="23" y="16"/>
                      <a:pt x="25" y="19"/>
                      <a:pt x="27" y="19"/>
                    </a:cubicBezTo>
                    <a:cubicBezTo>
                      <a:pt x="27" y="19"/>
                      <a:pt x="28" y="19"/>
                      <a:pt x="28" y="19"/>
                    </a:cubicBezTo>
                    <a:cubicBezTo>
                      <a:pt x="26" y="18"/>
                      <a:pt x="26" y="18"/>
                      <a:pt x="26" y="18"/>
                    </a:cubicBezTo>
                    <a:cubicBezTo>
                      <a:pt x="27" y="17"/>
                      <a:pt x="27" y="16"/>
                      <a:pt x="28" y="15"/>
                    </a:cubicBezTo>
                    <a:cubicBezTo>
                      <a:pt x="29" y="14"/>
                      <a:pt x="32" y="14"/>
                      <a:pt x="33" y="14"/>
                    </a:cubicBezTo>
                    <a:cubicBezTo>
                      <a:pt x="34" y="13"/>
                      <a:pt x="35" y="13"/>
                      <a:pt x="35" y="13"/>
                    </a:cubicBezTo>
                    <a:cubicBezTo>
                      <a:pt x="37" y="13"/>
                      <a:pt x="38" y="14"/>
                      <a:pt x="40" y="14"/>
                    </a:cubicBezTo>
                    <a:cubicBezTo>
                      <a:pt x="42" y="15"/>
                      <a:pt x="44" y="15"/>
                      <a:pt x="46" y="15"/>
                    </a:cubicBezTo>
                    <a:cubicBezTo>
                      <a:pt x="47" y="15"/>
                      <a:pt x="48" y="15"/>
                      <a:pt x="50" y="15"/>
                    </a:cubicBezTo>
                    <a:cubicBezTo>
                      <a:pt x="48" y="9"/>
                      <a:pt x="38" y="6"/>
                      <a:pt x="33" y="4"/>
                    </a:cubicBezTo>
                    <a:cubicBezTo>
                      <a:pt x="27" y="1"/>
                      <a:pt x="20" y="1"/>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3" name="Freeform 66">
                <a:extLst>
                  <a:ext uri="{FF2B5EF4-FFF2-40B4-BE49-F238E27FC236}">
                    <a16:creationId xmlns:a16="http://schemas.microsoft.com/office/drawing/2014/main" id="{6204E4EB-2EAF-4C20-A512-87A476CB0A80}"/>
                  </a:ext>
                </a:extLst>
              </p:cNvPr>
              <p:cNvSpPr>
                <a:spLocks/>
              </p:cNvSpPr>
              <p:nvPr/>
            </p:nvSpPr>
            <p:spPr bwMode="auto">
              <a:xfrm>
                <a:off x="5286" y="4067"/>
                <a:ext cx="7" cy="5"/>
              </a:xfrm>
              <a:custGeom>
                <a:avLst/>
                <a:gdLst>
                  <a:gd name="T0" fmla="*/ 3 w 3"/>
                  <a:gd name="T1" fmla="*/ 0 h 2"/>
                  <a:gd name="T2" fmla="*/ 0 w 3"/>
                  <a:gd name="T3" fmla="*/ 2 h 2"/>
                  <a:gd name="T4" fmla="*/ 3 w 3"/>
                  <a:gd name="T5" fmla="*/ 0 h 2"/>
                  <a:gd name="T6" fmla="*/ 3 w 3"/>
                  <a:gd name="T7" fmla="*/ 0 h 2"/>
                </a:gdLst>
                <a:ahLst/>
                <a:cxnLst>
                  <a:cxn ang="0">
                    <a:pos x="T0" y="T1"/>
                  </a:cxn>
                  <a:cxn ang="0">
                    <a:pos x="T2" y="T3"/>
                  </a:cxn>
                  <a:cxn ang="0">
                    <a:pos x="T4" y="T5"/>
                  </a:cxn>
                  <a:cxn ang="0">
                    <a:pos x="T6" y="T7"/>
                  </a:cxn>
                </a:cxnLst>
                <a:rect l="0" t="0" r="r" b="b"/>
                <a:pathLst>
                  <a:path w="3" h="2">
                    <a:moveTo>
                      <a:pt x="3" y="0"/>
                    </a:moveTo>
                    <a:cubicBezTo>
                      <a:pt x="1" y="0"/>
                      <a:pt x="1" y="1"/>
                      <a:pt x="0" y="2"/>
                    </a:cubicBezTo>
                    <a:cubicBezTo>
                      <a:pt x="1" y="1"/>
                      <a:pt x="2" y="1"/>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4" name="Freeform 67">
                <a:extLst>
                  <a:ext uri="{FF2B5EF4-FFF2-40B4-BE49-F238E27FC236}">
                    <a16:creationId xmlns:a16="http://schemas.microsoft.com/office/drawing/2014/main" id="{FBBB2BD7-47C2-4FB1-9746-C643EA426E63}"/>
                  </a:ext>
                </a:extLst>
              </p:cNvPr>
              <p:cNvSpPr>
                <a:spLocks/>
              </p:cNvSpPr>
              <p:nvPr/>
            </p:nvSpPr>
            <p:spPr bwMode="auto">
              <a:xfrm>
                <a:off x="5981" y="3930"/>
                <a:ext cx="31" cy="11"/>
              </a:xfrm>
              <a:custGeom>
                <a:avLst/>
                <a:gdLst>
                  <a:gd name="T0" fmla="*/ 1 w 13"/>
                  <a:gd name="T1" fmla="*/ 0 h 5"/>
                  <a:gd name="T2" fmla="*/ 0 w 13"/>
                  <a:gd name="T3" fmla="*/ 0 h 5"/>
                  <a:gd name="T4" fmla="*/ 8 w 13"/>
                  <a:gd name="T5" fmla="*/ 4 h 5"/>
                  <a:gd name="T6" fmla="*/ 11 w 13"/>
                  <a:gd name="T7" fmla="*/ 5 h 5"/>
                  <a:gd name="T8" fmla="*/ 1 w 13"/>
                  <a:gd name="T9" fmla="*/ 0 h 5"/>
                </a:gdLst>
                <a:ahLst/>
                <a:cxnLst>
                  <a:cxn ang="0">
                    <a:pos x="T0" y="T1"/>
                  </a:cxn>
                  <a:cxn ang="0">
                    <a:pos x="T2" y="T3"/>
                  </a:cxn>
                  <a:cxn ang="0">
                    <a:pos x="T4" y="T5"/>
                  </a:cxn>
                  <a:cxn ang="0">
                    <a:pos x="T6" y="T7"/>
                  </a:cxn>
                  <a:cxn ang="0">
                    <a:pos x="T8" y="T9"/>
                  </a:cxn>
                </a:cxnLst>
                <a:rect l="0" t="0" r="r" b="b"/>
                <a:pathLst>
                  <a:path w="13" h="5">
                    <a:moveTo>
                      <a:pt x="1" y="0"/>
                    </a:moveTo>
                    <a:cubicBezTo>
                      <a:pt x="1" y="0"/>
                      <a:pt x="0" y="0"/>
                      <a:pt x="0" y="0"/>
                    </a:cubicBezTo>
                    <a:cubicBezTo>
                      <a:pt x="1" y="2"/>
                      <a:pt x="6" y="4"/>
                      <a:pt x="8" y="4"/>
                    </a:cubicBezTo>
                    <a:cubicBezTo>
                      <a:pt x="9" y="5"/>
                      <a:pt x="10" y="5"/>
                      <a:pt x="11" y="5"/>
                    </a:cubicBezTo>
                    <a:cubicBezTo>
                      <a:pt x="13" y="1"/>
                      <a:pt x="5"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5" name="Freeform 68">
                <a:extLst>
                  <a:ext uri="{FF2B5EF4-FFF2-40B4-BE49-F238E27FC236}">
                    <a16:creationId xmlns:a16="http://schemas.microsoft.com/office/drawing/2014/main" id="{B0CAC15A-C90B-4238-B451-4A80D825A87E}"/>
                  </a:ext>
                </a:extLst>
              </p:cNvPr>
              <p:cNvSpPr>
                <a:spLocks/>
              </p:cNvSpPr>
              <p:nvPr/>
            </p:nvSpPr>
            <p:spPr bwMode="auto">
              <a:xfrm>
                <a:off x="6000" y="3863"/>
                <a:ext cx="19" cy="5"/>
              </a:xfrm>
              <a:custGeom>
                <a:avLst/>
                <a:gdLst>
                  <a:gd name="T0" fmla="*/ 0 w 8"/>
                  <a:gd name="T1" fmla="*/ 0 h 2"/>
                  <a:gd name="T2" fmla="*/ 2 w 8"/>
                  <a:gd name="T3" fmla="*/ 1 h 2"/>
                  <a:gd name="T4" fmla="*/ 7 w 8"/>
                  <a:gd name="T5" fmla="*/ 2 h 2"/>
                  <a:gd name="T6" fmla="*/ 8 w 8"/>
                  <a:gd name="T7" fmla="*/ 2 h 2"/>
                  <a:gd name="T8" fmla="*/ 8 w 8"/>
                  <a:gd name="T9" fmla="*/ 2 h 2"/>
                  <a:gd name="T10" fmla="*/ 8 w 8"/>
                  <a:gd name="T11" fmla="*/ 2 h 2"/>
                  <a:gd name="T12" fmla="*/ 7 w 8"/>
                  <a:gd name="T13" fmla="*/ 2 h 2"/>
                  <a:gd name="T14" fmla="*/ 6 w 8"/>
                  <a:gd name="T15" fmla="*/ 2 h 2"/>
                  <a:gd name="T16" fmla="*/ 5 w 8"/>
                  <a:gd name="T17" fmla="*/ 2 h 2"/>
                  <a:gd name="T18" fmla="*/ 0 w 8"/>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2">
                    <a:moveTo>
                      <a:pt x="0" y="0"/>
                    </a:moveTo>
                    <a:cubicBezTo>
                      <a:pt x="0" y="1"/>
                      <a:pt x="1" y="1"/>
                      <a:pt x="2" y="1"/>
                    </a:cubicBezTo>
                    <a:cubicBezTo>
                      <a:pt x="4" y="2"/>
                      <a:pt x="6" y="2"/>
                      <a:pt x="7" y="2"/>
                    </a:cubicBezTo>
                    <a:cubicBezTo>
                      <a:pt x="8" y="2"/>
                      <a:pt x="8" y="2"/>
                      <a:pt x="8" y="2"/>
                    </a:cubicBezTo>
                    <a:cubicBezTo>
                      <a:pt x="8" y="2"/>
                      <a:pt x="8" y="2"/>
                      <a:pt x="8" y="2"/>
                    </a:cubicBezTo>
                    <a:cubicBezTo>
                      <a:pt x="8" y="2"/>
                      <a:pt x="8" y="2"/>
                      <a:pt x="8" y="2"/>
                    </a:cubicBezTo>
                    <a:cubicBezTo>
                      <a:pt x="7" y="2"/>
                      <a:pt x="7" y="2"/>
                      <a:pt x="7" y="2"/>
                    </a:cubicBezTo>
                    <a:cubicBezTo>
                      <a:pt x="6" y="2"/>
                      <a:pt x="6" y="2"/>
                      <a:pt x="6" y="2"/>
                    </a:cubicBezTo>
                    <a:cubicBezTo>
                      <a:pt x="6" y="2"/>
                      <a:pt x="5" y="2"/>
                      <a:pt x="5" y="2"/>
                    </a:cubicBezTo>
                    <a:cubicBezTo>
                      <a:pt x="3"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6" name="Freeform 69">
                <a:extLst>
                  <a:ext uri="{FF2B5EF4-FFF2-40B4-BE49-F238E27FC236}">
                    <a16:creationId xmlns:a16="http://schemas.microsoft.com/office/drawing/2014/main" id="{8C13EFD3-AD01-4F39-AE29-082AC5F6E46C}"/>
                  </a:ext>
                </a:extLst>
              </p:cNvPr>
              <p:cNvSpPr>
                <a:spLocks/>
              </p:cNvSpPr>
              <p:nvPr/>
            </p:nvSpPr>
            <p:spPr bwMode="auto">
              <a:xfrm>
                <a:off x="6622" y="4069"/>
                <a:ext cx="24" cy="14"/>
              </a:xfrm>
              <a:custGeom>
                <a:avLst/>
                <a:gdLst>
                  <a:gd name="T0" fmla="*/ 5 w 10"/>
                  <a:gd name="T1" fmla="*/ 0 h 6"/>
                  <a:gd name="T2" fmla="*/ 3 w 10"/>
                  <a:gd name="T3" fmla="*/ 6 h 6"/>
                  <a:gd name="T4" fmla="*/ 4 w 10"/>
                  <a:gd name="T5" fmla="*/ 6 h 6"/>
                  <a:gd name="T6" fmla="*/ 7 w 10"/>
                  <a:gd name="T7" fmla="*/ 5 h 6"/>
                  <a:gd name="T8" fmla="*/ 9 w 10"/>
                  <a:gd name="T9" fmla="*/ 5 h 6"/>
                  <a:gd name="T10" fmla="*/ 10 w 10"/>
                  <a:gd name="T11" fmla="*/ 5 h 6"/>
                  <a:gd name="T12" fmla="*/ 5 w 10"/>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5" y="0"/>
                    </a:moveTo>
                    <a:cubicBezTo>
                      <a:pt x="3" y="1"/>
                      <a:pt x="0" y="5"/>
                      <a:pt x="3" y="6"/>
                    </a:cubicBezTo>
                    <a:cubicBezTo>
                      <a:pt x="4" y="6"/>
                      <a:pt x="4" y="6"/>
                      <a:pt x="4" y="6"/>
                    </a:cubicBezTo>
                    <a:cubicBezTo>
                      <a:pt x="5" y="6"/>
                      <a:pt x="6" y="6"/>
                      <a:pt x="7" y="5"/>
                    </a:cubicBezTo>
                    <a:cubicBezTo>
                      <a:pt x="7" y="5"/>
                      <a:pt x="8" y="5"/>
                      <a:pt x="9" y="5"/>
                    </a:cubicBezTo>
                    <a:cubicBezTo>
                      <a:pt x="10" y="5"/>
                      <a:pt x="10" y="5"/>
                      <a:pt x="10" y="5"/>
                    </a:cubicBezTo>
                    <a:cubicBezTo>
                      <a:pt x="9" y="4"/>
                      <a:pt x="4"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7" name="Freeform 70">
                <a:extLst>
                  <a:ext uri="{FF2B5EF4-FFF2-40B4-BE49-F238E27FC236}">
                    <a16:creationId xmlns:a16="http://schemas.microsoft.com/office/drawing/2014/main" id="{892EDC0F-D445-494B-9A9F-4536EAC6AF1C}"/>
                  </a:ext>
                </a:extLst>
              </p:cNvPr>
              <p:cNvSpPr>
                <a:spLocks/>
              </p:cNvSpPr>
              <p:nvPr/>
            </p:nvSpPr>
            <p:spPr bwMode="auto">
              <a:xfrm>
                <a:off x="6639" y="4098"/>
                <a:ext cx="4" cy="4"/>
              </a:xfrm>
              <a:custGeom>
                <a:avLst/>
                <a:gdLst>
                  <a:gd name="T0" fmla="*/ 2 w 2"/>
                  <a:gd name="T1" fmla="*/ 0 h 2"/>
                  <a:gd name="T2" fmla="*/ 0 w 2"/>
                  <a:gd name="T3" fmla="*/ 0 h 2"/>
                  <a:gd name="T4" fmla="*/ 1 w 2"/>
                  <a:gd name="T5" fmla="*/ 2 h 2"/>
                  <a:gd name="T6" fmla="*/ 2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cubicBezTo>
                      <a:pt x="1" y="0"/>
                      <a:pt x="1" y="0"/>
                      <a:pt x="0" y="0"/>
                    </a:cubicBezTo>
                    <a:cubicBezTo>
                      <a:pt x="0" y="1"/>
                      <a:pt x="1" y="1"/>
                      <a:pt x="1" y="2"/>
                    </a:cubicBezTo>
                    <a:cubicBezTo>
                      <a:pt x="2" y="1"/>
                      <a:pt x="2"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8" name="Freeform 71">
                <a:extLst>
                  <a:ext uri="{FF2B5EF4-FFF2-40B4-BE49-F238E27FC236}">
                    <a16:creationId xmlns:a16="http://schemas.microsoft.com/office/drawing/2014/main" id="{D478A2FD-31B3-4DCE-B7E4-545A76281CB8}"/>
                  </a:ext>
                </a:extLst>
              </p:cNvPr>
              <p:cNvSpPr>
                <a:spLocks/>
              </p:cNvSpPr>
              <p:nvPr/>
            </p:nvSpPr>
            <p:spPr bwMode="auto">
              <a:xfrm>
                <a:off x="6613" y="4079"/>
                <a:ext cx="14" cy="16"/>
              </a:xfrm>
              <a:custGeom>
                <a:avLst/>
                <a:gdLst>
                  <a:gd name="T0" fmla="*/ 4 w 6"/>
                  <a:gd name="T1" fmla="*/ 0 h 7"/>
                  <a:gd name="T2" fmla="*/ 0 w 6"/>
                  <a:gd name="T3" fmla="*/ 1 h 7"/>
                  <a:gd name="T4" fmla="*/ 3 w 6"/>
                  <a:gd name="T5" fmla="*/ 7 h 7"/>
                  <a:gd name="T6" fmla="*/ 4 w 6"/>
                  <a:gd name="T7" fmla="*/ 7 h 7"/>
                  <a:gd name="T8" fmla="*/ 4 w 6"/>
                  <a:gd name="T9" fmla="*/ 0 h 7"/>
                </a:gdLst>
                <a:ahLst/>
                <a:cxnLst>
                  <a:cxn ang="0">
                    <a:pos x="T0" y="T1"/>
                  </a:cxn>
                  <a:cxn ang="0">
                    <a:pos x="T2" y="T3"/>
                  </a:cxn>
                  <a:cxn ang="0">
                    <a:pos x="T4" y="T5"/>
                  </a:cxn>
                  <a:cxn ang="0">
                    <a:pos x="T6" y="T7"/>
                  </a:cxn>
                  <a:cxn ang="0">
                    <a:pos x="T8" y="T9"/>
                  </a:cxn>
                </a:cxnLst>
                <a:rect l="0" t="0" r="r" b="b"/>
                <a:pathLst>
                  <a:path w="6" h="7">
                    <a:moveTo>
                      <a:pt x="4" y="0"/>
                    </a:moveTo>
                    <a:cubicBezTo>
                      <a:pt x="2" y="0"/>
                      <a:pt x="1" y="0"/>
                      <a:pt x="0" y="1"/>
                    </a:cubicBezTo>
                    <a:cubicBezTo>
                      <a:pt x="0" y="3"/>
                      <a:pt x="0" y="7"/>
                      <a:pt x="3" y="7"/>
                    </a:cubicBezTo>
                    <a:cubicBezTo>
                      <a:pt x="3" y="7"/>
                      <a:pt x="3" y="7"/>
                      <a:pt x="4" y="7"/>
                    </a:cubicBezTo>
                    <a:cubicBezTo>
                      <a:pt x="6" y="7"/>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9" name="Freeform 72">
                <a:extLst>
                  <a:ext uri="{FF2B5EF4-FFF2-40B4-BE49-F238E27FC236}">
                    <a16:creationId xmlns:a16="http://schemas.microsoft.com/office/drawing/2014/main" id="{DA2151CF-770F-4B92-961E-0D954A460669}"/>
                  </a:ext>
                </a:extLst>
              </p:cNvPr>
              <p:cNvSpPr>
                <a:spLocks/>
              </p:cNvSpPr>
              <p:nvPr/>
            </p:nvSpPr>
            <p:spPr bwMode="auto">
              <a:xfrm>
                <a:off x="6613" y="4306"/>
                <a:ext cx="9" cy="12"/>
              </a:xfrm>
              <a:custGeom>
                <a:avLst/>
                <a:gdLst>
                  <a:gd name="T0" fmla="*/ 3 w 4"/>
                  <a:gd name="T1" fmla="*/ 0 h 5"/>
                  <a:gd name="T2" fmla="*/ 0 w 4"/>
                  <a:gd name="T3" fmla="*/ 5 h 5"/>
                  <a:gd name="T4" fmla="*/ 4 w 4"/>
                  <a:gd name="T5" fmla="*/ 2 h 5"/>
                  <a:gd name="T6" fmla="*/ 3 w 4"/>
                  <a:gd name="T7" fmla="*/ 0 h 5"/>
                </a:gdLst>
                <a:ahLst/>
                <a:cxnLst>
                  <a:cxn ang="0">
                    <a:pos x="T0" y="T1"/>
                  </a:cxn>
                  <a:cxn ang="0">
                    <a:pos x="T2" y="T3"/>
                  </a:cxn>
                  <a:cxn ang="0">
                    <a:pos x="T4" y="T5"/>
                  </a:cxn>
                  <a:cxn ang="0">
                    <a:pos x="T6" y="T7"/>
                  </a:cxn>
                </a:cxnLst>
                <a:rect l="0" t="0" r="r" b="b"/>
                <a:pathLst>
                  <a:path w="4" h="5">
                    <a:moveTo>
                      <a:pt x="3" y="0"/>
                    </a:moveTo>
                    <a:cubicBezTo>
                      <a:pt x="2" y="0"/>
                      <a:pt x="0" y="5"/>
                      <a:pt x="0" y="5"/>
                    </a:cubicBezTo>
                    <a:cubicBezTo>
                      <a:pt x="1" y="4"/>
                      <a:pt x="3" y="3"/>
                      <a:pt x="4" y="2"/>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0" name="Freeform 73">
                <a:extLst>
                  <a:ext uri="{FF2B5EF4-FFF2-40B4-BE49-F238E27FC236}">
                    <a16:creationId xmlns:a16="http://schemas.microsoft.com/office/drawing/2014/main" id="{9F8EF5B0-1D6C-4020-AF7F-C060961F7DE1}"/>
                  </a:ext>
                </a:extLst>
              </p:cNvPr>
              <p:cNvSpPr>
                <a:spLocks/>
              </p:cNvSpPr>
              <p:nvPr/>
            </p:nvSpPr>
            <p:spPr bwMode="auto">
              <a:xfrm>
                <a:off x="6229" y="3972"/>
                <a:ext cx="12" cy="3"/>
              </a:xfrm>
              <a:custGeom>
                <a:avLst/>
                <a:gdLst>
                  <a:gd name="T0" fmla="*/ 1 w 5"/>
                  <a:gd name="T1" fmla="*/ 0 h 1"/>
                  <a:gd name="T2" fmla="*/ 0 w 5"/>
                  <a:gd name="T3" fmla="*/ 0 h 1"/>
                  <a:gd name="T4" fmla="*/ 4 w 5"/>
                  <a:gd name="T5" fmla="*/ 1 h 1"/>
                  <a:gd name="T6" fmla="*/ 5 w 5"/>
                  <a:gd name="T7" fmla="*/ 1 h 1"/>
                  <a:gd name="T8" fmla="*/ 5 w 5"/>
                  <a:gd name="T9" fmla="*/ 1 h 1"/>
                  <a:gd name="T10" fmla="*/ 5 w 5"/>
                  <a:gd name="T11" fmla="*/ 1 h 1"/>
                  <a:gd name="T12" fmla="*/ 4 w 5"/>
                  <a:gd name="T13" fmla="*/ 1 h 1"/>
                  <a:gd name="T14" fmla="*/ 4 w 5"/>
                  <a:gd name="T15" fmla="*/ 1 h 1"/>
                  <a:gd name="T16" fmla="*/ 3 w 5"/>
                  <a:gd name="T17" fmla="*/ 0 h 1"/>
                  <a:gd name="T18" fmla="*/ 1 w 5"/>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
                    <a:moveTo>
                      <a:pt x="1" y="0"/>
                    </a:moveTo>
                    <a:cubicBezTo>
                      <a:pt x="1" y="0"/>
                      <a:pt x="0" y="0"/>
                      <a:pt x="0" y="0"/>
                    </a:cubicBezTo>
                    <a:cubicBezTo>
                      <a:pt x="1" y="1"/>
                      <a:pt x="3" y="1"/>
                      <a:pt x="4" y="1"/>
                    </a:cubicBezTo>
                    <a:cubicBezTo>
                      <a:pt x="5" y="1"/>
                      <a:pt x="5" y="1"/>
                      <a:pt x="5" y="1"/>
                    </a:cubicBezTo>
                    <a:cubicBezTo>
                      <a:pt x="5" y="1"/>
                      <a:pt x="5" y="1"/>
                      <a:pt x="5" y="1"/>
                    </a:cubicBezTo>
                    <a:cubicBezTo>
                      <a:pt x="5" y="1"/>
                      <a:pt x="5" y="1"/>
                      <a:pt x="5" y="1"/>
                    </a:cubicBezTo>
                    <a:cubicBezTo>
                      <a:pt x="4" y="1"/>
                      <a:pt x="4" y="1"/>
                      <a:pt x="4" y="1"/>
                    </a:cubicBezTo>
                    <a:cubicBezTo>
                      <a:pt x="4" y="1"/>
                      <a:pt x="4" y="1"/>
                      <a:pt x="4" y="1"/>
                    </a:cubicBezTo>
                    <a:cubicBezTo>
                      <a:pt x="3" y="0"/>
                      <a:pt x="3" y="0"/>
                      <a:pt x="3" y="0"/>
                    </a:cubicBezTo>
                    <a:cubicBezTo>
                      <a:pt x="3"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1" name="Freeform 74">
                <a:extLst>
                  <a:ext uri="{FF2B5EF4-FFF2-40B4-BE49-F238E27FC236}">
                    <a16:creationId xmlns:a16="http://schemas.microsoft.com/office/drawing/2014/main" id="{C1CF5A28-A952-48D7-B82A-E6D8C2D04030}"/>
                  </a:ext>
                </a:extLst>
              </p:cNvPr>
              <p:cNvSpPr>
                <a:spLocks/>
              </p:cNvSpPr>
              <p:nvPr/>
            </p:nvSpPr>
            <p:spPr bwMode="auto">
              <a:xfrm>
                <a:off x="6627" y="4116"/>
                <a:ext cx="19" cy="24"/>
              </a:xfrm>
              <a:custGeom>
                <a:avLst/>
                <a:gdLst>
                  <a:gd name="T0" fmla="*/ 2 w 8"/>
                  <a:gd name="T1" fmla="*/ 0 h 10"/>
                  <a:gd name="T2" fmla="*/ 4 w 8"/>
                  <a:gd name="T3" fmla="*/ 10 h 10"/>
                  <a:gd name="T4" fmla="*/ 2 w 8"/>
                  <a:gd name="T5" fmla="*/ 0 h 10"/>
                </a:gdLst>
                <a:ahLst/>
                <a:cxnLst>
                  <a:cxn ang="0">
                    <a:pos x="T0" y="T1"/>
                  </a:cxn>
                  <a:cxn ang="0">
                    <a:pos x="T2" y="T3"/>
                  </a:cxn>
                  <a:cxn ang="0">
                    <a:pos x="T4" y="T5"/>
                  </a:cxn>
                </a:cxnLst>
                <a:rect l="0" t="0" r="r" b="b"/>
                <a:pathLst>
                  <a:path w="8" h="10">
                    <a:moveTo>
                      <a:pt x="2" y="0"/>
                    </a:moveTo>
                    <a:cubicBezTo>
                      <a:pt x="0" y="2"/>
                      <a:pt x="2" y="7"/>
                      <a:pt x="4" y="10"/>
                    </a:cubicBezTo>
                    <a:cubicBezTo>
                      <a:pt x="8" y="5"/>
                      <a:pt x="6" y="3"/>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2" name="Freeform 75">
                <a:extLst>
                  <a:ext uri="{FF2B5EF4-FFF2-40B4-BE49-F238E27FC236}">
                    <a16:creationId xmlns:a16="http://schemas.microsoft.com/office/drawing/2014/main" id="{CAA4B0B0-CA4E-4D52-914F-FF4BE8D025D4}"/>
                  </a:ext>
                </a:extLst>
              </p:cNvPr>
              <p:cNvSpPr>
                <a:spLocks/>
              </p:cNvSpPr>
              <p:nvPr/>
            </p:nvSpPr>
            <p:spPr bwMode="auto">
              <a:xfrm>
                <a:off x="5745" y="3759"/>
                <a:ext cx="7" cy="5"/>
              </a:xfrm>
              <a:custGeom>
                <a:avLst/>
                <a:gdLst>
                  <a:gd name="T0" fmla="*/ 0 w 3"/>
                  <a:gd name="T1" fmla="*/ 0 h 2"/>
                  <a:gd name="T2" fmla="*/ 3 w 3"/>
                  <a:gd name="T3" fmla="*/ 2 h 2"/>
                  <a:gd name="T4" fmla="*/ 2 w 3"/>
                  <a:gd name="T5" fmla="*/ 1 h 2"/>
                  <a:gd name="T6" fmla="*/ 0 w 3"/>
                  <a:gd name="T7" fmla="*/ 0 h 2"/>
                </a:gdLst>
                <a:ahLst/>
                <a:cxnLst>
                  <a:cxn ang="0">
                    <a:pos x="T0" y="T1"/>
                  </a:cxn>
                  <a:cxn ang="0">
                    <a:pos x="T2" y="T3"/>
                  </a:cxn>
                  <a:cxn ang="0">
                    <a:pos x="T4" y="T5"/>
                  </a:cxn>
                  <a:cxn ang="0">
                    <a:pos x="T6" y="T7"/>
                  </a:cxn>
                </a:cxnLst>
                <a:rect l="0" t="0" r="r" b="b"/>
                <a:pathLst>
                  <a:path w="3" h="2">
                    <a:moveTo>
                      <a:pt x="0" y="0"/>
                    </a:moveTo>
                    <a:cubicBezTo>
                      <a:pt x="1" y="1"/>
                      <a:pt x="2" y="2"/>
                      <a:pt x="3" y="2"/>
                    </a:cubicBezTo>
                    <a:cubicBezTo>
                      <a:pt x="3" y="1"/>
                      <a:pt x="2" y="1"/>
                      <a:pt x="2" y="1"/>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3" name="Freeform 76">
                <a:extLst>
                  <a:ext uri="{FF2B5EF4-FFF2-40B4-BE49-F238E27FC236}">
                    <a16:creationId xmlns:a16="http://schemas.microsoft.com/office/drawing/2014/main" id="{50D835D9-6944-4074-92D3-25C38D70029D}"/>
                  </a:ext>
                </a:extLst>
              </p:cNvPr>
              <p:cNvSpPr>
                <a:spLocks/>
              </p:cNvSpPr>
              <p:nvPr/>
            </p:nvSpPr>
            <p:spPr bwMode="auto">
              <a:xfrm>
                <a:off x="5686" y="3721"/>
                <a:ext cx="19" cy="7"/>
              </a:xfrm>
              <a:custGeom>
                <a:avLst/>
                <a:gdLst>
                  <a:gd name="T0" fmla="*/ 0 w 8"/>
                  <a:gd name="T1" fmla="*/ 0 h 3"/>
                  <a:gd name="T2" fmla="*/ 8 w 8"/>
                  <a:gd name="T3" fmla="*/ 3 h 3"/>
                  <a:gd name="T4" fmla="*/ 7 w 8"/>
                  <a:gd name="T5" fmla="*/ 0 h 3"/>
                  <a:gd name="T6" fmla="*/ 5 w 8"/>
                  <a:gd name="T7" fmla="*/ 1 h 3"/>
                  <a:gd name="T8" fmla="*/ 3 w 8"/>
                  <a:gd name="T9" fmla="*/ 1 h 3"/>
                  <a:gd name="T10" fmla="*/ 3 w 8"/>
                  <a:gd name="T11" fmla="*/ 1 h 3"/>
                  <a:gd name="T12" fmla="*/ 0 w 8"/>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8" h="3">
                    <a:moveTo>
                      <a:pt x="0" y="0"/>
                    </a:moveTo>
                    <a:cubicBezTo>
                      <a:pt x="2" y="1"/>
                      <a:pt x="5" y="2"/>
                      <a:pt x="8" y="3"/>
                    </a:cubicBezTo>
                    <a:cubicBezTo>
                      <a:pt x="8" y="1"/>
                      <a:pt x="8" y="0"/>
                      <a:pt x="7" y="0"/>
                    </a:cubicBezTo>
                    <a:cubicBezTo>
                      <a:pt x="6" y="0"/>
                      <a:pt x="6" y="1"/>
                      <a:pt x="5" y="1"/>
                    </a:cubicBezTo>
                    <a:cubicBezTo>
                      <a:pt x="5" y="1"/>
                      <a:pt x="4" y="1"/>
                      <a:pt x="3" y="1"/>
                    </a:cubicBezTo>
                    <a:cubicBezTo>
                      <a:pt x="3" y="1"/>
                      <a:pt x="3" y="1"/>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4" name="Freeform 77">
                <a:extLst>
                  <a:ext uri="{FF2B5EF4-FFF2-40B4-BE49-F238E27FC236}">
                    <a16:creationId xmlns:a16="http://schemas.microsoft.com/office/drawing/2014/main" id="{AAA10952-991E-484F-AD42-D66D81A9FE73}"/>
                  </a:ext>
                </a:extLst>
              </p:cNvPr>
              <p:cNvSpPr>
                <a:spLocks/>
              </p:cNvSpPr>
              <p:nvPr/>
            </p:nvSpPr>
            <p:spPr bwMode="auto">
              <a:xfrm>
                <a:off x="5534" y="3904"/>
                <a:ext cx="19" cy="7"/>
              </a:xfrm>
              <a:custGeom>
                <a:avLst/>
                <a:gdLst>
                  <a:gd name="T0" fmla="*/ 0 w 8"/>
                  <a:gd name="T1" fmla="*/ 0 h 3"/>
                  <a:gd name="T2" fmla="*/ 2 w 8"/>
                  <a:gd name="T3" fmla="*/ 3 h 3"/>
                  <a:gd name="T4" fmla="*/ 4 w 8"/>
                  <a:gd name="T5" fmla="*/ 3 h 3"/>
                  <a:gd name="T6" fmla="*/ 8 w 8"/>
                  <a:gd name="T7" fmla="*/ 1 h 3"/>
                  <a:gd name="T8" fmla="*/ 7 w 8"/>
                  <a:gd name="T9" fmla="*/ 1 h 3"/>
                  <a:gd name="T10" fmla="*/ 0 w 8"/>
                  <a:gd name="T11" fmla="*/ 0 h 3"/>
                </a:gdLst>
                <a:ahLst/>
                <a:cxnLst>
                  <a:cxn ang="0">
                    <a:pos x="T0" y="T1"/>
                  </a:cxn>
                  <a:cxn ang="0">
                    <a:pos x="T2" y="T3"/>
                  </a:cxn>
                  <a:cxn ang="0">
                    <a:pos x="T4" y="T5"/>
                  </a:cxn>
                  <a:cxn ang="0">
                    <a:pos x="T6" y="T7"/>
                  </a:cxn>
                  <a:cxn ang="0">
                    <a:pos x="T8" y="T9"/>
                  </a:cxn>
                  <a:cxn ang="0">
                    <a:pos x="T10" y="T11"/>
                  </a:cxn>
                </a:cxnLst>
                <a:rect l="0" t="0" r="r" b="b"/>
                <a:pathLst>
                  <a:path w="8" h="3">
                    <a:moveTo>
                      <a:pt x="0" y="0"/>
                    </a:moveTo>
                    <a:cubicBezTo>
                      <a:pt x="2" y="1"/>
                      <a:pt x="0" y="3"/>
                      <a:pt x="2" y="3"/>
                    </a:cubicBezTo>
                    <a:cubicBezTo>
                      <a:pt x="3" y="3"/>
                      <a:pt x="3" y="3"/>
                      <a:pt x="4" y="3"/>
                    </a:cubicBezTo>
                    <a:cubicBezTo>
                      <a:pt x="5" y="2"/>
                      <a:pt x="7" y="2"/>
                      <a:pt x="8" y="1"/>
                    </a:cubicBezTo>
                    <a:cubicBezTo>
                      <a:pt x="8" y="1"/>
                      <a:pt x="8" y="1"/>
                      <a:pt x="7" y="1"/>
                    </a:cubicBezTo>
                    <a:cubicBezTo>
                      <a:pt x="5" y="1"/>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5" name="Freeform 78">
                <a:extLst>
                  <a:ext uri="{FF2B5EF4-FFF2-40B4-BE49-F238E27FC236}">
                    <a16:creationId xmlns:a16="http://schemas.microsoft.com/office/drawing/2014/main" id="{4F6C0BDE-ED71-4711-8CDA-35D8461F0B7C}"/>
                  </a:ext>
                </a:extLst>
              </p:cNvPr>
              <p:cNvSpPr>
                <a:spLocks noEditPoints="1"/>
              </p:cNvSpPr>
              <p:nvPr/>
            </p:nvSpPr>
            <p:spPr bwMode="auto">
              <a:xfrm>
                <a:off x="5338" y="3686"/>
                <a:ext cx="598" cy="192"/>
              </a:xfrm>
              <a:custGeom>
                <a:avLst/>
                <a:gdLst>
                  <a:gd name="T0" fmla="*/ 12 w 253"/>
                  <a:gd name="T1" fmla="*/ 34 h 81"/>
                  <a:gd name="T2" fmla="*/ 12 w 253"/>
                  <a:gd name="T3" fmla="*/ 34 h 81"/>
                  <a:gd name="T4" fmla="*/ 48 w 253"/>
                  <a:gd name="T5" fmla="*/ 5 h 81"/>
                  <a:gd name="T6" fmla="*/ 16 w 253"/>
                  <a:gd name="T7" fmla="*/ 19 h 81"/>
                  <a:gd name="T8" fmla="*/ 14 w 253"/>
                  <a:gd name="T9" fmla="*/ 29 h 81"/>
                  <a:gd name="T10" fmla="*/ 12 w 253"/>
                  <a:gd name="T11" fmla="*/ 29 h 81"/>
                  <a:gd name="T12" fmla="*/ 5 w 253"/>
                  <a:gd name="T13" fmla="*/ 31 h 81"/>
                  <a:gd name="T14" fmla="*/ 6 w 253"/>
                  <a:gd name="T15" fmla="*/ 33 h 81"/>
                  <a:gd name="T16" fmla="*/ 9 w 253"/>
                  <a:gd name="T17" fmla="*/ 33 h 81"/>
                  <a:gd name="T18" fmla="*/ 12 w 253"/>
                  <a:gd name="T19" fmla="*/ 34 h 81"/>
                  <a:gd name="T20" fmla="*/ 20 w 253"/>
                  <a:gd name="T21" fmla="*/ 31 h 81"/>
                  <a:gd name="T22" fmla="*/ 26 w 253"/>
                  <a:gd name="T23" fmla="*/ 25 h 81"/>
                  <a:gd name="T24" fmla="*/ 33 w 253"/>
                  <a:gd name="T25" fmla="*/ 23 h 81"/>
                  <a:gd name="T26" fmla="*/ 39 w 253"/>
                  <a:gd name="T27" fmla="*/ 21 h 81"/>
                  <a:gd name="T28" fmla="*/ 55 w 253"/>
                  <a:gd name="T29" fmla="*/ 12 h 81"/>
                  <a:gd name="T30" fmla="*/ 65 w 253"/>
                  <a:gd name="T31" fmla="*/ 12 h 81"/>
                  <a:gd name="T32" fmla="*/ 68 w 253"/>
                  <a:gd name="T33" fmla="*/ 12 h 81"/>
                  <a:gd name="T34" fmla="*/ 74 w 253"/>
                  <a:gd name="T35" fmla="*/ 12 h 81"/>
                  <a:gd name="T36" fmla="*/ 74 w 253"/>
                  <a:gd name="T37" fmla="*/ 18 h 81"/>
                  <a:gd name="T38" fmla="*/ 73 w 253"/>
                  <a:gd name="T39" fmla="*/ 18 h 81"/>
                  <a:gd name="T40" fmla="*/ 72 w 253"/>
                  <a:gd name="T41" fmla="*/ 18 h 81"/>
                  <a:gd name="T42" fmla="*/ 69 w 253"/>
                  <a:gd name="T43" fmla="*/ 18 h 81"/>
                  <a:gd name="T44" fmla="*/ 74 w 253"/>
                  <a:gd name="T45" fmla="*/ 24 h 81"/>
                  <a:gd name="T46" fmla="*/ 88 w 253"/>
                  <a:gd name="T47" fmla="*/ 22 h 81"/>
                  <a:gd name="T48" fmla="*/ 96 w 253"/>
                  <a:gd name="T49" fmla="*/ 27 h 81"/>
                  <a:gd name="T50" fmla="*/ 99 w 253"/>
                  <a:gd name="T51" fmla="*/ 27 h 81"/>
                  <a:gd name="T52" fmla="*/ 115 w 253"/>
                  <a:gd name="T53" fmla="*/ 33 h 81"/>
                  <a:gd name="T54" fmla="*/ 146 w 253"/>
                  <a:gd name="T55" fmla="*/ 39 h 81"/>
                  <a:gd name="T56" fmla="*/ 151 w 253"/>
                  <a:gd name="T57" fmla="*/ 52 h 81"/>
                  <a:gd name="T58" fmla="*/ 175 w 253"/>
                  <a:gd name="T59" fmla="*/ 61 h 81"/>
                  <a:gd name="T60" fmla="*/ 176 w 253"/>
                  <a:gd name="T61" fmla="*/ 60 h 81"/>
                  <a:gd name="T62" fmla="*/ 178 w 253"/>
                  <a:gd name="T63" fmla="*/ 60 h 81"/>
                  <a:gd name="T64" fmla="*/ 181 w 253"/>
                  <a:gd name="T65" fmla="*/ 70 h 81"/>
                  <a:gd name="T66" fmla="*/ 169 w 253"/>
                  <a:gd name="T67" fmla="*/ 80 h 81"/>
                  <a:gd name="T68" fmla="*/ 202 w 253"/>
                  <a:gd name="T69" fmla="*/ 79 h 81"/>
                  <a:gd name="T70" fmla="*/ 219 w 253"/>
                  <a:gd name="T71" fmla="*/ 79 h 81"/>
                  <a:gd name="T72" fmla="*/ 227 w 253"/>
                  <a:gd name="T73" fmla="*/ 80 h 81"/>
                  <a:gd name="T74" fmla="*/ 231 w 253"/>
                  <a:gd name="T75" fmla="*/ 80 h 81"/>
                  <a:gd name="T76" fmla="*/ 242 w 253"/>
                  <a:gd name="T77" fmla="*/ 76 h 81"/>
                  <a:gd name="T78" fmla="*/ 245 w 253"/>
                  <a:gd name="T79" fmla="*/ 76 h 81"/>
                  <a:gd name="T80" fmla="*/ 252 w 253"/>
                  <a:gd name="T81" fmla="*/ 73 h 81"/>
                  <a:gd name="T82" fmla="*/ 227 w 253"/>
                  <a:gd name="T83" fmla="*/ 60 h 81"/>
                  <a:gd name="T84" fmla="*/ 213 w 253"/>
                  <a:gd name="T85" fmla="*/ 50 h 81"/>
                  <a:gd name="T86" fmla="*/ 209 w 253"/>
                  <a:gd name="T87" fmla="*/ 50 h 81"/>
                  <a:gd name="T88" fmla="*/ 194 w 253"/>
                  <a:gd name="T89" fmla="*/ 45 h 81"/>
                  <a:gd name="T90" fmla="*/ 182 w 253"/>
                  <a:gd name="T91" fmla="*/ 37 h 81"/>
                  <a:gd name="T92" fmla="*/ 177 w 253"/>
                  <a:gd name="T93" fmla="*/ 34 h 81"/>
                  <a:gd name="T94" fmla="*/ 164 w 253"/>
                  <a:gd name="T95" fmla="*/ 29 h 81"/>
                  <a:gd name="T96" fmla="*/ 137 w 253"/>
                  <a:gd name="T97" fmla="*/ 18 h 81"/>
                  <a:gd name="T98" fmla="*/ 111 w 253"/>
                  <a:gd name="T99" fmla="*/ 7 h 81"/>
                  <a:gd name="T100" fmla="*/ 101 w 253"/>
                  <a:gd name="T101" fmla="*/ 2 h 81"/>
                  <a:gd name="T102" fmla="*/ 94 w 253"/>
                  <a:gd name="T103" fmla="*/ 3 h 81"/>
                  <a:gd name="T104" fmla="*/ 87 w 253"/>
                  <a:gd name="T105" fmla="*/ 2 h 81"/>
                  <a:gd name="T106" fmla="*/ 83 w 253"/>
                  <a:gd name="T107" fmla="*/ 2 h 81"/>
                  <a:gd name="T108" fmla="*/ 68 w 253"/>
                  <a:gd name="T109"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3" h="81">
                    <a:moveTo>
                      <a:pt x="12" y="34"/>
                    </a:moveTo>
                    <a:cubicBezTo>
                      <a:pt x="12" y="34"/>
                      <a:pt x="12" y="34"/>
                      <a:pt x="12" y="34"/>
                    </a:cubicBezTo>
                    <a:cubicBezTo>
                      <a:pt x="12" y="34"/>
                      <a:pt x="12" y="34"/>
                      <a:pt x="12" y="34"/>
                    </a:cubicBezTo>
                    <a:cubicBezTo>
                      <a:pt x="12" y="34"/>
                      <a:pt x="12" y="34"/>
                      <a:pt x="12" y="34"/>
                    </a:cubicBezTo>
                    <a:moveTo>
                      <a:pt x="68" y="0"/>
                    </a:moveTo>
                    <a:cubicBezTo>
                      <a:pt x="61" y="2"/>
                      <a:pt x="55" y="3"/>
                      <a:pt x="48" y="5"/>
                    </a:cubicBezTo>
                    <a:cubicBezTo>
                      <a:pt x="42" y="6"/>
                      <a:pt x="35" y="8"/>
                      <a:pt x="29" y="10"/>
                    </a:cubicBezTo>
                    <a:cubicBezTo>
                      <a:pt x="24" y="11"/>
                      <a:pt x="18" y="15"/>
                      <a:pt x="16" y="19"/>
                    </a:cubicBezTo>
                    <a:cubicBezTo>
                      <a:pt x="14" y="22"/>
                      <a:pt x="16" y="25"/>
                      <a:pt x="17" y="28"/>
                    </a:cubicBezTo>
                    <a:cubicBezTo>
                      <a:pt x="16" y="29"/>
                      <a:pt x="15" y="29"/>
                      <a:pt x="14" y="29"/>
                    </a:cubicBezTo>
                    <a:cubicBezTo>
                      <a:pt x="14" y="29"/>
                      <a:pt x="13" y="29"/>
                      <a:pt x="13" y="29"/>
                    </a:cubicBezTo>
                    <a:cubicBezTo>
                      <a:pt x="12" y="29"/>
                      <a:pt x="12" y="29"/>
                      <a:pt x="12" y="29"/>
                    </a:cubicBezTo>
                    <a:cubicBezTo>
                      <a:pt x="11" y="29"/>
                      <a:pt x="10" y="29"/>
                      <a:pt x="9" y="29"/>
                    </a:cubicBezTo>
                    <a:cubicBezTo>
                      <a:pt x="8" y="29"/>
                      <a:pt x="7" y="30"/>
                      <a:pt x="5" y="31"/>
                    </a:cubicBezTo>
                    <a:cubicBezTo>
                      <a:pt x="4" y="31"/>
                      <a:pt x="0" y="31"/>
                      <a:pt x="3" y="33"/>
                    </a:cubicBezTo>
                    <a:cubicBezTo>
                      <a:pt x="3" y="33"/>
                      <a:pt x="5" y="33"/>
                      <a:pt x="6" y="33"/>
                    </a:cubicBezTo>
                    <a:cubicBezTo>
                      <a:pt x="6" y="33"/>
                      <a:pt x="7" y="33"/>
                      <a:pt x="8" y="33"/>
                    </a:cubicBezTo>
                    <a:cubicBezTo>
                      <a:pt x="8" y="33"/>
                      <a:pt x="9" y="33"/>
                      <a:pt x="9" y="33"/>
                    </a:cubicBezTo>
                    <a:cubicBezTo>
                      <a:pt x="9" y="33"/>
                      <a:pt x="9" y="33"/>
                      <a:pt x="9" y="33"/>
                    </a:cubicBezTo>
                    <a:cubicBezTo>
                      <a:pt x="10" y="33"/>
                      <a:pt x="12" y="34"/>
                      <a:pt x="12" y="34"/>
                    </a:cubicBezTo>
                    <a:cubicBezTo>
                      <a:pt x="12" y="34"/>
                      <a:pt x="12" y="34"/>
                      <a:pt x="12" y="34"/>
                    </a:cubicBezTo>
                    <a:cubicBezTo>
                      <a:pt x="14" y="34"/>
                      <a:pt x="17" y="32"/>
                      <a:pt x="20" y="31"/>
                    </a:cubicBezTo>
                    <a:cubicBezTo>
                      <a:pt x="22" y="31"/>
                      <a:pt x="22" y="31"/>
                      <a:pt x="23" y="30"/>
                    </a:cubicBezTo>
                    <a:cubicBezTo>
                      <a:pt x="25" y="28"/>
                      <a:pt x="23" y="25"/>
                      <a:pt x="26" y="25"/>
                    </a:cubicBezTo>
                    <a:cubicBezTo>
                      <a:pt x="29" y="24"/>
                      <a:pt x="31" y="23"/>
                      <a:pt x="33" y="23"/>
                    </a:cubicBezTo>
                    <a:cubicBezTo>
                      <a:pt x="33" y="23"/>
                      <a:pt x="33" y="23"/>
                      <a:pt x="33" y="23"/>
                    </a:cubicBezTo>
                    <a:cubicBezTo>
                      <a:pt x="35" y="23"/>
                      <a:pt x="36" y="23"/>
                      <a:pt x="36" y="23"/>
                    </a:cubicBezTo>
                    <a:cubicBezTo>
                      <a:pt x="37" y="23"/>
                      <a:pt x="38" y="23"/>
                      <a:pt x="39" y="21"/>
                    </a:cubicBezTo>
                    <a:cubicBezTo>
                      <a:pt x="42" y="19"/>
                      <a:pt x="45" y="17"/>
                      <a:pt x="48" y="16"/>
                    </a:cubicBezTo>
                    <a:cubicBezTo>
                      <a:pt x="49" y="15"/>
                      <a:pt x="53" y="12"/>
                      <a:pt x="55" y="12"/>
                    </a:cubicBezTo>
                    <a:cubicBezTo>
                      <a:pt x="55" y="12"/>
                      <a:pt x="55" y="12"/>
                      <a:pt x="55" y="12"/>
                    </a:cubicBezTo>
                    <a:cubicBezTo>
                      <a:pt x="58" y="12"/>
                      <a:pt x="62" y="12"/>
                      <a:pt x="65" y="12"/>
                    </a:cubicBezTo>
                    <a:cubicBezTo>
                      <a:pt x="65" y="12"/>
                      <a:pt x="65" y="12"/>
                      <a:pt x="66" y="12"/>
                    </a:cubicBezTo>
                    <a:cubicBezTo>
                      <a:pt x="66" y="12"/>
                      <a:pt x="67" y="12"/>
                      <a:pt x="68" y="12"/>
                    </a:cubicBezTo>
                    <a:cubicBezTo>
                      <a:pt x="68" y="12"/>
                      <a:pt x="69" y="12"/>
                      <a:pt x="70" y="12"/>
                    </a:cubicBezTo>
                    <a:cubicBezTo>
                      <a:pt x="71" y="12"/>
                      <a:pt x="73" y="12"/>
                      <a:pt x="74" y="12"/>
                    </a:cubicBezTo>
                    <a:cubicBezTo>
                      <a:pt x="77" y="14"/>
                      <a:pt x="80" y="16"/>
                      <a:pt x="75" y="18"/>
                    </a:cubicBezTo>
                    <a:cubicBezTo>
                      <a:pt x="75" y="18"/>
                      <a:pt x="74" y="18"/>
                      <a:pt x="74" y="18"/>
                    </a:cubicBezTo>
                    <a:cubicBezTo>
                      <a:pt x="73" y="18"/>
                      <a:pt x="73" y="18"/>
                      <a:pt x="73" y="18"/>
                    </a:cubicBezTo>
                    <a:cubicBezTo>
                      <a:pt x="73" y="18"/>
                      <a:pt x="73" y="18"/>
                      <a:pt x="73" y="18"/>
                    </a:cubicBezTo>
                    <a:cubicBezTo>
                      <a:pt x="73" y="18"/>
                      <a:pt x="73" y="18"/>
                      <a:pt x="72" y="18"/>
                    </a:cubicBezTo>
                    <a:cubicBezTo>
                      <a:pt x="72" y="18"/>
                      <a:pt x="72" y="18"/>
                      <a:pt x="72" y="18"/>
                    </a:cubicBezTo>
                    <a:cubicBezTo>
                      <a:pt x="72" y="18"/>
                      <a:pt x="71" y="18"/>
                      <a:pt x="71" y="18"/>
                    </a:cubicBezTo>
                    <a:cubicBezTo>
                      <a:pt x="70" y="18"/>
                      <a:pt x="70" y="18"/>
                      <a:pt x="69" y="18"/>
                    </a:cubicBezTo>
                    <a:cubicBezTo>
                      <a:pt x="68" y="18"/>
                      <a:pt x="66" y="18"/>
                      <a:pt x="67" y="19"/>
                    </a:cubicBezTo>
                    <a:cubicBezTo>
                      <a:pt x="67" y="21"/>
                      <a:pt x="73" y="24"/>
                      <a:pt x="74" y="24"/>
                    </a:cubicBezTo>
                    <a:cubicBezTo>
                      <a:pt x="75" y="24"/>
                      <a:pt x="76" y="24"/>
                      <a:pt x="77" y="24"/>
                    </a:cubicBezTo>
                    <a:cubicBezTo>
                      <a:pt x="81" y="24"/>
                      <a:pt x="87" y="23"/>
                      <a:pt x="88" y="22"/>
                    </a:cubicBezTo>
                    <a:cubicBezTo>
                      <a:pt x="90" y="25"/>
                      <a:pt x="90" y="27"/>
                      <a:pt x="94" y="27"/>
                    </a:cubicBezTo>
                    <a:cubicBezTo>
                      <a:pt x="95" y="27"/>
                      <a:pt x="95" y="27"/>
                      <a:pt x="96" y="27"/>
                    </a:cubicBezTo>
                    <a:cubicBezTo>
                      <a:pt x="96" y="27"/>
                      <a:pt x="97" y="27"/>
                      <a:pt x="97" y="27"/>
                    </a:cubicBezTo>
                    <a:cubicBezTo>
                      <a:pt x="98" y="27"/>
                      <a:pt x="98" y="27"/>
                      <a:pt x="99" y="27"/>
                    </a:cubicBezTo>
                    <a:cubicBezTo>
                      <a:pt x="101" y="27"/>
                      <a:pt x="104" y="27"/>
                      <a:pt x="106" y="28"/>
                    </a:cubicBezTo>
                    <a:cubicBezTo>
                      <a:pt x="109" y="29"/>
                      <a:pt x="112" y="32"/>
                      <a:pt x="115" y="33"/>
                    </a:cubicBezTo>
                    <a:cubicBezTo>
                      <a:pt x="122" y="36"/>
                      <a:pt x="128" y="37"/>
                      <a:pt x="135" y="38"/>
                    </a:cubicBezTo>
                    <a:cubicBezTo>
                      <a:pt x="139" y="38"/>
                      <a:pt x="142" y="39"/>
                      <a:pt x="146" y="39"/>
                    </a:cubicBezTo>
                    <a:cubicBezTo>
                      <a:pt x="149" y="40"/>
                      <a:pt x="150" y="43"/>
                      <a:pt x="151" y="46"/>
                    </a:cubicBezTo>
                    <a:cubicBezTo>
                      <a:pt x="152" y="48"/>
                      <a:pt x="151" y="50"/>
                      <a:pt x="151" y="52"/>
                    </a:cubicBezTo>
                    <a:cubicBezTo>
                      <a:pt x="152" y="53"/>
                      <a:pt x="154" y="54"/>
                      <a:pt x="155" y="55"/>
                    </a:cubicBezTo>
                    <a:cubicBezTo>
                      <a:pt x="161" y="59"/>
                      <a:pt x="167" y="60"/>
                      <a:pt x="175" y="61"/>
                    </a:cubicBezTo>
                    <a:cubicBezTo>
                      <a:pt x="175" y="61"/>
                      <a:pt x="175" y="61"/>
                      <a:pt x="175" y="61"/>
                    </a:cubicBezTo>
                    <a:cubicBezTo>
                      <a:pt x="175" y="61"/>
                      <a:pt x="176" y="60"/>
                      <a:pt x="176" y="60"/>
                    </a:cubicBezTo>
                    <a:cubicBezTo>
                      <a:pt x="177" y="60"/>
                      <a:pt x="177" y="60"/>
                      <a:pt x="178" y="60"/>
                    </a:cubicBezTo>
                    <a:cubicBezTo>
                      <a:pt x="178" y="60"/>
                      <a:pt x="178" y="60"/>
                      <a:pt x="178" y="60"/>
                    </a:cubicBezTo>
                    <a:cubicBezTo>
                      <a:pt x="179" y="60"/>
                      <a:pt x="181" y="63"/>
                      <a:pt x="181" y="63"/>
                    </a:cubicBezTo>
                    <a:cubicBezTo>
                      <a:pt x="185" y="66"/>
                      <a:pt x="184" y="67"/>
                      <a:pt x="181" y="70"/>
                    </a:cubicBezTo>
                    <a:cubicBezTo>
                      <a:pt x="178" y="72"/>
                      <a:pt x="174" y="74"/>
                      <a:pt x="172" y="77"/>
                    </a:cubicBezTo>
                    <a:cubicBezTo>
                      <a:pt x="171" y="77"/>
                      <a:pt x="170" y="79"/>
                      <a:pt x="169" y="80"/>
                    </a:cubicBezTo>
                    <a:cubicBezTo>
                      <a:pt x="171" y="81"/>
                      <a:pt x="174" y="81"/>
                      <a:pt x="177" y="81"/>
                    </a:cubicBezTo>
                    <a:cubicBezTo>
                      <a:pt x="185" y="81"/>
                      <a:pt x="194" y="79"/>
                      <a:pt x="202" y="79"/>
                    </a:cubicBezTo>
                    <a:cubicBezTo>
                      <a:pt x="204" y="78"/>
                      <a:pt x="207" y="78"/>
                      <a:pt x="209" y="78"/>
                    </a:cubicBezTo>
                    <a:cubicBezTo>
                      <a:pt x="212" y="78"/>
                      <a:pt x="215" y="79"/>
                      <a:pt x="219" y="79"/>
                    </a:cubicBezTo>
                    <a:cubicBezTo>
                      <a:pt x="221" y="79"/>
                      <a:pt x="223" y="80"/>
                      <a:pt x="225" y="80"/>
                    </a:cubicBezTo>
                    <a:cubicBezTo>
                      <a:pt x="226" y="80"/>
                      <a:pt x="227" y="80"/>
                      <a:pt x="227" y="80"/>
                    </a:cubicBezTo>
                    <a:cubicBezTo>
                      <a:pt x="228" y="79"/>
                      <a:pt x="229" y="78"/>
                      <a:pt x="230" y="78"/>
                    </a:cubicBezTo>
                    <a:cubicBezTo>
                      <a:pt x="230" y="78"/>
                      <a:pt x="230" y="78"/>
                      <a:pt x="231" y="80"/>
                    </a:cubicBezTo>
                    <a:cubicBezTo>
                      <a:pt x="233" y="78"/>
                      <a:pt x="236" y="76"/>
                      <a:pt x="239" y="76"/>
                    </a:cubicBezTo>
                    <a:cubicBezTo>
                      <a:pt x="240" y="76"/>
                      <a:pt x="241" y="76"/>
                      <a:pt x="242" y="76"/>
                    </a:cubicBezTo>
                    <a:cubicBezTo>
                      <a:pt x="243" y="76"/>
                      <a:pt x="243" y="76"/>
                      <a:pt x="244" y="76"/>
                    </a:cubicBezTo>
                    <a:cubicBezTo>
                      <a:pt x="244" y="76"/>
                      <a:pt x="245" y="76"/>
                      <a:pt x="245" y="76"/>
                    </a:cubicBezTo>
                    <a:cubicBezTo>
                      <a:pt x="246" y="76"/>
                      <a:pt x="247" y="76"/>
                      <a:pt x="248" y="75"/>
                    </a:cubicBezTo>
                    <a:cubicBezTo>
                      <a:pt x="249" y="75"/>
                      <a:pt x="253" y="73"/>
                      <a:pt x="252" y="73"/>
                    </a:cubicBezTo>
                    <a:cubicBezTo>
                      <a:pt x="249" y="68"/>
                      <a:pt x="242" y="65"/>
                      <a:pt x="237" y="62"/>
                    </a:cubicBezTo>
                    <a:cubicBezTo>
                      <a:pt x="233" y="61"/>
                      <a:pt x="231" y="60"/>
                      <a:pt x="227" y="60"/>
                    </a:cubicBezTo>
                    <a:cubicBezTo>
                      <a:pt x="222" y="59"/>
                      <a:pt x="222" y="60"/>
                      <a:pt x="220" y="56"/>
                    </a:cubicBezTo>
                    <a:cubicBezTo>
                      <a:pt x="219" y="52"/>
                      <a:pt x="217" y="50"/>
                      <a:pt x="213" y="50"/>
                    </a:cubicBezTo>
                    <a:cubicBezTo>
                      <a:pt x="213" y="50"/>
                      <a:pt x="212" y="50"/>
                      <a:pt x="212" y="50"/>
                    </a:cubicBezTo>
                    <a:cubicBezTo>
                      <a:pt x="211" y="50"/>
                      <a:pt x="210" y="50"/>
                      <a:pt x="209" y="50"/>
                    </a:cubicBezTo>
                    <a:cubicBezTo>
                      <a:pt x="207" y="50"/>
                      <a:pt x="206" y="50"/>
                      <a:pt x="203" y="47"/>
                    </a:cubicBezTo>
                    <a:cubicBezTo>
                      <a:pt x="201" y="46"/>
                      <a:pt x="197" y="46"/>
                      <a:pt x="194" y="45"/>
                    </a:cubicBezTo>
                    <a:cubicBezTo>
                      <a:pt x="192" y="44"/>
                      <a:pt x="188" y="43"/>
                      <a:pt x="187" y="41"/>
                    </a:cubicBezTo>
                    <a:cubicBezTo>
                      <a:pt x="185" y="40"/>
                      <a:pt x="184" y="38"/>
                      <a:pt x="182" y="37"/>
                    </a:cubicBezTo>
                    <a:cubicBezTo>
                      <a:pt x="182" y="36"/>
                      <a:pt x="180" y="35"/>
                      <a:pt x="179" y="35"/>
                    </a:cubicBezTo>
                    <a:cubicBezTo>
                      <a:pt x="178" y="34"/>
                      <a:pt x="177" y="34"/>
                      <a:pt x="177" y="34"/>
                    </a:cubicBezTo>
                    <a:cubicBezTo>
                      <a:pt x="176" y="34"/>
                      <a:pt x="177" y="35"/>
                      <a:pt x="177" y="37"/>
                    </a:cubicBezTo>
                    <a:cubicBezTo>
                      <a:pt x="172" y="34"/>
                      <a:pt x="168" y="32"/>
                      <a:pt x="164" y="29"/>
                    </a:cubicBezTo>
                    <a:cubicBezTo>
                      <a:pt x="160" y="26"/>
                      <a:pt x="156" y="24"/>
                      <a:pt x="151" y="23"/>
                    </a:cubicBezTo>
                    <a:cubicBezTo>
                      <a:pt x="146" y="21"/>
                      <a:pt x="142" y="19"/>
                      <a:pt x="137" y="18"/>
                    </a:cubicBezTo>
                    <a:cubicBezTo>
                      <a:pt x="130" y="17"/>
                      <a:pt x="128" y="16"/>
                      <a:pt x="125" y="10"/>
                    </a:cubicBezTo>
                    <a:cubicBezTo>
                      <a:pt x="123" y="7"/>
                      <a:pt x="114" y="8"/>
                      <a:pt x="111" y="7"/>
                    </a:cubicBezTo>
                    <a:cubicBezTo>
                      <a:pt x="108" y="6"/>
                      <a:pt x="106" y="4"/>
                      <a:pt x="103" y="3"/>
                    </a:cubicBezTo>
                    <a:cubicBezTo>
                      <a:pt x="103" y="3"/>
                      <a:pt x="102" y="2"/>
                      <a:pt x="101" y="2"/>
                    </a:cubicBezTo>
                    <a:cubicBezTo>
                      <a:pt x="99" y="2"/>
                      <a:pt x="98" y="3"/>
                      <a:pt x="97" y="3"/>
                    </a:cubicBezTo>
                    <a:cubicBezTo>
                      <a:pt x="96" y="3"/>
                      <a:pt x="95" y="3"/>
                      <a:pt x="94" y="3"/>
                    </a:cubicBezTo>
                    <a:cubicBezTo>
                      <a:pt x="92" y="3"/>
                      <a:pt x="91" y="3"/>
                      <a:pt x="89" y="2"/>
                    </a:cubicBezTo>
                    <a:cubicBezTo>
                      <a:pt x="88" y="2"/>
                      <a:pt x="87" y="2"/>
                      <a:pt x="87" y="2"/>
                    </a:cubicBezTo>
                    <a:cubicBezTo>
                      <a:pt x="86" y="2"/>
                      <a:pt x="86" y="2"/>
                      <a:pt x="85" y="2"/>
                    </a:cubicBezTo>
                    <a:cubicBezTo>
                      <a:pt x="84" y="2"/>
                      <a:pt x="84" y="2"/>
                      <a:pt x="83" y="2"/>
                    </a:cubicBezTo>
                    <a:cubicBezTo>
                      <a:pt x="83" y="2"/>
                      <a:pt x="83" y="2"/>
                      <a:pt x="83" y="2"/>
                    </a:cubicBezTo>
                    <a:cubicBezTo>
                      <a:pt x="78" y="2"/>
                      <a:pt x="73" y="0"/>
                      <a:pt x="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6" name="Freeform 79">
                <a:extLst>
                  <a:ext uri="{FF2B5EF4-FFF2-40B4-BE49-F238E27FC236}">
                    <a16:creationId xmlns:a16="http://schemas.microsoft.com/office/drawing/2014/main" id="{A9739CE9-CDA6-4D68-B925-A15871023304}"/>
                  </a:ext>
                </a:extLst>
              </p:cNvPr>
              <p:cNvSpPr>
                <a:spLocks/>
              </p:cNvSpPr>
              <p:nvPr/>
            </p:nvSpPr>
            <p:spPr bwMode="auto">
              <a:xfrm>
                <a:off x="5638" y="3710"/>
                <a:ext cx="5" cy="4"/>
              </a:xfrm>
              <a:custGeom>
                <a:avLst/>
                <a:gdLst>
                  <a:gd name="T0" fmla="*/ 0 w 2"/>
                  <a:gd name="T1" fmla="*/ 0 h 2"/>
                  <a:gd name="T2" fmla="*/ 2 w 2"/>
                  <a:gd name="T3" fmla="*/ 2 h 2"/>
                  <a:gd name="T4" fmla="*/ 2 w 2"/>
                  <a:gd name="T5" fmla="*/ 2 h 2"/>
                  <a:gd name="T6" fmla="*/ 0 w 2"/>
                  <a:gd name="T7" fmla="*/ 0 h 2"/>
                </a:gdLst>
                <a:ahLst/>
                <a:cxnLst>
                  <a:cxn ang="0">
                    <a:pos x="T0" y="T1"/>
                  </a:cxn>
                  <a:cxn ang="0">
                    <a:pos x="T2" y="T3"/>
                  </a:cxn>
                  <a:cxn ang="0">
                    <a:pos x="T4" y="T5"/>
                  </a:cxn>
                  <a:cxn ang="0">
                    <a:pos x="T6" y="T7"/>
                  </a:cxn>
                </a:cxnLst>
                <a:rect l="0" t="0" r="r" b="b"/>
                <a:pathLst>
                  <a:path w="2" h="2">
                    <a:moveTo>
                      <a:pt x="0" y="0"/>
                    </a:moveTo>
                    <a:cubicBezTo>
                      <a:pt x="1" y="1"/>
                      <a:pt x="1" y="2"/>
                      <a:pt x="2" y="2"/>
                    </a:cubicBezTo>
                    <a:cubicBezTo>
                      <a:pt x="2" y="2"/>
                      <a:pt x="2" y="2"/>
                      <a:pt x="2"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7" name="Freeform 80">
                <a:extLst>
                  <a:ext uri="{FF2B5EF4-FFF2-40B4-BE49-F238E27FC236}">
                    <a16:creationId xmlns:a16="http://schemas.microsoft.com/office/drawing/2014/main" id="{5B7C20CF-E1BE-41D2-88BD-98D124592CBC}"/>
                  </a:ext>
                </a:extLst>
              </p:cNvPr>
              <p:cNvSpPr>
                <a:spLocks/>
              </p:cNvSpPr>
              <p:nvPr/>
            </p:nvSpPr>
            <p:spPr bwMode="auto">
              <a:xfrm>
                <a:off x="5634" y="3707"/>
                <a:ext cx="4" cy="3"/>
              </a:xfrm>
              <a:custGeom>
                <a:avLst/>
                <a:gdLst>
                  <a:gd name="T0" fmla="*/ 1 w 2"/>
                  <a:gd name="T1" fmla="*/ 0 h 1"/>
                  <a:gd name="T2" fmla="*/ 0 w 2"/>
                  <a:gd name="T3" fmla="*/ 0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0"/>
                      <a:pt x="1" y="0"/>
                      <a:pt x="0" y="0"/>
                    </a:cubicBezTo>
                    <a:cubicBezTo>
                      <a:pt x="1" y="1"/>
                      <a:pt x="1" y="1"/>
                      <a:pt x="2" y="1"/>
                    </a:cubicBezTo>
                    <a:cubicBezTo>
                      <a:pt x="2"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8" name="Freeform 81">
                <a:extLst>
                  <a:ext uri="{FF2B5EF4-FFF2-40B4-BE49-F238E27FC236}">
                    <a16:creationId xmlns:a16="http://schemas.microsoft.com/office/drawing/2014/main" id="{DC5235A5-2481-43E3-B43A-F191D68B5DC8}"/>
                  </a:ext>
                </a:extLst>
              </p:cNvPr>
              <p:cNvSpPr>
                <a:spLocks noEditPoints="1"/>
              </p:cNvSpPr>
              <p:nvPr/>
            </p:nvSpPr>
            <p:spPr bwMode="auto">
              <a:xfrm>
                <a:off x="5643" y="3714"/>
                <a:ext cx="7" cy="5"/>
              </a:xfrm>
              <a:custGeom>
                <a:avLst/>
                <a:gdLst>
                  <a:gd name="T0" fmla="*/ 3 w 3"/>
                  <a:gd name="T1" fmla="*/ 1 h 2"/>
                  <a:gd name="T2" fmla="*/ 3 w 3"/>
                  <a:gd name="T3" fmla="*/ 2 h 2"/>
                  <a:gd name="T4" fmla="*/ 3 w 3"/>
                  <a:gd name="T5" fmla="*/ 1 h 2"/>
                  <a:gd name="T6" fmla="*/ 0 w 3"/>
                  <a:gd name="T7" fmla="*/ 0 h 2"/>
                  <a:gd name="T8" fmla="*/ 3 w 3"/>
                  <a:gd name="T9" fmla="*/ 1 h 2"/>
                  <a:gd name="T10" fmla="*/ 0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3" y="1"/>
                    </a:moveTo>
                    <a:cubicBezTo>
                      <a:pt x="3" y="1"/>
                      <a:pt x="3" y="2"/>
                      <a:pt x="3" y="2"/>
                    </a:cubicBezTo>
                    <a:cubicBezTo>
                      <a:pt x="3" y="2"/>
                      <a:pt x="3" y="1"/>
                      <a:pt x="3" y="1"/>
                    </a:cubicBezTo>
                    <a:moveTo>
                      <a:pt x="0" y="0"/>
                    </a:moveTo>
                    <a:cubicBezTo>
                      <a:pt x="1" y="0"/>
                      <a:pt x="2" y="1"/>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9" name="Freeform 82">
                <a:extLst>
                  <a:ext uri="{FF2B5EF4-FFF2-40B4-BE49-F238E27FC236}">
                    <a16:creationId xmlns:a16="http://schemas.microsoft.com/office/drawing/2014/main" id="{E1A28143-C534-4965-855E-DF72616808ED}"/>
                  </a:ext>
                </a:extLst>
              </p:cNvPr>
              <p:cNvSpPr>
                <a:spLocks/>
              </p:cNvSpPr>
              <p:nvPr/>
            </p:nvSpPr>
            <p:spPr bwMode="auto">
              <a:xfrm>
                <a:off x="5712" y="3738"/>
                <a:ext cx="30" cy="21"/>
              </a:xfrm>
              <a:custGeom>
                <a:avLst/>
                <a:gdLst>
                  <a:gd name="T0" fmla="*/ 5 w 13"/>
                  <a:gd name="T1" fmla="*/ 0 h 9"/>
                  <a:gd name="T2" fmla="*/ 12 w 13"/>
                  <a:gd name="T3" fmla="*/ 9 h 9"/>
                  <a:gd name="T4" fmla="*/ 13 w 13"/>
                  <a:gd name="T5" fmla="*/ 6 h 9"/>
                  <a:gd name="T6" fmla="*/ 10 w 13"/>
                  <a:gd name="T7" fmla="*/ 4 h 9"/>
                  <a:gd name="T8" fmla="*/ 9 w 13"/>
                  <a:gd name="T9" fmla="*/ 6 h 9"/>
                  <a:gd name="T10" fmla="*/ 9 w 13"/>
                  <a:gd name="T11" fmla="*/ 4 h 9"/>
                  <a:gd name="T12" fmla="*/ 8 w 13"/>
                  <a:gd name="T13" fmla="*/ 4 h 9"/>
                  <a:gd name="T14" fmla="*/ 7 w 13"/>
                  <a:gd name="T15" fmla="*/ 1 h 9"/>
                  <a:gd name="T16" fmla="*/ 7 w 13"/>
                  <a:gd name="T17" fmla="*/ 1 h 9"/>
                  <a:gd name="T18" fmla="*/ 6 w 13"/>
                  <a:gd name="T19" fmla="*/ 1 h 9"/>
                  <a:gd name="T20" fmla="*/ 6 w 13"/>
                  <a:gd name="T21" fmla="*/ 1 h 9"/>
                  <a:gd name="T22" fmla="*/ 5 w 13"/>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9">
                    <a:moveTo>
                      <a:pt x="5" y="0"/>
                    </a:moveTo>
                    <a:cubicBezTo>
                      <a:pt x="0" y="2"/>
                      <a:pt x="11" y="8"/>
                      <a:pt x="12" y="9"/>
                    </a:cubicBezTo>
                    <a:cubicBezTo>
                      <a:pt x="12" y="8"/>
                      <a:pt x="13" y="7"/>
                      <a:pt x="13" y="6"/>
                    </a:cubicBezTo>
                    <a:cubicBezTo>
                      <a:pt x="12" y="5"/>
                      <a:pt x="11" y="5"/>
                      <a:pt x="10" y="4"/>
                    </a:cubicBezTo>
                    <a:cubicBezTo>
                      <a:pt x="10" y="5"/>
                      <a:pt x="10" y="5"/>
                      <a:pt x="9" y="6"/>
                    </a:cubicBezTo>
                    <a:cubicBezTo>
                      <a:pt x="9" y="5"/>
                      <a:pt x="10" y="4"/>
                      <a:pt x="9" y="4"/>
                    </a:cubicBezTo>
                    <a:cubicBezTo>
                      <a:pt x="9" y="4"/>
                      <a:pt x="9" y="4"/>
                      <a:pt x="8" y="4"/>
                    </a:cubicBezTo>
                    <a:cubicBezTo>
                      <a:pt x="9" y="2"/>
                      <a:pt x="7" y="3"/>
                      <a:pt x="7" y="1"/>
                    </a:cubicBezTo>
                    <a:cubicBezTo>
                      <a:pt x="7" y="1"/>
                      <a:pt x="7" y="1"/>
                      <a:pt x="7" y="1"/>
                    </a:cubicBezTo>
                    <a:cubicBezTo>
                      <a:pt x="6" y="1"/>
                      <a:pt x="6" y="1"/>
                      <a:pt x="6" y="1"/>
                    </a:cubicBezTo>
                    <a:cubicBezTo>
                      <a:pt x="6" y="1"/>
                      <a:pt x="6" y="1"/>
                      <a:pt x="6" y="1"/>
                    </a:cubicBezTo>
                    <a:cubicBezTo>
                      <a:pt x="5" y="1"/>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0" name="Freeform 83">
                <a:extLst>
                  <a:ext uri="{FF2B5EF4-FFF2-40B4-BE49-F238E27FC236}">
                    <a16:creationId xmlns:a16="http://schemas.microsoft.com/office/drawing/2014/main" id="{CAF9705C-4663-4A0E-B751-9EB72FC89E89}"/>
                  </a:ext>
                </a:extLst>
              </p:cNvPr>
              <p:cNvSpPr>
                <a:spLocks/>
              </p:cNvSpPr>
              <p:nvPr/>
            </p:nvSpPr>
            <p:spPr bwMode="auto">
              <a:xfrm>
                <a:off x="5697" y="3833"/>
                <a:ext cx="8" cy="4"/>
              </a:xfrm>
              <a:custGeom>
                <a:avLst/>
                <a:gdLst>
                  <a:gd name="T0" fmla="*/ 0 w 3"/>
                  <a:gd name="T1" fmla="*/ 0 h 2"/>
                  <a:gd name="T2" fmla="*/ 0 w 3"/>
                  <a:gd name="T3" fmla="*/ 0 h 2"/>
                  <a:gd name="T4" fmla="*/ 3 w 3"/>
                  <a:gd name="T5" fmla="*/ 2 h 2"/>
                  <a:gd name="T6" fmla="*/ 0 w 3"/>
                  <a:gd name="T7" fmla="*/ 0 h 2"/>
                </a:gdLst>
                <a:ahLst/>
                <a:cxnLst>
                  <a:cxn ang="0">
                    <a:pos x="T0" y="T1"/>
                  </a:cxn>
                  <a:cxn ang="0">
                    <a:pos x="T2" y="T3"/>
                  </a:cxn>
                  <a:cxn ang="0">
                    <a:pos x="T4" y="T5"/>
                  </a:cxn>
                  <a:cxn ang="0">
                    <a:pos x="T6" y="T7"/>
                  </a:cxn>
                </a:cxnLst>
                <a:rect l="0" t="0" r="r" b="b"/>
                <a:pathLst>
                  <a:path w="3" h="2">
                    <a:moveTo>
                      <a:pt x="0" y="0"/>
                    </a:moveTo>
                    <a:cubicBezTo>
                      <a:pt x="0" y="0"/>
                      <a:pt x="0" y="0"/>
                      <a:pt x="0" y="0"/>
                    </a:cubicBezTo>
                    <a:cubicBezTo>
                      <a:pt x="1" y="1"/>
                      <a:pt x="2" y="1"/>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1" name="Freeform 84">
                <a:extLst>
                  <a:ext uri="{FF2B5EF4-FFF2-40B4-BE49-F238E27FC236}">
                    <a16:creationId xmlns:a16="http://schemas.microsoft.com/office/drawing/2014/main" id="{E7825F1E-8F9B-40EC-9D0D-81DF63F05508}"/>
                  </a:ext>
                </a:extLst>
              </p:cNvPr>
              <p:cNvSpPr>
                <a:spLocks/>
              </p:cNvSpPr>
              <p:nvPr/>
            </p:nvSpPr>
            <p:spPr bwMode="auto">
              <a:xfrm>
                <a:off x="5440" y="3757"/>
                <a:ext cx="35" cy="28"/>
              </a:xfrm>
              <a:custGeom>
                <a:avLst/>
                <a:gdLst>
                  <a:gd name="T0" fmla="*/ 6 w 15"/>
                  <a:gd name="T1" fmla="*/ 0 h 12"/>
                  <a:gd name="T2" fmla="*/ 2 w 15"/>
                  <a:gd name="T3" fmla="*/ 10 h 12"/>
                  <a:gd name="T4" fmla="*/ 8 w 15"/>
                  <a:gd name="T5" fmla="*/ 12 h 12"/>
                  <a:gd name="T6" fmla="*/ 12 w 15"/>
                  <a:gd name="T7" fmla="*/ 11 h 12"/>
                  <a:gd name="T8" fmla="*/ 14 w 15"/>
                  <a:gd name="T9" fmla="*/ 9 h 12"/>
                  <a:gd name="T10" fmla="*/ 11 w 15"/>
                  <a:gd name="T11" fmla="*/ 3 h 12"/>
                  <a:gd name="T12" fmla="*/ 7 w 15"/>
                  <a:gd name="T13" fmla="*/ 0 h 12"/>
                  <a:gd name="T14" fmla="*/ 6 w 15"/>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2">
                    <a:moveTo>
                      <a:pt x="6" y="0"/>
                    </a:moveTo>
                    <a:cubicBezTo>
                      <a:pt x="0" y="0"/>
                      <a:pt x="3" y="6"/>
                      <a:pt x="2" y="10"/>
                    </a:cubicBezTo>
                    <a:cubicBezTo>
                      <a:pt x="4" y="11"/>
                      <a:pt x="6" y="12"/>
                      <a:pt x="8" y="12"/>
                    </a:cubicBezTo>
                    <a:cubicBezTo>
                      <a:pt x="9" y="12"/>
                      <a:pt x="10" y="11"/>
                      <a:pt x="12" y="11"/>
                    </a:cubicBezTo>
                    <a:cubicBezTo>
                      <a:pt x="12" y="10"/>
                      <a:pt x="14" y="10"/>
                      <a:pt x="14" y="9"/>
                    </a:cubicBezTo>
                    <a:cubicBezTo>
                      <a:pt x="15" y="7"/>
                      <a:pt x="12" y="4"/>
                      <a:pt x="11" y="3"/>
                    </a:cubicBezTo>
                    <a:cubicBezTo>
                      <a:pt x="12" y="1"/>
                      <a:pt x="8" y="0"/>
                      <a:pt x="7" y="0"/>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2" name="Freeform 85">
                <a:extLst>
                  <a:ext uri="{FF2B5EF4-FFF2-40B4-BE49-F238E27FC236}">
                    <a16:creationId xmlns:a16="http://schemas.microsoft.com/office/drawing/2014/main" id="{EAE6AF23-D59B-4752-8208-70C2B09F6E05}"/>
                  </a:ext>
                </a:extLst>
              </p:cNvPr>
              <p:cNvSpPr>
                <a:spLocks/>
              </p:cNvSpPr>
              <p:nvPr/>
            </p:nvSpPr>
            <p:spPr bwMode="auto">
              <a:xfrm>
                <a:off x="5655" y="3811"/>
                <a:ext cx="9" cy="5"/>
              </a:xfrm>
              <a:custGeom>
                <a:avLst/>
                <a:gdLst>
                  <a:gd name="T0" fmla="*/ 0 w 4"/>
                  <a:gd name="T1" fmla="*/ 0 h 2"/>
                  <a:gd name="T2" fmla="*/ 4 w 4"/>
                  <a:gd name="T3" fmla="*/ 2 h 2"/>
                  <a:gd name="T4" fmla="*/ 0 w 4"/>
                  <a:gd name="T5" fmla="*/ 0 h 2"/>
                </a:gdLst>
                <a:ahLst/>
                <a:cxnLst>
                  <a:cxn ang="0">
                    <a:pos x="T0" y="T1"/>
                  </a:cxn>
                  <a:cxn ang="0">
                    <a:pos x="T2" y="T3"/>
                  </a:cxn>
                  <a:cxn ang="0">
                    <a:pos x="T4" y="T5"/>
                  </a:cxn>
                </a:cxnLst>
                <a:rect l="0" t="0" r="r" b="b"/>
                <a:pathLst>
                  <a:path w="4" h="2">
                    <a:moveTo>
                      <a:pt x="0" y="0"/>
                    </a:moveTo>
                    <a:cubicBezTo>
                      <a:pt x="2" y="0"/>
                      <a:pt x="3" y="1"/>
                      <a:pt x="4" y="2"/>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3" name="Freeform 86">
                <a:extLst>
                  <a:ext uri="{FF2B5EF4-FFF2-40B4-BE49-F238E27FC236}">
                    <a16:creationId xmlns:a16="http://schemas.microsoft.com/office/drawing/2014/main" id="{63D90065-2352-4A44-93D7-2DF54638AC47}"/>
                  </a:ext>
                </a:extLst>
              </p:cNvPr>
              <p:cNvSpPr>
                <a:spLocks/>
              </p:cNvSpPr>
              <p:nvPr/>
            </p:nvSpPr>
            <p:spPr bwMode="auto">
              <a:xfrm>
                <a:off x="5707" y="3728"/>
                <a:ext cx="16" cy="10"/>
              </a:xfrm>
              <a:custGeom>
                <a:avLst/>
                <a:gdLst>
                  <a:gd name="T0" fmla="*/ 2 w 7"/>
                  <a:gd name="T1" fmla="*/ 0 h 4"/>
                  <a:gd name="T2" fmla="*/ 0 w 7"/>
                  <a:gd name="T3" fmla="*/ 0 h 4"/>
                  <a:gd name="T4" fmla="*/ 7 w 7"/>
                  <a:gd name="T5" fmla="*/ 4 h 4"/>
                  <a:gd name="T6" fmla="*/ 2 w 7"/>
                  <a:gd name="T7" fmla="*/ 0 h 4"/>
                </a:gdLst>
                <a:ahLst/>
                <a:cxnLst>
                  <a:cxn ang="0">
                    <a:pos x="T0" y="T1"/>
                  </a:cxn>
                  <a:cxn ang="0">
                    <a:pos x="T2" y="T3"/>
                  </a:cxn>
                  <a:cxn ang="0">
                    <a:pos x="T4" y="T5"/>
                  </a:cxn>
                  <a:cxn ang="0">
                    <a:pos x="T6" y="T7"/>
                  </a:cxn>
                </a:cxnLst>
                <a:rect l="0" t="0" r="r" b="b"/>
                <a:pathLst>
                  <a:path w="7" h="4">
                    <a:moveTo>
                      <a:pt x="2" y="0"/>
                    </a:moveTo>
                    <a:cubicBezTo>
                      <a:pt x="1" y="0"/>
                      <a:pt x="1" y="0"/>
                      <a:pt x="0" y="0"/>
                    </a:cubicBezTo>
                    <a:cubicBezTo>
                      <a:pt x="2" y="2"/>
                      <a:pt x="4" y="3"/>
                      <a:pt x="7" y="4"/>
                    </a:cubicBezTo>
                    <a:cubicBezTo>
                      <a:pt x="5" y="1"/>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4" name="Freeform 87">
                <a:extLst>
                  <a:ext uri="{FF2B5EF4-FFF2-40B4-BE49-F238E27FC236}">
                    <a16:creationId xmlns:a16="http://schemas.microsoft.com/office/drawing/2014/main" id="{4A935C68-CEE9-4A30-A226-37A43F14C0D8}"/>
                  </a:ext>
                </a:extLst>
              </p:cNvPr>
              <p:cNvSpPr>
                <a:spLocks/>
              </p:cNvSpPr>
              <p:nvPr/>
            </p:nvSpPr>
            <p:spPr bwMode="auto">
              <a:xfrm>
                <a:off x="5894" y="3655"/>
                <a:ext cx="4" cy="3"/>
              </a:xfrm>
              <a:custGeom>
                <a:avLst/>
                <a:gdLst>
                  <a:gd name="T0" fmla="*/ 2 w 2"/>
                  <a:gd name="T1" fmla="*/ 0 h 1"/>
                  <a:gd name="T2" fmla="*/ 0 w 2"/>
                  <a:gd name="T3" fmla="*/ 1 h 1"/>
                  <a:gd name="T4" fmla="*/ 2 w 2"/>
                  <a:gd name="T5" fmla="*/ 0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0" y="0"/>
                      <a:pt x="0" y="1"/>
                    </a:cubicBezTo>
                    <a:cubicBezTo>
                      <a:pt x="1" y="1"/>
                      <a:pt x="2"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5" name="Freeform 88">
                <a:extLst>
                  <a:ext uri="{FF2B5EF4-FFF2-40B4-BE49-F238E27FC236}">
                    <a16:creationId xmlns:a16="http://schemas.microsoft.com/office/drawing/2014/main" id="{67C4E34C-90D2-4A9D-8FF0-0F630BBFC809}"/>
                  </a:ext>
                </a:extLst>
              </p:cNvPr>
              <p:cNvSpPr>
                <a:spLocks noEditPoints="1"/>
              </p:cNvSpPr>
              <p:nvPr/>
            </p:nvSpPr>
            <p:spPr bwMode="auto">
              <a:xfrm>
                <a:off x="5835" y="3662"/>
                <a:ext cx="16" cy="7"/>
              </a:xfrm>
              <a:custGeom>
                <a:avLst/>
                <a:gdLst>
                  <a:gd name="T0" fmla="*/ 1 w 7"/>
                  <a:gd name="T1" fmla="*/ 0 h 3"/>
                  <a:gd name="T2" fmla="*/ 4 w 7"/>
                  <a:gd name="T3" fmla="*/ 3 h 3"/>
                  <a:gd name="T4" fmla="*/ 7 w 7"/>
                  <a:gd name="T5" fmla="*/ 3 h 3"/>
                  <a:gd name="T6" fmla="*/ 1 w 7"/>
                  <a:gd name="T7" fmla="*/ 0 h 3"/>
                  <a:gd name="T8" fmla="*/ 0 w 7"/>
                  <a:gd name="T9" fmla="*/ 0 h 3"/>
                  <a:gd name="T10" fmla="*/ 1 w 7"/>
                  <a:gd name="T11" fmla="*/ 0 h 3"/>
                  <a:gd name="T12" fmla="*/ 0 w 7"/>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1" y="0"/>
                    </a:moveTo>
                    <a:cubicBezTo>
                      <a:pt x="2" y="1"/>
                      <a:pt x="3" y="2"/>
                      <a:pt x="4" y="3"/>
                    </a:cubicBezTo>
                    <a:cubicBezTo>
                      <a:pt x="5" y="3"/>
                      <a:pt x="6" y="3"/>
                      <a:pt x="7" y="3"/>
                    </a:cubicBezTo>
                    <a:cubicBezTo>
                      <a:pt x="5" y="2"/>
                      <a:pt x="3" y="1"/>
                      <a:pt x="1" y="0"/>
                    </a:cubicBezTo>
                    <a:moveTo>
                      <a:pt x="0" y="0"/>
                    </a:moveTo>
                    <a:cubicBezTo>
                      <a:pt x="1" y="0"/>
                      <a:pt x="1" y="0"/>
                      <a:pt x="1" y="0"/>
                    </a:cubicBezTo>
                    <a:cubicBezTo>
                      <a:pt x="1"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6" name="Freeform 89">
                <a:extLst>
                  <a:ext uri="{FF2B5EF4-FFF2-40B4-BE49-F238E27FC236}">
                    <a16:creationId xmlns:a16="http://schemas.microsoft.com/office/drawing/2014/main" id="{25BA28DF-8178-4BBB-A994-DCF43C07F84C}"/>
                  </a:ext>
                </a:extLst>
              </p:cNvPr>
              <p:cNvSpPr>
                <a:spLocks/>
              </p:cNvSpPr>
              <p:nvPr/>
            </p:nvSpPr>
            <p:spPr bwMode="auto">
              <a:xfrm>
                <a:off x="5872" y="3676"/>
                <a:ext cx="19" cy="19"/>
              </a:xfrm>
              <a:custGeom>
                <a:avLst/>
                <a:gdLst>
                  <a:gd name="T0" fmla="*/ 4 w 8"/>
                  <a:gd name="T1" fmla="*/ 0 h 8"/>
                  <a:gd name="T2" fmla="*/ 3 w 8"/>
                  <a:gd name="T3" fmla="*/ 5 h 8"/>
                  <a:gd name="T4" fmla="*/ 8 w 8"/>
                  <a:gd name="T5" fmla="*/ 8 h 8"/>
                  <a:gd name="T6" fmla="*/ 4 w 8"/>
                  <a:gd name="T7" fmla="*/ 0 h 8"/>
                </a:gdLst>
                <a:ahLst/>
                <a:cxnLst>
                  <a:cxn ang="0">
                    <a:pos x="T0" y="T1"/>
                  </a:cxn>
                  <a:cxn ang="0">
                    <a:pos x="T2" y="T3"/>
                  </a:cxn>
                  <a:cxn ang="0">
                    <a:pos x="T4" y="T5"/>
                  </a:cxn>
                  <a:cxn ang="0">
                    <a:pos x="T6" y="T7"/>
                  </a:cxn>
                </a:cxnLst>
                <a:rect l="0" t="0" r="r" b="b"/>
                <a:pathLst>
                  <a:path w="8" h="8">
                    <a:moveTo>
                      <a:pt x="4" y="0"/>
                    </a:moveTo>
                    <a:cubicBezTo>
                      <a:pt x="5" y="3"/>
                      <a:pt x="0" y="2"/>
                      <a:pt x="3" y="5"/>
                    </a:cubicBezTo>
                    <a:cubicBezTo>
                      <a:pt x="5" y="7"/>
                      <a:pt x="7" y="6"/>
                      <a:pt x="8" y="8"/>
                    </a:cubicBezTo>
                    <a:cubicBezTo>
                      <a:pt x="7" y="6"/>
                      <a:pt x="5"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7" name="Freeform 90">
                <a:extLst>
                  <a:ext uri="{FF2B5EF4-FFF2-40B4-BE49-F238E27FC236}">
                    <a16:creationId xmlns:a16="http://schemas.microsoft.com/office/drawing/2014/main" id="{5E912753-F042-44E4-B095-44AF985E5F52}"/>
                  </a:ext>
                </a:extLst>
              </p:cNvPr>
              <p:cNvSpPr>
                <a:spLocks noEditPoints="1"/>
              </p:cNvSpPr>
              <p:nvPr/>
            </p:nvSpPr>
            <p:spPr bwMode="auto">
              <a:xfrm>
                <a:off x="5726" y="3622"/>
                <a:ext cx="23" cy="33"/>
              </a:xfrm>
              <a:custGeom>
                <a:avLst/>
                <a:gdLst>
                  <a:gd name="T0" fmla="*/ 1 w 10"/>
                  <a:gd name="T1" fmla="*/ 5 h 14"/>
                  <a:gd name="T2" fmla="*/ 1 w 10"/>
                  <a:gd name="T3" fmla="*/ 5 h 14"/>
                  <a:gd name="T4" fmla="*/ 1 w 10"/>
                  <a:gd name="T5" fmla="*/ 5 h 14"/>
                  <a:gd name="T6" fmla="*/ 5 w 10"/>
                  <a:gd name="T7" fmla="*/ 0 h 14"/>
                  <a:gd name="T8" fmla="*/ 1 w 10"/>
                  <a:gd name="T9" fmla="*/ 5 h 14"/>
                  <a:gd name="T10" fmla="*/ 1 w 10"/>
                  <a:gd name="T11" fmla="*/ 4 h 14"/>
                  <a:gd name="T12" fmla="*/ 2 w 10"/>
                  <a:gd name="T13" fmla="*/ 6 h 14"/>
                  <a:gd name="T14" fmla="*/ 3 w 10"/>
                  <a:gd name="T15" fmla="*/ 7 h 14"/>
                  <a:gd name="T16" fmla="*/ 3 w 10"/>
                  <a:gd name="T17" fmla="*/ 7 h 14"/>
                  <a:gd name="T18" fmla="*/ 4 w 10"/>
                  <a:gd name="T19" fmla="*/ 11 h 14"/>
                  <a:gd name="T20" fmla="*/ 7 w 10"/>
                  <a:gd name="T21" fmla="*/ 14 h 14"/>
                  <a:gd name="T22" fmla="*/ 9 w 10"/>
                  <a:gd name="T23" fmla="*/ 12 h 14"/>
                  <a:gd name="T24" fmla="*/ 10 w 10"/>
                  <a:gd name="T25" fmla="*/ 12 h 14"/>
                  <a:gd name="T26" fmla="*/ 8 w 10"/>
                  <a:gd name="T27" fmla="*/ 2 h 14"/>
                  <a:gd name="T28" fmla="*/ 8 w 10"/>
                  <a:gd name="T29" fmla="*/ 2 h 14"/>
                  <a:gd name="T30" fmla="*/ 7 w 10"/>
                  <a:gd name="T31" fmla="*/ 2 h 14"/>
                  <a:gd name="T32" fmla="*/ 5 w 10"/>
                  <a:gd name="T33" fmla="*/ 3 h 14"/>
                  <a:gd name="T34" fmla="*/ 5 w 10"/>
                  <a:gd name="T35" fmla="*/ 3 h 14"/>
                  <a:gd name="T36" fmla="*/ 5 w 10"/>
                  <a:gd name="T3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14">
                    <a:moveTo>
                      <a:pt x="1" y="5"/>
                    </a:moveTo>
                    <a:cubicBezTo>
                      <a:pt x="1" y="5"/>
                      <a:pt x="1" y="5"/>
                      <a:pt x="1" y="5"/>
                    </a:cubicBezTo>
                    <a:cubicBezTo>
                      <a:pt x="1" y="5"/>
                      <a:pt x="1" y="5"/>
                      <a:pt x="1" y="5"/>
                    </a:cubicBezTo>
                    <a:moveTo>
                      <a:pt x="5" y="0"/>
                    </a:moveTo>
                    <a:cubicBezTo>
                      <a:pt x="4" y="0"/>
                      <a:pt x="0" y="3"/>
                      <a:pt x="1" y="5"/>
                    </a:cubicBezTo>
                    <a:cubicBezTo>
                      <a:pt x="1" y="5"/>
                      <a:pt x="1" y="4"/>
                      <a:pt x="1" y="4"/>
                    </a:cubicBezTo>
                    <a:cubicBezTo>
                      <a:pt x="1" y="4"/>
                      <a:pt x="1" y="5"/>
                      <a:pt x="2" y="6"/>
                    </a:cubicBezTo>
                    <a:cubicBezTo>
                      <a:pt x="3" y="7"/>
                      <a:pt x="3" y="7"/>
                      <a:pt x="3" y="7"/>
                    </a:cubicBezTo>
                    <a:cubicBezTo>
                      <a:pt x="3" y="7"/>
                      <a:pt x="3" y="7"/>
                      <a:pt x="3" y="7"/>
                    </a:cubicBezTo>
                    <a:cubicBezTo>
                      <a:pt x="3" y="8"/>
                      <a:pt x="3" y="11"/>
                      <a:pt x="4" y="11"/>
                    </a:cubicBezTo>
                    <a:cubicBezTo>
                      <a:pt x="3" y="14"/>
                      <a:pt x="6" y="13"/>
                      <a:pt x="7" y="14"/>
                    </a:cubicBezTo>
                    <a:cubicBezTo>
                      <a:pt x="7" y="13"/>
                      <a:pt x="8" y="12"/>
                      <a:pt x="9" y="12"/>
                    </a:cubicBezTo>
                    <a:cubicBezTo>
                      <a:pt x="9" y="12"/>
                      <a:pt x="9" y="12"/>
                      <a:pt x="10" y="12"/>
                    </a:cubicBezTo>
                    <a:cubicBezTo>
                      <a:pt x="9" y="11"/>
                      <a:pt x="9" y="2"/>
                      <a:pt x="8" y="2"/>
                    </a:cubicBezTo>
                    <a:cubicBezTo>
                      <a:pt x="8" y="2"/>
                      <a:pt x="8" y="2"/>
                      <a:pt x="8" y="2"/>
                    </a:cubicBezTo>
                    <a:cubicBezTo>
                      <a:pt x="8" y="2"/>
                      <a:pt x="8" y="2"/>
                      <a:pt x="7" y="2"/>
                    </a:cubicBezTo>
                    <a:cubicBezTo>
                      <a:pt x="7" y="3"/>
                      <a:pt x="6" y="3"/>
                      <a:pt x="5" y="3"/>
                    </a:cubicBezTo>
                    <a:cubicBezTo>
                      <a:pt x="5" y="3"/>
                      <a:pt x="5" y="3"/>
                      <a:pt x="5" y="3"/>
                    </a:cubicBezTo>
                    <a:cubicBezTo>
                      <a:pt x="6"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8" name="Freeform 91">
                <a:extLst>
                  <a:ext uri="{FF2B5EF4-FFF2-40B4-BE49-F238E27FC236}">
                    <a16:creationId xmlns:a16="http://schemas.microsoft.com/office/drawing/2014/main" id="{9F43CE46-2233-4E48-BBED-5FC71DCC7D32}"/>
                  </a:ext>
                </a:extLst>
              </p:cNvPr>
              <p:cNvSpPr>
                <a:spLocks/>
              </p:cNvSpPr>
              <p:nvPr/>
            </p:nvSpPr>
            <p:spPr bwMode="auto">
              <a:xfrm>
                <a:off x="5934" y="3710"/>
                <a:ext cx="2" cy="2"/>
              </a:xfrm>
              <a:custGeom>
                <a:avLst/>
                <a:gdLst>
                  <a:gd name="T0" fmla="*/ 0 w 1"/>
                  <a:gd name="T1" fmla="*/ 0 h 1"/>
                  <a:gd name="T2" fmla="*/ 1 w 1"/>
                  <a:gd name="T3" fmla="*/ 1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1"/>
                      <a:pt x="1" y="1"/>
                      <a:pt x="1" y="1"/>
                    </a:cubicBezTo>
                    <a:cubicBezTo>
                      <a:pt x="1" y="1"/>
                      <a:pt x="1" y="1"/>
                      <a:pt x="1" y="1"/>
                    </a:cubicBezTo>
                    <a:cubicBezTo>
                      <a:pt x="1"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9" name="Freeform 92">
                <a:extLst>
                  <a:ext uri="{FF2B5EF4-FFF2-40B4-BE49-F238E27FC236}">
                    <a16:creationId xmlns:a16="http://schemas.microsoft.com/office/drawing/2014/main" id="{382A744A-C3BF-4F6A-BE8D-6F520E016826}"/>
                  </a:ext>
                </a:extLst>
              </p:cNvPr>
              <p:cNvSpPr>
                <a:spLocks/>
              </p:cNvSpPr>
              <p:nvPr/>
            </p:nvSpPr>
            <p:spPr bwMode="auto">
              <a:xfrm>
                <a:off x="5936" y="3712"/>
                <a:ext cx="5" cy="0"/>
              </a:xfrm>
              <a:custGeom>
                <a:avLst/>
                <a:gdLst>
                  <a:gd name="T0" fmla="*/ 1 w 2"/>
                  <a:gd name="T1" fmla="*/ 1 w 2"/>
                  <a:gd name="T2" fmla="*/ 1 w 2"/>
                  <a:gd name="T3" fmla="*/ 0 w 2"/>
                  <a:gd name="T4" fmla="*/ 2 w 2"/>
                  <a:gd name="T5" fmla="*/ 1 w 2"/>
                </a:gdLst>
                <a:ahLst/>
                <a:cxnLst>
                  <a:cxn ang="0">
                    <a:pos x="T0" y="0"/>
                  </a:cxn>
                  <a:cxn ang="0">
                    <a:pos x="T1" y="0"/>
                  </a:cxn>
                  <a:cxn ang="0">
                    <a:pos x="T2" y="0"/>
                  </a:cxn>
                  <a:cxn ang="0">
                    <a:pos x="T3" y="0"/>
                  </a:cxn>
                  <a:cxn ang="0">
                    <a:pos x="T4" y="0"/>
                  </a:cxn>
                  <a:cxn ang="0">
                    <a:pos x="T5" y="0"/>
                  </a:cxn>
                </a:cxnLst>
                <a:rect l="0" t="0" r="r" b="b"/>
                <a:pathLst>
                  <a:path w="2">
                    <a:moveTo>
                      <a:pt x="1" y="0"/>
                    </a:moveTo>
                    <a:cubicBezTo>
                      <a:pt x="1" y="0"/>
                      <a:pt x="1" y="0"/>
                      <a:pt x="1" y="0"/>
                    </a:cubicBezTo>
                    <a:cubicBezTo>
                      <a:pt x="1" y="0"/>
                      <a:pt x="1" y="0"/>
                      <a:pt x="1" y="0"/>
                    </a:cubicBezTo>
                    <a:cubicBezTo>
                      <a:pt x="0" y="0"/>
                      <a:pt x="0" y="0"/>
                      <a:pt x="0" y="0"/>
                    </a:cubicBezTo>
                    <a:cubicBezTo>
                      <a:pt x="1" y="0"/>
                      <a:pt x="1" y="0"/>
                      <a:pt x="2" y="0"/>
                    </a:cubicBezTo>
                    <a:cubicBezTo>
                      <a:pt x="2"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0" name="Freeform 93">
                <a:extLst>
                  <a:ext uri="{FF2B5EF4-FFF2-40B4-BE49-F238E27FC236}">
                    <a16:creationId xmlns:a16="http://schemas.microsoft.com/office/drawing/2014/main" id="{4C4397E8-C794-4CAA-AB2D-74873DA7625E}"/>
                  </a:ext>
                </a:extLst>
              </p:cNvPr>
              <p:cNvSpPr>
                <a:spLocks/>
              </p:cNvSpPr>
              <p:nvPr/>
            </p:nvSpPr>
            <p:spPr bwMode="auto">
              <a:xfrm>
                <a:off x="5924" y="3707"/>
                <a:ext cx="10" cy="3"/>
              </a:xfrm>
              <a:custGeom>
                <a:avLst/>
                <a:gdLst>
                  <a:gd name="T0" fmla="*/ 2 w 4"/>
                  <a:gd name="T1" fmla="*/ 0 h 1"/>
                  <a:gd name="T2" fmla="*/ 0 w 4"/>
                  <a:gd name="T3" fmla="*/ 1 h 1"/>
                  <a:gd name="T4" fmla="*/ 4 w 4"/>
                  <a:gd name="T5" fmla="*/ 1 h 1"/>
                  <a:gd name="T6" fmla="*/ 2 w 4"/>
                  <a:gd name="T7" fmla="*/ 0 h 1"/>
                </a:gdLst>
                <a:ahLst/>
                <a:cxnLst>
                  <a:cxn ang="0">
                    <a:pos x="T0" y="T1"/>
                  </a:cxn>
                  <a:cxn ang="0">
                    <a:pos x="T2" y="T3"/>
                  </a:cxn>
                  <a:cxn ang="0">
                    <a:pos x="T4" y="T5"/>
                  </a:cxn>
                  <a:cxn ang="0">
                    <a:pos x="T6" y="T7"/>
                  </a:cxn>
                </a:cxnLst>
                <a:rect l="0" t="0" r="r" b="b"/>
                <a:pathLst>
                  <a:path w="4" h="1">
                    <a:moveTo>
                      <a:pt x="2" y="0"/>
                    </a:moveTo>
                    <a:cubicBezTo>
                      <a:pt x="1" y="0"/>
                      <a:pt x="1" y="1"/>
                      <a:pt x="0" y="1"/>
                    </a:cubicBezTo>
                    <a:cubicBezTo>
                      <a:pt x="2" y="1"/>
                      <a:pt x="3" y="1"/>
                      <a:pt x="4" y="1"/>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1" name="Freeform 94">
                <a:extLst>
                  <a:ext uri="{FF2B5EF4-FFF2-40B4-BE49-F238E27FC236}">
                    <a16:creationId xmlns:a16="http://schemas.microsoft.com/office/drawing/2014/main" id="{ED86B218-0B5E-4574-A319-3D6847FAE784}"/>
                  </a:ext>
                </a:extLst>
              </p:cNvPr>
              <p:cNvSpPr>
                <a:spLocks/>
              </p:cNvSpPr>
              <p:nvPr/>
            </p:nvSpPr>
            <p:spPr bwMode="auto">
              <a:xfrm>
                <a:off x="5955" y="3792"/>
                <a:ext cx="45" cy="22"/>
              </a:xfrm>
              <a:custGeom>
                <a:avLst/>
                <a:gdLst>
                  <a:gd name="T0" fmla="*/ 17 w 19"/>
                  <a:gd name="T1" fmla="*/ 0 h 9"/>
                  <a:gd name="T2" fmla="*/ 16 w 19"/>
                  <a:gd name="T3" fmla="*/ 0 h 9"/>
                  <a:gd name="T4" fmla="*/ 14 w 19"/>
                  <a:gd name="T5" fmla="*/ 4 h 9"/>
                  <a:gd name="T6" fmla="*/ 12 w 19"/>
                  <a:gd name="T7" fmla="*/ 4 h 9"/>
                  <a:gd name="T8" fmla="*/ 9 w 19"/>
                  <a:gd name="T9" fmla="*/ 2 h 9"/>
                  <a:gd name="T10" fmla="*/ 5 w 19"/>
                  <a:gd name="T11" fmla="*/ 4 h 9"/>
                  <a:gd name="T12" fmla="*/ 2 w 19"/>
                  <a:gd name="T13" fmla="*/ 5 h 9"/>
                  <a:gd name="T14" fmla="*/ 3 w 19"/>
                  <a:gd name="T15" fmla="*/ 9 h 9"/>
                  <a:gd name="T16" fmla="*/ 5 w 19"/>
                  <a:gd name="T17" fmla="*/ 9 h 9"/>
                  <a:gd name="T18" fmla="*/ 6 w 19"/>
                  <a:gd name="T19" fmla="*/ 9 h 9"/>
                  <a:gd name="T20" fmla="*/ 8 w 19"/>
                  <a:gd name="T21" fmla="*/ 9 h 9"/>
                  <a:gd name="T22" fmla="*/ 15 w 19"/>
                  <a:gd name="T23" fmla="*/ 6 h 9"/>
                  <a:gd name="T24" fmla="*/ 17 w 19"/>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9">
                    <a:moveTo>
                      <a:pt x="17" y="0"/>
                    </a:moveTo>
                    <a:cubicBezTo>
                      <a:pt x="17" y="0"/>
                      <a:pt x="17" y="0"/>
                      <a:pt x="16" y="0"/>
                    </a:cubicBezTo>
                    <a:cubicBezTo>
                      <a:pt x="15" y="1"/>
                      <a:pt x="15" y="3"/>
                      <a:pt x="14" y="4"/>
                    </a:cubicBezTo>
                    <a:cubicBezTo>
                      <a:pt x="13" y="4"/>
                      <a:pt x="12" y="4"/>
                      <a:pt x="12" y="4"/>
                    </a:cubicBezTo>
                    <a:cubicBezTo>
                      <a:pt x="11" y="4"/>
                      <a:pt x="10" y="4"/>
                      <a:pt x="9" y="2"/>
                    </a:cubicBezTo>
                    <a:cubicBezTo>
                      <a:pt x="8" y="4"/>
                      <a:pt x="6" y="3"/>
                      <a:pt x="5" y="4"/>
                    </a:cubicBezTo>
                    <a:cubicBezTo>
                      <a:pt x="4" y="4"/>
                      <a:pt x="3" y="5"/>
                      <a:pt x="2" y="5"/>
                    </a:cubicBezTo>
                    <a:cubicBezTo>
                      <a:pt x="3" y="7"/>
                      <a:pt x="0" y="8"/>
                      <a:pt x="3" y="9"/>
                    </a:cubicBezTo>
                    <a:cubicBezTo>
                      <a:pt x="4" y="9"/>
                      <a:pt x="4" y="9"/>
                      <a:pt x="5" y="9"/>
                    </a:cubicBezTo>
                    <a:cubicBezTo>
                      <a:pt x="5" y="9"/>
                      <a:pt x="6" y="9"/>
                      <a:pt x="6" y="9"/>
                    </a:cubicBezTo>
                    <a:cubicBezTo>
                      <a:pt x="7" y="9"/>
                      <a:pt x="7" y="9"/>
                      <a:pt x="8" y="9"/>
                    </a:cubicBezTo>
                    <a:cubicBezTo>
                      <a:pt x="11" y="9"/>
                      <a:pt x="14" y="9"/>
                      <a:pt x="15" y="6"/>
                    </a:cubicBezTo>
                    <a:cubicBezTo>
                      <a:pt x="16" y="5"/>
                      <a:pt x="19"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2" name="Freeform 95">
                <a:extLst>
                  <a:ext uri="{FF2B5EF4-FFF2-40B4-BE49-F238E27FC236}">
                    <a16:creationId xmlns:a16="http://schemas.microsoft.com/office/drawing/2014/main" id="{AB3D08F0-4AE9-4514-BA33-D318E460D8E7}"/>
                  </a:ext>
                </a:extLst>
              </p:cNvPr>
              <p:cNvSpPr>
                <a:spLocks/>
              </p:cNvSpPr>
              <p:nvPr/>
            </p:nvSpPr>
            <p:spPr bwMode="auto">
              <a:xfrm>
                <a:off x="5929" y="3712"/>
                <a:ext cx="24" cy="28"/>
              </a:xfrm>
              <a:custGeom>
                <a:avLst/>
                <a:gdLst>
                  <a:gd name="T0" fmla="*/ 9 w 10"/>
                  <a:gd name="T1" fmla="*/ 0 h 12"/>
                  <a:gd name="T2" fmla="*/ 7 w 10"/>
                  <a:gd name="T3" fmla="*/ 0 h 12"/>
                  <a:gd name="T4" fmla="*/ 7 w 10"/>
                  <a:gd name="T5" fmla="*/ 0 h 12"/>
                  <a:gd name="T6" fmla="*/ 6 w 10"/>
                  <a:gd name="T7" fmla="*/ 1 h 12"/>
                  <a:gd name="T8" fmla="*/ 5 w 10"/>
                  <a:gd name="T9" fmla="*/ 1 h 12"/>
                  <a:gd name="T10" fmla="*/ 5 w 10"/>
                  <a:gd name="T11" fmla="*/ 2 h 12"/>
                  <a:gd name="T12" fmla="*/ 6 w 10"/>
                  <a:gd name="T13" fmla="*/ 7 h 12"/>
                  <a:gd name="T14" fmla="*/ 0 w 10"/>
                  <a:gd name="T15" fmla="*/ 12 h 12"/>
                  <a:gd name="T16" fmla="*/ 9 w 10"/>
                  <a:gd name="T17" fmla="*/ 5 h 12"/>
                  <a:gd name="T18" fmla="*/ 9 w 10"/>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2">
                    <a:moveTo>
                      <a:pt x="9" y="0"/>
                    </a:moveTo>
                    <a:cubicBezTo>
                      <a:pt x="8" y="0"/>
                      <a:pt x="8" y="0"/>
                      <a:pt x="7" y="0"/>
                    </a:cubicBezTo>
                    <a:cubicBezTo>
                      <a:pt x="7" y="0"/>
                      <a:pt x="7" y="0"/>
                      <a:pt x="7" y="0"/>
                    </a:cubicBezTo>
                    <a:cubicBezTo>
                      <a:pt x="6" y="1"/>
                      <a:pt x="6" y="1"/>
                      <a:pt x="6" y="1"/>
                    </a:cubicBezTo>
                    <a:cubicBezTo>
                      <a:pt x="6" y="1"/>
                      <a:pt x="5" y="1"/>
                      <a:pt x="5" y="1"/>
                    </a:cubicBezTo>
                    <a:cubicBezTo>
                      <a:pt x="5" y="1"/>
                      <a:pt x="5" y="2"/>
                      <a:pt x="5" y="2"/>
                    </a:cubicBezTo>
                    <a:cubicBezTo>
                      <a:pt x="10" y="4"/>
                      <a:pt x="9" y="5"/>
                      <a:pt x="6" y="7"/>
                    </a:cubicBezTo>
                    <a:cubicBezTo>
                      <a:pt x="4" y="8"/>
                      <a:pt x="2" y="9"/>
                      <a:pt x="0" y="12"/>
                    </a:cubicBezTo>
                    <a:cubicBezTo>
                      <a:pt x="3" y="10"/>
                      <a:pt x="6" y="8"/>
                      <a:pt x="9" y="5"/>
                    </a:cubicBezTo>
                    <a:cubicBezTo>
                      <a:pt x="10" y="4"/>
                      <a:pt x="9"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3" name="Freeform 96">
                <a:extLst>
                  <a:ext uri="{FF2B5EF4-FFF2-40B4-BE49-F238E27FC236}">
                    <a16:creationId xmlns:a16="http://schemas.microsoft.com/office/drawing/2014/main" id="{12F445BB-7881-47AB-A89E-9A1DD70C7BDD}"/>
                  </a:ext>
                </a:extLst>
              </p:cNvPr>
              <p:cNvSpPr>
                <a:spLocks/>
              </p:cNvSpPr>
              <p:nvPr/>
            </p:nvSpPr>
            <p:spPr bwMode="auto">
              <a:xfrm>
                <a:off x="5988" y="3728"/>
                <a:ext cx="24" cy="5"/>
              </a:xfrm>
              <a:custGeom>
                <a:avLst/>
                <a:gdLst>
                  <a:gd name="T0" fmla="*/ 2 w 10"/>
                  <a:gd name="T1" fmla="*/ 0 h 2"/>
                  <a:gd name="T2" fmla="*/ 0 w 10"/>
                  <a:gd name="T3" fmla="*/ 1 h 2"/>
                  <a:gd name="T4" fmla="*/ 3 w 10"/>
                  <a:gd name="T5" fmla="*/ 2 h 2"/>
                  <a:gd name="T6" fmla="*/ 9 w 10"/>
                  <a:gd name="T7" fmla="*/ 2 h 2"/>
                  <a:gd name="T8" fmla="*/ 10 w 10"/>
                  <a:gd name="T9" fmla="*/ 2 h 2"/>
                  <a:gd name="T10" fmla="*/ 7 w 10"/>
                  <a:gd name="T11" fmla="*/ 1 h 2"/>
                  <a:gd name="T12" fmla="*/ 6 w 10"/>
                  <a:gd name="T13" fmla="*/ 1 h 2"/>
                  <a:gd name="T14" fmla="*/ 6 w 10"/>
                  <a:gd name="T15" fmla="*/ 1 h 2"/>
                  <a:gd name="T16" fmla="*/ 5 w 10"/>
                  <a:gd name="T17" fmla="*/ 1 h 2"/>
                  <a:gd name="T18" fmla="*/ 5 w 10"/>
                  <a:gd name="T19" fmla="*/ 1 h 2"/>
                  <a:gd name="T20" fmla="*/ 2 w 10"/>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2">
                    <a:moveTo>
                      <a:pt x="2" y="0"/>
                    </a:moveTo>
                    <a:cubicBezTo>
                      <a:pt x="1" y="0"/>
                      <a:pt x="1" y="0"/>
                      <a:pt x="0" y="1"/>
                    </a:cubicBezTo>
                    <a:cubicBezTo>
                      <a:pt x="0" y="2"/>
                      <a:pt x="1" y="2"/>
                      <a:pt x="3" y="2"/>
                    </a:cubicBezTo>
                    <a:cubicBezTo>
                      <a:pt x="5" y="2"/>
                      <a:pt x="7" y="2"/>
                      <a:pt x="9" y="2"/>
                    </a:cubicBezTo>
                    <a:cubicBezTo>
                      <a:pt x="9" y="2"/>
                      <a:pt x="10" y="2"/>
                      <a:pt x="10" y="2"/>
                    </a:cubicBezTo>
                    <a:cubicBezTo>
                      <a:pt x="9" y="2"/>
                      <a:pt x="8" y="1"/>
                      <a:pt x="7" y="1"/>
                    </a:cubicBezTo>
                    <a:cubicBezTo>
                      <a:pt x="7" y="1"/>
                      <a:pt x="6" y="1"/>
                      <a:pt x="6" y="1"/>
                    </a:cubicBezTo>
                    <a:cubicBezTo>
                      <a:pt x="6" y="1"/>
                      <a:pt x="6" y="1"/>
                      <a:pt x="6" y="1"/>
                    </a:cubicBezTo>
                    <a:cubicBezTo>
                      <a:pt x="6" y="1"/>
                      <a:pt x="5" y="1"/>
                      <a:pt x="5" y="1"/>
                    </a:cubicBezTo>
                    <a:cubicBezTo>
                      <a:pt x="5" y="1"/>
                      <a:pt x="5" y="1"/>
                      <a:pt x="5" y="1"/>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4" name="Freeform 97">
                <a:extLst>
                  <a:ext uri="{FF2B5EF4-FFF2-40B4-BE49-F238E27FC236}">
                    <a16:creationId xmlns:a16="http://schemas.microsoft.com/office/drawing/2014/main" id="{F9D875F1-6C28-4622-9318-14D1648F9FF4}"/>
                  </a:ext>
                </a:extLst>
              </p:cNvPr>
              <p:cNvSpPr>
                <a:spLocks/>
              </p:cNvSpPr>
              <p:nvPr/>
            </p:nvSpPr>
            <p:spPr bwMode="auto">
              <a:xfrm>
                <a:off x="5913" y="3629"/>
                <a:ext cx="4" cy="10"/>
              </a:xfrm>
              <a:custGeom>
                <a:avLst/>
                <a:gdLst>
                  <a:gd name="T0" fmla="*/ 2 w 2"/>
                  <a:gd name="T1" fmla="*/ 0 h 4"/>
                  <a:gd name="T2" fmla="*/ 0 w 2"/>
                  <a:gd name="T3" fmla="*/ 4 h 4"/>
                  <a:gd name="T4" fmla="*/ 2 w 2"/>
                  <a:gd name="T5" fmla="*/ 0 h 4"/>
                </a:gdLst>
                <a:ahLst/>
                <a:cxnLst>
                  <a:cxn ang="0">
                    <a:pos x="T0" y="T1"/>
                  </a:cxn>
                  <a:cxn ang="0">
                    <a:pos x="T2" y="T3"/>
                  </a:cxn>
                  <a:cxn ang="0">
                    <a:pos x="T4" y="T5"/>
                  </a:cxn>
                </a:cxnLst>
                <a:rect l="0" t="0" r="r" b="b"/>
                <a:pathLst>
                  <a:path w="2" h="4">
                    <a:moveTo>
                      <a:pt x="2" y="0"/>
                    </a:moveTo>
                    <a:cubicBezTo>
                      <a:pt x="0" y="1"/>
                      <a:pt x="0" y="2"/>
                      <a:pt x="0" y="4"/>
                    </a:cubicBezTo>
                    <a:cubicBezTo>
                      <a:pt x="1"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5" name="Freeform 98">
                <a:extLst>
                  <a:ext uri="{FF2B5EF4-FFF2-40B4-BE49-F238E27FC236}">
                    <a16:creationId xmlns:a16="http://schemas.microsoft.com/office/drawing/2014/main" id="{EA387559-C94C-46B5-8613-FCE13FFC8071}"/>
                  </a:ext>
                </a:extLst>
              </p:cNvPr>
              <p:cNvSpPr>
                <a:spLocks/>
              </p:cNvSpPr>
              <p:nvPr/>
            </p:nvSpPr>
            <p:spPr bwMode="auto">
              <a:xfrm>
                <a:off x="5993" y="3781"/>
                <a:ext cx="5" cy="7"/>
              </a:xfrm>
              <a:custGeom>
                <a:avLst/>
                <a:gdLst>
                  <a:gd name="T0" fmla="*/ 2 w 2"/>
                  <a:gd name="T1" fmla="*/ 0 h 3"/>
                  <a:gd name="T2" fmla="*/ 1 w 2"/>
                  <a:gd name="T3" fmla="*/ 3 h 3"/>
                  <a:gd name="T4" fmla="*/ 2 w 2"/>
                  <a:gd name="T5" fmla="*/ 0 h 3"/>
                </a:gdLst>
                <a:ahLst/>
                <a:cxnLst>
                  <a:cxn ang="0">
                    <a:pos x="T0" y="T1"/>
                  </a:cxn>
                  <a:cxn ang="0">
                    <a:pos x="T2" y="T3"/>
                  </a:cxn>
                  <a:cxn ang="0">
                    <a:pos x="T4" y="T5"/>
                  </a:cxn>
                </a:cxnLst>
                <a:rect l="0" t="0" r="r" b="b"/>
                <a:pathLst>
                  <a:path w="2" h="3">
                    <a:moveTo>
                      <a:pt x="2" y="0"/>
                    </a:moveTo>
                    <a:cubicBezTo>
                      <a:pt x="0" y="0"/>
                      <a:pt x="0" y="1"/>
                      <a:pt x="1"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6" name="Freeform 99">
                <a:extLst>
                  <a:ext uri="{FF2B5EF4-FFF2-40B4-BE49-F238E27FC236}">
                    <a16:creationId xmlns:a16="http://schemas.microsoft.com/office/drawing/2014/main" id="{E3133AFC-4904-4060-8D8E-09367B673D16}"/>
                  </a:ext>
                </a:extLst>
              </p:cNvPr>
              <p:cNvSpPr>
                <a:spLocks/>
              </p:cNvSpPr>
              <p:nvPr/>
            </p:nvSpPr>
            <p:spPr bwMode="auto">
              <a:xfrm>
                <a:off x="6726" y="4247"/>
                <a:ext cx="19" cy="11"/>
              </a:xfrm>
              <a:custGeom>
                <a:avLst/>
                <a:gdLst>
                  <a:gd name="T0" fmla="*/ 3 w 8"/>
                  <a:gd name="T1" fmla="*/ 0 h 5"/>
                  <a:gd name="T2" fmla="*/ 4 w 8"/>
                  <a:gd name="T3" fmla="*/ 5 h 5"/>
                  <a:gd name="T4" fmla="*/ 4 w 8"/>
                  <a:gd name="T5" fmla="*/ 5 h 5"/>
                  <a:gd name="T6" fmla="*/ 3 w 8"/>
                  <a:gd name="T7" fmla="*/ 0 h 5"/>
                </a:gdLst>
                <a:ahLst/>
                <a:cxnLst>
                  <a:cxn ang="0">
                    <a:pos x="T0" y="T1"/>
                  </a:cxn>
                  <a:cxn ang="0">
                    <a:pos x="T2" y="T3"/>
                  </a:cxn>
                  <a:cxn ang="0">
                    <a:pos x="T4" y="T5"/>
                  </a:cxn>
                  <a:cxn ang="0">
                    <a:pos x="T6" y="T7"/>
                  </a:cxn>
                </a:cxnLst>
                <a:rect l="0" t="0" r="r" b="b"/>
                <a:pathLst>
                  <a:path w="8" h="5">
                    <a:moveTo>
                      <a:pt x="3" y="0"/>
                    </a:moveTo>
                    <a:cubicBezTo>
                      <a:pt x="0" y="0"/>
                      <a:pt x="1" y="5"/>
                      <a:pt x="4" y="5"/>
                    </a:cubicBezTo>
                    <a:cubicBezTo>
                      <a:pt x="4" y="5"/>
                      <a:pt x="4" y="5"/>
                      <a:pt x="4" y="5"/>
                    </a:cubicBezTo>
                    <a:cubicBezTo>
                      <a:pt x="8" y="5"/>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7" name="Freeform 100">
                <a:extLst>
                  <a:ext uri="{FF2B5EF4-FFF2-40B4-BE49-F238E27FC236}">
                    <a16:creationId xmlns:a16="http://schemas.microsoft.com/office/drawing/2014/main" id="{74F7C35A-604B-47FD-B142-B0E4F59AB5E0}"/>
                  </a:ext>
                </a:extLst>
              </p:cNvPr>
              <p:cNvSpPr>
                <a:spLocks/>
              </p:cNvSpPr>
              <p:nvPr/>
            </p:nvSpPr>
            <p:spPr bwMode="auto">
              <a:xfrm>
                <a:off x="6537" y="3967"/>
                <a:ext cx="9" cy="5"/>
              </a:xfrm>
              <a:custGeom>
                <a:avLst/>
                <a:gdLst>
                  <a:gd name="T0" fmla="*/ 4 w 4"/>
                  <a:gd name="T1" fmla="*/ 0 h 2"/>
                  <a:gd name="T2" fmla="*/ 0 w 4"/>
                  <a:gd name="T3" fmla="*/ 2 h 2"/>
                  <a:gd name="T4" fmla="*/ 4 w 4"/>
                  <a:gd name="T5" fmla="*/ 0 h 2"/>
                </a:gdLst>
                <a:ahLst/>
                <a:cxnLst>
                  <a:cxn ang="0">
                    <a:pos x="T0" y="T1"/>
                  </a:cxn>
                  <a:cxn ang="0">
                    <a:pos x="T2" y="T3"/>
                  </a:cxn>
                  <a:cxn ang="0">
                    <a:pos x="T4" y="T5"/>
                  </a:cxn>
                </a:cxnLst>
                <a:rect l="0" t="0" r="r" b="b"/>
                <a:pathLst>
                  <a:path w="4" h="2">
                    <a:moveTo>
                      <a:pt x="4" y="0"/>
                    </a:moveTo>
                    <a:cubicBezTo>
                      <a:pt x="3" y="0"/>
                      <a:pt x="1" y="1"/>
                      <a:pt x="0" y="2"/>
                    </a:cubicBezTo>
                    <a:cubicBezTo>
                      <a:pt x="2"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8" name="Freeform 101">
                <a:extLst>
                  <a:ext uri="{FF2B5EF4-FFF2-40B4-BE49-F238E27FC236}">
                    <a16:creationId xmlns:a16="http://schemas.microsoft.com/office/drawing/2014/main" id="{DC888712-F59E-40F2-BFE8-4ADA24C431BC}"/>
                  </a:ext>
                </a:extLst>
              </p:cNvPr>
              <p:cNvSpPr>
                <a:spLocks/>
              </p:cNvSpPr>
              <p:nvPr/>
            </p:nvSpPr>
            <p:spPr bwMode="auto">
              <a:xfrm>
                <a:off x="6605" y="4029"/>
                <a:ext cx="15" cy="9"/>
              </a:xfrm>
              <a:custGeom>
                <a:avLst/>
                <a:gdLst>
                  <a:gd name="T0" fmla="*/ 3 w 6"/>
                  <a:gd name="T1" fmla="*/ 0 h 4"/>
                  <a:gd name="T2" fmla="*/ 0 w 6"/>
                  <a:gd name="T3" fmla="*/ 3 h 4"/>
                  <a:gd name="T4" fmla="*/ 2 w 6"/>
                  <a:gd name="T5" fmla="*/ 4 h 4"/>
                  <a:gd name="T6" fmla="*/ 3 w 6"/>
                  <a:gd name="T7" fmla="*/ 4 h 4"/>
                  <a:gd name="T8" fmla="*/ 4 w 6"/>
                  <a:gd name="T9" fmla="*/ 4 h 4"/>
                  <a:gd name="T10" fmla="*/ 6 w 6"/>
                  <a:gd name="T11" fmla="*/ 3 h 4"/>
                  <a:gd name="T12" fmla="*/ 4 w 6"/>
                  <a:gd name="T13" fmla="*/ 0 h 4"/>
                  <a:gd name="T14" fmla="*/ 3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3" y="0"/>
                    </a:moveTo>
                    <a:cubicBezTo>
                      <a:pt x="2" y="0"/>
                      <a:pt x="1" y="2"/>
                      <a:pt x="0" y="3"/>
                    </a:cubicBezTo>
                    <a:cubicBezTo>
                      <a:pt x="1" y="4"/>
                      <a:pt x="2" y="4"/>
                      <a:pt x="2" y="4"/>
                    </a:cubicBezTo>
                    <a:cubicBezTo>
                      <a:pt x="3" y="4"/>
                      <a:pt x="3" y="4"/>
                      <a:pt x="3" y="4"/>
                    </a:cubicBezTo>
                    <a:cubicBezTo>
                      <a:pt x="3" y="4"/>
                      <a:pt x="4" y="4"/>
                      <a:pt x="4" y="4"/>
                    </a:cubicBezTo>
                    <a:cubicBezTo>
                      <a:pt x="4" y="4"/>
                      <a:pt x="5" y="3"/>
                      <a:pt x="6" y="3"/>
                    </a:cubicBezTo>
                    <a:cubicBezTo>
                      <a:pt x="5" y="2"/>
                      <a:pt x="4" y="1"/>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9" name="Freeform 102">
                <a:extLst>
                  <a:ext uri="{FF2B5EF4-FFF2-40B4-BE49-F238E27FC236}">
                    <a16:creationId xmlns:a16="http://schemas.microsoft.com/office/drawing/2014/main" id="{7C9EEB7E-9490-4F18-8486-21F67A86489F}"/>
                  </a:ext>
                </a:extLst>
              </p:cNvPr>
              <p:cNvSpPr>
                <a:spLocks/>
              </p:cNvSpPr>
              <p:nvPr/>
            </p:nvSpPr>
            <p:spPr bwMode="auto">
              <a:xfrm>
                <a:off x="6605" y="3998"/>
                <a:ext cx="5" cy="7"/>
              </a:xfrm>
              <a:custGeom>
                <a:avLst/>
                <a:gdLst>
                  <a:gd name="T0" fmla="*/ 1 w 2"/>
                  <a:gd name="T1" fmla="*/ 0 h 3"/>
                  <a:gd name="T2" fmla="*/ 2 w 2"/>
                  <a:gd name="T3" fmla="*/ 3 h 3"/>
                  <a:gd name="T4" fmla="*/ 1 w 2"/>
                  <a:gd name="T5" fmla="*/ 0 h 3"/>
                </a:gdLst>
                <a:ahLst/>
                <a:cxnLst>
                  <a:cxn ang="0">
                    <a:pos x="T0" y="T1"/>
                  </a:cxn>
                  <a:cxn ang="0">
                    <a:pos x="T2" y="T3"/>
                  </a:cxn>
                  <a:cxn ang="0">
                    <a:pos x="T4" y="T5"/>
                  </a:cxn>
                </a:cxnLst>
                <a:rect l="0" t="0" r="r" b="b"/>
                <a:pathLst>
                  <a:path w="2" h="3">
                    <a:moveTo>
                      <a:pt x="1" y="0"/>
                    </a:moveTo>
                    <a:cubicBezTo>
                      <a:pt x="0" y="1"/>
                      <a:pt x="1" y="2"/>
                      <a:pt x="2" y="3"/>
                    </a:cubicBezTo>
                    <a:cubicBezTo>
                      <a:pt x="2"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0" name="Freeform 103">
                <a:extLst>
                  <a:ext uri="{FF2B5EF4-FFF2-40B4-BE49-F238E27FC236}">
                    <a16:creationId xmlns:a16="http://schemas.microsoft.com/office/drawing/2014/main" id="{0EF6D37F-6D5F-4C06-BEA2-315A43D64E52}"/>
                  </a:ext>
                </a:extLst>
              </p:cNvPr>
              <p:cNvSpPr>
                <a:spLocks/>
              </p:cNvSpPr>
              <p:nvPr/>
            </p:nvSpPr>
            <p:spPr bwMode="auto">
              <a:xfrm>
                <a:off x="6442" y="3996"/>
                <a:ext cx="17" cy="5"/>
              </a:xfrm>
              <a:custGeom>
                <a:avLst/>
                <a:gdLst>
                  <a:gd name="T0" fmla="*/ 7 w 7"/>
                  <a:gd name="T1" fmla="*/ 0 h 2"/>
                  <a:gd name="T2" fmla="*/ 0 w 7"/>
                  <a:gd name="T3" fmla="*/ 2 h 2"/>
                  <a:gd name="T4" fmla="*/ 7 w 7"/>
                  <a:gd name="T5" fmla="*/ 0 h 2"/>
                </a:gdLst>
                <a:ahLst/>
                <a:cxnLst>
                  <a:cxn ang="0">
                    <a:pos x="T0" y="T1"/>
                  </a:cxn>
                  <a:cxn ang="0">
                    <a:pos x="T2" y="T3"/>
                  </a:cxn>
                  <a:cxn ang="0">
                    <a:pos x="T4" y="T5"/>
                  </a:cxn>
                </a:cxnLst>
                <a:rect l="0" t="0" r="r" b="b"/>
                <a:pathLst>
                  <a:path w="7" h="2">
                    <a:moveTo>
                      <a:pt x="7" y="0"/>
                    </a:moveTo>
                    <a:cubicBezTo>
                      <a:pt x="5" y="0"/>
                      <a:pt x="2" y="1"/>
                      <a:pt x="0" y="2"/>
                    </a:cubicBezTo>
                    <a:cubicBezTo>
                      <a:pt x="3" y="1"/>
                      <a:pt x="5" y="1"/>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1" name="Freeform 104">
                <a:extLst>
                  <a:ext uri="{FF2B5EF4-FFF2-40B4-BE49-F238E27FC236}">
                    <a16:creationId xmlns:a16="http://schemas.microsoft.com/office/drawing/2014/main" id="{49415994-E937-4EEB-A67F-F8EC2620B27B}"/>
                  </a:ext>
                </a:extLst>
              </p:cNvPr>
              <p:cNvSpPr>
                <a:spLocks/>
              </p:cNvSpPr>
              <p:nvPr/>
            </p:nvSpPr>
            <p:spPr bwMode="auto">
              <a:xfrm>
                <a:off x="6435" y="3960"/>
                <a:ext cx="10" cy="5"/>
              </a:xfrm>
              <a:custGeom>
                <a:avLst/>
                <a:gdLst>
                  <a:gd name="T0" fmla="*/ 0 w 4"/>
                  <a:gd name="T1" fmla="*/ 0 h 2"/>
                  <a:gd name="T2" fmla="*/ 3 w 4"/>
                  <a:gd name="T3" fmla="*/ 2 h 2"/>
                  <a:gd name="T4" fmla="*/ 4 w 4"/>
                  <a:gd name="T5" fmla="*/ 1 h 2"/>
                  <a:gd name="T6" fmla="*/ 0 w 4"/>
                  <a:gd name="T7" fmla="*/ 0 h 2"/>
                </a:gdLst>
                <a:ahLst/>
                <a:cxnLst>
                  <a:cxn ang="0">
                    <a:pos x="T0" y="T1"/>
                  </a:cxn>
                  <a:cxn ang="0">
                    <a:pos x="T2" y="T3"/>
                  </a:cxn>
                  <a:cxn ang="0">
                    <a:pos x="T4" y="T5"/>
                  </a:cxn>
                  <a:cxn ang="0">
                    <a:pos x="T6" y="T7"/>
                  </a:cxn>
                </a:cxnLst>
                <a:rect l="0" t="0" r="r" b="b"/>
                <a:pathLst>
                  <a:path w="4" h="2">
                    <a:moveTo>
                      <a:pt x="0" y="0"/>
                    </a:moveTo>
                    <a:cubicBezTo>
                      <a:pt x="1" y="1"/>
                      <a:pt x="2" y="2"/>
                      <a:pt x="3" y="2"/>
                    </a:cubicBezTo>
                    <a:cubicBezTo>
                      <a:pt x="4" y="2"/>
                      <a:pt x="4" y="1"/>
                      <a:pt x="4" y="1"/>
                    </a:cubicBezTo>
                    <a:cubicBezTo>
                      <a:pt x="3"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2" name="Freeform 105">
                <a:extLst>
                  <a:ext uri="{FF2B5EF4-FFF2-40B4-BE49-F238E27FC236}">
                    <a16:creationId xmlns:a16="http://schemas.microsoft.com/office/drawing/2014/main" id="{1DA83909-2412-4AF3-BA94-1C2C16844946}"/>
                  </a:ext>
                </a:extLst>
              </p:cNvPr>
              <p:cNvSpPr>
                <a:spLocks/>
              </p:cNvSpPr>
              <p:nvPr/>
            </p:nvSpPr>
            <p:spPr bwMode="auto">
              <a:xfrm>
                <a:off x="6454" y="3953"/>
                <a:ext cx="10" cy="7"/>
              </a:xfrm>
              <a:custGeom>
                <a:avLst/>
                <a:gdLst>
                  <a:gd name="T0" fmla="*/ 3 w 4"/>
                  <a:gd name="T1" fmla="*/ 0 h 3"/>
                  <a:gd name="T2" fmla="*/ 0 w 4"/>
                  <a:gd name="T3" fmla="*/ 3 h 3"/>
                  <a:gd name="T4" fmla="*/ 3 w 4"/>
                  <a:gd name="T5" fmla="*/ 0 h 3"/>
                </a:gdLst>
                <a:ahLst/>
                <a:cxnLst>
                  <a:cxn ang="0">
                    <a:pos x="T0" y="T1"/>
                  </a:cxn>
                  <a:cxn ang="0">
                    <a:pos x="T2" y="T3"/>
                  </a:cxn>
                  <a:cxn ang="0">
                    <a:pos x="T4" y="T5"/>
                  </a:cxn>
                </a:cxnLst>
                <a:rect l="0" t="0" r="r" b="b"/>
                <a:pathLst>
                  <a:path w="4" h="3">
                    <a:moveTo>
                      <a:pt x="3" y="0"/>
                    </a:moveTo>
                    <a:cubicBezTo>
                      <a:pt x="2" y="1"/>
                      <a:pt x="1" y="2"/>
                      <a:pt x="0" y="3"/>
                    </a:cubicBezTo>
                    <a:cubicBezTo>
                      <a:pt x="2"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3" name="Freeform 106">
                <a:extLst>
                  <a:ext uri="{FF2B5EF4-FFF2-40B4-BE49-F238E27FC236}">
                    <a16:creationId xmlns:a16="http://schemas.microsoft.com/office/drawing/2014/main" id="{EFBF9D14-9A21-48AE-B894-58153928843F}"/>
                  </a:ext>
                </a:extLst>
              </p:cNvPr>
              <p:cNvSpPr>
                <a:spLocks/>
              </p:cNvSpPr>
              <p:nvPr/>
            </p:nvSpPr>
            <p:spPr bwMode="auto">
              <a:xfrm>
                <a:off x="6641" y="4242"/>
                <a:ext cx="9" cy="14"/>
              </a:xfrm>
              <a:custGeom>
                <a:avLst/>
                <a:gdLst>
                  <a:gd name="T0" fmla="*/ 2 w 4"/>
                  <a:gd name="T1" fmla="*/ 0 h 6"/>
                  <a:gd name="T2" fmla="*/ 0 w 4"/>
                  <a:gd name="T3" fmla="*/ 3 h 6"/>
                  <a:gd name="T4" fmla="*/ 0 w 4"/>
                  <a:gd name="T5" fmla="*/ 4 h 6"/>
                  <a:gd name="T6" fmla="*/ 2 w 4"/>
                  <a:gd name="T7" fmla="*/ 6 h 6"/>
                  <a:gd name="T8" fmla="*/ 4 w 4"/>
                  <a:gd name="T9" fmla="*/ 3 h 6"/>
                  <a:gd name="T10" fmla="*/ 2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2" y="0"/>
                    </a:moveTo>
                    <a:cubicBezTo>
                      <a:pt x="1" y="0"/>
                      <a:pt x="0" y="1"/>
                      <a:pt x="0" y="3"/>
                    </a:cubicBezTo>
                    <a:cubicBezTo>
                      <a:pt x="0" y="3"/>
                      <a:pt x="0" y="4"/>
                      <a:pt x="0" y="4"/>
                    </a:cubicBezTo>
                    <a:cubicBezTo>
                      <a:pt x="1" y="5"/>
                      <a:pt x="1" y="6"/>
                      <a:pt x="2" y="6"/>
                    </a:cubicBezTo>
                    <a:cubicBezTo>
                      <a:pt x="3" y="6"/>
                      <a:pt x="3" y="4"/>
                      <a:pt x="4" y="3"/>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4" name="Freeform 107">
                <a:extLst>
                  <a:ext uri="{FF2B5EF4-FFF2-40B4-BE49-F238E27FC236}">
                    <a16:creationId xmlns:a16="http://schemas.microsoft.com/office/drawing/2014/main" id="{3EB48252-7709-4A59-8BC9-A5D22F02E2B4}"/>
                  </a:ext>
                </a:extLst>
              </p:cNvPr>
              <p:cNvSpPr>
                <a:spLocks/>
              </p:cNvSpPr>
              <p:nvPr/>
            </p:nvSpPr>
            <p:spPr bwMode="auto">
              <a:xfrm>
                <a:off x="1888" y="1185"/>
                <a:ext cx="54" cy="48"/>
              </a:xfrm>
              <a:custGeom>
                <a:avLst/>
                <a:gdLst>
                  <a:gd name="T0" fmla="*/ 19 w 23"/>
                  <a:gd name="T1" fmla="*/ 0 h 20"/>
                  <a:gd name="T2" fmla="*/ 12 w 23"/>
                  <a:gd name="T3" fmla="*/ 8 h 20"/>
                  <a:gd name="T4" fmla="*/ 7 w 23"/>
                  <a:gd name="T5" fmla="*/ 12 h 20"/>
                  <a:gd name="T6" fmla="*/ 0 w 23"/>
                  <a:gd name="T7" fmla="*/ 20 h 20"/>
                  <a:gd name="T8" fmla="*/ 13 w 23"/>
                  <a:gd name="T9" fmla="*/ 13 h 20"/>
                  <a:gd name="T10" fmla="*/ 20 w 23"/>
                  <a:gd name="T11" fmla="*/ 6 h 20"/>
                  <a:gd name="T12" fmla="*/ 23 w 23"/>
                  <a:gd name="T13" fmla="*/ 3 h 20"/>
                  <a:gd name="T14" fmla="*/ 19 w 23"/>
                  <a:gd name="T15" fmla="*/ 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0">
                    <a:moveTo>
                      <a:pt x="19" y="0"/>
                    </a:moveTo>
                    <a:cubicBezTo>
                      <a:pt x="15" y="0"/>
                      <a:pt x="14" y="6"/>
                      <a:pt x="12" y="8"/>
                    </a:cubicBezTo>
                    <a:cubicBezTo>
                      <a:pt x="11" y="10"/>
                      <a:pt x="9" y="11"/>
                      <a:pt x="7" y="12"/>
                    </a:cubicBezTo>
                    <a:cubicBezTo>
                      <a:pt x="5" y="14"/>
                      <a:pt x="0" y="17"/>
                      <a:pt x="0" y="20"/>
                    </a:cubicBezTo>
                    <a:cubicBezTo>
                      <a:pt x="4" y="18"/>
                      <a:pt x="8" y="16"/>
                      <a:pt x="13" y="13"/>
                    </a:cubicBezTo>
                    <a:cubicBezTo>
                      <a:pt x="15" y="9"/>
                      <a:pt x="17" y="8"/>
                      <a:pt x="20" y="6"/>
                    </a:cubicBezTo>
                    <a:cubicBezTo>
                      <a:pt x="20" y="5"/>
                      <a:pt x="23" y="4"/>
                      <a:pt x="23" y="3"/>
                    </a:cubicBezTo>
                    <a:cubicBezTo>
                      <a:pt x="23" y="1"/>
                      <a:pt x="18" y="2"/>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5" name="Freeform 108">
                <a:extLst>
                  <a:ext uri="{FF2B5EF4-FFF2-40B4-BE49-F238E27FC236}">
                    <a16:creationId xmlns:a16="http://schemas.microsoft.com/office/drawing/2014/main" id="{D95210A1-C15A-4497-90DA-B9E69A89F64A}"/>
                  </a:ext>
                </a:extLst>
              </p:cNvPr>
              <p:cNvSpPr>
                <a:spLocks/>
              </p:cNvSpPr>
              <p:nvPr/>
            </p:nvSpPr>
            <p:spPr bwMode="auto">
              <a:xfrm>
                <a:off x="2663" y="1524"/>
                <a:ext cx="27" cy="16"/>
              </a:xfrm>
              <a:custGeom>
                <a:avLst/>
                <a:gdLst>
                  <a:gd name="T0" fmla="*/ 8 w 11"/>
                  <a:gd name="T1" fmla="*/ 0 h 7"/>
                  <a:gd name="T2" fmla="*/ 0 w 11"/>
                  <a:gd name="T3" fmla="*/ 7 h 7"/>
                  <a:gd name="T4" fmla="*/ 7 w 11"/>
                  <a:gd name="T5" fmla="*/ 6 h 7"/>
                  <a:gd name="T6" fmla="*/ 11 w 11"/>
                  <a:gd name="T7" fmla="*/ 1 h 7"/>
                  <a:gd name="T8" fmla="*/ 8 w 11"/>
                  <a:gd name="T9" fmla="*/ 0 h 7"/>
                </a:gdLst>
                <a:ahLst/>
                <a:cxnLst>
                  <a:cxn ang="0">
                    <a:pos x="T0" y="T1"/>
                  </a:cxn>
                  <a:cxn ang="0">
                    <a:pos x="T2" y="T3"/>
                  </a:cxn>
                  <a:cxn ang="0">
                    <a:pos x="T4" y="T5"/>
                  </a:cxn>
                  <a:cxn ang="0">
                    <a:pos x="T6" y="T7"/>
                  </a:cxn>
                  <a:cxn ang="0">
                    <a:pos x="T8" y="T9"/>
                  </a:cxn>
                </a:cxnLst>
                <a:rect l="0" t="0" r="r" b="b"/>
                <a:pathLst>
                  <a:path w="11" h="7">
                    <a:moveTo>
                      <a:pt x="8" y="0"/>
                    </a:moveTo>
                    <a:cubicBezTo>
                      <a:pt x="4" y="0"/>
                      <a:pt x="0" y="3"/>
                      <a:pt x="0" y="7"/>
                    </a:cubicBezTo>
                    <a:cubicBezTo>
                      <a:pt x="2" y="7"/>
                      <a:pt x="5" y="6"/>
                      <a:pt x="7" y="6"/>
                    </a:cubicBezTo>
                    <a:cubicBezTo>
                      <a:pt x="11" y="5"/>
                      <a:pt x="11" y="4"/>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6" name="Freeform 109">
                <a:extLst>
                  <a:ext uri="{FF2B5EF4-FFF2-40B4-BE49-F238E27FC236}">
                    <a16:creationId xmlns:a16="http://schemas.microsoft.com/office/drawing/2014/main" id="{C4F0D509-07D8-42EA-A63F-25E018115E95}"/>
                  </a:ext>
                </a:extLst>
              </p:cNvPr>
              <p:cNvSpPr>
                <a:spLocks/>
              </p:cNvSpPr>
              <p:nvPr/>
            </p:nvSpPr>
            <p:spPr bwMode="auto">
              <a:xfrm>
                <a:off x="2517" y="1358"/>
                <a:ext cx="90" cy="62"/>
              </a:xfrm>
              <a:custGeom>
                <a:avLst/>
                <a:gdLst>
                  <a:gd name="T0" fmla="*/ 14 w 38"/>
                  <a:gd name="T1" fmla="*/ 0 h 26"/>
                  <a:gd name="T2" fmla="*/ 14 w 38"/>
                  <a:gd name="T3" fmla="*/ 0 h 26"/>
                  <a:gd name="T4" fmla="*/ 10 w 38"/>
                  <a:gd name="T5" fmla="*/ 3 h 26"/>
                  <a:gd name="T6" fmla="*/ 10 w 38"/>
                  <a:gd name="T7" fmla="*/ 3 h 26"/>
                  <a:gd name="T8" fmla="*/ 7 w 38"/>
                  <a:gd name="T9" fmla="*/ 2 h 26"/>
                  <a:gd name="T10" fmla="*/ 6 w 38"/>
                  <a:gd name="T11" fmla="*/ 4 h 26"/>
                  <a:gd name="T12" fmla="*/ 2 w 38"/>
                  <a:gd name="T13" fmla="*/ 2 h 26"/>
                  <a:gd name="T14" fmla="*/ 0 w 38"/>
                  <a:gd name="T15" fmla="*/ 5 h 26"/>
                  <a:gd name="T16" fmla="*/ 9 w 38"/>
                  <a:gd name="T17" fmla="*/ 14 h 26"/>
                  <a:gd name="T18" fmla="*/ 2 w 38"/>
                  <a:gd name="T19" fmla="*/ 10 h 26"/>
                  <a:gd name="T20" fmla="*/ 1 w 38"/>
                  <a:gd name="T21" fmla="*/ 15 h 26"/>
                  <a:gd name="T22" fmla="*/ 1 w 38"/>
                  <a:gd name="T23" fmla="*/ 14 h 26"/>
                  <a:gd name="T24" fmla="*/ 7 w 38"/>
                  <a:gd name="T25" fmla="*/ 19 h 26"/>
                  <a:gd name="T26" fmla="*/ 7 w 38"/>
                  <a:gd name="T27" fmla="*/ 21 h 26"/>
                  <a:gd name="T28" fmla="*/ 7 w 38"/>
                  <a:gd name="T29" fmla="*/ 21 h 26"/>
                  <a:gd name="T30" fmla="*/ 8 w 38"/>
                  <a:gd name="T31" fmla="*/ 21 h 26"/>
                  <a:gd name="T32" fmla="*/ 9 w 38"/>
                  <a:gd name="T33" fmla="*/ 23 h 26"/>
                  <a:gd name="T34" fmla="*/ 13 w 38"/>
                  <a:gd name="T35" fmla="*/ 26 h 26"/>
                  <a:gd name="T36" fmla="*/ 19 w 38"/>
                  <a:gd name="T37" fmla="*/ 26 h 26"/>
                  <a:gd name="T38" fmla="*/ 21 w 38"/>
                  <a:gd name="T39" fmla="*/ 26 h 26"/>
                  <a:gd name="T40" fmla="*/ 15 w 38"/>
                  <a:gd name="T41" fmla="*/ 17 h 26"/>
                  <a:gd name="T42" fmla="*/ 23 w 38"/>
                  <a:gd name="T43" fmla="*/ 21 h 26"/>
                  <a:gd name="T44" fmla="*/ 38 w 38"/>
                  <a:gd name="T45" fmla="*/ 25 h 26"/>
                  <a:gd name="T46" fmla="*/ 34 w 38"/>
                  <a:gd name="T47" fmla="*/ 17 h 26"/>
                  <a:gd name="T48" fmla="*/ 34 w 38"/>
                  <a:gd name="T49" fmla="*/ 17 h 26"/>
                  <a:gd name="T50" fmla="*/ 31 w 38"/>
                  <a:gd name="T51" fmla="*/ 17 h 26"/>
                  <a:gd name="T52" fmla="*/ 29 w 38"/>
                  <a:gd name="T53" fmla="*/ 18 h 26"/>
                  <a:gd name="T54" fmla="*/ 28 w 38"/>
                  <a:gd name="T55" fmla="*/ 18 h 26"/>
                  <a:gd name="T56" fmla="*/ 22 w 38"/>
                  <a:gd name="T57" fmla="*/ 13 h 26"/>
                  <a:gd name="T58" fmla="*/ 13 w 38"/>
                  <a:gd name="T59" fmla="*/ 9 h 26"/>
                  <a:gd name="T60" fmla="*/ 22 w 38"/>
                  <a:gd name="T61" fmla="*/ 13 h 26"/>
                  <a:gd name="T62" fmla="*/ 31 w 38"/>
                  <a:gd name="T63" fmla="*/ 16 h 26"/>
                  <a:gd name="T64" fmla="*/ 35 w 38"/>
                  <a:gd name="T65" fmla="*/ 15 h 26"/>
                  <a:gd name="T66" fmla="*/ 29 w 38"/>
                  <a:gd name="T67" fmla="*/ 11 h 26"/>
                  <a:gd name="T68" fmla="*/ 35 w 38"/>
                  <a:gd name="T69" fmla="*/ 14 h 26"/>
                  <a:gd name="T70" fmla="*/ 32 w 38"/>
                  <a:gd name="T71" fmla="*/ 6 h 26"/>
                  <a:gd name="T72" fmla="*/ 28 w 38"/>
                  <a:gd name="T73" fmla="*/ 5 h 26"/>
                  <a:gd name="T74" fmla="*/ 25 w 38"/>
                  <a:gd name="T75" fmla="*/ 4 h 26"/>
                  <a:gd name="T76" fmla="*/ 24 w 38"/>
                  <a:gd name="T77" fmla="*/ 4 h 26"/>
                  <a:gd name="T78" fmla="*/ 21 w 38"/>
                  <a:gd name="T79" fmla="*/ 8 h 26"/>
                  <a:gd name="T80" fmla="*/ 18 w 38"/>
                  <a:gd name="T81" fmla="*/ 10 h 26"/>
                  <a:gd name="T82" fmla="*/ 15 w 38"/>
                  <a:gd name="T83" fmla="*/ 9 h 26"/>
                  <a:gd name="T84" fmla="*/ 19 w 38"/>
                  <a:gd name="T85" fmla="*/ 8 h 26"/>
                  <a:gd name="T86" fmla="*/ 16 w 38"/>
                  <a:gd name="T87" fmla="*/ 7 h 26"/>
                  <a:gd name="T88" fmla="*/ 20 w 38"/>
                  <a:gd name="T89" fmla="*/ 2 h 26"/>
                  <a:gd name="T90" fmla="*/ 14 w 38"/>
                  <a:gd name="T9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 h="26">
                    <a:moveTo>
                      <a:pt x="14" y="0"/>
                    </a:moveTo>
                    <a:cubicBezTo>
                      <a:pt x="14" y="0"/>
                      <a:pt x="14" y="0"/>
                      <a:pt x="14" y="0"/>
                    </a:cubicBezTo>
                    <a:cubicBezTo>
                      <a:pt x="12" y="0"/>
                      <a:pt x="12" y="3"/>
                      <a:pt x="10" y="3"/>
                    </a:cubicBezTo>
                    <a:cubicBezTo>
                      <a:pt x="10" y="3"/>
                      <a:pt x="10" y="3"/>
                      <a:pt x="10" y="3"/>
                    </a:cubicBezTo>
                    <a:cubicBezTo>
                      <a:pt x="9" y="3"/>
                      <a:pt x="8" y="2"/>
                      <a:pt x="7" y="2"/>
                    </a:cubicBezTo>
                    <a:cubicBezTo>
                      <a:pt x="6" y="2"/>
                      <a:pt x="6" y="2"/>
                      <a:pt x="6" y="4"/>
                    </a:cubicBezTo>
                    <a:cubicBezTo>
                      <a:pt x="5" y="3"/>
                      <a:pt x="3" y="2"/>
                      <a:pt x="2" y="2"/>
                    </a:cubicBezTo>
                    <a:cubicBezTo>
                      <a:pt x="4" y="4"/>
                      <a:pt x="4" y="5"/>
                      <a:pt x="0" y="5"/>
                    </a:cubicBezTo>
                    <a:cubicBezTo>
                      <a:pt x="2" y="8"/>
                      <a:pt x="7" y="11"/>
                      <a:pt x="9" y="14"/>
                    </a:cubicBezTo>
                    <a:cubicBezTo>
                      <a:pt x="7" y="13"/>
                      <a:pt x="5" y="10"/>
                      <a:pt x="2" y="10"/>
                    </a:cubicBezTo>
                    <a:cubicBezTo>
                      <a:pt x="2" y="11"/>
                      <a:pt x="1" y="13"/>
                      <a:pt x="1" y="15"/>
                    </a:cubicBezTo>
                    <a:cubicBezTo>
                      <a:pt x="1" y="15"/>
                      <a:pt x="1" y="14"/>
                      <a:pt x="1" y="14"/>
                    </a:cubicBezTo>
                    <a:cubicBezTo>
                      <a:pt x="3" y="14"/>
                      <a:pt x="7" y="18"/>
                      <a:pt x="7" y="19"/>
                    </a:cubicBezTo>
                    <a:cubicBezTo>
                      <a:pt x="8" y="20"/>
                      <a:pt x="7" y="20"/>
                      <a:pt x="7" y="21"/>
                    </a:cubicBezTo>
                    <a:cubicBezTo>
                      <a:pt x="7" y="21"/>
                      <a:pt x="7" y="21"/>
                      <a:pt x="7" y="21"/>
                    </a:cubicBezTo>
                    <a:cubicBezTo>
                      <a:pt x="8" y="21"/>
                      <a:pt x="8" y="21"/>
                      <a:pt x="8" y="21"/>
                    </a:cubicBezTo>
                    <a:cubicBezTo>
                      <a:pt x="8" y="21"/>
                      <a:pt x="9" y="22"/>
                      <a:pt x="9" y="23"/>
                    </a:cubicBezTo>
                    <a:cubicBezTo>
                      <a:pt x="11" y="24"/>
                      <a:pt x="12" y="24"/>
                      <a:pt x="13" y="26"/>
                    </a:cubicBezTo>
                    <a:cubicBezTo>
                      <a:pt x="15" y="26"/>
                      <a:pt x="17" y="26"/>
                      <a:pt x="19" y="26"/>
                    </a:cubicBezTo>
                    <a:cubicBezTo>
                      <a:pt x="20" y="26"/>
                      <a:pt x="20" y="26"/>
                      <a:pt x="21" y="26"/>
                    </a:cubicBezTo>
                    <a:cubicBezTo>
                      <a:pt x="20" y="21"/>
                      <a:pt x="17" y="21"/>
                      <a:pt x="15" y="17"/>
                    </a:cubicBezTo>
                    <a:cubicBezTo>
                      <a:pt x="18" y="17"/>
                      <a:pt x="20" y="19"/>
                      <a:pt x="23" y="21"/>
                    </a:cubicBezTo>
                    <a:cubicBezTo>
                      <a:pt x="27" y="23"/>
                      <a:pt x="32" y="25"/>
                      <a:pt x="38" y="25"/>
                    </a:cubicBezTo>
                    <a:cubicBezTo>
                      <a:pt x="37" y="23"/>
                      <a:pt x="37" y="17"/>
                      <a:pt x="34" y="17"/>
                    </a:cubicBezTo>
                    <a:cubicBezTo>
                      <a:pt x="34" y="17"/>
                      <a:pt x="34" y="17"/>
                      <a:pt x="34" y="17"/>
                    </a:cubicBezTo>
                    <a:cubicBezTo>
                      <a:pt x="33" y="17"/>
                      <a:pt x="32" y="17"/>
                      <a:pt x="31" y="17"/>
                    </a:cubicBezTo>
                    <a:cubicBezTo>
                      <a:pt x="30" y="18"/>
                      <a:pt x="29" y="18"/>
                      <a:pt x="29" y="18"/>
                    </a:cubicBezTo>
                    <a:cubicBezTo>
                      <a:pt x="28" y="18"/>
                      <a:pt x="28" y="18"/>
                      <a:pt x="28" y="18"/>
                    </a:cubicBezTo>
                    <a:cubicBezTo>
                      <a:pt x="26" y="17"/>
                      <a:pt x="24" y="15"/>
                      <a:pt x="22" y="13"/>
                    </a:cubicBezTo>
                    <a:cubicBezTo>
                      <a:pt x="19" y="12"/>
                      <a:pt x="15" y="11"/>
                      <a:pt x="13" y="9"/>
                    </a:cubicBezTo>
                    <a:cubicBezTo>
                      <a:pt x="16" y="10"/>
                      <a:pt x="19" y="12"/>
                      <a:pt x="22" y="13"/>
                    </a:cubicBezTo>
                    <a:cubicBezTo>
                      <a:pt x="25" y="14"/>
                      <a:pt x="28" y="16"/>
                      <a:pt x="31" y="16"/>
                    </a:cubicBezTo>
                    <a:cubicBezTo>
                      <a:pt x="32" y="16"/>
                      <a:pt x="33" y="15"/>
                      <a:pt x="35" y="15"/>
                    </a:cubicBezTo>
                    <a:cubicBezTo>
                      <a:pt x="33" y="14"/>
                      <a:pt x="30" y="12"/>
                      <a:pt x="29" y="11"/>
                    </a:cubicBezTo>
                    <a:cubicBezTo>
                      <a:pt x="31" y="12"/>
                      <a:pt x="33" y="13"/>
                      <a:pt x="35" y="14"/>
                    </a:cubicBezTo>
                    <a:cubicBezTo>
                      <a:pt x="33" y="10"/>
                      <a:pt x="37" y="7"/>
                      <a:pt x="32" y="6"/>
                    </a:cubicBezTo>
                    <a:cubicBezTo>
                      <a:pt x="30" y="5"/>
                      <a:pt x="29" y="6"/>
                      <a:pt x="28" y="5"/>
                    </a:cubicBezTo>
                    <a:cubicBezTo>
                      <a:pt x="27" y="5"/>
                      <a:pt x="26" y="4"/>
                      <a:pt x="25" y="4"/>
                    </a:cubicBezTo>
                    <a:cubicBezTo>
                      <a:pt x="25" y="4"/>
                      <a:pt x="25" y="4"/>
                      <a:pt x="24" y="4"/>
                    </a:cubicBezTo>
                    <a:cubicBezTo>
                      <a:pt x="24" y="4"/>
                      <a:pt x="22" y="7"/>
                      <a:pt x="21" y="8"/>
                    </a:cubicBezTo>
                    <a:cubicBezTo>
                      <a:pt x="20" y="9"/>
                      <a:pt x="19" y="10"/>
                      <a:pt x="18" y="10"/>
                    </a:cubicBezTo>
                    <a:cubicBezTo>
                      <a:pt x="18" y="10"/>
                      <a:pt x="17" y="9"/>
                      <a:pt x="15" y="9"/>
                    </a:cubicBezTo>
                    <a:cubicBezTo>
                      <a:pt x="16" y="8"/>
                      <a:pt x="18" y="8"/>
                      <a:pt x="19" y="8"/>
                    </a:cubicBezTo>
                    <a:cubicBezTo>
                      <a:pt x="18" y="8"/>
                      <a:pt x="17" y="7"/>
                      <a:pt x="16" y="7"/>
                    </a:cubicBezTo>
                    <a:cubicBezTo>
                      <a:pt x="18" y="7"/>
                      <a:pt x="24" y="4"/>
                      <a:pt x="20" y="2"/>
                    </a:cubicBezTo>
                    <a:cubicBezTo>
                      <a:pt x="19" y="1"/>
                      <a:pt x="16"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7" name="Freeform 110">
                <a:extLst>
                  <a:ext uri="{FF2B5EF4-FFF2-40B4-BE49-F238E27FC236}">
                    <a16:creationId xmlns:a16="http://schemas.microsoft.com/office/drawing/2014/main" id="{9E414780-43B5-4676-BA88-2FD8635B9857}"/>
                  </a:ext>
                </a:extLst>
              </p:cNvPr>
              <p:cNvSpPr>
                <a:spLocks/>
              </p:cNvSpPr>
              <p:nvPr/>
            </p:nvSpPr>
            <p:spPr bwMode="auto">
              <a:xfrm>
                <a:off x="1595" y="1339"/>
                <a:ext cx="71" cy="40"/>
              </a:xfrm>
              <a:custGeom>
                <a:avLst/>
                <a:gdLst>
                  <a:gd name="T0" fmla="*/ 15 w 30"/>
                  <a:gd name="T1" fmla="*/ 0 h 17"/>
                  <a:gd name="T2" fmla="*/ 14 w 30"/>
                  <a:gd name="T3" fmla="*/ 0 h 17"/>
                  <a:gd name="T4" fmla="*/ 9 w 30"/>
                  <a:gd name="T5" fmla="*/ 3 h 17"/>
                  <a:gd name="T6" fmla="*/ 11 w 30"/>
                  <a:gd name="T7" fmla="*/ 5 h 17"/>
                  <a:gd name="T8" fmla="*/ 12 w 30"/>
                  <a:gd name="T9" fmla="*/ 7 h 17"/>
                  <a:gd name="T10" fmla="*/ 6 w 30"/>
                  <a:gd name="T11" fmla="*/ 6 h 17"/>
                  <a:gd name="T12" fmla="*/ 6 w 30"/>
                  <a:gd name="T13" fmla="*/ 6 h 17"/>
                  <a:gd name="T14" fmla="*/ 8 w 30"/>
                  <a:gd name="T15" fmla="*/ 11 h 17"/>
                  <a:gd name="T16" fmla="*/ 4 w 30"/>
                  <a:gd name="T17" fmla="*/ 10 h 17"/>
                  <a:gd name="T18" fmla="*/ 2 w 30"/>
                  <a:gd name="T19" fmla="*/ 13 h 17"/>
                  <a:gd name="T20" fmla="*/ 3 w 30"/>
                  <a:gd name="T21" fmla="*/ 13 h 17"/>
                  <a:gd name="T22" fmla="*/ 3 w 30"/>
                  <a:gd name="T23" fmla="*/ 13 h 17"/>
                  <a:gd name="T24" fmla="*/ 4 w 30"/>
                  <a:gd name="T25" fmla="*/ 13 h 17"/>
                  <a:gd name="T26" fmla="*/ 4 w 30"/>
                  <a:gd name="T27" fmla="*/ 13 h 17"/>
                  <a:gd name="T28" fmla="*/ 5 w 30"/>
                  <a:gd name="T29" fmla="*/ 15 h 17"/>
                  <a:gd name="T30" fmla="*/ 9 w 30"/>
                  <a:gd name="T31" fmla="*/ 17 h 17"/>
                  <a:gd name="T32" fmla="*/ 16 w 30"/>
                  <a:gd name="T33" fmla="*/ 10 h 17"/>
                  <a:gd name="T34" fmla="*/ 21 w 30"/>
                  <a:gd name="T35" fmla="*/ 12 h 17"/>
                  <a:gd name="T36" fmla="*/ 22 w 30"/>
                  <a:gd name="T37" fmla="*/ 12 h 17"/>
                  <a:gd name="T38" fmla="*/ 23 w 30"/>
                  <a:gd name="T39" fmla="*/ 8 h 17"/>
                  <a:gd name="T40" fmla="*/ 27 w 30"/>
                  <a:gd name="T41" fmla="*/ 11 h 17"/>
                  <a:gd name="T42" fmla="*/ 29 w 30"/>
                  <a:gd name="T43" fmla="*/ 8 h 17"/>
                  <a:gd name="T44" fmla="*/ 30 w 30"/>
                  <a:gd name="T45" fmla="*/ 5 h 17"/>
                  <a:gd name="T46" fmla="*/ 27 w 30"/>
                  <a:gd name="T47" fmla="*/ 8 h 17"/>
                  <a:gd name="T48" fmla="*/ 26 w 30"/>
                  <a:gd name="T49" fmla="*/ 4 h 17"/>
                  <a:gd name="T50" fmla="*/ 25 w 30"/>
                  <a:gd name="T51" fmla="*/ 4 h 17"/>
                  <a:gd name="T52" fmla="*/ 25 w 30"/>
                  <a:gd name="T53" fmla="*/ 4 h 17"/>
                  <a:gd name="T54" fmla="*/ 24 w 30"/>
                  <a:gd name="T55" fmla="*/ 4 h 17"/>
                  <a:gd name="T56" fmla="*/ 23 w 30"/>
                  <a:gd name="T57" fmla="*/ 3 h 17"/>
                  <a:gd name="T58" fmla="*/ 22 w 30"/>
                  <a:gd name="T59" fmla="*/ 2 h 17"/>
                  <a:gd name="T60" fmla="*/ 20 w 30"/>
                  <a:gd name="T61" fmla="*/ 6 h 17"/>
                  <a:gd name="T62" fmla="*/ 15 w 30"/>
                  <a:gd name="T6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 h="17">
                    <a:moveTo>
                      <a:pt x="15" y="0"/>
                    </a:moveTo>
                    <a:cubicBezTo>
                      <a:pt x="15" y="0"/>
                      <a:pt x="14" y="0"/>
                      <a:pt x="14" y="0"/>
                    </a:cubicBezTo>
                    <a:cubicBezTo>
                      <a:pt x="12" y="1"/>
                      <a:pt x="11" y="3"/>
                      <a:pt x="9" y="3"/>
                    </a:cubicBezTo>
                    <a:cubicBezTo>
                      <a:pt x="10" y="3"/>
                      <a:pt x="11" y="4"/>
                      <a:pt x="11" y="5"/>
                    </a:cubicBezTo>
                    <a:cubicBezTo>
                      <a:pt x="11" y="5"/>
                      <a:pt x="11" y="6"/>
                      <a:pt x="12" y="7"/>
                    </a:cubicBezTo>
                    <a:cubicBezTo>
                      <a:pt x="11" y="7"/>
                      <a:pt x="7" y="6"/>
                      <a:pt x="6" y="6"/>
                    </a:cubicBezTo>
                    <a:cubicBezTo>
                      <a:pt x="6" y="6"/>
                      <a:pt x="6" y="6"/>
                      <a:pt x="6" y="6"/>
                    </a:cubicBezTo>
                    <a:cubicBezTo>
                      <a:pt x="1" y="7"/>
                      <a:pt x="6" y="9"/>
                      <a:pt x="8" y="11"/>
                    </a:cubicBezTo>
                    <a:cubicBezTo>
                      <a:pt x="7" y="11"/>
                      <a:pt x="5" y="10"/>
                      <a:pt x="4" y="10"/>
                    </a:cubicBezTo>
                    <a:cubicBezTo>
                      <a:pt x="1" y="10"/>
                      <a:pt x="0" y="11"/>
                      <a:pt x="2" y="13"/>
                    </a:cubicBezTo>
                    <a:cubicBezTo>
                      <a:pt x="3" y="13"/>
                      <a:pt x="3" y="13"/>
                      <a:pt x="3" y="13"/>
                    </a:cubicBezTo>
                    <a:cubicBezTo>
                      <a:pt x="3" y="13"/>
                      <a:pt x="3" y="13"/>
                      <a:pt x="3" y="13"/>
                    </a:cubicBezTo>
                    <a:cubicBezTo>
                      <a:pt x="3" y="13"/>
                      <a:pt x="4" y="13"/>
                      <a:pt x="4" y="13"/>
                    </a:cubicBezTo>
                    <a:cubicBezTo>
                      <a:pt x="4" y="13"/>
                      <a:pt x="4" y="13"/>
                      <a:pt x="4" y="13"/>
                    </a:cubicBezTo>
                    <a:cubicBezTo>
                      <a:pt x="5" y="13"/>
                      <a:pt x="4" y="14"/>
                      <a:pt x="5" y="15"/>
                    </a:cubicBezTo>
                    <a:cubicBezTo>
                      <a:pt x="6" y="15"/>
                      <a:pt x="8" y="16"/>
                      <a:pt x="9" y="17"/>
                    </a:cubicBezTo>
                    <a:cubicBezTo>
                      <a:pt x="12" y="15"/>
                      <a:pt x="14" y="12"/>
                      <a:pt x="16" y="10"/>
                    </a:cubicBezTo>
                    <a:cubicBezTo>
                      <a:pt x="17" y="11"/>
                      <a:pt x="20" y="12"/>
                      <a:pt x="21" y="12"/>
                    </a:cubicBezTo>
                    <a:cubicBezTo>
                      <a:pt x="22" y="12"/>
                      <a:pt x="22" y="12"/>
                      <a:pt x="22" y="12"/>
                    </a:cubicBezTo>
                    <a:cubicBezTo>
                      <a:pt x="23" y="12"/>
                      <a:pt x="23" y="9"/>
                      <a:pt x="23" y="8"/>
                    </a:cubicBezTo>
                    <a:cubicBezTo>
                      <a:pt x="24" y="10"/>
                      <a:pt x="25" y="11"/>
                      <a:pt x="27" y="11"/>
                    </a:cubicBezTo>
                    <a:cubicBezTo>
                      <a:pt x="27" y="11"/>
                      <a:pt x="28" y="10"/>
                      <a:pt x="29" y="8"/>
                    </a:cubicBezTo>
                    <a:cubicBezTo>
                      <a:pt x="30" y="6"/>
                      <a:pt x="30" y="5"/>
                      <a:pt x="30" y="5"/>
                    </a:cubicBezTo>
                    <a:cubicBezTo>
                      <a:pt x="29" y="5"/>
                      <a:pt x="28" y="7"/>
                      <a:pt x="27" y="8"/>
                    </a:cubicBezTo>
                    <a:cubicBezTo>
                      <a:pt x="26" y="5"/>
                      <a:pt x="28" y="5"/>
                      <a:pt x="26" y="4"/>
                    </a:cubicBezTo>
                    <a:cubicBezTo>
                      <a:pt x="26" y="4"/>
                      <a:pt x="26" y="4"/>
                      <a:pt x="25" y="4"/>
                    </a:cubicBezTo>
                    <a:cubicBezTo>
                      <a:pt x="25" y="4"/>
                      <a:pt x="25" y="4"/>
                      <a:pt x="25" y="4"/>
                    </a:cubicBezTo>
                    <a:cubicBezTo>
                      <a:pt x="25" y="4"/>
                      <a:pt x="25" y="4"/>
                      <a:pt x="24" y="4"/>
                    </a:cubicBezTo>
                    <a:cubicBezTo>
                      <a:pt x="24" y="4"/>
                      <a:pt x="24" y="4"/>
                      <a:pt x="23" y="3"/>
                    </a:cubicBezTo>
                    <a:cubicBezTo>
                      <a:pt x="23" y="2"/>
                      <a:pt x="22" y="2"/>
                      <a:pt x="22" y="2"/>
                    </a:cubicBezTo>
                    <a:cubicBezTo>
                      <a:pt x="21" y="2"/>
                      <a:pt x="20" y="6"/>
                      <a:pt x="20" y="6"/>
                    </a:cubicBezTo>
                    <a:cubicBezTo>
                      <a:pt x="20" y="6"/>
                      <a:pt x="17"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8" name="Freeform 111">
                <a:extLst>
                  <a:ext uri="{FF2B5EF4-FFF2-40B4-BE49-F238E27FC236}">
                    <a16:creationId xmlns:a16="http://schemas.microsoft.com/office/drawing/2014/main" id="{B0F966D4-FE01-4995-9733-10FC1B1963F6}"/>
                  </a:ext>
                </a:extLst>
              </p:cNvPr>
              <p:cNvSpPr>
                <a:spLocks/>
              </p:cNvSpPr>
              <p:nvPr/>
            </p:nvSpPr>
            <p:spPr bwMode="auto">
              <a:xfrm>
                <a:off x="2550" y="1431"/>
                <a:ext cx="19" cy="26"/>
              </a:xfrm>
              <a:custGeom>
                <a:avLst/>
                <a:gdLst>
                  <a:gd name="T0" fmla="*/ 1 w 8"/>
                  <a:gd name="T1" fmla="*/ 0 h 11"/>
                  <a:gd name="T2" fmla="*/ 0 w 8"/>
                  <a:gd name="T3" fmla="*/ 2 h 11"/>
                  <a:gd name="T4" fmla="*/ 2 w 8"/>
                  <a:gd name="T5" fmla="*/ 6 h 11"/>
                  <a:gd name="T6" fmla="*/ 0 w 8"/>
                  <a:gd name="T7" fmla="*/ 10 h 11"/>
                  <a:gd name="T8" fmla="*/ 2 w 8"/>
                  <a:gd name="T9" fmla="*/ 11 h 11"/>
                  <a:gd name="T10" fmla="*/ 4 w 8"/>
                  <a:gd name="T11" fmla="*/ 11 h 11"/>
                  <a:gd name="T12" fmla="*/ 3 w 8"/>
                  <a:gd name="T13" fmla="*/ 0 h 11"/>
                  <a:gd name="T14" fmla="*/ 1 w 8"/>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1">
                    <a:moveTo>
                      <a:pt x="1" y="0"/>
                    </a:moveTo>
                    <a:cubicBezTo>
                      <a:pt x="0" y="0"/>
                      <a:pt x="0" y="1"/>
                      <a:pt x="0" y="2"/>
                    </a:cubicBezTo>
                    <a:cubicBezTo>
                      <a:pt x="0" y="4"/>
                      <a:pt x="0" y="5"/>
                      <a:pt x="2" y="6"/>
                    </a:cubicBezTo>
                    <a:cubicBezTo>
                      <a:pt x="3" y="7"/>
                      <a:pt x="0" y="8"/>
                      <a:pt x="0" y="10"/>
                    </a:cubicBezTo>
                    <a:cubicBezTo>
                      <a:pt x="0" y="11"/>
                      <a:pt x="1" y="11"/>
                      <a:pt x="2" y="11"/>
                    </a:cubicBezTo>
                    <a:cubicBezTo>
                      <a:pt x="3" y="11"/>
                      <a:pt x="4" y="11"/>
                      <a:pt x="4" y="11"/>
                    </a:cubicBezTo>
                    <a:cubicBezTo>
                      <a:pt x="8" y="9"/>
                      <a:pt x="5" y="3"/>
                      <a:pt x="3"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9" name="Freeform 112">
                <a:extLst>
                  <a:ext uri="{FF2B5EF4-FFF2-40B4-BE49-F238E27FC236}">
                    <a16:creationId xmlns:a16="http://schemas.microsoft.com/office/drawing/2014/main" id="{1AE9CAAA-B5BD-4A75-B8EA-58CB50BA21C9}"/>
                  </a:ext>
                </a:extLst>
              </p:cNvPr>
              <p:cNvSpPr>
                <a:spLocks/>
              </p:cNvSpPr>
              <p:nvPr/>
            </p:nvSpPr>
            <p:spPr bwMode="auto">
              <a:xfrm>
                <a:off x="1510" y="1379"/>
                <a:ext cx="146" cy="100"/>
              </a:xfrm>
              <a:custGeom>
                <a:avLst/>
                <a:gdLst>
                  <a:gd name="T0" fmla="*/ 35 w 62"/>
                  <a:gd name="T1" fmla="*/ 0 h 42"/>
                  <a:gd name="T2" fmla="*/ 36 w 62"/>
                  <a:gd name="T3" fmla="*/ 3 h 42"/>
                  <a:gd name="T4" fmla="*/ 33 w 62"/>
                  <a:gd name="T5" fmla="*/ 6 h 42"/>
                  <a:gd name="T6" fmla="*/ 34 w 62"/>
                  <a:gd name="T7" fmla="*/ 9 h 42"/>
                  <a:gd name="T8" fmla="*/ 33 w 62"/>
                  <a:gd name="T9" fmla="*/ 9 h 42"/>
                  <a:gd name="T10" fmla="*/ 32 w 62"/>
                  <a:gd name="T11" fmla="*/ 9 h 42"/>
                  <a:gd name="T12" fmla="*/ 29 w 62"/>
                  <a:gd name="T13" fmla="*/ 5 h 42"/>
                  <a:gd name="T14" fmla="*/ 20 w 62"/>
                  <a:gd name="T15" fmla="*/ 7 h 42"/>
                  <a:gd name="T16" fmla="*/ 23 w 62"/>
                  <a:gd name="T17" fmla="*/ 11 h 42"/>
                  <a:gd name="T18" fmla="*/ 26 w 62"/>
                  <a:gd name="T19" fmla="*/ 15 h 42"/>
                  <a:gd name="T20" fmla="*/ 22 w 62"/>
                  <a:gd name="T21" fmla="*/ 14 h 42"/>
                  <a:gd name="T22" fmla="*/ 16 w 62"/>
                  <a:gd name="T23" fmla="*/ 15 h 42"/>
                  <a:gd name="T24" fmla="*/ 12 w 62"/>
                  <a:gd name="T25" fmla="*/ 11 h 42"/>
                  <a:gd name="T26" fmla="*/ 9 w 62"/>
                  <a:gd name="T27" fmla="*/ 14 h 42"/>
                  <a:gd name="T28" fmla="*/ 5 w 62"/>
                  <a:gd name="T29" fmla="*/ 15 h 42"/>
                  <a:gd name="T30" fmla="*/ 0 w 62"/>
                  <a:gd name="T31" fmla="*/ 22 h 42"/>
                  <a:gd name="T32" fmla="*/ 6 w 62"/>
                  <a:gd name="T33" fmla="*/ 30 h 42"/>
                  <a:gd name="T34" fmla="*/ 12 w 62"/>
                  <a:gd name="T35" fmla="*/ 38 h 42"/>
                  <a:gd name="T36" fmla="*/ 15 w 62"/>
                  <a:gd name="T37" fmla="*/ 33 h 42"/>
                  <a:gd name="T38" fmla="*/ 13 w 62"/>
                  <a:gd name="T39" fmla="*/ 28 h 42"/>
                  <a:gd name="T40" fmla="*/ 19 w 62"/>
                  <a:gd name="T41" fmla="*/ 29 h 42"/>
                  <a:gd name="T42" fmla="*/ 16 w 62"/>
                  <a:gd name="T43" fmla="*/ 34 h 42"/>
                  <a:gd name="T44" fmla="*/ 16 w 62"/>
                  <a:gd name="T45" fmla="*/ 42 h 42"/>
                  <a:gd name="T46" fmla="*/ 18 w 62"/>
                  <a:gd name="T47" fmla="*/ 41 h 42"/>
                  <a:gd name="T48" fmla="*/ 20 w 62"/>
                  <a:gd name="T49" fmla="*/ 41 h 42"/>
                  <a:gd name="T50" fmla="*/ 26 w 62"/>
                  <a:gd name="T51" fmla="*/ 35 h 42"/>
                  <a:gd name="T52" fmla="*/ 29 w 62"/>
                  <a:gd name="T53" fmla="*/ 30 h 42"/>
                  <a:gd name="T54" fmla="*/ 33 w 62"/>
                  <a:gd name="T55" fmla="*/ 28 h 42"/>
                  <a:gd name="T56" fmla="*/ 43 w 62"/>
                  <a:gd name="T57" fmla="*/ 24 h 42"/>
                  <a:gd name="T58" fmla="*/ 45 w 62"/>
                  <a:gd name="T59" fmla="*/ 23 h 42"/>
                  <a:gd name="T60" fmla="*/ 43 w 62"/>
                  <a:gd name="T61" fmla="*/ 16 h 42"/>
                  <a:gd name="T62" fmla="*/ 57 w 62"/>
                  <a:gd name="T63" fmla="*/ 17 h 42"/>
                  <a:gd name="T64" fmla="*/ 61 w 62"/>
                  <a:gd name="T65" fmla="*/ 12 h 42"/>
                  <a:gd name="T66" fmla="*/ 59 w 62"/>
                  <a:gd name="T67" fmla="*/ 12 h 42"/>
                  <a:gd name="T68" fmla="*/ 58 w 62"/>
                  <a:gd name="T69" fmla="*/ 12 h 42"/>
                  <a:gd name="T70" fmla="*/ 56 w 62"/>
                  <a:gd name="T71" fmla="*/ 10 h 42"/>
                  <a:gd name="T72" fmla="*/ 57 w 62"/>
                  <a:gd name="T73" fmla="*/ 5 h 42"/>
                  <a:gd name="T74" fmla="*/ 56 w 62"/>
                  <a:gd name="T75" fmla="*/ 5 h 42"/>
                  <a:gd name="T76" fmla="*/ 55 w 62"/>
                  <a:gd name="T77" fmla="*/ 5 h 42"/>
                  <a:gd name="T78" fmla="*/ 51 w 62"/>
                  <a:gd name="T79" fmla="*/ 4 h 42"/>
                  <a:gd name="T80" fmla="*/ 49 w 62"/>
                  <a:gd name="T81" fmla="*/ 4 h 42"/>
                  <a:gd name="T82" fmla="*/ 47 w 62"/>
                  <a:gd name="T83" fmla="*/ 4 h 42"/>
                  <a:gd name="T84" fmla="*/ 43 w 62"/>
                  <a:gd name="T85" fmla="*/ 2 h 42"/>
                  <a:gd name="T86" fmla="*/ 42 w 62"/>
                  <a:gd name="T87" fmla="*/ 2 h 42"/>
                  <a:gd name="T88" fmla="*/ 35 w 62"/>
                  <a:gd name="T8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 h="42">
                    <a:moveTo>
                      <a:pt x="35" y="0"/>
                    </a:moveTo>
                    <a:cubicBezTo>
                      <a:pt x="35" y="0"/>
                      <a:pt x="35" y="0"/>
                      <a:pt x="35" y="0"/>
                    </a:cubicBezTo>
                    <a:cubicBezTo>
                      <a:pt x="35" y="0"/>
                      <a:pt x="40" y="4"/>
                      <a:pt x="40" y="5"/>
                    </a:cubicBezTo>
                    <a:cubicBezTo>
                      <a:pt x="39" y="5"/>
                      <a:pt x="38" y="4"/>
                      <a:pt x="36" y="3"/>
                    </a:cubicBezTo>
                    <a:cubicBezTo>
                      <a:pt x="37" y="4"/>
                      <a:pt x="38" y="6"/>
                      <a:pt x="37" y="7"/>
                    </a:cubicBezTo>
                    <a:cubicBezTo>
                      <a:pt x="37" y="6"/>
                      <a:pt x="34" y="6"/>
                      <a:pt x="33" y="6"/>
                    </a:cubicBezTo>
                    <a:cubicBezTo>
                      <a:pt x="32" y="5"/>
                      <a:pt x="32" y="5"/>
                      <a:pt x="31" y="5"/>
                    </a:cubicBezTo>
                    <a:cubicBezTo>
                      <a:pt x="30" y="5"/>
                      <a:pt x="34" y="8"/>
                      <a:pt x="34" y="9"/>
                    </a:cubicBezTo>
                    <a:cubicBezTo>
                      <a:pt x="35" y="9"/>
                      <a:pt x="34" y="9"/>
                      <a:pt x="34" y="9"/>
                    </a:cubicBezTo>
                    <a:cubicBezTo>
                      <a:pt x="34" y="9"/>
                      <a:pt x="33" y="9"/>
                      <a:pt x="33" y="9"/>
                    </a:cubicBezTo>
                    <a:cubicBezTo>
                      <a:pt x="33" y="9"/>
                      <a:pt x="32" y="7"/>
                      <a:pt x="32" y="7"/>
                    </a:cubicBezTo>
                    <a:cubicBezTo>
                      <a:pt x="31" y="7"/>
                      <a:pt x="31" y="8"/>
                      <a:pt x="32" y="9"/>
                    </a:cubicBezTo>
                    <a:cubicBezTo>
                      <a:pt x="32" y="9"/>
                      <a:pt x="32" y="10"/>
                      <a:pt x="32" y="10"/>
                    </a:cubicBezTo>
                    <a:cubicBezTo>
                      <a:pt x="31" y="10"/>
                      <a:pt x="29" y="6"/>
                      <a:pt x="29" y="5"/>
                    </a:cubicBezTo>
                    <a:cubicBezTo>
                      <a:pt x="28" y="4"/>
                      <a:pt x="26" y="3"/>
                      <a:pt x="24" y="3"/>
                    </a:cubicBezTo>
                    <a:cubicBezTo>
                      <a:pt x="22" y="3"/>
                      <a:pt x="21" y="4"/>
                      <a:pt x="20" y="7"/>
                    </a:cubicBezTo>
                    <a:cubicBezTo>
                      <a:pt x="20" y="11"/>
                      <a:pt x="27" y="9"/>
                      <a:pt x="28" y="13"/>
                    </a:cubicBezTo>
                    <a:cubicBezTo>
                      <a:pt x="27" y="13"/>
                      <a:pt x="25" y="11"/>
                      <a:pt x="23" y="11"/>
                    </a:cubicBezTo>
                    <a:cubicBezTo>
                      <a:pt x="23" y="11"/>
                      <a:pt x="22" y="11"/>
                      <a:pt x="22" y="11"/>
                    </a:cubicBezTo>
                    <a:cubicBezTo>
                      <a:pt x="21" y="12"/>
                      <a:pt x="25" y="14"/>
                      <a:pt x="26" y="15"/>
                    </a:cubicBezTo>
                    <a:cubicBezTo>
                      <a:pt x="26" y="15"/>
                      <a:pt x="26" y="15"/>
                      <a:pt x="26" y="15"/>
                    </a:cubicBezTo>
                    <a:cubicBezTo>
                      <a:pt x="25" y="15"/>
                      <a:pt x="23" y="14"/>
                      <a:pt x="22" y="14"/>
                    </a:cubicBezTo>
                    <a:cubicBezTo>
                      <a:pt x="23" y="14"/>
                      <a:pt x="23" y="15"/>
                      <a:pt x="23" y="16"/>
                    </a:cubicBezTo>
                    <a:cubicBezTo>
                      <a:pt x="21" y="16"/>
                      <a:pt x="19" y="16"/>
                      <a:pt x="16" y="15"/>
                    </a:cubicBezTo>
                    <a:cubicBezTo>
                      <a:pt x="20" y="12"/>
                      <a:pt x="17" y="11"/>
                      <a:pt x="14" y="11"/>
                    </a:cubicBezTo>
                    <a:cubicBezTo>
                      <a:pt x="14" y="11"/>
                      <a:pt x="13" y="11"/>
                      <a:pt x="12" y="11"/>
                    </a:cubicBezTo>
                    <a:cubicBezTo>
                      <a:pt x="11" y="12"/>
                      <a:pt x="10" y="12"/>
                      <a:pt x="8" y="14"/>
                    </a:cubicBezTo>
                    <a:cubicBezTo>
                      <a:pt x="9" y="14"/>
                      <a:pt x="9" y="14"/>
                      <a:pt x="9" y="14"/>
                    </a:cubicBezTo>
                    <a:cubicBezTo>
                      <a:pt x="9" y="14"/>
                      <a:pt x="8" y="14"/>
                      <a:pt x="8" y="14"/>
                    </a:cubicBezTo>
                    <a:cubicBezTo>
                      <a:pt x="7" y="14"/>
                      <a:pt x="6" y="14"/>
                      <a:pt x="5" y="15"/>
                    </a:cubicBezTo>
                    <a:cubicBezTo>
                      <a:pt x="4" y="16"/>
                      <a:pt x="4" y="17"/>
                      <a:pt x="4" y="18"/>
                    </a:cubicBezTo>
                    <a:cubicBezTo>
                      <a:pt x="3" y="19"/>
                      <a:pt x="0" y="20"/>
                      <a:pt x="0" y="22"/>
                    </a:cubicBezTo>
                    <a:cubicBezTo>
                      <a:pt x="0" y="25"/>
                      <a:pt x="1" y="23"/>
                      <a:pt x="3" y="24"/>
                    </a:cubicBezTo>
                    <a:cubicBezTo>
                      <a:pt x="6" y="25"/>
                      <a:pt x="6" y="27"/>
                      <a:pt x="6" y="30"/>
                    </a:cubicBezTo>
                    <a:cubicBezTo>
                      <a:pt x="7" y="33"/>
                      <a:pt x="7" y="32"/>
                      <a:pt x="9" y="34"/>
                    </a:cubicBezTo>
                    <a:cubicBezTo>
                      <a:pt x="10" y="35"/>
                      <a:pt x="11" y="36"/>
                      <a:pt x="12" y="38"/>
                    </a:cubicBezTo>
                    <a:cubicBezTo>
                      <a:pt x="12" y="36"/>
                      <a:pt x="14" y="37"/>
                      <a:pt x="13" y="35"/>
                    </a:cubicBezTo>
                    <a:cubicBezTo>
                      <a:pt x="14" y="35"/>
                      <a:pt x="15" y="34"/>
                      <a:pt x="15" y="33"/>
                    </a:cubicBezTo>
                    <a:cubicBezTo>
                      <a:pt x="15" y="31"/>
                      <a:pt x="9" y="30"/>
                      <a:pt x="7" y="29"/>
                    </a:cubicBezTo>
                    <a:cubicBezTo>
                      <a:pt x="9" y="29"/>
                      <a:pt x="12" y="29"/>
                      <a:pt x="13" y="28"/>
                    </a:cubicBezTo>
                    <a:cubicBezTo>
                      <a:pt x="13" y="28"/>
                      <a:pt x="13" y="28"/>
                      <a:pt x="14" y="28"/>
                    </a:cubicBezTo>
                    <a:cubicBezTo>
                      <a:pt x="15" y="28"/>
                      <a:pt x="17" y="29"/>
                      <a:pt x="19" y="29"/>
                    </a:cubicBezTo>
                    <a:cubicBezTo>
                      <a:pt x="18" y="30"/>
                      <a:pt x="15" y="32"/>
                      <a:pt x="16" y="33"/>
                    </a:cubicBezTo>
                    <a:cubicBezTo>
                      <a:pt x="16" y="34"/>
                      <a:pt x="16" y="34"/>
                      <a:pt x="16" y="34"/>
                    </a:cubicBezTo>
                    <a:cubicBezTo>
                      <a:pt x="18" y="34"/>
                      <a:pt x="22" y="28"/>
                      <a:pt x="24" y="28"/>
                    </a:cubicBezTo>
                    <a:cubicBezTo>
                      <a:pt x="21" y="33"/>
                      <a:pt x="17" y="36"/>
                      <a:pt x="16" y="42"/>
                    </a:cubicBezTo>
                    <a:cubicBezTo>
                      <a:pt x="16" y="41"/>
                      <a:pt x="17" y="41"/>
                      <a:pt x="17" y="41"/>
                    </a:cubicBezTo>
                    <a:cubicBezTo>
                      <a:pt x="17" y="41"/>
                      <a:pt x="18" y="41"/>
                      <a:pt x="18" y="41"/>
                    </a:cubicBezTo>
                    <a:cubicBezTo>
                      <a:pt x="18" y="41"/>
                      <a:pt x="19" y="41"/>
                      <a:pt x="19" y="41"/>
                    </a:cubicBezTo>
                    <a:cubicBezTo>
                      <a:pt x="19" y="41"/>
                      <a:pt x="20" y="41"/>
                      <a:pt x="20" y="41"/>
                    </a:cubicBezTo>
                    <a:cubicBezTo>
                      <a:pt x="21" y="41"/>
                      <a:pt x="22" y="39"/>
                      <a:pt x="23" y="38"/>
                    </a:cubicBezTo>
                    <a:cubicBezTo>
                      <a:pt x="24" y="38"/>
                      <a:pt x="25" y="36"/>
                      <a:pt x="26" y="35"/>
                    </a:cubicBezTo>
                    <a:cubicBezTo>
                      <a:pt x="31" y="33"/>
                      <a:pt x="28" y="34"/>
                      <a:pt x="24" y="31"/>
                    </a:cubicBezTo>
                    <a:cubicBezTo>
                      <a:pt x="25" y="31"/>
                      <a:pt x="29" y="31"/>
                      <a:pt x="29" y="30"/>
                    </a:cubicBezTo>
                    <a:cubicBezTo>
                      <a:pt x="30" y="29"/>
                      <a:pt x="29" y="27"/>
                      <a:pt x="30" y="27"/>
                    </a:cubicBezTo>
                    <a:cubicBezTo>
                      <a:pt x="31" y="27"/>
                      <a:pt x="32" y="27"/>
                      <a:pt x="33" y="28"/>
                    </a:cubicBezTo>
                    <a:cubicBezTo>
                      <a:pt x="34" y="28"/>
                      <a:pt x="35" y="27"/>
                      <a:pt x="37" y="26"/>
                    </a:cubicBezTo>
                    <a:cubicBezTo>
                      <a:pt x="38" y="26"/>
                      <a:pt x="41" y="25"/>
                      <a:pt x="43" y="24"/>
                    </a:cubicBezTo>
                    <a:cubicBezTo>
                      <a:pt x="42" y="23"/>
                      <a:pt x="40" y="23"/>
                      <a:pt x="39" y="22"/>
                    </a:cubicBezTo>
                    <a:cubicBezTo>
                      <a:pt x="40" y="22"/>
                      <a:pt x="43" y="23"/>
                      <a:pt x="45" y="23"/>
                    </a:cubicBezTo>
                    <a:cubicBezTo>
                      <a:pt x="49" y="23"/>
                      <a:pt x="52" y="22"/>
                      <a:pt x="50" y="19"/>
                    </a:cubicBezTo>
                    <a:cubicBezTo>
                      <a:pt x="48" y="18"/>
                      <a:pt x="45" y="18"/>
                      <a:pt x="43" y="16"/>
                    </a:cubicBezTo>
                    <a:cubicBezTo>
                      <a:pt x="47" y="16"/>
                      <a:pt x="50" y="18"/>
                      <a:pt x="54" y="18"/>
                    </a:cubicBezTo>
                    <a:cubicBezTo>
                      <a:pt x="55" y="18"/>
                      <a:pt x="56" y="18"/>
                      <a:pt x="57" y="17"/>
                    </a:cubicBezTo>
                    <a:cubicBezTo>
                      <a:pt x="58" y="17"/>
                      <a:pt x="62" y="13"/>
                      <a:pt x="61" y="12"/>
                    </a:cubicBezTo>
                    <a:cubicBezTo>
                      <a:pt x="61" y="12"/>
                      <a:pt x="61" y="12"/>
                      <a:pt x="61" y="12"/>
                    </a:cubicBezTo>
                    <a:cubicBezTo>
                      <a:pt x="60" y="12"/>
                      <a:pt x="60" y="12"/>
                      <a:pt x="60" y="12"/>
                    </a:cubicBezTo>
                    <a:cubicBezTo>
                      <a:pt x="59" y="12"/>
                      <a:pt x="59" y="12"/>
                      <a:pt x="59" y="12"/>
                    </a:cubicBezTo>
                    <a:cubicBezTo>
                      <a:pt x="59" y="12"/>
                      <a:pt x="59" y="12"/>
                      <a:pt x="59" y="12"/>
                    </a:cubicBezTo>
                    <a:cubicBezTo>
                      <a:pt x="59" y="12"/>
                      <a:pt x="58" y="12"/>
                      <a:pt x="58" y="12"/>
                    </a:cubicBezTo>
                    <a:cubicBezTo>
                      <a:pt x="57" y="12"/>
                      <a:pt x="56" y="12"/>
                      <a:pt x="55" y="13"/>
                    </a:cubicBezTo>
                    <a:cubicBezTo>
                      <a:pt x="55" y="12"/>
                      <a:pt x="55" y="11"/>
                      <a:pt x="56" y="10"/>
                    </a:cubicBezTo>
                    <a:cubicBezTo>
                      <a:pt x="55" y="11"/>
                      <a:pt x="54" y="11"/>
                      <a:pt x="54" y="11"/>
                    </a:cubicBezTo>
                    <a:cubicBezTo>
                      <a:pt x="55" y="9"/>
                      <a:pt x="57" y="7"/>
                      <a:pt x="57" y="5"/>
                    </a:cubicBezTo>
                    <a:cubicBezTo>
                      <a:pt x="57" y="5"/>
                      <a:pt x="57" y="5"/>
                      <a:pt x="57" y="5"/>
                    </a:cubicBezTo>
                    <a:cubicBezTo>
                      <a:pt x="57" y="5"/>
                      <a:pt x="56" y="5"/>
                      <a:pt x="56" y="5"/>
                    </a:cubicBezTo>
                    <a:cubicBezTo>
                      <a:pt x="56" y="6"/>
                      <a:pt x="56" y="6"/>
                      <a:pt x="55" y="6"/>
                    </a:cubicBezTo>
                    <a:cubicBezTo>
                      <a:pt x="55" y="6"/>
                      <a:pt x="55" y="5"/>
                      <a:pt x="55" y="5"/>
                    </a:cubicBezTo>
                    <a:cubicBezTo>
                      <a:pt x="56" y="4"/>
                      <a:pt x="53" y="2"/>
                      <a:pt x="52" y="2"/>
                    </a:cubicBezTo>
                    <a:cubicBezTo>
                      <a:pt x="51" y="2"/>
                      <a:pt x="50" y="3"/>
                      <a:pt x="51" y="4"/>
                    </a:cubicBezTo>
                    <a:cubicBezTo>
                      <a:pt x="50" y="4"/>
                      <a:pt x="50" y="4"/>
                      <a:pt x="50" y="4"/>
                    </a:cubicBezTo>
                    <a:cubicBezTo>
                      <a:pt x="49" y="4"/>
                      <a:pt x="49" y="4"/>
                      <a:pt x="49" y="4"/>
                    </a:cubicBezTo>
                    <a:cubicBezTo>
                      <a:pt x="49" y="5"/>
                      <a:pt x="48" y="5"/>
                      <a:pt x="48" y="5"/>
                    </a:cubicBezTo>
                    <a:cubicBezTo>
                      <a:pt x="48" y="5"/>
                      <a:pt x="47" y="5"/>
                      <a:pt x="47" y="4"/>
                    </a:cubicBezTo>
                    <a:cubicBezTo>
                      <a:pt x="45" y="3"/>
                      <a:pt x="46" y="2"/>
                      <a:pt x="44" y="2"/>
                    </a:cubicBezTo>
                    <a:cubicBezTo>
                      <a:pt x="44" y="2"/>
                      <a:pt x="44" y="2"/>
                      <a:pt x="43" y="2"/>
                    </a:cubicBezTo>
                    <a:cubicBezTo>
                      <a:pt x="43" y="2"/>
                      <a:pt x="43" y="2"/>
                      <a:pt x="42" y="2"/>
                    </a:cubicBezTo>
                    <a:cubicBezTo>
                      <a:pt x="42" y="2"/>
                      <a:pt x="42" y="2"/>
                      <a:pt x="42" y="2"/>
                    </a:cubicBezTo>
                    <a:cubicBezTo>
                      <a:pt x="42" y="2"/>
                      <a:pt x="42" y="2"/>
                      <a:pt x="41" y="2"/>
                    </a:cubicBezTo>
                    <a:cubicBezTo>
                      <a:pt x="41" y="2"/>
                      <a:pt x="37" y="0"/>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0" name="Freeform 113">
                <a:extLst>
                  <a:ext uri="{FF2B5EF4-FFF2-40B4-BE49-F238E27FC236}">
                    <a16:creationId xmlns:a16="http://schemas.microsoft.com/office/drawing/2014/main" id="{CEA26D82-6C97-48F5-8B15-D77B64D7BD4E}"/>
                  </a:ext>
                </a:extLst>
              </p:cNvPr>
              <p:cNvSpPr>
                <a:spLocks/>
              </p:cNvSpPr>
              <p:nvPr/>
            </p:nvSpPr>
            <p:spPr bwMode="auto">
              <a:xfrm>
                <a:off x="2510" y="1372"/>
                <a:ext cx="14" cy="17"/>
              </a:xfrm>
              <a:custGeom>
                <a:avLst/>
                <a:gdLst>
                  <a:gd name="T0" fmla="*/ 3 w 6"/>
                  <a:gd name="T1" fmla="*/ 0 h 7"/>
                  <a:gd name="T2" fmla="*/ 1 w 6"/>
                  <a:gd name="T3" fmla="*/ 4 h 7"/>
                  <a:gd name="T4" fmla="*/ 3 w 6"/>
                  <a:gd name="T5" fmla="*/ 7 h 7"/>
                  <a:gd name="T6" fmla="*/ 3 w 6"/>
                  <a:gd name="T7" fmla="*/ 0 h 7"/>
                </a:gdLst>
                <a:ahLst/>
                <a:cxnLst>
                  <a:cxn ang="0">
                    <a:pos x="T0" y="T1"/>
                  </a:cxn>
                  <a:cxn ang="0">
                    <a:pos x="T2" y="T3"/>
                  </a:cxn>
                  <a:cxn ang="0">
                    <a:pos x="T4" y="T5"/>
                  </a:cxn>
                  <a:cxn ang="0">
                    <a:pos x="T6" y="T7"/>
                  </a:cxn>
                </a:cxnLst>
                <a:rect l="0" t="0" r="r" b="b"/>
                <a:pathLst>
                  <a:path w="6" h="7">
                    <a:moveTo>
                      <a:pt x="3" y="0"/>
                    </a:moveTo>
                    <a:cubicBezTo>
                      <a:pt x="1" y="1"/>
                      <a:pt x="0" y="2"/>
                      <a:pt x="1" y="4"/>
                    </a:cubicBezTo>
                    <a:cubicBezTo>
                      <a:pt x="1" y="5"/>
                      <a:pt x="2" y="6"/>
                      <a:pt x="3" y="7"/>
                    </a:cubicBezTo>
                    <a:cubicBezTo>
                      <a:pt x="5" y="4"/>
                      <a:pt x="6"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1" name="Freeform 114">
                <a:extLst>
                  <a:ext uri="{FF2B5EF4-FFF2-40B4-BE49-F238E27FC236}">
                    <a16:creationId xmlns:a16="http://schemas.microsoft.com/office/drawing/2014/main" id="{0CB18FFC-3F42-4CEF-B121-2C8D7E923924}"/>
                  </a:ext>
                </a:extLst>
              </p:cNvPr>
              <p:cNvSpPr>
                <a:spLocks/>
              </p:cNvSpPr>
              <p:nvPr/>
            </p:nvSpPr>
            <p:spPr bwMode="auto">
              <a:xfrm>
                <a:off x="2739" y="1498"/>
                <a:ext cx="26" cy="28"/>
              </a:xfrm>
              <a:custGeom>
                <a:avLst/>
                <a:gdLst>
                  <a:gd name="T0" fmla="*/ 1 w 11"/>
                  <a:gd name="T1" fmla="*/ 0 h 12"/>
                  <a:gd name="T2" fmla="*/ 3 w 11"/>
                  <a:gd name="T3" fmla="*/ 9 h 12"/>
                  <a:gd name="T4" fmla="*/ 7 w 11"/>
                  <a:gd name="T5" fmla="*/ 11 h 12"/>
                  <a:gd name="T6" fmla="*/ 8 w 11"/>
                  <a:gd name="T7" fmla="*/ 12 h 12"/>
                  <a:gd name="T8" fmla="*/ 8 w 11"/>
                  <a:gd name="T9" fmla="*/ 12 h 12"/>
                  <a:gd name="T10" fmla="*/ 11 w 11"/>
                  <a:gd name="T11" fmla="*/ 10 h 12"/>
                  <a:gd name="T12" fmla="*/ 1 w 11"/>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1" h="12">
                    <a:moveTo>
                      <a:pt x="1" y="0"/>
                    </a:moveTo>
                    <a:cubicBezTo>
                      <a:pt x="1" y="4"/>
                      <a:pt x="0" y="7"/>
                      <a:pt x="3" y="9"/>
                    </a:cubicBezTo>
                    <a:cubicBezTo>
                      <a:pt x="4" y="10"/>
                      <a:pt x="6" y="11"/>
                      <a:pt x="7" y="11"/>
                    </a:cubicBezTo>
                    <a:cubicBezTo>
                      <a:pt x="8" y="11"/>
                      <a:pt x="7" y="12"/>
                      <a:pt x="8" y="12"/>
                    </a:cubicBezTo>
                    <a:cubicBezTo>
                      <a:pt x="8" y="12"/>
                      <a:pt x="8" y="12"/>
                      <a:pt x="8" y="12"/>
                    </a:cubicBezTo>
                    <a:cubicBezTo>
                      <a:pt x="9" y="12"/>
                      <a:pt x="10" y="10"/>
                      <a:pt x="11" y="10"/>
                    </a:cubicBezTo>
                    <a:cubicBezTo>
                      <a:pt x="8" y="6"/>
                      <a:pt x="4"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2" name="Freeform 115">
                <a:extLst>
                  <a:ext uri="{FF2B5EF4-FFF2-40B4-BE49-F238E27FC236}">
                    <a16:creationId xmlns:a16="http://schemas.microsoft.com/office/drawing/2014/main" id="{D734D410-D1E2-45B0-8541-5CE1C7BE765C}"/>
                  </a:ext>
                </a:extLst>
              </p:cNvPr>
              <p:cNvSpPr>
                <a:spLocks/>
              </p:cNvSpPr>
              <p:nvPr/>
            </p:nvSpPr>
            <p:spPr bwMode="auto">
              <a:xfrm>
                <a:off x="1171" y="1580"/>
                <a:ext cx="26" cy="22"/>
              </a:xfrm>
              <a:custGeom>
                <a:avLst/>
                <a:gdLst>
                  <a:gd name="T0" fmla="*/ 6 w 11"/>
                  <a:gd name="T1" fmla="*/ 0 h 9"/>
                  <a:gd name="T2" fmla="*/ 3 w 11"/>
                  <a:gd name="T3" fmla="*/ 9 h 9"/>
                  <a:gd name="T4" fmla="*/ 9 w 11"/>
                  <a:gd name="T5" fmla="*/ 8 h 9"/>
                  <a:gd name="T6" fmla="*/ 10 w 11"/>
                  <a:gd name="T7" fmla="*/ 8 h 9"/>
                  <a:gd name="T8" fmla="*/ 10 w 11"/>
                  <a:gd name="T9" fmla="*/ 8 h 9"/>
                  <a:gd name="T10" fmla="*/ 10 w 11"/>
                  <a:gd name="T11" fmla="*/ 8 h 9"/>
                  <a:gd name="T12" fmla="*/ 11 w 11"/>
                  <a:gd name="T13" fmla="*/ 7 h 9"/>
                  <a:gd name="T14" fmla="*/ 6 w 11"/>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6" y="0"/>
                    </a:moveTo>
                    <a:cubicBezTo>
                      <a:pt x="0" y="1"/>
                      <a:pt x="4" y="6"/>
                      <a:pt x="3" y="9"/>
                    </a:cubicBezTo>
                    <a:cubicBezTo>
                      <a:pt x="5" y="9"/>
                      <a:pt x="8" y="9"/>
                      <a:pt x="9" y="8"/>
                    </a:cubicBezTo>
                    <a:cubicBezTo>
                      <a:pt x="10" y="8"/>
                      <a:pt x="10" y="8"/>
                      <a:pt x="10" y="8"/>
                    </a:cubicBezTo>
                    <a:cubicBezTo>
                      <a:pt x="10" y="8"/>
                      <a:pt x="10" y="8"/>
                      <a:pt x="10" y="8"/>
                    </a:cubicBezTo>
                    <a:cubicBezTo>
                      <a:pt x="10" y="8"/>
                      <a:pt x="10" y="8"/>
                      <a:pt x="10" y="8"/>
                    </a:cubicBezTo>
                    <a:cubicBezTo>
                      <a:pt x="11" y="8"/>
                      <a:pt x="11" y="8"/>
                      <a:pt x="11" y="7"/>
                    </a:cubicBezTo>
                    <a:cubicBezTo>
                      <a:pt x="10" y="4"/>
                      <a:pt x="8" y="2"/>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3" name="Freeform 116">
                <a:extLst>
                  <a:ext uri="{FF2B5EF4-FFF2-40B4-BE49-F238E27FC236}">
                    <a16:creationId xmlns:a16="http://schemas.microsoft.com/office/drawing/2014/main" id="{C0D223AE-4D72-4B45-9EA8-633CB56D1D5C}"/>
                  </a:ext>
                </a:extLst>
              </p:cNvPr>
              <p:cNvSpPr>
                <a:spLocks/>
              </p:cNvSpPr>
              <p:nvPr/>
            </p:nvSpPr>
            <p:spPr bwMode="auto">
              <a:xfrm>
                <a:off x="1214" y="1592"/>
                <a:ext cx="19" cy="31"/>
              </a:xfrm>
              <a:custGeom>
                <a:avLst/>
                <a:gdLst>
                  <a:gd name="T0" fmla="*/ 7 w 8"/>
                  <a:gd name="T1" fmla="*/ 0 h 13"/>
                  <a:gd name="T2" fmla="*/ 0 w 8"/>
                  <a:gd name="T3" fmla="*/ 5 h 13"/>
                  <a:gd name="T4" fmla="*/ 2 w 8"/>
                  <a:gd name="T5" fmla="*/ 8 h 13"/>
                  <a:gd name="T6" fmla="*/ 0 w 8"/>
                  <a:gd name="T7" fmla="*/ 13 h 13"/>
                  <a:gd name="T8" fmla="*/ 4 w 8"/>
                  <a:gd name="T9" fmla="*/ 7 h 13"/>
                  <a:gd name="T10" fmla="*/ 6 w 8"/>
                  <a:gd name="T11" fmla="*/ 5 h 13"/>
                  <a:gd name="T12" fmla="*/ 6 w 8"/>
                  <a:gd name="T13" fmla="*/ 4 h 13"/>
                  <a:gd name="T14" fmla="*/ 7 w 8"/>
                  <a:gd name="T15" fmla="*/ 5 h 13"/>
                  <a:gd name="T16" fmla="*/ 8 w 8"/>
                  <a:gd name="T17" fmla="*/ 3 h 13"/>
                  <a:gd name="T18" fmla="*/ 8 w 8"/>
                  <a:gd name="T19" fmla="*/ 0 h 13"/>
                  <a:gd name="T20" fmla="*/ 7 w 8"/>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3">
                    <a:moveTo>
                      <a:pt x="7" y="0"/>
                    </a:moveTo>
                    <a:cubicBezTo>
                      <a:pt x="6" y="0"/>
                      <a:pt x="1" y="3"/>
                      <a:pt x="0" y="5"/>
                    </a:cubicBezTo>
                    <a:cubicBezTo>
                      <a:pt x="0" y="5"/>
                      <a:pt x="2" y="7"/>
                      <a:pt x="2" y="8"/>
                    </a:cubicBezTo>
                    <a:cubicBezTo>
                      <a:pt x="2" y="9"/>
                      <a:pt x="0" y="11"/>
                      <a:pt x="0" y="13"/>
                    </a:cubicBezTo>
                    <a:cubicBezTo>
                      <a:pt x="1" y="10"/>
                      <a:pt x="2" y="9"/>
                      <a:pt x="4" y="7"/>
                    </a:cubicBezTo>
                    <a:cubicBezTo>
                      <a:pt x="4" y="7"/>
                      <a:pt x="6" y="6"/>
                      <a:pt x="6" y="5"/>
                    </a:cubicBezTo>
                    <a:cubicBezTo>
                      <a:pt x="5" y="5"/>
                      <a:pt x="5" y="4"/>
                      <a:pt x="6" y="4"/>
                    </a:cubicBezTo>
                    <a:cubicBezTo>
                      <a:pt x="6" y="4"/>
                      <a:pt x="7" y="5"/>
                      <a:pt x="7" y="5"/>
                    </a:cubicBezTo>
                    <a:cubicBezTo>
                      <a:pt x="7" y="5"/>
                      <a:pt x="8" y="4"/>
                      <a:pt x="8" y="3"/>
                    </a:cubicBezTo>
                    <a:cubicBezTo>
                      <a:pt x="8" y="3"/>
                      <a:pt x="8" y="0"/>
                      <a:pt x="8"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4" name="Freeform 117">
                <a:extLst>
                  <a:ext uri="{FF2B5EF4-FFF2-40B4-BE49-F238E27FC236}">
                    <a16:creationId xmlns:a16="http://schemas.microsoft.com/office/drawing/2014/main" id="{8DF263A5-5260-42BE-8690-C38EAE92E240}"/>
                  </a:ext>
                </a:extLst>
              </p:cNvPr>
              <p:cNvSpPr>
                <a:spLocks/>
              </p:cNvSpPr>
              <p:nvPr/>
            </p:nvSpPr>
            <p:spPr bwMode="auto">
              <a:xfrm>
                <a:off x="795" y="1687"/>
                <a:ext cx="88" cy="57"/>
              </a:xfrm>
              <a:custGeom>
                <a:avLst/>
                <a:gdLst>
                  <a:gd name="T0" fmla="*/ 26 w 37"/>
                  <a:gd name="T1" fmla="*/ 0 h 24"/>
                  <a:gd name="T2" fmla="*/ 20 w 37"/>
                  <a:gd name="T3" fmla="*/ 1 h 24"/>
                  <a:gd name="T4" fmla="*/ 18 w 37"/>
                  <a:gd name="T5" fmla="*/ 6 h 24"/>
                  <a:gd name="T6" fmla="*/ 18 w 37"/>
                  <a:gd name="T7" fmla="*/ 8 h 24"/>
                  <a:gd name="T8" fmla="*/ 19 w 37"/>
                  <a:gd name="T9" fmla="*/ 8 h 24"/>
                  <a:gd name="T10" fmla="*/ 19 w 37"/>
                  <a:gd name="T11" fmla="*/ 8 h 24"/>
                  <a:gd name="T12" fmla="*/ 20 w 37"/>
                  <a:gd name="T13" fmla="*/ 8 h 24"/>
                  <a:gd name="T14" fmla="*/ 26 w 37"/>
                  <a:gd name="T15" fmla="*/ 9 h 24"/>
                  <a:gd name="T16" fmla="*/ 17 w 37"/>
                  <a:gd name="T17" fmla="*/ 15 h 24"/>
                  <a:gd name="T18" fmla="*/ 19 w 37"/>
                  <a:gd name="T19" fmla="*/ 15 h 24"/>
                  <a:gd name="T20" fmla="*/ 20 w 37"/>
                  <a:gd name="T21" fmla="*/ 15 h 24"/>
                  <a:gd name="T22" fmla="*/ 0 w 37"/>
                  <a:gd name="T23" fmla="*/ 22 h 24"/>
                  <a:gd name="T24" fmla="*/ 4 w 37"/>
                  <a:gd name="T25" fmla="*/ 24 h 24"/>
                  <a:gd name="T26" fmla="*/ 5 w 37"/>
                  <a:gd name="T27" fmla="*/ 24 h 24"/>
                  <a:gd name="T28" fmla="*/ 6 w 37"/>
                  <a:gd name="T29" fmla="*/ 24 h 24"/>
                  <a:gd name="T30" fmla="*/ 6 w 37"/>
                  <a:gd name="T31" fmla="*/ 24 h 24"/>
                  <a:gd name="T32" fmla="*/ 7 w 37"/>
                  <a:gd name="T33" fmla="*/ 24 h 24"/>
                  <a:gd name="T34" fmla="*/ 9 w 37"/>
                  <a:gd name="T35" fmla="*/ 22 h 24"/>
                  <a:gd name="T36" fmla="*/ 12 w 37"/>
                  <a:gd name="T37" fmla="*/ 21 h 24"/>
                  <a:gd name="T38" fmla="*/ 19 w 37"/>
                  <a:gd name="T39" fmla="*/ 18 h 24"/>
                  <a:gd name="T40" fmla="*/ 20 w 37"/>
                  <a:gd name="T41" fmla="*/ 18 h 24"/>
                  <a:gd name="T42" fmla="*/ 20 w 37"/>
                  <a:gd name="T43" fmla="*/ 17 h 24"/>
                  <a:gd name="T44" fmla="*/ 21 w 37"/>
                  <a:gd name="T45" fmla="*/ 18 h 24"/>
                  <a:gd name="T46" fmla="*/ 22 w 37"/>
                  <a:gd name="T47" fmla="*/ 17 h 24"/>
                  <a:gd name="T48" fmla="*/ 22 w 37"/>
                  <a:gd name="T49" fmla="*/ 17 h 24"/>
                  <a:gd name="T50" fmla="*/ 22 w 37"/>
                  <a:gd name="T51" fmla="*/ 18 h 24"/>
                  <a:gd name="T52" fmla="*/ 23 w 37"/>
                  <a:gd name="T53" fmla="*/ 18 h 24"/>
                  <a:gd name="T54" fmla="*/ 23 w 37"/>
                  <a:gd name="T55" fmla="*/ 18 h 24"/>
                  <a:gd name="T56" fmla="*/ 24 w 37"/>
                  <a:gd name="T57" fmla="*/ 15 h 24"/>
                  <a:gd name="T58" fmla="*/ 26 w 37"/>
                  <a:gd name="T59" fmla="*/ 16 h 24"/>
                  <a:gd name="T60" fmla="*/ 28 w 37"/>
                  <a:gd name="T61" fmla="*/ 14 h 24"/>
                  <a:gd name="T62" fmla="*/ 29 w 37"/>
                  <a:gd name="T63" fmla="*/ 15 h 24"/>
                  <a:gd name="T64" fmla="*/ 29 w 37"/>
                  <a:gd name="T65" fmla="*/ 13 h 24"/>
                  <a:gd name="T66" fmla="*/ 30 w 37"/>
                  <a:gd name="T67" fmla="*/ 14 h 24"/>
                  <a:gd name="T68" fmla="*/ 34 w 37"/>
                  <a:gd name="T69" fmla="*/ 11 h 24"/>
                  <a:gd name="T70" fmla="*/ 36 w 37"/>
                  <a:gd name="T71" fmla="*/ 10 h 24"/>
                  <a:gd name="T72" fmla="*/ 29 w 37"/>
                  <a:gd name="T73" fmla="*/ 9 h 24"/>
                  <a:gd name="T74" fmla="*/ 31 w 37"/>
                  <a:gd name="T75" fmla="*/ 8 h 24"/>
                  <a:gd name="T76" fmla="*/ 30 w 37"/>
                  <a:gd name="T77" fmla="*/ 7 h 24"/>
                  <a:gd name="T78" fmla="*/ 35 w 37"/>
                  <a:gd name="T79" fmla="*/ 4 h 24"/>
                  <a:gd name="T80" fmla="*/ 35 w 37"/>
                  <a:gd name="T81" fmla="*/ 4 h 24"/>
                  <a:gd name="T82" fmla="*/ 35 w 37"/>
                  <a:gd name="T83" fmla="*/ 4 h 24"/>
                  <a:gd name="T84" fmla="*/ 36 w 37"/>
                  <a:gd name="T85" fmla="*/ 4 h 24"/>
                  <a:gd name="T86" fmla="*/ 37 w 37"/>
                  <a:gd name="T87" fmla="*/ 4 h 24"/>
                  <a:gd name="T88" fmla="*/ 34 w 37"/>
                  <a:gd name="T89" fmla="*/ 0 h 24"/>
                  <a:gd name="T90" fmla="*/ 34 w 37"/>
                  <a:gd name="T91" fmla="*/ 0 h 24"/>
                  <a:gd name="T92" fmla="*/ 28 w 37"/>
                  <a:gd name="T93" fmla="*/ 4 h 24"/>
                  <a:gd name="T94" fmla="*/ 26 w 37"/>
                  <a:gd name="T95" fmla="*/ 0 h 24"/>
                  <a:gd name="T96" fmla="*/ 26 w 37"/>
                  <a:gd name="T9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 h="24">
                    <a:moveTo>
                      <a:pt x="26" y="0"/>
                    </a:moveTo>
                    <a:cubicBezTo>
                      <a:pt x="24" y="0"/>
                      <a:pt x="22" y="1"/>
                      <a:pt x="20" y="1"/>
                    </a:cubicBezTo>
                    <a:cubicBezTo>
                      <a:pt x="19" y="2"/>
                      <a:pt x="18" y="3"/>
                      <a:pt x="18" y="6"/>
                    </a:cubicBezTo>
                    <a:cubicBezTo>
                      <a:pt x="18" y="8"/>
                      <a:pt x="18" y="8"/>
                      <a:pt x="18" y="8"/>
                    </a:cubicBezTo>
                    <a:cubicBezTo>
                      <a:pt x="18" y="8"/>
                      <a:pt x="18" y="8"/>
                      <a:pt x="19" y="8"/>
                    </a:cubicBezTo>
                    <a:cubicBezTo>
                      <a:pt x="19" y="8"/>
                      <a:pt x="19" y="8"/>
                      <a:pt x="19" y="8"/>
                    </a:cubicBezTo>
                    <a:cubicBezTo>
                      <a:pt x="19" y="8"/>
                      <a:pt x="19" y="8"/>
                      <a:pt x="20" y="8"/>
                    </a:cubicBezTo>
                    <a:cubicBezTo>
                      <a:pt x="21" y="9"/>
                      <a:pt x="24" y="9"/>
                      <a:pt x="26" y="9"/>
                    </a:cubicBezTo>
                    <a:cubicBezTo>
                      <a:pt x="20" y="10"/>
                      <a:pt x="17" y="8"/>
                      <a:pt x="17" y="15"/>
                    </a:cubicBezTo>
                    <a:cubicBezTo>
                      <a:pt x="18" y="15"/>
                      <a:pt x="18" y="15"/>
                      <a:pt x="19" y="15"/>
                    </a:cubicBezTo>
                    <a:cubicBezTo>
                      <a:pt x="19" y="15"/>
                      <a:pt x="20" y="15"/>
                      <a:pt x="20" y="15"/>
                    </a:cubicBezTo>
                    <a:cubicBezTo>
                      <a:pt x="13" y="18"/>
                      <a:pt x="6" y="18"/>
                      <a:pt x="0" y="22"/>
                    </a:cubicBezTo>
                    <a:cubicBezTo>
                      <a:pt x="1" y="23"/>
                      <a:pt x="2" y="23"/>
                      <a:pt x="4" y="24"/>
                    </a:cubicBezTo>
                    <a:cubicBezTo>
                      <a:pt x="4" y="24"/>
                      <a:pt x="4" y="24"/>
                      <a:pt x="5" y="24"/>
                    </a:cubicBezTo>
                    <a:cubicBezTo>
                      <a:pt x="5" y="24"/>
                      <a:pt x="5" y="24"/>
                      <a:pt x="6" y="24"/>
                    </a:cubicBezTo>
                    <a:cubicBezTo>
                      <a:pt x="6" y="24"/>
                      <a:pt x="6" y="24"/>
                      <a:pt x="6" y="24"/>
                    </a:cubicBezTo>
                    <a:cubicBezTo>
                      <a:pt x="7" y="24"/>
                      <a:pt x="7" y="24"/>
                      <a:pt x="7" y="24"/>
                    </a:cubicBezTo>
                    <a:cubicBezTo>
                      <a:pt x="8" y="24"/>
                      <a:pt x="8" y="22"/>
                      <a:pt x="9" y="22"/>
                    </a:cubicBezTo>
                    <a:cubicBezTo>
                      <a:pt x="10" y="21"/>
                      <a:pt x="11" y="21"/>
                      <a:pt x="12" y="21"/>
                    </a:cubicBezTo>
                    <a:cubicBezTo>
                      <a:pt x="14" y="20"/>
                      <a:pt x="17" y="18"/>
                      <a:pt x="19" y="18"/>
                    </a:cubicBezTo>
                    <a:cubicBezTo>
                      <a:pt x="19" y="18"/>
                      <a:pt x="20" y="18"/>
                      <a:pt x="20" y="18"/>
                    </a:cubicBezTo>
                    <a:cubicBezTo>
                      <a:pt x="20" y="17"/>
                      <a:pt x="20" y="17"/>
                      <a:pt x="20" y="17"/>
                    </a:cubicBezTo>
                    <a:cubicBezTo>
                      <a:pt x="21" y="18"/>
                      <a:pt x="21" y="18"/>
                      <a:pt x="21" y="18"/>
                    </a:cubicBezTo>
                    <a:cubicBezTo>
                      <a:pt x="21" y="18"/>
                      <a:pt x="21" y="17"/>
                      <a:pt x="22" y="17"/>
                    </a:cubicBezTo>
                    <a:cubicBezTo>
                      <a:pt x="22" y="17"/>
                      <a:pt x="22" y="17"/>
                      <a:pt x="22" y="17"/>
                    </a:cubicBezTo>
                    <a:cubicBezTo>
                      <a:pt x="22" y="17"/>
                      <a:pt x="22" y="17"/>
                      <a:pt x="22" y="18"/>
                    </a:cubicBezTo>
                    <a:cubicBezTo>
                      <a:pt x="23" y="18"/>
                      <a:pt x="23" y="18"/>
                      <a:pt x="23" y="18"/>
                    </a:cubicBezTo>
                    <a:cubicBezTo>
                      <a:pt x="23" y="18"/>
                      <a:pt x="23" y="18"/>
                      <a:pt x="23" y="18"/>
                    </a:cubicBezTo>
                    <a:cubicBezTo>
                      <a:pt x="25" y="18"/>
                      <a:pt x="25" y="18"/>
                      <a:pt x="24" y="15"/>
                    </a:cubicBezTo>
                    <a:cubicBezTo>
                      <a:pt x="25" y="16"/>
                      <a:pt x="26" y="16"/>
                      <a:pt x="26" y="16"/>
                    </a:cubicBezTo>
                    <a:cubicBezTo>
                      <a:pt x="27" y="16"/>
                      <a:pt x="28" y="16"/>
                      <a:pt x="28" y="14"/>
                    </a:cubicBezTo>
                    <a:cubicBezTo>
                      <a:pt x="28" y="14"/>
                      <a:pt x="28" y="15"/>
                      <a:pt x="29" y="15"/>
                    </a:cubicBezTo>
                    <a:cubicBezTo>
                      <a:pt x="29" y="14"/>
                      <a:pt x="29" y="13"/>
                      <a:pt x="29" y="13"/>
                    </a:cubicBezTo>
                    <a:cubicBezTo>
                      <a:pt x="30" y="13"/>
                      <a:pt x="30" y="13"/>
                      <a:pt x="30" y="14"/>
                    </a:cubicBezTo>
                    <a:cubicBezTo>
                      <a:pt x="30" y="11"/>
                      <a:pt x="33" y="12"/>
                      <a:pt x="34" y="11"/>
                    </a:cubicBezTo>
                    <a:cubicBezTo>
                      <a:pt x="34" y="11"/>
                      <a:pt x="36" y="11"/>
                      <a:pt x="36" y="10"/>
                    </a:cubicBezTo>
                    <a:cubicBezTo>
                      <a:pt x="36" y="9"/>
                      <a:pt x="30" y="9"/>
                      <a:pt x="29" y="9"/>
                    </a:cubicBezTo>
                    <a:cubicBezTo>
                      <a:pt x="30" y="8"/>
                      <a:pt x="30" y="8"/>
                      <a:pt x="31" y="8"/>
                    </a:cubicBezTo>
                    <a:cubicBezTo>
                      <a:pt x="30" y="7"/>
                      <a:pt x="30" y="7"/>
                      <a:pt x="30" y="7"/>
                    </a:cubicBezTo>
                    <a:cubicBezTo>
                      <a:pt x="31" y="6"/>
                      <a:pt x="34" y="5"/>
                      <a:pt x="35" y="4"/>
                    </a:cubicBezTo>
                    <a:cubicBezTo>
                      <a:pt x="35" y="4"/>
                      <a:pt x="35" y="4"/>
                      <a:pt x="35" y="4"/>
                    </a:cubicBezTo>
                    <a:cubicBezTo>
                      <a:pt x="35" y="4"/>
                      <a:pt x="35" y="4"/>
                      <a:pt x="35" y="4"/>
                    </a:cubicBezTo>
                    <a:cubicBezTo>
                      <a:pt x="36" y="4"/>
                      <a:pt x="36" y="4"/>
                      <a:pt x="36" y="4"/>
                    </a:cubicBezTo>
                    <a:cubicBezTo>
                      <a:pt x="37" y="4"/>
                      <a:pt x="37" y="4"/>
                      <a:pt x="37" y="4"/>
                    </a:cubicBezTo>
                    <a:cubicBezTo>
                      <a:pt x="37" y="3"/>
                      <a:pt x="34" y="0"/>
                      <a:pt x="34" y="0"/>
                    </a:cubicBezTo>
                    <a:cubicBezTo>
                      <a:pt x="34" y="0"/>
                      <a:pt x="34" y="0"/>
                      <a:pt x="34" y="0"/>
                    </a:cubicBezTo>
                    <a:cubicBezTo>
                      <a:pt x="32" y="0"/>
                      <a:pt x="29" y="3"/>
                      <a:pt x="28" y="4"/>
                    </a:cubicBezTo>
                    <a:cubicBezTo>
                      <a:pt x="27" y="1"/>
                      <a:pt x="29" y="1"/>
                      <a:pt x="26" y="0"/>
                    </a:cubicBez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5" name="Freeform 118">
                <a:extLst>
                  <a:ext uri="{FF2B5EF4-FFF2-40B4-BE49-F238E27FC236}">
                    <a16:creationId xmlns:a16="http://schemas.microsoft.com/office/drawing/2014/main" id="{1009CF08-1D09-4C02-BF55-1EF2C5476BB6}"/>
                  </a:ext>
                </a:extLst>
              </p:cNvPr>
              <p:cNvSpPr>
                <a:spLocks noEditPoints="1"/>
              </p:cNvSpPr>
              <p:nvPr/>
            </p:nvSpPr>
            <p:spPr bwMode="auto">
              <a:xfrm>
                <a:off x="888" y="1673"/>
                <a:ext cx="26" cy="11"/>
              </a:xfrm>
              <a:custGeom>
                <a:avLst/>
                <a:gdLst>
                  <a:gd name="T0" fmla="*/ 6 w 11"/>
                  <a:gd name="T1" fmla="*/ 0 h 5"/>
                  <a:gd name="T2" fmla="*/ 6 w 11"/>
                  <a:gd name="T3" fmla="*/ 0 h 5"/>
                  <a:gd name="T4" fmla="*/ 6 w 11"/>
                  <a:gd name="T5" fmla="*/ 0 h 5"/>
                  <a:gd name="T6" fmla="*/ 4 w 11"/>
                  <a:gd name="T7" fmla="*/ 0 h 5"/>
                  <a:gd name="T8" fmla="*/ 2 w 11"/>
                  <a:gd name="T9" fmla="*/ 1 h 5"/>
                  <a:gd name="T10" fmla="*/ 6 w 11"/>
                  <a:gd name="T11" fmla="*/ 5 h 5"/>
                  <a:gd name="T12" fmla="*/ 11 w 11"/>
                  <a:gd name="T13" fmla="*/ 3 h 5"/>
                  <a:gd name="T14" fmla="*/ 8 w 11"/>
                  <a:gd name="T15" fmla="*/ 1 h 5"/>
                  <a:gd name="T16" fmla="*/ 6 w 11"/>
                  <a:gd name="T17" fmla="*/ 0 h 5"/>
                  <a:gd name="T18" fmla="*/ 6 w 11"/>
                  <a:gd name="T19" fmla="*/ 0 h 5"/>
                  <a:gd name="T20" fmla="*/ 4 w 11"/>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5">
                    <a:moveTo>
                      <a:pt x="6" y="0"/>
                    </a:moveTo>
                    <a:cubicBezTo>
                      <a:pt x="6" y="0"/>
                      <a:pt x="6" y="0"/>
                      <a:pt x="6" y="0"/>
                    </a:cubicBezTo>
                    <a:cubicBezTo>
                      <a:pt x="6" y="0"/>
                      <a:pt x="6" y="0"/>
                      <a:pt x="6" y="0"/>
                    </a:cubicBezTo>
                    <a:moveTo>
                      <a:pt x="4" y="0"/>
                    </a:moveTo>
                    <a:cubicBezTo>
                      <a:pt x="3" y="0"/>
                      <a:pt x="2" y="0"/>
                      <a:pt x="2" y="1"/>
                    </a:cubicBezTo>
                    <a:cubicBezTo>
                      <a:pt x="0" y="3"/>
                      <a:pt x="3" y="4"/>
                      <a:pt x="6" y="5"/>
                    </a:cubicBezTo>
                    <a:cubicBezTo>
                      <a:pt x="6" y="5"/>
                      <a:pt x="11" y="4"/>
                      <a:pt x="11" y="3"/>
                    </a:cubicBezTo>
                    <a:cubicBezTo>
                      <a:pt x="11" y="2"/>
                      <a:pt x="9" y="2"/>
                      <a:pt x="8" y="1"/>
                    </a:cubicBezTo>
                    <a:cubicBezTo>
                      <a:pt x="8" y="1"/>
                      <a:pt x="6" y="0"/>
                      <a:pt x="6" y="0"/>
                    </a:cubicBezTo>
                    <a:cubicBezTo>
                      <a:pt x="6" y="0"/>
                      <a:pt x="6" y="0"/>
                      <a:pt x="6" y="0"/>
                    </a:cubicBezTo>
                    <a:cubicBezTo>
                      <a:pt x="6"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6" name="Freeform 119">
                <a:extLst>
                  <a:ext uri="{FF2B5EF4-FFF2-40B4-BE49-F238E27FC236}">
                    <a16:creationId xmlns:a16="http://schemas.microsoft.com/office/drawing/2014/main" id="{4695CED5-C8CC-4018-844A-5335AEC379A0}"/>
                  </a:ext>
                </a:extLst>
              </p:cNvPr>
              <p:cNvSpPr>
                <a:spLocks/>
              </p:cNvSpPr>
              <p:nvPr/>
            </p:nvSpPr>
            <p:spPr bwMode="auto">
              <a:xfrm>
                <a:off x="1074" y="1651"/>
                <a:ext cx="10" cy="10"/>
              </a:xfrm>
              <a:custGeom>
                <a:avLst/>
                <a:gdLst>
                  <a:gd name="T0" fmla="*/ 0 w 4"/>
                  <a:gd name="T1" fmla="*/ 0 h 4"/>
                  <a:gd name="T2" fmla="*/ 3 w 4"/>
                  <a:gd name="T3" fmla="*/ 4 h 4"/>
                  <a:gd name="T4" fmla="*/ 4 w 4"/>
                  <a:gd name="T5" fmla="*/ 3 h 4"/>
                  <a:gd name="T6" fmla="*/ 0 w 4"/>
                  <a:gd name="T7" fmla="*/ 0 h 4"/>
                </a:gdLst>
                <a:ahLst/>
                <a:cxnLst>
                  <a:cxn ang="0">
                    <a:pos x="T0" y="T1"/>
                  </a:cxn>
                  <a:cxn ang="0">
                    <a:pos x="T2" y="T3"/>
                  </a:cxn>
                  <a:cxn ang="0">
                    <a:pos x="T4" y="T5"/>
                  </a:cxn>
                  <a:cxn ang="0">
                    <a:pos x="T6" y="T7"/>
                  </a:cxn>
                </a:cxnLst>
                <a:rect l="0" t="0" r="r" b="b"/>
                <a:pathLst>
                  <a:path w="4" h="4">
                    <a:moveTo>
                      <a:pt x="0" y="0"/>
                    </a:moveTo>
                    <a:cubicBezTo>
                      <a:pt x="0" y="2"/>
                      <a:pt x="1" y="4"/>
                      <a:pt x="3" y="4"/>
                    </a:cubicBezTo>
                    <a:cubicBezTo>
                      <a:pt x="3" y="4"/>
                      <a:pt x="4" y="3"/>
                      <a:pt x="4" y="3"/>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7" name="Freeform 120">
                <a:extLst>
                  <a:ext uri="{FF2B5EF4-FFF2-40B4-BE49-F238E27FC236}">
                    <a16:creationId xmlns:a16="http://schemas.microsoft.com/office/drawing/2014/main" id="{FA0F6605-DBD5-4BD7-A888-45A613A6FD7C}"/>
                  </a:ext>
                </a:extLst>
              </p:cNvPr>
              <p:cNvSpPr>
                <a:spLocks/>
              </p:cNvSpPr>
              <p:nvPr/>
            </p:nvSpPr>
            <p:spPr bwMode="auto">
              <a:xfrm>
                <a:off x="2706" y="1472"/>
                <a:ext cx="26" cy="26"/>
              </a:xfrm>
              <a:custGeom>
                <a:avLst/>
                <a:gdLst>
                  <a:gd name="T0" fmla="*/ 2 w 11"/>
                  <a:gd name="T1" fmla="*/ 0 h 11"/>
                  <a:gd name="T2" fmla="*/ 2 w 11"/>
                  <a:gd name="T3" fmla="*/ 6 h 11"/>
                  <a:gd name="T4" fmla="*/ 1 w 11"/>
                  <a:gd name="T5" fmla="*/ 10 h 11"/>
                  <a:gd name="T6" fmla="*/ 3 w 11"/>
                  <a:gd name="T7" fmla="*/ 11 h 11"/>
                  <a:gd name="T8" fmla="*/ 8 w 11"/>
                  <a:gd name="T9" fmla="*/ 9 h 11"/>
                  <a:gd name="T10" fmla="*/ 10 w 11"/>
                  <a:gd name="T11" fmla="*/ 8 h 11"/>
                  <a:gd name="T12" fmla="*/ 4 w 11"/>
                  <a:gd name="T13" fmla="*/ 1 h 11"/>
                  <a:gd name="T14" fmla="*/ 2 w 11"/>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1">
                    <a:moveTo>
                      <a:pt x="2" y="0"/>
                    </a:moveTo>
                    <a:cubicBezTo>
                      <a:pt x="0" y="0"/>
                      <a:pt x="3" y="4"/>
                      <a:pt x="2" y="6"/>
                    </a:cubicBezTo>
                    <a:cubicBezTo>
                      <a:pt x="2" y="6"/>
                      <a:pt x="0" y="8"/>
                      <a:pt x="1" y="10"/>
                    </a:cubicBezTo>
                    <a:cubicBezTo>
                      <a:pt x="2" y="11"/>
                      <a:pt x="3" y="11"/>
                      <a:pt x="3" y="11"/>
                    </a:cubicBezTo>
                    <a:cubicBezTo>
                      <a:pt x="5" y="11"/>
                      <a:pt x="7" y="10"/>
                      <a:pt x="8" y="9"/>
                    </a:cubicBezTo>
                    <a:cubicBezTo>
                      <a:pt x="8" y="9"/>
                      <a:pt x="10" y="9"/>
                      <a:pt x="10" y="8"/>
                    </a:cubicBezTo>
                    <a:cubicBezTo>
                      <a:pt x="11" y="7"/>
                      <a:pt x="5" y="2"/>
                      <a:pt x="4" y="1"/>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8" name="Freeform 121">
                <a:extLst>
                  <a:ext uri="{FF2B5EF4-FFF2-40B4-BE49-F238E27FC236}">
                    <a16:creationId xmlns:a16="http://schemas.microsoft.com/office/drawing/2014/main" id="{8668F868-2D60-4D49-A15F-41EE72D88523}"/>
                  </a:ext>
                </a:extLst>
              </p:cNvPr>
              <p:cNvSpPr>
                <a:spLocks/>
              </p:cNvSpPr>
              <p:nvPr/>
            </p:nvSpPr>
            <p:spPr bwMode="auto">
              <a:xfrm>
                <a:off x="2649" y="1450"/>
                <a:ext cx="62" cy="52"/>
              </a:xfrm>
              <a:custGeom>
                <a:avLst/>
                <a:gdLst>
                  <a:gd name="T0" fmla="*/ 4 w 26"/>
                  <a:gd name="T1" fmla="*/ 0 h 22"/>
                  <a:gd name="T2" fmla="*/ 1 w 26"/>
                  <a:gd name="T3" fmla="*/ 3 h 22"/>
                  <a:gd name="T4" fmla="*/ 6 w 26"/>
                  <a:gd name="T5" fmla="*/ 7 h 22"/>
                  <a:gd name="T6" fmla="*/ 6 w 26"/>
                  <a:gd name="T7" fmla="*/ 7 h 22"/>
                  <a:gd name="T8" fmla="*/ 5 w 26"/>
                  <a:gd name="T9" fmla="*/ 7 h 22"/>
                  <a:gd name="T10" fmla="*/ 4 w 26"/>
                  <a:gd name="T11" fmla="*/ 7 h 22"/>
                  <a:gd name="T12" fmla="*/ 3 w 26"/>
                  <a:gd name="T13" fmla="*/ 7 h 22"/>
                  <a:gd name="T14" fmla="*/ 6 w 26"/>
                  <a:gd name="T15" fmla="*/ 8 h 22"/>
                  <a:gd name="T16" fmla="*/ 8 w 26"/>
                  <a:gd name="T17" fmla="*/ 8 h 22"/>
                  <a:gd name="T18" fmla="*/ 8 w 26"/>
                  <a:gd name="T19" fmla="*/ 13 h 22"/>
                  <a:gd name="T20" fmla="*/ 8 w 26"/>
                  <a:gd name="T21" fmla="*/ 17 h 22"/>
                  <a:gd name="T22" fmla="*/ 11 w 26"/>
                  <a:gd name="T23" fmla="*/ 22 h 22"/>
                  <a:gd name="T24" fmla="*/ 22 w 26"/>
                  <a:gd name="T25" fmla="*/ 17 h 22"/>
                  <a:gd name="T26" fmla="*/ 19 w 26"/>
                  <a:gd name="T27" fmla="*/ 15 h 22"/>
                  <a:gd name="T28" fmla="*/ 19 w 26"/>
                  <a:gd name="T29" fmla="*/ 15 h 22"/>
                  <a:gd name="T30" fmla="*/ 16 w 26"/>
                  <a:gd name="T31" fmla="*/ 8 h 22"/>
                  <a:gd name="T32" fmla="*/ 19 w 26"/>
                  <a:gd name="T33" fmla="*/ 10 h 22"/>
                  <a:gd name="T34" fmla="*/ 20 w 26"/>
                  <a:gd name="T35" fmla="*/ 12 h 22"/>
                  <a:gd name="T36" fmla="*/ 25 w 26"/>
                  <a:gd name="T37" fmla="*/ 15 h 22"/>
                  <a:gd name="T38" fmla="*/ 25 w 26"/>
                  <a:gd name="T39" fmla="*/ 15 h 22"/>
                  <a:gd name="T40" fmla="*/ 25 w 26"/>
                  <a:gd name="T41" fmla="*/ 13 h 22"/>
                  <a:gd name="T42" fmla="*/ 18 w 26"/>
                  <a:gd name="T43" fmla="*/ 3 h 22"/>
                  <a:gd name="T44" fmla="*/ 18 w 26"/>
                  <a:gd name="T45" fmla="*/ 3 h 22"/>
                  <a:gd name="T46" fmla="*/ 18 w 26"/>
                  <a:gd name="T47" fmla="*/ 5 h 22"/>
                  <a:gd name="T48" fmla="*/ 6 w 26"/>
                  <a:gd name="T49" fmla="*/ 1 h 22"/>
                  <a:gd name="T50" fmla="*/ 4 w 26"/>
                  <a:gd name="T5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22">
                    <a:moveTo>
                      <a:pt x="4" y="0"/>
                    </a:moveTo>
                    <a:cubicBezTo>
                      <a:pt x="2" y="0"/>
                      <a:pt x="0" y="1"/>
                      <a:pt x="1" y="3"/>
                    </a:cubicBezTo>
                    <a:cubicBezTo>
                      <a:pt x="2" y="4"/>
                      <a:pt x="5" y="6"/>
                      <a:pt x="6" y="7"/>
                    </a:cubicBezTo>
                    <a:cubicBezTo>
                      <a:pt x="6" y="7"/>
                      <a:pt x="6" y="7"/>
                      <a:pt x="6" y="7"/>
                    </a:cubicBezTo>
                    <a:cubicBezTo>
                      <a:pt x="6" y="7"/>
                      <a:pt x="5" y="7"/>
                      <a:pt x="5" y="7"/>
                    </a:cubicBezTo>
                    <a:cubicBezTo>
                      <a:pt x="5" y="7"/>
                      <a:pt x="4" y="7"/>
                      <a:pt x="4" y="7"/>
                    </a:cubicBezTo>
                    <a:cubicBezTo>
                      <a:pt x="4" y="7"/>
                      <a:pt x="4" y="7"/>
                      <a:pt x="3" y="7"/>
                    </a:cubicBezTo>
                    <a:cubicBezTo>
                      <a:pt x="5" y="8"/>
                      <a:pt x="5" y="8"/>
                      <a:pt x="6" y="8"/>
                    </a:cubicBezTo>
                    <a:cubicBezTo>
                      <a:pt x="7" y="8"/>
                      <a:pt x="7" y="8"/>
                      <a:pt x="8" y="8"/>
                    </a:cubicBezTo>
                    <a:cubicBezTo>
                      <a:pt x="8" y="10"/>
                      <a:pt x="8" y="11"/>
                      <a:pt x="8" y="13"/>
                    </a:cubicBezTo>
                    <a:cubicBezTo>
                      <a:pt x="8" y="14"/>
                      <a:pt x="9" y="16"/>
                      <a:pt x="8" y="17"/>
                    </a:cubicBezTo>
                    <a:cubicBezTo>
                      <a:pt x="9" y="18"/>
                      <a:pt x="9" y="20"/>
                      <a:pt x="11" y="22"/>
                    </a:cubicBezTo>
                    <a:cubicBezTo>
                      <a:pt x="13" y="21"/>
                      <a:pt x="22" y="20"/>
                      <a:pt x="22" y="17"/>
                    </a:cubicBezTo>
                    <a:cubicBezTo>
                      <a:pt x="22" y="16"/>
                      <a:pt x="21" y="15"/>
                      <a:pt x="19" y="15"/>
                    </a:cubicBezTo>
                    <a:cubicBezTo>
                      <a:pt x="19" y="15"/>
                      <a:pt x="19" y="15"/>
                      <a:pt x="19" y="15"/>
                    </a:cubicBezTo>
                    <a:cubicBezTo>
                      <a:pt x="20" y="11"/>
                      <a:pt x="16" y="12"/>
                      <a:pt x="16" y="8"/>
                    </a:cubicBezTo>
                    <a:cubicBezTo>
                      <a:pt x="17" y="9"/>
                      <a:pt x="18" y="9"/>
                      <a:pt x="19" y="10"/>
                    </a:cubicBezTo>
                    <a:cubicBezTo>
                      <a:pt x="19" y="11"/>
                      <a:pt x="19" y="12"/>
                      <a:pt x="20" y="12"/>
                    </a:cubicBezTo>
                    <a:cubicBezTo>
                      <a:pt x="21" y="14"/>
                      <a:pt x="23" y="15"/>
                      <a:pt x="25" y="15"/>
                    </a:cubicBezTo>
                    <a:cubicBezTo>
                      <a:pt x="25" y="15"/>
                      <a:pt x="25" y="15"/>
                      <a:pt x="25" y="15"/>
                    </a:cubicBezTo>
                    <a:cubicBezTo>
                      <a:pt x="26" y="15"/>
                      <a:pt x="25" y="14"/>
                      <a:pt x="25" y="13"/>
                    </a:cubicBezTo>
                    <a:cubicBezTo>
                      <a:pt x="25" y="7"/>
                      <a:pt x="24" y="3"/>
                      <a:pt x="18" y="3"/>
                    </a:cubicBezTo>
                    <a:cubicBezTo>
                      <a:pt x="18" y="3"/>
                      <a:pt x="18" y="3"/>
                      <a:pt x="18" y="3"/>
                    </a:cubicBezTo>
                    <a:cubicBezTo>
                      <a:pt x="18" y="4"/>
                      <a:pt x="18" y="5"/>
                      <a:pt x="18" y="5"/>
                    </a:cubicBezTo>
                    <a:cubicBezTo>
                      <a:pt x="15" y="2"/>
                      <a:pt x="10" y="1"/>
                      <a:pt x="6" y="1"/>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9" name="Freeform 122">
                <a:extLst>
                  <a:ext uri="{FF2B5EF4-FFF2-40B4-BE49-F238E27FC236}">
                    <a16:creationId xmlns:a16="http://schemas.microsoft.com/office/drawing/2014/main" id="{DB0CC5B2-5F07-4C1E-BB34-DA920EE6436A}"/>
                  </a:ext>
                </a:extLst>
              </p:cNvPr>
              <p:cNvSpPr>
                <a:spLocks/>
              </p:cNvSpPr>
              <p:nvPr/>
            </p:nvSpPr>
            <p:spPr bwMode="auto">
              <a:xfrm>
                <a:off x="2559" y="1415"/>
                <a:ext cx="57" cy="106"/>
              </a:xfrm>
              <a:custGeom>
                <a:avLst/>
                <a:gdLst>
                  <a:gd name="T0" fmla="*/ 7 w 24"/>
                  <a:gd name="T1" fmla="*/ 0 h 45"/>
                  <a:gd name="T2" fmla="*/ 4 w 24"/>
                  <a:gd name="T3" fmla="*/ 1 h 45"/>
                  <a:gd name="T4" fmla="*/ 4 w 24"/>
                  <a:gd name="T5" fmla="*/ 3 h 45"/>
                  <a:gd name="T6" fmla="*/ 4 w 24"/>
                  <a:gd name="T7" fmla="*/ 6 h 45"/>
                  <a:gd name="T8" fmla="*/ 4 w 24"/>
                  <a:gd name="T9" fmla="*/ 6 h 45"/>
                  <a:gd name="T10" fmla="*/ 3 w 24"/>
                  <a:gd name="T11" fmla="*/ 6 h 45"/>
                  <a:gd name="T12" fmla="*/ 2 w 24"/>
                  <a:gd name="T13" fmla="*/ 6 h 45"/>
                  <a:gd name="T14" fmla="*/ 0 w 24"/>
                  <a:gd name="T15" fmla="*/ 6 h 45"/>
                  <a:gd name="T16" fmla="*/ 4 w 24"/>
                  <a:gd name="T17" fmla="*/ 10 h 45"/>
                  <a:gd name="T18" fmla="*/ 6 w 24"/>
                  <a:gd name="T19" fmla="*/ 10 h 45"/>
                  <a:gd name="T20" fmla="*/ 6 w 24"/>
                  <a:gd name="T21" fmla="*/ 10 h 45"/>
                  <a:gd name="T22" fmla="*/ 7 w 24"/>
                  <a:gd name="T23" fmla="*/ 10 h 45"/>
                  <a:gd name="T24" fmla="*/ 6 w 24"/>
                  <a:gd name="T25" fmla="*/ 13 h 45"/>
                  <a:gd name="T26" fmla="*/ 8 w 24"/>
                  <a:gd name="T27" fmla="*/ 12 h 45"/>
                  <a:gd name="T28" fmla="*/ 9 w 24"/>
                  <a:gd name="T29" fmla="*/ 17 h 45"/>
                  <a:gd name="T30" fmla="*/ 11 w 24"/>
                  <a:gd name="T31" fmla="*/ 17 h 45"/>
                  <a:gd name="T32" fmla="*/ 11 w 24"/>
                  <a:gd name="T33" fmla="*/ 17 h 45"/>
                  <a:gd name="T34" fmla="*/ 11 w 24"/>
                  <a:gd name="T35" fmla="*/ 17 h 45"/>
                  <a:gd name="T36" fmla="*/ 10 w 24"/>
                  <a:gd name="T37" fmla="*/ 18 h 45"/>
                  <a:gd name="T38" fmla="*/ 7 w 24"/>
                  <a:gd name="T39" fmla="*/ 20 h 45"/>
                  <a:gd name="T40" fmla="*/ 8 w 24"/>
                  <a:gd name="T41" fmla="*/ 21 h 45"/>
                  <a:gd name="T42" fmla="*/ 7 w 24"/>
                  <a:gd name="T43" fmla="*/ 24 h 45"/>
                  <a:gd name="T44" fmla="*/ 9 w 24"/>
                  <a:gd name="T45" fmla="*/ 25 h 45"/>
                  <a:gd name="T46" fmla="*/ 13 w 24"/>
                  <a:gd name="T47" fmla="*/ 24 h 45"/>
                  <a:gd name="T48" fmla="*/ 11 w 24"/>
                  <a:gd name="T49" fmla="*/ 28 h 45"/>
                  <a:gd name="T50" fmla="*/ 11 w 24"/>
                  <a:gd name="T51" fmla="*/ 28 h 45"/>
                  <a:gd name="T52" fmla="*/ 16 w 24"/>
                  <a:gd name="T53" fmla="*/ 26 h 45"/>
                  <a:gd name="T54" fmla="*/ 13 w 24"/>
                  <a:gd name="T55" fmla="*/ 31 h 45"/>
                  <a:gd name="T56" fmla="*/ 19 w 24"/>
                  <a:gd name="T57" fmla="*/ 29 h 45"/>
                  <a:gd name="T58" fmla="*/ 24 w 24"/>
                  <a:gd name="T59" fmla="*/ 45 h 45"/>
                  <a:gd name="T60" fmla="*/ 24 w 24"/>
                  <a:gd name="T61" fmla="*/ 42 h 45"/>
                  <a:gd name="T62" fmla="*/ 24 w 24"/>
                  <a:gd name="T63" fmla="*/ 43 h 45"/>
                  <a:gd name="T64" fmla="*/ 24 w 24"/>
                  <a:gd name="T65" fmla="*/ 41 h 45"/>
                  <a:gd name="T66" fmla="*/ 24 w 24"/>
                  <a:gd name="T67" fmla="*/ 39 h 45"/>
                  <a:gd name="T68" fmla="*/ 24 w 24"/>
                  <a:gd name="T69" fmla="*/ 34 h 45"/>
                  <a:gd name="T70" fmla="*/ 23 w 24"/>
                  <a:gd name="T71" fmla="*/ 22 h 45"/>
                  <a:gd name="T72" fmla="*/ 16 w 24"/>
                  <a:gd name="T73" fmla="*/ 5 h 45"/>
                  <a:gd name="T74" fmla="*/ 9 w 24"/>
                  <a:gd name="T75" fmla="*/ 2 h 45"/>
                  <a:gd name="T76" fmla="*/ 6 w 24"/>
                  <a:gd name="T77" fmla="*/ 3 h 45"/>
                  <a:gd name="T78" fmla="*/ 7 w 24"/>
                  <a:gd name="T7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5">
                    <a:moveTo>
                      <a:pt x="7" y="0"/>
                    </a:moveTo>
                    <a:cubicBezTo>
                      <a:pt x="6" y="0"/>
                      <a:pt x="5" y="0"/>
                      <a:pt x="4" y="1"/>
                    </a:cubicBezTo>
                    <a:cubicBezTo>
                      <a:pt x="3" y="1"/>
                      <a:pt x="4" y="2"/>
                      <a:pt x="4" y="3"/>
                    </a:cubicBezTo>
                    <a:cubicBezTo>
                      <a:pt x="3" y="5"/>
                      <a:pt x="1" y="5"/>
                      <a:pt x="4" y="6"/>
                    </a:cubicBezTo>
                    <a:cubicBezTo>
                      <a:pt x="4" y="6"/>
                      <a:pt x="4" y="6"/>
                      <a:pt x="4" y="6"/>
                    </a:cubicBezTo>
                    <a:cubicBezTo>
                      <a:pt x="3" y="6"/>
                      <a:pt x="3" y="6"/>
                      <a:pt x="3" y="6"/>
                    </a:cubicBezTo>
                    <a:cubicBezTo>
                      <a:pt x="2" y="6"/>
                      <a:pt x="2" y="6"/>
                      <a:pt x="2" y="6"/>
                    </a:cubicBezTo>
                    <a:cubicBezTo>
                      <a:pt x="1" y="6"/>
                      <a:pt x="0" y="6"/>
                      <a:pt x="0" y="6"/>
                    </a:cubicBezTo>
                    <a:cubicBezTo>
                      <a:pt x="1" y="8"/>
                      <a:pt x="3" y="10"/>
                      <a:pt x="4" y="10"/>
                    </a:cubicBezTo>
                    <a:cubicBezTo>
                      <a:pt x="5" y="10"/>
                      <a:pt x="5" y="10"/>
                      <a:pt x="6" y="10"/>
                    </a:cubicBezTo>
                    <a:cubicBezTo>
                      <a:pt x="6" y="10"/>
                      <a:pt x="6" y="10"/>
                      <a:pt x="6" y="10"/>
                    </a:cubicBezTo>
                    <a:cubicBezTo>
                      <a:pt x="6" y="10"/>
                      <a:pt x="7" y="10"/>
                      <a:pt x="7" y="10"/>
                    </a:cubicBezTo>
                    <a:cubicBezTo>
                      <a:pt x="8" y="10"/>
                      <a:pt x="8" y="10"/>
                      <a:pt x="6" y="13"/>
                    </a:cubicBezTo>
                    <a:cubicBezTo>
                      <a:pt x="7" y="12"/>
                      <a:pt x="7" y="12"/>
                      <a:pt x="8" y="12"/>
                    </a:cubicBezTo>
                    <a:cubicBezTo>
                      <a:pt x="6" y="14"/>
                      <a:pt x="7" y="16"/>
                      <a:pt x="9" y="17"/>
                    </a:cubicBezTo>
                    <a:cubicBezTo>
                      <a:pt x="10" y="17"/>
                      <a:pt x="10" y="17"/>
                      <a:pt x="11" y="17"/>
                    </a:cubicBezTo>
                    <a:cubicBezTo>
                      <a:pt x="11" y="17"/>
                      <a:pt x="11" y="17"/>
                      <a:pt x="11" y="17"/>
                    </a:cubicBezTo>
                    <a:cubicBezTo>
                      <a:pt x="11" y="17"/>
                      <a:pt x="11" y="17"/>
                      <a:pt x="11" y="17"/>
                    </a:cubicBezTo>
                    <a:cubicBezTo>
                      <a:pt x="11" y="17"/>
                      <a:pt x="11" y="17"/>
                      <a:pt x="10" y="18"/>
                    </a:cubicBezTo>
                    <a:cubicBezTo>
                      <a:pt x="9" y="19"/>
                      <a:pt x="8" y="19"/>
                      <a:pt x="7" y="20"/>
                    </a:cubicBezTo>
                    <a:cubicBezTo>
                      <a:pt x="6" y="20"/>
                      <a:pt x="8" y="20"/>
                      <a:pt x="8" y="21"/>
                    </a:cubicBezTo>
                    <a:cubicBezTo>
                      <a:pt x="7" y="22"/>
                      <a:pt x="7" y="23"/>
                      <a:pt x="7" y="24"/>
                    </a:cubicBezTo>
                    <a:cubicBezTo>
                      <a:pt x="8" y="25"/>
                      <a:pt x="8" y="25"/>
                      <a:pt x="9" y="25"/>
                    </a:cubicBezTo>
                    <a:cubicBezTo>
                      <a:pt x="10" y="25"/>
                      <a:pt x="11" y="24"/>
                      <a:pt x="13" y="24"/>
                    </a:cubicBezTo>
                    <a:cubicBezTo>
                      <a:pt x="12" y="25"/>
                      <a:pt x="11" y="26"/>
                      <a:pt x="11" y="28"/>
                    </a:cubicBezTo>
                    <a:cubicBezTo>
                      <a:pt x="11" y="28"/>
                      <a:pt x="11" y="28"/>
                      <a:pt x="11" y="28"/>
                    </a:cubicBezTo>
                    <a:cubicBezTo>
                      <a:pt x="12" y="28"/>
                      <a:pt x="15" y="26"/>
                      <a:pt x="16" y="26"/>
                    </a:cubicBezTo>
                    <a:cubicBezTo>
                      <a:pt x="13" y="27"/>
                      <a:pt x="13" y="29"/>
                      <a:pt x="13" y="31"/>
                    </a:cubicBezTo>
                    <a:cubicBezTo>
                      <a:pt x="15" y="30"/>
                      <a:pt x="17" y="29"/>
                      <a:pt x="19" y="29"/>
                    </a:cubicBezTo>
                    <a:cubicBezTo>
                      <a:pt x="15" y="33"/>
                      <a:pt x="21" y="41"/>
                      <a:pt x="24" y="45"/>
                    </a:cubicBezTo>
                    <a:cubicBezTo>
                      <a:pt x="24" y="44"/>
                      <a:pt x="24" y="43"/>
                      <a:pt x="24" y="42"/>
                    </a:cubicBezTo>
                    <a:cubicBezTo>
                      <a:pt x="24" y="43"/>
                      <a:pt x="24" y="43"/>
                      <a:pt x="24" y="43"/>
                    </a:cubicBezTo>
                    <a:cubicBezTo>
                      <a:pt x="24" y="43"/>
                      <a:pt x="24" y="41"/>
                      <a:pt x="24" y="41"/>
                    </a:cubicBezTo>
                    <a:cubicBezTo>
                      <a:pt x="24" y="40"/>
                      <a:pt x="24" y="40"/>
                      <a:pt x="24" y="39"/>
                    </a:cubicBezTo>
                    <a:cubicBezTo>
                      <a:pt x="24" y="37"/>
                      <a:pt x="24" y="36"/>
                      <a:pt x="24" y="34"/>
                    </a:cubicBezTo>
                    <a:cubicBezTo>
                      <a:pt x="24" y="31"/>
                      <a:pt x="24" y="26"/>
                      <a:pt x="23" y="22"/>
                    </a:cubicBezTo>
                    <a:cubicBezTo>
                      <a:pt x="21" y="16"/>
                      <a:pt x="20" y="9"/>
                      <a:pt x="16" y="5"/>
                    </a:cubicBezTo>
                    <a:cubicBezTo>
                      <a:pt x="14" y="3"/>
                      <a:pt x="12" y="2"/>
                      <a:pt x="9" y="2"/>
                    </a:cubicBezTo>
                    <a:cubicBezTo>
                      <a:pt x="8" y="2"/>
                      <a:pt x="7" y="2"/>
                      <a:pt x="6" y="3"/>
                    </a:cubicBezTo>
                    <a:cubicBezTo>
                      <a:pt x="9" y="1"/>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0" name="Freeform 123">
                <a:extLst>
                  <a:ext uri="{FF2B5EF4-FFF2-40B4-BE49-F238E27FC236}">
                    <a16:creationId xmlns:a16="http://schemas.microsoft.com/office/drawing/2014/main" id="{685BF656-601B-4E63-966B-9AA6561B10E6}"/>
                  </a:ext>
                </a:extLst>
              </p:cNvPr>
              <p:cNvSpPr>
                <a:spLocks/>
              </p:cNvSpPr>
              <p:nvPr/>
            </p:nvSpPr>
            <p:spPr bwMode="auto">
              <a:xfrm>
                <a:off x="2628" y="1462"/>
                <a:ext cx="40" cy="73"/>
              </a:xfrm>
              <a:custGeom>
                <a:avLst/>
                <a:gdLst>
                  <a:gd name="T0" fmla="*/ 4 w 17"/>
                  <a:gd name="T1" fmla="*/ 0 h 31"/>
                  <a:gd name="T2" fmla="*/ 7 w 17"/>
                  <a:gd name="T3" fmla="*/ 3 h 31"/>
                  <a:gd name="T4" fmla="*/ 2 w 17"/>
                  <a:gd name="T5" fmla="*/ 2 h 31"/>
                  <a:gd name="T6" fmla="*/ 0 w 17"/>
                  <a:gd name="T7" fmla="*/ 3 h 31"/>
                  <a:gd name="T8" fmla="*/ 1 w 17"/>
                  <a:gd name="T9" fmla="*/ 7 h 31"/>
                  <a:gd name="T10" fmla="*/ 2 w 17"/>
                  <a:gd name="T11" fmla="*/ 8 h 31"/>
                  <a:gd name="T12" fmla="*/ 3 w 17"/>
                  <a:gd name="T13" fmla="*/ 8 h 31"/>
                  <a:gd name="T14" fmla="*/ 4 w 17"/>
                  <a:gd name="T15" fmla="*/ 8 h 31"/>
                  <a:gd name="T16" fmla="*/ 5 w 17"/>
                  <a:gd name="T17" fmla="*/ 9 h 31"/>
                  <a:gd name="T18" fmla="*/ 4 w 17"/>
                  <a:gd name="T19" fmla="*/ 11 h 31"/>
                  <a:gd name="T20" fmla="*/ 4 w 17"/>
                  <a:gd name="T21" fmla="*/ 11 h 31"/>
                  <a:gd name="T22" fmla="*/ 6 w 17"/>
                  <a:gd name="T23" fmla="*/ 10 h 31"/>
                  <a:gd name="T24" fmla="*/ 7 w 17"/>
                  <a:gd name="T25" fmla="*/ 10 h 31"/>
                  <a:gd name="T26" fmla="*/ 7 w 17"/>
                  <a:gd name="T27" fmla="*/ 10 h 31"/>
                  <a:gd name="T28" fmla="*/ 3 w 17"/>
                  <a:gd name="T29" fmla="*/ 12 h 31"/>
                  <a:gd name="T30" fmla="*/ 4 w 17"/>
                  <a:gd name="T31" fmla="*/ 12 h 31"/>
                  <a:gd name="T32" fmla="*/ 9 w 17"/>
                  <a:gd name="T33" fmla="*/ 15 h 31"/>
                  <a:gd name="T34" fmla="*/ 9 w 17"/>
                  <a:gd name="T35" fmla="*/ 19 h 31"/>
                  <a:gd name="T36" fmla="*/ 6 w 17"/>
                  <a:gd name="T37" fmla="*/ 17 h 31"/>
                  <a:gd name="T38" fmla="*/ 3 w 17"/>
                  <a:gd name="T39" fmla="*/ 21 h 31"/>
                  <a:gd name="T40" fmla="*/ 6 w 17"/>
                  <a:gd name="T41" fmla="*/ 20 h 31"/>
                  <a:gd name="T42" fmla="*/ 4 w 17"/>
                  <a:gd name="T43" fmla="*/ 25 h 31"/>
                  <a:gd name="T44" fmla="*/ 5 w 17"/>
                  <a:gd name="T45" fmla="*/ 26 h 31"/>
                  <a:gd name="T46" fmla="*/ 4 w 17"/>
                  <a:gd name="T47" fmla="*/ 27 h 31"/>
                  <a:gd name="T48" fmla="*/ 7 w 17"/>
                  <a:gd name="T49" fmla="*/ 31 h 31"/>
                  <a:gd name="T50" fmla="*/ 9 w 17"/>
                  <a:gd name="T51" fmla="*/ 21 h 31"/>
                  <a:gd name="T52" fmla="*/ 10 w 17"/>
                  <a:gd name="T53" fmla="*/ 25 h 31"/>
                  <a:gd name="T54" fmla="*/ 11 w 17"/>
                  <a:gd name="T55" fmla="*/ 25 h 31"/>
                  <a:gd name="T56" fmla="*/ 11 w 17"/>
                  <a:gd name="T57" fmla="*/ 19 h 31"/>
                  <a:gd name="T58" fmla="*/ 12 w 17"/>
                  <a:gd name="T59" fmla="*/ 21 h 31"/>
                  <a:gd name="T60" fmla="*/ 12 w 17"/>
                  <a:gd name="T61" fmla="*/ 11 h 31"/>
                  <a:gd name="T62" fmla="*/ 13 w 17"/>
                  <a:gd name="T63" fmla="*/ 11 h 31"/>
                  <a:gd name="T64" fmla="*/ 14 w 17"/>
                  <a:gd name="T65" fmla="*/ 11 h 31"/>
                  <a:gd name="T66" fmla="*/ 15 w 17"/>
                  <a:gd name="T67" fmla="*/ 11 h 31"/>
                  <a:gd name="T68" fmla="*/ 15 w 17"/>
                  <a:gd name="T69" fmla="*/ 11 h 31"/>
                  <a:gd name="T70" fmla="*/ 16 w 17"/>
                  <a:gd name="T71" fmla="*/ 6 h 31"/>
                  <a:gd name="T72" fmla="*/ 13 w 17"/>
                  <a:gd name="T73" fmla="*/ 5 h 31"/>
                  <a:gd name="T74" fmla="*/ 13 w 17"/>
                  <a:gd name="T75" fmla="*/ 8 h 31"/>
                  <a:gd name="T76" fmla="*/ 4 w 17"/>
                  <a:gd name="T7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 h="31">
                    <a:moveTo>
                      <a:pt x="4" y="0"/>
                    </a:moveTo>
                    <a:cubicBezTo>
                      <a:pt x="5" y="1"/>
                      <a:pt x="6" y="2"/>
                      <a:pt x="7" y="3"/>
                    </a:cubicBezTo>
                    <a:cubicBezTo>
                      <a:pt x="6" y="3"/>
                      <a:pt x="4" y="2"/>
                      <a:pt x="2" y="2"/>
                    </a:cubicBezTo>
                    <a:cubicBezTo>
                      <a:pt x="2" y="2"/>
                      <a:pt x="1" y="2"/>
                      <a:pt x="0" y="3"/>
                    </a:cubicBezTo>
                    <a:cubicBezTo>
                      <a:pt x="1" y="7"/>
                      <a:pt x="1" y="7"/>
                      <a:pt x="1" y="7"/>
                    </a:cubicBezTo>
                    <a:cubicBezTo>
                      <a:pt x="1" y="8"/>
                      <a:pt x="2" y="8"/>
                      <a:pt x="2" y="8"/>
                    </a:cubicBezTo>
                    <a:cubicBezTo>
                      <a:pt x="3" y="8"/>
                      <a:pt x="3" y="8"/>
                      <a:pt x="3" y="8"/>
                    </a:cubicBezTo>
                    <a:cubicBezTo>
                      <a:pt x="3" y="8"/>
                      <a:pt x="3" y="8"/>
                      <a:pt x="4" y="8"/>
                    </a:cubicBezTo>
                    <a:cubicBezTo>
                      <a:pt x="4" y="8"/>
                      <a:pt x="4" y="8"/>
                      <a:pt x="5" y="9"/>
                    </a:cubicBezTo>
                    <a:cubicBezTo>
                      <a:pt x="5" y="9"/>
                      <a:pt x="2" y="10"/>
                      <a:pt x="4" y="11"/>
                    </a:cubicBezTo>
                    <a:cubicBezTo>
                      <a:pt x="4" y="11"/>
                      <a:pt x="4" y="11"/>
                      <a:pt x="4" y="11"/>
                    </a:cubicBezTo>
                    <a:cubicBezTo>
                      <a:pt x="4" y="11"/>
                      <a:pt x="5" y="10"/>
                      <a:pt x="6" y="10"/>
                    </a:cubicBezTo>
                    <a:cubicBezTo>
                      <a:pt x="6" y="10"/>
                      <a:pt x="7" y="10"/>
                      <a:pt x="7" y="10"/>
                    </a:cubicBezTo>
                    <a:cubicBezTo>
                      <a:pt x="7" y="10"/>
                      <a:pt x="7" y="10"/>
                      <a:pt x="7" y="10"/>
                    </a:cubicBezTo>
                    <a:cubicBezTo>
                      <a:pt x="6" y="10"/>
                      <a:pt x="4" y="11"/>
                      <a:pt x="3" y="12"/>
                    </a:cubicBezTo>
                    <a:cubicBezTo>
                      <a:pt x="3" y="12"/>
                      <a:pt x="4" y="12"/>
                      <a:pt x="4" y="12"/>
                    </a:cubicBezTo>
                    <a:cubicBezTo>
                      <a:pt x="6" y="12"/>
                      <a:pt x="8" y="13"/>
                      <a:pt x="9" y="15"/>
                    </a:cubicBezTo>
                    <a:cubicBezTo>
                      <a:pt x="7" y="16"/>
                      <a:pt x="10" y="17"/>
                      <a:pt x="9" y="19"/>
                    </a:cubicBezTo>
                    <a:cubicBezTo>
                      <a:pt x="8" y="18"/>
                      <a:pt x="7" y="17"/>
                      <a:pt x="6" y="17"/>
                    </a:cubicBezTo>
                    <a:cubicBezTo>
                      <a:pt x="5" y="17"/>
                      <a:pt x="3" y="19"/>
                      <a:pt x="3" y="21"/>
                    </a:cubicBezTo>
                    <a:cubicBezTo>
                      <a:pt x="4" y="21"/>
                      <a:pt x="5" y="21"/>
                      <a:pt x="6" y="20"/>
                    </a:cubicBezTo>
                    <a:cubicBezTo>
                      <a:pt x="4" y="22"/>
                      <a:pt x="4" y="23"/>
                      <a:pt x="4" y="25"/>
                    </a:cubicBezTo>
                    <a:cubicBezTo>
                      <a:pt x="4" y="26"/>
                      <a:pt x="5" y="25"/>
                      <a:pt x="5" y="26"/>
                    </a:cubicBezTo>
                    <a:cubicBezTo>
                      <a:pt x="5" y="26"/>
                      <a:pt x="4" y="27"/>
                      <a:pt x="4" y="27"/>
                    </a:cubicBezTo>
                    <a:cubicBezTo>
                      <a:pt x="5" y="28"/>
                      <a:pt x="5" y="30"/>
                      <a:pt x="7" y="31"/>
                    </a:cubicBezTo>
                    <a:cubicBezTo>
                      <a:pt x="7" y="27"/>
                      <a:pt x="7" y="24"/>
                      <a:pt x="9" y="21"/>
                    </a:cubicBezTo>
                    <a:cubicBezTo>
                      <a:pt x="10" y="23"/>
                      <a:pt x="8" y="24"/>
                      <a:pt x="10" y="25"/>
                    </a:cubicBezTo>
                    <a:cubicBezTo>
                      <a:pt x="11" y="25"/>
                      <a:pt x="11" y="25"/>
                      <a:pt x="11" y="25"/>
                    </a:cubicBezTo>
                    <a:cubicBezTo>
                      <a:pt x="13" y="25"/>
                      <a:pt x="11" y="20"/>
                      <a:pt x="11" y="19"/>
                    </a:cubicBezTo>
                    <a:cubicBezTo>
                      <a:pt x="12" y="20"/>
                      <a:pt x="12" y="21"/>
                      <a:pt x="12" y="21"/>
                    </a:cubicBezTo>
                    <a:cubicBezTo>
                      <a:pt x="14" y="21"/>
                      <a:pt x="12" y="11"/>
                      <a:pt x="12" y="11"/>
                    </a:cubicBezTo>
                    <a:cubicBezTo>
                      <a:pt x="12" y="11"/>
                      <a:pt x="12" y="11"/>
                      <a:pt x="13" y="11"/>
                    </a:cubicBezTo>
                    <a:cubicBezTo>
                      <a:pt x="13" y="11"/>
                      <a:pt x="13" y="11"/>
                      <a:pt x="14" y="11"/>
                    </a:cubicBezTo>
                    <a:cubicBezTo>
                      <a:pt x="14" y="11"/>
                      <a:pt x="15" y="11"/>
                      <a:pt x="15" y="11"/>
                    </a:cubicBezTo>
                    <a:cubicBezTo>
                      <a:pt x="15" y="11"/>
                      <a:pt x="15" y="11"/>
                      <a:pt x="15" y="11"/>
                    </a:cubicBezTo>
                    <a:cubicBezTo>
                      <a:pt x="17" y="10"/>
                      <a:pt x="17" y="7"/>
                      <a:pt x="16" y="6"/>
                    </a:cubicBezTo>
                    <a:cubicBezTo>
                      <a:pt x="16" y="5"/>
                      <a:pt x="14" y="5"/>
                      <a:pt x="13" y="5"/>
                    </a:cubicBezTo>
                    <a:cubicBezTo>
                      <a:pt x="13" y="6"/>
                      <a:pt x="13" y="7"/>
                      <a:pt x="13" y="8"/>
                    </a:cubicBezTo>
                    <a:cubicBezTo>
                      <a:pt x="10" y="3"/>
                      <a:pt x="10"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1" name="Freeform 124">
                <a:extLst>
                  <a:ext uri="{FF2B5EF4-FFF2-40B4-BE49-F238E27FC236}">
                    <a16:creationId xmlns:a16="http://schemas.microsoft.com/office/drawing/2014/main" id="{100651A1-0634-438F-A232-C671E6F1F024}"/>
                  </a:ext>
                </a:extLst>
              </p:cNvPr>
              <p:cNvSpPr>
                <a:spLocks/>
              </p:cNvSpPr>
              <p:nvPr/>
            </p:nvSpPr>
            <p:spPr bwMode="auto">
              <a:xfrm>
                <a:off x="2720" y="1509"/>
                <a:ext cx="36" cy="34"/>
              </a:xfrm>
              <a:custGeom>
                <a:avLst/>
                <a:gdLst>
                  <a:gd name="T0" fmla="*/ 6 w 15"/>
                  <a:gd name="T1" fmla="*/ 0 h 14"/>
                  <a:gd name="T2" fmla="*/ 4 w 15"/>
                  <a:gd name="T3" fmla="*/ 2 h 14"/>
                  <a:gd name="T4" fmla="*/ 1 w 15"/>
                  <a:gd name="T5" fmla="*/ 5 h 14"/>
                  <a:gd name="T6" fmla="*/ 3 w 15"/>
                  <a:gd name="T7" fmla="*/ 8 h 14"/>
                  <a:gd name="T8" fmla="*/ 6 w 15"/>
                  <a:gd name="T9" fmla="*/ 9 h 14"/>
                  <a:gd name="T10" fmla="*/ 6 w 15"/>
                  <a:gd name="T11" fmla="*/ 10 h 14"/>
                  <a:gd name="T12" fmla="*/ 7 w 15"/>
                  <a:gd name="T13" fmla="*/ 10 h 14"/>
                  <a:gd name="T14" fmla="*/ 7 w 15"/>
                  <a:gd name="T15" fmla="*/ 10 h 14"/>
                  <a:gd name="T16" fmla="*/ 8 w 15"/>
                  <a:gd name="T17" fmla="*/ 10 h 14"/>
                  <a:gd name="T18" fmla="*/ 8 w 15"/>
                  <a:gd name="T19" fmla="*/ 10 h 14"/>
                  <a:gd name="T20" fmla="*/ 8 w 15"/>
                  <a:gd name="T21" fmla="*/ 12 h 14"/>
                  <a:gd name="T22" fmla="*/ 10 w 15"/>
                  <a:gd name="T23" fmla="*/ 14 h 14"/>
                  <a:gd name="T24" fmla="*/ 12 w 15"/>
                  <a:gd name="T25" fmla="*/ 13 h 14"/>
                  <a:gd name="T26" fmla="*/ 13 w 15"/>
                  <a:gd name="T27" fmla="*/ 13 h 14"/>
                  <a:gd name="T28" fmla="*/ 13 w 15"/>
                  <a:gd name="T29" fmla="*/ 13 h 14"/>
                  <a:gd name="T30" fmla="*/ 13 w 15"/>
                  <a:gd name="T31" fmla="*/ 13 h 14"/>
                  <a:gd name="T32" fmla="*/ 14 w 15"/>
                  <a:gd name="T33" fmla="*/ 12 h 14"/>
                  <a:gd name="T34" fmla="*/ 15 w 15"/>
                  <a:gd name="T35" fmla="*/ 8 h 14"/>
                  <a:gd name="T36" fmla="*/ 7 w 15"/>
                  <a:gd name="T37" fmla="*/ 5 h 14"/>
                  <a:gd name="T38" fmla="*/ 6 w 15"/>
                  <a:gd name="T39" fmla="*/ 5 h 14"/>
                  <a:gd name="T40" fmla="*/ 8 w 15"/>
                  <a:gd name="T41" fmla="*/ 0 h 14"/>
                  <a:gd name="T42" fmla="*/ 6 w 15"/>
                  <a:gd name="T4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 h="14">
                    <a:moveTo>
                      <a:pt x="6" y="0"/>
                    </a:moveTo>
                    <a:cubicBezTo>
                      <a:pt x="5" y="0"/>
                      <a:pt x="5" y="1"/>
                      <a:pt x="4" y="2"/>
                    </a:cubicBezTo>
                    <a:cubicBezTo>
                      <a:pt x="2" y="4"/>
                      <a:pt x="1" y="3"/>
                      <a:pt x="1" y="5"/>
                    </a:cubicBezTo>
                    <a:cubicBezTo>
                      <a:pt x="0" y="7"/>
                      <a:pt x="1" y="7"/>
                      <a:pt x="3" y="8"/>
                    </a:cubicBezTo>
                    <a:cubicBezTo>
                      <a:pt x="4" y="9"/>
                      <a:pt x="5" y="8"/>
                      <a:pt x="6" y="9"/>
                    </a:cubicBezTo>
                    <a:cubicBezTo>
                      <a:pt x="7" y="9"/>
                      <a:pt x="6" y="10"/>
                      <a:pt x="6" y="10"/>
                    </a:cubicBezTo>
                    <a:cubicBezTo>
                      <a:pt x="7" y="10"/>
                      <a:pt x="7" y="10"/>
                      <a:pt x="7" y="10"/>
                    </a:cubicBezTo>
                    <a:cubicBezTo>
                      <a:pt x="7" y="10"/>
                      <a:pt x="7" y="10"/>
                      <a:pt x="7" y="10"/>
                    </a:cubicBezTo>
                    <a:cubicBezTo>
                      <a:pt x="7" y="10"/>
                      <a:pt x="8" y="10"/>
                      <a:pt x="8" y="10"/>
                    </a:cubicBezTo>
                    <a:cubicBezTo>
                      <a:pt x="8" y="10"/>
                      <a:pt x="8" y="10"/>
                      <a:pt x="8" y="10"/>
                    </a:cubicBezTo>
                    <a:cubicBezTo>
                      <a:pt x="9" y="11"/>
                      <a:pt x="7" y="12"/>
                      <a:pt x="8" y="12"/>
                    </a:cubicBezTo>
                    <a:cubicBezTo>
                      <a:pt x="8" y="13"/>
                      <a:pt x="9" y="14"/>
                      <a:pt x="10" y="14"/>
                    </a:cubicBezTo>
                    <a:cubicBezTo>
                      <a:pt x="11" y="14"/>
                      <a:pt x="11" y="13"/>
                      <a:pt x="12" y="13"/>
                    </a:cubicBezTo>
                    <a:cubicBezTo>
                      <a:pt x="12" y="13"/>
                      <a:pt x="13" y="13"/>
                      <a:pt x="13" y="13"/>
                    </a:cubicBezTo>
                    <a:cubicBezTo>
                      <a:pt x="13" y="13"/>
                      <a:pt x="13" y="13"/>
                      <a:pt x="13" y="13"/>
                    </a:cubicBezTo>
                    <a:cubicBezTo>
                      <a:pt x="13" y="13"/>
                      <a:pt x="13" y="13"/>
                      <a:pt x="13" y="13"/>
                    </a:cubicBezTo>
                    <a:cubicBezTo>
                      <a:pt x="14" y="13"/>
                      <a:pt x="14" y="13"/>
                      <a:pt x="14" y="12"/>
                    </a:cubicBezTo>
                    <a:cubicBezTo>
                      <a:pt x="14" y="12"/>
                      <a:pt x="15" y="8"/>
                      <a:pt x="15" y="8"/>
                    </a:cubicBezTo>
                    <a:cubicBezTo>
                      <a:pt x="13" y="6"/>
                      <a:pt x="10" y="5"/>
                      <a:pt x="7" y="5"/>
                    </a:cubicBezTo>
                    <a:cubicBezTo>
                      <a:pt x="7" y="5"/>
                      <a:pt x="7" y="5"/>
                      <a:pt x="6" y="5"/>
                    </a:cubicBezTo>
                    <a:cubicBezTo>
                      <a:pt x="6" y="3"/>
                      <a:pt x="7" y="1"/>
                      <a:pt x="8" y="0"/>
                    </a:cubicBezTo>
                    <a:cubicBezTo>
                      <a:pt x="7"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2" name="Freeform 125">
                <a:extLst>
                  <a:ext uri="{FF2B5EF4-FFF2-40B4-BE49-F238E27FC236}">
                    <a16:creationId xmlns:a16="http://schemas.microsoft.com/office/drawing/2014/main" id="{05F168A2-88FC-4FEA-91E8-5F4A0688F95D}"/>
                  </a:ext>
                </a:extLst>
              </p:cNvPr>
              <p:cNvSpPr>
                <a:spLocks/>
              </p:cNvSpPr>
              <p:nvPr/>
            </p:nvSpPr>
            <p:spPr bwMode="auto">
              <a:xfrm>
                <a:off x="925" y="1682"/>
                <a:ext cx="10" cy="2"/>
              </a:xfrm>
              <a:custGeom>
                <a:avLst/>
                <a:gdLst>
                  <a:gd name="T0" fmla="*/ 1 w 4"/>
                  <a:gd name="T1" fmla="*/ 0 h 1"/>
                  <a:gd name="T2" fmla="*/ 0 w 4"/>
                  <a:gd name="T3" fmla="*/ 0 h 1"/>
                  <a:gd name="T4" fmla="*/ 4 w 4"/>
                  <a:gd name="T5" fmla="*/ 1 h 1"/>
                  <a:gd name="T6" fmla="*/ 1 w 4"/>
                  <a:gd name="T7" fmla="*/ 0 h 1"/>
                </a:gdLst>
                <a:ahLst/>
                <a:cxnLst>
                  <a:cxn ang="0">
                    <a:pos x="T0" y="T1"/>
                  </a:cxn>
                  <a:cxn ang="0">
                    <a:pos x="T2" y="T3"/>
                  </a:cxn>
                  <a:cxn ang="0">
                    <a:pos x="T4" y="T5"/>
                  </a:cxn>
                  <a:cxn ang="0">
                    <a:pos x="T6" y="T7"/>
                  </a:cxn>
                </a:cxnLst>
                <a:rect l="0" t="0" r="r" b="b"/>
                <a:pathLst>
                  <a:path w="4" h="1">
                    <a:moveTo>
                      <a:pt x="1" y="0"/>
                    </a:moveTo>
                    <a:cubicBezTo>
                      <a:pt x="0" y="0"/>
                      <a:pt x="0" y="0"/>
                      <a:pt x="0" y="0"/>
                    </a:cubicBezTo>
                    <a:cubicBezTo>
                      <a:pt x="1" y="0"/>
                      <a:pt x="2" y="1"/>
                      <a:pt x="4" y="1"/>
                    </a:cubicBezTo>
                    <a:cubicBezTo>
                      <a:pt x="3"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3" name="Freeform 126">
                <a:extLst>
                  <a:ext uri="{FF2B5EF4-FFF2-40B4-BE49-F238E27FC236}">
                    <a16:creationId xmlns:a16="http://schemas.microsoft.com/office/drawing/2014/main" id="{5EA5DF84-2C11-4CCA-9126-6AACC955DD92}"/>
                  </a:ext>
                </a:extLst>
              </p:cNvPr>
              <p:cNvSpPr>
                <a:spLocks/>
              </p:cNvSpPr>
              <p:nvPr/>
            </p:nvSpPr>
            <p:spPr bwMode="auto">
              <a:xfrm>
                <a:off x="817" y="1183"/>
                <a:ext cx="106" cy="54"/>
              </a:xfrm>
              <a:custGeom>
                <a:avLst/>
                <a:gdLst>
                  <a:gd name="T0" fmla="*/ 30 w 45"/>
                  <a:gd name="T1" fmla="*/ 0 h 23"/>
                  <a:gd name="T2" fmla="*/ 24 w 45"/>
                  <a:gd name="T3" fmla="*/ 2 h 23"/>
                  <a:gd name="T4" fmla="*/ 23 w 45"/>
                  <a:gd name="T5" fmla="*/ 1 h 23"/>
                  <a:gd name="T6" fmla="*/ 19 w 45"/>
                  <a:gd name="T7" fmla="*/ 3 h 23"/>
                  <a:gd name="T8" fmla="*/ 15 w 45"/>
                  <a:gd name="T9" fmla="*/ 4 h 23"/>
                  <a:gd name="T10" fmla="*/ 12 w 45"/>
                  <a:gd name="T11" fmla="*/ 7 h 23"/>
                  <a:gd name="T12" fmla="*/ 12 w 45"/>
                  <a:gd name="T13" fmla="*/ 7 h 23"/>
                  <a:gd name="T14" fmla="*/ 6 w 45"/>
                  <a:gd name="T15" fmla="*/ 6 h 23"/>
                  <a:gd name="T16" fmla="*/ 5 w 45"/>
                  <a:gd name="T17" fmla="*/ 6 h 23"/>
                  <a:gd name="T18" fmla="*/ 0 w 45"/>
                  <a:gd name="T19" fmla="*/ 7 h 23"/>
                  <a:gd name="T20" fmla="*/ 29 w 45"/>
                  <a:gd name="T21" fmla="*/ 23 h 23"/>
                  <a:gd name="T22" fmla="*/ 29 w 45"/>
                  <a:gd name="T23" fmla="*/ 19 h 23"/>
                  <a:gd name="T24" fmla="*/ 30 w 45"/>
                  <a:gd name="T25" fmla="*/ 19 h 23"/>
                  <a:gd name="T26" fmla="*/ 31 w 45"/>
                  <a:gd name="T27" fmla="*/ 19 h 23"/>
                  <a:gd name="T28" fmla="*/ 33 w 45"/>
                  <a:gd name="T29" fmla="*/ 19 h 23"/>
                  <a:gd name="T30" fmla="*/ 38 w 45"/>
                  <a:gd name="T31" fmla="*/ 18 h 23"/>
                  <a:gd name="T32" fmla="*/ 39 w 45"/>
                  <a:gd name="T33" fmla="*/ 17 h 23"/>
                  <a:gd name="T34" fmla="*/ 39 w 45"/>
                  <a:gd name="T35" fmla="*/ 17 h 23"/>
                  <a:gd name="T36" fmla="*/ 40 w 45"/>
                  <a:gd name="T37" fmla="*/ 17 h 23"/>
                  <a:gd name="T38" fmla="*/ 40 w 45"/>
                  <a:gd name="T39" fmla="*/ 18 h 23"/>
                  <a:gd name="T40" fmla="*/ 40 w 45"/>
                  <a:gd name="T41" fmla="*/ 18 h 23"/>
                  <a:gd name="T42" fmla="*/ 43 w 45"/>
                  <a:gd name="T43" fmla="*/ 17 h 23"/>
                  <a:gd name="T44" fmla="*/ 40 w 45"/>
                  <a:gd name="T45" fmla="*/ 12 h 23"/>
                  <a:gd name="T46" fmla="*/ 41 w 45"/>
                  <a:gd name="T47" fmla="*/ 9 h 23"/>
                  <a:gd name="T48" fmla="*/ 40 w 45"/>
                  <a:gd name="T49" fmla="*/ 8 h 23"/>
                  <a:gd name="T50" fmla="*/ 41 w 45"/>
                  <a:gd name="T51" fmla="*/ 7 h 23"/>
                  <a:gd name="T52" fmla="*/ 36 w 45"/>
                  <a:gd name="T53" fmla="*/ 3 h 23"/>
                  <a:gd name="T54" fmla="*/ 35 w 45"/>
                  <a:gd name="T55" fmla="*/ 3 h 23"/>
                  <a:gd name="T56" fmla="*/ 33 w 45"/>
                  <a:gd name="T57" fmla="*/ 3 h 23"/>
                  <a:gd name="T58" fmla="*/ 32 w 45"/>
                  <a:gd name="T59" fmla="*/ 2 h 23"/>
                  <a:gd name="T60" fmla="*/ 31 w 45"/>
                  <a:gd name="T61" fmla="*/ 0 h 23"/>
                  <a:gd name="T62" fmla="*/ 30 w 45"/>
                  <a:gd name="T6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23">
                    <a:moveTo>
                      <a:pt x="30" y="0"/>
                    </a:moveTo>
                    <a:cubicBezTo>
                      <a:pt x="29" y="0"/>
                      <a:pt x="25" y="2"/>
                      <a:pt x="24" y="2"/>
                    </a:cubicBezTo>
                    <a:cubicBezTo>
                      <a:pt x="24" y="1"/>
                      <a:pt x="24" y="1"/>
                      <a:pt x="23" y="1"/>
                    </a:cubicBezTo>
                    <a:cubicBezTo>
                      <a:pt x="21" y="1"/>
                      <a:pt x="19" y="3"/>
                      <a:pt x="19" y="3"/>
                    </a:cubicBezTo>
                    <a:cubicBezTo>
                      <a:pt x="18" y="3"/>
                      <a:pt x="16" y="3"/>
                      <a:pt x="15" y="4"/>
                    </a:cubicBezTo>
                    <a:cubicBezTo>
                      <a:pt x="14" y="5"/>
                      <a:pt x="14" y="7"/>
                      <a:pt x="12" y="7"/>
                    </a:cubicBezTo>
                    <a:cubicBezTo>
                      <a:pt x="12" y="7"/>
                      <a:pt x="12" y="7"/>
                      <a:pt x="12" y="7"/>
                    </a:cubicBezTo>
                    <a:cubicBezTo>
                      <a:pt x="10" y="7"/>
                      <a:pt x="7" y="6"/>
                      <a:pt x="6" y="6"/>
                    </a:cubicBezTo>
                    <a:cubicBezTo>
                      <a:pt x="6" y="6"/>
                      <a:pt x="6" y="6"/>
                      <a:pt x="5" y="6"/>
                    </a:cubicBezTo>
                    <a:cubicBezTo>
                      <a:pt x="3" y="6"/>
                      <a:pt x="2" y="7"/>
                      <a:pt x="0" y="7"/>
                    </a:cubicBezTo>
                    <a:cubicBezTo>
                      <a:pt x="9" y="12"/>
                      <a:pt x="19" y="18"/>
                      <a:pt x="29" y="23"/>
                    </a:cubicBezTo>
                    <a:cubicBezTo>
                      <a:pt x="28" y="21"/>
                      <a:pt x="27" y="19"/>
                      <a:pt x="29" y="19"/>
                    </a:cubicBezTo>
                    <a:cubicBezTo>
                      <a:pt x="29" y="19"/>
                      <a:pt x="30" y="19"/>
                      <a:pt x="30" y="19"/>
                    </a:cubicBezTo>
                    <a:cubicBezTo>
                      <a:pt x="31" y="19"/>
                      <a:pt x="31" y="19"/>
                      <a:pt x="31" y="19"/>
                    </a:cubicBezTo>
                    <a:cubicBezTo>
                      <a:pt x="32" y="19"/>
                      <a:pt x="32" y="19"/>
                      <a:pt x="33" y="19"/>
                    </a:cubicBezTo>
                    <a:cubicBezTo>
                      <a:pt x="35" y="19"/>
                      <a:pt x="36" y="18"/>
                      <a:pt x="38" y="18"/>
                    </a:cubicBezTo>
                    <a:cubicBezTo>
                      <a:pt x="38" y="18"/>
                      <a:pt x="39" y="17"/>
                      <a:pt x="39" y="17"/>
                    </a:cubicBezTo>
                    <a:cubicBezTo>
                      <a:pt x="39" y="17"/>
                      <a:pt x="39" y="17"/>
                      <a:pt x="39" y="17"/>
                    </a:cubicBezTo>
                    <a:cubicBezTo>
                      <a:pt x="39" y="17"/>
                      <a:pt x="40" y="17"/>
                      <a:pt x="40" y="17"/>
                    </a:cubicBezTo>
                    <a:cubicBezTo>
                      <a:pt x="40" y="18"/>
                      <a:pt x="40" y="18"/>
                      <a:pt x="40" y="18"/>
                    </a:cubicBezTo>
                    <a:cubicBezTo>
                      <a:pt x="40" y="18"/>
                      <a:pt x="40" y="18"/>
                      <a:pt x="40" y="18"/>
                    </a:cubicBezTo>
                    <a:cubicBezTo>
                      <a:pt x="41" y="18"/>
                      <a:pt x="42" y="18"/>
                      <a:pt x="43" y="17"/>
                    </a:cubicBezTo>
                    <a:cubicBezTo>
                      <a:pt x="45" y="15"/>
                      <a:pt x="42" y="12"/>
                      <a:pt x="40" y="12"/>
                    </a:cubicBezTo>
                    <a:cubicBezTo>
                      <a:pt x="41" y="11"/>
                      <a:pt x="40" y="10"/>
                      <a:pt x="41" y="9"/>
                    </a:cubicBezTo>
                    <a:cubicBezTo>
                      <a:pt x="41" y="9"/>
                      <a:pt x="40" y="9"/>
                      <a:pt x="40" y="8"/>
                    </a:cubicBezTo>
                    <a:cubicBezTo>
                      <a:pt x="40" y="8"/>
                      <a:pt x="41" y="8"/>
                      <a:pt x="41" y="7"/>
                    </a:cubicBezTo>
                    <a:cubicBezTo>
                      <a:pt x="41" y="4"/>
                      <a:pt x="39" y="3"/>
                      <a:pt x="36" y="3"/>
                    </a:cubicBezTo>
                    <a:cubicBezTo>
                      <a:pt x="36" y="3"/>
                      <a:pt x="35" y="3"/>
                      <a:pt x="35" y="3"/>
                    </a:cubicBezTo>
                    <a:cubicBezTo>
                      <a:pt x="34" y="3"/>
                      <a:pt x="34" y="3"/>
                      <a:pt x="33" y="3"/>
                    </a:cubicBezTo>
                    <a:cubicBezTo>
                      <a:pt x="33" y="3"/>
                      <a:pt x="32" y="3"/>
                      <a:pt x="32" y="2"/>
                    </a:cubicBezTo>
                    <a:cubicBezTo>
                      <a:pt x="31" y="2"/>
                      <a:pt x="31" y="0"/>
                      <a:pt x="31" y="0"/>
                    </a:cubicBezTo>
                    <a:cubicBezTo>
                      <a:pt x="31" y="0"/>
                      <a:pt x="30"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4" name="Freeform 127">
                <a:extLst>
                  <a:ext uri="{FF2B5EF4-FFF2-40B4-BE49-F238E27FC236}">
                    <a16:creationId xmlns:a16="http://schemas.microsoft.com/office/drawing/2014/main" id="{49A8CBCD-996B-4848-B8CC-528F0C9F1A5C}"/>
                  </a:ext>
                </a:extLst>
              </p:cNvPr>
              <p:cNvSpPr>
                <a:spLocks/>
              </p:cNvSpPr>
              <p:nvPr/>
            </p:nvSpPr>
            <p:spPr bwMode="auto">
              <a:xfrm>
                <a:off x="1632" y="1330"/>
                <a:ext cx="12" cy="4"/>
              </a:xfrm>
              <a:custGeom>
                <a:avLst/>
                <a:gdLst>
                  <a:gd name="T0" fmla="*/ 3 w 5"/>
                  <a:gd name="T1" fmla="*/ 0 h 2"/>
                  <a:gd name="T2" fmla="*/ 0 w 5"/>
                  <a:gd name="T3" fmla="*/ 2 h 2"/>
                  <a:gd name="T4" fmla="*/ 5 w 5"/>
                  <a:gd name="T5" fmla="*/ 1 h 2"/>
                  <a:gd name="T6" fmla="*/ 3 w 5"/>
                  <a:gd name="T7" fmla="*/ 0 h 2"/>
                </a:gdLst>
                <a:ahLst/>
                <a:cxnLst>
                  <a:cxn ang="0">
                    <a:pos x="T0" y="T1"/>
                  </a:cxn>
                  <a:cxn ang="0">
                    <a:pos x="T2" y="T3"/>
                  </a:cxn>
                  <a:cxn ang="0">
                    <a:pos x="T4" y="T5"/>
                  </a:cxn>
                  <a:cxn ang="0">
                    <a:pos x="T6" y="T7"/>
                  </a:cxn>
                </a:cxnLst>
                <a:rect l="0" t="0" r="r" b="b"/>
                <a:pathLst>
                  <a:path w="5" h="2">
                    <a:moveTo>
                      <a:pt x="3" y="0"/>
                    </a:moveTo>
                    <a:cubicBezTo>
                      <a:pt x="2" y="0"/>
                      <a:pt x="0" y="0"/>
                      <a:pt x="0" y="2"/>
                    </a:cubicBezTo>
                    <a:cubicBezTo>
                      <a:pt x="1" y="1"/>
                      <a:pt x="3" y="1"/>
                      <a:pt x="5"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5" name="Freeform 128">
                <a:extLst>
                  <a:ext uri="{FF2B5EF4-FFF2-40B4-BE49-F238E27FC236}">
                    <a16:creationId xmlns:a16="http://schemas.microsoft.com/office/drawing/2014/main" id="{0E1A56B2-CE93-49FC-AC50-F6D7D1AFD245}"/>
                  </a:ext>
                </a:extLst>
              </p:cNvPr>
              <p:cNvSpPr>
                <a:spLocks/>
              </p:cNvSpPr>
              <p:nvPr/>
            </p:nvSpPr>
            <p:spPr bwMode="auto">
              <a:xfrm>
                <a:off x="5028" y="2195"/>
                <a:ext cx="7" cy="3"/>
              </a:xfrm>
              <a:custGeom>
                <a:avLst/>
                <a:gdLst>
                  <a:gd name="T0" fmla="*/ 3 w 3"/>
                  <a:gd name="T1" fmla="*/ 0 h 1"/>
                  <a:gd name="T2" fmla="*/ 0 w 3"/>
                  <a:gd name="T3" fmla="*/ 1 h 1"/>
                  <a:gd name="T4" fmla="*/ 3 w 3"/>
                  <a:gd name="T5" fmla="*/ 0 h 1"/>
                  <a:gd name="T6" fmla="*/ 3 w 3"/>
                  <a:gd name="T7" fmla="*/ 0 h 1"/>
                </a:gdLst>
                <a:ahLst/>
                <a:cxnLst>
                  <a:cxn ang="0">
                    <a:pos x="T0" y="T1"/>
                  </a:cxn>
                  <a:cxn ang="0">
                    <a:pos x="T2" y="T3"/>
                  </a:cxn>
                  <a:cxn ang="0">
                    <a:pos x="T4" y="T5"/>
                  </a:cxn>
                  <a:cxn ang="0">
                    <a:pos x="T6" y="T7"/>
                  </a:cxn>
                </a:cxnLst>
                <a:rect l="0" t="0" r="r" b="b"/>
                <a:pathLst>
                  <a:path w="3" h="1">
                    <a:moveTo>
                      <a:pt x="3" y="0"/>
                    </a:moveTo>
                    <a:cubicBezTo>
                      <a:pt x="2" y="0"/>
                      <a:pt x="1" y="1"/>
                      <a:pt x="0" y="1"/>
                    </a:cubicBezTo>
                    <a:cubicBezTo>
                      <a:pt x="1" y="1"/>
                      <a:pt x="2" y="1"/>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6" name="Freeform 129">
                <a:extLst>
                  <a:ext uri="{FF2B5EF4-FFF2-40B4-BE49-F238E27FC236}">
                    <a16:creationId xmlns:a16="http://schemas.microsoft.com/office/drawing/2014/main" id="{EEBB05D4-0B64-42DC-BFC9-9407C45ED774}"/>
                  </a:ext>
                </a:extLst>
              </p:cNvPr>
              <p:cNvSpPr>
                <a:spLocks/>
              </p:cNvSpPr>
              <p:nvPr/>
            </p:nvSpPr>
            <p:spPr bwMode="auto">
              <a:xfrm>
                <a:off x="1588" y="1441"/>
                <a:ext cx="26" cy="9"/>
              </a:xfrm>
              <a:custGeom>
                <a:avLst/>
                <a:gdLst>
                  <a:gd name="T0" fmla="*/ 4 w 11"/>
                  <a:gd name="T1" fmla="*/ 0 h 4"/>
                  <a:gd name="T2" fmla="*/ 0 w 11"/>
                  <a:gd name="T3" fmla="*/ 4 h 4"/>
                  <a:gd name="T4" fmla="*/ 11 w 11"/>
                  <a:gd name="T5" fmla="*/ 2 h 4"/>
                  <a:gd name="T6" fmla="*/ 8 w 11"/>
                  <a:gd name="T7" fmla="*/ 1 h 4"/>
                  <a:gd name="T8" fmla="*/ 4 w 11"/>
                  <a:gd name="T9" fmla="*/ 2 h 4"/>
                  <a:gd name="T10" fmla="*/ 4 w 11"/>
                  <a:gd name="T11" fmla="*/ 0 h 4"/>
                </a:gdLst>
                <a:ahLst/>
                <a:cxnLst>
                  <a:cxn ang="0">
                    <a:pos x="T0" y="T1"/>
                  </a:cxn>
                  <a:cxn ang="0">
                    <a:pos x="T2" y="T3"/>
                  </a:cxn>
                  <a:cxn ang="0">
                    <a:pos x="T4" y="T5"/>
                  </a:cxn>
                  <a:cxn ang="0">
                    <a:pos x="T6" y="T7"/>
                  </a:cxn>
                  <a:cxn ang="0">
                    <a:pos x="T8" y="T9"/>
                  </a:cxn>
                  <a:cxn ang="0">
                    <a:pos x="T10" y="T11"/>
                  </a:cxn>
                </a:cxnLst>
                <a:rect l="0" t="0" r="r" b="b"/>
                <a:pathLst>
                  <a:path w="11" h="4">
                    <a:moveTo>
                      <a:pt x="4" y="0"/>
                    </a:moveTo>
                    <a:cubicBezTo>
                      <a:pt x="2" y="1"/>
                      <a:pt x="0" y="3"/>
                      <a:pt x="0" y="4"/>
                    </a:cubicBezTo>
                    <a:cubicBezTo>
                      <a:pt x="4" y="4"/>
                      <a:pt x="8" y="3"/>
                      <a:pt x="11" y="2"/>
                    </a:cubicBezTo>
                    <a:cubicBezTo>
                      <a:pt x="10" y="2"/>
                      <a:pt x="9" y="1"/>
                      <a:pt x="8" y="1"/>
                    </a:cubicBezTo>
                    <a:cubicBezTo>
                      <a:pt x="6" y="1"/>
                      <a:pt x="5" y="2"/>
                      <a:pt x="4" y="2"/>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7" name="Freeform 130">
                <a:extLst>
                  <a:ext uri="{FF2B5EF4-FFF2-40B4-BE49-F238E27FC236}">
                    <a16:creationId xmlns:a16="http://schemas.microsoft.com/office/drawing/2014/main" id="{97E8605A-DC8B-450C-8334-5F8FC50F658C}"/>
                  </a:ext>
                </a:extLst>
              </p:cNvPr>
              <p:cNvSpPr>
                <a:spLocks/>
              </p:cNvSpPr>
              <p:nvPr/>
            </p:nvSpPr>
            <p:spPr bwMode="auto">
              <a:xfrm>
                <a:off x="2597" y="1346"/>
                <a:ext cx="64" cy="109"/>
              </a:xfrm>
              <a:custGeom>
                <a:avLst/>
                <a:gdLst>
                  <a:gd name="T0" fmla="*/ 0 w 27"/>
                  <a:gd name="T1" fmla="*/ 0 h 46"/>
                  <a:gd name="T2" fmla="*/ 2 w 27"/>
                  <a:gd name="T3" fmla="*/ 5 h 46"/>
                  <a:gd name="T4" fmla="*/ 4 w 27"/>
                  <a:gd name="T5" fmla="*/ 8 h 46"/>
                  <a:gd name="T6" fmla="*/ 6 w 27"/>
                  <a:gd name="T7" fmla="*/ 7 h 46"/>
                  <a:gd name="T8" fmla="*/ 4 w 27"/>
                  <a:gd name="T9" fmla="*/ 13 h 46"/>
                  <a:gd name="T10" fmla="*/ 6 w 27"/>
                  <a:gd name="T11" fmla="*/ 17 h 46"/>
                  <a:gd name="T12" fmla="*/ 9 w 27"/>
                  <a:gd name="T13" fmla="*/ 30 h 46"/>
                  <a:gd name="T14" fmla="*/ 14 w 27"/>
                  <a:gd name="T15" fmla="*/ 29 h 46"/>
                  <a:gd name="T16" fmla="*/ 15 w 27"/>
                  <a:gd name="T17" fmla="*/ 35 h 46"/>
                  <a:gd name="T18" fmla="*/ 15 w 27"/>
                  <a:gd name="T19" fmla="*/ 36 h 46"/>
                  <a:gd name="T20" fmla="*/ 14 w 27"/>
                  <a:gd name="T21" fmla="*/ 36 h 46"/>
                  <a:gd name="T22" fmla="*/ 14 w 27"/>
                  <a:gd name="T23" fmla="*/ 35 h 46"/>
                  <a:gd name="T24" fmla="*/ 14 w 27"/>
                  <a:gd name="T25" fmla="*/ 35 h 46"/>
                  <a:gd name="T26" fmla="*/ 12 w 27"/>
                  <a:gd name="T27" fmla="*/ 35 h 46"/>
                  <a:gd name="T28" fmla="*/ 11 w 27"/>
                  <a:gd name="T29" fmla="*/ 38 h 46"/>
                  <a:gd name="T30" fmla="*/ 9 w 27"/>
                  <a:gd name="T31" fmla="*/ 46 h 46"/>
                  <a:gd name="T32" fmla="*/ 14 w 27"/>
                  <a:gd name="T33" fmla="*/ 44 h 46"/>
                  <a:gd name="T34" fmla="*/ 20 w 27"/>
                  <a:gd name="T35" fmla="*/ 37 h 46"/>
                  <a:gd name="T36" fmla="*/ 26 w 27"/>
                  <a:gd name="T37" fmla="*/ 34 h 46"/>
                  <a:gd name="T38" fmla="*/ 25 w 27"/>
                  <a:gd name="T39" fmla="*/ 30 h 46"/>
                  <a:gd name="T40" fmla="*/ 23 w 27"/>
                  <a:gd name="T41" fmla="*/ 26 h 46"/>
                  <a:gd name="T42" fmla="*/ 20 w 27"/>
                  <a:gd name="T43" fmla="*/ 22 h 46"/>
                  <a:gd name="T44" fmla="*/ 17 w 27"/>
                  <a:gd name="T45" fmla="*/ 19 h 46"/>
                  <a:gd name="T46" fmla="*/ 16 w 27"/>
                  <a:gd name="T47" fmla="*/ 19 h 46"/>
                  <a:gd name="T48" fmla="*/ 16 w 27"/>
                  <a:gd name="T49" fmla="*/ 11 h 46"/>
                  <a:gd name="T50" fmla="*/ 20 w 27"/>
                  <a:gd name="T51" fmla="*/ 18 h 46"/>
                  <a:gd name="T52" fmla="*/ 23 w 27"/>
                  <a:gd name="T53" fmla="*/ 21 h 46"/>
                  <a:gd name="T54" fmla="*/ 27 w 27"/>
                  <a:gd name="T55" fmla="*/ 27 h 46"/>
                  <a:gd name="T56" fmla="*/ 25 w 27"/>
                  <a:gd name="T57" fmla="*/ 22 h 46"/>
                  <a:gd name="T58" fmla="*/ 23 w 27"/>
                  <a:gd name="T59" fmla="*/ 18 h 46"/>
                  <a:gd name="T60" fmla="*/ 17 w 27"/>
                  <a:gd name="T61" fmla="*/ 8 h 46"/>
                  <a:gd name="T62" fmla="*/ 16 w 27"/>
                  <a:gd name="T63" fmla="*/ 8 h 46"/>
                  <a:gd name="T64" fmla="*/ 15 w 27"/>
                  <a:gd name="T65" fmla="*/ 8 h 46"/>
                  <a:gd name="T66" fmla="*/ 14 w 27"/>
                  <a:gd name="T67" fmla="*/ 8 h 46"/>
                  <a:gd name="T68" fmla="*/ 13 w 27"/>
                  <a:gd name="T69" fmla="*/ 8 h 46"/>
                  <a:gd name="T70" fmla="*/ 9 w 27"/>
                  <a:gd name="T71" fmla="*/ 8 h 46"/>
                  <a:gd name="T72" fmla="*/ 5 w 27"/>
                  <a:gd name="T73" fmla="*/ 5 h 46"/>
                  <a:gd name="T74" fmla="*/ 0 w 27"/>
                  <a:gd name="T7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 h="46">
                    <a:moveTo>
                      <a:pt x="0" y="0"/>
                    </a:moveTo>
                    <a:cubicBezTo>
                      <a:pt x="0" y="2"/>
                      <a:pt x="0" y="5"/>
                      <a:pt x="2" y="5"/>
                    </a:cubicBezTo>
                    <a:cubicBezTo>
                      <a:pt x="1" y="7"/>
                      <a:pt x="2" y="8"/>
                      <a:pt x="4" y="8"/>
                    </a:cubicBezTo>
                    <a:cubicBezTo>
                      <a:pt x="5" y="8"/>
                      <a:pt x="5" y="8"/>
                      <a:pt x="6" y="7"/>
                    </a:cubicBezTo>
                    <a:cubicBezTo>
                      <a:pt x="5" y="8"/>
                      <a:pt x="4" y="12"/>
                      <a:pt x="4" y="13"/>
                    </a:cubicBezTo>
                    <a:cubicBezTo>
                      <a:pt x="4" y="14"/>
                      <a:pt x="6" y="16"/>
                      <a:pt x="6" y="17"/>
                    </a:cubicBezTo>
                    <a:cubicBezTo>
                      <a:pt x="7" y="22"/>
                      <a:pt x="7" y="25"/>
                      <a:pt x="9" y="30"/>
                    </a:cubicBezTo>
                    <a:cubicBezTo>
                      <a:pt x="11" y="30"/>
                      <a:pt x="13" y="29"/>
                      <a:pt x="14" y="29"/>
                    </a:cubicBezTo>
                    <a:cubicBezTo>
                      <a:pt x="14" y="31"/>
                      <a:pt x="16" y="33"/>
                      <a:pt x="15" y="35"/>
                    </a:cubicBezTo>
                    <a:cubicBezTo>
                      <a:pt x="15" y="36"/>
                      <a:pt x="15" y="36"/>
                      <a:pt x="15" y="36"/>
                    </a:cubicBezTo>
                    <a:cubicBezTo>
                      <a:pt x="15" y="36"/>
                      <a:pt x="14" y="36"/>
                      <a:pt x="14" y="36"/>
                    </a:cubicBezTo>
                    <a:cubicBezTo>
                      <a:pt x="14" y="35"/>
                      <a:pt x="14" y="35"/>
                      <a:pt x="14" y="35"/>
                    </a:cubicBezTo>
                    <a:cubicBezTo>
                      <a:pt x="14" y="35"/>
                      <a:pt x="14" y="35"/>
                      <a:pt x="14" y="35"/>
                    </a:cubicBezTo>
                    <a:cubicBezTo>
                      <a:pt x="12" y="35"/>
                      <a:pt x="12" y="35"/>
                      <a:pt x="12" y="35"/>
                    </a:cubicBezTo>
                    <a:cubicBezTo>
                      <a:pt x="11" y="38"/>
                      <a:pt x="11" y="38"/>
                      <a:pt x="11" y="38"/>
                    </a:cubicBezTo>
                    <a:cubicBezTo>
                      <a:pt x="10" y="41"/>
                      <a:pt x="9" y="44"/>
                      <a:pt x="9" y="46"/>
                    </a:cubicBezTo>
                    <a:cubicBezTo>
                      <a:pt x="11" y="46"/>
                      <a:pt x="12" y="45"/>
                      <a:pt x="14" y="44"/>
                    </a:cubicBezTo>
                    <a:cubicBezTo>
                      <a:pt x="13" y="43"/>
                      <a:pt x="23" y="39"/>
                      <a:pt x="20" y="37"/>
                    </a:cubicBezTo>
                    <a:cubicBezTo>
                      <a:pt x="22" y="36"/>
                      <a:pt x="25" y="36"/>
                      <a:pt x="26" y="34"/>
                    </a:cubicBezTo>
                    <a:cubicBezTo>
                      <a:pt x="27" y="32"/>
                      <a:pt x="26" y="32"/>
                      <a:pt x="25" y="30"/>
                    </a:cubicBezTo>
                    <a:cubicBezTo>
                      <a:pt x="25" y="29"/>
                      <a:pt x="24" y="27"/>
                      <a:pt x="23" y="26"/>
                    </a:cubicBezTo>
                    <a:cubicBezTo>
                      <a:pt x="22" y="25"/>
                      <a:pt x="21" y="23"/>
                      <a:pt x="20" y="22"/>
                    </a:cubicBezTo>
                    <a:cubicBezTo>
                      <a:pt x="19" y="21"/>
                      <a:pt x="18" y="19"/>
                      <a:pt x="17" y="19"/>
                    </a:cubicBezTo>
                    <a:cubicBezTo>
                      <a:pt x="17" y="19"/>
                      <a:pt x="17" y="19"/>
                      <a:pt x="16" y="19"/>
                    </a:cubicBezTo>
                    <a:cubicBezTo>
                      <a:pt x="17" y="15"/>
                      <a:pt x="17" y="15"/>
                      <a:pt x="16" y="11"/>
                    </a:cubicBezTo>
                    <a:cubicBezTo>
                      <a:pt x="18" y="12"/>
                      <a:pt x="19" y="15"/>
                      <a:pt x="20" y="18"/>
                    </a:cubicBezTo>
                    <a:cubicBezTo>
                      <a:pt x="21" y="19"/>
                      <a:pt x="22" y="20"/>
                      <a:pt x="23" y="21"/>
                    </a:cubicBezTo>
                    <a:cubicBezTo>
                      <a:pt x="24" y="24"/>
                      <a:pt x="24" y="25"/>
                      <a:pt x="27" y="27"/>
                    </a:cubicBezTo>
                    <a:cubicBezTo>
                      <a:pt x="26" y="25"/>
                      <a:pt x="25" y="24"/>
                      <a:pt x="25" y="22"/>
                    </a:cubicBezTo>
                    <a:cubicBezTo>
                      <a:pt x="25" y="20"/>
                      <a:pt x="24" y="20"/>
                      <a:pt x="23" y="18"/>
                    </a:cubicBezTo>
                    <a:cubicBezTo>
                      <a:pt x="22" y="15"/>
                      <a:pt x="19" y="9"/>
                      <a:pt x="17" y="8"/>
                    </a:cubicBezTo>
                    <a:cubicBezTo>
                      <a:pt x="17" y="8"/>
                      <a:pt x="16" y="8"/>
                      <a:pt x="16" y="8"/>
                    </a:cubicBezTo>
                    <a:cubicBezTo>
                      <a:pt x="16" y="8"/>
                      <a:pt x="15" y="8"/>
                      <a:pt x="15" y="8"/>
                    </a:cubicBezTo>
                    <a:cubicBezTo>
                      <a:pt x="15" y="8"/>
                      <a:pt x="15" y="8"/>
                      <a:pt x="14" y="8"/>
                    </a:cubicBezTo>
                    <a:cubicBezTo>
                      <a:pt x="14" y="8"/>
                      <a:pt x="13" y="8"/>
                      <a:pt x="13" y="8"/>
                    </a:cubicBezTo>
                    <a:cubicBezTo>
                      <a:pt x="11" y="8"/>
                      <a:pt x="10" y="8"/>
                      <a:pt x="9" y="8"/>
                    </a:cubicBezTo>
                    <a:cubicBezTo>
                      <a:pt x="7" y="8"/>
                      <a:pt x="7" y="7"/>
                      <a:pt x="5" y="5"/>
                    </a:cubicBezTo>
                    <a:cubicBezTo>
                      <a:pt x="4" y="3"/>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8" name="Freeform 131">
                <a:extLst>
                  <a:ext uri="{FF2B5EF4-FFF2-40B4-BE49-F238E27FC236}">
                    <a16:creationId xmlns:a16="http://schemas.microsoft.com/office/drawing/2014/main" id="{010869C3-AC29-4557-BC68-E3A40A9AA25B}"/>
                  </a:ext>
                </a:extLst>
              </p:cNvPr>
              <p:cNvSpPr>
                <a:spLocks/>
              </p:cNvSpPr>
              <p:nvPr/>
            </p:nvSpPr>
            <p:spPr bwMode="auto">
              <a:xfrm>
                <a:off x="2678" y="1587"/>
                <a:ext cx="16" cy="10"/>
              </a:xfrm>
              <a:custGeom>
                <a:avLst/>
                <a:gdLst>
                  <a:gd name="T0" fmla="*/ 5 w 7"/>
                  <a:gd name="T1" fmla="*/ 0 h 4"/>
                  <a:gd name="T2" fmla="*/ 2 w 7"/>
                  <a:gd name="T3" fmla="*/ 3 h 4"/>
                  <a:gd name="T4" fmla="*/ 4 w 7"/>
                  <a:gd name="T5" fmla="*/ 4 h 4"/>
                  <a:gd name="T6" fmla="*/ 4 w 7"/>
                  <a:gd name="T7" fmla="*/ 4 h 4"/>
                  <a:gd name="T8" fmla="*/ 5 w 7"/>
                  <a:gd name="T9" fmla="*/ 4 h 4"/>
                  <a:gd name="T10" fmla="*/ 5 w 7"/>
                  <a:gd name="T11" fmla="*/ 4 h 4"/>
                  <a:gd name="T12" fmla="*/ 5 w 7"/>
                  <a:gd name="T13" fmla="*/ 4 h 4"/>
                  <a:gd name="T14" fmla="*/ 5 w 7"/>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5" y="0"/>
                    </a:moveTo>
                    <a:cubicBezTo>
                      <a:pt x="4" y="0"/>
                      <a:pt x="0" y="0"/>
                      <a:pt x="2" y="3"/>
                    </a:cubicBezTo>
                    <a:cubicBezTo>
                      <a:pt x="2" y="4"/>
                      <a:pt x="3" y="4"/>
                      <a:pt x="4" y="4"/>
                    </a:cubicBezTo>
                    <a:cubicBezTo>
                      <a:pt x="4" y="4"/>
                      <a:pt x="4" y="4"/>
                      <a:pt x="4" y="4"/>
                    </a:cubicBezTo>
                    <a:cubicBezTo>
                      <a:pt x="4" y="4"/>
                      <a:pt x="5" y="4"/>
                      <a:pt x="5" y="4"/>
                    </a:cubicBezTo>
                    <a:cubicBezTo>
                      <a:pt x="5" y="4"/>
                      <a:pt x="5" y="4"/>
                      <a:pt x="5" y="4"/>
                    </a:cubicBezTo>
                    <a:cubicBezTo>
                      <a:pt x="5" y="4"/>
                      <a:pt x="5" y="4"/>
                      <a:pt x="5" y="4"/>
                    </a:cubicBezTo>
                    <a:cubicBezTo>
                      <a:pt x="7" y="4"/>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9" name="Freeform 132">
                <a:extLst>
                  <a:ext uri="{FF2B5EF4-FFF2-40B4-BE49-F238E27FC236}">
                    <a16:creationId xmlns:a16="http://schemas.microsoft.com/office/drawing/2014/main" id="{418DD4F7-A324-4C43-90C6-ABDD55CF2453}"/>
                  </a:ext>
                </a:extLst>
              </p:cNvPr>
              <p:cNvSpPr>
                <a:spLocks/>
              </p:cNvSpPr>
              <p:nvPr/>
            </p:nvSpPr>
            <p:spPr bwMode="auto">
              <a:xfrm>
                <a:off x="2770" y="1540"/>
                <a:ext cx="50" cy="57"/>
              </a:xfrm>
              <a:custGeom>
                <a:avLst/>
                <a:gdLst>
                  <a:gd name="T0" fmla="*/ 12 w 21"/>
                  <a:gd name="T1" fmla="*/ 0 h 24"/>
                  <a:gd name="T2" fmla="*/ 11 w 21"/>
                  <a:gd name="T3" fmla="*/ 0 h 24"/>
                  <a:gd name="T4" fmla="*/ 7 w 21"/>
                  <a:gd name="T5" fmla="*/ 1 h 24"/>
                  <a:gd name="T6" fmla="*/ 9 w 21"/>
                  <a:gd name="T7" fmla="*/ 3 h 24"/>
                  <a:gd name="T8" fmla="*/ 8 w 21"/>
                  <a:gd name="T9" fmla="*/ 3 h 24"/>
                  <a:gd name="T10" fmla="*/ 7 w 21"/>
                  <a:gd name="T11" fmla="*/ 3 h 24"/>
                  <a:gd name="T12" fmla="*/ 6 w 21"/>
                  <a:gd name="T13" fmla="*/ 3 h 24"/>
                  <a:gd name="T14" fmla="*/ 3 w 21"/>
                  <a:gd name="T15" fmla="*/ 4 h 24"/>
                  <a:gd name="T16" fmla="*/ 4 w 21"/>
                  <a:gd name="T17" fmla="*/ 5 h 24"/>
                  <a:gd name="T18" fmla="*/ 5 w 21"/>
                  <a:gd name="T19" fmla="*/ 4 h 24"/>
                  <a:gd name="T20" fmla="*/ 6 w 21"/>
                  <a:gd name="T21" fmla="*/ 4 h 24"/>
                  <a:gd name="T22" fmla="*/ 8 w 21"/>
                  <a:gd name="T23" fmla="*/ 5 h 24"/>
                  <a:gd name="T24" fmla="*/ 3 w 21"/>
                  <a:gd name="T25" fmla="*/ 7 h 24"/>
                  <a:gd name="T26" fmla="*/ 3 w 21"/>
                  <a:gd name="T27" fmla="*/ 7 h 24"/>
                  <a:gd name="T28" fmla="*/ 5 w 21"/>
                  <a:gd name="T29" fmla="*/ 7 h 24"/>
                  <a:gd name="T30" fmla="*/ 7 w 21"/>
                  <a:gd name="T31" fmla="*/ 7 h 24"/>
                  <a:gd name="T32" fmla="*/ 7 w 21"/>
                  <a:gd name="T33" fmla="*/ 7 h 24"/>
                  <a:gd name="T34" fmla="*/ 7 w 21"/>
                  <a:gd name="T35" fmla="*/ 7 h 24"/>
                  <a:gd name="T36" fmla="*/ 3 w 21"/>
                  <a:gd name="T37" fmla="*/ 10 h 24"/>
                  <a:gd name="T38" fmla="*/ 4 w 21"/>
                  <a:gd name="T39" fmla="*/ 13 h 24"/>
                  <a:gd name="T40" fmla="*/ 1 w 21"/>
                  <a:gd name="T41" fmla="*/ 16 h 24"/>
                  <a:gd name="T42" fmla="*/ 5 w 21"/>
                  <a:gd name="T43" fmla="*/ 20 h 24"/>
                  <a:gd name="T44" fmla="*/ 9 w 21"/>
                  <a:gd name="T45" fmla="*/ 13 h 24"/>
                  <a:gd name="T46" fmla="*/ 11 w 21"/>
                  <a:gd name="T47" fmla="*/ 17 h 24"/>
                  <a:gd name="T48" fmla="*/ 12 w 21"/>
                  <a:gd name="T49" fmla="*/ 16 h 24"/>
                  <a:gd name="T50" fmla="*/ 11 w 21"/>
                  <a:gd name="T51" fmla="*/ 11 h 24"/>
                  <a:gd name="T52" fmla="*/ 13 w 21"/>
                  <a:gd name="T53" fmla="*/ 17 h 24"/>
                  <a:gd name="T54" fmla="*/ 11 w 21"/>
                  <a:gd name="T55" fmla="*/ 21 h 24"/>
                  <a:gd name="T56" fmla="*/ 12 w 21"/>
                  <a:gd name="T57" fmla="*/ 22 h 24"/>
                  <a:gd name="T58" fmla="*/ 14 w 21"/>
                  <a:gd name="T59" fmla="*/ 17 h 24"/>
                  <a:gd name="T60" fmla="*/ 16 w 21"/>
                  <a:gd name="T61" fmla="*/ 24 h 24"/>
                  <a:gd name="T62" fmla="*/ 18 w 21"/>
                  <a:gd name="T63" fmla="*/ 5 h 24"/>
                  <a:gd name="T64" fmla="*/ 12 w 21"/>
                  <a:gd name="T6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24">
                    <a:moveTo>
                      <a:pt x="12" y="0"/>
                    </a:moveTo>
                    <a:cubicBezTo>
                      <a:pt x="12" y="0"/>
                      <a:pt x="11" y="0"/>
                      <a:pt x="11" y="0"/>
                    </a:cubicBezTo>
                    <a:cubicBezTo>
                      <a:pt x="10" y="0"/>
                      <a:pt x="8" y="0"/>
                      <a:pt x="7" y="1"/>
                    </a:cubicBezTo>
                    <a:cubicBezTo>
                      <a:pt x="6" y="2"/>
                      <a:pt x="6" y="3"/>
                      <a:pt x="9" y="3"/>
                    </a:cubicBezTo>
                    <a:cubicBezTo>
                      <a:pt x="9" y="3"/>
                      <a:pt x="9" y="3"/>
                      <a:pt x="8" y="3"/>
                    </a:cubicBezTo>
                    <a:cubicBezTo>
                      <a:pt x="8" y="3"/>
                      <a:pt x="8" y="3"/>
                      <a:pt x="7" y="3"/>
                    </a:cubicBezTo>
                    <a:cubicBezTo>
                      <a:pt x="7" y="3"/>
                      <a:pt x="6" y="3"/>
                      <a:pt x="6" y="3"/>
                    </a:cubicBezTo>
                    <a:cubicBezTo>
                      <a:pt x="5" y="3"/>
                      <a:pt x="3" y="3"/>
                      <a:pt x="3" y="4"/>
                    </a:cubicBezTo>
                    <a:cubicBezTo>
                      <a:pt x="3" y="4"/>
                      <a:pt x="4" y="5"/>
                      <a:pt x="4" y="5"/>
                    </a:cubicBezTo>
                    <a:cubicBezTo>
                      <a:pt x="4" y="5"/>
                      <a:pt x="5" y="4"/>
                      <a:pt x="5" y="4"/>
                    </a:cubicBezTo>
                    <a:cubicBezTo>
                      <a:pt x="6" y="4"/>
                      <a:pt x="6" y="4"/>
                      <a:pt x="6" y="4"/>
                    </a:cubicBezTo>
                    <a:cubicBezTo>
                      <a:pt x="7" y="4"/>
                      <a:pt x="8" y="4"/>
                      <a:pt x="8" y="5"/>
                    </a:cubicBezTo>
                    <a:cubicBezTo>
                      <a:pt x="7" y="6"/>
                      <a:pt x="4" y="5"/>
                      <a:pt x="3" y="7"/>
                    </a:cubicBezTo>
                    <a:cubicBezTo>
                      <a:pt x="3" y="7"/>
                      <a:pt x="3" y="7"/>
                      <a:pt x="3" y="7"/>
                    </a:cubicBezTo>
                    <a:cubicBezTo>
                      <a:pt x="4" y="7"/>
                      <a:pt x="4" y="7"/>
                      <a:pt x="5" y="7"/>
                    </a:cubicBezTo>
                    <a:cubicBezTo>
                      <a:pt x="6" y="7"/>
                      <a:pt x="6" y="7"/>
                      <a:pt x="7" y="7"/>
                    </a:cubicBezTo>
                    <a:cubicBezTo>
                      <a:pt x="7" y="7"/>
                      <a:pt x="7" y="7"/>
                      <a:pt x="7" y="7"/>
                    </a:cubicBezTo>
                    <a:cubicBezTo>
                      <a:pt x="7" y="7"/>
                      <a:pt x="7" y="7"/>
                      <a:pt x="7" y="7"/>
                    </a:cubicBezTo>
                    <a:cubicBezTo>
                      <a:pt x="5" y="7"/>
                      <a:pt x="3" y="8"/>
                      <a:pt x="3" y="10"/>
                    </a:cubicBezTo>
                    <a:cubicBezTo>
                      <a:pt x="3" y="12"/>
                      <a:pt x="5" y="10"/>
                      <a:pt x="4" y="13"/>
                    </a:cubicBezTo>
                    <a:cubicBezTo>
                      <a:pt x="4" y="14"/>
                      <a:pt x="0" y="14"/>
                      <a:pt x="1" y="16"/>
                    </a:cubicBezTo>
                    <a:cubicBezTo>
                      <a:pt x="1" y="17"/>
                      <a:pt x="4" y="20"/>
                      <a:pt x="5" y="20"/>
                    </a:cubicBezTo>
                    <a:cubicBezTo>
                      <a:pt x="7" y="18"/>
                      <a:pt x="8" y="15"/>
                      <a:pt x="9" y="13"/>
                    </a:cubicBezTo>
                    <a:cubicBezTo>
                      <a:pt x="9" y="14"/>
                      <a:pt x="10" y="17"/>
                      <a:pt x="11" y="17"/>
                    </a:cubicBezTo>
                    <a:cubicBezTo>
                      <a:pt x="11" y="17"/>
                      <a:pt x="11" y="17"/>
                      <a:pt x="12" y="16"/>
                    </a:cubicBezTo>
                    <a:cubicBezTo>
                      <a:pt x="12" y="16"/>
                      <a:pt x="11" y="12"/>
                      <a:pt x="11" y="11"/>
                    </a:cubicBezTo>
                    <a:cubicBezTo>
                      <a:pt x="12" y="13"/>
                      <a:pt x="13" y="15"/>
                      <a:pt x="13" y="17"/>
                    </a:cubicBezTo>
                    <a:cubicBezTo>
                      <a:pt x="12" y="18"/>
                      <a:pt x="10" y="19"/>
                      <a:pt x="11" y="21"/>
                    </a:cubicBezTo>
                    <a:cubicBezTo>
                      <a:pt x="12" y="21"/>
                      <a:pt x="12" y="22"/>
                      <a:pt x="12" y="22"/>
                    </a:cubicBezTo>
                    <a:cubicBezTo>
                      <a:pt x="13" y="22"/>
                      <a:pt x="14" y="18"/>
                      <a:pt x="14" y="17"/>
                    </a:cubicBezTo>
                    <a:cubicBezTo>
                      <a:pt x="15" y="19"/>
                      <a:pt x="14" y="21"/>
                      <a:pt x="16" y="24"/>
                    </a:cubicBezTo>
                    <a:cubicBezTo>
                      <a:pt x="21" y="20"/>
                      <a:pt x="21" y="10"/>
                      <a:pt x="18" y="5"/>
                    </a:cubicBezTo>
                    <a:cubicBezTo>
                      <a:pt x="16" y="2"/>
                      <a:pt x="15"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0" name="Freeform 133">
                <a:extLst>
                  <a:ext uri="{FF2B5EF4-FFF2-40B4-BE49-F238E27FC236}">
                    <a16:creationId xmlns:a16="http://schemas.microsoft.com/office/drawing/2014/main" id="{D43995CF-5809-470A-BB46-E820ADC848E2}"/>
                  </a:ext>
                </a:extLst>
              </p:cNvPr>
              <p:cNvSpPr>
                <a:spLocks/>
              </p:cNvSpPr>
              <p:nvPr/>
            </p:nvSpPr>
            <p:spPr bwMode="auto">
              <a:xfrm>
                <a:off x="786" y="1720"/>
                <a:ext cx="12" cy="14"/>
              </a:xfrm>
              <a:custGeom>
                <a:avLst/>
                <a:gdLst>
                  <a:gd name="T0" fmla="*/ 0 w 5"/>
                  <a:gd name="T1" fmla="*/ 0 h 6"/>
                  <a:gd name="T2" fmla="*/ 0 w 5"/>
                  <a:gd name="T3" fmla="*/ 6 h 6"/>
                  <a:gd name="T4" fmla="*/ 5 w 5"/>
                  <a:gd name="T5" fmla="*/ 2 h 6"/>
                  <a:gd name="T6" fmla="*/ 0 w 5"/>
                  <a:gd name="T7" fmla="*/ 0 h 6"/>
                </a:gdLst>
                <a:ahLst/>
                <a:cxnLst>
                  <a:cxn ang="0">
                    <a:pos x="T0" y="T1"/>
                  </a:cxn>
                  <a:cxn ang="0">
                    <a:pos x="T2" y="T3"/>
                  </a:cxn>
                  <a:cxn ang="0">
                    <a:pos x="T4" y="T5"/>
                  </a:cxn>
                  <a:cxn ang="0">
                    <a:pos x="T6" y="T7"/>
                  </a:cxn>
                </a:cxnLst>
                <a:rect l="0" t="0" r="r" b="b"/>
                <a:pathLst>
                  <a:path w="5" h="6">
                    <a:moveTo>
                      <a:pt x="0" y="0"/>
                    </a:moveTo>
                    <a:cubicBezTo>
                      <a:pt x="0" y="2"/>
                      <a:pt x="0" y="4"/>
                      <a:pt x="0" y="6"/>
                    </a:cubicBezTo>
                    <a:cubicBezTo>
                      <a:pt x="1" y="5"/>
                      <a:pt x="3" y="3"/>
                      <a:pt x="5" y="2"/>
                    </a:cubicBezTo>
                    <a:cubicBezTo>
                      <a:pt x="3" y="2"/>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1" name="Freeform 134">
                <a:extLst>
                  <a:ext uri="{FF2B5EF4-FFF2-40B4-BE49-F238E27FC236}">
                    <a16:creationId xmlns:a16="http://schemas.microsoft.com/office/drawing/2014/main" id="{124B528F-64E9-44A4-8F51-8165A0984F45}"/>
                  </a:ext>
                </a:extLst>
              </p:cNvPr>
              <p:cNvSpPr>
                <a:spLocks/>
              </p:cNvSpPr>
              <p:nvPr/>
            </p:nvSpPr>
            <p:spPr bwMode="auto">
              <a:xfrm>
                <a:off x="5021" y="2203"/>
                <a:ext cx="12" cy="7"/>
              </a:xfrm>
              <a:custGeom>
                <a:avLst/>
                <a:gdLst>
                  <a:gd name="T0" fmla="*/ 5 w 5"/>
                  <a:gd name="T1" fmla="*/ 0 h 3"/>
                  <a:gd name="T2" fmla="*/ 0 w 5"/>
                  <a:gd name="T3" fmla="*/ 3 h 3"/>
                  <a:gd name="T4" fmla="*/ 5 w 5"/>
                  <a:gd name="T5" fmla="*/ 0 h 3"/>
                </a:gdLst>
                <a:ahLst/>
                <a:cxnLst>
                  <a:cxn ang="0">
                    <a:pos x="T0" y="T1"/>
                  </a:cxn>
                  <a:cxn ang="0">
                    <a:pos x="T2" y="T3"/>
                  </a:cxn>
                  <a:cxn ang="0">
                    <a:pos x="T4" y="T5"/>
                  </a:cxn>
                </a:cxnLst>
                <a:rect l="0" t="0" r="r" b="b"/>
                <a:pathLst>
                  <a:path w="5" h="3">
                    <a:moveTo>
                      <a:pt x="5" y="0"/>
                    </a:moveTo>
                    <a:cubicBezTo>
                      <a:pt x="3" y="0"/>
                      <a:pt x="1" y="1"/>
                      <a:pt x="0" y="3"/>
                    </a:cubicBezTo>
                    <a:cubicBezTo>
                      <a:pt x="2" y="2"/>
                      <a:pt x="3"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2" name="Freeform 135">
                <a:extLst>
                  <a:ext uri="{FF2B5EF4-FFF2-40B4-BE49-F238E27FC236}">
                    <a16:creationId xmlns:a16="http://schemas.microsoft.com/office/drawing/2014/main" id="{05DDCBCD-C1F4-44FC-A86A-605C515ADF9D}"/>
                  </a:ext>
                </a:extLst>
              </p:cNvPr>
              <p:cNvSpPr>
                <a:spLocks/>
              </p:cNvSpPr>
              <p:nvPr/>
            </p:nvSpPr>
            <p:spPr bwMode="auto">
              <a:xfrm>
                <a:off x="2789" y="1614"/>
                <a:ext cx="14" cy="7"/>
              </a:xfrm>
              <a:custGeom>
                <a:avLst/>
                <a:gdLst>
                  <a:gd name="T0" fmla="*/ 6 w 6"/>
                  <a:gd name="T1" fmla="*/ 0 h 3"/>
                  <a:gd name="T2" fmla="*/ 0 w 6"/>
                  <a:gd name="T3" fmla="*/ 1 h 3"/>
                  <a:gd name="T4" fmla="*/ 3 w 6"/>
                  <a:gd name="T5" fmla="*/ 3 h 3"/>
                  <a:gd name="T6" fmla="*/ 6 w 6"/>
                  <a:gd name="T7" fmla="*/ 0 h 3"/>
                </a:gdLst>
                <a:ahLst/>
                <a:cxnLst>
                  <a:cxn ang="0">
                    <a:pos x="T0" y="T1"/>
                  </a:cxn>
                  <a:cxn ang="0">
                    <a:pos x="T2" y="T3"/>
                  </a:cxn>
                  <a:cxn ang="0">
                    <a:pos x="T4" y="T5"/>
                  </a:cxn>
                  <a:cxn ang="0">
                    <a:pos x="T6" y="T7"/>
                  </a:cxn>
                </a:cxnLst>
                <a:rect l="0" t="0" r="r" b="b"/>
                <a:pathLst>
                  <a:path w="6" h="3">
                    <a:moveTo>
                      <a:pt x="6" y="0"/>
                    </a:moveTo>
                    <a:cubicBezTo>
                      <a:pt x="5" y="0"/>
                      <a:pt x="1" y="0"/>
                      <a:pt x="0" y="1"/>
                    </a:cubicBezTo>
                    <a:cubicBezTo>
                      <a:pt x="0" y="2"/>
                      <a:pt x="2" y="3"/>
                      <a:pt x="3" y="3"/>
                    </a:cubicBezTo>
                    <a:cubicBezTo>
                      <a:pt x="4" y="3"/>
                      <a:pt x="5" y="2"/>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3" name="Freeform 136">
                <a:extLst>
                  <a:ext uri="{FF2B5EF4-FFF2-40B4-BE49-F238E27FC236}">
                    <a16:creationId xmlns:a16="http://schemas.microsoft.com/office/drawing/2014/main" id="{8E1035B4-C049-4504-B51A-A55B99AF03F5}"/>
                  </a:ext>
                </a:extLst>
              </p:cNvPr>
              <p:cNvSpPr>
                <a:spLocks/>
              </p:cNvSpPr>
              <p:nvPr/>
            </p:nvSpPr>
            <p:spPr bwMode="auto">
              <a:xfrm>
                <a:off x="786" y="722"/>
                <a:ext cx="7" cy="7"/>
              </a:xfrm>
              <a:custGeom>
                <a:avLst/>
                <a:gdLst>
                  <a:gd name="T0" fmla="*/ 3 w 3"/>
                  <a:gd name="T1" fmla="*/ 0 h 3"/>
                  <a:gd name="T2" fmla="*/ 0 w 3"/>
                  <a:gd name="T3" fmla="*/ 1 h 3"/>
                  <a:gd name="T4" fmla="*/ 0 w 3"/>
                  <a:gd name="T5" fmla="*/ 3 h 3"/>
                  <a:gd name="T6" fmla="*/ 3 w 3"/>
                  <a:gd name="T7" fmla="*/ 0 h 3"/>
                </a:gdLst>
                <a:ahLst/>
                <a:cxnLst>
                  <a:cxn ang="0">
                    <a:pos x="T0" y="T1"/>
                  </a:cxn>
                  <a:cxn ang="0">
                    <a:pos x="T2" y="T3"/>
                  </a:cxn>
                  <a:cxn ang="0">
                    <a:pos x="T4" y="T5"/>
                  </a:cxn>
                  <a:cxn ang="0">
                    <a:pos x="T6" y="T7"/>
                  </a:cxn>
                </a:cxnLst>
                <a:rect l="0" t="0" r="r" b="b"/>
                <a:pathLst>
                  <a:path w="3" h="3">
                    <a:moveTo>
                      <a:pt x="3" y="0"/>
                    </a:moveTo>
                    <a:cubicBezTo>
                      <a:pt x="2" y="0"/>
                      <a:pt x="1" y="1"/>
                      <a:pt x="0" y="1"/>
                    </a:cubicBezTo>
                    <a:cubicBezTo>
                      <a:pt x="0" y="2"/>
                      <a:pt x="0" y="2"/>
                      <a:pt x="0" y="3"/>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4" name="Freeform 137">
                <a:extLst>
                  <a:ext uri="{FF2B5EF4-FFF2-40B4-BE49-F238E27FC236}">
                    <a16:creationId xmlns:a16="http://schemas.microsoft.com/office/drawing/2014/main" id="{9D78BA1A-C42F-4F3D-BF7A-070234C08C93}"/>
                  </a:ext>
                </a:extLst>
              </p:cNvPr>
              <p:cNvSpPr>
                <a:spLocks noEditPoints="1"/>
              </p:cNvSpPr>
              <p:nvPr/>
            </p:nvSpPr>
            <p:spPr bwMode="auto">
              <a:xfrm>
                <a:off x="2671" y="1509"/>
                <a:ext cx="92" cy="126"/>
              </a:xfrm>
              <a:custGeom>
                <a:avLst/>
                <a:gdLst>
                  <a:gd name="T0" fmla="*/ 16 w 39"/>
                  <a:gd name="T1" fmla="*/ 23 h 53"/>
                  <a:gd name="T2" fmla="*/ 17 w 39"/>
                  <a:gd name="T3" fmla="*/ 23 h 53"/>
                  <a:gd name="T4" fmla="*/ 17 w 39"/>
                  <a:gd name="T5" fmla="*/ 23 h 53"/>
                  <a:gd name="T6" fmla="*/ 2 w 39"/>
                  <a:gd name="T7" fmla="*/ 0 h 53"/>
                  <a:gd name="T8" fmla="*/ 1 w 39"/>
                  <a:gd name="T9" fmla="*/ 4 h 53"/>
                  <a:gd name="T10" fmla="*/ 9 w 39"/>
                  <a:gd name="T11" fmla="*/ 11 h 53"/>
                  <a:gd name="T12" fmla="*/ 11 w 39"/>
                  <a:gd name="T13" fmla="*/ 15 h 53"/>
                  <a:gd name="T14" fmla="*/ 9 w 39"/>
                  <a:gd name="T15" fmla="*/ 25 h 53"/>
                  <a:gd name="T16" fmla="*/ 13 w 39"/>
                  <a:gd name="T17" fmla="*/ 25 h 53"/>
                  <a:gd name="T18" fmla="*/ 14 w 39"/>
                  <a:gd name="T19" fmla="*/ 29 h 53"/>
                  <a:gd name="T20" fmla="*/ 16 w 39"/>
                  <a:gd name="T21" fmla="*/ 32 h 53"/>
                  <a:gd name="T22" fmla="*/ 13 w 39"/>
                  <a:gd name="T23" fmla="*/ 32 h 53"/>
                  <a:gd name="T24" fmla="*/ 16 w 39"/>
                  <a:gd name="T25" fmla="*/ 35 h 53"/>
                  <a:gd name="T26" fmla="*/ 15 w 39"/>
                  <a:gd name="T27" fmla="*/ 37 h 53"/>
                  <a:gd name="T28" fmla="*/ 19 w 39"/>
                  <a:gd name="T29" fmla="*/ 35 h 53"/>
                  <a:gd name="T30" fmla="*/ 20 w 39"/>
                  <a:gd name="T31" fmla="*/ 38 h 53"/>
                  <a:gd name="T32" fmla="*/ 23 w 39"/>
                  <a:gd name="T33" fmla="*/ 35 h 53"/>
                  <a:gd name="T34" fmla="*/ 25 w 39"/>
                  <a:gd name="T35" fmla="*/ 40 h 53"/>
                  <a:gd name="T36" fmla="*/ 27 w 39"/>
                  <a:gd name="T37" fmla="*/ 46 h 53"/>
                  <a:gd name="T38" fmla="*/ 34 w 39"/>
                  <a:gd name="T39" fmla="*/ 52 h 53"/>
                  <a:gd name="T40" fmla="*/ 37 w 39"/>
                  <a:gd name="T41" fmla="*/ 52 h 53"/>
                  <a:gd name="T42" fmla="*/ 39 w 39"/>
                  <a:gd name="T43" fmla="*/ 43 h 53"/>
                  <a:gd name="T44" fmla="*/ 34 w 39"/>
                  <a:gd name="T45" fmla="*/ 44 h 53"/>
                  <a:gd name="T46" fmla="*/ 38 w 39"/>
                  <a:gd name="T47" fmla="*/ 35 h 53"/>
                  <a:gd name="T48" fmla="*/ 33 w 39"/>
                  <a:gd name="T49" fmla="*/ 30 h 53"/>
                  <a:gd name="T50" fmla="*/ 31 w 39"/>
                  <a:gd name="T51" fmla="*/ 30 h 53"/>
                  <a:gd name="T52" fmla="*/ 30 w 39"/>
                  <a:gd name="T53" fmla="*/ 31 h 53"/>
                  <a:gd name="T54" fmla="*/ 32 w 39"/>
                  <a:gd name="T55" fmla="*/ 29 h 53"/>
                  <a:gd name="T56" fmla="*/ 24 w 39"/>
                  <a:gd name="T57" fmla="*/ 28 h 53"/>
                  <a:gd name="T58" fmla="*/ 26 w 39"/>
                  <a:gd name="T59" fmla="*/ 23 h 53"/>
                  <a:gd name="T60" fmla="*/ 28 w 39"/>
                  <a:gd name="T61" fmla="*/ 25 h 53"/>
                  <a:gd name="T62" fmla="*/ 31 w 39"/>
                  <a:gd name="T63" fmla="*/ 25 h 53"/>
                  <a:gd name="T64" fmla="*/ 19 w 39"/>
                  <a:gd name="T65" fmla="*/ 10 h 53"/>
                  <a:gd name="T66" fmla="*/ 11 w 39"/>
                  <a:gd name="T67" fmla="*/ 1 h 53"/>
                  <a:gd name="T68" fmla="*/ 8 w 39"/>
                  <a:gd name="T6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 h="53">
                    <a:moveTo>
                      <a:pt x="16" y="23"/>
                    </a:moveTo>
                    <a:cubicBezTo>
                      <a:pt x="16" y="23"/>
                      <a:pt x="16" y="23"/>
                      <a:pt x="16" y="23"/>
                    </a:cubicBezTo>
                    <a:cubicBezTo>
                      <a:pt x="16" y="23"/>
                      <a:pt x="16" y="23"/>
                      <a:pt x="16" y="23"/>
                    </a:cubicBezTo>
                    <a:moveTo>
                      <a:pt x="17" y="23"/>
                    </a:moveTo>
                    <a:cubicBezTo>
                      <a:pt x="17" y="23"/>
                      <a:pt x="17" y="23"/>
                      <a:pt x="17" y="23"/>
                    </a:cubicBezTo>
                    <a:cubicBezTo>
                      <a:pt x="17" y="23"/>
                      <a:pt x="17" y="23"/>
                      <a:pt x="17" y="23"/>
                    </a:cubicBezTo>
                    <a:cubicBezTo>
                      <a:pt x="17" y="23"/>
                      <a:pt x="17" y="23"/>
                      <a:pt x="17" y="23"/>
                    </a:cubicBezTo>
                    <a:moveTo>
                      <a:pt x="2" y="0"/>
                    </a:moveTo>
                    <a:cubicBezTo>
                      <a:pt x="1" y="0"/>
                      <a:pt x="1" y="0"/>
                      <a:pt x="1" y="0"/>
                    </a:cubicBezTo>
                    <a:cubicBezTo>
                      <a:pt x="1" y="0"/>
                      <a:pt x="0" y="3"/>
                      <a:pt x="1" y="4"/>
                    </a:cubicBezTo>
                    <a:cubicBezTo>
                      <a:pt x="2" y="6"/>
                      <a:pt x="7" y="4"/>
                      <a:pt x="9" y="7"/>
                    </a:cubicBezTo>
                    <a:cubicBezTo>
                      <a:pt x="9" y="7"/>
                      <a:pt x="9" y="10"/>
                      <a:pt x="9" y="11"/>
                    </a:cubicBezTo>
                    <a:cubicBezTo>
                      <a:pt x="9" y="12"/>
                      <a:pt x="9" y="12"/>
                      <a:pt x="9" y="13"/>
                    </a:cubicBezTo>
                    <a:cubicBezTo>
                      <a:pt x="10" y="14"/>
                      <a:pt x="11" y="14"/>
                      <a:pt x="11" y="15"/>
                    </a:cubicBezTo>
                    <a:cubicBezTo>
                      <a:pt x="13" y="19"/>
                      <a:pt x="4" y="19"/>
                      <a:pt x="6" y="23"/>
                    </a:cubicBezTo>
                    <a:cubicBezTo>
                      <a:pt x="7" y="24"/>
                      <a:pt x="8" y="25"/>
                      <a:pt x="9" y="25"/>
                    </a:cubicBezTo>
                    <a:cubicBezTo>
                      <a:pt x="11" y="25"/>
                      <a:pt x="14" y="24"/>
                      <a:pt x="16" y="23"/>
                    </a:cubicBezTo>
                    <a:cubicBezTo>
                      <a:pt x="15" y="24"/>
                      <a:pt x="14" y="24"/>
                      <a:pt x="13" y="25"/>
                    </a:cubicBezTo>
                    <a:cubicBezTo>
                      <a:pt x="12" y="27"/>
                      <a:pt x="13" y="27"/>
                      <a:pt x="15" y="29"/>
                    </a:cubicBezTo>
                    <a:cubicBezTo>
                      <a:pt x="14" y="29"/>
                      <a:pt x="14" y="29"/>
                      <a:pt x="14" y="29"/>
                    </a:cubicBezTo>
                    <a:cubicBezTo>
                      <a:pt x="15" y="30"/>
                      <a:pt x="17" y="31"/>
                      <a:pt x="18" y="32"/>
                    </a:cubicBezTo>
                    <a:cubicBezTo>
                      <a:pt x="17" y="32"/>
                      <a:pt x="17" y="32"/>
                      <a:pt x="16" y="32"/>
                    </a:cubicBezTo>
                    <a:cubicBezTo>
                      <a:pt x="15" y="32"/>
                      <a:pt x="15" y="32"/>
                      <a:pt x="14" y="32"/>
                    </a:cubicBezTo>
                    <a:cubicBezTo>
                      <a:pt x="14" y="32"/>
                      <a:pt x="13" y="32"/>
                      <a:pt x="13" y="32"/>
                    </a:cubicBezTo>
                    <a:cubicBezTo>
                      <a:pt x="11" y="32"/>
                      <a:pt x="10" y="32"/>
                      <a:pt x="9" y="33"/>
                    </a:cubicBezTo>
                    <a:cubicBezTo>
                      <a:pt x="10" y="35"/>
                      <a:pt x="13" y="34"/>
                      <a:pt x="16" y="35"/>
                    </a:cubicBezTo>
                    <a:cubicBezTo>
                      <a:pt x="15" y="35"/>
                      <a:pt x="15" y="36"/>
                      <a:pt x="14" y="37"/>
                    </a:cubicBezTo>
                    <a:cubicBezTo>
                      <a:pt x="14" y="37"/>
                      <a:pt x="15" y="37"/>
                      <a:pt x="15" y="37"/>
                    </a:cubicBezTo>
                    <a:cubicBezTo>
                      <a:pt x="16" y="37"/>
                      <a:pt x="16" y="36"/>
                      <a:pt x="17" y="36"/>
                    </a:cubicBezTo>
                    <a:cubicBezTo>
                      <a:pt x="18" y="36"/>
                      <a:pt x="19" y="35"/>
                      <a:pt x="19" y="35"/>
                    </a:cubicBezTo>
                    <a:cubicBezTo>
                      <a:pt x="19" y="35"/>
                      <a:pt x="19" y="35"/>
                      <a:pt x="19" y="35"/>
                    </a:cubicBezTo>
                    <a:cubicBezTo>
                      <a:pt x="20" y="35"/>
                      <a:pt x="20" y="37"/>
                      <a:pt x="20" y="38"/>
                    </a:cubicBezTo>
                    <a:cubicBezTo>
                      <a:pt x="21" y="38"/>
                      <a:pt x="21" y="38"/>
                      <a:pt x="21" y="38"/>
                    </a:cubicBezTo>
                    <a:cubicBezTo>
                      <a:pt x="22" y="38"/>
                      <a:pt x="22" y="37"/>
                      <a:pt x="23" y="35"/>
                    </a:cubicBezTo>
                    <a:cubicBezTo>
                      <a:pt x="25" y="38"/>
                      <a:pt x="23" y="39"/>
                      <a:pt x="24" y="41"/>
                    </a:cubicBezTo>
                    <a:cubicBezTo>
                      <a:pt x="24" y="41"/>
                      <a:pt x="25" y="40"/>
                      <a:pt x="25" y="40"/>
                    </a:cubicBezTo>
                    <a:cubicBezTo>
                      <a:pt x="26" y="40"/>
                      <a:pt x="26" y="41"/>
                      <a:pt x="27" y="42"/>
                    </a:cubicBezTo>
                    <a:cubicBezTo>
                      <a:pt x="24" y="44"/>
                      <a:pt x="24" y="45"/>
                      <a:pt x="27" y="46"/>
                    </a:cubicBezTo>
                    <a:cubicBezTo>
                      <a:pt x="30" y="48"/>
                      <a:pt x="34" y="48"/>
                      <a:pt x="32" y="53"/>
                    </a:cubicBezTo>
                    <a:cubicBezTo>
                      <a:pt x="32" y="52"/>
                      <a:pt x="33" y="52"/>
                      <a:pt x="34" y="52"/>
                    </a:cubicBezTo>
                    <a:cubicBezTo>
                      <a:pt x="34" y="52"/>
                      <a:pt x="35" y="52"/>
                      <a:pt x="36" y="52"/>
                    </a:cubicBezTo>
                    <a:cubicBezTo>
                      <a:pt x="36" y="52"/>
                      <a:pt x="37" y="52"/>
                      <a:pt x="37" y="52"/>
                    </a:cubicBezTo>
                    <a:cubicBezTo>
                      <a:pt x="38" y="52"/>
                      <a:pt x="39" y="52"/>
                      <a:pt x="39" y="49"/>
                    </a:cubicBezTo>
                    <a:cubicBezTo>
                      <a:pt x="39" y="47"/>
                      <a:pt x="39" y="45"/>
                      <a:pt x="39" y="43"/>
                    </a:cubicBezTo>
                    <a:cubicBezTo>
                      <a:pt x="37" y="43"/>
                      <a:pt x="36" y="44"/>
                      <a:pt x="35" y="44"/>
                    </a:cubicBezTo>
                    <a:cubicBezTo>
                      <a:pt x="35" y="44"/>
                      <a:pt x="34" y="44"/>
                      <a:pt x="34" y="44"/>
                    </a:cubicBezTo>
                    <a:cubicBezTo>
                      <a:pt x="35" y="43"/>
                      <a:pt x="38" y="41"/>
                      <a:pt x="38" y="39"/>
                    </a:cubicBezTo>
                    <a:cubicBezTo>
                      <a:pt x="38" y="38"/>
                      <a:pt x="39" y="35"/>
                      <a:pt x="38" y="35"/>
                    </a:cubicBezTo>
                    <a:cubicBezTo>
                      <a:pt x="37" y="35"/>
                      <a:pt x="37" y="35"/>
                      <a:pt x="37" y="36"/>
                    </a:cubicBezTo>
                    <a:cubicBezTo>
                      <a:pt x="36" y="34"/>
                      <a:pt x="34" y="31"/>
                      <a:pt x="33" y="30"/>
                    </a:cubicBezTo>
                    <a:cubicBezTo>
                      <a:pt x="32" y="30"/>
                      <a:pt x="32" y="30"/>
                      <a:pt x="32" y="30"/>
                    </a:cubicBezTo>
                    <a:cubicBezTo>
                      <a:pt x="32" y="30"/>
                      <a:pt x="31" y="30"/>
                      <a:pt x="31" y="30"/>
                    </a:cubicBezTo>
                    <a:cubicBezTo>
                      <a:pt x="31" y="31"/>
                      <a:pt x="30" y="31"/>
                      <a:pt x="30" y="31"/>
                    </a:cubicBezTo>
                    <a:cubicBezTo>
                      <a:pt x="30" y="31"/>
                      <a:pt x="30" y="31"/>
                      <a:pt x="30" y="31"/>
                    </a:cubicBezTo>
                    <a:cubicBezTo>
                      <a:pt x="30" y="31"/>
                      <a:pt x="28" y="30"/>
                      <a:pt x="27" y="30"/>
                    </a:cubicBezTo>
                    <a:cubicBezTo>
                      <a:pt x="29" y="29"/>
                      <a:pt x="30" y="30"/>
                      <a:pt x="32" y="29"/>
                    </a:cubicBezTo>
                    <a:cubicBezTo>
                      <a:pt x="30" y="28"/>
                      <a:pt x="29" y="27"/>
                      <a:pt x="27" y="27"/>
                    </a:cubicBezTo>
                    <a:cubicBezTo>
                      <a:pt x="26" y="27"/>
                      <a:pt x="25" y="28"/>
                      <a:pt x="24" y="28"/>
                    </a:cubicBezTo>
                    <a:cubicBezTo>
                      <a:pt x="23" y="28"/>
                      <a:pt x="23" y="28"/>
                      <a:pt x="23" y="28"/>
                    </a:cubicBezTo>
                    <a:cubicBezTo>
                      <a:pt x="24" y="27"/>
                      <a:pt x="25" y="23"/>
                      <a:pt x="26" y="23"/>
                    </a:cubicBezTo>
                    <a:cubicBezTo>
                      <a:pt x="26" y="23"/>
                      <a:pt x="26" y="23"/>
                      <a:pt x="26" y="23"/>
                    </a:cubicBezTo>
                    <a:cubicBezTo>
                      <a:pt x="27" y="23"/>
                      <a:pt x="27" y="25"/>
                      <a:pt x="28" y="25"/>
                    </a:cubicBezTo>
                    <a:cubicBezTo>
                      <a:pt x="29" y="26"/>
                      <a:pt x="32" y="27"/>
                      <a:pt x="35" y="28"/>
                    </a:cubicBezTo>
                    <a:cubicBezTo>
                      <a:pt x="34" y="26"/>
                      <a:pt x="32" y="26"/>
                      <a:pt x="31" y="25"/>
                    </a:cubicBezTo>
                    <a:cubicBezTo>
                      <a:pt x="30" y="24"/>
                      <a:pt x="29" y="22"/>
                      <a:pt x="28" y="20"/>
                    </a:cubicBezTo>
                    <a:cubicBezTo>
                      <a:pt x="26" y="16"/>
                      <a:pt x="23" y="13"/>
                      <a:pt x="19" y="10"/>
                    </a:cubicBezTo>
                    <a:cubicBezTo>
                      <a:pt x="17" y="9"/>
                      <a:pt x="16" y="9"/>
                      <a:pt x="14" y="9"/>
                    </a:cubicBezTo>
                    <a:cubicBezTo>
                      <a:pt x="10" y="7"/>
                      <a:pt x="15" y="4"/>
                      <a:pt x="11" y="1"/>
                    </a:cubicBezTo>
                    <a:cubicBezTo>
                      <a:pt x="11" y="0"/>
                      <a:pt x="10" y="0"/>
                      <a:pt x="9" y="0"/>
                    </a:cubicBezTo>
                    <a:cubicBezTo>
                      <a:pt x="9" y="0"/>
                      <a:pt x="8" y="0"/>
                      <a:pt x="8" y="0"/>
                    </a:cubicBezTo>
                    <a:cubicBezTo>
                      <a:pt x="6" y="0"/>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5" name="Freeform 138">
                <a:extLst>
                  <a:ext uri="{FF2B5EF4-FFF2-40B4-BE49-F238E27FC236}">
                    <a16:creationId xmlns:a16="http://schemas.microsoft.com/office/drawing/2014/main" id="{FF938D35-036D-4C3A-9B87-DF515A773460}"/>
                  </a:ext>
                </a:extLst>
              </p:cNvPr>
              <p:cNvSpPr>
                <a:spLocks/>
              </p:cNvSpPr>
              <p:nvPr/>
            </p:nvSpPr>
            <p:spPr bwMode="auto">
              <a:xfrm>
                <a:off x="5537" y="3594"/>
                <a:ext cx="2" cy="7"/>
              </a:xfrm>
              <a:custGeom>
                <a:avLst/>
                <a:gdLst>
                  <a:gd name="T0" fmla="*/ 0 w 1"/>
                  <a:gd name="T1" fmla="*/ 0 h 3"/>
                  <a:gd name="T2" fmla="*/ 1 w 1"/>
                  <a:gd name="T3" fmla="*/ 2 h 3"/>
                  <a:gd name="T4" fmla="*/ 1 w 1"/>
                  <a:gd name="T5" fmla="*/ 3 h 3"/>
                  <a:gd name="T6" fmla="*/ 1 w 1"/>
                  <a:gd name="T7" fmla="*/ 3 h 3"/>
                  <a:gd name="T8" fmla="*/ 1 w 1"/>
                  <a:gd name="T9" fmla="*/ 3 h 3"/>
                  <a:gd name="T10" fmla="*/ 1 w 1"/>
                  <a:gd name="T11" fmla="*/ 3 h 3"/>
                  <a:gd name="T12" fmla="*/ 0 w 1"/>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0" y="0"/>
                    </a:moveTo>
                    <a:cubicBezTo>
                      <a:pt x="0" y="1"/>
                      <a:pt x="0" y="1"/>
                      <a:pt x="1" y="2"/>
                    </a:cubicBezTo>
                    <a:cubicBezTo>
                      <a:pt x="1" y="2"/>
                      <a:pt x="1" y="3"/>
                      <a:pt x="1" y="3"/>
                    </a:cubicBezTo>
                    <a:cubicBezTo>
                      <a:pt x="1" y="3"/>
                      <a:pt x="1" y="3"/>
                      <a:pt x="1" y="3"/>
                    </a:cubicBezTo>
                    <a:cubicBezTo>
                      <a:pt x="1" y="3"/>
                      <a:pt x="1" y="3"/>
                      <a:pt x="1" y="3"/>
                    </a:cubicBezTo>
                    <a:cubicBezTo>
                      <a:pt x="1" y="3"/>
                      <a:pt x="1" y="3"/>
                      <a:pt x="1" y="3"/>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6" name="Freeform 139">
                <a:extLst>
                  <a:ext uri="{FF2B5EF4-FFF2-40B4-BE49-F238E27FC236}">
                    <a16:creationId xmlns:a16="http://schemas.microsoft.com/office/drawing/2014/main" id="{1FF91BCB-7333-4F26-95FC-E86C745C050A}"/>
                  </a:ext>
                </a:extLst>
              </p:cNvPr>
              <p:cNvSpPr>
                <a:spLocks/>
              </p:cNvSpPr>
              <p:nvPr/>
            </p:nvSpPr>
            <p:spPr bwMode="auto">
              <a:xfrm>
                <a:off x="937" y="1677"/>
                <a:ext cx="14" cy="3"/>
              </a:xfrm>
              <a:custGeom>
                <a:avLst/>
                <a:gdLst>
                  <a:gd name="T0" fmla="*/ 5 w 6"/>
                  <a:gd name="T1" fmla="*/ 0 h 1"/>
                  <a:gd name="T2" fmla="*/ 0 w 6"/>
                  <a:gd name="T3" fmla="*/ 1 h 1"/>
                  <a:gd name="T4" fmla="*/ 1 w 6"/>
                  <a:gd name="T5" fmla="*/ 1 h 1"/>
                  <a:gd name="T6" fmla="*/ 6 w 6"/>
                  <a:gd name="T7" fmla="*/ 0 h 1"/>
                  <a:gd name="T8" fmla="*/ 5 w 6"/>
                  <a:gd name="T9" fmla="*/ 0 h 1"/>
                </a:gdLst>
                <a:ahLst/>
                <a:cxnLst>
                  <a:cxn ang="0">
                    <a:pos x="T0" y="T1"/>
                  </a:cxn>
                  <a:cxn ang="0">
                    <a:pos x="T2" y="T3"/>
                  </a:cxn>
                  <a:cxn ang="0">
                    <a:pos x="T4" y="T5"/>
                  </a:cxn>
                  <a:cxn ang="0">
                    <a:pos x="T6" y="T7"/>
                  </a:cxn>
                  <a:cxn ang="0">
                    <a:pos x="T8" y="T9"/>
                  </a:cxn>
                </a:cxnLst>
                <a:rect l="0" t="0" r="r" b="b"/>
                <a:pathLst>
                  <a:path w="6" h="1">
                    <a:moveTo>
                      <a:pt x="5" y="0"/>
                    </a:moveTo>
                    <a:cubicBezTo>
                      <a:pt x="3" y="0"/>
                      <a:pt x="1" y="0"/>
                      <a:pt x="0" y="1"/>
                    </a:cubicBezTo>
                    <a:cubicBezTo>
                      <a:pt x="1" y="1"/>
                      <a:pt x="1" y="1"/>
                      <a:pt x="1" y="1"/>
                    </a:cubicBezTo>
                    <a:cubicBezTo>
                      <a:pt x="3" y="1"/>
                      <a:pt x="4" y="1"/>
                      <a:pt x="6" y="0"/>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7" name="Freeform 140">
                <a:extLst>
                  <a:ext uri="{FF2B5EF4-FFF2-40B4-BE49-F238E27FC236}">
                    <a16:creationId xmlns:a16="http://schemas.microsoft.com/office/drawing/2014/main" id="{9C3B8A58-7DC1-49EB-A865-B7988CA339B7}"/>
                  </a:ext>
                </a:extLst>
              </p:cNvPr>
              <p:cNvSpPr>
                <a:spLocks/>
              </p:cNvSpPr>
              <p:nvPr/>
            </p:nvSpPr>
            <p:spPr bwMode="auto">
              <a:xfrm>
                <a:off x="1583" y="1382"/>
                <a:ext cx="14" cy="12"/>
              </a:xfrm>
              <a:custGeom>
                <a:avLst/>
                <a:gdLst>
                  <a:gd name="T0" fmla="*/ 0 w 6"/>
                  <a:gd name="T1" fmla="*/ 0 h 5"/>
                  <a:gd name="T2" fmla="*/ 6 w 6"/>
                  <a:gd name="T3" fmla="*/ 5 h 5"/>
                  <a:gd name="T4" fmla="*/ 0 w 6"/>
                  <a:gd name="T5" fmla="*/ 0 h 5"/>
                </a:gdLst>
                <a:ahLst/>
                <a:cxnLst>
                  <a:cxn ang="0">
                    <a:pos x="T0" y="T1"/>
                  </a:cxn>
                  <a:cxn ang="0">
                    <a:pos x="T2" y="T3"/>
                  </a:cxn>
                  <a:cxn ang="0">
                    <a:pos x="T4" y="T5"/>
                  </a:cxn>
                </a:cxnLst>
                <a:rect l="0" t="0" r="r" b="b"/>
                <a:pathLst>
                  <a:path w="6" h="5">
                    <a:moveTo>
                      <a:pt x="0" y="0"/>
                    </a:moveTo>
                    <a:cubicBezTo>
                      <a:pt x="1" y="2"/>
                      <a:pt x="3" y="5"/>
                      <a:pt x="6" y="5"/>
                    </a:cubicBezTo>
                    <a:cubicBezTo>
                      <a:pt x="4"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8" name="Freeform 141">
                <a:extLst>
                  <a:ext uri="{FF2B5EF4-FFF2-40B4-BE49-F238E27FC236}">
                    <a16:creationId xmlns:a16="http://schemas.microsoft.com/office/drawing/2014/main" id="{28A96191-1584-41F4-8240-03176183DCA9}"/>
                  </a:ext>
                </a:extLst>
              </p:cNvPr>
              <p:cNvSpPr>
                <a:spLocks/>
              </p:cNvSpPr>
              <p:nvPr/>
            </p:nvSpPr>
            <p:spPr bwMode="auto">
              <a:xfrm>
                <a:off x="4990" y="3324"/>
                <a:ext cx="12" cy="5"/>
              </a:xfrm>
              <a:custGeom>
                <a:avLst/>
                <a:gdLst>
                  <a:gd name="T0" fmla="*/ 0 w 5"/>
                  <a:gd name="T1" fmla="*/ 0 h 2"/>
                  <a:gd name="T2" fmla="*/ 1 w 5"/>
                  <a:gd name="T3" fmla="*/ 1 h 2"/>
                  <a:gd name="T4" fmla="*/ 1 w 5"/>
                  <a:gd name="T5" fmla="*/ 1 h 2"/>
                  <a:gd name="T6" fmla="*/ 2 w 5"/>
                  <a:gd name="T7" fmla="*/ 2 h 2"/>
                  <a:gd name="T8" fmla="*/ 3 w 5"/>
                  <a:gd name="T9" fmla="*/ 2 h 2"/>
                  <a:gd name="T10" fmla="*/ 4 w 5"/>
                  <a:gd name="T11" fmla="*/ 2 h 2"/>
                  <a:gd name="T12" fmla="*/ 5 w 5"/>
                  <a:gd name="T13" fmla="*/ 2 h 2"/>
                  <a:gd name="T14" fmla="*/ 1 w 5"/>
                  <a:gd name="T15" fmla="*/ 1 h 2"/>
                  <a:gd name="T16" fmla="*/ 1 w 5"/>
                  <a:gd name="T17" fmla="*/ 0 h 2"/>
                  <a:gd name="T18" fmla="*/ 1 w 5"/>
                  <a:gd name="T19" fmla="*/ 0 h 2"/>
                  <a:gd name="T20" fmla="*/ 0 w 5"/>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2">
                    <a:moveTo>
                      <a:pt x="0" y="0"/>
                    </a:moveTo>
                    <a:cubicBezTo>
                      <a:pt x="1" y="1"/>
                      <a:pt x="1" y="1"/>
                      <a:pt x="1" y="1"/>
                    </a:cubicBezTo>
                    <a:cubicBezTo>
                      <a:pt x="1" y="1"/>
                      <a:pt x="1" y="1"/>
                      <a:pt x="1" y="1"/>
                    </a:cubicBezTo>
                    <a:cubicBezTo>
                      <a:pt x="1" y="1"/>
                      <a:pt x="2" y="1"/>
                      <a:pt x="2" y="2"/>
                    </a:cubicBezTo>
                    <a:cubicBezTo>
                      <a:pt x="3" y="2"/>
                      <a:pt x="3" y="2"/>
                      <a:pt x="3" y="2"/>
                    </a:cubicBezTo>
                    <a:cubicBezTo>
                      <a:pt x="4" y="2"/>
                      <a:pt x="4" y="2"/>
                      <a:pt x="4" y="2"/>
                    </a:cubicBezTo>
                    <a:cubicBezTo>
                      <a:pt x="5" y="2"/>
                      <a:pt x="5" y="2"/>
                      <a:pt x="5" y="2"/>
                    </a:cubicBezTo>
                    <a:cubicBezTo>
                      <a:pt x="4" y="2"/>
                      <a:pt x="3" y="1"/>
                      <a:pt x="1" y="1"/>
                    </a:cubicBezTo>
                    <a:cubicBezTo>
                      <a:pt x="1" y="0"/>
                      <a:pt x="1" y="0"/>
                      <a:pt x="1" y="0"/>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9" name="Freeform 142">
                <a:extLst>
                  <a:ext uri="{FF2B5EF4-FFF2-40B4-BE49-F238E27FC236}">
                    <a16:creationId xmlns:a16="http://schemas.microsoft.com/office/drawing/2014/main" id="{70FA7DE1-7775-4D3E-958B-EB0177CD5864}"/>
                  </a:ext>
                </a:extLst>
              </p:cNvPr>
              <p:cNvSpPr>
                <a:spLocks/>
              </p:cNvSpPr>
              <p:nvPr/>
            </p:nvSpPr>
            <p:spPr bwMode="auto">
              <a:xfrm>
                <a:off x="1164" y="1313"/>
                <a:ext cx="22" cy="21"/>
              </a:xfrm>
              <a:custGeom>
                <a:avLst/>
                <a:gdLst>
                  <a:gd name="T0" fmla="*/ 9 w 9"/>
                  <a:gd name="T1" fmla="*/ 0 h 9"/>
                  <a:gd name="T2" fmla="*/ 0 w 9"/>
                  <a:gd name="T3" fmla="*/ 5 h 9"/>
                  <a:gd name="T4" fmla="*/ 2 w 9"/>
                  <a:gd name="T5" fmla="*/ 9 h 9"/>
                  <a:gd name="T6" fmla="*/ 9 w 9"/>
                  <a:gd name="T7" fmla="*/ 0 h 9"/>
                </a:gdLst>
                <a:ahLst/>
                <a:cxnLst>
                  <a:cxn ang="0">
                    <a:pos x="T0" y="T1"/>
                  </a:cxn>
                  <a:cxn ang="0">
                    <a:pos x="T2" y="T3"/>
                  </a:cxn>
                  <a:cxn ang="0">
                    <a:pos x="T4" y="T5"/>
                  </a:cxn>
                  <a:cxn ang="0">
                    <a:pos x="T6" y="T7"/>
                  </a:cxn>
                </a:cxnLst>
                <a:rect l="0" t="0" r="r" b="b"/>
                <a:pathLst>
                  <a:path w="9" h="9">
                    <a:moveTo>
                      <a:pt x="9" y="0"/>
                    </a:moveTo>
                    <a:cubicBezTo>
                      <a:pt x="6" y="1"/>
                      <a:pt x="3" y="4"/>
                      <a:pt x="0" y="5"/>
                    </a:cubicBezTo>
                    <a:cubicBezTo>
                      <a:pt x="0" y="8"/>
                      <a:pt x="1" y="9"/>
                      <a:pt x="2" y="9"/>
                    </a:cubicBezTo>
                    <a:cubicBezTo>
                      <a:pt x="4" y="9"/>
                      <a:pt x="8" y="2"/>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0" name="Freeform 143">
                <a:extLst>
                  <a:ext uri="{FF2B5EF4-FFF2-40B4-BE49-F238E27FC236}">
                    <a16:creationId xmlns:a16="http://schemas.microsoft.com/office/drawing/2014/main" id="{F6F76EBE-1AA2-4441-A669-FDE8238C3D86}"/>
                  </a:ext>
                </a:extLst>
              </p:cNvPr>
              <p:cNvSpPr>
                <a:spLocks/>
              </p:cNvSpPr>
              <p:nvPr/>
            </p:nvSpPr>
            <p:spPr bwMode="auto">
              <a:xfrm>
                <a:off x="4678" y="3397"/>
                <a:ext cx="12" cy="14"/>
              </a:xfrm>
              <a:custGeom>
                <a:avLst/>
                <a:gdLst>
                  <a:gd name="T0" fmla="*/ 5 w 5"/>
                  <a:gd name="T1" fmla="*/ 0 h 6"/>
                  <a:gd name="T2" fmla="*/ 3 w 5"/>
                  <a:gd name="T3" fmla="*/ 1 h 6"/>
                  <a:gd name="T4" fmla="*/ 0 w 5"/>
                  <a:gd name="T5" fmla="*/ 6 h 6"/>
                  <a:gd name="T6" fmla="*/ 5 w 5"/>
                  <a:gd name="T7" fmla="*/ 0 h 6"/>
                </a:gdLst>
                <a:ahLst/>
                <a:cxnLst>
                  <a:cxn ang="0">
                    <a:pos x="T0" y="T1"/>
                  </a:cxn>
                  <a:cxn ang="0">
                    <a:pos x="T2" y="T3"/>
                  </a:cxn>
                  <a:cxn ang="0">
                    <a:pos x="T4" y="T5"/>
                  </a:cxn>
                  <a:cxn ang="0">
                    <a:pos x="T6" y="T7"/>
                  </a:cxn>
                </a:cxnLst>
                <a:rect l="0" t="0" r="r" b="b"/>
                <a:pathLst>
                  <a:path w="5" h="6">
                    <a:moveTo>
                      <a:pt x="5" y="0"/>
                    </a:moveTo>
                    <a:cubicBezTo>
                      <a:pt x="4" y="0"/>
                      <a:pt x="3" y="1"/>
                      <a:pt x="3" y="1"/>
                    </a:cubicBezTo>
                    <a:cubicBezTo>
                      <a:pt x="1" y="3"/>
                      <a:pt x="1" y="4"/>
                      <a:pt x="0" y="6"/>
                    </a:cubicBezTo>
                    <a:cubicBezTo>
                      <a:pt x="2" y="4"/>
                      <a:pt x="3"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1" name="Freeform 144">
                <a:extLst>
                  <a:ext uri="{FF2B5EF4-FFF2-40B4-BE49-F238E27FC236}">
                    <a16:creationId xmlns:a16="http://schemas.microsoft.com/office/drawing/2014/main" id="{E35DE95F-36E3-4A8B-805B-E8306ACB3409}"/>
                  </a:ext>
                </a:extLst>
              </p:cNvPr>
              <p:cNvSpPr>
                <a:spLocks/>
              </p:cNvSpPr>
              <p:nvPr/>
            </p:nvSpPr>
            <p:spPr bwMode="auto">
              <a:xfrm>
                <a:off x="2701" y="1500"/>
                <a:ext cx="24" cy="17"/>
              </a:xfrm>
              <a:custGeom>
                <a:avLst/>
                <a:gdLst>
                  <a:gd name="T0" fmla="*/ 9 w 10"/>
                  <a:gd name="T1" fmla="*/ 0 h 7"/>
                  <a:gd name="T2" fmla="*/ 7 w 10"/>
                  <a:gd name="T3" fmla="*/ 0 h 7"/>
                  <a:gd name="T4" fmla="*/ 6 w 10"/>
                  <a:gd name="T5" fmla="*/ 0 h 7"/>
                  <a:gd name="T6" fmla="*/ 5 w 10"/>
                  <a:gd name="T7" fmla="*/ 0 h 7"/>
                  <a:gd name="T8" fmla="*/ 3 w 10"/>
                  <a:gd name="T9" fmla="*/ 1 h 7"/>
                  <a:gd name="T10" fmla="*/ 2 w 10"/>
                  <a:gd name="T11" fmla="*/ 4 h 7"/>
                  <a:gd name="T12" fmla="*/ 6 w 10"/>
                  <a:gd name="T13" fmla="*/ 7 h 7"/>
                  <a:gd name="T14" fmla="*/ 7 w 10"/>
                  <a:gd name="T15" fmla="*/ 7 h 7"/>
                  <a:gd name="T16" fmla="*/ 9 w 10"/>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7">
                    <a:moveTo>
                      <a:pt x="9" y="0"/>
                    </a:moveTo>
                    <a:cubicBezTo>
                      <a:pt x="8" y="0"/>
                      <a:pt x="7" y="0"/>
                      <a:pt x="7" y="0"/>
                    </a:cubicBezTo>
                    <a:cubicBezTo>
                      <a:pt x="7" y="0"/>
                      <a:pt x="6" y="0"/>
                      <a:pt x="6" y="0"/>
                    </a:cubicBezTo>
                    <a:cubicBezTo>
                      <a:pt x="6" y="0"/>
                      <a:pt x="5" y="0"/>
                      <a:pt x="5" y="0"/>
                    </a:cubicBezTo>
                    <a:cubicBezTo>
                      <a:pt x="4" y="0"/>
                      <a:pt x="4" y="0"/>
                      <a:pt x="3" y="1"/>
                    </a:cubicBezTo>
                    <a:cubicBezTo>
                      <a:pt x="1" y="2"/>
                      <a:pt x="0" y="3"/>
                      <a:pt x="2" y="4"/>
                    </a:cubicBezTo>
                    <a:cubicBezTo>
                      <a:pt x="3" y="6"/>
                      <a:pt x="4" y="7"/>
                      <a:pt x="6" y="7"/>
                    </a:cubicBezTo>
                    <a:cubicBezTo>
                      <a:pt x="6" y="7"/>
                      <a:pt x="6" y="7"/>
                      <a:pt x="7" y="7"/>
                    </a:cubicBezTo>
                    <a:cubicBezTo>
                      <a:pt x="10" y="7"/>
                      <a:pt x="9" y="3"/>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2" name="Freeform 145">
                <a:extLst>
                  <a:ext uri="{FF2B5EF4-FFF2-40B4-BE49-F238E27FC236}">
                    <a16:creationId xmlns:a16="http://schemas.microsoft.com/office/drawing/2014/main" id="{E4A68CAD-E63A-438A-BD61-D24B3BCE8180}"/>
                  </a:ext>
                </a:extLst>
              </p:cNvPr>
              <p:cNvSpPr>
                <a:spLocks/>
              </p:cNvSpPr>
              <p:nvPr/>
            </p:nvSpPr>
            <p:spPr bwMode="auto">
              <a:xfrm>
                <a:off x="1093" y="1614"/>
                <a:ext cx="10" cy="11"/>
              </a:xfrm>
              <a:custGeom>
                <a:avLst/>
                <a:gdLst>
                  <a:gd name="T0" fmla="*/ 2 w 4"/>
                  <a:gd name="T1" fmla="*/ 0 h 5"/>
                  <a:gd name="T2" fmla="*/ 0 w 4"/>
                  <a:gd name="T3" fmla="*/ 2 h 5"/>
                  <a:gd name="T4" fmla="*/ 1 w 4"/>
                  <a:gd name="T5" fmla="*/ 5 h 5"/>
                  <a:gd name="T6" fmla="*/ 4 w 4"/>
                  <a:gd name="T7" fmla="*/ 0 h 5"/>
                  <a:gd name="T8" fmla="*/ 2 w 4"/>
                  <a:gd name="T9" fmla="*/ 0 h 5"/>
                </a:gdLst>
                <a:ahLst/>
                <a:cxnLst>
                  <a:cxn ang="0">
                    <a:pos x="T0" y="T1"/>
                  </a:cxn>
                  <a:cxn ang="0">
                    <a:pos x="T2" y="T3"/>
                  </a:cxn>
                  <a:cxn ang="0">
                    <a:pos x="T4" y="T5"/>
                  </a:cxn>
                  <a:cxn ang="0">
                    <a:pos x="T6" y="T7"/>
                  </a:cxn>
                  <a:cxn ang="0">
                    <a:pos x="T8" y="T9"/>
                  </a:cxn>
                </a:cxnLst>
                <a:rect l="0" t="0" r="r" b="b"/>
                <a:pathLst>
                  <a:path w="4" h="5">
                    <a:moveTo>
                      <a:pt x="2" y="0"/>
                    </a:moveTo>
                    <a:cubicBezTo>
                      <a:pt x="1" y="0"/>
                      <a:pt x="0" y="1"/>
                      <a:pt x="0" y="2"/>
                    </a:cubicBezTo>
                    <a:cubicBezTo>
                      <a:pt x="0" y="4"/>
                      <a:pt x="0" y="5"/>
                      <a:pt x="1" y="5"/>
                    </a:cubicBezTo>
                    <a:cubicBezTo>
                      <a:pt x="2" y="5"/>
                      <a:pt x="3" y="1"/>
                      <a:pt x="4"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3" name="Freeform 146">
                <a:extLst>
                  <a:ext uri="{FF2B5EF4-FFF2-40B4-BE49-F238E27FC236}">
                    <a16:creationId xmlns:a16="http://schemas.microsoft.com/office/drawing/2014/main" id="{C432AEFB-5577-431D-A364-08C96EDE39D8}"/>
                  </a:ext>
                </a:extLst>
              </p:cNvPr>
              <p:cNvSpPr>
                <a:spLocks/>
              </p:cNvSpPr>
              <p:nvPr/>
            </p:nvSpPr>
            <p:spPr bwMode="auto">
              <a:xfrm>
                <a:off x="1242" y="1595"/>
                <a:ext cx="14" cy="14"/>
              </a:xfrm>
              <a:custGeom>
                <a:avLst/>
                <a:gdLst>
                  <a:gd name="T0" fmla="*/ 4 w 6"/>
                  <a:gd name="T1" fmla="*/ 0 h 6"/>
                  <a:gd name="T2" fmla="*/ 2 w 6"/>
                  <a:gd name="T3" fmla="*/ 4 h 6"/>
                  <a:gd name="T4" fmla="*/ 1 w 6"/>
                  <a:gd name="T5" fmla="*/ 3 h 6"/>
                  <a:gd name="T6" fmla="*/ 2 w 6"/>
                  <a:gd name="T7" fmla="*/ 6 h 6"/>
                  <a:gd name="T8" fmla="*/ 2 w 6"/>
                  <a:gd name="T9" fmla="*/ 6 h 6"/>
                  <a:gd name="T10" fmla="*/ 4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4" y="0"/>
                    </a:moveTo>
                    <a:cubicBezTo>
                      <a:pt x="2" y="1"/>
                      <a:pt x="1" y="2"/>
                      <a:pt x="2" y="4"/>
                    </a:cubicBezTo>
                    <a:cubicBezTo>
                      <a:pt x="2" y="4"/>
                      <a:pt x="1" y="3"/>
                      <a:pt x="1" y="3"/>
                    </a:cubicBezTo>
                    <a:cubicBezTo>
                      <a:pt x="1" y="5"/>
                      <a:pt x="0" y="6"/>
                      <a:pt x="2" y="6"/>
                    </a:cubicBezTo>
                    <a:cubicBezTo>
                      <a:pt x="2" y="6"/>
                      <a:pt x="2" y="6"/>
                      <a:pt x="2" y="6"/>
                    </a:cubicBezTo>
                    <a:cubicBezTo>
                      <a:pt x="6" y="6"/>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4" name="Freeform 147">
                <a:extLst>
                  <a:ext uri="{FF2B5EF4-FFF2-40B4-BE49-F238E27FC236}">
                    <a16:creationId xmlns:a16="http://schemas.microsoft.com/office/drawing/2014/main" id="{7D66DA04-025D-4894-8D88-F38BB3FFEAE7}"/>
                  </a:ext>
                </a:extLst>
              </p:cNvPr>
              <p:cNvSpPr>
                <a:spLocks/>
              </p:cNvSpPr>
              <p:nvPr/>
            </p:nvSpPr>
            <p:spPr bwMode="auto">
              <a:xfrm>
                <a:off x="5106" y="2113"/>
                <a:ext cx="43" cy="19"/>
              </a:xfrm>
              <a:custGeom>
                <a:avLst/>
                <a:gdLst>
                  <a:gd name="T0" fmla="*/ 18 w 18"/>
                  <a:gd name="T1" fmla="*/ 0 h 8"/>
                  <a:gd name="T2" fmla="*/ 1 w 18"/>
                  <a:gd name="T3" fmla="*/ 8 h 8"/>
                  <a:gd name="T4" fmla="*/ 18 w 18"/>
                  <a:gd name="T5" fmla="*/ 0 h 8"/>
                </a:gdLst>
                <a:ahLst/>
                <a:cxnLst>
                  <a:cxn ang="0">
                    <a:pos x="T0" y="T1"/>
                  </a:cxn>
                  <a:cxn ang="0">
                    <a:pos x="T2" y="T3"/>
                  </a:cxn>
                  <a:cxn ang="0">
                    <a:pos x="T4" y="T5"/>
                  </a:cxn>
                </a:cxnLst>
                <a:rect l="0" t="0" r="r" b="b"/>
                <a:pathLst>
                  <a:path w="18" h="8">
                    <a:moveTo>
                      <a:pt x="18" y="0"/>
                    </a:moveTo>
                    <a:cubicBezTo>
                      <a:pt x="15" y="0"/>
                      <a:pt x="0" y="5"/>
                      <a:pt x="1" y="8"/>
                    </a:cubicBezTo>
                    <a:cubicBezTo>
                      <a:pt x="7" y="6"/>
                      <a:pt x="12" y="3"/>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5" name="Freeform 148">
                <a:extLst>
                  <a:ext uri="{FF2B5EF4-FFF2-40B4-BE49-F238E27FC236}">
                    <a16:creationId xmlns:a16="http://schemas.microsoft.com/office/drawing/2014/main" id="{21C994B3-D23F-44EE-BFC8-B19BE6047A92}"/>
                  </a:ext>
                </a:extLst>
              </p:cNvPr>
              <p:cNvSpPr>
                <a:spLocks/>
              </p:cNvSpPr>
              <p:nvPr/>
            </p:nvSpPr>
            <p:spPr bwMode="auto">
              <a:xfrm>
                <a:off x="911" y="1666"/>
                <a:ext cx="17" cy="14"/>
              </a:xfrm>
              <a:custGeom>
                <a:avLst/>
                <a:gdLst>
                  <a:gd name="T0" fmla="*/ 3 w 7"/>
                  <a:gd name="T1" fmla="*/ 0 h 6"/>
                  <a:gd name="T2" fmla="*/ 3 w 7"/>
                  <a:gd name="T3" fmla="*/ 6 h 6"/>
                  <a:gd name="T4" fmla="*/ 7 w 7"/>
                  <a:gd name="T5" fmla="*/ 4 h 6"/>
                  <a:gd name="T6" fmla="*/ 5 w 7"/>
                  <a:gd name="T7" fmla="*/ 0 h 6"/>
                  <a:gd name="T8" fmla="*/ 3 w 7"/>
                  <a:gd name="T9" fmla="*/ 0 h 6"/>
                </a:gdLst>
                <a:ahLst/>
                <a:cxnLst>
                  <a:cxn ang="0">
                    <a:pos x="T0" y="T1"/>
                  </a:cxn>
                  <a:cxn ang="0">
                    <a:pos x="T2" y="T3"/>
                  </a:cxn>
                  <a:cxn ang="0">
                    <a:pos x="T4" y="T5"/>
                  </a:cxn>
                  <a:cxn ang="0">
                    <a:pos x="T6" y="T7"/>
                  </a:cxn>
                  <a:cxn ang="0">
                    <a:pos x="T8" y="T9"/>
                  </a:cxn>
                </a:cxnLst>
                <a:rect l="0" t="0" r="r" b="b"/>
                <a:pathLst>
                  <a:path w="7" h="6">
                    <a:moveTo>
                      <a:pt x="3" y="0"/>
                    </a:moveTo>
                    <a:cubicBezTo>
                      <a:pt x="0" y="0"/>
                      <a:pt x="2" y="3"/>
                      <a:pt x="3" y="6"/>
                    </a:cubicBezTo>
                    <a:cubicBezTo>
                      <a:pt x="5" y="5"/>
                      <a:pt x="5" y="4"/>
                      <a:pt x="7" y="4"/>
                    </a:cubicBezTo>
                    <a:cubicBezTo>
                      <a:pt x="6" y="2"/>
                      <a:pt x="2" y="2"/>
                      <a:pt x="5"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6" name="Freeform 149">
                <a:extLst>
                  <a:ext uri="{FF2B5EF4-FFF2-40B4-BE49-F238E27FC236}">
                    <a16:creationId xmlns:a16="http://schemas.microsoft.com/office/drawing/2014/main" id="{D3B6DDB4-9C01-4AEF-81D0-08047E0A19B7}"/>
                  </a:ext>
                </a:extLst>
              </p:cNvPr>
              <p:cNvSpPr>
                <a:spLocks/>
              </p:cNvSpPr>
              <p:nvPr/>
            </p:nvSpPr>
            <p:spPr bwMode="auto">
              <a:xfrm>
                <a:off x="956" y="1606"/>
                <a:ext cx="102" cy="52"/>
              </a:xfrm>
              <a:custGeom>
                <a:avLst/>
                <a:gdLst>
                  <a:gd name="T0" fmla="*/ 29 w 43"/>
                  <a:gd name="T1" fmla="*/ 0 h 22"/>
                  <a:gd name="T2" fmla="*/ 21 w 43"/>
                  <a:gd name="T3" fmla="*/ 3 h 22"/>
                  <a:gd name="T4" fmla="*/ 8 w 43"/>
                  <a:gd name="T5" fmla="*/ 7 h 22"/>
                  <a:gd name="T6" fmla="*/ 0 w 43"/>
                  <a:gd name="T7" fmla="*/ 15 h 22"/>
                  <a:gd name="T8" fmla="*/ 5 w 43"/>
                  <a:gd name="T9" fmla="*/ 22 h 22"/>
                  <a:gd name="T10" fmla="*/ 7 w 43"/>
                  <a:gd name="T11" fmla="*/ 22 h 22"/>
                  <a:gd name="T12" fmla="*/ 13 w 43"/>
                  <a:gd name="T13" fmla="*/ 19 h 22"/>
                  <a:gd name="T14" fmla="*/ 13 w 43"/>
                  <a:gd name="T15" fmla="*/ 17 h 22"/>
                  <a:gd name="T16" fmla="*/ 18 w 43"/>
                  <a:gd name="T17" fmla="*/ 17 h 22"/>
                  <a:gd name="T18" fmla="*/ 29 w 43"/>
                  <a:gd name="T19" fmla="*/ 15 h 22"/>
                  <a:gd name="T20" fmla="*/ 34 w 43"/>
                  <a:gd name="T21" fmla="*/ 12 h 22"/>
                  <a:gd name="T22" fmla="*/ 37 w 43"/>
                  <a:gd name="T23" fmla="*/ 12 h 22"/>
                  <a:gd name="T24" fmla="*/ 43 w 43"/>
                  <a:gd name="T25" fmla="*/ 13 h 22"/>
                  <a:gd name="T26" fmla="*/ 40 w 43"/>
                  <a:gd name="T27" fmla="*/ 11 h 22"/>
                  <a:gd name="T28" fmla="*/ 34 w 43"/>
                  <a:gd name="T29" fmla="*/ 7 h 22"/>
                  <a:gd name="T30" fmla="*/ 32 w 43"/>
                  <a:gd name="T31" fmla="*/ 1 h 22"/>
                  <a:gd name="T32" fmla="*/ 29 w 43"/>
                  <a:gd name="T3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22">
                    <a:moveTo>
                      <a:pt x="29" y="0"/>
                    </a:moveTo>
                    <a:cubicBezTo>
                      <a:pt x="26" y="0"/>
                      <a:pt x="22" y="2"/>
                      <a:pt x="21" y="3"/>
                    </a:cubicBezTo>
                    <a:cubicBezTo>
                      <a:pt x="16" y="5"/>
                      <a:pt x="11" y="3"/>
                      <a:pt x="8" y="7"/>
                    </a:cubicBezTo>
                    <a:cubicBezTo>
                      <a:pt x="5" y="10"/>
                      <a:pt x="4" y="12"/>
                      <a:pt x="0" y="15"/>
                    </a:cubicBezTo>
                    <a:cubicBezTo>
                      <a:pt x="1" y="20"/>
                      <a:pt x="1" y="22"/>
                      <a:pt x="5" y="22"/>
                    </a:cubicBezTo>
                    <a:cubicBezTo>
                      <a:pt x="5" y="22"/>
                      <a:pt x="6" y="22"/>
                      <a:pt x="7" y="22"/>
                    </a:cubicBezTo>
                    <a:cubicBezTo>
                      <a:pt x="10" y="21"/>
                      <a:pt x="11" y="21"/>
                      <a:pt x="13" y="19"/>
                    </a:cubicBezTo>
                    <a:cubicBezTo>
                      <a:pt x="13" y="18"/>
                      <a:pt x="13" y="18"/>
                      <a:pt x="13" y="17"/>
                    </a:cubicBezTo>
                    <a:cubicBezTo>
                      <a:pt x="14" y="17"/>
                      <a:pt x="17" y="17"/>
                      <a:pt x="18" y="17"/>
                    </a:cubicBezTo>
                    <a:cubicBezTo>
                      <a:pt x="21" y="16"/>
                      <a:pt x="25" y="16"/>
                      <a:pt x="29" y="15"/>
                    </a:cubicBezTo>
                    <a:cubicBezTo>
                      <a:pt x="31" y="15"/>
                      <a:pt x="32" y="14"/>
                      <a:pt x="34" y="12"/>
                    </a:cubicBezTo>
                    <a:cubicBezTo>
                      <a:pt x="35" y="12"/>
                      <a:pt x="36" y="12"/>
                      <a:pt x="37" y="12"/>
                    </a:cubicBezTo>
                    <a:cubicBezTo>
                      <a:pt x="39" y="12"/>
                      <a:pt x="41" y="13"/>
                      <a:pt x="43" y="13"/>
                    </a:cubicBezTo>
                    <a:cubicBezTo>
                      <a:pt x="42" y="12"/>
                      <a:pt x="41" y="11"/>
                      <a:pt x="40" y="11"/>
                    </a:cubicBezTo>
                    <a:cubicBezTo>
                      <a:pt x="37" y="10"/>
                      <a:pt x="35" y="10"/>
                      <a:pt x="34" y="7"/>
                    </a:cubicBezTo>
                    <a:cubicBezTo>
                      <a:pt x="33" y="5"/>
                      <a:pt x="33" y="3"/>
                      <a:pt x="32" y="1"/>
                    </a:cubicBezTo>
                    <a:cubicBezTo>
                      <a:pt x="31" y="0"/>
                      <a:pt x="30"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7" name="Freeform 150">
                <a:extLst>
                  <a:ext uri="{FF2B5EF4-FFF2-40B4-BE49-F238E27FC236}">
                    <a16:creationId xmlns:a16="http://schemas.microsoft.com/office/drawing/2014/main" id="{0D578ECD-89C2-4ED9-BE64-F97C8F28C7EC}"/>
                  </a:ext>
                </a:extLst>
              </p:cNvPr>
              <p:cNvSpPr>
                <a:spLocks/>
              </p:cNvSpPr>
              <p:nvPr/>
            </p:nvSpPr>
            <p:spPr bwMode="auto">
              <a:xfrm>
                <a:off x="2694" y="1592"/>
                <a:ext cx="29" cy="45"/>
              </a:xfrm>
              <a:custGeom>
                <a:avLst/>
                <a:gdLst>
                  <a:gd name="T0" fmla="*/ 2 w 12"/>
                  <a:gd name="T1" fmla="*/ 0 h 19"/>
                  <a:gd name="T2" fmla="*/ 0 w 12"/>
                  <a:gd name="T3" fmla="*/ 7 h 19"/>
                  <a:gd name="T4" fmla="*/ 3 w 12"/>
                  <a:gd name="T5" fmla="*/ 11 h 19"/>
                  <a:gd name="T6" fmla="*/ 3 w 12"/>
                  <a:gd name="T7" fmla="*/ 11 h 19"/>
                  <a:gd name="T8" fmla="*/ 6 w 12"/>
                  <a:gd name="T9" fmla="*/ 14 h 19"/>
                  <a:gd name="T10" fmla="*/ 7 w 12"/>
                  <a:gd name="T11" fmla="*/ 14 h 19"/>
                  <a:gd name="T12" fmla="*/ 8 w 12"/>
                  <a:gd name="T13" fmla="*/ 17 h 19"/>
                  <a:gd name="T14" fmla="*/ 12 w 12"/>
                  <a:gd name="T15" fmla="*/ 19 h 19"/>
                  <a:gd name="T16" fmla="*/ 2 w 12"/>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9">
                    <a:moveTo>
                      <a:pt x="2" y="0"/>
                    </a:moveTo>
                    <a:cubicBezTo>
                      <a:pt x="0" y="2"/>
                      <a:pt x="0" y="5"/>
                      <a:pt x="0" y="7"/>
                    </a:cubicBezTo>
                    <a:cubicBezTo>
                      <a:pt x="1" y="8"/>
                      <a:pt x="2" y="11"/>
                      <a:pt x="3" y="11"/>
                    </a:cubicBezTo>
                    <a:cubicBezTo>
                      <a:pt x="3" y="11"/>
                      <a:pt x="3" y="11"/>
                      <a:pt x="3" y="11"/>
                    </a:cubicBezTo>
                    <a:cubicBezTo>
                      <a:pt x="4" y="11"/>
                      <a:pt x="4" y="14"/>
                      <a:pt x="6" y="14"/>
                    </a:cubicBezTo>
                    <a:cubicBezTo>
                      <a:pt x="6" y="14"/>
                      <a:pt x="7" y="14"/>
                      <a:pt x="7" y="14"/>
                    </a:cubicBezTo>
                    <a:cubicBezTo>
                      <a:pt x="6" y="15"/>
                      <a:pt x="7" y="17"/>
                      <a:pt x="8" y="17"/>
                    </a:cubicBezTo>
                    <a:cubicBezTo>
                      <a:pt x="9" y="18"/>
                      <a:pt x="10" y="19"/>
                      <a:pt x="12" y="19"/>
                    </a:cubicBezTo>
                    <a:cubicBezTo>
                      <a:pt x="9" y="13"/>
                      <a:pt x="6" y="7"/>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8" name="Freeform 151">
                <a:extLst>
                  <a:ext uri="{FF2B5EF4-FFF2-40B4-BE49-F238E27FC236}">
                    <a16:creationId xmlns:a16="http://schemas.microsoft.com/office/drawing/2014/main" id="{105334CE-F3BE-4DF8-A667-41E4FD85DDBC}"/>
                  </a:ext>
                </a:extLst>
              </p:cNvPr>
              <p:cNvSpPr>
                <a:spLocks/>
              </p:cNvSpPr>
              <p:nvPr/>
            </p:nvSpPr>
            <p:spPr bwMode="auto">
              <a:xfrm>
                <a:off x="2782" y="1592"/>
                <a:ext cx="16" cy="19"/>
              </a:xfrm>
              <a:custGeom>
                <a:avLst/>
                <a:gdLst>
                  <a:gd name="T0" fmla="*/ 2 w 7"/>
                  <a:gd name="T1" fmla="*/ 0 h 8"/>
                  <a:gd name="T2" fmla="*/ 2 w 7"/>
                  <a:gd name="T3" fmla="*/ 5 h 8"/>
                  <a:gd name="T4" fmla="*/ 2 w 7"/>
                  <a:gd name="T5" fmla="*/ 5 h 8"/>
                  <a:gd name="T6" fmla="*/ 1 w 7"/>
                  <a:gd name="T7" fmla="*/ 8 h 8"/>
                  <a:gd name="T8" fmla="*/ 5 w 7"/>
                  <a:gd name="T9" fmla="*/ 8 h 8"/>
                  <a:gd name="T10" fmla="*/ 3 w 7"/>
                  <a:gd name="T11" fmla="*/ 1 h 8"/>
                  <a:gd name="T12" fmla="*/ 2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2" y="0"/>
                    </a:moveTo>
                    <a:cubicBezTo>
                      <a:pt x="0" y="0"/>
                      <a:pt x="1" y="3"/>
                      <a:pt x="2" y="5"/>
                    </a:cubicBezTo>
                    <a:cubicBezTo>
                      <a:pt x="2" y="5"/>
                      <a:pt x="2" y="5"/>
                      <a:pt x="2" y="5"/>
                    </a:cubicBezTo>
                    <a:cubicBezTo>
                      <a:pt x="0" y="5"/>
                      <a:pt x="0" y="8"/>
                      <a:pt x="1" y="8"/>
                    </a:cubicBezTo>
                    <a:cubicBezTo>
                      <a:pt x="5" y="8"/>
                      <a:pt x="5" y="8"/>
                      <a:pt x="5" y="8"/>
                    </a:cubicBezTo>
                    <a:cubicBezTo>
                      <a:pt x="7" y="7"/>
                      <a:pt x="4" y="2"/>
                      <a:pt x="3" y="1"/>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9" name="Freeform 152">
                <a:extLst>
                  <a:ext uri="{FF2B5EF4-FFF2-40B4-BE49-F238E27FC236}">
                    <a16:creationId xmlns:a16="http://schemas.microsoft.com/office/drawing/2014/main" id="{27913E1A-6FB2-4419-BB48-C6C0E179A679}"/>
                  </a:ext>
                </a:extLst>
              </p:cNvPr>
              <p:cNvSpPr>
                <a:spLocks/>
              </p:cNvSpPr>
              <p:nvPr/>
            </p:nvSpPr>
            <p:spPr bwMode="auto">
              <a:xfrm>
                <a:off x="2768" y="1580"/>
                <a:ext cx="14" cy="22"/>
              </a:xfrm>
              <a:custGeom>
                <a:avLst/>
                <a:gdLst>
                  <a:gd name="T0" fmla="*/ 1 w 6"/>
                  <a:gd name="T1" fmla="*/ 0 h 9"/>
                  <a:gd name="T2" fmla="*/ 3 w 6"/>
                  <a:gd name="T3" fmla="*/ 9 h 9"/>
                  <a:gd name="T4" fmla="*/ 5 w 6"/>
                  <a:gd name="T5" fmla="*/ 4 h 9"/>
                  <a:gd name="T6" fmla="*/ 6 w 6"/>
                  <a:gd name="T7" fmla="*/ 5 h 9"/>
                  <a:gd name="T8" fmla="*/ 1 w 6"/>
                  <a:gd name="T9" fmla="*/ 0 h 9"/>
                </a:gdLst>
                <a:ahLst/>
                <a:cxnLst>
                  <a:cxn ang="0">
                    <a:pos x="T0" y="T1"/>
                  </a:cxn>
                  <a:cxn ang="0">
                    <a:pos x="T2" y="T3"/>
                  </a:cxn>
                  <a:cxn ang="0">
                    <a:pos x="T4" y="T5"/>
                  </a:cxn>
                  <a:cxn ang="0">
                    <a:pos x="T6" y="T7"/>
                  </a:cxn>
                  <a:cxn ang="0">
                    <a:pos x="T8" y="T9"/>
                  </a:cxn>
                </a:cxnLst>
                <a:rect l="0" t="0" r="r" b="b"/>
                <a:pathLst>
                  <a:path w="6" h="9">
                    <a:moveTo>
                      <a:pt x="1" y="0"/>
                    </a:moveTo>
                    <a:cubicBezTo>
                      <a:pt x="0" y="3"/>
                      <a:pt x="0" y="7"/>
                      <a:pt x="3" y="9"/>
                    </a:cubicBezTo>
                    <a:cubicBezTo>
                      <a:pt x="4" y="7"/>
                      <a:pt x="4" y="6"/>
                      <a:pt x="5" y="4"/>
                    </a:cubicBezTo>
                    <a:cubicBezTo>
                      <a:pt x="6" y="5"/>
                      <a:pt x="6" y="5"/>
                      <a:pt x="6" y="5"/>
                    </a:cubicBezTo>
                    <a:cubicBezTo>
                      <a:pt x="5" y="3"/>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0" name="Freeform 153">
                <a:extLst>
                  <a:ext uri="{FF2B5EF4-FFF2-40B4-BE49-F238E27FC236}">
                    <a16:creationId xmlns:a16="http://schemas.microsoft.com/office/drawing/2014/main" id="{CF0836B1-FED3-4D5C-A416-ABB013F42F12}"/>
                  </a:ext>
                </a:extLst>
              </p:cNvPr>
              <p:cNvSpPr>
                <a:spLocks/>
              </p:cNvSpPr>
              <p:nvPr/>
            </p:nvSpPr>
            <p:spPr bwMode="auto">
              <a:xfrm>
                <a:off x="6605" y="4384"/>
                <a:ext cx="55" cy="42"/>
              </a:xfrm>
              <a:custGeom>
                <a:avLst/>
                <a:gdLst>
                  <a:gd name="T0" fmla="*/ 22 w 23"/>
                  <a:gd name="T1" fmla="*/ 0 h 18"/>
                  <a:gd name="T2" fmla="*/ 17 w 23"/>
                  <a:gd name="T3" fmla="*/ 1 h 18"/>
                  <a:gd name="T4" fmla="*/ 6 w 23"/>
                  <a:gd name="T5" fmla="*/ 3 h 18"/>
                  <a:gd name="T6" fmla="*/ 10 w 23"/>
                  <a:gd name="T7" fmla="*/ 8 h 18"/>
                  <a:gd name="T8" fmla="*/ 10 w 23"/>
                  <a:gd name="T9" fmla="*/ 14 h 18"/>
                  <a:gd name="T10" fmla="*/ 6 w 23"/>
                  <a:gd name="T11" fmla="*/ 15 h 18"/>
                  <a:gd name="T12" fmla="*/ 0 w 23"/>
                  <a:gd name="T13" fmla="*/ 18 h 18"/>
                  <a:gd name="T14" fmla="*/ 2 w 23"/>
                  <a:gd name="T15" fmla="*/ 18 h 18"/>
                  <a:gd name="T16" fmla="*/ 5 w 23"/>
                  <a:gd name="T17" fmla="*/ 18 h 18"/>
                  <a:gd name="T18" fmla="*/ 8 w 23"/>
                  <a:gd name="T19" fmla="*/ 18 h 18"/>
                  <a:gd name="T20" fmla="*/ 9 w 23"/>
                  <a:gd name="T21" fmla="*/ 18 h 18"/>
                  <a:gd name="T22" fmla="*/ 13 w 23"/>
                  <a:gd name="T23" fmla="*/ 18 h 18"/>
                  <a:gd name="T24" fmla="*/ 19 w 23"/>
                  <a:gd name="T25" fmla="*/ 17 h 18"/>
                  <a:gd name="T26" fmla="*/ 20 w 23"/>
                  <a:gd name="T27" fmla="*/ 8 h 18"/>
                  <a:gd name="T28" fmla="*/ 23 w 23"/>
                  <a:gd name="T29" fmla="*/ 0 h 18"/>
                  <a:gd name="T30" fmla="*/ 22 w 23"/>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18">
                    <a:moveTo>
                      <a:pt x="22" y="0"/>
                    </a:moveTo>
                    <a:cubicBezTo>
                      <a:pt x="20" y="0"/>
                      <a:pt x="19" y="0"/>
                      <a:pt x="17" y="1"/>
                    </a:cubicBezTo>
                    <a:cubicBezTo>
                      <a:pt x="14" y="1"/>
                      <a:pt x="10" y="2"/>
                      <a:pt x="6" y="3"/>
                    </a:cubicBezTo>
                    <a:cubicBezTo>
                      <a:pt x="10" y="4"/>
                      <a:pt x="10" y="5"/>
                      <a:pt x="10" y="8"/>
                    </a:cubicBezTo>
                    <a:cubicBezTo>
                      <a:pt x="11" y="10"/>
                      <a:pt x="11" y="12"/>
                      <a:pt x="10" y="14"/>
                    </a:cubicBezTo>
                    <a:cubicBezTo>
                      <a:pt x="9" y="14"/>
                      <a:pt x="7" y="14"/>
                      <a:pt x="6" y="15"/>
                    </a:cubicBezTo>
                    <a:cubicBezTo>
                      <a:pt x="5" y="16"/>
                      <a:pt x="2" y="17"/>
                      <a:pt x="0" y="18"/>
                    </a:cubicBezTo>
                    <a:cubicBezTo>
                      <a:pt x="1" y="18"/>
                      <a:pt x="1" y="18"/>
                      <a:pt x="2" y="18"/>
                    </a:cubicBezTo>
                    <a:cubicBezTo>
                      <a:pt x="3" y="18"/>
                      <a:pt x="4" y="18"/>
                      <a:pt x="5" y="18"/>
                    </a:cubicBezTo>
                    <a:cubicBezTo>
                      <a:pt x="6" y="18"/>
                      <a:pt x="7" y="18"/>
                      <a:pt x="8" y="18"/>
                    </a:cubicBezTo>
                    <a:cubicBezTo>
                      <a:pt x="8" y="18"/>
                      <a:pt x="9" y="18"/>
                      <a:pt x="9" y="18"/>
                    </a:cubicBezTo>
                    <a:cubicBezTo>
                      <a:pt x="10" y="18"/>
                      <a:pt x="11" y="18"/>
                      <a:pt x="13" y="18"/>
                    </a:cubicBezTo>
                    <a:cubicBezTo>
                      <a:pt x="15" y="18"/>
                      <a:pt x="17" y="18"/>
                      <a:pt x="19" y="17"/>
                    </a:cubicBezTo>
                    <a:cubicBezTo>
                      <a:pt x="23" y="15"/>
                      <a:pt x="21" y="11"/>
                      <a:pt x="20" y="8"/>
                    </a:cubicBezTo>
                    <a:cubicBezTo>
                      <a:pt x="20" y="5"/>
                      <a:pt x="22" y="3"/>
                      <a:pt x="23" y="0"/>
                    </a:cubicBezTo>
                    <a:cubicBezTo>
                      <a:pt x="23" y="0"/>
                      <a:pt x="22"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1" name="Freeform 154">
                <a:extLst>
                  <a:ext uri="{FF2B5EF4-FFF2-40B4-BE49-F238E27FC236}">
                    <a16:creationId xmlns:a16="http://schemas.microsoft.com/office/drawing/2014/main" id="{B68C7932-9ED0-4A0F-A07B-12AB62FF401F}"/>
                  </a:ext>
                </a:extLst>
              </p:cNvPr>
              <p:cNvSpPr>
                <a:spLocks/>
              </p:cNvSpPr>
              <p:nvPr/>
            </p:nvSpPr>
            <p:spPr bwMode="auto">
              <a:xfrm>
                <a:off x="5511" y="4561"/>
                <a:ext cx="14" cy="17"/>
              </a:xfrm>
              <a:custGeom>
                <a:avLst/>
                <a:gdLst>
                  <a:gd name="T0" fmla="*/ 3 w 6"/>
                  <a:gd name="T1" fmla="*/ 0 h 7"/>
                  <a:gd name="T2" fmla="*/ 0 w 6"/>
                  <a:gd name="T3" fmla="*/ 2 h 7"/>
                  <a:gd name="T4" fmla="*/ 6 w 6"/>
                  <a:gd name="T5" fmla="*/ 7 h 7"/>
                  <a:gd name="T6" fmla="*/ 6 w 6"/>
                  <a:gd name="T7" fmla="*/ 7 h 7"/>
                  <a:gd name="T8" fmla="*/ 3 w 6"/>
                  <a:gd name="T9" fmla="*/ 0 h 7"/>
                </a:gdLst>
                <a:ahLst/>
                <a:cxnLst>
                  <a:cxn ang="0">
                    <a:pos x="T0" y="T1"/>
                  </a:cxn>
                  <a:cxn ang="0">
                    <a:pos x="T2" y="T3"/>
                  </a:cxn>
                  <a:cxn ang="0">
                    <a:pos x="T4" y="T5"/>
                  </a:cxn>
                  <a:cxn ang="0">
                    <a:pos x="T6" y="T7"/>
                  </a:cxn>
                  <a:cxn ang="0">
                    <a:pos x="T8" y="T9"/>
                  </a:cxn>
                </a:cxnLst>
                <a:rect l="0" t="0" r="r" b="b"/>
                <a:pathLst>
                  <a:path w="6" h="7">
                    <a:moveTo>
                      <a:pt x="3" y="0"/>
                    </a:moveTo>
                    <a:cubicBezTo>
                      <a:pt x="1" y="0"/>
                      <a:pt x="1" y="2"/>
                      <a:pt x="0" y="2"/>
                    </a:cubicBezTo>
                    <a:cubicBezTo>
                      <a:pt x="0" y="5"/>
                      <a:pt x="3" y="7"/>
                      <a:pt x="6" y="7"/>
                    </a:cubicBezTo>
                    <a:cubicBezTo>
                      <a:pt x="6" y="7"/>
                      <a:pt x="6" y="7"/>
                      <a:pt x="6" y="7"/>
                    </a:cubicBezTo>
                    <a:cubicBezTo>
                      <a:pt x="6" y="4"/>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2" name="Freeform 155">
                <a:extLst>
                  <a:ext uri="{FF2B5EF4-FFF2-40B4-BE49-F238E27FC236}">
                    <a16:creationId xmlns:a16="http://schemas.microsoft.com/office/drawing/2014/main" id="{E4E7D456-F084-4CB9-99E9-04E81918F71F}"/>
                  </a:ext>
                </a:extLst>
              </p:cNvPr>
              <p:cNvSpPr>
                <a:spLocks/>
              </p:cNvSpPr>
              <p:nvPr/>
            </p:nvSpPr>
            <p:spPr bwMode="auto">
              <a:xfrm>
                <a:off x="5553" y="4564"/>
                <a:ext cx="3" cy="2"/>
              </a:xfrm>
              <a:custGeom>
                <a:avLst/>
                <a:gdLst>
                  <a:gd name="T0" fmla="*/ 1 w 1"/>
                  <a:gd name="T1" fmla="*/ 0 h 1"/>
                  <a:gd name="T2" fmla="*/ 0 w 1"/>
                  <a:gd name="T3" fmla="*/ 1 h 1"/>
                  <a:gd name="T4" fmla="*/ 0 w 1"/>
                  <a:gd name="T5" fmla="*/ 1 h 1"/>
                  <a:gd name="T6" fmla="*/ 0 w 1"/>
                  <a:gd name="T7" fmla="*/ 1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0" y="1"/>
                      <a:pt x="0" y="1"/>
                    </a:cubicBezTo>
                    <a:cubicBezTo>
                      <a:pt x="0" y="1"/>
                      <a:pt x="0" y="1"/>
                      <a:pt x="0" y="1"/>
                    </a:cubicBezTo>
                    <a:cubicBezTo>
                      <a:pt x="0" y="1"/>
                      <a:pt x="0" y="1"/>
                      <a:pt x="0" y="1"/>
                    </a:cubicBezTo>
                    <a:cubicBezTo>
                      <a:pt x="1" y="1"/>
                      <a:pt x="1" y="1"/>
                      <a:pt x="1" y="1"/>
                    </a:cubicBezTo>
                    <a:cubicBezTo>
                      <a:pt x="1"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3" name="Freeform 156">
                <a:extLst>
                  <a:ext uri="{FF2B5EF4-FFF2-40B4-BE49-F238E27FC236}">
                    <a16:creationId xmlns:a16="http://schemas.microsoft.com/office/drawing/2014/main" id="{AC4040BF-46FE-436D-9169-BFC6AFBDFB2F}"/>
                  </a:ext>
                </a:extLst>
              </p:cNvPr>
              <p:cNvSpPr>
                <a:spLocks/>
              </p:cNvSpPr>
              <p:nvPr/>
            </p:nvSpPr>
            <p:spPr bwMode="auto">
              <a:xfrm>
                <a:off x="5551" y="4566"/>
                <a:ext cx="2"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4" name="Freeform 157">
                <a:extLst>
                  <a:ext uri="{FF2B5EF4-FFF2-40B4-BE49-F238E27FC236}">
                    <a16:creationId xmlns:a16="http://schemas.microsoft.com/office/drawing/2014/main" id="{7B006D19-16A8-45DB-BBE5-7F7A71EE7D62}"/>
                  </a:ext>
                </a:extLst>
              </p:cNvPr>
              <p:cNvSpPr>
                <a:spLocks/>
              </p:cNvSpPr>
              <p:nvPr/>
            </p:nvSpPr>
            <p:spPr bwMode="auto">
              <a:xfrm>
                <a:off x="5494" y="4467"/>
                <a:ext cx="5" cy="4"/>
              </a:xfrm>
              <a:custGeom>
                <a:avLst/>
                <a:gdLst>
                  <a:gd name="T0" fmla="*/ 0 w 2"/>
                  <a:gd name="T1" fmla="*/ 0 h 2"/>
                  <a:gd name="T2" fmla="*/ 1 w 2"/>
                  <a:gd name="T3" fmla="*/ 2 h 2"/>
                  <a:gd name="T4" fmla="*/ 2 w 2"/>
                  <a:gd name="T5" fmla="*/ 1 h 2"/>
                  <a:gd name="T6" fmla="*/ 0 w 2"/>
                  <a:gd name="T7" fmla="*/ 0 h 2"/>
                </a:gdLst>
                <a:ahLst/>
                <a:cxnLst>
                  <a:cxn ang="0">
                    <a:pos x="T0" y="T1"/>
                  </a:cxn>
                  <a:cxn ang="0">
                    <a:pos x="T2" y="T3"/>
                  </a:cxn>
                  <a:cxn ang="0">
                    <a:pos x="T4" y="T5"/>
                  </a:cxn>
                  <a:cxn ang="0">
                    <a:pos x="T6" y="T7"/>
                  </a:cxn>
                </a:cxnLst>
                <a:rect l="0" t="0" r="r" b="b"/>
                <a:pathLst>
                  <a:path w="2" h="2">
                    <a:moveTo>
                      <a:pt x="0" y="0"/>
                    </a:moveTo>
                    <a:cubicBezTo>
                      <a:pt x="0" y="1"/>
                      <a:pt x="0" y="2"/>
                      <a:pt x="1" y="2"/>
                    </a:cubicBezTo>
                    <a:cubicBezTo>
                      <a:pt x="1" y="2"/>
                      <a:pt x="2" y="2"/>
                      <a:pt x="2"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5" name="Freeform 158">
                <a:extLst>
                  <a:ext uri="{FF2B5EF4-FFF2-40B4-BE49-F238E27FC236}">
                    <a16:creationId xmlns:a16="http://schemas.microsoft.com/office/drawing/2014/main" id="{6C2CA65A-3061-40E8-9B5A-5FB2C0140CC5}"/>
                  </a:ext>
                </a:extLst>
              </p:cNvPr>
              <p:cNvSpPr>
                <a:spLocks/>
              </p:cNvSpPr>
              <p:nvPr/>
            </p:nvSpPr>
            <p:spPr bwMode="auto">
              <a:xfrm>
                <a:off x="5667" y="4514"/>
                <a:ext cx="9" cy="14"/>
              </a:xfrm>
              <a:custGeom>
                <a:avLst/>
                <a:gdLst>
                  <a:gd name="T0" fmla="*/ 4 w 4"/>
                  <a:gd name="T1" fmla="*/ 0 h 6"/>
                  <a:gd name="T2" fmla="*/ 3 w 4"/>
                  <a:gd name="T3" fmla="*/ 6 h 6"/>
                  <a:gd name="T4" fmla="*/ 4 w 4"/>
                  <a:gd name="T5" fmla="*/ 0 h 6"/>
                </a:gdLst>
                <a:ahLst/>
                <a:cxnLst>
                  <a:cxn ang="0">
                    <a:pos x="T0" y="T1"/>
                  </a:cxn>
                  <a:cxn ang="0">
                    <a:pos x="T2" y="T3"/>
                  </a:cxn>
                  <a:cxn ang="0">
                    <a:pos x="T4" y="T5"/>
                  </a:cxn>
                </a:cxnLst>
                <a:rect l="0" t="0" r="r" b="b"/>
                <a:pathLst>
                  <a:path w="4" h="6">
                    <a:moveTo>
                      <a:pt x="4" y="0"/>
                    </a:moveTo>
                    <a:cubicBezTo>
                      <a:pt x="0" y="1"/>
                      <a:pt x="2" y="5"/>
                      <a:pt x="3" y="6"/>
                    </a:cubicBezTo>
                    <a:cubicBezTo>
                      <a:pt x="3" y="4"/>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6" name="Freeform 159">
                <a:extLst>
                  <a:ext uri="{FF2B5EF4-FFF2-40B4-BE49-F238E27FC236}">
                    <a16:creationId xmlns:a16="http://schemas.microsoft.com/office/drawing/2014/main" id="{EC3DD098-536A-4862-9D98-C7DB4B3FEC7F}"/>
                  </a:ext>
                </a:extLst>
              </p:cNvPr>
              <p:cNvSpPr>
                <a:spLocks/>
              </p:cNvSpPr>
              <p:nvPr/>
            </p:nvSpPr>
            <p:spPr bwMode="auto">
              <a:xfrm>
                <a:off x="6213" y="4301"/>
                <a:ext cx="7" cy="7"/>
              </a:xfrm>
              <a:custGeom>
                <a:avLst/>
                <a:gdLst>
                  <a:gd name="T0" fmla="*/ 0 w 3"/>
                  <a:gd name="T1" fmla="*/ 0 h 3"/>
                  <a:gd name="T2" fmla="*/ 3 w 3"/>
                  <a:gd name="T3" fmla="*/ 3 h 3"/>
                  <a:gd name="T4" fmla="*/ 0 w 3"/>
                  <a:gd name="T5" fmla="*/ 0 h 3"/>
                </a:gdLst>
                <a:ahLst/>
                <a:cxnLst>
                  <a:cxn ang="0">
                    <a:pos x="T0" y="T1"/>
                  </a:cxn>
                  <a:cxn ang="0">
                    <a:pos x="T2" y="T3"/>
                  </a:cxn>
                  <a:cxn ang="0">
                    <a:pos x="T4" y="T5"/>
                  </a:cxn>
                </a:cxnLst>
                <a:rect l="0" t="0" r="r" b="b"/>
                <a:pathLst>
                  <a:path w="3" h="3">
                    <a:moveTo>
                      <a:pt x="0" y="0"/>
                    </a:moveTo>
                    <a:cubicBezTo>
                      <a:pt x="1" y="2"/>
                      <a:pt x="2"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7" name="Freeform 160">
                <a:extLst>
                  <a:ext uri="{FF2B5EF4-FFF2-40B4-BE49-F238E27FC236}">
                    <a16:creationId xmlns:a16="http://schemas.microsoft.com/office/drawing/2014/main" id="{95411E91-6777-4C38-BA32-3724C817A976}"/>
                  </a:ext>
                </a:extLst>
              </p:cNvPr>
              <p:cNvSpPr>
                <a:spLocks/>
              </p:cNvSpPr>
              <p:nvPr/>
            </p:nvSpPr>
            <p:spPr bwMode="auto">
              <a:xfrm>
                <a:off x="6220" y="4308"/>
                <a:ext cx="12" cy="7"/>
              </a:xfrm>
              <a:custGeom>
                <a:avLst/>
                <a:gdLst>
                  <a:gd name="T0" fmla="*/ 1 w 5"/>
                  <a:gd name="T1" fmla="*/ 0 h 3"/>
                  <a:gd name="T2" fmla="*/ 0 w 5"/>
                  <a:gd name="T3" fmla="*/ 0 h 3"/>
                  <a:gd name="T4" fmla="*/ 5 w 5"/>
                  <a:gd name="T5" fmla="*/ 3 h 3"/>
                  <a:gd name="T6" fmla="*/ 1 w 5"/>
                  <a:gd name="T7" fmla="*/ 0 h 3"/>
                </a:gdLst>
                <a:ahLst/>
                <a:cxnLst>
                  <a:cxn ang="0">
                    <a:pos x="T0" y="T1"/>
                  </a:cxn>
                  <a:cxn ang="0">
                    <a:pos x="T2" y="T3"/>
                  </a:cxn>
                  <a:cxn ang="0">
                    <a:pos x="T4" y="T5"/>
                  </a:cxn>
                  <a:cxn ang="0">
                    <a:pos x="T6" y="T7"/>
                  </a:cxn>
                </a:cxnLst>
                <a:rect l="0" t="0" r="r" b="b"/>
                <a:pathLst>
                  <a:path w="5" h="3">
                    <a:moveTo>
                      <a:pt x="1" y="0"/>
                    </a:moveTo>
                    <a:cubicBezTo>
                      <a:pt x="1" y="0"/>
                      <a:pt x="1" y="0"/>
                      <a:pt x="0" y="0"/>
                    </a:cubicBezTo>
                    <a:cubicBezTo>
                      <a:pt x="2" y="1"/>
                      <a:pt x="3" y="2"/>
                      <a:pt x="5" y="3"/>
                    </a:cubicBezTo>
                    <a:cubicBezTo>
                      <a:pt x="3"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8" name="Freeform 161">
                <a:extLst>
                  <a:ext uri="{FF2B5EF4-FFF2-40B4-BE49-F238E27FC236}">
                    <a16:creationId xmlns:a16="http://schemas.microsoft.com/office/drawing/2014/main" id="{62EE54D4-F0C4-4DAE-B8D9-2B5B1365828C}"/>
                  </a:ext>
                </a:extLst>
              </p:cNvPr>
              <p:cNvSpPr>
                <a:spLocks/>
              </p:cNvSpPr>
              <p:nvPr/>
            </p:nvSpPr>
            <p:spPr bwMode="auto">
              <a:xfrm>
                <a:off x="6208" y="4296"/>
                <a:ext cx="5" cy="5"/>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1" y="1"/>
                      <a:pt x="2" y="2"/>
                      <a:pt x="2"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9" name="Freeform 162">
                <a:extLst>
                  <a:ext uri="{FF2B5EF4-FFF2-40B4-BE49-F238E27FC236}">
                    <a16:creationId xmlns:a16="http://schemas.microsoft.com/office/drawing/2014/main" id="{C8D44DD8-97A9-4E92-A720-A70606E4B327}"/>
                  </a:ext>
                </a:extLst>
              </p:cNvPr>
              <p:cNvSpPr>
                <a:spLocks/>
              </p:cNvSpPr>
              <p:nvPr/>
            </p:nvSpPr>
            <p:spPr bwMode="auto">
              <a:xfrm>
                <a:off x="6251" y="4301"/>
                <a:ext cx="14" cy="17"/>
              </a:xfrm>
              <a:custGeom>
                <a:avLst/>
                <a:gdLst>
                  <a:gd name="T0" fmla="*/ 0 w 6"/>
                  <a:gd name="T1" fmla="*/ 0 h 7"/>
                  <a:gd name="T2" fmla="*/ 3 w 6"/>
                  <a:gd name="T3" fmla="*/ 7 h 7"/>
                  <a:gd name="T4" fmla="*/ 0 w 6"/>
                  <a:gd name="T5" fmla="*/ 0 h 7"/>
                </a:gdLst>
                <a:ahLst/>
                <a:cxnLst>
                  <a:cxn ang="0">
                    <a:pos x="T0" y="T1"/>
                  </a:cxn>
                  <a:cxn ang="0">
                    <a:pos x="T2" y="T3"/>
                  </a:cxn>
                  <a:cxn ang="0">
                    <a:pos x="T4" y="T5"/>
                  </a:cxn>
                </a:cxnLst>
                <a:rect l="0" t="0" r="r" b="b"/>
                <a:pathLst>
                  <a:path w="6" h="7">
                    <a:moveTo>
                      <a:pt x="0" y="0"/>
                    </a:moveTo>
                    <a:cubicBezTo>
                      <a:pt x="1" y="3"/>
                      <a:pt x="2" y="5"/>
                      <a:pt x="3" y="7"/>
                    </a:cubicBezTo>
                    <a:cubicBezTo>
                      <a:pt x="6" y="2"/>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0" name="Freeform 163">
                <a:extLst>
                  <a:ext uri="{FF2B5EF4-FFF2-40B4-BE49-F238E27FC236}">
                    <a16:creationId xmlns:a16="http://schemas.microsoft.com/office/drawing/2014/main" id="{A3C79D3D-1FB7-4F65-8600-6A18B2FDE45E}"/>
                  </a:ext>
                </a:extLst>
              </p:cNvPr>
              <p:cNvSpPr>
                <a:spLocks/>
              </p:cNvSpPr>
              <p:nvPr/>
            </p:nvSpPr>
            <p:spPr bwMode="auto">
              <a:xfrm>
                <a:off x="4151" y="3771"/>
                <a:ext cx="7" cy="10"/>
              </a:xfrm>
              <a:custGeom>
                <a:avLst/>
                <a:gdLst>
                  <a:gd name="T0" fmla="*/ 0 w 3"/>
                  <a:gd name="T1" fmla="*/ 0 h 4"/>
                  <a:gd name="T2" fmla="*/ 3 w 3"/>
                  <a:gd name="T3" fmla="*/ 4 h 4"/>
                  <a:gd name="T4" fmla="*/ 0 w 3"/>
                  <a:gd name="T5" fmla="*/ 0 h 4"/>
                </a:gdLst>
                <a:ahLst/>
                <a:cxnLst>
                  <a:cxn ang="0">
                    <a:pos x="T0" y="T1"/>
                  </a:cxn>
                  <a:cxn ang="0">
                    <a:pos x="T2" y="T3"/>
                  </a:cxn>
                  <a:cxn ang="0">
                    <a:pos x="T4" y="T5"/>
                  </a:cxn>
                </a:cxnLst>
                <a:rect l="0" t="0" r="r" b="b"/>
                <a:pathLst>
                  <a:path w="3" h="4">
                    <a:moveTo>
                      <a:pt x="0" y="0"/>
                    </a:moveTo>
                    <a:cubicBezTo>
                      <a:pt x="0" y="2"/>
                      <a:pt x="1" y="3"/>
                      <a:pt x="3" y="4"/>
                    </a:cubicBezTo>
                    <a:cubicBezTo>
                      <a:pt x="2"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1" name="Freeform 164">
                <a:extLst>
                  <a:ext uri="{FF2B5EF4-FFF2-40B4-BE49-F238E27FC236}">
                    <a16:creationId xmlns:a16="http://schemas.microsoft.com/office/drawing/2014/main" id="{AF718BE4-5AB8-4F56-8196-11BE8511D69C}"/>
                  </a:ext>
                </a:extLst>
              </p:cNvPr>
              <p:cNvSpPr>
                <a:spLocks/>
              </p:cNvSpPr>
              <p:nvPr/>
            </p:nvSpPr>
            <p:spPr bwMode="auto">
              <a:xfrm>
                <a:off x="3505" y="3331"/>
                <a:ext cx="7" cy="19"/>
              </a:xfrm>
              <a:custGeom>
                <a:avLst/>
                <a:gdLst>
                  <a:gd name="T0" fmla="*/ 3 w 3"/>
                  <a:gd name="T1" fmla="*/ 0 h 8"/>
                  <a:gd name="T2" fmla="*/ 3 w 3"/>
                  <a:gd name="T3" fmla="*/ 8 h 8"/>
                  <a:gd name="T4" fmla="*/ 3 w 3"/>
                  <a:gd name="T5" fmla="*/ 0 h 8"/>
                </a:gdLst>
                <a:ahLst/>
                <a:cxnLst>
                  <a:cxn ang="0">
                    <a:pos x="T0" y="T1"/>
                  </a:cxn>
                  <a:cxn ang="0">
                    <a:pos x="T2" y="T3"/>
                  </a:cxn>
                  <a:cxn ang="0">
                    <a:pos x="T4" y="T5"/>
                  </a:cxn>
                </a:cxnLst>
                <a:rect l="0" t="0" r="r" b="b"/>
                <a:pathLst>
                  <a:path w="3" h="8">
                    <a:moveTo>
                      <a:pt x="3" y="0"/>
                    </a:moveTo>
                    <a:cubicBezTo>
                      <a:pt x="0" y="1"/>
                      <a:pt x="3" y="5"/>
                      <a:pt x="3" y="8"/>
                    </a:cubicBezTo>
                    <a:cubicBezTo>
                      <a:pt x="3" y="5"/>
                      <a:pt x="3"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2" name="Freeform 165">
                <a:extLst>
                  <a:ext uri="{FF2B5EF4-FFF2-40B4-BE49-F238E27FC236}">
                    <a16:creationId xmlns:a16="http://schemas.microsoft.com/office/drawing/2014/main" id="{EE536081-1532-4F7E-B286-83CD5772A5BC}"/>
                  </a:ext>
                </a:extLst>
              </p:cNvPr>
              <p:cNvSpPr>
                <a:spLocks/>
              </p:cNvSpPr>
              <p:nvPr/>
            </p:nvSpPr>
            <p:spPr bwMode="auto">
              <a:xfrm>
                <a:off x="3673" y="3381"/>
                <a:ext cx="10" cy="21"/>
              </a:xfrm>
              <a:custGeom>
                <a:avLst/>
                <a:gdLst>
                  <a:gd name="T0" fmla="*/ 4 w 4"/>
                  <a:gd name="T1" fmla="*/ 0 h 9"/>
                  <a:gd name="T2" fmla="*/ 3 w 4"/>
                  <a:gd name="T3" fmla="*/ 4 h 9"/>
                  <a:gd name="T4" fmla="*/ 1 w 4"/>
                  <a:gd name="T5" fmla="*/ 6 h 9"/>
                  <a:gd name="T6" fmla="*/ 3 w 4"/>
                  <a:gd name="T7" fmla="*/ 9 h 9"/>
                  <a:gd name="T8" fmla="*/ 4 w 4"/>
                  <a:gd name="T9" fmla="*/ 0 h 9"/>
                </a:gdLst>
                <a:ahLst/>
                <a:cxnLst>
                  <a:cxn ang="0">
                    <a:pos x="T0" y="T1"/>
                  </a:cxn>
                  <a:cxn ang="0">
                    <a:pos x="T2" y="T3"/>
                  </a:cxn>
                  <a:cxn ang="0">
                    <a:pos x="T4" y="T5"/>
                  </a:cxn>
                  <a:cxn ang="0">
                    <a:pos x="T6" y="T7"/>
                  </a:cxn>
                  <a:cxn ang="0">
                    <a:pos x="T8" y="T9"/>
                  </a:cxn>
                </a:cxnLst>
                <a:rect l="0" t="0" r="r" b="b"/>
                <a:pathLst>
                  <a:path w="4" h="9">
                    <a:moveTo>
                      <a:pt x="4" y="0"/>
                    </a:moveTo>
                    <a:cubicBezTo>
                      <a:pt x="3" y="1"/>
                      <a:pt x="3" y="3"/>
                      <a:pt x="3" y="4"/>
                    </a:cubicBezTo>
                    <a:cubicBezTo>
                      <a:pt x="3" y="4"/>
                      <a:pt x="2" y="5"/>
                      <a:pt x="1" y="6"/>
                    </a:cubicBezTo>
                    <a:cubicBezTo>
                      <a:pt x="1" y="8"/>
                      <a:pt x="0" y="7"/>
                      <a:pt x="3" y="9"/>
                    </a:cubicBezTo>
                    <a:cubicBezTo>
                      <a:pt x="4" y="6"/>
                      <a:pt x="4"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3" name="Freeform 166">
                <a:extLst>
                  <a:ext uri="{FF2B5EF4-FFF2-40B4-BE49-F238E27FC236}">
                    <a16:creationId xmlns:a16="http://schemas.microsoft.com/office/drawing/2014/main" id="{AB18A6EF-E84E-4144-98FD-6A69AAD84948}"/>
                  </a:ext>
                </a:extLst>
              </p:cNvPr>
              <p:cNvSpPr>
                <a:spLocks/>
              </p:cNvSpPr>
              <p:nvPr/>
            </p:nvSpPr>
            <p:spPr bwMode="auto">
              <a:xfrm>
                <a:off x="4971" y="3941"/>
                <a:ext cx="3" cy="3"/>
              </a:xfrm>
              <a:custGeom>
                <a:avLst/>
                <a:gdLst>
                  <a:gd name="T0" fmla="*/ 1 w 1"/>
                  <a:gd name="T1" fmla="*/ 0 h 1"/>
                  <a:gd name="T2" fmla="*/ 1 w 1"/>
                  <a:gd name="T3" fmla="*/ 0 h 1"/>
                  <a:gd name="T4" fmla="*/ 1 w 1"/>
                  <a:gd name="T5" fmla="*/ 0 h 1"/>
                  <a:gd name="T6" fmla="*/ 0 w 1"/>
                  <a:gd name="T7" fmla="*/ 0 h 1"/>
                  <a:gd name="T8" fmla="*/ 0 w 1"/>
                  <a:gd name="T9" fmla="*/ 1 h 1"/>
                  <a:gd name="T10" fmla="*/ 1 w 1"/>
                  <a:gd name="T11" fmla="*/ 0 h 1"/>
                  <a:gd name="T12" fmla="*/ 1 w 1"/>
                  <a:gd name="T13" fmla="*/ 0 h 1"/>
                  <a:gd name="T14" fmla="*/ 1 w 1"/>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1" y="0"/>
                    </a:moveTo>
                    <a:cubicBezTo>
                      <a:pt x="1" y="0"/>
                      <a:pt x="1" y="0"/>
                      <a:pt x="1" y="0"/>
                    </a:cubicBezTo>
                    <a:cubicBezTo>
                      <a:pt x="1" y="0"/>
                      <a:pt x="1" y="0"/>
                      <a:pt x="1" y="0"/>
                    </a:cubicBezTo>
                    <a:cubicBezTo>
                      <a:pt x="0" y="0"/>
                      <a:pt x="0" y="0"/>
                      <a:pt x="0" y="0"/>
                    </a:cubicBezTo>
                    <a:cubicBezTo>
                      <a:pt x="0" y="1"/>
                      <a:pt x="0" y="1"/>
                      <a:pt x="0" y="1"/>
                    </a:cubicBezTo>
                    <a:cubicBezTo>
                      <a:pt x="1" y="1"/>
                      <a:pt x="1" y="1"/>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4" name="Freeform 167">
                <a:extLst>
                  <a:ext uri="{FF2B5EF4-FFF2-40B4-BE49-F238E27FC236}">
                    <a16:creationId xmlns:a16="http://schemas.microsoft.com/office/drawing/2014/main" id="{F5D9983F-44AC-4198-A9FB-AA8F2DE7B50D}"/>
                  </a:ext>
                </a:extLst>
              </p:cNvPr>
              <p:cNvSpPr>
                <a:spLocks/>
              </p:cNvSpPr>
              <p:nvPr/>
            </p:nvSpPr>
            <p:spPr bwMode="auto">
              <a:xfrm>
                <a:off x="3768" y="3307"/>
                <a:ext cx="28" cy="36"/>
              </a:xfrm>
              <a:custGeom>
                <a:avLst/>
                <a:gdLst>
                  <a:gd name="T0" fmla="*/ 1 w 12"/>
                  <a:gd name="T1" fmla="*/ 0 h 15"/>
                  <a:gd name="T2" fmla="*/ 12 w 12"/>
                  <a:gd name="T3" fmla="*/ 15 h 15"/>
                  <a:gd name="T4" fmla="*/ 11 w 12"/>
                  <a:gd name="T5" fmla="*/ 8 h 15"/>
                  <a:gd name="T6" fmla="*/ 9 w 12"/>
                  <a:gd name="T7" fmla="*/ 7 h 15"/>
                  <a:gd name="T8" fmla="*/ 8 w 12"/>
                  <a:gd name="T9" fmla="*/ 7 h 15"/>
                  <a:gd name="T10" fmla="*/ 8 w 12"/>
                  <a:gd name="T11" fmla="*/ 7 h 15"/>
                  <a:gd name="T12" fmla="*/ 6 w 12"/>
                  <a:gd name="T13" fmla="*/ 7 h 15"/>
                  <a:gd name="T14" fmla="*/ 6 w 12"/>
                  <a:gd name="T15" fmla="*/ 4 h 15"/>
                  <a:gd name="T16" fmla="*/ 5 w 12"/>
                  <a:gd name="T17" fmla="*/ 3 h 15"/>
                  <a:gd name="T18" fmla="*/ 1 w 12"/>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5">
                    <a:moveTo>
                      <a:pt x="1" y="0"/>
                    </a:moveTo>
                    <a:cubicBezTo>
                      <a:pt x="0" y="7"/>
                      <a:pt x="7" y="11"/>
                      <a:pt x="12" y="15"/>
                    </a:cubicBezTo>
                    <a:cubicBezTo>
                      <a:pt x="12" y="14"/>
                      <a:pt x="11" y="8"/>
                      <a:pt x="11" y="8"/>
                    </a:cubicBezTo>
                    <a:cubicBezTo>
                      <a:pt x="10" y="8"/>
                      <a:pt x="10" y="7"/>
                      <a:pt x="9" y="7"/>
                    </a:cubicBezTo>
                    <a:cubicBezTo>
                      <a:pt x="9" y="7"/>
                      <a:pt x="9" y="7"/>
                      <a:pt x="8" y="7"/>
                    </a:cubicBezTo>
                    <a:cubicBezTo>
                      <a:pt x="8" y="7"/>
                      <a:pt x="8" y="7"/>
                      <a:pt x="8" y="7"/>
                    </a:cubicBezTo>
                    <a:cubicBezTo>
                      <a:pt x="7" y="7"/>
                      <a:pt x="6" y="7"/>
                      <a:pt x="6" y="7"/>
                    </a:cubicBezTo>
                    <a:cubicBezTo>
                      <a:pt x="6" y="6"/>
                      <a:pt x="6" y="5"/>
                      <a:pt x="6" y="4"/>
                    </a:cubicBezTo>
                    <a:cubicBezTo>
                      <a:pt x="6" y="3"/>
                      <a:pt x="5" y="3"/>
                      <a:pt x="5" y="3"/>
                    </a:cubicBezTo>
                    <a:cubicBezTo>
                      <a:pt x="4" y="1"/>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5" name="Freeform 168">
                <a:extLst>
                  <a:ext uri="{FF2B5EF4-FFF2-40B4-BE49-F238E27FC236}">
                    <a16:creationId xmlns:a16="http://schemas.microsoft.com/office/drawing/2014/main" id="{CA2AC617-6FC5-4F0F-8449-F011C50644B3}"/>
                  </a:ext>
                </a:extLst>
              </p:cNvPr>
              <p:cNvSpPr>
                <a:spLocks/>
              </p:cNvSpPr>
              <p:nvPr/>
            </p:nvSpPr>
            <p:spPr bwMode="auto">
              <a:xfrm>
                <a:off x="3827" y="3329"/>
                <a:ext cx="21" cy="28"/>
              </a:xfrm>
              <a:custGeom>
                <a:avLst/>
                <a:gdLst>
                  <a:gd name="T0" fmla="*/ 7 w 9"/>
                  <a:gd name="T1" fmla="*/ 0 h 12"/>
                  <a:gd name="T2" fmla="*/ 2 w 9"/>
                  <a:gd name="T3" fmla="*/ 3 h 12"/>
                  <a:gd name="T4" fmla="*/ 0 w 9"/>
                  <a:gd name="T5" fmla="*/ 9 h 12"/>
                  <a:gd name="T6" fmla="*/ 6 w 9"/>
                  <a:gd name="T7" fmla="*/ 12 h 12"/>
                  <a:gd name="T8" fmla="*/ 8 w 9"/>
                  <a:gd name="T9" fmla="*/ 5 h 12"/>
                  <a:gd name="T10" fmla="*/ 7 w 9"/>
                  <a:gd name="T11" fmla="*/ 0 h 12"/>
                </a:gdLst>
                <a:ahLst/>
                <a:cxnLst>
                  <a:cxn ang="0">
                    <a:pos x="T0" y="T1"/>
                  </a:cxn>
                  <a:cxn ang="0">
                    <a:pos x="T2" y="T3"/>
                  </a:cxn>
                  <a:cxn ang="0">
                    <a:pos x="T4" y="T5"/>
                  </a:cxn>
                  <a:cxn ang="0">
                    <a:pos x="T6" y="T7"/>
                  </a:cxn>
                  <a:cxn ang="0">
                    <a:pos x="T8" y="T9"/>
                  </a:cxn>
                  <a:cxn ang="0">
                    <a:pos x="T10" y="T11"/>
                  </a:cxn>
                </a:cxnLst>
                <a:rect l="0" t="0" r="r" b="b"/>
                <a:pathLst>
                  <a:path w="9" h="12">
                    <a:moveTo>
                      <a:pt x="7" y="0"/>
                    </a:moveTo>
                    <a:cubicBezTo>
                      <a:pt x="5" y="0"/>
                      <a:pt x="3" y="1"/>
                      <a:pt x="2" y="3"/>
                    </a:cubicBezTo>
                    <a:cubicBezTo>
                      <a:pt x="1" y="5"/>
                      <a:pt x="2" y="8"/>
                      <a:pt x="0" y="9"/>
                    </a:cubicBezTo>
                    <a:cubicBezTo>
                      <a:pt x="2" y="10"/>
                      <a:pt x="4" y="11"/>
                      <a:pt x="6" y="12"/>
                    </a:cubicBezTo>
                    <a:cubicBezTo>
                      <a:pt x="7" y="10"/>
                      <a:pt x="9" y="8"/>
                      <a:pt x="8" y="5"/>
                    </a:cubicBezTo>
                    <a:cubicBezTo>
                      <a:pt x="8" y="3"/>
                      <a:pt x="7"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6" name="Freeform 169">
                <a:extLst>
                  <a:ext uri="{FF2B5EF4-FFF2-40B4-BE49-F238E27FC236}">
                    <a16:creationId xmlns:a16="http://schemas.microsoft.com/office/drawing/2014/main" id="{5910EC9E-C2F0-4D50-9BCA-DA4715376DEC}"/>
                  </a:ext>
                </a:extLst>
              </p:cNvPr>
              <p:cNvSpPr>
                <a:spLocks/>
              </p:cNvSpPr>
              <p:nvPr/>
            </p:nvSpPr>
            <p:spPr bwMode="auto">
              <a:xfrm>
                <a:off x="5250" y="4072"/>
                <a:ext cx="22" cy="7"/>
              </a:xfrm>
              <a:custGeom>
                <a:avLst/>
                <a:gdLst>
                  <a:gd name="T0" fmla="*/ 8 w 9"/>
                  <a:gd name="T1" fmla="*/ 0 h 3"/>
                  <a:gd name="T2" fmla="*/ 0 w 9"/>
                  <a:gd name="T3" fmla="*/ 3 h 3"/>
                  <a:gd name="T4" fmla="*/ 9 w 9"/>
                  <a:gd name="T5" fmla="*/ 0 h 3"/>
                  <a:gd name="T6" fmla="*/ 8 w 9"/>
                  <a:gd name="T7" fmla="*/ 0 h 3"/>
                </a:gdLst>
                <a:ahLst/>
                <a:cxnLst>
                  <a:cxn ang="0">
                    <a:pos x="T0" y="T1"/>
                  </a:cxn>
                  <a:cxn ang="0">
                    <a:pos x="T2" y="T3"/>
                  </a:cxn>
                  <a:cxn ang="0">
                    <a:pos x="T4" y="T5"/>
                  </a:cxn>
                  <a:cxn ang="0">
                    <a:pos x="T6" y="T7"/>
                  </a:cxn>
                </a:cxnLst>
                <a:rect l="0" t="0" r="r" b="b"/>
                <a:pathLst>
                  <a:path w="9" h="3">
                    <a:moveTo>
                      <a:pt x="8" y="0"/>
                    </a:moveTo>
                    <a:cubicBezTo>
                      <a:pt x="6" y="0"/>
                      <a:pt x="2" y="2"/>
                      <a:pt x="0" y="3"/>
                    </a:cubicBezTo>
                    <a:cubicBezTo>
                      <a:pt x="3" y="2"/>
                      <a:pt x="6" y="1"/>
                      <a:pt x="9"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7" name="Freeform 170">
                <a:extLst>
                  <a:ext uri="{FF2B5EF4-FFF2-40B4-BE49-F238E27FC236}">
                    <a16:creationId xmlns:a16="http://schemas.microsoft.com/office/drawing/2014/main" id="{C54A8E51-71AB-4C5B-B108-43D57FA97AEE}"/>
                  </a:ext>
                </a:extLst>
              </p:cNvPr>
              <p:cNvSpPr>
                <a:spLocks/>
              </p:cNvSpPr>
              <p:nvPr/>
            </p:nvSpPr>
            <p:spPr bwMode="auto">
              <a:xfrm>
                <a:off x="5168" y="2063"/>
                <a:ext cx="19" cy="5"/>
              </a:xfrm>
              <a:custGeom>
                <a:avLst/>
                <a:gdLst>
                  <a:gd name="T0" fmla="*/ 4 w 8"/>
                  <a:gd name="T1" fmla="*/ 0 h 2"/>
                  <a:gd name="T2" fmla="*/ 2 w 8"/>
                  <a:gd name="T3" fmla="*/ 0 h 2"/>
                  <a:gd name="T4" fmla="*/ 1 w 8"/>
                  <a:gd name="T5" fmla="*/ 2 h 2"/>
                  <a:gd name="T6" fmla="*/ 8 w 8"/>
                  <a:gd name="T7" fmla="*/ 0 h 2"/>
                  <a:gd name="T8" fmla="*/ 4 w 8"/>
                  <a:gd name="T9" fmla="*/ 0 h 2"/>
                </a:gdLst>
                <a:ahLst/>
                <a:cxnLst>
                  <a:cxn ang="0">
                    <a:pos x="T0" y="T1"/>
                  </a:cxn>
                  <a:cxn ang="0">
                    <a:pos x="T2" y="T3"/>
                  </a:cxn>
                  <a:cxn ang="0">
                    <a:pos x="T4" y="T5"/>
                  </a:cxn>
                  <a:cxn ang="0">
                    <a:pos x="T6" y="T7"/>
                  </a:cxn>
                  <a:cxn ang="0">
                    <a:pos x="T8" y="T9"/>
                  </a:cxn>
                </a:cxnLst>
                <a:rect l="0" t="0" r="r" b="b"/>
                <a:pathLst>
                  <a:path w="8" h="2">
                    <a:moveTo>
                      <a:pt x="4" y="0"/>
                    </a:moveTo>
                    <a:cubicBezTo>
                      <a:pt x="4" y="0"/>
                      <a:pt x="3" y="0"/>
                      <a:pt x="2" y="0"/>
                    </a:cubicBezTo>
                    <a:cubicBezTo>
                      <a:pt x="0" y="2"/>
                      <a:pt x="0" y="2"/>
                      <a:pt x="1" y="2"/>
                    </a:cubicBezTo>
                    <a:cubicBezTo>
                      <a:pt x="3" y="2"/>
                      <a:pt x="7" y="1"/>
                      <a:pt x="8" y="0"/>
                    </a:cubicBezTo>
                    <a:cubicBezTo>
                      <a:pt x="7" y="0"/>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8" name="Freeform 171">
                <a:extLst>
                  <a:ext uri="{FF2B5EF4-FFF2-40B4-BE49-F238E27FC236}">
                    <a16:creationId xmlns:a16="http://schemas.microsoft.com/office/drawing/2014/main" id="{2938BEA3-7BF8-494D-A4BF-0621FA9A183D}"/>
                  </a:ext>
                </a:extLst>
              </p:cNvPr>
              <p:cNvSpPr>
                <a:spLocks/>
              </p:cNvSpPr>
              <p:nvPr/>
            </p:nvSpPr>
            <p:spPr bwMode="auto">
              <a:xfrm>
                <a:off x="5726" y="3466"/>
                <a:ext cx="52" cy="61"/>
              </a:xfrm>
              <a:custGeom>
                <a:avLst/>
                <a:gdLst>
                  <a:gd name="T0" fmla="*/ 4 w 22"/>
                  <a:gd name="T1" fmla="*/ 0 h 26"/>
                  <a:gd name="T2" fmla="*/ 0 w 22"/>
                  <a:gd name="T3" fmla="*/ 1 h 26"/>
                  <a:gd name="T4" fmla="*/ 1 w 22"/>
                  <a:gd name="T5" fmla="*/ 1 h 26"/>
                  <a:gd name="T6" fmla="*/ 6 w 22"/>
                  <a:gd name="T7" fmla="*/ 2 h 26"/>
                  <a:gd name="T8" fmla="*/ 12 w 22"/>
                  <a:gd name="T9" fmla="*/ 5 h 26"/>
                  <a:gd name="T10" fmla="*/ 16 w 22"/>
                  <a:gd name="T11" fmla="*/ 9 h 26"/>
                  <a:gd name="T12" fmla="*/ 17 w 22"/>
                  <a:gd name="T13" fmla="*/ 9 h 26"/>
                  <a:gd name="T14" fmla="*/ 18 w 22"/>
                  <a:gd name="T15" fmla="*/ 9 h 26"/>
                  <a:gd name="T16" fmla="*/ 18 w 22"/>
                  <a:gd name="T17" fmla="*/ 9 h 26"/>
                  <a:gd name="T18" fmla="*/ 18 w 22"/>
                  <a:gd name="T19" fmla="*/ 11 h 26"/>
                  <a:gd name="T20" fmla="*/ 13 w 22"/>
                  <a:gd name="T21" fmla="*/ 23 h 26"/>
                  <a:gd name="T22" fmla="*/ 17 w 22"/>
                  <a:gd name="T23" fmla="*/ 26 h 26"/>
                  <a:gd name="T24" fmla="*/ 21 w 22"/>
                  <a:gd name="T25" fmla="*/ 16 h 26"/>
                  <a:gd name="T26" fmla="*/ 22 w 22"/>
                  <a:gd name="T27" fmla="*/ 16 h 26"/>
                  <a:gd name="T28" fmla="*/ 20 w 22"/>
                  <a:gd name="T29" fmla="*/ 10 h 26"/>
                  <a:gd name="T30" fmla="*/ 15 w 22"/>
                  <a:gd name="T31" fmla="*/ 7 h 26"/>
                  <a:gd name="T32" fmla="*/ 16 w 22"/>
                  <a:gd name="T33" fmla="*/ 6 h 26"/>
                  <a:gd name="T34" fmla="*/ 10 w 22"/>
                  <a:gd name="T35" fmla="*/ 1 h 26"/>
                  <a:gd name="T36" fmla="*/ 4 w 22"/>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6">
                    <a:moveTo>
                      <a:pt x="4" y="0"/>
                    </a:moveTo>
                    <a:cubicBezTo>
                      <a:pt x="2" y="0"/>
                      <a:pt x="1" y="0"/>
                      <a:pt x="0" y="1"/>
                    </a:cubicBezTo>
                    <a:cubicBezTo>
                      <a:pt x="1" y="1"/>
                      <a:pt x="1" y="1"/>
                      <a:pt x="1" y="1"/>
                    </a:cubicBezTo>
                    <a:cubicBezTo>
                      <a:pt x="3" y="1"/>
                      <a:pt x="4" y="1"/>
                      <a:pt x="6" y="2"/>
                    </a:cubicBezTo>
                    <a:cubicBezTo>
                      <a:pt x="10" y="2"/>
                      <a:pt x="10" y="2"/>
                      <a:pt x="12" y="5"/>
                    </a:cubicBezTo>
                    <a:cubicBezTo>
                      <a:pt x="13" y="6"/>
                      <a:pt x="15" y="8"/>
                      <a:pt x="16" y="9"/>
                    </a:cubicBezTo>
                    <a:cubicBezTo>
                      <a:pt x="17" y="9"/>
                      <a:pt x="17" y="9"/>
                      <a:pt x="17" y="9"/>
                    </a:cubicBezTo>
                    <a:cubicBezTo>
                      <a:pt x="18" y="9"/>
                      <a:pt x="18" y="9"/>
                      <a:pt x="18" y="9"/>
                    </a:cubicBezTo>
                    <a:cubicBezTo>
                      <a:pt x="18" y="9"/>
                      <a:pt x="18" y="9"/>
                      <a:pt x="18" y="9"/>
                    </a:cubicBezTo>
                    <a:cubicBezTo>
                      <a:pt x="18" y="9"/>
                      <a:pt x="18" y="9"/>
                      <a:pt x="18" y="11"/>
                    </a:cubicBezTo>
                    <a:cubicBezTo>
                      <a:pt x="19" y="14"/>
                      <a:pt x="16" y="21"/>
                      <a:pt x="13" y="23"/>
                    </a:cubicBezTo>
                    <a:cubicBezTo>
                      <a:pt x="14" y="24"/>
                      <a:pt x="16" y="25"/>
                      <a:pt x="17" y="26"/>
                    </a:cubicBezTo>
                    <a:cubicBezTo>
                      <a:pt x="18" y="24"/>
                      <a:pt x="17" y="16"/>
                      <a:pt x="21" y="16"/>
                    </a:cubicBezTo>
                    <a:cubicBezTo>
                      <a:pt x="21" y="16"/>
                      <a:pt x="21" y="16"/>
                      <a:pt x="22" y="16"/>
                    </a:cubicBezTo>
                    <a:cubicBezTo>
                      <a:pt x="22" y="14"/>
                      <a:pt x="21" y="11"/>
                      <a:pt x="20" y="10"/>
                    </a:cubicBezTo>
                    <a:cubicBezTo>
                      <a:pt x="19" y="8"/>
                      <a:pt x="16" y="9"/>
                      <a:pt x="15" y="7"/>
                    </a:cubicBezTo>
                    <a:cubicBezTo>
                      <a:pt x="16" y="6"/>
                      <a:pt x="16" y="6"/>
                      <a:pt x="16" y="6"/>
                    </a:cubicBezTo>
                    <a:cubicBezTo>
                      <a:pt x="13" y="6"/>
                      <a:pt x="12" y="3"/>
                      <a:pt x="10" y="1"/>
                    </a:cubicBezTo>
                    <a:cubicBezTo>
                      <a:pt x="9"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9" name="Freeform 172">
                <a:extLst>
                  <a:ext uri="{FF2B5EF4-FFF2-40B4-BE49-F238E27FC236}">
                    <a16:creationId xmlns:a16="http://schemas.microsoft.com/office/drawing/2014/main" id="{0B149AC6-53F7-45A7-AF77-50C037D1B764}"/>
                  </a:ext>
                </a:extLst>
              </p:cNvPr>
              <p:cNvSpPr>
                <a:spLocks/>
              </p:cNvSpPr>
              <p:nvPr/>
            </p:nvSpPr>
            <p:spPr bwMode="auto">
              <a:xfrm>
                <a:off x="5700" y="3568"/>
                <a:ext cx="40" cy="54"/>
              </a:xfrm>
              <a:custGeom>
                <a:avLst/>
                <a:gdLst>
                  <a:gd name="T0" fmla="*/ 5 w 17"/>
                  <a:gd name="T1" fmla="*/ 0 h 23"/>
                  <a:gd name="T2" fmla="*/ 4 w 17"/>
                  <a:gd name="T3" fmla="*/ 9 h 23"/>
                  <a:gd name="T4" fmla="*/ 3 w 17"/>
                  <a:gd name="T5" fmla="*/ 12 h 23"/>
                  <a:gd name="T6" fmla="*/ 5 w 17"/>
                  <a:gd name="T7" fmla="*/ 16 h 23"/>
                  <a:gd name="T8" fmla="*/ 2 w 17"/>
                  <a:gd name="T9" fmla="*/ 13 h 23"/>
                  <a:gd name="T10" fmla="*/ 0 w 17"/>
                  <a:gd name="T11" fmla="*/ 14 h 23"/>
                  <a:gd name="T12" fmla="*/ 5 w 17"/>
                  <a:gd name="T13" fmla="*/ 18 h 23"/>
                  <a:gd name="T14" fmla="*/ 8 w 17"/>
                  <a:gd name="T15" fmla="*/ 20 h 23"/>
                  <a:gd name="T16" fmla="*/ 9 w 17"/>
                  <a:gd name="T17" fmla="*/ 23 h 23"/>
                  <a:gd name="T18" fmla="*/ 10 w 17"/>
                  <a:gd name="T19" fmla="*/ 23 h 23"/>
                  <a:gd name="T20" fmla="*/ 13 w 17"/>
                  <a:gd name="T21" fmla="*/ 19 h 23"/>
                  <a:gd name="T22" fmla="*/ 16 w 17"/>
                  <a:gd name="T23" fmla="*/ 18 h 23"/>
                  <a:gd name="T24" fmla="*/ 14 w 17"/>
                  <a:gd name="T25" fmla="*/ 10 h 23"/>
                  <a:gd name="T26" fmla="*/ 5 w 17"/>
                  <a:gd name="T2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23">
                    <a:moveTo>
                      <a:pt x="5" y="0"/>
                    </a:moveTo>
                    <a:cubicBezTo>
                      <a:pt x="5" y="4"/>
                      <a:pt x="6" y="6"/>
                      <a:pt x="4" y="9"/>
                    </a:cubicBezTo>
                    <a:cubicBezTo>
                      <a:pt x="4" y="10"/>
                      <a:pt x="3" y="11"/>
                      <a:pt x="3" y="12"/>
                    </a:cubicBezTo>
                    <a:cubicBezTo>
                      <a:pt x="4" y="14"/>
                      <a:pt x="6" y="14"/>
                      <a:pt x="5" y="16"/>
                    </a:cubicBezTo>
                    <a:cubicBezTo>
                      <a:pt x="4" y="15"/>
                      <a:pt x="3" y="14"/>
                      <a:pt x="2" y="13"/>
                    </a:cubicBezTo>
                    <a:cubicBezTo>
                      <a:pt x="2" y="13"/>
                      <a:pt x="0" y="14"/>
                      <a:pt x="0" y="14"/>
                    </a:cubicBezTo>
                    <a:cubicBezTo>
                      <a:pt x="0" y="16"/>
                      <a:pt x="3" y="17"/>
                      <a:pt x="5" y="18"/>
                    </a:cubicBezTo>
                    <a:cubicBezTo>
                      <a:pt x="6" y="19"/>
                      <a:pt x="7" y="19"/>
                      <a:pt x="8" y="20"/>
                    </a:cubicBezTo>
                    <a:cubicBezTo>
                      <a:pt x="8" y="21"/>
                      <a:pt x="8" y="23"/>
                      <a:pt x="9" y="23"/>
                    </a:cubicBezTo>
                    <a:cubicBezTo>
                      <a:pt x="9" y="23"/>
                      <a:pt x="9" y="23"/>
                      <a:pt x="10" y="23"/>
                    </a:cubicBezTo>
                    <a:cubicBezTo>
                      <a:pt x="11" y="22"/>
                      <a:pt x="12" y="20"/>
                      <a:pt x="13" y="19"/>
                    </a:cubicBezTo>
                    <a:cubicBezTo>
                      <a:pt x="14" y="19"/>
                      <a:pt x="16" y="19"/>
                      <a:pt x="16" y="18"/>
                    </a:cubicBezTo>
                    <a:cubicBezTo>
                      <a:pt x="17" y="16"/>
                      <a:pt x="15" y="11"/>
                      <a:pt x="14" y="10"/>
                    </a:cubicBezTo>
                    <a:cubicBezTo>
                      <a:pt x="11" y="4"/>
                      <a:pt x="11"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0" name="Freeform 173">
                <a:extLst>
                  <a:ext uri="{FF2B5EF4-FFF2-40B4-BE49-F238E27FC236}">
                    <a16:creationId xmlns:a16="http://schemas.microsoft.com/office/drawing/2014/main" id="{35D2B1CA-11D3-4612-A44D-6D221AA1C57B}"/>
                  </a:ext>
                </a:extLst>
              </p:cNvPr>
              <p:cNvSpPr>
                <a:spLocks/>
              </p:cNvSpPr>
              <p:nvPr/>
            </p:nvSpPr>
            <p:spPr bwMode="auto">
              <a:xfrm>
                <a:off x="5752" y="3577"/>
                <a:ext cx="9" cy="2"/>
              </a:xfrm>
              <a:custGeom>
                <a:avLst/>
                <a:gdLst>
                  <a:gd name="T0" fmla="*/ 4 w 4"/>
                  <a:gd name="T1" fmla="*/ 0 h 1"/>
                  <a:gd name="T2" fmla="*/ 0 w 4"/>
                  <a:gd name="T3" fmla="*/ 1 h 1"/>
                  <a:gd name="T4" fmla="*/ 1 w 4"/>
                  <a:gd name="T5" fmla="*/ 1 h 1"/>
                  <a:gd name="T6" fmla="*/ 4 w 4"/>
                  <a:gd name="T7" fmla="*/ 0 h 1"/>
                </a:gdLst>
                <a:ahLst/>
                <a:cxnLst>
                  <a:cxn ang="0">
                    <a:pos x="T0" y="T1"/>
                  </a:cxn>
                  <a:cxn ang="0">
                    <a:pos x="T2" y="T3"/>
                  </a:cxn>
                  <a:cxn ang="0">
                    <a:pos x="T4" y="T5"/>
                  </a:cxn>
                  <a:cxn ang="0">
                    <a:pos x="T6" y="T7"/>
                  </a:cxn>
                </a:cxnLst>
                <a:rect l="0" t="0" r="r" b="b"/>
                <a:pathLst>
                  <a:path w="4" h="1">
                    <a:moveTo>
                      <a:pt x="4" y="0"/>
                    </a:moveTo>
                    <a:cubicBezTo>
                      <a:pt x="3" y="0"/>
                      <a:pt x="2" y="1"/>
                      <a:pt x="0" y="1"/>
                    </a:cubicBezTo>
                    <a:cubicBezTo>
                      <a:pt x="0" y="1"/>
                      <a:pt x="0" y="1"/>
                      <a:pt x="1" y="1"/>
                    </a:cubicBezTo>
                    <a:cubicBezTo>
                      <a:pt x="2"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1" name="Freeform 174">
                <a:extLst>
                  <a:ext uri="{FF2B5EF4-FFF2-40B4-BE49-F238E27FC236}">
                    <a16:creationId xmlns:a16="http://schemas.microsoft.com/office/drawing/2014/main" id="{0195CD52-F658-4C25-9B27-3833E43D108A}"/>
                  </a:ext>
                </a:extLst>
              </p:cNvPr>
              <p:cNvSpPr>
                <a:spLocks/>
              </p:cNvSpPr>
              <p:nvPr/>
            </p:nvSpPr>
            <p:spPr bwMode="auto">
              <a:xfrm>
                <a:off x="5669" y="3475"/>
                <a:ext cx="62" cy="17"/>
              </a:xfrm>
              <a:custGeom>
                <a:avLst/>
                <a:gdLst>
                  <a:gd name="T0" fmla="*/ 9 w 26"/>
                  <a:gd name="T1" fmla="*/ 0 h 7"/>
                  <a:gd name="T2" fmla="*/ 9 w 26"/>
                  <a:gd name="T3" fmla="*/ 0 h 7"/>
                  <a:gd name="T4" fmla="*/ 4 w 26"/>
                  <a:gd name="T5" fmla="*/ 5 h 7"/>
                  <a:gd name="T6" fmla="*/ 3 w 26"/>
                  <a:gd name="T7" fmla="*/ 4 h 7"/>
                  <a:gd name="T8" fmla="*/ 0 w 26"/>
                  <a:gd name="T9" fmla="*/ 2 h 7"/>
                  <a:gd name="T10" fmla="*/ 6 w 26"/>
                  <a:gd name="T11" fmla="*/ 7 h 7"/>
                  <a:gd name="T12" fmla="*/ 17 w 26"/>
                  <a:gd name="T13" fmla="*/ 4 h 7"/>
                  <a:gd name="T14" fmla="*/ 22 w 26"/>
                  <a:gd name="T15" fmla="*/ 3 h 7"/>
                  <a:gd name="T16" fmla="*/ 22 w 26"/>
                  <a:gd name="T17" fmla="*/ 3 h 7"/>
                  <a:gd name="T18" fmla="*/ 23 w 26"/>
                  <a:gd name="T19" fmla="*/ 3 h 7"/>
                  <a:gd name="T20" fmla="*/ 24 w 26"/>
                  <a:gd name="T21" fmla="*/ 3 h 7"/>
                  <a:gd name="T22" fmla="*/ 25 w 26"/>
                  <a:gd name="T23" fmla="*/ 0 h 7"/>
                  <a:gd name="T24" fmla="*/ 15 w 26"/>
                  <a:gd name="T25" fmla="*/ 2 h 7"/>
                  <a:gd name="T26" fmla="*/ 12 w 26"/>
                  <a:gd name="T27" fmla="*/ 1 h 7"/>
                  <a:gd name="T28" fmla="*/ 9 w 26"/>
                  <a:gd name="T2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7">
                    <a:moveTo>
                      <a:pt x="9" y="0"/>
                    </a:moveTo>
                    <a:cubicBezTo>
                      <a:pt x="9" y="0"/>
                      <a:pt x="9" y="0"/>
                      <a:pt x="9" y="0"/>
                    </a:cubicBezTo>
                    <a:cubicBezTo>
                      <a:pt x="7" y="0"/>
                      <a:pt x="6" y="5"/>
                      <a:pt x="4" y="5"/>
                    </a:cubicBezTo>
                    <a:cubicBezTo>
                      <a:pt x="3" y="4"/>
                      <a:pt x="3" y="4"/>
                      <a:pt x="3" y="4"/>
                    </a:cubicBezTo>
                    <a:cubicBezTo>
                      <a:pt x="2" y="4"/>
                      <a:pt x="1" y="2"/>
                      <a:pt x="0" y="2"/>
                    </a:cubicBezTo>
                    <a:cubicBezTo>
                      <a:pt x="2" y="4"/>
                      <a:pt x="4" y="5"/>
                      <a:pt x="6" y="7"/>
                    </a:cubicBezTo>
                    <a:cubicBezTo>
                      <a:pt x="10" y="6"/>
                      <a:pt x="13" y="4"/>
                      <a:pt x="17" y="4"/>
                    </a:cubicBezTo>
                    <a:cubicBezTo>
                      <a:pt x="18" y="3"/>
                      <a:pt x="20" y="3"/>
                      <a:pt x="22" y="3"/>
                    </a:cubicBezTo>
                    <a:cubicBezTo>
                      <a:pt x="22" y="3"/>
                      <a:pt x="22" y="3"/>
                      <a:pt x="22" y="3"/>
                    </a:cubicBezTo>
                    <a:cubicBezTo>
                      <a:pt x="23" y="3"/>
                      <a:pt x="23" y="3"/>
                      <a:pt x="23" y="3"/>
                    </a:cubicBezTo>
                    <a:cubicBezTo>
                      <a:pt x="24" y="3"/>
                      <a:pt x="24" y="3"/>
                      <a:pt x="24" y="3"/>
                    </a:cubicBezTo>
                    <a:cubicBezTo>
                      <a:pt x="25" y="3"/>
                      <a:pt x="26" y="3"/>
                      <a:pt x="25" y="0"/>
                    </a:cubicBezTo>
                    <a:cubicBezTo>
                      <a:pt x="22" y="1"/>
                      <a:pt x="18" y="2"/>
                      <a:pt x="15" y="2"/>
                    </a:cubicBezTo>
                    <a:cubicBezTo>
                      <a:pt x="14" y="2"/>
                      <a:pt x="13" y="2"/>
                      <a:pt x="12" y="1"/>
                    </a:cubicBezTo>
                    <a:cubicBezTo>
                      <a:pt x="11" y="1"/>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2" name="Freeform 175">
                <a:extLst>
                  <a:ext uri="{FF2B5EF4-FFF2-40B4-BE49-F238E27FC236}">
                    <a16:creationId xmlns:a16="http://schemas.microsoft.com/office/drawing/2014/main" id="{1D765D2E-E636-4639-A0DF-74CA90E37236}"/>
                  </a:ext>
                </a:extLst>
              </p:cNvPr>
              <p:cNvSpPr>
                <a:spLocks/>
              </p:cNvSpPr>
              <p:nvPr/>
            </p:nvSpPr>
            <p:spPr bwMode="auto">
              <a:xfrm>
                <a:off x="5816" y="3565"/>
                <a:ext cx="11" cy="36"/>
              </a:xfrm>
              <a:custGeom>
                <a:avLst/>
                <a:gdLst>
                  <a:gd name="T0" fmla="*/ 0 w 5"/>
                  <a:gd name="T1" fmla="*/ 0 h 15"/>
                  <a:gd name="T2" fmla="*/ 4 w 5"/>
                  <a:gd name="T3" fmla="*/ 3 h 15"/>
                  <a:gd name="T4" fmla="*/ 2 w 5"/>
                  <a:gd name="T5" fmla="*/ 9 h 15"/>
                  <a:gd name="T6" fmla="*/ 3 w 5"/>
                  <a:gd name="T7" fmla="*/ 9 h 15"/>
                  <a:gd name="T8" fmla="*/ 1 w 5"/>
                  <a:gd name="T9" fmla="*/ 11 h 15"/>
                  <a:gd name="T10" fmla="*/ 0 w 5"/>
                  <a:gd name="T11" fmla="*/ 11 h 15"/>
                  <a:gd name="T12" fmla="*/ 3 w 5"/>
                  <a:gd name="T13" fmla="*/ 15 h 15"/>
                  <a:gd name="T14" fmla="*/ 4 w 5"/>
                  <a:gd name="T15" fmla="*/ 7 h 15"/>
                  <a:gd name="T16" fmla="*/ 0 w 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5">
                    <a:moveTo>
                      <a:pt x="0" y="0"/>
                    </a:moveTo>
                    <a:cubicBezTo>
                      <a:pt x="1" y="2"/>
                      <a:pt x="3" y="2"/>
                      <a:pt x="4" y="3"/>
                    </a:cubicBezTo>
                    <a:cubicBezTo>
                      <a:pt x="5" y="6"/>
                      <a:pt x="2" y="7"/>
                      <a:pt x="2" y="9"/>
                    </a:cubicBezTo>
                    <a:cubicBezTo>
                      <a:pt x="3" y="9"/>
                      <a:pt x="3" y="9"/>
                      <a:pt x="3" y="9"/>
                    </a:cubicBezTo>
                    <a:cubicBezTo>
                      <a:pt x="3" y="10"/>
                      <a:pt x="2" y="11"/>
                      <a:pt x="1" y="11"/>
                    </a:cubicBezTo>
                    <a:cubicBezTo>
                      <a:pt x="1" y="11"/>
                      <a:pt x="0" y="11"/>
                      <a:pt x="0" y="11"/>
                    </a:cubicBezTo>
                    <a:cubicBezTo>
                      <a:pt x="2" y="12"/>
                      <a:pt x="2" y="13"/>
                      <a:pt x="3" y="15"/>
                    </a:cubicBezTo>
                    <a:cubicBezTo>
                      <a:pt x="4" y="12"/>
                      <a:pt x="4" y="9"/>
                      <a:pt x="4" y="7"/>
                    </a:cubicBezTo>
                    <a:cubicBezTo>
                      <a:pt x="4" y="3"/>
                      <a:pt x="5"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3" name="Freeform 176">
                <a:extLst>
                  <a:ext uri="{FF2B5EF4-FFF2-40B4-BE49-F238E27FC236}">
                    <a16:creationId xmlns:a16="http://schemas.microsoft.com/office/drawing/2014/main" id="{E671446B-B01E-4A37-A1A0-762BD5E078E2}"/>
                  </a:ext>
                </a:extLst>
              </p:cNvPr>
              <p:cNvSpPr>
                <a:spLocks/>
              </p:cNvSpPr>
              <p:nvPr/>
            </p:nvSpPr>
            <p:spPr bwMode="auto">
              <a:xfrm>
                <a:off x="5846" y="3598"/>
                <a:ext cx="24" cy="33"/>
              </a:xfrm>
              <a:custGeom>
                <a:avLst/>
                <a:gdLst>
                  <a:gd name="T0" fmla="*/ 0 w 10"/>
                  <a:gd name="T1" fmla="*/ 0 h 14"/>
                  <a:gd name="T2" fmla="*/ 4 w 10"/>
                  <a:gd name="T3" fmla="*/ 5 h 14"/>
                  <a:gd name="T4" fmla="*/ 7 w 10"/>
                  <a:gd name="T5" fmla="*/ 14 h 14"/>
                  <a:gd name="T6" fmla="*/ 8 w 10"/>
                  <a:gd name="T7" fmla="*/ 9 h 14"/>
                  <a:gd name="T8" fmla="*/ 0 w 10"/>
                  <a:gd name="T9" fmla="*/ 0 h 14"/>
                </a:gdLst>
                <a:ahLst/>
                <a:cxnLst>
                  <a:cxn ang="0">
                    <a:pos x="T0" y="T1"/>
                  </a:cxn>
                  <a:cxn ang="0">
                    <a:pos x="T2" y="T3"/>
                  </a:cxn>
                  <a:cxn ang="0">
                    <a:pos x="T4" y="T5"/>
                  </a:cxn>
                  <a:cxn ang="0">
                    <a:pos x="T6" y="T7"/>
                  </a:cxn>
                  <a:cxn ang="0">
                    <a:pos x="T8" y="T9"/>
                  </a:cxn>
                </a:cxnLst>
                <a:rect l="0" t="0" r="r" b="b"/>
                <a:pathLst>
                  <a:path w="10" h="14">
                    <a:moveTo>
                      <a:pt x="0" y="0"/>
                    </a:moveTo>
                    <a:cubicBezTo>
                      <a:pt x="0" y="1"/>
                      <a:pt x="4" y="4"/>
                      <a:pt x="4" y="5"/>
                    </a:cubicBezTo>
                    <a:cubicBezTo>
                      <a:pt x="6" y="8"/>
                      <a:pt x="9" y="10"/>
                      <a:pt x="7" y="14"/>
                    </a:cubicBezTo>
                    <a:cubicBezTo>
                      <a:pt x="10" y="11"/>
                      <a:pt x="10" y="11"/>
                      <a:pt x="8" y="9"/>
                    </a:cubicBezTo>
                    <a:cubicBezTo>
                      <a:pt x="6" y="6"/>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4" name="Freeform 177">
                <a:extLst>
                  <a:ext uri="{FF2B5EF4-FFF2-40B4-BE49-F238E27FC236}">
                    <a16:creationId xmlns:a16="http://schemas.microsoft.com/office/drawing/2014/main" id="{05BCDB17-6F16-4B70-8706-A2369723AA8C}"/>
                  </a:ext>
                </a:extLst>
              </p:cNvPr>
              <p:cNvSpPr>
                <a:spLocks/>
              </p:cNvSpPr>
              <p:nvPr/>
            </p:nvSpPr>
            <p:spPr bwMode="auto">
              <a:xfrm>
                <a:off x="6159" y="4284"/>
                <a:ext cx="9" cy="12"/>
              </a:xfrm>
              <a:custGeom>
                <a:avLst/>
                <a:gdLst>
                  <a:gd name="T0" fmla="*/ 0 w 4"/>
                  <a:gd name="T1" fmla="*/ 0 h 5"/>
                  <a:gd name="T2" fmla="*/ 1 w 4"/>
                  <a:gd name="T3" fmla="*/ 3 h 5"/>
                  <a:gd name="T4" fmla="*/ 4 w 4"/>
                  <a:gd name="T5" fmla="*/ 5 h 5"/>
                  <a:gd name="T6" fmla="*/ 0 w 4"/>
                  <a:gd name="T7" fmla="*/ 0 h 5"/>
                </a:gdLst>
                <a:ahLst/>
                <a:cxnLst>
                  <a:cxn ang="0">
                    <a:pos x="T0" y="T1"/>
                  </a:cxn>
                  <a:cxn ang="0">
                    <a:pos x="T2" y="T3"/>
                  </a:cxn>
                  <a:cxn ang="0">
                    <a:pos x="T4" y="T5"/>
                  </a:cxn>
                  <a:cxn ang="0">
                    <a:pos x="T6" y="T7"/>
                  </a:cxn>
                </a:cxnLst>
                <a:rect l="0" t="0" r="r" b="b"/>
                <a:pathLst>
                  <a:path w="4" h="5">
                    <a:moveTo>
                      <a:pt x="0" y="0"/>
                    </a:moveTo>
                    <a:cubicBezTo>
                      <a:pt x="1" y="1"/>
                      <a:pt x="1" y="2"/>
                      <a:pt x="1" y="3"/>
                    </a:cubicBezTo>
                    <a:cubicBezTo>
                      <a:pt x="2" y="4"/>
                      <a:pt x="3" y="4"/>
                      <a:pt x="4" y="5"/>
                    </a:cubicBezTo>
                    <a:cubicBezTo>
                      <a:pt x="3"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5" name="Freeform 178">
                <a:extLst>
                  <a:ext uri="{FF2B5EF4-FFF2-40B4-BE49-F238E27FC236}">
                    <a16:creationId xmlns:a16="http://schemas.microsoft.com/office/drawing/2014/main" id="{505DF8FC-6862-4122-9CC5-02B86590CE8D}"/>
                  </a:ext>
                </a:extLst>
              </p:cNvPr>
              <p:cNvSpPr>
                <a:spLocks/>
              </p:cNvSpPr>
              <p:nvPr/>
            </p:nvSpPr>
            <p:spPr bwMode="auto">
              <a:xfrm>
                <a:off x="6492" y="4386"/>
                <a:ext cx="5" cy="3"/>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1" y="0"/>
                      <a:pt x="1" y="1"/>
                      <a:pt x="2"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6" name="Freeform 179">
                <a:extLst>
                  <a:ext uri="{FF2B5EF4-FFF2-40B4-BE49-F238E27FC236}">
                    <a16:creationId xmlns:a16="http://schemas.microsoft.com/office/drawing/2014/main" id="{9B843B6D-72C5-4170-BFC6-0A18A05F4934}"/>
                  </a:ext>
                </a:extLst>
              </p:cNvPr>
              <p:cNvSpPr>
                <a:spLocks/>
              </p:cNvSpPr>
              <p:nvPr/>
            </p:nvSpPr>
            <p:spPr bwMode="auto">
              <a:xfrm>
                <a:off x="6414" y="4377"/>
                <a:ext cx="9" cy="4"/>
              </a:xfrm>
              <a:custGeom>
                <a:avLst/>
                <a:gdLst>
                  <a:gd name="T0" fmla="*/ 2 w 4"/>
                  <a:gd name="T1" fmla="*/ 0 h 2"/>
                  <a:gd name="T2" fmla="*/ 0 w 4"/>
                  <a:gd name="T3" fmla="*/ 1 h 2"/>
                  <a:gd name="T4" fmla="*/ 3 w 4"/>
                  <a:gd name="T5" fmla="*/ 2 h 2"/>
                  <a:gd name="T6" fmla="*/ 4 w 4"/>
                  <a:gd name="T7" fmla="*/ 0 h 2"/>
                  <a:gd name="T8" fmla="*/ 2 w 4"/>
                  <a:gd name="T9" fmla="*/ 0 h 2"/>
                </a:gdLst>
                <a:ahLst/>
                <a:cxnLst>
                  <a:cxn ang="0">
                    <a:pos x="T0" y="T1"/>
                  </a:cxn>
                  <a:cxn ang="0">
                    <a:pos x="T2" y="T3"/>
                  </a:cxn>
                  <a:cxn ang="0">
                    <a:pos x="T4" y="T5"/>
                  </a:cxn>
                  <a:cxn ang="0">
                    <a:pos x="T6" y="T7"/>
                  </a:cxn>
                  <a:cxn ang="0">
                    <a:pos x="T8" y="T9"/>
                  </a:cxn>
                </a:cxnLst>
                <a:rect l="0" t="0" r="r" b="b"/>
                <a:pathLst>
                  <a:path w="4" h="2">
                    <a:moveTo>
                      <a:pt x="2" y="0"/>
                    </a:moveTo>
                    <a:cubicBezTo>
                      <a:pt x="1" y="0"/>
                      <a:pt x="0" y="0"/>
                      <a:pt x="0" y="1"/>
                    </a:cubicBezTo>
                    <a:cubicBezTo>
                      <a:pt x="1" y="1"/>
                      <a:pt x="2" y="2"/>
                      <a:pt x="3" y="2"/>
                    </a:cubicBezTo>
                    <a:cubicBezTo>
                      <a:pt x="3" y="1"/>
                      <a:pt x="4" y="1"/>
                      <a:pt x="4"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7" name="Freeform 180">
                <a:extLst>
                  <a:ext uri="{FF2B5EF4-FFF2-40B4-BE49-F238E27FC236}">
                    <a16:creationId xmlns:a16="http://schemas.microsoft.com/office/drawing/2014/main" id="{55009465-CC4F-4285-8FCC-6D81537F24C4}"/>
                  </a:ext>
                </a:extLst>
              </p:cNvPr>
              <p:cNvSpPr>
                <a:spLocks/>
              </p:cNvSpPr>
              <p:nvPr/>
            </p:nvSpPr>
            <p:spPr bwMode="auto">
              <a:xfrm>
                <a:off x="6471" y="4365"/>
                <a:ext cx="33" cy="16"/>
              </a:xfrm>
              <a:custGeom>
                <a:avLst/>
                <a:gdLst>
                  <a:gd name="T0" fmla="*/ 11 w 14"/>
                  <a:gd name="T1" fmla="*/ 0 h 7"/>
                  <a:gd name="T2" fmla="*/ 6 w 14"/>
                  <a:gd name="T3" fmla="*/ 4 h 7"/>
                  <a:gd name="T4" fmla="*/ 6 w 14"/>
                  <a:gd name="T5" fmla="*/ 4 h 7"/>
                  <a:gd name="T6" fmla="*/ 4 w 14"/>
                  <a:gd name="T7" fmla="*/ 3 h 7"/>
                  <a:gd name="T8" fmla="*/ 2 w 14"/>
                  <a:gd name="T9" fmla="*/ 2 h 7"/>
                  <a:gd name="T10" fmla="*/ 0 w 14"/>
                  <a:gd name="T11" fmla="*/ 3 h 7"/>
                  <a:gd name="T12" fmla="*/ 7 w 14"/>
                  <a:gd name="T13" fmla="*/ 7 h 7"/>
                  <a:gd name="T14" fmla="*/ 13 w 14"/>
                  <a:gd name="T15" fmla="*/ 5 h 7"/>
                  <a:gd name="T16" fmla="*/ 11 w 1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7">
                    <a:moveTo>
                      <a:pt x="11" y="0"/>
                    </a:moveTo>
                    <a:cubicBezTo>
                      <a:pt x="10" y="1"/>
                      <a:pt x="8" y="4"/>
                      <a:pt x="6" y="4"/>
                    </a:cubicBezTo>
                    <a:cubicBezTo>
                      <a:pt x="6" y="4"/>
                      <a:pt x="6" y="4"/>
                      <a:pt x="6" y="4"/>
                    </a:cubicBezTo>
                    <a:cubicBezTo>
                      <a:pt x="5" y="4"/>
                      <a:pt x="4" y="3"/>
                      <a:pt x="4" y="3"/>
                    </a:cubicBezTo>
                    <a:cubicBezTo>
                      <a:pt x="4" y="2"/>
                      <a:pt x="3" y="2"/>
                      <a:pt x="2" y="2"/>
                    </a:cubicBezTo>
                    <a:cubicBezTo>
                      <a:pt x="2" y="2"/>
                      <a:pt x="1" y="2"/>
                      <a:pt x="0" y="3"/>
                    </a:cubicBezTo>
                    <a:cubicBezTo>
                      <a:pt x="2" y="4"/>
                      <a:pt x="5" y="6"/>
                      <a:pt x="7" y="7"/>
                    </a:cubicBezTo>
                    <a:cubicBezTo>
                      <a:pt x="9" y="6"/>
                      <a:pt x="12" y="7"/>
                      <a:pt x="13" y="5"/>
                    </a:cubicBezTo>
                    <a:cubicBezTo>
                      <a:pt x="14" y="4"/>
                      <a:pt x="13" y="2"/>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8" name="Freeform 181">
                <a:extLst>
                  <a:ext uri="{FF2B5EF4-FFF2-40B4-BE49-F238E27FC236}">
                    <a16:creationId xmlns:a16="http://schemas.microsoft.com/office/drawing/2014/main" id="{020B5A05-F5F2-4BCB-A0E3-AC5A9629EA72}"/>
                  </a:ext>
                </a:extLst>
              </p:cNvPr>
              <p:cNvSpPr>
                <a:spLocks/>
              </p:cNvSpPr>
              <p:nvPr/>
            </p:nvSpPr>
            <p:spPr bwMode="auto">
              <a:xfrm>
                <a:off x="5172" y="3972"/>
                <a:ext cx="12" cy="17"/>
              </a:xfrm>
              <a:custGeom>
                <a:avLst/>
                <a:gdLst>
                  <a:gd name="T0" fmla="*/ 4 w 5"/>
                  <a:gd name="T1" fmla="*/ 0 h 7"/>
                  <a:gd name="T2" fmla="*/ 0 w 5"/>
                  <a:gd name="T3" fmla="*/ 7 h 7"/>
                  <a:gd name="T4" fmla="*/ 1 w 5"/>
                  <a:gd name="T5" fmla="*/ 6 h 7"/>
                  <a:gd name="T6" fmla="*/ 2 w 5"/>
                  <a:gd name="T7" fmla="*/ 5 h 7"/>
                  <a:gd name="T8" fmla="*/ 3 w 5"/>
                  <a:gd name="T9" fmla="*/ 4 h 7"/>
                  <a:gd name="T10" fmla="*/ 4 w 5"/>
                  <a:gd name="T11" fmla="*/ 1 h 7"/>
                  <a:gd name="T12" fmla="*/ 4 w 5"/>
                  <a:gd name="T13" fmla="*/ 1 h 7"/>
                  <a:gd name="T14" fmla="*/ 4 w 5"/>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4" y="0"/>
                    </a:moveTo>
                    <a:cubicBezTo>
                      <a:pt x="3" y="2"/>
                      <a:pt x="2" y="5"/>
                      <a:pt x="0" y="7"/>
                    </a:cubicBezTo>
                    <a:cubicBezTo>
                      <a:pt x="1" y="6"/>
                      <a:pt x="1" y="6"/>
                      <a:pt x="1" y="6"/>
                    </a:cubicBezTo>
                    <a:cubicBezTo>
                      <a:pt x="2" y="5"/>
                      <a:pt x="2" y="5"/>
                      <a:pt x="2" y="5"/>
                    </a:cubicBezTo>
                    <a:cubicBezTo>
                      <a:pt x="2" y="5"/>
                      <a:pt x="3" y="4"/>
                      <a:pt x="3" y="4"/>
                    </a:cubicBezTo>
                    <a:cubicBezTo>
                      <a:pt x="4" y="3"/>
                      <a:pt x="4" y="2"/>
                      <a:pt x="4" y="1"/>
                    </a:cubicBezTo>
                    <a:cubicBezTo>
                      <a:pt x="4" y="1"/>
                      <a:pt x="4" y="1"/>
                      <a:pt x="4" y="1"/>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9" name="Freeform 182">
                <a:extLst>
                  <a:ext uri="{FF2B5EF4-FFF2-40B4-BE49-F238E27FC236}">
                    <a16:creationId xmlns:a16="http://schemas.microsoft.com/office/drawing/2014/main" id="{126E7764-B8A6-45B3-9F3D-D079D07CBD24}"/>
                  </a:ext>
                </a:extLst>
              </p:cNvPr>
              <p:cNvSpPr>
                <a:spLocks/>
              </p:cNvSpPr>
              <p:nvPr/>
            </p:nvSpPr>
            <p:spPr bwMode="auto">
              <a:xfrm>
                <a:off x="4953" y="3305"/>
                <a:ext cx="16" cy="5"/>
              </a:xfrm>
              <a:custGeom>
                <a:avLst/>
                <a:gdLst>
                  <a:gd name="T0" fmla="*/ 3 w 7"/>
                  <a:gd name="T1" fmla="*/ 0 h 2"/>
                  <a:gd name="T2" fmla="*/ 0 w 7"/>
                  <a:gd name="T3" fmla="*/ 1 h 2"/>
                  <a:gd name="T4" fmla="*/ 7 w 7"/>
                  <a:gd name="T5" fmla="*/ 2 h 2"/>
                  <a:gd name="T6" fmla="*/ 5 w 7"/>
                  <a:gd name="T7" fmla="*/ 1 h 2"/>
                  <a:gd name="T8" fmla="*/ 3 w 7"/>
                  <a:gd name="T9" fmla="*/ 0 h 2"/>
                </a:gdLst>
                <a:ahLst/>
                <a:cxnLst>
                  <a:cxn ang="0">
                    <a:pos x="T0" y="T1"/>
                  </a:cxn>
                  <a:cxn ang="0">
                    <a:pos x="T2" y="T3"/>
                  </a:cxn>
                  <a:cxn ang="0">
                    <a:pos x="T4" y="T5"/>
                  </a:cxn>
                  <a:cxn ang="0">
                    <a:pos x="T6" y="T7"/>
                  </a:cxn>
                  <a:cxn ang="0">
                    <a:pos x="T8" y="T9"/>
                  </a:cxn>
                </a:cxnLst>
                <a:rect l="0" t="0" r="r" b="b"/>
                <a:pathLst>
                  <a:path w="7" h="2">
                    <a:moveTo>
                      <a:pt x="3" y="0"/>
                    </a:moveTo>
                    <a:cubicBezTo>
                      <a:pt x="2" y="0"/>
                      <a:pt x="1" y="1"/>
                      <a:pt x="0" y="1"/>
                    </a:cubicBezTo>
                    <a:cubicBezTo>
                      <a:pt x="3" y="2"/>
                      <a:pt x="5" y="2"/>
                      <a:pt x="7" y="2"/>
                    </a:cubicBezTo>
                    <a:cubicBezTo>
                      <a:pt x="7" y="2"/>
                      <a:pt x="6" y="1"/>
                      <a:pt x="5" y="1"/>
                    </a:cubicBezTo>
                    <a:cubicBezTo>
                      <a:pt x="5"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0" name="Freeform 183">
                <a:extLst>
                  <a:ext uri="{FF2B5EF4-FFF2-40B4-BE49-F238E27FC236}">
                    <a16:creationId xmlns:a16="http://schemas.microsoft.com/office/drawing/2014/main" id="{6A689F83-006E-44DD-9087-D6E58F57AAD4}"/>
                  </a:ext>
                </a:extLst>
              </p:cNvPr>
              <p:cNvSpPr>
                <a:spLocks/>
              </p:cNvSpPr>
              <p:nvPr/>
            </p:nvSpPr>
            <p:spPr bwMode="auto">
              <a:xfrm>
                <a:off x="4666" y="3492"/>
                <a:ext cx="5" cy="24"/>
              </a:xfrm>
              <a:custGeom>
                <a:avLst/>
                <a:gdLst>
                  <a:gd name="T0" fmla="*/ 0 w 2"/>
                  <a:gd name="T1" fmla="*/ 0 h 10"/>
                  <a:gd name="T2" fmla="*/ 0 w 2"/>
                  <a:gd name="T3" fmla="*/ 0 h 10"/>
                  <a:gd name="T4" fmla="*/ 0 w 2"/>
                  <a:gd name="T5" fmla="*/ 0 h 10"/>
                  <a:gd name="T6" fmla="*/ 2 w 2"/>
                  <a:gd name="T7" fmla="*/ 10 h 10"/>
                  <a:gd name="T8" fmla="*/ 2 w 2"/>
                  <a:gd name="T9" fmla="*/ 6 h 10"/>
                  <a:gd name="T10" fmla="*/ 1 w 2"/>
                  <a:gd name="T11" fmla="*/ 5 h 10"/>
                  <a:gd name="T12" fmla="*/ 1 w 2"/>
                  <a:gd name="T13" fmla="*/ 3 h 10"/>
                  <a:gd name="T14" fmla="*/ 0 w 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0">
                    <a:moveTo>
                      <a:pt x="0" y="0"/>
                    </a:moveTo>
                    <a:cubicBezTo>
                      <a:pt x="0" y="0"/>
                      <a:pt x="0" y="0"/>
                      <a:pt x="0" y="0"/>
                    </a:cubicBezTo>
                    <a:cubicBezTo>
                      <a:pt x="0" y="0"/>
                      <a:pt x="0" y="0"/>
                      <a:pt x="0" y="0"/>
                    </a:cubicBezTo>
                    <a:cubicBezTo>
                      <a:pt x="1" y="3"/>
                      <a:pt x="1" y="7"/>
                      <a:pt x="2" y="10"/>
                    </a:cubicBezTo>
                    <a:cubicBezTo>
                      <a:pt x="2" y="9"/>
                      <a:pt x="2" y="7"/>
                      <a:pt x="2" y="6"/>
                    </a:cubicBezTo>
                    <a:cubicBezTo>
                      <a:pt x="2" y="6"/>
                      <a:pt x="1" y="5"/>
                      <a:pt x="1" y="5"/>
                    </a:cubicBezTo>
                    <a:cubicBezTo>
                      <a:pt x="1" y="4"/>
                      <a:pt x="1" y="4"/>
                      <a:pt x="1" y="3"/>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1" name="Freeform 184">
                <a:extLst>
                  <a:ext uri="{FF2B5EF4-FFF2-40B4-BE49-F238E27FC236}">
                    <a16:creationId xmlns:a16="http://schemas.microsoft.com/office/drawing/2014/main" id="{116AD9BE-EBAD-40CD-A8F4-7166E92E2A3C}"/>
                  </a:ext>
                </a:extLst>
              </p:cNvPr>
              <p:cNvSpPr>
                <a:spLocks/>
              </p:cNvSpPr>
              <p:nvPr/>
            </p:nvSpPr>
            <p:spPr bwMode="auto">
              <a:xfrm>
                <a:off x="5135" y="3267"/>
                <a:ext cx="11" cy="3"/>
              </a:xfrm>
              <a:custGeom>
                <a:avLst/>
                <a:gdLst>
                  <a:gd name="T0" fmla="*/ 0 w 5"/>
                  <a:gd name="T1" fmla="*/ 0 h 1"/>
                  <a:gd name="T2" fmla="*/ 4 w 5"/>
                  <a:gd name="T3" fmla="*/ 1 h 1"/>
                  <a:gd name="T4" fmla="*/ 5 w 5"/>
                  <a:gd name="T5" fmla="*/ 1 h 1"/>
                  <a:gd name="T6" fmla="*/ 0 w 5"/>
                  <a:gd name="T7" fmla="*/ 0 h 1"/>
                </a:gdLst>
                <a:ahLst/>
                <a:cxnLst>
                  <a:cxn ang="0">
                    <a:pos x="T0" y="T1"/>
                  </a:cxn>
                  <a:cxn ang="0">
                    <a:pos x="T2" y="T3"/>
                  </a:cxn>
                  <a:cxn ang="0">
                    <a:pos x="T4" y="T5"/>
                  </a:cxn>
                  <a:cxn ang="0">
                    <a:pos x="T6" y="T7"/>
                  </a:cxn>
                </a:cxnLst>
                <a:rect l="0" t="0" r="r" b="b"/>
                <a:pathLst>
                  <a:path w="5" h="1">
                    <a:moveTo>
                      <a:pt x="0" y="0"/>
                    </a:moveTo>
                    <a:cubicBezTo>
                      <a:pt x="1" y="1"/>
                      <a:pt x="2" y="1"/>
                      <a:pt x="4" y="1"/>
                    </a:cubicBezTo>
                    <a:cubicBezTo>
                      <a:pt x="4" y="1"/>
                      <a:pt x="4" y="1"/>
                      <a:pt x="5" y="1"/>
                    </a:cubicBezTo>
                    <a:cubicBezTo>
                      <a:pt x="3"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2" name="Freeform 185">
                <a:extLst>
                  <a:ext uri="{FF2B5EF4-FFF2-40B4-BE49-F238E27FC236}">
                    <a16:creationId xmlns:a16="http://schemas.microsoft.com/office/drawing/2014/main" id="{697A4EDC-DB68-4723-AB61-92DDE75385D6}"/>
                  </a:ext>
                </a:extLst>
              </p:cNvPr>
              <p:cNvSpPr>
                <a:spLocks/>
              </p:cNvSpPr>
              <p:nvPr/>
            </p:nvSpPr>
            <p:spPr bwMode="auto">
              <a:xfrm>
                <a:off x="3245" y="2080"/>
                <a:ext cx="10" cy="11"/>
              </a:xfrm>
              <a:custGeom>
                <a:avLst/>
                <a:gdLst>
                  <a:gd name="T0" fmla="*/ 2 w 4"/>
                  <a:gd name="T1" fmla="*/ 0 h 5"/>
                  <a:gd name="T2" fmla="*/ 1 w 4"/>
                  <a:gd name="T3" fmla="*/ 4 h 5"/>
                  <a:gd name="T4" fmla="*/ 4 w 4"/>
                  <a:gd name="T5" fmla="*/ 5 h 5"/>
                  <a:gd name="T6" fmla="*/ 2 w 4"/>
                  <a:gd name="T7" fmla="*/ 0 h 5"/>
                </a:gdLst>
                <a:ahLst/>
                <a:cxnLst>
                  <a:cxn ang="0">
                    <a:pos x="T0" y="T1"/>
                  </a:cxn>
                  <a:cxn ang="0">
                    <a:pos x="T2" y="T3"/>
                  </a:cxn>
                  <a:cxn ang="0">
                    <a:pos x="T4" y="T5"/>
                  </a:cxn>
                  <a:cxn ang="0">
                    <a:pos x="T6" y="T7"/>
                  </a:cxn>
                </a:cxnLst>
                <a:rect l="0" t="0" r="r" b="b"/>
                <a:pathLst>
                  <a:path w="4" h="5">
                    <a:moveTo>
                      <a:pt x="2" y="0"/>
                    </a:moveTo>
                    <a:cubicBezTo>
                      <a:pt x="0" y="2"/>
                      <a:pt x="0" y="3"/>
                      <a:pt x="1" y="4"/>
                    </a:cubicBezTo>
                    <a:cubicBezTo>
                      <a:pt x="2" y="5"/>
                      <a:pt x="3" y="5"/>
                      <a:pt x="4" y="5"/>
                    </a:cubicBezTo>
                    <a:cubicBezTo>
                      <a:pt x="4" y="3"/>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3" name="Freeform 186">
                <a:extLst>
                  <a:ext uri="{FF2B5EF4-FFF2-40B4-BE49-F238E27FC236}">
                    <a16:creationId xmlns:a16="http://schemas.microsoft.com/office/drawing/2014/main" id="{361F9510-31E4-41B8-B25F-48DA8D6CBC0A}"/>
                  </a:ext>
                </a:extLst>
              </p:cNvPr>
              <p:cNvSpPr>
                <a:spLocks/>
              </p:cNvSpPr>
              <p:nvPr/>
            </p:nvSpPr>
            <p:spPr bwMode="auto">
              <a:xfrm>
                <a:off x="3269" y="2096"/>
                <a:ext cx="16" cy="29"/>
              </a:xfrm>
              <a:custGeom>
                <a:avLst/>
                <a:gdLst>
                  <a:gd name="T0" fmla="*/ 4 w 7"/>
                  <a:gd name="T1" fmla="*/ 0 h 12"/>
                  <a:gd name="T2" fmla="*/ 1 w 7"/>
                  <a:gd name="T3" fmla="*/ 2 h 12"/>
                  <a:gd name="T4" fmla="*/ 0 w 7"/>
                  <a:gd name="T5" fmla="*/ 3 h 12"/>
                  <a:gd name="T6" fmla="*/ 0 w 7"/>
                  <a:gd name="T7" fmla="*/ 3 h 12"/>
                  <a:gd name="T8" fmla="*/ 0 w 7"/>
                  <a:gd name="T9" fmla="*/ 4 h 12"/>
                  <a:gd name="T10" fmla="*/ 0 w 7"/>
                  <a:gd name="T11" fmla="*/ 4 h 12"/>
                  <a:gd name="T12" fmla="*/ 1 w 7"/>
                  <a:gd name="T13" fmla="*/ 6 h 12"/>
                  <a:gd name="T14" fmla="*/ 3 w 7"/>
                  <a:gd name="T15" fmla="*/ 7 h 12"/>
                  <a:gd name="T16" fmla="*/ 4 w 7"/>
                  <a:gd name="T17" fmla="*/ 11 h 12"/>
                  <a:gd name="T18" fmla="*/ 6 w 7"/>
                  <a:gd name="T19" fmla="*/ 12 h 12"/>
                  <a:gd name="T20" fmla="*/ 7 w 7"/>
                  <a:gd name="T21" fmla="*/ 12 h 12"/>
                  <a:gd name="T22" fmla="*/ 1 w 7"/>
                  <a:gd name="T23" fmla="*/ 5 h 12"/>
                  <a:gd name="T24" fmla="*/ 1 w 7"/>
                  <a:gd name="T25" fmla="*/ 5 h 12"/>
                  <a:gd name="T26" fmla="*/ 2 w 7"/>
                  <a:gd name="T27" fmla="*/ 4 h 12"/>
                  <a:gd name="T28" fmla="*/ 2 w 7"/>
                  <a:gd name="T29" fmla="*/ 4 h 12"/>
                  <a:gd name="T30" fmla="*/ 4 w 7"/>
                  <a:gd name="T3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12">
                    <a:moveTo>
                      <a:pt x="4" y="0"/>
                    </a:moveTo>
                    <a:cubicBezTo>
                      <a:pt x="3" y="0"/>
                      <a:pt x="1" y="1"/>
                      <a:pt x="1" y="2"/>
                    </a:cubicBezTo>
                    <a:cubicBezTo>
                      <a:pt x="1" y="2"/>
                      <a:pt x="0" y="3"/>
                      <a:pt x="0" y="3"/>
                    </a:cubicBezTo>
                    <a:cubicBezTo>
                      <a:pt x="0" y="3"/>
                      <a:pt x="0" y="3"/>
                      <a:pt x="0" y="3"/>
                    </a:cubicBezTo>
                    <a:cubicBezTo>
                      <a:pt x="0" y="4"/>
                      <a:pt x="0" y="4"/>
                      <a:pt x="0" y="4"/>
                    </a:cubicBezTo>
                    <a:cubicBezTo>
                      <a:pt x="0" y="4"/>
                      <a:pt x="0" y="4"/>
                      <a:pt x="0" y="4"/>
                    </a:cubicBezTo>
                    <a:cubicBezTo>
                      <a:pt x="0" y="5"/>
                      <a:pt x="0" y="5"/>
                      <a:pt x="1" y="6"/>
                    </a:cubicBezTo>
                    <a:cubicBezTo>
                      <a:pt x="1" y="6"/>
                      <a:pt x="2" y="6"/>
                      <a:pt x="3" y="7"/>
                    </a:cubicBezTo>
                    <a:cubicBezTo>
                      <a:pt x="3" y="8"/>
                      <a:pt x="4" y="10"/>
                      <a:pt x="4" y="11"/>
                    </a:cubicBezTo>
                    <a:cubicBezTo>
                      <a:pt x="4" y="11"/>
                      <a:pt x="5" y="12"/>
                      <a:pt x="6" y="12"/>
                    </a:cubicBezTo>
                    <a:cubicBezTo>
                      <a:pt x="6" y="12"/>
                      <a:pt x="6" y="12"/>
                      <a:pt x="7" y="12"/>
                    </a:cubicBezTo>
                    <a:cubicBezTo>
                      <a:pt x="5" y="10"/>
                      <a:pt x="4" y="5"/>
                      <a:pt x="1" y="5"/>
                    </a:cubicBezTo>
                    <a:cubicBezTo>
                      <a:pt x="1" y="5"/>
                      <a:pt x="1" y="5"/>
                      <a:pt x="1" y="5"/>
                    </a:cubicBezTo>
                    <a:cubicBezTo>
                      <a:pt x="2" y="4"/>
                      <a:pt x="2" y="4"/>
                      <a:pt x="2" y="4"/>
                    </a:cubicBezTo>
                    <a:cubicBezTo>
                      <a:pt x="2" y="4"/>
                      <a:pt x="2" y="4"/>
                      <a:pt x="2" y="4"/>
                    </a:cubicBezTo>
                    <a:cubicBezTo>
                      <a:pt x="4" y="3"/>
                      <a:pt x="6"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4" name="Freeform 187">
                <a:extLst>
                  <a:ext uri="{FF2B5EF4-FFF2-40B4-BE49-F238E27FC236}">
                    <a16:creationId xmlns:a16="http://schemas.microsoft.com/office/drawing/2014/main" id="{C1CF078B-15DE-4684-B40D-3B761F71FB12}"/>
                  </a:ext>
                </a:extLst>
              </p:cNvPr>
              <p:cNvSpPr>
                <a:spLocks noEditPoints="1"/>
              </p:cNvSpPr>
              <p:nvPr/>
            </p:nvSpPr>
            <p:spPr bwMode="auto">
              <a:xfrm>
                <a:off x="4785" y="3324"/>
                <a:ext cx="19" cy="14"/>
              </a:xfrm>
              <a:custGeom>
                <a:avLst/>
                <a:gdLst>
                  <a:gd name="T0" fmla="*/ 8 w 8"/>
                  <a:gd name="T1" fmla="*/ 0 h 6"/>
                  <a:gd name="T2" fmla="*/ 7 w 8"/>
                  <a:gd name="T3" fmla="*/ 0 h 6"/>
                  <a:gd name="T4" fmla="*/ 6 w 8"/>
                  <a:gd name="T5" fmla="*/ 1 h 6"/>
                  <a:gd name="T6" fmla="*/ 1 w 8"/>
                  <a:gd name="T7" fmla="*/ 4 h 6"/>
                  <a:gd name="T8" fmla="*/ 0 w 8"/>
                  <a:gd name="T9" fmla="*/ 6 h 6"/>
                  <a:gd name="T10" fmla="*/ 6 w 8"/>
                  <a:gd name="T11" fmla="*/ 1 h 6"/>
                  <a:gd name="T12" fmla="*/ 8 w 8"/>
                  <a:gd name="T13" fmla="*/ 0 h 6"/>
                  <a:gd name="T14" fmla="*/ 8 w 8"/>
                  <a:gd name="T15" fmla="*/ 0 h 6"/>
                  <a:gd name="T16" fmla="*/ 8 w 8"/>
                  <a:gd name="T17" fmla="*/ 0 h 6"/>
                  <a:gd name="T18" fmla="*/ 8 w 8"/>
                  <a:gd name="T19" fmla="*/ 0 h 6"/>
                  <a:gd name="T20" fmla="*/ 8 w 8"/>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6">
                    <a:moveTo>
                      <a:pt x="8" y="0"/>
                    </a:moveTo>
                    <a:cubicBezTo>
                      <a:pt x="7" y="0"/>
                      <a:pt x="7" y="0"/>
                      <a:pt x="7" y="0"/>
                    </a:cubicBezTo>
                    <a:cubicBezTo>
                      <a:pt x="6" y="1"/>
                      <a:pt x="6" y="1"/>
                      <a:pt x="6" y="1"/>
                    </a:cubicBezTo>
                    <a:cubicBezTo>
                      <a:pt x="5" y="2"/>
                      <a:pt x="3" y="3"/>
                      <a:pt x="1" y="4"/>
                    </a:cubicBezTo>
                    <a:cubicBezTo>
                      <a:pt x="1" y="4"/>
                      <a:pt x="0" y="5"/>
                      <a:pt x="0" y="6"/>
                    </a:cubicBezTo>
                    <a:cubicBezTo>
                      <a:pt x="2" y="4"/>
                      <a:pt x="4" y="3"/>
                      <a:pt x="6" y="1"/>
                    </a:cubicBezTo>
                    <a:cubicBezTo>
                      <a:pt x="7" y="1"/>
                      <a:pt x="7" y="0"/>
                      <a:pt x="8" y="0"/>
                    </a:cubicBezTo>
                    <a:moveTo>
                      <a:pt x="8" y="0"/>
                    </a:moveTo>
                    <a:cubicBezTo>
                      <a:pt x="8" y="0"/>
                      <a:pt x="8" y="0"/>
                      <a:pt x="8" y="0"/>
                    </a:cubicBezTo>
                    <a:cubicBezTo>
                      <a:pt x="8" y="0"/>
                      <a:pt x="8" y="0"/>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5" name="Freeform 188">
                <a:extLst>
                  <a:ext uri="{FF2B5EF4-FFF2-40B4-BE49-F238E27FC236}">
                    <a16:creationId xmlns:a16="http://schemas.microsoft.com/office/drawing/2014/main" id="{30D70DFC-3CEA-4DEE-9886-7AE0DA4C49E1}"/>
                  </a:ext>
                </a:extLst>
              </p:cNvPr>
              <p:cNvSpPr>
                <a:spLocks/>
              </p:cNvSpPr>
              <p:nvPr/>
            </p:nvSpPr>
            <p:spPr bwMode="auto">
              <a:xfrm>
                <a:off x="5494" y="3490"/>
                <a:ext cx="7" cy="7"/>
              </a:xfrm>
              <a:custGeom>
                <a:avLst/>
                <a:gdLst>
                  <a:gd name="T0" fmla="*/ 0 w 3"/>
                  <a:gd name="T1" fmla="*/ 0 h 3"/>
                  <a:gd name="T2" fmla="*/ 2 w 3"/>
                  <a:gd name="T3" fmla="*/ 3 h 3"/>
                  <a:gd name="T4" fmla="*/ 2 w 3"/>
                  <a:gd name="T5" fmla="*/ 3 h 3"/>
                  <a:gd name="T6" fmla="*/ 3 w 3"/>
                  <a:gd name="T7" fmla="*/ 3 h 3"/>
                  <a:gd name="T8" fmla="*/ 3 w 3"/>
                  <a:gd name="T9" fmla="*/ 2 h 3"/>
                  <a:gd name="T10" fmla="*/ 3 w 3"/>
                  <a:gd name="T11" fmla="*/ 2 h 3"/>
                  <a:gd name="T12" fmla="*/ 3 w 3"/>
                  <a:gd name="T13" fmla="*/ 2 h 3"/>
                  <a:gd name="T14" fmla="*/ 0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0"/>
                    </a:moveTo>
                    <a:cubicBezTo>
                      <a:pt x="0" y="2"/>
                      <a:pt x="1" y="3"/>
                      <a:pt x="2" y="3"/>
                    </a:cubicBezTo>
                    <a:cubicBezTo>
                      <a:pt x="2" y="3"/>
                      <a:pt x="2" y="3"/>
                      <a:pt x="2" y="3"/>
                    </a:cubicBezTo>
                    <a:cubicBezTo>
                      <a:pt x="3" y="3"/>
                      <a:pt x="3" y="3"/>
                      <a:pt x="3" y="3"/>
                    </a:cubicBezTo>
                    <a:cubicBezTo>
                      <a:pt x="3" y="2"/>
                      <a:pt x="3" y="2"/>
                      <a:pt x="3" y="2"/>
                    </a:cubicBezTo>
                    <a:cubicBezTo>
                      <a:pt x="3" y="2"/>
                      <a:pt x="3" y="2"/>
                      <a:pt x="3" y="2"/>
                    </a:cubicBezTo>
                    <a:cubicBezTo>
                      <a:pt x="3" y="2"/>
                      <a:pt x="3" y="2"/>
                      <a:pt x="3"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6" name="Freeform 189">
                <a:extLst>
                  <a:ext uri="{FF2B5EF4-FFF2-40B4-BE49-F238E27FC236}">
                    <a16:creationId xmlns:a16="http://schemas.microsoft.com/office/drawing/2014/main" id="{4231092B-C029-42DF-AE7A-9D0BBE9CCFA7}"/>
                  </a:ext>
                </a:extLst>
              </p:cNvPr>
              <p:cNvSpPr>
                <a:spLocks/>
              </p:cNvSpPr>
              <p:nvPr/>
            </p:nvSpPr>
            <p:spPr bwMode="auto">
              <a:xfrm>
                <a:off x="5161" y="3267"/>
                <a:ext cx="0" cy="3"/>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1"/>
                      <a:pt x="0" y="1"/>
                    </a:cubicBezTo>
                    <a:cubicBezTo>
                      <a:pt x="0" y="1"/>
                      <a:pt x="0" y="1"/>
                      <a:pt x="0"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7" name="Freeform 190">
                <a:extLst>
                  <a:ext uri="{FF2B5EF4-FFF2-40B4-BE49-F238E27FC236}">
                    <a16:creationId xmlns:a16="http://schemas.microsoft.com/office/drawing/2014/main" id="{8CE4AA95-583E-4D76-9136-DD1A6377A4CA}"/>
                  </a:ext>
                </a:extLst>
              </p:cNvPr>
              <p:cNvSpPr>
                <a:spLocks/>
              </p:cNvSpPr>
              <p:nvPr/>
            </p:nvSpPr>
            <p:spPr bwMode="auto">
              <a:xfrm>
                <a:off x="4690" y="3378"/>
                <a:ext cx="24" cy="19"/>
              </a:xfrm>
              <a:custGeom>
                <a:avLst/>
                <a:gdLst>
                  <a:gd name="T0" fmla="*/ 10 w 10"/>
                  <a:gd name="T1" fmla="*/ 0 h 8"/>
                  <a:gd name="T2" fmla="*/ 9 w 10"/>
                  <a:gd name="T3" fmla="*/ 1 h 8"/>
                  <a:gd name="T4" fmla="*/ 8 w 10"/>
                  <a:gd name="T5" fmla="*/ 1 h 8"/>
                  <a:gd name="T6" fmla="*/ 7 w 10"/>
                  <a:gd name="T7" fmla="*/ 2 h 8"/>
                  <a:gd name="T8" fmla="*/ 3 w 10"/>
                  <a:gd name="T9" fmla="*/ 4 h 8"/>
                  <a:gd name="T10" fmla="*/ 1 w 10"/>
                  <a:gd name="T11" fmla="*/ 6 h 8"/>
                  <a:gd name="T12" fmla="*/ 0 w 10"/>
                  <a:gd name="T13" fmla="*/ 8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cubicBezTo>
                      <a:pt x="9" y="1"/>
                      <a:pt x="9" y="1"/>
                      <a:pt x="9" y="1"/>
                    </a:cubicBezTo>
                    <a:cubicBezTo>
                      <a:pt x="8" y="1"/>
                      <a:pt x="8" y="1"/>
                      <a:pt x="8" y="1"/>
                    </a:cubicBezTo>
                    <a:cubicBezTo>
                      <a:pt x="7" y="2"/>
                      <a:pt x="7" y="2"/>
                      <a:pt x="7" y="2"/>
                    </a:cubicBezTo>
                    <a:cubicBezTo>
                      <a:pt x="6" y="2"/>
                      <a:pt x="5" y="3"/>
                      <a:pt x="3" y="4"/>
                    </a:cubicBezTo>
                    <a:cubicBezTo>
                      <a:pt x="2" y="5"/>
                      <a:pt x="2" y="5"/>
                      <a:pt x="1" y="6"/>
                    </a:cubicBezTo>
                    <a:cubicBezTo>
                      <a:pt x="1" y="6"/>
                      <a:pt x="0" y="7"/>
                      <a:pt x="0" y="8"/>
                    </a:cubicBezTo>
                    <a:cubicBezTo>
                      <a:pt x="1" y="8"/>
                      <a:pt x="10" y="2"/>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8" name="Freeform 191">
                <a:extLst>
                  <a:ext uri="{FF2B5EF4-FFF2-40B4-BE49-F238E27FC236}">
                    <a16:creationId xmlns:a16="http://schemas.microsoft.com/office/drawing/2014/main" id="{058ABFE1-9622-4B37-8E55-0A156A554EEB}"/>
                  </a:ext>
                </a:extLst>
              </p:cNvPr>
              <p:cNvSpPr>
                <a:spLocks/>
              </p:cNvSpPr>
              <p:nvPr/>
            </p:nvSpPr>
            <p:spPr bwMode="auto">
              <a:xfrm>
                <a:off x="3255" y="2075"/>
                <a:ext cx="11" cy="7"/>
              </a:xfrm>
              <a:custGeom>
                <a:avLst/>
                <a:gdLst>
                  <a:gd name="T0" fmla="*/ 3 w 5"/>
                  <a:gd name="T1" fmla="*/ 0 h 3"/>
                  <a:gd name="T2" fmla="*/ 1 w 5"/>
                  <a:gd name="T3" fmla="*/ 0 h 3"/>
                  <a:gd name="T4" fmla="*/ 0 w 5"/>
                  <a:gd name="T5" fmla="*/ 2 h 3"/>
                  <a:gd name="T6" fmla="*/ 0 w 5"/>
                  <a:gd name="T7" fmla="*/ 2 h 3"/>
                  <a:gd name="T8" fmla="*/ 3 w 5"/>
                  <a:gd name="T9" fmla="*/ 3 h 3"/>
                  <a:gd name="T10" fmla="*/ 4 w 5"/>
                  <a:gd name="T11" fmla="*/ 3 h 3"/>
                  <a:gd name="T12" fmla="*/ 3 w 5"/>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 h="3">
                    <a:moveTo>
                      <a:pt x="3" y="0"/>
                    </a:moveTo>
                    <a:cubicBezTo>
                      <a:pt x="2" y="0"/>
                      <a:pt x="2" y="0"/>
                      <a:pt x="1" y="0"/>
                    </a:cubicBezTo>
                    <a:cubicBezTo>
                      <a:pt x="1" y="1"/>
                      <a:pt x="0" y="1"/>
                      <a:pt x="0" y="2"/>
                    </a:cubicBezTo>
                    <a:cubicBezTo>
                      <a:pt x="0" y="2"/>
                      <a:pt x="0" y="2"/>
                      <a:pt x="0" y="2"/>
                    </a:cubicBezTo>
                    <a:cubicBezTo>
                      <a:pt x="0" y="2"/>
                      <a:pt x="1" y="3"/>
                      <a:pt x="3" y="3"/>
                    </a:cubicBezTo>
                    <a:cubicBezTo>
                      <a:pt x="3" y="3"/>
                      <a:pt x="4" y="3"/>
                      <a:pt x="4" y="3"/>
                    </a:cubicBezTo>
                    <a:cubicBezTo>
                      <a:pt x="5" y="2"/>
                      <a:pt x="5"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9" name="Rectangle 192">
                <a:extLst>
                  <a:ext uri="{FF2B5EF4-FFF2-40B4-BE49-F238E27FC236}">
                    <a16:creationId xmlns:a16="http://schemas.microsoft.com/office/drawing/2014/main" id="{9BEDD9D5-2150-4EBC-8F8C-33457ED0040A}"/>
                  </a:ext>
                </a:extLst>
              </p:cNvPr>
              <p:cNvSpPr>
                <a:spLocks noChangeArrowheads="1"/>
              </p:cNvSpPr>
              <p:nvPr/>
            </p:nvSpPr>
            <p:spPr bwMode="auto">
              <a:xfrm>
                <a:off x="5109" y="3274"/>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0" name="Freeform 193">
                <a:extLst>
                  <a:ext uri="{FF2B5EF4-FFF2-40B4-BE49-F238E27FC236}">
                    <a16:creationId xmlns:a16="http://schemas.microsoft.com/office/drawing/2014/main" id="{61CE2934-A1CD-486E-8CA1-5F4FC4C0D6C9}"/>
                  </a:ext>
                </a:extLst>
              </p:cNvPr>
              <p:cNvSpPr>
                <a:spLocks/>
              </p:cNvSpPr>
              <p:nvPr/>
            </p:nvSpPr>
            <p:spPr bwMode="auto">
              <a:xfrm>
                <a:off x="5109" y="3274"/>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1" name="Freeform 194">
                <a:extLst>
                  <a:ext uri="{FF2B5EF4-FFF2-40B4-BE49-F238E27FC236}">
                    <a16:creationId xmlns:a16="http://schemas.microsoft.com/office/drawing/2014/main" id="{10E4E7AA-C196-433E-B536-BC9D18ECA9DC}"/>
                  </a:ext>
                </a:extLst>
              </p:cNvPr>
              <p:cNvSpPr>
                <a:spLocks noEditPoints="1"/>
              </p:cNvSpPr>
              <p:nvPr/>
            </p:nvSpPr>
            <p:spPr bwMode="auto">
              <a:xfrm>
                <a:off x="5229" y="3260"/>
                <a:ext cx="24" cy="2"/>
              </a:xfrm>
              <a:custGeom>
                <a:avLst/>
                <a:gdLst>
                  <a:gd name="T0" fmla="*/ 0 w 10"/>
                  <a:gd name="T1" fmla="*/ 1 h 1"/>
                  <a:gd name="T2" fmla="*/ 0 w 10"/>
                  <a:gd name="T3" fmla="*/ 1 h 1"/>
                  <a:gd name="T4" fmla="*/ 0 w 10"/>
                  <a:gd name="T5" fmla="*/ 1 h 1"/>
                  <a:gd name="T6" fmla="*/ 7 w 10"/>
                  <a:gd name="T7" fmla="*/ 0 h 1"/>
                  <a:gd name="T8" fmla="*/ 0 w 10"/>
                  <a:gd name="T9" fmla="*/ 1 h 1"/>
                  <a:gd name="T10" fmla="*/ 10 w 10"/>
                  <a:gd name="T11" fmla="*/ 0 h 1"/>
                  <a:gd name="T12" fmla="*/ 8 w 10"/>
                  <a:gd name="T13" fmla="*/ 0 h 1"/>
                  <a:gd name="T14" fmla="*/ 7 w 10"/>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
                    <a:moveTo>
                      <a:pt x="0" y="1"/>
                    </a:moveTo>
                    <a:cubicBezTo>
                      <a:pt x="0" y="1"/>
                      <a:pt x="0" y="1"/>
                      <a:pt x="0" y="1"/>
                    </a:cubicBezTo>
                    <a:cubicBezTo>
                      <a:pt x="0" y="1"/>
                      <a:pt x="0" y="1"/>
                      <a:pt x="0" y="1"/>
                    </a:cubicBezTo>
                    <a:moveTo>
                      <a:pt x="7" y="0"/>
                    </a:moveTo>
                    <a:cubicBezTo>
                      <a:pt x="5" y="0"/>
                      <a:pt x="2" y="1"/>
                      <a:pt x="0" y="1"/>
                    </a:cubicBezTo>
                    <a:cubicBezTo>
                      <a:pt x="3" y="0"/>
                      <a:pt x="7" y="0"/>
                      <a:pt x="10" y="0"/>
                    </a:cubicBezTo>
                    <a:cubicBezTo>
                      <a:pt x="10" y="0"/>
                      <a:pt x="9" y="0"/>
                      <a:pt x="8"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2" name="Freeform 195">
                <a:extLst>
                  <a:ext uri="{FF2B5EF4-FFF2-40B4-BE49-F238E27FC236}">
                    <a16:creationId xmlns:a16="http://schemas.microsoft.com/office/drawing/2014/main" id="{FD42F751-6454-48BA-9A6D-14A58CA25E03}"/>
                  </a:ext>
                </a:extLst>
              </p:cNvPr>
              <p:cNvSpPr>
                <a:spLocks/>
              </p:cNvSpPr>
              <p:nvPr/>
            </p:nvSpPr>
            <p:spPr bwMode="auto">
              <a:xfrm>
                <a:off x="5213" y="3262"/>
                <a:ext cx="16" cy="3"/>
              </a:xfrm>
              <a:custGeom>
                <a:avLst/>
                <a:gdLst>
                  <a:gd name="T0" fmla="*/ 7 w 7"/>
                  <a:gd name="T1" fmla="*/ 0 h 1"/>
                  <a:gd name="T2" fmla="*/ 2 w 7"/>
                  <a:gd name="T3" fmla="*/ 0 h 1"/>
                  <a:gd name="T4" fmla="*/ 0 w 7"/>
                  <a:gd name="T5" fmla="*/ 0 h 1"/>
                  <a:gd name="T6" fmla="*/ 2 w 7"/>
                  <a:gd name="T7" fmla="*/ 1 h 1"/>
                  <a:gd name="T8" fmla="*/ 7 w 7"/>
                  <a:gd name="T9" fmla="*/ 0 h 1"/>
                </a:gdLst>
                <a:ahLst/>
                <a:cxnLst>
                  <a:cxn ang="0">
                    <a:pos x="T0" y="T1"/>
                  </a:cxn>
                  <a:cxn ang="0">
                    <a:pos x="T2" y="T3"/>
                  </a:cxn>
                  <a:cxn ang="0">
                    <a:pos x="T4" y="T5"/>
                  </a:cxn>
                  <a:cxn ang="0">
                    <a:pos x="T6" y="T7"/>
                  </a:cxn>
                  <a:cxn ang="0">
                    <a:pos x="T8" y="T9"/>
                  </a:cxn>
                </a:cxnLst>
                <a:rect l="0" t="0" r="r" b="b"/>
                <a:pathLst>
                  <a:path w="7" h="1">
                    <a:moveTo>
                      <a:pt x="7" y="0"/>
                    </a:moveTo>
                    <a:cubicBezTo>
                      <a:pt x="5" y="0"/>
                      <a:pt x="3" y="0"/>
                      <a:pt x="2" y="0"/>
                    </a:cubicBezTo>
                    <a:cubicBezTo>
                      <a:pt x="1" y="0"/>
                      <a:pt x="1" y="0"/>
                      <a:pt x="0" y="0"/>
                    </a:cubicBezTo>
                    <a:cubicBezTo>
                      <a:pt x="1" y="1"/>
                      <a:pt x="1" y="1"/>
                      <a:pt x="2" y="1"/>
                    </a:cubicBezTo>
                    <a:cubicBezTo>
                      <a:pt x="3" y="1"/>
                      <a:pt x="5"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3" name="Freeform 196">
                <a:extLst>
                  <a:ext uri="{FF2B5EF4-FFF2-40B4-BE49-F238E27FC236}">
                    <a16:creationId xmlns:a16="http://schemas.microsoft.com/office/drawing/2014/main" id="{FC7574E5-C21B-41FF-B7F8-7F208C96550C}"/>
                  </a:ext>
                </a:extLst>
              </p:cNvPr>
              <p:cNvSpPr>
                <a:spLocks noEditPoints="1"/>
              </p:cNvSpPr>
              <p:nvPr/>
            </p:nvSpPr>
            <p:spPr bwMode="auto">
              <a:xfrm>
                <a:off x="4716" y="3376"/>
                <a:ext cx="5" cy="2"/>
              </a:xfrm>
              <a:custGeom>
                <a:avLst/>
                <a:gdLst>
                  <a:gd name="T0" fmla="*/ 1 w 2"/>
                  <a:gd name="T1" fmla="*/ 1 h 1"/>
                  <a:gd name="T2" fmla="*/ 0 w 2"/>
                  <a:gd name="T3" fmla="*/ 1 h 1"/>
                  <a:gd name="T4" fmla="*/ 1 w 2"/>
                  <a:gd name="T5" fmla="*/ 1 h 1"/>
                  <a:gd name="T6" fmla="*/ 2 w 2"/>
                  <a:gd name="T7" fmla="*/ 0 h 1"/>
                  <a:gd name="T8" fmla="*/ 1 w 2"/>
                  <a:gd name="T9" fmla="*/ 1 h 1"/>
                  <a:gd name="T10" fmla="*/ 2 w 2"/>
                  <a:gd name="T11" fmla="*/ 0 h 1"/>
                  <a:gd name="T12" fmla="*/ 2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0" y="1"/>
                      <a:pt x="0" y="1"/>
                    </a:cubicBezTo>
                    <a:cubicBezTo>
                      <a:pt x="0" y="1"/>
                      <a:pt x="1" y="1"/>
                      <a:pt x="1" y="1"/>
                    </a:cubicBezTo>
                    <a:moveTo>
                      <a:pt x="2" y="0"/>
                    </a:moveTo>
                    <a:cubicBezTo>
                      <a:pt x="2" y="0"/>
                      <a:pt x="1" y="0"/>
                      <a:pt x="1" y="1"/>
                    </a:cubicBezTo>
                    <a:cubicBezTo>
                      <a:pt x="1" y="0"/>
                      <a:pt x="1"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4" name="Freeform 197">
                <a:extLst>
                  <a:ext uri="{FF2B5EF4-FFF2-40B4-BE49-F238E27FC236}">
                    <a16:creationId xmlns:a16="http://schemas.microsoft.com/office/drawing/2014/main" id="{0F0AEC97-4C82-41B8-AB7F-C2FBFF0DD87D}"/>
                  </a:ext>
                </a:extLst>
              </p:cNvPr>
              <p:cNvSpPr>
                <a:spLocks/>
              </p:cNvSpPr>
              <p:nvPr/>
            </p:nvSpPr>
            <p:spPr bwMode="auto">
              <a:xfrm>
                <a:off x="4659" y="3442"/>
                <a:ext cx="3" cy="7"/>
              </a:xfrm>
              <a:custGeom>
                <a:avLst/>
                <a:gdLst>
                  <a:gd name="T0" fmla="*/ 1 w 1"/>
                  <a:gd name="T1" fmla="*/ 0 h 3"/>
                  <a:gd name="T2" fmla="*/ 0 w 1"/>
                  <a:gd name="T3" fmla="*/ 2 h 3"/>
                  <a:gd name="T4" fmla="*/ 0 w 1"/>
                  <a:gd name="T5" fmla="*/ 2 h 3"/>
                  <a:gd name="T6" fmla="*/ 0 w 1"/>
                  <a:gd name="T7" fmla="*/ 2 h 3"/>
                  <a:gd name="T8" fmla="*/ 0 w 1"/>
                  <a:gd name="T9" fmla="*/ 3 h 3"/>
                  <a:gd name="T10" fmla="*/ 1 w 1"/>
                  <a:gd name="T11" fmla="*/ 0 h 3"/>
                </a:gdLst>
                <a:ahLst/>
                <a:cxnLst>
                  <a:cxn ang="0">
                    <a:pos x="T0" y="T1"/>
                  </a:cxn>
                  <a:cxn ang="0">
                    <a:pos x="T2" y="T3"/>
                  </a:cxn>
                  <a:cxn ang="0">
                    <a:pos x="T4" y="T5"/>
                  </a:cxn>
                  <a:cxn ang="0">
                    <a:pos x="T6" y="T7"/>
                  </a:cxn>
                  <a:cxn ang="0">
                    <a:pos x="T8" y="T9"/>
                  </a:cxn>
                  <a:cxn ang="0">
                    <a:pos x="T10" y="T11"/>
                  </a:cxn>
                </a:cxnLst>
                <a:rect l="0" t="0" r="r" b="b"/>
                <a:pathLst>
                  <a:path w="1" h="3">
                    <a:moveTo>
                      <a:pt x="1" y="0"/>
                    </a:moveTo>
                    <a:cubicBezTo>
                      <a:pt x="1" y="1"/>
                      <a:pt x="1" y="1"/>
                      <a:pt x="0" y="2"/>
                    </a:cubicBezTo>
                    <a:cubicBezTo>
                      <a:pt x="0" y="2"/>
                      <a:pt x="0" y="2"/>
                      <a:pt x="0" y="2"/>
                    </a:cubicBezTo>
                    <a:cubicBezTo>
                      <a:pt x="0" y="2"/>
                      <a:pt x="0" y="2"/>
                      <a:pt x="0" y="2"/>
                    </a:cubicBezTo>
                    <a:cubicBezTo>
                      <a:pt x="0" y="3"/>
                      <a:pt x="0" y="3"/>
                      <a:pt x="0" y="3"/>
                    </a:cubicBezTo>
                    <a:cubicBezTo>
                      <a:pt x="0"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5" name="Freeform 198">
                <a:extLst>
                  <a:ext uri="{FF2B5EF4-FFF2-40B4-BE49-F238E27FC236}">
                    <a16:creationId xmlns:a16="http://schemas.microsoft.com/office/drawing/2014/main" id="{60AC2BB0-351D-46FE-9560-6A8DF3D6510A}"/>
                  </a:ext>
                </a:extLst>
              </p:cNvPr>
              <p:cNvSpPr>
                <a:spLocks/>
              </p:cNvSpPr>
              <p:nvPr/>
            </p:nvSpPr>
            <p:spPr bwMode="auto">
              <a:xfrm>
                <a:off x="4659" y="3447"/>
                <a:ext cx="0" cy="2"/>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6" name="Freeform 199">
                <a:extLst>
                  <a:ext uri="{FF2B5EF4-FFF2-40B4-BE49-F238E27FC236}">
                    <a16:creationId xmlns:a16="http://schemas.microsoft.com/office/drawing/2014/main" id="{8A6786C9-406D-4C20-85B4-CE200503E492}"/>
                  </a:ext>
                </a:extLst>
              </p:cNvPr>
              <p:cNvSpPr>
                <a:spLocks/>
              </p:cNvSpPr>
              <p:nvPr/>
            </p:nvSpPr>
            <p:spPr bwMode="auto">
              <a:xfrm>
                <a:off x="4659" y="3447"/>
                <a:ext cx="0" cy="2"/>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7" name="Freeform 200">
                <a:extLst>
                  <a:ext uri="{FF2B5EF4-FFF2-40B4-BE49-F238E27FC236}">
                    <a16:creationId xmlns:a16="http://schemas.microsoft.com/office/drawing/2014/main" id="{3BE52DF4-1BDE-4961-AD96-17D2F2DEA5AC}"/>
                  </a:ext>
                </a:extLst>
              </p:cNvPr>
              <p:cNvSpPr>
                <a:spLocks/>
              </p:cNvSpPr>
              <p:nvPr/>
            </p:nvSpPr>
            <p:spPr bwMode="auto">
              <a:xfrm>
                <a:off x="4662" y="3414"/>
                <a:ext cx="16" cy="28"/>
              </a:xfrm>
              <a:custGeom>
                <a:avLst/>
                <a:gdLst>
                  <a:gd name="T0" fmla="*/ 7 w 7"/>
                  <a:gd name="T1" fmla="*/ 0 h 12"/>
                  <a:gd name="T2" fmla="*/ 0 w 7"/>
                  <a:gd name="T3" fmla="*/ 12 h 12"/>
                  <a:gd name="T4" fmla="*/ 7 w 7"/>
                  <a:gd name="T5" fmla="*/ 0 h 12"/>
                </a:gdLst>
                <a:ahLst/>
                <a:cxnLst>
                  <a:cxn ang="0">
                    <a:pos x="T0" y="T1"/>
                  </a:cxn>
                  <a:cxn ang="0">
                    <a:pos x="T2" y="T3"/>
                  </a:cxn>
                  <a:cxn ang="0">
                    <a:pos x="T4" y="T5"/>
                  </a:cxn>
                </a:cxnLst>
                <a:rect l="0" t="0" r="r" b="b"/>
                <a:pathLst>
                  <a:path w="7" h="12">
                    <a:moveTo>
                      <a:pt x="7" y="0"/>
                    </a:moveTo>
                    <a:cubicBezTo>
                      <a:pt x="4" y="4"/>
                      <a:pt x="2" y="8"/>
                      <a:pt x="0" y="12"/>
                    </a:cubicBezTo>
                    <a:cubicBezTo>
                      <a:pt x="2" y="8"/>
                      <a:pt x="4" y="4"/>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8" name="Freeform 201">
                <a:extLst>
                  <a:ext uri="{FF2B5EF4-FFF2-40B4-BE49-F238E27FC236}">
                    <a16:creationId xmlns:a16="http://schemas.microsoft.com/office/drawing/2014/main" id="{E4EAF63C-53CA-4251-97B6-4621A41A606F}"/>
                  </a:ext>
                </a:extLst>
              </p:cNvPr>
              <p:cNvSpPr>
                <a:spLocks/>
              </p:cNvSpPr>
              <p:nvPr/>
            </p:nvSpPr>
            <p:spPr bwMode="auto">
              <a:xfrm>
                <a:off x="5582" y="3561"/>
                <a:ext cx="16" cy="21"/>
              </a:xfrm>
              <a:custGeom>
                <a:avLst/>
                <a:gdLst>
                  <a:gd name="T0" fmla="*/ 7 w 7"/>
                  <a:gd name="T1" fmla="*/ 0 h 9"/>
                  <a:gd name="T2" fmla="*/ 2 w 7"/>
                  <a:gd name="T3" fmla="*/ 7 h 9"/>
                  <a:gd name="T4" fmla="*/ 0 w 7"/>
                  <a:gd name="T5" fmla="*/ 8 h 9"/>
                  <a:gd name="T6" fmla="*/ 0 w 7"/>
                  <a:gd name="T7" fmla="*/ 9 h 9"/>
                  <a:gd name="T8" fmla="*/ 7 w 7"/>
                  <a:gd name="T9" fmla="*/ 0 h 9"/>
                </a:gdLst>
                <a:ahLst/>
                <a:cxnLst>
                  <a:cxn ang="0">
                    <a:pos x="T0" y="T1"/>
                  </a:cxn>
                  <a:cxn ang="0">
                    <a:pos x="T2" y="T3"/>
                  </a:cxn>
                  <a:cxn ang="0">
                    <a:pos x="T4" y="T5"/>
                  </a:cxn>
                  <a:cxn ang="0">
                    <a:pos x="T6" y="T7"/>
                  </a:cxn>
                  <a:cxn ang="0">
                    <a:pos x="T8" y="T9"/>
                  </a:cxn>
                </a:cxnLst>
                <a:rect l="0" t="0" r="r" b="b"/>
                <a:pathLst>
                  <a:path w="7" h="9">
                    <a:moveTo>
                      <a:pt x="7" y="0"/>
                    </a:moveTo>
                    <a:cubicBezTo>
                      <a:pt x="5" y="2"/>
                      <a:pt x="4" y="4"/>
                      <a:pt x="2" y="7"/>
                    </a:cubicBezTo>
                    <a:cubicBezTo>
                      <a:pt x="1" y="7"/>
                      <a:pt x="1" y="8"/>
                      <a:pt x="0" y="8"/>
                    </a:cubicBezTo>
                    <a:cubicBezTo>
                      <a:pt x="0" y="9"/>
                      <a:pt x="0" y="9"/>
                      <a:pt x="0" y="9"/>
                    </a:cubicBezTo>
                    <a:cubicBezTo>
                      <a:pt x="3" y="7"/>
                      <a:pt x="5" y="4"/>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9" name="Freeform 202">
                <a:extLst>
                  <a:ext uri="{FF2B5EF4-FFF2-40B4-BE49-F238E27FC236}">
                    <a16:creationId xmlns:a16="http://schemas.microsoft.com/office/drawing/2014/main" id="{0CEFAADC-0A12-4242-B5B9-BF039ADEBA87}"/>
                  </a:ext>
                </a:extLst>
              </p:cNvPr>
              <p:cNvSpPr>
                <a:spLocks/>
              </p:cNvSpPr>
              <p:nvPr/>
            </p:nvSpPr>
            <p:spPr bwMode="auto">
              <a:xfrm>
                <a:off x="3929" y="3572"/>
                <a:ext cx="9" cy="15"/>
              </a:xfrm>
              <a:custGeom>
                <a:avLst/>
                <a:gdLst>
                  <a:gd name="T0" fmla="*/ 0 w 4"/>
                  <a:gd name="T1" fmla="*/ 0 h 6"/>
                  <a:gd name="T2" fmla="*/ 2 w 4"/>
                  <a:gd name="T3" fmla="*/ 5 h 6"/>
                  <a:gd name="T4" fmla="*/ 3 w 4"/>
                  <a:gd name="T5" fmla="*/ 6 h 6"/>
                  <a:gd name="T6" fmla="*/ 3 w 4"/>
                  <a:gd name="T7" fmla="*/ 6 h 6"/>
                  <a:gd name="T8" fmla="*/ 3 w 4"/>
                  <a:gd name="T9" fmla="*/ 6 h 6"/>
                  <a:gd name="T10" fmla="*/ 4 w 4"/>
                  <a:gd name="T11" fmla="*/ 6 h 6"/>
                  <a:gd name="T12" fmla="*/ 0 w 4"/>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0"/>
                    </a:moveTo>
                    <a:cubicBezTo>
                      <a:pt x="1" y="3"/>
                      <a:pt x="1" y="4"/>
                      <a:pt x="2" y="5"/>
                    </a:cubicBezTo>
                    <a:cubicBezTo>
                      <a:pt x="2" y="6"/>
                      <a:pt x="3" y="6"/>
                      <a:pt x="3" y="6"/>
                    </a:cubicBezTo>
                    <a:cubicBezTo>
                      <a:pt x="3" y="6"/>
                      <a:pt x="3" y="6"/>
                      <a:pt x="3" y="6"/>
                    </a:cubicBezTo>
                    <a:cubicBezTo>
                      <a:pt x="3" y="6"/>
                      <a:pt x="3" y="6"/>
                      <a:pt x="3" y="6"/>
                    </a:cubicBezTo>
                    <a:cubicBezTo>
                      <a:pt x="3" y="6"/>
                      <a:pt x="3" y="6"/>
                      <a:pt x="4" y="6"/>
                    </a:cubicBezTo>
                    <a:cubicBezTo>
                      <a:pt x="3" y="4"/>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0" name="Freeform 203">
                <a:extLst>
                  <a:ext uri="{FF2B5EF4-FFF2-40B4-BE49-F238E27FC236}">
                    <a16:creationId xmlns:a16="http://schemas.microsoft.com/office/drawing/2014/main" id="{8B8D2958-80EF-4B1F-9F35-E306000427BF}"/>
                  </a:ext>
                </a:extLst>
              </p:cNvPr>
              <p:cNvSpPr>
                <a:spLocks/>
              </p:cNvSpPr>
              <p:nvPr/>
            </p:nvSpPr>
            <p:spPr bwMode="auto">
              <a:xfrm>
                <a:off x="3974" y="3617"/>
                <a:ext cx="4" cy="12"/>
              </a:xfrm>
              <a:custGeom>
                <a:avLst/>
                <a:gdLst>
                  <a:gd name="T0" fmla="*/ 0 w 2"/>
                  <a:gd name="T1" fmla="*/ 0 h 5"/>
                  <a:gd name="T2" fmla="*/ 2 w 2"/>
                  <a:gd name="T3" fmla="*/ 5 h 5"/>
                  <a:gd name="T4" fmla="*/ 0 w 2"/>
                  <a:gd name="T5" fmla="*/ 0 h 5"/>
                </a:gdLst>
                <a:ahLst/>
                <a:cxnLst>
                  <a:cxn ang="0">
                    <a:pos x="T0" y="T1"/>
                  </a:cxn>
                  <a:cxn ang="0">
                    <a:pos x="T2" y="T3"/>
                  </a:cxn>
                  <a:cxn ang="0">
                    <a:pos x="T4" y="T5"/>
                  </a:cxn>
                </a:cxnLst>
                <a:rect l="0" t="0" r="r" b="b"/>
                <a:pathLst>
                  <a:path w="2" h="5">
                    <a:moveTo>
                      <a:pt x="0" y="0"/>
                    </a:moveTo>
                    <a:cubicBezTo>
                      <a:pt x="0" y="2"/>
                      <a:pt x="1" y="4"/>
                      <a:pt x="2" y="5"/>
                    </a:cubicBezTo>
                    <a:cubicBezTo>
                      <a:pt x="2"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1" name="Freeform 204">
                <a:extLst>
                  <a:ext uri="{FF2B5EF4-FFF2-40B4-BE49-F238E27FC236}">
                    <a16:creationId xmlns:a16="http://schemas.microsoft.com/office/drawing/2014/main" id="{1F269861-B843-4C8F-9F9C-49C2686047DD}"/>
                  </a:ext>
                </a:extLst>
              </p:cNvPr>
              <p:cNvSpPr>
                <a:spLocks/>
              </p:cNvSpPr>
              <p:nvPr/>
            </p:nvSpPr>
            <p:spPr bwMode="auto">
              <a:xfrm>
                <a:off x="5227" y="3835"/>
                <a:ext cx="16" cy="19"/>
              </a:xfrm>
              <a:custGeom>
                <a:avLst/>
                <a:gdLst>
                  <a:gd name="T0" fmla="*/ 7 w 7"/>
                  <a:gd name="T1" fmla="*/ 0 h 8"/>
                  <a:gd name="T2" fmla="*/ 6 w 7"/>
                  <a:gd name="T3" fmla="*/ 0 h 8"/>
                  <a:gd name="T4" fmla="*/ 6 w 7"/>
                  <a:gd name="T5" fmla="*/ 1 h 8"/>
                  <a:gd name="T6" fmla="*/ 3 w 7"/>
                  <a:gd name="T7" fmla="*/ 1 h 8"/>
                  <a:gd name="T8" fmla="*/ 2 w 7"/>
                  <a:gd name="T9" fmla="*/ 1 h 8"/>
                  <a:gd name="T10" fmla="*/ 1 w 7"/>
                  <a:gd name="T11" fmla="*/ 8 h 8"/>
                  <a:gd name="T12" fmla="*/ 6 w 7"/>
                  <a:gd name="T13" fmla="*/ 1 h 8"/>
                  <a:gd name="T14" fmla="*/ 7 w 7"/>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8">
                    <a:moveTo>
                      <a:pt x="7" y="0"/>
                    </a:moveTo>
                    <a:cubicBezTo>
                      <a:pt x="6" y="0"/>
                      <a:pt x="6" y="0"/>
                      <a:pt x="6" y="0"/>
                    </a:cubicBezTo>
                    <a:cubicBezTo>
                      <a:pt x="6" y="1"/>
                      <a:pt x="6" y="1"/>
                      <a:pt x="6" y="1"/>
                    </a:cubicBezTo>
                    <a:cubicBezTo>
                      <a:pt x="5" y="1"/>
                      <a:pt x="4" y="1"/>
                      <a:pt x="3" y="1"/>
                    </a:cubicBezTo>
                    <a:cubicBezTo>
                      <a:pt x="3" y="1"/>
                      <a:pt x="3" y="1"/>
                      <a:pt x="2" y="1"/>
                    </a:cubicBezTo>
                    <a:cubicBezTo>
                      <a:pt x="0" y="3"/>
                      <a:pt x="0" y="6"/>
                      <a:pt x="1" y="8"/>
                    </a:cubicBezTo>
                    <a:cubicBezTo>
                      <a:pt x="3" y="6"/>
                      <a:pt x="5" y="3"/>
                      <a:pt x="6" y="1"/>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2" name="Freeform 205">
                <a:extLst>
                  <a:ext uri="{FF2B5EF4-FFF2-40B4-BE49-F238E27FC236}">
                    <a16:creationId xmlns:a16="http://schemas.microsoft.com/office/drawing/2014/main" id="{90764046-B152-4AC0-9D13-B0A321255F9A}"/>
                  </a:ext>
                </a:extLst>
              </p:cNvPr>
              <p:cNvSpPr>
                <a:spLocks/>
              </p:cNvSpPr>
              <p:nvPr/>
            </p:nvSpPr>
            <p:spPr bwMode="auto">
              <a:xfrm>
                <a:off x="3948" y="3608"/>
                <a:ext cx="2" cy="7"/>
              </a:xfrm>
              <a:custGeom>
                <a:avLst/>
                <a:gdLst>
                  <a:gd name="T0" fmla="*/ 0 w 1"/>
                  <a:gd name="T1" fmla="*/ 0 h 3"/>
                  <a:gd name="T2" fmla="*/ 0 w 1"/>
                  <a:gd name="T3" fmla="*/ 0 h 3"/>
                  <a:gd name="T4" fmla="*/ 1 w 1"/>
                  <a:gd name="T5" fmla="*/ 3 h 3"/>
                  <a:gd name="T6" fmla="*/ 1 w 1"/>
                  <a:gd name="T7" fmla="*/ 0 h 3"/>
                  <a:gd name="T8" fmla="*/ 1 w 1"/>
                  <a:gd name="T9" fmla="*/ 0 h 3"/>
                  <a:gd name="T10" fmla="*/ 1 w 1"/>
                  <a:gd name="T11" fmla="*/ 0 h 3"/>
                  <a:gd name="T12" fmla="*/ 0 w 1"/>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0" y="0"/>
                    </a:moveTo>
                    <a:cubicBezTo>
                      <a:pt x="0" y="0"/>
                      <a:pt x="0" y="0"/>
                      <a:pt x="0" y="0"/>
                    </a:cubicBezTo>
                    <a:cubicBezTo>
                      <a:pt x="0" y="0"/>
                      <a:pt x="0" y="2"/>
                      <a:pt x="1" y="3"/>
                    </a:cubicBezTo>
                    <a:cubicBezTo>
                      <a:pt x="1" y="2"/>
                      <a:pt x="1" y="1"/>
                      <a:pt x="1" y="0"/>
                    </a:cubicBezTo>
                    <a:cubicBezTo>
                      <a:pt x="1" y="0"/>
                      <a:pt x="1" y="0"/>
                      <a:pt x="1" y="0"/>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3" name="Freeform 206">
                <a:extLst>
                  <a:ext uri="{FF2B5EF4-FFF2-40B4-BE49-F238E27FC236}">
                    <a16:creationId xmlns:a16="http://schemas.microsoft.com/office/drawing/2014/main" id="{A3FAF8F7-7DAB-406D-B328-B40E5A7DD9A1}"/>
                  </a:ext>
                </a:extLst>
              </p:cNvPr>
              <p:cNvSpPr>
                <a:spLocks/>
              </p:cNvSpPr>
              <p:nvPr/>
            </p:nvSpPr>
            <p:spPr bwMode="auto">
              <a:xfrm>
                <a:off x="3810" y="3362"/>
                <a:ext cx="5" cy="7"/>
              </a:xfrm>
              <a:custGeom>
                <a:avLst/>
                <a:gdLst>
                  <a:gd name="T0" fmla="*/ 0 w 2"/>
                  <a:gd name="T1" fmla="*/ 0 h 3"/>
                  <a:gd name="T2" fmla="*/ 2 w 2"/>
                  <a:gd name="T3" fmla="*/ 3 h 3"/>
                  <a:gd name="T4" fmla="*/ 1 w 2"/>
                  <a:gd name="T5" fmla="*/ 1 h 3"/>
                  <a:gd name="T6" fmla="*/ 1 w 2"/>
                  <a:gd name="T7" fmla="*/ 1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1" y="1"/>
                      <a:pt x="1" y="2"/>
                      <a:pt x="2" y="3"/>
                    </a:cubicBezTo>
                    <a:cubicBezTo>
                      <a:pt x="2" y="2"/>
                      <a:pt x="1" y="1"/>
                      <a:pt x="1" y="1"/>
                    </a:cubicBezTo>
                    <a:cubicBezTo>
                      <a:pt x="1" y="1"/>
                      <a:pt x="1" y="1"/>
                      <a:pt x="1"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4" name="Freeform 207">
                <a:extLst>
                  <a:ext uri="{FF2B5EF4-FFF2-40B4-BE49-F238E27FC236}">
                    <a16:creationId xmlns:a16="http://schemas.microsoft.com/office/drawing/2014/main" id="{D3CFA221-3581-478D-9052-675DE1E0977B}"/>
                  </a:ext>
                </a:extLst>
              </p:cNvPr>
              <p:cNvSpPr>
                <a:spLocks/>
              </p:cNvSpPr>
              <p:nvPr/>
            </p:nvSpPr>
            <p:spPr bwMode="auto">
              <a:xfrm>
                <a:off x="3900" y="3516"/>
                <a:ext cx="10" cy="14"/>
              </a:xfrm>
              <a:custGeom>
                <a:avLst/>
                <a:gdLst>
                  <a:gd name="T0" fmla="*/ 4 w 4"/>
                  <a:gd name="T1" fmla="*/ 0 h 6"/>
                  <a:gd name="T2" fmla="*/ 1 w 4"/>
                  <a:gd name="T3" fmla="*/ 2 h 6"/>
                  <a:gd name="T4" fmla="*/ 0 w 4"/>
                  <a:gd name="T5" fmla="*/ 4 h 6"/>
                  <a:gd name="T6" fmla="*/ 0 w 4"/>
                  <a:gd name="T7" fmla="*/ 4 h 6"/>
                  <a:gd name="T8" fmla="*/ 0 w 4"/>
                  <a:gd name="T9" fmla="*/ 4 h 6"/>
                  <a:gd name="T10" fmla="*/ 1 w 4"/>
                  <a:gd name="T11" fmla="*/ 6 h 6"/>
                  <a:gd name="T12" fmla="*/ 1 w 4"/>
                  <a:gd name="T13" fmla="*/ 6 h 6"/>
                  <a:gd name="T14" fmla="*/ 1 w 4"/>
                  <a:gd name="T15" fmla="*/ 6 h 6"/>
                  <a:gd name="T16" fmla="*/ 1 w 4"/>
                  <a:gd name="T17" fmla="*/ 6 h 6"/>
                  <a:gd name="T18" fmla="*/ 4 w 4"/>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0"/>
                    </a:moveTo>
                    <a:cubicBezTo>
                      <a:pt x="2" y="1"/>
                      <a:pt x="1" y="1"/>
                      <a:pt x="1" y="2"/>
                    </a:cubicBezTo>
                    <a:cubicBezTo>
                      <a:pt x="1" y="3"/>
                      <a:pt x="0" y="3"/>
                      <a:pt x="0" y="4"/>
                    </a:cubicBezTo>
                    <a:cubicBezTo>
                      <a:pt x="0" y="4"/>
                      <a:pt x="0" y="4"/>
                      <a:pt x="0" y="4"/>
                    </a:cubicBezTo>
                    <a:cubicBezTo>
                      <a:pt x="0" y="4"/>
                      <a:pt x="0" y="4"/>
                      <a:pt x="0" y="4"/>
                    </a:cubicBezTo>
                    <a:cubicBezTo>
                      <a:pt x="0" y="5"/>
                      <a:pt x="0" y="5"/>
                      <a:pt x="1" y="6"/>
                    </a:cubicBezTo>
                    <a:cubicBezTo>
                      <a:pt x="1" y="6"/>
                      <a:pt x="1" y="6"/>
                      <a:pt x="1" y="6"/>
                    </a:cubicBezTo>
                    <a:cubicBezTo>
                      <a:pt x="1" y="6"/>
                      <a:pt x="1" y="6"/>
                      <a:pt x="1" y="6"/>
                    </a:cubicBezTo>
                    <a:cubicBezTo>
                      <a:pt x="1" y="6"/>
                      <a:pt x="1" y="6"/>
                      <a:pt x="1" y="6"/>
                    </a:cubicBezTo>
                    <a:cubicBezTo>
                      <a:pt x="2" y="4"/>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5" name="Freeform 208">
                <a:extLst>
                  <a:ext uri="{FF2B5EF4-FFF2-40B4-BE49-F238E27FC236}">
                    <a16:creationId xmlns:a16="http://schemas.microsoft.com/office/drawing/2014/main" id="{A2C562FF-C194-40F9-8D21-FABE9735949F}"/>
                  </a:ext>
                </a:extLst>
              </p:cNvPr>
              <p:cNvSpPr>
                <a:spLocks/>
              </p:cNvSpPr>
              <p:nvPr/>
            </p:nvSpPr>
            <p:spPr bwMode="auto">
              <a:xfrm>
                <a:off x="3843" y="3563"/>
                <a:ext cx="10" cy="42"/>
              </a:xfrm>
              <a:custGeom>
                <a:avLst/>
                <a:gdLst>
                  <a:gd name="T0" fmla="*/ 3 w 4"/>
                  <a:gd name="T1" fmla="*/ 0 h 18"/>
                  <a:gd name="T2" fmla="*/ 1 w 4"/>
                  <a:gd name="T3" fmla="*/ 5 h 18"/>
                  <a:gd name="T4" fmla="*/ 0 w 4"/>
                  <a:gd name="T5" fmla="*/ 11 h 18"/>
                  <a:gd name="T6" fmla="*/ 2 w 4"/>
                  <a:gd name="T7" fmla="*/ 15 h 18"/>
                  <a:gd name="T8" fmla="*/ 2 w 4"/>
                  <a:gd name="T9" fmla="*/ 16 h 18"/>
                  <a:gd name="T10" fmla="*/ 4 w 4"/>
                  <a:gd name="T11" fmla="*/ 18 h 18"/>
                  <a:gd name="T12" fmla="*/ 2 w 4"/>
                  <a:gd name="T13" fmla="*/ 11 h 18"/>
                  <a:gd name="T14" fmla="*/ 2 w 4"/>
                  <a:gd name="T15" fmla="*/ 6 h 18"/>
                  <a:gd name="T16" fmla="*/ 2 w 4"/>
                  <a:gd name="T17" fmla="*/ 5 h 18"/>
                  <a:gd name="T18" fmla="*/ 3 w 4"/>
                  <a:gd name="T19" fmla="*/ 1 h 18"/>
                  <a:gd name="T20" fmla="*/ 3 w 4"/>
                  <a:gd name="T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8">
                    <a:moveTo>
                      <a:pt x="3" y="0"/>
                    </a:moveTo>
                    <a:cubicBezTo>
                      <a:pt x="2" y="2"/>
                      <a:pt x="2" y="3"/>
                      <a:pt x="1" y="5"/>
                    </a:cubicBezTo>
                    <a:cubicBezTo>
                      <a:pt x="1" y="7"/>
                      <a:pt x="0" y="9"/>
                      <a:pt x="0" y="11"/>
                    </a:cubicBezTo>
                    <a:cubicBezTo>
                      <a:pt x="1" y="12"/>
                      <a:pt x="2" y="13"/>
                      <a:pt x="2" y="15"/>
                    </a:cubicBezTo>
                    <a:cubicBezTo>
                      <a:pt x="2" y="15"/>
                      <a:pt x="2" y="15"/>
                      <a:pt x="2" y="16"/>
                    </a:cubicBezTo>
                    <a:cubicBezTo>
                      <a:pt x="3" y="17"/>
                      <a:pt x="4" y="18"/>
                      <a:pt x="4" y="18"/>
                    </a:cubicBezTo>
                    <a:cubicBezTo>
                      <a:pt x="4" y="16"/>
                      <a:pt x="3" y="12"/>
                      <a:pt x="2" y="11"/>
                    </a:cubicBezTo>
                    <a:cubicBezTo>
                      <a:pt x="2" y="9"/>
                      <a:pt x="2" y="8"/>
                      <a:pt x="2" y="6"/>
                    </a:cubicBezTo>
                    <a:cubicBezTo>
                      <a:pt x="2" y="5"/>
                      <a:pt x="2" y="5"/>
                      <a:pt x="2" y="5"/>
                    </a:cubicBezTo>
                    <a:cubicBezTo>
                      <a:pt x="2" y="4"/>
                      <a:pt x="3" y="3"/>
                      <a:pt x="3" y="1"/>
                    </a:cubicBezTo>
                    <a:cubicBezTo>
                      <a:pt x="3" y="1"/>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sp>
          <p:nvSpPr>
            <p:cNvPr id="6" name="Freeform 210">
              <a:extLst>
                <a:ext uri="{FF2B5EF4-FFF2-40B4-BE49-F238E27FC236}">
                  <a16:creationId xmlns:a16="http://schemas.microsoft.com/office/drawing/2014/main" id="{5E099454-7576-498E-A05D-CC29F70663D9}"/>
                </a:ext>
              </a:extLst>
            </p:cNvPr>
            <p:cNvSpPr>
              <a:spLocks/>
            </p:cNvSpPr>
            <p:nvPr/>
          </p:nvSpPr>
          <p:spPr bwMode="auto">
            <a:xfrm>
              <a:off x="6251566" y="7468422"/>
              <a:ext cx="3175" cy="14288"/>
            </a:xfrm>
            <a:custGeom>
              <a:avLst/>
              <a:gdLst>
                <a:gd name="T0" fmla="*/ 1 w 1"/>
                <a:gd name="T1" fmla="*/ 0 h 4"/>
                <a:gd name="T2" fmla="*/ 0 w 1"/>
                <a:gd name="T3" fmla="*/ 1 h 4"/>
                <a:gd name="T4" fmla="*/ 0 w 1"/>
                <a:gd name="T5" fmla="*/ 1 h 4"/>
                <a:gd name="T6" fmla="*/ 0 w 1"/>
                <a:gd name="T7" fmla="*/ 2 h 4"/>
                <a:gd name="T8" fmla="*/ 0 w 1"/>
                <a:gd name="T9" fmla="*/ 2 h 4"/>
                <a:gd name="T10" fmla="*/ 0 w 1"/>
                <a:gd name="T11" fmla="*/ 3 h 4"/>
                <a:gd name="T12" fmla="*/ 1 w 1"/>
                <a:gd name="T13" fmla="*/ 4 h 4"/>
                <a:gd name="T14" fmla="*/ 1 w 1"/>
                <a:gd name="T15" fmla="*/ 3 h 4"/>
                <a:gd name="T16" fmla="*/ 1 w 1"/>
                <a:gd name="T17" fmla="*/ 3 h 4"/>
                <a:gd name="T18" fmla="*/ 1 w 1"/>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4">
                  <a:moveTo>
                    <a:pt x="1" y="0"/>
                  </a:moveTo>
                  <a:cubicBezTo>
                    <a:pt x="0" y="0"/>
                    <a:pt x="0" y="1"/>
                    <a:pt x="0" y="1"/>
                  </a:cubicBezTo>
                  <a:cubicBezTo>
                    <a:pt x="0" y="1"/>
                    <a:pt x="0" y="1"/>
                    <a:pt x="0" y="1"/>
                  </a:cubicBezTo>
                  <a:cubicBezTo>
                    <a:pt x="0" y="2"/>
                    <a:pt x="0" y="2"/>
                    <a:pt x="0" y="2"/>
                  </a:cubicBezTo>
                  <a:cubicBezTo>
                    <a:pt x="0" y="2"/>
                    <a:pt x="0" y="2"/>
                    <a:pt x="0" y="2"/>
                  </a:cubicBezTo>
                  <a:cubicBezTo>
                    <a:pt x="0" y="3"/>
                    <a:pt x="0" y="3"/>
                    <a:pt x="0" y="3"/>
                  </a:cubicBezTo>
                  <a:cubicBezTo>
                    <a:pt x="0" y="3"/>
                    <a:pt x="1" y="3"/>
                    <a:pt x="1" y="4"/>
                  </a:cubicBezTo>
                  <a:cubicBezTo>
                    <a:pt x="1" y="3"/>
                    <a:pt x="1" y="3"/>
                    <a:pt x="1" y="3"/>
                  </a:cubicBezTo>
                  <a:cubicBezTo>
                    <a:pt x="1" y="3"/>
                    <a:pt x="1" y="3"/>
                    <a:pt x="1"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 name="Freeform 211">
              <a:extLst>
                <a:ext uri="{FF2B5EF4-FFF2-40B4-BE49-F238E27FC236}">
                  <a16:creationId xmlns:a16="http://schemas.microsoft.com/office/drawing/2014/main" id="{6C231F5B-C544-4574-AE0E-E26C384066D4}"/>
                </a:ext>
              </a:extLst>
            </p:cNvPr>
            <p:cNvSpPr>
              <a:spLocks/>
            </p:cNvSpPr>
            <p:nvPr/>
          </p:nvSpPr>
          <p:spPr bwMode="auto">
            <a:xfrm>
              <a:off x="10545754" y="3550472"/>
              <a:ext cx="30163" cy="38100"/>
            </a:xfrm>
            <a:custGeom>
              <a:avLst/>
              <a:gdLst>
                <a:gd name="T0" fmla="*/ 6 w 8"/>
                <a:gd name="T1" fmla="*/ 0 h 10"/>
                <a:gd name="T2" fmla="*/ 0 w 8"/>
                <a:gd name="T3" fmla="*/ 8 h 10"/>
                <a:gd name="T4" fmla="*/ 3 w 8"/>
                <a:gd name="T5" fmla="*/ 7 h 10"/>
                <a:gd name="T6" fmla="*/ 3 w 8"/>
                <a:gd name="T7" fmla="*/ 7 h 10"/>
                <a:gd name="T8" fmla="*/ 7 w 8"/>
                <a:gd name="T9" fmla="*/ 10 h 10"/>
                <a:gd name="T10" fmla="*/ 7 w 8"/>
                <a:gd name="T11" fmla="*/ 9 h 10"/>
                <a:gd name="T12" fmla="*/ 8 w 8"/>
                <a:gd name="T13" fmla="*/ 9 h 10"/>
                <a:gd name="T14" fmla="*/ 8 w 8"/>
                <a:gd name="T15" fmla="*/ 8 h 10"/>
                <a:gd name="T16" fmla="*/ 8 w 8"/>
                <a:gd name="T17" fmla="*/ 6 h 10"/>
                <a:gd name="T18" fmla="*/ 6 w 8"/>
                <a:gd name="T19" fmla="*/ 5 h 10"/>
                <a:gd name="T20" fmla="*/ 4 w 8"/>
                <a:gd name="T21" fmla="*/ 5 h 10"/>
                <a:gd name="T22" fmla="*/ 4 w 8"/>
                <a:gd name="T23" fmla="*/ 5 h 10"/>
                <a:gd name="T24" fmla="*/ 3 w 8"/>
                <a:gd name="T25" fmla="*/ 5 h 10"/>
                <a:gd name="T26" fmla="*/ 5 w 8"/>
                <a:gd name="T27" fmla="*/ 2 h 10"/>
                <a:gd name="T28" fmla="*/ 5 w 8"/>
                <a:gd name="T29" fmla="*/ 2 h 10"/>
                <a:gd name="T30" fmla="*/ 6 w 8"/>
                <a:gd name="T31" fmla="*/ 3 h 10"/>
                <a:gd name="T32" fmla="*/ 6 w 8"/>
                <a:gd name="T33" fmla="*/ 3 h 10"/>
                <a:gd name="T34" fmla="*/ 6 w 8"/>
                <a:gd name="T35" fmla="*/ 2 h 10"/>
                <a:gd name="T36" fmla="*/ 8 w 8"/>
                <a:gd name="T37" fmla="*/ 0 h 10"/>
                <a:gd name="T38" fmla="*/ 6 w 8"/>
                <a:gd name="T3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10">
                  <a:moveTo>
                    <a:pt x="6" y="0"/>
                  </a:moveTo>
                  <a:cubicBezTo>
                    <a:pt x="2" y="0"/>
                    <a:pt x="1" y="3"/>
                    <a:pt x="0" y="8"/>
                  </a:cubicBezTo>
                  <a:cubicBezTo>
                    <a:pt x="1" y="7"/>
                    <a:pt x="2" y="7"/>
                    <a:pt x="3" y="7"/>
                  </a:cubicBezTo>
                  <a:cubicBezTo>
                    <a:pt x="3" y="7"/>
                    <a:pt x="3" y="7"/>
                    <a:pt x="3" y="7"/>
                  </a:cubicBezTo>
                  <a:cubicBezTo>
                    <a:pt x="4" y="7"/>
                    <a:pt x="5" y="10"/>
                    <a:pt x="7" y="10"/>
                  </a:cubicBezTo>
                  <a:cubicBezTo>
                    <a:pt x="7" y="10"/>
                    <a:pt x="7" y="10"/>
                    <a:pt x="7" y="9"/>
                  </a:cubicBezTo>
                  <a:cubicBezTo>
                    <a:pt x="8" y="9"/>
                    <a:pt x="8" y="9"/>
                    <a:pt x="8" y="9"/>
                  </a:cubicBezTo>
                  <a:cubicBezTo>
                    <a:pt x="8" y="8"/>
                    <a:pt x="8" y="8"/>
                    <a:pt x="8" y="8"/>
                  </a:cubicBezTo>
                  <a:cubicBezTo>
                    <a:pt x="8" y="7"/>
                    <a:pt x="8" y="6"/>
                    <a:pt x="8" y="6"/>
                  </a:cubicBezTo>
                  <a:cubicBezTo>
                    <a:pt x="7" y="5"/>
                    <a:pt x="7" y="5"/>
                    <a:pt x="6" y="5"/>
                  </a:cubicBezTo>
                  <a:cubicBezTo>
                    <a:pt x="5" y="5"/>
                    <a:pt x="5" y="5"/>
                    <a:pt x="4" y="5"/>
                  </a:cubicBezTo>
                  <a:cubicBezTo>
                    <a:pt x="4" y="5"/>
                    <a:pt x="4" y="5"/>
                    <a:pt x="4" y="5"/>
                  </a:cubicBezTo>
                  <a:cubicBezTo>
                    <a:pt x="4" y="5"/>
                    <a:pt x="3" y="5"/>
                    <a:pt x="3" y="5"/>
                  </a:cubicBezTo>
                  <a:cubicBezTo>
                    <a:pt x="4" y="4"/>
                    <a:pt x="4" y="4"/>
                    <a:pt x="5" y="2"/>
                  </a:cubicBezTo>
                  <a:cubicBezTo>
                    <a:pt x="5" y="2"/>
                    <a:pt x="5" y="2"/>
                    <a:pt x="5" y="2"/>
                  </a:cubicBezTo>
                  <a:cubicBezTo>
                    <a:pt x="6" y="3"/>
                    <a:pt x="6" y="3"/>
                    <a:pt x="6" y="3"/>
                  </a:cubicBezTo>
                  <a:cubicBezTo>
                    <a:pt x="6" y="3"/>
                    <a:pt x="6" y="3"/>
                    <a:pt x="6" y="3"/>
                  </a:cubicBezTo>
                  <a:cubicBezTo>
                    <a:pt x="6" y="2"/>
                    <a:pt x="6" y="2"/>
                    <a:pt x="6" y="2"/>
                  </a:cubicBezTo>
                  <a:cubicBezTo>
                    <a:pt x="7" y="2"/>
                    <a:pt x="8" y="1"/>
                    <a:pt x="8" y="0"/>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 name="Freeform 212">
              <a:extLst>
                <a:ext uri="{FF2B5EF4-FFF2-40B4-BE49-F238E27FC236}">
                  <a16:creationId xmlns:a16="http://schemas.microsoft.com/office/drawing/2014/main" id="{9B2C73D7-58E3-49E5-BCA2-2A9186DC8706}"/>
                </a:ext>
              </a:extLst>
            </p:cNvPr>
            <p:cNvSpPr>
              <a:spLocks/>
            </p:cNvSpPr>
            <p:nvPr/>
          </p:nvSpPr>
          <p:spPr bwMode="auto">
            <a:xfrm>
              <a:off x="4559291" y="3791772"/>
              <a:ext cx="25400" cy="14288"/>
            </a:xfrm>
            <a:custGeom>
              <a:avLst/>
              <a:gdLst>
                <a:gd name="T0" fmla="*/ 6 w 7"/>
                <a:gd name="T1" fmla="*/ 0 h 4"/>
                <a:gd name="T2" fmla="*/ 3 w 7"/>
                <a:gd name="T3" fmla="*/ 1 h 4"/>
                <a:gd name="T4" fmla="*/ 2 w 7"/>
                <a:gd name="T5" fmla="*/ 2 h 4"/>
                <a:gd name="T6" fmla="*/ 0 w 7"/>
                <a:gd name="T7" fmla="*/ 4 h 4"/>
                <a:gd name="T8" fmla="*/ 2 w 7"/>
                <a:gd name="T9" fmla="*/ 4 h 4"/>
                <a:gd name="T10" fmla="*/ 3 w 7"/>
                <a:gd name="T11" fmla="*/ 3 h 4"/>
                <a:gd name="T12" fmla="*/ 7 w 7"/>
                <a:gd name="T13" fmla="*/ 0 h 4"/>
                <a:gd name="T14" fmla="*/ 6 w 7"/>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6" y="0"/>
                  </a:moveTo>
                  <a:cubicBezTo>
                    <a:pt x="5" y="0"/>
                    <a:pt x="4" y="1"/>
                    <a:pt x="3" y="1"/>
                  </a:cubicBezTo>
                  <a:cubicBezTo>
                    <a:pt x="3" y="1"/>
                    <a:pt x="3" y="2"/>
                    <a:pt x="2" y="2"/>
                  </a:cubicBezTo>
                  <a:cubicBezTo>
                    <a:pt x="1" y="3"/>
                    <a:pt x="0" y="3"/>
                    <a:pt x="0" y="4"/>
                  </a:cubicBezTo>
                  <a:cubicBezTo>
                    <a:pt x="1" y="4"/>
                    <a:pt x="1" y="4"/>
                    <a:pt x="2" y="4"/>
                  </a:cubicBezTo>
                  <a:cubicBezTo>
                    <a:pt x="3" y="3"/>
                    <a:pt x="3" y="3"/>
                    <a:pt x="3" y="3"/>
                  </a:cubicBezTo>
                  <a:cubicBezTo>
                    <a:pt x="4" y="3"/>
                    <a:pt x="6" y="2"/>
                    <a:pt x="7" y="0"/>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 name="Freeform 213">
              <a:extLst>
                <a:ext uri="{FF2B5EF4-FFF2-40B4-BE49-F238E27FC236}">
                  <a16:creationId xmlns:a16="http://schemas.microsoft.com/office/drawing/2014/main" id="{FC5811E9-F0B6-4EE6-A569-FD9E0EEA60B2}"/>
                </a:ext>
              </a:extLst>
            </p:cNvPr>
            <p:cNvSpPr>
              <a:spLocks/>
            </p:cNvSpPr>
            <p:nvPr/>
          </p:nvSpPr>
          <p:spPr bwMode="auto">
            <a:xfrm>
              <a:off x="3784591" y="1793109"/>
              <a:ext cx="38100" cy="19050"/>
            </a:xfrm>
            <a:custGeom>
              <a:avLst/>
              <a:gdLst>
                <a:gd name="T0" fmla="*/ 5 w 10"/>
                <a:gd name="T1" fmla="*/ 0 h 5"/>
                <a:gd name="T2" fmla="*/ 0 w 10"/>
                <a:gd name="T3" fmla="*/ 3 h 5"/>
                <a:gd name="T4" fmla="*/ 1 w 10"/>
                <a:gd name="T5" fmla="*/ 3 h 5"/>
                <a:gd name="T6" fmla="*/ 2 w 10"/>
                <a:gd name="T7" fmla="*/ 4 h 5"/>
                <a:gd name="T8" fmla="*/ 5 w 10"/>
                <a:gd name="T9" fmla="*/ 5 h 5"/>
                <a:gd name="T10" fmla="*/ 5 w 10"/>
                <a:gd name="T11" fmla="*/ 4 h 5"/>
                <a:gd name="T12" fmla="*/ 6 w 10"/>
                <a:gd name="T13" fmla="*/ 4 h 5"/>
                <a:gd name="T14" fmla="*/ 8 w 10"/>
                <a:gd name="T15" fmla="*/ 3 h 5"/>
                <a:gd name="T16" fmla="*/ 10 w 10"/>
                <a:gd name="T17" fmla="*/ 2 h 5"/>
                <a:gd name="T18" fmla="*/ 10 w 10"/>
                <a:gd name="T19" fmla="*/ 2 h 5"/>
                <a:gd name="T20" fmla="*/ 5 w 10"/>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5">
                  <a:moveTo>
                    <a:pt x="5" y="0"/>
                  </a:moveTo>
                  <a:cubicBezTo>
                    <a:pt x="4" y="0"/>
                    <a:pt x="2" y="1"/>
                    <a:pt x="0" y="3"/>
                  </a:cubicBezTo>
                  <a:cubicBezTo>
                    <a:pt x="1" y="3"/>
                    <a:pt x="1" y="3"/>
                    <a:pt x="1" y="3"/>
                  </a:cubicBezTo>
                  <a:cubicBezTo>
                    <a:pt x="1" y="3"/>
                    <a:pt x="2" y="4"/>
                    <a:pt x="2" y="4"/>
                  </a:cubicBezTo>
                  <a:cubicBezTo>
                    <a:pt x="3" y="4"/>
                    <a:pt x="4" y="4"/>
                    <a:pt x="5" y="5"/>
                  </a:cubicBezTo>
                  <a:cubicBezTo>
                    <a:pt x="5" y="4"/>
                    <a:pt x="5" y="4"/>
                    <a:pt x="5" y="4"/>
                  </a:cubicBezTo>
                  <a:cubicBezTo>
                    <a:pt x="6" y="4"/>
                    <a:pt x="6" y="4"/>
                    <a:pt x="6" y="4"/>
                  </a:cubicBezTo>
                  <a:cubicBezTo>
                    <a:pt x="7" y="3"/>
                    <a:pt x="7" y="3"/>
                    <a:pt x="8" y="3"/>
                  </a:cubicBezTo>
                  <a:cubicBezTo>
                    <a:pt x="9" y="2"/>
                    <a:pt x="9" y="2"/>
                    <a:pt x="10" y="2"/>
                  </a:cubicBezTo>
                  <a:cubicBezTo>
                    <a:pt x="10" y="2"/>
                    <a:pt x="10" y="2"/>
                    <a:pt x="10" y="2"/>
                  </a:cubicBezTo>
                  <a:cubicBezTo>
                    <a:pt x="9" y="1"/>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 name="Freeform 214">
              <a:extLst>
                <a:ext uri="{FF2B5EF4-FFF2-40B4-BE49-F238E27FC236}">
                  <a16:creationId xmlns:a16="http://schemas.microsoft.com/office/drawing/2014/main" id="{4FCC57D8-8895-4A60-8681-40C653F2178D}"/>
                </a:ext>
              </a:extLst>
            </p:cNvPr>
            <p:cNvSpPr>
              <a:spLocks/>
            </p:cNvSpPr>
            <p:nvPr/>
          </p:nvSpPr>
          <p:spPr bwMode="auto">
            <a:xfrm>
              <a:off x="6243629" y="1962972"/>
              <a:ext cx="34925" cy="6350"/>
            </a:xfrm>
            <a:custGeom>
              <a:avLst/>
              <a:gdLst>
                <a:gd name="T0" fmla="*/ 6 w 9"/>
                <a:gd name="T1" fmla="*/ 0 h 2"/>
                <a:gd name="T2" fmla="*/ 5 w 9"/>
                <a:gd name="T3" fmla="*/ 0 h 2"/>
                <a:gd name="T4" fmla="*/ 0 w 9"/>
                <a:gd name="T5" fmla="*/ 2 h 2"/>
                <a:gd name="T6" fmla="*/ 3 w 9"/>
                <a:gd name="T7" fmla="*/ 2 h 2"/>
                <a:gd name="T8" fmla="*/ 9 w 9"/>
                <a:gd name="T9" fmla="*/ 2 h 2"/>
                <a:gd name="T10" fmla="*/ 6 w 9"/>
                <a:gd name="T11" fmla="*/ 0 h 2"/>
              </a:gdLst>
              <a:ahLst/>
              <a:cxnLst>
                <a:cxn ang="0">
                  <a:pos x="T0" y="T1"/>
                </a:cxn>
                <a:cxn ang="0">
                  <a:pos x="T2" y="T3"/>
                </a:cxn>
                <a:cxn ang="0">
                  <a:pos x="T4" y="T5"/>
                </a:cxn>
                <a:cxn ang="0">
                  <a:pos x="T6" y="T7"/>
                </a:cxn>
                <a:cxn ang="0">
                  <a:pos x="T8" y="T9"/>
                </a:cxn>
                <a:cxn ang="0">
                  <a:pos x="T10" y="T11"/>
                </a:cxn>
              </a:cxnLst>
              <a:rect l="0" t="0" r="r" b="b"/>
              <a:pathLst>
                <a:path w="9" h="2">
                  <a:moveTo>
                    <a:pt x="6" y="0"/>
                  </a:moveTo>
                  <a:cubicBezTo>
                    <a:pt x="5" y="0"/>
                    <a:pt x="5" y="0"/>
                    <a:pt x="5" y="0"/>
                  </a:cubicBezTo>
                  <a:cubicBezTo>
                    <a:pt x="3" y="0"/>
                    <a:pt x="2" y="1"/>
                    <a:pt x="0" y="2"/>
                  </a:cubicBezTo>
                  <a:cubicBezTo>
                    <a:pt x="1" y="2"/>
                    <a:pt x="2" y="2"/>
                    <a:pt x="3" y="2"/>
                  </a:cubicBezTo>
                  <a:cubicBezTo>
                    <a:pt x="5" y="2"/>
                    <a:pt x="7" y="2"/>
                    <a:pt x="9" y="2"/>
                  </a:cubicBezTo>
                  <a:cubicBezTo>
                    <a:pt x="8"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 name="Freeform 215">
              <a:extLst>
                <a:ext uri="{FF2B5EF4-FFF2-40B4-BE49-F238E27FC236}">
                  <a16:creationId xmlns:a16="http://schemas.microsoft.com/office/drawing/2014/main" id="{F27D1018-963B-4BE0-92C1-8318C576C46D}"/>
                </a:ext>
              </a:extLst>
            </p:cNvPr>
            <p:cNvSpPr>
              <a:spLocks/>
            </p:cNvSpPr>
            <p:nvPr/>
          </p:nvSpPr>
          <p:spPr bwMode="auto">
            <a:xfrm>
              <a:off x="10845791" y="3794947"/>
              <a:ext cx="30163" cy="19050"/>
            </a:xfrm>
            <a:custGeom>
              <a:avLst/>
              <a:gdLst>
                <a:gd name="T0" fmla="*/ 7 w 8"/>
                <a:gd name="T1" fmla="*/ 0 h 5"/>
                <a:gd name="T2" fmla="*/ 4 w 8"/>
                <a:gd name="T3" fmla="*/ 1 h 5"/>
                <a:gd name="T4" fmla="*/ 1 w 8"/>
                <a:gd name="T5" fmla="*/ 2 h 5"/>
                <a:gd name="T6" fmla="*/ 1 w 8"/>
                <a:gd name="T7" fmla="*/ 2 h 5"/>
                <a:gd name="T8" fmla="*/ 1 w 8"/>
                <a:gd name="T9" fmla="*/ 2 h 5"/>
                <a:gd name="T10" fmla="*/ 1 w 8"/>
                <a:gd name="T11" fmla="*/ 3 h 5"/>
                <a:gd name="T12" fmla="*/ 4 w 8"/>
                <a:gd name="T13" fmla="*/ 5 h 5"/>
                <a:gd name="T14" fmla="*/ 5 w 8"/>
                <a:gd name="T15" fmla="*/ 5 h 5"/>
                <a:gd name="T16" fmla="*/ 6 w 8"/>
                <a:gd name="T17" fmla="*/ 5 h 5"/>
                <a:gd name="T18" fmla="*/ 7 w 8"/>
                <a:gd name="T19" fmla="*/ 4 h 5"/>
                <a:gd name="T20" fmla="*/ 8 w 8"/>
                <a:gd name="T21" fmla="*/ 2 h 5"/>
                <a:gd name="T22" fmla="*/ 7 w 8"/>
                <a:gd name="T23" fmla="*/ 1 h 5"/>
                <a:gd name="T24" fmla="*/ 7 w 8"/>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5">
                  <a:moveTo>
                    <a:pt x="7" y="0"/>
                  </a:moveTo>
                  <a:cubicBezTo>
                    <a:pt x="7" y="0"/>
                    <a:pt x="5" y="1"/>
                    <a:pt x="4" y="1"/>
                  </a:cubicBezTo>
                  <a:cubicBezTo>
                    <a:pt x="3" y="1"/>
                    <a:pt x="2" y="1"/>
                    <a:pt x="1" y="2"/>
                  </a:cubicBezTo>
                  <a:cubicBezTo>
                    <a:pt x="1" y="2"/>
                    <a:pt x="1" y="2"/>
                    <a:pt x="1" y="2"/>
                  </a:cubicBezTo>
                  <a:cubicBezTo>
                    <a:pt x="1" y="2"/>
                    <a:pt x="1" y="2"/>
                    <a:pt x="1" y="2"/>
                  </a:cubicBezTo>
                  <a:cubicBezTo>
                    <a:pt x="0" y="2"/>
                    <a:pt x="1" y="3"/>
                    <a:pt x="1" y="3"/>
                  </a:cubicBezTo>
                  <a:cubicBezTo>
                    <a:pt x="2" y="5"/>
                    <a:pt x="3" y="5"/>
                    <a:pt x="4" y="5"/>
                  </a:cubicBezTo>
                  <a:cubicBezTo>
                    <a:pt x="4" y="5"/>
                    <a:pt x="5" y="5"/>
                    <a:pt x="5" y="5"/>
                  </a:cubicBezTo>
                  <a:cubicBezTo>
                    <a:pt x="5" y="5"/>
                    <a:pt x="5" y="5"/>
                    <a:pt x="6" y="5"/>
                  </a:cubicBezTo>
                  <a:cubicBezTo>
                    <a:pt x="6" y="5"/>
                    <a:pt x="7" y="5"/>
                    <a:pt x="7" y="4"/>
                  </a:cubicBezTo>
                  <a:cubicBezTo>
                    <a:pt x="8" y="4"/>
                    <a:pt x="8" y="3"/>
                    <a:pt x="8" y="2"/>
                  </a:cubicBezTo>
                  <a:cubicBezTo>
                    <a:pt x="8" y="2"/>
                    <a:pt x="8" y="1"/>
                    <a:pt x="7" y="1"/>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 name="Freeform 216">
              <a:extLst>
                <a:ext uri="{FF2B5EF4-FFF2-40B4-BE49-F238E27FC236}">
                  <a16:creationId xmlns:a16="http://schemas.microsoft.com/office/drawing/2014/main" id="{786F0706-5E2E-4326-84CD-C89E17BCA77F}"/>
                </a:ext>
              </a:extLst>
            </p:cNvPr>
            <p:cNvSpPr>
              <a:spLocks/>
            </p:cNvSpPr>
            <p:nvPr/>
          </p:nvSpPr>
          <p:spPr bwMode="auto">
            <a:xfrm>
              <a:off x="8270866" y="7600185"/>
              <a:ext cx="0" cy="6350"/>
            </a:xfrm>
            <a:custGeom>
              <a:avLst/>
              <a:gdLst>
                <a:gd name="T0" fmla="*/ 0 h 2"/>
                <a:gd name="T1" fmla="*/ 2 h 2"/>
                <a:gd name="T2" fmla="*/ 2 h 2"/>
                <a:gd name="T3" fmla="*/ 2 h 2"/>
                <a:gd name="T4" fmla="*/ 2 h 2"/>
                <a:gd name="T5" fmla="*/ 1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cubicBezTo>
                    <a:pt x="0" y="1"/>
                    <a:pt x="0" y="1"/>
                    <a:pt x="0" y="2"/>
                  </a:cubicBezTo>
                  <a:cubicBezTo>
                    <a:pt x="0" y="2"/>
                    <a:pt x="0" y="2"/>
                    <a:pt x="0" y="2"/>
                  </a:cubicBezTo>
                  <a:cubicBezTo>
                    <a:pt x="0" y="2"/>
                    <a:pt x="0" y="2"/>
                    <a:pt x="0" y="2"/>
                  </a:cubicBezTo>
                  <a:cubicBezTo>
                    <a:pt x="0" y="2"/>
                    <a:pt x="0" y="2"/>
                    <a:pt x="0" y="2"/>
                  </a:cubicBezTo>
                  <a:cubicBezTo>
                    <a:pt x="0" y="1"/>
                    <a:pt x="0" y="1"/>
                    <a:pt x="0" y="1"/>
                  </a:cubicBezTo>
                  <a:cubicBezTo>
                    <a:pt x="0"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 name="Freeform 217">
              <a:extLst>
                <a:ext uri="{FF2B5EF4-FFF2-40B4-BE49-F238E27FC236}">
                  <a16:creationId xmlns:a16="http://schemas.microsoft.com/office/drawing/2014/main" id="{BC1EFBA3-31EB-4FD0-9940-0A3E6A68AA13}"/>
                </a:ext>
              </a:extLst>
            </p:cNvPr>
            <p:cNvSpPr>
              <a:spLocks/>
            </p:cNvSpPr>
            <p:nvPr/>
          </p:nvSpPr>
          <p:spPr bwMode="auto">
            <a:xfrm>
              <a:off x="8259754" y="7595422"/>
              <a:ext cx="11113" cy="19050"/>
            </a:xfrm>
            <a:custGeom>
              <a:avLst/>
              <a:gdLst>
                <a:gd name="T0" fmla="*/ 1 w 3"/>
                <a:gd name="T1" fmla="*/ 0 h 5"/>
                <a:gd name="T2" fmla="*/ 1 w 3"/>
                <a:gd name="T3" fmla="*/ 1 h 5"/>
                <a:gd name="T4" fmla="*/ 1 w 3"/>
                <a:gd name="T5" fmla="*/ 2 h 5"/>
                <a:gd name="T6" fmla="*/ 0 w 3"/>
                <a:gd name="T7" fmla="*/ 5 h 5"/>
                <a:gd name="T8" fmla="*/ 3 w 3"/>
                <a:gd name="T9" fmla="*/ 0 h 5"/>
                <a:gd name="T10" fmla="*/ 2 w 3"/>
                <a:gd name="T11" fmla="*/ 0 h 5"/>
                <a:gd name="T12" fmla="*/ 1 w 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1" y="0"/>
                  </a:moveTo>
                  <a:cubicBezTo>
                    <a:pt x="1" y="1"/>
                    <a:pt x="1" y="1"/>
                    <a:pt x="1" y="1"/>
                  </a:cubicBezTo>
                  <a:cubicBezTo>
                    <a:pt x="1" y="1"/>
                    <a:pt x="1" y="1"/>
                    <a:pt x="1" y="2"/>
                  </a:cubicBezTo>
                  <a:cubicBezTo>
                    <a:pt x="1" y="3"/>
                    <a:pt x="0" y="4"/>
                    <a:pt x="0" y="5"/>
                  </a:cubicBezTo>
                  <a:cubicBezTo>
                    <a:pt x="1" y="3"/>
                    <a:pt x="2" y="2"/>
                    <a:pt x="3" y="0"/>
                  </a:cubicBezTo>
                  <a:cubicBezTo>
                    <a:pt x="3" y="0"/>
                    <a:pt x="2" y="0"/>
                    <a:pt x="2"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 name="Freeform 218">
              <a:extLst>
                <a:ext uri="{FF2B5EF4-FFF2-40B4-BE49-F238E27FC236}">
                  <a16:creationId xmlns:a16="http://schemas.microsoft.com/office/drawing/2014/main" id="{F4D57878-509A-46C3-AD1B-B1EB674DC89D}"/>
                </a:ext>
              </a:extLst>
            </p:cNvPr>
            <p:cNvSpPr>
              <a:spLocks/>
            </p:cNvSpPr>
            <p:nvPr/>
          </p:nvSpPr>
          <p:spPr bwMode="auto">
            <a:xfrm>
              <a:off x="5203816" y="599309"/>
              <a:ext cx="401638" cy="123825"/>
            </a:xfrm>
            <a:custGeom>
              <a:avLst/>
              <a:gdLst>
                <a:gd name="T0" fmla="*/ 96 w 107"/>
                <a:gd name="T1" fmla="*/ 0 h 33"/>
                <a:gd name="T2" fmla="*/ 37 w 107"/>
                <a:gd name="T3" fmla="*/ 0 h 33"/>
                <a:gd name="T4" fmla="*/ 36 w 107"/>
                <a:gd name="T5" fmla="*/ 2 h 33"/>
                <a:gd name="T6" fmla="*/ 30 w 107"/>
                <a:gd name="T7" fmla="*/ 4 h 33"/>
                <a:gd name="T8" fmla="*/ 25 w 107"/>
                <a:gd name="T9" fmla="*/ 4 h 33"/>
                <a:gd name="T10" fmla="*/ 24 w 107"/>
                <a:gd name="T11" fmla="*/ 4 h 33"/>
                <a:gd name="T12" fmla="*/ 21 w 107"/>
                <a:gd name="T13" fmla="*/ 5 h 33"/>
                <a:gd name="T14" fmla="*/ 9 w 107"/>
                <a:gd name="T15" fmla="*/ 9 h 33"/>
                <a:gd name="T16" fmla="*/ 8 w 107"/>
                <a:gd name="T17" fmla="*/ 12 h 33"/>
                <a:gd name="T18" fmla="*/ 5 w 107"/>
                <a:gd name="T19" fmla="*/ 13 h 33"/>
                <a:gd name="T20" fmla="*/ 3 w 107"/>
                <a:gd name="T21" fmla="*/ 16 h 33"/>
                <a:gd name="T22" fmla="*/ 0 w 107"/>
                <a:gd name="T23" fmla="*/ 20 h 33"/>
                <a:gd name="T24" fmla="*/ 9 w 107"/>
                <a:gd name="T25" fmla="*/ 17 h 33"/>
                <a:gd name="T26" fmla="*/ 13 w 107"/>
                <a:gd name="T27" fmla="*/ 18 h 33"/>
                <a:gd name="T28" fmla="*/ 12 w 107"/>
                <a:gd name="T29" fmla="*/ 27 h 33"/>
                <a:gd name="T30" fmla="*/ 15 w 107"/>
                <a:gd name="T31" fmla="*/ 28 h 33"/>
                <a:gd name="T32" fmla="*/ 16 w 107"/>
                <a:gd name="T33" fmla="*/ 28 h 33"/>
                <a:gd name="T34" fmla="*/ 17 w 107"/>
                <a:gd name="T35" fmla="*/ 28 h 33"/>
                <a:gd name="T36" fmla="*/ 18 w 107"/>
                <a:gd name="T37" fmla="*/ 28 h 33"/>
                <a:gd name="T38" fmla="*/ 31 w 107"/>
                <a:gd name="T39" fmla="*/ 29 h 33"/>
                <a:gd name="T40" fmla="*/ 39 w 107"/>
                <a:gd name="T41" fmla="*/ 29 h 33"/>
                <a:gd name="T42" fmla="*/ 47 w 107"/>
                <a:gd name="T43" fmla="*/ 27 h 33"/>
                <a:gd name="T44" fmla="*/ 47 w 107"/>
                <a:gd name="T45" fmla="*/ 22 h 33"/>
                <a:gd name="T46" fmla="*/ 49 w 107"/>
                <a:gd name="T47" fmla="*/ 17 h 33"/>
                <a:gd name="T48" fmla="*/ 51 w 107"/>
                <a:gd name="T49" fmla="*/ 16 h 33"/>
                <a:gd name="T50" fmla="*/ 53 w 107"/>
                <a:gd name="T51" fmla="*/ 17 h 33"/>
                <a:gd name="T52" fmla="*/ 54 w 107"/>
                <a:gd name="T53" fmla="*/ 18 h 33"/>
                <a:gd name="T54" fmla="*/ 55 w 107"/>
                <a:gd name="T55" fmla="*/ 20 h 33"/>
                <a:gd name="T56" fmla="*/ 54 w 107"/>
                <a:gd name="T57" fmla="*/ 21 h 33"/>
                <a:gd name="T58" fmla="*/ 55 w 107"/>
                <a:gd name="T59" fmla="*/ 23 h 33"/>
                <a:gd name="T60" fmla="*/ 59 w 107"/>
                <a:gd name="T61" fmla="*/ 24 h 33"/>
                <a:gd name="T62" fmla="*/ 61 w 107"/>
                <a:gd name="T63" fmla="*/ 26 h 33"/>
                <a:gd name="T64" fmla="*/ 60 w 107"/>
                <a:gd name="T65" fmla="*/ 29 h 33"/>
                <a:gd name="T66" fmla="*/ 63 w 107"/>
                <a:gd name="T67" fmla="*/ 33 h 33"/>
                <a:gd name="T68" fmla="*/ 65 w 107"/>
                <a:gd name="T69" fmla="*/ 32 h 33"/>
                <a:gd name="T70" fmla="*/ 83 w 107"/>
                <a:gd name="T71" fmla="*/ 25 h 33"/>
                <a:gd name="T72" fmla="*/ 81 w 107"/>
                <a:gd name="T73" fmla="*/ 22 h 33"/>
                <a:gd name="T74" fmla="*/ 80 w 107"/>
                <a:gd name="T75" fmla="*/ 19 h 33"/>
                <a:gd name="T76" fmla="*/ 80 w 107"/>
                <a:gd name="T77" fmla="*/ 15 h 33"/>
                <a:gd name="T78" fmla="*/ 78 w 107"/>
                <a:gd name="T79" fmla="*/ 10 h 33"/>
                <a:gd name="T80" fmla="*/ 82 w 107"/>
                <a:gd name="T81" fmla="*/ 7 h 33"/>
                <a:gd name="T82" fmla="*/ 82 w 107"/>
                <a:gd name="T83" fmla="*/ 7 h 33"/>
                <a:gd name="T84" fmla="*/ 83 w 107"/>
                <a:gd name="T85" fmla="*/ 11 h 33"/>
                <a:gd name="T86" fmla="*/ 87 w 107"/>
                <a:gd name="T87" fmla="*/ 16 h 33"/>
                <a:gd name="T88" fmla="*/ 90 w 107"/>
                <a:gd name="T89" fmla="*/ 17 h 33"/>
                <a:gd name="T90" fmla="*/ 102 w 107"/>
                <a:gd name="T91" fmla="*/ 4 h 33"/>
                <a:gd name="T92" fmla="*/ 96 w 107"/>
                <a:gd name="T93"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7" h="33">
                  <a:moveTo>
                    <a:pt x="96" y="0"/>
                  </a:moveTo>
                  <a:cubicBezTo>
                    <a:pt x="37" y="0"/>
                    <a:pt x="37" y="0"/>
                    <a:pt x="37" y="0"/>
                  </a:cubicBezTo>
                  <a:cubicBezTo>
                    <a:pt x="37" y="1"/>
                    <a:pt x="37" y="1"/>
                    <a:pt x="36" y="2"/>
                  </a:cubicBezTo>
                  <a:cubicBezTo>
                    <a:pt x="34" y="4"/>
                    <a:pt x="33" y="4"/>
                    <a:pt x="30" y="4"/>
                  </a:cubicBezTo>
                  <a:cubicBezTo>
                    <a:pt x="28" y="4"/>
                    <a:pt x="27" y="4"/>
                    <a:pt x="25" y="4"/>
                  </a:cubicBezTo>
                  <a:cubicBezTo>
                    <a:pt x="24" y="4"/>
                    <a:pt x="24" y="4"/>
                    <a:pt x="24" y="4"/>
                  </a:cubicBezTo>
                  <a:cubicBezTo>
                    <a:pt x="23" y="4"/>
                    <a:pt x="22" y="4"/>
                    <a:pt x="21" y="5"/>
                  </a:cubicBezTo>
                  <a:cubicBezTo>
                    <a:pt x="17" y="5"/>
                    <a:pt x="11" y="5"/>
                    <a:pt x="9" y="9"/>
                  </a:cubicBezTo>
                  <a:cubicBezTo>
                    <a:pt x="9" y="11"/>
                    <a:pt x="10" y="11"/>
                    <a:pt x="8" y="12"/>
                  </a:cubicBezTo>
                  <a:cubicBezTo>
                    <a:pt x="7" y="14"/>
                    <a:pt x="7" y="13"/>
                    <a:pt x="5" y="13"/>
                  </a:cubicBezTo>
                  <a:cubicBezTo>
                    <a:pt x="3" y="16"/>
                    <a:pt x="3" y="16"/>
                    <a:pt x="3" y="16"/>
                  </a:cubicBezTo>
                  <a:cubicBezTo>
                    <a:pt x="2" y="17"/>
                    <a:pt x="1" y="19"/>
                    <a:pt x="0" y="20"/>
                  </a:cubicBezTo>
                  <a:cubicBezTo>
                    <a:pt x="3" y="19"/>
                    <a:pt x="6" y="17"/>
                    <a:pt x="9" y="17"/>
                  </a:cubicBezTo>
                  <a:cubicBezTo>
                    <a:pt x="11" y="17"/>
                    <a:pt x="12" y="17"/>
                    <a:pt x="13" y="18"/>
                  </a:cubicBezTo>
                  <a:cubicBezTo>
                    <a:pt x="14" y="21"/>
                    <a:pt x="9" y="24"/>
                    <a:pt x="12" y="27"/>
                  </a:cubicBezTo>
                  <a:cubicBezTo>
                    <a:pt x="12" y="28"/>
                    <a:pt x="13" y="28"/>
                    <a:pt x="15" y="28"/>
                  </a:cubicBezTo>
                  <a:cubicBezTo>
                    <a:pt x="15" y="28"/>
                    <a:pt x="16" y="28"/>
                    <a:pt x="16" y="28"/>
                  </a:cubicBezTo>
                  <a:cubicBezTo>
                    <a:pt x="17" y="28"/>
                    <a:pt x="17" y="28"/>
                    <a:pt x="17" y="28"/>
                  </a:cubicBezTo>
                  <a:cubicBezTo>
                    <a:pt x="17" y="28"/>
                    <a:pt x="17" y="28"/>
                    <a:pt x="18" y="28"/>
                  </a:cubicBezTo>
                  <a:cubicBezTo>
                    <a:pt x="22" y="28"/>
                    <a:pt x="27" y="28"/>
                    <a:pt x="31" y="29"/>
                  </a:cubicBezTo>
                  <a:cubicBezTo>
                    <a:pt x="33" y="29"/>
                    <a:pt x="36" y="29"/>
                    <a:pt x="39" y="29"/>
                  </a:cubicBezTo>
                  <a:cubicBezTo>
                    <a:pt x="42" y="29"/>
                    <a:pt x="45" y="29"/>
                    <a:pt x="47" y="27"/>
                  </a:cubicBezTo>
                  <a:cubicBezTo>
                    <a:pt x="50" y="26"/>
                    <a:pt x="47" y="25"/>
                    <a:pt x="47" y="22"/>
                  </a:cubicBezTo>
                  <a:cubicBezTo>
                    <a:pt x="47" y="20"/>
                    <a:pt x="48" y="19"/>
                    <a:pt x="49" y="17"/>
                  </a:cubicBezTo>
                  <a:cubicBezTo>
                    <a:pt x="50" y="16"/>
                    <a:pt x="50" y="16"/>
                    <a:pt x="51" y="16"/>
                  </a:cubicBezTo>
                  <a:cubicBezTo>
                    <a:pt x="51" y="16"/>
                    <a:pt x="52" y="16"/>
                    <a:pt x="53" y="17"/>
                  </a:cubicBezTo>
                  <a:cubicBezTo>
                    <a:pt x="56" y="18"/>
                    <a:pt x="54" y="18"/>
                    <a:pt x="54" y="18"/>
                  </a:cubicBezTo>
                  <a:cubicBezTo>
                    <a:pt x="55" y="20"/>
                    <a:pt x="55" y="20"/>
                    <a:pt x="55" y="20"/>
                  </a:cubicBezTo>
                  <a:cubicBezTo>
                    <a:pt x="54" y="21"/>
                    <a:pt x="54" y="21"/>
                    <a:pt x="54" y="21"/>
                  </a:cubicBezTo>
                  <a:cubicBezTo>
                    <a:pt x="55" y="22"/>
                    <a:pt x="53" y="21"/>
                    <a:pt x="55" y="23"/>
                  </a:cubicBezTo>
                  <a:cubicBezTo>
                    <a:pt x="56" y="23"/>
                    <a:pt x="58" y="23"/>
                    <a:pt x="59" y="24"/>
                  </a:cubicBezTo>
                  <a:cubicBezTo>
                    <a:pt x="60" y="24"/>
                    <a:pt x="61" y="25"/>
                    <a:pt x="61" y="26"/>
                  </a:cubicBezTo>
                  <a:cubicBezTo>
                    <a:pt x="61" y="27"/>
                    <a:pt x="60" y="28"/>
                    <a:pt x="60" y="29"/>
                  </a:cubicBezTo>
                  <a:cubicBezTo>
                    <a:pt x="62" y="32"/>
                    <a:pt x="62" y="33"/>
                    <a:pt x="63" y="33"/>
                  </a:cubicBezTo>
                  <a:cubicBezTo>
                    <a:pt x="63" y="33"/>
                    <a:pt x="64" y="33"/>
                    <a:pt x="65" y="32"/>
                  </a:cubicBezTo>
                  <a:cubicBezTo>
                    <a:pt x="68" y="31"/>
                    <a:pt x="82" y="28"/>
                    <a:pt x="83" y="25"/>
                  </a:cubicBezTo>
                  <a:cubicBezTo>
                    <a:pt x="83" y="23"/>
                    <a:pt x="82" y="23"/>
                    <a:pt x="81" y="22"/>
                  </a:cubicBezTo>
                  <a:cubicBezTo>
                    <a:pt x="81" y="21"/>
                    <a:pt x="80" y="21"/>
                    <a:pt x="80" y="19"/>
                  </a:cubicBezTo>
                  <a:cubicBezTo>
                    <a:pt x="80" y="17"/>
                    <a:pt x="80" y="16"/>
                    <a:pt x="80" y="15"/>
                  </a:cubicBezTo>
                  <a:cubicBezTo>
                    <a:pt x="79" y="13"/>
                    <a:pt x="77" y="12"/>
                    <a:pt x="78" y="10"/>
                  </a:cubicBezTo>
                  <a:cubicBezTo>
                    <a:pt x="78" y="9"/>
                    <a:pt x="80" y="7"/>
                    <a:pt x="82" y="7"/>
                  </a:cubicBezTo>
                  <a:cubicBezTo>
                    <a:pt x="82" y="7"/>
                    <a:pt x="82" y="7"/>
                    <a:pt x="82" y="7"/>
                  </a:cubicBezTo>
                  <a:cubicBezTo>
                    <a:pt x="83" y="8"/>
                    <a:pt x="82" y="10"/>
                    <a:pt x="83" y="11"/>
                  </a:cubicBezTo>
                  <a:cubicBezTo>
                    <a:pt x="83" y="12"/>
                    <a:pt x="85" y="15"/>
                    <a:pt x="87" y="16"/>
                  </a:cubicBezTo>
                  <a:cubicBezTo>
                    <a:pt x="88" y="17"/>
                    <a:pt x="89" y="17"/>
                    <a:pt x="90" y="17"/>
                  </a:cubicBezTo>
                  <a:cubicBezTo>
                    <a:pt x="97" y="17"/>
                    <a:pt x="107" y="9"/>
                    <a:pt x="102" y="4"/>
                  </a:cubicBezTo>
                  <a:cubicBezTo>
                    <a:pt x="101" y="3"/>
                    <a:pt x="96" y="2"/>
                    <a:pt x="9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 name="Freeform 219">
              <a:extLst>
                <a:ext uri="{FF2B5EF4-FFF2-40B4-BE49-F238E27FC236}">
                  <a16:creationId xmlns:a16="http://schemas.microsoft.com/office/drawing/2014/main" id="{F436D0D8-3FFB-4349-936C-4B2E3A116511}"/>
                </a:ext>
              </a:extLst>
            </p:cNvPr>
            <p:cNvSpPr>
              <a:spLocks noEditPoints="1"/>
            </p:cNvSpPr>
            <p:nvPr/>
          </p:nvSpPr>
          <p:spPr bwMode="auto">
            <a:xfrm>
              <a:off x="5640379" y="599309"/>
              <a:ext cx="1103313" cy="371475"/>
            </a:xfrm>
            <a:custGeom>
              <a:avLst/>
              <a:gdLst>
                <a:gd name="T0" fmla="*/ 221 w 294"/>
                <a:gd name="T1" fmla="*/ 0 h 99"/>
                <a:gd name="T2" fmla="*/ 178 w 294"/>
                <a:gd name="T3" fmla="*/ 10 h 99"/>
                <a:gd name="T4" fmla="*/ 203 w 294"/>
                <a:gd name="T5" fmla="*/ 23 h 99"/>
                <a:gd name="T6" fmla="*/ 210 w 294"/>
                <a:gd name="T7" fmla="*/ 38 h 99"/>
                <a:gd name="T8" fmla="*/ 199 w 294"/>
                <a:gd name="T9" fmla="*/ 47 h 99"/>
                <a:gd name="T10" fmla="*/ 158 w 294"/>
                <a:gd name="T11" fmla="*/ 47 h 99"/>
                <a:gd name="T12" fmla="*/ 145 w 294"/>
                <a:gd name="T13" fmla="*/ 33 h 99"/>
                <a:gd name="T14" fmla="*/ 144 w 294"/>
                <a:gd name="T15" fmla="*/ 30 h 99"/>
                <a:gd name="T16" fmla="*/ 114 w 294"/>
                <a:gd name="T17" fmla="*/ 12 h 99"/>
                <a:gd name="T18" fmla="*/ 109 w 294"/>
                <a:gd name="T19" fmla="*/ 12 h 99"/>
                <a:gd name="T20" fmla="*/ 93 w 294"/>
                <a:gd name="T21" fmla="*/ 11 h 99"/>
                <a:gd name="T22" fmla="*/ 100 w 294"/>
                <a:gd name="T23" fmla="*/ 3 h 99"/>
                <a:gd name="T24" fmla="*/ 47 w 294"/>
                <a:gd name="T25" fmla="*/ 1 h 99"/>
                <a:gd name="T26" fmla="*/ 1 w 294"/>
                <a:gd name="T27" fmla="*/ 2 h 99"/>
                <a:gd name="T28" fmla="*/ 9 w 294"/>
                <a:gd name="T29" fmla="*/ 9 h 99"/>
                <a:gd name="T30" fmla="*/ 25 w 294"/>
                <a:gd name="T31" fmla="*/ 8 h 99"/>
                <a:gd name="T32" fmla="*/ 36 w 294"/>
                <a:gd name="T33" fmla="*/ 9 h 99"/>
                <a:gd name="T34" fmla="*/ 60 w 294"/>
                <a:gd name="T35" fmla="*/ 15 h 99"/>
                <a:gd name="T36" fmla="*/ 63 w 294"/>
                <a:gd name="T37" fmla="*/ 16 h 99"/>
                <a:gd name="T38" fmla="*/ 52 w 294"/>
                <a:gd name="T39" fmla="*/ 16 h 99"/>
                <a:gd name="T40" fmla="*/ 33 w 294"/>
                <a:gd name="T41" fmla="*/ 24 h 99"/>
                <a:gd name="T42" fmla="*/ 49 w 294"/>
                <a:gd name="T43" fmla="*/ 30 h 99"/>
                <a:gd name="T44" fmla="*/ 60 w 294"/>
                <a:gd name="T45" fmla="*/ 32 h 99"/>
                <a:gd name="T46" fmla="*/ 27 w 294"/>
                <a:gd name="T47" fmla="*/ 45 h 99"/>
                <a:gd name="T48" fmla="*/ 34 w 294"/>
                <a:gd name="T49" fmla="*/ 45 h 99"/>
                <a:gd name="T50" fmla="*/ 64 w 294"/>
                <a:gd name="T51" fmla="*/ 42 h 99"/>
                <a:gd name="T52" fmla="*/ 10 w 294"/>
                <a:gd name="T53" fmla="*/ 56 h 99"/>
                <a:gd name="T54" fmla="*/ 29 w 294"/>
                <a:gd name="T55" fmla="*/ 66 h 99"/>
                <a:gd name="T56" fmla="*/ 42 w 294"/>
                <a:gd name="T57" fmla="*/ 64 h 99"/>
                <a:gd name="T58" fmla="*/ 49 w 294"/>
                <a:gd name="T59" fmla="*/ 71 h 99"/>
                <a:gd name="T60" fmla="*/ 59 w 294"/>
                <a:gd name="T61" fmla="*/ 66 h 99"/>
                <a:gd name="T62" fmla="*/ 65 w 294"/>
                <a:gd name="T63" fmla="*/ 68 h 99"/>
                <a:gd name="T64" fmla="*/ 83 w 294"/>
                <a:gd name="T65" fmla="*/ 68 h 99"/>
                <a:gd name="T66" fmla="*/ 91 w 294"/>
                <a:gd name="T67" fmla="*/ 58 h 99"/>
                <a:gd name="T68" fmla="*/ 97 w 294"/>
                <a:gd name="T69" fmla="*/ 54 h 99"/>
                <a:gd name="T70" fmla="*/ 95 w 294"/>
                <a:gd name="T71" fmla="*/ 63 h 99"/>
                <a:gd name="T72" fmla="*/ 99 w 294"/>
                <a:gd name="T73" fmla="*/ 69 h 99"/>
                <a:gd name="T74" fmla="*/ 126 w 294"/>
                <a:gd name="T75" fmla="*/ 59 h 99"/>
                <a:gd name="T76" fmla="*/ 131 w 294"/>
                <a:gd name="T77" fmla="*/ 61 h 99"/>
                <a:gd name="T78" fmla="*/ 133 w 294"/>
                <a:gd name="T79" fmla="*/ 66 h 99"/>
                <a:gd name="T80" fmla="*/ 137 w 294"/>
                <a:gd name="T81" fmla="*/ 65 h 99"/>
                <a:gd name="T82" fmla="*/ 146 w 294"/>
                <a:gd name="T83" fmla="*/ 63 h 99"/>
                <a:gd name="T84" fmla="*/ 154 w 294"/>
                <a:gd name="T85" fmla="*/ 62 h 99"/>
                <a:gd name="T86" fmla="*/ 142 w 294"/>
                <a:gd name="T87" fmla="*/ 72 h 99"/>
                <a:gd name="T88" fmla="*/ 88 w 294"/>
                <a:gd name="T89" fmla="*/ 84 h 99"/>
                <a:gd name="T90" fmla="*/ 125 w 294"/>
                <a:gd name="T91" fmla="*/ 97 h 99"/>
                <a:gd name="T92" fmla="*/ 218 w 294"/>
                <a:gd name="T93" fmla="*/ 70 h 99"/>
                <a:gd name="T94" fmla="*/ 239 w 294"/>
                <a:gd name="T95" fmla="*/ 68 h 99"/>
                <a:gd name="T96" fmla="*/ 255 w 294"/>
                <a:gd name="T97" fmla="*/ 69 h 99"/>
                <a:gd name="T98" fmla="*/ 283 w 294"/>
                <a:gd name="T99" fmla="*/ 63 h 99"/>
                <a:gd name="T100" fmla="*/ 286 w 294"/>
                <a:gd name="T101" fmla="*/ 53 h 99"/>
                <a:gd name="T102" fmla="*/ 288 w 294"/>
                <a:gd name="T103" fmla="*/ 27 h 99"/>
                <a:gd name="T104" fmla="*/ 259 w 294"/>
                <a:gd name="T105" fmla="*/ 29 h 99"/>
                <a:gd name="T106" fmla="*/ 257 w 294"/>
                <a:gd name="T107" fmla="*/ 38 h 99"/>
                <a:gd name="T108" fmla="*/ 250 w 294"/>
                <a:gd name="T109" fmla="*/ 29 h 99"/>
                <a:gd name="T110" fmla="*/ 240 w 294"/>
                <a:gd name="T111" fmla="*/ 23 h 99"/>
                <a:gd name="T112" fmla="*/ 230 w 294"/>
                <a:gd name="T113" fmla="*/ 22 h 99"/>
                <a:gd name="T114" fmla="*/ 222 w 294"/>
                <a:gd name="T115" fmla="*/ 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4" h="99">
                  <a:moveTo>
                    <a:pt x="234" y="74"/>
                  </a:moveTo>
                  <a:cubicBezTo>
                    <a:pt x="234" y="74"/>
                    <a:pt x="234" y="74"/>
                    <a:pt x="234" y="74"/>
                  </a:cubicBezTo>
                  <a:cubicBezTo>
                    <a:pt x="234" y="74"/>
                    <a:pt x="234" y="74"/>
                    <a:pt x="234" y="74"/>
                  </a:cubicBezTo>
                  <a:moveTo>
                    <a:pt x="221" y="0"/>
                  </a:moveTo>
                  <a:cubicBezTo>
                    <a:pt x="192" y="0"/>
                    <a:pt x="192" y="0"/>
                    <a:pt x="192" y="0"/>
                  </a:cubicBezTo>
                  <a:cubicBezTo>
                    <a:pt x="191" y="1"/>
                    <a:pt x="189" y="1"/>
                    <a:pt x="187" y="1"/>
                  </a:cubicBezTo>
                  <a:cubicBezTo>
                    <a:pt x="187" y="1"/>
                    <a:pt x="187" y="1"/>
                    <a:pt x="186" y="1"/>
                  </a:cubicBezTo>
                  <a:cubicBezTo>
                    <a:pt x="184" y="3"/>
                    <a:pt x="177" y="5"/>
                    <a:pt x="178" y="10"/>
                  </a:cubicBezTo>
                  <a:cubicBezTo>
                    <a:pt x="178" y="11"/>
                    <a:pt x="181" y="11"/>
                    <a:pt x="182" y="11"/>
                  </a:cubicBezTo>
                  <a:cubicBezTo>
                    <a:pt x="185" y="12"/>
                    <a:pt x="187" y="14"/>
                    <a:pt x="190" y="15"/>
                  </a:cubicBezTo>
                  <a:cubicBezTo>
                    <a:pt x="194" y="18"/>
                    <a:pt x="199" y="20"/>
                    <a:pt x="203" y="23"/>
                  </a:cubicBezTo>
                  <a:cubicBezTo>
                    <a:pt x="203" y="23"/>
                    <a:pt x="203" y="23"/>
                    <a:pt x="203" y="23"/>
                  </a:cubicBezTo>
                  <a:cubicBezTo>
                    <a:pt x="201" y="23"/>
                    <a:pt x="197" y="25"/>
                    <a:pt x="196" y="26"/>
                  </a:cubicBezTo>
                  <a:cubicBezTo>
                    <a:pt x="193" y="27"/>
                    <a:pt x="190" y="28"/>
                    <a:pt x="187" y="29"/>
                  </a:cubicBezTo>
                  <a:cubicBezTo>
                    <a:pt x="184" y="30"/>
                    <a:pt x="193" y="33"/>
                    <a:pt x="194" y="33"/>
                  </a:cubicBezTo>
                  <a:cubicBezTo>
                    <a:pt x="199" y="35"/>
                    <a:pt x="205" y="36"/>
                    <a:pt x="210" y="38"/>
                  </a:cubicBezTo>
                  <a:cubicBezTo>
                    <a:pt x="214" y="39"/>
                    <a:pt x="214" y="40"/>
                    <a:pt x="213" y="44"/>
                  </a:cubicBezTo>
                  <a:cubicBezTo>
                    <a:pt x="213" y="45"/>
                    <a:pt x="212" y="49"/>
                    <a:pt x="211" y="49"/>
                  </a:cubicBezTo>
                  <a:cubicBezTo>
                    <a:pt x="211" y="49"/>
                    <a:pt x="211" y="49"/>
                    <a:pt x="211" y="49"/>
                  </a:cubicBezTo>
                  <a:cubicBezTo>
                    <a:pt x="207" y="49"/>
                    <a:pt x="203" y="48"/>
                    <a:pt x="199" y="47"/>
                  </a:cubicBezTo>
                  <a:cubicBezTo>
                    <a:pt x="194" y="47"/>
                    <a:pt x="190" y="46"/>
                    <a:pt x="185" y="46"/>
                  </a:cubicBezTo>
                  <a:cubicBezTo>
                    <a:pt x="184" y="46"/>
                    <a:pt x="184" y="46"/>
                    <a:pt x="183" y="46"/>
                  </a:cubicBezTo>
                  <a:cubicBezTo>
                    <a:pt x="175" y="47"/>
                    <a:pt x="166" y="47"/>
                    <a:pt x="158" y="47"/>
                  </a:cubicBezTo>
                  <a:cubicBezTo>
                    <a:pt x="158" y="47"/>
                    <a:pt x="158" y="47"/>
                    <a:pt x="158" y="47"/>
                  </a:cubicBezTo>
                  <a:cubicBezTo>
                    <a:pt x="155" y="47"/>
                    <a:pt x="155" y="43"/>
                    <a:pt x="154" y="42"/>
                  </a:cubicBezTo>
                  <a:cubicBezTo>
                    <a:pt x="154" y="39"/>
                    <a:pt x="155" y="35"/>
                    <a:pt x="152" y="32"/>
                  </a:cubicBezTo>
                  <a:cubicBezTo>
                    <a:pt x="152" y="32"/>
                    <a:pt x="151" y="32"/>
                    <a:pt x="150" y="32"/>
                  </a:cubicBezTo>
                  <a:cubicBezTo>
                    <a:pt x="148" y="32"/>
                    <a:pt x="146" y="33"/>
                    <a:pt x="145" y="33"/>
                  </a:cubicBezTo>
                  <a:cubicBezTo>
                    <a:pt x="142" y="33"/>
                    <a:pt x="139" y="33"/>
                    <a:pt x="136" y="33"/>
                  </a:cubicBezTo>
                  <a:cubicBezTo>
                    <a:pt x="136" y="33"/>
                    <a:pt x="135" y="33"/>
                    <a:pt x="135" y="33"/>
                  </a:cubicBezTo>
                  <a:cubicBezTo>
                    <a:pt x="137" y="33"/>
                    <a:pt x="136" y="31"/>
                    <a:pt x="138" y="30"/>
                  </a:cubicBezTo>
                  <a:cubicBezTo>
                    <a:pt x="140" y="30"/>
                    <a:pt x="142" y="30"/>
                    <a:pt x="144" y="30"/>
                  </a:cubicBezTo>
                  <a:cubicBezTo>
                    <a:pt x="139" y="27"/>
                    <a:pt x="135" y="24"/>
                    <a:pt x="131" y="21"/>
                  </a:cubicBezTo>
                  <a:cubicBezTo>
                    <a:pt x="127" y="18"/>
                    <a:pt x="123" y="14"/>
                    <a:pt x="119" y="12"/>
                  </a:cubicBezTo>
                  <a:cubicBezTo>
                    <a:pt x="118" y="12"/>
                    <a:pt x="118" y="12"/>
                    <a:pt x="118" y="12"/>
                  </a:cubicBezTo>
                  <a:cubicBezTo>
                    <a:pt x="116" y="12"/>
                    <a:pt x="116" y="12"/>
                    <a:pt x="114" y="12"/>
                  </a:cubicBezTo>
                  <a:cubicBezTo>
                    <a:pt x="114" y="12"/>
                    <a:pt x="114" y="12"/>
                    <a:pt x="114" y="12"/>
                  </a:cubicBezTo>
                  <a:cubicBezTo>
                    <a:pt x="113" y="12"/>
                    <a:pt x="113" y="12"/>
                    <a:pt x="112" y="12"/>
                  </a:cubicBezTo>
                  <a:cubicBezTo>
                    <a:pt x="111" y="12"/>
                    <a:pt x="111" y="12"/>
                    <a:pt x="110" y="12"/>
                  </a:cubicBezTo>
                  <a:cubicBezTo>
                    <a:pt x="110" y="12"/>
                    <a:pt x="109" y="12"/>
                    <a:pt x="109" y="12"/>
                  </a:cubicBezTo>
                  <a:cubicBezTo>
                    <a:pt x="106" y="13"/>
                    <a:pt x="102" y="14"/>
                    <a:pt x="99" y="14"/>
                  </a:cubicBezTo>
                  <a:cubicBezTo>
                    <a:pt x="99" y="14"/>
                    <a:pt x="98" y="14"/>
                    <a:pt x="97" y="14"/>
                  </a:cubicBezTo>
                  <a:cubicBezTo>
                    <a:pt x="95" y="14"/>
                    <a:pt x="92" y="14"/>
                    <a:pt x="93" y="13"/>
                  </a:cubicBezTo>
                  <a:cubicBezTo>
                    <a:pt x="94" y="13"/>
                    <a:pt x="94" y="12"/>
                    <a:pt x="93" y="11"/>
                  </a:cubicBezTo>
                  <a:cubicBezTo>
                    <a:pt x="92" y="11"/>
                    <a:pt x="91" y="11"/>
                    <a:pt x="91" y="10"/>
                  </a:cubicBezTo>
                  <a:cubicBezTo>
                    <a:pt x="94" y="10"/>
                    <a:pt x="96" y="9"/>
                    <a:pt x="99" y="9"/>
                  </a:cubicBezTo>
                  <a:cubicBezTo>
                    <a:pt x="102" y="8"/>
                    <a:pt x="104" y="3"/>
                    <a:pt x="101" y="3"/>
                  </a:cubicBezTo>
                  <a:cubicBezTo>
                    <a:pt x="101" y="3"/>
                    <a:pt x="100" y="3"/>
                    <a:pt x="100" y="3"/>
                  </a:cubicBezTo>
                  <a:cubicBezTo>
                    <a:pt x="102" y="2"/>
                    <a:pt x="100" y="2"/>
                    <a:pt x="101" y="1"/>
                  </a:cubicBezTo>
                  <a:cubicBezTo>
                    <a:pt x="101" y="1"/>
                    <a:pt x="101" y="0"/>
                    <a:pt x="102" y="0"/>
                  </a:cubicBezTo>
                  <a:cubicBezTo>
                    <a:pt x="49" y="0"/>
                    <a:pt x="49" y="0"/>
                    <a:pt x="49" y="0"/>
                  </a:cubicBezTo>
                  <a:cubicBezTo>
                    <a:pt x="48" y="0"/>
                    <a:pt x="48" y="1"/>
                    <a:pt x="47" y="1"/>
                  </a:cubicBezTo>
                  <a:cubicBezTo>
                    <a:pt x="46" y="1"/>
                    <a:pt x="45" y="0"/>
                    <a:pt x="44" y="0"/>
                  </a:cubicBezTo>
                  <a:cubicBezTo>
                    <a:pt x="1" y="0"/>
                    <a:pt x="1" y="0"/>
                    <a:pt x="1" y="0"/>
                  </a:cubicBezTo>
                  <a:cubicBezTo>
                    <a:pt x="1" y="0"/>
                    <a:pt x="1" y="0"/>
                    <a:pt x="1" y="0"/>
                  </a:cubicBezTo>
                  <a:cubicBezTo>
                    <a:pt x="1" y="2"/>
                    <a:pt x="1" y="2"/>
                    <a:pt x="1" y="2"/>
                  </a:cubicBezTo>
                  <a:cubicBezTo>
                    <a:pt x="0" y="4"/>
                    <a:pt x="0" y="4"/>
                    <a:pt x="1" y="6"/>
                  </a:cubicBezTo>
                  <a:cubicBezTo>
                    <a:pt x="3" y="7"/>
                    <a:pt x="4" y="9"/>
                    <a:pt x="6" y="9"/>
                  </a:cubicBezTo>
                  <a:cubicBezTo>
                    <a:pt x="7" y="9"/>
                    <a:pt x="7" y="9"/>
                    <a:pt x="7" y="9"/>
                  </a:cubicBezTo>
                  <a:cubicBezTo>
                    <a:pt x="7" y="9"/>
                    <a:pt x="8" y="9"/>
                    <a:pt x="9" y="9"/>
                  </a:cubicBezTo>
                  <a:cubicBezTo>
                    <a:pt x="10" y="9"/>
                    <a:pt x="12" y="9"/>
                    <a:pt x="14" y="10"/>
                  </a:cubicBezTo>
                  <a:cubicBezTo>
                    <a:pt x="16" y="10"/>
                    <a:pt x="17" y="10"/>
                    <a:pt x="19" y="10"/>
                  </a:cubicBezTo>
                  <a:cubicBezTo>
                    <a:pt x="20" y="10"/>
                    <a:pt x="22" y="10"/>
                    <a:pt x="23" y="10"/>
                  </a:cubicBezTo>
                  <a:cubicBezTo>
                    <a:pt x="24" y="9"/>
                    <a:pt x="25" y="8"/>
                    <a:pt x="25" y="8"/>
                  </a:cubicBezTo>
                  <a:cubicBezTo>
                    <a:pt x="26" y="8"/>
                    <a:pt x="26" y="8"/>
                    <a:pt x="27" y="8"/>
                  </a:cubicBezTo>
                  <a:cubicBezTo>
                    <a:pt x="27" y="8"/>
                    <a:pt x="27" y="8"/>
                    <a:pt x="28" y="8"/>
                  </a:cubicBezTo>
                  <a:cubicBezTo>
                    <a:pt x="28" y="8"/>
                    <a:pt x="28" y="8"/>
                    <a:pt x="28" y="8"/>
                  </a:cubicBezTo>
                  <a:cubicBezTo>
                    <a:pt x="31" y="8"/>
                    <a:pt x="33" y="8"/>
                    <a:pt x="36" y="9"/>
                  </a:cubicBezTo>
                  <a:cubicBezTo>
                    <a:pt x="37" y="9"/>
                    <a:pt x="38" y="11"/>
                    <a:pt x="40" y="12"/>
                  </a:cubicBezTo>
                  <a:cubicBezTo>
                    <a:pt x="42" y="12"/>
                    <a:pt x="43" y="13"/>
                    <a:pt x="45" y="13"/>
                  </a:cubicBezTo>
                  <a:cubicBezTo>
                    <a:pt x="49" y="14"/>
                    <a:pt x="52" y="14"/>
                    <a:pt x="56" y="14"/>
                  </a:cubicBezTo>
                  <a:cubicBezTo>
                    <a:pt x="57" y="15"/>
                    <a:pt x="59" y="15"/>
                    <a:pt x="60" y="15"/>
                  </a:cubicBezTo>
                  <a:cubicBezTo>
                    <a:pt x="62" y="15"/>
                    <a:pt x="64" y="14"/>
                    <a:pt x="66" y="14"/>
                  </a:cubicBezTo>
                  <a:cubicBezTo>
                    <a:pt x="70" y="15"/>
                    <a:pt x="74" y="15"/>
                    <a:pt x="78" y="17"/>
                  </a:cubicBezTo>
                  <a:cubicBezTo>
                    <a:pt x="77" y="17"/>
                    <a:pt x="76" y="17"/>
                    <a:pt x="74" y="17"/>
                  </a:cubicBezTo>
                  <a:cubicBezTo>
                    <a:pt x="70" y="17"/>
                    <a:pt x="66" y="16"/>
                    <a:pt x="63" y="16"/>
                  </a:cubicBezTo>
                  <a:cubicBezTo>
                    <a:pt x="61" y="16"/>
                    <a:pt x="60" y="15"/>
                    <a:pt x="59" y="15"/>
                  </a:cubicBezTo>
                  <a:cubicBezTo>
                    <a:pt x="58" y="15"/>
                    <a:pt x="57" y="16"/>
                    <a:pt x="56" y="16"/>
                  </a:cubicBezTo>
                  <a:cubicBezTo>
                    <a:pt x="55" y="16"/>
                    <a:pt x="55" y="16"/>
                    <a:pt x="54" y="16"/>
                  </a:cubicBezTo>
                  <a:cubicBezTo>
                    <a:pt x="53" y="16"/>
                    <a:pt x="52" y="16"/>
                    <a:pt x="52" y="16"/>
                  </a:cubicBezTo>
                  <a:cubicBezTo>
                    <a:pt x="49" y="15"/>
                    <a:pt x="47" y="15"/>
                    <a:pt x="45" y="15"/>
                  </a:cubicBezTo>
                  <a:cubicBezTo>
                    <a:pt x="44" y="15"/>
                    <a:pt x="44" y="15"/>
                    <a:pt x="43" y="15"/>
                  </a:cubicBezTo>
                  <a:cubicBezTo>
                    <a:pt x="40" y="15"/>
                    <a:pt x="30" y="18"/>
                    <a:pt x="31" y="22"/>
                  </a:cubicBezTo>
                  <a:cubicBezTo>
                    <a:pt x="31" y="23"/>
                    <a:pt x="33" y="23"/>
                    <a:pt x="33" y="24"/>
                  </a:cubicBezTo>
                  <a:cubicBezTo>
                    <a:pt x="34" y="25"/>
                    <a:pt x="30" y="26"/>
                    <a:pt x="30" y="28"/>
                  </a:cubicBezTo>
                  <a:cubicBezTo>
                    <a:pt x="30" y="30"/>
                    <a:pt x="34" y="30"/>
                    <a:pt x="36" y="30"/>
                  </a:cubicBezTo>
                  <a:cubicBezTo>
                    <a:pt x="38" y="31"/>
                    <a:pt x="40" y="31"/>
                    <a:pt x="42" y="31"/>
                  </a:cubicBezTo>
                  <a:cubicBezTo>
                    <a:pt x="45" y="31"/>
                    <a:pt x="47" y="31"/>
                    <a:pt x="49" y="30"/>
                  </a:cubicBezTo>
                  <a:cubicBezTo>
                    <a:pt x="56" y="29"/>
                    <a:pt x="64" y="29"/>
                    <a:pt x="71" y="29"/>
                  </a:cubicBezTo>
                  <a:cubicBezTo>
                    <a:pt x="71" y="29"/>
                    <a:pt x="71" y="29"/>
                    <a:pt x="72" y="29"/>
                  </a:cubicBezTo>
                  <a:cubicBezTo>
                    <a:pt x="75" y="29"/>
                    <a:pt x="76" y="31"/>
                    <a:pt x="72" y="31"/>
                  </a:cubicBezTo>
                  <a:cubicBezTo>
                    <a:pt x="68" y="32"/>
                    <a:pt x="64" y="32"/>
                    <a:pt x="60" y="32"/>
                  </a:cubicBezTo>
                  <a:cubicBezTo>
                    <a:pt x="54" y="32"/>
                    <a:pt x="50" y="32"/>
                    <a:pt x="45" y="33"/>
                  </a:cubicBezTo>
                  <a:cubicBezTo>
                    <a:pt x="39" y="34"/>
                    <a:pt x="30" y="33"/>
                    <a:pt x="25" y="36"/>
                  </a:cubicBezTo>
                  <a:cubicBezTo>
                    <a:pt x="23" y="37"/>
                    <a:pt x="22" y="40"/>
                    <a:pt x="20" y="41"/>
                  </a:cubicBezTo>
                  <a:cubicBezTo>
                    <a:pt x="16" y="45"/>
                    <a:pt x="22" y="45"/>
                    <a:pt x="27" y="45"/>
                  </a:cubicBezTo>
                  <a:cubicBezTo>
                    <a:pt x="28" y="45"/>
                    <a:pt x="28" y="45"/>
                    <a:pt x="29" y="45"/>
                  </a:cubicBezTo>
                  <a:cubicBezTo>
                    <a:pt x="29" y="45"/>
                    <a:pt x="29" y="45"/>
                    <a:pt x="30" y="45"/>
                  </a:cubicBezTo>
                  <a:cubicBezTo>
                    <a:pt x="30" y="45"/>
                    <a:pt x="30" y="45"/>
                    <a:pt x="30" y="45"/>
                  </a:cubicBezTo>
                  <a:cubicBezTo>
                    <a:pt x="32" y="45"/>
                    <a:pt x="33" y="45"/>
                    <a:pt x="34" y="45"/>
                  </a:cubicBezTo>
                  <a:cubicBezTo>
                    <a:pt x="38" y="45"/>
                    <a:pt x="42" y="45"/>
                    <a:pt x="47" y="43"/>
                  </a:cubicBezTo>
                  <a:cubicBezTo>
                    <a:pt x="54" y="41"/>
                    <a:pt x="63" y="39"/>
                    <a:pt x="70" y="39"/>
                  </a:cubicBezTo>
                  <a:cubicBezTo>
                    <a:pt x="70" y="39"/>
                    <a:pt x="70" y="39"/>
                    <a:pt x="70" y="39"/>
                  </a:cubicBezTo>
                  <a:cubicBezTo>
                    <a:pt x="68" y="39"/>
                    <a:pt x="66" y="41"/>
                    <a:pt x="64" y="42"/>
                  </a:cubicBezTo>
                  <a:cubicBezTo>
                    <a:pt x="62" y="44"/>
                    <a:pt x="59" y="44"/>
                    <a:pt x="56" y="44"/>
                  </a:cubicBezTo>
                  <a:cubicBezTo>
                    <a:pt x="53" y="45"/>
                    <a:pt x="51" y="47"/>
                    <a:pt x="47" y="47"/>
                  </a:cubicBezTo>
                  <a:cubicBezTo>
                    <a:pt x="37" y="49"/>
                    <a:pt x="27" y="51"/>
                    <a:pt x="16" y="52"/>
                  </a:cubicBezTo>
                  <a:cubicBezTo>
                    <a:pt x="13" y="53"/>
                    <a:pt x="13" y="54"/>
                    <a:pt x="10" y="56"/>
                  </a:cubicBezTo>
                  <a:cubicBezTo>
                    <a:pt x="8" y="58"/>
                    <a:pt x="8" y="59"/>
                    <a:pt x="10" y="61"/>
                  </a:cubicBezTo>
                  <a:cubicBezTo>
                    <a:pt x="13" y="63"/>
                    <a:pt x="19" y="64"/>
                    <a:pt x="23" y="64"/>
                  </a:cubicBezTo>
                  <a:cubicBezTo>
                    <a:pt x="25" y="65"/>
                    <a:pt x="26" y="65"/>
                    <a:pt x="29" y="66"/>
                  </a:cubicBezTo>
                  <a:cubicBezTo>
                    <a:pt x="29" y="66"/>
                    <a:pt x="29" y="66"/>
                    <a:pt x="29" y="66"/>
                  </a:cubicBezTo>
                  <a:cubicBezTo>
                    <a:pt x="31" y="66"/>
                    <a:pt x="32" y="64"/>
                    <a:pt x="34" y="63"/>
                  </a:cubicBezTo>
                  <a:cubicBezTo>
                    <a:pt x="35" y="63"/>
                    <a:pt x="36" y="63"/>
                    <a:pt x="37" y="63"/>
                  </a:cubicBezTo>
                  <a:cubicBezTo>
                    <a:pt x="38" y="63"/>
                    <a:pt x="40" y="62"/>
                    <a:pt x="41" y="62"/>
                  </a:cubicBezTo>
                  <a:cubicBezTo>
                    <a:pt x="41" y="62"/>
                    <a:pt x="42" y="62"/>
                    <a:pt x="42" y="64"/>
                  </a:cubicBezTo>
                  <a:cubicBezTo>
                    <a:pt x="41" y="65"/>
                    <a:pt x="39" y="66"/>
                    <a:pt x="40" y="67"/>
                  </a:cubicBezTo>
                  <a:cubicBezTo>
                    <a:pt x="40" y="67"/>
                    <a:pt x="40" y="67"/>
                    <a:pt x="41" y="67"/>
                  </a:cubicBezTo>
                  <a:cubicBezTo>
                    <a:pt x="42" y="67"/>
                    <a:pt x="43" y="67"/>
                    <a:pt x="43" y="67"/>
                  </a:cubicBezTo>
                  <a:cubicBezTo>
                    <a:pt x="39" y="70"/>
                    <a:pt x="47" y="70"/>
                    <a:pt x="49" y="71"/>
                  </a:cubicBezTo>
                  <a:cubicBezTo>
                    <a:pt x="51" y="72"/>
                    <a:pt x="53" y="73"/>
                    <a:pt x="55" y="73"/>
                  </a:cubicBezTo>
                  <a:cubicBezTo>
                    <a:pt x="56" y="73"/>
                    <a:pt x="57" y="72"/>
                    <a:pt x="57" y="71"/>
                  </a:cubicBezTo>
                  <a:cubicBezTo>
                    <a:pt x="59" y="69"/>
                    <a:pt x="56" y="67"/>
                    <a:pt x="56" y="65"/>
                  </a:cubicBezTo>
                  <a:cubicBezTo>
                    <a:pt x="58" y="65"/>
                    <a:pt x="59" y="66"/>
                    <a:pt x="59" y="66"/>
                  </a:cubicBezTo>
                  <a:cubicBezTo>
                    <a:pt x="60" y="66"/>
                    <a:pt x="61" y="65"/>
                    <a:pt x="63" y="64"/>
                  </a:cubicBezTo>
                  <a:cubicBezTo>
                    <a:pt x="63" y="64"/>
                    <a:pt x="64" y="64"/>
                    <a:pt x="65" y="64"/>
                  </a:cubicBezTo>
                  <a:cubicBezTo>
                    <a:pt x="66" y="64"/>
                    <a:pt x="66" y="65"/>
                    <a:pt x="66" y="66"/>
                  </a:cubicBezTo>
                  <a:cubicBezTo>
                    <a:pt x="66" y="67"/>
                    <a:pt x="65" y="68"/>
                    <a:pt x="65" y="68"/>
                  </a:cubicBezTo>
                  <a:cubicBezTo>
                    <a:pt x="66" y="70"/>
                    <a:pt x="67" y="71"/>
                    <a:pt x="68" y="72"/>
                  </a:cubicBezTo>
                  <a:cubicBezTo>
                    <a:pt x="69" y="73"/>
                    <a:pt x="70" y="73"/>
                    <a:pt x="71" y="73"/>
                  </a:cubicBezTo>
                  <a:cubicBezTo>
                    <a:pt x="72" y="73"/>
                    <a:pt x="72" y="73"/>
                    <a:pt x="74" y="72"/>
                  </a:cubicBezTo>
                  <a:cubicBezTo>
                    <a:pt x="77" y="71"/>
                    <a:pt x="81" y="70"/>
                    <a:pt x="83" y="68"/>
                  </a:cubicBezTo>
                  <a:cubicBezTo>
                    <a:pt x="84" y="67"/>
                    <a:pt x="87" y="65"/>
                    <a:pt x="87" y="63"/>
                  </a:cubicBezTo>
                  <a:cubicBezTo>
                    <a:pt x="87" y="62"/>
                    <a:pt x="82" y="59"/>
                    <a:pt x="82" y="57"/>
                  </a:cubicBezTo>
                  <a:cubicBezTo>
                    <a:pt x="84" y="58"/>
                    <a:pt x="86" y="60"/>
                    <a:pt x="88" y="60"/>
                  </a:cubicBezTo>
                  <a:cubicBezTo>
                    <a:pt x="89" y="60"/>
                    <a:pt x="90" y="60"/>
                    <a:pt x="91" y="58"/>
                  </a:cubicBezTo>
                  <a:cubicBezTo>
                    <a:pt x="93" y="55"/>
                    <a:pt x="91" y="52"/>
                    <a:pt x="92" y="50"/>
                  </a:cubicBezTo>
                  <a:cubicBezTo>
                    <a:pt x="92" y="50"/>
                    <a:pt x="93" y="50"/>
                    <a:pt x="93" y="50"/>
                  </a:cubicBezTo>
                  <a:cubicBezTo>
                    <a:pt x="93" y="50"/>
                    <a:pt x="96" y="54"/>
                    <a:pt x="96" y="54"/>
                  </a:cubicBezTo>
                  <a:cubicBezTo>
                    <a:pt x="96" y="54"/>
                    <a:pt x="96" y="54"/>
                    <a:pt x="97" y="54"/>
                  </a:cubicBezTo>
                  <a:cubicBezTo>
                    <a:pt x="98" y="54"/>
                    <a:pt x="100" y="53"/>
                    <a:pt x="102" y="53"/>
                  </a:cubicBezTo>
                  <a:cubicBezTo>
                    <a:pt x="101" y="54"/>
                    <a:pt x="99" y="55"/>
                    <a:pt x="98" y="57"/>
                  </a:cubicBezTo>
                  <a:cubicBezTo>
                    <a:pt x="97" y="58"/>
                    <a:pt x="97" y="59"/>
                    <a:pt x="97" y="60"/>
                  </a:cubicBezTo>
                  <a:cubicBezTo>
                    <a:pt x="96" y="61"/>
                    <a:pt x="96" y="62"/>
                    <a:pt x="95" y="63"/>
                  </a:cubicBezTo>
                  <a:cubicBezTo>
                    <a:pt x="95" y="63"/>
                    <a:pt x="96" y="64"/>
                    <a:pt x="95" y="65"/>
                  </a:cubicBezTo>
                  <a:cubicBezTo>
                    <a:pt x="95" y="65"/>
                    <a:pt x="95" y="65"/>
                    <a:pt x="95" y="66"/>
                  </a:cubicBezTo>
                  <a:cubicBezTo>
                    <a:pt x="94" y="69"/>
                    <a:pt x="95" y="69"/>
                    <a:pt x="98" y="69"/>
                  </a:cubicBezTo>
                  <a:cubicBezTo>
                    <a:pt x="98" y="69"/>
                    <a:pt x="98" y="69"/>
                    <a:pt x="99" y="69"/>
                  </a:cubicBezTo>
                  <a:cubicBezTo>
                    <a:pt x="100" y="69"/>
                    <a:pt x="102" y="69"/>
                    <a:pt x="103" y="68"/>
                  </a:cubicBezTo>
                  <a:cubicBezTo>
                    <a:pt x="107" y="67"/>
                    <a:pt x="123" y="69"/>
                    <a:pt x="124" y="64"/>
                  </a:cubicBezTo>
                  <a:cubicBezTo>
                    <a:pt x="124" y="63"/>
                    <a:pt x="124" y="59"/>
                    <a:pt x="125" y="59"/>
                  </a:cubicBezTo>
                  <a:cubicBezTo>
                    <a:pt x="125" y="59"/>
                    <a:pt x="125" y="59"/>
                    <a:pt x="126" y="59"/>
                  </a:cubicBezTo>
                  <a:cubicBezTo>
                    <a:pt x="126" y="60"/>
                    <a:pt x="125" y="62"/>
                    <a:pt x="125" y="62"/>
                  </a:cubicBezTo>
                  <a:cubicBezTo>
                    <a:pt x="126" y="62"/>
                    <a:pt x="126" y="62"/>
                    <a:pt x="126" y="62"/>
                  </a:cubicBezTo>
                  <a:cubicBezTo>
                    <a:pt x="127" y="62"/>
                    <a:pt x="128" y="62"/>
                    <a:pt x="129" y="61"/>
                  </a:cubicBezTo>
                  <a:cubicBezTo>
                    <a:pt x="130" y="61"/>
                    <a:pt x="130" y="61"/>
                    <a:pt x="131" y="61"/>
                  </a:cubicBezTo>
                  <a:cubicBezTo>
                    <a:pt x="132" y="61"/>
                    <a:pt x="132" y="61"/>
                    <a:pt x="132" y="62"/>
                  </a:cubicBezTo>
                  <a:cubicBezTo>
                    <a:pt x="131" y="64"/>
                    <a:pt x="128" y="64"/>
                    <a:pt x="131" y="66"/>
                  </a:cubicBezTo>
                  <a:cubicBezTo>
                    <a:pt x="131" y="66"/>
                    <a:pt x="131" y="66"/>
                    <a:pt x="131" y="66"/>
                  </a:cubicBezTo>
                  <a:cubicBezTo>
                    <a:pt x="132" y="66"/>
                    <a:pt x="132" y="66"/>
                    <a:pt x="133" y="66"/>
                  </a:cubicBezTo>
                  <a:cubicBezTo>
                    <a:pt x="133" y="66"/>
                    <a:pt x="134" y="66"/>
                    <a:pt x="134" y="66"/>
                  </a:cubicBezTo>
                  <a:cubicBezTo>
                    <a:pt x="134" y="66"/>
                    <a:pt x="134" y="66"/>
                    <a:pt x="134" y="66"/>
                  </a:cubicBezTo>
                  <a:cubicBezTo>
                    <a:pt x="134" y="66"/>
                    <a:pt x="134" y="66"/>
                    <a:pt x="134" y="66"/>
                  </a:cubicBezTo>
                  <a:cubicBezTo>
                    <a:pt x="135" y="66"/>
                    <a:pt x="136" y="65"/>
                    <a:pt x="137" y="65"/>
                  </a:cubicBezTo>
                  <a:cubicBezTo>
                    <a:pt x="138" y="65"/>
                    <a:pt x="139" y="65"/>
                    <a:pt x="140" y="65"/>
                  </a:cubicBezTo>
                  <a:cubicBezTo>
                    <a:pt x="140" y="65"/>
                    <a:pt x="140" y="65"/>
                    <a:pt x="141" y="65"/>
                  </a:cubicBezTo>
                  <a:cubicBezTo>
                    <a:pt x="141" y="65"/>
                    <a:pt x="141" y="65"/>
                    <a:pt x="141" y="65"/>
                  </a:cubicBezTo>
                  <a:cubicBezTo>
                    <a:pt x="143" y="65"/>
                    <a:pt x="144" y="63"/>
                    <a:pt x="146" y="63"/>
                  </a:cubicBezTo>
                  <a:cubicBezTo>
                    <a:pt x="146" y="63"/>
                    <a:pt x="146" y="63"/>
                    <a:pt x="146" y="63"/>
                  </a:cubicBezTo>
                  <a:cubicBezTo>
                    <a:pt x="147" y="63"/>
                    <a:pt x="147" y="64"/>
                    <a:pt x="148" y="64"/>
                  </a:cubicBezTo>
                  <a:cubicBezTo>
                    <a:pt x="148" y="64"/>
                    <a:pt x="148" y="64"/>
                    <a:pt x="148" y="64"/>
                  </a:cubicBezTo>
                  <a:cubicBezTo>
                    <a:pt x="150" y="64"/>
                    <a:pt x="152" y="63"/>
                    <a:pt x="154" y="62"/>
                  </a:cubicBezTo>
                  <a:cubicBezTo>
                    <a:pt x="155" y="61"/>
                    <a:pt x="157" y="59"/>
                    <a:pt x="159" y="59"/>
                  </a:cubicBezTo>
                  <a:cubicBezTo>
                    <a:pt x="159" y="59"/>
                    <a:pt x="159" y="59"/>
                    <a:pt x="159" y="59"/>
                  </a:cubicBezTo>
                  <a:cubicBezTo>
                    <a:pt x="156" y="66"/>
                    <a:pt x="151" y="72"/>
                    <a:pt x="144" y="72"/>
                  </a:cubicBezTo>
                  <a:cubicBezTo>
                    <a:pt x="143" y="72"/>
                    <a:pt x="143" y="72"/>
                    <a:pt x="142" y="72"/>
                  </a:cubicBezTo>
                  <a:cubicBezTo>
                    <a:pt x="141" y="71"/>
                    <a:pt x="140" y="71"/>
                    <a:pt x="138" y="71"/>
                  </a:cubicBezTo>
                  <a:cubicBezTo>
                    <a:pt x="135" y="71"/>
                    <a:pt x="131" y="72"/>
                    <a:pt x="127" y="73"/>
                  </a:cubicBezTo>
                  <a:cubicBezTo>
                    <a:pt x="118" y="76"/>
                    <a:pt x="109" y="78"/>
                    <a:pt x="100" y="81"/>
                  </a:cubicBezTo>
                  <a:cubicBezTo>
                    <a:pt x="96" y="82"/>
                    <a:pt x="92" y="83"/>
                    <a:pt x="88" y="84"/>
                  </a:cubicBezTo>
                  <a:cubicBezTo>
                    <a:pt x="87" y="84"/>
                    <a:pt x="84" y="85"/>
                    <a:pt x="84" y="85"/>
                  </a:cubicBezTo>
                  <a:cubicBezTo>
                    <a:pt x="81" y="90"/>
                    <a:pt x="102" y="97"/>
                    <a:pt x="106" y="98"/>
                  </a:cubicBezTo>
                  <a:cubicBezTo>
                    <a:pt x="108" y="99"/>
                    <a:pt x="111" y="99"/>
                    <a:pt x="114" y="99"/>
                  </a:cubicBezTo>
                  <a:cubicBezTo>
                    <a:pt x="118" y="99"/>
                    <a:pt x="121" y="98"/>
                    <a:pt x="125" y="97"/>
                  </a:cubicBezTo>
                  <a:cubicBezTo>
                    <a:pt x="143" y="92"/>
                    <a:pt x="160" y="87"/>
                    <a:pt x="178" y="81"/>
                  </a:cubicBezTo>
                  <a:cubicBezTo>
                    <a:pt x="190" y="78"/>
                    <a:pt x="201" y="73"/>
                    <a:pt x="213" y="69"/>
                  </a:cubicBezTo>
                  <a:cubicBezTo>
                    <a:pt x="213" y="68"/>
                    <a:pt x="214" y="68"/>
                    <a:pt x="214" y="68"/>
                  </a:cubicBezTo>
                  <a:cubicBezTo>
                    <a:pt x="216" y="68"/>
                    <a:pt x="217" y="69"/>
                    <a:pt x="218" y="70"/>
                  </a:cubicBezTo>
                  <a:cubicBezTo>
                    <a:pt x="223" y="72"/>
                    <a:pt x="228" y="74"/>
                    <a:pt x="234" y="74"/>
                  </a:cubicBezTo>
                  <a:cubicBezTo>
                    <a:pt x="233" y="74"/>
                    <a:pt x="233" y="74"/>
                    <a:pt x="233" y="74"/>
                  </a:cubicBezTo>
                  <a:cubicBezTo>
                    <a:pt x="234" y="73"/>
                    <a:pt x="235" y="72"/>
                    <a:pt x="236" y="71"/>
                  </a:cubicBezTo>
                  <a:cubicBezTo>
                    <a:pt x="236" y="70"/>
                    <a:pt x="237" y="68"/>
                    <a:pt x="239" y="68"/>
                  </a:cubicBezTo>
                  <a:cubicBezTo>
                    <a:pt x="239" y="68"/>
                    <a:pt x="239" y="68"/>
                    <a:pt x="239" y="68"/>
                  </a:cubicBezTo>
                  <a:cubicBezTo>
                    <a:pt x="240" y="68"/>
                    <a:pt x="240" y="68"/>
                    <a:pt x="240" y="68"/>
                  </a:cubicBezTo>
                  <a:cubicBezTo>
                    <a:pt x="240" y="68"/>
                    <a:pt x="240" y="68"/>
                    <a:pt x="240" y="68"/>
                  </a:cubicBezTo>
                  <a:cubicBezTo>
                    <a:pt x="245" y="68"/>
                    <a:pt x="251" y="69"/>
                    <a:pt x="255" y="69"/>
                  </a:cubicBezTo>
                  <a:cubicBezTo>
                    <a:pt x="263" y="69"/>
                    <a:pt x="271" y="69"/>
                    <a:pt x="278" y="69"/>
                  </a:cubicBezTo>
                  <a:cubicBezTo>
                    <a:pt x="278" y="69"/>
                    <a:pt x="278" y="69"/>
                    <a:pt x="278" y="69"/>
                  </a:cubicBezTo>
                  <a:cubicBezTo>
                    <a:pt x="281" y="69"/>
                    <a:pt x="276" y="67"/>
                    <a:pt x="279" y="66"/>
                  </a:cubicBezTo>
                  <a:cubicBezTo>
                    <a:pt x="280" y="66"/>
                    <a:pt x="283" y="65"/>
                    <a:pt x="283" y="63"/>
                  </a:cubicBezTo>
                  <a:cubicBezTo>
                    <a:pt x="283" y="62"/>
                    <a:pt x="281" y="63"/>
                    <a:pt x="281" y="62"/>
                  </a:cubicBezTo>
                  <a:cubicBezTo>
                    <a:pt x="280" y="59"/>
                    <a:pt x="284" y="58"/>
                    <a:pt x="285" y="57"/>
                  </a:cubicBezTo>
                  <a:cubicBezTo>
                    <a:pt x="286" y="57"/>
                    <a:pt x="286" y="56"/>
                    <a:pt x="287" y="55"/>
                  </a:cubicBezTo>
                  <a:cubicBezTo>
                    <a:pt x="289" y="54"/>
                    <a:pt x="286" y="53"/>
                    <a:pt x="286" y="53"/>
                  </a:cubicBezTo>
                  <a:cubicBezTo>
                    <a:pt x="287" y="50"/>
                    <a:pt x="291" y="50"/>
                    <a:pt x="286" y="49"/>
                  </a:cubicBezTo>
                  <a:cubicBezTo>
                    <a:pt x="287" y="47"/>
                    <a:pt x="289" y="45"/>
                    <a:pt x="291" y="43"/>
                  </a:cubicBezTo>
                  <a:cubicBezTo>
                    <a:pt x="294" y="40"/>
                    <a:pt x="293" y="38"/>
                    <a:pt x="292" y="34"/>
                  </a:cubicBezTo>
                  <a:cubicBezTo>
                    <a:pt x="292" y="31"/>
                    <a:pt x="290" y="29"/>
                    <a:pt x="288" y="27"/>
                  </a:cubicBezTo>
                  <a:cubicBezTo>
                    <a:pt x="284" y="25"/>
                    <a:pt x="280" y="24"/>
                    <a:pt x="276" y="23"/>
                  </a:cubicBezTo>
                  <a:cubicBezTo>
                    <a:pt x="274" y="22"/>
                    <a:pt x="271" y="22"/>
                    <a:pt x="268" y="22"/>
                  </a:cubicBezTo>
                  <a:cubicBezTo>
                    <a:pt x="266" y="22"/>
                    <a:pt x="265" y="22"/>
                    <a:pt x="263" y="23"/>
                  </a:cubicBezTo>
                  <a:cubicBezTo>
                    <a:pt x="261" y="26"/>
                    <a:pt x="259" y="26"/>
                    <a:pt x="259" y="29"/>
                  </a:cubicBezTo>
                  <a:cubicBezTo>
                    <a:pt x="258" y="33"/>
                    <a:pt x="261" y="32"/>
                    <a:pt x="264" y="34"/>
                  </a:cubicBezTo>
                  <a:cubicBezTo>
                    <a:pt x="264" y="34"/>
                    <a:pt x="263" y="34"/>
                    <a:pt x="263" y="34"/>
                  </a:cubicBezTo>
                  <a:cubicBezTo>
                    <a:pt x="259" y="34"/>
                    <a:pt x="259" y="37"/>
                    <a:pt x="259" y="41"/>
                  </a:cubicBezTo>
                  <a:cubicBezTo>
                    <a:pt x="258" y="41"/>
                    <a:pt x="257" y="39"/>
                    <a:pt x="257" y="38"/>
                  </a:cubicBezTo>
                  <a:cubicBezTo>
                    <a:pt x="257" y="36"/>
                    <a:pt x="256" y="35"/>
                    <a:pt x="256" y="34"/>
                  </a:cubicBezTo>
                  <a:cubicBezTo>
                    <a:pt x="255" y="32"/>
                    <a:pt x="256" y="31"/>
                    <a:pt x="254" y="30"/>
                  </a:cubicBezTo>
                  <a:cubicBezTo>
                    <a:pt x="254" y="29"/>
                    <a:pt x="251" y="29"/>
                    <a:pt x="251" y="29"/>
                  </a:cubicBezTo>
                  <a:cubicBezTo>
                    <a:pt x="250" y="29"/>
                    <a:pt x="250" y="29"/>
                    <a:pt x="250" y="29"/>
                  </a:cubicBezTo>
                  <a:cubicBezTo>
                    <a:pt x="249" y="29"/>
                    <a:pt x="248" y="29"/>
                    <a:pt x="247" y="29"/>
                  </a:cubicBezTo>
                  <a:cubicBezTo>
                    <a:pt x="247" y="29"/>
                    <a:pt x="246" y="29"/>
                    <a:pt x="245" y="29"/>
                  </a:cubicBezTo>
                  <a:cubicBezTo>
                    <a:pt x="245" y="29"/>
                    <a:pt x="244" y="29"/>
                    <a:pt x="244" y="29"/>
                  </a:cubicBezTo>
                  <a:cubicBezTo>
                    <a:pt x="241" y="29"/>
                    <a:pt x="242" y="25"/>
                    <a:pt x="240" y="23"/>
                  </a:cubicBezTo>
                  <a:cubicBezTo>
                    <a:pt x="238" y="22"/>
                    <a:pt x="236" y="21"/>
                    <a:pt x="234" y="21"/>
                  </a:cubicBezTo>
                  <a:cubicBezTo>
                    <a:pt x="234" y="21"/>
                    <a:pt x="233" y="21"/>
                    <a:pt x="233" y="21"/>
                  </a:cubicBezTo>
                  <a:cubicBezTo>
                    <a:pt x="232" y="22"/>
                    <a:pt x="231" y="22"/>
                    <a:pt x="230" y="22"/>
                  </a:cubicBezTo>
                  <a:cubicBezTo>
                    <a:pt x="230" y="22"/>
                    <a:pt x="230" y="22"/>
                    <a:pt x="230" y="22"/>
                  </a:cubicBezTo>
                  <a:cubicBezTo>
                    <a:pt x="228" y="22"/>
                    <a:pt x="229" y="19"/>
                    <a:pt x="229" y="17"/>
                  </a:cubicBezTo>
                  <a:cubicBezTo>
                    <a:pt x="230" y="16"/>
                    <a:pt x="232" y="11"/>
                    <a:pt x="230" y="10"/>
                  </a:cubicBezTo>
                  <a:cubicBezTo>
                    <a:pt x="229" y="10"/>
                    <a:pt x="228" y="8"/>
                    <a:pt x="228" y="8"/>
                  </a:cubicBezTo>
                  <a:cubicBezTo>
                    <a:pt x="226" y="6"/>
                    <a:pt x="223" y="6"/>
                    <a:pt x="222" y="5"/>
                  </a:cubicBezTo>
                  <a:cubicBezTo>
                    <a:pt x="221" y="4"/>
                    <a:pt x="221" y="2"/>
                    <a:pt x="2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 name="Freeform 220">
              <a:extLst>
                <a:ext uri="{FF2B5EF4-FFF2-40B4-BE49-F238E27FC236}">
                  <a16:creationId xmlns:a16="http://schemas.microsoft.com/office/drawing/2014/main" id="{10776DE7-2C32-4450-8EF2-E0A3D8CF4C83}"/>
                </a:ext>
              </a:extLst>
            </p:cNvPr>
            <p:cNvSpPr>
              <a:spLocks/>
            </p:cNvSpPr>
            <p:nvPr/>
          </p:nvSpPr>
          <p:spPr bwMode="auto">
            <a:xfrm>
              <a:off x="5516554" y="670747"/>
              <a:ext cx="171450" cy="109538"/>
            </a:xfrm>
            <a:custGeom>
              <a:avLst/>
              <a:gdLst>
                <a:gd name="T0" fmla="*/ 42 w 46"/>
                <a:gd name="T1" fmla="*/ 0 h 29"/>
                <a:gd name="T2" fmla="*/ 35 w 46"/>
                <a:gd name="T3" fmla="*/ 3 h 29"/>
                <a:gd name="T4" fmla="*/ 32 w 46"/>
                <a:gd name="T5" fmla="*/ 4 h 29"/>
                <a:gd name="T6" fmla="*/ 31 w 46"/>
                <a:gd name="T7" fmla="*/ 6 h 29"/>
                <a:gd name="T8" fmla="*/ 25 w 46"/>
                <a:gd name="T9" fmla="*/ 7 h 29"/>
                <a:gd name="T10" fmla="*/ 13 w 46"/>
                <a:gd name="T11" fmla="*/ 14 h 29"/>
                <a:gd name="T12" fmla="*/ 4 w 46"/>
                <a:gd name="T13" fmla="*/ 21 h 29"/>
                <a:gd name="T14" fmla="*/ 8 w 46"/>
                <a:gd name="T15" fmla="*/ 26 h 29"/>
                <a:gd name="T16" fmla="*/ 13 w 46"/>
                <a:gd name="T17" fmla="*/ 28 h 29"/>
                <a:gd name="T18" fmla="*/ 14 w 46"/>
                <a:gd name="T19" fmla="*/ 28 h 29"/>
                <a:gd name="T20" fmla="*/ 19 w 46"/>
                <a:gd name="T21" fmla="*/ 29 h 29"/>
                <a:gd name="T22" fmla="*/ 19 w 46"/>
                <a:gd name="T23" fmla="*/ 29 h 29"/>
                <a:gd name="T24" fmla="*/ 31 w 46"/>
                <a:gd name="T25" fmla="*/ 21 h 29"/>
                <a:gd name="T26" fmla="*/ 42 w 46"/>
                <a:gd name="T27" fmla="*/ 9 h 29"/>
                <a:gd name="T28" fmla="*/ 43 w 46"/>
                <a:gd name="T29" fmla="*/ 0 h 29"/>
                <a:gd name="T30" fmla="*/ 42 w 46"/>
                <a:gd name="T3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29">
                  <a:moveTo>
                    <a:pt x="42" y="0"/>
                  </a:moveTo>
                  <a:cubicBezTo>
                    <a:pt x="39" y="0"/>
                    <a:pt x="38" y="2"/>
                    <a:pt x="35" y="3"/>
                  </a:cubicBezTo>
                  <a:cubicBezTo>
                    <a:pt x="34" y="4"/>
                    <a:pt x="33" y="3"/>
                    <a:pt x="32" y="4"/>
                  </a:cubicBezTo>
                  <a:cubicBezTo>
                    <a:pt x="31" y="4"/>
                    <a:pt x="31" y="6"/>
                    <a:pt x="31" y="6"/>
                  </a:cubicBezTo>
                  <a:cubicBezTo>
                    <a:pt x="29" y="7"/>
                    <a:pt x="27" y="7"/>
                    <a:pt x="25" y="7"/>
                  </a:cubicBezTo>
                  <a:cubicBezTo>
                    <a:pt x="20" y="8"/>
                    <a:pt x="17" y="11"/>
                    <a:pt x="13" y="14"/>
                  </a:cubicBezTo>
                  <a:cubicBezTo>
                    <a:pt x="10" y="17"/>
                    <a:pt x="7" y="19"/>
                    <a:pt x="4" y="21"/>
                  </a:cubicBezTo>
                  <a:cubicBezTo>
                    <a:pt x="0" y="25"/>
                    <a:pt x="5" y="25"/>
                    <a:pt x="8" y="26"/>
                  </a:cubicBezTo>
                  <a:cubicBezTo>
                    <a:pt x="10" y="26"/>
                    <a:pt x="14" y="26"/>
                    <a:pt x="13" y="28"/>
                  </a:cubicBezTo>
                  <a:cubicBezTo>
                    <a:pt x="13" y="28"/>
                    <a:pt x="13" y="28"/>
                    <a:pt x="14" y="28"/>
                  </a:cubicBezTo>
                  <a:cubicBezTo>
                    <a:pt x="16" y="28"/>
                    <a:pt x="17" y="29"/>
                    <a:pt x="19" y="29"/>
                  </a:cubicBezTo>
                  <a:cubicBezTo>
                    <a:pt x="19" y="29"/>
                    <a:pt x="19" y="29"/>
                    <a:pt x="19" y="29"/>
                  </a:cubicBezTo>
                  <a:cubicBezTo>
                    <a:pt x="24" y="29"/>
                    <a:pt x="28" y="24"/>
                    <a:pt x="31" y="21"/>
                  </a:cubicBezTo>
                  <a:cubicBezTo>
                    <a:pt x="35" y="17"/>
                    <a:pt x="38" y="13"/>
                    <a:pt x="42" y="9"/>
                  </a:cubicBezTo>
                  <a:cubicBezTo>
                    <a:pt x="45" y="5"/>
                    <a:pt x="46" y="4"/>
                    <a:pt x="43" y="0"/>
                  </a:cubicBezTo>
                  <a:cubicBezTo>
                    <a:pt x="42" y="0"/>
                    <a:pt x="42" y="0"/>
                    <a:pt x="4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 name="Freeform 221">
              <a:extLst>
                <a:ext uri="{FF2B5EF4-FFF2-40B4-BE49-F238E27FC236}">
                  <a16:creationId xmlns:a16="http://schemas.microsoft.com/office/drawing/2014/main" id="{E23DE5EC-5C60-4678-BD89-36B89A961C98}"/>
                </a:ext>
              </a:extLst>
            </p:cNvPr>
            <p:cNvSpPr>
              <a:spLocks/>
            </p:cNvSpPr>
            <p:nvPr/>
          </p:nvSpPr>
          <p:spPr bwMode="auto">
            <a:xfrm>
              <a:off x="8991591" y="1786759"/>
              <a:ext cx="123825" cy="85725"/>
            </a:xfrm>
            <a:custGeom>
              <a:avLst/>
              <a:gdLst>
                <a:gd name="T0" fmla="*/ 25 w 33"/>
                <a:gd name="T1" fmla="*/ 0 h 23"/>
                <a:gd name="T2" fmla="*/ 9 w 33"/>
                <a:gd name="T3" fmla="*/ 16 h 23"/>
                <a:gd name="T4" fmla="*/ 6 w 33"/>
                <a:gd name="T5" fmla="*/ 23 h 23"/>
                <a:gd name="T6" fmla="*/ 6 w 33"/>
                <a:gd name="T7" fmla="*/ 23 h 23"/>
                <a:gd name="T8" fmla="*/ 13 w 33"/>
                <a:gd name="T9" fmla="*/ 20 h 23"/>
                <a:gd name="T10" fmla="*/ 19 w 33"/>
                <a:gd name="T11" fmla="*/ 17 h 23"/>
                <a:gd name="T12" fmla="*/ 20 w 33"/>
                <a:gd name="T13" fmla="*/ 15 h 23"/>
                <a:gd name="T14" fmla="*/ 23 w 33"/>
                <a:gd name="T15" fmla="*/ 12 h 23"/>
                <a:gd name="T16" fmla="*/ 25 w 33"/>
                <a:gd name="T17" fmla="*/ 8 h 23"/>
                <a:gd name="T18" fmla="*/ 25 w 33"/>
                <a:gd name="T19" fmla="*/ 7 h 23"/>
                <a:gd name="T20" fmla="*/ 25 w 33"/>
                <a:gd name="T21" fmla="*/ 7 h 23"/>
                <a:gd name="T22" fmla="*/ 26 w 33"/>
                <a:gd name="T23" fmla="*/ 7 h 23"/>
                <a:gd name="T24" fmla="*/ 27 w 33"/>
                <a:gd name="T25" fmla="*/ 7 h 23"/>
                <a:gd name="T26" fmla="*/ 27 w 33"/>
                <a:gd name="T27" fmla="*/ 7 h 23"/>
                <a:gd name="T28" fmla="*/ 30 w 33"/>
                <a:gd name="T29" fmla="*/ 5 h 23"/>
                <a:gd name="T30" fmla="*/ 25 w 33"/>
                <a:gd name="T3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23">
                  <a:moveTo>
                    <a:pt x="25" y="0"/>
                  </a:moveTo>
                  <a:cubicBezTo>
                    <a:pt x="20" y="5"/>
                    <a:pt x="14" y="10"/>
                    <a:pt x="9" y="16"/>
                  </a:cubicBezTo>
                  <a:cubicBezTo>
                    <a:pt x="7" y="17"/>
                    <a:pt x="0" y="22"/>
                    <a:pt x="6" y="23"/>
                  </a:cubicBezTo>
                  <a:cubicBezTo>
                    <a:pt x="6" y="23"/>
                    <a:pt x="6" y="23"/>
                    <a:pt x="6" y="23"/>
                  </a:cubicBezTo>
                  <a:cubicBezTo>
                    <a:pt x="8" y="23"/>
                    <a:pt x="11" y="21"/>
                    <a:pt x="13" y="20"/>
                  </a:cubicBezTo>
                  <a:cubicBezTo>
                    <a:pt x="15" y="20"/>
                    <a:pt x="17" y="19"/>
                    <a:pt x="19" y="17"/>
                  </a:cubicBezTo>
                  <a:cubicBezTo>
                    <a:pt x="19" y="16"/>
                    <a:pt x="19" y="16"/>
                    <a:pt x="20" y="15"/>
                  </a:cubicBezTo>
                  <a:cubicBezTo>
                    <a:pt x="21" y="14"/>
                    <a:pt x="22" y="13"/>
                    <a:pt x="23" y="12"/>
                  </a:cubicBezTo>
                  <a:cubicBezTo>
                    <a:pt x="24" y="11"/>
                    <a:pt x="24" y="9"/>
                    <a:pt x="25" y="8"/>
                  </a:cubicBezTo>
                  <a:cubicBezTo>
                    <a:pt x="25" y="8"/>
                    <a:pt x="25" y="7"/>
                    <a:pt x="25" y="7"/>
                  </a:cubicBezTo>
                  <a:cubicBezTo>
                    <a:pt x="25" y="7"/>
                    <a:pt x="25" y="7"/>
                    <a:pt x="25" y="7"/>
                  </a:cubicBezTo>
                  <a:cubicBezTo>
                    <a:pt x="25" y="7"/>
                    <a:pt x="26" y="7"/>
                    <a:pt x="26" y="7"/>
                  </a:cubicBezTo>
                  <a:cubicBezTo>
                    <a:pt x="26" y="7"/>
                    <a:pt x="27" y="7"/>
                    <a:pt x="27" y="7"/>
                  </a:cubicBezTo>
                  <a:cubicBezTo>
                    <a:pt x="27" y="7"/>
                    <a:pt x="27" y="7"/>
                    <a:pt x="27" y="7"/>
                  </a:cubicBezTo>
                  <a:cubicBezTo>
                    <a:pt x="28" y="7"/>
                    <a:pt x="29" y="6"/>
                    <a:pt x="30" y="5"/>
                  </a:cubicBezTo>
                  <a:cubicBezTo>
                    <a:pt x="33" y="2"/>
                    <a:pt x="27" y="0"/>
                    <a:pt x="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 name="Freeform 222">
              <a:extLst>
                <a:ext uri="{FF2B5EF4-FFF2-40B4-BE49-F238E27FC236}">
                  <a16:creationId xmlns:a16="http://schemas.microsoft.com/office/drawing/2014/main" id="{E11D3E6F-3CD3-4C75-8BE2-D27F1C1E0436}"/>
                </a:ext>
              </a:extLst>
            </p:cNvPr>
            <p:cNvSpPr>
              <a:spLocks/>
            </p:cNvSpPr>
            <p:nvPr/>
          </p:nvSpPr>
          <p:spPr bwMode="auto">
            <a:xfrm>
              <a:off x="7505691" y="756472"/>
              <a:ext cx="280988" cy="177800"/>
            </a:xfrm>
            <a:custGeom>
              <a:avLst/>
              <a:gdLst>
                <a:gd name="T0" fmla="*/ 40 w 75"/>
                <a:gd name="T1" fmla="*/ 0 h 47"/>
                <a:gd name="T2" fmla="*/ 22 w 75"/>
                <a:gd name="T3" fmla="*/ 6 h 47"/>
                <a:gd name="T4" fmla="*/ 10 w 75"/>
                <a:gd name="T5" fmla="*/ 12 h 47"/>
                <a:gd name="T6" fmla="*/ 14 w 75"/>
                <a:gd name="T7" fmla="*/ 11 h 47"/>
                <a:gd name="T8" fmla="*/ 15 w 75"/>
                <a:gd name="T9" fmla="*/ 11 h 47"/>
                <a:gd name="T10" fmla="*/ 3 w 75"/>
                <a:gd name="T11" fmla="*/ 21 h 47"/>
                <a:gd name="T12" fmla="*/ 0 w 75"/>
                <a:gd name="T13" fmla="*/ 30 h 47"/>
                <a:gd name="T14" fmla="*/ 2 w 75"/>
                <a:gd name="T15" fmla="*/ 30 h 47"/>
                <a:gd name="T16" fmla="*/ 6 w 75"/>
                <a:gd name="T17" fmla="*/ 34 h 47"/>
                <a:gd name="T18" fmla="*/ 8 w 75"/>
                <a:gd name="T19" fmla="*/ 34 h 47"/>
                <a:gd name="T20" fmla="*/ 11 w 75"/>
                <a:gd name="T21" fmla="*/ 31 h 47"/>
                <a:gd name="T22" fmla="*/ 20 w 75"/>
                <a:gd name="T23" fmla="*/ 38 h 47"/>
                <a:gd name="T24" fmla="*/ 20 w 75"/>
                <a:gd name="T25" fmla="*/ 38 h 47"/>
                <a:gd name="T26" fmla="*/ 21 w 75"/>
                <a:gd name="T27" fmla="*/ 38 h 47"/>
                <a:gd name="T28" fmla="*/ 21 w 75"/>
                <a:gd name="T29" fmla="*/ 38 h 47"/>
                <a:gd name="T30" fmla="*/ 22 w 75"/>
                <a:gd name="T31" fmla="*/ 38 h 47"/>
                <a:gd name="T32" fmla="*/ 24 w 75"/>
                <a:gd name="T33" fmla="*/ 40 h 47"/>
                <a:gd name="T34" fmla="*/ 26 w 75"/>
                <a:gd name="T35" fmla="*/ 41 h 47"/>
                <a:gd name="T36" fmla="*/ 26 w 75"/>
                <a:gd name="T37" fmla="*/ 40 h 47"/>
                <a:gd name="T38" fmla="*/ 27 w 75"/>
                <a:gd name="T39" fmla="*/ 40 h 47"/>
                <a:gd name="T40" fmla="*/ 29 w 75"/>
                <a:gd name="T41" fmla="*/ 40 h 47"/>
                <a:gd name="T42" fmla="*/ 31 w 75"/>
                <a:gd name="T43" fmla="*/ 39 h 47"/>
                <a:gd name="T44" fmla="*/ 32 w 75"/>
                <a:gd name="T45" fmla="*/ 39 h 47"/>
                <a:gd name="T46" fmla="*/ 39 w 75"/>
                <a:gd name="T47" fmla="*/ 45 h 47"/>
                <a:gd name="T48" fmla="*/ 39 w 75"/>
                <a:gd name="T49" fmla="*/ 45 h 47"/>
                <a:gd name="T50" fmla="*/ 40 w 75"/>
                <a:gd name="T51" fmla="*/ 45 h 47"/>
                <a:gd name="T52" fmla="*/ 41 w 75"/>
                <a:gd name="T53" fmla="*/ 45 h 47"/>
                <a:gd name="T54" fmla="*/ 42 w 75"/>
                <a:gd name="T55" fmla="*/ 45 h 47"/>
                <a:gd name="T56" fmla="*/ 45 w 75"/>
                <a:gd name="T57" fmla="*/ 47 h 47"/>
                <a:gd name="T58" fmla="*/ 47 w 75"/>
                <a:gd name="T59" fmla="*/ 47 h 47"/>
                <a:gd name="T60" fmla="*/ 51 w 75"/>
                <a:gd name="T61" fmla="*/ 46 h 47"/>
                <a:gd name="T62" fmla="*/ 55 w 75"/>
                <a:gd name="T63" fmla="*/ 46 h 47"/>
                <a:gd name="T64" fmla="*/ 59 w 75"/>
                <a:gd name="T65" fmla="*/ 46 h 47"/>
                <a:gd name="T66" fmla="*/ 62 w 75"/>
                <a:gd name="T67" fmla="*/ 46 h 47"/>
                <a:gd name="T68" fmla="*/ 74 w 75"/>
                <a:gd name="T69" fmla="*/ 37 h 47"/>
                <a:gd name="T70" fmla="*/ 74 w 75"/>
                <a:gd name="T71" fmla="*/ 30 h 47"/>
                <a:gd name="T72" fmla="*/ 70 w 75"/>
                <a:gd name="T73" fmla="*/ 28 h 47"/>
                <a:gd name="T74" fmla="*/ 73 w 75"/>
                <a:gd name="T75" fmla="*/ 24 h 47"/>
                <a:gd name="T76" fmla="*/ 72 w 75"/>
                <a:gd name="T77" fmla="*/ 18 h 47"/>
                <a:gd name="T78" fmla="*/ 70 w 75"/>
                <a:gd name="T79" fmla="*/ 16 h 47"/>
                <a:gd name="T80" fmla="*/ 68 w 75"/>
                <a:gd name="T81" fmla="*/ 13 h 47"/>
                <a:gd name="T82" fmla="*/ 65 w 75"/>
                <a:gd name="T83" fmla="*/ 12 h 47"/>
                <a:gd name="T84" fmla="*/ 54 w 75"/>
                <a:gd name="T85" fmla="*/ 3 h 47"/>
                <a:gd name="T86" fmla="*/ 40 w 75"/>
                <a:gd name="T8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47">
                  <a:moveTo>
                    <a:pt x="40" y="0"/>
                  </a:moveTo>
                  <a:cubicBezTo>
                    <a:pt x="34" y="2"/>
                    <a:pt x="28" y="4"/>
                    <a:pt x="22" y="6"/>
                  </a:cubicBezTo>
                  <a:cubicBezTo>
                    <a:pt x="20" y="7"/>
                    <a:pt x="11" y="9"/>
                    <a:pt x="10" y="12"/>
                  </a:cubicBezTo>
                  <a:cubicBezTo>
                    <a:pt x="12" y="12"/>
                    <a:pt x="13" y="11"/>
                    <a:pt x="14" y="11"/>
                  </a:cubicBezTo>
                  <a:cubicBezTo>
                    <a:pt x="14" y="11"/>
                    <a:pt x="15" y="11"/>
                    <a:pt x="15" y="11"/>
                  </a:cubicBezTo>
                  <a:cubicBezTo>
                    <a:pt x="12" y="15"/>
                    <a:pt x="6" y="17"/>
                    <a:pt x="3" y="21"/>
                  </a:cubicBezTo>
                  <a:cubicBezTo>
                    <a:pt x="2" y="23"/>
                    <a:pt x="1" y="28"/>
                    <a:pt x="0" y="30"/>
                  </a:cubicBezTo>
                  <a:cubicBezTo>
                    <a:pt x="1" y="30"/>
                    <a:pt x="2" y="30"/>
                    <a:pt x="2" y="30"/>
                  </a:cubicBezTo>
                  <a:cubicBezTo>
                    <a:pt x="4" y="30"/>
                    <a:pt x="4" y="33"/>
                    <a:pt x="6" y="34"/>
                  </a:cubicBezTo>
                  <a:cubicBezTo>
                    <a:pt x="7" y="34"/>
                    <a:pt x="7" y="34"/>
                    <a:pt x="8" y="34"/>
                  </a:cubicBezTo>
                  <a:cubicBezTo>
                    <a:pt x="9" y="34"/>
                    <a:pt x="9" y="31"/>
                    <a:pt x="11" y="31"/>
                  </a:cubicBezTo>
                  <a:cubicBezTo>
                    <a:pt x="12" y="35"/>
                    <a:pt x="16" y="37"/>
                    <a:pt x="20" y="38"/>
                  </a:cubicBezTo>
                  <a:cubicBezTo>
                    <a:pt x="20" y="38"/>
                    <a:pt x="20" y="38"/>
                    <a:pt x="20" y="38"/>
                  </a:cubicBezTo>
                  <a:cubicBezTo>
                    <a:pt x="20" y="38"/>
                    <a:pt x="20" y="38"/>
                    <a:pt x="21" y="38"/>
                  </a:cubicBezTo>
                  <a:cubicBezTo>
                    <a:pt x="21" y="38"/>
                    <a:pt x="21" y="38"/>
                    <a:pt x="21" y="38"/>
                  </a:cubicBezTo>
                  <a:cubicBezTo>
                    <a:pt x="21" y="38"/>
                    <a:pt x="22" y="38"/>
                    <a:pt x="22" y="38"/>
                  </a:cubicBezTo>
                  <a:cubicBezTo>
                    <a:pt x="23" y="38"/>
                    <a:pt x="23" y="40"/>
                    <a:pt x="24" y="40"/>
                  </a:cubicBezTo>
                  <a:cubicBezTo>
                    <a:pt x="25" y="41"/>
                    <a:pt x="26" y="41"/>
                    <a:pt x="26" y="41"/>
                  </a:cubicBezTo>
                  <a:cubicBezTo>
                    <a:pt x="27" y="41"/>
                    <a:pt x="27" y="41"/>
                    <a:pt x="26" y="40"/>
                  </a:cubicBezTo>
                  <a:cubicBezTo>
                    <a:pt x="27" y="40"/>
                    <a:pt x="27" y="40"/>
                    <a:pt x="27" y="40"/>
                  </a:cubicBezTo>
                  <a:cubicBezTo>
                    <a:pt x="28" y="40"/>
                    <a:pt x="28" y="40"/>
                    <a:pt x="29" y="40"/>
                  </a:cubicBezTo>
                  <a:cubicBezTo>
                    <a:pt x="30" y="39"/>
                    <a:pt x="30" y="39"/>
                    <a:pt x="31" y="39"/>
                  </a:cubicBezTo>
                  <a:cubicBezTo>
                    <a:pt x="31" y="39"/>
                    <a:pt x="31" y="39"/>
                    <a:pt x="32" y="39"/>
                  </a:cubicBezTo>
                  <a:cubicBezTo>
                    <a:pt x="35" y="41"/>
                    <a:pt x="35" y="44"/>
                    <a:pt x="39" y="45"/>
                  </a:cubicBezTo>
                  <a:cubicBezTo>
                    <a:pt x="39" y="45"/>
                    <a:pt x="39" y="45"/>
                    <a:pt x="39" y="45"/>
                  </a:cubicBezTo>
                  <a:cubicBezTo>
                    <a:pt x="39" y="45"/>
                    <a:pt x="40" y="45"/>
                    <a:pt x="40" y="45"/>
                  </a:cubicBezTo>
                  <a:cubicBezTo>
                    <a:pt x="40" y="45"/>
                    <a:pt x="41" y="45"/>
                    <a:pt x="41" y="45"/>
                  </a:cubicBezTo>
                  <a:cubicBezTo>
                    <a:pt x="41" y="45"/>
                    <a:pt x="41" y="45"/>
                    <a:pt x="42" y="45"/>
                  </a:cubicBezTo>
                  <a:cubicBezTo>
                    <a:pt x="43" y="45"/>
                    <a:pt x="44" y="46"/>
                    <a:pt x="45" y="47"/>
                  </a:cubicBezTo>
                  <a:cubicBezTo>
                    <a:pt x="45" y="47"/>
                    <a:pt x="46" y="47"/>
                    <a:pt x="47" y="47"/>
                  </a:cubicBezTo>
                  <a:cubicBezTo>
                    <a:pt x="48" y="47"/>
                    <a:pt x="50" y="47"/>
                    <a:pt x="51" y="46"/>
                  </a:cubicBezTo>
                  <a:cubicBezTo>
                    <a:pt x="52" y="46"/>
                    <a:pt x="54" y="46"/>
                    <a:pt x="55" y="46"/>
                  </a:cubicBezTo>
                  <a:cubicBezTo>
                    <a:pt x="57" y="46"/>
                    <a:pt x="58" y="46"/>
                    <a:pt x="59" y="46"/>
                  </a:cubicBezTo>
                  <a:cubicBezTo>
                    <a:pt x="60" y="46"/>
                    <a:pt x="61" y="46"/>
                    <a:pt x="62" y="46"/>
                  </a:cubicBezTo>
                  <a:cubicBezTo>
                    <a:pt x="68" y="46"/>
                    <a:pt x="73" y="45"/>
                    <a:pt x="74" y="37"/>
                  </a:cubicBezTo>
                  <a:cubicBezTo>
                    <a:pt x="74" y="35"/>
                    <a:pt x="75" y="32"/>
                    <a:pt x="74" y="30"/>
                  </a:cubicBezTo>
                  <a:cubicBezTo>
                    <a:pt x="73" y="29"/>
                    <a:pt x="71" y="29"/>
                    <a:pt x="70" y="28"/>
                  </a:cubicBezTo>
                  <a:cubicBezTo>
                    <a:pt x="69" y="27"/>
                    <a:pt x="73" y="25"/>
                    <a:pt x="73" y="24"/>
                  </a:cubicBezTo>
                  <a:cubicBezTo>
                    <a:pt x="73" y="23"/>
                    <a:pt x="72" y="19"/>
                    <a:pt x="72" y="18"/>
                  </a:cubicBezTo>
                  <a:cubicBezTo>
                    <a:pt x="72" y="17"/>
                    <a:pt x="71" y="16"/>
                    <a:pt x="70" y="16"/>
                  </a:cubicBezTo>
                  <a:cubicBezTo>
                    <a:pt x="69" y="15"/>
                    <a:pt x="69" y="14"/>
                    <a:pt x="68" y="13"/>
                  </a:cubicBezTo>
                  <a:cubicBezTo>
                    <a:pt x="67" y="12"/>
                    <a:pt x="66" y="12"/>
                    <a:pt x="65" y="12"/>
                  </a:cubicBezTo>
                  <a:cubicBezTo>
                    <a:pt x="61" y="10"/>
                    <a:pt x="58" y="6"/>
                    <a:pt x="54" y="3"/>
                  </a:cubicBezTo>
                  <a:cubicBezTo>
                    <a:pt x="50" y="0"/>
                    <a:pt x="45" y="0"/>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 name="Freeform 223">
              <a:extLst>
                <a:ext uri="{FF2B5EF4-FFF2-40B4-BE49-F238E27FC236}">
                  <a16:creationId xmlns:a16="http://schemas.microsoft.com/office/drawing/2014/main" id="{D2EE3AE1-48A4-4344-AF52-EC781B87E060}"/>
                </a:ext>
              </a:extLst>
            </p:cNvPr>
            <p:cNvSpPr>
              <a:spLocks/>
            </p:cNvSpPr>
            <p:nvPr/>
          </p:nvSpPr>
          <p:spPr bwMode="auto">
            <a:xfrm>
              <a:off x="9186854" y="1947097"/>
              <a:ext cx="211138" cy="161925"/>
            </a:xfrm>
            <a:custGeom>
              <a:avLst/>
              <a:gdLst>
                <a:gd name="T0" fmla="*/ 35 w 56"/>
                <a:gd name="T1" fmla="*/ 0 h 43"/>
                <a:gd name="T2" fmla="*/ 30 w 56"/>
                <a:gd name="T3" fmla="*/ 0 h 43"/>
                <a:gd name="T4" fmla="*/ 28 w 56"/>
                <a:gd name="T5" fmla="*/ 1 h 43"/>
                <a:gd name="T6" fmla="*/ 27 w 56"/>
                <a:gd name="T7" fmla="*/ 1 h 43"/>
                <a:gd name="T8" fmla="*/ 24 w 56"/>
                <a:gd name="T9" fmla="*/ 0 h 43"/>
                <a:gd name="T10" fmla="*/ 24 w 56"/>
                <a:gd name="T11" fmla="*/ 0 h 43"/>
                <a:gd name="T12" fmla="*/ 18 w 56"/>
                <a:gd name="T13" fmla="*/ 1 h 43"/>
                <a:gd name="T14" fmla="*/ 12 w 56"/>
                <a:gd name="T15" fmla="*/ 5 h 43"/>
                <a:gd name="T16" fmla="*/ 6 w 56"/>
                <a:gd name="T17" fmla="*/ 13 h 43"/>
                <a:gd name="T18" fmla="*/ 0 w 56"/>
                <a:gd name="T19" fmla="*/ 23 h 43"/>
                <a:gd name="T20" fmla="*/ 3 w 56"/>
                <a:gd name="T21" fmla="*/ 36 h 43"/>
                <a:gd name="T22" fmla="*/ 19 w 56"/>
                <a:gd name="T23" fmla="*/ 43 h 43"/>
                <a:gd name="T24" fmla="*/ 21 w 56"/>
                <a:gd name="T25" fmla="*/ 43 h 43"/>
                <a:gd name="T26" fmla="*/ 36 w 56"/>
                <a:gd name="T27" fmla="*/ 41 h 43"/>
                <a:gd name="T28" fmla="*/ 52 w 56"/>
                <a:gd name="T29" fmla="*/ 27 h 43"/>
                <a:gd name="T30" fmla="*/ 51 w 56"/>
                <a:gd name="T31" fmla="*/ 18 h 43"/>
                <a:gd name="T32" fmla="*/ 51 w 56"/>
                <a:gd name="T33" fmla="*/ 4 h 43"/>
                <a:gd name="T34" fmla="*/ 44 w 56"/>
                <a:gd name="T35" fmla="*/ 3 h 43"/>
                <a:gd name="T36" fmla="*/ 38 w 56"/>
                <a:gd name="T37" fmla="*/ 0 h 43"/>
                <a:gd name="T38" fmla="*/ 35 w 56"/>
                <a:gd name="T3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 h="43">
                  <a:moveTo>
                    <a:pt x="35" y="0"/>
                  </a:moveTo>
                  <a:cubicBezTo>
                    <a:pt x="33" y="0"/>
                    <a:pt x="32" y="0"/>
                    <a:pt x="30" y="0"/>
                  </a:cubicBezTo>
                  <a:cubicBezTo>
                    <a:pt x="29" y="1"/>
                    <a:pt x="28" y="1"/>
                    <a:pt x="28" y="1"/>
                  </a:cubicBezTo>
                  <a:cubicBezTo>
                    <a:pt x="27" y="1"/>
                    <a:pt x="27" y="1"/>
                    <a:pt x="27" y="1"/>
                  </a:cubicBezTo>
                  <a:cubicBezTo>
                    <a:pt x="26" y="1"/>
                    <a:pt x="25" y="0"/>
                    <a:pt x="24" y="0"/>
                  </a:cubicBezTo>
                  <a:cubicBezTo>
                    <a:pt x="24" y="0"/>
                    <a:pt x="24" y="0"/>
                    <a:pt x="24" y="0"/>
                  </a:cubicBezTo>
                  <a:cubicBezTo>
                    <a:pt x="22" y="0"/>
                    <a:pt x="19" y="1"/>
                    <a:pt x="18" y="1"/>
                  </a:cubicBezTo>
                  <a:cubicBezTo>
                    <a:pt x="15" y="2"/>
                    <a:pt x="14" y="3"/>
                    <a:pt x="12" y="5"/>
                  </a:cubicBezTo>
                  <a:cubicBezTo>
                    <a:pt x="10" y="7"/>
                    <a:pt x="8" y="10"/>
                    <a:pt x="6" y="13"/>
                  </a:cubicBezTo>
                  <a:cubicBezTo>
                    <a:pt x="4" y="16"/>
                    <a:pt x="1" y="19"/>
                    <a:pt x="0" y="23"/>
                  </a:cubicBezTo>
                  <a:cubicBezTo>
                    <a:pt x="0" y="27"/>
                    <a:pt x="1" y="33"/>
                    <a:pt x="3" y="36"/>
                  </a:cubicBezTo>
                  <a:cubicBezTo>
                    <a:pt x="8" y="40"/>
                    <a:pt x="12" y="43"/>
                    <a:pt x="19" y="43"/>
                  </a:cubicBezTo>
                  <a:cubicBezTo>
                    <a:pt x="19" y="43"/>
                    <a:pt x="20" y="43"/>
                    <a:pt x="21" y="43"/>
                  </a:cubicBezTo>
                  <a:cubicBezTo>
                    <a:pt x="26" y="43"/>
                    <a:pt x="31" y="43"/>
                    <a:pt x="36" y="41"/>
                  </a:cubicBezTo>
                  <a:cubicBezTo>
                    <a:pt x="43" y="39"/>
                    <a:pt x="52" y="36"/>
                    <a:pt x="52" y="27"/>
                  </a:cubicBezTo>
                  <a:cubicBezTo>
                    <a:pt x="52" y="24"/>
                    <a:pt x="52" y="21"/>
                    <a:pt x="51" y="18"/>
                  </a:cubicBezTo>
                  <a:cubicBezTo>
                    <a:pt x="48" y="13"/>
                    <a:pt x="56" y="9"/>
                    <a:pt x="51" y="4"/>
                  </a:cubicBezTo>
                  <a:cubicBezTo>
                    <a:pt x="49" y="3"/>
                    <a:pt x="47" y="3"/>
                    <a:pt x="44" y="3"/>
                  </a:cubicBezTo>
                  <a:cubicBezTo>
                    <a:pt x="42" y="2"/>
                    <a:pt x="40" y="1"/>
                    <a:pt x="38" y="0"/>
                  </a:cubicBezTo>
                  <a:cubicBezTo>
                    <a:pt x="37" y="0"/>
                    <a:pt x="36" y="0"/>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 name="Freeform 224">
              <a:extLst>
                <a:ext uri="{FF2B5EF4-FFF2-40B4-BE49-F238E27FC236}">
                  <a16:creationId xmlns:a16="http://schemas.microsoft.com/office/drawing/2014/main" id="{C7DF9F06-2825-48B9-898B-1E7F47DB593E}"/>
                </a:ext>
              </a:extLst>
            </p:cNvPr>
            <p:cNvSpPr>
              <a:spLocks/>
            </p:cNvSpPr>
            <p:nvPr/>
          </p:nvSpPr>
          <p:spPr bwMode="auto">
            <a:xfrm>
              <a:off x="6507154" y="1102547"/>
              <a:ext cx="38100" cy="11113"/>
            </a:xfrm>
            <a:custGeom>
              <a:avLst/>
              <a:gdLst>
                <a:gd name="T0" fmla="*/ 4 w 10"/>
                <a:gd name="T1" fmla="*/ 0 h 3"/>
                <a:gd name="T2" fmla="*/ 0 w 10"/>
                <a:gd name="T3" fmla="*/ 1 h 3"/>
                <a:gd name="T4" fmla="*/ 2 w 10"/>
                <a:gd name="T5" fmla="*/ 2 h 3"/>
                <a:gd name="T6" fmla="*/ 2 w 10"/>
                <a:gd name="T7" fmla="*/ 2 h 3"/>
                <a:gd name="T8" fmla="*/ 10 w 10"/>
                <a:gd name="T9" fmla="*/ 3 h 3"/>
                <a:gd name="T10" fmla="*/ 4 w 10"/>
                <a:gd name="T11" fmla="*/ 0 h 3"/>
              </a:gdLst>
              <a:ahLst/>
              <a:cxnLst>
                <a:cxn ang="0">
                  <a:pos x="T0" y="T1"/>
                </a:cxn>
                <a:cxn ang="0">
                  <a:pos x="T2" y="T3"/>
                </a:cxn>
                <a:cxn ang="0">
                  <a:pos x="T4" y="T5"/>
                </a:cxn>
                <a:cxn ang="0">
                  <a:pos x="T6" y="T7"/>
                </a:cxn>
                <a:cxn ang="0">
                  <a:pos x="T8" y="T9"/>
                </a:cxn>
                <a:cxn ang="0">
                  <a:pos x="T10" y="T11"/>
                </a:cxn>
              </a:cxnLst>
              <a:rect l="0" t="0" r="r" b="b"/>
              <a:pathLst>
                <a:path w="10" h="3">
                  <a:moveTo>
                    <a:pt x="4" y="0"/>
                  </a:moveTo>
                  <a:cubicBezTo>
                    <a:pt x="2" y="0"/>
                    <a:pt x="1" y="0"/>
                    <a:pt x="0" y="1"/>
                  </a:cubicBezTo>
                  <a:cubicBezTo>
                    <a:pt x="0" y="2"/>
                    <a:pt x="1" y="2"/>
                    <a:pt x="2" y="2"/>
                  </a:cubicBezTo>
                  <a:cubicBezTo>
                    <a:pt x="2" y="2"/>
                    <a:pt x="2" y="2"/>
                    <a:pt x="2" y="2"/>
                  </a:cubicBezTo>
                  <a:cubicBezTo>
                    <a:pt x="5" y="3"/>
                    <a:pt x="8" y="2"/>
                    <a:pt x="10" y="3"/>
                  </a:cubicBezTo>
                  <a:cubicBezTo>
                    <a:pt x="9"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 name="Freeform 225">
              <a:extLst>
                <a:ext uri="{FF2B5EF4-FFF2-40B4-BE49-F238E27FC236}">
                  <a16:creationId xmlns:a16="http://schemas.microsoft.com/office/drawing/2014/main" id="{381249AC-DD1C-449A-96E1-02EE2CCB67F3}"/>
                </a:ext>
              </a:extLst>
            </p:cNvPr>
            <p:cNvSpPr>
              <a:spLocks/>
            </p:cNvSpPr>
            <p:nvPr/>
          </p:nvSpPr>
          <p:spPr bwMode="auto">
            <a:xfrm>
              <a:off x="9043979" y="3563172"/>
              <a:ext cx="26988" cy="36513"/>
            </a:xfrm>
            <a:custGeom>
              <a:avLst/>
              <a:gdLst>
                <a:gd name="T0" fmla="*/ 5 w 7"/>
                <a:gd name="T1" fmla="*/ 0 h 10"/>
                <a:gd name="T2" fmla="*/ 2 w 7"/>
                <a:gd name="T3" fmla="*/ 5 h 10"/>
                <a:gd name="T4" fmla="*/ 0 w 7"/>
                <a:gd name="T5" fmla="*/ 10 h 10"/>
                <a:gd name="T6" fmla="*/ 1 w 7"/>
                <a:gd name="T7" fmla="*/ 10 h 10"/>
                <a:gd name="T8" fmla="*/ 7 w 7"/>
                <a:gd name="T9" fmla="*/ 1 h 10"/>
                <a:gd name="T10" fmla="*/ 5 w 7"/>
                <a:gd name="T11" fmla="*/ 0 h 10"/>
              </a:gdLst>
              <a:ahLst/>
              <a:cxnLst>
                <a:cxn ang="0">
                  <a:pos x="T0" y="T1"/>
                </a:cxn>
                <a:cxn ang="0">
                  <a:pos x="T2" y="T3"/>
                </a:cxn>
                <a:cxn ang="0">
                  <a:pos x="T4" y="T5"/>
                </a:cxn>
                <a:cxn ang="0">
                  <a:pos x="T6" y="T7"/>
                </a:cxn>
                <a:cxn ang="0">
                  <a:pos x="T8" y="T9"/>
                </a:cxn>
                <a:cxn ang="0">
                  <a:pos x="T10" y="T11"/>
                </a:cxn>
              </a:cxnLst>
              <a:rect l="0" t="0" r="r" b="b"/>
              <a:pathLst>
                <a:path w="7" h="10">
                  <a:moveTo>
                    <a:pt x="5" y="0"/>
                  </a:moveTo>
                  <a:cubicBezTo>
                    <a:pt x="3" y="0"/>
                    <a:pt x="3" y="4"/>
                    <a:pt x="2" y="5"/>
                  </a:cubicBezTo>
                  <a:cubicBezTo>
                    <a:pt x="2" y="7"/>
                    <a:pt x="0" y="8"/>
                    <a:pt x="0" y="10"/>
                  </a:cubicBezTo>
                  <a:cubicBezTo>
                    <a:pt x="0" y="10"/>
                    <a:pt x="1" y="10"/>
                    <a:pt x="1" y="10"/>
                  </a:cubicBezTo>
                  <a:cubicBezTo>
                    <a:pt x="7" y="10"/>
                    <a:pt x="6" y="6"/>
                    <a:pt x="7" y="1"/>
                  </a:cubicBezTo>
                  <a:cubicBezTo>
                    <a:pt x="6"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 name="Freeform 226">
              <a:extLst>
                <a:ext uri="{FF2B5EF4-FFF2-40B4-BE49-F238E27FC236}">
                  <a16:creationId xmlns:a16="http://schemas.microsoft.com/office/drawing/2014/main" id="{906AD833-7379-4115-8B08-4165BD8097AA}"/>
                </a:ext>
              </a:extLst>
            </p:cNvPr>
            <p:cNvSpPr>
              <a:spLocks/>
            </p:cNvSpPr>
            <p:nvPr/>
          </p:nvSpPr>
          <p:spPr bwMode="auto">
            <a:xfrm>
              <a:off x="9717079" y="2724972"/>
              <a:ext cx="85725" cy="49213"/>
            </a:xfrm>
            <a:custGeom>
              <a:avLst/>
              <a:gdLst>
                <a:gd name="T0" fmla="*/ 0 w 23"/>
                <a:gd name="T1" fmla="*/ 0 h 13"/>
                <a:gd name="T2" fmla="*/ 9 w 23"/>
                <a:gd name="T3" fmla="*/ 8 h 13"/>
                <a:gd name="T4" fmla="*/ 11 w 23"/>
                <a:gd name="T5" fmla="*/ 12 h 13"/>
                <a:gd name="T6" fmla="*/ 16 w 23"/>
                <a:gd name="T7" fmla="*/ 13 h 13"/>
                <a:gd name="T8" fmla="*/ 23 w 23"/>
                <a:gd name="T9" fmla="*/ 12 h 13"/>
                <a:gd name="T10" fmla="*/ 15 w 23"/>
                <a:gd name="T11" fmla="*/ 4 h 13"/>
                <a:gd name="T12" fmla="*/ 0 w 23"/>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23" h="13">
                  <a:moveTo>
                    <a:pt x="0" y="0"/>
                  </a:moveTo>
                  <a:cubicBezTo>
                    <a:pt x="3" y="3"/>
                    <a:pt x="7" y="5"/>
                    <a:pt x="9" y="8"/>
                  </a:cubicBezTo>
                  <a:cubicBezTo>
                    <a:pt x="10" y="9"/>
                    <a:pt x="10" y="11"/>
                    <a:pt x="11" y="12"/>
                  </a:cubicBezTo>
                  <a:cubicBezTo>
                    <a:pt x="12" y="13"/>
                    <a:pt x="14" y="13"/>
                    <a:pt x="16" y="13"/>
                  </a:cubicBezTo>
                  <a:cubicBezTo>
                    <a:pt x="19" y="13"/>
                    <a:pt x="21" y="13"/>
                    <a:pt x="23" y="12"/>
                  </a:cubicBezTo>
                  <a:cubicBezTo>
                    <a:pt x="21" y="9"/>
                    <a:pt x="18" y="7"/>
                    <a:pt x="15" y="4"/>
                  </a:cubicBezTo>
                  <a:cubicBezTo>
                    <a:pt x="10" y="2"/>
                    <a:pt x="5"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 name="Freeform 227">
              <a:extLst>
                <a:ext uri="{FF2B5EF4-FFF2-40B4-BE49-F238E27FC236}">
                  <a16:creationId xmlns:a16="http://schemas.microsoft.com/office/drawing/2014/main" id="{15CC91DF-06DE-4E10-AD6C-B51618DA4695}"/>
                </a:ext>
              </a:extLst>
            </p:cNvPr>
            <p:cNvSpPr>
              <a:spLocks/>
            </p:cNvSpPr>
            <p:nvPr/>
          </p:nvSpPr>
          <p:spPr bwMode="auto">
            <a:xfrm>
              <a:off x="6597641" y="1080322"/>
              <a:ext cx="220663" cy="146050"/>
            </a:xfrm>
            <a:custGeom>
              <a:avLst/>
              <a:gdLst>
                <a:gd name="T0" fmla="*/ 41 w 59"/>
                <a:gd name="T1" fmla="*/ 0 h 39"/>
                <a:gd name="T2" fmla="*/ 39 w 59"/>
                <a:gd name="T3" fmla="*/ 0 h 39"/>
                <a:gd name="T4" fmla="*/ 38 w 59"/>
                <a:gd name="T5" fmla="*/ 0 h 39"/>
                <a:gd name="T6" fmla="*/ 38 w 59"/>
                <a:gd name="T7" fmla="*/ 0 h 39"/>
                <a:gd name="T8" fmla="*/ 36 w 59"/>
                <a:gd name="T9" fmla="*/ 0 h 39"/>
                <a:gd name="T10" fmla="*/ 26 w 59"/>
                <a:gd name="T11" fmla="*/ 1 h 39"/>
                <a:gd name="T12" fmla="*/ 26 w 59"/>
                <a:gd name="T13" fmla="*/ 1 h 39"/>
                <a:gd name="T14" fmla="*/ 20 w 59"/>
                <a:gd name="T15" fmla="*/ 1 h 39"/>
                <a:gd name="T16" fmla="*/ 17 w 59"/>
                <a:gd name="T17" fmla="*/ 1 h 39"/>
                <a:gd name="T18" fmla="*/ 16 w 59"/>
                <a:gd name="T19" fmla="*/ 1 h 39"/>
                <a:gd name="T20" fmla="*/ 13 w 59"/>
                <a:gd name="T21" fmla="*/ 2 h 39"/>
                <a:gd name="T22" fmla="*/ 11 w 59"/>
                <a:gd name="T23" fmla="*/ 2 h 39"/>
                <a:gd name="T24" fmla="*/ 10 w 59"/>
                <a:gd name="T25" fmla="*/ 3 h 39"/>
                <a:gd name="T26" fmla="*/ 9 w 59"/>
                <a:gd name="T27" fmla="*/ 3 h 39"/>
                <a:gd name="T28" fmla="*/ 9 w 59"/>
                <a:gd name="T29" fmla="*/ 3 h 39"/>
                <a:gd name="T30" fmla="*/ 6 w 59"/>
                <a:gd name="T31" fmla="*/ 6 h 39"/>
                <a:gd name="T32" fmla="*/ 4 w 59"/>
                <a:gd name="T33" fmla="*/ 9 h 39"/>
                <a:gd name="T34" fmla="*/ 3 w 59"/>
                <a:gd name="T35" fmla="*/ 9 h 39"/>
                <a:gd name="T36" fmla="*/ 1 w 59"/>
                <a:gd name="T37" fmla="*/ 13 h 39"/>
                <a:gd name="T38" fmla="*/ 1 w 59"/>
                <a:gd name="T39" fmla="*/ 13 h 39"/>
                <a:gd name="T40" fmla="*/ 8 w 59"/>
                <a:gd name="T41" fmla="*/ 14 h 39"/>
                <a:gd name="T42" fmla="*/ 13 w 59"/>
                <a:gd name="T43" fmla="*/ 17 h 39"/>
                <a:gd name="T44" fmla="*/ 15 w 59"/>
                <a:gd name="T45" fmla="*/ 18 h 39"/>
                <a:gd name="T46" fmla="*/ 20 w 59"/>
                <a:gd name="T47" fmla="*/ 22 h 39"/>
                <a:gd name="T48" fmla="*/ 20 w 59"/>
                <a:gd name="T49" fmla="*/ 22 h 39"/>
                <a:gd name="T50" fmla="*/ 21 w 59"/>
                <a:gd name="T51" fmla="*/ 23 h 39"/>
                <a:gd name="T52" fmla="*/ 22 w 59"/>
                <a:gd name="T53" fmla="*/ 23 h 39"/>
                <a:gd name="T54" fmla="*/ 22 w 59"/>
                <a:gd name="T55" fmla="*/ 25 h 39"/>
                <a:gd name="T56" fmla="*/ 22 w 59"/>
                <a:gd name="T57" fmla="*/ 25 h 39"/>
                <a:gd name="T58" fmla="*/ 24 w 59"/>
                <a:gd name="T59" fmla="*/ 26 h 39"/>
                <a:gd name="T60" fmla="*/ 27 w 59"/>
                <a:gd name="T61" fmla="*/ 29 h 39"/>
                <a:gd name="T62" fmla="*/ 34 w 59"/>
                <a:gd name="T63" fmla="*/ 35 h 39"/>
                <a:gd name="T64" fmla="*/ 38 w 59"/>
                <a:gd name="T65" fmla="*/ 39 h 39"/>
                <a:gd name="T66" fmla="*/ 39 w 59"/>
                <a:gd name="T67" fmla="*/ 38 h 39"/>
                <a:gd name="T68" fmla="*/ 41 w 59"/>
                <a:gd name="T69" fmla="*/ 38 h 39"/>
                <a:gd name="T70" fmla="*/ 45 w 59"/>
                <a:gd name="T71" fmla="*/ 35 h 39"/>
                <a:gd name="T72" fmla="*/ 46 w 59"/>
                <a:gd name="T73" fmla="*/ 35 h 39"/>
                <a:gd name="T74" fmla="*/ 46 w 59"/>
                <a:gd name="T75" fmla="*/ 35 h 39"/>
                <a:gd name="T76" fmla="*/ 57 w 59"/>
                <a:gd name="T77" fmla="*/ 19 h 39"/>
                <a:gd name="T78" fmla="*/ 58 w 59"/>
                <a:gd name="T79" fmla="*/ 13 h 39"/>
                <a:gd name="T80" fmla="*/ 59 w 59"/>
                <a:gd name="T81" fmla="*/ 11 h 39"/>
                <a:gd name="T82" fmla="*/ 59 w 59"/>
                <a:gd name="T83" fmla="*/ 10 h 39"/>
                <a:gd name="T84" fmla="*/ 59 w 59"/>
                <a:gd name="T85" fmla="*/ 9 h 39"/>
                <a:gd name="T86" fmla="*/ 56 w 59"/>
                <a:gd name="T87" fmla="*/ 7 h 39"/>
                <a:gd name="T88" fmla="*/ 54 w 59"/>
                <a:gd name="T89" fmla="*/ 6 h 39"/>
                <a:gd name="T90" fmla="*/ 50 w 59"/>
                <a:gd name="T91" fmla="*/ 4 h 39"/>
                <a:gd name="T92" fmla="*/ 44 w 59"/>
                <a:gd name="T93" fmla="*/ 0 h 39"/>
                <a:gd name="T94" fmla="*/ 41 w 59"/>
                <a:gd name="T9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 h="39">
                  <a:moveTo>
                    <a:pt x="41" y="0"/>
                  </a:moveTo>
                  <a:cubicBezTo>
                    <a:pt x="40" y="0"/>
                    <a:pt x="40" y="0"/>
                    <a:pt x="39" y="0"/>
                  </a:cubicBezTo>
                  <a:cubicBezTo>
                    <a:pt x="39" y="0"/>
                    <a:pt x="38" y="0"/>
                    <a:pt x="38" y="0"/>
                  </a:cubicBezTo>
                  <a:cubicBezTo>
                    <a:pt x="38" y="0"/>
                    <a:pt x="38" y="0"/>
                    <a:pt x="38" y="0"/>
                  </a:cubicBezTo>
                  <a:cubicBezTo>
                    <a:pt x="37" y="0"/>
                    <a:pt x="37" y="0"/>
                    <a:pt x="36" y="0"/>
                  </a:cubicBezTo>
                  <a:cubicBezTo>
                    <a:pt x="33" y="0"/>
                    <a:pt x="29" y="1"/>
                    <a:pt x="26" y="1"/>
                  </a:cubicBezTo>
                  <a:cubicBezTo>
                    <a:pt x="26" y="1"/>
                    <a:pt x="26" y="1"/>
                    <a:pt x="26" y="1"/>
                  </a:cubicBezTo>
                  <a:cubicBezTo>
                    <a:pt x="24" y="1"/>
                    <a:pt x="22" y="1"/>
                    <a:pt x="20" y="1"/>
                  </a:cubicBezTo>
                  <a:cubicBezTo>
                    <a:pt x="19" y="1"/>
                    <a:pt x="18" y="1"/>
                    <a:pt x="17" y="1"/>
                  </a:cubicBezTo>
                  <a:cubicBezTo>
                    <a:pt x="16" y="1"/>
                    <a:pt x="16" y="1"/>
                    <a:pt x="16" y="1"/>
                  </a:cubicBezTo>
                  <a:cubicBezTo>
                    <a:pt x="15" y="1"/>
                    <a:pt x="14" y="2"/>
                    <a:pt x="13" y="2"/>
                  </a:cubicBezTo>
                  <a:cubicBezTo>
                    <a:pt x="12" y="2"/>
                    <a:pt x="12" y="2"/>
                    <a:pt x="11" y="2"/>
                  </a:cubicBezTo>
                  <a:cubicBezTo>
                    <a:pt x="11" y="2"/>
                    <a:pt x="10" y="2"/>
                    <a:pt x="10" y="3"/>
                  </a:cubicBezTo>
                  <a:cubicBezTo>
                    <a:pt x="9" y="3"/>
                    <a:pt x="9" y="3"/>
                    <a:pt x="9" y="3"/>
                  </a:cubicBezTo>
                  <a:cubicBezTo>
                    <a:pt x="9" y="3"/>
                    <a:pt x="9" y="3"/>
                    <a:pt x="9" y="3"/>
                  </a:cubicBezTo>
                  <a:cubicBezTo>
                    <a:pt x="8" y="4"/>
                    <a:pt x="7" y="5"/>
                    <a:pt x="6" y="6"/>
                  </a:cubicBezTo>
                  <a:cubicBezTo>
                    <a:pt x="5" y="7"/>
                    <a:pt x="4" y="8"/>
                    <a:pt x="4" y="9"/>
                  </a:cubicBezTo>
                  <a:cubicBezTo>
                    <a:pt x="3" y="9"/>
                    <a:pt x="3" y="9"/>
                    <a:pt x="3" y="9"/>
                  </a:cubicBezTo>
                  <a:cubicBezTo>
                    <a:pt x="1" y="11"/>
                    <a:pt x="0" y="12"/>
                    <a:pt x="1" y="13"/>
                  </a:cubicBezTo>
                  <a:cubicBezTo>
                    <a:pt x="1" y="13"/>
                    <a:pt x="1" y="13"/>
                    <a:pt x="1" y="13"/>
                  </a:cubicBezTo>
                  <a:cubicBezTo>
                    <a:pt x="3" y="14"/>
                    <a:pt x="6" y="13"/>
                    <a:pt x="8" y="14"/>
                  </a:cubicBezTo>
                  <a:cubicBezTo>
                    <a:pt x="10" y="15"/>
                    <a:pt x="12" y="16"/>
                    <a:pt x="13" y="17"/>
                  </a:cubicBezTo>
                  <a:cubicBezTo>
                    <a:pt x="14" y="17"/>
                    <a:pt x="15" y="18"/>
                    <a:pt x="15" y="18"/>
                  </a:cubicBezTo>
                  <a:cubicBezTo>
                    <a:pt x="17" y="19"/>
                    <a:pt x="18" y="20"/>
                    <a:pt x="20" y="22"/>
                  </a:cubicBezTo>
                  <a:cubicBezTo>
                    <a:pt x="20" y="22"/>
                    <a:pt x="20" y="22"/>
                    <a:pt x="20" y="22"/>
                  </a:cubicBezTo>
                  <a:cubicBezTo>
                    <a:pt x="21" y="23"/>
                    <a:pt x="21" y="23"/>
                    <a:pt x="21" y="23"/>
                  </a:cubicBezTo>
                  <a:cubicBezTo>
                    <a:pt x="21" y="23"/>
                    <a:pt x="21" y="23"/>
                    <a:pt x="22" y="23"/>
                  </a:cubicBezTo>
                  <a:cubicBezTo>
                    <a:pt x="22" y="24"/>
                    <a:pt x="22" y="25"/>
                    <a:pt x="22" y="25"/>
                  </a:cubicBezTo>
                  <a:cubicBezTo>
                    <a:pt x="22" y="25"/>
                    <a:pt x="22" y="25"/>
                    <a:pt x="22" y="25"/>
                  </a:cubicBezTo>
                  <a:cubicBezTo>
                    <a:pt x="22" y="26"/>
                    <a:pt x="23" y="26"/>
                    <a:pt x="24" y="26"/>
                  </a:cubicBezTo>
                  <a:cubicBezTo>
                    <a:pt x="25" y="27"/>
                    <a:pt x="26" y="28"/>
                    <a:pt x="27" y="29"/>
                  </a:cubicBezTo>
                  <a:cubicBezTo>
                    <a:pt x="29" y="31"/>
                    <a:pt x="32" y="33"/>
                    <a:pt x="34" y="35"/>
                  </a:cubicBezTo>
                  <a:cubicBezTo>
                    <a:pt x="36" y="36"/>
                    <a:pt x="37" y="38"/>
                    <a:pt x="38" y="39"/>
                  </a:cubicBezTo>
                  <a:cubicBezTo>
                    <a:pt x="38" y="39"/>
                    <a:pt x="39" y="39"/>
                    <a:pt x="39" y="38"/>
                  </a:cubicBezTo>
                  <a:cubicBezTo>
                    <a:pt x="40" y="38"/>
                    <a:pt x="40" y="38"/>
                    <a:pt x="41" y="38"/>
                  </a:cubicBezTo>
                  <a:cubicBezTo>
                    <a:pt x="43" y="37"/>
                    <a:pt x="45" y="36"/>
                    <a:pt x="45" y="35"/>
                  </a:cubicBezTo>
                  <a:cubicBezTo>
                    <a:pt x="46" y="35"/>
                    <a:pt x="46" y="35"/>
                    <a:pt x="46" y="35"/>
                  </a:cubicBezTo>
                  <a:cubicBezTo>
                    <a:pt x="46" y="35"/>
                    <a:pt x="46" y="35"/>
                    <a:pt x="46" y="35"/>
                  </a:cubicBezTo>
                  <a:cubicBezTo>
                    <a:pt x="49" y="30"/>
                    <a:pt x="56" y="25"/>
                    <a:pt x="57" y="19"/>
                  </a:cubicBezTo>
                  <a:cubicBezTo>
                    <a:pt x="58" y="17"/>
                    <a:pt x="58" y="15"/>
                    <a:pt x="58" y="13"/>
                  </a:cubicBezTo>
                  <a:cubicBezTo>
                    <a:pt x="59" y="13"/>
                    <a:pt x="59" y="12"/>
                    <a:pt x="59" y="11"/>
                  </a:cubicBezTo>
                  <a:cubicBezTo>
                    <a:pt x="59" y="10"/>
                    <a:pt x="59" y="10"/>
                    <a:pt x="59" y="10"/>
                  </a:cubicBezTo>
                  <a:cubicBezTo>
                    <a:pt x="59" y="9"/>
                    <a:pt x="59" y="9"/>
                    <a:pt x="59" y="9"/>
                  </a:cubicBezTo>
                  <a:cubicBezTo>
                    <a:pt x="58" y="8"/>
                    <a:pt x="57" y="7"/>
                    <a:pt x="56" y="7"/>
                  </a:cubicBezTo>
                  <a:cubicBezTo>
                    <a:pt x="55" y="7"/>
                    <a:pt x="55" y="6"/>
                    <a:pt x="54" y="6"/>
                  </a:cubicBezTo>
                  <a:cubicBezTo>
                    <a:pt x="53" y="5"/>
                    <a:pt x="51" y="4"/>
                    <a:pt x="50" y="4"/>
                  </a:cubicBezTo>
                  <a:cubicBezTo>
                    <a:pt x="48" y="2"/>
                    <a:pt x="46" y="1"/>
                    <a:pt x="44" y="0"/>
                  </a:cubicBezTo>
                  <a:cubicBezTo>
                    <a:pt x="43" y="0"/>
                    <a:pt x="42"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 name="Freeform 228">
              <a:extLst>
                <a:ext uri="{FF2B5EF4-FFF2-40B4-BE49-F238E27FC236}">
                  <a16:creationId xmlns:a16="http://schemas.microsoft.com/office/drawing/2014/main" id="{FBCA0572-F39E-44AF-A4F9-C34F0AFE4872}"/>
                </a:ext>
              </a:extLst>
            </p:cNvPr>
            <p:cNvSpPr>
              <a:spLocks noEditPoints="1"/>
            </p:cNvSpPr>
            <p:nvPr/>
          </p:nvSpPr>
          <p:spPr bwMode="auto">
            <a:xfrm>
              <a:off x="8883641" y="1721672"/>
              <a:ext cx="130175" cy="49213"/>
            </a:xfrm>
            <a:custGeom>
              <a:avLst/>
              <a:gdLst>
                <a:gd name="T0" fmla="*/ 11 w 35"/>
                <a:gd name="T1" fmla="*/ 10 h 13"/>
                <a:gd name="T2" fmla="*/ 11 w 35"/>
                <a:gd name="T3" fmla="*/ 10 h 13"/>
                <a:gd name="T4" fmla="*/ 11 w 35"/>
                <a:gd name="T5" fmla="*/ 10 h 13"/>
                <a:gd name="T6" fmla="*/ 11 w 35"/>
                <a:gd name="T7" fmla="*/ 10 h 13"/>
                <a:gd name="T8" fmla="*/ 11 w 35"/>
                <a:gd name="T9" fmla="*/ 10 h 13"/>
                <a:gd name="T10" fmla="*/ 27 w 35"/>
                <a:gd name="T11" fmla="*/ 0 h 13"/>
                <a:gd name="T12" fmla="*/ 24 w 35"/>
                <a:gd name="T13" fmla="*/ 1 h 13"/>
                <a:gd name="T14" fmla="*/ 20 w 35"/>
                <a:gd name="T15" fmla="*/ 3 h 13"/>
                <a:gd name="T16" fmla="*/ 19 w 35"/>
                <a:gd name="T17" fmla="*/ 3 h 13"/>
                <a:gd name="T18" fmla="*/ 12 w 35"/>
                <a:gd name="T19" fmla="*/ 0 h 13"/>
                <a:gd name="T20" fmla="*/ 11 w 35"/>
                <a:gd name="T21" fmla="*/ 0 h 13"/>
                <a:gd name="T22" fmla="*/ 10 w 35"/>
                <a:gd name="T23" fmla="*/ 4 h 13"/>
                <a:gd name="T24" fmla="*/ 9 w 35"/>
                <a:gd name="T25" fmla="*/ 4 h 13"/>
                <a:gd name="T26" fmla="*/ 7 w 35"/>
                <a:gd name="T27" fmla="*/ 4 h 13"/>
                <a:gd name="T28" fmla="*/ 5 w 35"/>
                <a:gd name="T29" fmla="*/ 4 h 13"/>
                <a:gd name="T30" fmla="*/ 0 w 35"/>
                <a:gd name="T31" fmla="*/ 5 h 13"/>
                <a:gd name="T32" fmla="*/ 9 w 35"/>
                <a:gd name="T33" fmla="*/ 7 h 13"/>
                <a:gd name="T34" fmla="*/ 11 w 35"/>
                <a:gd name="T35" fmla="*/ 10 h 13"/>
                <a:gd name="T36" fmla="*/ 13 w 35"/>
                <a:gd name="T37" fmla="*/ 7 h 13"/>
                <a:gd name="T38" fmla="*/ 13 w 35"/>
                <a:gd name="T39" fmla="*/ 11 h 13"/>
                <a:gd name="T40" fmla="*/ 18 w 35"/>
                <a:gd name="T41" fmla="*/ 13 h 13"/>
                <a:gd name="T42" fmla="*/ 17 w 35"/>
                <a:gd name="T43" fmla="*/ 6 h 13"/>
                <a:gd name="T44" fmla="*/ 18 w 35"/>
                <a:gd name="T45" fmla="*/ 6 h 13"/>
                <a:gd name="T46" fmla="*/ 19 w 35"/>
                <a:gd name="T47" fmla="*/ 7 h 13"/>
                <a:gd name="T48" fmla="*/ 20 w 35"/>
                <a:gd name="T49" fmla="*/ 7 h 13"/>
                <a:gd name="T50" fmla="*/ 20 w 35"/>
                <a:gd name="T51" fmla="*/ 7 h 13"/>
                <a:gd name="T52" fmla="*/ 34 w 35"/>
                <a:gd name="T53" fmla="*/ 3 h 13"/>
                <a:gd name="T54" fmla="*/ 29 w 35"/>
                <a:gd name="T55" fmla="*/ 0 h 13"/>
                <a:gd name="T56" fmla="*/ 27 w 35"/>
                <a:gd name="T5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13">
                  <a:moveTo>
                    <a:pt x="11" y="10"/>
                  </a:moveTo>
                  <a:cubicBezTo>
                    <a:pt x="11" y="10"/>
                    <a:pt x="11" y="10"/>
                    <a:pt x="11" y="10"/>
                  </a:cubicBezTo>
                  <a:cubicBezTo>
                    <a:pt x="11" y="10"/>
                    <a:pt x="11" y="10"/>
                    <a:pt x="11" y="10"/>
                  </a:cubicBezTo>
                  <a:cubicBezTo>
                    <a:pt x="11" y="10"/>
                    <a:pt x="11" y="10"/>
                    <a:pt x="11" y="10"/>
                  </a:cubicBezTo>
                  <a:cubicBezTo>
                    <a:pt x="11" y="10"/>
                    <a:pt x="11" y="10"/>
                    <a:pt x="11" y="10"/>
                  </a:cubicBezTo>
                  <a:moveTo>
                    <a:pt x="27" y="0"/>
                  </a:moveTo>
                  <a:cubicBezTo>
                    <a:pt x="26" y="0"/>
                    <a:pt x="26" y="0"/>
                    <a:pt x="24" y="1"/>
                  </a:cubicBezTo>
                  <a:cubicBezTo>
                    <a:pt x="24" y="1"/>
                    <a:pt x="21" y="3"/>
                    <a:pt x="20" y="3"/>
                  </a:cubicBezTo>
                  <a:cubicBezTo>
                    <a:pt x="19" y="3"/>
                    <a:pt x="19" y="3"/>
                    <a:pt x="19" y="3"/>
                  </a:cubicBezTo>
                  <a:cubicBezTo>
                    <a:pt x="17" y="3"/>
                    <a:pt x="15" y="0"/>
                    <a:pt x="12" y="0"/>
                  </a:cubicBezTo>
                  <a:cubicBezTo>
                    <a:pt x="12" y="0"/>
                    <a:pt x="11" y="0"/>
                    <a:pt x="11" y="0"/>
                  </a:cubicBezTo>
                  <a:cubicBezTo>
                    <a:pt x="8" y="0"/>
                    <a:pt x="5" y="1"/>
                    <a:pt x="10" y="4"/>
                  </a:cubicBezTo>
                  <a:cubicBezTo>
                    <a:pt x="10" y="4"/>
                    <a:pt x="9" y="4"/>
                    <a:pt x="9" y="4"/>
                  </a:cubicBezTo>
                  <a:cubicBezTo>
                    <a:pt x="9" y="4"/>
                    <a:pt x="8" y="4"/>
                    <a:pt x="7" y="4"/>
                  </a:cubicBezTo>
                  <a:cubicBezTo>
                    <a:pt x="6" y="4"/>
                    <a:pt x="6" y="4"/>
                    <a:pt x="5" y="4"/>
                  </a:cubicBezTo>
                  <a:cubicBezTo>
                    <a:pt x="3" y="4"/>
                    <a:pt x="2" y="4"/>
                    <a:pt x="0" y="5"/>
                  </a:cubicBezTo>
                  <a:cubicBezTo>
                    <a:pt x="3" y="6"/>
                    <a:pt x="6" y="5"/>
                    <a:pt x="9" y="7"/>
                  </a:cubicBezTo>
                  <a:cubicBezTo>
                    <a:pt x="9" y="7"/>
                    <a:pt x="11" y="9"/>
                    <a:pt x="11" y="10"/>
                  </a:cubicBezTo>
                  <a:cubicBezTo>
                    <a:pt x="12" y="9"/>
                    <a:pt x="13" y="7"/>
                    <a:pt x="13" y="7"/>
                  </a:cubicBezTo>
                  <a:cubicBezTo>
                    <a:pt x="13" y="8"/>
                    <a:pt x="13" y="10"/>
                    <a:pt x="13" y="11"/>
                  </a:cubicBezTo>
                  <a:cubicBezTo>
                    <a:pt x="18" y="13"/>
                    <a:pt x="18" y="13"/>
                    <a:pt x="18" y="13"/>
                  </a:cubicBezTo>
                  <a:cubicBezTo>
                    <a:pt x="18" y="12"/>
                    <a:pt x="16" y="7"/>
                    <a:pt x="17" y="6"/>
                  </a:cubicBezTo>
                  <a:cubicBezTo>
                    <a:pt x="17" y="6"/>
                    <a:pt x="17" y="6"/>
                    <a:pt x="18" y="6"/>
                  </a:cubicBezTo>
                  <a:cubicBezTo>
                    <a:pt x="18" y="6"/>
                    <a:pt x="18" y="6"/>
                    <a:pt x="19" y="7"/>
                  </a:cubicBezTo>
                  <a:cubicBezTo>
                    <a:pt x="19" y="7"/>
                    <a:pt x="20" y="7"/>
                    <a:pt x="20" y="7"/>
                  </a:cubicBezTo>
                  <a:cubicBezTo>
                    <a:pt x="20" y="7"/>
                    <a:pt x="20" y="7"/>
                    <a:pt x="20" y="7"/>
                  </a:cubicBezTo>
                  <a:cubicBezTo>
                    <a:pt x="22" y="7"/>
                    <a:pt x="33" y="5"/>
                    <a:pt x="34" y="3"/>
                  </a:cubicBezTo>
                  <a:cubicBezTo>
                    <a:pt x="35" y="1"/>
                    <a:pt x="30" y="0"/>
                    <a:pt x="29" y="0"/>
                  </a:cubicBezTo>
                  <a:cubicBezTo>
                    <a:pt x="28" y="0"/>
                    <a:pt x="27"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 name="Freeform 229">
              <a:extLst>
                <a:ext uri="{FF2B5EF4-FFF2-40B4-BE49-F238E27FC236}">
                  <a16:creationId xmlns:a16="http://schemas.microsoft.com/office/drawing/2014/main" id="{967DF744-DC06-418F-AC8E-DC3374974300}"/>
                </a:ext>
              </a:extLst>
            </p:cNvPr>
            <p:cNvSpPr>
              <a:spLocks/>
            </p:cNvSpPr>
            <p:nvPr/>
          </p:nvSpPr>
          <p:spPr bwMode="auto">
            <a:xfrm>
              <a:off x="6780204" y="791397"/>
              <a:ext cx="131763" cy="71438"/>
            </a:xfrm>
            <a:custGeom>
              <a:avLst/>
              <a:gdLst>
                <a:gd name="T0" fmla="*/ 18 w 35"/>
                <a:gd name="T1" fmla="*/ 0 h 19"/>
                <a:gd name="T2" fmla="*/ 7 w 35"/>
                <a:gd name="T3" fmla="*/ 5 h 19"/>
                <a:gd name="T4" fmla="*/ 1 w 35"/>
                <a:gd name="T5" fmla="*/ 12 h 19"/>
                <a:gd name="T6" fmla="*/ 3 w 35"/>
                <a:gd name="T7" fmla="*/ 16 h 19"/>
                <a:gd name="T8" fmla="*/ 9 w 35"/>
                <a:gd name="T9" fmla="*/ 18 h 19"/>
                <a:gd name="T10" fmla="*/ 15 w 35"/>
                <a:gd name="T11" fmla="*/ 19 h 19"/>
                <a:gd name="T12" fmla="*/ 22 w 35"/>
                <a:gd name="T13" fmla="*/ 18 h 19"/>
                <a:gd name="T14" fmla="*/ 28 w 35"/>
                <a:gd name="T15" fmla="*/ 10 h 19"/>
                <a:gd name="T16" fmla="*/ 26 w 35"/>
                <a:gd name="T17" fmla="*/ 4 h 19"/>
                <a:gd name="T18" fmla="*/ 18 w 35"/>
                <a:gd name="T1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19">
                  <a:moveTo>
                    <a:pt x="18" y="0"/>
                  </a:moveTo>
                  <a:cubicBezTo>
                    <a:pt x="15" y="1"/>
                    <a:pt x="10" y="2"/>
                    <a:pt x="7" y="5"/>
                  </a:cubicBezTo>
                  <a:cubicBezTo>
                    <a:pt x="4" y="7"/>
                    <a:pt x="3" y="9"/>
                    <a:pt x="1" y="12"/>
                  </a:cubicBezTo>
                  <a:cubicBezTo>
                    <a:pt x="0" y="15"/>
                    <a:pt x="1" y="15"/>
                    <a:pt x="3" y="16"/>
                  </a:cubicBezTo>
                  <a:cubicBezTo>
                    <a:pt x="5" y="17"/>
                    <a:pt x="7" y="18"/>
                    <a:pt x="9" y="18"/>
                  </a:cubicBezTo>
                  <a:cubicBezTo>
                    <a:pt x="11" y="19"/>
                    <a:pt x="13" y="19"/>
                    <a:pt x="15" y="19"/>
                  </a:cubicBezTo>
                  <a:cubicBezTo>
                    <a:pt x="17" y="19"/>
                    <a:pt x="19" y="19"/>
                    <a:pt x="22" y="18"/>
                  </a:cubicBezTo>
                  <a:cubicBezTo>
                    <a:pt x="26" y="17"/>
                    <a:pt x="35" y="14"/>
                    <a:pt x="28" y="10"/>
                  </a:cubicBezTo>
                  <a:cubicBezTo>
                    <a:pt x="27" y="9"/>
                    <a:pt x="27" y="5"/>
                    <a:pt x="26" y="4"/>
                  </a:cubicBezTo>
                  <a:cubicBezTo>
                    <a:pt x="24" y="2"/>
                    <a:pt x="20" y="1"/>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 name="Freeform 230">
              <a:extLst>
                <a:ext uri="{FF2B5EF4-FFF2-40B4-BE49-F238E27FC236}">
                  <a16:creationId xmlns:a16="http://schemas.microsoft.com/office/drawing/2014/main" id="{6832342F-7ABD-4FD9-B0AB-66A27D1036CD}"/>
                </a:ext>
              </a:extLst>
            </p:cNvPr>
            <p:cNvSpPr>
              <a:spLocks noEditPoints="1"/>
            </p:cNvSpPr>
            <p:nvPr/>
          </p:nvSpPr>
          <p:spPr bwMode="auto">
            <a:xfrm>
              <a:off x="9180504" y="1778822"/>
              <a:ext cx="63500" cy="49213"/>
            </a:xfrm>
            <a:custGeom>
              <a:avLst/>
              <a:gdLst>
                <a:gd name="T0" fmla="*/ 10 w 17"/>
                <a:gd name="T1" fmla="*/ 13 h 13"/>
                <a:gd name="T2" fmla="*/ 10 w 17"/>
                <a:gd name="T3" fmla="*/ 13 h 13"/>
                <a:gd name="T4" fmla="*/ 10 w 17"/>
                <a:gd name="T5" fmla="*/ 13 h 13"/>
                <a:gd name="T6" fmla="*/ 6 w 17"/>
                <a:gd name="T7" fmla="*/ 0 h 13"/>
                <a:gd name="T8" fmla="*/ 1 w 17"/>
                <a:gd name="T9" fmla="*/ 2 h 13"/>
                <a:gd name="T10" fmla="*/ 0 w 17"/>
                <a:gd name="T11" fmla="*/ 6 h 13"/>
                <a:gd name="T12" fmla="*/ 6 w 17"/>
                <a:gd name="T13" fmla="*/ 12 h 13"/>
                <a:gd name="T14" fmla="*/ 8 w 17"/>
                <a:gd name="T15" fmla="*/ 12 h 13"/>
                <a:gd name="T16" fmla="*/ 8 w 17"/>
                <a:gd name="T17" fmla="*/ 12 h 13"/>
                <a:gd name="T18" fmla="*/ 10 w 17"/>
                <a:gd name="T19" fmla="*/ 13 h 13"/>
                <a:gd name="T20" fmla="*/ 13 w 17"/>
                <a:gd name="T21" fmla="*/ 7 h 13"/>
                <a:gd name="T22" fmla="*/ 17 w 17"/>
                <a:gd name="T23" fmla="*/ 4 h 13"/>
                <a:gd name="T24" fmla="*/ 6 w 17"/>
                <a:gd name="T2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3">
                  <a:moveTo>
                    <a:pt x="10" y="13"/>
                  </a:moveTo>
                  <a:cubicBezTo>
                    <a:pt x="10" y="13"/>
                    <a:pt x="10" y="13"/>
                    <a:pt x="10" y="13"/>
                  </a:cubicBezTo>
                  <a:cubicBezTo>
                    <a:pt x="10" y="13"/>
                    <a:pt x="10" y="13"/>
                    <a:pt x="10" y="13"/>
                  </a:cubicBezTo>
                  <a:moveTo>
                    <a:pt x="6" y="0"/>
                  </a:moveTo>
                  <a:cubicBezTo>
                    <a:pt x="5" y="0"/>
                    <a:pt x="2" y="0"/>
                    <a:pt x="1" y="2"/>
                  </a:cubicBezTo>
                  <a:cubicBezTo>
                    <a:pt x="1" y="2"/>
                    <a:pt x="0" y="6"/>
                    <a:pt x="0" y="6"/>
                  </a:cubicBezTo>
                  <a:cubicBezTo>
                    <a:pt x="0" y="10"/>
                    <a:pt x="3" y="12"/>
                    <a:pt x="6" y="12"/>
                  </a:cubicBezTo>
                  <a:cubicBezTo>
                    <a:pt x="6" y="12"/>
                    <a:pt x="7" y="12"/>
                    <a:pt x="8" y="12"/>
                  </a:cubicBezTo>
                  <a:cubicBezTo>
                    <a:pt x="8" y="12"/>
                    <a:pt x="8" y="12"/>
                    <a:pt x="8" y="12"/>
                  </a:cubicBezTo>
                  <a:cubicBezTo>
                    <a:pt x="9" y="12"/>
                    <a:pt x="11" y="13"/>
                    <a:pt x="10" y="13"/>
                  </a:cubicBezTo>
                  <a:cubicBezTo>
                    <a:pt x="12" y="13"/>
                    <a:pt x="12" y="9"/>
                    <a:pt x="13" y="7"/>
                  </a:cubicBezTo>
                  <a:cubicBezTo>
                    <a:pt x="14" y="6"/>
                    <a:pt x="17" y="5"/>
                    <a:pt x="17" y="4"/>
                  </a:cubicBezTo>
                  <a:cubicBezTo>
                    <a:pt x="17" y="3"/>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 name="Freeform 231">
              <a:extLst>
                <a:ext uri="{FF2B5EF4-FFF2-40B4-BE49-F238E27FC236}">
                  <a16:creationId xmlns:a16="http://schemas.microsoft.com/office/drawing/2014/main" id="{2404F024-96B2-4F78-B50B-803750CBEACC}"/>
                </a:ext>
              </a:extLst>
            </p:cNvPr>
            <p:cNvSpPr>
              <a:spLocks/>
            </p:cNvSpPr>
            <p:nvPr/>
          </p:nvSpPr>
          <p:spPr bwMode="auto">
            <a:xfrm>
              <a:off x="8609004" y="2713859"/>
              <a:ext cx="184150" cy="112713"/>
            </a:xfrm>
            <a:custGeom>
              <a:avLst/>
              <a:gdLst>
                <a:gd name="T0" fmla="*/ 39 w 49"/>
                <a:gd name="T1" fmla="*/ 0 h 30"/>
                <a:gd name="T2" fmla="*/ 39 w 49"/>
                <a:gd name="T3" fmla="*/ 0 h 30"/>
                <a:gd name="T4" fmla="*/ 34 w 49"/>
                <a:gd name="T5" fmla="*/ 2 h 30"/>
                <a:gd name="T6" fmla="*/ 34 w 49"/>
                <a:gd name="T7" fmla="*/ 2 h 30"/>
                <a:gd name="T8" fmla="*/ 32 w 49"/>
                <a:gd name="T9" fmla="*/ 2 h 30"/>
                <a:gd name="T10" fmla="*/ 30 w 49"/>
                <a:gd name="T11" fmla="*/ 1 h 30"/>
                <a:gd name="T12" fmla="*/ 28 w 49"/>
                <a:gd name="T13" fmla="*/ 2 h 30"/>
                <a:gd name="T14" fmla="*/ 23 w 49"/>
                <a:gd name="T15" fmla="*/ 4 h 30"/>
                <a:gd name="T16" fmla="*/ 20 w 49"/>
                <a:gd name="T17" fmla="*/ 5 h 30"/>
                <a:gd name="T18" fmla="*/ 18 w 49"/>
                <a:gd name="T19" fmla="*/ 4 h 30"/>
                <a:gd name="T20" fmla="*/ 15 w 49"/>
                <a:gd name="T21" fmla="*/ 2 h 30"/>
                <a:gd name="T22" fmla="*/ 14 w 49"/>
                <a:gd name="T23" fmla="*/ 2 h 30"/>
                <a:gd name="T24" fmla="*/ 10 w 49"/>
                <a:gd name="T25" fmla="*/ 5 h 30"/>
                <a:gd name="T26" fmla="*/ 9 w 49"/>
                <a:gd name="T27" fmla="*/ 10 h 30"/>
                <a:gd name="T28" fmla="*/ 0 w 49"/>
                <a:gd name="T29" fmla="*/ 19 h 30"/>
                <a:gd name="T30" fmla="*/ 5 w 49"/>
                <a:gd name="T31" fmla="*/ 28 h 30"/>
                <a:gd name="T32" fmla="*/ 6 w 49"/>
                <a:gd name="T33" fmla="*/ 30 h 30"/>
                <a:gd name="T34" fmla="*/ 8 w 49"/>
                <a:gd name="T35" fmla="*/ 29 h 30"/>
                <a:gd name="T36" fmla="*/ 10 w 49"/>
                <a:gd name="T37" fmla="*/ 28 h 30"/>
                <a:gd name="T38" fmla="*/ 12 w 49"/>
                <a:gd name="T39" fmla="*/ 28 h 30"/>
                <a:gd name="T40" fmla="*/ 18 w 49"/>
                <a:gd name="T41" fmla="*/ 29 h 30"/>
                <a:gd name="T42" fmla="*/ 18 w 49"/>
                <a:gd name="T43" fmla="*/ 29 h 30"/>
                <a:gd name="T44" fmla="*/ 29 w 49"/>
                <a:gd name="T45" fmla="*/ 24 h 30"/>
                <a:gd name="T46" fmla="*/ 36 w 49"/>
                <a:gd name="T47" fmla="*/ 17 h 30"/>
                <a:gd name="T48" fmla="*/ 46 w 49"/>
                <a:gd name="T49" fmla="*/ 10 h 30"/>
                <a:gd name="T50" fmla="*/ 47 w 49"/>
                <a:gd name="T51" fmla="*/ 4 h 30"/>
                <a:gd name="T52" fmla="*/ 44 w 49"/>
                <a:gd name="T53" fmla="*/ 1 h 30"/>
                <a:gd name="T54" fmla="*/ 39 w 49"/>
                <a:gd name="T5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9" h="30">
                  <a:moveTo>
                    <a:pt x="39" y="0"/>
                  </a:moveTo>
                  <a:cubicBezTo>
                    <a:pt x="39" y="0"/>
                    <a:pt x="39" y="0"/>
                    <a:pt x="39" y="0"/>
                  </a:cubicBezTo>
                  <a:cubicBezTo>
                    <a:pt x="36" y="0"/>
                    <a:pt x="36" y="2"/>
                    <a:pt x="34" y="2"/>
                  </a:cubicBezTo>
                  <a:cubicBezTo>
                    <a:pt x="34" y="2"/>
                    <a:pt x="34" y="2"/>
                    <a:pt x="34" y="2"/>
                  </a:cubicBezTo>
                  <a:cubicBezTo>
                    <a:pt x="33" y="2"/>
                    <a:pt x="32" y="2"/>
                    <a:pt x="32" y="2"/>
                  </a:cubicBezTo>
                  <a:cubicBezTo>
                    <a:pt x="31" y="2"/>
                    <a:pt x="30" y="1"/>
                    <a:pt x="30" y="1"/>
                  </a:cubicBezTo>
                  <a:cubicBezTo>
                    <a:pt x="29" y="1"/>
                    <a:pt x="29" y="1"/>
                    <a:pt x="28" y="2"/>
                  </a:cubicBezTo>
                  <a:cubicBezTo>
                    <a:pt x="27" y="2"/>
                    <a:pt x="25" y="3"/>
                    <a:pt x="23" y="4"/>
                  </a:cubicBezTo>
                  <a:cubicBezTo>
                    <a:pt x="22" y="5"/>
                    <a:pt x="21" y="5"/>
                    <a:pt x="20" y="5"/>
                  </a:cubicBezTo>
                  <a:cubicBezTo>
                    <a:pt x="20" y="5"/>
                    <a:pt x="19" y="5"/>
                    <a:pt x="18" y="4"/>
                  </a:cubicBezTo>
                  <a:cubicBezTo>
                    <a:pt x="17" y="4"/>
                    <a:pt x="17" y="2"/>
                    <a:pt x="15" y="2"/>
                  </a:cubicBezTo>
                  <a:cubicBezTo>
                    <a:pt x="15" y="2"/>
                    <a:pt x="15" y="2"/>
                    <a:pt x="14" y="2"/>
                  </a:cubicBezTo>
                  <a:cubicBezTo>
                    <a:pt x="13" y="2"/>
                    <a:pt x="11" y="4"/>
                    <a:pt x="10" y="5"/>
                  </a:cubicBezTo>
                  <a:cubicBezTo>
                    <a:pt x="9" y="7"/>
                    <a:pt x="10" y="9"/>
                    <a:pt x="9" y="10"/>
                  </a:cubicBezTo>
                  <a:cubicBezTo>
                    <a:pt x="7" y="14"/>
                    <a:pt x="3" y="16"/>
                    <a:pt x="0" y="19"/>
                  </a:cubicBezTo>
                  <a:cubicBezTo>
                    <a:pt x="2" y="22"/>
                    <a:pt x="3" y="26"/>
                    <a:pt x="5" y="28"/>
                  </a:cubicBezTo>
                  <a:cubicBezTo>
                    <a:pt x="6" y="30"/>
                    <a:pt x="6" y="30"/>
                    <a:pt x="6" y="30"/>
                  </a:cubicBezTo>
                  <a:cubicBezTo>
                    <a:pt x="6" y="30"/>
                    <a:pt x="7" y="30"/>
                    <a:pt x="8" y="29"/>
                  </a:cubicBezTo>
                  <a:cubicBezTo>
                    <a:pt x="9" y="29"/>
                    <a:pt x="9" y="28"/>
                    <a:pt x="10" y="28"/>
                  </a:cubicBezTo>
                  <a:cubicBezTo>
                    <a:pt x="10" y="28"/>
                    <a:pt x="11" y="28"/>
                    <a:pt x="12" y="28"/>
                  </a:cubicBezTo>
                  <a:cubicBezTo>
                    <a:pt x="14" y="28"/>
                    <a:pt x="16" y="28"/>
                    <a:pt x="18" y="29"/>
                  </a:cubicBezTo>
                  <a:cubicBezTo>
                    <a:pt x="18" y="29"/>
                    <a:pt x="18" y="29"/>
                    <a:pt x="18" y="29"/>
                  </a:cubicBezTo>
                  <a:cubicBezTo>
                    <a:pt x="22" y="29"/>
                    <a:pt x="26" y="26"/>
                    <a:pt x="29" y="24"/>
                  </a:cubicBezTo>
                  <a:cubicBezTo>
                    <a:pt x="31" y="21"/>
                    <a:pt x="34" y="19"/>
                    <a:pt x="36" y="17"/>
                  </a:cubicBezTo>
                  <a:cubicBezTo>
                    <a:pt x="38" y="14"/>
                    <a:pt x="44" y="14"/>
                    <a:pt x="46" y="10"/>
                  </a:cubicBezTo>
                  <a:cubicBezTo>
                    <a:pt x="47" y="8"/>
                    <a:pt x="46" y="6"/>
                    <a:pt x="47" y="4"/>
                  </a:cubicBezTo>
                  <a:cubicBezTo>
                    <a:pt x="49" y="0"/>
                    <a:pt x="46" y="1"/>
                    <a:pt x="44" y="1"/>
                  </a:cubicBezTo>
                  <a:cubicBezTo>
                    <a:pt x="42" y="1"/>
                    <a:pt x="41" y="0"/>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 name="Freeform 232">
              <a:extLst>
                <a:ext uri="{FF2B5EF4-FFF2-40B4-BE49-F238E27FC236}">
                  <a16:creationId xmlns:a16="http://schemas.microsoft.com/office/drawing/2014/main" id="{17F4E035-92D1-4F05-AFCB-E0C2546189AA}"/>
                </a:ext>
              </a:extLst>
            </p:cNvPr>
            <p:cNvSpPr>
              <a:spLocks/>
            </p:cNvSpPr>
            <p:nvPr/>
          </p:nvSpPr>
          <p:spPr bwMode="auto">
            <a:xfrm>
              <a:off x="8924916" y="2793234"/>
              <a:ext cx="93663" cy="112713"/>
            </a:xfrm>
            <a:custGeom>
              <a:avLst/>
              <a:gdLst>
                <a:gd name="T0" fmla="*/ 17 w 25"/>
                <a:gd name="T1" fmla="*/ 0 h 30"/>
                <a:gd name="T2" fmla="*/ 16 w 25"/>
                <a:gd name="T3" fmla="*/ 0 h 30"/>
                <a:gd name="T4" fmla="*/ 14 w 25"/>
                <a:gd name="T5" fmla="*/ 1 h 30"/>
                <a:gd name="T6" fmla="*/ 12 w 25"/>
                <a:gd name="T7" fmla="*/ 0 h 30"/>
                <a:gd name="T8" fmla="*/ 11 w 25"/>
                <a:gd name="T9" fmla="*/ 0 h 30"/>
                <a:gd name="T10" fmla="*/ 7 w 25"/>
                <a:gd name="T11" fmla="*/ 1 h 30"/>
                <a:gd name="T12" fmla="*/ 4 w 25"/>
                <a:gd name="T13" fmla="*/ 6 h 30"/>
                <a:gd name="T14" fmla="*/ 1 w 25"/>
                <a:gd name="T15" fmla="*/ 11 h 30"/>
                <a:gd name="T16" fmla="*/ 1 w 25"/>
                <a:gd name="T17" fmla="*/ 20 h 30"/>
                <a:gd name="T18" fmla="*/ 11 w 25"/>
                <a:gd name="T19" fmla="*/ 30 h 30"/>
                <a:gd name="T20" fmla="*/ 17 w 25"/>
                <a:gd name="T21" fmla="*/ 23 h 30"/>
                <a:gd name="T22" fmla="*/ 19 w 25"/>
                <a:gd name="T23" fmla="*/ 20 h 30"/>
                <a:gd name="T24" fmla="*/ 20 w 25"/>
                <a:gd name="T25" fmla="*/ 17 h 30"/>
                <a:gd name="T26" fmla="*/ 22 w 25"/>
                <a:gd name="T27" fmla="*/ 14 h 30"/>
                <a:gd name="T28" fmla="*/ 22 w 25"/>
                <a:gd name="T29" fmla="*/ 14 h 30"/>
                <a:gd name="T30" fmla="*/ 22 w 25"/>
                <a:gd name="T31" fmla="*/ 14 h 30"/>
                <a:gd name="T32" fmla="*/ 23 w 25"/>
                <a:gd name="T33" fmla="*/ 14 h 30"/>
                <a:gd name="T34" fmla="*/ 23 w 25"/>
                <a:gd name="T35" fmla="*/ 14 h 30"/>
                <a:gd name="T36" fmla="*/ 24 w 25"/>
                <a:gd name="T37" fmla="*/ 7 h 30"/>
                <a:gd name="T38" fmla="*/ 23 w 25"/>
                <a:gd name="T39" fmla="*/ 4 h 30"/>
                <a:gd name="T40" fmla="*/ 21 w 25"/>
                <a:gd name="T41" fmla="*/ 2 h 30"/>
                <a:gd name="T42" fmla="*/ 17 w 25"/>
                <a:gd name="T4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30">
                  <a:moveTo>
                    <a:pt x="17" y="0"/>
                  </a:moveTo>
                  <a:cubicBezTo>
                    <a:pt x="17" y="0"/>
                    <a:pt x="16" y="0"/>
                    <a:pt x="16" y="0"/>
                  </a:cubicBezTo>
                  <a:cubicBezTo>
                    <a:pt x="15" y="0"/>
                    <a:pt x="15" y="1"/>
                    <a:pt x="14" y="1"/>
                  </a:cubicBezTo>
                  <a:cubicBezTo>
                    <a:pt x="14" y="1"/>
                    <a:pt x="12" y="0"/>
                    <a:pt x="12" y="0"/>
                  </a:cubicBezTo>
                  <a:cubicBezTo>
                    <a:pt x="12" y="0"/>
                    <a:pt x="11" y="0"/>
                    <a:pt x="11" y="0"/>
                  </a:cubicBezTo>
                  <a:cubicBezTo>
                    <a:pt x="10" y="0"/>
                    <a:pt x="8" y="0"/>
                    <a:pt x="7" y="1"/>
                  </a:cubicBezTo>
                  <a:cubicBezTo>
                    <a:pt x="6" y="2"/>
                    <a:pt x="5" y="5"/>
                    <a:pt x="4" y="6"/>
                  </a:cubicBezTo>
                  <a:cubicBezTo>
                    <a:pt x="3" y="8"/>
                    <a:pt x="2" y="9"/>
                    <a:pt x="1" y="11"/>
                  </a:cubicBezTo>
                  <a:cubicBezTo>
                    <a:pt x="1" y="14"/>
                    <a:pt x="0" y="18"/>
                    <a:pt x="1" y="20"/>
                  </a:cubicBezTo>
                  <a:cubicBezTo>
                    <a:pt x="2" y="24"/>
                    <a:pt x="8" y="27"/>
                    <a:pt x="11" y="30"/>
                  </a:cubicBezTo>
                  <a:cubicBezTo>
                    <a:pt x="16" y="28"/>
                    <a:pt x="15" y="26"/>
                    <a:pt x="17" y="23"/>
                  </a:cubicBezTo>
                  <a:cubicBezTo>
                    <a:pt x="17" y="22"/>
                    <a:pt x="18" y="21"/>
                    <a:pt x="19" y="20"/>
                  </a:cubicBezTo>
                  <a:cubicBezTo>
                    <a:pt x="19" y="19"/>
                    <a:pt x="20" y="18"/>
                    <a:pt x="20" y="17"/>
                  </a:cubicBezTo>
                  <a:cubicBezTo>
                    <a:pt x="21" y="16"/>
                    <a:pt x="21" y="15"/>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4" y="12"/>
                    <a:pt x="24" y="9"/>
                    <a:pt x="24" y="7"/>
                  </a:cubicBezTo>
                  <a:cubicBezTo>
                    <a:pt x="24" y="5"/>
                    <a:pt x="25" y="6"/>
                    <a:pt x="23" y="4"/>
                  </a:cubicBezTo>
                  <a:cubicBezTo>
                    <a:pt x="23" y="4"/>
                    <a:pt x="22" y="3"/>
                    <a:pt x="21" y="2"/>
                  </a:cubicBezTo>
                  <a:cubicBezTo>
                    <a:pt x="19" y="1"/>
                    <a:pt x="19"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 name="Freeform 233">
              <a:extLst>
                <a:ext uri="{FF2B5EF4-FFF2-40B4-BE49-F238E27FC236}">
                  <a16:creationId xmlns:a16="http://schemas.microsoft.com/office/drawing/2014/main" id="{A30237C7-C741-4A73-B41B-B3A40BB6094A}"/>
                </a:ext>
              </a:extLst>
            </p:cNvPr>
            <p:cNvSpPr>
              <a:spLocks/>
            </p:cNvSpPr>
            <p:nvPr/>
          </p:nvSpPr>
          <p:spPr bwMode="auto">
            <a:xfrm>
              <a:off x="10215554" y="2893247"/>
              <a:ext cx="71438" cy="41275"/>
            </a:xfrm>
            <a:custGeom>
              <a:avLst/>
              <a:gdLst>
                <a:gd name="T0" fmla="*/ 8 w 19"/>
                <a:gd name="T1" fmla="*/ 0 h 11"/>
                <a:gd name="T2" fmla="*/ 0 w 19"/>
                <a:gd name="T3" fmla="*/ 2 h 11"/>
                <a:gd name="T4" fmla="*/ 11 w 19"/>
                <a:gd name="T5" fmla="*/ 9 h 11"/>
                <a:gd name="T6" fmla="*/ 14 w 19"/>
                <a:gd name="T7" fmla="*/ 11 h 11"/>
                <a:gd name="T8" fmla="*/ 16 w 19"/>
                <a:gd name="T9" fmla="*/ 10 h 11"/>
                <a:gd name="T10" fmla="*/ 17 w 19"/>
                <a:gd name="T11" fmla="*/ 8 h 11"/>
                <a:gd name="T12" fmla="*/ 18 w 19"/>
                <a:gd name="T13" fmla="*/ 7 h 11"/>
                <a:gd name="T14" fmla="*/ 19 w 19"/>
                <a:gd name="T15" fmla="*/ 2 h 11"/>
                <a:gd name="T16" fmla="*/ 8 w 19"/>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1">
                  <a:moveTo>
                    <a:pt x="8" y="0"/>
                  </a:moveTo>
                  <a:cubicBezTo>
                    <a:pt x="5" y="0"/>
                    <a:pt x="3" y="1"/>
                    <a:pt x="0" y="2"/>
                  </a:cubicBezTo>
                  <a:cubicBezTo>
                    <a:pt x="4" y="4"/>
                    <a:pt x="8" y="6"/>
                    <a:pt x="11" y="9"/>
                  </a:cubicBezTo>
                  <a:cubicBezTo>
                    <a:pt x="12" y="10"/>
                    <a:pt x="13" y="11"/>
                    <a:pt x="14" y="11"/>
                  </a:cubicBezTo>
                  <a:cubicBezTo>
                    <a:pt x="14" y="11"/>
                    <a:pt x="15" y="11"/>
                    <a:pt x="16" y="10"/>
                  </a:cubicBezTo>
                  <a:cubicBezTo>
                    <a:pt x="16" y="9"/>
                    <a:pt x="16" y="8"/>
                    <a:pt x="17" y="8"/>
                  </a:cubicBezTo>
                  <a:cubicBezTo>
                    <a:pt x="17" y="8"/>
                    <a:pt x="18" y="8"/>
                    <a:pt x="18" y="7"/>
                  </a:cubicBezTo>
                  <a:cubicBezTo>
                    <a:pt x="19" y="6"/>
                    <a:pt x="19" y="4"/>
                    <a:pt x="19" y="2"/>
                  </a:cubicBezTo>
                  <a:cubicBezTo>
                    <a:pt x="16" y="1"/>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 name="Freeform 234">
              <a:extLst>
                <a:ext uri="{FF2B5EF4-FFF2-40B4-BE49-F238E27FC236}">
                  <a16:creationId xmlns:a16="http://schemas.microsoft.com/office/drawing/2014/main" id="{B2C962A2-EFA2-41CF-8D5A-D56FE31A8C81}"/>
                </a:ext>
              </a:extLst>
            </p:cNvPr>
            <p:cNvSpPr>
              <a:spLocks/>
            </p:cNvSpPr>
            <p:nvPr/>
          </p:nvSpPr>
          <p:spPr bwMode="auto">
            <a:xfrm>
              <a:off x="6916729" y="692972"/>
              <a:ext cx="119063" cy="41275"/>
            </a:xfrm>
            <a:custGeom>
              <a:avLst/>
              <a:gdLst>
                <a:gd name="T0" fmla="*/ 27 w 32"/>
                <a:gd name="T1" fmla="*/ 0 h 11"/>
                <a:gd name="T2" fmla="*/ 26 w 32"/>
                <a:gd name="T3" fmla="*/ 0 h 11"/>
                <a:gd name="T4" fmla="*/ 15 w 32"/>
                <a:gd name="T5" fmla="*/ 2 h 11"/>
                <a:gd name="T6" fmla="*/ 14 w 32"/>
                <a:gd name="T7" fmla="*/ 2 h 11"/>
                <a:gd name="T8" fmla="*/ 14 w 32"/>
                <a:gd name="T9" fmla="*/ 3 h 11"/>
                <a:gd name="T10" fmla="*/ 9 w 32"/>
                <a:gd name="T11" fmla="*/ 4 h 11"/>
                <a:gd name="T12" fmla="*/ 8 w 32"/>
                <a:gd name="T13" fmla="*/ 4 h 11"/>
                <a:gd name="T14" fmla="*/ 7 w 32"/>
                <a:gd name="T15" fmla="*/ 5 h 11"/>
                <a:gd name="T16" fmla="*/ 0 w 32"/>
                <a:gd name="T17" fmla="*/ 11 h 11"/>
                <a:gd name="T18" fmla="*/ 32 w 32"/>
                <a:gd name="T19" fmla="*/ 3 h 11"/>
                <a:gd name="T20" fmla="*/ 32 w 32"/>
                <a:gd name="T21" fmla="*/ 3 h 11"/>
                <a:gd name="T22" fmla="*/ 32 w 32"/>
                <a:gd name="T23" fmla="*/ 3 h 11"/>
                <a:gd name="T24" fmla="*/ 32 w 32"/>
                <a:gd name="T25" fmla="*/ 2 h 11"/>
                <a:gd name="T26" fmla="*/ 32 w 32"/>
                <a:gd name="T27" fmla="*/ 2 h 11"/>
                <a:gd name="T28" fmla="*/ 30 w 32"/>
                <a:gd name="T29" fmla="*/ 2 h 11"/>
                <a:gd name="T30" fmla="*/ 30 w 32"/>
                <a:gd name="T31" fmla="*/ 1 h 11"/>
                <a:gd name="T32" fmla="*/ 29 w 32"/>
                <a:gd name="T33" fmla="*/ 1 h 11"/>
                <a:gd name="T34" fmla="*/ 27 w 32"/>
                <a:gd name="T3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11">
                  <a:moveTo>
                    <a:pt x="27" y="0"/>
                  </a:moveTo>
                  <a:cubicBezTo>
                    <a:pt x="26" y="0"/>
                    <a:pt x="26" y="0"/>
                    <a:pt x="26" y="0"/>
                  </a:cubicBezTo>
                  <a:cubicBezTo>
                    <a:pt x="23" y="0"/>
                    <a:pt x="17" y="2"/>
                    <a:pt x="15" y="2"/>
                  </a:cubicBezTo>
                  <a:cubicBezTo>
                    <a:pt x="14" y="2"/>
                    <a:pt x="14" y="2"/>
                    <a:pt x="14" y="2"/>
                  </a:cubicBezTo>
                  <a:cubicBezTo>
                    <a:pt x="14" y="3"/>
                    <a:pt x="14" y="3"/>
                    <a:pt x="14" y="3"/>
                  </a:cubicBezTo>
                  <a:cubicBezTo>
                    <a:pt x="12" y="3"/>
                    <a:pt x="10" y="3"/>
                    <a:pt x="9" y="4"/>
                  </a:cubicBezTo>
                  <a:cubicBezTo>
                    <a:pt x="8" y="4"/>
                    <a:pt x="8" y="4"/>
                    <a:pt x="8" y="4"/>
                  </a:cubicBezTo>
                  <a:cubicBezTo>
                    <a:pt x="8" y="4"/>
                    <a:pt x="7" y="5"/>
                    <a:pt x="7" y="5"/>
                  </a:cubicBezTo>
                  <a:cubicBezTo>
                    <a:pt x="4" y="7"/>
                    <a:pt x="3" y="9"/>
                    <a:pt x="0" y="11"/>
                  </a:cubicBezTo>
                  <a:cubicBezTo>
                    <a:pt x="11" y="8"/>
                    <a:pt x="21" y="5"/>
                    <a:pt x="32" y="3"/>
                  </a:cubicBezTo>
                  <a:cubicBezTo>
                    <a:pt x="32" y="3"/>
                    <a:pt x="32" y="3"/>
                    <a:pt x="32" y="3"/>
                  </a:cubicBezTo>
                  <a:cubicBezTo>
                    <a:pt x="32" y="3"/>
                    <a:pt x="32" y="3"/>
                    <a:pt x="32" y="3"/>
                  </a:cubicBezTo>
                  <a:cubicBezTo>
                    <a:pt x="32" y="2"/>
                    <a:pt x="32" y="2"/>
                    <a:pt x="32" y="2"/>
                  </a:cubicBezTo>
                  <a:cubicBezTo>
                    <a:pt x="32" y="2"/>
                    <a:pt x="32" y="2"/>
                    <a:pt x="32" y="2"/>
                  </a:cubicBezTo>
                  <a:cubicBezTo>
                    <a:pt x="31" y="2"/>
                    <a:pt x="31" y="2"/>
                    <a:pt x="30" y="2"/>
                  </a:cubicBezTo>
                  <a:cubicBezTo>
                    <a:pt x="30" y="1"/>
                    <a:pt x="30" y="1"/>
                    <a:pt x="30" y="1"/>
                  </a:cubicBezTo>
                  <a:cubicBezTo>
                    <a:pt x="30" y="1"/>
                    <a:pt x="29" y="1"/>
                    <a:pt x="29" y="1"/>
                  </a:cubicBezTo>
                  <a:cubicBezTo>
                    <a:pt x="28" y="0"/>
                    <a:pt x="28"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 name="Freeform 235">
              <a:extLst>
                <a:ext uri="{FF2B5EF4-FFF2-40B4-BE49-F238E27FC236}">
                  <a16:creationId xmlns:a16="http://schemas.microsoft.com/office/drawing/2014/main" id="{D0FCC697-7782-49B3-8FF6-60BE207F8FDC}"/>
                </a:ext>
              </a:extLst>
            </p:cNvPr>
            <p:cNvSpPr>
              <a:spLocks/>
            </p:cNvSpPr>
            <p:nvPr/>
          </p:nvSpPr>
          <p:spPr bwMode="auto">
            <a:xfrm>
              <a:off x="9078904" y="2642422"/>
              <a:ext cx="93663" cy="55563"/>
            </a:xfrm>
            <a:custGeom>
              <a:avLst/>
              <a:gdLst>
                <a:gd name="T0" fmla="*/ 8 w 25"/>
                <a:gd name="T1" fmla="*/ 0 h 15"/>
                <a:gd name="T2" fmla="*/ 0 w 25"/>
                <a:gd name="T3" fmla="*/ 4 h 15"/>
                <a:gd name="T4" fmla="*/ 3 w 25"/>
                <a:gd name="T5" fmla="*/ 6 h 15"/>
                <a:gd name="T6" fmla="*/ 11 w 25"/>
                <a:gd name="T7" fmla="*/ 13 h 15"/>
                <a:gd name="T8" fmla="*/ 15 w 25"/>
                <a:gd name="T9" fmla="*/ 15 h 15"/>
                <a:gd name="T10" fmla="*/ 18 w 25"/>
                <a:gd name="T11" fmla="*/ 13 h 15"/>
                <a:gd name="T12" fmla="*/ 24 w 25"/>
                <a:gd name="T13" fmla="*/ 10 h 15"/>
                <a:gd name="T14" fmla="*/ 19 w 25"/>
                <a:gd name="T15" fmla="*/ 2 h 15"/>
                <a:gd name="T16" fmla="*/ 19 w 25"/>
                <a:gd name="T17" fmla="*/ 2 h 15"/>
                <a:gd name="T18" fmla="*/ 19 w 25"/>
                <a:gd name="T19" fmla="*/ 3 h 15"/>
                <a:gd name="T20" fmla="*/ 18 w 25"/>
                <a:gd name="T21" fmla="*/ 3 h 15"/>
                <a:gd name="T22" fmla="*/ 18 w 25"/>
                <a:gd name="T23" fmla="*/ 3 h 15"/>
                <a:gd name="T24" fmla="*/ 17 w 25"/>
                <a:gd name="T25" fmla="*/ 2 h 15"/>
                <a:gd name="T26" fmla="*/ 15 w 25"/>
                <a:gd name="T27" fmla="*/ 1 h 15"/>
                <a:gd name="T28" fmla="*/ 12 w 25"/>
                <a:gd name="T29" fmla="*/ 1 h 15"/>
                <a:gd name="T30" fmla="*/ 12 w 25"/>
                <a:gd name="T31" fmla="*/ 1 h 15"/>
                <a:gd name="T32" fmla="*/ 11 w 25"/>
                <a:gd name="T33" fmla="*/ 1 h 15"/>
                <a:gd name="T34" fmla="*/ 8 w 25"/>
                <a:gd name="T3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15">
                  <a:moveTo>
                    <a:pt x="8" y="0"/>
                  </a:moveTo>
                  <a:cubicBezTo>
                    <a:pt x="7" y="0"/>
                    <a:pt x="0" y="4"/>
                    <a:pt x="0" y="4"/>
                  </a:cubicBezTo>
                  <a:cubicBezTo>
                    <a:pt x="1" y="5"/>
                    <a:pt x="2" y="5"/>
                    <a:pt x="3" y="6"/>
                  </a:cubicBezTo>
                  <a:cubicBezTo>
                    <a:pt x="6" y="8"/>
                    <a:pt x="8" y="11"/>
                    <a:pt x="11" y="13"/>
                  </a:cubicBezTo>
                  <a:cubicBezTo>
                    <a:pt x="13" y="14"/>
                    <a:pt x="14" y="15"/>
                    <a:pt x="15" y="15"/>
                  </a:cubicBezTo>
                  <a:cubicBezTo>
                    <a:pt x="16" y="15"/>
                    <a:pt x="17" y="14"/>
                    <a:pt x="18" y="13"/>
                  </a:cubicBezTo>
                  <a:cubicBezTo>
                    <a:pt x="21" y="12"/>
                    <a:pt x="23" y="12"/>
                    <a:pt x="24" y="10"/>
                  </a:cubicBezTo>
                  <a:cubicBezTo>
                    <a:pt x="25" y="8"/>
                    <a:pt x="21" y="3"/>
                    <a:pt x="19" y="2"/>
                  </a:cubicBezTo>
                  <a:cubicBezTo>
                    <a:pt x="19" y="2"/>
                    <a:pt x="19" y="2"/>
                    <a:pt x="19" y="2"/>
                  </a:cubicBezTo>
                  <a:cubicBezTo>
                    <a:pt x="19" y="2"/>
                    <a:pt x="19" y="3"/>
                    <a:pt x="19" y="3"/>
                  </a:cubicBezTo>
                  <a:cubicBezTo>
                    <a:pt x="18" y="3"/>
                    <a:pt x="18" y="3"/>
                    <a:pt x="18" y="3"/>
                  </a:cubicBezTo>
                  <a:cubicBezTo>
                    <a:pt x="18" y="3"/>
                    <a:pt x="18" y="3"/>
                    <a:pt x="18" y="3"/>
                  </a:cubicBezTo>
                  <a:cubicBezTo>
                    <a:pt x="17" y="3"/>
                    <a:pt x="17" y="2"/>
                    <a:pt x="17" y="2"/>
                  </a:cubicBezTo>
                  <a:cubicBezTo>
                    <a:pt x="16" y="1"/>
                    <a:pt x="15" y="1"/>
                    <a:pt x="15" y="1"/>
                  </a:cubicBezTo>
                  <a:cubicBezTo>
                    <a:pt x="14" y="1"/>
                    <a:pt x="13" y="1"/>
                    <a:pt x="12" y="1"/>
                  </a:cubicBezTo>
                  <a:cubicBezTo>
                    <a:pt x="12" y="1"/>
                    <a:pt x="12" y="1"/>
                    <a:pt x="12" y="1"/>
                  </a:cubicBezTo>
                  <a:cubicBezTo>
                    <a:pt x="12" y="1"/>
                    <a:pt x="11" y="1"/>
                    <a:pt x="11" y="1"/>
                  </a:cubicBezTo>
                  <a:cubicBezTo>
                    <a:pt x="10" y="1"/>
                    <a:pt x="9"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 name="Freeform 236">
              <a:extLst>
                <a:ext uri="{FF2B5EF4-FFF2-40B4-BE49-F238E27FC236}">
                  <a16:creationId xmlns:a16="http://schemas.microsoft.com/office/drawing/2014/main" id="{59454426-E81E-4838-9BBF-892E523292BA}"/>
                </a:ext>
              </a:extLst>
            </p:cNvPr>
            <p:cNvSpPr>
              <a:spLocks noEditPoints="1"/>
            </p:cNvSpPr>
            <p:nvPr/>
          </p:nvSpPr>
          <p:spPr bwMode="auto">
            <a:xfrm>
              <a:off x="4325929" y="3840984"/>
              <a:ext cx="127000" cy="119063"/>
            </a:xfrm>
            <a:custGeom>
              <a:avLst/>
              <a:gdLst>
                <a:gd name="T0" fmla="*/ 0 w 34"/>
                <a:gd name="T1" fmla="*/ 12 h 32"/>
                <a:gd name="T2" fmla="*/ 0 w 34"/>
                <a:gd name="T3" fmla="*/ 12 h 32"/>
                <a:gd name="T4" fmla="*/ 0 w 34"/>
                <a:gd name="T5" fmla="*/ 12 h 32"/>
                <a:gd name="T6" fmla="*/ 2 w 34"/>
                <a:gd name="T7" fmla="*/ 0 h 32"/>
                <a:gd name="T8" fmla="*/ 1 w 34"/>
                <a:gd name="T9" fmla="*/ 0 h 32"/>
                <a:gd name="T10" fmla="*/ 2 w 34"/>
                <a:gd name="T11" fmla="*/ 3 h 32"/>
                <a:gd name="T12" fmla="*/ 0 w 34"/>
                <a:gd name="T13" fmla="*/ 9 h 32"/>
                <a:gd name="T14" fmla="*/ 0 w 34"/>
                <a:gd name="T15" fmla="*/ 9 h 32"/>
                <a:gd name="T16" fmla="*/ 0 w 34"/>
                <a:gd name="T17" fmla="*/ 10 h 32"/>
                <a:gd name="T18" fmla="*/ 1 w 34"/>
                <a:gd name="T19" fmla="*/ 12 h 32"/>
                <a:gd name="T20" fmla="*/ 0 w 34"/>
                <a:gd name="T21" fmla="*/ 12 h 32"/>
                <a:gd name="T22" fmla="*/ 3 w 34"/>
                <a:gd name="T23" fmla="*/ 13 h 32"/>
                <a:gd name="T24" fmla="*/ 3 w 34"/>
                <a:gd name="T25" fmla="*/ 13 h 32"/>
                <a:gd name="T26" fmla="*/ 3 w 34"/>
                <a:gd name="T27" fmla="*/ 14 h 32"/>
                <a:gd name="T28" fmla="*/ 3 w 34"/>
                <a:gd name="T29" fmla="*/ 16 h 32"/>
                <a:gd name="T30" fmla="*/ 6 w 34"/>
                <a:gd name="T31" fmla="*/ 18 h 32"/>
                <a:gd name="T32" fmla="*/ 5 w 34"/>
                <a:gd name="T33" fmla="*/ 18 h 32"/>
                <a:gd name="T34" fmla="*/ 3 w 34"/>
                <a:gd name="T35" fmla="*/ 18 h 32"/>
                <a:gd name="T36" fmla="*/ 17 w 34"/>
                <a:gd name="T37" fmla="*/ 27 h 32"/>
                <a:gd name="T38" fmla="*/ 12 w 34"/>
                <a:gd name="T39" fmla="*/ 25 h 32"/>
                <a:gd name="T40" fmla="*/ 9 w 34"/>
                <a:gd name="T41" fmla="*/ 27 h 32"/>
                <a:gd name="T42" fmla="*/ 11 w 34"/>
                <a:gd name="T43" fmla="*/ 26 h 32"/>
                <a:gd name="T44" fmla="*/ 14 w 34"/>
                <a:gd name="T45" fmla="*/ 27 h 32"/>
                <a:gd name="T46" fmla="*/ 13 w 34"/>
                <a:gd name="T47" fmla="*/ 27 h 32"/>
                <a:gd name="T48" fmla="*/ 10 w 34"/>
                <a:gd name="T49" fmla="*/ 28 h 32"/>
                <a:gd name="T50" fmla="*/ 15 w 34"/>
                <a:gd name="T51" fmla="*/ 32 h 32"/>
                <a:gd name="T52" fmla="*/ 17 w 34"/>
                <a:gd name="T53" fmla="*/ 32 h 32"/>
                <a:gd name="T54" fmla="*/ 21 w 34"/>
                <a:gd name="T55" fmla="*/ 31 h 32"/>
                <a:gd name="T56" fmla="*/ 20 w 34"/>
                <a:gd name="T57" fmla="*/ 30 h 32"/>
                <a:gd name="T58" fmla="*/ 28 w 34"/>
                <a:gd name="T59" fmla="*/ 24 h 32"/>
                <a:gd name="T60" fmla="*/ 28 w 34"/>
                <a:gd name="T61" fmla="*/ 17 h 32"/>
                <a:gd name="T62" fmla="*/ 30 w 34"/>
                <a:gd name="T63" fmla="*/ 10 h 32"/>
                <a:gd name="T64" fmla="*/ 34 w 34"/>
                <a:gd name="T65" fmla="*/ 0 h 32"/>
                <a:gd name="T66" fmla="*/ 25 w 34"/>
                <a:gd name="T67" fmla="*/ 4 h 32"/>
                <a:gd name="T68" fmla="*/ 22 w 34"/>
                <a:gd name="T69" fmla="*/ 4 h 32"/>
                <a:gd name="T70" fmla="*/ 22 w 34"/>
                <a:gd name="T71" fmla="*/ 11 h 32"/>
                <a:gd name="T72" fmla="*/ 20 w 34"/>
                <a:gd name="T73" fmla="*/ 17 h 32"/>
                <a:gd name="T74" fmla="*/ 15 w 34"/>
                <a:gd name="T75" fmla="*/ 18 h 32"/>
                <a:gd name="T76" fmla="*/ 18 w 34"/>
                <a:gd name="T77" fmla="*/ 15 h 32"/>
                <a:gd name="T78" fmla="*/ 15 w 34"/>
                <a:gd name="T79" fmla="*/ 16 h 32"/>
                <a:gd name="T80" fmla="*/ 22 w 34"/>
                <a:gd name="T81" fmla="*/ 5 h 32"/>
                <a:gd name="T82" fmla="*/ 19 w 34"/>
                <a:gd name="T83" fmla="*/ 2 h 32"/>
                <a:gd name="T84" fmla="*/ 16 w 34"/>
                <a:gd name="T85" fmla="*/ 2 h 32"/>
                <a:gd name="T86" fmla="*/ 14 w 34"/>
                <a:gd name="T87" fmla="*/ 3 h 32"/>
                <a:gd name="T88" fmla="*/ 13 w 34"/>
                <a:gd name="T89" fmla="*/ 2 h 32"/>
                <a:gd name="T90" fmla="*/ 9 w 34"/>
                <a:gd name="T91" fmla="*/ 1 h 32"/>
                <a:gd name="T92" fmla="*/ 9 w 34"/>
                <a:gd name="T93" fmla="*/ 1 h 32"/>
                <a:gd name="T94" fmla="*/ 8 w 34"/>
                <a:gd name="T95" fmla="*/ 1 h 32"/>
                <a:gd name="T96" fmla="*/ 7 w 34"/>
                <a:gd name="T97" fmla="*/ 1 h 32"/>
                <a:gd name="T98" fmla="*/ 6 w 34"/>
                <a:gd name="T99" fmla="*/ 1 h 32"/>
                <a:gd name="T100" fmla="*/ 2 w 34"/>
                <a:gd name="T10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32">
                  <a:moveTo>
                    <a:pt x="0" y="12"/>
                  </a:moveTo>
                  <a:cubicBezTo>
                    <a:pt x="0" y="12"/>
                    <a:pt x="0" y="12"/>
                    <a:pt x="0" y="12"/>
                  </a:cubicBezTo>
                  <a:cubicBezTo>
                    <a:pt x="0" y="12"/>
                    <a:pt x="0" y="12"/>
                    <a:pt x="0" y="12"/>
                  </a:cubicBezTo>
                  <a:moveTo>
                    <a:pt x="2" y="0"/>
                  </a:moveTo>
                  <a:cubicBezTo>
                    <a:pt x="2" y="0"/>
                    <a:pt x="2" y="0"/>
                    <a:pt x="1" y="0"/>
                  </a:cubicBezTo>
                  <a:cubicBezTo>
                    <a:pt x="1" y="0"/>
                    <a:pt x="2" y="2"/>
                    <a:pt x="2" y="3"/>
                  </a:cubicBezTo>
                  <a:cubicBezTo>
                    <a:pt x="2" y="5"/>
                    <a:pt x="0" y="7"/>
                    <a:pt x="0" y="9"/>
                  </a:cubicBezTo>
                  <a:cubicBezTo>
                    <a:pt x="0" y="9"/>
                    <a:pt x="0" y="9"/>
                    <a:pt x="0" y="9"/>
                  </a:cubicBezTo>
                  <a:cubicBezTo>
                    <a:pt x="0" y="9"/>
                    <a:pt x="0" y="10"/>
                    <a:pt x="0" y="10"/>
                  </a:cubicBezTo>
                  <a:cubicBezTo>
                    <a:pt x="1" y="11"/>
                    <a:pt x="1" y="12"/>
                    <a:pt x="1" y="12"/>
                  </a:cubicBezTo>
                  <a:cubicBezTo>
                    <a:pt x="1" y="12"/>
                    <a:pt x="1" y="12"/>
                    <a:pt x="0" y="12"/>
                  </a:cubicBezTo>
                  <a:cubicBezTo>
                    <a:pt x="1" y="12"/>
                    <a:pt x="3" y="13"/>
                    <a:pt x="3" y="13"/>
                  </a:cubicBezTo>
                  <a:cubicBezTo>
                    <a:pt x="3" y="13"/>
                    <a:pt x="3" y="13"/>
                    <a:pt x="3" y="13"/>
                  </a:cubicBezTo>
                  <a:cubicBezTo>
                    <a:pt x="3" y="14"/>
                    <a:pt x="3" y="14"/>
                    <a:pt x="3" y="14"/>
                  </a:cubicBezTo>
                  <a:cubicBezTo>
                    <a:pt x="3" y="14"/>
                    <a:pt x="3" y="15"/>
                    <a:pt x="3" y="16"/>
                  </a:cubicBezTo>
                  <a:cubicBezTo>
                    <a:pt x="3" y="16"/>
                    <a:pt x="5" y="17"/>
                    <a:pt x="6" y="18"/>
                  </a:cubicBezTo>
                  <a:cubicBezTo>
                    <a:pt x="6" y="18"/>
                    <a:pt x="6" y="18"/>
                    <a:pt x="5" y="18"/>
                  </a:cubicBezTo>
                  <a:cubicBezTo>
                    <a:pt x="5" y="18"/>
                    <a:pt x="4" y="18"/>
                    <a:pt x="3" y="18"/>
                  </a:cubicBezTo>
                  <a:cubicBezTo>
                    <a:pt x="5" y="22"/>
                    <a:pt x="17" y="25"/>
                    <a:pt x="17" y="27"/>
                  </a:cubicBezTo>
                  <a:cubicBezTo>
                    <a:pt x="15" y="26"/>
                    <a:pt x="13" y="25"/>
                    <a:pt x="12" y="25"/>
                  </a:cubicBezTo>
                  <a:cubicBezTo>
                    <a:pt x="11" y="25"/>
                    <a:pt x="10" y="25"/>
                    <a:pt x="9" y="27"/>
                  </a:cubicBezTo>
                  <a:cubicBezTo>
                    <a:pt x="10" y="26"/>
                    <a:pt x="11" y="26"/>
                    <a:pt x="11" y="26"/>
                  </a:cubicBezTo>
                  <a:cubicBezTo>
                    <a:pt x="12" y="26"/>
                    <a:pt x="13" y="26"/>
                    <a:pt x="14" y="27"/>
                  </a:cubicBezTo>
                  <a:cubicBezTo>
                    <a:pt x="13" y="27"/>
                    <a:pt x="13" y="27"/>
                    <a:pt x="13" y="27"/>
                  </a:cubicBezTo>
                  <a:cubicBezTo>
                    <a:pt x="12" y="27"/>
                    <a:pt x="11" y="27"/>
                    <a:pt x="10" y="28"/>
                  </a:cubicBezTo>
                  <a:cubicBezTo>
                    <a:pt x="10" y="29"/>
                    <a:pt x="14" y="31"/>
                    <a:pt x="15" y="32"/>
                  </a:cubicBezTo>
                  <a:cubicBezTo>
                    <a:pt x="15" y="32"/>
                    <a:pt x="16" y="32"/>
                    <a:pt x="17" y="32"/>
                  </a:cubicBezTo>
                  <a:cubicBezTo>
                    <a:pt x="18" y="32"/>
                    <a:pt x="20" y="31"/>
                    <a:pt x="21" y="31"/>
                  </a:cubicBezTo>
                  <a:cubicBezTo>
                    <a:pt x="21" y="31"/>
                    <a:pt x="20" y="30"/>
                    <a:pt x="20" y="30"/>
                  </a:cubicBezTo>
                  <a:cubicBezTo>
                    <a:pt x="24" y="29"/>
                    <a:pt x="28" y="29"/>
                    <a:pt x="28" y="24"/>
                  </a:cubicBezTo>
                  <a:cubicBezTo>
                    <a:pt x="28" y="22"/>
                    <a:pt x="27" y="19"/>
                    <a:pt x="28" y="17"/>
                  </a:cubicBezTo>
                  <a:cubicBezTo>
                    <a:pt x="28" y="15"/>
                    <a:pt x="29" y="12"/>
                    <a:pt x="30" y="10"/>
                  </a:cubicBezTo>
                  <a:cubicBezTo>
                    <a:pt x="32" y="6"/>
                    <a:pt x="34" y="4"/>
                    <a:pt x="34" y="0"/>
                  </a:cubicBezTo>
                  <a:cubicBezTo>
                    <a:pt x="32" y="3"/>
                    <a:pt x="28" y="4"/>
                    <a:pt x="25" y="4"/>
                  </a:cubicBezTo>
                  <a:cubicBezTo>
                    <a:pt x="24" y="4"/>
                    <a:pt x="23" y="4"/>
                    <a:pt x="22" y="4"/>
                  </a:cubicBezTo>
                  <a:cubicBezTo>
                    <a:pt x="26" y="6"/>
                    <a:pt x="23" y="9"/>
                    <a:pt x="22" y="11"/>
                  </a:cubicBezTo>
                  <a:cubicBezTo>
                    <a:pt x="21" y="13"/>
                    <a:pt x="22" y="15"/>
                    <a:pt x="20" y="17"/>
                  </a:cubicBezTo>
                  <a:cubicBezTo>
                    <a:pt x="18" y="18"/>
                    <a:pt x="16" y="18"/>
                    <a:pt x="15" y="18"/>
                  </a:cubicBezTo>
                  <a:cubicBezTo>
                    <a:pt x="15" y="17"/>
                    <a:pt x="17" y="16"/>
                    <a:pt x="18" y="15"/>
                  </a:cubicBezTo>
                  <a:cubicBezTo>
                    <a:pt x="17" y="16"/>
                    <a:pt x="16" y="16"/>
                    <a:pt x="15" y="16"/>
                  </a:cubicBezTo>
                  <a:cubicBezTo>
                    <a:pt x="19" y="13"/>
                    <a:pt x="25" y="11"/>
                    <a:pt x="22" y="5"/>
                  </a:cubicBezTo>
                  <a:cubicBezTo>
                    <a:pt x="21" y="3"/>
                    <a:pt x="20" y="2"/>
                    <a:pt x="19" y="2"/>
                  </a:cubicBezTo>
                  <a:cubicBezTo>
                    <a:pt x="18" y="2"/>
                    <a:pt x="17" y="2"/>
                    <a:pt x="16" y="2"/>
                  </a:cubicBezTo>
                  <a:cubicBezTo>
                    <a:pt x="15" y="3"/>
                    <a:pt x="15" y="3"/>
                    <a:pt x="14" y="3"/>
                  </a:cubicBezTo>
                  <a:cubicBezTo>
                    <a:pt x="14" y="3"/>
                    <a:pt x="13" y="3"/>
                    <a:pt x="13" y="2"/>
                  </a:cubicBezTo>
                  <a:cubicBezTo>
                    <a:pt x="12" y="0"/>
                    <a:pt x="11" y="1"/>
                    <a:pt x="9" y="1"/>
                  </a:cubicBezTo>
                  <a:cubicBezTo>
                    <a:pt x="9" y="1"/>
                    <a:pt x="9" y="1"/>
                    <a:pt x="9" y="1"/>
                  </a:cubicBezTo>
                  <a:cubicBezTo>
                    <a:pt x="9" y="1"/>
                    <a:pt x="8" y="1"/>
                    <a:pt x="8" y="1"/>
                  </a:cubicBezTo>
                  <a:cubicBezTo>
                    <a:pt x="8" y="1"/>
                    <a:pt x="7" y="1"/>
                    <a:pt x="7" y="1"/>
                  </a:cubicBezTo>
                  <a:cubicBezTo>
                    <a:pt x="7" y="1"/>
                    <a:pt x="6" y="1"/>
                    <a:pt x="6" y="1"/>
                  </a:cubicBezTo>
                  <a:cubicBezTo>
                    <a:pt x="4" y="0"/>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 name="Freeform 237">
              <a:extLst>
                <a:ext uri="{FF2B5EF4-FFF2-40B4-BE49-F238E27FC236}">
                  <a16:creationId xmlns:a16="http://schemas.microsoft.com/office/drawing/2014/main" id="{09F81A4B-D848-49DF-850F-C1AD8AA3189C}"/>
                </a:ext>
              </a:extLst>
            </p:cNvPr>
            <p:cNvSpPr>
              <a:spLocks/>
            </p:cNvSpPr>
            <p:nvPr/>
          </p:nvSpPr>
          <p:spPr bwMode="auto">
            <a:xfrm>
              <a:off x="8774104" y="3953697"/>
              <a:ext cx="120650" cy="58738"/>
            </a:xfrm>
            <a:custGeom>
              <a:avLst/>
              <a:gdLst>
                <a:gd name="T0" fmla="*/ 16 w 32"/>
                <a:gd name="T1" fmla="*/ 0 h 16"/>
                <a:gd name="T2" fmla="*/ 8 w 32"/>
                <a:gd name="T3" fmla="*/ 1 h 16"/>
                <a:gd name="T4" fmla="*/ 0 w 32"/>
                <a:gd name="T5" fmla="*/ 5 h 16"/>
                <a:gd name="T6" fmla="*/ 11 w 32"/>
                <a:gd name="T7" fmla="*/ 10 h 16"/>
                <a:gd name="T8" fmla="*/ 21 w 32"/>
                <a:gd name="T9" fmla="*/ 13 h 16"/>
                <a:gd name="T10" fmla="*/ 31 w 32"/>
                <a:gd name="T11" fmla="*/ 16 h 16"/>
                <a:gd name="T12" fmla="*/ 22 w 32"/>
                <a:gd name="T13" fmla="*/ 1 h 16"/>
                <a:gd name="T14" fmla="*/ 16 w 32"/>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6">
                  <a:moveTo>
                    <a:pt x="16" y="0"/>
                  </a:moveTo>
                  <a:cubicBezTo>
                    <a:pt x="13" y="0"/>
                    <a:pt x="10" y="0"/>
                    <a:pt x="8" y="1"/>
                  </a:cubicBezTo>
                  <a:cubicBezTo>
                    <a:pt x="5" y="1"/>
                    <a:pt x="1" y="2"/>
                    <a:pt x="0" y="5"/>
                  </a:cubicBezTo>
                  <a:cubicBezTo>
                    <a:pt x="0" y="7"/>
                    <a:pt x="8" y="9"/>
                    <a:pt x="11" y="10"/>
                  </a:cubicBezTo>
                  <a:cubicBezTo>
                    <a:pt x="15" y="11"/>
                    <a:pt x="18" y="12"/>
                    <a:pt x="21" y="13"/>
                  </a:cubicBezTo>
                  <a:cubicBezTo>
                    <a:pt x="24" y="15"/>
                    <a:pt x="28" y="14"/>
                    <a:pt x="31" y="16"/>
                  </a:cubicBezTo>
                  <a:cubicBezTo>
                    <a:pt x="32" y="9"/>
                    <a:pt x="27" y="6"/>
                    <a:pt x="22" y="1"/>
                  </a:cubicBezTo>
                  <a:cubicBezTo>
                    <a:pt x="20" y="0"/>
                    <a:pt x="18"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 name="Freeform 238">
              <a:extLst>
                <a:ext uri="{FF2B5EF4-FFF2-40B4-BE49-F238E27FC236}">
                  <a16:creationId xmlns:a16="http://schemas.microsoft.com/office/drawing/2014/main" id="{839FBAFF-2F4F-43F1-8CBD-1DD510C03A04}"/>
                </a:ext>
              </a:extLst>
            </p:cNvPr>
            <p:cNvSpPr>
              <a:spLocks/>
            </p:cNvSpPr>
            <p:nvPr/>
          </p:nvSpPr>
          <p:spPr bwMode="auto">
            <a:xfrm>
              <a:off x="8950316" y="3539359"/>
              <a:ext cx="106363" cy="101600"/>
            </a:xfrm>
            <a:custGeom>
              <a:avLst/>
              <a:gdLst>
                <a:gd name="T0" fmla="*/ 17 w 28"/>
                <a:gd name="T1" fmla="*/ 0 h 27"/>
                <a:gd name="T2" fmla="*/ 16 w 28"/>
                <a:gd name="T3" fmla="*/ 7 h 27"/>
                <a:gd name="T4" fmla="*/ 14 w 28"/>
                <a:gd name="T5" fmla="*/ 14 h 27"/>
                <a:gd name="T6" fmla="*/ 10 w 28"/>
                <a:gd name="T7" fmla="*/ 16 h 27"/>
                <a:gd name="T8" fmla="*/ 13 w 28"/>
                <a:gd name="T9" fmla="*/ 2 h 27"/>
                <a:gd name="T10" fmla="*/ 11 w 28"/>
                <a:gd name="T11" fmla="*/ 12 h 27"/>
                <a:gd name="T12" fmla="*/ 6 w 28"/>
                <a:gd name="T13" fmla="*/ 16 h 27"/>
                <a:gd name="T14" fmla="*/ 0 w 28"/>
                <a:gd name="T15" fmla="*/ 22 h 27"/>
                <a:gd name="T16" fmla="*/ 3 w 28"/>
                <a:gd name="T17" fmla="*/ 26 h 27"/>
                <a:gd name="T18" fmla="*/ 11 w 28"/>
                <a:gd name="T19" fmla="*/ 17 h 27"/>
                <a:gd name="T20" fmla="*/ 12 w 28"/>
                <a:gd name="T21" fmla="*/ 17 h 27"/>
                <a:gd name="T22" fmla="*/ 11 w 28"/>
                <a:gd name="T23" fmla="*/ 19 h 27"/>
                <a:gd name="T24" fmla="*/ 6 w 28"/>
                <a:gd name="T25" fmla="*/ 27 h 27"/>
                <a:gd name="T26" fmla="*/ 15 w 28"/>
                <a:gd name="T27" fmla="*/ 21 h 27"/>
                <a:gd name="T28" fmla="*/ 20 w 28"/>
                <a:gd name="T29" fmla="*/ 13 h 27"/>
                <a:gd name="T30" fmla="*/ 17 w 28"/>
                <a:gd name="T31" fmla="*/ 25 h 27"/>
                <a:gd name="T32" fmla="*/ 22 w 28"/>
                <a:gd name="T33" fmla="*/ 13 h 27"/>
                <a:gd name="T34" fmla="*/ 22 w 28"/>
                <a:gd name="T35" fmla="*/ 13 h 27"/>
                <a:gd name="T36" fmla="*/ 24 w 28"/>
                <a:gd name="T37" fmla="*/ 8 h 27"/>
                <a:gd name="T38" fmla="*/ 19 w 28"/>
                <a:gd name="T39" fmla="*/ 24 h 27"/>
                <a:gd name="T40" fmla="*/ 24 w 28"/>
                <a:gd name="T41" fmla="*/ 14 h 27"/>
                <a:gd name="T42" fmla="*/ 25 w 28"/>
                <a:gd name="T43" fmla="*/ 6 h 27"/>
                <a:gd name="T44" fmla="*/ 25 w 28"/>
                <a:gd name="T45" fmla="*/ 6 h 27"/>
                <a:gd name="T46" fmla="*/ 24 w 28"/>
                <a:gd name="T47" fmla="*/ 6 h 27"/>
                <a:gd name="T48" fmla="*/ 23 w 28"/>
                <a:gd name="T49" fmla="*/ 6 h 27"/>
                <a:gd name="T50" fmla="*/ 22 w 28"/>
                <a:gd name="T51" fmla="*/ 6 h 27"/>
                <a:gd name="T52" fmla="*/ 20 w 28"/>
                <a:gd name="T53" fmla="*/ 3 h 27"/>
                <a:gd name="T54" fmla="*/ 17 w 28"/>
                <a:gd name="T5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 h="27">
                  <a:moveTo>
                    <a:pt x="17" y="0"/>
                  </a:moveTo>
                  <a:cubicBezTo>
                    <a:pt x="16" y="2"/>
                    <a:pt x="17" y="5"/>
                    <a:pt x="16" y="7"/>
                  </a:cubicBezTo>
                  <a:cubicBezTo>
                    <a:pt x="16" y="9"/>
                    <a:pt x="15" y="12"/>
                    <a:pt x="14" y="14"/>
                  </a:cubicBezTo>
                  <a:cubicBezTo>
                    <a:pt x="13" y="15"/>
                    <a:pt x="11" y="14"/>
                    <a:pt x="10" y="16"/>
                  </a:cubicBezTo>
                  <a:cubicBezTo>
                    <a:pt x="12" y="11"/>
                    <a:pt x="14" y="8"/>
                    <a:pt x="13" y="2"/>
                  </a:cubicBezTo>
                  <a:cubicBezTo>
                    <a:pt x="12" y="4"/>
                    <a:pt x="13" y="9"/>
                    <a:pt x="11" y="12"/>
                  </a:cubicBezTo>
                  <a:cubicBezTo>
                    <a:pt x="9" y="14"/>
                    <a:pt x="7" y="15"/>
                    <a:pt x="6" y="16"/>
                  </a:cubicBezTo>
                  <a:cubicBezTo>
                    <a:pt x="4" y="18"/>
                    <a:pt x="3" y="21"/>
                    <a:pt x="0" y="22"/>
                  </a:cubicBezTo>
                  <a:cubicBezTo>
                    <a:pt x="1" y="24"/>
                    <a:pt x="2" y="25"/>
                    <a:pt x="3" y="26"/>
                  </a:cubicBezTo>
                  <a:cubicBezTo>
                    <a:pt x="4" y="23"/>
                    <a:pt x="9" y="18"/>
                    <a:pt x="11" y="17"/>
                  </a:cubicBezTo>
                  <a:cubicBezTo>
                    <a:pt x="12" y="17"/>
                    <a:pt x="12" y="17"/>
                    <a:pt x="12" y="17"/>
                  </a:cubicBezTo>
                  <a:cubicBezTo>
                    <a:pt x="13" y="17"/>
                    <a:pt x="12" y="18"/>
                    <a:pt x="11" y="19"/>
                  </a:cubicBezTo>
                  <a:cubicBezTo>
                    <a:pt x="9" y="22"/>
                    <a:pt x="7" y="24"/>
                    <a:pt x="6" y="27"/>
                  </a:cubicBezTo>
                  <a:cubicBezTo>
                    <a:pt x="10" y="25"/>
                    <a:pt x="13" y="25"/>
                    <a:pt x="15" y="21"/>
                  </a:cubicBezTo>
                  <a:cubicBezTo>
                    <a:pt x="17" y="19"/>
                    <a:pt x="18" y="16"/>
                    <a:pt x="20" y="13"/>
                  </a:cubicBezTo>
                  <a:cubicBezTo>
                    <a:pt x="22" y="17"/>
                    <a:pt x="18" y="21"/>
                    <a:pt x="17" y="25"/>
                  </a:cubicBezTo>
                  <a:cubicBezTo>
                    <a:pt x="19" y="22"/>
                    <a:pt x="21" y="16"/>
                    <a:pt x="22" y="13"/>
                  </a:cubicBezTo>
                  <a:cubicBezTo>
                    <a:pt x="22" y="13"/>
                    <a:pt x="22" y="13"/>
                    <a:pt x="22" y="13"/>
                  </a:cubicBezTo>
                  <a:cubicBezTo>
                    <a:pt x="20" y="13"/>
                    <a:pt x="24" y="9"/>
                    <a:pt x="24" y="8"/>
                  </a:cubicBezTo>
                  <a:cubicBezTo>
                    <a:pt x="24" y="13"/>
                    <a:pt x="20" y="18"/>
                    <a:pt x="19" y="24"/>
                  </a:cubicBezTo>
                  <a:cubicBezTo>
                    <a:pt x="20" y="21"/>
                    <a:pt x="22" y="17"/>
                    <a:pt x="24" y="14"/>
                  </a:cubicBezTo>
                  <a:cubicBezTo>
                    <a:pt x="25" y="12"/>
                    <a:pt x="28" y="9"/>
                    <a:pt x="25" y="6"/>
                  </a:cubicBezTo>
                  <a:cubicBezTo>
                    <a:pt x="25" y="6"/>
                    <a:pt x="25" y="6"/>
                    <a:pt x="25" y="6"/>
                  </a:cubicBezTo>
                  <a:cubicBezTo>
                    <a:pt x="24" y="6"/>
                    <a:pt x="24" y="6"/>
                    <a:pt x="24" y="6"/>
                  </a:cubicBezTo>
                  <a:cubicBezTo>
                    <a:pt x="24" y="6"/>
                    <a:pt x="23" y="6"/>
                    <a:pt x="23" y="6"/>
                  </a:cubicBezTo>
                  <a:cubicBezTo>
                    <a:pt x="23" y="6"/>
                    <a:pt x="23" y="6"/>
                    <a:pt x="22" y="6"/>
                  </a:cubicBezTo>
                  <a:cubicBezTo>
                    <a:pt x="21" y="5"/>
                    <a:pt x="21" y="3"/>
                    <a:pt x="20" y="3"/>
                  </a:cubicBezTo>
                  <a:cubicBezTo>
                    <a:pt x="20" y="2"/>
                    <a:pt x="18" y="1"/>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 name="Freeform 239">
              <a:extLst>
                <a:ext uri="{FF2B5EF4-FFF2-40B4-BE49-F238E27FC236}">
                  <a16:creationId xmlns:a16="http://schemas.microsoft.com/office/drawing/2014/main" id="{E090D4B2-47E3-4EDC-A112-6BD6E394264B}"/>
                </a:ext>
              </a:extLst>
            </p:cNvPr>
            <p:cNvSpPr>
              <a:spLocks noEditPoints="1"/>
            </p:cNvSpPr>
            <p:nvPr/>
          </p:nvSpPr>
          <p:spPr bwMode="auto">
            <a:xfrm>
              <a:off x="10561629" y="4655372"/>
              <a:ext cx="149225" cy="161925"/>
            </a:xfrm>
            <a:custGeom>
              <a:avLst/>
              <a:gdLst>
                <a:gd name="T0" fmla="*/ 23 w 40"/>
                <a:gd name="T1" fmla="*/ 27 h 43"/>
                <a:gd name="T2" fmla="*/ 29 w 40"/>
                <a:gd name="T3" fmla="*/ 24 h 43"/>
                <a:gd name="T4" fmla="*/ 19 w 40"/>
                <a:gd name="T5" fmla="*/ 31 h 43"/>
                <a:gd name="T6" fmla="*/ 18 w 40"/>
                <a:gd name="T7" fmla="*/ 33 h 43"/>
                <a:gd name="T8" fmla="*/ 19 w 40"/>
                <a:gd name="T9" fmla="*/ 34 h 43"/>
                <a:gd name="T10" fmla="*/ 26 w 40"/>
                <a:gd name="T11" fmla="*/ 31 h 43"/>
                <a:gd name="T12" fmla="*/ 19 w 40"/>
                <a:gd name="T13" fmla="*/ 36 h 43"/>
                <a:gd name="T14" fmla="*/ 18 w 40"/>
                <a:gd name="T15" fmla="*/ 38 h 43"/>
                <a:gd name="T16" fmla="*/ 9 w 40"/>
                <a:gd name="T17" fmla="*/ 39 h 43"/>
                <a:gd name="T18" fmla="*/ 12 w 40"/>
                <a:gd name="T19" fmla="*/ 36 h 43"/>
                <a:gd name="T20" fmla="*/ 11 w 40"/>
                <a:gd name="T21" fmla="*/ 35 h 43"/>
                <a:gd name="T22" fmla="*/ 10 w 40"/>
                <a:gd name="T23" fmla="*/ 35 h 43"/>
                <a:gd name="T24" fmla="*/ 10 w 40"/>
                <a:gd name="T25" fmla="*/ 34 h 43"/>
                <a:gd name="T26" fmla="*/ 13 w 40"/>
                <a:gd name="T27" fmla="*/ 33 h 43"/>
                <a:gd name="T28" fmla="*/ 16 w 40"/>
                <a:gd name="T29" fmla="*/ 32 h 43"/>
                <a:gd name="T30" fmla="*/ 17 w 40"/>
                <a:gd name="T31" fmla="*/ 31 h 43"/>
                <a:gd name="T32" fmla="*/ 18 w 40"/>
                <a:gd name="T33" fmla="*/ 29 h 43"/>
                <a:gd name="T34" fmla="*/ 17 w 40"/>
                <a:gd name="T35" fmla="*/ 28 h 43"/>
                <a:gd name="T36" fmla="*/ 22 w 40"/>
                <a:gd name="T37" fmla="*/ 26 h 43"/>
                <a:gd name="T38" fmla="*/ 22 w 40"/>
                <a:gd name="T39" fmla="*/ 26 h 43"/>
                <a:gd name="T40" fmla="*/ 22 w 40"/>
                <a:gd name="T41" fmla="*/ 0 h 43"/>
                <a:gd name="T42" fmla="*/ 21 w 40"/>
                <a:gd name="T43" fmla="*/ 1 h 43"/>
                <a:gd name="T44" fmla="*/ 20 w 40"/>
                <a:gd name="T45" fmla="*/ 3 h 43"/>
                <a:gd name="T46" fmla="*/ 16 w 40"/>
                <a:gd name="T47" fmla="*/ 7 h 43"/>
                <a:gd name="T48" fmla="*/ 14 w 40"/>
                <a:gd name="T49" fmla="*/ 10 h 43"/>
                <a:gd name="T50" fmla="*/ 13 w 40"/>
                <a:gd name="T51" fmla="*/ 12 h 43"/>
                <a:gd name="T52" fmla="*/ 11 w 40"/>
                <a:gd name="T53" fmla="*/ 13 h 43"/>
                <a:gd name="T54" fmla="*/ 11 w 40"/>
                <a:gd name="T55" fmla="*/ 13 h 43"/>
                <a:gd name="T56" fmla="*/ 11 w 40"/>
                <a:gd name="T57" fmla="*/ 14 h 43"/>
                <a:gd name="T58" fmla="*/ 9 w 40"/>
                <a:gd name="T59" fmla="*/ 18 h 43"/>
                <a:gd name="T60" fmla="*/ 4 w 40"/>
                <a:gd name="T61" fmla="*/ 25 h 43"/>
                <a:gd name="T62" fmla="*/ 1 w 40"/>
                <a:gd name="T63" fmla="*/ 27 h 43"/>
                <a:gd name="T64" fmla="*/ 0 w 40"/>
                <a:gd name="T65" fmla="*/ 30 h 43"/>
                <a:gd name="T66" fmla="*/ 1 w 40"/>
                <a:gd name="T67" fmla="*/ 37 h 43"/>
                <a:gd name="T68" fmla="*/ 7 w 40"/>
                <a:gd name="T69" fmla="*/ 43 h 43"/>
                <a:gd name="T70" fmla="*/ 9 w 40"/>
                <a:gd name="T71" fmla="*/ 43 h 43"/>
                <a:gd name="T72" fmla="*/ 9 w 40"/>
                <a:gd name="T73" fmla="*/ 43 h 43"/>
                <a:gd name="T74" fmla="*/ 12 w 40"/>
                <a:gd name="T75" fmla="*/ 42 h 43"/>
                <a:gd name="T76" fmla="*/ 19 w 40"/>
                <a:gd name="T77" fmla="*/ 43 h 43"/>
                <a:gd name="T78" fmla="*/ 26 w 40"/>
                <a:gd name="T79" fmla="*/ 41 h 43"/>
                <a:gd name="T80" fmla="*/ 30 w 40"/>
                <a:gd name="T81" fmla="*/ 39 h 43"/>
                <a:gd name="T82" fmla="*/ 35 w 40"/>
                <a:gd name="T83" fmla="*/ 34 h 43"/>
                <a:gd name="T84" fmla="*/ 40 w 40"/>
                <a:gd name="T85" fmla="*/ 32 h 43"/>
                <a:gd name="T86" fmla="*/ 40 w 40"/>
                <a:gd name="T87" fmla="*/ 27 h 43"/>
                <a:gd name="T88" fmla="*/ 38 w 40"/>
                <a:gd name="T89" fmla="*/ 25 h 43"/>
                <a:gd name="T90" fmla="*/ 33 w 40"/>
                <a:gd name="T91" fmla="*/ 23 h 43"/>
                <a:gd name="T92" fmla="*/ 29 w 40"/>
                <a:gd name="T93" fmla="*/ 22 h 43"/>
                <a:gd name="T94" fmla="*/ 23 w 40"/>
                <a:gd name="T95" fmla="*/ 25 h 43"/>
                <a:gd name="T96" fmla="*/ 25 w 40"/>
                <a:gd name="T97" fmla="*/ 21 h 43"/>
                <a:gd name="T98" fmla="*/ 25 w 40"/>
                <a:gd name="T99" fmla="*/ 17 h 43"/>
                <a:gd name="T100" fmla="*/ 26 w 40"/>
                <a:gd name="T101" fmla="*/ 16 h 43"/>
                <a:gd name="T102" fmla="*/ 26 w 40"/>
                <a:gd name="T103" fmla="*/ 16 h 43"/>
                <a:gd name="T104" fmla="*/ 27 w 40"/>
                <a:gd name="T105" fmla="*/ 11 h 43"/>
                <a:gd name="T106" fmla="*/ 28 w 40"/>
                <a:gd name="T107" fmla="*/ 5 h 43"/>
                <a:gd name="T108" fmla="*/ 26 w 40"/>
                <a:gd name="T109" fmla="*/ 1 h 43"/>
                <a:gd name="T110" fmla="*/ 23 w 40"/>
                <a:gd name="T111"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 h="43">
                  <a:moveTo>
                    <a:pt x="21" y="29"/>
                  </a:moveTo>
                  <a:cubicBezTo>
                    <a:pt x="21" y="28"/>
                    <a:pt x="22" y="28"/>
                    <a:pt x="23" y="27"/>
                  </a:cubicBezTo>
                  <a:cubicBezTo>
                    <a:pt x="23" y="27"/>
                    <a:pt x="23" y="27"/>
                    <a:pt x="23" y="27"/>
                  </a:cubicBezTo>
                  <a:cubicBezTo>
                    <a:pt x="25" y="26"/>
                    <a:pt x="26" y="24"/>
                    <a:pt x="29" y="24"/>
                  </a:cubicBezTo>
                  <a:cubicBezTo>
                    <a:pt x="26" y="26"/>
                    <a:pt x="23" y="28"/>
                    <a:pt x="20" y="30"/>
                  </a:cubicBezTo>
                  <a:cubicBezTo>
                    <a:pt x="19" y="31"/>
                    <a:pt x="19" y="31"/>
                    <a:pt x="19" y="31"/>
                  </a:cubicBezTo>
                  <a:cubicBezTo>
                    <a:pt x="18" y="31"/>
                    <a:pt x="17" y="32"/>
                    <a:pt x="18" y="33"/>
                  </a:cubicBezTo>
                  <a:cubicBezTo>
                    <a:pt x="18" y="33"/>
                    <a:pt x="18" y="33"/>
                    <a:pt x="18" y="33"/>
                  </a:cubicBezTo>
                  <a:cubicBezTo>
                    <a:pt x="18" y="33"/>
                    <a:pt x="18" y="33"/>
                    <a:pt x="18" y="33"/>
                  </a:cubicBezTo>
                  <a:cubicBezTo>
                    <a:pt x="18" y="33"/>
                    <a:pt x="18" y="34"/>
                    <a:pt x="19" y="34"/>
                  </a:cubicBezTo>
                  <a:cubicBezTo>
                    <a:pt x="19" y="34"/>
                    <a:pt x="19" y="34"/>
                    <a:pt x="20" y="34"/>
                  </a:cubicBezTo>
                  <a:cubicBezTo>
                    <a:pt x="21" y="34"/>
                    <a:pt x="25" y="31"/>
                    <a:pt x="26" y="31"/>
                  </a:cubicBezTo>
                  <a:cubicBezTo>
                    <a:pt x="25" y="32"/>
                    <a:pt x="23" y="33"/>
                    <a:pt x="21" y="35"/>
                  </a:cubicBezTo>
                  <a:cubicBezTo>
                    <a:pt x="20" y="35"/>
                    <a:pt x="20" y="36"/>
                    <a:pt x="19" y="36"/>
                  </a:cubicBezTo>
                  <a:cubicBezTo>
                    <a:pt x="18" y="37"/>
                    <a:pt x="18" y="37"/>
                    <a:pt x="18" y="37"/>
                  </a:cubicBezTo>
                  <a:cubicBezTo>
                    <a:pt x="18" y="38"/>
                    <a:pt x="18" y="38"/>
                    <a:pt x="18" y="38"/>
                  </a:cubicBezTo>
                  <a:cubicBezTo>
                    <a:pt x="17" y="40"/>
                    <a:pt x="16" y="40"/>
                    <a:pt x="14" y="40"/>
                  </a:cubicBezTo>
                  <a:cubicBezTo>
                    <a:pt x="12" y="40"/>
                    <a:pt x="11" y="40"/>
                    <a:pt x="9" y="39"/>
                  </a:cubicBezTo>
                  <a:cubicBezTo>
                    <a:pt x="9" y="38"/>
                    <a:pt x="10" y="37"/>
                    <a:pt x="11" y="36"/>
                  </a:cubicBezTo>
                  <a:cubicBezTo>
                    <a:pt x="11" y="36"/>
                    <a:pt x="12" y="36"/>
                    <a:pt x="12" y="36"/>
                  </a:cubicBezTo>
                  <a:cubicBezTo>
                    <a:pt x="12" y="36"/>
                    <a:pt x="11" y="36"/>
                    <a:pt x="11" y="35"/>
                  </a:cubicBezTo>
                  <a:cubicBezTo>
                    <a:pt x="11" y="35"/>
                    <a:pt x="11" y="35"/>
                    <a:pt x="11" y="35"/>
                  </a:cubicBezTo>
                  <a:cubicBezTo>
                    <a:pt x="10" y="35"/>
                    <a:pt x="10" y="35"/>
                    <a:pt x="10" y="35"/>
                  </a:cubicBezTo>
                  <a:cubicBezTo>
                    <a:pt x="10" y="35"/>
                    <a:pt x="10" y="35"/>
                    <a:pt x="10" y="35"/>
                  </a:cubicBezTo>
                  <a:cubicBezTo>
                    <a:pt x="10" y="35"/>
                    <a:pt x="10" y="35"/>
                    <a:pt x="10" y="35"/>
                  </a:cubicBezTo>
                  <a:cubicBezTo>
                    <a:pt x="10" y="34"/>
                    <a:pt x="10" y="34"/>
                    <a:pt x="10" y="34"/>
                  </a:cubicBezTo>
                  <a:cubicBezTo>
                    <a:pt x="11" y="34"/>
                    <a:pt x="11" y="34"/>
                    <a:pt x="11" y="34"/>
                  </a:cubicBezTo>
                  <a:cubicBezTo>
                    <a:pt x="11" y="34"/>
                    <a:pt x="12" y="33"/>
                    <a:pt x="13" y="33"/>
                  </a:cubicBezTo>
                  <a:cubicBezTo>
                    <a:pt x="14" y="33"/>
                    <a:pt x="14" y="33"/>
                    <a:pt x="14" y="33"/>
                  </a:cubicBezTo>
                  <a:cubicBezTo>
                    <a:pt x="15" y="33"/>
                    <a:pt x="16" y="33"/>
                    <a:pt x="16" y="32"/>
                  </a:cubicBezTo>
                  <a:cubicBezTo>
                    <a:pt x="16" y="32"/>
                    <a:pt x="16" y="32"/>
                    <a:pt x="16" y="32"/>
                  </a:cubicBezTo>
                  <a:cubicBezTo>
                    <a:pt x="17" y="32"/>
                    <a:pt x="17" y="31"/>
                    <a:pt x="17" y="31"/>
                  </a:cubicBezTo>
                  <a:cubicBezTo>
                    <a:pt x="17" y="31"/>
                    <a:pt x="17" y="31"/>
                    <a:pt x="17" y="31"/>
                  </a:cubicBezTo>
                  <a:cubicBezTo>
                    <a:pt x="17" y="30"/>
                    <a:pt x="18" y="30"/>
                    <a:pt x="18" y="29"/>
                  </a:cubicBezTo>
                  <a:cubicBezTo>
                    <a:pt x="15" y="30"/>
                    <a:pt x="12" y="32"/>
                    <a:pt x="9" y="32"/>
                  </a:cubicBezTo>
                  <a:cubicBezTo>
                    <a:pt x="11" y="31"/>
                    <a:pt x="15" y="29"/>
                    <a:pt x="17" y="28"/>
                  </a:cubicBezTo>
                  <a:cubicBezTo>
                    <a:pt x="18" y="28"/>
                    <a:pt x="19" y="28"/>
                    <a:pt x="20" y="28"/>
                  </a:cubicBezTo>
                  <a:cubicBezTo>
                    <a:pt x="20" y="27"/>
                    <a:pt x="21" y="27"/>
                    <a:pt x="22" y="26"/>
                  </a:cubicBezTo>
                  <a:cubicBezTo>
                    <a:pt x="22" y="26"/>
                    <a:pt x="22" y="26"/>
                    <a:pt x="22" y="26"/>
                  </a:cubicBezTo>
                  <a:cubicBezTo>
                    <a:pt x="22" y="26"/>
                    <a:pt x="22" y="26"/>
                    <a:pt x="22" y="26"/>
                  </a:cubicBezTo>
                  <a:cubicBezTo>
                    <a:pt x="22" y="27"/>
                    <a:pt x="21" y="28"/>
                    <a:pt x="21" y="29"/>
                  </a:cubicBezTo>
                  <a:moveTo>
                    <a:pt x="22" y="0"/>
                  </a:moveTo>
                  <a:cubicBezTo>
                    <a:pt x="22" y="0"/>
                    <a:pt x="22" y="0"/>
                    <a:pt x="21" y="1"/>
                  </a:cubicBezTo>
                  <a:cubicBezTo>
                    <a:pt x="21" y="1"/>
                    <a:pt x="21" y="1"/>
                    <a:pt x="21" y="1"/>
                  </a:cubicBezTo>
                  <a:cubicBezTo>
                    <a:pt x="21" y="1"/>
                    <a:pt x="21" y="1"/>
                    <a:pt x="21" y="1"/>
                  </a:cubicBezTo>
                  <a:cubicBezTo>
                    <a:pt x="20" y="2"/>
                    <a:pt x="20" y="2"/>
                    <a:pt x="20" y="3"/>
                  </a:cubicBezTo>
                  <a:cubicBezTo>
                    <a:pt x="18" y="5"/>
                    <a:pt x="18" y="5"/>
                    <a:pt x="16" y="7"/>
                  </a:cubicBezTo>
                  <a:cubicBezTo>
                    <a:pt x="16" y="7"/>
                    <a:pt x="16" y="7"/>
                    <a:pt x="16" y="7"/>
                  </a:cubicBezTo>
                  <a:cubicBezTo>
                    <a:pt x="15" y="7"/>
                    <a:pt x="15" y="7"/>
                    <a:pt x="15" y="7"/>
                  </a:cubicBezTo>
                  <a:cubicBezTo>
                    <a:pt x="14" y="8"/>
                    <a:pt x="14" y="9"/>
                    <a:pt x="14" y="10"/>
                  </a:cubicBezTo>
                  <a:cubicBezTo>
                    <a:pt x="13" y="11"/>
                    <a:pt x="13" y="11"/>
                    <a:pt x="13" y="12"/>
                  </a:cubicBezTo>
                  <a:cubicBezTo>
                    <a:pt x="13" y="12"/>
                    <a:pt x="13" y="12"/>
                    <a:pt x="13" y="12"/>
                  </a:cubicBezTo>
                  <a:cubicBezTo>
                    <a:pt x="12" y="12"/>
                    <a:pt x="12" y="12"/>
                    <a:pt x="12" y="12"/>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4"/>
                    <a:pt x="11" y="14"/>
                  </a:cubicBezTo>
                  <a:cubicBezTo>
                    <a:pt x="11" y="15"/>
                    <a:pt x="11" y="15"/>
                    <a:pt x="10" y="16"/>
                  </a:cubicBezTo>
                  <a:cubicBezTo>
                    <a:pt x="10" y="17"/>
                    <a:pt x="10" y="17"/>
                    <a:pt x="9" y="18"/>
                  </a:cubicBezTo>
                  <a:cubicBezTo>
                    <a:pt x="8" y="20"/>
                    <a:pt x="6" y="23"/>
                    <a:pt x="4" y="24"/>
                  </a:cubicBezTo>
                  <a:cubicBezTo>
                    <a:pt x="4" y="25"/>
                    <a:pt x="4" y="25"/>
                    <a:pt x="4" y="25"/>
                  </a:cubicBezTo>
                  <a:cubicBezTo>
                    <a:pt x="3" y="25"/>
                    <a:pt x="2" y="26"/>
                    <a:pt x="2" y="27"/>
                  </a:cubicBezTo>
                  <a:cubicBezTo>
                    <a:pt x="1" y="27"/>
                    <a:pt x="1" y="27"/>
                    <a:pt x="1" y="27"/>
                  </a:cubicBezTo>
                  <a:cubicBezTo>
                    <a:pt x="0" y="28"/>
                    <a:pt x="0" y="28"/>
                    <a:pt x="0" y="28"/>
                  </a:cubicBezTo>
                  <a:cubicBezTo>
                    <a:pt x="0" y="29"/>
                    <a:pt x="0" y="30"/>
                    <a:pt x="0" y="30"/>
                  </a:cubicBezTo>
                  <a:cubicBezTo>
                    <a:pt x="0" y="31"/>
                    <a:pt x="0" y="32"/>
                    <a:pt x="0" y="32"/>
                  </a:cubicBezTo>
                  <a:cubicBezTo>
                    <a:pt x="0" y="34"/>
                    <a:pt x="1" y="35"/>
                    <a:pt x="1" y="37"/>
                  </a:cubicBezTo>
                  <a:cubicBezTo>
                    <a:pt x="2" y="39"/>
                    <a:pt x="4" y="43"/>
                    <a:pt x="6" y="43"/>
                  </a:cubicBezTo>
                  <a:cubicBezTo>
                    <a:pt x="6" y="43"/>
                    <a:pt x="6" y="43"/>
                    <a:pt x="7" y="43"/>
                  </a:cubicBezTo>
                  <a:cubicBezTo>
                    <a:pt x="7" y="43"/>
                    <a:pt x="7" y="42"/>
                    <a:pt x="7" y="42"/>
                  </a:cubicBezTo>
                  <a:cubicBezTo>
                    <a:pt x="8" y="43"/>
                    <a:pt x="8" y="43"/>
                    <a:pt x="9" y="43"/>
                  </a:cubicBezTo>
                  <a:cubicBezTo>
                    <a:pt x="9" y="43"/>
                    <a:pt x="9" y="43"/>
                    <a:pt x="9" y="43"/>
                  </a:cubicBezTo>
                  <a:cubicBezTo>
                    <a:pt x="9" y="43"/>
                    <a:pt x="9" y="43"/>
                    <a:pt x="9" y="43"/>
                  </a:cubicBezTo>
                  <a:cubicBezTo>
                    <a:pt x="10" y="43"/>
                    <a:pt x="10" y="43"/>
                    <a:pt x="10" y="43"/>
                  </a:cubicBezTo>
                  <a:cubicBezTo>
                    <a:pt x="10" y="43"/>
                    <a:pt x="11" y="43"/>
                    <a:pt x="12" y="42"/>
                  </a:cubicBezTo>
                  <a:cubicBezTo>
                    <a:pt x="12" y="42"/>
                    <a:pt x="14" y="42"/>
                    <a:pt x="15" y="41"/>
                  </a:cubicBezTo>
                  <a:cubicBezTo>
                    <a:pt x="16" y="42"/>
                    <a:pt x="17" y="43"/>
                    <a:pt x="19" y="43"/>
                  </a:cubicBezTo>
                  <a:cubicBezTo>
                    <a:pt x="19" y="43"/>
                    <a:pt x="20" y="43"/>
                    <a:pt x="20" y="43"/>
                  </a:cubicBezTo>
                  <a:cubicBezTo>
                    <a:pt x="22" y="42"/>
                    <a:pt x="25" y="42"/>
                    <a:pt x="26" y="41"/>
                  </a:cubicBezTo>
                  <a:cubicBezTo>
                    <a:pt x="27" y="41"/>
                    <a:pt x="27" y="41"/>
                    <a:pt x="27" y="40"/>
                  </a:cubicBezTo>
                  <a:cubicBezTo>
                    <a:pt x="28" y="40"/>
                    <a:pt x="30" y="39"/>
                    <a:pt x="30" y="39"/>
                  </a:cubicBezTo>
                  <a:cubicBezTo>
                    <a:pt x="33" y="37"/>
                    <a:pt x="31" y="34"/>
                    <a:pt x="34" y="34"/>
                  </a:cubicBezTo>
                  <a:cubicBezTo>
                    <a:pt x="35" y="34"/>
                    <a:pt x="35" y="34"/>
                    <a:pt x="35" y="34"/>
                  </a:cubicBezTo>
                  <a:cubicBezTo>
                    <a:pt x="36" y="34"/>
                    <a:pt x="37" y="34"/>
                    <a:pt x="38" y="33"/>
                  </a:cubicBezTo>
                  <a:cubicBezTo>
                    <a:pt x="39" y="33"/>
                    <a:pt x="39" y="33"/>
                    <a:pt x="40" y="32"/>
                  </a:cubicBezTo>
                  <a:cubicBezTo>
                    <a:pt x="40" y="31"/>
                    <a:pt x="40" y="30"/>
                    <a:pt x="40" y="29"/>
                  </a:cubicBezTo>
                  <a:cubicBezTo>
                    <a:pt x="40" y="28"/>
                    <a:pt x="40" y="28"/>
                    <a:pt x="40" y="27"/>
                  </a:cubicBezTo>
                  <a:cubicBezTo>
                    <a:pt x="40" y="27"/>
                    <a:pt x="40" y="26"/>
                    <a:pt x="39" y="26"/>
                  </a:cubicBezTo>
                  <a:cubicBezTo>
                    <a:pt x="39" y="26"/>
                    <a:pt x="39" y="25"/>
                    <a:pt x="38" y="25"/>
                  </a:cubicBezTo>
                  <a:cubicBezTo>
                    <a:pt x="37" y="25"/>
                    <a:pt x="35" y="24"/>
                    <a:pt x="33" y="23"/>
                  </a:cubicBezTo>
                  <a:cubicBezTo>
                    <a:pt x="33" y="23"/>
                    <a:pt x="33" y="23"/>
                    <a:pt x="33" y="23"/>
                  </a:cubicBezTo>
                  <a:cubicBezTo>
                    <a:pt x="32" y="23"/>
                    <a:pt x="31" y="22"/>
                    <a:pt x="30" y="22"/>
                  </a:cubicBezTo>
                  <a:cubicBezTo>
                    <a:pt x="30" y="22"/>
                    <a:pt x="29" y="22"/>
                    <a:pt x="29" y="22"/>
                  </a:cubicBezTo>
                  <a:cubicBezTo>
                    <a:pt x="27" y="22"/>
                    <a:pt x="25" y="23"/>
                    <a:pt x="23" y="25"/>
                  </a:cubicBezTo>
                  <a:cubicBezTo>
                    <a:pt x="23" y="25"/>
                    <a:pt x="23" y="25"/>
                    <a:pt x="23" y="25"/>
                  </a:cubicBezTo>
                  <a:cubicBezTo>
                    <a:pt x="24" y="24"/>
                    <a:pt x="24" y="24"/>
                    <a:pt x="24" y="24"/>
                  </a:cubicBezTo>
                  <a:cubicBezTo>
                    <a:pt x="25" y="23"/>
                    <a:pt x="25" y="22"/>
                    <a:pt x="25" y="21"/>
                  </a:cubicBezTo>
                  <a:cubicBezTo>
                    <a:pt x="24" y="22"/>
                    <a:pt x="23" y="23"/>
                    <a:pt x="21" y="24"/>
                  </a:cubicBezTo>
                  <a:cubicBezTo>
                    <a:pt x="22" y="22"/>
                    <a:pt x="24" y="19"/>
                    <a:pt x="25" y="17"/>
                  </a:cubicBezTo>
                  <a:cubicBezTo>
                    <a:pt x="26" y="16"/>
                    <a:pt x="26" y="16"/>
                    <a:pt x="26" y="16"/>
                  </a:cubicBezTo>
                  <a:cubicBezTo>
                    <a:pt x="26" y="16"/>
                    <a:pt x="26" y="16"/>
                    <a:pt x="26" y="16"/>
                  </a:cubicBezTo>
                  <a:cubicBezTo>
                    <a:pt x="26" y="16"/>
                    <a:pt x="26" y="16"/>
                    <a:pt x="26" y="16"/>
                  </a:cubicBezTo>
                  <a:cubicBezTo>
                    <a:pt x="26" y="16"/>
                    <a:pt x="26" y="16"/>
                    <a:pt x="26" y="16"/>
                  </a:cubicBezTo>
                  <a:cubicBezTo>
                    <a:pt x="26" y="14"/>
                    <a:pt x="26" y="13"/>
                    <a:pt x="27" y="12"/>
                  </a:cubicBezTo>
                  <a:cubicBezTo>
                    <a:pt x="27" y="11"/>
                    <a:pt x="27" y="11"/>
                    <a:pt x="27" y="11"/>
                  </a:cubicBezTo>
                  <a:cubicBezTo>
                    <a:pt x="28" y="8"/>
                    <a:pt x="28" y="7"/>
                    <a:pt x="28" y="7"/>
                  </a:cubicBezTo>
                  <a:cubicBezTo>
                    <a:pt x="28" y="6"/>
                    <a:pt x="28" y="6"/>
                    <a:pt x="28" y="5"/>
                  </a:cubicBezTo>
                  <a:cubicBezTo>
                    <a:pt x="28" y="5"/>
                    <a:pt x="25" y="5"/>
                    <a:pt x="24" y="4"/>
                  </a:cubicBezTo>
                  <a:cubicBezTo>
                    <a:pt x="25" y="3"/>
                    <a:pt x="26" y="2"/>
                    <a:pt x="26" y="1"/>
                  </a:cubicBezTo>
                  <a:cubicBezTo>
                    <a:pt x="26" y="1"/>
                    <a:pt x="25" y="1"/>
                    <a:pt x="25" y="1"/>
                  </a:cubicBezTo>
                  <a:cubicBezTo>
                    <a:pt x="24" y="1"/>
                    <a:pt x="24" y="1"/>
                    <a:pt x="23" y="1"/>
                  </a:cubicBezTo>
                  <a:cubicBezTo>
                    <a:pt x="23" y="1"/>
                    <a:pt x="23"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 name="Freeform 240">
              <a:extLst>
                <a:ext uri="{FF2B5EF4-FFF2-40B4-BE49-F238E27FC236}">
                  <a16:creationId xmlns:a16="http://schemas.microsoft.com/office/drawing/2014/main" id="{26C9FC41-4E3F-4302-9F4D-22DFCFFA0B29}"/>
                </a:ext>
              </a:extLst>
            </p:cNvPr>
            <p:cNvSpPr>
              <a:spLocks/>
            </p:cNvSpPr>
            <p:nvPr/>
          </p:nvSpPr>
          <p:spPr bwMode="auto">
            <a:xfrm>
              <a:off x="4659304" y="3998147"/>
              <a:ext cx="46038" cy="44450"/>
            </a:xfrm>
            <a:custGeom>
              <a:avLst/>
              <a:gdLst>
                <a:gd name="T0" fmla="*/ 1 w 12"/>
                <a:gd name="T1" fmla="*/ 0 h 12"/>
                <a:gd name="T2" fmla="*/ 4 w 12"/>
                <a:gd name="T3" fmla="*/ 8 h 12"/>
                <a:gd name="T4" fmla="*/ 7 w 12"/>
                <a:gd name="T5" fmla="*/ 12 h 12"/>
                <a:gd name="T6" fmla="*/ 1 w 12"/>
                <a:gd name="T7" fmla="*/ 0 h 12"/>
              </a:gdLst>
              <a:ahLst/>
              <a:cxnLst>
                <a:cxn ang="0">
                  <a:pos x="T0" y="T1"/>
                </a:cxn>
                <a:cxn ang="0">
                  <a:pos x="T2" y="T3"/>
                </a:cxn>
                <a:cxn ang="0">
                  <a:pos x="T4" y="T5"/>
                </a:cxn>
                <a:cxn ang="0">
                  <a:pos x="T6" y="T7"/>
                </a:cxn>
              </a:cxnLst>
              <a:rect l="0" t="0" r="r" b="b"/>
              <a:pathLst>
                <a:path w="12" h="12">
                  <a:moveTo>
                    <a:pt x="1" y="0"/>
                  </a:moveTo>
                  <a:cubicBezTo>
                    <a:pt x="0" y="3"/>
                    <a:pt x="2" y="6"/>
                    <a:pt x="4" y="8"/>
                  </a:cubicBezTo>
                  <a:cubicBezTo>
                    <a:pt x="5" y="9"/>
                    <a:pt x="7" y="9"/>
                    <a:pt x="7" y="12"/>
                  </a:cubicBezTo>
                  <a:cubicBezTo>
                    <a:pt x="12" y="9"/>
                    <a:pt x="3"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 name="Freeform 241">
              <a:extLst>
                <a:ext uri="{FF2B5EF4-FFF2-40B4-BE49-F238E27FC236}">
                  <a16:creationId xmlns:a16="http://schemas.microsoft.com/office/drawing/2014/main" id="{9E5626C9-9D10-4434-B5B5-563B692D5FC8}"/>
                </a:ext>
              </a:extLst>
            </p:cNvPr>
            <p:cNvSpPr>
              <a:spLocks/>
            </p:cNvSpPr>
            <p:nvPr/>
          </p:nvSpPr>
          <p:spPr bwMode="auto">
            <a:xfrm>
              <a:off x="10693391" y="4985572"/>
              <a:ext cx="25400" cy="11113"/>
            </a:xfrm>
            <a:custGeom>
              <a:avLst/>
              <a:gdLst>
                <a:gd name="T0" fmla="*/ 7 w 7"/>
                <a:gd name="T1" fmla="*/ 0 h 3"/>
                <a:gd name="T2" fmla="*/ 0 w 7"/>
                <a:gd name="T3" fmla="*/ 3 h 3"/>
                <a:gd name="T4" fmla="*/ 1 w 7"/>
                <a:gd name="T5" fmla="*/ 3 h 3"/>
                <a:gd name="T6" fmla="*/ 7 w 7"/>
                <a:gd name="T7" fmla="*/ 0 h 3"/>
              </a:gdLst>
              <a:ahLst/>
              <a:cxnLst>
                <a:cxn ang="0">
                  <a:pos x="T0" y="T1"/>
                </a:cxn>
                <a:cxn ang="0">
                  <a:pos x="T2" y="T3"/>
                </a:cxn>
                <a:cxn ang="0">
                  <a:pos x="T4" y="T5"/>
                </a:cxn>
                <a:cxn ang="0">
                  <a:pos x="T6" y="T7"/>
                </a:cxn>
              </a:cxnLst>
              <a:rect l="0" t="0" r="r" b="b"/>
              <a:pathLst>
                <a:path w="7" h="3">
                  <a:moveTo>
                    <a:pt x="7" y="0"/>
                  </a:moveTo>
                  <a:cubicBezTo>
                    <a:pt x="5" y="1"/>
                    <a:pt x="3" y="2"/>
                    <a:pt x="0" y="3"/>
                  </a:cubicBezTo>
                  <a:cubicBezTo>
                    <a:pt x="1" y="3"/>
                    <a:pt x="1" y="3"/>
                    <a:pt x="1" y="3"/>
                  </a:cubicBezTo>
                  <a:cubicBezTo>
                    <a:pt x="3" y="3"/>
                    <a:pt x="5"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 name="Freeform 242">
              <a:extLst>
                <a:ext uri="{FF2B5EF4-FFF2-40B4-BE49-F238E27FC236}">
                  <a16:creationId xmlns:a16="http://schemas.microsoft.com/office/drawing/2014/main" id="{2E89FB38-ED0B-4784-BD85-A842B783EA13}"/>
                </a:ext>
              </a:extLst>
            </p:cNvPr>
            <p:cNvSpPr>
              <a:spLocks/>
            </p:cNvSpPr>
            <p:nvPr/>
          </p:nvSpPr>
          <p:spPr bwMode="auto">
            <a:xfrm>
              <a:off x="10264766" y="2769422"/>
              <a:ext cx="49213" cy="26988"/>
            </a:xfrm>
            <a:custGeom>
              <a:avLst/>
              <a:gdLst>
                <a:gd name="T0" fmla="*/ 4 w 13"/>
                <a:gd name="T1" fmla="*/ 0 h 7"/>
                <a:gd name="T2" fmla="*/ 0 w 13"/>
                <a:gd name="T3" fmla="*/ 3 h 7"/>
                <a:gd name="T4" fmla="*/ 6 w 13"/>
                <a:gd name="T5" fmla="*/ 7 h 7"/>
                <a:gd name="T6" fmla="*/ 6 w 13"/>
                <a:gd name="T7" fmla="*/ 7 h 7"/>
                <a:gd name="T8" fmla="*/ 13 w 13"/>
                <a:gd name="T9" fmla="*/ 1 h 7"/>
                <a:gd name="T10" fmla="*/ 9 w 13"/>
                <a:gd name="T11" fmla="*/ 1 h 7"/>
                <a:gd name="T12" fmla="*/ 9 w 13"/>
                <a:gd name="T13" fmla="*/ 1 h 7"/>
                <a:gd name="T14" fmla="*/ 8 w 13"/>
                <a:gd name="T15" fmla="*/ 1 h 7"/>
                <a:gd name="T16" fmla="*/ 8 w 13"/>
                <a:gd name="T17" fmla="*/ 1 h 7"/>
                <a:gd name="T18" fmla="*/ 5 w 13"/>
                <a:gd name="T19" fmla="*/ 0 h 7"/>
                <a:gd name="T20" fmla="*/ 4 w 1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4" y="0"/>
                  </a:moveTo>
                  <a:cubicBezTo>
                    <a:pt x="1" y="0"/>
                    <a:pt x="2" y="3"/>
                    <a:pt x="0" y="3"/>
                  </a:cubicBezTo>
                  <a:cubicBezTo>
                    <a:pt x="1" y="5"/>
                    <a:pt x="4" y="7"/>
                    <a:pt x="6" y="7"/>
                  </a:cubicBezTo>
                  <a:cubicBezTo>
                    <a:pt x="6" y="7"/>
                    <a:pt x="6" y="7"/>
                    <a:pt x="6" y="7"/>
                  </a:cubicBezTo>
                  <a:cubicBezTo>
                    <a:pt x="9" y="7"/>
                    <a:pt x="11" y="4"/>
                    <a:pt x="13" y="1"/>
                  </a:cubicBezTo>
                  <a:cubicBezTo>
                    <a:pt x="11" y="1"/>
                    <a:pt x="10" y="1"/>
                    <a:pt x="9" y="1"/>
                  </a:cubicBezTo>
                  <a:cubicBezTo>
                    <a:pt x="9" y="1"/>
                    <a:pt x="9" y="1"/>
                    <a:pt x="9" y="1"/>
                  </a:cubicBezTo>
                  <a:cubicBezTo>
                    <a:pt x="9" y="1"/>
                    <a:pt x="9" y="1"/>
                    <a:pt x="8" y="1"/>
                  </a:cubicBezTo>
                  <a:cubicBezTo>
                    <a:pt x="8" y="1"/>
                    <a:pt x="8" y="1"/>
                    <a:pt x="8" y="1"/>
                  </a:cubicBezTo>
                  <a:cubicBezTo>
                    <a:pt x="7" y="1"/>
                    <a:pt x="5" y="0"/>
                    <a:pt x="5"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 name="Freeform 243">
              <a:extLst>
                <a:ext uri="{FF2B5EF4-FFF2-40B4-BE49-F238E27FC236}">
                  <a16:creationId xmlns:a16="http://schemas.microsoft.com/office/drawing/2014/main" id="{4ECCE994-145B-487F-A0B3-4E6DC6B991FF}"/>
                </a:ext>
              </a:extLst>
            </p:cNvPr>
            <p:cNvSpPr>
              <a:spLocks/>
            </p:cNvSpPr>
            <p:nvPr/>
          </p:nvSpPr>
          <p:spPr bwMode="auto">
            <a:xfrm>
              <a:off x="4851391" y="4339459"/>
              <a:ext cx="38100" cy="30163"/>
            </a:xfrm>
            <a:custGeom>
              <a:avLst/>
              <a:gdLst>
                <a:gd name="T0" fmla="*/ 7 w 10"/>
                <a:gd name="T1" fmla="*/ 0 h 8"/>
                <a:gd name="T2" fmla="*/ 5 w 10"/>
                <a:gd name="T3" fmla="*/ 6 h 8"/>
                <a:gd name="T4" fmla="*/ 9 w 10"/>
                <a:gd name="T5" fmla="*/ 8 h 8"/>
                <a:gd name="T6" fmla="*/ 9 w 10"/>
                <a:gd name="T7" fmla="*/ 8 h 8"/>
                <a:gd name="T8" fmla="*/ 9 w 10"/>
                <a:gd name="T9" fmla="*/ 8 h 8"/>
                <a:gd name="T10" fmla="*/ 9 w 10"/>
                <a:gd name="T11" fmla="*/ 8 h 8"/>
                <a:gd name="T12" fmla="*/ 10 w 10"/>
                <a:gd name="T13" fmla="*/ 8 h 8"/>
                <a:gd name="T14" fmla="*/ 10 w 10"/>
                <a:gd name="T15" fmla="*/ 7 h 8"/>
                <a:gd name="T16" fmla="*/ 7 w 10"/>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8">
                  <a:moveTo>
                    <a:pt x="7" y="0"/>
                  </a:moveTo>
                  <a:cubicBezTo>
                    <a:pt x="3" y="1"/>
                    <a:pt x="0" y="3"/>
                    <a:pt x="5" y="6"/>
                  </a:cubicBezTo>
                  <a:cubicBezTo>
                    <a:pt x="6" y="7"/>
                    <a:pt x="7" y="8"/>
                    <a:pt x="9" y="8"/>
                  </a:cubicBezTo>
                  <a:cubicBezTo>
                    <a:pt x="9" y="8"/>
                    <a:pt x="9" y="8"/>
                    <a:pt x="9" y="8"/>
                  </a:cubicBezTo>
                  <a:cubicBezTo>
                    <a:pt x="9" y="8"/>
                    <a:pt x="9" y="8"/>
                    <a:pt x="9" y="8"/>
                  </a:cubicBezTo>
                  <a:cubicBezTo>
                    <a:pt x="9" y="8"/>
                    <a:pt x="9" y="8"/>
                    <a:pt x="9" y="8"/>
                  </a:cubicBezTo>
                  <a:cubicBezTo>
                    <a:pt x="9" y="8"/>
                    <a:pt x="9" y="8"/>
                    <a:pt x="10" y="8"/>
                  </a:cubicBezTo>
                  <a:cubicBezTo>
                    <a:pt x="10" y="8"/>
                    <a:pt x="10" y="8"/>
                    <a:pt x="10" y="7"/>
                  </a:cubicBezTo>
                  <a:cubicBezTo>
                    <a:pt x="10" y="5"/>
                    <a:pt x="8" y="1"/>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1" name="Freeform 244">
              <a:extLst>
                <a:ext uri="{FF2B5EF4-FFF2-40B4-BE49-F238E27FC236}">
                  <a16:creationId xmlns:a16="http://schemas.microsoft.com/office/drawing/2014/main" id="{FA938465-EAE9-4E5B-BBA2-DAE621A48F8A}"/>
                </a:ext>
              </a:extLst>
            </p:cNvPr>
            <p:cNvSpPr>
              <a:spLocks/>
            </p:cNvSpPr>
            <p:nvPr/>
          </p:nvSpPr>
          <p:spPr bwMode="auto">
            <a:xfrm>
              <a:off x="7156441" y="1839147"/>
              <a:ext cx="41275" cy="47625"/>
            </a:xfrm>
            <a:custGeom>
              <a:avLst/>
              <a:gdLst>
                <a:gd name="T0" fmla="*/ 4 w 11"/>
                <a:gd name="T1" fmla="*/ 0 h 13"/>
                <a:gd name="T2" fmla="*/ 3 w 11"/>
                <a:gd name="T3" fmla="*/ 1 h 13"/>
                <a:gd name="T4" fmla="*/ 3 w 11"/>
                <a:gd name="T5" fmla="*/ 0 h 13"/>
                <a:gd name="T6" fmla="*/ 0 w 11"/>
                <a:gd name="T7" fmla="*/ 3 h 13"/>
                <a:gd name="T8" fmla="*/ 0 w 11"/>
                <a:gd name="T9" fmla="*/ 5 h 13"/>
                <a:gd name="T10" fmla="*/ 0 w 11"/>
                <a:gd name="T11" fmla="*/ 8 h 13"/>
                <a:gd name="T12" fmla="*/ 0 w 11"/>
                <a:gd name="T13" fmla="*/ 10 h 13"/>
                <a:gd name="T14" fmla="*/ 0 w 11"/>
                <a:gd name="T15" fmla="*/ 10 h 13"/>
                <a:gd name="T16" fmla="*/ 1 w 11"/>
                <a:gd name="T17" fmla="*/ 11 h 13"/>
                <a:gd name="T18" fmla="*/ 2 w 11"/>
                <a:gd name="T19" fmla="*/ 11 h 13"/>
                <a:gd name="T20" fmla="*/ 4 w 11"/>
                <a:gd name="T21" fmla="*/ 13 h 13"/>
                <a:gd name="T22" fmla="*/ 5 w 11"/>
                <a:gd name="T23" fmla="*/ 13 h 13"/>
                <a:gd name="T24" fmla="*/ 6 w 11"/>
                <a:gd name="T25" fmla="*/ 13 h 13"/>
                <a:gd name="T26" fmla="*/ 9 w 11"/>
                <a:gd name="T27" fmla="*/ 11 h 13"/>
                <a:gd name="T28" fmla="*/ 7 w 11"/>
                <a:gd name="T29" fmla="*/ 2 h 13"/>
                <a:gd name="T30" fmla="*/ 7 w 11"/>
                <a:gd name="T31" fmla="*/ 2 h 13"/>
                <a:gd name="T32" fmla="*/ 7 w 11"/>
                <a:gd name="T33" fmla="*/ 2 h 13"/>
                <a:gd name="T34" fmla="*/ 4 w 11"/>
                <a:gd name="T3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13">
                  <a:moveTo>
                    <a:pt x="4" y="0"/>
                  </a:moveTo>
                  <a:cubicBezTo>
                    <a:pt x="3" y="1"/>
                    <a:pt x="3" y="1"/>
                    <a:pt x="3" y="1"/>
                  </a:cubicBezTo>
                  <a:cubicBezTo>
                    <a:pt x="3" y="0"/>
                    <a:pt x="3" y="0"/>
                    <a:pt x="3" y="0"/>
                  </a:cubicBezTo>
                  <a:cubicBezTo>
                    <a:pt x="2" y="0"/>
                    <a:pt x="1" y="1"/>
                    <a:pt x="0" y="3"/>
                  </a:cubicBezTo>
                  <a:cubicBezTo>
                    <a:pt x="0" y="3"/>
                    <a:pt x="0" y="4"/>
                    <a:pt x="0" y="5"/>
                  </a:cubicBezTo>
                  <a:cubicBezTo>
                    <a:pt x="0" y="6"/>
                    <a:pt x="0" y="7"/>
                    <a:pt x="0" y="8"/>
                  </a:cubicBezTo>
                  <a:cubicBezTo>
                    <a:pt x="0" y="9"/>
                    <a:pt x="0" y="10"/>
                    <a:pt x="0" y="10"/>
                  </a:cubicBezTo>
                  <a:cubicBezTo>
                    <a:pt x="0" y="10"/>
                    <a:pt x="0" y="10"/>
                    <a:pt x="0" y="10"/>
                  </a:cubicBezTo>
                  <a:cubicBezTo>
                    <a:pt x="0" y="11"/>
                    <a:pt x="1" y="11"/>
                    <a:pt x="1" y="11"/>
                  </a:cubicBezTo>
                  <a:cubicBezTo>
                    <a:pt x="1" y="11"/>
                    <a:pt x="2" y="11"/>
                    <a:pt x="2" y="11"/>
                  </a:cubicBezTo>
                  <a:cubicBezTo>
                    <a:pt x="4" y="11"/>
                    <a:pt x="3" y="13"/>
                    <a:pt x="4" y="13"/>
                  </a:cubicBezTo>
                  <a:cubicBezTo>
                    <a:pt x="5" y="13"/>
                    <a:pt x="5" y="13"/>
                    <a:pt x="5" y="13"/>
                  </a:cubicBezTo>
                  <a:cubicBezTo>
                    <a:pt x="5" y="13"/>
                    <a:pt x="6" y="13"/>
                    <a:pt x="6" y="13"/>
                  </a:cubicBezTo>
                  <a:cubicBezTo>
                    <a:pt x="7" y="12"/>
                    <a:pt x="8" y="12"/>
                    <a:pt x="9" y="11"/>
                  </a:cubicBezTo>
                  <a:cubicBezTo>
                    <a:pt x="11" y="9"/>
                    <a:pt x="10" y="4"/>
                    <a:pt x="7" y="2"/>
                  </a:cubicBezTo>
                  <a:cubicBezTo>
                    <a:pt x="7" y="2"/>
                    <a:pt x="7" y="2"/>
                    <a:pt x="7" y="2"/>
                  </a:cubicBezTo>
                  <a:cubicBezTo>
                    <a:pt x="7" y="2"/>
                    <a:pt x="7" y="2"/>
                    <a:pt x="7" y="2"/>
                  </a:cubicBezTo>
                  <a:cubicBezTo>
                    <a:pt x="6" y="1"/>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2" name="Freeform 245">
              <a:extLst>
                <a:ext uri="{FF2B5EF4-FFF2-40B4-BE49-F238E27FC236}">
                  <a16:creationId xmlns:a16="http://schemas.microsoft.com/office/drawing/2014/main" id="{C6DAAA4E-1522-4F41-8060-87DBC8117945}"/>
                </a:ext>
              </a:extLst>
            </p:cNvPr>
            <p:cNvSpPr>
              <a:spLocks/>
            </p:cNvSpPr>
            <p:nvPr/>
          </p:nvSpPr>
          <p:spPr bwMode="auto">
            <a:xfrm>
              <a:off x="10523529" y="4625209"/>
              <a:ext cx="26988" cy="11113"/>
            </a:xfrm>
            <a:custGeom>
              <a:avLst/>
              <a:gdLst>
                <a:gd name="T0" fmla="*/ 1 w 7"/>
                <a:gd name="T1" fmla="*/ 0 h 3"/>
                <a:gd name="T2" fmla="*/ 0 w 7"/>
                <a:gd name="T3" fmla="*/ 3 h 3"/>
                <a:gd name="T4" fmla="*/ 1 w 7"/>
                <a:gd name="T5" fmla="*/ 0 h 3"/>
              </a:gdLst>
              <a:ahLst/>
              <a:cxnLst>
                <a:cxn ang="0">
                  <a:pos x="T0" y="T1"/>
                </a:cxn>
                <a:cxn ang="0">
                  <a:pos x="T2" y="T3"/>
                </a:cxn>
                <a:cxn ang="0">
                  <a:pos x="T4" y="T5"/>
                </a:cxn>
              </a:cxnLst>
              <a:rect l="0" t="0" r="r" b="b"/>
              <a:pathLst>
                <a:path w="7" h="3">
                  <a:moveTo>
                    <a:pt x="1" y="0"/>
                  </a:moveTo>
                  <a:cubicBezTo>
                    <a:pt x="1" y="0"/>
                    <a:pt x="0" y="2"/>
                    <a:pt x="0" y="3"/>
                  </a:cubicBezTo>
                  <a:cubicBezTo>
                    <a:pt x="7"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3" name="Freeform 246">
              <a:extLst>
                <a:ext uri="{FF2B5EF4-FFF2-40B4-BE49-F238E27FC236}">
                  <a16:creationId xmlns:a16="http://schemas.microsoft.com/office/drawing/2014/main" id="{BAAA4D71-DFFD-48B1-8041-33D08324BA31}"/>
                </a:ext>
              </a:extLst>
            </p:cNvPr>
            <p:cNvSpPr>
              <a:spLocks/>
            </p:cNvSpPr>
            <p:nvPr/>
          </p:nvSpPr>
          <p:spPr bwMode="auto">
            <a:xfrm>
              <a:off x="10526704" y="4622034"/>
              <a:ext cx="0" cy="31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4" name="Freeform 247">
              <a:extLst>
                <a:ext uri="{FF2B5EF4-FFF2-40B4-BE49-F238E27FC236}">
                  <a16:creationId xmlns:a16="http://schemas.microsoft.com/office/drawing/2014/main" id="{6A76C429-C165-4715-8B00-405BF56C832F}"/>
                </a:ext>
              </a:extLst>
            </p:cNvPr>
            <p:cNvSpPr>
              <a:spLocks/>
            </p:cNvSpPr>
            <p:nvPr/>
          </p:nvSpPr>
          <p:spPr bwMode="auto">
            <a:xfrm>
              <a:off x="10526704" y="4622034"/>
              <a:ext cx="0" cy="31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5" name="Freeform 248">
              <a:extLst>
                <a:ext uri="{FF2B5EF4-FFF2-40B4-BE49-F238E27FC236}">
                  <a16:creationId xmlns:a16="http://schemas.microsoft.com/office/drawing/2014/main" id="{D629FF3A-DA1F-4517-9E4B-538C783EA3AB}"/>
                </a:ext>
              </a:extLst>
            </p:cNvPr>
            <p:cNvSpPr>
              <a:spLocks/>
            </p:cNvSpPr>
            <p:nvPr/>
          </p:nvSpPr>
          <p:spPr bwMode="auto">
            <a:xfrm>
              <a:off x="10526704" y="4591872"/>
              <a:ext cx="30163" cy="30163"/>
            </a:xfrm>
            <a:custGeom>
              <a:avLst/>
              <a:gdLst>
                <a:gd name="T0" fmla="*/ 8 w 8"/>
                <a:gd name="T1" fmla="*/ 0 h 8"/>
                <a:gd name="T2" fmla="*/ 4 w 8"/>
                <a:gd name="T3" fmla="*/ 4 h 8"/>
                <a:gd name="T4" fmla="*/ 0 w 8"/>
                <a:gd name="T5" fmla="*/ 8 h 8"/>
                <a:gd name="T6" fmla="*/ 4 w 8"/>
                <a:gd name="T7" fmla="*/ 6 h 8"/>
                <a:gd name="T8" fmla="*/ 8 w 8"/>
                <a:gd name="T9" fmla="*/ 0 h 8"/>
              </a:gdLst>
              <a:ahLst/>
              <a:cxnLst>
                <a:cxn ang="0">
                  <a:pos x="T0" y="T1"/>
                </a:cxn>
                <a:cxn ang="0">
                  <a:pos x="T2" y="T3"/>
                </a:cxn>
                <a:cxn ang="0">
                  <a:pos x="T4" y="T5"/>
                </a:cxn>
                <a:cxn ang="0">
                  <a:pos x="T6" y="T7"/>
                </a:cxn>
                <a:cxn ang="0">
                  <a:pos x="T8" y="T9"/>
                </a:cxn>
              </a:cxnLst>
              <a:rect l="0" t="0" r="r" b="b"/>
              <a:pathLst>
                <a:path w="8" h="8">
                  <a:moveTo>
                    <a:pt x="8" y="0"/>
                  </a:moveTo>
                  <a:cubicBezTo>
                    <a:pt x="7" y="1"/>
                    <a:pt x="5" y="2"/>
                    <a:pt x="4" y="4"/>
                  </a:cubicBezTo>
                  <a:cubicBezTo>
                    <a:pt x="1" y="6"/>
                    <a:pt x="0" y="6"/>
                    <a:pt x="0" y="8"/>
                  </a:cubicBezTo>
                  <a:cubicBezTo>
                    <a:pt x="0" y="7"/>
                    <a:pt x="3" y="7"/>
                    <a:pt x="4" y="6"/>
                  </a:cubicBezTo>
                  <a:cubicBezTo>
                    <a:pt x="5" y="5"/>
                    <a:pt x="7" y="2"/>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6" name="Freeform 249">
              <a:extLst>
                <a:ext uri="{FF2B5EF4-FFF2-40B4-BE49-F238E27FC236}">
                  <a16:creationId xmlns:a16="http://schemas.microsoft.com/office/drawing/2014/main" id="{15D1A36D-4CDA-4269-8373-84CEDFA3BDB7}"/>
                </a:ext>
              </a:extLst>
            </p:cNvPr>
            <p:cNvSpPr>
              <a:spLocks/>
            </p:cNvSpPr>
            <p:nvPr/>
          </p:nvSpPr>
          <p:spPr bwMode="auto">
            <a:xfrm>
              <a:off x="4483091" y="4042597"/>
              <a:ext cx="7938" cy="7938"/>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1" y="0"/>
                    <a:pt x="0" y="1"/>
                    <a:pt x="0" y="2"/>
                  </a:cubicBezTo>
                  <a:cubicBezTo>
                    <a:pt x="0" y="2"/>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7" name="Freeform 250">
              <a:extLst>
                <a:ext uri="{FF2B5EF4-FFF2-40B4-BE49-F238E27FC236}">
                  <a16:creationId xmlns:a16="http://schemas.microsoft.com/office/drawing/2014/main" id="{40AEB4EB-A064-4804-8870-103DF05F56B8}"/>
                </a:ext>
              </a:extLst>
            </p:cNvPr>
            <p:cNvSpPr>
              <a:spLocks/>
            </p:cNvSpPr>
            <p:nvPr/>
          </p:nvSpPr>
          <p:spPr bwMode="auto">
            <a:xfrm>
              <a:off x="4375141" y="3948934"/>
              <a:ext cx="130175" cy="131763"/>
            </a:xfrm>
            <a:custGeom>
              <a:avLst/>
              <a:gdLst>
                <a:gd name="T0" fmla="*/ 17 w 35"/>
                <a:gd name="T1" fmla="*/ 0 h 35"/>
                <a:gd name="T2" fmla="*/ 11 w 35"/>
                <a:gd name="T3" fmla="*/ 3 h 35"/>
                <a:gd name="T4" fmla="*/ 7 w 35"/>
                <a:gd name="T5" fmla="*/ 3 h 35"/>
                <a:gd name="T6" fmla="*/ 5 w 35"/>
                <a:gd name="T7" fmla="*/ 3 h 35"/>
                <a:gd name="T8" fmla="*/ 2 w 35"/>
                <a:gd name="T9" fmla="*/ 3 h 35"/>
                <a:gd name="T10" fmla="*/ 0 w 35"/>
                <a:gd name="T11" fmla="*/ 3 h 35"/>
                <a:gd name="T12" fmla="*/ 10 w 35"/>
                <a:gd name="T13" fmla="*/ 8 h 35"/>
                <a:gd name="T14" fmla="*/ 10 w 35"/>
                <a:gd name="T15" fmla="*/ 9 h 35"/>
                <a:gd name="T16" fmla="*/ 5 w 35"/>
                <a:gd name="T17" fmla="*/ 10 h 35"/>
                <a:gd name="T18" fmla="*/ 10 w 35"/>
                <a:gd name="T19" fmla="*/ 15 h 35"/>
                <a:gd name="T20" fmla="*/ 11 w 35"/>
                <a:gd name="T21" fmla="*/ 12 h 35"/>
                <a:gd name="T22" fmla="*/ 14 w 35"/>
                <a:gd name="T23" fmla="*/ 14 h 35"/>
                <a:gd name="T24" fmla="*/ 11 w 35"/>
                <a:gd name="T25" fmla="*/ 16 h 35"/>
                <a:gd name="T26" fmla="*/ 14 w 35"/>
                <a:gd name="T27" fmla="*/ 18 h 35"/>
                <a:gd name="T28" fmla="*/ 18 w 35"/>
                <a:gd name="T29" fmla="*/ 23 h 35"/>
                <a:gd name="T30" fmla="*/ 22 w 35"/>
                <a:gd name="T31" fmla="*/ 25 h 35"/>
                <a:gd name="T32" fmla="*/ 23 w 35"/>
                <a:gd name="T33" fmla="*/ 28 h 35"/>
                <a:gd name="T34" fmla="*/ 28 w 35"/>
                <a:gd name="T35" fmla="*/ 33 h 35"/>
                <a:gd name="T36" fmla="*/ 28 w 35"/>
                <a:gd name="T37" fmla="*/ 32 h 35"/>
                <a:gd name="T38" fmla="*/ 30 w 35"/>
                <a:gd name="T39" fmla="*/ 35 h 35"/>
                <a:gd name="T40" fmla="*/ 30 w 35"/>
                <a:gd name="T41" fmla="*/ 31 h 35"/>
                <a:gd name="T42" fmla="*/ 32 w 35"/>
                <a:gd name="T43" fmla="*/ 35 h 35"/>
                <a:gd name="T44" fmla="*/ 35 w 35"/>
                <a:gd name="T45" fmla="*/ 32 h 35"/>
                <a:gd name="T46" fmla="*/ 29 w 35"/>
                <a:gd name="T47" fmla="*/ 27 h 35"/>
                <a:gd name="T48" fmla="*/ 28 w 35"/>
                <a:gd name="T49" fmla="*/ 28 h 35"/>
                <a:gd name="T50" fmla="*/ 17 w 35"/>
                <a:gd name="T51" fmla="*/ 17 h 35"/>
                <a:gd name="T52" fmla="*/ 21 w 35"/>
                <a:gd name="T53" fmla="*/ 14 h 35"/>
                <a:gd name="T54" fmla="*/ 14 w 35"/>
                <a:gd name="T55" fmla="*/ 11 h 35"/>
                <a:gd name="T56" fmla="*/ 14 w 35"/>
                <a:gd name="T57" fmla="*/ 8 h 35"/>
                <a:gd name="T58" fmla="*/ 13 w 35"/>
                <a:gd name="T59" fmla="*/ 6 h 35"/>
                <a:gd name="T60" fmla="*/ 15 w 35"/>
                <a:gd name="T61" fmla="*/ 6 h 35"/>
                <a:gd name="T62" fmla="*/ 17 w 35"/>
                <a:gd name="T63" fmla="*/ 5 h 35"/>
                <a:gd name="T64" fmla="*/ 17 w 35"/>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 h="35">
                  <a:moveTo>
                    <a:pt x="17" y="0"/>
                  </a:moveTo>
                  <a:cubicBezTo>
                    <a:pt x="15" y="1"/>
                    <a:pt x="13" y="2"/>
                    <a:pt x="11" y="3"/>
                  </a:cubicBezTo>
                  <a:cubicBezTo>
                    <a:pt x="10" y="3"/>
                    <a:pt x="9" y="3"/>
                    <a:pt x="7" y="3"/>
                  </a:cubicBezTo>
                  <a:cubicBezTo>
                    <a:pt x="7" y="3"/>
                    <a:pt x="6" y="3"/>
                    <a:pt x="5" y="3"/>
                  </a:cubicBezTo>
                  <a:cubicBezTo>
                    <a:pt x="4" y="3"/>
                    <a:pt x="3" y="3"/>
                    <a:pt x="2" y="3"/>
                  </a:cubicBezTo>
                  <a:cubicBezTo>
                    <a:pt x="2" y="3"/>
                    <a:pt x="1" y="3"/>
                    <a:pt x="0" y="3"/>
                  </a:cubicBezTo>
                  <a:cubicBezTo>
                    <a:pt x="1" y="8"/>
                    <a:pt x="6" y="6"/>
                    <a:pt x="10" y="8"/>
                  </a:cubicBezTo>
                  <a:cubicBezTo>
                    <a:pt x="10" y="8"/>
                    <a:pt x="10" y="9"/>
                    <a:pt x="10" y="9"/>
                  </a:cubicBezTo>
                  <a:cubicBezTo>
                    <a:pt x="8" y="9"/>
                    <a:pt x="7" y="9"/>
                    <a:pt x="5" y="10"/>
                  </a:cubicBezTo>
                  <a:cubicBezTo>
                    <a:pt x="6" y="12"/>
                    <a:pt x="8" y="13"/>
                    <a:pt x="10" y="15"/>
                  </a:cubicBezTo>
                  <a:cubicBezTo>
                    <a:pt x="11" y="14"/>
                    <a:pt x="11" y="13"/>
                    <a:pt x="11" y="12"/>
                  </a:cubicBezTo>
                  <a:cubicBezTo>
                    <a:pt x="12" y="13"/>
                    <a:pt x="13" y="14"/>
                    <a:pt x="14" y="14"/>
                  </a:cubicBezTo>
                  <a:cubicBezTo>
                    <a:pt x="14" y="15"/>
                    <a:pt x="11" y="15"/>
                    <a:pt x="11" y="16"/>
                  </a:cubicBezTo>
                  <a:cubicBezTo>
                    <a:pt x="11" y="17"/>
                    <a:pt x="13" y="18"/>
                    <a:pt x="14" y="18"/>
                  </a:cubicBezTo>
                  <a:cubicBezTo>
                    <a:pt x="15" y="20"/>
                    <a:pt x="17" y="22"/>
                    <a:pt x="18" y="23"/>
                  </a:cubicBezTo>
                  <a:cubicBezTo>
                    <a:pt x="20" y="24"/>
                    <a:pt x="21" y="24"/>
                    <a:pt x="22" y="25"/>
                  </a:cubicBezTo>
                  <a:cubicBezTo>
                    <a:pt x="23" y="26"/>
                    <a:pt x="22" y="27"/>
                    <a:pt x="23" y="28"/>
                  </a:cubicBezTo>
                  <a:cubicBezTo>
                    <a:pt x="24" y="29"/>
                    <a:pt x="26" y="32"/>
                    <a:pt x="28" y="33"/>
                  </a:cubicBezTo>
                  <a:cubicBezTo>
                    <a:pt x="28" y="32"/>
                    <a:pt x="28" y="32"/>
                    <a:pt x="28" y="32"/>
                  </a:cubicBezTo>
                  <a:cubicBezTo>
                    <a:pt x="29" y="33"/>
                    <a:pt x="30" y="35"/>
                    <a:pt x="30" y="35"/>
                  </a:cubicBezTo>
                  <a:cubicBezTo>
                    <a:pt x="30" y="35"/>
                    <a:pt x="30" y="34"/>
                    <a:pt x="30" y="31"/>
                  </a:cubicBezTo>
                  <a:cubicBezTo>
                    <a:pt x="32" y="33"/>
                    <a:pt x="32" y="35"/>
                    <a:pt x="32" y="35"/>
                  </a:cubicBezTo>
                  <a:cubicBezTo>
                    <a:pt x="33" y="35"/>
                    <a:pt x="33" y="34"/>
                    <a:pt x="35" y="32"/>
                  </a:cubicBezTo>
                  <a:cubicBezTo>
                    <a:pt x="33" y="31"/>
                    <a:pt x="31" y="27"/>
                    <a:pt x="29" y="27"/>
                  </a:cubicBezTo>
                  <a:cubicBezTo>
                    <a:pt x="29" y="27"/>
                    <a:pt x="28" y="27"/>
                    <a:pt x="28" y="28"/>
                  </a:cubicBezTo>
                  <a:cubicBezTo>
                    <a:pt x="29" y="25"/>
                    <a:pt x="20" y="19"/>
                    <a:pt x="17" y="17"/>
                  </a:cubicBezTo>
                  <a:cubicBezTo>
                    <a:pt x="15" y="15"/>
                    <a:pt x="19" y="14"/>
                    <a:pt x="21" y="14"/>
                  </a:cubicBezTo>
                  <a:cubicBezTo>
                    <a:pt x="18" y="14"/>
                    <a:pt x="16" y="12"/>
                    <a:pt x="14" y="11"/>
                  </a:cubicBezTo>
                  <a:cubicBezTo>
                    <a:pt x="15" y="10"/>
                    <a:pt x="15" y="9"/>
                    <a:pt x="14" y="8"/>
                  </a:cubicBezTo>
                  <a:cubicBezTo>
                    <a:pt x="13" y="6"/>
                    <a:pt x="13" y="6"/>
                    <a:pt x="13" y="6"/>
                  </a:cubicBezTo>
                  <a:cubicBezTo>
                    <a:pt x="14" y="6"/>
                    <a:pt x="14" y="6"/>
                    <a:pt x="15" y="6"/>
                  </a:cubicBezTo>
                  <a:cubicBezTo>
                    <a:pt x="15" y="5"/>
                    <a:pt x="17" y="6"/>
                    <a:pt x="17" y="5"/>
                  </a:cubicBezTo>
                  <a:cubicBezTo>
                    <a:pt x="18" y="4"/>
                    <a:pt x="18" y="1"/>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8" name="Freeform 251">
              <a:extLst>
                <a:ext uri="{FF2B5EF4-FFF2-40B4-BE49-F238E27FC236}">
                  <a16:creationId xmlns:a16="http://schemas.microsoft.com/office/drawing/2014/main" id="{3943E0A6-24A9-45E1-A54A-23C2CDF462AF}"/>
                </a:ext>
              </a:extLst>
            </p:cNvPr>
            <p:cNvSpPr>
              <a:spLocks/>
            </p:cNvSpPr>
            <p:nvPr/>
          </p:nvSpPr>
          <p:spPr bwMode="auto">
            <a:xfrm>
              <a:off x="4960929" y="945384"/>
              <a:ext cx="919163" cy="574675"/>
            </a:xfrm>
            <a:custGeom>
              <a:avLst/>
              <a:gdLst>
                <a:gd name="T0" fmla="*/ 75 w 245"/>
                <a:gd name="T1" fmla="*/ 4 h 153"/>
                <a:gd name="T2" fmla="*/ 25 w 245"/>
                <a:gd name="T3" fmla="*/ 10 h 153"/>
                <a:gd name="T4" fmla="*/ 35 w 245"/>
                <a:gd name="T5" fmla="*/ 26 h 153"/>
                <a:gd name="T6" fmla="*/ 44 w 245"/>
                <a:gd name="T7" fmla="*/ 33 h 153"/>
                <a:gd name="T8" fmla="*/ 41 w 245"/>
                <a:gd name="T9" fmla="*/ 45 h 153"/>
                <a:gd name="T10" fmla="*/ 28 w 245"/>
                <a:gd name="T11" fmla="*/ 60 h 153"/>
                <a:gd name="T12" fmla="*/ 26 w 245"/>
                <a:gd name="T13" fmla="*/ 69 h 153"/>
                <a:gd name="T14" fmla="*/ 25 w 245"/>
                <a:gd name="T15" fmla="*/ 75 h 153"/>
                <a:gd name="T16" fmla="*/ 21 w 245"/>
                <a:gd name="T17" fmla="*/ 76 h 153"/>
                <a:gd name="T18" fmla="*/ 18 w 245"/>
                <a:gd name="T19" fmla="*/ 76 h 153"/>
                <a:gd name="T20" fmla="*/ 18 w 245"/>
                <a:gd name="T21" fmla="*/ 83 h 153"/>
                <a:gd name="T22" fmla="*/ 13 w 245"/>
                <a:gd name="T23" fmla="*/ 93 h 153"/>
                <a:gd name="T24" fmla="*/ 10 w 245"/>
                <a:gd name="T25" fmla="*/ 96 h 153"/>
                <a:gd name="T26" fmla="*/ 7 w 245"/>
                <a:gd name="T27" fmla="*/ 101 h 153"/>
                <a:gd name="T28" fmla="*/ 6 w 245"/>
                <a:gd name="T29" fmla="*/ 103 h 153"/>
                <a:gd name="T30" fmla="*/ 2 w 245"/>
                <a:gd name="T31" fmla="*/ 108 h 153"/>
                <a:gd name="T32" fmla="*/ 2 w 245"/>
                <a:gd name="T33" fmla="*/ 115 h 153"/>
                <a:gd name="T34" fmla="*/ 14 w 245"/>
                <a:gd name="T35" fmla="*/ 115 h 153"/>
                <a:gd name="T36" fmla="*/ 14 w 245"/>
                <a:gd name="T37" fmla="*/ 116 h 153"/>
                <a:gd name="T38" fmla="*/ 41 w 245"/>
                <a:gd name="T39" fmla="*/ 127 h 153"/>
                <a:gd name="T40" fmla="*/ 57 w 245"/>
                <a:gd name="T41" fmla="*/ 145 h 153"/>
                <a:gd name="T42" fmla="*/ 68 w 245"/>
                <a:gd name="T43" fmla="*/ 153 h 153"/>
                <a:gd name="T44" fmla="*/ 81 w 245"/>
                <a:gd name="T45" fmla="*/ 147 h 153"/>
                <a:gd name="T46" fmla="*/ 97 w 245"/>
                <a:gd name="T47" fmla="*/ 137 h 153"/>
                <a:gd name="T48" fmla="*/ 101 w 245"/>
                <a:gd name="T49" fmla="*/ 140 h 153"/>
                <a:gd name="T50" fmla="*/ 105 w 245"/>
                <a:gd name="T51" fmla="*/ 140 h 153"/>
                <a:gd name="T52" fmla="*/ 126 w 245"/>
                <a:gd name="T53" fmla="*/ 121 h 153"/>
                <a:gd name="T54" fmla="*/ 132 w 245"/>
                <a:gd name="T55" fmla="*/ 108 h 153"/>
                <a:gd name="T56" fmla="*/ 131 w 245"/>
                <a:gd name="T57" fmla="*/ 102 h 153"/>
                <a:gd name="T58" fmla="*/ 136 w 245"/>
                <a:gd name="T59" fmla="*/ 104 h 153"/>
                <a:gd name="T60" fmla="*/ 138 w 245"/>
                <a:gd name="T61" fmla="*/ 104 h 153"/>
                <a:gd name="T62" fmla="*/ 139 w 245"/>
                <a:gd name="T63" fmla="*/ 104 h 153"/>
                <a:gd name="T64" fmla="*/ 152 w 245"/>
                <a:gd name="T65" fmla="*/ 94 h 153"/>
                <a:gd name="T66" fmla="*/ 158 w 245"/>
                <a:gd name="T67" fmla="*/ 85 h 153"/>
                <a:gd name="T68" fmla="*/ 171 w 245"/>
                <a:gd name="T69" fmla="*/ 80 h 153"/>
                <a:gd name="T70" fmla="*/ 198 w 245"/>
                <a:gd name="T71" fmla="*/ 68 h 153"/>
                <a:gd name="T72" fmla="*/ 211 w 245"/>
                <a:gd name="T73" fmla="*/ 62 h 153"/>
                <a:gd name="T74" fmla="*/ 240 w 245"/>
                <a:gd name="T75" fmla="*/ 51 h 153"/>
                <a:gd name="T76" fmla="*/ 237 w 245"/>
                <a:gd name="T77" fmla="*/ 40 h 153"/>
                <a:gd name="T78" fmla="*/ 213 w 245"/>
                <a:gd name="T79" fmla="*/ 25 h 153"/>
                <a:gd name="T80" fmla="*/ 179 w 245"/>
                <a:gd name="T81" fmla="*/ 13 h 153"/>
                <a:gd name="T82" fmla="*/ 165 w 245"/>
                <a:gd name="T83" fmla="*/ 16 h 153"/>
                <a:gd name="T84" fmla="*/ 158 w 245"/>
                <a:gd name="T85" fmla="*/ 24 h 153"/>
                <a:gd name="T86" fmla="*/ 155 w 245"/>
                <a:gd name="T87" fmla="*/ 24 h 153"/>
                <a:gd name="T88" fmla="*/ 153 w 245"/>
                <a:gd name="T89" fmla="*/ 15 h 153"/>
                <a:gd name="T90" fmla="*/ 145 w 245"/>
                <a:gd name="T91" fmla="*/ 17 h 153"/>
                <a:gd name="T92" fmla="*/ 144 w 245"/>
                <a:gd name="T93" fmla="*/ 15 h 153"/>
                <a:gd name="T94" fmla="*/ 113 w 245"/>
                <a:gd name="T95" fmla="*/ 6 h 153"/>
                <a:gd name="T96" fmla="*/ 108 w 245"/>
                <a:gd name="T97" fmla="*/ 2 h 153"/>
                <a:gd name="T98" fmla="*/ 98 w 245"/>
                <a:gd name="T9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5" h="153">
                  <a:moveTo>
                    <a:pt x="98" y="0"/>
                  </a:moveTo>
                  <a:cubicBezTo>
                    <a:pt x="90" y="0"/>
                    <a:pt x="83" y="4"/>
                    <a:pt x="75" y="4"/>
                  </a:cubicBezTo>
                  <a:cubicBezTo>
                    <a:pt x="67" y="5"/>
                    <a:pt x="58" y="5"/>
                    <a:pt x="50" y="6"/>
                  </a:cubicBezTo>
                  <a:cubicBezTo>
                    <a:pt x="42" y="7"/>
                    <a:pt x="33" y="7"/>
                    <a:pt x="25" y="10"/>
                  </a:cubicBezTo>
                  <a:cubicBezTo>
                    <a:pt x="30" y="11"/>
                    <a:pt x="31" y="16"/>
                    <a:pt x="33" y="20"/>
                  </a:cubicBezTo>
                  <a:cubicBezTo>
                    <a:pt x="33" y="22"/>
                    <a:pt x="34" y="24"/>
                    <a:pt x="35" y="26"/>
                  </a:cubicBezTo>
                  <a:cubicBezTo>
                    <a:pt x="36" y="27"/>
                    <a:pt x="37" y="28"/>
                    <a:pt x="38" y="29"/>
                  </a:cubicBezTo>
                  <a:cubicBezTo>
                    <a:pt x="40" y="33"/>
                    <a:pt x="41" y="31"/>
                    <a:pt x="44" y="33"/>
                  </a:cubicBezTo>
                  <a:cubicBezTo>
                    <a:pt x="48" y="34"/>
                    <a:pt x="48" y="37"/>
                    <a:pt x="45" y="39"/>
                  </a:cubicBezTo>
                  <a:cubicBezTo>
                    <a:pt x="41" y="42"/>
                    <a:pt x="41" y="41"/>
                    <a:pt x="41" y="45"/>
                  </a:cubicBezTo>
                  <a:cubicBezTo>
                    <a:pt x="41" y="48"/>
                    <a:pt x="38" y="48"/>
                    <a:pt x="36" y="49"/>
                  </a:cubicBezTo>
                  <a:cubicBezTo>
                    <a:pt x="32" y="51"/>
                    <a:pt x="30" y="57"/>
                    <a:pt x="28" y="60"/>
                  </a:cubicBezTo>
                  <a:cubicBezTo>
                    <a:pt x="27" y="63"/>
                    <a:pt x="25" y="63"/>
                    <a:pt x="24" y="65"/>
                  </a:cubicBezTo>
                  <a:cubicBezTo>
                    <a:pt x="23" y="67"/>
                    <a:pt x="24" y="68"/>
                    <a:pt x="26" y="69"/>
                  </a:cubicBezTo>
                  <a:cubicBezTo>
                    <a:pt x="27" y="69"/>
                    <a:pt x="29" y="70"/>
                    <a:pt x="30" y="71"/>
                  </a:cubicBezTo>
                  <a:cubicBezTo>
                    <a:pt x="32" y="74"/>
                    <a:pt x="27" y="75"/>
                    <a:pt x="25" y="75"/>
                  </a:cubicBezTo>
                  <a:cubicBezTo>
                    <a:pt x="24" y="75"/>
                    <a:pt x="22" y="76"/>
                    <a:pt x="21" y="76"/>
                  </a:cubicBezTo>
                  <a:cubicBezTo>
                    <a:pt x="21" y="76"/>
                    <a:pt x="21" y="76"/>
                    <a:pt x="21" y="76"/>
                  </a:cubicBezTo>
                  <a:cubicBezTo>
                    <a:pt x="21" y="76"/>
                    <a:pt x="20" y="76"/>
                    <a:pt x="20" y="76"/>
                  </a:cubicBezTo>
                  <a:cubicBezTo>
                    <a:pt x="19" y="76"/>
                    <a:pt x="19" y="76"/>
                    <a:pt x="18" y="76"/>
                  </a:cubicBezTo>
                  <a:cubicBezTo>
                    <a:pt x="18" y="76"/>
                    <a:pt x="18" y="76"/>
                    <a:pt x="18" y="76"/>
                  </a:cubicBezTo>
                  <a:cubicBezTo>
                    <a:pt x="16" y="76"/>
                    <a:pt x="18" y="81"/>
                    <a:pt x="18" y="83"/>
                  </a:cubicBezTo>
                  <a:cubicBezTo>
                    <a:pt x="18" y="85"/>
                    <a:pt x="18" y="85"/>
                    <a:pt x="17" y="87"/>
                  </a:cubicBezTo>
                  <a:cubicBezTo>
                    <a:pt x="17" y="91"/>
                    <a:pt x="16" y="90"/>
                    <a:pt x="13" y="93"/>
                  </a:cubicBezTo>
                  <a:cubicBezTo>
                    <a:pt x="12" y="93"/>
                    <a:pt x="11" y="94"/>
                    <a:pt x="11" y="95"/>
                  </a:cubicBezTo>
                  <a:cubicBezTo>
                    <a:pt x="11" y="96"/>
                    <a:pt x="10" y="95"/>
                    <a:pt x="10" y="96"/>
                  </a:cubicBezTo>
                  <a:cubicBezTo>
                    <a:pt x="9" y="97"/>
                    <a:pt x="10" y="97"/>
                    <a:pt x="10" y="98"/>
                  </a:cubicBezTo>
                  <a:cubicBezTo>
                    <a:pt x="9" y="99"/>
                    <a:pt x="8" y="99"/>
                    <a:pt x="7" y="101"/>
                  </a:cubicBezTo>
                  <a:cubicBezTo>
                    <a:pt x="7" y="101"/>
                    <a:pt x="7" y="102"/>
                    <a:pt x="7" y="102"/>
                  </a:cubicBezTo>
                  <a:cubicBezTo>
                    <a:pt x="7" y="103"/>
                    <a:pt x="6" y="103"/>
                    <a:pt x="6" y="103"/>
                  </a:cubicBezTo>
                  <a:cubicBezTo>
                    <a:pt x="5" y="104"/>
                    <a:pt x="4" y="103"/>
                    <a:pt x="4" y="105"/>
                  </a:cubicBezTo>
                  <a:cubicBezTo>
                    <a:pt x="4" y="107"/>
                    <a:pt x="2" y="107"/>
                    <a:pt x="2" y="108"/>
                  </a:cubicBezTo>
                  <a:cubicBezTo>
                    <a:pt x="1" y="110"/>
                    <a:pt x="4" y="114"/>
                    <a:pt x="0" y="115"/>
                  </a:cubicBezTo>
                  <a:cubicBezTo>
                    <a:pt x="1" y="115"/>
                    <a:pt x="1" y="115"/>
                    <a:pt x="2" y="115"/>
                  </a:cubicBezTo>
                  <a:cubicBezTo>
                    <a:pt x="4" y="115"/>
                    <a:pt x="6" y="115"/>
                    <a:pt x="8" y="115"/>
                  </a:cubicBezTo>
                  <a:cubicBezTo>
                    <a:pt x="10" y="115"/>
                    <a:pt x="12" y="115"/>
                    <a:pt x="14" y="115"/>
                  </a:cubicBezTo>
                  <a:cubicBezTo>
                    <a:pt x="16" y="115"/>
                    <a:pt x="18" y="115"/>
                    <a:pt x="20" y="115"/>
                  </a:cubicBezTo>
                  <a:cubicBezTo>
                    <a:pt x="18" y="116"/>
                    <a:pt x="16" y="116"/>
                    <a:pt x="14" y="116"/>
                  </a:cubicBezTo>
                  <a:cubicBezTo>
                    <a:pt x="19" y="119"/>
                    <a:pt x="26" y="122"/>
                    <a:pt x="32" y="124"/>
                  </a:cubicBezTo>
                  <a:cubicBezTo>
                    <a:pt x="35" y="125"/>
                    <a:pt x="39" y="125"/>
                    <a:pt x="41" y="127"/>
                  </a:cubicBezTo>
                  <a:cubicBezTo>
                    <a:pt x="43" y="128"/>
                    <a:pt x="45" y="130"/>
                    <a:pt x="46" y="132"/>
                  </a:cubicBezTo>
                  <a:cubicBezTo>
                    <a:pt x="50" y="136"/>
                    <a:pt x="53" y="140"/>
                    <a:pt x="57" y="145"/>
                  </a:cubicBezTo>
                  <a:cubicBezTo>
                    <a:pt x="60" y="149"/>
                    <a:pt x="62" y="153"/>
                    <a:pt x="67" y="153"/>
                  </a:cubicBezTo>
                  <a:cubicBezTo>
                    <a:pt x="68" y="153"/>
                    <a:pt x="68" y="153"/>
                    <a:pt x="68" y="153"/>
                  </a:cubicBezTo>
                  <a:cubicBezTo>
                    <a:pt x="71" y="153"/>
                    <a:pt x="72" y="152"/>
                    <a:pt x="74" y="150"/>
                  </a:cubicBezTo>
                  <a:cubicBezTo>
                    <a:pt x="76" y="149"/>
                    <a:pt x="78" y="148"/>
                    <a:pt x="81" y="147"/>
                  </a:cubicBezTo>
                  <a:cubicBezTo>
                    <a:pt x="86" y="145"/>
                    <a:pt x="88" y="143"/>
                    <a:pt x="92" y="140"/>
                  </a:cubicBezTo>
                  <a:cubicBezTo>
                    <a:pt x="94" y="138"/>
                    <a:pt x="95" y="137"/>
                    <a:pt x="97" y="137"/>
                  </a:cubicBezTo>
                  <a:cubicBezTo>
                    <a:pt x="98" y="137"/>
                    <a:pt x="98" y="137"/>
                    <a:pt x="99" y="137"/>
                  </a:cubicBezTo>
                  <a:cubicBezTo>
                    <a:pt x="100" y="138"/>
                    <a:pt x="100" y="140"/>
                    <a:pt x="101" y="140"/>
                  </a:cubicBezTo>
                  <a:cubicBezTo>
                    <a:pt x="101" y="140"/>
                    <a:pt x="102" y="141"/>
                    <a:pt x="102" y="141"/>
                  </a:cubicBezTo>
                  <a:cubicBezTo>
                    <a:pt x="103" y="141"/>
                    <a:pt x="104" y="140"/>
                    <a:pt x="105" y="140"/>
                  </a:cubicBezTo>
                  <a:cubicBezTo>
                    <a:pt x="110" y="139"/>
                    <a:pt x="117" y="138"/>
                    <a:pt x="122" y="136"/>
                  </a:cubicBezTo>
                  <a:cubicBezTo>
                    <a:pt x="127" y="132"/>
                    <a:pt x="126" y="126"/>
                    <a:pt x="126" y="121"/>
                  </a:cubicBezTo>
                  <a:cubicBezTo>
                    <a:pt x="126" y="117"/>
                    <a:pt x="126" y="116"/>
                    <a:pt x="128" y="113"/>
                  </a:cubicBezTo>
                  <a:cubicBezTo>
                    <a:pt x="129" y="112"/>
                    <a:pt x="132" y="110"/>
                    <a:pt x="132" y="108"/>
                  </a:cubicBezTo>
                  <a:cubicBezTo>
                    <a:pt x="132" y="106"/>
                    <a:pt x="129" y="104"/>
                    <a:pt x="129" y="103"/>
                  </a:cubicBezTo>
                  <a:cubicBezTo>
                    <a:pt x="130" y="103"/>
                    <a:pt x="131" y="102"/>
                    <a:pt x="131" y="102"/>
                  </a:cubicBezTo>
                  <a:cubicBezTo>
                    <a:pt x="132" y="102"/>
                    <a:pt x="132" y="102"/>
                    <a:pt x="133" y="103"/>
                  </a:cubicBezTo>
                  <a:cubicBezTo>
                    <a:pt x="133" y="104"/>
                    <a:pt x="134" y="104"/>
                    <a:pt x="136" y="104"/>
                  </a:cubicBezTo>
                  <a:cubicBezTo>
                    <a:pt x="136" y="104"/>
                    <a:pt x="136" y="104"/>
                    <a:pt x="137" y="104"/>
                  </a:cubicBezTo>
                  <a:cubicBezTo>
                    <a:pt x="137" y="104"/>
                    <a:pt x="137" y="104"/>
                    <a:pt x="138" y="104"/>
                  </a:cubicBezTo>
                  <a:cubicBezTo>
                    <a:pt x="138" y="104"/>
                    <a:pt x="138" y="104"/>
                    <a:pt x="139" y="104"/>
                  </a:cubicBezTo>
                  <a:cubicBezTo>
                    <a:pt x="139" y="104"/>
                    <a:pt x="139" y="104"/>
                    <a:pt x="139" y="104"/>
                  </a:cubicBezTo>
                  <a:cubicBezTo>
                    <a:pt x="142" y="104"/>
                    <a:pt x="151" y="100"/>
                    <a:pt x="152" y="98"/>
                  </a:cubicBezTo>
                  <a:cubicBezTo>
                    <a:pt x="152" y="96"/>
                    <a:pt x="152" y="95"/>
                    <a:pt x="152" y="94"/>
                  </a:cubicBezTo>
                  <a:cubicBezTo>
                    <a:pt x="153" y="93"/>
                    <a:pt x="154" y="92"/>
                    <a:pt x="154" y="91"/>
                  </a:cubicBezTo>
                  <a:cubicBezTo>
                    <a:pt x="155" y="88"/>
                    <a:pt x="154" y="87"/>
                    <a:pt x="158" y="85"/>
                  </a:cubicBezTo>
                  <a:cubicBezTo>
                    <a:pt x="160" y="84"/>
                    <a:pt x="162" y="83"/>
                    <a:pt x="164" y="82"/>
                  </a:cubicBezTo>
                  <a:cubicBezTo>
                    <a:pt x="166" y="81"/>
                    <a:pt x="169" y="81"/>
                    <a:pt x="171" y="80"/>
                  </a:cubicBezTo>
                  <a:cubicBezTo>
                    <a:pt x="175" y="77"/>
                    <a:pt x="180" y="76"/>
                    <a:pt x="185" y="73"/>
                  </a:cubicBezTo>
                  <a:cubicBezTo>
                    <a:pt x="189" y="71"/>
                    <a:pt x="194" y="68"/>
                    <a:pt x="198" y="68"/>
                  </a:cubicBezTo>
                  <a:cubicBezTo>
                    <a:pt x="200" y="68"/>
                    <a:pt x="203" y="66"/>
                    <a:pt x="205" y="65"/>
                  </a:cubicBezTo>
                  <a:cubicBezTo>
                    <a:pt x="207" y="64"/>
                    <a:pt x="209" y="63"/>
                    <a:pt x="211" y="62"/>
                  </a:cubicBezTo>
                  <a:cubicBezTo>
                    <a:pt x="216" y="60"/>
                    <a:pt x="220" y="58"/>
                    <a:pt x="225" y="57"/>
                  </a:cubicBezTo>
                  <a:cubicBezTo>
                    <a:pt x="230" y="55"/>
                    <a:pt x="235" y="54"/>
                    <a:pt x="240" y="51"/>
                  </a:cubicBezTo>
                  <a:cubicBezTo>
                    <a:pt x="243" y="50"/>
                    <a:pt x="245" y="48"/>
                    <a:pt x="242" y="45"/>
                  </a:cubicBezTo>
                  <a:cubicBezTo>
                    <a:pt x="241" y="44"/>
                    <a:pt x="237" y="40"/>
                    <a:pt x="237" y="40"/>
                  </a:cubicBezTo>
                  <a:cubicBezTo>
                    <a:pt x="232" y="39"/>
                    <a:pt x="229" y="36"/>
                    <a:pt x="225" y="33"/>
                  </a:cubicBezTo>
                  <a:cubicBezTo>
                    <a:pt x="221" y="31"/>
                    <a:pt x="217" y="28"/>
                    <a:pt x="213" y="25"/>
                  </a:cubicBezTo>
                  <a:cubicBezTo>
                    <a:pt x="206" y="19"/>
                    <a:pt x="197" y="15"/>
                    <a:pt x="187" y="14"/>
                  </a:cubicBezTo>
                  <a:cubicBezTo>
                    <a:pt x="184" y="14"/>
                    <a:pt x="182" y="13"/>
                    <a:pt x="179" y="13"/>
                  </a:cubicBezTo>
                  <a:cubicBezTo>
                    <a:pt x="177" y="13"/>
                    <a:pt x="176" y="13"/>
                    <a:pt x="174" y="14"/>
                  </a:cubicBezTo>
                  <a:cubicBezTo>
                    <a:pt x="171" y="14"/>
                    <a:pt x="168" y="15"/>
                    <a:pt x="165" y="16"/>
                  </a:cubicBezTo>
                  <a:cubicBezTo>
                    <a:pt x="164" y="16"/>
                    <a:pt x="162" y="16"/>
                    <a:pt x="163" y="18"/>
                  </a:cubicBezTo>
                  <a:cubicBezTo>
                    <a:pt x="164" y="21"/>
                    <a:pt x="161" y="22"/>
                    <a:pt x="158" y="24"/>
                  </a:cubicBezTo>
                  <a:cubicBezTo>
                    <a:pt x="157" y="25"/>
                    <a:pt x="156" y="26"/>
                    <a:pt x="155" y="26"/>
                  </a:cubicBezTo>
                  <a:cubicBezTo>
                    <a:pt x="155" y="26"/>
                    <a:pt x="155" y="25"/>
                    <a:pt x="155" y="24"/>
                  </a:cubicBezTo>
                  <a:cubicBezTo>
                    <a:pt x="155" y="21"/>
                    <a:pt x="157" y="18"/>
                    <a:pt x="156" y="16"/>
                  </a:cubicBezTo>
                  <a:cubicBezTo>
                    <a:pt x="155" y="16"/>
                    <a:pt x="154" y="15"/>
                    <a:pt x="153" y="15"/>
                  </a:cubicBezTo>
                  <a:cubicBezTo>
                    <a:pt x="152" y="15"/>
                    <a:pt x="151" y="16"/>
                    <a:pt x="150" y="16"/>
                  </a:cubicBezTo>
                  <a:cubicBezTo>
                    <a:pt x="148" y="16"/>
                    <a:pt x="147" y="15"/>
                    <a:pt x="145" y="17"/>
                  </a:cubicBezTo>
                  <a:cubicBezTo>
                    <a:pt x="143" y="19"/>
                    <a:pt x="142" y="21"/>
                    <a:pt x="139" y="22"/>
                  </a:cubicBezTo>
                  <a:cubicBezTo>
                    <a:pt x="140" y="19"/>
                    <a:pt x="145" y="18"/>
                    <a:pt x="144" y="15"/>
                  </a:cubicBezTo>
                  <a:cubicBezTo>
                    <a:pt x="138" y="14"/>
                    <a:pt x="133" y="13"/>
                    <a:pt x="127" y="11"/>
                  </a:cubicBezTo>
                  <a:cubicBezTo>
                    <a:pt x="123" y="10"/>
                    <a:pt x="116" y="9"/>
                    <a:pt x="113" y="6"/>
                  </a:cubicBezTo>
                  <a:cubicBezTo>
                    <a:pt x="112" y="5"/>
                    <a:pt x="112" y="4"/>
                    <a:pt x="111" y="3"/>
                  </a:cubicBezTo>
                  <a:cubicBezTo>
                    <a:pt x="110" y="2"/>
                    <a:pt x="109" y="2"/>
                    <a:pt x="108" y="2"/>
                  </a:cubicBezTo>
                  <a:cubicBezTo>
                    <a:pt x="106" y="2"/>
                    <a:pt x="103" y="1"/>
                    <a:pt x="101" y="1"/>
                  </a:cubicBezTo>
                  <a:cubicBezTo>
                    <a:pt x="100" y="0"/>
                    <a:pt x="99" y="0"/>
                    <a:pt x="9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9" name="Freeform 252">
              <a:extLst>
                <a:ext uri="{FF2B5EF4-FFF2-40B4-BE49-F238E27FC236}">
                  <a16:creationId xmlns:a16="http://schemas.microsoft.com/office/drawing/2014/main" id="{953E0302-E527-4081-9AB7-D2FA7AF73C14}"/>
                </a:ext>
              </a:extLst>
            </p:cNvPr>
            <p:cNvSpPr>
              <a:spLocks/>
            </p:cNvSpPr>
            <p:nvPr/>
          </p:nvSpPr>
          <p:spPr bwMode="auto">
            <a:xfrm>
              <a:off x="4757729" y="4129909"/>
              <a:ext cx="22225" cy="33338"/>
            </a:xfrm>
            <a:custGeom>
              <a:avLst/>
              <a:gdLst>
                <a:gd name="T0" fmla="*/ 4 w 6"/>
                <a:gd name="T1" fmla="*/ 0 h 9"/>
                <a:gd name="T2" fmla="*/ 1 w 6"/>
                <a:gd name="T3" fmla="*/ 3 h 9"/>
                <a:gd name="T4" fmla="*/ 1 w 6"/>
                <a:gd name="T5" fmla="*/ 5 h 9"/>
                <a:gd name="T6" fmla="*/ 6 w 6"/>
                <a:gd name="T7" fmla="*/ 9 h 9"/>
                <a:gd name="T8" fmla="*/ 5 w 6"/>
                <a:gd name="T9" fmla="*/ 7 h 9"/>
                <a:gd name="T10" fmla="*/ 5 w 6"/>
                <a:gd name="T11" fmla="*/ 7 h 9"/>
                <a:gd name="T12" fmla="*/ 4 w 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4" y="0"/>
                  </a:moveTo>
                  <a:cubicBezTo>
                    <a:pt x="1" y="1"/>
                    <a:pt x="0" y="1"/>
                    <a:pt x="1" y="3"/>
                  </a:cubicBezTo>
                  <a:cubicBezTo>
                    <a:pt x="1" y="4"/>
                    <a:pt x="1" y="4"/>
                    <a:pt x="1" y="5"/>
                  </a:cubicBezTo>
                  <a:cubicBezTo>
                    <a:pt x="2" y="8"/>
                    <a:pt x="4" y="7"/>
                    <a:pt x="6" y="9"/>
                  </a:cubicBezTo>
                  <a:cubicBezTo>
                    <a:pt x="5" y="8"/>
                    <a:pt x="6" y="8"/>
                    <a:pt x="5" y="7"/>
                  </a:cubicBezTo>
                  <a:cubicBezTo>
                    <a:pt x="5" y="7"/>
                    <a:pt x="5" y="7"/>
                    <a:pt x="5" y="7"/>
                  </a:cubicBezTo>
                  <a:cubicBezTo>
                    <a:pt x="5" y="5"/>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0" name="Freeform 253">
              <a:extLst>
                <a:ext uri="{FF2B5EF4-FFF2-40B4-BE49-F238E27FC236}">
                  <a16:creationId xmlns:a16="http://schemas.microsoft.com/office/drawing/2014/main" id="{175E6B31-0B75-404C-A6A3-ADE2DA680BCD}"/>
                </a:ext>
              </a:extLst>
            </p:cNvPr>
            <p:cNvSpPr>
              <a:spLocks/>
            </p:cNvSpPr>
            <p:nvPr/>
          </p:nvSpPr>
          <p:spPr bwMode="auto">
            <a:xfrm>
              <a:off x="4554529" y="3904484"/>
              <a:ext cx="79375" cy="55563"/>
            </a:xfrm>
            <a:custGeom>
              <a:avLst/>
              <a:gdLst>
                <a:gd name="T0" fmla="*/ 0 w 21"/>
                <a:gd name="T1" fmla="*/ 0 h 15"/>
                <a:gd name="T2" fmla="*/ 0 w 21"/>
                <a:gd name="T3" fmla="*/ 0 h 15"/>
                <a:gd name="T4" fmla="*/ 15 w 21"/>
                <a:gd name="T5" fmla="*/ 15 h 15"/>
                <a:gd name="T6" fmla="*/ 16 w 21"/>
                <a:gd name="T7" fmla="*/ 15 h 15"/>
                <a:gd name="T8" fmla="*/ 11 w 21"/>
                <a:gd name="T9" fmla="*/ 5 h 15"/>
                <a:gd name="T10" fmla="*/ 0 w 21"/>
                <a:gd name="T11" fmla="*/ 0 h 15"/>
              </a:gdLst>
              <a:ahLst/>
              <a:cxnLst>
                <a:cxn ang="0">
                  <a:pos x="T0" y="T1"/>
                </a:cxn>
                <a:cxn ang="0">
                  <a:pos x="T2" y="T3"/>
                </a:cxn>
                <a:cxn ang="0">
                  <a:pos x="T4" y="T5"/>
                </a:cxn>
                <a:cxn ang="0">
                  <a:pos x="T6" y="T7"/>
                </a:cxn>
                <a:cxn ang="0">
                  <a:pos x="T8" y="T9"/>
                </a:cxn>
                <a:cxn ang="0">
                  <a:pos x="T10" y="T11"/>
                </a:cxn>
              </a:cxnLst>
              <a:rect l="0" t="0" r="r" b="b"/>
              <a:pathLst>
                <a:path w="21" h="15">
                  <a:moveTo>
                    <a:pt x="0" y="0"/>
                  </a:moveTo>
                  <a:cubicBezTo>
                    <a:pt x="0" y="0"/>
                    <a:pt x="0" y="0"/>
                    <a:pt x="0" y="0"/>
                  </a:cubicBezTo>
                  <a:cubicBezTo>
                    <a:pt x="4" y="5"/>
                    <a:pt x="10" y="10"/>
                    <a:pt x="15" y="15"/>
                  </a:cubicBezTo>
                  <a:cubicBezTo>
                    <a:pt x="15" y="15"/>
                    <a:pt x="15" y="15"/>
                    <a:pt x="16" y="15"/>
                  </a:cubicBezTo>
                  <a:cubicBezTo>
                    <a:pt x="21" y="15"/>
                    <a:pt x="13" y="6"/>
                    <a:pt x="11" y="5"/>
                  </a:cubicBezTo>
                  <a:cubicBezTo>
                    <a:pt x="8" y="3"/>
                    <a:pt x="4"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1" name="Freeform 254">
              <a:extLst>
                <a:ext uri="{FF2B5EF4-FFF2-40B4-BE49-F238E27FC236}">
                  <a16:creationId xmlns:a16="http://schemas.microsoft.com/office/drawing/2014/main" id="{D9926964-0998-4AF5-91CC-13A2728D71BC}"/>
                </a:ext>
              </a:extLst>
            </p:cNvPr>
            <p:cNvSpPr>
              <a:spLocks/>
            </p:cNvSpPr>
            <p:nvPr/>
          </p:nvSpPr>
          <p:spPr bwMode="auto">
            <a:xfrm>
              <a:off x="4559291" y="3882259"/>
              <a:ext cx="28575" cy="30163"/>
            </a:xfrm>
            <a:custGeom>
              <a:avLst/>
              <a:gdLst>
                <a:gd name="T0" fmla="*/ 4 w 8"/>
                <a:gd name="T1" fmla="*/ 0 h 8"/>
                <a:gd name="T2" fmla="*/ 3 w 8"/>
                <a:gd name="T3" fmla="*/ 6 h 8"/>
                <a:gd name="T4" fmla="*/ 8 w 8"/>
                <a:gd name="T5" fmla="*/ 8 h 8"/>
                <a:gd name="T6" fmla="*/ 4 w 8"/>
                <a:gd name="T7" fmla="*/ 0 h 8"/>
              </a:gdLst>
              <a:ahLst/>
              <a:cxnLst>
                <a:cxn ang="0">
                  <a:pos x="T0" y="T1"/>
                </a:cxn>
                <a:cxn ang="0">
                  <a:pos x="T2" y="T3"/>
                </a:cxn>
                <a:cxn ang="0">
                  <a:pos x="T4" y="T5"/>
                </a:cxn>
                <a:cxn ang="0">
                  <a:pos x="T6" y="T7"/>
                </a:cxn>
              </a:cxnLst>
              <a:rect l="0" t="0" r="r" b="b"/>
              <a:pathLst>
                <a:path w="8" h="8">
                  <a:moveTo>
                    <a:pt x="4" y="0"/>
                  </a:moveTo>
                  <a:cubicBezTo>
                    <a:pt x="3" y="3"/>
                    <a:pt x="0" y="4"/>
                    <a:pt x="3" y="6"/>
                  </a:cubicBezTo>
                  <a:cubicBezTo>
                    <a:pt x="4" y="7"/>
                    <a:pt x="7" y="7"/>
                    <a:pt x="8" y="8"/>
                  </a:cubicBezTo>
                  <a:cubicBezTo>
                    <a:pt x="7" y="5"/>
                    <a:pt x="5"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2" name="Freeform 255">
              <a:extLst>
                <a:ext uri="{FF2B5EF4-FFF2-40B4-BE49-F238E27FC236}">
                  <a16:creationId xmlns:a16="http://schemas.microsoft.com/office/drawing/2014/main" id="{422884FC-DB7B-4E4E-A6BD-07C3EEEA5449}"/>
                </a:ext>
              </a:extLst>
            </p:cNvPr>
            <p:cNvSpPr>
              <a:spLocks/>
            </p:cNvSpPr>
            <p:nvPr/>
          </p:nvSpPr>
          <p:spPr bwMode="auto">
            <a:xfrm>
              <a:off x="9172566" y="2615434"/>
              <a:ext cx="77788" cy="46038"/>
            </a:xfrm>
            <a:custGeom>
              <a:avLst/>
              <a:gdLst>
                <a:gd name="T0" fmla="*/ 8 w 21"/>
                <a:gd name="T1" fmla="*/ 0 h 12"/>
                <a:gd name="T2" fmla="*/ 1 w 21"/>
                <a:gd name="T3" fmla="*/ 2 h 12"/>
                <a:gd name="T4" fmla="*/ 0 w 21"/>
                <a:gd name="T5" fmla="*/ 3 h 12"/>
                <a:gd name="T6" fmla="*/ 1 w 21"/>
                <a:gd name="T7" fmla="*/ 2 h 12"/>
                <a:gd name="T8" fmla="*/ 1 w 21"/>
                <a:gd name="T9" fmla="*/ 3 h 12"/>
                <a:gd name="T10" fmla="*/ 7 w 21"/>
                <a:gd name="T11" fmla="*/ 7 h 12"/>
                <a:gd name="T12" fmla="*/ 17 w 21"/>
                <a:gd name="T13" fmla="*/ 12 h 12"/>
                <a:gd name="T14" fmla="*/ 21 w 21"/>
                <a:gd name="T15" fmla="*/ 8 h 12"/>
                <a:gd name="T16" fmla="*/ 18 w 21"/>
                <a:gd name="T17" fmla="*/ 8 h 12"/>
                <a:gd name="T18" fmla="*/ 8 w 21"/>
                <a:gd name="T19" fmla="*/ 0 h 12"/>
                <a:gd name="T20" fmla="*/ 8 w 21"/>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8" y="0"/>
                  </a:moveTo>
                  <a:cubicBezTo>
                    <a:pt x="6" y="0"/>
                    <a:pt x="3" y="1"/>
                    <a:pt x="1" y="2"/>
                  </a:cubicBezTo>
                  <a:cubicBezTo>
                    <a:pt x="1" y="2"/>
                    <a:pt x="0" y="2"/>
                    <a:pt x="0" y="3"/>
                  </a:cubicBezTo>
                  <a:cubicBezTo>
                    <a:pt x="1" y="2"/>
                    <a:pt x="1" y="2"/>
                    <a:pt x="1" y="2"/>
                  </a:cubicBezTo>
                  <a:cubicBezTo>
                    <a:pt x="1" y="3"/>
                    <a:pt x="1" y="3"/>
                    <a:pt x="1" y="3"/>
                  </a:cubicBezTo>
                  <a:cubicBezTo>
                    <a:pt x="1" y="4"/>
                    <a:pt x="6" y="6"/>
                    <a:pt x="7" y="7"/>
                  </a:cubicBezTo>
                  <a:cubicBezTo>
                    <a:pt x="9" y="9"/>
                    <a:pt x="13" y="12"/>
                    <a:pt x="17" y="12"/>
                  </a:cubicBezTo>
                  <a:cubicBezTo>
                    <a:pt x="18" y="12"/>
                    <a:pt x="20" y="11"/>
                    <a:pt x="21" y="8"/>
                  </a:cubicBezTo>
                  <a:cubicBezTo>
                    <a:pt x="20" y="8"/>
                    <a:pt x="19" y="8"/>
                    <a:pt x="18" y="8"/>
                  </a:cubicBezTo>
                  <a:cubicBezTo>
                    <a:pt x="16" y="5"/>
                    <a:pt x="12" y="1"/>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3" name="Freeform 256">
              <a:extLst>
                <a:ext uri="{FF2B5EF4-FFF2-40B4-BE49-F238E27FC236}">
                  <a16:creationId xmlns:a16="http://schemas.microsoft.com/office/drawing/2014/main" id="{F8A83408-AE96-43E0-ABEC-65F5EDF5A0A9}"/>
                </a:ext>
              </a:extLst>
            </p:cNvPr>
            <p:cNvSpPr>
              <a:spLocks/>
            </p:cNvSpPr>
            <p:nvPr/>
          </p:nvSpPr>
          <p:spPr bwMode="auto">
            <a:xfrm>
              <a:off x="10234604" y="2851972"/>
              <a:ext cx="44450" cy="30163"/>
            </a:xfrm>
            <a:custGeom>
              <a:avLst/>
              <a:gdLst>
                <a:gd name="T0" fmla="*/ 3 w 12"/>
                <a:gd name="T1" fmla="*/ 0 h 8"/>
                <a:gd name="T2" fmla="*/ 1 w 12"/>
                <a:gd name="T3" fmla="*/ 2 h 8"/>
                <a:gd name="T4" fmla="*/ 5 w 12"/>
                <a:gd name="T5" fmla="*/ 7 h 8"/>
                <a:gd name="T6" fmla="*/ 8 w 12"/>
                <a:gd name="T7" fmla="*/ 8 h 8"/>
                <a:gd name="T8" fmla="*/ 9 w 12"/>
                <a:gd name="T9" fmla="*/ 8 h 8"/>
                <a:gd name="T10" fmla="*/ 5 w 12"/>
                <a:gd name="T11" fmla="*/ 1 h 8"/>
                <a:gd name="T12" fmla="*/ 3 w 12"/>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2" h="8">
                  <a:moveTo>
                    <a:pt x="3" y="0"/>
                  </a:moveTo>
                  <a:cubicBezTo>
                    <a:pt x="2" y="0"/>
                    <a:pt x="1" y="1"/>
                    <a:pt x="1" y="2"/>
                  </a:cubicBezTo>
                  <a:cubicBezTo>
                    <a:pt x="0" y="5"/>
                    <a:pt x="4" y="6"/>
                    <a:pt x="5" y="7"/>
                  </a:cubicBezTo>
                  <a:cubicBezTo>
                    <a:pt x="6" y="7"/>
                    <a:pt x="7" y="8"/>
                    <a:pt x="8" y="8"/>
                  </a:cubicBezTo>
                  <a:cubicBezTo>
                    <a:pt x="9" y="8"/>
                    <a:pt x="9" y="8"/>
                    <a:pt x="9" y="8"/>
                  </a:cubicBezTo>
                  <a:cubicBezTo>
                    <a:pt x="12" y="7"/>
                    <a:pt x="6" y="2"/>
                    <a:pt x="5" y="1"/>
                  </a:cubicBezTo>
                  <a:cubicBezTo>
                    <a:pt x="4"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4" name="Freeform 257">
              <a:extLst>
                <a:ext uri="{FF2B5EF4-FFF2-40B4-BE49-F238E27FC236}">
                  <a16:creationId xmlns:a16="http://schemas.microsoft.com/office/drawing/2014/main" id="{3313D94D-1AC9-46AC-BA10-1E0A5915E72A}"/>
                </a:ext>
              </a:extLst>
            </p:cNvPr>
            <p:cNvSpPr>
              <a:spLocks/>
            </p:cNvSpPr>
            <p:nvPr/>
          </p:nvSpPr>
          <p:spPr bwMode="auto">
            <a:xfrm>
              <a:off x="9420216" y="2747197"/>
              <a:ext cx="55563" cy="19050"/>
            </a:xfrm>
            <a:custGeom>
              <a:avLst/>
              <a:gdLst>
                <a:gd name="T0" fmla="*/ 4 w 15"/>
                <a:gd name="T1" fmla="*/ 0 h 5"/>
                <a:gd name="T2" fmla="*/ 0 w 15"/>
                <a:gd name="T3" fmla="*/ 0 h 5"/>
                <a:gd name="T4" fmla="*/ 13 w 15"/>
                <a:gd name="T5" fmla="*/ 5 h 5"/>
                <a:gd name="T6" fmla="*/ 15 w 15"/>
                <a:gd name="T7" fmla="*/ 5 h 5"/>
                <a:gd name="T8" fmla="*/ 4 w 15"/>
                <a:gd name="T9" fmla="*/ 0 h 5"/>
              </a:gdLst>
              <a:ahLst/>
              <a:cxnLst>
                <a:cxn ang="0">
                  <a:pos x="T0" y="T1"/>
                </a:cxn>
                <a:cxn ang="0">
                  <a:pos x="T2" y="T3"/>
                </a:cxn>
                <a:cxn ang="0">
                  <a:pos x="T4" y="T5"/>
                </a:cxn>
                <a:cxn ang="0">
                  <a:pos x="T6" y="T7"/>
                </a:cxn>
                <a:cxn ang="0">
                  <a:pos x="T8" y="T9"/>
                </a:cxn>
              </a:cxnLst>
              <a:rect l="0" t="0" r="r" b="b"/>
              <a:pathLst>
                <a:path w="15" h="5">
                  <a:moveTo>
                    <a:pt x="4" y="0"/>
                  </a:moveTo>
                  <a:cubicBezTo>
                    <a:pt x="2" y="0"/>
                    <a:pt x="1" y="0"/>
                    <a:pt x="0" y="0"/>
                  </a:cubicBezTo>
                  <a:cubicBezTo>
                    <a:pt x="4" y="3"/>
                    <a:pt x="9" y="5"/>
                    <a:pt x="13" y="5"/>
                  </a:cubicBezTo>
                  <a:cubicBezTo>
                    <a:pt x="14" y="5"/>
                    <a:pt x="15" y="5"/>
                    <a:pt x="15" y="5"/>
                  </a:cubicBezTo>
                  <a:cubicBezTo>
                    <a:pt x="12" y="2"/>
                    <a:pt x="7"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5" name="Freeform 258">
              <a:extLst>
                <a:ext uri="{FF2B5EF4-FFF2-40B4-BE49-F238E27FC236}">
                  <a16:creationId xmlns:a16="http://schemas.microsoft.com/office/drawing/2014/main" id="{1B53D162-6689-4099-B2C6-D02C2B0F42D0}"/>
                </a:ext>
              </a:extLst>
            </p:cNvPr>
            <p:cNvSpPr>
              <a:spLocks/>
            </p:cNvSpPr>
            <p:nvPr/>
          </p:nvSpPr>
          <p:spPr bwMode="auto">
            <a:xfrm>
              <a:off x="8072429" y="599309"/>
              <a:ext cx="33338" cy="7938"/>
            </a:xfrm>
            <a:custGeom>
              <a:avLst/>
              <a:gdLst>
                <a:gd name="T0" fmla="*/ 9 w 9"/>
                <a:gd name="T1" fmla="*/ 0 h 2"/>
                <a:gd name="T2" fmla="*/ 0 w 9"/>
                <a:gd name="T3" fmla="*/ 0 h 2"/>
                <a:gd name="T4" fmla="*/ 2 w 9"/>
                <a:gd name="T5" fmla="*/ 1 h 2"/>
                <a:gd name="T6" fmla="*/ 3 w 9"/>
                <a:gd name="T7" fmla="*/ 2 h 2"/>
                <a:gd name="T8" fmla="*/ 7 w 9"/>
                <a:gd name="T9" fmla="*/ 1 h 2"/>
                <a:gd name="T10" fmla="*/ 9 w 9"/>
                <a:gd name="T11" fmla="*/ 1 h 2"/>
                <a:gd name="T12" fmla="*/ 9 w 9"/>
                <a:gd name="T13" fmla="*/ 0 h 2"/>
                <a:gd name="T14" fmla="*/ 9 w 9"/>
                <a:gd name="T15" fmla="*/ 0 h 2"/>
                <a:gd name="T16" fmla="*/ 9 w 9"/>
                <a:gd name="T17" fmla="*/ 0 h 2"/>
                <a:gd name="T18" fmla="*/ 9 w 9"/>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2">
                  <a:moveTo>
                    <a:pt x="9" y="0"/>
                  </a:moveTo>
                  <a:cubicBezTo>
                    <a:pt x="0" y="0"/>
                    <a:pt x="0" y="0"/>
                    <a:pt x="0" y="0"/>
                  </a:cubicBezTo>
                  <a:cubicBezTo>
                    <a:pt x="1" y="0"/>
                    <a:pt x="1" y="1"/>
                    <a:pt x="2" y="1"/>
                  </a:cubicBezTo>
                  <a:cubicBezTo>
                    <a:pt x="2" y="1"/>
                    <a:pt x="3" y="2"/>
                    <a:pt x="3" y="2"/>
                  </a:cubicBezTo>
                  <a:cubicBezTo>
                    <a:pt x="3" y="2"/>
                    <a:pt x="6" y="2"/>
                    <a:pt x="7" y="1"/>
                  </a:cubicBezTo>
                  <a:cubicBezTo>
                    <a:pt x="8" y="1"/>
                    <a:pt x="9" y="1"/>
                    <a:pt x="9" y="1"/>
                  </a:cubicBezTo>
                  <a:cubicBezTo>
                    <a:pt x="9" y="0"/>
                    <a:pt x="9" y="0"/>
                    <a:pt x="9" y="0"/>
                  </a:cubicBezTo>
                  <a:cubicBezTo>
                    <a:pt x="9" y="0"/>
                    <a:pt x="9" y="0"/>
                    <a:pt x="9" y="0"/>
                  </a:cubicBezTo>
                  <a:cubicBezTo>
                    <a:pt x="9" y="0"/>
                    <a:pt x="9" y="0"/>
                    <a:pt x="9"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6" name="Freeform 259">
              <a:extLst>
                <a:ext uri="{FF2B5EF4-FFF2-40B4-BE49-F238E27FC236}">
                  <a16:creationId xmlns:a16="http://schemas.microsoft.com/office/drawing/2014/main" id="{9AE869D9-8229-497A-BC6C-9DEFAEBD7840}"/>
                </a:ext>
              </a:extLst>
            </p:cNvPr>
            <p:cNvSpPr>
              <a:spLocks/>
            </p:cNvSpPr>
            <p:nvPr/>
          </p:nvSpPr>
          <p:spPr bwMode="auto">
            <a:xfrm>
              <a:off x="10283816" y="4556947"/>
              <a:ext cx="19050" cy="19050"/>
            </a:xfrm>
            <a:custGeom>
              <a:avLst/>
              <a:gdLst>
                <a:gd name="T0" fmla="*/ 5 w 5"/>
                <a:gd name="T1" fmla="*/ 0 h 5"/>
                <a:gd name="T2" fmla="*/ 5 w 5"/>
                <a:gd name="T3" fmla="*/ 1 h 5"/>
                <a:gd name="T4" fmla="*/ 0 w 5"/>
                <a:gd name="T5" fmla="*/ 4 h 5"/>
                <a:gd name="T6" fmla="*/ 1 w 5"/>
                <a:gd name="T7" fmla="*/ 5 h 5"/>
                <a:gd name="T8" fmla="*/ 5 w 5"/>
                <a:gd name="T9" fmla="*/ 0 h 5"/>
              </a:gdLst>
              <a:ahLst/>
              <a:cxnLst>
                <a:cxn ang="0">
                  <a:pos x="T0" y="T1"/>
                </a:cxn>
                <a:cxn ang="0">
                  <a:pos x="T2" y="T3"/>
                </a:cxn>
                <a:cxn ang="0">
                  <a:pos x="T4" y="T5"/>
                </a:cxn>
                <a:cxn ang="0">
                  <a:pos x="T6" y="T7"/>
                </a:cxn>
                <a:cxn ang="0">
                  <a:pos x="T8" y="T9"/>
                </a:cxn>
              </a:cxnLst>
              <a:rect l="0" t="0" r="r" b="b"/>
              <a:pathLst>
                <a:path w="5" h="5">
                  <a:moveTo>
                    <a:pt x="5" y="0"/>
                  </a:moveTo>
                  <a:cubicBezTo>
                    <a:pt x="5" y="1"/>
                    <a:pt x="5" y="1"/>
                    <a:pt x="5" y="1"/>
                  </a:cubicBezTo>
                  <a:cubicBezTo>
                    <a:pt x="3" y="2"/>
                    <a:pt x="0" y="1"/>
                    <a:pt x="0" y="4"/>
                  </a:cubicBezTo>
                  <a:cubicBezTo>
                    <a:pt x="0" y="4"/>
                    <a:pt x="0" y="4"/>
                    <a:pt x="1" y="5"/>
                  </a:cubicBezTo>
                  <a:cubicBezTo>
                    <a:pt x="2" y="4"/>
                    <a:pt x="4"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7" name="Freeform 260">
              <a:extLst>
                <a:ext uri="{FF2B5EF4-FFF2-40B4-BE49-F238E27FC236}">
                  <a16:creationId xmlns:a16="http://schemas.microsoft.com/office/drawing/2014/main" id="{8A0E9126-FA75-494E-8137-EF13D6A7C7F6}"/>
                </a:ext>
              </a:extLst>
            </p:cNvPr>
            <p:cNvSpPr>
              <a:spLocks/>
            </p:cNvSpPr>
            <p:nvPr/>
          </p:nvSpPr>
          <p:spPr bwMode="auto">
            <a:xfrm>
              <a:off x="4926004" y="4391847"/>
              <a:ext cx="11113" cy="19050"/>
            </a:xfrm>
            <a:custGeom>
              <a:avLst/>
              <a:gdLst>
                <a:gd name="T0" fmla="*/ 2 w 3"/>
                <a:gd name="T1" fmla="*/ 0 h 5"/>
                <a:gd name="T2" fmla="*/ 0 w 3"/>
                <a:gd name="T3" fmla="*/ 3 h 5"/>
                <a:gd name="T4" fmla="*/ 3 w 3"/>
                <a:gd name="T5" fmla="*/ 5 h 5"/>
                <a:gd name="T6" fmla="*/ 2 w 3"/>
                <a:gd name="T7" fmla="*/ 0 h 5"/>
                <a:gd name="T8" fmla="*/ 2 w 3"/>
                <a:gd name="T9" fmla="*/ 0 h 5"/>
              </a:gdLst>
              <a:ahLst/>
              <a:cxnLst>
                <a:cxn ang="0">
                  <a:pos x="T0" y="T1"/>
                </a:cxn>
                <a:cxn ang="0">
                  <a:pos x="T2" y="T3"/>
                </a:cxn>
                <a:cxn ang="0">
                  <a:pos x="T4" y="T5"/>
                </a:cxn>
                <a:cxn ang="0">
                  <a:pos x="T6" y="T7"/>
                </a:cxn>
                <a:cxn ang="0">
                  <a:pos x="T8" y="T9"/>
                </a:cxn>
              </a:cxnLst>
              <a:rect l="0" t="0" r="r" b="b"/>
              <a:pathLst>
                <a:path w="3" h="5">
                  <a:moveTo>
                    <a:pt x="2" y="0"/>
                  </a:moveTo>
                  <a:cubicBezTo>
                    <a:pt x="0" y="0"/>
                    <a:pt x="0" y="2"/>
                    <a:pt x="0" y="3"/>
                  </a:cubicBezTo>
                  <a:cubicBezTo>
                    <a:pt x="1" y="4"/>
                    <a:pt x="2" y="4"/>
                    <a:pt x="3" y="5"/>
                  </a:cubicBezTo>
                  <a:cubicBezTo>
                    <a:pt x="3" y="3"/>
                    <a:pt x="3" y="2"/>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8" name="Freeform 261">
              <a:extLst>
                <a:ext uri="{FF2B5EF4-FFF2-40B4-BE49-F238E27FC236}">
                  <a16:creationId xmlns:a16="http://schemas.microsoft.com/office/drawing/2014/main" id="{26C130F7-4B6A-484F-A988-189D8ADE8E42}"/>
                </a:ext>
              </a:extLst>
            </p:cNvPr>
            <p:cNvSpPr>
              <a:spLocks/>
            </p:cNvSpPr>
            <p:nvPr/>
          </p:nvSpPr>
          <p:spPr bwMode="auto">
            <a:xfrm>
              <a:off x="6815129" y="632647"/>
              <a:ext cx="176213" cy="52388"/>
            </a:xfrm>
            <a:custGeom>
              <a:avLst/>
              <a:gdLst>
                <a:gd name="T0" fmla="*/ 37 w 47"/>
                <a:gd name="T1" fmla="*/ 0 h 14"/>
                <a:gd name="T2" fmla="*/ 18 w 47"/>
                <a:gd name="T3" fmla="*/ 3 h 14"/>
                <a:gd name="T4" fmla="*/ 12 w 47"/>
                <a:gd name="T5" fmla="*/ 5 h 14"/>
                <a:gd name="T6" fmla="*/ 6 w 47"/>
                <a:gd name="T7" fmla="*/ 5 h 14"/>
                <a:gd name="T8" fmla="*/ 3 w 47"/>
                <a:gd name="T9" fmla="*/ 7 h 14"/>
                <a:gd name="T10" fmla="*/ 6 w 47"/>
                <a:gd name="T11" fmla="*/ 11 h 14"/>
                <a:gd name="T12" fmla="*/ 11 w 47"/>
                <a:gd name="T13" fmla="*/ 13 h 14"/>
                <a:gd name="T14" fmla="*/ 12 w 47"/>
                <a:gd name="T15" fmla="*/ 13 h 14"/>
                <a:gd name="T16" fmla="*/ 13 w 47"/>
                <a:gd name="T17" fmla="*/ 13 h 14"/>
                <a:gd name="T18" fmla="*/ 14 w 47"/>
                <a:gd name="T19" fmla="*/ 13 h 14"/>
                <a:gd name="T20" fmla="*/ 15 w 47"/>
                <a:gd name="T21" fmla="*/ 13 h 14"/>
                <a:gd name="T22" fmla="*/ 14 w 47"/>
                <a:gd name="T23" fmla="*/ 14 h 14"/>
                <a:gd name="T24" fmla="*/ 19 w 47"/>
                <a:gd name="T25" fmla="*/ 14 h 14"/>
                <a:gd name="T26" fmla="*/ 28 w 47"/>
                <a:gd name="T27" fmla="*/ 14 h 14"/>
                <a:gd name="T28" fmla="*/ 41 w 47"/>
                <a:gd name="T29" fmla="*/ 11 h 14"/>
                <a:gd name="T30" fmla="*/ 44 w 47"/>
                <a:gd name="T31" fmla="*/ 2 h 14"/>
                <a:gd name="T32" fmla="*/ 37 w 47"/>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14">
                  <a:moveTo>
                    <a:pt x="37" y="0"/>
                  </a:moveTo>
                  <a:cubicBezTo>
                    <a:pt x="31" y="0"/>
                    <a:pt x="23" y="3"/>
                    <a:pt x="18" y="3"/>
                  </a:cubicBezTo>
                  <a:cubicBezTo>
                    <a:pt x="16" y="4"/>
                    <a:pt x="14" y="4"/>
                    <a:pt x="12" y="5"/>
                  </a:cubicBezTo>
                  <a:cubicBezTo>
                    <a:pt x="10" y="5"/>
                    <a:pt x="7" y="5"/>
                    <a:pt x="6" y="5"/>
                  </a:cubicBezTo>
                  <a:cubicBezTo>
                    <a:pt x="4" y="6"/>
                    <a:pt x="5" y="7"/>
                    <a:pt x="3" y="7"/>
                  </a:cubicBezTo>
                  <a:cubicBezTo>
                    <a:pt x="0" y="8"/>
                    <a:pt x="5" y="10"/>
                    <a:pt x="6" y="11"/>
                  </a:cubicBezTo>
                  <a:cubicBezTo>
                    <a:pt x="8" y="12"/>
                    <a:pt x="9" y="13"/>
                    <a:pt x="11" y="13"/>
                  </a:cubicBezTo>
                  <a:cubicBezTo>
                    <a:pt x="11" y="13"/>
                    <a:pt x="12" y="13"/>
                    <a:pt x="12" y="13"/>
                  </a:cubicBezTo>
                  <a:cubicBezTo>
                    <a:pt x="12" y="13"/>
                    <a:pt x="13" y="13"/>
                    <a:pt x="13" y="13"/>
                  </a:cubicBezTo>
                  <a:cubicBezTo>
                    <a:pt x="13" y="13"/>
                    <a:pt x="14" y="13"/>
                    <a:pt x="14" y="13"/>
                  </a:cubicBezTo>
                  <a:cubicBezTo>
                    <a:pt x="14" y="13"/>
                    <a:pt x="15" y="13"/>
                    <a:pt x="15" y="13"/>
                  </a:cubicBezTo>
                  <a:cubicBezTo>
                    <a:pt x="15" y="13"/>
                    <a:pt x="14" y="14"/>
                    <a:pt x="14" y="14"/>
                  </a:cubicBezTo>
                  <a:cubicBezTo>
                    <a:pt x="15" y="14"/>
                    <a:pt x="17" y="14"/>
                    <a:pt x="19" y="14"/>
                  </a:cubicBezTo>
                  <a:cubicBezTo>
                    <a:pt x="22" y="14"/>
                    <a:pt x="25" y="14"/>
                    <a:pt x="28" y="14"/>
                  </a:cubicBezTo>
                  <a:cubicBezTo>
                    <a:pt x="32" y="13"/>
                    <a:pt x="37" y="13"/>
                    <a:pt x="41" y="11"/>
                  </a:cubicBezTo>
                  <a:cubicBezTo>
                    <a:pt x="47" y="9"/>
                    <a:pt x="46" y="7"/>
                    <a:pt x="44" y="2"/>
                  </a:cubicBezTo>
                  <a:cubicBezTo>
                    <a:pt x="42" y="1"/>
                    <a:pt x="40" y="0"/>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9" name="Freeform 262">
              <a:extLst>
                <a:ext uri="{FF2B5EF4-FFF2-40B4-BE49-F238E27FC236}">
                  <a16:creationId xmlns:a16="http://schemas.microsoft.com/office/drawing/2014/main" id="{63B3FFDF-CEBF-4F54-A119-27CC643A9D2E}"/>
                </a:ext>
              </a:extLst>
            </p:cNvPr>
            <p:cNvSpPr>
              <a:spLocks/>
            </p:cNvSpPr>
            <p:nvPr/>
          </p:nvSpPr>
          <p:spPr bwMode="auto">
            <a:xfrm>
              <a:off x="4430704" y="3971159"/>
              <a:ext cx="26988" cy="12700"/>
            </a:xfrm>
            <a:custGeom>
              <a:avLst/>
              <a:gdLst>
                <a:gd name="T0" fmla="*/ 2 w 7"/>
                <a:gd name="T1" fmla="*/ 0 h 3"/>
                <a:gd name="T2" fmla="*/ 0 w 7"/>
                <a:gd name="T3" fmla="*/ 3 h 3"/>
                <a:gd name="T4" fmla="*/ 7 w 7"/>
                <a:gd name="T5" fmla="*/ 2 h 3"/>
                <a:gd name="T6" fmla="*/ 4 w 7"/>
                <a:gd name="T7" fmla="*/ 1 h 3"/>
                <a:gd name="T8" fmla="*/ 2 w 7"/>
                <a:gd name="T9" fmla="*/ 0 h 3"/>
              </a:gdLst>
              <a:ahLst/>
              <a:cxnLst>
                <a:cxn ang="0">
                  <a:pos x="T0" y="T1"/>
                </a:cxn>
                <a:cxn ang="0">
                  <a:pos x="T2" y="T3"/>
                </a:cxn>
                <a:cxn ang="0">
                  <a:pos x="T4" y="T5"/>
                </a:cxn>
                <a:cxn ang="0">
                  <a:pos x="T6" y="T7"/>
                </a:cxn>
                <a:cxn ang="0">
                  <a:pos x="T8" y="T9"/>
                </a:cxn>
              </a:cxnLst>
              <a:rect l="0" t="0" r="r" b="b"/>
              <a:pathLst>
                <a:path w="7" h="3">
                  <a:moveTo>
                    <a:pt x="2" y="0"/>
                  </a:moveTo>
                  <a:cubicBezTo>
                    <a:pt x="1" y="0"/>
                    <a:pt x="1" y="1"/>
                    <a:pt x="0" y="3"/>
                  </a:cubicBezTo>
                  <a:cubicBezTo>
                    <a:pt x="3" y="3"/>
                    <a:pt x="5" y="3"/>
                    <a:pt x="7" y="2"/>
                  </a:cubicBezTo>
                  <a:cubicBezTo>
                    <a:pt x="6" y="1"/>
                    <a:pt x="5" y="1"/>
                    <a:pt x="4" y="1"/>
                  </a:cubicBezTo>
                  <a:cubicBezTo>
                    <a:pt x="3"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0" name="Freeform 263">
              <a:extLst>
                <a:ext uri="{FF2B5EF4-FFF2-40B4-BE49-F238E27FC236}">
                  <a16:creationId xmlns:a16="http://schemas.microsoft.com/office/drawing/2014/main" id="{51B6F84E-4CF2-403A-AD35-37EF8978B290}"/>
                </a:ext>
              </a:extLst>
            </p:cNvPr>
            <p:cNvSpPr>
              <a:spLocks/>
            </p:cNvSpPr>
            <p:nvPr/>
          </p:nvSpPr>
          <p:spPr bwMode="auto">
            <a:xfrm>
              <a:off x="9404341" y="1969322"/>
              <a:ext cx="131763" cy="65088"/>
            </a:xfrm>
            <a:custGeom>
              <a:avLst/>
              <a:gdLst>
                <a:gd name="T0" fmla="*/ 11 w 35"/>
                <a:gd name="T1" fmla="*/ 0 h 17"/>
                <a:gd name="T2" fmla="*/ 10 w 35"/>
                <a:gd name="T3" fmla="*/ 2 h 17"/>
                <a:gd name="T4" fmla="*/ 3 w 35"/>
                <a:gd name="T5" fmla="*/ 6 h 17"/>
                <a:gd name="T6" fmla="*/ 3 w 35"/>
                <a:gd name="T7" fmla="*/ 12 h 17"/>
                <a:gd name="T8" fmla="*/ 12 w 35"/>
                <a:gd name="T9" fmla="*/ 16 h 17"/>
                <a:gd name="T10" fmla="*/ 14 w 35"/>
                <a:gd name="T11" fmla="*/ 16 h 17"/>
                <a:gd name="T12" fmla="*/ 16 w 35"/>
                <a:gd name="T13" fmla="*/ 16 h 17"/>
                <a:gd name="T14" fmla="*/ 22 w 35"/>
                <a:gd name="T15" fmla="*/ 16 h 17"/>
                <a:gd name="T16" fmla="*/ 27 w 35"/>
                <a:gd name="T17" fmla="*/ 17 h 17"/>
                <a:gd name="T18" fmla="*/ 31 w 35"/>
                <a:gd name="T19" fmla="*/ 16 h 17"/>
                <a:gd name="T20" fmla="*/ 32 w 35"/>
                <a:gd name="T21" fmla="*/ 10 h 17"/>
                <a:gd name="T22" fmla="*/ 28 w 35"/>
                <a:gd name="T23" fmla="*/ 7 h 17"/>
                <a:gd name="T24" fmla="*/ 27 w 35"/>
                <a:gd name="T25" fmla="*/ 7 h 17"/>
                <a:gd name="T26" fmla="*/ 12 w 35"/>
                <a:gd name="T27" fmla="*/ 0 h 17"/>
                <a:gd name="T28" fmla="*/ 11 w 35"/>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17">
                  <a:moveTo>
                    <a:pt x="11" y="0"/>
                  </a:moveTo>
                  <a:cubicBezTo>
                    <a:pt x="10" y="0"/>
                    <a:pt x="11" y="1"/>
                    <a:pt x="10" y="2"/>
                  </a:cubicBezTo>
                  <a:cubicBezTo>
                    <a:pt x="8" y="4"/>
                    <a:pt x="5" y="5"/>
                    <a:pt x="3" y="6"/>
                  </a:cubicBezTo>
                  <a:cubicBezTo>
                    <a:pt x="0" y="8"/>
                    <a:pt x="1" y="9"/>
                    <a:pt x="3" y="12"/>
                  </a:cubicBezTo>
                  <a:cubicBezTo>
                    <a:pt x="5" y="15"/>
                    <a:pt x="8" y="16"/>
                    <a:pt x="12" y="16"/>
                  </a:cubicBezTo>
                  <a:cubicBezTo>
                    <a:pt x="13" y="16"/>
                    <a:pt x="14" y="16"/>
                    <a:pt x="14" y="16"/>
                  </a:cubicBezTo>
                  <a:cubicBezTo>
                    <a:pt x="15" y="16"/>
                    <a:pt x="16" y="16"/>
                    <a:pt x="16" y="16"/>
                  </a:cubicBezTo>
                  <a:cubicBezTo>
                    <a:pt x="18" y="16"/>
                    <a:pt x="20" y="16"/>
                    <a:pt x="22" y="16"/>
                  </a:cubicBezTo>
                  <a:cubicBezTo>
                    <a:pt x="24" y="16"/>
                    <a:pt x="26" y="17"/>
                    <a:pt x="27" y="17"/>
                  </a:cubicBezTo>
                  <a:cubicBezTo>
                    <a:pt x="29" y="17"/>
                    <a:pt x="30" y="17"/>
                    <a:pt x="31" y="16"/>
                  </a:cubicBezTo>
                  <a:cubicBezTo>
                    <a:pt x="35" y="15"/>
                    <a:pt x="33" y="13"/>
                    <a:pt x="32" y="10"/>
                  </a:cubicBezTo>
                  <a:cubicBezTo>
                    <a:pt x="32" y="7"/>
                    <a:pt x="31" y="7"/>
                    <a:pt x="28" y="7"/>
                  </a:cubicBezTo>
                  <a:cubicBezTo>
                    <a:pt x="28" y="7"/>
                    <a:pt x="27" y="7"/>
                    <a:pt x="27" y="7"/>
                  </a:cubicBezTo>
                  <a:cubicBezTo>
                    <a:pt x="22" y="5"/>
                    <a:pt x="17" y="2"/>
                    <a:pt x="12" y="0"/>
                  </a:cubicBezTo>
                  <a:cubicBezTo>
                    <a:pt x="11"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1" name="Freeform 264">
              <a:extLst>
                <a:ext uri="{FF2B5EF4-FFF2-40B4-BE49-F238E27FC236}">
                  <a16:creationId xmlns:a16="http://schemas.microsoft.com/office/drawing/2014/main" id="{34951041-B961-4918-B3FC-800644309F4B}"/>
                </a:ext>
              </a:extLst>
            </p:cNvPr>
            <p:cNvSpPr>
              <a:spLocks/>
            </p:cNvSpPr>
            <p:nvPr/>
          </p:nvSpPr>
          <p:spPr bwMode="auto">
            <a:xfrm>
              <a:off x="9126529" y="2567809"/>
              <a:ext cx="34925" cy="6350"/>
            </a:xfrm>
            <a:custGeom>
              <a:avLst/>
              <a:gdLst>
                <a:gd name="T0" fmla="*/ 4 w 9"/>
                <a:gd name="T1" fmla="*/ 0 h 2"/>
                <a:gd name="T2" fmla="*/ 0 w 9"/>
                <a:gd name="T3" fmla="*/ 2 h 2"/>
                <a:gd name="T4" fmla="*/ 2 w 9"/>
                <a:gd name="T5" fmla="*/ 2 h 2"/>
                <a:gd name="T6" fmla="*/ 9 w 9"/>
                <a:gd name="T7" fmla="*/ 2 h 2"/>
                <a:gd name="T8" fmla="*/ 4 w 9"/>
                <a:gd name="T9" fmla="*/ 0 h 2"/>
              </a:gdLst>
              <a:ahLst/>
              <a:cxnLst>
                <a:cxn ang="0">
                  <a:pos x="T0" y="T1"/>
                </a:cxn>
                <a:cxn ang="0">
                  <a:pos x="T2" y="T3"/>
                </a:cxn>
                <a:cxn ang="0">
                  <a:pos x="T4" y="T5"/>
                </a:cxn>
                <a:cxn ang="0">
                  <a:pos x="T6" y="T7"/>
                </a:cxn>
                <a:cxn ang="0">
                  <a:pos x="T8" y="T9"/>
                </a:cxn>
              </a:cxnLst>
              <a:rect l="0" t="0" r="r" b="b"/>
              <a:pathLst>
                <a:path w="9" h="2">
                  <a:moveTo>
                    <a:pt x="4" y="0"/>
                  </a:moveTo>
                  <a:cubicBezTo>
                    <a:pt x="3" y="0"/>
                    <a:pt x="1" y="1"/>
                    <a:pt x="0" y="2"/>
                  </a:cubicBezTo>
                  <a:cubicBezTo>
                    <a:pt x="1" y="2"/>
                    <a:pt x="2" y="2"/>
                    <a:pt x="2" y="2"/>
                  </a:cubicBezTo>
                  <a:cubicBezTo>
                    <a:pt x="4" y="2"/>
                    <a:pt x="7" y="2"/>
                    <a:pt x="9" y="2"/>
                  </a:cubicBezTo>
                  <a:cubicBezTo>
                    <a:pt x="8"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2" name="Freeform 265">
              <a:extLst>
                <a:ext uri="{FF2B5EF4-FFF2-40B4-BE49-F238E27FC236}">
                  <a16:creationId xmlns:a16="http://schemas.microsoft.com/office/drawing/2014/main" id="{7B802288-AC6B-4BA1-AE5E-31E5B3C835F2}"/>
                </a:ext>
              </a:extLst>
            </p:cNvPr>
            <p:cNvSpPr>
              <a:spLocks/>
            </p:cNvSpPr>
            <p:nvPr/>
          </p:nvSpPr>
          <p:spPr bwMode="auto">
            <a:xfrm>
              <a:off x="8947141" y="3569522"/>
              <a:ext cx="22225" cy="22225"/>
            </a:xfrm>
            <a:custGeom>
              <a:avLst/>
              <a:gdLst>
                <a:gd name="T0" fmla="*/ 5 w 6"/>
                <a:gd name="T1" fmla="*/ 0 h 6"/>
                <a:gd name="T2" fmla="*/ 5 w 6"/>
                <a:gd name="T3" fmla="*/ 1 h 6"/>
                <a:gd name="T4" fmla="*/ 5 w 6"/>
                <a:gd name="T5" fmla="*/ 1 h 6"/>
                <a:gd name="T6" fmla="*/ 3 w 6"/>
                <a:gd name="T7" fmla="*/ 2 h 6"/>
                <a:gd name="T8" fmla="*/ 0 w 6"/>
                <a:gd name="T9" fmla="*/ 6 h 6"/>
                <a:gd name="T10" fmla="*/ 6 w 6"/>
                <a:gd name="T11" fmla="*/ 0 h 6"/>
                <a:gd name="T12" fmla="*/ 5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5" y="0"/>
                  </a:moveTo>
                  <a:cubicBezTo>
                    <a:pt x="5" y="0"/>
                    <a:pt x="5" y="1"/>
                    <a:pt x="5" y="1"/>
                  </a:cubicBezTo>
                  <a:cubicBezTo>
                    <a:pt x="5" y="1"/>
                    <a:pt x="5" y="1"/>
                    <a:pt x="5" y="1"/>
                  </a:cubicBezTo>
                  <a:cubicBezTo>
                    <a:pt x="5" y="1"/>
                    <a:pt x="3" y="2"/>
                    <a:pt x="3" y="2"/>
                  </a:cubicBezTo>
                  <a:cubicBezTo>
                    <a:pt x="0" y="3"/>
                    <a:pt x="0" y="2"/>
                    <a:pt x="0" y="6"/>
                  </a:cubicBezTo>
                  <a:cubicBezTo>
                    <a:pt x="2" y="4"/>
                    <a:pt x="4" y="2"/>
                    <a:pt x="6" y="0"/>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3" name="Freeform 266">
              <a:extLst>
                <a:ext uri="{FF2B5EF4-FFF2-40B4-BE49-F238E27FC236}">
                  <a16:creationId xmlns:a16="http://schemas.microsoft.com/office/drawing/2014/main" id="{0E305922-BF6E-4DD0-9B7F-D8D9E5ED7911}"/>
                </a:ext>
              </a:extLst>
            </p:cNvPr>
            <p:cNvSpPr>
              <a:spLocks/>
            </p:cNvSpPr>
            <p:nvPr/>
          </p:nvSpPr>
          <p:spPr bwMode="auto">
            <a:xfrm>
              <a:off x="9964729" y="3036122"/>
              <a:ext cx="49213" cy="46038"/>
            </a:xfrm>
            <a:custGeom>
              <a:avLst/>
              <a:gdLst>
                <a:gd name="T0" fmla="*/ 7 w 13"/>
                <a:gd name="T1" fmla="*/ 0 h 12"/>
                <a:gd name="T2" fmla="*/ 4 w 13"/>
                <a:gd name="T3" fmla="*/ 4 h 12"/>
                <a:gd name="T4" fmla="*/ 0 w 13"/>
                <a:gd name="T5" fmla="*/ 10 h 12"/>
                <a:gd name="T6" fmla="*/ 2 w 13"/>
                <a:gd name="T7" fmla="*/ 12 h 12"/>
                <a:gd name="T8" fmla="*/ 7 w 13"/>
                <a:gd name="T9" fmla="*/ 10 h 12"/>
                <a:gd name="T10" fmla="*/ 10 w 13"/>
                <a:gd name="T11" fmla="*/ 0 h 12"/>
                <a:gd name="T12" fmla="*/ 7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7" y="0"/>
                  </a:moveTo>
                  <a:cubicBezTo>
                    <a:pt x="5" y="0"/>
                    <a:pt x="5" y="2"/>
                    <a:pt x="4" y="4"/>
                  </a:cubicBezTo>
                  <a:cubicBezTo>
                    <a:pt x="3" y="6"/>
                    <a:pt x="0" y="8"/>
                    <a:pt x="0" y="10"/>
                  </a:cubicBezTo>
                  <a:cubicBezTo>
                    <a:pt x="0" y="11"/>
                    <a:pt x="1" y="12"/>
                    <a:pt x="2" y="12"/>
                  </a:cubicBezTo>
                  <a:cubicBezTo>
                    <a:pt x="4" y="12"/>
                    <a:pt x="6" y="11"/>
                    <a:pt x="7" y="10"/>
                  </a:cubicBezTo>
                  <a:cubicBezTo>
                    <a:pt x="13" y="7"/>
                    <a:pt x="12" y="6"/>
                    <a:pt x="10" y="0"/>
                  </a:cubicBezTo>
                  <a:cubicBezTo>
                    <a:pt x="9"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4" name="Freeform 267">
              <a:extLst>
                <a:ext uri="{FF2B5EF4-FFF2-40B4-BE49-F238E27FC236}">
                  <a16:creationId xmlns:a16="http://schemas.microsoft.com/office/drawing/2014/main" id="{5DBE1BFA-5295-4274-A412-94439C010EF5}"/>
                </a:ext>
              </a:extLst>
            </p:cNvPr>
            <p:cNvSpPr>
              <a:spLocks/>
            </p:cNvSpPr>
            <p:nvPr/>
          </p:nvSpPr>
          <p:spPr bwMode="auto">
            <a:xfrm>
              <a:off x="9051916" y="1729609"/>
              <a:ext cx="93663" cy="44450"/>
            </a:xfrm>
            <a:custGeom>
              <a:avLst/>
              <a:gdLst>
                <a:gd name="T0" fmla="*/ 17 w 25"/>
                <a:gd name="T1" fmla="*/ 0 h 12"/>
                <a:gd name="T2" fmla="*/ 0 w 25"/>
                <a:gd name="T3" fmla="*/ 12 h 12"/>
                <a:gd name="T4" fmla="*/ 1 w 25"/>
                <a:gd name="T5" fmla="*/ 12 h 12"/>
                <a:gd name="T6" fmla="*/ 6 w 25"/>
                <a:gd name="T7" fmla="*/ 10 h 12"/>
                <a:gd name="T8" fmla="*/ 6 w 25"/>
                <a:gd name="T9" fmla="*/ 10 h 12"/>
                <a:gd name="T10" fmla="*/ 7 w 25"/>
                <a:gd name="T11" fmla="*/ 11 h 12"/>
                <a:gd name="T12" fmla="*/ 8 w 25"/>
                <a:gd name="T13" fmla="*/ 11 h 12"/>
                <a:gd name="T14" fmla="*/ 8 w 25"/>
                <a:gd name="T15" fmla="*/ 11 h 12"/>
                <a:gd name="T16" fmla="*/ 9 w 25"/>
                <a:gd name="T17" fmla="*/ 10 h 12"/>
                <a:gd name="T18" fmla="*/ 12 w 25"/>
                <a:gd name="T19" fmla="*/ 9 h 12"/>
                <a:gd name="T20" fmla="*/ 17 w 25"/>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2">
                  <a:moveTo>
                    <a:pt x="17" y="0"/>
                  </a:moveTo>
                  <a:cubicBezTo>
                    <a:pt x="11" y="4"/>
                    <a:pt x="5" y="7"/>
                    <a:pt x="0" y="12"/>
                  </a:cubicBezTo>
                  <a:cubicBezTo>
                    <a:pt x="0" y="12"/>
                    <a:pt x="0" y="12"/>
                    <a:pt x="1" y="12"/>
                  </a:cubicBezTo>
                  <a:cubicBezTo>
                    <a:pt x="2" y="12"/>
                    <a:pt x="5" y="10"/>
                    <a:pt x="6" y="10"/>
                  </a:cubicBezTo>
                  <a:cubicBezTo>
                    <a:pt x="6" y="10"/>
                    <a:pt x="6" y="10"/>
                    <a:pt x="6" y="10"/>
                  </a:cubicBezTo>
                  <a:cubicBezTo>
                    <a:pt x="6" y="10"/>
                    <a:pt x="7" y="10"/>
                    <a:pt x="7" y="11"/>
                  </a:cubicBezTo>
                  <a:cubicBezTo>
                    <a:pt x="7" y="11"/>
                    <a:pt x="7" y="11"/>
                    <a:pt x="8" y="11"/>
                  </a:cubicBezTo>
                  <a:cubicBezTo>
                    <a:pt x="8" y="11"/>
                    <a:pt x="8" y="11"/>
                    <a:pt x="8" y="11"/>
                  </a:cubicBezTo>
                  <a:cubicBezTo>
                    <a:pt x="8" y="11"/>
                    <a:pt x="8" y="10"/>
                    <a:pt x="9" y="10"/>
                  </a:cubicBezTo>
                  <a:cubicBezTo>
                    <a:pt x="10" y="10"/>
                    <a:pt x="11" y="9"/>
                    <a:pt x="12" y="9"/>
                  </a:cubicBezTo>
                  <a:cubicBezTo>
                    <a:pt x="17" y="7"/>
                    <a:pt x="25" y="4"/>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5" name="Freeform 268">
              <a:extLst>
                <a:ext uri="{FF2B5EF4-FFF2-40B4-BE49-F238E27FC236}">
                  <a16:creationId xmlns:a16="http://schemas.microsoft.com/office/drawing/2014/main" id="{5061ED90-75EA-4916-859F-85CB6649B808}"/>
                </a:ext>
              </a:extLst>
            </p:cNvPr>
            <p:cNvSpPr>
              <a:spLocks/>
            </p:cNvSpPr>
            <p:nvPr/>
          </p:nvSpPr>
          <p:spPr bwMode="auto">
            <a:xfrm>
              <a:off x="9337666" y="1886772"/>
              <a:ext cx="71438" cy="60325"/>
            </a:xfrm>
            <a:custGeom>
              <a:avLst/>
              <a:gdLst>
                <a:gd name="T0" fmla="*/ 8 w 19"/>
                <a:gd name="T1" fmla="*/ 0 h 16"/>
                <a:gd name="T2" fmla="*/ 7 w 19"/>
                <a:gd name="T3" fmla="*/ 0 h 16"/>
                <a:gd name="T4" fmla="*/ 13 w 19"/>
                <a:gd name="T5" fmla="*/ 16 h 16"/>
                <a:gd name="T6" fmla="*/ 14 w 19"/>
                <a:gd name="T7" fmla="*/ 16 h 16"/>
                <a:gd name="T8" fmla="*/ 16 w 19"/>
                <a:gd name="T9" fmla="*/ 16 h 16"/>
                <a:gd name="T10" fmla="*/ 17 w 19"/>
                <a:gd name="T11" fmla="*/ 16 h 16"/>
                <a:gd name="T12" fmla="*/ 18 w 19"/>
                <a:gd name="T13" fmla="*/ 15 h 16"/>
                <a:gd name="T14" fmla="*/ 19 w 19"/>
                <a:gd name="T15" fmla="*/ 10 h 16"/>
                <a:gd name="T16" fmla="*/ 15 w 19"/>
                <a:gd name="T17" fmla="*/ 6 h 16"/>
                <a:gd name="T18" fmla="*/ 14 w 19"/>
                <a:gd name="T19" fmla="*/ 3 h 16"/>
                <a:gd name="T20" fmla="*/ 10 w 19"/>
                <a:gd name="T21" fmla="*/ 1 h 16"/>
                <a:gd name="T22" fmla="*/ 8 w 19"/>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6">
                  <a:moveTo>
                    <a:pt x="8" y="0"/>
                  </a:moveTo>
                  <a:cubicBezTo>
                    <a:pt x="7" y="0"/>
                    <a:pt x="7" y="0"/>
                    <a:pt x="7" y="0"/>
                  </a:cubicBezTo>
                  <a:cubicBezTo>
                    <a:pt x="0" y="3"/>
                    <a:pt x="12" y="14"/>
                    <a:pt x="13" y="16"/>
                  </a:cubicBezTo>
                  <a:cubicBezTo>
                    <a:pt x="14" y="16"/>
                    <a:pt x="14" y="16"/>
                    <a:pt x="14" y="16"/>
                  </a:cubicBezTo>
                  <a:cubicBezTo>
                    <a:pt x="15" y="16"/>
                    <a:pt x="15" y="16"/>
                    <a:pt x="16" y="16"/>
                  </a:cubicBezTo>
                  <a:cubicBezTo>
                    <a:pt x="16" y="16"/>
                    <a:pt x="17" y="16"/>
                    <a:pt x="17" y="16"/>
                  </a:cubicBezTo>
                  <a:cubicBezTo>
                    <a:pt x="17" y="16"/>
                    <a:pt x="18" y="16"/>
                    <a:pt x="18" y="15"/>
                  </a:cubicBezTo>
                  <a:cubicBezTo>
                    <a:pt x="18" y="13"/>
                    <a:pt x="19" y="12"/>
                    <a:pt x="19" y="10"/>
                  </a:cubicBezTo>
                  <a:cubicBezTo>
                    <a:pt x="18" y="8"/>
                    <a:pt x="16" y="8"/>
                    <a:pt x="15" y="6"/>
                  </a:cubicBezTo>
                  <a:cubicBezTo>
                    <a:pt x="14" y="5"/>
                    <a:pt x="15" y="4"/>
                    <a:pt x="14" y="3"/>
                  </a:cubicBezTo>
                  <a:cubicBezTo>
                    <a:pt x="13" y="1"/>
                    <a:pt x="12" y="2"/>
                    <a:pt x="10" y="1"/>
                  </a:cubicBezTo>
                  <a:cubicBezTo>
                    <a:pt x="9" y="1"/>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6" name="Freeform 269">
              <a:extLst>
                <a:ext uri="{FF2B5EF4-FFF2-40B4-BE49-F238E27FC236}">
                  <a16:creationId xmlns:a16="http://schemas.microsoft.com/office/drawing/2014/main" id="{65333317-FC55-4F05-ADDA-99C122EAD945}"/>
                </a:ext>
              </a:extLst>
            </p:cNvPr>
            <p:cNvSpPr>
              <a:spLocks/>
            </p:cNvSpPr>
            <p:nvPr/>
          </p:nvSpPr>
          <p:spPr bwMode="auto">
            <a:xfrm>
              <a:off x="6769091" y="1905822"/>
              <a:ext cx="57150" cy="30163"/>
            </a:xfrm>
            <a:custGeom>
              <a:avLst/>
              <a:gdLst>
                <a:gd name="T0" fmla="*/ 4 w 15"/>
                <a:gd name="T1" fmla="*/ 0 h 8"/>
                <a:gd name="T2" fmla="*/ 1 w 15"/>
                <a:gd name="T3" fmla="*/ 1 h 8"/>
                <a:gd name="T4" fmla="*/ 1 w 15"/>
                <a:gd name="T5" fmla="*/ 1 h 8"/>
                <a:gd name="T6" fmla="*/ 1 w 15"/>
                <a:gd name="T7" fmla="*/ 3 h 8"/>
                <a:gd name="T8" fmla="*/ 6 w 15"/>
                <a:gd name="T9" fmla="*/ 7 h 8"/>
                <a:gd name="T10" fmla="*/ 11 w 15"/>
                <a:gd name="T11" fmla="*/ 8 h 8"/>
                <a:gd name="T12" fmla="*/ 12 w 15"/>
                <a:gd name="T13" fmla="*/ 8 h 8"/>
                <a:gd name="T14" fmla="*/ 12 w 15"/>
                <a:gd name="T15" fmla="*/ 8 h 8"/>
                <a:gd name="T16" fmla="*/ 15 w 15"/>
                <a:gd name="T17" fmla="*/ 5 h 8"/>
                <a:gd name="T18" fmla="*/ 14 w 15"/>
                <a:gd name="T19" fmla="*/ 5 h 8"/>
                <a:gd name="T20" fmla="*/ 9 w 15"/>
                <a:gd name="T21" fmla="*/ 1 h 8"/>
                <a:gd name="T22" fmla="*/ 4 w 15"/>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8">
                  <a:moveTo>
                    <a:pt x="4" y="0"/>
                  </a:moveTo>
                  <a:cubicBezTo>
                    <a:pt x="3" y="0"/>
                    <a:pt x="1" y="1"/>
                    <a:pt x="1" y="1"/>
                  </a:cubicBezTo>
                  <a:cubicBezTo>
                    <a:pt x="1" y="1"/>
                    <a:pt x="1" y="1"/>
                    <a:pt x="1" y="1"/>
                  </a:cubicBezTo>
                  <a:cubicBezTo>
                    <a:pt x="0" y="1"/>
                    <a:pt x="0" y="2"/>
                    <a:pt x="1" y="3"/>
                  </a:cubicBezTo>
                  <a:cubicBezTo>
                    <a:pt x="1" y="4"/>
                    <a:pt x="5" y="6"/>
                    <a:pt x="6" y="7"/>
                  </a:cubicBezTo>
                  <a:cubicBezTo>
                    <a:pt x="7" y="7"/>
                    <a:pt x="9" y="8"/>
                    <a:pt x="11" y="8"/>
                  </a:cubicBezTo>
                  <a:cubicBezTo>
                    <a:pt x="12" y="8"/>
                    <a:pt x="12" y="8"/>
                    <a:pt x="12" y="8"/>
                  </a:cubicBezTo>
                  <a:cubicBezTo>
                    <a:pt x="12" y="8"/>
                    <a:pt x="12" y="8"/>
                    <a:pt x="12" y="8"/>
                  </a:cubicBezTo>
                  <a:cubicBezTo>
                    <a:pt x="14" y="8"/>
                    <a:pt x="15" y="7"/>
                    <a:pt x="15" y="5"/>
                  </a:cubicBezTo>
                  <a:cubicBezTo>
                    <a:pt x="14" y="5"/>
                    <a:pt x="14" y="5"/>
                    <a:pt x="14" y="5"/>
                  </a:cubicBezTo>
                  <a:cubicBezTo>
                    <a:pt x="13" y="3"/>
                    <a:pt x="10" y="2"/>
                    <a:pt x="9" y="1"/>
                  </a:cubicBezTo>
                  <a:cubicBezTo>
                    <a:pt x="8"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7" name="Freeform 270">
              <a:extLst>
                <a:ext uri="{FF2B5EF4-FFF2-40B4-BE49-F238E27FC236}">
                  <a16:creationId xmlns:a16="http://schemas.microsoft.com/office/drawing/2014/main" id="{3E88C29F-25D7-4E68-A524-A2478976D807}"/>
                </a:ext>
              </a:extLst>
            </p:cNvPr>
            <p:cNvSpPr>
              <a:spLocks/>
            </p:cNvSpPr>
            <p:nvPr/>
          </p:nvSpPr>
          <p:spPr bwMode="auto">
            <a:xfrm>
              <a:off x="8977304" y="670747"/>
              <a:ext cx="71438" cy="55563"/>
            </a:xfrm>
            <a:custGeom>
              <a:avLst/>
              <a:gdLst>
                <a:gd name="T0" fmla="*/ 16 w 19"/>
                <a:gd name="T1" fmla="*/ 0 h 15"/>
                <a:gd name="T2" fmla="*/ 15 w 19"/>
                <a:gd name="T3" fmla="*/ 0 h 15"/>
                <a:gd name="T4" fmla="*/ 13 w 19"/>
                <a:gd name="T5" fmla="*/ 2 h 15"/>
                <a:gd name="T6" fmla="*/ 8 w 19"/>
                <a:gd name="T7" fmla="*/ 5 h 15"/>
                <a:gd name="T8" fmla="*/ 6 w 19"/>
                <a:gd name="T9" fmla="*/ 6 h 15"/>
                <a:gd name="T10" fmla="*/ 4 w 19"/>
                <a:gd name="T11" fmla="*/ 8 h 15"/>
                <a:gd name="T12" fmla="*/ 0 w 19"/>
                <a:gd name="T13" fmla="*/ 11 h 15"/>
                <a:gd name="T14" fmla="*/ 5 w 19"/>
                <a:gd name="T15" fmla="*/ 15 h 15"/>
                <a:gd name="T16" fmla="*/ 6 w 19"/>
                <a:gd name="T17" fmla="*/ 15 h 15"/>
                <a:gd name="T18" fmla="*/ 6 w 19"/>
                <a:gd name="T19" fmla="*/ 15 h 15"/>
                <a:gd name="T20" fmla="*/ 11 w 19"/>
                <a:gd name="T21" fmla="*/ 13 h 15"/>
                <a:gd name="T22" fmla="*/ 15 w 19"/>
                <a:gd name="T23" fmla="*/ 12 h 15"/>
                <a:gd name="T24" fmla="*/ 16 w 19"/>
                <a:gd name="T25" fmla="*/ 12 h 15"/>
                <a:gd name="T26" fmla="*/ 16 w 19"/>
                <a:gd name="T27" fmla="*/ 13 h 15"/>
                <a:gd name="T28" fmla="*/ 16 w 19"/>
                <a:gd name="T29" fmla="*/ 13 h 15"/>
                <a:gd name="T30" fmla="*/ 17 w 19"/>
                <a:gd name="T31" fmla="*/ 13 h 15"/>
                <a:gd name="T32" fmla="*/ 18 w 19"/>
                <a:gd name="T33" fmla="*/ 13 h 15"/>
                <a:gd name="T34" fmla="*/ 18 w 19"/>
                <a:gd name="T35" fmla="*/ 13 h 15"/>
                <a:gd name="T36" fmla="*/ 18 w 19"/>
                <a:gd name="T37" fmla="*/ 12 h 15"/>
                <a:gd name="T38" fmla="*/ 17 w 19"/>
                <a:gd name="T39" fmla="*/ 12 h 15"/>
                <a:gd name="T40" fmla="*/ 13 w 19"/>
                <a:gd name="T41" fmla="*/ 9 h 15"/>
                <a:gd name="T42" fmla="*/ 13 w 19"/>
                <a:gd name="T43" fmla="*/ 8 h 15"/>
                <a:gd name="T44" fmla="*/ 14 w 19"/>
                <a:gd name="T45" fmla="*/ 6 h 15"/>
                <a:gd name="T46" fmla="*/ 19 w 19"/>
                <a:gd name="T47" fmla="*/ 0 h 15"/>
                <a:gd name="T48" fmla="*/ 16 w 19"/>
                <a:gd name="T4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5">
                  <a:moveTo>
                    <a:pt x="16" y="0"/>
                  </a:moveTo>
                  <a:cubicBezTo>
                    <a:pt x="16" y="0"/>
                    <a:pt x="15" y="0"/>
                    <a:pt x="15" y="0"/>
                  </a:cubicBezTo>
                  <a:cubicBezTo>
                    <a:pt x="14" y="0"/>
                    <a:pt x="14" y="2"/>
                    <a:pt x="13" y="2"/>
                  </a:cubicBezTo>
                  <a:cubicBezTo>
                    <a:pt x="11" y="3"/>
                    <a:pt x="10" y="5"/>
                    <a:pt x="8" y="5"/>
                  </a:cubicBezTo>
                  <a:cubicBezTo>
                    <a:pt x="7" y="5"/>
                    <a:pt x="6" y="6"/>
                    <a:pt x="6" y="6"/>
                  </a:cubicBezTo>
                  <a:cubicBezTo>
                    <a:pt x="5" y="7"/>
                    <a:pt x="5" y="7"/>
                    <a:pt x="4" y="8"/>
                  </a:cubicBezTo>
                  <a:cubicBezTo>
                    <a:pt x="3" y="9"/>
                    <a:pt x="2" y="11"/>
                    <a:pt x="0" y="11"/>
                  </a:cubicBezTo>
                  <a:cubicBezTo>
                    <a:pt x="0" y="12"/>
                    <a:pt x="3" y="14"/>
                    <a:pt x="5" y="15"/>
                  </a:cubicBezTo>
                  <a:cubicBezTo>
                    <a:pt x="5" y="15"/>
                    <a:pt x="6" y="15"/>
                    <a:pt x="6" y="15"/>
                  </a:cubicBezTo>
                  <a:cubicBezTo>
                    <a:pt x="6" y="15"/>
                    <a:pt x="6" y="15"/>
                    <a:pt x="6" y="15"/>
                  </a:cubicBezTo>
                  <a:cubicBezTo>
                    <a:pt x="8" y="15"/>
                    <a:pt x="9" y="14"/>
                    <a:pt x="11" y="13"/>
                  </a:cubicBezTo>
                  <a:cubicBezTo>
                    <a:pt x="12" y="13"/>
                    <a:pt x="14" y="12"/>
                    <a:pt x="15" y="12"/>
                  </a:cubicBezTo>
                  <a:cubicBezTo>
                    <a:pt x="15" y="12"/>
                    <a:pt x="16" y="12"/>
                    <a:pt x="16" y="12"/>
                  </a:cubicBezTo>
                  <a:cubicBezTo>
                    <a:pt x="15" y="13"/>
                    <a:pt x="15" y="13"/>
                    <a:pt x="16" y="13"/>
                  </a:cubicBezTo>
                  <a:cubicBezTo>
                    <a:pt x="16" y="13"/>
                    <a:pt x="16" y="13"/>
                    <a:pt x="16" y="13"/>
                  </a:cubicBezTo>
                  <a:cubicBezTo>
                    <a:pt x="16" y="13"/>
                    <a:pt x="17" y="13"/>
                    <a:pt x="17" y="13"/>
                  </a:cubicBezTo>
                  <a:cubicBezTo>
                    <a:pt x="18" y="13"/>
                    <a:pt x="18" y="13"/>
                    <a:pt x="18" y="13"/>
                  </a:cubicBezTo>
                  <a:cubicBezTo>
                    <a:pt x="18" y="13"/>
                    <a:pt x="18" y="13"/>
                    <a:pt x="18" y="13"/>
                  </a:cubicBezTo>
                  <a:cubicBezTo>
                    <a:pt x="19" y="13"/>
                    <a:pt x="19" y="13"/>
                    <a:pt x="18" y="12"/>
                  </a:cubicBezTo>
                  <a:cubicBezTo>
                    <a:pt x="17" y="12"/>
                    <a:pt x="17" y="12"/>
                    <a:pt x="17" y="12"/>
                  </a:cubicBezTo>
                  <a:cubicBezTo>
                    <a:pt x="16" y="10"/>
                    <a:pt x="14" y="10"/>
                    <a:pt x="13" y="9"/>
                  </a:cubicBezTo>
                  <a:cubicBezTo>
                    <a:pt x="13" y="8"/>
                    <a:pt x="13" y="8"/>
                    <a:pt x="13" y="8"/>
                  </a:cubicBezTo>
                  <a:cubicBezTo>
                    <a:pt x="13" y="8"/>
                    <a:pt x="14" y="7"/>
                    <a:pt x="14" y="6"/>
                  </a:cubicBezTo>
                  <a:cubicBezTo>
                    <a:pt x="16" y="4"/>
                    <a:pt x="17" y="2"/>
                    <a:pt x="19" y="0"/>
                  </a:cubicBezTo>
                  <a:cubicBezTo>
                    <a:pt x="19" y="0"/>
                    <a:pt x="17"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8" name="Freeform 271">
              <a:extLst>
                <a:ext uri="{FF2B5EF4-FFF2-40B4-BE49-F238E27FC236}">
                  <a16:creationId xmlns:a16="http://schemas.microsoft.com/office/drawing/2014/main" id="{A2B6E225-47A6-47F1-82E5-DE297BF58460}"/>
                </a:ext>
              </a:extLst>
            </p:cNvPr>
            <p:cNvSpPr>
              <a:spLocks/>
            </p:cNvSpPr>
            <p:nvPr/>
          </p:nvSpPr>
          <p:spPr bwMode="auto">
            <a:xfrm>
              <a:off x="8391516" y="599309"/>
              <a:ext cx="165100" cy="41275"/>
            </a:xfrm>
            <a:custGeom>
              <a:avLst/>
              <a:gdLst>
                <a:gd name="T0" fmla="*/ 33 w 44"/>
                <a:gd name="T1" fmla="*/ 0 h 11"/>
                <a:gd name="T2" fmla="*/ 5 w 44"/>
                <a:gd name="T3" fmla="*/ 0 h 11"/>
                <a:gd name="T4" fmla="*/ 1 w 44"/>
                <a:gd name="T5" fmla="*/ 2 h 11"/>
                <a:gd name="T6" fmla="*/ 2 w 44"/>
                <a:gd name="T7" fmla="*/ 6 h 11"/>
                <a:gd name="T8" fmla="*/ 18 w 44"/>
                <a:gd name="T9" fmla="*/ 8 h 11"/>
                <a:gd name="T10" fmla="*/ 30 w 44"/>
                <a:gd name="T11" fmla="*/ 11 h 11"/>
                <a:gd name="T12" fmla="*/ 31 w 44"/>
                <a:gd name="T13" fmla="*/ 11 h 11"/>
                <a:gd name="T14" fmla="*/ 33 w 44"/>
                <a:gd name="T15" fmla="*/ 10 h 11"/>
                <a:gd name="T16" fmla="*/ 34 w 44"/>
                <a:gd name="T17" fmla="*/ 11 h 11"/>
                <a:gd name="T18" fmla="*/ 44 w 44"/>
                <a:gd name="T19" fmla="*/ 9 h 11"/>
                <a:gd name="T20" fmla="*/ 33 w 44"/>
                <a:gd name="T21" fmla="*/ 3 h 11"/>
                <a:gd name="T22" fmla="*/ 33 w 44"/>
                <a:gd name="T23" fmla="*/ 5 h 11"/>
                <a:gd name="T24" fmla="*/ 33 w 44"/>
                <a:gd name="T25" fmla="*/ 3 h 11"/>
                <a:gd name="T26" fmla="*/ 33 w 44"/>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11">
                  <a:moveTo>
                    <a:pt x="33" y="0"/>
                  </a:moveTo>
                  <a:cubicBezTo>
                    <a:pt x="5" y="0"/>
                    <a:pt x="5" y="0"/>
                    <a:pt x="5" y="0"/>
                  </a:cubicBezTo>
                  <a:cubicBezTo>
                    <a:pt x="3" y="1"/>
                    <a:pt x="1" y="1"/>
                    <a:pt x="1" y="2"/>
                  </a:cubicBezTo>
                  <a:cubicBezTo>
                    <a:pt x="0" y="3"/>
                    <a:pt x="1" y="6"/>
                    <a:pt x="2" y="6"/>
                  </a:cubicBezTo>
                  <a:cubicBezTo>
                    <a:pt x="7" y="7"/>
                    <a:pt x="13" y="7"/>
                    <a:pt x="18" y="8"/>
                  </a:cubicBezTo>
                  <a:cubicBezTo>
                    <a:pt x="22" y="9"/>
                    <a:pt x="26" y="11"/>
                    <a:pt x="30" y="11"/>
                  </a:cubicBezTo>
                  <a:cubicBezTo>
                    <a:pt x="31" y="11"/>
                    <a:pt x="31" y="11"/>
                    <a:pt x="31" y="11"/>
                  </a:cubicBezTo>
                  <a:cubicBezTo>
                    <a:pt x="33" y="11"/>
                    <a:pt x="33" y="11"/>
                    <a:pt x="33" y="10"/>
                  </a:cubicBezTo>
                  <a:cubicBezTo>
                    <a:pt x="33" y="10"/>
                    <a:pt x="34" y="11"/>
                    <a:pt x="34" y="11"/>
                  </a:cubicBezTo>
                  <a:cubicBezTo>
                    <a:pt x="37" y="10"/>
                    <a:pt x="41" y="11"/>
                    <a:pt x="44" y="9"/>
                  </a:cubicBezTo>
                  <a:cubicBezTo>
                    <a:pt x="44" y="5"/>
                    <a:pt x="35" y="6"/>
                    <a:pt x="33" y="3"/>
                  </a:cubicBezTo>
                  <a:cubicBezTo>
                    <a:pt x="33" y="4"/>
                    <a:pt x="33" y="4"/>
                    <a:pt x="33" y="5"/>
                  </a:cubicBezTo>
                  <a:cubicBezTo>
                    <a:pt x="33" y="4"/>
                    <a:pt x="33" y="3"/>
                    <a:pt x="33" y="3"/>
                  </a:cubicBezTo>
                  <a:cubicBezTo>
                    <a:pt x="33" y="2"/>
                    <a:pt x="33" y="1"/>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9" name="Freeform 272">
              <a:extLst>
                <a:ext uri="{FF2B5EF4-FFF2-40B4-BE49-F238E27FC236}">
                  <a16:creationId xmlns:a16="http://schemas.microsoft.com/office/drawing/2014/main" id="{BAC21525-A34E-4E04-8673-666C10767A6C}"/>
                </a:ext>
              </a:extLst>
            </p:cNvPr>
            <p:cNvSpPr>
              <a:spLocks/>
            </p:cNvSpPr>
            <p:nvPr/>
          </p:nvSpPr>
          <p:spPr bwMode="auto">
            <a:xfrm>
              <a:off x="8124816" y="599309"/>
              <a:ext cx="60325" cy="14288"/>
            </a:xfrm>
            <a:custGeom>
              <a:avLst/>
              <a:gdLst>
                <a:gd name="T0" fmla="*/ 16 w 16"/>
                <a:gd name="T1" fmla="*/ 0 h 4"/>
                <a:gd name="T2" fmla="*/ 0 w 16"/>
                <a:gd name="T3" fmla="*/ 0 h 4"/>
                <a:gd name="T4" fmla="*/ 10 w 16"/>
                <a:gd name="T5" fmla="*/ 4 h 4"/>
                <a:gd name="T6" fmla="*/ 11 w 16"/>
                <a:gd name="T7" fmla="*/ 4 h 4"/>
                <a:gd name="T8" fmla="*/ 16 w 16"/>
                <a:gd name="T9" fmla="*/ 0 h 4"/>
              </a:gdLst>
              <a:ahLst/>
              <a:cxnLst>
                <a:cxn ang="0">
                  <a:pos x="T0" y="T1"/>
                </a:cxn>
                <a:cxn ang="0">
                  <a:pos x="T2" y="T3"/>
                </a:cxn>
                <a:cxn ang="0">
                  <a:pos x="T4" y="T5"/>
                </a:cxn>
                <a:cxn ang="0">
                  <a:pos x="T6" y="T7"/>
                </a:cxn>
                <a:cxn ang="0">
                  <a:pos x="T8" y="T9"/>
                </a:cxn>
              </a:cxnLst>
              <a:rect l="0" t="0" r="r" b="b"/>
              <a:pathLst>
                <a:path w="16" h="4">
                  <a:moveTo>
                    <a:pt x="16" y="0"/>
                  </a:moveTo>
                  <a:cubicBezTo>
                    <a:pt x="0" y="0"/>
                    <a:pt x="0" y="0"/>
                    <a:pt x="0" y="0"/>
                  </a:cubicBezTo>
                  <a:cubicBezTo>
                    <a:pt x="3" y="2"/>
                    <a:pt x="7" y="4"/>
                    <a:pt x="10" y="4"/>
                  </a:cubicBezTo>
                  <a:cubicBezTo>
                    <a:pt x="10" y="4"/>
                    <a:pt x="11" y="4"/>
                    <a:pt x="11" y="4"/>
                  </a:cubicBezTo>
                  <a:cubicBezTo>
                    <a:pt x="14" y="4"/>
                    <a:pt x="15" y="2"/>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0" name="Freeform 273">
              <a:extLst>
                <a:ext uri="{FF2B5EF4-FFF2-40B4-BE49-F238E27FC236}">
                  <a16:creationId xmlns:a16="http://schemas.microsoft.com/office/drawing/2014/main" id="{C5ECF9A7-EF95-428B-91C7-206994E0BD90}"/>
                </a:ext>
              </a:extLst>
            </p:cNvPr>
            <p:cNvSpPr>
              <a:spLocks/>
            </p:cNvSpPr>
            <p:nvPr/>
          </p:nvSpPr>
          <p:spPr bwMode="auto">
            <a:xfrm>
              <a:off x="8305791" y="599309"/>
              <a:ext cx="88900" cy="30163"/>
            </a:xfrm>
            <a:custGeom>
              <a:avLst/>
              <a:gdLst>
                <a:gd name="T0" fmla="*/ 24 w 24"/>
                <a:gd name="T1" fmla="*/ 0 h 8"/>
                <a:gd name="T2" fmla="*/ 1 w 24"/>
                <a:gd name="T3" fmla="*/ 0 h 8"/>
                <a:gd name="T4" fmla="*/ 1 w 24"/>
                <a:gd name="T5" fmla="*/ 3 h 8"/>
                <a:gd name="T6" fmla="*/ 6 w 24"/>
                <a:gd name="T7" fmla="*/ 3 h 8"/>
                <a:gd name="T8" fmla="*/ 7 w 24"/>
                <a:gd name="T9" fmla="*/ 5 h 8"/>
                <a:gd name="T10" fmla="*/ 9 w 24"/>
                <a:gd name="T11" fmla="*/ 6 h 8"/>
                <a:gd name="T12" fmla="*/ 14 w 24"/>
                <a:gd name="T13" fmla="*/ 7 h 8"/>
                <a:gd name="T14" fmla="*/ 15 w 24"/>
                <a:gd name="T15" fmla="*/ 8 h 8"/>
                <a:gd name="T16" fmla="*/ 18 w 24"/>
                <a:gd name="T17" fmla="*/ 2 h 8"/>
                <a:gd name="T18" fmla="*/ 23 w 24"/>
                <a:gd name="T19" fmla="*/ 0 h 8"/>
                <a:gd name="T20" fmla="*/ 24 w 24"/>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8">
                  <a:moveTo>
                    <a:pt x="24" y="0"/>
                  </a:moveTo>
                  <a:cubicBezTo>
                    <a:pt x="1" y="0"/>
                    <a:pt x="1" y="0"/>
                    <a:pt x="1" y="0"/>
                  </a:cubicBezTo>
                  <a:cubicBezTo>
                    <a:pt x="1" y="1"/>
                    <a:pt x="0" y="2"/>
                    <a:pt x="1" y="3"/>
                  </a:cubicBezTo>
                  <a:cubicBezTo>
                    <a:pt x="2" y="3"/>
                    <a:pt x="4" y="3"/>
                    <a:pt x="6" y="3"/>
                  </a:cubicBezTo>
                  <a:cubicBezTo>
                    <a:pt x="8" y="4"/>
                    <a:pt x="6" y="5"/>
                    <a:pt x="7" y="5"/>
                  </a:cubicBezTo>
                  <a:cubicBezTo>
                    <a:pt x="7" y="6"/>
                    <a:pt x="8" y="6"/>
                    <a:pt x="9" y="6"/>
                  </a:cubicBezTo>
                  <a:cubicBezTo>
                    <a:pt x="10" y="7"/>
                    <a:pt x="12" y="7"/>
                    <a:pt x="14" y="7"/>
                  </a:cubicBezTo>
                  <a:cubicBezTo>
                    <a:pt x="15" y="8"/>
                    <a:pt x="15" y="8"/>
                    <a:pt x="15" y="8"/>
                  </a:cubicBezTo>
                  <a:cubicBezTo>
                    <a:pt x="18" y="8"/>
                    <a:pt x="17" y="4"/>
                    <a:pt x="18" y="2"/>
                  </a:cubicBezTo>
                  <a:cubicBezTo>
                    <a:pt x="19" y="1"/>
                    <a:pt x="22" y="1"/>
                    <a:pt x="23" y="0"/>
                  </a:cubicBezTo>
                  <a:cubicBezTo>
                    <a:pt x="24" y="0"/>
                    <a:pt x="24" y="0"/>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1" name="Freeform 274">
              <a:extLst>
                <a:ext uri="{FF2B5EF4-FFF2-40B4-BE49-F238E27FC236}">
                  <a16:creationId xmlns:a16="http://schemas.microsoft.com/office/drawing/2014/main" id="{E633F196-8551-4A56-9444-3AC08073A6CB}"/>
                </a:ext>
              </a:extLst>
            </p:cNvPr>
            <p:cNvSpPr>
              <a:spLocks/>
            </p:cNvSpPr>
            <p:nvPr/>
          </p:nvSpPr>
          <p:spPr bwMode="auto">
            <a:xfrm>
              <a:off x="8210541" y="599309"/>
              <a:ext cx="87313" cy="30163"/>
            </a:xfrm>
            <a:custGeom>
              <a:avLst/>
              <a:gdLst>
                <a:gd name="T0" fmla="*/ 23 w 23"/>
                <a:gd name="T1" fmla="*/ 0 h 8"/>
                <a:gd name="T2" fmla="*/ 3 w 23"/>
                <a:gd name="T3" fmla="*/ 0 h 8"/>
                <a:gd name="T4" fmla="*/ 2 w 23"/>
                <a:gd name="T5" fmla="*/ 2 h 8"/>
                <a:gd name="T6" fmla="*/ 5 w 23"/>
                <a:gd name="T7" fmla="*/ 6 h 8"/>
                <a:gd name="T8" fmla="*/ 13 w 23"/>
                <a:gd name="T9" fmla="*/ 7 h 8"/>
                <a:gd name="T10" fmla="*/ 17 w 23"/>
                <a:gd name="T11" fmla="*/ 8 h 8"/>
                <a:gd name="T12" fmla="*/ 20 w 23"/>
                <a:gd name="T13" fmla="*/ 7 h 8"/>
                <a:gd name="T14" fmla="*/ 23 w 23"/>
                <a:gd name="T15" fmla="*/ 1 h 8"/>
                <a:gd name="T16" fmla="*/ 23 w 23"/>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8">
                  <a:moveTo>
                    <a:pt x="23" y="0"/>
                  </a:moveTo>
                  <a:cubicBezTo>
                    <a:pt x="3" y="0"/>
                    <a:pt x="3" y="0"/>
                    <a:pt x="3" y="0"/>
                  </a:cubicBezTo>
                  <a:cubicBezTo>
                    <a:pt x="4" y="1"/>
                    <a:pt x="4" y="2"/>
                    <a:pt x="2" y="2"/>
                  </a:cubicBezTo>
                  <a:cubicBezTo>
                    <a:pt x="5" y="4"/>
                    <a:pt x="0" y="6"/>
                    <a:pt x="5" y="6"/>
                  </a:cubicBezTo>
                  <a:cubicBezTo>
                    <a:pt x="7" y="7"/>
                    <a:pt x="10" y="7"/>
                    <a:pt x="13" y="7"/>
                  </a:cubicBezTo>
                  <a:cubicBezTo>
                    <a:pt x="14" y="8"/>
                    <a:pt x="16" y="8"/>
                    <a:pt x="17" y="8"/>
                  </a:cubicBezTo>
                  <a:cubicBezTo>
                    <a:pt x="18" y="8"/>
                    <a:pt x="19" y="8"/>
                    <a:pt x="20" y="7"/>
                  </a:cubicBezTo>
                  <a:cubicBezTo>
                    <a:pt x="21" y="7"/>
                    <a:pt x="23" y="2"/>
                    <a:pt x="23" y="1"/>
                  </a:cubicBezTo>
                  <a:cubicBezTo>
                    <a:pt x="23" y="0"/>
                    <a:pt x="23"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2" name="Freeform 275">
              <a:extLst>
                <a:ext uri="{FF2B5EF4-FFF2-40B4-BE49-F238E27FC236}">
                  <a16:creationId xmlns:a16="http://schemas.microsoft.com/office/drawing/2014/main" id="{293CA0E2-F051-4B63-9262-DCB9B2681089}"/>
                </a:ext>
              </a:extLst>
            </p:cNvPr>
            <p:cNvSpPr>
              <a:spLocks/>
            </p:cNvSpPr>
            <p:nvPr/>
          </p:nvSpPr>
          <p:spPr bwMode="auto">
            <a:xfrm>
              <a:off x="8526454" y="599309"/>
              <a:ext cx="49213" cy="14288"/>
            </a:xfrm>
            <a:custGeom>
              <a:avLst/>
              <a:gdLst>
                <a:gd name="T0" fmla="*/ 13 w 13"/>
                <a:gd name="T1" fmla="*/ 0 h 4"/>
                <a:gd name="T2" fmla="*/ 0 w 13"/>
                <a:gd name="T3" fmla="*/ 0 h 4"/>
                <a:gd name="T4" fmla="*/ 1 w 13"/>
                <a:gd name="T5" fmla="*/ 1 h 4"/>
                <a:gd name="T6" fmla="*/ 7 w 13"/>
                <a:gd name="T7" fmla="*/ 4 h 4"/>
                <a:gd name="T8" fmla="*/ 9 w 13"/>
                <a:gd name="T9" fmla="*/ 3 h 4"/>
                <a:gd name="T10" fmla="*/ 13 w 13"/>
                <a:gd name="T11" fmla="*/ 0 h 4"/>
              </a:gdLst>
              <a:ahLst/>
              <a:cxnLst>
                <a:cxn ang="0">
                  <a:pos x="T0" y="T1"/>
                </a:cxn>
                <a:cxn ang="0">
                  <a:pos x="T2" y="T3"/>
                </a:cxn>
                <a:cxn ang="0">
                  <a:pos x="T4" y="T5"/>
                </a:cxn>
                <a:cxn ang="0">
                  <a:pos x="T6" y="T7"/>
                </a:cxn>
                <a:cxn ang="0">
                  <a:pos x="T8" y="T9"/>
                </a:cxn>
                <a:cxn ang="0">
                  <a:pos x="T10" y="T11"/>
                </a:cxn>
              </a:cxnLst>
              <a:rect l="0" t="0" r="r" b="b"/>
              <a:pathLst>
                <a:path w="13" h="4">
                  <a:moveTo>
                    <a:pt x="13" y="0"/>
                  </a:moveTo>
                  <a:cubicBezTo>
                    <a:pt x="0" y="0"/>
                    <a:pt x="0" y="0"/>
                    <a:pt x="0" y="0"/>
                  </a:cubicBezTo>
                  <a:cubicBezTo>
                    <a:pt x="1" y="1"/>
                    <a:pt x="1" y="1"/>
                    <a:pt x="1" y="1"/>
                  </a:cubicBezTo>
                  <a:cubicBezTo>
                    <a:pt x="3" y="2"/>
                    <a:pt x="5" y="4"/>
                    <a:pt x="7" y="4"/>
                  </a:cubicBezTo>
                  <a:cubicBezTo>
                    <a:pt x="8" y="4"/>
                    <a:pt x="8" y="3"/>
                    <a:pt x="9" y="3"/>
                  </a:cubicBezTo>
                  <a:cubicBezTo>
                    <a:pt x="10" y="2"/>
                    <a:pt x="11" y="1"/>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3" name="Freeform 276">
              <a:extLst>
                <a:ext uri="{FF2B5EF4-FFF2-40B4-BE49-F238E27FC236}">
                  <a16:creationId xmlns:a16="http://schemas.microsoft.com/office/drawing/2014/main" id="{6DCEC4AA-E58F-4A43-AFE0-F31BFCEEAE9F}"/>
                </a:ext>
              </a:extLst>
            </p:cNvPr>
            <p:cNvSpPr>
              <a:spLocks/>
            </p:cNvSpPr>
            <p:nvPr/>
          </p:nvSpPr>
          <p:spPr bwMode="auto">
            <a:xfrm>
              <a:off x="8193079" y="599309"/>
              <a:ext cx="17463" cy="19050"/>
            </a:xfrm>
            <a:custGeom>
              <a:avLst/>
              <a:gdLst>
                <a:gd name="T0" fmla="*/ 5 w 5"/>
                <a:gd name="T1" fmla="*/ 0 h 5"/>
                <a:gd name="T2" fmla="*/ 2 w 5"/>
                <a:gd name="T3" fmla="*/ 0 h 5"/>
                <a:gd name="T4" fmla="*/ 2 w 5"/>
                <a:gd name="T5" fmla="*/ 2 h 5"/>
                <a:gd name="T6" fmla="*/ 2 w 5"/>
                <a:gd name="T7" fmla="*/ 5 h 5"/>
                <a:gd name="T8" fmla="*/ 2 w 5"/>
                <a:gd name="T9" fmla="*/ 5 h 5"/>
                <a:gd name="T10" fmla="*/ 5 w 5"/>
                <a:gd name="T11" fmla="*/ 0 h 5"/>
              </a:gdLst>
              <a:ahLst/>
              <a:cxnLst>
                <a:cxn ang="0">
                  <a:pos x="T0" y="T1"/>
                </a:cxn>
                <a:cxn ang="0">
                  <a:pos x="T2" y="T3"/>
                </a:cxn>
                <a:cxn ang="0">
                  <a:pos x="T4" y="T5"/>
                </a:cxn>
                <a:cxn ang="0">
                  <a:pos x="T6" y="T7"/>
                </a:cxn>
                <a:cxn ang="0">
                  <a:pos x="T8" y="T9"/>
                </a:cxn>
                <a:cxn ang="0">
                  <a:pos x="T10" y="T11"/>
                </a:cxn>
              </a:cxnLst>
              <a:rect l="0" t="0" r="r" b="b"/>
              <a:pathLst>
                <a:path w="5" h="5">
                  <a:moveTo>
                    <a:pt x="5" y="0"/>
                  </a:moveTo>
                  <a:cubicBezTo>
                    <a:pt x="2" y="0"/>
                    <a:pt x="2" y="0"/>
                    <a:pt x="2" y="0"/>
                  </a:cubicBezTo>
                  <a:cubicBezTo>
                    <a:pt x="2" y="1"/>
                    <a:pt x="2" y="1"/>
                    <a:pt x="2" y="2"/>
                  </a:cubicBezTo>
                  <a:cubicBezTo>
                    <a:pt x="1" y="3"/>
                    <a:pt x="0" y="5"/>
                    <a:pt x="2" y="5"/>
                  </a:cubicBezTo>
                  <a:cubicBezTo>
                    <a:pt x="2" y="5"/>
                    <a:pt x="2" y="5"/>
                    <a:pt x="2" y="5"/>
                  </a:cubicBezTo>
                  <a:cubicBezTo>
                    <a:pt x="3" y="5"/>
                    <a:pt x="5"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4" name="Freeform 277">
              <a:extLst>
                <a:ext uri="{FF2B5EF4-FFF2-40B4-BE49-F238E27FC236}">
                  <a16:creationId xmlns:a16="http://schemas.microsoft.com/office/drawing/2014/main" id="{ED2CFA0F-DF2A-4BF0-8E1E-AA7965A37827}"/>
                </a:ext>
              </a:extLst>
            </p:cNvPr>
            <p:cNvSpPr>
              <a:spLocks/>
            </p:cNvSpPr>
            <p:nvPr/>
          </p:nvSpPr>
          <p:spPr bwMode="auto">
            <a:xfrm>
              <a:off x="8861416" y="599309"/>
              <a:ext cx="187325" cy="68263"/>
            </a:xfrm>
            <a:custGeom>
              <a:avLst/>
              <a:gdLst>
                <a:gd name="T0" fmla="*/ 50 w 50"/>
                <a:gd name="T1" fmla="*/ 0 h 18"/>
                <a:gd name="T2" fmla="*/ 0 w 50"/>
                <a:gd name="T3" fmla="*/ 0 h 18"/>
                <a:gd name="T4" fmla="*/ 4 w 50"/>
                <a:gd name="T5" fmla="*/ 4 h 18"/>
                <a:gd name="T6" fmla="*/ 6 w 50"/>
                <a:gd name="T7" fmla="*/ 4 h 18"/>
                <a:gd name="T8" fmla="*/ 5 w 50"/>
                <a:gd name="T9" fmla="*/ 8 h 18"/>
                <a:gd name="T10" fmla="*/ 0 w 50"/>
                <a:gd name="T11" fmla="*/ 18 h 18"/>
                <a:gd name="T12" fmla="*/ 21 w 50"/>
                <a:gd name="T13" fmla="*/ 14 h 18"/>
                <a:gd name="T14" fmla="*/ 34 w 50"/>
                <a:gd name="T15" fmla="*/ 12 h 18"/>
                <a:gd name="T16" fmla="*/ 40 w 50"/>
                <a:gd name="T17" fmla="*/ 10 h 18"/>
                <a:gd name="T18" fmla="*/ 50 w 50"/>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18">
                  <a:moveTo>
                    <a:pt x="50" y="0"/>
                  </a:moveTo>
                  <a:cubicBezTo>
                    <a:pt x="0" y="0"/>
                    <a:pt x="0" y="0"/>
                    <a:pt x="0" y="0"/>
                  </a:cubicBezTo>
                  <a:cubicBezTo>
                    <a:pt x="2" y="1"/>
                    <a:pt x="4" y="3"/>
                    <a:pt x="4" y="4"/>
                  </a:cubicBezTo>
                  <a:cubicBezTo>
                    <a:pt x="6" y="4"/>
                    <a:pt x="6" y="4"/>
                    <a:pt x="6" y="4"/>
                  </a:cubicBezTo>
                  <a:cubicBezTo>
                    <a:pt x="6" y="5"/>
                    <a:pt x="5" y="7"/>
                    <a:pt x="5" y="8"/>
                  </a:cubicBezTo>
                  <a:cubicBezTo>
                    <a:pt x="3" y="11"/>
                    <a:pt x="2" y="15"/>
                    <a:pt x="0" y="18"/>
                  </a:cubicBezTo>
                  <a:cubicBezTo>
                    <a:pt x="7" y="17"/>
                    <a:pt x="14" y="16"/>
                    <a:pt x="21" y="14"/>
                  </a:cubicBezTo>
                  <a:cubicBezTo>
                    <a:pt x="25" y="13"/>
                    <a:pt x="29" y="12"/>
                    <a:pt x="34" y="12"/>
                  </a:cubicBezTo>
                  <a:cubicBezTo>
                    <a:pt x="36" y="11"/>
                    <a:pt x="39" y="11"/>
                    <a:pt x="40" y="10"/>
                  </a:cubicBezTo>
                  <a:cubicBezTo>
                    <a:pt x="44" y="7"/>
                    <a:pt x="47" y="4"/>
                    <a:pt x="5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5" name="Freeform 278">
              <a:extLst>
                <a:ext uri="{FF2B5EF4-FFF2-40B4-BE49-F238E27FC236}">
                  <a16:creationId xmlns:a16="http://schemas.microsoft.com/office/drawing/2014/main" id="{7A8F0AAA-A995-4706-8282-9EC71C866CF5}"/>
                </a:ext>
              </a:extLst>
            </p:cNvPr>
            <p:cNvSpPr>
              <a:spLocks/>
            </p:cNvSpPr>
            <p:nvPr/>
          </p:nvSpPr>
          <p:spPr bwMode="auto">
            <a:xfrm>
              <a:off x="8609004" y="599309"/>
              <a:ext cx="57150" cy="19050"/>
            </a:xfrm>
            <a:custGeom>
              <a:avLst/>
              <a:gdLst>
                <a:gd name="T0" fmla="*/ 15 w 15"/>
                <a:gd name="T1" fmla="*/ 0 h 5"/>
                <a:gd name="T2" fmla="*/ 0 w 15"/>
                <a:gd name="T3" fmla="*/ 0 h 5"/>
                <a:gd name="T4" fmla="*/ 7 w 15"/>
                <a:gd name="T5" fmla="*/ 4 h 5"/>
                <a:gd name="T6" fmla="*/ 12 w 15"/>
                <a:gd name="T7" fmla="*/ 5 h 5"/>
                <a:gd name="T8" fmla="*/ 15 w 15"/>
                <a:gd name="T9" fmla="*/ 1 h 5"/>
                <a:gd name="T10" fmla="*/ 15 w 15"/>
                <a:gd name="T11" fmla="*/ 0 h 5"/>
              </a:gdLst>
              <a:ahLst/>
              <a:cxnLst>
                <a:cxn ang="0">
                  <a:pos x="T0" y="T1"/>
                </a:cxn>
                <a:cxn ang="0">
                  <a:pos x="T2" y="T3"/>
                </a:cxn>
                <a:cxn ang="0">
                  <a:pos x="T4" y="T5"/>
                </a:cxn>
                <a:cxn ang="0">
                  <a:pos x="T6" y="T7"/>
                </a:cxn>
                <a:cxn ang="0">
                  <a:pos x="T8" y="T9"/>
                </a:cxn>
                <a:cxn ang="0">
                  <a:pos x="T10" y="T11"/>
                </a:cxn>
              </a:cxnLst>
              <a:rect l="0" t="0" r="r" b="b"/>
              <a:pathLst>
                <a:path w="15" h="5">
                  <a:moveTo>
                    <a:pt x="15" y="0"/>
                  </a:moveTo>
                  <a:cubicBezTo>
                    <a:pt x="0" y="0"/>
                    <a:pt x="0" y="0"/>
                    <a:pt x="0" y="0"/>
                  </a:cubicBezTo>
                  <a:cubicBezTo>
                    <a:pt x="2" y="2"/>
                    <a:pt x="5" y="3"/>
                    <a:pt x="7" y="4"/>
                  </a:cubicBezTo>
                  <a:cubicBezTo>
                    <a:pt x="9" y="5"/>
                    <a:pt x="10" y="5"/>
                    <a:pt x="12" y="5"/>
                  </a:cubicBezTo>
                  <a:cubicBezTo>
                    <a:pt x="13" y="5"/>
                    <a:pt x="15" y="4"/>
                    <a:pt x="15" y="1"/>
                  </a:cubicBezTo>
                  <a:cubicBezTo>
                    <a:pt x="15" y="1"/>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6" name="Freeform 279">
              <a:extLst>
                <a:ext uri="{FF2B5EF4-FFF2-40B4-BE49-F238E27FC236}">
                  <a16:creationId xmlns:a16="http://schemas.microsoft.com/office/drawing/2014/main" id="{53A44151-0CED-47DB-99EA-BAB72D2742A6}"/>
                </a:ext>
              </a:extLst>
            </p:cNvPr>
            <p:cNvSpPr>
              <a:spLocks/>
            </p:cNvSpPr>
            <p:nvPr/>
          </p:nvSpPr>
          <p:spPr bwMode="auto">
            <a:xfrm>
              <a:off x="9070966" y="599309"/>
              <a:ext cx="38100" cy="11113"/>
            </a:xfrm>
            <a:custGeom>
              <a:avLst/>
              <a:gdLst>
                <a:gd name="T0" fmla="*/ 10 w 10"/>
                <a:gd name="T1" fmla="*/ 0 h 3"/>
                <a:gd name="T2" fmla="*/ 0 w 10"/>
                <a:gd name="T3" fmla="*/ 0 h 3"/>
                <a:gd name="T4" fmla="*/ 3 w 10"/>
                <a:gd name="T5" fmla="*/ 3 h 3"/>
                <a:gd name="T6" fmla="*/ 4 w 10"/>
                <a:gd name="T7" fmla="*/ 3 h 3"/>
                <a:gd name="T8" fmla="*/ 10 w 10"/>
                <a:gd name="T9" fmla="*/ 0 h 3"/>
              </a:gdLst>
              <a:ahLst/>
              <a:cxnLst>
                <a:cxn ang="0">
                  <a:pos x="T0" y="T1"/>
                </a:cxn>
                <a:cxn ang="0">
                  <a:pos x="T2" y="T3"/>
                </a:cxn>
                <a:cxn ang="0">
                  <a:pos x="T4" y="T5"/>
                </a:cxn>
                <a:cxn ang="0">
                  <a:pos x="T6" y="T7"/>
                </a:cxn>
                <a:cxn ang="0">
                  <a:pos x="T8" y="T9"/>
                </a:cxn>
              </a:cxnLst>
              <a:rect l="0" t="0" r="r" b="b"/>
              <a:pathLst>
                <a:path w="10" h="3">
                  <a:moveTo>
                    <a:pt x="10" y="0"/>
                  </a:moveTo>
                  <a:cubicBezTo>
                    <a:pt x="0" y="0"/>
                    <a:pt x="0" y="0"/>
                    <a:pt x="0" y="0"/>
                  </a:cubicBezTo>
                  <a:cubicBezTo>
                    <a:pt x="1" y="1"/>
                    <a:pt x="2" y="3"/>
                    <a:pt x="3" y="3"/>
                  </a:cubicBezTo>
                  <a:cubicBezTo>
                    <a:pt x="3" y="3"/>
                    <a:pt x="4" y="3"/>
                    <a:pt x="4" y="3"/>
                  </a:cubicBezTo>
                  <a:cubicBezTo>
                    <a:pt x="5" y="2"/>
                    <a:pt x="8" y="1"/>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7" name="Freeform 280">
              <a:extLst>
                <a:ext uri="{FF2B5EF4-FFF2-40B4-BE49-F238E27FC236}">
                  <a16:creationId xmlns:a16="http://schemas.microsoft.com/office/drawing/2014/main" id="{ED4097F8-E1EC-4C0E-B616-559F865D4DCD}"/>
                </a:ext>
              </a:extLst>
            </p:cNvPr>
            <p:cNvSpPr>
              <a:spLocks/>
            </p:cNvSpPr>
            <p:nvPr/>
          </p:nvSpPr>
          <p:spPr bwMode="auto">
            <a:xfrm>
              <a:off x="8778866" y="599309"/>
              <a:ext cx="55563" cy="7938"/>
            </a:xfrm>
            <a:custGeom>
              <a:avLst/>
              <a:gdLst>
                <a:gd name="T0" fmla="*/ 15 w 15"/>
                <a:gd name="T1" fmla="*/ 0 h 2"/>
                <a:gd name="T2" fmla="*/ 0 w 15"/>
                <a:gd name="T3" fmla="*/ 0 h 2"/>
                <a:gd name="T4" fmla="*/ 10 w 15"/>
                <a:gd name="T5" fmla="*/ 2 h 2"/>
                <a:gd name="T6" fmla="*/ 12 w 15"/>
                <a:gd name="T7" fmla="*/ 2 h 2"/>
                <a:gd name="T8" fmla="*/ 15 w 15"/>
                <a:gd name="T9" fmla="*/ 0 h 2"/>
              </a:gdLst>
              <a:ahLst/>
              <a:cxnLst>
                <a:cxn ang="0">
                  <a:pos x="T0" y="T1"/>
                </a:cxn>
                <a:cxn ang="0">
                  <a:pos x="T2" y="T3"/>
                </a:cxn>
                <a:cxn ang="0">
                  <a:pos x="T4" y="T5"/>
                </a:cxn>
                <a:cxn ang="0">
                  <a:pos x="T6" y="T7"/>
                </a:cxn>
                <a:cxn ang="0">
                  <a:pos x="T8" y="T9"/>
                </a:cxn>
              </a:cxnLst>
              <a:rect l="0" t="0" r="r" b="b"/>
              <a:pathLst>
                <a:path w="15" h="2">
                  <a:moveTo>
                    <a:pt x="15" y="0"/>
                  </a:moveTo>
                  <a:cubicBezTo>
                    <a:pt x="0" y="0"/>
                    <a:pt x="0" y="0"/>
                    <a:pt x="0" y="0"/>
                  </a:cubicBezTo>
                  <a:cubicBezTo>
                    <a:pt x="3" y="1"/>
                    <a:pt x="7" y="2"/>
                    <a:pt x="10" y="2"/>
                  </a:cubicBezTo>
                  <a:cubicBezTo>
                    <a:pt x="11" y="2"/>
                    <a:pt x="11" y="2"/>
                    <a:pt x="12" y="2"/>
                  </a:cubicBezTo>
                  <a:cubicBezTo>
                    <a:pt x="13" y="2"/>
                    <a:pt x="14" y="1"/>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8" name="Freeform 281">
              <a:extLst>
                <a:ext uri="{FF2B5EF4-FFF2-40B4-BE49-F238E27FC236}">
                  <a16:creationId xmlns:a16="http://schemas.microsoft.com/office/drawing/2014/main" id="{65EB6708-73A9-45A0-A141-CE14FF4B1BDC}"/>
                </a:ext>
              </a:extLst>
            </p:cNvPr>
            <p:cNvSpPr>
              <a:spLocks/>
            </p:cNvSpPr>
            <p:nvPr/>
          </p:nvSpPr>
          <p:spPr bwMode="auto">
            <a:xfrm>
              <a:off x="8683616" y="599309"/>
              <a:ext cx="82550" cy="22225"/>
            </a:xfrm>
            <a:custGeom>
              <a:avLst/>
              <a:gdLst>
                <a:gd name="T0" fmla="*/ 22 w 22"/>
                <a:gd name="T1" fmla="*/ 0 h 6"/>
                <a:gd name="T2" fmla="*/ 0 w 22"/>
                <a:gd name="T3" fmla="*/ 0 h 6"/>
                <a:gd name="T4" fmla="*/ 0 w 22"/>
                <a:gd name="T5" fmla="*/ 3 h 6"/>
                <a:gd name="T6" fmla="*/ 4 w 22"/>
                <a:gd name="T7" fmla="*/ 5 h 6"/>
                <a:gd name="T8" fmla="*/ 9 w 22"/>
                <a:gd name="T9" fmla="*/ 6 h 6"/>
                <a:gd name="T10" fmla="*/ 9 w 22"/>
                <a:gd name="T11" fmla="*/ 6 h 6"/>
                <a:gd name="T12" fmla="*/ 15 w 22"/>
                <a:gd name="T13" fmla="*/ 6 h 6"/>
                <a:gd name="T14" fmla="*/ 15 w 22"/>
                <a:gd name="T15" fmla="*/ 6 h 6"/>
                <a:gd name="T16" fmla="*/ 17 w 22"/>
                <a:gd name="T17" fmla="*/ 6 h 6"/>
                <a:gd name="T18" fmla="*/ 20 w 22"/>
                <a:gd name="T19" fmla="*/ 5 h 6"/>
                <a:gd name="T20" fmla="*/ 22 w 22"/>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6">
                  <a:moveTo>
                    <a:pt x="22" y="0"/>
                  </a:moveTo>
                  <a:cubicBezTo>
                    <a:pt x="0" y="0"/>
                    <a:pt x="0" y="0"/>
                    <a:pt x="0" y="0"/>
                  </a:cubicBezTo>
                  <a:cubicBezTo>
                    <a:pt x="0" y="1"/>
                    <a:pt x="0" y="2"/>
                    <a:pt x="0" y="3"/>
                  </a:cubicBezTo>
                  <a:cubicBezTo>
                    <a:pt x="1" y="4"/>
                    <a:pt x="3" y="4"/>
                    <a:pt x="4" y="5"/>
                  </a:cubicBezTo>
                  <a:cubicBezTo>
                    <a:pt x="6" y="5"/>
                    <a:pt x="7" y="6"/>
                    <a:pt x="9" y="6"/>
                  </a:cubicBezTo>
                  <a:cubicBezTo>
                    <a:pt x="9" y="6"/>
                    <a:pt x="9" y="6"/>
                    <a:pt x="9" y="6"/>
                  </a:cubicBezTo>
                  <a:cubicBezTo>
                    <a:pt x="11" y="6"/>
                    <a:pt x="13" y="6"/>
                    <a:pt x="15" y="6"/>
                  </a:cubicBezTo>
                  <a:cubicBezTo>
                    <a:pt x="15" y="6"/>
                    <a:pt x="15" y="6"/>
                    <a:pt x="15" y="6"/>
                  </a:cubicBezTo>
                  <a:cubicBezTo>
                    <a:pt x="16" y="6"/>
                    <a:pt x="17" y="6"/>
                    <a:pt x="17" y="6"/>
                  </a:cubicBezTo>
                  <a:cubicBezTo>
                    <a:pt x="18" y="6"/>
                    <a:pt x="19" y="5"/>
                    <a:pt x="20" y="5"/>
                  </a:cubicBezTo>
                  <a:cubicBezTo>
                    <a:pt x="22" y="4"/>
                    <a:pt x="22" y="2"/>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9" name="Freeform 282">
              <a:extLst>
                <a:ext uri="{FF2B5EF4-FFF2-40B4-BE49-F238E27FC236}">
                  <a16:creationId xmlns:a16="http://schemas.microsoft.com/office/drawing/2014/main" id="{5CE27746-E051-4665-979C-914E485721F1}"/>
                </a:ext>
              </a:extLst>
            </p:cNvPr>
            <p:cNvSpPr>
              <a:spLocks/>
            </p:cNvSpPr>
            <p:nvPr/>
          </p:nvSpPr>
          <p:spPr bwMode="auto">
            <a:xfrm>
              <a:off x="7442191" y="794572"/>
              <a:ext cx="3175" cy="3175"/>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0"/>
                    <a:pt x="1" y="1"/>
                  </a:cubicBezTo>
                  <a:cubicBezTo>
                    <a:pt x="1"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0" name="Freeform 283">
              <a:extLst>
                <a:ext uri="{FF2B5EF4-FFF2-40B4-BE49-F238E27FC236}">
                  <a16:creationId xmlns:a16="http://schemas.microsoft.com/office/drawing/2014/main" id="{4A2E41CE-B8FB-43D6-AA16-E74C02AC5A0A}"/>
                </a:ext>
              </a:extLst>
            </p:cNvPr>
            <p:cNvSpPr>
              <a:spLocks/>
            </p:cNvSpPr>
            <p:nvPr/>
          </p:nvSpPr>
          <p:spPr bwMode="auto">
            <a:xfrm>
              <a:off x="6950066" y="599309"/>
              <a:ext cx="498475" cy="274638"/>
            </a:xfrm>
            <a:custGeom>
              <a:avLst/>
              <a:gdLst>
                <a:gd name="T0" fmla="*/ 96 w 133"/>
                <a:gd name="T1" fmla="*/ 4 h 73"/>
                <a:gd name="T2" fmla="*/ 90 w 133"/>
                <a:gd name="T3" fmla="*/ 5 h 73"/>
                <a:gd name="T4" fmla="*/ 87 w 133"/>
                <a:gd name="T5" fmla="*/ 0 h 73"/>
                <a:gd name="T6" fmla="*/ 49 w 133"/>
                <a:gd name="T7" fmla="*/ 0 h 73"/>
                <a:gd name="T8" fmla="*/ 60 w 133"/>
                <a:gd name="T9" fmla="*/ 7 h 73"/>
                <a:gd name="T10" fmla="*/ 65 w 133"/>
                <a:gd name="T11" fmla="*/ 7 h 73"/>
                <a:gd name="T12" fmla="*/ 69 w 133"/>
                <a:gd name="T13" fmla="*/ 10 h 73"/>
                <a:gd name="T14" fmla="*/ 68 w 133"/>
                <a:gd name="T15" fmla="*/ 12 h 73"/>
                <a:gd name="T16" fmla="*/ 58 w 133"/>
                <a:gd name="T17" fmla="*/ 12 h 73"/>
                <a:gd name="T18" fmla="*/ 73 w 133"/>
                <a:gd name="T19" fmla="*/ 16 h 73"/>
                <a:gd name="T20" fmla="*/ 83 w 133"/>
                <a:gd name="T21" fmla="*/ 17 h 73"/>
                <a:gd name="T22" fmla="*/ 68 w 133"/>
                <a:gd name="T23" fmla="*/ 17 h 73"/>
                <a:gd name="T24" fmla="*/ 73 w 133"/>
                <a:gd name="T25" fmla="*/ 27 h 73"/>
                <a:gd name="T26" fmla="*/ 76 w 133"/>
                <a:gd name="T27" fmla="*/ 28 h 73"/>
                <a:gd name="T28" fmla="*/ 56 w 133"/>
                <a:gd name="T29" fmla="*/ 20 h 73"/>
                <a:gd name="T30" fmla="*/ 55 w 133"/>
                <a:gd name="T31" fmla="*/ 19 h 73"/>
                <a:gd name="T32" fmla="*/ 30 w 133"/>
                <a:gd name="T33" fmla="*/ 3 h 73"/>
                <a:gd name="T34" fmla="*/ 24 w 133"/>
                <a:gd name="T35" fmla="*/ 7 h 73"/>
                <a:gd name="T36" fmla="*/ 20 w 133"/>
                <a:gd name="T37" fmla="*/ 13 h 73"/>
                <a:gd name="T38" fmla="*/ 23 w 133"/>
                <a:gd name="T39" fmla="*/ 14 h 73"/>
                <a:gd name="T40" fmla="*/ 33 w 133"/>
                <a:gd name="T41" fmla="*/ 13 h 73"/>
                <a:gd name="T42" fmla="*/ 30 w 133"/>
                <a:gd name="T43" fmla="*/ 25 h 73"/>
                <a:gd name="T44" fmla="*/ 35 w 133"/>
                <a:gd name="T45" fmla="*/ 32 h 73"/>
                <a:gd name="T46" fmla="*/ 48 w 133"/>
                <a:gd name="T47" fmla="*/ 34 h 73"/>
                <a:gd name="T48" fmla="*/ 23 w 133"/>
                <a:gd name="T49" fmla="*/ 30 h 73"/>
                <a:gd name="T50" fmla="*/ 21 w 133"/>
                <a:gd name="T51" fmla="*/ 35 h 73"/>
                <a:gd name="T52" fmla="*/ 13 w 133"/>
                <a:gd name="T53" fmla="*/ 37 h 73"/>
                <a:gd name="T54" fmla="*/ 10 w 133"/>
                <a:gd name="T55" fmla="*/ 48 h 73"/>
                <a:gd name="T56" fmla="*/ 22 w 133"/>
                <a:gd name="T57" fmla="*/ 46 h 73"/>
                <a:gd name="T58" fmla="*/ 36 w 133"/>
                <a:gd name="T59" fmla="*/ 43 h 73"/>
                <a:gd name="T60" fmla="*/ 39 w 133"/>
                <a:gd name="T61" fmla="*/ 44 h 73"/>
                <a:gd name="T62" fmla="*/ 49 w 133"/>
                <a:gd name="T63" fmla="*/ 43 h 73"/>
                <a:gd name="T64" fmla="*/ 79 w 133"/>
                <a:gd name="T65" fmla="*/ 39 h 73"/>
                <a:gd name="T66" fmla="*/ 91 w 133"/>
                <a:gd name="T67" fmla="*/ 38 h 73"/>
                <a:gd name="T68" fmla="*/ 85 w 133"/>
                <a:gd name="T69" fmla="*/ 40 h 73"/>
                <a:gd name="T70" fmla="*/ 77 w 133"/>
                <a:gd name="T71" fmla="*/ 43 h 73"/>
                <a:gd name="T72" fmla="*/ 70 w 133"/>
                <a:gd name="T73" fmla="*/ 48 h 73"/>
                <a:gd name="T74" fmla="*/ 62 w 133"/>
                <a:gd name="T75" fmla="*/ 51 h 73"/>
                <a:gd name="T76" fmla="*/ 52 w 133"/>
                <a:gd name="T77" fmla="*/ 55 h 73"/>
                <a:gd name="T78" fmla="*/ 62 w 133"/>
                <a:gd name="T79" fmla="*/ 57 h 73"/>
                <a:gd name="T80" fmla="*/ 60 w 133"/>
                <a:gd name="T81" fmla="*/ 70 h 73"/>
                <a:gd name="T82" fmla="*/ 79 w 133"/>
                <a:gd name="T83" fmla="*/ 73 h 73"/>
                <a:gd name="T84" fmla="*/ 114 w 133"/>
                <a:gd name="T85" fmla="*/ 71 h 73"/>
                <a:gd name="T86" fmla="*/ 119 w 133"/>
                <a:gd name="T87" fmla="*/ 64 h 73"/>
                <a:gd name="T88" fmla="*/ 121 w 133"/>
                <a:gd name="T89" fmla="*/ 63 h 73"/>
                <a:gd name="T90" fmla="*/ 122 w 133"/>
                <a:gd name="T91" fmla="*/ 45 h 73"/>
                <a:gd name="T92" fmla="*/ 129 w 133"/>
                <a:gd name="T93" fmla="*/ 39 h 73"/>
                <a:gd name="T94" fmla="*/ 125 w 133"/>
                <a:gd name="T95" fmla="*/ 1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3" h="73">
                  <a:moveTo>
                    <a:pt x="120" y="0"/>
                  </a:moveTo>
                  <a:cubicBezTo>
                    <a:pt x="93" y="0"/>
                    <a:pt x="93" y="0"/>
                    <a:pt x="93" y="0"/>
                  </a:cubicBezTo>
                  <a:cubicBezTo>
                    <a:pt x="94" y="1"/>
                    <a:pt x="95" y="2"/>
                    <a:pt x="95" y="3"/>
                  </a:cubicBezTo>
                  <a:cubicBezTo>
                    <a:pt x="96" y="3"/>
                    <a:pt x="96" y="4"/>
                    <a:pt x="96" y="4"/>
                  </a:cubicBezTo>
                  <a:cubicBezTo>
                    <a:pt x="95" y="4"/>
                    <a:pt x="93" y="2"/>
                    <a:pt x="93" y="2"/>
                  </a:cubicBezTo>
                  <a:cubicBezTo>
                    <a:pt x="93" y="2"/>
                    <a:pt x="93" y="2"/>
                    <a:pt x="93" y="2"/>
                  </a:cubicBezTo>
                  <a:cubicBezTo>
                    <a:pt x="92" y="2"/>
                    <a:pt x="91" y="5"/>
                    <a:pt x="90" y="5"/>
                  </a:cubicBezTo>
                  <a:cubicBezTo>
                    <a:pt x="90" y="5"/>
                    <a:pt x="90" y="5"/>
                    <a:pt x="90" y="5"/>
                  </a:cubicBezTo>
                  <a:cubicBezTo>
                    <a:pt x="90" y="5"/>
                    <a:pt x="89" y="4"/>
                    <a:pt x="88" y="4"/>
                  </a:cubicBezTo>
                  <a:cubicBezTo>
                    <a:pt x="86" y="2"/>
                    <a:pt x="89" y="1"/>
                    <a:pt x="89" y="1"/>
                  </a:cubicBezTo>
                  <a:cubicBezTo>
                    <a:pt x="88" y="0"/>
                    <a:pt x="88" y="0"/>
                    <a:pt x="88" y="0"/>
                  </a:cubicBezTo>
                  <a:cubicBezTo>
                    <a:pt x="88" y="0"/>
                    <a:pt x="88" y="0"/>
                    <a:pt x="87" y="0"/>
                  </a:cubicBezTo>
                  <a:cubicBezTo>
                    <a:pt x="87" y="0"/>
                    <a:pt x="87" y="1"/>
                    <a:pt x="86" y="1"/>
                  </a:cubicBezTo>
                  <a:cubicBezTo>
                    <a:pt x="86" y="1"/>
                    <a:pt x="86" y="1"/>
                    <a:pt x="86" y="0"/>
                  </a:cubicBezTo>
                  <a:cubicBezTo>
                    <a:pt x="85" y="0"/>
                    <a:pt x="85" y="0"/>
                    <a:pt x="85" y="0"/>
                  </a:cubicBezTo>
                  <a:cubicBezTo>
                    <a:pt x="49" y="0"/>
                    <a:pt x="49" y="0"/>
                    <a:pt x="49" y="0"/>
                  </a:cubicBezTo>
                  <a:cubicBezTo>
                    <a:pt x="48" y="0"/>
                    <a:pt x="46" y="1"/>
                    <a:pt x="48" y="2"/>
                  </a:cubicBezTo>
                  <a:cubicBezTo>
                    <a:pt x="49" y="3"/>
                    <a:pt x="51" y="6"/>
                    <a:pt x="53" y="6"/>
                  </a:cubicBezTo>
                  <a:cubicBezTo>
                    <a:pt x="54" y="7"/>
                    <a:pt x="55" y="7"/>
                    <a:pt x="56" y="7"/>
                  </a:cubicBezTo>
                  <a:cubicBezTo>
                    <a:pt x="57" y="7"/>
                    <a:pt x="59" y="7"/>
                    <a:pt x="60" y="7"/>
                  </a:cubicBezTo>
                  <a:cubicBezTo>
                    <a:pt x="60" y="6"/>
                    <a:pt x="61" y="6"/>
                    <a:pt x="62" y="6"/>
                  </a:cubicBezTo>
                  <a:cubicBezTo>
                    <a:pt x="62" y="6"/>
                    <a:pt x="62" y="6"/>
                    <a:pt x="63" y="6"/>
                  </a:cubicBezTo>
                  <a:cubicBezTo>
                    <a:pt x="63" y="6"/>
                    <a:pt x="64" y="7"/>
                    <a:pt x="64" y="7"/>
                  </a:cubicBezTo>
                  <a:cubicBezTo>
                    <a:pt x="64" y="7"/>
                    <a:pt x="64" y="7"/>
                    <a:pt x="65" y="7"/>
                  </a:cubicBezTo>
                  <a:cubicBezTo>
                    <a:pt x="65" y="7"/>
                    <a:pt x="65" y="7"/>
                    <a:pt x="65" y="7"/>
                  </a:cubicBezTo>
                  <a:cubicBezTo>
                    <a:pt x="66" y="7"/>
                    <a:pt x="65" y="7"/>
                    <a:pt x="66" y="7"/>
                  </a:cubicBezTo>
                  <a:cubicBezTo>
                    <a:pt x="67" y="8"/>
                    <a:pt x="69" y="9"/>
                    <a:pt x="71" y="9"/>
                  </a:cubicBezTo>
                  <a:cubicBezTo>
                    <a:pt x="70" y="10"/>
                    <a:pt x="70" y="10"/>
                    <a:pt x="69" y="10"/>
                  </a:cubicBezTo>
                  <a:cubicBezTo>
                    <a:pt x="70" y="11"/>
                    <a:pt x="72" y="11"/>
                    <a:pt x="73" y="11"/>
                  </a:cubicBezTo>
                  <a:cubicBezTo>
                    <a:pt x="72" y="11"/>
                    <a:pt x="72" y="11"/>
                    <a:pt x="71" y="11"/>
                  </a:cubicBezTo>
                  <a:cubicBezTo>
                    <a:pt x="69" y="11"/>
                    <a:pt x="67" y="10"/>
                    <a:pt x="65" y="10"/>
                  </a:cubicBezTo>
                  <a:cubicBezTo>
                    <a:pt x="66" y="10"/>
                    <a:pt x="67" y="11"/>
                    <a:pt x="68" y="12"/>
                  </a:cubicBezTo>
                  <a:cubicBezTo>
                    <a:pt x="67" y="12"/>
                    <a:pt x="67" y="12"/>
                    <a:pt x="67" y="12"/>
                  </a:cubicBezTo>
                  <a:cubicBezTo>
                    <a:pt x="66" y="12"/>
                    <a:pt x="65" y="12"/>
                    <a:pt x="64" y="11"/>
                  </a:cubicBezTo>
                  <a:cubicBezTo>
                    <a:pt x="63" y="11"/>
                    <a:pt x="62" y="11"/>
                    <a:pt x="62" y="11"/>
                  </a:cubicBezTo>
                  <a:cubicBezTo>
                    <a:pt x="60" y="11"/>
                    <a:pt x="59" y="11"/>
                    <a:pt x="58" y="12"/>
                  </a:cubicBezTo>
                  <a:cubicBezTo>
                    <a:pt x="57" y="14"/>
                    <a:pt x="64" y="15"/>
                    <a:pt x="65" y="15"/>
                  </a:cubicBezTo>
                  <a:cubicBezTo>
                    <a:pt x="65" y="15"/>
                    <a:pt x="65" y="15"/>
                    <a:pt x="65" y="15"/>
                  </a:cubicBezTo>
                  <a:cubicBezTo>
                    <a:pt x="66" y="15"/>
                    <a:pt x="67" y="15"/>
                    <a:pt x="68" y="15"/>
                  </a:cubicBezTo>
                  <a:cubicBezTo>
                    <a:pt x="69" y="15"/>
                    <a:pt x="71" y="16"/>
                    <a:pt x="73" y="16"/>
                  </a:cubicBezTo>
                  <a:cubicBezTo>
                    <a:pt x="74" y="17"/>
                    <a:pt x="76" y="17"/>
                    <a:pt x="77" y="17"/>
                  </a:cubicBezTo>
                  <a:cubicBezTo>
                    <a:pt x="78" y="17"/>
                    <a:pt x="79" y="17"/>
                    <a:pt x="80" y="17"/>
                  </a:cubicBezTo>
                  <a:cubicBezTo>
                    <a:pt x="80" y="17"/>
                    <a:pt x="81" y="17"/>
                    <a:pt x="82" y="17"/>
                  </a:cubicBezTo>
                  <a:cubicBezTo>
                    <a:pt x="83" y="17"/>
                    <a:pt x="83" y="17"/>
                    <a:pt x="83" y="17"/>
                  </a:cubicBezTo>
                  <a:cubicBezTo>
                    <a:pt x="81" y="18"/>
                    <a:pt x="79" y="18"/>
                    <a:pt x="77" y="18"/>
                  </a:cubicBezTo>
                  <a:cubicBezTo>
                    <a:pt x="75" y="18"/>
                    <a:pt x="74" y="18"/>
                    <a:pt x="73" y="18"/>
                  </a:cubicBezTo>
                  <a:cubicBezTo>
                    <a:pt x="71" y="18"/>
                    <a:pt x="70" y="17"/>
                    <a:pt x="68" y="17"/>
                  </a:cubicBezTo>
                  <a:cubicBezTo>
                    <a:pt x="68" y="17"/>
                    <a:pt x="68" y="17"/>
                    <a:pt x="68" y="17"/>
                  </a:cubicBezTo>
                  <a:cubicBezTo>
                    <a:pt x="68" y="17"/>
                    <a:pt x="65" y="17"/>
                    <a:pt x="65" y="18"/>
                  </a:cubicBezTo>
                  <a:cubicBezTo>
                    <a:pt x="65" y="19"/>
                    <a:pt x="66" y="19"/>
                    <a:pt x="67" y="20"/>
                  </a:cubicBezTo>
                  <a:cubicBezTo>
                    <a:pt x="68" y="23"/>
                    <a:pt x="70" y="25"/>
                    <a:pt x="72" y="27"/>
                  </a:cubicBezTo>
                  <a:cubicBezTo>
                    <a:pt x="72" y="27"/>
                    <a:pt x="73" y="27"/>
                    <a:pt x="73" y="27"/>
                  </a:cubicBezTo>
                  <a:cubicBezTo>
                    <a:pt x="75" y="27"/>
                    <a:pt x="76" y="27"/>
                    <a:pt x="77" y="27"/>
                  </a:cubicBezTo>
                  <a:cubicBezTo>
                    <a:pt x="79" y="26"/>
                    <a:pt x="80" y="26"/>
                    <a:pt x="81" y="26"/>
                  </a:cubicBezTo>
                  <a:cubicBezTo>
                    <a:pt x="82" y="26"/>
                    <a:pt x="82" y="26"/>
                    <a:pt x="82" y="26"/>
                  </a:cubicBezTo>
                  <a:cubicBezTo>
                    <a:pt x="80" y="27"/>
                    <a:pt x="78" y="28"/>
                    <a:pt x="76" y="28"/>
                  </a:cubicBezTo>
                  <a:cubicBezTo>
                    <a:pt x="74" y="29"/>
                    <a:pt x="73" y="29"/>
                    <a:pt x="72" y="29"/>
                  </a:cubicBezTo>
                  <a:cubicBezTo>
                    <a:pt x="72" y="29"/>
                    <a:pt x="71" y="29"/>
                    <a:pt x="70" y="28"/>
                  </a:cubicBezTo>
                  <a:cubicBezTo>
                    <a:pt x="67" y="27"/>
                    <a:pt x="66" y="26"/>
                    <a:pt x="63" y="24"/>
                  </a:cubicBezTo>
                  <a:cubicBezTo>
                    <a:pt x="61" y="21"/>
                    <a:pt x="59" y="21"/>
                    <a:pt x="56" y="20"/>
                  </a:cubicBezTo>
                  <a:cubicBezTo>
                    <a:pt x="57" y="20"/>
                    <a:pt x="58" y="20"/>
                    <a:pt x="59" y="19"/>
                  </a:cubicBezTo>
                  <a:cubicBezTo>
                    <a:pt x="59" y="19"/>
                    <a:pt x="59" y="19"/>
                    <a:pt x="59" y="19"/>
                  </a:cubicBezTo>
                  <a:cubicBezTo>
                    <a:pt x="58" y="19"/>
                    <a:pt x="58" y="19"/>
                    <a:pt x="57" y="19"/>
                  </a:cubicBezTo>
                  <a:cubicBezTo>
                    <a:pt x="56" y="19"/>
                    <a:pt x="56" y="19"/>
                    <a:pt x="55" y="19"/>
                  </a:cubicBezTo>
                  <a:cubicBezTo>
                    <a:pt x="55" y="19"/>
                    <a:pt x="54" y="19"/>
                    <a:pt x="54" y="19"/>
                  </a:cubicBezTo>
                  <a:cubicBezTo>
                    <a:pt x="55" y="17"/>
                    <a:pt x="51" y="15"/>
                    <a:pt x="49" y="14"/>
                  </a:cubicBezTo>
                  <a:cubicBezTo>
                    <a:pt x="44" y="12"/>
                    <a:pt x="41" y="4"/>
                    <a:pt x="35" y="4"/>
                  </a:cubicBezTo>
                  <a:cubicBezTo>
                    <a:pt x="35" y="3"/>
                    <a:pt x="32" y="3"/>
                    <a:pt x="30" y="3"/>
                  </a:cubicBezTo>
                  <a:cubicBezTo>
                    <a:pt x="27" y="3"/>
                    <a:pt x="23" y="4"/>
                    <a:pt x="23" y="5"/>
                  </a:cubicBezTo>
                  <a:cubicBezTo>
                    <a:pt x="23" y="5"/>
                    <a:pt x="23" y="5"/>
                    <a:pt x="23" y="5"/>
                  </a:cubicBezTo>
                  <a:cubicBezTo>
                    <a:pt x="23" y="6"/>
                    <a:pt x="23" y="6"/>
                    <a:pt x="23" y="6"/>
                  </a:cubicBezTo>
                  <a:cubicBezTo>
                    <a:pt x="23" y="6"/>
                    <a:pt x="23" y="7"/>
                    <a:pt x="24" y="7"/>
                  </a:cubicBezTo>
                  <a:cubicBezTo>
                    <a:pt x="23" y="8"/>
                    <a:pt x="23" y="8"/>
                    <a:pt x="23" y="8"/>
                  </a:cubicBezTo>
                  <a:cubicBezTo>
                    <a:pt x="23" y="8"/>
                    <a:pt x="23" y="7"/>
                    <a:pt x="23" y="7"/>
                  </a:cubicBezTo>
                  <a:cubicBezTo>
                    <a:pt x="22" y="7"/>
                    <a:pt x="22" y="8"/>
                    <a:pt x="22" y="9"/>
                  </a:cubicBezTo>
                  <a:cubicBezTo>
                    <a:pt x="22" y="9"/>
                    <a:pt x="20" y="13"/>
                    <a:pt x="20" y="13"/>
                  </a:cubicBezTo>
                  <a:cubicBezTo>
                    <a:pt x="20" y="14"/>
                    <a:pt x="21" y="14"/>
                    <a:pt x="21" y="14"/>
                  </a:cubicBezTo>
                  <a:cubicBezTo>
                    <a:pt x="22" y="14"/>
                    <a:pt x="22" y="14"/>
                    <a:pt x="22" y="14"/>
                  </a:cubicBezTo>
                  <a:cubicBezTo>
                    <a:pt x="23" y="14"/>
                    <a:pt x="23" y="14"/>
                    <a:pt x="23" y="13"/>
                  </a:cubicBezTo>
                  <a:cubicBezTo>
                    <a:pt x="23" y="14"/>
                    <a:pt x="23" y="14"/>
                    <a:pt x="23" y="14"/>
                  </a:cubicBezTo>
                  <a:cubicBezTo>
                    <a:pt x="24" y="14"/>
                    <a:pt x="24" y="14"/>
                    <a:pt x="25" y="14"/>
                  </a:cubicBezTo>
                  <a:cubicBezTo>
                    <a:pt x="26" y="14"/>
                    <a:pt x="27" y="14"/>
                    <a:pt x="29" y="14"/>
                  </a:cubicBezTo>
                  <a:cubicBezTo>
                    <a:pt x="29" y="14"/>
                    <a:pt x="29" y="14"/>
                    <a:pt x="29" y="14"/>
                  </a:cubicBezTo>
                  <a:cubicBezTo>
                    <a:pt x="30" y="14"/>
                    <a:pt x="31" y="14"/>
                    <a:pt x="33" y="13"/>
                  </a:cubicBezTo>
                  <a:cubicBezTo>
                    <a:pt x="34" y="13"/>
                    <a:pt x="35" y="13"/>
                    <a:pt x="37" y="13"/>
                  </a:cubicBezTo>
                  <a:cubicBezTo>
                    <a:pt x="37" y="13"/>
                    <a:pt x="37" y="13"/>
                    <a:pt x="37" y="13"/>
                  </a:cubicBezTo>
                  <a:cubicBezTo>
                    <a:pt x="33" y="16"/>
                    <a:pt x="26" y="15"/>
                    <a:pt x="27" y="21"/>
                  </a:cubicBezTo>
                  <a:cubicBezTo>
                    <a:pt x="27" y="24"/>
                    <a:pt x="28" y="25"/>
                    <a:pt x="30" y="25"/>
                  </a:cubicBezTo>
                  <a:cubicBezTo>
                    <a:pt x="32" y="25"/>
                    <a:pt x="33" y="25"/>
                    <a:pt x="34" y="25"/>
                  </a:cubicBezTo>
                  <a:cubicBezTo>
                    <a:pt x="36" y="24"/>
                    <a:pt x="37" y="24"/>
                    <a:pt x="38" y="24"/>
                  </a:cubicBezTo>
                  <a:cubicBezTo>
                    <a:pt x="38" y="24"/>
                    <a:pt x="39" y="24"/>
                    <a:pt x="39" y="24"/>
                  </a:cubicBezTo>
                  <a:cubicBezTo>
                    <a:pt x="37" y="26"/>
                    <a:pt x="31" y="29"/>
                    <a:pt x="35" y="32"/>
                  </a:cubicBezTo>
                  <a:cubicBezTo>
                    <a:pt x="38" y="34"/>
                    <a:pt x="39" y="34"/>
                    <a:pt x="41" y="34"/>
                  </a:cubicBezTo>
                  <a:cubicBezTo>
                    <a:pt x="42" y="34"/>
                    <a:pt x="43" y="34"/>
                    <a:pt x="44" y="34"/>
                  </a:cubicBezTo>
                  <a:cubicBezTo>
                    <a:pt x="45" y="34"/>
                    <a:pt x="46" y="34"/>
                    <a:pt x="48" y="34"/>
                  </a:cubicBezTo>
                  <a:cubicBezTo>
                    <a:pt x="48" y="34"/>
                    <a:pt x="48" y="34"/>
                    <a:pt x="48" y="34"/>
                  </a:cubicBezTo>
                  <a:cubicBezTo>
                    <a:pt x="46" y="35"/>
                    <a:pt x="45" y="35"/>
                    <a:pt x="43" y="35"/>
                  </a:cubicBezTo>
                  <a:cubicBezTo>
                    <a:pt x="39" y="35"/>
                    <a:pt x="36" y="33"/>
                    <a:pt x="32" y="32"/>
                  </a:cubicBezTo>
                  <a:cubicBezTo>
                    <a:pt x="31" y="31"/>
                    <a:pt x="28" y="29"/>
                    <a:pt x="25" y="29"/>
                  </a:cubicBezTo>
                  <a:cubicBezTo>
                    <a:pt x="24" y="29"/>
                    <a:pt x="24" y="29"/>
                    <a:pt x="23" y="30"/>
                  </a:cubicBezTo>
                  <a:cubicBezTo>
                    <a:pt x="23" y="30"/>
                    <a:pt x="23" y="30"/>
                    <a:pt x="23" y="30"/>
                  </a:cubicBezTo>
                  <a:cubicBezTo>
                    <a:pt x="23" y="30"/>
                    <a:pt x="23" y="30"/>
                    <a:pt x="23" y="30"/>
                  </a:cubicBezTo>
                  <a:cubicBezTo>
                    <a:pt x="21" y="30"/>
                    <a:pt x="18" y="30"/>
                    <a:pt x="16" y="32"/>
                  </a:cubicBezTo>
                  <a:cubicBezTo>
                    <a:pt x="17" y="33"/>
                    <a:pt x="19" y="33"/>
                    <a:pt x="21" y="35"/>
                  </a:cubicBezTo>
                  <a:cubicBezTo>
                    <a:pt x="16" y="36"/>
                    <a:pt x="21" y="37"/>
                    <a:pt x="23" y="39"/>
                  </a:cubicBezTo>
                  <a:cubicBezTo>
                    <a:pt x="22" y="39"/>
                    <a:pt x="22" y="39"/>
                    <a:pt x="22" y="39"/>
                  </a:cubicBezTo>
                  <a:cubicBezTo>
                    <a:pt x="20" y="39"/>
                    <a:pt x="19" y="38"/>
                    <a:pt x="17" y="38"/>
                  </a:cubicBezTo>
                  <a:cubicBezTo>
                    <a:pt x="16" y="38"/>
                    <a:pt x="15" y="37"/>
                    <a:pt x="13" y="37"/>
                  </a:cubicBezTo>
                  <a:cubicBezTo>
                    <a:pt x="12" y="37"/>
                    <a:pt x="11" y="38"/>
                    <a:pt x="10" y="38"/>
                  </a:cubicBezTo>
                  <a:cubicBezTo>
                    <a:pt x="11" y="40"/>
                    <a:pt x="0" y="41"/>
                    <a:pt x="4" y="44"/>
                  </a:cubicBezTo>
                  <a:cubicBezTo>
                    <a:pt x="6" y="46"/>
                    <a:pt x="7" y="48"/>
                    <a:pt x="9" y="48"/>
                  </a:cubicBezTo>
                  <a:cubicBezTo>
                    <a:pt x="10" y="48"/>
                    <a:pt x="10" y="48"/>
                    <a:pt x="10" y="48"/>
                  </a:cubicBezTo>
                  <a:cubicBezTo>
                    <a:pt x="13" y="48"/>
                    <a:pt x="15" y="46"/>
                    <a:pt x="18" y="46"/>
                  </a:cubicBezTo>
                  <a:cubicBezTo>
                    <a:pt x="18" y="46"/>
                    <a:pt x="18" y="46"/>
                    <a:pt x="18" y="46"/>
                  </a:cubicBezTo>
                  <a:cubicBezTo>
                    <a:pt x="20" y="46"/>
                    <a:pt x="21" y="46"/>
                    <a:pt x="22" y="46"/>
                  </a:cubicBezTo>
                  <a:cubicBezTo>
                    <a:pt x="22" y="46"/>
                    <a:pt x="22" y="46"/>
                    <a:pt x="22" y="46"/>
                  </a:cubicBezTo>
                  <a:cubicBezTo>
                    <a:pt x="22" y="46"/>
                    <a:pt x="23" y="46"/>
                    <a:pt x="23" y="45"/>
                  </a:cubicBezTo>
                  <a:cubicBezTo>
                    <a:pt x="23" y="46"/>
                    <a:pt x="23" y="46"/>
                    <a:pt x="23" y="46"/>
                  </a:cubicBezTo>
                  <a:cubicBezTo>
                    <a:pt x="27" y="45"/>
                    <a:pt x="32" y="43"/>
                    <a:pt x="36" y="43"/>
                  </a:cubicBezTo>
                  <a:cubicBezTo>
                    <a:pt x="36" y="43"/>
                    <a:pt x="36" y="43"/>
                    <a:pt x="36" y="43"/>
                  </a:cubicBezTo>
                  <a:cubicBezTo>
                    <a:pt x="37" y="43"/>
                    <a:pt x="37" y="44"/>
                    <a:pt x="37" y="44"/>
                  </a:cubicBezTo>
                  <a:cubicBezTo>
                    <a:pt x="37" y="44"/>
                    <a:pt x="37" y="44"/>
                    <a:pt x="37" y="44"/>
                  </a:cubicBezTo>
                  <a:cubicBezTo>
                    <a:pt x="38" y="44"/>
                    <a:pt x="38" y="44"/>
                    <a:pt x="38" y="44"/>
                  </a:cubicBezTo>
                  <a:cubicBezTo>
                    <a:pt x="38" y="44"/>
                    <a:pt x="39" y="44"/>
                    <a:pt x="39" y="44"/>
                  </a:cubicBezTo>
                  <a:cubicBezTo>
                    <a:pt x="39" y="44"/>
                    <a:pt x="39" y="44"/>
                    <a:pt x="39" y="44"/>
                  </a:cubicBezTo>
                  <a:cubicBezTo>
                    <a:pt x="39" y="44"/>
                    <a:pt x="39" y="44"/>
                    <a:pt x="39" y="44"/>
                  </a:cubicBezTo>
                  <a:cubicBezTo>
                    <a:pt x="40" y="44"/>
                    <a:pt x="41" y="44"/>
                    <a:pt x="42" y="44"/>
                  </a:cubicBezTo>
                  <a:cubicBezTo>
                    <a:pt x="45" y="43"/>
                    <a:pt x="46" y="43"/>
                    <a:pt x="49" y="43"/>
                  </a:cubicBezTo>
                  <a:cubicBezTo>
                    <a:pt x="54" y="42"/>
                    <a:pt x="58" y="42"/>
                    <a:pt x="62" y="41"/>
                  </a:cubicBezTo>
                  <a:cubicBezTo>
                    <a:pt x="67" y="41"/>
                    <a:pt x="71" y="40"/>
                    <a:pt x="75" y="39"/>
                  </a:cubicBezTo>
                  <a:cubicBezTo>
                    <a:pt x="76" y="39"/>
                    <a:pt x="76" y="39"/>
                    <a:pt x="77" y="39"/>
                  </a:cubicBezTo>
                  <a:cubicBezTo>
                    <a:pt x="78" y="39"/>
                    <a:pt x="78" y="39"/>
                    <a:pt x="79" y="39"/>
                  </a:cubicBezTo>
                  <a:cubicBezTo>
                    <a:pt x="78" y="40"/>
                    <a:pt x="78" y="40"/>
                    <a:pt x="78" y="40"/>
                  </a:cubicBezTo>
                  <a:cubicBezTo>
                    <a:pt x="78" y="40"/>
                    <a:pt x="79" y="40"/>
                    <a:pt x="79" y="40"/>
                  </a:cubicBezTo>
                  <a:cubicBezTo>
                    <a:pt x="81" y="40"/>
                    <a:pt x="83" y="40"/>
                    <a:pt x="85" y="39"/>
                  </a:cubicBezTo>
                  <a:cubicBezTo>
                    <a:pt x="87" y="39"/>
                    <a:pt x="89" y="38"/>
                    <a:pt x="91" y="38"/>
                  </a:cubicBezTo>
                  <a:cubicBezTo>
                    <a:pt x="93" y="38"/>
                    <a:pt x="94" y="38"/>
                    <a:pt x="95" y="39"/>
                  </a:cubicBezTo>
                  <a:cubicBezTo>
                    <a:pt x="93" y="40"/>
                    <a:pt x="92" y="40"/>
                    <a:pt x="90" y="40"/>
                  </a:cubicBezTo>
                  <a:cubicBezTo>
                    <a:pt x="89" y="40"/>
                    <a:pt x="88" y="40"/>
                    <a:pt x="87" y="40"/>
                  </a:cubicBezTo>
                  <a:cubicBezTo>
                    <a:pt x="87" y="40"/>
                    <a:pt x="86" y="40"/>
                    <a:pt x="85" y="40"/>
                  </a:cubicBezTo>
                  <a:cubicBezTo>
                    <a:pt x="85" y="40"/>
                    <a:pt x="84" y="40"/>
                    <a:pt x="83" y="40"/>
                  </a:cubicBezTo>
                  <a:cubicBezTo>
                    <a:pt x="81" y="40"/>
                    <a:pt x="79" y="40"/>
                    <a:pt x="77" y="40"/>
                  </a:cubicBezTo>
                  <a:cubicBezTo>
                    <a:pt x="76" y="41"/>
                    <a:pt x="75" y="40"/>
                    <a:pt x="74" y="41"/>
                  </a:cubicBezTo>
                  <a:cubicBezTo>
                    <a:pt x="72" y="43"/>
                    <a:pt x="75" y="43"/>
                    <a:pt x="77" y="43"/>
                  </a:cubicBezTo>
                  <a:cubicBezTo>
                    <a:pt x="76" y="45"/>
                    <a:pt x="71" y="45"/>
                    <a:pt x="69" y="46"/>
                  </a:cubicBezTo>
                  <a:cubicBezTo>
                    <a:pt x="70" y="46"/>
                    <a:pt x="72" y="46"/>
                    <a:pt x="73" y="46"/>
                  </a:cubicBezTo>
                  <a:cubicBezTo>
                    <a:pt x="70" y="47"/>
                    <a:pt x="67" y="47"/>
                    <a:pt x="64" y="47"/>
                  </a:cubicBezTo>
                  <a:cubicBezTo>
                    <a:pt x="66" y="48"/>
                    <a:pt x="68" y="48"/>
                    <a:pt x="70" y="48"/>
                  </a:cubicBezTo>
                  <a:cubicBezTo>
                    <a:pt x="68" y="49"/>
                    <a:pt x="65" y="49"/>
                    <a:pt x="63" y="49"/>
                  </a:cubicBezTo>
                  <a:cubicBezTo>
                    <a:pt x="65" y="50"/>
                    <a:pt x="67" y="49"/>
                    <a:pt x="69" y="50"/>
                  </a:cubicBezTo>
                  <a:cubicBezTo>
                    <a:pt x="67" y="51"/>
                    <a:pt x="66" y="51"/>
                    <a:pt x="64" y="51"/>
                  </a:cubicBezTo>
                  <a:cubicBezTo>
                    <a:pt x="63" y="51"/>
                    <a:pt x="63" y="51"/>
                    <a:pt x="62" y="51"/>
                  </a:cubicBezTo>
                  <a:cubicBezTo>
                    <a:pt x="62" y="51"/>
                    <a:pt x="62" y="51"/>
                    <a:pt x="61" y="51"/>
                  </a:cubicBezTo>
                  <a:cubicBezTo>
                    <a:pt x="61" y="51"/>
                    <a:pt x="60" y="51"/>
                    <a:pt x="60" y="51"/>
                  </a:cubicBezTo>
                  <a:cubicBezTo>
                    <a:pt x="58" y="51"/>
                    <a:pt x="55" y="50"/>
                    <a:pt x="58" y="53"/>
                  </a:cubicBezTo>
                  <a:cubicBezTo>
                    <a:pt x="61" y="55"/>
                    <a:pt x="54" y="55"/>
                    <a:pt x="52" y="55"/>
                  </a:cubicBezTo>
                  <a:cubicBezTo>
                    <a:pt x="54" y="55"/>
                    <a:pt x="54" y="57"/>
                    <a:pt x="56" y="57"/>
                  </a:cubicBezTo>
                  <a:cubicBezTo>
                    <a:pt x="57" y="58"/>
                    <a:pt x="57" y="58"/>
                    <a:pt x="58" y="58"/>
                  </a:cubicBezTo>
                  <a:cubicBezTo>
                    <a:pt x="58" y="58"/>
                    <a:pt x="59" y="58"/>
                    <a:pt x="60" y="57"/>
                  </a:cubicBezTo>
                  <a:cubicBezTo>
                    <a:pt x="61" y="57"/>
                    <a:pt x="61" y="57"/>
                    <a:pt x="62" y="57"/>
                  </a:cubicBezTo>
                  <a:cubicBezTo>
                    <a:pt x="62" y="57"/>
                    <a:pt x="63" y="57"/>
                    <a:pt x="63" y="57"/>
                  </a:cubicBezTo>
                  <a:cubicBezTo>
                    <a:pt x="57" y="61"/>
                    <a:pt x="67" y="60"/>
                    <a:pt x="70" y="61"/>
                  </a:cubicBezTo>
                  <a:cubicBezTo>
                    <a:pt x="66" y="61"/>
                    <a:pt x="61" y="61"/>
                    <a:pt x="57" y="63"/>
                  </a:cubicBezTo>
                  <a:cubicBezTo>
                    <a:pt x="61" y="63"/>
                    <a:pt x="59" y="67"/>
                    <a:pt x="60" y="70"/>
                  </a:cubicBezTo>
                  <a:cubicBezTo>
                    <a:pt x="61" y="71"/>
                    <a:pt x="65" y="72"/>
                    <a:pt x="67" y="72"/>
                  </a:cubicBezTo>
                  <a:cubicBezTo>
                    <a:pt x="69" y="72"/>
                    <a:pt x="71" y="72"/>
                    <a:pt x="74" y="72"/>
                  </a:cubicBezTo>
                  <a:cubicBezTo>
                    <a:pt x="75" y="72"/>
                    <a:pt x="76" y="73"/>
                    <a:pt x="78" y="73"/>
                  </a:cubicBezTo>
                  <a:cubicBezTo>
                    <a:pt x="78" y="73"/>
                    <a:pt x="78" y="73"/>
                    <a:pt x="79" y="73"/>
                  </a:cubicBezTo>
                  <a:cubicBezTo>
                    <a:pt x="81" y="72"/>
                    <a:pt x="84" y="67"/>
                    <a:pt x="86" y="66"/>
                  </a:cubicBezTo>
                  <a:cubicBezTo>
                    <a:pt x="86" y="66"/>
                    <a:pt x="86" y="67"/>
                    <a:pt x="85" y="68"/>
                  </a:cubicBezTo>
                  <a:cubicBezTo>
                    <a:pt x="92" y="68"/>
                    <a:pt x="99" y="69"/>
                    <a:pt x="106" y="70"/>
                  </a:cubicBezTo>
                  <a:cubicBezTo>
                    <a:pt x="108" y="70"/>
                    <a:pt x="111" y="71"/>
                    <a:pt x="114" y="71"/>
                  </a:cubicBezTo>
                  <a:cubicBezTo>
                    <a:pt x="116" y="71"/>
                    <a:pt x="117" y="70"/>
                    <a:pt x="117" y="68"/>
                  </a:cubicBezTo>
                  <a:cubicBezTo>
                    <a:pt x="117" y="67"/>
                    <a:pt x="111" y="63"/>
                    <a:pt x="114" y="61"/>
                  </a:cubicBezTo>
                  <a:cubicBezTo>
                    <a:pt x="114" y="61"/>
                    <a:pt x="114" y="61"/>
                    <a:pt x="114" y="61"/>
                  </a:cubicBezTo>
                  <a:cubicBezTo>
                    <a:pt x="115" y="61"/>
                    <a:pt x="118" y="64"/>
                    <a:pt x="119" y="64"/>
                  </a:cubicBezTo>
                  <a:cubicBezTo>
                    <a:pt x="120" y="64"/>
                    <a:pt x="122" y="65"/>
                    <a:pt x="124" y="65"/>
                  </a:cubicBezTo>
                  <a:cubicBezTo>
                    <a:pt x="125" y="65"/>
                    <a:pt x="125" y="65"/>
                    <a:pt x="126" y="65"/>
                  </a:cubicBezTo>
                  <a:cubicBezTo>
                    <a:pt x="123" y="65"/>
                    <a:pt x="124" y="62"/>
                    <a:pt x="122" y="62"/>
                  </a:cubicBezTo>
                  <a:cubicBezTo>
                    <a:pt x="122" y="62"/>
                    <a:pt x="122" y="62"/>
                    <a:pt x="121" y="63"/>
                  </a:cubicBezTo>
                  <a:cubicBezTo>
                    <a:pt x="125" y="59"/>
                    <a:pt x="112" y="59"/>
                    <a:pt x="118" y="57"/>
                  </a:cubicBezTo>
                  <a:cubicBezTo>
                    <a:pt x="117" y="57"/>
                    <a:pt x="116" y="58"/>
                    <a:pt x="115" y="58"/>
                  </a:cubicBezTo>
                  <a:cubicBezTo>
                    <a:pt x="116" y="56"/>
                    <a:pt x="119" y="54"/>
                    <a:pt x="121" y="52"/>
                  </a:cubicBezTo>
                  <a:cubicBezTo>
                    <a:pt x="120" y="51"/>
                    <a:pt x="121" y="46"/>
                    <a:pt x="122" y="45"/>
                  </a:cubicBezTo>
                  <a:cubicBezTo>
                    <a:pt x="122" y="45"/>
                    <a:pt x="122" y="45"/>
                    <a:pt x="122" y="45"/>
                  </a:cubicBezTo>
                  <a:cubicBezTo>
                    <a:pt x="123" y="45"/>
                    <a:pt x="125" y="47"/>
                    <a:pt x="125" y="47"/>
                  </a:cubicBezTo>
                  <a:cubicBezTo>
                    <a:pt x="128" y="49"/>
                    <a:pt x="129" y="50"/>
                    <a:pt x="131" y="52"/>
                  </a:cubicBezTo>
                  <a:cubicBezTo>
                    <a:pt x="127" y="49"/>
                    <a:pt x="133" y="40"/>
                    <a:pt x="129" y="39"/>
                  </a:cubicBezTo>
                  <a:cubicBezTo>
                    <a:pt x="125" y="38"/>
                    <a:pt x="124" y="39"/>
                    <a:pt x="125" y="33"/>
                  </a:cubicBezTo>
                  <a:cubicBezTo>
                    <a:pt x="126" y="30"/>
                    <a:pt x="125" y="30"/>
                    <a:pt x="124" y="28"/>
                  </a:cubicBezTo>
                  <a:cubicBezTo>
                    <a:pt x="124" y="26"/>
                    <a:pt x="126" y="22"/>
                    <a:pt x="127" y="20"/>
                  </a:cubicBezTo>
                  <a:cubicBezTo>
                    <a:pt x="128" y="17"/>
                    <a:pt x="128" y="14"/>
                    <a:pt x="125" y="13"/>
                  </a:cubicBezTo>
                  <a:cubicBezTo>
                    <a:pt x="120" y="11"/>
                    <a:pt x="124" y="7"/>
                    <a:pt x="123" y="3"/>
                  </a:cubicBezTo>
                  <a:cubicBezTo>
                    <a:pt x="123" y="1"/>
                    <a:pt x="122" y="0"/>
                    <a:pt x="1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1" name="Freeform 284">
              <a:extLst>
                <a:ext uri="{FF2B5EF4-FFF2-40B4-BE49-F238E27FC236}">
                  <a16:creationId xmlns:a16="http://schemas.microsoft.com/office/drawing/2014/main" id="{10E254A4-88A3-4A72-A114-FBA99C43D472}"/>
                </a:ext>
              </a:extLst>
            </p:cNvPr>
            <p:cNvSpPr>
              <a:spLocks/>
            </p:cNvSpPr>
            <p:nvPr/>
          </p:nvSpPr>
          <p:spPr bwMode="auto">
            <a:xfrm>
              <a:off x="7032616" y="618359"/>
              <a:ext cx="3175" cy="3175"/>
            </a:xfrm>
            <a:custGeom>
              <a:avLst/>
              <a:gdLst>
                <a:gd name="T0" fmla="*/ 1 w 1"/>
                <a:gd name="T1" fmla="*/ 0 h 1"/>
                <a:gd name="T2" fmla="*/ 1 w 1"/>
                <a:gd name="T3" fmla="*/ 1 h 1"/>
                <a:gd name="T4" fmla="*/ 1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1"/>
                    <a:pt x="0" y="1"/>
                    <a:pt x="1" y="1"/>
                  </a:cubicBezTo>
                  <a:cubicBezTo>
                    <a:pt x="1" y="1"/>
                    <a:pt x="1" y="1"/>
                    <a:pt x="1" y="1"/>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2" name="Freeform 285">
              <a:extLst>
                <a:ext uri="{FF2B5EF4-FFF2-40B4-BE49-F238E27FC236}">
                  <a16:creationId xmlns:a16="http://schemas.microsoft.com/office/drawing/2014/main" id="{2F7D8D34-AC87-4964-B8A6-088282FCF456}"/>
                </a:ext>
              </a:extLst>
            </p:cNvPr>
            <p:cNvSpPr>
              <a:spLocks/>
            </p:cNvSpPr>
            <p:nvPr/>
          </p:nvSpPr>
          <p:spPr bwMode="auto">
            <a:xfrm>
              <a:off x="6969116" y="1050159"/>
              <a:ext cx="566738" cy="439738"/>
            </a:xfrm>
            <a:custGeom>
              <a:avLst/>
              <a:gdLst>
                <a:gd name="T0" fmla="*/ 59 w 151"/>
                <a:gd name="T1" fmla="*/ 5 h 117"/>
                <a:gd name="T2" fmla="*/ 67 w 151"/>
                <a:gd name="T3" fmla="*/ 2 h 117"/>
                <a:gd name="T4" fmla="*/ 63 w 151"/>
                <a:gd name="T5" fmla="*/ 7 h 117"/>
                <a:gd name="T6" fmla="*/ 52 w 151"/>
                <a:gd name="T7" fmla="*/ 4 h 117"/>
                <a:gd name="T8" fmla="*/ 45 w 151"/>
                <a:gd name="T9" fmla="*/ 6 h 117"/>
                <a:gd name="T10" fmla="*/ 41 w 151"/>
                <a:gd name="T11" fmla="*/ 9 h 117"/>
                <a:gd name="T12" fmla="*/ 41 w 151"/>
                <a:gd name="T13" fmla="*/ 12 h 117"/>
                <a:gd name="T14" fmla="*/ 48 w 151"/>
                <a:gd name="T15" fmla="*/ 15 h 117"/>
                <a:gd name="T16" fmla="*/ 50 w 151"/>
                <a:gd name="T17" fmla="*/ 22 h 117"/>
                <a:gd name="T18" fmla="*/ 38 w 151"/>
                <a:gd name="T19" fmla="*/ 15 h 117"/>
                <a:gd name="T20" fmla="*/ 29 w 151"/>
                <a:gd name="T21" fmla="*/ 22 h 117"/>
                <a:gd name="T22" fmla="*/ 50 w 151"/>
                <a:gd name="T23" fmla="*/ 30 h 117"/>
                <a:gd name="T24" fmla="*/ 58 w 151"/>
                <a:gd name="T25" fmla="*/ 26 h 117"/>
                <a:gd name="T26" fmla="*/ 67 w 151"/>
                <a:gd name="T27" fmla="*/ 34 h 117"/>
                <a:gd name="T28" fmla="*/ 54 w 151"/>
                <a:gd name="T29" fmla="*/ 31 h 117"/>
                <a:gd name="T30" fmla="*/ 54 w 151"/>
                <a:gd name="T31" fmla="*/ 38 h 117"/>
                <a:gd name="T32" fmla="*/ 59 w 151"/>
                <a:gd name="T33" fmla="*/ 36 h 117"/>
                <a:gd name="T34" fmla="*/ 61 w 151"/>
                <a:gd name="T35" fmla="*/ 47 h 117"/>
                <a:gd name="T36" fmla="*/ 58 w 151"/>
                <a:gd name="T37" fmla="*/ 45 h 117"/>
                <a:gd name="T38" fmla="*/ 55 w 151"/>
                <a:gd name="T39" fmla="*/ 46 h 117"/>
                <a:gd name="T40" fmla="*/ 46 w 151"/>
                <a:gd name="T41" fmla="*/ 53 h 117"/>
                <a:gd name="T42" fmla="*/ 43 w 151"/>
                <a:gd name="T43" fmla="*/ 56 h 117"/>
                <a:gd name="T44" fmla="*/ 27 w 151"/>
                <a:gd name="T45" fmla="*/ 44 h 117"/>
                <a:gd name="T46" fmla="*/ 18 w 151"/>
                <a:gd name="T47" fmla="*/ 39 h 117"/>
                <a:gd name="T48" fmla="*/ 11 w 151"/>
                <a:gd name="T49" fmla="*/ 39 h 117"/>
                <a:gd name="T50" fmla="*/ 3 w 151"/>
                <a:gd name="T51" fmla="*/ 48 h 117"/>
                <a:gd name="T52" fmla="*/ 18 w 151"/>
                <a:gd name="T53" fmla="*/ 64 h 117"/>
                <a:gd name="T54" fmla="*/ 25 w 151"/>
                <a:gd name="T55" fmla="*/ 73 h 117"/>
                <a:gd name="T56" fmla="*/ 28 w 151"/>
                <a:gd name="T57" fmla="*/ 73 h 117"/>
                <a:gd name="T58" fmla="*/ 36 w 151"/>
                <a:gd name="T59" fmla="*/ 71 h 117"/>
                <a:gd name="T60" fmla="*/ 44 w 151"/>
                <a:gd name="T61" fmla="*/ 77 h 117"/>
                <a:gd name="T62" fmla="*/ 65 w 151"/>
                <a:gd name="T63" fmla="*/ 92 h 117"/>
                <a:gd name="T64" fmla="*/ 74 w 151"/>
                <a:gd name="T65" fmla="*/ 100 h 117"/>
                <a:gd name="T66" fmla="*/ 78 w 151"/>
                <a:gd name="T67" fmla="*/ 106 h 117"/>
                <a:gd name="T68" fmla="*/ 86 w 151"/>
                <a:gd name="T69" fmla="*/ 113 h 117"/>
                <a:gd name="T70" fmla="*/ 93 w 151"/>
                <a:gd name="T71" fmla="*/ 117 h 117"/>
                <a:gd name="T72" fmla="*/ 110 w 151"/>
                <a:gd name="T73" fmla="*/ 106 h 117"/>
                <a:gd name="T74" fmla="*/ 104 w 151"/>
                <a:gd name="T75" fmla="*/ 99 h 117"/>
                <a:gd name="T76" fmla="*/ 104 w 151"/>
                <a:gd name="T77" fmla="*/ 92 h 117"/>
                <a:gd name="T78" fmla="*/ 105 w 151"/>
                <a:gd name="T79" fmla="*/ 92 h 117"/>
                <a:gd name="T80" fmla="*/ 110 w 151"/>
                <a:gd name="T81" fmla="*/ 101 h 117"/>
                <a:gd name="T82" fmla="*/ 115 w 151"/>
                <a:gd name="T83" fmla="*/ 101 h 117"/>
                <a:gd name="T84" fmla="*/ 143 w 151"/>
                <a:gd name="T85" fmla="*/ 91 h 117"/>
                <a:gd name="T86" fmla="*/ 143 w 151"/>
                <a:gd name="T87" fmla="*/ 85 h 117"/>
                <a:gd name="T88" fmla="*/ 143 w 151"/>
                <a:gd name="T89" fmla="*/ 74 h 117"/>
                <a:gd name="T90" fmla="*/ 147 w 151"/>
                <a:gd name="T91" fmla="*/ 69 h 117"/>
                <a:gd name="T92" fmla="*/ 144 w 151"/>
                <a:gd name="T93" fmla="*/ 53 h 117"/>
                <a:gd name="T94" fmla="*/ 132 w 151"/>
                <a:gd name="T95" fmla="*/ 52 h 117"/>
                <a:gd name="T96" fmla="*/ 120 w 151"/>
                <a:gd name="T97" fmla="*/ 41 h 117"/>
                <a:gd name="T98" fmla="*/ 101 w 151"/>
                <a:gd name="T99" fmla="*/ 48 h 117"/>
                <a:gd name="T100" fmla="*/ 109 w 151"/>
                <a:gd name="T101" fmla="*/ 36 h 117"/>
                <a:gd name="T102" fmla="*/ 130 w 151"/>
                <a:gd name="T103" fmla="*/ 22 h 117"/>
                <a:gd name="T104" fmla="*/ 127 w 151"/>
                <a:gd name="T105" fmla="*/ 21 h 117"/>
                <a:gd name="T106" fmla="*/ 123 w 151"/>
                <a:gd name="T107" fmla="*/ 20 h 117"/>
                <a:gd name="T108" fmla="*/ 120 w 151"/>
                <a:gd name="T109" fmla="*/ 19 h 117"/>
                <a:gd name="T110" fmla="*/ 121 w 151"/>
                <a:gd name="T111" fmla="*/ 19 h 117"/>
                <a:gd name="T112" fmla="*/ 125 w 151"/>
                <a:gd name="T113" fmla="*/ 17 h 117"/>
                <a:gd name="T114" fmla="*/ 126 w 151"/>
                <a:gd name="T115" fmla="*/ 3 h 117"/>
                <a:gd name="T116" fmla="*/ 116 w 151"/>
                <a:gd name="T117" fmla="*/ 1 h 117"/>
                <a:gd name="T118" fmla="*/ 99 w 151"/>
                <a:gd name="T119" fmla="*/ 7 h 117"/>
                <a:gd name="T120" fmla="*/ 89 w 151"/>
                <a:gd name="T121" fmla="*/ 9 h 117"/>
                <a:gd name="T122" fmla="*/ 84 w 151"/>
                <a:gd name="T123" fmla="*/ 10 h 117"/>
                <a:gd name="T124" fmla="*/ 74 w 151"/>
                <a:gd name="T125" fmla="*/ 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1" h="117">
                  <a:moveTo>
                    <a:pt x="66" y="0"/>
                  </a:moveTo>
                  <a:cubicBezTo>
                    <a:pt x="65" y="0"/>
                    <a:pt x="63" y="0"/>
                    <a:pt x="62" y="0"/>
                  </a:cubicBezTo>
                  <a:cubicBezTo>
                    <a:pt x="61" y="0"/>
                    <a:pt x="56" y="4"/>
                    <a:pt x="59" y="5"/>
                  </a:cubicBezTo>
                  <a:cubicBezTo>
                    <a:pt x="60" y="5"/>
                    <a:pt x="61" y="5"/>
                    <a:pt x="61" y="5"/>
                  </a:cubicBezTo>
                  <a:cubicBezTo>
                    <a:pt x="63" y="5"/>
                    <a:pt x="64" y="5"/>
                    <a:pt x="65" y="4"/>
                  </a:cubicBezTo>
                  <a:cubicBezTo>
                    <a:pt x="65" y="3"/>
                    <a:pt x="67" y="2"/>
                    <a:pt x="67" y="2"/>
                  </a:cubicBezTo>
                  <a:cubicBezTo>
                    <a:pt x="68" y="2"/>
                    <a:pt x="68" y="3"/>
                    <a:pt x="68" y="3"/>
                  </a:cubicBezTo>
                  <a:cubicBezTo>
                    <a:pt x="68" y="5"/>
                    <a:pt x="66" y="5"/>
                    <a:pt x="66" y="6"/>
                  </a:cubicBezTo>
                  <a:cubicBezTo>
                    <a:pt x="64" y="7"/>
                    <a:pt x="64" y="7"/>
                    <a:pt x="63" y="7"/>
                  </a:cubicBezTo>
                  <a:cubicBezTo>
                    <a:pt x="63" y="7"/>
                    <a:pt x="62" y="7"/>
                    <a:pt x="60" y="6"/>
                  </a:cubicBezTo>
                  <a:cubicBezTo>
                    <a:pt x="58" y="6"/>
                    <a:pt x="56" y="5"/>
                    <a:pt x="53" y="4"/>
                  </a:cubicBezTo>
                  <a:cubicBezTo>
                    <a:pt x="53" y="4"/>
                    <a:pt x="53" y="4"/>
                    <a:pt x="52" y="4"/>
                  </a:cubicBezTo>
                  <a:cubicBezTo>
                    <a:pt x="50" y="4"/>
                    <a:pt x="49" y="5"/>
                    <a:pt x="47" y="6"/>
                  </a:cubicBezTo>
                  <a:cubicBezTo>
                    <a:pt x="47" y="6"/>
                    <a:pt x="47" y="6"/>
                    <a:pt x="46" y="6"/>
                  </a:cubicBezTo>
                  <a:cubicBezTo>
                    <a:pt x="46" y="6"/>
                    <a:pt x="45" y="6"/>
                    <a:pt x="45" y="6"/>
                  </a:cubicBezTo>
                  <a:cubicBezTo>
                    <a:pt x="44" y="5"/>
                    <a:pt x="44" y="5"/>
                    <a:pt x="43" y="5"/>
                  </a:cubicBezTo>
                  <a:cubicBezTo>
                    <a:pt x="43" y="5"/>
                    <a:pt x="42" y="6"/>
                    <a:pt x="41" y="6"/>
                  </a:cubicBezTo>
                  <a:cubicBezTo>
                    <a:pt x="41" y="9"/>
                    <a:pt x="41" y="9"/>
                    <a:pt x="41" y="9"/>
                  </a:cubicBezTo>
                  <a:cubicBezTo>
                    <a:pt x="40" y="10"/>
                    <a:pt x="39" y="9"/>
                    <a:pt x="40" y="11"/>
                  </a:cubicBezTo>
                  <a:cubicBezTo>
                    <a:pt x="40" y="12"/>
                    <a:pt x="40" y="12"/>
                    <a:pt x="40" y="12"/>
                  </a:cubicBezTo>
                  <a:cubicBezTo>
                    <a:pt x="41" y="12"/>
                    <a:pt x="41" y="12"/>
                    <a:pt x="41" y="12"/>
                  </a:cubicBezTo>
                  <a:cubicBezTo>
                    <a:pt x="41" y="12"/>
                    <a:pt x="41" y="12"/>
                    <a:pt x="41" y="12"/>
                  </a:cubicBezTo>
                  <a:cubicBezTo>
                    <a:pt x="41" y="12"/>
                    <a:pt x="41" y="12"/>
                    <a:pt x="41" y="12"/>
                  </a:cubicBezTo>
                  <a:cubicBezTo>
                    <a:pt x="44" y="14"/>
                    <a:pt x="45" y="14"/>
                    <a:pt x="48" y="15"/>
                  </a:cubicBezTo>
                  <a:cubicBezTo>
                    <a:pt x="54" y="15"/>
                    <a:pt x="50" y="18"/>
                    <a:pt x="53" y="21"/>
                  </a:cubicBezTo>
                  <a:cubicBezTo>
                    <a:pt x="54" y="23"/>
                    <a:pt x="55" y="24"/>
                    <a:pt x="54" y="24"/>
                  </a:cubicBezTo>
                  <a:cubicBezTo>
                    <a:pt x="53" y="24"/>
                    <a:pt x="52" y="23"/>
                    <a:pt x="50" y="22"/>
                  </a:cubicBezTo>
                  <a:cubicBezTo>
                    <a:pt x="48" y="21"/>
                    <a:pt x="46" y="16"/>
                    <a:pt x="43" y="15"/>
                  </a:cubicBezTo>
                  <a:cubicBezTo>
                    <a:pt x="43" y="15"/>
                    <a:pt x="40" y="15"/>
                    <a:pt x="39" y="15"/>
                  </a:cubicBezTo>
                  <a:cubicBezTo>
                    <a:pt x="38" y="15"/>
                    <a:pt x="38" y="15"/>
                    <a:pt x="38" y="15"/>
                  </a:cubicBezTo>
                  <a:cubicBezTo>
                    <a:pt x="36" y="15"/>
                    <a:pt x="36" y="16"/>
                    <a:pt x="35" y="17"/>
                  </a:cubicBezTo>
                  <a:cubicBezTo>
                    <a:pt x="34" y="17"/>
                    <a:pt x="33" y="17"/>
                    <a:pt x="32" y="17"/>
                  </a:cubicBezTo>
                  <a:cubicBezTo>
                    <a:pt x="29" y="18"/>
                    <a:pt x="26" y="20"/>
                    <a:pt x="29" y="22"/>
                  </a:cubicBezTo>
                  <a:cubicBezTo>
                    <a:pt x="32" y="25"/>
                    <a:pt x="36" y="26"/>
                    <a:pt x="39" y="28"/>
                  </a:cubicBezTo>
                  <a:cubicBezTo>
                    <a:pt x="42" y="29"/>
                    <a:pt x="44" y="30"/>
                    <a:pt x="47" y="30"/>
                  </a:cubicBezTo>
                  <a:cubicBezTo>
                    <a:pt x="48" y="30"/>
                    <a:pt x="49" y="30"/>
                    <a:pt x="50" y="30"/>
                  </a:cubicBezTo>
                  <a:cubicBezTo>
                    <a:pt x="51" y="29"/>
                    <a:pt x="55" y="28"/>
                    <a:pt x="55" y="27"/>
                  </a:cubicBezTo>
                  <a:cubicBezTo>
                    <a:pt x="55" y="25"/>
                    <a:pt x="55" y="25"/>
                    <a:pt x="56" y="25"/>
                  </a:cubicBezTo>
                  <a:cubicBezTo>
                    <a:pt x="56" y="25"/>
                    <a:pt x="57" y="25"/>
                    <a:pt x="58" y="26"/>
                  </a:cubicBezTo>
                  <a:cubicBezTo>
                    <a:pt x="60" y="28"/>
                    <a:pt x="61" y="30"/>
                    <a:pt x="63" y="31"/>
                  </a:cubicBezTo>
                  <a:cubicBezTo>
                    <a:pt x="65" y="32"/>
                    <a:pt x="67" y="32"/>
                    <a:pt x="70" y="33"/>
                  </a:cubicBezTo>
                  <a:cubicBezTo>
                    <a:pt x="69" y="33"/>
                    <a:pt x="68" y="34"/>
                    <a:pt x="67" y="34"/>
                  </a:cubicBezTo>
                  <a:cubicBezTo>
                    <a:pt x="64" y="34"/>
                    <a:pt x="61" y="31"/>
                    <a:pt x="58" y="30"/>
                  </a:cubicBezTo>
                  <a:cubicBezTo>
                    <a:pt x="57" y="30"/>
                    <a:pt x="57" y="30"/>
                    <a:pt x="56" y="30"/>
                  </a:cubicBezTo>
                  <a:cubicBezTo>
                    <a:pt x="55" y="30"/>
                    <a:pt x="55" y="30"/>
                    <a:pt x="54" y="31"/>
                  </a:cubicBezTo>
                  <a:cubicBezTo>
                    <a:pt x="54" y="32"/>
                    <a:pt x="54" y="33"/>
                    <a:pt x="53" y="33"/>
                  </a:cubicBezTo>
                  <a:cubicBezTo>
                    <a:pt x="53" y="34"/>
                    <a:pt x="52" y="34"/>
                    <a:pt x="51" y="35"/>
                  </a:cubicBezTo>
                  <a:cubicBezTo>
                    <a:pt x="50" y="37"/>
                    <a:pt x="53" y="38"/>
                    <a:pt x="54" y="38"/>
                  </a:cubicBezTo>
                  <a:cubicBezTo>
                    <a:pt x="54" y="38"/>
                    <a:pt x="54" y="38"/>
                    <a:pt x="54" y="38"/>
                  </a:cubicBezTo>
                  <a:cubicBezTo>
                    <a:pt x="55" y="38"/>
                    <a:pt x="56" y="36"/>
                    <a:pt x="58" y="36"/>
                  </a:cubicBezTo>
                  <a:cubicBezTo>
                    <a:pt x="58" y="36"/>
                    <a:pt x="58" y="36"/>
                    <a:pt x="59" y="36"/>
                  </a:cubicBezTo>
                  <a:cubicBezTo>
                    <a:pt x="60" y="37"/>
                    <a:pt x="63" y="42"/>
                    <a:pt x="61" y="42"/>
                  </a:cubicBezTo>
                  <a:cubicBezTo>
                    <a:pt x="61" y="42"/>
                    <a:pt x="61" y="42"/>
                    <a:pt x="61" y="42"/>
                  </a:cubicBezTo>
                  <a:cubicBezTo>
                    <a:pt x="63" y="44"/>
                    <a:pt x="65" y="46"/>
                    <a:pt x="61" y="47"/>
                  </a:cubicBezTo>
                  <a:cubicBezTo>
                    <a:pt x="61" y="47"/>
                    <a:pt x="60" y="47"/>
                    <a:pt x="60" y="47"/>
                  </a:cubicBezTo>
                  <a:cubicBezTo>
                    <a:pt x="60" y="47"/>
                    <a:pt x="60" y="47"/>
                    <a:pt x="59" y="47"/>
                  </a:cubicBezTo>
                  <a:cubicBezTo>
                    <a:pt x="57" y="46"/>
                    <a:pt x="59" y="47"/>
                    <a:pt x="58" y="45"/>
                  </a:cubicBezTo>
                  <a:cubicBezTo>
                    <a:pt x="56" y="43"/>
                    <a:pt x="55" y="43"/>
                    <a:pt x="56" y="40"/>
                  </a:cubicBezTo>
                  <a:cubicBezTo>
                    <a:pt x="54" y="42"/>
                    <a:pt x="54" y="41"/>
                    <a:pt x="55" y="44"/>
                  </a:cubicBezTo>
                  <a:cubicBezTo>
                    <a:pt x="55" y="45"/>
                    <a:pt x="55" y="45"/>
                    <a:pt x="55" y="46"/>
                  </a:cubicBezTo>
                  <a:cubicBezTo>
                    <a:pt x="56" y="48"/>
                    <a:pt x="57" y="48"/>
                    <a:pt x="57" y="50"/>
                  </a:cubicBezTo>
                  <a:cubicBezTo>
                    <a:pt x="57" y="53"/>
                    <a:pt x="54" y="54"/>
                    <a:pt x="51" y="54"/>
                  </a:cubicBezTo>
                  <a:cubicBezTo>
                    <a:pt x="49" y="54"/>
                    <a:pt x="47" y="53"/>
                    <a:pt x="46" y="53"/>
                  </a:cubicBezTo>
                  <a:cubicBezTo>
                    <a:pt x="46" y="53"/>
                    <a:pt x="45" y="53"/>
                    <a:pt x="45" y="53"/>
                  </a:cubicBezTo>
                  <a:cubicBezTo>
                    <a:pt x="44" y="53"/>
                    <a:pt x="46" y="54"/>
                    <a:pt x="46" y="55"/>
                  </a:cubicBezTo>
                  <a:cubicBezTo>
                    <a:pt x="45" y="55"/>
                    <a:pt x="44" y="56"/>
                    <a:pt x="43" y="56"/>
                  </a:cubicBezTo>
                  <a:cubicBezTo>
                    <a:pt x="43" y="56"/>
                    <a:pt x="42" y="56"/>
                    <a:pt x="42" y="56"/>
                  </a:cubicBezTo>
                  <a:cubicBezTo>
                    <a:pt x="40" y="55"/>
                    <a:pt x="38" y="52"/>
                    <a:pt x="36" y="51"/>
                  </a:cubicBezTo>
                  <a:cubicBezTo>
                    <a:pt x="33" y="49"/>
                    <a:pt x="30" y="46"/>
                    <a:pt x="27" y="44"/>
                  </a:cubicBezTo>
                  <a:cubicBezTo>
                    <a:pt x="26" y="43"/>
                    <a:pt x="21" y="39"/>
                    <a:pt x="20" y="38"/>
                  </a:cubicBezTo>
                  <a:cubicBezTo>
                    <a:pt x="19" y="38"/>
                    <a:pt x="19" y="38"/>
                    <a:pt x="19" y="38"/>
                  </a:cubicBezTo>
                  <a:cubicBezTo>
                    <a:pt x="19" y="38"/>
                    <a:pt x="18" y="39"/>
                    <a:pt x="18" y="39"/>
                  </a:cubicBezTo>
                  <a:cubicBezTo>
                    <a:pt x="18" y="38"/>
                    <a:pt x="18" y="38"/>
                    <a:pt x="18" y="38"/>
                  </a:cubicBezTo>
                  <a:cubicBezTo>
                    <a:pt x="16" y="39"/>
                    <a:pt x="15" y="39"/>
                    <a:pt x="13" y="39"/>
                  </a:cubicBezTo>
                  <a:cubicBezTo>
                    <a:pt x="12" y="39"/>
                    <a:pt x="12" y="39"/>
                    <a:pt x="11" y="39"/>
                  </a:cubicBezTo>
                  <a:cubicBezTo>
                    <a:pt x="10" y="39"/>
                    <a:pt x="10" y="39"/>
                    <a:pt x="10" y="39"/>
                  </a:cubicBezTo>
                  <a:cubicBezTo>
                    <a:pt x="10" y="40"/>
                    <a:pt x="5" y="42"/>
                    <a:pt x="4" y="44"/>
                  </a:cubicBezTo>
                  <a:cubicBezTo>
                    <a:pt x="4" y="45"/>
                    <a:pt x="4" y="47"/>
                    <a:pt x="3" y="48"/>
                  </a:cubicBezTo>
                  <a:cubicBezTo>
                    <a:pt x="1" y="51"/>
                    <a:pt x="0" y="52"/>
                    <a:pt x="1" y="55"/>
                  </a:cubicBezTo>
                  <a:cubicBezTo>
                    <a:pt x="4" y="59"/>
                    <a:pt x="13" y="63"/>
                    <a:pt x="18" y="64"/>
                  </a:cubicBezTo>
                  <a:cubicBezTo>
                    <a:pt x="18" y="64"/>
                    <a:pt x="18" y="64"/>
                    <a:pt x="18" y="64"/>
                  </a:cubicBezTo>
                  <a:cubicBezTo>
                    <a:pt x="18" y="65"/>
                    <a:pt x="21" y="67"/>
                    <a:pt x="21" y="69"/>
                  </a:cubicBezTo>
                  <a:cubicBezTo>
                    <a:pt x="21" y="72"/>
                    <a:pt x="23" y="73"/>
                    <a:pt x="25" y="73"/>
                  </a:cubicBezTo>
                  <a:cubicBezTo>
                    <a:pt x="25" y="73"/>
                    <a:pt x="25" y="73"/>
                    <a:pt x="25" y="73"/>
                  </a:cubicBezTo>
                  <a:cubicBezTo>
                    <a:pt x="26" y="73"/>
                    <a:pt x="26" y="73"/>
                    <a:pt x="26" y="73"/>
                  </a:cubicBezTo>
                  <a:cubicBezTo>
                    <a:pt x="27" y="73"/>
                    <a:pt x="27" y="73"/>
                    <a:pt x="27" y="73"/>
                  </a:cubicBezTo>
                  <a:cubicBezTo>
                    <a:pt x="27" y="73"/>
                    <a:pt x="28" y="73"/>
                    <a:pt x="28" y="73"/>
                  </a:cubicBezTo>
                  <a:cubicBezTo>
                    <a:pt x="29" y="73"/>
                    <a:pt x="30" y="75"/>
                    <a:pt x="30" y="75"/>
                  </a:cubicBezTo>
                  <a:cubicBezTo>
                    <a:pt x="32" y="75"/>
                    <a:pt x="33" y="71"/>
                    <a:pt x="36" y="71"/>
                  </a:cubicBezTo>
                  <a:cubicBezTo>
                    <a:pt x="36" y="71"/>
                    <a:pt x="36" y="71"/>
                    <a:pt x="36" y="71"/>
                  </a:cubicBezTo>
                  <a:cubicBezTo>
                    <a:pt x="38" y="72"/>
                    <a:pt x="39" y="75"/>
                    <a:pt x="40" y="76"/>
                  </a:cubicBezTo>
                  <a:cubicBezTo>
                    <a:pt x="41" y="77"/>
                    <a:pt x="42" y="78"/>
                    <a:pt x="42" y="78"/>
                  </a:cubicBezTo>
                  <a:cubicBezTo>
                    <a:pt x="43" y="78"/>
                    <a:pt x="43" y="77"/>
                    <a:pt x="44" y="77"/>
                  </a:cubicBezTo>
                  <a:cubicBezTo>
                    <a:pt x="45" y="77"/>
                    <a:pt x="45" y="77"/>
                    <a:pt x="46" y="77"/>
                  </a:cubicBezTo>
                  <a:cubicBezTo>
                    <a:pt x="50" y="77"/>
                    <a:pt x="53" y="81"/>
                    <a:pt x="55" y="84"/>
                  </a:cubicBezTo>
                  <a:cubicBezTo>
                    <a:pt x="57" y="87"/>
                    <a:pt x="62" y="91"/>
                    <a:pt x="65" y="92"/>
                  </a:cubicBezTo>
                  <a:cubicBezTo>
                    <a:pt x="67" y="93"/>
                    <a:pt x="67" y="92"/>
                    <a:pt x="68" y="93"/>
                  </a:cubicBezTo>
                  <a:cubicBezTo>
                    <a:pt x="68" y="93"/>
                    <a:pt x="70" y="95"/>
                    <a:pt x="70" y="95"/>
                  </a:cubicBezTo>
                  <a:cubicBezTo>
                    <a:pt x="72" y="97"/>
                    <a:pt x="72" y="98"/>
                    <a:pt x="74" y="100"/>
                  </a:cubicBezTo>
                  <a:cubicBezTo>
                    <a:pt x="74" y="101"/>
                    <a:pt x="74" y="102"/>
                    <a:pt x="75" y="103"/>
                  </a:cubicBezTo>
                  <a:cubicBezTo>
                    <a:pt x="76" y="103"/>
                    <a:pt x="77" y="103"/>
                    <a:pt x="78" y="104"/>
                  </a:cubicBezTo>
                  <a:cubicBezTo>
                    <a:pt x="78" y="104"/>
                    <a:pt x="78" y="105"/>
                    <a:pt x="78" y="106"/>
                  </a:cubicBezTo>
                  <a:cubicBezTo>
                    <a:pt x="80" y="108"/>
                    <a:pt x="80" y="110"/>
                    <a:pt x="81" y="112"/>
                  </a:cubicBezTo>
                  <a:cubicBezTo>
                    <a:pt x="82" y="113"/>
                    <a:pt x="83" y="114"/>
                    <a:pt x="83" y="114"/>
                  </a:cubicBezTo>
                  <a:cubicBezTo>
                    <a:pt x="84" y="114"/>
                    <a:pt x="85" y="113"/>
                    <a:pt x="86" y="113"/>
                  </a:cubicBezTo>
                  <a:cubicBezTo>
                    <a:pt x="87" y="113"/>
                    <a:pt x="88" y="113"/>
                    <a:pt x="88" y="113"/>
                  </a:cubicBezTo>
                  <a:cubicBezTo>
                    <a:pt x="88" y="113"/>
                    <a:pt x="89" y="113"/>
                    <a:pt x="89" y="114"/>
                  </a:cubicBezTo>
                  <a:cubicBezTo>
                    <a:pt x="91" y="114"/>
                    <a:pt x="91" y="116"/>
                    <a:pt x="93" y="117"/>
                  </a:cubicBezTo>
                  <a:cubicBezTo>
                    <a:pt x="93" y="117"/>
                    <a:pt x="93" y="117"/>
                    <a:pt x="94" y="117"/>
                  </a:cubicBezTo>
                  <a:cubicBezTo>
                    <a:pt x="97" y="117"/>
                    <a:pt x="99" y="113"/>
                    <a:pt x="102" y="112"/>
                  </a:cubicBezTo>
                  <a:cubicBezTo>
                    <a:pt x="104" y="110"/>
                    <a:pt x="107" y="108"/>
                    <a:pt x="110" y="106"/>
                  </a:cubicBezTo>
                  <a:cubicBezTo>
                    <a:pt x="107" y="106"/>
                    <a:pt x="104" y="102"/>
                    <a:pt x="104" y="100"/>
                  </a:cubicBezTo>
                  <a:cubicBezTo>
                    <a:pt x="104" y="99"/>
                    <a:pt x="104" y="99"/>
                    <a:pt x="104" y="99"/>
                  </a:cubicBezTo>
                  <a:cubicBezTo>
                    <a:pt x="104" y="99"/>
                    <a:pt x="104" y="99"/>
                    <a:pt x="104" y="99"/>
                  </a:cubicBezTo>
                  <a:cubicBezTo>
                    <a:pt x="104" y="97"/>
                    <a:pt x="104" y="95"/>
                    <a:pt x="104" y="93"/>
                  </a:cubicBezTo>
                  <a:cubicBezTo>
                    <a:pt x="104" y="93"/>
                    <a:pt x="104" y="94"/>
                    <a:pt x="104" y="94"/>
                  </a:cubicBezTo>
                  <a:cubicBezTo>
                    <a:pt x="104" y="93"/>
                    <a:pt x="104" y="93"/>
                    <a:pt x="104" y="92"/>
                  </a:cubicBezTo>
                  <a:cubicBezTo>
                    <a:pt x="104" y="92"/>
                    <a:pt x="104" y="93"/>
                    <a:pt x="105" y="93"/>
                  </a:cubicBezTo>
                  <a:cubicBezTo>
                    <a:pt x="105" y="93"/>
                    <a:pt x="105" y="93"/>
                    <a:pt x="105" y="93"/>
                  </a:cubicBezTo>
                  <a:cubicBezTo>
                    <a:pt x="105" y="92"/>
                    <a:pt x="105" y="92"/>
                    <a:pt x="105" y="92"/>
                  </a:cubicBezTo>
                  <a:cubicBezTo>
                    <a:pt x="105" y="95"/>
                    <a:pt x="103" y="99"/>
                    <a:pt x="106" y="101"/>
                  </a:cubicBezTo>
                  <a:cubicBezTo>
                    <a:pt x="106" y="101"/>
                    <a:pt x="107" y="101"/>
                    <a:pt x="107" y="101"/>
                  </a:cubicBezTo>
                  <a:cubicBezTo>
                    <a:pt x="108" y="101"/>
                    <a:pt x="109" y="101"/>
                    <a:pt x="110" y="101"/>
                  </a:cubicBezTo>
                  <a:cubicBezTo>
                    <a:pt x="110" y="101"/>
                    <a:pt x="110" y="101"/>
                    <a:pt x="110" y="101"/>
                  </a:cubicBezTo>
                  <a:cubicBezTo>
                    <a:pt x="111" y="101"/>
                    <a:pt x="112" y="101"/>
                    <a:pt x="113" y="101"/>
                  </a:cubicBezTo>
                  <a:cubicBezTo>
                    <a:pt x="113" y="101"/>
                    <a:pt x="114" y="101"/>
                    <a:pt x="115" y="101"/>
                  </a:cubicBezTo>
                  <a:cubicBezTo>
                    <a:pt x="115" y="101"/>
                    <a:pt x="115" y="101"/>
                    <a:pt x="115" y="101"/>
                  </a:cubicBezTo>
                  <a:cubicBezTo>
                    <a:pt x="118" y="101"/>
                    <a:pt x="122" y="99"/>
                    <a:pt x="125" y="98"/>
                  </a:cubicBezTo>
                  <a:cubicBezTo>
                    <a:pt x="131" y="95"/>
                    <a:pt x="137" y="93"/>
                    <a:pt x="143" y="91"/>
                  </a:cubicBezTo>
                  <a:cubicBezTo>
                    <a:pt x="146" y="90"/>
                    <a:pt x="146" y="90"/>
                    <a:pt x="146" y="87"/>
                  </a:cubicBezTo>
                  <a:cubicBezTo>
                    <a:pt x="145" y="85"/>
                    <a:pt x="146" y="84"/>
                    <a:pt x="145" y="84"/>
                  </a:cubicBezTo>
                  <a:cubicBezTo>
                    <a:pt x="144" y="84"/>
                    <a:pt x="144" y="84"/>
                    <a:pt x="143" y="85"/>
                  </a:cubicBezTo>
                  <a:cubicBezTo>
                    <a:pt x="144" y="83"/>
                    <a:pt x="146" y="83"/>
                    <a:pt x="146" y="80"/>
                  </a:cubicBezTo>
                  <a:cubicBezTo>
                    <a:pt x="146" y="80"/>
                    <a:pt x="145" y="77"/>
                    <a:pt x="145" y="77"/>
                  </a:cubicBezTo>
                  <a:cubicBezTo>
                    <a:pt x="145" y="76"/>
                    <a:pt x="144" y="74"/>
                    <a:pt x="143" y="74"/>
                  </a:cubicBezTo>
                  <a:cubicBezTo>
                    <a:pt x="142" y="73"/>
                    <a:pt x="139" y="73"/>
                    <a:pt x="138" y="72"/>
                  </a:cubicBezTo>
                  <a:cubicBezTo>
                    <a:pt x="138" y="72"/>
                    <a:pt x="138" y="72"/>
                    <a:pt x="138" y="72"/>
                  </a:cubicBezTo>
                  <a:cubicBezTo>
                    <a:pt x="141" y="72"/>
                    <a:pt x="144" y="70"/>
                    <a:pt x="147" y="69"/>
                  </a:cubicBezTo>
                  <a:cubicBezTo>
                    <a:pt x="149" y="68"/>
                    <a:pt x="151" y="68"/>
                    <a:pt x="150" y="65"/>
                  </a:cubicBezTo>
                  <a:cubicBezTo>
                    <a:pt x="149" y="62"/>
                    <a:pt x="146" y="60"/>
                    <a:pt x="146" y="57"/>
                  </a:cubicBezTo>
                  <a:cubicBezTo>
                    <a:pt x="145" y="55"/>
                    <a:pt x="146" y="54"/>
                    <a:pt x="144" y="53"/>
                  </a:cubicBezTo>
                  <a:cubicBezTo>
                    <a:pt x="144" y="53"/>
                    <a:pt x="141" y="55"/>
                    <a:pt x="140" y="55"/>
                  </a:cubicBezTo>
                  <a:cubicBezTo>
                    <a:pt x="137" y="56"/>
                    <a:pt x="135" y="57"/>
                    <a:pt x="132" y="59"/>
                  </a:cubicBezTo>
                  <a:cubicBezTo>
                    <a:pt x="132" y="57"/>
                    <a:pt x="134" y="55"/>
                    <a:pt x="132" y="52"/>
                  </a:cubicBezTo>
                  <a:cubicBezTo>
                    <a:pt x="131" y="51"/>
                    <a:pt x="129" y="51"/>
                    <a:pt x="129" y="48"/>
                  </a:cubicBezTo>
                  <a:cubicBezTo>
                    <a:pt x="128" y="44"/>
                    <a:pt x="129" y="44"/>
                    <a:pt x="125" y="43"/>
                  </a:cubicBezTo>
                  <a:cubicBezTo>
                    <a:pt x="123" y="42"/>
                    <a:pt x="122" y="42"/>
                    <a:pt x="120" y="41"/>
                  </a:cubicBezTo>
                  <a:cubicBezTo>
                    <a:pt x="118" y="41"/>
                    <a:pt x="116" y="40"/>
                    <a:pt x="114" y="40"/>
                  </a:cubicBezTo>
                  <a:cubicBezTo>
                    <a:pt x="113" y="40"/>
                    <a:pt x="111" y="41"/>
                    <a:pt x="110" y="41"/>
                  </a:cubicBezTo>
                  <a:cubicBezTo>
                    <a:pt x="107" y="42"/>
                    <a:pt x="102" y="44"/>
                    <a:pt x="101" y="48"/>
                  </a:cubicBezTo>
                  <a:cubicBezTo>
                    <a:pt x="100" y="47"/>
                    <a:pt x="99" y="43"/>
                    <a:pt x="99" y="42"/>
                  </a:cubicBezTo>
                  <a:cubicBezTo>
                    <a:pt x="100" y="41"/>
                    <a:pt x="102" y="41"/>
                    <a:pt x="103" y="40"/>
                  </a:cubicBezTo>
                  <a:cubicBezTo>
                    <a:pt x="105" y="39"/>
                    <a:pt x="106" y="37"/>
                    <a:pt x="109" y="36"/>
                  </a:cubicBezTo>
                  <a:cubicBezTo>
                    <a:pt x="113" y="33"/>
                    <a:pt x="116" y="29"/>
                    <a:pt x="121" y="28"/>
                  </a:cubicBezTo>
                  <a:cubicBezTo>
                    <a:pt x="124" y="27"/>
                    <a:pt x="127" y="26"/>
                    <a:pt x="129" y="25"/>
                  </a:cubicBezTo>
                  <a:cubicBezTo>
                    <a:pt x="130" y="25"/>
                    <a:pt x="131" y="23"/>
                    <a:pt x="130" y="22"/>
                  </a:cubicBezTo>
                  <a:cubicBezTo>
                    <a:pt x="130" y="21"/>
                    <a:pt x="129" y="21"/>
                    <a:pt x="129" y="21"/>
                  </a:cubicBezTo>
                  <a:cubicBezTo>
                    <a:pt x="129" y="21"/>
                    <a:pt x="128" y="21"/>
                    <a:pt x="128" y="21"/>
                  </a:cubicBezTo>
                  <a:cubicBezTo>
                    <a:pt x="128" y="21"/>
                    <a:pt x="127" y="21"/>
                    <a:pt x="127" y="21"/>
                  </a:cubicBezTo>
                  <a:cubicBezTo>
                    <a:pt x="127" y="21"/>
                    <a:pt x="127" y="21"/>
                    <a:pt x="127" y="21"/>
                  </a:cubicBezTo>
                  <a:cubicBezTo>
                    <a:pt x="125" y="21"/>
                    <a:pt x="125" y="20"/>
                    <a:pt x="123" y="20"/>
                  </a:cubicBezTo>
                  <a:cubicBezTo>
                    <a:pt x="123" y="20"/>
                    <a:pt x="123" y="20"/>
                    <a:pt x="123" y="20"/>
                  </a:cubicBezTo>
                  <a:cubicBezTo>
                    <a:pt x="123" y="20"/>
                    <a:pt x="122" y="20"/>
                    <a:pt x="122" y="21"/>
                  </a:cubicBezTo>
                  <a:cubicBezTo>
                    <a:pt x="122" y="21"/>
                    <a:pt x="121" y="21"/>
                    <a:pt x="121" y="21"/>
                  </a:cubicBezTo>
                  <a:cubicBezTo>
                    <a:pt x="121" y="21"/>
                    <a:pt x="121" y="21"/>
                    <a:pt x="120" y="19"/>
                  </a:cubicBezTo>
                  <a:cubicBezTo>
                    <a:pt x="120" y="19"/>
                    <a:pt x="120" y="18"/>
                    <a:pt x="120" y="18"/>
                  </a:cubicBezTo>
                  <a:cubicBezTo>
                    <a:pt x="120" y="18"/>
                    <a:pt x="120" y="18"/>
                    <a:pt x="121" y="18"/>
                  </a:cubicBezTo>
                  <a:cubicBezTo>
                    <a:pt x="121" y="19"/>
                    <a:pt x="121" y="19"/>
                    <a:pt x="121" y="19"/>
                  </a:cubicBezTo>
                  <a:cubicBezTo>
                    <a:pt x="122" y="19"/>
                    <a:pt x="122" y="19"/>
                    <a:pt x="122" y="18"/>
                  </a:cubicBezTo>
                  <a:cubicBezTo>
                    <a:pt x="123" y="18"/>
                    <a:pt x="123" y="16"/>
                    <a:pt x="124" y="16"/>
                  </a:cubicBezTo>
                  <a:cubicBezTo>
                    <a:pt x="124" y="16"/>
                    <a:pt x="125" y="16"/>
                    <a:pt x="125" y="17"/>
                  </a:cubicBezTo>
                  <a:cubicBezTo>
                    <a:pt x="126" y="17"/>
                    <a:pt x="126" y="17"/>
                    <a:pt x="127" y="17"/>
                  </a:cubicBezTo>
                  <a:cubicBezTo>
                    <a:pt x="131" y="17"/>
                    <a:pt x="136" y="13"/>
                    <a:pt x="135" y="10"/>
                  </a:cubicBezTo>
                  <a:cubicBezTo>
                    <a:pt x="135" y="8"/>
                    <a:pt x="128" y="3"/>
                    <a:pt x="126" y="3"/>
                  </a:cubicBezTo>
                  <a:cubicBezTo>
                    <a:pt x="126" y="4"/>
                    <a:pt x="126" y="4"/>
                    <a:pt x="125" y="4"/>
                  </a:cubicBezTo>
                  <a:cubicBezTo>
                    <a:pt x="123" y="4"/>
                    <a:pt x="120" y="2"/>
                    <a:pt x="118" y="2"/>
                  </a:cubicBezTo>
                  <a:cubicBezTo>
                    <a:pt x="117" y="2"/>
                    <a:pt x="116" y="1"/>
                    <a:pt x="116" y="1"/>
                  </a:cubicBezTo>
                  <a:cubicBezTo>
                    <a:pt x="115" y="1"/>
                    <a:pt x="115" y="1"/>
                    <a:pt x="114" y="2"/>
                  </a:cubicBezTo>
                  <a:cubicBezTo>
                    <a:pt x="113" y="2"/>
                    <a:pt x="113" y="3"/>
                    <a:pt x="112" y="4"/>
                  </a:cubicBezTo>
                  <a:cubicBezTo>
                    <a:pt x="108" y="7"/>
                    <a:pt x="103" y="6"/>
                    <a:pt x="99" y="7"/>
                  </a:cubicBezTo>
                  <a:cubicBezTo>
                    <a:pt x="97" y="7"/>
                    <a:pt x="94" y="8"/>
                    <a:pt x="92" y="9"/>
                  </a:cubicBezTo>
                  <a:cubicBezTo>
                    <a:pt x="92" y="9"/>
                    <a:pt x="92" y="9"/>
                    <a:pt x="91" y="9"/>
                  </a:cubicBezTo>
                  <a:cubicBezTo>
                    <a:pt x="90" y="9"/>
                    <a:pt x="90" y="9"/>
                    <a:pt x="89" y="9"/>
                  </a:cubicBezTo>
                  <a:cubicBezTo>
                    <a:pt x="88" y="9"/>
                    <a:pt x="87" y="8"/>
                    <a:pt x="87" y="8"/>
                  </a:cubicBezTo>
                  <a:cubicBezTo>
                    <a:pt x="86" y="8"/>
                    <a:pt x="86" y="8"/>
                    <a:pt x="85" y="9"/>
                  </a:cubicBezTo>
                  <a:cubicBezTo>
                    <a:pt x="84" y="9"/>
                    <a:pt x="84" y="10"/>
                    <a:pt x="84" y="10"/>
                  </a:cubicBezTo>
                  <a:cubicBezTo>
                    <a:pt x="83" y="10"/>
                    <a:pt x="83" y="10"/>
                    <a:pt x="83" y="10"/>
                  </a:cubicBezTo>
                  <a:cubicBezTo>
                    <a:pt x="81" y="8"/>
                    <a:pt x="79" y="7"/>
                    <a:pt x="77" y="5"/>
                  </a:cubicBezTo>
                  <a:cubicBezTo>
                    <a:pt x="76" y="5"/>
                    <a:pt x="75" y="5"/>
                    <a:pt x="74" y="5"/>
                  </a:cubicBezTo>
                  <a:cubicBezTo>
                    <a:pt x="71" y="4"/>
                    <a:pt x="70" y="1"/>
                    <a:pt x="68" y="0"/>
                  </a:cubicBezTo>
                  <a:cubicBezTo>
                    <a:pt x="68" y="0"/>
                    <a:pt x="67" y="0"/>
                    <a:pt x="6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3" name="Freeform 286">
              <a:extLst>
                <a:ext uri="{FF2B5EF4-FFF2-40B4-BE49-F238E27FC236}">
                  <a16:creationId xmlns:a16="http://schemas.microsoft.com/office/drawing/2014/main" id="{83C5EE60-5950-4122-A550-5D3CB50E62A8}"/>
                </a:ext>
              </a:extLst>
            </p:cNvPr>
            <p:cNvSpPr>
              <a:spLocks/>
            </p:cNvSpPr>
            <p:nvPr/>
          </p:nvSpPr>
          <p:spPr bwMode="auto">
            <a:xfrm>
              <a:off x="8323254" y="2301109"/>
              <a:ext cx="612775" cy="390525"/>
            </a:xfrm>
            <a:custGeom>
              <a:avLst/>
              <a:gdLst>
                <a:gd name="T0" fmla="*/ 33 w 163"/>
                <a:gd name="T1" fmla="*/ 3 h 104"/>
                <a:gd name="T2" fmla="*/ 26 w 163"/>
                <a:gd name="T3" fmla="*/ 17 h 104"/>
                <a:gd name="T4" fmla="*/ 26 w 163"/>
                <a:gd name="T5" fmla="*/ 22 h 104"/>
                <a:gd name="T6" fmla="*/ 25 w 163"/>
                <a:gd name="T7" fmla="*/ 27 h 104"/>
                <a:gd name="T8" fmla="*/ 23 w 163"/>
                <a:gd name="T9" fmla="*/ 36 h 104"/>
                <a:gd name="T10" fmla="*/ 24 w 163"/>
                <a:gd name="T11" fmla="*/ 40 h 104"/>
                <a:gd name="T12" fmla="*/ 22 w 163"/>
                <a:gd name="T13" fmla="*/ 44 h 104"/>
                <a:gd name="T14" fmla="*/ 19 w 163"/>
                <a:gd name="T15" fmla="*/ 53 h 104"/>
                <a:gd name="T16" fmla="*/ 20 w 163"/>
                <a:gd name="T17" fmla="*/ 58 h 104"/>
                <a:gd name="T18" fmla="*/ 20 w 163"/>
                <a:gd name="T19" fmla="*/ 62 h 104"/>
                <a:gd name="T20" fmla="*/ 15 w 163"/>
                <a:gd name="T21" fmla="*/ 72 h 104"/>
                <a:gd name="T22" fmla="*/ 0 w 163"/>
                <a:gd name="T23" fmla="*/ 86 h 104"/>
                <a:gd name="T24" fmla="*/ 33 w 163"/>
                <a:gd name="T25" fmla="*/ 81 h 104"/>
                <a:gd name="T26" fmla="*/ 35 w 163"/>
                <a:gd name="T27" fmla="*/ 82 h 104"/>
                <a:gd name="T28" fmla="*/ 38 w 163"/>
                <a:gd name="T29" fmla="*/ 86 h 104"/>
                <a:gd name="T30" fmla="*/ 36 w 163"/>
                <a:gd name="T31" fmla="*/ 95 h 104"/>
                <a:gd name="T32" fmla="*/ 46 w 163"/>
                <a:gd name="T33" fmla="*/ 104 h 104"/>
                <a:gd name="T34" fmla="*/ 64 w 163"/>
                <a:gd name="T35" fmla="*/ 93 h 104"/>
                <a:gd name="T36" fmla="*/ 73 w 163"/>
                <a:gd name="T37" fmla="*/ 86 h 104"/>
                <a:gd name="T38" fmla="*/ 83 w 163"/>
                <a:gd name="T39" fmla="*/ 80 h 104"/>
                <a:gd name="T40" fmla="*/ 82 w 163"/>
                <a:gd name="T41" fmla="*/ 73 h 104"/>
                <a:gd name="T42" fmla="*/ 95 w 163"/>
                <a:gd name="T43" fmla="*/ 73 h 104"/>
                <a:gd name="T44" fmla="*/ 111 w 163"/>
                <a:gd name="T45" fmla="*/ 83 h 104"/>
                <a:gd name="T46" fmla="*/ 128 w 163"/>
                <a:gd name="T47" fmla="*/ 87 h 104"/>
                <a:gd name="T48" fmla="*/ 144 w 163"/>
                <a:gd name="T49" fmla="*/ 93 h 104"/>
                <a:gd name="T50" fmla="*/ 163 w 163"/>
                <a:gd name="T51" fmla="*/ 81 h 104"/>
                <a:gd name="T52" fmla="*/ 146 w 163"/>
                <a:gd name="T53" fmla="*/ 68 h 104"/>
                <a:gd name="T54" fmla="*/ 139 w 163"/>
                <a:gd name="T55" fmla="*/ 70 h 104"/>
                <a:gd name="T56" fmla="*/ 135 w 163"/>
                <a:gd name="T57" fmla="*/ 69 h 104"/>
                <a:gd name="T58" fmla="*/ 121 w 163"/>
                <a:gd name="T59" fmla="*/ 73 h 104"/>
                <a:gd name="T60" fmla="*/ 127 w 163"/>
                <a:gd name="T61" fmla="*/ 62 h 104"/>
                <a:gd name="T62" fmla="*/ 117 w 163"/>
                <a:gd name="T63" fmla="*/ 46 h 104"/>
                <a:gd name="T64" fmla="*/ 88 w 163"/>
                <a:gd name="T65" fmla="*/ 30 h 104"/>
                <a:gd name="T66" fmla="*/ 67 w 163"/>
                <a:gd name="T67" fmla="*/ 22 h 104"/>
                <a:gd name="T68" fmla="*/ 60 w 163"/>
                <a:gd name="T69" fmla="*/ 18 h 104"/>
                <a:gd name="T70" fmla="*/ 51 w 163"/>
                <a:gd name="T71" fmla="*/ 23 h 104"/>
                <a:gd name="T72" fmla="*/ 45 w 163"/>
                <a:gd name="T73" fmla="*/ 16 h 104"/>
                <a:gd name="T74" fmla="*/ 46 w 163"/>
                <a:gd name="T75" fmla="*/ 4 h 104"/>
                <a:gd name="T76" fmla="*/ 43 w 163"/>
                <a:gd name="T77" fmla="*/ 4 h 104"/>
                <a:gd name="T78" fmla="*/ 40 w 163"/>
                <a:gd name="T79" fmla="*/ 5 h 104"/>
                <a:gd name="T80" fmla="*/ 39 w 163"/>
                <a:gd name="T81"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104">
                  <a:moveTo>
                    <a:pt x="39" y="0"/>
                  </a:moveTo>
                  <a:cubicBezTo>
                    <a:pt x="37" y="0"/>
                    <a:pt x="34" y="2"/>
                    <a:pt x="33" y="3"/>
                  </a:cubicBezTo>
                  <a:cubicBezTo>
                    <a:pt x="29" y="6"/>
                    <a:pt x="29" y="8"/>
                    <a:pt x="27" y="13"/>
                  </a:cubicBezTo>
                  <a:cubicBezTo>
                    <a:pt x="27" y="14"/>
                    <a:pt x="26" y="16"/>
                    <a:pt x="26" y="17"/>
                  </a:cubicBezTo>
                  <a:cubicBezTo>
                    <a:pt x="25" y="18"/>
                    <a:pt x="25" y="19"/>
                    <a:pt x="25" y="20"/>
                  </a:cubicBezTo>
                  <a:cubicBezTo>
                    <a:pt x="25" y="21"/>
                    <a:pt x="26" y="21"/>
                    <a:pt x="26" y="22"/>
                  </a:cubicBezTo>
                  <a:cubicBezTo>
                    <a:pt x="26" y="23"/>
                    <a:pt x="25" y="23"/>
                    <a:pt x="24" y="24"/>
                  </a:cubicBezTo>
                  <a:cubicBezTo>
                    <a:pt x="24" y="25"/>
                    <a:pt x="25" y="26"/>
                    <a:pt x="25" y="27"/>
                  </a:cubicBezTo>
                  <a:cubicBezTo>
                    <a:pt x="25" y="28"/>
                    <a:pt x="25" y="30"/>
                    <a:pt x="25" y="31"/>
                  </a:cubicBezTo>
                  <a:cubicBezTo>
                    <a:pt x="25" y="33"/>
                    <a:pt x="23" y="34"/>
                    <a:pt x="23" y="36"/>
                  </a:cubicBezTo>
                  <a:cubicBezTo>
                    <a:pt x="23" y="37"/>
                    <a:pt x="24" y="37"/>
                    <a:pt x="24" y="38"/>
                  </a:cubicBezTo>
                  <a:cubicBezTo>
                    <a:pt x="25" y="39"/>
                    <a:pt x="24" y="39"/>
                    <a:pt x="24" y="40"/>
                  </a:cubicBezTo>
                  <a:cubicBezTo>
                    <a:pt x="24" y="42"/>
                    <a:pt x="24" y="42"/>
                    <a:pt x="24" y="42"/>
                  </a:cubicBezTo>
                  <a:cubicBezTo>
                    <a:pt x="24" y="42"/>
                    <a:pt x="22" y="43"/>
                    <a:pt x="22" y="44"/>
                  </a:cubicBezTo>
                  <a:cubicBezTo>
                    <a:pt x="21" y="45"/>
                    <a:pt x="20" y="47"/>
                    <a:pt x="20" y="49"/>
                  </a:cubicBezTo>
                  <a:cubicBezTo>
                    <a:pt x="19" y="51"/>
                    <a:pt x="19" y="51"/>
                    <a:pt x="19" y="53"/>
                  </a:cubicBezTo>
                  <a:cubicBezTo>
                    <a:pt x="19" y="54"/>
                    <a:pt x="19" y="55"/>
                    <a:pt x="19" y="56"/>
                  </a:cubicBezTo>
                  <a:cubicBezTo>
                    <a:pt x="19" y="57"/>
                    <a:pt x="20" y="57"/>
                    <a:pt x="20" y="58"/>
                  </a:cubicBezTo>
                  <a:cubicBezTo>
                    <a:pt x="20" y="58"/>
                    <a:pt x="20" y="59"/>
                    <a:pt x="20" y="60"/>
                  </a:cubicBezTo>
                  <a:cubicBezTo>
                    <a:pt x="20" y="61"/>
                    <a:pt x="20" y="61"/>
                    <a:pt x="20" y="62"/>
                  </a:cubicBezTo>
                  <a:cubicBezTo>
                    <a:pt x="21" y="64"/>
                    <a:pt x="23" y="65"/>
                    <a:pt x="24" y="66"/>
                  </a:cubicBezTo>
                  <a:cubicBezTo>
                    <a:pt x="25" y="70"/>
                    <a:pt x="18" y="71"/>
                    <a:pt x="15" y="72"/>
                  </a:cubicBezTo>
                  <a:cubicBezTo>
                    <a:pt x="11" y="74"/>
                    <a:pt x="8" y="75"/>
                    <a:pt x="5" y="78"/>
                  </a:cubicBezTo>
                  <a:cubicBezTo>
                    <a:pt x="2" y="81"/>
                    <a:pt x="1" y="83"/>
                    <a:pt x="0" y="86"/>
                  </a:cubicBezTo>
                  <a:cubicBezTo>
                    <a:pt x="7" y="85"/>
                    <a:pt x="14" y="84"/>
                    <a:pt x="22" y="83"/>
                  </a:cubicBezTo>
                  <a:cubicBezTo>
                    <a:pt x="26" y="83"/>
                    <a:pt x="29" y="82"/>
                    <a:pt x="33" y="81"/>
                  </a:cubicBezTo>
                  <a:cubicBezTo>
                    <a:pt x="34" y="81"/>
                    <a:pt x="34" y="81"/>
                    <a:pt x="34" y="81"/>
                  </a:cubicBezTo>
                  <a:cubicBezTo>
                    <a:pt x="35" y="81"/>
                    <a:pt x="34" y="82"/>
                    <a:pt x="35" y="82"/>
                  </a:cubicBezTo>
                  <a:cubicBezTo>
                    <a:pt x="35" y="83"/>
                    <a:pt x="35" y="83"/>
                    <a:pt x="36" y="84"/>
                  </a:cubicBezTo>
                  <a:cubicBezTo>
                    <a:pt x="37" y="85"/>
                    <a:pt x="37" y="85"/>
                    <a:pt x="38" y="86"/>
                  </a:cubicBezTo>
                  <a:cubicBezTo>
                    <a:pt x="38" y="87"/>
                    <a:pt x="38" y="90"/>
                    <a:pt x="37" y="91"/>
                  </a:cubicBezTo>
                  <a:cubicBezTo>
                    <a:pt x="37" y="92"/>
                    <a:pt x="36" y="94"/>
                    <a:pt x="36" y="95"/>
                  </a:cubicBezTo>
                  <a:cubicBezTo>
                    <a:pt x="37" y="99"/>
                    <a:pt x="42" y="103"/>
                    <a:pt x="45" y="104"/>
                  </a:cubicBezTo>
                  <a:cubicBezTo>
                    <a:pt x="45" y="104"/>
                    <a:pt x="46" y="104"/>
                    <a:pt x="46" y="104"/>
                  </a:cubicBezTo>
                  <a:cubicBezTo>
                    <a:pt x="50" y="104"/>
                    <a:pt x="54" y="101"/>
                    <a:pt x="57" y="100"/>
                  </a:cubicBezTo>
                  <a:cubicBezTo>
                    <a:pt x="60" y="98"/>
                    <a:pt x="62" y="97"/>
                    <a:pt x="64" y="93"/>
                  </a:cubicBezTo>
                  <a:cubicBezTo>
                    <a:pt x="65" y="92"/>
                    <a:pt x="64" y="91"/>
                    <a:pt x="65" y="90"/>
                  </a:cubicBezTo>
                  <a:cubicBezTo>
                    <a:pt x="67" y="88"/>
                    <a:pt x="71" y="88"/>
                    <a:pt x="73" y="86"/>
                  </a:cubicBezTo>
                  <a:cubicBezTo>
                    <a:pt x="75" y="86"/>
                    <a:pt x="76" y="84"/>
                    <a:pt x="77" y="83"/>
                  </a:cubicBezTo>
                  <a:cubicBezTo>
                    <a:pt x="79" y="82"/>
                    <a:pt x="83" y="82"/>
                    <a:pt x="83" y="80"/>
                  </a:cubicBezTo>
                  <a:cubicBezTo>
                    <a:pt x="84" y="79"/>
                    <a:pt x="84" y="77"/>
                    <a:pt x="83" y="76"/>
                  </a:cubicBezTo>
                  <a:cubicBezTo>
                    <a:pt x="83" y="75"/>
                    <a:pt x="84" y="74"/>
                    <a:pt x="82" y="73"/>
                  </a:cubicBezTo>
                  <a:cubicBezTo>
                    <a:pt x="87" y="70"/>
                    <a:pt x="93" y="67"/>
                    <a:pt x="98" y="66"/>
                  </a:cubicBezTo>
                  <a:cubicBezTo>
                    <a:pt x="100" y="68"/>
                    <a:pt x="96" y="71"/>
                    <a:pt x="95" y="73"/>
                  </a:cubicBezTo>
                  <a:cubicBezTo>
                    <a:pt x="98" y="73"/>
                    <a:pt x="111" y="72"/>
                    <a:pt x="113" y="77"/>
                  </a:cubicBezTo>
                  <a:cubicBezTo>
                    <a:pt x="113" y="79"/>
                    <a:pt x="104" y="82"/>
                    <a:pt x="111" y="83"/>
                  </a:cubicBezTo>
                  <a:cubicBezTo>
                    <a:pt x="115" y="84"/>
                    <a:pt x="118" y="84"/>
                    <a:pt x="121" y="85"/>
                  </a:cubicBezTo>
                  <a:cubicBezTo>
                    <a:pt x="124" y="86"/>
                    <a:pt x="126" y="86"/>
                    <a:pt x="128" y="87"/>
                  </a:cubicBezTo>
                  <a:cubicBezTo>
                    <a:pt x="132" y="89"/>
                    <a:pt x="137" y="90"/>
                    <a:pt x="141" y="92"/>
                  </a:cubicBezTo>
                  <a:cubicBezTo>
                    <a:pt x="141" y="92"/>
                    <a:pt x="143" y="93"/>
                    <a:pt x="144" y="93"/>
                  </a:cubicBezTo>
                  <a:cubicBezTo>
                    <a:pt x="145" y="93"/>
                    <a:pt x="146" y="92"/>
                    <a:pt x="146" y="91"/>
                  </a:cubicBezTo>
                  <a:cubicBezTo>
                    <a:pt x="151" y="87"/>
                    <a:pt x="157" y="84"/>
                    <a:pt x="163" y="81"/>
                  </a:cubicBezTo>
                  <a:cubicBezTo>
                    <a:pt x="160" y="80"/>
                    <a:pt x="155" y="79"/>
                    <a:pt x="152" y="76"/>
                  </a:cubicBezTo>
                  <a:cubicBezTo>
                    <a:pt x="149" y="74"/>
                    <a:pt x="148" y="70"/>
                    <a:pt x="146" y="68"/>
                  </a:cubicBezTo>
                  <a:cubicBezTo>
                    <a:pt x="146" y="70"/>
                    <a:pt x="145" y="70"/>
                    <a:pt x="144" y="70"/>
                  </a:cubicBezTo>
                  <a:cubicBezTo>
                    <a:pt x="142" y="70"/>
                    <a:pt x="141" y="70"/>
                    <a:pt x="139" y="70"/>
                  </a:cubicBezTo>
                  <a:cubicBezTo>
                    <a:pt x="138" y="69"/>
                    <a:pt x="136" y="69"/>
                    <a:pt x="135" y="69"/>
                  </a:cubicBezTo>
                  <a:cubicBezTo>
                    <a:pt x="135" y="69"/>
                    <a:pt x="135" y="69"/>
                    <a:pt x="135" y="69"/>
                  </a:cubicBezTo>
                  <a:cubicBezTo>
                    <a:pt x="133" y="70"/>
                    <a:pt x="135" y="71"/>
                    <a:pt x="133" y="71"/>
                  </a:cubicBezTo>
                  <a:cubicBezTo>
                    <a:pt x="129" y="72"/>
                    <a:pt x="125" y="72"/>
                    <a:pt x="121" y="73"/>
                  </a:cubicBezTo>
                  <a:cubicBezTo>
                    <a:pt x="122" y="68"/>
                    <a:pt x="129" y="71"/>
                    <a:pt x="130" y="67"/>
                  </a:cubicBezTo>
                  <a:cubicBezTo>
                    <a:pt x="131" y="65"/>
                    <a:pt x="128" y="64"/>
                    <a:pt x="127" y="62"/>
                  </a:cubicBezTo>
                  <a:cubicBezTo>
                    <a:pt x="126" y="60"/>
                    <a:pt x="127" y="59"/>
                    <a:pt x="127" y="57"/>
                  </a:cubicBezTo>
                  <a:cubicBezTo>
                    <a:pt x="126" y="54"/>
                    <a:pt x="120" y="48"/>
                    <a:pt x="117" y="46"/>
                  </a:cubicBezTo>
                  <a:cubicBezTo>
                    <a:pt x="114" y="45"/>
                    <a:pt x="111" y="43"/>
                    <a:pt x="108" y="41"/>
                  </a:cubicBezTo>
                  <a:cubicBezTo>
                    <a:pt x="101" y="38"/>
                    <a:pt x="95" y="33"/>
                    <a:pt x="88" y="30"/>
                  </a:cubicBezTo>
                  <a:cubicBezTo>
                    <a:pt x="85" y="29"/>
                    <a:pt x="83" y="29"/>
                    <a:pt x="80" y="29"/>
                  </a:cubicBezTo>
                  <a:cubicBezTo>
                    <a:pt x="74" y="27"/>
                    <a:pt x="71" y="27"/>
                    <a:pt x="67" y="22"/>
                  </a:cubicBezTo>
                  <a:cubicBezTo>
                    <a:pt x="66" y="20"/>
                    <a:pt x="64" y="17"/>
                    <a:pt x="62" y="17"/>
                  </a:cubicBezTo>
                  <a:cubicBezTo>
                    <a:pt x="62" y="17"/>
                    <a:pt x="61" y="17"/>
                    <a:pt x="60" y="18"/>
                  </a:cubicBezTo>
                  <a:cubicBezTo>
                    <a:pt x="56" y="21"/>
                    <a:pt x="58" y="25"/>
                    <a:pt x="53" y="27"/>
                  </a:cubicBezTo>
                  <a:cubicBezTo>
                    <a:pt x="53" y="25"/>
                    <a:pt x="52" y="24"/>
                    <a:pt x="51" y="23"/>
                  </a:cubicBezTo>
                  <a:cubicBezTo>
                    <a:pt x="51" y="22"/>
                    <a:pt x="52" y="21"/>
                    <a:pt x="51" y="20"/>
                  </a:cubicBezTo>
                  <a:cubicBezTo>
                    <a:pt x="50" y="18"/>
                    <a:pt x="46" y="18"/>
                    <a:pt x="45" y="16"/>
                  </a:cubicBezTo>
                  <a:cubicBezTo>
                    <a:pt x="43" y="13"/>
                    <a:pt x="47" y="15"/>
                    <a:pt x="49" y="13"/>
                  </a:cubicBezTo>
                  <a:cubicBezTo>
                    <a:pt x="51" y="11"/>
                    <a:pt x="48" y="5"/>
                    <a:pt x="46" y="4"/>
                  </a:cubicBezTo>
                  <a:cubicBezTo>
                    <a:pt x="45" y="4"/>
                    <a:pt x="45" y="4"/>
                    <a:pt x="45" y="4"/>
                  </a:cubicBezTo>
                  <a:cubicBezTo>
                    <a:pt x="44" y="4"/>
                    <a:pt x="43" y="4"/>
                    <a:pt x="43" y="4"/>
                  </a:cubicBezTo>
                  <a:cubicBezTo>
                    <a:pt x="42" y="5"/>
                    <a:pt x="41" y="5"/>
                    <a:pt x="41" y="5"/>
                  </a:cubicBezTo>
                  <a:cubicBezTo>
                    <a:pt x="40" y="5"/>
                    <a:pt x="40" y="5"/>
                    <a:pt x="40" y="5"/>
                  </a:cubicBezTo>
                  <a:cubicBezTo>
                    <a:pt x="38" y="4"/>
                    <a:pt x="40" y="1"/>
                    <a:pt x="39" y="0"/>
                  </a:cubicBezTo>
                  <a:cubicBezTo>
                    <a:pt x="39" y="0"/>
                    <a:pt x="39" y="0"/>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4" name="Freeform 287">
              <a:extLst>
                <a:ext uri="{FF2B5EF4-FFF2-40B4-BE49-F238E27FC236}">
                  <a16:creationId xmlns:a16="http://schemas.microsoft.com/office/drawing/2014/main" id="{8926B595-765D-4A94-BE38-C1B02AEF29A0}"/>
                </a:ext>
              </a:extLst>
            </p:cNvPr>
            <p:cNvSpPr>
              <a:spLocks/>
            </p:cNvSpPr>
            <p:nvPr/>
          </p:nvSpPr>
          <p:spPr bwMode="auto">
            <a:xfrm>
              <a:off x="7010391" y="1872484"/>
              <a:ext cx="52388" cy="38100"/>
            </a:xfrm>
            <a:custGeom>
              <a:avLst/>
              <a:gdLst>
                <a:gd name="T0" fmla="*/ 7 w 14"/>
                <a:gd name="T1" fmla="*/ 0 h 10"/>
                <a:gd name="T2" fmla="*/ 6 w 14"/>
                <a:gd name="T3" fmla="*/ 1 h 10"/>
                <a:gd name="T4" fmla="*/ 3 w 14"/>
                <a:gd name="T5" fmla="*/ 4 h 10"/>
                <a:gd name="T6" fmla="*/ 0 w 14"/>
                <a:gd name="T7" fmla="*/ 5 h 10"/>
                <a:gd name="T8" fmla="*/ 6 w 14"/>
                <a:gd name="T9" fmla="*/ 8 h 10"/>
                <a:gd name="T10" fmla="*/ 8 w 14"/>
                <a:gd name="T11" fmla="*/ 9 h 10"/>
                <a:gd name="T12" fmla="*/ 10 w 14"/>
                <a:gd name="T13" fmla="*/ 10 h 10"/>
                <a:gd name="T14" fmla="*/ 10 w 14"/>
                <a:gd name="T15" fmla="*/ 10 h 10"/>
                <a:gd name="T16" fmla="*/ 10 w 14"/>
                <a:gd name="T17" fmla="*/ 10 h 10"/>
                <a:gd name="T18" fmla="*/ 10 w 14"/>
                <a:gd name="T19" fmla="*/ 10 h 10"/>
                <a:gd name="T20" fmla="*/ 14 w 14"/>
                <a:gd name="T21" fmla="*/ 2 h 10"/>
                <a:gd name="T22" fmla="*/ 9 w 14"/>
                <a:gd name="T23" fmla="*/ 0 h 10"/>
                <a:gd name="T24" fmla="*/ 9 w 14"/>
                <a:gd name="T25" fmla="*/ 0 h 10"/>
                <a:gd name="T26" fmla="*/ 9 w 14"/>
                <a:gd name="T27" fmla="*/ 0 h 10"/>
                <a:gd name="T28" fmla="*/ 8 w 14"/>
                <a:gd name="T29" fmla="*/ 0 h 10"/>
                <a:gd name="T30" fmla="*/ 7 w 14"/>
                <a:gd name="T31" fmla="*/ 0 h 10"/>
                <a:gd name="T32" fmla="*/ 7 w 14"/>
                <a:gd name="T3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0">
                  <a:moveTo>
                    <a:pt x="7" y="0"/>
                  </a:moveTo>
                  <a:cubicBezTo>
                    <a:pt x="6" y="0"/>
                    <a:pt x="6" y="1"/>
                    <a:pt x="6" y="1"/>
                  </a:cubicBezTo>
                  <a:cubicBezTo>
                    <a:pt x="5" y="2"/>
                    <a:pt x="4" y="3"/>
                    <a:pt x="3" y="4"/>
                  </a:cubicBezTo>
                  <a:cubicBezTo>
                    <a:pt x="2" y="4"/>
                    <a:pt x="1" y="5"/>
                    <a:pt x="0" y="5"/>
                  </a:cubicBezTo>
                  <a:cubicBezTo>
                    <a:pt x="1" y="7"/>
                    <a:pt x="4" y="8"/>
                    <a:pt x="6" y="8"/>
                  </a:cubicBezTo>
                  <a:cubicBezTo>
                    <a:pt x="7" y="8"/>
                    <a:pt x="7" y="9"/>
                    <a:pt x="8" y="9"/>
                  </a:cubicBezTo>
                  <a:cubicBezTo>
                    <a:pt x="9" y="9"/>
                    <a:pt x="10" y="10"/>
                    <a:pt x="10" y="10"/>
                  </a:cubicBezTo>
                  <a:cubicBezTo>
                    <a:pt x="10" y="10"/>
                    <a:pt x="10" y="10"/>
                    <a:pt x="10" y="10"/>
                  </a:cubicBezTo>
                  <a:cubicBezTo>
                    <a:pt x="10" y="10"/>
                    <a:pt x="10" y="10"/>
                    <a:pt x="10" y="10"/>
                  </a:cubicBezTo>
                  <a:cubicBezTo>
                    <a:pt x="10" y="10"/>
                    <a:pt x="10" y="10"/>
                    <a:pt x="10" y="10"/>
                  </a:cubicBezTo>
                  <a:cubicBezTo>
                    <a:pt x="12" y="9"/>
                    <a:pt x="13" y="4"/>
                    <a:pt x="14" y="2"/>
                  </a:cubicBezTo>
                  <a:cubicBezTo>
                    <a:pt x="13" y="2"/>
                    <a:pt x="11" y="0"/>
                    <a:pt x="9" y="0"/>
                  </a:cubicBezTo>
                  <a:cubicBezTo>
                    <a:pt x="9" y="0"/>
                    <a:pt x="9" y="0"/>
                    <a:pt x="9" y="0"/>
                  </a:cubicBezTo>
                  <a:cubicBezTo>
                    <a:pt x="9" y="0"/>
                    <a:pt x="9" y="0"/>
                    <a:pt x="9" y="0"/>
                  </a:cubicBezTo>
                  <a:cubicBezTo>
                    <a:pt x="8" y="0"/>
                    <a:pt x="8" y="0"/>
                    <a:pt x="8" y="0"/>
                  </a:cubicBezTo>
                  <a:cubicBezTo>
                    <a:pt x="8" y="0"/>
                    <a:pt x="7" y="0"/>
                    <a:pt x="7"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5" name="Freeform 288">
              <a:extLst>
                <a:ext uri="{FF2B5EF4-FFF2-40B4-BE49-F238E27FC236}">
                  <a16:creationId xmlns:a16="http://schemas.microsoft.com/office/drawing/2014/main" id="{776C9214-D154-43D7-93C5-30EEC6EA97F0}"/>
                </a:ext>
              </a:extLst>
            </p:cNvPr>
            <p:cNvSpPr>
              <a:spLocks/>
            </p:cNvSpPr>
            <p:nvPr/>
          </p:nvSpPr>
          <p:spPr bwMode="auto">
            <a:xfrm>
              <a:off x="7959716" y="599309"/>
              <a:ext cx="63500" cy="11113"/>
            </a:xfrm>
            <a:custGeom>
              <a:avLst/>
              <a:gdLst>
                <a:gd name="T0" fmla="*/ 16 w 17"/>
                <a:gd name="T1" fmla="*/ 0 h 3"/>
                <a:gd name="T2" fmla="*/ 0 w 17"/>
                <a:gd name="T3" fmla="*/ 0 h 3"/>
                <a:gd name="T4" fmla="*/ 6 w 17"/>
                <a:gd name="T5" fmla="*/ 1 h 3"/>
                <a:gd name="T6" fmla="*/ 7 w 17"/>
                <a:gd name="T7" fmla="*/ 1 h 3"/>
                <a:gd name="T8" fmla="*/ 8 w 17"/>
                <a:gd name="T9" fmla="*/ 1 h 3"/>
                <a:gd name="T10" fmla="*/ 9 w 17"/>
                <a:gd name="T11" fmla="*/ 1 h 3"/>
                <a:gd name="T12" fmla="*/ 12 w 17"/>
                <a:gd name="T13" fmla="*/ 2 h 3"/>
                <a:gd name="T14" fmla="*/ 17 w 17"/>
                <a:gd name="T15" fmla="*/ 3 h 3"/>
                <a:gd name="T16" fmla="*/ 16 w 17"/>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3">
                  <a:moveTo>
                    <a:pt x="16" y="0"/>
                  </a:moveTo>
                  <a:cubicBezTo>
                    <a:pt x="0" y="0"/>
                    <a:pt x="0" y="0"/>
                    <a:pt x="0" y="0"/>
                  </a:cubicBezTo>
                  <a:cubicBezTo>
                    <a:pt x="2" y="0"/>
                    <a:pt x="4" y="1"/>
                    <a:pt x="6" y="1"/>
                  </a:cubicBezTo>
                  <a:cubicBezTo>
                    <a:pt x="6" y="1"/>
                    <a:pt x="7" y="1"/>
                    <a:pt x="7" y="1"/>
                  </a:cubicBezTo>
                  <a:cubicBezTo>
                    <a:pt x="7" y="1"/>
                    <a:pt x="8" y="1"/>
                    <a:pt x="8" y="1"/>
                  </a:cubicBezTo>
                  <a:cubicBezTo>
                    <a:pt x="8" y="1"/>
                    <a:pt x="9" y="1"/>
                    <a:pt x="9" y="1"/>
                  </a:cubicBezTo>
                  <a:cubicBezTo>
                    <a:pt x="10" y="1"/>
                    <a:pt x="11" y="1"/>
                    <a:pt x="12" y="2"/>
                  </a:cubicBezTo>
                  <a:cubicBezTo>
                    <a:pt x="14" y="3"/>
                    <a:pt x="15" y="2"/>
                    <a:pt x="17" y="3"/>
                  </a:cubicBezTo>
                  <a:cubicBezTo>
                    <a:pt x="17" y="2"/>
                    <a:pt x="16" y="1"/>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6" name="Freeform 289">
              <a:extLst>
                <a:ext uri="{FF2B5EF4-FFF2-40B4-BE49-F238E27FC236}">
                  <a16:creationId xmlns:a16="http://schemas.microsoft.com/office/drawing/2014/main" id="{1D246522-4729-4A33-91DC-8A27691665D6}"/>
                </a:ext>
              </a:extLst>
            </p:cNvPr>
            <p:cNvSpPr>
              <a:spLocks/>
            </p:cNvSpPr>
            <p:nvPr/>
          </p:nvSpPr>
          <p:spPr bwMode="auto">
            <a:xfrm>
              <a:off x="7550141" y="599309"/>
              <a:ext cx="1460500" cy="360363"/>
            </a:xfrm>
            <a:custGeom>
              <a:avLst/>
              <a:gdLst>
                <a:gd name="T0" fmla="*/ 61 w 389"/>
                <a:gd name="T1" fmla="*/ 1 h 96"/>
                <a:gd name="T2" fmla="*/ 12 w 389"/>
                <a:gd name="T3" fmla="*/ 6 h 96"/>
                <a:gd name="T4" fmla="*/ 19 w 389"/>
                <a:gd name="T5" fmla="*/ 13 h 96"/>
                <a:gd name="T6" fmla="*/ 28 w 389"/>
                <a:gd name="T7" fmla="*/ 12 h 96"/>
                <a:gd name="T8" fmla="*/ 51 w 389"/>
                <a:gd name="T9" fmla="*/ 12 h 96"/>
                <a:gd name="T10" fmla="*/ 59 w 389"/>
                <a:gd name="T11" fmla="*/ 10 h 96"/>
                <a:gd name="T12" fmla="*/ 80 w 389"/>
                <a:gd name="T13" fmla="*/ 19 h 96"/>
                <a:gd name="T14" fmla="*/ 93 w 389"/>
                <a:gd name="T15" fmla="*/ 39 h 96"/>
                <a:gd name="T16" fmla="*/ 94 w 389"/>
                <a:gd name="T17" fmla="*/ 43 h 96"/>
                <a:gd name="T18" fmla="*/ 85 w 389"/>
                <a:gd name="T19" fmla="*/ 62 h 96"/>
                <a:gd name="T20" fmla="*/ 98 w 389"/>
                <a:gd name="T21" fmla="*/ 85 h 96"/>
                <a:gd name="T22" fmla="*/ 106 w 389"/>
                <a:gd name="T23" fmla="*/ 88 h 96"/>
                <a:gd name="T24" fmla="*/ 113 w 389"/>
                <a:gd name="T25" fmla="*/ 88 h 96"/>
                <a:gd name="T26" fmla="*/ 120 w 389"/>
                <a:gd name="T27" fmla="*/ 86 h 96"/>
                <a:gd name="T28" fmla="*/ 128 w 389"/>
                <a:gd name="T29" fmla="*/ 89 h 96"/>
                <a:gd name="T30" fmla="*/ 139 w 389"/>
                <a:gd name="T31" fmla="*/ 92 h 96"/>
                <a:gd name="T32" fmla="*/ 145 w 389"/>
                <a:gd name="T33" fmla="*/ 93 h 96"/>
                <a:gd name="T34" fmla="*/ 155 w 389"/>
                <a:gd name="T35" fmla="*/ 92 h 96"/>
                <a:gd name="T36" fmla="*/ 157 w 389"/>
                <a:gd name="T37" fmla="*/ 91 h 96"/>
                <a:gd name="T38" fmla="*/ 163 w 389"/>
                <a:gd name="T39" fmla="*/ 79 h 96"/>
                <a:gd name="T40" fmla="*/ 174 w 389"/>
                <a:gd name="T41" fmla="*/ 80 h 96"/>
                <a:gd name="T42" fmla="*/ 178 w 389"/>
                <a:gd name="T43" fmla="*/ 82 h 96"/>
                <a:gd name="T44" fmla="*/ 184 w 389"/>
                <a:gd name="T45" fmla="*/ 94 h 96"/>
                <a:gd name="T46" fmla="*/ 196 w 389"/>
                <a:gd name="T47" fmla="*/ 96 h 96"/>
                <a:gd name="T48" fmla="*/ 204 w 389"/>
                <a:gd name="T49" fmla="*/ 95 h 96"/>
                <a:gd name="T50" fmla="*/ 211 w 389"/>
                <a:gd name="T51" fmla="*/ 94 h 96"/>
                <a:gd name="T52" fmla="*/ 225 w 389"/>
                <a:gd name="T53" fmla="*/ 95 h 96"/>
                <a:gd name="T54" fmla="*/ 233 w 389"/>
                <a:gd name="T55" fmla="*/ 95 h 96"/>
                <a:gd name="T56" fmla="*/ 248 w 389"/>
                <a:gd name="T57" fmla="*/ 91 h 96"/>
                <a:gd name="T58" fmla="*/ 257 w 389"/>
                <a:gd name="T59" fmla="*/ 86 h 96"/>
                <a:gd name="T60" fmla="*/ 266 w 389"/>
                <a:gd name="T61" fmla="*/ 94 h 96"/>
                <a:gd name="T62" fmla="*/ 295 w 389"/>
                <a:gd name="T63" fmla="*/ 83 h 96"/>
                <a:gd name="T64" fmla="*/ 302 w 389"/>
                <a:gd name="T65" fmla="*/ 87 h 96"/>
                <a:gd name="T66" fmla="*/ 335 w 389"/>
                <a:gd name="T67" fmla="*/ 96 h 96"/>
                <a:gd name="T68" fmla="*/ 369 w 389"/>
                <a:gd name="T69" fmla="*/ 83 h 96"/>
                <a:gd name="T70" fmla="*/ 368 w 389"/>
                <a:gd name="T71" fmla="*/ 75 h 96"/>
                <a:gd name="T72" fmla="*/ 389 w 389"/>
                <a:gd name="T73" fmla="*/ 76 h 96"/>
                <a:gd name="T74" fmla="*/ 363 w 389"/>
                <a:gd name="T75" fmla="*/ 70 h 96"/>
                <a:gd name="T76" fmla="*/ 377 w 389"/>
                <a:gd name="T77" fmla="*/ 49 h 96"/>
                <a:gd name="T78" fmla="*/ 374 w 389"/>
                <a:gd name="T79" fmla="*/ 46 h 96"/>
                <a:gd name="T80" fmla="*/ 352 w 389"/>
                <a:gd name="T81" fmla="*/ 42 h 96"/>
                <a:gd name="T82" fmla="*/ 334 w 389"/>
                <a:gd name="T83" fmla="*/ 33 h 96"/>
                <a:gd name="T84" fmla="*/ 302 w 389"/>
                <a:gd name="T85" fmla="*/ 37 h 96"/>
                <a:gd name="T86" fmla="*/ 278 w 389"/>
                <a:gd name="T87" fmla="*/ 36 h 96"/>
                <a:gd name="T88" fmla="*/ 274 w 389"/>
                <a:gd name="T89" fmla="*/ 38 h 96"/>
                <a:gd name="T90" fmla="*/ 257 w 389"/>
                <a:gd name="T91" fmla="*/ 41 h 96"/>
                <a:gd name="T92" fmla="*/ 245 w 389"/>
                <a:gd name="T93" fmla="*/ 44 h 96"/>
                <a:gd name="T94" fmla="*/ 234 w 389"/>
                <a:gd name="T95" fmla="*/ 52 h 96"/>
                <a:gd name="T96" fmla="*/ 204 w 389"/>
                <a:gd name="T97" fmla="*/ 43 h 96"/>
                <a:gd name="T98" fmla="*/ 192 w 389"/>
                <a:gd name="T99" fmla="*/ 45 h 96"/>
                <a:gd name="T100" fmla="*/ 168 w 389"/>
                <a:gd name="T101" fmla="*/ 43 h 96"/>
                <a:gd name="T102" fmla="*/ 156 w 389"/>
                <a:gd name="T103" fmla="*/ 46 h 96"/>
                <a:gd name="T104" fmla="*/ 150 w 389"/>
                <a:gd name="T105" fmla="*/ 43 h 96"/>
                <a:gd name="T106" fmla="*/ 155 w 389"/>
                <a:gd name="T107" fmla="*/ 33 h 96"/>
                <a:gd name="T108" fmla="*/ 141 w 389"/>
                <a:gd name="T109" fmla="*/ 24 h 96"/>
                <a:gd name="T110" fmla="*/ 123 w 389"/>
                <a:gd name="T111" fmla="*/ 25 h 96"/>
                <a:gd name="T112" fmla="*/ 115 w 389"/>
                <a:gd name="T113" fmla="*/ 24 h 96"/>
                <a:gd name="T114" fmla="*/ 136 w 389"/>
                <a:gd name="T115" fmla="*/ 21 h 96"/>
                <a:gd name="T116" fmla="*/ 112 w 389"/>
                <a:gd name="T117" fmla="*/ 14 h 96"/>
                <a:gd name="T118" fmla="*/ 142 w 389"/>
                <a:gd name="T119" fmla="*/ 16 h 96"/>
                <a:gd name="T120" fmla="*/ 131 w 389"/>
                <a:gd name="T121" fmla="*/ 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9" h="96">
                  <a:moveTo>
                    <a:pt x="108" y="0"/>
                  </a:moveTo>
                  <a:cubicBezTo>
                    <a:pt x="66" y="0"/>
                    <a:pt x="66" y="0"/>
                    <a:pt x="66" y="0"/>
                  </a:cubicBezTo>
                  <a:cubicBezTo>
                    <a:pt x="64" y="2"/>
                    <a:pt x="61" y="5"/>
                    <a:pt x="59" y="5"/>
                  </a:cubicBezTo>
                  <a:cubicBezTo>
                    <a:pt x="59" y="5"/>
                    <a:pt x="59" y="5"/>
                    <a:pt x="59" y="5"/>
                  </a:cubicBezTo>
                  <a:cubicBezTo>
                    <a:pt x="54" y="4"/>
                    <a:pt x="60" y="2"/>
                    <a:pt x="61" y="1"/>
                  </a:cubicBezTo>
                  <a:cubicBezTo>
                    <a:pt x="61" y="1"/>
                    <a:pt x="62" y="1"/>
                    <a:pt x="62" y="0"/>
                  </a:cubicBezTo>
                  <a:cubicBezTo>
                    <a:pt x="3" y="0"/>
                    <a:pt x="3" y="0"/>
                    <a:pt x="3" y="0"/>
                  </a:cubicBezTo>
                  <a:cubicBezTo>
                    <a:pt x="2" y="0"/>
                    <a:pt x="1" y="1"/>
                    <a:pt x="0" y="1"/>
                  </a:cubicBezTo>
                  <a:cubicBezTo>
                    <a:pt x="3" y="4"/>
                    <a:pt x="6" y="5"/>
                    <a:pt x="10" y="6"/>
                  </a:cubicBezTo>
                  <a:cubicBezTo>
                    <a:pt x="11" y="6"/>
                    <a:pt x="11" y="6"/>
                    <a:pt x="12" y="6"/>
                  </a:cubicBezTo>
                  <a:cubicBezTo>
                    <a:pt x="14" y="7"/>
                    <a:pt x="14" y="7"/>
                    <a:pt x="15" y="7"/>
                  </a:cubicBezTo>
                  <a:cubicBezTo>
                    <a:pt x="20" y="8"/>
                    <a:pt x="25" y="8"/>
                    <a:pt x="30" y="9"/>
                  </a:cubicBezTo>
                  <a:cubicBezTo>
                    <a:pt x="29" y="9"/>
                    <a:pt x="28" y="9"/>
                    <a:pt x="27" y="9"/>
                  </a:cubicBezTo>
                  <a:cubicBezTo>
                    <a:pt x="23" y="9"/>
                    <a:pt x="19" y="9"/>
                    <a:pt x="17" y="11"/>
                  </a:cubicBezTo>
                  <a:cubicBezTo>
                    <a:pt x="16" y="13"/>
                    <a:pt x="17" y="13"/>
                    <a:pt x="19" y="13"/>
                  </a:cubicBezTo>
                  <a:cubicBezTo>
                    <a:pt x="19" y="13"/>
                    <a:pt x="20" y="13"/>
                    <a:pt x="20" y="13"/>
                  </a:cubicBezTo>
                  <a:cubicBezTo>
                    <a:pt x="21" y="13"/>
                    <a:pt x="21" y="13"/>
                    <a:pt x="21" y="13"/>
                  </a:cubicBezTo>
                  <a:cubicBezTo>
                    <a:pt x="22" y="13"/>
                    <a:pt x="22" y="13"/>
                    <a:pt x="22" y="13"/>
                  </a:cubicBezTo>
                  <a:cubicBezTo>
                    <a:pt x="22" y="13"/>
                    <a:pt x="23" y="13"/>
                    <a:pt x="23" y="13"/>
                  </a:cubicBezTo>
                  <a:cubicBezTo>
                    <a:pt x="25" y="13"/>
                    <a:pt x="26" y="13"/>
                    <a:pt x="28" y="12"/>
                  </a:cubicBezTo>
                  <a:cubicBezTo>
                    <a:pt x="29" y="12"/>
                    <a:pt x="30" y="10"/>
                    <a:pt x="31" y="10"/>
                  </a:cubicBezTo>
                  <a:cubicBezTo>
                    <a:pt x="31" y="10"/>
                    <a:pt x="32" y="10"/>
                    <a:pt x="32" y="10"/>
                  </a:cubicBezTo>
                  <a:cubicBezTo>
                    <a:pt x="33" y="10"/>
                    <a:pt x="32" y="10"/>
                    <a:pt x="33" y="11"/>
                  </a:cubicBezTo>
                  <a:cubicBezTo>
                    <a:pt x="37" y="12"/>
                    <a:pt x="43" y="11"/>
                    <a:pt x="47" y="12"/>
                  </a:cubicBezTo>
                  <a:cubicBezTo>
                    <a:pt x="48" y="12"/>
                    <a:pt x="49" y="12"/>
                    <a:pt x="51" y="12"/>
                  </a:cubicBezTo>
                  <a:cubicBezTo>
                    <a:pt x="52" y="12"/>
                    <a:pt x="53" y="12"/>
                    <a:pt x="54" y="12"/>
                  </a:cubicBezTo>
                  <a:cubicBezTo>
                    <a:pt x="54" y="12"/>
                    <a:pt x="55" y="9"/>
                    <a:pt x="56" y="9"/>
                  </a:cubicBezTo>
                  <a:cubicBezTo>
                    <a:pt x="56" y="9"/>
                    <a:pt x="56" y="9"/>
                    <a:pt x="56" y="10"/>
                  </a:cubicBezTo>
                  <a:cubicBezTo>
                    <a:pt x="57" y="10"/>
                    <a:pt x="57" y="10"/>
                    <a:pt x="57" y="10"/>
                  </a:cubicBezTo>
                  <a:cubicBezTo>
                    <a:pt x="58" y="10"/>
                    <a:pt x="59" y="10"/>
                    <a:pt x="59" y="10"/>
                  </a:cubicBezTo>
                  <a:cubicBezTo>
                    <a:pt x="61" y="10"/>
                    <a:pt x="63" y="8"/>
                    <a:pt x="65" y="7"/>
                  </a:cubicBezTo>
                  <a:cubicBezTo>
                    <a:pt x="66" y="7"/>
                    <a:pt x="67" y="7"/>
                    <a:pt x="68" y="7"/>
                  </a:cubicBezTo>
                  <a:cubicBezTo>
                    <a:pt x="68" y="7"/>
                    <a:pt x="68" y="7"/>
                    <a:pt x="69" y="7"/>
                  </a:cubicBezTo>
                  <a:cubicBezTo>
                    <a:pt x="70" y="8"/>
                    <a:pt x="69" y="8"/>
                    <a:pt x="70" y="10"/>
                  </a:cubicBezTo>
                  <a:cubicBezTo>
                    <a:pt x="73" y="14"/>
                    <a:pt x="77" y="15"/>
                    <a:pt x="80" y="19"/>
                  </a:cubicBezTo>
                  <a:cubicBezTo>
                    <a:pt x="80" y="20"/>
                    <a:pt x="80" y="21"/>
                    <a:pt x="80" y="23"/>
                  </a:cubicBezTo>
                  <a:cubicBezTo>
                    <a:pt x="80" y="24"/>
                    <a:pt x="81" y="24"/>
                    <a:pt x="82" y="25"/>
                  </a:cubicBezTo>
                  <a:cubicBezTo>
                    <a:pt x="84" y="26"/>
                    <a:pt x="86" y="28"/>
                    <a:pt x="88" y="29"/>
                  </a:cubicBezTo>
                  <a:cubicBezTo>
                    <a:pt x="91" y="30"/>
                    <a:pt x="93" y="30"/>
                    <a:pt x="93" y="33"/>
                  </a:cubicBezTo>
                  <a:cubicBezTo>
                    <a:pt x="92" y="36"/>
                    <a:pt x="90" y="37"/>
                    <a:pt x="93" y="39"/>
                  </a:cubicBezTo>
                  <a:cubicBezTo>
                    <a:pt x="94" y="39"/>
                    <a:pt x="94" y="40"/>
                    <a:pt x="95" y="41"/>
                  </a:cubicBezTo>
                  <a:cubicBezTo>
                    <a:pt x="95" y="41"/>
                    <a:pt x="95" y="40"/>
                    <a:pt x="95" y="40"/>
                  </a:cubicBezTo>
                  <a:cubicBezTo>
                    <a:pt x="94" y="40"/>
                    <a:pt x="94" y="41"/>
                    <a:pt x="94" y="42"/>
                  </a:cubicBezTo>
                  <a:cubicBezTo>
                    <a:pt x="94" y="43"/>
                    <a:pt x="94" y="43"/>
                    <a:pt x="94" y="43"/>
                  </a:cubicBezTo>
                  <a:cubicBezTo>
                    <a:pt x="94" y="43"/>
                    <a:pt x="94" y="43"/>
                    <a:pt x="94" y="43"/>
                  </a:cubicBezTo>
                  <a:cubicBezTo>
                    <a:pt x="94" y="44"/>
                    <a:pt x="95" y="44"/>
                    <a:pt x="93" y="45"/>
                  </a:cubicBezTo>
                  <a:cubicBezTo>
                    <a:pt x="93" y="45"/>
                    <a:pt x="91" y="45"/>
                    <a:pt x="91" y="46"/>
                  </a:cubicBezTo>
                  <a:cubicBezTo>
                    <a:pt x="88" y="47"/>
                    <a:pt x="82" y="53"/>
                    <a:pt x="87" y="54"/>
                  </a:cubicBezTo>
                  <a:cubicBezTo>
                    <a:pt x="86" y="55"/>
                    <a:pt x="85" y="56"/>
                    <a:pt x="85" y="57"/>
                  </a:cubicBezTo>
                  <a:cubicBezTo>
                    <a:pt x="83" y="60"/>
                    <a:pt x="84" y="60"/>
                    <a:pt x="85" y="62"/>
                  </a:cubicBezTo>
                  <a:cubicBezTo>
                    <a:pt x="87" y="65"/>
                    <a:pt x="89" y="65"/>
                    <a:pt x="90" y="68"/>
                  </a:cubicBezTo>
                  <a:cubicBezTo>
                    <a:pt x="90" y="71"/>
                    <a:pt x="92" y="72"/>
                    <a:pt x="93" y="74"/>
                  </a:cubicBezTo>
                  <a:cubicBezTo>
                    <a:pt x="95" y="76"/>
                    <a:pt x="94" y="77"/>
                    <a:pt x="94" y="79"/>
                  </a:cubicBezTo>
                  <a:cubicBezTo>
                    <a:pt x="93" y="82"/>
                    <a:pt x="95" y="81"/>
                    <a:pt x="96" y="82"/>
                  </a:cubicBezTo>
                  <a:cubicBezTo>
                    <a:pt x="98" y="85"/>
                    <a:pt x="98" y="85"/>
                    <a:pt x="98" y="85"/>
                  </a:cubicBezTo>
                  <a:cubicBezTo>
                    <a:pt x="98" y="85"/>
                    <a:pt x="99" y="85"/>
                    <a:pt x="99" y="85"/>
                  </a:cubicBezTo>
                  <a:cubicBezTo>
                    <a:pt x="100" y="85"/>
                    <a:pt x="100" y="84"/>
                    <a:pt x="101" y="84"/>
                  </a:cubicBezTo>
                  <a:cubicBezTo>
                    <a:pt x="101" y="84"/>
                    <a:pt x="101" y="84"/>
                    <a:pt x="101" y="84"/>
                  </a:cubicBezTo>
                  <a:cubicBezTo>
                    <a:pt x="102" y="84"/>
                    <a:pt x="102" y="86"/>
                    <a:pt x="103" y="87"/>
                  </a:cubicBezTo>
                  <a:cubicBezTo>
                    <a:pt x="104" y="87"/>
                    <a:pt x="106" y="88"/>
                    <a:pt x="106" y="88"/>
                  </a:cubicBezTo>
                  <a:cubicBezTo>
                    <a:pt x="106" y="88"/>
                    <a:pt x="106" y="88"/>
                    <a:pt x="107" y="88"/>
                  </a:cubicBezTo>
                  <a:cubicBezTo>
                    <a:pt x="108" y="88"/>
                    <a:pt x="109" y="87"/>
                    <a:pt x="109" y="87"/>
                  </a:cubicBezTo>
                  <a:cubicBezTo>
                    <a:pt x="110" y="86"/>
                    <a:pt x="110" y="85"/>
                    <a:pt x="110" y="85"/>
                  </a:cubicBezTo>
                  <a:cubicBezTo>
                    <a:pt x="111" y="85"/>
                    <a:pt x="111" y="86"/>
                    <a:pt x="111" y="87"/>
                  </a:cubicBezTo>
                  <a:cubicBezTo>
                    <a:pt x="112" y="88"/>
                    <a:pt x="112" y="88"/>
                    <a:pt x="113" y="88"/>
                  </a:cubicBezTo>
                  <a:cubicBezTo>
                    <a:pt x="113" y="88"/>
                    <a:pt x="114" y="88"/>
                    <a:pt x="114" y="87"/>
                  </a:cubicBezTo>
                  <a:cubicBezTo>
                    <a:pt x="113" y="84"/>
                    <a:pt x="113" y="84"/>
                    <a:pt x="115" y="83"/>
                  </a:cubicBezTo>
                  <a:cubicBezTo>
                    <a:pt x="118" y="81"/>
                    <a:pt x="121" y="78"/>
                    <a:pt x="124" y="77"/>
                  </a:cubicBezTo>
                  <a:cubicBezTo>
                    <a:pt x="125" y="80"/>
                    <a:pt x="119" y="83"/>
                    <a:pt x="118" y="85"/>
                  </a:cubicBezTo>
                  <a:cubicBezTo>
                    <a:pt x="119" y="86"/>
                    <a:pt x="119" y="86"/>
                    <a:pt x="120" y="86"/>
                  </a:cubicBezTo>
                  <a:cubicBezTo>
                    <a:pt x="120" y="86"/>
                    <a:pt x="121" y="85"/>
                    <a:pt x="121" y="85"/>
                  </a:cubicBezTo>
                  <a:cubicBezTo>
                    <a:pt x="122" y="85"/>
                    <a:pt x="122" y="84"/>
                    <a:pt x="123" y="84"/>
                  </a:cubicBezTo>
                  <a:cubicBezTo>
                    <a:pt x="123" y="84"/>
                    <a:pt x="123" y="84"/>
                    <a:pt x="123" y="84"/>
                  </a:cubicBezTo>
                  <a:cubicBezTo>
                    <a:pt x="124" y="85"/>
                    <a:pt x="124" y="86"/>
                    <a:pt x="125" y="87"/>
                  </a:cubicBezTo>
                  <a:cubicBezTo>
                    <a:pt x="125" y="88"/>
                    <a:pt x="127" y="89"/>
                    <a:pt x="128" y="89"/>
                  </a:cubicBezTo>
                  <a:cubicBezTo>
                    <a:pt x="129" y="90"/>
                    <a:pt x="130" y="90"/>
                    <a:pt x="131" y="90"/>
                  </a:cubicBezTo>
                  <a:cubicBezTo>
                    <a:pt x="131" y="90"/>
                    <a:pt x="131" y="90"/>
                    <a:pt x="131" y="90"/>
                  </a:cubicBezTo>
                  <a:cubicBezTo>
                    <a:pt x="131" y="90"/>
                    <a:pt x="131" y="90"/>
                    <a:pt x="131" y="90"/>
                  </a:cubicBezTo>
                  <a:cubicBezTo>
                    <a:pt x="133" y="90"/>
                    <a:pt x="132" y="90"/>
                    <a:pt x="134" y="90"/>
                  </a:cubicBezTo>
                  <a:cubicBezTo>
                    <a:pt x="136" y="91"/>
                    <a:pt x="137" y="92"/>
                    <a:pt x="139" y="92"/>
                  </a:cubicBezTo>
                  <a:cubicBezTo>
                    <a:pt x="140" y="92"/>
                    <a:pt x="140" y="92"/>
                    <a:pt x="140" y="92"/>
                  </a:cubicBezTo>
                  <a:cubicBezTo>
                    <a:pt x="140" y="92"/>
                    <a:pt x="140" y="91"/>
                    <a:pt x="141" y="91"/>
                  </a:cubicBezTo>
                  <a:cubicBezTo>
                    <a:pt x="141" y="91"/>
                    <a:pt x="141" y="91"/>
                    <a:pt x="141" y="91"/>
                  </a:cubicBezTo>
                  <a:cubicBezTo>
                    <a:pt x="142" y="91"/>
                    <a:pt x="142" y="92"/>
                    <a:pt x="142" y="92"/>
                  </a:cubicBezTo>
                  <a:cubicBezTo>
                    <a:pt x="143" y="92"/>
                    <a:pt x="143" y="93"/>
                    <a:pt x="145" y="93"/>
                  </a:cubicBezTo>
                  <a:cubicBezTo>
                    <a:pt x="145" y="93"/>
                    <a:pt x="145" y="93"/>
                    <a:pt x="145" y="93"/>
                  </a:cubicBezTo>
                  <a:cubicBezTo>
                    <a:pt x="147" y="93"/>
                    <a:pt x="149" y="92"/>
                    <a:pt x="150" y="92"/>
                  </a:cubicBezTo>
                  <a:cubicBezTo>
                    <a:pt x="151" y="92"/>
                    <a:pt x="151" y="92"/>
                    <a:pt x="151" y="92"/>
                  </a:cubicBezTo>
                  <a:cubicBezTo>
                    <a:pt x="152" y="93"/>
                    <a:pt x="152" y="93"/>
                    <a:pt x="152" y="93"/>
                  </a:cubicBezTo>
                  <a:cubicBezTo>
                    <a:pt x="153" y="93"/>
                    <a:pt x="154" y="92"/>
                    <a:pt x="155" y="92"/>
                  </a:cubicBezTo>
                  <a:cubicBezTo>
                    <a:pt x="155" y="92"/>
                    <a:pt x="155" y="91"/>
                    <a:pt x="156" y="91"/>
                  </a:cubicBezTo>
                  <a:cubicBezTo>
                    <a:pt x="156" y="91"/>
                    <a:pt x="156" y="91"/>
                    <a:pt x="156" y="91"/>
                  </a:cubicBezTo>
                  <a:cubicBezTo>
                    <a:pt x="156" y="91"/>
                    <a:pt x="157" y="91"/>
                    <a:pt x="157" y="91"/>
                  </a:cubicBezTo>
                  <a:cubicBezTo>
                    <a:pt x="157" y="91"/>
                    <a:pt x="157" y="91"/>
                    <a:pt x="157" y="91"/>
                  </a:cubicBezTo>
                  <a:cubicBezTo>
                    <a:pt x="157" y="91"/>
                    <a:pt x="157" y="91"/>
                    <a:pt x="157" y="91"/>
                  </a:cubicBezTo>
                  <a:cubicBezTo>
                    <a:pt x="160" y="90"/>
                    <a:pt x="162" y="91"/>
                    <a:pt x="162" y="88"/>
                  </a:cubicBezTo>
                  <a:cubicBezTo>
                    <a:pt x="161" y="86"/>
                    <a:pt x="159" y="85"/>
                    <a:pt x="159" y="83"/>
                  </a:cubicBezTo>
                  <a:cubicBezTo>
                    <a:pt x="160" y="83"/>
                    <a:pt x="161" y="84"/>
                    <a:pt x="162" y="84"/>
                  </a:cubicBezTo>
                  <a:cubicBezTo>
                    <a:pt x="163" y="84"/>
                    <a:pt x="163" y="84"/>
                    <a:pt x="163" y="84"/>
                  </a:cubicBezTo>
                  <a:cubicBezTo>
                    <a:pt x="164" y="84"/>
                    <a:pt x="163" y="80"/>
                    <a:pt x="163" y="79"/>
                  </a:cubicBezTo>
                  <a:cubicBezTo>
                    <a:pt x="164" y="80"/>
                    <a:pt x="166" y="81"/>
                    <a:pt x="167" y="83"/>
                  </a:cubicBezTo>
                  <a:cubicBezTo>
                    <a:pt x="167" y="84"/>
                    <a:pt x="167" y="87"/>
                    <a:pt x="168" y="87"/>
                  </a:cubicBezTo>
                  <a:cubicBezTo>
                    <a:pt x="168" y="87"/>
                    <a:pt x="169" y="87"/>
                    <a:pt x="169" y="87"/>
                  </a:cubicBezTo>
                  <a:cubicBezTo>
                    <a:pt x="170" y="86"/>
                    <a:pt x="172" y="79"/>
                    <a:pt x="173" y="79"/>
                  </a:cubicBezTo>
                  <a:cubicBezTo>
                    <a:pt x="173" y="79"/>
                    <a:pt x="173" y="79"/>
                    <a:pt x="174" y="80"/>
                  </a:cubicBezTo>
                  <a:cubicBezTo>
                    <a:pt x="174" y="79"/>
                    <a:pt x="175" y="76"/>
                    <a:pt x="176" y="76"/>
                  </a:cubicBezTo>
                  <a:cubicBezTo>
                    <a:pt x="176" y="76"/>
                    <a:pt x="176" y="77"/>
                    <a:pt x="177" y="78"/>
                  </a:cubicBezTo>
                  <a:cubicBezTo>
                    <a:pt x="177" y="79"/>
                    <a:pt x="177" y="81"/>
                    <a:pt x="177" y="81"/>
                  </a:cubicBezTo>
                  <a:cubicBezTo>
                    <a:pt x="177" y="82"/>
                    <a:pt x="180" y="81"/>
                    <a:pt x="181" y="82"/>
                  </a:cubicBezTo>
                  <a:cubicBezTo>
                    <a:pt x="180" y="82"/>
                    <a:pt x="179" y="82"/>
                    <a:pt x="178" y="82"/>
                  </a:cubicBezTo>
                  <a:cubicBezTo>
                    <a:pt x="180" y="86"/>
                    <a:pt x="170" y="93"/>
                    <a:pt x="178" y="95"/>
                  </a:cubicBezTo>
                  <a:cubicBezTo>
                    <a:pt x="179" y="95"/>
                    <a:pt x="180" y="95"/>
                    <a:pt x="181" y="95"/>
                  </a:cubicBezTo>
                  <a:cubicBezTo>
                    <a:pt x="181" y="95"/>
                    <a:pt x="181" y="95"/>
                    <a:pt x="181" y="95"/>
                  </a:cubicBezTo>
                  <a:cubicBezTo>
                    <a:pt x="182" y="95"/>
                    <a:pt x="184" y="94"/>
                    <a:pt x="184" y="94"/>
                  </a:cubicBezTo>
                  <a:cubicBezTo>
                    <a:pt x="184" y="94"/>
                    <a:pt x="184" y="94"/>
                    <a:pt x="184" y="94"/>
                  </a:cubicBezTo>
                  <a:cubicBezTo>
                    <a:pt x="186" y="94"/>
                    <a:pt x="187" y="96"/>
                    <a:pt x="189" y="96"/>
                  </a:cubicBezTo>
                  <a:cubicBezTo>
                    <a:pt x="190" y="96"/>
                    <a:pt x="190" y="96"/>
                    <a:pt x="190" y="96"/>
                  </a:cubicBezTo>
                  <a:cubicBezTo>
                    <a:pt x="191" y="96"/>
                    <a:pt x="192" y="94"/>
                    <a:pt x="193" y="94"/>
                  </a:cubicBezTo>
                  <a:cubicBezTo>
                    <a:pt x="193" y="94"/>
                    <a:pt x="193" y="94"/>
                    <a:pt x="193" y="94"/>
                  </a:cubicBezTo>
                  <a:cubicBezTo>
                    <a:pt x="193" y="94"/>
                    <a:pt x="195" y="96"/>
                    <a:pt x="196" y="96"/>
                  </a:cubicBezTo>
                  <a:cubicBezTo>
                    <a:pt x="196" y="96"/>
                    <a:pt x="196" y="96"/>
                    <a:pt x="196" y="96"/>
                  </a:cubicBezTo>
                  <a:cubicBezTo>
                    <a:pt x="197" y="96"/>
                    <a:pt x="198" y="96"/>
                    <a:pt x="199" y="96"/>
                  </a:cubicBezTo>
                  <a:cubicBezTo>
                    <a:pt x="200" y="96"/>
                    <a:pt x="201" y="94"/>
                    <a:pt x="201" y="94"/>
                  </a:cubicBezTo>
                  <a:cubicBezTo>
                    <a:pt x="201" y="94"/>
                    <a:pt x="201" y="94"/>
                    <a:pt x="201" y="94"/>
                  </a:cubicBezTo>
                  <a:cubicBezTo>
                    <a:pt x="202" y="94"/>
                    <a:pt x="203" y="94"/>
                    <a:pt x="204" y="95"/>
                  </a:cubicBezTo>
                  <a:cubicBezTo>
                    <a:pt x="204" y="95"/>
                    <a:pt x="205" y="96"/>
                    <a:pt x="207" y="96"/>
                  </a:cubicBezTo>
                  <a:cubicBezTo>
                    <a:pt x="207" y="96"/>
                    <a:pt x="207" y="96"/>
                    <a:pt x="207" y="96"/>
                  </a:cubicBezTo>
                  <a:cubicBezTo>
                    <a:pt x="208" y="96"/>
                    <a:pt x="209" y="96"/>
                    <a:pt x="210" y="95"/>
                  </a:cubicBezTo>
                  <a:cubicBezTo>
                    <a:pt x="210" y="95"/>
                    <a:pt x="210" y="94"/>
                    <a:pt x="211" y="94"/>
                  </a:cubicBezTo>
                  <a:cubicBezTo>
                    <a:pt x="211" y="94"/>
                    <a:pt x="211" y="94"/>
                    <a:pt x="211" y="94"/>
                  </a:cubicBezTo>
                  <a:cubicBezTo>
                    <a:pt x="211" y="94"/>
                    <a:pt x="211" y="95"/>
                    <a:pt x="212" y="96"/>
                  </a:cubicBezTo>
                  <a:cubicBezTo>
                    <a:pt x="213" y="96"/>
                    <a:pt x="215" y="96"/>
                    <a:pt x="217" y="96"/>
                  </a:cubicBezTo>
                  <a:cubicBezTo>
                    <a:pt x="218" y="96"/>
                    <a:pt x="219" y="96"/>
                    <a:pt x="220" y="96"/>
                  </a:cubicBezTo>
                  <a:cubicBezTo>
                    <a:pt x="218" y="95"/>
                    <a:pt x="216" y="92"/>
                    <a:pt x="216" y="89"/>
                  </a:cubicBezTo>
                  <a:cubicBezTo>
                    <a:pt x="217" y="91"/>
                    <a:pt x="221" y="95"/>
                    <a:pt x="225" y="95"/>
                  </a:cubicBezTo>
                  <a:cubicBezTo>
                    <a:pt x="226" y="95"/>
                    <a:pt x="226" y="95"/>
                    <a:pt x="227" y="95"/>
                  </a:cubicBezTo>
                  <a:cubicBezTo>
                    <a:pt x="228" y="94"/>
                    <a:pt x="229" y="90"/>
                    <a:pt x="230" y="90"/>
                  </a:cubicBezTo>
                  <a:cubicBezTo>
                    <a:pt x="230" y="90"/>
                    <a:pt x="230" y="90"/>
                    <a:pt x="231" y="91"/>
                  </a:cubicBezTo>
                  <a:cubicBezTo>
                    <a:pt x="232" y="93"/>
                    <a:pt x="231" y="95"/>
                    <a:pt x="233" y="95"/>
                  </a:cubicBezTo>
                  <a:cubicBezTo>
                    <a:pt x="233" y="95"/>
                    <a:pt x="233" y="95"/>
                    <a:pt x="233" y="95"/>
                  </a:cubicBezTo>
                  <a:cubicBezTo>
                    <a:pt x="234" y="95"/>
                    <a:pt x="235" y="95"/>
                    <a:pt x="236" y="95"/>
                  </a:cubicBezTo>
                  <a:cubicBezTo>
                    <a:pt x="238" y="95"/>
                    <a:pt x="240" y="95"/>
                    <a:pt x="243" y="95"/>
                  </a:cubicBezTo>
                  <a:cubicBezTo>
                    <a:pt x="248" y="95"/>
                    <a:pt x="245" y="91"/>
                    <a:pt x="245" y="87"/>
                  </a:cubicBezTo>
                  <a:cubicBezTo>
                    <a:pt x="245" y="87"/>
                    <a:pt x="245" y="86"/>
                    <a:pt x="245" y="86"/>
                  </a:cubicBezTo>
                  <a:cubicBezTo>
                    <a:pt x="246" y="86"/>
                    <a:pt x="248" y="90"/>
                    <a:pt x="248" y="91"/>
                  </a:cubicBezTo>
                  <a:cubicBezTo>
                    <a:pt x="249" y="94"/>
                    <a:pt x="249" y="95"/>
                    <a:pt x="252" y="95"/>
                  </a:cubicBezTo>
                  <a:cubicBezTo>
                    <a:pt x="252" y="95"/>
                    <a:pt x="252" y="95"/>
                    <a:pt x="253" y="95"/>
                  </a:cubicBezTo>
                  <a:cubicBezTo>
                    <a:pt x="259" y="94"/>
                    <a:pt x="254" y="88"/>
                    <a:pt x="257" y="86"/>
                  </a:cubicBezTo>
                  <a:cubicBezTo>
                    <a:pt x="257" y="85"/>
                    <a:pt x="257" y="84"/>
                    <a:pt x="257" y="83"/>
                  </a:cubicBezTo>
                  <a:cubicBezTo>
                    <a:pt x="257" y="84"/>
                    <a:pt x="257" y="85"/>
                    <a:pt x="257" y="86"/>
                  </a:cubicBezTo>
                  <a:cubicBezTo>
                    <a:pt x="258" y="88"/>
                    <a:pt x="258" y="93"/>
                    <a:pt x="260" y="94"/>
                  </a:cubicBezTo>
                  <a:cubicBezTo>
                    <a:pt x="260" y="94"/>
                    <a:pt x="260" y="94"/>
                    <a:pt x="261" y="94"/>
                  </a:cubicBezTo>
                  <a:cubicBezTo>
                    <a:pt x="261" y="94"/>
                    <a:pt x="262" y="94"/>
                    <a:pt x="263" y="94"/>
                  </a:cubicBezTo>
                  <a:cubicBezTo>
                    <a:pt x="263" y="94"/>
                    <a:pt x="264" y="94"/>
                    <a:pt x="264" y="94"/>
                  </a:cubicBezTo>
                  <a:cubicBezTo>
                    <a:pt x="265" y="94"/>
                    <a:pt x="265" y="94"/>
                    <a:pt x="266" y="94"/>
                  </a:cubicBezTo>
                  <a:cubicBezTo>
                    <a:pt x="268" y="94"/>
                    <a:pt x="269" y="94"/>
                    <a:pt x="271" y="94"/>
                  </a:cubicBezTo>
                  <a:cubicBezTo>
                    <a:pt x="273" y="94"/>
                    <a:pt x="276" y="94"/>
                    <a:pt x="278" y="93"/>
                  </a:cubicBezTo>
                  <a:cubicBezTo>
                    <a:pt x="283" y="92"/>
                    <a:pt x="287" y="93"/>
                    <a:pt x="291" y="92"/>
                  </a:cubicBezTo>
                  <a:cubicBezTo>
                    <a:pt x="293" y="91"/>
                    <a:pt x="293" y="89"/>
                    <a:pt x="294" y="87"/>
                  </a:cubicBezTo>
                  <a:cubicBezTo>
                    <a:pt x="295" y="85"/>
                    <a:pt x="295" y="85"/>
                    <a:pt x="295" y="83"/>
                  </a:cubicBezTo>
                  <a:cubicBezTo>
                    <a:pt x="295" y="81"/>
                    <a:pt x="292" y="79"/>
                    <a:pt x="292" y="76"/>
                  </a:cubicBezTo>
                  <a:cubicBezTo>
                    <a:pt x="294" y="76"/>
                    <a:pt x="296" y="80"/>
                    <a:pt x="299" y="80"/>
                  </a:cubicBezTo>
                  <a:cubicBezTo>
                    <a:pt x="299" y="80"/>
                    <a:pt x="299" y="80"/>
                    <a:pt x="299" y="80"/>
                  </a:cubicBezTo>
                  <a:cubicBezTo>
                    <a:pt x="299" y="80"/>
                    <a:pt x="299" y="80"/>
                    <a:pt x="299" y="80"/>
                  </a:cubicBezTo>
                  <a:cubicBezTo>
                    <a:pt x="304" y="80"/>
                    <a:pt x="300" y="83"/>
                    <a:pt x="302" y="87"/>
                  </a:cubicBezTo>
                  <a:cubicBezTo>
                    <a:pt x="303" y="90"/>
                    <a:pt x="308" y="94"/>
                    <a:pt x="313" y="94"/>
                  </a:cubicBezTo>
                  <a:cubicBezTo>
                    <a:pt x="314" y="94"/>
                    <a:pt x="316" y="94"/>
                    <a:pt x="316" y="92"/>
                  </a:cubicBezTo>
                  <a:cubicBezTo>
                    <a:pt x="316" y="94"/>
                    <a:pt x="324" y="96"/>
                    <a:pt x="326" y="96"/>
                  </a:cubicBezTo>
                  <a:cubicBezTo>
                    <a:pt x="329" y="96"/>
                    <a:pt x="331" y="96"/>
                    <a:pt x="333" y="96"/>
                  </a:cubicBezTo>
                  <a:cubicBezTo>
                    <a:pt x="333" y="96"/>
                    <a:pt x="334" y="96"/>
                    <a:pt x="335" y="96"/>
                  </a:cubicBezTo>
                  <a:cubicBezTo>
                    <a:pt x="342" y="95"/>
                    <a:pt x="350" y="94"/>
                    <a:pt x="357" y="93"/>
                  </a:cubicBezTo>
                  <a:cubicBezTo>
                    <a:pt x="361" y="92"/>
                    <a:pt x="367" y="93"/>
                    <a:pt x="369" y="90"/>
                  </a:cubicBezTo>
                  <a:cubicBezTo>
                    <a:pt x="370" y="88"/>
                    <a:pt x="369" y="89"/>
                    <a:pt x="369" y="88"/>
                  </a:cubicBezTo>
                  <a:cubicBezTo>
                    <a:pt x="369" y="87"/>
                    <a:pt x="370" y="86"/>
                    <a:pt x="370" y="85"/>
                  </a:cubicBezTo>
                  <a:cubicBezTo>
                    <a:pt x="369" y="83"/>
                    <a:pt x="369" y="83"/>
                    <a:pt x="369" y="83"/>
                  </a:cubicBezTo>
                  <a:cubicBezTo>
                    <a:pt x="369" y="82"/>
                    <a:pt x="371" y="82"/>
                    <a:pt x="371" y="80"/>
                  </a:cubicBezTo>
                  <a:cubicBezTo>
                    <a:pt x="370" y="78"/>
                    <a:pt x="367" y="78"/>
                    <a:pt x="367" y="75"/>
                  </a:cubicBezTo>
                  <a:cubicBezTo>
                    <a:pt x="367" y="75"/>
                    <a:pt x="367" y="75"/>
                    <a:pt x="367" y="75"/>
                  </a:cubicBezTo>
                  <a:cubicBezTo>
                    <a:pt x="367" y="75"/>
                    <a:pt x="367" y="75"/>
                    <a:pt x="368" y="75"/>
                  </a:cubicBezTo>
                  <a:cubicBezTo>
                    <a:pt x="368" y="75"/>
                    <a:pt x="368" y="75"/>
                    <a:pt x="368" y="75"/>
                  </a:cubicBezTo>
                  <a:cubicBezTo>
                    <a:pt x="369" y="75"/>
                    <a:pt x="369" y="75"/>
                    <a:pt x="370" y="75"/>
                  </a:cubicBezTo>
                  <a:cubicBezTo>
                    <a:pt x="371" y="76"/>
                    <a:pt x="369" y="77"/>
                    <a:pt x="370" y="78"/>
                  </a:cubicBezTo>
                  <a:cubicBezTo>
                    <a:pt x="370" y="78"/>
                    <a:pt x="371" y="78"/>
                    <a:pt x="371" y="78"/>
                  </a:cubicBezTo>
                  <a:cubicBezTo>
                    <a:pt x="374" y="78"/>
                    <a:pt x="378" y="77"/>
                    <a:pt x="379" y="77"/>
                  </a:cubicBezTo>
                  <a:cubicBezTo>
                    <a:pt x="382" y="77"/>
                    <a:pt x="386" y="77"/>
                    <a:pt x="389" y="76"/>
                  </a:cubicBezTo>
                  <a:cubicBezTo>
                    <a:pt x="385" y="74"/>
                    <a:pt x="385" y="71"/>
                    <a:pt x="382" y="70"/>
                  </a:cubicBezTo>
                  <a:cubicBezTo>
                    <a:pt x="381" y="70"/>
                    <a:pt x="380" y="70"/>
                    <a:pt x="380" y="70"/>
                  </a:cubicBezTo>
                  <a:cubicBezTo>
                    <a:pt x="378" y="70"/>
                    <a:pt x="377" y="71"/>
                    <a:pt x="376" y="71"/>
                  </a:cubicBezTo>
                  <a:cubicBezTo>
                    <a:pt x="373" y="73"/>
                    <a:pt x="371" y="73"/>
                    <a:pt x="368" y="74"/>
                  </a:cubicBezTo>
                  <a:cubicBezTo>
                    <a:pt x="370" y="71"/>
                    <a:pt x="365" y="71"/>
                    <a:pt x="363" y="70"/>
                  </a:cubicBezTo>
                  <a:cubicBezTo>
                    <a:pt x="371" y="66"/>
                    <a:pt x="379" y="62"/>
                    <a:pt x="386" y="59"/>
                  </a:cubicBezTo>
                  <a:cubicBezTo>
                    <a:pt x="385" y="58"/>
                    <a:pt x="385" y="57"/>
                    <a:pt x="385" y="55"/>
                  </a:cubicBezTo>
                  <a:cubicBezTo>
                    <a:pt x="385" y="53"/>
                    <a:pt x="384" y="54"/>
                    <a:pt x="384" y="53"/>
                  </a:cubicBezTo>
                  <a:cubicBezTo>
                    <a:pt x="382" y="50"/>
                    <a:pt x="383" y="50"/>
                    <a:pt x="380" y="49"/>
                  </a:cubicBezTo>
                  <a:cubicBezTo>
                    <a:pt x="379" y="49"/>
                    <a:pt x="378" y="49"/>
                    <a:pt x="377" y="49"/>
                  </a:cubicBezTo>
                  <a:cubicBezTo>
                    <a:pt x="376" y="49"/>
                    <a:pt x="375" y="49"/>
                    <a:pt x="373" y="50"/>
                  </a:cubicBezTo>
                  <a:cubicBezTo>
                    <a:pt x="372" y="50"/>
                    <a:pt x="371" y="50"/>
                    <a:pt x="369" y="50"/>
                  </a:cubicBezTo>
                  <a:cubicBezTo>
                    <a:pt x="368" y="50"/>
                    <a:pt x="367" y="50"/>
                    <a:pt x="366" y="49"/>
                  </a:cubicBezTo>
                  <a:cubicBezTo>
                    <a:pt x="368" y="48"/>
                    <a:pt x="372" y="48"/>
                    <a:pt x="374" y="46"/>
                  </a:cubicBezTo>
                  <a:cubicBezTo>
                    <a:pt x="374" y="46"/>
                    <a:pt x="374" y="46"/>
                    <a:pt x="374" y="46"/>
                  </a:cubicBezTo>
                  <a:cubicBezTo>
                    <a:pt x="372" y="46"/>
                    <a:pt x="371" y="44"/>
                    <a:pt x="369" y="43"/>
                  </a:cubicBezTo>
                  <a:cubicBezTo>
                    <a:pt x="367" y="42"/>
                    <a:pt x="364" y="41"/>
                    <a:pt x="362" y="41"/>
                  </a:cubicBezTo>
                  <a:cubicBezTo>
                    <a:pt x="362" y="41"/>
                    <a:pt x="361" y="41"/>
                    <a:pt x="361" y="41"/>
                  </a:cubicBezTo>
                  <a:cubicBezTo>
                    <a:pt x="359" y="41"/>
                    <a:pt x="356" y="42"/>
                    <a:pt x="354" y="42"/>
                  </a:cubicBezTo>
                  <a:cubicBezTo>
                    <a:pt x="353" y="42"/>
                    <a:pt x="352" y="42"/>
                    <a:pt x="352" y="42"/>
                  </a:cubicBezTo>
                  <a:cubicBezTo>
                    <a:pt x="351" y="42"/>
                    <a:pt x="351" y="42"/>
                    <a:pt x="351" y="42"/>
                  </a:cubicBezTo>
                  <a:cubicBezTo>
                    <a:pt x="348" y="41"/>
                    <a:pt x="349" y="38"/>
                    <a:pt x="347" y="36"/>
                  </a:cubicBezTo>
                  <a:cubicBezTo>
                    <a:pt x="346" y="34"/>
                    <a:pt x="340" y="34"/>
                    <a:pt x="338" y="34"/>
                  </a:cubicBezTo>
                  <a:cubicBezTo>
                    <a:pt x="337" y="33"/>
                    <a:pt x="336" y="33"/>
                    <a:pt x="335" y="33"/>
                  </a:cubicBezTo>
                  <a:cubicBezTo>
                    <a:pt x="335" y="33"/>
                    <a:pt x="334" y="33"/>
                    <a:pt x="334" y="33"/>
                  </a:cubicBezTo>
                  <a:cubicBezTo>
                    <a:pt x="333" y="33"/>
                    <a:pt x="333" y="33"/>
                    <a:pt x="332" y="33"/>
                  </a:cubicBezTo>
                  <a:cubicBezTo>
                    <a:pt x="332" y="33"/>
                    <a:pt x="331" y="33"/>
                    <a:pt x="331" y="33"/>
                  </a:cubicBezTo>
                  <a:cubicBezTo>
                    <a:pt x="327" y="33"/>
                    <a:pt x="323" y="32"/>
                    <a:pt x="320" y="32"/>
                  </a:cubicBezTo>
                  <a:cubicBezTo>
                    <a:pt x="318" y="32"/>
                    <a:pt x="317" y="32"/>
                    <a:pt x="316" y="33"/>
                  </a:cubicBezTo>
                  <a:cubicBezTo>
                    <a:pt x="311" y="33"/>
                    <a:pt x="307" y="36"/>
                    <a:pt x="302" y="37"/>
                  </a:cubicBezTo>
                  <a:cubicBezTo>
                    <a:pt x="302" y="37"/>
                    <a:pt x="301" y="37"/>
                    <a:pt x="300" y="37"/>
                  </a:cubicBezTo>
                  <a:cubicBezTo>
                    <a:pt x="298" y="37"/>
                    <a:pt x="295" y="36"/>
                    <a:pt x="293" y="35"/>
                  </a:cubicBezTo>
                  <a:cubicBezTo>
                    <a:pt x="289" y="34"/>
                    <a:pt x="286" y="33"/>
                    <a:pt x="282" y="33"/>
                  </a:cubicBezTo>
                  <a:cubicBezTo>
                    <a:pt x="282" y="33"/>
                    <a:pt x="282" y="33"/>
                    <a:pt x="282" y="33"/>
                  </a:cubicBezTo>
                  <a:cubicBezTo>
                    <a:pt x="284" y="34"/>
                    <a:pt x="280" y="35"/>
                    <a:pt x="278" y="36"/>
                  </a:cubicBezTo>
                  <a:cubicBezTo>
                    <a:pt x="278" y="36"/>
                    <a:pt x="278" y="36"/>
                    <a:pt x="278" y="36"/>
                  </a:cubicBezTo>
                  <a:cubicBezTo>
                    <a:pt x="278" y="36"/>
                    <a:pt x="277" y="36"/>
                    <a:pt x="277" y="36"/>
                  </a:cubicBezTo>
                  <a:cubicBezTo>
                    <a:pt x="277" y="36"/>
                    <a:pt x="277" y="36"/>
                    <a:pt x="277" y="36"/>
                  </a:cubicBezTo>
                  <a:cubicBezTo>
                    <a:pt x="276" y="36"/>
                    <a:pt x="276" y="36"/>
                    <a:pt x="276" y="36"/>
                  </a:cubicBezTo>
                  <a:cubicBezTo>
                    <a:pt x="275" y="36"/>
                    <a:pt x="275" y="38"/>
                    <a:pt x="274" y="38"/>
                  </a:cubicBezTo>
                  <a:cubicBezTo>
                    <a:pt x="271" y="40"/>
                    <a:pt x="261" y="38"/>
                    <a:pt x="269" y="42"/>
                  </a:cubicBezTo>
                  <a:cubicBezTo>
                    <a:pt x="268" y="42"/>
                    <a:pt x="268" y="42"/>
                    <a:pt x="267" y="42"/>
                  </a:cubicBezTo>
                  <a:cubicBezTo>
                    <a:pt x="266" y="42"/>
                    <a:pt x="264" y="42"/>
                    <a:pt x="263" y="41"/>
                  </a:cubicBezTo>
                  <a:cubicBezTo>
                    <a:pt x="261" y="41"/>
                    <a:pt x="260" y="41"/>
                    <a:pt x="258" y="41"/>
                  </a:cubicBezTo>
                  <a:cubicBezTo>
                    <a:pt x="258" y="41"/>
                    <a:pt x="258" y="41"/>
                    <a:pt x="257" y="41"/>
                  </a:cubicBezTo>
                  <a:cubicBezTo>
                    <a:pt x="257" y="41"/>
                    <a:pt x="257" y="41"/>
                    <a:pt x="257" y="41"/>
                  </a:cubicBezTo>
                  <a:cubicBezTo>
                    <a:pt x="257" y="41"/>
                    <a:pt x="257" y="41"/>
                    <a:pt x="257" y="41"/>
                  </a:cubicBezTo>
                  <a:cubicBezTo>
                    <a:pt x="257" y="41"/>
                    <a:pt x="256" y="41"/>
                    <a:pt x="256" y="41"/>
                  </a:cubicBezTo>
                  <a:cubicBezTo>
                    <a:pt x="258" y="42"/>
                    <a:pt x="247" y="44"/>
                    <a:pt x="252" y="45"/>
                  </a:cubicBezTo>
                  <a:cubicBezTo>
                    <a:pt x="250" y="45"/>
                    <a:pt x="247" y="44"/>
                    <a:pt x="245" y="44"/>
                  </a:cubicBezTo>
                  <a:cubicBezTo>
                    <a:pt x="245" y="44"/>
                    <a:pt x="244" y="44"/>
                    <a:pt x="244" y="44"/>
                  </a:cubicBezTo>
                  <a:cubicBezTo>
                    <a:pt x="243" y="44"/>
                    <a:pt x="241" y="46"/>
                    <a:pt x="239" y="46"/>
                  </a:cubicBezTo>
                  <a:cubicBezTo>
                    <a:pt x="236" y="46"/>
                    <a:pt x="234" y="46"/>
                    <a:pt x="231" y="48"/>
                  </a:cubicBezTo>
                  <a:cubicBezTo>
                    <a:pt x="236" y="50"/>
                    <a:pt x="241" y="51"/>
                    <a:pt x="245" y="53"/>
                  </a:cubicBezTo>
                  <a:cubicBezTo>
                    <a:pt x="241" y="53"/>
                    <a:pt x="238" y="52"/>
                    <a:pt x="234" y="52"/>
                  </a:cubicBezTo>
                  <a:cubicBezTo>
                    <a:pt x="233" y="52"/>
                    <a:pt x="232" y="52"/>
                    <a:pt x="232" y="52"/>
                  </a:cubicBezTo>
                  <a:cubicBezTo>
                    <a:pt x="229" y="52"/>
                    <a:pt x="226" y="54"/>
                    <a:pt x="223" y="54"/>
                  </a:cubicBezTo>
                  <a:cubicBezTo>
                    <a:pt x="221" y="54"/>
                    <a:pt x="220" y="53"/>
                    <a:pt x="218" y="52"/>
                  </a:cubicBezTo>
                  <a:cubicBezTo>
                    <a:pt x="215" y="50"/>
                    <a:pt x="208" y="43"/>
                    <a:pt x="204" y="43"/>
                  </a:cubicBezTo>
                  <a:cubicBezTo>
                    <a:pt x="204" y="43"/>
                    <a:pt x="204" y="43"/>
                    <a:pt x="204" y="43"/>
                  </a:cubicBezTo>
                  <a:cubicBezTo>
                    <a:pt x="202" y="43"/>
                    <a:pt x="200" y="45"/>
                    <a:pt x="199" y="47"/>
                  </a:cubicBezTo>
                  <a:cubicBezTo>
                    <a:pt x="198" y="48"/>
                    <a:pt x="198" y="49"/>
                    <a:pt x="197" y="49"/>
                  </a:cubicBezTo>
                  <a:cubicBezTo>
                    <a:pt x="197" y="49"/>
                    <a:pt x="196" y="48"/>
                    <a:pt x="195" y="47"/>
                  </a:cubicBezTo>
                  <a:cubicBezTo>
                    <a:pt x="195" y="45"/>
                    <a:pt x="194" y="45"/>
                    <a:pt x="194" y="45"/>
                  </a:cubicBezTo>
                  <a:cubicBezTo>
                    <a:pt x="193" y="45"/>
                    <a:pt x="193" y="45"/>
                    <a:pt x="192" y="45"/>
                  </a:cubicBezTo>
                  <a:cubicBezTo>
                    <a:pt x="190" y="46"/>
                    <a:pt x="185" y="49"/>
                    <a:pt x="182" y="49"/>
                  </a:cubicBezTo>
                  <a:cubicBezTo>
                    <a:pt x="182" y="49"/>
                    <a:pt x="182" y="49"/>
                    <a:pt x="182" y="49"/>
                  </a:cubicBezTo>
                  <a:cubicBezTo>
                    <a:pt x="180" y="48"/>
                    <a:pt x="175" y="40"/>
                    <a:pt x="172" y="40"/>
                  </a:cubicBezTo>
                  <a:cubicBezTo>
                    <a:pt x="171" y="40"/>
                    <a:pt x="171" y="40"/>
                    <a:pt x="171" y="40"/>
                  </a:cubicBezTo>
                  <a:cubicBezTo>
                    <a:pt x="168" y="43"/>
                    <a:pt x="168" y="43"/>
                    <a:pt x="168" y="43"/>
                  </a:cubicBezTo>
                  <a:cubicBezTo>
                    <a:pt x="168" y="44"/>
                    <a:pt x="168" y="43"/>
                    <a:pt x="168" y="44"/>
                  </a:cubicBezTo>
                  <a:cubicBezTo>
                    <a:pt x="167" y="44"/>
                    <a:pt x="169" y="46"/>
                    <a:pt x="169" y="46"/>
                  </a:cubicBezTo>
                  <a:cubicBezTo>
                    <a:pt x="168" y="46"/>
                    <a:pt x="167" y="46"/>
                    <a:pt x="165" y="46"/>
                  </a:cubicBezTo>
                  <a:cubicBezTo>
                    <a:pt x="163" y="46"/>
                    <a:pt x="160" y="46"/>
                    <a:pt x="158" y="46"/>
                  </a:cubicBezTo>
                  <a:cubicBezTo>
                    <a:pt x="157" y="46"/>
                    <a:pt x="157" y="46"/>
                    <a:pt x="156" y="46"/>
                  </a:cubicBezTo>
                  <a:cubicBezTo>
                    <a:pt x="156" y="46"/>
                    <a:pt x="156" y="46"/>
                    <a:pt x="155" y="46"/>
                  </a:cubicBezTo>
                  <a:cubicBezTo>
                    <a:pt x="155" y="46"/>
                    <a:pt x="155" y="46"/>
                    <a:pt x="154" y="46"/>
                  </a:cubicBezTo>
                  <a:cubicBezTo>
                    <a:pt x="152" y="46"/>
                    <a:pt x="149" y="46"/>
                    <a:pt x="147" y="44"/>
                  </a:cubicBezTo>
                  <a:cubicBezTo>
                    <a:pt x="148" y="44"/>
                    <a:pt x="149" y="43"/>
                    <a:pt x="150" y="43"/>
                  </a:cubicBezTo>
                  <a:cubicBezTo>
                    <a:pt x="150" y="43"/>
                    <a:pt x="150" y="43"/>
                    <a:pt x="150" y="43"/>
                  </a:cubicBezTo>
                  <a:cubicBezTo>
                    <a:pt x="151" y="43"/>
                    <a:pt x="151" y="43"/>
                    <a:pt x="151" y="43"/>
                  </a:cubicBezTo>
                  <a:cubicBezTo>
                    <a:pt x="151" y="43"/>
                    <a:pt x="152" y="43"/>
                    <a:pt x="152" y="43"/>
                  </a:cubicBezTo>
                  <a:cubicBezTo>
                    <a:pt x="152" y="43"/>
                    <a:pt x="152" y="43"/>
                    <a:pt x="152" y="43"/>
                  </a:cubicBezTo>
                  <a:cubicBezTo>
                    <a:pt x="154" y="43"/>
                    <a:pt x="158" y="43"/>
                    <a:pt x="159" y="42"/>
                  </a:cubicBezTo>
                  <a:cubicBezTo>
                    <a:pt x="161" y="39"/>
                    <a:pt x="156" y="34"/>
                    <a:pt x="155" y="33"/>
                  </a:cubicBezTo>
                  <a:cubicBezTo>
                    <a:pt x="154" y="32"/>
                    <a:pt x="153" y="31"/>
                    <a:pt x="152" y="31"/>
                  </a:cubicBezTo>
                  <a:cubicBezTo>
                    <a:pt x="150" y="31"/>
                    <a:pt x="149" y="33"/>
                    <a:pt x="147" y="34"/>
                  </a:cubicBezTo>
                  <a:cubicBezTo>
                    <a:pt x="146" y="33"/>
                    <a:pt x="148" y="32"/>
                    <a:pt x="148" y="31"/>
                  </a:cubicBezTo>
                  <a:cubicBezTo>
                    <a:pt x="147" y="30"/>
                    <a:pt x="144" y="24"/>
                    <a:pt x="142" y="24"/>
                  </a:cubicBezTo>
                  <a:cubicBezTo>
                    <a:pt x="142" y="24"/>
                    <a:pt x="142" y="24"/>
                    <a:pt x="141" y="24"/>
                  </a:cubicBezTo>
                  <a:cubicBezTo>
                    <a:pt x="140" y="24"/>
                    <a:pt x="141" y="25"/>
                    <a:pt x="139" y="26"/>
                  </a:cubicBezTo>
                  <a:cubicBezTo>
                    <a:pt x="139" y="26"/>
                    <a:pt x="138" y="26"/>
                    <a:pt x="137" y="26"/>
                  </a:cubicBezTo>
                  <a:cubicBezTo>
                    <a:pt x="137" y="26"/>
                    <a:pt x="136" y="26"/>
                    <a:pt x="135" y="26"/>
                  </a:cubicBezTo>
                  <a:cubicBezTo>
                    <a:pt x="133" y="26"/>
                    <a:pt x="128" y="25"/>
                    <a:pt x="125" y="25"/>
                  </a:cubicBezTo>
                  <a:cubicBezTo>
                    <a:pt x="124" y="25"/>
                    <a:pt x="124" y="25"/>
                    <a:pt x="123" y="25"/>
                  </a:cubicBezTo>
                  <a:cubicBezTo>
                    <a:pt x="122" y="25"/>
                    <a:pt x="122" y="27"/>
                    <a:pt x="121" y="28"/>
                  </a:cubicBezTo>
                  <a:cubicBezTo>
                    <a:pt x="119" y="29"/>
                    <a:pt x="117" y="31"/>
                    <a:pt x="115" y="32"/>
                  </a:cubicBezTo>
                  <a:cubicBezTo>
                    <a:pt x="116" y="29"/>
                    <a:pt x="115" y="30"/>
                    <a:pt x="117" y="28"/>
                  </a:cubicBezTo>
                  <a:cubicBezTo>
                    <a:pt x="118" y="27"/>
                    <a:pt x="119" y="28"/>
                    <a:pt x="119" y="27"/>
                  </a:cubicBezTo>
                  <a:cubicBezTo>
                    <a:pt x="119" y="26"/>
                    <a:pt x="116" y="24"/>
                    <a:pt x="115" y="24"/>
                  </a:cubicBezTo>
                  <a:cubicBezTo>
                    <a:pt x="116" y="23"/>
                    <a:pt x="117" y="23"/>
                    <a:pt x="118" y="23"/>
                  </a:cubicBezTo>
                  <a:cubicBezTo>
                    <a:pt x="118" y="23"/>
                    <a:pt x="119" y="23"/>
                    <a:pt x="119" y="23"/>
                  </a:cubicBezTo>
                  <a:cubicBezTo>
                    <a:pt x="120" y="24"/>
                    <a:pt x="121" y="24"/>
                    <a:pt x="121" y="24"/>
                  </a:cubicBezTo>
                  <a:cubicBezTo>
                    <a:pt x="122" y="24"/>
                    <a:pt x="122" y="24"/>
                    <a:pt x="122" y="24"/>
                  </a:cubicBezTo>
                  <a:cubicBezTo>
                    <a:pt x="127" y="23"/>
                    <a:pt x="132" y="23"/>
                    <a:pt x="136" y="21"/>
                  </a:cubicBezTo>
                  <a:cubicBezTo>
                    <a:pt x="127" y="20"/>
                    <a:pt x="118" y="19"/>
                    <a:pt x="109" y="17"/>
                  </a:cubicBezTo>
                  <a:cubicBezTo>
                    <a:pt x="110" y="17"/>
                    <a:pt x="110" y="16"/>
                    <a:pt x="111" y="16"/>
                  </a:cubicBezTo>
                  <a:cubicBezTo>
                    <a:pt x="109" y="14"/>
                    <a:pt x="106" y="13"/>
                    <a:pt x="104" y="12"/>
                  </a:cubicBezTo>
                  <a:cubicBezTo>
                    <a:pt x="105" y="12"/>
                    <a:pt x="105" y="12"/>
                    <a:pt x="105" y="12"/>
                  </a:cubicBezTo>
                  <a:cubicBezTo>
                    <a:pt x="108" y="12"/>
                    <a:pt x="110" y="13"/>
                    <a:pt x="112" y="14"/>
                  </a:cubicBezTo>
                  <a:cubicBezTo>
                    <a:pt x="115" y="15"/>
                    <a:pt x="117" y="15"/>
                    <a:pt x="120" y="16"/>
                  </a:cubicBezTo>
                  <a:cubicBezTo>
                    <a:pt x="124" y="17"/>
                    <a:pt x="128" y="16"/>
                    <a:pt x="133" y="18"/>
                  </a:cubicBezTo>
                  <a:cubicBezTo>
                    <a:pt x="132" y="17"/>
                    <a:pt x="132" y="17"/>
                    <a:pt x="131" y="16"/>
                  </a:cubicBezTo>
                  <a:cubicBezTo>
                    <a:pt x="132" y="16"/>
                    <a:pt x="133" y="16"/>
                    <a:pt x="134" y="16"/>
                  </a:cubicBezTo>
                  <a:cubicBezTo>
                    <a:pt x="136" y="16"/>
                    <a:pt x="139" y="16"/>
                    <a:pt x="142" y="16"/>
                  </a:cubicBezTo>
                  <a:cubicBezTo>
                    <a:pt x="145" y="17"/>
                    <a:pt x="148" y="17"/>
                    <a:pt x="150" y="17"/>
                  </a:cubicBezTo>
                  <a:cubicBezTo>
                    <a:pt x="154" y="17"/>
                    <a:pt x="157" y="16"/>
                    <a:pt x="157" y="14"/>
                  </a:cubicBezTo>
                  <a:cubicBezTo>
                    <a:pt x="158" y="10"/>
                    <a:pt x="155" y="10"/>
                    <a:pt x="152" y="9"/>
                  </a:cubicBezTo>
                  <a:cubicBezTo>
                    <a:pt x="149" y="9"/>
                    <a:pt x="147" y="9"/>
                    <a:pt x="145" y="8"/>
                  </a:cubicBezTo>
                  <a:cubicBezTo>
                    <a:pt x="140" y="7"/>
                    <a:pt x="136" y="6"/>
                    <a:pt x="131" y="5"/>
                  </a:cubicBezTo>
                  <a:cubicBezTo>
                    <a:pt x="123" y="5"/>
                    <a:pt x="114" y="3"/>
                    <a:pt x="106" y="1"/>
                  </a:cubicBezTo>
                  <a:cubicBezTo>
                    <a:pt x="106" y="0"/>
                    <a:pt x="107" y="0"/>
                    <a:pt x="10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7" name="Freeform 290">
              <a:extLst>
                <a:ext uri="{FF2B5EF4-FFF2-40B4-BE49-F238E27FC236}">
                  <a16:creationId xmlns:a16="http://schemas.microsoft.com/office/drawing/2014/main" id="{9BBC18DA-A454-49C1-BB7A-95CF25108E2E}"/>
                </a:ext>
              </a:extLst>
            </p:cNvPr>
            <p:cNvSpPr>
              <a:spLocks/>
            </p:cNvSpPr>
            <p:nvPr/>
          </p:nvSpPr>
          <p:spPr bwMode="auto">
            <a:xfrm>
              <a:off x="7261216" y="1023172"/>
              <a:ext cx="153988" cy="49213"/>
            </a:xfrm>
            <a:custGeom>
              <a:avLst/>
              <a:gdLst>
                <a:gd name="T0" fmla="*/ 41 w 41"/>
                <a:gd name="T1" fmla="*/ 0 h 13"/>
                <a:gd name="T2" fmla="*/ 0 w 41"/>
                <a:gd name="T3" fmla="*/ 9 h 13"/>
                <a:gd name="T4" fmla="*/ 0 w 41"/>
                <a:gd name="T5" fmla="*/ 9 h 13"/>
                <a:gd name="T6" fmla="*/ 0 w 41"/>
                <a:gd name="T7" fmla="*/ 10 h 13"/>
                <a:gd name="T8" fmla="*/ 1 w 41"/>
                <a:gd name="T9" fmla="*/ 10 h 13"/>
                <a:gd name="T10" fmla="*/ 5 w 41"/>
                <a:gd name="T11" fmla="*/ 11 h 13"/>
                <a:gd name="T12" fmla="*/ 9 w 41"/>
                <a:gd name="T13" fmla="*/ 13 h 13"/>
                <a:gd name="T14" fmla="*/ 10 w 41"/>
                <a:gd name="T15" fmla="*/ 13 h 13"/>
                <a:gd name="T16" fmla="*/ 10 w 41"/>
                <a:gd name="T17" fmla="*/ 13 h 13"/>
                <a:gd name="T18" fmla="*/ 10 w 41"/>
                <a:gd name="T19" fmla="*/ 13 h 13"/>
                <a:gd name="T20" fmla="*/ 10 w 41"/>
                <a:gd name="T21" fmla="*/ 13 h 13"/>
                <a:gd name="T22" fmla="*/ 11 w 41"/>
                <a:gd name="T23" fmla="*/ 13 h 13"/>
                <a:gd name="T24" fmla="*/ 11 w 41"/>
                <a:gd name="T25" fmla="*/ 13 h 13"/>
                <a:gd name="T26" fmla="*/ 13 w 41"/>
                <a:gd name="T27" fmla="*/ 13 h 13"/>
                <a:gd name="T28" fmla="*/ 14 w 41"/>
                <a:gd name="T29" fmla="*/ 13 h 13"/>
                <a:gd name="T30" fmla="*/ 14 w 41"/>
                <a:gd name="T31" fmla="*/ 13 h 13"/>
                <a:gd name="T32" fmla="*/ 14 w 41"/>
                <a:gd name="T33" fmla="*/ 13 h 13"/>
                <a:gd name="T34" fmla="*/ 15 w 41"/>
                <a:gd name="T35" fmla="*/ 12 h 13"/>
                <a:gd name="T36" fmla="*/ 16 w 41"/>
                <a:gd name="T37" fmla="*/ 11 h 13"/>
                <a:gd name="T38" fmla="*/ 16 w 41"/>
                <a:gd name="T39" fmla="*/ 11 h 13"/>
                <a:gd name="T40" fmla="*/ 16 w 41"/>
                <a:gd name="T41" fmla="*/ 11 h 13"/>
                <a:gd name="T42" fmla="*/ 16 w 41"/>
                <a:gd name="T43" fmla="*/ 11 h 13"/>
                <a:gd name="T44" fmla="*/ 18 w 41"/>
                <a:gd name="T45" fmla="*/ 11 h 13"/>
                <a:gd name="T46" fmla="*/ 21 w 41"/>
                <a:gd name="T47" fmla="*/ 12 h 13"/>
                <a:gd name="T48" fmla="*/ 21 w 41"/>
                <a:gd name="T49" fmla="*/ 12 h 13"/>
                <a:gd name="T50" fmla="*/ 21 w 41"/>
                <a:gd name="T51" fmla="*/ 12 h 13"/>
                <a:gd name="T52" fmla="*/ 21 w 41"/>
                <a:gd name="T53" fmla="*/ 12 h 13"/>
                <a:gd name="T54" fmla="*/ 21 w 41"/>
                <a:gd name="T55" fmla="*/ 12 h 13"/>
                <a:gd name="T56" fmla="*/ 27 w 41"/>
                <a:gd name="T57" fmla="*/ 10 h 13"/>
                <a:gd name="T58" fmla="*/ 27 w 41"/>
                <a:gd name="T59" fmla="*/ 10 h 13"/>
                <a:gd name="T60" fmla="*/ 32 w 41"/>
                <a:gd name="T61" fmla="*/ 8 h 13"/>
                <a:gd name="T62" fmla="*/ 41 w 41"/>
                <a:gd name="T6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 h="13">
                  <a:moveTo>
                    <a:pt x="41" y="0"/>
                  </a:moveTo>
                  <a:cubicBezTo>
                    <a:pt x="27" y="3"/>
                    <a:pt x="13" y="6"/>
                    <a:pt x="0" y="9"/>
                  </a:cubicBezTo>
                  <a:cubicBezTo>
                    <a:pt x="0" y="9"/>
                    <a:pt x="0" y="9"/>
                    <a:pt x="0" y="9"/>
                  </a:cubicBezTo>
                  <a:cubicBezTo>
                    <a:pt x="0" y="10"/>
                    <a:pt x="0" y="10"/>
                    <a:pt x="0" y="10"/>
                  </a:cubicBezTo>
                  <a:cubicBezTo>
                    <a:pt x="1" y="10"/>
                    <a:pt x="1" y="10"/>
                    <a:pt x="1" y="10"/>
                  </a:cubicBezTo>
                  <a:cubicBezTo>
                    <a:pt x="2" y="11"/>
                    <a:pt x="4" y="11"/>
                    <a:pt x="5" y="11"/>
                  </a:cubicBezTo>
                  <a:cubicBezTo>
                    <a:pt x="7" y="12"/>
                    <a:pt x="7" y="13"/>
                    <a:pt x="9" y="13"/>
                  </a:cubicBezTo>
                  <a:cubicBezTo>
                    <a:pt x="9" y="13"/>
                    <a:pt x="10" y="13"/>
                    <a:pt x="10" y="13"/>
                  </a:cubicBezTo>
                  <a:cubicBezTo>
                    <a:pt x="10" y="13"/>
                    <a:pt x="10" y="13"/>
                    <a:pt x="10" y="13"/>
                  </a:cubicBezTo>
                  <a:cubicBezTo>
                    <a:pt x="10" y="13"/>
                    <a:pt x="10" y="13"/>
                    <a:pt x="10" y="13"/>
                  </a:cubicBezTo>
                  <a:cubicBezTo>
                    <a:pt x="10" y="13"/>
                    <a:pt x="10" y="13"/>
                    <a:pt x="10" y="13"/>
                  </a:cubicBezTo>
                  <a:cubicBezTo>
                    <a:pt x="11" y="13"/>
                    <a:pt x="11" y="13"/>
                    <a:pt x="11" y="13"/>
                  </a:cubicBezTo>
                  <a:cubicBezTo>
                    <a:pt x="11" y="13"/>
                    <a:pt x="11" y="13"/>
                    <a:pt x="11" y="13"/>
                  </a:cubicBezTo>
                  <a:cubicBezTo>
                    <a:pt x="12" y="13"/>
                    <a:pt x="12" y="13"/>
                    <a:pt x="13" y="13"/>
                  </a:cubicBezTo>
                  <a:cubicBezTo>
                    <a:pt x="13" y="13"/>
                    <a:pt x="13" y="13"/>
                    <a:pt x="14" y="13"/>
                  </a:cubicBezTo>
                  <a:cubicBezTo>
                    <a:pt x="14" y="13"/>
                    <a:pt x="14" y="13"/>
                    <a:pt x="14" y="13"/>
                  </a:cubicBezTo>
                  <a:cubicBezTo>
                    <a:pt x="14" y="13"/>
                    <a:pt x="14" y="13"/>
                    <a:pt x="14" y="13"/>
                  </a:cubicBezTo>
                  <a:cubicBezTo>
                    <a:pt x="15" y="13"/>
                    <a:pt x="15" y="13"/>
                    <a:pt x="15" y="12"/>
                  </a:cubicBezTo>
                  <a:cubicBezTo>
                    <a:pt x="15" y="12"/>
                    <a:pt x="15" y="12"/>
                    <a:pt x="16" y="11"/>
                  </a:cubicBezTo>
                  <a:cubicBezTo>
                    <a:pt x="16" y="11"/>
                    <a:pt x="16" y="11"/>
                    <a:pt x="16" y="11"/>
                  </a:cubicBezTo>
                  <a:cubicBezTo>
                    <a:pt x="16" y="11"/>
                    <a:pt x="16" y="11"/>
                    <a:pt x="16" y="11"/>
                  </a:cubicBezTo>
                  <a:cubicBezTo>
                    <a:pt x="16" y="11"/>
                    <a:pt x="16" y="11"/>
                    <a:pt x="16" y="11"/>
                  </a:cubicBezTo>
                  <a:cubicBezTo>
                    <a:pt x="17" y="11"/>
                    <a:pt x="17" y="11"/>
                    <a:pt x="18" y="11"/>
                  </a:cubicBezTo>
                  <a:cubicBezTo>
                    <a:pt x="19" y="12"/>
                    <a:pt x="20" y="12"/>
                    <a:pt x="21" y="12"/>
                  </a:cubicBezTo>
                  <a:cubicBezTo>
                    <a:pt x="21" y="12"/>
                    <a:pt x="21" y="12"/>
                    <a:pt x="21" y="12"/>
                  </a:cubicBezTo>
                  <a:cubicBezTo>
                    <a:pt x="21" y="12"/>
                    <a:pt x="21" y="12"/>
                    <a:pt x="21" y="12"/>
                  </a:cubicBezTo>
                  <a:cubicBezTo>
                    <a:pt x="21" y="12"/>
                    <a:pt x="21" y="12"/>
                    <a:pt x="21" y="12"/>
                  </a:cubicBezTo>
                  <a:cubicBezTo>
                    <a:pt x="21" y="12"/>
                    <a:pt x="21" y="12"/>
                    <a:pt x="21" y="12"/>
                  </a:cubicBezTo>
                  <a:cubicBezTo>
                    <a:pt x="23" y="11"/>
                    <a:pt x="25" y="11"/>
                    <a:pt x="27" y="10"/>
                  </a:cubicBezTo>
                  <a:cubicBezTo>
                    <a:pt x="27" y="10"/>
                    <a:pt x="27" y="10"/>
                    <a:pt x="27" y="10"/>
                  </a:cubicBezTo>
                  <a:cubicBezTo>
                    <a:pt x="29" y="10"/>
                    <a:pt x="30" y="9"/>
                    <a:pt x="32" y="8"/>
                  </a:cubicBezTo>
                  <a:cubicBezTo>
                    <a:pt x="36" y="5"/>
                    <a:pt x="39" y="6"/>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8" name="Freeform 291">
              <a:extLst>
                <a:ext uri="{FF2B5EF4-FFF2-40B4-BE49-F238E27FC236}">
                  <a16:creationId xmlns:a16="http://schemas.microsoft.com/office/drawing/2014/main" id="{913A780A-C1C2-45DE-98E4-E1EBA8A980A7}"/>
                </a:ext>
              </a:extLst>
            </p:cNvPr>
            <p:cNvSpPr>
              <a:spLocks/>
            </p:cNvSpPr>
            <p:nvPr/>
          </p:nvSpPr>
          <p:spPr bwMode="auto">
            <a:xfrm>
              <a:off x="8872529" y="1080322"/>
              <a:ext cx="423863" cy="173038"/>
            </a:xfrm>
            <a:custGeom>
              <a:avLst/>
              <a:gdLst>
                <a:gd name="T0" fmla="*/ 10 w 113"/>
                <a:gd name="T1" fmla="*/ 0 h 46"/>
                <a:gd name="T2" fmla="*/ 2 w 113"/>
                <a:gd name="T3" fmla="*/ 1 h 46"/>
                <a:gd name="T4" fmla="*/ 2 w 113"/>
                <a:gd name="T5" fmla="*/ 10 h 46"/>
                <a:gd name="T6" fmla="*/ 5 w 113"/>
                <a:gd name="T7" fmla="*/ 13 h 46"/>
                <a:gd name="T8" fmla="*/ 1 w 113"/>
                <a:gd name="T9" fmla="*/ 16 h 46"/>
                <a:gd name="T10" fmla="*/ 3 w 113"/>
                <a:gd name="T11" fmla="*/ 22 h 46"/>
                <a:gd name="T12" fmla="*/ 13 w 113"/>
                <a:gd name="T13" fmla="*/ 23 h 46"/>
                <a:gd name="T14" fmla="*/ 13 w 113"/>
                <a:gd name="T15" fmla="*/ 23 h 46"/>
                <a:gd name="T16" fmla="*/ 14 w 113"/>
                <a:gd name="T17" fmla="*/ 23 h 46"/>
                <a:gd name="T18" fmla="*/ 15 w 113"/>
                <a:gd name="T19" fmla="*/ 23 h 46"/>
                <a:gd name="T20" fmla="*/ 17 w 113"/>
                <a:gd name="T21" fmla="*/ 24 h 46"/>
                <a:gd name="T22" fmla="*/ 17 w 113"/>
                <a:gd name="T23" fmla="*/ 32 h 46"/>
                <a:gd name="T24" fmla="*/ 23 w 113"/>
                <a:gd name="T25" fmla="*/ 41 h 46"/>
                <a:gd name="T26" fmla="*/ 30 w 113"/>
                <a:gd name="T27" fmla="*/ 45 h 46"/>
                <a:gd name="T28" fmla="*/ 35 w 113"/>
                <a:gd name="T29" fmla="*/ 46 h 46"/>
                <a:gd name="T30" fmla="*/ 39 w 113"/>
                <a:gd name="T31" fmla="*/ 45 h 46"/>
                <a:gd name="T32" fmla="*/ 72 w 113"/>
                <a:gd name="T33" fmla="*/ 39 h 46"/>
                <a:gd name="T34" fmla="*/ 113 w 113"/>
                <a:gd name="T35" fmla="*/ 38 h 46"/>
                <a:gd name="T36" fmla="*/ 110 w 113"/>
                <a:gd name="T37" fmla="*/ 37 h 46"/>
                <a:gd name="T38" fmla="*/ 110 w 113"/>
                <a:gd name="T39" fmla="*/ 37 h 46"/>
                <a:gd name="T40" fmla="*/ 109 w 113"/>
                <a:gd name="T41" fmla="*/ 37 h 46"/>
                <a:gd name="T42" fmla="*/ 107 w 113"/>
                <a:gd name="T43" fmla="*/ 36 h 46"/>
                <a:gd name="T44" fmla="*/ 108 w 113"/>
                <a:gd name="T45" fmla="*/ 30 h 46"/>
                <a:gd name="T46" fmla="*/ 104 w 113"/>
                <a:gd name="T47" fmla="*/ 29 h 46"/>
                <a:gd name="T48" fmla="*/ 99 w 113"/>
                <a:gd name="T49" fmla="*/ 23 h 46"/>
                <a:gd name="T50" fmla="*/ 94 w 113"/>
                <a:gd name="T51" fmla="*/ 20 h 46"/>
                <a:gd name="T52" fmla="*/ 88 w 113"/>
                <a:gd name="T53" fmla="*/ 15 h 46"/>
                <a:gd name="T54" fmla="*/ 83 w 113"/>
                <a:gd name="T55" fmla="*/ 11 h 46"/>
                <a:gd name="T56" fmla="*/ 77 w 113"/>
                <a:gd name="T57" fmla="*/ 8 h 46"/>
                <a:gd name="T58" fmla="*/ 71 w 113"/>
                <a:gd name="T59" fmla="*/ 7 h 46"/>
                <a:gd name="T60" fmla="*/ 59 w 113"/>
                <a:gd name="T61" fmla="*/ 4 h 46"/>
                <a:gd name="T62" fmla="*/ 57 w 113"/>
                <a:gd name="T63" fmla="*/ 4 h 46"/>
                <a:gd name="T64" fmla="*/ 51 w 113"/>
                <a:gd name="T65" fmla="*/ 5 h 46"/>
                <a:gd name="T66" fmla="*/ 50 w 113"/>
                <a:gd name="T67" fmla="*/ 5 h 46"/>
                <a:gd name="T68" fmla="*/ 50 w 113"/>
                <a:gd name="T69" fmla="*/ 5 h 46"/>
                <a:gd name="T70" fmla="*/ 44 w 113"/>
                <a:gd name="T71" fmla="*/ 6 h 46"/>
                <a:gd name="T72" fmla="*/ 30 w 113"/>
                <a:gd name="T73" fmla="*/ 4 h 46"/>
                <a:gd name="T74" fmla="*/ 25 w 113"/>
                <a:gd name="T75" fmla="*/ 3 h 46"/>
                <a:gd name="T76" fmla="*/ 22 w 113"/>
                <a:gd name="T77" fmla="*/ 2 h 46"/>
                <a:gd name="T78" fmla="*/ 22 w 113"/>
                <a:gd name="T79" fmla="*/ 2 h 46"/>
                <a:gd name="T80" fmla="*/ 19 w 113"/>
                <a:gd name="T81" fmla="*/ 3 h 46"/>
                <a:gd name="T82" fmla="*/ 18 w 113"/>
                <a:gd name="T83" fmla="*/ 3 h 46"/>
                <a:gd name="T84" fmla="*/ 11 w 113"/>
                <a:gd name="T85" fmla="*/ 0 h 46"/>
                <a:gd name="T86" fmla="*/ 10 w 113"/>
                <a:gd name="T8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3" h="46">
                  <a:moveTo>
                    <a:pt x="10" y="0"/>
                  </a:moveTo>
                  <a:cubicBezTo>
                    <a:pt x="7" y="0"/>
                    <a:pt x="4" y="0"/>
                    <a:pt x="2" y="1"/>
                  </a:cubicBezTo>
                  <a:cubicBezTo>
                    <a:pt x="5" y="3"/>
                    <a:pt x="0" y="7"/>
                    <a:pt x="2" y="10"/>
                  </a:cubicBezTo>
                  <a:cubicBezTo>
                    <a:pt x="3" y="11"/>
                    <a:pt x="5" y="12"/>
                    <a:pt x="5" y="13"/>
                  </a:cubicBezTo>
                  <a:cubicBezTo>
                    <a:pt x="4" y="14"/>
                    <a:pt x="1" y="14"/>
                    <a:pt x="1" y="16"/>
                  </a:cubicBezTo>
                  <a:cubicBezTo>
                    <a:pt x="1" y="18"/>
                    <a:pt x="1" y="21"/>
                    <a:pt x="3" y="22"/>
                  </a:cubicBezTo>
                  <a:cubicBezTo>
                    <a:pt x="5" y="23"/>
                    <a:pt x="10" y="23"/>
                    <a:pt x="13" y="23"/>
                  </a:cubicBezTo>
                  <a:cubicBezTo>
                    <a:pt x="13" y="23"/>
                    <a:pt x="13" y="23"/>
                    <a:pt x="13" y="23"/>
                  </a:cubicBezTo>
                  <a:cubicBezTo>
                    <a:pt x="13" y="23"/>
                    <a:pt x="14" y="23"/>
                    <a:pt x="14" y="23"/>
                  </a:cubicBezTo>
                  <a:cubicBezTo>
                    <a:pt x="15" y="23"/>
                    <a:pt x="15" y="23"/>
                    <a:pt x="15" y="23"/>
                  </a:cubicBezTo>
                  <a:cubicBezTo>
                    <a:pt x="16" y="23"/>
                    <a:pt x="17" y="23"/>
                    <a:pt x="17" y="24"/>
                  </a:cubicBezTo>
                  <a:cubicBezTo>
                    <a:pt x="18" y="25"/>
                    <a:pt x="18" y="30"/>
                    <a:pt x="17" y="32"/>
                  </a:cubicBezTo>
                  <a:cubicBezTo>
                    <a:pt x="18" y="35"/>
                    <a:pt x="21" y="40"/>
                    <a:pt x="23" y="41"/>
                  </a:cubicBezTo>
                  <a:cubicBezTo>
                    <a:pt x="25" y="42"/>
                    <a:pt x="28" y="44"/>
                    <a:pt x="30" y="45"/>
                  </a:cubicBezTo>
                  <a:cubicBezTo>
                    <a:pt x="32" y="45"/>
                    <a:pt x="34" y="46"/>
                    <a:pt x="35" y="46"/>
                  </a:cubicBezTo>
                  <a:cubicBezTo>
                    <a:pt x="36" y="46"/>
                    <a:pt x="38" y="45"/>
                    <a:pt x="39" y="45"/>
                  </a:cubicBezTo>
                  <a:cubicBezTo>
                    <a:pt x="50" y="42"/>
                    <a:pt x="60" y="39"/>
                    <a:pt x="72" y="39"/>
                  </a:cubicBezTo>
                  <a:cubicBezTo>
                    <a:pt x="86" y="39"/>
                    <a:pt x="99" y="39"/>
                    <a:pt x="113" y="38"/>
                  </a:cubicBezTo>
                  <a:cubicBezTo>
                    <a:pt x="112" y="37"/>
                    <a:pt x="111" y="37"/>
                    <a:pt x="110" y="37"/>
                  </a:cubicBezTo>
                  <a:cubicBezTo>
                    <a:pt x="110" y="37"/>
                    <a:pt x="110" y="37"/>
                    <a:pt x="110" y="37"/>
                  </a:cubicBezTo>
                  <a:cubicBezTo>
                    <a:pt x="109" y="37"/>
                    <a:pt x="109" y="37"/>
                    <a:pt x="109" y="37"/>
                  </a:cubicBezTo>
                  <a:cubicBezTo>
                    <a:pt x="108" y="37"/>
                    <a:pt x="107" y="37"/>
                    <a:pt x="107" y="36"/>
                  </a:cubicBezTo>
                  <a:cubicBezTo>
                    <a:pt x="106" y="35"/>
                    <a:pt x="108" y="32"/>
                    <a:pt x="108" y="30"/>
                  </a:cubicBezTo>
                  <a:cubicBezTo>
                    <a:pt x="108" y="30"/>
                    <a:pt x="105" y="29"/>
                    <a:pt x="104" y="29"/>
                  </a:cubicBezTo>
                  <a:cubicBezTo>
                    <a:pt x="101" y="28"/>
                    <a:pt x="101" y="26"/>
                    <a:pt x="99" y="23"/>
                  </a:cubicBezTo>
                  <a:cubicBezTo>
                    <a:pt x="97" y="20"/>
                    <a:pt x="98" y="20"/>
                    <a:pt x="94" y="20"/>
                  </a:cubicBezTo>
                  <a:cubicBezTo>
                    <a:pt x="91" y="19"/>
                    <a:pt x="90" y="17"/>
                    <a:pt x="88" y="15"/>
                  </a:cubicBezTo>
                  <a:cubicBezTo>
                    <a:pt x="86" y="12"/>
                    <a:pt x="86" y="12"/>
                    <a:pt x="83" y="11"/>
                  </a:cubicBezTo>
                  <a:cubicBezTo>
                    <a:pt x="81" y="10"/>
                    <a:pt x="79" y="9"/>
                    <a:pt x="77" y="8"/>
                  </a:cubicBezTo>
                  <a:cubicBezTo>
                    <a:pt x="75" y="8"/>
                    <a:pt x="73" y="8"/>
                    <a:pt x="71" y="7"/>
                  </a:cubicBezTo>
                  <a:cubicBezTo>
                    <a:pt x="67" y="5"/>
                    <a:pt x="64" y="4"/>
                    <a:pt x="59" y="4"/>
                  </a:cubicBezTo>
                  <a:cubicBezTo>
                    <a:pt x="59" y="4"/>
                    <a:pt x="58" y="4"/>
                    <a:pt x="57" y="4"/>
                  </a:cubicBezTo>
                  <a:cubicBezTo>
                    <a:pt x="55" y="5"/>
                    <a:pt x="53" y="5"/>
                    <a:pt x="51" y="5"/>
                  </a:cubicBezTo>
                  <a:cubicBezTo>
                    <a:pt x="51" y="5"/>
                    <a:pt x="51" y="5"/>
                    <a:pt x="50" y="5"/>
                  </a:cubicBezTo>
                  <a:cubicBezTo>
                    <a:pt x="50" y="5"/>
                    <a:pt x="50" y="5"/>
                    <a:pt x="50" y="5"/>
                  </a:cubicBezTo>
                  <a:cubicBezTo>
                    <a:pt x="48" y="5"/>
                    <a:pt x="46" y="6"/>
                    <a:pt x="44" y="6"/>
                  </a:cubicBezTo>
                  <a:cubicBezTo>
                    <a:pt x="39" y="6"/>
                    <a:pt x="35" y="6"/>
                    <a:pt x="30" y="4"/>
                  </a:cubicBezTo>
                  <a:cubicBezTo>
                    <a:pt x="29" y="4"/>
                    <a:pt x="27" y="4"/>
                    <a:pt x="25" y="3"/>
                  </a:cubicBezTo>
                  <a:cubicBezTo>
                    <a:pt x="24" y="3"/>
                    <a:pt x="22" y="2"/>
                    <a:pt x="22" y="2"/>
                  </a:cubicBezTo>
                  <a:cubicBezTo>
                    <a:pt x="22" y="2"/>
                    <a:pt x="22" y="2"/>
                    <a:pt x="22" y="2"/>
                  </a:cubicBezTo>
                  <a:cubicBezTo>
                    <a:pt x="20" y="2"/>
                    <a:pt x="20" y="3"/>
                    <a:pt x="19" y="3"/>
                  </a:cubicBezTo>
                  <a:cubicBezTo>
                    <a:pt x="19" y="3"/>
                    <a:pt x="19" y="3"/>
                    <a:pt x="18" y="3"/>
                  </a:cubicBezTo>
                  <a:cubicBezTo>
                    <a:pt x="16" y="3"/>
                    <a:pt x="14" y="0"/>
                    <a:pt x="11" y="0"/>
                  </a:cubicBezTo>
                  <a:cubicBezTo>
                    <a:pt x="11"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9" name="Freeform 292">
              <a:extLst>
                <a:ext uri="{FF2B5EF4-FFF2-40B4-BE49-F238E27FC236}">
                  <a16:creationId xmlns:a16="http://schemas.microsoft.com/office/drawing/2014/main" id="{4095C357-2590-45CD-895F-FAF253110CEB}"/>
                </a:ext>
              </a:extLst>
            </p:cNvPr>
            <p:cNvSpPr>
              <a:spLocks/>
            </p:cNvSpPr>
            <p:nvPr/>
          </p:nvSpPr>
          <p:spPr bwMode="auto">
            <a:xfrm>
              <a:off x="7585066" y="1023172"/>
              <a:ext cx="479425" cy="354013"/>
            </a:xfrm>
            <a:custGeom>
              <a:avLst/>
              <a:gdLst>
                <a:gd name="T0" fmla="*/ 61 w 128"/>
                <a:gd name="T1" fmla="*/ 0 h 94"/>
                <a:gd name="T2" fmla="*/ 55 w 128"/>
                <a:gd name="T3" fmla="*/ 0 h 94"/>
                <a:gd name="T4" fmla="*/ 27 w 128"/>
                <a:gd name="T5" fmla="*/ 0 h 94"/>
                <a:gd name="T6" fmla="*/ 12 w 128"/>
                <a:gd name="T7" fmla="*/ 11 h 94"/>
                <a:gd name="T8" fmla="*/ 15 w 128"/>
                <a:gd name="T9" fmla="*/ 11 h 94"/>
                <a:gd name="T10" fmla="*/ 16 w 128"/>
                <a:gd name="T11" fmla="*/ 16 h 94"/>
                <a:gd name="T12" fmla="*/ 16 w 128"/>
                <a:gd name="T13" fmla="*/ 19 h 94"/>
                <a:gd name="T14" fmla="*/ 0 w 128"/>
                <a:gd name="T15" fmla="*/ 20 h 94"/>
                <a:gd name="T16" fmla="*/ 1 w 128"/>
                <a:gd name="T17" fmla="*/ 23 h 94"/>
                <a:gd name="T18" fmla="*/ 2 w 128"/>
                <a:gd name="T19" fmla="*/ 33 h 94"/>
                <a:gd name="T20" fmla="*/ 3 w 128"/>
                <a:gd name="T21" fmla="*/ 37 h 94"/>
                <a:gd name="T22" fmla="*/ 0 w 128"/>
                <a:gd name="T23" fmla="*/ 49 h 94"/>
                <a:gd name="T24" fmla="*/ 1 w 128"/>
                <a:gd name="T25" fmla="*/ 56 h 94"/>
                <a:gd name="T26" fmla="*/ 6 w 128"/>
                <a:gd name="T27" fmla="*/ 64 h 94"/>
                <a:gd name="T28" fmla="*/ 12 w 128"/>
                <a:gd name="T29" fmla="*/ 71 h 94"/>
                <a:gd name="T30" fmla="*/ 12 w 128"/>
                <a:gd name="T31" fmla="*/ 77 h 94"/>
                <a:gd name="T32" fmla="*/ 14 w 128"/>
                <a:gd name="T33" fmla="*/ 87 h 94"/>
                <a:gd name="T34" fmla="*/ 21 w 128"/>
                <a:gd name="T35" fmla="*/ 86 h 94"/>
                <a:gd name="T36" fmla="*/ 14 w 128"/>
                <a:gd name="T37" fmla="*/ 91 h 94"/>
                <a:gd name="T38" fmla="*/ 14 w 128"/>
                <a:gd name="T39" fmla="*/ 94 h 94"/>
                <a:gd name="T40" fmla="*/ 29 w 128"/>
                <a:gd name="T41" fmla="*/ 92 h 94"/>
                <a:gd name="T42" fmla="*/ 37 w 128"/>
                <a:gd name="T43" fmla="*/ 93 h 94"/>
                <a:gd name="T44" fmla="*/ 39 w 128"/>
                <a:gd name="T45" fmla="*/ 90 h 94"/>
                <a:gd name="T46" fmla="*/ 34 w 128"/>
                <a:gd name="T47" fmla="*/ 91 h 94"/>
                <a:gd name="T48" fmla="*/ 41 w 128"/>
                <a:gd name="T49" fmla="*/ 84 h 94"/>
                <a:gd name="T50" fmla="*/ 48 w 128"/>
                <a:gd name="T51" fmla="*/ 78 h 94"/>
                <a:gd name="T52" fmla="*/ 52 w 128"/>
                <a:gd name="T53" fmla="*/ 74 h 94"/>
                <a:gd name="T54" fmla="*/ 44 w 128"/>
                <a:gd name="T55" fmla="*/ 65 h 94"/>
                <a:gd name="T56" fmla="*/ 40 w 128"/>
                <a:gd name="T57" fmla="*/ 62 h 94"/>
                <a:gd name="T58" fmla="*/ 38 w 128"/>
                <a:gd name="T59" fmla="*/ 62 h 94"/>
                <a:gd name="T60" fmla="*/ 36 w 128"/>
                <a:gd name="T61" fmla="*/ 62 h 94"/>
                <a:gd name="T62" fmla="*/ 33 w 128"/>
                <a:gd name="T63" fmla="*/ 59 h 94"/>
                <a:gd name="T64" fmla="*/ 48 w 128"/>
                <a:gd name="T65" fmla="*/ 59 h 94"/>
                <a:gd name="T66" fmla="*/ 51 w 128"/>
                <a:gd name="T67" fmla="*/ 58 h 94"/>
                <a:gd name="T68" fmla="*/ 55 w 128"/>
                <a:gd name="T69" fmla="*/ 58 h 94"/>
                <a:gd name="T70" fmla="*/ 74 w 128"/>
                <a:gd name="T71" fmla="*/ 61 h 94"/>
                <a:gd name="T72" fmla="*/ 92 w 128"/>
                <a:gd name="T73" fmla="*/ 53 h 94"/>
                <a:gd name="T74" fmla="*/ 100 w 128"/>
                <a:gd name="T75" fmla="*/ 41 h 94"/>
                <a:gd name="T76" fmla="*/ 101 w 128"/>
                <a:gd name="T77" fmla="*/ 38 h 94"/>
                <a:gd name="T78" fmla="*/ 110 w 128"/>
                <a:gd name="T79" fmla="*/ 25 h 94"/>
                <a:gd name="T80" fmla="*/ 111 w 128"/>
                <a:gd name="T81" fmla="*/ 25 h 94"/>
                <a:gd name="T82" fmla="*/ 127 w 128"/>
                <a:gd name="T83" fmla="*/ 9 h 94"/>
                <a:gd name="T84" fmla="*/ 98 w 128"/>
                <a:gd name="T85" fmla="*/ 3 h 94"/>
                <a:gd name="T86" fmla="*/ 89 w 128"/>
                <a:gd name="T87" fmla="*/ 4 h 94"/>
                <a:gd name="T88" fmla="*/ 82 w 128"/>
                <a:gd name="T89" fmla="*/ 7 h 94"/>
                <a:gd name="T90" fmla="*/ 72 w 128"/>
                <a:gd name="T9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94">
                  <a:moveTo>
                    <a:pt x="67" y="0"/>
                  </a:moveTo>
                  <a:cubicBezTo>
                    <a:pt x="65" y="0"/>
                    <a:pt x="63" y="0"/>
                    <a:pt x="61" y="0"/>
                  </a:cubicBezTo>
                  <a:cubicBezTo>
                    <a:pt x="59" y="0"/>
                    <a:pt x="57" y="0"/>
                    <a:pt x="56" y="0"/>
                  </a:cubicBezTo>
                  <a:cubicBezTo>
                    <a:pt x="55" y="0"/>
                    <a:pt x="55" y="0"/>
                    <a:pt x="55" y="0"/>
                  </a:cubicBezTo>
                  <a:cubicBezTo>
                    <a:pt x="46" y="0"/>
                    <a:pt x="37" y="0"/>
                    <a:pt x="27" y="0"/>
                  </a:cubicBezTo>
                  <a:cubicBezTo>
                    <a:pt x="27" y="0"/>
                    <a:pt x="27" y="0"/>
                    <a:pt x="27" y="0"/>
                  </a:cubicBezTo>
                  <a:cubicBezTo>
                    <a:pt x="22" y="0"/>
                    <a:pt x="7" y="2"/>
                    <a:pt x="9" y="8"/>
                  </a:cubicBezTo>
                  <a:cubicBezTo>
                    <a:pt x="9" y="11"/>
                    <a:pt x="11" y="11"/>
                    <a:pt x="12" y="11"/>
                  </a:cubicBezTo>
                  <a:cubicBezTo>
                    <a:pt x="13" y="11"/>
                    <a:pt x="13" y="11"/>
                    <a:pt x="14" y="11"/>
                  </a:cubicBezTo>
                  <a:cubicBezTo>
                    <a:pt x="14" y="11"/>
                    <a:pt x="15" y="11"/>
                    <a:pt x="15" y="11"/>
                  </a:cubicBezTo>
                  <a:cubicBezTo>
                    <a:pt x="16" y="11"/>
                    <a:pt x="16" y="11"/>
                    <a:pt x="17" y="11"/>
                  </a:cubicBezTo>
                  <a:cubicBezTo>
                    <a:pt x="14" y="13"/>
                    <a:pt x="13" y="13"/>
                    <a:pt x="16" y="16"/>
                  </a:cubicBezTo>
                  <a:cubicBezTo>
                    <a:pt x="19" y="18"/>
                    <a:pt x="22" y="18"/>
                    <a:pt x="25" y="20"/>
                  </a:cubicBezTo>
                  <a:cubicBezTo>
                    <a:pt x="22" y="20"/>
                    <a:pt x="19" y="20"/>
                    <a:pt x="16" y="19"/>
                  </a:cubicBezTo>
                  <a:cubicBezTo>
                    <a:pt x="15" y="19"/>
                    <a:pt x="10" y="18"/>
                    <a:pt x="6" y="18"/>
                  </a:cubicBezTo>
                  <a:cubicBezTo>
                    <a:pt x="3" y="18"/>
                    <a:pt x="0" y="19"/>
                    <a:pt x="0" y="20"/>
                  </a:cubicBezTo>
                  <a:cubicBezTo>
                    <a:pt x="0" y="21"/>
                    <a:pt x="1" y="21"/>
                    <a:pt x="1" y="21"/>
                  </a:cubicBezTo>
                  <a:cubicBezTo>
                    <a:pt x="1" y="23"/>
                    <a:pt x="1" y="23"/>
                    <a:pt x="1" y="23"/>
                  </a:cubicBezTo>
                  <a:cubicBezTo>
                    <a:pt x="1" y="24"/>
                    <a:pt x="1" y="26"/>
                    <a:pt x="1" y="27"/>
                  </a:cubicBezTo>
                  <a:cubicBezTo>
                    <a:pt x="0" y="29"/>
                    <a:pt x="1" y="31"/>
                    <a:pt x="2" y="33"/>
                  </a:cubicBezTo>
                  <a:cubicBezTo>
                    <a:pt x="2" y="33"/>
                    <a:pt x="2" y="34"/>
                    <a:pt x="2" y="35"/>
                  </a:cubicBezTo>
                  <a:cubicBezTo>
                    <a:pt x="2" y="35"/>
                    <a:pt x="3" y="36"/>
                    <a:pt x="3" y="37"/>
                  </a:cubicBezTo>
                  <a:cubicBezTo>
                    <a:pt x="3" y="38"/>
                    <a:pt x="3" y="39"/>
                    <a:pt x="3" y="40"/>
                  </a:cubicBezTo>
                  <a:cubicBezTo>
                    <a:pt x="2" y="43"/>
                    <a:pt x="0" y="46"/>
                    <a:pt x="0" y="49"/>
                  </a:cubicBezTo>
                  <a:cubicBezTo>
                    <a:pt x="0" y="50"/>
                    <a:pt x="1" y="51"/>
                    <a:pt x="2" y="52"/>
                  </a:cubicBezTo>
                  <a:cubicBezTo>
                    <a:pt x="2" y="53"/>
                    <a:pt x="1" y="55"/>
                    <a:pt x="1" y="56"/>
                  </a:cubicBezTo>
                  <a:cubicBezTo>
                    <a:pt x="1" y="59"/>
                    <a:pt x="4" y="58"/>
                    <a:pt x="3" y="61"/>
                  </a:cubicBezTo>
                  <a:cubicBezTo>
                    <a:pt x="2" y="63"/>
                    <a:pt x="5" y="63"/>
                    <a:pt x="6" y="64"/>
                  </a:cubicBezTo>
                  <a:cubicBezTo>
                    <a:pt x="8" y="65"/>
                    <a:pt x="8" y="66"/>
                    <a:pt x="9" y="68"/>
                  </a:cubicBezTo>
                  <a:cubicBezTo>
                    <a:pt x="10" y="69"/>
                    <a:pt x="11" y="69"/>
                    <a:pt x="12" y="71"/>
                  </a:cubicBezTo>
                  <a:cubicBezTo>
                    <a:pt x="12" y="72"/>
                    <a:pt x="11" y="73"/>
                    <a:pt x="11" y="74"/>
                  </a:cubicBezTo>
                  <a:cubicBezTo>
                    <a:pt x="11" y="75"/>
                    <a:pt x="12" y="76"/>
                    <a:pt x="12" y="77"/>
                  </a:cubicBezTo>
                  <a:cubicBezTo>
                    <a:pt x="13" y="79"/>
                    <a:pt x="11" y="83"/>
                    <a:pt x="12" y="85"/>
                  </a:cubicBezTo>
                  <a:cubicBezTo>
                    <a:pt x="13" y="87"/>
                    <a:pt x="13" y="87"/>
                    <a:pt x="14" y="87"/>
                  </a:cubicBezTo>
                  <a:cubicBezTo>
                    <a:pt x="14" y="87"/>
                    <a:pt x="15" y="87"/>
                    <a:pt x="15" y="87"/>
                  </a:cubicBezTo>
                  <a:cubicBezTo>
                    <a:pt x="17" y="87"/>
                    <a:pt x="19" y="86"/>
                    <a:pt x="21" y="86"/>
                  </a:cubicBezTo>
                  <a:cubicBezTo>
                    <a:pt x="22" y="86"/>
                    <a:pt x="22" y="86"/>
                    <a:pt x="22" y="86"/>
                  </a:cubicBezTo>
                  <a:cubicBezTo>
                    <a:pt x="19" y="86"/>
                    <a:pt x="16" y="89"/>
                    <a:pt x="14" y="91"/>
                  </a:cubicBezTo>
                  <a:cubicBezTo>
                    <a:pt x="13" y="92"/>
                    <a:pt x="11" y="94"/>
                    <a:pt x="13" y="94"/>
                  </a:cubicBezTo>
                  <a:cubicBezTo>
                    <a:pt x="13" y="94"/>
                    <a:pt x="14" y="94"/>
                    <a:pt x="14" y="94"/>
                  </a:cubicBezTo>
                  <a:cubicBezTo>
                    <a:pt x="16" y="94"/>
                    <a:pt x="19" y="93"/>
                    <a:pt x="22" y="93"/>
                  </a:cubicBezTo>
                  <a:cubicBezTo>
                    <a:pt x="24" y="92"/>
                    <a:pt x="27" y="92"/>
                    <a:pt x="29" y="92"/>
                  </a:cubicBezTo>
                  <a:cubicBezTo>
                    <a:pt x="29" y="92"/>
                    <a:pt x="29" y="92"/>
                    <a:pt x="30" y="92"/>
                  </a:cubicBezTo>
                  <a:cubicBezTo>
                    <a:pt x="32" y="92"/>
                    <a:pt x="34" y="93"/>
                    <a:pt x="37" y="93"/>
                  </a:cubicBezTo>
                  <a:cubicBezTo>
                    <a:pt x="38" y="93"/>
                    <a:pt x="38" y="93"/>
                    <a:pt x="39" y="93"/>
                  </a:cubicBezTo>
                  <a:cubicBezTo>
                    <a:pt x="39" y="92"/>
                    <a:pt x="39" y="91"/>
                    <a:pt x="39" y="90"/>
                  </a:cubicBezTo>
                  <a:cubicBezTo>
                    <a:pt x="38" y="91"/>
                    <a:pt x="37" y="92"/>
                    <a:pt x="36" y="92"/>
                  </a:cubicBezTo>
                  <a:cubicBezTo>
                    <a:pt x="35" y="92"/>
                    <a:pt x="35" y="91"/>
                    <a:pt x="34" y="91"/>
                  </a:cubicBezTo>
                  <a:cubicBezTo>
                    <a:pt x="36" y="90"/>
                    <a:pt x="37" y="90"/>
                    <a:pt x="39" y="88"/>
                  </a:cubicBezTo>
                  <a:cubicBezTo>
                    <a:pt x="39" y="87"/>
                    <a:pt x="40" y="86"/>
                    <a:pt x="41" y="84"/>
                  </a:cubicBezTo>
                  <a:cubicBezTo>
                    <a:pt x="42" y="83"/>
                    <a:pt x="42" y="81"/>
                    <a:pt x="44" y="80"/>
                  </a:cubicBezTo>
                  <a:cubicBezTo>
                    <a:pt x="45" y="78"/>
                    <a:pt x="47" y="79"/>
                    <a:pt x="48" y="78"/>
                  </a:cubicBezTo>
                  <a:cubicBezTo>
                    <a:pt x="49" y="77"/>
                    <a:pt x="49" y="76"/>
                    <a:pt x="50" y="75"/>
                  </a:cubicBezTo>
                  <a:cubicBezTo>
                    <a:pt x="50" y="75"/>
                    <a:pt x="52" y="74"/>
                    <a:pt x="52" y="74"/>
                  </a:cubicBezTo>
                  <a:cubicBezTo>
                    <a:pt x="53" y="72"/>
                    <a:pt x="51" y="70"/>
                    <a:pt x="50" y="69"/>
                  </a:cubicBezTo>
                  <a:cubicBezTo>
                    <a:pt x="49" y="67"/>
                    <a:pt x="45" y="67"/>
                    <a:pt x="44" y="65"/>
                  </a:cubicBezTo>
                  <a:cubicBezTo>
                    <a:pt x="44" y="64"/>
                    <a:pt x="45" y="62"/>
                    <a:pt x="45" y="61"/>
                  </a:cubicBezTo>
                  <a:cubicBezTo>
                    <a:pt x="43" y="62"/>
                    <a:pt x="42" y="62"/>
                    <a:pt x="40" y="62"/>
                  </a:cubicBezTo>
                  <a:cubicBezTo>
                    <a:pt x="40" y="62"/>
                    <a:pt x="39" y="62"/>
                    <a:pt x="39" y="62"/>
                  </a:cubicBezTo>
                  <a:cubicBezTo>
                    <a:pt x="38" y="62"/>
                    <a:pt x="38" y="62"/>
                    <a:pt x="38" y="62"/>
                  </a:cubicBezTo>
                  <a:cubicBezTo>
                    <a:pt x="37" y="62"/>
                    <a:pt x="37" y="62"/>
                    <a:pt x="37" y="62"/>
                  </a:cubicBezTo>
                  <a:cubicBezTo>
                    <a:pt x="36" y="62"/>
                    <a:pt x="36" y="62"/>
                    <a:pt x="36" y="62"/>
                  </a:cubicBezTo>
                  <a:cubicBezTo>
                    <a:pt x="34" y="62"/>
                    <a:pt x="33" y="62"/>
                    <a:pt x="33" y="62"/>
                  </a:cubicBezTo>
                  <a:cubicBezTo>
                    <a:pt x="32" y="61"/>
                    <a:pt x="31" y="60"/>
                    <a:pt x="33" y="59"/>
                  </a:cubicBezTo>
                  <a:cubicBezTo>
                    <a:pt x="35" y="59"/>
                    <a:pt x="39" y="59"/>
                    <a:pt x="42" y="59"/>
                  </a:cubicBezTo>
                  <a:cubicBezTo>
                    <a:pt x="44" y="59"/>
                    <a:pt x="46" y="59"/>
                    <a:pt x="48" y="59"/>
                  </a:cubicBezTo>
                  <a:cubicBezTo>
                    <a:pt x="48" y="59"/>
                    <a:pt x="48" y="59"/>
                    <a:pt x="48" y="59"/>
                  </a:cubicBezTo>
                  <a:cubicBezTo>
                    <a:pt x="49" y="59"/>
                    <a:pt x="50" y="59"/>
                    <a:pt x="51" y="58"/>
                  </a:cubicBezTo>
                  <a:cubicBezTo>
                    <a:pt x="52" y="58"/>
                    <a:pt x="53" y="58"/>
                    <a:pt x="54" y="58"/>
                  </a:cubicBezTo>
                  <a:cubicBezTo>
                    <a:pt x="54" y="58"/>
                    <a:pt x="55" y="58"/>
                    <a:pt x="55" y="58"/>
                  </a:cubicBezTo>
                  <a:cubicBezTo>
                    <a:pt x="57" y="58"/>
                    <a:pt x="59" y="59"/>
                    <a:pt x="62" y="59"/>
                  </a:cubicBezTo>
                  <a:cubicBezTo>
                    <a:pt x="66" y="60"/>
                    <a:pt x="70" y="61"/>
                    <a:pt x="74" y="61"/>
                  </a:cubicBezTo>
                  <a:cubicBezTo>
                    <a:pt x="75" y="62"/>
                    <a:pt x="76" y="62"/>
                    <a:pt x="77" y="62"/>
                  </a:cubicBezTo>
                  <a:cubicBezTo>
                    <a:pt x="83" y="62"/>
                    <a:pt x="88" y="58"/>
                    <a:pt x="92" y="53"/>
                  </a:cubicBezTo>
                  <a:cubicBezTo>
                    <a:pt x="94" y="50"/>
                    <a:pt x="95" y="48"/>
                    <a:pt x="97" y="45"/>
                  </a:cubicBezTo>
                  <a:cubicBezTo>
                    <a:pt x="98" y="44"/>
                    <a:pt x="100" y="42"/>
                    <a:pt x="100" y="41"/>
                  </a:cubicBezTo>
                  <a:cubicBezTo>
                    <a:pt x="101" y="38"/>
                    <a:pt x="98" y="39"/>
                    <a:pt x="95" y="39"/>
                  </a:cubicBezTo>
                  <a:cubicBezTo>
                    <a:pt x="97" y="38"/>
                    <a:pt x="99" y="38"/>
                    <a:pt x="101" y="38"/>
                  </a:cubicBezTo>
                  <a:cubicBezTo>
                    <a:pt x="103" y="37"/>
                    <a:pt x="103" y="37"/>
                    <a:pt x="105" y="34"/>
                  </a:cubicBezTo>
                  <a:cubicBezTo>
                    <a:pt x="106" y="32"/>
                    <a:pt x="113" y="28"/>
                    <a:pt x="110" y="25"/>
                  </a:cubicBezTo>
                  <a:cubicBezTo>
                    <a:pt x="110" y="25"/>
                    <a:pt x="110" y="25"/>
                    <a:pt x="111" y="25"/>
                  </a:cubicBezTo>
                  <a:cubicBezTo>
                    <a:pt x="111" y="25"/>
                    <a:pt x="111" y="25"/>
                    <a:pt x="111" y="25"/>
                  </a:cubicBezTo>
                  <a:cubicBezTo>
                    <a:pt x="115" y="25"/>
                    <a:pt x="119" y="20"/>
                    <a:pt x="121" y="17"/>
                  </a:cubicBezTo>
                  <a:cubicBezTo>
                    <a:pt x="122" y="16"/>
                    <a:pt x="128" y="10"/>
                    <a:pt x="127" y="9"/>
                  </a:cubicBezTo>
                  <a:cubicBezTo>
                    <a:pt x="127" y="8"/>
                    <a:pt x="123" y="8"/>
                    <a:pt x="122" y="8"/>
                  </a:cubicBezTo>
                  <a:cubicBezTo>
                    <a:pt x="114" y="6"/>
                    <a:pt x="106" y="3"/>
                    <a:pt x="98" y="3"/>
                  </a:cubicBezTo>
                  <a:cubicBezTo>
                    <a:pt x="97" y="3"/>
                    <a:pt x="96" y="3"/>
                    <a:pt x="95" y="3"/>
                  </a:cubicBezTo>
                  <a:cubicBezTo>
                    <a:pt x="93" y="3"/>
                    <a:pt x="91" y="3"/>
                    <a:pt x="89" y="4"/>
                  </a:cubicBezTo>
                  <a:cubicBezTo>
                    <a:pt x="86" y="4"/>
                    <a:pt x="85" y="5"/>
                    <a:pt x="83" y="6"/>
                  </a:cubicBezTo>
                  <a:cubicBezTo>
                    <a:pt x="83" y="7"/>
                    <a:pt x="82" y="7"/>
                    <a:pt x="82" y="7"/>
                  </a:cubicBezTo>
                  <a:cubicBezTo>
                    <a:pt x="80" y="7"/>
                    <a:pt x="80" y="5"/>
                    <a:pt x="79" y="4"/>
                  </a:cubicBezTo>
                  <a:cubicBezTo>
                    <a:pt x="78" y="2"/>
                    <a:pt x="74" y="1"/>
                    <a:pt x="72" y="0"/>
                  </a:cubicBezTo>
                  <a:cubicBezTo>
                    <a:pt x="70" y="0"/>
                    <a:pt x="69"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0" name="Freeform 293">
              <a:extLst>
                <a:ext uri="{FF2B5EF4-FFF2-40B4-BE49-F238E27FC236}">
                  <a16:creationId xmlns:a16="http://schemas.microsoft.com/office/drawing/2014/main" id="{F6F41AF2-13F2-4F9E-8ABA-30506DA227EB}"/>
                </a:ext>
              </a:extLst>
            </p:cNvPr>
            <p:cNvSpPr>
              <a:spLocks/>
            </p:cNvSpPr>
            <p:nvPr/>
          </p:nvSpPr>
          <p:spPr bwMode="auto">
            <a:xfrm>
              <a:off x="5546716" y="1143822"/>
              <a:ext cx="1598613" cy="777875"/>
            </a:xfrm>
            <a:custGeom>
              <a:avLst/>
              <a:gdLst>
                <a:gd name="T0" fmla="*/ 21 w 426"/>
                <a:gd name="T1" fmla="*/ 34 h 207"/>
                <a:gd name="T2" fmla="*/ 0 w 426"/>
                <a:gd name="T3" fmla="*/ 71 h 207"/>
                <a:gd name="T4" fmla="*/ 22 w 426"/>
                <a:gd name="T5" fmla="*/ 77 h 207"/>
                <a:gd name="T6" fmla="*/ 28 w 426"/>
                <a:gd name="T7" fmla="*/ 88 h 207"/>
                <a:gd name="T8" fmla="*/ 39 w 426"/>
                <a:gd name="T9" fmla="*/ 84 h 207"/>
                <a:gd name="T10" fmla="*/ 21 w 426"/>
                <a:gd name="T11" fmla="*/ 102 h 207"/>
                <a:gd name="T12" fmla="*/ 42 w 426"/>
                <a:gd name="T13" fmla="*/ 120 h 207"/>
                <a:gd name="T14" fmla="*/ 74 w 426"/>
                <a:gd name="T15" fmla="*/ 121 h 207"/>
                <a:gd name="T16" fmla="*/ 108 w 426"/>
                <a:gd name="T17" fmla="*/ 118 h 207"/>
                <a:gd name="T18" fmla="*/ 128 w 426"/>
                <a:gd name="T19" fmla="*/ 118 h 207"/>
                <a:gd name="T20" fmla="*/ 144 w 426"/>
                <a:gd name="T21" fmla="*/ 123 h 207"/>
                <a:gd name="T22" fmla="*/ 154 w 426"/>
                <a:gd name="T23" fmla="*/ 124 h 207"/>
                <a:gd name="T24" fmla="*/ 170 w 426"/>
                <a:gd name="T25" fmla="*/ 131 h 207"/>
                <a:gd name="T26" fmla="*/ 160 w 426"/>
                <a:gd name="T27" fmla="*/ 134 h 207"/>
                <a:gd name="T28" fmla="*/ 144 w 426"/>
                <a:gd name="T29" fmla="*/ 136 h 207"/>
                <a:gd name="T30" fmla="*/ 111 w 426"/>
                <a:gd name="T31" fmla="*/ 132 h 207"/>
                <a:gd name="T32" fmla="*/ 74 w 426"/>
                <a:gd name="T33" fmla="*/ 175 h 207"/>
                <a:gd name="T34" fmla="*/ 130 w 426"/>
                <a:gd name="T35" fmla="*/ 180 h 207"/>
                <a:gd name="T36" fmla="*/ 127 w 426"/>
                <a:gd name="T37" fmla="*/ 190 h 207"/>
                <a:gd name="T38" fmla="*/ 250 w 426"/>
                <a:gd name="T39" fmla="*/ 189 h 207"/>
                <a:gd name="T40" fmla="*/ 292 w 426"/>
                <a:gd name="T41" fmla="*/ 167 h 207"/>
                <a:gd name="T42" fmla="*/ 316 w 426"/>
                <a:gd name="T43" fmla="*/ 181 h 207"/>
                <a:gd name="T44" fmla="*/ 327 w 426"/>
                <a:gd name="T45" fmla="*/ 187 h 207"/>
                <a:gd name="T46" fmla="*/ 364 w 426"/>
                <a:gd name="T47" fmla="*/ 194 h 207"/>
                <a:gd name="T48" fmla="*/ 400 w 426"/>
                <a:gd name="T49" fmla="*/ 185 h 207"/>
                <a:gd name="T50" fmla="*/ 395 w 426"/>
                <a:gd name="T51" fmla="*/ 179 h 207"/>
                <a:gd name="T52" fmla="*/ 397 w 426"/>
                <a:gd name="T53" fmla="*/ 169 h 207"/>
                <a:gd name="T54" fmla="*/ 370 w 426"/>
                <a:gd name="T55" fmla="*/ 182 h 207"/>
                <a:gd name="T56" fmla="*/ 372 w 426"/>
                <a:gd name="T57" fmla="*/ 169 h 207"/>
                <a:gd name="T58" fmla="*/ 385 w 426"/>
                <a:gd name="T59" fmla="*/ 163 h 207"/>
                <a:gd name="T60" fmla="*/ 394 w 426"/>
                <a:gd name="T61" fmla="*/ 152 h 207"/>
                <a:gd name="T62" fmla="*/ 400 w 426"/>
                <a:gd name="T63" fmla="*/ 156 h 207"/>
                <a:gd name="T64" fmla="*/ 421 w 426"/>
                <a:gd name="T65" fmla="*/ 142 h 207"/>
                <a:gd name="T66" fmla="*/ 411 w 426"/>
                <a:gd name="T67" fmla="*/ 139 h 207"/>
                <a:gd name="T68" fmla="*/ 407 w 426"/>
                <a:gd name="T69" fmla="*/ 140 h 207"/>
                <a:gd name="T70" fmla="*/ 394 w 426"/>
                <a:gd name="T71" fmla="*/ 132 h 207"/>
                <a:gd name="T72" fmla="*/ 377 w 426"/>
                <a:gd name="T73" fmla="*/ 121 h 207"/>
                <a:gd name="T74" fmla="*/ 357 w 426"/>
                <a:gd name="T75" fmla="*/ 117 h 207"/>
                <a:gd name="T76" fmla="*/ 343 w 426"/>
                <a:gd name="T77" fmla="*/ 90 h 207"/>
                <a:gd name="T78" fmla="*/ 320 w 426"/>
                <a:gd name="T79" fmla="*/ 32 h 207"/>
                <a:gd name="T80" fmla="*/ 307 w 426"/>
                <a:gd name="T81" fmla="*/ 15 h 207"/>
                <a:gd name="T82" fmla="*/ 284 w 426"/>
                <a:gd name="T83" fmla="*/ 3 h 207"/>
                <a:gd name="T84" fmla="*/ 255 w 426"/>
                <a:gd name="T85" fmla="*/ 4 h 207"/>
                <a:gd name="T86" fmla="*/ 253 w 426"/>
                <a:gd name="T87" fmla="*/ 16 h 207"/>
                <a:gd name="T88" fmla="*/ 261 w 426"/>
                <a:gd name="T89" fmla="*/ 43 h 207"/>
                <a:gd name="T90" fmla="*/ 272 w 426"/>
                <a:gd name="T91" fmla="*/ 64 h 207"/>
                <a:gd name="T92" fmla="*/ 263 w 426"/>
                <a:gd name="T93" fmla="*/ 74 h 207"/>
                <a:gd name="T94" fmla="*/ 255 w 426"/>
                <a:gd name="T95" fmla="*/ 73 h 207"/>
                <a:gd name="T96" fmla="*/ 249 w 426"/>
                <a:gd name="T97" fmla="*/ 60 h 207"/>
                <a:gd name="T98" fmla="*/ 244 w 426"/>
                <a:gd name="T99" fmla="*/ 37 h 207"/>
                <a:gd name="T100" fmla="*/ 233 w 426"/>
                <a:gd name="T101" fmla="*/ 31 h 207"/>
                <a:gd name="T102" fmla="*/ 220 w 426"/>
                <a:gd name="T103" fmla="*/ 24 h 207"/>
                <a:gd name="T104" fmla="*/ 214 w 426"/>
                <a:gd name="T105" fmla="*/ 19 h 207"/>
                <a:gd name="T106" fmla="*/ 209 w 426"/>
                <a:gd name="T107" fmla="*/ 28 h 207"/>
                <a:gd name="T108" fmla="*/ 205 w 426"/>
                <a:gd name="T109" fmla="*/ 32 h 207"/>
                <a:gd name="T110" fmla="*/ 206 w 426"/>
                <a:gd name="T111" fmla="*/ 37 h 207"/>
                <a:gd name="T112" fmla="*/ 188 w 426"/>
                <a:gd name="T113" fmla="*/ 42 h 207"/>
                <a:gd name="T114" fmla="*/ 170 w 426"/>
                <a:gd name="T115" fmla="*/ 52 h 207"/>
                <a:gd name="T116" fmla="*/ 182 w 426"/>
                <a:gd name="T117" fmla="*/ 36 h 207"/>
                <a:gd name="T118" fmla="*/ 129 w 426"/>
                <a:gd name="T119" fmla="*/ 28 h 207"/>
                <a:gd name="T120" fmla="*/ 105 w 426"/>
                <a:gd name="T121" fmla="*/ 35 h 207"/>
                <a:gd name="T122" fmla="*/ 119 w 426"/>
                <a:gd name="T123" fmla="*/ 26 h 207"/>
                <a:gd name="T124" fmla="*/ 105 w 426"/>
                <a:gd name="T125"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6" h="207">
                  <a:moveTo>
                    <a:pt x="104" y="0"/>
                  </a:moveTo>
                  <a:cubicBezTo>
                    <a:pt x="102" y="0"/>
                    <a:pt x="100" y="2"/>
                    <a:pt x="98" y="3"/>
                  </a:cubicBezTo>
                  <a:cubicBezTo>
                    <a:pt x="88" y="7"/>
                    <a:pt x="78" y="9"/>
                    <a:pt x="68" y="12"/>
                  </a:cubicBezTo>
                  <a:cubicBezTo>
                    <a:pt x="63" y="13"/>
                    <a:pt x="58" y="16"/>
                    <a:pt x="53" y="18"/>
                  </a:cubicBezTo>
                  <a:cubicBezTo>
                    <a:pt x="48" y="20"/>
                    <a:pt x="43" y="20"/>
                    <a:pt x="39" y="23"/>
                  </a:cubicBezTo>
                  <a:cubicBezTo>
                    <a:pt x="37" y="25"/>
                    <a:pt x="35" y="26"/>
                    <a:pt x="33" y="27"/>
                  </a:cubicBezTo>
                  <a:cubicBezTo>
                    <a:pt x="29" y="30"/>
                    <a:pt x="25" y="31"/>
                    <a:pt x="21" y="34"/>
                  </a:cubicBezTo>
                  <a:cubicBezTo>
                    <a:pt x="19" y="35"/>
                    <a:pt x="15" y="37"/>
                    <a:pt x="13" y="40"/>
                  </a:cubicBezTo>
                  <a:cubicBezTo>
                    <a:pt x="9" y="45"/>
                    <a:pt x="17" y="46"/>
                    <a:pt x="20" y="46"/>
                  </a:cubicBezTo>
                  <a:cubicBezTo>
                    <a:pt x="28" y="46"/>
                    <a:pt x="17" y="51"/>
                    <a:pt x="15" y="52"/>
                  </a:cubicBezTo>
                  <a:cubicBezTo>
                    <a:pt x="13" y="53"/>
                    <a:pt x="12" y="54"/>
                    <a:pt x="10" y="55"/>
                  </a:cubicBezTo>
                  <a:cubicBezTo>
                    <a:pt x="9" y="56"/>
                    <a:pt x="10" y="57"/>
                    <a:pt x="9" y="58"/>
                  </a:cubicBezTo>
                  <a:cubicBezTo>
                    <a:pt x="5" y="61"/>
                    <a:pt x="1" y="62"/>
                    <a:pt x="0" y="68"/>
                  </a:cubicBezTo>
                  <a:cubicBezTo>
                    <a:pt x="0" y="69"/>
                    <a:pt x="0" y="70"/>
                    <a:pt x="0" y="71"/>
                  </a:cubicBezTo>
                  <a:cubicBezTo>
                    <a:pt x="0" y="72"/>
                    <a:pt x="0" y="75"/>
                    <a:pt x="1" y="76"/>
                  </a:cubicBezTo>
                  <a:cubicBezTo>
                    <a:pt x="1" y="77"/>
                    <a:pt x="2" y="77"/>
                    <a:pt x="3" y="77"/>
                  </a:cubicBezTo>
                  <a:cubicBezTo>
                    <a:pt x="4" y="77"/>
                    <a:pt x="6" y="76"/>
                    <a:pt x="8" y="76"/>
                  </a:cubicBezTo>
                  <a:cubicBezTo>
                    <a:pt x="8" y="75"/>
                    <a:pt x="8" y="75"/>
                    <a:pt x="8" y="75"/>
                  </a:cubicBezTo>
                  <a:cubicBezTo>
                    <a:pt x="11" y="75"/>
                    <a:pt x="19" y="76"/>
                    <a:pt x="16" y="79"/>
                  </a:cubicBezTo>
                  <a:cubicBezTo>
                    <a:pt x="16" y="79"/>
                    <a:pt x="16" y="79"/>
                    <a:pt x="16" y="79"/>
                  </a:cubicBezTo>
                  <a:cubicBezTo>
                    <a:pt x="18" y="79"/>
                    <a:pt x="20" y="78"/>
                    <a:pt x="22" y="77"/>
                  </a:cubicBezTo>
                  <a:cubicBezTo>
                    <a:pt x="23" y="76"/>
                    <a:pt x="25" y="75"/>
                    <a:pt x="27" y="75"/>
                  </a:cubicBezTo>
                  <a:cubicBezTo>
                    <a:pt x="27" y="75"/>
                    <a:pt x="28" y="75"/>
                    <a:pt x="29" y="75"/>
                  </a:cubicBezTo>
                  <a:cubicBezTo>
                    <a:pt x="27" y="76"/>
                    <a:pt x="27" y="77"/>
                    <a:pt x="27" y="78"/>
                  </a:cubicBezTo>
                  <a:cubicBezTo>
                    <a:pt x="25" y="79"/>
                    <a:pt x="23" y="80"/>
                    <a:pt x="22" y="81"/>
                  </a:cubicBezTo>
                  <a:cubicBezTo>
                    <a:pt x="20" y="83"/>
                    <a:pt x="18" y="84"/>
                    <a:pt x="19" y="86"/>
                  </a:cubicBezTo>
                  <a:cubicBezTo>
                    <a:pt x="20" y="88"/>
                    <a:pt x="22" y="88"/>
                    <a:pt x="25" y="88"/>
                  </a:cubicBezTo>
                  <a:cubicBezTo>
                    <a:pt x="26" y="88"/>
                    <a:pt x="27" y="88"/>
                    <a:pt x="28" y="88"/>
                  </a:cubicBezTo>
                  <a:cubicBezTo>
                    <a:pt x="29" y="88"/>
                    <a:pt x="30" y="88"/>
                    <a:pt x="31" y="88"/>
                  </a:cubicBezTo>
                  <a:cubicBezTo>
                    <a:pt x="31" y="88"/>
                    <a:pt x="31" y="88"/>
                    <a:pt x="31" y="88"/>
                  </a:cubicBezTo>
                  <a:cubicBezTo>
                    <a:pt x="32" y="88"/>
                    <a:pt x="33" y="88"/>
                    <a:pt x="35" y="88"/>
                  </a:cubicBezTo>
                  <a:cubicBezTo>
                    <a:pt x="36" y="88"/>
                    <a:pt x="37" y="88"/>
                    <a:pt x="37" y="87"/>
                  </a:cubicBezTo>
                  <a:cubicBezTo>
                    <a:pt x="38" y="86"/>
                    <a:pt x="36" y="84"/>
                    <a:pt x="37" y="83"/>
                  </a:cubicBezTo>
                  <a:cubicBezTo>
                    <a:pt x="38" y="83"/>
                    <a:pt x="38" y="83"/>
                    <a:pt x="38" y="84"/>
                  </a:cubicBezTo>
                  <a:cubicBezTo>
                    <a:pt x="39" y="84"/>
                    <a:pt x="39" y="84"/>
                    <a:pt x="39" y="84"/>
                  </a:cubicBezTo>
                  <a:cubicBezTo>
                    <a:pt x="41" y="84"/>
                    <a:pt x="39" y="86"/>
                    <a:pt x="40" y="86"/>
                  </a:cubicBezTo>
                  <a:cubicBezTo>
                    <a:pt x="40" y="87"/>
                    <a:pt x="40" y="87"/>
                    <a:pt x="41" y="87"/>
                  </a:cubicBezTo>
                  <a:cubicBezTo>
                    <a:pt x="43" y="87"/>
                    <a:pt x="45" y="86"/>
                    <a:pt x="46" y="86"/>
                  </a:cubicBezTo>
                  <a:cubicBezTo>
                    <a:pt x="50" y="85"/>
                    <a:pt x="54" y="85"/>
                    <a:pt x="57" y="84"/>
                  </a:cubicBezTo>
                  <a:cubicBezTo>
                    <a:pt x="63" y="83"/>
                    <a:pt x="68" y="82"/>
                    <a:pt x="74" y="81"/>
                  </a:cubicBezTo>
                  <a:cubicBezTo>
                    <a:pt x="60" y="87"/>
                    <a:pt x="45" y="92"/>
                    <a:pt x="31" y="98"/>
                  </a:cubicBezTo>
                  <a:cubicBezTo>
                    <a:pt x="28" y="99"/>
                    <a:pt x="24" y="101"/>
                    <a:pt x="21" y="102"/>
                  </a:cubicBezTo>
                  <a:cubicBezTo>
                    <a:pt x="20" y="102"/>
                    <a:pt x="16" y="103"/>
                    <a:pt x="16" y="104"/>
                  </a:cubicBezTo>
                  <a:cubicBezTo>
                    <a:pt x="16" y="105"/>
                    <a:pt x="19" y="108"/>
                    <a:pt x="20" y="109"/>
                  </a:cubicBezTo>
                  <a:cubicBezTo>
                    <a:pt x="23" y="112"/>
                    <a:pt x="29" y="113"/>
                    <a:pt x="31" y="116"/>
                  </a:cubicBezTo>
                  <a:cubicBezTo>
                    <a:pt x="33" y="117"/>
                    <a:pt x="32" y="120"/>
                    <a:pt x="36" y="121"/>
                  </a:cubicBezTo>
                  <a:cubicBezTo>
                    <a:pt x="36" y="121"/>
                    <a:pt x="36" y="121"/>
                    <a:pt x="36" y="121"/>
                  </a:cubicBezTo>
                  <a:cubicBezTo>
                    <a:pt x="37" y="121"/>
                    <a:pt x="38" y="120"/>
                    <a:pt x="39" y="120"/>
                  </a:cubicBezTo>
                  <a:cubicBezTo>
                    <a:pt x="41" y="120"/>
                    <a:pt x="41" y="120"/>
                    <a:pt x="42" y="120"/>
                  </a:cubicBezTo>
                  <a:cubicBezTo>
                    <a:pt x="45" y="121"/>
                    <a:pt x="47" y="121"/>
                    <a:pt x="50" y="121"/>
                  </a:cubicBezTo>
                  <a:cubicBezTo>
                    <a:pt x="53" y="121"/>
                    <a:pt x="55" y="121"/>
                    <a:pt x="57" y="120"/>
                  </a:cubicBezTo>
                  <a:cubicBezTo>
                    <a:pt x="60" y="120"/>
                    <a:pt x="62" y="119"/>
                    <a:pt x="64" y="119"/>
                  </a:cubicBezTo>
                  <a:cubicBezTo>
                    <a:pt x="64" y="119"/>
                    <a:pt x="64" y="119"/>
                    <a:pt x="65" y="119"/>
                  </a:cubicBezTo>
                  <a:cubicBezTo>
                    <a:pt x="67" y="119"/>
                    <a:pt x="68" y="121"/>
                    <a:pt x="71" y="121"/>
                  </a:cubicBezTo>
                  <a:cubicBezTo>
                    <a:pt x="71" y="121"/>
                    <a:pt x="71" y="121"/>
                    <a:pt x="71" y="121"/>
                  </a:cubicBezTo>
                  <a:cubicBezTo>
                    <a:pt x="72" y="121"/>
                    <a:pt x="73" y="121"/>
                    <a:pt x="74" y="121"/>
                  </a:cubicBezTo>
                  <a:cubicBezTo>
                    <a:pt x="75" y="121"/>
                    <a:pt x="76" y="121"/>
                    <a:pt x="78" y="121"/>
                  </a:cubicBezTo>
                  <a:cubicBezTo>
                    <a:pt x="78" y="121"/>
                    <a:pt x="78" y="121"/>
                    <a:pt x="78" y="121"/>
                  </a:cubicBezTo>
                  <a:cubicBezTo>
                    <a:pt x="79" y="121"/>
                    <a:pt x="80" y="121"/>
                    <a:pt x="81" y="121"/>
                  </a:cubicBezTo>
                  <a:cubicBezTo>
                    <a:pt x="82" y="121"/>
                    <a:pt x="82" y="121"/>
                    <a:pt x="82" y="121"/>
                  </a:cubicBezTo>
                  <a:cubicBezTo>
                    <a:pt x="83" y="121"/>
                    <a:pt x="84" y="121"/>
                    <a:pt x="85" y="121"/>
                  </a:cubicBezTo>
                  <a:cubicBezTo>
                    <a:pt x="90" y="120"/>
                    <a:pt x="96" y="120"/>
                    <a:pt x="100" y="120"/>
                  </a:cubicBezTo>
                  <a:cubicBezTo>
                    <a:pt x="103" y="120"/>
                    <a:pt x="106" y="119"/>
                    <a:pt x="108" y="118"/>
                  </a:cubicBezTo>
                  <a:cubicBezTo>
                    <a:pt x="109" y="118"/>
                    <a:pt x="110" y="118"/>
                    <a:pt x="110" y="118"/>
                  </a:cubicBezTo>
                  <a:cubicBezTo>
                    <a:pt x="111" y="118"/>
                    <a:pt x="111" y="118"/>
                    <a:pt x="112" y="118"/>
                  </a:cubicBezTo>
                  <a:cubicBezTo>
                    <a:pt x="112" y="118"/>
                    <a:pt x="113" y="118"/>
                    <a:pt x="114" y="118"/>
                  </a:cubicBezTo>
                  <a:cubicBezTo>
                    <a:pt x="114" y="118"/>
                    <a:pt x="114" y="118"/>
                    <a:pt x="115" y="118"/>
                  </a:cubicBezTo>
                  <a:cubicBezTo>
                    <a:pt x="117" y="117"/>
                    <a:pt x="118" y="116"/>
                    <a:pt x="120" y="116"/>
                  </a:cubicBezTo>
                  <a:cubicBezTo>
                    <a:pt x="120" y="116"/>
                    <a:pt x="121" y="116"/>
                    <a:pt x="121" y="116"/>
                  </a:cubicBezTo>
                  <a:cubicBezTo>
                    <a:pt x="123" y="116"/>
                    <a:pt x="126" y="118"/>
                    <a:pt x="128" y="118"/>
                  </a:cubicBezTo>
                  <a:cubicBezTo>
                    <a:pt x="128" y="118"/>
                    <a:pt x="128" y="118"/>
                    <a:pt x="128" y="118"/>
                  </a:cubicBezTo>
                  <a:cubicBezTo>
                    <a:pt x="129" y="118"/>
                    <a:pt x="130" y="118"/>
                    <a:pt x="131" y="118"/>
                  </a:cubicBezTo>
                  <a:cubicBezTo>
                    <a:pt x="131" y="118"/>
                    <a:pt x="131" y="118"/>
                    <a:pt x="131" y="118"/>
                  </a:cubicBezTo>
                  <a:cubicBezTo>
                    <a:pt x="132" y="118"/>
                    <a:pt x="134" y="119"/>
                    <a:pt x="135" y="119"/>
                  </a:cubicBezTo>
                  <a:cubicBezTo>
                    <a:pt x="137" y="119"/>
                    <a:pt x="138" y="120"/>
                    <a:pt x="140" y="121"/>
                  </a:cubicBezTo>
                  <a:cubicBezTo>
                    <a:pt x="141" y="121"/>
                    <a:pt x="142" y="122"/>
                    <a:pt x="143" y="122"/>
                  </a:cubicBezTo>
                  <a:cubicBezTo>
                    <a:pt x="144" y="122"/>
                    <a:pt x="144" y="123"/>
                    <a:pt x="144" y="123"/>
                  </a:cubicBezTo>
                  <a:cubicBezTo>
                    <a:pt x="144" y="123"/>
                    <a:pt x="144" y="123"/>
                    <a:pt x="144" y="123"/>
                  </a:cubicBezTo>
                  <a:cubicBezTo>
                    <a:pt x="145" y="123"/>
                    <a:pt x="145" y="123"/>
                    <a:pt x="145" y="122"/>
                  </a:cubicBezTo>
                  <a:cubicBezTo>
                    <a:pt x="145" y="122"/>
                    <a:pt x="146" y="122"/>
                    <a:pt x="146" y="122"/>
                  </a:cubicBezTo>
                  <a:cubicBezTo>
                    <a:pt x="146" y="122"/>
                    <a:pt x="146" y="122"/>
                    <a:pt x="146" y="122"/>
                  </a:cubicBezTo>
                  <a:cubicBezTo>
                    <a:pt x="149" y="122"/>
                    <a:pt x="151" y="123"/>
                    <a:pt x="153" y="124"/>
                  </a:cubicBezTo>
                  <a:cubicBezTo>
                    <a:pt x="153" y="124"/>
                    <a:pt x="153" y="124"/>
                    <a:pt x="153" y="124"/>
                  </a:cubicBezTo>
                  <a:cubicBezTo>
                    <a:pt x="154" y="124"/>
                    <a:pt x="154" y="124"/>
                    <a:pt x="154" y="124"/>
                  </a:cubicBezTo>
                  <a:cubicBezTo>
                    <a:pt x="154" y="124"/>
                    <a:pt x="154" y="123"/>
                    <a:pt x="155" y="123"/>
                  </a:cubicBezTo>
                  <a:cubicBezTo>
                    <a:pt x="155" y="123"/>
                    <a:pt x="155" y="123"/>
                    <a:pt x="155" y="123"/>
                  </a:cubicBezTo>
                  <a:cubicBezTo>
                    <a:pt x="155" y="123"/>
                    <a:pt x="155" y="124"/>
                    <a:pt x="156" y="124"/>
                  </a:cubicBezTo>
                  <a:cubicBezTo>
                    <a:pt x="157" y="124"/>
                    <a:pt x="158" y="124"/>
                    <a:pt x="159" y="125"/>
                  </a:cubicBezTo>
                  <a:cubicBezTo>
                    <a:pt x="163" y="126"/>
                    <a:pt x="162" y="126"/>
                    <a:pt x="164" y="129"/>
                  </a:cubicBezTo>
                  <a:cubicBezTo>
                    <a:pt x="165" y="130"/>
                    <a:pt x="168" y="131"/>
                    <a:pt x="170" y="131"/>
                  </a:cubicBezTo>
                  <a:cubicBezTo>
                    <a:pt x="170" y="131"/>
                    <a:pt x="170" y="131"/>
                    <a:pt x="170" y="131"/>
                  </a:cubicBezTo>
                  <a:cubicBezTo>
                    <a:pt x="171" y="131"/>
                    <a:pt x="171" y="131"/>
                    <a:pt x="172" y="131"/>
                  </a:cubicBezTo>
                  <a:cubicBezTo>
                    <a:pt x="172" y="131"/>
                    <a:pt x="173" y="131"/>
                    <a:pt x="173" y="131"/>
                  </a:cubicBezTo>
                  <a:cubicBezTo>
                    <a:pt x="174" y="131"/>
                    <a:pt x="174" y="131"/>
                    <a:pt x="174" y="131"/>
                  </a:cubicBezTo>
                  <a:cubicBezTo>
                    <a:pt x="176" y="132"/>
                    <a:pt x="174" y="134"/>
                    <a:pt x="177" y="134"/>
                  </a:cubicBezTo>
                  <a:cubicBezTo>
                    <a:pt x="175" y="135"/>
                    <a:pt x="174" y="135"/>
                    <a:pt x="172" y="135"/>
                  </a:cubicBezTo>
                  <a:cubicBezTo>
                    <a:pt x="170" y="135"/>
                    <a:pt x="168" y="135"/>
                    <a:pt x="166" y="134"/>
                  </a:cubicBezTo>
                  <a:cubicBezTo>
                    <a:pt x="164" y="134"/>
                    <a:pt x="162" y="134"/>
                    <a:pt x="160" y="134"/>
                  </a:cubicBezTo>
                  <a:cubicBezTo>
                    <a:pt x="160" y="134"/>
                    <a:pt x="159" y="134"/>
                    <a:pt x="159" y="134"/>
                  </a:cubicBezTo>
                  <a:cubicBezTo>
                    <a:pt x="160" y="134"/>
                    <a:pt x="161" y="134"/>
                    <a:pt x="161" y="134"/>
                  </a:cubicBezTo>
                  <a:cubicBezTo>
                    <a:pt x="158" y="135"/>
                    <a:pt x="155" y="137"/>
                    <a:pt x="152" y="137"/>
                  </a:cubicBezTo>
                  <a:cubicBezTo>
                    <a:pt x="152" y="137"/>
                    <a:pt x="152" y="137"/>
                    <a:pt x="152" y="137"/>
                  </a:cubicBezTo>
                  <a:cubicBezTo>
                    <a:pt x="150" y="137"/>
                    <a:pt x="149" y="137"/>
                    <a:pt x="148" y="137"/>
                  </a:cubicBezTo>
                  <a:cubicBezTo>
                    <a:pt x="147" y="136"/>
                    <a:pt x="145" y="136"/>
                    <a:pt x="144" y="136"/>
                  </a:cubicBezTo>
                  <a:cubicBezTo>
                    <a:pt x="144" y="136"/>
                    <a:pt x="144" y="136"/>
                    <a:pt x="144" y="136"/>
                  </a:cubicBezTo>
                  <a:cubicBezTo>
                    <a:pt x="143" y="136"/>
                    <a:pt x="143" y="136"/>
                    <a:pt x="143" y="136"/>
                  </a:cubicBezTo>
                  <a:cubicBezTo>
                    <a:pt x="141" y="136"/>
                    <a:pt x="139" y="135"/>
                    <a:pt x="137" y="135"/>
                  </a:cubicBezTo>
                  <a:cubicBezTo>
                    <a:pt x="135" y="135"/>
                    <a:pt x="133" y="134"/>
                    <a:pt x="131" y="134"/>
                  </a:cubicBezTo>
                  <a:cubicBezTo>
                    <a:pt x="130" y="134"/>
                    <a:pt x="130" y="134"/>
                    <a:pt x="129" y="134"/>
                  </a:cubicBezTo>
                  <a:cubicBezTo>
                    <a:pt x="128" y="134"/>
                    <a:pt x="127" y="134"/>
                    <a:pt x="126" y="134"/>
                  </a:cubicBezTo>
                  <a:cubicBezTo>
                    <a:pt x="122" y="134"/>
                    <a:pt x="119" y="134"/>
                    <a:pt x="115" y="133"/>
                  </a:cubicBezTo>
                  <a:cubicBezTo>
                    <a:pt x="114" y="132"/>
                    <a:pt x="112" y="132"/>
                    <a:pt x="111" y="132"/>
                  </a:cubicBezTo>
                  <a:cubicBezTo>
                    <a:pt x="107" y="132"/>
                    <a:pt x="102" y="134"/>
                    <a:pt x="98" y="134"/>
                  </a:cubicBezTo>
                  <a:cubicBezTo>
                    <a:pt x="89" y="134"/>
                    <a:pt x="81" y="135"/>
                    <a:pt x="73" y="136"/>
                  </a:cubicBezTo>
                  <a:cubicBezTo>
                    <a:pt x="61" y="138"/>
                    <a:pt x="50" y="142"/>
                    <a:pt x="39" y="146"/>
                  </a:cubicBezTo>
                  <a:cubicBezTo>
                    <a:pt x="41" y="149"/>
                    <a:pt x="42" y="152"/>
                    <a:pt x="43" y="155"/>
                  </a:cubicBezTo>
                  <a:cubicBezTo>
                    <a:pt x="45" y="158"/>
                    <a:pt x="50" y="159"/>
                    <a:pt x="53" y="160"/>
                  </a:cubicBezTo>
                  <a:cubicBezTo>
                    <a:pt x="52" y="161"/>
                    <a:pt x="52" y="162"/>
                    <a:pt x="51" y="162"/>
                  </a:cubicBezTo>
                  <a:cubicBezTo>
                    <a:pt x="58" y="166"/>
                    <a:pt x="66" y="173"/>
                    <a:pt x="74" y="175"/>
                  </a:cubicBezTo>
                  <a:cubicBezTo>
                    <a:pt x="78" y="176"/>
                    <a:pt x="82" y="176"/>
                    <a:pt x="85" y="176"/>
                  </a:cubicBezTo>
                  <a:cubicBezTo>
                    <a:pt x="87" y="176"/>
                    <a:pt x="88" y="176"/>
                    <a:pt x="90" y="176"/>
                  </a:cubicBezTo>
                  <a:cubicBezTo>
                    <a:pt x="91" y="176"/>
                    <a:pt x="92" y="176"/>
                    <a:pt x="94" y="176"/>
                  </a:cubicBezTo>
                  <a:cubicBezTo>
                    <a:pt x="95" y="176"/>
                    <a:pt x="96" y="176"/>
                    <a:pt x="97" y="176"/>
                  </a:cubicBezTo>
                  <a:cubicBezTo>
                    <a:pt x="99" y="176"/>
                    <a:pt x="100" y="176"/>
                    <a:pt x="101" y="176"/>
                  </a:cubicBezTo>
                  <a:cubicBezTo>
                    <a:pt x="108" y="177"/>
                    <a:pt x="114" y="178"/>
                    <a:pt x="121" y="178"/>
                  </a:cubicBezTo>
                  <a:cubicBezTo>
                    <a:pt x="123" y="179"/>
                    <a:pt x="128" y="178"/>
                    <a:pt x="130" y="180"/>
                  </a:cubicBezTo>
                  <a:cubicBezTo>
                    <a:pt x="130" y="180"/>
                    <a:pt x="130" y="180"/>
                    <a:pt x="130" y="180"/>
                  </a:cubicBezTo>
                  <a:cubicBezTo>
                    <a:pt x="129" y="180"/>
                    <a:pt x="129" y="180"/>
                    <a:pt x="128" y="180"/>
                  </a:cubicBezTo>
                  <a:cubicBezTo>
                    <a:pt x="128" y="180"/>
                    <a:pt x="127" y="179"/>
                    <a:pt x="127" y="179"/>
                  </a:cubicBezTo>
                  <a:cubicBezTo>
                    <a:pt x="126" y="179"/>
                    <a:pt x="125" y="180"/>
                    <a:pt x="127" y="181"/>
                  </a:cubicBezTo>
                  <a:cubicBezTo>
                    <a:pt x="125" y="183"/>
                    <a:pt x="128" y="184"/>
                    <a:pt x="129" y="185"/>
                  </a:cubicBezTo>
                  <a:cubicBezTo>
                    <a:pt x="129" y="185"/>
                    <a:pt x="128" y="185"/>
                    <a:pt x="128" y="185"/>
                  </a:cubicBezTo>
                  <a:cubicBezTo>
                    <a:pt x="129" y="187"/>
                    <a:pt x="128" y="188"/>
                    <a:pt x="127" y="190"/>
                  </a:cubicBezTo>
                  <a:cubicBezTo>
                    <a:pt x="126" y="196"/>
                    <a:pt x="134" y="202"/>
                    <a:pt x="138" y="207"/>
                  </a:cubicBezTo>
                  <a:cubicBezTo>
                    <a:pt x="138" y="207"/>
                    <a:pt x="139" y="207"/>
                    <a:pt x="141" y="207"/>
                  </a:cubicBezTo>
                  <a:cubicBezTo>
                    <a:pt x="144" y="207"/>
                    <a:pt x="149" y="206"/>
                    <a:pt x="150" y="206"/>
                  </a:cubicBezTo>
                  <a:cubicBezTo>
                    <a:pt x="160" y="206"/>
                    <a:pt x="170" y="205"/>
                    <a:pt x="179" y="204"/>
                  </a:cubicBezTo>
                  <a:cubicBezTo>
                    <a:pt x="192" y="203"/>
                    <a:pt x="204" y="203"/>
                    <a:pt x="216" y="201"/>
                  </a:cubicBezTo>
                  <a:cubicBezTo>
                    <a:pt x="223" y="200"/>
                    <a:pt x="231" y="200"/>
                    <a:pt x="237" y="197"/>
                  </a:cubicBezTo>
                  <a:cubicBezTo>
                    <a:pt x="242" y="194"/>
                    <a:pt x="244" y="189"/>
                    <a:pt x="250" y="189"/>
                  </a:cubicBezTo>
                  <a:cubicBezTo>
                    <a:pt x="254" y="188"/>
                    <a:pt x="259" y="188"/>
                    <a:pt x="263" y="187"/>
                  </a:cubicBezTo>
                  <a:cubicBezTo>
                    <a:pt x="266" y="187"/>
                    <a:pt x="270" y="187"/>
                    <a:pt x="272" y="186"/>
                  </a:cubicBezTo>
                  <a:cubicBezTo>
                    <a:pt x="275" y="185"/>
                    <a:pt x="277" y="182"/>
                    <a:pt x="279" y="181"/>
                  </a:cubicBezTo>
                  <a:cubicBezTo>
                    <a:pt x="280" y="180"/>
                    <a:pt x="281" y="179"/>
                    <a:pt x="282" y="178"/>
                  </a:cubicBezTo>
                  <a:cubicBezTo>
                    <a:pt x="284" y="177"/>
                    <a:pt x="282" y="177"/>
                    <a:pt x="282" y="176"/>
                  </a:cubicBezTo>
                  <a:cubicBezTo>
                    <a:pt x="283" y="173"/>
                    <a:pt x="288" y="167"/>
                    <a:pt x="291" y="167"/>
                  </a:cubicBezTo>
                  <a:cubicBezTo>
                    <a:pt x="292" y="167"/>
                    <a:pt x="292" y="167"/>
                    <a:pt x="292" y="167"/>
                  </a:cubicBezTo>
                  <a:cubicBezTo>
                    <a:pt x="296" y="168"/>
                    <a:pt x="299" y="173"/>
                    <a:pt x="297" y="176"/>
                  </a:cubicBezTo>
                  <a:cubicBezTo>
                    <a:pt x="296" y="178"/>
                    <a:pt x="293" y="178"/>
                    <a:pt x="297" y="180"/>
                  </a:cubicBezTo>
                  <a:cubicBezTo>
                    <a:pt x="298" y="180"/>
                    <a:pt x="299" y="180"/>
                    <a:pt x="301" y="180"/>
                  </a:cubicBezTo>
                  <a:cubicBezTo>
                    <a:pt x="302" y="180"/>
                    <a:pt x="303" y="180"/>
                    <a:pt x="305" y="180"/>
                  </a:cubicBezTo>
                  <a:cubicBezTo>
                    <a:pt x="306" y="180"/>
                    <a:pt x="308" y="180"/>
                    <a:pt x="309" y="180"/>
                  </a:cubicBezTo>
                  <a:cubicBezTo>
                    <a:pt x="309" y="180"/>
                    <a:pt x="310" y="180"/>
                    <a:pt x="310" y="180"/>
                  </a:cubicBezTo>
                  <a:cubicBezTo>
                    <a:pt x="312" y="180"/>
                    <a:pt x="314" y="180"/>
                    <a:pt x="316" y="181"/>
                  </a:cubicBezTo>
                  <a:cubicBezTo>
                    <a:pt x="316" y="182"/>
                    <a:pt x="316" y="182"/>
                    <a:pt x="317" y="182"/>
                  </a:cubicBezTo>
                  <a:cubicBezTo>
                    <a:pt x="318" y="183"/>
                    <a:pt x="319" y="183"/>
                    <a:pt x="319" y="183"/>
                  </a:cubicBezTo>
                  <a:cubicBezTo>
                    <a:pt x="320" y="183"/>
                    <a:pt x="321" y="183"/>
                    <a:pt x="322" y="183"/>
                  </a:cubicBezTo>
                  <a:cubicBezTo>
                    <a:pt x="322" y="183"/>
                    <a:pt x="323" y="182"/>
                    <a:pt x="324" y="182"/>
                  </a:cubicBezTo>
                  <a:cubicBezTo>
                    <a:pt x="324" y="182"/>
                    <a:pt x="324" y="182"/>
                    <a:pt x="324" y="182"/>
                  </a:cubicBezTo>
                  <a:cubicBezTo>
                    <a:pt x="325" y="182"/>
                    <a:pt x="329" y="183"/>
                    <a:pt x="329" y="184"/>
                  </a:cubicBezTo>
                  <a:cubicBezTo>
                    <a:pt x="330" y="186"/>
                    <a:pt x="327" y="185"/>
                    <a:pt x="327" y="187"/>
                  </a:cubicBezTo>
                  <a:cubicBezTo>
                    <a:pt x="324" y="187"/>
                    <a:pt x="323" y="188"/>
                    <a:pt x="321" y="189"/>
                  </a:cubicBezTo>
                  <a:cubicBezTo>
                    <a:pt x="322" y="190"/>
                    <a:pt x="324" y="190"/>
                    <a:pt x="326" y="190"/>
                  </a:cubicBezTo>
                  <a:cubicBezTo>
                    <a:pt x="327" y="190"/>
                    <a:pt x="329" y="190"/>
                    <a:pt x="331" y="190"/>
                  </a:cubicBezTo>
                  <a:cubicBezTo>
                    <a:pt x="333" y="189"/>
                    <a:pt x="337" y="189"/>
                    <a:pt x="341" y="189"/>
                  </a:cubicBezTo>
                  <a:cubicBezTo>
                    <a:pt x="342" y="189"/>
                    <a:pt x="344" y="189"/>
                    <a:pt x="345" y="189"/>
                  </a:cubicBezTo>
                  <a:cubicBezTo>
                    <a:pt x="346" y="190"/>
                    <a:pt x="345" y="192"/>
                    <a:pt x="347" y="192"/>
                  </a:cubicBezTo>
                  <a:cubicBezTo>
                    <a:pt x="353" y="193"/>
                    <a:pt x="359" y="193"/>
                    <a:pt x="364" y="194"/>
                  </a:cubicBezTo>
                  <a:cubicBezTo>
                    <a:pt x="368" y="194"/>
                    <a:pt x="371" y="194"/>
                    <a:pt x="373" y="194"/>
                  </a:cubicBezTo>
                  <a:cubicBezTo>
                    <a:pt x="377" y="194"/>
                    <a:pt x="381" y="194"/>
                    <a:pt x="385" y="192"/>
                  </a:cubicBezTo>
                  <a:cubicBezTo>
                    <a:pt x="388" y="191"/>
                    <a:pt x="390" y="190"/>
                    <a:pt x="394" y="189"/>
                  </a:cubicBezTo>
                  <a:cubicBezTo>
                    <a:pt x="397" y="188"/>
                    <a:pt x="397" y="189"/>
                    <a:pt x="397" y="186"/>
                  </a:cubicBezTo>
                  <a:cubicBezTo>
                    <a:pt x="397" y="186"/>
                    <a:pt x="397" y="187"/>
                    <a:pt x="397" y="188"/>
                  </a:cubicBezTo>
                  <a:cubicBezTo>
                    <a:pt x="398" y="188"/>
                    <a:pt x="401" y="188"/>
                    <a:pt x="402" y="186"/>
                  </a:cubicBezTo>
                  <a:cubicBezTo>
                    <a:pt x="402" y="186"/>
                    <a:pt x="400" y="185"/>
                    <a:pt x="400" y="185"/>
                  </a:cubicBezTo>
                  <a:cubicBezTo>
                    <a:pt x="401" y="184"/>
                    <a:pt x="401" y="184"/>
                    <a:pt x="402" y="183"/>
                  </a:cubicBezTo>
                  <a:cubicBezTo>
                    <a:pt x="402" y="182"/>
                    <a:pt x="403" y="180"/>
                    <a:pt x="403" y="179"/>
                  </a:cubicBezTo>
                  <a:cubicBezTo>
                    <a:pt x="402" y="179"/>
                    <a:pt x="401" y="178"/>
                    <a:pt x="401" y="178"/>
                  </a:cubicBezTo>
                  <a:cubicBezTo>
                    <a:pt x="400" y="178"/>
                    <a:pt x="400" y="178"/>
                    <a:pt x="400" y="178"/>
                  </a:cubicBezTo>
                  <a:cubicBezTo>
                    <a:pt x="397" y="179"/>
                    <a:pt x="397" y="179"/>
                    <a:pt x="397" y="180"/>
                  </a:cubicBezTo>
                  <a:cubicBezTo>
                    <a:pt x="397" y="180"/>
                    <a:pt x="397" y="179"/>
                    <a:pt x="397" y="179"/>
                  </a:cubicBezTo>
                  <a:cubicBezTo>
                    <a:pt x="397" y="179"/>
                    <a:pt x="396" y="179"/>
                    <a:pt x="395" y="179"/>
                  </a:cubicBezTo>
                  <a:cubicBezTo>
                    <a:pt x="395" y="179"/>
                    <a:pt x="394" y="179"/>
                    <a:pt x="394" y="179"/>
                  </a:cubicBezTo>
                  <a:cubicBezTo>
                    <a:pt x="393" y="177"/>
                    <a:pt x="395" y="178"/>
                    <a:pt x="396" y="177"/>
                  </a:cubicBezTo>
                  <a:cubicBezTo>
                    <a:pt x="397" y="175"/>
                    <a:pt x="395" y="174"/>
                    <a:pt x="393" y="174"/>
                  </a:cubicBezTo>
                  <a:cubicBezTo>
                    <a:pt x="394" y="173"/>
                    <a:pt x="396" y="173"/>
                    <a:pt x="397" y="172"/>
                  </a:cubicBezTo>
                  <a:cubicBezTo>
                    <a:pt x="397" y="172"/>
                    <a:pt x="397" y="172"/>
                    <a:pt x="397" y="172"/>
                  </a:cubicBezTo>
                  <a:cubicBezTo>
                    <a:pt x="397" y="172"/>
                    <a:pt x="397" y="172"/>
                    <a:pt x="397" y="172"/>
                  </a:cubicBezTo>
                  <a:cubicBezTo>
                    <a:pt x="399" y="171"/>
                    <a:pt x="399" y="169"/>
                    <a:pt x="397" y="169"/>
                  </a:cubicBezTo>
                  <a:cubicBezTo>
                    <a:pt x="397" y="169"/>
                    <a:pt x="397" y="169"/>
                    <a:pt x="397" y="169"/>
                  </a:cubicBezTo>
                  <a:cubicBezTo>
                    <a:pt x="396" y="168"/>
                    <a:pt x="393" y="167"/>
                    <a:pt x="391" y="167"/>
                  </a:cubicBezTo>
                  <a:cubicBezTo>
                    <a:pt x="390" y="167"/>
                    <a:pt x="390" y="167"/>
                    <a:pt x="389" y="167"/>
                  </a:cubicBezTo>
                  <a:cubicBezTo>
                    <a:pt x="386" y="167"/>
                    <a:pt x="386" y="169"/>
                    <a:pt x="383" y="170"/>
                  </a:cubicBezTo>
                  <a:cubicBezTo>
                    <a:pt x="379" y="171"/>
                    <a:pt x="378" y="171"/>
                    <a:pt x="376" y="174"/>
                  </a:cubicBezTo>
                  <a:cubicBezTo>
                    <a:pt x="375" y="175"/>
                    <a:pt x="371" y="182"/>
                    <a:pt x="370" y="182"/>
                  </a:cubicBezTo>
                  <a:cubicBezTo>
                    <a:pt x="370" y="182"/>
                    <a:pt x="370" y="182"/>
                    <a:pt x="370" y="182"/>
                  </a:cubicBezTo>
                  <a:cubicBezTo>
                    <a:pt x="367" y="182"/>
                    <a:pt x="370" y="179"/>
                    <a:pt x="371" y="178"/>
                  </a:cubicBezTo>
                  <a:cubicBezTo>
                    <a:pt x="373" y="176"/>
                    <a:pt x="373" y="176"/>
                    <a:pt x="374" y="173"/>
                  </a:cubicBezTo>
                  <a:cubicBezTo>
                    <a:pt x="374" y="170"/>
                    <a:pt x="374" y="170"/>
                    <a:pt x="374" y="170"/>
                  </a:cubicBezTo>
                  <a:cubicBezTo>
                    <a:pt x="374" y="169"/>
                    <a:pt x="373" y="169"/>
                    <a:pt x="373" y="169"/>
                  </a:cubicBezTo>
                  <a:cubicBezTo>
                    <a:pt x="373" y="169"/>
                    <a:pt x="373" y="169"/>
                    <a:pt x="373" y="169"/>
                  </a:cubicBezTo>
                  <a:cubicBezTo>
                    <a:pt x="373" y="169"/>
                    <a:pt x="373" y="169"/>
                    <a:pt x="373" y="169"/>
                  </a:cubicBezTo>
                  <a:cubicBezTo>
                    <a:pt x="372" y="169"/>
                    <a:pt x="372" y="169"/>
                    <a:pt x="372" y="169"/>
                  </a:cubicBezTo>
                  <a:cubicBezTo>
                    <a:pt x="370" y="168"/>
                    <a:pt x="370" y="166"/>
                    <a:pt x="369" y="164"/>
                  </a:cubicBezTo>
                  <a:cubicBezTo>
                    <a:pt x="368" y="163"/>
                    <a:pt x="366" y="164"/>
                    <a:pt x="365" y="162"/>
                  </a:cubicBezTo>
                  <a:cubicBezTo>
                    <a:pt x="363" y="161"/>
                    <a:pt x="364" y="158"/>
                    <a:pt x="365" y="158"/>
                  </a:cubicBezTo>
                  <a:cubicBezTo>
                    <a:pt x="365" y="158"/>
                    <a:pt x="366" y="158"/>
                    <a:pt x="366" y="158"/>
                  </a:cubicBezTo>
                  <a:cubicBezTo>
                    <a:pt x="368" y="158"/>
                    <a:pt x="370" y="161"/>
                    <a:pt x="372" y="162"/>
                  </a:cubicBezTo>
                  <a:cubicBezTo>
                    <a:pt x="374" y="163"/>
                    <a:pt x="378" y="164"/>
                    <a:pt x="381" y="164"/>
                  </a:cubicBezTo>
                  <a:cubicBezTo>
                    <a:pt x="383" y="164"/>
                    <a:pt x="385" y="164"/>
                    <a:pt x="385" y="163"/>
                  </a:cubicBezTo>
                  <a:cubicBezTo>
                    <a:pt x="386" y="159"/>
                    <a:pt x="386" y="159"/>
                    <a:pt x="386" y="159"/>
                  </a:cubicBezTo>
                  <a:cubicBezTo>
                    <a:pt x="385" y="158"/>
                    <a:pt x="385" y="159"/>
                    <a:pt x="383" y="158"/>
                  </a:cubicBezTo>
                  <a:cubicBezTo>
                    <a:pt x="385" y="156"/>
                    <a:pt x="388" y="157"/>
                    <a:pt x="390" y="155"/>
                  </a:cubicBezTo>
                  <a:cubicBezTo>
                    <a:pt x="391" y="153"/>
                    <a:pt x="391" y="150"/>
                    <a:pt x="392" y="150"/>
                  </a:cubicBezTo>
                  <a:cubicBezTo>
                    <a:pt x="393" y="150"/>
                    <a:pt x="393" y="150"/>
                    <a:pt x="393" y="150"/>
                  </a:cubicBezTo>
                  <a:cubicBezTo>
                    <a:pt x="394" y="150"/>
                    <a:pt x="393" y="152"/>
                    <a:pt x="393" y="152"/>
                  </a:cubicBezTo>
                  <a:cubicBezTo>
                    <a:pt x="393" y="152"/>
                    <a:pt x="394" y="152"/>
                    <a:pt x="394" y="152"/>
                  </a:cubicBezTo>
                  <a:cubicBezTo>
                    <a:pt x="394" y="152"/>
                    <a:pt x="394" y="152"/>
                    <a:pt x="395" y="152"/>
                  </a:cubicBezTo>
                  <a:cubicBezTo>
                    <a:pt x="395" y="152"/>
                    <a:pt x="395" y="152"/>
                    <a:pt x="395" y="152"/>
                  </a:cubicBezTo>
                  <a:cubicBezTo>
                    <a:pt x="396" y="152"/>
                    <a:pt x="396" y="152"/>
                    <a:pt x="396" y="152"/>
                  </a:cubicBezTo>
                  <a:cubicBezTo>
                    <a:pt x="397" y="152"/>
                    <a:pt x="397" y="154"/>
                    <a:pt x="397" y="154"/>
                  </a:cubicBezTo>
                  <a:cubicBezTo>
                    <a:pt x="397" y="154"/>
                    <a:pt x="397" y="154"/>
                    <a:pt x="397" y="154"/>
                  </a:cubicBezTo>
                  <a:cubicBezTo>
                    <a:pt x="397" y="154"/>
                    <a:pt x="397" y="155"/>
                    <a:pt x="398" y="155"/>
                  </a:cubicBezTo>
                  <a:cubicBezTo>
                    <a:pt x="399" y="156"/>
                    <a:pt x="398" y="156"/>
                    <a:pt x="400" y="156"/>
                  </a:cubicBezTo>
                  <a:cubicBezTo>
                    <a:pt x="402" y="156"/>
                    <a:pt x="403" y="159"/>
                    <a:pt x="405" y="160"/>
                  </a:cubicBezTo>
                  <a:cubicBezTo>
                    <a:pt x="405" y="158"/>
                    <a:pt x="406" y="157"/>
                    <a:pt x="407" y="156"/>
                  </a:cubicBezTo>
                  <a:cubicBezTo>
                    <a:pt x="408" y="154"/>
                    <a:pt x="409" y="152"/>
                    <a:pt x="410" y="150"/>
                  </a:cubicBezTo>
                  <a:cubicBezTo>
                    <a:pt x="411" y="152"/>
                    <a:pt x="409" y="153"/>
                    <a:pt x="410" y="155"/>
                  </a:cubicBezTo>
                  <a:cubicBezTo>
                    <a:pt x="411" y="157"/>
                    <a:pt x="416" y="159"/>
                    <a:pt x="419" y="159"/>
                  </a:cubicBezTo>
                  <a:cubicBezTo>
                    <a:pt x="420" y="159"/>
                    <a:pt x="420" y="159"/>
                    <a:pt x="420" y="159"/>
                  </a:cubicBezTo>
                  <a:cubicBezTo>
                    <a:pt x="426" y="158"/>
                    <a:pt x="421" y="146"/>
                    <a:pt x="421" y="142"/>
                  </a:cubicBezTo>
                  <a:cubicBezTo>
                    <a:pt x="421" y="141"/>
                    <a:pt x="421" y="139"/>
                    <a:pt x="420" y="138"/>
                  </a:cubicBezTo>
                  <a:cubicBezTo>
                    <a:pt x="420" y="138"/>
                    <a:pt x="419" y="138"/>
                    <a:pt x="419" y="138"/>
                  </a:cubicBezTo>
                  <a:cubicBezTo>
                    <a:pt x="418" y="138"/>
                    <a:pt x="418" y="139"/>
                    <a:pt x="417" y="139"/>
                  </a:cubicBezTo>
                  <a:cubicBezTo>
                    <a:pt x="416" y="139"/>
                    <a:pt x="415" y="140"/>
                    <a:pt x="415" y="140"/>
                  </a:cubicBezTo>
                  <a:cubicBezTo>
                    <a:pt x="414" y="140"/>
                    <a:pt x="414" y="140"/>
                    <a:pt x="414" y="140"/>
                  </a:cubicBezTo>
                  <a:cubicBezTo>
                    <a:pt x="413" y="140"/>
                    <a:pt x="412" y="139"/>
                    <a:pt x="412" y="139"/>
                  </a:cubicBezTo>
                  <a:cubicBezTo>
                    <a:pt x="412" y="139"/>
                    <a:pt x="412" y="139"/>
                    <a:pt x="411" y="139"/>
                  </a:cubicBezTo>
                  <a:cubicBezTo>
                    <a:pt x="411" y="140"/>
                    <a:pt x="411" y="140"/>
                    <a:pt x="411" y="140"/>
                  </a:cubicBezTo>
                  <a:cubicBezTo>
                    <a:pt x="411" y="140"/>
                    <a:pt x="410" y="140"/>
                    <a:pt x="410" y="140"/>
                  </a:cubicBezTo>
                  <a:cubicBezTo>
                    <a:pt x="410" y="140"/>
                    <a:pt x="410" y="140"/>
                    <a:pt x="410" y="140"/>
                  </a:cubicBezTo>
                  <a:cubicBezTo>
                    <a:pt x="410" y="140"/>
                    <a:pt x="409" y="140"/>
                    <a:pt x="409" y="140"/>
                  </a:cubicBezTo>
                  <a:cubicBezTo>
                    <a:pt x="409" y="140"/>
                    <a:pt x="409" y="140"/>
                    <a:pt x="409" y="140"/>
                  </a:cubicBezTo>
                  <a:cubicBezTo>
                    <a:pt x="408" y="141"/>
                    <a:pt x="408" y="141"/>
                    <a:pt x="408" y="141"/>
                  </a:cubicBezTo>
                  <a:cubicBezTo>
                    <a:pt x="407" y="141"/>
                    <a:pt x="407" y="141"/>
                    <a:pt x="407" y="140"/>
                  </a:cubicBezTo>
                  <a:cubicBezTo>
                    <a:pt x="405" y="138"/>
                    <a:pt x="408" y="133"/>
                    <a:pt x="404" y="133"/>
                  </a:cubicBezTo>
                  <a:cubicBezTo>
                    <a:pt x="404" y="133"/>
                    <a:pt x="403" y="133"/>
                    <a:pt x="403" y="133"/>
                  </a:cubicBezTo>
                  <a:cubicBezTo>
                    <a:pt x="401" y="133"/>
                    <a:pt x="401" y="135"/>
                    <a:pt x="399" y="135"/>
                  </a:cubicBezTo>
                  <a:cubicBezTo>
                    <a:pt x="399" y="135"/>
                    <a:pt x="398" y="134"/>
                    <a:pt x="397" y="134"/>
                  </a:cubicBezTo>
                  <a:cubicBezTo>
                    <a:pt x="397" y="134"/>
                    <a:pt x="397" y="134"/>
                    <a:pt x="397" y="135"/>
                  </a:cubicBezTo>
                  <a:cubicBezTo>
                    <a:pt x="397" y="134"/>
                    <a:pt x="397" y="133"/>
                    <a:pt x="396" y="133"/>
                  </a:cubicBezTo>
                  <a:cubicBezTo>
                    <a:pt x="396" y="132"/>
                    <a:pt x="395" y="132"/>
                    <a:pt x="394" y="132"/>
                  </a:cubicBezTo>
                  <a:cubicBezTo>
                    <a:pt x="394" y="132"/>
                    <a:pt x="394" y="132"/>
                    <a:pt x="394" y="132"/>
                  </a:cubicBezTo>
                  <a:cubicBezTo>
                    <a:pt x="394" y="132"/>
                    <a:pt x="393" y="132"/>
                    <a:pt x="393" y="132"/>
                  </a:cubicBezTo>
                  <a:cubicBezTo>
                    <a:pt x="393" y="132"/>
                    <a:pt x="393" y="132"/>
                    <a:pt x="393" y="132"/>
                  </a:cubicBezTo>
                  <a:cubicBezTo>
                    <a:pt x="391" y="131"/>
                    <a:pt x="391" y="130"/>
                    <a:pt x="389" y="129"/>
                  </a:cubicBezTo>
                  <a:cubicBezTo>
                    <a:pt x="388" y="128"/>
                    <a:pt x="386" y="127"/>
                    <a:pt x="384" y="127"/>
                  </a:cubicBezTo>
                  <a:cubicBezTo>
                    <a:pt x="383" y="126"/>
                    <a:pt x="380" y="126"/>
                    <a:pt x="379" y="125"/>
                  </a:cubicBezTo>
                  <a:cubicBezTo>
                    <a:pt x="377" y="124"/>
                    <a:pt x="378" y="122"/>
                    <a:pt x="377" y="121"/>
                  </a:cubicBezTo>
                  <a:cubicBezTo>
                    <a:pt x="376" y="119"/>
                    <a:pt x="372" y="118"/>
                    <a:pt x="370" y="118"/>
                  </a:cubicBezTo>
                  <a:cubicBezTo>
                    <a:pt x="370" y="119"/>
                    <a:pt x="370" y="120"/>
                    <a:pt x="371" y="121"/>
                  </a:cubicBezTo>
                  <a:cubicBezTo>
                    <a:pt x="372" y="123"/>
                    <a:pt x="374" y="123"/>
                    <a:pt x="375" y="125"/>
                  </a:cubicBezTo>
                  <a:cubicBezTo>
                    <a:pt x="375" y="125"/>
                    <a:pt x="375" y="125"/>
                    <a:pt x="374" y="125"/>
                  </a:cubicBezTo>
                  <a:cubicBezTo>
                    <a:pt x="372" y="125"/>
                    <a:pt x="371" y="124"/>
                    <a:pt x="369" y="123"/>
                  </a:cubicBezTo>
                  <a:cubicBezTo>
                    <a:pt x="366" y="120"/>
                    <a:pt x="365" y="122"/>
                    <a:pt x="362" y="121"/>
                  </a:cubicBezTo>
                  <a:cubicBezTo>
                    <a:pt x="360" y="120"/>
                    <a:pt x="359" y="118"/>
                    <a:pt x="357" y="117"/>
                  </a:cubicBezTo>
                  <a:cubicBezTo>
                    <a:pt x="357" y="116"/>
                    <a:pt x="355" y="115"/>
                    <a:pt x="355" y="115"/>
                  </a:cubicBezTo>
                  <a:cubicBezTo>
                    <a:pt x="354" y="114"/>
                    <a:pt x="352" y="115"/>
                    <a:pt x="351" y="114"/>
                  </a:cubicBezTo>
                  <a:cubicBezTo>
                    <a:pt x="350" y="113"/>
                    <a:pt x="350" y="111"/>
                    <a:pt x="349" y="110"/>
                  </a:cubicBezTo>
                  <a:cubicBezTo>
                    <a:pt x="348" y="107"/>
                    <a:pt x="347" y="106"/>
                    <a:pt x="345" y="105"/>
                  </a:cubicBezTo>
                  <a:cubicBezTo>
                    <a:pt x="343" y="104"/>
                    <a:pt x="341" y="104"/>
                    <a:pt x="339" y="102"/>
                  </a:cubicBezTo>
                  <a:cubicBezTo>
                    <a:pt x="337" y="101"/>
                    <a:pt x="337" y="101"/>
                    <a:pt x="338" y="99"/>
                  </a:cubicBezTo>
                  <a:cubicBezTo>
                    <a:pt x="338" y="96"/>
                    <a:pt x="342" y="93"/>
                    <a:pt x="343" y="90"/>
                  </a:cubicBezTo>
                  <a:cubicBezTo>
                    <a:pt x="346" y="85"/>
                    <a:pt x="341" y="78"/>
                    <a:pt x="339" y="74"/>
                  </a:cubicBezTo>
                  <a:cubicBezTo>
                    <a:pt x="338" y="73"/>
                    <a:pt x="337" y="71"/>
                    <a:pt x="336" y="70"/>
                  </a:cubicBezTo>
                  <a:cubicBezTo>
                    <a:pt x="333" y="67"/>
                    <a:pt x="333" y="68"/>
                    <a:pt x="332" y="64"/>
                  </a:cubicBezTo>
                  <a:cubicBezTo>
                    <a:pt x="331" y="63"/>
                    <a:pt x="330" y="61"/>
                    <a:pt x="329" y="60"/>
                  </a:cubicBezTo>
                  <a:cubicBezTo>
                    <a:pt x="328" y="57"/>
                    <a:pt x="329" y="54"/>
                    <a:pt x="327" y="51"/>
                  </a:cubicBezTo>
                  <a:cubicBezTo>
                    <a:pt x="324" y="46"/>
                    <a:pt x="323" y="42"/>
                    <a:pt x="322" y="37"/>
                  </a:cubicBezTo>
                  <a:cubicBezTo>
                    <a:pt x="321" y="34"/>
                    <a:pt x="321" y="33"/>
                    <a:pt x="320" y="32"/>
                  </a:cubicBezTo>
                  <a:cubicBezTo>
                    <a:pt x="318" y="30"/>
                    <a:pt x="316" y="30"/>
                    <a:pt x="316" y="27"/>
                  </a:cubicBezTo>
                  <a:cubicBezTo>
                    <a:pt x="317" y="27"/>
                    <a:pt x="319" y="28"/>
                    <a:pt x="320" y="28"/>
                  </a:cubicBezTo>
                  <a:cubicBezTo>
                    <a:pt x="318" y="26"/>
                    <a:pt x="317" y="25"/>
                    <a:pt x="315" y="23"/>
                  </a:cubicBezTo>
                  <a:cubicBezTo>
                    <a:pt x="315" y="22"/>
                    <a:pt x="314" y="20"/>
                    <a:pt x="313" y="20"/>
                  </a:cubicBezTo>
                  <a:cubicBezTo>
                    <a:pt x="312" y="19"/>
                    <a:pt x="311" y="19"/>
                    <a:pt x="310" y="18"/>
                  </a:cubicBezTo>
                  <a:cubicBezTo>
                    <a:pt x="309" y="17"/>
                    <a:pt x="309" y="16"/>
                    <a:pt x="308" y="15"/>
                  </a:cubicBezTo>
                  <a:cubicBezTo>
                    <a:pt x="308" y="15"/>
                    <a:pt x="307" y="15"/>
                    <a:pt x="307" y="15"/>
                  </a:cubicBezTo>
                  <a:cubicBezTo>
                    <a:pt x="306" y="15"/>
                    <a:pt x="306" y="15"/>
                    <a:pt x="306" y="15"/>
                  </a:cubicBezTo>
                  <a:cubicBezTo>
                    <a:pt x="306" y="15"/>
                    <a:pt x="305" y="15"/>
                    <a:pt x="305" y="15"/>
                  </a:cubicBezTo>
                  <a:cubicBezTo>
                    <a:pt x="305" y="15"/>
                    <a:pt x="305" y="15"/>
                    <a:pt x="305" y="15"/>
                  </a:cubicBezTo>
                  <a:cubicBezTo>
                    <a:pt x="302" y="15"/>
                    <a:pt x="300" y="14"/>
                    <a:pt x="298" y="13"/>
                  </a:cubicBezTo>
                  <a:cubicBezTo>
                    <a:pt x="296" y="12"/>
                    <a:pt x="295" y="9"/>
                    <a:pt x="293" y="8"/>
                  </a:cubicBezTo>
                  <a:cubicBezTo>
                    <a:pt x="292" y="7"/>
                    <a:pt x="290" y="8"/>
                    <a:pt x="287" y="6"/>
                  </a:cubicBezTo>
                  <a:cubicBezTo>
                    <a:pt x="286" y="5"/>
                    <a:pt x="285" y="3"/>
                    <a:pt x="284" y="3"/>
                  </a:cubicBezTo>
                  <a:cubicBezTo>
                    <a:pt x="283" y="3"/>
                    <a:pt x="282" y="3"/>
                    <a:pt x="281" y="4"/>
                  </a:cubicBezTo>
                  <a:cubicBezTo>
                    <a:pt x="277" y="6"/>
                    <a:pt x="281" y="9"/>
                    <a:pt x="279" y="9"/>
                  </a:cubicBezTo>
                  <a:cubicBezTo>
                    <a:pt x="279" y="9"/>
                    <a:pt x="279" y="9"/>
                    <a:pt x="278" y="9"/>
                  </a:cubicBezTo>
                  <a:cubicBezTo>
                    <a:pt x="275" y="8"/>
                    <a:pt x="273" y="6"/>
                    <a:pt x="271" y="5"/>
                  </a:cubicBezTo>
                  <a:cubicBezTo>
                    <a:pt x="268" y="3"/>
                    <a:pt x="266" y="3"/>
                    <a:pt x="264" y="3"/>
                  </a:cubicBezTo>
                  <a:cubicBezTo>
                    <a:pt x="262" y="2"/>
                    <a:pt x="261" y="2"/>
                    <a:pt x="259" y="2"/>
                  </a:cubicBezTo>
                  <a:cubicBezTo>
                    <a:pt x="255" y="4"/>
                    <a:pt x="255" y="4"/>
                    <a:pt x="255" y="4"/>
                  </a:cubicBezTo>
                  <a:cubicBezTo>
                    <a:pt x="254" y="6"/>
                    <a:pt x="259" y="8"/>
                    <a:pt x="260" y="9"/>
                  </a:cubicBezTo>
                  <a:cubicBezTo>
                    <a:pt x="260" y="9"/>
                    <a:pt x="260" y="9"/>
                    <a:pt x="260" y="9"/>
                  </a:cubicBezTo>
                  <a:cubicBezTo>
                    <a:pt x="260" y="9"/>
                    <a:pt x="259" y="9"/>
                    <a:pt x="258" y="8"/>
                  </a:cubicBezTo>
                  <a:cubicBezTo>
                    <a:pt x="257" y="8"/>
                    <a:pt x="256" y="8"/>
                    <a:pt x="256" y="8"/>
                  </a:cubicBezTo>
                  <a:cubicBezTo>
                    <a:pt x="255" y="8"/>
                    <a:pt x="255" y="8"/>
                    <a:pt x="255" y="8"/>
                  </a:cubicBezTo>
                  <a:cubicBezTo>
                    <a:pt x="250" y="9"/>
                    <a:pt x="251" y="11"/>
                    <a:pt x="253" y="14"/>
                  </a:cubicBezTo>
                  <a:cubicBezTo>
                    <a:pt x="253" y="15"/>
                    <a:pt x="252" y="15"/>
                    <a:pt x="253" y="16"/>
                  </a:cubicBezTo>
                  <a:cubicBezTo>
                    <a:pt x="253" y="16"/>
                    <a:pt x="254" y="16"/>
                    <a:pt x="254" y="17"/>
                  </a:cubicBezTo>
                  <a:cubicBezTo>
                    <a:pt x="254" y="18"/>
                    <a:pt x="254" y="19"/>
                    <a:pt x="254" y="20"/>
                  </a:cubicBezTo>
                  <a:cubicBezTo>
                    <a:pt x="254" y="22"/>
                    <a:pt x="256" y="23"/>
                    <a:pt x="256" y="26"/>
                  </a:cubicBezTo>
                  <a:cubicBezTo>
                    <a:pt x="257" y="28"/>
                    <a:pt x="257" y="30"/>
                    <a:pt x="257" y="32"/>
                  </a:cubicBezTo>
                  <a:cubicBezTo>
                    <a:pt x="258" y="34"/>
                    <a:pt x="259" y="35"/>
                    <a:pt x="259" y="38"/>
                  </a:cubicBezTo>
                  <a:cubicBezTo>
                    <a:pt x="258" y="40"/>
                    <a:pt x="260" y="39"/>
                    <a:pt x="260" y="40"/>
                  </a:cubicBezTo>
                  <a:cubicBezTo>
                    <a:pt x="261" y="41"/>
                    <a:pt x="261" y="42"/>
                    <a:pt x="261" y="43"/>
                  </a:cubicBezTo>
                  <a:cubicBezTo>
                    <a:pt x="262" y="46"/>
                    <a:pt x="266" y="48"/>
                    <a:pt x="262" y="48"/>
                  </a:cubicBezTo>
                  <a:cubicBezTo>
                    <a:pt x="262" y="48"/>
                    <a:pt x="261" y="48"/>
                    <a:pt x="261" y="48"/>
                  </a:cubicBezTo>
                  <a:cubicBezTo>
                    <a:pt x="264" y="50"/>
                    <a:pt x="262" y="52"/>
                    <a:pt x="263" y="54"/>
                  </a:cubicBezTo>
                  <a:cubicBezTo>
                    <a:pt x="264" y="55"/>
                    <a:pt x="265" y="55"/>
                    <a:pt x="266" y="56"/>
                  </a:cubicBezTo>
                  <a:cubicBezTo>
                    <a:pt x="267" y="57"/>
                    <a:pt x="266" y="58"/>
                    <a:pt x="266" y="60"/>
                  </a:cubicBezTo>
                  <a:cubicBezTo>
                    <a:pt x="268" y="61"/>
                    <a:pt x="270" y="61"/>
                    <a:pt x="271" y="62"/>
                  </a:cubicBezTo>
                  <a:cubicBezTo>
                    <a:pt x="272" y="64"/>
                    <a:pt x="272" y="64"/>
                    <a:pt x="272" y="64"/>
                  </a:cubicBezTo>
                  <a:cubicBezTo>
                    <a:pt x="272" y="64"/>
                    <a:pt x="274" y="65"/>
                    <a:pt x="274" y="65"/>
                  </a:cubicBezTo>
                  <a:cubicBezTo>
                    <a:pt x="275" y="67"/>
                    <a:pt x="271" y="66"/>
                    <a:pt x="270" y="67"/>
                  </a:cubicBezTo>
                  <a:cubicBezTo>
                    <a:pt x="272" y="68"/>
                    <a:pt x="274" y="68"/>
                    <a:pt x="275" y="70"/>
                  </a:cubicBezTo>
                  <a:cubicBezTo>
                    <a:pt x="272" y="70"/>
                    <a:pt x="270" y="70"/>
                    <a:pt x="267" y="71"/>
                  </a:cubicBezTo>
                  <a:cubicBezTo>
                    <a:pt x="266" y="72"/>
                    <a:pt x="266" y="73"/>
                    <a:pt x="265" y="74"/>
                  </a:cubicBezTo>
                  <a:cubicBezTo>
                    <a:pt x="265" y="74"/>
                    <a:pt x="265" y="74"/>
                    <a:pt x="264" y="74"/>
                  </a:cubicBezTo>
                  <a:cubicBezTo>
                    <a:pt x="264" y="74"/>
                    <a:pt x="264" y="74"/>
                    <a:pt x="263" y="74"/>
                  </a:cubicBezTo>
                  <a:cubicBezTo>
                    <a:pt x="263" y="73"/>
                    <a:pt x="263" y="73"/>
                    <a:pt x="262" y="73"/>
                  </a:cubicBezTo>
                  <a:cubicBezTo>
                    <a:pt x="262" y="73"/>
                    <a:pt x="262" y="74"/>
                    <a:pt x="262" y="75"/>
                  </a:cubicBezTo>
                  <a:cubicBezTo>
                    <a:pt x="262" y="76"/>
                    <a:pt x="265" y="76"/>
                    <a:pt x="263" y="78"/>
                  </a:cubicBezTo>
                  <a:cubicBezTo>
                    <a:pt x="263" y="78"/>
                    <a:pt x="262" y="78"/>
                    <a:pt x="262" y="78"/>
                  </a:cubicBezTo>
                  <a:cubicBezTo>
                    <a:pt x="261" y="78"/>
                    <a:pt x="260" y="77"/>
                    <a:pt x="259" y="77"/>
                  </a:cubicBezTo>
                  <a:cubicBezTo>
                    <a:pt x="259" y="76"/>
                    <a:pt x="259" y="75"/>
                    <a:pt x="258" y="74"/>
                  </a:cubicBezTo>
                  <a:cubicBezTo>
                    <a:pt x="257" y="74"/>
                    <a:pt x="255" y="73"/>
                    <a:pt x="255" y="73"/>
                  </a:cubicBezTo>
                  <a:cubicBezTo>
                    <a:pt x="253" y="72"/>
                    <a:pt x="254" y="67"/>
                    <a:pt x="254" y="65"/>
                  </a:cubicBezTo>
                  <a:cubicBezTo>
                    <a:pt x="254" y="64"/>
                    <a:pt x="254" y="63"/>
                    <a:pt x="253" y="62"/>
                  </a:cubicBezTo>
                  <a:cubicBezTo>
                    <a:pt x="253" y="62"/>
                    <a:pt x="253" y="62"/>
                    <a:pt x="253" y="62"/>
                  </a:cubicBezTo>
                  <a:cubicBezTo>
                    <a:pt x="253" y="62"/>
                    <a:pt x="252" y="62"/>
                    <a:pt x="252" y="63"/>
                  </a:cubicBezTo>
                  <a:cubicBezTo>
                    <a:pt x="252" y="63"/>
                    <a:pt x="252" y="63"/>
                    <a:pt x="252" y="63"/>
                  </a:cubicBezTo>
                  <a:cubicBezTo>
                    <a:pt x="251" y="63"/>
                    <a:pt x="251" y="63"/>
                    <a:pt x="251" y="62"/>
                  </a:cubicBezTo>
                  <a:cubicBezTo>
                    <a:pt x="251" y="61"/>
                    <a:pt x="249" y="61"/>
                    <a:pt x="249" y="60"/>
                  </a:cubicBezTo>
                  <a:cubicBezTo>
                    <a:pt x="248" y="58"/>
                    <a:pt x="249" y="56"/>
                    <a:pt x="248" y="54"/>
                  </a:cubicBezTo>
                  <a:cubicBezTo>
                    <a:pt x="248" y="54"/>
                    <a:pt x="248" y="54"/>
                    <a:pt x="248" y="54"/>
                  </a:cubicBezTo>
                  <a:cubicBezTo>
                    <a:pt x="248" y="54"/>
                    <a:pt x="247" y="54"/>
                    <a:pt x="247" y="54"/>
                  </a:cubicBezTo>
                  <a:cubicBezTo>
                    <a:pt x="247" y="55"/>
                    <a:pt x="247" y="55"/>
                    <a:pt x="247" y="55"/>
                  </a:cubicBezTo>
                  <a:cubicBezTo>
                    <a:pt x="246" y="55"/>
                    <a:pt x="246" y="54"/>
                    <a:pt x="246" y="53"/>
                  </a:cubicBezTo>
                  <a:cubicBezTo>
                    <a:pt x="246" y="52"/>
                    <a:pt x="245" y="51"/>
                    <a:pt x="245" y="50"/>
                  </a:cubicBezTo>
                  <a:cubicBezTo>
                    <a:pt x="244" y="46"/>
                    <a:pt x="246" y="41"/>
                    <a:pt x="244" y="37"/>
                  </a:cubicBezTo>
                  <a:cubicBezTo>
                    <a:pt x="243" y="36"/>
                    <a:pt x="242" y="36"/>
                    <a:pt x="241" y="35"/>
                  </a:cubicBezTo>
                  <a:cubicBezTo>
                    <a:pt x="241" y="35"/>
                    <a:pt x="240" y="35"/>
                    <a:pt x="240" y="35"/>
                  </a:cubicBezTo>
                  <a:cubicBezTo>
                    <a:pt x="240" y="35"/>
                    <a:pt x="239" y="36"/>
                    <a:pt x="238" y="36"/>
                  </a:cubicBezTo>
                  <a:cubicBezTo>
                    <a:pt x="238" y="36"/>
                    <a:pt x="237" y="36"/>
                    <a:pt x="237" y="36"/>
                  </a:cubicBezTo>
                  <a:cubicBezTo>
                    <a:pt x="237" y="36"/>
                    <a:pt x="237" y="36"/>
                    <a:pt x="237" y="36"/>
                  </a:cubicBezTo>
                  <a:cubicBezTo>
                    <a:pt x="236" y="35"/>
                    <a:pt x="236" y="32"/>
                    <a:pt x="235" y="31"/>
                  </a:cubicBezTo>
                  <a:cubicBezTo>
                    <a:pt x="235" y="31"/>
                    <a:pt x="233" y="31"/>
                    <a:pt x="233" y="31"/>
                  </a:cubicBezTo>
                  <a:cubicBezTo>
                    <a:pt x="232" y="30"/>
                    <a:pt x="232" y="29"/>
                    <a:pt x="232" y="28"/>
                  </a:cubicBezTo>
                  <a:cubicBezTo>
                    <a:pt x="231" y="28"/>
                    <a:pt x="231" y="28"/>
                    <a:pt x="230" y="28"/>
                  </a:cubicBezTo>
                  <a:cubicBezTo>
                    <a:pt x="230" y="28"/>
                    <a:pt x="230" y="28"/>
                    <a:pt x="229" y="28"/>
                  </a:cubicBezTo>
                  <a:cubicBezTo>
                    <a:pt x="229" y="28"/>
                    <a:pt x="229" y="28"/>
                    <a:pt x="228" y="28"/>
                  </a:cubicBezTo>
                  <a:cubicBezTo>
                    <a:pt x="228" y="28"/>
                    <a:pt x="228" y="28"/>
                    <a:pt x="228" y="28"/>
                  </a:cubicBezTo>
                  <a:cubicBezTo>
                    <a:pt x="226" y="27"/>
                    <a:pt x="226" y="27"/>
                    <a:pt x="224" y="26"/>
                  </a:cubicBezTo>
                  <a:cubicBezTo>
                    <a:pt x="223" y="25"/>
                    <a:pt x="221" y="25"/>
                    <a:pt x="220" y="24"/>
                  </a:cubicBezTo>
                  <a:cubicBezTo>
                    <a:pt x="217" y="23"/>
                    <a:pt x="218" y="22"/>
                    <a:pt x="220" y="21"/>
                  </a:cubicBezTo>
                  <a:cubicBezTo>
                    <a:pt x="219" y="20"/>
                    <a:pt x="218" y="20"/>
                    <a:pt x="217" y="20"/>
                  </a:cubicBezTo>
                  <a:cubicBezTo>
                    <a:pt x="217" y="20"/>
                    <a:pt x="217" y="20"/>
                    <a:pt x="217" y="20"/>
                  </a:cubicBezTo>
                  <a:cubicBezTo>
                    <a:pt x="216" y="20"/>
                    <a:pt x="216" y="20"/>
                    <a:pt x="216" y="20"/>
                  </a:cubicBezTo>
                  <a:cubicBezTo>
                    <a:pt x="216" y="21"/>
                    <a:pt x="215" y="21"/>
                    <a:pt x="215" y="21"/>
                  </a:cubicBezTo>
                  <a:cubicBezTo>
                    <a:pt x="215" y="21"/>
                    <a:pt x="215" y="21"/>
                    <a:pt x="215" y="21"/>
                  </a:cubicBezTo>
                  <a:cubicBezTo>
                    <a:pt x="214" y="20"/>
                    <a:pt x="215" y="19"/>
                    <a:pt x="214" y="19"/>
                  </a:cubicBezTo>
                  <a:cubicBezTo>
                    <a:pt x="213" y="18"/>
                    <a:pt x="211" y="18"/>
                    <a:pt x="210" y="18"/>
                  </a:cubicBezTo>
                  <a:cubicBezTo>
                    <a:pt x="208" y="18"/>
                    <a:pt x="206" y="18"/>
                    <a:pt x="204" y="18"/>
                  </a:cubicBezTo>
                  <a:cubicBezTo>
                    <a:pt x="201" y="18"/>
                    <a:pt x="197" y="18"/>
                    <a:pt x="194" y="19"/>
                  </a:cubicBezTo>
                  <a:cubicBezTo>
                    <a:pt x="195" y="20"/>
                    <a:pt x="198" y="23"/>
                    <a:pt x="199" y="24"/>
                  </a:cubicBezTo>
                  <a:cubicBezTo>
                    <a:pt x="203" y="26"/>
                    <a:pt x="204" y="23"/>
                    <a:pt x="205" y="28"/>
                  </a:cubicBezTo>
                  <a:cubicBezTo>
                    <a:pt x="205" y="28"/>
                    <a:pt x="206" y="29"/>
                    <a:pt x="207" y="29"/>
                  </a:cubicBezTo>
                  <a:cubicBezTo>
                    <a:pt x="208" y="29"/>
                    <a:pt x="209" y="28"/>
                    <a:pt x="209" y="28"/>
                  </a:cubicBezTo>
                  <a:cubicBezTo>
                    <a:pt x="210" y="28"/>
                    <a:pt x="212" y="28"/>
                    <a:pt x="213" y="28"/>
                  </a:cubicBezTo>
                  <a:cubicBezTo>
                    <a:pt x="214" y="28"/>
                    <a:pt x="216" y="29"/>
                    <a:pt x="216" y="30"/>
                  </a:cubicBezTo>
                  <a:cubicBezTo>
                    <a:pt x="217" y="31"/>
                    <a:pt x="216" y="31"/>
                    <a:pt x="216" y="31"/>
                  </a:cubicBezTo>
                  <a:cubicBezTo>
                    <a:pt x="215" y="31"/>
                    <a:pt x="214" y="31"/>
                    <a:pt x="214" y="31"/>
                  </a:cubicBezTo>
                  <a:cubicBezTo>
                    <a:pt x="212" y="31"/>
                    <a:pt x="211" y="31"/>
                    <a:pt x="210" y="31"/>
                  </a:cubicBezTo>
                  <a:cubicBezTo>
                    <a:pt x="210" y="31"/>
                    <a:pt x="209" y="31"/>
                    <a:pt x="208" y="31"/>
                  </a:cubicBezTo>
                  <a:cubicBezTo>
                    <a:pt x="207" y="31"/>
                    <a:pt x="206" y="31"/>
                    <a:pt x="205" y="32"/>
                  </a:cubicBezTo>
                  <a:cubicBezTo>
                    <a:pt x="205" y="32"/>
                    <a:pt x="206" y="33"/>
                    <a:pt x="206" y="33"/>
                  </a:cubicBezTo>
                  <a:cubicBezTo>
                    <a:pt x="207" y="33"/>
                    <a:pt x="207" y="33"/>
                    <a:pt x="207" y="33"/>
                  </a:cubicBezTo>
                  <a:cubicBezTo>
                    <a:pt x="208" y="32"/>
                    <a:pt x="208" y="32"/>
                    <a:pt x="208" y="32"/>
                  </a:cubicBezTo>
                  <a:cubicBezTo>
                    <a:pt x="209" y="32"/>
                    <a:pt x="209" y="32"/>
                    <a:pt x="209" y="33"/>
                  </a:cubicBezTo>
                  <a:cubicBezTo>
                    <a:pt x="212" y="34"/>
                    <a:pt x="215" y="37"/>
                    <a:pt x="216" y="39"/>
                  </a:cubicBezTo>
                  <a:cubicBezTo>
                    <a:pt x="216" y="39"/>
                    <a:pt x="215" y="40"/>
                    <a:pt x="215" y="40"/>
                  </a:cubicBezTo>
                  <a:cubicBezTo>
                    <a:pt x="212" y="40"/>
                    <a:pt x="209" y="37"/>
                    <a:pt x="206" y="37"/>
                  </a:cubicBezTo>
                  <a:cubicBezTo>
                    <a:pt x="209" y="38"/>
                    <a:pt x="214" y="40"/>
                    <a:pt x="216" y="42"/>
                  </a:cubicBezTo>
                  <a:cubicBezTo>
                    <a:pt x="212" y="41"/>
                    <a:pt x="207" y="40"/>
                    <a:pt x="202" y="38"/>
                  </a:cubicBezTo>
                  <a:cubicBezTo>
                    <a:pt x="200" y="37"/>
                    <a:pt x="198" y="37"/>
                    <a:pt x="195" y="36"/>
                  </a:cubicBezTo>
                  <a:cubicBezTo>
                    <a:pt x="195" y="36"/>
                    <a:pt x="195" y="36"/>
                    <a:pt x="195" y="36"/>
                  </a:cubicBezTo>
                  <a:cubicBezTo>
                    <a:pt x="194" y="36"/>
                    <a:pt x="193" y="38"/>
                    <a:pt x="192" y="38"/>
                  </a:cubicBezTo>
                  <a:cubicBezTo>
                    <a:pt x="191" y="39"/>
                    <a:pt x="189" y="39"/>
                    <a:pt x="188" y="40"/>
                  </a:cubicBezTo>
                  <a:cubicBezTo>
                    <a:pt x="188" y="41"/>
                    <a:pt x="189" y="41"/>
                    <a:pt x="188" y="42"/>
                  </a:cubicBezTo>
                  <a:cubicBezTo>
                    <a:pt x="188" y="43"/>
                    <a:pt x="187" y="43"/>
                    <a:pt x="186" y="44"/>
                  </a:cubicBezTo>
                  <a:cubicBezTo>
                    <a:pt x="186" y="45"/>
                    <a:pt x="187" y="47"/>
                    <a:pt x="187" y="48"/>
                  </a:cubicBezTo>
                  <a:cubicBezTo>
                    <a:pt x="186" y="46"/>
                    <a:pt x="185" y="46"/>
                    <a:pt x="183" y="46"/>
                  </a:cubicBezTo>
                  <a:cubicBezTo>
                    <a:pt x="178" y="45"/>
                    <a:pt x="181" y="45"/>
                    <a:pt x="180" y="41"/>
                  </a:cubicBezTo>
                  <a:cubicBezTo>
                    <a:pt x="179" y="42"/>
                    <a:pt x="175" y="43"/>
                    <a:pt x="174" y="45"/>
                  </a:cubicBezTo>
                  <a:cubicBezTo>
                    <a:pt x="174" y="46"/>
                    <a:pt x="176" y="46"/>
                    <a:pt x="175" y="47"/>
                  </a:cubicBezTo>
                  <a:cubicBezTo>
                    <a:pt x="175" y="49"/>
                    <a:pt x="172" y="51"/>
                    <a:pt x="170" y="52"/>
                  </a:cubicBezTo>
                  <a:cubicBezTo>
                    <a:pt x="170" y="49"/>
                    <a:pt x="173" y="49"/>
                    <a:pt x="169" y="47"/>
                  </a:cubicBezTo>
                  <a:cubicBezTo>
                    <a:pt x="165" y="45"/>
                    <a:pt x="171" y="44"/>
                    <a:pt x="172" y="43"/>
                  </a:cubicBezTo>
                  <a:cubicBezTo>
                    <a:pt x="175" y="43"/>
                    <a:pt x="176" y="41"/>
                    <a:pt x="178" y="40"/>
                  </a:cubicBezTo>
                  <a:cubicBezTo>
                    <a:pt x="178" y="40"/>
                    <a:pt x="178" y="40"/>
                    <a:pt x="178" y="40"/>
                  </a:cubicBezTo>
                  <a:cubicBezTo>
                    <a:pt x="178" y="40"/>
                    <a:pt x="177" y="39"/>
                    <a:pt x="177" y="39"/>
                  </a:cubicBezTo>
                  <a:cubicBezTo>
                    <a:pt x="178" y="38"/>
                    <a:pt x="179" y="38"/>
                    <a:pt x="179" y="38"/>
                  </a:cubicBezTo>
                  <a:cubicBezTo>
                    <a:pt x="180" y="37"/>
                    <a:pt x="181" y="37"/>
                    <a:pt x="182" y="36"/>
                  </a:cubicBezTo>
                  <a:cubicBezTo>
                    <a:pt x="172" y="31"/>
                    <a:pt x="162" y="26"/>
                    <a:pt x="152" y="21"/>
                  </a:cubicBezTo>
                  <a:cubicBezTo>
                    <a:pt x="148" y="20"/>
                    <a:pt x="144" y="17"/>
                    <a:pt x="141" y="17"/>
                  </a:cubicBezTo>
                  <a:cubicBezTo>
                    <a:pt x="139" y="17"/>
                    <a:pt x="138" y="18"/>
                    <a:pt x="136" y="19"/>
                  </a:cubicBezTo>
                  <a:cubicBezTo>
                    <a:pt x="134" y="20"/>
                    <a:pt x="133" y="21"/>
                    <a:pt x="132" y="22"/>
                  </a:cubicBezTo>
                  <a:cubicBezTo>
                    <a:pt x="131" y="23"/>
                    <a:pt x="128" y="26"/>
                    <a:pt x="128" y="26"/>
                  </a:cubicBezTo>
                  <a:cubicBezTo>
                    <a:pt x="128" y="28"/>
                    <a:pt x="128" y="28"/>
                    <a:pt x="129" y="28"/>
                  </a:cubicBezTo>
                  <a:cubicBezTo>
                    <a:pt x="129" y="28"/>
                    <a:pt x="129" y="28"/>
                    <a:pt x="129" y="28"/>
                  </a:cubicBezTo>
                  <a:cubicBezTo>
                    <a:pt x="130" y="28"/>
                    <a:pt x="130" y="28"/>
                    <a:pt x="130" y="28"/>
                  </a:cubicBezTo>
                  <a:cubicBezTo>
                    <a:pt x="131" y="28"/>
                    <a:pt x="131" y="28"/>
                    <a:pt x="131" y="28"/>
                  </a:cubicBezTo>
                  <a:cubicBezTo>
                    <a:pt x="133" y="30"/>
                    <a:pt x="128" y="33"/>
                    <a:pt x="126" y="34"/>
                  </a:cubicBezTo>
                  <a:cubicBezTo>
                    <a:pt x="127" y="32"/>
                    <a:pt x="128" y="32"/>
                    <a:pt x="129" y="30"/>
                  </a:cubicBezTo>
                  <a:cubicBezTo>
                    <a:pt x="126" y="32"/>
                    <a:pt x="123" y="32"/>
                    <a:pt x="119" y="33"/>
                  </a:cubicBezTo>
                  <a:cubicBezTo>
                    <a:pt x="116" y="33"/>
                    <a:pt x="111" y="36"/>
                    <a:pt x="108" y="36"/>
                  </a:cubicBezTo>
                  <a:cubicBezTo>
                    <a:pt x="106" y="36"/>
                    <a:pt x="105" y="35"/>
                    <a:pt x="105" y="35"/>
                  </a:cubicBezTo>
                  <a:cubicBezTo>
                    <a:pt x="106" y="34"/>
                    <a:pt x="111" y="33"/>
                    <a:pt x="112" y="31"/>
                  </a:cubicBezTo>
                  <a:cubicBezTo>
                    <a:pt x="112" y="31"/>
                    <a:pt x="110" y="29"/>
                    <a:pt x="110" y="29"/>
                  </a:cubicBezTo>
                  <a:cubicBezTo>
                    <a:pt x="114" y="26"/>
                    <a:pt x="114" y="26"/>
                    <a:pt x="114" y="26"/>
                  </a:cubicBezTo>
                  <a:cubicBezTo>
                    <a:pt x="114" y="26"/>
                    <a:pt x="114" y="26"/>
                    <a:pt x="114" y="26"/>
                  </a:cubicBezTo>
                  <a:cubicBezTo>
                    <a:pt x="115" y="26"/>
                    <a:pt x="115" y="26"/>
                    <a:pt x="116" y="26"/>
                  </a:cubicBezTo>
                  <a:cubicBezTo>
                    <a:pt x="116" y="26"/>
                    <a:pt x="117" y="26"/>
                    <a:pt x="117" y="26"/>
                  </a:cubicBezTo>
                  <a:cubicBezTo>
                    <a:pt x="118" y="26"/>
                    <a:pt x="119" y="26"/>
                    <a:pt x="119" y="26"/>
                  </a:cubicBezTo>
                  <a:cubicBezTo>
                    <a:pt x="120" y="24"/>
                    <a:pt x="118" y="24"/>
                    <a:pt x="118" y="24"/>
                  </a:cubicBezTo>
                  <a:cubicBezTo>
                    <a:pt x="118" y="23"/>
                    <a:pt x="118" y="23"/>
                    <a:pt x="117" y="22"/>
                  </a:cubicBezTo>
                  <a:cubicBezTo>
                    <a:pt x="117" y="22"/>
                    <a:pt x="118" y="21"/>
                    <a:pt x="118" y="21"/>
                  </a:cubicBezTo>
                  <a:cubicBezTo>
                    <a:pt x="118" y="18"/>
                    <a:pt x="118" y="18"/>
                    <a:pt x="119" y="16"/>
                  </a:cubicBezTo>
                  <a:cubicBezTo>
                    <a:pt x="119" y="15"/>
                    <a:pt x="120" y="12"/>
                    <a:pt x="120" y="11"/>
                  </a:cubicBezTo>
                  <a:cubicBezTo>
                    <a:pt x="119" y="10"/>
                    <a:pt x="115" y="7"/>
                    <a:pt x="114" y="6"/>
                  </a:cubicBezTo>
                  <a:cubicBezTo>
                    <a:pt x="111" y="5"/>
                    <a:pt x="107" y="1"/>
                    <a:pt x="105" y="0"/>
                  </a:cubicBezTo>
                  <a:cubicBezTo>
                    <a:pt x="105" y="0"/>
                    <a:pt x="104" y="0"/>
                    <a:pt x="10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1" name="Freeform 294">
              <a:extLst>
                <a:ext uri="{FF2B5EF4-FFF2-40B4-BE49-F238E27FC236}">
                  <a16:creationId xmlns:a16="http://schemas.microsoft.com/office/drawing/2014/main" id="{730D51BC-5CF5-4E53-92C0-668C43809D56}"/>
                </a:ext>
              </a:extLst>
            </p:cNvPr>
            <p:cNvSpPr>
              <a:spLocks noEditPoints="1"/>
            </p:cNvSpPr>
            <p:nvPr/>
          </p:nvSpPr>
          <p:spPr bwMode="auto">
            <a:xfrm>
              <a:off x="7246929" y="1526409"/>
              <a:ext cx="382588" cy="409575"/>
            </a:xfrm>
            <a:custGeom>
              <a:avLst/>
              <a:gdLst>
                <a:gd name="T0" fmla="*/ 11 w 102"/>
                <a:gd name="T1" fmla="*/ 88 h 109"/>
                <a:gd name="T2" fmla="*/ 18 w 102"/>
                <a:gd name="T3" fmla="*/ 0 h 109"/>
                <a:gd name="T4" fmla="*/ 8 w 102"/>
                <a:gd name="T5" fmla="*/ 20 h 109"/>
                <a:gd name="T6" fmla="*/ 12 w 102"/>
                <a:gd name="T7" fmla="*/ 26 h 109"/>
                <a:gd name="T8" fmla="*/ 17 w 102"/>
                <a:gd name="T9" fmla="*/ 26 h 109"/>
                <a:gd name="T10" fmla="*/ 21 w 102"/>
                <a:gd name="T11" fmla="*/ 25 h 109"/>
                <a:gd name="T12" fmla="*/ 20 w 102"/>
                <a:gd name="T13" fmla="*/ 30 h 109"/>
                <a:gd name="T14" fmla="*/ 24 w 102"/>
                <a:gd name="T15" fmla="*/ 43 h 109"/>
                <a:gd name="T16" fmla="*/ 31 w 102"/>
                <a:gd name="T17" fmla="*/ 53 h 109"/>
                <a:gd name="T18" fmla="*/ 29 w 102"/>
                <a:gd name="T19" fmla="*/ 58 h 109"/>
                <a:gd name="T20" fmla="*/ 25 w 102"/>
                <a:gd name="T21" fmla="*/ 65 h 109"/>
                <a:gd name="T22" fmla="*/ 23 w 102"/>
                <a:gd name="T23" fmla="*/ 72 h 109"/>
                <a:gd name="T24" fmla="*/ 14 w 102"/>
                <a:gd name="T25" fmla="*/ 78 h 109"/>
                <a:gd name="T26" fmla="*/ 9 w 102"/>
                <a:gd name="T27" fmla="*/ 78 h 109"/>
                <a:gd name="T28" fmla="*/ 0 w 102"/>
                <a:gd name="T29" fmla="*/ 84 h 109"/>
                <a:gd name="T30" fmla="*/ 7 w 102"/>
                <a:gd name="T31" fmla="*/ 90 h 109"/>
                <a:gd name="T32" fmla="*/ 10 w 102"/>
                <a:gd name="T33" fmla="*/ 92 h 109"/>
                <a:gd name="T34" fmla="*/ 11 w 102"/>
                <a:gd name="T35" fmla="*/ 88 h 109"/>
                <a:gd name="T36" fmla="*/ 16 w 102"/>
                <a:gd name="T37" fmla="*/ 90 h 109"/>
                <a:gd name="T38" fmla="*/ 26 w 102"/>
                <a:gd name="T39" fmla="*/ 95 h 109"/>
                <a:gd name="T40" fmla="*/ 28 w 102"/>
                <a:gd name="T41" fmla="*/ 90 h 109"/>
                <a:gd name="T42" fmla="*/ 34 w 102"/>
                <a:gd name="T43" fmla="*/ 97 h 109"/>
                <a:gd name="T44" fmla="*/ 36 w 102"/>
                <a:gd name="T45" fmla="*/ 97 h 109"/>
                <a:gd name="T46" fmla="*/ 49 w 102"/>
                <a:gd name="T47" fmla="*/ 103 h 109"/>
                <a:gd name="T48" fmla="*/ 56 w 102"/>
                <a:gd name="T49" fmla="*/ 104 h 109"/>
                <a:gd name="T50" fmla="*/ 57 w 102"/>
                <a:gd name="T51" fmla="*/ 102 h 109"/>
                <a:gd name="T52" fmla="*/ 61 w 102"/>
                <a:gd name="T53" fmla="*/ 104 h 109"/>
                <a:gd name="T54" fmla="*/ 65 w 102"/>
                <a:gd name="T55" fmla="*/ 109 h 109"/>
                <a:gd name="T56" fmla="*/ 70 w 102"/>
                <a:gd name="T57" fmla="*/ 107 h 109"/>
                <a:gd name="T58" fmla="*/ 78 w 102"/>
                <a:gd name="T59" fmla="*/ 104 h 109"/>
                <a:gd name="T60" fmla="*/ 78 w 102"/>
                <a:gd name="T61" fmla="*/ 104 h 109"/>
                <a:gd name="T62" fmla="*/ 99 w 102"/>
                <a:gd name="T63" fmla="*/ 89 h 109"/>
                <a:gd name="T64" fmla="*/ 93 w 102"/>
                <a:gd name="T65" fmla="*/ 92 h 109"/>
                <a:gd name="T66" fmla="*/ 89 w 102"/>
                <a:gd name="T67" fmla="*/ 89 h 109"/>
                <a:gd name="T68" fmla="*/ 88 w 102"/>
                <a:gd name="T69" fmla="*/ 89 h 109"/>
                <a:gd name="T70" fmla="*/ 85 w 102"/>
                <a:gd name="T71" fmla="*/ 83 h 109"/>
                <a:gd name="T72" fmla="*/ 82 w 102"/>
                <a:gd name="T73" fmla="*/ 76 h 109"/>
                <a:gd name="T74" fmla="*/ 77 w 102"/>
                <a:gd name="T75" fmla="*/ 78 h 109"/>
                <a:gd name="T76" fmla="*/ 75 w 102"/>
                <a:gd name="T77" fmla="*/ 80 h 109"/>
                <a:gd name="T78" fmla="*/ 70 w 102"/>
                <a:gd name="T79" fmla="*/ 67 h 109"/>
                <a:gd name="T80" fmla="*/ 67 w 102"/>
                <a:gd name="T81" fmla="*/ 64 h 109"/>
                <a:gd name="T82" fmla="*/ 64 w 102"/>
                <a:gd name="T83" fmla="*/ 63 h 109"/>
                <a:gd name="T84" fmla="*/ 64 w 102"/>
                <a:gd name="T85" fmla="*/ 63 h 109"/>
                <a:gd name="T86" fmla="*/ 64 w 102"/>
                <a:gd name="T87" fmla="*/ 60 h 109"/>
                <a:gd name="T88" fmla="*/ 59 w 102"/>
                <a:gd name="T89" fmla="*/ 49 h 109"/>
                <a:gd name="T90" fmla="*/ 54 w 102"/>
                <a:gd name="T91" fmla="*/ 36 h 109"/>
                <a:gd name="T92" fmla="*/ 52 w 102"/>
                <a:gd name="T93" fmla="*/ 27 h 109"/>
                <a:gd name="T94" fmla="*/ 48 w 102"/>
                <a:gd name="T95" fmla="*/ 20 h 109"/>
                <a:gd name="T96" fmla="*/ 41 w 102"/>
                <a:gd name="T97" fmla="*/ 9 h 109"/>
                <a:gd name="T98" fmla="*/ 41 w 102"/>
                <a:gd name="T99" fmla="*/ 5 h 109"/>
                <a:gd name="T100" fmla="*/ 40 w 102"/>
                <a:gd name="T101" fmla="*/ 5 h 109"/>
                <a:gd name="T102" fmla="*/ 38 w 102"/>
                <a:gd name="T103" fmla="*/ 5 h 109"/>
                <a:gd name="T104" fmla="*/ 32 w 102"/>
                <a:gd name="T105" fmla="*/ 2 h 109"/>
                <a:gd name="T106" fmla="*/ 26 w 102"/>
                <a:gd name="T107" fmla="*/ 1 h 109"/>
                <a:gd name="T108" fmla="*/ 22 w 102"/>
                <a:gd name="T109" fmla="*/ 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2" h="109">
                  <a:moveTo>
                    <a:pt x="11" y="88"/>
                  </a:moveTo>
                  <a:cubicBezTo>
                    <a:pt x="11" y="88"/>
                    <a:pt x="11" y="88"/>
                    <a:pt x="11" y="88"/>
                  </a:cubicBezTo>
                  <a:cubicBezTo>
                    <a:pt x="11" y="88"/>
                    <a:pt x="11" y="88"/>
                    <a:pt x="11" y="88"/>
                  </a:cubicBezTo>
                  <a:moveTo>
                    <a:pt x="18" y="0"/>
                  </a:moveTo>
                  <a:cubicBezTo>
                    <a:pt x="17" y="0"/>
                    <a:pt x="16" y="0"/>
                    <a:pt x="14" y="1"/>
                  </a:cubicBezTo>
                  <a:cubicBezTo>
                    <a:pt x="11" y="6"/>
                    <a:pt x="10" y="15"/>
                    <a:pt x="8" y="20"/>
                  </a:cubicBezTo>
                  <a:cubicBezTo>
                    <a:pt x="8" y="20"/>
                    <a:pt x="8" y="21"/>
                    <a:pt x="8" y="22"/>
                  </a:cubicBezTo>
                  <a:cubicBezTo>
                    <a:pt x="11" y="22"/>
                    <a:pt x="11" y="25"/>
                    <a:pt x="12" y="26"/>
                  </a:cubicBezTo>
                  <a:cubicBezTo>
                    <a:pt x="13" y="26"/>
                    <a:pt x="15" y="26"/>
                    <a:pt x="16" y="26"/>
                  </a:cubicBezTo>
                  <a:cubicBezTo>
                    <a:pt x="16" y="26"/>
                    <a:pt x="16" y="26"/>
                    <a:pt x="17" y="26"/>
                  </a:cubicBezTo>
                  <a:cubicBezTo>
                    <a:pt x="18" y="26"/>
                    <a:pt x="18" y="26"/>
                    <a:pt x="20" y="25"/>
                  </a:cubicBezTo>
                  <a:cubicBezTo>
                    <a:pt x="20" y="25"/>
                    <a:pt x="21" y="25"/>
                    <a:pt x="21" y="25"/>
                  </a:cubicBezTo>
                  <a:cubicBezTo>
                    <a:pt x="23" y="25"/>
                    <a:pt x="25" y="26"/>
                    <a:pt x="27" y="26"/>
                  </a:cubicBezTo>
                  <a:cubicBezTo>
                    <a:pt x="25" y="28"/>
                    <a:pt x="21" y="27"/>
                    <a:pt x="20" y="30"/>
                  </a:cubicBezTo>
                  <a:cubicBezTo>
                    <a:pt x="18" y="34"/>
                    <a:pt x="18" y="35"/>
                    <a:pt x="20" y="38"/>
                  </a:cubicBezTo>
                  <a:cubicBezTo>
                    <a:pt x="21" y="40"/>
                    <a:pt x="23" y="41"/>
                    <a:pt x="24" y="43"/>
                  </a:cubicBezTo>
                  <a:cubicBezTo>
                    <a:pt x="26" y="45"/>
                    <a:pt x="27" y="47"/>
                    <a:pt x="28" y="48"/>
                  </a:cubicBezTo>
                  <a:cubicBezTo>
                    <a:pt x="30" y="50"/>
                    <a:pt x="31" y="51"/>
                    <a:pt x="31" y="53"/>
                  </a:cubicBezTo>
                  <a:cubicBezTo>
                    <a:pt x="31" y="53"/>
                    <a:pt x="31" y="53"/>
                    <a:pt x="31" y="53"/>
                  </a:cubicBezTo>
                  <a:cubicBezTo>
                    <a:pt x="29" y="55"/>
                    <a:pt x="30" y="56"/>
                    <a:pt x="29" y="58"/>
                  </a:cubicBezTo>
                  <a:cubicBezTo>
                    <a:pt x="28" y="61"/>
                    <a:pt x="26" y="59"/>
                    <a:pt x="24" y="61"/>
                  </a:cubicBezTo>
                  <a:cubicBezTo>
                    <a:pt x="22" y="63"/>
                    <a:pt x="23" y="64"/>
                    <a:pt x="25" y="65"/>
                  </a:cubicBezTo>
                  <a:cubicBezTo>
                    <a:pt x="21" y="65"/>
                    <a:pt x="23" y="67"/>
                    <a:pt x="25" y="69"/>
                  </a:cubicBezTo>
                  <a:cubicBezTo>
                    <a:pt x="29" y="72"/>
                    <a:pt x="28" y="72"/>
                    <a:pt x="23" y="72"/>
                  </a:cubicBezTo>
                  <a:cubicBezTo>
                    <a:pt x="20" y="73"/>
                    <a:pt x="21" y="76"/>
                    <a:pt x="19" y="77"/>
                  </a:cubicBezTo>
                  <a:cubicBezTo>
                    <a:pt x="18" y="78"/>
                    <a:pt x="16" y="78"/>
                    <a:pt x="14" y="78"/>
                  </a:cubicBezTo>
                  <a:cubicBezTo>
                    <a:pt x="13" y="78"/>
                    <a:pt x="12" y="78"/>
                    <a:pt x="11" y="78"/>
                  </a:cubicBezTo>
                  <a:cubicBezTo>
                    <a:pt x="10" y="78"/>
                    <a:pt x="9" y="78"/>
                    <a:pt x="9" y="78"/>
                  </a:cubicBezTo>
                  <a:cubicBezTo>
                    <a:pt x="7" y="78"/>
                    <a:pt x="5" y="78"/>
                    <a:pt x="4" y="79"/>
                  </a:cubicBezTo>
                  <a:cubicBezTo>
                    <a:pt x="2" y="80"/>
                    <a:pt x="0" y="82"/>
                    <a:pt x="0" y="84"/>
                  </a:cubicBezTo>
                  <a:cubicBezTo>
                    <a:pt x="0" y="85"/>
                    <a:pt x="1" y="84"/>
                    <a:pt x="2" y="86"/>
                  </a:cubicBezTo>
                  <a:cubicBezTo>
                    <a:pt x="3" y="88"/>
                    <a:pt x="4" y="89"/>
                    <a:pt x="7" y="90"/>
                  </a:cubicBezTo>
                  <a:cubicBezTo>
                    <a:pt x="8" y="91"/>
                    <a:pt x="9" y="92"/>
                    <a:pt x="9" y="92"/>
                  </a:cubicBezTo>
                  <a:cubicBezTo>
                    <a:pt x="9" y="92"/>
                    <a:pt x="10" y="92"/>
                    <a:pt x="10" y="92"/>
                  </a:cubicBezTo>
                  <a:cubicBezTo>
                    <a:pt x="11" y="91"/>
                    <a:pt x="10" y="89"/>
                    <a:pt x="11" y="88"/>
                  </a:cubicBezTo>
                  <a:cubicBezTo>
                    <a:pt x="11" y="88"/>
                    <a:pt x="11" y="88"/>
                    <a:pt x="11" y="88"/>
                  </a:cubicBezTo>
                  <a:cubicBezTo>
                    <a:pt x="12" y="88"/>
                    <a:pt x="15" y="87"/>
                    <a:pt x="14" y="87"/>
                  </a:cubicBezTo>
                  <a:cubicBezTo>
                    <a:pt x="16" y="87"/>
                    <a:pt x="16" y="88"/>
                    <a:pt x="16" y="90"/>
                  </a:cubicBezTo>
                  <a:cubicBezTo>
                    <a:pt x="17" y="93"/>
                    <a:pt x="21" y="92"/>
                    <a:pt x="22" y="93"/>
                  </a:cubicBezTo>
                  <a:cubicBezTo>
                    <a:pt x="24" y="94"/>
                    <a:pt x="25" y="95"/>
                    <a:pt x="26" y="95"/>
                  </a:cubicBezTo>
                  <a:cubicBezTo>
                    <a:pt x="26" y="95"/>
                    <a:pt x="27" y="94"/>
                    <a:pt x="27" y="92"/>
                  </a:cubicBezTo>
                  <a:cubicBezTo>
                    <a:pt x="27" y="91"/>
                    <a:pt x="27" y="90"/>
                    <a:pt x="28" y="90"/>
                  </a:cubicBezTo>
                  <a:cubicBezTo>
                    <a:pt x="29" y="90"/>
                    <a:pt x="31" y="95"/>
                    <a:pt x="31" y="96"/>
                  </a:cubicBezTo>
                  <a:cubicBezTo>
                    <a:pt x="32" y="97"/>
                    <a:pt x="33" y="97"/>
                    <a:pt x="34" y="97"/>
                  </a:cubicBezTo>
                  <a:cubicBezTo>
                    <a:pt x="34" y="97"/>
                    <a:pt x="35" y="97"/>
                    <a:pt x="35" y="97"/>
                  </a:cubicBezTo>
                  <a:cubicBezTo>
                    <a:pt x="35" y="97"/>
                    <a:pt x="36" y="97"/>
                    <a:pt x="36" y="97"/>
                  </a:cubicBezTo>
                  <a:cubicBezTo>
                    <a:pt x="36" y="97"/>
                    <a:pt x="37" y="97"/>
                    <a:pt x="37" y="97"/>
                  </a:cubicBezTo>
                  <a:cubicBezTo>
                    <a:pt x="42" y="98"/>
                    <a:pt x="45" y="102"/>
                    <a:pt x="49" y="103"/>
                  </a:cubicBezTo>
                  <a:cubicBezTo>
                    <a:pt x="50" y="104"/>
                    <a:pt x="52" y="104"/>
                    <a:pt x="53" y="104"/>
                  </a:cubicBezTo>
                  <a:cubicBezTo>
                    <a:pt x="53" y="104"/>
                    <a:pt x="55" y="104"/>
                    <a:pt x="56" y="104"/>
                  </a:cubicBezTo>
                  <a:cubicBezTo>
                    <a:pt x="56" y="104"/>
                    <a:pt x="56" y="104"/>
                    <a:pt x="56" y="104"/>
                  </a:cubicBezTo>
                  <a:cubicBezTo>
                    <a:pt x="58" y="103"/>
                    <a:pt x="56" y="102"/>
                    <a:pt x="57" y="102"/>
                  </a:cubicBezTo>
                  <a:cubicBezTo>
                    <a:pt x="58" y="102"/>
                    <a:pt x="58" y="102"/>
                    <a:pt x="58" y="102"/>
                  </a:cubicBezTo>
                  <a:cubicBezTo>
                    <a:pt x="59" y="102"/>
                    <a:pt x="60" y="103"/>
                    <a:pt x="61" y="104"/>
                  </a:cubicBezTo>
                  <a:cubicBezTo>
                    <a:pt x="61" y="106"/>
                    <a:pt x="62" y="108"/>
                    <a:pt x="65" y="109"/>
                  </a:cubicBezTo>
                  <a:cubicBezTo>
                    <a:pt x="65" y="109"/>
                    <a:pt x="65" y="109"/>
                    <a:pt x="65" y="109"/>
                  </a:cubicBezTo>
                  <a:cubicBezTo>
                    <a:pt x="67" y="109"/>
                    <a:pt x="69" y="108"/>
                    <a:pt x="69" y="107"/>
                  </a:cubicBezTo>
                  <a:cubicBezTo>
                    <a:pt x="70" y="107"/>
                    <a:pt x="70" y="107"/>
                    <a:pt x="70" y="107"/>
                  </a:cubicBezTo>
                  <a:cubicBezTo>
                    <a:pt x="70" y="107"/>
                    <a:pt x="71" y="107"/>
                    <a:pt x="72" y="107"/>
                  </a:cubicBezTo>
                  <a:cubicBezTo>
                    <a:pt x="74" y="107"/>
                    <a:pt x="76" y="106"/>
                    <a:pt x="78" y="104"/>
                  </a:cubicBezTo>
                  <a:cubicBezTo>
                    <a:pt x="78" y="104"/>
                    <a:pt x="78" y="104"/>
                    <a:pt x="78" y="104"/>
                  </a:cubicBezTo>
                  <a:cubicBezTo>
                    <a:pt x="78" y="104"/>
                    <a:pt x="78" y="104"/>
                    <a:pt x="78" y="104"/>
                  </a:cubicBezTo>
                  <a:cubicBezTo>
                    <a:pt x="86" y="100"/>
                    <a:pt x="94" y="95"/>
                    <a:pt x="102" y="91"/>
                  </a:cubicBezTo>
                  <a:cubicBezTo>
                    <a:pt x="100" y="90"/>
                    <a:pt x="99" y="89"/>
                    <a:pt x="99" y="89"/>
                  </a:cubicBezTo>
                  <a:cubicBezTo>
                    <a:pt x="97" y="89"/>
                    <a:pt x="96" y="91"/>
                    <a:pt x="93" y="91"/>
                  </a:cubicBezTo>
                  <a:cubicBezTo>
                    <a:pt x="93" y="92"/>
                    <a:pt x="93" y="92"/>
                    <a:pt x="93" y="92"/>
                  </a:cubicBezTo>
                  <a:cubicBezTo>
                    <a:pt x="91" y="92"/>
                    <a:pt x="91" y="90"/>
                    <a:pt x="90" y="90"/>
                  </a:cubicBezTo>
                  <a:cubicBezTo>
                    <a:pt x="89" y="89"/>
                    <a:pt x="89" y="89"/>
                    <a:pt x="89" y="89"/>
                  </a:cubicBezTo>
                  <a:cubicBezTo>
                    <a:pt x="88" y="89"/>
                    <a:pt x="88" y="89"/>
                    <a:pt x="88" y="89"/>
                  </a:cubicBezTo>
                  <a:cubicBezTo>
                    <a:pt x="88" y="89"/>
                    <a:pt x="88" y="89"/>
                    <a:pt x="88" y="89"/>
                  </a:cubicBezTo>
                  <a:cubicBezTo>
                    <a:pt x="87" y="89"/>
                    <a:pt x="87" y="89"/>
                    <a:pt x="87" y="87"/>
                  </a:cubicBezTo>
                  <a:cubicBezTo>
                    <a:pt x="87" y="85"/>
                    <a:pt x="85" y="85"/>
                    <a:pt x="85" y="83"/>
                  </a:cubicBezTo>
                  <a:cubicBezTo>
                    <a:pt x="85" y="81"/>
                    <a:pt x="84" y="80"/>
                    <a:pt x="84" y="78"/>
                  </a:cubicBezTo>
                  <a:cubicBezTo>
                    <a:pt x="83" y="76"/>
                    <a:pt x="82" y="76"/>
                    <a:pt x="82" y="76"/>
                  </a:cubicBezTo>
                  <a:cubicBezTo>
                    <a:pt x="81" y="76"/>
                    <a:pt x="81" y="81"/>
                    <a:pt x="80" y="83"/>
                  </a:cubicBezTo>
                  <a:cubicBezTo>
                    <a:pt x="79" y="82"/>
                    <a:pt x="78" y="80"/>
                    <a:pt x="77" y="78"/>
                  </a:cubicBezTo>
                  <a:cubicBezTo>
                    <a:pt x="77" y="79"/>
                    <a:pt x="76" y="80"/>
                    <a:pt x="75" y="80"/>
                  </a:cubicBezTo>
                  <a:cubicBezTo>
                    <a:pt x="75" y="80"/>
                    <a:pt x="75" y="80"/>
                    <a:pt x="75" y="80"/>
                  </a:cubicBezTo>
                  <a:cubicBezTo>
                    <a:pt x="78" y="78"/>
                    <a:pt x="80" y="74"/>
                    <a:pt x="77" y="71"/>
                  </a:cubicBezTo>
                  <a:cubicBezTo>
                    <a:pt x="76" y="70"/>
                    <a:pt x="72" y="68"/>
                    <a:pt x="70" y="67"/>
                  </a:cubicBezTo>
                  <a:cubicBezTo>
                    <a:pt x="69" y="67"/>
                    <a:pt x="68" y="66"/>
                    <a:pt x="67" y="66"/>
                  </a:cubicBezTo>
                  <a:cubicBezTo>
                    <a:pt x="67" y="65"/>
                    <a:pt x="67" y="65"/>
                    <a:pt x="67" y="64"/>
                  </a:cubicBezTo>
                  <a:cubicBezTo>
                    <a:pt x="66" y="64"/>
                    <a:pt x="65" y="64"/>
                    <a:pt x="65" y="63"/>
                  </a:cubicBezTo>
                  <a:cubicBezTo>
                    <a:pt x="65" y="63"/>
                    <a:pt x="64" y="63"/>
                    <a:pt x="64" y="63"/>
                  </a:cubicBezTo>
                  <a:cubicBezTo>
                    <a:pt x="64" y="63"/>
                    <a:pt x="64" y="63"/>
                    <a:pt x="64" y="63"/>
                  </a:cubicBezTo>
                  <a:cubicBezTo>
                    <a:pt x="64" y="63"/>
                    <a:pt x="64" y="63"/>
                    <a:pt x="64" y="63"/>
                  </a:cubicBezTo>
                  <a:cubicBezTo>
                    <a:pt x="63" y="63"/>
                    <a:pt x="63" y="63"/>
                    <a:pt x="63" y="62"/>
                  </a:cubicBezTo>
                  <a:cubicBezTo>
                    <a:pt x="63" y="62"/>
                    <a:pt x="64" y="61"/>
                    <a:pt x="64" y="60"/>
                  </a:cubicBezTo>
                  <a:cubicBezTo>
                    <a:pt x="64" y="59"/>
                    <a:pt x="62" y="58"/>
                    <a:pt x="62" y="57"/>
                  </a:cubicBezTo>
                  <a:cubicBezTo>
                    <a:pt x="60" y="55"/>
                    <a:pt x="59" y="52"/>
                    <a:pt x="59" y="49"/>
                  </a:cubicBezTo>
                  <a:cubicBezTo>
                    <a:pt x="59" y="46"/>
                    <a:pt x="58" y="46"/>
                    <a:pt x="57" y="43"/>
                  </a:cubicBezTo>
                  <a:cubicBezTo>
                    <a:pt x="56" y="40"/>
                    <a:pt x="55" y="38"/>
                    <a:pt x="54" y="36"/>
                  </a:cubicBezTo>
                  <a:cubicBezTo>
                    <a:pt x="53" y="35"/>
                    <a:pt x="52" y="34"/>
                    <a:pt x="51" y="33"/>
                  </a:cubicBezTo>
                  <a:cubicBezTo>
                    <a:pt x="50" y="30"/>
                    <a:pt x="50" y="29"/>
                    <a:pt x="52" y="27"/>
                  </a:cubicBezTo>
                  <a:cubicBezTo>
                    <a:pt x="50" y="27"/>
                    <a:pt x="51" y="25"/>
                    <a:pt x="50" y="24"/>
                  </a:cubicBezTo>
                  <a:cubicBezTo>
                    <a:pt x="49" y="22"/>
                    <a:pt x="49" y="21"/>
                    <a:pt x="48" y="20"/>
                  </a:cubicBezTo>
                  <a:cubicBezTo>
                    <a:pt x="46" y="17"/>
                    <a:pt x="45" y="14"/>
                    <a:pt x="44" y="12"/>
                  </a:cubicBezTo>
                  <a:cubicBezTo>
                    <a:pt x="43" y="11"/>
                    <a:pt x="42" y="10"/>
                    <a:pt x="41" y="9"/>
                  </a:cubicBezTo>
                  <a:cubicBezTo>
                    <a:pt x="41" y="8"/>
                    <a:pt x="42" y="6"/>
                    <a:pt x="41" y="5"/>
                  </a:cubicBezTo>
                  <a:cubicBezTo>
                    <a:pt x="41" y="5"/>
                    <a:pt x="41" y="5"/>
                    <a:pt x="41" y="5"/>
                  </a:cubicBezTo>
                  <a:cubicBezTo>
                    <a:pt x="40" y="5"/>
                    <a:pt x="41" y="5"/>
                    <a:pt x="40" y="5"/>
                  </a:cubicBezTo>
                  <a:cubicBezTo>
                    <a:pt x="40" y="5"/>
                    <a:pt x="40" y="5"/>
                    <a:pt x="40" y="5"/>
                  </a:cubicBezTo>
                  <a:cubicBezTo>
                    <a:pt x="39" y="5"/>
                    <a:pt x="39" y="5"/>
                    <a:pt x="38" y="5"/>
                  </a:cubicBezTo>
                  <a:cubicBezTo>
                    <a:pt x="38" y="5"/>
                    <a:pt x="38" y="5"/>
                    <a:pt x="38" y="5"/>
                  </a:cubicBezTo>
                  <a:cubicBezTo>
                    <a:pt x="37" y="5"/>
                    <a:pt x="37" y="5"/>
                    <a:pt x="36" y="5"/>
                  </a:cubicBezTo>
                  <a:cubicBezTo>
                    <a:pt x="35" y="4"/>
                    <a:pt x="34" y="2"/>
                    <a:pt x="32" y="2"/>
                  </a:cubicBezTo>
                  <a:cubicBezTo>
                    <a:pt x="31" y="1"/>
                    <a:pt x="29" y="1"/>
                    <a:pt x="28" y="1"/>
                  </a:cubicBezTo>
                  <a:cubicBezTo>
                    <a:pt x="27" y="1"/>
                    <a:pt x="26" y="1"/>
                    <a:pt x="26" y="1"/>
                  </a:cubicBezTo>
                  <a:cubicBezTo>
                    <a:pt x="25" y="1"/>
                    <a:pt x="24" y="1"/>
                    <a:pt x="24" y="1"/>
                  </a:cubicBezTo>
                  <a:cubicBezTo>
                    <a:pt x="23" y="1"/>
                    <a:pt x="23" y="1"/>
                    <a:pt x="22" y="1"/>
                  </a:cubicBezTo>
                  <a:cubicBezTo>
                    <a:pt x="21" y="1"/>
                    <a:pt x="19"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2" name="Freeform 295">
              <a:extLst>
                <a:ext uri="{FF2B5EF4-FFF2-40B4-BE49-F238E27FC236}">
                  <a16:creationId xmlns:a16="http://schemas.microsoft.com/office/drawing/2014/main" id="{C3BD4E8F-FBCD-40D8-B824-4946013D5A1B}"/>
                </a:ext>
              </a:extLst>
            </p:cNvPr>
            <p:cNvSpPr>
              <a:spLocks noEditPoints="1"/>
            </p:cNvSpPr>
            <p:nvPr/>
          </p:nvSpPr>
          <p:spPr bwMode="auto">
            <a:xfrm>
              <a:off x="9994891" y="2315397"/>
              <a:ext cx="19050" cy="33338"/>
            </a:xfrm>
            <a:custGeom>
              <a:avLst/>
              <a:gdLst>
                <a:gd name="T0" fmla="*/ 1 w 5"/>
                <a:gd name="T1" fmla="*/ 9 h 9"/>
                <a:gd name="T2" fmla="*/ 1 w 5"/>
                <a:gd name="T3" fmla="*/ 9 h 9"/>
                <a:gd name="T4" fmla="*/ 1 w 5"/>
                <a:gd name="T5" fmla="*/ 9 h 9"/>
                <a:gd name="T6" fmla="*/ 4 w 5"/>
                <a:gd name="T7" fmla="*/ 0 h 9"/>
                <a:gd name="T8" fmla="*/ 1 w 5"/>
                <a:gd name="T9" fmla="*/ 7 h 9"/>
                <a:gd name="T10" fmla="*/ 1 w 5"/>
                <a:gd name="T11" fmla="*/ 9 h 9"/>
                <a:gd name="T12" fmla="*/ 4 w 5"/>
                <a:gd name="T13" fmla="*/ 5 h 9"/>
                <a:gd name="T14" fmla="*/ 3 w 5"/>
                <a:gd name="T15" fmla="*/ 5 h 9"/>
                <a:gd name="T16" fmla="*/ 5 w 5"/>
                <a:gd name="T17" fmla="*/ 0 h 9"/>
                <a:gd name="T18" fmla="*/ 4 w 5"/>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1" y="9"/>
                  </a:moveTo>
                  <a:cubicBezTo>
                    <a:pt x="1" y="9"/>
                    <a:pt x="1" y="9"/>
                    <a:pt x="1" y="9"/>
                  </a:cubicBezTo>
                  <a:cubicBezTo>
                    <a:pt x="1" y="9"/>
                    <a:pt x="1" y="9"/>
                    <a:pt x="1" y="9"/>
                  </a:cubicBezTo>
                  <a:moveTo>
                    <a:pt x="4" y="0"/>
                  </a:moveTo>
                  <a:cubicBezTo>
                    <a:pt x="1" y="0"/>
                    <a:pt x="1" y="5"/>
                    <a:pt x="1" y="7"/>
                  </a:cubicBezTo>
                  <a:cubicBezTo>
                    <a:pt x="1" y="8"/>
                    <a:pt x="1" y="8"/>
                    <a:pt x="1" y="9"/>
                  </a:cubicBezTo>
                  <a:cubicBezTo>
                    <a:pt x="1" y="7"/>
                    <a:pt x="3" y="6"/>
                    <a:pt x="4" y="5"/>
                  </a:cubicBezTo>
                  <a:cubicBezTo>
                    <a:pt x="3" y="5"/>
                    <a:pt x="3" y="5"/>
                    <a:pt x="3" y="5"/>
                  </a:cubicBezTo>
                  <a:cubicBezTo>
                    <a:pt x="0" y="5"/>
                    <a:pt x="4" y="2"/>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3" name="Freeform 296">
              <a:extLst>
                <a:ext uri="{FF2B5EF4-FFF2-40B4-BE49-F238E27FC236}">
                  <a16:creationId xmlns:a16="http://schemas.microsoft.com/office/drawing/2014/main" id="{468C64D0-5FDE-4570-B686-6802B69FC85F}"/>
                </a:ext>
              </a:extLst>
            </p:cNvPr>
            <p:cNvSpPr>
              <a:spLocks/>
            </p:cNvSpPr>
            <p:nvPr/>
          </p:nvSpPr>
          <p:spPr bwMode="auto">
            <a:xfrm>
              <a:off x="9998066" y="1864547"/>
              <a:ext cx="0" cy="4763"/>
            </a:xfrm>
            <a:custGeom>
              <a:avLst/>
              <a:gdLst>
                <a:gd name="T0" fmla="*/ 0 h 1"/>
                <a:gd name="T1" fmla="*/ 0 h 1"/>
                <a:gd name="T2" fmla="*/ 1 h 1"/>
                <a:gd name="T3" fmla="*/ 1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0"/>
                    <a:pt x="0" y="0"/>
                    <a:pt x="0" y="1"/>
                  </a:cubicBezTo>
                  <a:cubicBezTo>
                    <a:pt x="0" y="1"/>
                    <a:pt x="0" y="1"/>
                    <a:pt x="0"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4" name="Freeform 297">
              <a:extLst>
                <a:ext uri="{FF2B5EF4-FFF2-40B4-BE49-F238E27FC236}">
                  <a16:creationId xmlns:a16="http://schemas.microsoft.com/office/drawing/2014/main" id="{9AFB8A1E-E9EA-4411-906A-912BA73792A0}"/>
                </a:ext>
              </a:extLst>
            </p:cNvPr>
            <p:cNvSpPr>
              <a:spLocks/>
            </p:cNvSpPr>
            <p:nvPr/>
          </p:nvSpPr>
          <p:spPr bwMode="auto">
            <a:xfrm>
              <a:off x="9998066" y="1872484"/>
              <a:ext cx="15875" cy="7938"/>
            </a:xfrm>
            <a:custGeom>
              <a:avLst/>
              <a:gdLst>
                <a:gd name="T0" fmla="*/ 0 w 4"/>
                <a:gd name="T1" fmla="*/ 0 h 2"/>
                <a:gd name="T2" fmla="*/ 0 w 4"/>
                <a:gd name="T3" fmla="*/ 1 h 2"/>
                <a:gd name="T4" fmla="*/ 0 w 4"/>
                <a:gd name="T5" fmla="*/ 1 h 2"/>
                <a:gd name="T6" fmla="*/ 0 w 4"/>
                <a:gd name="T7" fmla="*/ 1 h 2"/>
                <a:gd name="T8" fmla="*/ 0 w 4"/>
                <a:gd name="T9" fmla="*/ 1 h 2"/>
                <a:gd name="T10" fmla="*/ 3 w 4"/>
                <a:gd name="T11" fmla="*/ 2 h 2"/>
                <a:gd name="T12" fmla="*/ 4 w 4"/>
                <a:gd name="T13" fmla="*/ 2 h 2"/>
                <a:gd name="T14" fmla="*/ 0 w 4"/>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0" y="0"/>
                  </a:moveTo>
                  <a:cubicBezTo>
                    <a:pt x="0" y="0"/>
                    <a:pt x="0" y="1"/>
                    <a:pt x="0" y="1"/>
                  </a:cubicBezTo>
                  <a:cubicBezTo>
                    <a:pt x="0" y="1"/>
                    <a:pt x="0" y="1"/>
                    <a:pt x="0" y="1"/>
                  </a:cubicBezTo>
                  <a:cubicBezTo>
                    <a:pt x="0" y="1"/>
                    <a:pt x="0" y="1"/>
                    <a:pt x="0" y="1"/>
                  </a:cubicBezTo>
                  <a:cubicBezTo>
                    <a:pt x="0" y="1"/>
                    <a:pt x="0" y="1"/>
                    <a:pt x="0" y="1"/>
                  </a:cubicBezTo>
                  <a:cubicBezTo>
                    <a:pt x="1" y="2"/>
                    <a:pt x="2" y="2"/>
                    <a:pt x="3" y="2"/>
                  </a:cubicBezTo>
                  <a:cubicBezTo>
                    <a:pt x="4" y="2"/>
                    <a:pt x="4" y="2"/>
                    <a:pt x="4" y="2"/>
                  </a:cubicBezTo>
                  <a:cubicBezTo>
                    <a:pt x="3"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5" name="Freeform 298">
              <a:extLst>
                <a:ext uri="{FF2B5EF4-FFF2-40B4-BE49-F238E27FC236}">
                  <a16:creationId xmlns:a16="http://schemas.microsoft.com/office/drawing/2014/main" id="{04D1AF34-9951-46C9-9477-54FEBB62D48E}"/>
                </a:ext>
              </a:extLst>
            </p:cNvPr>
            <p:cNvSpPr>
              <a:spLocks noEditPoints="1"/>
            </p:cNvSpPr>
            <p:nvPr/>
          </p:nvSpPr>
          <p:spPr bwMode="auto">
            <a:xfrm>
              <a:off x="8069254" y="1064447"/>
              <a:ext cx="2517775" cy="1800225"/>
            </a:xfrm>
            <a:custGeom>
              <a:avLst/>
              <a:gdLst>
                <a:gd name="T0" fmla="*/ 572 w 671"/>
                <a:gd name="T1" fmla="*/ 312 h 479"/>
                <a:gd name="T2" fmla="*/ 34 w 671"/>
                <a:gd name="T3" fmla="*/ 25 h 479"/>
                <a:gd name="T4" fmla="*/ 4 w 671"/>
                <a:gd name="T5" fmla="*/ 97 h 479"/>
                <a:gd name="T6" fmla="*/ 15 w 671"/>
                <a:gd name="T7" fmla="*/ 121 h 479"/>
                <a:gd name="T8" fmla="*/ 88 w 671"/>
                <a:gd name="T9" fmla="*/ 145 h 479"/>
                <a:gd name="T10" fmla="*/ 171 w 671"/>
                <a:gd name="T11" fmla="*/ 170 h 479"/>
                <a:gd name="T12" fmla="*/ 215 w 671"/>
                <a:gd name="T13" fmla="*/ 178 h 479"/>
                <a:gd name="T14" fmla="*/ 251 w 671"/>
                <a:gd name="T15" fmla="*/ 171 h 479"/>
                <a:gd name="T16" fmla="*/ 262 w 671"/>
                <a:gd name="T17" fmla="*/ 140 h 479"/>
                <a:gd name="T18" fmla="*/ 294 w 671"/>
                <a:gd name="T19" fmla="*/ 175 h 479"/>
                <a:gd name="T20" fmla="*/ 316 w 671"/>
                <a:gd name="T21" fmla="*/ 179 h 479"/>
                <a:gd name="T22" fmla="*/ 350 w 671"/>
                <a:gd name="T23" fmla="*/ 210 h 479"/>
                <a:gd name="T24" fmla="*/ 380 w 671"/>
                <a:gd name="T25" fmla="*/ 235 h 479"/>
                <a:gd name="T26" fmla="*/ 413 w 671"/>
                <a:gd name="T27" fmla="*/ 299 h 479"/>
                <a:gd name="T28" fmla="*/ 482 w 671"/>
                <a:gd name="T29" fmla="*/ 309 h 479"/>
                <a:gd name="T30" fmla="*/ 440 w 671"/>
                <a:gd name="T31" fmla="*/ 320 h 479"/>
                <a:gd name="T32" fmla="*/ 353 w 671"/>
                <a:gd name="T33" fmla="*/ 349 h 479"/>
                <a:gd name="T34" fmla="*/ 337 w 671"/>
                <a:gd name="T35" fmla="*/ 359 h 479"/>
                <a:gd name="T36" fmla="*/ 320 w 671"/>
                <a:gd name="T37" fmla="*/ 388 h 479"/>
                <a:gd name="T38" fmla="*/ 359 w 671"/>
                <a:gd name="T39" fmla="*/ 369 h 479"/>
                <a:gd name="T40" fmla="*/ 382 w 671"/>
                <a:gd name="T41" fmla="*/ 381 h 479"/>
                <a:gd name="T42" fmla="*/ 415 w 671"/>
                <a:gd name="T43" fmla="*/ 406 h 479"/>
                <a:gd name="T44" fmla="*/ 444 w 671"/>
                <a:gd name="T45" fmla="*/ 434 h 479"/>
                <a:gd name="T46" fmla="*/ 554 w 671"/>
                <a:gd name="T47" fmla="*/ 465 h 479"/>
                <a:gd name="T48" fmla="*/ 525 w 671"/>
                <a:gd name="T49" fmla="*/ 438 h 479"/>
                <a:gd name="T50" fmla="*/ 510 w 671"/>
                <a:gd name="T51" fmla="*/ 416 h 479"/>
                <a:gd name="T52" fmla="*/ 547 w 671"/>
                <a:gd name="T53" fmla="*/ 438 h 479"/>
                <a:gd name="T54" fmla="*/ 576 w 671"/>
                <a:gd name="T55" fmla="*/ 450 h 479"/>
                <a:gd name="T56" fmla="*/ 577 w 671"/>
                <a:gd name="T57" fmla="*/ 409 h 479"/>
                <a:gd name="T58" fmla="*/ 577 w 671"/>
                <a:gd name="T59" fmla="*/ 391 h 479"/>
                <a:gd name="T60" fmla="*/ 556 w 671"/>
                <a:gd name="T61" fmla="*/ 370 h 479"/>
                <a:gd name="T62" fmla="*/ 531 w 671"/>
                <a:gd name="T63" fmla="*/ 351 h 479"/>
                <a:gd name="T64" fmla="*/ 507 w 671"/>
                <a:gd name="T65" fmla="*/ 329 h 479"/>
                <a:gd name="T66" fmla="*/ 529 w 671"/>
                <a:gd name="T67" fmla="*/ 315 h 479"/>
                <a:gd name="T68" fmla="*/ 588 w 671"/>
                <a:gd name="T69" fmla="*/ 318 h 479"/>
                <a:gd name="T70" fmla="*/ 589 w 671"/>
                <a:gd name="T71" fmla="*/ 351 h 479"/>
                <a:gd name="T72" fmla="*/ 616 w 671"/>
                <a:gd name="T73" fmla="*/ 365 h 479"/>
                <a:gd name="T74" fmla="*/ 637 w 671"/>
                <a:gd name="T75" fmla="*/ 339 h 479"/>
                <a:gd name="T76" fmla="*/ 651 w 671"/>
                <a:gd name="T77" fmla="*/ 324 h 479"/>
                <a:gd name="T78" fmla="*/ 670 w 671"/>
                <a:gd name="T79" fmla="*/ 315 h 479"/>
                <a:gd name="T80" fmla="*/ 617 w 671"/>
                <a:gd name="T81" fmla="*/ 294 h 479"/>
                <a:gd name="T82" fmla="*/ 594 w 671"/>
                <a:gd name="T83" fmla="*/ 256 h 479"/>
                <a:gd name="T84" fmla="*/ 560 w 671"/>
                <a:gd name="T85" fmla="*/ 251 h 479"/>
                <a:gd name="T86" fmla="*/ 524 w 671"/>
                <a:gd name="T87" fmla="*/ 242 h 479"/>
                <a:gd name="T88" fmla="*/ 515 w 671"/>
                <a:gd name="T89" fmla="*/ 232 h 479"/>
                <a:gd name="T90" fmla="*/ 482 w 671"/>
                <a:gd name="T91" fmla="*/ 213 h 479"/>
                <a:gd name="T92" fmla="*/ 492 w 671"/>
                <a:gd name="T93" fmla="*/ 205 h 479"/>
                <a:gd name="T94" fmla="*/ 514 w 671"/>
                <a:gd name="T95" fmla="*/ 195 h 479"/>
                <a:gd name="T96" fmla="*/ 467 w 671"/>
                <a:gd name="T97" fmla="*/ 186 h 479"/>
                <a:gd name="T98" fmla="*/ 497 w 671"/>
                <a:gd name="T99" fmla="*/ 168 h 479"/>
                <a:gd name="T100" fmla="*/ 473 w 671"/>
                <a:gd name="T101" fmla="*/ 160 h 479"/>
                <a:gd name="T102" fmla="*/ 445 w 671"/>
                <a:gd name="T103" fmla="*/ 141 h 479"/>
                <a:gd name="T104" fmla="*/ 408 w 671"/>
                <a:gd name="T105" fmla="*/ 132 h 479"/>
                <a:gd name="T106" fmla="*/ 384 w 671"/>
                <a:gd name="T107" fmla="*/ 107 h 479"/>
                <a:gd name="T108" fmla="*/ 359 w 671"/>
                <a:gd name="T109" fmla="*/ 95 h 479"/>
                <a:gd name="T110" fmla="*/ 342 w 671"/>
                <a:gd name="T111" fmla="*/ 77 h 479"/>
                <a:gd name="T112" fmla="*/ 270 w 671"/>
                <a:gd name="T113" fmla="*/ 63 h 479"/>
                <a:gd name="T114" fmla="*/ 278 w 671"/>
                <a:gd name="T115" fmla="*/ 83 h 479"/>
                <a:gd name="T116" fmla="*/ 241 w 671"/>
                <a:gd name="T117" fmla="*/ 72 h 479"/>
                <a:gd name="T118" fmla="*/ 219 w 671"/>
                <a:gd name="T119" fmla="*/ 76 h 479"/>
                <a:gd name="T120" fmla="*/ 181 w 671"/>
                <a:gd name="T121" fmla="*/ 6 h 479"/>
                <a:gd name="T122" fmla="*/ 118 w 671"/>
                <a:gd name="T123" fmla="*/ 2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479">
                  <a:moveTo>
                    <a:pt x="378" y="384"/>
                  </a:moveTo>
                  <a:cubicBezTo>
                    <a:pt x="378" y="384"/>
                    <a:pt x="378" y="384"/>
                    <a:pt x="378" y="384"/>
                  </a:cubicBezTo>
                  <a:cubicBezTo>
                    <a:pt x="378" y="384"/>
                    <a:pt x="378" y="384"/>
                    <a:pt x="378" y="384"/>
                  </a:cubicBezTo>
                  <a:moveTo>
                    <a:pt x="191" y="173"/>
                  </a:moveTo>
                  <a:cubicBezTo>
                    <a:pt x="191" y="173"/>
                    <a:pt x="191" y="173"/>
                    <a:pt x="191" y="173"/>
                  </a:cubicBezTo>
                  <a:cubicBezTo>
                    <a:pt x="191" y="173"/>
                    <a:pt x="191" y="173"/>
                    <a:pt x="191" y="173"/>
                  </a:cubicBezTo>
                  <a:cubicBezTo>
                    <a:pt x="191" y="173"/>
                    <a:pt x="191" y="173"/>
                    <a:pt x="191" y="173"/>
                  </a:cubicBezTo>
                  <a:moveTo>
                    <a:pt x="649" y="315"/>
                  </a:moveTo>
                  <a:cubicBezTo>
                    <a:pt x="649" y="315"/>
                    <a:pt x="649" y="315"/>
                    <a:pt x="649" y="315"/>
                  </a:cubicBezTo>
                  <a:cubicBezTo>
                    <a:pt x="649" y="315"/>
                    <a:pt x="650" y="314"/>
                    <a:pt x="650" y="314"/>
                  </a:cubicBezTo>
                  <a:cubicBezTo>
                    <a:pt x="651" y="314"/>
                    <a:pt x="651" y="314"/>
                    <a:pt x="652" y="315"/>
                  </a:cubicBezTo>
                  <a:cubicBezTo>
                    <a:pt x="652" y="315"/>
                    <a:pt x="652" y="315"/>
                    <a:pt x="652" y="315"/>
                  </a:cubicBezTo>
                  <a:cubicBezTo>
                    <a:pt x="652" y="315"/>
                    <a:pt x="652" y="315"/>
                    <a:pt x="652" y="315"/>
                  </a:cubicBezTo>
                  <a:cubicBezTo>
                    <a:pt x="652" y="315"/>
                    <a:pt x="652" y="315"/>
                    <a:pt x="651" y="315"/>
                  </a:cubicBezTo>
                  <a:cubicBezTo>
                    <a:pt x="651" y="315"/>
                    <a:pt x="651" y="315"/>
                    <a:pt x="651" y="315"/>
                  </a:cubicBezTo>
                  <a:cubicBezTo>
                    <a:pt x="651" y="315"/>
                    <a:pt x="651" y="315"/>
                    <a:pt x="651" y="315"/>
                  </a:cubicBezTo>
                  <a:cubicBezTo>
                    <a:pt x="651" y="315"/>
                    <a:pt x="651" y="315"/>
                    <a:pt x="650" y="315"/>
                  </a:cubicBezTo>
                  <a:cubicBezTo>
                    <a:pt x="650" y="315"/>
                    <a:pt x="650" y="315"/>
                    <a:pt x="650" y="315"/>
                  </a:cubicBezTo>
                  <a:cubicBezTo>
                    <a:pt x="650" y="315"/>
                    <a:pt x="650" y="315"/>
                    <a:pt x="650" y="315"/>
                  </a:cubicBezTo>
                  <a:cubicBezTo>
                    <a:pt x="650" y="315"/>
                    <a:pt x="650" y="315"/>
                    <a:pt x="650" y="315"/>
                  </a:cubicBezTo>
                  <a:cubicBezTo>
                    <a:pt x="650" y="315"/>
                    <a:pt x="650" y="315"/>
                    <a:pt x="649" y="315"/>
                  </a:cubicBezTo>
                  <a:cubicBezTo>
                    <a:pt x="649" y="315"/>
                    <a:pt x="649" y="315"/>
                    <a:pt x="649" y="315"/>
                  </a:cubicBezTo>
                  <a:cubicBezTo>
                    <a:pt x="649" y="315"/>
                    <a:pt x="649" y="315"/>
                    <a:pt x="649" y="315"/>
                  </a:cubicBezTo>
                  <a:cubicBezTo>
                    <a:pt x="649" y="315"/>
                    <a:pt x="649" y="315"/>
                    <a:pt x="649" y="315"/>
                  </a:cubicBezTo>
                  <a:cubicBezTo>
                    <a:pt x="649" y="315"/>
                    <a:pt x="649" y="315"/>
                    <a:pt x="649" y="315"/>
                  </a:cubicBezTo>
                  <a:cubicBezTo>
                    <a:pt x="649" y="315"/>
                    <a:pt x="649" y="315"/>
                    <a:pt x="649" y="315"/>
                  </a:cubicBezTo>
                  <a:moveTo>
                    <a:pt x="571" y="314"/>
                  </a:moveTo>
                  <a:cubicBezTo>
                    <a:pt x="571" y="313"/>
                    <a:pt x="571" y="313"/>
                    <a:pt x="572" y="312"/>
                  </a:cubicBezTo>
                  <a:cubicBezTo>
                    <a:pt x="572" y="312"/>
                    <a:pt x="572" y="312"/>
                    <a:pt x="572" y="312"/>
                  </a:cubicBezTo>
                  <a:cubicBezTo>
                    <a:pt x="572" y="312"/>
                    <a:pt x="571" y="313"/>
                    <a:pt x="571" y="313"/>
                  </a:cubicBezTo>
                  <a:cubicBezTo>
                    <a:pt x="571" y="313"/>
                    <a:pt x="571" y="313"/>
                    <a:pt x="571" y="313"/>
                  </a:cubicBezTo>
                  <a:cubicBezTo>
                    <a:pt x="571" y="313"/>
                    <a:pt x="571" y="313"/>
                    <a:pt x="571" y="313"/>
                  </a:cubicBezTo>
                  <a:cubicBezTo>
                    <a:pt x="571" y="313"/>
                    <a:pt x="571" y="314"/>
                    <a:pt x="570" y="315"/>
                  </a:cubicBezTo>
                  <a:cubicBezTo>
                    <a:pt x="570" y="314"/>
                    <a:pt x="570" y="314"/>
                    <a:pt x="570" y="314"/>
                  </a:cubicBezTo>
                  <a:cubicBezTo>
                    <a:pt x="570" y="314"/>
                    <a:pt x="570" y="315"/>
                    <a:pt x="569" y="315"/>
                  </a:cubicBezTo>
                  <a:cubicBezTo>
                    <a:pt x="570" y="315"/>
                    <a:pt x="570" y="314"/>
                    <a:pt x="571" y="314"/>
                  </a:cubicBezTo>
                  <a:cubicBezTo>
                    <a:pt x="570" y="314"/>
                    <a:pt x="570" y="314"/>
                    <a:pt x="570" y="314"/>
                  </a:cubicBezTo>
                  <a:cubicBezTo>
                    <a:pt x="571" y="313"/>
                    <a:pt x="571" y="313"/>
                    <a:pt x="571" y="313"/>
                  </a:cubicBezTo>
                  <a:cubicBezTo>
                    <a:pt x="571" y="314"/>
                    <a:pt x="571" y="314"/>
                    <a:pt x="571" y="314"/>
                  </a:cubicBezTo>
                  <a:moveTo>
                    <a:pt x="85" y="126"/>
                  </a:moveTo>
                  <a:cubicBezTo>
                    <a:pt x="86" y="125"/>
                    <a:pt x="86" y="125"/>
                    <a:pt x="86" y="125"/>
                  </a:cubicBezTo>
                  <a:cubicBezTo>
                    <a:pt x="85" y="126"/>
                    <a:pt x="85" y="126"/>
                    <a:pt x="85" y="126"/>
                  </a:cubicBezTo>
                  <a:moveTo>
                    <a:pt x="119" y="120"/>
                  </a:moveTo>
                  <a:cubicBezTo>
                    <a:pt x="120" y="119"/>
                    <a:pt x="120" y="119"/>
                    <a:pt x="120" y="119"/>
                  </a:cubicBezTo>
                  <a:cubicBezTo>
                    <a:pt x="120" y="119"/>
                    <a:pt x="120" y="119"/>
                    <a:pt x="119" y="120"/>
                  </a:cubicBezTo>
                  <a:moveTo>
                    <a:pt x="110" y="116"/>
                  </a:moveTo>
                  <a:cubicBezTo>
                    <a:pt x="110" y="116"/>
                    <a:pt x="110" y="116"/>
                    <a:pt x="110" y="116"/>
                  </a:cubicBezTo>
                  <a:cubicBezTo>
                    <a:pt x="110" y="116"/>
                    <a:pt x="110" y="116"/>
                    <a:pt x="110" y="116"/>
                  </a:cubicBezTo>
                  <a:moveTo>
                    <a:pt x="119" y="65"/>
                  </a:moveTo>
                  <a:cubicBezTo>
                    <a:pt x="119" y="65"/>
                    <a:pt x="119" y="65"/>
                    <a:pt x="119" y="65"/>
                  </a:cubicBezTo>
                  <a:cubicBezTo>
                    <a:pt x="119" y="65"/>
                    <a:pt x="119" y="65"/>
                    <a:pt x="119" y="65"/>
                  </a:cubicBezTo>
                  <a:moveTo>
                    <a:pt x="89" y="0"/>
                  </a:moveTo>
                  <a:cubicBezTo>
                    <a:pt x="86" y="0"/>
                    <a:pt x="82" y="0"/>
                    <a:pt x="79" y="1"/>
                  </a:cubicBezTo>
                  <a:cubicBezTo>
                    <a:pt x="71" y="2"/>
                    <a:pt x="63" y="3"/>
                    <a:pt x="55" y="7"/>
                  </a:cubicBezTo>
                  <a:cubicBezTo>
                    <a:pt x="51" y="8"/>
                    <a:pt x="48" y="10"/>
                    <a:pt x="44" y="12"/>
                  </a:cubicBezTo>
                  <a:cubicBezTo>
                    <a:pt x="41" y="14"/>
                    <a:pt x="39" y="17"/>
                    <a:pt x="36" y="18"/>
                  </a:cubicBezTo>
                  <a:cubicBezTo>
                    <a:pt x="33" y="20"/>
                    <a:pt x="32" y="22"/>
                    <a:pt x="30" y="23"/>
                  </a:cubicBezTo>
                  <a:cubicBezTo>
                    <a:pt x="31" y="24"/>
                    <a:pt x="33" y="24"/>
                    <a:pt x="34" y="25"/>
                  </a:cubicBezTo>
                  <a:cubicBezTo>
                    <a:pt x="33" y="25"/>
                    <a:pt x="31" y="25"/>
                    <a:pt x="29" y="25"/>
                  </a:cubicBezTo>
                  <a:cubicBezTo>
                    <a:pt x="28" y="25"/>
                    <a:pt x="27" y="25"/>
                    <a:pt x="26" y="26"/>
                  </a:cubicBezTo>
                  <a:cubicBezTo>
                    <a:pt x="26" y="27"/>
                    <a:pt x="25" y="28"/>
                    <a:pt x="25" y="29"/>
                  </a:cubicBezTo>
                  <a:cubicBezTo>
                    <a:pt x="24" y="30"/>
                    <a:pt x="23" y="30"/>
                    <a:pt x="23" y="31"/>
                  </a:cubicBezTo>
                  <a:cubicBezTo>
                    <a:pt x="21" y="33"/>
                    <a:pt x="20" y="36"/>
                    <a:pt x="19" y="38"/>
                  </a:cubicBezTo>
                  <a:cubicBezTo>
                    <a:pt x="19" y="39"/>
                    <a:pt x="19" y="39"/>
                    <a:pt x="19" y="40"/>
                  </a:cubicBezTo>
                  <a:cubicBezTo>
                    <a:pt x="19" y="41"/>
                    <a:pt x="19" y="42"/>
                    <a:pt x="19" y="43"/>
                  </a:cubicBezTo>
                  <a:cubicBezTo>
                    <a:pt x="19" y="43"/>
                    <a:pt x="18" y="44"/>
                    <a:pt x="18" y="44"/>
                  </a:cubicBezTo>
                  <a:cubicBezTo>
                    <a:pt x="18" y="45"/>
                    <a:pt x="17" y="45"/>
                    <a:pt x="17" y="46"/>
                  </a:cubicBezTo>
                  <a:cubicBezTo>
                    <a:pt x="17" y="46"/>
                    <a:pt x="18" y="48"/>
                    <a:pt x="18" y="48"/>
                  </a:cubicBezTo>
                  <a:cubicBezTo>
                    <a:pt x="18" y="48"/>
                    <a:pt x="18" y="49"/>
                    <a:pt x="17" y="49"/>
                  </a:cubicBezTo>
                  <a:cubicBezTo>
                    <a:pt x="17" y="49"/>
                    <a:pt x="17" y="48"/>
                    <a:pt x="17" y="48"/>
                  </a:cubicBezTo>
                  <a:cubicBezTo>
                    <a:pt x="16" y="48"/>
                    <a:pt x="16" y="48"/>
                    <a:pt x="16" y="48"/>
                  </a:cubicBezTo>
                  <a:cubicBezTo>
                    <a:pt x="16" y="48"/>
                    <a:pt x="16" y="48"/>
                    <a:pt x="15" y="48"/>
                  </a:cubicBezTo>
                  <a:cubicBezTo>
                    <a:pt x="12" y="48"/>
                    <a:pt x="14" y="49"/>
                    <a:pt x="14" y="52"/>
                  </a:cubicBezTo>
                  <a:cubicBezTo>
                    <a:pt x="14" y="54"/>
                    <a:pt x="13" y="55"/>
                    <a:pt x="12" y="55"/>
                  </a:cubicBezTo>
                  <a:cubicBezTo>
                    <a:pt x="12" y="55"/>
                    <a:pt x="12" y="55"/>
                    <a:pt x="12" y="55"/>
                  </a:cubicBezTo>
                  <a:cubicBezTo>
                    <a:pt x="12" y="55"/>
                    <a:pt x="12" y="55"/>
                    <a:pt x="11" y="55"/>
                  </a:cubicBezTo>
                  <a:cubicBezTo>
                    <a:pt x="11" y="55"/>
                    <a:pt x="10" y="55"/>
                    <a:pt x="9" y="56"/>
                  </a:cubicBezTo>
                  <a:cubicBezTo>
                    <a:pt x="8" y="57"/>
                    <a:pt x="9" y="60"/>
                    <a:pt x="8" y="61"/>
                  </a:cubicBezTo>
                  <a:cubicBezTo>
                    <a:pt x="8" y="62"/>
                    <a:pt x="6" y="62"/>
                    <a:pt x="6" y="63"/>
                  </a:cubicBezTo>
                  <a:cubicBezTo>
                    <a:pt x="5" y="64"/>
                    <a:pt x="6" y="65"/>
                    <a:pt x="6" y="66"/>
                  </a:cubicBezTo>
                  <a:cubicBezTo>
                    <a:pt x="6" y="67"/>
                    <a:pt x="4" y="69"/>
                    <a:pt x="5" y="71"/>
                  </a:cubicBezTo>
                  <a:cubicBezTo>
                    <a:pt x="6" y="74"/>
                    <a:pt x="14" y="73"/>
                    <a:pt x="12" y="76"/>
                  </a:cubicBezTo>
                  <a:cubicBezTo>
                    <a:pt x="11" y="77"/>
                    <a:pt x="7" y="78"/>
                    <a:pt x="5" y="78"/>
                  </a:cubicBezTo>
                  <a:cubicBezTo>
                    <a:pt x="3" y="79"/>
                    <a:pt x="4" y="80"/>
                    <a:pt x="3" y="82"/>
                  </a:cubicBezTo>
                  <a:cubicBezTo>
                    <a:pt x="3" y="85"/>
                    <a:pt x="0" y="84"/>
                    <a:pt x="2" y="87"/>
                  </a:cubicBezTo>
                  <a:cubicBezTo>
                    <a:pt x="3" y="90"/>
                    <a:pt x="5" y="92"/>
                    <a:pt x="6" y="95"/>
                  </a:cubicBezTo>
                  <a:cubicBezTo>
                    <a:pt x="7" y="96"/>
                    <a:pt x="4" y="96"/>
                    <a:pt x="4" y="97"/>
                  </a:cubicBezTo>
                  <a:cubicBezTo>
                    <a:pt x="3" y="99"/>
                    <a:pt x="4" y="102"/>
                    <a:pt x="3" y="103"/>
                  </a:cubicBezTo>
                  <a:cubicBezTo>
                    <a:pt x="5" y="108"/>
                    <a:pt x="5" y="109"/>
                    <a:pt x="11" y="111"/>
                  </a:cubicBezTo>
                  <a:cubicBezTo>
                    <a:pt x="14" y="112"/>
                    <a:pt x="18" y="113"/>
                    <a:pt x="21" y="113"/>
                  </a:cubicBezTo>
                  <a:cubicBezTo>
                    <a:pt x="26" y="113"/>
                    <a:pt x="31" y="114"/>
                    <a:pt x="37" y="115"/>
                  </a:cubicBezTo>
                  <a:cubicBezTo>
                    <a:pt x="39" y="115"/>
                    <a:pt x="43" y="115"/>
                    <a:pt x="46" y="115"/>
                  </a:cubicBezTo>
                  <a:cubicBezTo>
                    <a:pt x="47" y="115"/>
                    <a:pt x="48" y="115"/>
                    <a:pt x="49" y="115"/>
                  </a:cubicBezTo>
                  <a:cubicBezTo>
                    <a:pt x="51" y="115"/>
                    <a:pt x="52" y="114"/>
                    <a:pt x="53" y="114"/>
                  </a:cubicBezTo>
                  <a:cubicBezTo>
                    <a:pt x="54" y="114"/>
                    <a:pt x="55" y="115"/>
                    <a:pt x="57" y="116"/>
                  </a:cubicBezTo>
                  <a:cubicBezTo>
                    <a:pt x="60" y="120"/>
                    <a:pt x="62" y="122"/>
                    <a:pt x="66" y="123"/>
                  </a:cubicBezTo>
                  <a:cubicBezTo>
                    <a:pt x="68" y="124"/>
                    <a:pt x="71" y="124"/>
                    <a:pt x="73" y="125"/>
                  </a:cubicBezTo>
                  <a:cubicBezTo>
                    <a:pt x="71" y="125"/>
                    <a:pt x="70" y="124"/>
                    <a:pt x="68" y="124"/>
                  </a:cubicBezTo>
                  <a:cubicBezTo>
                    <a:pt x="68" y="124"/>
                    <a:pt x="67" y="124"/>
                    <a:pt x="67" y="124"/>
                  </a:cubicBezTo>
                  <a:cubicBezTo>
                    <a:pt x="65" y="125"/>
                    <a:pt x="66" y="126"/>
                    <a:pt x="65" y="127"/>
                  </a:cubicBezTo>
                  <a:cubicBezTo>
                    <a:pt x="64" y="127"/>
                    <a:pt x="64" y="127"/>
                    <a:pt x="63" y="127"/>
                  </a:cubicBezTo>
                  <a:cubicBezTo>
                    <a:pt x="62" y="127"/>
                    <a:pt x="61" y="127"/>
                    <a:pt x="60" y="127"/>
                  </a:cubicBezTo>
                  <a:cubicBezTo>
                    <a:pt x="59" y="127"/>
                    <a:pt x="58" y="127"/>
                    <a:pt x="57" y="127"/>
                  </a:cubicBezTo>
                  <a:cubicBezTo>
                    <a:pt x="57" y="127"/>
                    <a:pt x="57" y="127"/>
                    <a:pt x="57" y="127"/>
                  </a:cubicBezTo>
                  <a:cubicBezTo>
                    <a:pt x="54" y="127"/>
                    <a:pt x="51" y="128"/>
                    <a:pt x="48" y="128"/>
                  </a:cubicBezTo>
                  <a:cubicBezTo>
                    <a:pt x="46" y="128"/>
                    <a:pt x="45" y="127"/>
                    <a:pt x="43" y="127"/>
                  </a:cubicBezTo>
                  <a:cubicBezTo>
                    <a:pt x="40" y="126"/>
                    <a:pt x="39" y="123"/>
                    <a:pt x="35" y="123"/>
                  </a:cubicBezTo>
                  <a:cubicBezTo>
                    <a:pt x="35" y="123"/>
                    <a:pt x="35" y="123"/>
                    <a:pt x="35" y="123"/>
                  </a:cubicBezTo>
                  <a:cubicBezTo>
                    <a:pt x="34" y="123"/>
                    <a:pt x="33" y="123"/>
                    <a:pt x="32" y="123"/>
                  </a:cubicBezTo>
                  <a:cubicBezTo>
                    <a:pt x="32" y="123"/>
                    <a:pt x="31" y="123"/>
                    <a:pt x="31" y="123"/>
                  </a:cubicBezTo>
                  <a:cubicBezTo>
                    <a:pt x="31" y="123"/>
                    <a:pt x="30" y="123"/>
                    <a:pt x="30" y="123"/>
                  </a:cubicBezTo>
                  <a:cubicBezTo>
                    <a:pt x="29" y="123"/>
                    <a:pt x="29" y="123"/>
                    <a:pt x="28" y="123"/>
                  </a:cubicBezTo>
                  <a:cubicBezTo>
                    <a:pt x="28" y="123"/>
                    <a:pt x="28" y="123"/>
                    <a:pt x="28" y="123"/>
                  </a:cubicBezTo>
                  <a:cubicBezTo>
                    <a:pt x="26" y="123"/>
                    <a:pt x="25" y="123"/>
                    <a:pt x="24" y="123"/>
                  </a:cubicBezTo>
                  <a:cubicBezTo>
                    <a:pt x="23" y="123"/>
                    <a:pt x="22" y="123"/>
                    <a:pt x="21" y="122"/>
                  </a:cubicBezTo>
                  <a:cubicBezTo>
                    <a:pt x="21" y="122"/>
                    <a:pt x="17" y="121"/>
                    <a:pt x="15" y="121"/>
                  </a:cubicBezTo>
                  <a:cubicBezTo>
                    <a:pt x="15" y="121"/>
                    <a:pt x="14" y="121"/>
                    <a:pt x="14" y="121"/>
                  </a:cubicBezTo>
                  <a:cubicBezTo>
                    <a:pt x="14" y="121"/>
                    <a:pt x="14" y="121"/>
                    <a:pt x="14" y="121"/>
                  </a:cubicBezTo>
                  <a:cubicBezTo>
                    <a:pt x="15" y="123"/>
                    <a:pt x="17" y="125"/>
                    <a:pt x="18" y="128"/>
                  </a:cubicBezTo>
                  <a:cubicBezTo>
                    <a:pt x="14" y="128"/>
                    <a:pt x="20" y="134"/>
                    <a:pt x="21" y="135"/>
                  </a:cubicBezTo>
                  <a:cubicBezTo>
                    <a:pt x="26" y="139"/>
                    <a:pt x="32" y="143"/>
                    <a:pt x="37" y="147"/>
                  </a:cubicBezTo>
                  <a:cubicBezTo>
                    <a:pt x="39" y="148"/>
                    <a:pt x="42" y="149"/>
                    <a:pt x="45" y="150"/>
                  </a:cubicBezTo>
                  <a:cubicBezTo>
                    <a:pt x="47" y="151"/>
                    <a:pt x="49" y="153"/>
                    <a:pt x="52" y="153"/>
                  </a:cubicBezTo>
                  <a:cubicBezTo>
                    <a:pt x="51" y="153"/>
                    <a:pt x="51" y="153"/>
                    <a:pt x="51" y="153"/>
                  </a:cubicBezTo>
                  <a:cubicBezTo>
                    <a:pt x="50" y="153"/>
                    <a:pt x="49" y="153"/>
                    <a:pt x="48" y="153"/>
                  </a:cubicBezTo>
                  <a:cubicBezTo>
                    <a:pt x="47" y="153"/>
                    <a:pt x="46" y="153"/>
                    <a:pt x="46" y="153"/>
                  </a:cubicBezTo>
                  <a:cubicBezTo>
                    <a:pt x="45" y="153"/>
                    <a:pt x="44" y="153"/>
                    <a:pt x="44" y="153"/>
                  </a:cubicBezTo>
                  <a:cubicBezTo>
                    <a:pt x="46" y="154"/>
                    <a:pt x="50" y="156"/>
                    <a:pt x="54" y="156"/>
                  </a:cubicBezTo>
                  <a:cubicBezTo>
                    <a:pt x="55" y="156"/>
                    <a:pt x="56" y="156"/>
                    <a:pt x="57" y="156"/>
                  </a:cubicBezTo>
                  <a:cubicBezTo>
                    <a:pt x="57" y="156"/>
                    <a:pt x="58" y="155"/>
                    <a:pt x="58" y="155"/>
                  </a:cubicBezTo>
                  <a:cubicBezTo>
                    <a:pt x="59" y="155"/>
                    <a:pt x="58" y="154"/>
                    <a:pt x="58" y="154"/>
                  </a:cubicBezTo>
                  <a:cubicBezTo>
                    <a:pt x="58" y="154"/>
                    <a:pt x="58" y="154"/>
                    <a:pt x="58" y="154"/>
                  </a:cubicBezTo>
                  <a:cubicBezTo>
                    <a:pt x="59" y="153"/>
                    <a:pt x="59" y="153"/>
                    <a:pt x="60" y="153"/>
                  </a:cubicBezTo>
                  <a:cubicBezTo>
                    <a:pt x="61" y="153"/>
                    <a:pt x="62" y="153"/>
                    <a:pt x="63" y="154"/>
                  </a:cubicBezTo>
                  <a:cubicBezTo>
                    <a:pt x="65" y="154"/>
                    <a:pt x="69" y="155"/>
                    <a:pt x="72" y="155"/>
                  </a:cubicBezTo>
                  <a:cubicBezTo>
                    <a:pt x="72" y="155"/>
                    <a:pt x="72" y="155"/>
                    <a:pt x="73" y="155"/>
                  </a:cubicBezTo>
                  <a:cubicBezTo>
                    <a:pt x="77" y="153"/>
                    <a:pt x="70" y="151"/>
                    <a:pt x="68" y="151"/>
                  </a:cubicBezTo>
                  <a:cubicBezTo>
                    <a:pt x="69" y="149"/>
                    <a:pt x="71" y="147"/>
                    <a:pt x="73" y="147"/>
                  </a:cubicBezTo>
                  <a:cubicBezTo>
                    <a:pt x="74" y="147"/>
                    <a:pt x="75" y="148"/>
                    <a:pt x="75" y="148"/>
                  </a:cubicBezTo>
                  <a:cubicBezTo>
                    <a:pt x="81" y="151"/>
                    <a:pt x="76" y="150"/>
                    <a:pt x="76" y="152"/>
                  </a:cubicBezTo>
                  <a:cubicBezTo>
                    <a:pt x="75" y="153"/>
                    <a:pt x="78" y="153"/>
                    <a:pt x="80" y="153"/>
                  </a:cubicBezTo>
                  <a:cubicBezTo>
                    <a:pt x="81" y="153"/>
                    <a:pt x="81" y="153"/>
                    <a:pt x="81" y="153"/>
                  </a:cubicBezTo>
                  <a:cubicBezTo>
                    <a:pt x="81" y="151"/>
                    <a:pt x="81" y="151"/>
                    <a:pt x="81" y="151"/>
                  </a:cubicBezTo>
                  <a:cubicBezTo>
                    <a:pt x="81" y="151"/>
                    <a:pt x="82" y="149"/>
                    <a:pt x="83" y="149"/>
                  </a:cubicBezTo>
                  <a:cubicBezTo>
                    <a:pt x="84" y="148"/>
                    <a:pt x="90" y="148"/>
                    <a:pt x="88" y="145"/>
                  </a:cubicBezTo>
                  <a:cubicBezTo>
                    <a:pt x="91" y="146"/>
                    <a:pt x="83" y="150"/>
                    <a:pt x="83" y="152"/>
                  </a:cubicBezTo>
                  <a:cubicBezTo>
                    <a:pt x="82" y="158"/>
                    <a:pt x="90" y="162"/>
                    <a:pt x="94" y="164"/>
                  </a:cubicBezTo>
                  <a:cubicBezTo>
                    <a:pt x="97" y="165"/>
                    <a:pt x="100" y="167"/>
                    <a:pt x="103" y="167"/>
                  </a:cubicBezTo>
                  <a:cubicBezTo>
                    <a:pt x="104" y="167"/>
                    <a:pt x="104" y="167"/>
                    <a:pt x="104" y="167"/>
                  </a:cubicBezTo>
                  <a:cubicBezTo>
                    <a:pt x="104" y="167"/>
                    <a:pt x="105" y="167"/>
                    <a:pt x="105" y="167"/>
                  </a:cubicBezTo>
                  <a:cubicBezTo>
                    <a:pt x="107" y="167"/>
                    <a:pt x="108" y="167"/>
                    <a:pt x="109" y="167"/>
                  </a:cubicBezTo>
                  <a:cubicBezTo>
                    <a:pt x="111" y="167"/>
                    <a:pt x="112" y="167"/>
                    <a:pt x="114" y="167"/>
                  </a:cubicBezTo>
                  <a:cubicBezTo>
                    <a:pt x="114" y="167"/>
                    <a:pt x="114" y="167"/>
                    <a:pt x="114" y="167"/>
                  </a:cubicBezTo>
                  <a:cubicBezTo>
                    <a:pt x="111" y="165"/>
                    <a:pt x="108" y="164"/>
                    <a:pt x="104" y="164"/>
                  </a:cubicBezTo>
                  <a:cubicBezTo>
                    <a:pt x="103" y="164"/>
                    <a:pt x="102" y="164"/>
                    <a:pt x="100" y="165"/>
                  </a:cubicBezTo>
                  <a:cubicBezTo>
                    <a:pt x="101" y="163"/>
                    <a:pt x="104" y="162"/>
                    <a:pt x="107" y="162"/>
                  </a:cubicBezTo>
                  <a:cubicBezTo>
                    <a:pt x="112" y="162"/>
                    <a:pt x="117" y="163"/>
                    <a:pt x="119" y="164"/>
                  </a:cubicBezTo>
                  <a:cubicBezTo>
                    <a:pt x="119" y="163"/>
                    <a:pt x="119" y="163"/>
                    <a:pt x="119" y="163"/>
                  </a:cubicBezTo>
                  <a:cubicBezTo>
                    <a:pt x="120" y="163"/>
                    <a:pt x="120" y="164"/>
                    <a:pt x="120" y="164"/>
                  </a:cubicBezTo>
                  <a:cubicBezTo>
                    <a:pt x="120" y="164"/>
                    <a:pt x="120" y="164"/>
                    <a:pt x="120" y="164"/>
                  </a:cubicBezTo>
                  <a:cubicBezTo>
                    <a:pt x="121" y="164"/>
                    <a:pt x="122" y="163"/>
                    <a:pt x="123" y="162"/>
                  </a:cubicBezTo>
                  <a:cubicBezTo>
                    <a:pt x="123" y="162"/>
                    <a:pt x="123" y="162"/>
                    <a:pt x="123" y="162"/>
                  </a:cubicBezTo>
                  <a:cubicBezTo>
                    <a:pt x="126" y="162"/>
                    <a:pt x="127" y="165"/>
                    <a:pt x="129" y="166"/>
                  </a:cubicBezTo>
                  <a:cubicBezTo>
                    <a:pt x="130" y="167"/>
                    <a:pt x="133" y="167"/>
                    <a:pt x="135" y="167"/>
                  </a:cubicBezTo>
                  <a:cubicBezTo>
                    <a:pt x="136" y="168"/>
                    <a:pt x="136" y="168"/>
                    <a:pt x="137" y="168"/>
                  </a:cubicBezTo>
                  <a:cubicBezTo>
                    <a:pt x="138" y="168"/>
                    <a:pt x="138" y="168"/>
                    <a:pt x="139" y="168"/>
                  </a:cubicBezTo>
                  <a:cubicBezTo>
                    <a:pt x="139" y="167"/>
                    <a:pt x="140" y="167"/>
                    <a:pt x="140" y="167"/>
                  </a:cubicBezTo>
                  <a:cubicBezTo>
                    <a:pt x="141" y="167"/>
                    <a:pt x="142" y="168"/>
                    <a:pt x="143" y="168"/>
                  </a:cubicBezTo>
                  <a:cubicBezTo>
                    <a:pt x="145" y="168"/>
                    <a:pt x="147" y="169"/>
                    <a:pt x="150" y="169"/>
                  </a:cubicBezTo>
                  <a:cubicBezTo>
                    <a:pt x="150" y="169"/>
                    <a:pt x="150" y="169"/>
                    <a:pt x="150" y="169"/>
                  </a:cubicBezTo>
                  <a:cubicBezTo>
                    <a:pt x="155" y="169"/>
                    <a:pt x="158" y="166"/>
                    <a:pt x="162" y="166"/>
                  </a:cubicBezTo>
                  <a:cubicBezTo>
                    <a:pt x="162" y="166"/>
                    <a:pt x="162" y="166"/>
                    <a:pt x="162" y="166"/>
                  </a:cubicBezTo>
                  <a:cubicBezTo>
                    <a:pt x="164" y="166"/>
                    <a:pt x="166" y="167"/>
                    <a:pt x="168" y="168"/>
                  </a:cubicBezTo>
                  <a:cubicBezTo>
                    <a:pt x="169" y="169"/>
                    <a:pt x="170" y="170"/>
                    <a:pt x="171" y="170"/>
                  </a:cubicBezTo>
                  <a:cubicBezTo>
                    <a:pt x="171" y="170"/>
                    <a:pt x="172" y="170"/>
                    <a:pt x="172" y="170"/>
                  </a:cubicBezTo>
                  <a:cubicBezTo>
                    <a:pt x="172" y="170"/>
                    <a:pt x="172" y="170"/>
                    <a:pt x="172" y="170"/>
                  </a:cubicBezTo>
                  <a:cubicBezTo>
                    <a:pt x="172" y="170"/>
                    <a:pt x="172" y="170"/>
                    <a:pt x="172" y="170"/>
                  </a:cubicBezTo>
                  <a:cubicBezTo>
                    <a:pt x="172" y="170"/>
                    <a:pt x="173" y="170"/>
                    <a:pt x="173" y="170"/>
                  </a:cubicBezTo>
                  <a:cubicBezTo>
                    <a:pt x="175" y="171"/>
                    <a:pt x="177" y="173"/>
                    <a:pt x="179" y="173"/>
                  </a:cubicBezTo>
                  <a:cubicBezTo>
                    <a:pt x="182" y="173"/>
                    <a:pt x="184" y="173"/>
                    <a:pt x="186" y="175"/>
                  </a:cubicBezTo>
                  <a:cubicBezTo>
                    <a:pt x="186" y="174"/>
                    <a:pt x="187" y="173"/>
                    <a:pt x="188" y="172"/>
                  </a:cubicBezTo>
                  <a:cubicBezTo>
                    <a:pt x="188" y="172"/>
                    <a:pt x="188" y="172"/>
                    <a:pt x="189" y="172"/>
                  </a:cubicBezTo>
                  <a:cubicBezTo>
                    <a:pt x="189" y="172"/>
                    <a:pt x="189" y="172"/>
                    <a:pt x="190" y="172"/>
                  </a:cubicBezTo>
                  <a:cubicBezTo>
                    <a:pt x="190" y="173"/>
                    <a:pt x="190" y="173"/>
                    <a:pt x="191" y="173"/>
                  </a:cubicBezTo>
                  <a:cubicBezTo>
                    <a:pt x="191" y="173"/>
                    <a:pt x="191" y="173"/>
                    <a:pt x="191" y="173"/>
                  </a:cubicBezTo>
                  <a:cubicBezTo>
                    <a:pt x="191" y="173"/>
                    <a:pt x="192" y="172"/>
                    <a:pt x="193" y="172"/>
                  </a:cubicBezTo>
                  <a:cubicBezTo>
                    <a:pt x="193" y="172"/>
                    <a:pt x="194" y="172"/>
                    <a:pt x="194" y="172"/>
                  </a:cubicBezTo>
                  <a:cubicBezTo>
                    <a:pt x="194" y="172"/>
                    <a:pt x="194" y="172"/>
                    <a:pt x="194" y="172"/>
                  </a:cubicBezTo>
                  <a:cubicBezTo>
                    <a:pt x="195" y="171"/>
                    <a:pt x="195" y="171"/>
                    <a:pt x="195" y="171"/>
                  </a:cubicBezTo>
                  <a:cubicBezTo>
                    <a:pt x="195" y="171"/>
                    <a:pt x="195" y="171"/>
                    <a:pt x="195" y="171"/>
                  </a:cubicBezTo>
                  <a:cubicBezTo>
                    <a:pt x="195" y="171"/>
                    <a:pt x="195" y="171"/>
                    <a:pt x="195" y="171"/>
                  </a:cubicBezTo>
                  <a:cubicBezTo>
                    <a:pt x="194" y="171"/>
                    <a:pt x="194" y="171"/>
                    <a:pt x="195" y="171"/>
                  </a:cubicBezTo>
                  <a:cubicBezTo>
                    <a:pt x="195" y="170"/>
                    <a:pt x="195" y="170"/>
                    <a:pt x="196" y="169"/>
                  </a:cubicBezTo>
                  <a:cubicBezTo>
                    <a:pt x="194" y="168"/>
                    <a:pt x="192" y="168"/>
                    <a:pt x="191" y="167"/>
                  </a:cubicBezTo>
                  <a:cubicBezTo>
                    <a:pt x="190" y="167"/>
                    <a:pt x="189" y="166"/>
                    <a:pt x="188" y="165"/>
                  </a:cubicBezTo>
                  <a:cubicBezTo>
                    <a:pt x="186" y="163"/>
                    <a:pt x="183" y="162"/>
                    <a:pt x="180" y="161"/>
                  </a:cubicBezTo>
                  <a:cubicBezTo>
                    <a:pt x="178" y="160"/>
                    <a:pt x="175" y="159"/>
                    <a:pt x="172" y="158"/>
                  </a:cubicBezTo>
                  <a:cubicBezTo>
                    <a:pt x="170" y="157"/>
                    <a:pt x="168" y="156"/>
                    <a:pt x="165" y="154"/>
                  </a:cubicBezTo>
                  <a:cubicBezTo>
                    <a:pt x="171" y="156"/>
                    <a:pt x="176" y="159"/>
                    <a:pt x="182" y="160"/>
                  </a:cubicBezTo>
                  <a:cubicBezTo>
                    <a:pt x="186" y="162"/>
                    <a:pt x="189" y="165"/>
                    <a:pt x="194" y="167"/>
                  </a:cubicBezTo>
                  <a:cubicBezTo>
                    <a:pt x="196" y="168"/>
                    <a:pt x="198" y="168"/>
                    <a:pt x="201" y="169"/>
                  </a:cubicBezTo>
                  <a:cubicBezTo>
                    <a:pt x="203" y="171"/>
                    <a:pt x="206" y="172"/>
                    <a:pt x="208" y="174"/>
                  </a:cubicBezTo>
                  <a:cubicBezTo>
                    <a:pt x="210" y="175"/>
                    <a:pt x="212" y="178"/>
                    <a:pt x="215" y="178"/>
                  </a:cubicBezTo>
                  <a:cubicBezTo>
                    <a:pt x="215" y="178"/>
                    <a:pt x="215" y="178"/>
                    <a:pt x="215" y="178"/>
                  </a:cubicBezTo>
                  <a:cubicBezTo>
                    <a:pt x="220" y="177"/>
                    <a:pt x="215" y="173"/>
                    <a:pt x="213" y="172"/>
                  </a:cubicBezTo>
                  <a:cubicBezTo>
                    <a:pt x="211" y="170"/>
                    <a:pt x="209" y="168"/>
                    <a:pt x="207" y="167"/>
                  </a:cubicBezTo>
                  <a:cubicBezTo>
                    <a:pt x="206" y="166"/>
                    <a:pt x="206" y="166"/>
                    <a:pt x="205" y="166"/>
                  </a:cubicBezTo>
                  <a:cubicBezTo>
                    <a:pt x="205" y="166"/>
                    <a:pt x="204" y="166"/>
                    <a:pt x="204" y="166"/>
                  </a:cubicBezTo>
                  <a:cubicBezTo>
                    <a:pt x="204" y="166"/>
                    <a:pt x="203" y="167"/>
                    <a:pt x="202" y="167"/>
                  </a:cubicBezTo>
                  <a:cubicBezTo>
                    <a:pt x="202" y="167"/>
                    <a:pt x="202" y="167"/>
                    <a:pt x="202" y="167"/>
                  </a:cubicBezTo>
                  <a:cubicBezTo>
                    <a:pt x="202" y="167"/>
                    <a:pt x="200" y="165"/>
                    <a:pt x="200" y="164"/>
                  </a:cubicBezTo>
                  <a:cubicBezTo>
                    <a:pt x="198" y="164"/>
                    <a:pt x="197" y="164"/>
                    <a:pt x="196" y="163"/>
                  </a:cubicBezTo>
                  <a:cubicBezTo>
                    <a:pt x="194" y="162"/>
                    <a:pt x="195" y="162"/>
                    <a:pt x="196" y="162"/>
                  </a:cubicBezTo>
                  <a:cubicBezTo>
                    <a:pt x="198" y="162"/>
                    <a:pt x="202" y="163"/>
                    <a:pt x="202" y="163"/>
                  </a:cubicBezTo>
                  <a:cubicBezTo>
                    <a:pt x="203" y="163"/>
                    <a:pt x="203" y="163"/>
                    <a:pt x="204" y="163"/>
                  </a:cubicBezTo>
                  <a:cubicBezTo>
                    <a:pt x="204" y="163"/>
                    <a:pt x="205" y="163"/>
                    <a:pt x="206" y="163"/>
                  </a:cubicBezTo>
                  <a:cubicBezTo>
                    <a:pt x="206" y="163"/>
                    <a:pt x="207" y="163"/>
                    <a:pt x="208" y="163"/>
                  </a:cubicBezTo>
                  <a:cubicBezTo>
                    <a:pt x="209" y="163"/>
                    <a:pt x="209" y="163"/>
                    <a:pt x="210" y="163"/>
                  </a:cubicBezTo>
                  <a:cubicBezTo>
                    <a:pt x="213" y="163"/>
                    <a:pt x="215" y="164"/>
                    <a:pt x="218" y="164"/>
                  </a:cubicBezTo>
                  <a:cubicBezTo>
                    <a:pt x="221" y="165"/>
                    <a:pt x="223" y="165"/>
                    <a:pt x="225" y="166"/>
                  </a:cubicBezTo>
                  <a:cubicBezTo>
                    <a:pt x="226" y="167"/>
                    <a:pt x="227" y="167"/>
                    <a:pt x="227" y="167"/>
                  </a:cubicBezTo>
                  <a:cubicBezTo>
                    <a:pt x="228" y="167"/>
                    <a:pt x="229" y="166"/>
                    <a:pt x="230" y="166"/>
                  </a:cubicBezTo>
                  <a:cubicBezTo>
                    <a:pt x="230" y="166"/>
                    <a:pt x="230" y="166"/>
                    <a:pt x="231" y="166"/>
                  </a:cubicBezTo>
                  <a:cubicBezTo>
                    <a:pt x="233" y="166"/>
                    <a:pt x="235" y="167"/>
                    <a:pt x="237" y="168"/>
                  </a:cubicBezTo>
                  <a:cubicBezTo>
                    <a:pt x="237" y="168"/>
                    <a:pt x="237" y="168"/>
                    <a:pt x="237" y="168"/>
                  </a:cubicBezTo>
                  <a:cubicBezTo>
                    <a:pt x="238" y="168"/>
                    <a:pt x="238" y="168"/>
                    <a:pt x="238" y="168"/>
                  </a:cubicBezTo>
                  <a:cubicBezTo>
                    <a:pt x="238" y="168"/>
                    <a:pt x="238" y="168"/>
                    <a:pt x="238" y="168"/>
                  </a:cubicBezTo>
                  <a:cubicBezTo>
                    <a:pt x="238" y="168"/>
                    <a:pt x="239" y="168"/>
                    <a:pt x="240" y="169"/>
                  </a:cubicBezTo>
                  <a:cubicBezTo>
                    <a:pt x="241" y="171"/>
                    <a:pt x="242" y="173"/>
                    <a:pt x="243" y="173"/>
                  </a:cubicBezTo>
                  <a:cubicBezTo>
                    <a:pt x="243" y="173"/>
                    <a:pt x="244" y="173"/>
                    <a:pt x="244" y="173"/>
                  </a:cubicBezTo>
                  <a:cubicBezTo>
                    <a:pt x="246" y="173"/>
                    <a:pt x="248" y="171"/>
                    <a:pt x="250" y="171"/>
                  </a:cubicBezTo>
                  <a:cubicBezTo>
                    <a:pt x="251" y="171"/>
                    <a:pt x="251" y="171"/>
                    <a:pt x="251" y="171"/>
                  </a:cubicBezTo>
                  <a:cubicBezTo>
                    <a:pt x="252" y="171"/>
                    <a:pt x="253" y="171"/>
                    <a:pt x="254" y="171"/>
                  </a:cubicBezTo>
                  <a:cubicBezTo>
                    <a:pt x="255" y="171"/>
                    <a:pt x="256" y="172"/>
                    <a:pt x="257" y="172"/>
                  </a:cubicBezTo>
                  <a:cubicBezTo>
                    <a:pt x="257" y="172"/>
                    <a:pt x="258" y="172"/>
                    <a:pt x="258" y="172"/>
                  </a:cubicBezTo>
                  <a:cubicBezTo>
                    <a:pt x="262" y="171"/>
                    <a:pt x="267" y="172"/>
                    <a:pt x="266" y="167"/>
                  </a:cubicBezTo>
                  <a:cubicBezTo>
                    <a:pt x="266" y="163"/>
                    <a:pt x="263" y="156"/>
                    <a:pt x="260" y="153"/>
                  </a:cubicBezTo>
                  <a:cubicBezTo>
                    <a:pt x="259" y="153"/>
                    <a:pt x="258" y="153"/>
                    <a:pt x="258" y="153"/>
                  </a:cubicBezTo>
                  <a:cubicBezTo>
                    <a:pt x="257" y="153"/>
                    <a:pt x="257" y="153"/>
                    <a:pt x="257" y="153"/>
                  </a:cubicBezTo>
                  <a:cubicBezTo>
                    <a:pt x="256" y="153"/>
                    <a:pt x="256" y="154"/>
                    <a:pt x="255" y="154"/>
                  </a:cubicBezTo>
                  <a:cubicBezTo>
                    <a:pt x="255" y="154"/>
                    <a:pt x="254" y="154"/>
                    <a:pt x="254" y="154"/>
                  </a:cubicBezTo>
                  <a:cubicBezTo>
                    <a:pt x="253" y="153"/>
                    <a:pt x="252" y="152"/>
                    <a:pt x="251" y="152"/>
                  </a:cubicBezTo>
                  <a:cubicBezTo>
                    <a:pt x="251" y="152"/>
                    <a:pt x="251" y="152"/>
                    <a:pt x="251" y="152"/>
                  </a:cubicBezTo>
                  <a:cubicBezTo>
                    <a:pt x="250" y="152"/>
                    <a:pt x="250" y="152"/>
                    <a:pt x="249" y="152"/>
                  </a:cubicBezTo>
                  <a:cubicBezTo>
                    <a:pt x="249" y="152"/>
                    <a:pt x="249" y="152"/>
                    <a:pt x="249" y="152"/>
                  </a:cubicBezTo>
                  <a:cubicBezTo>
                    <a:pt x="249" y="152"/>
                    <a:pt x="248" y="152"/>
                    <a:pt x="248" y="152"/>
                  </a:cubicBezTo>
                  <a:cubicBezTo>
                    <a:pt x="246" y="151"/>
                    <a:pt x="246" y="151"/>
                    <a:pt x="246" y="151"/>
                  </a:cubicBezTo>
                  <a:cubicBezTo>
                    <a:pt x="245" y="148"/>
                    <a:pt x="248" y="149"/>
                    <a:pt x="249" y="148"/>
                  </a:cubicBezTo>
                  <a:cubicBezTo>
                    <a:pt x="250" y="148"/>
                    <a:pt x="250" y="146"/>
                    <a:pt x="252" y="146"/>
                  </a:cubicBezTo>
                  <a:cubicBezTo>
                    <a:pt x="252" y="146"/>
                    <a:pt x="252" y="146"/>
                    <a:pt x="252" y="146"/>
                  </a:cubicBezTo>
                  <a:cubicBezTo>
                    <a:pt x="252" y="148"/>
                    <a:pt x="253" y="149"/>
                    <a:pt x="254" y="149"/>
                  </a:cubicBezTo>
                  <a:cubicBezTo>
                    <a:pt x="255" y="149"/>
                    <a:pt x="255" y="148"/>
                    <a:pt x="255" y="147"/>
                  </a:cubicBezTo>
                  <a:cubicBezTo>
                    <a:pt x="255" y="144"/>
                    <a:pt x="258" y="143"/>
                    <a:pt x="259" y="141"/>
                  </a:cubicBezTo>
                  <a:cubicBezTo>
                    <a:pt x="258" y="141"/>
                    <a:pt x="258" y="141"/>
                    <a:pt x="258" y="141"/>
                  </a:cubicBezTo>
                  <a:cubicBezTo>
                    <a:pt x="257" y="141"/>
                    <a:pt x="257" y="141"/>
                    <a:pt x="257" y="141"/>
                  </a:cubicBezTo>
                  <a:cubicBezTo>
                    <a:pt x="257" y="141"/>
                    <a:pt x="256" y="141"/>
                    <a:pt x="256" y="141"/>
                  </a:cubicBezTo>
                  <a:cubicBezTo>
                    <a:pt x="256" y="141"/>
                    <a:pt x="255" y="141"/>
                    <a:pt x="255" y="141"/>
                  </a:cubicBezTo>
                  <a:cubicBezTo>
                    <a:pt x="256" y="139"/>
                    <a:pt x="257" y="139"/>
                    <a:pt x="257" y="139"/>
                  </a:cubicBezTo>
                  <a:cubicBezTo>
                    <a:pt x="258" y="139"/>
                    <a:pt x="259" y="140"/>
                    <a:pt x="261" y="140"/>
                  </a:cubicBezTo>
                  <a:cubicBezTo>
                    <a:pt x="261" y="141"/>
                    <a:pt x="261" y="141"/>
                    <a:pt x="261" y="141"/>
                  </a:cubicBezTo>
                  <a:cubicBezTo>
                    <a:pt x="261" y="141"/>
                    <a:pt x="261" y="141"/>
                    <a:pt x="262" y="140"/>
                  </a:cubicBezTo>
                  <a:cubicBezTo>
                    <a:pt x="262" y="140"/>
                    <a:pt x="262" y="140"/>
                    <a:pt x="262" y="140"/>
                  </a:cubicBezTo>
                  <a:cubicBezTo>
                    <a:pt x="262" y="140"/>
                    <a:pt x="262" y="140"/>
                    <a:pt x="262" y="140"/>
                  </a:cubicBezTo>
                  <a:cubicBezTo>
                    <a:pt x="263" y="141"/>
                    <a:pt x="264" y="142"/>
                    <a:pt x="265" y="143"/>
                  </a:cubicBezTo>
                  <a:cubicBezTo>
                    <a:pt x="263" y="142"/>
                    <a:pt x="263" y="142"/>
                    <a:pt x="262" y="142"/>
                  </a:cubicBezTo>
                  <a:cubicBezTo>
                    <a:pt x="261" y="142"/>
                    <a:pt x="260" y="143"/>
                    <a:pt x="259" y="143"/>
                  </a:cubicBezTo>
                  <a:cubicBezTo>
                    <a:pt x="260" y="143"/>
                    <a:pt x="260" y="144"/>
                    <a:pt x="261" y="144"/>
                  </a:cubicBezTo>
                  <a:cubicBezTo>
                    <a:pt x="260" y="144"/>
                    <a:pt x="256" y="143"/>
                    <a:pt x="257" y="146"/>
                  </a:cubicBezTo>
                  <a:cubicBezTo>
                    <a:pt x="258" y="147"/>
                    <a:pt x="261" y="149"/>
                    <a:pt x="262" y="150"/>
                  </a:cubicBezTo>
                  <a:cubicBezTo>
                    <a:pt x="262" y="149"/>
                    <a:pt x="262" y="148"/>
                    <a:pt x="262" y="147"/>
                  </a:cubicBezTo>
                  <a:cubicBezTo>
                    <a:pt x="262" y="149"/>
                    <a:pt x="264" y="148"/>
                    <a:pt x="265" y="149"/>
                  </a:cubicBezTo>
                  <a:cubicBezTo>
                    <a:pt x="267" y="152"/>
                    <a:pt x="267" y="152"/>
                    <a:pt x="267" y="152"/>
                  </a:cubicBezTo>
                  <a:cubicBezTo>
                    <a:pt x="267" y="153"/>
                    <a:pt x="268" y="153"/>
                    <a:pt x="268" y="153"/>
                  </a:cubicBezTo>
                  <a:cubicBezTo>
                    <a:pt x="269" y="153"/>
                    <a:pt x="269" y="152"/>
                    <a:pt x="270" y="152"/>
                  </a:cubicBezTo>
                  <a:cubicBezTo>
                    <a:pt x="270" y="152"/>
                    <a:pt x="270" y="152"/>
                    <a:pt x="271" y="152"/>
                  </a:cubicBezTo>
                  <a:cubicBezTo>
                    <a:pt x="273" y="152"/>
                    <a:pt x="272" y="153"/>
                    <a:pt x="270" y="154"/>
                  </a:cubicBezTo>
                  <a:cubicBezTo>
                    <a:pt x="270" y="155"/>
                    <a:pt x="272" y="156"/>
                    <a:pt x="272" y="157"/>
                  </a:cubicBezTo>
                  <a:cubicBezTo>
                    <a:pt x="274" y="158"/>
                    <a:pt x="273" y="157"/>
                    <a:pt x="275" y="158"/>
                  </a:cubicBezTo>
                  <a:cubicBezTo>
                    <a:pt x="276" y="157"/>
                    <a:pt x="276" y="157"/>
                    <a:pt x="276" y="157"/>
                  </a:cubicBezTo>
                  <a:cubicBezTo>
                    <a:pt x="277" y="157"/>
                    <a:pt x="277" y="159"/>
                    <a:pt x="278" y="159"/>
                  </a:cubicBezTo>
                  <a:cubicBezTo>
                    <a:pt x="278" y="159"/>
                    <a:pt x="278" y="159"/>
                    <a:pt x="278" y="159"/>
                  </a:cubicBezTo>
                  <a:cubicBezTo>
                    <a:pt x="279" y="158"/>
                    <a:pt x="279" y="157"/>
                    <a:pt x="278" y="156"/>
                  </a:cubicBezTo>
                  <a:cubicBezTo>
                    <a:pt x="279" y="157"/>
                    <a:pt x="280" y="157"/>
                    <a:pt x="281" y="157"/>
                  </a:cubicBezTo>
                  <a:cubicBezTo>
                    <a:pt x="282" y="157"/>
                    <a:pt x="282" y="157"/>
                    <a:pt x="283" y="157"/>
                  </a:cubicBezTo>
                  <a:cubicBezTo>
                    <a:pt x="284" y="156"/>
                    <a:pt x="284" y="156"/>
                    <a:pt x="285" y="156"/>
                  </a:cubicBezTo>
                  <a:cubicBezTo>
                    <a:pt x="286" y="156"/>
                    <a:pt x="287" y="157"/>
                    <a:pt x="288" y="158"/>
                  </a:cubicBezTo>
                  <a:cubicBezTo>
                    <a:pt x="291" y="162"/>
                    <a:pt x="290" y="169"/>
                    <a:pt x="290" y="174"/>
                  </a:cubicBezTo>
                  <a:cubicBezTo>
                    <a:pt x="291" y="176"/>
                    <a:pt x="291" y="177"/>
                    <a:pt x="291" y="177"/>
                  </a:cubicBezTo>
                  <a:cubicBezTo>
                    <a:pt x="292" y="177"/>
                    <a:pt x="292" y="177"/>
                    <a:pt x="292" y="176"/>
                  </a:cubicBezTo>
                  <a:cubicBezTo>
                    <a:pt x="293" y="176"/>
                    <a:pt x="293" y="175"/>
                    <a:pt x="294" y="175"/>
                  </a:cubicBezTo>
                  <a:cubicBezTo>
                    <a:pt x="294" y="175"/>
                    <a:pt x="294" y="175"/>
                    <a:pt x="294" y="175"/>
                  </a:cubicBezTo>
                  <a:cubicBezTo>
                    <a:pt x="294" y="175"/>
                    <a:pt x="292" y="174"/>
                    <a:pt x="291" y="174"/>
                  </a:cubicBezTo>
                  <a:cubicBezTo>
                    <a:pt x="291" y="174"/>
                    <a:pt x="291" y="174"/>
                    <a:pt x="291" y="174"/>
                  </a:cubicBezTo>
                  <a:cubicBezTo>
                    <a:pt x="295" y="172"/>
                    <a:pt x="300" y="171"/>
                    <a:pt x="305" y="169"/>
                  </a:cubicBezTo>
                  <a:cubicBezTo>
                    <a:pt x="304" y="171"/>
                    <a:pt x="301" y="170"/>
                    <a:pt x="300" y="171"/>
                  </a:cubicBezTo>
                  <a:cubicBezTo>
                    <a:pt x="298" y="173"/>
                    <a:pt x="299" y="174"/>
                    <a:pt x="301" y="174"/>
                  </a:cubicBezTo>
                  <a:cubicBezTo>
                    <a:pt x="301" y="174"/>
                    <a:pt x="301" y="174"/>
                    <a:pt x="302" y="174"/>
                  </a:cubicBezTo>
                  <a:cubicBezTo>
                    <a:pt x="302" y="174"/>
                    <a:pt x="303" y="173"/>
                    <a:pt x="304" y="173"/>
                  </a:cubicBezTo>
                  <a:cubicBezTo>
                    <a:pt x="304" y="173"/>
                    <a:pt x="304" y="173"/>
                    <a:pt x="304" y="173"/>
                  </a:cubicBezTo>
                  <a:cubicBezTo>
                    <a:pt x="306" y="173"/>
                    <a:pt x="305" y="174"/>
                    <a:pt x="306" y="174"/>
                  </a:cubicBezTo>
                  <a:cubicBezTo>
                    <a:pt x="306" y="174"/>
                    <a:pt x="306" y="174"/>
                    <a:pt x="307" y="174"/>
                  </a:cubicBezTo>
                  <a:cubicBezTo>
                    <a:pt x="308" y="174"/>
                    <a:pt x="309" y="174"/>
                    <a:pt x="309" y="174"/>
                  </a:cubicBezTo>
                  <a:cubicBezTo>
                    <a:pt x="306" y="176"/>
                    <a:pt x="310" y="176"/>
                    <a:pt x="310" y="177"/>
                  </a:cubicBezTo>
                  <a:cubicBezTo>
                    <a:pt x="309" y="179"/>
                    <a:pt x="308" y="179"/>
                    <a:pt x="307" y="179"/>
                  </a:cubicBezTo>
                  <a:cubicBezTo>
                    <a:pt x="307" y="179"/>
                    <a:pt x="307" y="179"/>
                    <a:pt x="306" y="179"/>
                  </a:cubicBezTo>
                  <a:cubicBezTo>
                    <a:pt x="306" y="179"/>
                    <a:pt x="306" y="179"/>
                    <a:pt x="305" y="179"/>
                  </a:cubicBezTo>
                  <a:cubicBezTo>
                    <a:pt x="305" y="179"/>
                    <a:pt x="305" y="179"/>
                    <a:pt x="305" y="179"/>
                  </a:cubicBezTo>
                  <a:cubicBezTo>
                    <a:pt x="301" y="179"/>
                    <a:pt x="299" y="181"/>
                    <a:pt x="304" y="182"/>
                  </a:cubicBezTo>
                  <a:cubicBezTo>
                    <a:pt x="304" y="182"/>
                    <a:pt x="305" y="183"/>
                    <a:pt x="305" y="183"/>
                  </a:cubicBezTo>
                  <a:cubicBezTo>
                    <a:pt x="305" y="183"/>
                    <a:pt x="306" y="183"/>
                    <a:pt x="306" y="183"/>
                  </a:cubicBezTo>
                  <a:cubicBezTo>
                    <a:pt x="306" y="183"/>
                    <a:pt x="306" y="183"/>
                    <a:pt x="307" y="183"/>
                  </a:cubicBezTo>
                  <a:cubicBezTo>
                    <a:pt x="307" y="183"/>
                    <a:pt x="307" y="182"/>
                    <a:pt x="307" y="182"/>
                  </a:cubicBezTo>
                  <a:cubicBezTo>
                    <a:pt x="307" y="182"/>
                    <a:pt x="307" y="182"/>
                    <a:pt x="307" y="182"/>
                  </a:cubicBezTo>
                  <a:cubicBezTo>
                    <a:pt x="309" y="183"/>
                    <a:pt x="308" y="183"/>
                    <a:pt x="309" y="184"/>
                  </a:cubicBezTo>
                  <a:cubicBezTo>
                    <a:pt x="310" y="184"/>
                    <a:pt x="310" y="185"/>
                    <a:pt x="311" y="185"/>
                  </a:cubicBezTo>
                  <a:cubicBezTo>
                    <a:pt x="311" y="185"/>
                    <a:pt x="312" y="185"/>
                    <a:pt x="312" y="185"/>
                  </a:cubicBezTo>
                  <a:cubicBezTo>
                    <a:pt x="313" y="185"/>
                    <a:pt x="314" y="183"/>
                    <a:pt x="314" y="182"/>
                  </a:cubicBezTo>
                  <a:cubicBezTo>
                    <a:pt x="315" y="182"/>
                    <a:pt x="318" y="180"/>
                    <a:pt x="314" y="180"/>
                  </a:cubicBezTo>
                  <a:cubicBezTo>
                    <a:pt x="315" y="179"/>
                    <a:pt x="315" y="179"/>
                    <a:pt x="316" y="179"/>
                  </a:cubicBezTo>
                  <a:cubicBezTo>
                    <a:pt x="317" y="179"/>
                    <a:pt x="318" y="179"/>
                    <a:pt x="319" y="180"/>
                  </a:cubicBezTo>
                  <a:cubicBezTo>
                    <a:pt x="321" y="180"/>
                    <a:pt x="322" y="181"/>
                    <a:pt x="323" y="181"/>
                  </a:cubicBezTo>
                  <a:cubicBezTo>
                    <a:pt x="323" y="181"/>
                    <a:pt x="323" y="181"/>
                    <a:pt x="323" y="180"/>
                  </a:cubicBezTo>
                  <a:cubicBezTo>
                    <a:pt x="323" y="181"/>
                    <a:pt x="322" y="181"/>
                    <a:pt x="321" y="181"/>
                  </a:cubicBezTo>
                  <a:cubicBezTo>
                    <a:pt x="321" y="181"/>
                    <a:pt x="321" y="181"/>
                    <a:pt x="321" y="181"/>
                  </a:cubicBezTo>
                  <a:cubicBezTo>
                    <a:pt x="320" y="181"/>
                    <a:pt x="320" y="181"/>
                    <a:pt x="320" y="181"/>
                  </a:cubicBezTo>
                  <a:cubicBezTo>
                    <a:pt x="320" y="181"/>
                    <a:pt x="319" y="181"/>
                    <a:pt x="319" y="181"/>
                  </a:cubicBezTo>
                  <a:cubicBezTo>
                    <a:pt x="317" y="182"/>
                    <a:pt x="317" y="181"/>
                    <a:pt x="316" y="183"/>
                  </a:cubicBezTo>
                  <a:cubicBezTo>
                    <a:pt x="312" y="185"/>
                    <a:pt x="315" y="186"/>
                    <a:pt x="317" y="188"/>
                  </a:cubicBezTo>
                  <a:cubicBezTo>
                    <a:pt x="319" y="190"/>
                    <a:pt x="319" y="191"/>
                    <a:pt x="320" y="191"/>
                  </a:cubicBezTo>
                  <a:cubicBezTo>
                    <a:pt x="321" y="191"/>
                    <a:pt x="321" y="191"/>
                    <a:pt x="322" y="191"/>
                  </a:cubicBezTo>
                  <a:cubicBezTo>
                    <a:pt x="322" y="191"/>
                    <a:pt x="323" y="191"/>
                    <a:pt x="323" y="191"/>
                  </a:cubicBezTo>
                  <a:cubicBezTo>
                    <a:pt x="325" y="191"/>
                    <a:pt x="327" y="192"/>
                    <a:pt x="329" y="193"/>
                  </a:cubicBezTo>
                  <a:cubicBezTo>
                    <a:pt x="331" y="193"/>
                    <a:pt x="334" y="195"/>
                    <a:pt x="335" y="196"/>
                  </a:cubicBezTo>
                  <a:cubicBezTo>
                    <a:pt x="337" y="198"/>
                    <a:pt x="338" y="198"/>
                    <a:pt x="336" y="200"/>
                  </a:cubicBezTo>
                  <a:cubicBezTo>
                    <a:pt x="334" y="202"/>
                    <a:pt x="333" y="204"/>
                    <a:pt x="331" y="206"/>
                  </a:cubicBezTo>
                  <a:cubicBezTo>
                    <a:pt x="330" y="207"/>
                    <a:pt x="329" y="207"/>
                    <a:pt x="328" y="207"/>
                  </a:cubicBezTo>
                  <a:cubicBezTo>
                    <a:pt x="326" y="207"/>
                    <a:pt x="325" y="207"/>
                    <a:pt x="323" y="206"/>
                  </a:cubicBezTo>
                  <a:cubicBezTo>
                    <a:pt x="322" y="206"/>
                    <a:pt x="320" y="206"/>
                    <a:pt x="319" y="206"/>
                  </a:cubicBezTo>
                  <a:cubicBezTo>
                    <a:pt x="318" y="206"/>
                    <a:pt x="318" y="206"/>
                    <a:pt x="317" y="206"/>
                  </a:cubicBezTo>
                  <a:cubicBezTo>
                    <a:pt x="316" y="206"/>
                    <a:pt x="313" y="206"/>
                    <a:pt x="314" y="208"/>
                  </a:cubicBezTo>
                  <a:cubicBezTo>
                    <a:pt x="315" y="213"/>
                    <a:pt x="317" y="212"/>
                    <a:pt x="314" y="216"/>
                  </a:cubicBezTo>
                  <a:cubicBezTo>
                    <a:pt x="311" y="219"/>
                    <a:pt x="313" y="220"/>
                    <a:pt x="316" y="220"/>
                  </a:cubicBezTo>
                  <a:cubicBezTo>
                    <a:pt x="318" y="220"/>
                    <a:pt x="322" y="220"/>
                    <a:pt x="323" y="219"/>
                  </a:cubicBezTo>
                  <a:cubicBezTo>
                    <a:pt x="326" y="218"/>
                    <a:pt x="329" y="216"/>
                    <a:pt x="332" y="214"/>
                  </a:cubicBezTo>
                  <a:cubicBezTo>
                    <a:pt x="334" y="214"/>
                    <a:pt x="336" y="213"/>
                    <a:pt x="338" y="212"/>
                  </a:cubicBezTo>
                  <a:cubicBezTo>
                    <a:pt x="340" y="211"/>
                    <a:pt x="340" y="209"/>
                    <a:pt x="341" y="207"/>
                  </a:cubicBezTo>
                  <a:cubicBezTo>
                    <a:pt x="343" y="209"/>
                    <a:pt x="345" y="212"/>
                    <a:pt x="348" y="212"/>
                  </a:cubicBezTo>
                  <a:cubicBezTo>
                    <a:pt x="348" y="212"/>
                    <a:pt x="349" y="211"/>
                    <a:pt x="350" y="210"/>
                  </a:cubicBezTo>
                  <a:cubicBezTo>
                    <a:pt x="351" y="208"/>
                    <a:pt x="351" y="207"/>
                    <a:pt x="353" y="206"/>
                  </a:cubicBezTo>
                  <a:cubicBezTo>
                    <a:pt x="354" y="205"/>
                    <a:pt x="354" y="205"/>
                    <a:pt x="355" y="205"/>
                  </a:cubicBezTo>
                  <a:cubicBezTo>
                    <a:pt x="356" y="205"/>
                    <a:pt x="357" y="205"/>
                    <a:pt x="359" y="206"/>
                  </a:cubicBezTo>
                  <a:cubicBezTo>
                    <a:pt x="357" y="207"/>
                    <a:pt x="353" y="207"/>
                    <a:pt x="351" y="209"/>
                  </a:cubicBezTo>
                  <a:cubicBezTo>
                    <a:pt x="352" y="209"/>
                    <a:pt x="352" y="209"/>
                    <a:pt x="352" y="209"/>
                  </a:cubicBezTo>
                  <a:cubicBezTo>
                    <a:pt x="353" y="209"/>
                    <a:pt x="354" y="209"/>
                    <a:pt x="355" y="209"/>
                  </a:cubicBezTo>
                  <a:cubicBezTo>
                    <a:pt x="354" y="209"/>
                    <a:pt x="353" y="210"/>
                    <a:pt x="352" y="210"/>
                  </a:cubicBezTo>
                  <a:cubicBezTo>
                    <a:pt x="353" y="210"/>
                    <a:pt x="353" y="210"/>
                    <a:pt x="354" y="210"/>
                  </a:cubicBezTo>
                  <a:cubicBezTo>
                    <a:pt x="354" y="210"/>
                    <a:pt x="355" y="210"/>
                    <a:pt x="355" y="210"/>
                  </a:cubicBezTo>
                  <a:cubicBezTo>
                    <a:pt x="354" y="211"/>
                    <a:pt x="352" y="211"/>
                    <a:pt x="351" y="211"/>
                  </a:cubicBezTo>
                  <a:cubicBezTo>
                    <a:pt x="351" y="211"/>
                    <a:pt x="351" y="211"/>
                    <a:pt x="351" y="211"/>
                  </a:cubicBezTo>
                  <a:cubicBezTo>
                    <a:pt x="352" y="211"/>
                    <a:pt x="353" y="211"/>
                    <a:pt x="354" y="211"/>
                  </a:cubicBezTo>
                  <a:cubicBezTo>
                    <a:pt x="355" y="211"/>
                    <a:pt x="357" y="210"/>
                    <a:pt x="358" y="210"/>
                  </a:cubicBezTo>
                  <a:cubicBezTo>
                    <a:pt x="358" y="210"/>
                    <a:pt x="359" y="210"/>
                    <a:pt x="359" y="211"/>
                  </a:cubicBezTo>
                  <a:cubicBezTo>
                    <a:pt x="361" y="213"/>
                    <a:pt x="354" y="215"/>
                    <a:pt x="352" y="215"/>
                  </a:cubicBezTo>
                  <a:cubicBezTo>
                    <a:pt x="353" y="216"/>
                    <a:pt x="356" y="217"/>
                    <a:pt x="358" y="217"/>
                  </a:cubicBezTo>
                  <a:cubicBezTo>
                    <a:pt x="359" y="217"/>
                    <a:pt x="360" y="216"/>
                    <a:pt x="359" y="215"/>
                  </a:cubicBezTo>
                  <a:cubicBezTo>
                    <a:pt x="360" y="215"/>
                    <a:pt x="360" y="214"/>
                    <a:pt x="361" y="214"/>
                  </a:cubicBezTo>
                  <a:cubicBezTo>
                    <a:pt x="362" y="214"/>
                    <a:pt x="362" y="215"/>
                    <a:pt x="361" y="217"/>
                  </a:cubicBezTo>
                  <a:cubicBezTo>
                    <a:pt x="361" y="218"/>
                    <a:pt x="360" y="219"/>
                    <a:pt x="360" y="220"/>
                  </a:cubicBezTo>
                  <a:cubicBezTo>
                    <a:pt x="360" y="221"/>
                    <a:pt x="362" y="221"/>
                    <a:pt x="362" y="221"/>
                  </a:cubicBezTo>
                  <a:cubicBezTo>
                    <a:pt x="363" y="223"/>
                    <a:pt x="363" y="224"/>
                    <a:pt x="365" y="225"/>
                  </a:cubicBezTo>
                  <a:cubicBezTo>
                    <a:pt x="367" y="226"/>
                    <a:pt x="369" y="227"/>
                    <a:pt x="371" y="227"/>
                  </a:cubicBezTo>
                  <a:cubicBezTo>
                    <a:pt x="372" y="227"/>
                    <a:pt x="373" y="227"/>
                    <a:pt x="375" y="227"/>
                  </a:cubicBezTo>
                  <a:cubicBezTo>
                    <a:pt x="376" y="227"/>
                    <a:pt x="377" y="227"/>
                    <a:pt x="377" y="227"/>
                  </a:cubicBezTo>
                  <a:cubicBezTo>
                    <a:pt x="379" y="223"/>
                    <a:pt x="367" y="219"/>
                    <a:pt x="373" y="219"/>
                  </a:cubicBezTo>
                  <a:cubicBezTo>
                    <a:pt x="373" y="219"/>
                    <a:pt x="374" y="219"/>
                    <a:pt x="375" y="219"/>
                  </a:cubicBezTo>
                  <a:cubicBezTo>
                    <a:pt x="379" y="219"/>
                    <a:pt x="381" y="220"/>
                    <a:pt x="380" y="225"/>
                  </a:cubicBezTo>
                  <a:cubicBezTo>
                    <a:pt x="380" y="228"/>
                    <a:pt x="376" y="233"/>
                    <a:pt x="380" y="235"/>
                  </a:cubicBezTo>
                  <a:cubicBezTo>
                    <a:pt x="382" y="236"/>
                    <a:pt x="385" y="235"/>
                    <a:pt x="384" y="238"/>
                  </a:cubicBezTo>
                  <a:cubicBezTo>
                    <a:pt x="386" y="236"/>
                    <a:pt x="388" y="235"/>
                    <a:pt x="390" y="234"/>
                  </a:cubicBezTo>
                  <a:cubicBezTo>
                    <a:pt x="390" y="233"/>
                    <a:pt x="391" y="232"/>
                    <a:pt x="391" y="232"/>
                  </a:cubicBezTo>
                  <a:cubicBezTo>
                    <a:pt x="392" y="232"/>
                    <a:pt x="392" y="232"/>
                    <a:pt x="392" y="232"/>
                  </a:cubicBezTo>
                  <a:cubicBezTo>
                    <a:pt x="394" y="233"/>
                    <a:pt x="393" y="237"/>
                    <a:pt x="393" y="238"/>
                  </a:cubicBezTo>
                  <a:cubicBezTo>
                    <a:pt x="394" y="239"/>
                    <a:pt x="395" y="240"/>
                    <a:pt x="396" y="240"/>
                  </a:cubicBezTo>
                  <a:cubicBezTo>
                    <a:pt x="396" y="240"/>
                    <a:pt x="396" y="240"/>
                    <a:pt x="396" y="240"/>
                  </a:cubicBezTo>
                  <a:cubicBezTo>
                    <a:pt x="396" y="240"/>
                    <a:pt x="397" y="239"/>
                    <a:pt x="397" y="239"/>
                  </a:cubicBezTo>
                  <a:cubicBezTo>
                    <a:pt x="397" y="239"/>
                    <a:pt x="397" y="238"/>
                    <a:pt x="398" y="238"/>
                  </a:cubicBezTo>
                  <a:cubicBezTo>
                    <a:pt x="398" y="238"/>
                    <a:pt x="398" y="238"/>
                    <a:pt x="398" y="238"/>
                  </a:cubicBezTo>
                  <a:cubicBezTo>
                    <a:pt x="399" y="239"/>
                    <a:pt x="398" y="242"/>
                    <a:pt x="399" y="243"/>
                  </a:cubicBezTo>
                  <a:cubicBezTo>
                    <a:pt x="399" y="245"/>
                    <a:pt x="401" y="248"/>
                    <a:pt x="399" y="251"/>
                  </a:cubicBezTo>
                  <a:cubicBezTo>
                    <a:pt x="400" y="251"/>
                    <a:pt x="400" y="251"/>
                    <a:pt x="400" y="251"/>
                  </a:cubicBezTo>
                  <a:cubicBezTo>
                    <a:pt x="401" y="251"/>
                    <a:pt x="400" y="253"/>
                    <a:pt x="402" y="254"/>
                  </a:cubicBezTo>
                  <a:cubicBezTo>
                    <a:pt x="402" y="254"/>
                    <a:pt x="402" y="254"/>
                    <a:pt x="402" y="254"/>
                  </a:cubicBezTo>
                  <a:cubicBezTo>
                    <a:pt x="402" y="254"/>
                    <a:pt x="402" y="254"/>
                    <a:pt x="403" y="254"/>
                  </a:cubicBezTo>
                  <a:cubicBezTo>
                    <a:pt x="403" y="254"/>
                    <a:pt x="403" y="254"/>
                    <a:pt x="404" y="254"/>
                  </a:cubicBezTo>
                  <a:cubicBezTo>
                    <a:pt x="404" y="254"/>
                    <a:pt x="404" y="254"/>
                    <a:pt x="404" y="254"/>
                  </a:cubicBezTo>
                  <a:cubicBezTo>
                    <a:pt x="405" y="255"/>
                    <a:pt x="405" y="255"/>
                    <a:pt x="405" y="255"/>
                  </a:cubicBezTo>
                  <a:cubicBezTo>
                    <a:pt x="408" y="258"/>
                    <a:pt x="407" y="257"/>
                    <a:pt x="406" y="260"/>
                  </a:cubicBezTo>
                  <a:cubicBezTo>
                    <a:pt x="405" y="262"/>
                    <a:pt x="409" y="262"/>
                    <a:pt x="410" y="263"/>
                  </a:cubicBezTo>
                  <a:cubicBezTo>
                    <a:pt x="410" y="263"/>
                    <a:pt x="411" y="266"/>
                    <a:pt x="411" y="267"/>
                  </a:cubicBezTo>
                  <a:cubicBezTo>
                    <a:pt x="411" y="268"/>
                    <a:pt x="411" y="269"/>
                    <a:pt x="411" y="270"/>
                  </a:cubicBezTo>
                  <a:cubicBezTo>
                    <a:pt x="411" y="270"/>
                    <a:pt x="412" y="271"/>
                    <a:pt x="412" y="272"/>
                  </a:cubicBezTo>
                  <a:cubicBezTo>
                    <a:pt x="413" y="274"/>
                    <a:pt x="412" y="274"/>
                    <a:pt x="414" y="276"/>
                  </a:cubicBezTo>
                  <a:cubicBezTo>
                    <a:pt x="414" y="276"/>
                    <a:pt x="416" y="276"/>
                    <a:pt x="416" y="277"/>
                  </a:cubicBezTo>
                  <a:cubicBezTo>
                    <a:pt x="415" y="280"/>
                    <a:pt x="415" y="280"/>
                    <a:pt x="415" y="280"/>
                  </a:cubicBezTo>
                  <a:cubicBezTo>
                    <a:pt x="411" y="287"/>
                    <a:pt x="403" y="291"/>
                    <a:pt x="398" y="297"/>
                  </a:cubicBezTo>
                  <a:cubicBezTo>
                    <a:pt x="404" y="299"/>
                    <a:pt x="408" y="298"/>
                    <a:pt x="413" y="299"/>
                  </a:cubicBezTo>
                  <a:cubicBezTo>
                    <a:pt x="418" y="299"/>
                    <a:pt x="423" y="300"/>
                    <a:pt x="428" y="301"/>
                  </a:cubicBezTo>
                  <a:cubicBezTo>
                    <a:pt x="429" y="301"/>
                    <a:pt x="431" y="303"/>
                    <a:pt x="433" y="303"/>
                  </a:cubicBezTo>
                  <a:cubicBezTo>
                    <a:pt x="434" y="303"/>
                    <a:pt x="434" y="303"/>
                    <a:pt x="434" y="302"/>
                  </a:cubicBezTo>
                  <a:cubicBezTo>
                    <a:pt x="437" y="301"/>
                    <a:pt x="437" y="297"/>
                    <a:pt x="438" y="295"/>
                  </a:cubicBezTo>
                  <a:cubicBezTo>
                    <a:pt x="439" y="294"/>
                    <a:pt x="439" y="294"/>
                    <a:pt x="440" y="292"/>
                  </a:cubicBezTo>
                  <a:cubicBezTo>
                    <a:pt x="441" y="289"/>
                    <a:pt x="440" y="289"/>
                    <a:pt x="439" y="286"/>
                  </a:cubicBezTo>
                  <a:cubicBezTo>
                    <a:pt x="441" y="286"/>
                    <a:pt x="441" y="286"/>
                    <a:pt x="443" y="286"/>
                  </a:cubicBezTo>
                  <a:cubicBezTo>
                    <a:pt x="444" y="287"/>
                    <a:pt x="445" y="287"/>
                    <a:pt x="447" y="288"/>
                  </a:cubicBezTo>
                  <a:cubicBezTo>
                    <a:pt x="447" y="288"/>
                    <a:pt x="448" y="288"/>
                    <a:pt x="448" y="288"/>
                  </a:cubicBezTo>
                  <a:cubicBezTo>
                    <a:pt x="452" y="288"/>
                    <a:pt x="451" y="289"/>
                    <a:pt x="453" y="292"/>
                  </a:cubicBezTo>
                  <a:cubicBezTo>
                    <a:pt x="453" y="292"/>
                    <a:pt x="452" y="293"/>
                    <a:pt x="452" y="293"/>
                  </a:cubicBezTo>
                  <a:cubicBezTo>
                    <a:pt x="452" y="293"/>
                    <a:pt x="452" y="293"/>
                    <a:pt x="453" y="293"/>
                  </a:cubicBezTo>
                  <a:cubicBezTo>
                    <a:pt x="453" y="293"/>
                    <a:pt x="453" y="293"/>
                    <a:pt x="454" y="293"/>
                  </a:cubicBezTo>
                  <a:cubicBezTo>
                    <a:pt x="454" y="294"/>
                    <a:pt x="453" y="294"/>
                    <a:pt x="453" y="295"/>
                  </a:cubicBezTo>
                  <a:cubicBezTo>
                    <a:pt x="454" y="295"/>
                    <a:pt x="454" y="295"/>
                    <a:pt x="455" y="296"/>
                  </a:cubicBezTo>
                  <a:cubicBezTo>
                    <a:pt x="456" y="297"/>
                    <a:pt x="458" y="298"/>
                    <a:pt x="461" y="298"/>
                  </a:cubicBezTo>
                  <a:cubicBezTo>
                    <a:pt x="461" y="298"/>
                    <a:pt x="461" y="298"/>
                    <a:pt x="461" y="298"/>
                  </a:cubicBezTo>
                  <a:cubicBezTo>
                    <a:pt x="464" y="299"/>
                    <a:pt x="468" y="299"/>
                    <a:pt x="471" y="301"/>
                  </a:cubicBezTo>
                  <a:cubicBezTo>
                    <a:pt x="474" y="302"/>
                    <a:pt x="475" y="303"/>
                    <a:pt x="477" y="303"/>
                  </a:cubicBezTo>
                  <a:cubicBezTo>
                    <a:pt x="478" y="303"/>
                    <a:pt x="480" y="304"/>
                    <a:pt x="481" y="304"/>
                  </a:cubicBezTo>
                  <a:cubicBezTo>
                    <a:pt x="481" y="304"/>
                    <a:pt x="481" y="305"/>
                    <a:pt x="482" y="305"/>
                  </a:cubicBezTo>
                  <a:cubicBezTo>
                    <a:pt x="482" y="305"/>
                    <a:pt x="483" y="304"/>
                    <a:pt x="483" y="304"/>
                  </a:cubicBezTo>
                  <a:cubicBezTo>
                    <a:pt x="483" y="304"/>
                    <a:pt x="483" y="304"/>
                    <a:pt x="483" y="304"/>
                  </a:cubicBezTo>
                  <a:cubicBezTo>
                    <a:pt x="483" y="304"/>
                    <a:pt x="483" y="304"/>
                    <a:pt x="483" y="304"/>
                  </a:cubicBezTo>
                  <a:cubicBezTo>
                    <a:pt x="483" y="304"/>
                    <a:pt x="484" y="304"/>
                    <a:pt x="484" y="304"/>
                  </a:cubicBezTo>
                  <a:cubicBezTo>
                    <a:pt x="484" y="304"/>
                    <a:pt x="484" y="304"/>
                    <a:pt x="484" y="304"/>
                  </a:cubicBezTo>
                  <a:cubicBezTo>
                    <a:pt x="484" y="304"/>
                    <a:pt x="485" y="304"/>
                    <a:pt x="485" y="304"/>
                  </a:cubicBezTo>
                  <a:cubicBezTo>
                    <a:pt x="486" y="305"/>
                    <a:pt x="482" y="308"/>
                    <a:pt x="482" y="309"/>
                  </a:cubicBezTo>
                  <a:cubicBezTo>
                    <a:pt x="482" y="309"/>
                    <a:pt x="482" y="309"/>
                    <a:pt x="482" y="309"/>
                  </a:cubicBezTo>
                  <a:cubicBezTo>
                    <a:pt x="483" y="309"/>
                    <a:pt x="483" y="309"/>
                    <a:pt x="484" y="309"/>
                  </a:cubicBezTo>
                  <a:cubicBezTo>
                    <a:pt x="484" y="309"/>
                    <a:pt x="485" y="309"/>
                    <a:pt x="486" y="309"/>
                  </a:cubicBezTo>
                  <a:cubicBezTo>
                    <a:pt x="487" y="309"/>
                    <a:pt x="488" y="309"/>
                    <a:pt x="487" y="311"/>
                  </a:cubicBezTo>
                  <a:cubicBezTo>
                    <a:pt x="481" y="314"/>
                    <a:pt x="481" y="314"/>
                    <a:pt x="481" y="314"/>
                  </a:cubicBezTo>
                  <a:cubicBezTo>
                    <a:pt x="479" y="315"/>
                    <a:pt x="480" y="315"/>
                    <a:pt x="479" y="316"/>
                  </a:cubicBezTo>
                  <a:cubicBezTo>
                    <a:pt x="479" y="317"/>
                    <a:pt x="479" y="317"/>
                    <a:pt x="478" y="318"/>
                  </a:cubicBezTo>
                  <a:cubicBezTo>
                    <a:pt x="479" y="318"/>
                    <a:pt x="479" y="318"/>
                    <a:pt x="479" y="318"/>
                  </a:cubicBezTo>
                  <a:cubicBezTo>
                    <a:pt x="478" y="318"/>
                    <a:pt x="478" y="319"/>
                    <a:pt x="477" y="319"/>
                  </a:cubicBezTo>
                  <a:cubicBezTo>
                    <a:pt x="475" y="319"/>
                    <a:pt x="472" y="316"/>
                    <a:pt x="470" y="316"/>
                  </a:cubicBezTo>
                  <a:cubicBezTo>
                    <a:pt x="470" y="316"/>
                    <a:pt x="469" y="316"/>
                    <a:pt x="469" y="316"/>
                  </a:cubicBezTo>
                  <a:cubicBezTo>
                    <a:pt x="467" y="316"/>
                    <a:pt x="466" y="316"/>
                    <a:pt x="464" y="317"/>
                  </a:cubicBezTo>
                  <a:cubicBezTo>
                    <a:pt x="462" y="317"/>
                    <a:pt x="461" y="318"/>
                    <a:pt x="459" y="318"/>
                  </a:cubicBezTo>
                  <a:cubicBezTo>
                    <a:pt x="459" y="318"/>
                    <a:pt x="459" y="318"/>
                    <a:pt x="459" y="318"/>
                  </a:cubicBezTo>
                  <a:cubicBezTo>
                    <a:pt x="456" y="318"/>
                    <a:pt x="458" y="318"/>
                    <a:pt x="456" y="316"/>
                  </a:cubicBezTo>
                  <a:cubicBezTo>
                    <a:pt x="456" y="316"/>
                    <a:pt x="456" y="316"/>
                    <a:pt x="456" y="316"/>
                  </a:cubicBezTo>
                  <a:cubicBezTo>
                    <a:pt x="456" y="316"/>
                    <a:pt x="456" y="316"/>
                    <a:pt x="455" y="315"/>
                  </a:cubicBezTo>
                  <a:cubicBezTo>
                    <a:pt x="455" y="315"/>
                    <a:pt x="454" y="315"/>
                    <a:pt x="454" y="315"/>
                  </a:cubicBezTo>
                  <a:cubicBezTo>
                    <a:pt x="454" y="315"/>
                    <a:pt x="454" y="315"/>
                    <a:pt x="454" y="315"/>
                  </a:cubicBezTo>
                  <a:cubicBezTo>
                    <a:pt x="453" y="313"/>
                    <a:pt x="453" y="313"/>
                    <a:pt x="453" y="313"/>
                  </a:cubicBezTo>
                  <a:cubicBezTo>
                    <a:pt x="453" y="315"/>
                    <a:pt x="452" y="316"/>
                    <a:pt x="452" y="317"/>
                  </a:cubicBezTo>
                  <a:cubicBezTo>
                    <a:pt x="452" y="318"/>
                    <a:pt x="451" y="318"/>
                    <a:pt x="450" y="319"/>
                  </a:cubicBezTo>
                  <a:cubicBezTo>
                    <a:pt x="449" y="320"/>
                    <a:pt x="447" y="321"/>
                    <a:pt x="446" y="322"/>
                  </a:cubicBezTo>
                  <a:cubicBezTo>
                    <a:pt x="444" y="324"/>
                    <a:pt x="442" y="326"/>
                    <a:pt x="440" y="328"/>
                  </a:cubicBezTo>
                  <a:cubicBezTo>
                    <a:pt x="440" y="327"/>
                    <a:pt x="443" y="323"/>
                    <a:pt x="442" y="323"/>
                  </a:cubicBezTo>
                  <a:cubicBezTo>
                    <a:pt x="442" y="323"/>
                    <a:pt x="442" y="323"/>
                    <a:pt x="442" y="323"/>
                  </a:cubicBezTo>
                  <a:cubicBezTo>
                    <a:pt x="441" y="323"/>
                    <a:pt x="441" y="323"/>
                    <a:pt x="440" y="323"/>
                  </a:cubicBezTo>
                  <a:cubicBezTo>
                    <a:pt x="440" y="323"/>
                    <a:pt x="439" y="323"/>
                    <a:pt x="439" y="323"/>
                  </a:cubicBezTo>
                  <a:cubicBezTo>
                    <a:pt x="439" y="323"/>
                    <a:pt x="438" y="323"/>
                    <a:pt x="438" y="323"/>
                  </a:cubicBezTo>
                  <a:cubicBezTo>
                    <a:pt x="437" y="323"/>
                    <a:pt x="440" y="321"/>
                    <a:pt x="440" y="320"/>
                  </a:cubicBezTo>
                  <a:cubicBezTo>
                    <a:pt x="441" y="318"/>
                    <a:pt x="441" y="318"/>
                    <a:pt x="441" y="318"/>
                  </a:cubicBezTo>
                  <a:cubicBezTo>
                    <a:pt x="441" y="318"/>
                    <a:pt x="440" y="316"/>
                    <a:pt x="440" y="316"/>
                  </a:cubicBezTo>
                  <a:cubicBezTo>
                    <a:pt x="440" y="316"/>
                    <a:pt x="440" y="316"/>
                    <a:pt x="440" y="316"/>
                  </a:cubicBezTo>
                  <a:cubicBezTo>
                    <a:pt x="441" y="316"/>
                    <a:pt x="442" y="313"/>
                    <a:pt x="442" y="313"/>
                  </a:cubicBezTo>
                  <a:cubicBezTo>
                    <a:pt x="442" y="312"/>
                    <a:pt x="440" y="312"/>
                    <a:pt x="440" y="312"/>
                  </a:cubicBezTo>
                  <a:cubicBezTo>
                    <a:pt x="440" y="311"/>
                    <a:pt x="439" y="311"/>
                    <a:pt x="439" y="310"/>
                  </a:cubicBezTo>
                  <a:cubicBezTo>
                    <a:pt x="438" y="309"/>
                    <a:pt x="438" y="308"/>
                    <a:pt x="438" y="307"/>
                  </a:cubicBezTo>
                  <a:cubicBezTo>
                    <a:pt x="435" y="303"/>
                    <a:pt x="430" y="303"/>
                    <a:pt x="426" y="302"/>
                  </a:cubicBezTo>
                  <a:cubicBezTo>
                    <a:pt x="423" y="301"/>
                    <a:pt x="419" y="300"/>
                    <a:pt x="416" y="300"/>
                  </a:cubicBezTo>
                  <a:cubicBezTo>
                    <a:pt x="413" y="300"/>
                    <a:pt x="411" y="300"/>
                    <a:pt x="408" y="300"/>
                  </a:cubicBezTo>
                  <a:cubicBezTo>
                    <a:pt x="407" y="300"/>
                    <a:pt x="405" y="300"/>
                    <a:pt x="404" y="300"/>
                  </a:cubicBezTo>
                  <a:cubicBezTo>
                    <a:pt x="401" y="299"/>
                    <a:pt x="399" y="299"/>
                    <a:pt x="397" y="299"/>
                  </a:cubicBezTo>
                  <a:cubicBezTo>
                    <a:pt x="396" y="299"/>
                    <a:pt x="394" y="299"/>
                    <a:pt x="392" y="301"/>
                  </a:cubicBezTo>
                  <a:cubicBezTo>
                    <a:pt x="383" y="308"/>
                    <a:pt x="374" y="315"/>
                    <a:pt x="364" y="322"/>
                  </a:cubicBezTo>
                  <a:cubicBezTo>
                    <a:pt x="366" y="325"/>
                    <a:pt x="369" y="326"/>
                    <a:pt x="371" y="328"/>
                  </a:cubicBezTo>
                  <a:cubicBezTo>
                    <a:pt x="374" y="331"/>
                    <a:pt x="376" y="332"/>
                    <a:pt x="379" y="334"/>
                  </a:cubicBezTo>
                  <a:cubicBezTo>
                    <a:pt x="380" y="334"/>
                    <a:pt x="382" y="336"/>
                    <a:pt x="382" y="337"/>
                  </a:cubicBezTo>
                  <a:cubicBezTo>
                    <a:pt x="383" y="337"/>
                    <a:pt x="382" y="338"/>
                    <a:pt x="382" y="339"/>
                  </a:cubicBezTo>
                  <a:cubicBezTo>
                    <a:pt x="382" y="339"/>
                    <a:pt x="383" y="339"/>
                    <a:pt x="384" y="340"/>
                  </a:cubicBezTo>
                  <a:cubicBezTo>
                    <a:pt x="384" y="340"/>
                    <a:pt x="383" y="341"/>
                    <a:pt x="384" y="341"/>
                  </a:cubicBezTo>
                  <a:cubicBezTo>
                    <a:pt x="384" y="342"/>
                    <a:pt x="385" y="343"/>
                    <a:pt x="385" y="343"/>
                  </a:cubicBezTo>
                  <a:cubicBezTo>
                    <a:pt x="386" y="344"/>
                    <a:pt x="386" y="346"/>
                    <a:pt x="387" y="347"/>
                  </a:cubicBezTo>
                  <a:cubicBezTo>
                    <a:pt x="383" y="346"/>
                    <a:pt x="379" y="344"/>
                    <a:pt x="375" y="344"/>
                  </a:cubicBezTo>
                  <a:cubicBezTo>
                    <a:pt x="374" y="344"/>
                    <a:pt x="374" y="344"/>
                    <a:pt x="373" y="344"/>
                  </a:cubicBezTo>
                  <a:cubicBezTo>
                    <a:pt x="370" y="344"/>
                    <a:pt x="368" y="348"/>
                    <a:pt x="365" y="350"/>
                  </a:cubicBezTo>
                  <a:cubicBezTo>
                    <a:pt x="363" y="350"/>
                    <a:pt x="363" y="351"/>
                    <a:pt x="362" y="351"/>
                  </a:cubicBezTo>
                  <a:cubicBezTo>
                    <a:pt x="361" y="351"/>
                    <a:pt x="360" y="350"/>
                    <a:pt x="359" y="349"/>
                  </a:cubicBezTo>
                  <a:cubicBezTo>
                    <a:pt x="359" y="348"/>
                    <a:pt x="359" y="348"/>
                    <a:pt x="358" y="348"/>
                  </a:cubicBezTo>
                  <a:cubicBezTo>
                    <a:pt x="357" y="348"/>
                    <a:pt x="353" y="349"/>
                    <a:pt x="353" y="349"/>
                  </a:cubicBezTo>
                  <a:cubicBezTo>
                    <a:pt x="350" y="350"/>
                    <a:pt x="349" y="349"/>
                    <a:pt x="349" y="352"/>
                  </a:cubicBezTo>
                  <a:cubicBezTo>
                    <a:pt x="350" y="353"/>
                    <a:pt x="350" y="354"/>
                    <a:pt x="348" y="354"/>
                  </a:cubicBezTo>
                  <a:cubicBezTo>
                    <a:pt x="348" y="354"/>
                    <a:pt x="347" y="354"/>
                    <a:pt x="347" y="354"/>
                  </a:cubicBezTo>
                  <a:cubicBezTo>
                    <a:pt x="345" y="354"/>
                    <a:pt x="342" y="354"/>
                    <a:pt x="340" y="354"/>
                  </a:cubicBezTo>
                  <a:cubicBezTo>
                    <a:pt x="339" y="353"/>
                    <a:pt x="338" y="353"/>
                    <a:pt x="337" y="353"/>
                  </a:cubicBezTo>
                  <a:cubicBezTo>
                    <a:pt x="338" y="352"/>
                    <a:pt x="338" y="352"/>
                    <a:pt x="338" y="352"/>
                  </a:cubicBezTo>
                  <a:cubicBezTo>
                    <a:pt x="337" y="352"/>
                    <a:pt x="337" y="352"/>
                    <a:pt x="336" y="352"/>
                  </a:cubicBezTo>
                  <a:cubicBezTo>
                    <a:pt x="335" y="352"/>
                    <a:pt x="335" y="352"/>
                    <a:pt x="334" y="352"/>
                  </a:cubicBezTo>
                  <a:cubicBezTo>
                    <a:pt x="333" y="352"/>
                    <a:pt x="332" y="352"/>
                    <a:pt x="331" y="352"/>
                  </a:cubicBezTo>
                  <a:cubicBezTo>
                    <a:pt x="331" y="352"/>
                    <a:pt x="331" y="352"/>
                    <a:pt x="330" y="352"/>
                  </a:cubicBezTo>
                  <a:cubicBezTo>
                    <a:pt x="332" y="356"/>
                    <a:pt x="336" y="357"/>
                    <a:pt x="338" y="358"/>
                  </a:cubicBezTo>
                  <a:cubicBezTo>
                    <a:pt x="340" y="359"/>
                    <a:pt x="341" y="360"/>
                    <a:pt x="342" y="362"/>
                  </a:cubicBezTo>
                  <a:cubicBezTo>
                    <a:pt x="343" y="363"/>
                    <a:pt x="343" y="364"/>
                    <a:pt x="344" y="364"/>
                  </a:cubicBezTo>
                  <a:cubicBezTo>
                    <a:pt x="344" y="364"/>
                    <a:pt x="345" y="364"/>
                    <a:pt x="346" y="363"/>
                  </a:cubicBezTo>
                  <a:cubicBezTo>
                    <a:pt x="345" y="364"/>
                    <a:pt x="345" y="365"/>
                    <a:pt x="345" y="365"/>
                  </a:cubicBezTo>
                  <a:cubicBezTo>
                    <a:pt x="344" y="367"/>
                    <a:pt x="341" y="368"/>
                    <a:pt x="339" y="369"/>
                  </a:cubicBezTo>
                  <a:cubicBezTo>
                    <a:pt x="340" y="369"/>
                    <a:pt x="341" y="369"/>
                    <a:pt x="343" y="369"/>
                  </a:cubicBezTo>
                  <a:cubicBezTo>
                    <a:pt x="343" y="369"/>
                    <a:pt x="343" y="369"/>
                    <a:pt x="344" y="369"/>
                  </a:cubicBezTo>
                  <a:cubicBezTo>
                    <a:pt x="342" y="371"/>
                    <a:pt x="344" y="373"/>
                    <a:pt x="345" y="374"/>
                  </a:cubicBezTo>
                  <a:cubicBezTo>
                    <a:pt x="343" y="373"/>
                    <a:pt x="342" y="371"/>
                    <a:pt x="341" y="370"/>
                  </a:cubicBezTo>
                  <a:cubicBezTo>
                    <a:pt x="340" y="370"/>
                    <a:pt x="339" y="370"/>
                    <a:pt x="338" y="370"/>
                  </a:cubicBezTo>
                  <a:cubicBezTo>
                    <a:pt x="338" y="370"/>
                    <a:pt x="337" y="366"/>
                    <a:pt x="336" y="366"/>
                  </a:cubicBezTo>
                  <a:cubicBezTo>
                    <a:pt x="336" y="366"/>
                    <a:pt x="336" y="366"/>
                    <a:pt x="336" y="366"/>
                  </a:cubicBezTo>
                  <a:cubicBezTo>
                    <a:pt x="336" y="366"/>
                    <a:pt x="337" y="366"/>
                    <a:pt x="338" y="366"/>
                  </a:cubicBezTo>
                  <a:cubicBezTo>
                    <a:pt x="338" y="366"/>
                    <a:pt x="338" y="366"/>
                    <a:pt x="338" y="366"/>
                  </a:cubicBezTo>
                  <a:cubicBezTo>
                    <a:pt x="339" y="366"/>
                    <a:pt x="339" y="366"/>
                    <a:pt x="339" y="366"/>
                  </a:cubicBezTo>
                  <a:cubicBezTo>
                    <a:pt x="340" y="366"/>
                    <a:pt x="341" y="366"/>
                    <a:pt x="342" y="365"/>
                  </a:cubicBezTo>
                  <a:cubicBezTo>
                    <a:pt x="342" y="364"/>
                    <a:pt x="342" y="363"/>
                    <a:pt x="341" y="362"/>
                  </a:cubicBezTo>
                  <a:cubicBezTo>
                    <a:pt x="340" y="360"/>
                    <a:pt x="338" y="360"/>
                    <a:pt x="337" y="359"/>
                  </a:cubicBezTo>
                  <a:cubicBezTo>
                    <a:pt x="335" y="358"/>
                    <a:pt x="335" y="358"/>
                    <a:pt x="334" y="357"/>
                  </a:cubicBezTo>
                  <a:cubicBezTo>
                    <a:pt x="331" y="354"/>
                    <a:pt x="327" y="354"/>
                    <a:pt x="324" y="353"/>
                  </a:cubicBezTo>
                  <a:cubicBezTo>
                    <a:pt x="320" y="352"/>
                    <a:pt x="316" y="350"/>
                    <a:pt x="312" y="349"/>
                  </a:cubicBezTo>
                  <a:cubicBezTo>
                    <a:pt x="309" y="348"/>
                    <a:pt x="305" y="348"/>
                    <a:pt x="302" y="348"/>
                  </a:cubicBezTo>
                  <a:cubicBezTo>
                    <a:pt x="301" y="347"/>
                    <a:pt x="300" y="347"/>
                    <a:pt x="299" y="347"/>
                  </a:cubicBezTo>
                  <a:cubicBezTo>
                    <a:pt x="299" y="347"/>
                    <a:pt x="299" y="347"/>
                    <a:pt x="299" y="347"/>
                  </a:cubicBezTo>
                  <a:cubicBezTo>
                    <a:pt x="297" y="347"/>
                    <a:pt x="296" y="353"/>
                    <a:pt x="296" y="354"/>
                  </a:cubicBezTo>
                  <a:cubicBezTo>
                    <a:pt x="296" y="355"/>
                    <a:pt x="298" y="356"/>
                    <a:pt x="298" y="356"/>
                  </a:cubicBezTo>
                  <a:cubicBezTo>
                    <a:pt x="297" y="358"/>
                    <a:pt x="294" y="358"/>
                    <a:pt x="292" y="359"/>
                  </a:cubicBezTo>
                  <a:cubicBezTo>
                    <a:pt x="290" y="359"/>
                    <a:pt x="287" y="360"/>
                    <a:pt x="285" y="362"/>
                  </a:cubicBezTo>
                  <a:cubicBezTo>
                    <a:pt x="280" y="364"/>
                    <a:pt x="278" y="370"/>
                    <a:pt x="275" y="375"/>
                  </a:cubicBezTo>
                  <a:cubicBezTo>
                    <a:pt x="274" y="377"/>
                    <a:pt x="279" y="381"/>
                    <a:pt x="280" y="382"/>
                  </a:cubicBezTo>
                  <a:cubicBezTo>
                    <a:pt x="281" y="383"/>
                    <a:pt x="282" y="385"/>
                    <a:pt x="282" y="385"/>
                  </a:cubicBezTo>
                  <a:cubicBezTo>
                    <a:pt x="282" y="385"/>
                    <a:pt x="282" y="385"/>
                    <a:pt x="282" y="385"/>
                  </a:cubicBezTo>
                  <a:cubicBezTo>
                    <a:pt x="282" y="385"/>
                    <a:pt x="282" y="386"/>
                    <a:pt x="282" y="386"/>
                  </a:cubicBezTo>
                  <a:cubicBezTo>
                    <a:pt x="282" y="386"/>
                    <a:pt x="284" y="387"/>
                    <a:pt x="285" y="388"/>
                  </a:cubicBezTo>
                  <a:cubicBezTo>
                    <a:pt x="288" y="390"/>
                    <a:pt x="293" y="392"/>
                    <a:pt x="297" y="392"/>
                  </a:cubicBezTo>
                  <a:cubicBezTo>
                    <a:pt x="297" y="392"/>
                    <a:pt x="297" y="392"/>
                    <a:pt x="297" y="392"/>
                  </a:cubicBezTo>
                  <a:cubicBezTo>
                    <a:pt x="298" y="392"/>
                    <a:pt x="299" y="392"/>
                    <a:pt x="300" y="391"/>
                  </a:cubicBezTo>
                  <a:cubicBezTo>
                    <a:pt x="301" y="391"/>
                    <a:pt x="302" y="391"/>
                    <a:pt x="303" y="391"/>
                  </a:cubicBezTo>
                  <a:cubicBezTo>
                    <a:pt x="304" y="391"/>
                    <a:pt x="305" y="391"/>
                    <a:pt x="306" y="392"/>
                  </a:cubicBezTo>
                  <a:cubicBezTo>
                    <a:pt x="308" y="392"/>
                    <a:pt x="310" y="393"/>
                    <a:pt x="313" y="394"/>
                  </a:cubicBezTo>
                  <a:cubicBezTo>
                    <a:pt x="312" y="393"/>
                    <a:pt x="311" y="392"/>
                    <a:pt x="312" y="390"/>
                  </a:cubicBezTo>
                  <a:cubicBezTo>
                    <a:pt x="312" y="390"/>
                    <a:pt x="313" y="390"/>
                    <a:pt x="313" y="390"/>
                  </a:cubicBezTo>
                  <a:cubicBezTo>
                    <a:pt x="315" y="390"/>
                    <a:pt x="318" y="391"/>
                    <a:pt x="319" y="391"/>
                  </a:cubicBezTo>
                  <a:cubicBezTo>
                    <a:pt x="319" y="391"/>
                    <a:pt x="318" y="390"/>
                    <a:pt x="317" y="390"/>
                  </a:cubicBezTo>
                  <a:cubicBezTo>
                    <a:pt x="319" y="390"/>
                    <a:pt x="321" y="391"/>
                    <a:pt x="322" y="391"/>
                  </a:cubicBezTo>
                  <a:cubicBezTo>
                    <a:pt x="322" y="391"/>
                    <a:pt x="322" y="391"/>
                    <a:pt x="323" y="391"/>
                  </a:cubicBezTo>
                  <a:cubicBezTo>
                    <a:pt x="326" y="390"/>
                    <a:pt x="321" y="389"/>
                    <a:pt x="320" y="388"/>
                  </a:cubicBezTo>
                  <a:cubicBezTo>
                    <a:pt x="320" y="388"/>
                    <a:pt x="320" y="388"/>
                    <a:pt x="320" y="388"/>
                  </a:cubicBezTo>
                  <a:cubicBezTo>
                    <a:pt x="321" y="388"/>
                    <a:pt x="321" y="388"/>
                    <a:pt x="321" y="388"/>
                  </a:cubicBezTo>
                  <a:cubicBezTo>
                    <a:pt x="322" y="388"/>
                    <a:pt x="322" y="388"/>
                    <a:pt x="323" y="388"/>
                  </a:cubicBezTo>
                  <a:cubicBezTo>
                    <a:pt x="323" y="388"/>
                    <a:pt x="323" y="388"/>
                    <a:pt x="323" y="388"/>
                  </a:cubicBezTo>
                  <a:cubicBezTo>
                    <a:pt x="323" y="388"/>
                    <a:pt x="324" y="388"/>
                    <a:pt x="324" y="388"/>
                  </a:cubicBezTo>
                  <a:cubicBezTo>
                    <a:pt x="325" y="388"/>
                    <a:pt x="324" y="387"/>
                    <a:pt x="326" y="387"/>
                  </a:cubicBezTo>
                  <a:cubicBezTo>
                    <a:pt x="326" y="387"/>
                    <a:pt x="327" y="387"/>
                    <a:pt x="328" y="387"/>
                  </a:cubicBezTo>
                  <a:cubicBezTo>
                    <a:pt x="330" y="387"/>
                    <a:pt x="332" y="387"/>
                    <a:pt x="335" y="388"/>
                  </a:cubicBezTo>
                  <a:cubicBezTo>
                    <a:pt x="334" y="387"/>
                    <a:pt x="332" y="386"/>
                    <a:pt x="333" y="385"/>
                  </a:cubicBezTo>
                  <a:cubicBezTo>
                    <a:pt x="332" y="385"/>
                    <a:pt x="331" y="384"/>
                    <a:pt x="331" y="383"/>
                  </a:cubicBezTo>
                  <a:cubicBezTo>
                    <a:pt x="333" y="384"/>
                    <a:pt x="335" y="384"/>
                    <a:pt x="337" y="385"/>
                  </a:cubicBezTo>
                  <a:cubicBezTo>
                    <a:pt x="335" y="384"/>
                    <a:pt x="333" y="382"/>
                    <a:pt x="332" y="381"/>
                  </a:cubicBezTo>
                  <a:cubicBezTo>
                    <a:pt x="333" y="380"/>
                    <a:pt x="333" y="380"/>
                    <a:pt x="333" y="380"/>
                  </a:cubicBezTo>
                  <a:cubicBezTo>
                    <a:pt x="331" y="379"/>
                    <a:pt x="332" y="379"/>
                    <a:pt x="333" y="379"/>
                  </a:cubicBezTo>
                  <a:cubicBezTo>
                    <a:pt x="334" y="379"/>
                    <a:pt x="334" y="379"/>
                    <a:pt x="335" y="379"/>
                  </a:cubicBezTo>
                  <a:cubicBezTo>
                    <a:pt x="340" y="381"/>
                    <a:pt x="345" y="382"/>
                    <a:pt x="350" y="384"/>
                  </a:cubicBezTo>
                  <a:cubicBezTo>
                    <a:pt x="353" y="385"/>
                    <a:pt x="356" y="387"/>
                    <a:pt x="359" y="387"/>
                  </a:cubicBezTo>
                  <a:cubicBezTo>
                    <a:pt x="361" y="387"/>
                    <a:pt x="362" y="386"/>
                    <a:pt x="363" y="384"/>
                  </a:cubicBezTo>
                  <a:cubicBezTo>
                    <a:pt x="362" y="384"/>
                    <a:pt x="359" y="382"/>
                    <a:pt x="361" y="382"/>
                  </a:cubicBezTo>
                  <a:cubicBezTo>
                    <a:pt x="361" y="382"/>
                    <a:pt x="362" y="382"/>
                    <a:pt x="362" y="382"/>
                  </a:cubicBezTo>
                  <a:cubicBezTo>
                    <a:pt x="361" y="382"/>
                    <a:pt x="361" y="382"/>
                    <a:pt x="360" y="381"/>
                  </a:cubicBezTo>
                  <a:cubicBezTo>
                    <a:pt x="361" y="381"/>
                    <a:pt x="362" y="382"/>
                    <a:pt x="362" y="382"/>
                  </a:cubicBezTo>
                  <a:cubicBezTo>
                    <a:pt x="364" y="382"/>
                    <a:pt x="363" y="379"/>
                    <a:pt x="360" y="378"/>
                  </a:cubicBezTo>
                  <a:cubicBezTo>
                    <a:pt x="358" y="375"/>
                    <a:pt x="355" y="374"/>
                    <a:pt x="352" y="372"/>
                  </a:cubicBezTo>
                  <a:cubicBezTo>
                    <a:pt x="352" y="372"/>
                    <a:pt x="352" y="372"/>
                    <a:pt x="353" y="372"/>
                  </a:cubicBezTo>
                  <a:cubicBezTo>
                    <a:pt x="353" y="372"/>
                    <a:pt x="354" y="372"/>
                    <a:pt x="355" y="372"/>
                  </a:cubicBezTo>
                  <a:cubicBezTo>
                    <a:pt x="356" y="372"/>
                    <a:pt x="356" y="372"/>
                    <a:pt x="357" y="372"/>
                  </a:cubicBezTo>
                  <a:cubicBezTo>
                    <a:pt x="358" y="372"/>
                    <a:pt x="358" y="372"/>
                    <a:pt x="358" y="372"/>
                  </a:cubicBezTo>
                  <a:cubicBezTo>
                    <a:pt x="359" y="371"/>
                    <a:pt x="357" y="369"/>
                    <a:pt x="359" y="369"/>
                  </a:cubicBezTo>
                  <a:cubicBezTo>
                    <a:pt x="359" y="369"/>
                    <a:pt x="359" y="369"/>
                    <a:pt x="360" y="369"/>
                  </a:cubicBezTo>
                  <a:cubicBezTo>
                    <a:pt x="360" y="369"/>
                    <a:pt x="359" y="368"/>
                    <a:pt x="360" y="368"/>
                  </a:cubicBezTo>
                  <a:cubicBezTo>
                    <a:pt x="360" y="368"/>
                    <a:pt x="360" y="368"/>
                    <a:pt x="360" y="368"/>
                  </a:cubicBezTo>
                  <a:cubicBezTo>
                    <a:pt x="362" y="369"/>
                    <a:pt x="361" y="371"/>
                    <a:pt x="360" y="372"/>
                  </a:cubicBezTo>
                  <a:cubicBezTo>
                    <a:pt x="359" y="375"/>
                    <a:pt x="358" y="374"/>
                    <a:pt x="360" y="376"/>
                  </a:cubicBezTo>
                  <a:cubicBezTo>
                    <a:pt x="361" y="377"/>
                    <a:pt x="362" y="378"/>
                    <a:pt x="363" y="378"/>
                  </a:cubicBezTo>
                  <a:cubicBezTo>
                    <a:pt x="364" y="378"/>
                    <a:pt x="364" y="377"/>
                    <a:pt x="365" y="377"/>
                  </a:cubicBezTo>
                  <a:cubicBezTo>
                    <a:pt x="366" y="377"/>
                    <a:pt x="367" y="376"/>
                    <a:pt x="367" y="376"/>
                  </a:cubicBezTo>
                  <a:cubicBezTo>
                    <a:pt x="368" y="376"/>
                    <a:pt x="368" y="376"/>
                    <a:pt x="368" y="377"/>
                  </a:cubicBezTo>
                  <a:cubicBezTo>
                    <a:pt x="369" y="377"/>
                    <a:pt x="369" y="377"/>
                    <a:pt x="370" y="377"/>
                  </a:cubicBezTo>
                  <a:cubicBezTo>
                    <a:pt x="371" y="377"/>
                    <a:pt x="372" y="375"/>
                    <a:pt x="372" y="374"/>
                  </a:cubicBezTo>
                  <a:cubicBezTo>
                    <a:pt x="373" y="376"/>
                    <a:pt x="372" y="378"/>
                    <a:pt x="375" y="380"/>
                  </a:cubicBezTo>
                  <a:cubicBezTo>
                    <a:pt x="374" y="380"/>
                    <a:pt x="374" y="380"/>
                    <a:pt x="374" y="380"/>
                  </a:cubicBezTo>
                  <a:cubicBezTo>
                    <a:pt x="372" y="380"/>
                    <a:pt x="369" y="380"/>
                    <a:pt x="373" y="382"/>
                  </a:cubicBezTo>
                  <a:cubicBezTo>
                    <a:pt x="372" y="382"/>
                    <a:pt x="372" y="382"/>
                    <a:pt x="372" y="382"/>
                  </a:cubicBezTo>
                  <a:cubicBezTo>
                    <a:pt x="372" y="382"/>
                    <a:pt x="373" y="384"/>
                    <a:pt x="373" y="384"/>
                  </a:cubicBezTo>
                  <a:cubicBezTo>
                    <a:pt x="373" y="385"/>
                    <a:pt x="373" y="385"/>
                    <a:pt x="373" y="385"/>
                  </a:cubicBezTo>
                  <a:cubicBezTo>
                    <a:pt x="372" y="385"/>
                    <a:pt x="372" y="385"/>
                    <a:pt x="371" y="384"/>
                  </a:cubicBezTo>
                  <a:cubicBezTo>
                    <a:pt x="373" y="385"/>
                    <a:pt x="373" y="386"/>
                    <a:pt x="372" y="388"/>
                  </a:cubicBezTo>
                  <a:cubicBezTo>
                    <a:pt x="378" y="386"/>
                    <a:pt x="374" y="387"/>
                    <a:pt x="376" y="384"/>
                  </a:cubicBezTo>
                  <a:cubicBezTo>
                    <a:pt x="378" y="384"/>
                    <a:pt x="378" y="384"/>
                    <a:pt x="378" y="384"/>
                  </a:cubicBezTo>
                  <a:cubicBezTo>
                    <a:pt x="378" y="384"/>
                    <a:pt x="378" y="384"/>
                    <a:pt x="378" y="384"/>
                  </a:cubicBezTo>
                  <a:cubicBezTo>
                    <a:pt x="378" y="384"/>
                    <a:pt x="378" y="384"/>
                    <a:pt x="378" y="384"/>
                  </a:cubicBezTo>
                  <a:cubicBezTo>
                    <a:pt x="378" y="384"/>
                    <a:pt x="378" y="383"/>
                    <a:pt x="379" y="383"/>
                  </a:cubicBezTo>
                  <a:cubicBezTo>
                    <a:pt x="379" y="383"/>
                    <a:pt x="379" y="384"/>
                    <a:pt x="380" y="384"/>
                  </a:cubicBezTo>
                  <a:cubicBezTo>
                    <a:pt x="378" y="382"/>
                    <a:pt x="378" y="381"/>
                    <a:pt x="376" y="379"/>
                  </a:cubicBezTo>
                  <a:cubicBezTo>
                    <a:pt x="376" y="379"/>
                    <a:pt x="376" y="379"/>
                    <a:pt x="376" y="379"/>
                  </a:cubicBezTo>
                  <a:cubicBezTo>
                    <a:pt x="377" y="379"/>
                    <a:pt x="378" y="379"/>
                    <a:pt x="379" y="380"/>
                  </a:cubicBezTo>
                  <a:cubicBezTo>
                    <a:pt x="380" y="380"/>
                    <a:pt x="381" y="381"/>
                    <a:pt x="382" y="381"/>
                  </a:cubicBezTo>
                  <a:cubicBezTo>
                    <a:pt x="382" y="381"/>
                    <a:pt x="383" y="381"/>
                    <a:pt x="383" y="380"/>
                  </a:cubicBezTo>
                  <a:cubicBezTo>
                    <a:pt x="383" y="380"/>
                    <a:pt x="382" y="378"/>
                    <a:pt x="382" y="377"/>
                  </a:cubicBezTo>
                  <a:cubicBezTo>
                    <a:pt x="382" y="377"/>
                    <a:pt x="383" y="377"/>
                    <a:pt x="383" y="377"/>
                  </a:cubicBezTo>
                  <a:cubicBezTo>
                    <a:pt x="384" y="377"/>
                    <a:pt x="387" y="378"/>
                    <a:pt x="387" y="379"/>
                  </a:cubicBezTo>
                  <a:cubicBezTo>
                    <a:pt x="387" y="380"/>
                    <a:pt x="387" y="382"/>
                    <a:pt x="388" y="382"/>
                  </a:cubicBezTo>
                  <a:cubicBezTo>
                    <a:pt x="388" y="382"/>
                    <a:pt x="388" y="382"/>
                    <a:pt x="388" y="382"/>
                  </a:cubicBezTo>
                  <a:cubicBezTo>
                    <a:pt x="390" y="381"/>
                    <a:pt x="390" y="381"/>
                    <a:pt x="391" y="380"/>
                  </a:cubicBezTo>
                  <a:cubicBezTo>
                    <a:pt x="391" y="379"/>
                    <a:pt x="389" y="378"/>
                    <a:pt x="391" y="377"/>
                  </a:cubicBezTo>
                  <a:cubicBezTo>
                    <a:pt x="392" y="380"/>
                    <a:pt x="392" y="381"/>
                    <a:pt x="390" y="383"/>
                  </a:cubicBezTo>
                  <a:cubicBezTo>
                    <a:pt x="390" y="384"/>
                    <a:pt x="386" y="383"/>
                    <a:pt x="389" y="385"/>
                  </a:cubicBezTo>
                  <a:cubicBezTo>
                    <a:pt x="389" y="385"/>
                    <a:pt x="389" y="385"/>
                    <a:pt x="388" y="385"/>
                  </a:cubicBezTo>
                  <a:cubicBezTo>
                    <a:pt x="387" y="385"/>
                    <a:pt x="387" y="386"/>
                    <a:pt x="387" y="387"/>
                  </a:cubicBezTo>
                  <a:cubicBezTo>
                    <a:pt x="387" y="387"/>
                    <a:pt x="388" y="387"/>
                    <a:pt x="388" y="388"/>
                  </a:cubicBezTo>
                  <a:cubicBezTo>
                    <a:pt x="389" y="389"/>
                    <a:pt x="389" y="389"/>
                    <a:pt x="389" y="389"/>
                  </a:cubicBezTo>
                  <a:cubicBezTo>
                    <a:pt x="389" y="391"/>
                    <a:pt x="389" y="391"/>
                    <a:pt x="389" y="391"/>
                  </a:cubicBezTo>
                  <a:cubicBezTo>
                    <a:pt x="389" y="391"/>
                    <a:pt x="389" y="391"/>
                    <a:pt x="390" y="391"/>
                  </a:cubicBezTo>
                  <a:cubicBezTo>
                    <a:pt x="390" y="391"/>
                    <a:pt x="390" y="390"/>
                    <a:pt x="391" y="390"/>
                  </a:cubicBezTo>
                  <a:cubicBezTo>
                    <a:pt x="392" y="390"/>
                    <a:pt x="392" y="390"/>
                    <a:pt x="392" y="390"/>
                  </a:cubicBezTo>
                  <a:cubicBezTo>
                    <a:pt x="396" y="390"/>
                    <a:pt x="399" y="395"/>
                    <a:pt x="401" y="398"/>
                  </a:cubicBezTo>
                  <a:cubicBezTo>
                    <a:pt x="398" y="398"/>
                    <a:pt x="400" y="399"/>
                    <a:pt x="401" y="401"/>
                  </a:cubicBezTo>
                  <a:cubicBezTo>
                    <a:pt x="402" y="402"/>
                    <a:pt x="402" y="402"/>
                    <a:pt x="403" y="402"/>
                  </a:cubicBezTo>
                  <a:cubicBezTo>
                    <a:pt x="404" y="402"/>
                    <a:pt x="405" y="400"/>
                    <a:pt x="405" y="398"/>
                  </a:cubicBezTo>
                  <a:cubicBezTo>
                    <a:pt x="406" y="400"/>
                    <a:pt x="406" y="401"/>
                    <a:pt x="407" y="403"/>
                  </a:cubicBezTo>
                  <a:cubicBezTo>
                    <a:pt x="407" y="404"/>
                    <a:pt x="406" y="403"/>
                    <a:pt x="406" y="404"/>
                  </a:cubicBezTo>
                  <a:cubicBezTo>
                    <a:pt x="406" y="407"/>
                    <a:pt x="406" y="407"/>
                    <a:pt x="406" y="407"/>
                  </a:cubicBezTo>
                  <a:cubicBezTo>
                    <a:pt x="407" y="408"/>
                    <a:pt x="408" y="409"/>
                    <a:pt x="408" y="409"/>
                  </a:cubicBezTo>
                  <a:cubicBezTo>
                    <a:pt x="410" y="409"/>
                    <a:pt x="411" y="408"/>
                    <a:pt x="412" y="407"/>
                  </a:cubicBezTo>
                  <a:cubicBezTo>
                    <a:pt x="413" y="406"/>
                    <a:pt x="414" y="405"/>
                    <a:pt x="415" y="405"/>
                  </a:cubicBezTo>
                  <a:cubicBezTo>
                    <a:pt x="415" y="405"/>
                    <a:pt x="415" y="406"/>
                    <a:pt x="415" y="406"/>
                  </a:cubicBezTo>
                  <a:cubicBezTo>
                    <a:pt x="415" y="404"/>
                    <a:pt x="415" y="405"/>
                    <a:pt x="415" y="403"/>
                  </a:cubicBezTo>
                  <a:cubicBezTo>
                    <a:pt x="415" y="404"/>
                    <a:pt x="416" y="410"/>
                    <a:pt x="415" y="410"/>
                  </a:cubicBezTo>
                  <a:cubicBezTo>
                    <a:pt x="415" y="410"/>
                    <a:pt x="415" y="410"/>
                    <a:pt x="415" y="410"/>
                  </a:cubicBezTo>
                  <a:cubicBezTo>
                    <a:pt x="415" y="410"/>
                    <a:pt x="414" y="410"/>
                    <a:pt x="414" y="410"/>
                  </a:cubicBezTo>
                  <a:cubicBezTo>
                    <a:pt x="414" y="410"/>
                    <a:pt x="414" y="410"/>
                    <a:pt x="413" y="410"/>
                  </a:cubicBezTo>
                  <a:cubicBezTo>
                    <a:pt x="413" y="410"/>
                    <a:pt x="413" y="410"/>
                    <a:pt x="413" y="410"/>
                  </a:cubicBezTo>
                  <a:cubicBezTo>
                    <a:pt x="413" y="410"/>
                    <a:pt x="414" y="412"/>
                    <a:pt x="413" y="413"/>
                  </a:cubicBezTo>
                  <a:cubicBezTo>
                    <a:pt x="414" y="413"/>
                    <a:pt x="416" y="410"/>
                    <a:pt x="416" y="410"/>
                  </a:cubicBezTo>
                  <a:cubicBezTo>
                    <a:pt x="416" y="410"/>
                    <a:pt x="416" y="410"/>
                    <a:pt x="417" y="410"/>
                  </a:cubicBezTo>
                  <a:cubicBezTo>
                    <a:pt x="418" y="410"/>
                    <a:pt x="420" y="412"/>
                    <a:pt x="421" y="412"/>
                  </a:cubicBezTo>
                  <a:cubicBezTo>
                    <a:pt x="422" y="412"/>
                    <a:pt x="422" y="412"/>
                    <a:pt x="423" y="412"/>
                  </a:cubicBezTo>
                  <a:cubicBezTo>
                    <a:pt x="425" y="412"/>
                    <a:pt x="424" y="410"/>
                    <a:pt x="422" y="409"/>
                  </a:cubicBezTo>
                  <a:cubicBezTo>
                    <a:pt x="422" y="409"/>
                    <a:pt x="423" y="409"/>
                    <a:pt x="423" y="409"/>
                  </a:cubicBezTo>
                  <a:cubicBezTo>
                    <a:pt x="425" y="409"/>
                    <a:pt x="428" y="411"/>
                    <a:pt x="430" y="412"/>
                  </a:cubicBezTo>
                  <a:cubicBezTo>
                    <a:pt x="432" y="413"/>
                    <a:pt x="431" y="415"/>
                    <a:pt x="431" y="417"/>
                  </a:cubicBezTo>
                  <a:cubicBezTo>
                    <a:pt x="432" y="416"/>
                    <a:pt x="434" y="415"/>
                    <a:pt x="435" y="415"/>
                  </a:cubicBezTo>
                  <a:cubicBezTo>
                    <a:pt x="435" y="415"/>
                    <a:pt x="435" y="415"/>
                    <a:pt x="435" y="415"/>
                  </a:cubicBezTo>
                  <a:cubicBezTo>
                    <a:pt x="436" y="415"/>
                    <a:pt x="437" y="416"/>
                    <a:pt x="438" y="416"/>
                  </a:cubicBezTo>
                  <a:cubicBezTo>
                    <a:pt x="437" y="420"/>
                    <a:pt x="434" y="420"/>
                    <a:pt x="431" y="421"/>
                  </a:cubicBezTo>
                  <a:cubicBezTo>
                    <a:pt x="431" y="421"/>
                    <a:pt x="432" y="422"/>
                    <a:pt x="430" y="423"/>
                  </a:cubicBezTo>
                  <a:cubicBezTo>
                    <a:pt x="430" y="423"/>
                    <a:pt x="429" y="423"/>
                    <a:pt x="429" y="423"/>
                  </a:cubicBezTo>
                  <a:cubicBezTo>
                    <a:pt x="428" y="423"/>
                    <a:pt x="426" y="422"/>
                    <a:pt x="425" y="422"/>
                  </a:cubicBezTo>
                  <a:cubicBezTo>
                    <a:pt x="424" y="422"/>
                    <a:pt x="419" y="422"/>
                    <a:pt x="418" y="422"/>
                  </a:cubicBezTo>
                  <a:cubicBezTo>
                    <a:pt x="418" y="422"/>
                    <a:pt x="418" y="422"/>
                    <a:pt x="418" y="422"/>
                  </a:cubicBezTo>
                  <a:cubicBezTo>
                    <a:pt x="417" y="423"/>
                    <a:pt x="423" y="426"/>
                    <a:pt x="424" y="427"/>
                  </a:cubicBezTo>
                  <a:cubicBezTo>
                    <a:pt x="427" y="428"/>
                    <a:pt x="426" y="430"/>
                    <a:pt x="428" y="431"/>
                  </a:cubicBezTo>
                  <a:cubicBezTo>
                    <a:pt x="427" y="433"/>
                    <a:pt x="432" y="433"/>
                    <a:pt x="433" y="433"/>
                  </a:cubicBezTo>
                  <a:cubicBezTo>
                    <a:pt x="436" y="434"/>
                    <a:pt x="440" y="434"/>
                    <a:pt x="443" y="434"/>
                  </a:cubicBezTo>
                  <a:cubicBezTo>
                    <a:pt x="444" y="434"/>
                    <a:pt x="444" y="434"/>
                    <a:pt x="444" y="434"/>
                  </a:cubicBezTo>
                  <a:cubicBezTo>
                    <a:pt x="444" y="433"/>
                    <a:pt x="445" y="432"/>
                    <a:pt x="446" y="432"/>
                  </a:cubicBezTo>
                  <a:cubicBezTo>
                    <a:pt x="446" y="434"/>
                    <a:pt x="445" y="436"/>
                    <a:pt x="444" y="437"/>
                  </a:cubicBezTo>
                  <a:cubicBezTo>
                    <a:pt x="444" y="437"/>
                    <a:pt x="443" y="437"/>
                    <a:pt x="443" y="437"/>
                  </a:cubicBezTo>
                  <a:cubicBezTo>
                    <a:pt x="443" y="437"/>
                    <a:pt x="443" y="437"/>
                    <a:pt x="442" y="437"/>
                  </a:cubicBezTo>
                  <a:cubicBezTo>
                    <a:pt x="442" y="437"/>
                    <a:pt x="442" y="437"/>
                    <a:pt x="442" y="437"/>
                  </a:cubicBezTo>
                  <a:cubicBezTo>
                    <a:pt x="441" y="437"/>
                    <a:pt x="441" y="437"/>
                    <a:pt x="441" y="438"/>
                  </a:cubicBezTo>
                  <a:cubicBezTo>
                    <a:pt x="440" y="442"/>
                    <a:pt x="470" y="446"/>
                    <a:pt x="473" y="447"/>
                  </a:cubicBezTo>
                  <a:cubicBezTo>
                    <a:pt x="472" y="446"/>
                    <a:pt x="470" y="445"/>
                    <a:pt x="472" y="445"/>
                  </a:cubicBezTo>
                  <a:cubicBezTo>
                    <a:pt x="472" y="445"/>
                    <a:pt x="472" y="445"/>
                    <a:pt x="472" y="445"/>
                  </a:cubicBezTo>
                  <a:cubicBezTo>
                    <a:pt x="474" y="445"/>
                    <a:pt x="479" y="447"/>
                    <a:pt x="481" y="447"/>
                  </a:cubicBezTo>
                  <a:cubicBezTo>
                    <a:pt x="480" y="448"/>
                    <a:pt x="479" y="449"/>
                    <a:pt x="480" y="450"/>
                  </a:cubicBezTo>
                  <a:cubicBezTo>
                    <a:pt x="479" y="450"/>
                    <a:pt x="479" y="450"/>
                    <a:pt x="478" y="450"/>
                  </a:cubicBezTo>
                  <a:cubicBezTo>
                    <a:pt x="477" y="450"/>
                    <a:pt x="477" y="450"/>
                    <a:pt x="478" y="451"/>
                  </a:cubicBezTo>
                  <a:cubicBezTo>
                    <a:pt x="478" y="453"/>
                    <a:pt x="479" y="454"/>
                    <a:pt x="480" y="454"/>
                  </a:cubicBezTo>
                  <a:cubicBezTo>
                    <a:pt x="481" y="454"/>
                    <a:pt x="482" y="453"/>
                    <a:pt x="484" y="452"/>
                  </a:cubicBezTo>
                  <a:cubicBezTo>
                    <a:pt x="483" y="457"/>
                    <a:pt x="485" y="458"/>
                    <a:pt x="489" y="460"/>
                  </a:cubicBezTo>
                  <a:cubicBezTo>
                    <a:pt x="496" y="464"/>
                    <a:pt x="506" y="466"/>
                    <a:pt x="514" y="468"/>
                  </a:cubicBezTo>
                  <a:cubicBezTo>
                    <a:pt x="514" y="467"/>
                    <a:pt x="514" y="467"/>
                    <a:pt x="514" y="466"/>
                  </a:cubicBezTo>
                  <a:cubicBezTo>
                    <a:pt x="515" y="467"/>
                    <a:pt x="515" y="468"/>
                    <a:pt x="517" y="469"/>
                  </a:cubicBezTo>
                  <a:cubicBezTo>
                    <a:pt x="525" y="471"/>
                    <a:pt x="534" y="474"/>
                    <a:pt x="543" y="476"/>
                  </a:cubicBezTo>
                  <a:cubicBezTo>
                    <a:pt x="547" y="477"/>
                    <a:pt x="550" y="478"/>
                    <a:pt x="553" y="479"/>
                  </a:cubicBezTo>
                  <a:cubicBezTo>
                    <a:pt x="554" y="479"/>
                    <a:pt x="554" y="479"/>
                    <a:pt x="555" y="479"/>
                  </a:cubicBezTo>
                  <a:cubicBezTo>
                    <a:pt x="557" y="479"/>
                    <a:pt x="559" y="479"/>
                    <a:pt x="561" y="478"/>
                  </a:cubicBezTo>
                  <a:cubicBezTo>
                    <a:pt x="561" y="477"/>
                    <a:pt x="558" y="475"/>
                    <a:pt x="557" y="474"/>
                  </a:cubicBezTo>
                  <a:cubicBezTo>
                    <a:pt x="557" y="472"/>
                    <a:pt x="557" y="471"/>
                    <a:pt x="556" y="470"/>
                  </a:cubicBezTo>
                  <a:cubicBezTo>
                    <a:pt x="556" y="471"/>
                    <a:pt x="558" y="472"/>
                    <a:pt x="559" y="472"/>
                  </a:cubicBezTo>
                  <a:cubicBezTo>
                    <a:pt x="559" y="472"/>
                    <a:pt x="559" y="472"/>
                    <a:pt x="560" y="472"/>
                  </a:cubicBezTo>
                  <a:cubicBezTo>
                    <a:pt x="561" y="471"/>
                    <a:pt x="559" y="468"/>
                    <a:pt x="562" y="467"/>
                  </a:cubicBezTo>
                  <a:cubicBezTo>
                    <a:pt x="560" y="465"/>
                    <a:pt x="557" y="467"/>
                    <a:pt x="554" y="465"/>
                  </a:cubicBezTo>
                  <a:cubicBezTo>
                    <a:pt x="555" y="465"/>
                    <a:pt x="555" y="465"/>
                    <a:pt x="555" y="465"/>
                  </a:cubicBezTo>
                  <a:cubicBezTo>
                    <a:pt x="555" y="465"/>
                    <a:pt x="555" y="465"/>
                    <a:pt x="555" y="465"/>
                  </a:cubicBezTo>
                  <a:cubicBezTo>
                    <a:pt x="556" y="465"/>
                    <a:pt x="556" y="465"/>
                    <a:pt x="556" y="465"/>
                  </a:cubicBezTo>
                  <a:cubicBezTo>
                    <a:pt x="556" y="465"/>
                    <a:pt x="556" y="465"/>
                    <a:pt x="556" y="465"/>
                  </a:cubicBezTo>
                  <a:cubicBezTo>
                    <a:pt x="555" y="463"/>
                    <a:pt x="554" y="462"/>
                    <a:pt x="554" y="462"/>
                  </a:cubicBezTo>
                  <a:cubicBezTo>
                    <a:pt x="553" y="462"/>
                    <a:pt x="553" y="463"/>
                    <a:pt x="552" y="463"/>
                  </a:cubicBezTo>
                  <a:cubicBezTo>
                    <a:pt x="552" y="463"/>
                    <a:pt x="552" y="463"/>
                    <a:pt x="551" y="463"/>
                  </a:cubicBezTo>
                  <a:cubicBezTo>
                    <a:pt x="551" y="463"/>
                    <a:pt x="550" y="463"/>
                    <a:pt x="549" y="462"/>
                  </a:cubicBezTo>
                  <a:cubicBezTo>
                    <a:pt x="550" y="462"/>
                    <a:pt x="551" y="461"/>
                    <a:pt x="552" y="461"/>
                  </a:cubicBezTo>
                  <a:cubicBezTo>
                    <a:pt x="552" y="459"/>
                    <a:pt x="549" y="459"/>
                    <a:pt x="549" y="459"/>
                  </a:cubicBezTo>
                  <a:cubicBezTo>
                    <a:pt x="548" y="459"/>
                    <a:pt x="548" y="459"/>
                    <a:pt x="548" y="459"/>
                  </a:cubicBezTo>
                  <a:cubicBezTo>
                    <a:pt x="548" y="457"/>
                    <a:pt x="548" y="456"/>
                    <a:pt x="547" y="454"/>
                  </a:cubicBezTo>
                  <a:cubicBezTo>
                    <a:pt x="547" y="453"/>
                    <a:pt x="545" y="453"/>
                    <a:pt x="544" y="452"/>
                  </a:cubicBezTo>
                  <a:cubicBezTo>
                    <a:pt x="544" y="452"/>
                    <a:pt x="542" y="450"/>
                    <a:pt x="542" y="450"/>
                  </a:cubicBezTo>
                  <a:cubicBezTo>
                    <a:pt x="541" y="450"/>
                    <a:pt x="541" y="450"/>
                    <a:pt x="541" y="450"/>
                  </a:cubicBezTo>
                  <a:cubicBezTo>
                    <a:pt x="540" y="450"/>
                    <a:pt x="540" y="450"/>
                    <a:pt x="539" y="450"/>
                  </a:cubicBezTo>
                  <a:cubicBezTo>
                    <a:pt x="538" y="450"/>
                    <a:pt x="538" y="451"/>
                    <a:pt x="537" y="451"/>
                  </a:cubicBezTo>
                  <a:cubicBezTo>
                    <a:pt x="537" y="451"/>
                    <a:pt x="536" y="450"/>
                    <a:pt x="536" y="449"/>
                  </a:cubicBezTo>
                  <a:cubicBezTo>
                    <a:pt x="535" y="447"/>
                    <a:pt x="534" y="446"/>
                    <a:pt x="533" y="445"/>
                  </a:cubicBezTo>
                  <a:cubicBezTo>
                    <a:pt x="532" y="444"/>
                    <a:pt x="531" y="446"/>
                    <a:pt x="531" y="443"/>
                  </a:cubicBezTo>
                  <a:cubicBezTo>
                    <a:pt x="530" y="443"/>
                    <a:pt x="530" y="443"/>
                    <a:pt x="529" y="443"/>
                  </a:cubicBezTo>
                  <a:cubicBezTo>
                    <a:pt x="532" y="443"/>
                    <a:pt x="530" y="442"/>
                    <a:pt x="528" y="440"/>
                  </a:cubicBezTo>
                  <a:cubicBezTo>
                    <a:pt x="528" y="441"/>
                    <a:pt x="528" y="441"/>
                    <a:pt x="528" y="441"/>
                  </a:cubicBezTo>
                  <a:cubicBezTo>
                    <a:pt x="527" y="440"/>
                    <a:pt x="527" y="439"/>
                    <a:pt x="526" y="439"/>
                  </a:cubicBezTo>
                  <a:cubicBezTo>
                    <a:pt x="526" y="439"/>
                    <a:pt x="526" y="439"/>
                    <a:pt x="526" y="439"/>
                  </a:cubicBezTo>
                  <a:cubicBezTo>
                    <a:pt x="525" y="439"/>
                    <a:pt x="524" y="439"/>
                    <a:pt x="524" y="440"/>
                  </a:cubicBezTo>
                  <a:cubicBezTo>
                    <a:pt x="523" y="440"/>
                    <a:pt x="522" y="441"/>
                    <a:pt x="521" y="441"/>
                  </a:cubicBezTo>
                  <a:cubicBezTo>
                    <a:pt x="521" y="441"/>
                    <a:pt x="521" y="441"/>
                    <a:pt x="521" y="441"/>
                  </a:cubicBezTo>
                  <a:cubicBezTo>
                    <a:pt x="522" y="440"/>
                    <a:pt x="524" y="439"/>
                    <a:pt x="525" y="438"/>
                  </a:cubicBezTo>
                  <a:cubicBezTo>
                    <a:pt x="524" y="437"/>
                    <a:pt x="524" y="437"/>
                    <a:pt x="523" y="437"/>
                  </a:cubicBezTo>
                  <a:cubicBezTo>
                    <a:pt x="522" y="437"/>
                    <a:pt x="521" y="438"/>
                    <a:pt x="520" y="438"/>
                  </a:cubicBezTo>
                  <a:cubicBezTo>
                    <a:pt x="520" y="438"/>
                    <a:pt x="520" y="440"/>
                    <a:pt x="520" y="440"/>
                  </a:cubicBezTo>
                  <a:cubicBezTo>
                    <a:pt x="519" y="440"/>
                    <a:pt x="519" y="439"/>
                    <a:pt x="519" y="438"/>
                  </a:cubicBezTo>
                  <a:cubicBezTo>
                    <a:pt x="520" y="437"/>
                    <a:pt x="521" y="436"/>
                    <a:pt x="523" y="436"/>
                  </a:cubicBezTo>
                  <a:cubicBezTo>
                    <a:pt x="522" y="436"/>
                    <a:pt x="517" y="434"/>
                    <a:pt x="517" y="434"/>
                  </a:cubicBezTo>
                  <a:cubicBezTo>
                    <a:pt x="517" y="434"/>
                    <a:pt x="517" y="434"/>
                    <a:pt x="517" y="434"/>
                  </a:cubicBezTo>
                  <a:cubicBezTo>
                    <a:pt x="516" y="434"/>
                    <a:pt x="515" y="436"/>
                    <a:pt x="515" y="436"/>
                  </a:cubicBezTo>
                  <a:cubicBezTo>
                    <a:pt x="514" y="436"/>
                    <a:pt x="514" y="435"/>
                    <a:pt x="514" y="433"/>
                  </a:cubicBezTo>
                  <a:cubicBezTo>
                    <a:pt x="514" y="434"/>
                    <a:pt x="514" y="434"/>
                    <a:pt x="514" y="434"/>
                  </a:cubicBezTo>
                  <a:cubicBezTo>
                    <a:pt x="514" y="433"/>
                    <a:pt x="513" y="432"/>
                    <a:pt x="513" y="432"/>
                  </a:cubicBezTo>
                  <a:cubicBezTo>
                    <a:pt x="512" y="432"/>
                    <a:pt x="512" y="432"/>
                    <a:pt x="512" y="432"/>
                  </a:cubicBezTo>
                  <a:cubicBezTo>
                    <a:pt x="511" y="433"/>
                    <a:pt x="511" y="433"/>
                    <a:pt x="511" y="433"/>
                  </a:cubicBezTo>
                  <a:cubicBezTo>
                    <a:pt x="511" y="433"/>
                    <a:pt x="510" y="433"/>
                    <a:pt x="510" y="433"/>
                  </a:cubicBezTo>
                  <a:cubicBezTo>
                    <a:pt x="508" y="432"/>
                    <a:pt x="508" y="429"/>
                    <a:pt x="507" y="427"/>
                  </a:cubicBezTo>
                  <a:cubicBezTo>
                    <a:pt x="505" y="425"/>
                    <a:pt x="502" y="422"/>
                    <a:pt x="499" y="420"/>
                  </a:cubicBezTo>
                  <a:cubicBezTo>
                    <a:pt x="498" y="419"/>
                    <a:pt x="497" y="418"/>
                    <a:pt x="496" y="417"/>
                  </a:cubicBezTo>
                  <a:cubicBezTo>
                    <a:pt x="495" y="416"/>
                    <a:pt x="492" y="414"/>
                    <a:pt x="492" y="412"/>
                  </a:cubicBezTo>
                  <a:cubicBezTo>
                    <a:pt x="491" y="411"/>
                    <a:pt x="491" y="411"/>
                    <a:pt x="491" y="411"/>
                  </a:cubicBezTo>
                  <a:cubicBezTo>
                    <a:pt x="492" y="411"/>
                    <a:pt x="493" y="411"/>
                    <a:pt x="494" y="411"/>
                  </a:cubicBezTo>
                  <a:cubicBezTo>
                    <a:pt x="495" y="411"/>
                    <a:pt x="495" y="411"/>
                    <a:pt x="496" y="411"/>
                  </a:cubicBezTo>
                  <a:cubicBezTo>
                    <a:pt x="496" y="408"/>
                    <a:pt x="499" y="405"/>
                    <a:pt x="502" y="405"/>
                  </a:cubicBezTo>
                  <a:cubicBezTo>
                    <a:pt x="506" y="405"/>
                    <a:pt x="509" y="408"/>
                    <a:pt x="509" y="411"/>
                  </a:cubicBezTo>
                  <a:cubicBezTo>
                    <a:pt x="509" y="412"/>
                    <a:pt x="508" y="414"/>
                    <a:pt x="508" y="414"/>
                  </a:cubicBezTo>
                  <a:cubicBezTo>
                    <a:pt x="508" y="414"/>
                    <a:pt x="508" y="414"/>
                    <a:pt x="508" y="414"/>
                  </a:cubicBezTo>
                  <a:cubicBezTo>
                    <a:pt x="509" y="415"/>
                    <a:pt x="509" y="416"/>
                    <a:pt x="509" y="416"/>
                  </a:cubicBezTo>
                  <a:cubicBezTo>
                    <a:pt x="508" y="416"/>
                    <a:pt x="509" y="416"/>
                    <a:pt x="509" y="416"/>
                  </a:cubicBezTo>
                  <a:cubicBezTo>
                    <a:pt x="509" y="416"/>
                    <a:pt x="509" y="416"/>
                    <a:pt x="509" y="416"/>
                  </a:cubicBezTo>
                  <a:cubicBezTo>
                    <a:pt x="509" y="416"/>
                    <a:pt x="509" y="416"/>
                    <a:pt x="510" y="416"/>
                  </a:cubicBezTo>
                  <a:cubicBezTo>
                    <a:pt x="510" y="416"/>
                    <a:pt x="510" y="416"/>
                    <a:pt x="510" y="416"/>
                  </a:cubicBezTo>
                  <a:cubicBezTo>
                    <a:pt x="511" y="417"/>
                    <a:pt x="512" y="418"/>
                    <a:pt x="514" y="419"/>
                  </a:cubicBezTo>
                  <a:cubicBezTo>
                    <a:pt x="514" y="418"/>
                    <a:pt x="514" y="418"/>
                    <a:pt x="514" y="418"/>
                  </a:cubicBezTo>
                  <a:cubicBezTo>
                    <a:pt x="514" y="419"/>
                    <a:pt x="514" y="419"/>
                    <a:pt x="514" y="419"/>
                  </a:cubicBezTo>
                  <a:cubicBezTo>
                    <a:pt x="515" y="420"/>
                    <a:pt x="517" y="422"/>
                    <a:pt x="518" y="423"/>
                  </a:cubicBezTo>
                  <a:cubicBezTo>
                    <a:pt x="519" y="424"/>
                    <a:pt x="520" y="425"/>
                    <a:pt x="520" y="425"/>
                  </a:cubicBezTo>
                  <a:cubicBezTo>
                    <a:pt x="521" y="425"/>
                    <a:pt x="521" y="423"/>
                    <a:pt x="520" y="421"/>
                  </a:cubicBezTo>
                  <a:cubicBezTo>
                    <a:pt x="519" y="419"/>
                    <a:pt x="519" y="418"/>
                    <a:pt x="518" y="416"/>
                  </a:cubicBezTo>
                  <a:cubicBezTo>
                    <a:pt x="518" y="416"/>
                    <a:pt x="516" y="412"/>
                    <a:pt x="516" y="411"/>
                  </a:cubicBezTo>
                  <a:cubicBezTo>
                    <a:pt x="516" y="411"/>
                    <a:pt x="516" y="411"/>
                    <a:pt x="516" y="411"/>
                  </a:cubicBezTo>
                  <a:cubicBezTo>
                    <a:pt x="518" y="411"/>
                    <a:pt x="518" y="414"/>
                    <a:pt x="519" y="415"/>
                  </a:cubicBezTo>
                  <a:cubicBezTo>
                    <a:pt x="519" y="415"/>
                    <a:pt x="519" y="415"/>
                    <a:pt x="519" y="415"/>
                  </a:cubicBezTo>
                  <a:cubicBezTo>
                    <a:pt x="519" y="415"/>
                    <a:pt x="520" y="415"/>
                    <a:pt x="520" y="414"/>
                  </a:cubicBezTo>
                  <a:cubicBezTo>
                    <a:pt x="520" y="414"/>
                    <a:pt x="521" y="414"/>
                    <a:pt x="521" y="414"/>
                  </a:cubicBezTo>
                  <a:cubicBezTo>
                    <a:pt x="521" y="414"/>
                    <a:pt x="521" y="414"/>
                    <a:pt x="521" y="414"/>
                  </a:cubicBezTo>
                  <a:cubicBezTo>
                    <a:pt x="521" y="414"/>
                    <a:pt x="522" y="416"/>
                    <a:pt x="522" y="417"/>
                  </a:cubicBezTo>
                  <a:cubicBezTo>
                    <a:pt x="523" y="418"/>
                    <a:pt x="524" y="419"/>
                    <a:pt x="525" y="420"/>
                  </a:cubicBezTo>
                  <a:cubicBezTo>
                    <a:pt x="525" y="421"/>
                    <a:pt x="526" y="423"/>
                    <a:pt x="527" y="423"/>
                  </a:cubicBezTo>
                  <a:cubicBezTo>
                    <a:pt x="527" y="423"/>
                    <a:pt x="528" y="423"/>
                    <a:pt x="528" y="423"/>
                  </a:cubicBezTo>
                  <a:cubicBezTo>
                    <a:pt x="529" y="426"/>
                    <a:pt x="533" y="428"/>
                    <a:pt x="536" y="428"/>
                  </a:cubicBezTo>
                  <a:cubicBezTo>
                    <a:pt x="536" y="428"/>
                    <a:pt x="536" y="428"/>
                    <a:pt x="536" y="428"/>
                  </a:cubicBezTo>
                  <a:cubicBezTo>
                    <a:pt x="537" y="428"/>
                    <a:pt x="537" y="427"/>
                    <a:pt x="537" y="427"/>
                  </a:cubicBezTo>
                  <a:cubicBezTo>
                    <a:pt x="538" y="427"/>
                    <a:pt x="538" y="428"/>
                    <a:pt x="538" y="428"/>
                  </a:cubicBezTo>
                  <a:cubicBezTo>
                    <a:pt x="538" y="428"/>
                    <a:pt x="537" y="429"/>
                    <a:pt x="537" y="430"/>
                  </a:cubicBezTo>
                  <a:cubicBezTo>
                    <a:pt x="538" y="430"/>
                    <a:pt x="538" y="430"/>
                    <a:pt x="538" y="431"/>
                  </a:cubicBezTo>
                  <a:cubicBezTo>
                    <a:pt x="539" y="432"/>
                    <a:pt x="540" y="433"/>
                    <a:pt x="541" y="433"/>
                  </a:cubicBezTo>
                  <a:cubicBezTo>
                    <a:pt x="541" y="433"/>
                    <a:pt x="542" y="432"/>
                    <a:pt x="543" y="431"/>
                  </a:cubicBezTo>
                  <a:cubicBezTo>
                    <a:pt x="542" y="433"/>
                    <a:pt x="542" y="434"/>
                    <a:pt x="543" y="436"/>
                  </a:cubicBezTo>
                  <a:cubicBezTo>
                    <a:pt x="544" y="437"/>
                    <a:pt x="546" y="437"/>
                    <a:pt x="547" y="438"/>
                  </a:cubicBezTo>
                  <a:cubicBezTo>
                    <a:pt x="547" y="437"/>
                    <a:pt x="545" y="436"/>
                    <a:pt x="545" y="435"/>
                  </a:cubicBezTo>
                  <a:cubicBezTo>
                    <a:pt x="545" y="435"/>
                    <a:pt x="546" y="435"/>
                    <a:pt x="546" y="435"/>
                  </a:cubicBezTo>
                  <a:cubicBezTo>
                    <a:pt x="549" y="435"/>
                    <a:pt x="545" y="430"/>
                    <a:pt x="543" y="428"/>
                  </a:cubicBezTo>
                  <a:cubicBezTo>
                    <a:pt x="549" y="429"/>
                    <a:pt x="546" y="436"/>
                    <a:pt x="551" y="438"/>
                  </a:cubicBezTo>
                  <a:cubicBezTo>
                    <a:pt x="552" y="439"/>
                    <a:pt x="554" y="440"/>
                    <a:pt x="556" y="440"/>
                  </a:cubicBezTo>
                  <a:cubicBezTo>
                    <a:pt x="556" y="440"/>
                    <a:pt x="557" y="440"/>
                    <a:pt x="557" y="440"/>
                  </a:cubicBezTo>
                  <a:cubicBezTo>
                    <a:pt x="557" y="440"/>
                    <a:pt x="557" y="440"/>
                    <a:pt x="557" y="439"/>
                  </a:cubicBezTo>
                  <a:cubicBezTo>
                    <a:pt x="557" y="437"/>
                    <a:pt x="555" y="435"/>
                    <a:pt x="554" y="434"/>
                  </a:cubicBezTo>
                  <a:cubicBezTo>
                    <a:pt x="554" y="434"/>
                    <a:pt x="554" y="434"/>
                    <a:pt x="554" y="434"/>
                  </a:cubicBezTo>
                  <a:cubicBezTo>
                    <a:pt x="556" y="434"/>
                    <a:pt x="556" y="435"/>
                    <a:pt x="557" y="436"/>
                  </a:cubicBezTo>
                  <a:cubicBezTo>
                    <a:pt x="558" y="437"/>
                    <a:pt x="558" y="437"/>
                    <a:pt x="558" y="437"/>
                  </a:cubicBezTo>
                  <a:cubicBezTo>
                    <a:pt x="558" y="437"/>
                    <a:pt x="558" y="437"/>
                    <a:pt x="558" y="437"/>
                  </a:cubicBezTo>
                  <a:cubicBezTo>
                    <a:pt x="558" y="437"/>
                    <a:pt x="558" y="437"/>
                    <a:pt x="558" y="437"/>
                  </a:cubicBezTo>
                  <a:cubicBezTo>
                    <a:pt x="558" y="437"/>
                    <a:pt x="559" y="436"/>
                    <a:pt x="559" y="436"/>
                  </a:cubicBezTo>
                  <a:cubicBezTo>
                    <a:pt x="559" y="436"/>
                    <a:pt x="559" y="436"/>
                    <a:pt x="559" y="437"/>
                  </a:cubicBezTo>
                  <a:cubicBezTo>
                    <a:pt x="560" y="437"/>
                    <a:pt x="559" y="439"/>
                    <a:pt x="561" y="439"/>
                  </a:cubicBezTo>
                  <a:cubicBezTo>
                    <a:pt x="561" y="439"/>
                    <a:pt x="561" y="439"/>
                    <a:pt x="561" y="439"/>
                  </a:cubicBezTo>
                  <a:cubicBezTo>
                    <a:pt x="562" y="439"/>
                    <a:pt x="563" y="437"/>
                    <a:pt x="564" y="437"/>
                  </a:cubicBezTo>
                  <a:cubicBezTo>
                    <a:pt x="564" y="438"/>
                    <a:pt x="561" y="440"/>
                    <a:pt x="561" y="440"/>
                  </a:cubicBezTo>
                  <a:cubicBezTo>
                    <a:pt x="561" y="441"/>
                    <a:pt x="563" y="441"/>
                    <a:pt x="563" y="441"/>
                  </a:cubicBezTo>
                  <a:cubicBezTo>
                    <a:pt x="564" y="442"/>
                    <a:pt x="565" y="442"/>
                    <a:pt x="565" y="442"/>
                  </a:cubicBezTo>
                  <a:cubicBezTo>
                    <a:pt x="566" y="442"/>
                    <a:pt x="566" y="441"/>
                    <a:pt x="567" y="439"/>
                  </a:cubicBezTo>
                  <a:cubicBezTo>
                    <a:pt x="566" y="442"/>
                    <a:pt x="569" y="445"/>
                    <a:pt x="572" y="445"/>
                  </a:cubicBezTo>
                  <a:cubicBezTo>
                    <a:pt x="573" y="445"/>
                    <a:pt x="575" y="444"/>
                    <a:pt x="576" y="443"/>
                  </a:cubicBezTo>
                  <a:cubicBezTo>
                    <a:pt x="576" y="444"/>
                    <a:pt x="576" y="444"/>
                    <a:pt x="577" y="444"/>
                  </a:cubicBezTo>
                  <a:cubicBezTo>
                    <a:pt x="577" y="444"/>
                    <a:pt x="577" y="444"/>
                    <a:pt x="577" y="444"/>
                  </a:cubicBezTo>
                  <a:cubicBezTo>
                    <a:pt x="575" y="445"/>
                    <a:pt x="575" y="446"/>
                    <a:pt x="576" y="446"/>
                  </a:cubicBezTo>
                  <a:cubicBezTo>
                    <a:pt x="577" y="446"/>
                    <a:pt x="577" y="446"/>
                    <a:pt x="578" y="446"/>
                  </a:cubicBezTo>
                  <a:cubicBezTo>
                    <a:pt x="577" y="447"/>
                    <a:pt x="575" y="450"/>
                    <a:pt x="576" y="450"/>
                  </a:cubicBezTo>
                  <a:cubicBezTo>
                    <a:pt x="576" y="450"/>
                    <a:pt x="576" y="450"/>
                    <a:pt x="577" y="449"/>
                  </a:cubicBezTo>
                  <a:cubicBezTo>
                    <a:pt x="577" y="451"/>
                    <a:pt x="578" y="454"/>
                    <a:pt x="579" y="454"/>
                  </a:cubicBezTo>
                  <a:cubicBezTo>
                    <a:pt x="579" y="454"/>
                    <a:pt x="579" y="454"/>
                    <a:pt x="580" y="454"/>
                  </a:cubicBezTo>
                  <a:cubicBezTo>
                    <a:pt x="581" y="454"/>
                    <a:pt x="583" y="452"/>
                    <a:pt x="585" y="452"/>
                  </a:cubicBezTo>
                  <a:cubicBezTo>
                    <a:pt x="584" y="449"/>
                    <a:pt x="581" y="446"/>
                    <a:pt x="580" y="443"/>
                  </a:cubicBezTo>
                  <a:cubicBezTo>
                    <a:pt x="579" y="442"/>
                    <a:pt x="578" y="440"/>
                    <a:pt x="577" y="440"/>
                  </a:cubicBezTo>
                  <a:cubicBezTo>
                    <a:pt x="578" y="440"/>
                    <a:pt x="580" y="440"/>
                    <a:pt x="581" y="441"/>
                  </a:cubicBezTo>
                  <a:cubicBezTo>
                    <a:pt x="580" y="440"/>
                    <a:pt x="581" y="439"/>
                    <a:pt x="581" y="438"/>
                  </a:cubicBezTo>
                  <a:cubicBezTo>
                    <a:pt x="581" y="440"/>
                    <a:pt x="583" y="442"/>
                    <a:pt x="585" y="443"/>
                  </a:cubicBezTo>
                  <a:cubicBezTo>
                    <a:pt x="586" y="443"/>
                    <a:pt x="586" y="443"/>
                    <a:pt x="587" y="443"/>
                  </a:cubicBezTo>
                  <a:cubicBezTo>
                    <a:pt x="588" y="443"/>
                    <a:pt x="588" y="443"/>
                    <a:pt x="589" y="442"/>
                  </a:cubicBezTo>
                  <a:cubicBezTo>
                    <a:pt x="590" y="442"/>
                    <a:pt x="590" y="442"/>
                    <a:pt x="591" y="442"/>
                  </a:cubicBezTo>
                  <a:cubicBezTo>
                    <a:pt x="591" y="442"/>
                    <a:pt x="591" y="442"/>
                    <a:pt x="592" y="442"/>
                  </a:cubicBezTo>
                  <a:cubicBezTo>
                    <a:pt x="591" y="441"/>
                    <a:pt x="588" y="440"/>
                    <a:pt x="587" y="439"/>
                  </a:cubicBezTo>
                  <a:cubicBezTo>
                    <a:pt x="587" y="438"/>
                    <a:pt x="591" y="436"/>
                    <a:pt x="589" y="434"/>
                  </a:cubicBezTo>
                  <a:cubicBezTo>
                    <a:pt x="587" y="433"/>
                    <a:pt x="585" y="432"/>
                    <a:pt x="584" y="432"/>
                  </a:cubicBezTo>
                  <a:cubicBezTo>
                    <a:pt x="584" y="431"/>
                    <a:pt x="580" y="431"/>
                    <a:pt x="584" y="430"/>
                  </a:cubicBezTo>
                  <a:cubicBezTo>
                    <a:pt x="582" y="430"/>
                    <a:pt x="581" y="430"/>
                    <a:pt x="580" y="428"/>
                  </a:cubicBezTo>
                  <a:cubicBezTo>
                    <a:pt x="581" y="428"/>
                    <a:pt x="582" y="429"/>
                    <a:pt x="583" y="429"/>
                  </a:cubicBezTo>
                  <a:cubicBezTo>
                    <a:pt x="583" y="429"/>
                    <a:pt x="583" y="429"/>
                    <a:pt x="583" y="428"/>
                  </a:cubicBezTo>
                  <a:cubicBezTo>
                    <a:pt x="584" y="428"/>
                    <a:pt x="585" y="429"/>
                    <a:pt x="585" y="429"/>
                  </a:cubicBezTo>
                  <a:cubicBezTo>
                    <a:pt x="586" y="429"/>
                    <a:pt x="586" y="429"/>
                    <a:pt x="585" y="428"/>
                  </a:cubicBezTo>
                  <a:cubicBezTo>
                    <a:pt x="584" y="427"/>
                    <a:pt x="581" y="424"/>
                    <a:pt x="581" y="423"/>
                  </a:cubicBezTo>
                  <a:cubicBezTo>
                    <a:pt x="580" y="422"/>
                    <a:pt x="583" y="422"/>
                    <a:pt x="582" y="421"/>
                  </a:cubicBezTo>
                  <a:cubicBezTo>
                    <a:pt x="582" y="420"/>
                    <a:pt x="582" y="419"/>
                    <a:pt x="582" y="418"/>
                  </a:cubicBezTo>
                  <a:cubicBezTo>
                    <a:pt x="582" y="417"/>
                    <a:pt x="583" y="417"/>
                    <a:pt x="583" y="417"/>
                  </a:cubicBezTo>
                  <a:cubicBezTo>
                    <a:pt x="583" y="416"/>
                    <a:pt x="584" y="417"/>
                    <a:pt x="582" y="415"/>
                  </a:cubicBezTo>
                  <a:cubicBezTo>
                    <a:pt x="581" y="413"/>
                    <a:pt x="579" y="411"/>
                    <a:pt x="577" y="409"/>
                  </a:cubicBezTo>
                  <a:cubicBezTo>
                    <a:pt x="577" y="409"/>
                    <a:pt x="577" y="409"/>
                    <a:pt x="577" y="409"/>
                  </a:cubicBezTo>
                  <a:cubicBezTo>
                    <a:pt x="580" y="409"/>
                    <a:pt x="581" y="412"/>
                    <a:pt x="582" y="414"/>
                  </a:cubicBezTo>
                  <a:cubicBezTo>
                    <a:pt x="583" y="415"/>
                    <a:pt x="585" y="414"/>
                    <a:pt x="585" y="416"/>
                  </a:cubicBezTo>
                  <a:cubicBezTo>
                    <a:pt x="586" y="417"/>
                    <a:pt x="586" y="418"/>
                    <a:pt x="587" y="420"/>
                  </a:cubicBezTo>
                  <a:cubicBezTo>
                    <a:pt x="588" y="422"/>
                    <a:pt x="589" y="427"/>
                    <a:pt x="591" y="428"/>
                  </a:cubicBezTo>
                  <a:cubicBezTo>
                    <a:pt x="591" y="429"/>
                    <a:pt x="592" y="429"/>
                    <a:pt x="593" y="429"/>
                  </a:cubicBezTo>
                  <a:cubicBezTo>
                    <a:pt x="594" y="429"/>
                    <a:pt x="595" y="429"/>
                    <a:pt x="595" y="428"/>
                  </a:cubicBezTo>
                  <a:cubicBezTo>
                    <a:pt x="595" y="428"/>
                    <a:pt x="594" y="427"/>
                    <a:pt x="593" y="427"/>
                  </a:cubicBezTo>
                  <a:cubicBezTo>
                    <a:pt x="593" y="427"/>
                    <a:pt x="593" y="427"/>
                    <a:pt x="593" y="427"/>
                  </a:cubicBezTo>
                  <a:cubicBezTo>
                    <a:pt x="596" y="427"/>
                    <a:pt x="595" y="421"/>
                    <a:pt x="595" y="419"/>
                  </a:cubicBezTo>
                  <a:cubicBezTo>
                    <a:pt x="594" y="415"/>
                    <a:pt x="595" y="413"/>
                    <a:pt x="590" y="411"/>
                  </a:cubicBezTo>
                  <a:cubicBezTo>
                    <a:pt x="587" y="409"/>
                    <a:pt x="582" y="411"/>
                    <a:pt x="586" y="406"/>
                  </a:cubicBezTo>
                  <a:cubicBezTo>
                    <a:pt x="587" y="405"/>
                    <a:pt x="590" y="403"/>
                    <a:pt x="592" y="403"/>
                  </a:cubicBezTo>
                  <a:cubicBezTo>
                    <a:pt x="591" y="402"/>
                    <a:pt x="589" y="401"/>
                    <a:pt x="588" y="401"/>
                  </a:cubicBezTo>
                  <a:cubicBezTo>
                    <a:pt x="588" y="401"/>
                    <a:pt x="587" y="401"/>
                    <a:pt x="587" y="401"/>
                  </a:cubicBezTo>
                  <a:cubicBezTo>
                    <a:pt x="586" y="401"/>
                    <a:pt x="586" y="403"/>
                    <a:pt x="585" y="403"/>
                  </a:cubicBezTo>
                  <a:cubicBezTo>
                    <a:pt x="585" y="403"/>
                    <a:pt x="585" y="403"/>
                    <a:pt x="585" y="403"/>
                  </a:cubicBezTo>
                  <a:cubicBezTo>
                    <a:pt x="585" y="403"/>
                    <a:pt x="582" y="401"/>
                    <a:pt x="582" y="401"/>
                  </a:cubicBezTo>
                  <a:cubicBezTo>
                    <a:pt x="581" y="401"/>
                    <a:pt x="580" y="401"/>
                    <a:pt x="579" y="401"/>
                  </a:cubicBezTo>
                  <a:cubicBezTo>
                    <a:pt x="580" y="400"/>
                    <a:pt x="581" y="400"/>
                    <a:pt x="582" y="399"/>
                  </a:cubicBezTo>
                  <a:cubicBezTo>
                    <a:pt x="578" y="399"/>
                    <a:pt x="580" y="397"/>
                    <a:pt x="577" y="395"/>
                  </a:cubicBezTo>
                  <a:cubicBezTo>
                    <a:pt x="577" y="395"/>
                    <a:pt x="577" y="395"/>
                    <a:pt x="577" y="395"/>
                  </a:cubicBezTo>
                  <a:cubicBezTo>
                    <a:pt x="576" y="395"/>
                    <a:pt x="575" y="396"/>
                    <a:pt x="575" y="396"/>
                  </a:cubicBezTo>
                  <a:cubicBezTo>
                    <a:pt x="575" y="395"/>
                    <a:pt x="576" y="394"/>
                    <a:pt x="577" y="394"/>
                  </a:cubicBezTo>
                  <a:cubicBezTo>
                    <a:pt x="575" y="392"/>
                    <a:pt x="573" y="393"/>
                    <a:pt x="571" y="392"/>
                  </a:cubicBezTo>
                  <a:cubicBezTo>
                    <a:pt x="572" y="392"/>
                    <a:pt x="573" y="391"/>
                    <a:pt x="574" y="391"/>
                  </a:cubicBezTo>
                  <a:cubicBezTo>
                    <a:pt x="572" y="390"/>
                    <a:pt x="570" y="391"/>
                    <a:pt x="568" y="390"/>
                  </a:cubicBezTo>
                  <a:cubicBezTo>
                    <a:pt x="569" y="390"/>
                    <a:pt x="570" y="390"/>
                    <a:pt x="570" y="390"/>
                  </a:cubicBezTo>
                  <a:cubicBezTo>
                    <a:pt x="571" y="390"/>
                    <a:pt x="572" y="390"/>
                    <a:pt x="573" y="390"/>
                  </a:cubicBezTo>
                  <a:cubicBezTo>
                    <a:pt x="575" y="391"/>
                    <a:pt x="576" y="391"/>
                    <a:pt x="577" y="391"/>
                  </a:cubicBezTo>
                  <a:cubicBezTo>
                    <a:pt x="578" y="391"/>
                    <a:pt x="578" y="391"/>
                    <a:pt x="579" y="390"/>
                  </a:cubicBezTo>
                  <a:cubicBezTo>
                    <a:pt x="580" y="389"/>
                    <a:pt x="579" y="388"/>
                    <a:pt x="579" y="387"/>
                  </a:cubicBezTo>
                  <a:cubicBezTo>
                    <a:pt x="579" y="387"/>
                    <a:pt x="581" y="386"/>
                    <a:pt x="581" y="386"/>
                  </a:cubicBezTo>
                  <a:cubicBezTo>
                    <a:pt x="582" y="383"/>
                    <a:pt x="580" y="384"/>
                    <a:pt x="577" y="383"/>
                  </a:cubicBezTo>
                  <a:cubicBezTo>
                    <a:pt x="577" y="384"/>
                    <a:pt x="577" y="384"/>
                    <a:pt x="576" y="384"/>
                  </a:cubicBezTo>
                  <a:cubicBezTo>
                    <a:pt x="574" y="385"/>
                    <a:pt x="574" y="385"/>
                    <a:pt x="574" y="385"/>
                  </a:cubicBezTo>
                  <a:cubicBezTo>
                    <a:pt x="571" y="384"/>
                    <a:pt x="571" y="384"/>
                    <a:pt x="571" y="384"/>
                  </a:cubicBezTo>
                  <a:cubicBezTo>
                    <a:pt x="571" y="383"/>
                    <a:pt x="571" y="383"/>
                    <a:pt x="570" y="383"/>
                  </a:cubicBezTo>
                  <a:cubicBezTo>
                    <a:pt x="570" y="383"/>
                    <a:pt x="569" y="383"/>
                    <a:pt x="569" y="383"/>
                  </a:cubicBezTo>
                  <a:cubicBezTo>
                    <a:pt x="569" y="383"/>
                    <a:pt x="568" y="383"/>
                    <a:pt x="568" y="383"/>
                  </a:cubicBezTo>
                  <a:cubicBezTo>
                    <a:pt x="568" y="383"/>
                    <a:pt x="568" y="383"/>
                    <a:pt x="568" y="383"/>
                  </a:cubicBezTo>
                  <a:cubicBezTo>
                    <a:pt x="565" y="382"/>
                    <a:pt x="570" y="379"/>
                    <a:pt x="570" y="377"/>
                  </a:cubicBezTo>
                  <a:cubicBezTo>
                    <a:pt x="571" y="375"/>
                    <a:pt x="569" y="374"/>
                    <a:pt x="568" y="374"/>
                  </a:cubicBezTo>
                  <a:cubicBezTo>
                    <a:pt x="567" y="374"/>
                    <a:pt x="567" y="374"/>
                    <a:pt x="567" y="376"/>
                  </a:cubicBezTo>
                  <a:cubicBezTo>
                    <a:pt x="566" y="374"/>
                    <a:pt x="568" y="373"/>
                    <a:pt x="567" y="372"/>
                  </a:cubicBezTo>
                  <a:cubicBezTo>
                    <a:pt x="567" y="372"/>
                    <a:pt x="565" y="372"/>
                    <a:pt x="565" y="371"/>
                  </a:cubicBezTo>
                  <a:cubicBezTo>
                    <a:pt x="565" y="371"/>
                    <a:pt x="564" y="369"/>
                    <a:pt x="564" y="369"/>
                  </a:cubicBezTo>
                  <a:cubicBezTo>
                    <a:pt x="564" y="369"/>
                    <a:pt x="563" y="369"/>
                    <a:pt x="563" y="369"/>
                  </a:cubicBezTo>
                  <a:cubicBezTo>
                    <a:pt x="563" y="369"/>
                    <a:pt x="563" y="369"/>
                    <a:pt x="563" y="369"/>
                  </a:cubicBezTo>
                  <a:cubicBezTo>
                    <a:pt x="562" y="368"/>
                    <a:pt x="562" y="368"/>
                    <a:pt x="562" y="368"/>
                  </a:cubicBezTo>
                  <a:cubicBezTo>
                    <a:pt x="562" y="368"/>
                    <a:pt x="562" y="368"/>
                    <a:pt x="562" y="368"/>
                  </a:cubicBezTo>
                  <a:cubicBezTo>
                    <a:pt x="560" y="370"/>
                    <a:pt x="563" y="376"/>
                    <a:pt x="564" y="378"/>
                  </a:cubicBezTo>
                  <a:cubicBezTo>
                    <a:pt x="562" y="376"/>
                    <a:pt x="562" y="375"/>
                    <a:pt x="560" y="373"/>
                  </a:cubicBezTo>
                  <a:cubicBezTo>
                    <a:pt x="560" y="375"/>
                    <a:pt x="560" y="375"/>
                    <a:pt x="560" y="375"/>
                  </a:cubicBezTo>
                  <a:cubicBezTo>
                    <a:pt x="560" y="375"/>
                    <a:pt x="559" y="373"/>
                    <a:pt x="558" y="372"/>
                  </a:cubicBezTo>
                  <a:cubicBezTo>
                    <a:pt x="557" y="373"/>
                    <a:pt x="557" y="376"/>
                    <a:pt x="557" y="376"/>
                  </a:cubicBezTo>
                  <a:cubicBezTo>
                    <a:pt x="556" y="376"/>
                    <a:pt x="556" y="376"/>
                    <a:pt x="556" y="376"/>
                  </a:cubicBezTo>
                  <a:cubicBezTo>
                    <a:pt x="555" y="376"/>
                    <a:pt x="554" y="373"/>
                    <a:pt x="553" y="373"/>
                  </a:cubicBezTo>
                  <a:cubicBezTo>
                    <a:pt x="555" y="373"/>
                    <a:pt x="557" y="373"/>
                    <a:pt x="556" y="370"/>
                  </a:cubicBezTo>
                  <a:cubicBezTo>
                    <a:pt x="556" y="369"/>
                    <a:pt x="556" y="368"/>
                    <a:pt x="555" y="368"/>
                  </a:cubicBezTo>
                  <a:cubicBezTo>
                    <a:pt x="555" y="368"/>
                    <a:pt x="554" y="368"/>
                    <a:pt x="554" y="369"/>
                  </a:cubicBezTo>
                  <a:cubicBezTo>
                    <a:pt x="553" y="369"/>
                    <a:pt x="553" y="369"/>
                    <a:pt x="553" y="369"/>
                  </a:cubicBezTo>
                  <a:cubicBezTo>
                    <a:pt x="553" y="369"/>
                    <a:pt x="553" y="369"/>
                    <a:pt x="553" y="369"/>
                  </a:cubicBezTo>
                  <a:cubicBezTo>
                    <a:pt x="552" y="369"/>
                    <a:pt x="553" y="367"/>
                    <a:pt x="552" y="367"/>
                  </a:cubicBezTo>
                  <a:cubicBezTo>
                    <a:pt x="552" y="367"/>
                    <a:pt x="552" y="366"/>
                    <a:pt x="552" y="366"/>
                  </a:cubicBezTo>
                  <a:cubicBezTo>
                    <a:pt x="552" y="366"/>
                    <a:pt x="552" y="367"/>
                    <a:pt x="552" y="367"/>
                  </a:cubicBezTo>
                  <a:cubicBezTo>
                    <a:pt x="552" y="367"/>
                    <a:pt x="552" y="367"/>
                    <a:pt x="551" y="367"/>
                  </a:cubicBezTo>
                  <a:cubicBezTo>
                    <a:pt x="551" y="367"/>
                    <a:pt x="551" y="367"/>
                    <a:pt x="551" y="367"/>
                  </a:cubicBezTo>
                  <a:cubicBezTo>
                    <a:pt x="550" y="367"/>
                    <a:pt x="548" y="366"/>
                    <a:pt x="548" y="366"/>
                  </a:cubicBezTo>
                  <a:cubicBezTo>
                    <a:pt x="548" y="365"/>
                    <a:pt x="546" y="363"/>
                    <a:pt x="545" y="363"/>
                  </a:cubicBezTo>
                  <a:cubicBezTo>
                    <a:pt x="545" y="363"/>
                    <a:pt x="544" y="363"/>
                    <a:pt x="544" y="363"/>
                  </a:cubicBezTo>
                  <a:cubicBezTo>
                    <a:pt x="544" y="363"/>
                    <a:pt x="544" y="363"/>
                    <a:pt x="544" y="363"/>
                  </a:cubicBezTo>
                  <a:cubicBezTo>
                    <a:pt x="544" y="363"/>
                    <a:pt x="544" y="369"/>
                    <a:pt x="544" y="369"/>
                  </a:cubicBezTo>
                  <a:cubicBezTo>
                    <a:pt x="544" y="371"/>
                    <a:pt x="545" y="373"/>
                    <a:pt x="544" y="373"/>
                  </a:cubicBezTo>
                  <a:cubicBezTo>
                    <a:pt x="544" y="373"/>
                    <a:pt x="544" y="372"/>
                    <a:pt x="543" y="371"/>
                  </a:cubicBezTo>
                  <a:cubicBezTo>
                    <a:pt x="542" y="369"/>
                    <a:pt x="541" y="365"/>
                    <a:pt x="539" y="363"/>
                  </a:cubicBezTo>
                  <a:cubicBezTo>
                    <a:pt x="539" y="362"/>
                    <a:pt x="545" y="359"/>
                    <a:pt x="543" y="358"/>
                  </a:cubicBezTo>
                  <a:cubicBezTo>
                    <a:pt x="543" y="358"/>
                    <a:pt x="543" y="358"/>
                    <a:pt x="543" y="358"/>
                  </a:cubicBezTo>
                  <a:cubicBezTo>
                    <a:pt x="542" y="358"/>
                    <a:pt x="540" y="360"/>
                    <a:pt x="539" y="361"/>
                  </a:cubicBezTo>
                  <a:cubicBezTo>
                    <a:pt x="539" y="362"/>
                    <a:pt x="539" y="362"/>
                    <a:pt x="539" y="362"/>
                  </a:cubicBezTo>
                  <a:cubicBezTo>
                    <a:pt x="538" y="362"/>
                    <a:pt x="538" y="362"/>
                    <a:pt x="538" y="361"/>
                  </a:cubicBezTo>
                  <a:cubicBezTo>
                    <a:pt x="538" y="361"/>
                    <a:pt x="537" y="361"/>
                    <a:pt x="537" y="361"/>
                  </a:cubicBezTo>
                  <a:cubicBezTo>
                    <a:pt x="537" y="361"/>
                    <a:pt x="537" y="361"/>
                    <a:pt x="537" y="361"/>
                  </a:cubicBezTo>
                  <a:cubicBezTo>
                    <a:pt x="537" y="361"/>
                    <a:pt x="535" y="362"/>
                    <a:pt x="535" y="362"/>
                  </a:cubicBezTo>
                  <a:cubicBezTo>
                    <a:pt x="537" y="361"/>
                    <a:pt x="538" y="361"/>
                    <a:pt x="538" y="359"/>
                  </a:cubicBezTo>
                  <a:cubicBezTo>
                    <a:pt x="538" y="356"/>
                    <a:pt x="536" y="357"/>
                    <a:pt x="535" y="356"/>
                  </a:cubicBezTo>
                  <a:cubicBezTo>
                    <a:pt x="535" y="356"/>
                    <a:pt x="534" y="356"/>
                    <a:pt x="533" y="356"/>
                  </a:cubicBezTo>
                  <a:cubicBezTo>
                    <a:pt x="533" y="354"/>
                    <a:pt x="534" y="351"/>
                    <a:pt x="531" y="351"/>
                  </a:cubicBezTo>
                  <a:cubicBezTo>
                    <a:pt x="531" y="351"/>
                    <a:pt x="531" y="351"/>
                    <a:pt x="531" y="351"/>
                  </a:cubicBezTo>
                  <a:cubicBezTo>
                    <a:pt x="533" y="351"/>
                    <a:pt x="535" y="350"/>
                    <a:pt x="535" y="349"/>
                  </a:cubicBezTo>
                  <a:cubicBezTo>
                    <a:pt x="534" y="347"/>
                    <a:pt x="533" y="347"/>
                    <a:pt x="530" y="346"/>
                  </a:cubicBezTo>
                  <a:cubicBezTo>
                    <a:pt x="530" y="346"/>
                    <a:pt x="530" y="346"/>
                    <a:pt x="530" y="346"/>
                  </a:cubicBezTo>
                  <a:cubicBezTo>
                    <a:pt x="530" y="346"/>
                    <a:pt x="530" y="347"/>
                    <a:pt x="529" y="347"/>
                  </a:cubicBezTo>
                  <a:cubicBezTo>
                    <a:pt x="529" y="347"/>
                    <a:pt x="529" y="347"/>
                    <a:pt x="529" y="347"/>
                  </a:cubicBezTo>
                  <a:cubicBezTo>
                    <a:pt x="528" y="347"/>
                    <a:pt x="528" y="347"/>
                    <a:pt x="527" y="346"/>
                  </a:cubicBezTo>
                  <a:cubicBezTo>
                    <a:pt x="526" y="344"/>
                    <a:pt x="527" y="344"/>
                    <a:pt x="528" y="342"/>
                  </a:cubicBezTo>
                  <a:cubicBezTo>
                    <a:pt x="528" y="341"/>
                    <a:pt x="530" y="339"/>
                    <a:pt x="528" y="339"/>
                  </a:cubicBezTo>
                  <a:cubicBezTo>
                    <a:pt x="528" y="338"/>
                    <a:pt x="528" y="338"/>
                    <a:pt x="527" y="338"/>
                  </a:cubicBezTo>
                  <a:cubicBezTo>
                    <a:pt x="526" y="338"/>
                    <a:pt x="525" y="339"/>
                    <a:pt x="524" y="339"/>
                  </a:cubicBezTo>
                  <a:cubicBezTo>
                    <a:pt x="522" y="340"/>
                    <a:pt x="521" y="340"/>
                    <a:pt x="519" y="341"/>
                  </a:cubicBezTo>
                  <a:cubicBezTo>
                    <a:pt x="518" y="341"/>
                    <a:pt x="517" y="342"/>
                    <a:pt x="516" y="343"/>
                  </a:cubicBezTo>
                  <a:cubicBezTo>
                    <a:pt x="515" y="344"/>
                    <a:pt x="514" y="345"/>
                    <a:pt x="514" y="346"/>
                  </a:cubicBezTo>
                  <a:cubicBezTo>
                    <a:pt x="514" y="346"/>
                    <a:pt x="514" y="346"/>
                    <a:pt x="514" y="346"/>
                  </a:cubicBezTo>
                  <a:cubicBezTo>
                    <a:pt x="513" y="346"/>
                    <a:pt x="513" y="346"/>
                    <a:pt x="513" y="346"/>
                  </a:cubicBezTo>
                  <a:cubicBezTo>
                    <a:pt x="513" y="342"/>
                    <a:pt x="514" y="338"/>
                    <a:pt x="514" y="335"/>
                  </a:cubicBezTo>
                  <a:cubicBezTo>
                    <a:pt x="514" y="335"/>
                    <a:pt x="514" y="335"/>
                    <a:pt x="514" y="335"/>
                  </a:cubicBezTo>
                  <a:cubicBezTo>
                    <a:pt x="513" y="335"/>
                    <a:pt x="513" y="334"/>
                    <a:pt x="512" y="334"/>
                  </a:cubicBezTo>
                  <a:cubicBezTo>
                    <a:pt x="511" y="334"/>
                    <a:pt x="511" y="334"/>
                    <a:pt x="510" y="334"/>
                  </a:cubicBezTo>
                  <a:cubicBezTo>
                    <a:pt x="510" y="334"/>
                    <a:pt x="510" y="334"/>
                    <a:pt x="509" y="334"/>
                  </a:cubicBezTo>
                  <a:cubicBezTo>
                    <a:pt x="509" y="333"/>
                    <a:pt x="511" y="329"/>
                    <a:pt x="511" y="329"/>
                  </a:cubicBezTo>
                  <a:cubicBezTo>
                    <a:pt x="511" y="329"/>
                    <a:pt x="510" y="329"/>
                    <a:pt x="510" y="329"/>
                  </a:cubicBezTo>
                  <a:cubicBezTo>
                    <a:pt x="510" y="329"/>
                    <a:pt x="510" y="329"/>
                    <a:pt x="509" y="329"/>
                  </a:cubicBezTo>
                  <a:cubicBezTo>
                    <a:pt x="509" y="329"/>
                    <a:pt x="508" y="329"/>
                    <a:pt x="508" y="329"/>
                  </a:cubicBezTo>
                  <a:cubicBezTo>
                    <a:pt x="508" y="329"/>
                    <a:pt x="508" y="329"/>
                    <a:pt x="508" y="329"/>
                  </a:cubicBezTo>
                  <a:cubicBezTo>
                    <a:pt x="508" y="329"/>
                    <a:pt x="508" y="329"/>
                    <a:pt x="508" y="329"/>
                  </a:cubicBezTo>
                  <a:cubicBezTo>
                    <a:pt x="508" y="329"/>
                    <a:pt x="507" y="329"/>
                    <a:pt x="507" y="329"/>
                  </a:cubicBezTo>
                  <a:cubicBezTo>
                    <a:pt x="507" y="329"/>
                    <a:pt x="507" y="329"/>
                    <a:pt x="507" y="329"/>
                  </a:cubicBezTo>
                  <a:cubicBezTo>
                    <a:pt x="507" y="329"/>
                    <a:pt x="507" y="329"/>
                    <a:pt x="506" y="329"/>
                  </a:cubicBezTo>
                  <a:cubicBezTo>
                    <a:pt x="506" y="328"/>
                    <a:pt x="506" y="326"/>
                    <a:pt x="506" y="325"/>
                  </a:cubicBezTo>
                  <a:cubicBezTo>
                    <a:pt x="507" y="325"/>
                    <a:pt x="509" y="327"/>
                    <a:pt x="510" y="327"/>
                  </a:cubicBezTo>
                  <a:cubicBezTo>
                    <a:pt x="510" y="327"/>
                    <a:pt x="510" y="327"/>
                    <a:pt x="510" y="327"/>
                  </a:cubicBezTo>
                  <a:cubicBezTo>
                    <a:pt x="512" y="326"/>
                    <a:pt x="512" y="324"/>
                    <a:pt x="512" y="323"/>
                  </a:cubicBezTo>
                  <a:cubicBezTo>
                    <a:pt x="511" y="322"/>
                    <a:pt x="510" y="322"/>
                    <a:pt x="509" y="321"/>
                  </a:cubicBezTo>
                  <a:cubicBezTo>
                    <a:pt x="511" y="322"/>
                    <a:pt x="512" y="322"/>
                    <a:pt x="514" y="323"/>
                  </a:cubicBezTo>
                  <a:cubicBezTo>
                    <a:pt x="514" y="322"/>
                    <a:pt x="514" y="322"/>
                    <a:pt x="514" y="322"/>
                  </a:cubicBezTo>
                  <a:cubicBezTo>
                    <a:pt x="514" y="322"/>
                    <a:pt x="514" y="323"/>
                    <a:pt x="515" y="323"/>
                  </a:cubicBezTo>
                  <a:cubicBezTo>
                    <a:pt x="514" y="323"/>
                    <a:pt x="514" y="324"/>
                    <a:pt x="514" y="325"/>
                  </a:cubicBezTo>
                  <a:cubicBezTo>
                    <a:pt x="514" y="325"/>
                    <a:pt x="514" y="325"/>
                    <a:pt x="514" y="325"/>
                  </a:cubicBezTo>
                  <a:cubicBezTo>
                    <a:pt x="514" y="326"/>
                    <a:pt x="514" y="326"/>
                    <a:pt x="514" y="326"/>
                  </a:cubicBezTo>
                  <a:cubicBezTo>
                    <a:pt x="514" y="327"/>
                    <a:pt x="515" y="329"/>
                    <a:pt x="515" y="330"/>
                  </a:cubicBezTo>
                  <a:cubicBezTo>
                    <a:pt x="516" y="331"/>
                    <a:pt x="518" y="331"/>
                    <a:pt x="519" y="331"/>
                  </a:cubicBezTo>
                  <a:cubicBezTo>
                    <a:pt x="521" y="331"/>
                    <a:pt x="523" y="331"/>
                    <a:pt x="525" y="330"/>
                  </a:cubicBezTo>
                  <a:cubicBezTo>
                    <a:pt x="527" y="330"/>
                    <a:pt x="529" y="329"/>
                    <a:pt x="530" y="329"/>
                  </a:cubicBezTo>
                  <a:cubicBezTo>
                    <a:pt x="531" y="329"/>
                    <a:pt x="532" y="329"/>
                    <a:pt x="532" y="330"/>
                  </a:cubicBezTo>
                  <a:cubicBezTo>
                    <a:pt x="532" y="328"/>
                    <a:pt x="530" y="327"/>
                    <a:pt x="530" y="326"/>
                  </a:cubicBezTo>
                  <a:cubicBezTo>
                    <a:pt x="530" y="325"/>
                    <a:pt x="531" y="325"/>
                    <a:pt x="531" y="324"/>
                  </a:cubicBezTo>
                  <a:cubicBezTo>
                    <a:pt x="530" y="321"/>
                    <a:pt x="529" y="322"/>
                    <a:pt x="527" y="321"/>
                  </a:cubicBezTo>
                  <a:cubicBezTo>
                    <a:pt x="526" y="320"/>
                    <a:pt x="526" y="320"/>
                    <a:pt x="525" y="319"/>
                  </a:cubicBezTo>
                  <a:cubicBezTo>
                    <a:pt x="524" y="319"/>
                    <a:pt x="523" y="318"/>
                    <a:pt x="521" y="317"/>
                  </a:cubicBezTo>
                  <a:cubicBezTo>
                    <a:pt x="520" y="317"/>
                    <a:pt x="520" y="317"/>
                    <a:pt x="520" y="317"/>
                  </a:cubicBezTo>
                  <a:cubicBezTo>
                    <a:pt x="520" y="316"/>
                    <a:pt x="521" y="316"/>
                    <a:pt x="521" y="316"/>
                  </a:cubicBezTo>
                  <a:cubicBezTo>
                    <a:pt x="520" y="315"/>
                    <a:pt x="520" y="314"/>
                    <a:pt x="520" y="313"/>
                  </a:cubicBezTo>
                  <a:cubicBezTo>
                    <a:pt x="518" y="310"/>
                    <a:pt x="516" y="309"/>
                    <a:pt x="514" y="307"/>
                  </a:cubicBezTo>
                  <a:cubicBezTo>
                    <a:pt x="517" y="308"/>
                    <a:pt x="520" y="310"/>
                    <a:pt x="523" y="312"/>
                  </a:cubicBezTo>
                  <a:cubicBezTo>
                    <a:pt x="524" y="312"/>
                    <a:pt x="527" y="315"/>
                    <a:pt x="529" y="315"/>
                  </a:cubicBezTo>
                  <a:cubicBezTo>
                    <a:pt x="529" y="315"/>
                    <a:pt x="529" y="315"/>
                    <a:pt x="529" y="315"/>
                  </a:cubicBezTo>
                  <a:cubicBezTo>
                    <a:pt x="532" y="314"/>
                    <a:pt x="528" y="311"/>
                    <a:pt x="528" y="311"/>
                  </a:cubicBezTo>
                  <a:cubicBezTo>
                    <a:pt x="528" y="309"/>
                    <a:pt x="529" y="309"/>
                    <a:pt x="531" y="309"/>
                  </a:cubicBezTo>
                  <a:cubicBezTo>
                    <a:pt x="531" y="309"/>
                    <a:pt x="531" y="309"/>
                    <a:pt x="531" y="309"/>
                  </a:cubicBezTo>
                  <a:cubicBezTo>
                    <a:pt x="532" y="309"/>
                    <a:pt x="532" y="309"/>
                    <a:pt x="532" y="309"/>
                  </a:cubicBezTo>
                  <a:cubicBezTo>
                    <a:pt x="533" y="309"/>
                    <a:pt x="533" y="309"/>
                    <a:pt x="534" y="309"/>
                  </a:cubicBezTo>
                  <a:cubicBezTo>
                    <a:pt x="532" y="308"/>
                    <a:pt x="531" y="307"/>
                    <a:pt x="529" y="306"/>
                  </a:cubicBezTo>
                  <a:cubicBezTo>
                    <a:pt x="528" y="305"/>
                    <a:pt x="520" y="305"/>
                    <a:pt x="520" y="304"/>
                  </a:cubicBezTo>
                  <a:cubicBezTo>
                    <a:pt x="524" y="303"/>
                    <a:pt x="524" y="303"/>
                    <a:pt x="524" y="303"/>
                  </a:cubicBezTo>
                  <a:cubicBezTo>
                    <a:pt x="525" y="303"/>
                    <a:pt x="525" y="302"/>
                    <a:pt x="525" y="302"/>
                  </a:cubicBezTo>
                  <a:cubicBezTo>
                    <a:pt x="528" y="302"/>
                    <a:pt x="531" y="304"/>
                    <a:pt x="534" y="304"/>
                  </a:cubicBezTo>
                  <a:cubicBezTo>
                    <a:pt x="535" y="304"/>
                    <a:pt x="537" y="305"/>
                    <a:pt x="538" y="305"/>
                  </a:cubicBezTo>
                  <a:cubicBezTo>
                    <a:pt x="539" y="305"/>
                    <a:pt x="540" y="305"/>
                    <a:pt x="539" y="304"/>
                  </a:cubicBezTo>
                  <a:cubicBezTo>
                    <a:pt x="539" y="303"/>
                    <a:pt x="536" y="302"/>
                    <a:pt x="536" y="301"/>
                  </a:cubicBezTo>
                  <a:cubicBezTo>
                    <a:pt x="538" y="302"/>
                    <a:pt x="541" y="303"/>
                    <a:pt x="543" y="303"/>
                  </a:cubicBezTo>
                  <a:cubicBezTo>
                    <a:pt x="541" y="306"/>
                    <a:pt x="540" y="305"/>
                    <a:pt x="541" y="309"/>
                  </a:cubicBezTo>
                  <a:cubicBezTo>
                    <a:pt x="542" y="311"/>
                    <a:pt x="543" y="311"/>
                    <a:pt x="545" y="311"/>
                  </a:cubicBezTo>
                  <a:cubicBezTo>
                    <a:pt x="546" y="311"/>
                    <a:pt x="548" y="310"/>
                    <a:pt x="550" y="310"/>
                  </a:cubicBezTo>
                  <a:cubicBezTo>
                    <a:pt x="547" y="313"/>
                    <a:pt x="547" y="312"/>
                    <a:pt x="551" y="316"/>
                  </a:cubicBezTo>
                  <a:cubicBezTo>
                    <a:pt x="552" y="316"/>
                    <a:pt x="553" y="316"/>
                    <a:pt x="554" y="316"/>
                  </a:cubicBezTo>
                  <a:cubicBezTo>
                    <a:pt x="555" y="316"/>
                    <a:pt x="556" y="316"/>
                    <a:pt x="556" y="315"/>
                  </a:cubicBezTo>
                  <a:cubicBezTo>
                    <a:pt x="556" y="316"/>
                    <a:pt x="555" y="317"/>
                    <a:pt x="554" y="318"/>
                  </a:cubicBezTo>
                  <a:cubicBezTo>
                    <a:pt x="557" y="320"/>
                    <a:pt x="559" y="321"/>
                    <a:pt x="561" y="321"/>
                  </a:cubicBezTo>
                  <a:cubicBezTo>
                    <a:pt x="563" y="321"/>
                    <a:pt x="564" y="321"/>
                    <a:pt x="565" y="320"/>
                  </a:cubicBezTo>
                  <a:cubicBezTo>
                    <a:pt x="567" y="319"/>
                    <a:pt x="568" y="318"/>
                    <a:pt x="569" y="316"/>
                  </a:cubicBezTo>
                  <a:cubicBezTo>
                    <a:pt x="568" y="318"/>
                    <a:pt x="567" y="319"/>
                    <a:pt x="567" y="319"/>
                  </a:cubicBezTo>
                  <a:cubicBezTo>
                    <a:pt x="567" y="319"/>
                    <a:pt x="567" y="319"/>
                    <a:pt x="567" y="319"/>
                  </a:cubicBezTo>
                  <a:cubicBezTo>
                    <a:pt x="565" y="322"/>
                    <a:pt x="563" y="324"/>
                    <a:pt x="562" y="327"/>
                  </a:cubicBezTo>
                  <a:cubicBezTo>
                    <a:pt x="566" y="325"/>
                    <a:pt x="571" y="324"/>
                    <a:pt x="576" y="322"/>
                  </a:cubicBezTo>
                  <a:cubicBezTo>
                    <a:pt x="580" y="321"/>
                    <a:pt x="585" y="320"/>
                    <a:pt x="588" y="318"/>
                  </a:cubicBezTo>
                  <a:cubicBezTo>
                    <a:pt x="589" y="317"/>
                    <a:pt x="590" y="316"/>
                    <a:pt x="591" y="315"/>
                  </a:cubicBezTo>
                  <a:cubicBezTo>
                    <a:pt x="593" y="315"/>
                    <a:pt x="594" y="314"/>
                    <a:pt x="596" y="313"/>
                  </a:cubicBezTo>
                  <a:cubicBezTo>
                    <a:pt x="594" y="315"/>
                    <a:pt x="591" y="316"/>
                    <a:pt x="590" y="318"/>
                  </a:cubicBezTo>
                  <a:cubicBezTo>
                    <a:pt x="589" y="319"/>
                    <a:pt x="589" y="321"/>
                    <a:pt x="589" y="322"/>
                  </a:cubicBezTo>
                  <a:cubicBezTo>
                    <a:pt x="588" y="325"/>
                    <a:pt x="586" y="325"/>
                    <a:pt x="590" y="327"/>
                  </a:cubicBezTo>
                  <a:cubicBezTo>
                    <a:pt x="584" y="328"/>
                    <a:pt x="577" y="327"/>
                    <a:pt x="574" y="331"/>
                  </a:cubicBezTo>
                  <a:cubicBezTo>
                    <a:pt x="573" y="332"/>
                    <a:pt x="572" y="334"/>
                    <a:pt x="572" y="335"/>
                  </a:cubicBezTo>
                  <a:cubicBezTo>
                    <a:pt x="572" y="336"/>
                    <a:pt x="573" y="336"/>
                    <a:pt x="573" y="336"/>
                  </a:cubicBezTo>
                  <a:cubicBezTo>
                    <a:pt x="573" y="336"/>
                    <a:pt x="573" y="336"/>
                    <a:pt x="573" y="336"/>
                  </a:cubicBezTo>
                  <a:cubicBezTo>
                    <a:pt x="573" y="336"/>
                    <a:pt x="573" y="336"/>
                    <a:pt x="573" y="336"/>
                  </a:cubicBezTo>
                  <a:cubicBezTo>
                    <a:pt x="573" y="336"/>
                    <a:pt x="574" y="336"/>
                    <a:pt x="574" y="336"/>
                  </a:cubicBezTo>
                  <a:cubicBezTo>
                    <a:pt x="573" y="338"/>
                    <a:pt x="573" y="338"/>
                    <a:pt x="573" y="338"/>
                  </a:cubicBezTo>
                  <a:cubicBezTo>
                    <a:pt x="574" y="339"/>
                    <a:pt x="575" y="339"/>
                    <a:pt x="575" y="339"/>
                  </a:cubicBezTo>
                  <a:cubicBezTo>
                    <a:pt x="576" y="339"/>
                    <a:pt x="576" y="339"/>
                    <a:pt x="577" y="339"/>
                  </a:cubicBezTo>
                  <a:cubicBezTo>
                    <a:pt x="577" y="339"/>
                    <a:pt x="577" y="339"/>
                    <a:pt x="578" y="339"/>
                  </a:cubicBezTo>
                  <a:cubicBezTo>
                    <a:pt x="578" y="339"/>
                    <a:pt x="579" y="339"/>
                    <a:pt x="579" y="339"/>
                  </a:cubicBezTo>
                  <a:cubicBezTo>
                    <a:pt x="583" y="340"/>
                    <a:pt x="578" y="340"/>
                    <a:pt x="576" y="341"/>
                  </a:cubicBezTo>
                  <a:cubicBezTo>
                    <a:pt x="575" y="343"/>
                    <a:pt x="577" y="344"/>
                    <a:pt x="580" y="344"/>
                  </a:cubicBezTo>
                  <a:cubicBezTo>
                    <a:pt x="582" y="344"/>
                    <a:pt x="585" y="343"/>
                    <a:pt x="586" y="343"/>
                  </a:cubicBezTo>
                  <a:cubicBezTo>
                    <a:pt x="585" y="345"/>
                    <a:pt x="580" y="345"/>
                    <a:pt x="580" y="346"/>
                  </a:cubicBezTo>
                  <a:cubicBezTo>
                    <a:pt x="579" y="347"/>
                    <a:pt x="581" y="350"/>
                    <a:pt x="582" y="350"/>
                  </a:cubicBezTo>
                  <a:cubicBezTo>
                    <a:pt x="583" y="350"/>
                    <a:pt x="583" y="350"/>
                    <a:pt x="584" y="350"/>
                  </a:cubicBezTo>
                  <a:cubicBezTo>
                    <a:pt x="587" y="350"/>
                    <a:pt x="591" y="349"/>
                    <a:pt x="593" y="348"/>
                  </a:cubicBezTo>
                  <a:cubicBezTo>
                    <a:pt x="594" y="348"/>
                    <a:pt x="596" y="348"/>
                    <a:pt x="596" y="348"/>
                  </a:cubicBezTo>
                  <a:cubicBezTo>
                    <a:pt x="597" y="348"/>
                    <a:pt x="597" y="348"/>
                    <a:pt x="595" y="349"/>
                  </a:cubicBezTo>
                  <a:cubicBezTo>
                    <a:pt x="592" y="350"/>
                    <a:pt x="588" y="350"/>
                    <a:pt x="586" y="351"/>
                  </a:cubicBezTo>
                  <a:cubicBezTo>
                    <a:pt x="586" y="351"/>
                    <a:pt x="586" y="351"/>
                    <a:pt x="586" y="351"/>
                  </a:cubicBezTo>
                  <a:cubicBezTo>
                    <a:pt x="587" y="351"/>
                    <a:pt x="587" y="351"/>
                    <a:pt x="588" y="351"/>
                  </a:cubicBezTo>
                  <a:cubicBezTo>
                    <a:pt x="588" y="351"/>
                    <a:pt x="588" y="351"/>
                    <a:pt x="589" y="351"/>
                  </a:cubicBezTo>
                  <a:cubicBezTo>
                    <a:pt x="589" y="351"/>
                    <a:pt x="590" y="351"/>
                    <a:pt x="591" y="351"/>
                  </a:cubicBezTo>
                  <a:cubicBezTo>
                    <a:pt x="590" y="352"/>
                    <a:pt x="588" y="353"/>
                    <a:pt x="586" y="353"/>
                  </a:cubicBezTo>
                  <a:cubicBezTo>
                    <a:pt x="586" y="355"/>
                    <a:pt x="587" y="355"/>
                    <a:pt x="589" y="355"/>
                  </a:cubicBezTo>
                  <a:cubicBezTo>
                    <a:pt x="590" y="355"/>
                    <a:pt x="591" y="355"/>
                    <a:pt x="591" y="355"/>
                  </a:cubicBezTo>
                  <a:cubicBezTo>
                    <a:pt x="589" y="356"/>
                    <a:pt x="591" y="357"/>
                    <a:pt x="590" y="358"/>
                  </a:cubicBezTo>
                  <a:cubicBezTo>
                    <a:pt x="590" y="358"/>
                    <a:pt x="591" y="358"/>
                    <a:pt x="591" y="358"/>
                  </a:cubicBezTo>
                  <a:cubicBezTo>
                    <a:pt x="592" y="358"/>
                    <a:pt x="592" y="359"/>
                    <a:pt x="592" y="360"/>
                  </a:cubicBezTo>
                  <a:cubicBezTo>
                    <a:pt x="593" y="360"/>
                    <a:pt x="593" y="360"/>
                    <a:pt x="594" y="361"/>
                  </a:cubicBezTo>
                  <a:cubicBezTo>
                    <a:pt x="595" y="358"/>
                    <a:pt x="595" y="355"/>
                    <a:pt x="596" y="353"/>
                  </a:cubicBezTo>
                  <a:cubicBezTo>
                    <a:pt x="597" y="351"/>
                    <a:pt x="599" y="350"/>
                    <a:pt x="600" y="348"/>
                  </a:cubicBezTo>
                  <a:cubicBezTo>
                    <a:pt x="599" y="350"/>
                    <a:pt x="599" y="352"/>
                    <a:pt x="598" y="354"/>
                  </a:cubicBezTo>
                  <a:cubicBezTo>
                    <a:pt x="598" y="355"/>
                    <a:pt x="597" y="355"/>
                    <a:pt x="598" y="357"/>
                  </a:cubicBezTo>
                  <a:cubicBezTo>
                    <a:pt x="598" y="358"/>
                    <a:pt x="599" y="358"/>
                    <a:pt x="599" y="358"/>
                  </a:cubicBezTo>
                  <a:cubicBezTo>
                    <a:pt x="600" y="358"/>
                    <a:pt x="601" y="358"/>
                    <a:pt x="602" y="357"/>
                  </a:cubicBezTo>
                  <a:cubicBezTo>
                    <a:pt x="603" y="357"/>
                    <a:pt x="604" y="357"/>
                    <a:pt x="605" y="357"/>
                  </a:cubicBezTo>
                  <a:cubicBezTo>
                    <a:pt x="605" y="357"/>
                    <a:pt x="605" y="357"/>
                    <a:pt x="605" y="357"/>
                  </a:cubicBezTo>
                  <a:cubicBezTo>
                    <a:pt x="603" y="358"/>
                    <a:pt x="601" y="359"/>
                    <a:pt x="600" y="360"/>
                  </a:cubicBezTo>
                  <a:cubicBezTo>
                    <a:pt x="601" y="360"/>
                    <a:pt x="601" y="360"/>
                    <a:pt x="601" y="360"/>
                  </a:cubicBezTo>
                  <a:cubicBezTo>
                    <a:pt x="602" y="360"/>
                    <a:pt x="602" y="361"/>
                    <a:pt x="603" y="362"/>
                  </a:cubicBezTo>
                  <a:cubicBezTo>
                    <a:pt x="603" y="362"/>
                    <a:pt x="604" y="362"/>
                    <a:pt x="605" y="362"/>
                  </a:cubicBezTo>
                  <a:cubicBezTo>
                    <a:pt x="605" y="362"/>
                    <a:pt x="606" y="362"/>
                    <a:pt x="607" y="362"/>
                  </a:cubicBezTo>
                  <a:cubicBezTo>
                    <a:pt x="607" y="362"/>
                    <a:pt x="608" y="362"/>
                    <a:pt x="609" y="362"/>
                  </a:cubicBezTo>
                  <a:cubicBezTo>
                    <a:pt x="609" y="362"/>
                    <a:pt x="609" y="362"/>
                    <a:pt x="610" y="362"/>
                  </a:cubicBezTo>
                  <a:cubicBezTo>
                    <a:pt x="610" y="363"/>
                    <a:pt x="610" y="363"/>
                    <a:pt x="611" y="363"/>
                  </a:cubicBezTo>
                  <a:cubicBezTo>
                    <a:pt x="612" y="363"/>
                    <a:pt x="614" y="363"/>
                    <a:pt x="615" y="363"/>
                  </a:cubicBezTo>
                  <a:cubicBezTo>
                    <a:pt x="614" y="363"/>
                    <a:pt x="611" y="364"/>
                    <a:pt x="611" y="365"/>
                  </a:cubicBezTo>
                  <a:cubicBezTo>
                    <a:pt x="611" y="365"/>
                    <a:pt x="612" y="365"/>
                    <a:pt x="614" y="365"/>
                  </a:cubicBezTo>
                  <a:cubicBezTo>
                    <a:pt x="614" y="365"/>
                    <a:pt x="615" y="365"/>
                    <a:pt x="615" y="365"/>
                  </a:cubicBezTo>
                  <a:cubicBezTo>
                    <a:pt x="615" y="365"/>
                    <a:pt x="616" y="365"/>
                    <a:pt x="616" y="365"/>
                  </a:cubicBezTo>
                  <a:cubicBezTo>
                    <a:pt x="616" y="365"/>
                    <a:pt x="616" y="365"/>
                    <a:pt x="616" y="365"/>
                  </a:cubicBezTo>
                  <a:cubicBezTo>
                    <a:pt x="615" y="366"/>
                    <a:pt x="615" y="367"/>
                    <a:pt x="615" y="367"/>
                  </a:cubicBezTo>
                  <a:cubicBezTo>
                    <a:pt x="615" y="368"/>
                    <a:pt x="616" y="368"/>
                    <a:pt x="617" y="368"/>
                  </a:cubicBezTo>
                  <a:cubicBezTo>
                    <a:pt x="618" y="365"/>
                    <a:pt x="621" y="359"/>
                    <a:pt x="618" y="357"/>
                  </a:cubicBezTo>
                  <a:cubicBezTo>
                    <a:pt x="619" y="357"/>
                    <a:pt x="620" y="357"/>
                    <a:pt x="620" y="357"/>
                  </a:cubicBezTo>
                  <a:cubicBezTo>
                    <a:pt x="621" y="357"/>
                    <a:pt x="622" y="357"/>
                    <a:pt x="622" y="357"/>
                  </a:cubicBezTo>
                  <a:cubicBezTo>
                    <a:pt x="620" y="355"/>
                    <a:pt x="620" y="356"/>
                    <a:pt x="620" y="354"/>
                  </a:cubicBezTo>
                  <a:cubicBezTo>
                    <a:pt x="620" y="353"/>
                    <a:pt x="620" y="353"/>
                    <a:pt x="620" y="353"/>
                  </a:cubicBezTo>
                  <a:cubicBezTo>
                    <a:pt x="620" y="352"/>
                    <a:pt x="620" y="352"/>
                    <a:pt x="620" y="351"/>
                  </a:cubicBezTo>
                  <a:cubicBezTo>
                    <a:pt x="619" y="351"/>
                    <a:pt x="619" y="351"/>
                    <a:pt x="619" y="351"/>
                  </a:cubicBezTo>
                  <a:cubicBezTo>
                    <a:pt x="618" y="349"/>
                    <a:pt x="617" y="348"/>
                    <a:pt x="615" y="346"/>
                  </a:cubicBezTo>
                  <a:cubicBezTo>
                    <a:pt x="617" y="347"/>
                    <a:pt x="620" y="348"/>
                    <a:pt x="623" y="348"/>
                  </a:cubicBezTo>
                  <a:cubicBezTo>
                    <a:pt x="620" y="345"/>
                    <a:pt x="615" y="346"/>
                    <a:pt x="616" y="342"/>
                  </a:cubicBezTo>
                  <a:cubicBezTo>
                    <a:pt x="617" y="343"/>
                    <a:pt x="618" y="344"/>
                    <a:pt x="619" y="344"/>
                  </a:cubicBezTo>
                  <a:cubicBezTo>
                    <a:pt x="620" y="344"/>
                    <a:pt x="620" y="344"/>
                    <a:pt x="620" y="344"/>
                  </a:cubicBezTo>
                  <a:cubicBezTo>
                    <a:pt x="622" y="343"/>
                    <a:pt x="621" y="341"/>
                    <a:pt x="620" y="340"/>
                  </a:cubicBezTo>
                  <a:cubicBezTo>
                    <a:pt x="618" y="339"/>
                    <a:pt x="615" y="340"/>
                    <a:pt x="613" y="339"/>
                  </a:cubicBezTo>
                  <a:cubicBezTo>
                    <a:pt x="614" y="338"/>
                    <a:pt x="616" y="338"/>
                    <a:pt x="618" y="338"/>
                  </a:cubicBezTo>
                  <a:cubicBezTo>
                    <a:pt x="619" y="338"/>
                    <a:pt x="620" y="338"/>
                    <a:pt x="622" y="339"/>
                  </a:cubicBezTo>
                  <a:cubicBezTo>
                    <a:pt x="621" y="336"/>
                    <a:pt x="617" y="332"/>
                    <a:pt x="618" y="329"/>
                  </a:cubicBezTo>
                  <a:cubicBezTo>
                    <a:pt x="620" y="332"/>
                    <a:pt x="622" y="335"/>
                    <a:pt x="623" y="338"/>
                  </a:cubicBezTo>
                  <a:cubicBezTo>
                    <a:pt x="624" y="339"/>
                    <a:pt x="625" y="340"/>
                    <a:pt x="626" y="340"/>
                  </a:cubicBezTo>
                  <a:cubicBezTo>
                    <a:pt x="626" y="340"/>
                    <a:pt x="626" y="340"/>
                    <a:pt x="627" y="340"/>
                  </a:cubicBezTo>
                  <a:cubicBezTo>
                    <a:pt x="627" y="340"/>
                    <a:pt x="628" y="340"/>
                    <a:pt x="628" y="340"/>
                  </a:cubicBezTo>
                  <a:cubicBezTo>
                    <a:pt x="629" y="340"/>
                    <a:pt x="630" y="341"/>
                    <a:pt x="630" y="342"/>
                  </a:cubicBezTo>
                  <a:cubicBezTo>
                    <a:pt x="631" y="340"/>
                    <a:pt x="631" y="338"/>
                    <a:pt x="631" y="336"/>
                  </a:cubicBezTo>
                  <a:cubicBezTo>
                    <a:pt x="633" y="337"/>
                    <a:pt x="633" y="339"/>
                    <a:pt x="634" y="341"/>
                  </a:cubicBezTo>
                  <a:cubicBezTo>
                    <a:pt x="635" y="342"/>
                    <a:pt x="636" y="341"/>
                    <a:pt x="638" y="342"/>
                  </a:cubicBezTo>
                  <a:cubicBezTo>
                    <a:pt x="638" y="341"/>
                    <a:pt x="638" y="339"/>
                    <a:pt x="637" y="339"/>
                  </a:cubicBezTo>
                  <a:cubicBezTo>
                    <a:pt x="637" y="337"/>
                    <a:pt x="636" y="338"/>
                    <a:pt x="636" y="337"/>
                  </a:cubicBezTo>
                  <a:cubicBezTo>
                    <a:pt x="635" y="337"/>
                    <a:pt x="634" y="337"/>
                    <a:pt x="633" y="336"/>
                  </a:cubicBezTo>
                  <a:cubicBezTo>
                    <a:pt x="635" y="336"/>
                    <a:pt x="637" y="336"/>
                    <a:pt x="639" y="337"/>
                  </a:cubicBezTo>
                  <a:cubicBezTo>
                    <a:pt x="638" y="333"/>
                    <a:pt x="634" y="333"/>
                    <a:pt x="633" y="330"/>
                  </a:cubicBezTo>
                  <a:cubicBezTo>
                    <a:pt x="636" y="331"/>
                    <a:pt x="637" y="333"/>
                    <a:pt x="640" y="333"/>
                  </a:cubicBezTo>
                  <a:cubicBezTo>
                    <a:pt x="640" y="334"/>
                    <a:pt x="641" y="334"/>
                    <a:pt x="641" y="334"/>
                  </a:cubicBezTo>
                  <a:cubicBezTo>
                    <a:pt x="642" y="334"/>
                    <a:pt x="642" y="334"/>
                    <a:pt x="643" y="334"/>
                  </a:cubicBezTo>
                  <a:cubicBezTo>
                    <a:pt x="644" y="333"/>
                    <a:pt x="644" y="333"/>
                    <a:pt x="645" y="333"/>
                  </a:cubicBezTo>
                  <a:cubicBezTo>
                    <a:pt x="645" y="333"/>
                    <a:pt x="645" y="333"/>
                    <a:pt x="646" y="333"/>
                  </a:cubicBezTo>
                  <a:cubicBezTo>
                    <a:pt x="645" y="333"/>
                    <a:pt x="645" y="331"/>
                    <a:pt x="644" y="330"/>
                  </a:cubicBezTo>
                  <a:cubicBezTo>
                    <a:pt x="644" y="330"/>
                    <a:pt x="643" y="330"/>
                    <a:pt x="643" y="329"/>
                  </a:cubicBezTo>
                  <a:cubicBezTo>
                    <a:pt x="642" y="328"/>
                    <a:pt x="643" y="328"/>
                    <a:pt x="641" y="327"/>
                  </a:cubicBezTo>
                  <a:cubicBezTo>
                    <a:pt x="641" y="326"/>
                    <a:pt x="641" y="326"/>
                    <a:pt x="640" y="326"/>
                  </a:cubicBezTo>
                  <a:cubicBezTo>
                    <a:pt x="639" y="326"/>
                    <a:pt x="639" y="326"/>
                    <a:pt x="638" y="326"/>
                  </a:cubicBezTo>
                  <a:cubicBezTo>
                    <a:pt x="638" y="326"/>
                    <a:pt x="637" y="326"/>
                    <a:pt x="637" y="326"/>
                  </a:cubicBezTo>
                  <a:cubicBezTo>
                    <a:pt x="637" y="326"/>
                    <a:pt x="636" y="326"/>
                    <a:pt x="636" y="326"/>
                  </a:cubicBezTo>
                  <a:cubicBezTo>
                    <a:pt x="635" y="326"/>
                    <a:pt x="634" y="326"/>
                    <a:pt x="634" y="325"/>
                  </a:cubicBezTo>
                  <a:cubicBezTo>
                    <a:pt x="633" y="325"/>
                    <a:pt x="633" y="324"/>
                    <a:pt x="632" y="323"/>
                  </a:cubicBezTo>
                  <a:cubicBezTo>
                    <a:pt x="631" y="323"/>
                    <a:pt x="630" y="322"/>
                    <a:pt x="628" y="322"/>
                  </a:cubicBezTo>
                  <a:cubicBezTo>
                    <a:pt x="629" y="322"/>
                    <a:pt x="629" y="322"/>
                    <a:pt x="630" y="322"/>
                  </a:cubicBezTo>
                  <a:cubicBezTo>
                    <a:pt x="631" y="322"/>
                    <a:pt x="631" y="322"/>
                    <a:pt x="633" y="323"/>
                  </a:cubicBezTo>
                  <a:cubicBezTo>
                    <a:pt x="635" y="325"/>
                    <a:pt x="637" y="325"/>
                    <a:pt x="639" y="325"/>
                  </a:cubicBezTo>
                  <a:cubicBezTo>
                    <a:pt x="641" y="325"/>
                    <a:pt x="641" y="325"/>
                    <a:pt x="643" y="326"/>
                  </a:cubicBezTo>
                  <a:cubicBezTo>
                    <a:pt x="643" y="326"/>
                    <a:pt x="645" y="327"/>
                    <a:pt x="645" y="327"/>
                  </a:cubicBezTo>
                  <a:cubicBezTo>
                    <a:pt x="645" y="327"/>
                    <a:pt x="646" y="327"/>
                    <a:pt x="646" y="327"/>
                  </a:cubicBezTo>
                  <a:cubicBezTo>
                    <a:pt x="647" y="327"/>
                    <a:pt x="648" y="327"/>
                    <a:pt x="650" y="326"/>
                  </a:cubicBezTo>
                  <a:cubicBezTo>
                    <a:pt x="651" y="326"/>
                    <a:pt x="652" y="326"/>
                    <a:pt x="653" y="326"/>
                  </a:cubicBezTo>
                  <a:cubicBezTo>
                    <a:pt x="654" y="326"/>
                    <a:pt x="654" y="326"/>
                    <a:pt x="654" y="326"/>
                  </a:cubicBezTo>
                  <a:cubicBezTo>
                    <a:pt x="653" y="325"/>
                    <a:pt x="651" y="325"/>
                    <a:pt x="651" y="324"/>
                  </a:cubicBezTo>
                  <a:cubicBezTo>
                    <a:pt x="650" y="323"/>
                    <a:pt x="650" y="321"/>
                    <a:pt x="648" y="320"/>
                  </a:cubicBezTo>
                  <a:cubicBezTo>
                    <a:pt x="647" y="320"/>
                    <a:pt x="643" y="319"/>
                    <a:pt x="642" y="319"/>
                  </a:cubicBezTo>
                  <a:cubicBezTo>
                    <a:pt x="641" y="318"/>
                    <a:pt x="641" y="318"/>
                    <a:pt x="640" y="318"/>
                  </a:cubicBezTo>
                  <a:cubicBezTo>
                    <a:pt x="640" y="318"/>
                    <a:pt x="640" y="318"/>
                    <a:pt x="640" y="318"/>
                  </a:cubicBezTo>
                  <a:cubicBezTo>
                    <a:pt x="639" y="318"/>
                    <a:pt x="639" y="318"/>
                    <a:pt x="638" y="318"/>
                  </a:cubicBezTo>
                  <a:cubicBezTo>
                    <a:pt x="638" y="318"/>
                    <a:pt x="638" y="318"/>
                    <a:pt x="637" y="318"/>
                  </a:cubicBezTo>
                  <a:cubicBezTo>
                    <a:pt x="637" y="318"/>
                    <a:pt x="637" y="318"/>
                    <a:pt x="636" y="318"/>
                  </a:cubicBezTo>
                  <a:cubicBezTo>
                    <a:pt x="634" y="318"/>
                    <a:pt x="634" y="316"/>
                    <a:pt x="633" y="314"/>
                  </a:cubicBezTo>
                  <a:cubicBezTo>
                    <a:pt x="635" y="315"/>
                    <a:pt x="636" y="317"/>
                    <a:pt x="637" y="318"/>
                  </a:cubicBezTo>
                  <a:cubicBezTo>
                    <a:pt x="639" y="316"/>
                    <a:pt x="643" y="312"/>
                    <a:pt x="641" y="311"/>
                  </a:cubicBezTo>
                  <a:cubicBezTo>
                    <a:pt x="641" y="310"/>
                    <a:pt x="641" y="310"/>
                    <a:pt x="641" y="310"/>
                  </a:cubicBezTo>
                  <a:cubicBezTo>
                    <a:pt x="640" y="310"/>
                    <a:pt x="640" y="311"/>
                    <a:pt x="639" y="311"/>
                  </a:cubicBezTo>
                  <a:cubicBezTo>
                    <a:pt x="639" y="311"/>
                    <a:pt x="638" y="311"/>
                    <a:pt x="638" y="311"/>
                  </a:cubicBezTo>
                  <a:cubicBezTo>
                    <a:pt x="637" y="311"/>
                    <a:pt x="637" y="311"/>
                    <a:pt x="637" y="311"/>
                  </a:cubicBezTo>
                  <a:cubicBezTo>
                    <a:pt x="637" y="310"/>
                    <a:pt x="638" y="310"/>
                    <a:pt x="639" y="310"/>
                  </a:cubicBezTo>
                  <a:cubicBezTo>
                    <a:pt x="641" y="310"/>
                    <a:pt x="645" y="312"/>
                    <a:pt x="648" y="313"/>
                  </a:cubicBezTo>
                  <a:cubicBezTo>
                    <a:pt x="648" y="314"/>
                    <a:pt x="648" y="315"/>
                    <a:pt x="648" y="315"/>
                  </a:cubicBezTo>
                  <a:cubicBezTo>
                    <a:pt x="648" y="316"/>
                    <a:pt x="648" y="317"/>
                    <a:pt x="649" y="318"/>
                  </a:cubicBezTo>
                  <a:cubicBezTo>
                    <a:pt x="649" y="319"/>
                    <a:pt x="650" y="320"/>
                    <a:pt x="651" y="321"/>
                  </a:cubicBezTo>
                  <a:cubicBezTo>
                    <a:pt x="652" y="322"/>
                    <a:pt x="653" y="322"/>
                    <a:pt x="654" y="322"/>
                  </a:cubicBezTo>
                  <a:cubicBezTo>
                    <a:pt x="655" y="322"/>
                    <a:pt x="656" y="322"/>
                    <a:pt x="657" y="322"/>
                  </a:cubicBezTo>
                  <a:cubicBezTo>
                    <a:pt x="658" y="321"/>
                    <a:pt x="661" y="321"/>
                    <a:pt x="663" y="320"/>
                  </a:cubicBezTo>
                  <a:cubicBezTo>
                    <a:pt x="662" y="319"/>
                    <a:pt x="659" y="316"/>
                    <a:pt x="656" y="315"/>
                  </a:cubicBezTo>
                  <a:cubicBezTo>
                    <a:pt x="657" y="314"/>
                    <a:pt x="657" y="314"/>
                    <a:pt x="658" y="313"/>
                  </a:cubicBezTo>
                  <a:cubicBezTo>
                    <a:pt x="658" y="313"/>
                    <a:pt x="658" y="313"/>
                    <a:pt x="658" y="313"/>
                  </a:cubicBezTo>
                  <a:cubicBezTo>
                    <a:pt x="659" y="314"/>
                    <a:pt x="659" y="314"/>
                    <a:pt x="659" y="314"/>
                  </a:cubicBezTo>
                  <a:cubicBezTo>
                    <a:pt x="662" y="315"/>
                    <a:pt x="662" y="318"/>
                    <a:pt x="665" y="318"/>
                  </a:cubicBezTo>
                  <a:cubicBezTo>
                    <a:pt x="665" y="318"/>
                    <a:pt x="666" y="318"/>
                    <a:pt x="666" y="317"/>
                  </a:cubicBezTo>
                  <a:cubicBezTo>
                    <a:pt x="667" y="317"/>
                    <a:pt x="670" y="316"/>
                    <a:pt x="670" y="315"/>
                  </a:cubicBezTo>
                  <a:cubicBezTo>
                    <a:pt x="671" y="313"/>
                    <a:pt x="663" y="306"/>
                    <a:pt x="662" y="305"/>
                  </a:cubicBezTo>
                  <a:cubicBezTo>
                    <a:pt x="660" y="303"/>
                    <a:pt x="659" y="302"/>
                    <a:pt x="657" y="302"/>
                  </a:cubicBezTo>
                  <a:cubicBezTo>
                    <a:pt x="656" y="302"/>
                    <a:pt x="655" y="303"/>
                    <a:pt x="654" y="303"/>
                  </a:cubicBezTo>
                  <a:cubicBezTo>
                    <a:pt x="650" y="303"/>
                    <a:pt x="650" y="304"/>
                    <a:pt x="650" y="307"/>
                  </a:cubicBezTo>
                  <a:cubicBezTo>
                    <a:pt x="649" y="307"/>
                    <a:pt x="649" y="306"/>
                    <a:pt x="649" y="306"/>
                  </a:cubicBezTo>
                  <a:cubicBezTo>
                    <a:pt x="648" y="305"/>
                    <a:pt x="648" y="304"/>
                    <a:pt x="648" y="303"/>
                  </a:cubicBezTo>
                  <a:cubicBezTo>
                    <a:pt x="648" y="301"/>
                    <a:pt x="648" y="300"/>
                    <a:pt x="648" y="298"/>
                  </a:cubicBezTo>
                  <a:cubicBezTo>
                    <a:pt x="649" y="294"/>
                    <a:pt x="651" y="290"/>
                    <a:pt x="653" y="286"/>
                  </a:cubicBezTo>
                  <a:cubicBezTo>
                    <a:pt x="653" y="286"/>
                    <a:pt x="653" y="286"/>
                    <a:pt x="652" y="286"/>
                  </a:cubicBezTo>
                  <a:cubicBezTo>
                    <a:pt x="651" y="286"/>
                    <a:pt x="648" y="286"/>
                    <a:pt x="647" y="287"/>
                  </a:cubicBezTo>
                  <a:cubicBezTo>
                    <a:pt x="647" y="288"/>
                    <a:pt x="647" y="289"/>
                    <a:pt x="647" y="289"/>
                  </a:cubicBezTo>
                  <a:cubicBezTo>
                    <a:pt x="646" y="289"/>
                    <a:pt x="644" y="290"/>
                    <a:pt x="643" y="291"/>
                  </a:cubicBezTo>
                  <a:cubicBezTo>
                    <a:pt x="642" y="294"/>
                    <a:pt x="647" y="295"/>
                    <a:pt x="646" y="298"/>
                  </a:cubicBezTo>
                  <a:cubicBezTo>
                    <a:pt x="644" y="296"/>
                    <a:pt x="642" y="290"/>
                    <a:pt x="640" y="290"/>
                  </a:cubicBezTo>
                  <a:cubicBezTo>
                    <a:pt x="640" y="290"/>
                    <a:pt x="639" y="290"/>
                    <a:pt x="639" y="290"/>
                  </a:cubicBezTo>
                  <a:cubicBezTo>
                    <a:pt x="636" y="290"/>
                    <a:pt x="636" y="293"/>
                    <a:pt x="635" y="294"/>
                  </a:cubicBezTo>
                  <a:cubicBezTo>
                    <a:pt x="635" y="295"/>
                    <a:pt x="636" y="295"/>
                    <a:pt x="636" y="296"/>
                  </a:cubicBezTo>
                  <a:cubicBezTo>
                    <a:pt x="636" y="296"/>
                    <a:pt x="635" y="297"/>
                    <a:pt x="634" y="298"/>
                  </a:cubicBezTo>
                  <a:cubicBezTo>
                    <a:pt x="634" y="299"/>
                    <a:pt x="634" y="301"/>
                    <a:pt x="632" y="301"/>
                  </a:cubicBezTo>
                  <a:cubicBezTo>
                    <a:pt x="632" y="299"/>
                    <a:pt x="634" y="297"/>
                    <a:pt x="634" y="294"/>
                  </a:cubicBezTo>
                  <a:cubicBezTo>
                    <a:pt x="634" y="292"/>
                    <a:pt x="633" y="291"/>
                    <a:pt x="634" y="289"/>
                  </a:cubicBezTo>
                  <a:cubicBezTo>
                    <a:pt x="633" y="289"/>
                    <a:pt x="633" y="289"/>
                    <a:pt x="633" y="289"/>
                  </a:cubicBezTo>
                  <a:cubicBezTo>
                    <a:pt x="630" y="289"/>
                    <a:pt x="623" y="290"/>
                    <a:pt x="622" y="292"/>
                  </a:cubicBezTo>
                  <a:cubicBezTo>
                    <a:pt x="622" y="292"/>
                    <a:pt x="622" y="295"/>
                    <a:pt x="622" y="296"/>
                  </a:cubicBezTo>
                  <a:cubicBezTo>
                    <a:pt x="622" y="297"/>
                    <a:pt x="621" y="298"/>
                    <a:pt x="620" y="299"/>
                  </a:cubicBezTo>
                  <a:cubicBezTo>
                    <a:pt x="620" y="297"/>
                    <a:pt x="620" y="294"/>
                    <a:pt x="620" y="291"/>
                  </a:cubicBezTo>
                  <a:cubicBezTo>
                    <a:pt x="617" y="294"/>
                    <a:pt x="617" y="295"/>
                    <a:pt x="614" y="295"/>
                  </a:cubicBezTo>
                  <a:cubicBezTo>
                    <a:pt x="613" y="295"/>
                    <a:pt x="612" y="295"/>
                    <a:pt x="611" y="295"/>
                  </a:cubicBezTo>
                  <a:cubicBezTo>
                    <a:pt x="613" y="294"/>
                    <a:pt x="615" y="295"/>
                    <a:pt x="617" y="294"/>
                  </a:cubicBezTo>
                  <a:cubicBezTo>
                    <a:pt x="618" y="293"/>
                    <a:pt x="616" y="292"/>
                    <a:pt x="617" y="291"/>
                  </a:cubicBezTo>
                  <a:cubicBezTo>
                    <a:pt x="619" y="290"/>
                    <a:pt x="622" y="291"/>
                    <a:pt x="624" y="289"/>
                  </a:cubicBezTo>
                  <a:cubicBezTo>
                    <a:pt x="627" y="286"/>
                    <a:pt x="621" y="284"/>
                    <a:pt x="626" y="282"/>
                  </a:cubicBezTo>
                  <a:cubicBezTo>
                    <a:pt x="627" y="281"/>
                    <a:pt x="630" y="281"/>
                    <a:pt x="630" y="279"/>
                  </a:cubicBezTo>
                  <a:cubicBezTo>
                    <a:pt x="631" y="277"/>
                    <a:pt x="630" y="276"/>
                    <a:pt x="629" y="276"/>
                  </a:cubicBezTo>
                  <a:cubicBezTo>
                    <a:pt x="628" y="276"/>
                    <a:pt x="626" y="277"/>
                    <a:pt x="626" y="277"/>
                  </a:cubicBezTo>
                  <a:cubicBezTo>
                    <a:pt x="622" y="279"/>
                    <a:pt x="622" y="277"/>
                    <a:pt x="620" y="280"/>
                  </a:cubicBezTo>
                  <a:cubicBezTo>
                    <a:pt x="620" y="282"/>
                    <a:pt x="620" y="283"/>
                    <a:pt x="617" y="285"/>
                  </a:cubicBezTo>
                  <a:cubicBezTo>
                    <a:pt x="615" y="286"/>
                    <a:pt x="613" y="285"/>
                    <a:pt x="612" y="289"/>
                  </a:cubicBezTo>
                  <a:cubicBezTo>
                    <a:pt x="611" y="284"/>
                    <a:pt x="620" y="284"/>
                    <a:pt x="619" y="279"/>
                  </a:cubicBezTo>
                  <a:cubicBezTo>
                    <a:pt x="618" y="279"/>
                    <a:pt x="617" y="279"/>
                    <a:pt x="615" y="279"/>
                  </a:cubicBezTo>
                  <a:cubicBezTo>
                    <a:pt x="610" y="279"/>
                    <a:pt x="606" y="280"/>
                    <a:pt x="601" y="281"/>
                  </a:cubicBezTo>
                  <a:cubicBezTo>
                    <a:pt x="599" y="282"/>
                    <a:pt x="596" y="282"/>
                    <a:pt x="594" y="283"/>
                  </a:cubicBezTo>
                  <a:cubicBezTo>
                    <a:pt x="592" y="284"/>
                    <a:pt x="593" y="287"/>
                    <a:pt x="591" y="287"/>
                  </a:cubicBezTo>
                  <a:cubicBezTo>
                    <a:pt x="590" y="282"/>
                    <a:pt x="594" y="281"/>
                    <a:pt x="599" y="280"/>
                  </a:cubicBezTo>
                  <a:cubicBezTo>
                    <a:pt x="602" y="280"/>
                    <a:pt x="607" y="280"/>
                    <a:pt x="607" y="277"/>
                  </a:cubicBezTo>
                  <a:cubicBezTo>
                    <a:pt x="607" y="277"/>
                    <a:pt x="607" y="277"/>
                    <a:pt x="607" y="277"/>
                  </a:cubicBezTo>
                  <a:cubicBezTo>
                    <a:pt x="604" y="277"/>
                    <a:pt x="600" y="278"/>
                    <a:pt x="596" y="278"/>
                  </a:cubicBezTo>
                  <a:cubicBezTo>
                    <a:pt x="593" y="278"/>
                    <a:pt x="591" y="280"/>
                    <a:pt x="589" y="280"/>
                  </a:cubicBezTo>
                  <a:cubicBezTo>
                    <a:pt x="592" y="276"/>
                    <a:pt x="597" y="279"/>
                    <a:pt x="601" y="276"/>
                  </a:cubicBezTo>
                  <a:cubicBezTo>
                    <a:pt x="597" y="275"/>
                    <a:pt x="593" y="276"/>
                    <a:pt x="589" y="274"/>
                  </a:cubicBezTo>
                  <a:cubicBezTo>
                    <a:pt x="589" y="274"/>
                    <a:pt x="590" y="274"/>
                    <a:pt x="591" y="274"/>
                  </a:cubicBezTo>
                  <a:cubicBezTo>
                    <a:pt x="593" y="274"/>
                    <a:pt x="596" y="274"/>
                    <a:pt x="598" y="275"/>
                  </a:cubicBezTo>
                  <a:cubicBezTo>
                    <a:pt x="601" y="275"/>
                    <a:pt x="603" y="276"/>
                    <a:pt x="606" y="276"/>
                  </a:cubicBezTo>
                  <a:cubicBezTo>
                    <a:pt x="606" y="276"/>
                    <a:pt x="606" y="275"/>
                    <a:pt x="607" y="275"/>
                  </a:cubicBezTo>
                  <a:cubicBezTo>
                    <a:pt x="609" y="275"/>
                    <a:pt x="609" y="275"/>
                    <a:pt x="608" y="273"/>
                  </a:cubicBezTo>
                  <a:cubicBezTo>
                    <a:pt x="607" y="270"/>
                    <a:pt x="606" y="269"/>
                    <a:pt x="605" y="267"/>
                  </a:cubicBezTo>
                  <a:cubicBezTo>
                    <a:pt x="607" y="267"/>
                    <a:pt x="603" y="262"/>
                    <a:pt x="602" y="261"/>
                  </a:cubicBezTo>
                  <a:cubicBezTo>
                    <a:pt x="599" y="259"/>
                    <a:pt x="597" y="256"/>
                    <a:pt x="594" y="256"/>
                  </a:cubicBezTo>
                  <a:cubicBezTo>
                    <a:pt x="593" y="256"/>
                    <a:pt x="591" y="256"/>
                    <a:pt x="590" y="258"/>
                  </a:cubicBezTo>
                  <a:cubicBezTo>
                    <a:pt x="589" y="258"/>
                    <a:pt x="589" y="260"/>
                    <a:pt x="588" y="260"/>
                  </a:cubicBezTo>
                  <a:cubicBezTo>
                    <a:pt x="588" y="260"/>
                    <a:pt x="588" y="260"/>
                    <a:pt x="588" y="260"/>
                  </a:cubicBezTo>
                  <a:cubicBezTo>
                    <a:pt x="587" y="260"/>
                    <a:pt x="587" y="259"/>
                    <a:pt x="587" y="259"/>
                  </a:cubicBezTo>
                  <a:cubicBezTo>
                    <a:pt x="587" y="259"/>
                    <a:pt x="587" y="258"/>
                    <a:pt x="586" y="258"/>
                  </a:cubicBezTo>
                  <a:cubicBezTo>
                    <a:pt x="586" y="258"/>
                    <a:pt x="586" y="258"/>
                    <a:pt x="586" y="258"/>
                  </a:cubicBezTo>
                  <a:cubicBezTo>
                    <a:pt x="585" y="258"/>
                    <a:pt x="584" y="258"/>
                    <a:pt x="584" y="258"/>
                  </a:cubicBezTo>
                  <a:cubicBezTo>
                    <a:pt x="581" y="259"/>
                    <a:pt x="580" y="259"/>
                    <a:pt x="580" y="262"/>
                  </a:cubicBezTo>
                  <a:cubicBezTo>
                    <a:pt x="580" y="261"/>
                    <a:pt x="580" y="260"/>
                    <a:pt x="580" y="258"/>
                  </a:cubicBezTo>
                  <a:cubicBezTo>
                    <a:pt x="581" y="258"/>
                    <a:pt x="582" y="258"/>
                    <a:pt x="582" y="257"/>
                  </a:cubicBezTo>
                  <a:cubicBezTo>
                    <a:pt x="583" y="256"/>
                    <a:pt x="583" y="255"/>
                    <a:pt x="581" y="254"/>
                  </a:cubicBezTo>
                  <a:cubicBezTo>
                    <a:pt x="581" y="254"/>
                    <a:pt x="582" y="254"/>
                    <a:pt x="582" y="254"/>
                  </a:cubicBezTo>
                  <a:cubicBezTo>
                    <a:pt x="584" y="254"/>
                    <a:pt x="585" y="252"/>
                    <a:pt x="584" y="250"/>
                  </a:cubicBezTo>
                  <a:cubicBezTo>
                    <a:pt x="584" y="251"/>
                    <a:pt x="585" y="251"/>
                    <a:pt x="585" y="251"/>
                  </a:cubicBezTo>
                  <a:cubicBezTo>
                    <a:pt x="587" y="251"/>
                    <a:pt x="588" y="250"/>
                    <a:pt x="590" y="249"/>
                  </a:cubicBezTo>
                  <a:cubicBezTo>
                    <a:pt x="584" y="249"/>
                    <a:pt x="573" y="249"/>
                    <a:pt x="571" y="256"/>
                  </a:cubicBezTo>
                  <a:cubicBezTo>
                    <a:pt x="571" y="258"/>
                    <a:pt x="573" y="257"/>
                    <a:pt x="575" y="259"/>
                  </a:cubicBezTo>
                  <a:cubicBezTo>
                    <a:pt x="575" y="260"/>
                    <a:pt x="576" y="263"/>
                    <a:pt x="576" y="264"/>
                  </a:cubicBezTo>
                  <a:cubicBezTo>
                    <a:pt x="574" y="262"/>
                    <a:pt x="572" y="259"/>
                    <a:pt x="571" y="257"/>
                  </a:cubicBezTo>
                  <a:cubicBezTo>
                    <a:pt x="570" y="255"/>
                    <a:pt x="571" y="255"/>
                    <a:pt x="571" y="254"/>
                  </a:cubicBezTo>
                  <a:cubicBezTo>
                    <a:pt x="572" y="252"/>
                    <a:pt x="573" y="250"/>
                    <a:pt x="573" y="248"/>
                  </a:cubicBezTo>
                  <a:cubicBezTo>
                    <a:pt x="571" y="249"/>
                    <a:pt x="569" y="249"/>
                    <a:pt x="567" y="250"/>
                  </a:cubicBezTo>
                  <a:cubicBezTo>
                    <a:pt x="566" y="251"/>
                    <a:pt x="566" y="251"/>
                    <a:pt x="565" y="252"/>
                  </a:cubicBezTo>
                  <a:cubicBezTo>
                    <a:pt x="565" y="253"/>
                    <a:pt x="562" y="254"/>
                    <a:pt x="562" y="255"/>
                  </a:cubicBezTo>
                  <a:cubicBezTo>
                    <a:pt x="561" y="256"/>
                    <a:pt x="562" y="258"/>
                    <a:pt x="561" y="259"/>
                  </a:cubicBezTo>
                  <a:cubicBezTo>
                    <a:pt x="561" y="260"/>
                    <a:pt x="561" y="261"/>
                    <a:pt x="560" y="263"/>
                  </a:cubicBezTo>
                  <a:cubicBezTo>
                    <a:pt x="560" y="261"/>
                    <a:pt x="560" y="257"/>
                    <a:pt x="560" y="255"/>
                  </a:cubicBezTo>
                  <a:cubicBezTo>
                    <a:pt x="560" y="255"/>
                    <a:pt x="561" y="254"/>
                    <a:pt x="561" y="253"/>
                  </a:cubicBezTo>
                  <a:cubicBezTo>
                    <a:pt x="562" y="252"/>
                    <a:pt x="560" y="252"/>
                    <a:pt x="560" y="251"/>
                  </a:cubicBezTo>
                  <a:cubicBezTo>
                    <a:pt x="560" y="248"/>
                    <a:pt x="566" y="245"/>
                    <a:pt x="562" y="242"/>
                  </a:cubicBezTo>
                  <a:cubicBezTo>
                    <a:pt x="561" y="246"/>
                    <a:pt x="562" y="246"/>
                    <a:pt x="559" y="248"/>
                  </a:cubicBezTo>
                  <a:cubicBezTo>
                    <a:pt x="557" y="248"/>
                    <a:pt x="554" y="249"/>
                    <a:pt x="553" y="250"/>
                  </a:cubicBezTo>
                  <a:cubicBezTo>
                    <a:pt x="552" y="252"/>
                    <a:pt x="553" y="253"/>
                    <a:pt x="552" y="255"/>
                  </a:cubicBezTo>
                  <a:cubicBezTo>
                    <a:pt x="552" y="256"/>
                    <a:pt x="552" y="256"/>
                    <a:pt x="552" y="256"/>
                  </a:cubicBezTo>
                  <a:cubicBezTo>
                    <a:pt x="551" y="256"/>
                    <a:pt x="551" y="256"/>
                    <a:pt x="550" y="256"/>
                  </a:cubicBezTo>
                  <a:cubicBezTo>
                    <a:pt x="548" y="255"/>
                    <a:pt x="546" y="254"/>
                    <a:pt x="543" y="253"/>
                  </a:cubicBezTo>
                  <a:cubicBezTo>
                    <a:pt x="544" y="253"/>
                    <a:pt x="544" y="253"/>
                    <a:pt x="544" y="253"/>
                  </a:cubicBezTo>
                  <a:cubicBezTo>
                    <a:pt x="545" y="253"/>
                    <a:pt x="546" y="253"/>
                    <a:pt x="547" y="253"/>
                  </a:cubicBezTo>
                  <a:cubicBezTo>
                    <a:pt x="548" y="254"/>
                    <a:pt x="548" y="254"/>
                    <a:pt x="549" y="254"/>
                  </a:cubicBezTo>
                  <a:cubicBezTo>
                    <a:pt x="550" y="254"/>
                    <a:pt x="550" y="254"/>
                    <a:pt x="551" y="253"/>
                  </a:cubicBezTo>
                  <a:cubicBezTo>
                    <a:pt x="552" y="253"/>
                    <a:pt x="552" y="250"/>
                    <a:pt x="553" y="249"/>
                  </a:cubicBezTo>
                  <a:cubicBezTo>
                    <a:pt x="554" y="247"/>
                    <a:pt x="558" y="247"/>
                    <a:pt x="554" y="245"/>
                  </a:cubicBezTo>
                  <a:cubicBezTo>
                    <a:pt x="553" y="245"/>
                    <a:pt x="553" y="245"/>
                    <a:pt x="553" y="245"/>
                  </a:cubicBezTo>
                  <a:cubicBezTo>
                    <a:pt x="550" y="245"/>
                    <a:pt x="545" y="247"/>
                    <a:pt x="544" y="249"/>
                  </a:cubicBezTo>
                  <a:cubicBezTo>
                    <a:pt x="544" y="247"/>
                    <a:pt x="544" y="245"/>
                    <a:pt x="545" y="243"/>
                  </a:cubicBezTo>
                  <a:cubicBezTo>
                    <a:pt x="543" y="244"/>
                    <a:pt x="539" y="247"/>
                    <a:pt x="539" y="247"/>
                  </a:cubicBezTo>
                  <a:cubicBezTo>
                    <a:pt x="539" y="247"/>
                    <a:pt x="539" y="247"/>
                    <a:pt x="539" y="247"/>
                  </a:cubicBezTo>
                  <a:cubicBezTo>
                    <a:pt x="537" y="247"/>
                    <a:pt x="540" y="243"/>
                    <a:pt x="541" y="242"/>
                  </a:cubicBezTo>
                  <a:cubicBezTo>
                    <a:pt x="540" y="242"/>
                    <a:pt x="540" y="242"/>
                    <a:pt x="540" y="242"/>
                  </a:cubicBezTo>
                  <a:cubicBezTo>
                    <a:pt x="540" y="242"/>
                    <a:pt x="541" y="241"/>
                    <a:pt x="541" y="241"/>
                  </a:cubicBezTo>
                  <a:cubicBezTo>
                    <a:pt x="542" y="238"/>
                    <a:pt x="541" y="238"/>
                    <a:pt x="538" y="238"/>
                  </a:cubicBezTo>
                  <a:cubicBezTo>
                    <a:pt x="538" y="238"/>
                    <a:pt x="537" y="238"/>
                    <a:pt x="537" y="238"/>
                  </a:cubicBezTo>
                  <a:cubicBezTo>
                    <a:pt x="536" y="238"/>
                    <a:pt x="535" y="238"/>
                    <a:pt x="535" y="238"/>
                  </a:cubicBezTo>
                  <a:cubicBezTo>
                    <a:pt x="535" y="238"/>
                    <a:pt x="535" y="238"/>
                    <a:pt x="535" y="238"/>
                  </a:cubicBezTo>
                  <a:cubicBezTo>
                    <a:pt x="534" y="238"/>
                    <a:pt x="534" y="238"/>
                    <a:pt x="533" y="238"/>
                  </a:cubicBezTo>
                  <a:cubicBezTo>
                    <a:pt x="529" y="238"/>
                    <a:pt x="532" y="239"/>
                    <a:pt x="530" y="242"/>
                  </a:cubicBezTo>
                  <a:cubicBezTo>
                    <a:pt x="529" y="243"/>
                    <a:pt x="528" y="243"/>
                    <a:pt x="528" y="243"/>
                  </a:cubicBezTo>
                  <a:cubicBezTo>
                    <a:pt x="526" y="243"/>
                    <a:pt x="525" y="242"/>
                    <a:pt x="524" y="242"/>
                  </a:cubicBezTo>
                  <a:cubicBezTo>
                    <a:pt x="525" y="242"/>
                    <a:pt x="526" y="242"/>
                    <a:pt x="527" y="242"/>
                  </a:cubicBezTo>
                  <a:cubicBezTo>
                    <a:pt x="528" y="242"/>
                    <a:pt x="529" y="242"/>
                    <a:pt x="529" y="241"/>
                  </a:cubicBezTo>
                  <a:cubicBezTo>
                    <a:pt x="530" y="240"/>
                    <a:pt x="529" y="239"/>
                    <a:pt x="530" y="237"/>
                  </a:cubicBezTo>
                  <a:cubicBezTo>
                    <a:pt x="532" y="236"/>
                    <a:pt x="534" y="236"/>
                    <a:pt x="537" y="235"/>
                  </a:cubicBezTo>
                  <a:cubicBezTo>
                    <a:pt x="535" y="235"/>
                    <a:pt x="532" y="235"/>
                    <a:pt x="530" y="235"/>
                  </a:cubicBezTo>
                  <a:cubicBezTo>
                    <a:pt x="528" y="235"/>
                    <a:pt x="526" y="235"/>
                    <a:pt x="525" y="236"/>
                  </a:cubicBezTo>
                  <a:cubicBezTo>
                    <a:pt x="524" y="236"/>
                    <a:pt x="525" y="237"/>
                    <a:pt x="524" y="238"/>
                  </a:cubicBezTo>
                  <a:cubicBezTo>
                    <a:pt x="524" y="238"/>
                    <a:pt x="522" y="238"/>
                    <a:pt x="521" y="238"/>
                  </a:cubicBezTo>
                  <a:cubicBezTo>
                    <a:pt x="524" y="238"/>
                    <a:pt x="523" y="236"/>
                    <a:pt x="525" y="235"/>
                  </a:cubicBezTo>
                  <a:cubicBezTo>
                    <a:pt x="524" y="235"/>
                    <a:pt x="524" y="235"/>
                    <a:pt x="523" y="235"/>
                  </a:cubicBezTo>
                  <a:cubicBezTo>
                    <a:pt x="521" y="235"/>
                    <a:pt x="519" y="236"/>
                    <a:pt x="517" y="238"/>
                  </a:cubicBezTo>
                  <a:cubicBezTo>
                    <a:pt x="518" y="234"/>
                    <a:pt x="521" y="234"/>
                    <a:pt x="524" y="234"/>
                  </a:cubicBezTo>
                  <a:cubicBezTo>
                    <a:pt x="526" y="233"/>
                    <a:pt x="528" y="232"/>
                    <a:pt x="530" y="232"/>
                  </a:cubicBezTo>
                  <a:cubicBezTo>
                    <a:pt x="530" y="232"/>
                    <a:pt x="530" y="232"/>
                    <a:pt x="530" y="232"/>
                  </a:cubicBezTo>
                  <a:cubicBezTo>
                    <a:pt x="532" y="232"/>
                    <a:pt x="535" y="234"/>
                    <a:pt x="536" y="234"/>
                  </a:cubicBezTo>
                  <a:cubicBezTo>
                    <a:pt x="537" y="234"/>
                    <a:pt x="537" y="234"/>
                    <a:pt x="537" y="234"/>
                  </a:cubicBezTo>
                  <a:cubicBezTo>
                    <a:pt x="539" y="233"/>
                    <a:pt x="539" y="231"/>
                    <a:pt x="540" y="231"/>
                  </a:cubicBezTo>
                  <a:cubicBezTo>
                    <a:pt x="541" y="231"/>
                    <a:pt x="541" y="231"/>
                    <a:pt x="542" y="232"/>
                  </a:cubicBezTo>
                  <a:cubicBezTo>
                    <a:pt x="542" y="230"/>
                    <a:pt x="544" y="231"/>
                    <a:pt x="545" y="231"/>
                  </a:cubicBezTo>
                  <a:cubicBezTo>
                    <a:pt x="544" y="231"/>
                    <a:pt x="543" y="231"/>
                    <a:pt x="542" y="231"/>
                  </a:cubicBezTo>
                  <a:cubicBezTo>
                    <a:pt x="541" y="231"/>
                    <a:pt x="541" y="231"/>
                    <a:pt x="541" y="231"/>
                  </a:cubicBezTo>
                  <a:cubicBezTo>
                    <a:pt x="541" y="231"/>
                    <a:pt x="540" y="231"/>
                    <a:pt x="540" y="231"/>
                  </a:cubicBezTo>
                  <a:cubicBezTo>
                    <a:pt x="534" y="231"/>
                    <a:pt x="528" y="231"/>
                    <a:pt x="523" y="233"/>
                  </a:cubicBezTo>
                  <a:cubicBezTo>
                    <a:pt x="523" y="231"/>
                    <a:pt x="522" y="229"/>
                    <a:pt x="523" y="228"/>
                  </a:cubicBezTo>
                  <a:cubicBezTo>
                    <a:pt x="523" y="227"/>
                    <a:pt x="524" y="227"/>
                    <a:pt x="524" y="227"/>
                  </a:cubicBezTo>
                  <a:cubicBezTo>
                    <a:pt x="524" y="227"/>
                    <a:pt x="524" y="227"/>
                    <a:pt x="524" y="227"/>
                  </a:cubicBezTo>
                  <a:cubicBezTo>
                    <a:pt x="524" y="227"/>
                    <a:pt x="524" y="227"/>
                    <a:pt x="524" y="227"/>
                  </a:cubicBezTo>
                  <a:cubicBezTo>
                    <a:pt x="525" y="227"/>
                    <a:pt x="525" y="227"/>
                    <a:pt x="525" y="227"/>
                  </a:cubicBezTo>
                  <a:cubicBezTo>
                    <a:pt x="522" y="227"/>
                    <a:pt x="518" y="230"/>
                    <a:pt x="515" y="232"/>
                  </a:cubicBezTo>
                  <a:cubicBezTo>
                    <a:pt x="515" y="231"/>
                    <a:pt x="515" y="231"/>
                    <a:pt x="515" y="230"/>
                  </a:cubicBezTo>
                  <a:cubicBezTo>
                    <a:pt x="515" y="230"/>
                    <a:pt x="514" y="229"/>
                    <a:pt x="514" y="228"/>
                  </a:cubicBezTo>
                  <a:cubicBezTo>
                    <a:pt x="514" y="228"/>
                    <a:pt x="514" y="227"/>
                    <a:pt x="514" y="227"/>
                  </a:cubicBezTo>
                  <a:cubicBezTo>
                    <a:pt x="514" y="228"/>
                    <a:pt x="514" y="228"/>
                    <a:pt x="514" y="228"/>
                  </a:cubicBezTo>
                  <a:cubicBezTo>
                    <a:pt x="514" y="227"/>
                    <a:pt x="514" y="227"/>
                    <a:pt x="514" y="227"/>
                  </a:cubicBezTo>
                  <a:cubicBezTo>
                    <a:pt x="514" y="227"/>
                    <a:pt x="514" y="228"/>
                    <a:pt x="514" y="228"/>
                  </a:cubicBezTo>
                  <a:cubicBezTo>
                    <a:pt x="514" y="227"/>
                    <a:pt x="513" y="226"/>
                    <a:pt x="510" y="225"/>
                  </a:cubicBezTo>
                  <a:cubicBezTo>
                    <a:pt x="509" y="225"/>
                    <a:pt x="507" y="224"/>
                    <a:pt x="506" y="224"/>
                  </a:cubicBezTo>
                  <a:cubicBezTo>
                    <a:pt x="505" y="224"/>
                    <a:pt x="505" y="224"/>
                    <a:pt x="504" y="224"/>
                  </a:cubicBezTo>
                  <a:cubicBezTo>
                    <a:pt x="502" y="225"/>
                    <a:pt x="500" y="225"/>
                    <a:pt x="499" y="225"/>
                  </a:cubicBezTo>
                  <a:cubicBezTo>
                    <a:pt x="498" y="225"/>
                    <a:pt x="497" y="225"/>
                    <a:pt x="496" y="225"/>
                  </a:cubicBezTo>
                  <a:cubicBezTo>
                    <a:pt x="497" y="224"/>
                    <a:pt x="499" y="224"/>
                    <a:pt x="499" y="223"/>
                  </a:cubicBezTo>
                  <a:cubicBezTo>
                    <a:pt x="500" y="222"/>
                    <a:pt x="500" y="222"/>
                    <a:pt x="501" y="222"/>
                  </a:cubicBezTo>
                  <a:cubicBezTo>
                    <a:pt x="501" y="222"/>
                    <a:pt x="501" y="222"/>
                    <a:pt x="501" y="222"/>
                  </a:cubicBezTo>
                  <a:cubicBezTo>
                    <a:pt x="502" y="222"/>
                    <a:pt x="503" y="222"/>
                    <a:pt x="503" y="222"/>
                  </a:cubicBezTo>
                  <a:cubicBezTo>
                    <a:pt x="504" y="223"/>
                    <a:pt x="504" y="223"/>
                    <a:pt x="505" y="223"/>
                  </a:cubicBezTo>
                  <a:cubicBezTo>
                    <a:pt x="505" y="223"/>
                    <a:pt x="505" y="223"/>
                    <a:pt x="505" y="223"/>
                  </a:cubicBezTo>
                  <a:cubicBezTo>
                    <a:pt x="507" y="223"/>
                    <a:pt x="508" y="222"/>
                    <a:pt x="509" y="222"/>
                  </a:cubicBezTo>
                  <a:cubicBezTo>
                    <a:pt x="510" y="222"/>
                    <a:pt x="511" y="222"/>
                    <a:pt x="512" y="223"/>
                  </a:cubicBezTo>
                  <a:cubicBezTo>
                    <a:pt x="509" y="218"/>
                    <a:pt x="500" y="218"/>
                    <a:pt x="495" y="217"/>
                  </a:cubicBezTo>
                  <a:cubicBezTo>
                    <a:pt x="495" y="217"/>
                    <a:pt x="495" y="217"/>
                    <a:pt x="495" y="217"/>
                  </a:cubicBezTo>
                  <a:cubicBezTo>
                    <a:pt x="495" y="217"/>
                    <a:pt x="494" y="218"/>
                    <a:pt x="493" y="218"/>
                  </a:cubicBezTo>
                  <a:cubicBezTo>
                    <a:pt x="492" y="218"/>
                    <a:pt x="492" y="218"/>
                    <a:pt x="491" y="218"/>
                  </a:cubicBezTo>
                  <a:cubicBezTo>
                    <a:pt x="491" y="218"/>
                    <a:pt x="491" y="218"/>
                    <a:pt x="491" y="218"/>
                  </a:cubicBezTo>
                  <a:cubicBezTo>
                    <a:pt x="491" y="218"/>
                    <a:pt x="492" y="217"/>
                    <a:pt x="491" y="216"/>
                  </a:cubicBezTo>
                  <a:cubicBezTo>
                    <a:pt x="490" y="215"/>
                    <a:pt x="484" y="215"/>
                    <a:pt x="482" y="215"/>
                  </a:cubicBezTo>
                  <a:cubicBezTo>
                    <a:pt x="482" y="215"/>
                    <a:pt x="483" y="214"/>
                    <a:pt x="483" y="214"/>
                  </a:cubicBezTo>
                  <a:cubicBezTo>
                    <a:pt x="483" y="214"/>
                    <a:pt x="482" y="213"/>
                    <a:pt x="482" y="213"/>
                  </a:cubicBezTo>
                  <a:cubicBezTo>
                    <a:pt x="482" y="213"/>
                    <a:pt x="482" y="213"/>
                    <a:pt x="482" y="213"/>
                  </a:cubicBezTo>
                  <a:cubicBezTo>
                    <a:pt x="482" y="213"/>
                    <a:pt x="483" y="213"/>
                    <a:pt x="484" y="213"/>
                  </a:cubicBezTo>
                  <a:cubicBezTo>
                    <a:pt x="489" y="213"/>
                    <a:pt x="494" y="216"/>
                    <a:pt x="499" y="216"/>
                  </a:cubicBezTo>
                  <a:cubicBezTo>
                    <a:pt x="499" y="216"/>
                    <a:pt x="499" y="216"/>
                    <a:pt x="499" y="216"/>
                  </a:cubicBezTo>
                  <a:cubicBezTo>
                    <a:pt x="502" y="216"/>
                    <a:pt x="504" y="215"/>
                    <a:pt x="506" y="215"/>
                  </a:cubicBezTo>
                  <a:cubicBezTo>
                    <a:pt x="506" y="215"/>
                    <a:pt x="506" y="215"/>
                    <a:pt x="507" y="215"/>
                  </a:cubicBezTo>
                  <a:cubicBezTo>
                    <a:pt x="509" y="215"/>
                    <a:pt x="512" y="216"/>
                    <a:pt x="514" y="216"/>
                  </a:cubicBezTo>
                  <a:cubicBezTo>
                    <a:pt x="514" y="216"/>
                    <a:pt x="514" y="216"/>
                    <a:pt x="514" y="216"/>
                  </a:cubicBezTo>
                  <a:cubicBezTo>
                    <a:pt x="514" y="216"/>
                    <a:pt x="514" y="216"/>
                    <a:pt x="514" y="216"/>
                  </a:cubicBezTo>
                  <a:cubicBezTo>
                    <a:pt x="513" y="213"/>
                    <a:pt x="504" y="213"/>
                    <a:pt x="502" y="212"/>
                  </a:cubicBezTo>
                  <a:cubicBezTo>
                    <a:pt x="503" y="212"/>
                    <a:pt x="503" y="212"/>
                    <a:pt x="503" y="212"/>
                  </a:cubicBezTo>
                  <a:cubicBezTo>
                    <a:pt x="507" y="212"/>
                    <a:pt x="510" y="213"/>
                    <a:pt x="514" y="214"/>
                  </a:cubicBezTo>
                  <a:cubicBezTo>
                    <a:pt x="514" y="214"/>
                    <a:pt x="514" y="214"/>
                    <a:pt x="514" y="214"/>
                  </a:cubicBezTo>
                  <a:cubicBezTo>
                    <a:pt x="514" y="213"/>
                    <a:pt x="514" y="213"/>
                    <a:pt x="514" y="213"/>
                  </a:cubicBezTo>
                  <a:cubicBezTo>
                    <a:pt x="514" y="210"/>
                    <a:pt x="510" y="209"/>
                    <a:pt x="506" y="209"/>
                  </a:cubicBezTo>
                  <a:cubicBezTo>
                    <a:pt x="504" y="209"/>
                    <a:pt x="502" y="209"/>
                    <a:pt x="501" y="209"/>
                  </a:cubicBezTo>
                  <a:cubicBezTo>
                    <a:pt x="501" y="209"/>
                    <a:pt x="501" y="209"/>
                    <a:pt x="501" y="209"/>
                  </a:cubicBezTo>
                  <a:cubicBezTo>
                    <a:pt x="503" y="208"/>
                    <a:pt x="505" y="208"/>
                    <a:pt x="507" y="208"/>
                  </a:cubicBezTo>
                  <a:cubicBezTo>
                    <a:pt x="507" y="208"/>
                    <a:pt x="508" y="208"/>
                    <a:pt x="509" y="208"/>
                  </a:cubicBezTo>
                  <a:cubicBezTo>
                    <a:pt x="510" y="208"/>
                    <a:pt x="512" y="209"/>
                    <a:pt x="513" y="209"/>
                  </a:cubicBezTo>
                  <a:cubicBezTo>
                    <a:pt x="513" y="209"/>
                    <a:pt x="514" y="209"/>
                    <a:pt x="514" y="209"/>
                  </a:cubicBezTo>
                  <a:cubicBezTo>
                    <a:pt x="514" y="208"/>
                    <a:pt x="514" y="208"/>
                    <a:pt x="514" y="208"/>
                  </a:cubicBezTo>
                  <a:cubicBezTo>
                    <a:pt x="514" y="208"/>
                    <a:pt x="514" y="208"/>
                    <a:pt x="514" y="208"/>
                  </a:cubicBezTo>
                  <a:cubicBezTo>
                    <a:pt x="515" y="208"/>
                    <a:pt x="519" y="207"/>
                    <a:pt x="520" y="207"/>
                  </a:cubicBezTo>
                  <a:cubicBezTo>
                    <a:pt x="519" y="205"/>
                    <a:pt x="516" y="204"/>
                    <a:pt x="514" y="204"/>
                  </a:cubicBezTo>
                  <a:cubicBezTo>
                    <a:pt x="514" y="204"/>
                    <a:pt x="514" y="205"/>
                    <a:pt x="514" y="205"/>
                  </a:cubicBezTo>
                  <a:cubicBezTo>
                    <a:pt x="514" y="204"/>
                    <a:pt x="513" y="204"/>
                    <a:pt x="513" y="203"/>
                  </a:cubicBezTo>
                  <a:cubicBezTo>
                    <a:pt x="512" y="202"/>
                    <a:pt x="510" y="202"/>
                    <a:pt x="509" y="202"/>
                  </a:cubicBezTo>
                  <a:cubicBezTo>
                    <a:pt x="508" y="201"/>
                    <a:pt x="506" y="201"/>
                    <a:pt x="505" y="201"/>
                  </a:cubicBezTo>
                  <a:cubicBezTo>
                    <a:pt x="501" y="201"/>
                    <a:pt x="496" y="203"/>
                    <a:pt x="492" y="205"/>
                  </a:cubicBezTo>
                  <a:cubicBezTo>
                    <a:pt x="492" y="204"/>
                    <a:pt x="492" y="203"/>
                    <a:pt x="491" y="203"/>
                  </a:cubicBezTo>
                  <a:cubicBezTo>
                    <a:pt x="490" y="203"/>
                    <a:pt x="489" y="204"/>
                    <a:pt x="489" y="204"/>
                  </a:cubicBezTo>
                  <a:cubicBezTo>
                    <a:pt x="491" y="202"/>
                    <a:pt x="495" y="203"/>
                    <a:pt x="497" y="202"/>
                  </a:cubicBezTo>
                  <a:cubicBezTo>
                    <a:pt x="499" y="202"/>
                    <a:pt x="500" y="200"/>
                    <a:pt x="502" y="200"/>
                  </a:cubicBezTo>
                  <a:cubicBezTo>
                    <a:pt x="500" y="200"/>
                    <a:pt x="499" y="199"/>
                    <a:pt x="498" y="199"/>
                  </a:cubicBezTo>
                  <a:cubicBezTo>
                    <a:pt x="498" y="199"/>
                    <a:pt x="497" y="199"/>
                    <a:pt x="497" y="199"/>
                  </a:cubicBezTo>
                  <a:cubicBezTo>
                    <a:pt x="496" y="199"/>
                    <a:pt x="496" y="199"/>
                    <a:pt x="496" y="199"/>
                  </a:cubicBezTo>
                  <a:cubicBezTo>
                    <a:pt x="494" y="199"/>
                    <a:pt x="493" y="199"/>
                    <a:pt x="492" y="199"/>
                  </a:cubicBezTo>
                  <a:cubicBezTo>
                    <a:pt x="494" y="199"/>
                    <a:pt x="497" y="198"/>
                    <a:pt x="500" y="198"/>
                  </a:cubicBezTo>
                  <a:cubicBezTo>
                    <a:pt x="501" y="198"/>
                    <a:pt x="503" y="199"/>
                    <a:pt x="504" y="199"/>
                  </a:cubicBezTo>
                  <a:cubicBezTo>
                    <a:pt x="506" y="199"/>
                    <a:pt x="507" y="199"/>
                    <a:pt x="509" y="199"/>
                  </a:cubicBezTo>
                  <a:cubicBezTo>
                    <a:pt x="509" y="199"/>
                    <a:pt x="509" y="199"/>
                    <a:pt x="509" y="199"/>
                  </a:cubicBezTo>
                  <a:cubicBezTo>
                    <a:pt x="509" y="199"/>
                    <a:pt x="510" y="199"/>
                    <a:pt x="510" y="199"/>
                  </a:cubicBezTo>
                  <a:cubicBezTo>
                    <a:pt x="510" y="199"/>
                    <a:pt x="510" y="199"/>
                    <a:pt x="510" y="199"/>
                  </a:cubicBezTo>
                  <a:cubicBezTo>
                    <a:pt x="510" y="199"/>
                    <a:pt x="511" y="199"/>
                    <a:pt x="511" y="199"/>
                  </a:cubicBezTo>
                  <a:cubicBezTo>
                    <a:pt x="511" y="199"/>
                    <a:pt x="511" y="199"/>
                    <a:pt x="511" y="198"/>
                  </a:cubicBezTo>
                  <a:cubicBezTo>
                    <a:pt x="510" y="197"/>
                    <a:pt x="509" y="197"/>
                    <a:pt x="508" y="196"/>
                  </a:cubicBezTo>
                  <a:cubicBezTo>
                    <a:pt x="507" y="196"/>
                    <a:pt x="507" y="196"/>
                    <a:pt x="507" y="196"/>
                  </a:cubicBezTo>
                  <a:cubicBezTo>
                    <a:pt x="506" y="196"/>
                    <a:pt x="506" y="196"/>
                    <a:pt x="505" y="196"/>
                  </a:cubicBezTo>
                  <a:cubicBezTo>
                    <a:pt x="505" y="197"/>
                    <a:pt x="504" y="197"/>
                    <a:pt x="504" y="197"/>
                  </a:cubicBezTo>
                  <a:cubicBezTo>
                    <a:pt x="504" y="197"/>
                    <a:pt x="503" y="197"/>
                    <a:pt x="503" y="197"/>
                  </a:cubicBezTo>
                  <a:cubicBezTo>
                    <a:pt x="501" y="196"/>
                    <a:pt x="499" y="196"/>
                    <a:pt x="497" y="195"/>
                  </a:cubicBezTo>
                  <a:cubicBezTo>
                    <a:pt x="495" y="195"/>
                    <a:pt x="493" y="194"/>
                    <a:pt x="492" y="194"/>
                  </a:cubicBezTo>
                  <a:cubicBezTo>
                    <a:pt x="491" y="194"/>
                    <a:pt x="491" y="194"/>
                    <a:pt x="491" y="194"/>
                  </a:cubicBezTo>
                  <a:cubicBezTo>
                    <a:pt x="489" y="195"/>
                    <a:pt x="487" y="196"/>
                    <a:pt x="485" y="196"/>
                  </a:cubicBezTo>
                  <a:cubicBezTo>
                    <a:pt x="487" y="194"/>
                    <a:pt x="489" y="194"/>
                    <a:pt x="492" y="194"/>
                  </a:cubicBezTo>
                  <a:cubicBezTo>
                    <a:pt x="496" y="194"/>
                    <a:pt x="499" y="195"/>
                    <a:pt x="502" y="195"/>
                  </a:cubicBezTo>
                  <a:cubicBezTo>
                    <a:pt x="507" y="196"/>
                    <a:pt x="510" y="195"/>
                    <a:pt x="514" y="197"/>
                  </a:cubicBezTo>
                  <a:cubicBezTo>
                    <a:pt x="514" y="197"/>
                    <a:pt x="514" y="196"/>
                    <a:pt x="514" y="195"/>
                  </a:cubicBezTo>
                  <a:cubicBezTo>
                    <a:pt x="514" y="196"/>
                    <a:pt x="514" y="197"/>
                    <a:pt x="515" y="198"/>
                  </a:cubicBezTo>
                  <a:cubicBezTo>
                    <a:pt x="516" y="199"/>
                    <a:pt x="518" y="199"/>
                    <a:pt x="519" y="200"/>
                  </a:cubicBezTo>
                  <a:cubicBezTo>
                    <a:pt x="521" y="201"/>
                    <a:pt x="523" y="201"/>
                    <a:pt x="525" y="201"/>
                  </a:cubicBezTo>
                  <a:cubicBezTo>
                    <a:pt x="526" y="201"/>
                    <a:pt x="526" y="201"/>
                    <a:pt x="527" y="201"/>
                  </a:cubicBezTo>
                  <a:cubicBezTo>
                    <a:pt x="528" y="201"/>
                    <a:pt x="528" y="201"/>
                    <a:pt x="529" y="201"/>
                  </a:cubicBezTo>
                  <a:cubicBezTo>
                    <a:pt x="529" y="201"/>
                    <a:pt x="530" y="201"/>
                    <a:pt x="530" y="201"/>
                  </a:cubicBezTo>
                  <a:cubicBezTo>
                    <a:pt x="531" y="201"/>
                    <a:pt x="532" y="202"/>
                    <a:pt x="532" y="202"/>
                  </a:cubicBezTo>
                  <a:cubicBezTo>
                    <a:pt x="533" y="202"/>
                    <a:pt x="533" y="201"/>
                    <a:pt x="534" y="201"/>
                  </a:cubicBezTo>
                  <a:cubicBezTo>
                    <a:pt x="534" y="201"/>
                    <a:pt x="535" y="200"/>
                    <a:pt x="536" y="200"/>
                  </a:cubicBezTo>
                  <a:cubicBezTo>
                    <a:pt x="537" y="200"/>
                    <a:pt x="539" y="202"/>
                    <a:pt x="541" y="202"/>
                  </a:cubicBezTo>
                  <a:cubicBezTo>
                    <a:pt x="541" y="202"/>
                    <a:pt x="541" y="202"/>
                    <a:pt x="541" y="202"/>
                  </a:cubicBezTo>
                  <a:cubicBezTo>
                    <a:pt x="545" y="202"/>
                    <a:pt x="545" y="198"/>
                    <a:pt x="543" y="195"/>
                  </a:cubicBezTo>
                  <a:cubicBezTo>
                    <a:pt x="542" y="193"/>
                    <a:pt x="539" y="193"/>
                    <a:pt x="537" y="191"/>
                  </a:cubicBezTo>
                  <a:cubicBezTo>
                    <a:pt x="532" y="189"/>
                    <a:pt x="529" y="189"/>
                    <a:pt x="523" y="188"/>
                  </a:cubicBezTo>
                  <a:cubicBezTo>
                    <a:pt x="523" y="188"/>
                    <a:pt x="523" y="188"/>
                    <a:pt x="522" y="188"/>
                  </a:cubicBezTo>
                  <a:cubicBezTo>
                    <a:pt x="521" y="188"/>
                    <a:pt x="520" y="188"/>
                    <a:pt x="519" y="189"/>
                  </a:cubicBezTo>
                  <a:cubicBezTo>
                    <a:pt x="518" y="189"/>
                    <a:pt x="517" y="189"/>
                    <a:pt x="516" y="189"/>
                  </a:cubicBezTo>
                  <a:cubicBezTo>
                    <a:pt x="515" y="189"/>
                    <a:pt x="514" y="189"/>
                    <a:pt x="514" y="189"/>
                  </a:cubicBezTo>
                  <a:cubicBezTo>
                    <a:pt x="514" y="189"/>
                    <a:pt x="514" y="190"/>
                    <a:pt x="514" y="190"/>
                  </a:cubicBezTo>
                  <a:cubicBezTo>
                    <a:pt x="514" y="188"/>
                    <a:pt x="513" y="189"/>
                    <a:pt x="511" y="188"/>
                  </a:cubicBezTo>
                  <a:cubicBezTo>
                    <a:pt x="509" y="187"/>
                    <a:pt x="507" y="186"/>
                    <a:pt x="505" y="185"/>
                  </a:cubicBezTo>
                  <a:cubicBezTo>
                    <a:pt x="502" y="184"/>
                    <a:pt x="500" y="184"/>
                    <a:pt x="497" y="184"/>
                  </a:cubicBezTo>
                  <a:cubicBezTo>
                    <a:pt x="496" y="184"/>
                    <a:pt x="494" y="184"/>
                    <a:pt x="492" y="185"/>
                  </a:cubicBezTo>
                  <a:cubicBezTo>
                    <a:pt x="489" y="186"/>
                    <a:pt x="486" y="187"/>
                    <a:pt x="483" y="187"/>
                  </a:cubicBezTo>
                  <a:cubicBezTo>
                    <a:pt x="482" y="187"/>
                    <a:pt x="481" y="186"/>
                    <a:pt x="479" y="186"/>
                  </a:cubicBezTo>
                  <a:cubicBezTo>
                    <a:pt x="478" y="186"/>
                    <a:pt x="476" y="185"/>
                    <a:pt x="475" y="185"/>
                  </a:cubicBezTo>
                  <a:cubicBezTo>
                    <a:pt x="474" y="185"/>
                    <a:pt x="473" y="185"/>
                    <a:pt x="473" y="186"/>
                  </a:cubicBezTo>
                  <a:cubicBezTo>
                    <a:pt x="471" y="186"/>
                    <a:pt x="470" y="187"/>
                    <a:pt x="469" y="187"/>
                  </a:cubicBezTo>
                  <a:cubicBezTo>
                    <a:pt x="468" y="187"/>
                    <a:pt x="467" y="187"/>
                    <a:pt x="467" y="186"/>
                  </a:cubicBezTo>
                  <a:cubicBezTo>
                    <a:pt x="469" y="185"/>
                    <a:pt x="472" y="185"/>
                    <a:pt x="475" y="185"/>
                  </a:cubicBezTo>
                  <a:cubicBezTo>
                    <a:pt x="476" y="185"/>
                    <a:pt x="476" y="185"/>
                    <a:pt x="477" y="185"/>
                  </a:cubicBezTo>
                  <a:cubicBezTo>
                    <a:pt x="480" y="185"/>
                    <a:pt x="482" y="186"/>
                    <a:pt x="484" y="186"/>
                  </a:cubicBezTo>
                  <a:cubicBezTo>
                    <a:pt x="485" y="186"/>
                    <a:pt x="485" y="186"/>
                    <a:pt x="485" y="186"/>
                  </a:cubicBezTo>
                  <a:cubicBezTo>
                    <a:pt x="490" y="186"/>
                    <a:pt x="494" y="182"/>
                    <a:pt x="499" y="182"/>
                  </a:cubicBezTo>
                  <a:cubicBezTo>
                    <a:pt x="500" y="182"/>
                    <a:pt x="500" y="182"/>
                    <a:pt x="500" y="182"/>
                  </a:cubicBezTo>
                  <a:cubicBezTo>
                    <a:pt x="501" y="182"/>
                    <a:pt x="502" y="182"/>
                    <a:pt x="503" y="182"/>
                  </a:cubicBezTo>
                  <a:cubicBezTo>
                    <a:pt x="506" y="182"/>
                    <a:pt x="507" y="181"/>
                    <a:pt x="509" y="179"/>
                  </a:cubicBezTo>
                  <a:cubicBezTo>
                    <a:pt x="510" y="178"/>
                    <a:pt x="512" y="177"/>
                    <a:pt x="513" y="176"/>
                  </a:cubicBezTo>
                  <a:cubicBezTo>
                    <a:pt x="514" y="175"/>
                    <a:pt x="514" y="174"/>
                    <a:pt x="514" y="173"/>
                  </a:cubicBezTo>
                  <a:cubicBezTo>
                    <a:pt x="514" y="174"/>
                    <a:pt x="514" y="175"/>
                    <a:pt x="514" y="176"/>
                  </a:cubicBezTo>
                  <a:cubicBezTo>
                    <a:pt x="514" y="176"/>
                    <a:pt x="514" y="176"/>
                    <a:pt x="514" y="176"/>
                  </a:cubicBezTo>
                  <a:cubicBezTo>
                    <a:pt x="515" y="176"/>
                    <a:pt x="515" y="176"/>
                    <a:pt x="516" y="176"/>
                  </a:cubicBezTo>
                  <a:cubicBezTo>
                    <a:pt x="517" y="176"/>
                    <a:pt x="518" y="176"/>
                    <a:pt x="518" y="176"/>
                  </a:cubicBezTo>
                  <a:cubicBezTo>
                    <a:pt x="519" y="176"/>
                    <a:pt x="519" y="176"/>
                    <a:pt x="520" y="176"/>
                  </a:cubicBezTo>
                  <a:cubicBezTo>
                    <a:pt x="523" y="176"/>
                    <a:pt x="525" y="178"/>
                    <a:pt x="528" y="178"/>
                  </a:cubicBezTo>
                  <a:cubicBezTo>
                    <a:pt x="529" y="178"/>
                    <a:pt x="529" y="179"/>
                    <a:pt x="530" y="179"/>
                  </a:cubicBezTo>
                  <a:cubicBezTo>
                    <a:pt x="532" y="179"/>
                    <a:pt x="534" y="178"/>
                    <a:pt x="534" y="176"/>
                  </a:cubicBezTo>
                  <a:cubicBezTo>
                    <a:pt x="534" y="175"/>
                    <a:pt x="533" y="174"/>
                    <a:pt x="532" y="172"/>
                  </a:cubicBezTo>
                  <a:cubicBezTo>
                    <a:pt x="532" y="171"/>
                    <a:pt x="532" y="170"/>
                    <a:pt x="532" y="169"/>
                  </a:cubicBezTo>
                  <a:cubicBezTo>
                    <a:pt x="531" y="167"/>
                    <a:pt x="529" y="166"/>
                    <a:pt x="528" y="165"/>
                  </a:cubicBezTo>
                  <a:cubicBezTo>
                    <a:pt x="527" y="164"/>
                    <a:pt x="526" y="163"/>
                    <a:pt x="525" y="162"/>
                  </a:cubicBezTo>
                  <a:cubicBezTo>
                    <a:pt x="522" y="158"/>
                    <a:pt x="518" y="156"/>
                    <a:pt x="514" y="155"/>
                  </a:cubicBezTo>
                  <a:cubicBezTo>
                    <a:pt x="514" y="155"/>
                    <a:pt x="514" y="155"/>
                    <a:pt x="514" y="156"/>
                  </a:cubicBezTo>
                  <a:cubicBezTo>
                    <a:pt x="514" y="155"/>
                    <a:pt x="513" y="154"/>
                    <a:pt x="513" y="154"/>
                  </a:cubicBezTo>
                  <a:cubicBezTo>
                    <a:pt x="513" y="154"/>
                    <a:pt x="512" y="154"/>
                    <a:pt x="512" y="154"/>
                  </a:cubicBezTo>
                  <a:cubicBezTo>
                    <a:pt x="510" y="154"/>
                    <a:pt x="509" y="157"/>
                    <a:pt x="509" y="159"/>
                  </a:cubicBezTo>
                  <a:cubicBezTo>
                    <a:pt x="509" y="162"/>
                    <a:pt x="510" y="162"/>
                    <a:pt x="507" y="163"/>
                  </a:cubicBezTo>
                  <a:cubicBezTo>
                    <a:pt x="503" y="164"/>
                    <a:pt x="501" y="166"/>
                    <a:pt x="497" y="168"/>
                  </a:cubicBezTo>
                  <a:cubicBezTo>
                    <a:pt x="495" y="169"/>
                    <a:pt x="491" y="169"/>
                    <a:pt x="488" y="170"/>
                  </a:cubicBezTo>
                  <a:cubicBezTo>
                    <a:pt x="485" y="172"/>
                    <a:pt x="483" y="175"/>
                    <a:pt x="479" y="175"/>
                  </a:cubicBezTo>
                  <a:cubicBezTo>
                    <a:pt x="479" y="175"/>
                    <a:pt x="479" y="175"/>
                    <a:pt x="479" y="175"/>
                  </a:cubicBezTo>
                  <a:cubicBezTo>
                    <a:pt x="477" y="175"/>
                    <a:pt x="477" y="174"/>
                    <a:pt x="475" y="174"/>
                  </a:cubicBezTo>
                  <a:cubicBezTo>
                    <a:pt x="475" y="174"/>
                    <a:pt x="475" y="174"/>
                    <a:pt x="475" y="175"/>
                  </a:cubicBezTo>
                  <a:cubicBezTo>
                    <a:pt x="473" y="175"/>
                    <a:pt x="472" y="176"/>
                    <a:pt x="470" y="176"/>
                  </a:cubicBezTo>
                  <a:cubicBezTo>
                    <a:pt x="471" y="174"/>
                    <a:pt x="474" y="174"/>
                    <a:pt x="476" y="174"/>
                  </a:cubicBezTo>
                  <a:cubicBezTo>
                    <a:pt x="477" y="174"/>
                    <a:pt x="477" y="174"/>
                    <a:pt x="478" y="174"/>
                  </a:cubicBezTo>
                  <a:cubicBezTo>
                    <a:pt x="478" y="174"/>
                    <a:pt x="479" y="174"/>
                    <a:pt x="479" y="174"/>
                  </a:cubicBezTo>
                  <a:cubicBezTo>
                    <a:pt x="482" y="174"/>
                    <a:pt x="482" y="173"/>
                    <a:pt x="485" y="170"/>
                  </a:cubicBezTo>
                  <a:cubicBezTo>
                    <a:pt x="487" y="168"/>
                    <a:pt x="496" y="166"/>
                    <a:pt x="497" y="163"/>
                  </a:cubicBezTo>
                  <a:cubicBezTo>
                    <a:pt x="497" y="159"/>
                    <a:pt x="496" y="158"/>
                    <a:pt x="495" y="158"/>
                  </a:cubicBezTo>
                  <a:cubicBezTo>
                    <a:pt x="494" y="158"/>
                    <a:pt x="494" y="159"/>
                    <a:pt x="494" y="159"/>
                  </a:cubicBezTo>
                  <a:cubicBezTo>
                    <a:pt x="493" y="159"/>
                    <a:pt x="493" y="159"/>
                    <a:pt x="493" y="159"/>
                  </a:cubicBezTo>
                  <a:cubicBezTo>
                    <a:pt x="492" y="159"/>
                    <a:pt x="492" y="159"/>
                    <a:pt x="491" y="159"/>
                  </a:cubicBezTo>
                  <a:cubicBezTo>
                    <a:pt x="490" y="158"/>
                    <a:pt x="489" y="158"/>
                    <a:pt x="488" y="158"/>
                  </a:cubicBezTo>
                  <a:cubicBezTo>
                    <a:pt x="488" y="158"/>
                    <a:pt x="488" y="158"/>
                    <a:pt x="488" y="158"/>
                  </a:cubicBezTo>
                  <a:cubicBezTo>
                    <a:pt x="487" y="158"/>
                    <a:pt x="485" y="159"/>
                    <a:pt x="484" y="159"/>
                  </a:cubicBezTo>
                  <a:cubicBezTo>
                    <a:pt x="482" y="159"/>
                    <a:pt x="479" y="160"/>
                    <a:pt x="477" y="161"/>
                  </a:cubicBezTo>
                  <a:cubicBezTo>
                    <a:pt x="475" y="162"/>
                    <a:pt x="475" y="161"/>
                    <a:pt x="474" y="164"/>
                  </a:cubicBezTo>
                  <a:cubicBezTo>
                    <a:pt x="473" y="168"/>
                    <a:pt x="471" y="168"/>
                    <a:pt x="468" y="168"/>
                  </a:cubicBezTo>
                  <a:cubicBezTo>
                    <a:pt x="465" y="169"/>
                    <a:pt x="461" y="173"/>
                    <a:pt x="458" y="173"/>
                  </a:cubicBezTo>
                  <a:cubicBezTo>
                    <a:pt x="457" y="173"/>
                    <a:pt x="457" y="173"/>
                    <a:pt x="457" y="173"/>
                  </a:cubicBezTo>
                  <a:cubicBezTo>
                    <a:pt x="460" y="169"/>
                    <a:pt x="466" y="167"/>
                    <a:pt x="471" y="167"/>
                  </a:cubicBezTo>
                  <a:cubicBezTo>
                    <a:pt x="471" y="167"/>
                    <a:pt x="471" y="167"/>
                    <a:pt x="471" y="167"/>
                  </a:cubicBezTo>
                  <a:cubicBezTo>
                    <a:pt x="471" y="165"/>
                    <a:pt x="469" y="164"/>
                    <a:pt x="468" y="164"/>
                  </a:cubicBezTo>
                  <a:cubicBezTo>
                    <a:pt x="466" y="164"/>
                    <a:pt x="465" y="165"/>
                    <a:pt x="463" y="166"/>
                  </a:cubicBezTo>
                  <a:cubicBezTo>
                    <a:pt x="465" y="164"/>
                    <a:pt x="467" y="164"/>
                    <a:pt x="469" y="163"/>
                  </a:cubicBezTo>
                  <a:cubicBezTo>
                    <a:pt x="471" y="162"/>
                    <a:pt x="472" y="161"/>
                    <a:pt x="473" y="160"/>
                  </a:cubicBezTo>
                  <a:cubicBezTo>
                    <a:pt x="475" y="158"/>
                    <a:pt x="477" y="158"/>
                    <a:pt x="479" y="157"/>
                  </a:cubicBezTo>
                  <a:cubicBezTo>
                    <a:pt x="484" y="156"/>
                    <a:pt x="488" y="155"/>
                    <a:pt x="493" y="154"/>
                  </a:cubicBezTo>
                  <a:cubicBezTo>
                    <a:pt x="494" y="154"/>
                    <a:pt x="496" y="154"/>
                    <a:pt x="496" y="153"/>
                  </a:cubicBezTo>
                  <a:cubicBezTo>
                    <a:pt x="498" y="153"/>
                    <a:pt x="499" y="151"/>
                    <a:pt x="500" y="151"/>
                  </a:cubicBezTo>
                  <a:cubicBezTo>
                    <a:pt x="500" y="151"/>
                    <a:pt x="500" y="151"/>
                    <a:pt x="501" y="151"/>
                  </a:cubicBezTo>
                  <a:cubicBezTo>
                    <a:pt x="501" y="151"/>
                    <a:pt x="501" y="151"/>
                    <a:pt x="502" y="151"/>
                  </a:cubicBezTo>
                  <a:cubicBezTo>
                    <a:pt x="502" y="151"/>
                    <a:pt x="502" y="151"/>
                    <a:pt x="503" y="151"/>
                  </a:cubicBezTo>
                  <a:cubicBezTo>
                    <a:pt x="503" y="151"/>
                    <a:pt x="503" y="151"/>
                    <a:pt x="503" y="151"/>
                  </a:cubicBezTo>
                  <a:cubicBezTo>
                    <a:pt x="504" y="149"/>
                    <a:pt x="507" y="144"/>
                    <a:pt x="506" y="143"/>
                  </a:cubicBezTo>
                  <a:cubicBezTo>
                    <a:pt x="505" y="141"/>
                    <a:pt x="500" y="141"/>
                    <a:pt x="498" y="140"/>
                  </a:cubicBezTo>
                  <a:cubicBezTo>
                    <a:pt x="495" y="139"/>
                    <a:pt x="493" y="138"/>
                    <a:pt x="491" y="137"/>
                  </a:cubicBezTo>
                  <a:cubicBezTo>
                    <a:pt x="488" y="136"/>
                    <a:pt x="486" y="134"/>
                    <a:pt x="483" y="134"/>
                  </a:cubicBezTo>
                  <a:cubicBezTo>
                    <a:pt x="482" y="134"/>
                    <a:pt x="482" y="134"/>
                    <a:pt x="481" y="134"/>
                  </a:cubicBezTo>
                  <a:cubicBezTo>
                    <a:pt x="478" y="134"/>
                    <a:pt x="476" y="135"/>
                    <a:pt x="473" y="137"/>
                  </a:cubicBezTo>
                  <a:cubicBezTo>
                    <a:pt x="470" y="138"/>
                    <a:pt x="467" y="141"/>
                    <a:pt x="463" y="141"/>
                  </a:cubicBezTo>
                  <a:cubicBezTo>
                    <a:pt x="463" y="141"/>
                    <a:pt x="463" y="141"/>
                    <a:pt x="463" y="141"/>
                  </a:cubicBezTo>
                  <a:cubicBezTo>
                    <a:pt x="463" y="141"/>
                    <a:pt x="462" y="141"/>
                    <a:pt x="462" y="141"/>
                  </a:cubicBezTo>
                  <a:cubicBezTo>
                    <a:pt x="461" y="141"/>
                    <a:pt x="461" y="141"/>
                    <a:pt x="461" y="141"/>
                  </a:cubicBezTo>
                  <a:cubicBezTo>
                    <a:pt x="460" y="141"/>
                    <a:pt x="460" y="141"/>
                    <a:pt x="460" y="141"/>
                  </a:cubicBezTo>
                  <a:cubicBezTo>
                    <a:pt x="458" y="142"/>
                    <a:pt x="460" y="144"/>
                    <a:pt x="460" y="146"/>
                  </a:cubicBezTo>
                  <a:cubicBezTo>
                    <a:pt x="459" y="145"/>
                    <a:pt x="455" y="142"/>
                    <a:pt x="457" y="141"/>
                  </a:cubicBezTo>
                  <a:cubicBezTo>
                    <a:pt x="458" y="140"/>
                    <a:pt x="461" y="140"/>
                    <a:pt x="462" y="140"/>
                  </a:cubicBezTo>
                  <a:cubicBezTo>
                    <a:pt x="464" y="139"/>
                    <a:pt x="465" y="138"/>
                    <a:pt x="466" y="138"/>
                  </a:cubicBezTo>
                  <a:cubicBezTo>
                    <a:pt x="468" y="137"/>
                    <a:pt x="470" y="135"/>
                    <a:pt x="471" y="134"/>
                  </a:cubicBezTo>
                  <a:cubicBezTo>
                    <a:pt x="473" y="131"/>
                    <a:pt x="472" y="130"/>
                    <a:pt x="470" y="130"/>
                  </a:cubicBezTo>
                  <a:cubicBezTo>
                    <a:pt x="470" y="130"/>
                    <a:pt x="469" y="130"/>
                    <a:pt x="468" y="131"/>
                  </a:cubicBezTo>
                  <a:cubicBezTo>
                    <a:pt x="463" y="133"/>
                    <a:pt x="458" y="134"/>
                    <a:pt x="454" y="136"/>
                  </a:cubicBezTo>
                  <a:cubicBezTo>
                    <a:pt x="452" y="137"/>
                    <a:pt x="451" y="138"/>
                    <a:pt x="449" y="139"/>
                  </a:cubicBezTo>
                  <a:cubicBezTo>
                    <a:pt x="448" y="140"/>
                    <a:pt x="445" y="140"/>
                    <a:pt x="445" y="141"/>
                  </a:cubicBezTo>
                  <a:cubicBezTo>
                    <a:pt x="442" y="145"/>
                    <a:pt x="441" y="151"/>
                    <a:pt x="439" y="155"/>
                  </a:cubicBezTo>
                  <a:cubicBezTo>
                    <a:pt x="439" y="157"/>
                    <a:pt x="437" y="159"/>
                    <a:pt x="437" y="161"/>
                  </a:cubicBezTo>
                  <a:cubicBezTo>
                    <a:pt x="437" y="156"/>
                    <a:pt x="438" y="153"/>
                    <a:pt x="439" y="148"/>
                  </a:cubicBezTo>
                  <a:cubicBezTo>
                    <a:pt x="440" y="147"/>
                    <a:pt x="441" y="145"/>
                    <a:pt x="440" y="144"/>
                  </a:cubicBezTo>
                  <a:cubicBezTo>
                    <a:pt x="439" y="144"/>
                    <a:pt x="438" y="143"/>
                    <a:pt x="437" y="143"/>
                  </a:cubicBezTo>
                  <a:cubicBezTo>
                    <a:pt x="436" y="143"/>
                    <a:pt x="435" y="143"/>
                    <a:pt x="434" y="144"/>
                  </a:cubicBezTo>
                  <a:cubicBezTo>
                    <a:pt x="435" y="143"/>
                    <a:pt x="434" y="143"/>
                    <a:pt x="434" y="143"/>
                  </a:cubicBezTo>
                  <a:cubicBezTo>
                    <a:pt x="433" y="143"/>
                    <a:pt x="431" y="144"/>
                    <a:pt x="429" y="145"/>
                  </a:cubicBezTo>
                  <a:cubicBezTo>
                    <a:pt x="430" y="145"/>
                    <a:pt x="430" y="144"/>
                    <a:pt x="431" y="144"/>
                  </a:cubicBezTo>
                  <a:cubicBezTo>
                    <a:pt x="432" y="142"/>
                    <a:pt x="429" y="141"/>
                    <a:pt x="432" y="141"/>
                  </a:cubicBezTo>
                  <a:cubicBezTo>
                    <a:pt x="432" y="141"/>
                    <a:pt x="432" y="141"/>
                    <a:pt x="432" y="141"/>
                  </a:cubicBezTo>
                  <a:cubicBezTo>
                    <a:pt x="434" y="141"/>
                    <a:pt x="436" y="142"/>
                    <a:pt x="438" y="142"/>
                  </a:cubicBezTo>
                  <a:cubicBezTo>
                    <a:pt x="438" y="142"/>
                    <a:pt x="438" y="142"/>
                    <a:pt x="438" y="142"/>
                  </a:cubicBezTo>
                  <a:cubicBezTo>
                    <a:pt x="441" y="142"/>
                    <a:pt x="442" y="140"/>
                    <a:pt x="445" y="138"/>
                  </a:cubicBezTo>
                  <a:cubicBezTo>
                    <a:pt x="448" y="136"/>
                    <a:pt x="450" y="136"/>
                    <a:pt x="452" y="132"/>
                  </a:cubicBezTo>
                  <a:cubicBezTo>
                    <a:pt x="454" y="129"/>
                    <a:pt x="456" y="128"/>
                    <a:pt x="454" y="124"/>
                  </a:cubicBezTo>
                  <a:cubicBezTo>
                    <a:pt x="453" y="122"/>
                    <a:pt x="452" y="120"/>
                    <a:pt x="449" y="120"/>
                  </a:cubicBezTo>
                  <a:cubicBezTo>
                    <a:pt x="449" y="120"/>
                    <a:pt x="449" y="120"/>
                    <a:pt x="449" y="120"/>
                  </a:cubicBezTo>
                  <a:cubicBezTo>
                    <a:pt x="447" y="120"/>
                    <a:pt x="442" y="122"/>
                    <a:pt x="441" y="124"/>
                  </a:cubicBezTo>
                  <a:cubicBezTo>
                    <a:pt x="440" y="125"/>
                    <a:pt x="441" y="130"/>
                    <a:pt x="439" y="130"/>
                  </a:cubicBezTo>
                  <a:cubicBezTo>
                    <a:pt x="439" y="130"/>
                    <a:pt x="439" y="130"/>
                    <a:pt x="439" y="130"/>
                  </a:cubicBezTo>
                  <a:cubicBezTo>
                    <a:pt x="438" y="130"/>
                    <a:pt x="437" y="130"/>
                    <a:pt x="437" y="130"/>
                  </a:cubicBezTo>
                  <a:cubicBezTo>
                    <a:pt x="436" y="130"/>
                    <a:pt x="435" y="130"/>
                    <a:pt x="434" y="130"/>
                  </a:cubicBezTo>
                  <a:cubicBezTo>
                    <a:pt x="429" y="131"/>
                    <a:pt x="425" y="133"/>
                    <a:pt x="420" y="134"/>
                  </a:cubicBezTo>
                  <a:cubicBezTo>
                    <a:pt x="418" y="134"/>
                    <a:pt x="415" y="135"/>
                    <a:pt x="413" y="137"/>
                  </a:cubicBezTo>
                  <a:cubicBezTo>
                    <a:pt x="414" y="137"/>
                    <a:pt x="414" y="136"/>
                    <a:pt x="414" y="136"/>
                  </a:cubicBezTo>
                  <a:cubicBezTo>
                    <a:pt x="413" y="133"/>
                    <a:pt x="419" y="133"/>
                    <a:pt x="416" y="131"/>
                  </a:cubicBezTo>
                  <a:cubicBezTo>
                    <a:pt x="415" y="131"/>
                    <a:pt x="415" y="130"/>
                    <a:pt x="414" y="130"/>
                  </a:cubicBezTo>
                  <a:cubicBezTo>
                    <a:pt x="412" y="130"/>
                    <a:pt x="410" y="131"/>
                    <a:pt x="408" y="132"/>
                  </a:cubicBezTo>
                  <a:cubicBezTo>
                    <a:pt x="407" y="132"/>
                    <a:pt x="405" y="133"/>
                    <a:pt x="403" y="133"/>
                  </a:cubicBezTo>
                  <a:cubicBezTo>
                    <a:pt x="403" y="133"/>
                    <a:pt x="403" y="133"/>
                    <a:pt x="403" y="133"/>
                  </a:cubicBezTo>
                  <a:cubicBezTo>
                    <a:pt x="406" y="132"/>
                    <a:pt x="409" y="132"/>
                    <a:pt x="412" y="130"/>
                  </a:cubicBezTo>
                  <a:cubicBezTo>
                    <a:pt x="414" y="129"/>
                    <a:pt x="416" y="126"/>
                    <a:pt x="418" y="125"/>
                  </a:cubicBezTo>
                  <a:cubicBezTo>
                    <a:pt x="420" y="122"/>
                    <a:pt x="422" y="120"/>
                    <a:pt x="425" y="120"/>
                  </a:cubicBezTo>
                  <a:cubicBezTo>
                    <a:pt x="426" y="120"/>
                    <a:pt x="426" y="121"/>
                    <a:pt x="427" y="121"/>
                  </a:cubicBezTo>
                  <a:cubicBezTo>
                    <a:pt x="429" y="121"/>
                    <a:pt x="431" y="122"/>
                    <a:pt x="432" y="122"/>
                  </a:cubicBezTo>
                  <a:cubicBezTo>
                    <a:pt x="433" y="122"/>
                    <a:pt x="433" y="122"/>
                    <a:pt x="434" y="122"/>
                  </a:cubicBezTo>
                  <a:cubicBezTo>
                    <a:pt x="436" y="121"/>
                    <a:pt x="437" y="117"/>
                    <a:pt x="439" y="116"/>
                  </a:cubicBezTo>
                  <a:cubicBezTo>
                    <a:pt x="439" y="115"/>
                    <a:pt x="441" y="115"/>
                    <a:pt x="441" y="114"/>
                  </a:cubicBezTo>
                  <a:cubicBezTo>
                    <a:pt x="441" y="113"/>
                    <a:pt x="439" y="110"/>
                    <a:pt x="438" y="110"/>
                  </a:cubicBezTo>
                  <a:cubicBezTo>
                    <a:pt x="435" y="106"/>
                    <a:pt x="432" y="103"/>
                    <a:pt x="427" y="102"/>
                  </a:cubicBezTo>
                  <a:cubicBezTo>
                    <a:pt x="425" y="102"/>
                    <a:pt x="423" y="100"/>
                    <a:pt x="420" y="100"/>
                  </a:cubicBezTo>
                  <a:cubicBezTo>
                    <a:pt x="417" y="100"/>
                    <a:pt x="415" y="98"/>
                    <a:pt x="412" y="98"/>
                  </a:cubicBezTo>
                  <a:cubicBezTo>
                    <a:pt x="411" y="98"/>
                    <a:pt x="410" y="97"/>
                    <a:pt x="409" y="97"/>
                  </a:cubicBezTo>
                  <a:cubicBezTo>
                    <a:pt x="408" y="97"/>
                    <a:pt x="408" y="97"/>
                    <a:pt x="408" y="97"/>
                  </a:cubicBezTo>
                  <a:cubicBezTo>
                    <a:pt x="406" y="98"/>
                    <a:pt x="402" y="101"/>
                    <a:pt x="403" y="104"/>
                  </a:cubicBezTo>
                  <a:cubicBezTo>
                    <a:pt x="403" y="108"/>
                    <a:pt x="401" y="106"/>
                    <a:pt x="399" y="107"/>
                  </a:cubicBezTo>
                  <a:cubicBezTo>
                    <a:pt x="397" y="108"/>
                    <a:pt x="395" y="113"/>
                    <a:pt x="396" y="114"/>
                  </a:cubicBezTo>
                  <a:cubicBezTo>
                    <a:pt x="396" y="114"/>
                    <a:pt x="395" y="114"/>
                    <a:pt x="394" y="115"/>
                  </a:cubicBezTo>
                  <a:cubicBezTo>
                    <a:pt x="395" y="114"/>
                    <a:pt x="395" y="114"/>
                    <a:pt x="395" y="113"/>
                  </a:cubicBezTo>
                  <a:cubicBezTo>
                    <a:pt x="393" y="112"/>
                    <a:pt x="392" y="110"/>
                    <a:pt x="390" y="110"/>
                  </a:cubicBezTo>
                  <a:cubicBezTo>
                    <a:pt x="389" y="110"/>
                    <a:pt x="387" y="111"/>
                    <a:pt x="386" y="113"/>
                  </a:cubicBezTo>
                  <a:cubicBezTo>
                    <a:pt x="384" y="116"/>
                    <a:pt x="381" y="122"/>
                    <a:pt x="377" y="122"/>
                  </a:cubicBezTo>
                  <a:cubicBezTo>
                    <a:pt x="380" y="120"/>
                    <a:pt x="381" y="120"/>
                    <a:pt x="382" y="116"/>
                  </a:cubicBezTo>
                  <a:cubicBezTo>
                    <a:pt x="383" y="113"/>
                    <a:pt x="384" y="112"/>
                    <a:pt x="386" y="110"/>
                  </a:cubicBezTo>
                  <a:cubicBezTo>
                    <a:pt x="386" y="109"/>
                    <a:pt x="389" y="106"/>
                    <a:pt x="388" y="106"/>
                  </a:cubicBezTo>
                  <a:cubicBezTo>
                    <a:pt x="387" y="106"/>
                    <a:pt x="387" y="106"/>
                    <a:pt x="387" y="106"/>
                  </a:cubicBezTo>
                  <a:cubicBezTo>
                    <a:pt x="386" y="107"/>
                    <a:pt x="385" y="107"/>
                    <a:pt x="384" y="107"/>
                  </a:cubicBezTo>
                  <a:cubicBezTo>
                    <a:pt x="384" y="107"/>
                    <a:pt x="383" y="106"/>
                    <a:pt x="383" y="105"/>
                  </a:cubicBezTo>
                  <a:cubicBezTo>
                    <a:pt x="383" y="104"/>
                    <a:pt x="385" y="102"/>
                    <a:pt x="385" y="101"/>
                  </a:cubicBezTo>
                  <a:cubicBezTo>
                    <a:pt x="384" y="100"/>
                    <a:pt x="383" y="100"/>
                    <a:pt x="382" y="100"/>
                  </a:cubicBezTo>
                  <a:cubicBezTo>
                    <a:pt x="382" y="100"/>
                    <a:pt x="381" y="100"/>
                    <a:pt x="380" y="101"/>
                  </a:cubicBezTo>
                  <a:cubicBezTo>
                    <a:pt x="377" y="105"/>
                    <a:pt x="375" y="114"/>
                    <a:pt x="369" y="116"/>
                  </a:cubicBezTo>
                  <a:cubicBezTo>
                    <a:pt x="370" y="114"/>
                    <a:pt x="373" y="108"/>
                    <a:pt x="372" y="106"/>
                  </a:cubicBezTo>
                  <a:cubicBezTo>
                    <a:pt x="371" y="106"/>
                    <a:pt x="371" y="106"/>
                    <a:pt x="371" y="106"/>
                  </a:cubicBezTo>
                  <a:cubicBezTo>
                    <a:pt x="371" y="106"/>
                    <a:pt x="368" y="107"/>
                    <a:pt x="367" y="107"/>
                  </a:cubicBezTo>
                  <a:cubicBezTo>
                    <a:pt x="369" y="106"/>
                    <a:pt x="371" y="106"/>
                    <a:pt x="372" y="105"/>
                  </a:cubicBezTo>
                  <a:cubicBezTo>
                    <a:pt x="375" y="104"/>
                    <a:pt x="374" y="105"/>
                    <a:pt x="376" y="102"/>
                  </a:cubicBezTo>
                  <a:cubicBezTo>
                    <a:pt x="376" y="101"/>
                    <a:pt x="377" y="99"/>
                    <a:pt x="378" y="98"/>
                  </a:cubicBezTo>
                  <a:cubicBezTo>
                    <a:pt x="379" y="97"/>
                    <a:pt x="382" y="96"/>
                    <a:pt x="383" y="94"/>
                  </a:cubicBezTo>
                  <a:cubicBezTo>
                    <a:pt x="385" y="92"/>
                    <a:pt x="383" y="92"/>
                    <a:pt x="381" y="92"/>
                  </a:cubicBezTo>
                  <a:cubicBezTo>
                    <a:pt x="380" y="92"/>
                    <a:pt x="379" y="92"/>
                    <a:pt x="379" y="92"/>
                  </a:cubicBezTo>
                  <a:cubicBezTo>
                    <a:pt x="375" y="92"/>
                    <a:pt x="370" y="96"/>
                    <a:pt x="369" y="100"/>
                  </a:cubicBezTo>
                  <a:cubicBezTo>
                    <a:pt x="368" y="98"/>
                    <a:pt x="374" y="93"/>
                    <a:pt x="371" y="93"/>
                  </a:cubicBezTo>
                  <a:cubicBezTo>
                    <a:pt x="371" y="93"/>
                    <a:pt x="371" y="93"/>
                    <a:pt x="370" y="93"/>
                  </a:cubicBezTo>
                  <a:cubicBezTo>
                    <a:pt x="366" y="94"/>
                    <a:pt x="361" y="98"/>
                    <a:pt x="358" y="101"/>
                  </a:cubicBezTo>
                  <a:cubicBezTo>
                    <a:pt x="357" y="103"/>
                    <a:pt x="360" y="105"/>
                    <a:pt x="360" y="107"/>
                  </a:cubicBezTo>
                  <a:cubicBezTo>
                    <a:pt x="360" y="109"/>
                    <a:pt x="357" y="111"/>
                    <a:pt x="356" y="112"/>
                  </a:cubicBezTo>
                  <a:cubicBezTo>
                    <a:pt x="354" y="114"/>
                    <a:pt x="352" y="117"/>
                    <a:pt x="350" y="117"/>
                  </a:cubicBezTo>
                  <a:cubicBezTo>
                    <a:pt x="350" y="117"/>
                    <a:pt x="349" y="117"/>
                    <a:pt x="349" y="117"/>
                  </a:cubicBezTo>
                  <a:cubicBezTo>
                    <a:pt x="351" y="115"/>
                    <a:pt x="359" y="109"/>
                    <a:pt x="357" y="107"/>
                  </a:cubicBezTo>
                  <a:cubicBezTo>
                    <a:pt x="356" y="106"/>
                    <a:pt x="356" y="106"/>
                    <a:pt x="355" y="105"/>
                  </a:cubicBezTo>
                  <a:cubicBezTo>
                    <a:pt x="353" y="105"/>
                    <a:pt x="354" y="104"/>
                    <a:pt x="353" y="103"/>
                  </a:cubicBezTo>
                  <a:cubicBezTo>
                    <a:pt x="353" y="103"/>
                    <a:pt x="353" y="102"/>
                    <a:pt x="352" y="102"/>
                  </a:cubicBezTo>
                  <a:cubicBezTo>
                    <a:pt x="352" y="102"/>
                    <a:pt x="352" y="103"/>
                    <a:pt x="351" y="103"/>
                  </a:cubicBezTo>
                  <a:cubicBezTo>
                    <a:pt x="355" y="101"/>
                    <a:pt x="362" y="99"/>
                    <a:pt x="359" y="96"/>
                  </a:cubicBezTo>
                  <a:cubicBezTo>
                    <a:pt x="359" y="96"/>
                    <a:pt x="359" y="95"/>
                    <a:pt x="359" y="95"/>
                  </a:cubicBezTo>
                  <a:cubicBezTo>
                    <a:pt x="356" y="95"/>
                    <a:pt x="344" y="102"/>
                    <a:pt x="342" y="103"/>
                  </a:cubicBezTo>
                  <a:cubicBezTo>
                    <a:pt x="343" y="101"/>
                    <a:pt x="353" y="98"/>
                    <a:pt x="353" y="97"/>
                  </a:cubicBezTo>
                  <a:cubicBezTo>
                    <a:pt x="353" y="95"/>
                    <a:pt x="351" y="95"/>
                    <a:pt x="349" y="95"/>
                  </a:cubicBezTo>
                  <a:cubicBezTo>
                    <a:pt x="347" y="95"/>
                    <a:pt x="343" y="96"/>
                    <a:pt x="342" y="96"/>
                  </a:cubicBezTo>
                  <a:cubicBezTo>
                    <a:pt x="344" y="94"/>
                    <a:pt x="346" y="94"/>
                    <a:pt x="349" y="94"/>
                  </a:cubicBezTo>
                  <a:cubicBezTo>
                    <a:pt x="349" y="94"/>
                    <a:pt x="350" y="94"/>
                    <a:pt x="350" y="94"/>
                  </a:cubicBezTo>
                  <a:cubicBezTo>
                    <a:pt x="351" y="94"/>
                    <a:pt x="352" y="94"/>
                    <a:pt x="352" y="94"/>
                  </a:cubicBezTo>
                  <a:cubicBezTo>
                    <a:pt x="354" y="94"/>
                    <a:pt x="356" y="94"/>
                    <a:pt x="357" y="93"/>
                  </a:cubicBezTo>
                  <a:cubicBezTo>
                    <a:pt x="359" y="93"/>
                    <a:pt x="361" y="90"/>
                    <a:pt x="363" y="90"/>
                  </a:cubicBezTo>
                  <a:cubicBezTo>
                    <a:pt x="363" y="90"/>
                    <a:pt x="363" y="90"/>
                    <a:pt x="363" y="90"/>
                  </a:cubicBezTo>
                  <a:cubicBezTo>
                    <a:pt x="364" y="90"/>
                    <a:pt x="364" y="90"/>
                    <a:pt x="365" y="90"/>
                  </a:cubicBezTo>
                  <a:cubicBezTo>
                    <a:pt x="366" y="90"/>
                    <a:pt x="366" y="90"/>
                    <a:pt x="367" y="90"/>
                  </a:cubicBezTo>
                  <a:cubicBezTo>
                    <a:pt x="367" y="90"/>
                    <a:pt x="368" y="90"/>
                    <a:pt x="369" y="90"/>
                  </a:cubicBezTo>
                  <a:cubicBezTo>
                    <a:pt x="371" y="88"/>
                    <a:pt x="372" y="84"/>
                    <a:pt x="371" y="81"/>
                  </a:cubicBezTo>
                  <a:cubicBezTo>
                    <a:pt x="369" y="78"/>
                    <a:pt x="368" y="78"/>
                    <a:pt x="365" y="78"/>
                  </a:cubicBezTo>
                  <a:cubicBezTo>
                    <a:pt x="363" y="78"/>
                    <a:pt x="361" y="78"/>
                    <a:pt x="359" y="78"/>
                  </a:cubicBezTo>
                  <a:cubicBezTo>
                    <a:pt x="357" y="78"/>
                    <a:pt x="354" y="76"/>
                    <a:pt x="352" y="76"/>
                  </a:cubicBezTo>
                  <a:cubicBezTo>
                    <a:pt x="352" y="76"/>
                    <a:pt x="351" y="76"/>
                    <a:pt x="351" y="76"/>
                  </a:cubicBezTo>
                  <a:cubicBezTo>
                    <a:pt x="348" y="77"/>
                    <a:pt x="347" y="81"/>
                    <a:pt x="344" y="82"/>
                  </a:cubicBezTo>
                  <a:cubicBezTo>
                    <a:pt x="343" y="82"/>
                    <a:pt x="342" y="82"/>
                    <a:pt x="342" y="82"/>
                  </a:cubicBezTo>
                  <a:cubicBezTo>
                    <a:pt x="342" y="82"/>
                    <a:pt x="342" y="82"/>
                    <a:pt x="341" y="82"/>
                  </a:cubicBezTo>
                  <a:cubicBezTo>
                    <a:pt x="341" y="82"/>
                    <a:pt x="341" y="82"/>
                    <a:pt x="341" y="82"/>
                  </a:cubicBezTo>
                  <a:cubicBezTo>
                    <a:pt x="340" y="82"/>
                    <a:pt x="339" y="82"/>
                    <a:pt x="338" y="84"/>
                  </a:cubicBezTo>
                  <a:cubicBezTo>
                    <a:pt x="337" y="87"/>
                    <a:pt x="335" y="92"/>
                    <a:pt x="333" y="94"/>
                  </a:cubicBezTo>
                  <a:cubicBezTo>
                    <a:pt x="331" y="95"/>
                    <a:pt x="328" y="94"/>
                    <a:pt x="326" y="95"/>
                  </a:cubicBezTo>
                  <a:cubicBezTo>
                    <a:pt x="329" y="94"/>
                    <a:pt x="331" y="94"/>
                    <a:pt x="333" y="92"/>
                  </a:cubicBezTo>
                  <a:cubicBezTo>
                    <a:pt x="335" y="90"/>
                    <a:pt x="336" y="88"/>
                    <a:pt x="337" y="85"/>
                  </a:cubicBezTo>
                  <a:cubicBezTo>
                    <a:pt x="338" y="82"/>
                    <a:pt x="339" y="81"/>
                    <a:pt x="343" y="81"/>
                  </a:cubicBezTo>
                  <a:cubicBezTo>
                    <a:pt x="347" y="80"/>
                    <a:pt x="346" y="78"/>
                    <a:pt x="342" y="77"/>
                  </a:cubicBezTo>
                  <a:cubicBezTo>
                    <a:pt x="341" y="77"/>
                    <a:pt x="339" y="77"/>
                    <a:pt x="338" y="77"/>
                  </a:cubicBezTo>
                  <a:cubicBezTo>
                    <a:pt x="335" y="77"/>
                    <a:pt x="332" y="77"/>
                    <a:pt x="330" y="79"/>
                  </a:cubicBezTo>
                  <a:cubicBezTo>
                    <a:pt x="327" y="80"/>
                    <a:pt x="324" y="84"/>
                    <a:pt x="322" y="86"/>
                  </a:cubicBezTo>
                  <a:cubicBezTo>
                    <a:pt x="321" y="87"/>
                    <a:pt x="321" y="88"/>
                    <a:pt x="320" y="89"/>
                  </a:cubicBezTo>
                  <a:cubicBezTo>
                    <a:pt x="319" y="89"/>
                    <a:pt x="319" y="89"/>
                    <a:pt x="319" y="89"/>
                  </a:cubicBezTo>
                  <a:cubicBezTo>
                    <a:pt x="318" y="89"/>
                    <a:pt x="322" y="85"/>
                    <a:pt x="322" y="84"/>
                  </a:cubicBezTo>
                  <a:cubicBezTo>
                    <a:pt x="324" y="82"/>
                    <a:pt x="325" y="81"/>
                    <a:pt x="326" y="79"/>
                  </a:cubicBezTo>
                  <a:cubicBezTo>
                    <a:pt x="328" y="78"/>
                    <a:pt x="331" y="77"/>
                    <a:pt x="334" y="76"/>
                  </a:cubicBezTo>
                  <a:cubicBezTo>
                    <a:pt x="335" y="76"/>
                    <a:pt x="337" y="76"/>
                    <a:pt x="339" y="76"/>
                  </a:cubicBezTo>
                  <a:cubicBezTo>
                    <a:pt x="339" y="76"/>
                    <a:pt x="340" y="76"/>
                    <a:pt x="340" y="76"/>
                  </a:cubicBezTo>
                  <a:cubicBezTo>
                    <a:pt x="342" y="76"/>
                    <a:pt x="343" y="76"/>
                    <a:pt x="345" y="76"/>
                  </a:cubicBezTo>
                  <a:cubicBezTo>
                    <a:pt x="345" y="76"/>
                    <a:pt x="346" y="76"/>
                    <a:pt x="347" y="75"/>
                  </a:cubicBezTo>
                  <a:cubicBezTo>
                    <a:pt x="349" y="74"/>
                    <a:pt x="352" y="72"/>
                    <a:pt x="352" y="70"/>
                  </a:cubicBezTo>
                  <a:cubicBezTo>
                    <a:pt x="352" y="68"/>
                    <a:pt x="348" y="64"/>
                    <a:pt x="347" y="62"/>
                  </a:cubicBezTo>
                  <a:cubicBezTo>
                    <a:pt x="346" y="60"/>
                    <a:pt x="346" y="60"/>
                    <a:pt x="343" y="59"/>
                  </a:cubicBezTo>
                  <a:cubicBezTo>
                    <a:pt x="340" y="59"/>
                    <a:pt x="338" y="58"/>
                    <a:pt x="336" y="57"/>
                  </a:cubicBezTo>
                  <a:cubicBezTo>
                    <a:pt x="334" y="57"/>
                    <a:pt x="332" y="56"/>
                    <a:pt x="331" y="56"/>
                  </a:cubicBezTo>
                  <a:cubicBezTo>
                    <a:pt x="330" y="56"/>
                    <a:pt x="330" y="56"/>
                    <a:pt x="330" y="56"/>
                  </a:cubicBezTo>
                  <a:cubicBezTo>
                    <a:pt x="328" y="57"/>
                    <a:pt x="327" y="59"/>
                    <a:pt x="326" y="59"/>
                  </a:cubicBezTo>
                  <a:cubicBezTo>
                    <a:pt x="325" y="59"/>
                    <a:pt x="325" y="59"/>
                    <a:pt x="325" y="59"/>
                  </a:cubicBezTo>
                  <a:cubicBezTo>
                    <a:pt x="323" y="59"/>
                    <a:pt x="326" y="58"/>
                    <a:pt x="324" y="56"/>
                  </a:cubicBezTo>
                  <a:cubicBezTo>
                    <a:pt x="323" y="55"/>
                    <a:pt x="320" y="55"/>
                    <a:pt x="318" y="55"/>
                  </a:cubicBezTo>
                  <a:cubicBezTo>
                    <a:pt x="317" y="55"/>
                    <a:pt x="316" y="55"/>
                    <a:pt x="316" y="54"/>
                  </a:cubicBezTo>
                  <a:cubicBezTo>
                    <a:pt x="315" y="54"/>
                    <a:pt x="314" y="54"/>
                    <a:pt x="313" y="54"/>
                  </a:cubicBezTo>
                  <a:cubicBezTo>
                    <a:pt x="312" y="53"/>
                    <a:pt x="314" y="53"/>
                    <a:pt x="313" y="53"/>
                  </a:cubicBezTo>
                  <a:cubicBezTo>
                    <a:pt x="310" y="50"/>
                    <a:pt x="305" y="49"/>
                    <a:pt x="301" y="49"/>
                  </a:cubicBezTo>
                  <a:cubicBezTo>
                    <a:pt x="296" y="49"/>
                    <a:pt x="291" y="50"/>
                    <a:pt x="288" y="51"/>
                  </a:cubicBezTo>
                  <a:cubicBezTo>
                    <a:pt x="283" y="52"/>
                    <a:pt x="279" y="53"/>
                    <a:pt x="275" y="55"/>
                  </a:cubicBezTo>
                  <a:cubicBezTo>
                    <a:pt x="272" y="57"/>
                    <a:pt x="268" y="59"/>
                    <a:pt x="270" y="63"/>
                  </a:cubicBezTo>
                  <a:cubicBezTo>
                    <a:pt x="271" y="66"/>
                    <a:pt x="275" y="67"/>
                    <a:pt x="278" y="67"/>
                  </a:cubicBezTo>
                  <a:cubicBezTo>
                    <a:pt x="282" y="69"/>
                    <a:pt x="287" y="71"/>
                    <a:pt x="291" y="73"/>
                  </a:cubicBezTo>
                  <a:cubicBezTo>
                    <a:pt x="292" y="73"/>
                    <a:pt x="293" y="73"/>
                    <a:pt x="294" y="73"/>
                  </a:cubicBezTo>
                  <a:cubicBezTo>
                    <a:pt x="295" y="73"/>
                    <a:pt x="295" y="73"/>
                    <a:pt x="295" y="73"/>
                  </a:cubicBezTo>
                  <a:cubicBezTo>
                    <a:pt x="296" y="73"/>
                    <a:pt x="296" y="73"/>
                    <a:pt x="296" y="73"/>
                  </a:cubicBezTo>
                  <a:cubicBezTo>
                    <a:pt x="297" y="73"/>
                    <a:pt x="297" y="73"/>
                    <a:pt x="298" y="73"/>
                  </a:cubicBezTo>
                  <a:cubicBezTo>
                    <a:pt x="300" y="74"/>
                    <a:pt x="303" y="75"/>
                    <a:pt x="305" y="76"/>
                  </a:cubicBezTo>
                  <a:cubicBezTo>
                    <a:pt x="302" y="76"/>
                    <a:pt x="300" y="74"/>
                    <a:pt x="297" y="74"/>
                  </a:cubicBezTo>
                  <a:cubicBezTo>
                    <a:pt x="296" y="74"/>
                    <a:pt x="296" y="74"/>
                    <a:pt x="296" y="74"/>
                  </a:cubicBezTo>
                  <a:cubicBezTo>
                    <a:pt x="295" y="74"/>
                    <a:pt x="293" y="74"/>
                    <a:pt x="293" y="74"/>
                  </a:cubicBezTo>
                  <a:cubicBezTo>
                    <a:pt x="290" y="75"/>
                    <a:pt x="291" y="75"/>
                    <a:pt x="290" y="77"/>
                  </a:cubicBezTo>
                  <a:cubicBezTo>
                    <a:pt x="290" y="74"/>
                    <a:pt x="290" y="73"/>
                    <a:pt x="287" y="72"/>
                  </a:cubicBezTo>
                  <a:cubicBezTo>
                    <a:pt x="286" y="71"/>
                    <a:pt x="284" y="71"/>
                    <a:pt x="283" y="70"/>
                  </a:cubicBezTo>
                  <a:cubicBezTo>
                    <a:pt x="283" y="70"/>
                    <a:pt x="283" y="70"/>
                    <a:pt x="283" y="70"/>
                  </a:cubicBezTo>
                  <a:cubicBezTo>
                    <a:pt x="283" y="70"/>
                    <a:pt x="283" y="71"/>
                    <a:pt x="282" y="71"/>
                  </a:cubicBezTo>
                  <a:cubicBezTo>
                    <a:pt x="282" y="71"/>
                    <a:pt x="282" y="71"/>
                    <a:pt x="282" y="71"/>
                  </a:cubicBezTo>
                  <a:cubicBezTo>
                    <a:pt x="282" y="71"/>
                    <a:pt x="282" y="71"/>
                    <a:pt x="282" y="71"/>
                  </a:cubicBezTo>
                  <a:cubicBezTo>
                    <a:pt x="281" y="71"/>
                    <a:pt x="282" y="70"/>
                    <a:pt x="281" y="70"/>
                  </a:cubicBezTo>
                  <a:cubicBezTo>
                    <a:pt x="279" y="69"/>
                    <a:pt x="277" y="69"/>
                    <a:pt x="275" y="68"/>
                  </a:cubicBezTo>
                  <a:cubicBezTo>
                    <a:pt x="274" y="68"/>
                    <a:pt x="273" y="68"/>
                    <a:pt x="273" y="68"/>
                  </a:cubicBezTo>
                  <a:cubicBezTo>
                    <a:pt x="271" y="68"/>
                    <a:pt x="271" y="70"/>
                    <a:pt x="270" y="72"/>
                  </a:cubicBezTo>
                  <a:cubicBezTo>
                    <a:pt x="269" y="70"/>
                    <a:pt x="270" y="67"/>
                    <a:pt x="268" y="66"/>
                  </a:cubicBezTo>
                  <a:cubicBezTo>
                    <a:pt x="263" y="67"/>
                    <a:pt x="263" y="67"/>
                    <a:pt x="263" y="67"/>
                  </a:cubicBezTo>
                  <a:cubicBezTo>
                    <a:pt x="260" y="70"/>
                    <a:pt x="263" y="73"/>
                    <a:pt x="265" y="74"/>
                  </a:cubicBezTo>
                  <a:cubicBezTo>
                    <a:pt x="267" y="75"/>
                    <a:pt x="270" y="75"/>
                    <a:pt x="272" y="77"/>
                  </a:cubicBezTo>
                  <a:cubicBezTo>
                    <a:pt x="273" y="78"/>
                    <a:pt x="274" y="79"/>
                    <a:pt x="274" y="81"/>
                  </a:cubicBezTo>
                  <a:cubicBezTo>
                    <a:pt x="274" y="83"/>
                    <a:pt x="275" y="83"/>
                    <a:pt x="276" y="83"/>
                  </a:cubicBezTo>
                  <a:cubicBezTo>
                    <a:pt x="276" y="83"/>
                    <a:pt x="277" y="83"/>
                    <a:pt x="277" y="83"/>
                  </a:cubicBezTo>
                  <a:cubicBezTo>
                    <a:pt x="277" y="83"/>
                    <a:pt x="278" y="83"/>
                    <a:pt x="278" y="83"/>
                  </a:cubicBezTo>
                  <a:cubicBezTo>
                    <a:pt x="278" y="83"/>
                    <a:pt x="279" y="83"/>
                    <a:pt x="279" y="83"/>
                  </a:cubicBezTo>
                  <a:cubicBezTo>
                    <a:pt x="280" y="83"/>
                    <a:pt x="282" y="86"/>
                    <a:pt x="283" y="87"/>
                  </a:cubicBezTo>
                  <a:cubicBezTo>
                    <a:pt x="285" y="89"/>
                    <a:pt x="286" y="90"/>
                    <a:pt x="288" y="90"/>
                  </a:cubicBezTo>
                  <a:cubicBezTo>
                    <a:pt x="288" y="90"/>
                    <a:pt x="287" y="90"/>
                    <a:pt x="286" y="90"/>
                  </a:cubicBezTo>
                  <a:cubicBezTo>
                    <a:pt x="282" y="90"/>
                    <a:pt x="281" y="84"/>
                    <a:pt x="277" y="83"/>
                  </a:cubicBezTo>
                  <a:cubicBezTo>
                    <a:pt x="277" y="83"/>
                    <a:pt x="277" y="83"/>
                    <a:pt x="277" y="83"/>
                  </a:cubicBezTo>
                  <a:cubicBezTo>
                    <a:pt x="273" y="83"/>
                    <a:pt x="276" y="87"/>
                    <a:pt x="277" y="88"/>
                  </a:cubicBezTo>
                  <a:cubicBezTo>
                    <a:pt x="279" y="90"/>
                    <a:pt x="282" y="91"/>
                    <a:pt x="284" y="92"/>
                  </a:cubicBezTo>
                  <a:cubicBezTo>
                    <a:pt x="280" y="91"/>
                    <a:pt x="276" y="90"/>
                    <a:pt x="274" y="86"/>
                  </a:cubicBezTo>
                  <a:cubicBezTo>
                    <a:pt x="272" y="84"/>
                    <a:pt x="273" y="79"/>
                    <a:pt x="270" y="77"/>
                  </a:cubicBezTo>
                  <a:cubicBezTo>
                    <a:pt x="269" y="77"/>
                    <a:pt x="265" y="75"/>
                    <a:pt x="264" y="75"/>
                  </a:cubicBezTo>
                  <a:cubicBezTo>
                    <a:pt x="263" y="75"/>
                    <a:pt x="263" y="75"/>
                    <a:pt x="263" y="75"/>
                  </a:cubicBezTo>
                  <a:cubicBezTo>
                    <a:pt x="261" y="75"/>
                    <a:pt x="262" y="76"/>
                    <a:pt x="261" y="79"/>
                  </a:cubicBezTo>
                  <a:cubicBezTo>
                    <a:pt x="260" y="82"/>
                    <a:pt x="263" y="83"/>
                    <a:pt x="265" y="84"/>
                  </a:cubicBezTo>
                  <a:cubicBezTo>
                    <a:pt x="266" y="84"/>
                    <a:pt x="267" y="84"/>
                    <a:pt x="268" y="85"/>
                  </a:cubicBezTo>
                  <a:cubicBezTo>
                    <a:pt x="269" y="85"/>
                    <a:pt x="268" y="87"/>
                    <a:pt x="270" y="87"/>
                  </a:cubicBezTo>
                  <a:cubicBezTo>
                    <a:pt x="270" y="87"/>
                    <a:pt x="269" y="87"/>
                    <a:pt x="269" y="87"/>
                  </a:cubicBezTo>
                  <a:cubicBezTo>
                    <a:pt x="267" y="87"/>
                    <a:pt x="264" y="85"/>
                    <a:pt x="262" y="85"/>
                  </a:cubicBezTo>
                  <a:cubicBezTo>
                    <a:pt x="260" y="84"/>
                    <a:pt x="259" y="84"/>
                    <a:pt x="257" y="84"/>
                  </a:cubicBezTo>
                  <a:cubicBezTo>
                    <a:pt x="257" y="84"/>
                    <a:pt x="256" y="84"/>
                    <a:pt x="255" y="84"/>
                  </a:cubicBezTo>
                  <a:cubicBezTo>
                    <a:pt x="255" y="84"/>
                    <a:pt x="255" y="84"/>
                    <a:pt x="255" y="84"/>
                  </a:cubicBezTo>
                  <a:cubicBezTo>
                    <a:pt x="252" y="84"/>
                    <a:pt x="257" y="80"/>
                    <a:pt x="258" y="79"/>
                  </a:cubicBezTo>
                  <a:cubicBezTo>
                    <a:pt x="259" y="77"/>
                    <a:pt x="260" y="73"/>
                    <a:pt x="260" y="71"/>
                  </a:cubicBezTo>
                  <a:cubicBezTo>
                    <a:pt x="259" y="70"/>
                    <a:pt x="254" y="66"/>
                    <a:pt x="252" y="65"/>
                  </a:cubicBezTo>
                  <a:cubicBezTo>
                    <a:pt x="252" y="65"/>
                    <a:pt x="252" y="65"/>
                    <a:pt x="252" y="65"/>
                  </a:cubicBezTo>
                  <a:cubicBezTo>
                    <a:pt x="249" y="65"/>
                    <a:pt x="248" y="68"/>
                    <a:pt x="245" y="70"/>
                  </a:cubicBezTo>
                  <a:cubicBezTo>
                    <a:pt x="245" y="70"/>
                    <a:pt x="243" y="71"/>
                    <a:pt x="242" y="72"/>
                  </a:cubicBezTo>
                  <a:cubicBezTo>
                    <a:pt x="242" y="72"/>
                    <a:pt x="242" y="73"/>
                    <a:pt x="242" y="73"/>
                  </a:cubicBezTo>
                  <a:cubicBezTo>
                    <a:pt x="241" y="73"/>
                    <a:pt x="241" y="72"/>
                    <a:pt x="241" y="72"/>
                  </a:cubicBezTo>
                  <a:cubicBezTo>
                    <a:pt x="240" y="72"/>
                    <a:pt x="241" y="71"/>
                    <a:pt x="242" y="70"/>
                  </a:cubicBezTo>
                  <a:cubicBezTo>
                    <a:pt x="244" y="68"/>
                    <a:pt x="245" y="68"/>
                    <a:pt x="243" y="65"/>
                  </a:cubicBezTo>
                  <a:cubicBezTo>
                    <a:pt x="241" y="64"/>
                    <a:pt x="242" y="64"/>
                    <a:pt x="241" y="63"/>
                  </a:cubicBezTo>
                  <a:cubicBezTo>
                    <a:pt x="241" y="62"/>
                    <a:pt x="243" y="61"/>
                    <a:pt x="242" y="61"/>
                  </a:cubicBezTo>
                  <a:cubicBezTo>
                    <a:pt x="241" y="61"/>
                    <a:pt x="241" y="61"/>
                    <a:pt x="241" y="61"/>
                  </a:cubicBezTo>
                  <a:cubicBezTo>
                    <a:pt x="241" y="60"/>
                    <a:pt x="240" y="60"/>
                    <a:pt x="240" y="60"/>
                  </a:cubicBezTo>
                  <a:cubicBezTo>
                    <a:pt x="239" y="60"/>
                    <a:pt x="237" y="64"/>
                    <a:pt x="236" y="64"/>
                  </a:cubicBezTo>
                  <a:cubicBezTo>
                    <a:pt x="235" y="65"/>
                    <a:pt x="232" y="66"/>
                    <a:pt x="232" y="67"/>
                  </a:cubicBezTo>
                  <a:cubicBezTo>
                    <a:pt x="231" y="72"/>
                    <a:pt x="240" y="75"/>
                    <a:pt x="243" y="76"/>
                  </a:cubicBezTo>
                  <a:cubicBezTo>
                    <a:pt x="242" y="76"/>
                    <a:pt x="242" y="76"/>
                    <a:pt x="241" y="76"/>
                  </a:cubicBezTo>
                  <a:cubicBezTo>
                    <a:pt x="237" y="76"/>
                    <a:pt x="235" y="73"/>
                    <a:pt x="232" y="70"/>
                  </a:cubicBezTo>
                  <a:cubicBezTo>
                    <a:pt x="232" y="70"/>
                    <a:pt x="231" y="69"/>
                    <a:pt x="230" y="69"/>
                  </a:cubicBezTo>
                  <a:cubicBezTo>
                    <a:pt x="229" y="69"/>
                    <a:pt x="229" y="70"/>
                    <a:pt x="228" y="71"/>
                  </a:cubicBezTo>
                  <a:cubicBezTo>
                    <a:pt x="228" y="72"/>
                    <a:pt x="229" y="73"/>
                    <a:pt x="228" y="74"/>
                  </a:cubicBezTo>
                  <a:cubicBezTo>
                    <a:pt x="228" y="74"/>
                    <a:pt x="228" y="74"/>
                    <a:pt x="227" y="74"/>
                  </a:cubicBezTo>
                  <a:cubicBezTo>
                    <a:pt x="227" y="74"/>
                    <a:pt x="227" y="74"/>
                    <a:pt x="226" y="74"/>
                  </a:cubicBezTo>
                  <a:cubicBezTo>
                    <a:pt x="226" y="74"/>
                    <a:pt x="226" y="74"/>
                    <a:pt x="226" y="74"/>
                  </a:cubicBezTo>
                  <a:cubicBezTo>
                    <a:pt x="226" y="74"/>
                    <a:pt x="226" y="74"/>
                    <a:pt x="226" y="74"/>
                  </a:cubicBezTo>
                  <a:cubicBezTo>
                    <a:pt x="224" y="75"/>
                    <a:pt x="229" y="77"/>
                    <a:pt x="225" y="80"/>
                  </a:cubicBezTo>
                  <a:cubicBezTo>
                    <a:pt x="224" y="81"/>
                    <a:pt x="222" y="82"/>
                    <a:pt x="221" y="82"/>
                  </a:cubicBezTo>
                  <a:cubicBezTo>
                    <a:pt x="218" y="82"/>
                    <a:pt x="217" y="87"/>
                    <a:pt x="214" y="87"/>
                  </a:cubicBezTo>
                  <a:cubicBezTo>
                    <a:pt x="214" y="87"/>
                    <a:pt x="214" y="87"/>
                    <a:pt x="213" y="87"/>
                  </a:cubicBezTo>
                  <a:cubicBezTo>
                    <a:pt x="214" y="85"/>
                    <a:pt x="218" y="84"/>
                    <a:pt x="217" y="81"/>
                  </a:cubicBezTo>
                  <a:cubicBezTo>
                    <a:pt x="216" y="80"/>
                    <a:pt x="212" y="81"/>
                    <a:pt x="210" y="80"/>
                  </a:cubicBezTo>
                  <a:cubicBezTo>
                    <a:pt x="212" y="77"/>
                    <a:pt x="214" y="78"/>
                    <a:pt x="216" y="78"/>
                  </a:cubicBezTo>
                  <a:cubicBezTo>
                    <a:pt x="216" y="78"/>
                    <a:pt x="217" y="78"/>
                    <a:pt x="217" y="78"/>
                  </a:cubicBezTo>
                  <a:cubicBezTo>
                    <a:pt x="218" y="78"/>
                    <a:pt x="218" y="79"/>
                    <a:pt x="220" y="79"/>
                  </a:cubicBezTo>
                  <a:cubicBezTo>
                    <a:pt x="221" y="79"/>
                    <a:pt x="221" y="79"/>
                    <a:pt x="221" y="79"/>
                  </a:cubicBezTo>
                  <a:cubicBezTo>
                    <a:pt x="223" y="79"/>
                    <a:pt x="220" y="77"/>
                    <a:pt x="219" y="76"/>
                  </a:cubicBezTo>
                  <a:cubicBezTo>
                    <a:pt x="217" y="75"/>
                    <a:pt x="215" y="75"/>
                    <a:pt x="213" y="73"/>
                  </a:cubicBezTo>
                  <a:cubicBezTo>
                    <a:pt x="217" y="73"/>
                    <a:pt x="215" y="73"/>
                    <a:pt x="216" y="70"/>
                  </a:cubicBezTo>
                  <a:cubicBezTo>
                    <a:pt x="217" y="69"/>
                    <a:pt x="219" y="68"/>
                    <a:pt x="220" y="67"/>
                  </a:cubicBezTo>
                  <a:cubicBezTo>
                    <a:pt x="222" y="65"/>
                    <a:pt x="222" y="66"/>
                    <a:pt x="223" y="64"/>
                  </a:cubicBezTo>
                  <a:cubicBezTo>
                    <a:pt x="224" y="63"/>
                    <a:pt x="225" y="60"/>
                    <a:pt x="223" y="60"/>
                  </a:cubicBezTo>
                  <a:cubicBezTo>
                    <a:pt x="223" y="60"/>
                    <a:pt x="222" y="59"/>
                    <a:pt x="222" y="59"/>
                  </a:cubicBezTo>
                  <a:cubicBezTo>
                    <a:pt x="219" y="59"/>
                    <a:pt x="214" y="64"/>
                    <a:pt x="213" y="66"/>
                  </a:cubicBezTo>
                  <a:cubicBezTo>
                    <a:pt x="210" y="68"/>
                    <a:pt x="207" y="71"/>
                    <a:pt x="204" y="71"/>
                  </a:cubicBezTo>
                  <a:cubicBezTo>
                    <a:pt x="205" y="70"/>
                    <a:pt x="207" y="70"/>
                    <a:pt x="208" y="69"/>
                  </a:cubicBezTo>
                  <a:cubicBezTo>
                    <a:pt x="208" y="69"/>
                    <a:pt x="208" y="68"/>
                    <a:pt x="208" y="67"/>
                  </a:cubicBezTo>
                  <a:cubicBezTo>
                    <a:pt x="209" y="66"/>
                    <a:pt x="210" y="66"/>
                    <a:pt x="211" y="65"/>
                  </a:cubicBezTo>
                  <a:cubicBezTo>
                    <a:pt x="213" y="63"/>
                    <a:pt x="215" y="61"/>
                    <a:pt x="218" y="59"/>
                  </a:cubicBezTo>
                  <a:cubicBezTo>
                    <a:pt x="219" y="59"/>
                    <a:pt x="220" y="58"/>
                    <a:pt x="221" y="57"/>
                  </a:cubicBezTo>
                  <a:cubicBezTo>
                    <a:pt x="223" y="57"/>
                    <a:pt x="222" y="56"/>
                    <a:pt x="223" y="55"/>
                  </a:cubicBezTo>
                  <a:cubicBezTo>
                    <a:pt x="223" y="54"/>
                    <a:pt x="229" y="50"/>
                    <a:pt x="229" y="50"/>
                  </a:cubicBezTo>
                  <a:cubicBezTo>
                    <a:pt x="229" y="50"/>
                    <a:pt x="229" y="50"/>
                    <a:pt x="229" y="50"/>
                  </a:cubicBezTo>
                  <a:cubicBezTo>
                    <a:pt x="227" y="46"/>
                    <a:pt x="221" y="45"/>
                    <a:pt x="221" y="40"/>
                  </a:cubicBezTo>
                  <a:cubicBezTo>
                    <a:pt x="220" y="36"/>
                    <a:pt x="225" y="32"/>
                    <a:pt x="218" y="30"/>
                  </a:cubicBezTo>
                  <a:cubicBezTo>
                    <a:pt x="214" y="29"/>
                    <a:pt x="207" y="28"/>
                    <a:pt x="207" y="24"/>
                  </a:cubicBezTo>
                  <a:cubicBezTo>
                    <a:pt x="207" y="22"/>
                    <a:pt x="208" y="20"/>
                    <a:pt x="208" y="18"/>
                  </a:cubicBezTo>
                  <a:cubicBezTo>
                    <a:pt x="207" y="15"/>
                    <a:pt x="207" y="13"/>
                    <a:pt x="205" y="12"/>
                  </a:cubicBezTo>
                  <a:cubicBezTo>
                    <a:pt x="204" y="11"/>
                    <a:pt x="203" y="10"/>
                    <a:pt x="202" y="9"/>
                  </a:cubicBezTo>
                  <a:cubicBezTo>
                    <a:pt x="201" y="8"/>
                    <a:pt x="202" y="7"/>
                    <a:pt x="200" y="6"/>
                  </a:cubicBezTo>
                  <a:cubicBezTo>
                    <a:pt x="199" y="6"/>
                    <a:pt x="198" y="6"/>
                    <a:pt x="197" y="6"/>
                  </a:cubicBezTo>
                  <a:cubicBezTo>
                    <a:pt x="197" y="6"/>
                    <a:pt x="196" y="6"/>
                    <a:pt x="196" y="6"/>
                  </a:cubicBezTo>
                  <a:cubicBezTo>
                    <a:pt x="195" y="6"/>
                    <a:pt x="195" y="6"/>
                    <a:pt x="194" y="6"/>
                  </a:cubicBezTo>
                  <a:cubicBezTo>
                    <a:pt x="194" y="6"/>
                    <a:pt x="194" y="6"/>
                    <a:pt x="194" y="6"/>
                  </a:cubicBezTo>
                  <a:cubicBezTo>
                    <a:pt x="193" y="6"/>
                    <a:pt x="191" y="6"/>
                    <a:pt x="190" y="6"/>
                  </a:cubicBezTo>
                  <a:cubicBezTo>
                    <a:pt x="187" y="6"/>
                    <a:pt x="184" y="6"/>
                    <a:pt x="181" y="6"/>
                  </a:cubicBezTo>
                  <a:cubicBezTo>
                    <a:pt x="180" y="6"/>
                    <a:pt x="180" y="6"/>
                    <a:pt x="180" y="6"/>
                  </a:cubicBezTo>
                  <a:cubicBezTo>
                    <a:pt x="179" y="6"/>
                    <a:pt x="178" y="6"/>
                    <a:pt x="176" y="6"/>
                  </a:cubicBezTo>
                  <a:cubicBezTo>
                    <a:pt x="175" y="5"/>
                    <a:pt x="173" y="5"/>
                    <a:pt x="172" y="5"/>
                  </a:cubicBezTo>
                  <a:cubicBezTo>
                    <a:pt x="171" y="5"/>
                    <a:pt x="170" y="5"/>
                    <a:pt x="169" y="6"/>
                  </a:cubicBezTo>
                  <a:cubicBezTo>
                    <a:pt x="167" y="6"/>
                    <a:pt x="166" y="9"/>
                    <a:pt x="164" y="9"/>
                  </a:cubicBezTo>
                  <a:cubicBezTo>
                    <a:pt x="162" y="9"/>
                    <a:pt x="159" y="9"/>
                    <a:pt x="157" y="10"/>
                  </a:cubicBezTo>
                  <a:cubicBezTo>
                    <a:pt x="153" y="11"/>
                    <a:pt x="149" y="12"/>
                    <a:pt x="146" y="14"/>
                  </a:cubicBezTo>
                  <a:cubicBezTo>
                    <a:pt x="145" y="14"/>
                    <a:pt x="144" y="15"/>
                    <a:pt x="144" y="15"/>
                  </a:cubicBezTo>
                  <a:cubicBezTo>
                    <a:pt x="143" y="16"/>
                    <a:pt x="147" y="17"/>
                    <a:pt x="148" y="17"/>
                  </a:cubicBezTo>
                  <a:cubicBezTo>
                    <a:pt x="151" y="18"/>
                    <a:pt x="152" y="20"/>
                    <a:pt x="150" y="23"/>
                  </a:cubicBezTo>
                  <a:cubicBezTo>
                    <a:pt x="148" y="19"/>
                    <a:pt x="144" y="17"/>
                    <a:pt x="139" y="17"/>
                  </a:cubicBezTo>
                  <a:cubicBezTo>
                    <a:pt x="139" y="17"/>
                    <a:pt x="138" y="17"/>
                    <a:pt x="137" y="17"/>
                  </a:cubicBezTo>
                  <a:cubicBezTo>
                    <a:pt x="135" y="17"/>
                    <a:pt x="133" y="19"/>
                    <a:pt x="131" y="19"/>
                  </a:cubicBezTo>
                  <a:cubicBezTo>
                    <a:pt x="129" y="20"/>
                    <a:pt x="129" y="20"/>
                    <a:pt x="129" y="22"/>
                  </a:cubicBezTo>
                  <a:cubicBezTo>
                    <a:pt x="130" y="24"/>
                    <a:pt x="133" y="26"/>
                    <a:pt x="134" y="28"/>
                  </a:cubicBezTo>
                  <a:cubicBezTo>
                    <a:pt x="133" y="27"/>
                    <a:pt x="129" y="26"/>
                    <a:pt x="127" y="24"/>
                  </a:cubicBezTo>
                  <a:cubicBezTo>
                    <a:pt x="125" y="23"/>
                    <a:pt x="126" y="21"/>
                    <a:pt x="123" y="21"/>
                  </a:cubicBezTo>
                  <a:cubicBezTo>
                    <a:pt x="123" y="21"/>
                    <a:pt x="123" y="21"/>
                    <a:pt x="123" y="21"/>
                  </a:cubicBezTo>
                  <a:cubicBezTo>
                    <a:pt x="121" y="21"/>
                    <a:pt x="120" y="22"/>
                    <a:pt x="120" y="24"/>
                  </a:cubicBezTo>
                  <a:cubicBezTo>
                    <a:pt x="119" y="23"/>
                    <a:pt x="119" y="23"/>
                    <a:pt x="119" y="23"/>
                  </a:cubicBezTo>
                  <a:cubicBezTo>
                    <a:pt x="119" y="23"/>
                    <a:pt x="118" y="23"/>
                    <a:pt x="118" y="24"/>
                  </a:cubicBezTo>
                  <a:cubicBezTo>
                    <a:pt x="120" y="22"/>
                    <a:pt x="119" y="22"/>
                    <a:pt x="119" y="19"/>
                  </a:cubicBezTo>
                  <a:cubicBezTo>
                    <a:pt x="119" y="17"/>
                    <a:pt x="120" y="9"/>
                    <a:pt x="119" y="9"/>
                  </a:cubicBezTo>
                  <a:cubicBezTo>
                    <a:pt x="119" y="9"/>
                    <a:pt x="118" y="10"/>
                    <a:pt x="118" y="10"/>
                  </a:cubicBezTo>
                  <a:cubicBezTo>
                    <a:pt x="118" y="9"/>
                    <a:pt x="119" y="8"/>
                    <a:pt x="119" y="7"/>
                  </a:cubicBezTo>
                  <a:cubicBezTo>
                    <a:pt x="120" y="8"/>
                    <a:pt x="119" y="8"/>
                    <a:pt x="120" y="9"/>
                  </a:cubicBezTo>
                  <a:cubicBezTo>
                    <a:pt x="124" y="7"/>
                    <a:pt x="123" y="5"/>
                    <a:pt x="119" y="3"/>
                  </a:cubicBezTo>
                  <a:cubicBezTo>
                    <a:pt x="119" y="4"/>
                    <a:pt x="119" y="4"/>
                    <a:pt x="119" y="4"/>
                  </a:cubicBezTo>
                  <a:cubicBezTo>
                    <a:pt x="119" y="3"/>
                    <a:pt x="119" y="2"/>
                    <a:pt x="118" y="2"/>
                  </a:cubicBezTo>
                  <a:cubicBezTo>
                    <a:pt x="114" y="1"/>
                    <a:pt x="109" y="2"/>
                    <a:pt x="105" y="1"/>
                  </a:cubicBezTo>
                  <a:cubicBezTo>
                    <a:pt x="100" y="0"/>
                    <a:pt x="94" y="0"/>
                    <a:pt x="8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6" name="Freeform 299">
              <a:extLst>
                <a:ext uri="{FF2B5EF4-FFF2-40B4-BE49-F238E27FC236}">
                  <a16:creationId xmlns:a16="http://schemas.microsoft.com/office/drawing/2014/main" id="{8E0A3D40-F36F-487C-896D-C386149F9937}"/>
                </a:ext>
              </a:extLst>
            </p:cNvPr>
            <p:cNvSpPr>
              <a:spLocks/>
            </p:cNvSpPr>
            <p:nvPr/>
          </p:nvSpPr>
          <p:spPr bwMode="auto">
            <a:xfrm>
              <a:off x="9994891" y="2277297"/>
              <a:ext cx="3175" cy="15875"/>
            </a:xfrm>
            <a:custGeom>
              <a:avLst/>
              <a:gdLst>
                <a:gd name="T0" fmla="*/ 1 w 1"/>
                <a:gd name="T1" fmla="*/ 0 h 4"/>
                <a:gd name="T2" fmla="*/ 1 w 1"/>
                <a:gd name="T3" fmla="*/ 4 h 4"/>
                <a:gd name="T4" fmla="*/ 1 w 1"/>
                <a:gd name="T5" fmla="*/ 3 h 4"/>
                <a:gd name="T6" fmla="*/ 1 w 1"/>
                <a:gd name="T7" fmla="*/ 2 h 4"/>
                <a:gd name="T8" fmla="*/ 1 w 1"/>
                <a:gd name="T9" fmla="*/ 2 h 4"/>
                <a:gd name="T10" fmla="*/ 1 w 1"/>
                <a:gd name="T11" fmla="*/ 2 h 4"/>
                <a:gd name="T12" fmla="*/ 1 w 1"/>
                <a:gd name="T13" fmla="*/ 1 h 4"/>
                <a:gd name="T14" fmla="*/ 1 w 1"/>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4">
                  <a:moveTo>
                    <a:pt x="1" y="0"/>
                  </a:moveTo>
                  <a:cubicBezTo>
                    <a:pt x="0" y="1"/>
                    <a:pt x="0" y="3"/>
                    <a:pt x="1" y="4"/>
                  </a:cubicBezTo>
                  <a:cubicBezTo>
                    <a:pt x="1" y="3"/>
                    <a:pt x="1" y="3"/>
                    <a:pt x="1" y="3"/>
                  </a:cubicBezTo>
                  <a:cubicBezTo>
                    <a:pt x="1" y="3"/>
                    <a:pt x="1" y="3"/>
                    <a:pt x="1" y="2"/>
                  </a:cubicBezTo>
                  <a:cubicBezTo>
                    <a:pt x="1" y="2"/>
                    <a:pt x="1" y="2"/>
                    <a:pt x="1" y="2"/>
                  </a:cubicBezTo>
                  <a:cubicBezTo>
                    <a:pt x="1" y="2"/>
                    <a:pt x="1" y="2"/>
                    <a:pt x="1" y="2"/>
                  </a:cubicBezTo>
                  <a:cubicBezTo>
                    <a:pt x="1" y="1"/>
                    <a:pt x="1" y="1"/>
                    <a:pt x="1" y="1"/>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7" name="Freeform 300">
              <a:extLst>
                <a:ext uri="{FF2B5EF4-FFF2-40B4-BE49-F238E27FC236}">
                  <a16:creationId xmlns:a16="http://schemas.microsoft.com/office/drawing/2014/main" id="{26CDFB79-ED0D-4273-A5CA-5A30D85E240E}"/>
                </a:ext>
              </a:extLst>
            </p:cNvPr>
            <p:cNvSpPr>
              <a:spLocks/>
            </p:cNvSpPr>
            <p:nvPr/>
          </p:nvSpPr>
          <p:spPr bwMode="auto">
            <a:xfrm>
              <a:off x="7186604" y="1823272"/>
              <a:ext cx="22225" cy="30163"/>
            </a:xfrm>
            <a:custGeom>
              <a:avLst/>
              <a:gdLst>
                <a:gd name="T0" fmla="*/ 3 w 6"/>
                <a:gd name="T1" fmla="*/ 0 h 8"/>
                <a:gd name="T2" fmla="*/ 3 w 6"/>
                <a:gd name="T3" fmla="*/ 0 h 8"/>
                <a:gd name="T4" fmla="*/ 2 w 6"/>
                <a:gd name="T5" fmla="*/ 1 h 8"/>
                <a:gd name="T6" fmla="*/ 1 w 6"/>
                <a:gd name="T7" fmla="*/ 2 h 8"/>
                <a:gd name="T8" fmla="*/ 6 w 6"/>
                <a:gd name="T9" fmla="*/ 8 h 8"/>
                <a:gd name="T10" fmla="*/ 6 w 6"/>
                <a:gd name="T11" fmla="*/ 7 h 8"/>
                <a:gd name="T12" fmla="*/ 6 w 6"/>
                <a:gd name="T13" fmla="*/ 5 h 8"/>
                <a:gd name="T14" fmla="*/ 6 w 6"/>
                <a:gd name="T15" fmla="*/ 4 h 8"/>
                <a:gd name="T16" fmla="*/ 5 w 6"/>
                <a:gd name="T17" fmla="*/ 1 h 8"/>
                <a:gd name="T18" fmla="*/ 3 w 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8">
                  <a:moveTo>
                    <a:pt x="3" y="0"/>
                  </a:moveTo>
                  <a:cubicBezTo>
                    <a:pt x="3" y="0"/>
                    <a:pt x="3" y="0"/>
                    <a:pt x="3" y="0"/>
                  </a:cubicBezTo>
                  <a:cubicBezTo>
                    <a:pt x="3" y="0"/>
                    <a:pt x="2" y="1"/>
                    <a:pt x="2" y="1"/>
                  </a:cubicBezTo>
                  <a:cubicBezTo>
                    <a:pt x="1" y="2"/>
                    <a:pt x="1" y="2"/>
                    <a:pt x="1" y="2"/>
                  </a:cubicBezTo>
                  <a:cubicBezTo>
                    <a:pt x="0" y="5"/>
                    <a:pt x="5" y="7"/>
                    <a:pt x="6" y="8"/>
                  </a:cubicBezTo>
                  <a:cubicBezTo>
                    <a:pt x="6" y="7"/>
                    <a:pt x="6" y="7"/>
                    <a:pt x="6" y="7"/>
                  </a:cubicBezTo>
                  <a:cubicBezTo>
                    <a:pt x="6" y="6"/>
                    <a:pt x="6" y="6"/>
                    <a:pt x="6" y="5"/>
                  </a:cubicBezTo>
                  <a:cubicBezTo>
                    <a:pt x="6" y="4"/>
                    <a:pt x="6" y="4"/>
                    <a:pt x="6" y="4"/>
                  </a:cubicBezTo>
                  <a:cubicBezTo>
                    <a:pt x="6" y="3"/>
                    <a:pt x="6" y="2"/>
                    <a:pt x="5"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8" name="Freeform 301">
              <a:extLst>
                <a:ext uri="{FF2B5EF4-FFF2-40B4-BE49-F238E27FC236}">
                  <a16:creationId xmlns:a16="http://schemas.microsoft.com/office/drawing/2014/main" id="{CC43644F-0650-43F8-9052-ACEE4E08D555}"/>
                </a:ext>
              </a:extLst>
            </p:cNvPr>
            <p:cNvSpPr>
              <a:spLocks/>
            </p:cNvSpPr>
            <p:nvPr/>
          </p:nvSpPr>
          <p:spPr bwMode="auto">
            <a:xfrm>
              <a:off x="10272704" y="3051997"/>
              <a:ext cx="36513" cy="19050"/>
            </a:xfrm>
            <a:custGeom>
              <a:avLst/>
              <a:gdLst>
                <a:gd name="T0" fmla="*/ 0 w 10"/>
                <a:gd name="T1" fmla="*/ 0 h 5"/>
                <a:gd name="T2" fmla="*/ 1 w 10"/>
                <a:gd name="T3" fmla="*/ 2 h 5"/>
                <a:gd name="T4" fmla="*/ 1 w 10"/>
                <a:gd name="T5" fmla="*/ 2 h 5"/>
                <a:gd name="T6" fmla="*/ 2 w 10"/>
                <a:gd name="T7" fmla="*/ 3 h 5"/>
                <a:gd name="T8" fmla="*/ 3 w 10"/>
                <a:gd name="T9" fmla="*/ 3 h 5"/>
                <a:gd name="T10" fmla="*/ 8 w 10"/>
                <a:gd name="T11" fmla="*/ 5 h 5"/>
                <a:gd name="T12" fmla="*/ 10 w 10"/>
                <a:gd name="T13" fmla="*/ 3 h 5"/>
                <a:gd name="T14" fmla="*/ 3 w 10"/>
                <a:gd name="T15" fmla="*/ 0 h 5"/>
                <a:gd name="T16" fmla="*/ 1 w 10"/>
                <a:gd name="T17" fmla="*/ 0 h 5"/>
                <a:gd name="T18" fmla="*/ 1 w 10"/>
                <a:gd name="T19" fmla="*/ 0 h 5"/>
                <a:gd name="T20" fmla="*/ 0 w 10"/>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5">
                  <a:moveTo>
                    <a:pt x="0" y="0"/>
                  </a:moveTo>
                  <a:cubicBezTo>
                    <a:pt x="0" y="1"/>
                    <a:pt x="0" y="1"/>
                    <a:pt x="1" y="2"/>
                  </a:cubicBezTo>
                  <a:cubicBezTo>
                    <a:pt x="1" y="2"/>
                    <a:pt x="1" y="2"/>
                    <a:pt x="1" y="2"/>
                  </a:cubicBezTo>
                  <a:cubicBezTo>
                    <a:pt x="2" y="3"/>
                    <a:pt x="2" y="3"/>
                    <a:pt x="2" y="3"/>
                  </a:cubicBezTo>
                  <a:cubicBezTo>
                    <a:pt x="3" y="3"/>
                    <a:pt x="3" y="3"/>
                    <a:pt x="3" y="3"/>
                  </a:cubicBezTo>
                  <a:cubicBezTo>
                    <a:pt x="4" y="4"/>
                    <a:pt x="6" y="4"/>
                    <a:pt x="8" y="5"/>
                  </a:cubicBezTo>
                  <a:cubicBezTo>
                    <a:pt x="8" y="4"/>
                    <a:pt x="9" y="4"/>
                    <a:pt x="10" y="3"/>
                  </a:cubicBezTo>
                  <a:cubicBezTo>
                    <a:pt x="7" y="2"/>
                    <a:pt x="5" y="1"/>
                    <a:pt x="3" y="0"/>
                  </a:cubicBezTo>
                  <a:cubicBezTo>
                    <a:pt x="2" y="0"/>
                    <a:pt x="1" y="0"/>
                    <a:pt x="1" y="0"/>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9" name="Freeform 302">
              <a:extLst>
                <a:ext uri="{FF2B5EF4-FFF2-40B4-BE49-F238E27FC236}">
                  <a16:creationId xmlns:a16="http://schemas.microsoft.com/office/drawing/2014/main" id="{3CF84CD6-675E-489B-A4A7-9FA51B5CAE5E}"/>
                </a:ext>
              </a:extLst>
            </p:cNvPr>
            <p:cNvSpPr>
              <a:spLocks/>
            </p:cNvSpPr>
            <p:nvPr/>
          </p:nvSpPr>
          <p:spPr bwMode="auto">
            <a:xfrm>
              <a:off x="7148504" y="1583559"/>
              <a:ext cx="46038" cy="36513"/>
            </a:xfrm>
            <a:custGeom>
              <a:avLst/>
              <a:gdLst>
                <a:gd name="T0" fmla="*/ 1 w 12"/>
                <a:gd name="T1" fmla="*/ 0 h 10"/>
                <a:gd name="T2" fmla="*/ 0 w 12"/>
                <a:gd name="T3" fmla="*/ 4 h 10"/>
                <a:gd name="T4" fmla="*/ 2 w 12"/>
                <a:gd name="T5" fmla="*/ 6 h 10"/>
                <a:gd name="T6" fmla="*/ 3 w 12"/>
                <a:gd name="T7" fmla="*/ 6 h 10"/>
                <a:gd name="T8" fmla="*/ 6 w 12"/>
                <a:gd name="T9" fmla="*/ 8 h 10"/>
                <a:gd name="T10" fmla="*/ 11 w 12"/>
                <a:gd name="T11" fmla="*/ 10 h 10"/>
                <a:gd name="T12" fmla="*/ 11 w 12"/>
                <a:gd name="T13" fmla="*/ 10 h 10"/>
                <a:gd name="T14" fmla="*/ 11 w 12"/>
                <a:gd name="T15" fmla="*/ 5 h 10"/>
                <a:gd name="T16" fmla="*/ 6 w 12"/>
                <a:gd name="T17" fmla="*/ 1 h 10"/>
                <a:gd name="T18" fmla="*/ 2 w 12"/>
                <a:gd name="T19" fmla="*/ 1 h 10"/>
                <a:gd name="T20" fmla="*/ 1 w 12"/>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0">
                  <a:moveTo>
                    <a:pt x="1" y="0"/>
                  </a:moveTo>
                  <a:cubicBezTo>
                    <a:pt x="0" y="2"/>
                    <a:pt x="0" y="3"/>
                    <a:pt x="0" y="4"/>
                  </a:cubicBezTo>
                  <a:cubicBezTo>
                    <a:pt x="1" y="5"/>
                    <a:pt x="1" y="6"/>
                    <a:pt x="2" y="6"/>
                  </a:cubicBezTo>
                  <a:cubicBezTo>
                    <a:pt x="3" y="6"/>
                    <a:pt x="3" y="6"/>
                    <a:pt x="3" y="6"/>
                  </a:cubicBezTo>
                  <a:cubicBezTo>
                    <a:pt x="4" y="7"/>
                    <a:pt x="5" y="8"/>
                    <a:pt x="6" y="8"/>
                  </a:cubicBezTo>
                  <a:cubicBezTo>
                    <a:pt x="8" y="9"/>
                    <a:pt x="10" y="10"/>
                    <a:pt x="11" y="10"/>
                  </a:cubicBezTo>
                  <a:cubicBezTo>
                    <a:pt x="11" y="10"/>
                    <a:pt x="11" y="10"/>
                    <a:pt x="11" y="10"/>
                  </a:cubicBezTo>
                  <a:cubicBezTo>
                    <a:pt x="12" y="8"/>
                    <a:pt x="12" y="6"/>
                    <a:pt x="11" y="5"/>
                  </a:cubicBezTo>
                  <a:cubicBezTo>
                    <a:pt x="10" y="3"/>
                    <a:pt x="8" y="2"/>
                    <a:pt x="6" y="1"/>
                  </a:cubicBezTo>
                  <a:cubicBezTo>
                    <a:pt x="4" y="1"/>
                    <a:pt x="3" y="1"/>
                    <a:pt x="2" y="1"/>
                  </a:cubicBezTo>
                  <a:cubicBezTo>
                    <a:pt x="1"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0" name="Freeform 303">
              <a:extLst>
                <a:ext uri="{FF2B5EF4-FFF2-40B4-BE49-F238E27FC236}">
                  <a16:creationId xmlns:a16="http://schemas.microsoft.com/office/drawing/2014/main" id="{FD37BB69-FF70-4F68-B7E8-72D40DDAE1EA}"/>
                </a:ext>
              </a:extLst>
            </p:cNvPr>
            <p:cNvSpPr>
              <a:spLocks/>
            </p:cNvSpPr>
            <p:nvPr/>
          </p:nvSpPr>
          <p:spPr bwMode="auto">
            <a:xfrm>
              <a:off x="6499216" y="2045522"/>
              <a:ext cx="19050" cy="25400"/>
            </a:xfrm>
            <a:custGeom>
              <a:avLst/>
              <a:gdLst>
                <a:gd name="T0" fmla="*/ 3 w 5"/>
                <a:gd name="T1" fmla="*/ 0 h 7"/>
                <a:gd name="T2" fmla="*/ 1 w 5"/>
                <a:gd name="T3" fmla="*/ 0 h 7"/>
                <a:gd name="T4" fmla="*/ 1 w 5"/>
                <a:gd name="T5" fmla="*/ 1 h 7"/>
                <a:gd name="T6" fmla="*/ 1 w 5"/>
                <a:gd name="T7" fmla="*/ 1 h 7"/>
                <a:gd name="T8" fmla="*/ 1 w 5"/>
                <a:gd name="T9" fmla="*/ 1 h 7"/>
                <a:gd name="T10" fmla="*/ 1 w 5"/>
                <a:gd name="T11" fmla="*/ 5 h 7"/>
                <a:gd name="T12" fmla="*/ 1 w 5"/>
                <a:gd name="T13" fmla="*/ 6 h 7"/>
                <a:gd name="T14" fmla="*/ 2 w 5"/>
                <a:gd name="T15" fmla="*/ 7 h 7"/>
                <a:gd name="T16" fmla="*/ 2 w 5"/>
                <a:gd name="T17" fmla="*/ 7 h 7"/>
                <a:gd name="T18" fmla="*/ 2 w 5"/>
                <a:gd name="T19" fmla="*/ 7 h 7"/>
                <a:gd name="T20" fmla="*/ 2 w 5"/>
                <a:gd name="T21" fmla="*/ 7 h 7"/>
                <a:gd name="T22" fmla="*/ 5 w 5"/>
                <a:gd name="T23" fmla="*/ 4 h 7"/>
                <a:gd name="T24" fmla="*/ 5 w 5"/>
                <a:gd name="T25" fmla="*/ 3 h 7"/>
                <a:gd name="T26" fmla="*/ 4 w 5"/>
                <a:gd name="T27" fmla="*/ 1 h 7"/>
                <a:gd name="T28" fmla="*/ 4 w 5"/>
                <a:gd name="T29" fmla="*/ 1 h 7"/>
                <a:gd name="T30" fmla="*/ 4 w 5"/>
                <a:gd name="T31" fmla="*/ 1 h 7"/>
                <a:gd name="T32" fmla="*/ 4 w 5"/>
                <a:gd name="T33" fmla="*/ 1 h 7"/>
                <a:gd name="T34" fmla="*/ 3 w 5"/>
                <a:gd name="T3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7">
                  <a:moveTo>
                    <a:pt x="3" y="0"/>
                  </a:moveTo>
                  <a:cubicBezTo>
                    <a:pt x="2" y="0"/>
                    <a:pt x="2" y="0"/>
                    <a:pt x="1" y="0"/>
                  </a:cubicBezTo>
                  <a:cubicBezTo>
                    <a:pt x="1" y="1"/>
                    <a:pt x="1" y="1"/>
                    <a:pt x="1" y="1"/>
                  </a:cubicBezTo>
                  <a:cubicBezTo>
                    <a:pt x="1" y="1"/>
                    <a:pt x="1" y="1"/>
                    <a:pt x="1" y="1"/>
                  </a:cubicBezTo>
                  <a:cubicBezTo>
                    <a:pt x="1" y="1"/>
                    <a:pt x="1" y="1"/>
                    <a:pt x="1" y="1"/>
                  </a:cubicBezTo>
                  <a:cubicBezTo>
                    <a:pt x="0" y="2"/>
                    <a:pt x="0" y="4"/>
                    <a:pt x="1" y="5"/>
                  </a:cubicBezTo>
                  <a:cubicBezTo>
                    <a:pt x="1" y="6"/>
                    <a:pt x="1" y="6"/>
                    <a:pt x="1" y="6"/>
                  </a:cubicBezTo>
                  <a:cubicBezTo>
                    <a:pt x="1" y="6"/>
                    <a:pt x="1" y="7"/>
                    <a:pt x="2" y="7"/>
                  </a:cubicBezTo>
                  <a:cubicBezTo>
                    <a:pt x="2" y="7"/>
                    <a:pt x="2" y="7"/>
                    <a:pt x="2" y="7"/>
                  </a:cubicBezTo>
                  <a:cubicBezTo>
                    <a:pt x="2" y="7"/>
                    <a:pt x="2" y="7"/>
                    <a:pt x="2" y="7"/>
                  </a:cubicBezTo>
                  <a:cubicBezTo>
                    <a:pt x="2" y="7"/>
                    <a:pt x="2" y="7"/>
                    <a:pt x="2" y="7"/>
                  </a:cubicBezTo>
                  <a:cubicBezTo>
                    <a:pt x="5" y="7"/>
                    <a:pt x="5" y="5"/>
                    <a:pt x="5" y="4"/>
                  </a:cubicBezTo>
                  <a:cubicBezTo>
                    <a:pt x="5" y="3"/>
                    <a:pt x="5" y="3"/>
                    <a:pt x="5" y="3"/>
                  </a:cubicBezTo>
                  <a:cubicBezTo>
                    <a:pt x="5" y="3"/>
                    <a:pt x="5" y="2"/>
                    <a:pt x="4" y="1"/>
                  </a:cubicBezTo>
                  <a:cubicBezTo>
                    <a:pt x="4" y="1"/>
                    <a:pt x="4" y="1"/>
                    <a:pt x="4" y="1"/>
                  </a:cubicBezTo>
                  <a:cubicBezTo>
                    <a:pt x="4" y="1"/>
                    <a:pt x="4" y="1"/>
                    <a:pt x="4" y="1"/>
                  </a:cubicBezTo>
                  <a:cubicBezTo>
                    <a:pt x="4" y="1"/>
                    <a:pt x="4" y="1"/>
                    <a:pt x="4" y="1"/>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1" name="Freeform 304">
              <a:extLst>
                <a:ext uri="{FF2B5EF4-FFF2-40B4-BE49-F238E27FC236}">
                  <a16:creationId xmlns:a16="http://schemas.microsoft.com/office/drawing/2014/main" id="{FA1BCE2F-CAEC-4DA5-AE01-DF5A853D6CC4}"/>
                </a:ext>
              </a:extLst>
            </p:cNvPr>
            <p:cNvSpPr>
              <a:spLocks/>
            </p:cNvSpPr>
            <p:nvPr/>
          </p:nvSpPr>
          <p:spPr bwMode="auto">
            <a:xfrm>
              <a:off x="8342304" y="1951859"/>
              <a:ext cx="52388" cy="85725"/>
            </a:xfrm>
            <a:custGeom>
              <a:avLst/>
              <a:gdLst>
                <a:gd name="T0" fmla="*/ 8 w 14"/>
                <a:gd name="T1" fmla="*/ 0 h 23"/>
                <a:gd name="T2" fmla="*/ 8 w 14"/>
                <a:gd name="T3" fmla="*/ 0 h 23"/>
                <a:gd name="T4" fmla="*/ 4 w 14"/>
                <a:gd name="T5" fmla="*/ 3 h 23"/>
                <a:gd name="T6" fmla="*/ 1 w 14"/>
                <a:gd name="T7" fmla="*/ 7 h 23"/>
                <a:gd name="T8" fmla="*/ 0 w 14"/>
                <a:gd name="T9" fmla="*/ 8 h 23"/>
                <a:gd name="T10" fmla="*/ 2 w 14"/>
                <a:gd name="T11" fmla="*/ 11 h 23"/>
                <a:gd name="T12" fmla="*/ 4 w 14"/>
                <a:gd name="T13" fmla="*/ 14 h 23"/>
                <a:gd name="T14" fmla="*/ 2 w 14"/>
                <a:gd name="T15" fmla="*/ 15 h 23"/>
                <a:gd name="T16" fmla="*/ 1 w 14"/>
                <a:gd name="T17" fmla="*/ 16 h 23"/>
                <a:gd name="T18" fmla="*/ 2 w 14"/>
                <a:gd name="T19" fmla="*/ 17 h 23"/>
                <a:gd name="T20" fmla="*/ 2 w 14"/>
                <a:gd name="T21" fmla="*/ 17 h 23"/>
                <a:gd name="T22" fmla="*/ 3 w 14"/>
                <a:gd name="T23" fmla="*/ 19 h 23"/>
                <a:gd name="T24" fmla="*/ 5 w 14"/>
                <a:gd name="T25" fmla="*/ 21 h 23"/>
                <a:gd name="T26" fmla="*/ 7 w 14"/>
                <a:gd name="T27" fmla="*/ 22 h 23"/>
                <a:gd name="T28" fmla="*/ 9 w 14"/>
                <a:gd name="T29" fmla="*/ 23 h 23"/>
                <a:gd name="T30" fmla="*/ 13 w 14"/>
                <a:gd name="T31" fmla="*/ 19 h 23"/>
                <a:gd name="T32" fmla="*/ 13 w 14"/>
                <a:gd name="T33" fmla="*/ 5 h 23"/>
                <a:gd name="T34" fmla="*/ 13 w 14"/>
                <a:gd name="T35" fmla="*/ 5 h 23"/>
                <a:gd name="T36" fmla="*/ 13 w 14"/>
                <a:gd name="T37" fmla="*/ 5 h 23"/>
                <a:gd name="T38" fmla="*/ 11 w 14"/>
                <a:gd name="T39" fmla="*/ 2 h 23"/>
                <a:gd name="T40" fmla="*/ 8 w 14"/>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3">
                  <a:moveTo>
                    <a:pt x="8" y="0"/>
                  </a:moveTo>
                  <a:cubicBezTo>
                    <a:pt x="8" y="0"/>
                    <a:pt x="8" y="0"/>
                    <a:pt x="8" y="0"/>
                  </a:cubicBezTo>
                  <a:cubicBezTo>
                    <a:pt x="6" y="0"/>
                    <a:pt x="5" y="2"/>
                    <a:pt x="4" y="3"/>
                  </a:cubicBezTo>
                  <a:cubicBezTo>
                    <a:pt x="3" y="4"/>
                    <a:pt x="2" y="6"/>
                    <a:pt x="1" y="7"/>
                  </a:cubicBezTo>
                  <a:cubicBezTo>
                    <a:pt x="1" y="7"/>
                    <a:pt x="0" y="8"/>
                    <a:pt x="0" y="8"/>
                  </a:cubicBezTo>
                  <a:cubicBezTo>
                    <a:pt x="0" y="9"/>
                    <a:pt x="1" y="10"/>
                    <a:pt x="2" y="11"/>
                  </a:cubicBezTo>
                  <a:cubicBezTo>
                    <a:pt x="3" y="12"/>
                    <a:pt x="4" y="12"/>
                    <a:pt x="4" y="14"/>
                  </a:cubicBezTo>
                  <a:cubicBezTo>
                    <a:pt x="3" y="14"/>
                    <a:pt x="2" y="14"/>
                    <a:pt x="2" y="15"/>
                  </a:cubicBezTo>
                  <a:cubicBezTo>
                    <a:pt x="1" y="16"/>
                    <a:pt x="1" y="16"/>
                    <a:pt x="1" y="16"/>
                  </a:cubicBezTo>
                  <a:cubicBezTo>
                    <a:pt x="1" y="16"/>
                    <a:pt x="2" y="16"/>
                    <a:pt x="2" y="17"/>
                  </a:cubicBezTo>
                  <a:cubicBezTo>
                    <a:pt x="2" y="17"/>
                    <a:pt x="2" y="17"/>
                    <a:pt x="2" y="17"/>
                  </a:cubicBezTo>
                  <a:cubicBezTo>
                    <a:pt x="2" y="18"/>
                    <a:pt x="3" y="19"/>
                    <a:pt x="3" y="19"/>
                  </a:cubicBezTo>
                  <a:cubicBezTo>
                    <a:pt x="3" y="20"/>
                    <a:pt x="4" y="20"/>
                    <a:pt x="5" y="21"/>
                  </a:cubicBezTo>
                  <a:cubicBezTo>
                    <a:pt x="6" y="22"/>
                    <a:pt x="6" y="22"/>
                    <a:pt x="7" y="22"/>
                  </a:cubicBezTo>
                  <a:cubicBezTo>
                    <a:pt x="8" y="23"/>
                    <a:pt x="8" y="23"/>
                    <a:pt x="9" y="23"/>
                  </a:cubicBezTo>
                  <a:cubicBezTo>
                    <a:pt x="11" y="23"/>
                    <a:pt x="13" y="21"/>
                    <a:pt x="13" y="19"/>
                  </a:cubicBezTo>
                  <a:cubicBezTo>
                    <a:pt x="14" y="14"/>
                    <a:pt x="14" y="8"/>
                    <a:pt x="13" y="5"/>
                  </a:cubicBezTo>
                  <a:cubicBezTo>
                    <a:pt x="13" y="5"/>
                    <a:pt x="13" y="5"/>
                    <a:pt x="13" y="5"/>
                  </a:cubicBezTo>
                  <a:cubicBezTo>
                    <a:pt x="13" y="5"/>
                    <a:pt x="13" y="5"/>
                    <a:pt x="13" y="5"/>
                  </a:cubicBezTo>
                  <a:cubicBezTo>
                    <a:pt x="13" y="4"/>
                    <a:pt x="12" y="3"/>
                    <a:pt x="11" y="2"/>
                  </a:cubicBezTo>
                  <a:cubicBezTo>
                    <a:pt x="10" y="1"/>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2" name="Freeform 305">
              <a:extLst>
                <a:ext uri="{FF2B5EF4-FFF2-40B4-BE49-F238E27FC236}">
                  <a16:creationId xmlns:a16="http://schemas.microsoft.com/office/drawing/2014/main" id="{C0DE8606-56D8-4775-8554-667FFC8BB163}"/>
                </a:ext>
              </a:extLst>
            </p:cNvPr>
            <p:cNvSpPr>
              <a:spLocks/>
            </p:cNvSpPr>
            <p:nvPr/>
          </p:nvSpPr>
          <p:spPr bwMode="auto">
            <a:xfrm>
              <a:off x="9067791" y="3005959"/>
              <a:ext cx="41275" cy="12700"/>
            </a:xfrm>
            <a:custGeom>
              <a:avLst/>
              <a:gdLst>
                <a:gd name="T0" fmla="*/ 11 w 11"/>
                <a:gd name="T1" fmla="*/ 0 h 3"/>
                <a:gd name="T2" fmla="*/ 8 w 11"/>
                <a:gd name="T3" fmla="*/ 0 h 3"/>
                <a:gd name="T4" fmla="*/ 1 w 11"/>
                <a:gd name="T5" fmla="*/ 2 h 3"/>
                <a:gd name="T6" fmla="*/ 1 w 11"/>
                <a:gd name="T7" fmla="*/ 2 h 3"/>
                <a:gd name="T8" fmla="*/ 0 w 11"/>
                <a:gd name="T9" fmla="*/ 3 h 3"/>
                <a:gd name="T10" fmla="*/ 1 w 11"/>
                <a:gd name="T11" fmla="*/ 3 h 3"/>
                <a:gd name="T12" fmla="*/ 11 w 11"/>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1" h="3">
                  <a:moveTo>
                    <a:pt x="11" y="0"/>
                  </a:moveTo>
                  <a:cubicBezTo>
                    <a:pt x="10" y="0"/>
                    <a:pt x="9" y="0"/>
                    <a:pt x="8" y="0"/>
                  </a:cubicBezTo>
                  <a:cubicBezTo>
                    <a:pt x="5" y="1"/>
                    <a:pt x="3" y="2"/>
                    <a:pt x="1" y="2"/>
                  </a:cubicBezTo>
                  <a:cubicBezTo>
                    <a:pt x="1" y="2"/>
                    <a:pt x="1" y="2"/>
                    <a:pt x="1" y="2"/>
                  </a:cubicBezTo>
                  <a:cubicBezTo>
                    <a:pt x="0" y="3"/>
                    <a:pt x="0" y="3"/>
                    <a:pt x="0" y="3"/>
                  </a:cubicBezTo>
                  <a:cubicBezTo>
                    <a:pt x="0" y="3"/>
                    <a:pt x="1" y="3"/>
                    <a:pt x="1" y="3"/>
                  </a:cubicBezTo>
                  <a:cubicBezTo>
                    <a:pt x="4" y="3"/>
                    <a:pt x="8"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3" name="Freeform 306">
              <a:extLst>
                <a:ext uri="{FF2B5EF4-FFF2-40B4-BE49-F238E27FC236}">
                  <a16:creationId xmlns:a16="http://schemas.microsoft.com/office/drawing/2014/main" id="{F45CFBB3-1DD2-4D6A-800F-F74357B8AEF6}"/>
                </a:ext>
              </a:extLst>
            </p:cNvPr>
            <p:cNvSpPr>
              <a:spLocks/>
            </p:cNvSpPr>
            <p:nvPr/>
          </p:nvSpPr>
          <p:spPr bwMode="auto">
            <a:xfrm>
              <a:off x="7461241" y="1177159"/>
              <a:ext cx="47625" cy="46038"/>
            </a:xfrm>
            <a:custGeom>
              <a:avLst/>
              <a:gdLst>
                <a:gd name="T0" fmla="*/ 8 w 13"/>
                <a:gd name="T1" fmla="*/ 0 h 12"/>
                <a:gd name="T2" fmla="*/ 6 w 13"/>
                <a:gd name="T3" fmla="*/ 0 h 12"/>
                <a:gd name="T4" fmla="*/ 6 w 13"/>
                <a:gd name="T5" fmla="*/ 0 h 12"/>
                <a:gd name="T6" fmla="*/ 2 w 13"/>
                <a:gd name="T7" fmla="*/ 1 h 12"/>
                <a:gd name="T8" fmla="*/ 2 w 13"/>
                <a:gd name="T9" fmla="*/ 1 h 12"/>
                <a:gd name="T10" fmla="*/ 1 w 13"/>
                <a:gd name="T11" fmla="*/ 2 h 12"/>
                <a:gd name="T12" fmla="*/ 1 w 13"/>
                <a:gd name="T13" fmla="*/ 3 h 12"/>
                <a:gd name="T14" fmla="*/ 1 w 13"/>
                <a:gd name="T15" fmla="*/ 3 h 12"/>
                <a:gd name="T16" fmla="*/ 0 w 13"/>
                <a:gd name="T17" fmla="*/ 4 h 12"/>
                <a:gd name="T18" fmla="*/ 0 w 13"/>
                <a:gd name="T19" fmla="*/ 7 h 12"/>
                <a:gd name="T20" fmla="*/ 4 w 13"/>
                <a:gd name="T21" fmla="*/ 11 h 12"/>
                <a:gd name="T22" fmla="*/ 6 w 13"/>
                <a:gd name="T23" fmla="*/ 12 h 12"/>
                <a:gd name="T24" fmla="*/ 10 w 13"/>
                <a:gd name="T25" fmla="*/ 11 h 12"/>
                <a:gd name="T26" fmla="*/ 13 w 13"/>
                <a:gd name="T27" fmla="*/ 8 h 12"/>
                <a:gd name="T28" fmla="*/ 12 w 13"/>
                <a:gd name="T29" fmla="*/ 5 h 12"/>
                <a:gd name="T30" fmla="*/ 11 w 13"/>
                <a:gd name="T31" fmla="*/ 3 h 12"/>
                <a:gd name="T32" fmla="*/ 8 w 13"/>
                <a:gd name="T33" fmla="*/ 0 h 12"/>
                <a:gd name="T34" fmla="*/ 8 w 13"/>
                <a:gd name="T3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12">
                  <a:moveTo>
                    <a:pt x="8" y="0"/>
                  </a:moveTo>
                  <a:cubicBezTo>
                    <a:pt x="7" y="0"/>
                    <a:pt x="7" y="0"/>
                    <a:pt x="6" y="0"/>
                  </a:cubicBezTo>
                  <a:cubicBezTo>
                    <a:pt x="6" y="0"/>
                    <a:pt x="6" y="0"/>
                    <a:pt x="6" y="0"/>
                  </a:cubicBezTo>
                  <a:cubicBezTo>
                    <a:pt x="5" y="0"/>
                    <a:pt x="4" y="0"/>
                    <a:pt x="2" y="1"/>
                  </a:cubicBezTo>
                  <a:cubicBezTo>
                    <a:pt x="2" y="1"/>
                    <a:pt x="2" y="1"/>
                    <a:pt x="2" y="1"/>
                  </a:cubicBezTo>
                  <a:cubicBezTo>
                    <a:pt x="2" y="2"/>
                    <a:pt x="2" y="2"/>
                    <a:pt x="1" y="2"/>
                  </a:cubicBezTo>
                  <a:cubicBezTo>
                    <a:pt x="1" y="3"/>
                    <a:pt x="1" y="3"/>
                    <a:pt x="1" y="3"/>
                  </a:cubicBezTo>
                  <a:cubicBezTo>
                    <a:pt x="1" y="3"/>
                    <a:pt x="1" y="3"/>
                    <a:pt x="1" y="3"/>
                  </a:cubicBezTo>
                  <a:cubicBezTo>
                    <a:pt x="0" y="4"/>
                    <a:pt x="0" y="4"/>
                    <a:pt x="0" y="4"/>
                  </a:cubicBezTo>
                  <a:cubicBezTo>
                    <a:pt x="0" y="5"/>
                    <a:pt x="0" y="6"/>
                    <a:pt x="0" y="7"/>
                  </a:cubicBezTo>
                  <a:cubicBezTo>
                    <a:pt x="1" y="9"/>
                    <a:pt x="2" y="11"/>
                    <a:pt x="4" y="11"/>
                  </a:cubicBezTo>
                  <a:cubicBezTo>
                    <a:pt x="4" y="12"/>
                    <a:pt x="5" y="12"/>
                    <a:pt x="6" y="12"/>
                  </a:cubicBezTo>
                  <a:cubicBezTo>
                    <a:pt x="7" y="12"/>
                    <a:pt x="9" y="11"/>
                    <a:pt x="10" y="11"/>
                  </a:cubicBezTo>
                  <a:cubicBezTo>
                    <a:pt x="12" y="10"/>
                    <a:pt x="12" y="9"/>
                    <a:pt x="13" y="8"/>
                  </a:cubicBezTo>
                  <a:cubicBezTo>
                    <a:pt x="13" y="6"/>
                    <a:pt x="13" y="5"/>
                    <a:pt x="12" y="5"/>
                  </a:cubicBezTo>
                  <a:cubicBezTo>
                    <a:pt x="12" y="4"/>
                    <a:pt x="12" y="4"/>
                    <a:pt x="11" y="3"/>
                  </a:cubicBezTo>
                  <a:cubicBezTo>
                    <a:pt x="10" y="2"/>
                    <a:pt x="9" y="1"/>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4" name="Freeform 307">
              <a:extLst>
                <a:ext uri="{FF2B5EF4-FFF2-40B4-BE49-F238E27FC236}">
                  <a16:creationId xmlns:a16="http://schemas.microsoft.com/office/drawing/2014/main" id="{7BA513FE-611F-4A6A-BAAA-3C03618D3951}"/>
                </a:ext>
              </a:extLst>
            </p:cNvPr>
            <p:cNvSpPr>
              <a:spLocks/>
            </p:cNvSpPr>
            <p:nvPr/>
          </p:nvSpPr>
          <p:spPr bwMode="auto">
            <a:xfrm>
              <a:off x="8193079" y="4606159"/>
              <a:ext cx="85725" cy="57150"/>
            </a:xfrm>
            <a:custGeom>
              <a:avLst/>
              <a:gdLst>
                <a:gd name="T0" fmla="*/ 17 w 23"/>
                <a:gd name="T1" fmla="*/ 0 h 15"/>
                <a:gd name="T2" fmla="*/ 8 w 23"/>
                <a:gd name="T3" fmla="*/ 3 h 15"/>
                <a:gd name="T4" fmla="*/ 7 w 23"/>
                <a:gd name="T5" fmla="*/ 11 h 15"/>
                <a:gd name="T6" fmla="*/ 7 w 23"/>
                <a:gd name="T7" fmla="*/ 15 h 15"/>
                <a:gd name="T8" fmla="*/ 17 w 23"/>
                <a:gd name="T9" fmla="*/ 5 h 15"/>
                <a:gd name="T10" fmla="*/ 20 w 23"/>
                <a:gd name="T11" fmla="*/ 3 h 15"/>
                <a:gd name="T12" fmla="*/ 21 w 23"/>
                <a:gd name="T13" fmla="*/ 3 h 15"/>
                <a:gd name="T14" fmla="*/ 21 w 23"/>
                <a:gd name="T15" fmla="*/ 3 h 15"/>
                <a:gd name="T16" fmla="*/ 23 w 23"/>
                <a:gd name="T17" fmla="*/ 2 h 15"/>
                <a:gd name="T18" fmla="*/ 17 w 23"/>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15">
                  <a:moveTo>
                    <a:pt x="17" y="0"/>
                  </a:moveTo>
                  <a:cubicBezTo>
                    <a:pt x="13" y="0"/>
                    <a:pt x="10" y="1"/>
                    <a:pt x="8" y="3"/>
                  </a:cubicBezTo>
                  <a:cubicBezTo>
                    <a:pt x="4" y="5"/>
                    <a:pt x="0" y="10"/>
                    <a:pt x="7" y="11"/>
                  </a:cubicBezTo>
                  <a:cubicBezTo>
                    <a:pt x="5" y="12"/>
                    <a:pt x="6" y="13"/>
                    <a:pt x="7" y="15"/>
                  </a:cubicBezTo>
                  <a:cubicBezTo>
                    <a:pt x="11" y="11"/>
                    <a:pt x="14" y="8"/>
                    <a:pt x="17" y="5"/>
                  </a:cubicBezTo>
                  <a:cubicBezTo>
                    <a:pt x="19" y="3"/>
                    <a:pt x="19" y="3"/>
                    <a:pt x="20" y="3"/>
                  </a:cubicBezTo>
                  <a:cubicBezTo>
                    <a:pt x="20" y="3"/>
                    <a:pt x="21" y="3"/>
                    <a:pt x="21" y="3"/>
                  </a:cubicBezTo>
                  <a:cubicBezTo>
                    <a:pt x="21" y="3"/>
                    <a:pt x="21" y="3"/>
                    <a:pt x="21" y="3"/>
                  </a:cubicBezTo>
                  <a:cubicBezTo>
                    <a:pt x="22" y="3"/>
                    <a:pt x="22" y="3"/>
                    <a:pt x="23" y="2"/>
                  </a:cubicBezTo>
                  <a:cubicBezTo>
                    <a:pt x="21" y="1"/>
                    <a:pt x="19"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5" name="Freeform 308">
              <a:extLst>
                <a:ext uri="{FF2B5EF4-FFF2-40B4-BE49-F238E27FC236}">
                  <a16:creationId xmlns:a16="http://schemas.microsoft.com/office/drawing/2014/main" id="{4F4BE059-E4BA-4405-A2B3-5E661BFECC05}"/>
                </a:ext>
              </a:extLst>
            </p:cNvPr>
            <p:cNvSpPr>
              <a:spLocks/>
            </p:cNvSpPr>
            <p:nvPr/>
          </p:nvSpPr>
          <p:spPr bwMode="auto">
            <a:xfrm>
              <a:off x="5599104" y="6104760"/>
              <a:ext cx="14288" cy="15875"/>
            </a:xfrm>
            <a:custGeom>
              <a:avLst/>
              <a:gdLst>
                <a:gd name="T0" fmla="*/ 0 w 4"/>
                <a:gd name="T1" fmla="*/ 0 h 4"/>
                <a:gd name="T2" fmla="*/ 3 w 4"/>
                <a:gd name="T3" fmla="*/ 4 h 4"/>
                <a:gd name="T4" fmla="*/ 4 w 4"/>
                <a:gd name="T5" fmla="*/ 4 h 4"/>
                <a:gd name="T6" fmla="*/ 0 w 4"/>
                <a:gd name="T7" fmla="*/ 0 h 4"/>
              </a:gdLst>
              <a:ahLst/>
              <a:cxnLst>
                <a:cxn ang="0">
                  <a:pos x="T0" y="T1"/>
                </a:cxn>
                <a:cxn ang="0">
                  <a:pos x="T2" y="T3"/>
                </a:cxn>
                <a:cxn ang="0">
                  <a:pos x="T4" y="T5"/>
                </a:cxn>
                <a:cxn ang="0">
                  <a:pos x="T6" y="T7"/>
                </a:cxn>
              </a:cxnLst>
              <a:rect l="0" t="0" r="r" b="b"/>
              <a:pathLst>
                <a:path w="4" h="4">
                  <a:moveTo>
                    <a:pt x="0" y="0"/>
                  </a:moveTo>
                  <a:cubicBezTo>
                    <a:pt x="0" y="2"/>
                    <a:pt x="1" y="4"/>
                    <a:pt x="3" y="4"/>
                  </a:cubicBezTo>
                  <a:cubicBezTo>
                    <a:pt x="3" y="4"/>
                    <a:pt x="3" y="4"/>
                    <a:pt x="4" y="4"/>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6" name="Freeform 309">
              <a:extLst>
                <a:ext uri="{FF2B5EF4-FFF2-40B4-BE49-F238E27FC236}">
                  <a16:creationId xmlns:a16="http://schemas.microsoft.com/office/drawing/2014/main" id="{B8E9C98B-5DFA-4D0C-977C-3CEFABF741A6}"/>
                </a:ext>
              </a:extLst>
            </p:cNvPr>
            <p:cNvSpPr>
              <a:spLocks/>
            </p:cNvSpPr>
            <p:nvPr/>
          </p:nvSpPr>
          <p:spPr bwMode="auto">
            <a:xfrm>
              <a:off x="9255116" y="5914260"/>
              <a:ext cx="25400" cy="33338"/>
            </a:xfrm>
            <a:custGeom>
              <a:avLst/>
              <a:gdLst>
                <a:gd name="T0" fmla="*/ 7 w 7"/>
                <a:gd name="T1" fmla="*/ 0 h 9"/>
                <a:gd name="T2" fmla="*/ 5 w 7"/>
                <a:gd name="T3" fmla="*/ 2 h 9"/>
                <a:gd name="T4" fmla="*/ 5 w 7"/>
                <a:gd name="T5" fmla="*/ 3 h 9"/>
                <a:gd name="T6" fmla="*/ 3 w 7"/>
                <a:gd name="T7" fmla="*/ 5 h 9"/>
                <a:gd name="T8" fmla="*/ 2 w 7"/>
                <a:gd name="T9" fmla="*/ 6 h 9"/>
                <a:gd name="T10" fmla="*/ 0 w 7"/>
                <a:gd name="T11" fmla="*/ 9 h 9"/>
                <a:gd name="T12" fmla="*/ 7 w 7"/>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 h="9">
                  <a:moveTo>
                    <a:pt x="7" y="0"/>
                  </a:moveTo>
                  <a:cubicBezTo>
                    <a:pt x="6" y="1"/>
                    <a:pt x="6" y="1"/>
                    <a:pt x="5" y="2"/>
                  </a:cubicBezTo>
                  <a:cubicBezTo>
                    <a:pt x="5" y="3"/>
                    <a:pt x="5" y="3"/>
                    <a:pt x="5" y="3"/>
                  </a:cubicBezTo>
                  <a:cubicBezTo>
                    <a:pt x="4" y="3"/>
                    <a:pt x="3" y="4"/>
                    <a:pt x="3" y="5"/>
                  </a:cubicBezTo>
                  <a:cubicBezTo>
                    <a:pt x="2" y="5"/>
                    <a:pt x="2" y="5"/>
                    <a:pt x="2" y="6"/>
                  </a:cubicBezTo>
                  <a:cubicBezTo>
                    <a:pt x="1" y="7"/>
                    <a:pt x="0" y="8"/>
                    <a:pt x="0" y="9"/>
                  </a:cubicBezTo>
                  <a:cubicBezTo>
                    <a:pt x="2" y="6"/>
                    <a:pt x="5" y="3"/>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7" name="Freeform 310">
              <a:extLst>
                <a:ext uri="{FF2B5EF4-FFF2-40B4-BE49-F238E27FC236}">
                  <a16:creationId xmlns:a16="http://schemas.microsoft.com/office/drawing/2014/main" id="{E36CCF2C-A957-40A7-ADC1-AE7C3B8EE980}"/>
                </a:ext>
              </a:extLst>
            </p:cNvPr>
            <p:cNvSpPr>
              <a:spLocks/>
            </p:cNvSpPr>
            <p:nvPr/>
          </p:nvSpPr>
          <p:spPr bwMode="auto">
            <a:xfrm>
              <a:off x="9321791" y="5872985"/>
              <a:ext cx="23813" cy="14288"/>
            </a:xfrm>
            <a:custGeom>
              <a:avLst/>
              <a:gdLst>
                <a:gd name="T0" fmla="*/ 5 w 6"/>
                <a:gd name="T1" fmla="*/ 0 h 4"/>
                <a:gd name="T2" fmla="*/ 0 w 6"/>
                <a:gd name="T3" fmla="*/ 4 h 4"/>
                <a:gd name="T4" fmla="*/ 5 w 6"/>
                <a:gd name="T5" fmla="*/ 0 h 4"/>
              </a:gdLst>
              <a:ahLst/>
              <a:cxnLst>
                <a:cxn ang="0">
                  <a:pos x="T0" y="T1"/>
                </a:cxn>
                <a:cxn ang="0">
                  <a:pos x="T2" y="T3"/>
                </a:cxn>
                <a:cxn ang="0">
                  <a:pos x="T4" y="T5"/>
                </a:cxn>
              </a:cxnLst>
              <a:rect l="0" t="0" r="r" b="b"/>
              <a:pathLst>
                <a:path w="6" h="4">
                  <a:moveTo>
                    <a:pt x="5" y="0"/>
                  </a:moveTo>
                  <a:cubicBezTo>
                    <a:pt x="4" y="2"/>
                    <a:pt x="2" y="3"/>
                    <a:pt x="0" y="4"/>
                  </a:cubicBezTo>
                  <a:cubicBezTo>
                    <a:pt x="3" y="3"/>
                    <a:pt x="6" y="4"/>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8" name="Freeform 311">
              <a:extLst>
                <a:ext uri="{FF2B5EF4-FFF2-40B4-BE49-F238E27FC236}">
                  <a16:creationId xmlns:a16="http://schemas.microsoft.com/office/drawing/2014/main" id="{DD5707B5-D851-46C8-A56C-06D9119C4864}"/>
                </a:ext>
              </a:extLst>
            </p:cNvPr>
            <p:cNvSpPr>
              <a:spLocks/>
            </p:cNvSpPr>
            <p:nvPr/>
          </p:nvSpPr>
          <p:spPr bwMode="auto">
            <a:xfrm>
              <a:off x="9161454" y="2628134"/>
              <a:ext cx="11113" cy="3175"/>
            </a:xfrm>
            <a:custGeom>
              <a:avLst/>
              <a:gdLst>
                <a:gd name="T0" fmla="*/ 7 w 7"/>
                <a:gd name="T1" fmla="*/ 0 h 2"/>
                <a:gd name="T2" fmla="*/ 4 w 7"/>
                <a:gd name="T3" fmla="*/ 0 h 2"/>
                <a:gd name="T4" fmla="*/ 2 w 7"/>
                <a:gd name="T5" fmla="*/ 0 h 2"/>
                <a:gd name="T6" fmla="*/ 2 w 7"/>
                <a:gd name="T7" fmla="*/ 0 h 2"/>
                <a:gd name="T8" fmla="*/ 0 w 7"/>
                <a:gd name="T9" fmla="*/ 0 h 2"/>
                <a:gd name="T10" fmla="*/ 0 w 7"/>
                <a:gd name="T11" fmla="*/ 2 h 2"/>
                <a:gd name="T12" fmla="*/ 2 w 7"/>
                <a:gd name="T13" fmla="*/ 2 h 2"/>
                <a:gd name="T14" fmla="*/ 2 w 7"/>
                <a:gd name="T15" fmla="*/ 2 h 2"/>
                <a:gd name="T16" fmla="*/ 2 w 7"/>
                <a:gd name="T17" fmla="*/ 0 h 2"/>
                <a:gd name="T18" fmla="*/ 4 w 7"/>
                <a:gd name="T19" fmla="*/ 0 h 2"/>
                <a:gd name="T20" fmla="*/ 7 w 7"/>
                <a:gd name="T21" fmla="*/ 0 h 2"/>
                <a:gd name="T22" fmla="*/ 7 w 7"/>
                <a:gd name="T2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2">
                  <a:moveTo>
                    <a:pt x="7" y="0"/>
                  </a:moveTo>
                  <a:lnTo>
                    <a:pt x="4" y="0"/>
                  </a:lnTo>
                  <a:lnTo>
                    <a:pt x="2" y="0"/>
                  </a:lnTo>
                  <a:lnTo>
                    <a:pt x="2" y="0"/>
                  </a:lnTo>
                  <a:lnTo>
                    <a:pt x="0" y="0"/>
                  </a:lnTo>
                  <a:lnTo>
                    <a:pt x="0" y="2"/>
                  </a:lnTo>
                  <a:lnTo>
                    <a:pt x="2" y="2"/>
                  </a:lnTo>
                  <a:lnTo>
                    <a:pt x="2" y="2"/>
                  </a:lnTo>
                  <a:lnTo>
                    <a:pt x="2" y="0"/>
                  </a:lnTo>
                  <a:lnTo>
                    <a:pt x="4"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9" name="Freeform 312">
              <a:extLst>
                <a:ext uri="{FF2B5EF4-FFF2-40B4-BE49-F238E27FC236}">
                  <a16:creationId xmlns:a16="http://schemas.microsoft.com/office/drawing/2014/main" id="{1F26D35A-2C59-463D-A579-944A1C2F3E7A}"/>
                </a:ext>
              </a:extLst>
            </p:cNvPr>
            <p:cNvSpPr>
              <a:spLocks/>
            </p:cNvSpPr>
            <p:nvPr/>
          </p:nvSpPr>
          <p:spPr bwMode="auto">
            <a:xfrm>
              <a:off x="9161454" y="2628134"/>
              <a:ext cx="11113" cy="3175"/>
            </a:xfrm>
            <a:custGeom>
              <a:avLst/>
              <a:gdLst>
                <a:gd name="T0" fmla="*/ 7 w 7"/>
                <a:gd name="T1" fmla="*/ 0 h 2"/>
                <a:gd name="T2" fmla="*/ 4 w 7"/>
                <a:gd name="T3" fmla="*/ 0 h 2"/>
                <a:gd name="T4" fmla="*/ 2 w 7"/>
                <a:gd name="T5" fmla="*/ 0 h 2"/>
                <a:gd name="T6" fmla="*/ 2 w 7"/>
                <a:gd name="T7" fmla="*/ 0 h 2"/>
                <a:gd name="T8" fmla="*/ 0 w 7"/>
                <a:gd name="T9" fmla="*/ 0 h 2"/>
                <a:gd name="T10" fmla="*/ 0 w 7"/>
                <a:gd name="T11" fmla="*/ 2 h 2"/>
                <a:gd name="T12" fmla="*/ 2 w 7"/>
                <a:gd name="T13" fmla="*/ 2 h 2"/>
                <a:gd name="T14" fmla="*/ 2 w 7"/>
                <a:gd name="T15" fmla="*/ 2 h 2"/>
                <a:gd name="T16" fmla="*/ 2 w 7"/>
                <a:gd name="T17" fmla="*/ 0 h 2"/>
                <a:gd name="T18" fmla="*/ 4 w 7"/>
                <a:gd name="T19" fmla="*/ 0 h 2"/>
                <a:gd name="T20" fmla="*/ 7 w 7"/>
                <a:gd name="T21" fmla="*/ 0 h 2"/>
                <a:gd name="T22" fmla="*/ 7 w 7"/>
                <a:gd name="T2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2">
                  <a:moveTo>
                    <a:pt x="7" y="0"/>
                  </a:moveTo>
                  <a:lnTo>
                    <a:pt x="4" y="0"/>
                  </a:lnTo>
                  <a:lnTo>
                    <a:pt x="2" y="0"/>
                  </a:lnTo>
                  <a:lnTo>
                    <a:pt x="2" y="0"/>
                  </a:lnTo>
                  <a:lnTo>
                    <a:pt x="0" y="0"/>
                  </a:lnTo>
                  <a:lnTo>
                    <a:pt x="0" y="2"/>
                  </a:lnTo>
                  <a:lnTo>
                    <a:pt x="2" y="2"/>
                  </a:lnTo>
                  <a:lnTo>
                    <a:pt x="2" y="2"/>
                  </a:lnTo>
                  <a:lnTo>
                    <a:pt x="2" y="0"/>
                  </a:lnTo>
                  <a:lnTo>
                    <a:pt x="4" y="0"/>
                  </a:lnTo>
                  <a:lnTo>
                    <a:pt x="7" y="0"/>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0" name="Freeform 313">
              <a:extLst>
                <a:ext uri="{FF2B5EF4-FFF2-40B4-BE49-F238E27FC236}">
                  <a16:creationId xmlns:a16="http://schemas.microsoft.com/office/drawing/2014/main" id="{08ABB313-B8B0-4262-8202-CF11A5A817E2}"/>
                </a:ext>
              </a:extLst>
            </p:cNvPr>
            <p:cNvSpPr>
              <a:spLocks/>
            </p:cNvSpPr>
            <p:nvPr/>
          </p:nvSpPr>
          <p:spPr bwMode="auto">
            <a:xfrm>
              <a:off x="7351704" y="1462909"/>
              <a:ext cx="63500" cy="79375"/>
            </a:xfrm>
            <a:custGeom>
              <a:avLst/>
              <a:gdLst>
                <a:gd name="T0" fmla="*/ 8 w 17"/>
                <a:gd name="T1" fmla="*/ 0 h 21"/>
                <a:gd name="T2" fmla="*/ 2 w 17"/>
                <a:gd name="T3" fmla="*/ 12 h 21"/>
                <a:gd name="T4" fmla="*/ 6 w 17"/>
                <a:gd name="T5" fmla="*/ 18 h 21"/>
                <a:gd name="T6" fmla="*/ 12 w 17"/>
                <a:gd name="T7" fmla="*/ 21 h 21"/>
                <a:gd name="T8" fmla="*/ 11 w 17"/>
                <a:gd name="T9" fmla="*/ 18 h 21"/>
                <a:gd name="T10" fmla="*/ 10 w 17"/>
                <a:gd name="T11" fmla="*/ 17 h 21"/>
                <a:gd name="T12" fmla="*/ 10 w 17"/>
                <a:gd name="T13" fmla="*/ 16 h 21"/>
                <a:gd name="T14" fmla="*/ 11 w 17"/>
                <a:gd name="T15" fmla="*/ 14 h 21"/>
                <a:gd name="T16" fmla="*/ 15 w 17"/>
                <a:gd name="T17" fmla="*/ 10 h 21"/>
                <a:gd name="T18" fmla="*/ 15 w 17"/>
                <a:gd name="T19" fmla="*/ 10 h 21"/>
                <a:gd name="T20" fmla="*/ 13 w 17"/>
                <a:gd name="T21" fmla="*/ 12 h 21"/>
                <a:gd name="T22" fmla="*/ 13 w 17"/>
                <a:gd name="T23" fmla="*/ 12 h 21"/>
                <a:gd name="T24" fmla="*/ 12 w 17"/>
                <a:gd name="T25" fmla="*/ 12 h 21"/>
                <a:gd name="T26" fmla="*/ 11 w 17"/>
                <a:gd name="T27" fmla="*/ 12 h 21"/>
                <a:gd name="T28" fmla="*/ 11 w 17"/>
                <a:gd name="T29" fmla="*/ 12 h 21"/>
                <a:gd name="T30" fmla="*/ 9 w 17"/>
                <a:gd name="T31" fmla="*/ 13 h 21"/>
                <a:gd name="T32" fmla="*/ 7 w 17"/>
                <a:gd name="T33" fmla="*/ 15 h 21"/>
                <a:gd name="T34" fmla="*/ 6 w 17"/>
                <a:gd name="T35" fmla="*/ 15 h 21"/>
                <a:gd name="T36" fmla="*/ 5 w 17"/>
                <a:gd name="T37" fmla="*/ 12 h 21"/>
                <a:gd name="T38" fmla="*/ 5 w 17"/>
                <a:gd name="T39" fmla="*/ 8 h 21"/>
                <a:gd name="T40" fmla="*/ 14 w 17"/>
                <a:gd name="T41" fmla="*/ 3 h 21"/>
                <a:gd name="T42" fmla="*/ 13 w 17"/>
                <a:gd name="T43" fmla="*/ 3 h 21"/>
                <a:gd name="T44" fmla="*/ 12 w 17"/>
                <a:gd name="T45" fmla="*/ 3 h 21"/>
                <a:gd name="T46" fmla="*/ 11 w 17"/>
                <a:gd name="T47" fmla="*/ 3 h 21"/>
                <a:gd name="T48" fmla="*/ 11 w 17"/>
                <a:gd name="T49" fmla="*/ 3 h 21"/>
                <a:gd name="T50" fmla="*/ 8 w 17"/>
                <a:gd name="T5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 h="21">
                  <a:moveTo>
                    <a:pt x="8" y="0"/>
                  </a:moveTo>
                  <a:cubicBezTo>
                    <a:pt x="6" y="4"/>
                    <a:pt x="4" y="8"/>
                    <a:pt x="2" y="12"/>
                  </a:cubicBezTo>
                  <a:cubicBezTo>
                    <a:pt x="0" y="16"/>
                    <a:pt x="5" y="16"/>
                    <a:pt x="6" y="18"/>
                  </a:cubicBezTo>
                  <a:cubicBezTo>
                    <a:pt x="9" y="20"/>
                    <a:pt x="8" y="21"/>
                    <a:pt x="12" y="21"/>
                  </a:cubicBezTo>
                  <a:cubicBezTo>
                    <a:pt x="12" y="20"/>
                    <a:pt x="11" y="19"/>
                    <a:pt x="11" y="18"/>
                  </a:cubicBezTo>
                  <a:cubicBezTo>
                    <a:pt x="10" y="17"/>
                    <a:pt x="10" y="17"/>
                    <a:pt x="10" y="17"/>
                  </a:cubicBezTo>
                  <a:cubicBezTo>
                    <a:pt x="10" y="16"/>
                    <a:pt x="10" y="16"/>
                    <a:pt x="10" y="16"/>
                  </a:cubicBezTo>
                  <a:cubicBezTo>
                    <a:pt x="10" y="14"/>
                    <a:pt x="9" y="15"/>
                    <a:pt x="11" y="14"/>
                  </a:cubicBezTo>
                  <a:cubicBezTo>
                    <a:pt x="12" y="13"/>
                    <a:pt x="17" y="10"/>
                    <a:pt x="15" y="10"/>
                  </a:cubicBezTo>
                  <a:cubicBezTo>
                    <a:pt x="15" y="10"/>
                    <a:pt x="15" y="10"/>
                    <a:pt x="15" y="10"/>
                  </a:cubicBezTo>
                  <a:cubicBezTo>
                    <a:pt x="14" y="10"/>
                    <a:pt x="14" y="12"/>
                    <a:pt x="13" y="12"/>
                  </a:cubicBezTo>
                  <a:cubicBezTo>
                    <a:pt x="13" y="12"/>
                    <a:pt x="13" y="12"/>
                    <a:pt x="13" y="12"/>
                  </a:cubicBezTo>
                  <a:cubicBezTo>
                    <a:pt x="12" y="12"/>
                    <a:pt x="12" y="12"/>
                    <a:pt x="12" y="12"/>
                  </a:cubicBezTo>
                  <a:cubicBezTo>
                    <a:pt x="12" y="12"/>
                    <a:pt x="12" y="12"/>
                    <a:pt x="11" y="12"/>
                  </a:cubicBezTo>
                  <a:cubicBezTo>
                    <a:pt x="11" y="12"/>
                    <a:pt x="11" y="12"/>
                    <a:pt x="11" y="12"/>
                  </a:cubicBezTo>
                  <a:cubicBezTo>
                    <a:pt x="10" y="12"/>
                    <a:pt x="9" y="13"/>
                    <a:pt x="9" y="13"/>
                  </a:cubicBezTo>
                  <a:cubicBezTo>
                    <a:pt x="8" y="14"/>
                    <a:pt x="7" y="15"/>
                    <a:pt x="7" y="15"/>
                  </a:cubicBezTo>
                  <a:cubicBezTo>
                    <a:pt x="7" y="15"/>
                    <a:pt x="6" y="15"/>
                    <a:pt x="6" y="15"/>
                  </a:cubicBezTo>
                  <a:cubicBezTo>
                    <a:pt x="2" y="14"/>
                    <a:pt x="5" y="13"/>
                    <a:pt x="5" y="12"/>
                  </a:cubicBezTo>
                  <a:cubicBezTo>
                    <a:pt x="5" y="11"/>
                    <a:pt x="5" y="9"/>
                    <a:pt x="5" y="8"/>
                  </a:cubicBezTo>
                  <a:cubicBezTo>
                    <a:pt x="6" y="5"/>
                    <a:pt x="11" y="6"/>
                    <a:pt x="14" y="3"/>
                  </a:cubicBezTo>
                  <a:cubicBezTo>
                    <a:pt x="13" y="3"/>
                    <a:pt x="13" y="3"/>
                    <a:pt x="13" y="3"/>
                  </a:cubicBezTo>
                  <a:cubicBezTo>
                    <a:pt x="13" y="3"/>
                    <a:pt x="12" y="3"/>
                    <a:pt x="12" y="3"/>
                  </a:cubicBezTo>
                  <a:cubicBezTo>
                    <a:pt x="11" y="3"/>
                    <a:pt x="11" y="3"/>
                    <a:pt x="11" y="3"/>
                  </a:cubicBezTo>
                  <a:cubicBezTo>
                    <a:pt x="11" y="3"/>
                    <a:pt x="11" y="3"/>
                    <a:pt x="11" y="3"/>
                  </a:cubicBezTo>
                  <a:cubicBezTo>
                    <a:pt x="10" y="3"/>
                    <a:pt x="11"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1" name="Freeform 314">
              <a:extLst>
                <a:ext uri="{FF2B5EF4-FFF2-40B4-BE49-F238E27FC236}">
                  <a16:creationId xmlns:a16="http://schemas.microsoft.com/office/drawing/2014/main" id="{44C660E1-3F5B-4FBE-807F-487518C14A54}"/>
                </a:ext>
              </a:extLst>
            </p:cNvPr>
            <p:cNvSpPr>
              <a:spLocks/>
            </p:cNvSpPr>
            <p:nvPr/>
          </p:nvSpPr>
          <p:spPr bwMode="auto">
            <a:xfrm>
              <a:off x="9731366" y="2153472"/>
              <a:ext cx="4763" cy="0"/>
            </a:xfrm>
            <a:custGeom>
              <a:avLst/>
              <a:gdLst>
                <a:gd name="T0" fmla="*/ 0 w 1"/>
                <a:gd name="T1" fmla="*/ 0 w 1"/>
                <a:gd name="T2" fmla="*/ 0 w 1"/>
                <a:gd name="T3" fmla="*/ 0 w 1"/>
                <a:gd name="T4" fmla="*/ 1 w 1"/>
                <a:gd name="T5" fmla="*/ 1 w 1"/>
                <a:gd name="T6" fmla="*/ 1 w 1"/>
                <a:gd name="T7" fmla="*/ 0 w 1"/>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1">
                  <a:moveTo>
                    <a:pt x="0" y="0"/>
                  </a:moveTo>
                  <a:cubicBezTo>
                    <a:pt x="0" y="0"/>
                    <a:pt x="0" y="0"/>
                    <a:pt x="0" y="0"/>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2" name="Rectangle 315">
              <a:extLst>
                <a:ext uri="{FF2B5EF4-FFF2-40B4-BE49-F238E27FC236}">
                  <a16:creationId xmlns:a16="http://schemas.microsoft.com/office/drawing/2014/main" id="{68603171-03E8-4B29-8438-06E3BAB3DBC8}"/>
                </a:ext>
              </a:extLst>
            </p:cNvPr>
            <p:cNvSpPr>
              <a:spLocks noChangeArrowheads="1"/>
            </p:cNvSpPr>
            <p:nvPr/>
          </p:nvSpPr>
          <p:spPr bwMode="auto">
            <a:xfrm>
              <a:off x="8305791" y="6393685"/>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3" name="Freeform 316">
              <a:extLst>
                <a:ext uri="{FF2B5EF4-FFF2-40B4-BE49-F238E27FC236}">
                  <a16:creationId xmlns:a16="http://schemas.microsoft.com/office/drawing/2014/main" id="{BE9D2B55-30B9-4EA8-A3AB-E93DCEB853DC}"/>
                </a:ext>
              </a:extLst>
            </p:cNvPr>
            <p:cNvSpPr>
              <a:spLocks/>
            </p:cNvSpPr>
            <p:nvPr/>
          </p:nvSpPr>
          <p:spPr bwMode="auto">
            <a:xfrm>
              <a:off x="8305791" y="6393685"/>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4" name="Freeform 317">
              <a:extLst>
                <a:ext uri="{FF2B5EF4-FFF2-40B4-BE49-F238E27FC236}">
                  <a16:creationId xmlns:a16="http://schemas.microsoft.com/office/drawing/2014/main" id="{9287967C-6F0C-4EC8-9668-781739F55751}"/>
                </a:ext>
              </a:extLst>
            </p:cNvPr>
            <p:cNvSpPr>
              <a:spLocks/>
            </p:cNvSpPr>
            <p:nvPr/>
          </p:nvSpPr>
          <p:spPr bwMode="auto">
            <a:xfrm>
              <a:off x="8721716" y="5158610"/>
              <a:ext cx="11113" cy="26988"/>
            </a:xfrm>
            <a:custGeom>
              <a:avLst/>
              <a:gdLst>
                <a:gd name="T0" fmla="*/ 3 w 3"/>
                <a:gd name="T1" fmla="*/ 0 h 7"/>
                <a:gd name="T2" fmla="*/ 0 w 3"/>
                <a:gd name="T3" fmla="*/ 5 h 7"/>
                <a:gd name="T4" fmla="*/ 0 w 3"/>
                <a:gd name="T5" fmla="*/ 5 h 7"/>
                <a:gd name="T6" fmla="*/ 0 w 3"/>
                <a:gd name="T7" fmla="*/ 5 h 7"/>
                <a:gd name="T8" fmla="*/ 0 w 3"/>
                <a:gd name="T9" fmla="*/ 7 h 7"/>
                <a:gd name="T10" fmla="*/ 0 w 3"/>
                <a:gd name="T11" fmla="*/ 7 h 7"/>
                <a:gd name="T12" fmla="*/ 0 w 3"/>
                <a:gd name="T13" fmla="*/ 7 h 7"/>
                <a:gd name="T14" fmla="*/ 1 w 3"/>
                <a:gd name="T15" fmla="*/ 6 h 7"/>
                <a:gd name="T16" fmla="*/ 3 w 3"/>
                <a:gd name="T17" fmla="*/ 0 h 7"/>
                <a:gd name="T18" fmla="*/ 3 w 3"/>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3" y="0"/>
                  </a:moveTo>
                  <a:cubicBezTo>
                    <a:pt x="2" y="2"/>
                    <a:pt x="1" y="3"/>
                    <a:pt x="0" y="5"/>
                  </a:cubicBezTo>
                  <a:cubicBezTo>
                    <a:pt x="0" y="5"/>
                    <a:pt x="0" y="5"/>
                    <a:pt x="0" y="5"/>
                  </a:cubicBezTo>
                  <a:cubicBezTo>
                    <a:pt x="0" y="5"/>
                    <a:pt x="0" y="5"/>
                    <a:pt x="0" y="5"/>
                  </a:cubicBezTo>
                  <a:cubicBezTo>
                    <a:pt x="0" y="5"/>
                    <a:pt x="0" y="6"/>
                    <a:pt x="0" y="7"/>
                  </a:cubicBezTo>
                  <a:cubicBezTo>
                    <a:pt x="0" y="7"/>
                    <a:pt x="0" y="7"/>
                    <a:pt x="0" y="7"/>
                  </a:cubicBezTo>
                  <a:cubicBezTo>
                    <a:pt x="0" y="7"/>
                    <a:pt x="0" y="7"/>
                    <a:pt x="0" y="7"/>
                  </a:cubicBezTo>
                  <a:cubicBezTo>
                    <a:pt x="1" y="6"/>
                    <a:pt x="1" y="6"/>
                    <a:pt x="1" y="6"/>
                  </a:cubicBezTo>
                  <a:cubicBezTo>
                    <a:pt x="1" y="4"/>
                    <a:pt x="2" y="2"/>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5" name="Freeform 318">
              <a:extLst>
                <a:ext uri="{FF2B5EF4-FFF2-40B4-BE49-F238E27FC236}">
                  <a16:creationId xmlns:a16="http://schemas.microsoft.com/office/drawing/2014/main" id="{186C2BB1-1CD9-447E-BFFC-85204548F25E}"/>
                </a:ext>
              </a:extLst>
            </p:cNvPr>
            <p:cNvSpPr>
              <a:spLocks/>
            </p:cNvSpPr>
            <p:nvPr/>
          </p:nvSpPr>
          <p:spPr bwMode="auto">
            <a:xfrm>
              <a:off x="9032866" y="5117335"/>
              <a:ext cx="0" cy="3175"/>
            </a:xfrm>
            <a:custGeom>
              <a:avLst/>
              <a:gdLst>
                <a:gd name="T0" fmla="*/ 0 h 2"/>
                <a:gd name="T1" fmla="*/ 0 h 2"/>
                <a:gd name="T2" fmla="*/ 2 h 2"/>
                <a:gd name="T3" fmla="*/ 0 h 2"/>
                <a:gd name="T4" fmla="*/ 0 h 2"/>
              </a:gdLst>
              <a:ahLst/>
              <a:cxnLst>
                <a:cxn ang="0">
                  <a:pos x="0" y="T0"/>
                </a:cxn>
                <a:cxn ang="0">
                  <a:pos x="0" y="T1"/>
                </a:cxn>
                <a:cxn ang="0">
                  <a:pos x="0" y="T2"/>
                </a:cxn>
                <a:cxn ang="0">
                  <a:pos x="0" y="T3"/>
                </a:cxn>
                <a:cxn ang="0">
                  <a:pos x="0" y="T4"/>
                </a:cxn>
              </a:cxnLst>
              <a:rect l="0" t="0" r="r" b="b"/>
              <a:pathLst>
                <a:path h="2">
                  <a:moveTo>
                    <a:pt x="0" y="0"/>
                  </a:moveTo>
                  <a:lnTo>
                    <a:pt x="0" y="0"/>
                  </a:lnTo>
                  <a:lnTo>
                    <a:pt x="0"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6" name="Freeform 319">
              <a:extLst>
                <a:ext uri="{FF2B5EF4-FFF2-40B4-BE49-F238E27FC236}">
                  <a16:creationId xmlns:a16="http://schemas.microsoft.com/office/drawing/2014/main" id="{81609124-3121-4A1A-B6FD-A210C25F3613}"/>
                </a:ext>
              </a:extLst>
            </p:cNvPr>
            <p:cNvSpPr>
              <a:spLocks/>
            </p:cNvSpPr>
            <p:nvPr/>
          </p:nvSpPr>
          <p:spPr bwMode="auto">
            <a:xfrm>
              <a:off x="9032866" y="5117335"/>
              <a:ext cx="0" cy="3175"/>
            </a:xfrm>
            <a:custGeom>
              <a:avLst/>
              <a:gdLst>
                <a:gd name="T0" fmla="*/ 0 h 2"/>
                <a:gd name="T1" fmla="*/ 0 h 2"/>
                <a:gd name="T2" fmla="*/ 2 h 2"/>
                <a:gd name="T3" fmla="*/ 0 h 2"/>
                <a:gd name="T4" fmla="*/ 0 h 2"/>
              </a:gdLst>
              <a:ahLst/>
              <a:cxnLst>
                <a:cxn ang="0">
                  <a:pos x="0" y="T0"/>
                </a:cxn>
                <a:cxn ang="0">
                  <a:pos x="0" y="T1"/>
                </a:cxn>
                <a:cxn ang="0">
                  <a:pos x="0" y="T2"/>
                </a:cxn>
                <a:cxn ang="0">
                  <a:pos x="0" y="T3"/>
                </a:cxn>
                <a:cxn ang="0">
                  <a:pos x="0" y="T4"/>
                </a:cxn>
              </a:cxnLst>
              <a:rect l="0" t="0" r="r" b="b"/>
              <a:pathLst>
                <a:path h="2">
                  <a:moveTo>
                    <a:pt x="0" y="0"/>
                  </a:moveTo>
                  <a:lnTo>
                    <a:pt x="0" y="0"/>
                  </a:lnTo>
                  <a:lnTo>
                    <a:pt x="0" y="2"/>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7" name="Freeform 320">
              <a:extLst>
                <a:ext uri="{FF2B5EF4-FFF2-40B4-BE49-F238E27FC236}">
                  <a16:creationId xmlns:a16="http://schemas.microsoft.com/office/drawing/2014/main" id="{DFFE27D5-E4BA-4CE4-A8C2-F23D67206FA1}"/>
                </a:ext>
              </a:extLst>
            </p:cNvPr>
            <p:cNvSpPr>
              <a:spLocks/>
            </p:cNvSpPr>
            <p:nvPr/>
          </p:nvSpPr>
          <p:spPr bwMode="auto">
            <a:xfrm>
              <a:off x="9678979" y="743826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8" name="Freeform 321">
              <a:extLst>
                <a:ext uri="{FF2B5EF4-FFF2-40B4-BE49-F238E27FC236}">
                  <a16:creationId xmlns:a16="http://schemas.microsoft.com/office/drawing/2014/main" id="{E1C33202-0ACB-4843-8D4D-8282E4038AFE}"/>
                </a:ext>
              </a:extLst>
            </p:cNvPr>
            <p:cNvSpPr>
              <a:spLocks/>
            </p:cNvSpPr>
            <p:nvPr/>
          </p:nvSpPr>
          <p:spPr bwMode="auto">
            <a:xfrm>
              <a:off x="8462954" y="8117710"/>
              <a:ext cx="19050" cy="15875"/>
            </a:xfrm>
            <a:custGeom>
              <a:avLst/>
              <a:gdLst>
                <a:gd name="T0" fmla="*/ 0 w 5"/>
                <a:gd name="T1" fmla="*/ 0 h 4"/>
                <a:gd name="T2" fmla="*/ 4 w 5"/>
                <a:gd name="T3" fmla="*/ 4 h 4"/>
                <a:gd name="T4" fmla="*/ 0 w 5"/>
                <a:gd name="T5" fmla="*/ 0 h 4"/>
              </a:gdLst>
              <a:ahLst/>
              <a:cxnLst>
                <a:cxn ang="0">
                  <a:pos x="T0" y="T1"/>
                </a:cxn>
                <a:cxn ang="0">
                  <a:pos x="T2" y="T3"/>
                </a:cxn>
                <a:cxn ang="0">
                  <a:pos x="T4" y="T5"/>
                </a:cxn>
              </a:cxnLst>
              <a:rect l="0" t="0" r="r" b="b"/>
              <a:pathLst>
                <a:path w="5" h="4">
                  <a:moveTo>
                    <a:pt x="0" y="0"/>
                  </a:moveTo>
                  <a:cubicBezTo>
                    <a:pt x="0" y="2"/>
                    <a:pt x="3" y="4"/>
                    <a:pt x="4" y="4"/>
                  </a:cubicBezTo>
                  <a:cubicBezTo>
                    <a:pt x="5" y="4"/>
                    <a:pt x="4"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9" name="Oval 322">
              <a:extLst>
                <a:ext uri="{FF2B5EF4-FFF2-40B4-BE49-F238E27FC236}">
                  <a16:creationId xmlns:a16="http://schemas.microsoft.com/office/drawing/2014/main" id="{ED15A2CB-C40F-4BF9-BBD0-082EC9F9383C}"/>
                </a:ext>
              </a:extLst>
            </p:cNvPr>
            <p:cNvSpPr>
              <a:spLocks noChangeArrowheads="1"/>
            </p:cNvSpPr>
            <p:nvPr/>
          </p:nvSpPr>
          <p:spPr bwMode="auto">
            <a:xfrm>
              <a:off x="9855191" y="5031610"/>
              <a:ext cx="1588" cy="15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0" name="Freeform 323">
              <a:extLst>
                <a:ext uri="{FF2B5EF4-FFF2-40B4-BE49-F238E27FC236}">
                  <a16:creationId xmlns:a16="http://schemas.microsoft.com/office/drawing/2014/main" id="{2B5BAF0C-EC89-411A-92E3-2664C098DCF5}"/>
                </a:ext>
              </a:extLst>
            </p:cNvPr>
            <p:cNvSpPr>
              <a:spLocks/>
            </p:cNvSpPr>
            <p:nvPr/>
          </p:nvSpPr>
          <p:spPr bwMode="auto">
            <a:xfrm>
              <a:off x="9480541" y="533164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1" name="Freeform 324">
              <a:extLst>
                <a:ext uri="{FF2B5EF4-FFF2-40B4-BE49-F238E27FC236}">
                  <a16:creationId xmlns:a16="http://schemas.microsoft.com/office/drawing/2014/main" id="{9CEE6F09-BF64-4AB7-BFF0-51C0CFB534D5}"/>
                </a:ext>
              </a:extLst>
            </p:cNvPr>
            <p:cNvSpPr>
              <a:spLocks/>
            </p:cNvSpPr>
            <p:nvPr/>
          </p:nvSpPr>
          <p:spPr bwMode="auto">
            <a:xfrm>
              <a:off x="9480541" y="5331647"/>
              <a:ext cx="0" cy="0"/>
            </a:xfrm>
            <a:custGeom>
              <a:avLst/>
              <a:gdLst/>
              <a:ahLst/>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2" name="Freeform 325">
              <a:extLst>
                <a:ext uri="{FF2B5EF4-FFF2-40B4-BE49-F238E27FC236}">
                  <a16:creationId xmlns:a16="http://schemas.microsoft.com/office/drawing/2014/main" id="{C425BA25-93C5-4BA9-9246-00F2AA1594BC}"/>
                </a:ext>
              </a:extLst>
            </p:cNvPr>
            <p:cNvSpPr>
              <a:spLocks noEditPoints="1"/>
            </p:cNvSpPr>
            <p:nvPr/>
          </p:nvSpPr>
          <p:spPr bwMode="auto">
            <a:xfrm>
              <a:off x="9480541" y="5315772"/>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close/>
                  <a:moveTo>
                    <a:pt x="0" y="0"/>
                  </a:move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3" name="Freeform 326">
              <a:extLst>
                <a:ext uri="{FF2B5EF4-FFF2-40B4-BE49-F238E27FC236}">
                  <a16:creationId xmlns:a16="http://schemas.microsoft.com/office/drawing/2014/main" id="{89579009-D9E6-4C8A-8078-D5A2755C85C0}"/>
                </a:ext>
              </a:extLst>
            </p:cNvPr>
            <p:cNvSpPr>
              <a:spLocks noEditPoints="1"/>
            </p:cNvSpPr>
            <p:nvPr/>
          </p:nvSpPr>
          <p:spPr bwMode="auto">
            <a:xfrm>
              <a:off x="9480541" y="5315772"/>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4" name="Freeform 327">
              <a:extLst>
                <a:ext uri="{FF2B5EF4-FFF2-40B4-BE49-F238E27FC236}">
                  <a16:creationId xmlns:a16="http://schemas.microsoft.com/office/drawing/2014/main" id="{E7F49C21-13D1-4A4A-90D5-7D6435A28A5C}"/>
                </a:ext>
              </a:extLst>
            </p:cNvPr>
            <p:cNvSpPr>
              <a:spLocks/>
            </p:cNvSpPr>
            <p:nvPr/>
          </p:nvSpPr>
          <p:spPr bwMode="auto">
            <a:xfrm>
              <a:off x="9186854" y="5018910"/>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5" name="Freeform 328">
              <a:extLst>
                <a:ext uri="{FF2B5EF4-FFF2-40B4-BE49-F238E27FC236}">
                  <a16:creationId xmlns:a16="http://schemas.microsoft.com/office/drawing/2014/main" id="{74D3DE06-E1F4-4504-8161-03A4559C19C6}"/>
                </a:ext>
              </a:extLst>
            </p:cNvPr>
            <p:cNvSpPr>
              <a:spLocks/>
            </p:cNvSpPr>
            <p:nvPr/>
          </p:nvSpPr>
          <p:spPr bwMode="auto">
            <a:xfrm>
              <a:off x="9186854" y="5018910"/>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6" name="Freeform 329">
              <a:extLst>
                <a:ext uri="{FF2B5EF4-FFF2-40B4-BE49-F238E27FC236}">
                  <a16:creationId xmlns:a16="http://schemas.microsoft.com/office/drawing/2014/main" id="{1BC88648-2FC6-469D-9450-4F946DCCDA0C}"/>
                </a:ext>
              </a:extLst>
            </p:cNvPr>
            <p:cNvSpPr>
              <a:spLocks/>
            </p:cNvSpPr>
            <p:nvPr/>
          </p:nvSpPr>
          <p:spPr bwMode="auto">
            <a:xfrm>
              <a:off x="9480541" y="531577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7" name="Freeform 330">
              <a:extLst>
                <a:ext uri="{FF2B5EF4-FFF2-40B4-BE49-F238E27FC236}">
                  <a16:creationId xmlns:a16="http://schemas.microsoft.com/office/drawing/2014/main" id="{87239AFB-F09D-4F09-9B82-293FF70641D1}"/>
                </a:ext>
              </a:extLst>
            </p:cNvPr>
            <p:cNvSpPr>
              <a:spLocks/>
            </p:cNvSpPr>
            <p:nvPr/>
          </p:nvSpPr>
          <p:spPr bwMode="auto">
            <a:xfrm>
              <a:off x="9480541" y="5315772"/>
              <a:ext cx="0" cy="0"/>
            </a:xfrm>
            <a:custGeom>
              <a:avLst/>
              <a:gdLst/>
              <a:ahLst/>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8" name="Freeform 331">
              <a:extLst>
                <a:ext uri="{FF2B5EF4-FFF2-40B4-BE49-F238E27FC236}">
                  <a16:creationId xmlns:a16="http://schemas.microsoft.com/office/drawing/2014/main" id="{5B1A8A9D-31AB-45B7-9C34-3CE2C60CD00E}"/>
                </a:ext>
              </a:extLst>
            </p:cNvPr>
            <p:cNvSpPr>
              <a:spLocks noEditPoints="1"/>
            </p:cNvSpPr>
            <p:nvPr/>
          </p:nvSpPr>
          <p:spPr bwMode="auto">
            <a:xfrm>
              <a:off x="9480541" y="5342760"/>
              <a:ext cx="3175" cy="11113"/>
            </a:xfrm>
            <a:custGeom>
              <a:avLst/>
              <a:gdLst>
                <a:gd name="T0" fmla="*/ 1 w 1"/>
                <a:gd name="T1" fmla="*/ 0 h 3"/>
                <a:gd name="T2" fmla="*/ 0 w 1"/>
                <a:gd name="T3" fmla="*/ 3 h 3"/>
                <a:gd name="T4" fmla="*/ 1 w 1"/>
                <a:gd name="T5" fmla="*/ 0 h 3"/>
                <a:gd name="T6" fmla="*/ 1 w 1"/>
                <a:gd name="T7" fmla="*/ 0 h 3"/>
                <a:gd name="T8" fmla="*/ 1 w 1"/>
                <a:gd name="T9" fmla="*/ 0 h 3"/>
                <a:gd name="T10" fmla="*/ 1 w 1"/>
                <a:gd name="T11" fmla="*/ 0 h 3"/>
              </a:gdLst>
              <a:ahLst/>
              <a:cxnLst>
                <a:cxn ang="0">
                  <a:pos x="T0" y="T1"/>
                </a:cxn>
                <a:cxn ang="0">
                  <a:pos x="T2" y="T3"/>
                </a:cxn>
                <a:cxn ang="0">
                  <a:pos x="T4" y="T5"/>
                </a:cxn>
                <a:cxn ang="0">
                  <a:pos x="T6" y="T7"/>
                </a:cxn>
                <a:cxn ang="0">
                  <a:pos x="T8" y="T9"/>
                </a:cxn>
                <a:cxn ang="0">
                  <a:pos x="T10" y="T11"/>
                </a:cxn>
              </a:cxnLst>
              <a:rect l="0" t="0" r="r" b="b"/>
              <a:pathLst>
                <a:path w="1" h="3">
                  <a:moveTo>
                    <a:pt x="1" y="0"/>
                  </a:moveTo>
                  <a:cubicBezTo>
                    <a:pt x="1" y="1"/>
                    <a:pt x="0" y="2"/>
                    <a:pt x="0" y="3"/>
                  </a:cubicBezTo>
                  <a:cubicBezTo>
                    <a:pt x="0" y="2"/>
                    <a:pt x="1" y="1"/>
                    <a:pt x="1" y="0"/>
                  </a:cubicBezTo>
                  <a:moveTo>
                    <a:pt x="1" y="0"/>
                  </a:move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9" name="Freeform 332">
              <a:extLst>
                <a:ext uri="{FF2B5EF4-FFF2-40B4-BE49-F238E27FC236}">
                  <a16:creationId xmlns:a16="http://schemas.microsoft.com/office/drawing/2014/main" id="{18F65816-61B9-428C-BE55-5B4B17394CD0}"/>
                </a:ext>
              </a:extLst>
            </p:cNvPr>
            <p:cNvSpPr>
              <a:spLocks/>
            </p:cNvSpPr>
            <p:nvPr/>
          </p:nvSpPr>
          <p:spPr bwMode="auto">
            <a:xfrm>
              <a:off x="9863129" y="503161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0" name="Freeform 333">
              <a:extLst>
                <a:ext uri="{FF2B5EF4-FFF2-40B4-BE49-F238E27FC236}">
                  <a16:creationId xmlns:a16="http://schemas.microsoft.com/office/drawing/2014/main" id="{6F5AEBC3-98BD-42A8-A710-DCA5201EDF6C}"/>
                </a:ext>
              </a:extLst>
            </p:cNvPr>
            <p:cNvSpPr>
              <a:spLocks/>
            </p:cNvSpPr>
            <p:nvPr/>
          </p:nvSpPr>
          <p:spPr bwMode="auto">
            <a:xfrm>
              <a:off x="9802804" y="5304660"/>
              <a:ext cx="19050" cy="15875"/>
            </a:xfrm>
            <a:custGeom>
              <a:avLst/>
              <a:gdLst>
                <a:gd name="T0" fmla="*/ 5 w 5"/>
                <a:gd name="T1" fmla="*/ 0 h 4"/>
                <a:gd name="T2" fmla="*/ 0 w 5"/>
                <a:gd name="T3" fmla="*/ 3 h 4"/>
                <a:gd name="T4" fmla="*/ 5 w 5"/>
                <a:gd name="T5" fmla="*/ 4 h 4"/>
                <a:gd name="T6" fmla="*/ 5 w 5"/>
                <a:gd name="T7" fmla="*/ 0 h 4"/>
              </a:gdLst>
              <a:ahLst/>
              <a:cxnLst>
                <a:cxn ang="0">
                  <a:pos x="T0" y="T1"/>
                </a:cxn>
                <a:cxn ang="0">
                  <a:pos x="T2" y="T3"/>
                </a:cxn>
                <a:cxn ang="0">
                  <a:pos x="T4" y="T5"/>
                </a:cxn>
                <a:cxn ang="0">
                  <a:pos x="T6" y="T7"/>
                </a:cxn>
              </a:cxnLst>
              <a:rect l="0" t="0" r="r" b="b"/>
              <a:pathLst>
                <a:path w="5" h="4">
                  <a:moveTo>
                    <a:pt x="5" y="0"/>
                  </a:moveTo>
                  <a:cubicBezTo>
                    <a:pt x="3" y="2"/>
                    <a:pt x="2" y="3"/>
                    <a:pt x="0" y="3"/>
                  </a:cubicBezTo>
                  <a:cubicBezTo>
                    <a:pt x="2" y="4"/>
                    <a:pt x="3" y="4"/>
                    <a:pt x="5" y="4"/>
                  </a:cubicBezTo>
                  <a:cubicBezTo>
                    <a:pt x="5" y="3"/>
                    <a:pt x="5"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1" name="Freeform 334">
              <a:extLst>
                <a:ext uri="{FF2B5EF4-FFF2-40B4-BE49-F238E27FC236}">
                  <a16:creationId xmlns:a16="http://schemas.microsoft.com/office/drawing/2014/main" id="{87BABE04-E1DF-4EFE-B5A8-AEDA0B3045B7}"/>
                </a:ext>
              </a:extLst>
            </p:cNvPr>
            <p:cNvSpPr>
              <a:spLocks/>
            </p:cNvSpPr>
            <p:nvPr/>
          </p:nvSpPr>
          <p:spPr bwMode="auto">
            <a:xfrm>
              <a:off x="9758354" y="5298310"/>
              <a:ext cx="22225" cy="14288"/>
            </a:xfrm>
            <a:custGeom>
              <a:avLst/>
              <a:gdLst>
                <a:gd name="T0" fmla="*/ 4 w 6"/>
                <a:gd name="T1" fmla="*/ 0 h 4"/>
                <a:gd name="T2" fmla="*/ 0 w 6"/>
                <a:gd name="T3" fmla="*/ 3 h 4"/>
                <a:gd name="T4" fmla="*/ 3 w 6"/>
                <a:gd name="T5" fmla="*/ 4 h 4"/>
                <a:gd name="T6" fmla="*/ 5 w 6"/>
                <a:gd name="T7" fmla="*/ 0 h 4"/>
                <a:gd name="T8" fmla="*/ 4 w 6"/>
                <a:gd name="T9" fmla="*/ 0 h 4"/>
              </a:gdLst>
              <a:ahLst/>
              <a:cxnLst>
                <a:cxn ang="0">
                  <a:pos x="T0" y="T1"/>
                </a:cxn>
                <a:cxn ang="0">
                  <a:pos x="T2" y="T3"/>
                </a:cxn>
                <a:cxn ang="0">
                  <a:pos x="T4" y="T5"/>
                </a:cxn>
                <a:cxn ang="0">
                  <a:pos x="T6" y="T7"/>
                </a:cxn>
                <a:cxn ang="0">
                  <a:pos x="T8" y="T9"/>
                </a:cxn>
              </a:cxnLst>
              <a:rect l="0" t="0" r="r" b="b"/>
              <a:pathLst>
                <a:path w="6" h="4">
                  <a:moveTo>
                    <a:pt x="4" y="0"/>
                  </a:moveTo>
                  <a:cubicBezTo>
                    <a:pt x="2" y="0"/>
                    <a:pt x="1" y="2"/>
                    <a:pt x="0" y="3"/>
                  </a:cubicBezTo>
                  <a:cubicBezTo>
                    <a:pt x="1" y="3"/>
                    <a:pt x="2" y="4"/>
                    <a:pt x="3" y="4"/>
                  </a:cubicBezTo>
                  <a:cubicBezTo>
                    <a:pt x="5" y="4"/>
                    <a:pt x="6" y="3"/>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2" name="Freeform 335">
              <a:extLst>
                <a:ext uri="{FF2B5EF4-FFF2-40B4-BE49-F238E27FC236}">
                  <a16:creationId xmlns:a16="http://schemas.microsoft.com/office/drawing/2014/main" id="{CCDE2AF4-8305-4E16-9930-CDE255B6C26C}"/>
                </a:ext>
              </a:extLst>
            </p:cNvPr>
            <p:cNvSpPr>
              <a:spLocks/>
            </p:cNvSpPr>
            <p:nvPr/>
          </p:nvSpPr>
          <p:spPr bwMode="auto">
            <a:xfrm>
              <a:off x="9494829" y="5331647"/>
              <a:ext cx="165100" cy="52388"/>
            </a:xfrm>
            <a:custGeom>
              <a:avLst/>
              <a:gdLst>
                <a:gd name="T0" fmla="*/ 35 w 44"/>
                <a:gd name="T1" fmla="*/ 0 h 14"/>
                <a:gd name="T2" fmla="*/ 20 w 44"/>
                <a:gd name="T3" fmla="*/ 5 h 14"/>
                <a:gd name="T4" fmla="*/ 13 w 44"/>
                <a:gd name="T5" fmla="*/ 6 h 14"/>
                <a:gd name="T6" fmla="*/ 11 w 44"/>
                <a:gd name="T7" fmla="*/ 6 h 14"/>
                <a:gd name="T8" fmla="*/ 9 w 44"/>
                <a:gd name="T9" fmla="*/ 6 h 14"/>
                <a:gd name="T10" fmla="*/ 8 w 44"/>
                <a:gd name="T11" fmla="*/ 6 h 14"/>
                <a:gd name="T12" fmla="*/ 3 w 44"/>
                <a:gd name="T13" fmla="*/ 9 h 14"/>
                <a:gd name="T14" fmla="*/ 2 w 44"/>
                <a:gd name="T15" fmla="*/ 8 h 14"/>
                <a:gd name="T16" fmla="*/ 2 w 44"/>
                <a:gd name="T17" fmla="*/ 8 h 14"/>
                <a:gd name="T18" fmla="*/ 1 w 44"/>
                <a:gd name="T19" fmla="*/ 9 h 14"/>
                <a:gd name="T20" fmla="*/ 1 w 44"/>
                <a:gd name="T21" fmla="*/ 9 h 14"/>
                <a:gd name="T22" fmla="*/ 0 w 44"/>
                <a:gd name="T23" fmla="*/ 9 h 14"/>
                <a:gd name="T24" fmla="*/ 0 w 44"/>
                <a:gd name="T25" fmla="*/ 10 h 14"/>
                <a:gd name="T26" fmla="*/ 1 w 44"/>
                <a:gd name="T27" fmla="*/ 12 h 14"/>
                <a:gd name="T28" fmla="*/ 0 w 44"/>
                <a:gd name="T29" fmla="*/ 14 h 14"/>
                <a:gd name="T30" fmla="*/ 0 w 44"/>
                <a:gd name="T31" fmla="*/ 14 h 14"/>
                <a:gd name="T32" fmla="*/ 8 w 44"/>
                <a:gd name="T33" fmla="*/ 13 h 14"/>
                <a:gd name="T34" fmla="*/ 11 w 44"/>
                <a:gd name="T35" fmla="*/ 13 h 14"/>
                <a:gd name="T36" fmla="*/ 15 w 44"/>
                <a:gd name="T37" fmla="*/ 12 h 14"/>
                <a:gd name="T38" fmla="*/ 22 w 44"/>
                <a:gd name="T39" fmla="*/ 11 h 14"/>
                <a:gd name="T40" fmla="*/ 24 w 44"/>
                <a:gd name="T41" fmla="*/ 10 h 14"/>
                <a:gd name="T42" fmla="*/ 25 w 44"/>
                <a:gd name="T43" fmla="*/ 10 h 14"/>
                <a:gd name="T44" fmla="*/ 29 w 44"/>
                <a:gd name="T45" fmla="*/ 9 h 14"/>
                <a:gd name="T46" fmla="*/ 30 w 44"/>
                <a:gd name="T47" fmla="*/ 8 h 14"/>
                <a:gd name="T48" fmla="*/ 31 w 44"/>
                <a:gd name="T49" fmla="*/ 8 h 14"/>
                <a:gd name="T50" fmla="*/ 32 w 44"/>
                <a:gd name="T51" fmla="*/ 8 h 14"/>
                <a:gd name="T52" fmla="*/ 35 w 44"/>
                <a:gd name="T53" fmla="*/ 6 h 14"/>
                <a:gd name="T54" fmla="*/ 44 w 44"/>
                <a:gd name="T55" fmla="*/ 3 h 14"/>
                <a:gd name="T56" fmla="*/ 31 w 44"/>
                <a:gd name="T57" fmla="*/ 3 h 14"/>
                <a:gd name="T58" fmla="*/ 35 w 44"/>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 h="14">
                  <a:moveTo>
                    <a:pt x="35" y="0"/>
                  </a:moveTo>
                  <a:cubicBezTo>
                    <a:pt x="30" y="1"/>
                    <a:pt x="25" y="3"/>
                    <a:pt x="20" y="5"/>
                  </a:cubicBezTo>
                  <a:cubicBezTo>
                    <a:pt x="17" y="5"/>
                    <a:pt x="15" y="5"/>
                    <a:pt x="13" y="6"/>
                  </a:cubicBezTo>
                  <a:cubicBezTo>
                    <a:pt x="12" y="6"/>
                    <a:pt x="11" y="6"/>
                    <a:pt x="11" y="6"/>
                  </a:cubicBezTo>
                  <a:cubicBezTo>
                    <a:pt x="10" y="6"/>
                    <a:pt x="10" y="6"/>
                    <a:pt x="9" y="6"/>
                  </a:cubicBezTo>
                  <a:cubicBezTo>
                    <a:pt x="9" y="6"/>
                    <a:pt x="8" y="6"/>
                    <a:pt x="8" y="6"/>
                  </a:cubicBezTo>
                  <a:cubicBezTo>
                    <a:pt x="5" y="6"/>
                    <a:pt x="2" y="6"/>
                    <a:pt x="3" y="9"/>
                  </a:cubicBezTo>
                  <a:cubicBezTo>
                    <a:pt x="2" y="8"/>
                    <a:pt x="2" y="8"/>
                    <a:pt x="2" y="8"/>
                  </a:cubicBezTo>
                  <a:cubicBezTo>
                    <a:pt x="2" y="8"/>
                    <a:pt x="2" y="8"/>
                    <a:pt x="2" y="8"/>
                  </a:cubicBezTo>
                  <a:cubicBezTo>
                    <a:pt x="1" y="8"/>
                    <a:pt x="1" y="8"/>
                    <a:pt x="1" y="9"/>
                  </a:cubicBezTo>
                  <a:cubicBezTo>
                    <a:pt x="1" y="9"/>
                    <a:pt x="1" y="9"/>
                    <a:pt x="1" y="9"/>
                  </a:cubicBezTo>
                  <a:cubicBezTo>
                    <a:pt x="0" y="9"/>
                    <a:pt x="0" y="9"/>
                    <a:pt x="0" y="9"/>
                  </a:cubicBezTo>
                  <a:cubicBezTo>
                    <a:pt x="0" y="10"/>
                    <a:pt x="0" y="10"/>
                    <a:pt x="0" y="10"/>
                  </a:cubicBezTo>
                  <a:cubicBezTo>
                    <a:pt x="1" y="10"/>
                    <a:pt x="1" y="11"/>
                    <a:pt x="1" y="12"/>
                  </a:cubicBezTo>
                  <a:cubicBezTo>
                    <a:pt x="1" y="13"/>
                    <a:pt x="1" y="13"/>
                    <a:pt x="0" y="14"/>
                  </a:cubicBezTo>
                  <a:cubicBezTo>
                    <a:pt x="0" y="14"/>
                    <a:pt x="0" y="14"/>
                    <a:pt x="0" y="14"/>
                  </a:cubicBezTo>
                  <a:cubicBezTo>
                    <a:pt x="3" y="14"/>
                    <a:pt x="6" y="14"/>
                    <a:pt x="8" y="13"/>
                  </a:cubicBezTo>
                  <a:cubicBezTo>
                    <a:pt x="9" y="13"/>
                    <a:pt x="10" y="13"/>
                    <a:pt x="11" y="13"/>
                  </a:cubicBezTo>
                  <a:cubicBezTo>
                    <a:pt x="12" y="12"/>
                    <a:pt x="14" y="12"/>
                    <a:pt x="15" y="12"/>
                  </a:cubicBezTo>
                  <a:cubicBezTo>
                    <a:pt x="16" y="12"/>
                    <a:pt x="20" y="11"/>
                    <a:pt x="22" y="11"/>
                  </a:cubicBezTo>
                  <a:cubicBezTo>
                    <a:pt x="23" y="10"/>
                    <a:pt x="23" y="10"/>
                    <a:pt x="24" y="10"/>
                  </a:cubicBezTo>
                  <a:cubicBezTo>
                    <a:pt x="25" y="10"/>
                    <a:pt x="25" y="10"/>
                    <a:pt x="25" y="10"/>
                  </a:cubicBezTo>
                  <a:cubicBezTo>
                    <a:pt x="26" y="9"/>
                    <a:pt x="27" y="10"/>
                    <a:pt x="29" y="9"/>
                  </a:cubicBezTo>
                  <a:cubicBezTo>
                    <a:pt x="29" y="9"/>
                    <a:pt x="30" y="9"/>
                    <a:pt x="30" y="8"/>
                  </a:cubicBezTo>
                  <a:cubicBezTo>
                    <a:pt x="30" y="8"/>
                    <a:pt x="31" y="8"/>
                    <a:pt x="31" y="8"/>
                  </a:cubicBezTo>
                  <a:cubicBezTo>
                    <a:pt x="32" y="8"/>
                    <a:pt x="32" y="8"/>
                    <a:pt x="32" y="8"/>
                  </a:cubicBezTo>
                  <a:cubicBezTo>
                    <a:pt x="33" y="7"/>
                    <a:pt x="34" y="7"/>
                    <a:pt x="35" y="6"/>
                  </a:cubicBezTo>
                  <a:cubicBezTo>
                    <a:pt x="38" y="5"/>
                    <a:pt x="41" y="4"/>
                    <a:pt x="44" y="3"/>
                  </a:cubicBezTo>
                  <a:cubicBezTo>
                    <a:pt x="40" y="3"/>
                    <a:pt x="35" y="3"/>
                    <a:pt x="31" y="3"/>
                  </a:cubicBezTo>
                  <a:cubicBezTo>
                    <a:pt x="32" y="2"/>
                    <a:pt x="33" y="1"/>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3" name="Freeform 336">
              <a:extLst>
                <a:ext uri="{FF2B5EF4-FFF2-40B4-BE49-F238E27FC236}">
                  <a16:creationId xmlns:a16="http://schemas.microsoft.com/office/drawing/2014/main" id="{17ED6A78-2A4E-463B-AC01-3C21E825C8FF}"/>
                </a:ext>
              </a:extLst>
            </p:cNvPr>
            <p:cNvSpPr>
              <a:spLocks/>
            </p:cNvSpPr>
            <p:nvPr/>
          </p:nvSpPr>
          <p:spPr bwMode="auto">
            <a:xfrm>
              <a:off x="10306041" y="4655372"/>
              <a:ext cx="217488" cy="120650"/>
            </a:xfrm>
            <a:custGeom>
              <a:avLst/>
              <a:gdLst>
                <a:gd name="T0" fmla="*/ 11 w 58"/>
                <a:gd name="T1" fmla="*/ 0 h 32"/>
                <a:gd name="T2" fmla="*/ 7 w 58"/>
                <a:gd name="T3" fmla="*/ 3 h 32"/>
                <a:gd name="T4" fmla="*/ 4 w 58"/>
                <a:gd name="T5" fmla="*/ 7 h 32"/>
                <a:gd name="T6" fmla="*/ 3 w 58"/>
                <a:gd name="T7" fmla="*/ 12 h 32"/>
                <a:gd name="T8" fmla="*/ 7 w 58"/>
                <a:gd name="T9" fmla="*/ 13 h 32"/>
                <a:gd name="T10" fmla="*/ 9 w 58"/>
                <a:gd name="T11" fmla="*/ 12 h 32"/>
                <a:gd name="T12" fmla="*/ 10 w 58"/>
                <a:gd name="T13" fmla="*/ 19 h 32"/>
                <a:gd name="T14" fmla="*/ 10 w 58"/>
                <a:gd name="T15" fmla="*/ 19 h 32"/>
                <a:gd name="T16" fmla="*/ 11 w 58"/>
                <a:gd name="T17" fmla="*/ 19 h 32"/>
                <a:gd name="T18" fmla="*/ 12 w 58"/>
                <a:gd name="T19" fmla="*/ 19 h 32"/>
                <a:gd name="T20" fmla="*/ 13 w 58"/>
                <a:gd name="T21" fmla="*/ 19 h 32"/>
                <a:gd name="T22" fmla="*/ 16 w 58"/>
                <a:gd name="T23" fmla="*/ 22 h 32"/>
                <a:gd name="T24" fmla="*/ 23 w 58"/>
                <a:gd name="T25" fmla="*/ 25 h 32"/>
                <a:gd name="T26" fmla="*/ 27 w 58"/>
                <a:gd name="T27" fmla="*/ 26 h 32"/>
                <a:gd name="T28" fmla="*/ 28 w 58"/>
                <a:gd name="T29" fmla="*/ 26 h 32"/>
                <a:gd name="T30" fmla="*/ 28 w 58"/>
                <a:gd name="T31" fmla="*/ 26 h 32"/>
                <a:gd name="T32" fmla="*/ 30 w 58"/>
                <a:gd name="T33" fmla="*/ 23 h 32"/>
                <a:gd name="T34" fmla="*/ 33 w 58"/>
                <a:gd name="T35" fmla="*/ 27 h 32"/>
                <a:gd name="T36" fmla="*/ 37 w 58"/>
                <a:gd name="T37" fmla="*/ 31 h 32"/>
                <a:gd name="T38" fmla="*/ 41 w 58"/>
                <a:gd name="T39" fmla="*/ 32 h 32"/>
                <a:gd name="T40" fmla="*/ 46 w 58"/>
                <a:gd name="T41" fmla="*/ 30 h 32"/>
                <a:gd name="T42" fmla="*/ 44 w 58"/>
                <a:gd name="T43" fmla="*/ 29 h 32"/>
                <a:gd name="T44" fmla="*/ 46 w 58"/>
                <a:gd name="T45" fmla="*/ 28 h 32"/>
                <a:gd name="T46" fmla="*/ 43 w 58"/>
                <a:gd name="T47" fmla="*/ 25 h 32"/>
                <a:gd name="T48" fmla="*/ 44 w 58"/>
                <a:gd name="T49" fmla="*/ 25 h 32"/>
                <a:gd name="T50" fmla="*/ 45 w 58"/>
                <a:gd name="T51" fmla="*/ 25 h 32"/>
                <a:gd name="T52" fmla="*/ 45 w 58"/>
                <a:gd name="T53" fmla="*/ 24 h 32"/>
                <a:gd name="T54" fmla="*/ 46 w 58"/>
                <a:gd name="T55" fmla="*/ 24 h 32"/>
                <a:gd name="T56" fmla="*/ 46 w 58"/>
                <a:gd name="T57" fmla="*/ 23 h 32"/>
                <a:gd name="T58" fmla="*/ 47 w 58"/>
                <a:gd name="T59" fmla="*/ 23 h 32"/>
                <a:gd name="T60" fmla="*/ 48 w 58"/>
                <a:gd name="T61" fmla="*/ 22 h 32"/>
                <a:gd name="T62" fmla="*/ 49 w 58"/>
                <a:gd name="T63" fmla="*/ 21 h 32"/>
                <a:gd name="T64" fmla="*/ 58 w 58"/>
                <a:gd name="T65" fmla="*/ 17 h 32"/>
                <a:gd name="T66" fmla="*/ 53 w 58"/>
                <a:gd name="T67" fmla="*/ 17 h 32"/>
                <a:gd name="T68" fmla="*/ 49 w 58"/>
                <a:gd name="T69" fmla="*/ 17 h 32"/>
                <a:gd name="T70" fmla="*/ 13 w 58"/>
                <a:gd name="T71" fmla="*/ 17 h 32"/>
                <a:gd name="T72" fmla="*/ 13 w 58"/>
                <a:gd name="T73" fmla="*/ 13 h 32"/>
                <a:gd name="T74" fmla="*/ 9 w 58"/>
                <a:gd name="T75" fmla="*/ 7 h 32"/>
                <a:gd name="T76" fmla="*/ 11 w 58"/>
                <a:gd name="T77" fmla="*/ 5 h 32"/>
                <a:gd name="T78" fmla="*/ 11 w 58"/>
                <a:gd name="T7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 h="32">
                  <a:moveTo>
                    <a:pt x="11" y="0"/>
                  </a:moveTo>
                  <a:cubicBezTo>
                    <a:pt x="9" y="1"/>
                    <a:pt x="8" y="2"/>
                    <a:pt x="7" y="3"/>
                  </a:cubicBezTo>
                  <a:cubicBezTo>
                    <a:pt x="5" y="4"/>
                    <a:pt x="5" y="6"/>
                    <a:pt x="4" y="7"/>
                  </a:cubicBezTo>
                  <a:cubicBezTo>
                    <a:pt x="2" y="10"/>
                    <a:pt x="0" y="11"/>
                    <a:pt x="3" y="12"/>
                  </a:cubicBezTo>
                  <a:cubicBezTo>
                    <a:pt x="4" y="13"/>
                    <a:pt x="5" y="13"/>
                    <a:pt x="7" y="13"/>
                  </a:cubicBezTo>
                  <a:cubicBezTo>
                    <a:pt x="8" y="13"/>
                    <a:pt x="9" y="13"/>
                    <a:pt x="9" y="12"/>
                  </a:cubicBezTo>
                  <a:cubicBezTo>
                    <a:pt x="10" y="15"/>
                    <a:pt x="5" y="19"/>
                    <a:pt x="10" y="19"/>
                  </a:cubicBezTo>
                  <a:cubicBezTo>
                    <a:pt x="10" y="19"/>
                    <a:pt x="10" y="19"/>
                    <a:pt x="10" y="19"/>
                  </a:cubicBezTo>
                  <a:cubicBezTo>
                    <a:pt x="11" y="19"/>
                    <a:pt x="11" y="19"/>
                    <a:pt x="11" y="19"/>
                  </a:cubicBezTo>
                  <a:cubicBezTo>
                    <a:pt x="12" y="19"/>
                    <a:pt x="12" y="19"/>
                    <a:pt x="12" y="19"/>
                  </a:cubicBezTo>
                  <a:cubicBezTo>
                    <a:pt x="12" y="19"/>
                    <a:pt x="13" y="19"/>
                    <a:pt x="13" y="19"/>
                  </a:cubicBezTo>
                  <a:cubicBezTo>
                    <a:pt x="14" y="19"/>
                    <a:pt x="15" y="20"/>
                    <a:pt x="16" y="22"/>
                  </a:cubicBezTo>
                  <a:cubicBezTo>
                    <a:pt x="19" y="24"/>
                    <a:pt x="20" y="24"/>
                    <a:pt x="23" y="25"/>
                  </a:cubicBezTo>
                  <a:cubicBezTo>
                    <a:pt x="24" y="25"/>
                    <a:pt x="26" y="26"/>
                    <a:pt x="27" y="26"/>
                  </a:cubicBezTo>
                  <a:cubicBezTo>
                    <a:pt x="27" y="26"/>
                    <a:pt x="28" y="26"/>
                    <a:pt x="28" y="26"/>
                  </a:cubicBezTo>
                  <a:cubicBezTo>
                    <a:pt x="28" y="26"/>
                    <a:pt x="28" y="26"/>
                    <a:pt x="28" y="26"/>
                  </a:cubicBezTo>
                  <a:cubicBezTo>
                    <a:pt x="27" y="26"/>
                    <a:pt x="30" y="23"/>
                    <a:pt x="30" y="23"/>
                  </a:cubicBezTo>
                  <a:cubicBezTo>
                    <a:pt x="31" y="24"/>
                    <a:pt x="33" y="25"/>
                    <a:pt x="33" y="27"/>
                  </a:cubicBezTo>
                  <a:cubicBezTo>
                    <a:pt x="33" y="28"/>
                    <a:pt x="36" y="30"/>
                    <a:pt x="37" y="31"/>
                  </a:cubicBezTo>
                  <a:cubicBezTo>
                    <a:pt x="38" y="32"/>
                    <a:pt x="40" y="32"/>
                    <a:pt x="41" y="32"/>
                  </a:cubicBezTo>
                  <a:cubicBezTo>
                    <a:pt x="43" y="32"/>
                    <a:pt x="45" y="31"/>
                    <a:pt x="46" y="30"/>
                  </a:cubicBezTo>
                  <a:cubicBezTo>
                    <a:pt x="46" y="30"/>
                    <a:pt x="45" y="29"/>
                    <a:pt x="44" y="29"/>
                  </a:cubicBezTo>
                  <a:cubicBezTo>
                    <a:pt x="45" y="29"/>
                    <a:pt x="46" y="29"/>
                    <a:pt x="46" y="28"/>
                  </a:cubicBezTo>
                  <a:cubicBezTo>
                    <a:pt x="46" y="27"/>
                    <a:pt x="44" y="25"/>
                    <a:pt x="43" y="25"/>
                  </a:cubicBezTo>
                  <a:cubicBezTo>
                    <a:pt x="43" y="25"/>
                    <a:pt x="43" y="25"/>
                    <a:pt x="44" y="25"/>
                  </a:cubicBezTo>
                  <a:cubicBezTo>
                    <a:pt x="44" y="25"/>
                    <a:pt x="45" y="25"/>
                    <a:pt x="45" y="25"/>
                  </a:cubicBezTo>
                  <a:cubicBezTo>
                    <a:pt x="45" y="24"/>
                    <a:pt x="45" y="24"/>
                    <a:pt x="45" y="24"/>
                  </a:cubicBezTo>
                  <a:cubicBezTo>
                    <a:pt x="45" y="24"/>
                    <a:pt x="45" y="24"/>
                    <a:pt x="46" y="24"/>
                  </a:cubicBezTo>
                  <a:cubicBezTo>
                    <a:pt x="47" y="24"/>
                    <a:pt x="48" y="23"/>
                    <a:pt x="46" y="23"/>
                  </a:cubicBezTo>
                  <a:cubicBezTo>
                    <a:pt x="46" y="23"/>
                    <a:pt x="47" y="23"/>
                    <a:pt x="47" y="23"/>
                  </a:cubicBezTo>
                  <a:cubicBezTo>
                    <a:pt x="48" y="23"/>
                    <a:pt x="49" y="23"/>
                    <a:pt x="48" y="22"/>
                  </a:cubicBezTo>
                  <a:cubicBezTo>
                    <a:pt x="49" y="21"/>
                    <a:pt x="49" y="21"/>
                    <a:pt x="49" y="21"/>
                  </a:cubicBezTo>
                  <a:cubicBezTo>
                    <a:pt x="49" y="21"/>
                    <a:pt x="56" y="18"/>
                    <a:pt x="58" y="17"/>
                  </a:cubicBezTo>
                  <a:cubicBezTo>
                    <a:pt x="56" y="17"/>
                    <a:pt x="54" y="17"/>
                    <a:pt x="53" y="17"/>
                  </a:cubicBezTo>
                  <a:cubicBezTo>
                    <a:pt x="51" y="17"/>
                    <a:pt x="50" y="17"/>
                    <a:pt x="49" y="17"/>
                  </a:cubicBezTo>
                  <a:cubicBezTo>
                    <a:pt x="37" y="17"/>
                    <a:pt x="25" y="17"/>
                    <a:pt x="13" y="17"/>
                  </a:cubicBezTo>
                  <a:cubicBezTo>
                    <a:pt x="10" y="17"/>
                    <a:pt x="17" y="14"/>
                    <a:pt x="13" y="13"/>
                  </a:cubicBezTo>
                  <a:cubicBezTo>
                    <a:pt x="15" y="11"/>
                    <a:pt x="9" y="9"/>
                    <a:pt x="9" y="7"/>
                  </a:cubicBezTo>
                  <a:cubicBezTo>
                    <a:pt x="9" y="7"/>
                    <a:pt x="11" y="5"/>
                    <a:pt x="11" y="5"/>
                  </a:cubicBezTo>
                  <a:cubicBezTo>
                    <a:pt x="11" y="4"/>
                    <a:pt x="11" y="1"/>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4" name="Freeform 337">
              <a:extLst>
                <a:ext uri="{FF2B5EF4-FFF2-40B4-BE49-F238E27FC236}">
                  <a16:creationId xmlns:a16="http://schemas.microsoft.com/office/drawing/2014/main" id="{99D50982-32A2-4846-86B9-0C13738EFF8F}"/>
                </a:ext>
              </a:extLst>
            </p:cNvPr>
            <p:cNvSpPr>
              <a:spLocks/>
            </p:cNvSpPr>
            <p:nvPr/>
          </p:nvSpPr>
          <p:spPr bwMode="auto">
            <a:xfrm>
              <a:off x="9340841" y="5830122"/>
              <a:ext cx="7938" cy="42863"/>
            </a:xfrm>
            <a:custGeom>
              <a:avLst/>
              <a:gdLst>
                <a:gd name="T0" fmla="*/ 0 w 2"/>
                <a:gd name="T1" fmla="*/ 0 h 11"/>
                <a:gd name="T2" fmla="*/ 0 w 2"/>
                <a:gd name="T3" fmla="*/ 11 h 11"/>
                <a:gd name="T4" fmla="*/ 1 w 2"/>
                <a:gd name="T5" fmla="*/ 10 h 11"/>
                <a:gd name="T6" fmla="*/ 2 w 2"/>
                <a:gd name="T7" fmla="*/ 5 h 11"/>
                <a:gd name="T8" fmla="*/ 2 w 2"/>
                <a:gd name="T9" fmla="*/ 5 h 11"/>
                <a:gd name="T10" fmla="*/ 1 w 2"/>
                <a:gd name="T11" fmla="*/ 3 h 11"/>
                <a:gd name="T12" fmla="*/ 0 w 2"/>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2" h="11">
                  <a:moveTo>
                    <a:pt x="0" y="0"/>
                  </a:moveTo>
                  <a:cubicBezTo>
                    <a:pt x="1" y="4"/>
                    <a:pt x="0" y="8"/>
                    <a:pt x="0" y="11"/>
                  </a:cubicBezTo>
                  <a:cubicBezTo>
                    <a:pt x="1" y="11"/>
                    <a:pt x="1" y="10"/>
                    <a:pt x="1" y="10"/>
                  </a:cubicBezTo>
                  <a:cubicBezTo>
                    <a:pt x="1" y="8"/>
                    <a:pt x="2" y="7"/>
                    <a:pt x="2" y="5"/>
                  </a:cubicBezTo>
                  <a:cubicBezTo>
                    <a:pt x="2" y="5"/>
                    <a:pt x="2" y="5"/>
                    <a:pt x="2" y="5"/>
                  </a:cubicBezTo>
                  <a:cubicBezTo>
                    <a:pt x="2" y="4"/>
                    <a:pt x="1" y="4"/>
                    <a:pt x="1"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5" name="Freeform 338">
              <a:extLst>
                <a:ext uri="{FF2B5EF4-FFF2-40B4-BE49-F238E27FC236}">
                  <a16:creationId xmlns:a16="http://schemas.microsoft.com/office/drawing/2014/main" id="{D3FDD455-7EF3-44A5-B848-88FF0F6E1B59}"/>
                </a:ext>
              </a:extLst>
            </p:cNvPr>
            <p:cNvSpPr>
              <a:spLocks/>
            </p:cNvSpPr>
            <p:nvPr/>
          </p:nvSpPr>
          <p:spPr bwMode="auto">
            <a:xfrm>
              <a:off x="9480541" y="533164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6" name="Freeform 339">
              <a:extLst>
                <a:ext uri="{FF2B5EF4-FFF2-40B4-BE49-F238E27FC236}">
                  <a16:creationId xmlns:a16="http://schemas.microsoft.com/office/drawing/2014/main" id="{CD607588-6713-47CE-B7CA-0E65ADCACF69}"/>
                </a:ext>
              </a:extLst>
            </p:cNvPr>
            <p:cNvSpPr>
              <a:spLocks/>
            </p:cNvSpPr>
            <p:nvPr/>
          </p:nvSpPr>
          <p:spPr bwMode="auto">
            <a:xfrm>
              <a:off x="9480541" y="5331647"/>
              <a:ext cx="0" cy="0"/>
            </a:xfrm>
            <a:custGeom>
              <a:avLst/>
              <a:gdLst/>
              <a:ahLst/>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7" name="Freeform 340">
              <a:extLst>
                <a:ext uri="{FF2B5EF4-FFF2-40B4-BE49-F238E27FC236}">
                  <a16:creationId xmlns:a16="http://schemas.microsoft.com/office/drawing/2014/main" id="{56CE38F2-441B-49F2-9CF0-F0EB641B71DE}"/>
                </a:ext>
              </a:extLst>
            </p:cNvPr>
            <p:cNvSpPr>
              <a:spLocks/>
            </p:cNvSpPr>
            <p:nvPr/>
          </p:nvSpPr>
          <p:spPr bwMode="auto">
            <a:xfrm>
              <a:off x="9161454" y="5018910"/>
              <a:ext cx="63500" cy="26988"/>
            </a:xfrm>
            <a:custGeom>
              <a:avLst/>
              <a:gdLst>
                <a:gd name="T0" fmla="*/ 12 w 17"/>
                <a:gd name="T1" fmla="*/ 0 h 7"/>
                <a:gd name="T2" fmla="*/ 7 w 17"/>
                <a:gd name="T3" fmla="*/ 0 h 7"/>
                <a:gd name="T4" fmla="*/ 7 w 17"/>
                <a:gd name="T5" fmla="*/ 0 h 7"/>
                <a:gd name="T6" fmla="*/ 7 w 17"/>
                <a:gd name="T7" fmla="*/ 0 h 7"/>
                <a:gd name="T8" fmla="*/ 7 w 17"/>
                <a:gd name="T9" fmla="*/ 0 h 7"/>
                <a:gd name="T10" fmla="*/ 4 w 17"/>
                <a:gd name="T11" fmla="*/ 0 h 7"/>
                <a:gd name="T12" fmla="*/ 3 w 17"/>
                <a:gd name="T13" fmla="*/ 0 h 7"/>
                <a:gd name="T14" fmla="*/ 1 w 17"/>
                <a:gd name="T15" fmla="*/ 1 h 7"/>
                <a:gd name="T16" fmla="*/ 0 w 17"/>
                <a:gd name="T17" fmla="*/ 3 h 7"/>
                <a:gd name="T18" fmla="*/ 1 w 17"/>
                <a:gd name="T19" fmla="*/ 3 h 7"/>
                <a:gd name="T20" fmla="*/ 2 w 17"/>
                <a:gd name="T21" fmla="*/ 3 h 7"/>
                <a:gd name="T22" fmla="*/ 1 w 17"/>
                <a:gd name="T23" fmla="*/ 3 h 7"/>
                <a:gd name="T24" fmla="*/ 2 w 17"/>
                <a:gd name="T25" fmla="*/ 4 h 7"/>
                <a:gd name="T26" fmla="*/ 2 w 17"/>
                <a:gd name="T27" fmla="*/ 4 h 7"/>
                <a:gd name="T28" fmla="*/ 2 w 17"/>
                <a:gd name="T29" fmla="*/ 4 h 7"/>
                <a:gd name="T30" fmla="*/ 3 w 17"/>
                <a:gd name="T31" fmla="*/ 5 h 7"/>
                <a:gd name="T32" fmla="*/ 3 w 17"/>
                <a:gd name="T33" fmla="*/ 5 h 7"/>
                <a:gd name="T34" fmla="*/ 7 w 17"/>
                <a:gd name="T35" fmla="*/ 4 h 7"/>
                <a:gd name="T36" fmla="*/ 7 w 17"/>
                <a:gd name="T37" fmla="*/ 5 h 7"/>
                <a:gd name="T38" fmla="*/ 8 w 17"/>
                <a:gd name="T39" fmla="*/ 5 h 7"/>
                <a:gd name="T40" fmla="*/ 8 w 17"/>
                <a:gd name="T41" fmla="*/ 5 h 7"/>
                <a:gd name="T42" fmla="*/ 8 w 17"/>
                <a:gd name="T43" fmla="*/ 5 h 7"/>
                <a:gd name="T44" fmla="*/ 8 w 17"/>
                <a:gd name="T45" fmla="*/ 5 h 7"/>
                <a:gd name="T46" fmla="*/ 7 w 17"/>
                <a:gd name="T47" fmla="*/ 5 h 7"/>
                <a:gd name="T48" fmla="*/ 7 w 17"/>
                <a:gd name="T49" fmla="*/ 5 h 7"/>
                <a:gd name="T50" fmla="*/ 7 w 17"/>
                <a:gd name="T51" fmla="*/ 6 h 7"/>
                <a:gd name="T52" fmla="*/ 8 w 17"/>
                <a:gd name="T53" fmla="*/ 6 h 7"/>
                <a:gd name="T54" fmla="*/ 8 w 17"/>
                <a:gd name="T55" fmla="*/ 6 h 7"/>
                <a:gd name="T56" fmla="*/ 9 w 17"/>
                <a:gd name="T57" fmla="*/ 6 h 7"/>
                <a:gd name="T58" fmla="*/ 9 w 17"/>
                <a:gd name="T59" fmla="*/ 6 h 7"/>
                <a:gd name="T60" fmla="*/ 9 w 17"/>
                <a:gd name="T61" fmla="*/ 6 h 7"/>
                <a:gd name="T62" fmla="*/ 9 w 17"/>
                <a:gd name="T63" fmla="*/ 6 h 7"/>
                <a:gd name="T64" fmla="*/ 9 w 17"/>
                <a:gd name="T65" fmla="*/ 6 h 7"/>
                <a:gd name="T66" fmla="*/ 9 w 17"/>
                <a:gd name="T67" fmla="*/ 7 h 7"/>
                <a:gd name="T68" fmla="*/ 9 w 17"/>
                <a:gd name="T69" fmla="*/ 7 h 7"/>
                <a:gd name="T70" fmla="*/ 10 w 17"/>
                <a:gd name="T71" fmla="*/ 7 h 7"/>
                <a:gd name="T72" fmla="*/ 10 w 17"/>
                <a:gd name="T73" fmla="*/ 7 h 7"/>
                <a:gd name="T74" fmla="*/ 11 w 17"/>
                <a:gd name="T75" fmla="*/ 7 h 7"/>
                <a:gd name="T76" fmla="*/ 16 w 17"/>
                <a:gd name="T77" fmla="*/ 2 h 7"/>
                <a:gd name="T78" fmla="*/ 17 w 17"/>
                <a:gd name="T79" fmla="*/ 0 h 7"/>
                <a:gd name="T80" fmla="*/ 17 w 17"/>
                <a:gd name="T81" fmla="*/ 0 h 7"/>
                <a:gd name="T82" fmla="*/ 17 w 17"/>
                <a:gd name="T83" fmla="*/ 0 h 7"/>
                <a:gd name="T84" fmla="*/ 17 w 17"/>
                <a:gd name="T85" fmla="*/ 0 h 7"/>
                <a:gd name="T86" fmla="*/ 13 w 17"/>
                <a:gd name="T87" fmla="*/ 2 h 7"/>
                <a:gd name="T88" fmla="*/ 12 w 17"/>
                <a:gd name="T89" fmla="*/ 2 h 7"/>
                <a:gd name="T90" fmla="*/ 11 w 17"/>
                <a:gd name="T91" fmla="*/ 2 h 7"/>
                <a:gd name="T92" fmla="*/ 12 w 17"/>
                <a:gd name="T9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 h="7">
                  <a:moveTo>
                    <a:pt x="12" y="0"/>
                  </a:moveTo>
                  <a:cubicBezTo>
                    <a:pt x="12" y="0"/>
                    <a:pt x="12" y="0"/>
                    <a:pt x="12" y="0"/>
                  </a:cubicBezTo>
                  <a:cubicBezTo>
                    <a:pt x="10" y="0"/>
                    <a:pt x="10" y="0"/>
                    <a:pt x="10" y="0"/>
                  </a:cubicBezTo>
                  <a:cubicBezTo>
                    <a:pt x="9" y="0"/>
                    <a:pt x="8"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4" y="0"/>
                    <a:pt x="4" y="0"/>
                    <a:pt x="4" y="0"/>
                  </a:cubicBezTo>
                  <a:cubicBezTo>
                    <a:pt x="3" y="0"/>
                    <a:pt x="3" y="0"/>
                    <a:pt x="3" y="0"/>
                  </a:cubicBezTo>
                  <a:cubicBezTo>
                    <a:pt x="3" y="0"/>
                    <a:pt x="3" y="0"/>
                    <a:pt x="3" y="0"/>
                  </a:cubicBezTo>
                  <a:cubicBezTo>
                    <a:pt x="2" y="0"/>
                    <a:pt x="2" y="0"/>
                    <a:pt x="2" y="0"/>
                  </a:cubicBezTo>
                  <a:cubicBezTo>
                    <a:pt x="1" y="1"/>
                    <a:pt x="1" y="1"/>
                    <a:pt x="1" y="1"/>
                  </a:cubicBezTo>
                  <a:cubicBezTo>
                    <a:pt x="1" y="1"/>
                    <a:pt x="1" y="1"/>
                    <a:pt x="1" y="1"/>
                  </a:cubicBezTo>
                  <a:cubicBezTo>
                    <a:pt x="0" y="3"/>
                    <a:pt x="0" y="3"/>
                    <a:pt x="0" y="3"/>
                  </a:cubicBezTo>
                  <a:cubicBezTo>
                    <a:pt x="0" y="3"/>
                    <a:pt x="0" y="3"/>
                    <a:pt x="0" y="3"/>
                  </a:cubicBezTo>
                  <a:cubicBezTo>
                    <a:pt x="1" y="3"/>
                    <a:pt x="1" y="3"/>
                    <a:pt x="1" y="3"/>
                  </a:cubicBezTo>
                  <a:cubicBezTo>
                    <a:pt x="1" y="3"/>
                    <a:pt x="1" y="3"/>
                    <a:pt x="1" y="3"/>
                  </a:cubicBezTo>
                  <a:cubicBezTo>
                    <a:pt x="2" y="3"/>
                    <a:pt x="2" y="3"/>
                    <a:pt x="2" y="3"/>
                  </a:cubicBezTo>
                  <a:cubicBezTo>
                    <a:pt x="2" y="3"/>
                    <a:pt x="2" y="3"/>
                    <a:pt x="2" y="3"/>
                  </a:cubicBezTo>
                  <a:cubicBezTo>
                    <a:pt x="1" y="3"/>
                    <a:pt x="1" y="3"/>
                    <a:pt x="1" y="3"/>
                  </a:cubicBezTo>
                  <a:cubicBezTo>
                    <a:pt x="1" y="3"/>
                    <a:pt x="1" y="4"/>
                    <a:pt x="1"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3" y="5"/>
                    <a:pt x="2" y="5"/>
                    <a:pt x="3" y="5"/>
                  </a:cubicBezTo>
                  <a:cubicBezTo>
                    <a:pt x="3" y="5"/>
                    <a:pt x="3" y="5"/>
                    <a:pt x="3" y="5"/>
                  </a:cubicBezTo>
                  <a:cubicBezTo>
                    <a:pt x="3" y="5"/>
                    <a:pt x="3" y="5"/>
                    <a:pt x="3" y="5"/>
                  </a:cubicBezTo>
                  <a:cubicBezTo>
                    <a:pt x="3" y="5"/>
                    <a:pt x="3" y="5"/>
                    <a:pt x="3" y="5"/>
                  </a:cubicBezTo>
                  <a:cubicBezTo>
                    <a:pt x="4" y="5"/>
                    <a:pt x="6" y="4"/>
                    <a:pt x="7" y="4"/>
                  </a:cubicBezTo>
                  <a:cubicBezTo>
                    <a:pt x="7" y="4"/>
                    <a:pt x="7" y="4"/>
                    <a:pt x="7" y="4"/>
                  </a:cubicBezTo>
                  <a:cubicBezTo>
                    <a:pt x="7" y="4"/>
                    <a:pt x="7" y="4"/>
                    <a:pt x="7" y="4"/>
                  </a:cubicBezTo>
                  <a:cubicBezTo>
                    <a:pt x="7" y="5"/>
                    <a:pt x="7" y="5"/>
                    <a:pt x="7"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7" y="5"/>
                    <a:pt x="7" y="5"/>
                    <a:pt x="7" y="5"/>
                  </a:cubicBezTo>
                  <a:cubicBezTo>
                    <a:pt x="7" y="5"/>
                    <a:pt x="7" y="5"/>
                    <a:pt x="7" y="5"/>
                  </a:cubicBezTo>
                  <a:cubicBezTo>
                    <a:pt x="7" y="5"/>
                    <a:pt x="7" y="5"/>
                    <a:pt x="7" y="5"/>
                  </a:cubicBezTo>
                  <a:cubicBezTo>
                    <a:pt x="7" y="5"/>
                    <a:pt x="7" y="5"/>
                    <a:pt x="7" y="5"/>
                  </a:cubicBezTo>
                  <a:cubicBezTo>
                    <a:pt x="7" y="6"/>
                    <a:pt x="7" y="6"/>
                    <a:pt x="7" y="6"/>
                  </a:cubicBezTo>
                  <a:cubicBezTo>
                    <a:pt x="7" y="6"/>
                    <a:pt x="7" y="6"/>
                    <a:pt x="7" y="6"/>
                  </a:cubicBezTo>
                  <a:cubicBezTo>
                    <a:pt x="7" y="6"/>
                    <a:pt x="7" y="6"/>
                    <a:pt x="7" y="6"/>
                  </a:cubicBezTo>
                  <a:cubicBezTo>
                    <a:pt x="8" y="6"/>
                    <a:pt x="8" y="6"/>
                    <a:pt x="8" y="6"/>
                  </a:cubicBezTo>
                  <a:cubicBezTo>
                    <a:pt x="8" y="6"/>
                    <a:pt x="8" y="6"/>
                    <a:pt x="8" y="6"/>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10" y="7"/>
                    <a:pt x="10" y="7"/>
                    <a:pt x="10" y="7"/>
                  </a:cubicBezTo>
                  <a:cubicBezTo>
                    <a:pt x="10" y="7"/>
                    <a:pt x="10" y="7"/>
                    <a:pt x="10" y="7"/>
                  </a:cubicBezTo>
                  <a:cubicBezTo>
                    <a:pt x="10" y="7"/>
                    <a:pt x="10" y="7"/>
                    <a:pt x="10" y="7"/>
                  </a:cubicBezTo>
                  <a:cubicBezTo>
                    <a:pt x="11" y="7"/>
                    <a:pt x="11" y="7"/>
                    <a:pt x="11" y="7"/>
                  </a:cubicBezTo>
                  <a:cubicBezTo>
                    <a:pt x="11" y="7"/>
                    <a:pt x="11" y="7"/>
                    <a:pt x="11" y="7"/>
                  </a:cubicBezTo>
                  <a:cubicBezTo>
                    <a:pt x="13" y="5"/>
                    <a:pt x="13" y="5"/>
                    <a:pt x="13" y="5"/>
                  </a:cubicBezTo>
                  <a:cubicBezTo>
                    <a:pt x="16" y="2"/>
                    <a:pt x="16" y="2"/>
                    <a:pt x="16" y="2"/>
                  </a:cubicBezTo>
                  <a:cubicBezTo>
                    <a:pt x="17" y="1"/>
                    <a:pt x="17" y="1"/>
                    <a:pt x="17" y="1"/>
                  </a:cubicBezTo>
                  <a:cubicBezTo>
                    <a:pt x="17" y="0"/>
                    <a:pt x="17" y="0"/>
                    <a:pt x="17" y="0"/>
                  </a:cubicBezTo>
                  <a:cubicBezTo>
                    <a:pt x="17" y="0"/>
                    <a:pt x="17" y="0"/>
                    <a:pt x="17" y="0"/>
                  </a:cubicBezTo>
                  <a:cubicBezTo>
                    <a:pt x="17" y="0"/>
                    <a:pt x="17" y="0"/>
                    <a:pt x="17" y="0"/>
                  </a:cubicBezTo>
                  <a:cubicBezTo>
                    <a:pt x="17" y="0"/>
                    <a:pt x="17" y="0"/>
                    <a:pt x="17" y="0"/>
                  </a:cubicBezTo>
                  <a:cubicBezTo>
                    <a:pt x="17" y="0"/>
                    <a:pt x="17" y="0"/>
                    <a:pt x="17" y="0"/>
                  </a:cubicBezTo>
                  <a:cubicBezTo>
                    <a:pt x="17" y="0"/>
                    <a:pt x="17" y="0"/>
                    <a:pt x="17" y="0"/>
                  </a:cubicBezTo>
                  <a:cubicBezTo>
                    <a:pt x="17" y="0"/>
                    <a:pt x="17" y="0"/>
                    <a:pt x="17" y="0"/>
                  </a:cubicBezTo>
                  <a:cubicBezTo>
                    <a:pt x="14" y="2"/>
                    <a:pt x="14" y="2"/>
                    <a:pt x="13" y="2"/>
                  </a:cubicBezTo>
                  <a:cubicBezTo>
                    <a:pt x="13" y="2"/>
                    <a:pt x="13" y="2"/>
                    <a:pt x="13" y="2"/>
                  </a:cubicBezTo>
                  <a:cubicBezTo>
                    <a:pt x="13" y="2"/>
                    <a:pt x="13" y="2"/>
                    <a:pt x="12" y="2"/>
                  </a:cubicBezTo>
                  <a:cubicBezTo>
                    <a:pt x="12" y="2"/>
                    <a:pt x="12" y="2"/>
                    <a:pt x="12" y="2"/>
                  </a:cubicBezTo>
                  <a:cubicBezTo>
                    <a:pt x="11" y="2"/>
                    <a:pt x="11" y="2"/>
                    <a:pt x="11" y="2"/>
                  </a:cubicBezTo>
                  <a:cubicBezTo>
                    <a:pt x="11" y="2"/>
                    <a:pt x="11" y="2"/>
                    <a:pt x="11" y="2"/>
                  </a:cubicBezTo>
                  <a:cubicBezTo>
                    <a:pt x="11" y="2"/>
                    <a:pt x="11" y="2"/>
                    <a:pt x="11" y="2"/>
                  </a:cubicBezTo>
                  <a:cubicBezTo>
                    <a:pt x="12" y="1"/>
                    <a:pt x="12" y="1"/>
                    <a:pt x="12" y="0"/>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8" name="Freeform 341">
              <a:extLst>
                <a:ext uri="{FF2B5EF4-FFF2-40B4-BE49-F238E27FC236}">
                  <a16:creationId xmlns:a16="http://schemas.microsoft.com/office/drawing/2014/main" id="{30DD8115-75F6-4DC0-8BEC-AC17BA9F6BF4}"/>
                </a:ext>
              </a:extLst>
            </p:cNvPr>
            <p:cNvSpPr>
              <a:spLocks/>
            </p:cNvSpPr>
            <p:nvPr/>
          </p:nvSpPr>
          <p:spPr bwMode="auto">
            <a:xfrm>
              <a:off x="9480541" y="5315772"/>
              <a:ext cx="0" cy="11113"/>
            </a:xfrm>
            <a:custGeom>
              <a:avLst/>
              <a:gdLst>
                <a:gd name="T0" fmla="*/ 0 h 3"/>
                <a:gd name="T1" fmla="*/ 0 h 3"/>
                <a:gd name="T2" fmla="*/ 3 h 3"/>
                <a:gd name="T3" fmla="*/ 3 h 3"/>
                <a:gd name="T4" fmla="*/ 3 h 3"/>
                <a:gd name="T5" fmla="*/ 0 h 3"/>
                <a:gd name="T6" fmla="*/ 0 h 3"/>
                <a:gd name="T7" fmla="*/ 0 h 3"/>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3">
                  <a:moveTo>
                    <a:pt x="0" y="0"/>
                  </a:moveTo>
                  <a:cubicBezTo>
                    <a:pt x="0" y="0"/>
                    <a:pt x="0" y="0"/>
                    <a:pt x="0" y="0"/>
                  </a:cubicBezTo>
                  <a:cubicBezTo>
                    <a:pt x="0" y="1"/>
                    <a:pt x="0" y="2"/>
                    <a:pt x="0" y="3"/>
                  </a:cubicBezTo>
                  <a:cubicBezTo>
                    <a:pt x="0" y="3"/>
                    <a:pt x="0" y="3"/>
                    <a:pt x="0" y="3"/>
                  </a:cubicBezTo>
                  <a:cubicBezTo>
                    <a:pt x="0" y="3"/>
                    <a:pt x="0" y="3"/>
                    <a:pt x="0" y="3"/>
                  </a:cubicBezTo>
                  <a:cubicBezTo>
                    <a:pt x="0" y="2"/>
                    <a:pt x="0" y="1"/>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9" name="Freeform 342">
              <a:extLst>
                <a:ext uri="{FF2B5EF4-FFF2-40B4-BE49-F238E27FC236}">
                  <a16:creationId xmlns:a16="http://schemas.microsoft.com/office/drawing/2014/main" id="{572C5CE4-08ED-48EE-9FB1-E05F5810F13E}"/>
                </a:ext>
              </a:extLst>
            </p:cNvPr>
            <p:cNvSpPr>
              <a:spLocks noEditPoints="1"/>
            </p:cNvSpPr>
            <p:nvPr/>
          </p:nvSpPr>
          <p:spPr bwMode="auto">
            <a:xfrm>
              <a:off x="1289041" y="1515297"/>
              <a:ext cx="2781300" cy="2290763"/>
            </a:xfrm>
            <a:custGeom>
              <a:avLst/>
              <a:gdLst>
                <a:gd name="T0" fmla="*/ 223 w 741"/>
                <a:gd name="T1" fmla="*/ 25 h 610"/>
                <a:gd name="T2" fmla="*/ 199 w 741"/>
                <a:gd name="T3" fmla="*/ 38 h 610"/>
                <a:gd name="T4" fmla="*/ 167 w 741"/>
                <a:gd name="T5" fmla="*/ 43 h 610"/>
                <a:gd name="T6" fmla="*/ 133 w 741"/>
                <a:gd name="T7" fmla="*/ 53 h 610"/>
                <a:gd name="T8" fmla="*/ 36 w 741"/>
                <a:gd name="T9" fmla="*/ 125 h 610"/>
                <a:gd name="T10" fmla="*/ 118 w 741"/>
                <a:gd name="T11" fmla="*/ 180 h 610"/>
                <a:gd name="T12" fmla="*/ 150 w 741"/>
                <a:gd name="T13" fmla="*/ 181 h 610"/>
                <a:gd name="T14" fmla="*/ 160 w 741"/>
                <a:gd name="T15" fmla="*/ 206 h 610"/>
                <a:gd name="T16" fmla="*/ 101 w 741"/>
                <a:gd name="T17" fmla="*/ 216 h 610"/>
                <a:gd name="T18" fmla="*/ 44 w 741"/>
                <a:gd name="T19" fmla="*/ 214 h 610"/>
                <a:gd name="T20" fmla="*/ 7 w 741"/>
                <a:gd name="T21" fmla="*/ 230 h 610"/>
                <a:gd name="T22" fmla="*/ 25 w 741"/>
                <a:gd name="T23" fmla="*/ 251 h 610"/>
                <a:gd name="T24" fmla="*/ 87 w 741"/>
                <a:gd name="T25" fmla="*/ 273 h 610"/>
                <a:gd name="T26" fmla="*/ 125 w 741"/>
                <a:gd name="T27" fmla="*/ 276 h 610"/>
                <a:gd name="T28" fmla="*/ 156 w 741"/>
                <a:gd name="T29" fmla="*/ 275 h 610"/>
                <a:gd name="T30" fmla="*/ 139 w 741"/>
                <a:gd name="T31" fmla="*/ 312 h 610"/>
                <a:gd name="T32" fmla="*/ 74 w 741"/>
                <a:gd name="T33" fmla="*/ 333 h 610"/>
                <a:gd name="T34" fmla="*/ 48 w 741"/>
                <a:gd name="T35" fmla="*/ 383 h 610"/>
                <a:gd name="T36" fmla="*/ 70 w 741"/>
                <a:gd name="T37" fmla="*/ 402 h 610"/>
                <a:gd name="T38" fmla="*/ 98 w 741"/>
                <a:gd name="T39" fmla="*/ 403 h 610"/>
                <a:gd name="T40" fmla="*/ 87 w 741"/>
                <a:gd name="T41" fmla="*/ 414 h 610"/>
                <a:gd name="T42" fmla="*/ 69 w 741"/>
                <a:gd name="T43" fmla="*/ 418 h 610"/>
                <a:gd name="T44" fmla="*/ 126 w 741"/>
                <a:gd name="T45" fmla="*/ 427 h 610"/>
                <a:gd name="T46" fmla="*/ 132 w 741"/>
                <a:gd name="T47" fmla="*/ 431 h 610"/>
                <a:gd name="T48" fmla="*/ 144 w 741"/>
                <a:gd name="T49" fmla="*/ 474 h 610"/>
                <a:gd name="T50" fmla="*/ 165 w 741"/>
                <a:gd name="T51" fmla="*/ 476 h 610"/>
                <a:gd name="T52" fmla="*/ 190 w 741"/>
                <a:gd name="T53" fmla="*/ 477 h 610"/>
                <a:gd name="T54" fmla="*/ 226 w 741"/>
                <a:gd name="T55" fmla="*/ 470 h 610"/>
                <a:gd name="T56" fmla="*/ 243 w 741"/>
                <a:gd name="T57" fmla="*/ 497 h 610"/>
                <a:gd name="T58" fmla="*/ 209 w 741"/>
                <a:gd name="T59" fmla="*/ 544 h 610"/>
                <a:gd name="T60" fmla="*/ 162 w 741"/>
                <a:gd name="T61" fmla="*/ 576 h 610"/>
                <a:gd name="T62" fmla="*/ 111 w 741"/>
                <a:gd name="T63" fmla="*/ 601 h 610"/>
                <a:gd name="T64" fmla="*/ 136 w 741"/>
                <a:gd name="T65" fmla="*/ 601 h 610"/>
                <a:gd name="T66" fmla="*/ 168 w 741"/>
                <a:gd name="T67" fmla="*/ 590 h 610"/>
                <a:gd name="T68" fmla="*/ 215 w 741"/>
                <a:gd name="T69" fmla="*/ 573 h 610"/>
                <a:gd name="T70" fmla="*/ 217 w 741"/>
                <a:gd name="T71" fmla="*/ 563 h 610"/>
                <a:gd name="T72" fmla="*/ 287 w 741"/>
                <a:gd name="T73" fmla="*/ 513 h 610"/>
                <a:gd name="T74" fmla="*/ 324 w 741"/>
                <a:gd name="T75" fmla="*/ 492 h 610"/>
                <a:gd name="T76" fmla="*/ 320 w 741"/>
                <a:gd name="T77" fmla="*/ 470 h 610"/>
                <a:gd name="T78" fmla="*/ 342 w 741"/>
                <a:gd name="T79" fmla="*/ 443 h 610"/>
                <a:gd name="T80" fmla="*/ 415 w 741"/>
                <a:gd name="T81" fmla="*/ 390 h 610"/>
                <a:gd name="T82" fmla="*/ 392 w 741"/>
                <a:gd name="T83" fmla="*/ 410 h 610"/>
                <a:gd name="T84" fmla="*/ 385 w 741"/>
                <a:gd name="T85" fmla="*/ 457 h 610"/>
                <a:gd name="T86" fmla="*/ 409 w 741"/>
                <a:gd name="T87" fmla="*/ 456 h 610"/>
                <a:gd name="T88" fmla="*/ 444 w 741"/>
                <a:gd name="T89" fmla="*/ 439 h 610"/>
                <a:gd name="T90" fmla="*/ 458 w 741"/>
                <a:gd name="T91" fmla="*/ 422 h 610"/>
                <a:gd name="T92" fmla="*/ 460 w 741"/>
                <a:gd name="T93" fmla="*/ 400 h 610"/>
                <a:gd name="T94" fmla="*/ 472 w 741"/>
                <a:gd name="T95" fmla="*/ 402 h 610"/>
                <a:gd name="T96" fmla="*/ 496 w 741"/>
                <a:gd name="T97" fmla="*/ 404 h 610"/>
                <a:gd name="T98" fmla="*/ 509 w 741"/>
                <a:gd name="T99" fmla="*/ 410 h 610"/>
                <a:gd name="T100" fmla="*/ 538 w 741"/>
                <a:gd name="T101" fmla="*/ 428 h 610"/>
                <a:gd name="T102" fmla="*/ 655 w 741"/>
                <a:gd name="T103" fmla="*/ 442 h 610"/>
                <a:gd name="T104" fmla="*/ 659 w 741"/>
                <a:gd name="T105" fmla="*/ 451 h 610"/>
                <a:gd name="T106" fmla="*/ 731 w 741"/>
                <a:gd name="T107" fmla="*/ 495 h 610"/>
                <a:gd name="T108" fmla="*/ 713 w 741"/>
                <a:gd name="T109" fmla="*/ 475 h 610"/>
                <a:gd name="T110" fmla="*/ 667 w 741"/>
                <a:gd name="T111" fmla="*/ 431 h 610"/>
                <a:gd name="T112" fmla="*/ 623 w 741"/>
                <a:gd name="T113" fmla="*/ 213 h 610"/>
                <a:gd name="T114" fmla="*/ 497 w 741"/>
                <a:gd name="T115" fmla="*/ 52 h 610"/>
                <a:gd name="T116" fmla="*/ 366 w 741"/>
                <a:gd name="T117" fmla="*/ 35 h 610"/>
                <a:gd name="T118" fmla="*/ 311 w 741"/>
                <a:gd name="T119" fmla="*/ 24 h 610"/>
                <a:gd name="T120" fmla="*/ 285 w 741"/>
                <a:gd name="T121" fmla="*/ 24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41" h="610">
                  <a:moveTo>
                    <a:pt x="341" y="476"/>
                  </a:moveTo>
                  <a:cubicBezTo>
                    <a:pt x="341" y="476"/>
                    <a:pt x="341" y="476"/>
                    <a:pt x="341" y="476"/>
                  </a:cubicBezTo>
                  <a:cubicBezTo>
                    <a:pt x="341" y="476"/>
                    <a:pt x="341" y="476"/>
                    <a:pt x="341" y="476"/>
                  </a:cubicBezTo>
                  <a:moveTo>
                    <a:pt x="466" y="407"/>
                  </a:moveTo>
                  <a:cubicBezTo>
                    <a:pt x="466" y="407"/>
                    <a:pt x="466" y="407"/>
                    <a:pt x="466" y="407"/>
                  </a:cubicBezTo>
                  <a:cubicBezTo>
                    <a:pt x="466" y="407"/>
                    <a:pt x="466" y="407"/>
                    <a:pt x="466" y="407"/>
                  </a:cubicBezTo>
                  <a:moveTo>
                    <a:pt x="432" y="386"/>
                  </a:moveTo>
                  <a:cubicBezTo>
                    <a:pt x="432" y="386"/>
                    <a:pt x="433" y="385"/>
                    <a:pt x="434" y="385"/>
                  </a:cubicBezTo>
                  <a:cubicBezTo>
                    <a:pt x="434" y="385"/>
                    <a:pt x="434" y="385"/>
                    <a:pt x="434" y="385"/>
                  </a:cubicBezTo>
                  <a:cubicBezTo>
                    <a:pt x="433" y="385"/>
                    <a:pt x="432" y="386"/>
                    <a:pt x="432" y="386"/>
                  </a:cubicBezTo>
                  <a:moveTo>
                    <a:pt x="267" y="0"/>
                  </a:moveTo>
                  <a:cubicBezTo>
                    <a:pt x="266" y="0"/>
                    <a:pt x="265" y="2"/>
                    <a:pt x="263" y="3"/>
                  </a:cubicBezTo>
                  <a:cubicBezTo>
                    <a:pt x="259" y="6"/>
                    <a:pt x="255" y="9"/>
                    <a:pt x="251" y="12"/>
                  </a:cubicBezTo>
                  <a:cubicBezTo>
                    <a:pt x="246" y="16"/>
                    <a:pt x="242" y="20"/>
                    <a:pt x="236" y="23"/>
                  </a:cubicBezTo>
                  <a:cubicBezTo>
                    <a:pt x="233" y="24"/>
                    <a:pt x="230" y="25"/>
                    <a:pt x="227" y="25"/>
                  </a:cubicBezTo>
                  <a:cubicBezTo>
                    <a:pt x="225" y="25"/>
                    <a:pt x="223" y="24"/>
                    <a:pt x="220" y="24"/>
                  </a:cubicBezTo>
                  <a:cubicBezTo>
                    <a:pt x="221" y="24"/>
                    <a:pt x="222" y="25"/>
                    <a:pt x="223" y="25"/>
                  </a:cubicBezTo>
                  <a:cubicBezTo>
                    <a:pt x="220" y="26"/>
                    <a:pt x="217" y="26"/>
                    <a:pt x="215" y="26"/>
                  </a:cubicBezTo>
                  <a:cubicBezTo>
                    <a:pt x="213" y="26"/>
                    <a:pt x="212" y="26"/>
                    <a:pt x="211" y="26"/>
                  </a:cubicBezTo>
                  <a:cubicBezTo>
                    <a:pt x="210" y="26"/>
                    <a:pt x="209" y="26"/>
                    <a:pt x="209" y="26"/>
                  </a:cubicBezTo>
                  <a:cubicBezTo>
                    <a:pt x="206" y="26"/>
                    <a:pt x="204" y="26"/>
                    <a:pt x="202" y="28"/>
                  </a:cubicBezTo>
                  <a:cubicBezTo>
                    <a:pt x="201" y="27"/>
                    <a:pt x="200" y="27"/>
                    <a:pt x="199" y="27"/>
                  </a:cubicBezTo>
                  <a:cubicBezTo>
                    <a:pt x="200" y="26"/>
                    <a:pt x="203" y="25"/>
                    <a:pt x="205" y="25"/>
                  </a:cubicBezTo>
                  <a:cubicBezTo>
                    <a:pt x="204" y="24"/>
                    <a:pt x="202" y="24"/>
                    <a:pt x="201" y="24"/>
                  </a:cubicBezTo>
                  <a:cubicBezTo>
                    <a:pt x="201" y="24"/>
                    <a:pt x="201" y="24"/>
                    <a:pt x="200" y="24"/>
                  </a:cubicBezTo>
                  <a:cubicBezTo>
                    <a:pt x="201" y="24"/>
                    <a:pt x="202" y="23"/>
                    <a:pt x="203" y="23"/>
                  </a:cubicBezTo>
                  <a:cubicBezTo>
                    <a:pt x="199" y="24"/>
                    <a:pt x="194" y="24"/>
                    <a:pt x="191" y="28"/>
                  </a:cubicBezTo>
                  <a:cubicBezTo>
                    <a:pt x="189" y="30"/>
                    <a:pt x="186" y="31"/>
                    <a:pt x="183" y="32"/>
                  </a:cubicBezTo>
                  <a:cubicBezTo>
                    <a:pt x="185" y="33"/>
                    <a:pt x="186" y="32"/>
                    <a:pt x="188" y="34"/>
                  </a:cubicBezTo>
                  <a:cubicBezTo>
                    <a:pt x="189" y="35"/>
                    <a:pt x="189" y="36"/>
                    <a:pt x="190" y="37"/>
                  </a:cubicBezTo>
                  <a:cubicBezTo>
                    <a:pt x="191" y="38"/>
                    <a:pt x="192" y="38"/>
                    <a:pt x="193" y="38"/>
                  </a:cubicBezTo>
                  <a:cubicBezTo>
                    <a:pt x="194" y="38"/>
                    <a:pt x="195" y="38"/>
                    <a:pt x="196" y="38"/>
                  </a:cubicBezTo>
                  <a:cubicBezTo>
                    <a:pt x="197" y="38"/>
                    <a:pt x="198" y="37"/>
                    <a:pt x="198" y="37"/>
                  </a:cubicBezTo>
                  <a:cubicBezTo>
                    <a:pt x="199" y="37"/>
                    <a:pt x="199" y="37"/>
                    <a:pt x="199" y="38"/>
                  </a:cubicBezTo>
                  <a:cubicBezTo>
                    <a:pt x="197" y="38"/>
                    <a:pt x="194" y="40"/>
                    <a:pt x="192" y="40"/>
                  </a:cubicBezTo>
                  <a:cubicBezTo>
                    <a:pt x="192" y="40"/>
                    <a:pt x="191" y="39"/>
                    <a:pt x="190" y="39"/>
                  </a:cubicBezTo>
                  <a:cubicBezTo>
                    <a:pt x="189" y="41"/>
                    <a:pt x="189" y="44"/>
                    <a:pt x="189" y="47"/>
                  </a:cubicBezTo>
                  <a:cubicBezTo>
                    <a:pt x="190" y="48"/>
                    <a:pt x="191" y="49"/>
                    <a:pt x="191" y="50"/>
                  </a:cubicBezTo>
                  <a:cubicBezTo>
                    <a:pt x="190" y="50"/>
                    <a:pt x="188" y="48"/>
                    <a:pt x="188" y="47"/>
                  </a:cubicBezTo>
                  <a:cubicBezTo>
                    <a:pt x="188" y="47"/>
                    <a:pt x="188" y="45"/>
                    <a:pt x="187" y="45"/>
                  </a:cubicBezTo>
                  <a:cubicBezTo>
                    <a:pt x="187" y="44"/>
                    <a:pt x="186" y="44"/>
                    <a:pt x="186" y="44"/>
                  </a:cubicBezTo>
                  <a:cubicBezTo>
                    <a:pt x="185" y="44"/>
                    <a:pt x="184" y="46"/>
                    <a:pt x="183" y="46"/>
                  </a:cubicBezTo>
                  <a:cubicBezTo>
                    <a:pt x="184" y="43"/>
                    <a:pt x="186" y="41"/>
                    <a:pt x="186" y="39"/>
                  </a:cubicBezTo>
                  <a:cubicBezTo>
                    <a:pt x="185" y="39"/>
                    <a:pt x="184" y="40"/>
                    <a:pt x="182" y="40"/>
                  </a:cubicBezTo>
                  <a:cubicBezTo>
                    <a:pt x="182" y="40"/>
                    <a:pt x="182" y="40"/>
                    <a:pt x="181" y="40"/>
                  </a:cubicBezTo>
                  <a:cubicBezTo>
                    <a:pt x="183" y="38"/>
                    <a:pt x="189" y="38"/>
                    <a:pt x="185" y="35"/>
                  </a:cubicBezTo>
                  <a:cubicBezTo>
                    <a:pt x="185" y="35"/>
                    <a:pt x="185" y="35"/>
                    <a:pt x="184" y="35"/>
                  </a:cubicBezTo>
                  <a:cubicBezTo>
                    <a:pt x="184" y="35"/>
                    <a:pt x="184" y="35"/>
                    <a:pt x="184" y="35"/>
                  </a:cubicBezTo>
                  <a:cubicBezTo>
                    <a:pt x="183" y="35"/>
                    <a:pt x="183" y="35"/>
                    <a:pt x="183" y="35"/>
                  </a:cubicBezTo>
                  <a:cubicBezTo>
                    <a:pt x="183" y="35"/>
                    <a:pt x="182" y="35"/>
                    <a:pt x="182" y="34"/>
                  </a:cubicBezTo>
                  <a:cubicBezTo>
                    <a:pt x="177" y="38"/>
                    <a:pt x="172" y="40"/>
                    <a:pt x="167" y="43"/>
                  </a:cubicBezTo>
                  <a:cubicBezTo>
                    <a:pt x="168" y="42"/>
                    <a:pt x="169" y="42"/>
                    <a:pt x="170" y="42"/>
                  </a:cubicBezTo>
                  <a:cubicBezTo>
                    <a:pt x="166" y="46"/>
                    <a:pt x="158" y="48"/>
                    <a:pt x="152" y="49"/>
                  </a:cubicBezTo>
                  <a:cubicBezTo>
                    <a:pt x="152" y="49"/>
                    <a:pt x="152" y="49"/>
                    <a:pt x="152" y="49"/>
                  </a:cubicBezTo>
                  <a:cubicBezTo>
                    <a:pt x="151" y="49"/>
                    <a:pt x="151" y="49"/>
                    <a:pt x="150" y="48"/>
                  </a:cubicBezTo>
                  <a:cubicBezTo>
                    <a:pt x="150" y="48"/>
                    <a:pt x="150" y="48"/>
                    <a:pt x="149" y="48"/>
                  </a:cubicBezTo>
                  <a:cubicBezTo>
                    <a:pt x="149" y="48"/>
                    <a:pt x="148" y="48"/>
                    <a:pt x="148" y="49"/>
                  </a:cubicBezTo>
                  <a:cubicBezTo>
                    <a:pt x="146" y="49"/>
                    <a:pt x="146" y="50"/>
                    <a:pt x="145" y="51"/>
                  </a:cubicBezTo>
                  <a:cubicBezTo>
                    <a:pt x="142" y="52"/>
                    <a:pt x="140" y="52"/>
                    <a:pt x="137" y="53"/>
                  </a:cubicBezTo>
                  <a:cubicBezTo>
                    <a:pt x="139" y="51"/>
                    <a:pt x="142" y="53"/>
                    <a:pt x="144" y="50"/>
                  </a:cubicBezTo>
                  <a:cubicBezTo>
                    <a:pt x="143" y="50"/>
                    <a:pt x="142" y="49"/>
                    <a:pt x="142" y="49"/>
                  </a:cubicBezTo>
                  <a:cubicBezTo>
                    <a:pt x="142" y="49"/>
                    <a:pt x="143" y="49"/>
                    <a:pt x="143" y="49"/>
                  </a:cubicBezTo>
                  <a:cubicBezTo>
                    <a:pt x="143" y="49"/>
                    <a:pt x="144" y="49"/>
                    <a:pt x="144" y="49"/>
                  </a:cubicBezTo>
                  <a:cubicBezTo>
                    <a:pt x="144" y="49"/>
                    <a:pt x="144" y="49"/>
                    <a:pt x="144" y="49"/>
                  </a:cubicBezTo>
                  <a:cubicBezTo>
                    <a:pt x="145" y="49"/>
                    <a:pt x="145" y="49"/>
                    <a:pt x="145" y="49"/>
                  </a:cubicBezTo>
                  <a:cubicBezTo>
                    <a:pt x="144" y="48"/>
                    <a:pt x="143" y="46"/>
                    <a:pt x="141" y="46"/>
                  </a:cubicBezTo>
                  <a:cubicBezTo>
                    <a:pt x="141" y="46"/>
                    <a:pt x="140" y="46"/>
                    <a:pt x="140" y="47"/>
                  </a:cubicBezTo>
                  <a:cubicBezTo>
                    <a:pt x="138" y="48"/>
                    <a:pt x="136" y="51"/>
                    <a:pt x="133" y="53"/>
                  </a:cubicBezTo>
                  <a:cubicBezTo>
                    <a:pt x="128" y="57"/>
                    <a:pt x="124" y="63"/>
                    <a:pt x="118" y="67"/>
                  </a:cubicBezTo>
                  <a:cubicBezTo>
                    <a:pt x="114" y="70"/>
                    <a:pt x="112" y="79"/>
                    <a:pt x="110" y="83"/>
                  </a:cubicBezTo>
                  <a:cubicBezTo>
                    <a:pt x="108" y="87"/>
                    <a:pt x="107" y="89"/>
                    <a:pt x="105" y="92"/>
                  </a:cubicBezTo>
                  <a:cubicBezTo>
                    <a:pt x="98" y="100"/>
                    <a:pt x="89" y="102"/>
                    <a:pt x="79" y="103"/>
                  </a:cubicBezTo>
                  <a:cubicBezTo>
                    <a:pt x="73" y="104"/>
                    <a:pt x="67" y="105"/>
                    <a:pt x="61" y="106"/>
                  </a:cubicBezTo>
                  <a:cubicBezTo>
                    <a:pt x="60" y="106"/>
                    <a:pt x="59" y="106"/>
                    <a:pt x="58" y="106"/>
                  </a:cubicBezTo>
                  <a:cubicBezTo>
                    <a:pt x="56" y="106"/>
                    <a:pt x="54" y="106"/>
                    <a:pt x="52" y="105"/>
                  </a:cubicBezTo>
                  <a:cubicBezTo>
                    <a:pt x="49" y="105"/>
                    <a:pt x="47" y="105"/>
                    <a:pt x="45" y="105"/>
                  </a:cubicBezTo>
                  <a:cubicBezTo>
                    <a:pt x="45" y="105"/>
                    <a:pt x="45" y="105"/>
                    <a:pt x="44" y="105"/>
                  </a:cubicBezTo>
                  <a:cubicBezTo>
                    <a:pt x="44" y="105"/>
                    <a:pt x="44" y="105"/>
                    <a:pt x="44" y="105"/>
                  </a:cubicBezTo>
                  <a:cubicBezTo>
                    <a:pt x="44" y="105"/>
                    <a:pt x="44" y="105"/>
                    <a:pt x="44" y="105"/>
                  </a:cubicBezTo>
                  <a:cubicBezTo>
                    <a:pt x="44" y="105"/>
                    <a:pt x="43" y="105"/>
                    <a:pt x="43" y="105"/>
                  </a:cubicBezTo>
                  <a:cubicBezTo>
                    <a:pt x="42" y="105"/>
                    <a:pt x="41" y="105"/>
                    <a:pt x="41" y="108"/>
                  </a:cubicBezTo>
                  <a:cubicBezTo>
                    <a:pt x="41" y="110"/>
                    <a:pt x="41" y="113"/>
                    <a:pt x="41" y="115"/>
                  </a:cubicBezTo>
                  <a:cubicBezTo>
                    <a:pt x="41" y="117"/>
                    <a:pt x="40" y="119"/>
                    <a:pt x="39" y="120"/>
                  </a:cubicBezTo>
                  <a:cubicBezTo>
                    <a:pt x="39" y="121"/>
                    <a:pt x="39" y="122"/>
                    <a:pt x="38" y="123"/>
                  </a:cubicBezTo>
                  <a:cubicBezTo>
                    <a:pt x="37" y="124"/>
                    <a:pt x="37" y="124"/>
                    <a:pt x="36" y="125"/>
                  </a:cubicBezTo>
                  <a:cubicBezTo>
                    <a:pt x="35" y="126"/>
                    <a:pt x="33" y="126"/>
                    <a:pt x="31" y="126"/>
                  </a:cubicBezTo>
                  <a:cubicBezTo>
                    <a:pt x="31" y="126"/>
                    <a:pt x="30" y="126"/>
                    <a:pt x="29" y="126"/>
                  </a:cubicBezTo>
                  <a:cubicBezTo>
                    <a:pt x="30" y="125"/>
                    <a:pt x="32" y="125"/>
                    <a:pt x="33" y="125"/>
                  </a:cubicBezTo>
                  <a:cubicBezTo>
                    <a:pt x="31" y="125"/>
                    <a:pt x="29" y="126"/>
                    <a:pt x="28" y="126"/>
                  </a:cubicBezTo>
                  <a:cubicBezTo>
                    <a:pt x="33" y="128"/>
                    <a:pt x="37" y="127"/>
                    <a:pt x="42" y="130"/>
                  </a:cubicBezTo>
                  <a:cubicBezTo>
                    <a:pt x="44" y="132"/>
                    <a:pt x="45" y="133"/>
                    <a:pt x="47" y="135"/>
                  </a:cubicBezTo>
                  <a:cubicBezTo>
                    <a:pt x="49" y="136"/>
                    <a:pt x="52" y="136"/>
                    <a:pt x="54" y="137"/>
                  </a:cubicBezTo>
                  <a:cubicBezTo>
                    <a:pt x="63" y="138"/>
                    <a:pt x="68" y="146"/>
                    <a:pt x="76" y="148"/>
                  </a:cubicBezTo>
                  <a:cubicBezTo>
                    <a:pt x="76" y="148"/>
                    <a:pt x="76" y="147"/>
                    <a:pt x="76" y="147"/>
                  </a:cubicBezTo>
                  <a:cubicBezTo>
                    <a:pt x="77" y="147"/>
                    <a:pt x="79" y="149"/>
                    <a:pt x="80" y="150"/>
                  </a:cubicBezTo>
                  <a:cubicBezTo>
                    <a:pt x="81" y="151"/>
                    <a:pt x="83" y="152"/>
                    <a:pt x="85" y="153"/>
                  </a:cubicBezTo>
                  <a:cubicBezTo>
                    <a:pt x="89" y="155"/>
                    <a:pt x="91" y="157"/>
                    <a:pt x="94" y="160"/>
                  </a:cubicBezTo>
                  <a:cubicBezTo>
                    <a:pt x="95" y="162"/>
                    <a:pt x="96" y="164"/>
                    <a:pt x="97" y="166"/>
                  </a:cubicBezTo>
                  <a:cubicBezTo>
                    <a:pt x="98" y="169"/>
                    <a:pt x="97" y="172"/>
                    <a:pt x="98" y="174"/>
                  </a:cubicBezTo>
                  <a:cubicBezTo>
                    <a:pt x="100" y="177"/>
                    <a:pt x="108" y="177"/>
                    <a:pt x="112" y="178"/>
                  </a:cubicBezTo>
                  <a:cubicBezTo>
                    <a:pt x="113" y="178"/>
                    <a:pt x="116" y="180"/>
                    <a:pt x="118" y="180"/>
                  </a:cubicBezTo>
                  <a:cubicBezTo>
                    <a:pt x="118" y="180"/>
                    <a:pt x="118" y="180"/>
                    <a:pt x="118" y="180"/>
                  </a:cubicBezTo>
                  <a:cubicBezTo>
                    <a:pt x="120" y="180"/>
                    <a:pt x="120" y="178"/>
                    <a:pt x="122" y="178"/>
                  </a:cubicBezTo>
                  <a:cubicBezTo>
                    <a:pt x="122" y="178"/>
                    <a:pt x="122" y="178"/>
                    <a:pt x="123" y="178"/>
                  </a:cubicBezTo>
                  <a:cubicBezTo>
                    <a:pt x="124" y="178"/>
                    <a:pt x="124" y="180"/>
                    <a:pt x="125" y="180"/>
                  </a:cubicBezTo>
                  <a:cubicBezTo>
                    <a:pt x="125" y="180"/>
                    <a:pt x="125" y="180"/>
                    <a:pt x="126" y="179"/>
                  </a:cubicBezTo>
                  <a:cubicBezTo>
                    <a:pt x="126" y="179"/>
                    <a:pt x="127" y="178"/>
                    <a:pt x="128" y="178"/>
                  </a:cubicBezTo>
                  <a:cubicBezTo>
                    <a:pt x="129" y="177"/>
                    <a:pt x="130" y="175"/>
                    <a:pt x="131" y="174"/>
                  </a:cubicBezTo>
                  <a:cubicBezTo>
                    <a:pt x="131" y="177"/>
                    <a:pt x="127" y="180"/>
                    <a:pt x="130" y="180"/>
                  </a:cubicBezTo>
                  <a:cubicBezTo>
                    <a:pt x="130" y="180"/>
                    <a:pt x="130" y="180"/>
                    <a:pt x="131" y="180"/>
                  </a:cubicBezTo>
                  <a:cubicBezTo>
                    <a:pt x="131" y="180"/>
                    <a:pt x="132" y="179"/>
                    <a:pt x="132" y="179"/>
                  </a:cubicBezTo>
                  <a:cubicBezTo>
                    <a:pt x="133" y="179"/>
                    <a:pt x="132" y="178"/>
                    <a:pt x="133" y="178"/>
                  </a:cubicBezTo>
                  <a:cubicBezTo>
                    <a:pt x="133" y="178"/>
                    <a:pt x="133" y="178"/>
                    <a:pt x="133" y="178"/>
                  </a:cubicBezTo>
                  <a:cubicBezTo>
                    <a:pt x="133" y="178"/>
                    <a:pt x="133" y="178"/>
                    <a:pt x="133" y="178"/>
                  </a:cubicBezTo>
                  <a:cubicBezTo>
                    <a:pt x="134" y="179"/>
                    <a:pt x="134" y="179"/>
                    <a:pt x="134" y="179"/>
                  </a:cubicBezTo>
                  <a:cubicBezTo>
                    <a:pt x="134" y="179"/>
                    <a:pt x="134" y="179"/>
                    <a:pt x="134" y="179"/>
                  </a:cubicBezTo>
                  <a:cubicBezTo>
                    <a:pt x="135" y="179"/>
                    <a:pt x="136" y="179"/>
                    <a:pt x="138" y="179"/>
                  </a:cubicBezTo>
                  <a:cubicBezTo>
                    <a:pt x="139" y="178"/>
                    <a:pt x="140" y="178"/>
                    <a:pt x="141" y="178"/>
                  </a:cubicBezTo>
                  <a:cubicBezTo>
                    <a:pt x="144" y="178"/>
                    <a:pt x="147" y="180"/>
                    <a:pt x="150" y="181"/>
                  </a:cubicBezTo>
                  <a:cubicBezTo>
                    <a:pt x="147" y="185"/>
                    <a:pt x="139" y="187"/>
                    <a:pt x="143" y="192"/>
                  </a:cubicBezTo>
                  <a:cubicBezTo>
                    <a:pt x="144" y="194"/>
                    <a:pt x="150" y="195"/>
                    <a:pt x="150" y="197"/>
                  </a:cubicBezTo>
                  <a:cubicBezTo>
                    <a:pt x="149" y="197"/>
                    <a:pt x="148" y="197"/>
                    <a:pt x="147" y="197"/>
                  </a:cubicBezTo>
                  <a:cubicBezTo>
                    <a:pt x="144" y="197"/>
                    <a:pt x="140" y="197"/>
                    <a:pt x="138" y="194"/>
                  </a:cubicBezTo>
                  <a:cubicBezTo>
                    <a:pt x="137" y="191"/>
                    <a:pt x="139" y="191"/>
                    <a:pt x="139" y="189"/>
                  </a:cubicBezTo>
                  <a:cubicBezTo>
                    <a:pt x="139" y="188"/>
                    <a:pt x="135" y="186"/>
                    <a:pt x="134" y="185"/>
                  </a:cubicBezTo>
                  <a:cubicBezTo>
                    <a:pt x="133" y="184"/>
                    <a:pt x="132" y="182"/>
                    <a:pt x="130" y="182"/>
                  </a:cubicBezTo>
                  <a:cubicBezTo>
                    <a:pt x="130" y="182"/>
                    <a:pt x="129" y="182"/>
                    <a:pt x="128" y="183"/>
                  </a:cubicBezTo>
                  <a:cubicBezTo>
                    <a:pt x="126" y="186"/>
                    <a:pt x="125" y="189"/>
                    <a:pt x="128" y="190"/>
                  </a:cubicBezTo>
                  <a:cubicBezTo>
                    <a:pt x="130" y="191"/>
                    <a:pt x="133" y="190"/>
                    <a:pt x="135" y="192"/>
                  </a:cubicBezTo>
                  <a:cubicBezTo>
                    <a:pt x="137" y="193"/>
                    <a:pt x="137" y="195"/>
                    <a:pt x="139" y="196"/>
                  </a:cubicBezTo>
                  <a:cubicBezTo>
                    <a:pt x="141" y="198"/>
                    <a:pt x="142" y="198"/>
                    <a:pt x="142" y="201"/>
                  </a:cubicBezTo>
                  <a:cubicBezTo>
                    <a:pt x="142" y="203"/>
                    <a:pt x="140" y="204"/>
                    <a:pt x="140" y="206"/>
                  </a:cubicBezTo>
                  <a:cubicBezTo>
                    <a:pt x="140" y="207"/>
                    <a:pt x="140" y="208"/>
                    <a:pt x="141" y="208"/>
                  </a:cubicBezTo>
                  <a:cubicBezTo>
                    <a:pt x="142" y="208"/>
                    <a:pt x="143" y="204"/>
                    <a:pt x="144" y="204"/>
                  </a:cubicBezTo>
                  <a:cubicBezTo>
                    <a:pt x="145" y="203"/>
                    <a:pt x="146" y="203"/>
                    <a:pt x="148" y="203"/>
                  </a:cubicBezTo>
                  <a:cubicBezTo>
                    <a:pt x="152" y="203"/>
                    <a:pt x="158" y="205"/>
                    <a:pt x="160" y="206"/>
                  </a:cubicBezTo>
                  <a:cubicBezTo>
                    <a:pt x="161" y="207"/>
                    <a:pt x="162" y="209"/>
                    <a:pt x="162" y="211"/>
                  </a:cubicBezTo>
                  <a:cubicBezTo>
                    <a:pt x="162" y="212"/>
                    <a:pt x="161" y="214"/>
                    <a:pt x="160" y="214"/>
                  </a:cubicBezTo>
                  <a:cubicBezTo>
                    <a:pt x="159" y="214"/>
                    <a:pt x="159" y="213"/>
                    <a:pt x="160" y="212"/>
                  </a:cubicBezTo>
                  <a:cubicBezTo>
                    <a:pt x="160" y="210"/>
                    <a:pt x="160" y="210"/>
                    <a:pt x="160" y="210"/>
                  </a:cubicBezTo>
                  <a:cubicBezTo>
                    <a:pt x="159" y="210"/>
                    <a:pt x="158" y="210"/>
                    <a:pt x="157" y="210"/>
                  </a:cubicBezTo>
                  <a:cubicBezTo>
                    <a:pt x="155" y="210"/>
                    <a:pt x="151" y="210"/>
                    <a:pt x="149" y="211"/>
                  </a:cubicBezTo>
                  <a:cubicBezTo>
                    <a:pt x="147" y="212"/>
                    <a:pt x="146" y="214"/>
                    <a:pt x="144" y="216"/>
                  </a:cubicBezTo>
                  <a:cubicBezTo>
                    <a:pt x="145" y="216"/>
                    <a:pt x="145" y="216"/>
                    <a:pt x="145" y="216"/>
                  </a:cubicBezTo>
                  <a:cubicBezTo>
                    <a:pt x="144" y="216"/>
                    <a:pt x="142" y="218"/>
                    <a:pt x="144" y="219"/>
                  </a:cubicBezTo>
                  <a:cubicBezTo>
                    <a:pt x="144" y="219"/>
                    <a:pt x="143" y="219"/>
                    <a:pt x="143" y="219"/>
                  </a:cubicBezTo>
                  <a:cubicBezTo>
                    <a:pt x="141" y="219"/>
                    <a:pt x="138" y="219"/>
                    <a:pt x="135" y="219"/>
                  </a:cubicBezTo>
                  <a:cubicBezTo>
                    <a:pt x="132" y="218"/>
                    <a:pt x="129" y="218"/>
                    <a:pt x="126" y="218"/>
                  </a:cubicBezTo>
                  <a:cubicBezTo>
                    <a:pt x="125" y="218"/>
                    <a:pt x="124" y="218"/>
                    <a:pt x="124" y="219"/>
                  </a:cubicBezTo>
                  <a:cubicBezTo>
                    <a:pt x="118" y="217"/>
                    <a:pt x="112" y="215"/>
                    <a:pt x="107" y="215"/>
                  </a:cubicBezTo>
                  <a:cubicBezTo>
                    <a:pt x="107" y="215"/>
                    <a:pt x="107" y="215"/>
                    <a:pt x="106" y="215"/>
                  </a:cubicBezTo>
                  <a:cubicBezTo>
                    <a:pt x="106" y="215"/>
                    <a:pt x="105" y="215"/>
                    <a:pt x="104" y="216"/>
                  </a:cubicBezTo>
                  <a:cubicBezTo>
                    <a:pt x="103" y="216"/>
                    <a:pt x="102" y="216"/>
                    <a:pt x="101" y="216"/>
                  </a:cubicBezTo>
                  <a:cubicBezTo>
                    <a:pt x="101" y="216"/>
                    <a:pt x="101" y="216"/>
                    <a:pt x="101" y="216"/>
                  </a:cubicBezTo>
                  <a:cubicBezTo>
                    <a:pt x="98" y="216"/>
                    <a:pt x="92" y="213"/>
                    <a:pt x="92" y="210"/>
                  </a:cubicBezTo>
                  <a:cubicBezTo>
                    <a:pt x="92" y="210"/>
                    <a:pt x="92" y="210"/>
                    <a:pt x="92" y="210"/>
                  </a:cubicBezTo>
                  <a:cubicBezTo>
                    <a:pt x="97" y="210"/>
                    <a:pt x="95" y="205"/>
                    <a:pt x="97" y="201"/>
                  </a:cubicBezTo>
                  <a:cubicBezTo>
                    <a:pt x="97" y="200"/>
                    <a:pt x="100" y="199"/>
                    <a:pt x="97" y="197"/>
                  </a:cubicBezTo>
                  <a:cubicBezTo>
                    <a:pt x="97" y="196"/>
                    <a:pt x="96" y="196"/>
                    <a:pt x="95" y="196"/>
                  </a:cubicBezTo>
                  <a:cubicBezTo>
                    <a:pt x="92" y="196"/>
                    <a:pt x="88" y="197"/>
                    <a:pt x="87" y="197"/>
                  </a:cubicBezTo>
                  <a:cubicBezTo>
                    <a:pt x="83" y="197"/>
                    <a:pt x="80" y="197"/>
                    <a:pt x="76" y="197"/>
                  </a:cubicBezTo>
                  <a:cubicBezTo>
                    <a:pt x="75" y="197"/>
                    <a:pt x="71" y="201"/>
                    <a:pt x="70" y="202"/>
                  </a:cubicBezTo>
                  <a:cubicBezTo>
                    <a:pt x="69" y="203"/>
                    <a:pt x="69" y="203"/>
                    <a:pt x="68" y="203"/>
                  </a:cubicBezTo>
                  <a:cubicBezTo>
                    <a:pt x="68" y="203"/>
                    <a:pt x="68" y="202"/>
                    <a:pt x="65" y="202"/>
                  </a:cubicBezTo>
                  <a:cubicBezTo>
                    <a:pt x="65" y="202"/>
                    <a:pt x="65" y="202"/>
                    <a:pt x="65" y="202"/>
                  </a:cubicBezTo>
                  <a:cubicBezTo>
                    <a:pt x="61" y="202"/>
                    <a:pt x="55" y="204"/>
                    <a:pt x="52" y="206"/>
                  </a:cubicBezTo>
                  <a:cubicBezTo>
                    <a:pt x="49" y="208"/>
                    <a:pt x="48" y="209"/>
                    <a:pt x="51" y="210"/>
                  </a:cubicBezTo>
                  <a:cubicBezTo>
                    <a:pt x="54" y="211"/>
                    <a:pt x="56" y="212"/>
                    <a:pt x="58" y="213"/>
                  </a:cubicBezTo>
                  <a:cubicBezTo>
                    <a:pt x="56" y="214"/>
                    <a:pt x="53" y="215"/>
                    <a:pt x="50" y="215"/>
                  </a:cubicBezTo>
                  <a:cubicBezTo>
                    <a:pt x="48" y="215"/>
                    <a:pt x="45" y="214"/>
                    <a:pt x="44" y="214"/>
                  </a:cubicBezTo>
                  <a:cubicBezTo>
                    <a:pt x="42" y="213"/>
                    <a:pt x="42" y="212"/>
                    <a:pt x="41" y="212"/>
                  </a:cubicBezTo>
                  <a:cubicBezTo>
                    <a:pt x="41" y="212"/>
                    <a:pt x="41" y="212"/>
                    <a:pt x="41" y="212"/>
                  </a:cubicBezTo>
                  <a:cubicBezTo>
                    <a:pt x="40" y="212"/>
                    <a:pt x="38" y="213"/>
                    <a:pt x="38" y="213"/>
                  </a:cubicBezTo>
                  <a:cubicBezTo>
                    <a:pt x="35" y="214"/>
                    <a:pt x="33" y="214"/>
                    <a:pt x="31" y="216"/>
                  </a:cubicBezTo>
                  <a:cubicBezTo>
                    <a:pt x="29" y="217"/>
                    <a:pt x="28" y="218"/>
                    <a:pt x="27" y="219"/>
                  </a:cubicBezTo>
                  <a:cubicBezTo>
                    <a:pt x="27" y="219"/>
                    <a:pt x="26" y="219"/>
                    <a:pt x="26" y="219"/>
                  </a:cubicBezTo>
                  <a:cubicBezTo>
                    <a:pt x="26" y="219"/>
                    <a:pt x="26" y="219"/>
                    <a:pt x="26" y="219"/>
                  </a:cubicBezTo>
                  <a:cubicBezTo>
                    <a:pt x="26" y="219"/>
                    <a:pt x="25" y="219"/>
                    <a:pt x="25" y="219"/>
                  </a:cubicBezTo>
                  <a:cubicBezTo>
                    <a:pt x="25" y="219"/>
                    <a:pt x="25" y="219"/>
                    <a:pt x="24" y="220"/>
                  </a:cubicBezTo>
                  <a:cubicBezTo>
                    <a:pt x="23" y="220"/>
                    <a:pt x="24" y="222"/>
                    <a:pt x="23" y="223"/>
                  </a:cubicBezTo>
                  <a:cubicBezTo>
                    <a:pt x="22" y="224"/>
                    <a:pt x="21" y="224"/>
                    <a:pt x="20" y="224"/>
                  </a:cubicBezTo>
                  <a:cubicBezTo>
                    <a:pt x="19" y="224"/>
                    <a:pt x="18" y="223"/>
                    <a:pt x="16" y="223"/>
                  </a:cubicBezTo>
                  <a:cubicBezTo>
                    <a:pt x="16" y="223"/>
                    <a:pt x="16" y="223"/>
                    <a:pt x="16" y="223"/>
                  </a:cubicBezTo>
                  <a:cubicBezTo>
                    <a:pt x="15" y="223"/>
                    <a:pt x="12" y="225"/>
                    <a:pt x="11" y="226"/>
                  </a:cubicBezTo>
                  <a:cubicBezTo>
                    <a:pt x="10" y="227"/>
                    <a:pt x="10" y="229"/>
                    <a:pt x="9" y="229"/>
                  </a:cubicBezTo>
                  <a:cubicBezTo>
                    <a:pt x="9" y="230"/>
                    <a:pt x="8" y="230"/>
                    <a:pt x="8" y="230"/>
                  </a:cubicBezTo>
                  <a:cubicBezTo>
                    <a:pt x="7" y="230"/>
                    <a:pt x="7" y="230"/>
                    <a:pt x="7" y="230"/>
                  </a:cubicBezTo>
                  <a:cubicBezTo>
                    <a:pt x="7" y="230"/>
                    <a:pt x="6" y="230"/>
                    <a:pt x="6" y="230"/>
                  </a:cubicBezTo>
                  <a:cubicBezTo>
                    <a:pt x="6" y="230"/>
                    <a:pt x="6" y="230"/>
                    <a:pt x="5" y="230"/>
                  </a:cubicBezTo>
                  <a:cubicBezTo>
                    <a:pt x="4" y="230"/>
                    <a:pt x="2" y="231"/>
                    <a:pt x="0" y="232"/>
                  </a:cubicBezTo>
                  <a:cubicBezTo>
                    <a:pt x="0" y="236"/>
                    <a:pt x="12" y="241"/>
                    <a:pt x="16" y="241"/>
                  </a:cubicBezTo>
                  <a:cubicBezTo>
                    <a:pt x="21" y="242"/>
                    <a:pt x="25" y="243"/>
                    <a:pt x="30" y="244"/>
                  </a:cubicBezTo>
                  <a:cubicBezTo>
                    <a:pt x="28" y="243"/>
                    <a:pt x="27" y="243"/>
                    <a:pt x="25" y="243"/>
                  </a:cubicBezTo>
                  <a:cubicBezTo>
                    <a:pt x="26" y="242"/>
                    <a:pt x="26" y="242"/>
                    <a:pt x="27" y="242"/>
                  </a:cubicBezTo>
                  <a:cubicBezTo>
                    <a:pt x="30" y="242"/>
                    <a:pt x="33" y="244"/>
                    <a:pt x="36" y="244"/>
                  </a:cubicBezTo>
                  <a:cubicBezTo>
                    <a:pt x="39" y="245"/>
                    <a:pt x="42" y="245"/>
                    <a:pt x="45" y="247"/>
                  </a:cubicBezTo>
                  <a:cubicBezTo>
                    <a:pt x="44" y="247"/>
                    <a:pt x="44" y="247"/>
                    <a:pt x="43" y="247"/>
                  </a:cubicBezTo>
                  <a:cubicBezTo>
                    <a:pt x="42" y="247"/>
                    <a:pt x="42" y="247"/>
                    <a:pt x="41" y="247"/>
                  </a:cubicBezTo>
                  <a:cubicBezTo>
                    <a:pt x="40" y="247"/>
                    <a:pt x="39" y="247"/>
                    <a:pt x="39" y="247"/>
                  </a:cubicBezTo>
                  <a:cubicBezTo>
                    <a:pt x="39" y="247"/>
                    <a:pt x="38" y="247"/>
                    <a:pt x="38" y="247"/>
                  </a:cubicBezTo>
                  <a:cubicBezTo>
                    <a:pt x="38" y="247"/>
                    <a:pt x="36" y="247"/>
                    <a:pt x="36" y="247"/>
                  </a:cubicBezTo>
                  <a:cubicBezTo>
                    <a:pt x="35" y="249"/>
                    <a:pt x="36" y="249"/>
                    <a:pt x="35" y="250"/>
                  </a:cubicBezTo>
                  <a:cubicBezTo>
                    <a:pt x="34" y="252"/>
                    <a:pt x="32" y="252"/>
                    <a:pt x="30" y="252"/>
                  </a:cubicBezTo>
                  <a:cubicBezTo>
                    <a:pt x="29" y="252"/>
                    <a:pt x="27" y="252"/>
                    <a:pt x="25" y="251"/>
                  </a:cubicBezTo>
                  <a:cubicBezTo>
                    <a:pt x="28" y="254"/>
                    <a:pt x="32" y="258"/>
                    <a:pt x="35" y="260"/>
                  </a:cubicBezTo>
                  <a:cubicBezTo>
                    <a:pt x="35" y="259"/>
                    <a:pt x="35" y="259"/>
                    <a:pt x="35" y="259"/>
                  </a:cubicBezTo>
                  <a:cubicBezTo>
                    <a:pt x="38" y="260"/>
                    <a:pt x="36" y="262"/>
                    <a:pt x="35" y="264"/>
                  </a:cubicBezTo>
                  <a:cubicBezTo>
                    <a:pt x="35" y="268"/>
                    <a:pt x="38" y="269"/>
                    <a:pt x="41" y="271"/>
                  </a:cubicBezTo>
                  <a:cubicBezTo>
                    <a:pt x="44" y="273"/>
                    <a:pt x="49" y="273"/>
                    <a:pt x="53" y="274"/>
                  </a:cubicBezTo>
                  <a:cubicBezTo>
                    <a:pt x="57" y="275"/>
                    <a:pt x="64" y="278"/>
                    <a:pt x="70" y="278"/>
                  </a:cubicBezTo>
                  <a:cubicBezTo>
                    <a:pt x="72" y="278"/>
                    <a:pt x="73" y="277"/>
                    <a:pt x="75" y="277"/>
                  </a:cubicBezTo>
                  <a:cubicBezTo>
                    <a:pt x="74" y="277"/>
                    <a:pt x="73" y="277"/>
                    <a:pt x="72" y="277"/>
                  </a:cubicBezTo>
                  <a:cubicBezTo>
                    <a:pt x="71" y="277"/>
                    <a:pt x="71" y="276"/>
                    <a:pt x="72" y="275"/>
                  </a:cubicBezTo>
                  <a:cubicBezTo>
                    <a:pt x="73" y="275"/>
                    <a:pt x="74" y="275"/>
                    <a:pt x="75" y="275"/>
                  </a:cubicBezTo>
                  <a:cubicBezTo>
                    <a:pt x="75" y="275"/>
                    <a:pt x="76" y="275"/>
                    <a:pt x="76" y="275"/>
                  </a:cubicBezTo>
                  <a:cubicBezTo>
                    <a:pt x="76" y="275"/>
                    <a:pt x="76" y="275"/>
                    <a:pt x="76" y="275"/>
                  </a:cubicBezTo>
                  <a:cubicBezTo>
                    <a:pt x="77" y="275"/>
                    <a:pt x="77" y="275"/>
                    <a:pt x="77" y="275"/>
                  </a:cubicBezTo>
                  <a:cubicBezTo>
                    <a:pt x="80" y="274"/>
                    <a:pt x="83" y="272"/>
                    <a:pt x="86" y="272"/>
                  </a:cubicBezTo>
                  <a:cubicBezTo>
                    <a:pt x="86" y="272"/>
                    <a:pt x="86" y="272"/>
                    <a:pt x="86" y="272"/>
                  </a:cubicBezTo>
                  <a:cubicBezTo>
                    <a:pt x="85" y="273"/>
                    <a:pt x="85" y="273"/>
                    <a:pt x="85" y="273"/>
                  </a:cubicBezTo>
                  <a:cubicBezTo>
                    <a:pt x="86" y="273"/>
                    <a:pt x="86" y="273"/>
                    <a:pt x="87" y="273"/>
                  </a:cubicBezTo>
                  <a:cubicBezTo>
                    <a:pt x="88" y="273"/>
                    <a:pt x="90" y="273"/>
                    <a:pt x="91" y="273"/>
                  </a:cubicBezTo>
                  <a:cubicBezTo>
                    <a:pt x="91" y="273"/>
                    <a:pt x="91" y="273"/>
                    <a:pt x="91" y="273"/>
                  </a:cubicBezTo>
                  <a:cubicBezTo>
                    <a:pt x="93" y="273"/>
                    <a:pt x="94" y="272"/>
                    <a:pt x="96" y="272"/>
                  </a:cubicBezTo>
                  <a:cubicBezTo>
                    <a:pt x="96" y="272"/>
                    <a:pt x="97" y="272"/>
                    <a:pt x="97" y="272"/>
                  </a:cubicBezTo>
                  <a:cubicBezTo>
                    <a:pt x="100" y="272"/>
                    <a:pt x="104" y="273"/>
                    <a:pt x="106" y="274"/>
                  </a:cubicBezTo>
                  <a:cubicBezTo>
                    <a:pt x="108" y="275"/>
                    <a:pt x="109" y="276"/>
                    <a:pt x="110" y="277"/>
                  </a:cubicBezTo>
                  <a:cubicBezTo>
                    <a:pt x="111" y="278"/>
                    <a:pt x="112" y="279"/>
                    <a:pt x="112" y="279"/>
                  </a:cubicBezTo>
                  <a:cubicBezTo>
                    <a:pt x="113" y="279"/>
                    <a:pt x="113" y="278"/>
                    <a:pt x="113" y="277"/>
                  </a:cubicBezTo>
                  <a:cubicBezTo>
                    <a:pt x="114" y="276"/>
                    <a:pt x="115" y="276"/>
                    <a:pt x="115" y="275"/>
                  </a:cubicBezTo>
                  <a:cubicBezTo>
                    <a:pt x="115" y="274"/>
                    <a:pt x="112" y="274"/>
                    <a:pt x="111" y="274"/>
                  </a:cubicBezTo>
                  <a:cubicBezTo>
                    <a:pt x="110" y="273"/>
                    <a:pt x="109" y="273"/>
                    <a:pt x="107" y="272"/>
                  </a:cubicBezTo>
                  <a:cubicBezTo>
                    <a:pt x="109" y="271"/>
                    <a:pt x="110" y="270"/>
                    <a:pt x="111" y="270"/>
                  </a:cubicBezTo>
                  <a:cubicBezTo>
                    <a:pt x="112" y="270"/>
                    <a:pt x="113" y="271"/>
                    <a:pt x="115" y="272"/>
                  </a:cubicBezTo>
                  <a:cubicBezTo>
                    <a:pt x="117" y="274"/>
                    <a:pt x="119" y="275"/>
                    <a:pt x="120" y="277"/>
                  </a:cubicBezTo>
                  <a:cubicBezTo>
                    <a:pt x="121" y="279"/>
                    <a:pt x="120" y="281"/>
                    <a:pt x="121" y="281"/>
                  </a:cubicBezTo>
                  <a:cubicBezTo>
                    <a:pt x="121" y="281"/>
                    <a:pt x="122" y="281"/>
                    <a:pt x="123" y="280"/>
                  </a:cubicBezTo>
                  <a:cubicBezTo>
                    <a:pt x="125" y="279"/>
                    <a:pt x="124" y="279"/>
                    <a:pt x="125" y="276"/>
                  </a:cubicBezTo>
                  <a:cubicBezTo>
                    <a:pt x="126" y="273"/>
                    <a:pt x="131" y="273"/>
                    <a:pt x="133" y="271"/>
                  </a:cubicBezTo>
                  <a:cubicBezTo>
                    <a:pt x="135" y="269"/>
                    <a:pt x="135" y="268"/>
                    <a:pt x="137" y="268"/>
                  </a:cubicBezTo>
                  <a:cubicBezTo>
                    <a:pt x="138" y="268"/>
                    <a:pt x="141" y="268"/>
                    <a:pt x="142" y="267"/>
                  </a:cubicBezTo>
                  <a:cubicBezTo>
                    <a:pt x="144" y="266"/>
                    <a:pt x="145" y="264"/>
                    <a:pt x="146" y="264"/>
                  </a:cubicBezTo>
                  <a:cubicBezTo>
                    <a:pt x="146" y="264"/>
                    <a:pt x="146" y="264"/>
                    <a:pt x="146" y="264"/>
                  </a:cubicBezTo>
                  <a:cubicBezTo>
                    <a:pt x="147" y="265"/>
                    <a:pt x="149" y="266"/>
                    <a:pt x="150" y="266"/>
                  </a:cubicBezTo>
                  <a:cubicBezTo>
                    <a:pt x="151" y="266"/>
                    <a:pt x="152" y="266"/>
                    <a:pt x="152" y="265"/>
                  </a:cubicBezTo>
                  <a:cubicBezTo>
                    <a:pt x="156" y="264"/>
                    <a:pt x="156" y="259"/>
                    <a:pt x="160" y="259"/>
                  </a:cubicBezTo>
                  <a:cubicBezTo>
                    <a:pt x="160" y="259"/>
                    <a:pt x="160" y="259"/>
                    <a:pt x="161" y="259"/>
                  </a:cubicBezTo>
                  <a:cubicBezTo>
                    <a:pt x="161" y="259"/>
                    <a:pt x="161" y="259"/>
                    <a:pt x="161" y="259"/>
                  </a:cubicBezTo>
                  <a:cubicBezTo>
                    <a:pt x="161" y="259"/>
                    <a:pt x="162" y="259"/>
                    <a:pt x="162" y="259"/>
                  </a:cubicBezTo>
                  <a:cubicBezTo>
                    <a:pt x="162" y="259"/>
                    <a:pt x="162" y="259"/>
                    <a:pt x="162" y="259"/>
                  </a:cubicBezTo>
                  <a:cubicBezTo>
                    <a:pt x="162" y="259"/>
                    <a:pt x="162" y="260"/>
                    <a:pt x="163" y="261"/>
                  </a:cubicBezTo>
                  <a:cubicBezTo>
                    <a:pt x="163" y="263"/>
                    <a:pt x="164" y="262"/>
                    <a:pt x="165" y="263"/>
                  </a:cubicBezTo>
                  <a:cubicBezTo>
                    <a:pt x="167" y="266"/>
                    <a:pt x="168" y="267"/>
                    <a:pt x="165" y="269"/>
                  </a:cubicBezTo>
                  <a:cubicBezTo>
                    <a:pt x="162" y="272"/>
                    <a:pt x="160" y="273"/>
                    <a:pt x="156" y="275"/>
                  </a:cubicBezTo>
                  <a:cubicBezTo>
                    <a:pt x="156" y="275"/>
                    <a:pt x="156" y="275"/>
                    <a:pt x="156" y="275"/>
                  </a:cubicBezTo>
                  <a:cubicBezTo>
                    <a:pt x="155" y="275"/>
                    <a:pt x="155" y="275"/>
                    <a:pt x="155" y="274"/>
                  </a:cubicBezTo>
                  <a:cubicBezTo>
                    <a:pt x="154" y="274"/>
                    <a:pt x="154" y="274"/>
                    <a:pt x="154" y="274"/>
                  </a:cubicBezTo>
                  <a:cubicBezTo>
                    <a:pt x="153" y="274"/>
                    <a:pt x="153" y="274"/>
                    <a:pt x="153" y="275"/>
                  </a:cubicBezTo>
                  <a:cubicBezTo>
                    <a:pt x="152" y="276"/>
                    <a:pt x="153" y="278"/>
                    <a:pt x="154" y="279"/>
                  </a:cubicBezTo>
                  <a:cubicBezTo>
                    <a:pt x="154" y="279"/>
                    <a:pt x="155" y="279"/>
                    <a:pt x="155" y="279"/>
                  </a:cubicBezTo>
                  <a:cubicBezTo>
                    <a:pt x="155" y="279"/>
                    <a:pt x="155" y="279"/>
                    <a:pt x="156" y="279"/>
                  </a:cubicBezTo>
                  <a:cubicBezTo>
                    <a:pt x="156" y="279"/>
                    <a:pt x="157" y="278"/>
                    <a:pt x="157" y="278"/>
                  </a:cubicBezTo>
                  <a:cubicBezTo>
                    <a:pt x="157" y="278"/>
                    <a:pt x="157" y="278"/>
                    <a:pt x="158" y="279"/>
                  </a:cubicBezTo>
                  <a:cubicBezTo>
                    <a:pt x="158" y="279"/>
                    <a:pt x="159" y="282"/>
                    <a:pt x="160" y="283"/>
                  </a:cubicBezTo>
                  <a:cubicBezTo>
                    <a:pt x="161" y="284"/>
                    <a:pt x="163" y="284"/>
                    <a:pt x="164" y="286"/>
                  </a:cubicBezTo>
                  <a:cubicBezTo>
                    <a:pt x="164" y="288"/>
                    <a:pt x="163" y="290"/>
                    <a:pt x="164" y="292"/>
                  </a:cubicBezTo>
                  <a:cubicBezTo>
                    <a:pt x="164" y="293"/>
                    <a:pt x="165" y="295"/>
                    <a:pt x="166" y="296"/>
                  </a:cubicBezTo>
                  <a:cubicBezTo>
                    <a:pt x="168" y="301"/>
                    <a:pt x="168" y="303"/>
                    <a:pt x="164" y="306"/>
                  </a:cubicBezTo>
                  <a:cubicBezTo>
                    <a:pt x="163" y="308"/>
                    <a:pt x="162" y="310"/>
                    <a:pt x="160" y="311"/>
                  </a:cubicBezTo>
                  <a:cubicBezTo>
                    <a:pt x="158" y="312"/>
                    <a:pt x="155" y="312"/>
                    <a:pt x="152" y="312"/>
                  </a:cubicBezTo>
                  <a:cubicBezTo>
                    <a:pt x="149" y="312"/>
                    <a:pt x="145" y="312"/>
                    <a:pt x="143" y="312"/>
                  </a:cubicBezTo>
                  <a:cubicBezTo>
                    <a:pt x="142" y="312"/>
                    <a:pt x="140" y="312"/>
                    <a:pt x="139" y="312"/>
                  </a:cubicBezTo>
                  <a:cubicBezTo>
                    <a:pt x="138" y="312"/>
                    <a:pt x="137" y="312"/>
                    <a:pt x="135" y="312"/>
                  </a:cubicBezTo>
                  <a:cubicBezTo>
                    <a:pt x="135" y="312"/>
                    <a:pt x="134" y="311"/>
                    <a:pt x="133" y="311"/>
                  </a:cubicBezTo>
                  <a:cubicBezTo>
                    <a:pt x="133" y="311"/>
                    <a:pt x="133" y="311"/>
                    <a:pt x="132" y="311"/>
                  </a:cubicBezTo>
                  <a:cubicBezTo>
                    <a:pt x="131" y="312"/>
                    <a:pt x="129" y="316"/>
                    <a:pt x="128" y="318"/>
                  </a:cubicBezTo>
                  <a:cubicBezTo>
                    <a:pt x="127" y="319"/>
                    <a:pt x="126" y="321"/>
                    <a:pt x="124" y="322"/>
                  </a:cubicBezTo>
                  <a:cubicBezTo>
                    <a:pt x="123" y="322"/>
                    <a:pt x="122" y="323"/>
                    <a:pt x="121" y="323"/>
                  </a:cubicBezTo>
                  <a:cubicBezTo>
                    <a:pt x="119" y="324"/>
                    <a:pt x="120" y="324"/>
                    <a:pt x="119" y="325"/>
                  </a:cubicBezTo>
                  <a:cubicBezTo>
                    <a:pt x="116" y="328"/>
                    <a:pt x="113" y="329"/>
                    <a:pt x="110" y="329"/>
                  </a:cubicBezTo>
                  <a:cubicBezTo>
                    <a:pt x="107" y="329"/>
                    <a:pt x="104" y="328"/>
                    <a:pt x="101" y="325"/>
                  </a:cubicBezTo>
                  <a:cubicBezTo>
                    <a:pt x="99" y="323"/>
                    <a:pt x="98" y="323"/>
                    <a:pt x="95" y="322"/>
                  </a:cubicBezTo>
                  <a:cubicBezTo>
                    <a:pt x="95" y="322"/>
                    <a:pt x="94" y="322"/>
                    <a:pt x="94" y="322"/>
                  </a:cubicBezTo>
                  <a:cubicBezTo>
                    <a:pt x="89" y="322"/>
                    <a:pt x="84" y="325"/>
                    <a:pt x="79" y="326"/>
                  </a:cubicBezTo>
                  <a:cubicBezTo>
                    <a:pt x="81" y="327"/>
                    <a:pt x="84" y="328"/>
                    <a:pt x="85" y="330"/>
                  </a:cubicBezTo>
                  <a:cubicBezTo>
                    <a:pt x="84" y="330"/>
                    <a:pt x="83" y="330"/>
                    <a:pt x="82" y="330"/>
                  </a:cubicBezTo>
                  <a:cubicBezTo>
                    <a:pt x="82" y="330"/>
                    <a:pt x="81" y="330"/>
                    <a:pt x="81" y="330"/>
                  </a:cubicBezTo>
                  <a:cubicBezTo>
                    <a:pt x="80" y="330"/>
                    <a:pt x="80" y="330"/>
                    <a:pt x="79" y="330"/>
                  </a:cubicBezTo>
                  <a:cubicBezTo>
                    <a:pt x="77" y="330"/>
                    <a:pt x="75" y="330"/>
                    <a:pt x="74" y="333"/>
                  </a:cubicBezTo>
                  <a:cubicBezTo>
                    <a:pt x="73" y="335"/>
                    <a:pt x="72" y="337"/>
                    <a:pt x="72" y="339"/>
                  </a:cubicBezTo>
                  <a:cubicBezTo>
                    <a:pt x="73" y="343"/>
                    <a:pt x="73" y="344"/>
                    <a:pt x="74" y="344"/>
                  </a:cubicBezTo>
                  <a:cubicBezTo>
                    <a:pt x="76" y="344"/>
                    <a:pt x="78" y="340"/>
                    <a:pt x="81" y="340"/>
                  </a:cubicBezTo>
                  <a:cubicBezTo>
                    <a:pt x="79" y="343"/>
                    <a:pt x="77" y="345"/>
                    <a:pt x="75" y="348"/>
                  </a:cubicBezTo>
                  <a:cubicBezTo>
                    <a:pt x="74" y="349"/>
                    <a:pt x="74" y="349"/>
                    <a:pt x="74" y="349"/>
                  </a:cubicBezTo>
                  <a:cubicBezTo>
                    <a:pt x="74" y="349"/>
                    <a:pt x="74" y="348"/>
                    <a:pt x="73" y="348"/>
                  </a:cubicBezTo>
                  <a:cubicBezTo>
                    <a:pt x="72" y="348"/>
                    <a:pt x="71" y="348"/>
                    <a:pt x="70" y="348"/>
                  </a:cubicBezTo>
                  <a:cubicBezTo>
                    <a:pt x="69" y="348"/>
                    <a:pt x="68" y="348"/>
                    <a:pt x="66" y="350"/>
                  </a:cubicBezTo>
                  <a:cubicBezTo>
                    <a:pt x="62" y="353"/>
                    <a:pt x="58" y="357"/>
                    <a:pt x="54" y="362"/>
                  </a:cubicBezTo>
                  <a:cubicBezTo>
                    <a:pt x="52" y="365"/>
                    <a:pt x="52" y="367"/>
                    <a:pt x="54" y="371"/>
                  </a:cubicBezTo>
                  <a:cubicBezTo>
                    <a:pt x="55" y="374"/>
                    <a:pt x="46" y="373"/>
                    <a:pt x="44" y="373"/>
                  </a:cubicBezTo>
                  <a:cubicBezTo>
                    <a:pt x="46" y="375"/>
                    <a:pt x="49" y="376"/>
                    <a:pt x="51" y="378"/>
                  </a:cubicBezTo>
                  <a:cubicBezTo>
                    <a:pt x="49" y="379"/>
                    <a:pt x="47" y="380"/>
                    <a:pt x="44" y="380"/>
                  </a:cubicBezTo>
                  <a:cubicBezTo>
                    <a:pt x="44" y="380"/>
                    <a:pt x="43" y="380"/>
                    <a:pt x="42" y="379"/>
                  </a:cubicBezTo>
                  <a:cubicBezTo>
                    <a:pt x="41" y="383"/>
                    <a:pt x="43" y="383"/>
                    <a:pt x="47" y="383"/>
                  </a:cubicBezTo>
                  <a:cubicBezTo>
                    <a:pt x="47" y="383"/>
                    <a:pt x="47" y="383"/>
                    <a:pt x="47" y="383"/>
                  </a:cubicBezTo>
                  <a:cubicBezTo>
                    <a:pt x="47" y="383"/>
                    <a:pt x="47" y="383"/>
                    <a:pt x="48" y="383"/>
                  </a:cubicBezTo>
                  <a:cubicBezTo>
                    <a:pt x="48" y="383"/>
                    <a:pt x="48" y="383"/>
                    <a:pt x="49" y="383"/>
                  </a:cubicBezTo>
                  <a:cubicBezTo>
                    <a:pt x="49" y="383"/>
                    <a:pt x="50" y="383"/>
                    <a:pt x="50" y="383"/>
                  </a:cubicBezTo>
                  <a:cubicBezTo>
                    <a:pt x="52" y="385"/>
                    <a:pt x="49" y="386"/>
                    <a:pt x="49" y="387"/>
                  </a:cubicBezTo>
                  <a:cubicBezTo>
                    <a:pt x="47" y="392"/>
                    <a:pt x="54" y="390"/>
                    <a:pt x="55" y="392"/>
                  </a:cubicBezTo>
                  <a:cubicBezTo>
                    <a:pt x="56" y="394"/>
                    <a:pt x="54" y="396"/>
                    <a:pt x="55" y="398"/>
                  </a:cubicBezTo>
                  <a:cubicBezTo>
                    <a:pt x="56" y="399"/>
                    <a:pt x="59" y="399"/>
                    <a:pt x="61" y="399"/>
                  </a:cubicBezTo>
                  <a:cubicBezTo>
                    <a:pt x="61" y="399"/>
                    <a:pt x="61" y="399"/>
                    <a:pt x="61" y="399"/>
                  </a:cubicBezTo>
                  <a:cubicBezTo>
                    <a:pt x="61" y="398"/>
                    <a:pt x="61" y="395"/>
                    <a:pt x="61" y="394"/>
                  </a:cubicBezTo>
                  <a:cubicBezTo>
                    <a:pt x="62" y="393"/>
                    <a:pt x="64" y="394"/>
                    <a:pt x="64" y="392"/>
                  </a:cubicBezTo>
                  <a:cubicBezTo>
                    <a:pt x="65" y="394"/>
                    <a:pt x="62" y="394"/>
                    <a:pt x="61" y="395"/>
                  </a:cubicBezTo>
                  <a:cubicBezTo>
                    <a:pt x="63" y="396"/>
                    <a:pt x="64" y="396"/>
                    <a:pt x="66" y="397"/>
                  </a:cubicBezTo>
                  <a:cubicBezTo>
                    <a:pt x="66" y="395"/>
                    <a:pt x="67" y="395"/>
                    <a:pt x="68" y="394"/>
                  </a:cubicBezTo>
                  <a:cubicBezTo>
                    <a:pt x="67" y="396"/>
                    <a:pt x="66" y="397"/>
                    <a:pt x="65" y="398"/>
                  </a:cubicBezTo>
                  <a:cubicBezTo>
                    <a:pt x="66" y="398"/>
                    <a:pt x="69" y="399"/>
                    <a:pt x="71" y="399"/>
                  </a:cubicBezTo>
                  <a:cubicBezTo>
                    <a:pt x="72" y="399"/>
                    <a:pt x="74" y="398"/>
                    <a:pt x="74" y="398"/>
                  </a:cubicBezTo>
                  <a:cubicBezTo>
                    <a:pt x="73" y="400"/>
                    <a:pt x="70" y="399"/>
                    <a:pt x="71" y="402"/>
                  </a:cubicBezTo>
                  <a:cubicBezTo>
                    <a:pt x="70" y="402"/>
                    <a:pt x="70" y="402"/>
                    <a:pt x="70" y="402"/>
                  </a:cubicBezTo>
                  <a:cubicBezTo>
                    <a:pt x="68" y="402"/>
                    <a:pt x="66" y="402"/>
                    <a:pt x="65" y="403"/>
                  </a:cubicBezTo>
                  <a:cubicBezTo>
                    <a:pt x="66" y="404"/>
                    <a:pt x="67" y="404"/>
                    <a:pt x="68" y="404"/>
                  </a:cubicBezTo>
                  <a:cubicBezTo>
                    <a:pt x="69" y="404"/>
                    <a:pt x="69" y="404"/>
                    <a:pt x="70" y="404"/>
                  </a:cubicBezTo>
                  <a:cubicBezTo>
                    <a:pt x="70" y="404"/>
                    <a:pt x="71" y="404"/>
                    <a:pt x="71" y="404"/>
                  </a:cubicBezTo>
                  <a:cubicBezTo>
                    <a:pt x="72" y="404"/>
                    <a:pt x="72" y="404"/>
                    <a:pt x="72" y="404"/>
                  </a:cubicBezTo>
                  <a:cubicBezTo>
                    <a:pt x="73" y="404"/>
                    <a:pt x="74" y="405"/>
                    <a:pt x="75" y="405"/>
                  </a:cubicBezTo>
                  <a:cubicBezTo>
                    <a:pt x="75" y="405"/>
                    <a:pt x="75" y="405"/>
                    <a:pt x="75" y="405"/>
                  </a:cubicBezTo>
                  <a:cubicBezTo>
                    <a:pt x="75" y="405"/>
                    <a:pt x="76" y="405"/>
                    <a:pt x="76" y="405"/>
                  </a:cubicBezTo>
                  <a:cubicBezTo>
                    <a:pt x="76" y="405"/>
                    <a:pt x="77" y="405"/>
                    <a:pt x="77" y="405"/>
                  </a:cubicBezTo>
                  <a:cubicBezTo>
                    <a:pt x="77" y="405"/>
                    <a:pt x="77" y="405"/>
                    <a:pt x="77" y="405"/>
                  </a:cubicBezTo>
                  <a:cubicBezTo>
                    <a:pt x="79" y="405"/>
                    <a:pt x="80" y="407"/>
                    <a:pt x="82" y="407"/>
                  </a:cubicBezTo>
                  <a:cubicBezTo>
                    <a:pt x="83" y="407"/>
                    <a:pt x="83" y="407"/>
                    <a:pt x="84" y="407"/>
                  </a:cubicBezTo>
                  <a:cubicBezTo>
                    <a:pt x="85" y="407"/>
                    <a:pt x="86" y="407"/>
                    <a:pt x="88" y="407"/>
                  </a:cubicBezTo>
                  <a:cubicBezTo>
                    <a:pt x="89" y="407"/>
                    <a:pt x="90" y="407"/>
                    <a:pt x="91" y="407"/>
                  </a:cubicBezTo>
                  <a:cubicBezTo>
                    <a:pt x="92" y="407"/>
                    <a:pt x="92" y="407"/>
                    <a:pt x="93" y="407"/>
                  </a:cubicBezTo>
                  <a:cubicBezTo>
                    <a:pt x="94" y="407"/>
                    <a:pt x="94" y="406"/>
                    <a:pt x="95" y="405"/>
                  </a:cubicBezTo>
                  <a:cubicBezTo>
                    <a:pt x="96" y="405"/>
                    <a:pt x="98" y="403"/>
                    <a:pt x="98" y="403"/>
                  </a:cubicBezTo>
                  <a:cubicBezTo>
                    <a:pt x="99" y="403"/>
                    <a:pt x="99" y="403"/>
                    <a:pt x="99" y="403"/>
                  </a:cubicBezTo>
                  <a:cubicBezTo>
                    <a:pt x="100" y="403"/>
                    <a:pt x="100" y="403"/>
                    <a:pt x="100" y="404"/>
                  </a:cubicBezTo>
                  <a:cubicBezTo>
                    <a:pt x="100" y="405"/>
                    <a:pt x="102" y="405"/>
                    <a:pt x="103" y="405"/>
                  </a:cubicBezTo>
                  <a:cubicBezTo>
                    <a:pt x="102" y="407"/>
                    <a:pt x="101" y="407"/>
                    <a:pt x="100" y="407"/>
                  </a:cubicBezTo>
                  <a:cubicBezTo>
                    <a:pt x="99" y="407"/>
                    <a:pt x="99" y="407"/>
                    <a:pt x="98" y="407"/>
                  </a:cubicBezTo>
                  <a:cubicBezTo>
                    <a:pt x="98" y="407"/>
                    <a:pt x="98" y="407"/>
                    <a:pt x="97" y="407"/>
                  </a:cubicBezTo>
                  <a:cubicBezTo>
                    <a:pt x="96" y="407"/>
                    <a:pt x="96" y="407"/>
                    <a:pt x="95" y="407"/>
                  </a:cubicBezTo>
                  <a:cubicBezTo>
                    <a:pt x="97" y="408"/>
                    <a:pt x="104" y="408"/>
                    <a:pt x="106" y="411"/>
                  </a:cubicBezTo>
                  <a:cubicBezTo>
                    <a:pt x="107" y="413"/>
                    <a:pt x="102" y="417"/>
                    <a:pt x="99" y="417"/>
                  </a:cubicBezTo>
                  <a:cubicBezTo>
                    <a:pt x="98" y="417"/>
                    <a:pt x="98" y="417"/>
                    <a:pt x="98" y="417"/>
                  </a:cubicBezTo>
                  <a:cubicBezTo>
                    <a:pt x="95" y="416"/>
                    <a:pt x="97" y="410"/>
                    <a:pt x="94" y="410"/>
                  </a:cubicBezTo>
                  <a:cubicBezTo>
                    <a:pt x="93" y="410"/>
                    <a:pt x="93" y="410"/>
                    <a:pt x="93" y="410"/>
                  </a:cubicBezTo>
                  <a:cubicBezTo>
                    <a:pt x="91" y="411"/>
                    <a:pt x="91" y="413"/>
                    <a:pt x="90" y="413"/>
                  </a:cubicBezTo>
                  <a:cubicBezTo>
                    <a:pt x="89" y="414"/>
                    <a:pt x="87" y="414"/>
                    <a:pt x="86" y="415"/>
                  </a:cubicBezTo>
                  <a:cubicBezTo>
                    <a:pt x="85" y="416"/>
                    <a:pt x="84" y="418"/>
                    <a:pt x="83" y="418"/>
                  </a:cubicBezTo>
                  <a:cubicBezTo>
                    <a:pt x="83" y="417"/>
                    <a:pt x="84" y="416"/>
                    <a:pt x="85" y="415"/>
                  </a:cubicBezTo>
                  <a:cubicBezTo>
                    <a:pt x="87" y="414"/>
                    <a:pt x="87" y="414"/>
                    <a:pt x="87" y="414"/>
                  </a:cubicBezTo>
                  <a:cubicBezTo>
                    <a:pt x="88" y="411"/>
                    <a:pt x="86" y="410"/>
                    <a:pt x="83" y="409"/>
                  </a:cubicBezTo>
                  <a:cubicBezTo>
                    <a:pt x="82" y="409"/>
                    <a:pt x="79" y="409"/>
                    <a:pt x="77" y="409"/>
                  </a:cubicBezTo>
                  <a:cubicBezTo>
                    <a:pt x="76" y="408"/>
                    <a:pt x="76" y="406"/>
                    <a:pt x="75" y="406"/>
                  </a:cubicBezTo>
                  <a:cubicBezTo>
                    <a:pt x="75" y="406"/>
                    <a:pt x="75" y="406"/>
                    <a:pt x="75" y="406"/>
                  </a:cubicBezTo>
                  <a:cubicBezTo>
                    <a:pt x="75" y="406"/>
                    <a:pt x="74" y="406"/>
                    <a:pt x="74" y="406"/>
                  </a:cubicBezTo>
                  <a:cubicBezTo>
                    <a:pt x="74" y="407"/>
                    <a:pt x="73" y="407"/>
                    <a:pt x="73" y="407"/>
                  </a:cubicBezTo>
                  <a:cubicBezTo>
                    <a:pt x="73" y="407"/>
                    <a:pt x="73" y="407"/>
                    <a:pt x="73" y="407"/>
                  </a:cubicBezTo>
                  <a:cubicBezTo>
                    <a:pt x="72" y="407"/>
                    <a:pt x="72" y="405"/>
                    <a:pt x="71" y="405"/>
                  </a:cubicBezTo>
                  <a:cubicBezTo>
                    <a:pt x="71" y="405"/>
                    <a:pt x="71" y="405"/>
                    <a:pt x="71" y="405"/>
                  </a:cubicBezTo>
                  <a:cubicBezTo>
                    <a:pt x="70" y="406"/>
                    <a:pt x="71" y="408"/>
                    <a:pt x="71" y="409"/>
                  </a:cubicBezTo>
                  <a:cubicBezTo>
                    <a:pt x="71" y="410"/>
                    <a:pt x="69" y="410"/>
                    <a:pt x="69" y="410"/>
                  </a:cubicBezTo>
                  <a:cubicBezTo>
                    <a:pt x="68" y="411"/>
                    <a:pt x="70" y="412"/>
                    <a:pt x="69" y="413"/>
                  </a:cubicBezTo>
                  <a:cubicBezTo>
                    <a:pt x="67" y="416"/>
                    <a:pt x="62" y="416"/>
                    <a:pt x="60" y="418"/>
                  </a:cubicBezTo>
                  <a:cubicBezTo>
                    <a:pt x="61" y="419"/>
                    <a:pt x="64" y="419"/>
                    <a:pt x="66" y="419"/>
                  </a:cubicBezTo>
                  <a:cubicBezTo>
                    <a:pt x="66" y="419"/>
                    <a:pt x="66" y="419"/>
                    <a:pt x="66" y="419"/>
                  </a:cubicBezTo>
                  <a:cubicBezTo>
                    <a:pt x="67" y="419"/>
                    <a:pt x="68" y="418"/>
                    <a:pt x="69" y="418"/>
                  </a:cubicBezTo>
                  <a:cubicBezTo>
                    <a:pt x="69" y="418"/>
                    <a:pt x="69" y="418"/>
                    <a:pt x="69" y="418"/>
                  </a:cubicBezTo>
                  <a:cubicBezTo>
                    <a:pt x="71" y="419"/>
                    <a:pt x="67" y="421"/>
                    <a:pt x="67" y="421"/>
                  </a:cubicBezTo>
                  <a:cubicBezTo>
                    <a:pt x="67" y="423"/>
                    <a:pt x="66" y="422"/>
                    <a:pt x="68" y="423"/>
                  </a:cubicBezTo>
                  <a:cubicBezTo>
                    <a:pt x="69" y="425"/>
                    <a:pt x="73" y="426"/>
                    <a:pt x="75" y="426"/>
                  </a:cubicBezTo>
                  <a:cubicBezTo>
                    <a:pt x="75" y="427"/>
                    <a:pt x="75" y="427"/>
                    <a:pt x="76" y="427"/>
                  </a:cubicBezTo>
                  <a:cubicBezTo>
                    <a:pt x="76" y="427"/>
                    <a:pt x="76" y="426"/>
                    <a:pt x="76" y="426"/>
                  </a:cubicBezTo>
                  <a:cubicBezTo>
                    <a:pt x="77" y="426"/>
                    <a:pt x="77" y="426"/>
                    <a:pt x="77" y="426"/>
                  </a:cubicBezTo>
                  <a:cubicBezTo>
                    <a:pt x="78" y="426"/>
                    <a:pt x="78" y="426"/>
                    <a:pt x="78" y="427"/>
                  </a:cubicBezTo>
                  <a:cubicBezTo>
                    <a:pt x="82" y="431"/>
                    <a:pt x="85" y="438"/>
                    <a:pt x="89" y="442"/>
                  </a:cubicBezTo>
                  <a:cubicBezTo>
                    <a:pt x="91" y="444"/>
                    <a:pt x="96" y="444"/>
                    <a:pt x="99" y="444"/>
                  </a:cubicBezTo>
                  <a:cubicBezTo>
                    <a:pt x="99" y="444"/>
                    <a:pt x="99" y="444"/>
                    <a:pt x="99" y="444"/>
                  </a:cubicBezTo>
                  <a:cubicBezTo>
                    <a:pt x="102" y="444"/>
                    <a:pt x="123" y="442"/>
                    <a:pt x="122" y="437"/>
                  </a:cubicBezTo>
                  <a:cubicBezTo>
                    <a:pt x="123" y="438"/>
                    <a:pt x="124" y="438"/>
                    <a:pt x="124" y="438"/>
                  </a:cubicBezTo>
                  <a:cubicBezTo>
                    <a:pt x="126" y="438"/>
                    <a:pt x="128" y="437"/>
                    <a:pt x="128" y="435"/>
                  </a:cubicBezTo>
                  <a:cubicBezTo>
                    <a:pt x="129" y="431"/>
                    <a:pt x="129" y="431"/>
                    <a:pt x="129" y="431"/>
                  </a:cubicBezTo>
                  <a:cubicBezTo>
                    <a:pt x="128" y="429"/>
                    <a:pt x="125" y="429"/>
                    <a:pt x="123" y="428"/>
                  </a:cubicBezTo>
                  <a:cubicBezTo>
                    <a:pt x="124" y="428"/>
                    <a:pt x="124" y="428"/>
                    <a:pt x="124" y="428"/>
                  </a:cubicBezTo>
                  <a:cubicBezTo>
                    <a:pt x="126" y="428"/>
                    <a:pt x="125" y="428"/>
                    <a:pt x="126" y="427"/>
                  </a:cubicBezTo>
                  <a:cubicBezTo>
                    <a:pt x="126" y="426"/>
                    <a:pt x="126" y="426"/>
                    <a:pt x="126" y="426"/>
                  </a:cubicBezTo>
                  <a:cubicBezTo>
                    <a:pt x="127" y="425"/>
                    <a:pt x="127" y="425"/>
                    <a:pt x="127" y="425"/>
                  </a:cubicBezTo>
                  <a:cubicBezTo>
                    <a:pt x="128" y="425"/>
                    <a:pt x="129" y="424"/>
                    <a:pt x="129" y="424"/>
                  </a:cubicBezTo>
                  <a:cubicBezTo>
                    <a:pt x="130" y="424"/>
                    <a:pt x="129" y="423"/>
                    <a:pt x="129" y="422"/>
                  </a:cubicBezTo>
                  <a:cubicBezTo>
                    <a:pt x="129" y="422"/>
                    <a:pt x="129" y="422"/>
                    <a:pt x="129" y="422"/>
                  </a:cubicBezTo>
                  <a:cubicBezTo>
                    <a:pt x="129" y="422"/>
                    <a:pt x="129" y="422"/>
                    <a:pt x="130" y="422"/>
                  </a:cubicBezTo>
                  <a:cubicBezTo>
                    <a:pt x="130" y="422"/>
                    <a:pt x="130" y="422"/>
                    <a:pt x="130" y="422"/>
                  </a:cubicBezTo>
                  <a:cubicBezTo>
                    <a:pt x="130" y="422"/>
                    <a:pt x="130" y="422"/>
                    <a:pt x="130" y="422"/>
                  </a:cubicBezTo>
                  <a:cubicBezTo>
                    <a:pt x="131" y="421"/>
                    <a:pt x="132" y="418"/>
                    <a:pt x="132" y="417"/>
                  </a:cubicBezTo>
                  <a:cubicBezTo>
                    <a:pt x="134" y="415"/>
                    <a:pt x="137" y="415"/>
                    <a:pt x="136" y="412"/>
                  </a:cubicBezTo>
                  <a:cubicBezTo>
                    <a:pt x="137" y="413"/>
                    <a:pt x="137" y="413"/>
                    <a:pt x="138" y="413"/>
                  </a:cubicBezTo>
                  <a:cubicBezTo>
                    <a:pt x="139" y="413"/>
                    <a:pt x="140" y="413"/>
                    <a:pt x="141" y="413"/>
                  </a:cubicBezTo>
                  <a:cubicBezTo>
                    <a:pt x="140" y="415"/>
                    <a:pt x="137" y="414"/>
                    <a:pt x="135" y="416"/>
                  </a:cubicBezTo>
                  <a:cubicBezTo>
                    <a:pt x="133" y="418"/>
                    <a:pt x="133" y="421"/>
                    <a:pt x="132" y="423"/>
                  </a:cubicBezTo>
                  <a:cubicBezTo>
                    <a:pt x="131" y="423"/>
                    <a:pt x="129" y="427"/>
                    <a:pt x="129" y="427"/>
                  </a:cubicBezTo>
                  <a:cubicBezTo>
                    <a:pt x="129" y="427"/>
                    <a:pt x="129" y="427"/>
                    <a:pt x="129" y="427"/>
                  </a:cubicBezTo>
                  <a:cubicBezTo>
                    <a:pt x="129" y="428"/>
                    <a:pt x="131" y="430"/>
                    <a:pt x="132" y="431"/>
                  </a:cubicBezTo>
                  <a:cubicBezTo>
                    <a:pt x="132" y="432"/>
                    <a:pt x="132" y="432"/>
                    <a:pt x="132" y="432"/>
                  </a:cubicBezTo>
                  <a:cubicBezTo>
                    <a:pt x="132" y="432"/>
                    <a:pt x="133" y="430"/>
                    <a:pt x="133" y="429"/>
                  </a:cubicBezTo>
                  <a:cubicBezTo>
                    <a:pt x="133" y="430"/>
                    <a:pt x="134" y="430"/>
                    <a:pt x="134" y="430"/>
                  </a:cubicBezTo>
                  <a:cubicBezTo>
                    <a:pt x="134" y="430"/>
                    <a:pt x="135" y="429"/>
                    <a:pt x="135" y="429"/>
                  </a:cubicBezTo>
                  <a:cubicBezTo>
                    <a:pt x="135" y="432"/>
                    <a:pt x="135" y="434"/>
                    <a:pt x="136" y="437"/>
                  </a:cubicBezTo>
                  <a:cubicBezTo>
                    <a:pt x="136" y="438"/>
                    <a:pt x="137" y="439"/>
                    <a:pt x="137" y="441"/>
                  </a:cubicBezTo>
                  <a:cubicBezTo>
                    <a:pt x="137" y="442"/>
                    <a:pt x="139" y="444"/>
                    <a:pt x="140" y="445"/>
                  </a:cubicBezTo>
                  <a:cubicBezTo>
                    <a:pt x="141" y="446"/>
                    <a:pt x="141" y="448"/>
                    <a:pt x="142" y="450"/>
                  </a:cubicBezTo>
                  <a:cubicBezTo>
                    <a:pt x="143" y="451"/>
                    <a:pt x="144" y="452"/>
                    <a:pt x="145" y="453"/>
                  </a:cubicBezTo>
                  <a:cubicBezTo>
                    <a:pt x="146" y="456"/>
                    <a:pt x="143" y="456"/>
                    <a:pt x="141" y="458"/>
                  </a:cubicBezTo>
                  <a:cubicBezTo>
                    <a:pt x="138" y="461"/>
                    <a:pt x="138" y="463"/>
                    <a:pt x="140" y="467"/>
                  </a:cubicBezTo>
                  <a:cubicBezTo>
                    <a:pt x="140" y="469"/>
                    <a:pt x="141" y="469"/>
                    <a:pt x="142" y="469"/>
                  </a:cubicBezTo>
                  <a:cubicBezTo>
                    <a:pt x="143" y="469"/>
                    <a:pt x="144" y="469"/>
                    <a:pt x="144" y="468"/>
                  </a:cubicBezTo>
                  <a:cubicBezTo>
                    <a:pt x="145" y="468"/>
                    <a:pt x="146" y="467"/>
                    <a:pt x="147" y="467"/>
                  </a:cubicBezTo>
                  <a:cubicBezTo>
                    <a:pt x="148" y="467"/>
                    <a:pt x="148" y="467"/>
                    <a:pt x="149" y="468"/>
                  </a:cubicBezTo>
                  <a:cubicBezTo>
                    <a:pt x="148" y="468"/>
                    <a:pt x="143" y="469"/>
                    <a:pt x="143" y="470"/>
                  </a:cubicBezTo>
                  <a:cubicBezTo>
                    <a:pt x="142" y="471"/>
                    <a:pt x="144" y="473"/>
                    <a:pt x="144" y="474"/>
                  </a:cubicBezTo>
                  <a:cubicBezTo>
                    <a:pt x="144" y="475"/>
                    <a:pt x="145" y="478"/>
                    <a:pt x="144" y="479"/>
                  </a:cubicBezTo>
                  <a:cubicBezTo>
                    <a:pt x="145" y="478"/>
                    <a:pt x="146" y="478"/>
                    <a:pt x="146" y="478"/>
                  </a:cubicBezTo>
                  <a:cubicBezTo>
                    <a:pt x="147" y="478"/>
                    <a:pt x="147" y="479"/>
                    <a:pt x="146" y="479"/>
                  </a:cubicBezTo>
                  <a:cubicBezTo>
                    <a:pt x="143" y="481"/>
                    <a:pt x="139" y="482"/>
                    <a:pt x="135" y="484"/>
                  </a:cubicBezTo>
                  <a:cubicBezTo>
                    <a:pt x="136" y="484"/>
                    <a:pt x="137" y="484"/>
                    <a:pt x="138" y="484"/>
                  </a:cubicBezTo>
                  <a:cubicBezTo>
                    <a:pt x="139" y="484"/>
                    <a:pt x="139" y="484"/>
                    <a:pt x="139" y="484"/>
                  </a:cubicBezTo>
                  <a:cubicBezTo>
                    <a:pt x="140" y="484"/>
                    <a:pt x="140" y="484"/>
                    <a:pt x="140" y="484"/>
                  </a:cubicBezTo>
                  <a:cubicBezTo>
                    <a:pt x="142" y="484"/>
                    <a:pt x="144" y="484"/>
                    <a:pt x="145" y="485"/>
                  </a:cubicBezTo>
                  <a:cubicBezTo>
                    <a:pt x="145" y="485"/>
                    <a:pt x="145" y="484"/>
                    <a:pt x="145" y="484"/>
                  </a:cubicBezTo>
                  <a:cubicBezTo>
                    <a:pt x="146" y="485"/>
                    <a:pt x="146" y="486"/>
                    <a:pt x="146" y="486"/>
                  </a:cubicBezTo>
                  <a:cubicBezTo>
                    <a:pt x="147" y="485"/>
                    <a:pt x="150" y="485"/>
                    <a:pt x="152" y="484"/>
                  </a:cubicBezTo>
                  <a:cubicBezTo>
                    <a:pt x="154" y="483"/>
                    <a:pt x="154" y="483"/>
                    <a:pt x="155" y="482"/>
                  </a:cubicBezTo>
                  <a:cubicBezTo>
                    <a:pt x="156" y="481"/>
                    <a:pt x="155" y="479"/>
                    <a:pt x="157" y="479"/>
                  </a:cubicBezTo>
                  <a:cubicBezTo>
                    <a:pt x="156" y="479"/>
                    <a:pt x="156" y="479"/>
                    <a:pt x="156" y="479"/>
                  </a:cubicBezTo>
                  <a:cubicBezTo>
                    <a:pt x="156" y="479"/>
                    <a:pt x="156" y="479"/>
                    <a:pt x="156" y="479"/>
                  </a:cubicBezTo>
                  <a:cubicBezTo>
                    <a:pt x="157" y="479"/>
                    <a:pt x="158" y="478"/>
                    <a:pt x="160" y="477"/>
                  </a:cubicBezTo>
                  <a:cubicBezTo>
                    <a:pt x="162" y="477"/>
                    <a:pt x="163" y="476"/>
                    <a:pt x="165" y="476"/>
                  </a:cubicBezTo>
                  <a:cubicBezTo>
                    <a:pt x="165" y="476"/>
                    <a:pt x="166" y="476"/>
                    <a:pt x="166" y="477"/>
                  </a:cubicBezTo>
                  <a:cubicBezTo>
                    <a:pt x="167" y="476"/>
                    <a:pt x="168" y="475"/>
                    <a:pt x="169" y="474"/>
                  </a:cubicBezTo>
                  <a:cubicBezTo>
                    <a:pt x="170" y="473"/>
                    <a:pt x="175" y="470"/>
                    <a:pt x="177" y="470"/>
                  </a:cubicBezTo>
                  <a:cubicBezTo>
                    <a:pt x="177" y="470"/>
                    <a:pt x="177" y="470"/>
                    <a:pt x="177" y="470"/>
                  </a:cubicBezTo>
                  <a:cubicBezTo>
                    <a:pt x="179" y="470"/>
                    <a:pt x="180" y="472"/>
                    <a:pt x="180" y="474"/>
                  </a:cubicBezTo>
                  <a:cubicBezTo>
                    <a:pt x="180" y="475"/>
                    <a:pt x="180" y="475"/>
                    <a:pt x="180" y="475"/>
                  </a:cubicBezTo>
                  <a:cubicBezTo>
                    <a:pt x="180" y="475"/>
                    <a:pt x="180" y="475"/>
                    <a:pt x="180" y="475"/>
                  </a:cubicBezTo>
                  <a:cubicBezTo>
                    <a:pt x="181" y="474"/>
                    <a:pt x="181" y="474"/>
                    <a:pt x="181" y="474"/>
                  </a:cubicBezTo>
                  <a:cubicBezTo>
                    <a:pt x="181" y="474"/>
                    <a:pt x="181" y="474"/>
                    <a:pt x="182" y="474"/>
                  </a:cubicBezTo>
                  <a:cubicBezTo>
                    <a:pt x="182" y="475"/>
                    <a:pt x="182" y="476"/>
                    <a:pt x="183" y="476"/>
                  </a:cubicBezTo>
                  <a:cubicBezTo>
                    <a:pt x="183" y="476"/>
                    <a:pt x="183" y="476"/>
                    <a:pt x="183" y="476"/>
                  </a:cubicBezTo>
                  <a:cubicBezTo>
                    <a:pt x="183" y="476"/>
                    <a:pt x="183" y="476"/>
                    <a:pt x="184" y="476"/>
                  </a:cubicBezTo>
                  <a:cubicBezTo>
                    <a:pt x="184" y="476"/>
                    <a:pt x="184" y="476"/>
                    <a:pt x="185" y="476"/>
                  </a:cubicBezTo>
                  <a:cubicBezTo>
                    <a:pt x="185" y="476"/>
                    <a:pt x="185" y="476"/>
                    <a:pt x="186" y="476"/>
                  </a:cubicBezTo>
                  <a:cubicBezTo>
                    <a:pt x="186" y="476"/>
                    <a:pt x="186" y="478"/>
                    <a:pt x="187" y="478"/>
                  </a:cubicBezTo>
                  <a:cubicBezTo>
                    <a:pt x="187" y="479"/>
                    <a:pt x="188" y="479"/>
                    <a:pt x="188" y="479"/>
                  </a:cubicBezTo>
                  <a:cubicBezTo>
                    <a:pt x="189" y="479"/>
                    <a:pt x="189" y="478"/>
                    <a:pt x="190" y="477"/>
                  </a:cubicBezTo>
                  <a:cubicBezTo>
                    <a:pt x="191" y="476"/>
                    <a:pt x="192" y="473"/>
                    <a:pt x="193" y="473"/>
                  </a:cubicBezTo>
                  <a:cubicBezTo>
                    <a:pt x="194" y="473"/>
                    <a:pt x="194" y="473"/>
                    <a:pt x="194" y="473"/>
                  </a:cubicBezTo>
                  <a:cubicBezTo>
                    <a:pt x="195" y="474"/>
                    <a:pt x="195" y="476"/>
                    <a:pt x="195" y="477"/>
                  </a:cubicBezTo>
                  <a:cubicBezTo>
                    <a:pt x="195" y="477"/>
                    <a:pt x="197" y="478"/>
                    <a:pt x="197" y="478"/>
                  </a:cubicBezTo>
                  <a:cubicBezTo>
                    <a:pt x="202" y="482"/>
                    <a:pt x="205" y="490"/>
                    <a:pt x="210" y="492"/>
                  </a:cubicBezTo>
                  <a:cubicBezTo>
                    <a:pt x="210" y="492"/>
                    <a:pt x="211" y="492"/>
                    <a:pt x="211" y="492"/>
                  </a:cubicBezTo>
                  <a:cubicBezTo>
                    <a:pt x="213" y="492"/>
                    <a:pt x="214" y="491"/>
                    <a:pt x="215" y="490"/>
                  </a:cubicBezTo>
                  <a:cubicBezTo>
                    <a:pt x="216" y="488"/>
                    <a:pt x="214" y="487"/>
                    <a:pt x="212" y="485"/>
                  </a:cubicBezTo>
                  <a:cubicBezTo>
                    <a:pt x="212" y="483"/>
                    <a:pt x="211" y="481"/>
                    <a:pt x="211" y="480"/>
                  </a:cubicBezTo>
                  <a:cubicBezTo>
                    <a:pt x="211" y="477"/>
                    <a:pt x="216" y="476"/>
                    <a:pt x="213" y="473"/>
                  </a:cubicBezTo>
                  <a:cubicBezTo>
                    <a:pt x="215" y="474"/>
                    <a:pt x="214" y="476"/>
                    <a:pt x="215" y="476"/>
                  </a:cubicBezTo>
                  <a:cubicBezTo>
                    <a:pt x="215" y="476"/>
                    <a:pt x="216" y="476"/>
                    <a:pt x="216" y="475"/>
                  </a:cubicBezTo>
                  <a:cubicBezTo>
                    <a:pt x="217" y="475"/>
                    <a:pt x="218" y="474"/>
                    <a:pt x="219" y="473"/>
                  </a:cubicBezTo>
                  <a:cubicBezTo>
                    <a:pt x="219" y="472"/>
                    <a:pt x="221" y="470"/>
                    <a:pt x="221" y="470"/>
                  </a:cubicBezTo>
                  <a:cubicBezTo>
                    <a:pt x="221" y="469"/>
                    <a:pt x="222" y="469"/>
                    <a:pt x="220" y="468"/>
                  </a:cubicBezTo>
                  <a:cubicBezTo>
                    <a:pt x="219" y="467"/>
                    <a:pt x="219" y="467"/>
                    <a:pt x="219" y="466"/>
                  </a:cubicBezTo>
                  <a:cubicBezTo>
                    <a:pt x="222" y="469"/>
                    <a:pt x="223" y="469"/>
                    <a:pt x="226" y="470"/>
                  </a:cubicBezTo>
                  <a:cubicBezTo>
                    <a:pt x="229" y="471"/>
                    <a:pt x="231" y="471"/>
                    <a:pt x="231" y="474"/>
                  </a:cubicBezTo>
                  <a:cubicBezTo>
                    <a:pt x="229" y="472"/>
                    <a:pt x="227" y="471"/>
                    <a:pt x="224" y="471"/>
                  </a:cubicBezTo>
                  <a:cubicBezTo>
                    <a:pt x="224" y="471"/>
                    <a:pt x="224" y="471"/>
                    <a:pt x="224" y="471"/>
                  </a:cubicBezTo>
                  <a:cubicBezTo>
                    <a:pt x="223" y="471"/>
                    <a:pt x="221" y="471"/>
                    <a:pt x="220" y="472"/>
                  </a:cubicBezTo>
                  <a:cubicBezTo>
                    <a:pt x="220" y="474"/>
                    <a:pt x="219" y="476"/>
                    <a:pt x="219" y="478"/>
                  </a:cubicBezTo>
                  <a:cubicBezTo>
                    <a:pt x="219" y="479"/>
                    <a:pt x="220" y="479"/>
                    <a:pt x="221" y="479"/>
                  </a:cubicBezTo>
                  <a:cubicBezTo>
                    <a:pt x="222" y="480"/>
                    <a:pt x="223" y="479"/>
                    <a:pt x="223" y="480"/>
                  </a:cubicBezTo>
                  <a:cubicBezTo>
                    <a:pt x="224" y="481"/>
                    <a:pt x="224" y="482"/>
                    <a:pt x="224" y="483"/>
                  </a:cubicBezTo>
                  <a:cubicBezTo>
                    <a:pt x="225" y="484"/>
                    <a:pt x="226" y="485"/>
                    <a:pt x="228" y="485"/>
                  </a:cubicBezTo>
                  <a:cubicBezTo>
                    <a:pt x="228" y="485"/>
                    <a:pt x="228" y="485"/>
                    <a:pt x="228" y="485"/>
                  </a:cubicBezTo>
                  <a:cubicBezTo>
                    <a:pt x="231" y="485"/>
                    <a:pt x="235" y="482"/>
                    <a:pt x="238" y="481"/>
                  </a:cubicBezTo>
                  <a:cubicBezTo>
                    <a:pt x="242" y="479"/>
                    <a:pt x="246" y="478"/>
                    <a:pt x="249" y="477"/>
                  </a:cubicBezTo>
                  <a:cubicBezTo>
                    <a:pt x="253" y="476"/>
                    <a:pt x="254" y="473"/>
                    <a:pt x="257" y="472"/>
                  </a:cubicBezTo>
                  <a:cubicBezTo>
                    <a:pt x="256" y="474"/>
                    <a:pt x="252" y="481"/>
                    <a:pt x="255" y="481"/>
                  </a:cubicBezTo>
                  <a:cubicBezTo>
                    <a:pt x="255" y="481"/>
                    <a:pt x="256" y="481"/>
                    <a:pt x="256" y="481"/>
                  </a:cubicBezTo>
                  <a:cubicBezTo>
                    <a:pt x="252" y="485"/>
                    <a:pt x="248" y="489"/>
                    <a:pt x="244" y="493"/>
                  </a:cubicBezTo>
                  <a:cubicBezTo>
                    <a:pt x="242" y="494"/>
                    <a:pt x="241" y="496"/>
                    <a:pt x="243" y="497"/>
                  </a:cubicBezTo>
                  <a:cubicBezTo>
                    <a:pt x="244" y="498"/>
                    <a:pt x="245" y="498"/>
                    <a:pt x="247" y="498"/>
                  </a:cubicBezTo>
                  <a:cubicBezTo>
                    <a:pt x="247" y="498"/>
                    <a:pt x="247" y="498"/>
                    <a:pt x="247" y="498"/>
                  </a:cubicBezTo>
                  <a:cubicBezTo>
                    <a:pt x="249" y="498"/>
                    <a:pt x="251" y="498"/>
                    <a:pt x="252" y="500"/>
                  </a:cubicBezTo>
                  <a:cubicBezTo>
                    <a:pt x="250" y="500"/>
                    <a:pt x="248" y="499"/>
                    <a:pt x="247" y="499"/>
                  </a:cubicBezTo>
                  <a:cubicBezTo>
                    <a:pt x="244" y="499"/>
                    <a:pt x="242" y="501"/>
                    <a:pt x="241" y="505"/>
                  </a:cubicBezTo>
                  <a:cubicBezTo>
                    <a:pt x="240" y="508"/>
                    <a:pt x="240" y="510"/>
                    <a:pt x="240" y="512"/>
                  </a:cubicBezTo>
                  <a:cubicBezTo>
                    <a:pt x="239" y="513"/>
                    <a:pt x="239" y="514"/>
                    <a:pt x="239" y="516"/>
                  </a:cubicBezTo>
                  <a:cubicBezTo>
                    <a:pt x="239" y="518"/>
                    <a:pt x="239" y="517"/>
                    <a:pt x="240" y="519"/>
                  </a:cubicBezTo>
                  <a:cubicBezTo>
                    <a:pt x="240" y="519"/>
                    <a:pt x="243" y="520"/>
                    <a:pt x="241" y="521"/>
                  </a:cubicBezTo>
                  <a:cubicBezTo>
                    <a:pt x="241" y="522"/>
                    <a:pt x="241" y="522"/>
                    <a:pt x="241" y="522"/>
                  </a:cubicBezTo>
                  <a:cubicBezTo>
                    <a:pt x="240" y="522"/>
                    <a:pt x="239" y="521"/>
                    <a:pt x="239" y="520"/>
                  </a:cubicBezTo>
                  <a:cubicBezTo>
                    <a:pt x="235" y="520"/>
                    <a:pt x="229" y="527"/>
                    <a:pt x="226" y="529"/>
                  </a:cubicBezTo>
                  <a:cubicBezTo>
                    <a:pt x="223" y="532"/>
                    <a:pt x="219" y="534"/>
                    <a:pt x="217" y="537"/>
                  </a:cubicBezTo>
                  <a:cubicBezTo>
                    <a:pt x="215" y="541"/>
                    <a:pt x="217" y="543"/>
                    <a:pt x="217" y="547"/>
                  </a:cubicBezTo>
                  <a:cubicBezTo>
                    <a:pt x="217" y="547"/>
                    <a:pt x="217" y="547"/>
                    <a:pt x="217" y="547"/>
                  </a:cubicBezTo>
                  <a:cubicBezTo>
                    <a:pt x="215" y="547"/>
                    <a:pt x="214" y="546"/>
                    <a:pt x="213" y="546"/>
                  </a:cubicBezTo>
                  <a:cubicBezTo>
                    <a:pt x="212" y="545"/>
                    <a:pt x="210" y="544"/>
                    <a:pt x="209" y="544"/>
                  </a:cubicBezTo>
                  <a:cubicBezTo>
                    <a:pt x="209" y="544"/>
                    <a:pt x="209" y="544"/>
                    <a:pt x="209" y="544"/>
                  </a:cubicBezTo>
                  <a:cubicBezTo>
                    <a:pt x="210" y="544"/>
                    <a:pt x="211" y="543"/>
                    <a:pt x="212" y="542"/>
                  </a:cubicBezTo>
                  <a:cubicBezTo>
                    <a:pt x="204" y="547"/>
                    <a:pt x="195" y="552"/>
                    <a:pt x="187" y="557"/>
                  </a:cubicBezTo>
                  <a:cubicBezTo>
                    <a:pt x="183" y="560"/>
                    <a:pt x="177" y="562"/>
                    <a:pt x="175" y="566"/>
                  </a:cubicBezTo>
                  <a:cubicBezTo>
                    <a:pt x="175" y="567"/>
                    <a:pt x="174" y="569"/>
                    <a:pt x="173" y="570"/>
                  </a:cubicBezTo>
                  <a:cubicBezTo>
                    <a:pt x="173" y="571"/>
                    <a:pt x="172" y="572"/>
                    <a:pt x="172" y="572"/>
                  </a:cubicBezTo>
                  <a:cubicBezTo>
                    <a:pt x="172" y="572"/>
                    <a:pt x="173" y="573"/>
                    <a:pt x="172" y="574"/>
                  </a:cubicBezTo>
                  <a:cubicBezTo>
                    <a:pt x="173" y="574"/>
                    <a:pt x="173" y="574"/>
                    <a:pt x="173" y="574"/>
                  </a:cubicBezTo>
                  <a:cubicBezTo>
                    <a:pt x="175" y="574"/>
                    <a:pt x="178" y="576"/>
                    <a:pt x="180" y="577"/>
                  </a:cubicBezTo>
                  <a:cubicBezTo>
                    <a:pt x="179" y="578"/>
                    <a:pt x="178" y="579"/>
                    <a:pt x="180" y="579"/>
                  </a:cubicBezTo>
                  <a:cubicBezTo>
                    <a:pt x="176" y="578"/>
                    <a:pt x="172" y="577"/>
                    <a:pt x="168" y="576"/>
                  </a:cubicBezTo>
                  <a:cubicBezTo>
                    <a:pt x="167" y="579"/>
                    <a:pt x="171" y="580"/>
                    <a:pt x="170" y="582"/>
                  </a:cubicBezTo>
                  <a:cubicBezTo>
                    <a:pt x="167" y="581"/>
                    <a:pt x="165" y="579"/>
                    <a:pt x="164" y="577"/>
                  </a:cubicBezTo>
                  <a:cubicBezTo>
                    <a:pt x="163" y="576"/>
                    <a:pt x="163" y="576"/>
                    <a:pt x="163" y="576"/>
                  </a:cubicBezTo>
                  <a:cubicBezTo>
                    <a:pt x="163" y="576"/>
                    <a:pt x="163" y="576"/>
                    <a:pt x="163" y="576"/>
                  </a:cubicBezTo>
                  <a:cubicBezTo>
                    <a:pt x="163" y="576"/>
                    <a:pt x="163" y="576"/>
                    <a:pt x="163" y="576"/>
                  </a:cubicBezTo>
                  <a:cubicBezTo>
                    <a:pt x="162" y="576"/>
                    <a:pt x="162" y="576"/>
                    <a:pt x="162" y="576"/>
                  </a:cubicBezTo>
                  <a:cubicBezTo>
                    <a:pt x="162" y="576"/>
                    <a:pt x="162" y="576"/>
                    <a:pt x="162" y="575"/>
                  </a:cubicBezTo>
                  <a:cubicBezTo>
                    <a:pt x="162" y="573"/>
                    <a:pt x="165" y="574"/>
                    <a:pt x="165" y="573"/>
                  </a:cubicBezTo>
                  <a:cubicBezTo>
                    <a:pt x="166" y="572"/>
                    <a:pt x="163" y="572"/>
                    <a:pt x="160" y="572"/>
                  </a:cubicBezTo>
                  <a:cubicBezTo>
                    <a:pt x="160" y="572"/>
                    <a:pt x="160" y="572"/>
                    <a:pt x="159" y="572"/>
                  </a:cubicBezTo>
                  <a:cubicBezTo>
                    <a:pt x="159" y="572"/>
                    <a:pt x="158" y="572"/>
                    <a:pt x="158" y="572"/>
                  </a:cubicBezTo>
                  <a:cubicBezTo>
                    <a:pt x="158" y="572"/>
                    <a:pt x="158" y="572"/>
                    <a:pt x="157" y="572"/>
                  </a:cubicBezTo>
                  <a:cubicBezTo>
                    <a:pt x="158" y="572"/>
                    <a:pt x="158" y="572"/>
                    <a:pt x="158" y="572"/>
                  </a:cubicBezTo>
                  <a:cubicBezTo>
                    <a:pt x="149" y="575"/>
                    <a:pt x="139" y="578"/>
                    <a:pt x="132" y="584"/>
                  </a:cubicBezTo>
                  <a:cubicBezTo>
                    <a:pt x="127" y="588"/>
                    <a:pt x="121" y="593"/>
                    <a:pt x="116" y="597"/>
                  </a:cubicBezTo>
                  <a:cubicBezTo>
                    <a:pt x="115" y="598"/>
                    <a:pt x="115" y="598"/>
                    <a:pt x="114" y="598"/>
                  </a:cubicBezTo>
                  <a:cubicBezTo>
                    <a:pt x="114" y="598"/>
                    <a:pt x="114" y="598"/>
                    <a:pt x="115" y="597"/>
                  </a:cubicBezTo>
                  <a:cubicBezTo>
                    <a:pt x="114" y="598"/>
                    <a:pt x="112" y="598"/>
                    <a:pt x="110" y="599"/>
                  </a:cubicBezTo>
                  <a:cubicBezTo>
                    <a:pt x="109" y="601"/>
                    <a:pt x="109" y="600"/>
                    <a:pt x="109" y="602"/>
                  </a:cubicBezTo>
                  <a:cubicBezTo>
                    <a:pt x="109" y="603"/>
                    <a:pt x="110" y="605"/>
                    <a:pt x="110" y="606"/>
                  </a:cubicBezTo>
                  <a:cubicBezTo>
                    <a:pt x="109" y="607"/>
                    <a:pt x="108" y="609"/>
                    <a:pt x="108" y="610"/>
                  </a:cubicBezTo>
                  <a:cubicBezTo>
                    <a:pt x="109" y="609"/>
                    <a:pt x="111" y="607"/>
                    <a:pt x="113" y="605"/>
                  </a:cubicBezTo>
                  <a:cubicBezTo>
                    <a:pt x="111" y="604"/>
                    <a:pt x="110" y="602"/>
                    <a:pt x="111" y="601"/>
                  </a:cubicBezTo>
                  <a:cubicBezTo>
                    <a:pt x="111" y="600"/>
                    <a:pt x="112" y="600"/>
                    <a:pt x="112" y="600"/>
                  </a:cubicBezTo>
                  <a:cubicBezTo>
                    <a:pt x="114" y="600"/>
                    <a:pt x="116" y="603"/>
                    <a:pt x="118" y="604"/>
                  </a:cubicBezTo>
                  <a:cubicBezTo>
                    <a:pt x="115" y="606"/>
                    <a:pt x="118" y="606"/>
                    <a:pt x="121" y="606"/>
                  </a:cubicBezTo>
                  <a:cubicBezTo>
                    <a:pt x="124" y="606"/>
                    <a:pt x="126" y="606"/>
                    <a:pt x="126" y="606"/>
                  </a:cubicBezTo>
                  <a:cubicBezTo>
                    <a:pt x="126" y="604"/>
                    <a:pt x="125" y="603"/>
                    <a:pt x="125" y="602"/>
                  </a:cubicBezTo>
                  <a:cubicBezTo>
                    <a:pt x="125" y="600"/>
                    <a:pt x="125" y="600"/>
                    <a:pt x="125" y="600"/>
                  </a:cubicBezTo>
                  <a:cubicBezTo>
                    <a:pt x="125" y="599"/>
                    <a:pt x="125" y="599"/>
                    <a:pt x="125" y="599"/>
                  </a:cubicBezTo>
                  <a:cubicBezTo>
                    <a:pt x="124" y="598"/>
                    <a:pt x="124" y="598"/>
                    <a:pt x="124" y="598"/>
                  </a:cubicBezTo>
                  <a:cubicBezTo>
                    <a:pt x="123" y="598"/>
                    <a:pt x="122" y="598"/>
                    <a:pt x="122" y="597"/>
                  </a:cubicBezTo>
                  <a:cubicBezTo>
                    <a:pt x="122" y="596"/>
                    <a:pt x="123" y="595"/>
                    <a:pt x="123" y="595"/>
                  </a:cubicBezTo>
                  <a:cubicBezTo>
                    <a:pt x="125" y="595"/>
                    <a:pt x="130" y="601"/>
                    <a:pt x="131" y="601"/>
                  </a:cubicBezTo>
                  <a:cubicBezTo>
                    <a:pt x="130" y="602"/>
                    <a:pt x="129" y="602"/>
                    <a:pt x="128" y="603"/>
                  </a:cubicBezTo>
                  <a:cubicBezTo>
                    <a:pt x="129" y="603"/>
                    <a:pt x="132" y="604"/>
                    <a:pt x="132" y="604"/>
                  </a:cubicBezTo>
                  <a:cubicBezTo>
                    <a:pt x="132" y="604"/>
                    <a:pt x="132" y="604"/>
                    <a:pt x="132" y="604"/>
                  </a:cubicBezTo>
                  <a:cubicBezTo>
                    <a:pt x="134" y="603"/>
                    <a:pt x="134" y="601"/>
                    <a:pt x="135" y="601"/>
                  </a:cubicBezTo>
                  <a:cubicBezTo>
                    <a:pt x="135" y="601"/>
                    <a:pt x="135" y="600"/>
                    <a:pt x="135" y="600"/>
                  </a:cubicBezTo>
                  <a:cubicBezTo>
                    <a:pt x="136" y="600"/>
                    <a:pt x="136" y="601"/>
                    <a:pt x="136" y="601"/>
                  </a:cubicBezTo>
                  <a:cubicBezTo>
                    <a:pt x="137" y="601"/>
                    <a:pt x="137" y="602"/>
                    <a:pt x="137" y="602"/>
                  </a:cubicBezTo>
                  <a:cubicBezTo>
                    <a:pt x="138" y="602"/>
                    <a:pt x="138" y="602"/>
                    <a:pt x="138" y="602"/>
                  </a:cubicBezTo>
                  <a:cubicBezTo>
                    <a:pt x="139" y="601"/>
                    <a:pt x="138" y="598"/>
                    <a:pt x="138" y="598"/>
                  </a:cubicBezTo>
                  <a:cubicBezTo>
                    <a:pt x="139" y="597"/>
                    <a:pt x="140" y="596"/>
                    <a:pt x="142" y="595"/>
                  </a:cubicBezTo>
                  <a:cubicBezTo>
                    <a:pt x="143" y="594"/>
                    <a:pt x="145" y="593"/>
                    <a:pt x="145" y="592"/>
                  </a:cubicBezTo>
                  <a:cubicBezTo>
                    <a:pt x="147" y="590"/>
                    <a:pt x="145" y="588"/>
                    <a:pt x="147" y="586"/>
                  </a:cubicBezTo>
                  <a:cubicBezTo>
                    <a:pt x="148" y="585"/>
                    <a:pt x="149" y="585"/>
                    <a:pt x="151" y="585"/>
                  </a:cubicBezTo>
                  <a:cubicBezTo>
                    <a:pt x="152" y="585"/>
                    <a:pt x="154" y="585"/>
                    <a:pt x="155" y="586"/>
                  </a:cubicBezTo>
                  <a:cubicBezTo>
                    <a:pt x="156" y="586"/>
                    <a:pt x="158" y="587"/>
                    <a:pt x="159" y="587"/>
                  </a:cubicBezTo>
                  <a:cubicBezTo>
                    <a:pt x="157" y="587"/>
                    <a:pt x="156" y="587"/>
                    <a:pt x="155" y="587"/>
                  </a:cubicBezTo>
                  <a:cubicBezTo>
                    <a:pt x="154" y="587"/>
                    <a:pt x="153" y="587"/>
                    <a:pt x="152" y="589"/>
                  </a:cubicBezTo>
                  <a:cubicBezTo>
                    <a:pt x="151" y="590"/>
                    <a:pt x="150" y="592"/>
                    <a:pt x="150" y="593"/>
                  </a:cubicBezTo>
                  <a:cubicBezTo>
                    <a:pt x="151" y="593"/>
                    <a:pt x="151" y="593"/>
                    <a:pt x="151" y="593"/>
                  </a:cubicBezTo>
                  <a:cubicBezTo>
                    <a:pt x="152" y="593"/>
                    <a:pt x="154" y="592"/>
                    <a:pt x="155" y="592"/>
                  </a:cubicBezTo>
                  <a:cubicBezTo>
                    <a:pt x="155" y="592"/>
                    <a:pt x="156" y="593"/>
                    <a:pt x="157" y="593"/>
                  </a:cubicBezTo>
                  <a:cubicBezTo>
                    <a:pt x="158" y="593"/>
                    <a:pt x="159" y="592"/>
                    <a:pt x="159" y="592"/>
                  </a:cubicBezTo>
                  <a:cubicBezTo>
                    <a:pt x="161" y="592"/>
                    <a:pt x="167" y="591"/>
                    <a:pt x="168" y="590"/>
                  </a:cubicBezTo>
                  <a:cubicBezTo>
                    <a:pt x="170" y="588"/>
                    <a:pt x="167" y="587"/>
                    <a:pt x="170" y="586"/>
                  </a:cubicBezTo>
                  <a:cubicBezTo>
                    <a:pt x="170" y="585"/>
                    <a:pt x="171" y="585"/>
                    <a:pt x="171" y="585"/>
                  </a:cubicBezTo>
                  <a:cubicBezTo>
                    <a:pt x="173" y="585"/>
                    <a:pt x="172" y="589"/>
                    <a:pt x="173" y="589"/>
                  </a:cubicBezTo>
                  <a:cubicBezTo>
                    <a:pt x="173" y="589"/>
                    <a:pt x="173" y="589"/>
                    <a:pt x="173" y="589"/>
                  </a:cubicBezTo>
                  <a:cubicBezTo>
                    <a:pt x="174" y="589"/>
                    <a:pt x="176" y="585"/>
                    <a:pt x="175" y="584"/>
                  </a:cubicBezTo>
                  <a:cubicBezTo>
                    <a:pt x="181" y="581"/>
                    <a:pt x="188" y="580"/>
                    <a:pt x="194" y="578"/>
                  </a:cubicBezTo>
                  <a:cubicBezTo>
                    <a:pt x="192" y="580"/>
                    <a:pt x="195" y="582"/>
                    <a:pt x="192" y="583"/>
                  </a:cubicBezTo>
                  <a:cubicBezTo>
                    <a:pt x="196" y="583"/>
                    <a:pt x="193" y="585"/>
                    <a:pt x="192" y="586"/>
                  </a:cubicBezTo>
                  <a:cubicBezTo>
                    <a:pt x="192" y="586"/>
                    <a:pt x="192" y="586"/>
                    <a:pt x="192" y="586"/>
                  </a:cubicBezTo>
                  <a:cubicBezTo>
                    <a:pt x="196" y="586"/>
                    <a:pt x="198" y="579"/>
                    <a:pt x="196" y="576"/>
                  </a:cubicBezTo>
                  <a:cubicBezTo>
                    <a:pt x="197" y="577"/>
                    <a:pt x="198" y="579"/>
                    <a:pt x="199" y="579"/>
                  </a:cubicBezTo>
                  <a:cubicBezTo>
                    <a:pt x="199" y="579"/>
                    <a:pt x="199" y="579"/>
                    <a:pt x="199" y="579"/>
                  </a:cubicBezTo>
                  <a:cubicBezTo>
                    <a:pt x="201" y="579"/>
                    <a:pt x="204" y="576"/>
                    <a:pt x="205" y="576"/>
                  </a:cubicBezTo>
                  <a:cubicBezTo>
                    <a:pt x="208" y="575"/>
                    <a:pt x="211" y="574"/>
                    <a:pt x="215" y="573"/>
                  </a:cubicBezTo>
                  <a:cubicBezTo>
                    <a:pt x="214" y="573"/>
                    <a:pt x="214" y="573"/>
                    <a:pt x="214" y="573"/>
                  </a:cubicBezTo>
                  <a:cubicBezTo>
                    <a:pt x="215" y="573"/>
                    <a:pt x="215" y="573"/>
                    <a:pt x="215" y="573"/>
                  </a:cubicBezTo>
                  <a:cubicBezTo>
                    <a:pt x="215" y="573"/>
                    <a:pt x="215" y="573"/>
                    <a:pt x="215" y="573"/>
                  </a:cubicBezTo>
                  <a:cubicBezTo>
                    <a:pt x="215" y="573"/>
                    <a:pt x="215" y="573"/>
                    <a:pt x="215" y="573"/>
                  </a:cubicBezTo>
                  <a:cubicBezTo>
                    <a:pt x="216" y="573"/>
                    <a:pt x="216" y="573"/>
                    <a:pt x="216" y="573"/>
                  </a:cubicBezTo>
                  <a:cubicBezTo>
                    <a:pt x="216" y="572"/>
                    <a:pt x="216" y="569"/>
                    <a:pt x="216" y="569"/>
                  </a:cubicBezTo>
                  <a:cubicBezTo>
                    <a:pt x="216" y="568"/>
                    <a:pt x="216" y="566"/>
                    <a:pt x="217" y="566"/>
                  </a:cubicBezTo>
                  <a:cubicBezTo>
                    <a:pt x="217" y="566"/>
                    <a:pt x="217" y="566"/>
                    <a:pt x="217" y="566"/>
                  </a:cubicBezTo>
                  <a:cubicBezTo>
                    <a:pt x="218" y="568"/>
                    <a:pt x="217" y="571"/>
                    <a:pt x="219" y="571"/>
                  </a:cubicBezTo>
                  <a:cubicBezTo>
                    <a:pt x="219" y="571"/>
                    <a:pt x="220" y="570"/>
                    <a:pt x="220" y="570"/>
                  </a:cubicBezTo>
                  <a:cubicBezTo>
                    <a:pt x="219" y="571"/>
                    <a:pt x="219" y="572"/>
                    <a:pt x="221" y="572"/>
                  </a:cubicBezTo>
                  <a:cubicBezTo>
                    <a:pt x="221" y="572"/>
                    <a:pt x="221" y="572"/>
                    <a:pt x="221" y="572"/>
                  </a:cubicBezTo>
                  <a:cubicBezTo>
                    <a:pt x="221" y="570"/>
                    <a:pt x="220" y="570"/>
                    <a:pt x="221" y="568"/>
                  </a:cubicBezTo>
                  <a:cubicBezTo>
                    <a:pt x="221" y="567"/>
                    <a:pt x="223" y="566"/>
                    <a:pt x="223" y="565"/>
                  </a:cubicBezTo>
                  <a:cubicBezTo>
                    <a:pt x="222" y="565"/>
                    <a:pt x="222" y="565"/>
                    <a:pt x="222" y="565"/>
                  </a:cubicBezTo>
                  <a:cubicBezTo>
                    <a:pt x="223" y="564"/>
                    <a:pt x="225" y="561"/>
                    <a:pt x="224" y="561"/>
                  </a:cubicBezTo>
                  <a:cubicBezTo>
                    <a:pt x="224" y="561"/>
                    <a:pt x="223" y="562"/>
                    <a:pt x="222" y="562"/>
                  </a:cubicBezTo>
                  <a:cubicBezTo>
                    <a:pt x="222" y="561"/>
                    <a:pt x="222" y="561"/>
                    <a:pt x="221" y="561"/>
                  </a:cubicBezTo>
                  <a:cubicBezTo>
                    <a:pt x="221" y="561"/>
                    <a:pt x="220" y="561"/>
                    <a:pt x="220" y="562"/>
                  </a:cubicBezTo>
                  <a:cubicBezTo>
                    <a:pt x="219" y="562"/>
                    <a:pt x="218" y="563"/>
                    <a:pt x="217" y="563"/>
                  </a:cubicBezTo>
                  <a:cubicBezTo>
                    <a:pt x="217" y="563"/>
                    <a:pt x="217" y="563"/>
                    <a:pt x="217" y="563"/>
                  </a:cubicBezTo>
                  <a:cubicBezTo>
                    <a:pt x="216" y="562"/>
                    <a:pt x="220" y="560"/>
                    <a:pt x="221" y="559"/>
                  </a:cubicBezTo>
                  <a:cubicBezTo>
                    <a:pt x="224" y="556"/>
                    <a:pt x="229" y="554"/>
                    <a:pt x="233" y="551"/>
                  </a:cubicBezTo>
                  <a:cubicBezTo>
                    <a:pt x="234" y="550"/>
                    <a:pt x="236" y="550"/>
                    <a:pt x="237" y="550"/>
                  </a:cubicBezTo>
                  <a:cubicBezTo>
                    <a:pt x="239" y="550"/>
                    <a:pt x="241" y="551"/>
                    <a:pt x="243" y="552"/>
                  </a:cubicBezTo>
                  <a:cubicBezTo>
                    <a:pt x="244" y="550"/>
                    <a:pt x="243" y="549"/>
                    <a:pt x="241" y="548"/>
                  </a:cubicBezTo>
                  <a:cubicBezTo>
                    <a:pt x="244" y="546"/>
                    <a:pt x="247" y="547"/>
                    <a:pt x="250" y="547"/>
                  </a:cubicBezTo>
                  <a:cubicBezTo>
                    <a:pt x="253" y="546"/>
                    <a:pt x="256" y="543"/>
                    <a:pt x="259" y="542"/>
                  </a:cubicBezTo>
                  <a:cubicBezTo>
                    <a:pt x="259" y="542"/>
                    <a:pt x="259" y="542"/>
                    <a:pt x="259" y="542"/>
                  </a:cubicBezTo>
                  <a:cubicBezTo>
                    <a:pt x="260" y="540"/>
                    <a:pt x="261" y="539"/>
                    <a:pt x="262" y="539"/>
                  </a:cubicBezTo>
                  <a:cubicBezTo>
                    <a:pt x="263" y="539"/>
                    <a:pt x="264" y="539"/>
                    <a:pt x="265" y="540"/>
                  </a:cubicBezTo>
                  <a:cubicBezTo>
                    <a:pt x="264" y="538"/>
                    <a:pt x="263" y="538"/>
                    <a:pt x="264" y="536"/>
                  </a:cubicBezTo>
                  <a:cubicBezTo>
                    <a:pt x="266" y="533"/>
                    <a:pt x="268" y="531"/>
                    <a:pt x="269" y="529"/>
                  </a:cubicBezTo>
                  <a:cubicBezTo>
                    <a:pt x="268" y="529"/>
                    <a:pt x="267" y="529"/>
                    <a:pt x="265" y="530"/>
                  </a:cubicBezTo>
                  <a:cubicBezTo>
                    <a:pt x="265" y="527"/>
                    <a:pt x="276" y="523"/>
                    <a:pt x="278" y="522"/>
                  </a:cubicBezTo>
                  <a:cubicBezTo>
                    <a:pt x="282" y="521"/>
                    <a:pt x="285" y="518"/>
                    <a:pt x="287" y="515"/>
                  </a:cubicBezTo>
                  <a:cubicBezTo>
                    <a:pt x="287" y="513"/>
                    <a:pt x="287" y="513"/>
                    <a:pt x="287" y="513"/>
                  </a:cubicBezTo>
                  <a:cubicBezTo>
                    <a:pt x="287" y="513"/>
                    <a:pt x="287" y="513"/>
                    <a:pt x="288" y="513"/>
                  </a:cubicBezTo>
                  <a:cubicBezTo>
                    <a:pt x="288" y="513"/>
                    <a:pt x="289" y="513"/>
                    <a:pt x="290" y="514"/>
                  </a:cubicBezTo>
                  <a:cubicBezTo>
                    <a:pt x="290" y="514"/>
                    <a:pt x="291" y="514"/>
                    <a:pt x="292" y="514"/>
                  </a:cubicBezTo>
                  <a:cubicBezTo>
                    <a:pt x="292" y="514"/>
                    <a:pt x="292" y="514"/>
                    <a:pt x="292" y="514"/>
                  </a:cubicBezTo>
                  <a:cubicBezTo>
                    <a:pt x="293" y="514"/>
                    <a:pt x="295" y="511"/>
                    <a:pt x="296" y="510"/>
                  </a:cubicBezTo>
                  <a:cubicBezTo>
                    <a:pt x="297" y="509"/>
                    <a:pt x="298" y="509"/>
                    <a:pt x="299" y="508"/>
                  </a:cubicBezTo>
                  <a:cubicBezTo>
                    <a:pt x="299" y="508"/>
                    <a:pt x="301" y="505"/>
                    <a:pt x="301" y="505"/>
                  </a:cubicBezTo>
                  <a:cubicBezTo>
                    <a:pt x="303" y="504"/>
                    <a:pt x="314" y="502"/>
                    <a:pt x="313" y="499"/>
                  </a:cubicBezTo>
                  <a:cubicBezTo>
                    <a:pt x="315" y="500"/>
                    <a:pt x="316" y="502"/>
                    <a:pt x="317" y="503"/>
                  </a:cubicBezTo>
                  <a:cubicBezTo>
                    <a:pt x="318" y="500"/>
                    <a:pt x="318" y="499"/>
                    <a:pt x="321" y="498"/>
                  </a:cubicBezTo>
                  <a:cubicBezTo>
                    <a:pt x="320" y="498"/>
                    <a:pt x="320" y="497"/>
                    <a:pt x="319" y="497"/>
                  </a:cubicBezTo>
                  <a:cubicBezTo>
                    <a:pt x="320" y="497"/>
                    <a:pt x="321" y="496"/>
                    <a:pt x="322" y="496"/>
                  </a:cubicBezTo>
                  <a:cubicBezTo>
                    <a:pt x="321" y="495"/>
                    <a:pt x="321" y="495"/>
                    <a:pt x="320" y="495"/>
                  </a:cubicBezTo>
                  <a:cubicBezTo>
                    <a:pt x="320" y="495"/>
                    <a:pt x="319" y="495"/>
                    <a:pt x="319" y="495"/>
                  </a:cubicBezTo>
                  <a:cubicBezTo>
                    <a:pt x="318" y="495"/>
                    <a:pt x="318" y="495"/>
                    <a:pt x="317" y="495"/>
                  </a:cubicBezTo>
                  <a:cubicBezTo>
                    <a:pt x="317" y="495"/>
                    <a:pt x="317" y="495"/>
                    <a:pt x="317" y="495"/>
                  </a:cubicBezTo>
                  <a:cubicBezTo>
                    <a:pt x="319" y="494"/>
                    <a:pt x="322" y="493"/>
                    <a:pt x="324" y="492"/>
                  </a:cubicBezTo>
                  <a:cubicBezTo>
                    <a:pt x="324" y="492"/>
                    <a:pt x="322" y="491"/>
                    <a:pt x="323" y="490"/>
                  </a:cubicBezTo>
                  <a:cubicBezTo>
                    <a:pt x="323" y="488"/>
                    <a:pt x="323" y="490"/>
                    <a:pt x="325" y="488"/>
                  </a:cubicBezTo>
                  <a:cubicBezTo>
                    <a:pt x="327" y="487"/>
                    <a:pt x="327" y="485"/>
                    <a:pt x="328" y="484"/>
                  </a:cubicBezTo>
                  <a:cubicBezTo>
                    <a:pt x="331" y="483"/>
                    <a:pt x="336" y="483"/>
                    <a:pt x="338" y="480"/>
                  </a:cubicBezTo>
                  <a:cubicBezTo>
                    <a:pt x="340" y="479"/>
                    <a:pt x="339" y="477"/>
                    <a:pt x="341" y="476"/>
                  </a:cubicBezTo>
                  <a:cubicBezTo>
                    <a:pt x="341" y="476"/>
                    <a:pt x="341" y="476"/>
                    <a:pt x="341" y="476"/>
                  </a:cubicBezTo>
                  <a:cubicBezTo>
                    <a:pt x="340" y="476"/>
                    <a:pt x="340" y="476"/>
                    <a:pt x="340" y="476"/>
                  </a:cubicBezTo>
                  <a:cubicBezTo>
                    <a:pt x="343" y="474"/>
                    <a:pt x="334" y="472"/>
                    <a:pt x="333" y="471"/>
                  </a:cubicBezTo>
                  <a:cubicBezTo>
                    <a:pt x="333" y="471"/>
                    <a:pt x="332" y="470"/>
                    <a:pt x="332" y="469"/>
                  </a:cubicBezTo>
                  <a:cubicBezTo>
                    <a:pt x="331" y="469"/>
                    <a:pt x="331" y="469"/>
                    <a:pt x="331" y="469"/>
                  </a:cubicBezTo>
                  <a:cubicBezTo>
                    <a:pt x="330" y="469"/>
                    <a:pt x="330" y="469"/>
                    <a:pt x="329" y="469"/>
                  </a:cubicBezTo>
                  <a:cubicBezTo>
                    <a:pt x="329" y="469"/>
                    <a:pt x="328" y="469"/>
                    <a:pt x="328" y="469"/>
                  </a:cubicBezTo>
                  <a:cubicBezTo>
                    <a:pt x="328" y="469"/>
                    <a:pt x="328" y="469"/>
                    <a:pt x="328" y="469"/>
                  </a:cubicBezTo>
                  <a:cubicBezTo>
                    <a:pt x="328" y="469"/>
                    <a:pt x="327" y="469"/>
                    <a:pt x="327" y="469"/>
                  </a:cubicBezTo>
                  <a:cubicBezTo>
                    <a:pt x="326" y="469"/>
                    <a:pt x="325" y="469"/>
                    <a:pt x="324" y="470"/>
                  </a:cubicBezTo>
                  <a:cubicBezTo>
                    <a:pt x="323" y="470"/>
                    <a:pt x="322" y="470"/>
                    <a:pt x="322" y="470"/>
                  </a:cubicBezTo>
                  <a:cubicBezTo>
                    <a:pt x="321" y="470"/>
                    <a:pt x="321" y="470"/>
                    <a:pt x="320" y="470"/>
                  </a:cubicBezTo>
                  <a:cubicBezTo>
                    <a:pt x="321" y="467"/>
                    <a:pt x="319" y="468"/>
                    <a:pt x="319" y="467"/>
                  </a:cubicBezTo>
                  <a:cubicBezTo>
                    <a:pt x="319" y="466"/>
                    <a:pt x="320" y="466"/>
                    <a:pt x="322" y="464"/>
                  </a:cubicBezTo>
                  <a:cubicBezTo>
                    <a:pt x="320" y="462"/>
                    <a:pt x="324" y="460"/>
                    <a:pt x="325" y="459"/>
                  </a:cubicBezTo>
                  <a:cubicBezTo>
                    <a:pt x="325" y="459"/>
                    <a:pt x="324" y="460"/>
                    <a:pt x="323" y="460"/>
                  </a:cubicBezTo>
                  <a:cubicBezTo>
                    <a:pt x="322" y="460"/>
                    <a:pt x="322" y="459"/>
                    <a:pt x="321" y="459"/>
                  </a:cubicBezTo>
                  <a:cubicBezTo>
                    <a:pt x="323" y="458"/>
                    <a:pt x="331" y="457"/>
                    <a:pt x="331" y="455"/>
                  </a:cubicBezTo>
                  <a:cubicBezTo>
                    <a:pt x="331" y="454"/>
                    <a:pt x="329" y="453"/>
                    <a:pt x="328" y="453"/>
                  </a:cubicBezTo>
                  <a:cubicBezTo>
                    <a:pt x="330" y="452"/>
                    <a:pt x="332" y="452"/>
                    <a:pt x="334" y="451"/>
                  </a:cubicBezTo>
                  <a:cubicBezTo>
                    <a:pt x="333" y="450"/>
                    <a:pt x="332" y="450"/>
                    <a:pt x="332" y="450"/>
                  </a:cubicBezTo>
                  <a:cubicBezTo>
                    <a:pt x="333" y="449"/>
                    <a:pt x="338" y="447"/>
                    <a:pt x="337" y="445"/>
                  </a:cubicBezTo>
                  <a:cubicBezTo>
                    <a:pt x="338" y="446"/>
                    <a:pt x="340" y="448"/>
                    <a:pt x="338" y="449"/>
                  </a:cubicBezTo>
                  <a:cubicBezTo>
                    <a:pt x="338" y="450"/>
                    <a:pt x="339" y="450"/>
                    <a:pt x="339" y="450"/>
                  </a:cubicBezTo>
                  <a:cubicBezTo>
                    <a:pt x="342" y="450"/>
                    <a:pt x="348" y="447"/>
                    <a:pt x="348" y="445"/>
                  </a:cubicBezTo>
                  <a:cubicBezTo>
                    <a:pt x="348" y="443"/>
                    <a:pt x="347" y="443"/>
                    <a:pt x="345" y="443"/>
                  </a:cubicBezTo>
                  <a:cubicBezTo>
                    <a:pt x="345" y="443"/>
                    <a:pt x="344" y="443"/>
                    <a:pt x="344" y="443"/>
                  </a:cubicBezTo>
                  <a:cubicBezTo>
                    <a:pt x="343" y="443"/>
                    <a:pt x="342" y="443"/>
                    <a:pt x="342" y="443"/>
                  </a:cubicBezTo>
                  <a:cubicBezTo>
                    <a:pt x="342" y="443"/>
                    <a:pt x="342" y="443"/>
                    <a:pt x="342" y="443"/>
                  </a:cubicBezTo>
                  <a:cubicBezTo>
                    <a:pt x="344" y="439"/>
                    <a:pt x="353" y="441"/>
                    <a:pt x="356" y="437"/>
                  </a:cubicBezTo>
                  <a:cubicBezTo>
                    <a:pt x="358" y="435"/>
                    <a:pt x="357" y="435"/>
                    <a:pt x="356" y="433"/>
                  </a:cubicBezTo>
                  <a:cubicBezTo>
                    <a:pt x="353" y="431"/>
                    <a:pt x="349" y="427"/>
                    <a:pt x="346" y="427"/>
                  </a:cubicBezTo>
                  <a:cubicBezTo>
                    <a:pt x="346" y="427"/>
                    <a:pt x="346" y="427"/>
                    <a:pt x="346" y="427"/>
                  </a:cubicBezTo>
                  <a:cubicBezTo>
                    <a:pt x="352" y="425"/>
                    <a:pt x="359" y="426"/>
                    <a:pt x="365" y="424"/>
                  </a:cubicBezTo>
                  <a:cubicBezTo>
                    <a:pt x="360" y="422"/>
                    <a:pt x="366" y="417"/>
                    <a:pt x="368" y="416"/>
                  </a:cubicBezTo>
                  <a:cubicBezTo>
                    <a:pt x="370" y="416"/>
                    <a:pt x="371" y="414"/>
                    <a:pt x="372" y="413"/>
                  </a:cubicBezTo>
                  <a:cubicBezTo>
                    <a:pt x="373" y="412"/>
                    <a:pt x="376" y="411"/>
                    <a:pt x="376" y="410"/>
                  </a:cubicBezTo>
                  <a:cubicBezTo>
                    <a:pt x="377" y="409"/>
                    <a:pt x="375" y="409"/>
                    <a:pt x="376" y="408"/>
                  </a:cubicBezTo>
                  <a:cubicBezTo>
                    <a:pt x="377" y="404"/>
                    <a:pt x="382" y="402"/>
                    <a:pt x="386" y="401"/>
                  </a:cubicBezTo>
                  <a:cubicBezTo>
                    <a:pt x="388" y="400"/>
                    <a:pt x="390" y="400"/>
                    <a:pt x="392" y="398"/>
                  </a:cubicBezTo>
                  <a:cubicBezTo>
                    <a:pt x="392" y="398"/>
                    <a:pt x="393" y="397"/>
                    <a:pt x="393" y="396"/>
                  </a:cubicBezTo>
                  <a:cubicBezTo>
                    <a:pt x="396" y="394"/>
                    <a:pt x="399" y="394"/>
                    <a:pt x="402" y="392"/>
                  </a:cubicBezTo>
                  <a:cubicBezTo>
                    <a:pt x="403" y="392"/>
                    <a:pt x="403" y="390"/>
                    <a:pt x="404" y="390"/>
                  </a:cubicBezTo>
                  <a:cubicBezTo>
                    <a:pt x="405" y="389"/>
                    <a:pt x="406" y="389"/>
                    <a:pt x="407" y="389"/>
                  </a:cubicBezTo>
                  <a:cubicBezTo>
                    <a:pt x="409" y="389"/>
                    <a:pt x="411" y="390"/>
                    <a:pt x="413" y="390"/>
                  </a:cubicBezTo>
                  <a:cubicBezTo>
                    <a:pt x="413" y="390"/>
                    <a:pt x="414" y="390"/>
                    <a:pt x="415" y="390"/>
                  </a:cubicBezTo>
                  <a:cubicBezTo>
                    <a:pt x="415" y="390"/>
                    <a:pt x="416" y="390"/>
                    <a:pt x="416" y="390"/>
                  </a:cubicBezTo>
                  <a:cubicBezTo>
                    <a:pt x="417" y="389"/>
                    <a:pt x="418" y="388"/>
                    <a:pt x="420" y="388"/>
                  </a:cubicBezTo>
                  <a:cubicBezTo>
                    <a:pt x="420" y="388"/>
                    <a:pt x="420" y="388"/>
                    <a:pt x="421" y="389"/>
                  </a:cubicBezTo>
                  <a:cubicBezTo>
                    <a:pt x="422" y="389"/>
                    <a:pt x="423" y="389"/>
                    <a:pt x="424" y="390"/>
                  </a:cubicBezTo>
                  <a:cubicBezTo>
                    <a:pt x="424" y="390"/>
                    <a:pt x="424" y="390"/>
                    <a:pt x="424" y="390"/>
                  </a:cubicBezTo>
                  <a:cubicBezTo>
                    <a:pt x="424" y="390"/>
                    <a:pt x="424" y="390"/>
                    <a:pt x="424" y="390"/>
                  </a:cubicBezTo>
                  <a:cubicBezTo>
                    <a:pt x="425" y="391"/>
                    <a:pt x="426" y="393"/>
                    <a:pt x="426" y="395"/>
                  </a:cubicBezTo>
                  <a:cubicBezTo>
                    <a:pt x="426" y="397"/>
                    <a:pt x="425" y="399"/>
                    <a:pt x="422" y="400"/>
                  </a:cubicBezTo>
                  <a:cubicBezTo>
                    <a:pt x="427" y="403"/>
                    <a:pt x="432" y="405"/>
                    <a:pt x="437" y="407"/>
                  </a:cubicBezTo>
                  <a:cubicBezTo>
                    <a:pt x="433" y="405"/>
                    <a:pt x="428" y="405"/>
                    <a:pt x="424" y="404"/>
                  </a:cubicBezTo>
                  <a:cubicBezTo>
                    <a:pt x="423" y="404"/>
                    <a:pt x="423" y="404"/>
                    <a:pt x="422" y="404"/>
                  </a:cubicBezTo>
                  <a:cubicBezTo>
                    <a:pt x="420" y="404"/>
                    <a:pt x="418" y="405"/>
                    <a:pt x="416" y="405"/>
                  </a:cubicBezTo>
                  <a:cubicBezTo>
                    <a:pt x="416" y="405"/>
                    <a:pt x="416" y="406"/>
                    <a:pt x="416" y="406"/>
                  </a:cubicBezTo>
                  <a:cubicBezTo>
                    <a:pt x="412" y="406"/>
                    <a:pt x="408" y="403"/>
                    <a:pt x="405" y="402"/>
                  </a:cubicBezTo>
                  <a:cubicBezTo>
                    <a:pt x="405" y="402"/>
                    <a:pt x="405" y="402"/>
                    <a:pt x="405" y="402"/>
                  </a:cubicBezTo>
                  <a:cubicBezTo>
                    <a:pt x="403" y="402"/>
                    <a:pt x="402" y="404"/>
                    <a:pt x="401" y="405"/>
                  </a:cubicBezTo>
                  <a:cubicBezTo>
                    <a:pt x="398" y="407"/>
                    <a:pt x="395" y="409"/>
                    <a:pt x="392" y="410"/>
                  </a:cubicBezTo>
                  <a:cubicBezTo>
                    <a:pt x="390" y="410"/>
                    <a:pt x="387" y="410"/>
                    <a:pt x="386" y="412"/>
                  </a:cubicBezTo>
                  <a:cubicBezTo>
                    <a:pt x="384" y="413"/>
                    <a:pt x="385" y="414"/>
                    <a:pt x="386" y="416"/>
                  </a:cubicBezTo>
                  <a:cubicBezTo>
                    <a:pt x="387" y="417"/>
                    <a:pt x="388" y="418"/>
                    <a:pt x="388" y="420"/>
                  </a:cubicBezTo>
                  <a:cubicBezTo>
                    <a:pt x="388" y="421"/>
                    <a:pt x="388" y="422"/>
                    <a:pt x="387" y="423"/>
                  </a:cubicBezTo>
                  <a:cubicBezTo>
                    <a:pt x="387" y="424"/>
                    <a:pt x="386" y="424"/>
                    <a:pt x="386" y="424"/>
                  </a:cubicBezTo>
                  <a:cubicBezTo>
                    <a:pt x="384" y="428"/>
                    <a:pt x="385" y="430"/>
                    <a:pt x="381" y="433"/>
                  </a:cubicBezTo>
                  <a:cubicBezTo>
                    <a:pt x="379" y="435"/>
                    <a:pt x="377" y="437"/>
                    <a:pt x="376" y="440"/>
                  </a:cubicBezTo>
                  <a:cubicBezTo>
                    <a:pt x="375" y="444"/>
                    <a:pt x="372" y="446"/>
                    <a:pt x="377" y="448"/>
                  </a:cubicBezTo>
                  <a:cubicBezTo>
                    <a:pt x="378" y="449"/>
                    <a:pt x="381" y="449"/>
                    <a:pt x="382" y="450"/>
                  </a:cubicBezTo>
                  <a:cubicBezTo>
                    <a:pt x="383" y="450"/>
                    <a:pt x="383" y="450"/>
                    <a:pt x="384" y="450"/>
                  </a:cubicBezTo>
                  <a:cubicBezTo>
                    <a:pt x="386" y="450"/>
                    <a:pt x="387" y="448"/>
                    <a:pt x="388" y="447"/>
                  </a:cubicBezTo>
                  <a:cubicBezTo>
                    <a:pt x="390" y="446"/>
                    <a:pt x="391" y="445"/>
                    <a:pt x="393" y="445"/>
                  </a:cubicBezTo>
                  <a:cubicBezTo>
                    <a:pt x="393" y="447"/>
                    <a:pt x="391" y="448"/>
                    <a:pt x="390" y="449"/>
                  </a:cubicBezTo>
                  <a:cubicBezTo>
                    <a:pt x="390" y="451"/>
                    <a:pt x="390" y="450"/>
                    <a:pt x="389" y="451"/>
                  </a:cubicBezTo>
                  <a:cubicBezTo>
                    <a:pt x="388" y="453"/>
                    <a:pt x="387" y="452"/>
                    <a:pt x="385" y="453"/>
                  </a:cubicBezTo>
                  <a:cubicBezTo>
                    <a:pt x="383" y="455"/>
                    <a:pt x="385" y="454"/>
                    <a:pt x="385" y="455"/>
                  </a:cubicBezTo>
                  <a:cubicBezTo>
                    <a:pt x="385" y="456"/>
                    <a:pt x="385" y="457"/>
                    <a:pt x="385" y="457"/>
                  </a:cubicBezTo>
                  <a:cubicBezTo>
                    <a:pt x="385" y="457"/>
                    <a:pt x="384" y="456"/>
                    <a:pt x="382" y="456"/>
                  </a:cubicBezTo>
                  <a:cubicBezTo>
                    <a:pt x="381" y="456"/>
                    <a:pt x="381" y="456"/>
                    <a:pt x="380" y="456"/>
                  </a:cubicBezTo>
                  <a:cubicBezTo>
                    <a:pt x="379" y="456"/>
                    <a:pt x="379" y="456"/>
                    <a:pt x="377" y="456"/>
                  </a:cubicBezTo>
                  <a:cubicBezTo>
                    <a:pt x="376" y="457"/>
                    <a:pt x="371" y="458"/>
                    <a:pt x="375" y="460"/>
                  </a:cubicBezTo>
                  <a:cubicBezTo>
                    <a:pt x="375" y="459"/>
                    <a:pt x="375" y="459"/>
                    <a:pt x="374" y="459"/>
                  </a:cubicBezTo>
                  <a:cubicBezTo>
                    <a:pt x="373" y="459"/>
                    <a:pt x="371" y="460"/>
                    <a:pt x="372" y="462"/>
                  </a:cubicBezTo>
                  <a:cubicBezTo>
                    <a:pt x="372" y="463"/>
                    <a:pt x="375" y="465"/>
                    <a:pt x="376" y="465"/>
                  </a:cubicBezTo>
                  <a:cubicBezTo>
                    <a:pt x="377" y="465"/>
                    <a:pt x="377" y="466"/>
                    <a:pt x="378" y="466"/>
                  </a:cubicBezTo>
                  <a:cubicBezTo>
                    <a:pt x="383" y="466"/>
                    <a:pt x="390" y="462"/>
                    <a:pt x="394" y="461"/>
                  </a:cubicBezTo>
                  <a:cubicBezTo>
                    <a:pt x="398" y="460"/>
                    <a:pt x="400" y="458"/>
                    <a:pt x="403" y="456"/>
                  </a:cubicBezTo>
                  <a:cubicBezTo>
                    <a:pt x="403" y="456"/>
                    <a:pt x="403" y="456"/>
                    <a:pt x="403" y="456"/>
                  </a:cubicBezTo>
                  <a:cubicBezTo>
                    <a:pt x="405" y="455"/>
                    <a:pt x="404" y="454"/>
                    <a:pt x="402" y="453"/>
                  </a:cubicBezTo>
                  <a:cubicBezTo>
                    <a:pt x="403" y="453"/>
                    <a:pt x="404" y="452"/>
                    <a:pt x="405" y="451"/>
                  </a:cubicBezTo>
                  <a:cubicBezTo>
                    <a:pt x="406" y="453"/>
                    <a:pt x="406" y="454"/>
                    <a:pt x="406" y="456"/>
                  </a:cubicBezTo>
                  <a:cubicBezTo>
                    <a:pt x="408" y="453"/>
                    <a:pt x="409" y="449"/>
                    <a:pt x="412" y="447"/>
                  </a:cubicBezTo>
                  <a:cubicBezTo>
                    <a:pt x="412" y="450"/>
                    <a:pt x="410" y="451"/>
                    <a:pt x="410" y="453"/>
                  </a:cubicBezTo>
                  <a:cubicBezTo>
                    <a:pt x="409" y="454"/>
                    <a:pt x="409" y="455"/>
                    <a:pt x="409" y="456"/>
                  </a:cubicBezTo>
                  <a:cubicBezTo>
                    <a:pt x="411" y="455"/>
                    <a:pt x="417" y="450"/>
                    <a:pt x="415" y="448"/>
                  </a:cubicBezTo>
                  <a:cubicBezTo>
                    <a:pt x="416" y="447"/>
                    <a:pt x="418" y="447"/>
                    <a:pt x="419" y="447"/>
                  </a:cubicBezTo>
                  <a:cubicBezTo>
                    <a:pt x="418" y="446"/>
                    <a:pt x="417" y="445"/>
                    <a:pt x="417" y="444"/>
                  </a:cubicBezTo>
                  <a:cubicBezTo>
                    <a:pt x="419" y="445"/>
                    <a:pt x="421" y="447"/>
                    <a:pt x="423" y="449"/>
                  </a:cubicBezTo>
                  <a:cubicBezTo>
                    <a:pt x="423" y="448"/>
                    <a:pt x="423" y="446"/>
                    <a:pt x="423" y="445"/>
                  </a:cubicBezTo>
                  <a:cubicBezTo>
                    <a:pt x="423" y="444"/>
                    <a:pt x="421" y="443"/>
                    <a:pt x="421" y="443"/>
                  </a:cubicBezTo>
                  <a:cubicBezTo>
                    <a:pt x="421" y="442"/>
                    <a:pt x="423" y="442"/>
                    <a:pt x="424" y="441"/>
                  </a:cubicBezTo>
                  <a:cubicBezTo>
                    <a:pt x="424" y="439"/>
                    <a:pt x="424" y="439"/>
                    <a:pt x="424" y="439"/>
                  </a:cubicBezTo>
                  <a:cubicBezTo>
                    <a:pt x="425" y="440"/>
                    <a:pt x="427" y="446"/>
                    <a:pt x="426" y="446"/>
                  </a:cubicBezTo>
                  <a:cubicBezTo>
                    <a:pt x="427" y="446"/>
                    <a:pt x="427" y="447"/>
                    <a:pt x="428" y="447"/>
                  </a:cubicBezTo>
                  <a:cubicBezTo>
                    <a:pt x="427" y="444"/>
                    <a:pt x="426" y="444"/>
                    <a:pt x="427" y="442"/>
                  </a:cubicBezTo>
                  <a:cubicBezTo>
                    <a:pt x="428" y="440"/>
                    <a:pt x="429" y="440"/>
                    <a:pt x="430" y="439"/>
                  </a:cubicBezTo>
                  <a:cubicBezTo>
                    <a:pt x="432" y="437"/>
                    <a:pt x="429" y="436"/>
                    <a:pt x="431" y="433"/>
                  </a:cubicBezTo>
                  <a:cubicBezTo>
                    <a:pt x="434" y="436"/>
                    <a:pt x="434" y="438"/>
                    <a:pt x="434" y="442"/>
                  </a:cubicBezTo>
                  <a:cubicBezTo>
                    <a:pt x="435" y="440"/>
                    <a:pt x="436" y="435"/>
                    <a:pt x="438" y="435"/>
                  </a:cubicBezTo>
                  <a:cubicBezTo>
                    <a:pt x="438" y="435"/>
                    <a:pt x="438" y="435"/>
                    <a:pt x="438" y="435"/>
                  </a:cubicBezTo>
                  <a:cubicBezTo>
                    <a:pt x="441" y="435"/>
                    <a:pt x="442" y="439"/>
                    <a:pt x="444" y="439"/>
                  </a:cubicBezTo>
                  <a:cubicBezTo>
                    <a:pt x="445" y="440"/>
                    <a:pt x="446" y="440"/>
                    <a:pt x="447" y="440"/>
                  </a:cubicBezTo>
                  <a:cubicBezTo>
                    <a:pt x="448" y="440"/>
                    <a:pt x="449" y="439"/>
                    <a:pt x="451" y="438"/>
                  </a:cubicBezTo>
                  <a:cubicBezTo>
                    <a:pt x="452" y="436"/>
                    <a:pt x="454" y="436"/>
                    <a:pt x="455" y="435"/>
                  </a:cubicBezTo>
                  <a:cubicBezTo>
                    <a:pt x="456" y="434"/>
                    <a:pt x="455" y="433"/>
                    <a:pt x="456" y="432"/>
                  </a:cubicBezTo>
                  <a:cubicBezTo>
                    <a:pt x="457" y="431"/>
                    <a:pt x="466" y="430"/>
                    <a:pt x="458" y="429"/>
                  </a:cubicBezTo>
                  <a:cubicBezTo>
                    <a:pt x="459" y="429"/>
                    <a:pt x="459" y="429"/>
                    <a:pt x="459" y="429"/>
                  </a:cubicBezTo>
                  <a:cubicBezTo>
                    <a:pt x="459" y="429"/>
                    <a:pt x="459" y="429"/>
                    <a:pt x="459" y="429"/>
                  </a:cubicBezTo>
                  <a:cubicBezTo>
                    <a:pt x="458" y="429"/>
                    <a:pt x="458" y="429"/>
                    <a:pt x="458" y="429"/>
                  </a:cubicBezTo>
                  <a:cubicBezTo>
                    <a:pt x="457" y="429"/>
                    <a:pt x="457" y="429"/>
                    <a:pt x="457" y="429"/>
                  </a:cubicBezTo>
                  <a:cubicBezTo>
                    <a:pt x="456" y="429"/>
                    <a:pt x="455" y="429"/>
                    <a:pt x="455" y="428"/>
                  </a:cubicBezTo>
                  <a:cubicBezTo>
                    <a:pt x="455" y="427"/>
                    <a:pt x="458" y="426"/>
                    <a:pt x="459" y="425"/>
                  </a:cubicBezTo>
                  <a:cubicBezTo>
                    <a:pt x="459" y="425"/>
                    <a:pt x="459" y="425"/>
                    <a:pt x="459" y="425"/>
                  </a:cubicBezTo>
                  <a:cubicBezTo>
                    <a:pt x="459" y="425"/>
                    <a:pt x="457" y="425"/>
                    <a:pt x="458" y="424"/>
                  </a:cubicBezTo>
                  <a:cubicBezTo>
                    <a:pt x="460" y="423"/>
                    <a:pt x="460" y="423"/>
                    <a:pt x="460" y="423"/>
                  </a:cubicBezTo>
                  <a:cubicBezTo>
                    <a:pt x="461" y="423"/>
                    <a:pt x="468" y="422"/>
                    <a:pt x="464" y="421"/>
                  </a:cubicBezTo>
                  <a:cubicBezTo>
                    <a:pt x="466" y="419"/>
                    <a:pt x="463" y="418"/>
                    <a:pt x="462" y="416"/>
                  </a:cubicBezTo>
                  <a:cubicBezTo>
                    <a:pt x="461" y="418"/>
                    <a:pt x="460" y="421"/>
                    <a:pt x="458" y="422"/>
                  </a:cubicBezTo>
                  <a:cubicBezTo>
                    <a:pt x="458" y="422"/>
                    <a:pt x="457" y="422"/>
                    <a:pt x="457" y="422"/>
                  </a:cubicBezTo>
                  <a:cubicBezTo>
                    <a:pt x="456" y="422"/>
                    <a:pt x="455" y="422"/>
                    <a:pt x="454" y="421"/>
                  </a:cubicBezTo>
                  <a:cubicBezTo>
                    <a:pt x="453" y="421"/>
                    <a:pt x="452" y="421"/>
                    <a:pt x="451" y="421"/>
                  </a:cubicBezTo>
                  <a:cubicBezTo>
                    <a:pt x="450" y="421"/>
                    <a:pt x="449" y="421"/>
                    <a:pt x="449" y="422"/>
                  </a:cubicBezTo>
                  <a:cubicBezTo>
                    <a:pt x="449" y="420"/>
                    <a:pt x="451" y="419"/>
                    <a:pt x="452" y="418"/>
                  </a:cubicBezTo>
                  <a:cubicBezTo>
                    <a:pt x="454" y="417"/>
                    <a:pt x="457" y="417"/>
                    <a:pt x="458" y="416"/>
                  </a:cubicBezTo>
                  <a:cubicBezTo>
                    <a:pt x="460" y="414"/>
                    <a:pt x="457" y="413"/>
                    <a:pt x="458" y="411"/>
                  </a:cubicBezTo>
                  <a:cubicBezTo>
                    <a:pt x="457" y="412"/>
                    <a:pt x="456" y="414"/>
                    <a:pt x="454" y="415"/>
                  </a:cubicBezTo>
                  <a:cubicBezTo>
                    <a:pt x="454" y="414"/>
                    <a:pt x="456" y="411"/>
                    <a:pt x="455" y="410"/>
                  </a:cubicBezTo>
                  <a:cubicBezTo>
                    <a:pt x="455" y="410"/>
                    <a:pt x="455" y="410"/>
                    <a:pt x="455" y="410"/>
                  </a:cubicBezTo>
                  <a:cubicBezTo>
                    <a:pt x="453" y="410"/>
                    <a:pt x="449" y="413"/>
                    <a:pt x="448" y="414"/>
                  </a:cubicBezTo>
                  <a:cubicBezTo>
                    <a:pt x="448" y="411"/>
                    <a:pt x="451" y="410"/>
                    <a:pt x="453" y="409"/>
                  </a:cubicBezTo>
                  <a:cubicBezTo>
                    <a:pt x="453" y="409"/>
                    <a:pt x="452" y="409"/>
                    <a:pt x="452" y="409"/>
                  </a:cubicBezTo>
                  <a:cubicBezTo>
                    <a:pt x="451" y="409"/>
                    <a:pt x="450" y="409"/>
                    <a:pt x="448" y="409"/>
                  </a:cubicBezTo>
                  <a:cubicBezTo>
                    <a:pt x="450" y="408"/>
                    <a:pt x="461" y="406"/>
                    <a:pt x="456" y="404"/>
                  </a:cubicBezTo>
                  <a:cubicBezTo>
                    <a:pt x="457" y="403"/>
                    <a:pt x="461" y="403"/>
                    <a:pt x="460" y="401"/>
                  </a:cubicBezTo>
                  <a:cubicBezTo>
                    <a:pt x="460" y="400"/>
                    <a:pt x="460" y="400"/>
                    <a:pt x="460" y="400"/>
                  </a:cubicBezTo>
                  <a:cubicBezTo>
                    <a:pt x="458" y="400"/>
                    <a:pt x="455" y="402"/>
                    <a:pt x="454" y="403"/>
                  </a:cubicBezTo>
                  <a:cubicBezTo>
                    <a:pt x="454" y="399"/>
                    <a:pt x="461" y="398"/>
                    <a:pt x="464" y="397"/>
                  </a:cubicBezTo>
                  <a:cubicBezTo>
                    <a:pt x="467" y="397"/>
                    <a:pt x="468" y="395"/>
                    <a:pt x="470" y="393"/>
                  </a:cubicBezTo>
                  <a:cubicBezTo>
                    <a:pt x="470" y="397"/>
                    <a:pt x="465" y="400"/>
                    <a:pt x="464" y="403"/>
                  </a:cubicBezTo>
                  <a:cubicBezTo>
                    <a:pt x="463" y="404"/>
                    <a:pt x="463" y="403"/>
                    <a:pt x="464" y="405"/>
                  </a:cubicBezTo>
                  <a:cubicBezTo>
                    <a:pt x="464" y="405"/>
                    <a:pt x="464" y="405"/>
                    <a:pt x="464" y="405"/>
                  </a:cubicBezTo>
                  <a:cubicBezTo>
                    <a:pt x="464" y="405"/>
                    <a:pt x="464" y="405"/>
                    <a:pt x="465" y="406"/>
                  </a:cubicBezTo>
                  <a:cubicBezTo>
                    <a:pt x="466" y="407"/>
                    <a:pt x="466" y="407"/>
                    <a:pt x="466" y="407"/>
                  </a:cubicBezTo>
                  <a:cubicBezTo>
                    <a:pt x="466" y="407"/>
                    <a:pt x="466" y="407"/>
                    <a:pt x="466" y="407"/>
                  </a:cubicBezTo>
                  <a:cubicBezTo>
                    <a:pt x="466" y="407"/>
                    <a:pt x="467" y="407"/>
                    <a:pt x="467" y="407"/>
                  </a:cubicBezTo>
                  <a:cubicBezTo>
                    <a:pt x="468" y="407"/>
                    <a:pt x="468" y="406"/>
                    <a:pt x="470" y="405"/>
                  </a:cubicBezTo>
                  <a:cubicBezTo>
                    <a:pt x="470" y="404"/>
                    <a:pt x="471" y="404"/>
                    <a:pt x="472" y="404"/>
                  </a:cubicBezTo>
                  <a:cubicBezTo>
                    <a:pt x="472" y="404"/>
                    <a:pt x="472" y="404"/>
                    <a:pt x="472" y="404"/>
                  </a:cubicBezTo>
                  <a:cubicBezTo>
                    <a:pt x="472" y="404"/>
                    <a:pt x="473" y="404"/>
                    <a:pt x="473" y="404"/>
                  </a:cubicBezTo>
                  <a:cubicBezTo>
                    <a:pt x="473" y="404"/>
                    <a:pt x="473" y="404"/>
                    <a:pt x="473" y="404"/>
                  </a:cubicBezTo>
                  <a:cubicBezTo>
                    <a:pt x="473" y="403"/>
                    <a:pt x="473" y="403"/>
                    <a:pt x="472" y="402"/>
                  </a:cubicBezTo>
                  <a:cubicBezTo>
                    <a:pt x="472" y="402"/>
                    <a:pt x="472" y="402"/>
                    <a:pt x="472" y="402"/>
                  </a:cubicBezTo>
                  <a:cubicBezTo>
                    <a:pt x="474" y="402"/>
                    <a:pt x="473" y="400"/>
                    <a:pt x="474" y="399"/>
                  </a:cubicBezTo>
                  <a:cubicBezTo>
                    <a:pt x="474" y="399"/>
                    <a:pt x="474" y="397"/>
                    <a:pt x="474" y="397"/>
                  </a:cubicBezTo>
                  <a:cubicBezTo>
                    <a:pt x="474" y="397"/>
                    <a:pt x="475" y="397"/>
                    <a:pt x="475" y="398"/>
                  </a:cubicBezTo>
                  <a:cubicBezTo>
                    <a:pt x="475" y="400"/>
                    <a:pt x="475" y="403"/>
                    <a:pt x="474" y="405"/>
                  </a:cubicBezTo>
                  <a:cubicBezTo>
                    <a:pt x="475" y="404"/>
                    <a:pt x="476" y="403"/>
                    <a:pt x="477" y="402"/>
                  </a:cubicBezTo>
                  <a:cubicBezTo>
                    <a:pt x="477" y="404"/>
                    <a:pt x="477" y="405"/>
                    <a:pt x="478" y="405"/>
                  </a:cubicBezTo>
                  <a:cubicBezTo>
                    <a:pt x="479" y="405"/>
                    <a:pt x="480" y="403"/>
                    <a:pt x="482" y="402"/>
                  </a:cubicBezTo>
                  <a:cubicBezTo>
                    <a:pt x="482" y="402"/>
                    <a:pt x="483" y="402"/>
                    <a:pt x="484" y="402"/>
                  </a:cubicBezTo>
                  <a:cubicBezTo>
                    <a:pt x="484" y="402"/>
                    <a:pt x="485" y="402"/>
                    <a:pt x="486" y="402"/>
                  </a:cubicBezTo>
                  <a:cubicBezTo>
                    <a:pt x="487" y="402"/>
                    <a:pt x="488" y="403"/>
                    <a:pt x="489" y="403"/>
                  </a:cubicBezTo>
                  <a:cubicBezTo>
                    <a:pt x="490" y="403"/>
                    <a:pt x="490" y="402"/>
                    <a:pt x="491" y="402"/>
                  </a:cubicBezTo>
                  <a:cubicBezTo>
                    <a:pt x="492" y="402"/>
                    <a:pt x="494" y="399"/>
                    <a:pt x="495" y="399"/>
                  </a:cubicBezTo>
                  <a:cubicBezTo>
                    <a:pt x="497" y="398"/>
                    <a:pt x="499" y="398"/>
                    <a:pt x="500" y="398"/>
                  </a:cubicBezTo>
                  <a:cubicBezTo>
                    <a:pt x="501" y="398"/>
                    <a:pt x="502" y="398"/>
                    <a:pt x="503" y="398"/>
                  </a:cubicBezTo>
                  <a:cubicBezTo>
                    <a:pt x="501" y="399"/>
                    <a:pt x="494" y="399"/>
                    <a:pt x="497" y="401"/>
                  </a:cubicBezTo>
                  <a:cubicBezTo>
                    <a:pt x="496" y="401"/>
                    <a:pt x="496" y="401"/>
                    <a:pt x="496" y="401"/>
                  </a:cubicBezTo>
                  <a:cubicBezTo>
                    <a:pt x="494" y="401"/>
                    <a:pt x="493" y="404"/>
                    <a:pt x="496" y="404"/>
                  </a:cubicBezTo>
                  <a:cubicBezTo>
                    <a:pt x="495" y="404"/>
                    <a:pt x="494" y="404"/>
                    <a:pt x="493" y="404"/>
                  </a:cubicBezTo>
                  <a:cubicBezTo>
                    <a:pt x="493" y="405"/>
                    <a:pt x="494" y="407"/>
                    <a:pt x="496" y="408"/>
                  </a:cubicBezTo>
                  <a:cubicBezTo>
                    <a:pt x="496" y="408"/>
                    <a:pt x="498" y="408"/>
                    <a:pt x="499" y="408"/>
                  </a:cubicBezTo>
                  <a:cubicBezTo>
                    <a:pt x="501" y="408"/>
                    <a:pt x="504" y="408"/>
                    <a:pt x="505" y="406"/>
                  </a:cubicBezTo>
                  <a:cubicBezTo>
                    <a:pt x="504" y="410"/>
                    <a:pt x="502" y="410"/>
                    <a:pt x="499" y="410"/>
                  </a:cubicBezTo>
                  <a:cubicBezTo>
                    <a:pt x="499" y="410"/>
                    <a:pt x="498" y="410"/>
                    <a:pt x="498" y="410"/>
                  </a:cubicBezTo>
                  <a:cubicBezTo>
                    <a:pt x="499" y="411"/>
                    <a:pt x="499" y="411"/>
                    <a:pt x="499" y="411"/>
                  </a:cubicBezTo>
                  <a:cubicBezTo>
                    <a:pt x="498" y="411"/>
                    <a:pt x="498" y="411"/>
                    <a:pt x="498" y="411"/>
                  </a:cubicBezTo>
                  <a:cubicBezTo>
                    <a:pt x="497" y="411"/>
                    <a:pt x="497" y="411"/>
                    <a:pt x="496" y="411"/>
                  </a:cubicBezTo>
                  <a:cubicBezTo>
                    <a:pt x="496" y="411"/>
                    <a:pt x="495" y="411"/>
                    <a:pt x="495" y="411"/>
                  </a:cubicBezTo>
                  <a:cubicBezTo>
                    <a:pt x="495" y="411"/>
                    <a:pt x="495" y="411"/>
                    <a:pt x="494" y="411"/>
                  </a:cubicBezTo>
                  <a:cubicBezTo>
                    <a:pt x="495" y="412"/>
                    <a:pt x="495" y="413"/>
                    <a:pt x="496" y="413"/>
                  </a:cubicBezTo>
                  <a:cubicBezTo>
                    <a:pt x="498" y="413"/>
                    <a:pt x="501" y="411"/>
                    <a:pt x="503" y="411"/>
                  </a:cubicBezTo>
                  <a:cubicBezTo>
                    <a:pt x="503" y="411"/>
                    <a:pt x="503" y="411"/>
                    <a:pt x="503" y="411"/>
                  </a:cubicBezTo>
                  <a:cubicBezTo>
                    <a:pt x="504" y="411"/>
                    <a:pt x="504" y="411"/>
                    <a:pt x="505" y="411"/>
                  </a:cubicBezTo>
                  <a:cubicBezTo>
                    <a:pt x="505" y="411"/>
                    <a:pt x="506" y="411"/>
                    <a:pt x="506" y="411"/>
                  </a:cubicBezTo>
                  <a:cubicBezTo>
                    <a:pt x="507" y="411"/>
                    <a:pt x="509" y="411"/>
                    <a:pt x="509" y="410"/>
                  </a:cubicBezTo>
                  <a:cubicBezTo>
                    <a:pt x="508" y="412"/>
                    <a:pt x="506" y="413"/>
                    <a:pt x="504" y="415"/>
                  </a:cubicBezTo>
                  <a:cubicBezTo>
                    <a:pt x="507" y="415"/>
                    <a:pt x="509" y="413"/>
                    <a:pt x="512" y="413"/>
                  </a:cubicBezTo>
                  <a:cubicBezTo>
                    <a:pt x="512" y="413"/>
                    <a:pt x="512" y="413"/>
                    <a:pt x="512" y="413"/>
                  </a:cubicBezTo>
                  <a:cubicBezTo>
                    <a:pt x="513" y="413"/>
                    <a:pt x="514" y="413"/>
                    <a:pt x="515" y="413"/>
                  </a:cubicBezTo>
                  <a:cubicBezTo>
                    <a:pt x="516" y="414"/>
                    <a:pt x="517" y="414"/>
                    <a:pt x="518" y="414"/>
                  </a:cubicBezTo>
                  <a:cubicBezTo>
                    <a:pt x="518" y="414"/>
                    <a:pt x="518" y="414"/>
                    <a:pt x="518" y="414"/>
                  </a:cubicBezTo>
                  <a:cubicBezTo>
                    <a:pt x="518" y="417"/>
                    <a:pt x="514" y="419"/>
                    <a:pt x="512" y="421"/>
                  </a:cubicBezTo>
                  <a:cubicBezTo>
                    <a:pt x="515" y="422"/>
                    <a:pt x="518" y="422"/>
                    <a:pt x="522" y="422"/>
                  </a:cubicBezTo>
                  <a:cubicBezTo>
                    <a:pt x="525" y="422"/>
                    <a:pt x="528" y="422"/>
                    <a:pt x="530" y="422"/>
                  </a:cubicBezTo>
                  <a:cubicBezTo>
                    <a:pt x="532" y="422"/>
                    <a:pt x="533" y="420"/>
                    <a:pt x="534" y="418"/>
                  </a:cubicBezTo>
                  <a:cubicBezTo>
                    <a:pt x="535" y="417"/>
                    <a:pt x="537" y="417"/>
                    <a:pt x="538" y="415"/>
                  </a:cubicBezTo>
                  <a:cubicBezTo>
                    <a:pt x="539" y="414"/>
                    <a:pt x="540" y="413"/>
                    <a:pt x="542" y="412"/>
                  </a:cubicBezTo>
                  <a:cubicBezTo>
                    <a:pt x="539" y="414"/>
                    <a:pt x="539" y="415"/>
                    <a:pt x="538" y="418"/>
                  </a:cubicBezTo>
                  <a:cubicBezTo>
                    <a:pt x="536" y="421"/>
                    <a:pt x="537" y="421"/>
                    <a:pt x="537" y="423"/>
                  </a:cubicBezTo>
                  <a:cubicBezTo>
                    <a:pt x="537" y="423"/>
                    <a:pt x="537" y="423"/>
                    <a:pt x="537" y="423"/>
                  </a:cubicBezTo>
                  <a:cubicBezTo>
                    <a:pt x="535" y="423"/>
                    <a:pt x="536" y="424"/>
                    <a:pt x="536" y="425"/>
                  </a:cubicBezTo>
                  <a:cubicBezTo>
                    <a:pt x="536" y="427"/>
                    <a:pt x="534" y="427"/>
                    <a:pt x="538" y="428"/>
                  </a:cubicBezTo>
                  <a:cubicBezTo>
                    <a:pt x="541" y="430"/>
                    <a:pt x="545" y="431"/>
                    <a:pt x="549" y="433"/>
                  </a:cubicBezTo>
                  <a:cubicBezTo>
                    <a:pt x="551" y="433"/>
                    <a:pt x="556" y="434"/>
                    <a:pt x="556" y="436"/>
                  </a:cubicBezTo>
                  <a:cubicBezTo>
                    <a:pt x="562" y="436"/>
                    <a:pt x="568" y="435"/>
                    <a:pt x="574" y="435"/>
                  </a:cubicBezTo>
                  <a:cubicBezTo>
                    <a:pt x="578" y="435"/>
                    <a:pt x="583" y="434"/>
                    <a:pt x="587" y="434"/>
                  </a:cubicBezTo>
                  <a:cubicBezTo>
                    <a:pt x="589" y="434"/>
                    <a:pt x="591" y="434"/>
                    <a:pt x="592" y="435"/>
                  </a:cubicBezTo>
                  <a:cubicBezTo>
                    <a:pt x="597" y="435"/>
                    <a:pt x="602" y="436"/>
                    <a:pt x="606" y="437"/>
                  </a:cubicBezTo>
                  <a:cubicBezTo>
                    <a:pt x="608" y="438"/>
                    <a:pt x="609" y="438"/>
                    <a:pt x="611" y="438"/>
                  </a:cubicBezTo>
                  <a:cubicBezTo>
                    <a:pt x="612" y="438"/>
                    <a:pt x="612" y="438"/>
                    <a:pt x="613" y="438"/>
                  </a:cubicBezTo>
                  <a:cubicBezTo>
                    <a:pt x="614" y="438"/>
                    <a:pt x="617" y="437"/>
                    <a:pt x="617" y="436"/>
                  </a:cubicBezTo>
                  <a:cubicBezTo>
                    <a:pt x="618" y="435"/>
                    <a:pt x="614" y="434"/>
                    <a:pt x="616" y="433"/>
                  </a:cubicBezTo>
                  <a:cubicBezTo>
                    <a:pt x="616" y="433"/>
                    <a:pt x="616" y="432"/>
                    <a:pt x="616" y="432"/>
                  </a:cubicBezTo>
                  <a:cubicBezTo>
                    <a:pt x="618" y="432"/>
                    <a:pt x="621" y="438"/>
                    <a:pt x="620" y="439"/>
                  </a:cubicBezTo>
                  <a:cubicBezTo>
                    <a:pt x="619" y="440"/>
                    <a:pt x="616" y="441"/>
                    <a:pt x="616" y="441"/>
                  </a:cubicBezTo>
                  <a:cubicBezTo>
                    <a:pt x="622" y="445"/>
                    <a:pt x="632" y="448"/>
                    <a:pt x="640" y="448"/>
                  </a:cubicBezTo>
                  <a:cubicBezTo>
                    <a:pt x="640" y="448"/>
                    <a:pt x="640" y="448"/>
                    <a:pt x="640" y="448"/>
                  </a:cubicBezTo>
                  <a:cubicBezTo>
                    <a:pt x="644" y="448"/>
                    <a:pt x="647" y="446"/>
                    <a:pt x="651" y="444"/>
                  </a:cubicBezTo>
                  <a:cubicBezTo>
                    <a:pt x="653" y="444"/>
                    <a:pt x="653" y="443"/>
                    <a:pt x="655" y="442"/>
                  </a:cubicBezTo>
                  <a:cubicBezTo>
                    <a:pt x="656" y="441"/>
                    <a:pt x="658" y="440"/>
                    <a:pt x="659" y="439"/>
                  </a:cubicBezTo>
                  <a:cubicBezTo>
                    <a:pt x="660" y="438"/>
                    <a:pt x="659" y="436"/>
                    <a:pt x="661" y="436"/>
                  </a:cubicBezTo>
                  <a:cubicBezTo>
                    <a:pt x="661" y="436"/>
                    <a:pt x="661" y="436"/>
                    <a:pt x="662" y="436"/>
                  </a:cubicBezTo>
                  <a:cubicBezTo>
                    <a:pt x="666" y="437"/>
                    <a:pt x="671" y="442"/>
                    <a:pt x="675" y="444"/>
                  </a:cubicBezTo>
                  <a:cubicBezTo>
                    <a:pt x="673" y="443"/>
                    <a:pt x="671" y="443"/>
                    <a:pt x="669" y="443"/>
                  </a:cubicBezTo>
                  <a:cubicBezTo>
                    <a:pt x="668" y="443"/>
                    <a:pt x="667" y="443"/>
                    <a:pt x="666" y="444"/>
                  </a:cubicBezTo>
                  <a:cubicBezTo>
                    <a:pt x="665" y="445"/>
                    <a:pt x="666" y="448"/>
                    <a:pt x="667" y="449"/>
                  </a:cubicBezTo>
                  <a:cubicBezTo>
                    <a:pt x="667" y="451"/>
                    <a:pt x="666" y="452"/>
                    <a:pt x="666" y="452"/>
                  </a:cubicBezTo>
                  <a:cubicBezTo>
                    <a:pt x="666" y="452"/>
                    <a:pt x="665" y="451"/>
                    <a:pt x="665" y="450"/>
                  </a:cubicBezTo>
                  <a:cubicBezTo>
                    <a:pt x="666" y="448"/>
                    <a:pt x="665" y="446"/>
                    <a:pt x="665" y="443"/>
                  </a:cubicBezTo>
                  <a:cubicBezTo>
                    <a:pt x="665" y="442"/>
                    <a:pt x="665" y="443"/>
                    <a:pt x="665" y="441"/>
                  </a:cubicBezTo>
                  <a:cubicBezTo>
                    <a:pt x="665" y="441"/>
                    <a:pt x="664" y="440"/>
                    <a:pt x="663" y="439"/>
                  </a:cubicBezTo>
                  <a:cubicBezTo>
                    <a:pt x="663" y="439"/>
                    <a:pt x="663" y="439"/>
                    <a:pt x="662" y="439"/>
                  </a:cubicBezTo>
                  <a:cubicBezTo>
                    <a:pt x="660" y="439"/>
                    <a:pt x="659" y="440"/>
                    <a:pt x="658" y="442"/>
                  </a:cubicBezTo>
                  <a:cubicBezTo>
                    <a:pt x="658" y="443"/>
                    <a:pt x="660" y="445"/>
                    <a:pt x="660" y="446"/>
                  </a:cubicBezTo>
                  <a:cubicBezTo>
                    <a:pt x="661" y="449"/>
                    <a:pt x="661" y="447"/>
                    <a:pt x="660" y="449"/>
                  </a:cubicBezTo>
                  <a:cubicBezTo>
                    <a:pt x="659" y="451"/>
                    <a:pt x="659" y="451"/>
                    <a:pt x="659" y="451"/>
                  </a:cubicBezTo>
                  <a:cubicBezTo>
                    <a:pt x="658" y="452"/>
                    <a:pt x="656" y="453"/>
                    <a:pt x="655" y="453"/>
                  </a:cubicBezTo>
                  <a:cubicBezTo>
                    <a:pt x="655" y="453"/>
                    <a:pt x="654" y="453"/>
                    <a:pt x="653" y="453"/>
                  </a:cubicBezTo>
                  <a:cubicBezTo>
                    <a:pt x="653" y="453"/>
                    <a:pt x="653" y="453"/>
                    <a:pt x="653" y="453"/>
                  </a:cubicBezTo>
                  <a:cubicBezTo>
                    <a:pt x="656" y="455"/>
                    <a:pt x="659" y="456"/>
                    <a:pt x="662" y="458"/>
                  </a:cubicBezTo>
                  <a:cubicBezTo>
                    <a:pt x="668" y="460"/>
                    <a:pt x="674" y="464"/>
                    <a:pt x="680" y="466"/>
                  </a:cubicBezTo>
                  <a:cubicBezTo>
                    <a:pt x="680" y="466"/>
                    <a:pt x="680" y="466"/>
                    <a:pt x="681" y="466"/>
                  </a:cubicBezTo>
                  <a:cubicBezTo>
                    <a:pt x="682" y="466"/>
                    <a:pt x="684" y="465"/>
                    <a:pt x="685" y="465"/>
                  </a:cubicBezTo>
                  <a:cubicBezTo>
                    <a:pt x="685" y="467"/>
                    <a:pt x="683" y="468"/>
                    <a:pt x="682" y="468"/>
                  </a:cubicBezTo>
                  <a:cubicBezTo>
                    <a:pt x="682" y="468"/>
                    <a:pt x="682" y="467"/>
                    <a:pt x="682" y="467"/>
                  </a:cubicBezTo>
                  <a:cubicBezTo>
                    <a:pt x="688" y="473"/>
                    <a:pt x="695" y="477"/>
                    <a:pt x="701" y="481"/>
                  </a:cubicBezTo>
                  <a:cubicBezTo>
                    <a:pt x="709" y="486"/>
                    <a:pt x="717" y="492"/>
                    <a:pt x="725" y="497"/>
                  </a:cubicBezTo>
                  <a:cubicBezTo>
                    <a:pt x="726" y="498"/>
                    <a:pt x="726" y="498"/>
                    <a:pt x="726" y="498"/>
                  </a:cubicBezTo>
                  <a:cubicBezTo>
                    <a:pt x="727" y="498"/>
                    <a:pt x="727" y="497"/>
                    <a:pt x="727" y="496"/>
                  </a:cubicBezTo>
                  <a:cubicBezTo>
                    <a:pt x="727" y="495"/>
                    <a:pt x="727" y="494"/>
                    <a:pt x="727" y="494"/>
                  </a:cubicBezTo>
                  <a:cubicBezTo>
                    <a:pt x="727" y="494"/>
                    <a:pt x="727" y="494"/>
                    <a:pt x="727" y="494"/>
                  </a:cubicBezTo>
                  <a:cubicBezTo>
                    <a:pt x="728" y="494"/>
                    <a:pt x="728" y="494"/>
                    <a:pt x="729" y="494"/>
                  </a:cubicBezTo>
                  <a:cubicBezTo>
                    <a:pt x="729" y="494"/>
                    <a:pt x="730" y="494"/>
                    <a:pt x="731" y="495"/>
                  </a:cubicBezTo>
                  <a:cubicBezTo>
                    <a:pt x="732" y="495"/>
                    <a:pt x="733" y="495"/>
                    <a:pt x="733" y="495"/>
                  </a:cubicBezTo>
                  <a:cubicBezTo>
                    <a:pt x="735" y="495"/>
                    <a:pt x="731" y="492"/>
                    <a:pt x="730" y="491"/>
                  </a:cubicBezTo>
                  <a:cubicBezTo>
                    <a:pt x="733" y="491"/>
                    <a:pt x="737" y="494"/>
                    <a:pt x="739" y="494"/>
                  </a:cubicBezTo>
                  <a:cubicBezTo>
                    <a:pt x="740" y="494"/>
                    <a:pt x="741" y="493"/>
                    <a:pt x="741" y="492"/>
                  </a:cubicBezTo>
                  <a:cubicBezTo>
                    <a:pt x="741" y="489"/>
                    <a:pt x="739" y="486"/>
                    <a:pt x="738" y="485"/>
                  </a:cubicBezTo>
                  <a:cubicBezTo>
                    <a:pt x="738" y="484"/>
                    <a:pt x="737" y="484"/>
                    <a:pt x="736" y="484"/>
                  </a:cubicBezTo>
                  <a:cubicBezTo>
                    <a:pt x="735" y="484"/>
                    <a:pt x="732" y="485"/>
                    <a:pt x="731" y="485"/>
                  </a:cubicBezTo>
                  <a:cubicBezTo>
                    <a:pt x="732" y="484"/>
                    <a:pt x="734" y="483"/>
                    <a:pt x="734" y="482"/>
                  </a:cubicBezTo>
                  <a:cubicBezTo>
                    <a:pt x="734" y="480"/>
                    <a:pt x="729" y="479"/>
                    <a:pt x="727" y="478"/>
                  </a:cubicBezTo>
                  <a:cubicBezTo>
                    <a:pt x="729" y="478"/>
                    <a:pt x="730" y="479"/>
                    <a:pt x="731" y="479"/>
                  </a:cubicBezTo>
                  <a:cubicBezTo>
                    <a:pt x="730" y="476"/>
                    <a:pt x="724" y="476"/>
                    <a:pt x="721" y="476"/>
                  </a:cubicBezTo>
                  <a:cubicBezTo>
                    <a:pt x="721" y="476"/>
                    <a:pt x="721" y="476"/>
                    <a:pt x="720" y="476"/>
                  </a:cubicBezTo>
                  <a:cubicBezTo>
                    <a:pt x="718" y="476"/>
                    <a:pt x="718" y="476"/>
                    <a:pt x="717" y="478"/>
                  </a:cubicBezTo>
                  <a:cubicBezTo>
                    <a:pt x="718" y="473"/>
                    <a:pt x="722" y="476"/>
                    <a:pt x="720" y="472"/>
                  </a:cubicBezTo>
                  <a:cubicBezTo>
                    <a:pt x="719" y="472"/>
                    <a:pt x="719" y="472"/>
                    <a:pt x="719" y="472"/>
                  </a:cubicBezTo>
                  <a:cubicBezTo>
                    <a:pt x="718" y="472"/>
                    <a:pt x="716" y="473"/>
                    <a:pt x="714" y="474"/>
                  </a:cubicBezTo>
                  <a:cubicBezTo>
                    <a:pt x="714" y="474"/>
                    <a:pt x="714" y="474"/>
                    <a:pt x="713" y="475"/>
                  </a:cubicBezTo>
                  <a:cubicBezTo>
                    <a:pt x="712" y="475"/>
                    <a:pt x="712" y="475"/>
                    <a:pt x="712" y="475"/>
                  </a:cubicBezTo>
                  <a:cubicBezTo>
                    <a:pt x="711" y="476"/>
                    <a:pt x="710" y="476"/>
                    <a:pt x="710" y="477"/>
                  </a:cubicBezTo>
                  <a:cubicBezTo>
                    <a:pt x="709" y="477"/>
                    <a:pt x="709" y="477"/>
                    <a:pt x="709" y="477"/>
                  </a:cubicBezTo>
                  <a:cubicBezTo>
                    <a:pt x="709" y="477"/>
                    <a:pt x="709" y="477"/>
                    <a:pt x="708" y="477"/>
                  </a:cubicBezTo>
                  <a:cubicBezTo>
                    <a:pt x="706" y="477"/>
                    <a:pt x="705" y="476"/>
                    <a:pt x="705" y="475"/>
                  </a:cubicBezTo>
                  <a:cubicBezTo>
                    <a:pt x="704" y="474"/>
                    <a:pt x="704" y="474"/>
                    <a:pt x="704" y="474"/>
                  </a:cubicBezTo>
                  <a:cubicBezTo>
                    <a:pt x="705" y="472"/>
                    <a:pt x="705" y="472"/>
                    <a:pt x="705" y="472"/>
                  </a:cubicBezTo>
                  <a:cubicBezTo>
                    <a:pt x="704" y="468"/>
                    <a:pt x="704" y="468"/>
                    <a:pt x="704" y="468"/>
                  </a:cubicBezTo>
                  <a:cubicBezTo>
                    <a:pt x="704" y="467"/>
                    <a:pt x="703" y="465"/>
                    <a:pt x="703" y="465"/>
                  </a:cubicBezTo>
                  <a:cubicBezTo>
                    <a:pt x="702" y="465"/>
                    <a:pt x="702" y="465"/>
                    <a:pt x="702" y="465"/>
                  </a:cubicBezTo>
                  <a:cubicBezTo>
                    <a:pt x="701" y="463"/>
                    <a:pt x="698" y="461"/>
                    <a:pt x="696" y="460"/>
                  </a:cubicBezTo>
                  <a:cubicBezTo>
                    <a:pt x="696" y="460"/>
                    <a:pt x="696" y="460"/>
                    <a:pt x="696" y="460"/>
                  </a:cubicBezTo>
                  <a:cubicBezTo>
                    <a:pt x="695" y="459"/>
                    <a:pt x="694" y="458"/>
                    <a:pt x="693" y="458"/>
                  </a:cubicBezTo>
                  <a:cubicBezTo>
                    <a:pt x="680" y="447"/>
                    <a:pt x="680" y="447"/>
                    <a:pt x="680" y="447"/>
                  </a:cubicBezTo>
                  <a:cubicBezTo>
                    <a:pt x="676" y="445"/>
                    <a:pt x="673" y="442"/>
                    <a:pt x="670" y="440"/>
                  </a:cubicBezTo>
                  <a:cubicBezTo>
                    <a:pt x="669" y="439"/>
                    <a:pt x="669" y="439"/>
                    <a:pt x="669" y="439"/>
                  </a:cubicBezTo>
                  <a:cubicBezTo>
                    <a:pt x="667" y="436"/>
                    <a:pt x="666" y="434"/>
                    <a:pt x="667" y="431"/>
                  </a:cubicBezTo>
                  <a:cubicBezTo>
                    <a:pt x="667" y="429"/>
                    <a:pt x="667" y="428"/>
                    <a:pt x="667" y="428"/>
                  </a:cubicBezTo>
                  <a:cubicBezTo>
                    <a:pt x="667" y="428"/>
                    <a:pt x="666" y="428"/>
                    <a:pt x="664" y="428"/>
                  </a:cubicBezTo>
                  <a:cubicBezTo>
                    <a:pt x="663" y="428"/>
                    <a:pt x="663" y="428"/>
                    <a:pt x="663" y="428"/>
                  </a:cubicBezTo>
                  <a:cubicBezTo>
                    <a:pt x="662" y="428"/>
                    <a:pt x="661" y="428"/>
                    <a:pt x="661" y="428"/>
                  </a:cubicBezTo>
                  <a:cubicBezTo>
                    <a:pt x="660" y="428"/>
                    <a:pt x="659" y="428"/>
                    <a:pt x="658" y="428"/>
                  </a:cubicBezTo>
                  <a:cubicBezTo>
                    <a:pt x="657" y="428"/>
                    <a:pt x="656" y="429"/>
                    <a:pt x="655" y="430"/>
                  </a:cubicBezTo>
                  <a:cubicBezTo>
                    <a:pt x="654" y="431"/>
                    <a:pt x="652" y="433"/>
                    <a:pt x="649" y="433"/>
                  </a:cubicBezTo>
                  <a:cubicBezTo>
                    <a:pt x="649" y="433"/>
                    <a:pt x="648" y="433"/>
                    <a:pt x="648" y="433"/>
                  </a:cubicBezTo>
                  <a:cubicBezTo>
                    <a:pt x="627" y="430"/>
                    <a:pt x="627" y="430"/>
                    <a:pt x="627" y="430"/>
                  </a:cubicBezTo>
                  <a:cubicBezTo>
                    <a:pt x="625" y="429"/>
                    <a:pt x="623" y="428"/>
                    <a:pt x="623" y="424"/>
                  </a:cubicBezTo>
                  <a:cubicBezTo>
                    <a:pt x="623" y="423"/>
                    <a:pt x="623" y="423"/>
                    <a:pt x="623" y="423"/>
                  </a:cubicBezTo>
                  <a:cubicBezTo>
                    <a:pt x="623" y="421"/>
                    <a:pt x="623" y="418"/>
                    <a:pt x="623" y="416"/>
                  </a:cubicBezTo>
                  <a:cubicBezTo>
                    <a:pt x="623" y="404"/>
                    <a:pt x="623" y="404"/>
                    <a:pt x="623" y="404"/>
                  </a:cubicBezTo>
                  <a:cubicBezTo>
                    <a:pt x="623" y="397"/>
                    <a:pt x="623" y="389"/>
                    <a:pt x="623" y="382"/>
                  </a:cubicBezTo>
                  <a:cubicBezTo>
                    <a:pt x="623" y="369"/>
                    <a:pt x="623" y="356"/>
                    <a:pt x="623" y="343"/>
                  </a:cubicBezTo>
                  <a:cubicBezTo>
                    <a:pt x="623" y="286"/>
                    <a:pt x="623" y="286"/>
                    <a:pt x="623" y="286"/>
                  </a:cubicBezTo>
                  <a:cubicBezTo>
                    <a:pt x="623" y="262"/>
                    <a:pt x="623" y="237"/>
                    <a:pt x="623" y="213"/>
                  </a:cubicBezTo>
                  <a:cubicBezTo>
                    <a:pt x="623" y="212"/>
                    <a:pt x="623" y="212"/>
                    <a:pt x="623" y="212"/>
                  </a:cubicBezTo>
                  <a:cubicBezTo>
                    <a:pt x="623" y="183"/>
                    <a:pt x="623" y="144"/>
                    <a:pt x="623" y="110"/>
                  </a:cubicBezTo>
                  <a:cubicBezTo>
                    <a:pt x="623" y="73"/>
                    <a:pt x="623" y="73"/>
                    <a:pt x="623" y="73"/>
                  </a:cubicBezTo>
                  <a:cubicBezTo>
                    <a:pt x="621" y="72"/>
                    <a:pt x="618" y="71"/>
                    <a:pt x="616" y="70"/>
                  </a:cubicBezTo>
                  <a:cubicBezTo>
                    <a:pt x="608" y="67"/>
                    <a:pt x="600" y="64"/>
                    <a:pt x="592" y="61"/>
                  </a:cubicBezTo>
                  <a:cubicBezTo>
                    <a:pt x="587" y="59"/>
                    <a:pt x="582" y="59"/>
                    <a:pt x="576" y="58"/>
                  </a:cubicBezTo>
                  <a:cubicBezTo>
                    <a:pt x="572" y="58"/>
                    <a:pt x="566" y="57"/>
                    <a:pt x="561" y="57"/>
                  </a:cubicBezTo>
                  <a:cubicBezTo>
                    <a:pt x="559" y="57"/>
                    <a:pt x="557" y="58"/>
                    <a:pt x="556" y="58"/>
                  </a:cubicBezTo>
                  <a:cubicBezTo>
                    <a:pt x="555" y="58"/>
                    <a:pt x="556" y="59"/>
                    <a:pt x="554" y="59"/>
                  </a:cubicBezTo>
                  <a:cubicBezTo>
                    <a:pt x="554" y="59"/>
                    <a:pt x="553" y="59"/>
                    <a:pt x="553" y="59"/>
                  </a:cubicBezTo>
                  <a:cubicBezTo>
                    <a:pt x="551" y="59"/>
                    <a:pt x="549" y="58"/>
                    <a:pt x="546" y="58"/>
                  </a:cubicBezTo>
                  <a:cubicBezTo>
                    <a:pt x="546" y="58"/>
                    <a:pt x="546" y="58"/>
                    <a:pt x="545" y="58"/>
                  </a:cubicBezTo>
                  <a:cubicBezTo>
                    <a:pt x="543" y="59"/>
                    <a:pt x="542" y="60"/>
                    <a:pt x="539" y="60"/>
                  </a:cubicBezTo>
                  <a:cubicBezTo>
                    <a:pt x="539" y="60"/>
                    <a:pt x="539" y="60"/>
                    <a:pt x="539" y="60"/>
                  </a:cubicBezTo>
                  <a:cubicBezTo>
                    <a:pt x="534" y="60"/>
                    <a:pt x="530" y="60"/>
                    <a:pt x="525" y="58"/>
                  </a:cubicBezTo>
                  <a:cubicBezTo>
                    <a:pt x="519" y="56"/>
                    <a:pt x="516" y="52"/>
                    <a:pt x="509" y="52"/>
                  </a:cubicBezTo>
                  <a:cubicBezTo>
                    <a:pt x="505" y="52"/>
                    <a:pt x="501" y="52"/>
                    <a:pt x="497" y="52"/>
                  </a:cubicBezTo>
                  <a:cubicBezTo>
                    <a:pt x="494" y="52"/>
                    <a:pt x="492" y="52"/>
                    <a:pt x="489" y="52"/>
                  </a:cubicBezTo>
                  <a:cubicBezTo>
                    <a:pt x="488" y="52"/>
                    <a:pt x="487" y="52"/>
                    <a:pt x="486" y="52"/>
                  </a:cubicBezTo>
                  <a:cubicBezTo>
                    <a:pt x="483" y="52"/>
                    <a:pt x="481" y="52"/>
                    <a:pt x="479" y="51"/>
                  </a:cubicBezTo>
                  <a:cubicBezTo>
                    <a:pt x="465" y="49"/>
                    <a:pt x="452" y="47"/>
                    <a:pt x="438" y="45"/>
                  </a:cubicBezTo>
                  <a:cubicBezTo>
                    <a:pt x="431" y="43"/>
                    <a:pt x="423" y="41"/>
                    <a:pt x="415" y="41"/>
                  </a:cubicBezTo>
                  <a:cubicBezTo>
                    <a:pt x="414" y="41"/>
                    <a:pt x="412" y="41"/>
                    <a:pt x="410" y="42"/>
                  </a:cubicBezTo>
                  <a:cubicBezTo>
                    <a:pt x="410" y="42"/>
                    <a:pt x="410" y="42"/>
                    <a:pt x="410" y="42"/>
                  </a:cubicBezTo>
                  <a:cubicBezTo>
                    <a:pt x="409" y="42"/>
                    <a:pt x="407" y="41"/>
                    <a:pt x="404" y="41"/>
                  </a:cubicBezTo>
                  <a:cubicBezTo>
                    <a:pt x="402" y="41"/>
                    <a:pt x="399" y="41"/>
                    <a:pt x="396" y="41"/>
                  </a:cubicBezTo>
                  <a:cubicBezTo>
                    <a:pt x="392" y="41"/>
                    <a:pt x="388" y="41"/>
                    <a:pt x="390" y="43"/>
                  </a:cubicBezTo>
                  <a:cubicBezTo>
                    <a:pt x="390" y="43"/>
                    <a:pt x="390" y="43"/>
                    <a:pt x="389" y="43"/>
                  </a:cubicBezTo>
                  <a:cubicBezTo>
                    <a:pt x="387" y="43"/>
                    <a:pt x="385" y="42"/>
                    <a:pt x="382" y="42"/>
                  </a:cubicBezTo>
                  <a:cubicBezTo>
                    <a:pt x="378" y="41"/>
                    <a:pt x="378" y="40"/>
                    <a:pt x="375" y="38"/>
                  </a:cubicBezTo>
                  <a:cubicBezTo>
                    <a:pt x="376" y="37"/>
                    <a:pt x="376" y="37"/>
                    <a:pt x="377" y="36"/>
                  </a:cubicBezTo>
                  <a:cubicBezTo>
                    <a:pt x="375" y="36"/>
                    <a:pt x="374" y="36"/>
                    <a:pt x="372" y="36"/>
                  </a:cubicBezTo>
                  <a:cubicBezTo>
                    <a:pt x="367" y="36"/>
                    <a:pt x="363" y="36"/>
                    <a:pt x="358" y="36"/>
                  </a:cubicBezTo>
                  <a:cubicBezTo>
                    <a:pt x="360" y="35"/>
                    <a:pt x="364" y="35"/>
                    <a:pt x="366" y="35"/>
                  </a:cubicBezTo>
                  <a:cubicBezTo>
                    <a:pt x="366" y="35"/>
                    <a:pt x="366" y="35"/>
                    <a:pt x="366" y="35"/>
                  </a:cubicBezTo>
                  <a:cubicBezTo>
                    <a:pt x="366" y="35"/>
                    <a:pt x="367" y="35"/>
                    <a:pt x="367" y="35"/>
                  </a:cubicBezTo>
                  <a:cubicBezTo>
                    <a:pt x="367" y="35"/>
                    <a:pt x="368" y="35"/>
                    <a:pt x="368" y="35"/>
                  </a:cubicBezTo>
                  <a:cubicBezTo>
                    <a:pt x="369" y="35"/>
                    <a:pt x="369" y="35"/>
                    <a:pt x="369" y="35"/>
                  </a:cubicBezTo>
                  <a:cubicBezTo>
                    <a:pt x="366" y="33"/>
                    <a:pt x="363" y="32"/>
                    <a:pt x="360" y="30"/>
                  </a:cubicBezTo>
                  <a:cubicBezTo>
                    <a:pt x="360" y="30"/>
                    <a:pt x="365" y="27"/>
                    <a:pt x="365" y="25"/>
                  </a:cubicBezTo>
                  <a:cubicBezTo>
                    <a:pt x="365" y="25"/>
                    <a:pt x="366" y="24"/>
                    <a:pt x="364" y="24"/>
                  </a:cubicBezTo>
                  <a:cubicBezTo>
                    <a:pt x="361" y="24"/>
                    <a:pt x="358" y="23"/>
                    <a:pt x="355" y="23"/>
                  </a:cubicBezTo>
                  <a:cubicBezTo>
                    <a:pt x="349" y="23"/>
                    <a:pt x="343" y="22"/>
                    <a:pt x="337" y="22"/>
                  </a:cubicBezTo>
                  <a:cubicBezTo>
                    <a:pt x="337" y="22"/>
                    <a:pt x="336" y="22"/>
                    <a:pt x="336" y="22"/>
                  </a:cubicBezTo>
                  <a:cubicBezTo>
                    <a:pt x="336" y="22"/>
                    <a:pt x="336" y="22"/>
                    <a:pt x="336" y="22"/>
                  </a:cubicBezTo>
                  <a:cubicBezTo>
                    <a:pt x="335" y="22"/>
                    <a:pt x="334" y="22"/>
                    <a:pt x="333" y="22"/>
                  </a:cubicBezTo>
                  <a:cubicBezTo>
                    <a:pt x="332" y="22"/>
                    <a:pt x="331" y="22"/>
                    <a:pt x="330" y="22"/>
                  </a:cubicBezTo>
                  <a:cubicBezTo>
                    <a:pt x="329" y="22"/>
                    <a:pt x="329" y="22"/>
                    <a:pt x="328" y="22"/>
                  </a:cubicBezTo>
                  <a:cubicBezTo>
                    <a:pt x="326" y="22"/>
                    <a:pt x="325" y="24"/>
                    <a:pt x="323" y="25"/>
                  </a:cubicBezTo>
                  <a:cubicBezTo>
                    <a:pt x="322" y="26"/>
                    <a:pt x="320" y="26"/>
                    <a:pt x="319" y="26"/>
                  </a:cubicBezTo>
                  <a:cubicBezTo>
                    <a:pt x="316" y="26"/>
                    <a:pt x="314" y="25"/>
                    <a:pt x="311" y="24"/>
                  </a:cubicBezTo>
                  <a:cubicBezTo>
                    <a:pt x="308" y="21"/>
                    <a:pt x="311" y="18"/>
                    <a:pt x="310" y="16"/>
                  </a:cubicBezTo>
                  <a:cubicBezTo>
                    <a:pt x="310" y="15"/>
                    <a:pt x="308" y="14"/>
                    <a:pt x="307" y="14"/>
                  </a:cubicBezTo>
                  <a:cubicBezTo>
                    <a:pt x="306" y="14"/>
                    <a:pt x="305" y="15"/>
                    <a:pt x="304" y="15"/>
                  </a:cubicBezTo>
                  <a:cubicBezTo>
                    <a:pt x="302" y="16"/>
                    <a:pt x="301" y="16"/>
                    <a:pt x="301" y="16"/>
                  </a:cubicBezTo>
                  <a:cubicBezTo>
                    <a:pt x="301" y="16"/>
                    <a:pt x="300" y="16"/>
                    <a:pt x="300" y="16"/>
                  </a:cubicBezTo>
                  <a:cubicBezTo>
                    <a:pt x="299" y="15"/>
                    <a:pt x="301" y="12"/>
                    <a:pt x="300" y="11"/>
                  </a:cubicBezTo>
                  <a:cubicBezTo>
                    <a:pt x="300" y="11"/>
                    <a:pt x="300" y="11"/>
                    <a:pt x="300" y="11"/>
                  </a:cubicBezTo>
                  <a:cubicBezTo>
                    <a:pt x="298" y="11"/>
                    <a:pt x="296" y="13"/>
                    <a:pt x="295" y="14"/>
                  </a:cubicBezTo>
                  <a:cubicBezTo>
                    <a:pt x="297" y="15"/>
                    <a:pt x="297" y="15"/>
                    <a:pt x="297" y="15"/>
                  </a:cubicBezTo>
                  <a:cubicBezTo>
                    <a:pt x="297" y="17"/>
                    <a:pt x="297" y="17"/>
                    <a:pt x="296" y="17"/>
                  </a:cubicBezTo>
                  <a:cubicBezTo>
                    <a:pt x="296" y="17"/>
                    <a:pt x="296" y="17"/>
                    <a:pt x="295" y="17"/>
                  </a:cubicBezTo>
                  <a:cubicBezTo>
                    <a:pt x="295" y="17"/>
                    <a:pt x="294" y="17"/>
                    <a:pt x="294" y="17"/>
                  </a:cubicBezTo>
                  <a:cubicBezTo>
                    <a:pt x="293" y="17"/>
                    <a:pt x="293" y="17"/>
                    <a:pt x="292" y="17"/>
                  </a:cubicBezTo>
                  <a:cubicBezTo>
                    <a:pt x="290" y="19"/>
                    <a:pt x="290" y="19"/>
                    <a:pt x="290" y="19"/>
                  </a:cubicBezTo>
                  <a:cubicBezTo>
                    <a:pt x="289" y="20"/>
                    <a:pt x="290" y="22"/>
                    <a:pt x="289" y="22"/>
                  </a:cubicBezTo>
                  <a:cubicBezTo>
                    <a:pt x="288" y="24"/>
                    <a:pt x="287" y="24"/>
                    <a:pt x="285" y="24"/>
                  </a:cubicBezTo>
                  <a:cubicBezTo>
                    <a:pt x="285" y="24"/>
                    <a:pt x="285" y="24"/>
                    <a:pt x="285" y="24"/>
                  </a:cubicBezTo>
                  <a:cubicBezTo>
                    <a:pt x="285" y="24"/>
                    <a:pt x="284" y="24"/>
                    <a:pt x="284" y="24"/>
                  </a:cubicBezTo>
                  <a:cubicBezTo>
                    <a:pt x="284" y="24"/>
                    <a:pt x="284" y="24"/>
                    <a:pt x="283" y="24"/>
                  </a:cubicBezTo>
                  <a:cubicBezTo>
                    <a:pt x="283" y="24"/>
                    <a:pt x="283" y="24"/>
                    <a:pt x="283" y="24"/>
                  </a:cubicBezTo>
                  <a:cubicBezTo>
                    <a:pt x="283" y="24"/>
                    <a:pt x="283" y="24"/>
                    <a:pt x="283" y="24"/>
                  </a:cubicBezTo>
                  <a:cubicBezTo>
                    <a:pt x="283" y="24"/>
                    <a:pt x="282" y="24"/>
                    <a:pt x="282" y="24"/>
                  </a:cubicBezTo>
                  <a:cubicBezTo>
                    <a:pt x="282" y="24"/>
                    <a:pt x="281" y="24"/>
                    <a:pt x="280" y="25"/>
                  </a:cubicBezTo>
                  <a:cubicBezTo>
                    <a:pt x="280" y="25"/>
                    <a:pt x="281" y="27"/>
                    <a:pt x="280" y="27"/>
                  </a:cubicBezTo>
                  <a:cubicBezTo>
                    <a:pt x="280" y="27"/>
                    <a:pt x="280" y="27"/>
                    <a:pt x="280" y="27"/>
                  </a:cubicBezTo>
                  <a:cubicBezTo>
                    <a:pt x="279" y="27"/>
                    <a:pt x="278" y="20"/>
                    <a:pt x="279" y="19"/>
                  </a:cubicBezTo>
                  <a:cubicBezTo>
                    <a:pt x="280" y="18"/>
                    <a:pt x="281" y="18"/>
                    <a:pt x="283" y="18"/>
                  </a:cubicBezTo>
                  <a:cubicBezTo>
                    <a:pt x="284" y="17"/>
                    <a:pt x="287" y="16"/>
                    <a:pt x="288" y="14"/>
                  </a:cubicBezTo>
                  <a:cubicBezTo>
                    <a:pt x="289" y="12"/>
                    <a:pt x="288" y="12"/>
                    <a:pt x="285" y="12"/>
                  </a:cubicBezTo>
                  <a:cubicBezTo>
                    <a:pt x="282" y="11"/>
                    <a:pt x="279" y="11"/>
                    <a:pt x="276" y="10"/>
                  </a:cubicBezTo>
                  <a:cubicBezTo>
                    <a:pt x="272" y="8"/>
                    <a:pt x="267" y="6"/>
                    <a:pt x="265" y="3"/>
                  </a:cubicBezTo>
                  <a:cubicBezTo>
                    <a:pt x="266" y="2"/>
                    <a:pt x="268" y="1"/>
                    <a:pt x="270" y="1"/>
                  </a:cubicBezTo>
                  <a:cubicBezTo>
                    <a:pt x="269" y="1"/>
                    <a:pt x="268" y="0"/>
                    <a:pt x="2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0" name="Rectangle 343">
              <a:extLst>
                <a:ext uri="{FF2B5EF4-FFF2-40B4-BE49-F238E27FC236}">
                  <a16:creationId xmlns:a16="http://schemas.microsoft.com/office/drawing/2014/main" id="{4E3416B8-D7AD-43A4-B30C-F421B829D30C}"/>
                </a:ext>
              </a:extLst>
            </p:cNvPr>
            <p:cNvSpPr>
              <a:spLocks noChangeArrowheads="1"/>
            </p:cNvSpPr>
            <p:nvPr/>
          </p:nvSpPr>
          <p:spPr bwMode="auto">
            <a:xfrm>
              <a:off x="4584691" y="3709222"/>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1" name="Rectangle 344">
              <a:extLst>
                <a:ext uri="{FF2B5EF4-FFF2-40B4-BE49-F238E27FC236}">
                  <a16:creationId xmlns:a16="http://schemas.microsoft.com/office/drawing/2014/main" id="{D9912CB7-1030-43B6-BC02-FF40BDB1A222}"/>
                </a:ext>
              </a:extLst>
            </p:cNvPr>
            <p:cNvSpPr>
              <a:spLocks noChangeArrowheads="1"/>
            </p:cNvSpPr>
            <p:nvPr/>
          </p:nvSpPr>
          <p:spPr bwMode="auto">
            <a:xfrm>
              <a:off x="4584691" y="3709222"/>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2" name="Freeform 345">
              <a:extLst>
                <a:ext uri="{FF2B5EF4-FFF2-40B4-BE49-F238E27FC236}">
                  <a16:creationId xmlns:a16="http://schemas.microsoft.com/office/drawing/2014/main" id="{0E0592B7-F74A-4EC2-9AC7-D6A246DD2312}"/>
                </a:ext>
              </a:extLst>
            </p:cNvPr>
            <p:cNvSpPr>
              <a:spLocks/>
            </p:cNvSpPr>
            <p:nvPr/>
          </p:nvSpPr>
          <p:spPr bwMode="auto">
            <a:xfrm>
              <a:off x="3995729" y="3198047"/>
              <a:ext cx="269875" cy="187325"/>
            </a:xfrm>
            <a:custGeom>
              <a:avLst/>
              <a:gdLst>
                <a:gd name="T0" fmla="*/ 30 w 72"/>
                <a:gd name="T1" fmla="*/ 0 h 50"/>
                <a:gd name="T2" fmla="*/ 27 w 72"/>
                <a:gd name="T3" fmla="*/ 2 h 50"/>
                <a:gd name="T4" fmla="*/ 21 w 72"/>
                <a:gd name="T5" fmla="*/ 4 h 50"/>
                <a:gd name="T6" fmla="*/ 18 w 72"/>
                <a:gd name="T7" fmla="*/ 4 h 50"/>
                <a:gd name="T8" fmla="*/ 18 w 72"/>
                <a:gd name="T9" fmla="*/ 5 h 50"/>
                <a:gd name="T10" fmla="*/ 14 w 72"/>
                <a:gd name="T11" fmla="*/ 10 h 50"/>
                <a:gd name="T12" fmla="*/ 13 w 72"/>
                <a:gd name="T13" fmla="*/ 11 h 50"/>
                <a:gd name="T14" fmla="*/ 11 w 72"/>
                <a:gd name="T15" fmla="*/ 18 h 50"/>
                <a:gd name="T16" fmla="*/ 7 w 72"/>
                <a:gd name="T17" fmla="*/ 21 h 50"/>
                <a:gd name="T18" fmla="*/ 4 w 72"/>
                <a:gd name="T19" fmla="*/ 21 h 50"/>
                <a:gd name="T20" fmla="*/ 3 w 72"/>
                <a:gd name="T21" fmla="*/ 21 h 50"/>
                <a:gd name="T22" fmla="*/ 0 w 72"/>
                <a:gd name="T23" fmla="*/ 23 h 50"/>
                <a:gd name="T24" fmla="*/ 5 w 72"/>
                <a:gd name="T25" fmla="*/ 23 h 50"/>
                <a:gd name="T26" fmla="*/ 10 w 72"/>
                <a:gd name="T27" fmla="*/ 29 h 50"/>
                <a:gd name="T28" fmla="*/ 19 w 72"/>
                <a:gd name="T29" fmla="*/ 29 h 50"/>
                <a:gd name="T30" fmla="*/ 21 w 72"/>
                <a:gd name="T31" fmla="*/ 28 h 50"/>
                <a:gd name="T32" fmla="*/ 25 w 72"/>
                <a:gd name="T33" fmla="*/ 27 h 50"/>
                <a:gd name="T34" fmla="*/ 20 w 72"/>
                <a:gd name="T35" fmla="*/ 30 h 50"/>
                <a:gd name="T36" fmla="*/ 25 w 72"/>
                <a:gd name="T37" fmla="*/ 42 h 50"/>
                <a:gd name="T38" fmla="*/ 23 w 72"/>
                <a:gd name="T39" fmla="*/ 44 h 50"/>
                <a:gd name="T40" fmla="*/ 27 w 72"/>
                <a:gd name="T41" fmla="*/ 44 h 50"/>
                <a:gd name="T42" fmla="*/ 31 w 72"/>
                <a:gd name="T43" fmla="*/ 44 h 50"/>
                <a:gd name="T44" fmla="*/ 34 w 72"/>
                <a:gd name="T45" fmla="*/ 44 h 50"/>
                <a:gd name="T46" fmla="*/ 33 w 72"/>
                <a:gd name="T47" fmla="*/ 43 h 50"/>
                <a:gd name="T48" fmla="*/ 33 w 72"/>
                <a:gd name="T49" fmla="*/ 41 h 50"/>
                <a:gd name="T50" fmla="*/ 36 w 72"/>
                <a:gd name="T51" fmla="*/ 47 h 50"/>
                <a:gd name="T52" fmla="*/ 41 w 72"/>
                <a:gd name="T53" fmla="*/ 49 h 50"/>
                <a:gd name="T54" fmla="*/ 40 w 72"/>
                <a:gd name="T55" fmla="*/ 37 h 50"/>
                <a:gd name="T56" fmla="*/ 39 w 72"/>
                <a:gd name="T57" fmla="*/ 31 h 50"/>
                <a:gd name="T58" fmla="*/ 36 w 72"/>
                <a:gd name="T59" fmla="*/ 22 h 50"/>
                <a:gd name="T60" fmla="*/ 32 w 72"/>
                <a:gd name="T61" fmla="*/ 16 h 50"/>
                <a:gd name="T62" fmla="*/ 37 w 72"/>
                <a:gd name="T63" fmla="*/ 17 h 50"/>
                <a:gd name="T64" fmla="*/ 34 w 72"/>
                <a:gd name="T65" fmla="*/ 13 h 50"/>
                <a:gd name="T66" fmla="*/ 36 w 72"/>
                <a:gd name="T67" fmla="*/ 14 h 50"/>
                <a:gd name="T68" fmla="*/ 40 w 72"/>
                <a:gd name="T69" fmla="*/ 23 h 50"/>
                <a:gd name="T70" fmla="*/ 43 w 72"/>
                <a:gd name="T71" fmla="*/ 32 h 50"/>
                <a:gd name="T72" fmla="*/ 44 w 72"/>
                <a:gd name="T73" fmla="*/ 31 h 50"/>
                <a:gd name="T74" fmla="*/ 46 w 72"/>
                <a:gd name="T75" fmla="*/ 31 h 50"/>
                <a:gd name="T76" fmla="*/ 45 w 72"/>
                <a:gd name="T77" fmla="*/ 35 h 50"/>
                <a:gd name="T78" fmla="*/ 50 w 72"/>
                <a:gd name="T79" fmla="*/ 43 h 50"/>
                <a:gd name="T80" fmla="*/ 65 w 72"/>
                <a:gd name="T81" fmla="*/ 49 h 50"/>
                <a:gd name="T82" fmla="*/ 66 w 72"/>
                <a:gd name="T83" fmla="*/ 47 h 50"/>
                <a:gd name="T84" fmla="*/ 68 w 72"/>
                <a:gd name="T85" fmla="*/ 41 h 50"/>
                <a:gd name="T86" fmla="*/ 72 w 72"/>
                <a:gd name="T87" fmla="*/ 40 h 50"/>
                <a:gd name="T88" fmla="*/ 57 w 72"/>
                <a:gd name="T89" fmla="*/ 25 h 50"/>
                <a:gd name="T90" fmla="*/ 50 w 72"/>
                <a:gd name="T91" fmla="*/ 19 h 50"/>
                <a:gd name="T92" fmla="*/ 47 w 72"/>
                <a:gd name="T93" fmla="*/ 18 h 50"/>
                <a:gd name="T94" fmla="*/ 35 w 72"/>
                <a:gd name="T95"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2" h="50">
                  <a:moveTo>
                    <a:pt x="32" y="0"/>
                  </a:moveTo>
                  <a:cubicBezTo>
                    <a:pt x="31" y="0"/>
                    <a:pt x="31" y="0"/>
                    <a:pt x="30" y="0"/>
                  </a:cubicBezTo>
                  <a:cubicBezTo>
                    <a:pt x="29" y="1"/>
                    <a:pt x="29" y="1"/>
                    <a:pt x="28" y="1"/>
                  </a:cubicBezTo>
                  <a:cubicBezTo>
                    <a:pt x="27" y="2"/>
                    <a:pt x="27" y="2"/>
                    <a:pt x="27" y="2"/>
                  </a:cubicBezTo>
                  <a:cubicBezTo>
                    <a:pt x="26" y="2"/>
                    <a:pt x="25" y="3"/>
                    <a:pt x="25" y="3"/>
                  </a:cubicBezTo>
                  <a:cubicBezTo>
                    <a:pt x="23" y="3"/>
                    <a:pt x="22" y="3"/>
                    <a:pt x="21" y="4"/>
                  </a:cubicBezTo>
                  <a:cubicBezTo>
                    <a:pt x="19" y="4"/>
                    <a:pt x="19" y="4"/>
                    <a:pt x="19" y="4"/>
                  </a:cubicBezTo>
                  <a:cubicBezTo>
                    <a:pt x="18" y="4"/>
                    <a:pt x="18" y="4"/>
                    <a:pt x="18" y="4"/>
                  </a:cubicBezTo>
                  <a:cubicBezTo>
                    <a:pt x="18" y="4"/>
                    <a:pt x="18" y="4"/>
                    <a:pt x="18" y="4"/>
                  </a:cubicBezTo>
                  <a:cubicBezTo>
                    <a:pt x="18" y="5"/>
                    <a:pt x="18" y="5"/>
                    <a:pt x="18" y="5"/>
                  </a:cubicBezTo>
                  <a:cubicBezTo>
                    <a:pt x="18" y="6"/>
                    <a:pt x="18" y="6"/>
                    <a:pt x="18" y="6"/>
                  </a:cubicBezTo>
                  <a:cubicBezTo>
                    <a:pt x="18" y="8"/>
                    <a:pt x="16" y="9"/>
                    <a:pt x="14" y="10"/>
                  </a:cubicBezTo>
                  <a:cubicBezTo>
                    <a:pt x="13" y="11"/>
                    <a:pt x="13" y="11"/>
                    <a:pt x="13" y="11"/>
                  </a:cubicBezTo>
                  <a:cubicBezTo>
                    <a:pt x="13" y="11"/>
                    <a:pt x="13" y="11"/>
                    <a:pt x="13" y="11"/>
                  </a:cubicBezTo>
                  <a:cubicBezTo>
                    <a:pt x="13" y="12"/>
                    <a:pt x="13" y="12"/>
                    <a:pt x="13" y="12"/>
                  </a:cubicBezTo>
                  <a:cubicBezTo>
                    <a:pt x="13" y="15"/>
                    <a:pt x="12" y="17"/>
                    <a:pt x="11" y="18"/>
                  </a:cubicBezTo>
                  <a:cubicBezTo>
                    <a:pt x="10" y="19"/>
                    <a:pt x="10" y="19"/>
                    <a:pt x="10" y="19"/>
                  </a:cubicBezTo>
                  <a:cubicBezTo>
                    <a:pt x="9" y="20"/>
                    <a:pt x="8" y="20"/>
                    <a:pt x="7" y="21"/>
                  </a:cubicBezTo>
                  <a:cubicBezTo>
                    <a:pt x="6" y="21"/>
                    <a:pt x="6" y="21"/>
                    <a:pt x="5" y="21"/>
                  </a:cubicBezTo>
                  <a:cubicBezTo>
                    <a:pt x="4" y="21"/>
                    <a:pt x="4" y="21"/>
                    <a:pt x="4" y="21"/>
                  </a:cubicBezTo>
                  <a:cubicBezTo>
                    <a:pt x="4" y="21"/>
                    <a:pt x="4" y="21"/>
                    <a:pt x="4" y="21"/>
                  </a:cubicBezTo>
                  <a:cubicBezTo>
                    <a:pt x="3" y="21"/>
                    <a:pt x="3" y="21"/>
                    <a:pt x="3" y="21"/>
                  </a:cubicBezTo>
                  <a:cubicBezTo>
                    <a:pt x="2" y="21"/>
                    <a:pt x="1" y="22"/>
                    <a:pt x="0" y="22"/>
                  </a:cubicBezTo>
                  <a:cubicBezTo>
                    <a:pt x="0" y="23"/>
                    <a:pt x="0" y="23"/>
                    <a:pt x="0" y="23"/>
                  </a:cubicBezTo>
                  <a:cubicBezTo>
                    <a:pt x="3" y="24"/>
                    <a:pt x="6" y="26"/>
                    <a:pt x="7" y="26"/>
                  </a:cubicBezTo>
                  <a:cubicBezTo>
                    <a:pt x="6" y="25"/>
                    <a:pt x="5" y="24"/>
                    <a:pt x="5" y="23"/>
                  </a:cubicBezTo>
                  <a:cubicBezTo>
                    <a:pt x="6" y="23"/>
                    <a:pt x="9" y="24"/>
                    <a:pt x="10" y="25"/>
                  </a:cubicBezTo>
                  <a:cubicBezTo>
                    <a:pt x="10" y="26"/>
                    <a:pt x="9" y="28"/>
                    <a:pt x="10" y="29"/>
                  </a:cubicBezTo>
                  <a:cubicBezTo>
                    <a:pt x="11" y="30"/>
                    <a:pt x="13" y="31"/>
                    <a:pt x="15" y="31"/>
                  </a:cubicBezTo>
                  <a:cubicBezTo>
                    <a:pt x="17" y="31"/>
                    <a:pt x="18" y="30"/>
                    <a:pt x="19" y="29"/>
                  </a:cubicBezTo>
                  <a:cubicBezTo>
                    <a:pt x="20" y="28"/>
                    <a:pt x="18" y="24"/>
                    <a:pt x="18" y="23"/>
                  </a:cubicBezTo>
                  <a:cubicBezTo>
                    <a:pt x="19" y="24"/>
                    <a:pt x="19" y="28"/>
                    <a:pt x="21" y="28"/>
                  </a:cubicBezTo>
                  <a:cubicBezTo>
                    <a:pt x="21" y="28"/>
                    <a:pt x="21" y="28"/>
                    <a:pt x="22" y="28"/>
                  </a:cubicBezTo>
                  <a:cubicBezTo>
                    <a:pt x="23" y="27"/>
                    <a:pt x="24" y="27"/>
                    <a:pt x="25" y="27"/>
                  </a:cubicBezTo>
                  <a:cubicBezTo>
                    <a:pt x="25" y="27"/>
                    <a:pt x="26" y="27"/>
                    <a:pt x="26" y="27"/>
                  </a:cubicBezTo>
                  <a:cubicBezTo>
                    <a:pt x="25" y="28"/>
                    <a:pt x="22" y="28"/>
                    <a:pt x="20" y="30"/>
                  </a:cubicBezTo>
                  <a:cubicBezTo>
                    <a:pt x="20" y="31"/>
                    <a:pt x="21" y="31"/>
                    <a:pt x="22" y="33"/>
                  </a:cubicBezTo>
                  <a:cubicBezTo>
                    <a:pt x="23" y="36"/>
                    <a:pt x="25" y="39"/>
                    <a:pt x="25" y="42"/>
                  </a:cubicBezTo>
                  <a:cubicBezTo>
                    <a:pt x="24" y="42"/>
                    <a:pt x="24" y="42"/>
                    <a:pt x="24" y="42"/>
                  </a:cubicBezTo>
                  <a:cubicBezTo>
                    <a:pt x="22" y="42"/>
                    <a:pt x="23" y="43"/>
                    <a:pt x="23" y="44"/>
                  </a:cubicBezTo>
                  <a:cubicBezTo>
                    <a:pt x="24" y="44"/>
                    <a:pt x="24" y="44"/>
                    <a:pt x="24" y="44"/>
                  </a:cubicBezTo>
                  <a:cubicBezTo>
                    <a:pt x="25" y="44"/>
                    <a:pt x="26" y="44"/>
                    <a:pt x="27" y="44"/>
                  </a:cubicBezTo>
                  <a:cubicBezTo>
                    <a:pt x="28" y="44"/>
                    <a:pt x="29" y="44"/>
                    <a:pt x="30" y="44"/>
                  </a:cubicBezTo>
                  <a:cubicBezTo>
                    <a:pt x="31" y="44"/>
                    <a:pt x="31" y="44"/>
                    <a:pt x="31" y="44"/>
                  </a:cubicBezTo>
                  <a:cubicBezTo>
                    <a:pt x="32" y="44"/>
                    <a:pt x="33" y="45"/>
                    <a:pt x="33" y="45"/>
                  </a:cubicBezTo>
                  <a:cubicBezTo>
                    <a:pt x="33" y="45"/>
                    <a:pt x="34" y="45"/>
                    <a:pt x="34" y="44"/>
                  </a:cubicBezTo>
                  <a:cubicBezTo>
                    <a:pt x="34" y="44"/>
                    <a:pt x="33" y="43"/>
                    <a:pt x="33" y="43"/>
                  </a:cubicBezTo>
                  <a:cubicBezTo>
                    <a:pt x="33" y="43"/>
                    <a:pt x="33" y="43"/>
                    <a:pt x="33" y="43"/>
                  </a:cubicBezTo>
                  <a:cubicBezTo>
                    <a:pt x="33" y="43"/>
                    <a:pt x="33" y="42"/>
                    <a:pt x="33" y="42"/>
                  </a:cubicBezTo>
                  <a:cubicBezTo>
                    <a:pt x="33" y="42"/>
                    <a:pt x="33" y="41"/>
                    <a:pt x="33" y="41"/>
                  </a:cubicBezTo>
                  <a:cubicBezTo>
                    <a:pt x="33" y="41"/>
                    <a:pt x="33" y="41"/>
                    <a:pt x="33" y="42"/>
                  </a:cubicBezTo>
                  <a:cubicBezTo>
                    <a:pt x="34" y="43"/>
                    <a:pt x="34" y="45"/>
                    <a:pt x="36" y="47"/>
                  </a:cubicBezTo>
                  <a:cubicBezTo>
                    <a:pt x="37" y="49"/>
                    <a:pt x="37" y="49"/>
                    <a:pt x="39" y="49"/>
                  </a:cubicBezTo>
                  <a:cubicBezTo>
                    <a:pt x="40" y="49"/>
                    <a:pt x="40" y="49"/>
                    <a:pt x="41" y="49"/>
                  </a:cubicBezTo>
                  <a:cubicBezTo>
                    <a:pt x="44" y="48"/>
                    <a:pt x="43" y="44"/>
                    <a:pt x="42" y="42"/>
                  </a:cubicBezTo>
                  <a:cubicBezTo>
                    <a:pt x="42" y="41"/>
                    <a:pt x="38" y="37"/>
                    <a:pt x="40" y="37"/>
                  </a:cubicBezTo>
                  <a:cubicBezTo>
                    <a:pt x="40" y="37"/>
                    <a:pt x="41" y="37"/>
                    <a:pt x="41" y="37"/>
                  </a:cubicBezTo>
                  <a:cubicBezTo>
                    <a:pt x="40" y="35"/>
                    <a:pt x="39" y="33"/>
                    <a:pt x="39" y="31"/>
                  </a:cubicBezTo>
                  <a:cubicBezTo>
                    <a:pt x="38" y="28"/>
                    <a:pt x="36" y="27"/>
                    <a:pt x="35" y="25"/>
                  </a:cubicBezTo>
                  <a:cubicBezTo>
                    <a:pt x="35" y="24"/>
                    <a:pt x="36" y="23"/>
                    <a:pt x="36" y="22"/>
                  </a:cubicBezTo>
                  <a:cubicBezTo>
                    <a:pt x="35" y="20"/>
                    <a:pt x="35" y="21"/>
                    <a:pt x="34" y="19"/>
                  </a:cubicBezTo>
                  <a:cubicBezTo>
                    <a:pt x="32" y="16"/>
                    <a:pt x="32" y="16"/>
                    <a:pt x="32" y="16"/>
                  </a:cubicBezTo>
                  <a:cubicBezTo>
                    <a:pt x="32" y="16"/>
                    <a:pt x="32" y="16"/>
                    <a:pt x="33" y="16"/>
                  </a:cubicBezTo>
                  <a:cubicBezTo>
                    <a:pt x="34" y="16"/>
                    <a:pt x="36" y="17"/>
                    <a:pt x="37" y="17"/>
                  </a:cubicBezTo>
                  <a:cubicBezTo>
                    <a:pt x="35" y="16"/>
                    <a:pt x="34" y="14"/>
                    <a:pt x="32" y="13"/>
                  </a:cubicBezTo>
                  <a:cubicBezTo>
                    <a:pt x="33" y="13"/>
                    <a:pt x="33" y="13"/>
                    <a:pt x="34" y="13"/>
                  </a:cubicBezTo>
                  <a:cubicBezTo>
                    <a:pt x="36" y="13"/>
                    <a:pt x="36" y="10"/>
                    <a:pt x="36" y="8"/>
                  </a:cubicBezTo>
                  <a:cubicBezTo>
                    <a:pt x="37" y="10"/>
                    <a:pt x="36" y="12"/>
                    <a:pt x="36" y="14"/>
                  </a:cubicBezTo>
                  <a:cubicBezTo>
                    <a:pt x="36" y="15"/>
                    <a:pt x="37" y="15"/>
                    <a:pt x="38" y="17"/>
                  </a:cubicBezTo>
                  <a:cubicBezTo>
                    <a:pt x="39" y="19"/>
                    <a:pt x="40" y="21"/>
                    <a:pt x="40" y="23"/>
                  </a:cubicBezTo>
                  <a:cubicBezTo>
                    <a:pt x="41" y="25"/>
                    <a:pt x="41" y="29"/>
                    <a:pt x="42" y="30"/>
                  </a:cubicBezTo>
                  <a:cubicBezTo>
                    <a:pt x="43" y="32"/>
                    <a:pt x="43" y="32"/>
                    <a:pt x="43" y="32"/>
                  </a:cubicBezTo>
                  <a:cubicBezTo>
                    <a:pt x="43" y="32"/>
                    <a:pt x="43" y="32"/>
                    <a:pt x="43" y="32"/>
                  </a:cubicBezTo>
                  <a:cubicBezTo>
                    <a:pt x="44" y="32"/>
                    <a:pt x="44" y="32"/>
                    <a:pt x="44" y="31"/>
                  </a:cubicBezTo>
                  <a:cubicBezTo>
                    <a:pt x="44" y="31"/>
                    <a:pt x="45" y="31"/>
                    <a:pt x="45" y="31"/>
                  </a:cubicBezTo>
                  <a:cubicBezTo>
                    <a:pt x="45" y="31"/>
                    <a:pt x="45" y="31"/>
                    <a:pt x="46" y="31"/>
                  </a:cubicBezTo>
                  <a:cubicBezTo>
                    <a:pt x="47" y="32"/>
                    <a:pt x="47" y="35"/>
                    <a:pt x="46" y="35"/>
                  </a:cubicBezTo>
                  <a:cubicBezTo>
                    <a:pt x="46" y="35"/>
                    <a:pt x="45" y="35"/>
                    <a:pt x="45" y="35"/>
                  </a:cubicBezTo>
                  <a:cubicBezTo>
                    <a:pt x="45" y="36"/>
                    <a:pt x="47" y="38"/>
                    <a:pt x="48" y="39"/>
                  </a:cubicBezTo>
                  <a:cubicBezTo>
                    <a:pt x="49" y="40"/>
                    <a:pt x="49" y="42"/>
                    <a:pt x="50" y="43"/>
                  </a:cubicBezTo>
                  <a:cubicBezTo>
                    <a:pt x="51" y="45"/>
                    <a:pt x="59" y="50"/>
                    <a:pt x="63" y="50"/>
                  </a:cubicBezTo>
                  <a:cubicBezTo>
                    <a:pt x="64" y="50"/>
                    <a:pt x="65" y="50"/>
                    <a:pt x="65" y="49"/>
                  </a:cubicBezTo>
                  <a:cubicBezTo>
                    <a:pt x="66" y="49"/>
                    <a:pt x="64" y="48"/>
                    <a:pt x="64" y="48"/>
                  </a:cubicBezTo>
                  <a:cubicBezTo>
                    <a:pt x="65" y="47"/>
                    <a:pt x="66" y="47"/>
                    <a:pt x="66" y="47"/>
                  </a:cubicBezTo>
                  <a:cubicBezTo>
                    <a:pt x="66" y="46"/>
                    <a:pt x="67" y="44"/>
                    <a:pt x="67" y="43"/>
                  </a:cubicBezTo>
                  <a:cubicBezTo>
                    <a:pt x="68" y="41"/>
                    <a:pt x="68" y="41"/>
                    <a:pt x="68" y="41"/>
                  </a:cubicBezTo>
                  <a:cubicBezTo>
                    <a:pt x="69" y="40"/>
                    <a:pt x="70" y="40"/>
                    <a:pt x="71" y="40"/>
                  </a:cubicBezTo>
                  <a:cubicBezTo>
                    <a:pt x="72" y="40"/>
                    <a:pt x="72" y="40"/>
                    <a:pt x="72" y="40"/>
                  </a:cubicBezTo>
                  <a:cubicBezTo>
                    <a:pt x="68" y="37"/>
                    <a:pt x="68" y="37"/>
                    <a:pt x="68" y="37"/>
                  </a:cubicBezTo>
                  <a:cubicBezTo>
                    <a:pt x="63" y="33"/>
                    <a:pt x="60" y="30"/>
                    <a:pt x="57" y="25"/>
                  </a:cubicBezTo>
                  <a:cubicBezTo>
                    <a:pt x="55" y="23"/>
                    <a:pt x="54" y="21"/>
                    <a:pt x="52" y="20"/>
                  </a:cubicBezTo>
                  <a:cubicBezTo>
                    <a:pt x="51" y="20"/>
                    <a:pt x="51" y="20"/>
                    <a:pt x="50" y="19"/>
                  </a:cubicBezTo>
                  <a:cubicBezTo>
                    <a:pt x="50" y="19"/>
                    <a:pt x="50" y="19"/>
                    <a:pt x="50" y="19"/>
                  </a:cubicBezTo>
                  <a:cubicBezTo>
                    <a:pt x="49" y="19"/>
                    <a:pt x="48" y="18"/>
                    <a:pt x="47" y="18"/>
                  </a:cubicBezTo>
                  <a:cubicBezTo>
                    <a:pt x="45" y="17"/>
                    <a:pt x="43" y="15"/>
                    <a:pt x="42" y="13"/>
                  </a:cubicBezTo>
                  <a:cubicBezTo>
                    <a:pt x="39" y="9"/>
                    <a:pt x="37" y="6"/>
                    <a:pt x="35" y="3"/>
                  </a:cubicBezTo>
                  <a:cubicBezTo>
                    <a:pt x="33" y="1"/>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3" name="Freeform 346">
              <a:extLst>
                <a:ext uri="{FF2B5EF4-FFF2-40B4-BE49-F238E27FC236}">
                  <a16:creationId xmlns:a16="http://schemas.microsoft.com/office/drawing/2014/main" id="{4AB6064D-E101-4136-87EA-E19D28C58228}"/>
                </a:ext>
              </a:extLst>
            </p:cNvPr>
            <p:cNvSpPr>
              <a:spLocks/>
            </p:cNvSpPr>
            <p:nvPr/>
          </p:nvSpPr>
          <p:spPr bwMode="auto">
            <a:xfrm>
              <a:off x="4243379" y="3348859"/>
              <a:ext cx="349250" cy="465138"/>
            </a:xfrm>
            <a:custGeom>
              <a:avLst/>
              <a:gdLst>
                <a:gd name="T0" fmla="*/ 2 w 93"/>
                <a:gd name="T1" fmla="*/ 5 h 124"/>
                <a:gd name="T2" fmla="*/ 0 w 93"/>
                <a:gd name="T3" fmla="*/ 9 h 124"/>
                <a:gd name="T4" fmla="*/ 2 w 93"/>
                <a:gd name="T5" fmla="*/ 16 h 124"/>
                <a:gd name="T6" fmla="*/ 9 w 93"/>
                <a:gd name="T7" fmla="*/ 13 h 124"/>
                <a:gd name="T8" fmla="*/ 9 w 93"/>
                <a:gd name="T9" fmla="*/ 19 h 124"/>
                <a:gd name="T10" fmla="*/ 7 w 93"/>
                <a:gd name="T11" fmla="*/ 19 h 124"/>
                <a:gd name="T12" fmla="*/ 6 w 93"/>
                <a:gd name="T13" fmla="*/ 21 h 124"/>
                <a:gd name="T14" fmla="*/ 13 w 93"/>
                <a:gd name="T15" fmla="*/ 20 h 124"/>
                <a:gd name="T16" fmla="*/ 19 w 93"/>
                <a:gd name="T17" fmla="*/ 21 h 124"/>
                <a:gd name="T18" fmla="*/ 17 w 93"/>
                <a:gd name="T19" fmla="*/ 21 h 124"/>
                <a:gd name="T20" fmla="*/ 12 w 93"/>
                <a:gd name="T21" fmla="*/ 22 h 124"/>
                <a:gd name="T22" fmla="*/ 11 w 93"/>
                <a:gd name="T23" fmla="*/ 28 h 124"/>
                <a:gd name="T24" fmla="*/ 14 w 93"/>
                <a:gd name="T25" fmla="*/ 31 h 124"/>
                <a:gd name="T26" fmla="*/ 14 w 93"/>
                <a:gd name="T27" fmla="*/ 36 h 124"/>
                <a:gd name="T28" fmla="*/ 16 w 93"/>
                <a:gd name="T29" fmla="*/ 42 h 124"/>
                <a:gd name="T30" fmla="*/ 22 w 93"/>
                <a:gd name="T31" fmla="*/ 46 h 124"/>
                <a:gd name="T32" fmla="*/ 29 w 93"/>
                <a:gd name="T33" fmla="*/ 48 h 124"/>
                <a:gd name="T34" fmla="*/ 28 w 93"/>
                <a:gd name="T35" fmla="*/ 52 h 124"/>
                <a:gd name="T36" fmla="*/ 27 w 93"/>
                <a:gd name="T37" fmla="*/ 52 h 124"/>
                <a:gd name="T38" fmla="*/ 35 w 93"/>
                <a:gd name="T39" fmla="*/ 58 h 124"/>
                <a:gd name="T40" fmla="*/ 37 w 93"/>
                <a:gd name="T41" fmla="*/ 62 h 124"/>
                <a:gd name="T42" fmla="*/ 35 w 93"/>
                <a:gd name="T43" fmla="*/ 63 h 124"/>
                <a:gd name="T44" fmla="*/ 43 w 93"/>
                <a:gd name="T45" fmla="*/ 69 h 124"/>
                <a:gd name="T46" fmla="*/ 49 w 93"/>
                <a:gd name="T47" fmla="*/ 74 h 124"/>
                <a:gd name="T48" fmla="*/ 49 w 93"/>
                <a:gd name="T49" fmla="*/ 84 h 124"/>
                <a:gd name="T50" fmla="*/ 47 w 93"/>
                <a:gd name="T51" fmla="*/ 90 h 124"/>
                <a:gd name="T52" fmla="*/ 44 w 93"/>
                <a:gd name="T53" fmla="*/ 93 h 124"/>
                <a:gd name="T54" fmla="*/ 44 w 93"/>
                <a:gd name="T55" fmla="*/ 97 h 124"/>
                <a:gd name="T56" fmla="*/ 49 w 93"/>
                <a:gd name="T57" fmla="*/ 99 h 124"/>
                <a:gd name="T58" fmla="*/ 54 w 93"/>
                <a:gd name="T59" fmla="*/ 91 h 124"/>
                <a:gd name="T60" fmla="*/ 59 w 93"/>
                <a:gd name="T61" fmla="*/ 85 h 124"/>
                <a:gd name="T62" fmla="*/ 67 w 93"/>
                <a:gd name="T63" fmla="*/ 85 h 124"/>
                <a:gd name="T64" fmla="*/ 74 w 93"/>
                <a:gd name="T65" fmla="*/ 95 h 124"/>
                <a:gd name="T66" fmla="*/ 76 w 93"/>
                <a:gd name="T67" fmla="*/ 106 h 124"/>
                <a:gd name="T68" fmla="*/ 77 w 93"/>
                <a:gd name="T69" fmla="*/ 106 h 124"/>
                <a:gd name="T70" fmla="*/ 77 w 93"/>
                <a:gd name="T71" fmla="*/ 107 h 124"/>
                <a:gd name="T72" fmla="*/ 76 w 93"/>
                <a:gd name="T73" fmla="*/ 107 h 124"/>
                <a:gd name="T74" fmla="*/ 73 w 93"/>
                <a:gd name="T75" fmla="*/ 113 h 124"/>
                <a:gd name="T76" fmla="*/ 71 w 93"/>
                <a:gd name="T77" fmla="*/ 116 h 124"/>
                <a:gd name="T78" fmla="*/ 76 w 93"/>
                <a:gd name="T79" fmla="*/ 124 h 124"/>
                <a:gd name="T80" fmla="*/ 88 w 93"/>
                <a:gd name="T81" fmla="*/ 117 h 124"/>
                <a:gd name="T82" fmla="*/ 89 w 93"/>
                <a:gd name="T83" fmla="*/ 116 h 124"/>
                <a:gd name="T84" fmla="*/ 93 w 93"/>
                <a:gd name="T85" fmla="*/ 107 h 124"/>
                <a:gd name="T86" fmla="*/ 89 w 93"/>
                <a:gd name="T87" fmla="*/ 99 h 124"/>
                <a:gd name="T88" fmla="*/ 90 w 93"/>
                <a:gd name="T89" fmla="*/ 96 h 124"/>
                <a:gd name="T90" fmla="*/ 89 w 93"/>
                <a:gd name="T91" fmla="*/ 95 h 124"/>
                <a:gd name="T92" fmla="*/ 91 w 93"/>
                <a:gd name="T93" fmla="*/ 86 h 124"/>
                <a:gd name="T94" fmla="*/ 90 w 93"/>
                <a:gd name="T95" fmla="*/ 83 h 124"/>
                <a:gd name="T96" fmla="*/ 77 w 93"/>
                <a:gd name="T97" fmla="*/ 76 h 124"/>
                <a:gd name="T98" fmla="*/ 71 w 93"/>
                <a:gd name="T99" fmla="*/ 73 h 124"/>
                <a:gd name="T100" fmla="*/ 65 w 93"/>
                <a:gd name="T101" fmla="*/ 71 h 124"/>
                <a:gd name="T102" fmla="*/ 60 w 93"/>
                <a:gd name="T103" fmla="*/ 69 h 124"/>
                <a:gd name="T104" fmla="*/ 50 w 93"/>
                <a:gd name="T105" fmla="*/ 65 h 124"/>
                <a:gd name="T106" fmla="*/ 49 w 93"/>
                <a:gd name="T107" fmla="*/ 63 h 124"/>
                <a:gd name="T108" fmla="*/ 43 w 93"/>
                <a:gd name="T109" fmla="*/ 56 h 124"/>
                <a:gd name="T110" fmla="*/ 43 w 93"/>
                <a:gd name="T111" fmla="*/ 55 h 124"/>
                <a:gd name="T112" fmla="*/ 39 w 93"/>
                <a:gd name="T113" fmla="*/ 45 h 124"/>
                <a:gd name="T114" fmla="*/ 38 w 93"/>
                <a:gd name="T115" fmla="*/ 41 h 124"/>
                <a:gd name="T116" fmla="*/ 29 w 93"/>
                <a:gd name="T117" fmla="*/ 30 h 124"/>
                <a:gd name="T118" fmla="*/ 24 w 93"/>
                <a:gd name="T119" fmla="*/ 22 h 124"/>
                <a:gd name="T120" fmla="*/ 17 w 93"/>
                <a:gd name="T121" fmla="*/ 11 h 124"/>
                <a:gd name="T122" fmla="*/ 13 w 93"/>
                <a:gd name="T123" fmla="*/ 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3" h="124">
                  <a:moveTo>
                    <a:pt x="6" y="0"/>
                  </a:moveTo>
                  <a:cubicBezTo>
                    <a:pt x="3" y="1"/>
                    <a:pt x="2" y="2"/>
                    <a:pt x="2" y="5"/>
                  </a:cubicBezTo>
                  <a:cubicBezTo>
                    <a:pt x="1" y="6"/>
                    <a:pt x="2" y="7"/>
                    <a:pt x="1" y="8"/>
                  </a:cubicBezTo>
                  <a:cubicBezTo>
                    <a:pt x="0" y="9"/>
                    <a:pt x="0" y="9"/>
                    <a:pt x="0" y="9"/>
                  </a:cubicBezTo>
                  <a:cubicBezTo>
                    <a:pt x="0" y="10"/>
                    <a:pt x="0" y="10"/>
                    <a:pt x="0" y="10"/>
                  </a:cubicBezTo>
                  <a:cubicBezTo>
                    <a:pt x="0" y="13"/>
                    <a:pt x="0" y="16"/>
                    <a:pt x="2" y="16"/>
                  </a:cubicBezTo>
                  <a:cubicBezTo>
                    <a:pt x="3" y="17"/>
                    <a:pt x="4" y="17"/>
                    <a:pt x="4" y="17"/>
                  </a:cubicBezTo>
                  <a:cubicBezTo>
                    <a:pt x="7" y="17"/>
                    <a:pt x="7" y="13"/>
                    <a:pt x="9" y="13"/>
                  </a:cubicBezTo>
                  <a:cubicBezTo>
                    <a:pt x="8" y="15"/>
                    <a:pt x="6" y="15"/>
                    <a:pt x="8" y="18"/>
                  </a:cubicBezTo>
                  <a:cubicBezTo>
                    <a:pt x="9" y="19"/>
                    <a:pt x="9" y="19"/>
                    <a:pt x="9" y="19"/>
                  </a:cubicBezTo>
                  <a:cubicBezTo>
                    <a:pt x="9" y="19"/>
                    <a:pt x="8" y="19"/>
                    <a:pt x="8" y="19"/>
                  </a:cubicBezTo>
                  <a:cubicBezTo>
                    <a:pt x="8" y="19"/>
                    <a:pt x="7" y="19"/>
                    <a:pt x="7" y="19"/>
                  </a:cubicBezTo>
                  <a:cubicBezTo>
                    <a:pt x="7" y="19"/>
                    <a:pt x="7" y="19"/>
                    <a:pt x="7" y="19"/>
                  </a:cubicBezTo>
                  <a:cubicBezTo>
                    <a:pt x="5" y="19"/>
                    <a:pt x="5" y="19"/>
                    <a:pt x="6" y="21"/>
                  </a:cubicBezTo>
                  <a:cubicBezTo>
                    <a:pt x="7" y="22"/>
                    <a:pt x="8" y="23"/>
                    <a:pt x="8" y="24"/>
                  </a:cubicBezTo>
                  <a:cubicBezTo>
                    <a:pt x="10" y="22"/>
                    <a:pt x="11" y="21"/>
                    <a:pt x="13" y="20"/>
                  </a:cubicBezTo>
                  <a:cubicBezTo>
                    <a:pt x="13" y="20"/>
                    <a:pt x="13" y="20"/>
                    <a:pt x="14" y="20"/>
                  </a:cubicBezTo>
                  <a:cubicBezTo>
                    <a:pt x="16" y="20"/>
                    <a:pt x="18" y="21"/>
                    <a:pt x="19" y="21"/>
                  </a:cubicBezTo>
                  <a:cubicBezTo>
                    <a:pt x="19" y="21"/>
                    <a:pt x="19" y="21"/>
                    <a:pt x="19" y="21"/>
                  </a:cubicBezTo>
                  <a:cubicBezTo>
                    <a:pt x="18" y="21"/>
                    <a:pt x="17" y="21"/>
                    <a:pt x="17" y="21"/>
                  </a:cubicBezTo>
                  <a:cubicBezTo>
                    <a:pt x="16" y="21"/>
                    <a:pt x="15" y="21"/>
                    <a:pt x="14" y="21"/>
                  </a:cubicBezTo>
                  <a:cubicBezTo>
                    <a:pt x="13" y="21"/>
                    <a:pt x="12" y="21"/>
                    <a:pt x="12" y="22"/>
                  </a:cubicBezTo>
                  <a:cubicBezTo>
                    <a:pt x="11" y="25"/>
                    <a:pt x="15" y="28"/>
                    <a:pt x="17" y="30"/>
                  </a:cubicBezTo>
                  <a:cubicBezTo>
                    <a:pt x="15" y="29"/>
                    <a:pt x="13" y="28"/>
                    <a:pt x="11" y="28"/>
                  </a:cubicBezTo>
                  <a:cubicBezTo>
                    <a:pt x="11" y="28"/>
                    <a:pt x="10" y="28"/>
                    <a:pt x="10" y="28"/>
                  </a:cubicBezTo>
                  <a:cubicBezTo>
                    <a:pt x="8" y="31"/>
                    <a:pt x="11" y="31"/>
                    <a:pt x="14" y="31"/>
                  </a:cubicBezTo>
                  <a:cubicBezTo>
                    <a:pt x="15" y="31"/>
                    <a:pt x="16" y="31"/>
                    <a:pt x="17" y="31"/>
                  </a:cubicBezTo>
                  <a:cubicBezTo>
                    <a:pt x="14" y="33"/>
                    <a:pt x="13" y="33"/>
                    <a:pt x="14" y="36"/>
                  </a:cubicBezTo>
                  <a:cubicBezTo>
                    <a:pt x="14" y="40"/>
                    <a:pt x="17" y="40"/>
                    <a:pt x="22" y="40"/>
                  </a:cubicBezTo>
                  <a:cubicBezTo>
                    <a:pt x="20" y="42"/>
                    <a:pt x="18" y="41"/>
                    <a:pt x="16" y="42"/>
                  </a:cubicBezTo>
                  <a:cubicBezTo>
                    <a:pt x="12" y="42"/>
                    <a:pt x="15" y="44"/>
                    <a:pt x="12" y="45"/>
                  </a:cubicBezTo>
                  <a:cubicBezTo>
                    <a:pt x="15" y="45"/>
                    <a:pt x="19" y="45"/>
                    <a:pt x="22" y="46"/>
                  </a:cubicBezTo>
                  <a:cubicBezTo>
                    <a:pt x="23" y="46"/>
                    <a:pt x="26" y="49"/>
                    <a:pt x="28" y="49"/>
                  </a:cubicBezTo>
                  <a:cubicBezTo>
                    <a:pt x="29" y="49"/>
                    <a:pt x="29" y="48"/>
                    <a:pt x="29" y="48"/>
                  </a:cubicBezTo>
                  <a:cubicBezTo>
                    <a:pt x="31" y="51"/>
                    <a:pt x="30" y="52"/>
                    <a:pt x="29" y="52"/>
                  </a:cubicBezTo>
                  <a:cubicBezTo>
                    <a:pt x="29" y="52"/>
                    <a:pt x="29" y="52"/>
                    <a:pt x="28" y="52"/>
                  </a:cubicBezTo>
                  <a:cubicBezTo>
                    <a:pt x="28" y="52"/>
                    <a:pt x="28" y="52"/>
                    <a:pt x="28" y="52"/>
                  </a:cubicBezTo>
                  <a:cubicBezTo>
                    <a:pt x="27" y="52"/>
                    <a:pt x="27" y="52"/>
                    <a:pt x="27" y="52"/>
                  </a:cubicBezTo>
                  <a:cubicBezTo>
                    <a:pt x="28" y="53"/>
                    <a:pt x="29" y="55"/>
                    <a:pt x="30" y="56"/>
                  </a:cubicBezTo>
                  <a:cubicBezTo>
                    <a:pt x="32" y="57"/>
                    <a:pt x="33" y="58"/>
                    <a:pt x="35" y="58"/>
                  </a:cubicBezTo>
                  <a:cubicBezTo>
                    <a:pt x="36" y="58"/>
                    <a:pt x="38" y="57"/>
                    <a:pt x="39" y="57"/>
                  </a:cubicBezTo>
                  <a:cubicBezTo>
                    <a:pt x="38" y="59"/>
                    <a:pt x="35" y="60"/>
                    <a:pt x="37" y="62"/>
                  </a:cubicBezTo>
                  <a:cubicBezTo>
                    <a:pt x="37" y="62"/>
                    <a:pt x="37" y="62"/>
                    <a:pt x="37" y="62"/>
                  </a:cubicBezTo>
                  <a:cubicBezTo>
                    <a:pt x="36" y="62"/>
                    <a:pt x="35" y="62"/>
                    <a:pt x="35" y="63"/>
                  </a:cubicBezTo>
                  <a:cubicBezTo>
                    <a:pt x="36" y="64"/>
                    <a:pt x="37" y="64"/>
                    <a:pt x="39" y="65"/>
                  </a:cubicBezTo>
                  <a:cubicBezTo>
                    <a:pt x="40" y="66"/>
                    <a:pt x="42" y="68"/>
                    <a:pt x="43" y="69"/>
                  </a:cubicBezTo>
                  <a:cubicBezTo>
                    <a:pt x="44" y="70"/>
                    <a:pt x="44" y="71"/>
                    <a:pt x="44" y="71"/>
                  </a:cubicBezTo>
                  <a:cubicBezTo>
                    <a:pt x="45" y="72"/>
                    <a:pt x="47" y="73"/>
                    <a:pt x="49" y="74"/>
                  </a:cubicBezTo>
                  <a:cubicBezTo>
                    <a:pt x="50" y="75"/>
                    <a:pt x="51" y="77"/>
                    <a:pt x="52" y="78"/>
                  </a:cubicBezTo>
                  <a:cubicBezTo>
                    <a:pt x="47" y="78"/>
                    <a:pt x="50" y="81"/>
                    <a:pt x="49" y="84"/>
                  </a:cubicBezTo>
                  <a:cubicBezTo>
                    <a:pt x="49" y="86"/>
                    <a:pt x="48" y="85"/>
                    <a:pt x="47" y="86"/>
                  </a:cubicBezTo>
                  <a:cubicBezTo>
                    <a:pt x="47" y="90"/>
                    <a:pt x="47" y="90"/>
                    <a:pt x="47" y="90"/>
                  </a:cubicBezTo>
                  <a:cubicBezTo>
                    <a:pt x="46" y="90"/>
                    <a:pt x="46" y="90"/>
                    <a:pt x="46" y="90"/>
                  </a:cubicBezTo>
                  <a:cubicBezTo>
                    <a:pt x="44" y="90"/>
                    <a:pt x="44" y="91"/>
                    <a:pt x="44" y="93"/>
                  </a:cubicBezTo>
                  <a:cubicBezTo>
                    <a:pt x="43" y="92"/>
                    <a:pt x="43" y="92"/>
                    <a:pt x="43" y="92"/>
                  </a:cubicBezTo>
                  <a:cubicBezTo>
                    <a:pt x="42" y="92"/>
                    <a:pt x="43" y="95"/>
                    <a:pt x="44" y="97"/>
                  </a:cubicBezTo>
                  <a:cubicBezTo>
                    <a:pt x="44" y="98"/>
                    <a:pt x="47" y="100"/>
                    <a:pt x="48" y="100"/>
                  </a:cubicBezTo>
                  <a:cubicBezTo>
                    <a:pt x="49" y="100"/>
                    <a:pt x="49" y="99"/>
                    <a:pt x="49" y="99"/>
                  </a:cubicBezTo>
                  <a:cubicBezTo>
                    <a:pt x="49" y="97"/>
                    <a:pt x="49" y="96"/>
                    <a:pt x="48" y="95"/>
                  </a:cubicBezTo>
                  <a:cubicBezTo>
                    <a:pt x="50" y="94"/>
                    <a:pt x="53" y="93"/>
                    <a:pt x="54" y="91"/>
                  </a:cubicBezTo>
                  <a:cubicBezTo>
                    <a:pt x="54" y="89"/>
                    <a:pt x="51" y="90"/>
                    <a:pt x="50" y="88"/>
                  </a:cubicBezTo>
                  <a:cubicBezTo>
                    <a:pt x="53" y="87"/>
                    <a:pt x="56" y="87"/>
                    <a:pt x="59" y="85"/>
                  </a:cubicBezTo>
                  <a:cubicBezTo>
                    <a:pt x="62" y="83"/>
                    <a:pt x="67" y="83"/>
                    <a:pt x="70" y="81"/>
                  </a:cubicBezTo>
                  <a:cubicBezTo>
                    <a:pt x="70" y="82"/>
                    <a:pt x="67" y="84"/>
                    <a:pt x="67" y="85"/>
                  </a:cubicBezTo>
                  <a:cubicBezTo>
                    <a:pt x="67" y="86"/>
                    <a:pt x="69" y="87"/>
                    <a:pt x="70" y="88"/>
                  </a:cubicBezTo>
                  <a:cubicBezTo>
                    <a:pt x="72" y="90"/>
                    <a:pt x="73" y="92"/>
                    <a:pt x="74" y="95"/>
                  </a:cubicBezTo>
                  <a:cubicBezTo>
                    <a:pt x="74" y="98"/>
                    <a:pt x="74" y="100"/>
                    <a:pt x="74" y="103"/>
                  </a:cubicBezTo>
                  <a:cubicBezTo>
                    <a:pt x="74" y="106"/>
                    <a:pt x="75" y="106"/>
                    <a:pt x="76" y="106"/>
                  </a:cubicBezTo>
                  <a:cubicBezTo>
                    <a:pt x="76" y="106"/>
                    <a:pt x="76" y="106"/>
                    <a:pt x="77" y="106"/>
                  </a:cubicBezTo>
                  <a:cubicBezTo>
                    <a:pt x="77" y="106"/>
                    <a:pt x="77" y="106"/>
                    <a:pt x="77" y="106"/>
                  </a:cubicBezTo>
                  <a:cubicBezTo>
                    <a:pt x="78" y="106"/>
                    <a:pt x="79" y="106"/>
                    <a:pt x="80" y="107"/>
                  </a:cubicBezTo>
                  <a:cubicBezTo>
                    <a:pt x="79" y="107"/>
                    <a:pt x="78" y="107"/>
                    <a:pt x="77" y="107"/>
                  </a:cubicBezTo>
                  <a:cubicBezTo>
                    <a:pt x="77" y="107"/>
                    <a:pt x="77" y="107"/>
                    <a:pt x="77" y="107"/>
                  </a:cubicBezTo>
                  <a:cubicBezTo>
                    <a:pt x="76" y="107"/>
                    <a:pt x="76" y="107"/>
                    <a:pt x="76" y="107"/>
                  </a:cubicBezTo>
                  <a:cubicBezTo>
                    <a:pt x="74" y="107"/>
                    <a:pt x="71" y="107"/>
                    <a:pt x="70" y="110"/>
                  </a:cubicBezTo>
                  <a:cubicBezTo>
                    <a:pt x="69" y="112"/>
                    <a:pt x="71" y="113"/>
                    <a:pt x="73" y="113"/>
                  </a:cubicBezTo>
                  <a:cubicBezTo>
                    <a:pt x="73" y="113"/>
                    <a:pt x="74" y="113"/>
                    <a:pt x="75" y="113"/>
                  </a:cubicBezTo>
                  <a:cubicBezTo>
                    <a:pt x="73" y="114"/>
                    <a:pt x="71" y="114"/>
                    <a:pt x="71" y="116"/>
                  </a:cubicBezTo>
                  <a:cubicBezTo>
                    <a:pt x="71" y="117"/>
                    <a:pt x="73" y="118"/>
                    <a:pt x="73" y="119"/>
                  </a:cubicBezTo>
                  <a:cubicBezTo>
                    <a:pt x="74" y="121"/>
                    <a:pt x="73" y="124"/>
                    <a:pt x="76" y="124"/>
                  </a:cubicBezTo>
                  <a:cubicBezTo>
                    <a:pt x="77" y="124"/>
                    <a:pt x="78" y="124"/>
                    <a:pt x="78" y="124"/>
                  </a:cubicBezTo>
                  <a:cubicBezTo>
                    <a:pt x="82" y="123"/>
                    <a:pt x="86" y="120"/>
                    <a:pt x="88" y="117"/>
                  </a:cubicBezTo>
                  <a:cubicBezTo>
                    <a:pt x="89" y="116"/>
                    <a:pt x="89" y="116"/>
                    <a:pt x="89" y="116"/>
                  </a:cubicBezTo>
                  <a:cubicBezTo>
                    <a:pt x="89" y="116"/>
                    <a:pt x="89" y="116"/>
                    <a:pt x="89" y="116"/>
                  </a:cubicBezTo>
                  <a:cubicBezTo>
                    <a:pt x="89" y="115"/>
                    <a:pt x="89" y="115"/>
                    <a:pt x="89" y="115"/>
                  </a:cubicBezTo>
                  <a:cubicBezTo>
                    <a:pt x="90" y="112"/>
                    <a:pt x="92" y="107"/>
                    <a:pt x="93" y="107"/>
                  </a:cubicBezTo>
                  <a:cubicBezTo>
                    <a:pt x="93" y="106"/>
                    <a:pt x="92" y="104"/>
                    <a:pt x="91" y="103"/>
                  </a:cubicBezTo>
                  <a:cubicBezTo>
                    <a:pt x="90" y="101"/>
                    <a:pt x="90" y="100"/>
                    <a:pt x="89" y="99"/>
                  </a:cubicBezTo>
                  <a:cubicBezTo>
                    <a:pt x="89" y="98"/>
                    <a:pt x="89" y="98"/>
                    <a:pt x="89" y="98"/>
                  </a:cubicBezTo>
                  <a:cubicBezTo>
                    <a:pt x="89" y="97"/>
                    <a:pt x="89" y="96"/>
                    <a:pt x="90" y="96"/>
                  </a:cubicBezTo>
                  <a:cubicBezTo>
                    <a:pt x="90" y="96"/>
                    <a:pt x="90" y="96"/>
                    <a:pt x="90" y="96"/>
                  </a:cubicBezTo>
                  <a:cubicBezTo>
                    <a:pt x="89" y="95"/>
                    <a:pt x="89" y="95"/>
                    <a:pt x="89" y="95"/>
                  </a:cubicBezTo>
                  <a:cubicBezTo>
                    <a:pt x="89" y="94"/>
                    <a:pt x="89" y="94"/>
                    <a:pt x="89" y="94"/>
                  </a:cubicBezTo>
                  <a:cubicBezTo>
                    <a:pt x="89" y="91"/>
                    <a:pt x="90" y="89"/>
                    <a:pt x="91" y="86"/>
                  </a:cubicBezTo>
                  <a:cubicBezTo>
                    <a:pt x="91" y="86"/>
                    <a:pt x="92" y="85"/>
                    <a:pt x="90" y="84"/>
                  </a:cubicBezTo>
                  <a:cubicBezTo>
                    <a:pt x="90" y="83"/>
                    <a:pt x="90" y="83"/>
                    <a:pt x="90" y="83"/>
                  </a:cubicBezTo>
                  <a:cubicBezTo>
                    <a:pt x="89" y="81"/>
                    <a:pt x="81" y="77"/>
                    <a:pt x="78" y="76"/>
                  </a:cubicBezTo>
                  <a:cubicBezTo>
                    <a:pt x="77" y="76"/>
                    <a:pt x="77" y="76"/>
                    <a:pt x="77" y="76"/>
                  </a:cubicBezTo>
                  <a:cubicBezTo>
                    <a:pt x="77" y="75"/>
                    <a:pt x="76" y="75"/>
                    <a:pt x="76" y="75"/>
                  </a:cubicBezTo>
                  <a:cubicBezTo>
                    <a:pt x="74" y="74"/>
                    <a:pt x="72" y="74"/>
                    <a:pt x="71" y="73"/>
                  </a:cubicBezTo>
                  <a:cubicBezTo>
                    <a:pt x="70" y="73"/>
                    <a:pt x="70" y="73"/>
                    <a:pt x="70" y="73"/>
                  </a:cubicBezTo>
                  <a:cubicBezTo>
                    <a:pt x="68" y="72"/>
                    <a:pt x="67" y="72"/>
                    <a:pt x="65" y="71"/>
                  </a:cubicBezTo>
                  <a:cubicBezTo>
                    <a:pt x="63" y="70"/>
                    <a:pt x="62" y="69"/>
                    <a:pt x="60" y="69"/>
                  </a:cubicBezTo>
                  <a:cubicBezTo>
                    <a:pt x="60" y="69"/>
                    <a:pt x="60" y="69"/>
                    <a:pt x="60" y="69"/>
                  </a:cubicBezTo>
                  <a:cubicBezTo>
                    <a:pt x="58" y="68"/>
                    <a:pt x="57" y="68"/>
                    <a:pt x="56" y="67"/>
                  </a:cubicBezTo>
                  <a:cubicBezTo>
                    <a:pt x="53" y="67"/>
                    <a:pt x="52" y="67"/>
                    <a:pt x="50" y="65"/>
                  </a:cubicBezTo>
                  <a:cubicBezTo>
                    <a:pt x="50" y="64"/>
                    <a:pt x="50" y="64"/>
                    <a:pt x="50" y="64"/>
                  </a:cubicBezTo>
                  <a:cubicBezTo>
                    <a:pt x="49" y="63"/>
                    <a:pt x="49" y="63"/>
                    <a:pt x="49" y="63"/>
                  </a:cubicBezTo>
                  <a:cubicBezTo>
                    <a:pt x="49" y="63"/>
                    <a:pt x="48" y="62"/>
                    <a:pt x="47" y="61"/>
                  </a:cubicBezTo>
                  <a:cubicBezTo>
                    <a:pt x="46" y="60"/>
                    <a:pt x="45" y="58"/>
                    <a:pt x="43" y="56"/>
                  </a:cubicBezTo>
                  <a:cubicBezTo>
                    <a:pt x="43" y="56"/>
                    <a:pt x="43" y="56"/>
                    <a:pt x="43" y="56"/>
                  </a:cubicBezTo>
                  <a:cubicBezTo>
                    <a:pt x="43" y="55"/>
                    <a:pt x="43" y="55"/>
                    <a:pt x="43" y="55"/>
                  </a:cubicBezTo>
                  <a:cubicBezTo>
                    <a:pt x="42" y="54"/>
                    <a:pt x="41" y="53"/>
                    <a:pt x="40" y="52"/>
                  </a:cubicBezTo>
                  <a:cubicBezTo>
                    <a:pt x="37" y="48"/>
                    <a:pt x="38" y="46"/>
                    <a:pt x="39" y="45"/>
                  </a:cubicBezTo>
                  <a:cubicBezTo>
                    <a:pt x="40" y="44"/>
                    <a:pt x="40" y="44"/>
                    <a:pt x="40" y="44"/>
                  </a:cubicBezTo>
                  <a:cubicBezTo>
                    <a:pt x="39" y="43"/>
                    <a:pt x="38" y="42"/>
                    <a:pt x="38" y="41"/>
                  </a:cubicBezTo>
                  <a:cubicBezTo>
                    <a:pt x="35" y="37"/>
                    <a:pt x="32" y="34"/>
                    <a:pt x="30" y="30"/>
                  </a:cubicBezTo>
                  <a:cubicBezTo>
                    <a:pt x="29" y="30"/>
                    <a:pt x="29" y="30"/>
                    <a:pt x="29" y="30"/>
                  </a:cubicBezTo>
                  <a:cubicBezTo>
                    <a:pt x="28" y="27"/>
                    <a:pt x="28" y="27"/>
                    <a:pt x="28" y="27"/>
                  </a:cubicBezTo>
                  <a:cubicBezTo>
                    <a:pt x="26" y="25"/>
                    <a:pt x="25" y="24"/>
                    <a:pt x="24" y="22"/>
                  </a:cubicBezTo>
                  <a:cubicBezTo>
                    <a:pt x="22" y="20"/>
                    <a:pt x="21" y="18"/>
                    <a:pt x="19" y="16"/>
                  </a:cubicBezTo>
                  <a:cubicBezTo>
                    <a:pt x="19" y="14"/>
                    <a:pt x="18" y="12"/>
                    <a:pt x="17" y="11"/>
                  </a:cubicBezTo>
                  <a:cubicBezTo>
                    <a:pt x="16" y="10"/>
                    <a:pt x="16" y="10"/>
                    <a:pt x="16" y="10"/>
                  </a:cubicBezTo>
                  <a:cubicBezTo>
                    <a:pt x="15" y="8"/>
                    <a:pt x="14" y="6"/>
                    <a:pt x="13" y="5"/>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4" name="Freeform 347">
              <a:extLst>
                <a:ext uri="{FF2B5EF4-FFF2-40B4-BE49-F238E27FC236}">
                  <a16:creationId xmlns:a16="http://schemas.microsoft.com/office/drawing/2014/main" id="{851E1B06-697E-4D90-9F4F-697AF0E1B215}"/>
                </a:ext>
              </a:extLst>
            </p:cNvPr>
            <p:cNvSpPr>
              <a:spLocks/>
            </p:cNvSpPr>
            <p:nvPr/>
          </p:nvSpPr>
          <p:spPr bwMode="auto">
            <a:xfrm>
              <a:off x="8435966" y="8166922"/>
              <a:ext cx="274638" cy="233363"/>
            </a:xfrm>
            <a:custGeom>
              <a:avLst/>
              <a:gdLst>
                <a:gd name="T0" fmla="*/ 6 w 73"/>
                <a:gd name="T1" fmla="*/ 1 h 62"/>
                <a:gd name="T2" fmla="*/ 4 w 73"/>
                <a:gd name="T3" fmla="*/ 1 h 62"/>
                <a:gd name="T4" fmla="*/ 2 w 73"/>
                <a:gd name="T5" fmla="*/ 2 h 62"/>
                <a:gd name="T6" fmla="*/ 6 w 73"/>
                <a:gd name="T7" fmla="*/ 6 h 62"/>
                <a:gd name="T8" fmla="*/ 3 w 73"/>
                <a:gd name="T9" fmla="*/ 13 h 62"/>
                <a:gd name="T10" fmla="*/ 11 w 73"/>
                <a:gd name="T11" fmla="*/ 28 h 62"/>
                <a:gd name="T12" fmla="*/ 18 w 73"/>
                <a:gd name="T13" fmla="*/ 34 h 62"/>
                <a:gd name="T14" fmla="*/ 19 w 73"/>
                <a:gd name="T15" fmla="*/ 35 h 62"/>
                <a:gd name="T16" fmla="*/ 25 w 73"/>
                <a:gd name="T17" fmla="*/ 29 h 62"/>
                <a:gd name="T18" fmla="*/ 15 w 73"/>
                <a:gd name="T19" fmla="*/ 18 h 62"/>
                <a:gd name="T20" fmla="*/ 27 w 73"/>
                <a:gd name="T21" fmla="*/ 25 h 62"/>
                <a:gd name="T22" fmla="*/ 36 w 73"/>
                <a:gd name="T23" fmla="*/ 36 h 62"/>
                <a:gd name="T24" fmla="*/ 40 w 73"/>
                <a:gd name="T25" fmla="*/ 37 h 62"/>
                <a:gd name="T26" fmla="*/ 51 w 73"/>
                <a:gd name="T27" fmla="*/ 45 h 62"/>
                <a:gd name="T28" fmla="*/ 55 w 73"/>
                <a:gd name="T29" fmla="*/ 60 h 62"/>
                <a:gd name="T30" fmla="*/ 57 w 73"/>
                <a:gd name="T31" fmla="*/ 55 h 62"/>
                <a:gd name="T32" fmla="*/ 65 w 73"/>
                <a:gd name="T33" fmla="*/ 59 h 62"/>
                <a:gd name="T34" fmla="*/ 66 w 73"/>
                <a:gd name="T35" fmla="*/ 60 h 62"/>
                <a:gd name="T36" fmla="*/ 68 w 73"/>
                <a:gd name="T37" fmla="*/ 58 h 62"/>
                <a:gd name="T38" fmla="*/ 70 w 73"/>
                <a:gd name="T39" fmla="*/ 50 h 62"/>
                <a:gd name="T40" fmla="*/ 67 w 73"/>
                <a:gd name="T41" fmla="*/ 48 h 62"/>
                <a:gd name="T42" fmla="*/ 67 w 73"/>
                <a:gd name="T43" fmla="*/ 46 h 62"/>
                <a:gd name="T44" fmla="*/ 67 w 73"/>
                <a:gd name="T45" fmla="*/ 44 h 62"/>
                <a:gd name="T46" fmla="*/ 70 w 73"/>
                <a:gd name="T47" fmla="*/ 32 h 62"/>
                <a:gd name="T48" fmla="*/ 71 w 73"/>
                <a:gd name="T49" fmla="*/ 31 h 62"/>
                <a:gd name="T50" fmla="*/ 73 w 73"/>
                <a:gd name="T51" fmla="*/ 31 h 62"/>
                <a:gd name="T52" fmla="*/ 54 w 73"/>
                <a:gd name="T53" fmla="*/ 6 h 62"/>
                <a:gd name="T54" fmla="*/ 49 w 73"/>
                <a:gd name="T55" fmla="*/ 9 h 62"/>
                <a:gd name="T56" fmla="*/ 48 w 73"/>
                <a:gd name="T57" fmla="*/ 9 h 62"/>
                <a:gd name="T58" fmla="*/ 45 w 73"/>
                <a:gd name="T59" fmla="*/ 9 h 62"/>
                <a:gd name="T60" fmla="*/ 36 w 73"/>
                <a:gd name="T61" fmla="*/ 6 h 62"/>
                <a:gd name="T62" fmla="*/ 32 w 73"/>
                <a:gd name="T63" fmla="*/ 4 h 62"/>
                <a:gd name="T64" fmla="*/ 31 w 73"/>
                <a:gd name="T65" fmla="*/ 3 h 62"/>
                <a:gd name="T66" fmla="*/ 31 w 73"/>
                <a:gd name="T67" fmla="*/ 3 h 62"/>
                <a:gd name="T68" fmla="*/ 25 w 73"/>
                <a:gd name="T69" fmla="*/ 5 h 62"/>
                <a:gd name="T70" fmla="*/ 23 w 73"/>
                <a:gd name="T71" fmla="*/ 5 h 62"/>
                <a:gd name="T72" fmla="*/ 10 w 73"/>
                <a:gd name="T7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62">
                  <a:moveTo>
                    <a:pt x="8" y="0"/>
                  </a:moveTo>
                  <a:cubicBezTo>
                    <a:pt x="8" y="0"/>
                    <a:pt x="7" y="0"/>
                    <a:pt x="6" y="1"/>
                  </a:cubicBezTo>
                  <a:cubicBezTo>
                    <a:pt x="5" y="2"/>
                    <a:pt x="5" y="2"/>
                    <a:pt x="5" y="2"/>
                  </a:cubicBezTo>
                  <a:cubicBezTo>
                    <a:pt x="4" y="1"/>
                    <a:pt x="4" y="1"/>
                    <a:pt x="4" y="1"/>
                  </a:cubicBezTo>
                  <a:cubicBezTo>
                    <a:pt x="3" y="3"/>
                    <a:pt x="3" y="3"/>
                    <a:pt x="3" y="3"/>
                  </a:cubicBezTo>
                  <a:cubicBezTo>
                    <a:pt x="3" y="3"/>
                    <a:pt x="2" y="2"/>
                    <a:pt x="2" y="2"/>
                  </a:cubicBezTo>
                  <a:cubicBezTo>
                    <a:pt x="1" y="2"/>
                    <a:pt x="0" y="3"/>
                    <a:pt x="0" y="3"/>
                  </a:cubicBezTo>
                  <a:cubicBezTo>
                    <a:pt x="1" y="4"/>
                    <a:pt x="5" y="5"/>
                    <a:pt x="6" y="6"/>
                  </a:cubicBezTo>
                  <a:cubicBezTo>
                    <a:pt x="6" y="7"/>
                    <a:pt x="7" y="10"/>
                    <a:pt x="6" y="10"/>
                  </a:cubicBezTo>
                  <a:cubicBezTo>
                    <a:pt x="6" y="10"/>
                    <a:pt x="3" y="12"/>
                    <a:pt x="3" y="13"/>
                  </a:cubicBezTo>
                  <a:cubicBezTo>
                    <a:pt x="4" y="16"/>
                    <a:pt x="4" y="20"/>
                    <a:pt x="5" y="24"/>
                  </a:cubicBezTo>
                  <a:cubicBezTo>
                    <a:pt x="6" y="26"/>
                    <a:pt x="9" y="27"/>
                    <a:pt x="11" y="28"/>
                  </a:cubicBezTo>
                  <a:cubicBezTo>
                    <a:pt x="14" y="29"/>
                    <a:pt x="15" y="31"/>
                    <a:pt x="18" y="33"/>
                  </a:cubicBezTo>
                  <a:cubicBezTo>
                    <a:pt x="18" y="34"/>
                    <a:pt x="18" y="34"/>
                    <a:pt x="18" y="34"/>
                  </a:cubicBezTo>
                  <a:cubicBezTo>
                    <a:pt x="19" y="34"/>
                    <a:pt x="18" y="35"/>
                    <a:pt x="19" y="35"/>
                  </a:cubicBezTo>
                  <a:cubicBezTo>
                    <a:pt x="19" y="35"/>
                    <a:pt x="19" y="35"/>
                    <a:pt x="19" y="35"/>
                  </a:cubicBezTo>
                  <a:cubicBezTo>
                    <a:pt x="19" y="35"/>
                    <a:pt x="21" y="32"/>
                    <a:pt x="22" y="32"/>
                  </a:cubicBezTo>
                  <a:cubicBezTo>
                    <a:pt x="22" y="31"/>
                    <a:pt x="23" y="29"/>
                    <a:pt x="25" y="29"/>
                  </a:cubicBezTo>
                  <a:cubicBezTo>
                    <a:pt x="23" y="27"/>
                    <a:pt x="20" y="26"/>
                    <a:pt x="18" y="24"/>
                  </a:cubicBezTo>
                  <a:cubicBezTo>
                    <a:pt x="17" y="23"/>
                    <a:pt x="16" y="20"/>
                    <a:pt x="15" y="18"/>
                  </a:cubicBezTo>
                  <a:cubicBezTo>
                    <a:pt x="16" y="20"/>
                    <a:pt x="17" y="20"/>
                    <a:pt x="20" y="21"/>
                  </a:cubicBezTo>
                  <a:cubicBezTo>
                    <a:pt x="22" y="22"/>
                    <a:pt x="25" y="24"/>
                    <a:pt x="27" y="25"/>
                  </a:cubicBezTo>
                  <a:cubicBezTo>
                    <a:pt x="29" y="26"/>
                    <a:pt x="28" y="30"/>
                    <a:pt x="29" y="32"/>
                  </a:cubicBezTo>
                  <a:cubicBezTo>
                    <a:pt x="30" y="34"/>
                    <a:pt x="33" y="35"/>
                    <a:pt x="36" y="36"/>
                  </a:cubicBezTo>
                  <a:cubicBezTo>
                    <a:pt x="37" y="36"/>
                    <a:pt x="39" y="37"/>
                    <a:pt x="40" y="37"/>
                  </a:cubicBezTo>
                  <a:cubicBezTo>
                    <a:pt x="40" y="37"/>
                    <a:pt x="40" y="37"/>
                    <a:pt x="40" y="37"/>
                  </a:cubicBezTo>
                  <a:cubicBezTo>
                    <a:pt x="42" y="39"/>
                    <a:pt x="45" y="40"/>
                    <a:pt x="48" y="42"/>
                  </a:cubicBezTo>
                  <a:cubicBezTo>
                    <a:pt x="49" y="43"/>
                    <a:pt x="50" y="44"/>
                    <a:pt x="51" y="45"/>
                  </a:cubicBezTo>
                  <a:cubicBezTo>
                    <a:pt x="53" y="46"/>
                    <a:pt x="53" y="46"/>
                    <a:pt x="53" y="48"/>
                  </a:cubicBezTo>
                  <a:cubicBezTo>
                    <a:pt x="54" y="54"/>
                    <a:pt x="48" y="56"/>
                    <a:pt x="55" y="60"/>
                  </a:cubicBezTo>
                  <a:cubicBezTo>
                    <a:pt x="56" y="61"/>
                    <a:pt x="60" y="62"/>
                    <a:pt x="61" y="62"/>
                  </a:cubicBezTo>
                  <a:cubicBezTo>
                    <a:pt x="60" y="60"/>
                    <a:pt x="59" y="58"/>
                    <a:pt x="57" y="55"/>
                  </a:cubicBezTo>
                  <a:cubicBezTo>
                    <a:pt x="58" y="55"/>
                    <a:pt x="59" y="55"/>
                    <a:pt x="60" y="55"/>
                  </a:cubicBezTo>
                  <a:cubicBezTo>
                    <a:pt x="62" y="55"/>
                    <a:pt x="65" y="56"/>
                    <a:pt x="65" y="59"/>
                  </a:cubicBezTo>
                  <a:cubicBezTo>
                    <a:pt x="65" y="60"/>
                    <a:pt x="65" y="61"/>
                    <a:pt x="65" y="61"/>
                  </a:cubicBezTo>
                  <a:cubicBezTo>
                    <a:pt x="65" y="61"/>
                    <a:pt x="65" y="60"/>
                    <a:pt x="66" y="60"/>
                  </a:cubicBezTo>
                  <a:cubicBezTo>
                    <a:pt x="66" y="59"/>
                    <a:pt x="66" y="59"/>
                    <a:pt x="66" y="59"/>
                  </a:cubicBezTo>
                  <a:cubicBezTo>
                    <a:pt x="67" y="59"/>
                    <a:pt x="68" y="58"/>
                    <a:pt x="68" y="58"/>
                  </a:cubicBezTo>
                  <a:cubicBezTo>
                    <a:pt x="67" y="57"/>
                    <a:pt x="67" y="55"/>
                    <a:pt x="67" y="54"/>
                  </a:cubicBezTo>
                  <a:cubicBezTo>
                    <a:pt x="67" y="52"/>
                    <a:pt x="68" y="51"/>
                    <a:pt x="70" y="50"/>
                  </a:cubicBezTo>
                  <a:cubicBezTo>
                    <a:pt x="69" y="49"/>
                    <a:pt x="69" y="49"/>
                    <a:pt x="69" y="49"/>
                  </a:cubicBezTo>
                  <a:cubicBezTo>
                    <a:pt x="67" y="48"/>
                    <a:pt x="67" y="48"/>
                    <a:pt x="67" y="48"/>
                  </a:cubicBezTo>
                  <a:cubicBezTo>
                    <a:pt x="67" y="46"/>
                    <a:pt x="67" y="46"/>
                    <a:pt x="67" y="46"/>
                  </a:cubicBezTo>
                  <a:cubicBezTo>
                    <a:pt x="67" y="46"/>
                    <a:pt x="67" y="46"/>
                    <a:pt x="67" y="46"/>
                  </a:cubicBezTo>
                  <a:cubicBezTo>
                    <a:pt x="67" y="46"/>
                    <a:pt x="67" y="45"/>
                    <a:pt x="67" y="44"/>
                  </a:cubicBezTo>
                  <a:cubicBezTo>
                    <a:pt x="67" y="44"/>
                    <a:pt x="67" y="44"/>
                    <a:pt x="67" y="44"/>
                  </a:cubicBezTo>
                  <a:cubicBezTo>
                    <a:pt x="67" y="42"/>
                    <a:pt x="67" y="39"/>
                    <a:pt x="67" y="37"/>
                  </a:cubicBezTo>
                  <a:cubicBezTo>
                    <a:pt x="68" y="34"/>
                    <a:pt x="68" y="33"/>
                    <a:pt x="70" y="32"/>
                  </a:cubicBezTo>
                  <a:cubicBezTo>
                    <a:pt x="70" y="31"/>
                    <a:pt x="70" y="31"/>
                    <a:pt x="70" y="31"/>
                  </a:cubicBezTo>
                  <a:cubicBezTo>
                    <a:pt x="71" y="31"/>
                    <a:pt x="71" y="31"/>
                    <a:pt x="71" y="31"/>
                  </a:cubicBezTo>
                  <a:cubicBezTo>
                    <a:pt x="71" y="31"/>
                    <a:pt x="72" y="31"/>
                    <a:pt x="72" y="31"/>
                  </a:cubicBezTo>
                  <a:cubicBezTo>
                    <a:pt x="72" y="31"/>
                    <a:pt x="73" y="31"/>
                    <a:pt x="73" y="31"/>
                  </a:cubicBezTo>
                  <a:cubicBezTo>
                    <a:pt x="69" y="28"/>
                    <a:pt x="66" y="25"/>
                    <a:pt x="63" y="21"/>
                  </a:cubicBezTo>
                  <a:cubicBezTo>
                    <a:pt x="59" y="16"/>
                    <a:pt x="57" y="11"/>
                    <a:pt x="54" y="6"/>
                  </a:cubicBezTo>
                  <a:cubicBezTo>
                    <a:pt x="53" y="7"/>
                    <a:pt x="52" y="8"/>
                    <a:pt x="52" y="8"/>
                  </a:cubicBezTo>
                  <a:cubicBezTo>
                    <a:pt x="51" y="9"/>
                    <a:pt x="50" y="9"/>
                    <a:pt x="49" y="9"/>
                  </a:cubicBezTo>
                  <a:cubicBezTo>
                    <a:pt x="49" y="9"/>
                    <a:pt x="49" y="9"/>
                    <a:pt x="49" y="9"/>
                  </a:cubicBezTo>
                  <a:cubicBezTo>
                    <a:pt x="48" y="9"/>
                    <a:pt x="48" y="9"/>
                    <a:pt x="48" y="9"/>
                  </a:cubicBezTo>
                  <a:cubicBezTo>
                    <a:pt x="47" y="9"/>
                    <a:pt x="47" y="9"/>
                    <a:pt x="47" y="9"/>
                  </a:cubicBezTo>
                  <a:cubicBezTo>
                    <a:pt x="45" y="9"/>
                    <a:pt x="45" y="9"/>
                    <a:pt x="45" y="9"/>
                  </a:cubicBezTo>
                  <a:cubicBezTo>
                    <a:pt x="42" y="9"/>
                    <a:pt x="40" y="9"/>
                    <a:pt x="37" y="7"/>
                  </a:cubicBezTo>
                  <a:cubicBezTo>
                    <a:pt x="37" y="7"/>
                    <a:pt x="37" y="7"/>
                    <a:pt x="36" y="6"/>
                  </a:cubicBezTo>
                  <a:cubicBezTo>
                    <a:pt x="36" y="6"/>
                    <a:pt x="36" y="6"/>
                    <a:pt x="36" y="6"/>
                  </a:cubicBezTo>
                  <a:cubicBezTo>
                    <a:pt x="34" y="5"/>
                    <a:pt x="33" y="4"/>
                    <a:pt x="32" y="4"/>
                  </a:cubicBezTo>
                  <a:cubicBezTo>
                    <a:pt x="32" y="3"/>
                    <a:pt x="32" y="3"/>
                    <a:pt x="32" y="3"/>
                  </a:cubicBezTo>
                  <a:cubicBezTo>
                    <a:pt x="31" y="3"/>
                    <a:pt x="31" y="3"/>
                    <a:pt x="31" y="3"/>
                  </a:cubicBezTo>
                  <a:cubicBezTo>
                    <a:pt x="31" y="3"/>
                    <a:pt x="31" y="3"/>
                    <a:pt x="31" y="3"/>
                  </a:cubicBezTo>
                  <a:cubicBezTo>
                    <a:pt x="31" y="3"/>
                    <a:pt x="31" y="3"/>
                    <a:pt x="31" y="3"/>
                  </a:cubicBezTo>
                  <a:cubicBezTo>
                    <a:pt x="31" y="3"/>
                    <a:pt x="29" y="4"/>
                    <a:pt x="29" y="4"/>
                  </a:cubicBezTo>
                  <a:cubicBezTo>
                    <a:pt x="27" y="4"/>
                    <a:pt x="26" y="5"/>
                    <a:pt x="25" y="5"/>
                  </a:cubicBezTo>
                  <a:cubicBezTo>
                    <a:pt x="25" y="5"/>
                    <a:pt x="25" y="5"/>
                    <a:pt x="24" y="5"/>
                  </a:cubicBezTo>
                  <a:cubicBezTo>
                    <a:pt x="24" y="5"/>
                    <a:pt x="24" y="5"/>
                    <a:pt x="23" y="5"/>
                  </a:cubicBezTo>
                  <a:cubicBezTo>
                    <a:pt x="20" y="4"/>
                    <a:pt x="17" y="2"/>
                    <a:pt x="13" y="1"/>
                  </a:cubicBezTo>
                  <a:cubicBezTo>
                    <a:pt x="12" y="1"/>
                    <a:pt x="11" y="0"/>
                    <a:pt x="10"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5" name="Rectangle 348">
              <a:extLst>
                <a:ext uri="{FF2B5EF4-FFF2-40B4-BE49-F238E27FC236}">
                  <a16:creationId xmlns:a16="http://schemas.microsoft.com/office/drawing/2014/main" id="{9B59EFBC-6DBC-44E2-B7BB-17348CF5BA29}"/>
                </a:ext>
              </a:extLst>
            </p:cNvPr>
            <p:cNvSpPr>
              <a:spLocks noChangeArrowheads="1"/>
            </p:cNvSpPr>
            <p:nvPr/>
          </p:nvSpPr>
          <p:spPr bwMode="auto">
            <a:xfrm>
              <a:off x="8308966" y="7998647"/>
              <a:ext cx="3175"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6" name="Freeform 349">
              <a:extLst>
                <a:ext uri="{FF2B5EF4-FFF2-40B4-BE49-F238E27FC236}">
                  <a16:creationId xmlns:a16="http://schemas.microsoft.com/office/drawing/2014/main" id="{036A0A31-9B61-443E-945D-6D47B0335ED5}"/>
                </a:ext>
              </a:extLst>
            </p:cNvPr>
            <p:cNvSpPr>
              <a:spLocks/>
            </p:cNvSpPr>
            <p:nvPr/>
          </p:nvSpPr>
          <p:spPr bwMode="auto">
            <a:xfrm>
              <a:off x="8308966" y="7998647"/>
              <a:ext cx="3175" cy="0"/>
            </a:xfrm>
            <a:custGeom>
              <a:avLst/>
              <a:gdLst>
                <a:gd name="T0" fmla="*/ 2 w 2"/>
                <a:gd name="T1" fmla="*/ 0 w 2"/>
                <a:gd name="T2" fmla="*/ 0 w 2"/>
                <a:gd name="T3" fmla="*/ 2 w 2"/>
              </a:gdLst>
              <a:ahLst/>
              <a:cxnLst>
                <a:cxn ang="0">
                  <a:pos x="T0" y="0"/>
                </a:cxn>
                <a:cxn ang="0">
                  <a:pos x="T1" y="0"/>
                </a:cxn>
                <a:cxn ang="0">
                  <a:pos x="T2" y="0"/>
                </a:cxn>
                <a:cxn ang="0">
                  <a:pos x="T3" y="0"/>
                </a:cxn>
              </a:cxnLst>
              <a:rect l="0" t="0" r="r" b="b"/>
              <a:pathLst>
                <a:path w="2">
                  <a:moveTo>
                    <a:pt x="2" y="0"/>
                  </a:moveTo>
                  <a:lnTo>
                    <a:pt x="0" y="0"/>
                  </a:lnTo>
                  <a:lnTo>
                    <a:pt x="0"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7" name="Freeform 350">
              <a:extLst>
                <a:ext uri="{FF2B5EF4-FFF2-40B4-BE49-F238E27FC236}">
                  <a16:creationId xmlns:a16="http://schemas.microsoft.com/office/drawing/2014/main" id="{95045055-E0EB-4E85-A934-5E4F07BE3446}"/>
                </a:ext>
              </a:extLst>
            </p:cNvPr>
            <p:cNvSpPr>
              <a:spLocks/>
            </p:cNvSpPr>
            <p:nvPr/>
          </p:nvSpPr>
          <p:spPr bwMode="auto">
            <a:xfrm>
              <a:off x="8278804" y="7836722"/>
              <a:ext cx="398463" cy="341313"/>
            </a:xfrm>
            <a:custGeom>
              <a:avLst/>
              <a:gdLst>
                <a:gd name="T0" fmla="*/ 96 w 106"/>
                <a:gd name="T1" fmla="*/ 1 h 91"/>
                <a:gd name="T2" fmla="*/ 85 w 106"/>
                <a:gd name="T3" fmla="*/ 4 h 91"/>
                <a:gd name="T4" fmla="*/ 83 w 106"/>
                <a:gd name="T5" fmla="*/ 4 h 91"/>
                <a:gd name="T6" fmla="*/ 81 w 106"/>
                <a:gd name="T7" fmla="*/ 5 h 91"/>
                <a:gd name="T8" fmla="*/ 78 w 106"/>
                <a:gd name="T9" fmla="*/ 6 h 91"/>
                <a:gd name="T10" fmla="*/ 70 w 106"/>
                <a:gd name="T11" fmla="*/ 4 h 91"/>
                <a:gd name="T12" fmla="*/ 67 w 106"/>
                <a:gd name="T13" fmla="*/ 2 h 91"/>
                <a:gd name="T14" fmla="*/ 66 w 106"/>
                <a:gd name="T15" fmla="*/ 3 h 91"/>
                <a:gd name="T16" fmla="*/ 63 w 106"/>
                <a:gd name="T17" fmla="*/ 7 h 91"/>
                <a:gd name="T18" fmla="*/ 61 w 106"/>
                <a:gd name="T19" fmla="*/ 13 h 91"/>
                <a:gd name="T20" fmla="*/ 58 w 106"/>
                <a:gd name="T21" fmla="*/ 15 h 91"/>
                <a:gd name="T22" fmla="*/ 51 w 106"/>
                <a:gd name="T23" fmla="*/ 21 h 91"/>
                <a:gd name="T24" fmla="*/ 46 w 106"/>
                <a:gd name="T25" fmla="*/ 25 h 91"/>
                <a:gd name="T26" fmla="*/ 40 w 106"/>
                <a:gd name="T27" fmla="*/ 21 h 91"/>
                <a:gd name="T28" fmla="*/ 39 w 106"/>
                <a:gd name="T29" fmla="*/ 21 h 91"/>
                <a:gd name="T30" fmla="*/ 31 w 106"/>
                <a:gd name="T31" fmla="*/ 27 h 91"/>
                <a:gd name="T32" fmla="*/ 27 w 106"/>
                <a:gd name="T33" fmla="*/ 26 h 91"/>
                <a:gd name="T34" fmla="*/ 25 w 106"/>
                <a:gd name="T35" fmla="*/ 27 h 91"/>
                <a:gd name="T36" fmla="*/ 26 w 106"/>
                <a:gd name="T37" fmla="*/ 31 h 91"/>
                <a:gd name="T38" fmla="*/ 25 w 106"/>
                <a:gd name="T39" fmla="*/ 37 h 91"/>
                <a:gd name="T40" fmla="*/ 22 w 106"/>
                <a:gd name="T41" fmla="*/ 38 h 91"/>
                <a:gd name="T42" fmla="*/ 20 w 106"/>
                <a:gd name="T43" fmla="*/ 41 h 91"/>
                <a:gd name="T44" fmla="*/ 12 w 106"/>
                <a:gd name="T45" fmla="*/ 45 h 91"/>
                <a:gd name="T46" fmla="*/ 10 w 106"/>
                <a:gd name="T47" fmla="*/ 45 h 91"/>
                <a:gd name="T48" fmla="*/ 8 w 106"/>
                <a:gd name="T49" fmla="*/ 44 h 91"/>
                <a:gd name="T50" fmla="*/ 4 w 106"/>
                <a:gd name="T51" fmla="*/ 40 h 91"/>
                <a:gd name="T52" fmla="*/ 14 w 106"/>
                <a:gd name="T53" fmla="*/ 55 h 91"/>
                <a:gd name="T54" fmla="*/ 25 w 106"/>
                <a:gd name="T55" fmla="*/ 65 h 91"/>
                <a:gd name="T56" fmla="*/ 46 w 106"/>
                <a:gd name="T57" fmla="*/ 84 h 91"/>
                <a:gd name="T58" fmla="*/ 47 w 106"/>
                <a:gd name="T59" fmla="*/ 83 h 91"/>
                <a:gd name="T60" fmla="*/ 50 w 106"/>
                <a:gd name="T61" fmla="*/ 81 h 91"/>
                <a:gd name="T62" fmla="*/ 51 w 106"/>
                <a:gd name="T63" fmla="*/ 82 h 91"/>
                <a:gd name="T64" fmla="*/ 53 w 106"/>
                <a:gd name="T65" fmla="*/ 82 h 91"/>
                <a:gd name="T66" fmla="*/ 43 w 106"/>
                <a:gd name="T67" fmla="*/ 69 h 91"/>
                <a:gd name="T68" fmla="*/ 49 w 106"/>
                <a:gd name="T69" fmla="*/ 64 h 91"/>
                <a:gd name="T70" fmla="*/ 73 w 106"/>
                <a:gd name="T71" fmla="*/ 86 h 91"/>
                <a:gd name="T72" fmla="*/ 74 w 106"/>
                <a:gd name="T73" fmla="*/ 86 h 91"/>
                <a:gd name="T74" fmla="*/ 82 w 106"/>
                <a:gd name="T75" fmla="*/ 90 h 91"/>
                <a:gd name="T76" fmla="*/ 89 w 106"/>
                <a:gd name="T77" fmla="*/ 91 h 91"/>
                <a:gd name="T78" fmla="*/ 91 w 106"/>
                <a:gd name="T79" fmla="*/ 91 h 91"/>
                <a:gd name="T80" fmla="*/ 92 w 106"/>
                <a:gd name="T81" fmla="*/ 89 h 91"/>
                <a:gd name="T82" fmla="*/ 95 w 106"/>
                <a:gd name="T83" fmla="*/ 75 h 91"/>
                <a:gd name="T84" fmla="*/ 94 w 106"/>
                <a:gd name="T85" fmla="*/ 66 h 91"/>
                <a:gd name="T86" fmla="*/ 92 w 106"/>
                <a:gd name="T87" fmla="*/ 54 h 91"/>
                <a:gd name="T88" fmla="*/ 97 w 106"/>
                <a:gd name="T89" fmla="*/ 49 h 91"/>
                <a:gd name="T90" fmla="*/ 96 w 106"/>
                <a:gd name="T91" fmla="*/ 57 h 91"/>
                <a:gd name="T92" fmla="*/ 98 w 106"/>
                <a:gd name="T93" fmla="*/ 49 h 91"/>
                <a:gd name="T94" fmla="*/ 103 w 106"/>
                <a:gd name="T95" fmla="*/ 15 h 91"/>
                <a:gd name="T96" fmla="*/ 101 w 106"/>
                <a:gd name="T9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 h="91">
                  <a:moveTo>
                    <a:pt x="101" y="0"/>
                  </a:moveTo>
                  <a:cubicBezTo>
                    <a:pt x="100" y="0"/>
                    <a:pt x="98" y="0"/>
                    <a:pt x="96" y="1"/>
                  </a:cubicBezTo>
                  <a:cubicBezTo>
                    <a:pt x="93" y="2"/>
                    <a:pt x="93" y="2"/>
                    <a:pt x="93" y="2"/>
                  </a:cubicBezTo>
                  <a:cubicBezTo>
                    <a:pt x="90" y="2"/>
                    <a:pt x="87" y="3"/>
                    <a:pt x="85" y="4"/>
                  </a:cubicBezTo>
                  <a:cubicBezTo>
                    <a:pt x="84" y="4"/>
                    <a:pt x="84" y="4"/>
                    <a:pt x="84" y="4"/>
                  </a:cubicBezTo>
                  <a:cubicBezTo>
                    <a:pt x="83" y="4"/>
                    <a:pt x="83" y="4"/>
                    <a:pt x="83" y="4"/>
                  </a:cubicBezTo>
                  <a:cubicBezTo>
                    <a:pt x="82" y="4"/>
                    <a:pt x="82" y="4"/>
                    <a:pt x="82" y="4"/>
                  </a:cubicBezTo>
                  <a:cubicBezTo>
                    <a:pt x="82" y="4"/>
                    <a:pt x="82" y="5"/>
                    <a:pt x="81" y="5"/>
                  </a:cubicBezTo>
                  <a:cubicBezTo>
                    <a:pt x="81" y="5"/>
                    <a:pt x="80" y="5"/>
                    <a:pt x="79" y="6"/>
                  </a:cubicBezTo>
                  <a:cubicBezTo>
                    <a:pt x="78" y="6"/>
                    <a:pt x="78" y="6"/>
                    <a:pt x="78" y="6"/>
                  </a:cubicBezTo>
                  <a:cubicBezTo>
                    <a:pt x="78" y="6"/>
                    <a:pt x="77" y="6"/>
                    <a:pt x="77" y="6"/>
                  </a:cubicBezTo>
                  <a:cubicBezTo>
                    <a:pt x="74" y="6"/>
                    <a:pt x="72" y="5"/>
                    <a:pt x="70" y="4"/>
                  </a:cubicBezTo>
                  <a:cubicBezTo>
                    <a:pt x="70" y="3"/>
                    <a:pt x="70" y="3"/>
                    <a:pt x="70" y="3"/>
                  </a:cubicBezTo>
                  <a:cubicBezTo>
                    <a:pt x="69" y="3"/>
                    <a:pt x="68" y="2"/>
                    <a:pt x="67" y="2"/>
                  </a:cubicBezTo>
                  <a:cubicBezTo>
                    <a:pt x="67" y="2"/>
                    <a:pt x="67" y="2"/>
                    <a:pt x="67" y="2"/>
                  </a:cubicBezTo>
                  <a:cubicBezTo>
                    <a:pt x="66" y="2"/>
                    <a:pt x="66" y="3"/>
                    <a:pt x="66" y="3"/>
                  </a:cubicBezTo>
                  <a:cubicBezTo>
                    <a:pt x="66" y="4"/>
                    <a:pt x="66" y="5"/>
                    <a:pt x="65" y="6"/>
                  </a:cubicBezTo>
                  <a:cubicBezTo>
                    <a:pt x="64" y="7"/>
                    <a:pt x="64" y="7"/>
                    <a:pt x="63" y="7"/>
                  </a:cubicBezTo>
                  <a:cubicBezTo>
                    <a:pt x="63" y="8"/>
                    <a:pt x="63" y="9"/>
                    <a:pt x="63" y="10"/>
                  </a:cubicBezTo>
                  <a:cubicBezTo>
                    <a:pt x="63" y="11"/>
                    <a:pt x="62" y="12"/>
                    <a:pt x="61" y="13"/>
                  </a:cubicBezTo>
                  <a:cubicBezTo>
                    <a:pt x="60" y="13"/>
                    <a:pt x="59" y="14"/>
                    <a:pt x="58" y="15"/>
                  </a:cubicBezTo>
                  <a:cubicBezTo>
                    <a:pt x="58" y="15"/>
                    <a:pt x="58" y="15"/>
                    <a:pt x="58" y="15"/>
                  </a:cubicBezTo>
                  <a:cubicBezTo>
                    <a:pt x="56" y="16"/>
                    <a:pt x="54" y="18"/>
                    <a:pt x="52" y="19"/>
                  </a:cubicBezTo>
                  <a:cubicBezTo>
                    <a:pt x="52" y="20"/>
                    <a:pt x="51" y="20"/>
                    <a:pt x="51" y="21"/>
                  </a:cubicBezTo>
                  <a:cubicBezTo>
                    <a:pt x="51" y="21"/>
                    <a:pt x="51" y="21"/>
                    <a:pt x="51" y="21"/>
                  </a:cubicBezTo>
                  <a:cubicBezTo>
                    <a:pt x="50" y="23"/>
                    <a:pt x="49" y="25"/>
                    <a:pt x="46" y="25"/>
                  </a:cubicBezTo>
                  <a:cubicBezTo>
                    <a:pt x="45" y="25"/>
                    <a:pt x="44" y="24"/>
                    <a:pt x="43" y="24"/>
                  </a:cubicBezTo>
                  <a:cubicBezTo>
                    <a:pt x="42" y="23"/>
                    <a:pt x="41" y="22"/>
                    <a:pt x="40" y="21"/>
                  </a:cubicBezTo>
                  <a:cubicBezTo>
                    <a:pt x="39" y="21"/>
                    <a:pt x="39" y="21"/>
                    <a:pt x="39" y="21"/>
                  </a:cubicBezTo>
                  <a:cubicBezTo>
                    <a:pt x="39" y="21"/>
                    <a:pt x="39" y="21"/>
                    <a:pt x="39" y="21"/>
                  </a:cubicBezTo>
                  <a:cubicBezTo>
                    <a:pt x="37" y="22"/>
                    <a:pt x="36" y="24"/>
                    <a:pt x="35" y="25"/>
                  </a:cubicBezTo>
                  <a:cubicBezTo>
                    <a:pt x="34" y="26"/>
                    <a:pt x="32" y="27"/>
                    <a:pt x="31" y="27"/>
                  </a:cubicBezTo>
                  <a:cubicBezTo>
                    <a:pt x="30" y="27"/>
                    <a:pt x="29" y="27"/>
                    <a:pt x="29" y="26"/>
                  </a:cubicBezTo>
                  <a:cubicBezTo>
                    <a:pt x="28" y="26"/>
                    <a:pt x="28" y="26"/>
                    <a:pt x="27" y="26"/>
                  </a:cubicBezTo>
                  <a:cubicBezTo>
                    <a:pt x="27" y="26"/>
                    <a:pt x="26" y="26"/>
                    <a:pt x="25" y="26"/>
                  </a:cubicBezTo>
                  <a:cubicBezTo>
                    <a:pt x="25" y="27"/>
                    <a:pt x="25" y="27"/>
                    <a:pt x="25" y="27"/>
                  </a:cubicBezTo>
                  <a:cubicBezTo>
                    <a:pt x="26" y="28"/>
                    <a:pt x="26" y="29"/>
                    <a:pt x="26" y="30"/>
                  </a:cubicBezTo>
                  <a:cubicBezTo>
                    <a:pt x="26" y="31"/>
                    <a:pt x="26" y="31"/>
                    <a:pt x="26" y="31"/>
                  </a:cubicBezTo>
                  <a:cubicBezTo>
                    <a:pt x="27" y="32"/>
                    <a:pt x="27" y="32"/>
                    <a:pt x="27" y="33"/>
                  </a:cubicBezTo>
                  <a:cubicBezTo>
                    <a:pt x="27" y="35"/>
                    <a:pt x="26" y="36"/>
                    <a:pt x="25" y="37"/>
                  </a:cubicBezTo>
                  <a:cubicBezTo>
                    <a:pt x="24" y="38"/>
                    <a:pt x="24" y="38"/>
                    <a:pt x="24" y="38"/>
                  </a:cubicBezTo>
                  <a:cubicBezTo>
                    <a:pt x="23" y="38"/>
                    <a:pt x="23" y="38"/>
                    <a:pt x="22" y="38"/>
                  </a:cubicBezTo>
                  <a:cubicBezTo>
                    <a:pt x="22" y="38"/>
                    <a:pt x="22" y="38"/>
                    <a:pt x="22" y="38"/>
                  </a:cubicBezTo>
                  <a:cubicBezTo>
                    <a:pt x="22" y="39"/>
                    <a:pt x="21" y="40"/>
                    <a:pt x="20" y="41"/>
                  </a:cubicBezTo>
                  <a:cubicBezTo>
                    <a:pt x="19" y="42"/>
                    <a:pt x="19" y="42"/>
                    <a:pt x="19" y="42"/>
                  </a:cubicBezTo>
                  <a:cubicBezTo>
                    <a:pt x="17" y="44"/>
                    <a:pt x="15" y="45"/>
                    <a:pt x="12" y="45"/>
                  </a:cubicBezTo>
                  <a:cubicBezTo>
                    <a:pt x="11" y="45"/>
                    <a:pt x="11" y="45"/>
                    <a:pt x="11" y="45"/>
                  </a:cubicBezTo>
                  <a:cubicBezTo>
                    <a:pt x="10" y="45"/>
                    <a:pt x="10" y="45"/>
                    <a:pt x="10" y="45"/>
                  </a:cubicBezTo>
                  <a:cubicBezTo>
                    <a:pt x="9" y="44"/>
                    <a:pt x="9" y="44"/>
                    <a:pt x="9" y="44"/>
                  </a:cubicBezTo>
                  <a:cubicBezTo>
                    <a:pt x="8" y="44"/>
                    <a:pt x="8" y="44"/>
                    <a:pt x="8" y="44"/>
                  </a:cubicBezTo>
                  <a:cubicBezTo>
                    <a:pt x="8" y="44"/>
                    <a:pt x="8" y="44"/>
                    <a:pt x="8" y="44"/>
                  </a:cubicBezTo>
                  <a:cubicBezTo>
                    <a:pt x="6" y="43"/>
                    <a:pt x="6" y="41"/>
                    <a:pt x="4" y="40"/>
                  </a:cubicBezTo>
                  <a:cubicBezTo>
                    <a:pt x="3" y="42"/>
                    <a:pt x="0" y="43"/>
                    <a:pt x="2" y="45"/>
                  </a:cubicBezTo>
                  <a:cubicBezTo>
                    <a:pt x="6" y="48"/>
                    <a:pt x="10" y="52"/>
                    <a:pt x="14" y="55"/>
                  </a:cubicBezTo>
                  <a:cubicBezTo>
                    <a:pt x="17" y="56"/>
                    <a:pt x="19" y="58"/>
                    <a:pt x="21" y="60"/>
                  </a:cubicBezTo>
                  <a:cubicBezTo>
                    <a:pt x="23" y="61"/>
                    <a:pt x="24" y="63"/>
                    <a:pt x="25" y="65"/>
                  </a:cubicBezTo>
                  <a:cubicBezTo>
                    <a:pt x="29" y="73"/>
                    <a:pt x="38" y="79"/>
                    <a:pt x="45" y="85"/>
                  </a:cubicBezTo>
                  <a:cubicBezTo>
                    <a:pt x="46" y="84"/>
                    <a:pt x="46" y="84"/>
                    <a:pt x="46" y="84"/>
                  </a:cubicBezTo>
                  <a:cubicBezTo>
                    <a:pt x="46" y="83"/>
                    <a:pt x="46" y="83"/>
                    <a:pt x="46" y="83"/>
                  </a:cubicBezTo>
                  <a:cubicBezTo>
                    <a:pt x="47" y="83"/>
                    <a:pt x="47" y="83"/>
                    <a:pt x="47" y="83"/>
                  </a:cubicBezTo>
                  <a:cubicBezTo>
                    <a:pt x="48" y="82"/>
                    <a:pt x="48" y="82"/>
                    <a:pt x="48" y="82"/>
                  </a:cubicBezTo>
                  <a:cubicBezTo>
                    <a:pt x="48" y="82"/>
                    <a:pt x="49" y="81"/>
                    <a:pt x="50" y="81"/>
                  </a:cubicBezTo>
                  <a:cubicBezTo>
                    <a:pt x="50" y="81"/>
                    <a:pt x="50" y="82"/>
                    <a:pt x="50" y="82"/>
                  </a:cubicBezTo>
                  <a:cubicBezTo>
                    <a:pt x="50" y="82"/>
                    <a:pt x="51" y="82"/>
                    <a:pt x="51" y="82"/>
                  </a:cubicBezTo>
                  <a:cubicBezTo>
                    <a:pt x="51" y="82"/>
                    <a:pt x="52" y="82"/>
                    <a:pt x="52" y="82"/>
                  </a:cubicBezTo>
                  <a:cubicBezTo>
                    <a:pt x="53" y="82"/>
                    <a:pt x="53" y="82"/>
                    <a:pt x="53" y="82"/>
                  </a:cubicBezTo>
                  <a:cubicBezTo>
                    <a:pt x="50" y="81"/>
                    <a:pt x="48" y="80"/>
                    <a:pt x="46" y="77"/>
                  </a:cubicBezTo>
                  <a:cubicBezTo>
                    <a:pt x="44" y="75"/>
                    <a:pt x="44" y="72"/>
                    <a:pt x="43" y="69"/>
                  </a:cubicBezTo>
                  <a:cubicBezTo>
                    <a:pt x="43" y="66"/>
                    <a:pt x="43" y="63"/>
                    <a:pt x="46" y="63"/>
                  </a:cubicBezTo>
                  <a:cubicBezTo>
                    <a:pt x="47" y="63"/>
                    <a:pt x="48" y="63"/>
                    <a:pt x="49" y="64"/>
                  </a:cubicBezTo>
                  <a:cubicBezTo>
                    <a:pt x="54" y="65"/>
                    <a:pt x="71" y="80"/>
                    <a:pt x="69" y="86"/>
                  </a:cubicBezTo>
                  <a:cubicBezTo>
                    <a:pt x="70" y="86"/>
                    <a:pt x="72" y="86"/>
                    <a:pt x="73" y="86"/>
                  </a:cubicBezTo>
                  <a:cubicBezTo>
                    <a:pt x="73" y="86"/>
                    <a:pt x="74" y="86"/>
                    <a:pt x="74" y="86"/>
                  </a:cubicBezTo>
                  <a:cubicBezTo>
                    <a:pt x="74" y="86"/>
                    <a:pt x="74" y="86"/>
                    <a:pt x="74" y="86"/>
                  </a:cubicBezTo>
                  <a:cubicBezTo>
                    <a:pt x="76" y="86"/>
                    <a:pt x="78" y="87"/>
                    <a:pt x="81" y="89"/>
                  </a:cubicBezTo>
                  <a:cubicBezTo>
                    <a:pt x="82" y="90"/>
                    <a:pt x="82" y="90"/>
                    <a:pt x="82" y="90"/>
                  </a:cubicBezTo>
                  <a:cubicBezTo>
                    <a:pt x="84" y="91"/>
                    <a:pt x="85" y="91"/>
                    <a:pt x="87" y="91"/>
                  </a:cubicBezTo>
                  <a:cubicBezTo>
                    <a:pt x="89" y="91"/>
                    <a:pt x="89" y="91"/>
                    <a:pt x="89" y="91"/>
                  </a:cubicBezTo>
                  <a:cubicBezTo>
                    <a:pt x="90" y="91"/>
                    <a:pt x="90" y="91"/>
                    <a:pt x="90" y="91"/>
                  </a:cubicBezTo>
                  <a:cubicBezTo>
                    <a:pt x="91" y="91"/>
                    <a:pt x="91" y="91"/>
                    <a:pt x="91" y="91"/>
                  </a:cubicBezTo>
                  <a:cubicBezTo>
                    <a:pt x="91" y="91"/>
                    <a:pt x="91" y="91"/>
                    <a:pt x="91" y="91"/>
                  </a:cubicBezTo>
                  <a:cubicBezTo>
                    <a:pt x="91" y="91"/>
                    <a:pt x="92" y="90"/>
                    <a:pt x="92" y="89"/>
                  </a:cubicBezTo>
                  <a:cubicBezTo>
                    <a:pt x="91" y="87"/>
                    <a:pt x="90" y="84"/>
                    <a:pt x="90" y="82"/>
                  </a:cubicBezTo>
                  <a:cubicBezTo>
                    <a:pt x="90" y="80"/>
                    <a:pt x="92" y="75"/>
                    <a:pt x="95" y="75"/>
                  </a:cubicBezTo>
                  <a:cubicBezTo>
                    <a:pt x="91" y="68"/>
                    <a:pt x="90" y="70"/>
                    <a:pt x="92" y="62"/>
                  </a:cubicBezTo>
                  <a:cubicBezTo>
                    <a:pt x="93" y="63"/>
                    <a:pt x="94" y="65"/>
                    <a:pt x="94" y="66"/>
                  </a:cubicBezTo>
                  <a:cubicBezTo>
                    <a:pt x="95" y="62"/>
                    <a:pt x="94" y="59"/>
                    <a:pt x="93" y="55"/>
                  </a:cubicBezTo>
                  <a:cubicBezTo>
                    <a:pt x="93" y="54"/>
                    <a:pt x="92" y="54"/>
                    <a:pt x="92" y="54"/>
                  </a:cubicBezTo>
                  <a:cubicBezTo>
                    <a:pt x="92" y="54"/>
                    <a:pt x="92" y="54"/>
                    <a:pt x="92" y="54"/>
                  </a:cubicBezTo>
                  <a:cubicBezTo>
                    <a:pt x="92" y="52"/>
                    <a:pt x="96" y="52"/>
                    <a:pt x="97" y="49"/>
                  </a:cubicBezTo>
                  <a:cubicBezTo>
                    <a:pt x="97" y="52"/>
                    <a:pt x="96" y="54"/>
                    <a:pt x="96" y="57"/>
                  </a:cubicBezTo>
                  <a:cubicBezTo>
                    <a:pt x="96" y="57"/>
                    <a:pt x="96" y="57"/>
                    <a:pt x="96" y="57"/>
                  </a:cubicBezTo>
                  <a:cubicBezTo>
                    <a:pt x="96" y="57"/>
                    <a:pt x="97" y="57"/>
                    <a:pt x="97" y="57"/>
                  </a:cubicBezTo>
                  <a:cubicBezTo>
                    <a:pt x="100" y="57"/>
                    <a:pt x="98" y="50"/>
                    <a:pt x="98" y="49"/>
                  </a:cubicBezTo>
                  <a:cubicBezTo>
                    <a:pt x="98" y="41"/>
                    <a:pt x="99" y="36"/>
                    <a:pt x="100" y="28"/>
                  </a:cubicBezTo>
                  <a:cubicBezTo>
                    <a:pt x="101" y="24"/>
                    <a:pt x="102" y="19"/>
                    <a:pt x="103" y="15"/>
                  </a:cubicBezTo>
                  <a:cubicBezTo>
                    <a:pt x="104" y="14"/>
                    <a:pt x="105" y="13"/>
                    <a:pt x="105" y="12"/>
                  </a:cubicBezTo>
                  <a:cubicBezTo>
                    <a:pt x="106" y="9"/>
                    <a:pt x="104" y="1"/>
                    <a:pt x="10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8" name="Rectangle 351">
              <a:extLst>
                <a:ext uri="{FF2B5EF4-FFF2-40B4-BE49-F238E27FC236}">
                  <a16:creationId xmlns:a16="http://schemas.microsoft.com/office/drawing/2014/main" id="{6E5FCEE9-2F8D-4230-AF20-93CAE48A1135}"/>
                </a:ext>
              </a:extLst>
            </p:cNvPr>
            <p:cNvSpPr>
              <a:spLocks noChangeArrowheads="1"/>
            </p:cNvSpPr>
            <p:nvPr/>
          </p:nvSpPr>
          <p:spPr bwMode="auto">
            <a:xfrm>
              <a:off x="8099416" y="7903397"/>
              <a:ext cx="158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9" name="Freeform 352">
              <a:extLst>
                <a:ext uri="{FF2B5EF4-FFF2-40B4-BE49-F238E27FC236}">
                  <a16:creationId xmlns:a16="http://schemas.microsoft.com/office/drawing/2014/main" id="{90C10320-2F5B-47E8-B0C3-E0CE8BEADE33}"/>
                </a:ext>
              </a:extLst>
            </p:cNvPr>
            <p:cNvSpPr>
              <a:spLocks/>
            </p:cNvSpPr>
            <p:nvPr/>
          </p:nvSpPr>
          <p:spPr bwMode="auto">
            <a:xfrm>
              <a:off x="8099416" y="7903397"/>
              <a:ext cx="0" cy="4763"/>
            </a:xfrm>
            <a:custGeom>
              <a:avLst/>
              <a:gdLst>
                <a:gd name="T0" fmla="*/ 0 h 3"/>
                <a:gd name="T1" fmla="*/ 3 h 3"/>
                <a:gd name="T2" fmla="*/ 3 h 3"/>
                <a:gd name="T3" fmla="*/ 0 h 3"/>
              </a:gdLst>
              <a:ahLst/>
              <a:cxnLst>
                <a:cxn ang="0">
                  <a:pos x="0" y="T0"/>
                </a:cxn>
                <a:cxn ang="0">
                  <a:pos x="0" y="T1"/>
                </a:cxn>
                <a:cxn ang="0">
                  <a:pos x="0" y="T2"/>
                </a:cxn>
                <a:cxn ang="0">
                  <a:pos x="0" y="T3"/>
                </a:cxn>
              </a:cxnLst>
              <a:rect l="0" t="0" r="r" b="b"/>
              <a:pathLst>
                <a:path h="3">
                  <a:moveTo>
                    <a:pt x="0" y="0"/>
                  </a:moveTo>
                  <a:lnTo>
                    <a:pt x="0" y="3"/>
                  </a:lnTo>
                  <a:lnTo>
                    <a:pt x="0"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0" name="Freeform 353">
              <a:extLst>
                <a:ext uri="{FF2B5EF4-FFF2-40B4-BE49-F238E27FC236}">
                  <a16:creationId xmlns:a16="http://schemas.microsoft.com/office/drawing/2014/main" id="{F200CEA7-1EB5-4A4A-8008-6030D1D94C4F}"/>
                </a:ext>
              </a:extLst>
            </p:cNvPr>
            <p:cNvSpPr>
              <a:spLocks/>
            </p:cNvSpPr>
            <p:nvPr/>
          </p:nvSpPr>
          <p:spPr bwMode="auto">
            <a:xfrm>
              <a:off x="8132754" y="7877997"/>
              <a:ext cx="3175" cy="0"/>
            </a:xfrm>
            <a:custGeom>
              <a:avLst/>
              <a:gdLst>
                <a:gd name="T0" fmla="*/ 0 w 2"/>
                <a:gd name="T1" fmla="*/ 0 w 2"/>
                <a:gd name="T2" fmla="*/ 0 w 2"/>
                <a:gd name="T3" fmla="*/ 2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1" name="Freeform 354">
              <a:extLst>
                <a:ext uri="{FF2B5EF4-FFF2-40B4-BE49-F238E27FC236}">
                  <a16:creationId xmlns:a16="http://schemas.microsoft.com/office/drawing/2014/main" id="{4D3C42CC-F950-442D-8C1C-3899119795FF}"/>
                </a:ext>
              </a:extLst>
            </p:cNvPr>
            <p:cNvSpPr>
              <a:spLocks/>
            </p:cNvSpPr>
            <p:nvPr/>
          </p:nvSpPr>
          <p:spPr bwMode="auto">
            <a:xfrm>
              <a:off x="8132754" y="7877997"/>
              <a:ext cx="3175" cy="0"/>
            </a:xfrm>
            <a:custGeom>
              <a:avLst/>
              <a:gdLst>
                <a:gd name="T0" fmla="*/ 0 w 2"/>
                <a:gd name="T1" fmla="*/ 0 w 2"/>
                <a:gd name="T2" fmla="*/ 0 w 2"/>
                <a:gd name="T3" fmla="*/ 2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0" y="0"/>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2" name="Freeform 355">
              <a:extLst>
                <a:ext uri="{FF2B5EF4-FFF2-40B4-BE49-F238E27FC236}">
                  <a16:creationId xmlns:a16="http://schemas.microsoft.com/office/drawing/2014/main" id="{A162F594-16CB-4EDB-88FF-C3B21A4EF5C5}"/>
                </a:ext>
              </a:extLst>
            </p:cNvPr>
            <p:cNvSpPr>
              <a:spLocks/>
            </p:cNvSpPr>
            <p:nvPr/>
          </p:nvSpPr>
          <p:spPr bwMode="auto">
            <a:xfrm>
              <a:off x="8083541" y="7877997"/>
              <a:ext cx="187325" cy="101600"/>
            </a:xfrm>
            <a:custGeom>
              <a:avLst/>
              <a:gdLst>
                <a:gd name="T0" fmla="*/ 16 w 50"/>
                <a:gd name="T1" fmla="*/ 0 h 27"/>
                <a:gd name="T2" fmla="*/ 15 w 50"/>
                <a:gd name="T3" fmla="*/ 1 h 27"/>
                <a:gd name="T4" fmla="*/ 15 w 50"/>
                <a:gd name="T5" fmla="*/ 0 h 27"/>
                <a:gd name="T6" fmla="*/ 13 w 50"/>
                <a:gd name="T7" fmla="*/ 1 h 27"/>
                <a:gd name="T8" fmla="*/ 13 w 50"/>
                <a:gd name="T9" fmla="*/ 3 h 27"/>
                <a:gd name="T10" fmla="*/ 9 w 50"/>
                <a:gd name="T11" fmla="*/ 6 h 27"/>
                <a:gd name="T12" fmla="*/ 8 w 50"/>
                <a:gd name="T13" fmla="*/ 6 h 27"/>
                <a:gd name="T14" fmla="*/ 8 w 50"/>
                <a:gd name="T15" fmla="*/ 6 h 27"/>
                <a:gd name="T16" fmla="*/ 8 w 50"/>
                <a:gd name="T17" fmla="*/ 6 h 27"/>
                <a:gd name="T18" fmla="*/ 9 w 50"/>
                <a:gd name="T19" fmla="*/ 14 h 27"/>
                <a:gd name="T20" fmla="*/ 4 w 50"/>
                <a:gd name="T21" fmla="*/ 9 h 27"/>
                <a:gd name="T22" fmla="*/ 4 w 50"/>
                <a:gd name="T23" fmla="*/ 9 h 27"/>
                <a:gd name="T24" fmla="*/ 2 w 50"/>
                <a:gd name="T25" fmla="*/ 10 h 27"/>
                <a:gd name="T26" fmla="*/ 0 w 50"/>
                <a:gd name="T27" fmla="*/ 14 h 27"/>
                <a:gd name="T28" fmla="*/ 0 w 50"/>
                <a:gd name="T29" fmla="*/ 15 h 27"/>
                <a:gd name="T30" fmla="*/ 12 w 50"/>
                <a:gd name="T31" fmla="*/ 19 h 27"/>
                <a:gd name="T32" fmla="*/ 27 w 50"/>
                <a:gd name="T33" fmla="*/ 25 h 27"/>
                <a:gd name="T34" fmla="*/ 43 w 50"/>
                <a:gd name="T35" fmla="*/ 27 h 27"/>
                <a:gd name="T36" fmla="*/ 47 w 50"/>
                <a:gd name="T37" fmla="*/ 27 h 27"/>
                <a:gd name="T38" fmla="*/ 48 w 50"/>
                <a:gd name="T39" fmla="*/ 27 h 27"/>
                <a:gd name="T40" fmla="*/ 50 w 50"/>
                <a:gd name="T41" fmla="*/ 23 h 27"/>
                <a:gd name="T42" fmla="*/ 49 w 50"/>
                <a:gd name="T43" fmla="*/ 23 h 27"/>
                <a:gd name="T44" fmla="*/ 49 w 50"/>
                <a:gd name="T45" fmla="*/ 22 h 27"/>
                <a:gd name="T46" fmla="*/ 49 w 50"/>
                <a:gd name="T47" fmla="*/ 20 h 27"/>
                <a:gd name="T48" fmla="*/ 49 w 50"/>
                <a:gd name="T49" fmla="*/ 20 h 27"/>
                <a:gd name="T50" fmla="*/ 49 w 50"/>
                <a:gd name="T51" fmla="*/ 16 h 27"/>
                <a:gd name="T52" fmla="*/ 49 w 50"/>
                <a:gd name="T53" fmla="*/ 15 h 27"/>
                <a:gd name="T54" fmla="*/ 50 w 50"/>
                <a:gd name="T55" fmla="*/ 13 h 27"/>
                <a:gd name="T56" fmla="*/ 49 w 50"/>
                <a:gd name="T57" fmla="*/ 13 h 27"/>
                <a:gd name="T58" fmla="*/ 48 w 50"/>
                <a:gd name="T59" fmla="*/ 13 h 27"/>
                <a:gd name="T60" fmla="*/ 48 w 50"/>
                <a:gd name="T61" fmla="*/ 13 h 27"/>
                <a:gd name="T62" fmla="*/ 47 w 50"/>
                <a:gd name="T63" fmla="*/ 13 h 27"/>
                <a:gd name="T64" fmla="*/ 47 w 50"/>
                <a:gd name="T65" fmla="*/ 13 h 27"/>
                <a:gd name="T66" fmla="*/ 46 w 50"/>
                <a:gd name="T67" fmla="*/ 12 h 27"/>
                <a:gd name="T68" fmla="*/ 43 w 50"/>
                <a:gd name="T69" fmla="*/ 11 h 27"/>
                <a:gd name="T70" fmla="*/ 43 w 50"/>
                <a:gd name="T71" fmla="*/ 10 h 27"/>
                <a:gd name="T72" fmla="*/ 42 w 50"/>
                <a:gd name="T73" fmla="*/ 10 h 27"/>
                <a:gd name="T74" fmla="*/ 42 w 50"/>
                <a:gd name="T75" fmla="*/ 10 h 27"/>
                <a:gd name="T76" fmla="*/ 41 w 50"/>
                <a:gd name="T77" fmla="*/ 11 h 27"/>
                <a:gd name="T78" fmla="*/ 39 w 50"/>
                <a:gd name="T79" fmla="*/ 12 h 27"/>
                <a:gd name="T80" fmla="*/ 37 w 50"/>
                <a:gd name="T81" fmla="*/ 13 h 27"/>
                <a:gd name="T82" fmla="*/ 35 w 50"/>
                <a:gd name="T83" fmla="*/ 13 h 27"/>
                <a:gd name="T84" fmla="*/ 31 w 50"/>
                <a:gd name="T85" fmla="*/ 14 h 27"/>
                <a:gd name="T86" fmla="*/ 32 w 50"/>
                <a:gd name="T87" fmla="*/ 10 h 27"/>
                <a:gd name="T88" fmla="*/ 31 w 50"/>
                <a:gd name="T89" fmla="*/ 10 h 27"/>
                <a:gd name="T90" fmla="*/ 30 w 50"/>
                <a:gd name="T91" fmla="*/ 10 h 27"/>
                <a:gd name="T92" fmla="*/ 27 w 50"/>
                <a:gd name="T93" fmla="*/ 7 h 27"/>
                <a:gd name="T94" fmla="*/ 27 w 50"/>
                <a:gd name="T95" fmla="*/ 7 h 27"/>
                <a:gd name="T96" fmla="*/ 25 w 50"/>
                <a:gd name="T97" fmla="*/ 6 h 27"/>
                <a:gd name="T98" fmla="*/ 21 w 50"/>
                <a:gd name="T99" fmla="*/ 10 h 27"/>
                <a:gd name="T100" fmla="*/ 24 w 50"/>
                <a:gd name="T101" fmla="*/ 5 h 27"/>
                <a:gd name="T102" fmla="*/ 21 w 50"/>
                <a:gd name="T103" fmla="*/ 3 h 27"/>
                <a:gd name="T104" fmla="*/ 19 w 50"/>
                <a:gd name="T105" fmla="*/ 1 h 27"/>
                <a:gd name="T106" fmla="*/ 19 w 50"/>
                <a:gd name="T107" fmla="*/ 1 h 27"/>
                <a:gd name="T108" fmla="*/ 16 w 50"/>
                <a:gd name="T109" fmla="*/ 0 h 27"/>
                <a:gd name="T110" fmla="*/ 16 w 50"/>
                <a:gd name="T11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 h="27">
                  <a:moveTo>
                    <a:pt x="16" y="0"/>
                  </a:moveTo>
                  <a:cubicBezTo>
                    <a:pt x="15" y="1"/>
                    <a:pt x="15" y="1"/>
                    <a:pt x="15" y="1"/>
                  </a:cubicBezTo>
                  <a:cubicBezTo>
                    <a:pt x="15" y="0"/>
                    <a:pt x="15" y="0"/>
                    <a:pt x="15" y="0"/>
                  </a:cubicBezTo>
                  <a:cubicBezTo>
                    <a:pt x="13" y="1"/>
                    <a:pt x="13" y="1"/>
                    <a:pt x="13" y="1"/>
                  </a:cubicBezTo>
                  <a:cubicBezTo>
                    <a:pt x="13" y="2"/>
                    <a:pt x="13" y="2"/>
                    <a:pt x="13" y="3"/>
                  </a:cubicBezTo>
                  <a:cubicBezTo>
                    <a:pt x="12" y="5"/>
                    <a:pt x="10" y="6"/>
                    <a:pt x="9" y="6"/>
                  </a:cubicBezTo>
                  <a:cubicBezTo>
                    <a:pt x="8" y="6"/>
                    <a:pt x="8" y="6"/>
                    <a:pt x="8" y="6"/>
                  </a:cubicBezTo>
                  <a:cubicBezTo>
                    <a:pt x="8" y="6"/>
                    <a:pt x="8" y="6"/>
                    <a:pt x="8" y="6"/>
                  </a:cubicBezTo>
                  <a:cubicBezTo>
                    <a:pt x="8" y="6"/>
                    <a:pt x="8" y="6"/>
                    <a:pt x="8" y="6"/>
                  </a:cubicBezTo>
                  <a:cubicBezTo>
                    <a:pt x="9" y="14"/>
                    <a:pt x="9" y="14"/>
                    <a:pt x="9" y="14"/>
                  </a:cubicBezTo>
                  <a:cubicBezTo>
                    <a:pt x="4" y="9"/>
                    <a:pt x="4" y="9"/>
                    <a:pt x="4" y="9"/>
                  </a:cubicBezTo>
                  <a:cubicBezTo>
                    <a:pt x="4" y="9"/>
                    <a:pt x="4" y="9"/>
                    <a:pt x="4" y="9"/>
                  </a:cubicBezTo>
                  <a:cubicBezTo>
                    <a:pt x="3" y="9"/>
                    <a:pt x="2" y="10"/>
                    <a:pt x="2" y="10"/>
                  </a:cubicBezTo>
                  <a:cubicBezTo>
                    <a:pt x="2" y="10"/>
                    <a:pt x="1" y="11"/>
                    <a:pt x="0" y="14"/>
                  </a:cubicBezTo>
                  <a:cubicBezTo>
                    <a:pt x="0" y="15"/>
                    <a:pt x="0" y="15"/>
                    <a:pt x="0" y="15"/>
                  </a:cubicBezTo>
                  <a:cubicBezTo>
                    <a:pt x="3" y="17"/>
                    <a:pt x="7" y="18"/>
                    <a:pt x="12" y="19"/>
                  </a:cubicBezTo>
                  <a:cubicBezTo>
                    <a:pt x="17" y="21"/>
                    <a:pt x="21" y="23"/>
                    <a:pt x="27" y="25"/>
                  </a:cubicBezTo>
                  <a:cubicBezTo>
                    <a:pt x="32" y="27"/>
                    <a:pt x="38" y="26"/>
                    <a:pt x="43" y="27"/>
                  </a:cubicBezTo>
                  <a:cubicBezTo>
                    <a:pt x="44" y="27"/>
                    <a:pt x="46" y="27"/>
                    <a:pt x="47" y="27"/>
                  </a:cubicBezTo>
                  <a:cubicBezTo>
                    <a:pt x="48" y="27"/>
                    <a:pt x="48" y="27"/>
                    <a:pt x="48" y="27"/>
                  </a:cubicBezTo>
                  <a:cubicBezTo>
                    <a:pt x="49" y="27"/>
                    <a:pt x="49" y="25"/>
                    <a:pt x="50" y="23"/>
                  </a:cubicBezTo>
                  <a:cubicBezTo>
                    <a:pt x="49" y="23"/>
                    <a:pt x="49" y="23"/>
                    <a:pt x="49" y="23"/>
                  </a:cubicBezTo>
                  <a:cubicBezTo>
                    <a:pt x="49" y="22"/>
                    <a:pt x="49" y="22"/>
                    <a:pt x="49" y="22"/>
                  </a:cubicBezTo>
                  <a:cubicBezTo>
                    <a:pt x="49" y="21"/>
                    <a:pt x="49" y="21"/>
                    <a:pt x="49" y="20"/>
                  </a:cubicBezTo>
                  <a:cubicBezTo>
                    <a:pt x="49" y="20"/>
                    <a:pt x="49" y="20"/>
                    <a:pt x="49" y="20"/>
                  </a:cubicBezTo>
                  <a:cubicBezTo>
                    <a:pt x="48" y="18"/>
                    <a:pt x="48" y="17"/>
                    <a:pt x="49" y="16"/>
                  </a:cubicBezTo>
                  <a:cubicBezTo>
                    <a:pt x="49" y="15"/>
                    <a:pt x="49" y="15"/>
                    <a:pt x="49" y="15"/>
                  </a:cubicBezTo>
                  <a:cubicBezTo>
                    <a:pt x="49" y="14"/>
                    <a:pt x="50" y="13"/>
                    <a:pt x="50" y="13"/>
                  </a:cubicBezTo>
                  <a:cubicBezTo>
                    <a:pt x="49" y="13"/>
                    <a:pt x="49" y="13"/>
                    <a:pt x="49" y="13"/>
                  </a:cubicBezTo>
                  <a:cubicBezTo>
                    <a:pt x="49" y="13"/>
                    <a:pt x="49" y="13"/>
                    <a:pt x="48" y="13"/>
                  </a:cubicBezTo>
                  <a:cubicBezTo>
                    <a:pt x="48" y="13"/>
                    <a:pt x="48" y="13"/>
                    <a:pt x="48" y="13"/>
                  </a:cubicBezTo>
                  <a:cubicBezTo>
                    <a:pt x="48" y="13"/>
                    <a:pt x="48" y="13"/>
                    <a:pt x="47" y="13"/>
                  </a:cubicBezTo>
                  <a:cubicBezTo>
                    <a:pt x="47" y="13"/>
                    <a:pt x="47" y="13"/>
                    <a:pt x="47" y="13"/>
                  </a:cubicBezTo>
                  <a:cubicBezTo>
                    <a:pt x="46" y="12"/>
                    <a:pt x="46" y="12"/>
                    <a:pt x="46" y="12"/>
                  </a:cubicBezTo>
                  <a:cubicBezTo>
                    <a:pt x="44" y="12"/>
                    <a:pt x="44" y="11"/>
                    <a:pt x="43" y="11"/>
                  </a:cubicBezTo>
                  <a:cubicBezTo>
                    <a:pt x="43" y="10"/>
                    <a:pt x="43" y="10"/>
                    <a:pt x="43" y="10"/>
                  </a:cubicBezTo>
                  <a:cubicBezTo>
                    <a:pt x="42" y="10"/>
                    <a:pt x="42" y="10"/>
                    <a:pt x="42" y="10"/>
                  </a:cubicBezTo>
                  <a:cubicBezTo>
                    <a:pt x="42" y="10"/>
                    <a:pt x="42" y="10"/>
                    <a:pt x="42" y="10"/>
                  </a:cubicBezTo>
                  <a:cubicBezTo>
                    <a:pt x="42" y="11"/>
                    <a:pt x="41" y="11"/>
                    <a:pt x="41" y="11"/>
                  </a:cubicBezTo>
                  <a:cubicBezTo>
                    <a:pt x="40" y="12"/>
                    <a:pt x="40" y="12"/>
                    <a:pt x="39" y="12"/>
                  </a:cubicBezTo>
                  <a:cubicBezTo>
                    <a:pt x="37" y="13"/>
                    <a:pt x="37" y="13"/>
                    <a:pt x="37" y="13"/>
                  </a:cubicBezTo>
                  <a:cubicBezTo>
                    <a:pt x="36" y="13"/>
                    <a:pt x="36" y="13"/>
                    <a:pt x="35" y="13"/>
                  </a:cubicBezTo>
                  <a:cubicBezTo>
                    <a:pt x="31" y="14"/>
                    <a:pt x="31" y="14"/>
                    <a:pt x="31" y="14"/>
                  </a:cubicBezTo>
                  <a:cubicBezTo>
                    <a:pt x="32" y="10"/>
                    <a:pt x="32" y="10"/>
                    <a:pt x="32" y="10"/>
                  </a:cubicBezTo>
                  <a:cubicBezTo>
                    <a:pt x="31" y="10"/>
                    <a:pt x="31" y="10"/>
                    <a:pt x="31" y="10"/>
                  </a:cubicBezTo>
                  <a:cubicBezTo>
                    <a:pt x="30" y="10"/>
                    <a:pt x="30" y="10"/>
                    <a:pt x="30" y="10"/>
                  </a:cubicBezTo>
                  <a:cubicBezTo>
                    <a:pt x="29" y="9"/>
                    <a:pt x="28" y="8"/>
                    <a:pt x="27" y="7"/>
                  </a:cubicBezTo>
                  <a:cubicBezTo>
                    <a:pt x="27" y="7"/>
                    <a:pt x="27" y="7"/>
                    <a:pt x="27" y="7"/>
                  </a:cubicBezTo>
                  <a:cubicBezTo>
                    <a:pt x="26" y="7"/>
                    <a:pt x="25" y="6"/>
                    <a:pt x="25" y="6"/>
                  </a:cubicBezTo>
                  <a:cubicBezTo>
                    <a:pt x="21" y="10"/>
                    <a:pt x="21" y="10"/>
                    <a:pt x="21" y="10"/>
                  </a:cubicBezTo>
                  <a:cubicBezTo>
                    <a:pt x="24" y="5"/>
                    <a:pt x="24" y="5"/>
                    <a:pt x="24" y="5"/>
                  </a:cubicBezTo>
                  <a:cubicBezTo>
                    <a:pt x="23" y="5"/>
                    <a:pt x="22" y="4"/>
                    <a:pt x="21" y="3"/>
                  </a:cubicBezTo>
                  <a:cubicBezTo>
                    <a:pt x="20" y="2"/>
                    <a:pt x="20" y="1"/>
                    <a:pt x="19" y="1"/>
                  </a:cubicBezTo>
                  <a:cubicBezTo>
                    <a:pt x="19" y="1"/>
                    <a:pt x="19" y="1"/>
                    <a:pt x="19" y="1"/>
                  </a:cubicBezTo>
                  <a:cubicBezTo>
                    <a:pt x="18" y="0"/>
                    <a:pt x="17" y="0"/>
                    <a:pt x="16" y="0"/>
                  </a:cubicBez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3" name="Freeform 356">
              <a:extLst>
                <a:ext uri="{FF2B5EF4-FFF2-40B4-BE49-F238E27FC236}">
                  <a16:creationId xmlns:a16="http://schemas.microsoft.com/office/drawing/2014/main" id="{BA1B5E0F-D566-4BC3-842C-1CFC260DC4FC}"/>
                </a:ext>
              </a:extLst>
            </p:cNvPr>
            <p:cNvSpPr>
              <a:spLocks/>
            </p:cNvSpPr>
            <p:nvPr/>
          </p:nvSpPr>
          <p:spPr bwMode="auto">
            <a:xfrm>
              <a:off x="8162916" y="7724010"/>
              <a:ext cx="509588" cy="261938"/>
            </a:xfrm>
            <a:custGeom>
              <a:avLst/>
              <a:gdLst>
                <a:gd name="T0" fmla="*/ 60 w 136"/>
                <a:gd name="T1" fmla="*/ 6 h 70"/>
                <a:gd name="T2" fmla="*/ 53 w 136"/>
                <a:gd name="T3" fmla="*/ 6 h 70"/>
                <a:gd name="T4" fmla="*/ 32 w 136"/>
                <a:gd name="T5" fmla="*/ 3 h 70"/>
                <a:gd name="T6" fmla="*/ 23 w 136"/>
                <a:gd name="T7" fmla="*/ 8 h 70"/>
                <a:gd name="T8" fmla="*/ 16 w 136"/>
                <a:gd name="T9" fmla="*/ 14 h 70"/>
                <a:gd name="T10" fmla="*/ 7 w 136"/>
                <a:gd name="T11" fmla="*/ 21 h 70"/>
                <a:gd name="T12" fmla="*/ 1 w 136"/>
                <a:gd name="T13" fmla="*/ 25 h 70"/>
                <a:gd name="T14" fmla="*/ 3 w 136"/>
                <a:gd name="T15" fmla="*/ 25 h 70"/>
                <a:gd name="T16" fmla="*/ 1 w 136"/>
                <a:gd name="T17" fmla="*/ 32 h 70"/>
                <a:gd name="T18" fmla="*/ 0 w 136"/>
                <a:gd name="T19" fmla="*/ 36 h 70"/>
                <a:gd name="T20" fmla="*/ 7 w 136"/>
                <a:gd name="T21" fmla="*/ 42 h 70"/>
                <a:gd name="T22" fmla="*/ 14 w 136"/>
                <a:gd name="T23" fmla="*/ 46 h 70"/>
                <a:gd name="T24" fmla="*/ 17 w 136"/>
                <a:gd name="T25" fmla="*/ 48 h 70"/>
                <a:gd name="T26" fmla="*/ 21 w 136"/>
                <a:gd name="T27" fmla="*/ 45 h 70"/>
                <a:gd name="T28" fmla="*/ 26 w 136"/>
                <a:gd name="T29" fmla="*/ 48 h 70"/>
                <a:gd name="T30" fmla="*/ 34 w 136"/>
                <a:gd name="T31" fmla="*/ 54 h 70"/>
                <a:gd name="T32" fmla="*/ 33 w 136"/>
                <a:gd name="T33" fmla="*/ 58 h 70"/>
                <a:gd name="T34" fmla="*/ 33 w 136"/>
                <a:gd name="T35" fmla="*/ 62 h 70"/>
                <a:gd name="T36" fmla="*/ 36 w 136"/>
                <a:gd name="T37" fmla="*/ 65 h 70"/>
                <a:gd name="T38" fmla="*/ 42 w 136"/>
                <a:gd name="T39" fmla="*/ 69 h 70"/>
                <a:gd name="T40" fmla="*/ 47 w 136"/>
                <a:gd name="T41" fmla="*/ 67 h 70"/>
                <a:gd name="T42" fmla="*/ 48 w 136"/>
                <a:gd name="T43" fmla="*/ 65 h 70"/>
                <a:gd name="T44" fmla="*/ 52 w 136"/>
                <a:gd name="T45" fmla="*/ 62 h 70"/>
                <a:gd name="T46" fmla="*/ 59 w 136"/>
                <a:gd name="T47" fmla="*/ 50 h 70"/>
                <a:gd name="T48" fmla="*/ 66 w 136"/>
                <a:gd name="T49" fmla="*/ 47 h 70"/>
                <a:gd name="T50" fmla="*/ 72 w 136"/>
                <a:gd name="T51" fmla="*/ 43 h 70"/>
                <a:gd name="T52" fmla="*/ 74 w 136"/>
                <a:gd name="T53" fmla="*/ 47 h 70"/>
                <a:gd name="T54" fmla="*/ 77 w 136"/>
                <a:gd name="T55" fmla="*/ 48 h 70"/>
                <a:gd name="T56" fmla="*/ 86 w 136"/>
                <a:gd name="T57" fmla="*/ 40 h 70"/>
                <a:gd name="T58" fmla="*/ 88 w 136"/>
                <a:gd name="T59" fmla="*/ 37 h 70"/>
                <a:gd name="T60" fmla="*/ 91 w 136"/>
                <a:gd name="T61" fmla="*/ 32 h 70"/>
                <a:gd name="T62" fmla="*/ 99 w 136"/>
                <a:gd name="T63" fmla="*/ 26 h 70"/>
                <a:gd name="T64" fmla="*/ 104 w 136"/>
                <a:gd name="T65" fmla="*/ 29 h 70"/>
                <a:gd name="T66" fmla="*/ 109 w 136"/>
                <a:gd name="T67" fmla="*/ 30 h 70"/>
                <a:gd name="T68" fmla="*/ 112 w 136"/>
                <a:gd name="T69" fmla="*/ 29 h 70"/>
                <a:gd name="T70" fmla="*/ 123 w 136"/>
                <a:gd name="T71" fmla="*/ 26 h 70"/>
                <a:gd name="T72" fmla="*/ 134 w 136"/>
                <a:gd name="T73" fmla="*/ 23 h 70"/>
                <a:gd name="T74" fmla="*/ 124 w 136"/>
                <a:gd name="T75" fmla="*/ 20 h 70"/>
                <a:gd name="T76" fmla="*/ 117 w 136"/>
                <a:gd name="T77" fmla="*/ 17 h 70"/>
                <a:gd name="T78" fmla="*/ 124 w 136"/>
                <a:gd name="T79" fmla="*/ 15 h 70"/>
                <a:gd name="T80" fmla="*/ 110 w 136"/>
                <a:gd name="T81" fmla="*/ 6 h 70"/>
                <a:gd name="T82" fmla="*/ 95 w 136"/>
                <a:gd name="T83" fmla="*/ 1 h 70"/>
                <a:gd name="T84" fmla="*/ 87 w 136"/>
                <a:gd name="T85" fmla="*/ 3 h 70"/>
                <a:gd name="T86" fmla="*/ 72 w 136"/>
                <a:gd name="T8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70">
                  <a:moveTo>
                    <a:pt x="72" y="0"/>
                  </a:moveTo>
                  <a:cubicBezTo>
                    <a:pt x="74" y="1"/>
                    <a:pt x="73" y="2"/>
                    <a:pt x="71" y="3"/>
                  </a:cubicBezTo>
                  <a:cubicBezTo>
                    <a:pt x="67" y="4"/>
                    <a:pt x="63" y="6"/>
                    <a:pt x="60" y="6"/>
                  </a:cubicBezTo>
                  <a:cubicBezTo>
                    <a:pt x="59" y="6"/>
                    <a:pt x="59" y="6"/>
                    <a:pt x="59" y="6"/>
                  </a:cubicBezTo>
                  <a:cubicBezTo>
                    <a:pt x="58" y="6"/>
                    <a:pt x="57" y="6"/>
                    <a:pt x="57" y="6"/>
                  </a:cubicBezTo>
                  <a:cubicBezTo>
                    <a:pt x="55" y="6"/>
                    <a:pt x="54" y="6"/>
                    <a:pt x="53" y="6"/>
                  </a:cubicBezTo>
                  <a:cubicBezTo>
                    <a:pt x="52" y="6"/>
                    <a:pt x="50" y="6"/>
                    <a:pt x="49" y="6"/>
                  </a:cubicBezTo>
                  <a:cubicBezTo>
                    <a:pt x="48" y="6"/>
                    <a:pt x="47" y="6"/>
                    <a:pt x="46" y="6"/>
                  </a:cubicBezTo>
                  <a:cubicBezTo>
                    <a:pt x="41" y="5"/>
                    <a:pt x="37" y="4"/>
                    <a:pt x="32" y="3"/>
                  </a:cubicBezTo>
                  <a:cubicBezTo>
                    <a:pt x="32" y="3"/>
                    <a:pt x="32" y="3"/>
                    <a:pt x="32" y="3"/>
                  </a:cubicBezTo>
                  <a:cubicBezTo>
                    <a:pt x="29" y="3"/>
                    <a:pt x="25" y="5"/>
                    <a:pt x="22" y="7"/>
                  </a:cubicBezTo>
                  <a:cubicBezTo>
                    <a:pt x="23" y="8"/>
                    <a:pt x="23" y="8"/>
                    <a:pt x="23" y="8"/>
                  </a:cubicBezTo>
                  <a:cubicBezTo>
                    <a:pt x="22" y="9"/>
                    <a:pt x="22" y="9"/>
                    <a:pt x="22" y="9"/>
                  </a:cubicBezTo>
                  <a:cubicBezTo>
                    <a:pt x="20" y="10"/>
                    <a:pt x="18" y="12"/>
                    <a:pt x="17" y="13"/>
                  </a:cubicBezTo>
                  <a:cubicBezTo>
                    <a:pt x="16" y="14"/>
                    <a:pt x="16" y="14"/>
                    <a:pt x="16" y="14"/>
                  </a:cubicBezTo>
                  <a:cubicBezTo>
                    <a:pt x="15" y="15"/>
                    <a:pt x="15" y="15"/>
                    <a:pt x="14" y="16"/>
                  </a:cubicBezTo>
                  <a:cubicBezTo>
                    <a:pt x="12" y="17"/>
                    <a:pt x="10" y="19"/>
                    <a:pt x="8" y="21"/>
                  </a:cubicBezTo>
                  <a:cubicBezTo>
                    <a:pt x="7" y="21"/>
                    <a:pt x="7" y="21"/>
                    <a:pt x="7" y="21"/>
                  </a:cubicBezTo>
                  <a:cubicBezTo>
                    <a:pt x="6" y="22"/>
                    <a:pt x="5" y="23"/>
                    <a:pt x="4" y="23"/>
                  </a:cubicBezTo>
                  <a:cubicBezTo>
                    <a:pt x="3" y="24"/>
                    <a:pt x="3" y="24"/>
                    <a:pt x="3" y="24"/>
                  </a:cubicBezTo>
                  <a:cubicBezTo>
                    <a:pt x="2" y="24"/>
                    <a:pt x="1" y="24"/>
                    <a:pt x="1" y="25"/>
                  </a:cubicBezTo>
                  <a:cubicBezTo>
                    <a:pt x="1" y="25"/>
                    <a:pt x="1" y="26"/>
                    <a:pt x="0" y="26"/>
                  </a:cubicBezTo>
                  <a:cubicBezTo>
                    <a:pt x="0" y="27"/>
                    <a:pt x="0" y="27"/>
                    <a:pt x="0" y="27"/>
                  </a:cubicBezTo>
                  <a:cubicBezTo>
                    <a:pt x="3" y="25"/>
                    <a:pt x="3" y="25"/>
                    <a:pt x="3" y="25"/>
                  </a:cubicBezTo>
                  <a:cubicBezTo>
                    <a:pt x="0" y="29"/>
                    <a:pt x="0" y="29"/>
                    <a:pt x="0" y="29"/>
                  </a:cubicBezTo>
                  <a:cubicBezTo>
                    <a:pt x="1" y="29"/>
                    <a:pt x="1" y="29"/>
                    <a:pt x="1" y="30"/>
                  </a:cubicBezTo>
                  <a:cubicBezTo>
                    <a:pt x="1" y="31"/>
                    <a:pt x="1" y="31"/>
                    <a:pt x="1" y="32"/>
                  </a:cubicBezTo>
                  <a:cubicBezTo>
                    <a:pt x="1" y="33"/>
                    <a:pt x="1" y="34"/>
                    <a:pt x="1" y="34"/>
                  </a:cubicBezTo>
                  <a:cubicBezTo>
                    <a:pt x="1" y="35"/>
                    <a:pt x="1" y="35"/>
                    <a:pt x="1" y="35"/>
                  </a:cubicBezTo>
                  <a:cubicBezTo>
                    <a:pt x="0" y="35"/>
                    <a:pt x="0" y="36"/>
                    <a:pt x="0" y="36"/>
                  </a:cubicBezTo>
                  <a:cubicBezTo>
                    <a:pt x="1" y="36"/>
                    <a:pt x="2" y="37"/>
                    <a:pt x="4" y="39"/>
                  </a:cubicBezTo>
                  <a:cubicBezTo>
                    <a:pt x="5" y="40"/>
                    <a:pt x="6" y="41"/>
                    <a:pt x="6" y="42"/>
                  </a:cubicBezTo>
                  <a:cubicBezTo>
                    <a:pt x="7" y="42"/>
                    <a:pt x="7" y="42"/>
                    <a:pt x="7" y="42"/>
                  </a:cubicBezTo>
                  <a:cubicBezTo>
                    <a:pt x="8" y="43"/>
                    <a:pt x="9" y="43"/>
                    <a:pt x="9" y="44"/>
                  </a:cubicBezTo>
                  <a:cubicBezTo>
                    <a:pt x="10" y="44"/>
                    <a:pt x="10" y="45"/>
                    <a:pt x="11" y="45"/>
                  </a:cubicBezTo>
                  <a:cubicBezTo>
                    <a:pt x="12" y="45"/>
                    <a:pt x="13" y="46"/>
                    <a:pt x="14" y="46"/>
                  </a:cubicBezTo>
                  <a:cubicBezTo>
                    <a:pt x="15" y="47"/>
                    <a:pt x="16" y="47"/>
                    <a:pt x="16" y="48"/>
                  </a:cubicBezTo>
                  <a:cubicBezTo>
                    <a:pt x="16" y="48"/>
                    <a:pt x="16" y="48"/>
                    <a:pt x="16" y="48"/>
                  </a:cubicBezTo>
                  <a:cubicBezTo>
                    <a:pt x="17" y="48"/>
                    <a:pt x="17" y="48"/>
                    <a:pt x="17" y="48"/>
                  </a:cubicBezTo>
                  <a:cubicBezTo>
                    <a:pt x="17" y="48"/>
                    <a:pt x="17" y="48"/>
                    <a:pt x="17" y="48"/>
                  </a:cubicBezTo>
                  <a:cubicBezTo>
                    <a:pt x="17" y="47"/>
                    <a:pt x="18" y="47"/>
                    <a:pt x="18" y="46"/>
                  </a:cubicBezTo>
                  <a:cubicBezTo>
                    <a:pt x="19" y="46"/>
                    <a:pt x="20" y="45"/>
                    <a:pt x="21" y="45"/>
                  </a:cubicBezTo>
                  <a:cubicBezTo>
                    <a:pt x="23" y="45"/>
                    <a:pt x="24" y="46"/>
                    <a:pt x="25" y="47"/>
                  </a:cubicBezTo>
                  <a:cubicBezTo>
                    <a:pt x="25" y="47"/>
                    <a:pt x="25" y="47"/>
                    <a:pt x="25" y="47"/>
                  </a:cubicBezTo>
                  <a:cubicBezTo>
                    <a:pt x="26" y="47"/>
                    <a:pt x="26" y="48"/>
                    <a:pt x="26" y="48"/>
                  </a:cubicBezTo>
                  <a:cubicBezTo>
                    <a:pt x="28" y="48"/>
                    <a:pt x="30" y="48"/>
                    <a:pt x="32" y="49"/>
                  </a:cubicBezTo>
                  <a:cubicBezTo>
                    <a:pt x="32" y="49"/>
                    <a:pt x="32" y="49"/>
                    <a:pt x="32" y="49"/>
                  </a:cubicBezTo>
                  <a:cubicBezTo>
                    <a:pt x="34" y="50"/>
                    <a:pt x="34" y="52"/>
                    <a:pt x="34" y="54"/>
                  </a:cubicBezTo>
                  <a:cubicBezTo>
                    <a:pt x="34" y="55"/>
                    <a:pt x="34" y="56"/>
                    <a:pt x="34" y="57"/>
                  </a:cubicBezTo>
                  <a:cubicBezTo>
                    <a:pt x="33" y="58"/>
                    <a:pt x="33" y="58"/>
                    <a:pt x="33" y="58"/>
                  </a:cubicBezTo>
                  <a:cubicBezTo>
                    <a:pt x="33" y="58"/>
                    <a:pt x="33" y="58"/>
                    <a:pt x="33" y="58"/>
                  </a:cubicBezTo>
                  <a:cubicBezTo>
                    <a:pt x="33" y="59"/>
                    <a:pt x="33" y="59"/>
                    <a:pt x="33" y="60"/>
                  </a:cubicBezTo>
                  <a:cubicBezTo>
                    <a:pt x="33" y="61"/>
                    <a:pt x="33" y="61"/>
                    <a:pt x="33" y="61"/>
                  </a:cubicBezTo>
                  <a:cubicBezTo>
                    <a:pt x="33" y="62"/>
                    <a:pt x="33" y="62"/>
                    <a:pt x="33" y="62"/>
                  </a:cubicBezTo>
                  <a:cubicBezTo>
                    <a:pt x="33" y="62"/>
                    <a:pt x="34" y="62"/>
                    <a:pt x="34" y="62"/>
                  </a:cubicBezTo>
                  <a:cubicBezTo>
                    <a:pt x="36" y="62"/>
                    <a:pt x="37" y="62"/>
                    <a:pt x="39" y="63"/>
                  </a:cubicBezTo>
                  <a:cubicBezTo>
                    <a:pt x="39" y="63"/>
                    <a:pt x="36" y="65"/>
                    <a:pt x="36" y="65"/>
                  </a:cubicBezTo>
                  <a:cubicBezTo>
                    <a:pt x="36" y="67"/>
                    <a:pt x="40" y="68"/>
                    <a:pt x="40" y="70"/>
                  </a:cubicBezTo>
                  <a:cubicBezTo>
                    <a:pt x="41" y="69"/>
                    <a:pt x="41" y="69"/>
                    <a:pt x="41" y="69"/>
                  </a:cubicBezTo>
                  <a:cubicBezTo>
                    <a:pt x="42" y="69"/>
                    <a:pt x="42" y="69"/>
                    <a:pt x="42" y="69"/>
                  </a:cubicBezTo>
                  <a:cubicBezTo>
                    <a:pt x="43" y="69"/>
                    <a:pt x="43" y="69"/>
                    <a:pt x="43" y="69"/>
                  </a:cubicBezTo>
                  <a:cubicBezTo>
                    <a:pt x="44" y="69"/>
                    <a:pt x="45" y="69"/>
                    <a:pt x="47" y="67"/>
                  </a:cubicBezTo>
                  <a:cubicBezTo>
                    <a:pt x="47" y="67"/>
                    <a:pt x="47" y="67"/>
                    <a:pt x="47" y="67"/>
                  </a:cubicBezTo>
                  <a:cubicBezTo>
                    <a:pt x="47" y="67"/>
                    <a:pt x="47" y="67"/>
                    <a:pt x="47" y="67"/>
                  </a:cubicBezTo>
                  <a:cubicBezTo>
                    <a:pt x="47" y="66"/>
                    <a:pt x="47" y="66"/>
                    <a:pt x="48" y="65"/>
                  </a:cubicBezTo>
                  <a:cubicBezTo>
                    <a:pt x="48" y="65"/>
                    <a:pt x="48" y="65"/>
                    <a:pt x="48" y="65"/>
                  </a:cubicBezTo>
                  <a:cubicBezTo>
                    <a:pt x="49" y="63"/>
                    <a:pt x="51" y="63"/>
                    <a:pt x="52" y="63"/>
                  </a:cubicBezTo>
                  <a:cubicBezTo>
                    <a:pt x="52" y="62"/>
                    <a:pt x="52" y="62"/>
                    <a:pt x="52" y="62"/>
                  </a:cubicBezTo>
                  <a:cubicBezTo>
                    <a:pt x="52" y="62"/>
                    <a:pt x="52" y="62"/>
                    <a:pt x="52" y="62"/>
                  </a:cubicBezTo>
                  <a:cubicBezTo>
                    <a:pt x="51" y="60"/>
                    <a:pt x="51" y="59"/>
                    <a:pt x="51" y="58"/>
                  </a:cubicBezTo>
                  <a:cubicBezTo>
                    <a:pt x="50" y="56"/>
                    <a:pt x="50" y="53"/>
                    <a:pt x="52" y="52"/>
                  </a:cubicBezTo>
                  <a:cubicBezTo>
                    <a:pt x="53" y="51"/>
                    <a:pt x="58" y="50"/>
                    <a:pt x="59" y="50"/>
                  </a:cubicBezTo>
                  <a:cubicBezTo>
                    <a:pt x="60" y="50"/>
                    <a:pt x="61" y="51"/>
                    <a:pt x="61" y="51"/>
                  </a:cubicBezTo>
                  <a:cubicBezTo>
                    <a:pt x="62" y="51"/>
                    <a:pt x="62" y="51"/>
                    <a:pt x="62" y="51"/>
                  </a:cubicBezTo>
                  <a:cubicBezTo>
                    <a:pt x="63" y="49"/>
                    <a:pt x="65" y="48"/>
                    <a:pt x="66" y="47"/>
                  </a:cubicBezTo>
                  <a:cubicBezTo>
                    <a:pt x="68" y="46"/>
                    <a:pt x="68" y="46"/>
                    <a:pt x="68" y="46"/>
                  </a:cubicBezTo>
                  <a:cubicBezTo>
                    <a:pt x="69" y="45"/>
                    <a:pt x="70" y="44"/>
                    <a:pt x="71" y="44"/>
                  </a:cubicBezTo>
                  <a:cubicBezTo>
                    <a:pt x="72" y="43"/>
                    <a:pt x="72" y="43"/>
                    <a:pt x="72" y="43"/>
                  </a:cubicBezTo>
                  <a:cubicBezTo>
                    <a:pt x="73" y="45"/>
                    <a:pt x="73" y="45"/>
                    <a:pt x="73" y="45"/>
                  </a:cubicBezTo>
                  <a:cubicBezTo>
                    <a:pt x="74" y="45"/>
                    <a:pt x="74" y="46"/>
                    <a:pt x="74" y="47"/>
                  </a:cubicBezTo>
                  <a:cubicBezTo>
                    <a:pt x="74" y="47"/>
                    <a:pt x="74" y="47"/>
                    <a:pt x="74" y="47"/>
                  </a:cubicBezTo>
                  <a:cubicBezTo>
                    <a:pt x="75" y="48"/>
                    <a:pt x="76" y="48"/>
                    <a:pt x="77" y="49"/>
                  </a:cubicBezTo>
                  <a:cubicBezTo>
                    <a:pt x="77" y="49"/>
                    <a:pt x="77" y="49"/>
                    <a:pt x="77" y="49"/>
                  </a:cubicBezTo>
                  <a:cubicBezTo>
                    <a:pt x="77" y="48"/>
                    <a:pt x="77" y="48"/>
                    <a:pt x="77" y="48"/>
                  </a:cubicBezTo>
                  <a:cubicBezTo>
                    <a:pt x="77" y="48"/>
                    <a:pt x="77" y="48"/>
                    <a:pt x="77" y="48"/>
                  </a:cubicBezTo>
                  <a:cubicBezTo>
                    <a:pt x="78" y="47"/>
                    <a:pt x="79" y="46"/>
                    <a:pt x="79" y="45"/>
                  </a:cubicBezTo>
                  <a:cubicBezTo>
                    <a:pt x="81" y="43"/>
                    <a:pt x="84" y="42"/>
                    <a:pt x="86" y="40"/>
                  </a:cubicBezTo>
                  <a:cubicBezTo>
                    <a:pt x="87" y="40"/>
                    <a:pt x="87" y="39"/>
                    <a:pt x="88" y="39"/>
                  </a:cubicBezTo>
                  <a:cubicBezTo>
                    <a:pt x="88" y="38"/>
                    <a:pt x="88" y="38"/>
                    <a:pt x="88" y="37"/>
                  </a:cubicBezTo>
                  <a:cubicBezTo>
                    <a:pt x="88" y="37"/>
                    <a:pt x="88" y="37"/>
                    <a:pt x="88" y="37"/>
                  </a:cubicBezTo>
                  <a:cubicBezTo>
                    <a:pt x="88" y="36"/>
                    <a:pt x="88" y="36"/>
                    <a:pt x="88" y="36"/>
                  </a:cubicBezTo>
                  <a:cubicBezTo>
                    <a:pt x="88" y="35"/>
                    <a:pt x="88" y="35"/>
                    <a:pt x="88" y="35"/>
                  </a:cubicBezTo>
                  <a:cubicBezTo>
                    <a:pt x="88" y="34"/>
                    <a:pt x="89" y="32"/>
                    <a:pt x="91" y="32"/>
                  </a:cubicBezTo>
                  <a:cubicBezTo>
                    <a:pt x="92" y="29"/>
                    <a:pt x="95" y="27"/>
                    <a:pt x="97" y="26"/>
                  </a:cubicBezTo>
                  <a:cubicBezTo>
                    <a:pt x="97" y="26"/>
                    <a:pt x="98" y="26"/>
                    <a:pt x="99" y="26"/>
                  </a:cubicBezTo>
                  <a:cubicBezTo>
                    <a:pt x="99" y="26"/>
                    <a:pt x="99" y="26"/>
                    <a:pt x="99" y="26"/>
                  </a:cubicBezTo>
                  <a:cubicBezTo>
                    <a:pt x="100" y="26"/>
                    <a:pt x="100" y="26"/>
                    <a:pt x="100" y="26"/>
                  </a:cubicBezTo>
                  <a:cubicBezTo>
                    <a:pt x="101" y="26"/>
                    <a:pt x="101" y="26"/>
                    <a:pt x="101" y="26"/>
                  </a:cubicBezTo>
                  <a:cubicBezTo>
                    <a:pt x="102" y="27"/>
                    <a:pt x="103" y="28"/>
                    <a:pt x="104" y="29"/>
                  </a:cubicBezTo>
                  <a:cubicBezTo>
                    <a:pt x="106" y="30"/>
                    <a:pt x="107" y="30"/>
                    <a:pt x="108" y="30"/>
                  </a:cubicBezTo>
                  <a:cubicBezTo>
                    <a:pt x="108" y="30"/>
                    <a:pt x="108" y="30"/>
                    <a:pt x="108" y="30"/>
                  </a:cubicBezTo>
                  <a:cubicBezTo>
                    <a:pt x="109" y="30"/>
                    <a:pt x="109" y="30"/>
                    <a:pt x="109" y="30"/>
                  </a:cubicBezTo>
                  <a:cubicBezTo>
                    <a:pt x="109" y="30"/>
                    <a:pt x="109" y="30"/>
                    <a:pt x="109" y="30"/>
                  </a:cubicBezTo>
                  <a:cubicBezTo>
                    <a:pt x="110" y="30"/>
                    <a:pt x="110" y="30"/>
                    <a:pt x="110" y="30"/>
                  </a:cubicBezTo>
                  <a:cubicBezTo>
                    <a:pt x="110" y="29"/>
                    <a:pt x="111" y="29"/>
                    <a:pt x="112" y="29"/>
                  </a:cubicBezTo>
                  <a:cubicBezTo>
                    <a:pt x="113" y="29"/>
                    <a:pt x="113" y="29"/>
                    <a:pt x="113" y="29"/>
                  </a:cubicBezTo>
                  <a:cubicBezTo>
                    <a:pt x="114" y="28"/>
                    <a:pt x="114" y="28"/>
                    <a:pt x="114" y="28"/>
                  </a:cubicBezTo>
                  <a:cubicBezTo>
                    <a:pt x="117" y="28"/>
                    <a:pt x="120" y="27"/>
                    <a:pt x="123" y="26"/>
                  </a:cubicBezTo>
                  <a:cubicBezTo>
                    <a:pt x="127" y="25"/>
                    <a:pt x="132" y="24"/>
                    <a:pt x="136" y="23"/>
                  </a:cubicBezTo>
                  <a:cubicBezTo>
                    <a:pt x="136" y="23"/>
                    <a:pt x="136" y="23"/>
                    <a:pt x="136" y="23"/>
                  </a:cubicBezTo>
                  <a:cubicBezTo>
                    <a:pt x="135" y="23"/>
                    <a:pt x="135" y="23"/>
                    <a:pt x="134" y="23"/>
                  </a:cubicBezTo>
                  <a:cubicBezTo>
                    <a:pt x="132" y="22"/>
                    <a:pt x="129" y="21"/>
                    <a:pt x="127" y="21"/>
                  </a:cubicBezTo>
                  <a:cubicBezTo>
                    <a:pt x="128" y="20"/>
                    <a:pt x="129" y="19"/>
                    <a:pt x="129" y="18"/>
                  </a:cubicBezTo>
                  <a:cubicBezTo>
                    <a:pt x="128" y="18"/>
                    <a:pt x="125" y="20"/>
                    <a:pt x="124" y="20"/>
                  </a:cubicBezTo>
                  <a:cubicBezTo>
                    <a:pt x="124" y="20"/>
                    <a:pt x="124" y="20"/>
                    <a:pt x="124" y="20"/>
                  </a:cubicBezTo>
                  <a:cubicBezTo>
                    <a:pt x="123" y="20"/>
                    <a:pt x="122" y="19"/>
                    <a:pt x="121" y="19"/>
                  </a:cubicBezTo>
                  <a:cubicBezTo>
                    <a:pt x="119" y="18"/>
                    <a:pt x="119" y="19"/>
                    <a:pt x="117" y="17"/>
                  </a:cubicBezTo>
                  <a:cubicBezTo>
                    <a:pt x="116" y="16"/>
                    <a:pt x="115" y="12"/>
                    <a:pt x="117" y="12"/>
                  </a:cubicBezTo>
                  <a:cubicBezTo>
                    <a:pt x="119" y="13"/>
                    <a:pt x="119" y="13"/>
                    <a:pt x="119" y="13"/>
                  </a:cubicBezTo>
                  <a:cubicBezTo>
                    <a:pt x="120" y="13"/>
                    <a:pt x="122" y="15"/>
                    <a:pt x="124" y="15"/>
                  </a:cubicBezTo>
                  <a:cubicBezTo>
                    <a:pt x="124" y="15"/>
                    <a:pt x="124" y="15"/>
                    <a:pt x="124" y="15"/>
                  </a:cubicBezTo>
                  <a:cubicBezTo>
                    <a:pt x="121" y="13"/>
                    <a:pt x="119" y="11"/>
                    <a:pt x="116" y="9"/>
                  </a:cubicBezTo>
                  <a:cubicBezTo>
                    <a:pt x="113" y="6"/>
                    <a:pt x="112" y="6"/>
                    <a:pt x="110" y="6"/>
                  </a:cubicBezTo>
                  <a:cubicBezTo>
                    <a:pt x="109" y="6"/>
                    <a:pt x="108" y="6"/>
                    <a:pt x="108" y="6"/>
                  </a:cubicBezTo>
                  <a:cubicBezTo>
                    <a:pt x="107" y="6"/>
                    <a:pt x="107" y="6"/>
                    <a:pt x="106" y="6"/>
                  </a:cubicBezTo>
                  <a:cubicBezTo>
                    <a:pt x="102" y="6"/>
                    <a:pt x="100" y="4"/>
                    <a:pt x="95" y="1"/>
                  </a:cubicBezTo>
                  <a:cubicBezTo>
                    <a:pt x="95" y="1"/>
                    <a:pt x="94" y="1"/>
                    <a:pt x="94" y="1"/>
                  </a:cubicBezTo>
                  <a:cubicBezTo>
                    <a:pt x="93" y="1"/>
                    <a:pt x="92" y="2"/>
                    <a:pt x="90" y="2"/>
                  </a:cubicBezTo>
                  <a:cubicBezTo>
                    <a:pt x="89" y="3"/>
                    <a:pt x="88" y="3"/>
                    <a:pt x="87" y="3"/>
                  </a:cubicBezTo>
                  <a:cubicBezTo>
                    <a:pt x="87" y="3"/>
                    <a:pt x="87" y="3"/>
                    <a:pt x="86" y="3"/>
                  </a:cubicBezTo>
                  <a:cubicBezTo>
                    <a:pt x="83" y="3"/>
                    <a:pt x="80" y="2"/>
                    <a:pt x="77" y="1"/>
                  </a:cubicBezTo>
                  <a:cubicBezTo>
                    <a:pt x="75" y="1"/>
                    <a:pt x="74" y="1"/>
                    <a:pt x="7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4" name="Rectangle 357">
              <a:extLst>
                <a:ext uri="{FF2B5EF4-FFF2-40B4-BE49-F238E27FC236}">
                  <a16:creationId xmlns:a16="http://schemas.microsoft.com/office/drawing/2014/main" id="{F263DE83-8612-44A2-9D9F-083890E426CB}"/>
                </a:ext>
              </a:extLst>
            </p:cNvPr>
            <p:cNvSpPr>
              <a:spLocks noChangeArrowheads="1"/>
            </p:cNvSpPr>
            <p:nvPr/>
          </p:nvSpPr>
          <p:spPr bwMode="auto">
            <a:xfrm>
              <a:off x="8147041" y="7817672"/>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5" name="Freeform 358">
              <a:extLst>
                <a:ext uri="{FF2B5EF4-FFF2-40B4-BE49-F238E27FC236}">
                  <a16:creationId xmlns:a16="http://schemas.microsoft.com/office/drawing/2014/main" id="{651DEAB2-0CF3-48AB-80D7-DC0794E1C5FB}"/>
                </a:ext>
              </a:extLst>
            </p:cNvPr>
            <p:cNvSpPr>
              <a:spLocks/>
            </p:cNvSpPr>
            <p:nvPr/>
          </p:nvSpPr>
          <p:spPr bwMode="auto">
            <a:xfrm>
              <a:off x="8147041" y="7817672"/>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6" name="Freeform 359">
              <a:extLst>
                <a:ext uri="{FF2B5EF4-FFF2-40B4-BE49-F238E27FC236}">
                  <a16:creationId xmlns:a16="http://schemas.microsoft.com/office/drawing/2014/main" id="{8BE0303D-B0E1-43CF-B468-C759AA8DBE49}"/>
                </a:ext>
              </a:extLst>
            </p:cNvPr>
            <p:cNvSpPr>
              <a:spLocks/>
            </p:cNvSpPr>
            <p:nvPr/>
          </p:nvSpPr>
          <p:spPr bwMode="auto">
            <a:xfrm>
              <a:off x="7896216" y="7573197"/>
              <a:ext cx="330200" cy="349250"/>
            </a:xfrm>
            <a:custGeom>
              <a:avLst/>
              <a:gdLst>
                <a:gd name="T0" fmla="*/ 29 w 88"/>
                <a:gd name="T1" fmla="*/ 0 h 93"/>
                <a:gd name="T2" fmla="*/ 29 w 88"/>
                <a:gd name="T3" fmla="*/ 10 h 93"/>
                <a:gd name="T4" fmla="*/ 29 w 88"/>
                <a:gd name="T5" fmla="*/ 11 h 93"/>
                <a:gd name="T6" fmla="*/ 24 w 88"/>
                <a:gd name="T7" fmla="*/ 14 h 93"/>
                <a:gd name="T8" fmla="*/ 29 w 88"/>
                <a:gd name="T9" fmla="*/ 18 h 93"/>
                <a:gd name="T10" fmla="*/ 32 w 88"/>
                <a:gd name="T11" fmla="*/ 21 h 93"/>
                <a:gd name="T12" fmla="*/ 38 w 88"/>
                <a:gd name="T13" fmla="*/ 27 h 93"/>
                <a:gd name="T14" fmla="*/ 41 w 88"/>
                <a:gd name="T15" fmla="*/ 29 h 93"/>
                <a:gd name="T16" fmla="*/ 43 w 88"/>
                <a:gd name="T17" fmla="*/ 34 h 93"/>
                <a:gd name="T18" fmla="*/ 43 w 88"/>
                <a:gd name="T19" fmla="*/ 36 h 93"/>
                <a:gd name="T20" fmla="*/ 38 w 88"/>
                <a:gd name="T21" fmla="*/ 42 h 93"/>
                <a:gd name="T22" fmla="*/ 23 w 88"/>
                <a:gd name="T23" fmla="*/ 42 h 93"/>
                <a:gd name="T24" fmla="*/ 15 w 88"/>
                <a:gd name="T25" fmla="*/ 42 h 93"/>
                <a:gd name="T26" fmla="*/ 11 w 88"/>
                <a:gd name="T27" fmla="*/ 44 h 93"/>
                <a:gd name="T28" fmla="*/ 9 w 88"/>
                <a:gd name="T29" fmla="*/ 46 h 93"/>
                <a:gd name="T30" fmla="*/ 2 w 88"/>
                <a:gd name="T31" fmla="*/ 56 h 93"/>
                <a:gd name="T32" fmla="*/ 2 w 88"/>
                <a:gd name="T33" fmla="*/ 58 h 93"/>
                <a:gd name="T34" fmla="*/ 2 w 88"/>
                <a:gd name="T35" fmla="*/ 58 h 93"/>
                <a:gd name="T36" fmla="*/ 2 w 88"/>
                <a:gd name="T37" fmla="*/ 59 h 93"/>
                <a:gd name="T38" fmla="*/ 3 w 88"/>
                <a:gd name="T39" fmla="*/ 64 h 93"/>
                <a:gd name="T40" fmla="*/ 3 w 88"/>
                <a:gd name="T41" fmla="*/ 66 h 93"/>
                <a:gd name="T42" fmla="*/ 2 w 88"/>
                <a:gd name="T43" fmla="*/ 69 h 93"/>
                <a:gd name="T44" fmla="*/ 2 w 88"/>
                <a:gd name="T45" fmla="*/ 71 h 93"/>
                <a:gd name="T46" fmla="*/ 2 w 88"/>
                <a:gd name="T47" fmla="*/ 73 h 93"/>
                <a:gd name="T48" fmla="*/ 1 w 88"/>
                <a:gd name="T49" fmla="*/ 76 h 93"/>
                <a:gd name="T50" fmla="*/ 1 w 88"/>
                <a:gd name="T51" fmla="*/ 78 h 93"/>
                <a:gd name="T52" fmla="*/ 26 w 88"/>
                <a:gd name="T53" fmla="*/ 90 h 93"/>
                <a:gd name="T54" fmla="*/ 31 w 88"/>
                <a:gd name="T55" fmla="*/ 90 h 93"/>
                <a:gd name="T56" fmla="*/ 35 w 88"/>
                <a:gd name="T57" fmla="*/ 90 h 93"/>
                <a:gd name="T58" fmla="*/ 44 w 88"/>
                <a:gd name="T59" fmla="*/ 93 h 93"/>
                <a:gd name="T60" fmla="*/ 47 w 88"/>
                <a:gd name="T61" fmla="*/ 88 h 93"/>
                <a:gd name="T62" fmla="*/ 53 w 88"/>
                <a:gd name="T63" fmla="*/ 84 h 93"/>
                <a:gd name="T64" fmla="*/ 57 w 88"/>
                <a:gd name="T65" fmla="*/ 82 h 93"/>
                <a:gd name="T66" fmla="*/ 61 w 88"/>
                <a:gd name="T67" fmla="*/ 75 h 93"/>
                <a:gd name="T68" fmla="*/ 64 w 88"/>
                <a:gd name="T69" fmla="*/ 75 h 93"/>
                <a:gd name="T70" fmla="*/ 67 w 88"/>
                <a:gd name="T71" fmla="*/ 72 h 93"/>
                <a:gd name="T72" fmla="*/ 65 w 88"/>
                <a:gd name="T73" fmla="*/ 69 h 93"/>
                <a:gd name="T74" fmla="*/ 66 w 88"/>
                <a:gd name="T75" fmla="*/ 65 h 93"/>
                <a:gd name="T76" fmla="*/ 66 w 88"/>
                <a:gd name="T77" fmla="*/ 63 h 93"/>
                <a:gd name="T78" fmla="*/ 72 w 88"/>
                <a:gd name="T79" fmla="*/ 59 h 93"/>
                <a:gd name="T80" fmla="*/ 73 w 88"/>
                <a:gd name="T81" fmla="*/ 58 h 93"/>
                <a:gd name="T82" fmla="*/ 75 w 88"/>
                <a:gd name="T83" fmla="*/ 56 h 93"/>
                <a:gd name="T84" fmla="*/ 83 w 88"/>
                <a:gd name="T85" fmla="*/ 50 h 93"/>
                <a:gd name="T86" fmla="*/ 88 w 88"/>
                <a:gd name="T87" fmla="*/ 46 h 93"/>
                <a:gd name="T88" fmla="*/ 84 w 88"/>
                <a:gd name="T89" fmla="*/ 44 h 93"/>
                <a:gd name="T90" fmla="*/ 76 w 88"/>
                <a:gd name="T91" fmla="*/ 44 h 93"/>
                <a:gd name="T92" fmla="*/ 76 w 88"/>
                <a:gd name="T93" fmla="*/ 45 h 93"/>
                <a:gd name="T94" fmla="*/ 75 w 88"/>
                <a:gd name="T95" fmla="*/ 46 h 93"/>
                <a:gd name="T96" fmla="*/ 73 w 88"/>
                <a:gd name="T97" fmla="*/ 47 h 93"/>
                <a:gd name="T98" fmla="*/ 72 w 88"/>
                <a:gd name="T99" fmla="*/ 46 h 93"/>
                <a:gd name="T100" fmla="*/ 69 w 88"/>
                <a:gd name="T101" fmla="*/ 46 h 93"/>
                <a:gd name="T102" fmla="*/ 65 w 88"/>
                <a:gd name="T103" fmla="*/ 42 h 93"/>
                <a:gd name="T104" fmla="*/ 66 w 88"/>
                <a:gd name="T105" fmla="*/ 12 h 93"/>
                <a:gd name="T106" fmla="*/ 66 w 88"/>
                <a:gd name="T107" fmla="*/ 4 h 93"/>
                <a:gd name="T108" fmla="*/ 37 w 88"/>
                <a:gd name="T109" fmla="*/ 0 h 93"/>
                <a:gd name="T110" fmla="*/ 34 w 88"/>
                <a:gd name="T111"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8" h="93">
                  <a:moveTo>
                    <a:pt x="29" y="0"/>
                  </a:moveTo>
                  <a:cubicBezTo>
                    <a:pt x="29" y="0"/>
                    <a:pt x="29" y="0"/>
                    <a:pt x="29" y="0"/>
                  </a:cubicBezTo>
                  <a:cubicBezTo>
                    <a:pt x="29" y="2"/>
                    <a:pt x="29" y="6"/>
                    <a:pt x="29" y="7"/>
                  </a:cubicBezTo>
                  <a:cubicBezTo>
                    <a:pt x="29" y="8"/>
                    <a:pt x="29" y="9"/>
                    <a:pt x="29" y="10"/>
                  </a:cubicBezTo>
                  <a:cubicBezTo>
                    <a:pt x="30" y="11"/>
                    <a:pt x="30" y="11"/>
                    <a:pt x="30" y="11"/>
                  </a:cubicBezTo>
                  <a:cubicBezTo>
                    <a:pt x="29" y="11"/>
                    <a:pt x="29" y="11"/>
                    <a:pt x="29" y="11"/>
                  </a:cubicBezTo>
                  <a:cubicBezTo>
                    <a:pt x="28" y="13"/>
                    <a:pt x="27" y="14"/>
                    <a:pt x="25" y="14"/>
                  </a:cubicBezTo>
                  <a:cubicBezTo>
                    <a:pt x="24" y="14"/>
                    <a:pt x="24" y="14"/>
                    <a:pt x="24" y="14"/>
                  </a:cubicBezTo>
                  <a:cubicBezTo>
                    <a:pt x="26" y="15"/>
                    <a:pt x="26" y="15"/>
                    <a:pt x="26" y="15"/>
                  </a:cubicBezTo>
                  <a:cubicBezTo>
                    <a:pt x="27" y="16"/>
                    <a:pt x="28" y="17"/>
                    <a:pt x="29" y="18"/>
                  </a:cubicBezTo>
                  <a:cubicBezTo>
                    <a:pt x="29" y="19"/>
                    <a:pt x="30" y="20"/>
                    <a:pt x="31" y="21"/>
                  </a:cubicBezTo>
                  <a:cubicBezTo>
                    <a:pt x="32" y="21"/>
                    <a:pt x="32" y="21"/>
                    <a:pt x="32" y="21"/>
                  </a:cubicBezTo>
                  <a:cubicBezTo>
                    <a:pt x="34" y="23"/>
                    <a:pt x="36" y="25"/>
                    <a:pt x="38" y="27"/>
                  </a:cubicBezTo>
                  <a:cubicBezTo>
                    <a:pt x="38" y="27"/>
                    <a:pt x="38" y="27"/>
                    <a:pt x="38" y="27"/>
                  </a:cubicBezTo>
                  <a:cubicBezTo>
                    <a:pt x="39" y="27"/>
                    <a:pt x="39" y="27"/>
                    <a:pt x="39" y="27"/>
                  </a:cubicBezTo>
                  <a:cubicBezTo>
                    <a:pt x="40" y="28"/>
                    <a:pt x="41" y="28"/>
                    <a:pt x="41" y="29"/>
                  </a:cubicBezTo>
                  <a:cubicBezTo>
                    <a:pt x="42" y="29"/>
                    <a:pt x="42" y="29"/>
                    <a:pt x="42" y="29"/>
                  </a:cubicBezTo>
                  <a:cubicBezTo>
                    <a:pt x="43" y="31"/>
                    <a:pt x="44" y="32"/>
                    <a:pt x="43" y="34"/>
                  </a:cubicBezTo>
                  <a:cubicBezTo>
                    <a:pt x="43" y="35"/>
                    <a:pt x="43" y="35"/>
                    <a:pt x="43" y="36"/>
                  </a:cubicBezTo>
                  <a:cubicBezTo>
                    <a:pt x="43" y="36"/>
                    <a:pt x="43" y="36"/>
                    <a:pt x="43" y="36"/>
                  </a:cubicBezTo>
                  <a:cubicBezTo>
                    <a:pt x="43" y="37"/>
                    <a:pt x="42" y="38"/>
                    <a:pt x="42" y="39"/>
                  </a:cubicBezTo>
                  <a:cubicBezTo>
                    <a:pt x="42" y="40"/>
                    <a:pt x="41" y="42"/>
                    <a:pt x="38" y="42"/>
                  </a:cubicBezTo>
                  <a:cubicBezTo>
                    <a:pt x="27" y="42"/>
                    <a:pt x="27" y="42"/>
                    <a:pt x="27" y="42"/>
                  </a:cubicBezTo>
                  <a:cubicBezTo>
                    <a:pt x="23" y="42"/>
                    <a:pt x="23" y="42"/>
                    <a:pt x="23" y="42"/>
                  </a:cubicBezTo>
                  <a:cubicBezTo>
                    <a:pt x="22" y="42"/>
                    <a:pt x="21" y="42"/>
                    <a:pt x="20" y="42"/>
                  </a:cubicBezTo>
                  <a:cubicBezTo>
                    <a:pt x="19" y="42"/>
                    <a:pt x="17" y="42"/>
                    <a:pt x="15" y="42"/>
                  </a:cubicBezTo>
                  <a:cubicBezTo>
                    <a:pt x="14" y="42"/>
                    <a:pt x="13" y="43"/>
                    <a:pt x="12" y="43"/>
                  </a:cubicBezTo>
                  <a:cubicBezTo>
                    <a:pt x="11" y="44"/>
                    <a:pt x="11" y="44"/>
                    <a:pt x="11" y="44"/>
                  </a:cubicBezTo>
                  <a:cubicBezTo>
                    <a:pt x="11" y="44"/>
                    <a:pt x="11" y="44"/>
                    <a:pt x="11" y="44"/>
                  </a:cubicBezTo>
                  <a:cubicBezTo>
                    <a:pt x="10" y="44"/>
                    <a:pt x="9" y="45"/>
                    <a:pt x="9" y="46"/>
                  </a:cubicBezTo>
                  <a:cubicBezTo>
                    <a:pt x="8" y="47"/>
                    <a:pt x="8" y="47"/>
                    <a:pt x="8" y="47"/>
                  </a:cubicBezTo>
                  <a:cubicBezTo>
                    <a:pt x="6" y="50"/>
                    <a:pt x="4" y="53"/>
                    <a:pt x="2" y="56"/>
                  </a:cubicBezTo>
                  <a:cubicBezTo>
                    <a:pt x="2" y="58"/>
                    <a:pt x="2" y="58"/>
                    <a:pt x="2" y="58"/>
                  </a:cubicBezTo>
                  <a:cubicBezTo>
                    <a:pt x="2" y="58"/>
                    <a:pt x="2" y="58"/>
                    <a:pt x="2" y="58"/>
                  </a:cubicBezTo>
                  <a:cubicBezTo>
                    <a:pt x="2" y="58"/>
                    <a:pt x="2" y="58"/>
                    <a:pt x="2" y="58"/>
                  </a:cubicBezTo>
                  <a:cubicBezTo>
                    <a:pt x="2" y="58"/>
                    <a:pt x="2" y="58"/>
                    <a:pt x="2" y="58"/>
                  </a:cubicBezTo>
                  <a:cubicBezTo>
                    <a:pt x="2" y="59"/>
                    <a:pt x="2" y="59"/>
                    <a:pt x="2" y="59"/>
                  </a:cubicBezTo>
                  <a:cubicBezTo>
                    <a:pt x="2" y="59"/>
                    <a:pt x="2" y="59"/>
                    <a:pt x="2" y="59"/>
                  </a:cubicBezTo>
                  <a:cubicBezTo>
                    <a:pt x="4" y="61"/>
                    <a:pt x="4" y="62"/>
                    <a:pt x="4" y="64"/>
                  </a:cubicBezTo>
                  <a:cubicBezTo>
                    <a:pt x="3" y="64"/>
                    <a:pt x="3" y="64"/>
                    <a:pt x="3" y="64"/>
                  </a:cubicBezTo>
                  <a:cubicBezTo>
                    <a:pt x="3" y="65"/>
                    <a:pt x="3" y="65"/>
                    <a:pt x="3" y="65"/>
                  </a:cubicBezTo>
                  <a:cubicBezTo>
                    <a:pt x="3" y="66"/>
                    <a:pt x="3" y="66"/>
                    <a:pt x="3" y="66"/>
                  </a:cubicBezTo>
                  <a:cubicBezTo>
                    <a:pt x="3" y="67"/>
                    <a:pt x="3" y="67"/>
                    <a:pt x="3" y="67"/>
                  </a:cubicBezTo>
                  <a:cubicBezTo>
                    <a:pt x="3" y="68"/>
                    <a:pt x="2" y="68"/>
                    <a:pt x="2" y="69"/>
                  </a:cubicBezTo>
                  <a:cubicBezTo>
                    <a:pt x="2" y="69"/>
                    <a:pt x="2" y="69"/>
                    <a:pt x="2" y="70"/>
                  </a:cubicBezTo>
                  <a:cubicBezTo>
                    <a:pt x="2" y="70"/>
                    <a:pt x="2" y="70"/>
                    <a:pt x="2" y="71"/>
                  </a:cubicBezTo>
                  <a:cubicBezTo>
                    <a:pt x="2" y="71"/>
                    <a:pt x="2" y="71"/>
                    <a:pt x="2" y="71"/>
                  </a:cubicBezTo>
                  <a:cubicBezTo>
                    <a:pt x="2" y="72"/>
                    <a:pt x="2" y="73"/>
                    <a:pt x="2" y="73"/>
                  </a:cubicBezTo>
                  <a:cubicBezTo>
                    <a:pt x="1" y="75"/>
                    <a:pt x="1" y="75"/>
                    <a:pt x="1" y="75"/>
                  </a:cubicBezTo>
                  <a:cubicBezTo>
                    <a:pt x="1" y="75"/>
                    <a:pt x="1" y="75"/>
                    <a:pt x="1" y="76"/>
                  </a:cubicBezTo>
                  <a:cubicBezTo>
                    <a:pt x="0" y="77"/>
                    <a:pt x="0" y="77"/>
                    <a:pt x="0" y="77"/>
                  </a:cubicBezTo>
                  <a:cubicBezTo>
                    <a:pt x="0" y="78"/>
                    <a:pt x="1" y="78"/>
                    <a:pt x="1" y="78"/>
                  </a:cubicBezTo>
                  <a:cubicBezTo>
                    <a:pt x="3" y="80"/>
                    <a:pt x="6" y="82"/>
                    <a:pt x="8" y="84"/>
                  </a:cubicBezTo>
                  <a:cubicBezTo>
                    <a:pt x="14" y="87"/>
                    <a:pt x="19" y="89"/>
                    <a:pt x="26" y="90"/>
                  </a:cubicBezTo>
                  <a:cubicBezTo>
                    <a:pt x="26" y="90"/>
                    <a:pt x="27" y="90"/>
                    <a:pt x="28" y="90"/>
                  </a:cubicBezTo>
                  <a:cubicBezTo>
                    <a:pt x="29" y="90"/>
                    <a:pt x="30" y="90"/>
                    <a:pt x="31" y="90"/>
                  </a:cubicBezTo>
                  <a:cubicBezTo>
                    <a:pt x="32" y="90"/>
                    <a:pt x="33" y="90"/>
                    <a:pt x="34" y="90"/>
                  </a:cubicBezTo>
                  <a:cubicBezTo>
                    <a:pt x="34" y="90"/>
                    <a:pt x="34" y="90"/>
                    <a:pt x="35" y="90"/>
                  </a:cubicBezTo>
                  <a:cubicBezTo>
                    <a:pt x="38" y="90"/>
                    <a:pt x="41" y="92"/>
                    <a:pt x="44" y="93"/>
                  </a:cubicBezTo>
                  <a:cubicBezTo>
                    <a:pt x="44" y="93"/>
                    <a:pt x="44" y="93"/>
                    <a:pt x="44" y="93"/>
                  </a:cubicBezTo>
                  <a:cubicBezTo>
                    <a:pt x="45" y="93"/>
                    <a:pt x="45" y="93"/>
                    <a:pt x="45" y="93"/>
                  </a:cubicBezTo>
                  <a:cubicBezTo>
                    <a:pt x="47" y="88"/>
                    <a:pt x="47" y="88"/>
                    <a:pt x="47" y="88"/>
                  </a:cubicBezTo>
                  <a:cubicBezTo>
                    <a:pt x="48" y="86"/>
                    <a:pt x="50" y="85"/>
                    <a:pt x="51" y="85"/>
                  </a:cubicBezTo>
                  <a:cubicBezTo>
                    <a:pt x="52" y="84"/>
                    <a:pt x="53" y="84"/>
                    <a:pt x="53" y="84"/>
                  </a:cubicBezTo>
                  <a:cubicBezTo>
                    <a:pt x="54" y="83"/>
                    <a:pt x="55" y="82"/>
                    <a:pt x="57" y="82"/>
                  </a:cubicBezTo>
                  <a:cubicBezTo>
                    <a:pt x="57" y="82"/>
                    <a:pt x="57" y="82"/>
                    <a:pt x="57" y="82"/>
                  </a:cubicBezTo>
                  <a:cubicBezTo>
                    <a:pt x="56" y="81"/>
                    <a:pt x="56" y="80"/>
                    <a:pt x="56" y="79"/>
                  </a:cubicBezTo>
                  <a:cubicBezTo>
                    <a:pt x="57" y="77"/>
                    <a:pt x="59" y="76"/>
                    <a:pt x="61" y="75"/>
                  </a:cubicBezTo>
                  <a:cubicBezTo>
                    <a:pt x="62" y="75"/>
                    <a:pt x="62" y="75"/>
                    <a:pt x="63" y="75"/>
                  </a:cubicBezTo>
                  <a:cubicBezTo>
                    <a:pt x="64" y="75"/>
                    <a:pt x="64" y="75"/>
                    <a:pt x="64" y="75"/>
                  </a:cubicBezTo>
                  <a:cubicBezTo>
                    <a:pt x="65" y="74"/>
                    <a:pt x="65" y="74"/>
                    <a:pt x="65" y="74"/>
                  </a:cubicBezTo>
                  <a:cubicBezTo>
                    <a:pt x="65" y="73"/>
                    <a:pt x="66" y="72"/>
                    <a:pt x="67" y="72"/>
                  </a:cubicBezTo>
                  <a:cubicBezTo>
                    <a:pt x="66" y="72"/>
                    <a:pt x="66" y="72"/>
                    <a:pt x="66" y="72"/>
                  </a:cubicBezTo>
                  <a:cubicBezTo>
                    <a:pt x="66" y="71"/>
                    <a:pt x="66" y="70"/>
                    <a:pt x="65" y="69"/>
                  </a:cubicBezTo>
                  <a:cubicBezTo>
                    <a:pt x="65" y="68"/>
                    <a:pt x="66" y="66"/>
                    <a:pt x="66" y="65"/>
                  </a:cubicBezTo>
                  <a:cubicBezTo>
                    <a:pt x="66" y="65"/>
                    <a:pt x="66" y="65"/>
                    <a:pt x="66" y="65"/>
                  </a:cubicBezTo>
                  <a:cubicBezTo>
                    <a:pt x="66" y="65"/>
                    <a:pt x="66" y="65"/>
                    <a:pt x="66" y="65"/>
                  </a:cubicBezTo>
                  <a:cubicBezTo>
                    <a:pt x="66" y="64"/>
                    <a:pt x="66" y="64"/>
                    <a:pt x="66" y="63"/>
                  </a:cubicBezTo>
                  <a:cubicBezTo>
                    <a:pt x="66" y="61"/>
                    <a:pt x="69" y="60"/>
                    <a:pt x="72" y="59"/>
                  </a:cubicBezTo>
                  <a:cubicBezTo>
                    <a:pt x="72" y="59"/>
                    <a:pt x="72" y="59"/>
                    <a:pt x="72" y="59"/>
                  </a:cubicBezTo>
                  <a:cubicBezTo>
                    <a:pt x="72" y="58"/>
                    <a:pt x="72" y="58"/>
                    <a:pt x="72" y="58"/>
                  </a:cubicBezTo>
                  <a:cubicBezTo>
                    <a:pt x="73" y="58"/>
                    <a:pt x="73" y="58"/>
                    <a:pt x="73" y="58"/>
                  </a:cubicBezTo>
                  <a:cubicBezTo>
                    <a:pt x="73" y="58"/>
                    <a:pt x="74" y="57"/>
                    <a:pt x="75" y="57"/>
                  </a:cubicBezTo>
                  <a:cubicBezTo>
                    <a:pt x="75" y="56"/>
                    <a:pt x="75" y="56"/>
                    <a:pt x="75" y="56"/>
                  </a:cubicBezTo>
                  <a:cubicBezTo>
                    <a:pt x="78" y="55"/>
                    <a:pt x="80" y="53"/>
                    <a:pt x="82" y="51"/>
                  </a:cubicBezTo>
                  <a:cubicBezTo>
                    <a:pt x="82" y="51"/>
                    <a:pt x="83" y="50"/>
                    <a:pt x="83" y="50"/>
                  </a:cubicBezTo>
                  <a:cubicBezTo>
                    <a:pt x="84" y="49"/>
                    <a:pt x="84" y="49"/>
                    <a:pt x="84" y="49"/>
                  </a:cubicBezTo>
                  <a:cubicBezTo>
                    <a:pt x="85" y="48"/>
                    <a:pt x="87" y="47"/>
                    <a:pt x="88" y="46"/>
                  </a:cubicBezTo>
                  <a:cubicBezTo>
                    <a:pt x="86" y="44"/>
                    <a:pt x="84" y="43"/>
                    <a:pt x="82" y="42"/>
                  </a:cubicBezTo>
                  <a:cubicBezTo>
                    <a:pt x="83" y="43"/>
                    <a:pt x="84" y="44"/>
                    <a:pt x="84" y="44"/>
                  </a:cubicBezTo>
                  <a:cubicBezTo>
                    <a:pt x="83" y="45"/>
                    <a:pt x="82" y="46"/>
                    <a:pt x="81" y="46"/>
                  </a:cubicBezTo>
                  <a:cubicBezTo>
                    <a:pt x="79" y="46"/>
                    <a:pt x="78" y="45"/>
                    <a:pt x="76" y="44"/>
                  </a:cubicBezTo>
                  <a:cubicBezTo>
                    <a:pt x="76" y="44"/>
                    <a:pt x="76" y="44"/>
                    <a:pt x="76" y="44"/>
                  </a:cubicBezTo>
                  <a:cubicBezTo>
                    <a:pt x="76" y="45"/>
                    <a:pt x="76" y="45"/>
                    <a:pt x="76" y="45"/>
                  </a:cubicBezTo>
                  <a:cubicBezTo>
                    <a:pt x="75" y="46"/>
                    <a:pt x="75" y="46"/>
                    <a:pt x="75" y="46"/>
                  </a:cubicBezTo>
                  <a:cubicBezTo>
                    <a:pt x="75" y="46"/>
                    <a:pt x="75" y="46"/>
                    <a:pt x="75" y="46"/>
                  </a:cubicBezTo>
                  <a:cubicBezTo>
                    <a:pt x="74" y="46"/>
                    <a:pt x="74" y="46"/>
                    <a:pt x="74" y="46"/>
                  </a:cubicBezTo>
                  <a:cubicBezTo>
                    <a:pt x="73" y="47"/>
                    <a:pt x="73" y="47"/>
                    <a:pt x="73" y="47"/>
                  </a:cubicBezTo>
                  <a:cubicBezTo>
                    <a:pt x="73" y="46"/>
                    <a:pt x="73" y="46"/>
                    <a:pt x="73" y="46"/>
                  </a:cubicBezTo>
                  <a:cubicBezTo>
                    <a:pt x="72" y="46"/>
                    <a:pt x="72" y="46"/>
                    <a:pt x="72" y="46"/>
                  </a:cubicBezTo>
                  <a:cubicBezTo>
                    <a:pt x="71" y="46"/>
                    <a:pt x="71" y="46"/>
                    <a:pt x="71" y="46"/>
                  </a:cubicBezTo>
                  <a:cubicBezTo>
                    <a:pt x="70" y="46"/>
                    <a:pt x="70" y="46"/>
                    <a:pt x="69" y="46"/>
                  </a:cubicBezTo>
                  <a:cubicBezTo>
                    <a:pt x="64" y="46"/>
                    <a:pt x="64" y="46"/>
                    <a:pt x="64" y="46"/>
                  </a:cubicBezTo>
                  <a:cubicBezTo>
                    <a:pt x="65" y="42"/>
                    <a:pt x="65" y="42"/>
                    <a:pt x="65" y="42"/>
                  </a:cubicBezTo>
                  <a:cubicBezTo>
                    <a:pt x="65" y="31"/>
                    <a:pt x="66" y="22"/>
                    <a:pt x="66" y="13"/>
                  </a:cubicBezTo>
                  <a:cubicBezTo>
                    <a:pt x="66" y="12"/>
                    <a:pt x="66" y="12"/>
                    <a:pt x="66" y="12"/>
                  </a:cubicBezTo>
                  <a:cubicBezTo>
                    <a:pt x="66" y="10"/>
                    <a:pt x="66" y="8"/>
                    <a:pt x="66" y="6"/>
                  </a:cubicBezTo>
                  <a:cubicBezTo>
                    <a:pt x="66" y="4"/>
                    <a:pt x="66" y="4"/>
                    <a:pt x="66" y="4"/>
                  </a:cubicBezTo>
                  <a:cubicBezTo>
                    <a:pt x="66" y="3"/>
                    <a:pt x="66" y="2"/>
                    <a:pt x="66" y="0"/>
                  </a:cubicBezTo>
                  <a:cubicBezTo>
                    <a:pt x="37" y="0"/>
                    <a:pt x="37" y="0"/>
                    <a:pt x="37" y="0"/>
                  </a:cubicBezTo>
                  <a:cubicBezTo>
                    <a:pt x="36" y="0"/>
                    <a:pt x="36" y="0"/>
                    <a:pt x="35" y="0"/>
                  </a:cubicBezTo>
                  <a:cubicBezTo>
                    <a:pt x="34" y="0"/>
                    <a:pt x="34" y="0"/>
                    <a:pt x="34" y="0"/>
                  </a:cubicBezTo>
                  <a:cubicBezTo>
                    <a:pt x="31" y="0"/>
                    <a:pt x="30"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7" name="Freeform 360">
              <a:extLst>
                <a:ext uri="{FF2B5EF4-FFF2-40B4-BE49-F238E27FC236}">
                  <a16:creationId xmlns:a16="http://schemas.microsoft.com/office/drawing/2014/main" id="{EC8816FC-8DF3-4984-8891-593AD2C32942}"/>
                </a:ext>
              </a:extLst>
            </p:cNvPr>
            <p:cNvSpPr>
              <a:spLocks noEditPoints="1"/>
            </p:cNvSpPr>
            <p:nvPr/>
          </p:nvSpPr>
          <p:spPr bwMode="auto">
            <a:xfrm>
              <a:off x="8699491" y="8298685"/>
              <a:ext cx="487363" cy="203200"/>
            </a:xfrm>
            <a:custGeom>
              <a:avLst/>
              <a:gdLst>
                <a:gd name="T0" fmla="*/ 104 w 130"/>
                <a:gd name="T1" fmla="*/ 28 h 54"/>
                <a:gd name="T2" fmla="*/ 104 w 130"/>
                <a:gd name="T3" fmla="*/ 28 h 54"/>
                <a:gd name="T4" fmla="*/ 108 w 130"/>
                <a:gd name="T5" fmla="*/ 24 h 54"/>
                <a:gd name="T6" fmla="*/ 109 w 130"/>
                <a:gd name="T7" fmla="*/ 24 h 54"/>
                <a:gd name="T8" fmla="*/ 109 w 130"/>
                <a:gd name="T9" fmla="*/ 24 h 54"/>
                <a:gd name="T10" fmla="*/ 109 w 130"/>
                <a:gd name="T11" fmla="*/ 24 h 54"/>
                <a:gd name="T12" fmla="*/ 109 w 130"/>
                <a:gd name="T13" fmla="*/ 24 h 54"/>
                <a:gd name="T14" fmla="*/ 81 w 130"/>
                <a:gd name="T15" fmla="*/ 0 h 54"/>
                <a:gd name="T16" fmla="*/ 51 w 130"/>
                <a:gd name="T17" fmla="*/ 14 h 54"/>
                <a:gd name="T18" fmla="*/ 37 w 130"/>
                <a:gd name="T19" fmla="*/ 17 h 54"/>
                <a:gd name="T20" fmla="*/ 26 w 130"/>
                <a:gd name="T21" fmla="*/ 13 h 54"/>
                <a:gd name="T22" fmla="*/ 20 w 130"/>
                <a:gd name="T23" fmla="*/ 14 h 54"/>
                <a:gd name="T24" fmla="*/ 16 w 130"/>
                <a:gd name="T25" fmla="*/ 9 h 54"/>
                <a:gd name="T26" fmla="*/ 9 w 130"/>
                <a:gd name="T27" fmla="*/ 2 h 54"/>
                <a:gd name="T28" fmla="*/ 3 w 130"/>
                <a:gd name="T29" fmla="*/ 2 h 54"/>
                <a:gd name="T30" fmla="*/ 3 w 130"/>
                <a:gd name="T31" fmla="*/ 3 h 54"/>
                <a:gd name="T32" fmla="*/ 2 w 130"/>
                <a:gd name="T33" fmla="*/ 9 h 54"/>
                <a:gd name="T34" fmla="*/ 4 w 130"/>
                <a:gd name="T35" fmla="*/ 11 h 54"/>
                <a:gd name="T36" fmla="*/ 9 w 130"/>
                <a:gd name="T37" fmla="*/ 14 h 54"/>
                <a:gd name="T38" fmla="*/ 5 w 130"/>
                <a:gd name="T39" fmla="*/ 18 h 54"/>
                <a:gd name="T40" fmla="*/ 3 w 130"/>
                <a:gd name="T41" fmla="*/ 20 h 54"/>
                <a:gd name="T42" fmla="*/ 3 w 130"/>
                <a:gd name="T43" fmla="*/ 26 h 54"/>
                <a:gd name="T44" fmla="*/ 0 w 130"/>
                <a:gd name="T45" fmla="*/ 28 h 54"/>
                <a:gd name="T46" fmla="*/ 0 w 130"/>
                <a:gd name="T47" fmla="*/ 29 h 54"/>
                <a:gd name="T48" fmla="*/ 6 w 130"/>
                <a:gd name="T49" fmla="*/ 29 h 54"/>
                <a:gd name="T50" fmla="*/ 18 w 130"/>
                <a:gd name="T51" fmla="*/ 32 h 54"/>
                <a:gd name="T52" fmla="*/ 22 w 130"/>
                <a:gd name="T53" fmla="*/ 31 h 54"/>
                <a:gd name="T54" fmla="*/ 24 w 130"/>
                <a:gd name="T55" fmla="*/ 32 h 54"/>
                <a:gd name="T56" fmla="*/ 27 w 130"/>
                <a:gd name="T57" fmla="*/ 32 h 54"/>
                <a:gd name="T58" fmla="*/ 35 w 130"/>
                <a:gd name="T59" fmla="*/ 44 h 54"/>
                <a:gd name="T60" fmla="*/ 42 w 130"/>
                <a:gd name="T61" fmla="*/ 39 h 54"/>
                <a:gd name="T62" fmla="*/ 45 w 130"/>
                <a:gd name="T63" fmla="*/ 45 h 54"/>
                <a:gd name="T64" fmla="*/ 46 w 130"/>
                <a:gd name="T65" fmla="*/ 54 h 54"/>
                <a:gd name="T66" fmla="*/ 56 w 130"/>
                <a:gd name="T67" fmla="*/ 53 h 54"/>
                <a:gd name="T68" fmla="*/ 60 w 130"/>
                <a:gd name="T69" fmla="*/ 39 h 54"/>
                <a:gd name="T70" fmla="*/ 60 w 130"/>
                <a:gd name="T71" fmla="*/ 29 h 54"/>
                <a:gd name="T72" fmla="*/ 73 w 130"/>
                <a:gd name="T73" fmla="*/ 21 h 54"/>
                <a:gd name="T74" fmla="*/ 72 w 130"/>
                <a:gd name="T75" fmla="*/ 21 h 54"/>
                <a:gd name="T76" fmla="*/ 74 w 130"/>
                <a:gd name="T77" fmla="*/ 16 h 54"/>
                <a:gd name="T78" fmla="*/ 88 w 130"/>
                <a:gd name="T79" fmla="*/ 11 h 54"/>
                <a:gd name="T80" fmla="*/ 100 w 130"/>
                <a:gd name="T81" fmla="*/ 19 h 54"/>
                <a:gd name="T82" fmla="*/ 104 w 130"/>
                <a:gd name="T83" fmla="*/ 28 h 54"/>
                <a:gd name="T84" fmla="*/ 104 w 130"/>
                <a:gd name="T85" fmla="*/ 24 h 54"/>
                <a:gd name="T86" fmla="*/ 106 w 130"/>
                <a:gd name="T87" fmla="*/ 24 h 54"/>
                <a:gd name="T88" fmla="*/ 108 w 130"/>
                <a:gd name="T89" fmla="*/ 27 h 54"/>
                <a:gd name="T90" fmla="*/ 112 w 130"/>
                <a:gd name="T91" fmla="*/ 26 h 54"/>
                <a:gd name="T92" fmla="*/ 118 w 130"/>
                <a:gd name="T93" fmla="*/ 32 h 54"/>
                <a:gd name="T94" fmla="*/ 115 w 130"/>
                <a:gd name="T95" fmla="*/ 30 h 54"/>
                <a:gd name="T96" fmla="*/ 113 w 130"/>
                <a:gd name="T97" fmla="*/ 30 h 54"/>
                <a:gd name="T98" fmla="*/ 111 w 130"/>
                <a:gd name="T99" fmla="*/ 27 h 54"/>
                <a:gd name="T100" fmla="*/ 104 w 130"/>
                <a:gd name="T101" fmla="*/ 34 h 54"/>
                <a:gd name="T102" fmla="*/ 115 w 130"/>
                <a:gd name="T103" fmla="*/ 51 h 54"/>
                <a:gd name="T104" fmla="*/ 116 w 130"/>
                <a:gd name="T105" fmla="*/ 50 h 54"/>
                <a:gd name="T106" fmla="*/ 117 w 130"/>
                <a:gd name="T107" fmla="*/ 47 h 54"/>
                <a:gd name="T108" fmla="*/ 117 w 130"/>
                <a:gd name="T109" fmla="*/ 44 h 54"/>
                <a:gd name="T110" fmla="*/ 117 w 130"/>
                <a:gd name="T111" fmla="*/ 41 h 54"/>
                <a:gd name="T112" fmla="*/ 122 w 130"/>
                <a:gd name="T113" fmla="*/ 40 h 54"/>
                <a:gd name="T114" fmla="*/ 124 w 130"/>
                <a:gd name="T115" fmla="*/ 43 h 54"/>
                <a:gd name="T116" fmla="*/ 130 w 130"/>
                <a:gd name="T117" fmla="*/ 37 h 54"/>
                <a:gd name="T118" fmla="*/ 125 w 130"/>
                <a:gd name="T119" fmla="*/ 26 h 54"/>
                <a:gd name="T120" fmla="*/ 116 w 130"/>
                <a:gd name="T121" fmla="*/ 10 h 54"/>
                <a:gd name="T122" fmla="*/ 81 w 130"/>
                <a:gd name="T12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0" h="54">
                  <a:moveTo>
                    <a:pt x="104" y="28"/>
                  </a:moveTo>
                  <a:cubicBezTo>
                    <a:pt x="104" y="28"/>
                    <a:pt x="104" y="28"/>
                    <a:pt x="104" y="28"/>
                  </a:cubicBezTo>
                  <a:cubicBezTo>
                    <a:pt x="104" y="28"/>
                    <a:pt x="104" y="28"/>
                    <a:pt x="104" y="28"/>
                  </a:cubicBezTo>
                  <a:cubicBezTo>
                    <a:pt x="104" y="28"/>
                    <a:pt x="104" y="28"/>
                    <a:pt x="104" y="28"/>
                  </a:cubicBezTo>
                  <a:moveTo>
                    <a:pt x="108" y="24"/>
                  </a:moveTo>
                  <a:cubicBezTo>
                    <a:pt x="108" y="24"/>
                    <a:pt x="108" y="24"/>
                    <a:pt x="108" y="24"/>
                  </a:cubicBezTo>
                  <a:cubicBezTo>
                    <a:pt x="108" y="24"/>
                    <a:pt x="108" y="24"/>
                    <a:pt x="108" y="24"/>
                  </a:cubicBezTo>
                  <a:cubicBezTo>
                    <a:pt x="108" y="24"/>
                    <a:pt x="108" y="24"/>
                    <a:pt x="109" y="24"/>
                  </a:cubicBezTo>
                  <a:cubicBezTo>
                    <a:pt x="109" y="24"/>
                    <a:pt x="109" y="24"/>
                    <a:pt x="109" y="24"/>
                  </a:cubicBezTo>
                  <a:cubicBezTo>
                    <a:pt x="109" y="24"/>
                    <a:pt x="109" y="24"/>
                    <a:pt x="109" y="24"/>
                  </a:cubicBezTo>
                  <a:cubicBezTo>
                    <a:pt x="109" y="24"/>
                    <a:pt x="109" y="24"/>
                    <a:pt x="109" y="24"/>
                  </a:cubicBezTo>
                  <a:cubicBezTo>
                    <a:pt x="109" y="24"/>
                    <a:pt x="109" y="24"/>
                    <a:pt x="109" y="24"/>
                  </a:cubicBezTo>
                  <a:cubicBezTo>
                    <a:pt x="109" y="24"/>
                    <a:pt x="109" y="24"/>
                    <a:pt x="109" y="24"/>
                  </a:cubicBezTo>
                  <a:cubicBezTo>
                    <a:pt x="109" y="24"/>
                    <a:pt x="109" y="24"/>
                    <a:pt x="109" y="24"/>
                  </a:cubicBezTo>
                  <a:cubicBezTo>
                    <a:pt x="109" y="24"/>
                    <a:pt x="108" y="24"/>
                    <a:pt x="108" y="24"/>
                  </a:cubicBezTo>
                  <a:moveTo>
                    <a:pt x="81" y="0"/>
                  </a:moveTo>
                  <a:cubicBezTo>
                    <a:pt x="77" y="0"/>
                    <a:pt x="70" y="3"/>
                    <a:pt x="67" y="6"/>
                  </a:cubicBezTo>
                  <a:cubicBezTo>
                    <a:pt x="63" y="10"/>
                    <a:pt x="56" y="12"/>
                    <a:pt x="51" y="14"/>
                  </a:cubicBezTo>
                  <a:cubicBezTo>
                    <a:pt x="48" y="16"/>
                    <a:pt x="44" y="18"/>
                    <a:pt x="40" y="18"/>
                  </a:cubicBezTo>
                  <a:cubicBezTo>
                    <a:pt x="39" y="18"/>
                    <a:pt x="38" y="17"/>
                    <a:pt x="37" y="17"/>
                  </a:cubicBezTo>
                  <a:cubicBezTo>
                    <a:pt x="33" y="15"/>
                    <a:pt x="27" y="12"/>
                    <a:pt x="24" y="9"/>
                  </a:cubicBezTo>
                  <a:cubicBezTo>
                    <a:pt x="25" y="10"/>
                    <a:pt x="26" y="12"/>
                    <a:pt x="26" y="13"/>
                  </a:cubicBezTo>
                  <a:cubicBezTo>
                    <a:pt x="25" y="14"/>
                    <a:pt x="23" y="15"/>
                    <a:pt x="21" y="15"/>
                  </a:cubicBezTo>
                  <a:cubicBezTo>
                    <a:pt x="20" y="15"/>
                    <a:pt x="20" y="15"/>
                    <a:pt x="20" y="14"/>
                  </a:cubicBezTo>
                  <a:cubicBezTo>
                    <a:pt x="18" y="14"/>
                    <a:pt x="14" y="11"/>
                    <a:pt x="16" y="9"/>
                  </a:cubicBezTo>
                  <a:cubicBezTo>
                    <a:pt x="16" y="9"/>
                    <a:pt x="16" y="9"/>
                    <a:pt x="16" y="9"/>
                  </a:cubicBezTo>
                  <a:cubicBezTo>
                    <a:pt x="14" y="9"/>
                    <a:pt x="11" y="5"/>
                    <a:pt x="10" y="2"/>
                  </a:cubicBezTo>
                  <a:cubicBezTo>
                    <a:pt x="9" y="2"/>
                    <a:pt x="9" y="2"/>
                    <a:pt x="9" y="2"/>
                  </a:cubicBezTo>
                  <a:cubicBezTo>
                    <a:pt x="6" y="2"/>
                    <a:pt x="5" y="2"/>
                    <a:pt x="4" y="2"/>
                  </a:cubicBezTo>
                  <a:cubicBezTo>
                    <a:pt x="3" y="2"/>
                    <a:pt x="3" y="2"/>
                    <a:pt x="3" y="2"/>
                  </a:cubicBezTo>
                  <a:cubicBezTo>
                    <a:pt x="3" y="2"/>
                    <a:pt x="3" y="2"/>
                    <a:pt x="3" y="2"/>
                  </a:cubicBezTo>
                  <a:cubicBezTo>
                    <a:pt x="3" y="3"/>
                    <a:pt x="3" y="3"/>
                    <a:pt x="3" y="3"/>
                  </a:cubicBezTo>
                  <a:cubicBezTo>
                    <a:pt x="3" y="3"/>
                    <a:pt x="3" y="3"/>
                    <a:pt x="3" y="3"/>
                  </a:cubicBezTo>
                  <a:cubicBezTo>
                    <a:pt x="3" y="5"/>
                    <a:pt x="3" y="7"/>
                    <a:pt x="2" y="9"/>
                  </a:cubicBezTo>
                  <a:cubicBezTo>
                    <a:pt x="2" y="10"/>
                    <a:pt x="2" y="10"/>
                    <a:pt x="2" y="10"/>
                  </a:cubicBezTo>
                  <a:cubicBezTo>
                    <a:pt x="3" y="11"/>
                    <a:pt x="4" y="11"/>
                    <a:pt x="4" y="11"/>
                  </a:cubicBezTo>
                  <a:cubicBezTo>
                    <a:pt x="5" y="12"/>
                    <a:pt x="5" y="12"/>
                    <a:pt x="6" y="12"/>
                  </a:cubicBezTo>
                  <a:cubicBezTo>
                    <a:pt x="9" y="14"/>
                    <a:pt x="9" y="14"/>
                    <a:pt x="9" y="14"/>
                  </a:cubicBezTo>
                  <a:cubicBezTo>
                    <a:pt x="6" y="17"/>
                    <a:pt x="6" y="17"/>
                    <a:pt x="6" y="17"/>
                  </a:cubicBezTo>
                  <a:cubicBezTo>
                    <a:pt x="6" y="17"/>
                    <a:pt x="6" y="17"/>
                    <a:pt x="5" y="18"/>
                  </a:cubicBezTo>
                  <a:cubicBezTo>
                    <a:pt x="5" y="18"/>
                    <a:pt x="5" y="18"/>
                    <a:pt x="5" y="18"/>
                  </a:cubicBezTo>
                  <a:cubicBezTo>
                    <a:pt x="4" y="19"/>
                    <a:pt x="3" y="19"/>
                    <a:pt x="3" y="20"/>
                  </a:cubicBezTo>
                  <a:cubicBezTo>
                    <a:pt x="4" y="20"/>
                    <a:pt x="4" y="21"/>
                    <a:pt x="4" y="22"/>
                  </a:cubicBezTo>
                  <a:cubicBezTo>
                    <a:pt x="4" y="24"/>
                    <a:pt x="3" y="25"/>
                    <a:pt x="3" y="26"/>
                  </a:cubicBezTo>
                  <a:cubicBezTo>
                    <a:pt x="2" y="26"/>
                    <a:pt x="2" y="26"/>
                    <a:pt x="2" y="26"/>
                  </a:cubicBezTo>
                  <a:cubicBezTo>
                    <a:pt x="2" y="27"/>
                    <a:pt x="1" y="28"/>
                    <a:pt x="0" y="28"/>
                  </a:cubicBezTo>
                  <a:cubicBezTo>
                    <a:pt x="0" y="29"/>
                    <a:pt x="0" y="29"/>
                    <a:pt x="0" y="29"/>
                  </a:cubicBezTo>
                  <a:cubicBezTo>
                    <a:pt x="0" y="29"/>
                    <a:pt x="0" y="29"/>
                    <a:pt x="0" y="29"/>
                  </a:cubicBezTo>
                  <a:cubicBezTo>
                    <a:pt x="2" y="33"/>
                    <a:pt x="2" y="33"/>
                    <a:pt x="2" y="33"/>
                  </a:cubicBezTo>
                  <a:cubicBezTo>
                    <a:pt x="3" y="31"/>
                    <a:pt x="4" y="29"/>
                    <a:pt x="6" y="29"/>
                  </a:cubicBezTo>
                  <a:cubicBezTo>
                    <a:pt x="9" y="29"/>
                    <a:pt x="13" y="29"/>
                    <a:pt x="16" y="28"/>
                  </a:cubicBezTo>
                  <a:cubicBezTo>
                    <a:pt x="16" y="30"/>
                    <a:pt x="16" y="32"/>
                    <a:pt x="18" y="32"/>
                  </a:cubicBezTo>
                  <a:cubicBezTo>
                    <a:pt x="17" y="32"/>
                    <a:pt x="17" y="32"/>
                    <a:pt x="17" y="32"/>
                  </a:cubicBezTo>
                  <a:cubicBezTo>
                    <a:pt x="19" y="32"/>
                    <a:pt x="21" y="31"/>
                    <a:pt x="22" y="31"/>
                  </a:cubicBezTo>
                  <a:cubicBezTo>
                    <a:pt x="22" y="31"/>
                    <a:pt x="23" y="31"/>
                    <a:pt x="23" y="31"/>
                  </a:cubicBezTo>
                  <a:cubicBezTo>
                    <a:pt x="23" y="31"/>
                    <a:pt x="24" y="31"/>
                    <a:pt x="24" y="32"/>
                  </a:cubicBezTo>
                  <a:cubicBezTo>
                    <a:pt x="25" y="32"/>
                    <a:pt x="25" y="32"/>
                    <a:pt x="26" y="32"/>
                  </a:cubicBezTo>
                  <a:cubicBezTo>
                    <a:pt x="26" y="32"/>
                    <a:pt x="26" y="32"/>
                    <a:pt x="27" y="32"/>
                  </a:cubicBezTo>
                  <a:cubicBezTo>
                    <a:pt x="29" y="36"/>
                    <a:pt x="30" y="39"/>
                    <a:pt x="33" y="42"/>
                  </a:cubicBezTo>
                  <a:cubicBezTo>
                    <a:pt x="31" y="43"/>
                    <a:pt x="34" y="44"/>
                    <a:pt x="35" y="44"/>
                  </a:cubicBezTo>
                  <a:cubicBezTo>
                    <a:pt x="37" y="44"/>
                    <a:pt x="38" y="45"/>
                    <a:pt x="39" y="45"/>
                  </a:cubicBezTo>
                  <a:cubicBezTo>
                    <a:pt x="39" y="42"/>
                    <a:pt x="38" y="39"/>
                    <a:pt x="42" y="39"/>
                  </a:cubicBezTo>
                  <a:cubicBezTo>
                    <a:pt x="42" y="39"/>
                    <a:pt x="42" y="39"/>
                    <a:pt x="42" y="39"/>
                  </a:cubicBezTo>
                  <a:cubicBezTo>
                    <a:pt x="44" y="39"/>
                    <a:pt x="44" y="43"/>
                    <a:pt x="45" y="45"/>
                  </a:cubicBezTo>
                  <a:cubicBezTo>
                    <a:pt x="45" y="47"/>
                    <a:pt x="47" y="50"/>
                    <a:pt x="47" y="51"/>
                  </a:cubicBezTo>
                  <a:cubicBezTo>
                    <a:pt x="47" y="52"/>
                    <a:pt x="46" y="53"/>
                    <a:pt x="46" y="54"/>
                  </a:cubicBezTo>
                  <a:cubicBezTo>
                    <a:pt x="48" y="54"/>
                    <a:pt x="49" y="54"/>
                    <a:pt x="51" y="54"/>
                  </a:cubicBezTo>
                  <a:cubicBezTo>
                    <a:pt x="52" y="54"/>
                    <a:pt x="54" y="54"/>
                    <a:pt x="56" y="53"/>
                  </a:cubicBezTo>
                  <a:cubicBezTo>
                    <a:pt x="60" y="51"/>
                    <a:pt x="63" y="49"/>
                    <a:pt x="68" y="48"/>
                  </a:cubicBezTo>
                  <a:cubicBezTo>
                    <a:pt x="66" y="44"/>
                    <a:pt x="63" y="42"/>
                    <a:pt x="60" y="39"/>
                  </a:cubicBezTo>
                  <a:cubicBezTo>
                    <a:pt x="58" y="36"/>
                    <a:pt x="54" y="33"/>
                    <a:pt x="59" y="29"/>
                  </a:cubicBezTo>
                  <a:cubicBezTo>
                    <a:pt x="59" y="29"/>
                    <a:pt x="59" y="29"/>
                    <a:pt x="60" y="29"/>
                  </a:cubicBezTo>
                  <a:cubicBezTo>
                    <a:pt x="64" y="29"/>
                    <a:pt x="72" y="23"/>
                    <a:pt x="74" y="21"/>
                  </a:cubicBezTo>
                  <a:cubicBezTo>
                    <a:pt x="74" y="21"/>
                    <a:pt x="74" y="21"/>
                    <a:pt x="73" y="21"/>
                  </a:cubicBezTo>
                  <a:cubicBezTo>
                    <a:pt x="73" y="21"/>
                    <a:pt x="73" y="21"/>
                    <a:pt x="73" y="21"/>
                  </a:cubicBezTo>
                  <a:cubicBezTo>
                    <a:pt x="72" y="21"/>
                    <a:pt x="72" y="21"/>
                    <a:pt x="72" y="21"/>
                  </a:cubicBezTo>
                  <a:cubicBezTo>
                    <a:pt x="72" y="21"/>
                    <a:pt x="72" y="21"/>
                    <a:pt x="71" y="21"/>
                  </a:cubicBezTo>
                  <a:cubicBezTo>
                    <a:pt x="72" y="20"/>
                    <a:pt x="73" y="18"/>
                    <a:pt x="74" y="16"/>
                  </a:cubicBezTo>
                  <a:cubicBezTo>
                    <a:pt x="75" y="16"/>
                    <a:pt x="78" y="15"/>
                    <a:pt x="79" y="14"/>
                  </a:cubicBezTo>
                  <a:cubicBezTo>
                    <a:pt x="81" y="12"/>
                    <a:pt x="86" y="14"/>
                    <a:pt x="88" y="11"/>
                  </a:cubicBezTo>
                  <a:cubicBezTo>
                    <a:pt x="88" y="13"/>
                    <a:pt x="89" y="13"/>
                    <a:pt x="91" y="14"/>
                  </a:cubicBezTo>
                  <a:cubicBezTo>
                    <a:pt x="94" y="15"/>
                    <a:pt x="96" y="17"/>
                    <a:pt x="100" y="19"/>
                  </a:cubicBezTo>
                  <a:cubicBezTo>
                    <a:pt x="99" y="18"/>
                    <a:pt x="99" y="18"/>
                    <a:pt x="99" y="18"/>
                  </a:cubicBezTo>
                  <a:cubicBezTo>
                    <a:pt x="101" y="21"/>
                    <a:pt x="103" y="25"/>
                    <a:pt x="104" y="28"/>
                  </a:cubicBezTo>
                  <a:cubicBezTo>
                    <a:pt x="104" y="28"/>
                    <a:pt x="104" y="27"/>
                    <a:pt x="104" y="26"/>
                  </a:cubicBezTo>
                  <a:cubicBezTo>
                    <a:pt x="104" y="25"/>
                    <a:pt x="104" y="24"/>
                    <a:pt x="104" y="24"/>
                  </a:cubicBezTo>
                  <a:cubicBezTo>
                    <a:pt x="104" y="24"/>
                    <a:pt x="104" y="24"/>
                    <a:pt x="104" y="24"/>
                  </a:cubicBezTo>
                  <a:cubicBezTo>
                    <a:pt x="105" y="24"/>
                    <a:pt x="105" y="24"/>
                    <a:pt x="106" y="24"/>
                  </a:cubicBezTo>
                  <a:cubicBezTo>
                    <a:pt x="107" y="24"/>
                    <a:pt x="108" y="24"/>
                    <a:pt x="108" y="24"/>
                  </a:cubicBezTo>
                  <a:cubicBezTo>
                    <a:pt x="109" y="25"/>
                    <a:pt x="108" y="27"/>
                    <a:pt x="108" y="27"/>
                  </a:cubicBezTo>
                  <a:cubicBezTo>
                    <a:pt x="109" y="26"/>
                    <a:pt x="110" y="25"/>
                    <a:pt x="111" y="25"/>
                  </a:cubicBezTo>
                  <a:cubicBezTo>
                    <a:pt x="111" y="25"/>
                    <a:pt x="111" y="25"/>
                    <a:pt x="112" y="26"/>
                  </a:cubicBezTo>
                  <a:cubicBezTo>
                    <a:pt x="111" y="25"/>
                    <a:pt x="111" y="24"/>
                    <a:pt x="111" y="23"/>
                  </a:cubicBezTo>
                  <a:cubicBezTo>
                    <a:pt x="113" y="26"/>
                    <a:pt x="117" y="29"/>
                    <a:pt x="118" y="32"/>
                  </a:cubicBezTo>
                  <a:cubicBezTo>
                    <a:pt x="118" y="32"/>
                    <a:pt x="117" y="31"/>
                    <a:pt x="116" y="31"/>
                  </a:cubicBezTo>
                  <a:cubicBezTo>
                    <a:pt x="116" y="30"/>
                    <a:pt x="115" y="30"/>
                    <a:pt x="115" y="30"/>
                  </a:cubicBezTo>
                  <a:cubicBezTo>
                    <a:pt x="115" y="30"/>
                    <a:pt x="115" y="30"/>
                    <a:pt x="115" y="30"/>
                  </a:cubicBezTo>
                  <a:cubicBezTo>
                    <a:pt x="114" y="30"/>
                    <a:pt x="114" y="30"/>
                    <a:pt x="113" y="30"/>
                  </a:cubicBezTo>
                  <a:cubicBezTo>
                    <a:pt x="113" y="30"/>
                    <a:pt x="112" y="28"/>
                    <a:pt x="111" y="28"/>
                  </a:cubicBezTo>
                  <a:cubicBezTo>
                    <a:pt x="111" y="28"/>
                    <a:pt x="111" y="27"/>
                    <a:pt x="111" y="27"/>
                  </a:cubicBezTo>
                  <a:cubicBezTo>
                    <a:pt x="111" y="27"/>
                    <a:pt x="111" y="27"/>
                    <a:pt x="111" y="27"/>
                  </a:cubicBezTo>
                  <a:cubicBezTo>
                    <a:pt x="109" y="27"/>
                    <a:pt x="105" y="33"/>
                    <a:pt x="104" y="34"/>
                  </a:cubicBezTo>
                  <a:cubicBezTo>
                    <a:pt x="103" y="40"/>
                    <a:pt x="110" y="47"/>
                    <a:pt x="114" y="52"/>
                  </a:cubicBezTo>
                  <a:cubicBezTo>
                    <a:pt x="115" y="51"/>
                    <a:pt x="115" y="51"/>
                    <a:pt x="115" y="51"/>
                  </a:cubicBezTo>
                  <a:cubicBezTo>
                    <a:pt x="115" y="51"/>
                    <a:pt x="115" y="51"/>
                    <a:pt x="115" y="50"/>
                  </a:cubicBezTo>
                  <a:cubicBezTo>
                    <a:pt x="116" y="50"/>
                    <a:pt x="116" y="50"/>
                    <a:pt x="116" y="50"/>
                  </a:cubicBezTo>
                  <a:cubicBezTo>
                    <a:pt x="116" y="49"/>
                    <a:pt x="117" y="48"/>
                    <a:pt x="117" y="47"/>
                  </a:cubicBezTo>
                  <a:cubicBezTo>
                    <a:pt x="117" y="47"/>
                    <a:pt x="117" y="47"/>
                    <a:pt x="117" y="47"/>
                  </a:cubicBezTo>
                  <a:cubicBezTo>
                    <a:pt x="117" y="46"/>
                    <a:pt x="117" y="46"/>
                    <a:pt x="117" y="46"/>
                  </a:cubicBezTo>
                  <a:cubicBezTo>
                    <a:pt x="117" y="44"/>
                    <a:pt x="117" y="44"/>
                    <a:pt x="117" y="44"/>
                  </a:cubicBezTo>
                  <a:cubicBezTo>
                    <a:pt x="117" y="44"/>
                    <a:pt x="117" y="43"/>
                    <a:pt x="117" y="42"/>
                  </a:cubicBezTo>
                  <a:cubicBezTo>
                    <a:pt x="117" y="41"/>
                    <a:pt x="117" y="41"/>
                    <a:pt x="117" y="41"/>
                  </a:cubicBezTo>
                  <a:cubicBezTo>
                    <a:pt x="120" y="42"/>
                    <a:pt x="120" y="42"/>
                    <a:pt x="120" y="42"/>
                  </a:cubicBezTo>
                  <a:cubicBezTo>
                    <a:pt x="122" y="40"/>
                    <a:pt x="122" y="40"/>
                    <a:pt x="122" y="40"/>
                  </a:cubicBezTo>
                  <a:cubicBezTo>
                    <a:pt x="123" y="41"/>
                    <a:pt x="123" y="41"/>
                    <a:pt x="123" y="41"/>
                  </a:cubicBezTo>
                  <a:cubicBezTo>
                    <a:pt x="123" y="41"/>
                    <a:pt x="123" y="42"/>
                    <a:pt x="124" y="43"/>
                  </a:cubicBezTo>
                  <a:cubicBezTo>
                    <a:pt x="124" y="43"/>
                    <a:pt x="124" y="42"/>
                    <a:pt x="124" y="42"/>
                  </a:cubicBezTo>
                  <a:cubicBezTo>
                    <a:pt x="126" y="40"/>
                    <a:pt x="128" y="38"/>
                    <a:pt x="130" y="37"/>
                  </a:cubicBezTo>
                  <a:cubicBezTo>
                    <a:pt x="129" y="35"/>
                    <a:pt x="128" y="33"/>
                    <a:pt x="127" y="31"/>
                  </a:cubicBezTo>
                  <a:cubicBezTo>
                    <a:pt x="126" y="29"/>
                    <a:pt x="126" y="28"/>
                    <a:pt x="125" y="26"/>
                  </a:cubicBezTo>
                  <a:cubicBezTo>
                    <a:pt x="123" y="24"/>
                    <a:pt x="124" y="22"/>
                    <a:pt x="126" y="20"/>
                  </a:cubicBezTo>
                  <a:cubicBezTo>
                    <a:pt x="122" y="18"/>
                    <a:pt x="119" y="11"/>
                    <a:pt x="116" y="10"/>
                  </a:cubicBezTo>
                  <a:cubicBezTo>
                    <a:pt x="109" y="8"/>
                    <a:pt x="103" y="5"/>
                    <a:pt x="96" y="3"/>
                  </a:cubicBezTo>
                  <a:cubicBezTo>
                    <a:pt x="90" y="1"/>
                    <a:pt x="87" y="0"/>
                    <a:pt x="81" y="0"/>
                  </a:cubicBezTo>
                  <a:cubicBezTo>
                    <a:pt x="81" y="0"/>
                    <a:pt x="81" y="0"/>
                    <a:pt x="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8" name="Freeform 361">
              <a:extLst>
                <a:ext uri="{FF2B5EF4-FFF2-40B4-BE49-F238E27FC236}">
                  <a16:creationId xmlns:a16="http://schemas.microsoft.com/office/drawing/2014/main" id="{BB0B70AC-875F-4227-B70D-BF4A6A8795A0}"/>
                </a:ext>
              </a:extLst>
            </p:cNvPr>
            <p:cNvSpPr>
              <a:spLocks noEditPoints="1"/>
            </p:cNvSpPr>
            <p:nvPr/>
          </p:nvSpPr>
          <p:spPr bwMode="auto">
            <a:xfrm>
              <a:off x="5726104" y="6187310"/>
              <a:ext cx="2638425" cy="1660525"/>
            </a:xfrm>
            <a:custGeom>
              <a:avLst/>
              <a:gdLst>
                <a:gd name="T0" fmla="*/ 594 w 703"/>
                <a:gd name="T1" fmla="*/ 341 h 442"/>
                <a:gd name="T2" fmla="*/ 37 w 703"/>
                <a:gd name="T3" fmla="*/ 2 h 442"/>
                <a:gd name="T4" fmla="*/ 17 w 703"/>
                <a:gd name="T5" fmla="*/ 42 h 442"/>
                <a:gd name="T6" fmla="*/ 42 w 703"/>
                <a:gd name="T7" fmla="*/ 80 h 442"/>
                <a:gd name="T8" fmla="*/ 67 w 703"/>
                <a:gd name="T9" fmla="*/ 119 h 442"/>
                <a:gd name="T10" fmla="*/ 73 w 703"/>
                <a:gd name="T11" fmla="*/ 131 h 442"/>
                <a:gd name="T12" fmla="*/ 62 w 703"/>
                <a:gd name="T13" fmla="*/ 122 h 442"/>
                <a:gd name="T14" fmla="*/ 70 w 703"/>
                <a:gd name="T15" fmla="*/ 143 h 442"/>
                <a:gd name="T16" fmla="*/ 90 w 703"/>
                <a:gd name="T17" fmla="*/ 143 h 442"/>
                <a:gd name="T18" fmla="*/ 115 w 703"/>
                <a:gd name="T19" fmla="*/ 192 h 442"/>
                <a:gd name="T20" fmla="*/ 175 w 703"/>
                <a:gd name="T21" fmla="*/ 238 h 442"/>
                <a:gd name="T22" fmla="*/ 165 w 703"/>
                <a:gd name="T23" fmla="*/ 216 h 442"/>
                <a:gd name="T24" fmla="*/ 136 w 703"/>
                <a:gd name="T25" fmla="*/ 171 h 442"/>
                <a:gd name="T26" fmla="*/ 118 w 703"/>
                <a:gd name="T27" fmla="*/ 141 h 442"/>
                <a:gd name="T28" fmla="*/ 93 w 703"/>
                <a:gd name="T29" fmla="*/ 105 h 442"/>
                <a:gd name="T30" fmla="*/ 56 w 703"/>
                <a:gd name="T31" fmla="*/ 56 h 442"/>
                <a:gd name="T32" fmla="*/ 69 w 703"/>
                <a:gd name="T33" fmla="*/ 29 h 442"/>
                <a:gd name="T34" fmla="*/ 92 w 703"/>
                <a:gd name="T35" fmla="*/ 43 h 442"/>
                <a:gd name="T36" fmla="*/ 130 w 703"/>
                <a:gd name="T37" fmla="*/ 110 h 442"/>
                <a:gd name="T38" fmla="*/ 149 w 703"/>
                <a:gd name="T39" fmla="*/ 123 h 442"/>
                <a:gd name="T40" fmla="*/ 179 w 703"/>
                <a:gd name="T41" fmla="*/ 163 h 442"/>
                <a:gd name="T42" fmla="*/ 181 w 703"/>
                <a:gd name="T43" fmla="*/ 176 h 442"/>
                <a:gd name="T44" fmla="*/ 189 w 703"/>
                <a:gd name="T45" fmla="*/ 177 h 442"/>
                <a:gd name="T46" fmla="*/ 217 w 703"/>
                <a:gd name="T47" fmla="*/ 205 h 442"/>
                <a:gd name="T48" fmla="*/ 219 w 703"/>
                <a:gd name="T49" fmla="*/ 207 h 442"/>
                <a:gd name="T50" fmla="*/ 267 w 703"/>
                <a:gd name="T51" fmla="*/ 295 h 442"/>
                <a:gd name="T52" fmla="*/ 304 w 703"/>
                <a:gd name="T53" fmla="*/ 342 h 442"/>
                <a:gd name="T54" fmla="*/ 351 w 703"/>
                <a:gd name="T55" fmla="*/ 363 h 442"/>
                <a:gd name="T56" fmla="*/ 453 w 703"/>
                <a:gd name="T57" fmla="*/ 411 h 442"/>
                <a:gd name="T58" fmla="*/ 512 w 703"/>
                <a:gd name="T59" fmla="*/ 405 h 442"/>
                <a:gd name="T60" fmla="*/ 518 w 703"/>
                <a:gd name="T61" fmla="*/ 405 h 442"/>
                <a:gd name="T62" fmla="*/ 558 w 703"/>
                <a:gd name="T63" fmla="*/ 427 h 442"/>
                <a:gd name="T64" fmla="*/ 575 w 703"/>
                <a:gd name="T65" fmla="*/ 435 h 442"/>
                <a:gd name="T66" fmla="*/ 575 w 703"/>
                <a:gd name="T67" fmla="*/ 424 h 442"/>
                <a:gd name="T68" fmla="*/ 599 w 703"/>
                <a:gd name="T69" fmla="*/ 405 h 442"/>
                <a:gd name="T70" fmla="*/ 615 w 703"/>
                <a:gd name="T71" fmla="*/ 402 h 442"/>
                <a:gd name="T72" fmla="*/ 601 w 703"/>
                <a:gd name="T73" fmla="*/ 389 h 442"/>
                <a:gd name="T74" fmla="*/ 607 w 703"/>
                <a:gd name="T75" fmla="*/ 363 h 442"/>
                <a:gd name="T76" fmla="*/ 645 w 703"/>
                <a:gd name="T77" fmla="*/ 363 h 442"/>
                <a:gd name="T78" fmla="*/ 653 w 703"/>
                <a:gd name="T79" fmla="*/ 361 h 442"/>
                <a:gd name="T80" fmla="*/ 664 w 703"/>
                <a:gd name="T81" fmla="*/ 348 h 442"/>
                <a:gd name="T82" fmla="*/ 672 w 703"/>
                <a:gd name="T83" fmla="*/ 350 h 442"/>
                <a:gd name="T84" fmla="*/ 685 w 703"/>
                <a:gd name="T85" fmla="*/ 328 h 442"/>
                <a:gd name="T86" fmla="*/ 698 w 703"/>
                <a:gd name="T87" fmla="*/ 296 h 442"/>
                <a:gd name="T88" fmla="*/ 689 w 703"/>
                <a:gd name="T89" fmla="*/ 276 h 442"/>
                <a:gd name="T90" fmla="*/ 619 w 703"/>
                <a:gd name="T91" fmla="*/ 293 h 442"/>
                <a:gd name="T92" fmla="*/ 599 w 703"/>
                <a:gd name="T93" fmla="*/ 339 h 442"/>
                <a:gd name="T94" fmla="*/ 586 w 703"/>
                <a:gd name="T95" fmla="*/ 353 h 442"/>
                <a:gd name="T96" fmla="*/ 566 w 703"/>
                <a:gd name="T97" fmla="*/ 351 h 442"/>
                <a:gd name="T98" fmla="*/ 519 w 703"/>
                <a:gd name="T99" fmla="*/ 354 h 442"/>
                <a:gd name="T100" fmla="*/ 495 w 703"/>
                <a:gd name="T101" fmla="*/ 345 h 442"/>
                <a:gd name="T102" fmla="*/ 481 w 703"/>
                <a:gd name="T103" fmla="*/ 328 h 442"/>
                <a:gd name="T104" fmla="*/ 455 w 703"/>
                <a:gd name="T105" fmla="*/ 280 h 442"/>
                <a:gd name="T106" fmla="*/ 448 w 703"/>
                <a:gd name="T107" fmla="*/ 221 h 442"/>
                <a:gd name="T108" fmla="*/ 453 w 703"/>
                <a:gd name="T109" fmla="*/ 181 h 442"/>
                <a:gd name="T110" fmla="*/ 454 w 703"/>
                <a:gd name="T111" fmla="*/ 172 h 442"/>
                <a:gd name="T112" fmla="*/ 413 w 703"/>
                <a:gd name="T113" fmla="*/ 156 h 442"/>
                <a:gd name="T114" fmla="*/ 366 w 703"/>
                <a:gd name="T115" fmla="*/ 79 h 442"/>
                <a:gd name="T116" fmla="*/ 344 w 703"/>
                <a:gd name="T117" fmla="*/ 73 h 442"/>
                <a:gd name="T118" fmla="*/ 321 w 703"/>
                <a:gd name="T119" fmla="*/ 94 h 442"/>
                <a:gd name="T120" fmla="*/ 255 w 703"/>
                <a:gd name="T121" fmla="*/ 34 h 442"/>
                <a:gd name="T122" fmla="*/ 208 w 703"/>
                <a:gd name="T123" fmla="*/ 26 h 442"/>
                <a:gd name="T124" fmla="*/ 48 w 703"/>
                <a:gd name="T125" fmla="*/ 5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3" h="442">
                  <a:moveTo>
                    <a:pt x="595" y="341"/>
                  </a:moveTo>
                  <a:cubicBezTo>
                    <a:pt x="595" y="341"/>
                    <a:pt x="595" y="341"/>
                    <a:pt x="594" y="341"/>
                  </a:cubicBezTo>
                  <a:cubicBezTo>
                    <a:pt x="594" y="341"/>
                    <a:pt x="594" y="341"/>
                    <a:pt x="595" y="341"/>
                  </a:cubicBezTo>
                  <a:cubicBezTo>
                    <a:pt x="595" y="341"/>
                    <a:pt x="595" y="341"/>
                    <a:pt x="595" y="341"/>
                  </a:cubicBezTo>
                  <a:moveTo>
                    <a:pt x="594" y="341"/>
                  </a:moveTo>
                  <a:cubicBezTo>
                    <a:pt x="594" y="341"/>
                    <a:pt x="594" y="341"/>
                    <a:pt x="594" y="341"/>
                  </a:cubicBezTo>
                  <a:cubicBezTo>
                    <a:pt x="594" y="341"/>
                    <a:pt x="594" y="341"/>
                    <a:pt x="594" y="341"/>
                  </a:cubicBezTo>
                  <a:cubicBezTo>
                    <a:pt x="594" y="341"/>
                    <a:pt x="594" y="341"/>
                    <a:pt x="594" y="341"/>
                  </a:cubicBezTo>
                  <a:moveTo>
                    <a:pt x="179" y="176"/>
                  </a:moveTo>
                  <a:cubicBezTo>
                    <a:pt x="178" y="176"/>
                    <a:pt x="178" y="176"/>
                    <a:pt x="178" y="176"/>
                  </a:cubicBezTo>
                  <a:cubicBezTo>
                    <a:pt x="178" y="176"/>
                    <a:pt x="178" y="176"/>
                    <a:pt x="179" y="176"/>
                  </a:cubicBezTo>
                  <a:moveTo>
                    <a:pt x="50" y="0"/>
                  </a:moveTo>
                  <a:cubicBezTo>
                    <a:pt x="47" y="0"/>
                    <a:pt x="44" y="1"/>
                    <a:pt x="41" y="1"/>
                  </a:cubicBezTo>
                  <a:cubicBezTo>
                    <a:pt x="39" y="1"/>
                    <a:pt x="38" y="1"/>
                    <a:pt x="37" y="2"/>
                  </a:cubicBezTo>
                  <a:cubicBezTo>
                    <a:pt x="36" y="2"/>
                    <a:pt x="32" y="2"/>
                    <a:pt x="29" y="2"/>
                  </a:cubicBezTo>
                  <a:cubicBezTo>
                    <a:pt x="25" y="2"/>
                    <a:pt x="25" y="2"/>
                    <a:pt x="25" y="2"/>
                  </a:cubicBezTo>
                  <a:cubicBezTo>
                    <a:pt x="20" y="3"/>
                    <a:pt x="15" y="3"/>
                    <a:pt x="13" y="4"/>
                  </a:cubicBezTo>
                  <a:cubicBezTo>
                    <a:pt x="10" y="4"/>
                    <a:pt x="7" y="4"/>
                    <a:pt x="4" y="4"/>
                  </a:cubicBezTo>
                  <a:cubicBezTo>
                    <a:pt x="0" y="6"/>
                    <a:pt x="0" y="6"/>
                    <a:pt x="0" y="6"/>
                  </a:cubicBezTo>
                  <a:cubicBezTo>
                    <a:pt x="4" y="12"/>
                    <a:pt x="6" y="18"/>
                    <a:pt x="8" y="25"/>
                  </a:cubicBezTo>
                  <a:cubicBezTo>
                    <a:pt x="10" y="30"/>
                    <a:pt x="13" y="37"/>
                    <a:pt x="17" y="42"/>
                  </a:cubicBezTo>
                  <a:cubicBezTo>
                    <a:pt x="18" y="43"/>
                    <a:pt x="21" y="44"/>
                    <a:pt x="23" y="46"/>
                  </a:cubicBezTo>
                  <a:cubicBezTo>
                    <a:pt x="24" y="48"/>
                    <a:pt x="23" y="51"/>
                    <a:pt x="24" y="53"/>
                  </a:cubicBezTo>
                  <a:cubicBezTo>
                    <a:pt x="24" y="54"/>
                    <a:pt x="23" y="55"/>
                    <a:pt x="24" y="57"/>
                  </a:cubicBezTo>
                  <a:cubicBezTo>
                    <a:pt x="24" y="56"/>
                    <a:pt x="25" y="55"/>
                    <a:pt x="25" y="55"/>
                  </a:cubicBezTo>
                  <a:cubicBezTo>
                    <a:pt x="27" y="55"/>
                    <a:pt x="28" y="60"/>
                    <a:pt x="29" y="61"/>
                  </a:cubicBezTo>
                  <a:cubicBezTo>
                    <a:pt x="29" y="63"/>
                    <a:pt x="29" y="65"/>
                    <a:pt x="29" y="67"/>
                  </a:cubicBezTo>
                  <a:cubicBezTo>
                    <a:pt x="30" y="73"/>
                    <a:pt x="37" y="76"/>
                    <a:pt x="42" y="80"/>
                  </a:cubicBezTo>
                  <a:cubicBezTo>
                    <a:pt x="43" y="81"/>
                    <a:pt x="44" y="81"/>
                    <a:pt x="46" y="82"/>
                  </a:cubicBezTo>
                  <a:cubicBezTo>
                    <a:pt x="47" y="82"/>
                    <a:pt x="48" y="82"/>
                    <a:pt x="49" y="83"/>
                  </a:cubicBezTo>
                  <a:cubicBezTo>
                    <a:pt x="53" y="86"/>
                    <a:pt x="57" y="91"/>
                    <a:pt x="60" y="95"/>
                  </a:cubicBezTo>
                  <a:cubicBezTo>
                    <a:pt x="62" y="97"/>
                    <a:pt x="64" y="99"/>
                    <a:pt x="66" y="101"/>
                  </a:cubicBezTo>
                  <a:cubicBezTo>
                    <a:pt x="70" y="105"/>
                    <a:pt x="68" y="111"/>
                    <a:pt x="66" y="116"/>
                  </a:cubicBezTo>
                  <a:cubicBezTo>
                    <a:pt x="65" y="120"/>
                    <a:pt x="65" y="120"/>
                    <a:pt x="65" y="120"/>
                  </a:cubicBezTo>
                  <a:cubicBezTo>
                    <a:pt x="65" y="119"/>
                    <a:pt x="66" y="119"/>
                    <a:pt x="67" y="119"/>
                  </a:cubicBezTo>
                  <a:cubicBezTo>
                    <a:pt x="67" y="121"/>
                    <a:pt x="67" y="122"/>
                    <a:pt x="68" y="125"/>
                  </a:cubicBezTo>
                  <a:cubicBezTo>
                    <a:pt x="69" y="124"/>
                    <a:pt x="69" y="124"/>
                    <a:pt x="69" y="123"/>
                  </a:cubicBezTo>
                  <a:cubicBezTo>
                    <a:pt x="70" y="123"/>
                    <a:pt x="71" y="123"/>
                    <a:pt x="71" y="123"/>
                  </a:cubicBezTo>
                  <a:cubicBezTo>
                    <a:pt x="71" y="123"/>
                    <a:pt x="71" y="121"/>
                    <a:pt x="71" y="121"/>
                  </a:cubicBezTo>
                  <a:cubicBezTo>
                    <a:pt x="70" y="120"/>
                    <a:pt x="70" y="119"/>
                    <a:pt x="70" y="119"/>
                  </a:cubicBezTo>
                  <a:cubicBezTo>
                    <a:pt x="70" y="119"/>
                    <a:pt x="72" y="121"/>
                    <a:pt x="72" y="122"/>
                  </a:cubicBezTo>
                  <a:cubicBezTo>
                    <a:pt x="74" y="125"/>
                    <a:pt x="75" y="129"/>
                    <a:pt x="73" y="131"/>
                  </a:cubicBezTo>
                  <a:cubicBezTo>
                    <a:pt x="73" y="130"/>
                    <a:pt x="73" y="127"/>
                    <a:pt x="72" y="127"/>
                  </a:cubicBezTo>
                  <a:cubicBezTo>
                    <a:pt x="72" y="126"/>
                    <a:pt x="71" y="126"/>
                    <a:pt x="70" y="126"/>
                  </a:cubicBezTo>
                  <a:cubicBezTo>
                    <a:pt x="70" y="126"/>
                    <a:pt x="70" y="126"/>
                    <a:pt x="70" y="126"/>
                  </a:cubicBezTo>
                  <a:cubicBezTo>
                    <a:pt x="70" y="126"/>
                    <a:pt x="69" y="126"/>
                    <a:pt x="69" y="126"/>
                  </a:cubicBezTo>
                  <a:cubicBezTo>
                    <a:pt x="68" y="126"/>
                    <a:pt x="68" y="126"/>
                    <a:pt x="67" y="126"/>
                  </a:cubicBezTo>
                  <a:cubicBezTo>
                    <a:pt x="66" y="125"/>
                    <a:pt x="65" y="124"/>
                    <a:pt x="64" y="123"/>
                  </a:cubicBezTo>
                  <a:cubicBezTo>
                    <a:pt x="63" y="122"/>
                    <a:pt x="62" y="122"/>
                    <a:pt x="62" y="122"/>
                  </a:cubicBezTo>
                  <a:cubicBezTo>
                    <a:pt x="61" y="122"/>
                    <a:pt x="61" y="123"/>
                    <a:pt x="60" y="123"/>
                  </a:cubicBezTo>
                  <a:cubicBezTo>
                    <a:pt x="59" y="123"/>
                    <a:pt x="58" y="123"/>
                    <a:pt x="58" y="123"/>
                  </a:cubicBezTo>
                  <a:cubicBezTo>
                    <a:pt x="54" y="123"/>
                    <a:pt x="51" y="122"/>
                    <a:pt x="48" y="122"/>
                  </a:cubicBezTo>
                  <a:cubicBezTo>
                    <a:pt x="47" y="122"/>
                    <a:pt x="46" y="122"/>
                    <a:pt x="46" y="122"/>
                  </a:cubicBezTo>
                  <a:cubicBezTo>
                    <a:pt x="46" y="122"/>
                    <a:pt x="46" y="122"/>
                    <a:pt x="47" y="124"/>
                  </a:cubicBezTo>
                  <a:cubicBezTo>
                    <a:pt x="50" y="128"/>
                    <a:pt x="56" y="132"/>
                    <a:pt x="60" y="136"/>
                  </a:cubicBezTo>
                  <a:cubicBezTo>
                    <a:pt x="62" y="138"/>
                    <a:pt x="66" y="141"/>
                    <a:pt x="70" y="143"/>
                  </a:cubicBezTo>
                  <a:cubicBezTo>
                    <a:pt x="72" y="145"/>
                    <a:pt x="75" y="147"/>
                    <a:pt x="78" y="148"/>
                  </a:cubicBezTo>
                  <a:cubicBezTo>
                    <a:pt x="79" y="148"/>
                    <a:pt x="79" y="148"/>
                    <a:pt x="80" y="148"/>
                  </a:cubicBezTo>
                  <a:cubicBezTo>
                    <a:pt x="81" y="148"/>
                    <a:pt x="81" y="148"/>
                    <a:pt x="83" y="148"/>
                  </a:cubicBezTo>
                  <a:cubicBezTo>
                    <a:pt x="83" y="148"/>
                    <a:pt x="84" y="148"/>
                    <a:pt x="85" y="148"/>
                  </a:cubicBezTo>
                  <a:cubicBezTo>
                    <a:pt x="86" y="148"/>
                    <a:pt x="86" y="148"/>
                    <a:pt x="87" y="148"/>
                  </a:cubicBezTo>
                  <a:cubicBezTo>
                    <a:pt x="87" y="148"/>
                    <a:pt x="87" y="148"/>
                    <a:pt x="88" y="147"/>
                  </a:cubicBezTo>
                  <a:cubicBezTo>
                    <a:pt x="89" y="146"/>
                    <a:pt x="89" y="144"/>
                    <a:pt x="90" y="143"/>
                  </a:cubicBezTo>
                  <a:cubicBezTo>
                    <a:pt x="90" y="144"/>
                    <a:pt x="89" y="148"/>
                    <a:pt x="89" y="148"/>
                  </a:cubicBezTo>
                  <a:cubicBezTo>
                    <a:pt x="93" y="152"/>
                    <a:pt x="98" y="155"/>
                    <a:pt x="102" y="159"/>
                  </a:cubicBezTo>
                  <a:cubicBezTo>
                    <a:pt x="106" y="162"/>
                    <a:pt x="112" y="164"/>
                    <a:pt x="113" y="169"/>
                  </a:cubicBezTo>
                  <a:cubicBezTo>
                    <a:pt x="114" y="174"/>
                    <a:pt x="115" y="178"/>
                    <a:pt x="115" y="183"/>
                  </a:cubicBezTo>
                  <a:cubicBezTo>
                    <a:pt x="115" y="185"/>
                    <a:pt x="114" y="186"/>
                    <a:pt x="114" y="188"/>
                  </a:cubicBezTo>
                  <a:cubicBezTo>
                    <a:pt x="114" y="190"/>
                    <a:pt x="114" y="193"/>
                    <a:pt x="113" y="196"/>
                  </a:cubicBezTo>
                  <a:cubicBezTo>
                    <a:pt x="114" y="194"/>
                    <a:pt x="114" y="193"/>
                    <a:pt x="115" y="192"/>
                  </a:cubicBezTo>
                  <a:cubicBezTo>
                    <a:pt x="114" y="193"/>
                    <a:pt x="114" y="196"/>
                    <a:pt x="114" y="197"/>
                  </a:cubicBezTo>
                  <a:cubicBezTo>
                    <a:pt x="118" y="200"/>
                    <a:pt x="123" y="201"/>
                    <a:pt x="127" y="204"/>
                  </a:cubicBezTo>
                  <a:cubicBezTo>
                    <a:pt x="134" y="210"/>
                    <a:pt x="140" y="215"/>
                    <a:pt x="147" y="220"/>
                  </a:cubicBezTo>
                  <a:cubicBezTo>
                    <a:pt x="150" y="223"/>
                    <a:pt x="153" y="225"/>
                    <a:pt x="156" y="228"/>
                  </a:cubicBezTo>
                  <a:cubicBezTo>
                    <a:pt x="160" y="232"/>
                    <a:pt x="163" y="239"/>
                    <a:pt x="165" y="244"/>
                  </a:cubicBezTo>
                  <a:cubicBezTo>
                    <a:pt x="167" y="243"/>
                    <a:pt x="169" y="241"/>
                    <a:pt x="170" y="240"/>
                  </a:cubicBezTo>
                  <a:cubicBezTo>
                    <a:pt x="172" y="239"/>
                    <a:pt x="173" y="239"/>
                    <a:pt x="175" y="238"/>
                  </a:cubicBezTo>
                  <a:cubicBezTo>
                    <a:pt x="177" y="236"/>
                    <a:pt x="177" y="233"/>
                    <a:pt x="177" y="231"/>
                  </a:cubicBezTo>
                  <a:cubicBezTo>
                    <a:pt x="176" y="226"/>
                    <a:pt x="171" y="226"/>
                    <a:pt x="170" y="223"/>
                  </a:cubicBezTo>
                  <a:cubicBezTo>
                    <a:pt x="170" y="221"/>
                    <a:pt x="169" y="217"/>
                    <a:pt x="168" y="216"/>
                  </a:cubicBezTo>
                  <a:cubicBezTo>
                    <a:pt x="168" y="216"/>
                    <a:pt x="168" y="216"/>
                    <a:pt x="167" y="216"/>
                  </a:cubicBezTo>
                  <a:cubicBezTo>
                    <a:pt x="167" y="216"/>
                    <a:pt x="167" y="216"/>
                    <a:pt x="166" y="216"/>
                  </a:cubicBezTo>
                  <a:cubicBezTo>
                    <a:pt x="166" y="216"/>
                    <a:pt x="166" y="216"/>
                    <a:pt x="165" y="216"/>
                  </a:cubicBezTo>
                  <a:cubicBezTo>
                    <a:pt x="165" y="216"/>
                    <a:pt x="165" y="216"/>
                    <a:pt x="165" y="216"/>
                  </a:cubicBezTo>
                  <a:cubicBezTo>
                    <a:pt x="162" y="215"/>
                    <a:pt x="160" y="208"/>
                    <a:pt x="157" y="208"/>
                  </a:cubicBezTo>
                  <a:cubicBezTo>
                    <a:pt x="157" y="208"/>
                    <a:pt x="157" y="208"/>
                    <a:pt x="157" y="208"/>
                  </a:cubicBezTo>
                  <a:cubicBezTo>
                    <a:pt x="155" y="208"/>
                    <a:pt x="156" y="210"/>
                    <a:pt x="156" y="212"/>
                  </a:cubicBezTo>
                  <a:cubicBezTo>
                    <a:pt x="154" y="212"/>
                    <a:pt x="151" y="212"/>
                    <a:pt x="150" y="211"/>
                  </a:cubicBezTo>
                  <a:cubicBezTo>
                    <a:pt x="147" y="208"/>
                    <a:pt x="147" y="202"/>
                    <a:pt x="147" y="199"/>
                  </a:cubicBezTo>
                  <a:cubicBezTo>
                    <a:pt x="148" y="194"/>
                    <a:pt x="144" y="190"/>
                    <a:pt x="142" y="185"/>
                  </a:cubicBezTo>
                  <a:cubicBezTo>
                    <a:pt x="140" y="181"/>
                    <a:pt x="138" y="176"/>
                    <a:pt x="136" y="171"/>
                  </a:cubicBezTo>
                  <a:cubicBezTo>
                    <a:pt x="136" y="171"/>
                    <a:pt x="136" y="171"/>
                    <a:pt x="136" y="171"/>
                  </a:cubicBezTo>
                  <a:cubicBezTo>
                    <a:pt x="135" y="172"/>
                    <a:pt x="135" y="172"/>
                    <a:pt x="135" y="172"/>
                  </a:cubicBezTo>
                  <a:cubicBezTo>
                    <a:pt x="136" y="169"/>
                    <a:pt x="133" y="165"/>
                    <a:pt x="132" y="162"/>
                  </a:cubicBezTo>
                  <a:cubicBezTo>
                    <a:pt x="131" y="160"/>
                    <a:pt x="131" y="158"/>
                    <a:pt x="130" y="155"/>
                  </a:cubicBezTo>
                  <a:cubicBezTo>
                    <a:pt x="128" y="151"/>
                    <a:pt x="125" y="147"/>
                    <a:pt x="121" y="145"/>
                  </a:cubicBezTo>
                  <a:cubicBezTo>
                    <a:pt x="122" y="147"/>
                    <a:pt x="123" y="150"/>
                    <a:pt x="123" y="152"/>
                  </a:cubicBezTo>
                  <a:cubicBezTo>
                    <a:pt x="120" y="152"/>
                    <a:pt x="119" y="144"/>
                    <a:pt x="118" y="141"/>
                  </a:cubicBezTo>
                  <a:cubicBezTo>
                    <a:pt x="118" y="140"/>
                    <a:pt x="116" y="139"/>
                    <a:pt x="113" y="138"/>
                  </a:cubicBezTo>
                  <a:cubicBezTo>
                    <a:pt x="111" y="137"/>
                    <a:pt x="109" y="132"/>
                    <a:pt x="107" y="130"/>
                  </a:cubicBezTo>
                  <a:cubicBezTo>
                    <a:pt x="105" y="126"/>
                    <a:pt x="103" y="120"/>
                    <a:pt x="99" y="117"/>
                  </a:cubicBezTo>
                  <a:cubicBezTo>
                    <a:pt x="100" y="117"/>
                    <a:pt x="100" y="117"/>
                    <a:pt x="100" y="117"/>
                  </a:cubicBezTo>
                  <a:cubicBezTo>
                    <a:pt x="99" y="115"/>
                    <a:pt x="98" y="113"/>
                    <a:pt x="98" y="110"/>
                  </a:cubicBezTo>
                  <a:cubicBezTo>
                    <a:pt x="97" y="109"/>
                    <a:pt x="98" y="107"/>
                    <a:pt x="97" y="106"/>
                  </a:cubicBezTo>
                  <a:cubicBezTo>
                    <a:pt x="95" y="106"/>
                    <a:pt x="94" y="106"/>
                    <a:pt x="93" y="105"/>
                  </a:cubicBezTo>
                  <a:cubicBezTo>
                    <a:pt x="88" y="103"/>
                    <a:pt x="86" y="97"/>
                    <a:pt x="83" y="93"/>
                  </a:cubicBezTo>
                  <a:cubicBezTo>
                    <a:pt x="83" y="94"/>
                    <a:pt x="83" y="94"/>
                    <a:pt x="83" y="94"/>
                  </a:cubicBezTo>
                  <a:cubicBezTo>
                    <a:pt x="81" y="94"/>
                    <a:pt x="78" y="88"/>
                    <a:pt x="77" y="87"/>
                  </a:cubicBezTo>
                  <a:cubicBezTo>
                    <a:pt x="74" y="83"/>
                    <a:pt x="71" y="79"/>
                    <a:pt x="68" y="75"/>
                  </a:cubicBezTo>
                  <a:cubicBezTo>
                    <a:pt x="66" y="73"/>
                    <a:pt x="65" y="73"/>
                    <a:pt x="64" y="73"/>
                  </a:cubicBezTo>
                  <a:cubicBezTo>
                    <a:pt x="62" y="72"/>
                    <a:pt x="60" y="70"/>
                    <a:pt x="59" y="68"/>
                  </a:cubicBezTo>
                  <a:cubicBezTo>
                    <a:pt x="57" y="64"/>
                    <a:pt x="57" y="60"/>
                    <a:pt x="56" y="56"/>
                  </a:cubicBezTo>
                  <a:cubicBezTo>
                    <a:pt x="55" y="50"/>
                    <a:pt x="51" y="44"/>
                    <a:pt x="52" y="38"/>
                  </a:cubicBezTo>
                  <a:cubicBezTo>
                    <a:pt x="52" y="34"/>
                    <a:pt x="52" y="31"/>
                    <a:pt x="52" y="28"/>
                  </a:cubicBezTo>
                  <a:cubicBezTo>
                    <a:pt x="53" y="24"/>
                    <a:pt x="51" y="23"/>
                    <a:pt x="50" y="20"/>
                  </a:cubicBezTo>
                  <a:cubicBezTo>
                    <a:pt x="50" y="19"/>
                    <a:pt x="50" y="19"/>
                    <a:pt x="50" y="18"/>
                  </a:cubicBezTo>
                  <a:cubicBezTo>
                    <a:pt x="50" y="19"/>
                    <a:pt x="51" y="19"/>
                    <a:pt x="52" y="20"/>
                  </a:cubicBezTo>
                  <a:cubicBezTo>
                    <a:pt x="56" y="22"/>
                    <a:pt x="60" y="24"/>
                    <a:pt x="65" y="27"/>
                  </a:cubicBezTo>
                  <a:cubicBezTo>
                    <a:pt x="66" y="28"/>
                    <a:pt x="67" y="29"/>
                    <a:pt x="69" y="29"/>
                  </a:cubicBezTo>
                  <a:cubicBezTo>
                    <a:pt x="70" y="29"/>
                    <a:pt x="70" y="28"/>
                    <a:pt x="71" y="27"/>
                  </a:cubicBezTo>
                  <a:cubicBezTo>
                    <a:pt x="72" y="27"/>
                    <a:pt x="71" y="26"/>
                    <a:pt x="71" y="26"/>
                  </a:cubicBezTo>
                  <a:cubicBezTo>
                    <a:pt x="72" y="25"/>
                    <a:pt x="71" y="25"/>
                    <a:pt x="71" y="24"/>
                  </a:cubicBezTo>
                  <a:cubicBezTo>
                    <a:pt x="71" y="24"/>
                    <a:pt x="72" y="24"/>
                    <a:pt x="72" y="24"/>
                  </a:cubicBezTo>
                  <a:cubicBezTo>
                    <a:pt x="73" y="24"/>
                    <a:pt x="78" y="29"/>
                    <a:pt x="79" y="30"/>
                  </a:cubicBezTo>
                  <a:cubicBezTo>
                    <a:pt x="83" y="32"/>
                    <a:pt x="87" y="35"/>
                    <a:pt x="90" y="37"/>
                  </a:cubicBezTo>
                  <a:cubicBezTo>
                    <a:pt x="93" y="39"/>
                    <a:pt x="93" y="39"/>
                    <a:pt x="92" y="43"/>
                  </a:cubicBezTo>
                  <a:cubicBezTo>
                    <a:pt x="91" y="46"/>
                    <a:pt x="91" y="47"/>
                    <a:pt x="93" y="50"/>
                  </a:cubicBezTo>
                  <a:cubicBezTo>
                    <a:pt x="96" y="56"/>
                    <a:pt x="99" y="61"/>
                    <a:pt x="101" y="68"/>
                  </a:cubicBezTo>
                  <a:cubicBezTo>
                    <a:pt x="103" y="72"/>
                    <a:pt x="105" y="76"/>
                    <a:pt x="107" y="80"/>
                  </a:cubicBezTo>
                  <a:cubicBezTo>
                    <a:pt x="107" y="81"/>
                    <a:pt x="107" y="83"/>
                    <a:pt x="108" y="84"/>
                  </a:cubicBezTo>
                  <a:cubicBezTo>
                    <a:pt x="108" y="85"/>
                    <a:pt x="112" y="85"/>
                    <a:pt x="112" y="86"/>
                  </a:cubicBezTo>
                  <a:cubicBezTo>
                    <a:pt x="113" y="87"/>
                    <a:pt x="112" y="92"/>
                    <a:pt x="113" y="93"/>
                  </a:cubicBezTo>
                  <a:cubicBezTo>
                    <a:pt x="119" y="99"/>
                    <a:pt x="124" y="104"/>
                    <a:pt x="130" y="110"/>
                  </a:cubicBezTo>
                  <a:cubicBezTo>
                    <a:pt x="133" y="113"/>
                    <a:pt x="139" y="120"/>
                    <a:pt x="144" y="120"/>
                  </a:cubicBezTo>
                  <a:cubicBezTo>
                    <a:pt x="146" y="120"/>
                    <a:pt x="147" y="120"/>
                    <a:pt x="149" y="120"/>
                  </a:cubicBezTo>
                  <a:cubicBezTo>
                    <a:pt x="153" y="121"/>
                    <a:pt x="150" y="121"/>
                    <a:pt x="150" y="122"/>
                  </a:cubicBezTo>
                  <a:cubicBezTo>
                    <a:pt x="150" y="122"/>
                    <a:pt x="150" y="122"/>
                    <a:pt x="150" y="122"/>
                  </a:cubicBezTo>
                  <a:cubicBezTo>
                    <a:pt x="150" y="122"/>
                    <a:pt x="150" y="122"/>
                    <a:pt x="150" y="122"/>
                  </a:cubicBezTo>
                  <a:cubicBezTo>
                    <a:pt x="149" y="123"/>
                    <a:pt x="149" y="123"/>
                    <a:pt x="149" y="123"/>
                  </a:cubicBezTo>
                  <a:cubicBezTo>
                    <a:pt x="149" y="123"/>
                    <a:pt x="149" y="123"/>
                    <a:pt x="149" y="123"/>
                  </a:cubicBezTo>
                  <a:cubicBezTo>
                    <a:pt x="147" y="130"/>
                    <a:pt x="153" y="137"/>
                    <a:pt x="159" y="139"/>
                  </a:cubicBezTo>
                  <a:cubicBezTo>
                    <a:pt x="161" y="139"/>
                    <a:pt x="162" y="139"/>
                    <a:pt x="164" y="140"/>
                  </a:cubicBezTo>
                  <a:cubicBezTo>
                    <a:pt x="165" y="140"/>
                    <a:pt x="166" y="144"/>
                    <a:pt x="166" y="145"/>
                  </a:cubicBezTo>
                  <a:cubicBezTo>
                    <a:pt x="167" y="147"/>
                    <a:pt x="171" y="147"/>
                    <a:pt x="173" y="148"/>
                  </a:cubicBezTo>
                  <a:cubicBezTo>
                    <a:pt x="178" y="150"/>
                    <a:pt x="183" y="156"/>
                    <a:pt x="184" y="162"/>
                  </a:cubicBezTo>
                  <a:cubicBezTo>
                    <a:pt x="184" y="161"/>
                    <a:pt x="183" y="160"/>
                    <a:pt x="183" y="159"/>
                  </a:cubicBezTo>
                  <a:cubicBezTo>
                    <a:pt x="182" y="161"/>
                    <a:pt x="180" y="161"/>
                    <a:pt x="179" y="163"/>
                  </a:cubicBezTo>
                  <a:cubicBezTo>
                    <a:pt x="179" y="165"/>
                    <a:pt x="177" y="168"/>
                    <a:pt x="177" y="170"/>
                  </a:cubicBezTo>
                  <a:cubicBezTo>
                    <a:pt x="177" y="173"/>
                    <a:pt x="177" y="173"/>
                    <a:pt x="177" y="175"/>
                  </a:cubicBezTo>
                  <a:cubicBezTo>
                    <a:pt x="177" y="174"/>
                    <a:pt x="178" y="173"/>
                    <a:pt x="178" y="173"/>
                  </a:cubicBezTo>
                  <a:cubicBezTo>
                    <a:pt x="179" y="173"/>
                    <a:pt x="180" y="175"/>
                    <a:pt x="180" y="176"/>
                  </a:cubicBezTo>
                  <a:cubicBezTo>
                    <a:pt x="180" y="176"/>
                    <a:pt x="179" y="176"/>
                    <a:pt x="179" y="176"/>
                  </a:cubicBezTo>
                  <a:cubicBezTo>
                    <a:pt x="179" y="176"/>
                    <a:pt x="179" y="176"/>
                    <a:pt x="180" y="176"/>
                  </a:cubicBezTo>
                  <a:cubicBezTo>
                    <a:pt x="180" y="176"/>
                    <a:pt x="181" y="176"/>
                    <a:pt x="181" y="176"/>
                  </a:cubicBezTo>
                  <a:cubicBezTo>
                    <a:pt x="181" y="175"/>
                    <a:pt x="181" y="175"/>
                    <a:pt x="181" y="175"/>
                  </a:cubicBezTo>
                  <a:cubicBezTo>
                    <a:pt x="181" y="175"/>
                    <a:pt x="181" y="175"/>
                    <a:pt x="182" y="175"/>
                  </a:cubicBezTo>
                  <a:cubicBezTo>
                    <a:pt x="183" y="176"/>
                    <a:pt x="183" y="177"/>
                    <a:pt x="184" y="177"/>
                  </a:cubicBezTo>
                  <a:cubicBezTo>
                    <a:pt x="184" y="177"/>
                    <a:pt x="184" y="177"/>
                    <a:pt x="184" y="177"/>
                  </a:cubicBezTo>
                  <a:cubicBezTo>
                    <a:pt x="185" y="177"/>
                    <a:pt x="186" y="177"/>
                    <a:pt x="187" y="177"/>
                  </a:cubicBezTo>
                  <a:cubicBezTo>
                    <a:pt x="187" y="177"/>
                    <a:pt x="188" y="177"/>
                    <a:pt x="189" y="177"/>
                  </a:cubicBezTo>
                  <a:cubicBezTo>
                    <a:pt x="189" y="177"/>
                    <a:pt x="189" y="177"/>
                    <a:pt x="189" y="177"/>
                  </a:cubicBezTo>
                  <a:cubicBezTo>
                    <a:pt x="188" y="178"/>
                    <a:pt x="187" y="179"/>
                    <a:pt x="186" y="181"/>
                  </a:cubicBezTo>
                  <a:cubicBezTo>
                    <a:pt x="193" y="182"/>
                    <a:pt x="200" y="184"/>
                    <a:pt x="205" y="188"/>
                  </a:cubicBezTo>
                  <a:cubicBezTo>
                    <a:pt x="206" y="190"/>
                    <a:pt x="208" y="191"/>
                    <a:pt x="210" y="193"/>
                  </a:cubicBezTo>
                  <a:cubicBezTo>
                    <a:pt x="210" y="193"/>
                    <a:pt x="210" y="196"/>
                    <a:pt x="210" y="197"/>
                  </a:cubicBezTo>
                  <a:cubicBezTo>
                    <a:pt x="211" y="199"/>
                    <a:pt x="211" y="202"/>
                    <a:pt x="214" y="204"/>
                  </a:cubicBezTo>
                  <a:cubicBezTo>
                    <a:pt x="213" y="203"/>
                    <a:pt x="213" y="203"/>
                    <a:pt x="212" y="202"/>
                  </a:cubicBezTo>
                  <a:cubicBezTo>
                    <a:pt x="214" y="203"/>
                    <a:pt x="215" y="204"/>
                    <a:pt x="217" y="205"/>
                  </a:cubicBezTo>
                  <a:cubicBezTo>
                    <a:pt x="218" y="205"/>
                    <a:pt x="218" y="205"/>
                    <a:pt x="219" y="205"/>
                  </a:cubicBezTo>
                  <a:cubicBezTo>
                    <a:pt x="219" y="205"/>
                    <a:pt x="219" y="205"/>
                    <a:pt x="219" y="205"/>
                  </a:cubicBezTo>
                  <a:cubicBezTo>
                    <a:pt x="219" y="205"/>
                    <a:pt x="220" y="205"/>
                    <a:pt x="220" y="205"/>
                  </a:cubicBezTo>
                  <a:cubicBezTo>
                    <a:pt x="220" y="204"/>
                    <a:pt x="220" y="204"/>
                    <a:pt x="221" y="204"/>
                  </a:cubicBezTo>
                  <a:cubicBezTo>
                    <a:pt x="221" y="204"/>
                    <a:pt x="221" y="204"/>
                    <a:pt x="221" y="204"/>
                  </a:cubicBezTo>
                  <a:cubicBezTo>
                    <a:pt x="223" y="205"/>
                    <a:pt x="221" y="207"/>
                    <a:pt x="219" y="207"/>
                  </a:cubicBezTo>
                  <a:cubicBezTo>
                    <a:pt x="219" y="207"/>
                    <a:pt x="219" y="207"/>
                    <a:pt x="219" y="207"/>
                  </a:cubicBezTo>
                  <a:cubicBezTo>
                    <a:pt x="227" y="213"/>
                    <a:pt x="233" y="219"/>
                    <a:pt x="239" y="227"/>
                  </a:cubicBezTo>
                  <a:cubicBezTo>
                    <a:pt x="246" y="236"/>
                    <a:pt x="253" y="243"/>
                    <a:pt x="261" y="251"/>
                  </a:cubicBezTo>
                  <a:cubicBezTo>
                    <a:pt x="264" y="254"/>
                    <a:pt x="265" y="260"/>
                    <a:pt x="264" y="264"/>
                  </a:cubicBezTo>
                  <a:cubicBezTo>
                    <a:pt x="264" y="269"/>
                    <a:pt x="269" y="274"/>
                    <a:pt x="272" y="277"/>
                  </a:cubicBezTo>
                  <a:cubicBezTo>
                    <a:pt x="274" y="280"/>
                    <a:pt x="275" y="280"/>
                    <a:pt x="274" y="282"/>
                  </a:cubicBezTo>
                  <a:cubicBezTo>
                    <a:pt x="272" y="285"/>
                    <a:pt x="271" y="289"/>
                    <a:pt x="270" y="292"/>
                  </a:cubicBezTo>
                  <a:cubicBezTo>
                    <a:pt x="270" y="293"/>
                    <a:pt x="268" y="294"/>
                    <a:pt x="267" y="295"/>
                  </a:cubicBezTo>
                  <a:cubicBezTo>
                    <a:pt x="268" y="296"/>
                    <a:pt x="270" y="296"/>
                    <a:pt x="271" y="296"/>
                  </a:cubicBezTo>
                  <a:cubicBezTo>
                    <a:pt x="272" y="297"/>
                    <a:pt x="273" y="297"/>
                    <a:pt x="273" y="297"/>
                  </a:cubicBezTo>
                  <a:cubicBezTo>
                    <a:pt x="273" y="299"/>
                    <a:pt x="275" y="300"/>
                    <a:pt x="273" y="300"/>
                  </a:cubicBezTo>
                  <a:cubicBezTo>
                    <a:pt x="271" y="301"/>
                    <a:pt x="266" y="302"/>
                    <a:pt x="265" y="303"/>
                  </a:cubicBezTo>
                  <a:cubicBezTo>
                    <a:pt x="262" y="307"/>
                    <a:pt x="271" y="318"/>
                    <a:pt x="273" y="321"/>
                  </a:cubicBezTo>
                  <a:cubicBezTo>
                    <a:pt x="276" y="327"/>
                    <a:pt x="282" y="331"/>
                    <a:pt x="288" y="334"/>
                  </a:cubicBezTo>
                  <a:cubicBezTo>
                    <a:pt x="293" y="337"/>
                    <a:pt x="299" y="339"/>
                    <a:pt x="304" y="342"/>
                  </a:cubicBezTo>
                  <a:cubicBezTo>
                    <a:pt x="308" y="345"/>
                    <a:pt x="310" y="349"/>
                    <a:pt x="314" y="353"/>
                  </a:cubicBezTo>
                  <a:cubicBezTo>
                    <a:pt x="316" y="355"/>
                    <a:pt x="319" y="356"/>
                    <a:pt x="322" y="357"/>
                  </a:cubicBezTo>
                  <a:cubicBezTo>
                    <a:pt x="329" y="360"/>
                    <a:pt x="336" y="362"/>
                    <a:pt x="343" y="364"/>
                  </a:cubicBezTo>
                  <a:cubicBezTo>
                    <a:pt x="344" y="364"/>
                    <a:pt x="344" y="364"/>
                    <a:pt x="344" y="364"/>
                  </a:cubicBezTo>
                  <a:cubicBezTo>
                    <a:pt x="345" y="364"/>
                    <a:pt x="346" y="363"/>
                    <a:pt x="347" y="363"/>
                  </a:cubicBezTo>
                  <a:cubicBezTo>
                    <a:pt x="347" y="363"/>
                    <a:pt x="348" y="363"/>
                    <a:pt x="349" y="363"/>
                  </a:cubicBezTo>
                  <a:cubicBezTo>
                    <a:pt x="349" y="363"/>
                    <a:pt x="350" y="363"/>
                    <a:pt x="351" y="363"/>
                  </a:cubicBezTo>
                  <a:cubicBezTo>
                    <a:pt x="356" y="367"/>
                    <a:pt x="360" y="371"/>
                    <a:pt x="366" y="375"/>
                  </a:cubicBezTo>
                  <a:cubicBezTo>
                    <a:pt x="377" y="382"/>
                    <a:pt x="390" y="385"/>
                    <a:pt x="401" y="391"/>
                  </a:cubicBezTo>
                  <a:cubicBezTo>
                    <a:pt x="407" y="394"/>
                    <a:pt x="413" y="395"/>
                    <a:pt x="420" y="396"/>
                  </a:cubicBezTo>
                  <a:cubicBezTo>
                    <a:pt x="423" y="397"/>
                    <a:pt x="424" y="397"/>
                    <a:pt x="427" y="400"/>
                  </a:cubicBezTo>
                  <a:cubicBezTo>
                    <a:pt x="429" y="403"/>
                    <a:pt x="432" y="403"/>
                    <a:pt x="435" y="404"/>
                  </a:cubicBezTo>
                  <a:cubicBezTo>
                    <a:pt x="438" y="405"/>
                    <a:pt x="441" y="406"/>
                    <a:pt x="443" y="408"/>
                  </a:cubicBezTo>
                  <a:cubicBezTo>
                    <a:pt x="447" y="410"/>
                    <a:pt x="448" y="410"/>
                    <a:pt x="453" y="411"/>
                  </a:cubicBezTo>
                  <a:cubicBezTo>
                    <a:pt x="455" y="411"/>
                    <a:pt x="458" y="411"/>
                    <a:pt x="461" y="412"/>
                  </a:cubicBezTo>
                  <a:cubicBezTo>
                    <a:pt x="463" y="413"/>
                    <a:pt x="465" y="415"/>
                    <a:pt x="468" y="416"/>
                  </a:cubicBezTo>
                  <a:cubicBezTo>
                    <a:pt x="472" y="417"/>
                    <a:pt x="474" y="417"/>
                    <a:pt x="477" y="417"/>
                  </a:cubicBezTo>
                  <a:cubicBezTo>
                    <a:pt x="479" y="417"/>
                    <a:pt x="482" y="417"/>
                    <a:pt x="485" y="416"/>
                  </a:cubicBezTo>
                  <a:cubicBezTo>
                    <a:pt x="490" y="415"/>
                    <a:pt x="494" y="412"/>
                    <a:pt x="500" y="411"/>
                  </a:cubicBezTo>
                  <a:cubicBezTo>
                    <a:pt x="502" y="410"/>
                    <a:pt x="504" y="407"/>
                    <a:pt x="506" y="406"/>
                  </a:cubicBezTo>
                  <a:cubicBezTo>
                    <a:pt x="508" y="406"/>
                    <a:pt x="510" y="405"/>
                    <a:pt x="512" y="405"/>
                  </a:cubicBezTo>
                  <a:cubicBezTo>
                    <a:pt x="513" y="405"/>
                    <a:pt x="514" y="405"/>
                    <a:pt x="515" y="405"/>
                  </a:cubicBezTo>
                  <a:cubicBezTo>
                    <a:pt x="515" y="405"/>
                    <a:pt x="515" y="405"/>
                    <a:pt x="515" y="405"/>
                  </a:cubicBezTo>
                  <a:cubicBezTo>
                    <a:pt x="513" y="404"/>
                    <a:pt x="512" y="404"/>
                    <a:pt x="510" y="403"/>
                  </a:cubicBezTo>
                  <a:cubicBezTo>
                    <a:pt x="512" y="402"/>
                    <a:pt x="514" y="401"/>
                    <a:pt x="516" y="400"/>
                  </a:cubicBezTo>
                  <a:cubicBezTo>
                    <a:pt x="516" y="402"/>
                    <a:pt x="516" y="403"/>
                    <a:pt x="517" y="403"/>
                  </a:cubicBezTo>
                  <a:cubicBezTo>
                    <a:pt x="517" y="403"/>
                    <a:pt x="518" y="403"/>
                    <a:pt x="520" y="402"/>
                  </a:cubicBezTo>
                  <a:cubicBezTo>
                    <a:pt x="520" y="403"/>
                    <a:pt x="519" y="404"/>
                    <a:pt x="518" y="405"/>
                  </a:cubicBezTo>
                  <a:cubicBezTo>
                    <a:pt x="520" y="406"/>
                    <a:pt x="523" y="406"/>
                    <a:pt x="525" y="406"/>
                  </a:cubicBezTo>
                  <a:cubicBezTo>
                    <a:pt x="528" y="406"/>
                    <a:pt x="531" y="408"/>
                    <a:pt x="533" y="409"/>
                  </a:cubicBezTo>
                  <a:cubicBezTo>
                    <a:pt x="532" y="406"/>
                    <a:pt x="527" y="406"/>
                    <a:pt x="525" y="404"/>
                  </a:cubicBezTo>
                  <a:cubicBezTo>
                    <a:pt x="525" y="404"/>
                    <a:pt x="526" y="403"/>
                    <a:pt x="527" y="403"/>
                  </a:cubicBezTo>
                  <a:cubicBezTo>
                    <a:pt x="530" y="403"/>
                    <a:pt x="536" y="408"/>
                    <a:pt x="538" y="410"/>
                  </a:cubicBezTo>
                  <a:cubicBezTo>
                    <a:pt x="543" y="414"/>
                    <a:pt x="548" y="418"/>
                    <a:pt x="553" y="422"/>
                  </a:cubicBezTo>
                  <a:cubicBezTo>
                    <a:pt x="555" y="423"/>
                    <a:pt x="556" y="426"/>
                    <a:pt x="558" y="427"/>
                  </a:cubicBezTo>
                  <a:cubicBezTo>
                    <a:pt x="560" y="428"/>
                    <a:pt x="563" y="429"/>
                    <a:pt x="564" y="430"/>
                  </a:cubicBezTo>
                  <a:cubicBezTo>
                    <a:pt x="567" y="435"/>
                    <a:pt x="570" y="439"/>
                    <a:pt x="573" y="442"/>
                  </a:cubicBezTo>
                  <a:cubicBezTo>
                    <a:pt x="574" y="441"/>
                    <a:pt x="574" y="441"/>
                    <a:pt x="574" y="441"/>
                  </a:cubicBezTo>
                  <a:cubicBezTo>
                    <a:pt x="574" y="441"/>
                    <a:pt x="574" y="441"/>
                    <a:pt x="574" y="441"/>
                  </a:cubicBezTo>
                  <a:cubicBezTo>
                    <a:pt x="574" y="440"/>
                    <a:pt x="574" y="440"/>
                    <a:pt x="574" y="440"/>
                  </a:cubicBezTo>
                  <a:cubicBezTo>
                    <a:pt x="574" y="439"/>
                    <a:pt x="574" y="439"/>
                    <a:pt x="574" y="439"/>
                  </a:cubicBezTo>
                  <a:cubicBezTo>
                    <a:pt x="574" y="438"/>
                    <a:pt x="574" y="437"/>
                    <a:pt x="575" y="435"/>
                  </a:cubicBezTo>
                  <a:cubicBezTo>
                    <a:pt x="575" y="435"/>
                    <a:pt x="575" y="435"/>
                    <a:pt x="575" y="435"/>
                  </a:cubicBezTo>
                  <a:cubicBezTo>
                    <a:pt x="575" y="435"/>
                    <a:pt x="575" y="433"/>
                    <a:pt x="575" y="432"/>
                  </a:cubicBezTo>
                  <a:cubicBezTo>
                    <a:pt x="576" y="432"/>
                    <a:pt x="576" y="432"/>
                    <a:pt x="576" y="432"/>
                  </a:cubicBezTo>
                  <a:cubicBezTo>
                    <a:pt x="574" y="430"/>
                    <a:pt x="574" y="428"/>
                    <a:pt x="574" y="426"/>
                  </a:cubicBezTo>
                  <a:cubicBezTo>
                    <a:pt x="575" y="425"/>
                    <a:pt x="575" y="425"/>
                    <a:pt x="575" y="425"/>
                  </a:cubicBezTo>
                  <a:cubicBezTo>
                    <a:pt x="575" y="425"/>
                    <a:pt x="575" y="425"/>
                    <a:pt x="575" y="425"/>
                  </a:cubicBezTo>
                  <a:cubicBezTo>
                    <a:pt x="575" y="424"/>
                    <a:pt x="575" y="424"/>
                    <a:pt x="575" y="424"/>
                  </a:cubicBezTo>
                  <a:cubicBezTo>
                    <a:pt x="575" y="423"/>
                    <a:pt x="575" y="423"/>
                    <a:pt x="575" y="423"/>
                  </a:cubicBezTo>
                  <a:cubicBezTo>
                    <a:pt x="576" y="420"/>
                    <a:pt x="579" y="416"/>
                    <a:pt x="581" y="413"/>
                  </a:cubicBezTo>
                  <a:cubicBezTo>
                    <a:pt x="582" y="411"/>
                    <a:pt x="582" y="411"/>
                    <a:pt x="582" y="411"/>
                  </a:cubicBezTo>
                  <a:cubicBezTo>
                    <a:pt x="583" y="410"/>
                    <a:pt x="584" y="409"/>
                    <a:pt x="586" y="408"/>
                  </a:cubicBezTo>
                  <a:cubicBezTo>
                    <a:pt x="586" y="408"/>
                    <a:pt x="587" y="407"/>
                    <a:pt x="587" y="407"/>
                  </a:cubicBezTo>
                  <a:cubicBezTo>
                    <a:pt x="589" y="406"/>
                    <a:pt x="591" y="406"/>
                    <a:pt x="592" y="406"/>
                  </a:cubicBezTo>
                  <a:cubicBezTo>
                    <a:pt x="594" y="405"/>
                    <a:pt x="597" y="405"/>
                    <a:pt x="599" y="405"/>
                  </a:cubicBezTo>
                  <a:cubicBezTo>
                    <a:pt x="600" y="405"/>
                    <a:pt x="601" y="405"/>
                    <a:pt x="602" y="405"/>
                  </a:cubicBezTo>
                  <a:cubicBezTo>
                    <a:pt x="603" y="405"/>
                    <a:pt x="604" y="405"/>
                    <a:pt x="605" y="405"/>
                  </a:cubicBezTo>
                  <a:cubicBezTo>
                    <a:pt x="615" y="405"/>
                    <a:pt x="615" y="405"/>
                    <a:pt x="615" y="405"/>
                  </a:cubicBezTo>
                  <a:cubicBezTo>
                    <a:pt x="615" y="404"/>
                    <a:pt x="615" y="404"/>
                    <a:pt x="615" y="404"/>
                  </a:cubicBezTo>
                  <a:cubicBezTo>
                    <a:pt x="615" y="404"/>
                    <a:pt x="615" y="404"/>
                    <a:pt x="615" y="404"/>
                  </a:cubicBezTo>
                  <a:cubicBezTo>
                    <a:pt x="615" y="403"/>
                    <a:pt x="615" y="403"/>
                    <a:pt x="616" y="402"/>
                  </a:cubicBezTo>
                  <a:cubicBezTo>
                    <a:pt x="615" y="402"/>
                    <a:pt x="615" y="402"/>
                    <a:pt x="615" y="402"/>
                  </a:cubicBezTo>
                  <a:cubicBezTo>
                    <a:pt x="615" y="402"/>
                    <a:pt x="615" y="402"/>
                    <a:pt x="615" y="402"/>
                  </a:cubicBezTo>
                  <a:cubicBezTo>
                    <a:pt x="615" y="401"/>
                    <a:pt x="614" y="401"/>
                    <a:pt x="613" y="401"/>
                  </a:cubicBezTo>
                  <a:cubicBezTo>
                    <a:pt x="610" y="399"/>
                    <a:pt x="608" y="397"/>
                    <a:pt x="606" y="394"/>
                  </a:cubicBezTo>
                  <a:cubicBezTo>
                    <a:pt x="606" y="394"/>
                    <a:pt x="606" y="394"/>
                    <a:pt x="606" y="394"/>
                  </a:cubicBezTo>
                  <a:cubicBezTo>
                    <a:pt x="605" y="394"/>
                    <a:pt x="605" y="394"/>
                    <a:pt x="605" y="394"/>
                  </a:cubicBezTo>
                  <a:cubicBezTo>
                    <a:pt x="605" y="393"/>
                    <a:pt x="604" y="392"/>
                    <a:pt x="603" y="391"/>
                  </a:cubicBezTo>
                  <a:cubicBezTo>
                    <a:pt x="602" y="391"/>
                    <a:pt x="601" y="390"/>
                    <a:pt x="601" y="389"/>
                  </a:cubicBezTo>
                  <a:cubicBezTo>
                    <a:pt x="598" y="387"/>
                    <a:pt x="598" y="387"/>
                    <a:pt x="598" y="387"/>
                  </a:cubicBezTo>
                  <a:cubicBezTo>
                    <a:pt x="596" y="385"/>
                    <a:pt x="594" y="383"/>
                    <a:pt x="592" y="382"/>
                  </a:cubicBezTo>
                  <a:cubicBezTo>
                    <a:pt x="586" y="377"/>
                    <a:pt x="586" y="377"/>
                    <a:pt x="586" y="377"/>
                  </a:cubicBezTo>
                  <a:cubicBezTo>
                    <a:pt x="602" y="377"/>
                    <a:pt x="602" y="377"/>
                    <a:pt x="602" y="377"/>
                  </a:cubicBezTo>
                  <a:cubicBezTo>
                    <a:pt x="602" y="377"/>
                    <a:pt x="602" y="377"/>
                    <a:pt x="602" y="377"/>
                  </a:cubicBezTo>
                  <a:cubicBezTo>
                    <a:pt x="601" y="370"/>
                    <a:pt x="601" y="366"/>
                    <a:pt x="603" y="365"/>
                  </a:cubicBezTo>
                  <a:cubicBezTo>
                    <a:pt x="603" y="363"/>
                    <a:pt x="605" y="363"/>
                    <a:pt x="607" y="363"/>
                  </a:cubicBezTo>
                  <a:cubicBezTo>
                    <a:pt x="609" y="363"/>
                    <a:pt x="610" y="363"/>
                    <a:pt x="612" y="363"/>
                  </a:cubicBezTo>
                  <a:cubicBezTo>
                    <a:pt x="614" y="363"/>
                    <a:pt x="614" y="363"/>
                    <a:pt x="614" y="363"/>
                  </a:cubicBezTo>
                  <a:cubicBezTo>
                    <a:pt x="614" y="364"/>
                    <a:pt x="614" y="364"/>
                    <a:pt x="615" y="364"/>
                  </a:cubicBezTo>
                  <a:cubicBezTo>
                    <a:pt x="629" y="364"/>
                    <a:pt x="629" y="364"/>
                    <a:pt x="629" y="364"/>
                  </a:cubicBezTo>
                  <a:cubicBezTo>
                    <a:pt x="634" y="364"/>
                    <a:pt x="639" y="364"/>
                    <a:pt x="644" y="364"/>
                  </a:cubicBezTo>
                  <a:cubicBezTo>
                    <a:pt x="645" y="363"/>
                    <a:pt x="645" y="363"/>
                    <a:pt x="645" y="363"/>
                  </a:cubicBezTo>
                  <a:cubicBezTo>
                    <a:pt x="645" y="363"/>
                    <a:pt x="645" y="363"/>
                    <a:pt x="645" y="363"/>
                  </a:cubicBezTo>
                  <a:cubicBezTo>
                    <a:pt x="646" y="363"/>
                    <a:pt x="646" y="363"/>
                    <a:pt x="646" y="363"/>
                  </a:cubicBezTo>
                  <a:cubicBezTo>
                    <a:pt x="646" y="362"/>
                    <a:pt x="646" y="362"/>
                    <a:pt x="646" y="362"/>
                  </a:cubicBezTo>
                  <a:cubicBezTo>
                    <a:pt x="647" y="361"/>
                    <a:pt x="647" y="361"/>
                    <a:pt x="647" y="361"/>
                  </a:cubicBezTo>
                  <a:cubicBezTo>
                    <a:pt x="647" y="361"/>
                    <a:pt x="648" y="361"/>
                    <a:pt x="648" y="361"/>
                  </a:cubicBezTo>
                  <a:cubicBezTo>
                    <a:pt x="649" y="360"/>
                    <a:pt x="650" y="360"/>
                    <a:pt x="650" y="360"/>
                  </a:cubicBezTo>
                  <a:cubicBezTo>
                    <a:pt x="650" y="360"/>
                    <a:pt x="650" y="360"/>
                    <a:pt x="651" y="360"/>
                  </a:cubicBezTo>
                  <a:cubicBezTo>
                    <a:pt x="652" y="360"/>
                    <a:pt x="652" y="361"/>
                    <a:pt x="653" y="361"/>
                  </a:cubicBezTo>
                  <a:cubicBezTo>
                    <a:pt x="653" y="361"/>
                    <a:pt x="653" y="361"/>
                    <a:pt x="653" y="361"/>
                  </a:cubicBezTo>
                  <a:cubicBezTo>
                    <a:pt x="653" y="361"/>
                    <a:pt x="654" y="361"/>
                    <a:pt x="655" y="359"/>
                  </a:cubicBezTo>
                  <a:cubicBezTo>
                    <a:pt x="656" y="358"/>
                    <a:pt x="656" y="357"/>
                    <a:pt x="657" y="356"/>
                  </a:cubicBezTo>
                  <a:cubicBezTo>
                    <a:pt x="657" y="355"/>
                    <a:pt x="657" y="355"/>
                    <a:pt x="657" y="355"/>
                  </a:cubicBezTo>
                  <a:cubicBezTo>
                    <a:pt x="658" y="355"/>
                    <a:pt x="658" y="355"/>
                    <a:pt x="658" y="355"/>
                  </a:cubicBezTo>
                  <a:cubicBezTo>
                    <a:pt x="658" y="353"/>
                    <a:pt x="658" y="353"/>
                    <a:pt x="658" y="353"/>
                  </a:cubicBezTo>
                  <a:cubicBezTo>
                    <a:pt x="660" y="349"/>
                    <a:pt x="662" y="348"/>
                    <a:pt x="664" y="348"/>
                  </a:cubicBezTo>
                  <a:cubicBezTo>
                    <a:pt x="664" y="348"/>
                    <a:pt x="665" y="348"/>
                    <a:pt x="665" y="348"/>
                  </a:cubicBezTo>
                  <a:cubicBezTo>
                    <a:pt x="666" y="348"/>
                    <a:pt x="666" y="348"/>
                    <a:pt x="667" y="348"/>
                  </a:cubicBezTo>
                  <a:cubicBezTo>
                    <a:pt x="668" y="348"/>
                    <a:pt x="668" y="348"/>
                    <a:pt x="668" y="348"/>
                  </a:cubicBezTo>
                  <a:cubicBezTo>
                    <a:pt x="669" y="348"/>
                    <a:pt x="669" y="348"/>
                    <a:pt x="669" y="348"/>
                  </a:cubicBezTo>
                  <a:cubicBezTo>
                    <a:pt x="669" y="347"/>
                    <a:pt x="670" y="345"/>
                    <a:pt x="669" y="344"/>
                  </a:cubicBezTo>
                  <a:cubicBezTo>
                    <a:pt x="671" y="344"/>
                    <a:pt x="671" y="343"/>
                    <a:pt x="672" y="342"/>
                  </a:cubicBezTo>
                  <a:cubicBezTo>
                    <a:pt x="673" y="344"/>
                    <a:pt x="672" y="348"/>
                    <a:pt x="672" y="350"/>
                  </a:cubicBezTo>
                  <a:cubicBezTo>
                    <a:pt x="672" y="353"/>
                    <a:pt x="676" y="356"/>
                    <a:pt x="677" y="358"/>
                  </a:cubicBezTo>
                  <a:cubicBezTo>
                    <a:pt x="680" y="349"/>
                    <a:pt x="681" y="338"/>
                    <a:pt x="686" y="331"/>
                  </a:cubicBezTo>
                  <a:cubicBezTo>
                    <a:pt x="686" y="331"/>
                    <a:pt x="685" y="330"/>
                    <a:pt x="685" y="330"/>
                  </a:cubicBezTo>
                  <a:cubicBezTo>
                    <a:pt x="683" y="330"/>
                    <a:pt x="684" y="332"/>
                    <a:pt x="683" y="333"/>
                  </a:cubicBezTo>
                  <a:cubicBezTo>
                    <a:pt x="682" y="333"/>
                    <a:pt x="682" y="333"/>
                    <a:pt x="682" y="333"/>
                  </a:cubicBezTo>
                  <a:cubicBezTo>
                    <a:pt x="680" y="333"/>
                    <a:pt x="684" y="329"/>
                    <a:pt x="685" y="328"/>
                  </a:cubicBezTo>
                  <a:cubicBezTo>
                    <a:pt x="685" y="328"/>
                    <a:pt x="685" y="328"/>
                    <a:pt x="685" y="328"/>
                  </a:cubicBezTo>
                  <a:cubicBezTo>
                    <a:pt x="686" y="328"/>
                    <a:pt x="687" y="326"/>
                    <a:pt x="687" y="324"/>
                  </a:cubicBezTo>
                  <a:cubicBezTo>
                    <a:pt x="686" y="325"/>
                    <a:pt x="684" y="325"/>
                    <a:pt x="683" y="325"/>
                  </a:cubicBezTo>
                  <a:cubicBezTo>
                    <a:pt x="681" y="325"/>
                    <a:pt x="679" y="325"/>
                    <a:pt x="680" y="322"/>
                  </a:cubicBezTo>
                  <a:cubicBezTo>
                    <a:pt x="680" y="320"/>
                    <a:pt x="685" y="320"/>
                    <a:pt x="686" y="319"/>
                  </a:cubicBezTo>
                  <a:cubicBezTo>
                    <a:pt x="687" y="318"/>
                    <a:pt x="686" y="315"/>
                    <a:pt x="686" y="314"/>
                  </a:cubicBezTo>
                  <a:cubicBezTo>
                    <a:pt x="686" y="313"/>
                    <a:pt x="686" y="311"/>
                    <a:pt x="687" y="310"/>
                  </a:cubicBezTo>
                  <a:cubicBezTo>
                    <a:pt x="688" y="305"/>
                    <a:pt x="695" y="301"/>
                    <a:pt x="698" y="296"/>
                  </a:cubicBezTo>
                  <a:cubicBezTo>
                    <a:pt x="699" y="293"/>
                    <a:pt x="701" y="290"/>
                    <a:pt x="703" y="287"/>
                  </a:cubicBezTo>
                  <a:cubicBezTo>
                    <a:pt x="703" y="286"/>
                    <a:pt x="702" y="283"/>
                    <a:pt x="701" y="282"/>
                  </a:cubicBezTo>
                  <a:cubicBezTo>
                    <a:pt x="701" y="280"/>
                    <a:pt x="699" y="278"/>
                    <a:pt x="697" y="277"/>
                  </a:cubicBezTo>
                  <a:cubicBezTo>
                    <a:pt x="697" y="276"/>
                    <a:pt x="696" y="276"/>
                    <a:pt x="696" y="276"/>
                  </a:cubicBezTo>
                  <a:cubicBezTo>
                    <a:pt x="694" y="276"/>
                    <a:pt x="693" y="277"/>
                    <a:pt x="692" y="277"/>
                  </a:cubicBezTo>
                  <a:cubicBezTo>
                    <a:pt x="692" y="277"/>
                    <a:pt x="689" y="276"/>
                    <a:pt x="689" y="276"/>
                  </a:cubicBezTo>
                  <a:cubicBezTo>
                    <a:pt x="689" y="276"/>
                    <a:pt x="689" y="276"/>
                    <a:pt x="689" y="276"/>
                  </a:cubicBezTo>
                  <a:cubicBezTo>
                    <a:pt x="688" y="276"/>
                    <a:pt x="687" y="277"/>
                    <a:pt x="686" y="278"/>
                  </a:cubicBezTo>
                  <a:cubicBezTo>
                    <a:pt x="682" y="277"/>
                    <a:pt x="677" y="276"/>
                    <a:pt x="673" y="276"/>
                  </a:cubicBezTo>
                  <a:cubicBezTo>
                    <a:pt x="672" y="276"/>
                    <a:pt x="671" y="276"/>
                    <a:pt x="670" y="276"/>
                  </a:cubicBezTo>
                  <a:cubicBezTo>
                    <a:pt x="664" y="276"/>
                    <a:pt x="660" y="278"/>
                    <a:pt x="654" y="280"/>
                  </a:cubicBezTo>
                  <a:cubicBezTo>
                    <a:pt x="649" y="282"/>
                    <a:pt x="642" y="282"/>
                    <a:pt x="636" y="283"/>
                  </a:cubicBezTo>
                  <a:cubicBezTo>
                    <a:pt x="633" y="283"/>
                    <a:pt x="630" y="283"/>
                    <a:pt x="627" y="285"/>
                  </a:cubicBezTo>
                  <a:cubicBezTo>
                    <a:pt x="625" y="287"/>
                    <a:pt x="620" y="290"/>
                    <a:pt x="619" y="293"/>
                  </a:cubicBezTo>
                  <a:cubicBezTo>
                    <a:pt x="618" y="296"/>
                    <a:pt x="617" y="300"/>
                    <a:pt x="617" y="303"/>
                  </a:cubicBezTo>
                  <a:cubicBezTo>
                    <a:pt x="616" y="306"/>
                    <a:pt x="617" y="310"/>
                    <a:pt x="616" y="312"/>
                  </a:cubicBezTo>
                  <a:cubicBezTo>
                    <a:pt x="615" y="315"/>
                    <a:pt x="612" y="317"/>
                    <a:pt x="612" y="320"/>
                  </a:cubicBezTo>
                  <a:cubicBezTo>
                    <a:pt x="611" y="322"/>
                    <a:pt x="611" y="325"/>
                    <a:pt x="611" y="327"/>
                  </a:cubicBezTo>
                  <a:cubicBezTo>
                    <a:pt x="611" y="329"/>
                    <a:pt x="610" y="330"/>
                    <a:pt x="609" y="331"/>
                  </a:cubicBezTo>
                  <a:cubicBezTo>
                    <a:pt x="608" y="332"/>
                    <a:pt x="597" y="340"/>
                    <a:pt x="595" y="341"/>
                  </a:cubicBezTo>
                  <a:cubicBezTo>
                    <a:pt x="596" y="340"/>
                    <a:pt x="598" y="340"/>
                    <a:pt x="599" y="339"/>
                  </a:cubicBezTo>
                  <a:cubicBezTo>
                    <a:pt x="598" y="341"/>
                    <a:pt x="597" y="342"/>
                    <a:pt x="596" y="344"/>
                  </a:cubicBezTo>
                  <a:cubicBezTo>
                    <a:pt x="596" y="344"/>
                    <a:pt x="596" y="344"/>
                    <a:pt x="596" y="344"/>
                  </a:cubicBezTo>
                  <a:cubicBezTo>
                    <a:pt x="597" y="344"/>
                    <a:pt x="597" y="343"/>
                    <a:pt x="597" y="343"/>
                  </a:cubicBezTo>
                  <a:cubicBezTo>
                    <a:pt x="598" y="343"/>
                    <a:pt x="598" y="346"/>
                    <a:pt x="597" y="347"/>
                  </a:cubicBezTo>
                  <a:cubicBezTo>
                    <a:pt x="598" y="347"/>
                    <a:pt x="599" y="347"/>
                    <a:pt x="600" y="346"/>
                  </a:cubicBezTo>
                  <a:cubicBezTo>
                    <a:pt x="596" y="349"/>
                    <a:pt x="591" y="350"/>
                    <a:pt x="586" y="352"/>
                  </a:cubicBezTo>
                  <a:cubicBezTo>
                    <a:pt x="586" y="353"/>
                    <a:pt x="586" y="353"/>
                    <a:pt x="586" y="353"/>
                  </a:cubicBezTo>
                  <a:cubicBezTo>
                    <a:pt x="584" y="353"/>
                    <a:pt x="584" y="348"/>
                    <a:pt x="581" y="347"/>
                  </a:cubicBezTo>
                  <a:cubicBezTo>
                    <a:pt x="582" y="347"/>
                    <a:pt x="582" y="347"/>
                    <a:pt x="583" y="347"/>
                  </a:cubicBezTo>
                  <a:cubicBezTo>
                    <a:pt x="583" y="347"/>
                    <a:pt x="584" y="347"/>
                    <a:pt x="584" y="347"/>
                  </a:cubicBezTo>
                  <a:cubicBezTo>
                    <a:pt x="584" y="347"/>
                    <a:pt x="583" y="345"/>
                    <a:pt x="582" y="345"/>
                  </a:cubicBezTo>
                  <a:cubicBezTo>
                    <a:pt x="582" y="345"/>
                    <a:pt x="581" y="345"/>
                    <a:pt x="580" y="345"/>
                  </a:cubicBezTo>
                  <a:cubicBezTo>
                    <a:pt x="577" y="345"/>
                    <a:pt x="574" y="346"/>
                    <a:pt x="571" y="346"/>
                  </a:cubicBezTo>
                  <a:cubicBezTo>
                    <a:pt x="569" y="347"/>
                    <a:pt x="567" y="349"/>
                    <a:pt x="566" y="351"/>
                  </a:cubicBezTo>
                  <a:cubicBezTo>
                    <a:pt x="565" y="349"/>
                    <a:pt x="565" y="348"/>
                    <a:pt x="564" y="348"/>
                  </a:cubicBezTo>
                  <a:cubicBezTo>
                    <a:pt x="564" y="348"/>
                    <a:pt x="564" y="348"/>
                    <a:pt x="563" y="348"/>
                  </a:cubicBezTo>
                  <a:cubicBezTo>
                    <a:pt x="561" y="348"/>
                    <a:pt x="557" y="351"/>
                    <a:pt x="554" y="351"/>
                  </a:cubicBezTo>
                  <a:cubicBezTo>
                    <a:pt x="548" y="352"/>
                    <a:pt x="546" y="352"/>
                    <a:pt x="541" y="354"/>
                  </a:cubicBezTo>
                  <a:cubicBezTo>
                    <a:pt x="537" y="357"/>
                    <a:pt x="534" y="357"/>
                    <a:pt x="529" y="358"/>
                  </a:cubicBezTo>
                  <a:cubicBezTo>
                    <a:pt x="528" y="358"/>
                    <a:pt x="527" y="358"/>
                    <a:pt x="526" y="358"/>
                  </a:cubicBezTo>
                  <a:cubicBezTo>
                    <a:pt x="523" y="358"/>
                    <a:pt x="521" y="357"/>
                    <a:pt x="519" y="354"/>
                  </a:cubicBezTo>
                  <a:cubicBezTo>
                    <a:pt x="517" y="352"/>
                    <a:pt x="516" y="350"/>
                    <a:pt x="515" y="349"/>
                  </a:cubicBezTo>
                  <a:cubicBezTo>
                    <a:pt x="514" y="349"/>
                    <a:pt x="511" y="348"/>
                    <a:pt x="510" y="348"/>
                  </a:cubicBezTo>
                  <a:cubicBezTo>
                    <a:pt x="508" y="347"/>
                    <a:pt x="506" y="345"/>
                    <a:pt x="504" y="345"/>
                  </a:cubicBezTo>
                  <a:cubicBezTo>
                    <a:pt x="504" y="345"/>
                    <a:pt x="504" y="345"/>
                    <a:pt x="504" y="345"/>
                  </a:cubicBezTo>
                  <a:cubicBezTo>
                    <a:pt x="503" y="345"/>
                    <a:pt x="502" y="345"/>
                    <a:pt x="501" y="345"/>
                  </a:cubicBezTo>
                  <a:cubicBezTo>
                    <a:pt x="500" y="345"/>
                    <a:pt x="500" y="345"/>
                    <a:pt x="499" y="345"/>
                  </a:cubicBezTo>
                  <a:cubicBezTo>
                    <a:pt x="497" y="345"/>
                    <a:pt x="496" y="345"/>
                    <a:pt x="495" y="345"/>
                  </a:cubicBezTo>
                  <a:cubicBezTo>
                    <a:pt x="493" y="345"/>
                    <a:pt x="491" y="345"/>
                    <a:pt x="491" y="349"/>
                  </a:cubicBezTo>
                  <a:cubicBezTo>
                    <a:pt x="490" y="349"/>
                    <a:pt x="489" y="350"/>
                    <a:pt x="487" y="351"/>
                  </a:cubicBezTo>
                  <a:cubicBezTo>
                    <a:pt x="488" y="349"/>
                    <a:pt x="489" y="348"/>
                    <a:pt x="490" y="346"/>
                  </a:cubicBezTo>
                  <a:cubicBezTo>
                    <a:pt x="491" y="343"/>
                    <a:pt x="490" y="344"/>
                    <a:pt x="489" y="342"/>
                  </a:cubicBezTo>
                  <a:cubicBezTo>
                    <a:pt x="490" y="342"/>
                    <a:pt x="492" y="343"/>
                    <a:pt x="493" y="343"/>
                  </a:cubicBezTo>
                  <a:cubicBezTo>
                    <a:pt x="493" y="343"/>
                    <a:pt x="493" y="343"/>
                    <a:pt x="493" y="343"/>
                  </a:cubicBezTo>
                  <a:cubicBezTo>
                    <a:pt x="490" y="338"/>
                    <a:pt x="483" y="334"/>
                    <a:pt x="481" y="328"/>
                  </a:cubicBezTo>
                  <a:cubicBezTo>
                    <a:pt x="480" y="325"/>
                    <a:pt x="480" y="320"/>
                    <a:pt x="478" y="317"/>
                  </a:cubicBezTo>
                  <a:cubicBezTo>
                    <a:pt x="476" y="314"/>
                    <a:pt x="473" y="311"/>
                    <a:pt x="471" y="309"/>
                  </a:cubicBezTo>
                  <a:cubicBezTo>
                    <a:pt x="468" y="306"/>
                    <a:pt x="465" y="303"/>
                    <a:pt x="463" y="300"/>
                  </a:cubicBezTo>
                  <a:cubicBezTo>
                    <a:pt x="460" y="297"/>
                    <a:pt x="459" y="293"/>
                    <a:pt x="457" y="289"/>
                  </a:cubicBezTo>
                  <a:cubicBezTo>
                    <a:pt x="454" y="282"/>
                    <a:pt x="451" y="276"/>
                    <a:pt x="449" y="268"/>
                  </a:cubicBezTo>
                  <a:cubicBezTo>
                    <a:pt x="451" y="271"/>
                    <a:pt x="453" y="273"/>
                    <a:pt x="455" y="276"/>
                  </a:cubicBezTo>
                  <a:cubicBezTo>
                    <a:pt x="456" y="278"/>
                    <a:pt x="456" y="277"/>
                    <a:pt x="455" y="280"/>
                  </a:cubicBezTo>
                  <a:cubicBezTo>
                    <a:pt x="455" y="281"/>
                    <a:pt x="455" y="282"/>
                    <a:pt x="455" y="283"/>
                  </a:cubicBezTo>
                  <a:cubicBezTo>
                    <a:pt x="456" y="282"/>
                    <a:pt x="458" y="279"/>
                    <a:pt x="458" y="278"/>
                  </a:cubicBezTo>
                  <a:cubicBezTo>
                    <a:pt x="458" y="272"/>
                    <a:pt x="449" y="267"/>
                    <a:pt x="447" y="262"/>
                  </a:cubicBezTo>
                  <a:cubicBezTo>
                    <a:pt x="446" y="258"/>
                    <a:pt x="446" y="253"/>
                    <a:pt x="446" y="249"/>
                  </a:cubicBezTo>
                  <a:cubicBezTo>
                    <a:pt x="445" y="245"/>
                    <a:pt x="446" y="241"/>
                    <a:pt x="447" y="237"/>
                  </a:cubicBezTo>
                  <a:cubicBezTo>
                    <a:pt x="448" y="229"/>
                    <a:pt x="448" y="221"/>
                    <a:pt x="449" y="214"/>
                  </a:cubicBezTo>
                  <a:cubicBezTo>
                    <a:pt x="449" y="216"/>
                    <a:pt x="448" y="219"/>
                    <a:pt x="448" y="221"/>
                  </a:cubicBezTo>
                  <a:cubicBezTo>
                    <a:pt x="447" y="215"/>
                    <a:pt x="444" y="208"/>
                    <a:pt x="447" y="202"/>
                  </a:cubicBezTo>
                  <a:cubicBezTo>
                    <a:pt x="448" y="200"/>
                    <a:pt x="451" y="195"/>
                    <a:pt x="449" y="193"/>
                  </a:cubicBezTo>
                  <a:cubicBezTo>
                    <a:pt x="447" y="191"/>
                    <a:pt x="448" y="186"/>
                    <a:pt x="448" y="183"/>
                  </a:cubicBezTo>
                  <a:cubicBezTo>
                    <a:pt x="449" y="183"/>
                    <a:pt x="451" y="185"/>
                    <a:pt x="453" y="185"/>
                  </a:cubicBezTo>
                  <a:cubicBezTo>
                    <a:pt x="453" y="185"/>
                    <a:pt x="453" y="185"/>
                    <a:pt x="453" y="185"/>
                  </a:cubicBezTo>
                  <a:cubicBezTo>
                    <a:pt x="454" y="184"/>
                    <a:pt x="452" y="183"/>
                    <a:pt x="454" y="183"/>
                  </a:cubicBezTo>
                  <a:cubicBezTo>
                    <a:pt x="453" y="183"/>
                    <a:pt x="453" y="181"/>
                    <a:pt x="453" y="181"/>
                  </a:cubicBezTo>
                  <a:cubicBezTo>
                    <a:pt x="454" y="181"/>
                    <a:pt x="455" y="181"/>
                    <a:pt x="455" y="182"/>
                  </a:cubicBezTo>
                  <a:cubicBezTo>
                    <a:pt x="455" y="186"/>
                    <a:pt x="453" y="190"/>
                    <a:pt x="452" y="195"/>
                  </a:cubicBezTo>
                  <a:cubicBezTo>
                    <a:pt x="454" y="187"/>
                    <a:pt x="457" y="179"/>
                    <a:pt x="460" y="172"/>
                  </a:cubicBezTo>
                  <a:cubicBezTo>
                    <a:pt x="460" y="171"/>
                    <a:pt x="460" y="171"/>
                    <a:pt x="460" y="171"/>
                  </a:cubicBezTo>
                  <a:cubicBezTo>
                    <a:pt x="460" y="171"/>
                    <a:pt x="460" y="171"/>
                    <a:pt x="460" y="171"/>
                  </a:cubicBezTo>
                  <a:cubicBezTo>
                    <a:pt x="459" y="172"/>
                    <a:pt x="458" y="172"/>
                    <a:pt x="457" y="172"/>
                  </a:cubicBezTo>
                  <a:cubicBezTo>
                    <a:pt x="456" y="172"/>
                    <a:pt x="455" y="172"/>
                    <a:pt x="454" y="172"/>
                  </a:cubicBezTo>
                  <a:cubicBezTo>
                    <a:pt x="454" y="172"/>
                    <a:pt x="454" y="172"/>
                    <a:pt x="454" y="172"/>
                  </a:cubicBezTo>
                  <a:cubicBezTo>
                    <a:pt x="452" y="172"/>
                    <a:pt x="451" y="172"/>
                    <a:pt x="450" y="171"/>
                  </a:cubicBezTo>
                  <a:cubicBezTo>
                    <a:pt x="449" y="170"/>
                    <a:pt x="446" y="169"/>
                    <a:pt x="444" y="169"/>
                  </a:cubicBezTo>
                  <a:cubicBezTo>
                    <a:pt x="441" y="169"/>
                    <a:pt x="436" y="167"/>
                    <a:pt x="433" y="166"/>
                  </a:cubicBezTo>
                  <a:cubicBezTo>
                    <a:pt x="433" y="166"/>
                    <a:pt x="432" y="166"/>
                    <a:pt x="431" y="165"/>
                  </a:cubicBezTo>
                  <a:cubicBezTo>
                    <a:pt x="429" y="164"/>
                    <a:pt x="427" y="163"/>
                    <a:pt x="422" y="162"/>
                  </a:cubicBezTo>
                  <a:cubicBezTo>
                    <a:pt x="416" y="160"/>
                    <a:pt x="414" y="159"/>
                    <a:pt x="413" y="156"/>
                  </a:cubicBezTo>
                  <a:cubicBezTo>
                    <a:pt x="404" y="135"/>
                    <a:pt x="404" y="134"/>
                    <a:pt x="404" y="133"/>
                  </a:cubicBezTo>
                  <a:cubicBezTo>
                    <a:pt x="405" y="129"/>
                    <a:pt x="404" y="129"/>
                    <a:pt x="404" y="129"/>
                  </a:cubicBezTo>
                  <a:cubicBezTo>
                    <a:pt x="401" y="127"/>
                    <a:pt x="397" y="126"/>
                    <a:pt x="397" y="123"/>
                  </a:cubicBezTo>
                  <a:cubicBezTo>
                    <a:pt x="396" y="122"/>
                    <a:pt x="394" y="119"/>
                    <a:pt x="393" y="117"/>
                  </a:cubicBezTo>
                  <a:cubicBezTo>
                    <a:pt x="388" y="110"/>
                    <a:pt x="384" y="104"/>
                    <a:pt x="379" y="94"/>
                  </a:cubicBezTo>
                  <a:cubicBezTo>
                    <a:pt x="375" y="86"/>
                    <a:pt x="371" y="84"/>
                    <a:pt x="369" y="81"/>
                  </a:cubicBezTo>
                  <a:cubicBezTo>
                    <a:pt x="368" y="81"/>
                    <a:pt x="367" y="80"/>
                    <a:pt x="366" y="79"/>
                  </a:cubicBezTo>
                  <a:cubicBezTo>
                    <a:pt x="362" y="75"/>
                    <a:pt x="360" y="75"/>
                    <a:pt x="360" y="75"/>
                  </a:cubicBezTo>
                  <a:cubicBezTo>
                    <a:pt x="359" y="75"/>
                    <a:pt x="359" y="75"/>
                    <a:pt x="359" y="75"/>
                  </a:cubicBezTo>
                  <a:cubicBezTo>
                    <a:pt x="359" y="75"/>
                    <a:pt x="358" y="75"/>
                    <a:pt x="357" y="75"/>
                  </a:cubicBezTo>
                  <a:cubicBezTo>
                    <a:pt x="354" y="75"/>
                    <a:pt x="351" y="74"/>
                    <a:pt x="348" y="73"/>
                  </a:cubicBezTo>
                  <a:cubicBezTo>
                    <a:pt x="348" y="73"/>
                    <a:pt x="348" y="73"/>
                    <a:pt x="348" y="73"/>
                  </a:cubicBezTo>
                  <a:cubicBezTo>
                    <a:pt x="347" y="73"/>
                    <a:pt x="346" y="73"/>
                    <a:pt x="345" y="73"/>
                  </a:cubicBezTo>
                  <a:cubicBezTo>
                    <a:pt x="345" y="73"/>
                    <a:pt x="344" y="73"/>
                    <a:pt x="344" y="73"/>
                  </a:cubicBezTo>
                  <a:cubicBezTo>
                    <a:pt x="343" y="73"/>
                    <a:pt x="343" y="73"/>
                    <a:pt x="343" y="73"/>
                  </a:cubicBezTo>
                  <a:cubicBezTo>
                    <a:pt x="342" y="75"/>
                    <a:pt x="339" y="75"/>
                    <a:pt x="338" y="75"/>
                  </a:cubicBezTo>
                  <a:cubicBezTo>
                    <a:pt x="336" y="75"/>
                    <a:pt x="334" y="78"/>
                    <a:pt x="332" y="83"/>
                  </a:cubicBezTo>
                  <a:cubicBezTo>
                    <a:pt x="331" y="85"/>
                    <a:pt x="330" y="87"/>
                    <a:pt x="329" y="89"/>
                  </a:cubicBezTo>
                  <a:cubicBezTo>
                    <a:pt x="328" y="91"/>
                    <a:pt x="326" y="93"/>
                    <a:pt x="323" y="94"/>
                  </a:cubicBezTo>
                  <a:cubicBezTo>
                    <a:pt x="322" y="94"/>
                    <a:pt x="322" y="94"/>
                    <a:pt x="322" y="94"/>
                  </a:cubicBezTo>
                  <a:cubicBezTo>
                    <a:pt x="322" y="94"/>
                    <a:pt x="321" y="94"/>
                    <a:pt x="321" y="94"/>
                  </a:cubicBezTo>
                  <a:cubicBezTo>
                    <a:pt x="316" y="94"/>
                    <a:pt x="311" y="91"/>
                    <a:pt x="307" y="89"/>
                  </a:cubicBezTo>
                  <a:cubicBezTo>
                    <a:pt x="307" y="89"/>
                    <a:pt x="307" y="89"/>
                    <a:pt x="307" y="89"/>
                  </a:cubicBezTo>
                  <a:cubicBezTo>
                    <a:pt x="307" y="89"/>
                    <a:pt x="306" y="89"/>
                    <a:pt x="306" y="88"/>
                  </a:cubicBezTo>
                  <a:cubicBezTo>
                    <a:pt x="305" y="88"/>
                    <a:pt x="305" y="88"/>
                    <a:pt x="305" y="88"/>
                  </a:cubicBezTo>
                  <a:cubicBezTo>
                    <a:pt x="299" y="85"/>
                    <a:pt x="286" y="78"/>
                    <a:pt x="284" y="68"/>
                  </a:cubicBezTo>
                  <a:cubicBezTo>
                    <a:pt x="283" y="58"/>
                    <a:pt x="277" y="51"/>
                    <a:pt x="277" y="51"/>
                  </a:cubicBezTo>
                  <a:cubicBezTo>
                    <a:pt x="267" y="44"/>
                    <a:pt x="256" y="35"/>
                    <a:pt x="255" y="34"/>
                  </a:cubicBezTo>
                  <a:cubicBezTo>
                    <a:pt x="253" y="33"/>
                    <a:pt x="249" y="32"/>
                    <a:pt x="248" y="28"/>
                  </a:cubicBezTo>
                  <a:cubicBezTo>
                    <a:pt x="247" y="28"/>
                    <a:pt x="247" y="28"/>
                    <a:pt x="247" y="28"/>
                  </a:cubicBezTo>
                  <a:cubicBezTo>
                    <a:pt x="247" y="25"/>
                    <a:pt x="246" y="24"/>
                    <a:pt x="244" y="24"/>
                  </a:cubicBezTo>
                  <a:cubicBezTo>
                    <a:pt x="242" y="24"/>
                    <a:pt x="237" y="24"/>
                    <a:pt x="231" y="24"/>
                  </a:cubicBezTo>
                  <a:cubicBezTo>
                    <a:pt x="223" y="24"/>
                    <a:pt x="212" y="24"/>
                    <a:pt x="208" y="24"/>
                  </a:cubicBezTo>
                  <a:cubicBezTo>
                    <a:pt x="208" y="25"/>
                    <a:pt x="208" y="25"/>
                    <a:pt x="208" y="25"/>
                  </a:cubicBezTo>
                  <a:cubicBezTo>
                    <a:pt x="208" y="26"/>
                    <a:pt x="208" y="26"/>
                    <a:pt x="208" y="26"/>
                  </a:cubicBezTo>
                  <a:cubicBezTo>
                    <a:pt x="208" y="26"/>
                    <a:pt x="208" y="27"/>
                    <a:pt x="208" y="27"/>
                  </a:cubicBezTo>
                  <a:cubicBezTo>
                    <a:pt x="208" y="29"/>
                    <a:pt x="207" y="31"/>
                    <a:pt x="205" y="34"/>
                  </a:cubicBezTo>
                  <a:cubicBezTo>
                    <a:pt x="205" y="36"/>
                    <a:pt x="205" y="36"/>
                    <a:pt x="205" y="36"/>
                  </a:cubicBezTo>
                  <a:cubicBezTo>
                    <a:pt x="177" y="36"/>
                    <a:pt x="177" y="36"/>
                    <a:pt x="177" y="36"/>
                  </a:cubicBezTo>
                  <a:cubicBezTo>
                    <a:pt x="150" y="36"/>
                    <a:pt x="144" y="35"/>
                    <a:pt x="115" y="27"/>
                  </a:cubicBezTo>
                  <a:cubicBezTo>
                    <a:pt x="105" y="25"/>
                    <a:pt x="64" y="10"/>
                    <a:pt x="51" y="6"/>
                  </a:cubicBezTo>
                  <a:cubicBezTo>
                    <a:pt x="48" y="5"/>
                    <a:pt x="48" y="5"/>
                    <a:pt x="48" y="5"/>
                  </a:cubicBezTo>
                  <a:cubicBezTo>
                    <a:pt x="49" y="2"/>
                    <a:pt x="49" y="2"/>
                    <a:pt x="49" y="2"/>
                  </a:cubicBezTo>
                  <a:cubicBezTo>
                    <a:pt x="49" y="2"/>
                    <a:pt x="49" y="1"/>
                    <a:pt x="5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9" name="Rectangle 362">
              <a:extLst>
                <a:ext uri="{FF2B5EF4-FFF2-40B4-BE49-F238E27FC236}">
                  <a16:creationId xmlns:a16="http://schemas.microsoft.com/office/drawing/2014/main" id="{D5F86798-BCDD-43C3-8C90-C857390CE33D}"/>
                </a:ext>
              </a:extLst>
            </p:cNvPr>
            <p:cNvSpPr>
              <a:spLocks noChangeArrowheads="1"/>
            </p:cNvSpPr>
            <p:nvPr/>
          </p:nvSpPr>
          <p:spPr bwMode="auto">
            <a:xfrm>
              <a:off x="5932479" y="6187310"/>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0" name="Freeform 363">
              <a:extLst>
                <a:ext uri="{FF2B5EF4-FFF2-40B4-BE49-F238E27FC236}">
                  <a16:creationId xmlns:a16="http://schemas.microsoft.com/office/drawing/2014/main" id="{6436A1DB-BF7C-48C1-8F87-94346465D601}"/>
                </a:ext>
              </a:extLst>
            </p:cNvPr>
            <p:cNvSpPr>
              <a:spLocks/>
            </p:cNvSpPr>
            <p:nvPr/>
          </p:nvSpPr>
          <p:spPr bwMode="auto">
            <a:xfrm>
              <a:off x="5932479" y="618731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1" name="Freeform 364">
              <a:extLst>
                <a:ext uri="{FF2B5EF4-FFF2-40B4-BE49-F238E27FC236}">
                  <a16:creationId xmlns:a16="http://schemas.microsoft.com/office/drawing/2014/main" id="{08B00D3A-B529-43EA-9896-54950690EED0}"/>
                </a:ext>
              </a:extLst>
            </p:cNvPr>
            <p:cNvSpPr>
              <a:spLocks/>
            </p:cNvSpPr>
            <p:nvPr/>
          </p:nvSpPr>
          <p:spPr bwMode="auto">
            <a:xfrm>
              <a:off x="9664691" y="7374760"/>
              <a:ext cx="303213" cy="209550"/>
            </a:xfrm>
            <a:custGeom>
              <a:avLst/>
              <a:gdLst>
                <a:gd name="T0" fmla="*/ 14 w 81"/>
                <a:gd name="T1" fmla="*/ 2 h 56"/>
                <a:gd name="T2" fmla="*/ 2 w 81"/>
                <a:gd name="T3" fmla="*/ 2 h 56"/>
                <a:gd name="T4" fmla="*/ 3 w 81"/>
                <a:gd name="T5" fmla="*/ 3 h 56"/>
                <a:gd name="T6" fmla="*/ 5 w 81"/>
                <a:gd name="T7" fmla="*/ 7 h 56"/>
                <a:gd name="T8" fmla="*/ 6 w 81"/>
                <a:gd name="T9" fmla="*/ 10 h 56"/>
                <a:gd name="T10" fmla="*/ 5 w 81"/>
                <a:gd name="T11" fmla="*/ 13 h 56"/>
                <a:gd name="T12" fmla="*/ 7 w 81"/>
                <a:gd name="T13" fmla="*/ 14 h 56"/>
                <a:gd name="T14" fmla="*/ 8 w 81"/>
                <a:gd name="T15" fmla="*/ 15 h 56"/>
                <a:gd name="T16" fmla="*/ 4 w 81"/>
                <a:gd name="T17" fmla="*/ 26 h 56"/>
                <a:gd name="T18" fmla="*/ 4 w 81"/>
                <a:gd name="T19" fmla="*/ 29 h 56"/>
                <a:gd name="T20" fmla="*/ 4 w 81"/>
                <a:gd name="T21" fmla="*/ 30 h 56"/>
                <a:gd name="T22" fmla="*/ 0 w 81"/>
                <a:gd name="T23" fmla="*/ 33 h 56"/>
                <a:gd name="T24" fmla="*/ 2 w 81"/>
                <a:gd name="T25" fmla="*/ 35 h 56"/>
                <a:gd name="T26" fmla="*/ 5 w 81"/>
                <a:gd name="T27" fmla="*/ 40 h 56"/>
                <a:gd name="T28" fmla="*/ 4 w 81"/>
                <a:gd name="T29" fmla="*/ 43 h 56"/>
                <a:gd name="T30" fmla="*/ 3 w 81"/>
                <a:gd name="T31" fmla="*/ 46 h 56"/>
                <a:gd name="T32" fmla="*/ 3 w 81"/>
                <a:gd name="T33" fmla="*/ 47 h 56"/>
                <a:gd name="T34" fmla="*/ 4 w 81"/>
                <a:gd name="T35" fmla="*/ 52 h 56"/>
                <a:gd name="T36" fmla="*/ 9 w 81"/>
                <a:gd name="T37" fmla="*/ 56 h 56"/>
                <a:gd name="T38" fmla="*/ 11 w 81"/>
                <a:gd name="T39" fmla="*/ 52 h 56"/>
                <a:gd name="T40" fmla="*/ 18 w 81"/>
                <a:gd name="T41" fmla="*/ 39 h 56"/>
                <a:gd name="T42" fmla="*/ 19 w 81"/>
                <a:gd name="T43" fmla="*/ 39 h 56"/>
                <a:gd name="T44" fmla="*/ 22 w 81"/>
                <a:gd name="T45" fmla="*/ 39 h 56"/>
                <a:gd name="T46" fmla="*/ 27 w 81"/>
                <a:gd name="T47" fmla="*/ 36 h 56"/>
                <a:gd name="T48" fmla="*/ 29 w 81"/>
                <a:gd name="T49" fmla="*/ 39 h 56"/>
                <a:gd name="T50" fmla="*/ 36 w 81"/>
                <a:gd name="T51" fmla="*/ 40 h 56"/>
                <a:gd name="T52" fmla="*/ 47 w 81"/>
                <a:gd name="T53" fmla="*/ 35 h 56"/>
                <a:gd name="T54" fmla="*/ 59 w 81"/>
                <a:gd name="T55" fmla="*/ 37 h 56"/>
                <a:gd name="T56" fmla="*/ 65 w 81"/>
                <a:gd name="T57" fmla="*/ 36 h 56"/>
                <a:gd name="T58" fmla="*/ 74 w 81"/>
                <a:gd name="T59" fmla="*/ 41 h 56"/>
                <a:gd name="T60" fmla="*/ 80 w 81"/>
                <a:gd name="T61" fmla="*/ 35 h 56"/>
                <a:gd name="T62" fmla="*/ 75 w 81"/>
                <a:gd name="T63" fmla="*/ 26 h 56"/>
                <a:gd name="T64" fmla="*/ 56 w 81"/>
                <a:gd name="T65" fmla="*/ 21 h 56"/>
                <a:gd name="T66" fmla="*/ 53 w 81"/>
                <a:gd name="T67" fmla="*/ 17 h 56"/>
                <a:gd name="T68" fmla="*/ 61 w 81"/>
                <a:gd name="T69" fmla="*/ 13 h 56"/>
                <a:gd name="T70" fmla="*/ 58 w 81"/>
                <a:gd name="T71" fmla="*/ 15 h 56"/>
                <a:gd name="T72" fmla="*/ 53 w 81"/>
                <a:gd name="T73" fmla="*/ 15 h 56"/>
                <a:gd name="T74" fmla="*/ 49 w 81"/>
                <a:gd name="T75" fmla="*/ 16 h 56"/>
                <a:gd name="T76" fmla="*/ 45 w 81"/>
                <a:gd name="T77" fmla="*/ 7 h 56"/>
                <a:gd name="T78" fmla="*/ 41 w 81"/>
                <a:gd name="T79" fmla="*/ 7 h 56"/>
                <a:gd name="T80" fmla="*/ 23 w 81"/>
                <a:gd name="T81" fmla="*/ 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56">
                  <a:moveTo>
                    <a:pt x="19" y="0"/>
                  </a:moveTo>
                  <a:cubicBezTo>
                    <a:pt x="18" y="0"/>
                    <a:pt x="17" y="1"/>
                    <a:pt x="14" y="2"/>
                  </a:cubicBezTo>
                  <a:cubicBezTo>
                    <a:pt x="11" y="2"/>
                    <a:pt x="7" y="1"/>
                    <a:pt x="4" y="1"/>
                  </a:cubicBezTo>
                  <a:cubicBezTo>
                    <a:pt x="4" y="2"/>
                    <a:pt x="3" y="1"/>
                    <a:pt x="2" y="2"/>
                  </a:cubicBezTo>
                  <a:cubicBezTo>
                    <a:pt x="2" y="3"/>
                    <a:pt x="2" y="3"/>
                    <a:pt x="2" y="4"/>
                  </a:cubicBezTo>
                  <a:cubicBezTo>
                    <a:pt x="3" y="3"/>
                    <a:pt x="3" y="3"/>
                    <a:pt x="3" y="3"/>
                  </a:cubicBezTo>
                  <a:cubicBezTo>
                    <a:pt x="4" y="5"/>
                    <a:pt x="4" y="5"/>
                    <a:pt x="4" y="5"/>
                  </a:cubicBezTo>
                  <a:cubicBezTo>
                    <a:pt x="4" y="6"/>
                    <a:pt x="5" y="7"/>
                    <a:pt x="5" y="7"/>
                  </a:cubicBezTo>
                  <a:cubicBezTo>
                    <a:pt x="5" y="8"/>
                    <a:pt x="5" y="8"/>
                    <a:pt x="5" y="8"/>
                  </a:cubicBezTo>
                  <a:cubicBezTo>
                    <a:pt x="5" y="9"/>
                    <a:pt x="5" y="10"/>
                    <a:pt x="6" y="10"/>
                  </a:cubicBezTo>
                  <a:cubicBezTo>
                    <a:pt x="5" y="12"/>
                    <a:pt x="5" y="13"/>
                    <a:pt x="5" y="13"/>
                  </a:cubicBezTo>
                  <a:cubicBezTo>
                    <a:pt x="5" y="13"/>
                    <a:pt x="5" y="13"/>
                    <a:pt x="5" y="13"/>
                  </a:cubicBezTo>
                  <a:cubicBezTo>
                    <a:pt x="6" y="14"/>
                    <a:pt x="6" y="14"/>
                    <a:pt x="6" y="14"/>
                  </a:cubicBezTo>
                  <a:cubicBezTo>
                    <a:pt x="7" y="14"/>
                    <a:pt x="7" y="14"/>
                    <a:pt x="7" y="14"/>
                  </a:cubicBezTo>
                  <a:cubicBezTo>
                    <a:pt x="7" y="15"/>
                    <a:pt x="7" y="15"/>
                    <a:pt x="7" y="15"/>
                  </a:cubicBezTo>
                  <a:cubicBezTo>
                    <a:pt x="8" y="15"/>
                    <a:pt x="8" y="15"/>
                    <a:pt x="8" y="15"/>
                  </a:cubicBezTo>
                  <a:cubicBezTo>
                    <a:pt x="7" y="18"/>
                    <a:pt x="7" y="18"/>
                    <a:pt x="7" y="18"/>
                  </a:cubicBezTo>
                  <a:cubicBezTo>
                    <a:pt x="4" y="26"/>
                    <a:pt x="4" y="26"/>
                    <a:pt x="4" y="26"/>
                  </a:cubicBezTo>
                  <a:cubicBezTo>
                    <a:pt x="5" y="27"/>
                    <a:pt x="5" y="27"/>
                    <a:pt x="5" y="28"/>
                  </a:cubicBezTo>
                  <a:cubicBezTo>
                    <a:pt x="4" y="29"/>
                    <a:pt x="4" y="29"/>
                    <a:pt x="4" y="29"/>
                  </a:cubicBezTo>
                  <a:cubicBezTo>
                    <a:pt x="4" y="31"/>
                    <a:pt x="4" y="31"/>
                    <a:pt x="4" y="31"/>
                  </a:cubicBezTo>
                  <a:cubicBezTo>
                    <a:pt x="4" y="30"/>
                    <a:pt x="4" y="30"/>
                    <a:pt x="4" y="30"/>
                  </a:cubicBezTo>
                  <a:cubicBezTo>
                    <a:pt x="3" y="31"/>
                    <a:pt x="3" y="31"/>
                    <a:pt x="3" y="31"/>
                  </a:cubicBezTo>
                  <a:cubicBezTo>
                    <a:pt x="2" y="32"/>
                    <a:pt x="1" y="32"/>
                    <a:pt x="0" y="33"/>
                  </a:cubicBezTo>
                  <a:cubicBezTo>
                    <a:pt x="1" y="33"/>
                    <a:pt x="1" y="34"/>
                    <a:pt x="2" y="34"/>
                  </a:cubicBezTo>
                  <a:cubicBezTo>
                    <a:pt x="2" y="35"/>
                    <a:pt x="2" y="35"/>
                    <a:pt x="2" y="35"/>
                  </a:cubicBezTo>
                  <a:cubicBezTo>
                    <a:pt x="3" y="35"/>
                    <a:pt x="3" y="35"/>
                    <a:pt x="3" y="35"/>
                  </a:cubicBezTo>
                  <a:cubicBezTo>
                    <a:pt x="5" y="37"/>
                    <a:pt x="5" y="39"/>
                    <a:pt x="5" y="40"/>
                  </a:cubicBezTo>
                  <a:cubicBezTo>
                    <a:pt x="5" y="41"/>
                    <a:pt x="5" y="41"/>
                    <a:pt x="5" y="41"/>
                  </a:cubicBezTo>
                  <a:cubicBezTo>
                    <a:pt x="4" y="42"/>
                    <a:pt x="4" y="43"/>
                    <a:pt x="4" y="43"/>
                  </a:cubicBezTo>
                  <a:cubicBezTo>
                    <a:pt x="4" y="44"/>
                    <a:pt x="4" y="44"/>
                    <a:pt x="4" y="44"/>
                  </a:cubicBezTo>
                  <a:cubicBezTo>
                    <a:pt x="3" y="46"/>
                    <a:pt x="3" y="46"/>
                    <a:pt x="3" y="46"/>
                  </a:cubicBezTo>
                  <a:cubicBezTo>
                    <a:pt x="3" y="46"/>
                    <a:pt x="3" y="46"/>
                    <a:pt x="3" y="46"/>
                  </a:cubicBezTo>
                  <a:cubicBezTo>
                    <a:pt x="3" y="47"/>
                    <a:pt x="3" y="47"/>
                    <a:pt x="3" y="47"/>
                  </a:cubicBezTo>
                  <a:cubicBezTo>
                    <a:pt x="2" y="47"/>
                    <a:pt x="2" y="47"/>
                    <a:pt x="2" y="47"/>
                  </a:cubicBezTo>
                  <a:cubicBezTo>
                    <a:pt x="2" y="49"/>
                    <a:pt x="3" y="51"/>
                    <a:pt x="4" y="52"/>
                  </a:cubicBezTo>
                  <a:cubicBezTo>
                    <a:pt x="4" y="51"/>
                    <a:pt x="4" y="51"/>
                    <a:pt x="4" y="51"/>
                  </a:cubicBezTo>
                  <a:cubicBezTo>
                    <a:pt x="5" y="53"/>
                    <a:pt x="7" y="56"/>
                    <a:pt x="9" y="56"/>
                  </a:cubicBezTo>
                  <a:cubicBezTo>
                    <a:pt x="9" y="56"/>
                    <a:pt x="9" y="56"/>
                    <a:pt x="10" y="55"/>
                  </a:cubicBezTo>
                  <a:cubicBezTo>
                    <a:pt x="11" y="55"/>
                    <a:pt x="11" y="53"/>
                    <a:pt x="11" y="52"/>
                  </a:cubicBezTo>
                  <a:cubicBezTo>
                    <a:pt x="13" y="50"/>
                    <a:pt x="14" y="48"/>
                    <a:pt x="15" y="45"/>
                  </a:cubicBezTo>
                  <a:cubicBezTo>
                    <a:pt x="15" y="44"/>
                    <a:pt x="16" y="39"/>
                    <a:pt x="18" y="39"/>
                  </a:cubicBezTo>
                  <a:cubicBezTo>
                    <a:pt x="18" y="39"/>
                    <a:pt x="18" y="39"/>
                    <a:pt x="18" y="39"/>
                  </a:cubicBezTo>
                  <a:cubicBezTo>
                    <a:pt x="18" y="39"/>
                    <a:pt x="19" y="39"/>
                    <a:pt x="19" y="39"/>
                  </a:cubicBezTo>
                  <a:cubicBezTo>
                    <a:pt x="19" y="40"/>
                    <a:pt x="20" y="40"/>
                    <a:pt x="20" y="40"/>
                  </a:cubicBezTo>
                  <a:cubicBezTo>
                    <a:pt x="21" y="40"/>
                    <a:pt x="21" y="39"/>
                    <a:pt x="22" y="39"/>
                  </a:cubicBezTo>
                  <a:cubicBezTo>
                    <a:pt x="23" y="38"/>
                    <a:pt x="26" y="36"/>
                    <a:pt x="27" y="36"/>
                  </a:cubicBezTo>
                  <a:cubicBezTo>
                    <a:pt x="27" y="36"/>
                    <a:pt x="27" y="36"/>
                    <a:pt x="27" y="36"/>
                  </a:cubicBezTo>
                  <a:cubicBezTo>
                    <a:pt x="28" y="36"/>
                    <a:pt x="29" y="36"/>
                    <a:pt x="29" y="37"/>
                  </a:cubicBezTo>
                  <a:cubicBezTo>
                    <a:pt x="29" y="37"/>
                    <a:pt x="29" y="39"/>
                    <a:pt x="29" y="39"/>
                  </a:cubicBezTo>
                  <a:cubicBezTo>
                    <a:pt x="29" y="40"/>
                    <a:pt x="32" y="40"/>
                    <a:pt x="32" y="40"/>
                  </a:cubicBezTo>
                  <a:cubicBezTo>
                    <a:pt x="34" y="40"/>
                    <a:pt x="35" y="40"/>
                    <a:pt x="36" y="40"/>
                  </a:cubicBezTo>
                  <a:cubicBezTo>
                    <a:pt x="38" y="40"/>
                    <a:pt x="39" y="40"/>
                    <a:pt x="41" y="38"/>
                  </a:cubicBezTo>
                  <a:cubicBezTo>
                    <a:pt x="43" y="36"/>
                    <a:pt x="45" y="35"/>
                    <a:pt x="47" y="35"/>
                  </a:cubicBezTo>
                  <a:cubicBezTo>
                    <a:pt x="51" y="35"/>
                    <a:pt x="55" y="36"/>
                    <a:pt x="58" y="37"/>
                  </a:cubicBezTo>
                  <a:cubicBezTo>
                    <a:pt x="58" y="37"/>
                    <a:pt x="58" y="37"/>
                    <a:pt x="59" y="37"/>
                  </a:cubicBezTo>
                  <a:cubicBezTo>
                    <a:pt x="59" y="37"/>
                    <a:pt x="61" y="36"/>
                    <a:pt x="62" y="36"/>
                  </a:cubicBezTo>
                  <a:cubicBezTo>
                    <a:pt x="63" y="36"/>
                    <a:pt x="64" y="36"/>
                    <a:pt x="65" y="36"/>
                  </a:cubicBezTo>
                  <a:cubicBezTo>
                    <a:pt x="66" y="36"/>
                    <a:pt x="67" y="36"/>
                    <a:pt x="68" y="37"/>
                  </a:cubicBezTo>
                  <a:cubicBezTo>
                    <a:pt x="70" y="37"/>
                    <a:pt x="72" y="40"/>
                    <a:pt x="74" y="41"/>
                  </a:cubicBezTo>
                  <a:cubicBezTo>
                    <a:pt x="74" y="39"/>
                    <a:pt x="76" y="39"/>
                    <a:pt x="78" y="38"/>
                  </a:cubicBezTo>
                  <a:cubicBezTo>
                    <a:pt x="78" y="38"/>
                    <a:pt x="79" y="35"/>
                    <a:pt x="80" y="35"/>
                  </a:cubicBezTo>
                  <a:cubicBezTo>
                    <a:pt x="81" y="31"/>
                    <a:pt x="81" y="31"/>
                    <a:pt x="79" y="29"/>
                  </a:cubicBezTo>
                  <a:cubicBezTo>
                    <a:pt x="77" y="28"/>
                    <a:pt x="76" y="27"/>
                    <a:pt x="75" y="26"/>
                  </a:cubicBezTo>
                  <a:cubicBezTo>
                    <a:pt x="72" y="23"/>
                    <a:pt x="70" y="23"/>
                    <a:pt x="65" y="22"/>
                  </a:cubicBezTo>
                  <a:cubicBezTo>
                    <a:pt x="62" y="22"/>
                    <a:pt x="59" y="21"/>
                    <a:pt x="56" y="21"/>
                  </a:cubicBezTo>
                  <a:cubicBezTo>
                    <a:pt x="52" y="20"/>
                    <a:pt x="52" y="20"/>
                    <a:pt x="51" y="17"/>
                  </a:cubicBezTo>
                  <a:cubicBezTo>
                    <a:pt x="52" y="17"/>
                    <a:pt x="53" y="17"/>
                    <a:pt x="53" y="17"/>
                  </a:cubicBezTo>
                  <a:cubicBezTo>
                    <a:pt x="56" y="17"/>
                    <a:pt x="60" y="16"/>
                    <a:pt x="62" y="15"/>
                  </a:cubicBezTo>
                  <a:cubicBezTo>
                    <a:pt x="61" y="14"/>
                    <a:pt x="61" y="13"/>
                    <a:pt x="61" y="13"/>
                  </a:cubicBezTo>
                  <a:cubicBezTo>
                    <a:pt x="60" y="13"/>
                    <a:pt x="59" y="15"/>
                    <a:pt x="58" y="15"/>
                  </a:cubicBezTo>
                  <a:cubicBezTo>
                    <a:pt x="58" y="15"/>
                    <a:pt x="58" y="15"/>
                    <a:pt x="58" y="15"/>
                  </a:cubicBezTo>
                  <a:cubicBezTo>
                    <a:pt x="57" y="15"/>
                    <a:pt x="56" y="15"/>
                    <a:pt x="55" y="15"/>
                  </a:cubicBezTo>
                  <a:cubicBezTo>
                    <a:pt x="55" y="15"/>
                    <a:pt x="54" y="15"/>
                    <a:pt x="53" y="15"/>
                  </a:cubicBezTo>
                  <a:cubicBezTo>
                    <a:pt x="53" y="15"/>
                    <a:pt x="53" y="15"/>
                    <a:pt x="52" y="15"/>
                  </a:cubicBezTo>
                  <a:cubicBezTo>
                    <a:pt x="52" y="15"/>
                    <a:pt x="50" y="16"/>
                    <a:pt x="49" y="16"/>
                  </a:cubicBezTo>
                  <a:cubicBezTo>
                    <a:pt x="49" y="16"/>
                    <a:pt x="49" y="15"/>
                    <a:pt x="49" y="15"/>
                  </a:cubicBezTo>
                  <a:cubicBezTo>
                    <a:pt x="47" y="14"/>
                    <a:pt x="47" y="9"/>
                    <a:pt x="45" y="7"/>
                  </a:cubicBezTo>
                  <a:cubicBezTo>
                    <a:pt x="44" y="6"/>
                    <a:pt x="44" y="6"/>
                    <a:pt x="43" y="6"/>
                  </a:cubicBezTo>
                  <a:cubicBezTo>
                    <a:pt x="43" y="6"/>
                    <a:pt x="42" y="6"/>
                    <a:pt x="41" y="7"/>
                  </a:cubicBezTo>
                  <a:cubicBezTo>
                    <a:pt x="40" y="7"/>
                    <a:pt x="40" y="7"/>
                    <a:pt x="39" y="7"/>
                  </a:cubicBezTo>
                  <a:cubicBezTo>
                    <a:pt x="35" y="7"/>
                    <a:pt x="27" y="2"/>
                    <a:pt x="23" y="1"/>
                  </a:cubicBezTo>
                  <a:cubicBezTo>
                    <a:pt x="21" y="0"/>
                    <a:pt x="20"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2" name="Freeform 365">
              <a:extLst>
                <a:ext uri="{FF2B5EF4-FFF2-40B4-BE49-F238E27FC236}">
                  <a16:creationId xmlns:a16="http://schemas.microsoft.com/office/drawing/2014/main" id="{77940E02-CAD9-47D6-8891-50C126157EA9}"/>
                </a:ext>
              </a:extLst>
            </p:cNvPr>
            <p:cNvSpPr>
              <a:spLocks/>
            </p:cNvSpPr>
            <p:nvPr/>
          </p:nvSpPr>
          <p:spPr bwMode="auto">
            <a:xfrm>
              <a:off x="9431329" y="7369997"/>
              <a:ext cx="233363" cy="177800"/>
            </a:xfrm>
            <a:custGeom>
              <a:avLst/>
              <a:gdLst>
                <a:gd name="T0" fmla="*/ 31 w 62"/>
                <a:gd name="T1" fmla="*/ 2 h 47"/>
                <a:gd name="T2" fmla="*/ 31 w 62"/>
                <a:gd name="T3" fmla="*/ 8 h 47"/>
                <a:gd name="T4" fmla="*/ 31 w 62"/>
                <a:gd name="T5" fmla="*/ 8 h 47"/>
                <a:gd name="T6" fmla="*/ 38 w 62"/>
                <a:gd name="T7" fmla="*/ 10 h 47"/>
                <a:gd name="T8" fmla="*/ 39 w 62"/>
                <a:gd name="T9" fmla="*/ 11 h 47"/>
                <a:gd name="T10" fmla="*/ 40 w 62"/>
                <a:gd name="T11" fmla="*/ 13 h 47"/>
                <a:gd name="T12" fmla="*/ 41 w 62"/>
                <a:gd name="T13" fmla="*/ 13 h 47"/>
                <a:gd name="T14" fmla="*/ 40 w 62"/>
                <a:gd name="T15" fmla="*/ 17 h 47"/>
                <a:gd name="T16" fmla="*/ 42 w 62"/>
                <a:gd name="T17" fmla="*/ 22 h 47"/>
                <a:gd name="T18" fmla="*/ 50 w 62"/>
                <a:gd name="T19" fmla="*/ 31 h 47"/>
                <a:gd name="T20" fmla="*/ 49 w 62"/>
                <a:gd name="T21" fmla="*/ 34 h 47"/>
                <a:gd name="T22" fmla="*/ 49 w 62"/>
                <a:gd name="T23" fmla="*/ 34 h 47"/>
                <a:gd name="T24" fmla="*/ 45 w 62"/>
                <a:gd name="T25" fmla="*/ 34 h 47"/>
                <a:gd name="T26" fmla="*/ 45 w 62"/>
                <a:gd name="T27" fmla="*/ 34 h 47"/>
                <a:gd name="T28" fmla="*/ 40 w 62"/>
                <a:gd name="T29" fmla="*/ 37 h 47"/>
                <a:gd name="T30" fmla="*/ 26 w 62"/>
                <a:gd name="T31" fmla="*/ 35 h 47"/>
                <a:gd name="T32" fmla="*/ 24 w 62"/>
                <a:gd name="T33" fmla="*/ 35 h 47"/>
                <a:gd name="T34" fmla="*/ 8 w 62"/>
                <a:gd name="T35" fmla="*/ 32 h 47"/>
                <a:gd name="T36" fmla="*/ 7 w 62"/>
                <a:gd name="T37" fmla="*/ 31 h 47"/>
                <a:gd name="T38" fmla="*/ 5 w 62"/>
                <a:gd name="T39" fmla="*/ 31 h 47"/>
                <a:gd name="T40" fmla="*/ 3 w 62"/>
                <a:gd name="T41" fmla="*/ 39 h 47"/>
                <a:gd name="T42" fmla="*/ 5 w 62"/>
                <a:gd name="T43" fmla="*/ 40 h 47"/>
                <a:gd name="T44" fmla="*/ 23 w 62"/>
                <a:gd name="T45" fmla="*/ 41 h 47"/>
                <a:gd name="T46" fmla="*/ 41 w 62"/>
                <a:gd name="T47" fmla="*/ 44 h 47"/>
                <a:gd name="T48" fmla="*/ 53 w 62"/>
                <a:gd name="T49" fmla="*/ 42 h 47"/>
                <a:gd name="T50" fmla="*/ 55 w 62"/>
                <a:gd name="T51" fmla="*/ 42 h 47"/>
                <a:gd name="T52" fmla="*/ 60 w 62"/>
                <a:gd name="T53" fmla="*/ 44 h 47"/>
                <a:gd name="T54" fmla="*/ 61 w 62"/>
                <a:gd name="T55" fmla="*/ 41 h 47"/>
                <a:gd name="T56" fmla="*/ 60 w 62"/>
                <a:gd name="T57" fmla="*/ 40 h 47"/>
                <a:gd name="T58" fmla="*/ 56 w 62"/>
                <a:gd name="T59" fmla="*/ 31 h 47"/>
                <a:gd name="T60" fmla="*/ 58 w 62"/>
                <a:gd name="T61" fmla="*/ 29 h 47"/>
                <a:gd name="T62" fmla="*/ 60 w 62"/>
                <a:gd name="T63" fmla="*/ 28 h 47"/>
                <a:gd name="T64" fmla="*/ 57 w 62"/>
                <a:gd name="T65" fmla="*/ 24 h 47"/>
                <a:gd name="T66" fmla="*/ 59 w 62"/>
                <a:gd name="T67" fmla="*/ 22 h 47"/>
                <a:gd name="T68" fmla="*/ 60 w 62"/>
                <a:gd name="T69" fmla="*/ 20 h 47"/>
                <a:gd name="T70" fmla="*/ 62 w 62"/>
                <a:gd name="T71" fmla="*/ 19 h 47"/>
                <a:gd name="T72" fmla="*/ 61 w 62"/>
                <a:gd name="T73" fmla="*/ 14 h 47"/>
                <a:gd name="T74" fmla="*/ 62 w 62"/>
                <a:gd name="T75" fmla="*/ 12 h 47"/>
                <a:gd name="T76" fmla="*/ 60 w 62"/>
                <a:gd name="T77" fmla="*/ 7 h 47"/>
                <a:gd name="T78" fmla="*/ 60 w 62"/>
                <a:gd name="T79" fmla="*/ 6 h 47"/>
                <a:gd name="T80" fmla="*/ 53 w 62"/>
                <a:gd name="T81" fmla="*/ 5 h 47"/>
                <a:gd name="T82" fmla="*/ 52 w 62"/>
                <a:gd name="T83" fmla="*/ 5 h 47"/>
                <a:gd name="T84" fmla="*/ 43 w 62"/>
                <a:gd name="T85" fmla="*/ 1 h 47"/>
                <a:gd name="T86" fmla="*/ 39 w 62"/>
                <a:gd name="T8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 h="47">
                  <a:moveTo>
                    <a:pt x="39" y="0"/>
                  </a:moveTo>
                  <a:cubicBezTo>
                    <a:pt x="36" y="0"/>
                    <a:pt x="33" y="1"/>
                    <a:pt x="31" y="2"/>
                  </a:cubicBezTo>
                  <a:cubicBezTo>
                    <a:pt x="28" y="3"/>
                    <a:pt x="27" y="4"/>
                    <a:pt x="24" y="6"/>
                  </a:cubicBezTo>
                  <a:cubicBezTo>
                    <a:pt x="27" y="7"/>
                    <a:pt x="28" y="8"/>
                    <a:pt x="31" y="8"/>
                  </a:cubicBezTo>
                  <a:cubicBezTo>
                    <a:pt x="31" y="8"/>
                    <a:pt x="31" y="8"/>
                    <a:pt x="31" y="8"/>
                  </a:cubicBezTo>
                  <a:cubicBezTo>
                    <a:pt x="31" y="8"/>
                    <a:pt x="31" y="8"/>
                    <a:pt x="31" y="8"/>
                  </a:cubicBezTo>
                  <a:cubicBezTo>
                    <a:pt x="34" y="8"/>
                    <a:pt x="36" y="9"/>
                    <a:pt x="38" y="10"/>
                  </a:cubicBezTo>
                  <a:cubicBezTo>
                    <a:pt x="38" y="10"/>
                    <a:pt x="38" y="10"/>
                    <a:pt x="38" y="10"/>
                  </a:cubicBezTo>
                  <a:cubicBezTo>
                    <a:pt x="38" y="11"/>
                    <a:pt x="38" y="11"/>
                    <a:pt x="38" y="11"/>
                  </a:cubicBezTo>
                  <a:cubicBezTo>
                    <a:pt x="39" y="11"/>
                    <a:pt x="39" y="11"/>
                    <a:pt x="39" y="11"/>
                  </a:cubicBezTo>
                  <a:cubicBezTo>
                    <a:pt x="40" y="12"/>
                    <a:pt x="40" y="12"/>
                    <a:pt x="40" y="12"/>
                  </a:cubicBezTo>
                  <a:cubicBezTo>
                    <a:pt x="40" y="13"/>
                    <a:pt x="40" y="13"/>
                    <a:pt x="40" y="13"/>
                  </a:cubicBezTo>
                  <a:cubicBezTo>
                    <a:pt x="41" y="13"/>
                    <a:pt x="41" y="13"/>
                    <a:pt x="41" y="13"/>
                  </a:cubicBezTo>
                  <a:cubicBezTo>
                    <a:pt x="41" y="13"/>
                    <a:pt x="41" y="13"/>
                    <a:pt x="41" y="13"/>
                  </a:cubicBezTo>
                  <a:cubicBezTo>
                    <a:pt x="41" y="14"/>
                    <a:pt x="41" y="14"/>
                    <a:pt x="41" y="15"/>
                  </a:cubicBezTo>
                  <a:cubicBezTo>
                    <a:pt x="42" y="17"/>
                    <a:pt x="40" y="16"/>
                    <a:pt x="40" y="17"/>
                  </a:cubicBezTo>
                  <a:cubicBezTo>
                    <a:pt x="40" y="19"/>
                    <a:pt x="41" y="21"/>
                    <a:pt x="42" y="22"/>
                  </a:cubicBezTo>
                  <a:cubicBezTo>
                    <a:pt x="42" y="22"/>
                    <a:pt x="42" y="22"/>
                    <a:pt x="42" y="22"/>
                  </a:cubicBezTo>
                  <a:cubicBezTo>
                    <a:pt x="42" y="23"/>
                    <a:pt x="42" y="23"/>
                    <a:pt x="42" y="23"/>
                  </a:cubicBezTo>
                  <a:cubicBezTo>
                    <a:pt x="43" y="25"/>
                    <a:pt x="48" y="28"/>
                    <a:pt x="50" y="31"/>
                  </a:cubicBezTo>
                  <a:cubicBezTo>
                    <a:pt x="50" y="31"/>
                    <a:pt x="50" y="32"/>
                    <a:pt x="50" y="32"/>
                  </a:cubicBezTo>
                  <a:cubicBezTo>
                    <a:pt x="50" y="34"/>
                    <a:pt x="50" y="34"/>
                    <a:pt x="49" y="34"/>
                  </a:cubicBezTo>
                  <a:cubicBezTo>
                    <a:pt x="49" y="34"/>
                    <a:pt x="49" y="34"/>
                    <a:pt x="49" y="34"/>
                  </a:cubicBezTo>
                  <a:cubicBezTo>
                    <a:pt x="49" y="34"/>
                    <a:pt x="49" y="34"/>
                    <a:pt x="49" y="34"/>
                  </a:cubicBezTo>
                  <a:cubicBezTo>
                    <a:pt x="48" y="34"/>
                    <a:pt x="47" y="34"/>
                    <a:pt x="47" y="34"/>
                  </a:cubicBezTo>
                  <a:cubicBezTo>
                    <a:pt x="46" y="34"/>
                    <a:pt x="46" y="34"/>
                    <a:pt x="45" y="34"/>
                  </a:cubicBezTo>
                  <a:cubicBezTo>
                    <a:pt x="45" y="34"/>
                    <a:pt x="45" y="34"/>
                    <a:pt x="45" y="34"/>
                  </a:cubicBezTo>
                  <a:cubicBezTo>
                    <a:pt x="45" y="34"/>
                    <a:pt x="45" y="34"/>
                    <a:pt x="45" y="34"/>
                  </a:cubicBezTo>
                  <a:cubicBezTo>
                    <a:pt x="45" y="35"/>
                    <a:pt x="44" y="35"/>
                    <a:pt x="43" y="36"/>
                  </a:cubicBezTo>
                  <a:cubicBezTo>
                    <a:pt x="42" y="36"/>
                    <a:pt x="41" y="37"/>
                    <a:pt x="40" y="37"/>
                  </a:cubicBezTo>
                  <a:cubicBezTo>
                    <a:pt x="39" y="37"/>
                    <a:pt x="39" y="37"/>
                    <a:pt x="39" y="36"/>
                  </a:cubicBezTo>
                  <a:cubicBezTo>
                    <a:pt x="34" y="36"/>
                    <a:pt x="30" y="35"/>
                    <a:pt x="26" y="35"/>
                  </a:cubicBezTo>
                  <a:cubicBezTo>
                    <a:pt x="25" y="35"/>
                    <a:pt x="25" y="35"/>
                    <a:pt x="25" y="35"/>
                  </a:cubicBezTo>
                  <a:cubicBezTo>
                    <a:pt x="25" y="35"/>
                    <a:pt x="24" y="35"/>
                    <a:pt x="24" y="35"/>
                  </a:cubicBezTo>
                  <a:cubicBezTo>
                    <a:pt x="21" y="35"/>
                    <a:pt x="18" y="35"/>
                    <a:pt x="15" y="34"/>
                  </a:cubicBezTo>
                  <a:cubicBezTo>
                    <a:pt x="12" y="33"/>
                    <a:pt x="10" y="32"/>
                    <a:pt x="8" y="32"/>
                  </a:cubicBezTo>
                  <a:cubicBezTo>
                    <a:pt x="8" y="31"/>
                    <a:pt x="8" y="31"/>
                    <a:pt x="8" y="31"/>
                  </a:cubicBezTo>
                  <a:cubicBezTo>
                    <a:pt x="7" y="31"/>
                    <a:pt x="7" y="31"/>
                    <a:pt x="7" y="31"/>
                  </a:cubicBezTo>
                  <a:cubicBezTo>
                    <a:pt x="6" y="31"/>
                    <a:pt x="6" y="31"/>
                    <a:pt x="6" y="31"/>
                  </a:cubicBezTo>
                  <a:cubicBezTo>
                    <a:pt x="6" y="31"/>
                    <a:pt x="6" y="31"/>
                    <a:pt x="5" y="31"/>
                  </a:cubicBezTo>
                  <a:cubicBezTo>
                    <a:pt x="4" y="31"/>
                    <a:pt x="3" y="31"/>
                    <a:pt x="2" y="32"/>
                  </a:cubicBezTo>
                  <a:cubicBezTo>
                    <a:pt x="1" y="34"/>
                    <a:pt x="0" y="38"/>
                    <a:pt x="3" y="39"/>
                  </a:cubicBezTo>
                  <a:cubicBezTo>
                    <a:pt x="3" y="39"/>
                    <a:pt x="4" y="39"/>
                    <a:pt x="4" y="39"/>
                  </a:cubicBezTo>
                  <a:cubicBezTo>
                    <a:pt x="5" y="40"/>
                    <a:pt x="5" y="40"/>
                    <a:pt x="5" y="40"/>
                  </a:cubicBezTo>
                  <a:cubicBezTo>
                    <a:pt x="9" y="41"/>
                    <a:pt x="11" y="43"/>
                    <a:pt x="15" y="47"/>
                  </a:cubicBezTo>
                  <a:cubicBezTo>
                    <a:pt x="15" y="42"/>
                    <a:pt x="19" y="41"/>
                    <a:pt x="23" y="41"/>
                  </a:cubicBezTo>
                  <a:cubicBezTo>
                    <a:pt x="29" y="41"/>
                    <a:pt x="37" y="43"/>
                    <a:pt x="40" y="44"/>
                  </a:cubicBezTo>
                  <a:cubicBezTo>
                    <a:pt x="40" y="44"/>
                    <a:pt x="41" y="44"/>
                    <a:pt x="41" y="44"/>
                  </a:cubicBezTo>
                  <a:cubicBezTo>
                    <a:pt x="43" y="44"/>
                    <a:pt x="45" y="43"/>
                    <a:pt x="47" y="43"/>
                  </a:cubicBezTo>
                  <a:cubicBezTo>
                    <a:pt x="49" y="42"/>
                    <a:pt x="51" y="42"/>
                    <a:pt x="53" y="42"/>
                  </a:cubicBezTo>
                  <a:cubicBezTo>
                    <a:pt x="53" y="42"/>
                    <a:pt x="53" y="42"/>
                    <a:pt x="53" y="42"/>
                  </a:cubicBezTo>
                  <a:cubicBezTo>
                    <a:pt x="54" y="42"/>
                    <a:pt x="55" y="42"/>
                    <a:pt x="55" y="42"/>
                  </a:cubicBezTo>
                  <a:cubicBezTo>
                    <a:pt x="56" y="42"/>
                    <a:pt x="56" y="42"/>
                    <a:pt x="56" y="42"/>
                  </a:cubicBezTo>
                  <a:cubicBezTo>
                    <a:pt x="58" y="42"/>
                    <a:pt x="59" y="43"/>
                    <a:pt x="60" y="44"/>
                  </a:cubicBezTo>
                  <a:cubicBezTo>
                    <a:pt x="60" y="43"/>
                    <a:pt x="61" y="43"/>
                    <a:pt x="61" y="42"/>
                  </a:cubicBezTo>
                  <a:cubicBezTo>
                    <a:pt x="61" y="42"/>
                    <a:pt x="61" y="41"/>
                    <a:pt x="61" y="41"/>
                  </a:cubicBezTo>
                  <a:cubicBezTo>
                    <a:pt x="61" y="41"/>
                    <a:pt x="61" y="40"/>
                    <a:pt x="61" y="40"/>
                  </a:cubicBezTo>
                  <a:cubicBezTo>
                    <a:pt x="60" y="40"/>
                    <a:pt x="60" y="40"/>
                    <a:pt x="60" y="40"/>
                  </a:cubicBezTo>
                  <a:cubicBezTo>
                    <a:pt x="58" y="38"/>
                    <a:pt x="55" y="36"/>
                    <a:pt x="55" y="33"/>
                  </a:cubicBezTo>
                  <a:cubicBezTo>
                    <a:pt x="55" y="32"/>
                    <a:pt x="55" y="31"/>
                    <a:pt x="56" y="31"/>
                  </a:cubicBezTo>
                  <a:cubicBezTo>
                    <a:pt x="55" y="30"/>
                    <a:pt x="55" y="30"/>
                    <a:pt x="55" y="30"/>
                  </a:cubicBezTo>
                  <a:cubicBezTo>
                    <a:pt x="58" y="29"/>
                    <a:pt x="58" y="29"/>
                    <a:pt x="58" y="29"/>
                  </a:cubicBezTo>
                  <a:cubicBezTo>
                    <a:pt x="59" y="29"/>
                    <a:pt x="60" y="28"/>
                    <a:pt x="61" y="28"/>
                  </a:cubicBezTo>
                  <a:cubicBezTo>
                    <a:pt x="60" y="28"/>
                    <a:pt x="60" y="28"/>
                    <a:pt x="60" y="28"/>
                  </a:cubicBezTo>
                  <a:cubicBezTo>
                    <a:pt x="59" y="27"/>
                    <a:pt x="59" y="26"/>
                    <a:pt x="58" y="25"/>
                  </a:cubicBezTo>
                  <a:cubicBezTo>
                    <a:pt x="57" y="24"/>
                    <a:pt x="57" y="24"/>
                    <a:pt x="57" y="24"/>
                  </a:cubicBezTo>
                  <a:cubicBezTo>
                    <a:pt x="59" y="22"/>
                    <a:pt x="59" y="22"/>
                    <a:pt x="59" y="22"/>
                  </a:cubicBezTo>
                  <a:cubicBezTo>
                    <a:pt x="59" y="22"/>
                    <a:pt x="59" y="22"/>
                    <a:pt x="59" y="22"/>
                  </a:cubicBezTo>
                  <a:cubicBezTo>
                    <a:pt x="60" y="21"/>
                    <a:pt x="60" y="21"/>
                    <a:pt x="60" y="21"/>
                  </a:cubicBezTo>
                  <a:cubicBezTo>
                    <a:pt x="60" y="20"/>
                    <a:pt x="60" y="20"/>
                    <a:pt x="60" y="20"/>
                  </a:cubicBezTo>
                  <a:cubicBezTo>
                    <a:pt x="61" y="20"/>
                    <a:pt x="61" y="19"/>
                    <a:pt x="62" y="19"/>
                  </a:cubicBezTo>
                  <a:cubicBezTo>
                    <a:pt x="62" y="19"/>
                    <a:pt x="62" y="19"/>
                    <a:pt x="62" y="19"/>
                  </a:cubicBezTo>
                  <a:cubicBezTo>
                    <a:pt x="62" y="18"/>
                    <a:pt x="61" y="18"/>
                    <a:pt x="61" y="17"/>
                  </a:cubicBezTo>
                  <a:cubicBezTo>
                    <a:pt x="61" y="16"/>
                    <a:pt x="61" y="15"/>
                    <a:pt x="61" y="14"/>
                  </a:cubicBezTo>
                  <a:cubicBezTo>
                    <a:pt x="61" y="14"/>
                    <a:pt x="61" y="14"/>
                    <a:pt x="62" y="13"/>
                  </a:cubicBezTo>
                  <a:cubicBezTo>
                    <a:pt x="62" y="13"/>
                    <a:pt x="62" y="12"/>
                    <a:pt x="62" y="12"/>
                  </a:cubicBezTo>
                  <a:cubicBezTo>
                    <a:pt x="62" y="11"/>
                    <a:pt x="62" y="11"/>
                    <a:pt x="62" y="10"/>
                  </a:cubicBezTo>
                  <a:cubicBezTo>
                    <a:pt x="61" y="9"/>
                    <a:pt x="61" y="8"/>
                    <a:pt x="60" y="7"/>
                  </a:cubicBezTo>
                  <a:cubicBezTo>
                    <a:pt x="60" y="6"/>
                    <a:pt x="60" y="6"/>
                    <a:pt x="60" y="6"/>
                  </a:cubicBezTo>
                  <a:cubicBezTo>
                    <a:pt x="60" y="6"/>
                    <a:pt x="60" y="6"/>
                    <a:pt x="60" y="6"/>
                  </a:cubicBezTo>
                  <a:cubicBezTo>
                    <a:pt x="60" y="6"/>
                    <a:pt x="60" y="6"/>
                    <a:pt x="60" y="6"/>
                  </a:cubicBezTo>
                  <a:cubicBezTo>
                    <a:pt x="58" y="6"/>
                    <a:pt x="56" y="6"/>
                    <a:pt x="53" y="5"/>
                  </a:cubicBezTo>
                  <a:cubicBezTo>
                    <a:pt x="53" y="5"/>
                    <a:pt x="53" y="5"/>
                    <a:pt x="53" y="5"/>
                  </a:cubicBezTo>
                  <a:cubicBezTo>
                    <a:pt x="52" y="5"/>
                    <a:pt x="52" y="5"/>
                    <a:pt x="52" y="5"/>
                  </a:cubicBezTo>
                  <a:cubicBezTo>
                    <a:pt x="51" y="5"/>
                    <a:pt x="50" y="5"/>
                    <a:pt x="50" y="5"/>
                  </a:cubicBezTo>
                  <a:cubicBezTo>
                    <a:pt x="48" y="3"/>
                    <a:pt x="45" y="2"/>
                    <a:pt x="43" y="1"/>
                  </a:cubicBezTo>
                  <a:cubicBezTo>
                    <a:pt x="42" y="1"/>
                    <a:pt x="41" y="1"/>
                    <a:pt x="40" y="0"/>
                  </a:cubicBezTo>
                  <a:cubicBezTo>
                    <a:pt x="40" y="0"/>
                    <a:pt x="40" y="0"/>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3" name="Rectangle 366">
              <a:extLst>
                <a:ext uri="{FF2B5EF4-FFF2-40B4-BE49-F238E27FC236}">
                  <a16:creationId xmlns:a16="http://schemas.microsoft.com/office/drawing/2014/main" id="{15B3B3F9-CF55-471A-9BDE-B4468C18C72C}"/>
                </a:ext>
              </a:extLst>
            </p:cNvPr>
            <p:cNvSpPr>
              <a:spLocks noChangeArrowheads="1"/>
            </p:cNvSpPr>
            <p:nvPr/>
          </p:nvSpPr>
          <p:spPr bwMode="auto">
            <a:xfrm>
              <a:off x="9664691" y="7476360"/>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4" name="Freeform 367">
              <a:extLst>
                <a:ext uri="{FF2B5EF4-FFF2-40B4-BE49-F238E27FC236}">
                  <a16:creationId xmlns:a16="http://schemas.microsoft.com/office/drawing/2014/main" id="{6511E4F4-0C5F-46B6-8B23-CEFFB6451A60}"/>
                </a:ext>
              </a:extLst>
            </p:cNvPr>
            <p:cNvSpPr>
              <a:spLocks/>
            </p:cNvSpPr>
            <p:nvPr/>
          </p:nvSpPr>
          <p:spPr bwMode="auto">
            <a:xfrm>
              <a:off x="9664691" y="747636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5" name="Freeform 368">
              <a:extLst>
                <a:ext uri="{FF2B5EF4-FFF2-40B4-BE49-F238E27FC236}">
                  <a16:creationId xmlns:a16="http://schemas.microsoft.com/office/drawing/2014/main" id="{394C7931-E4F2-4FB6-9661-060232234A3F}"/>
                </a:ext>
              </a:extLst>
            </p:cNvPr>
            <p:cNvSpPr>
              <a:spLocks/>
            </p:cNvSpPr>
            <p:nvPr/>
          </p:nvSpPr>
          <p:spPr bwMode="auto">
            <a:xfrm>
              <a:off x="8158154" y="7512872"/>
              <a:ext cx="87313" cy="222250"/>
            </a:xfrm>
            <a:custGeom>
              <a:avLst/>
              <a:gdLst>
                <a:gd name="T0" fmla="*/ 23 w 23"/>
                <a:gd name="T1" fmla="*/ 0 h 59"/>
                <a:gd name="T2" fmla="*/ 22 w 23"/>
                <a:gd name="T3" fmla="*/ 1 h 59"/>
                <a:gd name="T4" fmla="*/ 21 w 23"/>
                <a:gd name="T5" fmla="*/ 1 h 59"/>
                <a:gd name="T6" fmla="*/ 20 w 23"/>
                <a:gd name="T7" fmla="*/ 1 h 59"/>
                <a:gd name="T8" fmla="*/ 20 w 23"/>
                <a:gd name="T9" fmla="*/ 1 h 59"/>
                <a:gd name="T10" fmla="*/ 20 w 23"/>
                <a:gd name="T11" fmla="*/ 1 h 59"/>
                <a:gd name="T12" fmla="*/ 20 w 23"/>
                <a:gd name="T13" fmla="*/ 1 h 59"/>
                <a:gd name="T14" fmla="*/ 19 w 23"/>
                <a:gd name="T15" fmla="*/ 1 h 59"/>
                <a:gd name="T16" fmla="*/ 18 w 23"/>
                <a:gd name="T17" fmla="*/ 1 h 59"/>
                <a:gd name="T18" fmla="*/ 18 w 23"/>
                <a:gd name="T19" fmla="*/ 0 h 59"/>
                <a:gd name="T20" fmla="*/ 17 w 23"/>
                <a:gd name="T21" fmla="*/ 0 h 59"/>
                <a:gd name="T22" fmla="*/ 15 w 23"/>
                <a:gd name="T23" fmla="*/ 2 h 59"/>
                <a:gd name="T24" fmla="*/ 14 w 23"/>
                <a:gd name="T25" fmla="*/ 5 h 59"/>
                <a:gd name="T26" fmla="*/ 12 w 23"/>
                <a:gd name="T27" fmla="*/ 9 h 59"/>
                <a:gd name="T28" fmla="*/ 8 w 23"/>
                <a:gd name="T29" fmla="*/ 13 h 59"/>
                <a:gd name="T30" fmla="*/ 5 w 23"/>
                <a:gd name="T31" fmla="*/ 14 h 59"/>
                <a:gd name="T32" fmla="*/ 5 w 23"/>
                <a:gd name="T33" fmla="*/ 14 h 59"/>
                <a:gd name="T34" fmla="*/ 5 w 23"/>
                <a:gd name="T35" fmla="*/ 14 h 59"/>
                <a:gd name="T36" fmla="*/ 3 w 23"/>
                <a:gd name="T37" fmla="*/ 13 h 59"/>
                <a:gd name="T38" fmla="*/ 2 w 23"/>
                <a:gd name="T39" fmla="*/ 13 h 59"/>
                <a:gd name="T40" fmla="*/ 2 w 23"/>
                <a:gd name="T41" fmla="*/ 13 h 59"/>
                <a:gd name="T42" fmla="*/ 2 w 23"/>
                <a:gd name="T43" fmla="*/ 14 h 59"/>
                <a:gd name="T44" fmla="*/ 2 w 23"/>
                <a:gd name="T45" fmla="*/ 14 h 59"/>
                <a:gd name="T46" fmla="*/ 2 w 23"/>
                <a:gd name="T47" fmla="*/ 15 h 59"/>
                <a:gd name="T48" fmla="*/ 2 w 23"/>
                <a:gd name="T49" fmla="*/ 18 h 59"/>
                <a:gd name="T50" fmla="*/ 2 w 23"/>
                <a:gd name="T51" fmla="*/ 22 h 59"/>
                <a:gd name="T52" fmla="*/ 2 w 23"/>
                <a:gd name="T53" fmla="*/ 29 h 59"/>
                <a:gd name="T54" fmla="*/ 0 w 23"/>
                <a:gd name="T55" fmla="*/ 57 h 59"/>
                <a:gd name="T56" fmla="*/ 1 w 23"/>
                <a:gd name="T57" fmla="*/ 57 h 59"/>
                <a:gd name="T58" fmla="*/ 4 w 23"/>
                <a:gd name="T59" fmla="*/ 56 h 59"/>
                <a:gd name="T60" fmla="*/ 5 w 23"/>
                <a:gd name="T61" fmla="*/ 56 h 59"/>
                <a:gd name="T62" fmla="*/ 5 w 23"/>
                <a:gd name="T63" fmla="*/ 59 h 59"/>
                <a:gd name="T64" fmla="*/ 5 w 23"/>
                <a:gd name="T65" fmla="*/ 58 h 59"/>
                <a:gd name="T66" fmla="*/ 14 w 23"/>
                <a:gd name="T67" fmla="*/ 49 h 59"/>
                <a:gd name="T68" fmla="*/ 17 w 23"/>
                <a:gd name="T69" fmla="*/ 43 h 59"/>
                <a:gd name="T70" fmla="*/ 21 w 23"/>
                <a:gd name="T71" fmla="*/ 34 h 59"/>
                <a:gd name="T72" fmla="*/ 19 w 23"/>
                <a:gd name="T73" fmla="*/ 29 h 59"/>
                <a:gd name="T74" fmla="*/ 21 w 23"/>
                <a:gd name="T75" fmla="*/ 16 h 59"/>
                <a:gd name="T76" fmla="*/ 23 w 23"/>
                <a:gd name="T7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 h="59">
                  <a:moveTo>
                    <a:pt x="23" y="0"/>
                  </a:moveTo>
                  <a:cubicBezTo>
                    <a:pt x="23" y="1"/>
                    <a:pt x="22" y="1"/>
                    <a:pt x="22" y="1"/>
                  </a:cubicBezTo>
                  <a:cubicBezTo>
                    <a:pt x="22" y="1"/>
                    <a:pt x="22" y="1"/>
                    <a:pt x="21" y="1"/>
                  </a:cubicBezTo>
                  <a:cubicBezTo>
                    <a:pt x="21" y="1"/>
                    <a:pt x="21" y="1"/>
                    <a:pt x="20" y="1"/>
                  </a:cubicBezTo>
                  <a:cubicBezTo>
                    <a:pt x="20" y="1"/>
                    <a:pt x="20" y="1"/>
                    <a:pt x="20" y="1"/>
                  </a:cubicBezTo>
                  <a:cubicBezTo>
                    <a:pt x="20" y="1"/>
                    <a:pt x="20" y="1"/>
                    <a:pt x="20" y="1"/>
                  </a:cubicBezTo>
                  <a:cubicBezTo>
                    <a:pt x="20" y="1"/>
                    <a:pt x="20" y="1"/>
                    <a:pt x="20" y="1"/>
                  </a:cubicBezTo>
                  <a:cubicBezTo>
                    <a:pt x="19" y="1"/>
                    <a:pt x="19" y="1"/>
                    <a:pt x="19" y="1"/>
                  </a:cubicBezTo>
                  <a:cubicBezTo>
                    <a:pt x="18" y="1"/>
                    <a:pt x="18" y="1"/>
                    <a:pt x="18" y="1"/>
                  </a:cubicBezTo>
                  <a:cubicBezTo>
                    <a:pt x="18" y="0"/>
                    <a:pt x="18" y="0"/>
                    <a:pt x="18" y="0"/>
                  </a:cubicBezTo>
                  <a:cubicBezTo>
                    <a:pt x="17" y="0"/>
                    <a:pt x="17" y="0"/>
                    <a:pt x="17" y="0"/>
                  </a:cubicBezTo>
                  <a:cubicBezTo>
                    <a:pt x="16" y="1"/>
                    <a:pt x="16" y="1"/>
                    <a:pt x="15" y="2"/>
                  </a:cubicBezTo>
                  <a:cubicBezTo>
                    <a:pt x="14" y="5"/>
                    <a:pt x="14" y="5"/>
                    <a:pt x="14" y="5"/>
                  </a:cubicBezTo>
                  <a:cubicBezTo>
                    <a:pt x="13" y="7"/>
                    <a:pt x="12" y="8"/>
                    <a:pt x="12" y="9"/>
                  </a:cubicBezTo>
                  <a:cubicBezTo>
                    <a:pt x="11" y="11"/>
                    <a:pt x="9" y="13"/>
                    <a:pt x="8" y="13"/>
                  </a:cubicBezTo>
                  <a:cubicBezTo>
                    <a:pt x="7" y="14"/>
                    <a:pt x="6" y="14"/>
                    <a:pt x="5" y="14"/>
                  </a:cubicBezTo>
                  <a:cubicBezTo>
                    <a:pt x="5" y="14"/>
                    <a:pt x="5" y="14"/>
                    <a:pt x="5" y="14"/>
                  </a:cubicBezTo>
                  <a:cubicBezTo>
                    <a:pt x="5" y="14"/>
                    <a:pt x="5" y="14"/>
                    <a:pt x="5" y="14"/>
                  </a:cubicBezTo>
                  <a:cubicBezTo>
                    <a:pt x="4" y="14"/>
                    <a:pt x="3" y="14"/>
                    <a:pt x="3" y="13"/>
                  </a:cubicBezTo>
                  <a:cubicBezTo>
                    <a:pt x="2" y="13"/>
                    <a:pt x="2" y="13"/>
                    <a:pt x="2" y="13"/>
                  </a:cubicBezTo>
                  <a:cubicBezTo>
                    <a:pt x="2" y="13"/>
                    <a:pt x="2" y="13"/>
                    <a:pt x="2" y="13"/>
                  </a:cubicBezTo>
                  <a:cubicBezTo>
                    <a:pt x="2" y="13"/>
                    <a:pt x="2" y="14"/>
                    <a:pt x="2" y="14"/>
                  </a:cubicBezTo>
                  <a:cubicBezTo>
                    <a:pt x="2" y="14"/>
                    <a:pt x="2" y="14"/>
                    <a:pt x="2" y="14"/>
                  </a:cubicBezTo>
                  <a:cubicBezTo>
                    <a:pt x="2" y="15"/>
                    <a:pt x="2" y="15"/>
                    <a:pt x="2" y="15"/>
                  </a:cubicBezTo>
                  <a:cubicBezTo>
                    <a:pt x="2" y="16"/>
                    <a:pt x="2" y="17"/>
                    <a:pt x="2" y="18"/>
                  </a:cubicBezTo>
                  <a:cubicBezTo>
                    <a:pt x="2" y="22"/>
                    <a:pt x="2" y="22"/>
                    <a:pt x="2" y="22"/>
                  </a:cubicBezTo>
                  <a:cubicBezTo>
                    <a:pt x="2" y="24"/>
                    <a:pt x="2" y="26"/>
                    <a:pt x="2" y="29"/>
                  </a:cubicBezTo>
                  <a:cubicBezTo>
                    <a:pt x="2" y="38"/>
                    <a:pt x="1" y="48"/>
                    <a:pt x="0" y="57"/>
                  </a:cubicBezTo>
                  <a:cubicBezTo>
                    <a:pt x="1" y="57"/>
                    <a:pt x="1" y="57"/>
                    <a:pt x="1" y="57"/>
                  </a:cubicBezTo>
                  <a:cubicBezTo>
                    <a:pt x="2" y="57"/>
                    <a:pt x="3" y="57"/>
                    <a:pt x="4" y="56"/>
                  </a:cubicBezTo>
                  <a:cubicBezTo>
                    <a:pt x="5" y="56"/>
                    <a:pt x="5" y="56"/>
                    <a:pt x="5" y="56"/>
                  </a:cubicBezTo>
                  <a:cubicBezTo>
                    <a:pt x="5" y="59"/>
                    <a:pt x="5" y="59"/>
                    <a:pt x="5" y="59"/>
                  </a:cubicBezTo>
                  <a:cubicBezTo>
                    <a:pt x="5" y="58"/>
                    <a:pt x="5" y="58"/>
                    <a:pt x="5" y="58"/>
                  </a:cubicBezTo>
                  <a:cubicBezTo>
                    <a:pt x="8" y="55"/>
                    <a:pt x="11" y="52"/>
                    <a:pt x="14" y="49"/>
                  </a:cubicBezTo>
                  <a:cubicBezTo>
                    <a:pt x="15" y="47"/>
                    <a:pt x="17" y="45"/>
                    <a:pt x="17" y="43"/>
                  </a:cubicBezTo>
                  <a:cubicBezTo>
                    <a:pt x="18" y="40"/>
                    <a:pt x="21" y="36"/>
                    <a:pt x="21" y="34"/>
                  </a:cubicBezTo>
                  <a:cubicBezTo>
                    <a:pt x="21" y="32"/>
                    <a:pt x="19" y="31"/>
                    <a:pt x="19" y="29"/>
                  </a:cubicBezTo>
                  <a:cubicBezTo>
                    <a:pt x="20" y="24"/>
                    <a:pt x="20" y="20"/>
                    <a:pt x="21" y="16"/>
                  </a:cubicBezTo>
                  <a:cubicBezTo>
                    <a:pt x="22" y="11"/>
                    <a:pt x="23" y="6"/>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6" name="Freeform 369">
              <a:extLst>
                <a:ext uri="{FF2B5EF4-FFF2-40B4-BE49-F238E27FC236}">
                  <a16:creationId xmlns:a16="http://schemas.microsoft.com/office/drawing/2014/main" id="{A0C4D0BF-AF82-4E35-A093-811442015AE0}"/>
                </a:ext>
              </a:extLst>
            </p:cNvPr>
            <p:cNvSpPr>
              <a:spLocks/>
            </p:cNvSpPr>
            <p:nvPr/>
          </p:nvSpPr>
          <p:spPr bwMode="auto">
            <a:xfrm>
              <a:off x="10985491" y="1008884"/>
              <a:ext cx="3175" cy="3175"/>
            </a:xfrm>
            <a:custGeom>
              <a:avLst/>
              <a:gdLst>
                <a:gd name="T0" fmla="*/ 1 w 1"/>
                <a:gd name="T1" fmla="*/ 0 h 1"/>
                <a:gd name="T2" fmla="*/ 0 w 1"/>
                <a:gd name="T3" fmla="*/ 0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0" y="0"/>
                    <a:pt x="0" y="0"/>
                  </a:cubicBezTo>
                  <a:cubicBezTo>
                    <a:pt x="0" y="1"/>
                    <a:pt x="1" y="1"/>
                    <a:pt x="1" y="1"/>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7" name="Freeform 370">
              <a:extLst>
                <a:ext uri="{FF2B5EF4-FFF2-40B4-BE49-F238E27FC236}">
                  <a16:creationId xmlns:a16="http://schemas.microsoft.com/office/drawing/2014/main" id="{C381A1FE-3889-4EAB-B54B-127B8B0E5CF5}"/>
                </a:ext>
              </a:extLst>
            </p:cNvPr>
            <p:cNvSpPr>
              <a:spLocks/>
            </p:cNvSpPr>
            <p:nvPr/>
          </p:nvSpPr>
          <p:spPr bwMode="auto">
            <a:xfrm>
              <a:off x="10936279" y="1050159"/>
              <a:ext cx="52388" cy="19050"/>
            </a:xfrm>
            <a:custGeom>
              <a:avLst/>
              <a:gdLst>
                <a:gd name="T0" fmla="*/ 14 w 14"/>
                <a:gd name="T1" fmla="*/ 0 h 5"/>
                <a:gd name="T2" fmla="*/ 10 w 14"/>
                <a:gd name="T3" fmla="*/ 1 h 5"/>
                <a:gd name="T4" fmla="*/ 7 w 14"/>
                <a:gd name="T5" fmla="*/ 2 h 5"/>
                <a:gd name="T6" fmla="*/ 7 w 14"/>
                <a:gd name="T7" fmla="*/ 2 h 5"/>
                <a:gd name="T8" fmla="*/ 6 w 14"/>
                <a:gd name="T9" fmla="*/ 2 h 5"/>
                <a:gd name="T10" fmla="*/ 5 w 14"/>
                <a:gd name="T11" fmla="*/ 2 h 5"/>
                <a:gd name="T12" fmla="*/ 4 w 14"/>
                <a:gd name="T13" fmla="*/ 3 h 5"/>
                <a:gd name="T14" fmla="*/ 4 w 14"/>
                <a:gd name="T15" fmla="*/ 3 h 5"/>
                <a:gd name="T16" fmla="*/ 1 w 14"/>
                <a:gd name="T17" fmla="*/ 4 h 5"/>
                <a:gd name="T18" fmla="*/ 3 w 14"/>
                <a:gd name="T19" fmla="*/ 5 h 5"/>
                <a:gd name="T20" fmla="*/ 4 w 14"/>
                <a:gd name="T21" fmla="*/ 5 h 5"/>
                <a:gd name="T22" fmla="*/ 14 w 14"/>
                <a:gd name="T23" fmla="*/ 3 h 5"/>
                <a:gd name="T24" fmla="*/ 14 w 14"/>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5">
                  <a:moveTo>
                    <a:pt x="14" y="0"/>
                  </a:moveTo>
                  <a:cubicBezTo>
                    <a:pt x="13" y="1"/>
                    <a:pt x="12" y="0"/>
                    <a:pt x="10" y="1"/>
                  </a:cubicBezTo>
                  <a:cubicBezTo>
                    <a:pt x="9" y="1"/>
                    <a:pt x="8" y="2"/>
                    <a:pt x="7" y="2"/>
                  </a:cubicBezTo>
                  <a:cubicBezTo>
                    <a:pt x="7" y="2"/>
                    <a:pt x="7" y="2"/>
                    <a:pt x="7" y="2"/>
                  </a:cubicBezTo>
                  <a:cubicBezTo>
                    <a:pt x="6" y="2"/>
                    <a:pt x="6" y="2"/>
                    <a:pt x="6" y="2"/>
                  </a:cubicBezTo>
                  <a:cubicBezTo>
                    <a:pt x="6" y="2"/>
                    <a:pt x="5" y="2"/>
                    <a:pt x="5" y="2"/>
                  </a:cubicBezTo>
                  <a:cubicBezTo>
                    <a:pt x="4" y="2"/>
                    <a:pt x="4" y="2"/>
                    <a:pt x="4" y="3"/>
                  </a:cubicBezTo>
                  <a:cubicBezTo>
                    <a:pt x="4" y="3"/>
                    <a:pt x="4" y="3"/>
                    <a:pt x="4" y="3"/>
                  </a:cubicBezTo>
                  <a:cubicBezTo>
                    <a:pt x="4" y="3"/>
                    <a:pt x="2" y="3"/>
                    <a:pt x="1" y="4"/>
                  </a:cubicBezTo>
                  <a:cubicBezTo>
                    <a:pt x="0" y="5"/>
                    <a:pt x="0" y="5"/>
                    <a:pt x="3" y="5"/>
                  </a:cubicBezTo>
                  <a:cubicBezTo>
                    <a:pt x="3" y="5"/>
                    <a:pt x="4" y="5"/>
                    <a:pt x="4" y="5"/>
                  </a:cubicBezTo>
                  <a:cubicBezTo>
                    <a:pt x="7" y="5"/>
                    <a:pt x="11" y="4"/>
                    <a:pt x="14" y="3"/>
                  </a:cubicBezTo>
                  <a:cubicBezTo>
                    <a:pt x="14" y="0"/>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8" name="Freeform 371">
              <a:extLst>
                <a:ext uri="{FF2B5EF4-FFF2-40B4-BE49-F238E27FC236}">
                  <a16:creationId xmlns:a16="http://schemas.microsoft.com/office/drawing/2014/main" id="{C48B555E-B2AC-4FDA-B821-43B459800CF8}"/>
                </a:ext>
              </a:extLst>
            </p:cNvPr>
            <p:cNvSpPr>
              <a:spLocks noEditPoints="1"/>
            </p:cNvSpPr>
            <p:nvPr/>
          </p:nvSpPr>
          <p:spPr bwMode="auto">
            <a:xfrm>
              <a:off x="9832966" y="599309"/>
              <a:ext cx="1155700" cy="376238"/>
            </a:xfrm>
            <a:custGeom>
              <a:avLst/>
              <a:gdLst>
                <a:gd name="T0" fmla="*/ 125 w 308"/>
                <a:gd name="T1" fmla="*/ 30 h 100"/>
                <a:gd name="T2" fmla="*/ 308 w 308"/>
                <a:gd name="T3" fmla="*/ 0 h 100"/>
                <a:gd name="T4" fmla="*/ 13 w 308"/>
                <a:gd name="T5" fmla="*/ 3 h 100"/>
                <a:gd name="T6" fmla="*/ 29 w 308"/>
                <a:gd name="T7" fmla="*/ 5 h 100"/>
                <a:gd name="T8" fmla="*/ 43 w 308"/>
                <a:gd name="T9" fmla="*/ 5 h 100"/>
                <a:gd name="T10" fmla="*/ 47 w 308"/>
                <a:gd name="T11" fmla="*/ 5 h 100"/>
                <a:gd name="T12" fmla="*/ 38 w 308"/>
                <a:gd name="T13" fmla="*/ 10 h 100"/>
                <a:gd name="T14" fmla="*/ 33 w 308"/>
                <a:gd name="T15" fmla="*/ 9 h 100"/>
                <a:gd name="T16" fmla="*/ 15 w 308"/>
                <a:gd name="T17" fmla="*/ 16 h 100"/>
                <a:gd name="T18" fmla="*/ 11 w 308"/>
                <a:gd name="T19" fmla="*/ 20 h 100"/>
                <a:gd name="T20" fmla="*/ 29 w 308"/>
                <a:gd name="T21" fmla="*/ 30 h 100"/>
                <a:gd name="T22" fmla="*/ 46 w 308"/>
                <a:gd name="T23" fmla="*/ 34 h 100"/>
                <a:gd name="T24" fmla="*/ 69 w 308"/>
                <a:gd name="T25" fmla="*/ 34 h 100"/>
                <a:gd name="T26" fmla="*/ 68 w 308"/>
                <a:gd name="T27" fmla="*/ 29 h 100"/>
                <a:gd name="T28" fmla="*/ 71 w 308"/>
                <a:gd name="T29" fmla="*/ 24 h 100"/>
                <a:gd name="T30" fmla="*/ 76 w 308"/>
                <a:gd name="T31" fmla="*/ 28 h 100"/>
                <a:gd name="T32" fmla="*/ 84 w 308"/>
                <a:gd name="T33" fmla="*/ 32 h 100"/>
                <a:gd name="T34" fmla="*/ 89 w 308"/>
                <a:gd name="T35" fmla="*/ 24 h 100"/>
                <a:gd name="T36" fmla="*/ 103 w 308"/>
                <a:gd name="T37" fmla="*/ 26 h 100"/>
                <a:gd name="T38" fmla="*/ 100 w 308"/>
                <a:gd name="T39" fmla="*/ 28 h 100"/>
                <a:gd name="T40" fmla="*/ 108 w 308"/>
                <a:gd name="T41" fmla="*/ 35 h 100"/>
                <a:gd name="T42" fmla="*/ 123 w 308"/>
                <a:gd name="T43" fmla="*/ 31 h 100"/>
                <a:gd name="T44" fmla="*/ 125 w 308"/>
                <a:gd name="T45" fmla="*/ 30 h 100"/>
                <a:gd name="T46" fmla="*/ 125 w 308"/>
                <a:gd name="T47" fmla="*/ 29 h 100"/>
                <a:gd name="T48" fmla="*/ 125 w 308"/>
                <a:gd name="T49" fmla="*/ 29 h 100"/>
                <a:gd name="T50" fmla="*/ 126 w 308"/>
                <a:gd name="T51" fmla="*/ 28 h 100"/>
                <a:gd name="T52" fmla="*/ 128 w 308"/>
                <a:gd name="T53" fmla="*/ 26 h 100"/>
                <a:gd name="T54" fmla="*/ 134 w 308"/>
                <a:gd name="T55" fmla="*/ 24 h 100"/>
                <a:gd name="T56" fmla="*/ 140 w 308"/>
                <a:gd name="T57" fmla="*/ 31 h 100"/>
                <a:gd name="T58" fmla="*/ 147 w 308"/>
                <a:gd name="T59" fmla="*/ 27 h 100"/>
                <a:gd name="T60" fmla="*/ 197 w 308"/>
                <a:gd name="T61" fmla="*/ 29 h 100"/>
                <a:gd name="T62" fmla="*/ 202 w 308"/>
                <a:gd name="T63" fmla="*/ 29 h 100"/>
                <a:gd name="T64" fmla="*/ 212 w 308"/>
                <a:gd name="T65" fmla="*/ 30 h 100"/>
                <a:gd name="T66" fmla="*/ 223 w 308"/>
                <a:gd name="T67" fmla="*/ 34 h 100"/>
                <a:gd name="T68" fmla="*/ 268 w 308"/>
                <a:gd name="T69" fmla="*/ 51 h 100"/>
                <a:gd name="T70" fmla="*/ 271 w 308"/>
                <a:gd name="T71" fmla="*/ 54 h 100"/>
                <a:gd name="T72" fmla="*/ 274 w 308"/>
                <a:gd name="T73" fmla="*/ 61 h 100"/>
                <a:gd name="T74" fmla="*/ 271 w 308"/>
                <a:gd name="T75" fmla="*/ 64 h 100"/>
                <a:gd name="T76" fmla="*/ 264 w 308"/>
                <a:gd name="T77" fmla="*/ 68 h 100"/>
                <a:gd name="T78" fmla="*/ 270 w 308"/>
                <a:gd name="T79" fmla="*/ 67 h 100"/>
                <a:gd name="T80" fmla="*/ 271 w 308"/>
                <a:gd name="T81" fmla="*/ 68 h 100"/>
                <a:gd name="T82" fmla="*/ 270 w 308"/>
                <a:gd name="T83" fmla="*/ 69 h 100"/>
                <a:gd name="T84" fmla="*/ 270 w 308"/>
                <a:gd name="T85" fmla="*/ 69 h 100"/>
                <a:gd name="T86" fmla="*/ 269 w 308"/>
                <a:gd name="T87" fmla="*/ 69 h 100"/>
                <a:gd name="T88" fmla="*/ 278 w 308"/>
                <a:gd name="T89" fmla="*/ 74 h 100"/>
                <a:gd name="T90" fmla="*/ 296 w 308"/>
                <a:gd name="T91" fmla="*/ 88 h 100"/>
                <a:gd name="T92" fmla="*/ 298 w 308"/>
                <a:gd name="T93" fmla="*/ 88 h 100"/>
                <a:gd name="T94" fmla="*/ 299 w 308"/>
                <a:gd name="T95" fmla="*/ 88 h 100"/>
                <a:gd name="T96" fmla="*/ 303 w 308"/>
                <a:gd name="T97" fmla="*/ 94 h 100"/>
                <a:gd name="T98" fmla="*/ 300 w 308"/>
                <a:gd name="T99" fmla="*/ 94 h 100"/>
                <a:gd name="T100" fmla="*/ 299 w 308"/>
                <a:gd name="T101" fmla="*/ 96 h 100"/>
                <a:gd name="T102" fmla="*/ 308 w 308"/>
                <a:gd name="T103" fmla="*/ 100 h 100"/>
                <a:gd name="T104" fmla="*/ 308 w 308"/>
                <a:gd name="T10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8" h="100">
                  <a:moveTo>
                    <a:pt x="125" y="30"/>
                  </a:moveTo>
                  <a:cubicBezTo>
                    <a:pt x="125" y="30"/>
                    <a:pt x="125" y="30"/>
                    <a:pt x="125" y="30"/>
                  </a:cubicBezTo>
                  <a:cubicBezTo>
                    <a:pt x="125" y="30"/>
                    <a:pt x="125" y="30"/>
                    <a:pt x="125" y="30"/>
                  </a:cubicBezTo>
                  <a:moveTo>
                    <a:pt x="308" y="0"/>
                  </a:moveTo>
                  <a:cubicBezTo>
                    <a:pt x="0" y="0"/>
                    <a:pt x="0" y="0"/>
                    <a:pt x="0" y="0"/>
                  </a:cubicBezTo>
                  <a:cubicBezTo>
                    <a:pt x="2" y="2"/>
                    <a:pt x="11" y="3"/>
                    <a:pt x="13" y="3"/>
                  </a:cubicBezTo>
                  <a:cubicBezTo>
                    <a:pt x="17" y="4"/>
                    <a:pt x="21" y="5"/>
                    <a:pt x="25" y="5"/>
                  </a:cubicBezTo>
                  <a:cubicBezTo>
                    <a:pt x="26" y="5"/>
                    <a:pt x="28" y="5"/>
                    <a:pt x="29" y="5"/>
                  </a:cubicBezTo>
                  <a:cubicBezTo>
                    <a:pt x="31" y="5"/>
                    <a:pt x="34" y="5"/>
                    <a:pt x="36" y="5"/>
                  </a:cubicBezTo>
                  <a:cubicBezTo>
                    <a:pt x="38" y="5"/>
                    <a:pt x="41" y="5"/>
                    <a:pt x="43" y="5"/>
                  </a:cubicBezTo>
                  <a:cubicBezTo>
                    <a:pt x="44" y="5"/>
                    <a:pt x="45" y="5"/>
                    <a:pt x="45" y="5"/>
                  </a:cubicBezTo>
                  <a:cubicBezTo>
                    <a:pt x="46" y="5"/>
                    <a:pt x="46" y="5"/>
                    <a:pt x="47" y="5"/>
                  </a:cubicBezTo>
                  <a:cubicBezTo>
                    <a:pt x="45" y="8"/>
                    <a:pt x="49" y="9"/>
                    <a:pt x="43" y="9"/>
                  </a:cubicBezTo>
                  <a:cubicBezTo>
                    <a:pt x="42" y="9"/>
                    <a:pt x="40" y="10"/>
                    <a:pt x="38" y="10"/>
                  </a:cubicBezTo>
                  <a:cubicBezTo>
                    <a:pt x="37" y="10"/>
                    <a:pt x="36" y="10"/>
                    <a:pt x="35" y="9"/>
                  </a:cubicBezTo>
                  <a:cubicBezTo>
                    <a:pt x="34" y="9"/>
                    <a:pt x="34" y="9"/>
                    <a:pt x="33" y="9"/>
                  </a:cubicBezTo>
                  <a:cubicBezTo>
                    <a:pt x="28" y="9"/>
                    <a:pt x="27" y="12"/>
                    <a:pt x="22" y="14"/>
                  </a:cubicBezTo>
                  <a:cubicBezTo>
                    <a:pt x="19" y="15"/>
                    <a:pt x="17" y="15"/>
                    <a:pt x="15" y="16"/>
                  </a:cubicBezTo>
                  <a:cubicBezTo>
                    <a:pt x="13" y="16"/>
                    <a:pt x="12" y="16"/>
                    <a:pt x="11" y="17"/>
                  </a:cubicBezTo>
                  <a:cubicBezTo>
                    <a:pt x="8" y="19"/>
                    <a:pt x="10" y="19"/>
                    <a:pt x="11" y="20"/>
                  </a:cubicBezTo>
                  <a:cubicBezTo>
                    <a:pt x="13" y="22"/>
                    <a:pt x="15" y="22"/>
                    <a:pt x="18" y="23"/>
                  </a:cubicBezTo>
                  <a:cubicBezTo>
                    <a:pt x="22" y="24"/>
                    <a:pt x="25" y="28"/>
                    <a:pt x="29" y="30"/>
                  </a:cubicBezTo>
                  <a:cubicBezTo>
                    <a:pt x="33" y="31"/>
                    <a:pt x="35" y="33"/>
                    <a:pt x="39" y="33"/>
                  </a:cubicBezTo>
                  <a:cubicBezTo>
                    <a:pt x="42" y="33"/>
                    <a:pt x="44" y="34"/>
                    <a:pt x="46" y="34"/>
                  </a:cubicBezTo>
                  <a:cubicBezTo>
                    <a:pt x="59" y="36"/>
                    <a:pt x="70" y="39"/>
                    <a:pt x="82" y="41"/>
                  </a:cubicBezTo>
                  <a:cubicBezTo>
                    <a:pt x="82" y="36"/>
                    <a:pt x="71" y="37"/>
                    <a:pt x="69" y="34"/>
                  </a:cubicBezTo>
                  <a:cubicBezTo>
                    <a:pt x="69" y="33"/>
                    <a:pt x="70" y="32"/>
                    <a:pt x="69" y="32"/>
                  </a:cubicBezTo>
                  <a:cubicBezTo>
                    <a:pt x="69" y="31"/>
                    <a:pt x="69" y="30"/>
                    <a:pt x="68" y="29"/>
                  </a:cubicBezTo>
                  <a:cubicBezTo>
                    <a:pt x="67" y="27"/>
                    <a:pt x="67" y="25"/>
                    <a:pt x="70" y="24"/>
                  </a:cubicBezTo>
                  <a:cubicBezTo>
                    <a:pt x="70" y="24"/>
                    <a:pt x="70" y="24"/>
                    <a:pt x="71" y="24"/>
                  </a:cubicBezTo>
                  <a:cubicBezTo>
                    <a:pt x="73" y="24"/>
                    <a:pt x="75" y="27"/>
                    <a:pt x="77" y="27"/>
                  </a:cubicBezTo>
                  <a:cubicBezTo>
                    <a:pt x="77" y="27"/>
                    <a:pt x="76" y="28"/>
                    <a:pt x="76" y="28"/>
                  </a:cubicBezTo>
                  <a:cubicBezTo>
                    <a:pt x="77" y="29"/>
                    <a:pt x="81" y="32"/>
                    <a:pt x="84" y="32"/>
                  </a:cubicBezTo>
                  <a:cubicBezTo>
                    <a:pt x="84" y="32"/>
                    <a:pt x="84" y="32"/>
                    <a:pt x="84" y="32"/>
                  </a:cubicBezTo>
                  <a:cubicBezTo>
                    <a:pt x="85" y="32"/>
                    <a:pt x="85" y="30"/>
                    <a:pt x="85" y="29"/>
                  </a:cubicBezTo>
                  <a:cubicBezTo>
                    <a:pt x="86" y="28"/>
                    <a:pt x="87" y="25"/>
                    <a:pt x="89" y="24"/>
                  </a:cubicBezTo>
                  <a:cubicBezTo>
                    <a:pt x="90" y="24"/>
                    <a:pt x="92" y="23"/>
                    <a:pt x="94" y="23"/>
                  </a:cubicBezTo>
                  <a:cubicBezTo>
                    <a:pt x="97" y="23"/>
                    <a:pt x="102" y="24"/>
                    <a:pt x="103" y="26"/>
                  </a:cubicBezTo>
                  <a:cubicBezTo>
                    <a:pt x="102" y="26"/>
                    <a:pt x="100" y="26"/>
                    <a:pt x="99" y="27"/>
                  </a:cubicBezTo>
                  <a:cubicBezTo>
                    <a:pt x="99" y="27"/>
                    <a:pt x="100" y="28"/>
                    <a:pt x="100" y="28"/>
                  </a:cubicBezTo>
                  <a:cubicBezTo>
                    <a:pt x="95" y="30"/>
                    <a:pt x="103" y="34"/>
                    <a:pt x="106" y="35"/>
                  </a:cubicBezTo>
                  <a:cubicBezTo>
                    <a:pt x="106" y="35"/>
                    <a:pt x="107" y="35"/>
                    <a:pt x="108" y="35"/>
                  </a:cubicBezTo>
                  <a:cubicBezTo>
                    <a:pt x="109" y="35"/>
                    <a:pt x="110" y="35"/>
                    <a:pt x="113" y="34"/>
                  </a:cubicBezTo>
                  <a:cubicBezTo>
                    <a:pt x="116" y="33"/>
                    <a:pt x="120" y="33"/>
                    <a:pt x="123" y="31"/>
                  </a:cubicBezTo>
                  <a:cubicBezTo>
                    <a:pt x="125" y="31"/>
                    <a:pt x="125" y="30"/>
                    <a:pt x="125" y="30"/>
                  </a:cubicBezTo>
                  <a:cubicBezTo>
                    <a:pt x="125" y="30"/>
                    <a:pt x="125" y="30"/>
                    <a:pt x="125" y="30"/>
                  </a:cubicBezTo>
                  <a:cubicBezTo>
                    <a:pt x="125" y="30"/>
                    <a:pt x="125" y="30"/>
                    <a:pt x="125" y="30"/>
                  </a:cubicBezTo>
                  <a:cubicBezTo>
                    <a:pt x="125" y="29"/>
                    <a:pt x="125" y="29"/>
                    <a:pt x="125" y="29"/>
                  </a:cubicBezTo>
                  <a:cubicBezTo>
                    <a:pt x="125" y="29"/>
                    <a:pt x="125" y="29"/>
                    <a:pt x="125" y="29"/>
                  </a:cubicBezTo>
                  <a:cubicBezTo>
                    <a:pt x="125" y="29"/>
                    <a:pt x="125" y="29"/>
                    <a:pt x="125" y="29"/>
                  </a:cubicBezTo>
                  <a:cubicBezTo>
                    <a:pt x="125" y="29"/>
                    <a:pt x="126" y="29"/>
                    <a:pt x="126" y="29"/>
                  </a:cubicBezTo>
                  <a:cubicBezTo>
                    <a:pt x="126" y="28"/>
                    <a:pt x="126" y="28"/>
                    <a:pt x="126" y="28"/>
                  </a:cubicBezTo>
                  <a:cubicBezTo>
                    <a:pt x="126" y="28"/>
                    <a:pt x="126" y="28"/>
                    <a:pt x="126" y="28"/>
                  </a:cubicBezTo>
                  <a:cubicBezTo>
                    <a:pt x="126" y="27"/>
                    <a:pt x="127" y="27"/>
                    <a:pt x="128" y="26"/>
                  </a:cubicBezTo>
                  <a:cubicBezTo>
                    <a:pt x="129" y="25"/>
                    <a:pt x="131" y="24"/>
                    <a:pt x="133" y="22"/>
                  </a:cubicBezTo>
                  <a:cubicBezTo>
                    <a:pt x="133" y="23"/>
                    <a:pt x="133" y="23"/>
                    <a:pt x="134" y="24"/>
                  </a:cubicBezTo>
                  <a:cubicBezTo>
                    <a:pt x="135" y="25"/>
                    <a:pt x="137" y="30"/>
                    <a:pt x="140" y="30"/>
                  </a:cubicBezTo>
                  <a:cubicBezTo>
                    <a:pt x="140" y="30"/>
                    <a:pt x="140" y="31"/>
                    <a:pt x="140" y="31"/>
                  </a:cubicBezTo>
                  <a:cubicBezTo>
                    <a:pt x="141" y="31"/>
                    <a:pt x="142" y="30"/>
                    <a:pt x="143" y="30"/>
                  </a:cubicBezTo>
                  <a:cubicBezTo>
                    <a:pt x="146" y="29"/>
                    <a:pt x="145" y="27"/>
                    <a:pt x="147" y="27"/>
                  </a:cubicBezTo>
                  <a:cubicBezTo>
                    <a:pt x="147" y="27"/>
                    <a:pt x="147" y="27"/>
                    <a:pt x="147" y="27"/>
                  </a:cubicBezTo>
                  <a:cubicBezTo>
                    <a:pt x="164" y="28"/>
                    <a:pt x="181" y="28"/>
                    <a:pt x="197" y="29"/>
                  </a:cubicBezTo>
                  <a:cubicBezTo>
                    <a:pt x="198" y="29"/>
                    <a:pt x="198" y="29"/>
                    <a:pt x="199" y="29"/>
                  </a:cubicBezTo>
                  <a:cubicBezTo>
                    <a:pt x="200" y="29"/>
                    <a:pt x="201" y="29"/>
                    <a:pt x="202" y="29"/>
                  </a:cubicBezTo>
                  <a:cubicBezTo>
                    <a:pt x="203" y="29"/>
                    <a:pt x="204" y="29"/>
                    <a:pt x="205" y="29"/>
                  </a:cubicBezTo>
                  <a:cubicBezTo>
                    <a:pt x="208" y="29"/>
                    <a:pt x="210" y="29"/>
                    <a:pt x="212" y="30"/>
                  </a:cubicBezTo>
                  <a:cubicBezTo>
                    <a:pt x="213" y="30"/>
                    <a:pt x="212" y="31"/>
                    <a:pt x="214" y="32"/>
                  </a:cubicBezTo>
                  <a:cubicBezTo>
                    <a:pt x="216" y="34"/>
                    <a:pt x="220" y="34"/>
                    <a:pt x="223" y="34"/>
                  </a:cubicBezTo>
                  <a:cubicBezTo>
                    <a:pt x="236" y="37"/>
                    <a:pt x="248" y="42"/>
                    <a:pt x="261" y="47"/>
                  </a:cubicBezTo>
                  <a:cubicBezTo>
                    <a:pt x="262" y="48"/>
                    <a:pt x="272" y="51"/>
                    <a:pt x="268" y="51"/>
                  </a:cubicBezTo>
                  <a:cubicBezTo>
                    <a:pt x="268" y="51"/>
                    <a:pt x="267" y="51"/>
                    <a:pt x="267" y="51"/>
                  </a:cubicBezTo>
                  <a:cubicBezTo>
                    <a:pt x="268" y="52"/>
                    <a:pt x="271" y="53"/>
                    <a:pt x="271" y="54"/>
                  </a:cubicBezTo>
                  <a:cubicBezTo>
                    <a:pt x="271" y="55"/>
                    <a:pt x="269" y="55"/>
                    <a:pt x="269" y="56"/>
                  </a:cubicBezTo>
                  <a:cubicBezTo>
                    <a:pt x="270" y="59"/>
                    <a:pt x="275" y="58"/>
                    <a:pt x="274" y="61"/>
                  </a:cubicBezTo>
                  <a:cubicBezTo>
                    <a:pt x="274" y="63"/>
                    <a:pt x="273" y="64"/>
                    <a:pt x="272" y="64"/>
                  </a:cubicBezTo>
                  <a:cubicBezTo>
                    <a:pt x="271" y="64"/>
                    <a:pt x="271" y="64"/>
                    <a:pt x="271" y="64"/>
                  </a:cubicBezTo>
                  <a:cubicBezTo>
                    <a:pt x="271" y="64"/>
                    <a:pt x="271" y="64"/>
                    <a:pt x="271" y="64"/>
                  </a:cubicBezTo>
                  <a:cubicBezTo>
                    <a:pt x="269" y="64"/>
                    <a:pt x="265" y="67"/>
                    <a:pt x="264" y="68"/>
                  </a:cubicBezTo>
                  <a:cubicBezTo>
                    <a:pt x="267" y="68"/>
                    <a:pt x="270" y="66"/>
                    <a:pt x="273" y="65"/>
                  </a:cubicBezTo>
                  <a:cubicBezTo>
                    <a:pt x="272" y="66"/>
                    <a:pt x="271" y="67"/>
                    <a:pt x="270" y="67"/>
                  </a:cubicBezTo>
                  <a:cubicBezTo>
                    <a:pt x="270" y="68"/>
                    <a:pt x="271" y="68"/>
                    <a:pt x="271" y="68"/>
                  </a:cubicBezTo>
                  <a:cubicBezTo>
                    <a:pt x="271" y="68"/>
                    <a:pt x="271" y="68"/>
                    <a:pt x="271" y="68"/>
                  </a:cubicBezTo>
                  <a:cubicBezTo>
                    <a:pt x="271" y="68"/>
                    <a:pt x="271" y="68"/>
                    <a:pt x="271" y="69"/>
                  </a:cubicBezTo>
                  <a:cubicBezTo>
                    <a:pt x="271" y="69"/>
                    <a:pt x="270" y="69"/>
                    <a:pt x="270" y="69"/>
                  </a:cubicBezTo>
                  <a:cubicBezTo>
                    <a:pt x="270" y="69"/>
                    <a:pt x="270" y="69"/>
                    <a:pt x="270" y="69"/>
                  </a:cubicBezTo>
                  <a:cubicBezTo>
                    <a:pt x="270" y="69"/>
                    <a:pt x="270" y="69"/>
                    <a:pt x="270" y="69"/>
                  </a:cubicBezTo>
                  <a:cubicBezTo>
                    <a:pt x="270" y="69"/>
                    <a:pt x="269" y="69"/>
                    <a:pt x="269" y="69"/>
                  </a:cubicBezTo>
                  <a:cubicBezTo>
                    <a:pt x="269" y="69"/>
                    <a:pt x="269" y="69"/>
                    <a:pt x="269" y="69"/>
                  </a:cubicBezTo>
                  <a:cubicBezTo>
                    <a:pt x="269" y="69"/>
                    <a:pt x="269" y="70"/>
                    <a:pt x="270" y="71"/>
                  </a:cubicBezTo>
                  <a:cubicBezTo>
                    <a:pt x="271" y="73"/>
                    <a:pt x="275" y="73"/>
                    <a:pt x="278" y="74"/>
                  </a:cubicBezTo>
                  <a:cubicBezTo>
                    <a:pt x="283" y="77"/>
                    <a:pt x="286" y="83"/>
                    <a:pt x="292" y="86"/>
                  </a:cubicBezTo>
                  <a:cubicBezTo>
                    <a:pt x="293" y="86"/>
                    <a:pt x="294" y="88"/>
                    <a:pt x="296" y="88"/>
                  </a:cubicBezTo>
                  <a:cubicBezTo>
                    <a:pt x="296" y="88"/>
                    <a:pt x="296" y="88"/>
                    <a:pt x="297" y="88"/>
                  </a:cubicBezTo>
                  <a:cubicBezTo>
                    <a:pt x="297" y="88"/>
                    <a:pt x="297" y="88"/>
                    <a:pt x="298" y="88"/>
                  </a:cubicBezTo>
                  <a:cubicBezTo>
                    <a:pt x="298" y="88"/>
                    <a:pt x="298" y="88"/>
                    <a:pt x="299" y="88"/>
                  </a:cubicBezTo>
                  <a:cubicBezTo>
                    <a:pt x="299" y="88"/>
                    <a:pt x="299" y="88"/>
                    <a:pt x="299" y="88"/>
                  </a:cubicBezTo>
                  <a:cubicBezTo>
                    <a:pt x="302" y="88"/>
                    <a:pt x="302" y="91"/>
                    <a:pt x="305" y="91"/>
                  </a:cubicBezTo>
                  <a:cubicBezTo>
                    <a:pt x="307" y="92"/>
                    <a:pt x="304" y="94"/>
                    <a:pt x="303" y="94"/>
                  </a:cubicBezTo>
                  <a:cubicBezTo>
                    <a:pt x="303" y="95"/>
                    <a:pt x="302" y="95"/>
                    <a:pt x="302" y="95"/>
                  </a:cubicBezTo>
                  <a:cubicBezTo>
                    <a:pt x="301" y="95"/>
                    <a:pt x="301" y="94"/>
                    <a:pt x="300" y="94"/>
                  </a:cubicBezTo>
                  <a:cubicBezTo>
                    <a:pt x="300" y="94"/>
                    <a:pt x="299" y="94"/>
                    <a:pt x="299" y="94"/>
                  </a:cubicBezTo>
                  <a:cubicBezTo>
                    <a:pt x="298" y="94"/>
                    <a:pt x="297" y="94"/>
                    <a:pt x="299" y="96"/>
                  </a:cubicBezTo>
                  <a:cubicBezTo>
                    <a:pt x="301" y="97"/>
                    <a:pt x="303" y="97"/>
                    <a:pt x="305" y="98"/>
                  </a:cubicBezTo>
                  <a:cubicBezTo>
                    <a:pt x="306" y="98"/>
                    <a:pt x="307" y="99"/>
                    <a:pt x="308" y="100"/>
                  </a:cubicBezTo>
                  <a:cubicBezTo>
                    <a:pt x="308" y="100"/>
                    <a:pt x="308" y="100"/>
                    <a:pt x="308" y="100"/>
                  </a:cubicBezTo>
                  <a:cubicBezTo>
                    <a:pt x="308" y="0"/>
                    <a:pt x="308" y="0"/>
                    <a:pt x="30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9" name="Freeform 372">
              <a:extLst>
                <a:ext uri="{FF2B5EF4-FFF2-40B4-BE49-F238E27FC236}">
                  <a16:creationId xmlns:a16="http://schemas.microsoft.com/office/drawing/2014/main" id="{2C8DADE3-C13B-4F73-9ABC-6F9C320A74BE}"/>
                </a:ext>
              </a:extLst>
            </p:cNvPr>
            <p:cNvSpPr>
              <a:spLocks/>
            </p:cNvSpPr>
            <p:nvPr/>
          </p:nvSpPr>
          <p:spPr bwMode="auto">
            <a:xfrm>
              <a:off x="6810366" y="599309"/>
              <a:ext cx="139700" cy="38100"/>
            </a:xfrm>
            <a:custGeom>
              <a:avLst/>
              <a:gdLst>
                <a:gd name="T0" fmla="*/ 28 w 37"/>
                <a:gd name="T1" fmla="*/ 0 h 10"/>
                <a:gd name="T2" fmla="*/ 0 w 37"/>
                <a:gd name="T3" fmla="*/ 0 h 10"/>
                <a:gd name="T4" fmla="*/ 0 w 37"/>
                <a:gd name="T5" fmla="*/ 0 h 10"/>
                <a:gd name="T6" fmla="*/ 2 w 37"/>
                <a:gd name="T7" fmla="*/ 1 h 10"/>
                <a:gd name="T8" fmla="*/ 3 w 37"/>
                <a:gd name="T9" fmla="*/ 1 h 10"/>
                <a:gd name="T10" fmla="*/ 3 w 37"/>
                <a:gd name="T11" fmla="*/ 1 h 10"/>
                <a:gd name="T12" fmla="*/ 3 w 37"/>
                <a:gd name="T13" fmla="*/ 6 h 10"/>
                <a:gd name="T14" fmla="*/ 4 w 37"/>
                <a:gd name="T15" fmla="*/ 6 h 10"/>
                <a:gd name="T16" fmla="*/ 5 w 37"/>
                <a:gd name="T17" fmla="*/ 8 h 10"/>
                <a:gd name="T18" fmla="*/ 8 w 37"/>
                <a:gd name="T19" fmla="*/ 9 h 10"/>
                <a:gd name="T20" fmla="*/ 8 w 37"/>
                <a:gd name="T21" fmla="*/ 9 h 10"/>
                <a:gd name="T22" fmla="*/ 8 w 37"/>
                <a:gd name="T23" fmla="*/ 9 h 10"/>
                <a:gd name="T24" fmla="*/ 9 w 37"/>
                <a:gd name="T25" fmla="*/ 9 h 10"/>
                <a:gd name="T26" fmla="*/ 19 w 37"/>
                <a:gd name="T27" fmla="*/ 10 h 10"/>
                <a:gd name="T28" fmla="*/ 21 w 37"/>
                <a:gd name="T29" fmla="*/ 10 h 10"/>
                <a:gd name="T30" fmla="*/ 37 w 37"/>
                <a:gd name="T31" fmla="*/ 4 h 10"/>
                <a:gd name="T32" fmla="*/ 28 w 37"/>
                <a:gd name="T3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10">
                  <a:moveTo>
                    <a:pt x="28" y="0"/>
                  </a:moveTo>
                  <a:cubicBezTo>
                    <a:pt x="0" y="0"/>
                    <a:pt x="0" y="0"/>
                    <a:pt x="0" y="0"/>
                  </a:cubicBezTo>
                  <a:cubicBezTo>
                    <a:pt x="0" y="0"/>
                    <a:pt x="0" y="0"/>
                    <a:pt x="0" y="0"/>
                  </a:cubicBezTo>
                  <a:cubicBezTo>
                    <a:pt x="1" y="1"/>
                    <a:pt x="1" y="1"/>
                    <a:pt x="2" y="1"/>
                  </a:cubicBezTo>
                  <a:cubicBezTo>
                    <a:pt x="3" y="1"/>
                    <a:pt x="3" y="1"/>
                    <a:pt x="3" y="1"/>
                  </a:cubicBezTo>
                  <a:cubicBezTo>
                    <a:pt x="3" y="1"/>
                    <a:pt x="3" y="1"/>
                    <a:pt x="3" y="1"/>
                  </a:cubicBezTo>
                  <a:cubicBezTo>
                    <a:pt x="6" y="1"/>
                    <a:pt x="5" y="5"/>
                    <a:pt x="3" y="6"/>
                  </a:cubicBezTo>
                  <a:cubicBezTo>
                    <a:pt x="3" y="6"/>
                    <a:pt x="4" y="6"/>
                    <a:pt x="4" y="6"/>
                  </a:cubicBezTo>
                  <a:cubicBezTo>
                    <a:pt x="7" y="6"/>
                    <a:pt x="4" y="8"/>
                    <a:pt x="5" y="8"/>
                  </a:cubicBezTo>
                  <a:cubicBezTo>
                    <a:pt x="5" y="9"/>
                    <a:pt x="6" y="9"/>
                    <a:pt x="8" y="9"/>
                  </a:cubicBezTo>
                  <a:cubicBezTo>
                    <a:pt x="8" y="9"/>
                    <a:pt x="8" y="9"/>
                    <a:pt x="8" y="9"/>
                  </a:cubicBezTo>
                  <a:cubicBezTo>
                    <a:pt x="8" y="9"/>
                    <a:pt x="8" y="9"/>
                    <a:pt x="8" y="9"/>
                  </a:cubicBezTo>
                  <a:cubicBezTo>
                    <a:pt x="8" y="9"/>
                    <a:pt x="9" y="9"/>
                    <a:pt x="9" y="9"/>
                  </a:cubicBezTo>
                  <a:cubicBezTo>
                    <a:pt x="12" y="9"/>
                    <a:pt x="15" y="10"/>
                    <a:pt x="19" y="10"/>
                  </a:cubicBezTo>
                  <a:cubicBezTo>
                    <a:pt x="19" y="10"/>
                    <a:pt x="20" y="10"/>
                    <a:pt x="21" y="10"/>
                  </a:cubicBezTo>
                  <a:cubicBezTo>
                    <a:pt x="26" y="10"/>
                    <a:pt x="34" y="8"/>
                    <a:pt x="37" y="4"/>
                  </a:cubicBezTo>
                  <a:cubicBezTo>
                    <a:pt x="34" y="3"/>
                    <a:pt x="31" y="1"/>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0" name="Freeform 377">
              <a:extLst>
                <a:ext uri="{FF2B5EF4-FFF2-40B4-BE49-F238E27FC236}">
                  <a16:creationId xmlns:a16="http://schemas.microsoft.com/office/drawing/2014/main" id="{A8E66C9D-0015-4341-ACD4-ED2C607519EC}"/>
                </a:ext>
              </a:extLst>
            </p:cNvPr>
            <p:cNvSpPr>
              <a:spLocks noEditPoints="1"/>
            </p:cNvSpPr>
            <p:nvPr/>
          </p:nvSpPr>
          <p:spPr bwMode="auto">
            <a:xfrm>
              <a:off x="4427529" y="1831209"/>
              <a:ext cx="3697288" cy="2200275"/>
            </a:xfrm>
            <a:custGeom>
              <a:avLst/>
              <a:gdLst>
                <a:gd name="T0" fmla="*/ 73 w 985"/>
                <a:gd name="T1" fmla="*/ 586 h 586"/>
                <a:gd name="T2" fmla="*/ 73 w 985"/>
                <a:gd name="T3" fmla="*/ 586 h 586"/>
                <a:gd name="T4" fmla="*/ 73 w 985"/>
                <a:gd name="T5" fmla="*/ 586 h 586"/>
                <a:gd name="T6" fmla="*/ 985 w 985"/>
                <a:gd name="T7" fmla="*/ 212 h 586"/>
                <a:gd name="T8" fmla="*/ 985 w 985"/>
                <a:gd name="T9" fmla="*/ 212 h 586"/>
                <a:gd name="T10" fmla="*/ 985 w 985"/>
                <a:gd name="T11" fmla="*/ 212 h 586"/>
                <a:gd name="T12" fmla="*/ 831 w 985"/>
                <a:gd name="T13" fmla="*/ 98 h 586"/>
                <a:gd name="T14" fmla="*/ 831 w 985"/>
                <a:gd name="T15" fmla="*/ 98 h 586"/>
                <a:gd name="T16" fmla="*/ 831 w 985"/>
                <a:gd name="T17" fmla="*/ 98 h 586"/>
                <a:gd name="T18" fmla="*/ 848 w 985"/>
                <a:gd name="T19" fmla="*/ 91 h 586"/>
                <a:gd name="T20" fmla="*/ 848 w 985"/>
                <a:gd name="T21" fmla="*/ 91 h 586"/>
                <a:gd name="T22" fmla="*/ 848 w 985"/>
                <a:gd name="T23" fmla="*/ 91 h 586"/>
                <a:gd name="T24" fmla="*/ 846 w 985"/>
                <a:gd name="T25" fmla="*/ 89 h 586"/>
                <a:gd name="T26" fmla="*/ 846 w 985"/>
                <a:gd name="T27" fmla="*/ 89 h 586"/>
                <a:gd name="T28" fmla="*/ 846 w 985"/>
                <a:gd name="T29" fmla="*/ 89 h 586"/>
                <a:gd name="T30" fmla="*/ 874 w 985"/>
                <a:gd name="T31" fmla="*/ 4 h 586"/>
                <a:gd name="T32" fmla="*/ 874 w 985"/>
                <a:gd name="T33" fmla="*/ 4 h 586"/>
                <a:gd name="T34" fmla="*/ 874 w 985"/>
                <a:gd name="T35" fmla="*/ 4 h 586"/>
                <a:gd name="T36" fmla="*/ 1 w 985"/>
                <a:gd name="T37" fmla="*/ 0 h 586"/>
                <a:gd name="T38" fmla="*/ 0 w 985"/>
                <a:gd name="T39" fmla="*/ 0 h 586"/>
                <a:gd name="T40" fmla="*/ 1 w 985"/>
                <a:gd name="T41" fmla="*/ 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5" h="586">
                  <a:moveTo>
                    <a:pt x="73" y="586"/>
                  </a:moveTo>
                  <a:cubicBezTo>
                    <a:pt x="73" y="586"/>
                    <a:pt x="73" y="586"/>
                    <a:pt x="73" y="586"/>
                  </a:cubicBezTo>
                  <a:cubicBezTo>
                    <a:pt x="73" y="586"/>
                    <a:pt x="73" y="586"/>
                    <a:pt x="73" y="586"/>
                  </a:cubicBezTo>
                  <a:moveTo>
                    <a:pt x="985" y="212"/>
                  </a:moveTo>
                  <a:cubicBezTo>
                    <a:pt x="985" y="212"/>
                    <a:pt x="985" y="212"/>
                    <a:pt x="985" y="212"/>
                  </a:cubicBezTo>
                  <a:cubicBezTo>
                    <a:pt x="985" y="212"/>
                    <a:pt x="985" y="212"/>
                    <a:pt x="985" y="212"/>
                  </a:cubicBezTo>
                  <a:moveTo>
                    <a:pt x="831" y="98"/>
                  </a:moveTo>
                  <a:cubicBezTo>
                    <a:pt x="831" y="98"/>
                    <a:pt x="831" y="98"/>
                    <a:pt x="831" y="98"/>
                  </a:cubicBezTo>
                  <a:cubicBezTo>
                    <a:pt x="831" y="98"/>
                    <a:pt x="831" y="98"/>
                    <a:pt x="831" y="98"/>
                  </a:cubicBezTo>
                  <a:moveTo>
                    <a:pt x="848" y="91"/>
                  </a:moveTo>
                  <a:cubicBezTo>
                    <a:pt x="848" y="91"/>
                    <a:pt x="848" y="91"/>
                    <a:pt x="848" y="91"/>
                  </a:cubicBezTo>
                  <a:cubicBezTo>
                    <a:pt x="848" y="91"/>
                    <a:pt x="848" y="91"/>
                    <a:pt x="848" y="91"/>
                  </a:cubicBezTo>
                  <a:moveTo>
                    <a:pt x="846" y="89"/>
                  </a:moveTo>
                  <a:cubicBezTo>
                    <a:pt x="846" y="89"/>
                    <a:pt x="846" y="89"/>
                    <a:pt x="846" y="89"/>
                  </a:cubicBezTo>
                  <a:cubicBezTo>
                    <a:pt x="846" y="89"/>
                    <a:pt x="846" y="89"/>
                    <a:pt x="846" y="89"/>
                  </a:cubicBezTo>
                  <a:moveTo>
                    <a:pt x="874" y="4"/>
                  </a:moveTo>
                  <a:cubicBezTo>
                    <a:pt x="874" y="4"/>
                    <a:pt x="874" y="4"/>
                    <a:pt x="874" y="4"/>
                  </a:cubicBezTo>
                  <a:cubicBezTo>
                    <a:pt x="874" y="4"/>
                    <a:pt x="874" y="4"/>
                    <a:pt x="874" y="4"/>
                  </a:cubicBezTo>
                  <a:moveTo>
                    <a:pt x="1" y="0"/>
                  </a:moveTo>
                  <a:cubicBezTo>
                    <a:pt x="0" y="0"/>
                    <a:pt x="0" y="0"/>
                    <a:pt x="0" y="0"/>
                  </a:cubicBezTo>
                  <a:cubicBezTo>
                    <a:pt x="0" y="0"/>
                    <a:pt x="0"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1" name="Freeform 378">
              <a:extLst>
                <a:ext uri="{FF2B5EF4-FFF2-40B4-BE49-F238E27FC236}">
                  <a16:creationId xmlns:a16="http://schemas.microsoft.com/office/drawing/2014/main" id="{D1C5644D-D733-436A-B269-5139EAD84EBE}"/>
                </a:ext>
              </a:extLst>
            </p:cNvPr>
            <p:cNvSpPr>
              <a:spLocks/>
            </p:cNvSpPr>
            <p:nvPr/>
          </p:nvSpPr>
          <p:spPr bwMode="auto">
            <a:xfrm>
              <a:off x="9145579" y="8043097"/>
              <a:ext cx="890588" cy="671513"/>
            </a:xfrm>
            <a:custGeom>
              <a:avLst/>
              <a:gdLst>
                <a:gd name="T0" fmla="*/ 132 w 237"/>
                <a:gd name="T1" fmla="*/ 5 h 179"/>
                <a:gd name="T2" fmla="*/ 106 w 237"/>
                <a:gd name="T3" fmla="*/ 26 h 179"/>
                <a:gd name="T4" fmla="*/ 87 w 237"/>
                <a:gd name="T5" fmla="*/ 26 h 179"/>
                <a:gd name="T6" fmla="*/ 78 w 237"/>
                <a:gd name="T7" fmla="*/ 40 h 179"/>
                <a:gd name="T8" fmla="*/ 76 w 237"/>
                <a:gd name="T9" fmla="*/ 35 h 179"/>
                <a:gd name="T10" fmla="*/ 79 w 237"/>
                <a:gd name="T11" fmla="*/ 35 h 179"/>
                <a:gd name="T12" fmla="*/ 78 w 237"/>
                <a:gd name="T13" fmla="*/ 34 h 179"/>
                <a:gd name="T14" fmla="*/ 67 w 237"/>
                <a:gd name="T15" fmla="*/ 31 h 179"/>
                <a:gd name="T16" fmla="*/ 58 w 237"/>
                <a:gd name="T17" fmla="*/ 41 h 179"/>
                <a:gd name="T18" fmla="*/ 52 w 237"/>
                <a:gd name="T19" fmla="*/ 52 h 179"/>
                <a:gd name="T20" fmla="*/ 47 w 237"/>
                <a:gd name="T21" fmla="*/ 71 h 179"/>
                <a:gd name="T22" fmla="*/ 41 w 237"/>
                <a:gd name="T23" fmla="*/ 72 h 179"/>
                <a:gd name="T24" fmla="*/ 21 w 237"/>
                <a:gd name="T25" fmla="*/ 90 h 179"/>
                <a:gd name="T26" fmla="*/ 24 w 237"/>
                <a:gd name="T27" fmla="*/ 106 h 179"/>
                <a:gd name="T28" fmla="*/ 11 w 237"/>
                <a:gd name="T29" fmla="*/ 91 h 179"/>
                <a:gd name="T30" fmla="*/ 17 w 237"/>
                <a:gd name="T31" fmla="*/ 104 h 179"/>
                <a:gd name="T32" fmla="*/ 10 w 237"/>
                <a:gd name="T33" fmla="*/ 113 h 179"/>
                <a:gd name="T34" fmla="*/ 3 w 237"/>
                <a:gd name="T35" fmla="*/ 118 h 179"/>
                <a:gd name="T36" fmla="*/ 1 w 237"/>
                <a:gd name="T37" fmla="*/ 125 h 179"/>
                <a:gd name="T38" fmla="*/ 10 w 237"/>
                <a:gd name="T39" fmla="*/ 137 h 179"/>
                <a:gd name="T40" fmla="*/ 12 w 237"/>
                <a:gd name="T41" fmla="*/ 156 h 179"/>
                <a:gd name="T42" fmla="*/ 10 w 237"/>
                <a:gd name="T43" fmla="*/ 179 h 179"/>
                <a:gd name="T44" fmla="*/ 228 w 237"/>
                <a:gd name="T45" fmla="*/ 168 h 179"/>
                <a:gd name="T46" fmla="*/ 232 w 237"/>
                <a:gd name="T47" fmla="*/ 158 h 179"/>
                <a:gd name="T48" fmla="*/ 236 w 237"/>
                <a:gd name="T49" fmla="*/ 152 h 179"/>
                <a:gd name="T50" fmla="*/ 230 w 237"/>
                <a:gd name="T51" fmla="*/ 147 h 179"/>
                <a:gd name="T52" fmla="*/ 211 w 237"/>
                <a:gd name="T53" fmla="*/ 149 h 179"/>
                <a:gd name="T54" fmla="*/ 202 w 237"/>
                <a:gd name="T55" fmla="*/ 150 h 179"/>
                <a:gd name="T56" fmla="*/ 183 w 237"/>
                <a:gd name="T57" fmla="*/ 140 h 179"/>
                <a:gd name="T58" fmla="*/ 179 w 237"/>
                <a:gd name="T59" fmla="*/ 134 h 179"/>
                <a:gd name="T60" fmla="*/ 161 w 237"/>
                <a:gd name="T61" fmla="*/ 129 h 179"/>
                <a:gd name="T62" fmla="*/ 148 w 237"/>
                <a:gd name="T63" fmla="*/ 130 h 179"/>
                <a:gd name="T64" fmla="*/ 138 w 237"/>
                <a:gd name="T65" fmla="*/ 130 h 179"/>
                <a:gd name="T66" fmla="*/ 129 w 237"/>
                <a:gd name="T67" fmla="*/ 124 h 179"/>
                <a:gd name="T68" fmla="*/ 127 w 237"/>
                <a:gd name="T69" fmla="*/ 121 h 179"/>
                <a:gd name="T70" fmla="*/ 122 w 237"/>
                <a:gd name="T71" fmla="*/ 103 h 179"/>
                <a:gd name="T72" fmla="*/ 120 w 237"/>
                <a:gd name="T73" fmla="*/ 94 h 179"/>
                <a:gd name="T74" fmla="*/ 112 w 237"/>
                <a:gd name="T75" fmla="*/ 81 h 179"/>
                <a:gd name="T76" fmla="*/ 109 w 237"/>
                <a:gd name="T77" fmla="*/ 78 h 179"/>
                <a:gd name="T78" fmla="*/ 100 w 237"/>
                <a:gd name="T79" fmla="*/ 79 h 179"/>
                <a:gd name="T80" fmla="*/ 102 w 237"/>
                <a:gd name="T81" fmla="*/ 71 h 179"/>
                <a:gd name="T82" fmla="*/ 109 w 237"/>
                <a:gd name="T83" fmla="*/ 58 h 179"/>
                <a:gd name="T84" fmla="*/ 114 w 237"/>
                <a:gd name="T85" fmla="*/ 40 h 179"/>
                <a:gd name="T86" fmla="*/ 116 w 237"/>
                <a:gd name="T87" fmla="*/ 36 h 179"/>
                <a:gd name="T88" fmla="*/ 125 w 237"/>
                <a:gd name="T89" fmla="*/ 28 h 179"/>
                <a:gd name="T90" fmla="*/ 128 w 237"/>
                <a:gd name="T91" fmla="*/ 23 h 179"/>
                <a:gd name="T92" fmla="*/ 141 w 237"/>
                <a:gd name="T93" fmla="*/ 14 h 179"/>
                <a:gd name="T94" fmla="*/ 151 w 237"/>
                <a:gd name="T95" fmla="*/ 12 h 179"/>
                <a:gd name="T96" fmla="*/ 154 w 237"/>
                <a:gd name="T97" fmla="*/ 7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7" h="179">
                  <a:moveTo>
                    <a:pt x="143" y="0"/>
                  </a:moveTo>
                  <a:cubicBezTo>
                    <a:pt x="143" y="0"/>
                    <a:pt x="143" y="0"/>
                    <a:pt x="142" y="0"/>
                  </a:cubicBezTo>
                  <a:cubicBezTo>
                    <a:pt x="139" y="0"/>
                    <a:pt x="134" y="3"/>
                    <a:pt x="132" y="5"/>
                  </a:cubicBezTo>
                  <a:cubicBezTo>
                    <a:pt x="129" y="6"/>
                    <a:pt x="128" y="11"/>
                    <a:pt x="126" y="14"/>
                  </a:cubicBezTo>
                  <a:cubicBezTo>
                    <a:pt x="122" y="16"/>
                    <a:pt x="118" y="18"/>
                    <a:pt x="114" y="20"/>
                  </a:cubicBezTo>
                  <a:cubicBezTo>
                    <a:pt x="111" y="22"/>
                    <a:pt x="109" y="25"/>
                    <a:pt x="106" y="26"/>
                  </a:cubicBezTo>
                  <a:cubicBezTo>
                    <a:pt x="103" y="27"/>
                    <a:pt x="100" y="28"/>
                    <a:pt x="97" y="28"/>
                  </a:cubicBezTo>
                  <a:cubicBezTo>
                    <a:pt x="94" y="28"/>
                    <a:pt x="92" y="27"/>
                    <a:pt x="89" y="27"/>
                  </a:cubicBezTo>
                  <a:cubicBezTo>
                    <a:pt x="88" y="26"/>
                    <a:pt x="87" y="26"/>
                    <a:pt x="87" y="26"/>
                  </a:cubicBezTo>
                  <a:cubicBezTo>
                    <a:pt x="86" y="26"/>
                    <a:pt x="86" y="26"/>
                    <a:pt x="85" y="26"/>
                  </a:cubicBezTo>
                  <a:cubicBezTo>
                    <a:pt x="83" y="28"/>
                    <a:pt x="82" y="33"/>
                    <a:pt x="81" y="36"/>
                  </a:cubicBezTo>
                  <a:cubicBezTo>
                    <a:pt x="80" y="38"/>
                    <a:pt x="79" y="40"/>
                    <a:pt x="78" y="40"/>
                  </a:cubicBezTo>
                  <a:cubicBezTo>
                    <a:pt x="77" y="40"/>
                    <a:pt x="76" y="39"/>
                    <a:pt x="74" y="38"/>
                  </a:cubicBezTo>
                  <a:cubicBezTo>
                    <a:pt x="74" y="39"/>
                    <a:pt x="74" y="39"/>
                    <a:pt x="74" y="39"/>
                  </a:cubicBezTo>
                  <a:cubicBezTo>
                    <a:pt x="74" y="38"/>
                    <a:pt x="75" y="36"/>
                    <a:pt x="76" y="35"/>
                  </a:cubicBezTo>
                  <a:cubicBezTo>
                    <a:pt x="76" y="34"/>
                    <a:pt x="77" y="34"/>
                    <a:pt x="77" y="34"/>
                  </a:cubicBezTo>
                  <a:cubicBezTo>
                    <a:pt x="78" y="34"/>
                    <a:pt x="78" y="34"/>
                    <a:pt x="78" y="35"/>
                  </a:cubicBezTo>
                  <a:cubicBezTo>
                    <a:pt x="79" y="35"/>
                    <a:pt x="79" y="35"/>
                    <a:pt x="79" y="35"/>
                  </a:cubicBezTo>
                  <a:cubicBezTo>
                    <a:pt x="80" y="35"/>
                    <a:pt x="80" y="35"/>
                    <a:pt x="80" y="35"/>
                  </a:cubicBezTo>
                  <a:cubicBezTo>
                    <a:pt x="80" y="35"/>
                    <a:pt x="81" y="34"/>
                    <a:pt x="81" y="34"/>
                  </a:cubicBezTo>
                  <a:cubicBezTo>
                    <a:pt x="80" y="34"/>
                    <a:pt x="79" y="34"/>
                    <a:pt x="78" y="34"/>
                  </a:cubicBezTo>
                  <a:cubicBezTo>
                    <a:pt x="77" y="34"/>
                    <a:pt x="76" y="34"/>
                    <a:pt x="75" y="34"/>
                  </a:cubicBezTo>
                  <a:cubicBezTo>
                    <a:pt x="74" y="33"/>
                    <a:pt x="70" y="31"/>
                    <a:pt x="68" y="31"/>
                  </a:cubicBezTo>
                  <a:cubicBezTo>
                    <a:pt x="68" y="31"/>
                    <a:pt x="67" y="31"/>
                    <a:pt x="67" y="31"/>
                  </a:cubicBezTo>
                  <a:cubicBezTo>
                    <a:pt x="66" y="33"/>
                    <a:pt x="64" y="36"/>
                    <a:pt x="62" y="37"/>
                  </a:cubicBezTo>
                  <a:cubicBezTo>
                    <a:pt x="61" y="37"/>
                    <a:pt x="59" y="38"/>
                    <a:pt x="59" y="39"/>
                  </a:cubicBezTo>
                  <a:cubicBezTo>
                    <a:pt x="59" y="40"/>
                    <a:pt x="59" y="40"/>
                    <a:pt x="58" y="41"/>
                  </a:cubicBezTo>
                  <a:cubicBezTo>
                    <a:pt x="57" y="42"/>
                    <a:pt x="54" y="42"/>
                    <a:pt x="52" y="44"/>
                  </a:cubicBezTo>
                  <a:cubicBezTo>
                    <a:pt x="50" y="47"/>
                    <a:pt x="51" y="51"/>
                    <a:pt x="48" y="54"/>
                  </a:cubicBezTo>
                  <a:cubicBezTo>
                    <a:pt x="49" y="53"/>
                    <a:pt x="51" y="52"/>
                    <a:pt x="52" y="52"/>
                  </a:cubicBezTo>
                  <a:cubicBezTo>
                    <a:pt x="52" y="55"/>
                    <a:pt x="50" y="59"/>
                    <a:pt x="49" y="63"/>
                  </a:cubicBezTo>
                  <a:cubicBezTo>
                    <a:pt x="47" y="65"/>
                    <a:pt x="51" y="65"/>
                    <a:pt x="50" y="67"/>
                  </a:cubicBezTo>
                  <a:cubicBezTo>
                    <a:pt x="49" y="68"/>
                    <a:pt x="49" y="71"/>
                    <a:pt x="47" y="71"/>
                  </a:cubicBezTo>
                  <a:cubicBezTo>
                    <a:pt x="47" y="71"/>
                    <a:pt x="47" y="71"/>
                    <a:pt x="47" y="71"/>
                  </a:cubicBezTo>
                  <a:cubicBezTo>
                    <a:pt x="46" y="71"/>
                    <a:pt x="46" y="71"/>
                    <a:pt x="46" y="71"/>
                  </a:cubicBezTo>
                  <a:cubicBezTo>
                    <a:pt x="44" y="71"/>
                    <a:pt x="43" y="71"/>
                    <a:pt x="41" y="72"/>
                  </a:cubicBezTo>
                  <a:cubicBezTo>
                    <a:pt x="37" y="74"/>
                    <a:pt x="36" y="79"/>
                    <a:pt x="34" y="82"/>
                  </a:cubicBezTo>
                  <a:cubicBezTo>
                    <a:pt x="32" y="85"/>
                    <a:pt x="26" y="88"/>
                    <a:pt x="23" y="89"/>
                  </a:cubicBezTo>
                  <a:cubicBezTo>
                    <a:pt x="23" y="89"/>
                    <a:pt x="21" y="89"/>
                    <a:pt x="21" y="90"/>
                  </a:cubicBezTo>
                  <a:cubicBezTo>
                    <a:pt x="18" y="92"/>
                    <a:pt x="21" y="94"/>
                    <a:pt x="23" y="97"/>
                  </a:cubicBezTo>
                  <a:cubicBezTo>
                    <a:pt x="23" y="98"/>
                    <a:pt x="24" y="102"/>
                    <a:pt x="24" y="103"/>
                  </a:cubicBezTo>
                  <a:cubicBezTo>
                    <a:pt x="24" y="104"/>
                    <a:pt x="24" y="106"/>
                    <a:pt x="24" y="106"/>
                  </a:cubicBezTo>
                  <a:cubicBezTo>
                    <a:pt x="24" y="106"/>
                    <a:pt x="23" y="106"/>
                    <a:pt x="23" y="106"/>
                  </a:cubicBezTo>
                  <a:cubicBezTo>
                    <a:pt x="22" y="106"/>
                    <a:pt x="22" y="105"/>
                    <a:pt x="21" y="104"/>
                  </a:cubicBezTo>
                  <a:cubicBezTo>
                    <a:pt x="19" y="99"/>
                    <a:pt x="15" y="95"/>
                    <a:pt x="11" y="91"/>
                  </a:cubicBezTo>
                  <a:cubicBezTo>
                    <a:pt x="11" y="91"/>
                    <a:pt x="11" y="92"/>
                    <a:pt x="11" y="92"/>
                  </a:cubicBezTo>
                  <a:cubicBezTo>
                    <a:pt x="12" y="93"/>
                    <a:pt x="12" y="95"/>
                    <a:pt x="13" y="97"/>
                  </a:cubicBezTo>
                  <a:cubicBezTo>
                    <a:pt x="14" y="98"/>
                    <a:pt x="15" y="101"/>
                    <a:pt x="17" y="104"/>
                  </a:cubicBezTo>
                  <a:cubicBezTo>
                    <a:pt x="18" y="107"/>
                    <a:pt x="18" y="107"/>
                    <a:pt x="18" y="107"/>
                  </a:cubicBezTo>
                  <a:cubicBezTo>
                    <a:pt x="16" y="108"/>
                    <a:pt x="16" y="108"/>
                    <a:pt x="16" y="108"/>
                  </a:cubicBezTo>
                  <a:cubicBezTo>
                    <a:pt x="13" y="110"/>
                    <a:pt x="12" y="111"/>
                    <a:pt x="10" y="113"/>
                  </a:cubicBezTo>
                  <a:cubicBezTo>
                    <a:pt x="8" y="116"/>
                    <a:pt x="7" y="118"/>
                    <a:pt x="5" y="118"/>
                  </a:cubicBezTo>
                  <a:cubicBezTo>
                    <a:pt x="5" y="118"/>
                    <a:pt x="5" y="118"/>
                    <a:pt x="5" y="118"/>
                  </a:cubicBezTo>
                  <a:cubicBezTo>
                    <a:pt x="3" y="118"/>
                    <a:pt x="3" y="118"/>
                    <a:pt x="3" y="118"/>
                  </a:cubicBezTo>
                  <a:cubicBezTo>
                    <a:pt x="3" y="119"/>
                    <a:pt x="2" y="120"/>
                    <a:pt x="1" y="121"/>
                  </a:cubicBezTo>
                  <a:cubicBezTo>
                    <a:pt x="1" y="122"/>
                    <a:pt x="1" y="122"/>
                    <a:pt x="1" y="122"/>
                  </a:cubicBezTo>
                  <a:cubicBezTo>
                    <a:pt x="1" y="125"/>
                    <a:pt x="1" y="125"/>
                    <a:pt x="1" y="125"/>
                  </a:cubicBezTo>
                  <a:cubicBezTo>
                    <a:pt x="0" y="125"/>
                    <a:pt x="0" y="125"/>
                    <a:pt x="0" y="125"/>
                  </a:cubicBezTo>
                  <a:cubicBezTo>
                    <a:pt x="2" y="128"/>
                    <a:pt x="4" y="130"/>
                    <a:pt x="6" y="133"/>
                  </a:cubicBezTo>
                  <a:cubicBezTo>
                    <a:pt x="7" y="134"/>
                    <a:pt x="9" y="136"/>
                    <a:pt x="10" y="137"/>
                  </a:cubicBezTo>
                  <a:cubicBezTo>
                    <a:pt x="10" y="140"/>
                    <a:pt x="7" y="142"/>
                    <a:pt x="7" y="145"/>
                  </a:cubicBezTo>
                  <a:cubicBezTo>
                    <a:pt x="7" y="148"/>
                    <a:pt x="10" y="151"/>
                    <a:pt x="11" y="154"/>
                  </a:cubicBezTo>
                  <a:cubicBezTo>
                    <a:pt x="11" y="154"/>
                    <a:pt x="12" y="155"/>
                    <a:pt x="12" y="156"/>
                  </a:cubicBezTo>
                  <a:cubicBezTo>
                    <a:pt x="12" y="159"/>
                    <a:pt x="6" y="160"/>
                    <a:pt x="6" y="162"/>
                  </a:cubicBezTo>
                  <a:cubicBezTo>
                    <a:pt x="8" y="164"/>
                    <a:pt x="10" y="167"/>
                    <a:pt x="10" y="169"/>
                  </a:cubicBezTo>
                  <a:cubicBezTo>
                    <a:pt x="10" y="172"/>
                    <a:pt x="10" y="175"/>
                    <a:pt x="10" y="179"/>
                  </a:cubicBezTo>
                  <a:cubicBezTo>
                    <a:pt x="227" y="179"/>
                    <a:pt x="227" y="179"/>
                    <a:pt x="227" y="179"/>
                  </a:cubicBezTo>
                  <a:cubicBezTo>
                    <a:pt x="227" y="178"/>
                    <a:pt x="227" y="177"/>
                    <a:pt x="227" y="176"/>
                  </a:cubicBezTo>
                  <a:cubicBezTo>
                    <a:pt x="227" y="174"/>
                    <a:pt x="228" y="171"/>
                    <a:pt x="228" y="168"/>
                  </a:cubicBezTo>
                  <a:cubicBezTo>
                    <a:pt x="228" y="167"/>
                    <a:pt x="228" y="167"/>
                    <a:pt x="228" y="167"/>
                  </a:cubicBezTo>
                  <a:cubicBezTo>
                    <a:pt x="228" y="164"/>
                    <a:pt x="230" y="162"/>
                    <a:pt x="231" y="160"/>
                  </a:cubicBezTo>
                  <a:cubicBezTo>
                    <a:pt x="232" y="159"/>
                    <a:pt x="232" y="159"/>
                    <a:pt x="232" y="158"/>
                  </a:cubicBezTo>
                  <a:cubicBezTo>
                    <a:pt x="233" y="158"/>
                    <a:pt x="233" y="157"/>
                    <a:pt x="234" y="157"/>
                  </a:cubicBezTo>
                  <a:cubicBezTo>
                    <a:pt x="234" y="156"/>
                    <a:pt x="234" y="156"/>
                    <a:pt x="234" y="156"/>
                  </a:cubicBezTo>
                  <a:cubicBezTo>
                    <a:pt x="235" y="155"/>
                    <a:pt x="236" y="154"/>
                    <a:pt x="236" y="152"/>
                  </a:cubicBezTo>
                  <a:cubicBezTo>
                    <a:pt x="237" y="151"/>
                    <a:pt x="237" y="150"/>
                    <a:pt x="237" y="149"/>
                  </a:cubicBezTo>
                  <a:cubicBezTo>
                    <a:pt x="237" y="147"/>
                    <a:pt x="233" y="147"/>
                    <a:pt x="232" y="147"/>
                  </a:cubicBezTo>
                  <a:cubicBezTo>
                    <a:pt x="231" y="147"/>
                    <a:pt x="230" y="147"/>
                    <a:pt x="230" y="147"/>
                  </a:cubicBezTo>
                  <a:cubicBezTo>
                    <a:pt x="227" y="147"/>
                    <a:pt x="223" y="147"/>
                    <a:pt x="220" y="148"/>
                  </a:cubicBezTo>
                  <a:cubicBezTo>
                    <a:pt x="218" y="148"/>
                    <a:pt x="216" y="148"/>
                    <a:pt x="214" y="149"/>
                  </a:cubicBezTo>
                  <a:cubicBezTo>
                    <a:pt x="211" y="149"/>
                    <a:pt x="211" y="149"/>
                    <a:pt x="211" y="149"/>
                  </a:cubicBezTo>
                  <a:cubicBezTo>
                    <a:pt x="209" y="149"/>
                    <a:pt x="207" y="149"/>
                    <a:pt x="204" y="150"/>
                  </a:cubicBezTo>
                  <a:cubicBezTo>
                    <a:pt x="204" y="150"/>
                    <a:pt x="204" y="150"/>
                    <a:pt x="204" y="150"/>
                  </a:cubicBezTo>
                  <a:cubicBezTo>
                    <a:pt x="204" y="150"/>
                    <a:pt x="203" y="150"/>
                    <a:pt x="202" y="150"/>
                  </a:cubicBezTo>
                  <a:cubicBezTo>
                    <a:pt x="199" y="151"/>
                    <a:pt x="197" y="151"/>
                    <a:pt x="195" y="151"/>
                  </a:cubicBezTo>
                  <a:cubicBezTo>
                    <a:pt x="194" y="151"/>
                    <a:pt x="193" y="151"/>
                    <a:pt x="192" y="150"/>
                  </a:cubicBezTo>
                  <a:cubicBezTo>
                    <a:pt x="189" y="149"/>
                    <a:pt x="186" y="145"/>
                    <a:pt x="183" y="140"/>
                  </a:cubicBezTo>
                  <a:cubicBezTo>
                    <a:pt x="183" y="139"/>
                    <a:pt x="182" y="139"/>
                    <a:pt x="182" y="138"/>
                  </a:cubicBezTo>
                  <a:cubicBezTo>
                    <a:pt x="181" y="137"/>
                    <a:pt x="181" y="137"/>
                    <a:pt x="181" y="137"/>
                  </a:cubicBezTo>
                  <a:cubicBezTo>
                    <a:pt x="180" y="136"/>
                    <a:pt x="179" y="135"/>
                    <a:pt x="179" y="134"/>
                  </a:cubicBezTo>
                  <a:cubicBezTo>
                    <a:pt x="176" y="131"/>
                    <a:pt x="176" y="131"/>
                    <a:pt x="172" y="130"/>
                  </a:cubicBezTo>
                  <a:cubicBezTo>
                    <a:pt x="170" y="129"/>
                    <a:pt x="167" y="129"/>
                    <a:pt x="165" y="128"/>
                  </a:cubicBezTo>
                  <a:cubicBezTo>
                    <a:pt x="164" y="128"/>
                    <a:pt x="162" y="129"/>
                    <a:pt x="161" y="129"/>
                  </a:cubicBezTo>
                  <a:cubicBezTo>
                    <a:pt x="159" y="130"/>
                    <a:pt x="158" y="130"/>
                    <a:pt x="156" y="130"/>
                  </a:cubicBezTo>
                  <a:cubicBezTo>
                    <a:pt x="155" y="131"/>
                    <a:pt x="154" y="131"/>
                    <a:pt x="153" y="131"/>
                  </a:cubicBezTo>
                  <a:cubicBezTo>
                    <a:pt x="151" y="131"/>
                    <a:pt x="150" y="130"/>
                    <a:pt x="148" y="130"/>
                  </a:cubicBezTo>
                  <a:cubicBezTo>
                    <a:pt x="147" y="130"/>
                    <a:pt x="146" y="130"/>
                    <a:pt x="145" y="130"/>
                  </a:cubicBezTo>
                  <a:cubicBezTo>
                    <a:pt x="144" y="130"/>
                    <a:pt x="143" y="130"/>
                    <a:pt x="142" y="130"/>
                  </a:cubicBezTo>
                  <a:cubicBezTo>
                    <a:pt x="141" y="130"/>
                    <a:pt x="140" y="130"/>
                    <a:pt x="138" y="130"/>
                  </a:cubicBezTo>
                  <a:cubicBezTo>
                    <a:pt x="137" y="130"/>
                    <a:pt x="137" y="130"/>
                    <a:pt x="136" y="130"/>
                  </a:cubicBezTo>
                  <a:cubicBezTo>
                    <a:pt x="135" y="130"/>
                    <a:pt x="134" y="130"/>
                    <a:pt x="133" y="129"/>
                  </a:cubicBezTo>
                  <a:cubicBezTo>
                    <a:pt x="131" y="128"/>
                    <a:pt x="130" y="126"/>
                    <a:pt x="129" y="124"/>
                  </a:cubicBezTo>
                  <a:cubicBezTo>
                    <a:pt x="129" y="124"/>
                    <a:pt x="129" y="123"/>
                    <a:pt x="129" y="123"/>
                  </a:cubicBezTo>
                  <a:cubicBezTo>
                    <a:pt x="129" y="122"/>
                    <a:pt x="128" y="122"/>
                    <a:pt x="128" y="122"/>
                  </a:cubicBezTo>
                  <a:cubicBezTo>
                    <a:pt x="128" y="121"/>
                    <a:pt x="128" y="121"/>
                    <a:pt x="127" y="121"/>
                  </a:cubicBezTo>
                  <a:cubicBezTo>
                    <a:pt x="126" y="121"/>
                    <a:pt x="126" y="121"/>
                    <a:pt x="125" y="120"/>
                  </a:cubicBezTo>
                  <a:cubicBezTo>
                    <a:pt x="122" y="120"/>
                    <a:pt x="121" y="118"/>
                    <a:pt x="121" y="115"/>
                  </a:cubicBezTo>
                  <a:cubicBezTo>
                    <a:pt x="120" y="110"/>
                    <a:pt x="120" y="106"/>
                    <a:pt x="122" y="103"/>
                  </a:cubicBezTo>
                  <a:cubicBezTo>
                    <a:pt x="122" y="103"/>
                    <a:pt x="123" y="102"/>
                    <a:pt x="123" y="102"/>
                  </a:cubicBezTo>
                  <a:cubicBezTo>
                    <a:pt x="122" y="99"/>
                    <a:pt x="122" y="97"/>
                    <a:pt x="121" y="95"/>
                  </a:cubicBezTo>
                  <a:cubicBezTo>
                    <a:pt x="120" y="94"/>
                    <a:pt x="120" y="94"/>
                    <a:pt x="120" y="94"/>
                  </a:cubicBezTo>
                  <a:cubicBezTo>
                    <a:pt x="116" y="86"/>
                    <a:pt x="116" y="86"/>
                    <a:pt x="116" y="86"/>
                  </a:cubicBezTo>
                  <a:cubicBezTo>
                    <a:pt x="116" y="84"/>
                    <a:pt x="115" y="82"/>
                    <a:pt x="114" y="81"/>
                  </a:cubicBezTo>
                  <a:cubicBezTo>
                    <a:pt x="114" y="81"/>
                    <a:pt x="113" y="81"/>
                    <a:pt x="112" y="81"/>
                  </a:cubicBezTo>
                  <a:cubicBezTo>
                    <a:pt x="111" y="81"/>
                    <a:pt x="110" y="80"/>
                    <a:pt x="110" y="80"/>
                  </a:cubicBezTo>
                  <a:cubicBezTo>
                    <a:pt x="109" y="79"/>
                    <a:pt x="109" y="79"/>
                    <a:pt x="109" y="79"/>
                  </a:cubicBezTo>
                  <a:cubicBezTo>
                    <a:pt x="109" y="79"/>
                    <a:pt x="109" y="78"/>
                    <a:pt x="109" y="78"/>
                  </a:cubicBezTo>
                  <a:cubicBezTo>
                    <a:pt x="107" y="79"/>
                    <a:pt x="105" y="79"/>
                    <a:pt x="104" y="80"/>
                  </a:cubicBezTo>
                  <a:cubicBezTo>
                    <a:pt x="102" y="80"/>
                    <a:pt x="102" y="80"/>
                    <a:pt x="102" y="80"/>
                  </a:cubicBezTo>
                  <a:cubicBezTo>
                    <a:pt x="100" y="79"/>
                    <a:pt x="100" y="79"/>
                    <a:pt x="100" y="79"/>
                  </a:cubicBezTo>
                  <a:cubicBezTo>
                    <a:pt x="99" y="77"/>
                    <a:pt x="100" y="74"/>
                    <a:pt x="101" y="73"/>
                  </a:cubicBezTo>
                  <a:cubicBezTo>
                    <a:pt x="101" y="72"/>
                    <a:pt x="101" y="72"/>
                    <a:pt x="101" y="72"/>
                  </a:cubicBezTo>
                  <a:cubicBezTo>
                    <a:pt x="102" y="72"/>
                    <a:pt x="102" y="71"/>
                    <a:pt x="102" y="71"/>
                  </a:cubicBezTo>
                  <a:cubicBezTo>
                    <a:pt x="102" y="71"/>
                    <a:pt x="102" y="71"/>
                    <a:pt x="102" y="71"/>
                  </a:cubicBezTo>
                  <a:cubicBezTo>
                    <a:pt x="105" y="67"/>
                    <a:pt x="107" y="64"/>
                    <a:pt x="108" y="60"/>
                  </a:cubicBezTo>
                  <a:cubicBezTo>
                    <a:pt x="108" y="59"/>
                    <a:pt x="108" y="59"/>
                    <a:pt x="109" y="58"/>
                  </a:cubicBezTo>
                  <a:cubicBezTo>
                    <a:pt x="109" y="56"/>
                    <a:pt x="109" y="55"/>
                    <a:pt x="109" y="53"/>
                  </a:cubicBezTo>
                  <a:cubicBezTo>
                    <a:pt x="109" y="51"/>
                    <a:pt x="110" y="49"/>
                    <a:pt x="110" y="47"/>
                  </a:cubicBezTo>
                  <a:cubicBezTo>
                    <a:pt x="111" y="44"/>
                    <a:pt x="112" y="42"/>
                    <a:pt x="114" y="40"/>
                  </a:cubicBezTo>
                  <a:cubicBezTo>
                    <a:pt x="114" y="40"/>
                    <a:pt x="114" y="40"/>
                    <a:pt x="114" y="40"/>
                  </a:cubicBezTo>
                  <a:cubicBezTo>
                    <a:pt x="114" y="39"/>
                    <a:pt x="115" y="38"/>
                    <a:pt x="115" y="37"/>
                  </a:cubicBezTo>
                  <a:cubicBezTo>
                    <a:pt x="116" y="36"/>
                    <a:pt x="116" y="36"/>
                    <a:pt x="116" y="36"/>
                  </a:cubicBezTo>
                  <a:cubicBezTo>
                    <a:pt x="116" y="36"/>
                    <a:pt x="116" y="36"/>
                    <a:pt x="116" y="36"/>
                  </a:cubicBezTo>
                  <a:cubicBezTo>
                    <a:pt x="117" y="34"/>
                    <a:pt x="118" y="31"/>
                    <a:pt x="121" y="30"/>
                  </a:cubicBezTo>
                  <a:cubicBezTo>
                    <a:pt x="122" y="29"/>
                    <a:pt x="124" y="28"/>
                    <a:pt x="125" y="28"/>
                  </a:cubicBezTo>
                  <a:cubicBezTo>
                    <a:pt x="126" y="28"/>
                    <a:pt x="126" y="27"/>
                    <a:pt x="127" y="27"/>
                  </a:cubicBezTo>
                  <a:cubicBezTo>
                    <a:pt x="127" y="26"/>
                    <a:pt x="127" y="26"/>
                    <a:pt x="127" y="26"/>
                  </a:cubicBezTo>
                  <a:cubicBezTo>
                    <a:pt x="127" y="25"/>
                    <a:pt x="128" y="24"/>
                    <a:pt x="128" y="23"/>
                  </a:cubicBezTo>
                  <a:cubicBezTo>
                    <a:pt x="130" y="20"/>
                    <a:pt x="131" y="17"/>
                    <a:pt x="133" y="16"/>
                  </a:cubicBezTo>
                  <a:cubicBezTo>
                    <a:pt x="134" y="15"/>
                    <a:pt x="137" y="14"/>
                    <a:pt x="139" y="14"/>
                  </a:cubicBezTo>
                  <a:cubicBezTo>
                    <a:pt x="140" y="14"/>
                    <a:pt x="140" y="14"/>
                    <a:pt x="141" y="14"/>
                  </a:cubicBezTo>
                  <a:cubicBezTo>
                    <a:pt x="144" y="13"/>
                    <a:pt x="144" y="13"/>
                    <a:pt x="144" y="13"/>
                  </a:cubicBezTo>
                  <a:cubicBezTo>
                    <a:pt x="145" y="12"/>
                    <a:pt x="147" y="12"/>
                    <a:pt x="149" y="12"/>
                  </a:cubicBezTo>
                  <a:cubicBezTo>
                    <a:pt x="151" y="12"/>
                    <a:pt x="151" y="12"/>
                    <a:pt x="151" y="12"/>
                  </a:cubicBezTo>
                  <a:cubicBezTo>
                    <a:pt x="151" y="13"/>
                    <a:pt x="151" y="13"/>
                    <a:pt x="151" y="13"/>
                  </a:cubicBezTo>
                  <a:cubicBezTo>
                    <a:pt x="151" y="12"/>
                    <a:pt x="152" y="12"/>
                    <a:pt x="152" y="11"/>
                  </a:cubicBezTo>
                  <a:cubicBezTo>
                    <a:pt x="154" y="9"/>
                    <a:pt x="155" y="10"/>
                    <a:pt x="154" y="7"/>
                  </a:cubicBezTo>
                  <a:cubicBezTo>
                    <a:pt x="153" y="5"/>
                    <a:pt x="152" y="3"/>
                    <a:pt x="150" y="2"/>
                  </a:cubicBezTo>
                  <a:cubicBezTo>
                    <a:pt x="148" y="1"/>
                    <a:pt x="145" y="0"/>
                    <a:pt x="14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2" name="Freeform 379">
              <a:extLst>
                <a:ext uri="{FF2B5EF4-FFF2-40B4-BE49-F238E27FC236}">
                  <a16:creationId xmlns:a16="http://schemas.microsoft.com/office/drawing/2014/main" id="{B1069BED-38EC-418C-B1BE-6455686C0E91}"/>
                </a:ext>
              </a:extLst>
            </p:cNvPr>
            <p:cNvSpPr>
              <a:spLocks noEditPoints="1"/>
            </p:cNvSpPr>
            <p:nvPr/>
          </p:nvSpPr>
          <p:spPr bwMode="auto">
            <a:xfrm>
              <a:off x="9555154" y="8065322"/>
              <a:ext cx="1141413" cy="649288"/>
            </a:xfrm>
            <a:custGeom>
              <a:avLst/>
              <a:gdLst>
                <a:gd name="T0" fmla="*/ 256 w 304"/>
                <a:gd name="T1" fmla="*/ 54 h 173"/>
                <a:gd name="T2" fmla="*/ 256 w 304"/>
                <a:gd name="T3" fmla="*/ 54 h 173"/>
                <a:gd name="T4" fmla="*/ 66 w 304"/>
                <a:gd name="T5" fmla="*/ 4 h 173"/>
                <a:gd name="T6" fmla="*/ 71 w 304"/>
                <a:gd name="T7" fmla="*/ 13 h 173"/>
                <a:gd name="T8" fmla="*/ 71 w 304"/>
                <a:gd name="T9" fmla="*/ 16 h 173"/>
                <a:gd name="T10" fmla="*/ 40 w 304"/>
                <a:gd name="T11" fmla="*/ 28 h 173"/>
                <a:gd name="T12" fmla="*/ 36 w 304"/>
                <a:gd name="T13" fmla="*/ 74 h 173"/>
                <a:gd name="T14" fmla="*/ 23 w 304"/>
                <a:gd name="T15" fmla="*/ 57 h 173"/>
                <a:gd name="T16" fmla="*/ 32 w 304"/>
                <a:gd name="T17" fmla="*/ 28 h 173"/>
                <a:gd name="T18" fmla="*/ 23 w 304"/>
                <a:gd name="T19" fmla="*/ 23 h 173"/>
                <a:gd name="T20" fmla="*/ 11 w 304"/>
                <a:gd name="T21" fmla="*/ 34 h 173"/>
                <a:gd name="T22" fmla="*/ 7 w 304"/>
                <a:gd name="T23" fmla="*/ 42 h 173"/>
                <a:gd name="T24" fmla="*/ 0 w 304"/>
                <a:gd name="T25" fmla="*/ 66 h 173"/>
                <a:gd name="T26" fmla="*/ 5 w 304"/>
                <a:gd name="T27" fmla="*/ 69 h 173"/>
                <a:gd name="T28" fmla="*/ 10 w 304"/>
                <a:gd name="T29" fmla="*/ 72 h 173"/>
                <a:gd name="T30" fmla="*/ 19 w 304"/>
                <a:gd name="T31" fmla="*/ 97 h 173"/>
                <a:gd name="T32" fmla="*/ 24 w 304"/>
                <a:gd name="T33" fmla="*/ 113 h 173"/>
                <a:gd name="T34" fmla="*/ 27 w 304"/>
                <a:gd name="T35" fmla="*/ 118 h 173"/>
                <a:gd name="T36" fmla="*/ 37 w 304"/>
                <a:gd name="T37" fmla="*/ 118 h 173"/>
                <a:gd name="T38" fmla="*/ 46 w 304"/>
                <a:gd name="T39" fmla="*/ 119 h 173"/>
                <a:gd name="T40" fmla="*/ 74 w 304"/>
                <a:gd name="T41" fmla="*/ 124 h 173"/>
                <a:gd name="T42" fmla="*/ 86 w 304"/>
                <a:gd name="T43" fmla="*/ 139 h 173"/>
                <a:gd name="T44" fmla="*/ 102 w 304"/>
                <a:gd name="T45" fmla="*/ 137 h 173"/>
                <a:gd name="T46" fmla="*/ 123 w 304"/>
                <a:gd name="T47" fmla="*/ 135 h 173"/>
                <a:gd name="T48" fmla="*/ 128 w 304"/>
                <a:gd name="T49" fmla="*/ 155 h 173"/>
                <a:gd name="T50" fmla="*/ 124 w 304"/>
                <a:gd name="T51" fmla="*/ 170 h 173"/>
                <a:gd name="T52" fmla="*/ 281 w 304"/>
                <a:gd name="T53" fmla="*/ 167 h 173"/>
                <a:gd name="T54" fmla="*/ 286 w 304"/>
                <a:gd name="T55" fmla="*/ 167 h 173"/>
                <a:gd name="T56" fmla="*/ 280 w 304"/>
                <a:gd name="T57" fmla="*/ 161 h 173"/>
                <a:gd name="T58" fmla="*/ 273 w 304"/>
                <a:gd name="T59" fmla="*/ 141 h 173"/>
                <a:gd name="T60" fmla="*/ 274 w 304"/>
                <a:gd name="T61" fmla="*/ 134 h 173"/>
                <a:gd name="T62" fmla="*/ 279 w 304"/>
                <a:gd name="T63" fmla="*/ 125 h 173"/>
                <a:gd name="T64" fmla="*/ 286 w 304"/>
                <a:gd name="T65" fmla="*/ 124 h 173"/>
                <a:gd name="T66" fmla="*/ 293 w 304"/>
                <a:gd name="T67" fmla="*/ 121 h 173"/>
                <a:gd name="T68" fmla="*/ 289 w 304"/>
                <a:gd name="T69" fmla="*/ 120 h 173"/>
                <a:gd name="T70" fmla="*/ 286 w 304"/>
                <a:gd name="T71" fmla="*/ 116 h 173"/>
                <a:gd name="T72" fmla="*/ 287 w 304"/>
                <a:gd name="T73" fmla="*/ 104 h 173"/>
                <a:gd name="T74" fmla="*/ 304 w 304"/>
                <a:gd name="T75" fmla="*/ 91 h 173"/>
                <a:gd name="T76" fmla="*/ 300 w 304"/>
                <a:gd name="T77" fmla="*/ 84 h 173"/>
                <a:gd name="T78" fmla="*/ 274 w 304"/>
                <a:gd name="T79" fmla="*/ 89 h 173"/>
                <a:gd name="T80" fmla="*/ 269 w 304"/>
                <a:gd name="T81" fmla="*/ 84 h 173"/>
                <a:gd name="T82" fmla="*/ 274 w 304"/>
                <a:gd name="T83" fmla="*/ 85 h 173"/>
                <a:gd name="T84" fmla="*/ 266 w 304"/>
                <a:gd name="T85" fmla="*/ 54 h 173"/>
                <a:gd name="T86" fmla="*/ 253 w 304"/>
                <a:gd name="T87" fmla="*/ 59 h 173"/>
                <a:gd name="T88" fmla="*/ 244 w 304"/>
                <a:gd name="T89" fmla="*/ 48 h 173"/>
                <a:gd name="T90" fmla="*/ 238 w 304"/>
                <a:gd name="T91" fmla="*/ 50 h 173"/>
                <a:gd name="T92" fmla="*/ 241 w 304"/>
                <a:gd name="T93" fmla="*/ 50 h 173"/>
                <a:gd name="T94" fmla="*/ 234 w 304"/>
                <a:gd name="T95" fmla="*/ 40 h 173"/>
                <a:gd name="T96" fmla="*/ 260 w 304"/>
                <a:gd name="T97" fmla="*/ 34 h 173"/>
                <a:gd name="T98" fmla="*/ 208 w 304"/>
                <a:gd name="T99" fmla="*/ 37 h 173"/>
                <a:gd name="T100" fmla="*/ 214 w 304"/>
                <a:gd name="T101" fmla="*/ 39 h 173"/>
                <a:gd name="T102" fmla="*/ 182 w 304"/>
                <a:gd name="T103" fmla="*/ 49 h 173"/>
                <a:gd name="T104" fmla="*/ 149 w 304"/>
                <a:gd name="T105" fmla="*/ 40 h 173"/>
                <a:gd name="T106" fmla="*/ 122 w 304"/>
                <a:gd name="T107" fmla="*/ 40 h 173"/>
                <a:gd name="T108" fmla="*/ 88 w 304"/>
                <a:gd name="T109" fmla="*/ 1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4" h="173">
                  <a:moveTo>
                    <a:pt x="205" y="36"/>
                  </a:moveTo>
                  <a:cubicBezTo>
                    <a:pt x="205" y="36"/>
                    <a:pt x="205" y="36"/>
                    <a:pt x="205" y="36"/>
                  </a:cubicBezTo>
                  <a:cubicBezTo>
                    <a:pt x="205" y="36"/>
                    <a:pt x="205" y="36"/>
                    <a:pt x="205" y="36"/>
                  </a:cubicBezTo>
                  <a:moveTo>
                    <a:pt x="256" y="54"/>
                  </a:move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moveTo>
                    <a:pt x="71" y="0"/>
                  </a:moveTo>
                  <a:cubicBezTo>
                    <a:pt x="69" y="0"/>
                    <a:pt x="67" y="1"/>
                    <a:pt x="66" y="4"/>
                  </a:cubicBezTo>
                  <a:cubicBezTo>
                    <a:pt x="65" y="6"/>
                    <a:pt x="65" y="7"/>
                    <a:pt x="66" y="9"/>
                  </a:cubicBezTo>
                  <a:cubicBezTo>
                    <a:pt x="67" y="11"/>
                    <a:pt x="67" y="13"/>
                    <a:pt x="69" y="13"/>
                  </a:cubicBezTo>
                  <a:cubicBezTo>
                    <a:pt x="69" y="13"/>
                    <a:pt x="69" y="13"/>
                    <a:pt x="69" y="13"/>
                  </a:cubicBezTo>
                  <a:cubicBezTo>
                    <a:pt x="70" y="13"/>
                    <a:pt x="70" y="13"/>
                    <a:pt x="70" y="13"/>
                  </a:cubicBezTo>
                  <a:cubicBezTo>
                    <a:pt x="71" y="13"/>
                    <a:pt x="71" y="13"/>
                    <a:pt x="71" y="13"/>
                  </a:cubicBezTo>
                  <a:cubicBezTo>
                    <a:pt x="73" y="13"/>
                    <a:pt x="74" y="12"/>
                    <a:pt x="76" y="12"/>
                  </a:cubicBezTo>
                  <a:cubicBezTo>
                    <a:pt x="77" y="13"/>
                    <a:pt x="77" y="15"/>
                    <a:pt x="77" y="16"/>
                  </a:cubicBezTo>
                  <a:cubicBezTo>
                    <a:pt x="77" y="16"/>
                    <a:pt x="76" y="16"/>
                    <a:pt x="75" y="16"/>
                  </a:cubicBezTo>
                  <a:cubicBezTo>
                    <a:pt x="72" y="16"/>
                    <a:pt x="70" y="16"/>
                    <a:pt x="69" y="15"/>
                  </a:cubicBezTo>
                  <a:cubicBezTo>
                    <a:pt x="69" y="15"/>
                    <a:pt x="70" y="16"/>
                    <a:pt x="71" y="16"/>
                  </a:cubicBezTo>
                  <a:cubicBezTo>
                    <a:pt x="70" y="18"/>
                    <a:pt x="68" y="19"/>
                    <a:pt x="67" y="19"/>
                  </a:cubicBezTo>
                  <a:cubicBezTo>
                    <a:pt x="61" y="20"/>
                    <a:pt x="55" y="23"/>
                    <a:pt x="50" y="24"/>
                  </a:cubicBezTo>
                  <a:cubicBezTo>
                    <a:pt x="47" y="25"/>
                    <a:pt x="44" y="27"/>
                    <a:pt x="42" y="28"/>
                  </a:cubicBezTo>
                  <a:cubicBezTo>
                    <a:pt x="42" y="28"/>
                    <a:pt x="41" y="28"/>
                    <a:pt x="41" y="28"/>
                  </a:cubicBezTo>
                  <a:cubicBezTo>
                    <a:pt x="41" y="28"/>
                    <a:pt x="40" y="28"/>
                    <a:pt x="40" y="28"/>
                  </a:cubicBezTo>
                  <a:cubicBezTo>
                    <a:pt x="40" y="28"/>
                    <a:pt x="39" y="28"/>
                    <a:pt x="39" y="28"/>
                  </a:cubicBezTo>
                  <a:cubicBezTo>
                    <a:pt x="39" y="28"/>
                    <a:pt x="38" y="28"/>
                    <a:pt x="38" y="29"/>
                  </a:cubicBezTo>
                  <a:cubicBezTo>
                    <a:pt x="32" y="32"/>
                    <a:pt x="43" y="52"/>
                    <a:pt x="45" y="56"/>
                  </a:cubicBezTo>
                  <a:cubicBezTo>
                    <a:pt x="48" y="62"/>
                    <a:pt x="48" y="67"/>
                    <a:pt x="43" y="71"/>
                  </a:cubicBezTo>
                  <a:cubicBezTo>
                    <a:pt x="41" y="72"/>
                    <a:pt x="39" y="73"/>
                    <a:pt x="36" y="74"/>
                  </a:cubicBezTo>
                  <a:cubicBezTo>
                    <a:pt x="36" y="74"/>
                    <a:pt x="35" y="74"/>
                    <a:pt x="34" y="74"/>
                  </a:cubicBezTo>
                  <a:cubicBezTo>
                    <a:pt x="34" y="74"/>
                    <a:pt x="33" y="74"/>
                    <a:pt x="33" y="73"/>
                  </a:cubicBezTo>
                  <a:cubicBezTo>
                    <a:pt x="31" y="73"/>
                    <a:pt x="32" y="70"/>
                    <a:pt x="31" y="68"/>
                  </a:cubicBezTo>
                  <a:cubicBezTo>
                    <a:pt x="31" y="66"/>
                    <a:pt x="30" y="65"/>
                    <a:pt x="28" y="64"/>
                  </a:cubicBezTo>
                  <a:cubicBezTo>
                    <a:pt x="27" y="63"/>
                    <a:pt x="24" y="59"/>
                    <a:pt x="23" y="57"/>
                  </a:cubicBezTo>
                  <a:cubicBezTo>
                    <a:pt x="22" y="55"/>
                    <a:pt x="24" y="53"/>
                    <a:pt x="26" y="50"/>
                  </a:cubicBezTo>
                  <a:cubicBezTo>
                    <a:pt x="27" y="47"/>
                    <a:pt x="30" y="45"/>
                    <a:pt x="32" y="42"/>
                  </a:cubicBezTo>
                  <a:cubicBezTo>
                    <a:pt x="34" y="39"/>
                    <a:pt x="33" y="37"/>
                    <a:pt x="33" y="33"/>
                  </a:cubicBezTo>
                  <a:cubicBezTo>
                    <a:pt x="33" y="32"/>
                    <a:pt x="32" y="29"/>
                    <a:pt x="31" y="28"/>
                  </a:cubicBezTo>
                  <a:cubicBezTo>
                    <a:pt x="31" y="28"/>
                    <a:pt x="32" y="28"/>
                    <a:pt x="32" y="28"/>
                  </a:cubicBezTo>
                  <a:cubicBezTo>
                    <a:pt x="33" y="28"/>
                    <a:pt x="33" y="28"/>
                    <a:pt x="34" y="28"/>
                  </a:cubicBezTo>
                  <a:cubicBezTo>
                    <a:pt x="31" y="26"/>
                    <a:pt x="29" y="24"/>
                    <a:pt x="27" y="21"/>
                  </a:cubicBezTo>
                  <a:cubicBezTo>
                    <a:pt x="27" y="20"/>
                    <a:pt x="26" y="18"/>
                    <a:pt x="26" y="17"/>
                  </a:cubicBezTo>
                  <a:cubicBezTo>
                    <a:pt x="26" y="17"/>
                    <a:pt x="25" y="18"/>
                    <a:pt x="25" y="20"/>
                  </a:cubicBezTo>
                  <a:cubicBezTo>
                    <a:pt x="24" y="21"/>
                    <a:pt x="24" y="22"/>
                    <a:pt x="23" y="23"/>
                  </a:cubicBezTo>
                  <a:cubicBezTo>
                    <a:pt x="23" y="24"/>
                    <a:pt x="22" y="24"/>
                    <a:pt x="22" y="24"/>
                  </a:cubicBezTo>
                  <a:cubicBezTo>
                    <a:pt x="21" y="26"/>
                    <a:pt x="19" y="27"/>
                    <a:pt x="17" y="27"/>
                  </a:cubicBezTo>
                  <a:cubicBezTo>
                    <a:pt x="16" y="28"/>
                    <a:pt x="16" y="28"/>
                    <a:pt x="15" y="28"/>
                  </a:cubicBezTo>
                  <a:cubicBezTo>
                    <a:pt x="14" y="29"/>
                    <a:pt x="13" y="31"/>
                    <a:pt x="12" y="33"/>
                  </a:cubicBezTo>
                  <a:cubicBezTo>
                    <a:pt x="11" y="34"/>
                    <a:pt x="11" y="34"/>
                    <a:pt x="11" y="34"/>
                  </a:cubicBezTo>
                  <a:cubicBezTo>
                    <a:pt x="11" y="35"/>
                    <a:pt x="10" y="36"/>
                    <a:pt x="9" y="37"/>
                  </a:cubicBezTo>
                  <a:cubicBezTo>
                    <a:pt x="8" y="37"/>
                    <a:pt x="8" y="37"/>
                    <a:pt x="8" y="37"/>
                  </a:cubicBezTo>
                  <a:cubicBezTo>
                    <a:pt x="8" y="37"/>
                    <a:pt x="8" y="37"/>
                    <a:pt x="8" y="37"/>
                  </a:cubicBezTo>
                  <a:cubicBezTo>
                    <a:pt x="9" y="38"/>
                    <a:pt x="9" y="38"/>
                    <a:pt x="9" y="38"/>
                  </a:cubicBezTo>
                  <a:cubicBezTo>
                    <a:pt x="8" y="39"/>
                    <a:pt x="7" y="41"/>
                    <a:pt x="7" y="42"/>
                  </a:cubicBezTo>
                  <a:cubicBezTo>
                    <a:pt x="6" y="44"/>
                    <a:pt x="6" y="46"/>
                    <a:pt x="6" y="48"/>
                  </a:cubicBezTo>
                  <a:cubicBezTo>
                    <a:pt x="6" y="48"/>
                    <a:pt x="6" y="48"/>
                    <a:pt x="6" y="48"/>
                  </a:cubicBezTo>
                  <a:cubicBezTo>
                    <a:pt x="6" y="50"/>
                    <a:pt x="5" y="51"/>
                    <a:pt x="5" y="53"/>
                  </a:cubicBezTo>
                  <a:cubicBezTo>
                    <a:pt x="5" y="54"/>
                    <a:pt x="5" y="55"/>
                    <a:pt x="4" y="56"/>
                  </a:cubicBezTo>
                  <a:cubicBezTo>
                    <a:pt x="3" y="60"/>
                    <a:pt x="2" y="63"/>
                    <a:pt x="0" y="66"/>
                  </a:cubicBezTo>
                  <a:cubicBezTo>
                    <a:pt x="0" y="66"/>
                    <a:pt x="1" y="65"/>
                    <a:pt x="1" y="65"/>
                  </a:cubicBezTo>
                  <a:cubicBezTo>
                    <a:pt x="4" y="64"/>
                    <a:pt x="4" y="64"/>
                    <a:pt x="4" y="64"/>
                  </a:cubicBezTo>
                  <a:cubicBezTo>
                    <a:pt x="5" y="67"/>
                    <a:pt x="5" y="67"/>
                    <a:pt x="5" y="67"/>
                  </a:cubicBezTo>
                  <a:cubicBezTo>
                    <a:pt x="5" y="68"/>
                    <a:pt x="5" y="68"/>
                    <a:pt x="5" y="69"/>
                  </a:cubicBezTo>
                  <a:cubicBezTo>
                    <a:pt x="5" y="69"/>
                    <a:pt x="5" y="69"/>
                    <a:pt x="5" y="69"/>
                  </a:cubicBezTo>
                  <a:cubicBezTo>
                    <a:pt x="5" y="69"/>
                    <a:pt x="5" y="69"/>
                    <a:pt x="5" y="69"/>
                  </a:cubicBezTo>
                  <a:cubicBezTo>
                    <a:pt x="6" y="69"/>
                    <a:pt x="6" y="69"/>
                    <a:pt x="6" y="69"/>
                  </a:cubicBezTo>
                  <a:cubicBezTo>
                    <a:pt x="6" y="69"/>
                    <a:pt x="6" y="69"/>
                    <a:pt x="6" y="69"/>
                  </a:cubicBezTo>
                  <a:cubicBezTo>
                    <a:pt x="7" y="69"/>
                    <a:pt x="7" y="69"/>
                    <a:pt x="7" y="69"/>
                  </a:cubicBezTo>
                  <a:cubicBezTo>
                    <a:pt x="9" y="70"/>
                    <a:pt x="9" y="71"/>
                    <a:pt x="10" y="72"/>
                  </a:cubicBezTo>
                  <a:cubicBezTo>
                    <a:pt x="11" y="74"/>
                    <a:pt x="12" y="76"/>
                    <a:pt x="13" y="79"/>
                  </a:cubicBezTo>
                  <a:cubicBezTo>
                    <a:pt x="17" y="86"/>
                    <a:pt x="17" y="86"/>
                    <a:pt x="17" y="86"/>
                  </a:cubicBezTo>
                  <a:cubicBezTo>
                    <a:pt x="18" y="89"/>
                    <a:pt x="19" y="92"/>
                    <a:pt x="19" y="96"/>
                  </a:cubicBezTo>
                  <a:cubicBezTo>
                    <a:pt x="19" y="96"/>
                    <a:pt x="19" y="96"/>
                    <a:pt x="19" y="96"/>
                  </a:cubicBezTo>
                  <a:cubicBezTo>
                    <a:pt x="19" y="97"/>
                    <a:pt x="19" y="97"/>
                    <a:pt x="19" y="97"/>
                  </a:cubicBezTo>
                  <a:cubicBezTo>
                    <a:pt x="19" y="98"/>
                    <a:pt x="19" y="99"/>
                    <a:pt x="18" y="100"/>
                  </a:cubicBezTo>
                  <a:cubicBezTo>
                    <a:pt x="17" y="102"/>
                    <a:pt x="17" y="105"/>
                    <a:pt x="17" y="108"/>
                  </a:cubicBezTo>
                  <a:cubicBezTo>
                    <a:pt x="17" y="108"/>
                    <a:pt x="18" y="109"/>
                    <a:pt x="18" y="109"/>
                  </a:cubicBezTo>
                  <a:cubicBezTo>
                    <a:pt x="18" y="109"/>
                    <a:pt x="18" y="109"/>
                    <a:pt x="19" y="109"/>
                  </a:cubicBezTo>
                  <a:cubicBezTo>
                    <a:pt x="20" y="110"/>
                    <a:pt x="23" y="110"/>
                    <a:pt x="24" y="113"/>
                  </a:cubicBezTo>
                  <a:cubicBezTo>
                    <a:pt x="24" y="113"/>
                    <a:pt x="24" y="113"/>
                    <a:pt x="24" y="113"/>
                  </a:cubicBezTo>
                  <a:cubicBezTo>
                    <a:pt x="25" y="114"/>
                    <a:pt x="25" y="114"/>
                    <a:pt x="25" y="114"/>
                  </a:cubicBezTo>
                  <a:cubicBezTo>
                    <a:pt x="25" y="115"/>
                    <a:pt x="25" y="115"/>
                    <a:pt x="26" y="116"/>
                  </a:cubicBezTo>
                  <a:cubicBezTo>
                    <a:pt x="26" y="117"/>
                    <a:pt x="27" y="118"/>
                    <a:pt x="27" y="118"/>
                  </a:cubicBezTo>
                  <a:cubicBezTo>
                    <a:pt x="27" y="118"/>
                    <a:pt x="27" y="118"/>
                    <a:pt x="27" y="118"/>
                  </a:cubicBezTo>
                  <a:cubicBezTo>
                    <a:pt x="27" y="118"/>
                    <a:pt x="27" y="118"/>
                    <a:pt x="27" y="118"/>
                  </a:cubicBezTo>
                  <a:cubicBezTo>
                    <a:pt x="27" y="118"/>
                    <a:pt x="27" y="118"/>
                    <a:pt x="27" y="118"/>
                  </a:cubicBezTo>
                  <a:cubicBezTo>
                    <a:pt x="27" y="118"/>
                    <a:pt x="27" y="118"/>
                    <a:pt x="28" y="118"/>
                  </a:cubicBezTo>
                  <a:cubicBezTo>
                    <a:pt x="30" y="118"/>
                    <a:pt x="32" y="118"/>
                    <a:pt x="33" y="118"/>
                  </a:cubicBezTo>
                  <a:cubicBezTo>
                    <a:pt x="35" y="118"/>
                    <a:pt x="36" y="118"/>
                    <a:pt x="37" y="118"/>
                  </a:cubicBezTo>
                  <a:cubicBezTo>
                    <a:pt x="38" y="118"/>
                    <a:pt x="39" y="118"/>
                    <a:pt x="39" y="118"/>
                  </a:cubicBezTo>
                  <a:cubicBezTo>
                    <a:pt x="40" y="118"/>
                    <a:pt x="40" y="118"/>
                    <a:pt x="40" y="118"/>
                  </a:cubicBezTo>
                  <a:cubicBezTo>
                    <a:pt x="41" y="119"/>
                    <a:pt x="43" y="119"/>
                    <a:pt x="44" y="119"/>
                  </a:cubicBezTo>
                  <a:cubicBezTo>
                    <a:pt x="45" y="119"/>
                    <a:pt x="45" y="119"/>
                    <a:pt x="46" y="119"/>
                  </a:cubicBezTo>
                  <a:cubicBezTo>
                    <a:pt x="46" y="119"/>
                    <a:pt x="46" y="119"/>
                    <a:pt x="46" y="119"/>
                  </a:cubicBezTo>
                  <a:cubicBezTo>
                    <a:pt x="47" y="119"/>
                    <a:pt x="49" y="118"/>
                    <a:pt x="50" y="118"/>
                  </a:cubicBezTo>
                  <a:cubicBezTo>
                    <a:pt x="52" y="117"/>
                    <a:pt x="54" y="117"/>
                    <a:pt x="56" y="117"/>
                  </a:cubicBezTo>
                  <a:cubicBezTo>
                    <a:pt x="56" y="117"/>
                    <a:pt x="56" y="117"/>
                    <a:pt x="56" y="117"/>
                  </a:cubicBezTo>
                  <a:cubicBezTo>
                    <a:pt x="59" y="117"/>
                    <a:pt x="62" y="118"/>
                    <a:pt x="65" y="118"/>
                  </a:cubicBezTo>
                  <a:cubicBezTo>
                    <a:pt x="70" y="119"/>
                    <a:pt x="71" y="121"/>
                    <a:pt x="74" y="124"/>
                  </a:cubicBezTo>
                  <a:cubicBezTo>
                    <a:pt x="75" y="125"/>
                    <a:pt x="76" y="126"/>
                    <a:pt x="76" y="127"/>
                  </a:cubicBezTo>
                  <a:cubicBezTo>
                    <a:pt x="77" y="128"/>
                    <a:pt x="77" y="128"/>
                    <a:pt x="77" y="128"/>
                  </a:cubicBezTo>
                  <a:cubicBezTo>
                    <a:pt x="78" y="129"/>
                    <a:pt x="78" y="130"/>
                    <a:pt x="79" y="131"/>
                  </a:cubicBezTo>
                  <a:cubicBezTo>
                    <a:pt x="82" y="136"/>
                    <a:pt x="85" y="139"/>
                    <a:pt x="86" y="139"/>
                  </a:cubicBezTo>
                  <a:cubicBezTo>
                    <a:pt x="86" y="139"/>
                    <a:pt x="86" y="139"/>
                    <a:pt x="86" y="139"/>
                  </a:cubicBezTo>
                  <a:cubicBezTo>
                    <a:pt x="86" y="139"/>
                    <a:pt x="86" y="139"/>
                    <a:pt x="86" y="139"/>
                  </a:cubicBezTo>
                  <a:cubicBezTo>
                    <a:pt x="87" y="139"/>
                    <a:pt x="91" y="139"/>
                    <a:pt x="92" y="139"/>
                  </a:cubicBezTo>
                  <a:cubicBezTo>
                    <a:pt x="92" y="138"/>
                    <a:pt x="92" y="138"/>
                    <a:pt x="92" y="138"/>
                  </a:cubicBezTo>
                  <a:cubicBezTo>
                    <a:pt x="93" y="138"/>
                    <a:pt x="94" y="138"/>
                    <a:pt x="94" y="138"/>
                  </a:cubicBezTo>
                  <a:cubicBezTo>
                    <a:pt x="97" y="138"/>
                    <a:pt x="99" y="137"/>
                    <a:pt x="102" y="137"/>
                  </a:cubicBezTo>
                  <a:cubicBezTo>
                    <a:pt x="105" y="137"/>
                    <a:pt x="105" y="137"/>
                    <a:pt x="105" y="137"/>
                  </a:cubicBezTo>
                  <a:cubicBezTo>
                    <a:pt x="106" y="137"/>
                    <a:pt x="107" y="136"/>
                    <a:pt x="109" y="136"/>
                  </a:cubicBezTo>
                  <a:cubicBezTo>
                    <a:pt x="110" y="136"/>
                    <a:pt x="110" y="136"/>
                    <a:pt x="110" y="136"/>
                  </a:cubicBezTo>
                  <a:cubicBezTo>
                    <a:pt x="113" y="135"/>
                    <a:pt x="117" y="135"/>
                    <a:pt x="121" y="135"/>
                  </a:cubicBezTo>
                  <a:cubicBezTo>
                    <a:pt x="122" y="135"/>
                    <a:pt x="122" y="135"/>
                    <a:pt x="123" y="135"/>
                  </a:cubicBezTo>
                  <a:cubicBezTo>
                    <a:pt x="131" y="136"/>
                    <a:pt x="133" y="139"/>
                    <a:pt x="134" y="142"/>
                  </a:cubicBezTo>
                  <a:cubicBezTo>
                    <a:pt x="134" y="144"/>
                    <a:pt x="134" y="146"/>
                    <a:pt x="133" y="149"/>
                  </a:cubicBezTo>
                  <a:cubicBezTo>
                    <a:pt x="132" y="151"/>
                    <a:pt x="130" y="153"/>
                    <a:pt x="130" y="154"/>
                  </a:cubicBezTo>
                  <a:cubicBezTo>
                    <a:pt x="129" y="154"/>
                    <a:pt x="129" y="154"/>
                    <a:pt x="129" y="154"/>
                  </a:cubicBezTo>
                  <a:cubicBezTo>
                    <a:pt x="129" y="155"/>
                    <a:pt x="129" y="155"/>
                    <a:pt x="128" y="155"/>
                  </a:cubicBezTo>
                  <a:cubicBezTo>
                    <a:pt x="128" y="156"/>
                    <a:pt x="128" y="156"/>
                    <a:pt x="127" y="157"/>
                  </a:cubicBezTo>
                  <a:cubicBezTo>
                    <a:pt x="127" y="157"/>
                    <a:pt x="127" y="157"/>
                    <a:pt x="127" y="157"/>
                  </a:cubicBezTo>
                  <a:cubicBezTo>
                    <a:pt x="126" y="159"/>
                    <a:pt x="125" y="160"/>
                    <a:pt x="125" y="161"/>
                  </a:cubicBezTo>
                  <a:cubicBezTo>
                    <a:pt x="125" y="163"/>
                    <a:pt x="125" y="163"/>
                    <a:pt x="125" y="163"/>
                  </a:cubicBezTo>
                  <a:cubicBezTo>
                    <a:pt x="124" y="166"/>
                    <a:pt x="124" y="168"/>
                    <a:pt x="124" y="170"/>
                  </a:cubicBezTo>
                  <a:cubicBezTo>
                    <a:pt x="124" y="171"/>
                    <a:pt x="124" y="171"/>
                    <a:pt x="124" y="171"/>
                  </a:cubicBezTo>
                  <a:cubicBezTo>
                    <a:pt x="124" y="171"/>
                    <a:pt x="124" y="172"/>
                    <a:pt x="124" y="173"/>
                  </a:cubicBezTo>
                  <a:cubicBezTo>
                    <a:pt x="282" y="173"/>
                    <a:pt x="282" y="173"/>
                    <a:pt x="282" y="173"/>
                  </a:cubicBezTo>
                  <a:cubicBezTo>
                    <a:pt x="283" y="172"/>
                    <a:pt x="284" y="171"/>
                    <a:pt x="285" y="170"/>
                  </a:cubicBezTo>
                  <a:cubicBezTo>
                    <a:pt x="281" y="167"/>
                    <a:pt x="281" y="167"/>
                    <a:pt x="281" y="167"/>
                  </a:cubicBezTo>
                  <a:cubicBezTo>
                    <a:pt x="286" y="169"/>
                    <a:pt x="286" y="169"/>
                    <a:pt x="286" y="169"/>
                  </a:cubicBezTo>
                  <a:cubicBezTo>
                    <a:pt x="286" y="169"/>
                    <a:pt x="286" y="169"/>
                    <a:pt x="286" y="169"/>
                  </a:cubicBezTo>
                  <a:cubicBezTo>
                    <a:pt x="286" y="168"/>
                    <a:pt x="286" y="168"/>
                    <a:pt x="286" y="168"/>
                  </a:cubicBezTo>
                  <a:cubicBezTo>
                    <a:pt x="286" y="168"/>
                    <a:pt x="286" y="168"/>
                    <a:pt x="286" y="168"/>
                  </a:cubicBezTo>
                  <a:cubicBezTo>
                    <a:pt x="286" y="167"/>
                    <a:pt x="286" y="167"/>
                    <a:pt x="286" y="167"/>
                  </a:cubicBezTo>
                  <a:cubicBezTo>
                    <a:pt x="286" y="166"/>
                    <a:pt x="286" y="166"/>
                    <a:pt x="286" y="166"/>
                  </a:cubicBezTo>
                  <a:cubicBezTo>
                    <a:pt x="285" y="166"/>
                    <a:pt x="285" y="166"/>
                    <a:pt x="285" y="166"/>
                  </a:cubicBezTo>
                  <a:cubicBezTo>
                    <a:pt x="284" y="165"/>
                    <a:pt x="284" y="165"/>
                    <a:pt x="284" y="165"/>
                  </a:cubicBezTo>
                  <a:cubicBezTo>
                    <a:pt x="283" y="164"/>
                    <a:pt x="282" y="162"/>
                    <a:pt x="281" y="161"/>
                  </a:cubicBezTo>
                  <a:cubicBezTo>
                    <a:pt x="280" y="161"/>
                    <a:pt x="280" y="161"/>
                    <a:pt x="280" y="161"/>
                  </a:cubicBezTo>
                  <a:cubicBezTo>
                    <a:pt x="280" y="160"/>
                    <a:pt x="280" y="160"/>
                    <a:pt x="279" y="159"/>
                  </a:cubicBezTo>
                  <a:cubicBezTo>
                    <a:pt x="270" y="149"/>
                    <a:pt x="270" y="149"/>
                    <a:pt x="270" y="149"/>
                  </a:cubicBezTo>
                  <a:cubicBezTo>
                    <a:pt x="269" y="148"/>
                    <a:pt x="269" y="146"/>
                    <a:pt x="269" y="144"/>
                  </a:cubicBezTo>
                  <a:cubicBezTo>
                    <a:pt x="270" y="144"/>
                    <a:pt x="270" y="144"/>
                    <a:pt x="270" y="144"/>
                  </a:cubicBezTo>
                  <a:cubicBezTo>
                    <a:pt x="271" y="143"/>
                    <a:pt x="272" y="142"/>
                    <a:pt x="273" y="141"/>
                  </a:cubicBezTo>
                  <a:cubicBezTo>
                    <a:pt x="273" y="140"/>
                    <a:pt x="274" y="140"/>
                    <a:pt x="275" y="139"/>
                  </a:cubicBezTo>
                  <a:cubicBezTo>
                    <a:pt x="275" y="139"/>
                    <a:pt x="275" y="139"/>
                    <a:pt x="275" y="139"/>
                  </a:cubicBezTo>
                  <a:cubicBezTo>
                    <a:pt x="275" y="138"/>
                    <a:pt x="275" y="138"/>
                    <a:pt x="275" y="138"/>
                  </a:cubicBezTo>
                  <a:cubicBezTo>
                    <a:pt x="274" y="137"/>
                    <a:pt x="274" y="136"/>
                    <a:pt x="274" y="134"/>
                  </a:cubicBezTo>
                  <a:cubicBezTo>
                    <a:pt x="274" y="134"/>
                    <a:pt x="274" y="134"/>
                    <a:pt x="274" y="134"/>
                  </a:cubicBezTo>
                  <a:cubicBezTo>
                    <a:pt x="274" y="133"/>
                    <a:pt x="274" y="133"/>
                    <a:pt x="274" y="133"/>
                  </a:cubicBezTo>
                  <a:cubicBezTo>
                    <a:pt x="274" y="131"/>
                    <a:pt x="274" y="128"/>
                    <a:pt x="276" y="126"/>
                  </a:cubicBezTo>
                  <a:cubicBezTo>
                    <a:pt x="276" y="125"/>
                    <a:pt x="276" y="125"/>
                    <a:pt x="276" y="125"/>
                  </a:cubicBezTo>
                  <a:cubicBezTo>
                    <a:pt x="279" y="125"/>
                    <a:pt x="279" y="125"/>
                    <a:pt x="279" y="125"/>
                  </a:cubicBezTo>
                  <a:cubicBezTo>
                    <a:pt x="279" y="125"/>
                    <a:pt x="279" y="125"/>
                    <a:pt x="279" y="125"/>
                  </a:cubicBezTo>
                  <a:cubicBezTo>
                    <a:pt x="279" y="125"/>
                    <a:pt x="279" y="125"/>
                    <a:pt x="279" y="125"/>
                  </a:cubicBezTo>
                  <a:cubicBezTo>
                    <a:pt x="280" y="124"/>
                    <a:pt x="281" y="124"/>
                    <a:pt x="283" y="123"/>
                  </a:cubicBezTo>
                  <a:cubicBezTo>
                    <a:pt x="283" y="123"/>
                    <a:pt x="283" y="123"/>
                    <a:pt x="283" y="123"/>
                  </a:cubicBezTo>
                  <a:cubicBezTo>
                    <a:pt x="284" y="123"/>
                    <a:pt x="284" y="123"/>
                    <a:pt x="285" y="124"/>
                  </a:cubicBezTo>
                  <a:cubicBezTo>
                    <a:pt x="286" y="124"/>
                    <a:pt x="286" y="124"/>
                    <a:pt x="286" y="124"/>
                  </a:cubicBezTo>
                  <a:cubicBezTo>
                    <a:pt x="286" y="124"/>
                    <a:pt x="286" y="124"/>
                    <a:pt x="286" y="124"/>
                  </a:cubicBezTo>
                  <a:cubicBezTo>
                    <a:pt x="286" y="124"/>
                    <a:pt x="286" y="124"/>
                    <a:pt x="286" y="124"/>
                  </a:cubicBezTo>
                  <a:cubicBezTo>
                    <a:pt x="287" y="123"/>
                    <a:pt x="288" y="123"/>
                    <a:pt x="289" y="123"/>
                  </a:cubicBezTo>
                  <a:cubicBezTo>
                    <a:pt x="291" y="122"/>
                    <a:pt x="291" y="122"/>
                    <a:pt x="291" y="122"/>
                  </a:cubicBezTo>
                  <a:cubicBezTo>
                    <a:pt x="292" y="121"/>
                    <a:pt x="292" y="121"/>
                    <a:pt x="293" y="121"/>
                  </a:cubicBezTo>
                  <a:cubicBezTo>
                    <a:pt x="293" y="121"/>
                    <a:pt x="293" y="121"/>
                    <a:pt x="293" y="121"/>
                  </a:cubicBezTo>
                  <a:cubicBezTo>
                    <a:pt x="293" y="120"/>
                    <a:pt x="293" y="120"/>
                    <a:pt x="293" y="120"/>
                  </a:cubicBezTo>
                  <a:cubicBezTo>
                    <a:pt x="293" y="120"/>
                    <a:pt x="293" y="120"/>
                    <a:pt x="293" y="120"/>
                  </a:cubicBezTo>
                  <a:cubicBezTo>
                    <a:pt x="292" y="120"/>
                    <a:pt x="292" y="120"/>
                    <a:pt x="292" y="120"/>
                  </a:cubicBezTo>
                  <a:cubicBezTo>
                    <a:pt x="291" y="120"/>
                    <a:pt x="290" y="120"/>
                    <a:pt x="289" y="120"/>
                  </a:cubicBezTo>
                  <a:cubicBezTo>
                    <a:pt x="289" y="120"/>
                    <a:pt x="289" y="120"/>
                    <a:pt x="289" y="120"/>
                  </a:cubicBezTo>
                  <a:cubicBezTo>
                    <a:pt x="288" y="119"/>
                    <a:pt x="288" y="119"/>
                    <a:pt x="288" y="119"/>
                  </a:cubicBezTo>
                  <a:cubicBezTo>
                    <a:pt x="287" y="119"/>
                    <a:pt x="287" y="118"/>
                    <a:pt x="286" y="117"/>
                  </a:cubicBezTo>
                  <a:cubicBezTo>
                    <a:pt x="286" y="116"/>
                    <a:pt x="286" y="116"/>
                    <a:pt x="286" y="116"/>
                  </a:cubicBezTo>
                  <a:cubicBezTo>
                    <a:pt x="286" y="116"/>
                    <a:pt x="286" y="116"/>
                    <a:pt x="286" y="116"/>
                  </a:cubicBezTo>
                  <a:cubicBezTo>
                    <a:pt x="286" y="115"/>
                    <a:pt x="285" y="113"/>
                    <a:pt x="285" y="112"/>
                  </a:cubicBezTo>
                  <a:cubicBezTo>
                    <a:pt x="285" y="112"/>
                    <a:pt x="285" y="112"/>
                    <a:pt x="285" y="112"/>
                  </a:cubicBezTo>
                  <a:cubicBezTo>
                    <a:pt x="285" y="111"/>
                    <a:pt x="285" y="111"/>
                    <a:pt x="285" y="111"/>
                  </a:cubicBezTo>
                  <a:cubicBezTo>
                    <a:pt x="284" y="109"/>
                    <a:pt x="284" y="107"/>
                    <a:pt x="286" y="106"/>
                  </a:cubicBezTo>
                  <a:cubicBezTo>
                    <a:pt x="287" y="105"/>
                    <a:pt x="287" y="105"/>
                    <a:pt x="287" y="104"/>
                  </a:cubicBezTo>
                  <a:cubicBezTo>
                    <a:pt x="288" y="103"/>
                    <a:pt x="289" y="102"/>
                    <a:pt x="291" y="100"/>
                  </a:cubicBezTo>
                  <a:cubicBezTo>
                    <a:pt x="292" y="100"/>
                    <a:pt x="292" y="100"/>
                    <a:pt x="292" y="100"/>
                  </a:cubicBezTo>
                  <a:cubicBezTo>
                    <a:pt x="294" y="99"/>
                    <a:pt x="296" y="97"/>
                    <a:pt x="299" y="95"/>
                  </a:cubicBezTo>
                  <a:cubicBezTo>
                    <a:pt x="300" y="94"/>
                    <a:pt x="301" y="94"/>
                    <a:pt x="301" y="93"/>
                  </a:cubicBezTo>
                  <a:cubicBezTo>
                    <a:pt x="302" y="93"/>
                    <a:pt x="304" y="92"/>
                    <a:pt x="304" y="91"/>
                  </a:cubicBezTo>
                  <a:cubicBezTo>
                    <a:pt x="304" y="91"/>
                    <a:pt x="303" y="89"/>
                    <a:pt x="301" y="87"/>
                  </a:cubicBezTo>
                  <a:cubicBezTo>
                    <a:pt x="300" y="86"/>
                    <a:pt x="300" y="86"/>
                    <a:pt x="300" y="86"/>
                  </a:cubicBezTo>
                  <a:cubicBezTo>
                    <a:pt x="301" y="85"/>
                    <a:pt x="301" y="85"/>
                    <a:pt x="301" y="85"/>
                  </a:cubicBezTo>
                  <a:cubicBezTo>
                    <a:pt x="300" y="84"/>
                    <a:pt x="300" y="84"/>
                    <a:pt x="300" y="84"/>
                  </a:cubicBezTo>
                  <a:cubicBezTo>
                    <a:pt x="300" y="84"/>
                    <a:pt x="300" y="84"/>
                    <a:pt x="300" y="84"/>
                  </a:cubicBezTo>
                  <a:cubicBezTo>
                    <a:pt x="299" y="84"/>
                    <a:pt x="298" y="83"/>
                    <a:pt x="296" y="83"/>
                  </a:cubicBezTo>
                  <a:cubicBezTo>
                    <a:pt x="296" y="83"/>
                    <a:pt x="295" y="83"/>
                    <a:pt x="295" y="83"/>
                  </a:cubicBezTo>
                  <a:cubicBezTo>
                    <a:pt x="290" y="83"/>
                    <a:pt x="284" y="86"/>
                    <a:pt x="279" y="87"/>
                  </a:cubicBezTo>
                  <a:cubicBezTo>
                    <a:pt x="280" y="87"/>
                    <a:pt x="280" y="87"/>
                    <a:pt x="280" y="87"/>
                  </a:cubicBezTo>
                  <a:cubicBezTo>
                    <a:pt x="278" y="87"/>
                    <a:pt x="276" y="89"/>
                    <a:pt x="274" y="89"/>
                  </a:cubicBezTo>
                  <a:cubicBezTo>
                    <a:pt x="274" y="89"/>
                    <a:pt x="273" y="89"/>
                    <a:pt x="273" y="89"/>
                  </a:cubicBezTo>
                  <a:cubicBezTo>
                    <a:pt x="271" y="88"/>
                    <a:pt x="267" y="86"/>
                    <a:pt x="265" y="85"/>
                  </a:cubicBezTo>
                  <a:cubicBezTo>
                    <a:pt x="265" y="84"/>
                    <a:pt x="265" y="84"/>
                    <a:pt x="266" y="84"/>
                  </a:cubicBezTo>
                  <a:cubicBezTo>
                    <a:pt x="267" y="84"/>
                    <a:pt x="268" y="84"/>
                    <a:pt x="269" y="84"/>
                  </a:cubicBezTo>
                  <a:cubicBezTo>
                    <a:pt x="269" y="84"/>
                    <a:pt x="269" y="84"/>
                    <a:pt x="269" y="84"/>
                  </a:cubicBezTo>
                  <a:cubicBezTo>
                    <a:pt x="269" y="84"/>
                    <a:pt x="269" y="84"/>
                    <a:pt x="270" y="84"/>
                  </a:cubicBezTo>
                  <a:cubicBezTo>
                    <a:pt x="270" y="84"/>
                    <a:pt x="270" y="84"/>
                    <a:pt x="271" y="84"/>
                  </a:cubicBezTo>
                  <a:cubicBezTo>
                    <a:pt x="271" y="84"/>
                    <a:pt x="271" y="84"/>
                    <a:pt x="271" y="84"/>
                  </a:cubicBezTo>
                  <a:cubicBezTo>
                    <a:pt x="271" y="84"/>
                    <a:pt x="273" y="85"/>
                    <a:pt x="274" y="85"/>
                  </a:cubicBezTo>
                  <a:cubicBezTo>
                    <a:pt x="274" y="85"/>
                    <a:pt x="274" y="85"/>
                    <a:pt x="274" y="85"/>
                  </a:cubicBezTo>
                  <a:cubicBezTo>
                    <a:pt x="277" y="84"/>
                    <a:pt x="279" y="75"/>
                    <a:pt x="280" y="72"/>
                  </a:cubicBezTo>
                  <a:cubicBezTo>
                    <a:pt x="279" y="73"/>
                    <a:pt x="278" y="73"/>
                    <a:pt x="278" y="74"/>
                  </a:cubicBezTo>
                  <a:cubicBezTo>
                    <a:pt x="278" y="71"/>
                    <a:pt x="283" y="68"/>
                    <a:pt x="285" y="67"/>
                  </a:cubicBezTo>
                  <a:cubicBezTo>
                    <a:pt x="280" y="63"/>
                    <a:pt x="274" y="60"/>
                    <a:pt x="270" y="56"/>
                  </a:cubicBezTo>
                  <a:cubicBezTo>
                    <a:pt x="269" y="55"/>
                    <a:pt x="268" y="54"/>
                    <a:pt x="266" y="54"/>
                  </a:cubicBezTo>
                  <a:cubicBezTo>
                    <a:pt x="268" y="58"/>
                    <a:pt x="263" y="57"/>
                    <a:pt x="263" y="61"/>
                  </a:cubicBezTo>
                  <a:cubicBezTo>
                    <a:pt x="260" y="56"/>
                    <a:pt x="258" y="53"/>
                    <a:pt x="253" y="51"/>
                  </a:cubicBezTo>
                  <a:cubicBezTo>
                    <a:pt x="253" y="52"/>
                    <a:pt x="254" y="53"/>
                    <a:pt x="255" y="54"/>
                  </a:cubicBezTo>
                  <a:cubicBezTo>
                    <a:pt x="254" y="53"/>
                    <a:pt x="254" y="53"/>
                    <a:pt x="253" y="53"/>
                  </a:cubicBezTo>
                  <a:cubicBezTo>
                    <a:pt x="253" y="55"/>
                    <a:pt x="254" y="57"/>
                    <a:pt x="253" y="59"/>
                  </a:cubicBezTo>
                  <a:cubicBezTo>
                    <a:pt x="253" y="56"/>
                    <a:pt x="253" y="55"/>
                    <a:pt x="251" y="52"/>
                  </a:cubicBezTo>
                  <a:cubicBezTo>
                    <a:pt x="251" y="54"/>
                    <a:pt x="250" y="56"/>
                    <a:pt x="250" y="58"/>
                  </a:cubicBezTo>
                  <a:cubicBezTo>
                    <a:pt x="248" y="55"/>
                    <a:pt x="248" y="52"/>
                    <a:pt x="246" y="49"/>
                  </a:cubicBezTo>
                  <a:cubicBezTo>
                    <a:pt x="246" y="48"/>
                    <a:pt x="245" y="47"/>
                    <a:pt x="245" y="47"/>
                  </a:cubicBezTo>
                  <a:cubicBezTo>
                    <a:pt x="245" y="47"/>
                    <a:pt x="244" y="47"/>
                    <a:pt x="244" y="48"/>
                  </a:cubicBezTo>
                  <a:cubicBezTo>
                    <a:pt x="242" y="50"/>
                    <a:pt x="240" y="51"/>
                    <a:pt x="239" y="51"/>
                  </a:cubicBezTo>
                  <a:cubicBezTo>
                    <a:pt x="238" y="51"/>
                    <a:pt x="236" y="50"/>
                    <a:pt x="233" y="49"/>
                  </a:cubicBezTo>
                  <a:cubicBezTo>
                    <a:pt x="234" y="49"/>
                    <a:pt x="234" y="49"/>
                    <a:pt x="235" y="49"/>
                  </a:cubicBezTo>
                  <a:cubicBezTo>
                    <a:pt x="236" y="49"/>
                    <a:pt x="237" y="50"/>
                    <a:pt x="238" y="50"/>
                  </a:cubicBezTo>
                  <a:cubicBezTo>
                    <a:pt x="238" y="50"/>
                    <a:pt x="238" y="50"/>
                    <a:pt x="238" y="50"/>
                  </a:cubicBezTo>
                  <a:cubicBezTo>
                    <a:pt x="238" y="50"/>
                    <a:pt x="238" y="50"/>
                    <a:pt x="238" y="50"/>
                  </a:cubicBezTo>
                  <a:cubicBezTo>
                    <a:pt x="239" y="50"/>
                    <a:pt x="239" y="49"/>
                    <a:pt x="239" y="49"/>
                  </a:cubicBezTo>
                  <a:cubicBezTo>
                    <a:pt x="239" y="49"/>
                    <a:pt x="239" y="49"/>
                    <a:pt x="239" y="49"/>
                  </a:cubicBezTo>
                  <a:cubicBezTo>
                    <a:pt x="240" y="49"/>
                    <a:pt x="240" y="49"/>
                    <a:pt x="240" y="50"/>
                  </a:cubicBezTo>
                  <a:cubicBezTo>
                    <a:pt x="241" y="50"/>
                    <a:pt x="241" y="50"/>
                    <a:pt x="241" y="50"/>
                  </a:cubicBezTo>
                  <a:cubicBezTo>
                    <a:pt x="241" y="50"/>
                    <a:pt x="242" y="50"/>
                    <a:pt x="242" y="49"/>
                  </a:cubicBezTo>
                  <a:cubicBezTo>
                    <a:pt x="244" y="47"/>
                    <a:pt x="239" y="43"/>
                    <a:pt x="236" y="43"/>
                  </a:cubicBezTo>
                  <a:cubicBezTo>
                    <a:pt x="236" y="43"/>
                    <a:pt x="236" y="43"/>
                    <a:pt x="235" y="43"/>
                  </a:cubicBezTo>
                  <a:cubicBezTo>
                    <a:pt x="236" y="43"/>
                    <a:pt x="237" y="42"/>
                    <a:pt x="238" y="42"/>
                  </a:cubicBezTo>
                  <a:cubicBezTo>
                    <a:pt x="237" y="41"/>
                    <a:pt x="236" y="41"/>
                    <a:pt x="234" y="40"/>
                  </a:cubicBezTo>
                  <a:cubicBezTo>
                    <a:pt x="236" y="39"/>
                    <a:pt x="237" y="39"/>
                    <a:pt x="239" y="39"/>
                  </a:cubicBezTo>
                  <a:cubicBezTo>
                    <a:pt x="240" y="39"/>
                    <a:pt x="241" y="39"/>
                    <a:pt x="242" y="39"/>
                  </a:cubicBezTo>
                  <a:cubicBezTo>
                    <a:pt x="243" y="39"/>
                    <a:pt x="244" y="39"/>
                    <a:pt x="245" y="39"/>
                  </a:cubicBezTo>
                  <a:cubicBezTo>
                    <a:pt x="246" y="39"/>
                    <a:pt x="246" y="39"/>
                    <a:pt x="247" y="39"/>
                  </a:cubicBezTo>
                  <a:cubicBezTo>
                    <a:pt x="251" y="37"/>
                    <a:pt x="256" y="36"/>
                    <a:pt x="260" y="34"/>
                  </a:cubicBezTo>
                  <a:cubicBezTo>
                    <a:pt x="250" y="35"/>
                    <a:pt x="240" y="35"/>
                    <a:pt x="230" y="35"/>
                  </a:cubicBezTo>
                  <a:cubicBezTo>
                    <a:pt x="228" y="35"/>
                    <a:pt x="223" y="37"/>
                    <a:pt x="220" y="37"/>
                  </a:cubicBezTo>
                  <a:cubicBezTo>
                    <a:pt x="218" y="37"/>
                    <a:pt x="216" y="36"/>
                    <a:pt x="215" y="35"/>
                  </a:cubicBezTo>
                  <a:cubicBezTo>
                    <a:pt x="215" y="36"/>
                    <a:pt x="212" y="37"/>
                    <a:pt x="211" y="37"/>
                  </a:cubicBezTo>
                  <a:cubicBezTo>
                    <a:pt x="210" y="37"/>
                    <a:pt x="209" y="37"/>
                    <a:pt x="208" y="37"/>
                  </a:cubicBezTo>
                  <a:cubicBezTo>
                    <a:pt x="208" y="37"/>
                    <a:pt x="205" y="36"/>
                    <a:pt x="205" y="36"/>
                  </a:cubicBezTo>
                  <a:cubicBezTo>
                    <a:pt x="203" y="37"/>
                    <a:pt x="206" y="39"/>
                    <a:pt x="207" y="39"/>
                  </a:cubicBezTo>
                  <a:cubicBezTo>
                    <a:pt x="208" y="39"/>
                    <a:pt x="209" y="40"/>
                    <a:pt x="210" y="40"/>
                  </a:cubicBezTo>
                  <a:cubicBezTo>
                    <a:pt x="211" y="40"/>
                    <a:pt x="211" y="39"/>
                    <a:pt x="212" y="39"/>
                  </a:cubicBezTo>
                  <a:cubicBezTo>
                    <a:pt x="213" y="39"/>
                    <a:pt x="213" y="39"/>
                    <a:pt x="214" y="39"/>
                  </a:cubicBezTo>
                  <a:cubicBezTo>
                    <a:pt x="215" y="39"/>
                    <a:pt x="217" y="40"/>
                    <a:pt x="218" y="40"/>
                  </a:cubicBezTo>
                  <a:cubicBezTo>
                    <a:pt x="211" y="41"/>
                    <a:pt x="205" y="43"/>
                    <a:pt x="199" y="45"/>
                  </a:cubicBezTo>
                  <a:cubicBezTo>
                    <a:pt x="196" y="46"/>
                    <a:pt x="193" y="48"/>
                    <a:pt x="190" y="49"/>
                  </a:cubicBezTo>
                  <a:cubicBezTo>
                    <a:pt x="190" y="50"/>
                    <a:pt x="189" y="50"/>
                    <a:pt x="189" y="50"/>
                  </a:cubicBezTo>
                  <a:cubicBezTo>
                    <a:pt x="186" y="50"/>
                    <a:pt x="183" y="49"/>
                    <a:pt x="182" y="49"/>
                  </a:cubicBezTo>
                  <a:cubicBezTo>
                    <a:pt x="177" y="48"/>
                    <a:pt x="172" y="48"/>
                    <a:pt x="168" y="46"/>
                  </a:cubicBezTo>
                  <a:cubicBezTo>
                    <a:pt x="166" y="45"/>
                    <a:pt x="162" y="41"/>
                    <a:pt x="163" y="38"/>
                  </a:cubicBezTo>
                  <a:cubicBezTo>
                    <a:pt x="161" y="37"/>
                    <a:pt x="158" y="37"/>
                    <a:pt x="156" y="37"/>
                  </a:cubicBezTo>
                  <a:cubicBezTo>
                    <a:pt x="154" y="37"/>
                    <a:pt x="151" y="37"/>
                    <a:pt x="149" y="37"/>
                  </a:cubicBezTo>
                  <a:cubicBezTo>
                    <a:pt x="149" y="38"/>
                    <a:pt x="149" y="39"/>
                    <a:pt x="149" y="40"/>
                  </a:cubicBezTo>
                  <a:cubicBezTo>
                    <a:pt x="149" y="43"/>
                    <a:pt x="146" y="46"/>
                    <a:pt x="143" y="46"/>
                  </a:cubicBezTo>
                  <a:cubicBezTo>
                    <a:pt x="140" y="46"/>
                    <a:pt x="137" y="43"/>
                    <a:pt x="137" y="40"/>
                  </a:cubicBezTo>
                  <a:cubicBezTo>
                    <a:pt x="137" y="39"/>
                    <a:pt x="137" y="39"/>
                    <a:pt x="137" y="38"/>
                  </a:cubicBezTo>
                  <a:cubicBezTo>
                    <a:pt x="134" y="38"/>
                    <a:pt x="130" y="39"/>
                    <a:pt x="127" y="39"/>
                  </a:cubicBezTo>
                  <a:cubicBezTo>
                    <a:pt x="125" y="40"/>
                    <a:pt x="123" y="40"/>
                    <a:pt x="122" y="40"/>
                  </a:cubicBezTo>
                  <a:cubicBezTo>
                    <a:pt x="120" y="40"/>
                    <a:pt x="119" y="40"/>
                    <a:pt x="118" y="39"/>
                  </a:cubicBezTo>
                  <a:cubicBezTo>
                    <a:pt x="113" y="38"/>
                    <a:pt x="112" y="38"/>
                    <a:pt x="111" y="34"/>
                  </a:cubicBezTo>
                  <a:cubicBezTo>
                    <a:pt x="111" y="31"/>
                    <a:pt x="111" y="27"/>
                    <a:pt x="109" y="25"/>
                  </a:cubicBezTo>
                  <a:cubicBezTo>
                    <a:pt x="107" y="24"/>
                    <a:pt x="104" y="20"/>
                    <a:pt x="101" y="20"/>
                  </a:cubicBezTo>
                  <a:cubicBezTo>
                    <a:pt x="97" y="19"/>
                    <a:pt x="93" y="18"/>
                    <a:pt x="88" y="17"/>
                  </a:cubicBezTo>
                  <a:cubicBezTo>
                    <a:pt x="86" y="17"/>
                    <a:pt x="83" y="17"/>
                    <a:pt x="81" y="16"/>
                  </a:cubicBezTo>
                  <a:cubicBezTo>
                    <a:pt x="78" y="15"/>
                    <a:pt x="78" y="15"/>
                    <a:pt x="77" y="12"/>
                  </a:cubicBezTo>
                  <a:cubicBezTo>
                    <a:pt x="76" y="10"/>
                    <a:pt x="76" y="8"/>
                    <a:pt x="76" y="6"/>
                  </a:cubicBezTo>
                  <a:cubicBezTo>
                    <a:pt x="75" y="3"/>
                    <a:pt x="73"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3" name="Freeform 380">
              <a:extLst>
                <a:ext uri="{FF2B5EF4-FFF2-40B4-BE49-F238E27FC236}">
                  <a16:creationId xmlns:a16="http://schemas.microsoft.com/office/drawing/2014/main" id="{2EB65A47-02D5-47CB-B894-84F5451C66FA}"/>
                </a:ext>
              </a:extLst>
            </p:cNvPr>
            <p:cNvSpPr>
              <a:spLocks/>
            </p:cNvSpPr>
            <p:nvPr/>
          </p:nvSpPr>
          <p:spPr bwMode="auto">
            <a:xfrm>
              <a:off x="10587029" y="8403460"/>
              <a:ext cx="354013" cy="311150"/>
            </a:xfrm>
            <a:custGeom>
              <a:avLst/>
              <a:gdLst>
                <a:gd name="T0" fmla="*/ 34 w 94"/>
                <a:gd name="T1" fmla="*/ 4 h 83"/>
                <a:gd name="T2" fmla="*/ 28 w 94"/>
                <a:gd name="T3" fmla="*/ 10 h 83"/>
                <a:gd name="T4" fmla="*/ 19 w 94"/>
                <a:gd name="T5" fmla="*/ 15 h 83"/>
                <a:gd name="T6" fmla="*/ 16 w 94"/>
                <a:gd name="T7" fmla="*/ 19 h 83"/>
                <a:gd name="T8" fmla="*/ 15 w 94"/>
                <a:gd name="T9" fmla="*/ 21 h 83"/>
                <a:gd name="T10" fmla="*/ 17 w 94"/>
                <a:gd name="T11" fmla="*/ 24 h 83"/>
                <a:gd name="T12" fmla="*/ 24 w 94"/>
                <a:gd name="T13" fmla="*/ 28 h 83"/>
                <a:gd name="T14" fmla="*/ 24 w 94"/>
                <a:gd name="T15" fmla="*/ 30 h 83"/>
                <a:gd name="T16" fmla="*/ 21 w 94"/>
                <a:gd name="T17" fmla="*/ 35 h 83"/>
                <a:gd name="T18" fmla="*/ 17 w 94"/>
                <a:gd name="T19" fmla="*/ 38 h 83"/>
                <a:gd name="T20" fmla="*/ 12 w 94"/>
                <a:gd name="T21" fmla="*/ 40 h 83"/>
                <a:gd name="T22" fmla="*/ 9 w 94"/>
                <a:gd name="T23" fmla="*/ 39 h 83"/>
                <a:gd name="T24" fmla="*/ 7 w 94"/>
                <a:gd name="T25" fmla="*/ 40 h 83"/>
                <a:gd name="T26" fmla="*/ 5 w 94"/>
                <a:gd name="T27" fmla="*/ 41 h 83"/>
                <a:gd name="T28" fmla="*/ 5 w 94"/>
                <a:gd name="T29" fmla="*/ 43 h 83"/>
                <a:gd name="T30" fmla="*/ 5 w 94"/>
                <a:gd name="T31" fmla="*/ 47 h 83"/>
                <a:gd name="T32" fmla="*/ 5 w 94"/>
                <a:gd name="T33" fmla="*/ 52 h 83"/>
                <a:gd name="T34" fmla="*/ 1 w 94"/>
                <a:gd name="T35" fmla="*/ 56 h 83"/>
                <a:gd name="T36" fmla="*/ 8 w 94"/>
                <a:gd name="T37" fmla="*/ 66 h 83"/>
                <a:gd name="T38" fmla="*/ 10 w 94"/>
                <a:gd name="T39" fmla="*/ 67 h 83"/>
                <a:gd name="T40" fmla="*/ 13 w 94"/>
                <a:gd name="T41" fmla="*/ 70 h 83"/>
                <a:gd name="T42" fmla="*/ 14 w 94"/>
                <a:gd name="T43" fmla="*/ 70 h 83"/>
                <a:gd name="T44" fmla="*/ 16 w 94"/>
                <a:gd name="T45" fmla="*/ 70 h 83"/>
                <a:gd name="T46" fmla="*/ 19 w 94"/>
                <a:gd name="T47" fmla="*/ 70 h 83"/>
                <a:gd name="T48" fmla="*/ 21 w 94"/>
                <a:gd name="T49" fmla="*/ 69 h 83"/>
                <a:gd name="T50" fmla="*/ 21 w 94"/>
                <a:gd name="T51" fmla="*/ 70 h 83"/>
                <a:gd name="T52" fmla="*/ 24 w 94"/>
                <a:gd name="T53" fmla="*/ 70 h 83"/>
                <a:gd name="T54" fmla="*/ 25 w 94"/>
                <a:gd name="T55" fmla="*/ 70 h 83"/>
                <a:gd name="T56" fmla="*/ 27 w 94"/>
                <a:gd name="T57" fmla="*/ 71 h 83"/>
                <a:gd name="T58" fmla="*/ 29 w 94"/>
                <a:gd name="T59" fmla="*/ 73 h 83"/>
                <a:gd name="T60" fmla="*/ 76 w 94"/>
                <a:gd name="T61" fmla="*/ 83 h 83"/>
                <a:gd name="T62" fmla="*/ 76 w 94"/>
                <a:gd name="T63" fmla="*/ 79 h 83"/>
                <a:gd name="T64" fmla="*/ 84 w 94"/>
                <a:gd name="T65" fmla="*/ 75 h 83"/>
                <a:gd name="T66" fmla="*/ 88 w 94"/>
                <a:gd name="T67" fmla="*/ 75 h 83"/>
                <a:gd name="T68" fmla="*/ 89 w 94"/>
                <a:gd name="T69" fmla="*/ 74 h 83"/>
                <a:gd name="T70" fmla="*/ 90 w 94"/>
                <a:gd name="T71" fmla="*/ 69 h 83"/>
                <a:gd name="T72" fmla="*/ 91 w 94"/>
                <a:gd name="T73" fmla="*/ 61 h 83"/>
                <a:gd name="T74" fmla="*/ 92 w 94"/>
                <a:gd name="T75" fmla="*/ 58 h 83"/>
                <a:gd name="T76" fmla="*/ 93 w 94"/>
                <a:gd name="T77" fmla="*/ 57 h 83"/>
                <a:gd name="T78" fmla="*/ 94 w 94"/>
                <a:gd name="T79" fmla="*/ 56 h 83"/>
                <a:gd name="T80" fmla="*/ 86 w 94"/>
                <a:gd name="T81" fmla="*/ 49 h 83"/>
                <a:gd name="T82" fmla="*/ 77 w 94"/>
                <a:gd name="T83" fmla="*/ 38 h 83"/>
                <a:gd name="T84" fmla="*/ 67 w 94"/>
                <a:gd name="T85" fmla="*/ 34 h 83"/>
                <a:gd name="T86" fmla="*/ 64 w 94"/>
                <a:gd name="T87" fmla="*/ 29 h 83"/>
                <a:gd name="T88" fmla="*/ 45 w 94"/>
                <a:gd name="T8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83">
                  <a:moveTo>
                    <a:pt x="35" y="0"/>
                  </a:moveTo>
                  <a:cubicBezTo>
                    <a:pt x="35" y="2"/>
                    <a:pt x="35" y="3"/>
                    <a:pt x="34" y="4"/>
                  </a:cubicBezTo>
                  <a:cubicBezTo>
                    <a:pt x="34" y="6"/>
                    <a:pt x="32" y="7"/>
                    <a:pt x="30" y="8"/>
                  </a:cubicBezTo>
                  <a:cubicBezTo>
                    <a:pt x="29" y="9"/>
                    <a:pt x="28" y="9"/>
                    <a:pt x="28" y="10"/>
                  </a:cubicBezTo>
                  <a:cubicBezTo>
                    <a:pt x="25" y="11"/>
                    <a:pt x="23" y="13"/>
                    <a:pt x="20" y="15"/>
                  </a:cubicBezTo>
                  <a:cubicBezTo>
                    <a:pt x="19" y="15"/>
                    <a:pt x="19" y="15"/>
                    <a:pt x="19" y="15"/>
                  </a:cubicBezTo>
                  <a:cubicBezTo>
                    <a:pt x="18" y="16"/>
                    <a:pt x="18" y="16"/>
                    <a:pt x="17" y="17"/>
                  </a:cubicBezTo>
                  <a:cubicBezTo>
                    <a:pt x="17" y="18"/>
                    <a:pt x="17" y="18"/>
                    <a:pt x="16" y="19"/>
                  </a:cubicBezTo>
                  <a:cubicBezTo>
                    <a:pt x="16" y="19"/>
                    <a:pt x="16" y="20"/>
                    <a:pt x="15" y="20"/>
                  </a:cubicBezTo>
                  <a:cubicBezTo>
                    <a:pt x="15" y="21"/>
                    <a:pt x="15" y="21"/>
                    <a:pt x="15" y="21"/>
                  </a:cubicBezTo>
                  <a:cubicBezTo>
                    <a:pt x="16" y="22"/>
                    <a:pt x="16" y="23"/>
                    <a:pt x="16" y="24"/>
                  </a:cubicBezTo>
                  <a:cubicBezTo>
                    <a:pt x="17" y="24"/>
                    <a:pt x="17" y="24"/>
                    <a:pt x="17" y="24"/>
                  </a:cubicBezTo>
                  <a:cubicBezTo>
                    <a:pt x="18" y="24"/>
                    <a:pt x="18" y="24"/>
                    <a:pt x="18" y="24"/>
                  </a:cubicBezTo>
                  <a:cubicBezTo>
                    <a:pt x="20" y="25"/>
                    <a:pt x="23" y="25"/>
                    <a:pt x="24" y="28"/>
                  </a:cubicBezTo>
                  <a:cubicBezTo>
                    <a:pt x="24" y="28"/>
                    <a:pt x="24" y="28"/>
                    <a:pt x="24" y="29"/>
                  </a:cubicBezTo>
                  <a:cubicBezTo>
                    <a:pt x="24" y="30"/>
                    <a:pt x="24" y="30"/>
                    <a:pt x="24" y="30"/>
                  </a:cubicBezTo>
                  <a:cubicBezTo>
                    <a:pt x="24" y="31"/>
                    <a:pt x="24" y="33"/>
                    <a:pt x="22" y="34"/>
                  </a:cubicBezTo>
                  <a:cubicBezTo>
                    <a:pt x="22" y="35"/>
                    <a:pt x="22" y="35"/>
                    <a:pt x="21" y="35"/>
                  </a:cubicBezTo>
                  <a:cubicBezTo>
                    <a:pt x="20" y="36"/>
                    <a:pt x="19" y="37"/>
                    <a:pt x="17" y="37"/>
                  </a:cubicBezTo>
                  <a:cubicBezTo>
                    <a:pt x="17" y="38"/>
                    <a:pt x="17" y="38"/>
                    <a:pt x="17" y="38"/>
                  </a:cubicBezTo>
                  <a:cubicBezTo>
                    <a:pt x="16" y="38"/>
                    <a:pt x="15" y="39"/>
                    <a:pt x="14" y="39"/>
                  </a:cubicBezTo>
                  <a:cubicBezTo>
                    <a:pt x="13" y="39"/>
                    <a:pt x="13" y="40"/>
                    <a:pt x="12" y="40"/>
                  </a:cubicBezTo>
                  <a:cubicBezTo>
                    <a:pt x="12" y="40"/>
                    <a:pt x="12" y="40"/>
                    <a:pt x="11" y="40"/>
                  </a:cubicBezTo>
                  <a:cubicBezTo>
                    <a:pt x="10" y="40"/>
                    <a:pt x="10" y="40"/>
                    <a:pt x="9" y="39"/>
                  </a:cubicBezTo>
                  <a:cubicBezTo>
                    <a:pt x="8" y="39"/>
                    <a:pt x="8" y="39"/>
                    <a:pt x="8" y="39"/>
                  </a:cubicBezTo>
                  <a:cubicBezTo>
                    <a:pt x="7" y="40"/>
                    <a:pt x="7" y="40"/>
                    <a:pt x="7" y="40"/>
                  </a:cubicBezTo>
                  <a:cubicBezTo>
                    <a:pt x="7" y="40"/>
                    <a:pt x="6" y="40"/>
                    <a:pt x="6" y="41"/>
                  </a:cubicBezTo>
                  <a:cubicBezTo>
                    <a:pt x="6" y="41"/>
                    <a:pt x="5" y="41"/>
                    <a:pt x="5" y="41"/>
                  </a:cubicBezTo>
                  <a:cubicBezTo>
                    <a:pt x="5" y="42"/>
                    <a:pt x="5" y="42"/>
                    <a:pt x="5" y="43"/>
                  </a:cubicBezTo>
                  <a:cubicBezTo>
                    <a:pt x="5" y="43"/>
                    <a:pt x="5" y="43"/>
                    <a:pt x="5" y="43"/>
                  </a:cubicBezTo>
                  <a:cubicBezTo>
                    <a:pt x="5" y="44"/>
                    <a:pt x="5" y="44"/>
                    <a:pt x="5" y="45"/>
                  </a:cubicBezTo>
                  <a:cubicBezTo>
                    <a:pt x="5" y="46"/>
                    <a:pt x="5" y="46"/>
                    <a:pt x="5" y="47"/>
                  </a:cubicBezTo>
                  <a:cubicBezTo>
                    <a:pt x="5" y="47"/>
                    <a:pt x="5" y="48"/>
                    <a:pt x="5" y="48"/>
                  </a:cubicBezTo>
                  <a:cubicBezTo>
                    <a:pt x="6" y="49"/>
                    <a:pt x="6" y="50"/>
                    <a:pt x="5" y="52"/>
                  </a:cubicBezTo>
                  <a:cubicBezTo>
                    <a:pt x="4" y="53"/>
                    <a:pt x="3" y="54"/>
                    <a:pt x="1" y="55"/>
                  </a:cubicBezTo>
                  <a:cubicBezTo>
                    <a:pt x="1" y="56"/>
                    <a:pt x="1" y="56"/>
                    <a:pt x="1" y="56"/>
                  </a:cubicBezTo>
                  <a:cubicBezTo>
                    <a:pt x="0" y="56"/>
                    <a:pt x="0" y="56"/>
                    <a:pt x="0" y="56"/>
                  </a:cubicBezTo>
                  <a:cubicBezTo>
                    <a:pt x="8" y="66"/>
                    <a:pt x="8" y="66"/>
                    <a:pt x="8" y="66"/>
                  </a:cubicBezTo>
                  <a:cubicBezTo>
                    <a:pt x="9" y="67"/>
                    <a:pt x="9" y="67"/>
                    <a:pt x="9" y="67"/>
                  </a:cubicBezTo>
                  <a:cubicBezTo>
                    <a:pt x="10" y="67"/>
                    <a:pt x="10" y="67"/>
                    <a:pt x="10" y="67"/>
                  </a:cubicBezTo>
                  <a:cubicBezTo>
                    <a:pt x="11" y="68"/>
                    <a:pt x="12" y="69"/>
                    <a:pt x="13" y="70"/>
                  </a:cubicBezTo>
                  <a:cubicBezTo>
                    <a:pt x="13" y="70"/>
                    <a:pt x="13" y="70"/>
                    <a:pt x="13" y="70"/>
                  </a:cubicBezTo>
                  <a:cubicBezTo>
                    <a:pt x="14" y="70"/>
                    <a:pt x="14" y="70"/>
                    <a:pt x="14" y="70"/>
                  </a:cubicBezTo>
                  <a:cubicBezTo>
                    <a:pt x="14" y="70"/>
                    <a:pt x="14" y="70"/>
                    <a:pt x="14" y="70"/>
                  </a:cubicBezTo>
                  <a:cubicBezTo>
                    <a:pt x="15" y="70"/>
                    <a:pt x="15" y="70"/>
                    <a:pt x="15" y="70"/>
                  </a:cubicBezTo>
                  <a:cubicBezTo>
                    <a:pt x="16" y="70"/>
                    <a:pt x="16" y="70"/>
                    <a:pt x="16" y="70"/>
                  </a:cubicBezTo>
                  <a:cubicBezTo>
                    <a:pt x="17" y="70"/>
                    <a:pt x="17" y="70"/>
                    <a:pt x="18" y="70"/>
                  </a:cubicBezTo>
                  <a:cubicBezTo>
                    <a:pt x="19" y="70"/>
                    <a:pt x="19" y="70"/>
                    <a:pt x="19" y="70"/>
                  </a:cubicBezTo>
                  <a:cubicBezTo>
                    <a:pt x="19" y="69"/>
                    <a:pt x="20" y="69"/>
                    <a:pt x="20" y="69"/>
                  </a:cubicBezTo>
                  <a:cubicBezTo>
                    <a:pt x="21" y="69"/>
                    <a:pt x="21" y="69"/>
                    <a:pt x="21" y="69"/>
                  </a:cubicBezTo>
                  <a:cubicBezTo>
                    <a:pt x="21" y="70"/>
                    <a:pt x="21" y="70"/>
                    <a:pt x="21" y="70"/>
                  </a:cubicBezTo>
                  <a:cubicBezTo>
                    <a:pt x="21" y="70"/>
                    <a:pt x="21" y="70"/>
                    <a:pt x="21" y="70"/>
                  </a:cubicBezTo>
                  <a:cubicBezTo>
                    <a:pt x="22" y="70"/>
                    <a:pt x="22" y="70"/>
                    <a:pt x="22" y="70"/>
                  </a:cubicBezTo>
                  <a:cubicBezTo>
                    <a:pt x="23" y="70"/>
                    <a:pt x="23" y="70"/>
                    <a:pt x="24" y="70"/>
                  </a:cubicBezTo>
                  <a:cubicBezTo>
                    <a:pt x="24" y="70"/>
                    <a:pt x="24" y="70"/>
                    <a:pt x="24" y="70"/>
                  </a:cubicBezTo>
                  <a:cubicBezTo>
                    <a:pt x="25" y="70"/>
                    <a:pt x="25" y="70"/>
                    <a:pt x="25" y="70"/>
                  </a:cubicBezTo>
                  <a:cubicBezTo>
                    <a:pt x="26" y="70"/>
                    <a:pt x="26" y="70"/>
                    <a:pt x="27" y="71"/>
                  </a:cubicBezTo>
                  <a:cubicBezTo>
                    <a:pt x="27" y="71"/>
                    <a:pt x="27" y="71"/>
                    <a:pt x="27" y="71"/>
                  </a:cubicBezTo>
                  <a:cubicBezTo>
                    <a:pt x="27" y="71"/>
                    <a:pt x="27" y="71"/>
                    <a:pt x="27" y="71"/>
                  </a:cubicBezTo>
                  <a:cubicBezTo>
                    <a:pt x="28" y="72"/>
                    <a:pt x="29" y="72"/>
                    <a:pt x="29" y="73"/>
                  </a:cubicBezTo>
                  <a:cubicBezTo>
                    <a:pt x="31" y="75"/>
                    <a:pt x="32" y="78"/>
                    <a:pt x="31" y="83"/>
                  </a:cubicBezTo>
                  <a:cubicBezTo>
                    <a:pt x="76" y="83"/>
                    <a:pt x="76" y="83"/>
                    <a:pt x="76" y="83"/>
                  </a:cubicBezTo>
                  <a:cubicBezTo>
                    <a:pt x="76" y="81"/>
                    <a:pt x="76" y="81"/>
                    <a:pt x="76" y="81"/>
                  </a:cubicBezTo>
                  <a:cubicBezTo>
                    <a:pt x="76" y="81"/>
                    <a:pt x="76" y="80"/>
                    <a:pt x="76" y="79"/>
                  </a:cubicBezTo>
                  <a:cubicBezTo>
                    <a:pt x="77" y="78"/>
                    <a:pt x="79" y="76"/>
                    <a:pt x="81" y="75"/>
                  </a:cubicBezTo>
                  <a:cubicBezTo>
                    <a:pt x="82" y="75"/>
                    <a:pt x="83" y="75"/>
                    <a:pt x="84" y="75"/>
                  </a:cubicBezTo>
                  <a:cubicBezTo>
                    <a:pt x="85" y="75"/>
                    <a:pt x="86" y="75"/>
                    <a:pt x="86" y="75"/>
                  </a:cubicBezTo>
                  <a:cubicBezTo>
                    <a:pt x="87" y="75"/>
                    <a:pt x="88" y="75"/>
                    <a:pt x="88" y="75"/>
                  </a:cubicBezTo>
                  <a:cubicBezTo>
                    <a:pt x="89" y="75"/>
                    <a:pt x="89" y="75"/>
                    <a:pt x="89" y="75"/>
                  </a:cubicBezTo>
                  <a:cubicBezTo>
                    <a:pt x="89" y="75"/>
                    <a:pt x="89" y="74"/>
                    <a:pt x="89" y="74"/>
                  </a:cubicBezTo>
                  <a:cubicBezTo>
                    <a:pt x="89" y="73"/>
                    <a:pt x="89" y="73"/>
                    <a:pt x="89" y="73"/>
                  </a:cubicBezTo>
                  <a:cubicBezTo>
                    <a:pt x="89" y="72"/>
                    <a:pt x="90" y="70"/>
                    <a:pt x="90" y="69"/>
                  </a:cubicBezTo>
                  <a:cubicBezTo>
                    <a:pt x="89" y="68"/>
                    <a:pt x="89" y="68"/>
                    <a:pt x="89" y="68"/>
                  </a:cubicBezTo>
                  <a:cubicBezTo>
                    <a:pt x="89" y="66"/>
                    <a:pt x="90" y="63"/>
                    <a:pt x="91" y="61"/>
                  </a:cubicBezTo>
                  <a:cubicBezTo>
                    <a:pt x="91" y="60"/>
                    <a:pt x="91" y="59"/>
                    <a:pt x="91" y="59"/>
                  </a:cubicBezTo>
                  <a:cubicBezTo>
                    <a:pt x="92" y="58"/>
                    <a:pt x="92" y="58"/>
                    <a:pt x="92" y="58"/>
                  </a:cubicBezTo>
                  <a:cubicBezTo>
                    <a:pt x="93" y="57"/>
                    <a:pt x="93" y="57"/>
                    <a:pt x="93" y="57"/>
                  </a:cubicBezTo>
                  <a:cubicBezTo>
                    <a:pt x="93" y="57"/>
                    <a:pt x="93" y="57"/>
                    <a:pt x="93" y="57"/>
                  </a:cubicBezTo>
                  <a:cubicBezTo>
                    <a:pt x="93" y="56"/>
                    <a:pt x="93" y="56"/>
                    <a:pt x="93" y="56"/>
                  </a:cubicBezTo>
                  <a:cubicBezTo>
                    <a:pt x="94" y="56"/>
                    <a:pt x="94" y="56"/>
                    <a:pt x="94" y="56"/>
                  </a:cubicBezTo>
                  <a:cubicBezTo>
                    <a:pt x="94" y="53"/>
                    <a:pt x="93" y="51"/>
                    <a:pt x="92" y="50"/>
                  </a:cubicBezTo>
                  <a:cubicBezTo>
                    <a:pt x="91" y="49"/>
                    <a:pt x="88" y="49"/>
                    <a:pt x="86" y="49"/>
                  </a:cubicBezTo>
                  <a:cubicBezTo>
                    <a:pt x="85" y="48"/>
                    <a:pt x="84" y="47"/>
                    <a:pt x="84" y="46"/>
                  </a:cubicBezTo>
                  <a:cubicBezTo>
                    <a:pt x="82" y="43"/>
                    <a:pt x="80" y="41"/>
                    <a:pt x="77" y="38"/>
                  </a:cubicBezTo>
                  <a:cubicBezTo>
                    <a:pt x="74" y="36"/>
                    <a:pt x="72" y="36"/>
                    <a:pt x="69" y="34"/>
                  </a:cubicBezTo>
                  <a:cubicBezTo>
                    <a:pt x="68" y="34"/>
                    <a:pt x="67" y="34"/>
                    <a:pt x="67" y="34"/>
                  </a:cubicBezTo>
                  <a:cubicBezTo>
                    <a:pt x="63" y="34"/>
                    <a:pt x="62" y="43"/>
                    <a:pt x="61" y="45"/>
                  </a:cubicBezTo>
                  <a:cubicBezTo>
                    <a:pt x="59" y="40"/>
                    <a:pt x="64" y="34"/>
                    <a:pt x="64" y="29"/>
                  </a:cubicBezTo>
                  <a:cubicBezTo>
                    <a:pt x="64" y="22"/>
                    <a:pt x="59" y="18"/>
                    <a:pt x="55" y="14"/>
                  </a:cubicBezTo>
                  <a:cubicBezTo>
                    <a:pt x="52" y="10"/>
                    <a:pt x="49" y="8"/>
                    <a:pt x="45" y="5"/>
                  </a:cubicBezTo>
                  <a:cubicBezTo>
                    <a:pt x="41" y="4"/>
                    <a:pt x="38" y="2"/>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4" name="Freeform 381">
              <a:extLst>
                <a:ext uri="{FF2B5EF4-FFF2-40B4-BE49-F238E27FC236}">
                  <a16:creationId xmlns:a16="http://schemas.microsoft.com/office/drawing/2014/main" id="{79C03A0C-A792-4CC9-A63E-7EF6210095E3}"/>
                </a:ext>
              </a:extLst>
            </p:cNvPr>
            <p:cNvSpPr>
              <a:spLocks/>
            </p:cNvSpPr>
            <p:nvPr/>
          </p:nvSpPr>
          <p:spPr bwMode="auto">
            <a:xfrm>
              <a:off x="10891829" y="8613010"/>
              <a:ext cx="96838" cy="101600"/>
            </a:xfrm>
            <a:custGeom>
              <a:avLst/>
              <a:gdLst>
                <a:gd name="T0" fmla="*/ 18 w 26"/>
                <a:gd name="T1" fmla="*/ 0 h 27"/>
                <a:gd name="T2" fmla="*/ 15 w 26"/>
                <a:gd name="T3" fmla="*/ 0 h 27"/>
                <a:gd name="T4" fmla="*/ 15 w 26"/>
                <a:gd name="T5" fmla="*/ 1 h 27"/>
                <a:gd name="T6" fmla="*/ 17 w 26"/>
                <a:gd name="T7" fmla="*/ 1 h 27"/>
                <a:gd name="T8" fmla="*/ 17 w 26"/>
                <a:gd name="T9" fmla="*/ 2 h 27"/>
                <a:gd name="T10" fmla="*/ 16 w 26"/>
                <a:gd name="T11" fmla="*/ 5 h 27"/>
                <a:gd name="T12" fmla="*/ 16 w 26"/>
                <a:gd name="T13" fmla="*/ 5 h 27"/>
                <a:gd name="T14" fmla="*/ 15 w 26"/>
                <a:gd name="T15" fmla="*/ 6 h 27"/>
                <a:gd name="T16" fmla="*/ 14 w 26"/>
                <a:gd name="T17" fmla="*/ 12 h 27"/>
                <a:gd name="T18" fmla="*/ 14 w 26"/>
                <a:gd name="T19" fmla="*/ 13 h 27"/>
                <a:gd name="T20" fmla="*/ 14 w 26"/>
                <a:gd name="T21" fmla="*/ 13 h 27"/>
                <a:gd name="T22" fmla="*/ 14 w 26"/>
                <a:gd name="T23" fmla="*/ 18 h 27"/>
                <a:gd name="T24" fmla="*/ 14 w 26"/>
                <a:gd name="T25" fmla="*/ 19 h 27"/>
                <a:gd name="T26" fmla="*/ 13 w 26"/>
                <a:gd name="T27" fmla="*/ 21 h 27"/>
                <a:gd name="T28" fmla="*/ 13 w 26"/>
                <a:gd name="T29" fmla="*/ 22 h 27"/>
                <a:gd name="T30" fmla="*/ 12 w 26"/>
                <a:gd name="T31" fmla="*/ 23 h 27"/>
                <a:gd name="T32" fmla="*/ 9 w 26"/>
                <a:gd name="T33" fmla="*/ 25 h 27"/>
                <a:gd name="T34" fmla="*/ 7 w 26"/>
                <a:gd name="T35" fmla="*/ 25 h 27"/>
                <a:gd name="T36" fmla="*/ 5 w 26"/>
                <a:gd name="T37" fmla="*/ 25 h 27"/>
                <a:gd name="T38" fmla="*/ 3 w 26"/>
                <a:gd name="T39" fmla="*/ 24 h 27"/>
                <a:gd name="T40" fmla="*/ 2 w 26"/>
                <a:gd name="T41" fmla="*/ 25 h 27"/>
                <a:gd name="T42" fmla="*/ 0 w 26"/>
                <a:gd name="T43" fmla="*/ 26 h 27"/>
                <a:gd name="T44" fmla="*/ 0 w 26"/>
                <a:gd name="T45" fmla="*/ 27 h 27"/>
                <a:gd name="T46" fmla="*/ 26 w 26"/>
                <a:gd name="T47" fmla="*/ 27 h 27"/>
                <a:gd name="T48" fmla="*/ 26 w 26"/>
                <a:gd name="T49" fmla="*/ 0 h 27"/>
                <a:gd name="T50" fmla="*/ 24 w 26"/>
                <a:gd name="T51" fmla="*/ 0 h 27"/>
                <a:gd name="T52" fmla="*/ 18 w 26"/>
                <a:gd name="T5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 h="27">
                  <a:moveTo>
                    <a:pt x="18" y="0"/>
                  </a:moveTo>
                  <a:cubicBezTo>
                    <a:pt x="17" y="0"/>
                    <a:pt x="16" y="0"/>
                    <a:pt x="15" y="0"/>
                  </a:cubicBezTo>
                  <a:cubicBezTo>
                    <a:pt x="15" y="1"/>
                    <a:pt x="15" y="1"/>
                    <a:pt x="15" y="1"/>
                  </a:cubicBezTo>
                  <a:cubicBezTo>
                    <a:pt x="17" y="1"/>
                    <a:pt x="17" y="1"/>
                    <a:pt x="17" y="1"/>
                  </a:cubicBezTo>
                  <a:cubicBezTo>
                    <a:pt x="17" y="2"/>
                    <a:pt x="17" y="2"/>
                    <a:pt x="17" y="2"/>
                  </a:cubicBezTo>
                  <a:cubicBezTo>
                    <a:pt x="17" y="3"/>
                    <a:pt x="16" y="4"/>
                    <a:pt x="16" y="5"/>
                  </a:cubicBezTo>
                  <a:cubicBezTo>
                    <a:pt x="16" y="5"/>
                    <a:pt x="16" y="5"/>
                    <a:pt x="16" y="5"/>
                  </a:cubicBezTo>
                  <a:cubicBezTo>
                    <a:pt x="16" y="6"/>
                    <a:pt x="15" y="6"/>
                    <a:pt x="15" y="6"/>
                  </a:cubicBezTo>
                  <a:cubicBezTo>
                    <a:pt x="15" y="8"/>
                    <a:pt x="14" y="10"/>
                    <a:pt x="14" y="12"/>
                  </a:cubicBezTo>
                  <a:cubicBezTo>
                    <a:pt x="14" y="13"/>
                    <a:pt x="14" y="13"/>
                    <a:pt x="14" y="13"/>
                  </a:cubicBezTo>
                  <a:cubicBezTo>
                    <a:pt x="14" y="13"/>
                    <a:pt x="14" y="13"/>
                    <a:pt x="14" y="13"/>
                  </a:cubicBezTo>
                  <a:cubicBezTo>
                    <a:pt x="14" y="15"/>
                    <a:pt x="14" y="17"/>
                    <a:pt x="14" y="18"/>
                  </a:cubicBezTo>
                  <a:cubicBezTo>
                    <a:pt x="14" y="19"/>
                    <a:pt x="14" y="19"/>
                    <a:pt x="14" y="19"/>
                  </a:cubicBezTo>
                  <a:cubicBezTo>
                    <a:pt x="14" y="19"/>
                    <a:pt x="13" y="20"/>
                    <a:pt x="13" y="21"/>
                  </a:cubicBezTo>
                  <a:cubicBezTo>
                    <a:pt x="13" y="22"/>
                    <a:pt x="13" y="22"/>
                    <a:pt x="13" y="22"/>
                  </a:cubicBezTo>
                  <a:cubicBezTo>
                    <a:pt x="12" y="23"/>
                    <a:pt x="12" y="23"/>
                    <a:pt x="12" y="23"/>
                  </a:cubicBezTo>
                  <a:cubicBezTo>
                    <a:pt x="12" y="24"/>
                    <a:pt x="10" y="25"/>
                    <a:pt x="9" y="25"/>
                  </a:cubicBezTo>
                  <a:cubicBezTo>
                    <a:pt x="8" y="25"/>
                    <a:pt x="8" y="25"/>
                    <a:pt x="7" y="25"/>
                  </a:cubicBezTo>
                  <a:cubicBezTo>
                    <a:pt x="6" y="25"/>
                    <a:pt x="5" y="25"/>
                    <a:pt x="5" y="25"/>
                  </a:cubicBezTo>
                  <a:cubicBezTo>
                    <a:pt x="4" y="25"/>
                    <a:pt x="3" y="25"/>
                    <a:pt x="3" y="24"/>
                  </a:cubicBezTo>
                  <a:cubicBezTo>
                    <a:pt x="2" y="25"/>
                    <a:pt x="2" y="25"/>
                    <a:pt x="2" y="25"/>
                  </a:cubicBezTo>
                  <a:cubicBezTo>
                    <a:pt x="1" y="25"/>
                    <a:pt x="1" y="25"/>
                    <a:pt x="0" y="26"/>
                  </a:cubicBezTo>
                  <a:cubicBezTo>
                    <a:pt x="0" y="27"/>
                    <a:pt x="0" y="27"/>
                    <a:pt x="0" y="27"/>
                  </a:cubicBezTo>
                  <a:cubicBezTo>
                    <a:pt x="26" y="27"/>
                    <a:pt x="26" y="27"/>
                    <a:pt x="26" y="27"/>
                  </a:cubicBezTo>
                  <a:cubicBezTo>
                    <a:pt x="26" y="0"/>
                    <a:pt x="26" y="0"/>
                    <a:pt x="26" y="0"/>
                  </a:cubicBezTo>
                  <a:cubicBezTo>
                    <a:pt x="26" y="0"/>
                    <a:pt x="25" y="0"/>
                    <a:pt x="24" y="0"/>
                  </a:cubicBezTo>
                  <a:cubicBezTo>
                    <a:pt x="23" y="0"/>
                    <a:pt x="20"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5" name="Freeform 5">
              <a:extLst>
                <a:ext uri="{FF2B5EF4-FFF2-40B4-BE49-F238E27FC236}">
                  <a16:creationId xmlns:a16="http://schemas.microsoft.com/office/drawing/2014/main" id="{2B069DB0-638B-4A6B-B8D0-ACBBFEBED9BD}"/>
                </a:ext>
              </a:extLst>
            </p:cNvPr>
            <p:cNvSpPr>
              <a:spLocks noEditPoints="1"/>
            </p:cNvSpPr>
            <p:nvPr/>
          </p:nvSpPr>
          <p:spPr bwMode="auto">
            <a:xfrm>
              <a:off x="3648399" y="1406918"/>
              <a:ext cx="7340600" cy="3843338"/>
            </a:xfrm>
            <a:custGeom>
              <a:avLst/>
              <a:gdLst>
                <a:gd name="T0" fmla="*/ 1866 w 1955"/>
                <a:gd name="T1" fmla="*/ 627 h 1022"/>
                <a:gd name="T2" fmla="*/ 1798 w 1955"/>
                <a:gd name="T3" fmla="*/ 492 h 1022"/>
                <a:gd name="T4" fmla="*/ 1752 w 1955"/>
                <a:gd name="T5" fmla="*/ 470 h 1022"/>
                <a:gd name="T6" fmla="*/ 1748 w 1955"/>
                <a:gd name="T7" fmla="*/ 488 h 1022"/>
                <a:gd name="T8" fmla="*/ 1736 w 1955"/>
                <a:gd name="T9" fmla="*/ 508 h 1022"/>
                <a:gd name="T10" fmla="*/ 1731 w 1955"/>
                <a:gd name="T11" fmla="*/ 505 h 1022"/>
                <a:gd name="T12" fmla="*/ 1694 w 1955"/>
                <a:gd name="T13" fmla="*/ 524 h 1022"/>
                <a:gd name="T14" fmla="*/ 1670 w 1955"/>
                <a:gd name="T15" fmla="*/ 534 h 1022"/>
                <a:gd name="T16" fmla="*/ 1681 w 1955"/>
                <a:gd name="T17" fmla="*/ 505 h 1022"/>
                <a:gd name="T18" fmla="*/ 1647 w 1955"/>
                <a:gd name="T19" fmla="*/ 503 h 1022"/>
                <a:gd name="T20" fmla="*/ 1662 w 1955"/>
                <a:gd name="T21" fmla="*/ 490 h 1022"/>
                <a:gd name="T22" fmla="*/ 1657 w 1955"/>
                <a:gd name="T23" fmla="*/ 431 h 1022"/>
                <a:gd name="T24" fmla="*/ 1456 w 1955"/>
                <a:gd name="T25" fmla="*/ 383 h 1022"/>
                <a:gd name="T26" fmla="*/ 1466 w 1955"/>
                <a:gd name="T27" fmla="*/ 475 h 1022"/>
                <a:gd name="T28" fmla="*/ 1449 w 1955"/>
                <a:gd name="T29" fmla="*/ 500 h 1022"/>
                <a:gd name="T30" fmla="*/ 1473 w 1955"/>
                <a:gd name="T31" fmla="*/ 528 h 1022"/>
                <a:gd name="T32" fmla="*/ 1492 w 1955"/>
                <a:gd name="T33" fmla="*/ 590 h 1022"/>
                <a:gd name="T34" fmla="*/ 1434 w 1955"/>
                <a:gd name="T35" fmla="*/ 658 h 1022"/>
                <a:gd name="T36" fmla="*/ 1438 w 1955"/>
                <a:gd name="T37" fmla="*/ 695 h 1022"/>
                <a:gd name="T38" fmla="*/ 1438 w 1955"/>
                <a:gd name="T39" fmla="*/ 748 h 1022"/>
                <a:gd name="T40" fmla="*/ 1394 w 1955"/>
                <a:gd name="T41" fmla="*/ 753 h 1022"/>
                <a:gd name="T42" fmla="*/ 1384 w 1955"/>
                <a:gd name="T43" fmla="*/ 724 h 1022"/>
                <a:gd name="T44" fmla="*/ 1359 w 1955"/>
                <a:gd name="T45" fmla="*/ 660 h 1022"/>
                <a:gd name="T46" fmla="*/ 1298 w 1955"/>
                <a:gd name="T47" fmla="*/ 622 h 1022"/>
                <a:gd name="T48" fmla="*/ 1228 w 1955"/>
                <a:gd name="T49" fmla="*/ 585 h 1022"/>
                <a:gd name="T50" fmla="*/ 1124 w 1955"/>
                <a:gd name="T51" fmla="*/ 328 h 1022"/>
                <a:gd name="T52" fmla="*/ 1303 w 1955"/>
                <a:gd name="T53" fmla="*/ 250 h 1022"/>
                <a:gd name="T54" fmla="*/ 1286 w 1955"/>
                <a:gd name="T55" fmla="*/ 109 h 1022"/>
                <a:gd name="T56" fmla="*/ 1135 w 1955"/>
                <a:gd name="T57" fmla="*/ 84 h 1022"/>
                <a:gd name="T58" fmla="*/ 1081 w 1955"/>
                <a:gd name="T59" fmla="*/ 122 h 1022"/>
                <a:gd name="T60" fmla="*/ 950 w 1955"/>
                <a:gd name="T61" fmla="*/ 175 h 1022"/>
                <a:gd name="T62" fmla="*/ 740 w 1955"/>
                <a:gd name="T63" fmla="*/ 184 h 1022"/>
                <a:gd name="T64" fmla="*/ 268 w 1955"/>
                <a:gd name="T65" fmla="*/ 93 h 1022"/>
                <a:gd name="T66" fmla="*/ 138 w 1955"/>
                <a:gd name="T67" fmla="*/ 95 h 1022"/>
                <a:gd name="T68" fmla="*/ 131 w 1955"/>
                <a:gd name="T69" fmla="*/ 475 h 1022"/>
                <a:gd name="T70" fmla="*/ 246 w 1955"/>
                <a:gd name="T71" fmla="*/ 655 h 1022"/>
                <a:gd name="T72" fmla="*/ 288 w 1955"/>
                <a:gd name="T73" fmla="*/ 701 h 1022"/>
                <a:gd name="T74" fmla="*/ 312 w 1955"/>
                <a:gd name="T75" fmla="*/ 737 h 1022"/>
                <a:gd name="T76" fmla="*/ 383 w 1955"/>
                <a:gd name="T77" fmla="*/ 772 h 1022"/>
                <a:gd name="T78" fmla="*/ 1140 w 1955"/>
                <a:gd name="T79" fmla="*/ 838 h 1022"/>
                <a:gd name="T80" fmla="*/ 1207 w 1955"/>
                <a:gd name="T81" fmla="*/ 831 h 1022"/>
                <a:gd name="T82" fmla="*/ 1218 w 1955"/>
                <a:gd name="T83" fmla="*/ 823 h 1022"/>
                <a:gd name="T84" fmla="*/ 1224 w 1955"/>
                <a:gd name="T85" fmla="*/ 818 h 1022"/>
                <a:gd name="T86" fmla="*/ 1271 w 1955"/>
                <a:gd name="T87" fmla="*/ 841 h 1022"/>
                <a:gd name="T88" fmla="*/ 1306 w 1955"/>
                <a:gd name="T89" fmla="*/ 867 h 1022"/>
                <a:gd name="T90" fmla="*/ 1318 w 1955"/>
                <a:gd name="T91" fmla="*/ 896 h 1022"/>
                <a:gd name="T92" fmla="*/ 1382 w 1955"/>
                <a:gd name="T93" fmla="*/ 907 h 1022"/>
                <a:gd name="T94" fmla="*/ 1400 w 1955"/>
                <a:gd name="T95" fmla="*/ 946 h 1022"/>
                <a:gd name="T96" fmla="*/ 1379 w 1955"/>
                <a:gd name="T97" fmla="*/ 933 h 1022"/>
                <a:gd name="T98" fmla="*/ 1356 w 1955"/>
                <a:gd name="T99" fmla="*/ 992 h 1022"/>
                <a:gd name="T100" fmla="*/ 1421 w 1955"/>
                <a:gd name="T101" fmla="*/ 977 h 1022"/>
                <a:gd name="T102" fmla="*/ 1667 w 1955"/>
                <a:gd name="T103" fmla="*/ 861 h 1022"/>
                <a:gd name="T104" fmla="*/ 1765 w 1955"/>
                <a:gd name="T105" fmla="*/ 875 h 1022"/>
                <a:gd name="T106" fmla="*/ 1779 w 1955"/>
                <a:gd name="T107" fmla="*/ 832 h 1022"/>
                <a:gd name="T108" fmla="*/ 1707 w 1955"/>
                <a:gd name="T109" fmla="*/ 820 h 1022"/>
                <a:gd name="T110" fmla="*/ 1642 w 1955"/>
                <a:gd name="T111" fmla="*/ 857 h 1022"/>
                <a:gd name="T112" fmla="*/ 1620 w 1955"/>
                <a:gd name="T113" fmla="*/ 834 h 1022"/>
                <a:gd name="T114" fmla="*/ 1672 w 1955"/>
                <a:gd name="T115" fmla="*/ 821 h 1022"/>
                <a:gd name="T116" fmla="*/ 1735 w 1955"/>
                <a:gd name="T117" fmla="*/ 782 h 1022"/>
                <a:gd name="T118" fmla="*/ 1912 w 1955"/>
                <a:gd name="T119" fmla="*/ 804 h 1022"/>
                <a:gd name="T120" fmla="*/ 466 w 1955"/>
                <a:gd name="T121" fmla="*/ 277 h 1022"/>
                <a:gd name="T122" fmla="*/ 707 w 1955"/>
                <a:gd name="T123" fmla="*/ 374 h 1022"/>
                <a:gd name="T124" fmla="*/ 1034 w 1955"/>
                <a:gd name="T125" fmla="*/ 768 h 1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55" h="1022">
                  <a:moveTo>
                    <a:pt x="1952" y="846"/>
                  </a:moveTo>
                  <a:cubicBezTo>
                    <a:pt x="1953" y="846"/>
                    <a:pt x="1954" y="846"/>
                    <a:pt x="1955" y="846"/>
                  </a:cubicBezTo>
                  <a:cubicBezTo>
                    <a:pt x="1955" y="781"/>
                    <a:pt x="1955" y="781"/>
                    <a:pt x="1955" y="781"/>
                  </a:cubicBezTo>
                  <a:cubicBezTo>
                    <a:pt x="1953" y="783"/>
                    <a:pt x="1951" y="788"/>
                    <a:pt x="1950" y="789"/>
                  </a:cubicBezTo>
                  <a:cubicBezTo>
                    <a:pt x="1950" y="787"/>
                    <a:pt x="1950" y="786"/>
                    <a:pt x="1950" y="784"/>
                  </a:cubicBezTo>
                  <a:cubicBezTo>
                    <a:pt x="1950" y="784"/>
                    <a:pt x="1949" y="783"/>
                    <a:pt x="1948" y="783"/>
                  </a:cubicBezTo>
                  <a:cubicBezTo>
                    <a:pt x="1949" y="781"/>
                    <a:pt x="1950" y="778"/>
                    <a:pt x="1951" y="776"/>
                  </a:cubicBezTo>
                  <a:cubicBezTo>
                    <a:pt x="1952" y="774"/>
                    <a:pt x="1952" y="773"/>
                    <a:pt x="1953" y="772"/>
                  </a:cubicBezTo>
                  <a:cubicBezTo>
                    <a:pt x="1954" y="771"/>
                    <a:pt x="1955" y="769"/>
                    <a:pt x="1955" y="768"/>
                  </a:cubicBezTo>
                  <a:cubicBezTo>
                    <a:pt x="1955" y="674"/>
                    <a:pt x="1955" y="674"/>
                    <a:pt x="1955" y="674"/>
                  </a:cubicBezTo>
                  <a:cubicBezTo>
                    <a:pt x="1955" y="674"/>
                    <a:pt x="1954" y="674"/>
                    <a:pt x="1953" y="674"/>
                  </a:cubicBezTo>
                  <a:cubicBezTo>
                    <a:pt x="1953" y="674"/>
                    <a:pt x="1954" y="674"/>
                    <a:pt x="1955" y="673"/>
                  </a:cubicBezTo>
                  <a:cubicBezTo>
                    <a:pt x="1955" y="671"/>
                    <a:pt x="1955" y="671"/>
                    <a:pt x="1955" y="671"/>
                  </a:cubicBezTo>
                  <a:cubicBezTo>
                    <a:pt x="1955" y="671"/>
                    <a:pt x="1955" y="671"/>
                    <a:pt x="1955" y="671"/>
                  </a:cubicBezTo>
                  <a:cubicBezTo>
                    <a:pt x="1955" y="672"/>
                    <a:pt x="1955" y="672"/>
                    <a:pt x="1955" y="673"/>
                  </a:cubicBezTo>
                  <a:cubicBezTo>
                    <a:pt x="1952" y="672"/>
                    <a:pt x="1948" y="671"/>
                    <a:pt x="1945" y="674"/>
                  </a:cubicBezTo>
                  <a:cubicBezTo>
                    <a:pt x="1943" y="675"/>
                    <a:pt x="1943" y="677"/>
                    <a:pt x="1942" y="678"/>
                  </a:cubicBezTo>
                  <a:cubicBezTo>
                    <a:pt x="1941" y="680"/>
                    <a:pt x="1939" y="682"/>
                    <a:pt x="1938" y="681"/>
                  </a:cubicBezTo>
                  <a:cubicBezTo>
                    <a:pt x="1939" y="678"/>
                    <a:pt x="1939" y="674"/>
                    <a:pt x="1934" y="677"/>
                  </a:cubicBezTo>
                  <a:cubicBezTo>
                    <a:pt x="1935" y="675"/>
                    <a:pt x="1938" y="674"/>
                    <a:pt x="1940" y="673"/>
                  </a:cubicBezTo>
                  <a:cubicBezTo>
                    <a:pt x="1941" y="673"/>
                    <a:pt x="1943" y="672"/>
                    <a:pt x="1943" y="672"/>
                  </a:cubicBezTo>
                  <a:cubicBezTo>
                    <a:pt x="1944" y="671"/>
                    <a:pt x="1943" y="670"/>
                    <a:pt x="1944" y="669"/>
                  </a:cubicBezTo>
                  <a:cubicBezTo>
                    <a:pt x="1944" y="668"/>
                    <a:pt x="1943" y="667"/>
                    <a:pt x="1942" y="666"/>
                  </a:cubicBezTo>
                  <a:cubicBezTo>
                    <a:pt x="1942" y="665"/>
                    <a:pt x="1943" y="666"/>
                    <a:pt x="1943" y="665"/>
                  </a:cubicBezTo>
                  <a:cubicBezTo>
                    <a:pt x="1939" y="662"/>
                    <a:pt x="1934" y="658"/>
                    <a:pt x="1929" y="657"/>
                  </a:cubicBezTo>
                  <a:cubicBezTo>
                    <a:pt x="1927" y="657"/>
                    <a:pt x="1926" y="657"/>
                    <a:pt x="1923" y="656"/>
                  </a:cubicBezTo>
                  <a:cubicBezTo>
                    <a:pt x="1921" y="656"/>
                    <a:pt x="1914" y="655"/>
                    <a:pt x="1913" y="659"/>
                  </a:cubicBezTo>
                  <a:cubicBezTo>
                    <a:pt x="1918" y="661"/>
                    <a:pt x="1923" y="658"/>
                    <a:pt x="1927" y="661"/>
                  </a:cubicBezTo>
                  <a:cubicBezTo>
                    <a:pt x="1925" y="661"/>
                    <a:pt x="1923" y="661"/>
                    <a:pt x="1921" y="661"/>
                  </a:cubicBezTo>
                  <a:cubicBezTo>
                    <a:pt x="1919" y="661"/>
                    <a:pt x="1919" y="661"/>
                    <a:pt x="1917" y="661"/>
                  </a:cubicBezTo>
                  <a:cubicBezTo>
                    <a:pt x="1915" y="662"/>
                    <a:pt x="1912" y="663"/>
                    <a:pt x="1910" y="663"/>
                  </a:cubicBezTo>
                  <a:cubicBezTo>
                    <a:pt x="1908" y="664"/>
                    <a:pt x="1905" y="665"/>
                    <a:pt x="1903" y="666"/>
                  </a:cubicBezTo>
                  <a:cubicBezTo>
                    <a:pt x="1902" y="666"/>
                    <a:pt x="1901" y="668"/>
                    <a:pt x="1900" y="669"/>
                  </a:cubicBezTo>
                  <a:cubicBezTo>
                    <a:pt x="1900" y="669"/>
                    <a:pt x="1899" y="669"/>
                    <a:pt x="1898" y="670"/>
                  </a:cubicBezTo>
                  <a:cubicBezTo>
                    <a:pt x="1898" y="670"/>
                    <a:pt x="1899" y="671"/>
                    <a:pt x="1899" y="672"/>
                  </a:cubicBezTo>
                  <a:cubicBezTo>
                    <a:pt x="1899" y="674"/>
                    <a:pt x="1896" y="673"/>
                    <a:pt x="1895" y="673"/>
                  </a:cubicBezTo>
                  <a:cubicBezTo>
                    <a:pt x="1892" y="674"/>
                    <a:pt x="1891" y="675"/>
                    <a:pt x="1889" y="676"/>
                  </a:cubicBezTo>
                  <a:cubicBezTo>
                    <a:pt x="1887" y="678"/>
                    <a:pt x="1886" y="679"/>
                    <a:pt x="1883" y="679"/>
                  </a:cubicBezTo>
                  <a:cubicBezTo>
                    <a:pt x="1879" y="679"/>
                    <a:pt x="1879" y="678"/>
                    <a:pt x="1879" y="681"/>
                  </a:cubicBezTo>
                  <a:cubicBezTo>
                    <a:pt x="1878" y="681"/>
                    <a:pt x="1877" y="683"/>
                    <a:pt x="1876" y="684"/>
                  </a:cubicBezTo>
                  <a:cubicBezTo>
                    <a:pt x="1875" y="685"/>
                    <a:pt x="1872" y="684"/>
                    <a:pt x="1874" y="686"/>
                  </a:cubicBezTo>
                  <a:cubicBezTo>
                    <a:pt x="1873" y="685"/>
                    <a:pt x="1869" y="687"/>
                    <a:pt x="1867" y="687"/>
                  </a:cubicBezTo>
                  <a:cubicBezTo>
                    <a:pt x="1869" y="686"/>
                    <a:pt x="1871" y="686"/>
                    <a:pt x="1872" y="684"/>
                  </a:cubicBezTo>
                  <a:cubicBezTo>
                    <a:pt x="1871" y="684"/>
                    <a:pt x="1869" y="684"/>
                    <a:pt x="1867" y="685"/>
                  </a:cubicBezTo>
                  <a:cubicBezTo>
                    <a:pt x="1868" y="683"/>
                    <a:pt x="1873" y="680"/>
                    <a:pt x="1876" y="681"/>
                  </a:cubicBezTo>
                  <a:cubicBezTo>
                    <a:pt x="1876" y="679"/>
                    <a:pt x="1868" y="676"/>
                    <a:pt x="1866" y="675"/>
                  </a:cubicBezTo>
                  <a:cubicBezTo>
                    <a:pt x="1863" y="673"/>
                    <a:pt x="1859" y="672"/>
                    <a:pt x="1855" y="673"/>
                  </a:cubicBezTo>
                  <a:cubicBezTo>
                    <a:pt x="1856" y="671"/>
                    <a:pt x="1856" y="670"/>
                    <a:pt x="1856" y="669"/>
                  </a:cubicBezTo>
                  <a:cubicBezTo>
                    <a:pt x="1859" y="673"/>
                    <a:pt x="1864" y="672"/>
                    <a:pt x="1868" y="674"/>
                  </a:cubicBezTo>
                  <a:cubicBezTo>
                    <a:pt x="1869" y="675"/>
                    <a:pt x="1872" y="678"/>
                    <a:pt x="1873" y="678"/>
                  </a:cubicBezTo>
                  <a:cubicBezTo>
                    <a:pt x="1877" y="678"/>
                    <a:pt x="1872" y="672"/>
                    <a:pt x="1876" y="673"/>
                  </a:cubicBezTo>
                  <a:cubicBezTo>
                    <a:pt x="1875" y="670"/>
                    <a:pt x="1877" y="671"/>
                    <a:pt x="1879" y="670"/>
                  </a:cubicBezTo>
                  <a:cubicBezTo>
                    <a:pt x="1879" y="670"/>
                    <a:pt x="1881" y="669"/>
                    <a:pt x="1881" y="669"/>
                  </a:cubicBezTo>
                  <a:cubicBezTo>
                    <a:pt x="1881" y="669"/>
                    <a:pt x="1881" y="669"/>
                    <a:pt x="1882" y="669"/>
                  </a:cubicBezTo>
                  <a:cubicBezTo>
                    <a:pt x="1882" y="668"/>
                    <a:pt x="1882" y="669"/>
                    <a:pt x="1883" y="669"/>
                  </a:cubicBezTo>
                  <a:cubicBezTo>
                    <a:pt x="1886" y="668"/>
                    <a:pt x="1888" y="669"/>
                    <a:pt x="1891" y="667"/>
                  </a:cubicBezTo>
                  <a:cubicBezTo>
                    <a:pt x="1894" y="666"/>
                    <a:pt x="1898" y="666"/>
                    <a:pt x="1900" y="665"/>
                  </a:cubicBezTo>
                  <a:cubicBezTo>
                    <a:pt x="1901" y="664"/>
                    <a:pt x="1901" y="662"/>
                    <a:pt x="1902" y="662"/>
                  </a:cubicBezTo>
                  <a:cubicBezTo>
                    <a:pt x="1904" y="661"/>
                    <a:pt x="1906" y="663"/>
                    <a:pt x="1907" y="662"/>
                  </a:cubicBezTo>
                  <a:cubicBezTo>
                    <a:pt x="1910" y="662"/>
                    <a:pt x="1912" y="658"/>
                    <a:pt x="1914" y="656"/>
                  </a:cubicBezTo>
                  <a:cubicBezTo>
                    <a:pt x="1909" y="658"/>
                    <a:pt x="1906" y="660"/>
                    <a:pt x="1901" y="661"/>
                  </a:cubicBezTo>
                  <a:cubicBezTo>
                    <a:pt x="1898" y="662"/>
                    <a:pt x="1889" y="665"/>
                    <a:pt x="1886" y="662"/>
                  </a:cubicBezTo>
                  <a:cubicBezTo>
                    <a:pt x="1889" y="661"/>
                    <a:pt x="1893" y="661"/>
                    <a:pt x="1897" y="660"/>
                  </a:cubicBezTo>
                  <a:cubicBezTo>
                    <a:pt x="1899" y="660"/>
                    <a:pt x="1902" y="659"/>
                    <a:pt x="1905" y="659"/>
                  </a:cubicBezTo>
                  <a:cubicBezTo>
                    <a:pt x="1908" y="659"/>
                    <a:pt x="1909" y="657"/>
                    <a:pt x="1912" y="656"/>
                  </a:cubicBezTo>
                  <a:cubicBezTo>
                    <a:pt x="1914" y="656"/>
                    <a:pt x="1915" y="656"/>
                    <a:pt x="1916" y="655"/>
                  </a:cubicBezTo>
                  <a:cubicBezTo>
                    <a:pt x="1917" y="655"/>
                    <a:pt x="1920" y="654"/>
                    <a:pt x="1920" y="653"/>
                  </a:cubicBezTo>
                  <a:cubicBezTo>
                    <a:pt x="1920" y="653"/>
                    <a:pt x="1920" y="653"/>
                    <a:pt x="1920" y="653"/>
                  </a:cubicBezTo>
                  <a:cubicBezTo>
                    <a:pt x="1919" y="653"/>
                    <a:pt x="1918" y="653"/>
                    <a:pt x="1917" y="654"/>
                  </a:cubicBezTo>
                  <a:cubicBezTo>
                    <a:pt x="1921" y="649"/>
                    <a:pt x="1932" y="654"/>
                    <a:pt x="1935" y="649"/>
                  </a:cubicBezTo>
                  <a:cubicBezTo>
                    <a:pt x="1933" y="649"/>
                    <a:pt x="1932" y="648"/>
                    <a:pt x="1930" y="649"/>
                  </a:cubicBezTo>
                  <a:cubicBezTo>
                    <a:pt x="1934" y="647"/>
                    <a:pt x="1936" y="649"/>
                    <a:pt x="1938" y="645"/>
                  </a:cubicBezTo>
                  <a:cubicBezTo>
                    <a:pt x="1935" y="644"/>
                    <a:pt x="1933" y="644"/>
                    <a:pt x="1931" y="643"/>
                  </a:cubicBezTo>
                  <a:cubicBezTo>
                    <a:pt x="1929" y="643"/>
                    <a:pt x="1927" y="640"/>
                    <a:pt x="1925" y="640"/>
                  </a:cubicBezTo>
                  <a:cubicBezTo>
                    <a:pt x="1924" y="639"/>
                    <a:pt x="1923" y="640"/>
                    <a:pt x="1922" y="640"/>
                  </a:cubicBezTo>
                  <a:cubicBezTo>
                    <a:pt x="1920" y="640"/>
                    <a:pt x="1919" y="639"/>
                    <a:pt x="1917" y="638"/>
                  </a:cubicBezTo>
                  <a:cubicBezTo>
                    <a:pt x="1916" y="638"/>
                    <a:pt x="1915" y="638"/>
                    <a:pt x="1914" y="638"/>
                  </a:cubicBezTo>
                  <a:cubicBezTo>
                    <a:pt x="1913" y="638"/>
                    <a:pt x="1914" y="641"/>
                    <a:pt x="1912" y="639"/>
                  </a:cubicBezTo>
                  <a:cubicBezTo>
                    <a:pt x="1911" y="638"/>
                    <a:pt x="1911" y="639"/>
                    <a:pt x="1910" y="639"/>
                  </a:cubicBezTo>
                  <a:cubicBezTo>
                    <a:pt x="1910" y="639"/>
                    <a:pt x="1909" y="638"/>
                    <a:pt x="1908" y="637"/>
                  </a:cubicBezTo>
                  <a:cubicBezTo>
                    <a:pt x="1907" y="637"/>
                    <a:pt x="1906" y="636"/>
                    <a:pt x="1905" y="638"/>
                  </a:cubicBezTo>
                  <a:cubicBezTo>
                    <a:pt x="1904" y="637"/>
                    <a:pt x="1901" y="635"/>
                    <a:pt x="1900" y="635"/>
                  </a:cubicBezTo>
                  <a:cubicBezTo>
                    <a:pt x="1903" y="632"/>
                    <a:pt x="1901" y="634"/>
                    <a:pt x="1901" y="630"/>
                  </a:cubicBezTo>
                  <a:cubicBezTo>
                    <a:pt x="1900" y="629"/>
                    <a:pt x="1900" y="628"/>
                    <a:pt x="1901" y="627"/>
                  </a:cubicBezTo>
                  <a:cubicBezTo>
                    <a:pt x="1899" y="627"/>
                    <a:pt x="1898" y="629"/>
                    <a:pt x="1896" y="628"/>
                  </a:cubicBezTo>
                  <a:cubicBezTo>
                    <a:pt x="1896" y="629"/>
                    <a:pt x="1896" y="629"/>
                    <a:pt x="1896" y="629"/>
                  </a:cubicBezTo>
                  <a:cubicBezTo>
                    <a:pt x="1895" y="629"/>
                    <a:pt x="1894" y="630"/>
                    <a:pt x="1894" y="630"/>
                  </a:cubicBezTo>
                  <a:cubicBezTo>
                    <a:pt x="1893" y="630"/>
                    <a:pt x="1891" y="631"/>
                    <a:pt x="1891" y="632"/>
                  </a:cubicBezTo>
                  <a:cubicBezTo>
                    <a:pt x="1892" y="631"/>
                    <a:pt x="1897" y="626"/>
                    <a:pt x="1897" y="625"/>
                  </a:cubicBezTo>
                  <a:cubicBezTo>
                    <a:pt x="1896" y="622"/>
                    <a:pt x="1893" y="626"/>
                    <a:pt x="1892" y="627"/>
                  </a:cubicBezTo>
                  <a:cubicBezTo>
                    <a:pt x="1891" y="628"/>
                    <a:pt x="1890" y="631"/>
                    <a:pt x="1890" y="630"/>
                  </a:cubicBezTo>
                  <a:cubicBezTo>
                    <a:pt x="1889" y="630"/>
                    <a:pt x="1884" y="634"/>
                    <a:pt x="1883" y="634"/>
                  </a:cubicBezTo>
                  <a:cubicBezTo>
                    <a:pt x="1881" y="636"/>
                    <a:pt x="1882" y="640"/>
                    <a:pt x="1878" y="640"/>
                  </a:cubicBezTo>
                  <a:cubicBezTo>
                    <a:pt x="1880" y="637"/>
                    <a:pt x="1881" y="634"/>
                    <a:pt x="1883" y="632"/>
                  </a:cubicBezTo>
                  <a:cubicBezTo>
                    <a:pt x="1884" y="631"/>
                    <a:pt x="1886" y="631"/>
                    <a:pt x="1887" y="630"/>
                  </a:cubicBezTo>
                  <a:cubicBezTo>
                    <a:pt x="1888" y="630"/>
                    <a:pt x="1890" y="627"/>
                    <a:pt x="1890" y="627"/>
                  </a:cubicBezTo>
                  <a:cubicBezTo>
                    <a:pt x="1889" y="625"/>
                    <a:pt x="1886" y="627"/>
                    <a:pt x="1885" y="627"/>
                  </a:cubicBezTo>
                  <a:cubicBezTo>
                    <a:pt x="1883" y="627"/>
                    <a:pt x="1879" y="627"/>
                    <a:pt x="1878" y="628"/>
                  </a:cubicBezTo>
                  <a:cubicBezTo>
                    <a:pt x="1879" y="626"/>
                    <a:pt x="1882" y="626"/>
                    <a:pt x="1883" y="625"/>
                  </a:cubicBezTo>
                  <a:cubicBezTo>
                    <a:pt x="1882" y="625"/>
                    <a:pt x="1883" y="622"/>
                    <a:pt x="1883" y="623"/>
                  </a:cubicBezTo>
                  <a:cubicBezTo>
                    <a:pt x="1882" y="621"/>
                    <a:pt x="1880" y="623"/>
                    <a:pt x="1878" y="623"/>
                  </a:cubicBezTo>
                  <a:cubicBezTo>
                    <a:pt x="1879" y="623"/>
                    <a:pt x="1876" y="624"/>
                    <a:pt x="1876" y="624"/>
                  </a:cubicBezTo>
                  <a:cubicBezTo>
                    <a:pt x="1876" y="624"/>
                    <a:pt x="1875" y="625"/>
                    <a:pt x="1875" y="626"/>
                  </a:cubicBezTo>
                  <a:cubicBezTo>
                    <a:pt x="1873" y="628"/>
                    <a:pt x="1871" y="629"/>
                    <a:pt x="1870" y="631"/>
                  </a:cubicBezTo>
                  <a:cubicBezTo>
                    <a:pt x="1871" y="629"/>
                    <a:pt x="1874" y="625"/>
                    <a:pt x="1876" y="623"/>
                  </a:cubicBezTo>
                  <a:cubicBezTo>
                    <a:pt x="1874" y="623"/>
                    <a:pt x="1873" y="624"/>
                    <a:pt x="1872" y="625"/>
                  </a:cubicBezTo>
                  <a:cubicBezTo>
                    <a:pt x="1872" y="625"/>
                    <a:pt x="1872" y="624"/>
                    <a:pt x="1872" y="623"/>
                  </a:cubicBezTo>
                  <a:cubicBezTo>
                    <a:pt x="1870" y="623"/>
                    <a:pt x="1870" y="624"/>
                    <a:pt x="1869" y="625"/>
                  </a:cubicBezTo>
                  <a:cubicBezTo>
                    <a:pt x="1867" y="626"/>
                    <a:pt x="1867" y="626"/>
                    <a:pt x="1866" y="627"/>
                  </a:cubicBezTo>
                  <a:cubicBezTo>
                    <a:pt x="1864" y="628"/>
                    <a:pt x="1863" y="630"/>
                    <a:pt x="1861" y="631"/>
                  </a:cubicBezTo>
                  <a:cubicBezTo>
                    <a:pt x="1862" y="628"/>
                    <a:pt x="1866" y="626"/>
                    <a:pt x="1868" y="623"/>
                  </a:cubicBezTo>
                  <a:cubicBezTo>
                    <a:pt x="1865" y="623"/>
                    <a:pt x="1865" y="625"/>
                    <a:pt x="1863" y="626"/>
                  </a:cubicBezTo>
                  <a:cubicBezTo>
                    <a:pt x="1863" y="625"/>
                    <a:pt x="1865" y="623"/>
                    <a:pt x="1866" y="622"/>
                  </a:cubicBezTo>
                  <a:cubicBezTo>
                    <a:pt x="1866" y="622"/>
                    <a:pt x="1866" y="623"/>
                    <a:pt x="1867" y="622"/>
                  </a:cubicBezTo>
                  <a:cubicBezTo>
                    <a:pt x="1867" y="622"/>
                    <a:pt x="1867" y="621"/>
                    <a:pt x="1868" y="620"/>
                  </a:cubicBezTo>
                  <a:cubicBezTo>
                    <a:pt x="1869" y="619"/>
                    <a:pt x="1869" y="619"/>
                    <a:pt x="1870" y="618"/>
                  </a:cubicBezTo>
                  <a:cubicBezTo>
                    <a:pt x="1871" y="617"/>
                    <a:pt x="1873" y="618"/>
                    <a:pt x="1872" y="616"/>
                  </a:cubicBezTo>
                  <a:cubicBezTo>
                    <a:pt x="1870" y="617"/>
                    <a:pt x="1868" y="617"/>
                    <a:pt x="1867" y="617"/>
                  </a:cubicBezTo>
                  <a:cubicBezTo>
                    <a:pt x="1866" y="618"/>
                    <a:pt x="1867" y="619"/>
                    <a:pt x="1866" y="620"/>
                  </a:cubicBezTo>
                  <a:cubicBezTo>
                    <a:pt x="1866" y="617"/>
                    <a:pt x="1870" y="615"/>
                    <a:pt x="1869" y="613"/>
                  </a:cubicBezTo>
                  <a:cubicBezTo>
                    <a:pt x="1868" y="614"/>
                    <a:pt x="1867" y="614"/>
                    <a:pt x="1866" y="615"/>
                  </a:cubicBezTo>
                  <a:cubicBezTo>
                    <a:pt x="1868" y="612"/>
                    <a:pt x="1867" y="613"/>
                    <a:pt x="1865" y="612"/>
                  </a:cubicBezTo>
                  <a:cubicBezTo>
                    <a:pt x="1863" y="611"/>
                    <a:pt x="1867" y="610"/>
                    <a:pt x="1867" y="610"/>
                  </a:cubicBezTo>
                  <a:cubicBezTo>
                    <a:pt x="1868" y="608"/>
                    <a:pt x="1870" y="606"/>
                    <a:pt x="1867" y="606"/>
                  </a:cubicBezTo>
                  <a:cubicBezTo>
                    <a:pt x="1864" y="605"/>
                    <a:pt x="1863" y="611"/>
                    <a:pt x="1861" y="613"/>
                  </a:cubicBezTo>
                  <a:cubicBezTo>
                    <a:pt x="1861" y="611"/>
                    <a:pt x="1862" y="610"/>
                    <a:pt x="1863" y="608"/>
                  </a:cubicBezTo>
                  <a:cubicBezTo>
                    <a:pt x="1863" y="607"/>
                    <a:pt x="1862" y="606"/>
                    <a:pt x="1863" y="605"/>
                  </a:cubicBezTo>
                  <a:cubicBezTo>
                    <a:pt x="1861" y="606"/>
                    <a:pt x="1860" y="607"/>
                    <a:pt x="1858" y="607"/>
                  </a:cubicBezTo>
                  <a:cubicBezTo>
                    <a:pt x="1857" y="608"/>
                    <a:pt x="1855" y="608"/>
                    <a:pt x="1854" y="608"/>
                  </a:cubicBezTo>
                  <a:cubicBezTo>
                    <a:pt x="1856" y="606"/>
                    <a:pt x="1864" y="605"/>
                    <a:pt x="1856" y="604"/>
                  </a:cubicBezTo>
                  <a:cubicBezTo>
                    <a:pt x="1854" y="603"/>
                    <a:pt x="1851" y="605"/>
                    <a:pt x="1849" y="603"/>
                  </a:cubicBezTo>
                  <a:cubicBezTo>
                    <a:pt x="1856" y="602"/>
                    <a:pt x="1843" y="600"/>
                    <a:pt x="1842" y="599"/>
                  </a:cubicBezTo>
                  <a:cubicBezTo>
                    <a:pt x="1844" y="598"/>
                    <a:pt x="1846" y="599"/>
                    <a:pt x="1847" y="598"/>
                  </a:cubicBezTo>
                  <a:cubicBezTo>
                    <a:pt x="1846" y="597"/>
                    <a:pt x="1844" y="598"/>
                    <a:pt x="1843" y="597"/>
                  </a:cubicBezTo>
                  <a:cubicBezTo>
                    <a:pt x="1846" y="595"/>
                    <a:pt x="1847" y="592"/>
                    <a:pt x="1843" y="592"/>
                  </a:cubicBezTo>
                  <a:cubicBezTo>
                    <a:pt x="1841" y="592"/>
                    <a:pt x="1840" y="592"/>
                    <a:pt x="1838" y="592"/>
                  </a:cubicBezTo>
                  <a:cubicBezTo>
                    <a:pt x="1835" y="591"/>
                    <a:pt x="1831" y="593"/>
                    <a:pt x="1829" y="590"/>
                  </a:cubicBezTo>
                  <a:cubicBezTo>
                    <a:pt x="1830" y="590"/>
                    <a:pt x="1832" y="589"/>
                    <a:pt x="1834" y="589"/>
                  </a:cubicBezTo>
                  <a:cubicBezTo>
                    <a:pt x="1835" y="589"/>
                    <a:pt x="1836" y="591"/>
                    <a:pt x="1838" y="590"/>
                  </a:cubicBezTo>
                  <a:cubicBezTo>
                    <a:pt x="1837" y="590"/>
                    <a:pt x="1836" y="589"/>
                    <a:pt x="1835" y="589"/>
                  </a:cubicBezTo>
                  <a:cubicBezTo>
                    <a:pt x="1837" y="589"/>
                    <a:pt x="1838" y="589"/>
                    <a:pt x="1840" y="590"/>
                  </a:cubicBezTo>
                  <a:cubicBezTo>
                    <a:pt x="1838" y="589"/>
                    <a:pt x="1836" y="588"/>
                    <a:pt x="1835" y="587"/>
                  </a:cubicBezTo>
                  <a:cubicBezTo>
                    <a:pt x="1834" y="587"/>
                    <a:pt x="1833" y="585"/>
                    <a:pt x="1832" y="585"/>
                  </a:cubicBezTo>
                  <a:cubicBezTo>
                    <a:pt x="1831" y="584"/>
                    <a:pt x="1829" y="586"/>
                    <a:pt x="1827" y="584"/>
                  </a:cubicBezTo>
                  <a:cubicBezTo>
                    <a:pt x="1828" y="584"/>
                    <a:pt x="1830" y="584"/>
                    <a:pt x="1831" y="584"/>
                  </a:cubicBezTo>
                  <a:cubicBezTo>
                    <a:pt x="1830" y="584"/>
                    <a:pt x="1830" y="583"/>
                    <a:pt x="1829" y="583"/>
                  </a:cubicBezTo>
                  <a:cubicBezTo>
                    <a:pt x="1830" y="582"/>
                    <a:pt x="1842" y="583"/>
                    <a:pt x="1836" y="581"/>
                  </a:cubicBezTo>
                  <a:cubicBezTo>
                    <a:pt x="1832" y="579"/>
                    <a:pt x="1829" y="580"/>
                    <a:pt x="1825" y="579"/>
                  </a:cubicBezTo>
                  <a:cubicBezTo>
                    <a:pt x="1827" y="578"/>
                    <a:pt x="1830" y="579"/>
                    <a:pt x="1832" y="579"/>
                  </a:cubicBezTo>
                  <a:cubicBezTo>
                    <a:pt x="1827" y="577"/>
                    <a:pt x="1821" y="576"/>
                    <a:pt x="1817" y="573"/>
                  </a:cubicBezTo>
                  <a:cubicBezTo>
                    <a:pt x="1818" y="570"/>
                    <a:pt x="1826" y="571"/>
                    <a:pt x="1829" y="571"/>
                  </a:cubicBezTo>
                  <a:cubicBezTo>
                    <a:pt x="1826" y="573"/>
                    <a:pt x="1822" y="572"/>
                    <a:pt x="1818" y="573"/>
                  </a:cubicBezTo>
                  <a:cubicBezTo>
                    <a:pt x="1821" y="575"/>
                    <a:pt x="1826" y="576"/>
                    <a:pt x="1830" y="577"/>
                  </a:cubicBezTo>
                  <a:cubicBezTo>
                    <a:pt x="1830" y="577"/>
                    <a:pt x="1831" y="577"/>
                    <a:pt x="1831" y="577"/>
                  </a:cubicBezTo>
                  <a:cubicBezTo>
                    <a:pt x="1831" y="577"/>
                    <a:pt x="1832" y="576"/>
                    <a:pt x="1832" y="577"/>
                  </a:cubicBezTo>
                  <a:cubicBezTo>
                    <a:pt x="1833" y="577"/>
                    <a:pt x="1833" y="578"/>
                    <a:pt x="1833" y="578"/>
                  </a:cubicBezTo>
                  <a:cubicBezTo>
                    <a:pt x="1835" y="578"/>
                    <a:pt x="1837" y="579"/>
                    <a:pt x="1838" y="578"/>
                  </a:cubicBezTo>
                  <a:cubicBezTo>
                    <a:pt x="1837" y="577"/>
                    <a:pt x="1836" y="577"/>
                    <a:pt x="1835" y="576"/>
                  </a:cubicBezTo>
                  <a:cubicBezTo>
                    <a:pt x="1836" y="576"/>
                    <a:pt x="1836" y="575"/>
                    <a:pt x="1836" y="575"/>
                  </a:cubicBezTo>
                  <a:cubicBezTo>
                    <a:pt x="1835" y="574"/>
                    <a:pt x="1833" y="574"/>
                    <a:pt x="1833" y="576"/>
                  </a:cubicBezTo>
                  <a:cubicBezTo>
                    <a:pt x="1833" y="573"/>
                    <a:pt x="1835" y="574"/>
                    <a:pt x="1836" y="572"/>
                  </a:cubicBezTo>
                  <a:cubicBezTo>
                    <a:pt x="1838" y="571"/>
                    <a:pt x="1837" y="572"/>
                    <a:pt x="1839" y="570"/>
                  </a:cubicBezTo>
                  <a:cubicBezTo>
                    <a:pt x="1840" y="568"/>
                    <a:pt x="1844" y="565"/>
                    <a:pt x="1845" y="568"/>
                  </a:cubicBezTo>
                  <a:cubicBezTo>
                    <a:pt x="1845" y="564"/>
                    <a:pt x="1845" y="563"/>
                    <a:pt x="1841" y="562"/>
                  </a:cubicBezTo>
                  <a:cubicBezTo>
                    <a:pt x="1840" y="561"/>
                    <a:pt x="1836" y="562"/>
                    <a:pt x="1838" y="559"/>
                  </a:cubicBezTo>
                  <a:cubicBezTo>
                    <a:pt x="1835" y="560"/>
                    <a:pt x="1836" y="561"/>
                    <a:pt x="1834" y="560"/>
                  </a:cubicBezTo>
                  <a:cubicBezTo>
                    <a:pt x="1833" y="560"/>
                    <a:pt x="1832" y="559"/>
                    <a:pt x="1830" y="558"/>
                  </a:cubicBezTo>
                  <a:cubicBezTo>
                    <a:pt x="1831" y="557"/>
                    <a:pt x="1832" y="557"/>
                    <a:pt x="1833" y="556"/>
                  </a:cubicBezTo>
                  <a:cubicBezTo>
                    <a:pt x="1834" y="555"/>
                    <a:pt x="1832" y="554"/>
                    <a:pt x="1835" y="554"/>
                  </a:cubicBezTo>
                  <a:cubicBezTo>
                    <a:pt x="1831" y="551"/>
                    <a:pt x="1828" y="550"/>
                    <a:pt x="1824" y="551"/>
                  </a:cubicBezTo>
                  <a:cubicBezTo>
                    <a:pt x="1821" y="552"/>
                    <a:pt x="1820" y="552"/>
                    <a:pt x="1817" y="549"/>
                  </a:cubicBezTo>
                  <a:cubicBezTo>
                    <a:pt x="1818" y="550"/>
                    <a:pt x="1821" y="551"/>
                    <a:pt x="1822" y="551"/>
                  </a:cubicBezTo>
                  <a:cubicBezTo>
                    <a:pt x="1823" y="550"/>
                    <a:pt x="1823" y="549"/>
                    <a:pt x="1823" y="549"/>
                  </a:cubicBezTo>
                  <a:cubicBezTo>
                    <a:pt x="1825" y="548"/>
                    <a:pt x="1827" y="548"/>
                    <a:pt x="1828" y="547"/>
                  </a:cubicBezTo>
                  <a:cubicBezTo>
                    <a:pt x="1828" y="547"/>
                    <a:pt x="1833" y="545"/>
                    <a:pt x="1833" y="545"/>
                  </a:cubicBezTo>
                  <a:cubicBezTo>
                    <a:pt x="1834" y="542"/>
                    <a:pt x="1823" y="536"/>
                    <a:pt x="1821" y="535"/>
                  </a:cubicBezTo>
                  <a:cubicBezTo>
                    <a:pt x="1822" y="540"/>
                    <a:pt x="1819" y="534"/>
                    <a:pt x="1818" y="534"/>
                  </a:cubicBezTo>
                  <a:cubicBezTo>
                    <a:pt x="1817" y="533"/>
                    <a:pt x="1816" y="534"/>
                    <a:pt x="1815" y="535"/>
                  </a:cubicBezTo>
                  <a:cubicBezTo>
                    <a:pt x="1817" y="533"/>
                    <a:pt x="1817" y="533"/>
                    <a:pt x="1819" y="532"/>
                  </a:cubicBezTo>
                  <a:cubicBezTo>
                    <a:pt x="1821" y="532"/>
                    <a:pt x="1822" y="533"/>
                    <a:pt x="1823" y="531"/>
                  </a:cubicBezTo>
                  <a:cubicBezTo>
                    <a:pt x="1822" y="531"/>
                    <a:pt x="1820" y="530"/>
                    <a:pt x="1818" y="531"/>
                  </a:cubicBezTo>
                  <a:cubicBezTo>
                    <a:pt x="1819" y="529"/>
                    <a:pt x="1819" y="528"/>
                    <a:pt x="1820" y="527"/>
                  </a:cubicBezTo>
                  <a:cubicBezTo>
                    <a:pt x="1816" y="530"/>
                    <a:pt x="1812" y="527"/>
                    <a:pt x="1808" y="528"/>
                  </a:cubicBezTo>
                  <a:cubicBezTo>
                    <a:pt x="1807" y="529"/>
                    <a:pt x="1805" y="531"/>
                    <a:pt x="1805" y="532"/>
                  </a:cubicBezTo>
                  <a:cubicBezTo>
                    <a:pt x="1803" y="533"/>
                    <a:pt x="1801" y="533"/>
                    <a:pt x="1799" y="533"/>
                  </a:cubicBezTo>
                  <a:cubicBezTo>
                    <a:pt x="1800" y="533"/>
                    <a:pt x="1802" y="533"/>
                    <a:pt x="1803" y="532"/>
                  </a:cubicBezTo>
                  <a:cubicBezTo>
                    <a:pt x="1803" y="531"/>
                    <a:pt x="1803" y="530"/>
                    <a:pt x="1804" y="530"/>
                  </a:cubicBezTo>
                  <a:cubicBezTo>
                    <a:pt x="1805" y="529"/>
                    <a:pt x="1807" y="528"/>
                    <a:pt x="1808" y="527"/>
                  </a:cubicBezTo>
                  <a:cubicBezTo>
                    <a:pt x="1811" y="526"/>
                    <a:pt x="1814" y="528"/>
                    <a:pt x="1817" y="525"/>
                  </a:cubicBezTo>
                  <a:cubicBezTo>
                    <a:pt x="1814" y="524"/>
                    <a:pt x="1811" y="523"/>
                    <a:pt x="1809" y="526"/>
                  </a:cubicBezTo>
                  <a:cubicBezTo>
                    <a:pt x="1811" y="523"/>
                    <a:pt x="1814" y="524"/>
                    <a:pt x="1815" y="523"/>
                  </a:cubicBezTo>
                  <a:cubicBezTo>
                    <a:pt x="1817" y="521"/>
                    <a:pt x="1815" y="518"/>
                    <a:pt x="1817" y="517"/>
                  </a:cubicBezTo>
                  <a:cubicBezTo>
                    <a:pt x="1816" y="516"/>
                    <a:pt x="1814" y="516"/>
                    <a:pt x="1813" y="516"/>
                  </a:cubicBezTo>
                  <a:cubicBezTo>
                    <a:pt x="1812" y="516"/>
                    <a:pt x="1812" y="517"/>
                    <a:pt x="1812" y="517"/>
                  </a:cubicBezTo>
                  <a:cubicBezTo>
                    <a:pt x="1811" y="517"/>
                    <a:pt x="1810" y="517"/>
                    <a:pt x="1809" y="517"/>
                  </a:cubicBezTo>
                  <a:cubicBezTo>
                    <a:pt x="1806" y="517"/>
                    <a:pt x="1805" y="518"/>
                    <a:pt x="1803" y="520"/>
                  </a:cubicBezTo>
                  <a:cubicBezTo>
                    <a:pt x="1807" y="516"/>
                    <a:pt x="1801" y="517"/>
                    <a:pt x="1799" y="519"/>
                  </a:cubicBezTo>
                  <a:cubicBezTo>
                    <a:pt x="1797" y="520"/>
                    <a:pt x="1795" y="522"/>
                    <a:pt x="1793" y="522"/>
                  </a:cubicBezTo>
                  <a:cubicBezTo>
                    <a:pt x="1795" y="520"/>
                    <a:pt x="1797" y="519"/>
                    <a:pt x="1799" y="517"/>
                  </a:cubicBezTo>
                  <a:cubicBezTo>
                    <a:pt x="1798" y="516"/>
                    <a:pt x="1796" y="516"/>
                    <a:pt x="1795" y="517"/>
                  </a:cubicBezTo>
                  <a:cubicBezTo>
                    <a:pt x="1796" y="515"/>
                    <a:pt x="1799" y="516"/>
                    <a:pt x="1800" y="516"/>
                  </a:cubicBezTo>
                  <a:cubicBezTo>
                    <a:pt x="1802" y="515"/>
                    <a:pt x="1803" y="515"/>
                    <a:pt x="1804" y="514"/>
                  </a:cubicBezTo>
                  <a:cubicBezTo>
                    <a:pt x="1806" y="514"/>
                    <a:pt x="1808" y="513"/>
                    <a:pt x="1809" y="512"/>
                  </a:cubicBezTo>
                  <a:cubicBezTo>
                    <a:pt x="1812" y="509"/>
                    <a:pt x="1809" y="510"/>
                    <a:pt x="1806" y="509"/>
                  </a:cubicBezTo>
                  <a:cubicBezTo>
                    <a:pt x="1811" y="507"/>
                    <a:pt x="1809" y="504"/>
                    <a:pt x="1804" y="504"/>
                  </a:cubicBezTo>
                  <a:cubicBezTo>
                    <a:pt x="1804" y="504"/>
                    <a:pt x="1804" y="505"/>
                    <a:pt x="1803" y="505"/>
                  </a:cubicBezTo>
                  <a:cubicBezTo>
                    <a:pt x="1803" y="504"/>
                    <a:pt x="1802" y="504"/>
                    <a:pt x="1802" y="504"/>
                  </a:cubicBezTo>
                  <a:cubicBezTo>
                    <a:pt x="1801" y="504"/>
                    <a:pt x="1800" y="503"/>
                    <a:pt x="1799" y="504"/>
                  </a:cubicBezTo>
                  <a:cubicBezTo>
                    <a:pt x="1801" y="503"/>
                    <a:pt x="1803" y="502"/>
                    <a:pt x="1803" y="500"/>
                  </a:cubicBezTo>
                  <a:cubicBezTo>
                    <a:pt x="1802" y="500"/>
                    <a:pt x="1801" y="500"/>
                    <a:pt x="1800" y="501"/>
                  </a:cubicBezTo>
                  <a:cubicBezTo>
                    <a:pt x="1801" y="498"/>
                    <a:pt x="1802" y="498"/>
                    <a:pt x="1804" y="497"/>
                  </a:cubicBezTo>
                  <a:cubicBezTo>
                    <a:pt x="1798" y="493"/>
                    <a:pt x="1796" y="498"/>
                    <a:pt x="1791" y="498"/>
                  </a:cubicBezTo>
                  <a:cubicBezTo>
                    <a:pt x="1791" y="498"/>
                    <a:pt x="1788" y="498"/>
                    <a:pt x="1788" y="497"/>
                  </a:cubicBezTo>
                  <a:cubicBezTo>
                    <a:pt x="1787" y="498"/>
                    <a:pt x="1787" y="498"/>
                    <a:pt x="1787" y="499"/>
                  </a:cubicBezTo>
                  <a:cubicBezTo>
                    <a:pt x="1786" y="499"/>
                    <a:pt x="1788" y="500"/>
                    <a:pt x="1786" y="500"/>
                  </a:cubicBezTo>
                  <a:cubicBezTo>
                    <a:pt x="1785" y="500"/>
                    <a:pt x="1785" y="497"/>
                    <a:pt x="1783" y="498"/>
                  </a:cubicBezTo>
                  <a:cubicBezTo>
                    <a:pt x="1785" y="494"/>
                    <a:pt x="1789" y="497"/>
                    <a:pt x="1793" y="496"/>
                  </a:cubicBezTo>
                  <a:cubicBezTo>
                    <a:pt x="1795" y="496"/>
                    <a:pt x="1797" y="494"/>
                    <a:pt x="1798" y="492"/>
                  </a:cubicBezTo>
                  <a:cubicBezTo>
                    <a:pt x="1796" y="491"/>
                    <a:pt x="1794" y="491"/>
                    <a:pt x="1792" y="491"/>
                  </a:cubicBezTo>
                  <a:cubicBezTo>
                    <a:pt x="1794" y="490"/>
                    <a:pt x="1797" y="485"/>
                    <a:pt x="1791" y="487"/>
                  </a:cubicBezTo>
                  <a:cubicBezTo>
                    <a:pt x="1790" y="488"/>
                    <a:pt x="1791" y="490"/>
                    <a:pt x="1788" y="490"/>
                  </a:cubicBezTo>
                  <a:cubicBezTo>
                    <a:pt x="1790" y="487"/>
                    <a:pt x="1792" y="487"/>
                    <a:pt x="1787" y="486"/>
                  </a:cubicBezTo>
                  <a:cubicBezTo>
                    <a:pt x="1786" y="485"/>
                    <a:pt x="1784" y="485"/>
                    <a:pt x="1783" y="486"/>
                  </a:cubicBezTo>
                  <a:cubicBezTo>
                    <a:pt x="1785" y="483"/>
                    <a:pt x="1788" y="486"/>
                    <a:pt x="1789" y="483"/>
                  </a:cubicBezTo>
                  <a:cubicBezTo>
                    <a:pt x="1791" y="480"/>
                    <a:pt x="1786" y="479"/>
                    <a:pt x="1784" y="481"/>
                  </a:cubicBezTo>
                  <a:cubicBezTo>
                    <a:pt x="1785" y="481"/>
                    <a:pt x="1787" y="479"/>
                    <a:pt x="1787" y="479"/>
                  </a:cubicBezTo>
                  <a:cubicBezTo>
                    <a:pt x="1787" y="477"/>
                    <a:pt x="1784" y="477"/>
                    <a:pt x="1783" y="478"/>
                  </a:cubicBezTo>
                  <a:cubicBezTo>
                    <a:pt x="1782" y="478"/>
                    <a:pt x="1783" y="480"/>
                    <a:pt x="1781" y="481"/>
                  </a:cubicBezTo>
                  <a:cubicBezTo>
                    <a:pt x="1782" y="478"/>
                    <a:pt x="1782" y="476"/>
                    <a:pt x="1785" y="476"/>
                  </a:cubicBezTo>
                  <a:cubicBezTo>
                    <a:pt x="1783" y="475"/>
                    <a:pt x="1780" y="476"/>
                    <a:pt x="1779" y="474"/>
                  </a:cubicBezTo>
                  <a:cubicBezTo>
                    <a:pt x="1777" y="472"/>
                    <a:pt x="1780" y="470"/>
                    <a:pt x="1781" y="468"/>
                  </a:cubicBezTo>
                  <a:cubicBezTo>
                    <a:pt x="1780" y="468"/>
                    <a:pt x="1779" y="468"/>
                    <a:pt x="1778" y="469"/>
                  </a:cubicBezTo>
                  <a:cubicBezTo>
                    <a:pt x="1778" y="467"/>
                    <a:pt x="1779" y="466"/>
                    <a:pt x="1780" y="465"/>
                  </a:cubicBezTo>
                  <a:cubicBezTo>
                    <a:pt x="1779" y="464"/>
                    <a:pt x="1777" y="464"/>
                    <a:pt x="1776" y="463"/>
                  </a:cubicBezTo>
                  <a:cubicBezTo>
                    <a:pt x="1777" y="465"/>
                    <a:pt x="1775" y="467"/>
                    <a:pt x="1774" y="467"/>
                  </a:cubicBezTo>
                  <a:cubicBezTo>
                    <a:pt x="1772" y="468"/>
                    <a:pt x="1772" y="469"/>
                    <a:pt x="1771" y="466"/>
                  </a:cubicBezTo>
                  <a:cubicBezTo>
                    <a:pt x="1769" y="463"/>
                    <a:pt x="1773" y="466"/>
                    <a:pt x="1774" y="464"/>
                  </a:cubicBezTo>
                  <a:cubicBezTo>
                    <a:pt x="1776" y="462"/>
                    <a:pt x="1771" y="462"/>
                    <a:pt x="1769" y="463"/>
                  </a:cubicBezTo>
                  <a:cubicBezTo>
                    <a:pt x="1768" y="463"/>
                    <a:pt x="1766" y="464"/>
                    <a:pt x="1765" y="465"/>
                  </a:cubicBezTo>
                  <a:cubicBezTo>
                    <a:pt x="1765" y="465"/>
                    <a:pt x="1765" y="465"/>
                    <a:pt x="1765" y="465"/>
                  </a:cubicBezTo>
                  <a:cubicBezTo>
                    <a:pt x="1765" y="465"/>
                    <a:pt x="1765" y="465"/>
                    <a:pt x="1765" y="465"/>
                  </a:cubicBezTo>
                  <a:cubicBezTo>
                    <a:pt x="1765" y="465"/>
                    <a:pt x="1765" y="465"/>
                    <a:pt x="1765" y="465"/>
                  </a:cubicBezTo>
                  <a:cubicBezTo>
                    <a:pt x="1765" y="464"/>
                    <a:pt x="1767" y="461"/>
                    <a:pt x="1767" y="461"/>
                  </a:cubicBezTo>
                  <a:cubicBezTo>
                    <a:pt x="1767" y="461"/>
                    <a:pt x="1767" y="461"/>
                    <a:pt x="1767" y="461"/>
                  </a:cubicBezTo>
                  <a:cubicBezTo>
                    <a:pt x="1767" y="461"/>
                    <a:pt x="1767" y="461"/>
                    <a:pt x="1767" y="461"/>
                  </a:cubicBezTo>
                  <a:cubicBezTo>
                    <a:pt x="1769" y="458"/>
                    <a:pt x="1769" y="458"/>
                    <a:pt x="1769" y="458"/>
                  </a:cubicBezTo>
                  <a:cubicBezTo>
                    <a:pt x="1769" y="458"/>
                    <a:pt x="1769" y="458"/>
                    <a:pt x="1769" y="458"/>
                  </a:cubicBezTo>
                  <a:cubicBezTo>
                    <a:pt x="1768" y="458"/>
                    <a:pt x="1768" y="458"/>
                    <a:pt x="1768" y="458"/>
                  </a:cubicBezTo>
                  <a:cubicBezTo>
                    <a:pt x="1768" y="458"/>
                    <a:pt x="1768" y="458"/>
                    <a:pt x="1768" y="458"/>
                  </a:cubicBezTo>
                  <a:cubicBezTo>
                    <a:pt x="1768" y="458"/>
                    <a:pt x="1768" y="458"/>
                    <a:pt x="1768" y="458"/>
                  </a:cubicBezTo>
                  <a:cubicBezTo>
                    <a:pt x="1768" y="458"/>
                    <a:pt x="1768" y="458"/>
                    <a:pt x="1768" y="458"/>
                  </a:cubicBezTo>
                  <a:cubicBezTo>
                    <a:pt x="1769" y="458"/>
                    <a:pt x="1770" y="457"/>
                    <a:pt x="1770" y="455"/>
                  </a:cubicBezTo>
                  <a:cubicBezTo>
                    <a:pt x="1772" y="456"/>
                    <a:pt x="1773" y="456"/>
                    <a:pt x="1775" y="456"/>
                  </a:cubicBezTo>
                  <a:cubicBezTo>
                    <a:pt x="1773" y="455"/>
                    <a:pt x="1772" y="454"/>
                    <a:pt x="1770" y="454"/>
                  </a:cubicBezTo>
                  <a:cubicBezTo>
                    <a:pt x="1771" y="454"/>
                    <a:pt x="1771" y="454"/>
                    <a:pt x="1771" y="454"/>
                  </a:cubicBezTo>
                  <a:cubicBezTo>
                    <a:pt x="1769" y="452"/>
                    <a:pt x="1769" y="452"/>
                    <a:pt x="1769" y="452"/>
                  </a:cubicBezTo>
                  <a:cubicBezTo>
                    <a:pt x="1769" y="452"/>
                    <a:pt x="1769" y="452"/>
                    <a:pt x="1769" y="452"/>
                  </a:cubicBezTo>
                  <a:cubicBezTo>
                    <a:pt x="1767" y="452"/>
                    <a:pt x="1768" y="453"/>
                    <a:pt x="1766" y="452"/>
                  </a:cubicBezTo>
                  <a:cubicBezTo>
                    <a:pt x="1766" y="452"/>
                    <a:pt x="1766" y="452"/>
                    <a:pt x="1766" y="452"/>
                  </a:cubicBezTo>
                  <a:cubicBezTo>
                    <a:pt x="1766" y="452"/>
                    <a:pt x="1766" y="452"/>
                    <a:pt x="1766" y="452"/>
                  </a:cubicBezTo>
                  <a:cubicBezTo>
                    <a:pt x="1766" y="452"/>
                    <a:pt x="1766" y="452"/>
                    <a:pt x="1766" y="452"/>
                  </a:cubicBezTo>
                  <a:cubicBezTo>
                    <a:pt x="1766" y="452"/>
                    <a:pt x="1766" y="452"/>
                    <a:pt x="1766" y="452"/>
                  </a:cubicBezTo>
                  <a:cubicBezTo>
                    <a:pt x="1765" y="452"/>
                    <a:pt x="1765" y="452"/>
                    <a:pt x="1765" y="452"/>
                  </a:cubicBezTo>
                  <a:cubicBezTo>
                    <a:pt x="1765" y="452"/>
                    <a:pt x="1765" y="452"/>
                    <a:pt x="1765" y="452"/>
                  </a:cubicBezTo>
                  <a:cubicBezTo>
                    <a:pt x="1765" y="452"/>
                    <a:pt x="1765" y="452"/>
                    <a:pt x="1765" y="452"/>
                  </a:cubicBezTo>
                  <a:cubicBezTo>
                    <a:pt x="1765" y="452"/>
                    <a:pt x="1765" y="452"/>
                    <a:pt x="1765" y="452"/>
                  </a:cubicBezTo>
                  <a:cubicBezTo>
                    <a:pt x="1765" y="452"/>
                    <a:pt x="1765" y="452"/>
                    <a:pt x="1765" y="452"/>
                  </a:cubicBezTo>
                  <a:cubicBezTo>
                    <a:pt x="1765" y="452"/>
                    <a:pt x="1765" y="452"/>
                    <a:pt x="1765" y="452"/>
                  </a:cubicBezTo>
                  <a:cubicBezTo>
                    <a:pt x="1765" y="452"/>
                    <a:pt x="1765" y="452"/>
                    <a:pt x="1765" y="452"/>
                  </a:cubicBezTo>
                  <a:cubicBezTo>
                    <a:pt x="1764" y="452"/>
                    <a:pt x="1764" y="452"/>
                    <a:pt x="1764" y="452"/>
                  </a:cubicBezTo>
                  <a:cubicBezTo>
                    <a:pt x="1764" y="452"/>
                    <a:pt x="1764" y="452"/>
                    <a:pt x="1764" y="452"/>
                  </a:cubicBezTo>
                  <a:cubicBezTo>
                    <a:pt x="1764" y="452"/>
                    <a:pt x="1764" y="452"/>
                    <a:pt x="1764" y="452"/>
                  </a:cubicBezTo>
                  <a:cubicBezTo>
                    <a:pt x="1764" y="452"/>
                    <a:pt x="1764" y="452"/>
                    <a:pt x="1764" y="452"/>
                  </a:cubicBezTo>
                  <a:cubicBezTo>
                    <a:pt x="1764" y="453"/>
                    <a:pt x="1764" y="453"/>
                    <a:pt x="1764" y="453"/>
                  </a:cubicBezTo>
                  <a:cubicBezTo>
                    <a:pt x="1763" y="456"/>
                    <a:pt x="1763" y="456"/>
                    <a:pt x="1763" y="456"/>
                  </a:cubicBezTo>
                  <a:cubicBezTo>
                    <a:pt x="1763" y="457"/>
                    <a:pt x="1763" y="457"/>
                    <a:pt x="1763" y="457"/>
                  </a:cubicBezTo>
                  <a:cubicBezTo>
                    <a:pt x="1763" y="457"/>
                    <a:pt x="1763" y="457"/>
                    <a:pt x="1763" y="457"/>
                  </a:cubicBezTo>
                  <a:cubicBezTo>
                    <a:pt x="1763" y="458"/>
                    <a:pt x="1763" y="458"/>
                    <a:pt x="1763" y="458"/>
                  </a:cubicBezTo>
                  <a:cubicBezTo>
                    <a:pt x="1762" y="458"/>
                    <a:pt x="1762" y="458"/>
                    <a:pt x="1762" y="458"/>
                  </a:cubicBezTo>
                  <a:cubicBezTo>
                    <a:pt x="1761" y="460"/>
                    <a:pt x="1761" y="460"/>
                    <a:pt x="1761" y="460"/>
                  </a:cubicBezTo>
                  <a:cubicBezTo>
                    <a:pt x="1760" y="462"/>
                    <a:pt x="1759" y="463"/>
                    <a:pt x="1758" y="464"/>
                  </a:cubicBezTo>
                  <a:cubicBezTo>
                    <a:pt x="1758" y="464"/>
                    <a:pt x="1758" y="464"/>
                    <a:pt x="1758" y="464"/>
                  </a:cubicBezTo>
                  <a:cubicBezTo>
                    <a:pt x="1758" y="464"/>
                    <a:pt x="1758" y="464"/>
                    <a:pt x="1758" y="464"/>
                  </a:cubicBezTo>
                  <a:cubicBezTo>
                    <a:pt x="1758" y="464"/>
                    <a:pt x="1758" y="464"/>
                    <a:pt x="1758" y="464"/>
                  </a:cubicBezTo>
                  <a:cubicBezTo>
                    <a:pt x="1758" y="464"/>
                    <a:pt x="1758" y="464"/>
                    <a:pt x="1758" y="464"/>
                  </a:cubicBezTo>
                  <a:cubicBezTo>
                    <a:pt x="1759" y="465"/>
                    <a:pt x="1759" y="465"/>
                    <a:pt x="1759" y="465"/>
                  </a:cubicBezTo>
                  <a:cubicBezTo>
                    <a:pt x="1759" y="465"/>
                    <a:pt x="1759" y="465"/>
                    <a:pt x="1759" y="466"/>
                  </a:cubicBezTo>
                  <a:cubicBezTo>
                    <a:pt x="1759" y="466"/>
                    <a:pt x="1759" y="466"/>
                    <a:pt x="1759" y="466"/>
                  </a:cubicBezTo>
                  <a:cubicBezTo>
                    <a:pt x="1759" y="466"/>
                    <a:pt x="1759" y="466"/>
                    <a:pt x="1759" y="466"/>
                  </a:cubicBezTo>
                  <a:cubicBezTo>
                    <a:pt x="1759" y="466"/>
                    <a:pt x="1759" y="466"/>
                    <a:pt x="1759" y="466"/>
                  </a:cubicBezTo>
                  <a:cubicBezTo>
                    <a:pt x="1759" y="467"/>
                    <a:pt x="1759" y="467"/>
                    <a:pt x="1759" y="467"/>
                  </a:cubicBezTo>
                  <a:cubicBezTo>
                    <a:pt x="1758" y="467"/>
                    <a:pt x="1758" y="467"/>
                    <a:pt x="1758" y="467"/>
                  </a:cubicBezTo>
                  <a:cubicBezTo>
                    <a:pt x="1758" y="468"/>
                    <a:pt x="1758" y="468"/>
                    <a:pt x="1758" y="468"/>
                  </a:cubicBezTo>
                  <a:cubicBezTo>
                    <a:pt x="1758" y="468"/>
                    <a:pt x="1758" y="468"/>
                    <a:pt x="1758" y="468"/>
                  </a:cubicBezTo>
                  <a:cubicBezTo>
                    <a:pt x="1757" y="469"/>
                    <a:pt x="1757" y="469"/>
                    <a:pt x="1757" y="469"/>
                  </a:cubicBezTo>
                  <a:cubicBezTo>
                    <a:pt x="1757" y="469"/>
                    <a:pt x="1757" y="469"/>
                    <a:pt x="1757" y="469"/>
                  </a:cubicBezTo>
                  <a:cubicBezTo>
                    <a:pt x="1757" y="470"/>
                    <a:pt x="1757" y="470"/>
                    <a:pt x="1757" y="470"/>
                  </a:cubicBezTo>
                  <a:cubicBezTo>
                    <a:pt x="1757" y="470"/>
                    <a:pt x="1757" y="470"/>
                    <a:pt x="1757" y="470"/>
                  </a:cubicBezTo>
                  <a:cubicBezTo>
                    <a:pt x="1757" y="471"/>
                    <a:pt x="1757" y="471"/>
                    <a:pt x="1757" y="471"/>
                  </a:cubicBezTo>
                  <a:cubicBezTo>
                    <a:pt x="1757" y="471"/>
                    <a:pt x="1757" y="471"/>
                    <a:pt x="1757" y="471"/>
                  </a:cubicBezTo>
                  <a:cubicBezTo>
                    <a:pt x="1757" y="471"/>
                    <a:pt x="1757" y="471"/>
                    <a:pt x="1757" y="471"/>
                  </a:cubicBezTo>
                  <a:cubicBezTo>
                    <a:pt x="1757" y="471"/>
                    <a:pt x="1758" y="471"/>
                    <a:pt x="1758" y="471"/>
                  </a:cubicBezTo>
                  <a:cubicBezTo>
                    <a:pt x="1759" y="471"/>
                    <a:pt x="1759" y="471"/>
                    <a:pt x="1759" y="471"/>
                  </a:cubicBezTo>
                  <a:cubicBezTo>
                    <a:pt x="1759" y="472"/>
                    <a:pt x="1759" y="472"/>
                    <a:pt x="1759" y="472"/>
                  </a:cubicBezTo>
                  <a:cubicBezTo>
                    <a:pt x="1759" y="472"/>
                    <a:pt x="1760" y="472"/>
                    <a:pt x="1760" y="472"/>
                  </a:cubicBezTo>
                  <a:cubicBezTo>
                    <a:pt x="1760" y="472"/>
                    <a:pt x="1760" y="472"/>
                    <a:pt x="1760" y="472"/>
                  </a:cubicBezTo>
                  <a:cubicBezTo>
                    <a:pt x="1761" y="472"/>
                    <a:pt x="1761" y="472"/>
                    <a:pt x="1761" y="472"/>
                  </a:cubicBezTo>
                  <a:cubicBezTo>
                    <a:pt x="1761" y="472"/>
                    <a:pt x="1761" y="472"/>
                    <a:pt x="1761" y="472"/>
                  </a:cubicBezTo>
                  <a:cubicBezTo>
                    <a:pt x="1760" y="472"/>
                    <a:pt x="1760" y="472"/>
                    <a:pt x="1760" y="472"/>
                  </a:cubicBezTo>
                  <a:cubicBezTo>
                    <a:pt x="1760" y="472"/>
                    <a:pt x="1760" y="472"/>
                    <a:pt x="1760" y="472"/>
                  </a:cubicBezTo>
                  <a:cubicBezTo>
                    <a:pt x="1758" y="472"/>
                    <a:pt x="1758" y="472"/>
                    <a:pt x="1758" y="472"/>
                  </a:cubicBezTo>
                  <a:cubicBezTo>
                    <a:pt x="1757" y="472"/>
                    <a:pt x="1757" y="472"/>
                    <a:pt x="1757" y="472"/>
                  </a:cubicBezTo>
                  <a:cubicBezTo>
                    <a:pt x="1757" y="472"/>
                    <a:pt x="1757" y="472"/>
                    <a:pt x="1757" y="472"/>
                  </a:cubicBezTo>
                  <a:cubicBezTo>
                    <a:pt x="1757" y="472"/>
                    <a:pt x="1757" y="472"/>
                    <a:pt x="1757" y="472"/>
                  </a:cubicBezTo>
                  <a:cubicBezTo>
                    <a:pt x="1756" y="471"/>
                    <a:pt x="1756" y="471"/>
                    <a:pt x="1756" y="471"/>
                  </a:cubicBezTo>
                  <a:cubicBezTo>
                    <a:pt x="1756" y="471"/>
                    <a:pt x="1756" y="471"/>
                    <a:pt x="1756" y="471"/>
                  </a:cubicBezTo>
                  <a:cubicBezTo>
                    <a:pt x="1756" y="471"/>
                    <a:pt x="1756" y="471"/>
                    <a:pt x="1756" y="471"/>
                  </a:cubicBezTo>
                  <a:cubicBezTo>
                    <a:pt x="1756" y="471"/>
                    <a:pt x="1756" y="471"/>
                    <a:pt x="1756" y="471"/>
                  </a:cubicBezTo>
                  <a:cubicBezTo>
                    <a:pt x="1756" y="471"/>
                    <a:pt x="1756" y="471"/>
                    <a:pt x="1756" y="471"/>
                  </a:cubicBezTo>
                  <a:cubicBezTo>
                    <a:pt x="1756" y="471"/>
                    <a:pt x="1755" y="470"/>
                    <a:pt x="1755" y="470"/>
                  </a:cubicBezTo>
                  <a:cubicBezTo>
                    <a:pt x="1754" y="470"/>
                    <a:pt x="1754" y="470"/>
                    <a:pt x="1754" y="470"/>
                  </a:cubicBezTo>
                  <a:cubicBezTo>
                    <a:pt x="1754" y="470"/>
                    <a:pt x="1754" y="470"/>
                    <a:pt x="1754" y="470"/>
                  </a:cubicBezTo>
                  <a:cubicBezTo>
                    <a:pt x="1754" y="470"/>
                    <a:pt x="1754" y="470"/>
                    <a:pt x="1754" y="470"/>
                  </a:cubicBezTo>
                  <a:cubicBezTo>
                    <a:pt x="1754" y="470"/>
                    <a:pt x="1754" y="470"/>
                    <a:pt x="1754" y="470"/>
                  </a:cubicBezTo>
                  <a:cubicBezTo>
                    <a:pt x="1753" y="470"/>
                    <a:pt x="1753" y="469"/>
                    <a:pt x="1752" y="470"/>
                  </a:cubicBezTo>
                  <a:cubicBezTo>
                    <a:pt x="1752" y="470"/>
                    <a:pt x="1752" y="470"/>
                    <a:pt x="1752" y="470"/>
                  </a:cubicBezTo>
                  <a:cubicBezTo>
                    <a:pt x="1752" y="470"/>
                    <a:pt x="1752" y="470"/>
                    <a:pt x="1752" y="470"/>
                  </a:cubicBezTo>
                  <a:cubicBezTo>
                    <a:pt x="1751" y="471"/>
                    <a:pt x="1751" y="471"/>
                    <a:pt x="1751" y="471"/>
                  </a:cubicBezTo>
                  <a:cubicBezTo>
                    <a:pt x="1751" y="471"/>
                    <a:pt x="1751" y="471"/>
                    <a:pt x="1751" y="471"/>
                  </a:cubicBezTo>
                  <a:cubicBezTo>
                    <a:pt x="1751" y="471"/>
                    <a:pt x="1751" y="471"/>
                    <a:pt x="1751" y="471"/>
                  </a:cubicBezTo>
                  <a:cubicBezTo>
                    <a:pt x="1751" y="471"/>
                    <a:pt x="1751" y="471"/>
                    <a:pt x="1751" y="471"/>
                  </a:cubicBezTo>
                  <a:cubicBezTo>
                    <a:pt x="1750" y="471"/>
                    <a:pt x="1750" y="471"/>
                    <a:pt x="1750" y="471"/>
                  </a:cubicBezTo>
                  <a:cubicBezTo>
                    <a:pt x="1750" y="471"/>
                    <a:pt x="1750" y="471"/>
                    <a:pt x="1750" y="471"/>
                  </a:cubicBezTo>
                  <a:cubicBezTo>
                    <a:pt x="1750" y="471"/>
                    <a:pt x="1750" y="471"/>
                    <a:pt x="1750" y="471"/>
                  </a:cubicBezTo>
                  <a:cubicBezTo>
                    <a:pt x="1749" y="471"/>
                    <a:pt x="1749" y="471"/>
                    <a:pt x="1749" y="471"/>
                  </a:cubicBezTo>
                  <a:cubicBezTo>
                    <a:pt x="1749" y="471"/>
                    <a:pt x="1749" y="471"/>
                    <a:pt x="1749" y="471"/>
                  </a:cubicBezTo>
                  <a:cubicBezTo>
                    <a:pt x="1749" y="471"/>
                    <a:pt x="1749" y="471"/>
                    <a:pt x="1749" y="471"/>
                  </a:cubicBezTo>
                  <a:cubicBezTo>
                    <a:pt x="1749" y="472"/>
                    <a:pt x="1749" y="472"/>
                    <a:pt x="1749" y="472"/>
                  </a:cubicBezTo>
                  <a:cubicBezTo>
                    <a:pt x="1749" y="473"/>
                    <a:pt x="1749" y="473"/>
                    <a:pt x="1749" y="473"/>
                  </a:cubicBezTo>
                  <a:cubicBezTo>
                    <a:pt x="1749" y="475"/>
                    <a:pt x="1749" y="475"/>
                    <a:pt x="1749" y="475"/>
                  </a:cubicBezTo>
                  <a:cubicBezTo>
                    <a:pt x="1749" y="476"/>
                    <a:pt x="1749" y="476"/>
                    <a:pt x="1749" y="476"/>
                  </a:cubicBezTo>
                  <a:cubicBezTo>
                    <a:pt x="1749" y="477"/>
                    <a:pt x="1749" y="477"/>
                    <a:pt x="1749" y="477"/>
                  </a:cubicBezTo>
                  <a:cubicBezTo>
                    <a:pt x="1749" y="477"/>
                    <a:pt x="1749" y="477"/>
                    <a:pt x="1749" y="477"/>
                  </a:cubicBezTo>
                  <a:cubicBezTo>
                    <a:pt x="1749" y="477"/>
                    <a:pt x="1749" y="477"/>
                    <a:pt x="1749" y="477"/>
                  </a:cubicBezTo>
                  <a:cubicBezTo>
                    <a:pt x="1749" y="477"/>
                    <a:pt x="1749" y="477"/>
                    <a:pt x="1749" y="477"/>
                  </a:cubicBezTo>
                  <a:cubicBezTo>
                    <a:pt x="1749" y="477"/>
                    <a:pt x="1749" y="477"/>
                    <a:pt x="1749" y="477"/>
                  </a:cubicBezTo>
                  <a:cubicBezTo>
                    <a:pt x="1749" y="477"/>
                    <a:pt x="1749" y="477"/>
                    <a:pt x="1749" y="477"/>
                  </a:cubicBezTo>
                  <a:cubicBezTo>
                    <a:pt x="1749" y="477"/>
                    <a:pt x="1749" y="477"/>
                    <a:pt x="1749" y="477"/>
                  </a:cubicBezTo>
                  <a:cubicBezTo>
                    <a:pt x="1749" y="478"/>
                    <a:pt x="1749" y="478"/>
                    <a:pt x="1749" y="478"/>
                  </a:cubicBezTo>
                  <a:cubicBezTo>
                    <a:pt x="1749" y="478"/>
                    <a:pt x="1749" y="478"/>
                    <a:pt x="1749" y="478"/>
                  </a:cubicBezTo>
                  <a:cubicBezTo>
                    <a:pt x="1749" y="478"/>
                    <a:pt x="1749" y="478"/>
                    <a:pt x="1749" y="478"/>
                  </a:cubicBezTo>
                  <a:cubicBezTo>
                    <a:pt x="1750" y="478"/>
                    <a:pt x="1750" y="479"/>
                    <a:pt x="1750" y="479"/>
                  </a:cubicBezTo>
                  <a:cubicBezTo>
                    <a:pt x="1750" y="479"/>
                    <a:pt x="1750" y="479"/>
                    <a:pt x="1750" y="479"/>
                  </a:cubicBezTo>
                  <a:cubicBezTo>
                    <a:pt x="1750" y="480"/>
                    <a:pt x="1750" y="480"/>
                    <a:pt x="1750" y="480"/>
                  </a:cubicBezTo>
                  <a:cubicBezTo>
                    <a:pt x="1750" y="480"/>
                    <a:pt x="1750" y="480"/>
                    <a:pt x="1750" y="480"/>
                  </a:cubicBezTo>
                  <a:cubicBezTo>
                    <a:pt x="1751" y="482"/>
                    <a:pt x="1751" y="481"/>
                    <a:pt x="1753" y="481"/>
                  </a:cubicBezTo>
                  <a:cubicBezTo>
                    <a:pt x="1753" y="481"/>
                    <a:pt x="1753" y="481"/>
                    <a:pt x="1753" y="481"/>
                  </a:cubicBezTo>
                  <a:cubicBezTo>
                    <a:pt x="1754" y="481"/>
                    <a:pt x="1754" y="481"/>
                    <a:pt x="1754" y="481"/>
                  </a:cubicBezTo>
                  <a:cubicBezTo>
                    <a:pt x="1754" y="481"/>
                    <a:pt x="1754" y="481"/>
                    <a:pt x="1754" y="481"/>
                  </a:cubicBezTo>
                  <a:cubicBezTo>
                    <a:pt x="1754" y="481"/>
                    <a:pt x="1754" y="481"/>
                    <a:pt x="1754" y="481"/>
                  </a:cubicBezTo>
                  <a:cubicBezTo>
                    <a:pt x="1754" y="481"/>
                    <a:pt x="1754" y="481"/>
                    <a:pt x="1754" y="481"/>
                  </a:cubicBezTo>
                  <a:cubicBezTo>
                    <a:pt x="1754" y="482"/>
                    <a:pt x="1754" y="482"/>
                    <a:pt x="1755" y="482"/>
                  </a:cubicBezTo>
                  <a:cubicBezTo>
                    <a:pt x="1755" y="482"/>
                    <a:pt x="1755" y="482"/>
                    <a:pt x="1755" y="482"/>
                  </a:cubicBezTo>
                  <a:cubicBezTo>
                    <a:pt x="1755" y="482"/>
                    <a:pt x="1755" y="482"/>
                    <a:pt x="1755" y="482"/>
                  </a:cubicBezTo>
                  <a:cubicBezTo>
                    <a:pt x="1755" y="482"/>
                    <a:pt x="1755" y="482"/>
                    <a:pt x="1755" y="482"/>
                  </a:cubicBezTo>
                  <a:cubicBezTo>
                    <a:pt x="1755" y="482"/>
                    <a:pt x="1755" y="482"/>
                    <a:pt x="1755" y="482"/>
                  </a:cubicBezTo>
                  <a:cubicBezTo>
                    <a:pt x="1756" y="482"/>
                    <a:pt x="1756" y="482"/>
                    <a:pt x="1756" y="482"/>
                  </a:cubicBezTo>
                  <a:cubicBezTo>
                    <a:pt x="1756" y="482"/>
                    <a:pt x="1756" y="482"/>
                    <a:pt x="1756" y="482"/>
                  </a:cubicBezTo>
                  <a:cubicBezTo>
                    <a:pt x="1756" y="482"/>
                    <a:pt x="1756" y="482"/>
                    <a:pt x="1756" y="482"/>
                  </a:cubicBezTo>
                  <a:cubicBezTo>
                    <a:pt x="1756" y="482"/>
                    <a:pt x="1756" y="482"/>
                    <a:pt x="1756" y="482"/>
                  </a:cubicBezTo>
                  <a:cubicBezTo>
                    <a:pt x="1756" y="482"/>
                    <a:pt x="1756" y="482"/>
                    <a:pt x="1756" y="482"/>
                  </a:cubicBezTo>
                  <a:cubicBezTo>
                    <a:pt x="1756" y="482"/>
                    <a:pt x="1756" y="482"/>
                    <a:pt x="1756" y="482"/>
                  </a:cubicBezTo>
                  <a:cubicBezTo>
                    <a:pt x="1756" y="483"/>
                    <a:pt x="1756" y="483"/>
                    <a:pt x="1756" y="483"/>
                  </a:cubicBezTo>
                  <a:cubicBezTo>
                    <a:pt x="1757" y="483"/>
                    <a:pt x="1757" y="483"/>
                    <a:pt x="1757" y="483"/>
                  </a:cubicBezTo>
                  <a:cubicBezTo>
                    <a:pt x="1757" y="483"/>
                    <a:pt x="1757" y="483"/>
                    <a:pt x="1757" y="483"/>
                  </a:cubicBezTo>
                  <a:cubicBezTo>
                    <a:pt x="1757" y="483"/>
                    <a:pt x="1757" y="483"/>
                    <a:pt x="1757" y="483"/>
                  </a:cubicBezTo>
                  <a:cubicBezTo>
                    <a:pt x="1757" y="483"/>
                    <a:pt x="1757" y="483"/>
                    <a:pt x="1757" y="483"/>
                  </a:cubicBezTo>
                  <a:cubicBezTo>
                    <a:pt x="1757" y="484"/>
                    <a:pt x="1757" y="484"/>
                    <a:pt x="1758" y="484"/>
                  </a:cubicBezTo>
                  <a:cubicBezTo>
                    <a:pt x="1758" y="484"/>
                    <a:pt x="1758" y="484"/>
                    <a:pt x="1758" y="484"/>
                  </a:cubicBezTo>
                  <a:cubicBezTo>
                    <a:pt x="1758" y="484"/>
                    <a:pt x="1758" y="484"/>
                    <a:pt x="1758" y="484"/>
                  </a:cubicBezTo>
                  <a:cubicBezTo>
                    <a:pt x="1759" y="485"/>
                    <a:pt x="1759" y="485"/>
                    <a:pt x="1760" y="485"/>
                  </a:cubicBezTo>
                  <a:cubicBezTo>
                    <a:pt x="1760" y="485"/>
                    <a:pt x="1760" y="485"/>
                    <a:pt x="1760" y="485"/>
                  </a:cubicBezTo>
                  <a:cubicBezTo>
                    <a:pt x="1760" y="485"/>
                    <a:pt x="1760" y="485"/>
                    <a:pt x="1760" y="485"/>
                  </a:cubicBezTo>
                  <a:cubicBezTo>
                    <a:pt x="1760" y="486"/>
                    <a:pt x="1760" y="486"/>
                    <a:pt x="1760" y="486"/>
                  </a:cubicBezTo>
                  <a:cubicBezTo>
                    <a:pt x="1761" y="486"/>
                    <a:pt x="1761" y="486"/>
                    <a:pt x="1761" y="486"/>
                  </a:cubicBezTo>
                  <a:cubicBezTo>
                    <a:pt x="1760" y="486"/>
                    <a:pt x="1760" y="486"/>
                    <a:pt x="1760" y="486"/>
                  </a:cubicBezTo>
                  <a:cubicBezTo>
                    <a:pt x="1760" y="485"/>
                    <a:pt x="1760" y="485"/>
                    <a:pt x="1760" y="485"/>
                  </a:cubicBezTo>
                  <a:cubicBezTo>
                    <a:pt x="1758" y="485"/>
                    <a:pt x="1758" y="485"/>
                    <a:pt x="1758" y="485"/>
                  </a:cubicBezTo>
                  <a:cubicBezTo>
                    <a:pt x="1757" y="484"/>
                    <a:pt x="1756" y="484"/>
                    <a:pt x="1756" y="483"/>
                  </a:cubicBezTo>
                  <a:cubicBezTo>
                    <a:pt x="1756" y="483"/>
                    <a:pt x="1756" y="483"/>
                    <a:pt x="1756" y="483"/>
                  </a:cubicBezTo>
                  <a:cubicBezTo>
                    <a:pt x="1756" y="483"/>
                    <a:pt x="1756" y="483"/>
                    <a:pt x="1756" y="483"/>
                  </a:cubicBezTo>
                  <a:cubicBezTo>
                    <a:pt x="1755" y="483"/>
                    <a:pt x="1754" y="483"/>
                    <a:pt x="1753" y="482"/>
                  </a:cubicBezTo>
                  <a:cubicBezTo>
                    <a:pt x="1753" y="482"/>
                    <a:pt x="1753" y="482"/>
                    <a:pt x="1753" y="482"/>
                  </a:cubicBezTo>
                  <a:cubicBezTo>
                    <a:pt x="1753" y="482"/>
                    <a:pt x="1753" y="482"/>
                    <a:pt x="1753" y="482"/>
                  </a:cubicBezTo>
                  <a:cubicBezTo>
                    <a:pt x="1753" y="482"/>
                    <a:pt x="1753" y="482"/>
                    <a:pt x="1753" y="482"/>
                  </a:cubicBezTo>
                  <a:cubicBezTo>
                    <a:pt x="1753" y="482"/>
                    <a:pt x="1753" y="482"/>
                    <a:pt x="1753" y="482"/>
                  </a:cubicBezTo>
                  <a:cubicBezTo>
                    <a:pt x="1751" y="482"/>
                    <a:pt x="1751" y="483"/>
                    <a:pt x="1750" y="483"/>
                  </a:cubicBezTo>
                  <a:cubicBezTo>
                    <a:pt x="1750" y="483"/>
                    <a:pt x="1750" y="483"/>
                    <a:pt x="1750" y="483"/>
                  </a:cubicBezTo>
                  <a:cubicBezTo>
                    <a:pt x="1750" y="482"/>
                    <a:pt x="1750" y="482"/>
                    <a:pt x="1750" y="482"/>
                  </a:cubicBezTo>
                  <a:cubicBezTo>
                    <a:pt x="1749" y="482"/>
                    <a:pt x="1749" y="483"/>
                    <a:pt x="1748" y="482"/>
                  </a:cubicBezTo>
                  <a:cubicBezTo>
                    <a:pt x="1748" y="482"/>
                    <a:pt x="1748" y="482"/>
                    <a:pt x="1748" y="482"/>
                  </a:cubicBezTo>
                  <a:cubicBezTo>
                    <a:pt x="1748" y="482"/>
                    <a:pt x="1748" y="482"/>
                    <a:pt x="1748" y="482"/>
                  </a:cubicBezTo>
                  <a:cubicBezTo>
                    <a:pt x="1748" y="482"/>
                    <a:pt x="1748" y="482"/>
                    <a:pt x="1748" y="482"/>
                  </a:cubicBezTo>
                  <a:cubicBezTo>
                    <a:pt x="1748" y="482"/>
                    <a:pt x="1748" y="482"/>
                    <a:pt x="1748" y="482"/>
                  </a:cubicBezTo>
                  <a:cubicBezTo>
                    <a:pt x="1749" y="483"/>
                    <a:pt x="1750" y="484"/>
                    <a:pt x="1751" y="485"/>
                  </a:cubicBezTo>
                  <a:cubicBezTo>
                    <a:pt x="1751" y="485"/>
                    <a:pt x="1751" y="485"/>
                    <a:pt x="1751" y="485"/>
                  </a:cubicBezTo>
                  <a:cubicBezTo>
                    <a:pt x="1751" y="485"/>
                    <a:pt x="1751" y="485"/>
                    <a:pt x="1751" y="485"/>
                  </a:cubicBezTo>
                  <a:cubicBezTo>
                    <a:pt x="1751" y="485"/>
                    <a:pt x="1751" y="485"/>
                    <a:pt x="1751" y="485"/>
                  </a:cubicBezTo>
                  <a:cubicBezTo>
                    <a:pt x="1751" y="486"/>
                    <a:pt x="1751" y="486"/>
                    <a:pt x="1751" y="486"/>
                  </a:cubicBezTo>
                  <a:cubicBezTo>
                    <a:pt x="1750" y="487"/>
                    <a:pt x="1750" y="487"/>
                    <a:pt x="1750" y="487"/>
                  </a:cubicBezTo>
                  <a:cubicBezTo>
                    <a:pt x="1750" y="487"/>
                    <a:pt x="1750" y="487"/>
                    <a:pt x="1750" y="487"/>
                  </a:cubicBezTo>
                  <a:cubicBezTo>
                    <a:pt x="1750" y="487"/>
                    <a:pt x="1750" y="487"/>
                    <a:pt x="1750" y="487"/>
                  </a:cubicBezTo>
                  <a:cubicBezTo>
                    <a:pt x="1750" y="487"/>
                    <a:pt x="1750" y="487"/>
                    <a:pt x="1750" y="487"/>
                  </a:cubicBezTo>
                  <a:cubicBezTo>
                    <a:pt x="1751" y="487"/>
                    <a:pt x="1751" y="487"/>
                    <a:pt x="1751" y="488"/>
                  </a:cubicBezTo>
                  <a:cubicBezTo>
                    <a:pt x="1751" y="488"/>
                    <a:pt x="1751" y="488"/>
                    <a:pt x="1751" y="488"/>
                  </a:cubicBezTo>
                  <a:cubicBezTo>
                    <a:pt x="1751" y="488"/>
                    <a:pt x="1751" y="488"/>
                    <a:pt x="1751" y="488"/>
                  </a:cubicBezTo>
                  <a:cubicBezTo>
                    <a:pt x="1752" y="488"/>
                    <a:pt x="1752" y="488"/>
                    <a:pt x="1752" y="489"/>
                  </a:cubicBezTo>
                  <a:cubicBezTo>
                    <a:pt x="1752" y="489"/>
                    <a:pt x="1752" y="489"/>
                    <a:pt x="1752" y="489"/>
                  </a:cubicBezTo>
                  <a:cubicBezTo>
                    <a:pt x="1752" y="489"/>
                    <a:pt x="1752" y="489"/>
                    <a:pt x="1752" y="489"/>
                  </a:cubicBezTo>
                  <a:cubicBezTo>
                    <a:pt x="1752" y="489"/>
                    <a:pt x="1752" y="489"/>
                    <a:pt x="1752" y="489"/>
                  </a:cubicBezTo>
                  <a:cubicBezTo>
                    <a:pt x="1751" y="489"/>
                    <a:pt x="1751" y="489"/>
                    <a:pt x="1751" y="489"/>
                  </a:cubicBezTo>
                  <a:cubicBezTo>
                    <a:pt x="1750" y="488"/>
                    <a:pt x="1750" y="488"/>
                    <a:pt x="1750" y="488"/>
                  </a:cubicBezTo>
                  <a:cubicBezTo>
                    <a:pt x="1750" y="487"/>
                    <a:pt x="1750" y="487"/>
                    <a:pt x="1750" y="487"/>
                  </a:cubicBezTo>
                  <a:cubicBezTo>
                    <a:pt x="1749" y="487"/>
                    <a:pt x="1749" y="487"/>
                    <a:pt x="1749" y="487"/>
                  </a:cubicBezTo>
                  <a:cubicBezTo>
                    <a:pt x="1749" y="487"/>
                    <a:pt x="1749" y="487"/>
                    <a:pt x="1749" y="487"/>
                  </a:cubicBezTo>
                  <a:cubicBezTo>
                    <a:pt x="1749" y="487"/>
                    <a:pt x="1749" y="487"/>
                    <a:pt x="1749" y="487"/>
                  </a:cubicBezTo>
                  <a:cubicBezTo>
                    <a:pt x="1749" y="487"/>
                    <a:pt x="1749" y="487"/>
                    <a:pt x="1749" y="487"/>
                  </a:cubicBezTo>
                  <a:cubicBezTo>
                    <a:pt x="1749" y="487"/>
                    <a:pt x="1749" y="487"/>
                    <a:pt x="1749" y="487"/>
                  </a:cubicBezTo>
                  <a:cubicBezTo>
                    <a:pt x="1749" y="487"/>
                    <a:pt x="1749" y="487"/>
                    <a:pt x="1749" y="487"/>
                  </a:cubicBezTo>
                  <a:cubicBezTo>
                    <a:pt x="1748" y="486"/>
                    <a:pt x="1748" y="486"/>
                    <a:pt x="1748" y="486"/>
                  </a:cubicBezTo>
                  <a:cubicBezTo>
                    <a:pt x="1748" y="486"/>
                    <a:pt x="1748" y="486"/>
                    <a:pt x="1747" y="486"/>
                  </a:cubicBezTo>
                  <a:cubicBezTo>
                    <a:pt x="1747" y="486"/>
                    <a:pt x="1747" y="486"/>
                    <a:pt x="1747" y="486"/>
                  </a:cubicBezTo>
                  <a:cubicBezTo>
                    <a:pt x="1747" y="486"/>
                    <a:pt x="1747" y="486"/>
                    <a:pt x="1747" y="486"/>
                  </a:cubicBezTo>
                  <a:cubicBezTo>
                    <a:pt x="1747" y="486"/>
                    <a:pt x="1747" y="486"/>
                    <a:pt x="1747" y="486"/>
                  </a:cubicBezTo>
                  <a:cubicBezTo>
                    <a:pt x="1747" y="487"/>
                    <a:pt x="1747" y="487"/>
                    <a:pt x="1747" y="487"/>
                  </a:cubicBezTo>
                  <a:cubicBezTo>
                    <a:pt x="1748" y="488"/>
                    <a:pt x="1748" y="488"/>
                    <a:pt x="1748" y="488"/>
                  </a:cubicBezTo>
                  <a:cubicBezTo>
                    <a:pt x="1748" y="489"/>
                    <a:pt x="1748" y="489"/>
                    <a:pt x="1748" y="489"/>
                  </a:cubicBezTo>
                  <a:cubicBezTo>
                    <a:pt x="1748" y="489"/>
                    <a:pt x="1748" y="489"/>
                    <a:pt x="1748" y="489"/>
                  </a:cubicBezTo>
                  <a:cubicBezTo>
                    <a:pt x="1748" y="489"/>
                    <a:pt x="1748" y="489"/>
                    <a:pt x="1748" y="489"/>
                  </a:cubicBezTo>
                  <a:cubicBezTo>
                    <a:pt x="1749" y="489"/>
                    <a:pt x="1749" y="489"/>
                    <a:pt x="1749" y="489"/>
                  </a:cubicBezTo>
                  <a:cubicBezTo>
                    <a:pt x="1749" y="490"/>
                    <a:pt x="1749" y="490"/>
                    <a:pt x="1749" y="490"/>
                  </a:cubicBezTo>
                  <a:cubicBezTo>
                    <a:pt x="1749" y="490"/>
                    <a:pt x="1749" y="490"/>
                    <a:pt x="1749" y="490"/>
                  </a:cubicBezTo>
                  <a:cubicBezTo>
                    <a:pt x="1749" y="490"/>
                    <a:pt x="1749" y="490"/>
                    <a:pt x="1749" y="490"/>
                  </a:cubicBezTo>
                  <a:cubicBezTo>
                    <a:pt x="1749" y="490"/>
                    <a:pt x="1749" y="490"/>
                    <a:pt x="1749" y="490"/>
                  </a:cubicBezTo>
                  <a:cubicBezTo>
                    <a:pt x="1749" y="490"/>
                    <a:pt x="1749" y="490"/>
                    <a:pt x="1749" y="490"/>
                  </a:cubicBezTo>
                  <a:cubicBezTo>
                    <a:pt x="1748" y="491"/>
                    <a:pt x="1748" y="491"/>
                    <a:pt x="1748" y="491"/>
                  </a:cubicBezTo>
                  <a:cubicBezTo>
                    <a:pt x="1747" y="491"/>
                    <a:pt x="1747" y="491"/>
                    <a:pt x="1747" y="491"/>
                  </a:cubicBezTo>
                  <a:cubicBezTo>
                    <a:pt x="1747" y="492"/>
                    <a:pt x="1747" y="492"/>
                    <a:pt x="1747" y="492"/>
                  </a:cubicBezTo>
                  <a:cubicBezTo>
                    <a:pt x="1747" y="492"/>
                    <a:pt x="1747" y="492"/>
                    <a:pt x="1747" y="492"/>
                  </a:cubicBezTo>
                  <a:cubicBezTo>
                    <a:pt x="1746" y="492"/>
                    <a:pt x="1746" y="492"/>
                    <a:pt x="1746" y="492"/>
                  </a:cubicBezTo>
                  <a:cubicBezTo>
                    <a:pt x="1745" y="490"/>
                    <a:pt x="1745" y="490"/>
                    <a:pt x="1745" y="490"/>
                  </a:cubicBezTo>
                  <a:cubicBezTo>
                    <a:pt x="1745" y="490"/>
                    <a:pt x="1745" y="490"/>
                    <a:pt x="1745" y="490"/>
                  </a:cubicBezTo>
                  <a:cubicBezTo>
                    <a:pt x="1744" y="490"/>
                    <a:pt x="1744" y="490"/>
                    <a:pt x="1744" y="490"/>
                  </a:cubicBezTo>
                  <a:cubicBezTo>
                    <a:pt x="1744" y="490"/>
                    <a:pt x="1744" y="490"/>
                    <a:pt x="1744" y="490"/>
                  </a:cubicBezTo>
                  <a:cubicBezTo>
                    <a:pt x="1744" y="489"/>
                    <a:pt x="1744" y="489"/>
                    <a:pt x="1744" y="489"/>
                  </a:cubicBezTo>
                  <a:cubicBezTo>
                    <a:pt x="1744" y="489"/>
                    <a:pt x="1744" y="489"/>
                    <a:pt x="1744" y="489"/>
                  </a:cubicBezTo>
                  <a:cubicBezTo>
                    <a:pt x="1744" y="489"/>
                    <a:pt x="1744" y="489"/>
                    <a:pt x="1744" y="489"/>
                  </a:cubicBezTo>
                  <a:cubicBezTo>
                    <a:pt x="1743" y="489"/>
                    <a:pt x="1743" y="489"/>
                    <a:pt x="1743" y="489"/>
                  </a:cubicBezTo>
                  <a:cubicBezTo>
                    <a:pt x="1743" y="489"/>
                    <a:pt x="1743" y="489"/>
                    <a:pt x="1743" y="489"/>
                  </a:cubicBezTo>
                  <a:cubicBezTo>
                    <a:pt x="1743" y="490"/>
                    <a:pt x="1743" y="490"/>
                    <a:pt x="1743" y="490"/>
                  </a:cubicBezTo>
                  <a:cubicBezTo>
                    <a:pt x="1743" y="491"/>
                    <a:pt x="1743" y="491"/>
                    <a:pt x="1743" y="491"/>
                  </a:cubicBezTo>
                  <a:cubicBezTo>
                    <a:pt x="1744" y="492"/>
                    <a:pt x="1744" y="492"/>
                    <a:pt x="1744" y="492"/>
                  </a:cubicBezTo>
                  <a:cubicBezTo>
                    <a:pt x="1744" y="494"/>
                    <a:pt x="1744" y="493"/>
                    <a:pt x="1745" y="495"/>
                  </a:cubicBezTo>
                  <a:cubicBezTo>
                    <a:pt x="1745" y="495"/>
                    <a:pt x="1745" y="495"/>
                    <a:pt x="1745" y="495"/>
                  </a:cubicBezTo>
                  <a:cubicBezTo>
                    <a:pt x="1745" y="495"/>
                    <a:pt x="1745" y="495"/>
                    <a:pt x="1745" y="495"/>
                  </a:cubicBezTo>
                  <a:cubicBezTo>
                    <a:pt x="1745" y="495"/>
                    <a:pt x="1745" y="495"/>
                    <a:pt x="1745" y="495"/>
                  </a:cubicBezTo>
                  <a:cubicBezTo>
                    <a:pt x="1745" y="495"/>
                    <a:pt x="1745" y="495"/>
                    <a:pt x="1745" y="495"/>
                  </a:cubicBezTo>
                  <a:cubicBezTo>
                    <a:pt x="1745" y="495"/>
                    <a:pt x="1745" y="495"/>
                    <a:pt x="1745" y="495"/>
                  </a:cubicBezTo>
                  <a:cubicBezTo>
                    <a:pt x="1745" y="496"/>
                    <a:pt x="1745" y="496"/>
                    <a:pt x="1745" y="496"/>
                  </a:cubicBezTo>
                  <a:cubicBezTo>
                    <a:pt x="1745" y="496"/>
                    <a:pt x="1745" y="496"/>
                    <a:pt x="1745" y="496"/>
                  </a:cubicBezTo>
                  <a:cubicBezTo>
                    <a:pt x="1745" y="496"/>
                    <a:pt x="1745" y="496"/>
                    <a:pt x="1745" y="496"/>
                  </a:cubicBezTo>
                  <a:cubicBezTo>
                    <a:pt x="1745" y="496"/>
                    <a:pt x="1745" y="496"/>
                    <a:pt x="1745" y="496"/>
                  </a:cubicBezTo>
                  <a:cubicBezTo>
                    <a:pt x="1745" y="496"/>
                    <a:pt x="1745" y="496"/>
                    <a:pt x="1746" y="496"/>
                  </a:cubicBezTo>
                  <a:cubicBezTo>
                    <a:pt x="1746" y="496"/>
                    <a:pt x="1746" y="496"/>
                    <a:pt x="1746" y="496"/>
                  </a:cubicBezTo>
                  <a:cubicBezTo>
                    <a:pt x="1746" y="496"/>
                    <a:pt x="1746" y="496"/>
                    <a:pt x="1746" y="496"/>
                  </a:cubicBezTo>
                  <a:cubicBezTo>
                    <a:pt x="1746" y="496"/>
                    <a:pt x="1746" y="496"/>
                    <a:pt x="1746" y="496"/>
                  </a:cubicBezTo>
                  <a:cubicBezTo>
                    <a:pt x="1746" y="496"/>
                    <a:pt x="1746" y="496"/>
                    <a:pt x="1746" y="496"/>
                  </a:cubicBezTo>
                  <a:cubicBezTo>
                    <a:pt x="1748" y="496"/>
                    <a:pt x="1747" y="495"/>
                    <a:pt x="1750" y="496"/>
                  </a:cubicBezTo>
                  <a:cubicBezTo>
                    <a:pt x="1750" y="496"/>
                    <a:pt x="1750" y="496"/>
                    <a:pt x="1750" y="496"/>
                  </a:cubicBezTo>
                  <a:cubicBezTo>
                    <a:pt x="1750" y="496"/>
                    <a:pt x="1750" y="496"/>
                    <a:pt x="1750" y="496"/>
                  </a:cubicBezTo>
                  <a:cubicBezTo>
                    <a:pt x="1752" y="497"/>
                    <a:pt x="1752" y="496"/>
                    <a:pt x="1753" y="497"/>
                  </a:cubicBezTo>
                  <a:cubicBezTo>
                    <a:pt x="1753" y="497"/>
                    <a:pt x="1753" y="497"/>
                    <a:pt x="1753" y="497"/>
                  </a:cubicBezTo>
                  <a:cubicBezTo>
                    <a:pt x="1753" y="497"/>
                    <a:pt x="1753" y="497"/>
                    <a:pt x="1753" y="497"/>
                  </a:cubicBezTo>
                  <a:cubicBezTo>
                    <a:pt x="1753" y="497"/>
                    <a:pt x="1753" y="497"/>
                    <a:pt x="1753" y="497"/>
                  </a:cubicBezTo>
                  <a:cubicBezTo>
                    <a:pt x="1752" y="497"/>
                    <a:pt x="1752" y="497"/>
                    <a:pt x="1752" y="497"/>
                  </a:cubicBezTo>
                  <a:cubicBezTo>
                    <a:pt x="1751" y="497"/>
                    <a:pt x="1751" y="497"/>
                    <a:pt x="1751" y="497"/>
                  </a:cubicBezTo>
                  <a:cubicBezTo>
                    <a:pt x="1748" y="497"/>
                    <a:pt x="1748" y="497"/>
                    <a:pt x="1748" y="497"/>
                  </a:cubicBezTo>
                  <a:cubicBezTo>
                    <a:pt x="1746" y="497"/>
                    <a:pt x="1746" y="497"/>
                    <a:pt x="1746" y="497"/>
                  </a:cubicBezTo>
                  <a:cubicBezTo>
                    <a:pt x="1745" y="497"/>
                    <a:pt x="1745" y="497"/>
                    <a:pt x="1745" y="497"/>
                  </a:cubicBezTo>
                  <a:cubicBezTo>
                    <a:pt x="1745" y="497"/>
                    <a:pt x="1745" y="497"/>
                    <a:pt x="1745" y="497"/>
                  </a:cubicBezTo>
                  <a:cubicBezTo>
                    <a:pt x="1745" y="497"/>
                    <a:pt x="1745" y="497"/>
                    <a:pt x="1745" y="497"/>
                  </a:cubicBezTo>
                  <a:cubicBezTo>
                    <a:pt x="1745" y="497"/>
                    <a:pt x="1745" y="497"/>
                    <a:pt x="1745" y="497"/>
                  </a:cubicBezTo>
                  <a:cubicBezTo>
                    <a:pt x="1745" y="497"/>
                    <a:pt x="1745" y="497"/>
                    <a:pt x="1745" y="497"/>
                  </a:cubicBezTo>
                  <a:cubicBezTo>
                    <a:pt x="1745" y="497"/>
                    <a:pt x="1745" y="497"/>
                    <a:pt x="1745" y="497"/>
                  </a:cubicBezTo>
                  <a:cubicBezTo>
                    <a:pt x="1744" y="497"/>
                    <a:pt x="1744" y="497"/>
                    <a:pt x="1743" y="498"/>
                  </a:cubicBezTo>
                  <a:cubicBezTo>
                    <a:pt x="1743" y="498"/>
                    <a:pt x="1743" y="498"/>
                    <a:pt x="1743" y="498"/>
                  </a:cubicBezTo>
                  <a:cubicBezTo>
                    <a:pt x="1743" y="498"/>
                    <a:pt x="1743" y="498"/>
                    <a:pt x="1743" y="498"/>
                  </a:cubicBezTo>
                  <a:cubicBezTo>
                    <a:pt x="1743" y="498"/>
                    <a:pt x="1743" y="498"/>
                    <a:pt x="1743" y="498"/>
                  </a:cubicBezTo>
                  <a:cubicBezTo>
                    <a:pt x="1743" y="498"/>
                    <a:pt x="1743" y="498"/>
                    <a:pt x="1743" y="498"/>
                  </a:cubicBezTo>
                  <a:cubicBezTo>
                    <a:pt x="1744" y="499"/>
                    <a:pt x="1744" y="499"/>
                    <a:pt x="1744" y="499"/>
                  </a:cubicBezTo>
                  <a:cubicBezTo>
                    <a:pt x="1745" y="500"/>
                    <a:pt x="1745" y="500"/>
                    <a:pt x="1745" y="500"/>
                  </a:cubicBezTo>
                  <a:cubicBezTo>
                    <a:pt x="1745" y="500"/>
                    <a:pt x="1745" y="500"/>
                    <a:pt x="1745" y="500"/>
                  </a:cubicBezTo>
                  <a:cubicBezTo>
                    <a:pt x="1745" y="500"/>
                    <a:pt x="1745" y="500"/>
                    <a:pt x="1745" y="500"/>
                  </a:cubicBezTo>
                  <a:cubicBezTo>
                    <a:pt x="1745" y="500"/>
                    <a:pt x="1745" y="500"/>
                    <a:pt x="1745" y="500"/>
                  </a:cubicBezTo>
                  <a:cubicBezTo>
                    <a:pt x="1745" y="501"/>
                    <a:pt x="1745" y="501"/>
                    <a:pt x="1745" y="501"/>
                  </a:cubicBezTo>
                  <a:cubicBezTo>
                    <a:pt x="1745" y="501"/>
                    <a:pt x="1745" y="501"/>
                    <a:pt x="1745" y="501"/>
                  </a:cubicBezTo>
                  <a:cubicBezTo>
                    <a:pt x="1745" y="501"/>
                    <a:pt x="1745" y="501"/>
                    <a:pt x="1745" y="501"/>
                  </a:cubicBezTo>
                  <a:cubicBezTo>
                    <a:pt x="1744" y="501"/>
                    <a:pt x="1744" y="501"/>
                    <a:pt x="1744" y="501"/>
                  </a:cubicBezTo>
                  <a:cubicBezTo>
                    <a:pt x="1744" y="501"/>
                    <a:pt x="1744" y="501"/>
                    <a:pt x="1744" y="501"/>
                  </a:cubicBezTo>
                  <a:cubicBezTo>
                    <a:pt x="1742" y="500"/>
                    <a:pt x="1742" y="500"/>
                    <a:pt x="1742" y="500"/>
                  </a:cubicBezTo>
                  <a:cubicBezTo>
                    <a:pt x="1742" y="499"/>
                    <a:pt x="1742" y="499"/>
                    <a:pt x="1742" y="499"/>
                  </a:cubicBezTo>
                  <a:cubicBezTo>
                    <a:pt x="1741" y="499"/>
                    <a:pt x="1741" y="499"/>
                    <a:pt x="1741" y="499"/>
                  </a:cubicBezTo>
                  <a:cubicBezTo>
                    <a:pt x="1741" y="499"/>
                    <a:pt x="1741" y="499"/>
                    <a:pt x="1741" y="499"/>
                  </a:cubicBezTo>
                  <a:cubicBezTo>
                    <a:pt x="1741" y="499"/>
                    <a:pt x="1741" y="499"/>
                    <a:pt x="1741" y="499"/>
                  </a:cubicBezTo>
                  <a:cubicBezTo>
                    <a:pt x="1741" y="499"/>
                    <a:pt x="1741" y="499"/>
                    <a:pt x="1741" y="499"/>
                  </a:cubicBezTo>
                  <a:cubicBezTo>
                    <a:pt x="1741" y="499"/>
                    <a:pt x="1741" y="499"/>
                    <a:pt x="1741" y="499"/>
                  </a:cubicBezTo>
                  <a:cubicBezTo>
                    <a:pt x="1741" y="499"/>
                    <a:pt x="1741" y="499"/>
                    <a:pt x="1741" y="499"/>
                  </a:cubicBezTo>
                  <a:cubicBezTo>
                    <a:pt x="1741" y="499"/>
                    <a:pt x="1741" y="499"/>
                    <a:pt x="1741" y="499"/>
                  </a:cubicBezTo>
                  <a:cubicBezTo>
                    <a:pt x="1740" y="498"/>
                    <a:pt x="1740" y="498"/>
                    <a:pt x="1740" y="498"/>
                  </a:cubicBezTo>
                  <a:cubicBezTo>
                    <a:pt x="1740" y="498"/>
                    <a:pt x="1740" y="498"/>
                    <a:pt x="1740" y="498"/>
                  </a:cubicBezTo>
                  <a:cubicBezTo>
                    <a:pt x="1740" y="499"/>
                    <a:pt x="1740" y="499"/>
                    <a:pt x="1740" y="499"/>
                  </a:cubicBezTo>
                  <a:cubicBezTo>
                    <a:pt x="1740" y="499"/>
                    <a:pt x="1740" y="499"/>
                    <a:pt x="1740" y="499"/>
                  </a:cubicBezTo>
                  <a:cubicBezTo>
                    <a:pt x="1739" y="502"/>
                    <a:pt x="1739" y="502"/>
                    <a:pt x="1739" y="502"/>
                  </a:cubicBezTo>
                  <a:cubicBezTo>
                    <a:pt x="1739" y="502"/>
                    <a:pt x="1739" y="502"/>
                    <a:pt x="1739" y="502"/>
                  </a:cubicBezTo>
                  <a:cubicBezTo>
                    <a:pt x="1739" y="503"/>
                    <a:pt x="1739" y="503"/>
                    <a:pt x="1739" y="503"/>
                  </a:cubicBezTo>
                  <a:cubicBezTo>
                    <a:pt x="1739" y="503"/>
                    <a:pt x="1739" y="503"/>
                    <a:pt x="1739" y="503"/>
                  </a:cubicBezTo>
                  <a:cubicBezTo>
                    <a:pt x="1740" y="503"/>
                    <a:pt x="1740" y="503"/>
                    <a:pt x="1740" y="503"/>
                  </a:cubicBezTo>
                  <a:cubicBezTo>
                    <a:pt x="1740" y="503"/>
                    <a:pt x="1740" y="503"/>
                    <a:pt x="1740" y="503"/>
                  </a:cubicBezTo>
                  <a:cubicBezTo>
                    <a:pt x="1740" y="503"/>
                    <a:pt x="1740" y="503"/>
                    <a:pt x="1740" y="503"/>
                  </a:cubicBezTo>
                  <a:cubicBezTo>
                    <a:pt x="1740" y="503"/>
                    <a:pt x="1740" y="503"/>
                    <a:pt x="1740" y="503"/>
                  </a:cubicBezTo>
                  <a:cubicBezTo>
                    <a:pt x="1740" y="503"/>
                    <a:pt x="1740" y="503"/>
                    <a:pt x="1740" y="503"/>
                  </a:cubicBezTo>
                  <a:cubicBezTo>
                    <a:pt x="1740" y="503"/>
                    <a:pt x="1740" y="503"/>
                    <a:pt x="1740" y="503"/>
                  </a:cubicBezTo>
                  <a:cubicBezTo>
                    <a:pt x="1741" y="503"/>
                    <a:pt x="1741" y="503"/>
                    <a:pt x="1741" y="503"/>
                  </a:cubicBezTo>
                  <a:cubicBezTo>
                    <a:pt x="1741" y="503"/>
                    <a:pt x="1741" y="503"/>
                    <a:pt x="1741" y="503"/>
                  </a:cubicBezTo>
                  <a:cubicBezTo>
                    <a:pt x="1741" y="503"/>
                    <a:pt x="1741" y="503"/>
                    <a:pt x="1741" y="503"/>
                  </a:cubicBezTo>
                  <a:cubicBezTo>
                    <a:pt x="1741" y="503"/>
                    <a:pt x="1741" y="503"/>
                    <a:pt x="1741" y="503"/>
                  </a:cubicBezTo>
                  <a:cubicBezTo>
                    <a:pt x="1742" y="503"/>
                    <a:pt x="1742" y="503"/>
                    <a:pt x="1742" y="503"/>
                  </a:cubicBezTo>
                  <a:cubicBezTo>
                    <a:pt x="1742" y="503"/>
                    <a:pt x="1742" y="503"/>
                    <a:pt x="1742" y="503"/>
                  </a:cubicBezTo>
                  <a:cubicBezTo>
                    <a:pt x="1742" y="503"/>
                    <a:pt x="1742" y="503"/>
                    <a:pt x="1742" y="503"/>
                  </a:cubicBezTo>
                  <a:cubicBezTo>
                    <a:pt x="1742" y="503"/>
                    <a:pt x="1742" y="503"/>
                    <a:pt x="1742" y="503"/>
                  </a:cubicBezTo>
                  <a:cubicBezTo>
                    <a:pt x="1742" y="503"/>
                    <a:pt x="1742" y="503"/>
                    <a:pt x="1742" y="503"/>
                  </a:cubicBezTo>
                  <a:cubicBezTo>
                    <a:pt x="1742" y="504"/>
                    <a:pt x="1742" y="504"/>
                    <a:pt x="1742" y="504"/>
                  </a:cubicBezTo>
                  <a:cubicBezTo>
                    <a:pt x="1742" y="504"/>
                    <a:pt x="1742" y="504"/>
                    <a:pt x="1742" y="504"/>
                  </a:cubicBezTo>
                  <a:cubicBezTo>
                    <a:pt x="1742" y="504"/>
                    <a:pt x="1742" y="504"/>
                    <a:pt x="1742" y="504"/>
                  </a:cubicBezTo>
                  <a:cubicBezTo>
                    <a:pt x="1740" y="505"/>
                    <a:pt x="1738" y="506"/>
                    <a:pt x="1736" y="508"/>
                  </a:cubicBezTo>
                  <a:cubicBezTo>
                    <a:pt x="1736" y="508"/>
                    <a:pt x="1736" y="508"/>
                    <a:pt x="1736" y="508"/>
                  </a:cubicBezTo>
                  <a:cubicBezTo>
                    <a:pt x="1736" y="508"/>
                    <a:pt x="1736" y="508"/>
                    <a:pt x="1736" y="508"/>
                  </a:cubicBezTo>
                  <a:cubicBezTo>
                    <a:pt x="1737" y="509"/>
                    <a:pt x="1737" y="509"/>
                    <a:pt x="1737" y="509"/>
                  </a:cubicBezTo>
                  <a:cubicBezTo>
                    <a:pt x="1736" y="509"/>
                    <a:pt x="1736" y="509"/>
                    <a:pt x="1736" y="509"/>
                  </a:cubicBezTo>
                  <a:cubicBezTo>
                    <a:pt x="1736" y="509"/>
                    <a:pt x="1736" y="509"/>
                    <a:pt x="1736" y="509"/>
                  </a:cubicBezTo>
                  <a:cubicBezTo>
                    <a:pt x="1736" y="509"/>
                    <a:pt x="1736" y="509"/>
                    <a:pt x="1736" y="509"/>
                  </a:cubicBezTo>
                  <a:cubicBezTo>
                    <a:pt x="1737" y="509"/>
                    <a:pt x="1737" y="509"/>
                    <a:pt x="1737" y="509"/>
                  </a:cubicBezTo>
                  <a:cubicBezTo>
                    <a:pt x="1737" y="509"/>
                    <a:pt x="1737" y="509"/>
                    <a:pt x="1737" y="509"/>
                  </a:cubicBezTo>
                  <a:cubicBezTo>
                    <a:pt x="1737" y="509"/>
                    <a:pt x="1737" y="509"/>
                    <a:pt x="1737" y="509"/>
                  </a:cubicBezTo>
                  <a:cubicBezTo>
                    <a:pt x="1737" y="509"/>
                    <a:pt x="1737" y="509"/>
                    <a:pt x="1737" y="509"/>
                  </a:cubicBezTo>
                  <a:cubicBezTo>
                    <a:pt x="1737" y="509"/>
                    <a:pt x="1737" y="509"/>
                    <a:pt x="1737" y="509"/>
                  </a:cubicBezTo>
                  <a:cubicBezTo>
                    <a:pt x="1737" y="509"/>
                    <a:pt x="1737" y="509"/>
                    <a:pt x="1737" y="509"/>
                  </a:cubicBezTo>
                  <a:cubicBezTo>
                    <a:pt x="1739" y="509"/>
                    <a:pt x="1738" y="510"/>
                    <a:pt x="1739" y="511"/>
                  </a:cubicBezTo>
                  <a:cubicBezTo>
                    <a:pt x="1739" y="511"/>
                    <a:pt x="1739" y="511"/>
                    <a:pt x="1739" y="511"/>
                  </a:cubicBezTo>
                  <a:cubicBezTo>
                    <a:pt x="1739" y="511"/>
                    <a:pt x="1739" y="511"/>
                    <a:pt x="1739" y="511"/>
                  </a:cubicBezTo>
                  <a:cubicBezTo>
                    <a:pt x="1739" y="511"/>
                    <a:pt x="1739" y="511"/>
                    <a:pt x="1739" y="511"/>
                  </a:cubicBezTo>
                  <a:cubicBezTo>
                    <a:pt x="1739" y="511"/>
                    <a:pt x="1739" y="511"/>
                    <a:pt x="1739" y="511"/>
                  </a:cubicBezTo>
                  <a:cubicBezTo>
                    <a:pt x="1740" y="511"/>
                    <a:pt x="1740" y="511"/>
                    <a:pt x="1740" y="511"/>
                  </a:cubicBezTo>
                  <a:cubicBezTo>
                    <a:pt x="1740" y="511"/>
                    <a:pt x="1740" y="511"/>
                    <a:pt x="1740" y="511"/>
                  </a:cubicBezTo>
                  <a:cubicBezTo>
                    <a:pt x="1740" y="511"/>
                    <a:pt x="1740" y="511"/>
                    <a:pt x="1740" y="511"/>
                  </a:cubicBezTo>
                  <a:cubicBezTo>
                    <a:pt x="1740" y="511"/>
                    <a:pt x="1740" y="511"/>
                    <a:pt x="1740" y="511"/>
                  </a:cubicBezTo>
                  <a:cubicBezTo>
                    <a:pt x="1740" y="512"/>
                    <a:pt x="1740" y="512"/>
                    <a:pt x="1740" y="512"/>
                  </a:cubicBezTo>
                  <a:cubicBezTo>
                    <a:pt x="1740" y="512"/>
                    <a:pt x="1740" y="512"/>
                    <a:pt x="1740" y="512"/>
                  </a:cubicBezTo>
                  <a:cubicBezTo>
                    <a:pt x="1740" y="512"/>
                    <a:pt x="1740" y="512"/>
                    <a:pt x="1741" y="513"/>
                  </a:cubicBezTo>
                  <a:cubicBezTo>
                    <a:pt x="1741" y="513"/>
                    <a:pt x="1741" y="513"/>
                    <a:pt x="1741" y="513"/>
                  </a:cubicBezTo>
                  <a:cubicBezTo>
                    <a:pt x="1741" y="513"/>
                    <a:pt x="1741" y="513"/>
                    <a:pt x="1741" y="513"/>
                  </a:cubicBezTo>
                  <a:cubicBezTo>
                    <a:pt x="1741" y="513"/>
                    <a:pt x="1741" y="513"/>
                    <a:pt x="1741" y="513"/>
                  </a:cubicBezTo>
                  <a:cubicBezTo>
                    <a:pt x="1741" y="513"/>
                    <a:pt x="1741" y="513"/>
                    <a:pt x="1741" y="513"/>
                  </a:cubicBezTo>
                  <a:cubicBezTo>
                    <a:pt x="1741" y="513"/>
                    <a:pt x="1741" y="513"/>
                    <a:pt x="1741" y="513"/>
                  </a:cubicBezTo>
                  <a:cubicBezTo>
                    <a:pt x="1740" y="514"/>
                    <a:pt x="1740" y="514"/>
                    <a:pt x="1740" y="514"/>
                  </a:cubicBezTo>
                  <a:cubicBezTo>
                    <a:pt x="1739" y="516"/>
                    <a:pt x="1739" y="516"/>
                    <a:pt x="1739" y="516"/>
                  </a:cubicBezTo>
                  <a:cubicBezTo>
                    <a:pt x="1739" y="517"/>
                    <a:pt x="1739" y="517"/>
                    <a:pt x="1739" y="517"/>
                  </a:cubicBezTo>
                  <a:cubicBezTo>
                    <a:pt x="1738" y="517"/>
                    <a:pt x="1738" y="517"/>
                    <a:pt x="1738" y="517"/>
                  </a:cubicBezTo>
                  <a:cubicBezTo>
                    <a:pt x="1739" y="517"/>
                    <a:pt x="1739" y="517"/>
                    <a:pt x="1739" y="517"/>
                  </a:cubicBezTo>
                  <a:cubicBezTo>
                    <a:pt x="1739" y="517"/>
                    <a:pt x="1739" y="517"/>
                    <a:pt x="1739" y="517"/>
                  </a:cubicBezTo>
                  <a:cubicBezTo>
                    <a:pt x="1739" y="517"/>
                    <a:pt x="1739" y="517"/>
                    <a:pt x="1739" y="517"/>
                  </a:cubicBezTo>
                  <a:cubicBezTo>
                    <a:pt x="1739" y="517"/>
                    <a:pt x="1739" y="517"/>
                    <a:pt x="1739" y="517"/>
                  </a:cubicBezTo>
                  <a:cubicBezTo>
                    <a:pt x="1739" y="517"/>
                    <a:pt x="1739" y="517"/>
                    <a:pt x="1739" y="517"/>
                  </a:cubicBezTo>
                  <a:cubicBezTo>
                    <a:pt x="1739" y="517"/>
                    <a:pt x="1739" y="517"/>
                    <a:pt x="1739" y="517"/>
                  </a:cubicBezTo>
                  <a:cubicBezTo>
                    <a:pt x="1739" y="518"/>
                    <a:pt x="1739" y="518"/>
                    <a:pt x="1739" y="518"/>
                  </a:cubicBezTo>
                  <a:cubicBezTo>
                    <a:pt x="1739" y="518"/>
                    <a:pt x="1739" y="518"/>
                    <a:pt x="1739" y="518"/>
                  </a:cubicBezTo>
                  <a:cubicBezTo>
                    <a:pt x="1738" y="518"/>
                    <a:pt x="1738" y="518"/>
                    <a:pt x="1738" y="518"/>
                  </a:cubicBezTo>
                  <a:cubicBezTo>
                    <a:pt x="1738" y="519"/>
                    <a:pt x="1739" y="519"/>
                    <a:pt x="1738" y="520"/>
                  </a:cubicBezTo>
                  <a:cubicBezTo>
                    <a:pt x="1737" y="521"/>
                    <a:pt x="1737" y="521"/>
                    <a:pt x="1737" y="521"/>
                  </a:cubicBezTo>
                  <a:cubicBezTo>
                    <a:pt x="1736" y="521"/>
                    <a:pt x="1736" y="521"/>
                    <a:pt x="1736" y="521"/>
                  </a:cubicBezTo>
                  <a:cubicBezTo>
                    <a:pt x="1736" y="521"/>
                    <a:pt x="1736" y="521"/>
                    <a:pt x="1736" y="521"/>
                  </a:cubicBezTo>
                  <a:cubicBezTo>
                    <a:pt x="1736" y="521"/>
                    <a:pt x="1736" y="521"/>
                    <a:pt x="1736" y="521"/>
                  </a:cubicBezTo>
                  <a:cubicBezTo>
                    <a:pt x="1737" y="519"/>
                    <a:pt x="1737" y="519"/>
                    <a:pt x="1737" y="519"/>
                  </a:cubicBezTo>
                  <a:cubicBezTo>
                    <a:pt x="1737" y="518"/>
                    <a:pt x="1737" y="518"/>
                    <a:pt x="1737" y="518"/>
                  </a:cubicBezTo>
                  <a:cubicBezTo>
                    <a:pt x="1738" y="517"/>
                    <a:pt x="1736" y="517"/>
                    <a:pt x="1737" y="515"/>
                  </a:cubicBezTo>
                  <a:cubicBezTo>
                    <a:pt x="1737" y="515"/>
                    <a:pt x="1737" y="515"/>
                    <a:pt x="1737" y="515"/>
                  </a:cubicBezTo>
                  <a:cubicBezTo>
                    <a:pt x="1738" y="514"/>
                    <a:pt x="1738" y="514"/>
                    <a:pt x="1738" y="514"/>
                  </a:cubicBezTo>
                  <a:cubicBezTo>
                    <a:pt x="1738" y="514"/>
                    <a:pt x="1738" y="514"/>
                    <a:pt x="1738" y="514"/>
                  </a:cubicBezTo>
                  <a:cubicBezTo>
                    <a:pt x="1738" y="513"/>
                    <a:pt x="1738" y="514"/>
                    <a:pt x="1739" y="512"/>
                  </a:cubicBezTo>
                  <a:cubicBezTo>
                    <a:pt x="1739" y="512"/>
                    <a:pt x="1739" y="512"/>
                    <a:pt x="1739" y="512"/>
                  </a:cubicBezTo>
                  <a:cubicBezTo>
                    <a:pt x="1739" y="512"/>
                    <a:pt x="1739" y="512"/>
                    <a:pt x="1739" y="512"/>
                  </a:cubicBezTo>
                  <a:cubicBezTo>
                    <a:pt x="1739" y="512"/>
                    <a:pt x="1739" y="512"/>
                    <a:pt x="1739" y="512"/>
                  </a:cubicBezTo>
                  <a:cubicBezTo>
                    <a:pt x="1739" y="512"/>
                    <a:pt x="1739" y="512"/>
                    <a:pt x="1739" y="512"/>
                  </a:cubicBezTo>
                  <a:cubicBezTo>
                    <a:pt x="1739" y="512"/>
                    <a:pt x="1739" y="512"/>
                    <a:pt x="1739" y="512"/>
                  </a:cubicBezTo>
                  <a:cubicBezTo>
                    <a:pt x="1738" y="512"/>
                    <a:pt x="1738" y="512"/>
                    <a:pt x="1738" y="512"/>
                  </a:cubicBezTo>
                  <a:cubicBezTo>
                    <a:pt x="1738" y="512"/>
                    <a:pt x="1738" y="512"/>
                    <a:pt x="1738" y="512"/>
                  </a:cubicBezTo>
                  <a:cubicBezTo>
                    <a:pt x="1738" y="512"/>
                    <a:pt x="1738" y="512"/>
                    <a:pt x="1738" y="512"/>
                  </a:cubicBezTo>
                  <a:cubicBezTo>
                    <a:pt x="1738" y="512"/>
                    <a:pt x="1738" y="512"/>
                    <a:pt x="1738" y="512"/>
                  </a:cubicBezTo>
                  <a:cubicBezTo>
                    <a:pt x="1738" y="512"/>
                    <a:pt x="1738" y="512"/>
                    <a:pt x="1738" y="512"/>
                  </a:cubicBezTo>
                  <a:cubicBezTo>
                    <a:pt x="1737" y="511"/>
                    <a:pt x="1737" y="511"/>
                    <a:pt x="1737" y="511"/>
                  </a:cubicBezTo>
                  <a:cubicBezTo>
                    <a:pt x="1737" y="511"/>
                    <a:pt x="1737" y="511"/>
                    <a:pt x="1737" y="511"/>
                  </a:cubicBezTo>
                  <a:cubicBezTo>
                    <a:pt x="1737" y="511"/>
                    <a:pt x="1737" y="511"/>
                    <a:pt x="1737" y="511"/>
                  </a:cubicBezTo>
                  <a:cubicBezTo>
                    <a:pt x="1737" y="511"/>
                    <a:pt x="1737" y="511"/>
                    <a:pt x="1737" y="511"/>
                  </a:cubicBezTo>
                  <a:cubicBezTo>
                    <a:pt x="1737" y="511"/>
                    <a:pt x="1737" y="511"/>
                    <a:pt x="1737" y="511"/>
                  </a:cubicBezTo>
                  <a:cubicBezTo>
                    <a:pt x="1737" y="511"/>
                    <a:pt x="1737" y="511"/>
                    <a:pt x="1737" y="511"/>
                  </a:cubicBezTo>
                  <a:cubicBezTo>
                    <a:pt x="1737" y="511"/>
                    <a:pt x="1737" y="511"/>
                    <a:pt x="1737" y="511"/>
                  </a:cubicBezTo>
                  <a:cubicBezTo>
                    <a:pt x="1737" y="511"/>
                    <a:pt x="1737" y="511"/>
                    <a:pt x="1737" y="511"/>
                  </a:cubicBezTo>
                  <a:cubicBezTo>
                    <a:pt x="1737" y="511"/>
                    <a:pt x="1737" y="511"/>
                    <a:pt x="1737" y="511"/>
                  </a:cubicBezTo>
                  <a:cubicBezTo>
                    <a:pt x="1737" y="510"/>
                    <a:pt x="1737" y="510"/>
                    <a:pt x="1737" y="510"/>
                  </a:cubicBezTo>
                  <a:cubicBezTo>
                    <a:pt x="1737" y="510"/>
                    <a:pt x="1737" y="510"/>
                    <a:pt x="1737" y="510"/>
                  </a:cubicBezTo>
                  <a:cubicBezTo>
                    <a:pt x="1737" y="510"/>
                    <a:pt x="1737" y="510"/>
                    <a:pt x="1737" y="510"/>
                  </a:cubicBezTo>
                  <a:cubicBezTo>
                    <a:pt x="1737" y="510"/>
                    <a:pt x="1737" y="510"/>
                    <a:pt x="1737" y="510"/>
                  </a:cubicBezTo>
                  <a:cubicBezTo>
                    <a:pt x="1736" y="510"/>
                    <a:pt x="1736" y="510"/>
                    <a:pt x="1736" y="510"/>
                  </a:cubicBezTo>
                  <a:cubicBezTo>
                    <a:pt x="1735" y="510"/>
                    <a:pt x="1735" y="510"/>
                    <a:pt x="1735" y="510"/>
                  </a:cubicBezTo>
                  <a:cubicBezTo>
                    <a:pt x="1735" y="510"/>
                    <a:pt x="1735" y="510"/>
                    <a:pt x="1735" y="510"/>
                  </a:cubicBezTo>
                  <a:cubicBezTo>
                    <a:pt x="1735" y="510"/>
                    <a:pt x="1735" y="510"/>
                    <a:pt x="1735" y="510"/>
                  </a:cubicBezTo>
                  <a:cubicBezTo>
                    <a:pt x="1735" y="510"/>
                    <a:pt x="1735" y="510"/>
                    <a:pt x="1735" y="510"/>
                  </a:cubicBezTo>
                  <a:cubicBezTo>
                    <a:pt x="1735" y="510"/>
                    <a:pt x="1735" y="510"/>
                    <a:pt x="1735" y="510"/>
                  </a:cubicBezTo>
                  <a:cubicBezTo>
                    <a:pt x="1735" y="509"/>
                    <a:pt x="1735" y="509"/>
                    <a:pt x="1735" y="509"/>
                  </a:cubicBezTo>
                  <a:cubicBezTo>
                    <a:pt x="1735" y="509"/>
                    <a:pt x="1735" y="509"/>
                    <a:pt x="1735" y="509"/>
                  </a:cubicBezTo>
                  <a:cubicBezTo>
                    <a:pt x="1735" y="509"/>
                    <a:pt x="1735" y="509"/>
                    <a:pt x="1735" y="509"/>
                  </a:cubicBezTo>
                  <a:cubicBezTo>
                    <a:pt x="1735" y="509"/>
                    <a:pt x="1735" y="509"/>
                    <a:pt x="1735" y="509"/>
                  </a:cubicBezTo>
                  <a:cubicBezTo>
                    <a:pt x="1735" y="509"/>
                    <a:pt x="1735" y="509"/>
                    <a:pt x="1735" y="509"/>
                  </a:cubicBezTo>
                  <a:cubicBezTo>
                    <a:pt x="1735" y="509"/>
                    <a:pt x="1735" y="509"/>
                    <a:pt x="1735" y="509"/>
                  </a:cubicBezTo>
                  <a:cubicBezTo>
                    <a:pt x="1735" y="509"/>
                    <a:pt x="1735" y="509"/>
                    <a:pt x="1735" y="509"/>
                  </a:cubicBezTo>
                  <a:cubicBezTo>
                    <a:pt x="1735" y="509"/>
                    <a:pt x="1735" y="509"/>
                    <a:pt x="1735" y="509"/>
                  </a:cubicBezTo>
                  <a:cubicBezTo>
                    <a:pt x="1735" y="509"/>
                    <a:pt x="1735" y="509"/>
                    <a:pt x="1735" y="509"/>
                  </a:cubicBezTo>
                  <a:cubicBezTo>
                    <a:pt x="1735" y="508"/>
                    <a:pt x="1735" y="508"/>
                    <a:pt x="1735" y="508"/>
                  </a:cubicBezTo>
                  <a:cubicBezTo>
                    <a:pt x="1735" y="508"/>
                    <a:pt x="1735" y="508"/>
                    <a:pt x="1735" y="508"/>
                  </a:cubicBezTo>
                  <a:cubicBezTo>
                    <a:pt x="1735" y="508"/>
                    <a:pt x="1735" y="508"/>
                    <a:pt x="1735" y="508"/>
                  </a:cubicBezTo>
                  <a:cubicBezTo>
                    <a:pt x="1734" y="508"/>
                    <a:pt x="1734" y="508"/>
                    <a:pt x="1734" y="508"/>
                  </a:cubicBezTo>
                  <a:cubicBezTo>
                    <a:pt x="1734" y="508"/>
                    <a:pt x="1734" y="508"/>
                    <a:pt x="1734" y="508"/>
                  </a:cubicBezTo>
                  <a:cubicBezTo>
                    <a:pt x="1734" y="508"/>
                    <a:pt x="1734" y="508"/>
                    <a:pt x="1734" y="508"/>
                  </a:cubicBezTo>
                  <a:cubicBezTo>
                    <a:pt x="1734" y="508"/>
                    <a:pt x="1734" y="508"/>
                    <a:pt x="1734" y="508"/>
                  </a:cubicBezTo>
                  <a:cubicBezTo>
                    <a:pt x="1734" y="508"/>
                    <a:pt x="1734" y="508"/>
                    <a:pt x="1734" y="508"/>
                  </a:cubicBezTo>
                  <a:cubicBezTo>
                    <a:pt x="1733" y="508"/>
                    <a:pt x="1733" y="508"/>
                    <a:pt x="1733" y="508"/>
                  </a:cubicBezTo>
                  <a:cubicBezTo>
                    <a:pt x="1733" y="507"/>
                    <a:pt x="1733" y="507"/>
                    <a:pt x="1733" y="507"/>
                  </a:cubicBezTo>
                  <a:cubicBezTo>
                    <a:pt x="1733" y="507"/>
                    <a:pt x="1733" y="507"/>
                    <a:pt x="1733" y="507"/>
                  </a:cubicBezTo>
                  <a:cubicBezTo>
                    <a:pt x="1733" y="507"/>
                    <a:pt x="1733" y="507"/>
                    <a:pt x="1733" y="507"/>
                  </a:cubicBezTo>
                  <a:cubicBezTo>
                    <a:pt x="1732" y="507"/>
                    <a:pt x="1732" y="506"/>
                    <a:pt x="1731" y="506"/>
                  </a:cubicBezTo>
                  <a:cubicBezTo>
                    <a:pt x="1731" y="506"/>
                    <a:pt x="1731" y="506"/>
                    <a:pt x="1731" y="506"/>
                  </a:cubicBezTo>
                  <a:cubicBezTo>
                    <a:pt x="1731" y="506"/>
                    <a:pt x="1731" y="506"/>
                    <a:pt x="1731" y="506"/>
                  </a:cubicBezTo>
                  <a:cubicBezTo>
                    <a:pt x="1731" y="506"/>
                    <a:pt x="1731" y="506"/>
                    <a:pt x="1731" y="506"/>
                  </a:cubicBezTo>
                  <a:cubicBezTo>
                    <a:pt x="1731" y="505"/>
                    <a:pt x="1731" y="505"/>
                    <a:pt x="1731" y="505"/>
                  </a:cubicBezTo>
                  <a:cubicBezTo>
                    <a:pt x="1730" y="505"/>
                    <a:pt x="1730" y="505"/>
                    <a:pt x="1730" y="505"/>
                  </a:cubicBezTo>
                  <a:cubicBezTo>
                    <a:pt x="1730" y="505"/>
                    <a:pt x="1730" y="505"/>
                    <a:pt x="1730" y="505"/>
                  </a:cubicBezTo>
                  <a:cubicBezTo>
                    <a:pt x="1730" y="505"/>
                    <a:pt x="1730" y="505"/>
                    <a:pt x="1730" y="505"/>
                  </a:cubicBezTo>
                  <a:cubicBezTo>
                    <a:pt x="1730" y="505"/>
                    <a:pt x="1730" y="505"/>
                    <a:pt x="1730" y="505"/>
                  </a:cubicBezTo>
                  <a:cubicBezTo>
                    <a:pt x="1730" y="505"/>
                    <a:pt x="1730" y="505"/>
                    <a:pt x="1730" y="505"/>
                  </a:cubicBezTo>
                  <a:cubicBezTo>
                    <a:pt x="1730" y="505"/>
                    <a:pt x="1730" y="505"/>
                    <a:pt x="1730" y="505"/>
                  </a:cubicBezTo>
                  <a:cubicBezTo>
                    <a:pt x="1729" y="505"/>
                    <a:pt x="1729" y="505"/>
                    <a:pt x="1729" y="505"/>
                  </a:cubicBezTo>
                  <a:cubicBezTo>
                    <a:pt x="1729" y="505"/>
                    <a:pt x="1729" y="505"/>
                    <a:pt x="1729" y="505"/>
                  </a:cubicBezTo>
                  <a:cubicBezTo>
                    <a:pt x="1729" y="504"/>
                    <a:pt x="1729" y="504"/>
                    <a:pt x="1729" y="504"/>
                  </a:cubicBezTo>
                  <a:cubicBezTo>
                    <a:pt x="1729" y="504"/>
                    <a:pt x="1729" y="504"/>
                    <a:pt x="1729" y="504"/>
                  </a:cubicBezTo>
                  <a:cubicBezTo>
                    <a:pt x="1729" y="504"/>
                    <a:pt x="1729" y="504"/>
                    <a:pt x="1729" y="504"/>
                  </a:cubicBezTo>
                  <a:cubicBezTo>
                    <a:pt x="1729" y="504"/>
                    <a:pt x="1729" y="504"/>
                    <a:pt x="1729" y="504"/>
                  </a:cubicBezTo>
                  <a:cubicBezTo>
                    <a:pt x="1729" y="504"/>
                    <a:pt x="1729" y="504"/>
                    <a:pt x="1729" y="504"/>
                  </a:cubicBezTo>
                  <a:cubicBezTo>
                    <a:pt x="1729" y="504"/>
                    <a:pt x="1729" y="504"/>
                    <a:pt x="1729" y="504"/>
                  </a:cubicBezTo>
                  <a:cubicBezTo>
                    <a:pt x="1728" y="504"/>
                    <a:pt x="1728" y="504"/>
                    <a:pt x="1728" y="504"/>
                  </a:cubicBezTo>
                  <a:cubicBezTo>
                    <a:pt x="1727" y="506"/>
                    <a:pt x="1727" y="506"/>
                    <a:pt x="1727" y="506"/>
                  </a:cubicBezTo>
                  <a:cubicBezTo>
                    <a:pt x="1725" y="509"/>
                    <a:pt x="1725" y="509"/>
                    <a:pt x="1725" y="509"/>
                  </a:cubicBezTo>
                  <a:cubicBezTo>
                    <a:pt x="1724" y="511"/>
                    <a:pt x="1724" y="511"/>
                    <a:pt x="1724" y="511"/>
                  </a:cubicBezTo>
                  <a:cubicBezTo>
                    <a:pt x="1724" y="512"/>
                    <a:pt x="1724" y="512"/>
                    <a:pt x="1724" y="512"/>
                  </a:cubicBezTo>
                  <a:cubicBezTo>
                    <a:pt x="1723" y="512"/>
                    <a:pt x="1723" y="512"/>
                    <a:pt x="1723" y="512"/>
                  </a:cubicBezTo>
                  <a:cubicBezTo>
                    <a:pt x="1723" y="512"/>
                    <a:pt x="1723" y="512"/>
                    <a:pt x="1723" y="512"/>
                  </a:cubicBezTo>
                  <a:cubicBezTo>
                    <a:pt x="1723" y="512"/>
                    <a:pt x="1723" y="512"/>
                    <a:pt x="1723" y="512"/>
                  </a:cubicBezTo>
                  <a:cubicBezTo>
                    <a:pt x="1723" y="513"/>
                    <a:pt x="1723" y="513"/>
                    <a:pt x="1723" y="513"/>
                  </a:cubicBezTo>
                  <a:cubicBezTo>
                    <a:pt x="1723" y="513"/>
                    <a:pt x="1723" y="513"/>
                    <a:pt x="1723" y="513"/>
                  </a:cubicBezTo>
                  <a:cubicBezTo>
                    <a:pt x="1723" y="514"/>
                    <a:pt x="1723" y="514"/>
                    <a:pt x="1723" y="514"/>
                  </a:cubicBezTo>
                  <a:cubicBezTo>
                    <a:pt x="1723" y="514"/>
                    <a:pt x="1723" y="514"/>
                    <a:pt x="1723" y="514"/>
                  </a:cubicBezTo>
                  <a:cubicBezTo>
                    <a:pt x="1723" y="514"/>
                    <a:pt x="1723" y="514"/>
                    <a:pt x="1723" y="514"/>
                  </a:cubicBezTo>
                  <a:cubicBezTo>
                    <a:pt x="1723" y="514"/>
                    <a:pt x="1723" y="514"/>
                    <a:pt x="1723" y="514"/>
                  </a:cubicBezTo>
                  <a:cubicBezTo>
                    <a:pt x="1723" y="514"/>
                    <a:pt x="1723" y="514"/>
                    <a:pt x="1723" y="514"/>
                  </a:cubicBezTo>
                  <a:cubicBezTo>
                    <a:pt x="1723" y="514"/>
                    <a:pt x="1723" y="514"/>
                    <a:pt x="1723" y="514"/>
                  </a:cubicBezTo>
                  <a:cubicBezTo>
                    <a:pt x="1722" y="515"/>
                    <a:pt x="1722" y="515"/>
                    <a:pt x="1722" y="515"/>
                  </a:cubicBezTo>
                  <a:cubicBezTo>
                    <a:pt x="1722" y="515"/>
                    <a:pt x="1722" y="515"/>
                    <a:pt x="1722" y="515"/>
                  </a:cubicBezTo>
                  <a:cubicBezTo>
                    <a:pt x="1722" y="515"/>
                    <a:pt x="1722" y="515"/>
                    <a:pt x="1722" y="515"/>
                  </a:cubicBezTo>
                  <a:cubicBezTo>
                    <a:pt x="1722" y="515"/>
                    <a:pt x="1722" y="515"/>
                    <a:pt x="1722" y="515"/>
                  </a:cubicBezTo>
                  <a:cubicBezTo>
                    <a:pt x="1722" y="515"/>
                    <a:pt x="1723" y="515"/>
                    <a:pt x="1723" y="516"/>
                  </a:cubicBezTo>
                  <a:cubicBezTo>
                    <a:pt x="1723" y="516"/>
                    <a:pt x="1723" y="516"/>
                    <a:pt x="1723" y="516"/>
                  </a:cubicBezTo>
                  <a:cubicBezTo>
                    <a:pt x="1723" y="516"/>
                    <a:pt x="1723" y="516"/>
                    <a:pt x="1723" y="516"/>
                  </a:cubicBezTo>
                  <a:cubicBezTo>
                    <a:pt x="1723" y="516"/>
                    <a:pt x="1723" y="516"/>
                    <a:pt x="1723" y="516"/>
                  </a:cubicBezTo>
                  <a:cubicBezTo>
                    <a:pt x="1721" y="517"/>
                    <a:pt x="1721" y="517"/>
                    <a:pt x="1721" y="517"/>
                  </a:cubicBezTo>
                  <a:cubicBezTo>
                    <a:pt x="1719" y="517"/>
                    <a:pt x="1719" y="517"/>
                    <a:pt x="1719" y="517"/>
                  </a:cubicBezTo>
                  <a:cubicBezTo>
                    <a:pt x="1702" y="524"/>
                    <a:pt x="1702" y="524"/>
                    <a:pt x="1702" y="524"/>
                  </a:cubicBezTo>
                  <a:cubicBezTo>
                    <a:pt x="1701" y="525"/>
                    <a:pt x="1700" y="526"/>
                    <a:pt x="1700" y="527"/>
                  </a:cubicBezTo>
                  <a:cubicBezTo>
                    <a:pt x="1699" y="528"/>
                    <a:pt x="1699" y="528"/>
                    <a:pt x="1699" y="528"/>
                  </a:cubicBezTo>
                  <a:cubicBezTo>
                    <a:pt x="1699" y="528"/>
                    <a:pt x="1699" y="528"/>
                    <a:pt x="1699" y="528"/>
                  </a:cubicBezTo>
                  <a:cubicBezTo>
                    <a:pt x="1699" y="528"/>
                    <a:pt x="1699" y="529"/>
                    <a:pt x="1699" y="530"/>
                  </a:cubicBezTo>
                  <a:cubicBezTo>
                    <a:pt x="1699" y="530"/>
                    <a:pt x="1699" y="530"/>
                    <a:pt x="1699" y="530"/>
                  </a:cubicBezTo>
                  <a:cubicBezTo>
                    <a:pt x="1699" y="530"/>
                    <a:pt x="1699" y="530"/>
                    <a:pt x="1699" y="530"/>
                  </a:cubicBezTo>
                  <a:cubicBezTo>
                    <a:pt x="1699" y="530"/>
                    <a:pt x="1699" y="530"/>
                    <a:pt x="1699" y="530"/>
                  </a:cubicBezTo>
                  <a:cubicBezTo>
                    <a:pt x="1699" y="530"/>
                    <a:pt x="1699" y="530"/>
                    <a:pt x="1699" y="530"/>
                  </a:cubicBezTo>
                  <a:cubicBezTo>
                    <a:pt x="1700" y="531"/>
                    <a:pt x="1699" y="531"/>
                    <a:pt x="1699" y="532"/>
                  </a:cubicBezTo>
                  <a:cubicBezTo>
                    <a:pt x="1698" y="532"/>
                    <a:pt x="1698" y="532"/>
                    <a:pt x="1698" y="532"/>
                  </a:cubicBezTo>
                  <a:cubicBezTo>
                    <a:pt x="1698" y="532"/>
                    <a:pt x="1698" y="532"/>
                    <a:pt x="1698" y="532"/>
                  </a:cubicBezTo>
                  <a:cubicBezTo>
                    <a:pt x="1698" y="532"/>
                    <a:pt x="1698" y="532"/>
                    <a:pt x="1698" y="532"/>
                  </a:cubicBezTo>
                  <a:cubicBezTo>
                    <a:pt x="1698" y="532"/>
                    <a:pt x="1698" y="532"/>
                    <a:pt x="1698" y="532"/>
                  </a:cubicBezTo>
                  <a:cubicBezTo>
                    <a:pt x="1698" y="532"/>
                    <a:pt x="1698" y="532"/>
                    <a:pt x="1698" y="532"/>
                  </a:cubicBezTo>
                  <a:cubicBezTo>
                    <a:pt x="1698" y="533"/>
                    <a:pt x="1698" y="533"/>
                    <a:pt x="1698" y="533"/>
                  </a:cubicBezTo>
                  <a:cubicBezTo>
                    <a:pt x="1698" y="533"/>
                    <a:pt x="1698" y="533"/>
                    <a:pt x="1698" y="533"/>
                  </a:cubicBezTo>
                  <a:cubicBezTo>
                    <a:pt x="1698" y="534"/>
                    <a:pt x="1698" y="534"/>
                    <a:pt x="1698" y="534"/>
                  </a:cubicBezTo>
                  <a:cubicBezTo>
                    <a:pt x="1697" y="533"/>
                    <a:pt x="1698" y="533"/>
                    <a:pt x="1698" y="532"/>
                  </a:cubicBezTo>
                  <a:cubicBezTo>
                    <a:pt x="1698" y="532"/>
                    <a:pt x="1698" y="532"/>
                    <a:pt x="1698" y="532"/>
                  </a:cubicBezTo>
                  <a:cubicBezTo>
                    <a:pt x="1698" y="531"/>
                    <a:pt x="1698" y="531"/>
                    <a:pt x="1698" y="531"/>
                  </a:cubicBezTo>
                  <a:cubicBezTo>
                    <a:pt x="1699" y="530"/>
                    <a:pt x="1698" y="530"/>
                    <a:pt x="1698" y="529"/>
                  </a:cubicBezTo>
                  <a:cubicBezTo>
                    <a:pt x="1698" y="529"/>
                    <a:pt x="1698" y="529"/>
                    <a:pt x="1698" y="529"/>
                  </a:cubicBezTo>
                  <a:cubicBezTo>
                    <a:pt x="1698" y="529"/>
                    <a:pt x="1698" y="529"/>
                    <a:pt x="1698" y="529"/>
                  </a:cubicBezTo>
                  <a:cubicBezTo>
                    <a:pt x="1698" y="529"/>
                    <a:pt x="1698" y="529"/>
                    <a:pt x="1698" y="529"/>
                  </a:cubicBezTo>
                  <a:cubicBezTo>
                    <a:pt x="1698" y="528"/>
                    <a:pt x="1698" y="528"/>
                    <a:pt x="1698" y="528"/>
                  </a:cubicBezTo>
                  <a:cubicBezTo>
                    <a:pt x="1698" y="528"/>
                    <a:pt x="1698" y="527"/>
                    <a:pt x="1698" y="526"/>
                  </a:cubicBezTo>
                  <a:cubicBezTo>
                    <a:pt x="1698" y="526"/>
                    <a:pt x="1698" y="526"/>
                    <a:pt x="1698" y="526"/>
                  </a:cubicBezTo>
                  <a:cubicBezTo>
                    <a:pt x="1698" y="526"/>
                    <a:pt x="1698" y="526"/>
                    <a:pt x="1698" y="526"/>
                  </a:cubicBezTo>
                  <a:cubicBezTo>
                    <a:pt x="1698" y="526"/>
                    <a:pt x="1698" y="526"/>
                    <a:pt x="1698" y="526"/>
                  </a:cubicBezTo>
                  <a:cubicBezTo>
                    <a:pt x="1699" y="526"/>
                    <a:pt x="1699" y="526"/>
                    <a:pt x="1699" y="526"/>
                  </a:cubicBezTo>
                  <a:cubicBezTo>
                    <a:pt x="1699" y="526"/>
                    <a:pt x="1699" y="526"/>
                    <a:pt x="1699" y="526"/>
                  </a:cubicBezTo>
                  <a:cubicBezTo>
                    <a:pt x="1699" y="525"/>
                    <a:pt x="1699" y="525"/>
                    <a:pt x="1699" y="525"/>
                  </a:cubicBezTo>
                  <a:cubicBezTo>
                    <a:pt x="1699" y="525"/>
                    <a:pt x="1699" y="525"/>
                    <a:pt x="1699" y="525"/>
                  </a:cubicBezTo>
                  <a:cubicBezTo>
                    <a:pt x="1699" y="525"/>
                    <a:pt x="1699" y="525"/>
                    <a:pt x="1699" y="525"/>
                  </a:cubicBezTo>
                  <a:cubicBezTo>
                    <a:pt x="1699" y="525"/>
                    <a:pt x="1699" y="525"/>
                    <a:pt x="1699" y="525"/>
                  </a:cubicBezTo>
                  <a:cubicBezTo>
                    <a:pt x="1699" y="525"/>
                    <a:pt x="1699" y="525"/>
                    <a:pt x="1699" y="525"/>
                  </a:cubicBezTo>
                  <a:cubicBezTo>
                    <a:pt x="1699" y="525"/>
                    <a:pt x="1699" y="525"/>
                    <a:pt x="1699" y="525"/>
                  </a:cubicBezTo>
                  <a:cubicBezTo>
                    <a:pt x="1699" y="524"/>
                    <a:pt x="1699" y="524"/>
                    <a:pt x="1699" y="524"/>
                  </a:cubicBezTo>
                  <a:cubicBezTo>
                    <a:pt x="1699" y="524"/>
                    <a:pt x="1699" y="524"/>
                    <a:pt x="1699" y="524"/>
                  </a:cubicBezTo>
                  <a:cubicBezTo>
                    <a:pt x="1699" y="524"/>
                    <a:pt x="1699" y="524"/>
                    <a:pt x="1699" y="524"/>
                  </a:cubicBezTo>
                  <a:cubicBezTo>
                    <a:pt x="1698" y="523"/>
                    <a:pt x="1698" y="523"/>
                    <a:pt x="1698" y="523"/>
                  </a:cubicBezTo>
                  <a:cubicBezTo>
                    <a:pt x="1697" y="522"/>
                    <a:pt x="1697" y="522"/>
                    <a:pt x="1697" y="522"/>
                  </a:cubicBezTo>
                  <a:cubicBezTo>
                    <a:pt x="1697" y="522"/>
                    <a:pt x="1697" y="522"/>
                    <a:pt x="1697" y="522"/>
                  </a:cubicBezTo>
                  <a:cubicBezTo>
                    <a:pt x="1697" y="521"/>
                    <a:pt x="1697" y="521"/>
                    <a:pt x="1697" y="521"/>
                  </a:cubicBezTo>
                  <a:cubicBezTo>
                    <a:pt x="1697" y="521"/>
                    <a:pt x="1697" y="521"/>
                    <a:pt x="1697" y="521"/>
                  </a:cubicBezTo>
                  <a:cubicBezTo>
                    <a:pt x="1699" y="520"/>
                    <a:pt x="1697" y="521"/>
                    <a:pt x="1698" y="518"/>
                  </a:cubicBezTo>
                  <a:cubicBezTo>
                    <a:pt x="1698" y="518"/>
                    <a:pt x="1698" y="518"/>
                    <a:pt x="1698" y="518"/>
                  </a:cubicBezTo>
                  <a:cubicBezTo>
                    <a:pt x="1698" y="518"/>
                    <a:pt x="1698" y="518"/>
                    <a:pt x="1698" y="518"/>
                  </a:cubicBezTo>
                  <a:cubicBezTo>
                    <a:pt x="1698" y="518"/>
                    <a:pt x="1698" y="518"/>
                    <a:pt x="1698" y="518"/>
                  </a:cubicBezTo>
                  <a:cubicBezTo>
                    <a:pt x="1696" y="519"/>
                    <a:pt x="1696" y="519"/>
                    <a:pt x="1696" y="519"/>
                  </a:cubicBezTo>
                  <a:cubicBezTo>
                    <a:pt x="1695" y="519"/>
                    <a:pt x="1695" y="519"/>
                    <a:pt x="1695" y="519"/>
                  </a:cubicBezTo>
                  <a:cubicBezTo>
                    <a:pt x="1695" y="520"/>
                    <a:pt x="1695" y="520"/>
                    <a:pt x="1695" y="520"/>
                  </a:cubicBezTo>
                  <a:cubicBezTo>
                    <a:pt x="1695" y="520"/>
                    <a:pt x="1695" y="520"/>
                    <a:pt x="1695" y="520"/>
                  </a:cubicBezTo>
                  <a:cubicBezTo>
                    <a:pt x="1695" y="520"/>
                    <a:pt x="1695" y="520"/>
                    <a:pt x="1695" y="520"/>
                  </a:cubicBezTo>
                  <a:cubicBezTo>
                    <a:pt x="1695" y="520"/>
                    <a:pt x="1695" y="520"/>
                    <a:pt x="1695" y="520"/>
                  </a:cubicBezTo>
                  <a:cubicBezTo>
                    <a:pt x="1695" y="521"/>
                    <a:pt x="1695" y="521"/>
                    <a:pt x="1695" y="521"/>
                  </a:cubicBezTo>
                  <a:cubicBezTo>
                    <a:pt x="1695" y="521"/>
                    <a:pt x="1695" y="521"/>
                    <a:pt x="1695" y="521"/>
                  </a:cubicBezTo>
                  <a:cubicBezTo>
                    <a:pt x="1695" y="521"/>
                    <a:pt x="1695" y="521"/>
                    <a:pt x="1695" y="521"/>
                  </a:cubicBezTo>
                  <a:cubicBezTo>
                    <a:pt x="1695" y="521"/>
                    <a:pt x="1695" y="521"/>
                    <a:pt x="1695" y="521"/>
                  </a:cubicBezTo>
                  <a:cubicBezTo>
                    <a:pt x="1695" y="522"/>
                    <a:pt x="1695" y="522"/>
                    <a:pt x="1695" y="522"/>
                  </a:cubicBezTo>
                  <a:cubicBezTo>
                    <a:pt x="1695" y="522"/>
                    <a:pt x="1695" y="522"/>
                    <a:pt x="1695" y="522"/>
                  </a:cubicBezTo>
                  <a:cubicBezTo>
                    <a:pt x="1695" y="523"/>
                    <a:pt x="1695" y="523"/>
                    <a:pt x="1695" y="523"/>
                  </a:cubicBezTo>
                  <a:cubicBezTo>
                    <a:pt x="1695" y="523"/>
                    <a:pt x="1695" y="523"/>
                    <a:pt x="1695" y="523"/>
                  </a:cubicBezTo>
                  <a:cubicBezTo>
                    <a:pt x="1695" y="523"/>
                    <a:pt x="1695" y="523"/>
                    <a:pt x="1695" y="523"/>
                  </a:cubicBezTo>
                  <a:cubicBezTo>
                    <a:pt x="1695" y="523"/>
                    <a:pt x="1695" y="523"/>
                    <a:pt x="1694" y="524"/>
                  </a:cubicBezTo>
                  <a:cubicBezTo>
                    <a:pt x="1694" y="524"/>
                    <a:pt x="1694" y="524"/>
                    <a:pt x="1694" y="524"/>
                  </a:cubicBezTo>
                  <a:cubicBezTo>
                    <a:pt x="1694" y="524"/>
                    <a:pt x="1694" y="524"/>
                    <a:pt x="1694" y="524"/>
                  </a:cubicBezTo>
                  <a:cubicBezTo>
                    <a:pt x="1694" y="524"/>
                    <a:pt x="1694" y="524"/>
                    <a:pt x="1694" y="524"/>
                  </a:cubicBezTo>
                  <a:cubicBezTo>
                    <a:pt x="1694" y="524"/>
                    <a:pt x="1694" y="524"/>
                    <a:pt x="1694" y="524"/>
                  </a:cubicBezTo>
                  <a:cubicBezTo>
                    <a:pt x="1694" y="524"/>
                    <a:pt x="1694" y="524"/>
                    <a:pt x="1694" y="524"/>
                  </a:cubicBezTo>
                  <a:cubicBezTo>
                    <a:pt x="1694" y="525"/>
                    <a:pt x="1694" y="525"/>
                    <a:pt x="1694" y="525"/>
                  </a:cubicBezTo>
                  <a:cubicBezTo>
                    <a:pt x="1694" y="525"/>
                    <a:pt x="1694" y="525"/>
                    <a:pt x="1694" y="525"/>
                  </a:cubicBezTo>
                  <a:cubicBezTo>
                    <a:pt x="1694" y="525"/>
                    <a:pt x="1694" y="525"/>
                    <a:pt x="1694" y="525"/>
                  </a:cubicBezTo>
                  <a:cubicBezTo>
                    <a:pt x="1694" y="525"/>
                    <a:pt x="1694" y="525"/>
                    <a:pt x="1694" y="525"/>
                  </a:cubicBezTo>
                  <a:cubicBezTo>
                    <a:pt x="1694" y="525"/>
                    <a:pt x="1694" y="525"/>
                    <a:pt x="1694" y="525"/>
                  </a:cubicBezTo>
                  <a:cubicBezTo>
                    <a:pt x="1693" y="525"/>
                    <a:pt x="1693" y="525"/>
                    <a:pt x="1693" y="525"/>
                  </a:cubicBezTo>
                  <a:cubicBezTo>
                    <a:pt x="1693" y="525"/>
                    <a:pt x="1693" y="525"/>
                    <a:pt x="1693" y="525"/>
                  </a:cubicBezTo>
                  <a:cubicBezTo>
                    <a:pt x="1693" y="525"/>
                    <a:pt x="1693" y="525"/>
                    <a:pt x="1693" y="525"/>
                  </a:cubicBezTo>
                  <a:cubicBezTo>
                    <a:pt x="1693" y="525"/>
                    <a:pt x="1693" y="525"/>
                    <a:pt x="1693" y="525"/>
                  </a:cubicBezTo>
                  <a:cubicBezTo>
                    <a:pt x="1693" y="525"/>
                    <a:pt x="1693" y="525"/>
                    <a:pt x="1693" y="525"/>
                  </a:cubicBezTo>
                  <a:cubicBezTo>
                    <a:pt x="1693" y="525"/>
                    <a:pt x="1692" y="525"/>
                    <a:pt x="1692" y="525"/>
                  </a:cubicBezTo>
                  <a:cubicBezTo>
                    <a:pt x="1692" y="526"/>
                    <a:pt x="1692" y="526"/>
                    <a:pt x="1692" y="526"/>
                  </a:cubicBezTo>
                  <a:cubicBezTo>
                    <a:pt x="1692" y="526"/>
                    <a:pt x="1692" y="526"/>
                    <a:pt x="1692" y="526"/>
                  </a:cubicBezTo>
                  <a:cubicBezTo>
                    <a:pt x="1691" y="526"/>
                    <a:pt x="1692" y="527"/>
                    <a:pt x="1691" y="527"/>
                  </a:cubicBezTo>
                  <a:cubicBezTo>
                    <a:pt x="1691" y="527"/>
                    <a:pt x="1691" y="527"/>
                    <a:pt x="1691" y="527"/>
                  </a:cubicBezTo>
                  <a:cubicBezTo>
                    <a:pt x="1691" y="527"/>
                    <a:pt x="1691" y="527"/>
                    <a:pt x="1691" y="527"/>
                  </a:cubicBezTo>
                  <a:cubicBezTo>
                    <a:pt x="1691" y="528"/>
                    <a:pt x="1691" y="528"/>
                    <a:pt x="1691" y="528"/>
                  </a:cubicBezTo>
                  <a:cubicBezTo>
                    <a:pt x="1691" y="528"/>
                    <a:pt x="1691" y="528"/>
                    <a:pt x="1691" y="528"/>
                  </a:cubicBezTo>
                  <a:cubicBezTo>
                    <a:pt x="1691" y="528"/>
                    <a:pt x="1690" y="528"/>
                    <a:pt x="1690" y="529"/>
                  </a:cubicBezTo>
                  <a:cubicBezTo>
                    <a:pt x="1690" y="529"/>
                    <a:pt x="1690" y="529"/>
                    <a:pt x="1690" y="529"/>
                  </a:cubicBezTo>
                  <a:cubicBezTo>
                    <a:pt x="1690" y="529"/>
                    <a:pt x="1690" y="529"/>
                    <a:pt x="1690" y="529"/>
                  </a:cubicBezTo>
                  <a:cubicBezTo>
                    <a:pt x="1689" y="529"/>
                    <a:pt x="1689" y="529"/>
                    <a:pt x="1689" y="530"/>
                  </a:cubicBezTo>
                  <a:cubicBezTo>
                    <a:pt x="1689" y="530"/>
                    <a:pt x="1689" y="530"/>
                    <a:pt x="1689" y="530"/>
                  </a:cubicBezTo>
                  <a:cubicBezTo>
                    <a:pt x="1689" y="530"/>
                    <a:pt x="1689" y="530"/>
                    <a:pt x="1689" y="530"/>
                  </a:cubicBezTo>
                  <a:cubicBezTo>
                    <a:pt x="1688" y="530"/>
                    <a:pt x="1688" y="530"/>
                    <a:pt x="1688" y="530"/>
                  </a:cubicBezTo>
                  <a:cubicBezTo>
                    <a:pt x="1688" y="530"/>
                    <a:pt x="1688" y="530"/>
                    <a:pt x="1688" y="530"/>
                  </a:cubicBezTo>
                  <a:cubicBezTo>
                    <a:pt x="1688" y="530"/>
                    <a:pt x="1688" y="530"/>
                    <a:pt x="1688" y="530"/>
                  </a:cubicBezTo>
                  <a:cubicBezTo>
                    <a:pt x="1688" y="529"/>
                    <a:pt x="1688" y="529"/>
                    <a:pt x="1688" y="529"/>
                  </a:cubicBezTo>
                  <a:cubicBezTo>
                    <a:pt x="1689" y="528"/>
                    <a:pt x="1689" y="528"/>
                    <a:pt x="1689" y="528"/>
                  </a:cubicBezTo>
                  <a:cubicBezTo>
                    <a:pt x="1689" y="527"/>
                    <a:pt x="1689" y="527"/>
                    <a:pt x="1689" y="527"/>
                  </a:cubicBezTo>
                  <a:cubicBezTo>
                    <a:pt x="1690" y="527"/>
                    <a:pt x="1690" y="527"/>
                    <a:pt x="1690" y="527"/>
                  </a:cubicBezTo>
                  <a:cubicBezTo>
                    <a:pt x="1690" y="526"/>
                    <a:pt x="1691" y="526"/>
                    <a:pt x="1692" y="525"/>
                  </a:cubicBezTo>
                  <a:cubicBezTo>
                    <a:pt x="1692" y="525"/>
                    <a:pt x="1692" y="525"/>
                    <a:pt x="1692" y="525"/>
                  </a:cubicBezTo>
                  <a:cubicBezTo>
                    <a:pt x="1692" y="525"/>
                    <a:pt x="1692" y="525"/>
                    <a:pt x="1692" y="525"/>
                  </a:cubicBezTo>
                  <a:cubicBezTo>
                    <a:pt x="1693" y="524"/>
                    <a:pt x="1694" y="523"/>
                    <a:pt x="1694" y="522"/>
                  </a:cubicBezTo>
                  <a:cubicBezTo>
                    <a:pt x="1694" y="522"/>
                    <a:pt x="1694" y="522"/>
                    <a:pt x="1694" y="522"/>
                  </a:cubicBezTo>
                  <a:cubicBezTo>
                    <a:pt x="1694" y="522"/>
                    <a:pt x="1694" y="522"/>
                    <a:pt x="1694" y="522"/>
                  </a:cubicBezTo>
                  <a:cubicBezTo>
                    <a:pt x="1694" y="521"/>
                    <a:pt x="1694" y="521"/>
                    <a:pt x="1694" y="521"/>
                  </a:cubicBezTo>
                  <a:cubicBezTo>
                    <a:pt x="1694" y="521"/>
                    <a:pt x="1694" y="521"/>
                    <a:pt x="1694" y="521"/>
                  </a:cubicBezTo>
                  <a:cubicBezTo>
                    <a:pt x="1693" y="520"/>
                    <a:pt x="1693" y="520"/>
                    <a:pt x="1693" y="520"/>
                  </a:cubicBezTo>
                  <a:cubicBezTo>
                    <a:pt x="1693" y="520"/>
                    <a:pt x="1693" y="520"/>
                    <a:pt x="1693" y="519"/>
                  </a:cubicBezTo>
                  <a:cubicBezTo>
                    <a:pt x="1693" y="519"/>
                    <a:pt x="1693" y="519"/>
                    <a:pt x="1693" y="519"/>
                  </a:cubicBezTo>
                  <a:cubicBezTo>
                    <a:pt x="1693" y="519"/>
                    <a:pt x="1693" y="519"/>
                    <a:pt x="1693" y="519"/>
                  </a:cubicBezTo>
                  <a:cubicBezTo>
                    <a:pt x="1693" y="518"/>
                    <a:pt x="1693" y="518"/>
                    <a:pt x="1693" y="518"/>
                  </a:cubicBezTo>
                  <a:cubicBezTo>
                    <a:pt x="1693" y="517"/>
                    <a:pt x="1693" y="517"/>
                    <a:pt x="1693" y="517"/>
                  </a:cubicBezTo>
                  <a:cubicBezTo>
                    <a:pt x="1693" y="517"/>
                    <a:pt x="1693" y="517"/>
                    <a:pt x="1693" y="517"/>
                  </a:cubicBezTo>
                  <a:cubicBezTo>
                    <a:pt x="1693" y="517"/>
                    <a:pt x="1693" y="517"/>
                    <a:pt x="1693" y="517"/>
                  </a:cubicBezTo>
                  <a:cubicBezTo>
                    <a:pt x="1693" y="517"/>
                    <a:pt x="1693" y="517"/>
                    <a:pt x="1693" y="517"/>
                  </a:cubicBezTo>
                  <a:cubicBezTo>
                    <a:pt x="1693" y="517"/>
                    <a:pt x="1693" y="516"/>
                    <a:pt x="1693" y="516"/>
                  </a:cubicBezTo>
                  <a:cubicBezTo>
                    <a:pt x="1693" y="516"/>
                    <a:pt x="1693" y="516"/>
                    <a:pt x="1693" y="516"/>
                  </a:cubicBezTo>
                  <a:cubicBezTo>
                    <a:pt x="1693" y="516"/>
                    <a:pt x="1693" y="516"/>
                    <a:pt x="1693" y="516"/>
                  </a:cubicBezTo>
                  <a:cubicBezTo>
                    <a:pt x="1691" y="514"/>
                    <a:pt x="1692" y="513"/>
                    <a:pt x="1689" y="515"/>
                  </a:cubicBezTo>
                  <a:cubicBezTo>
                    <a:pt x="1688" y="515"/>
                    <a:pt x="1688" y="515"/>
                    <a:pt x="1688" y="515"/>
                  </a:cubicBezTo>
                  <a:cubicBezTo>
                    <a:pt x="1688" y="515"/>
                    <a:pt x="1688" y="515"/>
                    <a:pt x="1688" y="515"/>
                  </a:cubicBezTo>
                  <a:cubicBezTo>
                    <a:pt x="1688" y="515"/>
                    <a:pt x="1688" y="515"/>
                    <a:pt x="1688" y="515"/>
                  </a:cubicBezTo>
                  <a:cubicBezTo>
                    <a:pt x="1688" y="515"/>
                    <a:pt x="1688" y="515"/>
                    <a:pt x="1688" y="515"/>
                  </a:cubicBezTo>
                  <a:cubicBezTo>
                    <a:pt x="1688" y="515"/>
                    <a:pt x="1688" y="515"/>
                    <a:pt x="1688" y="515"/>
                  </a:cubicBezTo>
                  <a:cubicBezTo>
                    <a:pt x="1688" y="515"/>
                    <a:pt x="1688" y="515"/>
                    <a:pt x="1688" y="515"/>
                  </a:cubicBezTo>
                  <a:cubicBezTo>
                    <a:pt x="1688" y="515"/>
                    <a:pt x="1688" y="515"/>
                    <a:pt x="1688" y="515"/>
                  </a:cubicBezTo>
                  <a:cubicBezTo>
                    <a:pt x="1687" y="516"/>
                    <a:pt x="1687" y="516"/>
                    <a:pt x="1687" y="517"/>
                  </a:cubicBezTo>
                  <a:cubicBezTo>
                    <a:pt x="1687" y="518"/>
                    <a:pt x="1687" y="518"/>
                    <a:pt x="1687" y="518"/>
                  </a:cubicBezTo>
                  <a:cubicBezTo>
                    <a:pt x="1687" y="518"/>
                    <a:pt x="1687" y="518"/>
                    <a:pt x="1687" y="518"/>
                  </a:cubicBezTo>
                  <a:cubicBezTo>
                    <a:pt x="1687" y="518"/>
                    <a:pt x="1687" y="518"/>
                    <a:pt x="1687" y="518"/>
                  </a:cubicBezTo>
                  <a:cubicBezTo>
                    <a:pt x="1687" y="518"/>
                    <a:pt x="1687" y="519"/>
                    <a:pt x="1687" y="519"/>
                  </a:cubicBezTo>
                  <a:cubicBezTo>
                    <a:pt x="1687" y="519"/>
                    <a:pt x="1687" y="519"/>
                    <a:pt x="1687" y="519"/>
                  </a:cubicBezTo>
                  <a:cubicBezTo>
                    <a:pt x="1687" y="519"/>
                    <a:pt x="1687" y="519"/>
                    <a:pt x="1687" y="519"/>
                  </a:cubicBezTo>
                  <a:cubicBezTo>
                    <a:pt x="1686" y="520"/>
                    <a:pt x="1687" y="520"/>
                    <a:pt x="1686" y="521"/>
                  </a:cubicBezTo>
                  <a:cubicBezTo>
                    <a:pt x="1686" y="521"/>
                    <a:pt x="1686" y="521"/>
                    <a:pt x="1686" y="521"/>
                  </a:cubicBezTo>
                  <a:cubicBezTo>
                    <a:pt x="1686" y="521"/>
                    <a:pt x="1686" y="521"/>
                    <a:pt x="1686" y="521"/>
                  </a:cubicBezTo>
                  <a:cubicBezTo>
                    <a:pt x="1686" y="521"/>
                    <a:pt x="1686" y="521"/>
                    <a:pt x="1686" y="521"/>
                  </a:cubicBezTo>
                  <a:cubicBezTo>
                    <a:pt x="1686" y="521"/>
                    <a:pt x="1686" y="521"/>
                    <a:pt x="1686" y="521"/>
                  </a:cubicBezTo>
                  <a:cubicBezTo>
                    <a:pt x="1686" y="521"/>
                    <a:pt x="1686" y="521"/>
                    <a:pt x="1686" y="521"/>
                  </a:cubicBezTo>
                  <a:cubicBezTo>
                    <a:pt x="1685" y="523"/>
                    <a:pt x="1686" y="523"/>
                    <a:pt x="1685" y="524"/>
                  </a:cubicBezTo>
                  <a:cubicBezTo>
                    <a:pt x="1685" y="524"/>
                    <a:pt x="1685" y="524"/>
                    <a:pt x="1685" y="524"/>
                  </a:cubicBezTo>
                  <a:cubicBezTo>
                    <a:pt x="1685" y="524"/>
                    <a:pt x="1685" y="524"/>
                    <a:pt x="1685" y="524"/>
                  </a:cubicBezTo>
                  <a:cubicBezTo>
                    <a:pt x="1684" y="525"/>
                    <a:pt x="1684" y="525"/>
                    <a:pt x="1684" y="527"/>
                  </a:cubicBezTo>
                  <a:cubicBezTo>
                    <a:pt x="1684" y="527"/>
                    <a:pt x="1684" y="527"/>
                    <a:pt x="1684" y="527"/>
                  </a:cubicBezTo>
                  <a:cubicBezTo>
                    <a:pt x="1684" y="527"/>
                    <a:pt x="1684" y="527"/>
                    <a:pt x="1684" y="527"/>
                  </a:cubicBezTo>
                  <a:cubicBezTo>
                    <a:pt x="1684" y="527"/>
                    <a:pt x="1684" y="527"/>
                    <a:pt x="1684" y="527"/>
                  </a:cubicBezTo>
                  <a:cubicBezTo>
                    <a:pt x="1684" y="527"/>
                    <a:pt x="1684" y="527"/>
                    <a:pt x="1684" y="527"/>
                  </a:cubicBezTo>
                  <a:cubicBezTo>
                    <a:pt x="1684" y="527"/>
                    <a:pt x="1684" y="527"/>
                    <a:pt x="1684" y="527"/>
                  </a:cubicBezTo>
                  <a:cubicBezTo>
                    <a:pt x="1684" y="528"/>
                    <a:pt x="1684" y="528"/>
                    <a:pt x="1684" y="528"/>
                  </a:cubicBezTo>
                  <a:cubicBezTo>
                    <a:pt x="1684" y="528"/>
                    <a:pt x="1684" y="528"/>
                    <a:pt x="1684" y="528"/>
                  </a:cubicBezTo>
                  <a:cubicBezTo>
                    <a:pt x="1684" y="528"/>
                    <a:pt x="1684" y="528"/>
                    <a:pt x="1684" y="528"/>
                  </a:cubicBezTo>
                  <a:cubicBezTo>
                    <a:pt x="1684" y="529"/>
                    <a:pt x="1683" y="530"/>
                    <a:pt x="1682" y="530"/>
                  </a:cubicBezTo>
                  <a:cubicBezTo>
                    <a:pt x="1682" y="530"/>
                    <a:pt x="1682" y="530"/>
                    <a:pt x="1682" y="530"/>
                  </a:cubicBezTo>
                  <a:cubicBezTo>
                    <a:pt x="1682" y="530"/>
                    <a:pt x="1682" y="530"/>
                    <a:pt x="1682" y="530"/>
                  </a:cubicBezTo>
                  <a:cubicBezTo>
                    <a:pt x="1682" y="530"/>
                    <a:pt x="1682" y="530"/>
                    <a:pt x="1682" y="530"/>
                  </a:cubicBezTo>
                  <a:cubicBezTo>
                    <a:pt x="1682" y="531"/>
                    <a:pt x="1682" y="531"/>
                    <a:pt x="1682" y="531"/>
                  </a:cubicBezTo>
                  <a:cubicBezTo>
                    <a:pt x="1681" y="531"/>
                    <a:pt x="1681" y="531"/>
                    <a:pt x="1681" y="531"/>
                  </a:cubicBezTo>
                  <a:cubicBezTo>
                    <a:pt x="1681" y="531"/>
                    <a:pt x="1681" y="531"/>
                    <a:pt x="1681" y="531"/>
                  </a:cubicBezTo>
                  <a:cubicBezTo>
                    <a:pt x="1681" y="531"/>
                    <a:pt x="1681" y="532"/>
                    <a:pt x="1680" y="532"/>
                  </a:cubicBezTo>
                  <a:cubicBezTo>
                    <a:pt x="1680" y="532"/>
                    <a:pt x="1680" y="532"/>
                    <a:pt x="1680" y="532"/>
                  </a:cubicBezTo>
                  <a:cubicBezTo>
                    <a:pt x="1680" y="532"/>
                    <a:pt x="1680" y="532"/>
                    <a:pt x="1680" y="532"/>
                  </a:cubicBezTo>
                  <a:cubicBezTo>
                    <a:pt x="1680" y="532"/>
                    <a:pt x="1680" y="532"/>
                    <a:pt x="1680" y="532"/>
                  </a:cubicBezTo>
                  <a:cubicBezTo>
                    <a:pt x="1679" y="532"/>
                    <a:pt x="1679" y="532"/>
                    <a:pt x="1679" y="532"/>
                  </a:cubicBezTo>
                  <a:cubicBezTo>
                    <a:pt x="1677" y="533"/>
                    <a:pt x="1676" y="532"/>
                    <a:pt x="1672" y="534"/>
                  </a:cubicBezTo>
                  <a:cubicBezTo>
                    <a:pt x="1672" y="534"/>
                    <a:pt x="1672" y="534"/>
                    <a:pt x="1672" y="534"/>
                  </a:cubicBezTo>
                  <a:cubicBezTo>
                    <a:pt x="1671" y="534"/>
                    <a:pt x="1671" y="534"/>
                    <a:pt x="1671" y="534"/>
                  </a:cubicBezTo>
                  <a:cubicBezTo>
                    <a:pt x="1671" y="534"/>
                    <a:pt x="1671" y="534"/>
                    <a:pt x="1671" y="534"/>
                  </a:cubicBezTo>
                  <a:cubicBezTo>
                    <a:pt x="1671" y="534"/>
                    <a:pt x="1671" y="534"/>
                    <a:pt x="1671" y="534"/>
                  </a:cubicBezTo>
                  <a:cubicBezTo>
                    <a:pt x="1671" y="534"/>
                    <a:pt x="1671" y="534"/>
                    <a:pt x="1671" y="534"/>
                  </a:cubicBezTo>
                  <a:cubicBezTo>
                    <a:pt x="1671" y="534"/>
                    <a:pt x="1671" y="534"/>
                    <a:pt x="1671" y="534"/>
                  </a:cubicBezTo>
                  <a:cubicBezTo>
                    <a:pt x="1671" y="534"/>
                    <a:pt x="1671" y="534"/>
                    <a:pt x="1671" y="534"/>
                  </a:cubicBezTo>
                  <a:cubicBezTo>
                    <a:pt x="1670" y="534"/>
                    <a:pt x="1670" y="534"/>
                    <a:pt x="1670" y="534"/>
                  </a:cubicBezTo>
                  <a:cubicBezTo>
                    <a:pt x="1670" y="534"/>
                    <a:pt x="1670" y="534"/>
                    <a:pt x="1670" y="534"/>
                  </a:cubicBezTo>
                  <a:cubicBezTo>
                    <a:pt x="1670" y="534"/>
                    <a:pt x="1670" y="534"/>
                    <a:pt x="1670" y="534"/>
                  </a:cubicBezTo>
                  <a:cubicBezTo>
                    <a:pt x="1670" y="534"/>
                    <a:pt x="1670" y="534"/>
                    <a:pt x="1670" y="534"/>
                  </a:cubicBezTo>
                  <a:cubicBezTo>
                    <a:pt x="1670" y="534"/>
                    <a:pt x="1670" y="534"/>
                    <a:pt x="1670" y="534"/>
                  </a:cubicBezTo>
                  <a:cubicBezTo>
                    <a:pt x="1670" y="534"/>
                    <a:pt x="1670" y="534"/>
                    <a:pt x="1670" y="534"/>
                  </a:cubicBezTo>
                  <a:cubicBezTo>
                    <a:pt x="1670" y="534"/>
                    <a:pt x="1670" y="534"/>
                    <a:pt x="1670" y="534"/>
                  </a:cubicBezTo>
                  <a:cubicBezTo>
                    <a:pt x="1669" y="534"/>
                    <a:pt x="1669" y="534"/>
                    <a:pt x="1669" y="534"/>
                  </a:cubicBezTo>
                  <a:cubicBezTo>
                    <a:pt x="1669" y="535"/>
                    <a:pt x="1669" y="535"/>
                    <a:pt x="1668" y="535"/>
                  </a:cubicBezTo>
                  <a:cubicBezTo>
                    <a:pt x="1668" y="535"/>
                    <a:pt x="1668" y="535"/>
                    <a:pt x="1668" y="535"/>
                  </a:cubicBezTo>
                  <a:cubicBezTo>
                    <a:pt x="1668" y="535"/>
                    <a:pt x="1668" y="535"/>
                    <a:pt x="1668" y="535"/>
                  </a:cubicBezTo>
                  <a:cubicBezTo>
                    <a:pt x="1668" y="535"/>
                    <a:pt x="1668" y="535"/>
                    <a:pt x="1668" y="535"/>
                  </a:cubicBezTo>
                  <a:cubicBezTo>
                    <a:pt x="1667" y="536"/>
                    <a:pt x="1667" y="536"/>
                    <a:pt x="1665" y="536"/>
                  </a:cubicBezTo>
                  <a:cubicBezTo>
                    <a:pt x="1665" y="536"/>
                    <a:pt x="1665" y="536"/>
                    <a:pt x="1665" y="536"/>
                  </a:cubicBezTo>
                  <a:cubicBezTo>
                    <a:pt x="1665" y="536"/>
                    <a:pt x="1665" y="536"/>
                    <a:pt x="1665" y="536"/>
                  </a:cubicBezTo>
                  <a:cubicBezTo>
                    <a:pt x="1665" y="536"/>
                    <a:pt x="1665" y="536"/>
                    <a:pt x="1665" y="536"/>
                  </a:cubicBezTo>
                  <a:cubicBezTo>
                    <a:pt x="1665" y="536"/>
                    <a:pt x="1665" y="536"/>
                    <a:pt x="1665" y="536"/>
                  </a:cubicBezTo>
                  <a:cubicBezTo>
                    <a:pt x="1664" y="537"/>
                    <a:pt x="1664" y="538"/>
                    <a:pt x="1663" y="538"/>
                  </a:cubicBezTo>
                  <a:cubicBezTo>
                    <a:pt x="1663" y="538"/>
                    <a:pt x="1663" y="538"/>
                    <a:pt x="1663" y="538"/>
                  </a:cubicBezTo>
                  <a:cubicBezTo>
                    <a:pt x="1662" y="538"/>
                    <a:pt x="1662" y="538"/>
                    <a:pt x="1662" y="538"/>
                  </a:cubicBezTo>
                  <a:cubicBezTo>
                    <a:pt x="1662" y="539"/>
                    <a:pt x="1661" y="540"/>
                    <a:pt x="1660" y="540"/>
                  </a:cubicBezTo>
                  <a:cubicBezTo>
                    <a:pt x="1660" y="540"/>
                    <a:pt x="1660" y="540"/>
                    <a:pt x="1660" y="540"/>
                  </a:cubicBezTo>
                  <a:cubicBezTo>
                    <a:pt x="1660" y="540"/>
                    <a:pt x="1660" y="540"/>
                    <a:pt x="1660" y="540"/>
                  </a:cubicBezTo>
                  <a:cubicBezTo>
                    <a:pt x="1659" y="540"/>
                    <a:pt x="1659" y="540"/>
                    <a:pt x="1659" y="540"/>
                  </a:cubicBezTo>
                  <a:cubicBezTo>
                    <a:pt x="1659" y="540"/>
                    <a:pt x="1659" y="540"/>
                    <a:pt x="1659" y="540"/>
                  </a:cubicBezTo>
                  <a:cubicBezTo>
                    <a:pt x="1659" y="540"/>
                    <a:pt x="1659" y="540"/>
                    <a:pt x="1659" y="540"/>
                  </a:cubicBezTo>
                  <a:cubicBezTo>
                    <a:pt x="1659" y="540"/>
                    <a:pt x="1659" y="540"/>
                    <a:pt x="1659" y="540"/>
                  </a:cubicBezTo>
                  <a:cubicBezTo>
                    <a:pt x="1660" y="540"/>
                    <a:pt x="1660" y="540"/>
                    <a:pt x="1660" y="540"/>
                  </a:cubicBezTo>
                  <a:cubicBezTo>
                    <a:pt x="1661" y="539"/>
                    <a:pt x="1661" y="539"/>
                    <a:pt x="1661" y="539"/>
                  </a:cubicBezTo>
                  <a:cubicBezTo>
                    <a:pt x="1661" y="539"/>
                    <a:pt x="1661" y="539"/>
                    <a:pt x="1661" y="539"/>
                  </a:cubicBezTo>
                  <a:cubicBezTo>
                    <a:pt x="1665" y="535"/>
                    <a:pt x="1666" y="537"/>
                    <a:pt x="1668" y="534"/>
                  </a:cubicBezTo>
                  <a:cubicBezTo>
                    <a:pt x="1668" y="534"/>
                    <a:pt x="1668" y="534"/>
                    <a:pt x="1668" y="534"/>
                  </a:cubicBezTo>
                  <a:cubicBezTo>
                    <a:pt x="1668" y="534"/>
                    <a:pt x="1668" y="534"/>
                    <a:pt x="1668" y="534"/>
                  </a:cubicBezTo>
                  <a:cubicBezTo>
                    <a:pt x="1668" y="534"/>
                    <a:pt x="1668" y="534"/>
                    <a:pt x="1668" y="534"/>
                  </a:cubicBezTo>
                  <a:cubicBezTo>
                    <a:pt x="1669" y="534"/>
                    <a:pt x="1669" y="534"/>
                    <a:pt x="1669" y="534"/>
                  </a:cubicBezTo>
                  <a:cubicBezTo>
                    <a:pt x="1669" y="534"/>
                    <a:pt x="1670" y="534"/>
                    <a:pt x="1670" y="534"/>
                  </a:cubicBezTo>
                  <a:cubicBezTo>
                    <a:pt x="1670" y="534"/>
                    <a:pt x="1670" y="534"/>
                    <a:pt x="1670" y="534"/>
                  </a:cubicBezTo>
                  <a:cubicBezTo>
                    <a:pt x="1670" y="534"/>
                    <a:pt x="1670" y="534"/>
                    <a:pt x="1670" y="534"/>
                  </a:cubicBezTo>
                  <a:cubicBezTo>
                    <a:pt x="1671" y="533"/>
                    <a:pt x="1671" y="533"/>
                    <a:pt x="1672" y="533"/>
                  </a:cubicBezTo>
                  <a:cubicBezTo>
                    <a:pt x="1672" y="533"/>
                    <a:pt x="1672" y="533"/>
                    <a:pt x="1672" y="533"/>
                  </a:cubicBezTo>
                  <a:cubicBezTo>
                    <a:pt x="1672" y="533"/>
                    <a:pt x="1672" y="533"/>
                    <a:pt x="1672" y="533"/>
                  </a:cubicBezTo>
                  <a:cubicBezTo>
                    <a:pt x="1672" y="533"/>
                    <a:pt x="1672" y="533"/>
                    <a:pt x="1672" y="533"/>
                  </a:cubicBezTo>
                  <a:cubicBezTo>
                    <a:pt x="1674" y="532"/>
                    <a:pt x="1674" y="532"/>
                    <a:pt x="1676" y="532"/>
                  </a:cubicBezTo>
                  <a:cubicBezTo>
                    <a:pt x="1676" y="532"/>
                    <a:pt x="1676" y="532"/>
                    <a:pt x="1676" y="532"/>
                  </a:cubicBezTo>
                  <a:cubicBezTo>
                    <a:pt x="1676" y="532"/>
                    <a:pt x="1676" y="532"/>
                    <a:pt x="1676" y="532"/>
                  </a:cubicBezTo>
                  <a:cubicBezTo>
                    <a:pt x="1676" y="532"/>
                    <a:pt x="1676" y="532"/>
                    <a:pt x="1676" y="532"/>
                  </a:cubicBezTo>
                  <a:cubicBezTo>
                    <a:pt x="1677" y="532"/>
                    <a:pt x="1677" y="532"/>
                    <a:pt x="1677" y="532"/>
                  </a:cubicBezTo>
                  <a:cubicBezTo>
                    <a:pt x="1677" y="532"/>
                    <a:pt x="1677" y="532"/>
                    <a:pt x="1677" y="532"/>
                  </a:cubicBezTo>
                  <a:cubicBezTo>
                    <a:pt x="1677" y="532"/>
                    <a:pt x="1677" y="532"/>
                    <a:pt x="1677" y="532"/>
                  </a:cubicBezTo>
                  <a:cubicBezTo>
                    <a:pt x="1679" y="531"/>
                    <a:pt x="1679" y="532"/>
                    <a:pt x="1681" y="530"/>
                  </a:cubicBezTo>
                  <a:cubicBezTo>
                    <a:pt x="1681" y="530"/>
                    <a:pt x="1681" y="530"/>
                    <a:pt x="1681" y="530"/>
                  </a:cubicBezTo>
                  <a:cubicBezTo>
                    <a:pt x="1681" y="530"/>
                    <a:pt x="1681" y="530"/>
                    <a:pt x="1681" y="530"/>
                  </a:cubicBezTo>
                  <a:cubicBezTo>
                    <a:pt x="1681" y="530"/>
                    <a:pt x="1681" y="530"/>
                    <a:pt x="1681" y="530"/>
                  </a:cubicBezTo>
                  <a:cubicBezTo>
                    <a:pt x="1681" y="530"/>
                    <a:pt x="1681" y="529"/>
                    <a:pt x="1682" y="529"/>
                  </a:cubicBezTo>
                  <a:cubicBezTo>
                    <a:pt x="1682" y="529"/>
                    <a:pt x="1682" y="529"/>
                    <a:pt x="1682" y="529"/>
                  </a:cubicBezTo>
                  <a:cubicBezTo>
                    <a:pt x="1682" y="529"/>
                    <a:pt x="1682" y="529"/>
                    <a:pt x="1682" y="529"/>
                  </a:cubicBezTo>
                  <a:cubicBezTo>
                    <a:pt x="1682" y="529"/>
                    <a:pt x="1683" y="529"/>
                    <a:pt x="1683" y="528"/>
                  </a:cubicBezTo>
                  <a:cubicBezTo>
                    <a:pt x="1683" y="528"/>
                    <a:pt x="1683" y="528"/>
                    <a:pt x="1683" y="528"/>
                  </a:cubicBezTo>
                  <a:cubicBezTo>
                    <a:pt x="1683" y="528"/>
                    <a:pt x="1683" y="528"/>
                    <a:pt x="1683" y="528"/>
                  </a:cubicBezTo>
                  <a:cubicBezTo>
                    <a:pt x="1683" y="527"/>
                    <a:pt x="1683" y="527"/>
                    <a:pt x="1683" y="527"/>
                  </a:cubicBezTo>
                  <a:cubicBezTo>
                    <a:pt x="1683" y="527"/>
                    <a:pt x="1683" y="527"/>
                    <a:pt x="1683" y="527"/>
                  </a:cubicBezTo>
                  <a:cubicBezTo>
                    <a:pt x="1683" y="527"/>
                    <a:pt x="1683" y="527"/>
                    <a:pt x="1683" y="527"/>
                  </a:cubicBezTo>
                  <a:cubicBezTo>
                    <a:pt x="1683" y="527"/>
                    <a:pt x="1683" y="527"/>
                    <a:pt x="1683" y="527"/>
                  </a:cubicBezTo>
                  <a:cubicBezTo>
                    <a:pt x="1683" y="526"/>
                    <a:pt x="1683" y="526"/>
                    <a:pt x="1683" y="525"/>
                  </a:cubicBezTo>
                  <a:cubicBezTo>
                    <a:pt x="1683" y="525"/>
                    <a:pt x="1683" y="525"/>
                    <a:pt x="1683" y="525"/>
                  </a:cubicBezTo>
                  <a:cubicBezTo>
                    <a:pt x="1683" y="525"/>
                    <a:pt x="1683" y="525"/>
                    <a:pt x="1683" y="525"/>
                  </a:cubicBezTo>
                  <a:cubicBezTo>
                    <a:pt x="1684" y="524"/>
                    <a:pt x="1684" y="524"/>
                    <a:pt x="1684" y="524"/>
                  </a:cubicBezTo>
                  <a:cubicBezTo>
                    <a:pt x="1684" y="523"/>
                    <a:pt x="1684" y="523"/>
                    <a:pt x="1684" y="523"/>
                  </a:cubicBezTo>
                  <a:cubicBezTo>
                    <a:pt x="1684" y="523"/>
                    <a:pt x="1684" y="523"/>
                    <a:pt x="1684" y="523"/>
                  </a:cubicBezTo>
                  <a:cubicBezTo>
                    <a:pt x="1684" y="523"/>
                    <a:pt x="1684" y="523"/>
                    <a:pt x="1684" y="523"/>
                  </a:cubicBezTo>
                  <a:cubicBezTo>
                    <a:pt x="1684" y="523"/>
                    <a:pt x="1684" y="523"/>
                    <a:pt x="1684" y="523"/>
                  </a:cubicBezTo>
                  <a:cubicBezTo>
                    <a:pt x="1684" y="523"/>
                    <a:pt x="1685" y="522"/>
                    <a:pt x="1685" y="522"/>
                  </a:cubicBezTo>
                  <a:cubicBezTo>
                    <a:pt x="1685" y="521"/>
                    <a:pt x="1685" y="521"/>
                    <a:pt x="1685" y="521"/>
                  </a:cubicBezTo>
                  <a:cubicBezTo>
                    <a:pt x="1685" y="521"/>
                    <a:pt x="1685" y="521"/>
                    <a:pt x="1685" y="521"/>
                  </a:cubicBezTo>
                  <a:cubicBezTo>
                    <a:pt x="1685" y="521"/>
                    <a:pt x="1685" y="521"/>
                    <a:pt x="1685" y="521"/>
                  </a:cubicBezTo>
                  <a:cubicBezTo>
                    <a:pt x="1685" y="521"/>
                    <a:pt x="1685" y="521"/>
                    <a:pt x="1685" y="521"/>
                  </a:cubicBezTo>
                  <a:cubicBezTo>
                    <a:pt x="1685" y="521"/>
                    <a:pt x="1685" y="521"/>
                    <a:pt x="1685" y="521"/>
                  </a:cubicBezTo>
                  <a:cubicBezTo>
                    <a:pt x="1685" y="521"/>
                    <a:pt x="1685" y="521"/>
                    <a:pt x="1685" y="521"/>
                  </a:cubicBezTo>
                  <a:cubicBezTo>
                    <a:pt x="1685" y="520"/>
                    <a:pt x="1685" y="520"/>
                    <a:pt x="1685" y="520"/>
                  </a:cubicBezTo>
                  <a:cubicBezTo>
                    <a:pt x="1685" y="520"/>
                    <a:pt x="1685" y="520"/>
                    <a:pt x="1685" y="520"/>
                  </a:cubicBezTo>
                  <a:cubicBezTo>
                    <a:pt x="1685" y="520"/>
                    <a:pt x="1685" y="520"/>
                    <a:pt x="1685" y="520"/>
                  </a:cubicBezTo>
                  <a:cubicBezTo>
                    <a:pt x="1686" y="520"/>
                    <a:pt x="1686" y="520"/>
                    <a:pt x="1686" y="520"/>
                  </a:cubicBezTo>
                  <a:cubicBezTo>
                    <a:pt x="1686" y="520"/>
                    <a:pt x="1686" y="520"/>
                    <a:pt x="1686" y="520"/>
                  </a:cubicBezTo>
                  <a:cubicBezTo>
                    <a:pt x="1686" y="520"/>
                    <a:pt x="1686" y="520"/>
                    <a:pt x="1686" y="520"/>
                  </a:cubicBezTo>
                  <a:cubicBezTo>
                    <a:pt x="1686" y="519"/>
                    <a:pt x="1686" y="519"/>
                    <a:pt x="1686" y="519"/>
                  </a:cubicBezTo>
                  <a:cubicBezTo>
                    <a:pt x="1686" y="519"/>
                    <a:pt x="1686" y="519"/>
                    <a:pt x="1686" y="519"/>
                  </a:cubicBezTo>
                  <a:cubicBezTo>
                    <a:pt x="1686" y="519"/>
                    <a:pt x="1686" y="519"/>
                    <a:pt x="1686" y="519"/>
                  </a:cubicBezTo>
                  <a:cubicBezTo>
                    <a:pt x="1686" y="519"/>
                    <a:pt x="1686" y="519"/>
                    <a:pt x="1686" y="519"/>
                  </a:cubicBezTo>
                  <a:cubicBezTo>
                    <a:pt x="1686" y="519"/>
                    <a:pt x="1686" y="519"/>
                    <a:pt x="1686" y="519"/>
                  </a:cubicBezTo>
                  <a:cubicBezTo>
                    <a:pt x="1686" y="519"/>
                    <a:pt x="1686" y="519"/>
                    <a:pt x="1686" y="519"/>
                  </a:cubicBezTo>
                  <a:cubicBezTo>
                    <a:pt x="1686" y="519"/>
                    <a:pt x="1686" y="519"/>
                    <a:pt x="1686" y="519"/>
                  </a:cubicBezTo>
                  <a:cubicBezTo>
                    <a:pt x="1686" y="519"/>
                    <a:pt x="1686" y="519"/>
                    <a:pt x="1686" y="519"/>
                  </a:cubicBezTo>
                  <a:cubicBezTo>
                    <a:pt x="1686" y="519"/>
                    <a:pt x="1686" y="519"/>
                    <a:pt x="1686" y="519"/>
                  </a:cubicBezTo>
                  <a:cubicBezTo>
                    <a:pt x="1686" y="518"/>
                    <a:pt x="1686" y="518"/>
                    <a:pt x="1686" y="517"/>
                  </a:cubicBezTo>
                  <a:cubicBezTo>
                    <a:pt x="1686" y="517"/>
                    <a:pt x="1686" y="517"/>
                    <a:pt x="1686" y="517"/>
                  </a:cubicBezTo>
                  <a:cubicBezTo>
                    <a:pt x="1686" y="517"/>
                    <a:pt x="1686" y="517"/>
                    <a:pt x="1686" y="517"/>
                  </a:cubicBezTo>
                  <a:cubicBezTo>
                    <a:pt x="1686" y="516"/>
                    <a:pt x="1686" y="516"/>
                    <a:pt x="1686" y="515"/>
                  </a:cubicBezTo>
                  <a:cubicBezTo>
                    <a:pt x="1686" y="515"/>
                    <a:pt x="1686" y="515"/>
                    <a:pt x="1686" y="515"/>
                  </a:cubicBezTo>
                  <a:cubicBezTo>
                    <a:pt x="1686" y="515"/>
                    <a:pt x="1686" y="515"/>
                    <a:pt x="1686" y="515"/>
                  </a:cubicBezTo>
                  <a:cubicBezTo>
                    <a:pt x="1686" y="515"/>
                    <a:pt x="1686" y="515"/>
                    <a:pt x="1686" y="515"/>
                  </a:cubicBezTo>
                  <a:cubicBezTo>
                    <a:pt x="1686" y="514"/>
                    <a:pt x="1686" y="514"/>
                    <a:pt x="1686" y="514"/>
                  </a:cubicBezTo>
                  <a:cubicBezTo>
                    <a:pt x="1685" y="512"/>
                    <a:pt x="1685" y="512"/>
                    <a:pt x="1685" y="512"/>
                  </a:cubicBezTo>
                  <a:cubicBezTo>
                    <a:pt x="1684" y="509"/>
                    <a:pt x="1684" y="509"/>
                    <a:pt x="1684" y="509"/>
                  </a:cubicBezTo>
                  <a:cubicBezTo>
                    <a:pt x="1683" y="507"/>
                    <a:pt x="1683" y="507"/>
                    <a:pt x="1683" y="507"/>
                  </a:cubicBezTo>
                  <a:cubicBezTo>
                    <a:pt x="1683" y="507"/>
                    <a:pt x="1683" y="507"/>
                    <a:pt x="1683" y="507"/>
                  </a:cubicBezTo>
                  <a:cubicBezTo>
                    <a:pt x="1683" y="506"/>
                    <a:pt x="1683" y="506"/>
                    <a:pt x="1683" y="506"/>
                  </a:cubicBezTo>
                  <a:cubicBezTo>
                    <a:pt x="1682" y="506"/>
                    <a:pt x="1682" y="506"/>
                    <a:pt x="1682" y="506"/>
                  </a:cubicBezTo>
                  <a:cubicBezTo>
                    <a:pt x="1682" y="506"/>
                    <a:pt x="1682" y="506"/>
                    <a:pt x="1682" y="506"/>
                  </a:cubicBezTo>
                  <a:cubicBezTo>
                    <a:pt x="1682" y="506"/>
                    <a:pt x="1682" y="506"/>
                    <a:pt x="1682" y="506"/>
                  </a:cubicBezTo>
                  <a:cubicBezTo>
                    <a:pt x="1682" y="505"/>
                    <a:pt x="1682" y="505"/>
                    <a:pt x="1682" y="505"/>
                  </a:cubicBezTo>
                  <a:cubicBezTo>
                    <a:pt x="1682" y="505"/>
                    <a:pt x="1682" y="505"/>
                    <a:pt x="1682" y="505"/>
                  </a:cubicBezTo>
                  <a:cubicBezTo>
                    <a:pt x="1681" y="505"/>
                    <a:pt x="1681" y="505"/>
                    <a:pt x="1681" y="505"/>
                  </a:cubicBezTo>
                  <a:cubicBezTo>
                    <a:pt x="1679" y="504"/>
                    <a:pt x="1679" y="504"/>
                    <a:pt x="1679" y="504"/>
                  </a:cubicBezTo>
                  <a:cubicBezTo>
                    <a:pt x="1675" y="503"/>
                    <a:pt x="1675" y="503"/>
                    <a:pt x="1675" y="503"/>
                  </a:cubicBezTo>
                  <a:cubicBezTo>
                    <a:pt x="1673" y="502"/>
                    <a:pt x="1673" y="502"/>
                    <a:pt x="1673" y="502"/>
                  </a:cubicBezTo>
                  <a:cubicBezTo>
                    <a:pt x="1672" y="502"/>
                    <a:pt x="1672" y="502"/>
                    <a:pt x="1672" y="502"/>
                  </a:cubicBezTo>
                  <a:cubicBezTo>
                    <a:pt x="1672" y="502"/>
                    <a:pt x="1672" y="502"/>
                    <a:pt x="1672" y="502"/>
                  </a:cubicBezTo>
                  <a:cubicBezTo>
                    <a:pt x="1672" y="502"/>
                    <a:pt x="1672" y="502"/>
                    <a:pt x="1672" y="502"/>
                  </a:cubicBezTo>
                  <a:cubicBezTo>
                    <a:pt x="1671" y="502"/>
                    <a:pt x="1671" y="502"/>
                    <a:pt x="1671" y="502"/>
                  </a:cubicBezTo>
                  <a:cubicBezTo>
                    <a:pt x="1671" y="502"/>
                    <a:pt x="1671" y="502"/>
                    <a:pt x="1671" y="502"/>
                  </a:cubicBezTo>
                  <a:cubicBezTo>
                    <a:pt x="1671" y="502"/>
                    <a:pt x="1671" y="502"/>
                    <a:pt x="1671" y="502"/>
                  </a:cubicBezTo>
                  <a:cubicBezTo>
                    <a:pt x="1671" y="503"/>
                    <a:pt x="1671" y="503"/>
                    <a:pt x="1671" y="503"/>
                  </a:cubicBezTo>
                  <a:cubicBezTo>
                    <a:pt x="1671" y="503"/>
                    <a:pt x="1671" y="503"/>
                    <a:pt x="1671" y="503"/>
                  </a:cubicBezTo>
                  <a:cubicBezTo>
                    <a:pt x="1671" y="503"/>
                    <a:pt x="1671" y="503"/>
                    <a:pt x="1671" y="503"/>
                  </a:cubicBezTo>
                  <a:cubicBezTo>
                    <a:pt x="1670" y="503"/>
                    <a:pt x="1670" y="503"/>
                    <a:pt x="1670" y="503"/>
                  </a:cubicBezTo>
                  <a:cubicBezTo>
                    <a:pt x="1668" y="503"/>
                    <a:pt x="1668" y="502"/>
                    <a:pt x="1665" y="502"/>
                  </a:cubicBezTo>
                  <a:cubicBezTo>
                    <a:pt x="1665" y="502"/>
                    <a:pt x="1665" y="502"/>
                    <a:pt x="1665" y="502"/>
                  </a:cubicBezTo>
                  <a:cubicBezTo>
                    <a:pt x="1665" y="502"/>
                    <a:pt x="1665" y="502"/>
                    <a:pt x="1665" y="502"/>
                  </a:cubicBezTo>
                  <a:cubicBezTo>
                    <a:pt x="1665" y="502"/>
                    <a:pt x="1665" y="502"/>
                    <a:pt x="1665" y="502"/>
                  </a:cubicBezTo>
                  <a:cubicBezTo>
                    <a:pt x="1664" y="502"/>
                    <a:pt x="1664" y="502"/>
                    <a:pt x="1663" y="502"/>
                  </a:cubicBezTo>
                  <a:cubicBezTo>
                    <a:pt x="1663" y="502"/>
                    <a:pt x="1663" y="502"/>
                    <a:pt x="1663" y="502"/>
                  </a:cubicBezTo>
                  <a:cubicBezTo>
                    <a:pt x="1663" y="502"/>
                    <a:pt x="1663" y="502"/>
                    <a:pt x="1663" y="502"/>
                  </a:cubicBezTo>
                  <a:cubicBezTo>
                    <a:pt x="1662" y="503"/>
                    <a:pt x="1662" y="502"/>
                    <a:pt x="1661" y="502"/>
                  </a:cubicBezTo>
                  <a:cubicBezTo>
                    <a:pt x="1661" y="502"/>
                    <a:pt x="1661" y="502"/>
                    <a:pt x="1661" y="502"/>
                  </a:cubicBezTo>
                  <a:cubicBezTo>
                    <a:pt x="1661" y="502"/>
                    <a:pt x="1661" y="502"/>
                    <a:pt x="1661" y="502"/>
                  </a:cubicBezTo>
                  <a:cubicBezTo>
                    <a:pt x="1661" y="503"/>
                    <a:pt x="1661" y="503"/>
                    <a:pt x="1661" y="503"/>
                  </a:cubicBezTo>
                  <a:cubicBezTo>
                    <a:pt x="1661" y="503"/>
                    <a:pt x="1661" y="503"/>
                    <a:pt x="1661" y="503"/>
                  </a:cubicBezTo>
                  <a:cubicBezTo>
                    <a:pt x="1661" y="503"/>
                    <a:pt x="1661" y="503"/>
                    <a:pt x="1661" y="503"/>
                  </a:cubicBezTo>
                  <a:cubicBezTo>
                    <a:pt x="1661" y="503"/>
                    <a:pt x="1661" y="503"/>
                    <a:pt x="1661" y="503"/>
                  </a:cubicBezTo>
                  <a:cubicBezTo>
                    <a:pt x="1660" y="503"/>
                    <a:pt x="1660" y="503"/>
                    <a:pt x="1660" y="503"/>
                  </a:cubicBezTo>
                  <a:cubicBezTo>
                    <a:pt x="1660" y="503"/>
                    <a:pt x="1660" y="503"/>
                    <a:pt x="1660" y="503"/>
                  </a:cubicBezTo>
                  <a:cubicBezTo>
                    <a:pt x="1660" y="503"/>
                    <a:pt x="1659" y="503"/>
                    <a:pt x="1659" y="503"/>
                  </a:cubicBezTo>
                  <a:cubicBezTo>
                    <a:pt x="1659" y="503"/>
                    <a:pt x="1659" y="503"/>
                    <a:pt x="1659" y="503"/>
                  </a:cubicBezTo>
                  <a:cubicBezTo>
                    <a:pt x="1659" y="504"/>
                    <a:pt x="1659" y="504"/>
                    <a:pt x="1659" y="504"/>
                  </a:cubicBezTo>
                  <a:cubicBezTo>
                    <a:pt x="1658" y="504"/>
                    <a:pt x="1658" y="504"/>
                    <a:pt x="1658" y="505"/>
                  </a:cubicBezTo>
                  <a:cubicBezTo>
                    <a:pt x="1658" y="505"/>
                    <a:pt x="1658" y="505"/>
                    <a:pt x="1658" y="505"/>
                  </a:cubicBezTo>
                  <a:cubicBezTo>
                    <a:pt x="1658" y="505"/>
                    <a:pt x="1658" y="505"/>
                    <a:pt x="1658" y="505"/>
                  </a:cubicBezTo>
                  <a:cubicBezTo>
                    <a:pt x="1658" y="505"/>
                    <a:pt x="1658" y="505"/>
                    <a:pt x="1658" y="505"/>
                  </a:cubicBezTo>
                  <a:cubicBezTo>
                    <a:pt x="1658" y="505"/>
                    <a:pt x="1658" y="505"/>
                    <a:pt x="1658" y="505"/>
                  </a:cubicBezTo>
                  <a:cubicBezTo>
                    <a:pt x="1657" y="505"/>
                    <a:pt x="1657" y="505"/>
                    <a:pt x="1657" y="506"/>
                  </a:cubicBezTo>
                  <a:cubicBezTo>
                    <a:pt x="1656" y="506"/>
                    <a:pt x="1656" y="506"/>
                    <a:pt x="1656" y="506"/>
                  </a:cubicBezTo>
                  <a:cubicBezTo>
                    <a:pt x="1656" y="506"/>
                    <a:pt x="1656" y="506"/>
                    <a:pt x="1656" y="506"/>
                  </a:cubicBezTo>
                  <a:cubicBezTo>
                    <a:pt x="1656" y="507"/>
                    <a:pt x="1656" y="506"/>
                    <a:pt x="1655" y="506"/>
                  </a:cubicBezTo>
                  <a:cubicBezTo>
                    <a:pt x="1655" y="506"/>
                    <a:pt x="1655" y="506"/>
                    <a:pt x="1655" y="506"/>
                  </a:cubicBezTo>
                  <a:cubicBezTo>
                    <a:pt x="1654" y="507"/>
                    <a:pt x="1654" y="507"/>
                    <a:pt x="1654" y="507"/>
                  </a:cubicBezTo>
                  <a:cubicBezTo>
                    <a:pt x="1654" y="507"/>
                    <a:pt x="1654" y="507"/>
                    <a:pt x="1654" y="507"/>
                  </a:cubicBezTo>
                  <a:cubicBezTo>
                    <a:pt x="1654" y="507"/>
                    <a:pt x="1654" y="507"/>
                    <a:pt x="1654" y="507"/>
                  </a:cubicBezTo>
                  <a:cubicBezTo>
                    <a:pt x="1654" y="507"/>
                    <a:pt x="1654" y="507"/>
                    <a:pt x="1654" y="507"/>
                  </a:cubicBezTo>
                  <a:cubicBezTo>
                    <a:pt x="1652" y="508"/>
                    <a:pt x="1653" y="509"/>
                    <a:pt x="1652" y="509"/>
                  </a:cubicBezTo>
                  <a:cubicBezTo>
                    <a:pt x="1652" y="509"/>
                    <a:pt x="1652" y="509"/>
                    <a:pt x="1652" y="509"/>
                  </a:cubicBezTo>
                  <a:cubicBezTo>
                    <a:pt x="1652" y="509"/>
                    <a:pt x="1652" y="509"/>
                    <a:pt x="1652" y="509"/>
                  </a:cubicBezTo>
                  <a:cubicBezTo>
                    <a:pt x="1652" y="509"/>
                    <a:pt x="1652" y="509"/>
                    <a:pt x="1652" y="509"/>
                  </a:cubicBezTo>
                  <a:cubicBezTo>
                    <a:pt x="1651" y="509"/>
                    <a:pt x="1651" y="509"/>
                    <a:pt x="1651" y="509"/>
                  </a:cubicBezTo>
                  <a:cubicBezTo>
                    <a:pt x="1651" y="509"/>
                    <a:pt x="1651" y="509"/>
                    <a:pt x="1651" y="509"/>
                  </a:cubicBezTo>
                  <a:cubicBezTo>
                    <a:pt x="1651" y="509"/>
                    <a:pt x="1651" y="509"/>
                    <a:pt x="1651" y="509"/>
                  </a:cubicBezTo>
                  <a:cubicBezTo>
                    <a:pt x="1651" y="509"/>
                    <a:pt x="1651" y="509"/>
                    <a:pt x="1651" y="509"/>
                  </a:cubicBezTo>
                  <a:cubicBezTo>
                    <a:pt x="1651" y="510"/>
                    <a:pt x="1651" y="510"/>
                    <a:pt x="1651" y="510"/>
                  </a:cubicBezTo>
                  <a:cubicBezTo>
                    <a:pt x="1651" y="510"/>
                    <a:pt x="1651" y="510"/>
                    <a:pt x="1651" y="510"/>
                  </a:cubicBezTo>
                  <a:cubicBezTo>
                    <a:pt x="1651" y="510"/>
                    <a:pt x="1651" y="510"/>
                    <a:pt x="1651" y="510"/>
                  </a:cubicBezTo>
                  <a:cubicBezTo>
                    <a:pt x="1651" y="510"/>
                    <a:pt x="1651" y="510"/>
                    <a:pt x="1651" y="510"/>
                  </a:cubicBezTo>
                  <a:cubicBezTo>
                    <a:pt x="1651" y="510"/>
                    <a:pt x="1651" y="510"/>
                    <a:pt x="1651" y="510"/>
                  </a:cubicBezTo>
                  <a:cubicBezTo>
                    <a:pt x="1651" y="510"/>
                    <a:pt x="1651" y="510"/>
                    <a:pt x="1651" y="510"/>
                  </a:cubicBezTo>
                  <a:cubicBezTo>
                    <a:pt x="1650" y="511"/>
                    <a:pt x="1650" y="511"/>
                    <a:pt x="1649" y="512"/>
                  </a:cubicBezTo>
                  <a:cubicBezTo>
                    <a:pt x="1649" y="512"/>
                    <a:pt x="1649" y="512"/>
                    <a:pt x="1649" y="512"/>
                  </a:cubicBezTo>
                  <a:cubicBezTo>
                    <a:pt x="1649" y="512"/>
                    <a:pt x="1649" y="512"/>
                    <a:pt x="1649" y="512"/>
                  </a:cubicBezTo>
                  <a:cubicBezTo>
                    <a:pt x="1649" y="512"/>
                    <a:pt x="1649" y="512"/>
                    <a:pt x="1649" y="512"/>
                  </a:cubicBezTo>
                  <a:cubicBezTo>
                    <a:pt x="1649" y="512"/>
                    <a:pt x="1649" y="512"/>
                    <a:pt x="1649" y="512"/>
                  </a:cubicBezTo>
                  <a:cubicBezTo>
                    <a:pt x="1649" y="512"/>
                    <a:pt x="1649" y="512"/>
                    <a:pt x="1649" y="512"/>
                  </a:cubicBezTo>
                  <a:cubicBezTo>
                    <a:pt x="1649" y="513"/>
                    <a:pt x="1649" y="513"/>
                    <a:pt x="1649" y="513"/>
                  </a:cubicBezTo>
                  <a:cubicBezTo>
                    <a:pt x="1648" y="512"/>
                    <a:pt x="1648" y="512"/>
                    <a:pt x="1648" y="512"/>
                  </a:cubicBezTo>
                  <a:cubicBezTo>
                    <a:pt x="1647" y="511"/>
                    <a:pt x="1647" y="511"/>
                    <a:pt x="1647" y="511"/>
                  </a:cubicBezTo>
                  <a:cubicBezTo>
                    <a:pt x="1645" y="509"/>
                    <a:pt x="1645" y="509"/>
                    <a:pt x="1645" y="509"/>
                  </a:cubicBezTo>
                  <a:cubicBezTo>
                    <a:pt x="1644" y="508"/>
                    <a:pt x="1644" y="508"/>
                    <a:pt x="1644" y="508"/>
                  </a:cubicBezTo>
                  <a:cubicBezTo>
                    <a:pt x="1643" y="508"/>
                    <a:pt x="1643" y="508"/>
                    <a:pt x="1643" y="508"/>
                  </a:cubicBezTo>
                  <a:cubicBezTo>
                    <a:pt x="1643" y="507"/>
                    <a:pt x="1643" y="507"/>
                    <a:pt x="1643" y="507"/>
                  </a:cubicBezTo>
                  <a:cubicBezTo>
                    <a:pt x="1643" y="507"/>
                    <a:pt x="1643" y="507"/>
                    <a:pt x="1643" y="507"/>
                  </a:cubicBezTo>
                  <a:cubicBezTo>
                    <a:pt x="1643" y="507"/>
                    <a:pt x="1643" y="507"/>
                    <a:pt x="1643" y="507"/>
                  </a:cubicBezTo>
                  <a:cubicBezTo>
                    <a:pt x="1643" y="507"/>
                    <a:pt x="1643" y="507"/>
                    <a:pt x="1643" y="507"/>
                  </a:cubicBezTo>
                  <a:cubicBezTo>
                    <a:pt x="1643" y="507"/>
                    <a:pt x="1643" y="507"/>
                    <a:pt x="1643" y="507"/>
                  </a:cubicBezTo>
                  <a:cubicBezTo>
                    <a:pt x="1642" y="507"/>
                    <a:pt x="1642" y="507"/>
                    <a:pt x="1642" y="507"/>
                  </a:cubicBezTo>
                  <a:cubicBezTo>
                    <a:pt x="1642" y="507"/>
                    <a:pt x="1642" y="507"/>
                    <a:pt x="1642" y="507"/>
                  </a:cubicBezTo>
                  <a:cubicBezTo>
                    <a:pt x="1642" y="507"/>
                    <a:pt x="1642" y="507"/>
                    <a:pt x="1642" y="507"/>
                  </a:cubicBezTo>
                  <a:cubicBezTo>
                    <a:pt x="1641" y="507"/>
                    <a:pt x="1641" y="507"/>
                    <a:pt x="1641" y="507"/>
                  </a:cubicBezTo>
                  <a:cubicBezTo>
                    <a:pt x="1641" y="507"/>
                    <a:pt x="1641" y="507"/>
                    <a:pt x="1641" y="507"/>
                  </a:cubicBezTo>
                  <a:cubicBezTo>
                    <a:pt x="1641" y="507"/>
                    <a:pt x="1641" y="507"/>
                    <a:pt x="1641" y="507"/>
                  </a:cubicBezTo>
                  <a:cubicBezTo>
                    <a:pt x="1641" y="507"/>
                    <a:pt x="1641" y="507"/>
                    <a:pt x="1641" y="507"/>
                  </a:cubicBezTo>
                  <a:cubicBezTo>
                    <a:pt x="1640" y="506"/>
                    <a:pt x="1640" y="506"/>
                    <a:pt x="1640" y="506"/>
                  </a:cubicBezTo>
                  <a:cubicBezTo>
                    <a:pt x="1640" y="506"/>
                    <a:pt x="1640" y="506"/>
                    <a:pt x="1640" y="506"/>
                  </a:cubicBezTo>
                  <a:cubicBezTo>
                    <a:pt x="1640" y="506"/>
                    <a:pt x="1640" y="506"/>
                    <a:pt x="1640" y="506"/>
                  </a:cubicBezTo>
                  <a:cubicBezTo>
                    <a:pt x="1639" y="506"/>
                    <a:pt x="1639" y="506"/>
                    <a:pt x="1639" y="506"/>
                  </a:cubicBezTo>
                  <a:cubicBezTo>
                    <a:pt x="1639" y="506"/>
                    <a:pt x="1639" y="506"/>
                    <a:pt x="1639" y="506"/>
                  </a:cubicBezTo>
                  <a:cubicBezTo>
                    <a:pt x="1639" y="506"/>
                    <a:pt x="1639" y="506"/>
                    <a:pt x="1639" y="506"/>
                  </a:cubicBezTo>
                  <a:cubicBezTo>
                    <a:pt x="1640" y="506"/>
                    <a:pt x="1640" y="506"/>
                    <a:pt x="1640" y="506"/>
                  </a:cubicBezTo>
                  <a:cubicBezTo>
                    <a:pt x="1641" y="506"/>
                    <a:pt x="1643" y="506"/>
                    <a:pt x="1643" y="505"/>
                  </a:cubicBezTo>
                  <a:cubicBezTo>
                    <a:pt x="1644" y="505"/>
                    <a:pt x="1644" y="505"/>
                    <a:pt x="1644" y="505"/>
                  </a:cubicBezTo>
                  <a:cubicBezTo>
                    <a:pt x="1644" y="505"/>
                    <a:pt x="1644" y="505"/>
                    <a:pt x="1644" y="505"/>
                  </a:cubicBezTo>
                  <a:cubicBezTo>
                    <a:pt x="1644" y="505"/>
                    <a:pt x="1644" y="505"/>
                    <a:pt x="1644" y="505"/>
                  </a:cubicBezTo>
                  <a:cubicBezTo>
                    <a:pt x="1644" y="505"/>
                    <a:pt x="1644" y="505"/>
                    <a:pt x="1645" y="505"/>
                  </a:cubicBezTo>
                  <a:cubicBezTo>
                    <a:pt x="1645" y="505"/>
                    <a:pt x="1645" y="505"/>
                    <a:pt x="1645" y="505"/>
                  </a:cubicBezTo>
                  <a:cubicBezTo>
                    <a:pt x="1645" y="505"/>
                    <a:pt x="1645" y="505"/>
                    <a:pt x="1645" y="505"/>
                  </a:cubicBezTo>
                  <a:cubicBezTo>
                    <a:pt x="1646" y="505"/>
                    <a:pt x="1646" y="505"/>
                    <a:pt x="1646" y="505"/>
                  </a:cubicBezTo>
                  <a:cubicBezTo>
                    <a:pt x="1647" y="505"/>
                    <a:pt x="1647" y="505"/>
                    <a:pt x="1647" y="505"/>
                  </a:cubicBezTo>
                  <a:cubicBezTo>
                    <a:pt x="1647" y="505"/>
                    <a:pt x="1647" y="505"/>
                    <a:pt x="1647" y="505"/>
                  </a:cubicBezTo>
                  <a:cubicBezTo>
                    <a:pt x="1647" y="504"/>
                    <a:pt x="1647" y="504"/>
                    <a:pt x="1647" y="504"/>
                  </a:cubicBezTo>
                  <a:cubicBezTo>
                    <a:pt x="1647" y="504"/>
                    <a:pt x="1647" y="504"/>
                    <a:pt x="1647" y="504"/>
                  </a:cubicBezTo>
                  <a:cubicBezTo>
                    <a:pt x="1647" y="503"/>
                    <a:pt x="1647" y="503"/>
                    <a:pt x="1647" y="503"/>
                  </a:cubicBezTo>
                  <a:cubicBezTo>
                    <a:pt x="1647" y="503"/>
                    <a:pt x="1647" y="503"/>
                    <a:pt x="1647" y="503"/>
                  </a:cubicBezTo>
                  <a:cubicBezTo>
                    <a:pt x="1647" y="503"/>
                    <a:pt x="1647" y="503"/>
                    <a:pt x="1647" y="503"/>
                  </a:cubicBezTo>
                  <a:cubicBezTo>
                    <a:pt x="1647" y="503"/>
                    <a:pt x="1647" y="503"/>
                    <a:pt x="1647" y="503"/>
                  </a:cubicBezTo>
                  <a:cubicBezTo>
                    <a:pt x="1647" y="503"/>
                    <a:pt x="1647" y="503"/>
                    <a:pt x="1647" y="503"/>
                  </a:cubicBezTo>
                  <a:cubicBezTo>
                    <a:pt x="1647" y="503"/>
                    <a:pt x="1647" y="503"/>
                    <a:pt x="1647" y="503"/>
                  </a:cubicBezTo>
                  <a:cubicBezTo>
                    <a:pt x="1648" y="503"/>
                    <a:pt x="1648" y="503"/>
                    <a:pt x="1648" y="503"/>
                  </a:cubicBezTo>
                  <a:cubicBezTo>
                    <a:pt x="1648" y="504"/>
                    <a:pt x="1648" y="504"/>
                    <a:pt x="1648" y="504"/>
                  </a:cubicBezTo>
                  <a:cubicBezTo>
                    <a:pt x="1648" y="504"/>
                    <a:pt x="1648" y="504"/>
                    <a:pt x="1648" y="504"/>
                  </a:cubicBezTo>
                  <a:cubicBezTo>
                    <a:pt x="1648" y="504"/>
                    <a:pt x="1648" y="504"/>
                    <a:pt x="1648" y="504"/>
                  </a:cubicBezTo>
                  <a:cubicBezTo>
                    <a:pt x="1648" y="504"/>
                    <a:pt x="1648" y="504"/>
                    <a:pt x="1648" y="505"/>
                  </a:cubicBezTo>
                  <a:cubicBezTo>
                    <a:pt x="1649" y="505"/>
                    <a:pt x="1649" y="505"/>
                    <a:pt x="1649" y="505"/>
                  </a:cubicBezTo>
                  <a:cubicBezTo>
                    <a:pt x="1649" y="505"/>
                    <a:pt x="1649" y="505"/>
                    <a:pt x="1649" y="505"/>
                  </a:cubicBezTo>
                  <a:cubicBezTo>
                    <a:pt x="1649" y="505"/>
                    <a:pt x="1649" y="505"/>
                    <a:pt x="1649" y="505"/>
                  </a:cubicBezTo>
                  <a:cubicBezTo>
                    <a:pt x="1649" y="505"/>
                    <a:pt x="1649" y="505"/>
                    <a:pt x="1649" y="505"/>
                  </a:cubicBezTo>
                  <a:cubicBezTo>
                    <a:pt x="1649" y="505"/>
                    <a:pt x="1649" y="505"/>
                    <a:pt x="1649" y="505"/>
                  </a:cubicBezTo>
                  <a:cubicBezTo>
                    <a:pt x="1649" y="504"/>
                    <a:pt x="1649" y="504"/>
                    <a:pt x="1649" y="504"/>
                  </a:cubicBezTo>
                  <a:cubicBezTo>
                    <a:pt x="1649" y="504"/>
                    <a:pt x="1649" y="504"/>
                    <a:pt x="1649" y="504"/>
                  </a:cubicBezTo>
                  <a:cubicBezTo>
                    <a:pt x="1649" y="504"/>
                    <a:pt x="1649" y="504"/>
                    <a:pt x="1649" y="504"/>
                  </a:cubicBezTo>
                  <a:cubicBezTo>
                    <a:pt x="1649" y="503"/>
                    <a:pt x="1649" y="503"/>
                    <a:pt x="1649" y="503"/>
                  </a:cubicBezTo>
                  <a:cubicBezTo>
                    <a:pt x="1649" y="503"/>
                    <a:pt x="1649" y="503"/>
                    <a:pt x="1649" y="503"/>
                  </a:cubicBezTo>
                  <a:cubicBezTo>
                    <a:pt x="1649" y="502"/>
                    <a:pt x="1649" y="502"/>
                    <a:pt x="1649" y="502"/>
                  </a:cubicBezTo>
                  <a:cubicBezTo>
                    <a:pt x="1649" y="502"/>
                    <a:pt x="1649" y="502"/>
                    <a:pt x="1649" y="502"/>
                  </a:cubicBezTo>
                  <a:cubicBezTo>
                    <a:pt x="1649" y="502"/>
                    <a:pt x="1649" y="501"/>
                    <a:pt x="1649" y="501"/>
                  </a:cubicBezTo>
                  <a:cubicBezTo>
                    <a:pt x="1649" y="500"/>
                    <a:pt x="1649" y="500"/>
                    <a:pt x="1649" y="500"/>
                  </a:cubicBezTo>
                  <a:cubicBezTo>
                    <a:pt x="1648" y="498"/>
                    <a:pt x="1648" y="498"/>
                    <a:pt x="1648" y="498"/>
                  </a:cubicBezTo>
                  <a:cubicBezTo>
                    <a:pt x="1648" y="498"/>
                    <a:pt x="1648" y="498"/>
                    <a:pt x="1648" y="498"/>
                  </a:cubicBezTo>
                  <a:cubicBezTo>
                    <a:pt x="1648" y="498"/>
                    <a:pt x="1648" y="498"/>
                    <a:pt x="1648" y="498"/>
                  </a:cubicBezTo>
                  <a:cubicBezTo>
                    <a:pt x="1648" y="498"/>
                    <a:pt x="1648" y="498"/>
                    <a:pt x="1648" y="498"/>
                  </a:cubicBezTo>
                  <a:cubicBezTo>
                    <a:pt x="1649" y="498"/>
                    <a:pt x="1649" y="498"/>
                    <a:pt x="1649" y="498"/>
                  </a:cubicBezTo>
                  <a:cubicBezTo>
                    <a:pt x="1649" y="499"/>
                    <a:pt x="1649" y="499"/>
                    <a:pt x="1649" y="499"/>
                  </a:cubicBezTo>
                  <a:cubicBezTo>
                    <a:pt x="1649" y="499"/>
                    <a:pt x="1649" y="499"/>
                    <a:pt x="1649" y="499"/>
                  </a:cubicBezTo>
                  <a:cubicBezTo>
                    <a:pt x="1649" y="499"/>
                    <a:pt x="1649" y="499"/>
                    <a:pt x="1649" y="499"/>
                  </a:cubicBezTo>
                  <a:cubicBezTo>
                    <a:pt x="1649" y="500"/>
                    <a:pt x="1649" y="500"/>
                    <a:pt x="1649" y="500"/>
                  </a:cubicBezTo>
                  <a:cubicBezTo>
                    <a:pt x="1649" y="500"/>
                    <a:pt x="1649" y="500"/>
                    <a:pt x="1649" y="500"/>
                  </a:cubicBezTo>
                  <a:cubicBezTo>
                    <a:pt x="1649" y="500"/>
                    <a:pt x="1649" y="500"/>
                    <a:pt x="1649" y="500"/>
                  </a:cubicBezTo>
                  <a:cubicBezTo>
                    <a:pt x="1650" y="500"/>
                    <a:pt x="1650" y="500"/>
                    <a:pt x="1650" y="500"/>
                  </a:cubicBezTo>
                  <a:cubicBezTo>
                    <a:pt x="1650" y="500"/>
                    <a:pt x="1650" y="500"/>
                    <a:pt x="1650" y="500"/>
                  </a:cubicBezTo>
                  <a:cubicBezTo>
                    <a:pt x="1650" y="500"/>
                    <a:pt x="1650" y="500"/>
                    <a:pt x="1650" y="500"/>
                  </a:cubicBezTo>
                  <a:cubicBezTo>
                    <a:pt x="1650" y="500"/>
                    <a:pt x="1650" y="500"/>
                    <a:pt x="1650" y="500"/>
                  </a:cubicBezTo>
                  <a:cubicBezTo>
                    <a:pt x="1650" y="499"/>
                    <a:pt x="1650" y="499"/>
                    <a:pt x="1650" y="499"/>
                  </a:cubicBezTo>
                  <a:cubicBezTo>
                    <a:pt x="1650" y="499"/>
                    <a:pt x="1650" y="499"/>
                    <a:pt x="1650" y="499"/>
                  </a:cubicBezTo>
                  <a:cubicBezTo>
                    <a:pt x="1650" y="499"/>
                    <a:pt x="1650" y="499"/>
                    <a:pt x="1650" y="499"/>
                  </a:cubicBezTo>
                  <a:cubicBezTo>
                    <a:pt x="1650" y="499"/>
                    <a:pt x="1650" y="499"/>
                    <a:pt x="1650" y="499"/>
                  </a:cubicBezTo>
                  <a:cubicBezTo>
                    <a:pt x="1650" y="499"/>
                    <a:pt x="1650" y="499"/>
                    <a:pt x="1650" y="499"/>
                  </a:cubicBezTo>
                  <a:cubicBezTo>
                    <a:pt x="1650" y="499"/>
                    <a:pt x="1650" y="499"/>
                    <a:pt x="1650" y="499"/>
                  </a:cubicBezTo>
                  <a:cubicBezTo>
                    <a:pt x="1650" y="499"/>
                    <a:pt x="1650" y="499"/>
                    <a:pt x="1650" y="499"/>
                  </a:cubicBezTo>
                  <a:cubicBezTo>
                    <a:pt x="1650" y="499"/>
                    <a:pt x="1650" y="499"/>
                    <a:pt x="1650" y="499"/>
                  </a:cubicBezTo>
                  <a:cubicBezTo>
                    <a:pt x="1651" y="499"/>
                    <a:pt x="1651" y="499"/>
                    <a:pt x="1651" y="499"/>
                  </a:cubicBezTo>
                  <a:cubicBezTo>
                    <a:pt x="1651" y="499"/>
                    <a:pt x="1651" y="499"/>
                    <a:pt x="1651" y="499"/>
                  </a:cubicBezTo>
                  <a:cubicBezTo>
                    <a:pt x="1651" y="500"/>
                    <a:pt x="1651" y="500"/>
                    <a:pt x="1651" y="500"/>
                  </a:cubicBezTo>
                  <a:cubicBezTo>
                    <a:pt x="1651" y="500"/>
                    <a:pt x="1651" y="500"/>
                    <a:pt x="1651" y="500"/>
                  </a:cubicBezTo>
                  <a:cubicBezTo>
                    <a:pt x="1652" y="502"/>
                    <a:pt x="1652" y="500"/>
                    <a:pt x="1653" y="502"/>
                  </a:cubicBezTo>
                  <a:cubicBezTo>
                    <a:pt x="1653" y="505"/>
                    <a:pt x="1653" y="505"/>
                    <a:pt x="1653" y="505"/>
                  </a:cubicBezTo>
                  <a:cubicBezTo>
                    <a:pt x="1654" y="505"/>
                    <a:pt x="1654" y="505"/>
                    <a:pt x="1654" y="505"/>
                  </a:cubicBezTo>
                  <a:cubicBezTo>
                    <a:pt x="1654" y="506"/>
                    <a:pt x="1654" y="506"/>
                    <a:pt x="1654" y="506"/>
                  </a:cubicBezTo>
                  <a:cubicBezTo>
                    <a:pt x="1654" y="506"/>
                    <a:pt x="1654" y="506"/>
                    <a:pt x="1654" y="506"/>
                  </a:cubicBezTo>
                  <a:cubicBezTo>
                    <a:pt x="1654" y="506"/>
                    <a:pt x="1654" y="506"/>
                    <a:pt x="1654" y="506"/>
                  </a:cubicBezTo>
                  <a:cubicBezTo>
                    <a:pt x="1654" y="505"/>
                    <a:pt x="1654" y="505"/>
                    <a:pt x="1654" y="505"/>
                  </a:cubicBezTo>
                  <a:cubicBezTo>
                    <a:pt x="1655" y="505"/>
                    <a:pt x="1655" y="505"/>
                    <a:pt x="1655" y="504"/>
                  </a:cubicBezTo>
                  <a:cubicBezTo>
                    <a:pt x="1655" y="504"/>
                    <a:pt x="1655" y="504"/>
                    <a:pt x="1655" y="504"/>
                  </a:cubicBezTo>
                  <a:cubicBezTo>
                    <a:pt x="1655" y="504"/>
                    <a:pt x="1655" y="504"/>
                    <a:pt x="1655" y="504"/>
                  </a:cubicBezTo>
                  <a:cubicBezTo>
                    <a:pt x="1655" y="504"/>
                    <a:pt x="1655" y="504"/>
                    <a:pt x="1655" y="504"/>
                  </a:cubicBezTo>
                  <a:cubicBezTo>
                    <a:pt x="1655" y="504"/>
                    <a:pt x="1655" y="504"/>
                    <a:pt x="1655" y="504"/>
                  </a:cubicBezTo>
                  <a:cubicBezTo>
                    <a:pt x="1655" y="503"/>
                    <a:pt x="1655" y="503"/>
                    <a:pt x="1655" y="503"/>
                  </a:cubicBezTo>
                  <a:cubicBezTo>
                    <a:pt x="1655" y="503"/>
                    <a:pt x="1655" y="503"/>
                    <a:pt x="1655" y="503"/>
                  </a:cubicBezTo>
                  <a:cubicBezTo>
                    <a:pt x="1655" y="503"/>
                    <a:pt x="1655" y="503"/>
                    <a:pt x="1655" y="503"/>
                  </a:cubicBezTo>
                  <a:cubicBezTo>
                    <a:pt x="1655" y="503"/>
                    <a:pt x="1655" y="503"/>
                    <a:pt x="1655" y="503"/>
                  </a:cubicBezTo>
                  <a:cubicBezTo>
                    <a:pt x="1656" y="503"/>
                    <a:pt x="1656" y="503"/>
                    <a:pt x="1656" y="503"/>
                  </a:cubicBezTo>
                  <a:cubicBezTo>
                    <a:pt x="1656" y="503"/>
                    <a:pt x="1656" y="503"/>
                    <a:pt x="1656" y="503"/>
                  </a:cubicBezTo>
                  <a:cubicBezTo>
                    <a:pt x="1656" y="503"/>
                    <a:pt x="1656" y="503"/>
                    <a:pt x="1656" y="503"/>
                  </a:cubicBezTo>
                  <a:cubicBezTo>
                    <a:pt x="1656" y="503"/>
                    <a:pt x="1656" y="503"/>
                    <a:pt x="1656" y="503"/>
                  </a:cubicBezTo>
                  <a:cubicBezTo>
                    <a:pt x="1656" y="503"/>
                    <a:pt x="1656" y="503"/>
                    <a:pt x="1656" y="503"/>
                  </a:cubicBezTo>
                  <a:cubicBezTo>
                    <a:pt x="1656" y="503"/>
                    <a:pt x="1656" y="503"/>
                    <a:pt x="1656" y="503"/>
                  </a:cubicBezTo>
                  <a:cubicBezTo>
                    <a:pt x="1656" y="503"/>
                    <a:pt x="1656" y="503"/>
                    <a:pt x="1656" y="503"/>
                  </a:cubicBezTo>
                  <a:cubicBezTo>
                    <a:pt x="1656" y="503"/>
                    <a:pt x="1656" y="503"/>
                    <a:pt x="1656" y="503"/>
                  </a:cubicBezTo>
                  <a:cubicBezTo>
                    <a:pt x="1657" y="503"/>
                    <a:pt x="1657" y="503"/>
                    <a:pt x="1657" y="502"/>
                  </a:cubicBezTo>
                  <a:cubicBezTo>
                    <a:pt x="1657" y="502"/>
                    <a:pt x="1657" y="502"/>
                    <a:pt x="1657" y="502"/>
                  </a:cubicBezTo>
                  <a:cubicBezTo>
                    <a:pt x="1657" y="502"/>
                    <a:pt x="1657" y="502"/>
                    <a:pt x="1657" y="502"/>
                  </a:cubicBezTo>
                  <a:cubicBezTo>
                    <a:pt x="1657" y="500"/>
                    <a:pt x="1656" y="499"/>
                    <a:pt x="1656" y="497"/>
                  </a:cubicBezTo>
                  <a:cubicBezTo>
                    <a:pt x="1656" y="497"/>
                    <a:pt x="1656" y="497"/>
                    <a:pt x="1656" y="497"/>
                  </a:cubicBezTo>
                  <a:cubicBezTo>
                    <a:pt x="1656" y="496"/>
                    <a:pt x="1656" y="496"/>
                    <a:pt x="1656" y="496"/>
                  </a:cubicBezTo>
                  <a:cubicBezTo>
                    <a:pt x="1656" y="496"/>
                    <a:pt x="1656" y="496"/>
                    <a:pt x="1656" y="496"/>
                  </a:cubicBezTo>
                  <a:cubicBezTo>
                    <a:pt x="1656" y="496"/>
                    <a:pt x="1656" y="496"/>
                    <a:pt x="1656" y="496"/>
                  </a:cubicBezTo>
                  <a:cubicBezTo>
                    <a:pt x="1656" y="496"/>
                    <a:pt x="1656" y="496"/>
                    <a:pt x="1656" y="496"/>
                  </a:cubicBezTo>
                  <a:cubicBezTo>
                    <a:pt x="1657" y="497"/>
                    <a:pt x="1657" y="499"/>
                    <a:pt x="1658" y="497"/>
                  </a:cubicBezTo>
                  <a:cubicBezTo>
                    <a:pt x="1658" y="497"/>
                    <a:pt x="1658" y="497"/>
                    <a:pt x="1658" y="497"/>
                  </a:cubicBezTo>
                  <a:cubicBezTo>
                    <a:pt x="1658" y="497"/>
                    <a:pt x="1658" y="497"/>
                    <a:pt x="1658" y="497"/>
                  </a:cubicBezTo>
                  <a:cubicBezTo>
                    <a:pt x="1658" y="497"/>
                    <a:pt x="1658" y="497"/>
                    <a:pt x="1658" y="497"/>
                  </a:cubicBezTo>
                  <a:cubicBezTo>
                    <a:pt x="1658" y="496"/>
                    <a:pt x="1659" y="496"/>
                    <a:pt x="1659" y="496"/>
                  </a:cubicBezTo>
                  <a:cubicBezTo>
                    <a:pt x="1659" y="496"/>
                    <a:pt x="1659" y="496"/>
                    <a:pt x="1659" y="496"/>
                  </a:cubicBezTo>
                  <a:cubicBezTo>
                    <a:pt x="1659" y="496"/>
                    <a:pt x="1659" y="496"/>
                    <a:pt x="1659" y="496"/>
                  </a:cubicBezTo>
                  <a:cubicBezTo>
                    <a:pt x="1660" y="495"/>
                    <a:pt x="1659" y="493"/>
                    <a:pt x="1659" y="492"/>
                  </a:cubicBezTo>
                  <a:cubicBezTo>
                    <a:pt x="1659" y="491"/>
                    <a:pt x="1659" y="491"/>
                    <a:pt x="1659" y="491"/>
                  </a:cubicBezTo>
                  <a:cubicBezTo>
                    <a:pt x="1659" y="491"/>
                    <a:pt x="1659" y="491"/>
                    <a:pt x="1659" y="491"/>
                  </a:cubicBezTo>
                  <a:cubicBezTo>
                    <a:pt x="1659" y="490"/>
                    <a:pt x="1659" y="490"/>
                    <a:pt x="1659" y="490"/>
                  </a:cubicBezTo>
                  <a:cubicBezTo>
                    <a:pt x="1660" y="490"/>
                    <a:pt x="1660" y="490"/>
                    <a:pt x="1660" y="490"/>
                  </a:cubicBezTo>
                  <a:cubicBezTo>
                    <a:pt x="1660" y="491"/>
                    <a:pt x="1660" y="491"/>
                    <a:pt x="1660" y="491"/>
                  </a:cubicBezTo>
                  <a:cubicBezTo>
                    <a:pt x="1660" y="491"/>
                    <a:pt x="1660" y="491"/>
                    <a:pt x="1660" y="491"/>
                  </a:cubicBezTo>
                  <a:cubicBezTo>
                    <a:pt x="1660" y="491"/>
                    <a:pt x="1660" y="491"/>
                    <a:pt x="1660" y="491"/>
                  </a:cubicBezTo>
                  <a:cubicBezTo>
                    <a:pt x="1660" y="491"/>
                    <a:pt x="1660" y="491"/>
                    <a:pt x="1660" y="491"/>
                  </a:cubicBezTo>
                  <a:cubicBezTo>
                    <a:pt x="1660" y="491"/>
                    <a:pt x="1660" y="491"/>
                    <a:pt x="1660" y="491"/>
                  </a:cubicBezTo>
                  <a:cubicBezTo>
                    <a:pt x="1660" y="491"/>
                    <a:pt x="1660" y="491"/>
                    <a:pt x="1660" y="491"/>
                  </a:cubicBezTo>
                  <a:cubicBezTo>
                    <a:pt x="1660" y="491"/>
                    <a:pt x="1660" y="491"/>
                    <a:pt x="1660" y="491"/>
                  </a:cubicBezTo>
                  <a:cubicBezTo>
                    <a:pt x="1661" y="491"/>
                    <a:pt x="1661" y="491"/>
                    <a:pt x="1661" y="491"/>
                  </a:cubicBezTo>
                  <a:cubicBezTo>
                    <a:pt x="1661" y="492"/>
                    <a:pt x="1661" y="492"/>
                    <a:pt x="1661" y="491"/>
                  </a:cubicBezTo>
                  <a:cubicBezTo>
                    <a:pt x="1661" y="491"/>
                    <a:pt x="1661" y="491"/>
                    <a:pt x="1661" y="491"/>
                  </a:cubicBezTo>
                  <a:cubicBezTo>
                    <a:pt x="1662" y="491"/>
                    <a:pt x="1662" y="491"/>
                    <a:pt x="1662" y="491"/>
                  </a:cubicBezTo>
                  <a:cubicBezTo>
                    <a:pt x="1662" y="491"/>
                    <a:pt x="1662" y="491"/>
                    <a:pt x="1662" y="491"/>
                  </a:cubicBezTo>
                  <a:cubicBezTo>
                    <a:pt x="1662" y="491"/>
                    <a:pt x="1662" y="491"/>
                    <a:pt x="1662" y="491"/>
                  </a:cubicBezTo>
                  <a:cubicBezTo>
                    <a:pt x="1662" y="491"/>
                    <a:pt x="1662" y="491"/>
                    <a:pt x="1662" y="491"/>
                  </a:cubicBezTo>
                  <a:cubicBezTo>
                    <a:pt x="1662" y="491"/>
                    <a:pt x="1662" y="491"/>
                    <a:pt x="1662" y="491"/>
                  </a:cubicBezTo>
                  <a:cubicBezTo>
                    <a:pt x="1662" y="491"/>
                    <a:pt x="1662" y="491"/>
                    <a:pt x="1662" y="491"/>
                  </a:cubicBezTo>
                  <a:cubicBezTo>
                    <a:pt x="1662" y="491"/>
                    <a:pt x="1662" y="491"/>
                    <a:pt x="1662" y="491"/>
                  </a:cubicBezTo>
                  <a:cubicBezTo>
                    <a:pt x="1662" y="490"/>
                    <a:pt x="1662" y="490"/>
                    <a:pt x="1662" y="490"/>
                  </a:cubicBezTo>
                  <a:cubicBezTo>
                    <a:pt x="1662" y="490"/>
                    <a:pt x="1662" y="490"/>
                    <a:pt x="1662" y="490"/>
                  </a:cubicBezTo>
                  <a:cubicBezTo>
                    <a:pt x="1662" y="490"/>
                    <a:pt x="1662" y="489"/>
                    <a:pt x="1662" y="488"/>
                  </a:cubicBezTo>
                  <a:cubicBezTo>
                    <a:pt x="1662" y="488"/>
                    <a:pt x="1662" y="488"/>
                    <a:pt x="1662" y="488"/>
                  </a:cubicBezTo>
                  <a:cubicBezTo>
                    <a:pt x="1662" y="488"/>
                    <a:pt x="1662" y="488"/>
                    <a:pt x="1662" y="488"/>
                  </a:cubicBezTo>
                  <a:cubicBezTo>
                    <a:pt x="1662" y="488"/>
                    <a:pt x="1662" y="488"/>
                    <a:pt x="1662" y="488"/>
                  </a:cubicBezTo>
                  <a:cubicBezTo>
                    <a:pt x="1661" y="488"/>
                    <a:pt x="1661" y="488"/>
                    <a:pt x="1661" y="488"/>
                  </a:cubicBezTo>
                  <a:cubicBezTo>
                    <a:pt x="1660" y="488"/>
                    <a:pt x="1660" y="488"/>
                    <a:pt x="1660" y="488"/>
                  </a:cubicBezTo>
                  <a:cubicBezTo>
                    <a:pt x="1657" y="487"/>
                    <a:pt x="1657" y="487"/>
                    <a:pt x="1657" y="487"/>
                  </a:cubicBezTo>
                  <a:cubicBezTo>
                    <a:pt x="1656" y="487"/>
                    <a:pt x="1656" y="487"/>
                    <a:pt x="1655" y="487"/>
                  </a:cubicBezTo>
                  <a:cubicBezTo>
                    <a:pt x="1654" y="487"/>
                    <a:pt x="1654" y="487"/>
                    <a:pt x="1654" y="487"/>
                  </a:cubicBezTo>
                  <a:cubicBezTo>
                    <a:pt x="1654" y="487"/>
                    <a:pt x="1654" y="487"/>
                    <a:pt x="1654" y="487"/>
                  </a:cubicBezTo>
                  <a:cubicBezTo>
                    <a:pt x="1654" y="488"/>
                    <a:pt x="1654" y="488"/>
                    <a:pt x="1654" y="488"/>
                  </a:cubicBezTo>
                  <a:cubicBezTo>
                    <a:pt x="1654" y="488"/>
                    <a:pt x="1654" y="488"/>
                    <a:pt x="1654" y="488"/>
                  </a:cubicBezTo>
                  <a:cubicBezTo>
                    <a:pt x="1654" y="488"/>
                    <a:pt x="1654" y="488"/>
                    <a:pt x="1654" y="488"/>
                  </a:cubicBezTo>
                  <a:cubicBezTo>
                    <a:pt x="1653" y="488"/>
                    <a:pt x="1653" y="488"/>
                    <a:pt x="1653" y="488"/>
                  </a:cubicBezTo>
                  <a:cubicBezTo>
                    <a:pt x="1653" y="489"/>
                    <a:pt x="1652" y="488"/>
                    <a:pt x="1651" y="488"/>
                  </a:cubicBezTo>
                  <a:cubicBezTo>
                    <a:pt x="1651" y="488"/>
                    <a:pt x="1651" y="488"/>
                    <a:pt x="1651" y="488"/>
                  </a:cubicBezTo>
                  <a:cubicBezTo>
                    <a:pt x="1651" y="488"/>
                    <a:pt x="1651" y="488"/>
                    <a:pt x="1651" y="488"/>
                  </a:cubicBezTo>
                  <a:cubicBezTo>
                    <a:pt x="1651" y="488"/>
                    <a:pt x="1651" y="488"/>
                    <a:pt x="1651" y="488"/>
                  </a:cubicBezTo>
                  <a:cubicBezTo>
                    <a:pt x="1651" y="488"/>
                    <a:pt x="1651" y="488"/>
                    <a:pt x="1651" y="488"/>
                  </a:cubicBezTo>
                  <a:cubicBezTo>
                    <a:pt x="1652" y="487"/>
                    <a:pt x="1652" y="487"/>
                    <a:pt x="1652" y="487"/>
                  </a:cubicBezTo>
                  <a:cubicBezTo>
                    <a:pt x="1653" y="486"/>
                    <a:pt x="1653" y="486"/>
                    <a:pt x="1653" y="486"/>
                  </a:cubicBezTo>
                  <a:cubicBezTo>
                    <a:pt x="1653" y="486"/>
                    <a:pt x="1653" y="486"/>
                    <a:pt x="1653" y="485"/>
                  </a:cubicBezTo>
                  <a:cubicBezTo>
                    <a:pt x="1653" y="485"/>
                    <a:pt x="1653" y="485"/>
                    <a:pt x="1653" y="485"/>
                  </a:cubicBezTo>
                  <a:cubicBezTo>
                    <a:pt x="1653" y="485"/>
                    <a:pt x="1653" y="485"/>
                    <a:pt x="1653" y="485"/>
                  </a:cubicBezTo>
                  <a:cubicBezTo>
                    <a:pt x="1653" y="484"/>
                    <a:pt x="1653" y="484"/>
                    <a:pt x="1652" y="484"/>
                  </a:cubicBezTo>
                  <a:cubicBezTo>
                    <a:pt x="1652" y="484"/>
                    <a:pt x="1652" y="484"/>
                    <a:pt x="1652" y="484"/>
                  </a:cubicBezTo>
                  <a:cubicBezTo>
                    <a:pt x="1652" y="484"/>
                    <a:pt x="1652" y="484"/>
                    <a:pt x="1652" y="484"/>
                  </a:cubicBezTo>
                  <a:cubicBezTo>
                    <a:pt x="1652" y="483"/>
                    <a:pt x="1652" y="483"/>
                    <a:pt x="1652" y="483"/>
                  </a:cubicBezTo>
                  <a:cubicBezTo>
                    <a:pt x="1652" y="483"/>
                    <a:pt x="1652" y="483"/>
                    <a:pt x="1652" y="483"/>
                  </a:cubicBezTo>
                  <a:cubicBezTo>
                    <a:pt x="1652" y="482"/>
                    <a:pt x="1651" y="482"/>
                    <a:pt x="1651" y="481"/>
                  </a:cubicBezTo>
                  <a:cubicBezTo>
                    <a:pt x="1651" y="480"/>
                    <a:pt x="1651" y="480"/>
                    <a:pt x="1651" y="480"/>
                  </a:cubicBezTo>
                  <a:cubicBezTo>
                    <a:pt x="1651" y="480"/>
                    <a:pt x="1651" y="480"/>
                    <a:pt x="1651" y="480"/>
                  </a:cubicBezTo>
                  <a:cubicBezTo>
                    <a:pt x="1651" y="480"/>
                    <a:pt x="1651" y="480"/>
                    <a:pt x="1651" y="480"/>
                  </a:cubicBezTo>
                  <a:cubicBezTo>
                    <a:pt x="1652" y="480"/>
                    <a:pt x="1652" y="480"/>
                    <a:pt x="1652" y="480"/>
                  </a:cubicBezTo>
                  <a:cubicBezTo>
                    <a:pt x="1652" y="479"/>
                    <a:pt x="1652" y="479"/>
                    <a:pt x="1652" y="479"/>
                  </a:cubicBezTo>
                  <a:cubicBezTo>
                    <a:pt x="1652" y="479"/>
                    <a:pt x="1652" y="479"/>
                    <a:pt x="1652" y="479"/>
                  </a:cubicBezTo>
                  <a:cubicBezTo>
                    <a:pt x="1652" y="479"/>
                    <a:pt x="1652" y="479"/>
                    <a:pt x="1652" y="479"/>
                  </a:cubicBezTo>
                  <a:cubicBezTo>
                    <a:pt x="1652" y="479"/>
                    <a:pt x="1652" y="479"/>
                    <a:pt x="1652" y="479"/>
                  </a:cubicBezTo>
                  <a:cubicBezTo>
                    <a:pt x="1654" y="478"/>
                    <a:pt x="1654" y="479"/>
                    <a:pt x="1655" y="478"/>
                  </a:cubicBezTo>
                  <a:cubicBezTo>
                    <a:pt x="1655" y="478"/>
                    <a:pt x="1655" y="478"/>
                    <a:pt x="1655" y="478"/>
                  </a:cubicBezTo>
                  <a:cubicBezTo>
                    <a:pt x="1655" y="478"/>
                    <a:pt x="1655" y="478"/>
                    <a:pt x="1655" y="478"/>
                  </a:cubicBezTo>
                  <a:cubicBezTo>
                    <a:pt x="1655" y="478"/>
                    <a:pt x="1655" y="478"/>
                    <a:pt x="1655" y="478"/>
                  </a:cubicBezTo>
                  <a:cubicBezTo>
                    <a:pt x="1655" y="478"/>
                    <a:pt x="1655" y="477"/>
                    <a:pt x="1655" y="477"/>
                  </a:cubicBezTo>
                  <a:cubicBezTo>
                    <a:pt x="1655" y="477"/>
                    <a:pt x="1655" y="477"/>
                    <a:pt x="1655" y="477"/>
                  </a:cubicBezTo>
                  <a:cubicBezTo>
                    <a:pt x="1655" y="477"/>
                    <a:pt x="1655" y="477"/>
                    <a:pt x="1655" y="477"/>
                  </a:cubicBezTo>
                  <a:cubicBezTo>
                    <a:pt x="1655" y="477"/>
                    <a:pt x="1655" y="477"/>
                    <a:pt x="1655" y="477"/>
                  </a:cubicBezTo>
                  <a:cubicBezTo>
                    <a:pt x="1656" y="476"/>
                    <a:pt x="1656" y="476"/>
                    <a:pt x="1656" y="476"/>
                  </a:cubicBezTo>
                  <a:cubicBezTo>
                    <a:pt x="1656" y="476"/>
                    <a:pt x="1656" y="476"/>
                    <a:pt x="1656" y="476"/>
                  </a:cubicBezTo>
                  <a:cubicBezTo>
                    <a:pt x="1656" y="476"/>
                    <a:pt x="1656" y="476"/>
                    <a:pt x="1656" y="476"/>
                  </a:cubicBezTo>
                  <a:cubicBezTo>
                    <a:pt x="1656" y="476"/>
                    <a:pt x="1656" y="476"/>
                    <a:pt x="1656" y="476"/>
                  </a:cubicBezTo>
                  <a:cubicBezTo>
                    <a:pt x="1655" y="476"/>
                    <a:pt x="1655" y="476"/>
                    <a:pt x="1655" y="476"/>
                  </a:cubicBezTo>
                  <a:cubicBezTo>
                    <a:pt x="1655" y="475"/>
                    <a:pt x="1655" y="475"/>
                    <a:pt x="1655" y="475"/>
                  </a:cubicBezTo>
                  <a:cubicBezTo>
                    <a:pt x="1654" y="474"/>
                    <a:pt x="1654" y="474"/>
                    <a:pt x="1654" y="474"/>
                  </a:cubicBezTo>
                  <a:cubicBezTo>
                    <a:pt x="1654" y="474"/>
                    <a:pt x="1654" y="474"/>
                    <a:pt x="1654" y="474"/>
                  </a:cubicBezTo>
                  <a:cubicBezTo>
                    <a:pt x="1654" y="474"/>
                    <a:pt x="1654" y="474"/>
                    <a:pt x="1654" y="474"/>
                  </a:cubicBezTo>
                  <a:cubicBezTo>
                    <a:pt x="1654" y="474"/>
                    <a:pt x="1654" y="474"/>
                    <a:pt x="1654" y="474"/>
                  </a:cubicBezTo>
                  <a:cubicBezTo>
                    <a:pt x="1655" y="473"/>
                    <a:pt x="1654" y="473"/>
                    <a:pt x="1655" y="473"/>
                  </a:cubicBezTo>
                  <a:cubicBezTo>
                    <a:pt x="1655" y="473"/>
                    <a:pt x="1655" y="473"/>
                    <a:pt x="1655" y="473"/>
                  </a:cubicBezTo>
                  <a:cubicBezTo>
                    <a:pt x="1655" y="472"/>
                    <a:pt x="1655" y="472"/>
                    <a:pt x="1655" y="472"/>
                  </a:cubicBezTo>
                  <a:cubicBezTo>
                    <a:pt x="1655" y="472"/>
                    <a:pt x="1655" y="472"/>
                    <a:pt x="1655" y="472"/>
                  </a:cubicBezTo>
                  <a:cubicBezTo>
                    <a:pt x="1653" y="471"/>
                    <a:pt x="1654" y="471"/>
                    <a:pt x="1654" y="471"/>
                  </a:cubicBezTo>
                  <a:cubicBezTo>
                    <a:pt x="1654" y="470"/>
                    <a:pt x="1654" y="470"/>
                    <a:pt x="1654" y="470"/>
                  </a:cubicBezTo>
                  <a:cubicBezTo>
                    <a:pt x="1654" y="470"/>
                    <a:pt x="1654" y="470"/>
                    <a:pt x="1654" y="470"/>
                  </a:cubicBezTo>
                  <a:cubicBezTo>
                    <a:pt x="1654" y="470"/>
                    <a:pt x="1654" y="470"/>
                    <a:pt x="1655" y="469"/>
                  </a:cubicBezTo>
                  <a:cubicBezTo>
                    <a:pt x="1655" y="469"/>
                    <a:pt x="1655" y="469"/>
                    <a:pt x="1655" y="469"/>
                  </a:cubicBezTo>
                  <a:cubicBezTo>
                    <a:pt x="1655" y="469"/>
                    <a:pt x="1655" y="469"/>
                    <a:pt x="1655" y="469"/>
                  </a:cubicBezTo>
                  <a:cubicBezTo>
                    <a:pt x="1654" y="469"/>
                    <a:pt x="1654" y="469"/>
                    <a:pt x="1654" y="469"/>
                  </a:cubicBezTo>
                  <a:cubicBezTo>
                    <a:pt x="1654" y="468"/>
                    <a:pt x="1654" y="468"/>
                    <a:pt x="1654" y="468"/>
                  </a:cubicBezTo>
                  <a:cubicBezTo>
                    <a:pt x="1652" y="467"/>
                    <a:pt x="1652" y="467"/>
                    <a:pt x="1652" y="467"/>
                  </a:cubicBezTo>
                  <a:cubicBezTo>
                    <a:pt x="1651" y="466"/>
                    <a:pt x="1651" y="466"/>
                    <a:pt x="1651" y="466"/>
                  </a:cubicBezTo>
                  <a:cubicBezTo>
                    <a:pt x="1651" y="466"/>
                    <a:pt x="1651" y="466"/>
                    <a:pt x="1651" y="466"/>
                  </a:cubicBezTo>
                  <a:cubicBezTo>
                    <a:pt x="1651" y="466"/>
                    <a:pt x="1651" y="466"/>
                    <a:pt x="1651" y="466"/>
                  </a:cubicBezTo>
                  <a:cubicBezTo>
                    <a:pt x="1651" y="466"/>
                    <a:pt x="1651" y="466"/>
                    <a:pt x="1651" y="466"/>
                  </a:cubicBezTo>
                  <a:cubicBezTo>
                    <a:pt x="1647" y="465"/>
                    <a:pt x="1647" y="465"/>
                    <a:pt x="1647" y="465"/>
                  </a:cubicBezTo>
                  <a:cubicBezTo>
                    <a:pt x="1631" y="464"/>
                    <a:pt x="1631" y="464"/>
                    <a:pt x="1631" y="464"/>
                  </a:cubicBezTo>
                  <a:cubicBezTo>
                    <a:pt x="1633" y="464"/>
                    <a:pt x="1634" y="464"/>
                    <a:pt x="1635" y="464"/>
                  </a:cubicBezTo>
                  <a:cubicBezTo>
                    <a:pt x="1636" y="464"/>
                    <a:pt x="1637" y="464"/>
                    <a:pt x="1637" y="464"/>
                  </a:cubicBezTo>
                  <a:cubicBezTo>
                    <a:pt x="1637" y="464"/>
                    <a:pt x="1637" y="464"/>
                    <a:pt x="1637" y="463"/>
                  </a:cubicBezTo>
                  <a:cubicBezTo>
                    <a:pt x="1639" y="464"/>
                    <a:pt x="1640" y="464"/>
                    <a:pt x="1642" y="464"/>
                  </a:cubicBezTo>
                  <a:cubicBezTo>
                    <a:pt x="1644" y="464"/>
                    <a:pt x="1646" y="465"/>
                    <a:pt x="1648" y="465"/>
                  </a:cubicBezTo>
                  <a:cubicBezTo>
                    <a:pt x="1649" y="465"/>
                    <a:pt x="1649" y="465"/>
                    <a:pt x="1650" y="464"/>
                  </a:cubicBezTo>
                  <a:cubicBezTo>
                    <a:pt x="1650" y="463"/>
                    <a:pt x="1647" y="463"/>
                    <a:pt x="1649" y="462"/>
                  </a:cubicBezTo>
                  <a:cubicBezTo>
                    <a:pt x="1649" y="462"/>
                    <a:pt x="1650" y="462"/>
                    <a:pt x="1650" y="462"/>
                  </a:cubicBezTo>
                  <a:cubicBezTo>
                    <a:pt x="1651" y="462"/>
                    <a:pt x="1653" y="462"/>
                    <a:pt x="1653" y="462"/>
                  </a:cubicBezTo>
                  <a:cubicBezTo>
                    <a:pt x="1653" y="461"/>
                    <a:pt x="1654" y="458"/>
                    <a:pt x="1654" y="458"/>
                  </a:cubicBezTo>
                  <a:cubicBezTo>
                    <a:pt x="1654" y="458"/>
                    <a:pt x="1653" y="458"/>
                    <a:pt x="1653" y="458"/>
                  </a:cubicBezTo>
                  <a:cubicBezTo>
                    <a:pt x="1653" y="457"/>
                    <a:pt x="1653" y="457"/>
                    <a:pt x="1653" y="457"/>
                  </a:cubicBezTo>
                  <a:cubicBezTo>
                    <a:pt x="1653" y="457"/>
                    <a:pt x="1653" y="456"/>
                    <a:pt x="1653" y="456"/>
                  </a:cubicBezTo>
                  <a:cubicBezTo>
                    <a:pt x="1653" y="456"/>
                    <a:pt x="1652" y="456"/>
                    <a:pt x="1652" y="455"/>
                  </a:cubicBezTo>
                  <a:cubicBezTo>
                    <a:pt x="1652" y="455"/>
                    <a:pt x="1651" y="454"/>
                    <a:pt x="1651" y="454"/>
                  </a:cubicBezTo>
                  <a:cubicBezTo>
                    <a:pt x="1650" y="454"/>
                    <a:pt x="1650" y="453"/>
                    <a:pt x="1650" y="453"/>
                  </a:cubicBezTo>
                  <a:cubicBezTo>
                    <a:pt x="1650" y="452"/>
                    <a:pt x="1651" y="452"/>
                    <a:pt x="1651" y="451"/>
                  </a:cubicBezTo>
                  <a:cubicBezTo>
                    <a:pt x="1651" y="451"/>
                    <a:pt x="1651" y="451"/>
                    <a:pt x="1651" y="451"/>
                  </a:cubicBezTo>
                  <a:cubicBezTo>
                    <a:pt x="1651" y="451"/>
                    <a:pt x="1651" y="451"/>
                    <a:pt x="1651" y="451"/>
                  </a:cubicBezTo>
                  <a:cubicBezTo>
                    <a:pt x="1651" y="450"/>
                    <a:pt x="1650" y="449"/>
                    <a:pt x="1650" y="449"/>
                  </a:cubicBezTo>
                  <a:cubicBezTo>
                    <a:pt x="1649" y="447"/>
                    <a:pt x="1649" y="447"/>
                    <a:pt x="1650" y="446"/>
                  </a:cubicBezTo>
                  <a:cubicBezTo>
                    <a:pt x="1650" y="446"/>
                    <a:pt x="1650" y="445"/>
                    <a:pt x="1650" y="445"/>
                  </a:cubicBezTo>
                  <a:cubicBezTo>
                    <a:pt x="1650" y="445"/>
                    <a:pt x="1650" y="445"/>
                    <a:pt x="1651" y="445"/>
                  </a:cubicBezTo>
                  <a:cubicBezTo>
                    <a:pt x="1651" y="445"/>
                    <a:pt x="1651" y="445"/>
                    <a:pt x="1652" y="445"/>
                  </a:cubicBezTo>
                  <a:cubicBezTo>
                    <a:pt x="1652" y="445"/>
                    <a:pt x="1653" y="444"/>
                    <a:pt x="1652" y="443"/>
                  </a:cubicBezTo>
                  <a:cubicBezTo>
                    <a:pt x="1652" y="443"/>
                    <a:pt x="1652" y="443"/>
                    <a:pt x="1652" y="443"/>
                  </a:cubicBezTo>
                  <a:cubicBezTo>
                    <a:pt x="1652" y="443"/>
                    <a:pt x="1652" y="443"/>
                    <a:pt x="1652" y="443"/>
                  </a:cubicBezTo>
                  <a:cubicBezTo>
                    <a:pt x="1652" y="442"/>
                    <a:pt x="1652" y="441"/>
                    <a:pt x="1652" y="441"/>
                  </a:cubicBezTo>
                  <a:cubicBezTo>
                    <a:pt x="1652" y="440"/>
                    <a:pt x="1652" y="440"/>
                    <a:pt x="1653" y="440"/>
                  </a:cubicBezTo>
                  <a:cubicBezTo>
                    <a:pt x="1653" y="439"/>
                    <a:pt x="1653" y="439"/>
                    <a:pt x="1654" y="439"/>
                  </a:cubicBezTo>
                  <a:cubicBezTo>
                    <a:pt x="1655" y="438"/>
                    <a:pt x="1657" y="438"/>
                    <a:pt x="1658" y="437"/>
                  </a:cubicBezTo>
                  <a:cubicBezTo>
                    <a:pt x="1660" y="436"/>
                    <a:pt x="1659" y="434"/>
                    <a:pt x="1658" y="432"/>
                  </a:cubicBezTo>
                  <a:cubicBezTo>
                    <a:pt x="1658" y="432"/>
                    <a:pt x="1658" y="431"/>
                    <a:pt x="1657" y="431"/>
                  </a:cubicBezTo>
                  <a:cubicBezTo>
                    <a:pt x="1657" y="430"/>
                    <a:pt x="1657" y="430"/>
                    <a:pt x="1657" y="430"/>
                  </a:cubicBezTo>
                  <a:cubicBezTo>
                    <a:pt x="1657" y="430"/>
                    <a:pt x="1657" y="429"/>
                    <a:pt x="1656" y="428"/>
                  </a:cubicBezTo>
                  <a:cubicBezTo>
                    <a:pt x="1656" y="428"/>
                    <a:pt x="1656" y="428"/>
                    <a:pt x="1656" y="428"/>
                  </a:cubicBezTo>
                  <a:cubicBezTo>
                    <a:pt x="1656" y="427"/>
                    <a:pt x="1656" y="427"/>
                    <a:pt x="1655" y="427"/>
                  </a:cubicBezTo>
                  <a:cubicBezTo>
                    <a:pt x="1655" y="427"/>
                    <a:pt x="1655" y="427"/>
                    <a:pt x="1654" y="428"/>
                  </a:cubicBezTo>
                  <a:cubicBezTo>
                    <a:pt x="1652" y="428"/>
                    <a:pt x="1652" y="429"/>
                    <a:pt x="1652" y="430"/>
                  </a:cubicBezTo>
                  <a:cubicBezTo>
                    <a:pt x="1652" y="430"/>
                    <a:pt x="1652" y="430"/>
                    <a:pt x="1652" y="430"/>
                  </a:cubicBezTo>
                  <a:cubicBezTo>
                    <a:pt x="1652" y="431"/>
                    <a:pt x="1653" y="432"/>
                    <a:pt x="1653" y="432"/>
                  </a:cubicBezTo>
                  <a:cubicBezTo>
                    <a:pt x="1652" y="435"/>
                    <a:pt x="1650" y="433"/>
                    <a:pt x="1648" y="434"/>
                  </a:cubicBezTo>
                  <a:cubicBezTo>
                    <a:pt x="1647" y="434"/>
                    <a:pt x="1647" y="434"/>
                    <a:pt x="1647" y="434"/>
                  </a:cubicBezTo>
                  <a:cubicBezTo>
                    <a:pt x="1647" y="434"/>
                    <a:pt x="1647" y="434"/>
                    <a:pt x="1647" y="434"/>
                  </a:cubicBezTo>
                  <a:cubicBezTo>
                    <a:pt x="1647" y="434"/>
                    <a:pt x="1647" y="434"/>
                    <a:pt x="1647" y="435"/>
                  </a:cubicBezTo>
                  <a:cubicBezTo>
                    <a:pt x="1646" y="435"/>
                    <a:pt x="1646" y="435"/>
                    <a:pt x="1646" y="435"/>
                  </a:cubicBezTo>
                  <a:cubicBezTo>
                    <a:pt x="1645" y="435"/>
                    <a:pt x="1644" y="434"/>
                    <a:pt x="1643" y="433"/>
                  </a:cubicBezTo>
                  <a:cubicBezTo>
                    <a:pt x="1642" y="431"/>
                    <a:pt x="1642" y="429"/>
                    <a:pt x="1642" y="428"/>
                  </a:cubicBezTo>
                  <a:cubicBezTo>
                    <a:pt x="1642" y="428"/>
                    <a:pt x="1642" y="428"/>
                    <a:pt x="1642" y="427"/>
                  </a:cubicBezTo>
                  <a:cubicBezTo>
                    <a:pt x="1642" y="427"/>
                    <a:pt x="1642" y="427"/>
                    <a:pt x="1642" y="427"/>
                  </a:cubicBezTo>
                  <a:cubicBezTo>
                    <a:pt x="1642" y="427"/>
                    <a:pt x="1642" y="427"/>
                    <a:pt x="1642" y="427"/>
                  </a:cubicBezTo>
                  <a:cubicBezTo>
                    <a:pt x="1642" y="427"/>
                    <a:pt x="1642" y="427"/>
                    <a:pt x="1642" y="427"/>
                  </a:cubicBezTo>
                  <a:cubicBezTo>
                    <a:pt x="1642" y="427"/>
                    <a:pt x="1642" y="427"/>
                    <a:pt x="1641" y="427"/>
                  </a:cubicBezTo>
                  <a:cubicBezTo>
                    <a:pt x="1641" y="426"/>
                    <a:pt x="1641" y="427"/>
                    <a:pt x="1640" y="427"/>
                  </a:cubicBezTo>
                  <a:cubicBezTo>
                    <a:pt x="1637" y="427"/>
                    <a:pt x="1633" y="428"/>
                    <a:pt x="1631" y="428"/>
                  </a:cubicBezTo>
                  <a:cubicBezTo>
                    <a:pt x="1632" y="428"/>
                    <a:pt x="1632" y="429"/>
                    <a:pt x="1632" y="429"/>
                  </a:cubicBezTo>
                  <a:cubicBezTo>
                    <a:pt x="1632" y="429"/>
                    <a:pt x="1632" y="429"/>
                    <a:pt x="1632" y="429"/>
                  </a:cubicBezTo>
                  <a:cubicBezTo>
                    <a:pt x="1630" y="429"/>
                    <a:pt x="1628" y="429"/>
                    <a:pt x="1626" y="428"/>
                  </a:cubicBezTo>
                  <a:cubicBezTo>
                    <a:pt x="1626" y="428"/>
                    <a:pt x="1625" y="428"/>
                    <a:pt x="1625" y="428"/>
                  </a:cubicBezTo>
                  <a:cubicBezTo>
                    <a:pt x="1619" y="427"/>
                    <a:pt x="1613" y="425"/>
                    <a:pt x="1609" y="422"/>
                  </a:cubicBezTo>
                  <a:cubicBezTo>
                    <a:pt x="1607" y="421"/>
                    <a:pt x="1606" y="420"/>
                    <a:pt x="1605" y="420"/>
                  </a:cubicBezTo>
                  <a:cubicBezTo>
                    <a:pt x="1605" y="420"/>
                    <a:pt x="1605" y="420"/>
                    <a:pt x="1605" y="420"/>
                  </a:cubicBezTo>
                  <a:cubicBezTo>
                    <a:pt x="1605" y="419"/>
                    <a:pt x="1605" y="419"/>
                    <a:pt x="1605" y="419"/>
                  </a:cubicBezTo>
                  <a:cubicBezTo>
                    <a:pt x="1605" y="419"/>
                    <a:pt x="1605" y="419"/>
                    <a:pt x="1605" y="419"/>
                  </a:cubicBezTo>
                  <a:cubicBezTo>
                    <a:pt x="1605" y="419"/>
                    <a:pt x="1605" y="418"/>
                    <a:pt x="1606" y="418"/>
                  </a:cubicBezTo>
                  <a:cubicBezTo>
                    <a:pt x="1606" y="418"/>
                    <a:pt x="1606" y="418"/>
                    <a:pt x="1606" y="418"/>
                  </a:cubicBezTo>
                  <a:cubicBezTo>
                    <a:pt x="1605" y="417"/>
                    <a:pt x="1603" y="417"/>
                    <a:pt x="1602" y="416"/>
                  </a:cubicBezTo>
                  <a:cubicBezTo>
                    <a:pt x="1605" y="416"/>
                    <a:pt x="1605" y="416"/>
                    <a:pt x="1608" y="415"/>
                  </a:cubicBezTo>
                  <a:cubicBezTo>
                    <a:pt x="1606" y="414"/>
                    <a:pt x="1604" y="414"/>
                    <a:pt x="1603" y="413"/>
                  </a:cubicBezTo>
                  <a:cubicBezTo>
                    <a:pt x="1603" y="413"/>
                    <a:pt x="1604" y="413"/>
                    <a:pt x="1604" y="413"/>
                  </a:cubicBezTo>
                  <a:cubicBezTo>
                    <a:pt x="1603" y="412"/>
                    <a:pt x="1603" y="411"/>
                    <a:pt x="1602" y="410"/>
                  </a:cubicBezTo>
                  <a:cubicBezTo>
                    <a:pt x="1604" y="410"/>
                    <a:pt x="1610" y="410"/>
                    <a:pt x="1608" y="408"/>
                  </a:cubicBezTo>
                  <a:cubicBezTo>
                    <a:pt x="1608" y="408"/>
                    <a:pt x="1607" y="407"/>
                    <a:pt x="1606" y="407"/>
                  </a:cubicBezTo>
                  <a:cubicBezTo>
                    <a:pt x="1605" y="406"/>
                    <a:pt x="1604" y="405"/>
                    <a:pt x="1604" y="405"/>
                  </a:cubicBezTo>
                  <a:cubicBezTo>
                    <a:pt x="1603" y="405"/>
                    <a:pt x="1603" y="405"/>
                    <a:pt x="1602" y="406"/>
                  </a:cubicBezTo>
                  <a:cubicBezTo>
                    <a:pt x="1602" y="406"/>
                    <a:pt x="1602" y="406"/>
                    <a:pt x="1602" y="406"/>
                  </a:cubicBezTo>
                  <a:cubicBezTo>
                    <a:pt x="1602" y="406"/>
                    <a:pt x="1602" y="406"/>
                    <a:pt x="1602" y="406"/>
                  </a:cubicBezTo>
                  <a:cubicBezTo>
                    <a:pt x="1601" y="406"/>
                    <a:pt x="1600" y="406"/>
                    <a:pt x="1600" y="407"/>
                  </a:cubicBezTo>
                  <a:cubicBezTo>
                    <a:pt x="1599" y="407"/>
                    <a:pt x="1598" y="408"/>
                    <a:pt x="1597" y="408"/>
                  </a:cubicBezTo>
                  <a:cubicBezTo>
                    <a:pt x="1596" y="409"/>
                    <a:pt x="1595" y="409"/>
                    <a:pt x="1593" y="408"/>
                  </a:cubicBezTo>
                  <a:cubicBezTo>
                    <a:pt x="1595" y="408"/>
                    <a:pt x="1598" y="407"/>
                    <a:pt x="1598" y="405"/>
                  </a:cubicBezTo>
                  <a:cubicBezTo>
                    <a:pt x="1598" y="404"/>
                    <a:pt x="1595" y="403"/>
                    <a:pt x="1594" y="402"/>
                  </a:cubicBezTo>
                  <a:cubicBezTo>
                    <a:pt x="1594" y="402"/>
                    <a:pt x="1594" y="402"/>
                    <a:pt x="1593" y="401"/>
                  </a:cubicBezTo>
                  <a:cubicBezTo>
                    <a:pt x="1594" y="401"/>
                    <a:pt x="1595" y="401"/>
                    <a:pt x="1595" y="401"/>
                  </a:cubicBezTo>
                  <a:cubicBezTo>
                    <a:pt x="1594" y="400"/>
                    <a:pt x="1594" y="399"/>
                    <a:pt x="1593" y="398"/>
                  </a:cubicBezTo>
                  <a:cubicBezTo>
                    <a:pt x="1591" y="397"/>
                    <a:pt x="1587" y="397"/>
                    <a:pt x="1585" y="396"/>
                  </a:cubicBezTo>
                  <a:cubicBezTo>
                    <a:pt x="1584" y="398"/>
                    <a:pt x="1584" y="399"/>
                    <a:pt x="1584" y="401"/>
                  </a:cubicBezTo>
                  <a:cubicBezTo>
                    <a:pt x="1584" y="400"/>
                    <a:pt x="1582" y="397"/>
                    <a:pt x="1582" y="396"/>
                  </a:cubicBezTo>
                  <a:cubicBezTo>
                    <a:pt x="1582" y="395"/>
                    <a:pt x="1584" y="396"/>
                    <a:pt x="1584" y="395"/>
                  </a:cubicBezTo>
                  <a:cubicBezTo>
                    <a:pt x="1584" y="395"/>
                    <a:pt x="1584" y="395"/>
                    <a:pt x="1584" y="395"/>
                  </a:cubicBezTo>
                  <a:cubicBezTo>
                    <a:pt x="1584" y="395"/>
                    <a:pt x="1584" y="395"/>
                    <a:pt x="1584" y="395"/>
                  </a:cubicBezTo>
                  <a:cubicBezTo>
                    <a:pt x="1584" y="394"/>
                    <a:pt x="1584" y="393"/>
                    <a:pt x="1584" y="393"/>
                  </a:cubicBezTo>
                  <a:cubicBezTo>
                    <a:pt x="1584" y="392"/>
                    <a:pt x="1584" y="392"/>
                    <a:pt x="1584" y="392"/>
                  </a:cubicBezTo>
                  <a:cubicBezTo>
                    <a:pt x="1583" y="390"/>
                    <a:pt x="1584" y="390"/>
                    <a:pt x="1582" y="389"/>
                  </a:cubicBezTo>
                  <a:cubicBezTo>
                    <a:pt x="1582" y="389"/>
                    <a:pt x="1582" y="389"/>
                    <a:pt x="1581" y="389"/>
                  </a:cubicBezTo>
                  <a:cubicBezTo>
                    <a:pt x="1581" y="389"/>
                    <a:pt x="1581" y="389"/>
                    <a:pt x="1581" y="389"/>
                  </a:cubicBezTo>
                  <a:cubicBezTo>
                    <a:pt x="1578" y="388"/>
                    <a:pt x="1575" y="387"/>
                    <a:pt x="1573" y="386"/>
                  </a:cubicBezTo>
                  <a:cubicBezTo>
                    <a:pt x="1572" y="385"/>
                    <a:pt x="1571" y="385"/>
                    <a:pt x="1571" y="384"/>
                  </a:cubicBezTo>
                  <a:cubicBezTo>
                    <a:pt x="1570" y="384"/>
                    <a:pt x="1570" y="384"/>
                    <a:pt x="1570" y="384"/>
                  </a:cubicBezTo>
                  <a:cubicBezTo>
                    <a:pt x="1570" y="383"/>
                    <a:pt x="1570" y="383"/>
                    <a:pt x="1569" y="383"/>
                  </a:cubicBezTo>
                  <a:cubicBezTo>
                    <a:pt x="1569" y="382"/>
                    <a:pt x="1568" y="382"/>
                    <a:pt x="1567" y="381"/>
                  </a:cubicBezTo>
                  <a:cubicBezTo>
                    <a:pt x="1566" y="381"/>
                    <a:pt x="1565" y="380"/>
                    <a:pt x="1563" y="379"/>
                  </a:cubicBezTo>
                  <a:cubicBezTo>
                    <a:pt x="1562" y="378"/>
                    <a:pt x="1561" y="377"/>
                    <a:pt x="1560" y="377"/>
                  </a:cubicBezTo>
                  <a:cubicBezTo>
                    <a:pt x="1558" y="377"/>
                    <a:pt x="1556" y="379"/>
                    <a:pt x="1554" y="380"/>
                  </a:cubicBezTo>
                  <a:cubicBezTo>
                    <a:pt x="1553" y="380"/>
                    <a:pt x="1552" y="381"/>
                    <a:pt x="1551" y="381"/>
                  </a:cubicBezTo>
                  <a:cubicBezTo>
                    <a:pt x="1550" y="381"/>
                    <a:pt x="1550" y="381"/>
                    <a:pt x="1549" y="382"/>
                  </a:cubicBezTo>
                  <a:cubicBezTo>
                    <a:pt x="1548" y="382"/>
                    <a:pt x="1547" y="382"/>
                    <a:pt x="1546" y="383"/>
                  </a:cubicBezTo>
                  <a:cubicBezTo>
                    <a:pt x="1545" y="383"/>
                    <a:pt x="1545" y="383"/>
                    <a:pt x="1545" y="383"/>
                  </a:cubicBezTo>
                  <a:cubicBezTo>
                    <a:pt x="1543" y="384"/>
                    <a:pt x="1542" y="385"/>
                    <a:pt x="1540" y="385"/>
                  </a:cubicBezTo>
                  <a:cubicBezTo>
                    <a:pt x="1540" y="385"/>
                    <a:pt x="1540" y="385"/>
                    <a:pt x="1540" y="385"/>
                  </a:cubicBezTo>
                  <a:cubicBezTo>
                    <a:pt x="1538" y="385"/>
                    <a:pt x="1536" y="385"/>
                    <a:pt x="1535" y="386"/>
                  </a:cubicBezTo>
                  <a:cubicBezTo>
                    <a:pt x="1535" y="386"/>
                    <a:pt x="1535" y="386"/>
                    <a:pt x="1535" y="386"/>
                  </a:cubicBezTo>
                  <a:cubicBezTo>
                    <a:pt x="1535" y="386"/>
                    <a:pt x="1535" y="386"/>
                    <a:pt x="1535" y="386"/>
                  </a:cubicBezTo>
                  <a:cubicBezTo>
                    <a:pt x="1535" y="386"/>
                    <a:pt x="1535" y="386"/>
                    <a:pt x="1535" y="386"/>
                  </a:cubicBezTo>
                  <a:cubicBezTo>
                    <a:pt x="1535" y="386"/>
                    <a:pt x="1534" y="386"/>
                    <a:pt x="1535" y="387"/>
                  </a:cubicBezTo>
                  <a:cubicBezTo>
                    <a:pt x="1535" y="387"/>
                    <a:pt x="1535" y="387"/>
                    <a:pt x="1535" y="387"/>
                  </a:cubicBezTo>
                  <a:cubicBezTo>
                    <a:pt x="1535" y="387"/>
                    <a:pt x="1535" y="387"/>
                    <a:pt x="1535" y="387"/>
                  </a:cubicBezTo>
                  <a:cubicBezTo>
                    <a:pt x="1535" y="388"/>
                    <a:pt x="1538" y="389"/>
                    <a:pt x="1539" y="390"/>
                  </a:cubicBezTo>
                  <a:cubicBezTo>
                    <a:pt x="1539" y="390"/>
                    <a:pt x="1539" y="390"/>
                    <a:pt x="1539" y="390"/>
                  </a:cubicBezTo>
                  <a:cubicBezTo>
                    <a:pt x="1536" y="389"/>
                    <a:pt x="1534" y="388"/>
                    <a:pt x="1533" y="387"/>
                  </a:cubicBezTo>
                  <a:cubicBezTo>
                    <a:pt x="1530" y="385"/>
                    <a:pt x="1528" y="384"/>
                    <a:pt x="1524" y="383"/>
                  </a:cubicBezTo>
                  <a:cubicBezTo>
                    <a:pt x="1519" y="382"/>
                    <a:pt x="1513" y="385"/>
                    <a:pt x="1509" y="388"/>
                  </a:cubicBezTo>
                  <a:cubicBezTo>
                    <a:pt x="1509" y="388"/>
                    <a:pt x="1509" y="388"/>
                    <a:pt x="1510" y="387"/>
                  </a:cubicBezTo>
                  <a:cubicBezTo>
                    <a:pt x="1510" y="387"/>
                    <a:pt x="1510" y="387"/>
                    <a:pt x="1511" y="386"/>
                  </a:cubicBezTo>
                  <a:cubicBezTo>
                    <a:pt x="1512" y="386"/>
                    <a:pt x="1514" y="385"/>
                    <a:pt x="1514" y="384"/>
                  </a:cubicBezTo>
                  <a:cubicBezTo>
                    <a:pt x="1514" y="384"/>
                    <a:pt x="1514" y="384"/>
                    <a:pt x="1514" y="384"/>
                  </a:cubicBezTo>
                  <a:cubicBezTo>
                    <a:pt x="1514" y="384"/>
                    <a:pt x="1514" y="384"/>
                    <a:pt x="1514" y="384"/>
                  </a:cubicBezTo>
                  <a:cubicBezTo>
                    <a:pt x="1514" y="384"/>
                    <a:pt x="1514" y="384"/>
                    <a:pt x="1514" y="384"/>
                  </a:cubicBezTo>
                  <a:cubicBezTo>
                    <a:pt x="1514" y="383"/>
                    <a:pt x="1513" y="383"/>
                    <a:pt x="1513" y="383"/>
                  </a:cubicBezTo>
                  <a:cubicBezTo>
                    <a:pt x="1513" y="383"/>
                    <a:pt x="1513" y="383"/>
                    <a:pt x="1513" y="383"/>
                  </a:cubicBezTo>
                  <a:cubicBezTo>
                    <a:pt x="1511" y="383"/>
                    <a:pt x="1508" y="382"/>
                    <a:pt x="1507" y="382"/>
                  </a:cubicBezTo>
                  <a:cubicBezTo>
                    <a:pt x="1504" y="381"/>
                    <a:pt x="1501" y="380"/>
                    <a:pt x="1498" y="379"/>
                  </a:cubicBezTo>
                  <a:cubicBezTo>
                    <a:pt x="1497" y="379"/>
                    <a:pt x="1496" y="379"/>
                    <a:pt x="1496" y="378"/>
                  </a:cubicBezTo>
                  <a:cubicBezTo>
                    <a:pt x="1493" y="378"/>
                    <a:pt x="1490" y="377"/>
                    <a:pt x="1487" y="376"/>
                  </a:cubicBezTo>
                  <a:cubicBezTo>
                    <a:pt x="1487" y="376"/>
                    <a:pt x="1487" y="375"/>
                    <a:pt x="1486" y="375"/>
                  </a:cubicBezTo>
                  <a:cubicBezTo>
                    <a:pt x="1486" y="375"/>
                    <a:pt x="1486" y="375"/>
                    <a:pt x="1486" y="375"/>
                  </a:cubicBezTo>
                  <a:cubicBezTo>
                    <a:pt x="1485" y="375"/>
                    <a:pt x="1483" y="375"/>
                    <a:pt x="1482" y="375"/>
                  </a:cubicBezTo>
                  <a:cubicBezTo>
                    <a:pt x="1479" y="374"/>
                    <a:pt x="1475" y="373"/>
                    <a:pt x="1473" y="373"/>
                  </a:cubicBezTo>
                  <a:cubicBezTo>
                    <a:pt x="1472" y="373"/>
                    <a:pt x="1472" y="373"/>
                    <a:pt x="1470" y="374"/>
                  </a:cubicBezTo>
                  <a:cubicBezTo>
                    <a:pt x="1470" y="374"/>
                    <a:pt x="1470" y="374"/>
                    <a:pt x="1470" y="374"/>
                  </a:cubicBezTo>
                  <a:cubicBezTo>
                    <a:pt x="1466" y="375"/>
                    <a:pt x="1462" y="378"/>
                    <a:pt x="1459" y="381"/>
                  </a:cubicBezTo>
                  <a:cubicBezTo>
                    <a:pt x="1458" y="382"/>
                    <a:pt x="1457" y="382"/>
                    <a:pt x="1456" y="383"/>
                  </a:cubicBezTo>
                  <a:cubicBezTo>
                    <a:pt x="1456" y="383"/>
                    <a:pt x="1456" y="383"/>
                    <a:pt x="1455" y="384"/>
                  </a:cubicBezTo>
                  <a:cubicBezTo>
                    <a:pt x="1458" y="390"/>
                    <a:pt x="1460" y="398"/>
                    <a:pt x="1463" y="404"/>
                  </a:cubicBezTo>
                  <a:cubicBezTo>
                    <a:pt x="1464" y="405"/>
                    <a:pt x="1464" y="406"/>
                    <a:pt x="1465" y="407"/>
                  </a:cubicBezTo>
                  <a:cubicBezTo>
                    <a:pt x="1466" y="408"/>
                    <a:pt x="1466" y="408"/>
                    <a:pt x="1467" y="408"/>
                  </a:cubicBezTo>
                  <a:cubicBezTo>
                    <a:pt x="1467" y="408"/>
                    <a:pt x="1467" y="408"/>
                    <a:pt x="1467" y="408"/>
                  </a:cubicBezTo>
                  <a:cubicBezTo>
                    <a:pt x="1468" y="408"/>
                    <a:pt x="1470" y="409"/>
                    <a:pt x="1471" y="410"/>
                  </a:cubicBezTo>
                  <a:cubicBezTo>
                    <a:pt x="1470" y="410"/>
                    <a:pt x="1468" y="409"/>
                    <a:pt x="1467" y="410"/>
                  </a:cubicBezTo>
                  <a:cubicBezTo>
                    <a:pt x="1466" y="411"/>
                    <a:pt x="1468" y="411"/>
                    <a:pt x="1468" y="412"/>
                  </a:cubicBezTo>
                  <a:cubicBezTo>
                    <a:pt x="1468" y="412"/>
                    <a:pt x="1468" y="412"/>
                    <a:pt x="1469" y="412"/>
                  </a:cubicBezTo>
                  <a:cubicBezTo>
                    <a:pt x="1469" y="412"/>
                    <a:pt x="1469" y="412"/>
                    <a:pt x="1469" y="412"/>
                  </a:cubicBezTo>
                  <a:cubicBezTo>
                    <a:pt x="1469" y="412"/>
                    <a:pt x="1468" y="412"/>
                    <a:pt x="1468" y="413"/>
                  </a:cubicBezTo>
                  <a:cubicBezTo>
                    <a:pt x="1467" y="413"/>
                    <a:pt x="1467" y="414"/>
                    <a:pt x="1466" y="414"/>
                  </a:cubicBezTo>
                  <a:cubicBezTo>
                    <a:pt x="1466" y="414"/>
                    <a:pt x="1465" y="414"/>
                    <a:pt x="1465" y="413"/>
                  </a:cubicBezTo>
                  <a:cubicBezTo>
                    <a:pt x="1465" y="413"/>
                    <a:pt x="1464" y="413"/>
                    <a:pt x="1464" y="413"/>
                  </a:cubicBezTo>
                  <a:cubicBezTo>
                    <a:pt x="1463" y="414"/>
                    <a:pt x="1463" y="418"/>
                    <a:pt x="1464" y="421"/>
                  </a:cubicBezTo>
                  <a:cubicBezTo>
                    <a:pt x="1464" y="422"/>
                    <a:pt x="1464" y="424"/>
                    <a:pt x="1464" y="425"/>
                  </a:cubicBezTo>
                  <a:cubicBezTo>
                    <a:pt x="1464" y="425"/>
                    <a:pt x="1463" y="425"/>
                    <a:pt x="1463" y="426"/>
                  </a:cubicBezTo>
                  <a:cubicBezTo>
                    <a:pt x="1463" y="426"/>
                    <a:pt x="1463" y="427"/>
                    <a:pt x="1462" y="427"/>
                  </a:cubicBezTo>
                  <a:cubicBezTo>
                    <a:pt x="1462" y="428"/>
                    <a:pt x="1462" y="428"/>
                    <a:pt x="1461" y="428"/>
                  </a:cubicBezTo>
                  <a:cubicBezTo>
                    <a:pt x="1460" y="430"/>
                    <a:pt x="1457" y="432"/>
                    <a:pt x="1456" y="433"/>
                  </a:cubicBezTo>
                  <a:cubicBezTo>
                    <a:pt x="1455" y="434"/>
                    <a:pt x="1455" y="434"/>
                    <a:pt x="1455" y="434"/>
                  </a:cubicBezTo>
                  <a:cubicBezTo>
                    <a:pt x="1455" y="434"/>
                    <a:pt x="1455" y="434"/>
                    <a:pt x="1455" y="434"/>
                  </a:cubicBezTo>
                  <a:cubicBezTo>
                    <a:pt x="1455" y="434"/>
                    <a:pt x="1455" y="434"/>
                    <a:pt x="1455" y="434"/>
                  </a:cubicBezTo>
                  <a:cubicBezTo>
                    <a:pt x="1455" y="435"/>
                    <a:pt x="1455" y="435"/>
                    <a:pt x="1455" y="435"/>
                  </a:cubicBezTo>
                  <a:cubicBezTo>
                    <a:pt x="1455" y="436"/>
                    <a:pt x="1455" y="436"/>
                    <a:pt x="1455" y="436"/>
                  </a:cubicBezTo>
                  <a:cubicBezTo>
                    <a:pt x="1455" y="436"/>
                    <a:pt x="1455" y="436"/>
                    <a:pt x="1456" y="436"/>
                  </a:cubicBezTo>
                  <a:cubicBezTo>
                    <a:pt x="1457" y="436"/>
                    <a:pt x="1457" y="436"/>
                    <a:pt x="1458" y="436"/>
                  </a:cubicBezTo>
                  <a:cubicBezTo>
                    <a:pt x="1458" y="436"/>
                    <a:pt x="1459" y="436"/>
                    <a:pt x="1459" y="436"/>
                  </a:cubicBezTo>
                  <a:cubicBezTo>
                    <a:pt x="1461" y="436"/>
                    <a:pt x="1462" y="436"/>
                    <a:pt x="1463" y="436"/>
                  </a:cubicBezTo>
                  <a:cubicBezTo>
                    <a:pt x="1463" y="437"/>
                    <a:pt x="1463" y="437"/>
                    <a:pt x="1464" y="437"/>
                  </a:cubicBezTo>
                  <a:cubicBezTo>
                    <a:pt x="1466" y="437"/>
                    <a:pt x="1468" y="436"/>
                    <a:pt x="1470" y="435"/>
                  </a:cubicBezTo>
                  <a:cubicBezTo>
                    <a:pt x="1468" y="436"/>
                    <a:pt x="1467" y="437"/>
                    <a:pt x="1465" y="437"/>
                  </a:cubicBezTo>
                  <a:cubicBezTo>
                    <a:pt x="1470" y="437"/>
                    <a:pt x="1464" y="441"/>
                    <a:pt x="1463" y="442"/>
                  </a:cubicBezTo>
                  <a:cubicBezTo>
                    <a:pt x="1466" y="445"/>
                    <a:pt x="1469" y="443"/>
                    <a:pt x="1472" y="445"/>
                  </a:cubicBezTo>
                  <a:cubicBezTo>
                    <a:pt x="1471" y="445"/>
                    <a:pt x="1470" y="445"/>
                    <a:pt x="1470" y="446"/>
                  </a:cubicBezTo>
                  <a:cubicBezTo>
                    <a:pt x="1469" y="446"/>
                    <a:pt x="1469" y="446"/>
                    <a:pt x="1469" y="446"/>
                  </a:cubicBezTo>
                  <a:cubicBezTo>
                    <a:pt x="1468" y="446"/>
                    <a:pt x="1467" y="447"/>
                    <a:pt x="1467" y="447"/>
                  </a:cubicBezTo>
                  <a:cubicBezTo>
                    <a:pt x="1466" y="448"/>
                    <a:pt x="1466" y="448"/>
                    <a:pt x="1466" y="448"/>
                  </a:cubicBezTo>
                  <a:cubicBezTo>
                    <a:pt x="1466" y="448"/>
                    <a:pt x="1466" y="448"/>
                    <a:pt x="1465" y="449"/>
                  </a:cubicBezTo>
                  <a:cubicBezTo>
                    <a:pt x="1465" y="449"/>
                    <a:pt x="1465" y="449"/>
                    <a:pt x="1465" y="449"/>
                  </a:cubicBezTo>
                  <a:cubicBezTo>
                    <a:pt x="1465" y="449"/>
                    <a:pt x="1465" y="449"/>
                    <a:pt x="1465" y="449"/>
                  </a:cubicBezTo>
                  <a:cubicBezTo>
                    <a:pt x="1465" y="449"/>
                    <a:pt x="1465" y="449"/>
                    <a:pt x="1465" y="450"/>
                  </a:cubicBezTo>
                  <a:cubicBezTo>
                    <a:pt x="1465" y="450"/>
                    <a:pt x="1465" y="450"/>
                    <a:pt x="1465" y="450"/>
                  </a:cubicBezTo>
                  <a:cubicBezTo>
                    <a:pt x="1465" y="451"/>
                    <a:pt x="1465" y="451"/>
                    <a:pt x="1465" y="451"/>
                  </a:cubicBezTo>
                  <a:cubicBezTo>
                    <a:pt x="1466" y="453"/>
                    <a:pt x="1467" y="455"/>
                    <a:pt x="1468" y="457"/>
                  </a:cubicBezTo>
                  <a:cubicBezTo>
                    <a:pt x="1468" y="457"/>
                    <a:pt x="1468" y="457"/>
                    <a:pt x="1468" y="458"/>
                  </a:cubicBezTo>
                  <a:cubicBezTo>
                    <a:pt x="1468" y="458"/>
                    <a:pt x="1468" y="458"/>
                    <a:pt x="1468" y="458"/>
                  </a:cubicBezTo>
                  <a:cubicBezTo>
                    <a:pt x="1468" y="458"/>
                    <a:pt x="1468" y="459"/>
                    <a:pt x="1469" y="459"/>
                  </a:cubicBezTo>
                  <a:cubicBezTo>
                    <a:pt x="1469" y="459"/>
                    <a:pt x="1469" y="459"/>
                    <a:pt x="1469" y="459"/>
                  </a:cubicBezTo>
                  <a:cubicBezTo>
                    <a:pt x="1469" y="460"/>
                    <a:pt x="1469" y="460"/>
                    <a:pt x="1469" y="461"/>
                  </a:cubicBezTo>
                  <a:cubicBezTo>
                    <a:pt x="1468" y="461"/>
                    <a:pt x="1468" y="461"/>
                    <a:pt x="1468" y="462"/>
                  </a:cubicBezTo>
                  <a:cubicBezTo>
                    <a:pt x="1470" y="463"/>
                    <a:pt x="1473" y="464"/>
                    <a:pt x="1475" y="464"/>
                  </a:cubicBezTo>
                  <a:cubicBezTo>
                    <a:pt x="1475" y="464"/>
                    <a:pt x="1476" y="464"/>
                    <a:pt x="1476" y="464"/>
                  </a:cubicBezTo>
                  <a:cubicBezTo>
                    <a:pt x="1476" y="464"/>
                    <a:pt x="1477" y="464"/>
                    <a:pt x="1477" y="464"/>
                  </a:cubicBezTo>
                  <a:cubicBezTo>
                    <a:pt x="1477" y="464"/>
                    <a:pt x="1477" y="464"/>
                    <a:pt x="1477" y="464"/>
                  </a:cubicBezTo>
                  <a:cubicBezTo>
                    <a:pt x="1474" y="466"/>
                    <a:pt x="1474" y="466"/>
                    <a:pt x="1474" y="466"/>
                  </a:cubicBezTo>
                  <a:cubicBezTo>
                    <a:pt x="1473" y="466"/>
                    <a:pt x="1473" y="466"/>
                    <a:pt x="1473" y="466"/>
                  </a:cubicBezTo>
                  <a:cubicBezTo>
                    <a:pt x="1473" y="466"/>
                    <a:pt x="1473" y="466"/>
                    <a:pt x="1473" y="466"/>
                  </a:cubicBezTo>
                  <a:cubicBezTo>
                    <a:pt x="1473" y="467"/>
                    <a:pt x="1473" y="467"/>
                    <a:pt x="1473" y="467"/>
                  </a:cubicBezTo>
                  <a:cubicBezTo>
                    <a:pt x="1472" y="467"/>
                    <a:pt x="1472" y="467"/>
                    <a:pt x="1472" y="467"/>
                  </a:cubicBezTo>
                  <a:cubicBezTo>
                    <a:pt x="1472" y="467"/>
                    <a:pt x="1472" y="467"/>
                    <a:pt x="1472" y="467"/>
                  </a:cubicBezTo>
                  <a:cubicBezTo>
                    <a:pt x="1472" y="467"/>
                    <a:pt x="1472" y="467"/>
                    <a:pt x="1472" y="467"/>
                  </a:cubicBezTo>
                  <a:cubicBezTo>
                    <a:pt x="1474" y="469"/>
                    <a:pt x="1474" y="469"/>
                    <a:pt x="1475" y="471"/>
                  </a:cubicBezTo>
                  <a:cubicBezTo>
                    <a:pt x="1475" y="471"/>
                    <a:pt x="1475" y="471"/>
                    <a:pt x="1475" y="471"/>
                  </a:cubicBezTo>
                  <a:cubicBezTo>
                    <a:pt x="1475" y="471"/>
                    <a:pt x="1475" y="471"/>
                    <a:pt x="1475" y="471"/>
                  </a:cubicBezTo>
                  <a:cubicBezTo>
                    <a:pt x="1474" y="471"/>
                    <a:pt x="1474" y="471"/>
                    <a:pt x="1474" y="471"/>
                  </a:cubicBezTo>
                  <a:cubicBezTo>
                    <a:pt x="1473" y="472"/>
                    <a:pt x="1473" y="472"/>
                    <a:pt x="1473" y="472"/>
                  </a:cubicBezTo>
                  <a:cubicBezTo>
                    <a:pt x="1472" y="472"/>
                    <a:pt x="1472" y="472"/>
                    <a:pt x="1472" y="472"/>
                  </a:cubicBezTo>
                  <a:cubicBezTo>
                    <a:pt x="1472" y="472"/>
                    <a:pt x="1472" y="472"/>
                    <a:pt x="1472" y="472"/>
                  </a:cubicBezTo>
                  <a:cubicBezTo>
                    <a:pt x="1472" y="472"/>
                    <a:pt x="1472" y="472"/>
                    <a:pt x="1472" y="472"/>
                  </a:cubicBezTo>
                  <a:cubicBezTo>
                    <a:pt x="1472" y="472"/>
                    <a:pt x="1472" y="472"/>
                    <a:pt x="1472" y="472"/>
                  </a:cubicBezTo>
                  <a:cubicBezTo>
                    <a:pt x="1472" y="472"/>
                    <a:pt x="1472" y="472"/>
                    <a:pt x="1472" y="472"/>
                  </a:cubicBezTo>
                  <a:cubicBezTo>
                    <a:pt x="1471" y="472"/>
                    <a:pt x="1471" y="472"/>
                    <a:pt x="1471" y="472"/>
                  </a:cubicBezTo>
                  <a:cubicBezTo>
                    <a:pt x="1471" y="473"/>
                    <a:pt x="1471" y="473"/>
                    <a:pt x="1471" y="473"/>
                  </a:cubicBezTo>
                  <a:cubicBezTo>
                    <a:pt x="1471" y="474"/>
                    <a:pt x="1470" y="473"/>
                    <a:pt x="1470" y="473"/>
                  </a:cubicBezTo>
                  <a:cubicBezTo>
                    <a:pt x="1470" y="473"/>
                    <a:pt x="1470" y="473"/>
                    <a:pt x="1470" y="473"/>
                  </a:cubicBezTo>
                  <a:cubicBezTo>
                    <a:pt x="1470" y="473"/>
                    <a:pt x="1470" y="473"/>
                    <a:pt x="1470" y="473"/>
                  </a:cubicBezTo>
                  <a:cubicBezTo>
                    <a:pt x="1470" y="473"/>
                    <a:pt x="1470" y="473"/>
                    <a:pt x="1470" y="473"/>
                  </a:cubicBezTo>
                  <a:cubicBezTo>
                    <a:pt x="1470" y="474"/>
                    <a:pt x="1470" y="474"/>
                    <a:pt x="1470" y="474"/>
                  </a:cubicBezTo>
                  <a:cubicBezTo>
                    <a:pt x="1471" y="476"/>
                    <a:pt x="1472" y="476"/>
                    <a:pt x="1472" y="478"/>
                  </a:cubicBezTo>
                  <a:cubicBezTo>
                    <a:pt x="1472" y="478"/>
                    <a:pt x="1472" y="478"/>
                    <a:pt x="1472" y="478"/>
                  </a:cubicBezTo>
                  <a:cubicBezTo>
                    <a:pt x="1472" y="478"/>
                    <a:pt x="1472" y="478"/>
                    <a:pt x="1472" y="478"/>
                  </a:cubicBezTo>
                  <a:cubicBezTo>
                    <a:pt x="1472" y="479"/>
                    <a:pt x="1474" y="479"/>
                    <a:pt x="1475" y="479"/>
                  </a:cubicBezTo>
                  <a:cubicBezTo>
                    <a:pt x="1475" y="479"/>
                    <a:pt x="1475" y="479"/>
                    <a:pt x="1475" y="479"/>
                  </a:cubicBezTo>
                  <a:cubicBezTo>
                    <a:pt x="1475" y="479"/>
                    <a:pt x="1475" y="479"/>
                    <a:pt x="1475" y="479"/>
                  </a:cubicBezTo>
                  <a:cubicBezTo>
                    <a:pt x="1475" y="479"/>
                    <a:pt x="1475" y="479"/>
                    <a:pt x="1475" y="479"/>
                  </a:cubicBezTo>
                  <a:cubicBezTo>
                    <a:pt x="1474" y="479"/>
                    <a:pt x="1474" y="479"/>
                    <a:pt x="1474" y="479"/>
                  </a:cubicBezTo>
                  <a:cubicBezTo>
                    <a:pt x="1473" y="479"/>
                    <a:pt x="1473" y="479"/>
                    <a:pt x="1473" y="479"/>
                  </a:cubicBezTo>
                  <a:cubicBezTo>
                    <a:pt x="1470" y="479"/>
                    <a:pt x="1473" y="477"/>
                    <a:pt x="1470" y="476"/>
                  </a:cubicBezTo>
                  <a:cubicBezTo>
                    <a:pt x="1469" y="476"/>
                    <a:pt x="1469" y="476"/>
                    <a:pt x="1469" y="476"/>
                  </a:cubicBezTo>
                  <a:cubicBezTo>
                    <a:pt x="1469" y="476"/>
                    <a:pt x="1469" y="476"/>
                    <a:pt x="1469" y="476"/>
                  </a:cubicBezTo>
                  <a:cubicBezTo>
                    <a:pt x="1469" y="476"/>
                    <a:pt x="1469" y="476"/>
                    <a:pt x="1469" y="476"/>
                  </a:cubicBezTo>
                  <a:cubicBezTo>
                    <a:pt x="1469" y="475"/>
                    <a:pt x="1469" y="475"/>
                    <a:pt x="1469" y="475"/>
                  </a:cubicBezTo>
                  <a:cubicBezTo>
                    <a:pt x="1469" y="475"/>
                    <a:pt x="1469" y="475"/>
                    <a:pt x="1469" y="475"/>
                  </a:cubicBezTo>
                  <a:cubicBezTo>
                    <a:pt x="1469" y="475"/>
                    <a:pt x="1469" y="475"/>
                    <a:pt x="1469" y="475"/>
                  </a:cubicBezTo>
                  <a:cubicBezTo>
                    <a:pt x="1469" y="475"/>
                    <a:pt x="1469" y="475"/>
                    <a:pt x="1469" y="475"/>
                  </a:cubicBezTo>
                  <a:cubicBezTo>
                    <a:pt x="1469" y="475"/>
                    <a:pt x="1469" y="475"/>
                    <a:pt x="1469" y="475"/>
                  </a:cubicBezTo>
                  <a:cubicBezTo>
                    <a:pt x="1469" y="475"/>
                    <a:pt x="1469" y="475"/>
                    <a:pt x="1469" y="475"/>
                  </a:cubicBezTo>
                  <a:cubicBezTo>
                    <a:pt x="1469" y="475"/>
                    <a:pt x="1469" y="475"/>
                    <a:pt x="1469" y="475"/>
                  </a:cubicBezTo>
                  <a:cubicBezTo>
                    <a:pt x="1468" y="475"/>
                    <a:pt x="1468" y="475"/>
                    <a:pt x="1468" y="475"/>
                  </a:cubicBezTo>
                  <a:cubicBezTo>
                    <a:pt x="1468" y="475"/>
                    <a:pt x="1468" y="475"/>
                    <a:pt x="1468" y="475"/>
                  </a:cubicBezTo>
                  <a:cubicBezTo>
                    <a:pt x="1468" y="475"/>
                    <a:pt x="1468" y="475"/>
                    <a:pt x="1468" y="475"/>
                  </a:cubicBezTo>
                  <a:cubicBezTo>
                    <a:pt x="1468" y="475"/>
                    <a:pt x="1468" y="475"/>
                    <a:pt x="1468" y="475"/>
                  </a:cubicBezTo>
                  <a:cubicBezTo>
                    <a:pt x="1468" y="475"/>
                    <a:pt x="1468" y="475"/>
                    <a:pt x="1468" y="475"/>
                  </a:cubicBezTo>
                  <a:cubicBezTo>
                    <a:pt x="1467" y="475"/>
                    <a:pt x="1466" y="476"/>
                    <a:pt x="1466" y="475"/>
                  </a:cubicBezTo>
                  <a:cubicBezTo>
                    <a:pt x="1466" y="475"/>
                    <a:pt x="1466" y="475"/>
                    <a:pt x="1466" y="475"/>
                  </a:cubicBezTo>
                  <a:cubicBezTo>
                    <a:pt x="1466" y="475"/>
                    <a:pt x="1466" y="475"/>
                    <a:pt x="1466" y="475"/>
                  </a:cubicBezTo>
                  <a:cubicBezTo>
                    <a:pt x="1466" y="475"/>
                    <a:pt x="1466" y="475"/>
                    <a:pt x="1466" y="475"/>
                  </a:cubicBezTo>
                  <a:cubicBezTo>
                    <a:pt x="1466" y="475"/>
                    <a:pt x="1466" y="475"/>
                    <a:pt x="1466" y="475"/>
                  </a:cubicBezTo>
                  <a:cubicBezTo>
                    <a:pt x="1466" y="475"/>
                    <a:pt x="1466" y="475"/>
                    <a:pt x="1466" y="475"/>
                  </a:cubicBezTo>
                  <a:cubicBezTo>
                    <a:pt x="1466" y="474"/>
                    <a:pt x="1466" y="474"/>
                    <a:pt x="1466" y="474"/>
                  </a:cubicBezTo>
                  <a:cubicBezTo>
                    <a:pt x="1465" y="474"/>
                    <a:pt x="1465" y="474"/>
                    <a:pt x="1465" y="474"/>
                  </a:cubicBezTo>
                  <a:cubicBezTo>
                    <a:pt x="1465" y="474"/>
                    <a:pt x="1465" y="474"/>
                    <a:pt x="1465" y="474"/>
                  </a:cubicBezTo>
                  <a:cubicBezTo>
                    <a:pt x="1465" y="474"/>
                    <a:pt x="1465" y="474"/>
                    <a:pt x="1465" y="474"/>
                  </a:cubicBezTo>
                  <a:cubicBezTo>
                    <a:pt x="1465" y="474"/>
                    <a:pt x="1465" y="474"/>
                    <a:pt x="1465" y="474"/>
                  </a:cubicBezTo>
                  <a:cubicBezTo>
                    <a:pt x="1464" y="474"/>
                    <a:pt x="1464" y="474"/>
                    <a:pt x="1464" y="474"/>
                  </a:cubicBezTo>
                  <a:cubicBezTo>
                    <a:pt x="1464" y="475"/>
                    <a:pt x="1464" y="475"/>
                    <a:pt x="1464" y="475"/>
                  </a:cubicBezTo>
                  <a:cubicBezTo>
                    <a:pt x="1464" y="475"/>
                    <a:pt x="1464" y="475"/>
                    <a:pt x="1464" y="475"/>
                  </a:cubicBezTo>
                  <a:cubicBezTo>
                    <a:pt x="1464" y="475"/>
                    <a:pt x="1464" y="475"/>
                    <a:pt x="1464" y="475"/>
                  </a:cubicBezTo>
                  <a:cubicBezTo>
                    <a:pt x="1464" y="476"/>
                    <a:pt x="1464" y="476"/>
                    <a:pt x="1464" y="476"/>
                  </a:cubicBezTo>
                  <a:cubicBezTo>
                    <a:pt x="1465" y="477"/>
                    <a:pt x="1465" y="477"/>
                    <a:pt x="1465" y="477"/>
                  </a:cubicBezTo>
                  <a:cubicBezTo>
                    <a:pt x="1465" y="478"/>
                    <a:pt x="1465" y="478"/>
                    <a:pt x="1465" y="478"/>
                  </a:cubicBezTo>
                  <a:cubicBezTo>
                    <a:pt x="1465" y="478"/>
                    <a:pt x="1465" y="478"/>
                    <a:pt x="1465" y="478"/>
                  </a:cubicBezTo>
                  <a:cubicBezTo>
                    <a:pt x="1465" y="479"/>
                    <a:pt x="1465" y="479"/>
                    <a:pt x="1465" y="479"/>
                  </a:cubicBezTo>
                  <a:cubicBezTo>
                    <a:pt x="1465" y="479"/>
                    <a:pt x="1465" y="479"/>
                    <a:pt x="1465" y="479"/>
                  </a:cubicBezTo>
                  <a:cubicBezTo>
                    <a:pt x="1465" y="480"/>
                    <a:pt x="1465" y="480"/>
                    <a:pt x="1465" y="480"/>
                  </a:cubicBezTo>
                  <a:cubicBezTo>
                    <a:pt x="1465" y="480"/>
                    <a:pt x="1465" y="480"/>
                    <a:pt x="1465" y="480"/>
                  </a:cubicBezTo>
                  <a:cubicBezTo>
                    <a:pt x="1465" y="480"/>
                    <a:pt x="1465" y="480"/>
                    <a:pt x="1465" y="480"/>
                  </a:cubicBezTo>
                  <a:cubicBezTo>
                    <a:pt x="1465" y="480"/>
                    <a:pt x="1465" y="480"/>
                    <a:pt x="1465" y="480"/>
                  </a:cubicBezTo>
                  <a:cubicBezTo>
                    <a:pt x="1463" y="481"/>
                    <a:pt x="1463" y="481"/>
                    <a:pt x="1463" y="481"/>
                  </a:cubicBezTo>
                  <a:cubicBezTo>
                    <a:pt x="1462" y="481"/>
                    <a:pt x="1462" y="481"/>
                    <a:pt x="1462" y="481"/>
                  </a:cubicBezTo>
                  <a:cubicBezTo>
                    <a:pt x="1462" y="481"/>
                    <a:pt x="1462" y="481"/>
                    <a:pt x="1462" y="481"/>
                  </a:cubicBezTo>
                  <a:cubicBezTo>
                    <a:pt x="1462" y="481"/>
                    <a:pt x="1462" y="481"/>
                    <a:pt x="1462" y="481"/>
                  </a:cubicBezTo>
                  <a:cubicBezTo>
                    <a:pt x="1462" y="482"/>
                    <a:pt x="1462" y="482"/>
                    <a:pt x="1462" y="482"/>
                  </a:cubicBezTo>
                  <a:cubicBezTo>
                    <a:pt x="1462" y="482"/>
                    <a:pt x="1462" y="482"/>
                    <a:pt x="1462" y="482"/>
                  </a:cubicBezTo>
                  <a:cubicBezTo>
                    <a:pt x="1462" y="482"/>
                    <a:pt x="1462" y="482"/>
                    <a:pt x="1462" y="482"/>
                  </a:cubicBezTo>
                  <a:cubicBezTo>
                    <a:pt x="1462" y="482"/>
                    <a:pt x="1462" y="482"/>
                    <a:pt x="1462" y="482"/>
                  </a:cubicBezTo>
                  <a:cubicBezTo>
                    <a:pt x="1461" y="483"/>
                    <a:pt x="1461" y="483"/>
                    <a:pt x="1461" y="483"/>
                  </a:cubicBezTo>
                  <a:cubicBezTo>
                    <a:pt x="1461" y="484"/>
                    <a:pt x="1461" y="484"/>
                    <a:pt x="1461" y="484"/>
                  </a:cubicBezTo>
                  <a:cubicBezTo>
                    <a:pt x="1462" y="484"/>
                    <a:pt x="1462" y="484"/>
                    <a:pt x="1462" y="484"/>
                  </a:cubicBezTo>
                  <a:cubicBezTo>
                    <a:pt x="1463" y="484"/>
                    <a:pt x="1463" y="484"/>
                    <a:pt x="1463" y="484"/>
                  </a:cubicBezTo>
                  <a:cubicBezTo>
                    <a:pt x="1464" y="484"/>
                    <a:pt x="1464" y="484"/>
                    <a:pt x="1464" y="484"/>
                  </a:cubicBezTo>
                  <a:cubicBezTo>
                    <a:pt x="1464" y="484"/>
                    <a:pt x="1464" y="484"/>
                    <a:pt x="1464" y="484"/>
                  </a:cubicBezTo>
                  <a:cubicBezTo>
                    <a:pt x="1464" y="484"/>
                    <a:pt x="1464" y="484"/>
                    <a:pt x="1464" y="484"/>
                  </a:cubicBezTo>
                  <a:cubicBezTo>
                    <a:pt x="1464" y="484"/>
                    <a:pt x="1464" y="484"/>
                    <a:pt x="1464" y="484"/>
                  </a:cubicBezTo>
                  <a:cubicBezTo>
                    <a:pt x="1464" y="484"/>
                    <a:pt x="1464" y="484"/>
                    <a:pt x="1464" y="484"/>
                  </a:cubicBezTo>
                  <a:cubicBezTo>
                    <a:pt x="1464" y="485"/>
                    <a:pt x="1464" y="485"/>
                    <a:pt x="1464" y="485"/>
                  </a:cubicBezTo>
                  <a:cubicBezTo>
                    <a:pt x="1464" y="485"/>
                    <a:pt x="1464" y="485"/>
                    <a:pt x="1464" y="485"/>
                  </a:cubicBezTo>
                  <a:cubicBezTo>
                    <a:pt x="1464" y="485"/>
                    <a:pt x="1464" y="485"/>
                    <a:pt x="1464" y="485"/>
                  </a:cubicBezTo>
                  <a:cubicBezTo>
                    <a:pt x="1464" y="485"/>
                    <a:pt x="1464" y="485"/>
                    <a:pt x="1464" y="485"/>
                  </a:cubicBezTo>
                  <a:cubicBezTo>
                    <a:pt x="1465" y="485"/>
                    <a:pt x="1465" y="485"/>
                    <a:pt x="1465" y="485"/>
                  </a:cubicBezTo>
                  <a:cubicBezTo>
                    <a:pt x="1465" y="485"/>
                    <a:pt x="1465" y="485"/>
                    <a:pt x="1465" y="485"/>
                  </a:cubicBezTo>
                  <a:cubicBezTo>
                    <a:pt x="1465" y="485"/>
                    <a:pt x="1465" y="485"/>
                    <a:pt x="1465" y="485"/>
                  </a:cubicBezTo>
                  <a:cubicBezTo>
                    <a:pt x="1465" y="485"/>
                    <a:pt x="1465" y="485"/>
                    <a:pt x="1465" y="485"/>
                  </a:cubicBezTo>
                  <a:cubicBezTo>
                    <a:pt x="1465" y="485"/>
                    <a:pt x="1465" y="485"/>
                    <a:pt x="1465" y="485"/>
                  </a:cubicBezTo>
                  <a:cubicBezTo>
                    <a:pt x="1465" y="485"/>
                    <a:pt x="1465" y="485"/>
                    <a:pt x="1465" y="485"/>
                  </a:cubicBezTo>
                  <a:cubicBezTo>
                    <a:pt x="1465" y="485"/>
                    <a:pt x="1465" y="485"/>
                    <a:pt x="1465" y="485"/>
                  </a:cubicBezTo>
                  <a:cubicBezTo>
                    <a:pt x="1466" y="485"/>
                    <a:pt x="1466" y="485"/>
                    <a:pt x="1466" y="485"/>
                  </a:cubicBezTo>
                  <a:cubicBezTo>
                    <a:pt x="1466" y="485"/>
                    <a:pt x="1466" y="485"/>
                    <a:pt x="1466" y="485"/>
                  </a:cubicBezTo>
                  <a:cubicBezTo>
                    <a:pt x="1466" y="485"/>
                    <a:pt x="1466" y="485"/>
                    <a:pt x="1466" y="485"/>
                  </a:cubicBezTo>
                  <a:cubicBezTo>
                    <a:pt x="1466" y="485"/>
                    <a:pt x="1466" y="485"/>
                    <a:pt x="1466" y="485"/>
                  </a:cubicBezTo>
                  <a:cubicBezTo>
                    <a:pt x="1466" y="485"/>
                    <a:pt x="1466" y="485"/>
                    <a:pt x="1466" y="485"/>
                  </a:cubicBezTo>
                  <a:cubicBezTo>
                    <a:pt x="1466" y="485"/>
                    <a:pt x="1466" y="485"/>
                    <a:pt x="1466" y="485"/>
                  </a:cubicBezTo>
                  <a:cubicBezTo>
                    <a:pt x="1464" y="486"/>
                    <a:pt x="1464" y="486"/>
                    <a:pt x="1464" y="486"/>
                  </a:cubicBezTo>
                  <a:cubicBezTo>
                    <a:pt x="1462" y="489"/>
                    <a:pt x="1462" y="487"/>
                    <a:pt x="1461" y="488"/>
                  </a:cubicBezTo>
                  <a:cubicBezTo>
                    <a:pt x="1461" y="489"/>
                    <a:pt x="1461" y="489"/>
                    <a:pt x="1461" y="489"/>
                  </a:cubicBezTo>
                  <a:cubicBezTo>
                    <a:pt x="1461" y="489"/>
                    <a:pt x="1461" y="489"/>
                    <a:pt x="1461" y="489"/>
                  </a:cubicBezTo>
                  <a:cubicBezTo>
                    <a:pt x="1460" y="490"/>
                    <a:pt x="1460" y="490"/>
                    <a:pt x="1459" y="490"/>
                  </a:cubicBezTo>
                  <a:cubicBezTo>
                    <a:pt x="1459" y="491"/>
                    <a:pt x="1459" y="491"/>
                    <a:pt x="1459" y="491"/>
                  </a:cubicBezTo>
                  <a:cubicBezTo>
                    <a:pt x="1459" y="491"/>
                    <a:pt x="1459" y="491"/>
                    <a:pt x="1459" y="491"/>
                  </a:cubicBezTo>
                  <a:cubicBezTo>
                    <a:pt x="1459" y="491"/>
                    <a:pt x="1459" y="491"/>
                    <a:pt x="1459" y="491"/>
                  </a:cubicBezTo>
                  <a:cubicBezTo>
                    <a:pt x="1459" y="491"/>
                    <a:pt x="1459" y="491"/>
                    <a:pt x="1459" y="491"/>
                  </a:cubicBezTo>
                  <a:cubicBezTo>
                    <a:pt x="1459" y="491"/>
                    <a:pt x="1459" y="491"/>
                    <a:pt x="1459" y="491"/>
                  </a:cubicBezTo>
                  <a:cubicBezTo>
                    <a:pt x="1459" y="491"/>
                    <a:pt x="1459" y="491"/>
                    <a:pt x="1459" y="491"/>
                  </a:cubicBezTo>
                  <a:cubicBezTo>
                    <a:pt x="1459" y="491"/>
                    <a:pt x="1459" y="491"/>
                    <a:pt x="1459" y="491"/>
                  </a:cubicBezTo>
                  <a:cubicBezTo>
                    <a:pt x="1458" y="491"/>
                    <a:pt x="1458" y="491"/>
                    <a:pt x="1458" y="491"/>
                  </a:cubicBezTo>
                  <a:cubicBezTo>
                    <a:pt x="1458" y="491"/>
                    <a:pt x="1458" y="491"/>
                    <a:pt x="1458" y="491"/>
                  </a:cubicBezTo>
                  <a:cubicBezTo>
                    <a:pt x="1458" y="491"/>
                    <a:pt x="1458" y="491"/>
                    <a:pt x="1458" y="491"/>
                  </a:cubicBezTo>
                  <a:cubicBezTo>
                    <a:pt x="1458" y="491"/>
                    <a:pt x="1458" y="491"/>
                    <a:pt x="1458" y="491"/>
                  </a:cubicBezTo>
                  <a:cubicBezTo>
                    <a:pt x="1458" y="491"/>
                    <a:pt x="1458" y="491"/>
                    <a:pt x="1458" y="491"/>
                  </a:cubicBezTo>
                  <a:cubicBezTo>
                    <a:pt x="1457" y="491"/>
                    <a:pt x="1457" y="491"/>
                    <a:pt x="1457" y="491"/>
                  </a:cubicBezTo>
                  <a:cubicBezTo>
                    <a:pt x="1457" y="491"/>
                    <a:pt x="1457" y="491"/>
                    <a:pt x="1457" y="491"/>
                  </a:cubicBezTo>
                  <a:cubicBezTo>
                    <a:pt x="1457" y="491"/>
                    <a:pt x="1457" y="491"/>
                    <a:pt x="1457" y="491"/>
                  </a:cubicBezTo>
                  <a:cubicBezTo>
                    <a:pt x="1457" y="491"/>
                    <a:pt x="1457" y="491"/>
                    <a:pt x="1457" y="491"/>
                  </a:cubicBezTo>
                  <a:cubicBezTo>
                    <a:pt x="1457" y="491"/>
                    <a:pt x="1457" y="491"/>
                    <a:pt x="1457" y="491"/>
                  </a:cubicBezTo>
                  <a:cubicBezTo>
                    <a:pt x="1457" y="491"/>
                    <a:pt x="1457" y="491"/>
                    <a:pt x="1457" y="491"/>
                  </a:cubicBezTo>
                  <a:cubicBezTo>
                    <a:pt x="1456" y="492"/>
                    <a:pt x="1456" y="492"/>
                    <a:pt x="1456" y="492"/>
                  </a:cubicBezTo>
                  <a:cubicBezTo>
                    <a:pt x="1456" y="492"/>
                    <a:pt x="1456" y="492"/>
                    <a:pt x="1456" y="492"/>
                  </a:cubicBezTo>
                  <a:cubicBezTo>
                    <a:pt x="1456" y="493"/>
                    <a:pt x="1456" y="493"/>
                    <a:pt x="1456" y="493"/>
                  </a:cubicBezTo>
                  <a:cubicBezTo>
                    <a:pt x="1456" y="493"/>
                    <a:pt x="1456" y="493"/>
                    <a:pt x="1456" y="493"/>
                  </a:cubicBezTo>
                  <a:cubicBezTo>
                    <a:pt x="1455" y="494"/>
                    <a:pt x="1455" y="494"/>
                    <a:pt x="1455" y="494"/>
                  </a:cubicBezTo>
                  <a:cubicBezTo>
                    <a:pt x="1455" y="494"/>
                    <a:pt x="1455" y="494"/>
                    <a:pt x="1455" y="494"/>
                  </a:cubicBezTo>
                  <a:cubicBezTo>
                    <a:pt x="1455" y="495"/>
                    <a:pt x="1455" y="495"/>
                    <a:pt x="1455" y="495"/>
                  </a:cubicBezTo>
                  <a:cubicBezTo>
                    <a:pt x="1455" y="495"/>
                    <a:pt x="1455" y="495"/>
                    <a:pt x="1455" y="495"/>
                  </a:cubicBezTo>
                  <a:cubicBezTo>
                    <a:pt x="1454" y="495"/>
                    <a:pt x="1454" y="495"/>
                    <a:pt x="1454" y="495"/>
                  </a:cubicBezTo>
                  <a:cubicBezTo>
                    <a:pt x="1454" y="495"/>
                    <a:pt x="1454" y="495"/>
                    <a:pt x="1454" y="495"/>
                  </a:cubicBezTo>
                  <a:cubicBezTo>
                    <a:pt x="1454" y="495"/>
                    <a:pt x="1454" y="495"/>
                    <a:pt x="1454" y="495"/>
                  </a:cubicBezTo>
                  <a:cubicBezTo>
                    <a:pt x="1454" y="495"/>
                    <a:pt x="1454" y="495"/>
                    <a:pt x="1454" y="495"/>
                  </a:cubicBezTo>
                  <a:cubicBezTo>
                    <a:pt x="1454" y="495"/>
                    <a:pt x="1454" y="495"/>
                    <a:pt x="1454" y="495"/>
                  </a:cubicBezTo>
                  <a:cubicBezTo>
                    <a:pt x="1454" y="495"/>
                    <a:pt x="1454" y="495"/>
                    <a:pt x="1454" y="495"/>
                  </a:cubicBezTo>
                  <a:cubicBezTo>
                    <a:pt x="1453" y="496"/>
                    <a:pt x="1453" y="496"/>
                    <a:pt x="1453" y="496"/>
                  </a:cubicBezTo>
                  <a:cubicBezTo>
                    <a:pt x="1453" y="496"/>
                    <a:pt x="1453" y="496"/>
                    <a:pt x="1453" y="496"/>
                  </a:cubicBezTo>
                  <a:cubicBezTo>
                    <a:pt x="1453" y="496"/>
                    <a:pt x="1453" y="496"/>
                    <a:pt x="1453" y="496"/>
                  </a:cubicBezTo>
                  <a:cubicBezTo>
                    <a:pt x="1453" y="496"/>
                    <a:pt x="1453" y="496"/>
                    <a:pt x="1453" y="496"/>
                  </a:cubicBezTo>
                  <a:cubicBezTo>
                    <a:pt x="1453" y="497"/>
                    <a:pt x="1453" y="497"/>
                    <a:pt x="1453" y="497"/>
                  </a:cubicBezTo>
                  <a:cubicBezTo>
                    <a:pt x="1453" y="497"/>
                    <a:pt x="1453" y="497"/>
                    <a:pt x="1453" y="497"/>
                  </a:cubicBezTo>
                  <a:cubicBezTo>
                    <a:pt x="1452" y="498"/>
                    <a:pt x="1452" y="500"/>
                    <a:pt x="1451" y="501"/>
                  </a:cubicBezTo>
                  <a:cubicBezTo>
                    <a:pt x="1451" y="501"/>
                    <a:pt x="1451" y="501"/>
                    <a:pt x="1451" y="501"/>
                  </a:cubicBezTo>
                  <a:cubicBezTo>
                    <a:pt x="1450" y="501"/>
                    <a:pt x="1450" y="501"/>
                    <a:pt x="1450" y="501"/>
                  </a:cubicBezTo>
                  <a:cubicBezTo>
                    <a:pt x="1450" y="501"/>
                    <a:pt x="1450" y="501"/>
                    <a:pt x="1450" y="501"/>
                  </a:cubicBezTo>
                  <a:cubicBezTo>
                    <a:pt x="1451" y="500"/>
                    <a:pt x="1451" y="500"/>
                    <a:pt x="1451" y="500"/>
                  </a:cubicBezTo>
                  <a:cubicBezTo>
                    <a:pt x="1450" y="500"/>
                    <a:pt x="1450" y="500"/>
                    <a:pt x="1450" y="500"/>
                  </a:cubicBezTo>
                  <a:cubicBezTo>
                    <a:pt x="1450" y="500"/>
                    <a:pt x="1450" y="500"/>
                    <a:pt x="1450" y="500"/>
                  </a:cubicBezTo>
                  <a:cubicBezTo>
                    <a:pt x="1450" y="500"/>
                    <a:pt x="1450" y="500"/>
                    <a:pt x="1450" y="500"/>
                  </a:cubicBezTo>
                  <a:cubicBezTo>
                    <a:pt x="1450" y="500"/>
                    <a:pt x="1450" y="500"/>
                    <a:pt x="1450" y="500"/>
                  </a:cubicBezTo>
                  <a:cubicBezTo>
                    <a:pt x="1450" y="500"/>
                    <a:pt x="1450" y="500"/>
                    <a:pt x="1450" y="500"/>
                  </a:cubicBezTo>
                  <a:cubicBezTo>
                    <a:pt x="1449" y="500"/>
                    <a:pt x="1449" y="500"/>
                    <a:pt x="1449" y="500"/>
                  </a:cubicBezTo>
                  <a:cubicBezTo>
                    <a:pt x="1449" y="500"/>
                    <a:pt x="1449" y="500"/>
                    <a:pt x="1449" y="500"/>
                  </a:cubicBezTo>
                  <a:cubicBezTo>
                    <a:pt x="1449" y="500"/>
                    <a:pt x="1449" y="500"/>
                    <a:pt x="1449" y="500"/>
                  </a:cubicBezTo>
                  <a:cubicBezTo>
                    <a:pt x="1449" y="500"/>
                    <a:pt x="1449" y="501"/>
                    <a:pt x="1448" y="501"/>
                  </a:cubicBezTo>
                  <a:cubicBezTo>
                    <a:pt x="1448" y="501"/>
                    <a:pt x="1448" y="501"/>
                    <a:pt x="1448" y="501"/>
                  </a:cubicBezTo>
                  <a:cubicBezTo>
                    <a:pt x="1448" y="501"/>
                    <a:pt x="1448" y="501"/>
                    <a:pt x="1448" y="501"/>
                  </a:cubicBezTo>
                  <a:cubicBezTo>
                    <a:pt x="1448" y="501"/>
                    <a:pt x="1448" y="501"/>
                    <a:pt x="1448" y="501"/>
                  </a:cubicBezTo>
                  <a:cubicBezTo>
                    <a:pt x="1448" y="501"/>
                    <a:pt x="1448" y="501"/>
                    <a:pt x="1448" y="501"/>
                  </a:cubicBezTo>
                  <a:cubicBezTo>
                    <a:pt x="1448" y="501"/>
                    <a:pt x="1448" y="501"/>
                    <a:pt x="1448" y="501"/>
                  </a:cubicBezTo>
                  <a:cubicBezTo>
                    <a:pt x="1448" y="501"/>
                    <a:pt x="1448" y="501"/>
                    <a:pt x="1448" y="501"/>
                  </a:cubicBezTo>
                  <a:cubicBezTo>
                    <a:pt x="1448" y="501"/>
                    <a:pt x="1448" y="501"/>
                    <a:pt x="1448" y="501"/>
                  </a:cubicBezTo>
                  <a:cubicBezTo>
                    <a:pt x="1447" y="501"/>
                    <a:pt x="1447" y="501"/>
                    <a:pt x="1447" y="501"/>
                  </a:cubicBezTo>
                  <a:cubicBezTo>
                    <a:pt x="1447" y="501"/>
                    <a:pt x="1447" y="501"/>
                    <a:pt x="1447" y="501"/>
                  </a:cubicBezTo>
                  <a:cubicBezTo>
                    <a:pt x="1447" y="500"/>
                    <a:pt x="1447" y="500"/>
                    <a:pt x="1447" y="500"/>
                  </a:cubicBezTo>
                  <a:cubicBezTo>
                    <a:pt x="1447" y="500"/>
                    <a:pt x="1447" y="500"/>
                    <a:pt x="1447" y="500"/>
                  </a:cubicBezTo>
                  <a:cubicBezTo>
                    <a:pt x="1447" y="500"/>
                    <a:pt x="1446" y="500"/>
                    <a:pt x="1446" y="500"/>
                  </a:cubicBezTo>
                  <a:cubicBezTo>
                    <a:pt x="1446" y="500"/>
                    <a:pt x="1446" y="500"/>
                    <a:pt x="1446" y="500"/>
                  </a:cubicBezTo>
                  <a:cubicBezTo>
                    <a:pt x="1446" y="500"/>
                    <a:pt x="1446" y="500"/>
                    <a:pt x="1446" y="500"/>
                  </a:cubicBezTo>
                  <a:cubicBezTo>
                    <a:pt x="1446" y="500"/>
                    <a:pt x="1446" y="500"/>
                    <a:pt x="1446" y="500"/>
                  </a:cubicBezTo>
                  <a:cubicBezTo>
                    <a:pt x="1446" y="501"/>
                    <a:pt x="1446" y="501"/>
                    <a:pt x="1446" y="501"/>
                  </a:cubicBezTo>
                  <a:cubicBezTo>
                    <a:pt x="1447" y="503"/>
                    <a:pt x="1447" y="503"/>
                    <a:pt x="1447" y="503"/>
                  </a:cubicBezTo>
                  <a:cubicBezTo>
                    <a:pt x="1448" y="505"/>
                    <a:pt x="1448" y="504"/>
                    <a:pt x="1448" y="506"/>
                  </a:cubicBezTo>
                  <a:cubicBezTo>
                    <a:pt x="1447" y="506"/>
                    <a:pt x="1447" y="506"/>
                    <a:pt x="1447" y="506"/>
                  </a:cubicBezTo>
                  <a:cubicBezTo>
                    <a:pt x="1447" y="507"/>
                    <a:pt x="1447" y="507"/>
                    <a:pt x="1447" y="507"/>
                  </a:cubicBezTo>
                  <a:cubicBezTo>
                    <a:pt x="1448" y="509"/>
                    <a:pt x="1448" y="508"/>
                    <a:pt x="1448" y="510"/>
                  </a:cubicBezTo>
                  <a:cubicBezTo>
                    <a:pt x="1448" y="511"/>
                    <a:pt x="1448" y="511"/>
                    <a:pt x="1448" y="511"/>
                  </a:cubicBezTo>
                  <a:cubicBezTo>
                    <a:pt x="1448" y="512"/>
                    <a:pt x="1448" y="512"/>
                    <a:pt x="1448" y="512"/>
                  </a:cubicBezTo>
                  <a:cubicBezTo>
                    <a:pt x="1448" y="512"/>
                    <a:pt x="1448" y="512"/>
                    <a:pt x="1448" y="512"/>
                  </a:cubicBezTo>
                  <a:cubicBezTo>
                    <a:pt x="1448" y="512"/>
                    <a:pt x="1448" y="512"/>
                    <a:pt x="1448" y="512"/>
                  </a:cubicBezTo>
                  <a:cubicBezTo>
                    <a:pt x="1449" y="512"/>
                    <a:pt x="1448" y="513"/>
                    <a:pt x="1449" y="513"/>
                  </a:cubicBezTo>
                  <a:cubicBezTo>
                    <a:pt x="1449" y="513"/>
                    <a:pt x="1449" y="513"/>
                    <a:pt x="1449" y="513"/>
                  </a:cubicBezTo>
                  <a:cubicBezTo>
                    <a:pt x="1449" y="513"/>
                    <a:pt x="1449" y="513"/>
                    <a:pt x="1449" y="513"/>
                  </a:cubicBezTo>
                  <a:cubicBezTo>
                    <a:pt x="1450" y="514"/>
                    <a:pt x="1450" y="514"/>
                    <a:pt x="1450" y="514"/>
                  </a:cubicBezTo>
                  <a:cubicBezTo>
                    <a:pt x="1451" y="514"/>
                    <a:pt x="1451" y="514"/>
                    <a:pt x="1451" y="514"/>
                  </a:cubicBezTo>
                  <a:cubicBezTo>
                    <a:pt x="1451" y="514"/>
                    <a:pt x="1451" y="514"/>
                    <a:pt x="1451" y="514"/>
                  </a:cubicBezTo>
                  <a:cubicBezTo>
                    <a:pt x="1451" y="514"/>
                    <a:pt x="1451" y="514"/>
                    <a:pt x="1451" y="514"/>
                  </a:cubicBezTo>
                  <a:cubicBezTo>
                    <a:pt x="1451" y="514"/>
                    <a:pt x="1451" y="514"/>
                    <a:pt x="1451" y="514"/>
                  </a:cubicBezTo>
                  <a:cubicBezTo>
                    <a:pt x="1451" y="513"/>
                    <a:pt x="1450" y="513"/>
                    <a:pt x="1449" y="512"/>
                  </a:cubicBezTo>
                  <a:cubicBezTo>
                    <a:pt x="1449" y="512"/>
                    <a:pt x="1449" y="512"/>
                    <a:pt x="1449" y="512"/>
                  </a:cubicBezTo>
                  <a:cubicBezTo>
                    <a:pt x="1449" y="512"/>
                    <a:pt x="1449" y="512"/>
                    <a:pt x="1449" y="512"/>
                  </a:cubicBezTo>
                  <a:cubicBezTo>
                    <a:pt x="1450" y="512"/>
                    <a:pt x="1450" y="512"/>
                    <a:pt x="1450" y="512"/>
                  </a:cubicBezTo>
                  <a:cubicBezTo>
                    <a:pt x="1451" y="512"/>
                    <a:pt x="1451" y="512"/>
                    <a:pt x="1451" y="512"/>
                  </a:cubicBezTo>
                  <a:cubicBezTo>
                    <a:pt x="1451" y="513"/>
                    <a:pt x="1451" y="513"/>
                    <a:pt x="1451" y="513"/>
                  </a:cubicBezTo>
                  <a:cubicBezTo>
                    <a:pt x="1451" y="513"/>
                    <a:pt x="1451" y="513"/>
                    <a:pt x="1451" y="513"/>
                  </a:cubicBezTo>
                  <a:cubicBezTo>
                    <a:pt x="1451" y="513"/>
                    <a:pt x="1451" y="513"/>
                    <a:pt x="1451" y="513"/>
                  </a:cubicBezTo>
                  <a:cubicBezTo>
                    <a:pt x="1453" y="514"/>
                    <a:pt x="1452" y="515"/>
                    <a:pt x="1454" y="515"/>
                  </a:cubicBezTo>
                  <a:cubicBezTo>
                    <a:pt x="1454" y="516"/>
                    <a:pt x="1454" y="516"/>
                    <a:pt x="1454" y="516"/>
                  </a:cubicBezTo>
                  <a:cubicBezTo>
                    <a:pt x="1454" y="516"/>
                    <a:pt x="1454" y="516"/>
                    <a:pt x="1454" y="516"/>
                  </a:cubicBezTo>
                  <a:cubicBezTo>
                    <a:pt x="1454" y="516"/>
                    <a:pt x="1454" y="516"/>
                    <a:pt x="1454" y="516"/>
                  </a:cubicBezTo>
                  <a:cubicBezTo>
                    <a:pt x="1454" y="516"/>
                    <a:pt x="1455" y="516"/>
                    <a:pt x="1455" y="516"/>
                  </a:cubicBezTo>
                  <a:cubicBezTo>
                    <a:pt x="1455" y="516"/>
                    <a:pt x="1455" y="516"/>
                    <a:pt x="1455" y="516"/>
                  </a:cubicBezTo>
                  <a:cubicBezTo>
                    <a:pt x="1455" y="517"/>
                    <a:pt x="1455" y="517"/>
                    <a:pt x="1455" y="517"/>
                  </a:cubicBezTo>
                  <a:cubicBezTo>
                    <a:pt x="1456" y="517"/>
                    <a:pt x="1456" y="517"/>
                    <a:pt x="1456" y="517"/>
                  </a:cubicBezTo>
                  <a:cubicBezTo>
                    <a:pt x="1456" y="517"/>
                    <a:pt x="1456" y="517"/>
                    <a:pt x="1456" y="517"/>
                  </a:cubicBezTo>
                  <a:cubicBezTo>
                    <a:pt x="1456" y="517"/>
                    <a:pt x="1456" y="517"/>
                    <a:pt x="1456" y="517"/>
                  </a:cubicBezTo>
                  <a:cubicBezTo>
                    <a:pt x="1456" y="517"/>
                    <a:pt x="1456" y="517"/>
                    <a:pt x="1456" y="517"/>
                  </a:cubicBezTo>
                  <a:cubicBezTo>
                    <a:pt x="1456" y="517"/>
                    <a:pt x="1456" y="517"/>
                    <a:pt x="1456" y="517"/>
                  </a:cubicBezTo>
                  <a:cubicBezTo>
                    <a:pt x="1456" y="517"/>
                    <a:pt x="1456" y="517"/>
                    <a:pt x="1456" y="517"/>
                  </a:cubicBezTo>
                  <a:cubicBezTo>
                    <a:pt x="1456" y="517"/>
                    <a:pt x="1456" y="517"/>
                    <a:pt x="1456" y="517"/>
                  </a:cubicBezTo>
                  <a:cubicBezTo>
                    <a:pt x="1456" y="517"/>
                    <a:pt x="1456" y="517"/>
                    <a:pt x="1456" y="517"/>
                  </a:cubicBezTo>
                  <a:cubicBezTo>
                    <a:pt x="1456" y="517"/>
                    <a:pt x="1456" y="517"/>
                    <a:pt x="1456" y="517"/>
                  </a:cubicBezTo>
                  <a:cubicBezTo>
                    <a:pt x="1457" y="517"/>
                    <a:pt x="1457" y="517"/>
                    <a:pt x="1457" y="517"/>
                  </a:cubicBezTo>
                  <a:cubicBezTo>
                    <a:pt x="1457" y="517"/>
                    <a:pt x="1457" y="517"/>
                    <a:pt x="1457" y="517"/>
                  </a:cubicBezTo>
                  <a:cubicBezTo>
                    <a:pt x="1457" y="517"/>
                    <a:pt x="1457" y="517"/>
                    <a:pt x="1457" y="517"/>
                  </a:cubicBezTo>
                  <a:cubicBezTo>
                    <a:pt x="1457" y="517"/>
                    <a:pt x="1457" y="517"/>
                    <a:pt x="1457" y="517"/>
                  </a:cubicBezTo>
                  <a:cubicBezTo>
                    <a:pt x="1457" y="517"/>
                    <a:pt x="1457" y="517"/>
                    <a:pt x="1457" y="517"/>
                  </a:cubicBezTo>
                  <a:cubicBezTo>
                    <a:pt x="1457" y="517"/>
                    <a:pt x="1457" y="517"/>
                    <a:pt x="1457" y="518"/>
                  </a:cubicBezTo>
                  <a:cubicBezTo>
                    <a:pt x="1457" y="518"/>
                    <a:pt x="1457" y="518"/>
                    <a:pt x="1457" y="518"/>
                  </a:cubicBezTo>
                  <a:cubicBezTo>
                    <a:pt x="1457" y="518"/>
                    <a:pt x="1457" y="518"/>
                    <a:pt x="1457" y="518"/>
                  </a:cubicBezTo>
                  <a:cubicBezTo>
                    <a:pt x="1458" y="518"/>
                    <a:pt x="1458" y="518"/>
                    <a:pt x="1458" y="518"/>
                  </a:cubicBezTo>
                  <a:cubicBezTo>
                    <a:pt x="1458" y="518"/>
                    <a:pt x="1458" y="518"/>
                    <a:pt x="1458" y="518"/>
                  </a:cubicBezTo>
                  <a:cubicBezTo>
                    <a:pt x="1459" y="519"/>
                    <a:pt x="1459" y="519"/>
                    <a:pt x="1459" y="519"/>
                  </a:cubicBezTo>
                  <a:cubicBezTo>
                    <a:pt x="1459" y="519"/>
                    <a:pt x="1459" y="519"/>
                    <a:pt x="1459" y="519"/>
                  </a:cubicBezTo>
                  <a:cubicBezTo>
                    <a:pt x="1459" y="519"/>
                    <a:pt x="1459" y="519"/>
                    <a:pt x="1459" y="519"/>
                  </a:cubicBezTo>
                  <a:cubicBezTo>
                    <a:pt x="1459" y="520"/>
                    <a:pt x="1459" y="520"/>
                    <a:pt x="1459" y="520"/>
                  </a:cubicBezTo>
                  <a:cubicBezTo>
                    <a:pt x="1459" y="520"/>
                    <a:pt x="1459" y="520"/>
                    <a:pt x="1459" y="520"/>
                  </a:cubicBezTo>
                  <a:cubicBezTo>
                    <a:pt x="1459" y="520"/>
                    <a:pt x="1459" y="520"/>
                    <a:pt x="1459" y="520"/>
                  </a:cubicBezTo>
                  <a:cubicBezTo>
                    <a:pt x="1459" y="520"/>
                    <a:pt x="1459" y="520"/>
                    <a:pt x="1459" y="520"/>
                  </a:cubicBezTo>
                  <a:cubicBezTo>
                    <a:pt x="1459" y="520"/>
                    <a:pt x="1459" y="520"/>
                    <a:pt x="1459" y="520"/>
                  </a:cubicBezTo>
                  <a:cubicBezTo>
                    <a:pt x="1459" y="520"/>
                    <a:pt x="1459" y="520"/>
                    <a:pt x="1459" y="520"/>
                  </a:cubicBezTo>
                  <a:cubicBezTo>
                    <a:pt x="1460" y="520"/>
                    <a:pt x="1460" y="520"/>
                    <a:pt x="1460" y="520"/>
                  </a:cubicBezTo>
                  <a:cubicBezTo>
                    <a:pt x="1460" y="520"/>
                    <a:pt x="1460" y="520"/>
                    <a:pt x="1460" y="520"/>
                  </a:cubicBezTo>
                  <a:cubicBezTo>
                    <a:pt x="1460" y="520"/>
                    <a:pt x="1460" y="520"/>
                    <a:pt x="1460" y="520"/>
                  </a:cubicBezTo>
                  <a:cubicBezTo>
                    <a:pt x="1460" y="521"/>
                    <a:pt x="1461" y="521"/>
                    <a:pt x="1461" y="521"/>
                  </a:cubicBezTo>
                  <a:cubicBezTo>
                    <a:pt x="1461" y="521"/>
                    <a:pt x="1461" y="521"/>
                    <a:pt x="1461" y="521"/>
                  </a:cubicBezTo>
                  <a:cubicBezTo>
                    <a:pt x="1462" y="521"/>
                    <a:pt x="1462" y="521"/>
                    <a:pt x="1462" y="521"/>
                  </a:cubicBezTo>
                  <a:cubicBezTo>
                    <a:pt x="1462" y="521"/>
                    <a:pt x="1462" y="521"/>
                    <a:pt x="1462" y="521"/>
                  </a:cubicBezTo>
                  <a:cubicBezTo>
                    <a:pt x="1462" y="521"/>
                    <a:pt x="1462" y="521"/>
                    <a:pt x="1462" y="521"/>
                  </a:cubicBezTo>
                  <a:cubicBezTo>
                    <a:pt x="1462" y="521"/>
                    <a:pt x="1462" y="521"/>
                    <a:pt x="1462" y="521"/>
                  </a:cubicBezTo>
                  <a:cubicBezTo>
                    <a:pt x="1462" y="521"/>
                    <a:pt x="1462" y="521"/>
                    <a:pt x="1462" y="521"/>
                  </a:cubicBezTo>
                  <a:cubicBezTo>
                    <a:pt x="1463" y="521"/>
                    <a:pt x="1463" y="521"/>
                    <a:pt x="1463" y="521"/>
                  </a:cubicBezTo>
                  <a:cubicBezTo>
                    <a:pt x="1464" y="522"/>
                    <a:pt x="1465" y="523"/>
                    <a:pt x="1466" y="523"/>
                  </a:cubicBezTo>
                  <a:cubicBezTo>
                    <a:pt x="1467" y="523"/>
                    <a:pt x="1467" y="523"/>
                    <a:pt x="1467" y="523"/>
                  </a:cubicBezTo>
                  <a:cubicBezTo>
                    <a:pt x="1467" y="523"/>
                    <a:pt x="1467" y="523"/>
                    <a:pt x="1467" y="523"/>
                  </a:cubicBezTo>
                  <a:cubicBezTo>
                    <a:pt x="1469" y="523"/>
                    <a:pt x="1469" y="525"/>
                    <a:pt x="1470" y="525"/>
                  </a:cubicBezTo>
                  <a:cubicBezTo>
                    <a:pt x="1470" y="525"/>
                    <a:pt x="1470" y="525"/>
                    <a:pt x="1470" y="525"/>
                  </a:cubicBezTo>
                  <a:cubicBezTo>
                    <a:pt x="1470" y="525"/>
                    <a:pt x="1470" y="525"/>
                    <a:pt x="1470" y="525"/>
                  </a:cubicBezTo>
                  <a:cubicBezTo>
                    <a:pt x="1471" y="525"/>
                    <a:pt x="1471" y="525"/>
                    <a:pt x="1471" y="525"/>
                  </a:cubicBezTo>
                  <a:cubicBezTo>
                    <a:pt x="1471" y="525"/>
                    <a:pt x="1471" y="525"/>
                    <a:pt x="1471" y="525"/>
                  </a:cubicBezTo>
                  <a:cubicBezTo>
                    <a:pt x="1471" y="525"/>
                    <a:pt x="1471" y="525"/>
                    <a:pt x="1471" y="525"/>
                  </a:cubicBezTo>
                  <a:cubicBezTo>
                    <a:pt x="1471" y="526"/>
                    <a:pt x="1472" y="526"/>
                    <a:pt x="1472" y="527"/>
                  </a:cubicBezTo>
                  <a:cubicBezTo>
                    <a:pt x="1472" y="527"/>
                    <a:pt x="1472" y="527"/>
                    <a:pt x="1472" y="527"/>
                  </a:cubicBezTo>
                  <a:cubicBezTo>
                    <a:pt x="1472" y="527"/>
                    <a:pt x="1472" y="527"/>
                    <a:pt x="1472" y="527"/>
                  </a:cubicBezTo>
                  <a:cubicBezTo>
                    <a:pt x="1472" y="528"/>
                    <a:pt x="1472" y="528"/>
                    <a:pt x="1472" y="528"/>
                  </a:cubicBezTo>
                  <a:cubicBezTo>
                    <a:pt x="1472" y="528"/>
                    <a:pt x="1472" y="528"/>
                    <a:pt x="1472" y="528"/>
                  </a:cubicBezTo>
                  <a:cubicBezTo>
                    <a:pt x="1472" y="528"/>
                    <a:pt x="1472" y="528"/>
                    <a:pt x="1472" y="528"/>
                  </a:cubicBezTo>
                  <a:cubicBezTo>
                    <a:pt x="1473" y="528"/>
                    <a:pt x="1473" y="528"/>
                    <a:pt x="1473" y="528"/>
                  </a:cubicBezTo>
                  <a:cubicBezTo>
                    <a:pt x="1473" y="528"/>
                    <a:pt x="1473" y="528"/>
                    <a:pt x="1473" y="528"/>
                  </a:cubicBezTo>
                  <a:cubicBezTo>
                    <a:pt x="1473" y="528"/>
                    <a:pt x="1473" y="528"/>
                    <a:pt x="1473" y="528"/>
                  </a:cubicBezTo>
                  <a:cubicBezTo>
                    <a:pt x="1473" y="528"/>
                    <a:pt x="1473" y="528"/>
                    <a:pt x="1473" y="528"/>
                  </a:cubicBezTo>
                  <a:cubicBezTo>
                    <a:pt x="1473" y="528"/>
                    <a:pt x="1473" y="528"/>
                    <a:pt x="1473" y="528"/>
                  </a:cubicBezTo>
                  <a:cubicBezTo>
                    <a:pt x="1473" y="528"/>
                    <a:pt x="1473" y="528"/>
                    <a:pt x="1473" y="528"/>
                  </a:cubicBezTo>
                  <a:cubicBezTo>
                    <a:pt x="1473" y="528"/>
                    <a:pt x="1473" y="528"/>
                    <a:pt x="1473" y="528"/>
                  </a:cubicBezTo>
                  <a:cubicBezTo>
                    <a:pt x="1473" y="528"/>
                    <a:pt x="1473" y="528"/>
                    <a:pt x="1473" y="528"/>
                  </a:cubicBezTo>
                  <a:cubicBezTo>
                    <a:pt x="1473" y="528"/>
                    <a:pt x="1473" y="528"/>
                    <a:pt x="1473" y="528"/>
                  </a:cubicBezTo>
                  <a:cubicBezTo>
                    <a:pt x="1474" y="529"/>
                    <a:pt x="1474" y="529"/>
                    <a:pt x="1474" y="529"/>
                  </a:cubicBezTo>
                  <a:cubicBezTo>
                    <a:pt x="1475" y="529"/>
                    <a:pt x="1475" y="529"/>
                    <a:pt x="1475" y="529"/>
                  </a:cubicBezTo>
                  <a:cubicBezTo>
                    <a:pt x="1475" y="529"/>
                    <a:pt x="1475" y="529"/>
                    <a:pt x="1475" y="529"/>
                  </a:cubicBezTo>
                  <a:cubicBezTo>
                    <a:pt x="1475" y="530"/>
                    <a:pt x="1476" y="530"/>
                    <a:pt x="1476" y="530"/>
                  </a:cubicBezTo>
                  <a:cubicBezTo>
                    <a:pt x="1476" y="530"/>
                    <a:pt x="1476" y="530"/>
                    <a:pt x="1476" y="530"/>
                  </a:cubicBezTo>
                  <a:cubicBezTo>
                    <a:pt x="1477" y="530"/>
                    <a:pt x="1477" y="530"/>
                    <a:pt x="1477" y="530"/>
                  </a:cubicBezTo>
                  <a:cubicBezTo>
                    <a:pt x="1477" y="530"/>
                    <a:pt x="1477" y="530"/>
                    <a:pt x="1477" y="530"/>
                  </a:cubicBezTo>
                  <a:cubicBezTo>
                    <a:pt x="1477" y="531"/>
                    <a:pt x="1477" y="531"/>
                    <a:pt x="1477" y="531"/>
                  </a:cubicBezTo>
                  <a:cubicBezTo>
                    <a:pt x="1477" y="531"/>
                    <a:pt x="1477" y="531"/>
                    <a:pt x="1477" y="531"/>
                  </a:cubicBezTo>
                  <a:cubicBezTo>
                    <a:pt x="1477" y="531"/>
                    <a:pt x="1477" y="531"/>
                    <a:pt x="1477" y="531"/>
                  </a:cubicBezTo>
                  <a:cubicBezTo>
                    <a:pt x="1477" y="531"/>
                    <a:pt x="1477" y="531"/>
                    <a:pt x="1477" y="531"/>
                  </a:cubicBezTo>
                  <a:cubicBezTo>
                    <a:pt x="1478" y="531"/>
                    <a:pt x="1478" y="531"/>
                    <a:pt x="1478" y="531"/>
                  </a:cubicBezTo>
                  <a:cubicBezTo>
                    <a:pt x="1478" y="531"/>
                    <a:pt x="1478" y="531"/>
                    <a:pt x="1478" y="531"/>
                  </a:cubicBezTo>
                  <a:cubicBezTo>
                    <a:pt x="1478" y="531"/>
                    <a:pt x="1478" y="531"/>
                    <a:pt x="1478" y="531"/>
                  </a:cubicBezTo>
                  <a:cubicBezTo>
                    <a:pt x="1478" y="531"/>
                    <a:pt x="1478" y="531"/>
                    <a:pt x="1478" y="531"/>
                  </a:cubicBezTo>
                  <a:cubicBezTo>
                    <a:pt x="1478" y="531"/>
                    <a:pt x="1478" y="531"/>
                    <a:pt x="1478" y="531"/>
                  </a:cubicBezTo>
                  <a:cubicBezTo>
                    <a:pt x="1478" y="532"/>
                    <a:pt x="1478" y="532"/>
                    <a:pt x="1478" y="532"/>
                  </a:cubicBezTo>
                  <a:cubicBezTo>
                    <a:pt x="1478" y="532"/>
                    <a:pt x="1478" y="532"/>
                    <a:pt x="1478" y="532"/>
                  </a:cubicBezTo>
                  <a:cubicBezTo>
                    <a:pt x="1479" y="532"/>
                    <a:pt x="1479" y="532"/>
                    <a:pt x="1479" y="532"/>
                  </a:cubicBezTo>
                  <a:cubicBezTo>
                    <a:pt x="1479" y="532"/>
                    <a:pt x="1479" y="532"/>
                    <a:pt x="1479" y="532"/>
                  </a:cubicBezTo>
                  <a:cubicBezTo>
                    <a:pt x="1479" y="532"/>
                    <a:pt x="1479" y="532"/>
                    <a:pt x="1479" y="532"/>
                  </a:cubicBezTo>
                  <a:cubicBezTo>
                    <a:pt x="1479" y="532"/>
                    <a:pt x="1479" y="532"/>
                    <a:pt x="1479" y="532"/>
                  </a:cubicBezTo>
                  <a:cubicBezTo>
                    <a:pt x="1479" y="532"/>
                    <a:pt x="1479" y="532"/>
                    <a:pt x="1479" y="532"/>
                  </a:cubicBezTo>
                  <a:cubicBezTo>
                    <a:pt x="1479" y="533"/>
                    <a:pt x="1479" y="533"/>
                    <a:pt x="1479" y="533"/>
                  </a:cubicBezTo>
                  <a:cubicBezTo>
                    <a:pt x="1479" y="533"/>
                    <a:pt x="1479" y="533"/>
                    <a:pt x="1479" y="533"/>
                  </a:cubicBezTo>
                  <a:cubicBezTo>
                    <a:pt x="1479" y="534"/>
                    <a:pt x="1479" y="534"/>
                    <a:pt x="1479" y="534"/>
                  </a:cubicBezTo>
                  <a:cubicBezTo>
                    <a:pt x="1479" y="534"/>
                    <a:pt x="1479" y="534"/>
                    <a:pt x="1479" y="534"/>
                  </a:cubicBezTo>
                  <a:cubicBezTo>
                    <a:pt x="1480" y="534"/>
                    <a:pt x="1480" y="534"/>
                    <a:pt x="1480" y="534"/>
                  </a:cubicBezTo>
                  <a:cubicBezTo>
                    <a:pt x="1480" y="534"/>
                    <a:pt x="1480" y="534"/>
                    <a:pt x="1480" y="534"/>
                  </a:cubicBezTo>
                  <a:cubicBezTo>
                    <a:pt x="1481" y="535"/>
                    <a:pt x="1481" y="535"/>
                    <a:pt x="1481" y="535"/>
                  </a:cubicBezTo>
                  <a:cubicBezTo>
                    <a:pt x="1481" y="535"/>
                    <a:pt x="1481" y="535"/>
                    <a:pt x="1481" y="535"/>
                  </a:cubicBezTo>
                  <a:cubicBezTo>
                    <a:pt x="1481" y="535"/>
                    <a:pt x="1481" y="535"/>
                    <a:pt x="1481" y="536"/>
                  </a:cubicBezTo>
                  <a:cubicBezTo>
                    <a:pt x="1481" y="536"/>
                    <a:pt x="1481" y="536"/>
                    <a:pt x="1481" y="536"/>
                  </a:cubicBezTo>
                  <a:cubicBezTo>
                    <a:pt x="1481" y="536"/>
                    <a:pt x="1481" y="536"/>
                    <a:pt x="1481" y="536"/>
                  </a:cubicBezTo>
                  <a:cubicBezTo>
                    <a:pt x="1481" y="536"/>
                    <a:pt x="1481" y="536"/>
                    <a:pt x="1481" y="536"/>
                  </a:cubicBezTo>
                  <a:cubicBezTo>
                    <a:pt x="1482" y="536"/>
                    <a:pt x="1482" y="536"/>
                    <a:pt x="1482" y="536"/>
                  </a:cubicBezTo>
                  <a:cubicBezTo>
                    <a:pt x="1482" y="537"/>
                    <a:pt x="1482" y="537"/>
                    <a:pt x="1482" y="537"/>
                  </a:cubicBezTo>
                  <a:cubicBezTo>
                    <a:pt x="1482" y="538"/>
                    <a:pt x="1483" y="538"/>
                    <a:pt x="1483" y="539"/>
                  </a:cubicBezTo>
                  <a:cubicBezTo>
                    <a:pt x="1483" y="539"/>
                    <a:pt x="1483" y="539"/>
                    <a:pt x="1483" y="539"/>
                  </a:cubicBezTo>
                  <a:cubicBezTo>
                    <a:pt x="1483" y="539"/>
                    <a:pt x="1483" y="539"/>
                    <a:pt x="1483" y="539"/>
                  </a:cubicBezTo>
                  <a:cubicBezTo>
                    <a:pt x="1484" y="540"/>
                    <a:pt x="1485" y="541"/>
                    <a:pt x="1485" y="542"/>
                  </a:cubicBezTo>
                  <a:cubicBezTo>
                    <a:pt x="1485" y="542"/>
                    <a:pt x="1485" y="542"/>
                    <a:pt x="1485" y="542"/>
                  </a:cubicBezTo>
                  <a:cubicBezTo>
                    <a:pt x="1486" y="542"/>
                    <a:pt x="1486" y="542"/>
                    <a:pt x="1486" y="542"/>
                  </a:cubicBezTo>
                  <a:cubicBezTo>
                    <a:pt x="1486" y="542"/>
                    <a:pt x="1486" y="542"/>
                    <a:pt x="1486" y="542"/>
                  </a:cubicBezTo>
                  <a:cubicBezTo>
                    <a:pt x="1486" y="542"/>
                    <a:pt x="1486" y="542"/>
                    <a:pt x="1486" y="542"/>
                  </a:cubicBezTo>
                  <a:cubicBezTo>
                    <a:pt x="1486" y="543"/>
                    <a:pt x="1486" y="543"/>
                    <a:pt x="1486" y="543"/>
                  </a:cubicBezTo>
                  <a:cubicBezTo>
                    <a:pt x="1486" y="543"/>
                    <a:pt x="1486" y="543"/>
                    <a:pt x="1486" y="543"/>
                  </a:cubicBezTo>
                  <a:cubicBezTo>
                    <a:pt x="1487" y="545"/>
                    <a:pt x="1486" y="544"/>
                    <a:pt x="1487" y="546"/>
                  </a:cubicBezTo>
                  <a:cubicBezTo>
                    <a:pt x="1487" y="547"/>
                    <a:pt x="1487" y="547"/>
                    <a:pt x="1487" y="547"/>
                  </a:cubicBezTo>
                  <a:cubicBezTo>
                    <a:pt x="1487" y="547"/>
                    <a:pt x="1487" y="547"/>
                    <a:pt x="1487" y="547"/>
                  </a:cubicBezTo>
                  <a:cubicBezTo>
                    <a:pt x="1488" y="548"/>
                    <a:pt x="1488" y="548"/>
                    <a:pt x="1488" y="550"/>
                  </a:cubicBezTo>
                  <a:cubicBezTo>
                    <a:pt x="1488" y="550"/>
                    <a:pt x="1488" y="550"/>
                    <a:pt x="1488" y="550"/>
                  </a:cubicBezTo>
                  <a:cubicBezTo>
                    <a:pt x="1488" y="550"/>
                    <a:pt x="1488" y="550"/>
                    <a:pt x="1488" y="550"/>
                  </a:cubicBezTo>
                  <a:cubicBezTo>
                    <a:pt x="1488" y="550"/>
                    <a:pt x="1488" y="550"/>
                    <a:pt x="1488" y="550"/>
                  </a:cubicBezTo>
                  <a:cubicBezTo>
                    <a:pt x="1489" y="550"/>
                    <a:pt x="1489" y="550"/>
                    <a:pt x="1489" y="550"/>
                  </a:cubicBezTo>
                  <a:cubicBezTo>
                    <a:pt x="1489" y="550"/>
                    <a:pt x="1489" y="550"/>
                    <a:pt x="1489" y="550"/>
                  </a:cubicBezTo>
                  <a:cubicBezTo>
                    <a:pt x="1489" y="551"/>
                    <a:pt x="1489" y="550"/>
                    <a:pt x="1489" y="551"/>
                  </a:cubicBezTo>
                  <a:cubicBezTo>
                    <a:pt x="1489" y="551"/>
                    <a:pt x="1489" y="551"/>
                    <a:pt x="1489" y="551"/>
                  </a:cubicBezTo>
                  <a:cubicBezTo>
                    <a:pt x="1489" y="551"/>
                    <a:pt x="1489" y="551"/>
                    <a:pt x="1489" y="551"/>
                  </a:cubicBezTo>
                  <a:cubicBezTo>
                    <a:pt x="1489" y="552"/>
                    <a:pt x="1490" y="552"/>
                    <a:pt x="1490" y="553"/>
                  </a:cubicBezTo>
                  <a:cubicBezTo>
                    <a:pt x="1490" y="553"/>
                    <a:pt x="1490" y="553"/>
                    <a:pt x="1490" y="553"/>
                  </a:cubicBezTo>
                  <a:cubicBezTo>
                    <a:pt x="1490" y="553"/>
                    <a:pt x="1490" y="553"/>
                    <a:pt x="1490" y="553"/>
                  </a:cubicBezTo>
                  <a:cubicBezTo>
                    <a:pt x="1490" y="553"/>
                    <a:pt x="1490" y="553"/>
                    <a:pt x="1490" y="553"/>
                  </a:cubicBezTo>
                  <a:cubicBezTo>
                    <a:pt x="1490" y="553"/>
                    <a:pt x="1490" y="553"/>
                    <a:pt x="1490" y="553"/>
                  </a:cubicBezTo>
                  <a:cubicBezTo>
                    <a:pt x="1490" y="554"/>
                    <a:pt x="1491" y="554"/>
                    <a:pt x="1491" y="554"/>
                  </a:cubicBezTo>
                  <a:cubicBezTo>
                    <a:pt x="1491" y="555"/>
                    <a:pt x="1491" y="555"/>
                    <a:pt x="1491" y="555"/>
                  </a:cubicBezTo>
                  <a:cubicBezTo>
                    <a:pt x="1491" y="555"/>
                    <a:pt x="1491" y="555"/>
                    <a:pt x="1491" y="555"/>
                  </a:cubicBezTo>
                  <a:cubicBezTo>
                    <a:pt x="1491" y="555"/>
                    <a:pt x="1491" y="555"/>
                    <a:pt x="1491" y="556"/>
                  </a:cubicBezTo>
                  <a:cubicBezTo>
                    <a:pt x="1491" y="556"/>
                    <a:pt x="1491" y="556"/>
                    <a:pt x="1491" y="556"/>
                  </a:cubicBezTo>
                  <a:cubicBezTo>
                    <a:pt x="1491" y="556"/>
                    <a:pt x="1491" y="556"/>
                    <a:pt x="1491" y="556"/>
                  </a:cubicBezTo>
                  <a:cubicBezTo>
                    <a:pt x="1491" y="556"/>
                    <a:pt x="1491" y="556"/>
                    <a:pt x="1491" y="556"/>
                  </a:cubicBezTo>
                  <a:cubicBezTo>
                    <a:pt x="1491" y="556"/>
                    <a:pt x="1491" y="556"/>
                    <a:pt x="1491" y="556"/>
                  </a:cubicBezTo>
                  <a:cubicBezTo>
                    <a:pt x="1491" y="556"/>
                    <a:pt x="1491" y="556"/>
                    <a:pt x="1491" y="556"/>
                  </a:cubicBezTo>
                  <a:cubicBezTo>
                    <a:pt x="1491" y="557"/>
                    <a:pt x="1491" y="557"/>
                    <a:pt x="1491" y="557"/>
                  </a:cubicBezTo>
                  <a:cubicBezTo>
                    <a:pt x="1491" y="557"/>
                    <a:pt x="1491" y="557"/>
                    <a:pt x="1491" y="557"/>
                  </a:cubicBezTo>
                  <a:cubicBezTo>
                    <a:pt x="1492" y="557"/>
                    <a:pt x="1492" y="557"/>
                    <a:pt x="1492" y="557"/>
                  </a:cubicBezTo>
                  <a:cubicBezTo>
                    <a:pt x="1492" y="557"/>
                    <a:pt x="1492" y="557"/>
                    <a:pt x="1492" y="557"/>
                  </a:cubicBezTo>
                  <a:cubicBezTo>
                    <a:pt x="1492" y="557"/>
                    <a:pt x="1492" y="557"/>
                    <a:pt x="1492" y="557"/>
                  </a:cubicBezTo>
                  <a:cubicBezTo>
                    <a:pt x="1492" y="557"/>
                    <a:pt x="1492" y="557"/>
                    <a:pt x="1492" y="557"/>
                  </a:cubicBezTo>
                  <a:cubicBezTo>
                    <a:pt x="1492" y="559"/>
                    <a:pt x="1493" y="559"/>
                    <a:pt x="1492" y="560"/>
                  </a:cubicBezTo>
                  <a:cubicBezTo>
                    <a:pt x="1492" y="561"/>
                    <a:pt x="1492" y="561"/>
                    <a:pt x="1492" y="561"/>
                  </a:cubicBezTo>
                  <a:cubicBezTo>
                    <a:pt x="1492" y="561"/>
                    <a:pt x="1492" y="561"/>
                    <a:pt x="1492" y="561"/>
                  </a:cubicBezTo>
                  <a:cubicBezTo>
                    <a:pt x="1492" y="561"/>
                    <a:pt x="1492" y="561"/>
                    <a:pt x="1492" y="561"/>
                  </a:cubicBezTo>
                  <a:cubicBezTo>
                    <a:pt x="1492" y="561"/>
                    <a:pt x="1493" y="562"/>
                    <a:pt x="1493" y="562"/>
                  </a:cubicBezTo>
                  <a:cubicBezTo>
                    <a:pt x="1493" y="562"/>
                    <a:pt x="1493" y="562"/>
                    <a:pt x="1493" y="562"/>
                  </a:cubicBezTo>
                  <a:cubicBezTo>
                    <a:pt x="1493" y="562"/>
                    <a:pt x="1493" y="562"/>
                    <a:pt x="1493" y="562"/>
                  </a:cubicBezTo>
                  <a:cubicBezTo>
                    <a:pt x="1493" y="563"/>
                    <a:pt x="1493" y="564"/>
                    <a:pt x="1493" y="565"/>
                  </a:cubicBezTo>
                  <a:cubicBezTo>
                    <a:pt x="1492" y="565"/>
                    <a:pt x="1492" y="565"/>
                    <a:pt x="1492" y="565"/>
                  </a:cubicBezTo>
                  <a:cubicBezTo>
                    <a:pt x="1492" y="565"/>
                    <a:pt x="1492" y="565"/>
                    <a:pt x="1492" y="565"/>
                  </a:cubicBezTo>
                  <a:cubicBezTo>
                    <a:pt x="1492" y="566"/>
                    <a:pt x="1492" y="566"/>
                    <a:pt x="1492" y="566"/>
                  </a:cubicBezTo>
                  <a:cubicBezTo>
                    <a:pt x="1493" y="568"/>
                    <a:pt x="1493" y="570"/>
                    <a:pt x="1493" y="572"/>
                  </a:cubicBezTo>
                  <a:cubicBezTo>
                    <a:pt x="1493" y="572"/>
                    <a:pt x="1493" y="572"/>
                    <a:pt x="1493" y="572"/>
                  </a:cubicBezTo>
                  <a:cubicBezTo>
                    <a:pt x="1493" y="572"/>
                    <a:pt x="1493" y="572"/>
                    <a:pt x="1493" y="572"/>
                  </a:cubicBezTo>
                  <a:cubicBezTo>
                    <a:pt x="1493" y="572"/>
                    <a:pt x="1493" y="572"/>
                    <a:pt x="1493" y="572"/>
                  </a:cubicBezTo>
                  <a:cubicBezTo>
                    <a:pt x="1494" y="572"/>
                    <a:pt x="1494" y="572"/>
                    <a:pt x="1494" y="572"/>
                  </a:cubicBezTo>
                  <a:cubicBezTo>
                    <a:pt x="1494" y="575"/>
                    <a:pt x="1493" y="577"/>
                    <a:pt x="1493" y="580"/>
                  </a:cubicBezTo>
                  <a:cubicBezTo>
                    <a:pt x="1493" y="580"/>
                    <a:pt x="1493" y="580"/>
                    <a:pt x="1493" y="580"/>
                  </a:cubicBezTo>
                  <a:cubicBezTo>
                    <a:pt x="1493" y="580"/>
                    <a:pt x="1493" y="580"/>
                    <a:pt x="1493" y="580"/>
                  </a:cubicBezTo>
                  <a:cubicBezTo>
                    <a:pt x="1493" y="580"/>
                    <a:pt x="1493" y="580"/>
                    <a:pt x="1493" y="580"/>
                  </a:cubicBezTo>
                  <a:cubicBezTo>
                    <a:pt x="1493" y="582"/>
                    <a:pt x="1493" y="582"/>
                    <a:pt x="1493" y="584"/>
                  </a:cubicBezTo>
                  <a:cubicBezTo>
                    <a:pt x="1493" y="584"/>
                    <a:pt x="1493" y="584"/>
                    <a:pt x="1493" y="584"/>
                  </a:cubicBezTo>
                  <a:cubicBezTo>
                    <a:pt x="1493" y="584"/>
                    <a:pt x="1493" y="584"/>
                    <a:pt x="1493" y="584"/>
                  </a:cubicBezTo>
                  <a:cubicBezTo>
                    <a:pt x="1493" y="586"/>
                    <a:pt x="1493" y="587"/>
                    <a:pt x="1493" y="589"/>
                  </a:cubicBezTo>
                  <a:cubicBezTo>
                    <a:pt x="1493" y="589"/>
                    <a:pt x="1493" y="589"/>
                    <a:pt x="1493" y="589"/>
                  </a:cubicBezTo>
                  <a:cubicBezTo>
                    <a:pt x="1492" y="590"/>
                    <a:pt x="1492" y="590"/>
                    <a:pt x="1492" y="590"/>
                  </a:cubicBezTo>
                  <a:cubicBezTo>
                    <a:pt x="1491" y="593"/>
                    <a:pt x="1491" y="593"/>
                    <a:pt x="1491" y="593"/>
                  </a:cubicBezTo>
                  <a:cubicBezTo>
                    <a:pt x="1491" y="594"/>
                    <a:pt x="1491" y="594"/>
                    <a:pt x="1491" y="594"/>
                  </a:cubicBezTo>
                  <a:cubicBezTo>
                    <a:pt x="1491" y="595"/>
                    <a:pt x="1491" y="595"/>
                    <a:pt x="1491" y="595"/>
                  </a:cubicBezTo>
                  <a:cubicBezTo>
                    <a:pt x="1491" y="595"/>
                    <a:pt x="1491" y="595"/>
                    <a:pt x="1491" y="595"/>
                  </a:cubicBezTo>
                  <a:cubicBezTo>
                    <a:pt x="1491" y="595"/>
                    <a:pt x="1491" y="595"/>
                    <a:pt x="1491" y="595"/>
                  </a:cubicBezTo>
                  <a:cubicBezTo>
                    <a:pt x="1491" y="595"/>
                    <a:pt x="1491" y="595"/>
                    <a:pt x="1491" y="595"/>
                  </a:cubicBezTo>
                  <a:cubicBezTo>
                    <a:pt x="1491" y="595"/>
                    <a:pt x="1491" y="595"/>
                    <a:pt x="1491" y="595"/>
                  </a:cubicBezTo>
                  <a:cubicBezTo>
                    <a:pt x="1491" y="595"/>
                    <a:pt x="1490" y="596"/>
                    <a:pt x="1490" y="596"/>
                  </a:cubicBezTo>
                  <a:cubicBezTo>
                    <a:pt x="1490" y="596"/>
                    <a:pt x="1490" y="596"/>
                    <a:pt x="1490" y="596"/>
                  </a:cubicBezTo>
                  <a:cubicBezTo>
                    <a:pt x="1490" y="596"/>
                    <a:pt x="1490" y="596"/>
                    <a:pt x="1490" y="596"/>
                  </a:cubicBezTo>
                  <a:cubicBezTo>
                    <a:pt x="1490" y="597"/>
                    <a:pt x="1490" y="597"/>
                    <a:pt x="1490" y="598"/>
                  </a:cubicBezTo>
                  <a:cubicBezTo>
                    <a:pt x="1490" y="598"/>
                    <a:pt x="1490" y="598"/>
                    <a:pt x="1490" y="598"/>
                  </a:cubicBezTo>
                  <a:cubicBezTo>
                    <a:pt x="1489" y="598"/>
                    <a:pt x="1489" y="598"/>
                    <a:pt x="1489" y="598"/>
                  </a:cubicBezTo>
                  <a:cubicBezTo>
                    <a:pt x="1489" y="598"/>
                    <a:pt x="1489" y="598"/>
                    <a:pt x="1489" y="598"/>
                  </a:cubicBezTo>
                  <a:cubicBezTo>
                    <a:pt x="1489" y="598"/>
                    <a:pt x="1489" y="598"/>
                    <a:pt x="1489" y="598"/>
                  </a:cubicBezTo>
                  <a:cubicBezTo>
                    <a:pt x="1489" y="599"/>
                    <a:pt x="1488" y="599"/>
                    <a:pt x="1487" y="600"/>
                  </a:cubicBezTo>
                  <a:cubicBezTo>
                    <a:pt x="1486" y="600"/>
                    <a:pt x="1486" y="600"/>
                    <a:pt x="1486" y="600"/>
                  </a:cubicBezTo>
                  <a:cubicBezTo>
                    <a:pt x="1486" y="601"/>
                    <a:pt x="1486" y="601"/>
                    <a:pt x="1486" y="601"/>
                  </a:cubicBezTo>
                  <a:cubicBezTo>
                    <a:pt x="1486" y="601"/>
                    <a:pt x="1485" y="602"/>
                    <a:pt x="1485" y="602"/>
                  </a:cubicBezTo>
                  <a:cubicBezTo>
                    <a:pt x="1485" y="602"/>
                    <a:pt x="1485" y="602"/>
                    <a:pt x="1485" y="602"/>
                  </a:cubicBezTo>
                  <a:cubicBezTo>
                    <a:pt x="1484" y="602"/>
                    <a:pt x="1484" y="602"/>
                    <a:pt x="1484" y="602"/>
                  </a:cubicBezTo>
                  <a:cubicBezTo>
                    <a:pt x="1484" y="603"/>
                    <a:pt x="1484" y="603"/>
                    <a:pt x="1484" y="603"/>
                  </a:cubicBezTo>
                  <a:cubicBezTo>
                    <a:pt x="1484" y="603"/>
                    <a:pt x="1484" y="603"/>
                    <a:pt x="1484" y="603"/>
                  </a:cubicBezTo>
                  <a:cubicBezTo>
                    <a:pt x="1482" y="604"/>
                    <a:pt x="1481" y="607"/>
                    <a:pt x="1479" y="608"/>
                  </a:cubicBezTo>
                  <a:cubicBezTo>
                    <a:pt x="1478" y="609"/>
                    <a:pt x="1478" y="609"/>
                    <a:pt x="1478" y="609"/>
                  </a:cubicBezTo>
                  <a:cubicBezTo>
                    <a:pt x="1478" y="609"/>
                    <a:pt x="1478" y="609"/>
                    <a:pt x="1478" y="609"/>
                  </a:cubicBezTo>
                  <a:cubicBezTo>
                    <a:pt x="1478" y="609"/>
                    <a:pt x="1478" y="609"/>
                    <a:pt x="1478" y="609"/>
                  </a:cubicBezTo>
                  <a:cubicBezTo>
                    <a:pt x="1478" y="609"/>
                    <a:pt x="1478" y="609"/>
                    <a:pt x="1478" y="609"/>
                  </a:cubicBezTo>
                  <a:cubicBezTo>
                    <a:pt x="1478" y="609"/>
                    <a:pt x="1478" y="609"/>
                    <a:pt x="1478" y="609"/>
                  </a:cubicBezTo>
                  <a:cubicBezTo>
                    <a:pt x="1478" y="610"/>
                    <a:pt x="1481" y="607"/>
                    <a:pt x="1480" y="609"/>
                  </a:cubicBezTo>
                  <a:cubicBezTo>
                    <a:pt x="1480" y="609"/>
                    <a:pt x="1480" y="609"/>
                    <a:pt x="1480" y="609"/>
                  </a:cubicBezTo>
                  <a:cubicBezTo>
                    <a:pt x="1480" y="609"/>
                    <a:pt x="1480" y="609"/>
                    <a:pt x="1480" y="609"/>
                  </a:cubicBezTo>
                  <a:cubicBezTo>
                    <a:pt x="1479" y="610"/>
                    <a:pt x="1478" y="610"/>
                    <a:pt x="1478" y="611"/>
                  </a:cubicBezTo>
                  <a:cubicBezTo>
                    <a:pt x="1477" y="612"/>
                    <a:pt x="1477" y="612"/>
                    <a:pt x="1477" y="612"/>
                  </a:cubicBezTo>
                  <a:cubicBezTo>
                    <a:pt x="1477" y="612"/>
                    <a:pt x="1477" y="612"/>
                    <a:pt x="1477" y="612"/>
                  </a:cubicBezTo>
                  <a:cubicBezTo>
                    <a:pt x="1477" y="612"/>
                    <a:pt x="1477" y="612"/>
                    <a:pt x="1477" y="612"/>
                  </a:cubicBezTo>
                  <a:cubicBezTo>
                    <a:pt x="1477" y="612"/>
                    <a:pt x="1477" y="612"/>
                    <a:pt x="1477" y="612"/>
                  </a:cubicBezTo>
                  <a:cubicBezTo>
                    <a:pt x="1477" y="612"/>
                    <a:pt x="1477" y="612"/>
                    <a:pt x="1477" y="612"/>
                  </a:cubicBezTo>
                  <a:cubicBezTo>
                    <a:pt x="1476" y="613"/>
                    <a:pt x="1475" y="614"/>
                    <a:pt x="1474" y="615"/>
                  </a:cubicBezTo>
                  <a:cubicBezTo>
                    <a:pt x="1473" y="615"/>
                    <a:pt x="1473" y="615"/>
                    <a:pt x="1473" y="615"/>
                  </a:cubicBezTo>
                  <a:cubicBezTo>
                    <a:pt x="1473" y="615"/>
                    <a:pt x="1473" y="615"/>
                    <a:pt x="1473" y="615"/>
                  </a:cubicBezTo>
                  <a:cubicBezTo>
                    <a:pt x="1473" y="615"/>
                    <a:pt x="1472" y="616"/>
                    <a:pt x="1472" y="616"/>
                  </a:cubicBezTo>
                  <a:cubicBezTo>
                    <a:pt x="1472" y="616"/>
                    <a:pt x="1472" y="616"/>
                    <a:pt x="1472" y="616"/>
                  </a:cubicBezTo>
                  <a:cubicBezTo>
                    <a:pt x="1472" y="616"/>
                    <a:pt x="1472" y="616"/>
                    <a:pt x="1472" y="616"/>
                  </a:cubicBezTo>
                  <a:cubicBezTo>
                    <a:pt x="1472" y="616"/>
                    <a:pt x="1472" y="616"/>
                    <a:pt x="1472" y="616"/>
                  </a:cubicBezTo>
                  <a:cubicBezTo>
                    <a:pt x="1470" y="618"/>
                    <a:pt x="1465" y="621"/>
                    <a:pt x="1464" y="622"/>
                  </a:cubicBezTo>
                  <a:cubicBezTo>
                    <a:pt x="1464" y="622"/>
                    <a:pt x="1464" y="622"/>
                    <a:pt x="1464" y="622"/>
                  </a:cubicBezTo>
                  <a:cubicBezTo>
                    <a:pt x="1464" y="622"/>
                    <a:pt x="1464" y="622"/>
                    <a:pt x="1464" y="622"/>
                  </a:cubicBezTo>
                  <a:cubicBezTo>
                    <a:pt x="1464" y="622"/>
                    <a:pt x="1464" y="622"/>
                    <a:pt x="1464" y="622"/>
                  </a:cubicBezTo>
                  <a:cubicBezTo>
                    <a:pt x="1464" y="623"/>
                    <a:pt x="1464" y="623"/>
                    <a:pt x="1464" y="623"/>
                  </a:cubicBezTo>
                  <a:cubicBezTo>
                    <a:pt x="1464" y="623"/>
                    <a:pt x="1464" y="623"/>
                    <a:pt x="1464" y="623"/>
                  </a:cubicBezTo>
                  <a:cubicBezTo>
                    <a:pt x="1418" y="642"/>
                    <a:pt x="1418" y="642"/>
                    <a:pt x="1418" y="642"/>
                  </a:cubicBezTo>
                  <a:cubicBezTo>
                    <a:pt x="1420" y="642"/>
                    <a:pt x="1420" y="642"/>
                    <a:pt x="1420" y="642"/>
                  </a:cubicBezTo>
                  <a:cubicBezTo>
                    <a:pt x="1420" y="642"/>
                    <a:pt x="1420" y="642"/>
                    <a:pt x="1420" y="642"/>
                  </a:cubicBezTo>
                  <a:cubicBezTo>
                    <a:pt x="1421" y="643"/>
                    <a:pt x="1421" y="643"/>
                    <a:pt x="1421" y="643"/>
                  </a:cubicBezTo>
                  <a:cubicBezTo>
                    <a:pt x="1421" y="643"/>
                    <a:pt x="1421" y="643"/>
                    <a:pt x="1421" y="643"/>
                  </a:cubicBezTo>
                  <a:cubicBezTo>
                    <a:pt x="1421" y="643"/>
                    <a:pt x="1421" y="643"/>
                    <a:pt x="1421" y="643"/>
                  </a:cubicBezTo>
                  <a:cubicBezTo>
                    <a:pt x="1421" y="643"/>
                    <a:pt x="1421" y="643"/>
                    <a:pt x="1421" y="643"/>
                  </a:cubicBezTo>
                  <a:cubicBezTo>
                    <a:pt x="1421" y="643"/>
                    <a:pt x="1421" y="643"/>
                    <a:pt x="1421" y="643"/>
                  </a:cubicBezTo>
                  <a:cubicBezTo>
                    <a:pt x="1421" y="643"/>
                    <a:pt x="1421" y="643"/>
                    <a:pt x="1421" y="643"/>
                  </a:cubicBezTo>
                  <a:cubicBezTo>
                    <a:pt x="1422" y="643"/>
                    <a:pt x="1422" y="643"/>
                    <a:pt x="1422" y="643"/>
                  </a:cubicBezTo>
                  <a:cubicBezTo>
                    <a:pt x="1422" y="643"/>
                    <a:pt x="1422" y="643"/>
                    <a:pt x="1422" y="643"/>
                  </a:cubicBezTo>
                  <a:cubicBezTo>
                    <a:pt x="1422" y="643"/>
                    <a:pt x="1422" y="643"/>
                    <a:pt x="1422" y="643"/>
                  </a:cubicBezTo>
                  <a:cubicBezTo>
                    <a:pt x="1422" y="643"/>
                    <a:pt x="1422" y="643"/>
                    <a:pt x="1422" y="643"/>
                  </a:cubicBezTo>
                  <a:cubicBezTo>
                    <a:pt x="1422" y="643"/>
                    <a:pt x="1422" y="643"/>
                    <a:pt x="1422" y="643"/>
                  </a:cubicBezTo>
                  <a:cubicBezTo>
                    <a:pt x="1422" y="644"/>
                    <a:pt x="1422" y="644"/>
                    <a:pt x="1422" y="644"/>
                  </a:cubicBezTo>
                  <a:cubicBezTo>
                    <a:pt x="1422" y="644"/>
                    <a:pt x="1422" y="644"/>
                    <a:pt x="1422" y="644"/>
                  </a:cubicBezTo>
                  <a:cubicBezTo>
                    <a:pt x="1422" y="644"/>
                    <a:pt x="1422" y="644"/>
                    <a:pt x="1422" y="644"/>
                  </a:cubicBezTo>
                  <a:cubicBezTo>
                    <a:pt x="1422" y="644"/>
                    <a:pt x="1422" y="644"/>
                    <a:pt x="1422" y="644"/>
                  </a:cubicBezTo>
                  <a:cubicBezTo>
                    <a:pt x="1423" y="644"/>
                    <a:pt x="1423" y="644"/>
                    <a:pt x="1423" y="644"/>
                  </a:cubicBezTo>
                  <a:cubicBezTo>
                    <a:pt x="1423" y="644"/>
                    <a:pt x="1423" y="644"/>
                    <a:pt x="1423" y="644"/>
                  </a:cubicBezTo>
                  <a:cubicBezTo>
                    <a:pt x="1423" y="644"/>
                    <a:pt x="1423" y="644"/>
                    <a:pt x="1423" y="644"/>
                  </a:cubicBezTo>
                  <a:cubicBezTo>
                    <a:pt x="1423" y="644"/>
                    <a:pt x="1423" y="644"/>
                    <a:pt x="1423" y="644"/>
                  </a:cubicBezTo>
                  <a:cubicBezTo>
                    <a:pt x="1423" y="644"/>
                    <a:pt x="1423" y="644"/>
                    <a:pt x="1423" y="644"/>
                  </a:cubicBezTo>
                  <a:cubicBezTo>
                    <a:pt x="1423" y="644"/>
                    <a:pt x="1423" y="644"/>
                    <a:pt x="1423" y="644"/>
                  </a:cubicBezTo>
                  <a:cubicBezTo>
                    <a:pt x="1423" y="645"/>
                    <a:pt x="1423" y="645"/>
                    <a:pt x="1423" y="645"/>
                  </a:cubicBezTo>
                  <a:cubicBezTo>
                    <a:pt x="1424" y="645"/>
                    <a:pt x="1424" y="645"/>
                    <a:pt x="1424" y="645"/>
                  </a:cubicBezTo>
                  <a:cubicBezTo>
                    <a:pt x="1424" y="647"/>
                    <a:pt x="1424" y="647"/>
                    <a:pt x="1424" y="647"/>
                  </a:cubicBezTo>
                  <a:cubicBezTo>
                    <a:pt x="1424" y="648"/>
                    <a:pt x="1424" y="648"/>
                    <a:pt x="1424" y="648"/>
                  </a:cubicBezTo>
                  <a:cubicBezTo>
                    <a:pt x="1424" y="648"/>
                    <a:pt x="1424" y="648"/>
                    <a:pt x="1424" y="648"/>
                  </a:cubicBezTo>
                  <a:cubicBezTo>
                    <a:pt x="1425" y="649"/>
                    <a:pt x="1424" y="649"/>
                    <a:pt x="1425" y="650"/>
                  </a:cubicBezTo>
                  <a:cubicBezTo>
                    <a:pt x="1425" y="651"/>
                    <a:pt x="1425" y="651"/>
                    <a:pt x="1425" y="651"/>
                  </a:cubicBezTo>
                  <a:cubicBezTo>
                    <a:pt x="1426" y="653"/>
                    <a:pt x="1426" y="653"/>
                    <a:pt x="1426" y="653"/>
                  </a:cubicBezTo>
                  <a:cubicBezTo>
                    <a:pt x="1426" y="653"/>
                    <a:pt x="1426" y="653"/>
                    <a:pt x="1426" y="653"/>
                  </a:cubicBezTo>
                  <a:cubicBezTo>
                    <a:pt x="1426" y="654"/>
                    <a:pt x="1426" y="654"/>
                    <a:pt x="1426" y="654"/>
                  </a:cubicBezTo>
                  <a:cubicBezTo>
                    <a:pt x="1426" y="655"/>
                    <a:pt x="1426" y="655"/>
                    <a:pt x="1427" y="655"/>
                  </a:cubicBezTo>
                  <a:cubicBezTo>
                    <a:pt x="1427" y="655"/>
                    <a:pt x="1427" y="655"/>
                    <a:pt x="1427" y="655"/>
                  </a:cubicBezTo>
                  <a:cubicBezTo>
                    <a:pt x="1427" y="655"/>
                    <a:pt x="1427" y="655"/>
                    <a:pt x="1427" y="655"/>
                  </a:cubicBezTo>
                  <a:cubicBezTo>
                    <a:pt x="1429" y="655"/>
                    <a:pt x="1429" y="655"/>
                    <a:pt x="1429" y="656"/>
                  </a:cubicBezTo>
                  <a:cubicBezTo>
                    <a:pt x="1429" y="657"/>
                    <a:pt x="1429" y="657"/>
                    <a:pt x="1429" y="657"/>
                  </a:cubicBezTo>
                  <a:cubicBezTo>
                    <a:pt x="1429" y="658"/>
                    <a:pt x="1429" y="658"/>
                    <a:pt x="1429" y="658"/>
                  </a:cubicBezTo>
                  <a:cubicBezTo>
                    <a:pt x="1430" y="658"/>
                    <a:pt x="1430" y="658"/>
                    <a:pt x="1430" y="658"/>
                  </a:cubicBezTo>
                  <a:cubicBezTo>
                    <a:pt x="1430" y="658"/>
                    <a:pt x="1430" y="658"/>
                    <a:pt x="1430" y="658"/>
                  </a:cubicBezTo>
                  <a:cubicBezTo>
                    <a:pt x="1430" y="658"/>
                    <a:pt x="1430" y="658"/>
                    <a:pt x="1430" y="658"/>
                  </a:cubicBezTo>
                  <a:cubicBezTo>
                    <a:pt x="1430" y="658"/>
                    <a:pt x="1430" y="658"/>
                    <a:pt x="1430" y="658"/>
                  </a:cubicBezTo>
                  <a:cubicBezTo>
                    <a:pt x="1430" y="658"/>
                    <a:pt x="1430" y="658"/>
                    <a:pt x="1430" y="658"/>
                  </a:cubicBezTo>
                  <a:cubicBezTo>
                    <a:pt x="1430" y="658"/>
                    <a:pt x="1430" y="658"/>
                    <a:pt x="1430" y="658"/>
                  </a:cubicBezTo>
                  <a:cubicBezTo>
                    <a:pt x="1431" y="658"/>
                    <a:pt x="1431" y="658"/>
                    <a:pt x="1431" y="658"/>
                  </a:cubicBezTo>
                  <a:cubicBezTo>
                    <a:pt x="1431" y="658"/>
                    <a:pt x="1431" y="658"/>
                    <a:pt x="1431" y="658"/>
                  </a:cubicBezTo>
                  <a:cubicBezTo>
                    <a:pt x="1431" y="658"/>
                    <a:pt x="1431" y="658"/>
                    <a:pt x="1431" y="658"/>
                  </a:cubicBezTo>
                  <a:cubicBezTo>
                    <a:pt x="1431" y="658"/>
                    <a:pt x="1431" y="658"/>
                    <a:pt x="1431" y="658"/>
                  </a:cubicBezTo>
                  <a:cubicBezTo>
                    <a:pt x="1431" y="658"/>
                    <a:pt x="1431" y="658"/>
                    <a:pt x="1431" y="658"/>
                  </a:cubicBezTo>
                  <a:cubicBezTo>
                    <a:pt x="1431" y="658"/>
                    <a:pt x="1431" y="658"/>
                    <a:pt x="1431" y="658"/>
                  </a:cubicBezTo>
                  <a:cubicBezTo>
                    <a:pt x="1432" y="658"/>
                    <a:pt x="1432" y="658"/>
                    <a:pt x="1432" y="658"/>
                  </a:cubicBezTo>
                  <a:cubicBezTo>
                    <a:pt x="1432" y="658"/>
                    <a:pt x="1432" y="658"/>
                    <a:pt x="1432" y="658"/>
                  </a:cubicBezTo>
                  <a:cubicBezTo>
                    <a:pt x="1432" y="658"/>
                    <a:pt x="1433" y="658"/>
                    <a:pt x="1434" y="658"/>
                  </a:cubicBezTo>
                  <a:cubicBezTo>
                    <a:pt x="1434" y="658"/>
                    <a:pt x="1434" y="658"/>
                    <a:pt x="1434" y="658"/>
                  </a:cubicBezTo>
                  <a:cubicBezTo>
                    <a:pt x="1434" y="658"/>
                    <a:pt x="1434" y="658"/>
                    <a:pt x="1434" y="658"/>
                  </a:cubicBezTo>
                  <a:cubicBezTo>
                    <a:pt x="1434" y="658"/>
                    <a:pt x="1434" y="658"/>
                    <a:pt x="1434" y="658"/>
                  </a:cubicBezTo>
                  <a:cubicBezTo>
                    <a:pt x="1434" y="658"/>
                    <a:pt x="1434" y="658"/>
                    <a:pt x="1434" y="658"/>
                  </a:cubicBezTo>
                  <a:cubicBezTo>
                    <a:pt x="1432" y="659"/>
                    <a:pt x="1432" y="659"/>
                    <a:pt x="1432" y="659"/>
                  </a:cubicBezTo>
                  <a:cubicBezTo>
                    <a:pt x="1432" y="660"/>
                    <a:pt x="1432" y="660"/>
                    <a:pt x="1432" y="660"/>
                  </a:cubicBezTo>
                  <a:cubicBezTo>
                    <a:pt x="1431" y="660"/>
                    <a:pt x="1431" y="660"/>
                    <a:pt x="1431" y="660"/>
                  </a:cubicBezTo>
                  <a:cubicBezTo>
                    <a:pt x="1431" y="660"/>
                    <a:pt x="1431" y="660"/>
                    <a:pt x="1431" y="660"/>
                  </a:cubicBezTo>
                  <a:cubicBezTo>
                    <a:pt x="1431" y="661"/>
                    <a:pt x="1431" y="661"/>
                    <a:pt x="1431" y="661"/>
                  </a:cubicBezTo>
                  <a:cubicBezTo>
                    <a:pt x="1431" y="661"/>
                    <a:pt x="1431" y="661"/>
                    <a:pt x="1431" y="661"/>
                  </a:cubicBezTo>
                  <a:cubicBezTo>
                    <a:pt x="1430" y="661"/>
                    <a:pt x="1430" y="660"/>
                    <a:pt x="1430" y="660"/>
                  </a:cubicBezTo>
                  <a:cubicBezTo>
                    <a:pt x="1429" y="660"/>
                    <a:pt x="1429" y="660"/>
                    <a:pt x="1429" y="660"/>
                  </a:cubicBezTo>
                  <a:cubicBezTo>
                    <a:pt x="1429" y="660"/>
                    <a:pt x="1429" y="660"/>
                    <a:pt x="1429" y="660"/>
                  </a:cubicBezTo>
                  <a:cubicBezTo>
                    <a:pt x="1429" y="661"/>
                    <a:pt x="1429" y="661"/>
                    <a:pt x="1429" y="661"/>
                  </a:cubicBezTo>
                  <a:cubicBezTo>
                    <a:pt x="1430" y="661"/>
                    <a:pt x="1430" y="661"/>
                    <a:pt x="1430" y="661"/>
                  </a:cubicBezTo>
                  <a:cubicBezTo>
                    <a:pt x="1431" y="661"/>
                    <a:pt x="1431" y="661"/>
                    <a:pt x="1431" y="661"/>
                  </a:cubicBezTo>
                  <a:cubicBezTo>
                    <a:pt x="1431" y="661"/>
                    <a:pt x="1431" y="661"/>
                    <a:pt x="1431" y="661"/>
                  </a:cubicBezTo>
                  <a:cubicBezTo>
                    <a:pt x="1432" y="661"/>
                    <a:pt x="1432" y="661"/>
                    <a:pt x="1432" y="661"/>
                  </a:cubicBezTo>
                  <a:cubicBezTo>
                    <a:pt x="1432" y="661"/>
                    <a:pt x="1432" y="661"/>
                    <a:pt x="1432" y="661"/>
                  </a:cubicBezTo>
                  <a:cubicBezTo>
                    <a:pt x="1432" y="661"/>
                    <a:pt x="1432" y="661"/>
                    <a:pt x="1432" y="661"/>
                  </a:cubicBezTo>
                  <a:cubicBezTo>
                    <a:pt x="1432" y="661"/>
                    <a:pt x="1432" y="661"/>
                    <a:pt x="1432" y="661"/>
                  </a:cubicBezTo>
                  <a:cubicBezTo>
                    <a:pt x="1433" y="661"/>
                    <a:pt x="1433" y="661"/>
                    <a:pt x="1433" y="661"/>
                  </a:cubicBezTo>
                  <a:cubicBezTo>
                    <a:pt x="1433" y="661"/>
                    <a:pt x="1433" y="661"/>
                    <a:pt x="1433" y="661"/>
                  </a:cubicBezTo>
                  <a:cubicBezTo>
                    <a:pt x="1433" y="661"/>
                    <a:pt x="1433" y="661"/>
                    <a:pt x="1433" y="661"/>
                  </a:cubicBezTo>
                  <a:cubicBezTo>
                    <a:pt x="1433" y="661"/>
                    <a:pt x="1434" y="661"/>
                    <a:pt x="1434" y="662"/>
                  </a:cubicBezTo>
                  <a:cubicBezTo>
                    <a:pt x="1434" y="662"/>
                    <a:pt x="1434" y="662"/>
                    <a:pt x="1434" y="662"/>
                  </a:cubicBezTo>
                  <a:cubicBezTo>
                    <a:pt x="1434" y="662"/>
                    <a:pt x="1434" y="662"/>
                    <a:pt x="1434" y="662"/>
                  </a:cubicBezTo>
                  <a:cubicBezTo>
                    <a:pt x="1434" y="662"/>
                    <a:pt x="1434" y="662"/>
                    <a:pt x="1434" y="662"/>
                  </a:cubicBezTo>
                  <a:cubicBezTo>
                    <a:pt x="1434" y="662"/>
                    <a:pt x="1434" y="662"/>
                    <a:pt x="1434" y="662"/>
                  </a:cubicBezTo>
                  <a:cubicBezTo>
                    <a:pt x="1435" y="662"/>
                    <a:pt x="1435" y="662"/>
                    <a:pt x="1435" y="662"/>
                  </a:cubicBezTo>
                  <a:cubicBezTo>
                    <a:pt x="1435" y="662"/>
                    <a:pt x="1435" y="662"/>
                    <a:pt x="1435" y="662"/>
                  </a:cubicBezTo>
                  <a:cubicBezTo>
                    <a:pt x="1435" y="662"/>
                    <a:pt x="1435" y="662"/>
                    <a:pt x="1435" y="662"/>
                  </a:cubicBezTo>
                  <a:cubicBezTo>
                    <a:pt x="1435" y="663"/>
                    <a:pt x="1436" y="663"/>
                    <a:pt x="1436" y="663"/>
                  </a:cubicBezTo>
                  <a:cubicBezTo>
                    <a:pt x="1436" y="663"/>
                    <a:pt x="1436" y="663"/>
                    <a:pt x="1436" y="663"/>
                  </a:cubicBezTo>
                  <a:cubicBezTo>
                    <a:pt x="1436" y="663"/>
                    <a:pt x="1436" y="663"/>
                    <a:pt x="1436" y="663"/>
                  </a:cubicBezTo>
                  <a:cubicBezTo>
                    <a:pt x="1436" y="663"/>
                    <a:pt x="1436" y="663"/>
                    <a:pt x="1436" y="663"/>
                  </a:cubicBezTo>
                  <a:cubicBezTo>
                    <a:pt x="1436" y="663"/>
                    <a:pt x="1436" y="663"/>
                    <a:pt x="1436" y="663"/>
                  </a:cubicBezTo>
                  <a:cubicBezTo>
                    <a:pt x="1436" y="663"/>
                    <a:pt x="1436" y="663"/>
                    <a:pt x="1436" y="663"/>
                  </a:cubicBezTo>
                  <a:cubicBezTo>
                    <a:pt x="1435" y="663"/>
                    <a:pt x="1435" y="663"/>
                    <a:pt x="1435" y="663"/>
                  </a:cubicBezTo>
                  <a:cubicBezTo>
                    <a:pt x="1434" y="663"/>
                    <a:pt x="1434" y="663"/>
                    <a:pt x="1434" y="663"/>
                  </a:cubicBezTo>
                  <a:cubicBezTo>
                    <a:pt x="1434" y="663"/>
                    <a:pt x="1434" y="663"/>
                    <a:pt x="1434" y="663"/>
                  </a:cubicBezTo>
                  <a:cubicBezTo>
                    <a:pt x="1434" y="664"/>
                    <a:pt x="1434" y="664"/>
                    <a:pt x="1434" y="664"/>
                  </a:cubicBezTo>
                  <a:cubicBezTo>
                    <a:pt x="1434" y="664"/>
                    <a:pt x="1434" y="664"/>
                    <a:pt x="1434" y="664"/>
                  </a:cubicBezTo>
                  <a:cubicBezTo>
                    <a:pt x="1434" y="664"/>
                    <a:pt x="1434" y="664"/>
                    <a:pt x="1434" y="664"/>
                  </a:cubicBezTo>
                  <a:cubicBezTo>
                    <a:pt x="1433" y="664"/>
                    <a:pt x="1433" y="664"/>
                    <a:pt x="1433" y="664"/>
                  </a:cubicBezTo>
                  <a:cubicBezTo>
                    <a:pt x="1433" y="665"/>
                    <a:pt x="1433" y="665"/>
                    <a:pt x="1433" y="665"/>
                  </a:cubicBezTo>
                  <a:cubicBezTo>
                    <a:pt x="1433" y="665"/>
                    <a:pt x="1433" y="665"/>
                    <a:pt x="1433" y="665"/>
                  </a:cubicBezTo>
                  <a:cubicBezTo>
                    <a:pt x="1433" y="665"/>
                    <a:pt x="1433" y="665"/>
                    <a:pt x="1433" y="665"/>
                  </a:cubicBezTo>
                  <a:cubicBezTo>
                    <a:pt x="1433" y="665"/>
                    <a:pt x="1433" y="665"/>
                    <a:pt x="1433" y="665"/>
                  </a:cubicBezTo>
                  <a:cubicBezTo>
                    <a:pt x="1434" y="665"/>
                    <a:pt x="1435" y="665"/>
                    <a:pt x="1436" y="666"/>
                  </a:cubicBezTo>
                  <a:cubicBezTo>
                    <a:pt x="1436" y="666"/>
                    <a:pt x="1436" y="666"/>
                    <a:pt x="1436" y="666"/>
                  </a:cubicBezTo>
                  <a:cubicBezTo>
                    <a:pt x="1435" y="666"/>
                    <a:pt x="1435" y="666"/>
                    <a:pt x="1435" y="666"/>
                  </a:cubicBezTo>
                  <a:cubicBezTo>
                    <a:pt x="1435" y="666"/>
                    <a:pt x="1435" y="666"/>
                    <a:pt x="1435" y="666"/>
                  </a:cubicBezTo>
                  <a:cubicBezTo>
                    <a:pt x="1434" y="666"/>
                    <a:pt x="1434" y="666"/>
                    <a:pt x="1434" y="666"/>
                  </a:cubicBezTo>
                  <a:cubicBezTo>
                    <a:pt x="1434" y="667"/>
                    <a:pt x="1434" y="667"/>
                    <a:pt x="1434" y="667"/>
                  </a:cubicBezTo>
                  <a:cubicBezTo>
                    <a:pt x="1435" y="668"/>
                    <a:pt x="1435" y="668"/>
                    <a:pt x="1435" y="668"/>
                  </a:cubicBezTo>
                  <a:cubicBezTo>
                    <a:pt x="1436" y="668"/>
                    <a:pt x="1437" y="668"/>
                    <a:pt x="1438" y="669"/>
                  </a:cubicBezTo>
                  <a:cubicBezTo>
                    <a:pt x="1438" y="669"/>
                    <a:pt x="1438" y="669"/>
                    <a:pt x="1438" y="669"/>
                  </a:cubicBezTo>
                  <a:cubicBezTo>
                    <a:pt x="1438" y="669"/>
                    <a:pt x="1438" y="669"/>
                    <a:pt x="1438" y="669"/>
                  </a:cubicBezTo>
                  <a:cubicBezTo>
                    <a:pt x="1437" y="669"/>
                    <a:pt x="1437" y="669"/>
                    <a:pt x="1437" y="669"/>
                  </a:cubicBezTo>
                  <a:cubicBezTo>
                    <a:pt x="1436" y="669"/>
                    <a:pt x="1436" y="668"/>
                    <a:pt x="1435" y="669"/>
                  </a:cubicBezTo>
                  <a:cubicBezTo>
                    <a:pt x="1435" y="669"/>
                    <a:pt x="1435" y="669"/>
                    <a:pt x="1435" y="669"/>
                  </a:cubicBezTo>
                  <a:cubicBezTo>
                    <a:pt x="1434" y="669"/>
                    <a:pt x="1434" y="669"/>
                    <a:pt x="1434" y="669"/>
                  </a:cubicBezTo>
                  <a:cubicBezTo>
                    <a:pt x="1434" y="670"/>
                    <a:pt x="1434" y="671"/>
                    <a:pt x="1433" y="672"/>
                  </a:cubicBezTo>
                  <a:cubicBezTo>
                    <a:pt x="1433" y="672"/>
                    <a:pt x="1433" y="672"/>
                    <a:pt x="1433" y="672"/>
                  </a:cubicBezTo>
                  <a:cubicBezTo>
                    <a:pt x="1432" y="672"/>
                    <a:pt x="1432" y="672"/>
                    <a:pt x="1432" y="672"/>
                  </a:cubicBezTo>
                  <a:cubicBezTo>
                    <a:pt x="1433" y="673"/>
                    <a:pt x="1433" y="673"/>
                    <a:pt x="1433" y="673"/>
                  </a:cubicBezTo>
                  <a:cubicBezTo>
                    <a:pt x="1435" y="674"/>
                    <a:pt x="1436" y="672"/>
                    <a:pt x="1436" y="676"/>
                  </a:cubicBezTo>
                  <a:cubicBezTo>
                    <a:pt x="1436" y="676"/>
                    <a:pt x="1436" y="676"/>
                    <a:pt x="1436" y="676"/>
                  </a:cubicBezTo>
                  <a:cubicBezTo>
                    <a:pt x="1436" y="676"/>
                    <a:pt x="1436" y="676"/>
                    <a:pt x="1436" y="676"/>
                  </a:cubicBezTo>
                  <a:cubicBezTo>
                    <a:pt x="1436" y="676"/>
                    <a:pt x="1436" y="676"/>
                    <a:pt x="1436" y="676"/>
                  </a:cubicBezTo>
                  <a:cubicBezTo>
                    <a:pt x="1436" y="676"/>
                    <a:pt x="1436" y="676"/>
                    <a:pt x="1436" y="676"/>
                  </a:cubicBezTo>
                  <a:cubicBezTo>
                    <a:pt x="1436" y="676"/>
                    <a:pt x="1436" y="676"/>
                    <a:pt x="1436" y="676"/>
                  </a:cubicBezTo>
                  <a:cubicBezTo>
                    <a:pt x="1436" y="676"/>
                    <a:pt x="1436" y="676"/>
                    <a:pt x="1436" y="676"/>
                  </a:cubicBezTo>
                  <a:cubicBezTo>
                    <a:pt x="1436" y="676"/>
                    <a:pt x="1436" y="676"/>
                    <a:pt x="1436" y="676"/>
                  </a:cubicBezTo>
                  <a:cubicBezTo>
                    <a:pt x="1436" y="676"/>
                    <a:pt x="1436" y="676"/>
                    <a:pt x="1436" y="676"/>
                  </a:cubicBezTo>
                  <a:cubicBezTo>
                    <a:pt x="1437" y="676"/>
                    <a:pt x="1437" y="676"/>
                    <a:pt x="1437" y="676"/>
                  </a:cubicBezTo>
                  <a:cubicBezTo>
                    <a:pt x="1437" y="676"/>
                    <a:pt x="1437" y="676"/>
                    <a:pt x="1437" y="676"/>
                  </a:cubicBezTo>
                  <a:cubicBezTo>
                    <a:pt x="1437" y="676"/>
                    <a:pt x="1437" y="676"/>
                    <a:pt x="1437" y="676"/>
                  </a:cubicBezTo>
                  <a:cubicBezTo>
                    <a:pt x="1437" y="677"/>
                    <a:pt x="1437" y="677"/>
                    <a:pt x="1437" y="677"/>
                  </a:cubicBezTo>
                  <a:cubicBezTo>
                    <a:pt x="1437" y="677"/>
                    <a:pt x="1437" y="677"/>
                    <a:pt x="1437" y="677"/>
                  </a:cubicBezTo>
                  <a:cubicBezTo>
                    <a:pt x="1437" y="677"/>
                    <a:pt x="1437" y="677"/>
                    <a:pt x="1437" y="677"/>
                  </a:cubicBezTo>
                  <a:cubicBezTo>
                    <a:pt x="1437" y="677"/>
                    <a:pt x="1437" y="677"/>
                    <a:pt x="1437" y="677"/>
                  </a:cubicBezTo>
                  <a:cubicBezTo>
                    <a:pt x="1437" y="677"/>
                    <a:pt x="1437" y="677"/>
                    <a:pt x="1437" y="677"/>
                  </a:cubicBezTo>
                  <a:cubicBezTo>
                    <a:pt x="1437" y="677"/>
                    <a:pt x="1437" y="677"/>
                    <a:pt x="1437" y="677"/>
                  </a:cubicBezTo>
                  <a:cubicBezTo>
                    <a:pt x="1436" y="677"/>
                    <a:pt x="1436" y="677"/>
                    <a:pt x="1436" y="677"/>
                  </a:cubicBezTo>
                  <a:cubicBezTo>
                    <a:pt x="1435" y="678"/>
                    <a:pt x="1435" y="678"/>
                    <a:pt x="1435" y="678"/>
                  </a:cubicBezTo>
                  <a:cubicBezTo>
                    <a:pt x="1435" y="678"/>
                    <a:pt x="1435" y="678"/>
                    <a:pt x="1435" y="678"/>
                  </a:cubicBezTo>
                  <a:cubicBezTo>
                    <a:pt x="1435" y="678"/>
                    <a:pt x="1435" y="678"/>
                    <a:pt x="1435" y="678"/>
                  </a:cubicBezTo>
                  <a:cubicBezTo>
                    <a:pt x="1434" y="678"/>
                    <a:pt x="1434" y="678"/>
                    <a:pt x="1434" y="678"/>
                  </a:cubicBezTo>
                  <a:cubicBezTo>
                    <a:pt x="1434" y="678"/>
                    <a:pt x="1434" y="678"/>
                    <a:pt x="1434" y="678"/>
                  </a:cubicBezTo>
                  <a:cubicBezTo>
                    <a:pt x="1434" y="678"/>
                    <a:pt x="1434" y="678"/>
                    <a:pt x="1434" y="678"/>
                  </a:cubicBezTo>
                  <a:cubicBezTo>
                    <a:pt x="1434" y="678"/>
                    <a:pt x="1434" y="678"/>
                    <a:pt x="1434" y="678"/>
                  </a:cubicBezTo>
                  <a:cubicBezTo>
                    <a:pt x="1434" y="679"/>
                    <a:pt x="1434" y="679"/>
                    <a:pt x="1434" y="679"/>
                  </a:cubicBezTo>
                  <a:cubicBezTo>
                    <a:pt x="1434" y="679"/>
                    <a:pt x="1434" y="679"/>
                    <a:pt x="1434" y="679"/>
                  </a:cubicBezTo>
                  <a:cubicBezTo>
                    <a:pt x="1433" y="679"/>
                    <a:pt x="1433" y="679"/>
                    <a:pt x="1433" y="679"/>
                  </a:cubicBezTo>
                  <a:cubicBezTo>
                    <a:pt x="1433" y="679"/>
                    <a:pt x="1433" y="679"/>
                    <a:pt x="1433" y="679"/>
                  </a:cubicBezTo>
                  <a:cubicBezTo>
                    <a:pt x="1433" y="679"/>
                    <a:pt x="1433" y="679"/>
                    <a:pt x="1433" y="679"/>
                  </a:cubicBezTo>
                  <a:cubicBezTo>
                    <a:pt x="1434" y="680"/>
                    <a:pt x="1434" y="680"/>
                    <a:pt x="1434" y="680"/>
                  </a:cubicBezTo>
                  <a:cubicBezTo>
                    <a:pt x="1435" y="680"/>
                    <a:pt x="1435" y="680"/>
                    <a:pt x="1435" y="680"/>
                  </a:cubicBezTo>
                  <a:cubicBezTo>
                    <a:pt x="1436" y="681"/>
                    <a:pt x="1436" y="681"/>
                    <a:pt x="1436" y="682"/>
                  </a:cubicBezTo>
                  <a:cubicBezTo>
                    <a:pt x="1437" y="682"/>
                    <a:pt x="1437" y="682"/>
                    <a:pt x="1437" y="682"/>
                  </a:cubicBezTo>
                  <a:cubicBezTo>
                    <a:pt x="1437" y="682"/>
                    <a:pt x="1437" y="682"/>
                    <a:pt x="1437" y="682"/>
                  </a:cubicBezTo>
                  <a:cubicBezTo>
                    <a:pt x="1437" y="683"/>
                    <a:pt x="1437" y="685"/>
                    <a:pt x="1437" y="686"/>
                  </a:cubicBezTo>
                  <a:cubicBezTo>
                    <a:pt x="1437" y="686"/>
                    <a:pt x="1437" y="686"/>
                    <a:pt x="1437" y="686"/>
                  </a:cubicBezTo>
                  <a:cubicBezTo>
                    <a:pt x="1438" y="686"/>
                    <a:pt x="1438" y="686"/>
                    <a:pt x="1438" y="686"/>
                  </a:cubicBezTo>
                  <a:cubicBezTo>
                    <a:pt x="1438" y="687"/>
                    <a:pt x="1438" y="687"/>
                    <a:pt x="1438" y="687"/>
                  </a:cubicBezTo>
                  <a:cubicBezTo>
                    <a:pt x="1438" y="687"/>
                    <a:pt x="1438" y="687"/>
                    <a:pt x="1438" y="687"/>
                  </a:cubicBezTo>
                  <a:cubicBezTo>
                    <a:pt x="1439" y="687"/>
                    <a:pt x="1437" y="695"/>
                    <a:pt x="1438" y="695"/>
                  </a:cubicBezTo>
                  <a:cubicBezTo>
                    <a:pt x="1438" y="695"/>
                    <a:pt x="1438" y="695"/>
                    <a:pt x="1438" y="695"/>
                  </a:cubicBezTo>
                  <a:cubicBezTo>
                    <a:pt x="1438" y="695"/>
                    <a:pt x="1438" y="695"/>
                    <a:pt x="1438" y="695"/>
                  </a:cubicBezTo>
                  <a:cubicBezTo>
                    <a:pt x="1438" y="695"/>
                    <a:pt x="1438" y="695"/>
                    <a:pt x="1438"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40" y="696"/>
                    <a:pt x="1440" y="696"/>
                    <a:pt x="1440" y="696"/>
                  </a:cubicBezTo>
                  <a:cubicBezTo>
                    <a:pt x="1440" y="696"/>
                    <a:pt x="1440" y="696"/>
                    <a:pt x="1440" y="696"/>
                  </a:cubicBezTo>
                  <a:cubicBezTo>
                    <a:pt x="1440" y="696"/>
                    <a:pt x="1440" y="696"/>
                    <a:pt x="1440" y="696"/>
                  </a:cubicBezTo>
                  <a:cubicBezTo>
                    <a:pt x="1440" y="696"/>
                    <a:pt x="1440" y="696"/>
                    <a:pt x="1440" y="696"/>
                  </a:cubicBezTo>
                  <a:cubicBezTo>
                    <a:pt x="1441" y="696"/>
                    <a:pt x="1441" y="696"/>
                    <a:pt x="1441" y="696"/>
                  </a:cubicBezTo>
                  <a:cubicBezTo>
                    <a:pt x="1441" y="697"/>
                    <a:pt x="1441" y="697"/>
                    <a:pt x="1441" y="697"/>
                  </a:cubicBezTo>
                  <a:cubicBezTo>
                    <a:pt x="1441" y="698"/>
                    <a:pt x="1441" y="698"/>
                    <a:pt x="1441" y="698"/>
                  </a:cubicBezTo>
                  <a:cubicBezTo>
                    <a:pt x="1441" y="699"/>
                    <a:pt x="1441" y="699"/>
                    <a:pt x="1441" y="699"/>
                  </a:cubicBezTo>
                  <a:cubicBezTo>
                    <a:pt x="1441" y="699"/>
                    <a:pt x="1441" y="699"/>
                    <a:pt x="1441" y="699"/>
                  </a:cubicBezTo>
                  <a:cubicBezTo>
                    <a:pt x="1442" y="699"/>
                    <a:pt x="1442" y="699"/>
                    <a:pt x="1442" y="699"/>
                  </a:cubicBezTo>
                  <a:cubicBezTo>
                    <a:pt x="1442" y="699"/>
                    <a:pt x="1442" y="699"/>
                    <a:pt x="1442" y="699"/>
                  </a:cubicBezTo>
                  <a:cubicBezTo>
                    <a:pt x="1443" y="699"/>
                    <a:pt x="1443" y="699"/>
                    <a:pt x="1443" y="699"/>
                  </a:cubicBezTo>
                  <a:cubicBezTo>
                    <a:pt x="1443" y="699"/>
                    <a:pt x="1443" y="699"/>
                    <a:pt x="1443" y="699"/>
                  </a:cubicBezTo>
                  <a:cubicBezTo>
                    <a:pt x="1443" y="701"/>
                    <a:pt x="1443" y="701"/>
                    <a:pt x="1443" y="701"/>
                  </a:cubicBezTo>
                  <a:cubicBezTo>
                    <a:pt x="1442" y="705"/>
                    <a:pt x="1442" y="705"/>
                    <a:pt x="1442" y="705"/>
                  </a:cubicBezTo>
                  <a:cubicBezTo>
                    <a:pt x="1442" y="706"/>
                    <a:pt x="1442" y="706"/>
                    <a:pt x="1442" y="706"/>
                  </a:cubicBezTo>
                  <a:cubicBezTo>
                    <a:pt x="1442" y="707"/>
                    <a:pt x="1442" y="707"/>
                    <a:pt x="1442" y="707"/>
                  </a:cubicBezTo>
                  <a:cubicBezTo>
                    <a:pt x="1442" y="707"/>
                    <a:pt x="1442" y="707"/>
                    <a:pt x="1442" y="707"/>
                  </a:cubicBezTo>
                  <a:cubicBezTo>
                    <a:pt x="1442" y="707"/>
                    <a:pt x="1442" y="707"/>
                    <a:pt x="1442" y="707"/>
                  </a:cubicBezTo>
                  <a:cubicBezTo>
                    <a:pt x="1443" y="707"/>
                    <a:pt x="1443" y="707"/>
                    <a:pt x="1443" y="707"/>
                  </a:cubicBezTo>
                  <a:cubicBezTo>
                    <a:pt x="1443" y="708"/>
                    <a:pt x="1443" y="708"/>
                    <a:pt x="1443" y="708"/>
                  </a:cubicBezTo>
                  <a:cubicBezTo>
                    <a:pt x="1443" y="708"/>
                    <a:pt x="1443" y="708"/>
                    <a:pt x="1443" y="708"/>
                  </a:cubicBezTo>
                  <a:cubicBezTo>
                    <a:pt x="1442" y="709"/>
                    <a:pt x="1442" y="709"/>
                    <a:pt x="1442" y="709"/>
                  </a:cubicBezTo>
                  <a:cubicBezTo>
                    <a:pt x="1442" y="709"/>
                    <a:pt x="1442" y="709"/>
                    <a:pt x="1442" y="709"/>
                  </a:cubicBezTo>
                  <a:cubicBezTo>
                    <a:pt x="1442" y="709"/>
                    <a:pt x="1442" y="709"/>
                    <a:pt x="1442" y="709"/>
                  </a:cubicBezTo>
                  <a:cubicBezTo>
                    <a:pt x="1442" y="709"/>
                    <a:pt x="1442" y="709"/>
                    <a:pt x="1442" y="709"/>
                  </a:cubicBezTo>
                  <a:cubicBezTo>
                    <a:pt x="1443" y="709"/>
                    <a:pt x="1443" y="709"/>
                    <a:pt x="1443" y="709"/>
                  </a:cubicBezTo>
                  <a:cubicBezTo>
                    <a:pt x="1443" y="709"/>
                    <a:pt x="1443" y="709"/>
                    <a:pt x="1443" y="709"/>
                  </a:cubicBezTo>
                  <a:cubicBezTo>
                    <a:pt x="1443" y="709"/>
                    <a:pt x="1443" y="709"/>
                    <a:pt x="1443" y="709"/>
                  </a:cubicBezTo>
                  <a:cubicBezTo>
                    <a:pt x="1443" y="709"/>
                    <a:pt x="1443" y="709"/>
                    <a:pt x="1443" y="709"/>
                  </a:cubicBezTo>
                  <a:cubicBezTo>
                    <a:pt x="1443" y="709"/>
                    <a:pt x="1443" y="709"/>
                    <a:pt x="1443" y="709"/>
                  </a:cubicBezTo>
                  <a:cubicBezTo>
                    <a:pt x="1443" y="709"/>
                    <a:pt x="1443" y="709"/>
                    <a:pt x="1443" y="709"/>
                  </a:cubicBezTo>
                  <a:cubicBezTo>
                    <a:pt x="1444" y="709"/>
                    <a:pt x="1444" y="709"/>
                    <a:pt x="1444" y="709"/>
                  </a:cubicBezTo>
                  <a:cubicBezTo>
                    <a:pt x="1444" y="709"/>
                    <a:pt x="1444" y="709"/>
                    <a:pt x="1444" y="709"/>
                  </a:cubicBezTo>
                  <a:cubicBezTo>
                    <a:pt x="1444" y="710"/>
                    <a:pt x="1444" y="710"/>
                    <a:pt x="1444" y="710"/>
                  </a:cubicBezTo>
                  <a:cubicBezTo>
                    <a:pt x="1444" y="710"/>
                    <a:pt x="1444" y="710"/>
                    <a:pt x="1444" y="710"/>
                  </a:cubicBezTo>
                  <a:cubicBezTo>
                    <a:pt x="1444" y="710"/>
                    <a:pt x="1444" y="710"/>
                    <a:pt x="1444" y="710"/>
                  </a:cubicBezTo>
                  <a:cubicBezTo>
                    <a:pt x="1444" y="710"/>
                    <a:pt x="1444" y="710"/>
                    <a:pt x="1444" y="710"/>
                  </a:cubicBezTo>
                  <a:cubicBezTo>
                    <a:pt x="1445" y="710"/>
                    <a:pt x="1445" y="710"/>
                    <a:pt x="1445" y="710"/>
                  </a:cubicBezTo>
                  <a:cubicBezTo>
                    <a:pt x="1445" y="709"/>
                    <a:pt x="1446" y="709"/>
                    <a:pt x="1446" y="710"/>
                  </a:cubicBezTo>
                  <a:cubicBezTo>
                    <a:pt x="1446" y="710"/>
                    <a:pt x="1446" y="710"/>
                    <a:pt x="1446" y="710"/>
                  </a:cubicBezTo>
                  <a:cubicBezTo>
                    <a:pt x="1446" y="710"/>
                    <a:pt x="1446" y="710"/>
                    <a:pt x="1446" y="710"/>
                  </a:cubicBezTo>
                  <a:cubicBezTo>
                    <a:pt x="1446" y="710"/>
                    <a:pt x="1446" y="710"/>
                    <a:pt x="1446" y="710"/>
                  </a:cubicBezTo>
                  <a:cubicBezTo>
                    <a:pt x="1446" y="711"/>
                    <a:pt x="1446" y="711"/>
                    <a:pt x="1446" y="711"/>
                  </a:cubicBezTo>
                  <a:cubicBezTo>
                    <a:pt x="1446" y="711"/>
                    <a:pt x="1446" y="711"/>
                    <a:pt x="1446" y="711"/>
                  </a:cubicBezTo>
                  <a:cubicBezTo>
                    <a:pt x="1447" y="711"/>
                    <a:pt x="1447" y="711"/>
                    <a:pt x="1447" y="711"/>
                  </a:cubicBezTo>
                  <a:cubicBezTo>
                    <a:pt x="1447" y="711"/>
                    <a:pt x="1447" y="711"/>
                    <a:pt x="1447" y="711"/>
                  </a:cubicBezTo>
                  <a:cubicBezTo>
                    <a:pt x="1447" y="711"/>
                    <a:pt x="1447" y="711"/>
                    <a:pt x="1447" y="711"/>
                  </a:cubicBezTo>
                  <a:cubicBezTo>
                    <a:pt x="1447" y="712"/>
                    <a:pt x="1447" y="712"/>
                    <a:pt x="1447" y="712"/>
                  </a:cubicBezTo>
                  <a:cubicBezTo>
                    <a:pt x="1447" y="712"/>
                    <a:pt x="1447" y="712"/>
                    <a:pt x="1447" y="712"/>
                  </a:cubicBezTo>
                  <a:cubicBezTo>
                    <a:pt x="1447" y="713"/>
                    <a:pt x="1447" y="713"/>
                    <a:pt x="1447" y="713"/>
                  </a:cubicBezTo>
                  <a:cubicBezTo>
                    <a:pt x="1447" y="714"/>
                    <a:pt x="1447" y="714"/>
                    <a:pt x="1447" y="714"/>
                  </a:cubicBezTo>
                  <a:cubicBezTo>
                    <a:pt x="1447" y="715"/>
                    <a:pt x="1447" y="715"/>
                    <a:pt x="1447" y="715"/>
                  </a:cubicBezTo>
                  <a:cubicBezTo>
                    <a:pt x="1447" y="716"/>
                    <a:pt x="1447" y="716"/>
                    <a:pt x="1447" y="716"/>
                  </a:cubicBezTo>
                  <a:cubicBezTo>
                    <a:pt x="1448" y="717"/>
                    <a:pt x="1448" y="717"/>
                    <a:pt x="1448" y="717"/>
                  </a:cubicBezTo>
                  <a:cubicBezTo>
                    <a:pt x="1448" y="718"/>
                    <a:pt x="1448" y="717"/>
                    <a:pt x="1449" y="718"/>
                  </a:cubicBezTo>
                  <a:cubicBezTo>
                    <a:pt x="1449" y="718"/>
                    <a:pt x="1449" y="718"/>
                    <a:pt x="1449" y="718"/>
                  </a:cubicBezTo>
                  <a:cubicBezTo>
                    <a:pt x="1449" y="719"/>
                    <a:pt x="1449" y="719"/>
                    <a:pt x="1449" y="719"/>
                  </a:cubicBezTo>
                  <a:cubicBezTo>
                    <a:pt x="1449" y="719"/>
                    <a:pt x="1449" y="719"/>
                    <a:pt x="1449" y="719"/>
                  </a:cubicBezTo>
                  <a:cubicBezTo>
                    <a:pt x="1448" y="720"/>
                    <a:pt x="1448" y="720"/>
                    <a:pt x="1448" y="720"/>
                  </a:cubicBezTo>
                  <a:cubicBezTo>
                    <a:pt x="1446" y="723"/>
                    <a:pt x="1446" y="723"/>
                    <a:pt x="1446" y="723"/>
                  </a:cubicBezTo>
                  <a:cubicBezTo>
                    <a:pt x="1440" y="731"/>
                    <a:pt x="1440" y="731"/>
                    <a:pt x="1440" y="731"/>
                  </a:cubicBezTo>
                  <a:cubicBezTo>
                    <a:pt x="1437" y="733"/>
                    <a:pt x="1437" y="733"/>
                    <a:pt x="1437" y="733"/>
                  </a:cubicBezTo>
                  <a:cubicBezTo>
                    <a:pt x="1436" y="735"/>
                    <a:pt x="1436" y="735"/>
                    <a:pt x="1436" y="735"/>
                  </a:cubicBezTo>
                  <a:cubicBezTo>
                    <a:pt x="1436" y="735"/>
                    <a:pt x="1436" y="735"/>
                    <a:pt x="1436" y="735"/>
                  </a:cubicBezTo>
                  <a:cubicBezTo>
                    <a:pt x="1437" y="735"/>
                    <a:pt x="1437" y="735"/>
                    <a:pt x="1437" y="735"/>
                  </a:cubicBezTo>
                  <a:cubicBezTo>
                    <a:pt x="1438" y="736"/>
                    <a:pt x="1436" y="737"/>
                    <a:pt x="1438" y="737"/>
                  </a:cubicBezTo>
                  <a:cubicBezTo>
                    <a:pt x="1437" y="738"/>
                    <a:pt x="1438" y="738"/>
                    <a:pt x="1439" y="739"/>
                  </a:cubicBezTo>
                  <a:cubicBezTo>
                    <a:pt x="1439" y="739"/>
                    <a:pt x="1439" y="739"/>
                    <a:pt x="1439" y="739"/>
                  </a:cubicBezTo>
                  <a:cubicBezTo>
                    <a:pt x="1439" y="739"/>
                    <a:pt x="1439" y="739"/>
                    <a:pt x="1439" y="739"/>
                  </a:cubicBezTo>
                  <a:cubicBezTo>
                    <a:pt x="1439" y="739"/>
                    <a:pt x="1439" y="739"/>
                    <a:pt x="1439" y="739"/>
                  </a:cubicBezTo>
                  <a:cubicBezTo>
                    <a:pt x="1439" y="739"/>
                    <a:pt x="1439" y="739"/>
                    <a:pt x="1439" y="739"/>
                  </a:cubicBezTo>
                  <a:cubicBezTo>
                    <a:pt x="1439" y="738"/>
                    <a:pt x="1439" y="738"/>
                    <a:pt x="1439" y="738"/>
                  </a:cubicBezTo>
                  <a:cubicBezTo>
                    <a:pt x="1438" y="737"/>
                    <a:pt x="1438" y="737"/>
                    <a:pt x="1438" y="737"/>
                  </a:cubicBezTo>
                  <a:cubicBezTo>
                    <a:pt x="1438" y="737"/>
                    <a:pt x="1438" y="737"/>
                    <a:pt x="1438" y="737"/>
                  </a:cubicBezTo>
                  <a:cubicBezTo>
                    <a:pt x="1439" y="737"/>
                    <a:pt x="1439" y="738"/>
                    <a:pt x="1440" y="738"/>
                  </a:cubicBezTo>
                  <a:cubicBezTo>
                    <a:pt x="1440" y="738"/>
                    <a:pt x="1440" y="738"/>
                    <a:pt x="1440" y="738"/>
                  </a:cubicBezTo>
                  <a:cubicBezTo>
                    <a:pt x="1440" y="739"/>
                    <a:pt x="1440" y="739"/>
                    <a:pt x="1440" y="739"/>
                  </a:cubicBezTo>
                  <a:cubicBezTo>
                    <a:pt x="1440" y="739"/>
                    <a:pt x="1440" y="739"/>
                    <a:pt x="1440" y="739"/>
                  </a:cubicBezTo>
                  <a:cubicBezTo>
                    <a:pt x="1440" y="739"/>
                    <a:pt x="1440" y="739"/>
                    <a:pt x="1440" y="739"/>
                  </a:cubicBezTo>
                  <a:cubicBezTo>
                    <a:pt x="1440" y="740"/>
                    <a:pt x="1439" y="741"/>
                    <a:pt x="1440" y="742"/>
                  </a:cubicBezTo>
                  <a:cubicBezTo>
                    <a:pt x="1440" y="742"/>
                    <a:pt x="1440" y="742"/>
                    <a:pt x="1440" y="742"/>
                  </a:cubicBezTo>
                  <a:cubicBezTo>
                    <a:pt x="1441" y="742"/>
                    <a:pt x="1441" y="742"/>
                    <a:pt x="1441" y="742"/>
                  </a:cubicBezTo>
                  <a:cubicBezTo>
                    <a:pt x="1441" y="742"/>
                    <a:pt x="1442" y="741"/>
                    <a:pt x="1443" y="742"/>
                  </a:cubicBezTo>
                  <a:cubicBezTo>
                    <a:pt x="1443" y="742"/>
                    <a:pt x="1443" y="742"/>
                    <a:pt x="1443" y="742"/>
                  </a:cubicBezTo>
                  <a:cubicBezTo>
                    <a:pt x="1443" y="742"/>
                    <a:pt x="1443" y="742"/>
                    <a:pt x="1443" y="742"/>
                  </a:cubicBezTo>
                  <a:cubicBezTo>
                    <a:pt x="1442" y="742"/>
                    <a:pt x="1442" y="742"/>
                    <a:pt x="1442" y="742"/>
                  </a:cubicBezTo>
                  <a:cubicBezTo>
                    <a:pt x="1442" y="743"/>
                    <a:pt x="1442" y="743"/>
                    <a:pt x="1442" y="743"/>
                  </a:cubicBezTo>
                  <a:cubicBezTo>
                    <a:pt x="1440" y="745"/>
                    <a:pt x="1440" y="745"/>
                    <a:pt x="1440" y="745"/>
                  </a:cubicBezTo>
                  <a:cubicBezTo>
                    <a:pt x="1439" y="745"/>
                    <a:pt x="1439" y="745"/>
                    <a:pt x="1439" y="745"/>
                  </a:cubicBezTo>
                  <a:cubicBezTo>
                    <a:pt x="1439" y="746"/>
                    <a:pt x="1439" y="746"/>
                    <a:pt x="1439" y="746"/>
                  </a:cubicBezTo>
                  <a:cubicBezTo>
                    <a:pt x="1439" y="746"/>
                    <a:pt x="1439" y="746"/>
                    <a:pt x="1439" y="746"/>
                  </a:cubicBezTo>
                  <a:cubicBezTo>
                    <a:pt x="1439" y="746"/>
                    <a:pt x="1439" y="746"/>
                    <a:pt x="1439" y="746"/>
                  </a:cubicBezTo>
                  <a:cubicBezTo>
                    <a:pt x="1439" y="746"/>
                    <a:pt x="1439" y="746"/>
                    <a:pt x="1439" y="746"/>
                  </a:cubicBezTo>
                  <a:cubicBezTo>
                    <a:pt x="1439" y="746"/>
                    <a:pt x="1439" y="746"/>
                    <a:pt x="1439" y="746"/>
                  </a:cubicBezTo>
                  <a:cubicBezTo>
                    <a:pt x="1440" y="746"/>
                    <a:pt x="1440" y="746"/>
                    <a:pt x="1440" y="746"/>
                  </a:cubicBezTo>
                  <a:cubicBezTo>
                    <a:pt x="1439" y="746"/>
                    <a:pt x="1439" y="746"/>
                    <a:pt x="1439" y="746"/>
                  </a:cubicBezTo>
                  <a:cubicBezTo>
                    <a:pt x="1439" y="747"/>
                    <a:pt x="1439" y="747"/>
                    <a:pt x="1439" y="747"/>
                  </a:cubicBezTo>
                  <a:cubicBezTo>
                    <a:pt x="1438" y="748"/>
                    <a:pt x="1438" y="748"/>
                    <a:pt x="1438" y="748"/>
                  </a:cubicBezTo>
                  <a:cubicBezTo>
                    <a:pt x="1438" y="748"/>
                    <a:pt x="1438" y="748"/>
                    <a:pt x="1438" y="748"/>
                  </a:cubicBezTo>
                  <a:cubicBezTo>
                    <a:pt x="1438" y="749"/>
                    <a:pt x="1438" y="749"/>
                    <a:pt x="1438" y="749"/>
                  </a:cubicBezTo>
                  <a:cubicBezTo>
                    <a:pt x="1438" y="749"/>
                    <a:pt x="1438" y="749"/>
                    <a:pt x="1438" y="749"/>
                  </a:cubicBezTo>
                  <a:cubicBezTo>
                    <a:pt x="1438" y="749"/>
                    <a:pt x="1438" y="749"/>
                    <a:pt x="1438" y="749"/>
                  </a:cubicBezTo>
                  <a:cubicBezTo>
                    <a:pt x="1438" y="749"/>
                    <a:pt x="1438" y="749"/>
                    <a:pt x="1438" y="749"/>
                  </a:cubicBezTo>
                  <a:cubicBezTo>
                    <a:pt x="1438" y="749"/>
                    <a:pt x="1438" y="749"/>
                    <a:pt x="1438" y="749"/>
                  </a:cubicBezTo>
                  <a:cubicBezTo>
                    <a:pt x="1438" y="749"/>
                    <a:pt x="1438" y="749"/>
                    <a:pt x="1438" y="749"/>
                  </a:cubicBezTo>
                  <a:cubicBezTo>
                    <a:pt x="1438" y="749"/>
                    <a:pt x="1438" y="749"/>
                    <a:pt x="1438" y="749"/>
                  </a:cubicBezTo>
                  <a:cubicBezTo>
                    <a:pt x="1437" y="748"/>
                    <a:pt x="1437" y="747"/>
                    <a:pt x="1437" y="747"/>
                  </a:cubicBezTo>
                  <a:cubicBezTo>
                    <a:pt x="1437" y="746"/>
                    <a:pt x="1437" y="746"/>
                    <a:pt x="1437" y="746"/>
                  </a:cubicBezTo>
                  <a:cubicBezTo>
                    <a:pt x="1437" y="746"/>
                    <a:pt x="1437" y="746"/>
                    <a:pt x="1437" y="746"/>
                  </a:cubicBezTo>
                  <a:cubicBezTo>
                    <a:pt x="1436" y="746"/>
                    <a:pt x="1436" y="746"/>
                    <a:pt x="1436" y="745"/>
                  </a:cubicBezTo>
                  <a:cubicBezTo>
                    <a:pt x="1436" y="745"/>
                    <a:pt x="1436" y="745"/>
                    <a:pt x="1436" y="745"/>
                  </a:cubicBezTo>
                  <a:cubicBezTo>
                    <a:pt x="1436" y="745"/>
                    <a:pt x="1436" y="745"/>
                    <a:pt x="1436" y="745"/>
                  </a:cubicBezTo>
                  <a:cubicBezTo>
                    <a:pt x="1436" y="745"/>
                    <a:pt x="1436" y="745"/>
                    <a:pt x="1436" y="745"/>
                  </a:cubicBezTo>
                  <a:cubicBezTo>
                    <a:pt x="1436" y="745"/>
                    <a:pt x="1436" y="745"/>
                    <a:pt x="1436" y="745"/>
                  </a:cubicBezTo>
                  <a:cubicBezTo>
                    <a:pt x="1436" y="745"/>
                    <a:pt x="1436" y="745"/>
                    <a:pt x="1436" y="745"/>
                  </a:cubicBezTo>
                  <a:cubicBezTo>
                    <a:pt x="1435" y="744"/>
                    <a:pt x="1436" y="743"/>
                    <a:pt x="1435" y="742"/>
                  </a:cubicBezTo>
                  <a:cubicBezTo>
                    <a:pt x="1435" y="742"/>
                    <a:pt x="1435" y="742"/>
                    <a:pt x="1435" y="742"/>
                  </a:cubicBezTo>
                  <a:cubicBezTo>
                    <a:pt x="1435" y="742"/>
                    <a:pt x="1435" y="742"/>
                    <a:pt x="1435" y="742"/>
                  </a:cubicBezTo>
                  <a:cubicBezTo>
                    <a:pt x="1434" y="742"/>
                    <a:pt x="1433" y="741"/>
                    <a:pt x="1432" y="740"/>
                  </a:cubicBezTo>
                  <a:cubicBezTo>
                    <a:pt x="1431" y="739"/>
                    <a:pt x="1431" y="739"/>
                    <a:pt x="1431" y="739"/>
                  </a:cubicBezTo>
                  <a:cubicBezTo>
                    <a:pt x="1430" y="739"/>
                    <a:pt x="1430" y="739"/>
                    <a:pt x="1430" y="739"/>
                  </a:cubicBezTo>
                  <a:cubicBezTo>
                    <a:pt x="1430" y="738"/>
                    <a:pt x="1430" y="738"/>
                    <a:pt x="1430" y="738"/>
                  </a:cubicBezTo>
                  <a:cubicBezTo>
                    <a:pt x="1430" y="738"/>
                    <a:pt x="1430" y="738"/>
                    <a:pt x="1430" y="738"/>
                  </a:cubicBezTo>
                  <a:cubicBezTo>
                    <a:pt x="1430" y="738"/>
                    <a:pt x="1430" y="738"/>
                    <a:pt x="1430" y="738"/>
                  </a:cubicBezTo>
                  <a:cubicBezTo>
                    <a:pt x="1430" y="738"/>
                    <a:pt x="1430" y="738"/>
                    <a:pt x="1430" y="738"/>
                  </a:cubicBezTo>
                  <a:cubicBezTo>
                    <a:pt x="1430" y="738"/>
                    <a:pt x="1430" y="738"/>
                    <a:pt x="1430" y="738"/>
                  </a:cubicBezTo>
                  <a:cubicBezTo>
                    <a:pt x="1429" y="738"/>
                    <a:pt x="1429" y="738"/>
                    <a:pt x="1429" y="738"/>
                  </a:cubicBezTo>
                  <a:cubicBezTo>
                    <a:pt x="1429" y="738"/>
                    <a:pt x="1429" y="738"/>
                    <a:pt x="1429" y="738"/>
                  </a:cubicBezTo>
                  <a:cubicBezTo>
                    <a:pt x="1423" y="743"/>
                    <a:pt x="1423" y="743"/>
                    <a:pt x="1423" y="743"/>
                  </a:cubicBezTo>
                  <a:cubicBezTo>
                    <a:pt x="1421" y="744"/>
                    <a:pt x="1421" y="744"/>
                    <a:pt x="1421" y="744"/>
                  </a:cubicBezTo>
                  <a:cubicBezTo>
                    <a:pt x="1421" y="744"/>
                    <a:pt x="1421" y="744"/>
                    <a:pt x="1421" y="744"/>
                  </a:cubicBezTo>
                  <a:cubicBezTo>
                    <a:pt x="1420" y="745"/>
                    <a:pt x="1420" y="745"/>
                    <a:pt x="1420" y="745"/>
                  </a:cubicBezTo>
                  <a:cubicBezTo>
                    <a:pt x="1420" y="745"/>
                    <a:pt x="1420" y="745"/>
                    <a:pt x="1420" y="745"/>
                  </a:cubicBezTo>
                  <a:cubicBezTo>
                    <a:pt x="1420" y="745"/>
                    <a:pt x="1420" y="745"/>
                    <a:pt x="1420" y="745"/>
                  </a:cubicBezTo>
                  <a:cubicBezTo>
                    <a:pt x="1420" y="745"/>
                    <a:pt x="1420" y="745"/>
                    <a:pt x="1420" y="745"/>
                  </a:cubicBezTo>
                  <a:cubicBezTo>
                    <a:pt x="1420" y="745"/>
                    <a:pt x="1420" y="745"/>
                    <a:pt x="1420" y="745"/>
                  </a:cubicBezTo>
                  <a:cubicBezTo>
                    <a:pt x="1419" y="745"/>
                    <a:pt x="1419" y="745"/>
                    <a:pt x="1419" y="745"/>
                  </a:cubicBezTo>
                  <a:cubicBezTo>
                    <a:pt x="1419" y="745"/>
                    <a:pt x="1419" y="745"/>
                    <a:pt x="1419" y="745"/>
                  </a:cubicBezTo>
                  <a:cubicBezTo>
                    <a:pt x="1419" y="746"/>
                    <a:pt x="1419" y="746"/>
                    <a:pt x="1419" y="746"/>
                  </a:cubicBezTo>
                  <a:cubicBezTo>
                    <a:pt x="1419" y="748"/>
                    <a:pt x="1419" y="748"/>
                    <a:pt x="1419" y="748"/>
                  </a:cubicBezTo>
                  <a:cubicBezTo>
                    <a:pt x="1419" y="749"/>
                    <a:pt x="1419" y="749"/>
                    <a:pt x="1419" y="749"/>
                  </a:cubicBezTo>
                  <a:cubicBezTo>
                    <a:pt x="1419" y="749"/>
                    <a:pt x="1419" y="749"/>
                    <a:pt x="1419" y="749"/>
                  </a:cubicBezTo>
                  <a:cubicBezTo>
                    <a:pt x="1419" y="750"/>
                    <a:pt x="1419" y="750"/>
                    <a:pt x="1418" y="751"/>
                  </a:cubicBezTo>
                  <a:cubicBezTo>
                    <a:pt x="1419" y="752"/>
                    <a:pt x="1419" y="752"/>
                    <a:pt x="1419" y="752"/>
                  </a:cubicBezTo>
                  <a:cubicBezTo>
                    <a:pt x="1419" y="752"/>
                    <a:pt x="1419" y="752"/>
                    <a:pt x="1419" y="752"/>
                  </a:cubicBezTo>
                  <a:cubicBezTo>
                    <a:pt x="1423" y="758"/>
                    <a:pt x="1423" y="758"/>
                    <a:pt x="1423" y="758"/>
                  </a:cubicBezTo>
                  <a:cubicBezTo>
                    <a:pt x="1425" y="760"/>
                    <a:pt x="1425" y="760"/>
                    <a:pt x="1425" y="760"/>
                  </a:cubicBezTo>
                  <a:cubicBezTo>
                    <a:pt x="1426" y="761"/>
                    <a:pt x="1426" y="761"/>
                    <a:pt x="1427" y="762"/>
                  </a:cubicBezTo>
                  <a:cubicBezTo>
                    <a:pt x="1427" y="762"/>
                    <a:pt x="1427" y="762"/>
                    <a:pt x="1427" y="762"/>
                  </a:cubicBezTo>
                  <a:cubicBezTo>
                    <a:pt x="1427" y="762"/>
                    <a:pt x="1427" y="762"/>
                    <a:pt x="1427" y="762"/>
                  </a:cubicBezTo>
                  <a:cubicBezTo>
                    <a:pt x="1427" y="763"/>
                    <a:pt x="1427" y="763"/>
                    <a:pt x="1428" y="764"/>
                  </a:cubicBezTo>
                  <a:cubicBezTo>
                    <a:pt x="1428" y="764"/>
                    <a:pt x="1428" y="764"/>
                    <a:pt x="1428" y="764"/>
                  </a:cubicBezTo>
                  <a:cubicBezTo>
                    <a:pt x="1428" y="764"/>
                    <a:pt x="1428" y="764"/>
                    <a:pt x="1428" y="764"/>
                  </a:cubicBezTo>
                  <a:cubicBezTo>
                    <a:pt x="1428" y="764"/>
                    <a:pt x="1428" y="764"/>
                    <a:pt x="1428" y="764"/>
                  </a:cubicBezTo>
                  <a:cubicBezTo>
                    <a:pt x="1428" y="764"/>
                    <a:pt x="1428" y="764"/>
                    <a:pt x="1428" y="764"/>
                  </a:cubicBezTo>
                  <a:cubicBezTo>
                    <a:pt x="1427" y="763"/>
                    <a:pt x="1427" y="763"/>
                    <a:pt x="1427" y="763"/>
                  </a:cubicBezTo>
                  <a:cubicBezTo>
                    <a:pt x="1423" y="758"/>
                    <a:pt x="1423" y="758"/>
                    <a:pt x="1423" y="758"/>
                  </a:cubicBezTo>
                  <a:cubicBezTo>
                    <a:pt x="1419" y="754"/>
                    <a:pt x="1419" y="754"/>
                    <a:pt x="1419" y="754"/>
                  </a:cubicBezTo>
                  <a:cubicBezTo>
                    <a:pt x="1418" y="753"/>
                    <a:pt x="1418" y="753"/>
                    <a:pt x="1418" y="753"/>
                  </a:cubicBezTo>
                  <a:cubicBezTo>
                    <a:pt x="1418" y="753"/>
                    <a:pt x="1417" y="752"/>
                    <a:pt x="1417" y="752"/>
                  </a:cubicBezTo>
                  <a:cubicBezTo>
                    <a:pt x="1416" y="752"/>
                    <a:pt x="1416" y="752"/>
                    <a:pt x="1416" y="752"/>
                  </a:cubicBezTo>
                  <a:cubicBezTo>
                    <a:pt x="1416" y="752"/>
                    <a:pt x="1416" y="752"/>
                    <a:pt x="1416" y="752"/>
                  </a:cubicBezTo>
                  <a:cubicBezTo>
                    <a:pt x="1416" y="752"/>
                    <a:pt x="1415" y="752"/>
                    <a:pt x="1415" y="751"/>
                  </a:cubicBezTo>
                  <a:cubicBezTo>
                    <a:pt x="1415" y="751"/>
                    <a:pt x="1415" y="751"/>
                    <a:pt x="1415" y="751"/>
                  </a:cubicBezTo>
                  <a:cubicBezTo>
                    <a:pt x="1415" y="751"/>
                    <a:pt x="1415" y="751"/>
                    <a:pt x="1415" y="751"/>
                  </a:cubicBezTo>
                  <a:cubicBezTo>
                    <a:pt x="1414" y="751"/>
                    <a:pt x="1414" y="751"/>
                    <a:pt x="1414" y="751"/>
                  </a:cubicBezTo>
                  <a:cubicBezTo>
                    <a:pt x="1414" y="750"/>
                    <a:pt x="1413" y="749"/>
                    <a:pt x="1412" y="749"/>
                  </a:cubicBezTo>
                  <a:cubicBezTo>
                    <a:pt x="1412" y="749"/>
                    <a:pt x="1412" y="749"/>
                    <a:pt x="1412" y="749"/>
                  </a:cubicBezTo>
                  <a:cubicBezTo>
                    <a:pt x="1411" y="749"/>
                    <a:pt x="1411" y="749"/>
                    <a:pt x="1411" y="749"/>
                  </a:cubicBezTo>
                  <a:cubicBezTo>
                    <a:pt x="1411" y="749"/>
                    <a:pt x="1411" y="749"/>
                    <a:pt x="1411" y="749"/>
                  </a:cubicBezTo>
                  <a:cubicBezTo>
                    <a:pt x="1411" y="749"/>
                    <a:pt x="1411" y="749"/>
                    <a:pt x="1411" y="749"/>
                  </a:cubicBezTo>
                  <a:cubicBezTo>
                    <a:pt x="1411" y="749"/>
                    <a:pt x="1411" y="749"/>
                    <a:pt x="1411" y="749"/>
                  </a:cubicBezTo>
                  <a:cubicBezTo>
                    <a:pt x="1410" y="749"/>
                    <a:pt x="1410" y="748"/>
                    <a:pt x="1410" y="748"/>
                  </a:cubicBezTo>
                  <a:cubicBezTo>
                    <a:pt x="1409" y="748"/>
                    <a:pt x="1409" y="748"/>
                    <a:pt x="1409" y="748"/>
                  </a:cubicBezTo>
                  <a:cubicBezTo>
                    <a:pt x="1409" y="748"/>
                    <a:pt x="1409" y="748"/>
                    <a:pt x="1409" y="748"/>
                  </a:cubicBezTo>
                  <a:cubicBezTo>
                    <a:pt x="1408" y="748"/>
                    <a:pt x="1408" y="748"/>
                    <a:pt x="1407" y="748"/>
                  </a:cubicBezTo>
                  <a:cubicBezTo>
                    <a:pt x="1407" y="748"/>
                    <a:pt x="1407" y="748"/>
                    <a:pt x="1407" y="748"/>
                  </a:cubicBezTo>
                  <a:cubicBezTo>
                    <a:pt x="1407" y="748"/>
                    <a:pt x="1407" y="748"/>
                    <a:pt x="1407" y="748"/>
                  </a:cubicBezTo>
                  <a:cubicBezTo>
                    <a:pt x="1407" y="748"/>
                    <a:pt x="1407" y="748"/>
                    <a:pt x="1407" y="748"/>
                  </a:cubicBezTo>
                  <a:cubicBezTo>
                    <a:pt x="1406" y="747"/>
                    <a:pt x="1406" y="747"/>
                    <a:pt x="1406" y="747"/>
                  </a:cubicBezTo>
                  <a:cubicBezTo>
                    <a:pt x="1406" y="747"/>
                    <a:pt x="1405" y="747"/>
                    <a:pt x="1405" y="747"/>
                  </a:cubicBezTo>
                  <a:cubicBezTo>
                    <a:pt x="1405" y="747"/>
                    <a:pt x="1405" y="747"/>
                    <a:pt x="1405" y="747"/>
                  </a:cubicBezTo>
                  <a:cubicBezTo>
                    <a:pt x="1404" y="747"/>
                    <a:pt x="1404" y="747"/>
                    <a:pt x="1404" y="747"/>
                  </a:cubicBezTo>
                  <a:cubicBezTo>
                    <a:pt x="1404" y="747"/>
                    <a:pt x="1403" y="747"/>
                    <a:pt x="1403" y="747"/>
                  </a:cubicBezTo>
                  <a:cubicBezTo>
                    <a:pt x="1403" y="747"/>
                    <a:pt x="1403" y="747"/>
                    <a:pt x="1403" y="747"/>
                  </a:cubicBezTo>
                  <a:cubicBezTo>
                    <a:pt x="1402" y="747"/>
                    <a:pt x="1402" y="747"/>
                    <a:pt x="1402" y="747"/>
                  </a:cubicBezTo>
                  <a:cubicBezTo>
                    <a:pt x="1402" y="747"/>
                    <a:pt x="1402" y="747"/>
                    <a:pt x="1402" y="747"/>
                  </a:cubicBezTo>
                  <a:cubicBezTo>
                    <a:pt x="1402" y="747"/>
                    <a:pt x="1402" y="747"/>
                    <a:pt x="1402" y="747"/>
                  </a:cubicBezTo>
                  <a:cubicBezTo>
                    <a:pt x="1402" y="747"/>
                    <a:pt x="1402" y="747"/>
                    <a:pt x="1402" y="747"/>
                  </a:cubicBezTo>
                  <a:cubicBezTo>
                    <a:pt x="1402" y="747"/>
                    <a:pt x="1402" y="747"/>
                    <a:pt x="1402" y="747"/>
                  </a:cubicBezTo>
                  <a:cubicBezTo>
                    <a:pt x="1402" y="748"/>
                    <a:pt x="1402" y="748"/>
                    <a:pt x="1402" y="748"/>
                  </a:cubicBezTo>
                  <a:cubicBezTo>
                    <a:pt x="1401" y="748"/>
                    <a:pt x="1400" y="749"/>
                    <a:pt x="1399" y="749"/>
                  </a:cubicBezTo>
                  <a:cubicBezTo>
                    <a:pt x="1399" y="750"/>
                    <a:pt x="1399" y="750"/>
                    <a:pt x="1399" y="750"/>
                  </a:cubicBezTo>
                  <a:cubicBezTo>
                    <a:pt x="1399" y="750"/>
                    <a:pt x="1399" y="750"/>
                    <a:pt x="1399" y="750"/>
                  </a:cubicBezTo>
                  <a:cubicBezTo>
                    <a:pt x="1399" y="750"/>
                    <a:pt x="1399" y="750"/>
                    <a:pt x="1399" y="750"/>
                  </a:cubicBezTo>
                  <a:cubicBezTo>
                    <a:pt x="1398" y="750"/>
                    <a:pt x="1398" y="750"/>
                    <a:pt x="1398" y="751"/>
                  </a:cubicBezTo>
                  <a:cubicBezTo>
                    <a:pt x="1398" y="751"/>
                    <a:pt x="1398" y="751"/>
                    <a:pt x="1398" y="751"/>
                  </a:cubicBezTo>
                  <a:cubicBezTo>
                    <a:pt x="1398" y="751"/>
                    <a:pt x="1398" y="751"/>
                    <a:pt x="1398" y="751"/>
                  </a:cubicBezTo>
                  <a:cubicBezTo>
                    <a:pt x="1397" y="751"/>
                    <a:pt x="1397" y="752"/>
                    <a:pt x="1397" y="752"/>
                  </a:cubicBezTo>
                  <a:cubicBezTo>
                    <a:pt x="1396" y="752"/>
                    <a:pt x="1396" y="752"/>
                    <a:pt x="1396" y="752"/>
                  </a:cubicBezTo>
                  <a:cubicBezTo>
                    <a:pt x="1396" y="752"/>
                    <a:pt x="1396" y="752"/>
                    <a:pt x="1396" y="752"/>
                  </a:cubicBezTo>
                  <a:cubicBezTo>
                    <a:pt x="1396" y="752"/>
                    <a:pt x="1396" y="752"/>
                    <a:pt x="1396" y="752"/>
                  </a:cubicBezTo>
                  <a:cubicBezTo>
                    <a:pt x="1396" y="752"/>
                    <a:pt x="1396" y="752"/>
                    <a:pt x="1396" y="752"/>
                  </a:cubicBezTo>
                  <a:cubicBezTo>
                    <a:pt x="1396" y="752"/>
                    <a:pt x="1396" y="752"/>
                    <a:pt x="1396" y="752"/>
                  </a:cubicBezTo>
                  <a:cubicBezTo>
                    <a:pt x="1396" y="753"/>
                    <a:pt x="1396" y="753"/>
                    <a:pt x="1396" y="753"/>
                  </a:cubicBezTo>
                  <a:cubicBezTo>
                    <a:pt x="1395" y="753"/>
                    <a:pt x="1395" y="753"/>
                    <a:pt x="1394" y="753"/>
                  </a:cubicBezTo>
                  <a:cubicBezTo>
                    <a:pt x="1394" y="753"/>
                    <a:pt x="1394" y="753"/>
                    <a:pt x="1394" y="753"/>
                  </a:cubicBezTo>
                  <a:cubicBezTo>
                    <a:pt x="1394" y="753"/>
                    <a:pt x="1394" y="753"/>
                    <a:pt x="1394" y="753"/>
                  </a:cubicBezTo>
                  <a:cubicBezTo>
                    <a:pt x="1393" y="753"/>
                    <a:pt x="1393" y="753"/>
                    <a:pt x="1392" y="754"/>
                  </a:cubicBezTo>
                  <a:cubicBezTo>
                    <a:pt x="1392" y="754"/>
                    <a:pt x="1392" y="754"/>
                    <a:pt x="1392" y="754"/>
                  </a:cubicBezTo>
                  <a:cubicBezTo>
                    <a:pt x="1392" y="754"/>
                    <a:pt x="1392" y="754"/>
                    <a:pt x="1392" y="754"/>
                  </a:cubicBezTo>
                  <a:cubicBezTo>
                    <a:pt x="1392" y="754"/>
                    <a:pt x="1392" y="754"/>
                    <a:pt x="1392" y="754"/>
                  </a:cubicBezTo>
                  <a:cubicBezTo>
                    <a:pt x="1392" y="754"/>
                    <a:pt x="1392" y="754"/>
                    <a:pt x="1392" y="754"/>
                  </a:cubicBezTo>
                  <a:cubicBezTo>
                    <a:pt x="1392" y="755"/>
                    <a:pt x="1392" y="755"/>
                    <a:pt x="1392" y="756"/>
                  </a:cubicBezTo>
                  <a:cubicBezTo>
                    <a:pt x="1392" y="756"/>
                    <a:pt x="1392" y="756"/>
                    <a:pt x="1392" y="756"/>
                  </a:cubicBezTo>
                  <a:cubicBezTo>
                    <a:pt x="1391" y="756"/>
                    <a:pt x="1391" y="756"/>
                    <a:pt x="1391" y="756"/>
                  </a:cubicBezTo>
                  <a:cubicBezTo>
                    <a:pt x="1391" y="756"/>
                    <a:pt x="1391" y="756"/>
                    <a:pt x="1391" y="756"/>
                  </a:cubicBezTo>
                  <a:cubicBezTo>
                    <a:pt x="1391" y="756"/>
                    <a:pt x="1391" y="756"/>
                    <a:pt x="1391" y="756"/>
                  </a:cubicBezTo>
                  <a:cubicBezTo>
                    <a:pt x="1391" y="756"/>
                    <a:pt x="1391" y="756"/>
                    <a:pt x="1391" y="756"/>
                  </a:cubicBezTo>
                  <a:cubicBezTo>
                    <a:pt x="1391" y="756"/>
                    <a:pt x="1391" y="756"/>
                    <a:pt x="1391" y="756"/>
                  </a:cubicBezTo>
                  <a:cubicBezTo>
                    <a:pt x="1391" y="757"/>
                    <a:pt x="1391" y="757"/>
                    <a:pt x="1391" y="757"/>
                  </a:cubicBezTo>
                  <a:cubicBezTo>
                    <a:pt x="1391" y="757"/>
                    <a:pt x="1391" y="757"/>
                    <a:pt x="1391" y="757"/>
                  </a:cubicBezTo>
                  <a:cubicBezTo>
                    <a:pt x="1391" y="757"/>
                    <a:pt x="1391" y="757"/>
                    <a:pt x="1391" y="757"/>
                  </a:cubicBezTo>
                  <a:cubicBezTo>
                    <a:pt x="1391" y="757"/>
                    <a:pt x="1391" y="757"/>
                    <a:pt x="1391" y="757"/>
                  </a:cubicBezTo>
                  <a:cubicBezTo>
                    <a:pt x="1390" y="757"/>
                    <a:pt x="1390" y="757"/>
                    <a:pt x="1390" y="757"/>
                  </a:cubicBezTo>
                  <a:cubicBezTo>
                    <a:pt x="1390" y="756"/>
                    <a:pt x="1390" y="756"/>
                    <a:pt x="1390" y="756"/>
                  </a:cubicBezTo>
                  <a:cubicBezTo>
                    <a:pt x="1390" y="756"/>
                    <a:pt x="1390" y="756"/>
                    <a:pt x="1390" y="756"/>
                  </a:cubicBezTo>
                  <a:cubicBezTo>
                    <a:pt x="1389" y="756"/>
                    <a:pt x="1389" y="756"/>
                    <a:pt x="1389" y="756"/>
                  </a:cubicBezTo>
                  <a:cubicBezTo>
                    <a:pt x="1389" y="756"/>
                    <a:pt x="1389" y="756"/>
                    <a:pt x="1389" y="756"/>
                  </a:cubicBezTo>
                  <a:cubicBezTo>
                    <a:pt x="1389" y="756"/>
                    <a:pt x="1389" y="756"/>
                    <a:pt x="1389" y="756"/>
                  </a:cubicBezTo>
                  <a:cubicBezTo>
                    <a:pt x="1389" y="756"/>
                    <a:pt x="1389" y="756"/>
                    <a:pt x="1389" y="756"/>
                  </a:cubicBezTo>
                  <a:cubicBezTo>
                    <a:pt x="1390" y="756"/>
                    <a:pt x="1390" y="756"/>
                    <a:pt x="1390" y="756"/>
                  </a:cubicBezTo>
                  <a:cubicBezTo>
                    <a:pt x="1391" y="755"/>
                    <a:pt x="1391" y="755"/>
                    <a:pt x="1391" y="755"/>
                  </a:cubicBezTo>
                  <a:cubicBezTo>
                    <a:pt x="1391" y="755"/>
                    <a:pt x="1391" y="755"/>
                    <a:pt x="1391" y="755"/>
                  </a:cubicBezTo>
                  <a:cubicBezTo>
                    <a:pt x="1391" y="754"/>
                    <a:pt x="1391" y="754"/>
                    <a:pt x="1391" y="754"/>
                  </a:cubicBezTo>
                  <a:cubicBezTo>
                    <a:pt x="1392" y="754"/>
                    <a:pt x="1392" y="753"/>
                    <a:pt x="1393" y="753"/>
                  </a:cubicBezTo>
                  <a:cubicBezTo>
                    <a:pt x="1393" y="753"/>
                    <a:pt x="1393" y="753"/>
                    <a:pt x="1393" y="753"/>
                  </a:cubicBezTo>
                  <a:cubicBezTo>
                    <a:pt x="1393" y="752"/>
                    <a:pt x="1393" y="752"/>
                    <a:pt x="1393" y="752"/>
                  </a:cubicBezTo>
                  <a:cubicBezTo>
                    <a:pt x="1394" y="752"/>
                    <a:pt x="1394" y="752"/>
                    <a:pt x="1395" y="752"/>
                  </a:cubicBezTo>
                  <a:cubicBezTo>
                    <a:pt x="1395" y="751"/>
                    <a:pt x="1395" y="751"/>
                    <a:pt x="1395" y="751"/>
                  </a:cubicBezTo>
                  <a:cubicBezTo>
                    <a:pt x="1395" y="751"/>
                    <a:pt x="1395" y="751"/>
                    <a:pt x="1395" y="751"/>
                  </a:cubicBezTo>
                  <a:cubicBezTo>
                    <a:pt x="1395" y="751"/>
                    <a:pt x="1395" y="751"/>
                    <a:pt x="1395" y="751"/>
                  </a:cubicBezTo>
                  <a:cubicBezTo>
                    <a:pt x="1396" y="749"/>
                    <a:pt x="1397" y="749"/>
                    <a:pt x="1399" y="748"/>
                  </a:cubicBezTo>
                  <a:cubicBezTo>
                    <a:pt x="1399" y="747"/>
                    <a:pt x="1399" y="747"/>
                    <a:pt x="1399" y="747"/>
                  </a:cubicBezTo>
                  <a:cubicBezTo>
                    <a:pt x="1399" y="747"/>
                    <a:pt x="1399" y="747"/>
                    <a:pt x="1399" y="747"/>
                  </a:cubicBezTo>
                  <a:cubicBezTo>
                    <a:pt x="1400" y="747"/>
                    <a:pt x="1400" y="747"/>
                    <a:pt x="1400" y="747"/>
                  </a:cubicBezTo>
                  <a:cubicBezTo>
                    <a:pt x="1400" y="747"/>
                    <a:pt x="1400" y="747"/>
                    <a:pt x="1400" y="747"/>
                  </a:cubicBezTo>
                  <a:cubicBezTo>
                    <a:pt x="1401" y="747"/>
                    <a:pt x="1401" y="747"/>
                    <a:pt x="1402" y="746"/>
                  </a:cubicBezTo>
                  <a:cubicBezTo>
                    <a:pt x="1402" y="746"/>
                    <a:pt x="1402" y="746"/>
                    <a:pt x="1402" y="746"/>
                  </a:cubicBezTo>
                  <a:cubicBezTo>
                    <a:pt x="1402" y="746"/>
                    <a:pt x="1402" y="746"/>
                    <a:pt x="1402" y="746"/>
                  </a:cubicBezTo>
                  <a:cubicBezTo>
                    <a:pt x="1402" y="746"/>
                    <a:pt x="1402" y="746"/>
                    <a:pt x="1402" y="746"/>
                  </a:cubicBezTo>
                  <a:cubicBezTo>
                    <a:pt x="1403" y="746"/>
                    <a:pt x="1403" y="746"/>
                    <a:pt x="1403" y="746"/>
                  </a:cubicBezTo>
                  <a:cubicBezTo>
                    <a:pt x="1403" y="746"/>
                    <a:pt x="1403" y="746"/>
                    <a:pt x="1403" y="746"/>
                  </a:cubicBezTo>
                  <a:cubicBezTo>
                    <a:pt x="1403" y="746"/>
                    <a:pt x="1403" y="746"/>
                    <a:pt x="1403" y="746"/>
                  </a:cubicBezTo>
                  <a:cubicBezTo>
                    <a:pt x="1403" y="745"/>
                    <a:pt x="1403" y="745"/>
                    <a:pt x="1403" y="745"/>
                  </a:cubicBezTo>
                  <a:cubicBezTo>
                    <a:pt x="1402" y="745"/>
                    <a:pt x="1402" y="745"/>
                    <a:pt x="1402" y="745"/>
                  </a:cubicBezTo>
                  <a:cubicBezTo>
                    <a:pt x="1402" y="744"/>
                    <a:pt x="1402" y="744"/>
                    <a:pt x="1402" y="744"/>
                  </a:cubicBezTo>
                  <a:cubicBezTo>
                    <a:pt x="1402" y="744"/>
                    <a:pt x="1402" y="744"/>
                    <a:pt x="1402" y="743"/>
                  </a:cubicBezTo>
                  <a:cubicBezTo>
                    <a:pt x="1402" y="743"/>
                    <a:pt x="1402" y="743"/>
                    <a:pt x="1402" y="743"/>
                  </a:cubicBezTo>
                  <a:cubicBezTo>
                    <a:pt x="1402" y="742"/>
                    <a:pt x="1402" y="742"/>
                    <a:pt x="1402" y="742"/>
                  </a:cubicBezTo>
                  <a:cubicBezTo>
                    <a:pt x="1401" y="740"/>
                    <a:pt x="1401" y="740"/>
                    <a:pt x="1401" y="740"/>
                  </a:cubicBezTo>
                  <a:cubicBezTo>
                    <a:pt x="1397" y="735"/>
                    <a:pt x="1397" y="735"/>
                    <a:pt x="1397" y="735"/>
                  </a:cubicBezTo>
                  <a:cubicBezTo>
                    <a:pt x="1396" y="733"/>
                    <a:pt x="1396" y="733"/>
                    <a:pt x="1396" y="733"/>
                  </a:cubicBezTo>
                  <a:cubicBezTo>
                    <a:pt x="1395" y="732"/>
                    <a:pt x="1395" y="732"/>
                    <a:pt x="1395" y="732"/>
                  </a:cubicBezTo>
                  <a:cubicBezTo>
                    <a:pt x="1395" y="732"/>
                    <a:pt x="1395" y="732"/>
                    <a:pt x="1395" y="732"/>
                  </a:cubicBezTo>
                  <a:cubicBezTo>
                    <a:pt x="1395" y="732"/>
                    <a:pt x="1395" y="732"/>
                    <a:pt x="1395" y="732"/>
                  </a:cubicBezTo>
                  <a:cubicBezTo>
                    <a:pt x="1395" y="732"/>
                    <a:pt x="1395" y="732"/>
                    <a:pt x="1395" y="732"/>
                  </a:cubicBezTo>
                  <a:cubicBezTo>
                    <a:pt x="1395" y="731"/>
                    <a:pt x="1395" y="731"/>
                    <a:pt x="1395" y="731"/>
                  </a:cubicBezTo>
                  <a:cubicBezTo>
                    <a:pt x="1395" y="731"/>
                    <a:pt x="1395" y="731"/>
                    <a:pt x="1395" y="731"/>
                  </a:cubicBezTo>
                  <a:cubicBezTo>
                    <a:pt x="1395" y="731"/>
                    <a:pt x="1395" y="731"/>
                    <a:pt x="1395" y="731"/>
                  </a:cubicBezTo>
                  <a:cubicBezTo>
                    <a:pt x="1394" y="731"/>
                    <a:pt x="1394" y="731"/>
                    <a:pt x="1394" y="731"/>
                  </a:cubicBezTo>
                  <a:cubicBezTo>
                    <a:pt x="1394" y="731"/>
                    <a:pt x="1394" y="731"/>
                    <a:pt x="1394" y="731"/>
                  </a:cubicBezTo>
                  <a:cubicBezTo>
                    <a:pt x="1394" y="731"/>
                    <a:pt x="1394" y="731"/>
                    <a:pt x="1394" y="731"/>
                  </a:cubicBezTo>
                  <a:cubicBezTo>
                    <a:pt x="1394" y="731"/>
                    <a:pt x="1394" y="731"/>
                    <a:pt x="1394" y="731"/>
                  </a:cubicBezTo>
                  <a:cubicBezTo>
                    <a:pt x="1394" y="731"/>
                    <a:pt x="1394" y="731"/>
                    <a:pt x="1394" y="731"/>
                  </a:cubicBezTo>
                  <a:cubicBezTo>
                    <a:pt x="1394" y="730"/>
                    <a:pt x="1394" y="730"/>
                    <a:pt x="1394" y="730"/>
                  </a:cubicBezTo>
                  <a:cubicBezTo>
                    <a:pt x="1393" y="730"/>
                    <a:pt x="1393" y="730"/>
                    <a:pt x="1393" y="730"/>
                  </a:cubicBezTo>
                  <a:cubicBezTo>
                    <a:pt x="1393" y="730"/>
                    <a:pt x="1393" y="730"/>
                    <a:pt x="1393" y="730"/>
                  </a:cubicBezTo>
                  <a:cubicBezTo>
                    <a:pt x="1392" y="730"/>
                    <a:pt x="1392" y="730"/>
                    <a:pt x="1391" y="729"/>
                  </a:cubicBezTo>
                  <a:cubicBezTo>
                    <a:pt x="1391" y="729"/>
                    <a:pt x="1391" y="729"/>
                    <a:pt x="1391" y="729"/>
                  </a:cubicBezTo>
                  <a:cubicBezTo>
                    <a:pt x="1391" y="729"/>
                    <a:pt x="1391" y="729"/>
                    <a:pt x="1391" y="729"/>
                  </a:cubicBezTo>
                  <a:cubicBezTo>
                    <a:pt x="1391" y="728"/>
                    <a:pt x="1391" y="728"/>
                    <a:pt x="1391" y="728"/>
                  </a:cubicBezTo>
                  <a:cubicBezTo>
                    <a:pt x="1391" y="728"/>
                    <a:pt x="1391" y="728"/>
                    <a:pt x="1391" y="728"/>
                  </a:cubicBezTo>
                  <a:cubicBezTo>
                    <a:pt x="1391" y="728"/>
                    <a:pt x="1391" y="728"/>
                    <a:pt x="1391" y="728"/>
                  </a:cubicBezTo>
                  <a:cubicBezTo>
                    <a:pt x="1391" y="728"/>
                    <a:pt x="1391" y="728"/>
                    <a:pt x="1391" y="728"/>
                  </a:cubicBezTo>
                  <a:cubicBezTo>
                    <a:pt x="1390" y="728"/>
                    <a:pt x="1390" y="728"/>
                    <a:pt x="1390" y="728"/>
                  </a:cubicBezTo>
                  <a:cubicBezTo>
                    <a:pt x="1390" y="728"/>
                    <a:pt x="1390" y="728"/>
                    <a:pt x="1390" y="728"/>
                  </a:cubicBezTo>
                  <a:cubicBezTo>
                    <a:pt x="1390" y="727"/>
                    <a:pt x="1390" y="727"/>
                    <a:pt x="1390" y="727"/>
                  </a:cubicBezTo>
                  <a:cubicBezTo>
                    <a:pt x="1390" y="727"/>
                    <a:pt x="1390" y="727"/>
                    <a:pt x="1390" y="727"/>
                  </a:cubicBezTo>
                  <a:cubicBezTo>
                    <a:pt x="1390" y="727"/>
                    <a:pt x="1390" y="727"/>
                    <a:pt x="1390" y="727"/>
                  </a:cubicBezTo>
                  <a:cubicBezTo>
                    <a:pt x="1390" y="727"/>
                    <a:pt x="1390" y="727"/>
                    <a:pt x="1390" y="727"/>
                  </a:cubicBezTo>
                  <a:cubicBezTo>
                    <a:pt x="1390" y="727"/>
                    <a:pt x="1390" y="727"/>
                    <a:pt x="1390" y="727"/>
                  </a:cubicBezTo>
                  <a:cubicBezTo>
                    <a:pt x="1390" y="726"/>
                    <a:pt x="1390" y="726"/>
                    <a:pt x="1390" y="726"/>
                  </a:cubicBezTo>
                  <a:cubicBezTo>
                    <a:pt x="1389" y="726"/>
                    <a:pt x="1389" y="726"/>
                    <a:pt x="1389" y="726"/>
                  </a:cubicBezTo>
                  <a:cubicBezTo>
                    <a:pt x="1389" y="726"/>
                    <a:pt x="1389" y="726"/>
                    <a:pt x="1389" y="726"/>
                  </a:cubicBezTo>
                  <a:cubicBezTo>
                    <a:pt x="1389" y="726"/>
                    <a:pt x="1389" y="726"/>
                    <a:pt x="1389" y="726"/>
                  </a:cubicBezTo>
                  <a:cubicBezTo>
                    <a:pt x="1389" y="726"/>
                    <a:pt x="1389" y="726"/>
                    <a:pt x="1389" y="726"/>
                  </a:cubicBezTo>
                  <a:cubicBezTo>
                    <a:pt x="1389" y="726"/>
                    <a:pt x="1389" y="726"/>
                    <a:pt x="1389" y="726"/>
                  </a:cubicBezTo>
                  <a:cubicBezTo>
                    <a:pt x="1389" y="726"/>
                    <a:pt x="1389" y="726"/>
                    <a:pt x="1389" y="726"/>
                  </a:cubicBezTo>
                  <a:cubicBezTo>
                    <a:pt x="1388" y="726"/>
                    <a:pt x="1388" y="726"/>
                    <a:pt x="1388" y="726"/>
                  </a:cubicBezTo>
                  <a:cubicBezTo>
                    <a:pt x="1388" y="725"/>
                    <a:pt x="1388" y="725"/>
                    <a:pt x="1388" y="725"/>
                  </a:cubicBezTo>
                  <a:cubicBezTo>
                    <a:pt x="1388" y="725"/>
                    <a:pt x="1388" y="725"/>
                    <a:pt x="1388" y="725"/>
                  </a:cubicBezTo>
                  <a:cubicBezTo>
                    <a:pt x="1388" y="725"/>
                    <a:pt x="1388" y="725"/>
                    <a:pt x="1388" y="725"/>
                  </a:cubicBezTo>
                  <a:cubicBezTo>
                    <a:pt x="1388" y="725"/>
                    <a:pt x="1388" y="725"/>
                    <a:pt x="1388" y="725"/>
                  </a:cubicBezTo>
                  <a:cubicBezTo>
                    <a:pt x="1388" y="725"/>
                    <a:pt x="1388" y="725"/>
                    <a:pt x="1388" y="725"/>
                  </a:cubicBezTo>
                  <a:cubicBezTo>
                    <a:pt x="1387" y="725"/>
                    <a:pt x="1387" y="725"/>
                    <a:pt x="1387" y="725"/>
                  </a:cubicBezTo>
                  <a:cubicBezTo>
                    <a:pt x="1387" y="725"/>
                    <a:pt x="1387" y="725"/>
                    <a:pt x="1387" y="725"/>
                  </a:cubicBezTo>
                  <a:cubicBezTo>
                    <a:pt x="1387" y="725"/>
                    <a:pt x="1387" y="725"/>
                    <a:pt x="1387" y="725"/>
                  </a:cubicBezTo>
                  <a:cubicBezTo>
                    <a:pt x="1387" y="725"/>
                    <a:pt x="1387" y="725"/>
                    <a:pt x="1387" y="725"/>
                  </a:cubicBezTo>
                  <a:cubicBezTo>
                    <a:pt x="1387" y="724"/>
                    <a:pt x="1387" y="725"/>
                    <a:pt x="1387" y="725"/>
                  </a:cubicBezTo>
                  <a:cubicBezTo>
                    <a:pt x="1386" y="725"/>
                    <a:pt x="1386" y="725"/>
                    <a:pt x="1386" y="725"/>
                  </a:cubicBezTo>
                  <a:cubicBezTo>
                    <a:pt x="1386" y="725"/>
                    <a:pt x="1386" y="725"/>
                    <a:pt x="1386" y="725"/>
                  </a:cubicBezTo>
                  <a:cubicBezTo>
                    <a:pt x="1386" y="725"/>
                    <a:pt x="1386" y="725"/>
                    <a:pt x="1386" y="725"/>
                  </a:cubicBezTo>
                  <a:cubicBezTo>
                    <a:pt x="1386" y="725"/>
                    <a:pt x="1386" y="725"/>
                    <a:pt x="1386" y="725"/>
                  </a:cubicBezTo>
                  <a:cubicBezTo>
                    <a:pt x="1386" y="725"/>
                    <a:pt x="1386" y="725"/>
                    <a:pt x="1386" y="725"/>
                  </a:cubicBezTo>
                  <a:cubicBezTo>
                    <a:pt x="1385" y="725"/>
                    <a:pt x="1384" y="724"/>
                    <a:pt x="1384" y="724"/>
                  </a:cubicBezTo>
                  <a:cubicBezTo>
                    <a:pt x="1383" y="724"/>
                    <a:pt x="1383" y="724"/>
                    <a:pt x="1383" y="724"/>
                  </a:cubicBezTo>
                  <a:cubicBezTo>
                    <a:pt x="1383" y="724"/>
                    <a:pt x="1383" y="724"/>
                    <a:pt x="1383" y="724"/>
                  </a:cubicBezTo>
                  <a:cubicBezTo>
                    <a:pt x="1382" y="723"/>
                    <a:pt x="1381" y="723"/>
                    <a:pt x="1381" y="723"/>
                  </a:cubicBezTo>
                  <a:cubicBezTo>
                    <a:pt x="1381" y="723"/>
                    <a:pt x="1381" y="723"/>
                    <a:pt x="1381" y="723"/>
                  </a:cubicBezTo>
                  <a:cubicBezTo>
                    <a:pt x="1380" y="723"/>
                    <a:pt x="1380" y="723"/>
                    <a:pt x="1380" y="723"/>
                  </a:cubicBezTo>
                  <a:cubicBezTo>
                    <a:pt x="1380" y="722"/>
                    <a:pt x="1380" y="722"/>
                    <a:pt x="1380" y="722"/>
                  </a:cubicBezTo>
                  <a:cubicBezTo>
                    <a:pt x="1380" y="722"/>
                    <a:pt x="1380" y="722"/>
                    <a:pt x="1380" y="722"/>
                  </a:cubicBezTo>
                  <a:cubicBezTo>
                    <a:pt x="1380" y="722"/>
                    <a:pt x="1380" y="722"/>
                    <a:pt x="1380" y="722"/>
                  </a:cubicBezTo>
                  <a:cubicBezTo>
                    <a:pt x="1378" y="721"/>
                    <a:pt x="1379" y="719"/>
                    <a:pt x="1376" y="719"/>
                  </a:cubicBezTo>
                  <a:cubicBezTo>
                    <a:pt x="1376" y="719"/>
                    <a:pt x="1376" y="719"/>
                    <a:pt x="1376" y="719"/>
                  </a:cubicBezTo>
                  <a:cubicBezTo>
                    <a:pt x="1375" y="719"/>
                    <a:pt x="1375" y="719"/>
                    <a:pt x="1375" y="719"/>
                  </a:cubicBezTo>
                  <a:cubicBezTo>
                    <a:pt x="1375" y="719"/>
                    <a:pt x="1375" y="719"/>
                    <a:pt x="1375" y="719"/>
                  </a:cubicBezTo>
                  <a:cubicBezTo>
                    <a:pt x="1374" y="719"/>
                    <a:pt x="1374" y="719"/>
                    <a:pt x="1372" y="719"/>
                  </a:cubicBezTo>
                  <a:cubicBezTo>
                    <a:pt x="1372" y="719"/>
                    <a:pt x="1372" y="719"/>
                    <a:pt x="1372" y="719"/>
                  </a:cubicBezTo>
                  <a:cubicBezTo>
                    <a:pt x="1372" y="719"/>
                    <a:pt x="1372" y="719"/>
                    <a:pt x="1372" y="719"/>
                  </a:cubicBezTo>
                  <a:cubicBezTo>
                    <a:pt x="1371" y="719"/>
                    <a:pt x="1371" y="720"/>
                    <a:pt x="1370" y="720"/>
                  </a:cubicBezTo>
                  <a:cubicBezTo>
                    <a:pt x="1370" y="720"/>
                    <a:pt x="1370" y="720"/>
                    <a:pt x="1370" y="720"/>
                  </a:cubicBezTo>
                  <a:cubicBezTo>
                    <a:pt x="1370" y="720"/>
                    <a:pt x="1370" y="720"/>
                    <a:pt x="1370" y="720"/>
                  </a:cubicBezTo>
                  <a:cubicBezTo>
                    <a:pt x="1369" y="720"/>
                    <a:pt x="1369" y="720"/>
                    <a:pt x="1369" y="720"/>
                  </a:cubicBezTo>
                  <a:cubicBezTo>
                    <a:pt x="1369" y="720"/>
                    <a:pt x="1369" y="720"/>
                    <a:pt x="1369" y="720"/>
                  </a:cubicBezTo>
                  <a:cubicBezTo>
                    <a:pt x="1369" y="720"/>
                    <a:pt x="1369" y="720"/>
                    <a:pt x="1369" y="720"/>
                  </a:cubicBezTo>
                  <a:cubicBezTo>
                    <a:pt x="1369" y="720"/>
                    <a:pt x="1369" y="720"/>
                    <a:pt x="1369" y="720"/>
                  </a:cubicBezTo>
                  <a:cubicBezTo>
                    <a:pt x="1369" y="720"/>
                    <a:pt x="1369" y="720"/>
                    <a:pt x="1369" y="720"/>
                  </a:cubicBezTo>
                  <a:cubicBezTo>
                    <a:pt x="1370" y="719"/>
                    <a:pt x="1370" y="719"/>
                    <a:pt x="1370" y="719"/>
                  </a:cubicBezTo>
                  <a:cubicBezTo>
                    <a:pt x="1371" y="718"/>
                    <a:pt x="1371" y="718"/>
                    <a:pt x="1371" y="718"/>
                  </a:cubicBezTo>
                  <a:cubicBezTo>
                    <a:pt x="1371" y="718"/>
                    <a:pt x="1371" y="718"/>
                    <a:pt x="1371" y="718"/>
                  </a:cubicBezTo>
                  <a:cubicBezTo>
                    <a:pt x="1371" y="718"/>
                    <a:pt x="1371" y="718"/>
                    <a:pt x="1371" y="718"/>
                  </a:cubicBezTo>
                  <a:cubicBezTo>
                    <a:pt x="1372" y="718"/>
                    <a:pt x="1372" y="718"/>
                    <a:pt x="1372" y="718"/>
                  </a:cubicBezTo>
                  <a:cubicBezTo>
                    <a:pt x="1372" y="718"/>
                    <a:pt x="1372" y="718"/>
                    <a:pt x="1372" y="718"/>
                  </a:cubicBezTo>
                  <a:cubicBezTo>
                    <a:pt x="1372" y="718"/>
                    <a:pt x="1372" y="718"/>
                    <a:pt x="1373" y="718"/>
                  </a:cubicBezTo>
                  <a:cubicBezTo>
                    <a:pt x="1373" y="718"/>
                    <a:pt x="1373" y="718"/>
                    <a:pt x="1373" y="718"/>
                  </a:cubicBezTo>
                  <a:cubicBezTo>
                    <a:pt x="1373" y="718"/>
                    <a:pt x="1373" y="718"/>
                    <a:pt x="1373" y="718"/>
                  </a:cubicBezTo>
                  <a:cubicBezTo>
                    <a:pt x="1373" y="717"/>
                    <a:pt x="1374" y="717"/>
                    <a:pt x="1374" y="717"/>
                  </a:cubicBezTo>
                  <a:cubicBezTo>
                    <a:pt x="1374" y="717"/>
                    <a:pt x="1374" y="717"/>
                    <a:pt x="1374" y="717"/>
                  </a:cubicBezTo>
                  <a:cubicBezTo>
                    <a:pt x="1374" y="717"/>
                    <a:pt x="1374" y="717"/>
                    <a:pt x="1374" y="717"/>
                  </a:cubicBezTo>
                  <a:cubicBezTo>
                    <a:pt x="1374" y="717"/>
                    <a:pt x="1374" y="717"/>
                    <a:pt x="1374" y="717"/>
                  </a:cubicBezTo>
                  <a:cubicBezTo>
                    <a:pt x="1377" y="717"/>
                    <a:pt x="1376" y="716"/>
                    <a:pt x="1377" y="717"/>
                  </a:cubicBezTo>
                  <a:cubicBezTo>
                    <a:pt x="1378" y="717"/>
                    <a:pt x="1378" y="717"/>
                    <a:pt x="1378" y="717"/>
                  </a:cubicBezTo>
                  <a:cubicBezTo>
                    <a:pt x="1378" y="717"/>
                    <a:pt x="1378" y="717"/>
                    <a:pt x="1378" y="717"/>
                  </a:cubicBezTo>
                  <a:cubicBezTo>
                    <a:pt x="1378" y="716"/>
                    <a:pt x="1378" y="716"/>
                    <a:pt x="1378" y="716"/>
                  </a:cubicBezTo>
                  <a:cubicBezTo>
                    <a:pt x="1377" y="715"/>
                    <a:pt x="1377" y="715"/>
                    <a:pt x="1377" y="715"/>
                  </a:cubicBezTo>
                  <a:cubicBezTo>
                    <a:pt x="1375" y="713"/>
                    <a:pt x="1375" y="713"/>
                    <a:pt x="1375" y="713"/>
                  </a:cubicBezTo>
                  <a:cubicBezTo>
                    <a:pt x="1375" y="711"/>
                    <a:pt x="1375" y="711"/>
                    <a:pt x="1375" y="711"/>
                  </a:cubicBezTo>
                  <a:cubicBezTo>
                    <a:pt x="1374" y="711"/>
                    <a:pt x="1374" y="710"/>
                    <a:pt x="1373" y="710"/>
                  </a:cubicBezTo>
                  <a:cubicBezTo>
                    <a:pt x="1373" y="710"/>
                    <a:pt x="1373" y="710"/>
                    <a:pt x="1373" y="710"/>
                  </a:cubicBezTo>
                  <a:cubicBezTo>
                    <a:pt x="1373" y="710"/>
                    <a:pt x="1373" y="710"/>
                    <a:pt x="1373" y="710"/>
                  </a:cubicBezTo>
                  <a:cubicBezTo>
                    <a:pt x="1373" y="709"/>
                    <a:pt x="1372" y="709"/>
                    <a:pt x="1372" y="708"/>
                  </a:cubicBezTo>
                  <a:cubicBezTo>
                    <a:pt x="1372" y="708"/>
                    <a:pt x="1372" y="708"/>
                    <a:pt x="1372" y="708"/>
                  </a:cubicBezTo>
                  <a:cubicBezTo>
                    <a:pt x="1372" y="708"/>
                    <a:pt x="1372" y="708"/>
                    <a:pt x="1372" y="708"/>
                  </a:cubicBezTo>
                  <a:cubicBezTo>
                    <a:pt x="1372" y="708"/>
                    <a:pt x="1372" y="708"/>
                    <a:pt x="1372" y="708"/>
                  </a:cubicBezTo>
                  <a:cubicBezTo>
                    <a:pt x="1371" y="708"/>
                    <a:pt x="1371" y="708"/>
                    <a:pt x="1371" y="708"/>
                  </a:cubicBezTo>
                  <a:cubicBezTo>
                    <a:pt x="1371" y="707"/>
                    <a:pt x="1371" y="707"/>
                    <a:pt x="1370" y="707"/>
                  </a:cubicBezTo>
                  <a:cubicBezTo>
                    <a:pt x="1370" y="706"/>
                    <a:pt x="1370" y="706"/>
                    <a:pt x="1370" y="706"/>
                  </a:cubicBezTo>
                  <a:cubicBezTo>
                    <a:pt x="1370" y="706"/>
                    <a:pt x="1370" y="706"/>
                    <a:pt x="1370" y="706"/>
                  </a:cubicBezTo>
                  <a:cubicBezTo>
                    <a:pt x="1369" y="706"/>
                    <a:pt x="1369" y="706"/>
                    <a:pt x="1368" y="705"/>
                  </a:cubicBezTo>
                  <a:cubicBezTo>
                    <a:pt x="1368" y="705"/>
                    <a:pt x="1368" y="705"/>
                    <a:pt x="1368" y="705"/>
                  </a:cubicBezTo>
                  <a:cubicBezTo>
                    <a:pt x="1368" y="705"/>
                    <a:pt x="1368" y="705"/>
                    <a:pt x="1368" y="705"/>
                  </a:cubicBezTo>
                  <a:cubicBezTo>
                    <a:pt x="1368" y="705"/>
                    <a:pt x="1368" y="705"/>
                    <a:pt x="1368" y="705"/>
                  </a:cubicBezTo>
                  <a:cubicBezTo>
                    <a:pt x="1368" y="705"/>
                    <a:pt x="1368" y="705"/>
                    <a:pt x="1368" y="705"/>
                  </a:cubicBezTo>
                  <a:cubicBezTo>
                    <a:pt x="1368" y="705"/>
                    <a:pt x="1368" y="705"/>
                    <a:pt x="1368" y="705"/>
                  </a:cubicBezTo>
                  <a:cubicBezTo>
                    <a:pt x="1368" y="704"/>
                    <a:pt x="1368" y="704"/>
                    <a:pt x="1368" y="704"/>
                  </a:cubicBezTo>
                  <a:cubicBezTo>
                    <a:pt x="1367" y="703"/>
                    <a:pt x="1367" y="703"/>
                    <a:pt x="1367" y="702"/>
                  </a:cubicBezTo>
                  <a:cubicBezTo>
                    <a:pt x="1366" y="702"/>
                    <a:pt x="1366" y="702"/>
                    <a:pt x="1366" y="702"/>
                  </a:cubicBezTo>
                  <a:cubicBezTo>
                    <a:pt x="1366" y="701"/>
                    <a:pt x="1366" y="701"/>
                    <a:pt x="1366" y="701"/>
                  </a:cubicBezTo>
                  <a:cubicBezTo>
                    <a:pt x="1366" y="701"/>
                    <a:pt x="1366" y="701"/>
                    <a:pt x="1366" y="701"/>
                  </a:cubicBezTo>
                  <a:cubicBezTo>
                    <a:pt x="1366" y="701"/>
                    <a:pt x="1366" y="701"/>
                    <a:pt x="1366" y="701"/>
                  </a:cubicBezTo>
                  <a:cubicBezTo>
                    <a:pt x="1366" y="701"/>
                    <a:pt x="1366" y="701"/>
                    <a:pt x="1366" y="701"/>
                  </a:cubicBezTo>
                  <a:cubicBezTo>
                    <a:pt x="1366" y="701"/>
                    <a:pt x="1366" y="701"/>
                    <a:pt x="1366" y="701"/>
                  </a:cubicBezTo>
                  <a:cubicBezTo>
                    <a:pt x="1365" y="701"/>
                    <a:pt x="1365" y="701"/>
                    <a:pt x="1365" y="701"/>
                  </a:cubicBezTo>
                  <a:cubicBezTo>
                    <a:pt x="1365" y="700"/>
                    <a:pt x="1365" y="700"/>
                    <a:pt x="1365" y="700"/>
                  </a:cubicBezTo>
                  <a:cubicBezTo>
                    <a:pt x="1365" y="700"/>
                    <a:pt x="1365" y="700"/>
                    <a:pt x="1365" y="700"/>
                  </a:cubicBezTo>
                  <a:cubicBezTo>
                    <a:pt x="1365" y="700"/>
                    <a:pt x="1365" y="700"/>
                    <a:pt x="1365" y="700"/>
                  </a:cubicBezTo>
                  <a:cubicBezTo>
                    <a:pt x="1365" y="700"/>
                    <a:pt x="1365" y="700"/>
                    <a:pt x="1365" y="700"/>
                  </a:cubicBezTo>
                  <a:cubicBezTo>
                    <a:pt x="1365" y="700"/>
                    <a:pt x="1365" y="700"/>
                    <a:pt x="1365" y="700"/>
                  </a:cubicBezTo>
                  <a:cubicBezTo>
                    <a:pt x="1365" y="700"/>
                    <a:pt x="1365" y="700"/>
                    <a:pt x="1365" y="700"/>
                  </a:cubicBezTo>
                  <a:cubicBezTo>
                    <a:pt x="1365" y="700"/>
                    <a:pt x="1365" y="700"/>
                    <a:pt x="1365" y="700"/>
                  </a:cubicBezTo>
                  <a:cubicBezTo>
                    <a:pt x="1365" y="700"/>
                    <a:pt x="1365" y="700"/>
                    <a:pt x="1365" y="700"/>
                  </a:cubicBezTo>
                  <a:cubicBezTo>
                    <a:pt x="1364" y="700"/>
                    <a:pt x="1364" y="700"/>
                    <a:pt x="1364" y="700"/>
                  </a:cubicBezTo>
                  <a:cubicBezTo>
                    <a:pt x="1364" y="699"/>
                    <a:pt x="1364" y="699"/>
                    <a:pt x="1364" y="699"/>
                  </a:cubicBezTo>
                  <a:cubicBezTo>
                    <a:pt x="1364" y="699"/>
                    <a:pt x="1364" y="699"/>
                    <a:pt x="1364" y="699"/>
                  </a:cubicBezTo>
                  <a:cubicBezTo>
                    <a:pt x="1364" y="699"/>
                    <a:pt x="1363" y="698"/>
                    <a:pt x="1362" y="698"/>
                  </a:cubicBezTo>
                  <a:cubicBezTo>
                    <a:pt x="1362" y="698"/>
                    <a:pt x="1362" y="698"/>
                    <a:pt x="1362" y="698"/>
                  </a:cubicBezTo>
                  <a:cubicBezTo>
                    <a:pt x="1362" y="698"/>
                    <a:pt x="1362" y="698"/>
                    <a:pt x="1362" y="698"/>
                  </a:cubicBezTo>
                  <a:cubicBezTo>
                    <a:pt x="1362" y="698"/>
                    <a:pt x="1361" y="698"/>
                    <a:pt x="1360" y="697"/>
                  </a:cubicBezTo>
                  <a:cubicBezTo>
                    <a:pt x="1360" y="697"/>
                    <a:pt x="1360" y="697"/>
                    <a:pt x="1360" y="697"/>
                  </a:cubicBezTo>
                  <a:cubicBezTo>
                    <a:pt x="1360" y="697"/>
                    <a:pt x="1360" y="697"/>
                    <a:pt x="1360" y="697"/>
                  </a:cubicBezTo>
                  <a:cubicBezTo>
                    <a:pt x="1360" y="696"/>
                    <a:pt x="1360" y="696"/>
                    <a:pt x="1360" y="696"/>
                  </a:cubicBezTo>
                  <a:cubicBezTo>
                    <a:pt x="1360" y="696"/>
                    <a:pt x="1360" y="696"/>
                    <a:pt x="1360" y="696"/>
                  </a:cubicBezTo>
                  <a:cubicBezTo>
                    <a:pt x="1360" y="695"/>
                    <a:pt x="1360" y="695"/>
                    <a:pt x="1360" y="695"/>
                  </a:cubicBezTo>
                  <a:cubicBezTo>
                    <a:pt x="1360" y="694"/>
                    <a:pt x="1360" y="694"/>
                    <a:pt x="1360" y="694"/>
                  </a:cubicBezTo>
                  <a:cubicBezTo>
                    <a:pt x="1361" y="690"/>
                    <a:pt x="1361" y="690"/>
                    <a:pt x="1361" y="690"/>
                  </a:cubicBezTo>
                  <a:cubicBezTo>
                    <a:pt x="1362" y="688"/>
                    <a:pt x="1362" y="688"/>
                    <a:pt x="1362" y="688"/>
                  </a:cubicBezTo>
                  <a:cubicBezTo>
                    <a:pt x="1362" y="688"/>
                    <a:pt x="1362" y="688"/>
                    <a:pt x="1362" y="688"/>
                  </a:cubicBezTo>
                  <a:cubicBezTo>
                    <a:pt x="1362" y="687"/>
                    <a:pt x="1362" y="687"/>
                    <a:pt x="1362" y="687"/>
                  </a:cubicBezTo>
                  <a:cubicBezTo>
                    <a:pt x="1362" y="687"/>
                    <a:pt x="1362" y="687"/>
                    <a:pt x="1362" y="687"/>
                  </a:cubicBezTo>
                  <a:cubicBezTo>
                    <a:pt x="1362" y="687"/>
                    <a:pt x="1362" y="687"/>
                    <a:pt x="1362" y="687"/>
                  </a:cubicBezTo>
                  <a:cubicBezTo>
                    <a:pt x="1362" y="687"/>
                    <a:pt x="1362" y="687"/>
                    <a:pt x="1362" y="687"/>
                  </a:cubicBezTo>
                  <a:cubicBezTo>
                    <a:pt x="1363" y="687"/>
                    <a:pt x="1363" y="687"/>
                    <a:pt x="1363" y="687"/>
                  </a:cubicBezTo>
                  <a:cubicBezTo>
                    <a:pt x="1363" y="687"/>
                    <a:pt x="1363" y="687"/>
                    <a:pt x="1363" y="687"/>
                  </a:cubicBezTo>
                  <a:cubicBezTo>
                    <a:pt x="1363" y="687"/>
                    <a:pt x="1363" y="687"/>
                    <a:pt x="1363" y="687"/>
                  </a:cubicBezTo>
                  <a:cubicBezTo>
                    <a:pt x="1363" y="687"/>
                    <a:pt x="1363" y="687"/>
                    <a:pt x="1363" y="687"/>
                  </a:cubicBezTo>
                  <a:cubicBezTo>
                    <a:pt x="1363" y="687"/>
                    <a:pt x="1363" y="687"/>
                    <a:pt x="1363" y="687"/>
                  </a:cubicBezTo>
                  <a:cubicBezTo>
                    <a:pt x="1363" y="687"/>
                    <a:pt x="1363" y="687"/>
                    <a:pt x="1363" y="687"/>
                  </a:cubicBezTo>
                  <a:cubicBezTo>
                    <a:pt x="1363" y="684"/>
                    <a:pt x="1363" y="684"/>
                    <a:pt x="1363" y="684"/>
                  </a:cubicBezTo>
                  <a:cubicBezTo>
                    <a:pt x="1362" y="679"/>
                    <a:pt x="1362" y="679"/>
                    <a:pt x="1362" y="679"/>
                  </a:cubicBezTo>
                  <a:cubicBezTo>
                    <a:pt x="1361" y="667"/>
                    <a:pt x="1361" y="667"/>
                    <a:pt x="1361" y="667"/>
                  </a:cubicBezTo>
                  <a:cubicBezTo>
                    <a:pt x="1360" y="663"/>
                    <a:pt x="1360" y="663"/>
                    <a:pt x="1360" y="663"/>
                  </a:cubicBezTo>
                  <a:cubicBezTo>
                    <a:pt x="1359" y="660"/>
                    <a:pt x="1359" y="660"/>
                    <a:pt x="1359" y="660"/>
                  </a:cubicBezTo>
                  <a:cubicBezTo>
                    <a:pt x="1359" y="660"/>
                    <a:pt x="1359" y="660"/>
                    <a:pt x="1359" y="660"/>
                  </a:cubicBezTo>
                  <a:cubicBezTo>
                    <a:pt x="1359" y="660"/>
                    <a:pt x="1359" y="660"/>
                    <a:pt x="1359" y="660"/>
                  </a:cubicBezTo>
                  <a:cubicBezTo>
                    <a:pt x="1359" y="660"/>
                    <a:pt x="1359" y="660"/>
                    <a:pt x="1359" y="660"/>
                  </a:cubicBezTo>
                  <a:cubicBezTo>
                    <a:pt x="1359" y="660"/>
                    <a:pt x="1359" y="660"/>
                    <a:pt x="1359" y="660"/>
                  </a:cubicBezTo>
                  <a:cubicBezTo>
                    <a:pt x="1359" y="660"/>
                    <a:pt x="1359" y="660"/>
                    <a:pt x="1359" y="660"/>
                  </a:cubicBezTo>
                  <a:cubicBezTo>
                    <a:pt x="1359" y="660"/>
                    <a:pt x="1359" y="660"/>
                    <a:pt x="1359" y="660"/>
                  </a:cubicBezTo>
                  <a:cubicBezTo>
                    <a:pt x="1358" y="659"/>
                    <a:pt x="1357" y="661"/>
                    <a:pt x="1357" y="659"/>
                  </a:cubicBezTo>
                  <a:cubicBezTo>
                    <a:pt x="1357" y="658"/>
                    <a:pt x="1357" y="658"/>
                    <a:pt x="1357" y="658"/>
                  </a:cubicBezTo>
                  <a:cubicBezTo>
                    <a:pt x="1357" y="658"/>
                    <a:pt x="1357" y="658"/>
                    <a:pt x="1357" y="658"/>
                  </a:cubicBezTo>
                  <a:cubicBezTo>
                    <a:pt x="1357" y="658"/>
                    <a:pt x="1357" y="658"/>
                    <a:pt x="1357" y="658"/>
                  </a:cubicBezTo>
                  <a:cubicBezTo>
                    <a:pt x="1357" y="658"/>
                    <a:pt x="1357" y="658"/>
                    <a:pt x="1357" y="658"/>
                  </a:cubicBezTo>
                  <a:cubicBezTo>
                    <a:pt x="1357" y="658"/>
                    <a:pt x="1357" y="658"/>
                    <a:pt x="1357" y="658"/>
                  </a:cubicBezTo>
                  <a:cubicBezTo>
                    <a:pt x="1357" y="657"/>
                    <a:pt x="1357" y="657"/>
                    <a:pt x="1357" y="657"/>
                  </a:cubicBezTo>
                  <a:cubicBezTo>
                    <a:pt x="1356" y="657"/>
                    <a:pt x="1356" y="657"/>
                    <a:pt x="1356" y="657"/>
                  </a:cubicBezTo>
                  <a:cubicBezTo>
                    <a:pt x="1356" y="657"/>
                    <a:pt x="1356" y="657"/>
                    <a:pt x="1356" y="657"/>
                  </a:cubicBezTo>
                  <a:cubicBezTo>
                    <a:pt x="1356" y="657"/>
                    <a:pt x="1356" y="657"/>
                    <a:pt x="1356" y="657"/>
                  </a:cubicBezTo>
                  <a:cubicBezTo>
                    <a:pt x="1357" y="655"/>
                    <a:pt x="1357" y="655"/>
                    <a:pt x="1357" y="655"/>
                  </a:cubicBezTo>
                  <a:cubicBezTo>
                    <a:pt x="1357" y="651"/>
                    <a:pt x="1357" y="651"/>
                    <a:pt x="1357" y="651"/>
                  </a:cubicBezTo>
                  <a:cubicBezTo>
                    <a:pt x="1360" y="641"/>
                    <a:pt x="1360" y="641"/>
                    <a:pt x="1360" y="641"/>
                  </a:cubicBezTo>
                  <a:cubicBezTo>
                    <a:pt x="1361" y="637"/>
                    <a:pt x="1361" y="637"/>
                    <a:pt x="1361" y="637"/>
                  </a:cubicBezTo>
                  <a:cubicBezTo>
                    <a:pt x="1360" y="628"/>
                    <a:pt x="1360" y="628"/>
                    <a:pt x="1360" y="628"/>
                  </a:cubicBezTo>
                  <a:cubicBezTo>
                    <a:pt x="1349" y="627"/>
                    <a:pt x="1349" y="627"/>
                    <a:pt x="1349" y="627"/>
                  </a:cubicBezTo>
                  <a:cubicBezTo>
                    <a:pt x="1348" y="627"/>
                    <a:pt x="1348" y="627"/>
                    <a:pt x="1348" y="627"/>
                  </a:cubicBezTo>
                  <a:cubicBezTo>
                    <a:pt x="1347" y="627"/>
                    <a:pt x="1347" y="627"/>
                    <a:pt x="1347" y="627"/>
                  </a:cubicBezTo>
                  <a:cubicBezTo>
                    <a:pt x="1347" y="627"/>
                    <a:pt x="1347" y="627"/>
                    <a:pt x="1347" y="627"/>
                  </a:cubicBezTo>
                  <a:cubicBezTo>
                    <a:pt x="1346" y="627"/>
                    <a:pt x="1346" y="627"/>
                    <a:pt x="1346" y="627"/>
                  </a:cubicBezTo>
                  <a:cubicBezTo>
                    <a:pt x="1346" y="626"/>
                    <a:pt x="1346" y="626"/>
                    <a:pt x="1346" y="626"/>
                  </a:cubicBezTo>
                  <a:cubicBezTo>
                    <a:pt x="1346" y="626"/>
                    <a:pt x="1346" y="626"/>
                    <a:pt x="1346" y="626"/>
                  </a:cubicBezTo>
                  <a:cubicBezTo>
                    <a:pt x="1345" y="626"/>
                    <a:pt x="1345" y="626"/>
                    <a:pt x="1345" y="626"/>
                  </a:cubicBezTo>
                  <a:cubicBezTo>
                    <a:pt x="1345" y="627"/>
                    <a:pt x="1345" y="627"/>
                    <a:pt x="1345" y="627"/>
                  </a:cubicBezTo>
                  <a:cubicBezTo>
                    <a:pt x="1345" y="627"/>
                    <a:pt x="1345" y="627"/>
                    <a:pt x="1345" y="627"/>
                  </a:cubicBezTo>
                  <a:cubicBezTo>
                    <a:pt x="1345" y="628"/>
                    <a:pt x="1345" y="628"/>
                    <a:pt x="1345" y="628"/>
                  </a:cubicBezTo>
                  <a:cubicBezTo>
                    <a:pt x="1344" y="628"/>
                    <a:pt x="1344" y="628"/>
                    <a:pt x="1344" y="628"/>
                  </a:cubicBezTo>
                  <a:cubicBezTo>
                    <a:pt x="1344" y="628"/>
                    <a:pt x="1344" y="628"/>
                    <a:pt x="1344" y="628"/>
                  </a:cubicBezTo>
                  <a:cubicBezTo>
                    <a:pt x="1344" y="627"/>
                    <a:pt x="1344" y="627"/>
                    <a:pt x="1344" y="627"/>
                  </a:cubicBezTo>
                  <a:cubicBezTo>
                    <a:pt x="1345" y="626"/>
                    <a:pt x="1345" y="626"/>
                    <a:pt x="1345" y="626"/>
                  </a:cubicBezTo>
                  <a:cubicBezTo>
                    <a:pt x="1345" y="625"/>
                    <a:pt x="1345" y="625"/>
                    <a:pt x="1345" y="625"/>
                  </a:cubicBezTo>
                  <a:cubicBezTo>
                    <a:pt x="1345" y="625"/>
                    <a:pt x="1345" y="625"/>
                    <a:pt x="1345" y="625"/>
                  </a:cubicBezTo>
                  <a:cubicBezTo>
                    <a:pt x="1345" y="624"/>
                    <a:pt x="1345" y="624"/>
                    <a:pt x="1345" y="624"/>
                  </a:cubicBezTo>
                  <a:cubicBezTo>
                    <a:pt x="1344" y="624"/>
                    <a:pt x="1344" y="624"/>
                    <a:pt x="1344" y="624"/>
                  </a:cubicBezTo>
                  <a:cubicBezTo>
                    <a:pt x="1344" y="624"/>
                    <a:pt x="1344" y="624"/>
                    <a:pt x="1344" y="624"/>
                  </a:cubicBezTo>
                  <a:cubicBezTo>
                    <a:pt x="1344" y="624"/>
                    <a:pt x="1344" y="624"/>
                    <a:pt x="1344" y="624"/>
                  </a:cubicBezTo>
                  <a:cubicBezTo>
                    <a:pt x="1343" y="624"/>
                    <a:pt x="1343" y="624"/>
                    <a:pt x="1343" y="624"/>
                  </a:cubicBezTo>
                  <a:cubicBezTo>
                    <a:pt x="1342" y="624"/>
                    <a:pt x="1342" y="624"/>
                    <a:pt x="1342" y="624"/>
                  </a:cubicBezTo>
                  <a:cubicBezTo>
                    <a:pt x="1338" y="624"/>
                    <a:pt x="1338" y="624"/>
                    <a:pt x="1338" y="624"/>
                  </a:cubicBezTo>
                  <a:cubicBezTo>
                    <a:pt x="1336" y="624"/>
                    <a:pt x="1336" y="624"/>
                    <a:pt x="1336" y="624"/>
                  </a:cubicBezTo>
                  <a:cubicBezTo>
                    <a:pt x="1335" y="624"/>
                    <a:pt x="1335" y="624"/>
                    <a:pt x="1335" y="624"/>
                  </a:cubicBezTo>
                  <a:cubicBezTo>
                    <a:pt x="1335" y="624"/>
                    <a:pt x="1335" y="624"/>
                    <a:pt x="1335" y="624"/>
                  </a:cubicBezTo>
                  <a:cubicBezTo>
                    <a:pt x="1334" y="624"/>
                    <a:pt x="1334" y="624"/>
                    <a:pt x="1334" y="624"/>
                  </a:cubicBezTo>
                  <a:cubicBezTo>
                    <a:pt x="1334" y="624"/>
                    <a:pt x="1334" y="624"/>
                    <a:pt x="1334" y="624"/>
                  </a:cubicBezTo>
                  <a:cubicBezTo>
                    <a:pt x="1333" y="624"/>
                    <a:pt x="1333" y="624"/>
                    <a:pt x="1333" y="624"/>
                  </a:cubicBezTo>
                  <a:cubicBezTo>
                    <a:pt x="1333" y="624"/>
                    <a:pt x="1333" y="624"/>
                    <a:pt x="1333" y="624"/>
                  </a:cubicBezTo>
                  <a:cubicBezTo>
                    <a:pt x="1332" y="624"/>
                    <a:pt x="1332" y="624"/>
                    <a:pt x="1332" y="624"/>
                  </a:cubicBezTo>
                  <a:cubicBezTo>
                    <a:pt x="1332" y="624"/>
                    <a:pt x="1332" y="624"/>
                    <a:pt x="1332" y="624"/>
                  </a:cubicBezTo>
                  <a:cubicBezTo>
                    <a:pt x="1332" y="624"/>
                    <a:pt x="1332" y="624"/>
                    <a:pt x="1332" y="624"/>
                  </a:cubicBezTo>
                  <a:cubicBezTo>
                    <a:pt x="1332" y="624"/>
                    <a:pt x="1332" y="624"/>
                    <a:pt x="1332" y="624"/>
                  </a:cubicBezTo>
                  <a:cubicBezTo>
                    <a:pt x="1331" y="624"/>
                    <a:pt x="1331" y="624"/>
                    <a:pt x="1331" y="624"/>
                  </a:cubicBezTo>
                  <a:cubicBezTo>
                    <a:pt x="1330" y="623"/>
                    <a:pt x="1330" y="623"/>
                    <a:pt x="1330" y="623"/>
                  </a:cubicBezTo>
                  <a:cubicBezTo>
                    <a:pt x="1329" y="623"/>
                    <a:pt x="1329" y="623"/>
                    <a:pt x="1329" y="623"/>
                  </a:cubicBezTo>
                  <a:cubicBezTo>
                    <a:pt x="1328" y="623"/>
                    <a:pt x="1328" y="623"/>
                    <a:pt x="1328" y="623"/>
                  </a:cubicBezTo>
                  <a:cubicBezTo>
                    <a:pt x="1327" y="622"/>
                    <a:pt x="1327" y="622"/>
                    <a:pt x="1327" y="622"/>
                  </a:cubicBezTo>
                  <a:cubicBezTo>
                    <a:pt x="1327" y="622"/>
                    <a:pt x="1327" y="622"/>
                    <a:pt x="1327" y="622"/>
                  </a:cubicBezTo>
                  <a:cubicBezTo>
                    <a:pt x="1327" y="622"/>
                    <a:pt x="1327" y="622"/>
                    <a:pt x="1327" y="622"/>
                  </a:cubicBezTo>
                  <a:cubicBezTo>
                    <a:pt x="1326" y="622"/>
                    <a:pt x="1326" y="622"/>
                    <a:pt x="1326" y="622"/>
                  </a:cubicBezTo>
                  <a:cubicBezTo>
                    <a:pt x="1327" y="623"/>
                    <a:pt x="1327" y="623"/>
                    <a:pt x="1327" y="623"/>
                  </a:cubicBezTo>
                  <a:cubicBezTo>
                    <a:pt x="1327" y="623"/>
                    <a:pt x="1327" y="623"/>
                    <a:pt x="1327" y="623"/>
                  </a:cubicBezTo>
                  <a:cubicBezTo>
                    <a:pt x="1327" y="623"/>
                    <a:pt x="1327" y="623"/>
                    <a:pt x="1327" y="623"/>
                  </a:cubicBezTo>
                  <a:cubicBezTo>
                    <a:pt x="1327" y="623"/>
                    <a:pt x="1327" y="623"/>
                    <a:pt x="1327" y="623"/>
                  </a:cubicBezTo>
                  <a:cubicBezTo>
                    <a:pt x="1327" y="623"/>
                    <a:pt x="1327" y="623"/>
                    <a:pt x="1327" y="623"/>
                  </a:cubicBezTo>
                  <a:cubicBezTo>
                    <a:pt x="1327" y="623"/>
                    <a:pt x="1327" y="623"/>
                    <a:pt x="1327" y="623"/>
                  </a:cubicBezTo>
                  <a:cubicBezTo>
                    <a:pt x="1327" y="623"/>
                    <a:pt x="1327" y="623"/>
                    <a:pt x="1327" y="623"/>
                  </a:cubicBezTo>
                  <a:cubicBezTo>
                    <a:pt x="1328" y="623"/>
                    <a:pt x="1328" y="623"/>
                    <a:pt x="1328" y="623"/>
                  </a:cubicBezTo>
                  <a:cubicBezTo>
                    <a:pt x="1328" y="624"/>
                    <a:pt x="1328" y="624"/>
                    <a:pt x="1328" y="624"/>
                  </a:cubicBezTo>
                  <a:cubicBezTo>
                    <a:pt x="1329" y="624"/>
                    <a:pt x="1329" y="624"/>
                    <a:pt x="1329" y="624"/>
                  </a:cubicBezTo>
                  <a:cubicBezTo>
                    <a:pt x="1329" y="624"/>
                    <a:pt x="1329" y="624"/>
                    <a:pt x="1329" y="624"/>
                  </a:cubicBezTo>
                  <a:cubicBezTo>
                    <a:pt x="1329" y="624"/>
                    <a:pt x="1329" y="624"/>
                    <a:pt x="1329" y="624"/>
                  </a:cubicBezTo>
                  <a:cubicBezTo>
                    <a:pt x="1329" y="625"/>
                    <a:pt x="1329" y="625"/>
                    <a:pt x="1329" y="625"/>
                  </a:cubicBezTo>
                  <a:cubicBezTo>
                    <a:pt x="1330" y="625"/>
                    <a:pt x="1330" y="625"/>
                    <a:pt x="1330" y="625"/>
                  </a:cubicBezTo>
                  <a:cubicBezTo>
                    <a:pt x="1330" y="625"/>
                    <a:pt x="1330" y="625"/>
                    <a:pt x="1330" y="625"/>
                  </a:cubicBezTo>
                  <a:cubicBezTo>
                    <a:pt x="1330" y="625"/>
                    <a:pt x="1330" y="625"/>
                    <a:pt x="1330" y="625"/>
                  </a:cubicBezTo>
                  <a:cubicBezTo>
                    <a:pt x="1330" y="625"/>
                    <a:pt x="1330" y="625"/>
                    <a:pt x="1330" y="625"/>
                  </a:cubicBezTo>
                  <a:cubicBezTo>
                    <a:pt x="1330" y="625"/>
                    <a:pt x="1330" y="625"/>
                    <a:pt x="1330" y="625"/>
                  </a:cubicBezTo>
                  <a:cubicBezTo>
                    <a:pt x="1330" y="626"/>
                    <a:pt x="1330" y="626"/>
                    <a:pt x="1330" y="626"/>
                  </a:cubicBezTo>
                  <a:cubicBezTo>
                    <a:pt x="1330" y="626"/>
                    <a:pt x="1330" y="626"/>
                    <a:pt x="1330" y="626"/>
                  </a:cubicBezTo>
                  <a:cubicBezTo>
                    <a:pt x="1330" y="626"/>
                    <a:pt x="1330" y="626"/>
                    <a:pt x="1330" y="626"/>
                  </a:cubicBezTo>
                  <a:cubicBezTo>
                    <a:pt x="1330" y="626"/>
                    <a:pt x="1330" y="626"/>
                    <a:pt x="1330" y="626"/>
                  </a:cubicBezTo>
                  <a:cubicBezTo>
                    <a:pt x="1330" y="626"/>
                    <a:pt x="1330" y="626"/>
                    <a:pt x="1330" y="626"/>
                  </a:cubicBezTo>
                  <a:cubicBezTo>
                    <a:pt x="1330" y="626"/>
                    <a:pt x="1330" y="626"/>
                    <a:pt x="1330" y="626"/>
                  </a:cubicBezTo>
                  <a:cubicBezTo>
                    <a:pt x="1330" y="626"/>
                    <a:pt x="1330" y="626"/>
                    <a:pt x="1330" y="626"/>
                  </a:cubicBezTo>
                  <a:cubicBezTo>
                    <a:pt x="1330" y="627"/>
                    <a:pt x="1330" y="627"/>
                    <a:pt x="1330" y="627"/>
                  </a:cubicBezTo>
                  <a:cubicBezTo>
                    <a:pt x="1330" y="627"/>
                    <a:pt x="1330" y="627"/>
                    <a:pt x="1330" y="627"/>
                  </a:cubicBezTo>
                  <a:cubicBezTo>
                    <a:pt x="1330" y="627"/>
                    <a:pt x="1330" y="627"/>
                    <a:pt x="1330" y="627"/>
                  </a:cubicBezTo>
                  <a:cubicBezTo>
                    <a:pt x="1329" y="627"/>
                    <a:pt x="1329" y="627"/>
                    <a:pt x="1329" y="627"/>
                  </a:cubicBezTo>
                  <a:cubicBezTo>
                    <a:pt x="1326" y="626"/>
                    <a:pt x="1326" y="626"/>
                    <a:pt x="1326" y="626"/>
                  </a:cubicBezTo>
                  <a:cubicBezTo>
                    <a:pt x="1320" y="624"/>
                    <a:pt x="1320" y="624"/>
                    <a:pt x="1320" y="624"/>
                  </a:cubicBezTo>
                  <a:cubicBezTo>
                    <a:pt x="1318" y="623"/>
                    <a:pt x="1318" y="623"/>
                    <a:pt x="1318" y="623"/>
                  </a:cubicBezTo>
                  <a:cubicBezTo>
                    <a:pt x="1317" y="623"/>
                    <a:pt x="1317" y="623"/>
                    <a:pt x="1317" y="623"/>
                  </a:cubicBezTo>
                  <a:cubicBezTo>
                    <a:pt x="1316" y="622"/>
                    <a:pt x="1315" y="622"/>
                    <a:pt x="1314" y="622"/>
                  </a:cubicBezTo>
                  <a:cubicBezTo>
                    <a:pt x="1314" y="622"/>
                    <a:pt x="1314" y="622"/>
                    <a:pt x="1314" y="622"/>
                  </a:cubicBezTo>
                  <a:cubicBezTo>
                    <a:pt x="1314" y="622"/>
                    <a:pt x="1314" y="622"/>
                    <a:pt x="1314" y="622"/>
                  </a:cubicBezTo>
                  <a:cubicBezTo>
                    <a:pt x="1313" y="622"/>
                    <a:pt x="1313" y="622"/>
                    <a:pt x="1312" y="622"/>
                  </a:cubicBezTo>
                  <a:cubicBezTo>
                    <a:pt x="1312" y="622"/>
                    <a:pt x="1312" y="622"/>
                    <a:pt x="1312" y="622"/>
                  </a:cubicBezTo>
                  <a:cubicBezTo>
                    <a:pt x="1312" y="622"/>
                    <a:pt x="1312" y="622"/>
                    <a:pt x="1312" y="622"/>
                  </a:cubicBezTo>
                  <a:cubicBezTo>
                    <a:pt x="1312" y="622"/>
                    <a:pt x="1312" y="622"/>
                    <a:pt x="1312" y="622"/>
                  </a:cubicBezTo>
                  <a:cubicBezTo>
                    <a:pt x="1310" y="622"/>
                    <a:pt x="1311" y="622"/>
                    <a:pt x="1309" y="623"/>
                  </a:cubicBezTo>
                  <a:cubicBezTo>
                    <a:pt x="1309" y="623"/>
                    <a:pt x="1309" y="623"/>
                    <a:pt x="1309" y="623"/>
                  </a:cubicBezTo>
                  <a:cubicBezTo>
                    <a:pt x="1308" y="623"/>
                    <a:pt x="1308" y="623"/>
                    <a:pt x="1308" y="623"/>
                  </a:cubicBezTo>
                  <a:cubicBezTo>
                    <a:pt x="1308" y="623"/>
                    <a:pt x="1308" y="623"/>
                    <a:pt x="1308" y="623"/>
                  </a:cubicBezTo>
                  <a:cubicBezTo>
                    <a:pt x="1304" y="624"/>
                    <a:pt x="1302" y="623"/>
                    <a:pt x="1298" y="622"/>
                  </a:cubicBezTo>
                  <a:cubicBezTo>
                    <a:pt x="1298" y="622"/>
                    <a:pt x="1298" y="622"/>
                    <a:pt x="1298" y="622"/>
                  </a:cubicBezTo>
                  <a:cubicBezTo>
                    <a:pt x="1298" y="622"/>
                    <a:pt x="1298" y="622"/>
                    <a:pt x="1298" y="622"/>
                  </a:cubicBezTo>
                  <a:cubicBezTo>
                    <a:pt x="1298" y="622"/>
                    <a:pt x="1298" y="622"/>
                    <a:pt x="1298" y="622"/>
                  </a:cubicBezTo>
                  <a:cubicBezTo>
                    <a:pt x="1298" y="622"/>
                    <a:pt x="1298" y="622"/>
                    <a:pt x="1298" y="622"/>
                  </a:cubicBezTo>
                  <a:cubicBezTo>
                    <a:pt x="1296" y="621"/>
                    <a:pt x="1292" y="623"/>
                    <a:pt x="1291" y="625"/>
                  </a:cubicBezTo>
                  <a:cubicBezTo>
                    <a:pt x="1291" y="625"/>
                    <a:pt x="1291" y="625"/>
                    <a:pt x="1291" y="625"/>
                  </a:cubicBezTo>
                  <a:cubicBezTo>
                    <a:pt x="1291" y="625"/>
                    <a:pt x="1291" y="625"/>
                    <a:pt x="1291" y="625"/>
                  </a:cubicBezTo>
                  <a:cubicBezTo>
                    <a:pt x="1291" y="625"/>
                    <a:pt x="1291" y="625"/>
                    <a:pt x="1291" y="625"/>
                  </a:cubicBezTo>
                  <a:cubicBezTo>
                    <a:pt x="1290" y="627"/>
                    <a:pt x="1289" y="627"/>
                    <a:pt x="1289" y="628"/>
                  </a:cubicBezTo>
                  <a:cubicBezTo>
                    <a:pt x="1289" y="628"/>
                    <a:pt x="1289" y="628"/>
                    <a:pt x="1289" y="628"/>
                  </a:cubicBezTo>
                  <a:cubicBezTo>
                    <a:pt x="1288" y="629"/>
                    <a:pt x="1288" y="629"/>
                    <a:pt x="1288" y="629"/>
                  </a:cubicBezTo>
                  <a:cubicBezTo>
                    <a:pt x="1288" y="630"/>
                    <a:pt x="1288" y="630"/>
                    <a:pt x="1287" y="631"/>
                  </a:cubicBezTo>
                  <a:cubicBezTo>
                    <a:pt x="1287" y="631"/>
                    <a:pt x="1287" y="631"/>
                    <a:pt x="1287" y="631"/>
                  </a:cubicBezTo>
                  <a:cubicBezTo>
                    <a:pt x="1287" y="631"/>
                    <a:pt x="1287" y="631"/>
                    <a:pt x="1287" y="631"/>
                  </a:cubicBezTo>
                  <a:cubicBezTo>
                    <a:pt x="1287" y="631"/>
                    <a:pt x="1287" y="631"/>
                    <a:pt x="1287" y="631"/>
                  </a:cubicBezTo>
                  <a:cubicBezTo>
                    <a:pt x="1287" y="632"/>
                    <a:pt x="1287" y="632"/>
                    <a:pt x="1287" y="632"/>
                  </a:cubicBezTo>
                  <a:cubicBezTo>
                    <a:pt x="1287" y="631"/>
                    <a:pt x="1287" y="631"/>
                    <a:pt x="1287" y="631"/>
                  </a:cubicBezTo>
                  <a:cubicBezTo>
                    <a:pt x="1287" y="631"/>
                    <a:pt x="1287" y="631"/>
                    <a:pt x="1287" y="631"/>
                  </a:cubicBezTo>
                  <a:cubicBezTo>
                    <a:pt x="1287" y="629"/>
                    <a:pt x="1287" y="629"/>
                    <a:pt x="1287" y="629"/>
                  </a:cubicBezTo>
                  <a:cubicBezTo>
                    <a:pt x="1287" y="629"/>
                    <a:pt x="1287" y="629"/>
                    <a:pt x="1287" y="629"/>
                  </a:cubicBezTo>
                  <a:cubicBezTo>
                    <a:pt x="1287" y="628"/>
                    <a:pt x="1287" y="628"/>
                    <a:pt x="1287" y="628"/>
                  </a:cubicBezTo>
                  <a:cubicBezTo>
                    <a:pt x="1287" y="628"/>
                    <a:pt x="1287" y="628"/>
                    <a:pt x="1287" y="628"/>
                  </a:cubicBezTo>
                  <a:cubicBezTo>
                    <a:pt x="1288" y="628"/>
                    <a:pt x="1288" y="628"/>
                    <a:pt x="1288" y="628"/>
                  </a:cubicBezTo>
                  <a:cubicBezTo>
                    <a:pt x="1288" y="628"/>
                    <a:pt x="1288" y="628"/>
                    <a:pt x="1288" y="628"/>
                  </a:cubicBezTo>
                  <a:cubicBezTo>
                    <a:pt x="1288" y="628"/>
                    <a:pt x="1288" y="628"/>
                    <a:pt x="1288" y="628"/>
                  </a:cubicBezTo>
                  <a:cubicBezTo>
                    <a:pt x="1288" y="627"/>
                    <a:pt x="1288" y="627"/>
                    <a:pt x="1288" y="627"/>
                  </a:cubicBezTo>
                  <a:cubicBezTo>
                    <a:pt x="1288" y="627"/>
                    <a:pt x="1288" y="627"/>
                    <a:pt x="1288" y="627"/>
                  </a:cubicBezTo>
                  <a:cubicBezTo>
                    <a:pt x="1288" y="627"/>
                    <a:pt x="1288" y="627"/>
                    <a:pt x="1288" y="627"/>
                  </a:cubicBezTo>
                  <a:cubicBezTo>
                    <a:pt x="1289" y="627"/>
                    <a:pt x="1289" y="627"/>
                    <a:pt x="1289" y="627"/>
                  </a:cubicBezTo>
                  <a:cubicBezTo>
                    <a:pt x="1289" y="627"/>
                    <a:pt x="1289" y="627"/>
                    <a:pt x="1289" y="627"/>
                  </a:cubicBezTo>
                  <a:cubicBezTo>
                    <a:pt x="1289" y="627"/>
                    <a:pt x="1289" y="627"/>
                    <a:pt x="1289" y="627"/>
                  </a:cubicBezTo>
                  <a:cubicBezTo>
                    <a:pt x="1289" y="627"/>
                    <a:pt x="1289" y="627"/>
                    <a:pt x="1289" y="627"/>
                  </a:cubicBezTo>
                  <a:cubicBezTo>
                    <a:pt x="1289" y="626"/>
                    <a:pt x="1289" y="626"/>
                    <a:pt x="1289" y="626"/>
                  </a:cubicBezTo>
                  <a:cubicBezTo>
                    <a:pt x="1290" y="626"/>
                    <a:pt x="1289" y="625"/>
                    <a:pt x="1290" y="625"/>
                  </a:cubicBezTo>
                  <a:cubicBezTo>
                    <a:pt x="1290" y="624"/>
                    <a:pt x="1290" y="624"/>
                    <a:pt x="1290" y="624"/>
                  </a:cubicBezTo>
                  <a:cubicBezTo>
                    <a:pt x="1290" y="624"/>
                    <a:pt x="1290" y="624"/>
                    <a:pt x="1290" y="624"/>
                  </a:cubicBezTo>
                  <a:cubicBezTo>
                    <a:pt x="1290" y="624"/>
                    <a:pt x="1290" y="624"/>
                    <a:pt x="1290" y="624"/>
                  </a:cubicBezTo>
                  <a:cubicBezTo>
                    <a:pt x="1290" y="624"/>
                    <a:pt x="1290" y="624"/>
                    <a:pt x="1290" y="624"/>
                  </a:cubicBezTo>
                  <a:cubicBezTo>
                    <a:pt x="1291" y="624"/>
                    <a:pt x="1291" y="624"/>
                    <a:pt x="1291" y="624"/>
                  </a:cubicBezTo>
                  <a:cubicBezTo>
                    <a:pt x="1291" y="624"/>
                    <a:pt x="1291" y="624"/>
                    <a:pt x="1291" y="624"/>
                  </a:cubicBezTo>
                  <a:cubicBezTo>
                    <a:pt x="1291" y="624"/>
                    <a:pt x="1291" y="624"/>
                    <a:pt x="1291" y="624"/>
                  </a:cubicBezTo>
                  <a:cubicBezTo>
                    <a:pt x="1291" y="623"/>
                    <a:pt x="1291" y="623"/>
                    <a:pt x="1291" y="623"/>
                  </a:cubicBezTo>
                  <a:cubicBezTo>
                    <a:pt x="1291" y="623"/>
                    <a:pt x="1291" y="623"/>
                    <a:pt x="1291" y="623"/>
                  </a:cubicBezTo>
                  <a:cubicBezTo>
                    <a:pt x="1291" y="623"/>
                    <a:pt x="1291" y="623"/>
                    <a:pt x="1291" y="623"/>
                  </a:cubicBezTo>
                  <a:cubicBezTo>
                    <a:pt x="1292" y="623"/>
                    <a:pt x="1292" y="623"/>
                    <a:pt x="1292" y="623"/>
                  </a:cubicBezTo>
                  <a:cubicBezTo>
                    <a:pt x="1292" y="623"/>
                    <a:pt x="1292" y="623"/>
                    <a:pt x="1292" y="623"/>
                  </a:cubicBezTo>
                  <a:cubicBezTo>
                    <a:pt x="1292" y="623"/>
                    <a:pt x="1292" y="623"/>
                    <a:pt x="1292" y="623"/>
                  </a:cubicBezTo>
                  <a:cubicBezTo>
                    <a:pt x="1292" y="623"/>
                    <a:pt x="1292" y="623"/>
                    <a:pt x="1292" y="623"/>
                  </a:cubicBezTo>
                  <a:cubicBezTo>
                    <a:pt x="1292" y="622"/>
                    <a:pt x="1292" y="622"/>
                    <a:pt x="1292" y="622"/>
                  </a:cubicBezTo>
                  <a:cubicBezTo>
                    <a:pt x="1292" y="622"/>
                    <a:pt x="1292" y="622"/>
                    <a:pt x="1292" y="622"/>
                  </a:cubicBezTo>
                  <a:cubicBezTo>
                    <a:pt x="1292" y="622"/>
                    <a:pt x="1292" y="622"/>
                    <a:pt x="1292" y="622"/>
                  </a:cubicBezTo>
                  <a:cubicBezTo>
                    <a:pt x="1292" y="622"/>
                    <a:pt x="1292" y="622"/>
                    <a:pt x="1292" y="622"/>
                  </a:cubicBezTo>
                  <a:cubicBezTo>
                    <a:pt x="1293" y="622"/>
                    <a:pt x="1294" y="622"/>
                    <a:pt x="1294" y="621"/>
                  </a:cubicBezTo>
                  <a:cubicBezTo>
                    <a:pt x="1294" y="621"/>
                    <a:pt x="1294" y="621"/>
                    <a:pt x="1294" y="621"/>
                  </a:cubicBezTo>
                  <a:cubicBezTo>
                    <a:pt x="1294" y="621"/>
                    <a:pt x="1294" y="621"/>
                    <a:pt x="1294" y="621"/>
                  </a:cubicBezTo>
                  <a:cubicBezTo>
                    <a:pt x="1294" y="620"/>
                    <a:pt x="1294" y="620"/>
                    <a:pt x="1294" y="620"/>
                  </a:cubicBezTo>
                  <a:cubicBezTo>
                    <a:pt x="1294" y="620"/>
                    <a:pt x="1294" y="620"/>
                    <a:pt x="1294" y="620"/>
                  </a:cubicBezTo>
                  <a:cubicBezTo>
                    <a:pt x="1293" y="620"/>
                    <a:pt x="1293" y="620"/>
                    <a:pt x="1293" y="620"/>
                  </a:cubicBezTo>
                  <a:cubicBezTo>
                    <a:pt x="1255" y="603"/>
                    <a:pt x="1255" y="603"/>
                    <a:pt x="1255" y="603"/>
                  </a:cubicBezTo>
                  <a:cubicBezTo>
                    <a:pt x="1254" y="603"/>
                    <a:pt x="1253" y="602"/>
                    <a:pt x="1252" y="602"/>
                  </a:cubicBezTo>
                  <a:cubicBezTo>
                    <a:pt x="1252" y="602"/>
                    <a:pt x="1252" y="602"/>
                    <a:pt x="1252" y="602"/>
                  </a:cubicBezTo>
                  <a:cubicBezTo>
                    <a:pt x="1251" y="602"/>
                    <a:pt x="1251" y="602"/>
                    <a:pt x="1251" y="602"/>
                  </a:cubicBezTo>
                  <a:cubicBezTo>
                    <a:pt x="1251" y="602"/>
                    <a:pt x="1251" y="602"/>
                    <a:pt x="1251" y="602"/>
                  </a:cubicBezTo>
                  <a:cubicBezTo>
                    <a:pt x="1251" y="602"/>
                    <a:pt x="1251" y="602"/>
                    <a:pt x="1251" y="602"/>
                  </a:cubicBezTo>
                  <a:cubicBezTo>
                    <a:pt x="1251" y="602"/>
                    <a:pt x="1251" y="602"/>
                    <a:pt x="1251" y="602"/>
                  </a:cubicBezTo>
                  <a:cubicBezTo>
                    <a:pt x="1250" y="601"/>
                    <a:pt x="1250" y="601"/>
                    <a:pt x="1250" y="601"/>
                  </a:cubicBezTo>
                  <a:cubicBezTo>
                    <a:pt x="1249" y="601"/>
                    <a:pt x="1249" y="601"/>
                    <a:pt x="1249" y="601"/>
                  </a:cubicBezTo>
                  <a:cubicBezTo>
                    <a:pt x="1249" y="601"/>
                    <a:pt x="1249" y="601"/>
                    <a:pt x="1249" y="601"/>
                  </a:cubicBezTo>
                  <a:cubicBezTo>
                    <a:pt x="1249" y="601"/>
                    <a:pt x="1249" y="601"/>
                    <a:pt x="1249" y="601"/>
                  </a:cubicBezTo>
                  <a:cubicBezTo>
                    <a:pt x="1249" y="601"/>
                    <a:pt x="1249" y="601"/>
                    <a:pt x="1249" y="601"/>
                  </a:cubicBezTo>
                  <a:cubicBezTo>
                    <a:pt x="1248" y="601"/>
                    <a:pt x="1248" y="601"/>
                    <a:pt x="1248" y="601"/>
                  </a:cubicBezTo>
                  <a:cubicBezTo>
                    <a:pt x="1248" y="601"/>
                    <a:pt x="1248" y="601"/>
                    <a:pt x="1248" y="601"/>
                  </a:cubicBezTo>
                  <a:cubicBezTo>
                    <a:pt x="1248" y="601"/>
                    <a:pt x="1248" y="601"/>
                    <a:pt x="1248" y="601"/>
                  </a:cubicBezTo>
                  <a:cubicBezTo>
                    <a:pt x="1248" y="601"/>
                    <a:pt x="1248" y="601"/>
                    <a:pt x="1248" y="601"/>
                  </a:cubicBezTo>
                  <a:cubicBezTo>
                    <a:pt x="1248" y="601"/>
                    <a:pt x="1248" y="601"/>
                    <a:pt x="1248" y="601"/>
                  </a:cubicBezTo>
                  <a:cubicBezTo>
                    <a:pt x="1247" y="601"/>
                    <a:pt x="1247" y="601"/>
                    <a:pt x="1247" y="601"/>
                  </a:cubicBezTo>
                  <a:cubicBezTo>
                    <a:pt x="1247" y="601"/>
                    <a:pt x="1247" y="601"/>
                    <a:pt x="1247" y="601"/>
                  </a:cubicBezTo>
                  <a:cubicBezTo>
                    <a:pt x="1246" y="601"/>
                    <a:pt x="1246" y="601"/>
                    <a:pt x="1245" y="601"/>
                  </a:cubicBezTo>
                  <a:cubicBezTo>
                    <a:pt x="1244" y="601"/>
                    <a:pt x="1244" y="601"/>
                    <a:pt x="1244" y="601"/>
                  </a:cubicBezTo>
                  <a:cubicBezTo>
                    <a:pt x="1244" y="601"/>
                    <a:pt x="1244" y="601"/>
                    <a:pt x="1244" y="601"/>
                  </a:cubicBezTo>
                  <a:cubicBezTo>
                    <a:pt x="1242" y="600"/>
                    <a:pt x="1243" y="601"/>
                    <a:pt x="1241" y="600"/>
                  </a:cubicBezTo>
                  <a:cubicBezTo>
                    <a:pt x="1240" y="600"/>
                    <a:pt x="1240" y="600"/>
                    <a:pt x="1240" y="600"/>
                  </a:cubicBezTo>
                  <a:cubicBezTo>
                    <a:pt x="1238" y="599"/>
                    <a:pt x="1238" y="599"/>
                    <a:pt x="1238" y="599"/>
                  </a:cubicBezTo>
                  <a:cubicBezTo>
                    <a:pt x="1237" y="598"/>
                    <a:pt x="1237" y="598"/>
                    <a:pt x="1237" y="598"/>
                  </a:cubicBezTo>
                  <a:cubicBezTo>
                    <a:pt x="1236" y="598"/>
                    <a:pt x="1236" y="598"/>
                    <a:pt x="1236" y="598"/>
                  </a:cubicBezTo>
                  <a:cubicBezTo>
                    <a:pt x="1236" y="598"/>
                    <a:pt x="1236" y="598"/>
                    <a:pt x="1236" y="598"/>
                  </a:cubicBezTo>
                  <a:cubicBezTo>
                    <a:pt x="1236" y="598"/>
                    <a:pt x="1236" y="598"/>
                    <a:pt x="1236" y="598"/>
                  </a:cubicBezTo>
                  <a:cubicBezTo>
                    <a:pt x="1236" y="599"/>
                    <a:pt x="1236" y="599"/>
                    <a:pt x="1236" y="599"/>
                  </a:cubicBezTo>
                  <a:cubicBezTo>
                    <a:pt x="1236" y="599"/>
                    <a:pt x="1236" y="599"/>
                    <a:pt x="1236" y="599"/>
                  </a:cubicBezTo>
                  <a:cubicBezTo>
                    <a:pt x="1236" y="599"/>
                    <a:pt x="1236" y="599"/>
                    <a:pt x="1236" y="599"/>
                  </a:cubicBezTo>
                  <a:cubicBezTo>
                    <a:pt x="1236" y="599"/>
                    <a:pt x="1236" y="599"/>
                    <a:pt x="1236" y="599"/>
                  </a:cubicBezTo>
                  <a:cubicBezTo>
                    <a:pt x="1236" y="599"/>
                    <a:pt x="1236" y="599"/>
                    <a:pt x="1236" y="599"/>
                  </a:cubicBezTo>
                  <a:cubicBezTo>
                    <a:pt x="1236" y="598"/>
                    <a:pt x="1236" y="598"/>
                    <a:pt x="1236" y="598"/>
                  </a:cubicBezTo>
                  <a:cubicBezTo>
                    <a:pt x="1235" y="597"/>
                    <a:pt x="1235" y="597"/>
                    <a:pt x="1235" y="597"/>
                  </a:cubicBezTo>
                  <a:cubicBezTo>
                    <a:pt x="1233" y="592"/>
                    <a:pt x="1234" y="593"/>
                    <a:pt x="1232" y="590"/>
                  </a:cubicBezTo>
                  <a:cubicBezTo>
                    <a:pt x="1231" y="590"/>
                    <a:pt x="1231" y="590"/>
                    <a:pt x="1231" y="590"/>
                  </a:cubicBezTo>
                  <a:cubicBezTo>
                    <a:pt x="1231" y="590"/>
                    <a:pt x="1231" y="590"/>
                    <a:pt x="1231" y="590"/>
                  </a:cubicBezTo>
                  <a:cubicBezTo>
                    <a:pt x="1231" y="589"/>
                    <a:pt x="1231" y="589"/>
                    <a:pt x="1231" y="589"/>
                  </a:cubicBezTo>
                  <a:cubicBezTo>
                    <a:pt x="1231" y="589"/>
                    <a:pt x="1231" y="589"/>
                    <a:pt x="1230" y="588"/>
                  </a:cubicBezTo>
                  <a:cubicBezTo>
                    <a:pt x="1230" y="588"/>
                    <a:pt x="1230" y="588"/>
                    <a:pt x="1230" y="588"/>
                  </a:cubicBezTo>
                  <a:cubicBezTo>
                    <a:pt x="1230" y="588"/>
                    <a:pt x="1230" y="588"/>
                    <a:pt x="1230" y="588"/>
                  </a:cubicBezTo>
                  <a:cubicBezTo>
                    <a:pt x="1229" y="587"/>
                    <a:pt x="1229" y="587"/>
                    <a:pt x="1229" y="587"/>
                  </a:cubicBezTo>
                  <a:cubicBezTo>
                    <a:pt x="1228" y="586"/>
                    <a:pt x="1228" y="586"/>
                    <a:pt x="1228" y="586"/>
                  </a:cubicBezTo>
                  <a:cubicBezTo>
                    <a:pt x="1228" y="586"/>
                    <a:pt x="1228" y="586"/>
                    <a:pt x="1228" y="586"/>
                  </a:cubicBezTo>
                  <a:cubicBezTo>
                    <a:pt x="1228" y="586"/>
                    <a:pt x="1228" y="586"/>
                    <a:pt x="1228" y="586"/>
                  </a:cubicBezTo>
                  <a:cubicBezTo>
                    <a:pt x="1228" y="586"/>
                    <a:pt x="1228" y="586"/>
                    <a:pt x="1228" y="586"/>
                  </a:cubicBezTo>
                  <a:cubicBezTo>
                    <a:pt x="1228" y="585"/>
                    <a:pt x="1228" y="585"/>
                    <a:pt x="1228" y="585"/>
                  </a:cubicBezTo>
                  <a:cubicBezTo>
                    <a:pt x="1228" y="585"/>
                    <a:pt x="1228" y="585"/>
                    <a:pt x="1228" y="585"/>
                  </a:cubicBezTo>
                  <a:cubicBezTo>
                    <a:pt x="1228" y="585"/>
                    <a:pt x="1228" y="585"/>
                    <a:pt x="1228" y="585"/>
                  </a:cubicBezTo>
                  <a:cubicBezTo>
                    <a:pt x="1228" y="585"/>
                    <a:pt x="1228" y="585"/>
                    <a:pt x="1228" y="585"/>
                  </a:cubicBezTo>
                  <a:cubicBezTo>
                    <a:pt x="1227" y="585"/>
                    <a:pt x="1227" y="585"/>
                    <a:pt x="1227" y="585"/>
                  </a:cubicBezTo>
                  <a:cubicBezTo>
                    <a:pt x="1227" y="585"/>
                    <a:pt x="1227" y="585"/>
                    <a:pt x="1227" y="585"/>
                  </a:cubicBezTo>
                  <a:cubicBezTo>
                    <a:pt x="1227" y="585"/>
                    <a:pt x="1227" y="585"/>
                    <a:pt x="1227" y="585"/>
                  </a:cubicBezTo>
                  <a:cubicBezTo>
                    <a:pt x="1204" y="571"/>
                    <a:pt x="1204" y="571"/>
                    <a:pt x="1204" y="571"/>
                  </a:cubicBezTo>
                  <a:cubicBezTo>
                    <a:pt x="1202" y="571"/>
                    <a:pt x="1202" y="571"/>
                    <a:pt x="1202" y="571"/>
                  </a:cubicBezTo>
                  <a:cubicBezTo>
                    <a:pt x="1195" y="569"/>
                    <a:pt x="1188" y="567"/>
                    <a:pt x="1180" y="565"/>
                  </a:cubicBezTo>
                  <a:cubicBezTo>
                    <a:pt x="1180" y="566"/>
                    <a:pt x="1180" y="567"/>
                    <a:pt x="1180" y="567"/>
                  </a:cubicBezTo>
                  <a:cubicBezTo>
                    <a:pt x="1180" y="565"/>
                    <a:pt x="1180" y="565"/>
                    <a:pt x="1177" y="564"/>
                  </a:cubicBezTo>
                  <a:cubicBezTo>
                    <a:pt x="1170" y="562"/>
                    <a:pt x="1161" y="556"/>
                    <a:pt x="1154" y="558"/>
                  </a:cubicBezTo>
                  <a:cubicBezTo>
                    <a:pt x="1151" y="559"/>
                    <a:pt x="1148" y="560"/>
                    <a:pt x="1146" y="561"/>
                  </a:cubicBezTo>
                  <a:cubicBezTo>
                    <a:pt x="1138" y="563"/>
                    <a:pt x="1131" y="566"/>
                    <a:pt x="1123" y="568"/>
                  </a:cubicBezTo>
                  <a:cubicBezTo>
                    <a:pt x="1125" y="567"/>
                    <a:pt x="1127" y="566"/>
                    <a:pt x="1128" y="564"/>
                  </a:cubicBezTo>
                  <a:cubicBezTo>
                    <a:pt x="1123" y="564"/>
                    <a:pt x="1118" y="567"/>
                    <a:pt x="1114" y="569"/>
                  </a:cubicBezTo>
                  <a:cubicBezTo>
                    <a:pt x="1120" y="566"/>
                    <a:pt x="1126" y="560"/>
                    <a:pt x="1124" y="553"/>
                  </a:cubicBezTo>
                  <a:cubicBezTo>
                    <a:pt x="1123" y="550"/>
                    <a:pt x="1121" y="547"/>
                    <a:pt x="1120" y="544"/>
                  </a:cubicBezTo>
                  <a:cubicBezTo>
                    <a:pt x="1120" y="543"/>
                    <a:pt x="1119" y="542"/>
                    <a:pt x="1118" y="541"/>
                  </a:cubicBezTo>
                  <a:cubicBezTo>
                    <a:pt x="1118" y="540"/>
                    <a:pt x="1117" y="539"/>
                    <a:pt x="1116" y="539"/>
                  </a:cubicBezTo>
                  <a:cubicBezTo>
                    <a:pt x="1116" y="538"/>
                    <a:pt x="1117" y="537"/>
                    <a:pt x="1117" y="536"/>
                  </a:cubicBezTo>
                  <a:cubicBezTo>
                    <a:pt x="1116" y="534"/>
                    <a:pt x="1116" y="531"/>
                    <a:pt x="1115" y="529"/>
                  </a:cubicBezTo>
                  <a:cubicBezTo>
                    <a:pt x="1113" y="526"/>
                    <a:pt x="1112" y="524"/>
                    <a:pt x="1110" y="521"/>
                  </a:cubicBezTo>
                  <a:cubicBezTo>
                    <a:pt x="1109" y="518"/>
                    <a:pt x="1109" y="516"/>
                    <a:pt x="1108" y="513"/>
                  </a:cubicBezTo>
                  <a:cubicBezTo>
                    <a:pt x="1108" y="512"/>
                    <a:pt x="1107" y="509"/>
                    <a:pt x="1106" y="508"/>
                  </a:cubicBezTo>
                  <a:cubicBezTo>
                    <a:pt x="1105" y="506"/>
                    <a:pt x="1105" y="507"/>
                    <a:pt x="1103" y="507"/>
                  </a:cubicBezTo>
                  <a:cubicBezTo>
                    <a:pt x="1102" y="507"/>
                    <a:pt x="1098" y="506"/>
                    <a:pt x="1096" y="506"/>
                  </a:cubicBezTo>
                  <a:cubicBezTo>
                    <a:pt x="1092" y="506"/>
                    <a:pt x="1088" y="507"/>
                    <a:pt x="1084" y="507"/>
                  </a:cubicBezTo>
                  <a:cubicBezTo>
                    <a:pt x="1085" y="508"/>
                    <a:pt x="1084" y="509"/>
                    <a:pt x="1083" y="511"/>
                  </a:cubicBezTo>
                  <a:cubicBezTo>
                    <a:pt x="1082" y="513"/>
                    <a:pt x="1082" y="513"/>
                    <a:pt x="1082" y="515"/>
                  </a:cubicBezTo>
                  <a:cubicBezTo>
                    <a:pt x="1082" y="519"/>
                    <a:pt x="1082" y="521"/>
                    <a:pt x="1079" y="525"/>
                  </a:cubicBezTo>
                  <a:cubicBezTo>
                    <a:pt x="1080" y="522"/>
                    <a:pt x="1081" y="519"/>
                    <a:pt x="1081" y="517"/>
                  </a:cubicBezTo>
                  <a:cubicBezTo>
                    <a:pt x="1081" y="515"/>
                    <a:pt x="1080" y="514"/>
                    <a:pt x="1081" y="513"/>
                  </a:cubicBezTo>
                  <a:cubicBezTo>
                    <a:pt x="1081" y="510"/>
                    <a:pt x="1083" y="510"/>
                    <a:pt x="1083" y="507"/>
                  </a:cubicBezTo>
                  <a:cubicBezTo>
                    <a:pt x="1083" y="504"/>
                    <a:pt x="1082" y="506"/>
                    <a:pt x="1081" y="506"/>
                  </a:cubicBezTo>
                  <a:cubicBezTo>
                    <a:pt x="1078" y="506"/>
                    <a:pt x="1076" y="506"/>
                    <a:pt x="1073" y="505"/>
                  </a:cubicBezTo>
                  <a:cubicBezTo>
                    <a:pt x="1071" y="504"/>
                    <a:pt x="1064" y="498"/>
                    <a:pt x="1065" y="496"/>
                  </a:cubicBezTo>
                  <a:cubicBezTo>
                    <a:pt x="1065" y="495"/>
                    <a:pt x="1069" y="496"/>
                    <a:pt x="1069" y="495"/>
                  </a:cubicBezTo>
                  <a:cubicBezTo>
                    <a:pt x="1070" y="494"/>
                    <a:pt x="1069" y="492"/>
                    <a:pt x="1070" y="491"/>
                  </a:cubicBezTo>
                  <a:cubicBezTo>
                    <a:pt x="1070" y="488"/>
                    <a:pt x="1071" y="488"/>
                    <a:pt x="1071" y="485"/>
                  </a:cubicBezTo>
                  <a:cubicBezTo>
                    <a:pt x="1070" y="483"/>
                    <a:pt x="1069" y="481"/>
                    <a:pt x="1069" y="478"/>
                  </a:cubicBezTo>
                  <a:cubicBezTo>
                    <a:pt x="1069" y="477"/>
                    <a:pt x="1069" y="475"/>
                    <a:pt x="1069" y="473"/>
                  </a:cubicBezTo>
                  <a:cubicBezTo>
                    <a:pt x="1070" y="470"/>
                    <a:pt x="1069" y="468"/>
                    <a:pt x="1069" y="464"/>
                  </a:cubicBezTo>
                  <a:cubicBezTo>
                    <a:pt x="1069" y="464"/>
                    <a:pt x="1069" y="464"/>
                    <a:pt x="1068" y="464"/>
                  </a:cubicBezTo>
                  <a:cubicBezTo>
                    <a:pt x="1071" y="464"/>
                    <a:pt x="1072" y="454"/>
                    <a:pt x="1073" y="451"/>
                  </a:cubicBezTo>
                  <a:cubicBezTo>
                    <a:pt x="1074" y="449"/>
                    <a:pt x="1071" y="447"/>
                    <a:pt x="1069" y="447"/>
                  </a:cubicBezTo>
                  <a:cubicBezTo>
                    <a:pt x="1071" y="445"/>
                    <a:pt x="1072" y="446"/>
                    <a:pt x="1073" y="446"/>
                  </a:cubicBezTo>
                  <a:cubicBezTo>
                    <a:pt x="1076" y="444"/>
                    <a:pt x="1077" y="438"/>
                    <a:pt x="1079" y="435"/>
                  </a:cubicBezTo>
                  <a:cubicBezTo>
                    <a:pt x="1080" y="434"/>
                    <a:pt x="1081" y="433"/>
                    <a:pt x="1082" y="431"/>
                  </a:cubicBezTo>
                  <a:cubicBezTo>
                    <a:pt x="1084" y="428"/>
                    <a:pt x="1085" y="428"/>
                    <a:pt x="1088" y="426"/>
                  </a:cubicBezTo>
                  <a:cubicBezTo>
                    <a:pt x="1088" y="426"/>
                    <a:pt x="1087" y="426"/>
                    <a:pt x="1087" y="426"/>
                  </a:cubicBezTo>
                  <a:cubicBezTo>
                    <a:pt x="1087" y="422"/>
                    <a:pt x="1088" y="421"/>
                    <a:pt x="1085" y="418"/>
                  </a:cubicBezTo>
                  <a:cubicBezTo>
                    <a:pt x="1087" y="419"/>
                    <a:pt x="1088" y="419"/>
                    <a:pt x="1089" y="418"/>
                  </a:cubicBezTo>
                  <a:cubicBezTo>
                    <a:pt x="1092" y="418"/>
                    <a:pt x="1092" y="417"/>
                    <a:pt x="1091" y="416"/>
                  </a:cubicBezTo>
                  <a:cubicBezTo>
                    <a:pt x="1090" y="415"/>
                    <a:pt x="1088" y="415"/>
                    <a:pt x="1089" y="413"/>
                  </a:cubicBezTo>
                  <a:cubicBezTo>
                    <a:pt x="1089" y="412"/>
                    <a:pt x="1091" y="410"/>
                    <a:pt x="1091" y="410"/>
                  </a:cubicBezTo>
                  <a:cubicBezTo>
                    <a:pt x="1092" y="409"/>
                    <a:pt x="1092" y="410"/>
                    <a:pt x="1093" y="410"/>
                  </a:cubicBezTo>
                  <a:cubicBezTo>
                    <a:pt x="1094" y="409"/>
                    <a:pt x="1094" y="408"/>
                    <a:pt x="1095" y="407"/>
                  </a:cubicBezTo>
                  <a:cubicBezTo>
                    <a:pt x="1098" y="406"/>
                    <a:pt x="1101" y="405"/>
                    <a:pt x="1103" y="403"/>
                  </a:cubicBezTo>
                  <a:cubicBezTo>
                    <a:pt x="1102" y="404"/>
                    <a:pt x="1101" y="403"/>
                    <a:pt x="1100" y="402"/>
                  </a:cubicBezTo>
                  <a:cubicBezTo>
                    <a:pt x="1101" y="402"/>
                    <a:pt x="1105" y="403"/>
                    <a:pt x="1105" y="402"/>
                  </a:cubicBezTo>
                  <a:cubicBezTo>
                    <a:pt x="1105" y="401"/>
                    <a:pt x="1103" y="402"/>
                    <a:pt x="1103" y="401"/>
                  </a:cubicBezTo>
                  <a:cubicBezTo>
                    <a:pt x="1103" y="400"/>
                    <a:pt x="1100" y="400"/>
                    <a:pt x="1099" y="399"/>
                  </a:cubicBezTo>
                  <a:cubicBezTo>
                    <a:pt x="1099" y="399"/>
                    <a:pt x="1099" y="398"/>
                    <a:pt x="1099" y="397"/>
                  </a:cubicBezTo>
                  <a:cubicBezTo>
                    <a:pt x="1099" y="397"/>
                    <a:pt x="1097" y="396"/>
                    <a:pt x="1097" y="395"/>
                  </a:cubicBezTo>
                  <a:cubicBezTo>
                    <a:pt x="1099" y="396"/>
                    <a:pt x="1101" y="397"/>
                    <a:pt x="1104" y="398"/>
                  </a:cubicBezTo>
                  <a:cubicBezTo>
                    <a:pt x="1104" y="397"/>
                    <a:pt x="1103" y="396"/>
                    <a:pt x="1102" y="396"/>
                  </a:cubicBezTo>
                  <a:cubicBezTo>
                    <a:pt x="1103" y="395"/>
                    <a:pt x="1105" y="396"/>
                    <a:pt x="1106" y="395"/>
                  </a:cubicBezTo>
                  <a:cubicBezTo>
                    <a:pt x="1104" y="395"/>
                    <a:pt x="1103" y="394"/>
                    <a:pt x="1102" y="393"/>
                  </a:cubicBezTo>
                  <a:cubicBezTo>
                    <a:pt x="1103" y="392"/>
                    <a:pt x="1105" y="392"/>
                    <a:pt x="1106" y="394"/>
                  </a:cubicBezTo>
                  <a:cubicBezTo>
                    <a:pt x="1107" y="391"/>
                    <a:pt x="1110" y="391"/>
                    <a:pt x="1112" y="390"/>
                  </a:cubicBezTo>
                  <a:cubicBezTo>
                    <a:pt x="1110" y="389"/>
                    <a:pt x="1107" y="388"/>
                    <a:pt x="1111" y="387"/>
                  </a:cubicBezTo>
                  <a:cubicBezTo>
                    <a:pt x="1113" y="386"/>
                    <a:pt x="1118" y="388"/>
                    <a:pt x="1115" y="385"/>
                  </a:cubicBezTo>
                  <a:cubicBezTo>
                    <a:pt x="1113" y="383"/>
                    <a:pt x="1108" y="383"/>
                    <a:pt x="1105" y="381"/>
                  </a:cubicBezTo>
                  <a:cubicBezTo>
                    <a:pt x="1109" y="382"/>
                    <a:pt x="1113" y="382"/>
                    <a:pt x="1116" y="384"/>
                  </a:cubicBezTo>
                  <a:cubicBezTo>
                    <a:pt x="1119" y="385"/>
                    <a:pt x="1120" y="389"/>
                    <a:pt x="1123" y="388"/>
                  </a:cubicBezTo>
                  <a:cubicBezTo>
                    <a:pt x="1120" y="387"/>
                    <a:pt x="1121" y="384"/>
                    <a:pt x="1120" y="382"/>
                  </a:cubicBezTo>
                  <a:cubicBezTo>
                    <a:pt x="1119" y="381"/>
                    <a:pt x="1114" y="380"/>
                    <a:pt x="1118" y="377"/>
                  </a:cubicBezTo>
                  <a:cubicBezTo>
                    <a:pt x="1119" y="376"/>
                    <a:pt x="1123" y="379"/>
                    <a:pt x="1122" y="375"/>
                  </a:cubicBezTo>
                  <a:cubicBezTo>
                    <a:pt x="1121" y="376"/>
                    <a:pt x="1121" y="373"/>
                    <a:pt x="1120" y="371"/>
                  </a:cubicBezTo>
                  <a:cubicBezTo>
                    <a:pt x="1121" y="372"/>
                    <a:pt x="1122" y="373"/>
                    <a:pt x="1122" y="373"/>
                  </a:cubicBezTo>
                  <a:cubicBezTo>
                    <a:pt x="1124" y="372"/>
                    <a:pt x="1122" y="374"/>
                    <a:pt x="1123" y="374"/>
                  </a:cubicBezTo>
                  <a:cubicBezTo>
                    <a:pt x="1126" y="375"/>
                    <a:pt x="1128" y="371"/>
                    <a:pt x="1130" y="372"/>
                  </a:cubicBezTo>
                  <a:cubicBezTo>
                    <a:pt x="1130" y="372"/>
                    <a:pt x="1130" y="374"/>
                    <a:pt x="1131" y="374"/>
                  </a:cubicBezTo>
                  <a:cubicBezTo>
                    <a:pt x="1132" y="375"/>
                    <a:pt x="1137" y="373"/>
                    <a:pt x="1137" y="372"/>
                  </a:cubicBezTo>
                  <a:cubicBezTo>
                    <a:pt x="1137" y="370"/>
                    <a:pt x="1133" y="370"/>
                    <a:pt x="1132" y="370"/>
                  </a:cubicBezTo>
                  <a:cubicBezTo>
                    <a:pt x="1129" y="370"/>
                    <a:pt x="1120" y="364"/>
                    <a:pt x="1127" y="364"/>
                  </a:cubicBezTo>
                  <a:cubicBezTo>
                    <a:pt x="1129" y="363"/>
                    <a:pt x="1131" y="363"/>
                    <a:pt x="1134" y="363"/>
                  </a:cubicBezTo>
                  <a:cubicBezTo>
                    <a:pt x="1136" y="363"/>
                    <a:pt x="1138" y="364"/>
                    <a:pt x="1140" y="364"/>
                  </a:cubicBezTo>
                  <a:cubicBezTo>
                    <a:pt x="1144" y="365"/>
                    <a:pt x="1146" y="366"/>
                    <a:pt x="1149" y="364"/>
                  </a:cubicBezTo>
                  <a:cubicBezTo>
                    <a:pt x="1151" y="363"/>
                    <a:pt x="1152" y="362"/>
                    <a:pt x="1154" y="361"/>
                  </a:cubicBezTo>
                  <a:cubicBezTo>
                    <a:pt x="1155" y="360"/>
                    <a:pt x="1157" y="360"/>
                    <a:pt x="1158" y="360"/>
                  </a:cubicBezTo>
                  <a:cubicBezTo>
                    <a:pt x="1161" y="358"/>
                    <a:pt x="1165" y="357"/>
                    <a:pt x="1165" y="354"/>
                  </a:cubicBezTo>
                  <a:cubicBezTo>
                    <a:pt x="1165" y="353"/>
                    <a:pt x="1165" y="351"/>
                    <a:pt x="1164" y="349"/>
                  </a:cubicBezTo>
                  <a:cubicBezTo>
                    <a:pt x="1164" y="346"/>
                    <a:pt x="1165" y="346"/>
                    <a:pt x="1163" y="345"/>
                  </a:cubicBezTo>
                  <a:cubicBezTo>
                    <a:pt x="1162" y="344"/>
                    <a:pt x="1160" y="344"/>
                    <a:pt x="1158" y="342"/>
                  </a:cubicBezTo>
                  <a:cubicBezTo>
                    <a:pt x="1159" y="343"/>
                    <a:pt x="1161" y="343"/>
                    <a:pt x="1162" y="343"/>
                  </a:cubicBezTo>
                  <a:cubicBezTo>
                    <a:pt x="1158" y="342"/>
                    <a:pt x="1155" y="340"/>
                    <a:pt x="1151" y="340"/>
                  </a:cubicBezTo>
                  <a:cubicBezTo>
                    <a:pt x="1150" y="339"/>
                    <a:pt x="1149" y="340"/>
                    <a:pt x="1149" y="340"/>
                  </a:cubicBezTo>
                  <a:cubicBezTo>
                    <a:pt x="1149" y="340"/>
                    <a:pt x="1147" y="338"/>
                    <a:pt x="1146" y="338"/>
                  </a:cubicBezTo>
                  <a:cubicBezTo>
                    <a:pt x="1146" y="338"/>
                    <a:pt x="1144" y="337"/>
                    <a:pt x="1144" y="337"/>
                  </a:cubicBezTo>
                  <a:cubicBezTo>
                    <a:pt x="1143" y="336"/>
                    <a:pt x="1144" y="335"/>
                    <a:pt x="1143" y="334"/>
                  </a:cubicBezTo>
                  <a:cubicBezTo>
                    <a:pt x="1140" y="330"/>
                    <a:pt x="1136" y="333"/>
                    <a:pt x="1133" y="334"/>
                  </a:cubicBezTo>
                  <a:cubicBezTo>
                    <a:pt x="1132" y="335"/>
                    <a:pt x="1131" y="335"/>
                    <a:pt x="1130" y="335"/>
                  </a:cubicBezTo>
                  <a:cubicBezTo>
                    <a:pt x="1129" y="337"/>
                    <a:pt x="1129" y="337"/>
                    <a:pt x="1128" y="338"/>
                  </a:cubicBezTo>
                  <a:cubicBezTo>
                    <a:pt x="1129" y="337"/>
                    <a:pt x="1125" y="338"/>
                    <a:pt x="1126" y="338"/>
                  </a:cubicBezTo>
                  <a:cubicBezTo>
                    <a:pt x="1124" y="338"/>
                    <a:pt x="1123" y="338"/>
                    <a:pt x="1122" y="337"/>
                  </a:cubicBezTo>
                  <a:cubicBezTo>
                    <a:pt x="1123" y="337"/>
                    <a:pt x="1125" y="337"/>
                    <a:pt x="1126" y="335"/>
                  </a:cubicBezTo>
                  <a:cubicBezTo>
                    <a:pt x="1127" y="333"/>
                    <a:pt x="1130" y="335"/>
                    <a:pt x="1131" y="332"/>
                  </a:cubicBezTo>
                  <a:cubicBezTo>
                    <a:pt x="1130" y="331"/>
                    <a:pt x="1128" y="331"/>
                    <a:pt x="1126" y="331"/>
                  </a:cubicBezTo>
                  <a:cubicBezTo>
                    <a:pt x="1126" y="330"/>
                    <a:pt x="1125" y="331"/>
                    <a:pt x="1124" y="330"/>
                  </a:cubicBezTo>
                  <a:cubicBezTo>
                    <a:pt x="1124" y="330"/>
                    <a:pt x="1124" y="329"/>
                    <a:pt x="1124" y="328"/>
                  </a:cubicBezTo>
                  <a:cubicBezTo>
                    <a:pt x="1121" y="327"/>
                    <a:pt x="1121" y="329"/>
                    <a:pt x="1119" y="329"/>
                  </a:cubicBezTo>
                  <a:cubicBezTo>
                    <a:pt x="1118" y="329"/>
                    <a:pt x="1115" y="327"/>
                    <a:pt x="1114" y="327"/>
                  </a:cubicBezTo>
                  <a:cubicBezTo>
                    <a:pt x="1111" y="326"/>
                    <a:pt x="1108" y="325"/>
                    <a:pt x="1104" y="324"/>
                  </a:cubicBezTo>
                  <a:cubicBezTo>
                    <a:pt x="1098" y="321"/>
                    <a:pt x="1102" y="326"/>
                    <a:pt x="1106" y="327"/>
                  </a:cubicBezTo>
                  <a:cubicBezTo>
                    <a:pt x="1103" y="327"/>
                    <a:pt x="1101" y="328"/>
                    <a:pt x="1099" y="327"/>
                  </a:cubicBezTo>
                  <a:cubicBezTo>
                    <a:pt x="1096" y="326"/>
                    <a:pt x="1094" y="324"/>
                    <a:pt x="1094" y="321"/>
                  </a:cubicBezTo>
                  <a:cubicBezTo>
                    <a:pt x="1095" y="321"/>
                    <a:pt x="1096" y="321"/>
                    <a:pt x="1098" y="321"/>
                  </a:cubicBezTo>
                  <a:cubicBezTo>
                    <a:pt x="1099" y="321"/>
                    <a:pt x="1097" y="319"/>
                    <a:pt x="1097" y="319"/>
                  </a:cubicBezTo>
                  <a:cubicBezTo>
                    <a:pt x="1096" y="317"/>
                    <a:pt x="1094" y="316"/>
                    <a:pt x="1093" y="314"/>
                  </a:cubicBezTo>
                  <a:cubicBezTo>
                    <a:pt x="1094" y="315"/>
                    <a:pt x="1095" y="315"/>
                    <a:pt x="1095" y="315"/>
                  </a:cubicBezTo>
                  <a:cubicBezTo>
                    <a:pt x="1096" y="315"/>
                    <a:pt x="1096" y="315"/>
                    <a:pt x="1097" y="315"/>
                  </a:cubicBezTo>
                  <a:cubicBezTo>
                    <a:pt x="1097" y="316"/>
                    <a:pt x="1096" y="316"/>
                    <a:pt x="1096" y="317"/>
                  </a:cubicBezTo>
                  <a:cubicBezTo>
                    <a:pt x="1097" y="318"/>
                    <a:pt x="1099" y="319"/>
                    <a:pt x="1100" y="320"/>
                  </a:cubicBezTo>
                  <a:cubicBezTo>
                    <a:pt x="1104" y="322"/>
                    <a:pt x="1108" y="323"/>
                    <a:pt x="1112" y="324"/>
                  </a:cubicBezTo>
                  <a:cubicBezTo>
                    <a:pt x="1112" y="324"/>
                    <a:pt x="1114" y="325"/>
                    <a:pt x="1114" y="325"/>
                  </a:cubicBezTo>
                  <a:cubicBezTo>
                    <a:pt x="1115" y="325"/>
                    <a:pt x="1116" y="325"/>
                    <a:pt x="1117" y="326"/>
                  </a:cubicBezTo>
                  <a:cubicBezTo>
                    <a:pt x="1117" y="326"/>
                    <a:pt x="1118" y="327"/>
                    <a:pt x="1119" y="327"/>
                  </a:cubicBezTo>
                  <a:cubicBezTo>
                    <a:pt x="1120" y="327"/>
                    <a:pt x="1121" y="327"/>
                    <a:pt x="1122" y="327"/>
                  </a:cubicBezTo>
                  <a:cubicBezTo>
                    <a:pt x="1123" y="328"/>
                    <a:pt x="1124" y="329"/>
                    <a:pt x="1125" y="329"/>
                  </a:cubicBezTo>
                  <a:cubicBezTo>
                    <a:pt x="1126" y="329"/>
                    <a:pt x="1127" y="329"/>
                    <a:pt x="1128" y="329"/>
                  </a:cubicBezTo>
                  <a:cubicBezTo>
                    <a:pt x="1132" y="330"/>
                    <a:pt x="1131" y="330"/>
                    <a:pt x="1135" y="328"/>
                  </a:cubicBezTo>
                  <a:cubicBezTo>
                    <a:pt x="1134" y="331"/>
                    <a:pt x="1137" y="331"/>
                    <a:pt x="1139" y="331"/>
                  </a:cubicBezTo>
                  <a:cubicBezTo>
                    <a:pt x="1141" y="330"/>
                    <a:pt x="1141" y="330"/>
                    <a:pt x="1142" y="330"/>
                  </a:cubicBezTo>
                  <a:cubicBezTo>
                    <a:pt x="1142" y="330"/>
                    <a:pt x="1141" y="331"/>
                    <a:pt x="1142" y="331"/>
                  </a:cubicBezTo>
                  <a:cubicBezTo>
                    <a:pt x="1142" y="332"/>
                    <a:pt x="1143" y="331"/>
                    <a:pt x="1144" y="332"/>
                  </a:cubicBezTo>
                  <a:cubicBezTo>
                    <a:pt x="1144" y="332"/>
                    <a:pt x="1146" y="331"/>
                    <a:pt x="1147" y="332"/>
                  </a:cubicBezTo>
                  <a:cubicBezTo>
                    <a:pt x="1148" y="332"/>
                    <a:pt x="1148" y="333"/>
                    <a:pt x="1149" y="334"/>
                  </a:cubicBezTo>
                  <a:cubicBezTo>
                    <a:pt x="1151" y="335"/>
                    <a:pt x="1153" y="335"/>
                    <a:pt x="1155" y="335"/>
                  </a:cubicBezTo>
                  <a:cubicBezTo>
                    <a:pt x="1156" y="336"/>
                    <a:pt x="1158" y="337"/>
                    <a:pt x="1160" y="337"/>
                  </a:cubicBezTo>
                  <a:cubicBezTo>
                    <a:pt x="1162" y="337"/>
                    <a:pt x="1168" y="336"/>
                    <a:pt x="1168" y="335"/>
                  </a:cubicBezTo>
                  <a:cubicBezTo>
                    <a:pt x="1167" y="334"/>
                    <a:pt x="1164" y="334"/>
                    <a:pt x="1165" y="332"/>
                  </a:cubicBezTo>
                  <a:cubicBezTo>
                    <a:pt x="1167" y="331"/>
                    <a:pt x="1168" y="333"/>
                    <a:pt x="1168" y="334"/>
                  </a:cubicBezTo>
                  <a:cubicBezTo>
                    <a:pt x="1170" y="335"/>
                    <a:pt x="1171" y="336"/>
                    <a:pt x="1174" y="334"/>
                  </a:cubicBezTo>
                  <a:cubicBezTo>
                    <a:pt x="1175" y="333"/>
                    <a:pt x="1181" y="330"/>
                    <a:pt x="1181" y="329"/>
                  </a:cubicBezTo>
                  <a:cubicBezTo>
                    <a:pt x="1182" y="327"/>
                    <a:pt x="1180" y="327"/>
                    <a:pt x="1179" y="326"/>
                  </a:cubicBezTo>
                  <a:cubicBezTo>
                    <a:pt x="1179" y="326"/>
                    <a:pt x="1178" y="324"/>
                    <a:pt x="1178" y="324"/>
                  </a:cubicBezTo>
                  <a:cubicBezTo>
                    <a:pt x="1177" y="323"/>
                    <a:pt x="1175" y="322"/>
                    <a:pt x="1174" y="321"/>
                  </a:cubicBezTo>
                  <a:cubicBezTo>
                    <a:pt x="1176" y="320"/>
                    <a:pt x="1177" y="322"/>
                    <a:pt x="1178" y="322"/>
                  </a:cubicBezTo>
                  <a:cubicBezTo>
                    <a:pt x="1179" y="322"/>
                    <a:pt x="1180" y="322"/>
                    <a:pt x="1181" y="322"/>
                  </a:cubicBezTo>
                  <a:cubicBezTo>
                    <a:pt x="1180" y="322"/>
                    <a:pt x="1183" y="326"/>
                    <a:pt x="1185" y="323"/>
                  </a:cubicBezTo>
                  <a:cubicBezTo>
                    <a:pt x="1186" y="322"/>
                    <a:pt x="1183" y="320"/>
                    <a:pt x="1182" y="319"/>
                  </a:cubicBezTo>
                  <a:cubicBezTo>
                    <a:pt x="1181" y="318"/>
                    <a:pt x="1181" y="316"/>
                    <a:pt x="1181" y="315"/>
                  </a:cubicBezTo>
                  <a:cubicBezTo>
                    <a:pt x="1182" y="314"/>
                    <a:pt x="1184" y="313"/>
                    <a:pt x="1185" y="313"/>
                  </a:cubicBezTo>
                  <a:cubicBezTo>
                    <a:pt x="1187" y="312"/>
                    <a:pt x="1186" y="313"/>
                    <a:pt x="1186" y="315"/>
                  </a:cubicBezTo>
                  <a:cubicBezTo>
                    <a:pt x="1188" y="317"/>
                    <a:pt x="1190" y="320"/>
                    <a:pt x="1192" y="323"/>
                  </a:cubicBezTo>
                  <a:cubicBezTo>
                    <a:pt x="1192" y="323"/>
                    <a:pt x="1192" y="322"/>
                    <a:pt x="1191" y="321"/>
                  </a:cubicBezTo>
                  <a:cubicBezTo>
                    <a:pt x="1198" y="321"/>
                    <a:pt x="1205" y="321"/>
                    <a:pt x="1211" y="322"/>
                  </a:cubicBezTo>
                  <a:cubicBezTo>
                    <a:pt x="1214" y="322"/>
                    <a:pt x="1218" y="318"/>
                    <a:pt x="1220" y="317"/>
                  </a:cubicBezTo>
                  <a:cubicBezTo>
                    <a:pt x="1222" y="316"/>
                    <a:pt x="1226" y="315"/>
                    <a:pt x="1227" y="314"/>
                  </a:cubicBezTo>
                  <a:cubicBezTo>
                    <a:pt x="1227" y="313"/>
                    <a:pt x="1226" y="313"/>
                    <a:pt x="1226" y="312"/>
                  </a:cubicBezTo>
                  <a:cubicBezTo>
                    <a:pt x="1227" y="311"/>
                    <a:pt x="1228" y="311"/>
                    <a:pt x="1228" y="310"/>
                  </a:cubicBezTo>
                  <a:cubicBezTo>
                    <a:pt x="1229" y="309"/>
                    <a:pt x="1230" y="307"/>
                    <a:pt x="1231" y="306"/>
                  </a:cubicBezTo>
                  <a:cubicBezTo>
                    <a:pt x="1235" y="302"/>
                    <a:pt x="1239" y="298"/>
                    <a:pt x="1242" y="293"/>
                  </a:cubicBezTo>
                  <a:cubicBezTo>
                    <a:pt x="1244" y="291"/>
                    <a:pt x="1245" y="289"/>
                    <a:pt x="1246" y="287"/>
                  </a:cubicBezTo>
                  <a:cubicBezTo>
                    <a:pt x="1247" y="285"/>
                    <a:pt x="1252" y="280"/>
                    <a:pt x="1251" y="278"/>
                  </a:cubicBezTo>
                  <a:cubicBezTo>
                    <a:pt x="1251" y="275"/>
                    <a:pt x="1247" y="274"/>
                    <a:pt x="1245" y="274"/>
                  </a:cubicBezTo>
                  <a:cubicBezTo>
                    <a:pt x="1243" y="274"/>
                    <a:pt x="1241" y="274"/>
                    <a:pt x="1239" y="273"/>
                  </a:cubicBezTo>
                  <a:cubicBezTo>
                    <a:pt x="1238" y="273"/>
                    <a:pt x="1236" y="273"/>
                    <a:pt x="1236" y="273"/>
                  </a:cubicBezTo>
                  <a:cubicBezTo>
                    <a:pt x="1234" y="273"/>
                    <a:pt x="1233" y="274"/>
                    <a:pt x="1233" y="274"/>
                  </a:cubicBezTo>
                  <a:cubicBezTo>
                    <a:pt x="1231" y="274"/>
                    <a:pt x="1228" y="273"/>
                    <a:pt x="1226" y="273"/>
                  </a:cubicBezTo>
                  <a:cubicBezTo>
                    <a:pt x="1224" y="274"/>
                    <a:pt x="1222" y="273"/>
                    <a:pt x="1220" y="273"/>
                  </a:cubicBezTo>
                  <a:cubicBezTo>
                    <a:pt x="1215" y="273"/>
                    <a:pt x="1211" y="272"/>
                    <a:pt x="1206" y="272"/>
                  </a:cubicBezTo>
                  <a:cubicBezTo>
                    <a:pt x="1204" y="271"/>
                    <a:pt x="1203" y="271"/>
                    <a:pt x="1201" y="270"/>
                  </a:cubicBezTo>
                  <a:cubicBezTo>
                    <a:pt x="1200" y="269"/>
                    <a:pt x="1200" y="268"/>
                    <a:pt x="1199" y="267"/>
                  </a:cubicBezTo>
                  <a:cubicBezTo>
                    <a:pt x="1198" y="266"/>
                    <a:pt x="1196" y="266"/>
                    <a:pt x="1195" y="265"/>
                  </a:cubicBezTo>
                  <a:cubicBezTo>
                    <a:pt x="1194" y="264"/>
                    <a:pt x="1194" y="262"/>
                    <a:pt x="1192" y="260"/>
                  </a:cubicBezTo>
                  <a:cubicBezTo>
                    <a:pt x="1191" y="260"/>
                    <a:pt x="1190" y="259"/>
                    <a:pt x="1189" y="259"/>
                  </a:cubicBezTo>
                  <a:cubicBezTo>
                    <a:pt x="1187" y="257"/>
                    <a:pt x="1186" y="256"/>
                    <a:pt x="1183" y="255"/>
                  </a:cubicBezTo>
                  <a:cubicBezTo>
                    <a:pt x="1182" y="254"/>
                    <a:pt x="1181" y="254"/>
                    <a:pt x="1180" y="253"/>
                  </a:cubicBezTo>
                  <a:cubicBezTo>
                    <a:pt x="1180" y="253"/>
                    <a:pt x="1180" y="254"/>
                    <a:pt x="1180" y="254"/>
                  </a:cubicBezTo>
                  <a:cubicBezTo>
                    <a:pt x="1180" y="254"/>
                    <a:pt x="1180" y="253"/>
                    <a:pt x="1180" y="253"/>
                  </a:cubicBezTo>
                  <a:cubicBezTo>
                    <a:pt x="1177" y="253"/>
                    <a:pt x="1173" y="252"/>
                    <a:pt x="1170" y="252"/>
                  </a:cubicBezTo>
                  <a:cubicBezTo>
                    <a:pt x="1162" y="250"/>
                    <a:pt x="1154" y="249"/>
                    <a:pt x="1146" y="248"/>
                  </a:cubicBezTo>
                  <a:cubicBezTo>
                    <a:pt x="1146" y="248"/>
                    <a:pt x="1146" y="248"/>
                    <a:pt x="1146" y="248"/>
                  </a:cubicBezTo>
                  <a:cubicBezTo>
                    <a:pt x="1149" y="247"/>
                    <a:pt x="1151" y="247"/>
                    <a:pt x="1154" y="248"/>
                  </a:cubicBezTo>
                  <a:cubicBezTo>
                    <a:pt x="1157" y="248"/>
                    <a:pt x="1160" y="249"/>
                    <a:pt x="1163" y="249"/>
                  </a:cubicBezTo>
                  <a:cubicBezTo>
                    <a:pt x="1164" y="249"/>
                    <a:pt x="1166" y="250"/>
                    <a:pt x="1167" y="250"/>
                  </a:cubicBezTo>
                  <a:cubicBezTo>
                    <a:pt x="1169" y="250"/>
                    <a:pt x="1169" y="250"/>
                    <a:pt x="1171" y="250"/>
                  </a:cubicBezTo>
                  <a:cubicBezTo>
                    <a:pt x="1174" y="251"/>
                    <a:pt x="1177" y="250"/>
                    <a:pt x="1180" y="250"/>
                  </a:cubicBezTo>
                  <a:cubicBezTo>
                    <a:pt x="1183" y="250"/>
                    <a:pt x="1185" y="249"/>
                    <a:pt x="1187" y="248"/>
                  </a:cubicBezTo>
                  <a:cubicBezTo>
                    <a:pt x="1190" y="248"/>
                    <a:pt x="1195" y="251"/>
                    <a:pt x="1198" y="252"/>
                  </a:cubicBezTo>
                  <a:cubicBezTo>
                    <a:pt x="1204" y="255"/>
                    <a:pt x="1212" y="256"/>
                    <a:pt x="1217" y="260"/>
                  </a:cubicBezTo>
                  <a:cubicBezTo>
                    <a:pt x="1216" y="260"/>
                    <a:pt x="1212" y="260"/>
                    <a:pt x="1210" y="259"/>
                  </a:cubicBezTo>
                  <a:cubicBezTo>
                    <a:pt x="1215" y="263"/>
                    <a:pt x="1220" y="267"/>
                    <a:pt x="1226" y="270"/>
                  </a:cubicBezTo>
                  <a:cubicBezTo>
                    <a:pt x="1230" y="273"/>
                    <a:pt x="1236" y="271"/>
                    <a:pt x="1240" y="271"/>
                  </a:cubicBezTo>
                  <a:cubicBezTo>
                    <a:pt x="1242" y="271"/>
                    <a:pt x="1248" y="270"/>
                    <a:pt x="1249" y="268"/>
                  </a:cubicBezTo>
                  <a:cubicBezTo>
                    <a:pt x="1249" y="267"/>
                    <a:pt x="1246" y="267"/>
                    <a:pt x="1248" y="266"/>
                  </a:cubicBezTo>
                  <a:cubicBezTo>
                    <a:pt x="1249" y="266"/>
                    <a:pt x="1250" y="265"/>
                    <a:pt x="1251" y="264"/>
                  </a:cubicBezTo>
                  <a:cubicBezTo>
                    <a:pt x="1253" y="263"/>
                    <a:pt x="1255" y="261"/>
                    <a:pt x="1257" y="260"/>
                  </a:cubicBezTo>
                  <a:cubicBezTo>
                    <a:pt x="1258" y="259"/>
                    <a:pt x="1262" y="258"/>
                    <a:pt x="1263" y="256"/>
                  </a:cubicBezTo>
                  <a:cubicBezTo>
                    <a:pt x="1263" y="253"/>
                    <a:pt x="1261" y="253"/>
                    <a:pt x="1263" y="251"/>
                  </a:cubicBezTo>
                  <a:cubicBezTo>
                    <a:pt x="1264" y="249"/>
                    <a:pt x="1268" y="248"/>
                    <a:pt x="1270" y="246"/>
                  </a:cubicBezTo>
                  <a:cubicBezTo>
                    <a:pt x="1272" y="245"/>
                    <a:pt x="1273" y="245"/>
                    <a:pt x="1274" y="243"/>
                  </a:cubicBezTo>
                  <a:cubicBezTo>
                    <a:pt x="1274" y="242"/>
                    <a:pt x="1273" y="242"/>
                    <a:pt x="1273" y="241"/>
                  </a:cubicBezTo>
                  <a:cubicBezTo>
                    <a:pt x="1274" y="241"/>
                    <a:pt x="1276" y="240"/>
                    <a:pt x="1276" y="239"/>
                  </a:cubicBezTo>
                  <a:cubicBezTo>
                    <a:pt x="1275" y="237"/>
                    <a:pt x="1264" y="234"/>
                    <a:pt x="1262" y="234"/>
                  </a:cubicBezTo>
                  <a:cubicBezTo>
                    <a:pt x="1260" y="234"/>
                    <a:pt x="1257" y="233"/>
                    <a:pt x="1256" y="231"/>
                  </a:cubicBezTo>
                  <a:cubicBezTo>
                    <a:pt x="1256" y="229"/>
                    <a:pt x="1258" y="229"/>
                    <a:pt x="1259" y="228"/>
                  </a:cubicBezTo>
                  <a:cubicBezTo>
                    <a:pt x="1261" y="225"/>
                    <a:pt x="1260" y="225"/>
                    <a:pt x="1262" y="225"/>
                  </a:cubicBezTo>
                  <a:cubicBezTo>
                    <a:pt x="1262" y="222"/>
                    <a:pt x="1265" y="219"/>
                    <a:pt x="1268" y="219"/>
                  </a:cubicBezTo>
                  <a:cubicBezTo>
                    <a:pt x="1271" y="219"/>
                    <a:pt x="1273" y="221"/>
                    <a:pt x="1274" y="224"/>
                  </a:cubicBezTo>
                  <a:cubicBezTo>
                    <a:pt x="1277" y="224"/>
                    <a:pt x="1280" y="224"/>
                    <a:pt x="1283" y="223"/>
                  </a:cubicBezTo>
                  <a:cubicBezTo>
                    <a:pt x="1285" y="223"/>
                    <a:pt x="1288" y="225"/>
                    <a:pt x="1289" y="227"/>
                  </a:cubicBezTo>
                  <a:cubicBezTo>
                    <a:pt x="1289" y="228"/>
                    <a:pt x="1290" y="232"/>
                    <a:pt x="1289" y="233"/>
                  </a:cubicBezTo>
                  <a:cubicBezTo>
                    <a:pt x="1290" y="233"/>
                    <a:pt x="1291" y="233"/>
                    <a:pt x="1292" y="233"/>
                  </a:cubicBezTo>
                  <a:cubicBezTo>
                    <a:pt x="1292" y="234"/>
                    <a:pt x="1292" y="234"/>
                    <a:pt x="1292" y="235"/>
                  </a:cubicBezTo>
                  <a:cubicBezTo>
                    <a:pt x="1293" y="240"/>
                    <a:pt x="1293" y="242"/>
                    <a:pt x="1297" y="245"/>
                  </a:cubicBezTo>
                  <a:cubicBezTo>
                    <a:pt x="1299" y="246"/>
                    <a:pt x="1299" y="246"/>
                    <a:pt x="1300" y="248"/>
                  </a:cubicBezTo>
                  <a:cubicBezTo>
                    <a:pt x="1301" y="249"/>
                    <a:pt x="1301" y="251"/>
                    <a:pt x="1303" y="250"/>
                  </a:cubicBezTo>
                  <a:cubicBezTo>
                    <a:pt x="1310" y="250"/>
                    <a:pt x="1304" y="240"/>
                    <a:pt x="1300" y="236"/>
                  </a:cubicBezTo>
                  <a:cubicBezTo>
                    <a:pt x="1304" y="237"/>
                    <a:pt x="1307" y="239"/>
                    <a:pt x="1311" y="239"/>
                  </a:cubicBezTo>
                  <a:cubicBezTo>
                    <a:pt x="1310" y="235"/>
                    <a:pt x="1305" y="236"/>
                    <a:pt x="1308" y="230"/>
                  </a:cubicBezTo>
                  <a:cubicBezTo>
                    <a:pt x="1308" y="231"/>
                    <a:pt x="1309" y="232"/>
                    <a:pt x="1310" y="232"/>
                  </a:cubicBezTo>
                  <a:cubicBezTo>
                    <a:pt x="1310" y="232"/>
                    <a:pt x="1310" y="233"/>
                    <a:pt x="1310" y="233"/>
                  </a:cubicBezTo>
                  <a:cubicBezTo>
                    <a:pt x="1311" y="233"/>
                    <a:pt x="1311" y="233"/>
                    <a:pt x="1312" y="233"/>
                  </a:cubicBezTo>
                  <a:cubicBezTo>
                    <a:pt x="1314" y="235"/>
                    <a:pt x="1317" y="236"/>
                    <a:pt x="1317" y="240"/>
                  </a:cubicBezTo>
                  <a:cubicBezTo>
                    <a:pt x="1317" y="242"/>
                    <a:pt x="1315" y="242"/>
                    <a:pt x="1318" y="243"/>
                  </a:cubicBezTo>
                  <a:cubicBezTo>
                    <a:pt x="1320" y="243"/>
                    <a:pt x="1320" y="243"/>
                    <a:pt x="1322" y="242"/>
                  </a:cubicBezTo>
                  <a:cubicBezTo>
                    <a:pt x="1323" y="242"/>
                    <a:pt x="1323" y="241"/>
                    <a:pt x="1325" y="241"/>
                  </a:cubicBezTo>
                  <a:cubicBezTo>
                    <a:pt x="1325" y="241"/>
                    <a:pt x="1326" y="243"/>
                    <a:pt x="1327" y="243"/>
                  </a:cubicBezTo>
                  <a:cubicBezTo>
                    <a:pt x="1326" y="243"/>
                    <a:pt x="1323" y="245"/>
                    <a:pt x="1323" y="246"/>
                  </a:cubicBezTo>
                  <a:cubicBezTo>
                    <a:pt x="1323" y="246"/>
                    <a:pt x="1327" y="247"/>
                    <a:pt x="1328" y="247"/>
                  </a:cubicBezTo>
                  <a:cubicBezTo>
                    <a:pt x="1328" y="246"/>
                    <a:pt x="1329" y="245"/>
                    <a:pt x="1329" y="245"/>
                  </a:cubicBezTo>
                  <a:cubicBezTo>
                    <a:pt x="1330" y="245"/>
                    <a:pt x="1329" y="246"/>
                    <a:pt x="1330" y="246"/>
                  </a:cubicBezTo>
                  <a:cubicBezTo>
                    <a:pt x="1331" y="246"/>
                    <a:pt x="1334" y="248"/>
                    <a:pt x="1334" y="248"/>
                  </a:cubicBezTo>
                  <a:cubicBezTo>
                    <a:pt x="1336" y="248"/>
                    <a:pt x="1338" y="247"/>
                    <a:pt x="1337" y="245"/>
                  </a:cubicBezTo>
                  <a:cubicBezTo>
                    <a:pt x="1336" y="244"/>
                    <a:pt x="1333" y="244"/>
                    <a:pt x="1332" y="244"/>
                  </a:cubicBezTo>
                  <a:cubicBezTo>
                    <a:pt x="1330" y="244"/>
                    <a:pt x="1329" y="243"/>
                    <a:pt x="1327" y="242"/>
                  </a:cubicBezTo>
                  <a:cubicBezTo>
                    <a:pt x="1323" y="239"/>
                    <a:pt x="1326" y="241"/>
                    <a:pt x="1327" y="238"/>
                  </a:cubicBezTo>
                  <a:cubicBezTo>
                    <a:pt x="1327" y="238"/>
                    <a:pt x="1327" y="238"/>
                    <a:pt x="1327" y="238"/>
                  </a:cubicBezTo>
                  <a:cubicBezTo>
                    <a:pt x="1327" y="236"/>
                    <a:pt x="1326" y="235"/>
                    <a:pt x="1325" y="235"/>
                  </a:cubicBezTo>
                  <a:cubicBezTo>
                    <a:pt x="1324" y="234"/>
                    <a:pt x="1323" y="233"/>
                    <a:pt x="1323" y="232"/>
                  </a:cubicBezTo>
                  <a:cubicBezTo>
                    <a:pt x="1322" y="231"/>
                    <a:pt x="1323" y="230"/>
                    <a:pt x="1321" y="228"/>
                  </a:cubicBezTo>
                  <a:cubicBezTo>
                    <a:pt x="1320" y="226"/>
                    <a:pt x="1317" y="225"/>
                    <a:pt x="1316" y="224"/>
                  </a:cubicBezTo>
                  <a:cubicBezTo>
                    <a:pt x="1315" y="222"/>
                    <a:pt x="1316" y="224"/>
                    <a:pt x="1316" y="222"/>
                  </a:cubicBezTo>
                  <a:cubicBezTo>
                    <a:pt x="1316" y="221"/>
                    <a:pt x="1317" y="220"/>
                    <a:pt x="1316" y="219"/>
                  </a:cubicBezTo>
                  <a:cubicBezTo>
                    <a:pt x="1315" y="218"/>
                    <a:pt x="1311" y="220"/>
                    <a:pt x="1310" y="218"/>
                  </a:cubicBezTo>
                  <a:cubicBezTo>
                    <a:pt x="1309" y="217"/>
                    <a:pt x="1311" y="217"/>
                    <a:pt x="1312" y="216"/>
                  </a:cubicBezTo>
                  <a:cubicBezTo>
                    <a:pt x="1310" y="215"/>
                    <a:pt x="1309" y="215"/>
                    <a:pt x="1307" y="214"/>
                  </a:cubicBezTo>
                  <a:cubicBezTo>
                    <a:pt x="1308" y="213"/>
                    <a:pt x="1306" y="213"/>
                    <a:pt x="1305" y="212"/>
                  </a:cubicBezTo>
                  <a:cubicBezTo>
                    <a:pt x="1305" y="211"/>
                    <a:pt x="1306" y="211"/>
                    <a:pt x="1306" y="210"/>
                  </a:cubicBezTo>
                  <a:cubicBezTo>
                    <a:pt x="1303" y="210"/>
                    <a:pt x="1300" y="211"/>
                    <a:pt x="1298" y="212"/>
                  </a:cubicBezTo>
                  <a:cubicBezTo>
                    <a:pt x="1297" y="213"/>
                    <a:pt x="1297" y="213"/>
                    <a:pt x="1296" y="214"/>
                  </a:cubicBezTo>
                  <a:cubicBezTo>
                    <a:pt x="1296" y="213"/>
                    <a:pt x="1296" y="213"/>
                    <a:pt x="1296" y="213"/>
                  </a:cubicBezTo>
                  <a:cubicBezTo>
                    <a:pt x="1295" y="213"/>
                    <a:pt x="1294" y="213"/>
                    <a:pt x="1293" y="213"/>
                  </a:cubicBezTo>
                  <a:cubicBezTo>
                    <a:pt x="1294" y="212"/>
                    <a:pt x="1296" y="212"/>
                    <a:pt x="1296" y="211"/>
                  </a:cubicBezTo>
                  <a:cubicBezTo>
                    <a:pt x="1296" y="211"/>
                    <a:pt x="1296" y="211"/>
                    <a:pt x="1296" y="211"/>
                  </a:cubicBezTo>
                  <a:cubicBezTo>
                    <a:pt x="1298" y="211"/>
                    <a:pt x="1300" y="210"/>
                    <a:pt x="1302" y="209"/>
                  </a:cubicBezTo>
                  <a:cubicBezTo>
                    <a:pt x="1303" y="209"/>
                    <a:pt x="1303" y="208"/>
                    <a:pt x="1304" y="207"/>
                  </a:cubicBezTo>
                  <a:cubicBezTo>
                    <a:pt x="1303" y="207"/>
                    <a:pt x="1300" y="206"/>
                    <a:pt x="1299" y="205"/>
                  </a:cubicBezTo>
                  <a:cubicBezTo>
                    <a:pt x="1301" y="206"/>
                    <a:pt x="1305" y="207"/>
                    <a:pt x="1308" y="207"/>
                  </a:cubicBezTo>
                  <a:cubicBezTo>
                    <a:pt x="1308" y="207"/>
                    <a:pt x="1307" y="208"/>
                    <a:pt x="1307" y="208"/>
                  </a:cubicBezTo>
                  <a:cubicBezTo>
                    <a:pt x="1308" y="209"/>
                    <a:pt x="1309" y="209"/>
                    <a:pt x="1311" y="210"/>
                  </a:cubicBezTo>
                  <a:cubicBezTo>
                    <a:pt x="1311" y="210"/>
                    <a:pt x="1310" y="212"/>
                    <a:pt x="1312" y="213"/>
                  </a:cubicBezTo>
                  <a:cubicBezTo>
                    <a:pt x="1309" y="213"/>
                    <a:pt x="1310" y="214"/>
                    <a:pt x="1312" y="215"/>
                  </a:cubicBezTo>
                  <a:cubicBezTo>
                    <a:pt x="1313" y="216"/>
                    <a:pt x="1316" y="218"/>
                    <a:pt x="1317" y="218"/>
                  </a:cubicBezTo>
                  <a:cubicBezTo>
                    <a:pt x="1318" y="216"/>
                    <a:pt x="1320" y="213"/>
                    <a:pt x="1322" y="212"/>
                  </a:cubicBezTo>
                  <a:cubicBezTo>
                    <a:pt x="1323" y="215"/>
                    <a:pt x="1319" y="216"/>
                    <a:pt x="1321" y="218"/>
                  </a:cubicBezTo>
                  <a:cubicBezTo>
                    <a:pt x="1317" y="218"/>
                    <a:pt x="1321" y="223"/>
                    <a:pt x="1322" y="224"/>
                  </a:cubicBezTo>
                  <a:cubicBezTo>
                    <a:pt x="1323" y="224"/>
                    <a:pt x="1326" y="224"/>
                    <a:pt x="1327" y="225"/>
                  </a:cubicBezTo>
                  <a:cubicBezTo>
                    <a:pt x="1328" y="226"/>
                    <a:pt x="1328" y="229"/>
                    <a:pt x="1329" y="229"/>
                  </a:cubicBezTo>
                  <a:cubicBezTo>
                    <a:pt x="1332" y="231"/>
                    <a:pt x="1334" y="232"/>
                    <a:pt x="1337" y="230"/>
                  </a:cubicBezTo>
                  <a:cubicBezTo>
                    <a:pt x="1340" y="229"/>
                    <a:pt x="1341" y="228"/>
                    <a:pt x="1344" y="227"/>
                  </a:cubicBezTo>
                  <a:cubicBezTo>
                    <a:pt x="1346" y="226"/>
                    <a:pt x="1350" y="225"/>
                    <a:pt x="1351" y="224"/>
                  </a:cubicBezTo>
                  <a:cubicBezTo>
                    <a:pt x="1352" y="223"/>
                    <a:pt x="1352" y="223"/>
                    <a:pt x="1353" y="222"/>
                  </a:cubicBezTo>
                  <a:cubicBezTo>
                    <a:pt x="1356" y="220"/>
                    <a:pt x="1359" y="220"/>
                    <a:pt x="1362" y="218"/>
                  </a:cubicBezTo>
                  <a:cubicBezTo>
                    <a:pt x="1361" y="216"/>
                    <a:pt x="1363" y="214"/>
                    <a:pt x="1364" y="213"/>
                  </a:cubicBezTo>
                  <a:cubicBezTo>
                    <a:pt x="1365" y="212"/>
                    <a:pt x="1365" y="212"/>
                    <a:pt x="1367" y="211"/>
                  </a:cubicBezTo>
                  <a:cubicBezTo>
                    <a:pt x="1370" y="209"/>
                    <a:pt x="1373" y="209"/>
                    <a:pt x="1376" y="208"/>
                  </a:cubicBezTo>
                  <a:cubicBezTo>
                    <a:pt x="1379" y="206"/>
                    <a:pt x="1380" y="202"/>
                    <a:pt x="1381" y="199"/>
                  </a:cubicBezTo>
                  <a:cubicBezTo>
                    <a:pt x="1381" y="196"/>
                    <a:pt x="1382" y="195"/>
                    <a:pt x="1382" y="193"/>
                  </a:cubicBezTo>
                  <a:cubicBezTo>
                    <a:pt x="1384" y="189"/>
                    <a:pt x="1384" y="188"/>
                    <a:pt x="1381" y="185"/>
                  </a:cubicBezTo>
                  <a:cubicBezTo>
                    <a:pt x="1378" y="182"/>
                    <a:pt x="1374" y="179"/>
                    <a:pt x="1370" y="177"/>
                  </a:cubicBezTo>
                  <a:cubicBezTo>
                    <a:pt x="1370" y="176"/>
                    <a:pt x="1371" y="176"/>
                    <a:pt x="1370" y="176"/>
                  </a:cubicBezTo>
                  <a:cubicBezTo>
                    <a:pt x="1370" y="175"/>
                    <a:pt x="1369" y="175"/>
                    <a:pt x="1369" y="175"/>
                  </a:cubicBezTo>
                  <a:cubicBezTo>
                    <a:pt x="1368" y="175"/>
                    <a:pt x="1367" y="173"/>
                    <a:pt x="1367" y="173"/>
                  </a:cubicBezTo>
                  <a:cubicBezTo>
                    <a:pt x="1365" y="172"/>
                    <a:pt x="1364" y="172"/>
                    <a:pt x="1363" y="169"/>
                  </a:cubicBezTo>
                  <a:cubicBezTo>
                    <a:pt x="1361" y="165"/>
                    <a:pt x="1365" y="165"/>
                    <a:pt x="1366" y="161"/>
                  </a:cubicBezTo>
                  <a:cubicBezTo>
                    <a:pt x="1364" y="162"/>
                    <a:pt x="1358" y="164"/>
                    <a:pt x="1358" y="160"/>
                  </a:cubicBezTo>
                  <a:cubicBezTo>
                    <a:pt x="1358" y="159"/>
                    <a:pt x="1362" y="158"/>
                    <a:pt x="1359" y="156"/>
                  </a:cubicBezTo>
                  <a:cubicBezTo>
                    <a:pt x="1359" y="156"/>
                    <a:pt x="1355" y="158"/>
                    <a:pt x="1356" y="156"/>
                  </a:cubicBezTo>
                  <a:cubicBezTo>
                    <a:pt x="1357" y="154"/>
                    <a:pt x="1358" y="155"/>
                    <a:pt x="1357" y="153"/>
                  </a:cubicBezTo>
                  <a:cubicBezTo>
                    <a:pt x="1355" y="151"/>
                    <a:pt x="1350" y="152"/>
                    <a:pt x="1352" y="148"/>
                  </a:cubicBezTo>
                  <a:cubicBezTo>
                    <a:pt x="1353" y="145"/>
                    <a:pt x="1353" y="147"/>
                    <a:pt x="1354" y="147"/>
                  </a:cubicBezTo>
                  <a:cubicBezTo>
                    <a:pt x="1356" y="147"/>
                    <a:pt x="1358" y="147"/>
                    <a:pt x="1360" y="146"/>
                  </a:cubicBezTo>
                  <a:cubicBezTo>
                    <a:pt x="1361" y="146"/>
                    <a:pt x="1363" y="147"/>
                    <a:pt x="1364" y="147"/>
                  </a:cubicBezTo>
                  <a:cubicBezTo>
                    <a:pt x="1367" y="148"/>
                    <a:pt x="1369" y="147"/>
                    <a:pt x="1372" y="147"/>
                  </a:cubicBezTo>
                  <a:cubicBezTo>
                    <a:pt x="1377" y="146"/>
                    <a:pt x="1383" y="144"/>
                    <a:pt x="1384" y="139"/>
                  </a:cubicBezTo>
                  <a:cubicBezTo>
                    <a:pt x="1384" y="137"/>
                    <a:pt x="1383" y="133"/>
                    <a:pt x="1381" y="133"/>
                  </a:cubicBezTo>
                  <a:cubicBezTo>
                    <a:pt x="1378" y="132"/>
                    <a:pt x="1373" y="136"/>
                    <a:pt x="1377" y="131"/>
                  </a:cubicBezTo>
                  <a:cubicBezTo>
                    <a:pt x="1379" y="128"/>
                    <a:pt x="1384" y="124"/>
                    <a:pt x="1382" y="121"/>
                  </a:cubicBezTo>
                  <a:cubicBezTo>
                    <a:pt x="1380" y="118"/>
                    <a:pt x="1378" y="119"/>
                    <a:pt x="1375" y="118"/>
                  </a:cubicBezTo>
                  <a:cubicBezTo>
                    <a:pt x="1373" y="117"/>
                    <a:pt x="1370" y="116"/>
                    <a:pt x="1367" y="116"/>
                  </a:cubicBezTo>
                  <a:cubicBezTo>
                    <a:pt x="1364" y="117"/>
                    <a:pt x="1364" y="118"/>
                    <a:pt x="1362" y="114"/>
                  </a:cubicBezTo>
                  <a:cubicBezTo>
                    <a:pt x="1361" y="111"/>
                    <a:pt x="1360" y="110"/>
                    <a:pt x="1356" y="109"/>
                  </a:cubicBezTo>
                  <a:cubicBezTo>
                    <a:pt x="1351" y="108"/>
                    <a:pt x="1345" y="108"/>
                    <a:pt x="1340" y="106"/>
                  </a:cubicBezTo>
                  <a:cubicBezTo>
                    <a:pt x="1339" y="105"/>
                    <a:pt x="1338" y="105"/>
                    <a:pt x="1337" y="104"/>
                  </a:cubicBezTo>
                  <a:cubicBezTo>
                    <a:pt x="1343" y="105"/>
                    <a:pt x="1349" y="108"/>
                    <a:pt x="1355" y="106"/>
                  </a:cubicBezTo>
                  <a:cubicBezTo>
                    <a:pt x="1353" y="105"/>
                    <a:pt x="1351" y="103"/>
                    <a:pt x="1352" y="101"/>
                  </a:cubicBezTo>
                  <a:cubicBezTo>
                    <a:pt x="1352" y="100"/>
                    <a:pt x="1359" y="101"/>
                    <a:pt x="1360" y="101"/>
                  </a:cubicBezTo>
                  <a:cubicBezTo>
                    <a:pt x="1358" y="101"/>
                    <a:pt x="1357" y="101"/>
                    <a:pt x="1356" y="101"/>
                  </a:cubicBezTo>
                  <a:cubicBezTo>
                    <a:pt x="1354" y="100"/>
                    <a:pt x="1353" y="99"/>
                    <a:pt x="1352" y="99"/>
                  </a:cubicBezTo>
                  <a:cubicBezTo>
                    <a:pt x="1351" y="99"/>
                    <a:pt x="1349" y="99"/>
                    <a:pt x="1348" y="99"/>
                  </a:cubicBezTo>
                  <a:cubicBezTo>
                    <a:pt x="1347" y="99"/>
                    <a:pt x="1345" y="99"/>
                    <a:pt x="1344" y="99"/>
                  </a:cubicBezTo>
                  <a:cubicBezTo>
                    <a:pt x="1341" y="99"/>
                    <a:pt x="1339" y="98"/>
                    <a:pt x="1336" y="99"/>
                  </a:cubicBezTo>
                  <a:cubicBezTo>
                    <a:pt x="1335" y="99"/>
                    <a:pt x="1334" y="99"/>
                    <a:pt x="1332" y="99"/>
                  </a:cubicBezTo>
                  <a:cubicBezTo>
                    <a:pt x="1331" y="99"/>
                    <a:pt x="1330" y="99"/>
                    <a:pt x="1328" y="99"/>
                  </a:cubicBezTo>
                  <a:cubicBezTo>
                    <a:pt x="1322" y="98"/>
                    <a:pt x="1318" y="94"/>
                    <a:pt x="1313" y="93"/>
                  </a:cubicBezTo>
                  <a:cubicBezTo>
                    <a:pt x="1310" y="92"/>
                    <a:pt x="1308" y="92"/>
                    <a:pt x="1305" y="92"/>
                  </a:cubicBezTo>
                  <a:cubicBezTo>
                    <a:pt x="1303" y="93"/>
                    <a:pt x="1298" y="93"/>
                    <a:pt x="1297" y="94"/>
                  </a:cubicBezTo>
                  <a:cubicBezTo>
                    <a:pt x="1297" y="94"/>
                    <a:pt x="1297" y="95"/>
                    <a:pt x="1296" y="95"/>
                  </a:cubicBezTo>
                  <a:cubicBezTo>
                    <a:pt x="1296" y="95"/>
                    <a:pt x="1296" y="95"/>
                    <a:pt x="1296" y="94"/>
                  </a:cubicBezTo>
                  <a:cubicBezTo>
                    <a:pt x="1294" y="98"/>
                    <a:pt x="1288" y="91"/>
                    <a:pt x="1284" y="92"/>
                  </a:cubicBezTo>
                  <a:cubicBezTo>
                    <a:pt x="1281" y="93"/>
                    <a:pt x="1285" y="93"/>
                    <a:pt x="1286" y="93"/>
                  </a:cubicBezTo>
                  <a:cubicBezTo>
                    <a:pt x="1290" y="95"/>
                    <a:pt x="1287" y="96"/>
                    <a:pt x="1285" y="96"/>
                  </a:cubicBezTo>
                  <a:cubicBezTo>
                    <a:pt x="1288" y="97"/>
                    <a:pt x="1284" y="98"/>
                    <a:pt x="1284" y="100"/>
                  </a:cubicBezTo>
                  <a:cubicBezTo>
                    <a:pt x="1284" y="102"/>
                    <a:pt x="1286" y="102"/>
                    <a:pt x="1286" y="103"/>
                  </a:cubicBezTo>
                  <a:cubicBezTo>
                    <a:pt x="1286" y="104"/>
                    <a:pt x="1282" y="112"/>
                    <a:pt x="1286" y="109"/>
                  </a:cubicBezTo>
                  <a:cubicBezTo>
                    <a:pt x="1284" y="111"/>
                    <a:pt x="1286" y="111"/>
                    <a:pt x="1287" y="114"/>
                  </a:cubicBezTo>
                  <a:cubicBezTo>
                    <a:pt x="1282" y="114"/>
                    <a:pt x="1288" y="118"/>
                    <a:pt x="1289" y="119"/>
                  </a:cubicBezTo>
                  <a:cubicBezTo>
                    <a:pt x="1289" y="120"/>
                    <a:pt x="1291" y="119"/>
                    <a:pt x="1290" y="120"/>
                  </a:cubicBezTo>
                  <a:cubicBezTo>
                    <a:pt x="1289" y="121"/>
                    <a:pt x="1289" y="121"/>
                    <a:pt x="1290" y="122"/>
                  </a:cubicBezTo>
                  <a:cubicBezTo>
                    <a:pt x="1292" y="122"/>
                    <a:pt x="1293" y="120"/>
                    <a:pt x="1295" y="120"/>
                  </a:cubicBezTo>
                  <a:cubicBezTo>
                    <a:pt x="1292" y="123"/>
                    <a:pt x="1295" y="122"/>
                    <a:pt x="1296" y="121"/>
                  </a:cubicBezTo>
                  <a:cubicBezTo>
                    <a:pt x="1296" y="122"/>
                    <a:pt x="1296" y="122"/>
                    <a:pt x="1296" y="123"/>
                  </a:cubicBezTo>
                  <a:cubicBezTo>
                    <a:pt x="1297" y="123"/>
                    <a:pt x="1297" y="124"/>
                    <a:pt x="1298" y="124"/>
                  </a:cubicBezTo>
                  <a:cubicBezTo>
                    <a:pt x="1299" y="124"/>
                    <a:pt x="1300" y="123"/>
                    <a:pt x="1301" y="124"/>
                  </a:cubicBezTo>
                  <a:cubicBezTo>
                    <a:pt x="1302" y="124"/>
                    <a:pt x="1302" y="125"/>
                    <a:pt x="1302" y="126"/>
                  </a:cubicBezTo>
                  <a:cubicBezTo>
                    <a:pt x="1304" y="126"/>
                    <a:pt x="1306" y="126"/>
                    <a:pt x="1307" y="127"/>
                  </a:cubicBezTo>
                  <a:cubicBezTo>
                    <a:pt x="1305" y="128"/>
                    <a:pt x="1300" y="127"/>
                    <a:pt x="1297" y="127"/>
                  </a:cubicBezTo>
                  <a:cubicBezTo>
                    <a:pt x="1298" y="128"/>
                    <a:pt x="1300" y="129"/>
                    <a:pt x="1301" y="130"/>
                  </a:cubicBezTo>
                  <a:cubicBezTo>
                    <a:pt x="1299" y="130"/>
                    <a:pt x="1298" y="130"/>
                    <a:pt x="1296" y="129"/>
                  </a:cubicBezTo>
                  <a:cubicBezTo>
                    <a:pt x="1296" y="130"/>
                    <a:pt x="1296" y="130"/>
                    <a:pt x="1296" y="130"/>
                  </a:cubicBezTo>
                  <a:cubicBezTo>
                    <a:pt x="1296" y="129"/>
                    <a:pt x="1296" y="129"/>
                    <a:pt x="1294" y="129"/>
                  </a:cubicBezTo>
                  <a:cubicBezTo>
                    <a:pt x="1294" y="129"/>
                    <a:pt x="1294" y="129"/>
                    <a:pt x="1293" y="130"/>
                  </a:cubicBezTo>
                  <a:cubicBezTo>
                    <a:pt x="1294" y="131"/>
                    <a:pt x="1292" y="132"/>
                    <a:pt x="1293" y="134"/>
                  </a:cubicBezTo>
                  <a:cubicBezTo>
                    <a:pt x="1293" y="135"/>
                    <a:pt x="1295" y="135"/>
                    <a:pt x="1296" y="135"/>
                  </a:cubicBezTo>
                  <a:cubicBezTo>
                    <a:pt x="1296" y="135"/>
                    <a:pt x="1296" y="135"/>
                    <a:pt x="1296" y="135"/>
                  </a:cubicBezTo>
                  <a:cubicBezTo>
                    <a:pt x="1300" y="134"/>
                    <a:pt x="1305" y="138"/>
                    <a:pt x="1299" y="138"/>
                  </a:cubicBezTo>
                  <a:cubicBezTo>
                    <a:pt x="1298" y="138"/>
                    <a:pt x="1296" y="136"/>
                    <a:pt x="1296" y="138"/>
                  </a:cubicBezTo>
                  <a:cubicBezTo>
                    <a:pt x="1296" y="138"/>
                    <a:pt x="1296" y="137"/>
                    <a:pt x="1296" y="137"/>
                  </a:cubicBezTo>
                  <a:cubicBezTo>
                    <a:pt x="1295" y="137"/>
                    <a:pt x="1294" y="137"/>
                    <a:pt x="1293" y="137"/>
                  </a:cubicBezTo>
                  <a:cubicBezTo>
                    <a:pt x="1293" y="137"/>
                    <a:pt x="1292" y="137"/>
                    <a:pt x="1292" y="137"/>
                  </a:cubicBezTo>
                  <a:cubicBezTo>
                    <a:pt x="1291" y="138"/>
                    <a:pt x="1292" y="139"/>
                    <a:pt x="1291" y="139"/>
                  </a:cubicBezTo>
                  <a:cubicBezTo>
                    <a:pt x="1289" y="139"/>
                    <a:pt x="1289" y="137"/>
                    <a:pt x="1288" y="137"/>
                  </a:cubicBezTo>
                  <a:cubicBezTo>
                    <a:pt x="1286" y="137"/>
                    <a:pt x="1287" y="138"/>
                    <a:pt x="1285" y="138"/>
                  </a:cubicBezTo>
                  <a:cubicBezTo>
                    <a:pt x="1282" y="138"/>
                    <a:pt x="1282" y="137"/>
                    <a:pt x="1281" y="140"/>
                  </a:cubicBezTo>
                  <a:cubicBezTo>
                    <a:pt x="1280" y="142"/>
                    <a:pt x="1279" y="143"/>
                    <a:pt x="1279" y="145"/>
                  </a:cubicBezTo>
                  <a:cubicBezTo>
                    <a:pt x="1280" y="148"/>
                    <a:pt x="1281" y="149"/>
                    <a:pt x="1279" y="152"/>
                  </a:cubicBezTo>
                  <a:cubicBezTo>
                    <a:pt x="1279" y="153"/>
                    <a:pt x="1277" y="154"/>
                    <a:pt x="1277" y="155"/>
                  </a:cubicBezTo>
                  <a:cubicBezTo>
                    <a:pt x="1277" y="157"/>
                    <a:pt x="1278" y="158"/>
                    <a:pt x="1277" y="160"/>
                  </a:cubicBezTo>
                  <a:cubicBezTo>
                    <a:pt x="1277" y="161"/>
                    <a:pt x="1276" y="165"/>
                    <a:pt x="1275" y="166"/>
                  </a:cubicBezTo>
                  <a:cubicBezTo>
                    <a:pt x="1274" y="167"/>
                    <a:pt x="1271" y="169"/>
                    <a:pt x="1271" y="167"/>
                  </a:cubicBezTo>
                  <a:cubicBezTo>
                    <a:pt x="1270" y="172"/>
                    <a:pt x="1264" y="174"/>
                    <a:pt x="1262" y="178"/>
                  </a:cubicBezTo>
                  <a:cubicBezTo>
                    <a:pt x="1261" y="181"/>
                    <a:pt x="1263" y="185"/>
                    <a:pt x="1262" y="189"/>
                  </a:cubicBezTo>
                  <a:cubicBezTo>
                    <a:pt x="1262" y="190"/>
                    <a:pt x="1262" y="192"/>
                    <a:pt x="1261" y="193"/>
                  </a:cubicBezTo>
                  <a:cubicBezTo>
                    <a:pt x="1260" y="194"/>
                    <a:pt x="1259" y="193"/>
                    <a:pt x="1259" y="191"/>
                  </a:cubicBezTo>
                  <a:cubicBezTo>
                    <a:pt x="1258" y="194"/>
                    <a:pt x="1256" y="190"/>
                    <a:pt x="1254" y="191"/>
                  </a:cubicBezTo>
                  <a:cubicBezTo>
                    <a:pt x="1252" y="191"/>
                    <a:pt x="1250" y="193"/>
                    <a:pt x="1249" y="193"/>
                  </a:cubicBezTo>
                  <a:cubicBezTo>
                    <a:pt x="1247" y="194"/>
                    <a:pt x="1250" y="196"/>
                    <a:pt x="1251" y="197"/>
                  </a:cubicBezTo>
                  <a:cubicBezTo>
                    <a:pt x="1249" y="197"/>
                    <a:pt x="1248" y="198"/>
                    <a:pt x="1248" y="200"/>
                  </a:cubicBezTo>
                  <a:cubicBezTo>
                    <a:pt x="1247" y="196"/>
                    <a:pt x="1245" y="199"/>
                    <a:pt x="1244" y="200"/>
                  </a:cubicBezTo>
                  <a:cubicBezTo>
                    <a:pt x="1243" y="203"/>
                    <a:pt x="1243" y="204"/>
                    <a:pt x="1242" y="200"/>
                  </a:cubicBezTo>
                  <a:cubicBezTo>
                    <a:pt x="1242" y="199"/>
                    <a:pt x="1241" y="197"/>
                    <a:pt x="1241" y="196"/>
                  </a:cubicBezTo>
                  <a:cubicBezTo>
                    <a:pt x="1241" y="196"/>
                    <a:pt x="1240" y="196"/>
                    <a:pt x="1240" y="196"/>
                  </a:cubicBezTo>
                  <a:cubicBezTo>
                    <a:pt x="1240" y="196"/>
                    <a:pt x="1240" y="195"/>
                    <a:pt x="1240" y="194"/>
                  </a:cubicBezTo>
                  <a:cubicBezTo>
                    <a:pt x="1238" y="193"/>
                    <a:pt x="1237" y="191"/>
                    <a:pt x="1235" y="190"/>
                  </a:cubicBezTo>
                  <a:cubicBezTo>
                    <a:pt x="1233" y="188"/>
                    <a:pt x="1232" y="187"/>
                    <a:pt x="1230" y="185"/>
                  </a:cubicBezTo>
                  <a:cubicBezTo>
                    <a:pt x="1229" y="184"/>
                    <a:pt x="1227" y="183"/>
                    <a:pt x="1225" y="182"/>
                  </a:cubicBezTo>
                  <a:cubicBezTo>
                    <a:pt x="1223" y="180"/>
                    <a:pt x="1223" y="179"/>
                    <a:pt x="1222" y="177"/>
                  </a:cubicBezTo>
                  <a:cubicBezTo>
                    <a:pt x="1221" y="175"/>
                    <a:pt x="1220" y="174"/>
                    <a:pt x="1219" y="172"/>
                  </a:cubicBezTo>
                  <a:cubicBezTo>
                    <a:pt x="1218" y="169"/>
                    <a:pt x="1219" y="168"/>
                    <a:pt x="1220" y="165"/>
                  </a:cubicBezTo>
                  <a:cubicBezTo>
                    <a:pt x="1220" y="162"/>
                    <a:pt x="1220" y="160"/>
                    <a:pt x="1218" y="157"/>
                  </a:cubicBezTo>
                  <a:cubicBezTo>
                    <a:pt x="1217" y="155"/>
                    <a:pt x="1219" y="156"/>
                    <a:pt x="1219" y="155"/>
                  </a:cubicBezTo>
                  <a:cubicBezTo>
                    <a:pt x="1220" y="155"/>
                    <a:pt x="1222" y="153"/>
                    <a:pt x="1222" y="153"/>
                  </a:cubicBezTo>
                  <a:cubicBezTo>
                    <a:pt x="1224" y="152"/>
                    <a:pt x="1222" y="156"/>
                    <a:pt x="1223" y="157"/>
                  </a:cubicBezTo>
                  <a:cubicBezTo>
                    <a:pt x="1223" y="158"/>
                    <a:pt x="1226" y="158"/>
                    <a:pt x="1227" y="157"/>
                  </a:cubicBezTo>
                  <a:cubicBezTo>
                    <a:pt x="1232" y="155"/>
                    <a:pt x="1232" y="153"/>
                    <a:pt x="1231" y="149"/>
                  </a:cubicBezTo>
                  <a:cubicBezTo>
                    <a:pt x="1230" y="148"/>
                    <a:pt x="1229" y="146"/>
                    <a:pt x="1229" y="145"/>
                  </a:cubicBezTo>
                  <a:cubicBezTo>
                    <a:pt x="1228" y="142"/>
                    <a:pt x="1229" y="140"/>
                    <a:pt x="1228" y="138"/>
                  </a:cubicBezTo>
                  <a:cubicBezTo>
                    <a:pt x="1224" y="129"/>
                    <a:pt x="1215" y="128"/>
                    <a:pt x="1208" y="123"/>
                  </a:cubicBezTo>
                  <a:cubicBezTo>
                    <a:pt x="1205" y="120"/>
                    <a:pt x="1205" y="115"/>
                    <a:pt x="1199" y="116"/>
                  </a:cubicBezTo>
                  <a:cubicBezTo>
                    <a:pt x="1196" y="117"/>
                    <a:pt x="1195" y="118"/>
                    <a:pt x="1194" y="121"/>
                  </a:cubicBezTo>
                  <a:cubicBezTo>
                    <a:pt x="1192" y="123"/>
                    <a:pt x="1190" y="124"/>
                    <a:pt x="1188" y="126"/>
                  </a:cubicBezTo>
                  <a:cubicBezTo>
                    <a:pt x="1188" y="129"/>
                    <a:pt x="1189" y="140"/>
                    <a:pt x="1186" y="142"/>
                  </a:cubicBezTo>
                  <a:cubicBezTo>
                    <a:pt x="1187" y="141"/>
                    <a:pt x="1186" y="140"/>
                    <a:pt x="1186" y="140"/>
                  </a:cubicBezTo>
                  <a:cubicBezTo>
                    <a:pt x="1182" y="140"/>
                    <a:pt x="1182" y="146"/>
                    <a:pt x="1183" y="147"/>
                  </a:cubicBezTo>
                  <a:cubicBezTo>
                    <a:pt x="1183" y="148"/>
                    <a:pt x="1183" y="149"/>
                    <a:pt x="1183" y="150"/>
                  </a:cubicBezTo>
                  <a:cubicBezTo>
                    <a:pt x="1183" y="150"/>
                    <a:pt x="1183" y="149"/>
                    <a:pt x="1183" y="149"/>
                  </a:cubicBezTo>
                  <a:cubicBezTo>
                    <a:pt x="1181" y="151"/>
                    <a:pt x="1181" y="153"/>
                    <a:pt x="1180" y="155"/>
                  </a:cubicBezTo>
                  <a:cubicBezTo>
                    <a:pt x="1180" y="154"/>
                    <a:pt x="1180" y="153"/>
                    <a:pt x="1180" y="152"/>
                  </a:cubicBezTo>
                  <a:cubicBezTo>
                    <a:pt x="1180" y="153"/>
                    <a:pt x="1176" y="158"/>
                    <a:pt x="1175" y="158"/>
                  </a:cubicBezTo>
                  <a:cubicBezTo>
                    <a:pt x="1174" y="158"/>
                    <a:pt x="1174" y="156"/>
                    <a:pt x="1173" y="156"/>
                  </a:cubicBezTo>
                  <a:cubicBezTo>
                    <a:pt x="1171" y="154"/>
                    <a:pt x="1169" y="152"/>
                    <a:pt x="1167" y="150"/>
                  </a:cubicBezTo>
                  <a:cubicBezTo>
                    <a:pt x="1166" y="149"/>
                    <a:pt x="1169" y="148"/>
                    <a:pt x="1169" y="147"/>
                  </a:cubicBezTo>
                  <a:cubicBezTo>
                    <a:pt x="1169" y="146"/>
                    <a:pt x="1168" y="144"/>
                    <a:pt x="1168" y="143"/>
                  </a:cubicBezTo>
                  <a:cubicBezTo>
                    <a:pt x="1168" y="142"/>
                    <a:pt x="1169" y="141"/>
                    <a:pt x="1169" y="141"/>
                  </a:cubicBezTo>
                  <a:cubicBezTo>
                    <a:pt x="1169" y="140"/>
                    <a:pt x="1168" y="138"/>
                    <a:pt x="1168" y="137"/>
                  </a:cubicBezTo>
                  <a:cubicBezTo>
                    <a:pt x="1170" y="135"/>
                    <a:pt x="1170" y="134"/>
                    <a:pt x="1167" y="135"/>
                  </a:cubicBezTo>
                  <a:cubicBezTo>
                    <a:pt x="1168" y="134"/>
                    <a:pt x="1169" y="134"/>
                    <a:pt x="1170" y="133"/>
                  </a:cubicBezTo>
                  <a:cubicBezTo>
                    <a:pt x="1167" y="128"/>
                    <a:pt x="1165" y="124"/>
                    <a:pt x="1160" y="121"/>
                  </a:cubicBezTo>
                  <a:cubicBezTo>
                    <a:pt x="1156" y="118"/>
                    <a:pt x="1152" y="116"/>
                    <a:pt x="1147" y="113"/>
                  </a:cubicBezTo>
                  <a:cubicBezTo>
                    <a:pt x="1153" y="115"/>
                    <a:pt x="1153" y="116"/>
                    <a:pt x="1158" y="113"/>
                  </a:cubicBezTo>
                  <a:cubicBezTo>
                    <a:pt x="1158" y="113"/>
                    <a:pt x="1155" y="115"/>
                    <a:pt x="1155" y="116"/>
                  </a:cubicBezTo>
                  <a:cubicBezTo>
                    <a:pt x="1155" y="117"/>
                    <a:pt x="1157" y="116"/>
                    <a:pt x="1158" y="116"/>
                  </a:cubicBezTo>
                  <a:cubicBezTo>
                    <a:pt x="1158" y="116"/>
                    <a:pt x="1159" y="118"/>
                    <a:pt x="1160" y="117"/>
                  </a:cubicBezTo>
                  <a:cubicBezTo>
                    <a:pt x="1161" y="116"/>
                    <a:pt x="1162" y="114"/>
                    <a:pt x="1162" y="112"/>
                  </a:cubicBezTo>
                  <a:cubicBezTo>
                    <a:pt x="1163" y="111"/>
                    <a:pt x="1164" y="111"/>
                    <a:pt x="1164" y="109"/>
                  </a:cubicBezTo>
                  <a:cubicBezTo>
                    <a:pt x="1164" y="108"/>
                    <a:pt x="1166" y="110"/>
                    <a:pt x="1167" y="110"/>
                  </a:cubicBezTo>
                  <a:cubicBezTo>
                    <a:pt x="1168" y="110"/>
                    <a:pt x="1171" y="110"/>
                    <a:pt x="1173" y="109"/>
                  </a:cubicBezTo>
                  <a:cubicBezTo>
                    <a:pt x="1170" y="107"/>
                    <a:pt x="1168" y="107"/>
                    <a:pt x="1166" y="106"/>
                  </a:cubicBezTo>
                  <a:cubicBezTo>
                    <a:pt x="1162" y="104"/>
                    <a:pt x="1165" y="109"/>
                    <a:pt x="1160" y="106"/>
                  </a:cubicBezTo>
                  <a:cubicBezTo>
                    <a:pt x="1160" y="105"/>
                    <a:pt x="1158" y="106"/>
                    <a:pt x="1157" y="106"/>
                  </a:cubicBezTo>
                  <a:cubicBezTo>
                    <a:pt x="1155" y="106"/>
                    <a:pt x="1155" y="105"/>
                    <a:pt x="1153" y="104"/>
                  </a:cubicBezTo>
                  <a:cubicBezTo>
                    <a:pt x="1152" y="104"/>
                    <a:pt x="1150" y="106"/>
                    <a:pt x="1149" y="106"/>
                  </a:cubicBezTo>
                  <a:cubicBezTo>
                    <a:pt x="1148" y="106"/>
                    <a:pt x="1146" y="106"/>
                    <a:pt x="1144" y="106"/>
                  </a:cubicBezTo>
                  <a:cubicBezTo>
                    <a:pt x="1146" y="105"/>
                    <a:pt x="1148" y="105"/>
                    <a:pt x="1150" y="104"/>
                  </a:cubicBezTo>
                  <a:cubicBezTo>
                    <a:pt x="1152" y="103"/>
                    <a:pt x="1152" y="102"/>
                    <a:pt x="1155" y="101"/>
                  </a:cubicBezTo>
                  <a:cubicBezTo>
                    <a:pt x="1153" y="100"/>
                    <a:pt x="1150" y="100"/>
                    <a:pt x="1148" y="100"/>
                  </a:cubicBezTo>
                  <a:cubicBezTo>
                    <a:pt x="1145" y="100"/>
                    <a:pt x="1145" y="102"/>
                    <a:pt x="1144" y="103"/>
                  </a:cubicBezTo>
                  <a:cubicBezTo>
                    <a:pt x="1143" y="104"/>
                    <a:pt x="1140" y="106"/>
                    <a:pt x="1139" y="106"/>
                  </a:cubicBezTo>
                  <a:cubicBezTo>
                    <a:pt x="1134" y="104"/>
                    <a:pt x="1128" y="101"/>
                    <a:pt x="1123" y="99"/>
                  </a:cubicBezTo>
                  <a:cubicBezTo>
                    <a:pt x="1120" y="99"/>
                    <a:pt x="1116" y="100"/>
                    <a:pt x="1113" y="99"/>
                  </a:cubicBezTo>
                  <a:cubicBezTo>
                    <a:pt x="1114" y="99"/>
                    <a:pt x="1115" y="98"/>
                    <a:pt x="1116" y="98"/>
                  </a:cubicBezTo>
                  <a:cubicBezTo>
                    <a:pt x="1118" y="96"/>
                    <a:pt x="1119" y="95"/>
                    <a:pt x="1121" y="94"/>
                  </a:cubicBezTo>
                  <a:cubicBezTo>
                    <a:pt x="1121" y="94"/>
                    <a:pt x="1121" y="94"/>
                    <a:pt x="1121" y="94"/>
                  </a:cubicBezTo>
                  <a:cubicBezTo>
                    <a:pt x="1122" y="95"/>
                    <a:pt x="1135" y="86"/>
                    <a:pt x="1135" y="84"/>
                  </a:cubicBezTo>
                  <a:cubicBezTo>
                    <a:pt x="1133" y="79"/>
                    <a:pt x="1123" y="85"/>
                    <a:pt x="1121" y="83"/>
                  </a:cubicBezTo>
                  <a:cubicBezTo>
                    <a:pt x="1121" y="83"/>
                    <a:pt x="1122" y="82"/>
                    <a:pt x="1122" y="82"/>
                  </a:cubicBezTo>
                  <a:cubicBezTo>
                    <a:pt x="1122" y="81"/>
                    <a:pt x="1124" y="81"/>
                    <a:pt x="1123" y="80"/>
                  </a:cubicBezTo>
                  <a:cubicBezTo>
                    <a:pt x="1123" y="80"/>
                    <a:pt x="1123" y="79"/>
                    <a:pt x="1123" y="79"/>
                  </a:cubicBezTo>
                  <a:cubicBezTo>
                    <a:pt x="1124" y="78"/>
                    <a:pt x="1130" y="79"/>
                    <a:pt x="1126" y="76"/>
                  </a:cubicBezTo>
                  <a:cubicBezTo>
                    <a:pt x="1128" y="75"/>
                    <a:pt x="1128" y="77"/>
                    <a:pt x="1129" y="78"/>
                  </a:cubicBezTo>
                  <a:cubicBezTo>
                    <a:pt x="1130" y="79"/>
                    <a:pt x="1133" y="81"/>
                    <a:pt x="1134" y="81"/>
                  </a:cubicBezTo>
                  <a:cubicBezTo>
                    <a:pt x="1136" y="82"/>
                    <a:pt x="1145" y="81"/>
                    <a:pt x="1145" y="80"/>
                  </a:cubicBezTo>
                  <a:cubicBezTo>
                    <a:pt x="1146" y="78"/>
                    <a:pt x="1142" y="77"/>
                    <a:pt x="1141" y="78"/>
                  </a:cubicBezTo>
                  <a:cubicBezTo>
                    <a:pt x="1141" y="77"/>
                    <a:pt x="1141" y="75"/>
                    <a:pt x="1141" y="74"/>
                  </a:cubicBezTo>
                  <a:cubicBezTo>
                    <a:pt x="1141" y="71"/>
                    <a:pt x="1140" y="72"/>
                    <a:pt x="1139" y="72"/>
                  </a:cubicBezTo>
                  <a:cubicBezTo>
                    <a:pt x="1138" y="72"/>
                    <a:pt x="1138" y="72"/>
                    <a:pt x="1138" y="72"/>
                  </a:cubicBezTo>
                  <a:cubicBezTo>
                    <a:pt x="1138" y="72"/>
                    <a:pt x="1138" y="72"/>
                    <a:pt x="1137" y="73"/>
                  </a:cubicBezTo>
                  <a:cubicBezTo>
                    <a:pt x="1137" y="74"/>
                    <a:pt x="1136" y="74"/>
                    <a:pt x="1135" y="75"/>
                  </a:cubicBezTo>
                  <a:cubicBezTo>
                    <a:pt x="1135" y="74"/>
                    <a:pt x="1135" y="72"/>
                    <a:pt x="1134" y="70"/>
                  </a:cubicBezTo>
                  <a:cubicBezTo>
                    <a:pt x="1134" y="69"/>
                    <a:pt x="1132" y="68"/>
                    <a:pt x="1132" y="67"/>
                  </a:cubicBezTo>
                  <a:cubicBezTo>
                    <a:pt x="1131" y="67"/>
                    <a:pt x="1128" y="57"/>
                    <a:pt x="1128" y="62"/>
                  </a:cubicBezTo>
                  <a:cubicBezTo>
                    <a:pt x="1127" y="57"/>
                    <a:pt x="1122" y="59"/>
                    <a:pt x="1120" y="57"/>
                  </a:cubicBezTo>
                  <a:cubicBezTo>
                    <a:pt x="1118" y="55"/>
                    <a:pt x="1119" y="54"/>
                    <a:pt x="1116" y="53"/>
                  </a:cubicBezTo>
                  <a:cubicBezTo>
                    <a:pt x="1114" y="52"/>
                    <a:pt x="1112" y="51"/>
                    <a:pt x="1110" y="49"/>
                  </a:cubicBezTo>
                  <a:cubicBezTo>
                    <a:pt x="1111" y="50"/>
                    <a:pt x="1111" y="50"/>
                    <a:pt x="1112" y="51"/>
                  </a:cubicBezTo>
                  <a:cubicBezTo>
                    <a:pt x="1112" y="46"/>
                    <a:pt x="1112" y="40"/>
                    <a:pt x="1111" y="35"/>
                  </a:cubicBezTo>
                  <a:cubicBezTo>
                    <a:pt x="1111" y="34"/>
                    <a:pt x="1112" y="31"/>
                    <a:pt x="1111" y="29"/>
                  </a:cubicBezTo>
                  <a:cubicBezTo>
                    <a:pt x="1110" y="28"/>
                    <a:pt x="1108" y="27"/>
                    <a:pt x="1107" y="26"/>
                  </a:cubicBezTo>
                  <a:cubicBezTo>
                    <a:pt x="1104" y="22"/>
                    <a:pt x="1099" y="22"/>
                    <a:pt x="1095" y="19"/>
                  </a:cubicBezTo>
                  <a:cubicBezTo>
                    <a:pt x="1093" y="17"/>
                    <a:pt x="1092" y="17"/>
                    <a:pt x="1093" y="15"/>
                  </a:cubicBezTo>
                  <a:cubicBezTo>
                    <a:pt x="1093" y="14"/>
                    <a:pt x="1095" y="12"/>
                    <a:pt x="1093" y="11"/>
                  </a:cubicBezTo>
                  <a:cubicBezTo>
                    <a:pt x="1092" y="11"/>
                    <a:pt x="1091" y="12"/>
                    <a:pt x="1090" y="12"/>
                  </a:cubicBezTo>
                  <a:cubicBezTo>
                    <a:pt x="1088" y="13"/>
                    <a:pt x="1088" y="11"/>
                    <a:pt x="1087" y="11"/>
                  </a:cubicBezTo>
                  <a:cubicBezTo>
                    <a:pt x="1086" y="11"/>
                    <a:pt x="1086" y="12"/>
                    <a:pt x="1085" y="12"/>
                  </a:cubicBezTo>
                  <a:cubicBezTo>
                    <a:pt x="1084" y="12"/>
                    <a:pt x="1084" y="10"/>
                    <a:pt x="1083" y="11"/>
                  </a:cubicBezTo>
                  <a:cubicBezTo>
                    <a:pt x="1082" y="11"/>
                    <a:pt x="1082" y="12"/>
                    <a:pt x="1081" y="13"/>
                  </a:cubicBezTo>
                  <a:cubicBezTo>
                    <a:pt x="1081" y="14"/>
                    <a:pt x="1079" y="15"/>
                    <a:pt x="1078" y="15"/>
                  </a:cubicBezTo>
                  <a:cubicBezTo>
                    <a:pt x="1079" y="14"/>
                    <a:pt x="1079" y="12"/>
                    <a:pt x="1079" y="11"/>
                  </a:cubicBezTo>
                  <a:cubicBezTo>
                    <a:pt x="1079" y="9"/>
                    <a:pt x="1078" y="10"/>
                    <a:pt x="1078" y="10"/>
                  </a:cubicBezTo>
                  <a:cubicBezTo>
                    <a:pt x="1076" y="10"/>
                    <a:pt x="1077" y="9"/>
                    <a:pt x="1076" y="10"/>
                  </a:cubicBezTo>
                  <a:cubicBezTo>
                    <a:pt x="1075" y="10"/>
                    <a:pt x="1074" y="11"/>
                    <a:pt x="1073" y="12"/>
                  </a:cubicBezTo>
                  <a:cubicBezTo>
                    <a:pt x="1072" y="9"/>
                    <a:pt x="1074" y="9"/>
                    <a:pt x="1075" y="8"/>
                  </a:cubicBezTo>
                  <a:cubicBezTo>
                    <a:pt x="1076" y="8"/>
                    <a:pt x="1076" y="8"/>
                    <a:pt x="1077" y="7"/>
                  </a:cubicBezTo>
                  <a:cubicBezTo>
                    <a:pt x="1077" y="7"/>
                    <a:pt x="1077" y="6"/>
                    <a:pt x="1077" y="5"/>
                  </a:cubicBezTo>
                  <a:cubicBezTo>
                    <a:pt x="1079" y="4"/>
                    <a:pt x="1078" y="3"/>
                    <a:pt x="1076" y="2"/>
                  </a:cubicBezTo>
                  <a:cubicBezTo>
                    <a:pt x="1074" y="0"/>
                    <a:pt x="1067" y="2"/>
                    <a:pt x="1065" y="3"/>
                  </a:cubicBezTo>
                  <a:cubicBezTo>
                    <a:pt x="1062" y="3"/>
                    <a:pt x="1060" y="3"/>
                    <a:pt x="1059" y="5"/>
                  </a:cubicBezTo>
                  <a:cubicBezTo>
                    <a:pt x="1059" y="6"/>
                    <a:pt x="1058" y="8"/>
                    <a:pt x="1060" y="8"/>
                  </a:cubicBezTo>
                  <a:cubicBezTo>
                    <a:pt x="1061" y="9"/>
                    <a:pt x="1065" y="8"/>
                    <a:pt x="1066" y="8"/>
                  </a:cubicBezTo>
                  <a:cubicBezTo>
                    <a:pt x="1069" y="8"/>
                    <a:pt x="1071" y="8"/>
                    <a:pt x="1073" y="7"/>
                  </a:cubicBezTo>
                  <a:cubicBezTo>
                    <a:pt x="1070" y="10"/>
                    <a:pt x="1064" y="7"/>
                    <a:pt x="1060" y="9"/>
                  </a:cubicBezTo>
                  <a:cubicBezTo>
                    <a:pt x="1058" y="10"/>
                    <a:pt x="1059" y="13"/>
                    <a:pt x="1058" y="13"/>
                  </a:cubicBezTo>
                  <a:cubicBezTo>
                    <a:pt x="1057" y="14"/>
                    <a:pt x="1053" y="14"/>
                    <a:pt x="1051" y="14"/>
                  </a:cubicBezTo>
                  <a:cubicBezTo>
                    <a:pt x="1049" y="15"/>
                    <a:pt x="1048" y="17"/>
                    <a:pt x="1046" y="17"/>
                  </a:cubicBezTo>
                  <a:cubicBezTo>
                    <a:pt x="1045" y="18"/>
                    <a:pt x="1042" y="19"/>
                    <a:pt x="1043" y="21"/>
                  </a:cubicBezTo>
                  <a:cubicBezTo>
                    <a:pt x="1043" y="22"/>
                    <a:pt x="1047" y="23"/>
                    <a:pt x="1048" y="23"/>
                  </a:cubicBezTo>
                  <a:cubicBezTo>
                    <a:pt x="1051" y="23"/>
                    <a:pt x="1053" y="23"/>
                    <a:pt x="1055" y="23"/>
                  </a:cubicBezTo>
                  <a:cubicBezTo>
                    <a:pt x="1052" y="24"/>
                    <a:pt x="1052" y="26"/>
                    <a:pt x="1054" y="28"/>
                  </a:cubicBezTo>
                  <a:cubicBezTo>
                    <a:pt x="1053" y="29"/>
                    <a:pt x="1052" y="29"/>
                    <a:pt x="1051" y="29"/>
                  </a:cubicBezTo>
                  <a:cubicBezTo>
                    <a:pt x="1053" y="30"/>
                    <a:pt x="1052" y="31"/>
                    <a:pt x="1051" y="32"/>
                  </a:cubicBezTo>
                  <a:cubicBezTo>
                    <a:pt x="1049" y="33"/>
                    <a:pt x="1043" y="29"/>
                    <a:pt x="1041" y="28"/>
                  </a:cubicBezTo>
                  <a:cubicBezTo>
                    <a:pt x="1037" y="27"/>
                    <a:pt x="1038" y="28"/>
                    <a:pt x="1035" y="30"/>
                  </a:cubicBezTo>
                  <a:cubicBezTo>
                    <a:pt x="1034" y="31"/>
                    <a:pt x="1031" y="31"/>
                    <a:pt x="1030" y="32"/>
                  </a:cubicBezTo>
                  <a:cubicBezTo>
                    <a:pt x="1032" y="33"/>
                    <a:pt x="1031" y="34"/>
                    <a:pt x="1031" y="36"/>
                  </a:cubicBezTo>
                  <a:cubicBezTo>
                    <a:pt x="1031" y="36"/>
                    <a:pt x="1031" y="36"/>
                    <a:pt x="1031" y="36"/>
                  </a:cubicBezTo>
                  <a:cubicBezTo>
                    <a:pt x="1031" y="37"/>
                    <a:pt x="1029" y="37"/>
                    <a:pt x="1029" y="38"/>
                  </a:cubicBezTo>
                  <a:cubicBezTo>
                    <a:pt x="1029" y="40"/>
                    <a:pt x="1028" y="39"/>
                    <a:pt x="1030" y="40"/>
                  </a:cubicBezTo>
                  <a:cubicBezTo>
                    <a:pt x="1031" y="40"/>
                    <a:pt x="1032" y="39"/>
                    <a:pt x="1033" y="40"/>
                  </a:cubicBezTo>
                  <a:cubicBezTo>
                    <a:pt x="1033" y="41"/>
                    <a:pt x="1031" y="42"/>
                    <a:pt x="1030" y="42"/>
                  </a:cubicBezTo>
                  <a:cubicBezTo>
                    <a:pt x="1029" y="43"/>
                    <a:pt x="1030" y="45"/>
                    <a:pt x="1029" y="47"/>
                  </a:cubicBezTo>
                  <a:cubicBezTo>
                    <a:pt x="1029" y="48"/>
                    <a:pt x="1027" y="50"/>
                    <a:pt x="1027" y="52"/>
                  </a:cubicBezTo>
                  <a:cubicBezTo>
                    <a:pt x="1027" y="54"/>
                    <a:pt x="1030" y="54"/>
                    <a:pt x="1031" y="56"/>
                  </a:cubicBezTo>
                  <a:cubicBezTo>
                    <a:pt x="1033" y="57"/>
                    <a:pt x="1033" y="59"/>
                    <a:pt x="1036" y="59"/>
                  </a:cubicBezTo>
                  <a:cubicBezTo>
                    <a:pt x="1039" y="60"/>
                    <a:pt x="1042" y="57"/>
                    <a:pt x="1044" y="57"/>
                  </a:cubicBezTo>
                  <a:cubicBezTo>
                    <a:pt x="1041" y="58"/>
                    <a:pt x="1038" y="60"/>
                    <a:pt x="1036" y="63"/>
                  </a:cubicBezTo>
                  <a:cubicBezTo>
                    <a:pt x="1034" y="64"/>
                    <a:pt x="1034" y="66"/>
                    <a:pt x="1033" y="68"/>
                  </a:cubicBezTo>
                  <a:cubicBezTo>
                    <a:pt x="1031" y="70"/>
                    <a:pt x="1029" y="71"/>
                    <a:pt x="1028" y="73"/>
                  </a:cubicBezTo>
                  <a:cubicBezTo>
                    <a:pt x="1028" y="75"/>
                    <a:pt x="1028" y="77"/>
                    <a:pt x="1029" y="79"/>
                  </a:cubicBezTo>
                  <a:cubicBezTo>
                    <a:pt x="1030" y="81"/>
                    <a:pt x="1030" y="83"/>
                    <a:pt x="1032" y="84"/>
                  </a:cubicBezTo>
                  <a:cubicBezTo>
                    <a:pt x="1033" y="85"/>
                    <a:pt x="1033" y="86"/>
                    <a:pt x="1034" y="87"/>
                  </a:cubicBezTo>
                  <a:cubicBezTo>
                    <a:pt x="1035" y="87"/>
                    <a:pt x="1037" y="87"/>
                    <a:pt x="1037" y="88"/>
                  </a:cubicBezTo>
                  <a:cubicBezTo>
                    <a:pt x="1039" y="88"/>
                    <a:pt x="1038" y="88"/>
                    <a:pt x="1039" y="89"/>
                  </a:cubicBezTo>
                  <a:cubicBezTo>
                    <a:pt x="1039" y="90"/>
                    <a:pt x="1038" y="90"/>
                    <a:pt x="1038" y="91"/>
                  </a:cubicBezTo>
                  <a:cubicBezTo>
                    <a:pt x="1038" y="92"/>
                    <a:pt x="1037" y="92"/>
                    <a:pt x="1037" y="92"/>
                  </a:cubicBezTo>
                  <a:cubicBezTo>
                    <a:pt x="1038" y="92"/>
                    <a:pt x="1038" y="92"/>
                    <a:pt x="1039" y="92"/>
                  </a:cubicBezTo>
                  <a:cubicBezTo>
                    <a:pt x="1039" y="93"/>
                    <a:pt x="1040" y="94"/>
                    <a:pt x="1041" y="94"/>
                  </a:cubicBezTo>
                  <a:cubicBezTo>
                    <a:pt x="1041" y="94"/>
                    <a:pt x="1041" y="94"/>
                    <a:pt x="1042" y="94"/>
                  </a:cubicBezTo>
                  <a:cubicBezTo>
                    <a:pt x="1041" y="96"/>
                    <a:pt x="1041" y="98"/>
                    <a:pt x="1041" y="99"/>
                  </a:cubicBezTo>
                  <a:cubicBezTo>
                    <a:pt x="1042" y="99"/>
                    <a:pt x="1042" y="99"/>
                    <a:pt x="1043" y="98"/>
                  </a:cubicBezTo>
                  <a:cubicBezTo>
                    <a:pt x="1043" y="97"/>
                    <a:pt x="1044" y="96"/>
                    <a:pt x="1044" y="95"/>
                  </a:cubicBezTo>
                  <a:cubicBezTo>
                    <a:pt x="1045" y="95"/>
                    <a:pt x="1046" y="95"/>
                    <a:pt x="1046" y="95"/>
                  </a:cubicBezTo>
                  <a:cubicBezTo>
                    <a:pt x="1046" y="95"/>
                    <a:pt x="1047" y="95"/>
                    <a:pt x="1048" y="95"/>
                  </a:cubicBezTo>
                  <a:cubicBezTo>
                    <a:pt x="1049" y="96"/>
                    <a:pt x="1049" y="97"/>
                    <a:pt x="1049" y="98"/>
                  </a:cubicBezTo>
                  <a:cubicBezTo>
                    <a:pt x="1049" y="99"/>
                    <a:pt x="1048" y="99"/>
                    <a:pt x="1048" y="100"/>
                  </a:cubicBezTo>
                  <a:cubicBezTo>
                    <a:pt x="1047" y="100"/>
                    <a:pt x="1047" y="101"/>
                    <a:pt x="1048" y="101"/>
                  </a:cubicBezTo>
                  <a:cubicBezTo>
                    <a:pt x="1048" y="101"/>
                    <a:pt x="1048" y="101"/>
                    <a:pt x="1048" y="101"/>
                  </a:cubicBezTo>
                  <a:cubicBezTo>
                    <a:pt x="1048" y="101"/>
                    <a:pt x="1048" y="101"/>
                    <a:pt x="1048" y="101"/>
                  </a:cubicBezTo>
                  <a:cubicBezTo>
                    <a:pt x="1048" y="102"/>
                    <a:pt x="1049" y="102"/>
                    <a:pt x="1050" y="102"/>
                  </a:cubicBezTo>
                  <a:cubicBezTo>
                    <a:pt x="1052" y="102"/>
                    <a:pt x="1054" y="100"/>
                    <a:pt x="1055" y="99"/>
                  </a:cubicBezTo>
                  <a:cubicBezTo>
                    <a:pt x="1056" y="99"/>
                    <a:pt x="1056" y="100"/>
                    <a:pt x="1057" y="100"/>
                  </a:cubicBezTo>
                  <a:cubicBezTo>
                    <a:pt x="1060" y="101"/>
                    <a:pt x="1061" y="102"/>
                    <a:pt x="1064" y="102"/>
                  </a:cubicBezTo>
                  <a:cubicBezTo>
                    <a:pt x="1067" y="102"/>
                    <a:pt x="1070" y="100"/>
                    <a:pt x="1073" y="99"/>
                  </a:cubicBezTo>
                  <a:cubicBezTo>
                    <a:pt x="1073" y="100"/>
                    <a:pt x="1077" y="107"/>
                    <a:pt x="1079" y="108"/>
                  </a:cubicBezTo>
                  <a:cubicBezTo>
                    <a:pt x="1083" y="110"/>
                    <a:pt x="1091" y="107"/>
                    <a:pt x="1095" y="106"/>
                  </a:cubicBezTo>
                  <a:cubicBezTo>
                    <a:pt x="1097" y="106"/>
                    <a:pt x="1097" y="105"/>
                    <a:pt x="1098" y="104"/>
                  </a:cubicBezTo>
                  <a:cubicBezTo>
                    <a:pt x="1098" y="105"/>
                    <a:pt x="1098" y="106"/>
                    <a:pt x="1098" y="106"/>
                  </a:cubicBezTo>
                  <a:cubicBezTo>
                    <a:pt x="1101" y="108"/>
                    <a:pt x="1099" y="109"/>
                    <a:pt x="1098" y="112"/>
                  </a:cubicBezTo>
                  <a:cubicBezTo>
                    <a:pt x="1100" y="112"/>
                    <a:pt x="1102" y="112"/>
                    <a:pt x="1105" y="112"/>
                  </a:cubicBezTo>
                  <a:cubicBezTo>
                    <a:pt x="1103" y="112"/>
                    <a:pt x="1102" y="113"/>
                    <a:pt x="1100" y="114"/>
                  </a:cubicBezTo>
                  <a:cubicBezTo>
                    <a:pt x="1097" y="116"/>
                    <a:pt x="1094" y="118"/>
                    <a:pt x="1091" y="120"/>
                  </a:cubicBezTo>
                  <a:cubicBezTo>
                    <a:pt x="1093" y="117"/>
                    <a:pt x="1083" y="113"/>
                    <a:pt x="1081" y="115"/>
                  </a:cubicBezTo>
                  <a:cubicBezTo>
                    <a:pt x="1081" y="114"/>
                    <a:pt x="1081" y="118"/>
                    <a:pt x="1081" y="118"/>
                  </a:cubicBezTo>
                  <a:cubicBezTo>
                    <a:pt x="1081" y="119"/>
                    <a:pt x="1079" y="121"/>
                    <a:pt x="1081" y="122"/>
                  </a:cubicBezTo>
                  <a:cubicBezTo>
                    <a:pt x="1079" y="125"/>
                    <a:pt x="1075" y="127"/>
                    <a:pt x="1074" y="129"/>
                  </a:cubicBezTo>
                  <a:cubicBezTo>
                    <a:pt x="1074" y="131"/>
                    <a:pt x="1073" y="135"/>
                    <a:pt x="1073" y="137"/>
                  </a:cubicBezTo>
                  <a:cubicBezTo>
                    <a:pt x="1075" y="136"/>
                    <a:pt x="1075" y="138"/>
                    <a:pt x="1076" y="138"/>
                  </a:cubicBezTo>
                  <a:cubicBezTo>
                    <a:pt x="1078" y="139"/>
                    <a:pt x="1079" y="138"/>
                    <a:pt x="1080" y="138"/>
                  </a:cubicBezTo>
                  <a:cubicBezTo>
                    <a:pt x="1085" y="137"/>
                    <a:pt x="1088" y="135"/>
                    <a:pt x="1092" y="132"/>
                  </a:cubicBezTo>
                  <a:cubicBezTo>
                    <a:pt x="1090" y="133"/>
                    <a:pt x="1085" y="134"/>
                    <a:pt x="1087" y="131"/>
                  </a:cubicBezTo>
                  <a:cubicBezTo>
                    <a:pt x="1087" y="130"/>
                    <a:pt x="1088" y="129"/>
                    <a:pt x="1089" y="129"/>
                  </a:cubicBezTo>
                  <a:cubicBezTo>
                    <a:pt x="1089" y="128"/>
                    <a:pt x="1089" y="127"/>
                    <a:pt x="1090" y="126"/>
                  </a:cubicBezTo>
                  <a:cubicBezTo>
                    <a:pt x="1090" y="127"/>
                    <a:pt x="1090" y="127"/>
                    <a:pt x="1090" y="127"/>
                  </a:cubicBezTo>
                  <a:cubicBezTo>
                    <a:pt x="1090" y="130"/>
                    <a:pt x="1092" y="127"/>
                    <a:pt x="1094" y="128"/>
                  </a:cubicBezTo>
                  <a:cubicBezTo>
                    <a:pt x="1096" y="130"/>
                    <a:pt x="1094" y="140"/>
                    <a:pt x="1094" y="143"/>
                  </a:cubicBezTo>
                  <a:cubicBezTo>
                    <a:pt x="1096" y="142"/>
                    <a:pt x="1100" y="142"/>
                    <a:pt x="1102" y="142"/>
                  </a:cubicBezTo>
                  <a:cubicBezTo>
                    <a:pt x="1098" y="144"/>
                    <a:pt x="1095" y="146"/>
                    <a:pt x="1092" y="148"/>
                  </a:cubicBezTo>
                  <a:cubicBezTo>
                    <a:pt x="1088" y="150"/>
                    <a:pt x="1086" y="154"/>
                    <a:pt x="1083" y="156"/>
                  </a:cubicBezTo>
                  <a:cubicBezTo>
                    <a:pt x="1082" y="157"/>
                    <a:pt x="1080" y="158"/>
                    <a:pt x="1078" y="159"/>
                  </a:cubicBezTo>
                  <a:cubicBezTo>
                    <a:pt x="1074" y="162"/>
                    <a:pt x="1072" y="166"/>
                    <a:pt x="1067" y="166"/>
                  </a:cubicBezTo>
                  <a:cubicBezTo>
                    <a:pt x="1066" y="166"/>
                    <a:pt x="1064" y="165"/>
                    <a:pt x="1063" y="165"/>
                  </a:cubicBezTo>
                  <a:cubicBezTo>
                    <a:pt x="1061" y="165"/>
                    <a:pt x="1061" y="165"/>
                    <a:pt x="1059" y="166"/>
                  </a:cubicBezTo>
                  <a:cubicBezTo>
                    <a:pt x="1060" y="164"/>
                    <a:pt x="1059" y="165"/>
                    <a:pt x="1057" y="164"/>
                  </a:cubicBezTo>
                  <a:cubicBezTo>
                    <a:pt x="1054" y="164"/>
                    <a:pt x="1053" y="167"/>
                    <a:pt x="1052" y="169"/>
                  </a:cubicBezTo>
                  <a:cubicBezTo>
                    <a:pt x="1051" y="171"/>
                    <a:pt x="1048" y="175"/>
                    <a:pt x="1048" y="177"/>
                  </a:cubicBezTo>
                  <a:cubicBezTo>
                    <a:pt x="1048" y="180"/>
                    <a:pt x="1049" y="179"/>
                    <a:pt x="1050" y="180"/>
                  </a:cubicBezTo>
                  <a:cubicBezTo>
                    <a:pt x="1052" y="181"/>
                    <a:pt x="1054" y="182"/>
                    <a:pt x="1055" y="184"/>
                  </a:cubicBezTo>
                  <a:cubicBezTo>
                    <a:pt x="1056" y="186"/>
                    <a:pt x="1055" y="188"/>
                    <a:pt x="1056" y="191"/>
                  </a:cubicBezTo>
                  <a:cubicBezTo>
                    <a:pt x="1056" y="192"/>
                    <a:pt x="1058" y="195"/>
                    <a:pt x="1058" y="196"/>
                  </a:cubicBezTo>
                  <a:cubicBezTo>
                    <a:pt x="1058" y="200"/>
                    <a:pt x="1057" y="201"/>
                    <a:pt x="1057" y="205"/>
                  </a:cubicBezTo>
                  <a:cubicBezTo>
                    <a:pt x="1058" y="206"/>
                    <a:pt x="1059" y="210"/>
                    <a:pt x="1058" y="211"/>
                  </a:cubicBezTo>
                  <a:cubicBezTo>
                    <a:pt x="1056" y="212"/>
                    <a:pt x="1056" y="210"/>
                    <a:pt x="1055" y="210"/>
                  </a:cubicBezTo>
                  <a:cubicBezTo>
                    <a:pt x="1053" y="210"/>
                    <a:pt x="1051" y="211"/>
                    <a:pt x="1048" y="210"/>
                  </a:cubicBezTo>
                  <a:cubicBezTo>
                    <a:pt x="1046" y="210"/>
                    <a:pt x="1043" y="209"/>
                    <a:pt x="1039" y="210"/>
                  </a:cubicBezTo>
                  <a:cubicBezTo>
                    <a:pt x="1042" y="213"/>
                    <a:pt x="1049" y="219"/>
                    <a:pt x="1046" y="223"/>
                  </a:cubicBezTo>
                  <a:cubicBezTo>
                    <a:pt x="1045" y="221"/>
                    <a:pt x="1046" y="218"/>
                    <a:pt x="1045" y="216"/>
                  </a:cubicBezTo>
                  <a:cubicBezTo>
                    <a:pt x="1043" y="215"/>
                    <a:pt x="1041" y="215"/>
                    <a:pt x="1039" y="214"/>
                  </a:cubicBezTo>
                  <a:cubicBezTo>
                    <a:pt x="1039" y="213"/>
                    <a:pt x="1038" y="212"/>
                    <a:pt x="1037" y="211"/>
                  </a:cubicBezTo>
                  <a:cubicBezTo>
                    <a:pt x="1036" y="210"/>
                    <a:pt x="1035" y="209"/>
                    <a:pt x="1034" y="208"/>
                  </a:cubicBezTo>
                  <a:cubicBezTo>
                    <a:pt x="1032" y="206"/>
                    <a:pt x="1029" y="204"/>
                    <a:pt x="1033" y="204"/>
                  </a:cubicBezTo>
                  <a:cubicBezTo>
                    <a:pt x="1036" y="203"/>
                    <a:pt x="1034" y="206"/>
                    <a:pt x="1035" y="207"/>
                  </a:cubicBezTo>
                  <a:cubicBezTo>
                    <a:pt x="1035" y="207"/>
                    <a:pt x="1039" y="208"/>
                    <a:pt x="1038" y="209"/>
                  </a:cubicBezTo>
                  <a:cubicBezTo>
                    <a:pt x="1040" y="208"/>
                    <a:pt x="1041" y="205"/>
                    <a:pt x="1042" y="204"/>
                  </a:cubicBezTo>
                  <a:cubicBezTo>
                    <a:pt x="1040" y="207"/>
                    <a:pt x="1044" y="209"/>
                    <a:pt x="1047" y="209"/>
                  </a:cubicBezTo>
                  <a:cubicBezTo>
                    <a:pt x="1047" y="208"/>
                    <a:pt x="1048" y="208"/>
                    <a:pt x="1049" y="208"/>
                  </a:cubicBezTo>
                  <a:cubicBezTo>
                    <a:pt x="1050" y="208"/>
                    <a:pt x="1049" y="209"/>
                    <a:pt x="1050" y="209"/>
                  </a:cubicBezTo>
                  <a:cubicBezTo>
                    <a:pt x="1052" y="209"/>
                    <a:pt x="1056" y="209"/>
                    <a:pt x="1057" y="207"/>
                  </a:cubicBezTo>
                  <a:cubicBezTo>
                    <a:pt x="1057" y="206"/>
                    <a:pt x="1056" y="206"/>
                    <a:pt x="1056" y="205"/>
                  </a:cubicBezTo>
                  <a:cubicBezTo>
                    <a:pt x="1055" y="204"/>
                    <a:pt x="1055" y="203"/>
                    <a:pt x="1055" y="202"/>
                  </a:cubicBezTo>
                  <a:cubicBezTo>
                    <a:pt x="1055" y="203"/>
                    <a:pt x="1053" y="200"/>
                    <a:pt x="1053" y="200"/>
                  </a:cubicBezTo>
                  <a:cubicBezTo>
                    <a:pt x="1053" y="200"/>
                    <a:pt x="1053" y="199"/>
                    <a:pt x="1053" y="199"/>
                  </a:cubicBezTo>
                  <a:cubicBezTo>
                    <a:pt x="1051" y="198"/>
                    <a:pt x="1047" y="200"/>
                    <a:pt x="1045" y="200"/>
                  </a:cubicBezTo>
                  <a:cubicBezTo>
                    <a:pt x="1046" y="199"/>
                    <a:pt x="1048" y="197"/>
                    <a:pt x="1050" y="196"/>
                  </a:cubicBezTo>
                  <a:cubicBezTo>
                    <a:pt x="1051" y="195"/>
                    <a:pt x="1053" y="191"/>
                    <a:pt x="1050" y="193"/>
                  </a:cubicBezTo>
                  <a:cubicBezTo>
                    <a:pt x="1048" y="195"/>
                    <a:pt x="1049" y="192"/>
                    <a:pt x="1048" y="192"/>
                  </a:cubicBezTo>
                  <a:cubicBezTo>
                    <a:pt x="1045" y="193"/>
                    <a:pt x="1041" y="197"/>
                    <a:pt x="1038" y="198"/>
                  </a:cubicBezTo>
                  <a:cubicBezTo>
                    <a:pt x="1038" y="196"/>
                    <a:pt x="1035" y="198"/>
                    <a:pt x="1036" y="195"/>
                  </a:cubicBezTo>
                  <a:cubicBezTo>
                    <a:pt x="1037" y="193"/>
                    <a:pt x="1039" y="192"/>
                    <a:pt x="1039" y="190"/>
                  </a:cubicBezTo>
                  <a:cubicBezTo>
                    <a:pt x="1037" y="191"/>
                    <a:pt x="1034" y="190"/>
                    <a:pt x="1033" y="189"/>
                  </a:cubicBezTo>
                  <a:cubicBezTo>
                    <a:pt x="1030" y="187"/>
                    <a:pt x="1032" y="187"/>
                    <a:pt x="1031" y="185"/>
                  </a:cubicBezTo>
                  <a:cubicBezTo>
                    <a:pt x="1034" y="184"/>
                    <a:pt x="1033" y="182"/>
                    <a:pt x="1034" y="180"/>
                  </a:cubicBezTo>
                  <a:cubicBezTo>
                    <a:pt x="1035" y="181"/>
                    <a:pt x="1036" y="183"/>
                    <a:pt x="1037" y="181"/>
                  </a:cubicBezTo>
                  <a:cubicBezTo>
                    <a:pt x="1038" y="180"/>
                    <a:pt x="1036" y="180"/>
                    <a:pt x="1036" y="180"/>
                  </a:cubicBezTo>
                  <a:cubicBezTo>
                    <a:pt x="1036" y="179"/>
                    <a:pt x="1037" y="179"/>
                    <a:pt x="1037" y="178"/>
                  </a:cubicBezTo>
                  <a:cubicBezTo>
                    <a:pt x="1036" y="175"/>
                    <a:pt x="1036" y="174"/>
                    <a:pt x="1038" y="172"/>
                  </a:cubicBezTo>
                  <a:cubicBezTo>
                    <a:pt x="1038" y="169"/>
                    <a:pt x="1039" y="167"/>
                    <a:pt x="1040" y="165"/>
                  </a:cubicBezTo>
                  <a:cubicBezTo>
                    <a:pt x="1040" y="165"/>
                    <a:pt x="1041" y="164"/>
                    <a:pt x="1041" y="164"/>
                  </a:cubicBezTo>
                  <a:cubicBezTo>
                    <a:pt x="1041" y="163"/>
                    <a:pt x="1040" y="162"/>
                    <a:pt x="1040" y="162"/>
                  </a:cubicBezTo>
                  <a:cubicBezTo>
                    <a:pt x="1040" y="163"/>
                    <a:pt x="1040" y="160"/>
                    <a:pt x="1040" y="161"/>
                  </a:cubicBezTo>
                  <a:cubicBezTo>
                    <a:pt x="1040" y="160"/>
                    <a:pt x="1041" y="159"/>
                    <a:pt x="1041" y="159"/>
                  </a:cubicBezTo>
                  <a:cubicBezTo>
                    <a:pt x="1039" y="159"/>
                    <a:pt x="1037" y="160"/>
                    <a:pt x="1036" y="161"/>
                  </a:cubicBezTo>
                  <a:cubicBezTo>
                    <a:pt x="1033" y="162"/>
                    <a:pt x="1033" y="164"/>
                    <a:pt x="1030" y="165"/>
                  </a:cubicBezTo>
                  <a:cubicBezTo>
                    <a:pt x="1029" y="166"/>
                    <a:pt x="1025" y="168"/>
                    <a:pt x="1023" y="167"/>
                  </a:cubicBezTo>
                  <a:cubicBezTo>
                    <a:pt x="1021" y="165"/>
                    <a:pt x="1025" y="164"/>
                    <a:pt x="1026" y="163"/>
                  </a:cubicBezTo>
                  <a:cubicBezTo>
                    <a:pt x="1027" y="162"/>
                    <a:pt x="1028" y="161"/>
                    <a:pt x="1029" y="160"/>
                  </a:cubicBezTo>
                  <a:cubicBezTo>
                    <a:pt x="1027" y="161"/>
                    <a:pt x="1024" y="159"/>
                    <a:pt x="1027" y="157"/>
                  </a:cubicBezTo>
                  <a:cubicBezTo>
                    <a:pt x="1025" y="156"/>
                    <a:pt x="1024" y="157"/>
                    <a:pt x="1022" y="157"/>
                  </a:cubicBezTo>
                  <a:cubicBezTo>
                    <a:pt x="1019" y="158"/>
                    <a:pt x="1018" y="157"/>
                    <a:pt x="1016" y="157"/>
                  </a:cubicBezTo>
                  <a:cubicBezTo>
                    <a:pt x="1018" y="156"/>
                    <a:pt x="1019" y="155"/>
                    <a:pt x="1018" y="153"/>
                  </a:cubicBezTo>
                  <a:cubicBezTo>
                    <a:pt x="1017" y="153"/>
                    <a:pt x="1014" y="153"/>
                    <a:pt x="1015" y="152"/>
                  </a:cubicBezTo>
                  <a:cubicBezTo>
                    <a:pt x="1016" y="152"/>
                    <a:pt x="1014" y="151"/>
                    <a:pt x="1013" y="151"/>
                  </a:cubicBezTo>
                  <a:cubicBezTo>
                    <a:pt x="1010" y="149"/>
                    <a:pt x="1008" y="151"/>
                    <a:pt x="1005" y="150"/>
                  </a:cubicBezTo>
                  <a:cubicBezTo>
                    <a:pt x="1004" y="150"/>
                    <a:pt x="1004" y="149"/>
                    <a:pt x="1003" y="149"/>
                  </a:cubicBezTo>
                  <a:cubicBezTo>
                    <a:pt x="1002" y="148"/>
                    <a:pt x="1001" y="147"/>
                    <a:pt x="998" y="147"/>
                  </a:cubicBezTo>
                  <a:cubicBezTo>
                    <a:pt x="988" y="144"/>
                    <a:pt x="1003" y="152"/>
                    <a:pt x="997" y="154"/>
                  </a:cubicBezTo>
                  <a:cubicBezTo>
                    <a:pt x="995" y="154"/>
                    <a:pt x="992" y="155"/>
                    <a:pt x="989" y="155"/>
                  </a:cubicBezTo>
                  <a:cubicBezTo>
                    <a:pt x="986" y="154"/>
                    <a:pt x="982" y="152"/>
                    <a:pt x="978" y="153"/>
                  </a:cubicBezTo>
                  <a:cubicBezTo>
                    <a:pt x="979" y="154"/>
                    <a:pt x="980" y="155"/>
                    <a:pt x="980" y="155"/>
                  </a:cubicBezTo>
                  <a:cubicBezTo>
                    <a:pt x="981" y="156"/>
                    <a:pt x="982" y="156"/>
                    <a:pt x="982" y="157"/>
                  </a:cubicBezTo>
                  <a:cubicBezTo>
                    <a:pt x="982" y="157"/>
                    <a:pt x="982" y="158"/>
                    <a:pt x="983" y="158"/>
                  </a:cubicBezTo>
                  <a:cubicBezTo>
                    <a:pt x="984" y="160"/>
                    <a:pt x="986" y="159"/>
                    <a:pt x="986" y="162"/>
                  </a:cubicBezTo>
                  <a:cubicBezTo>
                    <a:pt x="986" y="166"/>
                    <a:pt x="984" y="163"/>
                    <a:pt x="981" y="162"/>
                  </a:cubicBezTo>
                  <a:cubicBezTo>
                    <a:pt x="983" y="163"/>
                    <a:pt x="984" y="165"/>
                    <a:pt x="985" y="166"/>
                  </a:cubicBezTo>
                  <a:cubicBezTo>
                    <a:pt x="986" y="167"/>
                    <a:pt x="988" y="168"/>
                    <a:pt x="989" y="170"/>
                  </a:cubicBezTo>
                  <a:cubicBezTo>
                    <a:pt x="991" y="172"/>
                    <a:pt x="992" y="174"/>
                    <a:pt x="995" y="170"/>
                  </a:cubicBezTo>
                  <a:cubicBezTo>
                    <a:pt x="995" y="170"/>
                    <a:pt x="1001" y="167"/>
                    <a:pt x="1002" y="167"/>
                  </a:cubicBezTo>
                  <a:cubicBezTo>
                    <a:pt x="1003" y="167"/>
                    <a:pt x="1006" y="169"/>
                    <a:pt x="1007" y="170"/>
                  </a:cubicBezTo>
                  <a:cubicBezTo>
                    <a:pt x="1007" y="170"/>
                    <a:pt x="1008" y="172"/>
                    <a:pt x="1008" y="172"/>
                  </a:cubicBezTo>
                  <a:cubicBezTo>
                    <a:pt x="1010" y="172"/>
                    <a:pt x="1011" y="170"/>
                    <a:pt x="1013" y="171"/>
                  </a:cubicBezTo>
                  <a:cubicBezTo>
                    <a:pt x="1013" y="171"/>
                    <a:pt x="1015" y="175"/>
                    <a:pt x="1015" y="175"/>
                  </a:cubicBezTo>
                  <a:cubicBezTo>
                    <a:pt x="1015" y="177"/>
                    <a:pt x="1014" y="177"/>
                    <a:pt x="1014" y="178"/>
                  </a:cubicBezTo>
                  <a:cubicBezTo>
                    <a:pt x="1014" y="180"/>
                    <a:pt x="1016" y="180"/>
                    <a:pt x="1014" y="182"/>
                  </a:cubicBezTo>
                  <a:cubicBezTo>
                    <a:pt x="1012" y="183"/>
                    <a:pt x="1008" y="184"/>
                    <a:pt x="1006" y="183"/>
                  </a:cubicBezTo>
                  <a:cubicBezTo>
                    <a:pt x="1004" y="183"/>
                    <a:pt x="1004" y="183"/>
                    <a:pt x="1003" y="182"/>
                  </a:cubicBezTo>
                  <a:cubicBezTo>
                    <a:pt x="1001" y="181"/>
                    <a:pt x="999" y="181"/>
                    <a:pt x="998" y="180"/>
                  </a:cubicBezTo>
                  <a:cubicBezTo>
                    <a:pt x="995" y="178"/>
                    <a:pt x="993" y="177"/>
                    <a:pt x="991" y="173"/>
                  </a:cubicBezTo>
                  <a:cubicBezTo>
                    <a:pt x="989" y="171"/>
                    <a:pt x="986" y="167"/>
                    <a:pt x="983" y="166"/>
                  </a:cubicBezTo>
                  <a:cubicBezTo>
                    <a:pt x="980" y="165"/>
                    <a:pt x="977" y="164"/>
                    <a:pt x="978" y="167"/>
                  </a:cubicBezTo>
                  <a:cubicBezTo>
                    <a:pt x="978" y="169"/>
                    <a:pt x="979" y="170"/>
                    <a:pt x="981" y="171"/>
                  </a:cubicBezTo>
                  <a:cubicBezTo>
                    <a:pt x="979" y="173"/>
                    <a:pt x="977" y="175"/>
                    <a:pt x="975" y="177"/>
                  </a:cubicBezTo>
                  <a:cubicBezTo>
                    <a:pt x="973" y="179"/>
                    <a:pt x="973" y="179"/>
                    <a:pt x="970" y="179"/>
                  </a:cubicBezTo>
                  <a:cubicBezTo>
                    <a:pt x="967" y="179"/>
                    <a:pt x="965" y="178"/>
                    <a:pt x="963" y="177"/>
                  </a:cubicBezTo>
                  <a:cubicBezTo>
                    <a:pt x="959" y="175"/>
                    <a:pt x="955" y="175"/>
                    <a:pt x="950" y="175"/>
                  </a:cubicBezTo>
                  <a:cubicBezTo>
                    <a:pt x="948" y="175"/>
                    <a:pt x="946" y="174"/>
                    <a:pt x="944" y="174"/>
                  </a:cubicBezTo>
                  <a:cubicBezTo>
                    <a:pt x="939" y="173"/>
                    <a:pt x="932" y="176"/>
                    <a:pt x="926" y="177"/>
                  </a:cubicBezTo>
                  <a:cubicBezTo>
                    <a:pt x="922" y="178"/>
                    <a:pt x="916" y="181"/>
                    <a:pt x="911" y="180"/>
                  </a:cubicBezTo>
                  <a:cubicBezTo>
                    <a:pt x="909" y="179"/>
                    <a:pt x="903" y="178"/>
                    <a:pt x="902" y="180"/>
                  </a:cubicBezTo>
                  <a:cubicBezTo>
                    <a:pt x="902" y="180"/>
                    <a:pt x="902" y="180"/>
                    <a:pt x="902" y="179"/>
                  </a:cubicBezTo>
                  <a:cubicBezTo>
                    <a:pt x="897" y="180"/>
                    <a:pt x="896" y="179"/>
                    <a:pt x="892" y="176"/>
                  </a:cubicBezTo>
                  <a:cubicBezTo>
                    <a:pt x="889" y="175"/>
                    <a:pt x="885" y="176"/>
                    <a:pt x="882" y="174"/>
                  </a:cubicBezTo>
                  <a:cubicBezTo>
                    <a:pt x="882" y="173"/>
                    <a:pt x="881" y="172"/>
                    <a:pt x="880" y="171"/>
                  </a:cubicBezTo>
                  <a:cubicBezTo>
                    <a:pt x="879" y="171"/>
                    <a:pt x="877" y="170"/>
                    <a:pt x="876" y="170"/>
                  </a:cubicBezTo>
                  <a:cubicBezTo>
                    <a:pt x="875" y="169"/>
                    <a:pt x="871" y="168"/>
                    <a:pt x="870" y="166"/>
                  </a:cubicBezTo>
                  <a:cubicBezTo>
                    <a:pt x="865" y="165"/>
                    <a:pt x="859" y="167"/>
                    <a:pt x="853" y="167"/>
                  </a:cubicBezTo>
                  <a:cubicBezTo>
                    <a:pt x="851" y="167"/>
                    <a:pt x="849" y="166"/>
                    <a:pt x="847" y="166"/>
                  </a:cubicBezTo>
                  <a:cubicBezTo>
                    <a:pt x="846" y="166"/>
                    <a:pt x="845" y="166"/>
                    <a:pt x="844" y="166"/>
                  </a:cubicBezTo>
                  <a:cubicBezTo>
                    <a:pt x="843" y="166"/>
                    <a:pt x="844" y="165"/>
                    <a:pt x="844" y="165"/>
                  </a:cubicBezTo>
                  <a:cubicBezTo>
                    <a:pt x="842" y="164"/>
                    <a:pt x="843" y="164"/>
                    <a:pt x="842" y="163"/>
                  </a:cubicBezTo>
                  <a:cubicBezTo>
                    <a:pt x="842" y="162"/>
                    <a:pt x="840" y="162"/>
                    <a:pt x="840" y="162"/>
                  </a:cubicBezTo>
                  <a:cubicBezTo>
                    <a:pt x="840" y="161"/>
                    <a:pt x="841" y="161"/>
                    <a:pt x="841" y="160"/>
                  </a:cubicBezTo>
                  <a:cubicBezTo>
                    <a:pt x="841" y="158"/>
                    <a:pt x="843" y="158"/>
                    <a:pt x="838" y="158"/>
                  </a:cubicBezTo>
                  <a:cubicBezTo>
                    <a:pt x="837" y="158"/>
                    <a:pt x="833" y="159"/>
                    <a:pt x="834" y="157"/>
                  </a:cubicBezTo>
                  <a:cubicBezTo>
                    <a:pt x="831" y="157"/>
                    <a:pt x="829" y="156"/>
                    <a:pt x="827" y="155"/>
                  </a:cubicBezTo>
                  <a:cubicBezTo>
                    <a:pt x="826" y="154"/>
                    <a:pt x="825" y="153"/>
                    <a:pt x="825" y="153"/>
                  </a:cubicBezTo>
                  <a:cubicBezTo>
                    <a:pt x="824" y="152"/>
                    <a:pt x="825" y="152"/>
                    <a:pt x="825" y="151"/>
                  </a:cubicBezTo>
                  <a:cubicBezTo>
                    <a:pt x="824" y="151"/>
                    <a:pt x="822" y="152"/>
                    <a:pt x="821" y="151"/>
                  </a:cubicBezTo>
                  <a:cubicBezTo>
                    <a:pt x="817" y="149"/>
                    <a:pt x="825" y="150"/>
                    <a:pt x="825" y="148"/>
                  </a:cubicBezTo>
                  <a:cubicBezTo>
                    <a:pt x="825" y="148"/>
                    <a:pt x="822" y="145"/>
                    <a:pt x="822" y="144"/>
                  </a:cubicBezTo>
                  <a:cubicBezTo>
                    <a:pt x="821" y="143"/>
                    <a:pt x="820" y="142"/>
                    <a:pt x="820" y="142"/>
                  </a:cubicBezTo>
                  <a:cubicBezTo>
                    <a:pt x="820" y="140"/>
                    <a:pt x="822" y="140"/>
                    <a:pt x="821" y="139"/>
                  </a:cubicBezTo>
                  <a:cubicBezTo>
                    <a:pt x="821" y="138"/>
                    <a:pt x="819" y="136"/>
                    <a:pt x="817" y="135"/>
                  </a:cubicBezTo>
                  <a:cubicBezTo>
                    <a:pt x="814" y="133"/>
                    <a:pt x="809" y="130"/>
                    <a:pt x="805" y="130"/>
                  </a:cubicBezTo>
                  <a:cubicBezTo>
                    <a:pt x="803" y="130"/>
                    <a:pt x="800" y="132"/>
                    <a:pt x="798" y="133"/>
                  </a:cubicBezTo>
                  <a:cubicBezTo>
                    <a:pt x="793" y="135"/>
                    <a:pt x="788" y="136"/>
                    <a:pt x="783" y="137"/>
                  </a:cubicBezTo>
                  <a:cubicBezTo>
                    <a:pt x="775" y="139"/>
                    <a:pt x="767" y="140"/>
                    <a:pt x="759" y="142"/>
                  </a:cubicBezTo>
                  <a:cubicBezTo>
                    <a:pt x="756" y="143"/>
                    <a:pt x="755" y="143"/>
                    <a:pt x="753" y="146"/>
                  </a:cubicBezTo>
                  <a:cubicBezTo>
                    <a:pt x="752" y="147"/>
                    <a:pt x="751" y="149"/>
                    <a:pt x="750" y="151"/>
                  </a:cubicBezTo>
                  <a:cubicBezTo>
                    <a:pt x="748" y="152"/>
                    <a:pt x="747" y="153"/>
                    <a:pt x="745" y="155"/>
                  </a:cubicBezTo>
                  <a:cubicBezTo>
                    <a:pt x="740" y="161"/>
                    <a:pt x="757" y="151"/>
                    <a:pt x="753" y="158"/>
                  </a:cubicBezTo>
                  <a:cubicBezTo>
                    <a:pt x="759" y="158"/>
                    <a:pt x="766" y="161"/>
                    <a:pt x="772" y="161"/>
                  </a:cubicBezTo>
                  <a:cubicBezTo>
                    <a:pt x="770" y="159"/>
                    <a:pt x="767" y="159"/>
                    <a:pt x="767" y="155"/>
                  </a:cubicBezTo>
                  <a:cubicBezTo>
                    <a:pt x="767" y="153"/>
                    <a:pt x="772" y="153"/>
                    <a:pt x="774" y="154"/>
                  </a:cubicBezTo>
                  <a:cubicBezTo>
                    <a:pt x="776" y="154"/>
                    <a:pt x="777" y="156"/>
                    <a:pt x="779" y="156"/>
                  </a:cubicBezTo>
                  <a:cubicBezTo>
                    <a:pt x="783" y="157"/>
                    <a:pt x="784" y="156"/>
                    <a:pt x="786" y="154"/>
                  </a:cubicBezTo>
                  <a:cubicBezTo>
                    <a:pt x="788" y="153"/>
                    <a:pt x="790" y="151"/>
                    <a:pt x="792" y="152"/>
                  </a:cubicBezTo>
                  <a:cubicBezTo>
                    <a:pt x="794" y="152"/>
                    <a:pt x="795" y="155"/>
                    <a:pt x="797" y="156"/>
                  </a:cubicBezTo>
                  <a:cubicBezTo>
                    <a:pt x="795" y="154"/>
                    <a:pt x="798" y="153"/>
                    <a:pt x="798" y="152"/>
                  </a:cubicBezTo>
                  <a:cubicBezTo>
                    <a:pt x="798" y="151"/>
                    <a:pt x="796" y="149"/>
                    <a:pt x="797" y="148"/>
                  </a:cubicBezTo>
                  <a:cubicBezTo>
                    <a:pt x="797" y="146"/>
                    <a:pt x="799" y="146"/>
                    <a:pt x="801" y="145"/>
                  </a:cubicBezTo>
                  <a:cubicBezTo>
                    <a:pt x="806" y="144"/>
                    <a:pt x="812" y="141"/>
                    <a:pt x="817" y="142"/>
                  </a:cubicBezTo>
                  <a:cubicBezTo>
                    <a:pt x="817" y="142"/>
                    <a:pt x="815" y="145"/>
                    <a:pt x="815" y="145"/>
                  </a:cubicBezTo>
                  <a:cubicBezTo>
                    <a:pt x="815" y="146"/>
                    <a:pt x="816" y="147"/>
                    <a:pt x="816" y="148"/>
                  </a:cubicBezTo>
                  <a:cubicBezTo>
                    <a:pt x="816" y="151"/>
                    <a:pt x="805" y="152"/>
                    <a:pt x="803" y="152"/>
                  </a:cubicBezTo>
                  <a:cubicBezTo>
                    <a:pt x="799" y="154"/>
                    <a:pt x="799" y="154"/>
                    <a:pt x="799" y="158"/>
                  </a:cubicBezTo>
                  <a:cubicBezTo>
                    <a:pt x="798" y="163"/>
                    <a:pt x="798" y="158"/>
                    <a:pt x="794" y="158"/>
                  </a:cubicBezTo>
                  <a:cubicBezTo>
                    <a:pt x="793" y="158"/>
                    <a:pt x="790" y="158"/>
                    <a:pt x="791" y="160"/>
                  </a:cubicBezTo>
                  <a:cubicBezTo>
                    <a:pt x="785" y="162"/>
                    <a:pt x="778" y="164"/>
                    <a:pt x="772" y="167"/>
                  </a:cubicBezTo>
                  <a:cubicBezTo>
                    <a:pt x="766" y="169"/>
                    <a:pt x="768" y="168"/>
                    <a:pt x="766" y="164"/>
                  </a:cubicBezTo>
                  <a:cubicBezTo>
                    <a:pt x="766" y="164"/>
                    <a:pt x="765" y="166"/>
                    <a:pt x="765" y="166"/>
                  </a:cubicBezTo>
                  <a:cubicBezTo>
                    <a:pt x="765" y="167"/>
                    <a:pt x="765" y="167"/>
                    <a:pt x="765" y="167"/>
                  </a:cubicBezTo>
                  <a:cubicBezTo>
                    <a:pt x="765" y="167"/>
                    <a:pt x="766" y="168"/>
                    <a:pt x="766" y="168"/>
                  </a:cubicBezTo>
                  <a:cubicBezTo>
                    <a:pt x="768" y="169"/>
                    <a:pt x="772" y="169"/>
                    <a:pt x="770" y="171"/>
                  </a:cubicBezTo>
                  <a:cubicBezTo>
                    <a:pt x="768" y="174"/>
                    <a:pt x="763" y="173"/>
                    <a:pt x="763" y="177"/>
                  </a:cubicBezTo>
                  <a:cubicBezTo>
                    <a:pt x="762" y="177"/>
                    <a:pt x="762" y="177"/>
                    <a:pt x="761" y="178"/>
                  </a:cubicBezTo>
                  <a:cubicBezTo>
                    <a:pt x="761" y="178"/>
                    <a:pt x="760" y="178"/>
                    <a:pt x="760" y="178"/>
                  </a:cubicBezTo>
                  <a:cubicBezTo>
                    <a:pt x="760" y="179"/>
                    <a:pt x="762" y="181"/>
                    <a:pt x="763" y="182"/>
                  </a:cubicBezTo>
                  <a:cubicBezTo>
                    <a:pt x="763" y="182"/>
                    <a:pt x="764" y="182"/>
                    <a:pt x="764" y="182"/>
                  </a:cubicBezTo>
                  <a:cubicBezTo>
                    <a:pt x="764" y="182"/>
                    <a:pt x="765" y="182"/>
                    <a:pt x="765" y="181"/>
                  </a:cubicBezTo>
                  <a:cubicBezTo>
                    <a:pt x="765" y="181"/>
                    <a:pt x="765" y="181"/>
                    <a:pt x="765" y="181"/>
                  </a:cubicBezTo>
                  <a:cubicBezTo>
                    <a:pt x="767" y="183"/>
                    <a:pt x="769" y="184"/>
                    <a:pt x="770" y="185"/>
                  </a:cubicBezTo>
                  <a:cubicBezTo>
                    <a:pt x="773" y="188"/>
                    <a:pt x="773" y="187"/>
                    <a:pt x="771" y="189"/>
                  </a:cubicBezTo>
                  <a:cubicBezTo>
                    <a:pt x="770" y="192"/>
                    <a:pt x="769" y="189"/>
                    <a:pt x="770" y="192"/>
                  </a:cubicBezTo>
                  <a:cubicBezTo>
                    <a:pt x="770" y="192"/>
                    <a:pt x="771" y="193"/>
                    <a:pt x="772" y="194"/>
                  </a:cubicBezTo>
                  <a:cubicBezTo>
                    <a:pt x="773" y="195"/>
                    <a:pt x="773" y="197"/>
                    <a:pt x="774" y="199"/>
                  </a:cubicBezTo>
                  <a:cubicBezTo>
                    <a:pt x="775" y="201"/>
                    <a:pt x="779" y="202"/>
                    <a:pt x="781" y="202"/>
                  </a:cubicBezTo>
                  <a:cubicBezTo>
                    <a:pt x="780" y="203"/>
                    <a:pt x="778" y="204"/>
                    <a:pt x="777" y="205"/>
                  </a:cubicBezTo>
                  <a:cubicBezTo>
                    <a:pt x="777" y="206"/>
                    <a:pt x="778" y="206"/>
                    <a:pt x="779" y="207"/>
                  </a:cubicBezTo>
                  <a:cubicBezTo>
                    <a:pt x="781" y="208"/>
                    <a:pt x="783" y="211"/>
                    <a:pt x="783" y="214"/>
                  </a:cubicBezTo>
                  <a:cubicBezTo>
                    <a:pt x="781" y="211"/>
                    <a:pt x="779" y="209"/>
                    <a:pt x="776" y="208"/>
                  </a:cubicBezTo>
                  <a:cubicBezTo>
                    <a:pt x="777" y="210"/>
                    <a:pt x="777" y="213"/>
                    <a:pt x="776" y="214"/>
                  </a:cubicBezTo>
                  <a:cubicBezTo>
                    <a:pt x="775" y="214"/>
                    <a:pt x="774" y="214"/>
                    <a:pt x="773" y="213"/>
                  </a:cubicBezTo>
                  <a:cubicBezTo>
                    <a:pt x="773" y="213"/>
                    <a:pt x="774" y="212"/>
                    <a:pt x="772" y="211"/>
                  </a:cubicBezTo>
                  <a:cubicBezTo>
                    <a:pt x="773" y="210"/>
                    <a:pt x="775" y="211"/>
                    <a:pt x="774" y="209"/>
                  </a:cubicBezTo>
                  <a:cubicBezTo>
                    <a:pt x="774" y="207"/>
                    <a:pt x="772" y="205"/>
                    <a:pt x="771" y="204"/>
                  </a:cubicBezTo>
                  <a:cubicBezTo>
                    <a:pt x="771" y="206"/>
                    <a:pt x="769" y="206"/>
                    <a:pt x="768" y="208"/>
                  </a:cubicBezTo>
                  <a:cubicBezTo>
                    <a:pt x="768" y="209"/>
                    <a:pt x="769" y="210"/>
                    <a:pt x="769" y="211"/>
                  </a:cubicBezTo>
                  <a:cubicBezTo>
                    <a:pt x="769" y="212"/>
                    <a:pt x="770" y="214"/>
                    <a:pt x="769" y="215"/>
                  </a:cubicBezTo>
                  <a:cubicBezTo>
                    <a:pt x="767" y="217"/>
                    <a:pt x="768" y="216"/>
                    <a:pt x="770" y="218"/>
                  </a:cubicBezTo>
                  <a:cubicBezTo>
                    <a:pt x="771" y="219"/>
                    <a:pt x="772" y="220"/>
                    <a:pt x="772" y="221"/>
                  </a:cubicBezTo>
                  <a:cubicBezTo>
                    <a:pt x="773" y="222"/>
                    <a:pt x="774" y="223"/>
                    <a:pt x="775" y="224"/>
                  </a:cubicBezTo>
                  <a:cubicBezTo>
                    <a:pt x="777" y="226"/>
                    <a:pt x="780" y="229"/>
                    <a:pt x="780" y="232"/>
                  </a:cubicBezTo>
                  <a:cubicBezTo>
                    <a:pt x="778" y="231"/>
                    <a:pt x="777" y="228"/>
                    <a:pt x="775" y="227"/>
                  </a:cubicBezTo>
                  <a:cubicBezTo>
                    <a:pt x="773" y="225"/>
                    <a:pt x="771" y="224"/>
                    <a:pt x="770" y="222"/>
                  </a:cubicBezTo>
                  <a:cubicBezTo>
                    <a:pt x="769" y="221"/>
                    <a:pt x="770" y="220"/>
                    <a:pt x="767" y="220"/>
                  </a:cubicBezTo>
                  <a:cubicBezTo>
                    <a:pt x="766" y="220"/>
                    <a:pt x="765" y="219"/>
                    <a:pt x="764" y="218"/>
                  </a:cubicBezTo>
                  <a:cubicBezTo>
                    <a:pt x="764" y="216"/>
                    <a:pt x="765" y="216"/>
                    <a:pt x="763" y="214"/>
                  </a:cubicBezTo>
                  <a:cubicBezTo>
                    <a:pt x="762" y="213"/>
                    <a:pt x="759" y="214"/>
                    <a:pt x="758" y="213"/>
                  </a:cubicBezTo>
                  <a:cubicBezTo>
                    <a:pt x="763" y="212"/>
                    <a:pt x="759" y="209"/>
                    <a:pt x="757" y="208"/>
                  </a:cubicBezTo>
                  <a:cubicBezTo>
                    <a:pt x="756" y="207"/>
                    <a:pt x="755" y="206"/>
                    <a:pt x="753" y="206"/>
                  </a:cubicBezTo>
                  <a:cubicBezTo>
                    <a:pt x="752" y="205"/>
                    <a:pt x="751" y="206"/>
                    <a:pt x="750" y="205"/>
                  </a:cubicBezTo>
                  <a:cubicBezTo>
                    <a:pt x="750" y="204"/>
                    <a:pt x="749" y="202"/>
                    <a:pt x="749" y="201"/>
                  </a:cubicBezTo>
                  <a:cubicBezTo>
                    <a:pt x="752" y="203"/>
                    <a:pt x="754" y="205"/>
                    <a:pt x="757" y="206"/>
                  </a:cubicBezTo>
                  <a:cubicBezTo>
                    <a:pt x="759" y="206"/>
                    <a:pt x="761" y="205"/>
                    <a:pt x="763" y="205"/>
                  </a:cubicBezTo>
                  <a:cubicBezTo>
                    <a:pt x="766" y="205"/>
                    <a:pt x="765" y="205"/>
                    <a:pt x="765" y="203"/>
                  </a:cubicBezTo>
                  <a:cubicBezTo>
                    <a:pt x="766" y="200"/>
                    <a:pt x="764" y="196"/>
                    <a:pt x="761" y="195"/>
                  </a:cubicBezTo>
                  <a:cubicBezTo>
                    <a:pt x="758" y="193"/>
                    <a:pt x="753" y="194"/>
                    <a:pt x="751" y="192"/>
                  </a:cubicBezTo>
                  <a:cubicBezTo>
                    <a:pt x="750" y="190"/>
                    <a:pt x="751" y="188"/>
                    <a:pt x="750" y="187"/>
                  </a:cubicBezTo>
                  <a:cubicBezTo>
                    <a:pt x="749" y="184"/>
                    <a:pt x="747" y="181"/>
                    <a:pt x="746" y="185"/>
                  </a:cubicBezTo>
                  <a:cubicBezTo>
                    <a:pt x="745" y="188"/>
                    <a:pt x="746" y="190"/>
                    <a:pt x="744" y="193"/>
                  </a:cubicBezTo>
                  <a:cubicBezTo>
                    <a:pt x="743" y="190"/>
                    <a:pt x="739" y="191"/>
                    <a:pt x="739" y="189"/>
                  </a:cubicBezTo>
                  <a:cubicBezTo>
                    <a:pt x="739" y="187"/>
                    <a:pt x="741" y="188"/>
                    <a:pt x="741" y="186"/>
                  </a:cubicBezTo>
                  <a:cubicBezTo>
                    <a:pt x="741" y="185"/>
                    <a:pt x="740" y="185"/>
                    <a:pt x="740" y="184"/>
                  </a:cubicBezTo>
                  <a:cubicBezTo>
                    <a:pt x="740" y="182"/>
                    <a:pt x="740" y="180"/>
                    <a:pt x="738" y="179"/>
                  </a:cubicBezTo>
                  <a:cubicBezTo>
                    <a:pt x="736" y="178"/>
                    <a:pt x="731" y="179"/>
                    <a:pt x="728" y="180"/>
                  </a:cubicBezTo>
                  <a:cubicBezTo>
                    <a:pt x="726" y="180"/>
                    <a:pt x="725" y="179"/>
                    <a:pt x="723" y="179"/>
                  </a:cubicBezTo>
                  <a:cubicBezTo>
                    <a:pt x="724" y="179"/>
                    <a:pt x="724" y="178"/>
                    <a:pt x="725" y="178"/>
                  </a:cubicBezTo>
                  <a:cubicBezTo>
                    <a:pt x="722" y="176"/>
                    <a:pt x="724" y="176"/>
                    <a:pt x="722" y="174"/>
                  </a:cubicBezTo>
                  <a:cubicBezTo>
                    <a:pt x="720" y="173"/>
                    <a:pt x="714" y="174"/>
                    <a:pt x="712" y="175"/>
                  </a:cubicBezTo>
                  <a:cubicBezTo>
                    <a:pt x="693" y="176"/>
                    <a:pt x="675" y="178"/>
                    <a:pt x="657" y="180"/>
                  </a:cubicBezTo>
                  <a:cubicBezTo>
                    <a:pt x="647" y="181"/>
                    <a:pt x="638" y="180"/>
                    <a:pt x="628" y="180"/>
                  </a:cubicBezTo>
                  <a:cubicBezTo>
                    <a:pt x="621" y="180"/>
                    <a:pt x="615" y="177"/>
                    <a:pt x="608" y="176"/>
                  </a:cubicBezTo>
                  <a:cubicBezTo>
                    <a:pt x="604" y="176"/>
                    <a:pt x="600" y="176"/>
                    <a:pt x="596" y="175"/>
                  </a:cubicBezTo>
                  <a:cubicBezTo>
                    <a:pt x="596" y="174"/>
                    <a:pt x="595" y="173"/>
                    <a:pt x="594" y="173"/>
                  </a:cubicBezTo>
                  <a:cubicBezTo>
                    <a:pt x="593" y="172"/>
                    <a:pt x="591" y="173"/>
                    <a:pt x="589" y="172"/>
                  </a:cubicBezTo>
                  <a:cubicBezTo>
                    <a:pt x="586" y="170"/>
                    <a:pt x="590" y="170"/>
                    <a:pt x="592" y="169"/>
                  </a:cubicBezTo>
                  <a:cubicBezTo>
                    <a:pt x="594" y="169"/>
                    <a:pt x="596" y="168"/>
                    <a:pt x="598" y="167"/>
                  </a:cubicBezTo>
                  <a:cubicBezTo>
                    <a:pt x="596" y="166"/>
                    <a:pt x="594" y="165"/>
                    <a:pt x="596" y="163"/>
                  </a:cubicBezTo>
                  <a:cubicBezTo>
                    <a:pt x="597" y="161"/>
                    <a:pt x="600" y="162"/>
                    <a:pt x="602" y="162"/>
                  </a:cubicBezTo>
                  <a:cubicBezTo>
                    <a:pt x="604" y="161"/>
                    <a:pt x="604" y="160"/>
                    <a:pt x="606" y="160"/>
                  </a:cubicBezTo>
                  <a:cubicBezTo>
                    <a:pt x="606" y="160"/>
                    <a:pt x="605" y="159"/>
                    <a:pt x="605" y="159"/>
                  </a:cubicBezTo>
                  <a:cubicBezTo>
                    <a:pt x="610" y="158"/>
                    <a:pt x="615" y="158"/>
                    <a:pt x="621" y="158"/>
                  </a:cubicBezTo>
                  <a:cubicBezTo>
                    <a:pt x="624" y="158"/>
                    <a:pt x="622" y="157"/>
                    <a:pt x="623" y="154"/>
                  </a:cubicBezTo>
                  <a:cubicBezTo>
                    <a:pt x="623" y="154"/>
                    <a:pt x="625" y="153"/>
                    <a:pt x="625" y="152"/>
                  </a:cubicBezTo>
                  <a:cubicBezTo>
                    <a:pt x="625" y="151"/>
                    <a:pt x="622" y="152"/>
                    <a:pt x="621" y="151"/>
                  </a:cubicBezTo>
                  <a:cubicBezTo>
                    <a:pt x="621" y="150"/>
                    <a:pt x="622" y="150"/>
                    <a:pt x="622" y="149"/>
                  </a:cubicBezTo>
                  <a:cubicBezTo>
                    <a:pt x="622" y="147"/>
                    <a:pt x="621" y="147"/>
                    <a:pt x="620" y="146"/>
                  </a:cubicBezTo>
                  <a:cubicBezTo>
                    <a:pt x="619" y="145"/>
                    <a:pt x="619" y="145"/>
                    <a:pt x="618" y="144"/>
                  </a:cubicBezTo>
                  <a:cubicBezTo>
                    <a:pt x="617" y="144"/>
                    <a:pt x="615" y="144"/>
                    <a:pt x="615" y="143"/>
                  </a:cubicBezTo>
                  <a:cubicBezTo>
                    <a:pt x="613" y="141"/>
                    <a:pt x="614" y="140"/>
                    <a:pt x="611" y="139"/>
                  </a:cubicBezTo>
                  <a:cubicBezTo>
                    <a:pt x="610" y="138"/>
                    <a:pt x="609" y="138"/>
                    <a:pt x="608" y="138"/>
                  </a:cubicBezTo>
                  <a:cubicBezTo>
                    <a:pt x="606" y="137"/>
                    <a:pt x="606" y="136"/>
                    <a:pt x="605" y="136"/>
                  </a:cubicBezTo>
                  <a:cubicBezTo>
                    <a:pt x="603" y="134"/>
                    <a:pt x="601" y="134"/>
                    <a:pt x="598" y="133"/>
                  </a:cubicBezTo>
                  <a:cubicBezTo>
                    <a:pt x="592" y="131"/>
                    <a:pt x="585" y="127"/>
                    <a:pt x="578" y="127"/>
                  </a:cubicBezTo>
                  <a:cubicBezTo>
                    <a:pt x="576" y="127"/>
                    <a:pt x="569" y="127"/>
                    <a:pt x="570" y="130"/>
                  </a:cubicBezTo>
                  <a:cubicBezTo>
                    <a:pt x="571" y="130"/>
                    <a:pt x="573" y="131"/>
                    <a:pt x="573" y="131"/>
                  </a:cubicBezTo>
                  <a:cubicBezTo>
                    <a:pt x="575" y="132"/>
                    <a:pt x="577" y="133"/>
                    <a:pt x="578" y="135"/>
                  </a:cubicBezTo>
                  <a:cubicBezTo>
                    <a:pt x="572" y="134"/>
                    <a:pt x="566" y="133"/>
                    <a:pt x="560" y="132"/>
                  </a:cubicBezTo>
                  <a:cubicBezTo>
                    <a:pt x="556" y="132"/>
                    <a:pt x="552" y="132"/>
                    <a:pt x="548" y="131"/>
                  </a:cubicBezTo>
                  <a:cubicBezTo>
                    <a:pt x="545" y="129"/>
                    <a:pt x="543" y="129"/>
                    <a:pt x="541" y="128"/>
                  </a:cubicBezTo>
                  <a:cubicBezTo>
                    <a:pt x="535" y="128"/>
                    <a:pt x="532" y="127"/>
                    <a:pt x="527" y="125"/>
                  </a:cubicBezTo>
                  <a:cubicBezTo>
                    <a:pt x="525" y="124"/>
                    <a:pt x="522" y="123"/>
                    <a:pt x="520" y="122"/>
                  </a:cubicBezTo>
                  <a:cubicBezTo>
                    <a:pt x="518" y="121"/>
                    <a:pt x="517" y="119"/>
                    <a:pt x="515" y="118"/>
                  </a:cubicBezTo>
                  <a:cubicBezTo>
                    <a:pt x="512" y="116"/>
                    <a:pt x="507" y="116"/>
                    <a:pt x="504" y="116"/>
                  </a:cubicBezTo>
                  <a:cubicBezTo>
                    <a:pt x="497" y="115"/>
                    <a:pt x="491" y="114"/>
                    <a:pt x="484" y="113"/>
                  </a:cubicBezTo>
                  <a:cubicBezTo>
                    <a:pt x="484" y="113"/>
                    <a:pt x="484" y="113"/>
                    <a:pt x="484" y="114"/>
                  </a:cubicBezTo>
                  <a:cubicBezTo>
                    <a:pt x="485" y="116"/>
                    <a:pt x="484" y="121"/>
                    <a:pt x="484" y="122"/>
                  </a:cubicBezTo>
                  <a:cubicBezTo>
                    <a:pt x="484" y="119"/>
                    <a:pt x="484" y="117"/>
                    <a:pt x="484" y="114"/>
                  </a:cubicBezTo>
                  <a:cubicBezTo>
                    <a:pt x="484" y="113"/>
                    <a:pt x="484" y="113"/>
                    <a:pt x="484" y="113"/>
                  </a:cubicBezTo>
                  <a:cubicBezTo>
                    <a:pt x="478" y="109"/>
                    <a:pt x="472" y="106"/>
                    <a:pt x="465" y="103"/>
                  </a:cubicBezTo>
                  <a:cubicBezTo>
                    <a:pt x="459" y="100"/>
                    <a:pt x="453" y="96"/>
                    <a:pt x="447" y="95"/>
                  </a:cubicBezTo>
                  <a:cubicBezTo>
                    <a:pt x="443" y="94"/>
                    <a:pt x="439" y="94"/>
                    <a:pt x="434" y="94"/>
                  </a:cubicBezTo>
                  <a:cubicBezTo>
                    <a:pt x="429" y="94"/>
                    <a:pt x="420" y="91"/>
                    <a:pt x="415" y="94"/>
                  </a:cubicBezTo>
                  <a:cubicBezTo>
                    <a:pt x="414" y="94"/>
                    <a:pt x="412" y="95"/>
                    <a:pt x="412" y="95"/>
                  </a:cubicBezTo>
                  <a:cubicBezTo>
                    <a:pt x="412" y="96"/>
                    <a:pt x="412" y="97"/>
                    <a:pt x="412" y="98"/>
                  </a:cubicBezTo>
                  <a:cubicBezTo>
                    <a:pt x="412" y="99"/>
                    <a:pt x="412" y="100"/>
                    <a:pt x="412" y="100"/>
                  </a:cubicBezTo>
                  <a:cubicBezTo>
                    <a:pt x="412" y="101"/>
                    <a:pt x="411" y="101"/>
                    <a:pt x="411" y="102"/>
                  </a:cubicBezTo>
                  <a:cubicBezTo>
                    <a:pt x="411" y="102"/>
                    <a:pt x="412" y="103"/>
                    <a:pt x="412" y="103"/>
                  </a:cubicBezTo>
                  <a:cubicBezTo>
                    <a:pt x="411" y="107"/>
                    <a:pt x="408" y="107"/>
                    <a:pt x="403" y="108"/>
                  </a:cubicBezTo>
                  <a:cubicBezTo>
                    <a:pt x="397" y="110"/>
                    <a:pt x="388" y="114"/>
                    <a:pt x="382" y="112"/>
                  </a:cubicBezTo>
                  <a:cubicBezTo>
                    <a:pt x="381" y="112"/>
                    <a:pt x="380" y="112"/>
                    <a:pt x="380" y="111"/>
                  </a:cubicBezTo>
                  <a:cubicBezTo>
                    <a:pt x="380" y="110"/>
                    <a:pt x="381" y="111"/>
                    <a:pt x="381" y="110"/>
                  </a:cubicBezTo>
                  <a:cubicBezTo>
                    <a:pt x="381" y="111"/>
                    <a:pt x="382" y="109"/>
                    <a:pt x="382" y="109"/>
                  </a:cubicBezTo>
                  <a:cubicBezTo>
                    <a:pt x="382" y="109"/>
                    <a:pt x="382" y="107"/>
                    <a:pt x="383" y="107"/>
                  </a:cubicBezTo>
                  <a:cubicBezTo>
                    <a:pt x="384" y="106"/>
                    <a:pt x="385" y="106"/>
                    <a:pt x="386" y="105"/>
                  </a:cubicBezTo>
                  <a:cubicBezTo>
                    <a:pt x="388" y="103"/>
                    <a:pt x="387" y="101"/>
                    <a:pt x="389" y="100"/>
                  </a:cubicBezTo>
                  <a:cubicBezTo>
                    <a:pt x="387" y="99"/>
                    <a:pt x="381" y="99"/>
                    <a:pt x="380" y="96"/>
                  </a:cubicBezTo>
                  <a:cubicBezTo>
                    <a:pt x="380" y="95"/>
                    <a:pt x="381" y="94"/>
                    <a:pt x="382" y="92"/>
                  </a:cubicBezTo>
                  <a:cubicBezTo>
                    <a:pt x="379" y="89"/>
                    <a:pt x="381" y="89"/>
                    <a:pt x="382" y="85"/>
                  </a:cubicBezTo>
                  <a:cubicBezTo>
                    <a:pt x="382" y="83"/>
                    <a:pt x="383" y="81"/>
                    <a:pt x="382" y="80"/>
                  </a:cubicBezTo>
                  <a:cubicBezTo>
                    <a:pt x="381" y="79"/>
                    <a:pt x="378" y="80"/>
                    <a:pt x="376" y="79"/>
                  </a:cubicBezTo>
                  <a:cubicBezTo>
                    <a:pt x="377" y="79"/>
                    <a:pt x="378" y="78"/>
                    <a:pt x="379" y="78"/>
                  </a:cubicBezTo>
                  <a:cubicBezTo>
                    <a:pt x="378" y="78"/>
                    <a:pt x="375" y="77"/>
                    <a:pt x="375" y="78"/>
                  </a:cubicBezTo>
                  <a:cubicBezTo>
                    <a:pt x="373" y="79"/>
                    <a:pt x="375" y="78"/>
                    <a:pt x="375" y="79"/>
                  </a:cubicBezTo>
                  <a:cubicBezTo>
                    <a:pt x="375" y="80"/>
                    <a:pt x="374" y="81"/>
                    <a:pt x="375" y="81"/>
                  </a:cubicBezTo>
                  <a:cubicBezTo>
                    <a:pt x="376" y="82"/>
                    <a:pt x="377" y="81"/>
                    <a:pt x="379" y="82"/>
                  </a:cubicBezTo>
                  <a:cubicBezTo>
                    <a:pt x="375" y="83"/>
                    <a:pt x="371" y="84"/>
                    <a:pt x="368" y="85"/>
                  </a:cubicBezTo>
                  <a:cubicBezTo>
                    <a:pt x="366" y="85"/>
                    <a:pt x="365" y="86"/>
                    <a:pt x="364" y="87"/>
                  </a:cubicBezTo>
                  <a:cubicBezTo>
                    <a:pt x="364" y="87"/>
                    <a:pt x="364" y="89"/>
                    <a:pt x="364" y="89"/>
                  </a:cubicBezTo>
                  <a:cubicBezTo>
                    <a:pt x="364" y="89"/>
                    <a:pt x="367" y="87"/>
                    <a:pt x="368" y="86"/>
                  </a:cubicBezTo>
                  <a:cubicBezTo>
                    <a:pt x="369" y="86"/>
                    <a:pt x="370" y="86"/>
                    <a:pt x="372" y="86"/>
                  </a:cubicBezTo>
                  <a:cubicBezTo>
                    <a:pt x="370" y="88"/>
                    <a:pt x="360" y="94"/>
                    <a:pt x="364" y="96"/>
                  </a:cubicBezTo>
                  <a:cubicBezTo>
                    <a:pt x="364" y="96"/>
                    <a:pt x="367" y="96"/>
                    <a:pt x="368" y="96"/>
                  </a:cubicBezTo>
                  <a:cubicBezTo>
                    <a:pt x="370" y="97"/>
                    <a:pt x="370" y="99"/>
                    <a:pt x="370" y="101"/>
                  </a:cubicBezTo>
                  <a:cubicBezTo>
                    <a:pt x="370" y="96"/>
                    <a:pt x="358" y="98"/>
                    <a:pt x="359" y="102"/>
                  </a:cubicBezTo>
                  <a:cubicBezTo>
                    <a:pt x="359" y="103"/>
                    <a:pt x="363" y="103"/>
                    <a:pt x="362" y="104"/>
                  </a:cubicBezTo>
                  <a:cubicBezTo>
                    <a:pt x="361" y="106"/>
                    <a:pt x="364" y="106"/>
                    <a:pt x="365" y="107"/>
                  </a:cubicBezTo>
                  <a:cubicBezTo>
                    <a:pt x="362" y="106"/>
                    <a:pt x="355" y="107"/>
                    <a:pt x="354" y="110"/>
                  </a:cubicBezTo>
                  <a:cubicBezTo>
                    <a:pt x="356" y="109"/>
                    <a:pt x="359" y="108"/>
                    <a:pt x="361" y="108"/>
                  </a:cubicBezTo>
                  <a:cubicBezTo>
                    <a:pt x="366" y="109"/>
                    <a:pt x="361" y="115"/>
                    <a:pt x="357" y="114"/>
                  </a:cubicBezTo>
                  <a:cubicBezTo>
                    <a:pt x="352" y="112"/>
                    <a:pt x="347" y="110"/>
                    <a:pt x="342" y="107"/>
                  </a:cubicBezTo>
                  <a:cubicBezTo>
                    <a:pt x="337" y="104"/>
                    <a:pt x="327" y="96"/>
                    <a:pt x="327" y="90"/>
                  </a:cubicBezTo>
                  <a:cubicBezTo>
                    <a:pt x="326" y="89"/>
                    <a:pt x="327" y="89"/>
                    <a:pt x="327" y="87"/>
                  </a:cubicBezTo>
                  <a:cubicBezTo>
                    <a:pt x="327" y="87"/>
                    <a:pt x="325" y="87"/>
                    <a:pt x="325" y="86"/>
                  </a:cubicBezTo>
                  <a:cubicBezTo>
                    <a:pt x="324" y="84"/>
                    <a:pt x="322" y="82"/>
                    <a:pt x="322" y="81"/>
                  </a:cubicBezTo>
                  <a:cubicBezTo>
                    <a:pt x="316" y="72"/>
                    <a:pt x="308" y="67"/>
                    <a:pt x="299" y="62"/>
                  </a:cubicBezTo>
                  <a:cubicBezTo>
                    <a:pt x="298" y="63"/>
                    <a:pt x="294" y="69"/>
                    <a:pt x="295" y="70"/>
                  </a:cubicBezTo>
                  <a:cubicBezTo>
                    <a:pt x="296" y="71"/>
                    <a:pt x="300" y="70"/>
                    <a:pt x="301" y="70"/>
                  </a:cubicBezTo>
                  <a:cubicBezTo>
                    <a:pt x="300" y="73"/>
                    <a:pt x="296" y="73"/>
                    <a:pt x="300" y="75"/>
                  </a:cubicBezTo>
                  <a:cubicBezTo>
                    <a:pt x="303" y="76"/>
                    <a:pt x="306" y="76"/>
                    <a:pt x="309" y="77"/>
                  </a:cubicBezTo>
                  <a:cubicBezTo>
                    <a:pt x="308" y="76"/>
                    <a:pt x="304" y="77"/>
                    <a:pt x="303" y="78"/>
                  </a:cubicBezTo>
                  <a:cubicBezTo>
                    <a:pt x="301" y="78"/>
                    <a:pt x="298" y="78"/>
                    <a:pt x="296" y="79"/>
                  </a:cubicBezTo>
                  <a:cubicBezTo>
                    <a:pt x="294" y="79"/>
                    <a:pt x="290" y="81"/>
                    <a:pt x="291" y="84"/>
                  </a:cubicBezTo>
                  <a:cubicBezTo>
                    <a:pt x="291" y="88"/>
                    <a:pt x="291" y="88"/>
                    <a:pt x="288" y="90"/>
                  </a:cubicBezTo>
                  <a:cubicBezTo>
                    <a:pt x="285" y="92"/>
                    <a:pt x="282" y="94"/>
                    <a:pt x="280" y="97"/>
                  </a:cubicBezTo>
                  <a:cubicBezTo>
                    <a:pt x="278" y="98"/>
                    <a:pt x="277" y="99"/>
                    <a:pt x="276" y="99"/>
                  </a:cubicBezTo>
                  <a:cubicBezTo>
                    <a:pt x="276" y="99"/>
                    <a:pt x="272" y="99"/>
                    <a:pt x="272" y="99"/>
                  </a:cubicBezTo>
                  <a:cubicBezTo>
                    <a:pt x="272" y="98"/>
                    <a:pt x="272" y="93"/>
                    <a:pt x="273" y="93"/>
                  </a:cubicBezTo>
                  <a:cubicBezTo>
                    <a:pt x="274" y="92"/>
                    <a:pt x="276" y="93"/>
                    <a:pt x="277" y="92"/>
                  </a:cubicBezTo>
                  <a:cubicBezTo>
                    <a:pt x="277" y="92"/>
                    <a:pt x="277" y="90"/>
                    <a:pt x="278" y="89"/>
                  </a:cubicBezTo>
                  <a:cubicBezTo>
                    <a:pt x="276" y="90"/>
                    <a:pt x="274" y="92"/>
                    <a:pt x="272" y="92"/>
                  </a:cubicBezTo>
                  <a:cubicBezTo>
                    <a:pt x="271" y="93"/>
                    <a:pt x="269" y="92"/>
                    <a:pt x="268" y="93"/>
                  </a:cubicBezTo>
                  <a:cubicBezTo>
                    <a:pt x="264" y="93"/>
                    <a:pt x="262" y="94"/>
                    <a:pt x="259" y="95"/>
                  </a:cubicBezTo>
                  <a:cubicBezTo>
                    <a:pt x="254" y="97"/>
                    <a:pt x="249" y="97"/>
                    <a:pt x="245" y="99"/>
                  </a:cubicBezTo>
                  <a:cubicBezTo>
                    <a:pt x="244" y="100"/>
                    <a:pt x="243" y="101"/>
                    <a:pt x="242" y="102"/>
                  </a:cubicBezTo>
                  <a:cubicBezTo>
                    <a:pt x="240" y="104"/>
                    <a:pt x="237" y="106"/>
                    <a:pt x="235" y="109"/>
                  </a:cubicBezTo>
                  <a:cubicBezTo>
                    <a:pt x="236" y="109"/>
                    <a:pt x="236" y="109"/>
                    <a:pt x="236" y="109"/>
                  </a:cubicBezTo>
                  <a:cubicBezTo>
                    <a:pt x="235" y="111"/>
                    <a:pt x="233" y="113"/>
                    <a:pt x="231" y="115"/>
                  </a:cubicBezTo>
                  <a:cubicBezTo>
                    <a:pt x="231" y="117"/>
                    <a:pt x="231" y="121"/>
                    <a:pt x="230" y="122"/>
                  </a:cubicBezTo>
                  <a:cubicBezTo>
                    <a:pt x="227" y="122"/>
                    <a:pt x="231" y="115"/>
                    <a:pt x="231" y="114"/>
                  </a:cubicBezTo>
                  <a:cubicBezTo>
                    <a:pt x="228" y="114"/>
                    <a:pt x="228" y="115"/>
                    <a:pt x="230" y="112"/>
                  </a:cubicBezTo>
                  <a:cubicBezTo>
                    <a:pt x="231" y="109"/>
                    <a:pt x="232" y="108"/>
                    <a:pt x="230" y="105"/>
                  </a:cubicBezTo>
                  <a:cubicBezTo>
                    <a:pt x="230" y="108"/>
                    <a:pt x="228" y="111"/>
                    <a:pt x="227" y="114"/>
                  </a:cubicBezTo>
                  <a:cubicBezTo>
                    <a:pt x="229" y="110"/>
                    <a:pt x="230" y="105"/>
                    <a:pt x="225" y="103"/>
                  </a:cubicBezTo>
                  <a:cubicBezTo>
                    <a:pt x="225" y="104"/>
                    <a:pt x="227" y="104"/>
                    <a:pt x="227" y="106"/>
                  </a:cubicBezTo>
                  <a:cubicBezTo>
                    <a:pt x="228" y="107"/>
                    <a:pt x="227" y="110"/>
                    <a:pt x="226" y="112"/>
                  </a:cubicBezTo>
                  <a:cubicBezTo>
                    <a:pt x="227" y="109"/>
                    <a:pt x="227" y="105"/>
                    <a:pt x="223" y="104"/>
                  </a:cubicBezTo>
                  <a:cubicBezTo>
                    <a:pt x="225" y="107"/>
                    <a:pt x="226" y="107"/>
                    <a:pt x="223" y="111"/>
                  </a:cubicBezTo>
                  <a:cubicBezTo>
                    <a:pt x="221" y="112"/>
                    <a:pt x="219" y="113"/>
                    <a:pt x="217" y="114"/>
                  </a:cubicBezTo>
                  <a:cubicBezTo>
                    <a:pt x="217" y="114"/>
                    <a:pt x="219" y="109"/>
                    <a:pt x="219" y="110"/>
                  </a:cubicBezTo>
                  <a:cubicBezTo>
                    <a:pt x="219" y="108"/>
                    <a:pt x="209" y="110"/>
                    <a:pt x="207" y="111"/>
                  </a:cubicBezTo>
                  <a:cubicBezTo>
                    <a:pt x="213" y="109"/>
                    <a:pt x="204" y="118"/>
                    <a:pt x="203" y="119"/>
                  </a:cubicBezTo>
                  <a:cubicBezTo>
                    <a:pt x="199" y="123"/>
                    <a:pt x="191" y="123"/>
                    <a:pt x="186" y="125"/>
                  </a:cubicBezTo>
                  <a:cubicBezTo>
                    <a:pt x="187" y="126"/>
                    <a:pt x="186" y="126"/>
                    <a:pt x="186" y="127"/>
                  </a:cubicBezTo>
                  <a:cubicBezTo>
                    <a:pt x="186" y="128"/>
                    <a:pt x="187" y="128"/>
                    <a:pt x="188" y="128"/>
                  </a:cubicBezTo>
                  <a:cubicBezTo>
                    <a:pt x="188" y="129"/>
                    <a:pt x="187" y="130"/>
                    <a:pt x="187" y="131"/>
                  </a:cubicBezTo>
                  <a:cubicBezTo>
                    <a:pt x="187" y="132"/>
                    <a:pt x="189" y="131"/>
                    <a:pt x="188" y="133"/>
                  </a:cubicBezTo>
                  <a:cubicBezTo>
                    <a:pt x="189" y="133"/>
                    <a:pt x="197" y="128"/>
                    <a:pt x="195" y="134"/>
                  </a:cubicBezTo>
                  <a:cubicBezTo>
                    <a:pt x="194" y="136"/>
                    <a:pt x="191" y="135"/>
                    <a:pt x="189" y="135"/>
                  </a:cubicBezTo>
                  <a:cubicBezTo>
                    <a:pt x="188" y="135"/>
                    <a:pt x="187" y="135"/>
                    <a:pt x="186" y="135"/>
                  </a:cubicBezTo>
                  <a:cubicBezTo>
                    <a:pt x="185" y="134"/>
                    <a:pt x="184" y="135"/>
                    <a:pt x="182" y="135"/>
                  </a:cubicBezTo>
                  <a:cubicBezTo>
                    <a:pt x="180" y="135"/>
                    <a:pt x="177" y="134"/>
                    <a:pt x="174" y="134"/>
                  </a:cubicBezTo>
                  <a:cubicBezTo>
                    <a:pt x="174" y="135"/>
                    <a:pt x="175" y="136"/>
                    <a:pt x="177" y="136"/>
                  </a:cubicBezTo>
                  <a:cubicBezTo>
                    <a:pt x="176" y="138"/>
                    <a:pt x="183" y="139"/>
                    <a:pt x="184" y="139"/>
                  </a:cubicBezTo>
                  <a:cubicBezTo>
                    <a:pt x="182" y="140"/>
                    <a:pt x="171" y="137"/>
                    <a:pt x="172" y="134"/>
                  </a:cubicBezTo>
                  <a:cubicBezTo>
                    <a:pt x="172" y="133"/>
                    <a:pt x="175" y="132"/>
                    <a:pt x="176" y="131"/>
                  </a:cubicBezTo>
                  <a:cubicBezTo>
                    <a:pt x="178" y="130"/>
                    <a:pt x="177" y="129"/>
                    <a:pt x="179" y="127"/>
                  </a:cubicBezTo>
                  <a:cubicBezTo>
                    <a:pt x="180" y="123"/>
                    <a:pt x="185" y="124"/>
                    <a:pt x="186" y="128"/>
                  </a:cubicBezTo>
                  <a:cubicBezTo>
                    <a:pt x="185" y="126"/>
                    <a:pt x="185" y="124"/>
                    <a:pt x="187" y="123"/>
                  </a:cubicBezTo>
                  <a:cubicBezTo>
                    <a:pt x="186" y="123"/>
                    <a:pt x="186" y="123"/>
                    <a:pt x="186" y="123"/>
                  </a:cubicBezTo>
                  <a:cubicBezTo>
                    <a:pt x="186" y="120"/>
                    <a:pt x="189" y="116"/>
                    <a:pt x="191" y="116"/>
                  </a:cubicBezTo>
                  <a:cubicBezTo>
                    <a:pt x="195" y="115"/>
                    <a:pt x="194" y="118"/>
                    <a:pt x="195" y="120"/>
                  </a:cubicBezTo>
                  <a:cubicBezTo>
                    <a:pt x="195" y="119"/>
                    <a:pt x="196" y="118"/>
                    <a:pt x="197" y="118"/>
                  </a:cubicBezTo>
                  <a:cubicBezTo>
                    <a:pt x="199" y="117"/>
                    <a:pt x="198" y="116"/>
                    <a:pt x="199" y="115"/>
                  </a:cubicBezTo>
                  <a:cubicBezTo>
                    <a:pt x="201" y="114"/>
                    <a:pt x="203" y="113"/>
                    <a:pt x="204" y="111"/>
                  </a:cubicBezTo>
                  <a:cubicBezTo>
                    <a:pt x="205" y="109"/>
                    <a:pt x="205" y="107"/>
                    <a:pt x="207" y="105"/>
                  </a:cubicBezTo>
                  <a:cubicBezTo>
                    <a:pt x="211" y="103"/>
                    <a:pt x="218" y="104"/>
                    <a:pt x="222" y="103"/>
                  </a:cubicBezTo>
                  <a:cubicBezTo>
                    <a:pt x="225" y="102"/>
                    <a:pt x="228" y="100"/>
                    <a:pt x="230" y="103"/>
                  </a:cubicBezTo>
                  <a:cubicBezTo>
                    <a:pt x="232" y="105"/>
                    <a:pt x="234" y="100"/>
                    <a:pt x="236" y="100"/>
                  </a:cubicBezTo>
                  <a:cubicBezTo>
                    <a:pt x="239" y="98"/>
                    <a:pt x="239" y="96"/>
                    <a:pt x="243" y="95"/>
                  </a:cubicBezTo>
                  <a:cubicBezTo>
                    <a:pt x="246" y="93"/>
                    <a:pt x="250" y="92"/>
                    <a:pt x="253" y="90"/>
                  </a:cubicBezTo>
                  <a:cubicBezTo>
                    <a:pt x="256" y="89"/>
                    <a:pt x="260" y="88"/>
                    <a:pt x="263" y="86"/>
                  </a:cubicBezTo>
                  <a:cubicBezTo>
                    <a:pt x="263" y="86"/>
                    <a:pt x="266" y="84"/>
                    <a:pt x="266" y="83"/>
                  </a:cubicBezTo>
                  <a:cubicBezTo>
                    <a:pt x="266" y="82"/>
                    <a:pt x="263" y="82"/>
                    <a:pt x="265" y="80"/>
                  </a:cubicBezTo>
                  <a:cubicBezTo>
                    <a:pt x="264" y="80"/>
                    <a:pt x="263" y="80"/>
                    <a:pt x="263" y="79"/>
                  </a:cubicBezTo>
                  <a:cubicBezTo>
                    <a:pt x="261" y="78"/>
                    <a:pt x="262" y="79"/>
                    <a:pt x="260" y="77"/>
                  </a:cubicBezTo>
                  <a:cubicBezTo>
                    <a:pt x="258" y="73"/>
                    <a:pt x="255" y="83"/>
                    <a:pt x="253" y="83"/>
                  </a:cubicBezTo>
                  <a:cubicBezTo>
                    <a:pt x="253" y="83"/>
                    <a:pt x="253" y="83"/>
                    <a:pt x="254" y="82"/>
                  </a:cubicBezTo>
                  <a:cubicBezTo>
                    <a:pt x="252" y="83"/>
                    <a:pt x="250" y="84"/>
                    <a:pt x="248" y="84"/>
                  </a:cubicBezTo>
                  <a:cubicBezTo>
                    <a:pt x="248" y="82"/>
                    <a:pt x="242" y="82"/>
                    <a:pt x="241" y="82"/>
                  </a:cubicBezTo>
                  <a:cubicBezTo>
                    <a:pt x="236" y="82"/>
                    <a:pt x="232" y="81"/>
                    <a:pt x="229" y="85"/>
                  </a:cubicBezTo>
                  <a:cubicBezTo>
                    <a:pt x="229" y="85"/>
                    <a:pt x="230" y="85"/>
                    <a:pt x="231" y="85"/>
                  </a:cubicBezTo>
                  <a:cubicBezTo>
                    <a:pt x="228" y="86"/>
                    <a:pt x="227" y="91"/>
                    <a:pt x="225" y="93"/>
                  </a:cubicBezTo>
                  <a:cubicBezTo>
                    <a:pt x="224" y="84"/>
                    <a:pt x="211" y="94"/>
                    <a:pt x="208" y="96"/>
                  </a:cubicBezTo>
                  <a:cubicBezTo>
                    <a:pt x="204" y="99"/>
                    <a:pt x="202" y="99"/>
                    <a:pt x="198" y="98"/>
                  </a:cubicBezTo>
                  <a:cubicBezTo>
                    <a:pt x="193" y="97"/>
                    <a:pt x="192" y="97"/>
                    <a:pt x="196" y="101"/>
                  </a:cubicBezTo>
                  <a:cubicBezTo>
                    <a:pt x="192" y="102"/>
                    <a:pt x="188" y="100"/>
                    <a:pt x="184" y="102"/>
                  </a:cubicBezTo>
                  <a:cubicBezTo>
                    <a:pt x="178" y="105"/>
                    <a:pt x="171" y="109"/>
                    <a:pt x="165" y="112"/>
                  </a:cubicBezTo>
                  <a:cubicBezTo>
                    <a:pt x="161" y="114"/>
                    <a:pt x="157" y="116"/>
                    <a:pt x="155" y="118"/>
                  </a:cubicBezTo>
                  <a:cubicBezTo>
                    <a:pt x="154" y="119"/>
                    <a:pt x="153" y="119"/>
                    <a:pt x="153" y="120"/>
                  </a:cubicBezTo>
                  <a:cubicBezTo>
                    <a:pt x="153" y="120"/>
                    <a:pt x="153" y="120"/>
                    <a:pt x="153" y="120"/>
                  </a:cubicBezTo>
                  <a:cubicBezTo>
                    <a:pt x="152" y="121"/>
                    <a:pt x="151" y="122"/>
                    <a:pt x="150" y="122"/>
                  </a:cubicBezTo>
                  <a:cubicBezTo>
                    <a:pt x="149" y="122"/>
                    <a:pt x="149" y="122"/>
                    <a:pt x="149" y="122"/>
                  </a:cubicBezTo>
                  <a:cubicBezTo>
                    <a:pt x="149" y="121"/>
                    <a:pt x="148" y="120"/>
                    <a:pt x="148" y="120"/>
                  </a:cubicBezTo>
                  <a:cubicBezTo>
                    <a:pt x="147" y="119"/>
                    <a:pt x="147" y="119"/>
                    <a:pt x="147" y="118"/>
                  </a:cubicBezTo>
                  <a:cubicBezTo>
                    <a:pt x="147" y="118"/>
                    <a:pt x="147" y="118"/>
                    <a:pt x="146" y="118"/>
                  </a:cubicBezTo>
                  <a:cubicBezTo>
                    <a:pt x="145" y="117"/>
                    <a:pt x="144" y="117"/>
                    <a:pt x="144" y="116"/>
                  </a:cubicBezTo>
                  <a:cubicBezTo>
                    <a:pt x="144" y="115"/>
                    <a:pt x="144" y="115"/>
                    <a:pt x="144" y="114"/>
                  </a:cubicBezTo>
                  <a:cubicBezTo>
                    <a:pt x="144" y="114"/>
                    <a:pt x="144" y="114"/>
                    <a:pt x="145" y="113"/>
                  </a:cubicBezTo>
                  <a:cubicBezTo>
                    <a:pt x="145" y="112"/>
                    <a:pt x="146" y="111"/>
                    <a:pt x="146" y="111"/>
                  </a:cubicBezTo>
                  <a:cubicBezTo>
                    <a:pt x="147" y="110"/>
                    <a:pt x="148" y="110"/>
                    <a:pt x="149" y="110"/>
                  </a:cubicBezTo>
                  <a:cubicBezTo>
                    <a:pt x="150" y="109"/>
                    <a:pt x="150" y="109"/>
                    <a:pt x="151" y="108"/>
                  </a:cubicBezTo>
                  <a:cubicBezTo>
                    <a:pt x="152" y="108"/>
                    <a:pt x="152" y="107"/>
                    <a:pt x="153" y="107"/>
                  </a:cubicBezTo>
                  <a:cubicBezTo>
                    <a:pt x="153" y="106"/>
                    <a:pt x="153" y="106"/>
                    <a:pt x="153" y="106"/>
                  </a:cubicBezTo>
                  <a:cubicBezTo>
                    <a:pt x="153" y="105"/>
                    <a:pt x="154" y="105"/>
                    <a:pt x="154" y="105"/>
                  </a:cubicBezTo>
                  <a:cubicBezTo>
                    <a:pt x="154" y="105"/>
                    <a:pt x="154" y="104"/>
                    <a:pt x="155" y="104"/>
                  </a:cubicBezTo>
                  <a:cubicBezTo>
                    <a:pt x="155" y="103"/>
                    <a:pt x="156" y="103"/>
                    <a:pt x="157" y="103"/>
                  </a:cubicBezTo>
                  <a:cubicBezTo>
                    <a:pt x="157" y="103"/>
                    <a:pt x="157" y="102"/>
                    <a:pt x="157" y="102"/>
                  </a:cubicBezTo>
                  <a:cubicBezTo>
                    <a:pt x="158" y="102"/>
                    <a:pt x="158" y="101"/>
                    <a:pt x="159" y="100"/>
                  </a:cubicBezTo>
                  <a:cubicBezTo>
                    <a:pt x="159" y="100"/>
                    <a:pt x="160" y="99"/>
                    <a:pt x="160" y="98"/>
                  </a:cubicBezTo>
                  <a:cubicBezTo>
                    <a:pt x="161" y="98"/>
                    <a:pt x="163" y="97"/>
                    <a:pt x="164" y="96"/>
                  </a:cubicBezTo>
                  <a:cubicBezTo>
                    <a:pt x="165" y="94"/>
                    <a:pt x="165" y="93"/>
                    <a:pt x="165" y="91"/>
                  </a:cubicBezTo>
                  <a:cubicBezTo>
                    <a:pt x="164" y="92"/>
                    <a:pt x="164" y="92"/>
                    <a:pt x="164" y="93"/>
                  </a:cubicBezTo>
                  <a:cubicBezTo>
                    <a:pt x="164" y="93"/>
                    <a:pt x="163" y="93"/>
                    <a:pt x="163" y="93"/>
                  </a:cubicBezTo>
                  <a:cubicBezTo>
                    <a:pt x="163" y="93"/>
                    <a:pt x="162" y="94"/>
                    <a:pt x="160" y="93"/>
                  </a:cubicBezTo>
                  <a:cubicBezTo>
                    <a:pt x="160" y="93"/>
                    <a:pt x="160" y="93"/>
                    <a:pt x="160" y="93"/>
                  </a:cubicBezTo>
                  <a:cubicBezTo>
                    <a:pt x="160" y="93"/>
                    <a:pt x="160" y="93"/>
                    <a:pt x="160" y="93"/>
                  </a:cubicBezTo>
                  <a:cubicBezTo>
                    <a:pt x="160" y="93"/>
                    <a:pt x="160" y="93"/>
                    <a:pt x="160" y="93"/>
                  </a:cubicBezTo>
                  <a:cubicBezTo>
                    <a:pt x="159" y="93"/>
                    <a:pt x="159" y="92"/>
                    <a:pt x="159" y="92"/>
                  </a:cubicBezTo>
                  <a:cubicBezTo>
                    <a:pt x="158" y="92"/>
                    <a:pt x="158" y="92"/>
                    <a:pt x="158" y="92"/>
                  </a:cubicBezTo>
                  <a:cubicBezTo>
                    <a:pt x="157" y="92"/>
                    <a:pt x="157" y="92"/>
                    <a:pt x="157" y="92"/>
                  </a:cubicBezTo>
                  <a:cubicBezTo>
                    <a:pt x="157" y="92"/>
                    <a:pt x="157" y="92"/>
                    <a:pt x="157" y="92"/>
                  </a:cubicBezTo>
                  <a:cubicBezTo>
                    <a:pt x="156" y="91"/>
                    <a:pt x="156" y="89"/>
                    <a:pt x="155" y="88"/>
                  </a:cubicBezTo>
                  <a:cubicBezTo>
                    <a:pt x="155" y="87"/>
                    <a:pt x="154" y="87"/>
                    <a:pt x="153" y="87"/>
                  </a:cubicBezTo>
                  <a:cubicBezTo>
                    <a:pt x="152" y="86"/>
                    <a:pt x="151" y="85"/>
                    <a:pt x="151" y="85"/>
                  </a:cubicBezTo>
                  <a:cubicBezTo>
                    <a:pt x="151" y="86"/>
                    <a:pt x="150" y="86"/>
                    <a:pt x="150" y="87"/>
                  </a:cubicBezTo>
                  <a:cubicBezTo>
                    <a:pt x="150" y="87"/>
                    <a:pt x="150" y="87"/>
                    <a:pt x="150" y="88"/>
                  </a:cubicBezTo>
                  <a:cubicBezTo>
                    <a:pt x="150" y="90"/>
                    <a:pt x="150" y="92"/>
                    <a:pt x="150" y="94"/>
                  </a:cubicBezTo>
                  <a:cubicBezTo>
                    <a:pt x="150" y="97"/>
                    <a:pt x="148" y="96"/>
                    <a:pt x="146" y="96"/>
                  </a:cubicBezTo>
                  <a:cubicBezTo>
                    <a:pt x="144" y="95"/>
                    <a:pt x="142" y="95"/>
                    <a:pt x="140" y="95"/>
                  </a:cubicBezTo>
                  <a:cubicBezTo>
                    <a:pt x="140" y="95"/>
                    <a:pt x="139" y="95"/>
                    <a:pt x="138" y="95"/>
                  </a:cubicBezTo>
                  <a:cubicBezTo>
                    <a:pt x="138" y="95"/>
                    <a:pt x="137" y="95"/>
                    <a:pt x="136" y="95"/>
                  </a:cubicBezTo>
                  <a:cubicBezTo>
                    <a:pt x="135" y="95"/>
                    <a:pt x="135" y="95"/>
                    <a:pt x="135" y="95"/>
                  </a:cubicBezTo>
                  <a:cubicBezTo>
                    <a:pt x="132" y="96"/>
                    <a:pt x="130" y="97"/>
                    <a:pt x="130" y="99"/>
                  </a:cubicBezTo>
                  <a:cubicBezTo>
                    <a:pt x="131" y="100"/>
                    <a:pt x="132" y="102"/>
                    <a:pt x="132" y="104"/>
                  </a:cubicBezTo>
                  <a:cubicBezTo>
                    <a:pt x="128" y="103"/>
                    <a:pt x="122" y="99"/>
                    <a:pt x="123" y="105"/>
                  </a:cubicBezTo>
                  <a:cubicBezTo>
                    <a:pt x="122" y="104"/>
                    <a:pt x="119" y="103"/>
                    <a:pt x="117" y="103"/>
                  </a:cubicBezTo>
                  <a:cubicBezTo>
                    <a:pt x="117" y="107"/>
                    <a:pt x="124" y="109"/>
                    <a:pt x="126" y="110"/>
                  </a:cubicBezTo>
                  <a:cubicBezTo>
                    <a:pt x="125" y="110"/>
                    <a:pt x="123" y="109"/>
                    <a:pt x="121" y="109"/>
                  </a:cubicBezTo>
                  <a:cubicBezTo>
                    <a:pt x="121" y="109"/>
                    <a:pt x="121" y="108"/>
                    <a:pt x="121" y="108"/>
                  </a:cubicBezTo>
                  <a:cubicBezTo>
                    <a:pt x="120" y="108"/>
                    <a:pt x="120" y="108"/>
                    <a:pt x="120" y="108"/>
                  </a:cubicBezTo>
                  <a:cubicBezTo>
                    <a:pt x="120" y="108"/>
                    <a:pt x="120" y="108"/>
                    <a:pt x="120" y="108"/>
                  </a:cubicBezTo>
                  <a:cubicBezTo>
                    <a:pt x="120" y="108"/>
                    <a:pt x="120" y="108"/>
                    <a:pt x="120" y="108"/>
                  </a:cubicBezTo>
                  <a:cubicBezTo>
                    <a:pt x="118" y="107"/>
                    <a:pt x="116" y="105"/>
                    <a:pt x="115" y="105"/>
                  </a:cubicBezTo>
                  <a:cubicBezTo>
                    <a:pt x="115" y="105"/>
                    <a:pt x="115" y="105"/>
                    <a:pt x="115" y="105"/>
                  </a:cubicBezTo>
                  <a:cubicBezTo>
                    <a:pt x="115" y="105"/>
                    <a:pt x="114" y="106"/>
                    <a:pt x="114" y="107"/>
                  </a:cubicBezTo>
                  <a:cubicBezTo>
                    <a:pt x="114" y="108"/>
                    <a:pt x="114" y="109"/>
                    <a:pt x="114" y="109"/>
                  </a:cubicBezTo>
                  <a:cubicBezTo>
                    <a:pt x="114" y="109"/>
                    <a:pt x="115" y="109"/>
                    <a:pt x="115" y="110"/>
                  </a:cubicBezTo>
                  <a:cubicBezTo>
                    <a:pt x="115" y="110"/>
                    <a:pt x="115" y="110"/>
                    <a:pt x="115" y="110"/>
                  </a:cubicBezTo>
                  <a:cubicBezTo>
                    <a:pt x="115" y="111"/>
                    <a:pt x="116" y="111"/>
                    <a:pt x="117" y="111"/>
                  </a:cubicBezTo>
                  <a:cubicBezTo>
                    <a:pt x="117" y="111"/>
                    <a:pt x="117" y="112"/>
                    <a:pt x="117" y="112"/>
                  </a:cubicBezTo>
                  <a:cubicBezTo>
                    <a:pt x="119" y="113"/>
                    <a:pt x="120" y="113"/>
                    <a:pt x="121" y="114"/>
                  </a:cubicBezTo>
                  <a:cubicBezTo>
                    <a:pt x="122" y="114"/>
                    <a:pt x="123" y="114"/>
                    <a:pt x="124" y="114"/>
                  </a:cubicBezTo>
                  <a:cubicBezTo>
                    <a:pt x="121" y="116"/>
                    <a:pt x="117" y="115"/>
                    <a:pt x="113" y="117"/>
                  </a:cubicBezTo>
                  <a:cubicBezTo>
                    <a:pt x="114" y="118"/>
                    <a:pt x="116" y="118"/>
                    <a:pt x="117" y="118"/>
                  </a:cubicBezTo>
                  <a:cubicBezTo>
                    <a:pt x="118" y="119"/>
                    <a:pt x="118" y="119"/>
                    <a:pt x="119" y="119"/>
                  </a:cubicBezTo>
                  <a:cubicBezTo>
                    <a:pt x="120" y="118"/>
                    <a:pt x="121" y="119"/>
                    <a:pt x="122" y="118"/>
                  </a:cubicBezTo>
                  <a:cubicBezTo>
                    <a:pt x="123" y="118"/>
                    <a:pt x="124" y="118"/>
                    <a:pt x="124" y="118"/>
                  </a:cubicBezTo>
                  <a:cubicBezTo>
                    <a:pt x="124" y="118"/>
                    <a:pt x="124" y="118"/>
                    <a:pt x="124" y="118"/>
                  </a:cubicBezTo>
                  <a:cubicBezTo>
                    <a:pt x="124" y="118"/>
                    <a:pt x="124" y="117"/>
                    <a:pt x="124" y="117"/>
                  </a:cubicBezTo>
                  <a:cubicBezTo>
                    <a:pt x="124" y="117"/>
                    <a:pt x="124" y="116"/>
                    <a:pt x="125" y="116"/>
                  </a:cubicBezTo>
                  <a:cubicBezTo>
                    <a:pt x="125" y="116"/>
                    <a:pt x="127" y="117"/>
                    <a:pt x="127" y="118"/>
                  </a:cubicBezTo>
                  <a:cubicBezTo>
                    <a:pt x="128" y="118"/>
                    <a:pt x="130" y="117"/>
                    <a:pt x="131" y="117"/>
                  </a:cubicBezTo>
                  <a:cubicBezTo>
                    <a:pt x="133" y="118"/>
                    <a:pt x="134" y="119"/>
                    <a:pt x="135" y="119"/>
                  </a:cubicBezTo>
                  <a:cubicBezTo>
                    <a:pt x="136" y="119"/>
                    <a:pt x="136" y="119"/>
                    <a:pt x="137" y="118"/>
                  </a:cubicBezTo>
                  <a:cubicBezTo>
                    <a:pt x="137" y="118"/>
                    <a:pt x="138" y="118"/>
                    <a:pt x="138" y="118"/>
                  </a:cubicBezTo>
                  <a:cubicBezTo>
                    <a:pt x="138" y="116"/>
                    <a:pt x="139" y="116"/>
                    <a:pt x="139" y="116"/>
                  </a:cubicBezTo>
                  <a:cubicBezTo>
                    <a:pt x="140" y="115"/>
                    <a:pt x="140" y="115"/>
                    <a:pt x="142" y="116"/>
                  </a:cubicBezTo>
                  <a:cubicBezTo>
                    <a:pt x="142" y="117"/>
                    <a:pt x="142" y="117"/>
                    <a:pt x="143" y="117"/>
                  </a:cubicBezTo>
                  <a:cubicBezTo>
                    <a:pt x="143" y="117"/>
                    <a:pt x="143" y="118"/>
                    <a:pt x="143" y="118"/>
                  </a:cubicBezTo>
                  <a:cubicBezTo>
                    <a:pt x="144" y="119"/>
                    <a:pt x="146" y="122"/>
                    <a:pt x="148" y="123"/>
                  </a:cubicBezTo>
                  <a:cubicBezTo>
                    <a:pt x="145" y="126"/>
                    <a:pt x="145" y="128"/>
                    <a:pt x="148" y="131"/>
                  </a:cubicBezTo>
                  <a:cubicBezTo>
                    <a:pt x="149" y="133"/>
                    <a:pt x="150" y="134"/>
                    <a:pt x="151" y="136"/>
                  </a:cubicBezTo>
                  <a:cubicBezTo>
                    <a:pt x="152" y="137"/>
                    <a:pt x="154" y="138"/>
                    <a:pt x="154" y="140"/>
                  </a:cubicBezTo>
                  <a:cubicBezTo>
                    <a:pt x="151" y="139"/>
                    <a:pt x="150" y="139"/>
                    <a:pt x="147" y="136"/>
                  </a:cubicBezTo>
                  <a:cubicBezTo>
                    <a:pt x="146" y="135"/>
                    <a:pt x="145" y="133"/>
                    <a:pt x="143" y="132"/>
                  </a:cubicBezTo>
                  <a:cubicBezTo>
                    <a:pt x="142" y="131"/>
                    <a:pt x="140" y="131"/>
                    <a:pt x="138" y="131"/>
                  </a:cubicBezTo>
                  <a:cubicBezTo>
                    <a:pt x="138" y="131"/>
                    <a:pt x="138" y="131"/>
                    <a:pt x="138" y="131"/>
                  </a:cubicBezTo>
                  <a:cubicBezTo>
                    <a:pt x="137" y="131"/>
                    <a:pt x="136" y="131"/>
                    <a:pt x="136" y="131"/>
                  </a:cubicBezTo>
                  <a:cubicBezTo>
                    <a:pt x="135" y="131"/>
                    <a:pt x="135" y="131"/>
                    <a:pt x="135" y="131"/>
                  </a:cubicBezTo>
                  <a:cubicBezTo>
                    <a:pt x="131" y="132"/>
                    <a:pt x="128" y="134"/>
                    <a:pt x="125" y="135"/>
                  </a:cubicBezTo>
                  <a:cubicBezTo>
                    <a:pt x="128" y="137"/>
                    <a:pt x="131" y="139"/>
                    <a:pt x="133" y="141"/>
                  </a:cubicBezTo>
                  <a:cubicBezTo>
                    <a:pt x="129" y="141"/>
                    <a:pt x="123" y="138"/>
                    <a:pt x="119" y="137"/>
                  </a:cubicBezTo>
                  <a:cubicBezTo>
                    <a:pt x="114" y="135"/>
                    <a:pt x="109" y="133"/>
                    <a:pt x="104" y="131"/>
                  </a:cubicBezTo>
                  <a:cubicBezTo>
                    <a:pt x="104" y="132"/>
                    <a:pt x="103" y="132"/>
                    <a:pt x="103" y="132"/>
                  </a:cubicBezTo>
                  <a:cubicBezTo>
                    <a:pt x="103" y="132"/>
                    <a:pt x="103" y="131"/>
                    <a:pt x="101" y="130"/>
                  </a:cubicBezTo>
                  <a:cubicBezTo>
                    <a:pt x="85" y="125"/>
                    <a:pt x="69" y="119"/>
                    <a:pt x="53" y="113"/>
                  </a:cubicBezTo>
                  <a:cubicBezTo>
                    <a:pt x="50" y="112"/>
                    <a:pt x="46" y="112"/>
                    <a:pt x="43" y="110"/>
                  </a:cubicBezTo>
                  <a:cubicBezTo>
                    <a:pt x="42" y="108"/>
                    <a:pt x="41" y="106"/>
                    <a:pt x="39" y="106"/>
                  </a:cubicBezTo>
                  <a:cubicBezTo>
                    <a:pt x="26" y="105"/>
                    <a:pt x="13" y="103"/>
                    <a:pt x="0" y="101"/>
                  </a:cubicBezTo>
                  <a:cubicBezTo>
                    <a:pt x="0" y="142"/>
                    <a:pt x="0" y="142"/>
                    <a:pt x="0" y="142"/>
                  </a:cubicBezTo>
                  <a:cubicBezTo>
                    <a:pt x="0" y="177"/>
                    <a:pt x="0" y="212"/>
                    <a:pt x="0" y="239"/>
                  </a:cubicBezTo>
                  <a:cubicBezTo>
                    <a:pt x="0" y="240"/>
                    <a:pt x="0" y="240"/>
                    <a:pt x="0" y="240"/>
                  </a:cubicBezTo>
                  <a:cubicBezTo>
                    <a:pt x="0" y="264"/>
                    <a:pt x="0" y="289"/>
                    <a:pt x="0" y="313"/>
                  </a:cubicBezTo>
                  <a:cubicBezTo>
                    <a:pt x="0" y="378"/>
                    <a:pt x="0" y="378"/>
                    <a:pt x="0" y="378"/>
                  </a:cubicBezTo>
                  <a:cubicBezTo>
                    <a:pt x="0" y="388"/>
                    <a:pt x="0" y="398"/>
                    <a:pt x="0" y="409"/>
                  </a:cubicBezTo>
                  <a:cubicBezTo>
                    <a:pt x="0" y="416"/>
                    <a:pt x="0" y="424"/>
                    <a:pt x="0" y="431"/>
                  </a:cubicBezTo>
                  <a:cubicBezTo>
                    <a:pt x="0" y="443"/>
                    <a:pt x="0" y="443"/>
                    <a:pt x="0" y="443"/>
                  </a:cubicBezTo>
                  <a:cubicBezTo>
                    <a:pt x="0" y="445"/>
                    <a:pt x="0" y="448"/>
                    <a:pt x="0" y="450"/>
                  </a:cubicBezTo>
                  <a:cubicBezTo>
                    <a:pt x="0" y="450"/>
                    <a:pt x="0" y="451"/>
                    <a:pt x="0" y="451"/>
                  </a:cubicBezTo>
                  <a:cubicBezTo>
                    <a:pt x="20" y="455"/>
                    <a:pt x="20" y="455"/>
                    <a:pt x="20" y="455"/>
                  </a:cubicBezTo>
                  <a:cubicBezTo>
                    <a:pt x="20" y="455"/>
                    <a:pt x="21" y="454"/>
                    <a:pt x="23" y="453"/>
                  </a:cubicBezTo>
                  <a:cubicBezTo>
                    <a:pt x="24" y="452"/>
                    <a:pt x="25" y="450"/>
                    <a:pt x="27" y="450"/>
                  </a:cubicBezTo>
                  <a:cubicBezTo>
                    <a:pt x="30" y="449"/>
                    <a:pt x="32" y="449"/>
                    <a:pt x="34" y="449"/>
                  </a:cubicBezTo>
                  <a:cubicBezTo>
                    <a:pt x="34" y="449"/>
                    <a:pt x="34" y="449"/>
                    <a:pt x="34" y="449"/>
                  </a:cubicBezTo>
                  <a:cubicBezTo>
                    <a:pt x="35" y="449"/>
                    <a:pt x="35" y="449"/>
                    <a:pt x="35" y="449"/>
                  </a:cubicBezTo>
                  <a:cubicBezTo>
                    <a:pt x="39" y="449"/>
                    <a:pt x="42" y="449"/>
                    <a:pt x="43" y="450"/>
                  </a:cubicBezTo>
                  <a:cubicBezTo>
                    <a:pt x="45" y="452"/>
                    <a:pt x="44" y="456"/>
                    <a:pt x="43" y="459"/>
                  </a:cubicBezTo>
                  <a:cubicBezTo>
                    <a:pt x="43" y="460"/>
                    <a:pt x="43" y="461"/>
                    <a:pt x="44" y="462"/>
                  </a:cubicBezTo>
                  <a:cubicBezTo>
                    <a:pt x="44" y="462"/>
                    <a:pt x="44" y="462"/>
                    <a:pt x="44" y="462"/>
                  </a:cubicBezTo>
                  <a:cubicBezTo>
                    <a:pt x="47" y="464"/>
                    <a:pt x="51" y="467"/>
                    <a:pt x="54" y="469"/>
                  </a:cubicBezTo>
                  <a:cubicBezTo>
                    <a:pt x="68" y="480"/>
                    <a:pt x="68" y="480"/>
                    <a:pt x="68" y="480"/>
                  </a:cubicBezTo>
                  <a:cubicBezTo>
                    <a:pt x="68" y="481"/>
                    <a:pt x="69" y="481"/>
                    <a:pt x="70" y="482"/>
                  </a:cubicBezTo>
                  <a:cubicBezTo>
                    <a:pt x="73" y="484"/>
                    <a:pt x="76" y="486"/>
                    <a:pt x="78" y="488"/>
                  </a:cubicBezTo>
                  <a:cubicBezTo>
                    <a:pt x="79" y="489"/>
                    <a:pt x="80" y="492"/>
                    <a:pt x="80" y="494"/>
                  </a:cubicBezTo>
                  <a:cubicBezTo>
                    <a:pt x="81" y="497"/>
                    <a:pt x="81" y="497"/>
                    <a:pt x="81" y="497"/>
                  </a:cubicBezTo>
                  <a:cubicBezTo>
                    <a:pt x="82" y="496"/>
                    <a:pt x="83" y="496"/>
                    <a:pt x="83" y="496"/>
                  </a:cubicBezTo>
                  <a:cubicBezTo>
                    <a:pt x="85" y="495"/>
                    <a:pt x="86" y="494"/>
                    <a:pt x="88" y="493"/>
                  </a:cubicBezTo>
                  <a:cubicBezTo>
                    <a:pt x="89" y="493"/>
                    <a:pt x="89" y="493"/>
                    <a:pt x="89" y="493"/>
                  </a:cubicBezTo>
                  <a:cubicBezTo>
                    <a:pt x="91" y="492"/>
                    <a:pt x="92" y="491"/>
                    <a:pt x="94" y="490"/>
                  </a:cubicBezTo>
                  <a:cubicBezTo>
                    <a:pt x="94" y="490"/>
                    <a:pt x="94" y="490"/>
                    <a:pt x="94" y="490"/>
                  </a:cubicBezTo>
                  <a:cubicBezTo>
                    <a:pt x="94" y="490"/>
                    <a:pt x="95" y="490"/>
                    <a:pt x="96" y="490"/>
                  </a:cubicBezTo>
                  <a:cubicBezTo>
                    <a:pt x="97" y="490"/>
                    <a:pt x="97" y="490"/>
                    <a:pt x="97" y="490"/>
                  </a:cubicBezTo>
                  <a:cubicBezTo>
                    <a:pt x="97" y="490"/>
                    <a:pt x="98" y="490"/>
                    <a:pt x="98" y="490"/>
                  </a:cubicBezTo>
                  <a:cubicBezTo>
                    <a:pt x="98" y="490"/>
                    <a:pt x="98" y="490"/>
                    <a:pt x="99" y="490"/>
                  </a:cubicBezTo>
                  <a:cubicBezTo>
                    <a:pt x="99" y="489"/>
                    <a:pt x="100" y="488"/>
                    <a:pt x="100" y="487"/>
                  </a:cubicBezTo>
                  <a:cubicBezTo>
                    <a:pt x="100" y="487"/>
                    <a:pt x="100" y="487"/>
                    <a:pt x="100" y="487"/>
                  </a:cubicBezTo>
                  <a:cubicBezTo>
                    <a:pt x="100" y="487"/>
                    <a:pt x="100" y="487"/>
                    <a:pt x="100" y="487"/>
                  </a:cubicBezTo>
                  <a:cubicBezTo>
                    <a:pt x="100" y="486"/>
                    <a:pt x="99" y="485"/>
                    <a:pt x="100" y="484"/>
                  </a:cubicBezTo>
                  <a:cubicBezTo>
                    <a:pt x="100" y="483"/>
                    <a:pt x="100" y="480"/>
                    <a:pt x="103" y="480"/>
                  </a:cubicBezTo>
                  <a:cubicBezTo>
                    <a:pt x="99" y="478"/>
                    <a:pt x="99" y="478"/>
                    <a:pt x="99" y="478"/>
                  </a:cubicBezTo>
                  <a:cubicBezTo>
                    <a:pt x="105" y="475"/>
                    <a:pt x="105" y="475"/>
                    <a:pt x="105" y="475"/>
                  </a:cubicBezTo>
                  <a:cubicBezTo>
                    <a:pt x="106" y="474"/>
                    <a:pt x="109" y="474"/>
                    <a:pt x="110" y="473"/>
                  </a:cubicBezTo>
                  <a:cubicBezTo>
                    <a:pt x="112" y="473"/>
                    <a:pt x="112" y="473"/>
                    <a:pt x="112" y="473"/>
                  </a:cubicBezTo>
                  <a:cubicBezTo>
                    <a:pt x="113" y="473"/>
                    <a:pt x="114" y="473"/>
                    <a:pt x="115" y="472"/>
                  </a:cubicBezTo>
                  <a:cubicBezTo>
                    <a:pt x="115" y="472"/>
                    <a:pt x="116" y="472"/>
                    <a:pt x="117" y="472"/>
                  </a:cubicBezTo>
                  <a:cubicBezTo>
                    <a:pt x="118" y="471"/>
                    <a:pt x="118" y="471"/>
                    <a:pt x="118" y="471"/>
                  </a:cubicBezTo>
                  <a:cubicBezTo>
                    <a:pt x="119" y="471"/>
                    <a:pt x="119" y="470"/>
                    <a:pt x="120" y="470"/>
                  </a:cubicBezTo>
                  <a:cubicBezTo>
                    <a:pt x="121" y="469"/>
                    <a:pt x="123" y="469"/>
                    <a:pt x="124" y="469"/>
                  </a:cubicBezTo>
                  <a:cubicBezTo>
                    <a:pt x="127" y="469"/>
                    <a:pt x="129" y="472"/>
                    <a:pt x="131" y="475"/>
                  </a:cubicBezTo>
                  <a:cubicBezTo>
                    <a:pt x="134" y="478"/>
                    <a:pt x="136" y="481"/>
                    <a:pt x="138" y="485"/>
                  </a:cubicBezTo>
                  <a:cubicBezTo>
                    <a:pt x="139" y="486"/>
                    <a:pt x="141" y="487"/>
                    <a:pt x="142" y="488"/>
                  </a:cubicBezTo>
                  <a:cubicBezTo>
                    <a:pt x="143" y="488"/>
                    <a:pt x="144" y="489"/>
                    <a:pt x="144" y="489"/>
                  </a:cubicBezTo>
                  <a:cubicBezTo>
                    <a:pt x="145" y="489"/>
                    <a:pt x="146" y="490"/>
                    <a:pt x="146" y="490"/>
                  </a:cubicBezTo>
                  <a:cubicBezTo>
                    <a:pt x="149" y="491"/>
                    <a:pt x="152" y="494"/>
                    <a:pt x="154" y="497"/>
                  </a:cubicBezTo>
                  <a:cubicBezTo>
                    <a:pt x="156" y="501"/>
                    <a:pt x="159" y="504"/>
                    <a:pt x="163" y="507"/>
                  </a:cubicBezTo>
                  <a:cubicBezTo>
                    <a:pt x="174" y="516"/>
                    <a:pt x="174" y="516"/>
                    <a:pt x="174" y="516"/>
                  </a:cubicBezTo>
                  <a:cubicBezTo>
                    <a:pt x="177" y="517"/>
                    <a:pt x="178" y="520"/>
                    <a:pt x="179" y="522"/>
                  </a:cubicBezTo>
                  <a:cubicBezTo>
                    <a:pt x="180" y="523"/>
                    <a:pt x="180" y="523"/>
                    <a:pt x="180" y="523"/>
                  </a:cubicBezTo>
                  <a:cubicBezTo>
                    <a:pt x="180" y="524"/>
                    <a:pt x="181" y="526"/>
                    <a:pt x="182" y="528"/>
                  </a:cubicBezTo>
                  <a:cubicBezTo>
                    <a:pt x="184" y="530"/>
                    <a:pt x="184" y="531"/>
                    <a:pt x="186" y="533"/>
                  </a:cubicBezTo>
                  <a:cubicBezTo>
                    <a:pt x="188" y="535"/>
                    <a:pt x="189" y="538"/>
                    <a:pt x="191" y="540"/>
                  </a:cubicBezTo>
                  <a:cubicBezTo>
                    <a:pt x="192" y="541"/>
                    <a:pt x="192" y="541"/>
                    <a:pt x="192" y="541"/>
                  </a:cubicBezTo>
                  <a:cubicBezTo>
                    <a:pt x="195" y="545"/>
                    <a:pt x="198" y="549"/>
                    <a:pt x="200" y="553"/>
                  </a:cubicBezTo>
                  <a:cubicBezTo>
                    <a:pt x="201" y="554"/>
                    <a:pt x="202" y="555"/>
                    <a:pt x="203" y="557"/>
                  </a:cubicBezTo>
                  <a:cubicBezTo>
                    <a:pt x="203" y="557"/>
                    <a:pt x="204" y="558"/>
                    <a:pt x="203" y="560"/>
                  </a:cubicBezTo>
                  <a:cubicBezTo>
                    <a:pt x="203" y="561"/>
                    <a:pt x="203" y="562"/>
                    <a:pt x="202" y="562"/>
                  </a:cubicBezTo>
                  <a:cubicBezTo>
                    <a:pt x="202" y="562"/>
                    <a:pt x="202" y="563"/>
                    <a:pt x="202" y="563"/>
                  </a:cubicBezTo>
                  <a:cubicBezTo>
                    <a:pt x="202" y="563"/>
                    <a:pt x="202" y="563"/>
                    <a:pt x="202" y="563"/>
                  </a:cubicBezTo>
                  <a:cubicBezTo>
                    <a:pt x="202" y="563"/>
                    <a:pt x="202" y="563"/>
                    <a:pt x="202" y="563"/>
                  </a:cubicBezTo>
                  <a:cubicBezTo>
                    <a:pt x="203" y="564"/>
                    <a:pt x="204" y="565"/>
                    <a:pt x="204" y="566"/>
                  </a:cubicBezTo>
                  <a:cubicBezTo>
                    <a:pt x="205" y="567"/>
                    <a:pt x="205" y="567"/>
                    <a:pt x="205" y="567"/>
                  </a:cubicBezTo>
                  <a:cubicBezTo>
                    <a:pt x="205" y="567"/>
                    <a:pt x="206" y="568"/>
                    <a:pt x="206" y="568"/>
                  </a:cubicBezTo>
                  <a:cubicBezTo>
                    <a:pt x="207" y="570"/>
                    <a:pt x="208" y="571"/>
                    <a:pt x="210" y="572"/>
                  </a:cubicBezTo>
                  <a:cubicBezTo>
                    <a:pt x="210" y="573"/>
                    <a:pt x="210" y="573"/>
                    <a:pt x="210" y="573"/>
                  </a:cubicBezTo>
                  <a:cubicBezTo>
                    <a:pt x="211" y="574"/>
                    <a:pt x="211" y="574"/>
                    <a:pt x="211" y="575"/>
                  </a:cubicBezTo>
                  <a:cubicBezTo>
                    <a:pt x="212" y="575"/>
                    <a:pt x="212" y="576"/>
                    <a:pt x="212" y="576"/>
                  </a:cubicBezTo>
                  <a:cubicBezTo>
                    <a:pt x="213" y="576"/>
                    <a:pt x="213" y="577"/>
                    <a:pt x="214" y="577"/>
                  </a:cubicBezTo>
                  <a:cubicBezTo>
                    <a:pt x="216" y="577"/>
                    <a:pt x="218" y="577"/>
                    <a:pt x="220" y="578"/>
                  </a:cubicBezTo>
                  <a:cubicBezTo>
                    <a:pt x="220" y="578"/>
                    <a:pt x="220" y="578"/>
                    <a:pt x="220" y="578"/>
                  </a:cubicBezTo>
                  <a:cubicBezTo>
                    <a:pt x="222" y="579"/>
                    <a:pt x="224" y="580"/>
                    <a:pt x="226" y="581"/>
                  </a:cubicBezTo>
                  <a:cubicBezTo>
                    <a:pt x="227" y="581"/>
                    <a:pt x="228" y="582"/>
                    <a:pt x="230" y="582"/>
                  </a:cubicBezTo>
                  <a:cubicBezTo>
                    <a:pt x="230" y="584"/>
                    <a:pt x="230" y="584"/>
                    <a:pt x="230" y="584"/>
                  </a:cubicBezTo>
                  <a:cubicBezTo>
                    <a:pt x="230" y="583"/>
                    <a:pt x="230" y="583"/>
                    <a:pt x="230" y="583"/>
                  </a:cubicBezTo>
                  <a:cubicBezTo>
                    <a:pt x="232" y="583"/>
                    <a:pt x="234" y="584"/>
                    <a:pt x="236" y="585"/>
                  </a:cubicBezTo>
                  <a:cubicBezTo>
                    <a:pt x="236" y="585"/>
                    <a:pt x="237" y="585"/>
                    <a:pt x="238" y="585"/>
                  </a:cubicBezTo>
                  <a:cubicBezTo>
                    <a:pt x="238" y="586"/>
                    <a:pt x="238" y="586"/>
                    <a:pt x="238" y="586"/>
                  </a:cubicBezTo>
                  <a:cubicBezTo>
                    <a:pt x="245" y="588"/>
                    <a:pt x="251" y="591"/>
                    <a:pt x="253" y="595"/>
                  </a:cubicBezTo>
                  <a:cubicBezTo>
                    <a:pt x="256" y="598"/>
                    <a:pt x="255" y="601"/>
                    <a:pt x="255" y="603"/>
                  </a:cubicBezTo>
                  <a:cubicBezTo>
                    <a:pt x="254" y="606"/>
                    <a:pt x="253" y="607"/>
                    <a:pt x="253" y="609"/>
                  </a:cubicBezTo>
                  <a:cubicBezTo>
                    <a:pt x="253" y="609"/>
                    <a:pt x="253" y="609"/>
                    <a:pt x="253" y="609"/>
                  </a:cubicBezTo>
                  <a:cubicBezTo>
                    <a:pt x="254" y="610"/>
                    <a:pt x="253" y="612"/>
                    <a:pt x="253" y="612"/>
                  </a:cubicBezTo>
                  <a:cubicBezTo>
                    <a:pt x="253" y="612"/>
                    <a:pt x="253" y="612"/>
                    <a:pt x="253" y="612"/>
                  </a:cubicBezTo>
                  <a:cubicBezTo>
                    <a:pt x="253" y="613"/>
                    <a:pt x="254" y="614"/>
                    <a:pt x="254" y="615"/>
                  </a:cubicBezTo>
                  <a:cubicBezTo>
                    <a:pt x="255" y="618"/>
                    <a:pt x="256" y="620"/>
                    <a:pt x="256" y="622"/>
                  </a:cubicBezTo>
                  <a:cubicBezTo>
                    <a:pt x="256" y="622"/>
                    <a:pt x="256" y="622"/>
                    <a:pt x="257" y="621"/>
                  </a:cubicBezTo>
                  <a:cubicBezTo>
                    <a:pt x="258" y="618"/>
                    <a:pt x="257" y="615"/>
                    <a:pt x="257" y="611"/>
                  </a:cubicBezTo>
                  <a:cubicBezTo>
                    <a:pt x="257" y="611"/>
                    <a:pt x="257" y="612"/>
                    <a:pt x="258" y="612"/>
                  </a:cubicBezTo>
                  <a:cubicBezTo>
                    <a:pt x="259" y="614"/>
                    <a:pt x="260" y="616"/>
                    <a:pt x="262" y="616"/>
                  </a:cubicBezTo>
                  <a:cubicBezTo>
                    <a:pt x="263" y="617"/>
                    <a:pt x="263" y="617"/>
                    <a:pt x="263" y="617"/>
                  </a:cubicBezTo>
                  <a:cubicBezTo>
                    <a:pt x="264" y="616"/>
                    <a:pt x="264" y="616"/>
                    <a:pt x="264" y="616"/>
                  </a:cubicBezTo>
                  <a:cubicBezTo>
                    <a:pt x="264" y="616"/>
                    <a:pt x="264" y="616"/>
                    <a:pt x="264" y="616"/>
                  </a:cubicBezTo>
                  <a:cubicBezTo>
                    <a:pt x="262" y="618"/>
                    <a:pt x="261" y="618"/>
                    <a:pt x="259" y="620"/>
                  </a:cubicBezTo>
                  <a:cubicBezTo>
                    <a:pt x="258" y="622"/>
                    <a:pt x="257" y="623"/>
                    <a:pt x="256" y="625"/>
                  </a:cubicBezTo>
                  <a:cubicBezTo>
                    <a:pt x="256" y="625"/>
                    <a:pt x="256" y="625"/>
                    <a:pt x="256" y="625"/>
                  </a:cubicBezTo>
                  <a:cubicBezTo>
                    <a:pt x="256" y="626"/>
                    <a:pt x="256" y="626"/>
                    <a:pt x="255" y="626"/>
                  </a:cubicBezTo>
                  <a:cubicBezTo>
                    <a:pt x="255" y="626"/>
                    <a:pt x="255" y="627"/>
                    <a:pt x="255" y="627"/>
                  </a:cubicBezTo>
                  <a:cubicBezTo>
                    <a:pt x="254" y="628"/>
                    <a:pt x="254" y="630"/>
                    <a:pt x="253" y="631"/>
                  </a:cubicBezTo>
                  <a:cubicBezTo>
                    <a:pt x="253" y="631"/>
                    <a:pt x="253" y="631"/>
                    <a:pt x="253" y="631"/>
                  </a:cubicBezTo>
                  <a:cubicBezTo>
                    <a:pt x="253" y="631"/>
                    <a:pt x="253" y="631"/>
                    <a:pt x="253" y="631"/>
                  </a:cubicBezTo>
                  <a:cubicBezTo>
                    <a:pt x="253" y="631"/>
                    <a:pt x="253" y="631"/>
                    <a:pt x="253" y="631"/>
                  </a:cubicBezTo>
                  <a:cubicBezTo>
                    <a:pt x="253" y="631"/>
                    <a:pt x="253" y="631"/>
                    <a:pt x="253" y="631"/>
                  </a:cubicBezTo>
                  <a:cubicBezTo>
                    <a:pt x="253" y="631"/>
                    <a:pt x="253" y="631"/>
                    <a:pt x="254" y="631"/>
                  </a:cubicBezTo>
                  <a:cubicBezTo>
                    <a:pt x="254" y="631"/>
                    <a:pt x="254" y="631"/>
                    <a:pt x="254" y="631"/>
                  </a:cubicBezTo>
                  <a:cubicBezTo>
                    <a:pt x="254" y="631"/>
                    <a:pt x="255" y="631"/>
                    <a:pt x="256" y="631"/>
                  </a:cubicBezTo>
                  <a:cubicBezTo>
                    <a:pt x="257" y="632"/>
                    <a:pt x="259" y="632"/>
                    <a:pt x="260" y="631"/>
                  </a:cubicBezTo>
                  <a:cubicBezTo>
                    <a:pt x="260" y="631"/>
                    <a:pt x="261" y="631"/>
                    <a:pt x="261" y="631"/>
                  </a:cubicBezTo>
                  <a:cubicBezTo>
                    <a:pt x="259" y="632"/>
                    <a:pt x="258" y="631"/>
                    <a:pt x="256" y="632"/>
                  </a:cubicBezTo>
                  <a:cubicBezTo>
                    <a:pt x="255" y="632"/>
                    <a:pt x="255" y="633"/>
                    <a:pt x="254" y="634"/>
                  </a:cubicBezTo>
                  <a:cubicBezTo>
                    <a:pt x="253" y="634"/>
                    <a:pt x="252" y="634"/>
                    <a:pt x="252" y="634"/>
                  </a:cubicBezTo>
                  <a:cubicBezTo>
                    <a:pt x="252" y="634"/>
                    <a:pt x="252" y="634"/>
                    <a:pt x="252" y="634"/>
                  </a:cubicBezTo>
                  <a:cubicBezTo>
                    <a:pt x="251" y="634"/>
                    <a:pt x="251" y="634"/>
                    <a:pt x="251" y="634"/>
                  </a:cubicBezTo>
                  <a:cubicBezTo>
                    <a:pt x="251" y="634"/>
                    <a:pt x="251" y="633"/>
                    <a:pt x="251" y="634"/>
                  </a:cubicBezTo>
                  <a:cubicBezTo>
                    <a:pt x="250" y="634"/>
                    <a:pt x="249" y="635"/>
                    <a:pt x="249" y="636"/>
                  </a:cubicBezTo>
                  <a:cubicBezTo>
                    <a:pt x="249" y="636"/>
                    <a:pt x="250" y="635"/>
                    <a:pt x="251" y="635"/>
                  </a:cubicBezTo>
                  <a:cubicBezTo>
                    <a:pt x="250" y="636"/>
                    <a:pt x="248" y="638"/>
                    <a:pt x="248" y="639"/>
                  </a:cubicBezTo>
                  <a:cubicBezTo>
                    <a:pt x="248" y="641"/>
                    <a:pt x="253" y="643"/>
                    <a:pt x="255" y="643"/>
                  </a:cubicBezTo>
                  <a:cubicBezTo>
                    <a:pt x="254" y="643"/>
                    <a:pt x="254" y="643"/>
                    <a:pt x="253" y="643"/>
                  </a:cubicBezTo>
                  <a:cubicBezTo>
                    <a:pt x="253" y="643"/>
                    <a:pt x="253" y="643"/>
                    <a:pt x="253" y="643"/>
                  </a:cubicBezTo>
                  <a:cubicBezTo>
                    <a:pt x="252" y="643"/>
                    <a:pt x="251" y="642"/>
                    <a:pt x="250" y="642"/>
                  </a:cubicBezTo>
                  <a:cubicBezTo>
                    <a:pt x="249" y="641"/>
                    <a:pt x="248" y="641"/>
                    <a:pt x="247" y="641"/>
                  </a:cubicBezTo>
                  <a:cubicBezTo>
                    <a:pt x="247" y="641"/>
                    <a:pt x="247" y="641"/>
                    <a:pt x="247" y="641"/>
                  </a:cubicBezTo>
                  <a:cubicBezTo>
                    <a:pt x="247" y="641"/>
                    <a:pt x="246" y="641"/>
                    <a:pt x="246" y="641"/>
                  </a:cubicBezTo>
                  <a:cubicBezTo>
                    <a:pt x="246" y="641"/>
                    <a:pt x="246" y="641"/>
                    <a:pt x="246" y="641"/>
                  </a:cubicBezTo>
                  <a:cubicBezTo>
                    <a:pt x="246" y="641"/>
                    <a:pt x="246" y="641"/>
                    <a:pt x="246" y="641"/>
                  </a:cubicBezTo>
                  <a:cubicBezTo>
                    <a:pt x="246" y="641"/>
                    <a:pt x="245" y="641"/>
                    <a:pt x="245" y="641"/>
                  </a:cubicBezTo>
                  <a:cubicBezTo>
                    <a:pt x="245" y="641"/>
                    <a:pt x="245" y="641"/>
                    <a:pt x="245" y="642"/>
                  </a:cubicBezTo>
                  <a:cubicBezTo>
                    <a:pt x="244" y="642"/>
                    <a:pt x="244" y="642"/>
                    <a:pt x="244" y="643"/>
                  </a:cubicBezTo>
                  <a:cubicBezTo>
                    <a:pt x="245" y="645"/>
                    <a:pt x="249" y="647"/>
                    <a:pt x="251" y="647"/>
                  </a:cubicBezTo>
                  <a:cubicBezTo>
                    <a:pt x="252" y="647"/>
                    <a:pt x="252" y="647"/>
                    <a:pt x="252" y="647"/>
                  </a:cubicBezTo>
                  <a:cubicBezTo>
                    <a:pt x="252" y="647"/>
                    <a:pt x="252" y="647"/>
                    <a:pt x="252" y="647"/>
                  </a:cubicBezTo>
                  <a:cubicBezTo>
                    <a:pt x="252" y="647"/>
                    <a:pt x="252" y="647"/>
                    <a:pt x="252" y="647"/>
                  </a:cubicBezTo>
                  <a:cubicBezTo>
                    <a:pt x="252" y="647"/>
                    <a:pt x="253" y="647"/>
                    <a:pt x="253" y="647"/>
                  </a:cubicBezTo>
                  <a:cubicBezTo>
                    <a:pt x="250" y="649"/>
                    <a:pt x="250" y="650"/>
                    <a:pt x="252" y="653"/>
                  </a:cubicBezTo>
                  <a:cubicBezTo>
                    <a:pt x="250" y="652"/>
                    <a:pt x="248" y="649"/>
                    <a:pt x="247" y="647"/>
                  </a:cubicBezTo>
                  <a:cubicBezTo>
                    <a:pt x="246" y="647"/>
                    <a:pt x="246" y="647"/>
                    <a:pt x="246" y="646"/>
                  </a:cubicBezTo>
                  <a:cubicBezTo>
                    <a:pt x="245" y="646"/>
                    <a:pt x="245" y="645"/>
                    <a:pt x="245" y="645"/>
                  </a:cubicBezTo>
                  <a:cubicBezTo>
                    <a:pt x="244" y="645"/>
                    <a:pt x="244" y="644"/>
                    <a:pt x="244" y="644"/>
                  </a:cubicBezTo>
                  <a:cubicBezTo>
                    <a:pt x="244" y="644"/>
                    <a:pt x="244" y="644"/>
                    <a:pt x="244" y="644"/>
                  </a:cubicBezTo>
                  <a:cubicBezTo>
                    <a:pt x="243" y="643"/>
                    <a:pt x="242" y="643"/>
                    <a:pt x="242" y="646"/>
                  </a:cubicBezTo>
                  <a:cubicBezTo>
                    <a:pt x="242" y="647"/>
                    <a:pt x="242" y="647"/>
                    <a:pt x="243" y="648"/>
                  </a:cubicBezTo>
                  <a:cubicBezTo>
                    <a:pt x="243" y="648"/>
                    <a:pt x="243" y="648"/>
                    <a:pt x="243" y="648"/>
                  </a:cubicBezTo>
                  <a:cubicBezTo>
                    <a:pt x="243" y="649"/>
                    <a:pt x="242" y="649"/>
                    <a:pt x="242" y="649"/>
                  </a:cubicBezTo>
                  <a:cubicBezTo>
                    <a:pt x="239" y="649"/>
                    <a:pt x="235" y="651"/>
                    <a:pt x="236" y="654"/>
                  </a:cubicBezTo>
                  <a:cubicBezTo>
                    <a:pt x="236" y="656"/>
                    <a:pt x="241" y="656"/>
                    <a:pt x="243" y="656"/>
                  </a:cubicBezTo>
                  <a:cubicBezTo>
                    <a:pt x="244" y="656"/>
                    <a:pt x="244" y="656"/>
                    <a:pt x="246" y="654"/>
                  </a:cubicBezTo>
                  <a:cubicBezTo>
                    <a:pt x="246" y="653"/>
                    <a:pt x="247" y="653"/>
                    <a:pt x="247" y="653"/>
                  </a:cubicBezTo>
                  <a:cubicBezTo>
                    <a:pt x="247" y="654"/>
                    <a:pt x="246" y="654"/>
                    <a:pt x="246" y="655"/>
                  </a:cubicBezTo>
                  <a:cubicBezTo>
                    <a:pt x="246" y="655"/>
                    <a:pt x="246" y="655"/>
                    <a:pt x="246" y="655"/>
                  </a:cubicBezTo>
                  <a:cubicBezTo>
                    <a:pt x="246" y="655"/>
                    <a:pt x="246" y="655"/>
                    <a:pt x="246" y="655"/>
                  </a:cubicBezTo>
                  <a:cubicBezTo>
                    <a:pt x="246" y="656"/>
                    <a:pt x="246" y="656"/>
                    <a:pt x="246" y="656"/>
                  </a:cubicBezTo>
                  <a:cubicBezTo>
                    <a:pt x="246" y="656"/>
                    <a:pt x="246" y="656"/>
                    <a:pt x="246" y="656"/>
                  </a:cubicBezTo>
                  <a:cubicBezTo>
                    <a:pt x="246" y="656"/>
                    <a:pt x="246" y="656"/>
                    <a:pt x="246" y="656"/>
                  </a:cubicBezTo>
                  <a:cubicBezTo>
                    <a:pt x="246" y="656"/>
                    <a:pt x="246" y="656"/>
                    <a:pt x="246" y="656"/>
                  </a:cubicBezTo>
                  <a:cubicBezTo>
                    <a:pt x="246" y="656"/>
                    <a:pt x="246" y="656"/>
                    <a:pt x="247" y="656"/>
                  </a:cubicBezTo>
                  <a:cubicBezTo>
                    <a:pt x="247" y="657"/>
                    <a:pt x="247" y="657"/>
                    <a:pt x="247" y="657"/>
                  </a:cubicBezTo>
                  <a:cubicBezTo>
                    <a:pt x="247" y="657"/>
                    <a:pt x="248" y="659"/>
                    <a:pt x="248" y="660"/>
                  </a:cubicBezTo>
                  <a:cubicBezTo>
                    <a:pt x="248" y="660"/>
                    <a:pt x="249" y="660"/>
                    <a:pt x="250" y="660"/>
                  </a:cubicBezTo>
                  <a:cubicBezTo>
                    <a:pt x="250" y="660"/>
                    <a:pt x="250" y="661"/>
                    <a:pt x="250" y="661"/>
                  </a:cubicBezTo>
                  <a:cubicBezTo>
                    <a:pt x="250" y="662"/>
                    <a:pt x="250" y="662"/>
                    <a:pt x="250" y="662"/>
                  </a:cubicBezTo>
                  <a:cubicBezTo>
                    <a:pt x="250" y="662"/>
                    <a:pt x="250" y="662"/>
                    <a:pt x="251" y="662"/>
                  </a:cubicBezTo>
                  <a:cubicBezTo>
                    <a:pt x="251" y="662"/>
                    <a:pt x="251" y="663"/>
                    <a:pt x="251" y="663"/>
                  </a:cubicBezTo>
                  <a:cubicBezTo>
                    <a:pt x="251" y="663"/>
                    <a:pt x="251" y="663"/>
                    <a:pt x="251" y="663"/>
                  </a:cubicBezTo>
                  <a:cubicBezTo>
                    <a:pt x="251" y="663"/>
                    <a:pt x="251" y="664"/>
                    <a:pt x="251" y="664"/>
                  </a:cubicBezTo>
                  <a:cubicBezTo>
                    <a:pt x="251" y="664"/>
                    <a:pt x="251" y="663"/>
                    <a:pt x="251" y="663"/>
                  </a:cubicBezTo>
                  <a:cubicBezTo>
                    <a:pt x="251" y="663"/>
                    <a:pt x="251" y="664"/>
                    <a:pt x="251" y="664"/>
                  </a:cubicBezTo>
                  <a:cubicBezTo>
                    <a:pt x="251" y="665"/>
                    <a:pt x="251" y="666"/>
                    <a:pt x="252" y="667"/>
                  </a:cubicBezTo>
                  <a:cubicBezTo>
                    <a:pt x="252" y="667"/>
                    <a:pt x="252" y="667"/>
                    <a:pt x="252" y="667"/>
                  </a:cubicBezTo>
                  <a:cubicBezTo>
                    <a:pt x="252" y="667"/>
                    <a:pt x="252" y="668"/>
                    <a:pt x="253" y="668"/>
                  </a:cubicBezTo>
                  <a:cubicBezTo>
                    <a:pt x="253" y="668"/>
                    <a:pt x="253" y="668"/>
                    <a:pt x="254" y="669"/>
                  </a:cubicBezTo>
                  <a:cubicBezTo>
                    <a:pt x="254" y="669"/>
                    <a:pt x="254" y="669"/>
                    <a:pt x="254" y="669"/>
                  </a:cubicBezTo>
                  <a:cubicBezTo>
                    <a:pt x="257" y="671"/>
                    <a:pt x="259" y="673"/>
                    <a:pt x="262" y="675"/>
                  </a:cubicBezTo>
                  <a:cubicBezTo>
                    <a:pt x="262" y="675"/>
                    <a:pt x="262" y="676"/>
                    <a:pt x="263" y="676"/>
                  </a:cubicBezTo>
                  <a:cubicBezTo>
                    <a:pt x="263" y="676"/>
                    <a:pt x="263" y="676"/>
                    <a:pt x="263" y="676"/>
                  </a:cubicBezTo>
                  <a:cubicBezTo>
                    <a:pt x="265" y="677"/>
                    <a:pt x="268" y="679"/>
                    <a:pt x="270" y="681"/>
                  </a:cubicBezTo>
                  <a:cubicBezTo>
                    <a:pt x="270" y="681"/>
                    <a:pt x="270" y="680"/>
                    <a:pt x="270" y="680"/>
                  </a:cubicBezTo>
                  <a:cubicBezTo>
                    <a:pt x="270" y="677"/>
                    <a:pt x="270" y="675"/>
                    <a:pt x="273" y="673"/>
                  </a:cubicBezTo>
                  <a:cubicBezTo>
                    <a:pt x="273" y="672"/>
                    <a:pt x="274" y="672"/>
                    <a:pt x="275" y="672"/>
                  </a:cubicBezTo>
                  <a:cubicBezTo>
                    <a:pt x="275" y="672"/>
                    <a:pt x="275" y="672"/>
                    <a:pt x="275" y="672"/>
                  </a:cubicBezTo>
                  <a:cubicBezTo>
                    <a:pt x="275" y="671"/>
                    <a:pt x="275" y="671"/>
                    <a:pt x="275" y="671"/>
                  </a:cubicBezTo>
                  <a:cubicBezTo>
                    <a:pt x="275" y="671"/>
                    <a:pt x="275" y="671"/>
                    <a:pt x="275" y="671"/>
                  </a:cubicBezTo>
                  <a:cubicBezTo>
                    <a:pt x="275" y="671"/>
                    <a:pt x="274" y="670"/>
                    <a:pt x="275" y="670"/>
                  </a:cubicBezTo>
                  <a:cubicBezTo>
                    <a:pt x="275" y="670"/>
                    <a:pt x="275" y="670"/>
                    <a:pt x="275" y="670"/>
                  </a:cubicBezTo>
                  <a:cubicBezTo>
                    <a:pt x="277" y="671"/>
                    <a:pt x="277" y="669"/>
                    <a:pt x="276" y="668"/>
                  </a:cubicBezTo>
                  <a:cubicBezTo>
                    <a:pt x="276" y="668"/>
                    <a:pt x="276" y="668"/>
                    <a:pt x="276" y="668"/>
                  </a:cubicBezTo>
                  <a:cubicBezTo>
                    <a:pt x="276" y="667"/>
                    <a:pt x="276" y="667"/>
                    <a:pt x="276" y="667"/>
                  </a:cubicBezTo>
                  <a:cubicBezTo>
                    <a:pt x="277" y="667"/>
                    <a:pt x="277" y="668"/>
                    <a:pt x="278" y="668"/>
                  </a:cubicBezTo>
                  <a:cubicBezTo>
                    <a:pt x="278" y="668"/>
                    <a:pt x="278" y="668"/>
                    <a:pt x="278" y="668"/>
                  </a:cubicBezTo>
                  <a:cubicBezTo>
                    <a:pt x="278" y="668"/>
                    <a:pt x="279" y="668"/>
                    <a:pt x="279" y="668"/>
                  </a:cubicBezTo>
                  <a:cubicBezTo>
                    <a:pt x="280" y="668"/>
                    <a:pt x="281" y="666"/>
                    <a:pt x="281" y="666"/>
                  </a:cubicBezTo>
                  <a:cubicBezTo>
                    <a:pt x="282" y="665"/>
                    <a:pt x="283" y="663"/>
                    <a:pt x="285" y="662"/>
                  </a:cubicBezTo>
                  <a:cubicBezTo>
                    <a:pt x="284" y="664"/>
                    <a:pt x="284" y="665"/>
                    <a:pt x="283" y="667"/>
                  </a:cubicBezTo>
                  <a:cubicBezTo>
                    <a:pt x="284" y="667"/>
                    <a:pt x="285" y="667"/>
                    <a:pt x="286" y="668"/>
                  </a:cubicBezTo>
                  <a:cubicBezTo>
                    <a:pt x="284" y="668"/>
                    <a:pt x="281" y="669"/>
                    <a:pt x="280" y="671"/>
                  </a:cubicBezTo>
                  <a:cubicBezTo>
                    <a:pt x="280" y="671"/>
                    <a:pt x="281" y="671"/>
                    <a:pt x="281" y="671"/>
                  </a:cubicBezTo>
                  <a:cubicBezTo>
                    <a:pt x="281" y="672"/>
                    <a:pt x="281" y="673"/>
                    <a:pt x="281" y="673"/>
                  </a:cubicBezTo>
                  <a:cubicBezTo>
                    <a:pt x="281" y="674"/>
                    <a:pt x="281" y="674"/>
                    <a:pt x="281" y="674"/>
                  </a:cubicBezTo>
                  <a:cubicBezTo>
                    <a:pt x="280" y="675"/>
                    <a:pt x="280" y="675"/>
                    <a:pt x="280" y="675"/>
                  </a:cubicBezTo>
                  <a:cubicBezTo>
                    <a:pt x="279" y="675"/>
                    <a:pt x="279" y="674"/>
                    <a:pt x="278" y="673"/>
                  </a:cubicBezTo>
                  <a:cubicBezTo>
                    <a:pt x="277" y="673"/>
                    <a:pt x="276" y="673"/>
                    <a:pt x="275" y="673"/>
                  </a:cubicBezTo>
                  <a:cubicBezTo>
                    <a:pt x="275" y="673"/>
                    <a:pt x="275" y="673"/>
                    <a:pt x="274" y="673"/>
                  </a:cubicBezTo>
                  <a:cubicBezTo>
                    <a:pt x="274" y="673"/>
                    <a:pt x="274" y="673"/>
                    <a:pt x="274" y="673"/>
                  </a:cubicBezTo>
                  <a:cubicBezTo>
                    <a:pt x="274" y="673"/>
                    <a:pt x="274" y="673"/>
                    <a:pt x="274" y="673"/>
                  </a:cubicBezTo>
                  <a:cubicBezTo>
                    <a:pt x="274" y="674"/>
                    <a:pt x="274" y="674"/>
                    <a:pt x="274" y="674"/>
                  </a:cubicBezTo>
                  <a:cubicBezTo>
                    <a:pt x="274" y="675"/>
                    <a:pt x="274" y="676"/>
                    <a:pt x="274" y="677"/>
                  </a:cubicBezTo>
                  <a:cubicBezTo>
                    <a:pt x="274" y="677"/>
                    <a:pt x="274" y="678"/>
                    <a:pt x="274" y="678"/>
                  </a:cubicBezTo>
                  <a:cubicBezTo>
                    <a:pt x="274" y="679"/>
                    <a:pt x="274" y="679"/>
                    <a:pt x="274" y="679"/>
                  </a:cubicBezTo>
                  <a:cubicBezTo>
                    <a:pt x="273" y="680"/>
                    <a:pt x="273" y="680"/>
                    <a:pt x="272" y="680"/>
                  </a:cubicBezTo>
                  <a:cubicBezTo>
                    <a:pt x="272" y="681"/>
                    <a:pt x="272" y="681"/>
                    <a:pt x="272" y="681"/>
                  </a:cubicBezTo>
                  <a:cubicBezTo>
                    <a:pt x="272" y="681"/>
                    <a:pt x="272" y="681"/>
                    <a:pt x="272" y="682"/>
                  </a:cubicBezTo>
                  <a:cubicBezTo>
                    <a:pt x="272" y="682"/>
                    <a:pt x="272" y="682"/>
                    <a:pt x="272" y="683"/>
                  </a:cubicBezTo>
                  <a:cubicBezTo>
                    <a:pt x="271" y="684"/>
                    <a:pt x="271" y="684"/>
                    <a:pt x="272" y="685"/>
                  </a:cubicBezTo>
                  <a:cubicBezTo>
                    <a:pt x="272" y="685"/>
                    <a:pt x="273" y="685"/>
                    <a:pt x="273" y="685"/>
                  </a:cubicBezTo>
                  <a:cubicBezTo>
                    <a:pt x="273" y="685"/>
                    <a:pt x="273" y="685"/>
                    <a:pt x="273" y="685"/>
                  </a:cubicBezTo>
                  <a:cubicBezTo>
                    <a:pt x="274" y="686"/>
                    <a:pt x="275" y="685"/>
                    <a:pt x="275" y="684"/>
                  </a:cubicBezTo>
                  <a:cubicBezTo>
                    <a:pt x="275" y="684"/>
                    <a:pt x="275" y="684"/>
                    <a:pt x="276" y="684"/>
                  </a:cubicBezTo>
                  <a:cubicBezTo>
                    <a:pt x="276" y="684"/>
                    <a:pt x="277" y="683"/>
                    <a:pt x="278" y="682"/>
                  </a:cubicBezTo>
                  <a:cubicBezTo>
                    <a:pt x="278" y="682"/>
                    <a:pt x="278" y="682"/>
                    <a:pt x="278" y="682"/>
                  </a:cubicBezTo>
                  <a:cubicBezTo>
                    <a:pt x="277" y="683"/>
                    <a:pt x="276" y="684"/>
                    <a:pt x="276" y="684"/>
                  </a:cubicBezTo>
                  <a:cubicBezTo>
                    <a:pt x="275" y="685"/>
                    <a:pt x="274" y="685"/>
                    <a:pt x="274" y="686"/>
                  </a:cubicBezTo>
                  <a:cubicBezTo>
                    <a:pt x="274" y="686"/>
                    <a:pt x="274" y="686"/>
                    <a:pt x="274" y="687"/>
                  </a:cubicBezTo>
                  <a:cubicBezTo>
                    <a:pt x="273" y="687"/>
                    <a:pt x="273" y="687"/>
                    <a:pt x="273" y="687"/>
                  </a:cubicBezTo>
                  <a:cubicBezTo>
                    <a:pt x="273" y="687"/>
                    <a:pt x="273" y="687"/>
                    <a:pt x="273" y="688"/>
                  </a:cubicBezTo>
                  <a:cubicBezTo>
                    <a:pt x="273" y="688"/>
                    <a:pt x="273" y="688"/>
                    <a:pt x="273" y="689"/>
                  </a:cubicBezTo>
                  <a:cubicBezTo>
                    <a:pt x="273" y="689"/>
                    <a:pt x="274" y="690"/>
                    <a:pt x="274" y="691"/>
                  </a:cubicBezTo>
                  <a:cubicBezTo>
                    <a:pt x="275" y="691"/>
                    <a:pt x="275" y="691"/>
                    <a:pt x="275" y="691"/>
                  </a:cubicBezTo>
                  <a:cubicBezTo>
                    <a:pt x="276" y="692"/>
                    <a:pt x="277" y="693"/>
                    <a:pt x="278" y="693"/>
                  </a:cubicBezTo>
                  <a:cubicBezTo>
                    <a:pt x="279" y="693"/>
                    <a:pt x="280" y="693"/>
                    <a:pt x="281" y="693"/>
                  </a:cubicBezTo>
                  <a:cubicBezTo>
                    <a:pt x="281" y="693"/>
                    <a:pt x="281" y="693"/>
                    <a:pt x="281" y="693"/>
                  </a:cubicBezTo>
                  <a:cubicBezTo>
                    <a:pt x="281" y="693"/>
                    <a:pt x="281" y="692"/>
                    <a:pt x="281" y="692"/>
                  </a:cubicBezTo>
                  <a:cubicBezTo>
                    <a:pt x="281" y="692"/>
                    <a:pt x="281" y="692"/>
                    <a:pt x="282" y="692"/>
                  </a:cubicBezTo>
                  <a:cubicBezTo>
                    <a:pt x="282" y="691"/>
                    <a:pt x="282" y="691"/>
                    <a:pt x="282" y="691"/>
                  </a:cubicBezTo>
                  <a:cubicBezTo>
                    <a:pt x="282" y="691"/>
                    <a:pt x="283" y="692"/>
                    <a:pt x="283" y="693"/>
                  </a:cubicBezTo>
                  <a:cubicBezTo>
                    <a:pt x="284" y="693"/>
                    <a:pt x="284" y="694"/>
                    <a:pt x="285" y="694"/>
                  </a:cubicBezTo>
                  <a:cubicBezTo>
                    <a:pt x="284" y="695"/>
                    <a:pt x="283" y="695"/>
                    <a:pt x="283" y="695"/>
                  </a:cubicBezTo>
                  <a:cubicBezTo>
                    <a:pt x="282" y="695"/>
                    <a:pt x="282" y="696"/>
                    <a:pt x="282" y="696"/>
                  </a:cubicBezTo>
                  <a:cubicBezTo>
                    <a:pt x="282" y="696"/>
                    <a:pt x="282" y="696"/>
                    <a:pt x="282" y="696"/>
                  </a:cubicBezTo>
                  <a:cubicBezTo>
                    <a:pt x="282" y="696"/>
                    <a:pt x="282" y="696"/>
                    <a:pt x="282" y="697"/>
                  </a:cubicBezTo>
                  <a:cubicBezTo>
                    <a:pt x="282" y="697"/>
                    <a:pt x="282" y="697"/>
                    <a:pt x="282" y="698"/>
                  </a:cubicBezTo>
                  <a:cubicBezTo>
                    <a:pt x="282" y="698"/>
                    <a:pt x="282" y="698"/>
                    <a:pt x="282" y="698"/>
                  </a:cubicBezTo>
                  <a:cubicBezTo>
                    <a:pt x="281" y="697"/>
                    <a:pt x="280" y="697"/>
                    <a:pt x="280" y="697"/>
                  </a:cubicBezTo>
                  <a:cubicBezTo>
                    <a:pt x="280" y="697"/>
                    <a:pt x="280" y="697"/>
                    <a:pt x="280" y="697"/>
                  </a:cubicBezTo>
                  <a:cubicBezTo>
                    <a:pt x="280" y="697"/>
                    <a:pt x="280" y="697"/>
                    <a:pt x="280" y="697"/>
                  </a:cubicBezTo>
                  <a:cubicBezTo>
                    <a:pt x="281" y="698"/>
                    <a:pt x="283" y="698"/>
                    <a:pt x="284" y="699"/>
                  </a:cubicBezTo>
                  <a:cubicBezTo>
                    <a:pt x="285" y="699"/>
                    <a:pt x="285" y="699"/>
                    <a:pt x="285" y="699"/>
                  </a:cubicBezTo>
                  <a:cubicBezTo>
                    <a:pt x="285" y="700"/>
                    <a:pt x="286" y="700"/>
                    <a:pt x="286" y="700"/>
                  </a:cubicBezTo>
                  <a:cubicBezTo>
                    <a:pt x="286" y="700"/>
                    <a:pt x="287" y="700"/>
                    <a:pt x="287" y="700"/>
                  </a:cubicBezTo>
                  <a:cubicBezTo>
                    <a:pt x="287" y="700"/>
                    <a:pt x="287" y="700"/>
                    <a:pt x="287" y="700"/>
                  </a:cubicBezTo>
                  <a:cubicBezTo>
                    <a:pt x="287" y="700"/>
                    <a:pt x="287" y="700"/>
                    <a:pt x="287" y="700"/>
                  </a:cubicBezTo>
                  <a:cubicBezTo>
                    <a:pt x="287" y="700"/>
                    <a:pt x="287" y="700"/>
                    <a:pt x="287" y="700"/>
                  </a:cubicBezTo>
                  <a:cubicBezTo>
                    <a:pt x="287" y="700"/>
                    <a:pt x="287" y="700"/>
                    <a:pt x="287" y="700"/>
                  </a:cubicBezTo>
                  <a:cubicBezTo>
                    <a:pt x="287" y="699"/>
                    <a:pt x="287" y="699"/>
                    <a:pt x="287" y="699"/>
                  </a:cubicBezTo>
                  <a:cubicBezTo>
                    <a:pt x="287" y="699"/>
                    <a:pt x="287" y="698"/>
                    <a:pt x="287" y="698"/>
                  </a:cubicBezTo>
                  <a:cubicBezTo>
                    <a:pt x="287" y="698"/>
                    <a:pt x="287" y="698"/>
                    <a:pt x="287" y="698"/>
                  </a:cubicBezTo>
                  <a:cubicBezTo>
                    <a:pt x="288" y="699"/>
                    <a:pt x="288" y="700"/>
                    <a:pt x="289" y="700"/>
                  </a:cubicBezTo>
                  <a:cubicBezTo>
                    <a:pt x="289" y="700"/>
                    <a:pt x="289" y="700"/>
                    <a:pt x="289" y="700"/>
                  </a:cubicBezTo>
                  <a:cubicBezTo>
                    <a:pt x="289" y="701"/>
                    <a:pt x="289" y="701"/>
                    <a:pt x="289" y="701"/>
                  </a:cubicBezTo>
                  <a:cubicBezTo>
                    <a:pt x="289" y="701"/>
                    <a:pt x="288" y="701"/>
                    <a:pt x="288" y="701"/>
                  </a:cubicBezTo>
                  <a:cubicBezTo>
                    <a:pt x="288" y="701"/>
                    <a:pt x="288" y="701"/>
                    <a:pt x="288" y="701"/>
                  </a:cubicBezTo>
                  <a:cubicBezTo>
                    <a:pt x="288" y="701"/>
                    <a:pt x="288" y="701"/>
                    <a:pt x="288" y="701"/>
                  </a:cubicBezTo>
                  <a:cubicBezTo>
                    <a:pt x="288" y="701"/>
                    <a:pt x="288" y="702"/>
                    <a:pt x="288" y="702"/>
                  </a:cubicBezTo>
                  <a:cubicBezTo>
                    <a:pt x="288" y="702"/>
                    <a:pt x="289" y="702"/>
                    <a:pt x="289" y="702"/>
                  </a:cubicBezTo>
                  <a:cubicBezTo>
                    <a:pt x="290" y="702"/>
                    <a:pt x="290" y="702"/>
                    <a:pt x="291" y="701"/>
                  </a:cubicBezTo>
                  <a:cubicBezTo>
                    <a:pt x="292" y="701"/>
                    <a:pt x="292" y="701"/>
                    <a:pt x="293" y="701"/>
                  </a:cubicBezTo>
                  <a:cubicBezTo>
                    <a:pt x="293" y="701"/>
                    <a:pt x="293" y="701"/>
                    <a:pt x="293" y="701"/>
                  </a:cubicBezTo>
                  <a:cubicBezTo>
                    <a:pt x="293" y="701"/>
                    <a:pt x="293" y="701"/>
                    <a:pt x="293" y="701"/>
                  </a:cubicBezTo>
                  <a:cubicBezTo>
                    <a:pt x="294" y="700"/>
                    <a:pt x="294" y="700"/>
                    <a:pt x="294" y="700"/>
                  </a:cubicBezTo>
                  <a:cubicBezTo>
                    <a:pt x="294" y="700"/>
                    <a:pt x="294" y="700"/>
                    <a:pt x="294" y="700"/>
                  </a:cubicBezTo>
                  <a:cubicBezTo>
                    <a:pt x="295" y="700"/>
                    <a:pt x="295" y="699"/>
                    <a:pt x="295" y="699"/>
                  </a:cubicBezTo>
                  <a:cubicBezTo>
                    <a:pt x="295" y="699"/>
                    <a:pt x="296" y="698"/>
                    <a:pt x="296" y="697"/>
                  </a:cubicBezTo>
                  <a:cubicBezTo>
                    <a:pt x="296" y="698"/>
                    <a:pt x="297" y="698"/>
                    <a:pt x="298" y="698"/>
                  </a:cubicBezTo>
                  <a:cubicBezTo>
                    <a:pt x="296" y="699"/>
                    <a:pt x="296" y="699"/>
                    <a:pt x="296" y="700"/>
                  </a:cubicBezTo>
                  <a:cubicBezTo>
                    <a:pt x="296" y="701"/>
                    <a:pt x="296" y="702"/>
                    <a:pt x="296" y="703"/>
                  </a:cubicBezTo>
                  <a:cubicBezTo>
                    <a:pt x="295" y="705"/>
                    <a:pt x="294" y="706"/>
                    <a:pt x="294" y="708"/>
                  </a:cubicBezTo>
                  <a:cubicBezTo>
                    <a:pt x="294" y="708"/>
                    <a:pt x="294" y="708"/>
                    <a:pt x="294" y="708"/>
                  </a:cubicBezTo>
                  <a:cubicBezTo>
                    <a:pt x="293" y="709"/>
                    <a:pt x="293" y="709"/>
                    <a:pt x="292" y="710"/>
                  </a:cubicBezTo>
                  <a:cubicBezTo>
                    <a:pt x="292" y="711"/>
                    <a:pt x="292" y="712"/>
                    <a:pt x="293" y="712"/>
                  </a:cubicBezTo>
                  <a:cubicBezTo>
                    <a:pt x="293" y="712"/>
                    <a:pt x="293" y="713"/>
                    <a:pt x="293" y="713"/>
                  </a:cubicBezTo>
                  <a:cubicBezTo>
                    <a:pt x="293" y="713"/>
                    <a:pt x="293" y="713"/>
                    <a:pt x="293" y="712"/>
                  </a:cubicBezTo>
                  <a:cubicBezTo>
                    <a:pt x="293" y="712"/>
                    <a:pt x="293" y="712"/>
                    <a:pt x="293" y="712"/>
                  </a:cubicBezTo>
                  <a:cubicBezTo>
                    <a:pt x="293" y="712"/>
                    <a:pt x="293" y="712"/>
                    <a:pt x="293" y="712"/>
                  </a:cubicBezTo>
                  <a:cubicBezTo>
                    <a:pt x="293" y="712"/>
                    <a:pt x="293" y="713"/>
                    <a:pt x="293" y="713"/>
                  </a:cubicBezTo>
                  <a:cubicBezTo>
                    <a:pt x="293" y="714"/>
                    <a:pt x="292" y="714"/>
                    <a:pt x="291" y="715"/>
                  </a:cubicBezTo>
                  <a:cubicBezTo>
                    <a:pt x="291" y="715"/>
                    <a:pt x="291" y="715"/>
                    <a:pt x="291" y="716"/>
                  </a:cubicBezTo>
                  <a:cubicBezTo>
                    <a:pt x="291" y="716"/>
                    <a:pt x="291" y="716"/>
                    <a:pt x="291" y="716"/>
                  </a:cubicBezTo>
                  <a:cubicBezTo>
                    <a:pt x="291" y="716"/>
                    <a:pt x="291" y="716"/>
                    <a:pt x="291" y="716"/>
                  </a:cubicBezTo>
                  <a:cubicBezTo>
                    <a:pt x="291" y="716"/>
                    <a:pt x="291" y="716"/>
                    <a:pt x="291" y="716"/>
                  </a:cubicBezTo>
                  <a:cubicBezTo>
                    <a:pt x="290" y="717"/>
                    <a:pt x="290" y="717"/>
                    <a:pt x="290" y="717"/>
                  </a:cubicBezTo>
                  <a:cubicBezTo>
                    <a:pt x="292" y="717"/>
                    <a:pt x="293" y="716"/>
                    <a:pt x="294" y="715"/>
                  </a:cubicBezTo>
                  <a:cubicBezTo>
                    <a:pt x="294" y="715"/>
                    <a:pt x="294" y="715"/>
                    <a:pt x="294" y="716"/>
                  </a:cubicBezTo>
                  <a:cubicBezTo>
                    <a:pt x="294" y="716"/>
                    <a:pt x="294" y="716"/>
                    <a:pt x="294" y="716"/>
                  </a:cubicBezTo>
                  <a:cubicBezTo>
                    <a:pt x="293" y="716"/>
                    <a:pt x="293" y="717"/>
                    <a:pt x="293" y="717"/>
                  </a:cubicBezTo>
                  <a:cubicBezTo>
                    <a:pt x="294" y="718"/>
                    <a:pt x="295" y="719"/>
                    <a:pt x="296" y="720"/>
                  </a:cubicBezTo>
                  <a:cubicBezTo>
                    <a:pt x="296" y="720"/>
                    <a:pt x="296" y="721"/>
                    <a:pt x="296" y="721"/>
                  </a:cubicBezTo>
                  <a:cubicBezTo>
                    <a:pt x="296" y="721"/>
                    <a:pt x="296" y="721"/>
                    <a:pt x="296" y="722"/>
                  </a:cubicBezTo>
                  <a:cubicBezTo>
                    <a:pt x="297" y="722"/>
                    <a:pt x="298" y="722"/>
                    <a:pt x="298" y="720"/>
                  </a:cubicBezTo>
                  <a:cubicBezTo>
                    <a:pt x="299" y="719"/>
                    <a:pt x="299" y="717"/>
                    <a:pt x="300" y="715"/>
                  </a:cubicBezTo>
                  <a:cubicBezTo>
                    <a:pt x="300" y="715"/>
                    <a:pt x="300" y="715"/>
                    <a:pt x="301" y="715"/>
                  </a:cubicBezTo>
                  <a:cubicBezTo>
                    <a:pt x="302" y="713"/>
                    <a:pt x="300" y="714"/>
                    <a:pt x="301" y="713"/>
                  </a:cubicBezTo>
                  <a:cubicBezTo>
                    <a:pt x="301" y="712"/>
                    <a:pt x="301" y="711"/>
                    <a:pt x="301" y="710"/>
                  </a:cubicBezTo>
                  <a:cubicBezTo>
                    <a:pt x="302" y="711"/>
                    <a:pt x="302" y="711"/>
                    <a:pt x="302" y="711"/>
                  </a:cubicBezTo>
                  <a:cubicBezTo>
                    <a:pt x="302" y="712"/>
                    <a:pt x="302" y="712"/>
                    <a:pt x="302" y="712"/>
                  </a:cubicBezTo>
                  <a:cubicBezTo>
                    <a:pt x="301" y="713"/>
                    <a:pt x="301" y="714"/>
                    <a:pt x="301" y="714"/>
                  </a:cubicBezTo>
                  <a:cubicBezTo>
                    <a:pt x="302" y="715"/>
                    <a:pt x="302" y="715"/>
                    <a:pt x="302" y="715"/>
                  </a:cubicBezTo>
                  <a:cubicBezTo>
                    <a:pt x="301" y="715"/>
                    <a:pt x="301" y="715"/>
                    <a:pt x="301" y="716"/>
                  </a:cubicBezTo>
                  <a:cubicBezTo>
                    <a:pt x="301" y="717"/>
                    <a:pt x="301" y="718"/>
                    <a:pt x="302" y="719"/>
                  </a:cubicBezTo>
                  <a:cubicBezTo>
                    <a:pt x="306" y="717"/>
                    <a:pt x="303" y="714"/>
                    <a:pt x="308" y="717"/>
                  </a:cubicBezTo>
                  <a:cubicBezTo>
                    <a:pt x="308" y="717"/>
                    <a:pt x="308" y="716"/>
                    <a:pt x="309" y="716"/>
                  </a:cubicBezTo>
                  <a:cubicBezTo>
                    <a:pt x="309" y="716"/>
                    <a:pt x="309" y="716"/>
                    <a:pt x="309" y="716"/>
                  </a:cubicBezTo>
                  <a:cubicBezTo>
                    <a:pt x="310" y="715"/>
                    <a:pt x="312" y="714"/>
                    <a:pt x="313" y="713"/>
                  </a:cubicBezTo>
                  <a:cubicBezTo>
                    <a:pt x="313" y="713"/>
                    <a:pt x="314" y="713"/>
                    <a:pt x="314" y="713"/>
                  </a:cubicBezTo>
                  <a:cubicBezTo>
                    <a:pt x="315" y="712"/>
                    <a:pt x="315" y="712"/>
                    <a:pt x="316" y="711"/>
                  </a:cubicBezTo>
                  <a:cubicBezTo>
                    <a:pt x="316" y="711"/>
                    <a:pt x="316" y="709"/>
                    <a:pt x="317" y="709"/>
                  </a:cubicBezTo>
                  <a:cubicBezTo>
                    <a:pt x="318" y="707"/>
                    <a:pt x="320" y="707"/>
                    <a:pt x="321" y="706"/>
                  </a:cubicBezTo>
                  <a:cubicBezTo>
                    <a:pt x="322" y="705"/>
                    <a:pt x="322" y="705"/>
                    <a:pt x="322" y="705"/>
                  </a:cubicBezTo>
                  <a:cubicBezTo>
                    <a:pt x="322" y="705"/>
                    <a:pt x="322" y="704"/>
                    <a:pt x="322" y="704"/>
                  </a:cubicBezTo>
                  <a:cubicBezTo>
                    <a:pt x="322" y="704"/>
                    <a:pt x="322" y="704"/>
                    <a:pt x="322" y="704"/>
                  </a:cubicBezTo>
                  <a:cubicBezTo>
                    <a:pt x="322" y="704"/>
                    <a:pt x="322" y="704"/>
                    <a:pt x="322" y="704"/>
                  </a:cubicBezTo>
                  <a:cubicBezTo>
                    <a:pt x="323" y="702"/>
                    <a:pt x="321" y="700"/>
                    <a:pt x="320" y="699"/>
                  </a:cubicBezTo>
                  <a:cubicBezTo>
                    <a:pt x="321" y="699"/>
                    <a:pt x="321" y="699"/>
                    <a:pt x="322" y="700"/>
                  </a:cubicBezTo>
                  <a:cubicBezTo>
                    <a:pt x="322" y="700"/>
                    <a:pt x="322" y="700"/>
                    <a:pt x="322" y="700"/>
                  </a:cubicBezTo>
                  <a:cubicBezTo>
                    <a:pt x="323" y="702"/>
                    <a:pt x="323" y="703"/>
                    <a:pt x="323" y="705"/>
                  </a:cubicBezTo>
                  <a:cubicBezTo>
                    <a:pt x="322" y="707"/>
                    <a:pt x="322" y="706"/>
                    <a:pt x="321" y="707"/>
                  </a:cubicBezTo>
                  <a:cubicBezTo>
                    <a:pt x="320" y="708"/>
                    <a:pt x="318" y="708"/>
                    <a:pt x="317" y="710"/>
                  </a:cubicBezTo>
                  <a:cubicBezTo>
                    <a:pt x="317" y="710"/>
                    <a:pt x="317" y="711"/>
                    <a:pt x="317" y="711"/>
                  </a:cubicBezTo>
                  <a:cubicBezTo>
                    <a:pt x="316" y="714"/>
                    <a:pt x="320" y="716"/>
                    <a:pt x="322" y="715"/>
                  </a:cubicBezTo>
                  <a:cubicBezTo>
                    <a:pt x="324" y="715"/>
                    <a:pt x="325" y="714"/>
                    <a:pt x="326" y="714"/>
                  </a:cubicBezTo>
                  <a:cubicBezTo>
                    <a:pt x="327" y="714"/>
                    <a:pt x="327" y="714"/>
                    <a:pt x="328" y="714"/>
                  </a:cubicBezTo>
                  <a:cubicBezTo>
                    <a:pt x="327" y="715"/>
                    <a:pt x="326" y="715"/>
                    <a:pt x="325" y="715"/>
                  </a:cubicBezTo>
                  <a:cubicBezTo>
                    <a:pt x="325" y="715"/>
                    <a:pt x="325" y="715"/>
                    <a:pt x="325" y="715"/>
                  </a:cubicBezTo>
                  <a:cubicBezTo>
                    <a:pt x="324" y="716"/>
                    <a:pt x="324" y="716"/>
                    <a:pt x="324" y="717"/>
                  </a:cubicBezTo>
                  <a:cubicBezTo>
                    <a:pt x="323" y="718"/>
                    <a:pt x="324" y="719"/>
                    <a:pt x="325" y="721"/>
                  </a:cubicBezTo>
                  <a:cubicBezTo>
                    <a:pt x="325" y="721"/>
                    <a:pt x="325" y="721"/>
                    <a:pt x="325" y="721"/>
                  </a:cubicBezTo>
                  <a:cubicBezTo>
                    <a:pt x="324" y="719"/>
                    <a:pt x="322" y="717"/>
                    <a:pt x="320" y="717"/>
                  </a:cubicBezTo>
                  <a:cubicBezTo>
                    <a:pt x="318" y="716"/>
                    <a:pt x="317" y="718"/>
                    <a:pt x="315" y="719"/>
                  </a:cubicBezTo>
                  <a:cubicBezTo>
                    <a:pt x="314" y="720"/>
                    <a:pt x="313" y="719"/>
                    <a:pt x="312" y="720"/>
                  </a:cubicBezTo>
                  <a:cubicBezTo>
                    <a:pt x="312" y="721"/>
                    <a:pt x="312" y="721"/>
                    <a:pt x="312" y="721"/>
                  </a:cubicBezTo>
                  <a:cubicBezTo>
                    <a:pt x="312" y="721"/>
                    <a:pt x="312" y="721"/>
                    <a:pt x="312" y="721"/>
                  </a:cubicBezTo>
                  <a:cubicBezTo>
                    <a:pt x="312" y="722"/>
                    <a:pt x="312" y="722"/>
                    <a:pt x="313" y="723"/>
                  </a:cubicBezTo>
                  <a:cubicBezTo>
                    <a:pt x="313" y="723"/>
                    <a:pt x="313" y="723"/>
                    <a:pt x="312" y="723"/>
                  </a:cubicBezTo>
                  <a:cubicBezTo>
                    <a:pt x="312" y="724"/>
                    <a:pt x="309" y="723"/>
                    <a:pt x="308" y="725"/>
                  </a:cubicBezTo>
                  <a:cubicBezTo>
                    <a:pt x="308" y="724"/>
                    <a:pt x="315" y="720"/>
                    <a:pt x="309" y="723"/>
                  </a:cubicBezTo>
                  <a:cubicBezTo>
                    <a:pt x="307" y="723"/>
                    <a:pt x="308" y="725"/>
                    <a:pt x="307" y="726"/>
                  </a:cubicBezTo>
                  <a:cubicBezTo>
                    <a:pt x="306" y="728"/>
                    <a:pt x="306" y="727"/>
                    <a:pt x="304" y="728"/>
                  </a:cubicBezTo>
                  <a:cubicBezTo>
                    <a:pt x="302" y="729"/>
                    <a:pt x="302" y="730"/>
                    <a:pt x="302" y="731"/>
                  </a:cubicBezTo>
                  <a:cubicBezTo>
                    <a:pt x="301" y="734"/>
                    <a:pt x="302" y="740"/>
                    <a:pt x="304" y="741"/>
                  </a:cubicBezTo>
                  <a:cubicBezTo>
                    <a:pt x="304" y="742"/>
                    <a:pt x="305" y="742"/>
                    <a:pt x="306" y="742"/>
                  </a:cubicBezTo>
                  <a:cubicBezTo>
                    <a:pt x="307" y="742"/>
                    <a:pt x="308" y="742"/>
                    <a:pt x="309" y="741"/>
                  </a:cubicBezTo>
                  <a:cubicBezTo>
                    <a:pt x="309" y="741"/>
                    <a:pt x="309" y="741"/>
                    <a:pt x="309" y="741"/>
                  </a:cubicBezTo>
                  <a:cubicBezTo>
                    <a:pt x="309" y="740"/>
                    <a:pt x="309" y="740"/>
                    <a:pt x="309" y="740"/>
                  </a:cubicBezTo>
                  <a:cubicBezTo>
                    <a:pt x="309" y="740"/>
                    <a:pt x="308" y="740"/>
                    <a:pt x="309" y="740"/>
                  </a:cubicBezTo>
                  <a:cubicBezTo>
                    <a:pt x="309" y="739"/>
                    <a:pt x="309" y="739"/>
                    <a:pt x="309" y="738"/>
                  </a:cubicBezTo>
                  <a:cubicBezTo>
                    <a:pt x="310" y="737"/>
                    <a:pt x="311" y="738"/>
                    <a:pt x="311" y="737"/>
                  </a:cubicBezTo>
                  <a:cubicBezTo>
                    <a:pt x="311" y="736"/>
                    <a:pt x="311" y="735"/>
                    <a:pt x="311" y="734"/>
                  </a:cubicBezTo>
                  <a:cubicBezTo>
                    <a:pt x="312" y="733"/>
                    <a:pt x="313" y="733"/>
                    <a:pt x="313" y="733"/>
                  </a:cubicBezTo>
                  <a:cubicBezTo>
                    <a:pt x="313" y="732"/>
                    <a:pt x="314" y="731"/>
                    <a:pt x="314" y="731"/>
                  </a:cubicBezTo>
                  <a:cubicBezTo>
                    <a:pt x="314" y="733"/>
                    <a:pt x="312" y="734"/>
                    <a:pt x="312" y="736"/>
                  </a:cubicBezTo>
                  <a:cubicBezTo>
                    <a:pt x="313" y="736"/>
                    <a:pt x="314" y="736"/>
                    <a:pt x="315" y="736"/>
                  </a:cubicBezTo>
                  <a:cubicBezTo>
                    <a:pt x="315" y="736"/>
                    <a:pt x="316" y="736"/>
                    <a:pt x="317" y="736"/>
                  </a:cubicBezTo>
                  <a:cubicBezTo>
                    <a:pt x="317" y="736"/>
                    <a:pt x="318" y="736"/>
                    <a:pt x="319" y="736"/>
                  </a:cubicBezTo>
                  <a:cubicBezTo>
                    <a:pt x="319" y="736"/>
                    <a:pt x="319" y="736"/>
                    <a:pt x="320" y="736"/>
                  </a:cubicBezTo>
                  <a:cubicBezTo>
                    <a:pt x="321" y="736"/>
                    <a:pt x="322" y="736"/>
                    <a:pt x="323" y="736"/>
                  </a:cubicBezTo>
                  <a:cubicBezTo>
                    <a:pt x="324" y="736"/>
                    <a:pt x="326" y="737"/>
                    <a:pt x="327" y="736"/>
                  </a:cubicBezTo>
                  <a:cubicBezTo>
                    <a:pt x="328" y="736"/>
                    <a:pt x="329" y="736"/>
                    <a:pt x="330" y="736"/>
                  </a:cubicBezTo>
                  <a:cubicBezTo>
                    <a:pt x="329" y="737"/>
                    <a:pt x="328" y="737"/>
                    <a:pt x="325" y="737"/>
                  </a:cubicBezTo>
                  <a:cubicBezTo>
                    <a:pt x="323" y="737"/>
                    <a:pt x="322" y="737"/>
                    <a:pt x="321" y="737"/>
                  </a:cubicBezTo>
                  <a:cubicBezTo>
                    <a:pt x="319" y="737"/>
                    <a:pt x="315" y="736"/>
                    <a:pt x="312" y="737"/>
                  </a:cubicBezTo>
                  <a:cubicBezTo>
                    <a:pt x="312" y="738"/>
                    <a:pt x="311" y="738"/>
                    <a:pt x="311" y="738"/>
                  </a:cubicBezTo>
                  <a:cubicBezTo>
                    <a:pt x="311" y="738"/>
                    <a:pt x="310" y="739"/>
                    <a:pt x="310" y="739"/>
                  </a:cubicBezTo>
                  <a:cubicBezTo>
                    <a:pt x="309" y="741"/>
                    <a:pt x="309" y="742"/>
                    <a:pt x="307" y="744"/>
                  </a:cubicBezTo>
                  <a:cubicBezTo>
                    <a:pt x="307" y="744"/>
                    <a:pt x="306" y="745"/>
                    <a:pt x="306" y="745"/>
                  </a:cubicBezTo>
                  <a:cubicBezTo>
                    <a:pt x="305" y="745"/>
                    <a:pt x="304" y="746"/>
                    <a:pt x="304" y="746"/>
                  </a:cubicBezTo>
                  <a:cubicBezTo>
                    <a:pt x="304" y="746"/>
                    <a:pt x="304" y="747"/>
                    <a:pt x="304" y="747"/>
                  </a:cubicBezTo>
                  <a:cubicBezTo>
                    <a:pt x="305" y="747"/>
                    <a:pt x="305" y="747"/>
                    <a:pt x="305" y="747"/>
                  </a:cubicBezTo>
                  <a:cubicBezTo>
                    <a:pt x="306" y="747"/>
                    <a:pt x="308" y="747"/>
                    <a:pt x="309" y="747"/>
                  </a:cubicBezTo>
                  <a:cubicBezTo>
                    <a:pt x="310" y="747"/>
                    <a:pt x="310" y="747"/>
                    <a:pt x="311" y="747"/>
                  </a:cubicBezTo>
                  <a:cubicBezTo>
                    <a:pt x="311" y="747"/>
                    <a:pt x="312" y="747"/>
                    <a:pt x="312" y="747"/>
                  </a:cubicBezTo>
                  <a:cubicBezTo>
                    <a:pt x="313" y="747"/>
                    <a:pt x="313" y="747"/>
                    <a:pt x="314" y="748"/>
                  </a:cubicBezTo>
                  <a:cubicBezTo>
                    <a:pt x="315" y="748"/>
                    <a:pt x="317" y="748"/>
                    <a:pt x="318" y="747"/>
                  </a:cubicBezTo>
                  <a:cubicBezTo>
                    <a:pt x="318" y="746"/>
                    <a:pt x="319" y="746"/>
                    <a:pt x="319" y="745"/>
                  </a:cubicBezTo>
                  <a:cubicBezTo>
                    <a:pt x="319" y="746"/>
                    <a:pt x="319" y="746"/>
                    <a:pt x="319" y="747"/>
                  </a:cubicBezTo>
                  <a:cubicBezTo>
                    <a:pt x="319" y="747"/>
                    <a:pt x="318" y="747"/>
                    <a:pt x="318" y="747"/>
                  </a:cubicBezTo>
                  <a:cubicBezTo>
                    <a:pt x="318" y="747"/>
                    <a:pt x="318" y="747"/>
                    <a:pt x="318" y="748"/>
                  </a:cubicBezTo>
                  <a:cubicBezTo>
                    <a:pt x="318" y="748"/>
                    <a:pt x="318" y="748"/>
                    <a:pt x="317" y="748"/>
                  </a:cubicBezTo>
                  <a:cubicBezTo>
                    <a:pt x="317" y="748"/>
                    <a:pt x="317" y="748"/>
                    <a:pt x="316" y="748"/>
                  </a:cubicBezTo>
                  <a:cubicBezTo>
                    <a:pt x="314" y="749"/>
                    <a:pt x="312" y="748"/>
                    <a:pt x="310" y="748"/>
                  </a:cubicBezTo>
                  <a:cubicBezTo>
                    <a:pt x="310" y="748"/>
                    <a:pt x="309" y="748"/>
                    <a:pt x="309" y="748"/>
                  </a:cubicBezTo>
                  <a:cubicBezTo>
                    <a:pt x="308" y="748"/>
                    <a:pt x="307" y="748"/>
                    <a:pt x="306" y="749"/>
                  </a:cubicBezTo>
                  <a:cubicBezTo>
                    <a:pt x="305" y="749"/>
                    <a:pt x="305" y="749"/>
                    <a:pt x="305" y="749"/>
                  </a:cubicBezTo>
                  <a:cubicBezTo>
                    <a:pt x="303" y="749"/>
                    <a:pt x="301" y="749"/>
                    <a:pt x="301" y="748"/>
                  </a:cubicBezTo>
                  <a:cubicBezTo>
                    <a:pt x="298" y="748"/>
                    <a:pt x="292" y="750"/>
                    <a:pt x="289" y="751"/>
                  </a:cubicBezTo>
                  <a:cubicBezTo>
                    <a:pt x="290" y="754"/>
                    <a:pt x="292" y="758"/>
                    <a:pt x="295" y="760"/>
                  </a:cubicBezTo>
                  <a:cubicBezTo>
                    <a:pt x="297" y="761"/>
                    <a:pt x="300" y="760"/>
                    <a:pt x="302" y="760"/>
                  </a:cubicBezTo>
                  <a:cubicBezTo>
                    <a:pt x="304" y="759"/>
                    <a:pt x="311" y="759"/>
                    <a:pt x="307" y="757"/>
                  </a:cubicBezTo>
                  <a:cubicBezTo>
                    <a:pt x="308" y="757"/>
                    <a:pt x="309" y="757"/>
                    <a:pt x="311" y="757"/>
                  </a:cubicBezTo>
                  <a:cubicBezTo>
                    <a:pt x="311" y="757"/>
                    <a:pt x="311" y="757"/>
                    <a:pt x="311" y="757"/>
                  </a:cubicBezTo>
                  <a:cubicBezTo>
                    <a:pt x="310" y="759"/>
                    <a:pt x="309" y="758"/>
                    <a:pt x="310" y="760"/>
                  </a:cubicBezTo>
                  <a:cubicBezTo>
                    <a:pt x="310" y="761"/>
                    <a:pt x="311" y="763"/>
                    <a:pt x="312" y="764"/>
                  </a:cubicBezTo>
                  <a:cubicBezTo>
                    <a:pt x="308" y="762"/>
                    <a:pt x="307" y="760"/>
                    <a:pt x="304" y="761"/>
                  </a:cubicBezTo>
                  <a:cubicBezTo>
                    <a:pt x="302" y="761"/>
                    <a:pt x="301" y="761"/>
                    <a:pt x="301" y="762"/>
                  </a:cubicBezTo>
                  <a:cubicBezTo>
                    <a:pt x="298" y="765"/>
                    <a:pt x="301" y="765"/>
                    <a:pt x="303" y="768"/>
                  </a:cubicBezTo>
                  <a:cubicBezTo>
                    <a:pt x="304" y="769"/>
                    <a:pt x="302" y="771"/>
                    <a:pt x="301" y="771"/>
                  </a:cubicBezTo>
                  <a:cubicBezTo>
                    <a:pt x="303" y="771"/>
                    <a:pt x="305" y="770"/>
                    <a:pt x="307" y="770"/>
                  </a:cubicBezTo>
                  <a:cubicBezTo>
                    <a:pt x="307" y="770"/>
                    <a:pt x="311" y="770"/>
                    <a:pt x="311" y="770"/>
                  </a:cubicBezTo>
                  <a:cubicBezTo>
                    <a:pt x="312" y="771"/>
                    <a:pt x="310" y="773"/>
                    <a:pt x="312" y="773"/>
                  </a:cubicBezTo>
                  <a:cubicBezTo>
                    <a:pt x="314" y="774"/>
                    <a:pt x="316" y="772"/>
                    <a:pt x="315" y="771"/>
                  </a:cubicBezTo>
                  <a:cubicBezTo>
                    <a:pt x="317" y="771"/>
                    <a:pt x="318" y="772"/>
                    <a:pt x="319" y="772"/>
                  </a:cubicBezTo>
                  <a:cubicBezTo>
                    <a:pt x="318" y="773"/>
                    <a:pt x="317" y="776"/>
                    <a:pt x="317" y="777"/>
                  </a:cubicBezTo>
                  <a:cubicBezTo>
                    <a:pt x="318" y="780"/>
                    <a:pt x="324" y="780"/>
                    <a:pt x="324" y="776"/>
                  </a:cubicBezTo>
                  <a:cubicBezTo>
                    <a:pt x="325" y="777"/>
                    <a:pt x="326" y="777"/>
                    <a:pt x="327" y="777"/>
                  </a:cubicBezTo>
                  <a:cubicBezTo>
                    <a:pt x="326" y="777"/>
                    <a:pt x="326" y="776"/>
                    <a:pt x="326" y="776"/>
                  </a:cubicBezTo>
                  <a:cubicBezTo>
                    <a:pt x="329" y="777"/>
                    <a:pt x="330" y="779"/>
                    <a:pt x="331" y="782"/>
                  </a:cubicBezTo>
                  <a:cubicBezTo>
                    <a:pt x="332" y="785"/>
                    <a:pt x="333" y="782"/>
                    <a:pt x="334" y="782"/>
                  </a:cubicBezTo>
                  <a:cubicBezTo>
                    <a:pt x="335" y="782"/>
                    <a:pt x="336" y="781"/>
                    <a:pt x="335" y="782"/>
                  </a:cubicBezTo>
                  <a:cubicBezTo>
                    <a:pt x="334" y="785"/>
                    <a:pt x="334" y="784"/>
                    <a:pt x="336" y="785"/>
                  </a:cubicBezTo>
                  <a:cubicBezTo>
                    <a:pt x="338" y="785"/>
                    <a:pt x="341" y="785"/>
                    <a:pt x="343" y="785"/>
                  </a:cubicBezTo>
                  <a:cubicBezTo>
                    <a:pt x="340" y="786"/>
                    <a:pt x="334" y="785"/>
                    <a:pt x="332" y="788"/>
                  </a:cubicBezTo>
                  <a:cubicBezTo>
                    <a:pt x="332" y="789"/>
                    <a:pt x="332" y="793"/>
                    <a:pt x="333" y="794"/>
                  </a:cubicBezTo>
                  <a:cubicBezTo>
                    <a:pt x="336" y="791"/>
                    <a:pt x="335" y="792"/>
                    <a:pt x="339" y="792"/>
                  </a:cubicBezTo>
                  <a:cubicBezTo>
                    <a:pt x="339" y="791"/>
                    <a:pt x="346" y="793"/>
                    <a:pt x="347" y="792"/>
                  </a:cubicBezTo>
                  <a:cubicBezTo>
                    <a:pt x="347" y="793"/>
                    <a:pt x="345" y="797"/>
                    <a:pt x="345" y="797"/>
                  </a:cubicBezTo>
                  <a:cubicBezTo>
                    <a:pt x="346" y="800"/>
                    <a:pt x="350" y="796"/>
                    <a:pt x="350" y="794"/>
                  </a:cubicBezTo>
                  <a:cubicBezTo>
                    <a:pt x="350" y="796"/>
                    <a:pt x="349" y="797"/>
                    <a:pt x="350" y="798"/>
                  </a:cubicBezTo>
                  <a:cubicBezTo>
                    <a:pt x="351" y="799"/>
                    <a:pt x="351" y="800"/>
                    <a:pt x="351" y="800"/>
                  </a:cubicBezTo>
                  <a:cubicBezTo>
                    <a:pt x="352" y="800"/>
                    <a:pt x="353" y="799"/>
                    <a:pt x="354" y="799"/>
                  </a:cubicBezTo>
                  <a:cubicBezTo>
                    <a:pt x="353" y="800"/>
                    <a:pt x="352" y="802"/>
                    <a:pt x="351" y="802"/>
                  </a:cubicBezTo>
                  <a:cubicBezTo>
                    <a:pt x="350" y="802"/>
                    <a:pt x="347" y="801"/>
                    <a:pt x="349" y="803"/>
                  </a:cubicBezTo>
                  <a:cubicBezTo>
                    <a:pt x="350" y="805"/>
                    <a:pt x="358" y="804"/>
                    <a:pt x="360" y="804"/>
                  </a:cubicBezTo>
                  <a:cubicBezTo>
                    <a:pt x="362" y="805"/>
                    <a:pt x="364" y="805"/>
                    <a:pt x="366" y="805"/>
                  </a:cubicBezTo>
                  <a:cubicBezTo>
                    <a:pt x="371" y="806"/>
                    <a:pt x="372" y="803"/>
                    <a:pt x="373" y="798"/>
                  </a:cubicBezTo>
                  <a:cubicBezTo>
                    <a:pt x="373" y="801"/>
                    <a:pt x="373" y="803"/>
                    <a:pt x="371" y="805"/>
                  </a:cubicBezTo>
                  <a:cubicBezTo>
                    <a:pt x="369" y="807"/>
                    <a:pt x="368" y="808"/>
                    <a:pt x="366" y="810"/>
                  </a:cubicBezTo>
                  <a:cubicBezTo>
                    <a:pt x="365" y="811"/>
                    <a:pt x="363" y="812"/>
                    <a:pt x="366" y="813"/>
                  </a:cubicBezTo>
                  <a:cubicBezTo>
                    <a:pt x="374" y="816"/>
                    <a:pt x="382" y="819"/>
                    <a:pt x="389" y="822"/>
                  </a:cubicBezTo>
                  <a:cubicBezTo>
                    <a:pt x="393" y="823"/>
                    <a:pt x="397" y="824"/>
                    <a:pt x="400" y="826"/>
                  </a:cubicBezTo>
                  <a:cubicBezTo>
                    <a:pt x="401" y="826"/>
                    <a:pt x="402" y="826"/>
                    <a:pt x="402" y="825"/>
                  </a:cubicBezTo>
                  <a:cubicBezTo>
                    <a:pt x="402" y="825"/>
                    <a:pt x="403" y="826"/>
                    <a:pt x="403" y="826"/>
                  </a:cubicBezTo>
                  <a:cubicBezTo>
                    <a:pt x="404" y="827"/>
                    <a:pt x="404" y="826"/>
                    <a:pt x="405" y="826"/>
                  </a:cubicBezTo>
                  <a:cubicBezTo>
                    <a:pt x="406" y="825"/>
                    <a:pt x="405" y="824"/>
                    <a:pt x="404" y="822"/>
                  </a:cubicBezTo>
                  <a:cubicBezTo>
                    <a:pt x="404" y="822"/>
                    <a:pt x="405" y="822"/>
                    <a:pt x="405" y="822"/>
                  </a:cubicBezTo>
                  <a:cubicBezTo>
                    <a:pt x="405" y="822"/>
                    <a:pt x="406" y="823"/>
                    <a:pt x="407" y="823"/>
                  </a:cubicBezTo>
                  <a:cubicBezTo>
                    <a:pt x="410" y="822"/>
                    <a:pt x="408" y="820"/>
                    <a:pt x="407" y="818"/>
                  </a:cubicBezTo>
                  <a:cubicBezTo>
                    <a:pt x="405" y="815"/>
                    <a:pt x="406" y="815"/>
                    <a:pt x="402" y="816"/>
                  </a:cubicBezTo>
                  <a:cubicBezTo>
                    <a:pt x="403" y="813"/>
                    <a:pt x="401" y="814"/>
                    <a:pt x="400" y="813"/>
                  </a:cubicBezTo>
                  <a:cubicBezTo>
                    <a:pt x="400" y="812"/>
                    <a:pt x="402" y="812"/>
                    <a:pt x="401" y="810"/>
                  </a:cubicBezTo>
                  <a:cubicBezTo>
                    <a:pt x="400" y="808"/>
                    <a:pt x="396" y="807"/>
                    <a:pt x="396" y="805"/>
                  </a:cubicBezTo>
                  <a:cubicBezTo>
                    <a:pt x="395" y="804"/>
                    <a:pt x="398" y="804"/>
                    <a:pt x="396" y="802"/>
                  </a:cubicBezTo>
                  <a:cubicBezTo>
                    <a:pt x="395" y="801"/>
                    <a:pt x="394" y="801"/>
                    <a:pt x="393" y="800"/>
                  </a:cubicBezTo>
                  <a:cubicBezTo>
                    <a:pt x="392" y="799"/>
                    <a:pt x="393" y="799"/>
                    <a:pt x="392" y="798"/>
                  </a:cubicBezTo>
                  <a:cubicBezTo>
                    <a:pt x="391" y="798"/>
                    <a:pt x="389" y="797"/>
                    <a:pt x="388" y="797"/>
                  </a:cubicBezTo>
                  <a:cubicBezTo>
                    <a:pt x="389" y="796"/>
                    <a:pt x="384" y="795"/>
                    <a:pt x="382" y="794"/>
                  </a:cubicBezTo>
                  <a:cubicBezTo>
                    <a:pt x="379" y="794"/>
                    <a:pt x="378" y="793"/>
                    <a:pt x="375" y="792"/>
                  </a:cubicBezTo>
                  <a:cubicBezTo>
                    <a:pt x="374" y="791"/>
                    <a:pt x="374" y="791"/>
                    <a:pt x="372" y="790"/>
                  </a:cubicBezTo>
                  <a:cubicBezTo>
                    <a:pt x="372" y="789"/>
                    <a:pt x="371" y="788"/>
                    <a:pt x="371" y="787"/>
                  </a:cubicBezTo>
                  <a:cubicBezTo>
                    <a:pt x="370" y="786"/>
                    <a:pt x="369" y="786"/>
                    <a:pt x="369" y="785"/>
                  </a:cubicBezTo>
                  <a:cubicBezTo>
                    <a:pt x="369" y="784"/>
                    <a:pt x="370" y="784"/>
                    <a:pt x="370" y="783"/>
                  </a:cubicBezTo>
                  <a:cubicBezTo>
                    <a:pt x="370" y="782"/>
                    <a:pt x="368" y="781"/>
                    <a:pt x="367" y="780"/>
                  </a:cubicBezTo>
                  <a:cubicBezTo>
                    <a:pt x="365" y="778"/>
                    <a:pt x="364" y="776"/>
                    <a:pt x="363" y="774"/>
                  </a:cubicBezTo>
                  <a:cubicBezTo>
                    <a:pt x="362" y="773"/>
                    <a:pt x="361" y="772"/>
                    <a:pt x="360" y="772"/>
                  </a:cubicBezTo>
                  <a:cubicBezTo>
                    <a:pt x="361" y="772"/>
                    <a:pt x="363" y="772"/>
                    <a:pt x="364" y="773"/>
                  </a:cubicBezTo>
                  <a:cubicBezTo>
                    <a:pt x="364" y="773"/>
                    <a:pt x="364" y="773"/>
                    <a:pt x="364" y="773"/>
                  </a:cubicBezTo>
                  <a:cubicBezTo>
                    <a:pt x="364" y="774"/>
                    <a:pt x="365" y="774"/>
                    <a:pt x="365" y="775"/>
                  </a:cubicBezTo>
                  <a:cubicBezTo>
                    <a:pt x="365" y="774"/>
                    <a:pt x="365" y="774"/>
                    <a:pt x="364" y="773"/>
                  </a:cubicBezTo>
                  <a:cubicBezTo>
                    <a:pt x="365" y="774"/>
                    <a:pt x="365" y="774"/>
                    <a:pt x="366" y="774"/>
                  </a:cubicBezTo>
                  <a:cubicBezTo>
                    <a:pt x="366" y="773"/>
                    <a:pt x="366" y="772"/>
                    <a:pt x="367" y="771"/>
                  </a:cubicBezTo>
                  <a:cubicBezTo>
                    <a:pt x="368" y="771"/>
                    <a:pt x="368" y="771"/>
                    <a:pt x="369" y="771"/>
                  </a:cubicBezTo>
                  <a:cubicBezTo>
                    <a:pt x="368" y="771"/>
                    <a:pt x="368" y="772"/>
                    <a:pt x="368" y="772"/>
                  </a:cubicBezTo>
                  <a:cubicBezTo>
                    <a:pt x="368" y="772"/>
                    <a:pt x="368" y="773"/>
                    <a:pt x="368" y="773"/>
                  </a:cubicBezTo>
                  <a:cubicBezTo>
                    <a:pt x="367" y="773"/>
                    <a:pt x="367" y="773"/>
                    <a:pt x="367" y="773"/>
                  </a:cubicBezTo>
                  <a:cubicBezTo>
                    <a:pt x="367" y="773"/>
                    <a:pt x="367" y="774"/>
                    <a:pt x="367" y="774"/>
                  </a:cubicBezTo>
                  <a:cubicBezTo>
                    <a:pt x="367" y="775"/>
                    <a:pt x="367" y="777"/>
                    <a:pt x="367" y="777"/>
                  </a:cubicBezTo>
                  <a:cubicBezTo>
                    <a:pt x="368" y="777"/>
                    <a:pt x="369" y="776"/>
                    <a:pt x="368" y="775"/>
                  </a:cubicBezTo>
                  <a:cubicBezTo>
                    <a:pt x="371" y="775"/>
                    <a:pt x="372" y="778"/>
                    <a:pt x="374" y="777"/>
                  </a:cubicBezTo>
                  <a:cubicBezTo>
                    <a:pt x="375" y="777"/>
                    <a:pt x="375" y="775"/>
                    <a:pt x="376" y="775"/>
                  </a:cubicBezTo>
                  <a:cubicBezTo>
                    <a:pt x="377" y="774"/>
                    <a:pt x="379" y="775"/>
                    <a:pt x="380" y="774"/>
                  </a:cubicBezTo>
                  <a:cubicBezTo>
                    <a:pt x="381" y="774"/>
                    <a:pt x="382" y="773"/>
                    <a:pt x="383" y="772"/>
                  </a:cubicBezTo>
                  <a:cubicBezTo>
                    <a:pt x="383" y="773"/>
                    <a:pt x="381" y="774"/>
                    <a:pt x="379" y="775"/>
                  </a:cubicBezTo>
                  <a:cubicBezTo>
                    <a:pt x="377" y="775"/>
                    <a:pt x="375" y="776"/>
                    <a:pt x="375" y="777"/>
                  </a:cubicBezTo>
                  <a:cubicBezTo>
                    <a:pt x="375" y="778"/>
                    <a:pt x="375" y="778"/>
                    <a:pt x="376" y="779"/>
                  </a:cubicBezTo>
                  <a:cubicBezTo>
                    <a:pt x="376" y="780"/>
                    <a:pt x="376" y="781"/>
                    <a:pt x="377" y="782"/>
                  </a:cubicBezTo>
                  <a:cubicBezTo>
                    <a:pt x="377" y="782"/>
                    <a:pt x="377" y="782"/>
                    <a:pt x="377" y="782"/>
                  </a:cubicBezTo>
                  <a:cubicBezTo>
                    <a:pt x="376" y="782"/>
                    <a:pt x="376" y="782"/>
                    <a:pt x="377" y="783"/>
                  </a:cubicBezTo>
                  <a:cubicBezTo>
                    <a:pt x="376" y="783"/>
                    <a:pt x="376" y="783"/>
                    <a:pt x="376" y="784"/>
                  </a:cubicBezTo>
                  <a:cubicBezTo>
                    <a:pt x="376" y="784"/>
                    <a:pt x="376" y="784"/>
                    <a:pt x="376" y="784"/>
                  </a:cubicBezTo>
                  <a:cubicBezTo>
                    <a:pt x="376" y="785"/>
                    <a:pt x="375" y="786"/>
                    <a:pt x="376" y="788"/>
                  </a:cubicBezTo>
                  <a:cubicBezTo>
                    <a:pt x="375" y="787"/>
                    <a:pt x="374" y="786"/>
                    <a:pt x="372" y="786"/>
                  </a:cubicBezTo>
                  <a:cubicBezTo>
                    <a:pt x="373" y="786"/>
                    <a:pt x="373" y="786"/>
                    <a:pt x="373" y="787"/>
                  </a:cubicBezTo>
                  <a:cubicBezTo>
                    <a:pt x="375" y="789"/>
                    <a:pt x="380" y="791"/>
                    <a:pt x="384" y="793"/>
                  </a:cubicBezTo>
                  <a:cubicBezTo>
                    <a:pt x="384" y="793"/>
                    <a:pt x="385" y="793"/>
                    <a:pt x="385" y="793"/>
                  </a:cubicBezTo>
                  <a:cubicBezTo>
                    <a:pt x="385" y="793"/>
                    <a:pt x="385" y="793"/>
                    <a:pt x="385" y="793"/>
                  </a:cubicBezTo>
                  <a:cubicBezTo>
                    <a:pt x="387" y="794"/>
                    <a:pt x="388" y="794"/>
                    <a:pt x="389" y="794"/>
                  </a:cubicBezTo>
                  <a:cubicBezTo>
                    <a:pt x="389" y="794"/>
                    <a:pt x="389" y="794"/>
                    <a:pt x="389" y="794"/>
                  </a:cubicBezTo>
                  <a:cubicBezTo>
                    <a:pt x="390" y="793"/>
                    <a:pt x="390" y="793"/>
                    <a:pt x="390" y="793"/>
                  </a:cubicBezTo>
                  <a:cubicBezTo>
                    <a:pt x="390" y="793"/>
                    <a:pt x="390" y="793"/>
                    <a:pt x="390" y="792"/>
                  </a:cubicBezTo>
                  <a:cubicBezTo>
                    <a:pt x="390" y="792"/>
                    <a:pt x="390" y="792"/>
                    <a:pt x="390" y="792"/>
                  </a:cubicBezTo>
                  <a:cubicBezTo>
                    <a:pt x="390" y="792"/>
                    <a:pt x="390" y="792"/>
                    <a:pt x="390" y="791"/>
                  </a:cubicBezTo>
                  <a:cubicBezTo>
                    <a:pt x="390" y="791"/>
                    <a:pt x="390" y="790"/>
                    <a:pt x="391" y="790"/>
                  </a:cubicBezTo>
                  <a:cubicBezTo>
                    <a:pt x="392" y="790"/>
                    <a:pt x="392" y="791"/>
                    <a:pt x="393" y="791"/>
                  </a:cubicBezTo>
                  <a:cubicBezTo>
                    <a:pt x="393" y="791"/>
                    <a:pt x="393" y="791"/>
                    <a:pt x="393" y="791"/>
                  </a:cubicBezTo>
                  <a:cubicBezTo>
                    <a:pt x="392" y="790"/>
                    <a:pt x="391" y="789"/>
                    <a:pt x="392" y="788"/>
                  </a:cubicBezTo>
                  <a:cubicBezTo>
                    <a:pt x="392" y="788"/>
                    <a:pt x="392" y="787"/>
                    <a:pt x="392" y="787"/>
                  </a:cubicBezTo>
                  <a:cubicBezTo>
                    <a:pt x="393" y="787"/>
                    <a:pt x="393" y="786"/>
                    <a:pt x="394" y="786"/>
                  </a:cubicBezTo>
                  <a:cubicBezTo>
                    <a:pt x="394" y="786"/>
                    <a:pt x="395" y="786"/>
                    <a:pt x="395" y="786"/>
                  </a:cubicBezTo>
                  <a:cubicBezTo>
                    <a:pt x="395" y="786"/>
                    <a:pt x="395" y="786"/>
                    <a:pt x="395" y="786"/>
                  </a:cubicBezTo>
                  <a:cubicBezTo>
                    <a:pt x="395" y="786"/>
                    <a:pt x="395" y="786"/>
                    <a:pt x="395" y="786"/>
                  </a:cubicBezTo>
                  <a:cubicBezTo>
                    <a:pt x="395" y="785"/>
                    <a:pt x="395" y="785"/>
                    <a:pt x="395" y="785"/>
                  </a:cubicBezTo>
                  <a:cubicBezTo>
                    <a:pt x="395" y="785"/>
                    <a:pt x="395" y="785"/>
                    <a:pt x="395" y="784"/>
                  </a:cubicBezTo>
                  <a:cubicBezTo>
                    <a:pt x="395" y="784"/>
                    <a:pt x="395" y="784"/>
                    <a:pt x="395" y="784"/>
                  </a:cubicBezTo>
                  <a:cubicBezTo>
                    <a:pt x="394" y="783"/>
                    <a:pt x="393" y="782"/>
                    <a:pt x="392" y="781"/>
                  </a:cubicBezTo>
                  <a:cubicBezTo>
                    <a:pt x="393" y="782"/>
                    <a:pt x="395" y="782"/>
                    <a:pt x="395" y="783"/>
                  </a:cubicBezTo>
                  <a:cubicBezTo>
                    <a:pt x="395" y="783"/>
                    <a:pt x="396" y="783"/>
                    <a:pt x="396" y="783"/>
                  </a:cubicBezTo>
                  <a:cubicBezTo>
                    <a:pt x="396" y="783"/>
                    <a:pt x="396" y="783"/>
                    <a:pt x="396" y="783"/>
                  </a:cubicBezTo>
                  <a:cubicBezTo>
                    <a:pt x="396" y="784"/>
                    <a:pt x="396" y="784"/>
                    <a:pt x="396" y="785"/>
                  </a:cubicBezTo>
                  <a:cubicBezTo>
                    <a:pt x="396" y="785"/>
                    <a:pt x="396" y="785"/>
                    <a:pt x="396" y="785"/>
                  </a:cubicBezTo>
                  <a:cubicBezTo>
                    <a:pt x="396" y="785"/>
                    <a:pt x="396" y="785"/>
                    <a:pt x="396" y="785"/>
                  </a:cubicBezTo>
                  <a:cubicBezTo>
                    <a:pt x="396" y="786"/>
                    <a:pt x="395" y="786"/>
                    <a:pt x="394" y="787"/>
                  </a:cubicBezTo>
                  <a:cubicBezTo>
                    <a:pt x="394" y="787"/>
                    <a:pt x="393" y="787"/>
                    <a:pt x="393" y="787"/>
                  </a:cubicBezTo>
                  <a:cubicBezTo>
                    <a:pt x="393" y="788"/>
                    <a:pt x="393" y="788"/>
                    <a:pt x="393" y="788"/>
                  </a:cubicBezTo>
                  <a:cubicBezTo>
                    <a:pt x="392" y="789"/>
                    <a:pt x="394" y="791"/>
                    <a:pt x="394" y="793"/>
                  </a:cubicBezTo>
                  <a:cubicBezTo>
                    <a:pt x="394" y="793"/>
                    <a:pt x="394" y="793"/>
                    <a:pt x="394" y="794"/>
                  </a:cubicBezTo>
                  <a:cubicBezTo>
                    <a:pt x="394" y="794"/>
                    <a:pt x="394" y="794"/>
                    <a:pt x="394" y="794"/>
                  </a:cubicBezTo>
                  <a:cubicBezTo>
                    <a:pt x="394" y="794"/>
                    <a:pt x="394" y="794"/>
                    <a:pt x="394" y="795"/>
                  </a:cubicBezTo>
                  <a:cubicBezTo>
                    <a:pt x="394" y="796"/>
                    <a:pt x="397" y="797"/>
                    <a:pt x="398" y="797"/>
                  </a:cubicBezTo>
                  <a:cubicBezTo>
                    <a:pt x="400" y="798"/>
                    <a:pt x="401" y="797"/>
                    <a:pt x="402" y="797"/>
                  </a:cubicBezTo>
                  <a:cubicBezTo>
                    <a:pt x="402" y="797"/>
                    <a:pt x="402" y="797"/>
                    <a:pt x="401" y="798"/>
                  </a:cubicBezTo>
                  <a:cubicBezTo>
                    <a:pt x="401" y="798"/>
                    <a:pt x="401" y="798"/>
                    <a:pt x="401" y="798"/>
                  </a:cubicBezTo>
                  <a:cubicBezTo>
                    <a:pt x="400" y="798"/>
                    <a:pt x="399" y="798"/>
                    <a:pt x="398" y="799"/>
                  </a:cubicBezTo>
                  <a:cubicBezTo>
                    <a:pt x="397" y="800"/>
                    <a:pt x="397" y="801"/>
                    <a:pt x="397" y="802"/>
                  </a:cubicBezTo>
                  <a:cubicBezTo>
                    <a:pt x="398" y="803"/>
                    <a:pt x="399" y="804"/>
                    <a:pt x="401" y="805"/>
                  </a:cubicBezTo>
                  <a:cubicBezTo>
                    <a:pt x="402" y="805"/>
                    <a:pt x="403" y="806"/>
                    <a:pt x="404" y="805"/>
                  </a:cubicBezTo>
                  <a:cubicBezTo>
                    <a:pt x="404" y="805"/>
                    <a:pt x="404" y="805"/>
                    <a:pt x="404" y="805"/>
                  </a:cubicBezTo>
                  <a:cubicBezTo>
                    <a:pt x="404" y="805"/>
                    <a:pt x="404" y="805"/>
                    <a:pt x="404" y="805"/>
                  </a:cubicBezTo>
                  <a:cubicBezTo>
                    <a:pt x="404" y="805"/>
                    <a:pt x="404" y="805"/>
                    <a:pt x="404" y="805"/>
                  </a:cubicBezTo>
                  <a:cubicBezTo>
                    <a:pt x="404" y="805"/>
                    <a:pt x="404" y="805"/>
                    <a:pt x="404" y="805"/>
                  </a:cubicBezTo>
                  <a:cubicBezTo>
                    <a:pt x="404" y="804"/>
                    <a:pt x="404" y="804"/>
                    <a:pt x="404" y="804"/>
                  </a:cubicBezTo>
                  <a:cubicBezTo>
                    <a:pt x="403" y="804"/>
                    <a:pt x="403" y="803"/>
                    <a:pt x="403" y="803"/>
                  </a:cubicBezTo>
                  <a:cubicBezTo>
                    <a:pt x="404" y="803"/>
                    <a:pt x="404" y="802"/>
                    <a:pt x="405" y="802"/>
                  </a:cubicBezTo>
                  <a:cubicBezTo>
                    <a:pt x="405" y="802"/>
                    <a:pt x="405" y="802"/>
                    <a:pt x="405" y="802"/>
                  </a:cubicBezTo>
                  <a:cubicBezTo>
                    <a:pt x="405" y="801"/>
                    <a:pt x="405" y="801"/>
                    <a:pt x="406" y="801"/>
                  </a:cubicBezTo>
                  <a:cubicBezTo>
                    <a:pt x="407" y="801"/>
                    <a:pt x="408" y="800"/>
                    <a:pt x="409" y="800"/>
                  </a:cubicBezTo>
                  <a:cubicBezTo>
                    <a:pt x="409" y="799"/>
                    <a:pt x="410" y="799"/>
                    <a:pt x="410" y="798"/>
                  </a:cubicBezTo>
                  <a:cubicBezTo>
                    <a:pt x="410" y="798"/>
                    <a:pt x="410" y="798"/>
                    <a:pt x="410" y="798"/>
                  </a:cubicBezTo>
                  <a:cubicBezTo>
                    <a:pt x="410" y="798"/>
                    <a:pt x="410" y="798"/>
                    <a:pt x="410" y="798"/>
                  </a:cubicBezTo>
                  <a:cubicBezTo>
                    <a:pt x="410" y="798"/>
                    <a:pt x="410" y="798"/>
                    <a:pt x="410" y="797"/>
                  </a:cubicBezTo>
                  <a:cubicBezTo>
                    <a:pt x="410" y="797"/>
                    <a:pt x="411" y="797"/>
                    <a:pt x="411" y="797"/>
                  </a:cubicBezTo>
                  <a:cubicBezTo>
                    <a:pt x="411" y="798"/>
                    <a:pt x="410" y="802"/>
                    <a:pt x="409" y="805"/>
                  </a:cubicBezTo>
                  <a:cubicBezTo>
                    <a:pt x="410" y="804"/>
                    <a:pt x="411" y="804"/>
                    <a:pt x="412" y="804"/>
                  </a:cubicBezTo>
                  <a:cubicBezTo>
                    <a:pt x="414" y="804"/>
                    <a:pt x="415" y="805"/>
                    <a:pt x="417" y="806"/>
                  </a:cubicBezTo>
                  <a:cubicBezTo>
                    <a:pt x="417" y="806"/>
                    <a:pt x="417" y="805"/>
                    <a:pt x="418" y="805"/>
                  </a:cubicBezTo>
                  <a:cubicBezTo>
                    <a:pt x="418" y="805"/>
                    <a:pt x="418" y="805"/>
                    <a:pt x="418" y="804"/>
                  </a:cubicBezTo>
                  <a:cubicBezTo>
                    <a:pt x="418" y="804"/>
                    <a:pt x="418" y="804"/>
                    <a:pt x="418" y="804"/>
                  </a:cubicBezTo>
                  <a:cubicBezTo>
                    <a:pt x="418" y="804"/>
                    <a:pt x="418" y="804"/>
                    <a:pt x="418" y="804"/>
                  </a:cubicBezTo>
                  <a:cubicBezTo>
                    <a:pt x="418" y="804"/>
                    <a:pt x="418" y="804"/>
                    <a:pt x="418" y="804"/>
                  </a:cubicBezTo>
                  <a:cubicBezTo>
                    <a:pt x="418" y="804"/>
                    <a:pt x="418" y="804"/>
                    <a:pt x="418" y="804"/>
                  </a:cubicBezTo>
                  <a:cubicBezTo>
                    <a:pt x="418" y="804"/>
                    <a:pt x="418" y="805"/>
                    <a:pt x="418" y="805"/>
                  </a:cubicBezTo>
                  <a:cubicBezTo>
                    <a:pt x="418" y="806"/>
                    <a:pt x="418" y="806"/>
                    <a:pt x="417" y="807"/>
                  </a:cubicBezTo>
                  <a:cubicBezTo>
                    <a:pt x="418" y="808"/>
                    <a:pt x="418" y="809"/>
                    <a:pt x="418" y="810"/>
                  </a:cubicBezTo>
                  <a:cubicBezTo>
                    <a:pt x="418" y="813"/>
                    <a:pt x="416" y="815"/>
                    <a:pt x="413" y="816"/>
                  </a:cubicBezTo>
                  <a:cubicBezTo>
                    <a:pt x="413" y="817"/>
                    <a:pt x="413" y="817"/>
                    <a:pt x="413" y="818"/>
                  </a:cubicBezTo>
                  <a:cubicBezTo>
                    <a:pt x="414" y="818"/>
                    <a:pt x="416" y="818"/>
                    <a:pt x="417" y="818"/>
                  </a:cubicBezTo>
                  <a:cubicBezTo>
                    <a:pt x="417" y="817"/>
                    <a:pt x="417" y="817"/>
                    <a:pt x="417" y="817"/>
                  </a:cubicBezTo>
                  <a:cubicBezTo>
                    <a:pt x="420" y="815"/>
                    <a:pt x="420" y="815"/>
                    <a:pt x="420" y="815"/>
                  </a:cubicBezTo>
                  <a:cubicBezTo>
                    <a:pt x="420" y="815"/>
                    <a:pt x="420" y="815"/>
                    <a:pt x="420" y="815"/>
                  </a:cubicBezTo>
                  <a:cubicBezTo>
                    <a:pt x="483" y="815"/>
                    <a:pt x="483" y="815"/>
                    <a:pt x="483" y="815"/>
                  </a:cubicBezTo>
                  <a:cubicBezTo>
                    <a:pt x="744" y="815"/>
                    <a:pt x="744" y="815"/>
                    <a:pt x="744" y="815"/>
                  </a:cubicBezTo>
                  <a:cubicBezTo>
                    <a:pt x="750" y="815"/>
                    <a:pt x="835" y="815"/>
                    <a:pt x="835" y="815"/>
                  </a:cubicBezTo>
                  <a:cubicBezTo>
                    <a:pt x="839" y="815"/>
                    <a:pt x="844" y="815"/>
                    <a:pt x="844" y="815"/>
                  </a:cubicBezTo>
                  <a:cubicBezTo>
                    <a:pt x="846" y="815"/>
                    <a:pt x="853" y="815"/>
                    <a:pt x="854" y="815"/>
                  </a:cubicBezTo>
                  <a:cubicBezTo>
                    <a:pt x="856" y="815"/>
                    <a:pt x="954" y="815"/>
                    <a:pt x="1007" y="815"/>
                  </a:cubicBezTo>
                  <a:cubicBezTo>
                    <a:pt x="1047" y="815"/>
                    <a:pt x="1047" y="815"/>
                    <a:pt x="1047" y="815"/>
                  </a:cubicBezTo>
                  <a:cubicBezTo>
                    <a:pt x="1055" y="816"/>
                    <a:pt x="1058" y="816"/>
                    <a:pt x="1060" y="815"/>
                  </a:cubicBezTo>
                  <a:cubicBezTo>
                    <a:pt x="1060" y="813"/>
                    <a:pt x="1060" y="809"/>
                    <a:pt x="1060" y="808"/>
                  </a:cubicBezTo>
                  <a:cubicBezTo>
                    <a:pt x="1057" y="803"/>
                    <a:pt x="1057" y="803"/>
                    <a:pt x="1057" y="803"/>
                  </a:cubicBezTo>
                  <a:cubicBezTo>
                    <a:pt x="1063" y="804"/>
                    <a:pt x="1063" y="804"/>
                    <a:pt x="1063" y="804"/>
                  </a:cubicBezTo>
                  <a:cubicBezTo>
                    <a:pt x="1066" y="804"/>
                    <a:pt x="1073" y="805"/>
                    <a:pt x="1073" y="812"/>
                  </a:cubicBezTo>
                  <a:cubicBezTo>
                    <a:pt x="1073" y="814"/>
                    <a:pt x="1076" y="822"/>
                    <a:pt x="1077" y="823"/>
                  </a:cubicBezTo>
                  <a:cubicBezTo>
                    <a:pt x="1078" y="824"/>
                    <a:pt x="1078" y="824"/>
                    <a:pt x="1078" y="824"/>
                  </a:cubicBezTo>
                  <a:cubicBezTo>
                    <a:pt x="1081" y="823"/>
                    <a:pt x="1085" y="825"/>
                    <a:pt x="1086" y="826"/>
                  </a:cubicBezTo>
                  <a:cubicBezTo>
                    <a:pt x="1087" y="827"/>
                    <a:pt x="1097" y="831"/>
                    <a:pt x="1100" y="828"/>
                  </a:cubicBezTo>
                  <a:cubicBezTo>
                    <a:pt x="1104" y="825"/>
                    <a:pt x="1109" y="826"/>
                    <a:pt x="1113" y="827"/>
                  </a:cubicBezTo>
                  <a:cubicBezTo>
                    <a:pt x="1114" y="827"/>
                    <a:pt x="1114" y="827"/>
                    <a:pt x="1115" y="828"/>
                  </a:cubicBezTo>
                  <a:cubicBezTo>
                    <a:pt x="1120" y="828"/>
                    <a:pt x="1126" y="831"/>
                    <a:pt x="1128" y="836"/>
                  </a:cubicBezTo>
                  <a:cubicBezTo>
                    <a:pt x="1128" y="836"/>
                    <a:pt x="1128" y="836"/>
                    <a:pt x="1128" y="836"/>
                  </a:cubicBezTo>
                  <a:cubicBezTo>
                    <a:pt x="1131" y="834"/>
                    <a:pt x="1135" y="834"/>
                    <a:pt x="1138" y="836"/>
                  </a:cubicBezTo>
                  <a:cubicBezTo>
                    <a:pt x="1138" y="837"/>
                    <a:pt x="1139" y="837"/>
                    <a:pt x="1140" y="838"/>
                  </a:cubicBezTo>
                  <a:cubicBezTo>
                    <a:pt x="1145" y="843"/>
                    <a:pt x="1148" y="845"/>
                    <a:pt x="1152" y="842"/>
                  </a:cubicBezTo>
                  <a:cubicBezTo>
                    <a:pt x="1157" y="838"/>
                    <a:pt x="1161" y="837"/>
                    <a:pt x="1163" y="838"/>
                  </a:cubicBezTo>
                  <a:cubicBezTo>
                    <a:pt x="1164" y="839"/>
                    <a:pt x="1165" y="840"/>
                    <a:pt x="1165" y="841"/>
                  </a:cubicBezTo>
                  <a:cubicBezTo>
                    <a:pt x="1166" y="841"/>
                    <a:pt x="1166" y="841"/>
                    <a:pt x="1166" y="841"/>
                  </a:cubicBezTo>
                  <a:cubicBezTo>
                    <a:pt x="1166" y="842"/>
                    <a:pt x="1166" y="842"/>
                    <a:pt x="1166" y="842"/>
                  </a:cubicBezTo>
                  <a:cubicBezTo>
                    <a:pt x="1169" y="842"/>
                    <a:pt x="1179" y="844"/>
                    <a:pt x="1182" y="844"/>
                  </a:cubicBezTo>
                  <a:cubicBezTo>
                    <a:pt x="1183" y="844"/>
                    <a:pt x="1185" y="845"/>
                    <a:pt x="1192" y="845"/>
                  </a:cubicBezTo>
                  <a:cubicBezTo>
                    <a:pt x="1193" y="845"/>
                    <a:pt x="1193" y="845"/>
                    <a:pt x="1193" y="845"/>
                  </a:cubicBezTo>
                  <a:cubicBezTo>
                    <a:pt x="1193" y="846"/>
                    <a:pt x="1193" y="846"/>
                    <a:pt x="1193" y="846"/>
                  </a:cubicBezTo>
                  <a:cubicBezTo>
                    <a:pt x="1193" y="846"/>
                    <a:pt x="1193" y="846"/>
                    <a:pt x="1193" y="846"/>
                  </a:cubicBezTo>
                  <a:cubicBezTo>
                    <a:pt x="1193" y="846"/>
                    <a:pt x="1193" y="846"/>
                    <a:pt x="1193" y="846"/>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5" y="844"/>
                    <a:pt x="1195" y="844"/>
                    <a:pt x="1195" y="844"/>
                  </a:cubicBezTo>
                  <a:cubicBezTo>
                    <a:pt x="1195" y="844"/>
                    <a:pt x="1195" y="844"/>
                    <a:pt x="1195" y="844"/>
                  </a:cubicBezTo>
                  <a:cubicBezTo>
                    <a:pt x="1195" y="844"/>
                    <a:pt x="1195" y="844"/>
                    <a:pt x="1195" y="844"/>
                  </a:cubicBezTo>
                  <a:cubicBezTo>
                    <a:pt x="1195" y="844"/>
                    <a:pt x="1195" y="844"/>
                    <a:pt x="1195" y="844"/>
                  </a:cubicBezTo>
                  <a:cubicBezTo>
                    <a:pt x="1195" y="844"/>
                    <a:pt x="1195" y="844"/>
                    <a:pt x="1195" y="844"/>
                  </a:cubicBezTo>
                  <a:cubicBezTo>
                    <a:pt x="1195" y="844"/>
                    <a:pt x="1196" y="844"/>
                    <a:pt x="1196" y="844"/>
                  </a:cubicBezTo>
                  <a:cubicBezTo>
                    <a:pt x="1196" y="844"/>
                    <a:pt x="1196" y="844"/>
                    <a:pt x="1196" y="844"/>
                  </a:cubicBezTo>
                  <a:cubicBezTo>
                    <a:pt x="1196" y="844"/>
                    <a:pt x="1196" y="844"/>
                    <a:pt x="1196" y="844"/>
                  </a:cubicBezTo>
                  <a:cubicBezTo>
                    <a:pt x="1196" y="843"/>
                    <a:pt x="1196" y="843"/>
                    <a:pt x="1196" y="843"/>
                  </a:cubicBezTo>
                  <a:cubicBezTo>
                    <a:pt x="1196" y="843"/>
                    <a:pt x="1196" y="843"/>
                    <a:pt x="1196" y="843"/>
                  </a:cubicBezTo>
                  <a:cubicBezTo>
                    <a:pt x="1196" y="843"/>
                    <a:pt x="1196" y="843"/>
                    <a:pt x="1196" y="843"/>
                  </a:cubicBezTo>
                  <a:cubicBezTo>
                    <a:pt x="1196" y="843"/>
                    <a:pt x="1196" y="843"/>
                    <a:pt x="1196" y="843"/>
                  </a:cubicBezTo>
                  <a:cubicBezTo>
                    <a:pt x="1196" y="843"/>
                    <a:pt x="1196" y="843"/>
                    <a:pt x="1196" y="843"/>
                  </a:cubicBezTo>
                  <a:cubicBezTo>
                    <a:pt x="1196" y="843"/>
                    <a:pt x="1196" y="843"/>
                    <a:pt x="1196" y="843"/>
                  </a:cubicBezTo>
                  <a:cubicBezTo>
                    <a:pt x="1196" y="843"/>
                    <a:pt x="1196" y="843"/>
                    <a:pt x="1196" y="843"/>
                  </a:cubicBezTo>
                  <a:cubicBezTo>
                    <a:pt x="1196" y="843"/>
                    <a:pt x="1196" y="843"/>
                    <a:pt x="1196" y="843"/>
                  </a:cubicBezTo>
                  <a:cubicBezTo>
                    <a:pt x="1197" y="843"/>
                    <a:pt x="1197" y="843"/>
                    <a:pt x="1197" y="843"/>
                  </a:cubicBezTo>
                  <a:cubicBezTo>
                    <a:pt x="1197" y="842"/>
                    <a:pt x="1197" y="842"/>
                    <a:pt x="1197" y="842"/>
                  </a:cubicBezTo>
                  <a:cubicBezTo>
                    <a:pt x="1197" y="842"/>
                    <a:pt x="1197" y="842"/>
                    <a:pt x="1197" y="842"/>
                  </a:cubicBezTo>
                  <a:cubicBezTo>
                    <a:pt x="1197" y="842"/>
                    <a:pt x="1197" y="842"/>
                    <a:pt x="1197" y="842"/>
                  </a:cubicBezTo>
                  <a:cubicBezTo>
                    <a:pt x="1197" y="841"/>
                    <a:pt x="1197" y="841"/>
                    <a:pt x="1197" y="841"/>
                  </a:cubicBezTo>
                  <a:cubicBezTo>
                    <a:pt x="1197" y="841"/>
                    <a:pt x="1197" y="841"/>
                    <a:pt x="1197" y="841"/>
                  </a:cubicBezTo>
                  <a:cubicBezTo>
                    <a:pt x="1197" y="841"/>
                    <a:pt x="1197" y="841"/>
                    <a:pt x="1197" y="841"/>
                  </a:cubicBezTo>
                  <a:cubicBezTo>
                    <a:pt x="1197" y="841"/>
                    <a:pt x="1197" y="841"/>
                    <a:pt x="1197" y="841"/>
                  </a:cubicBezTo>
                  <a:cubicBezTo>
                    <a:pt x="1197" y="841"/>
                    <a:pt x="1197" y="841"/>
                    <a:pt x="1197" y="841"/>
                  </a:cubicBezTo>
                  <a:cubicBezTo>
                    <a:pt x="1198" y="841"/>
                    <a:pt x="1197" y="840"/>
                    <a:pt x="1198" y="839"/>
                  </a:cubicBezTo>
                  <a:cubicBezTo>
                    <a:pt x="1198" y="839"/>
                    <a:pt x="1198" y="839"/>
                    <a:pt x="1198" y="839"/>
                  </a:cubicBezTo>
                  <a:cubicBezTo>
                    <a:pt x="1198" y="839"/>
                    <a:pt x="1198" y="839"/>
                    <a:pt x="1198" y="839"/>
                  </a:cubicBezTo>
                  <a:cubicBezTo>
                    <a:pt x="1198" y="839"/>
                    <a:pt x="1198" y="839"/>
                    <a:pt x="1198" y="839"/>
                  </a:cubicBezTo>
                  <a:cubicBezTo>
                    <a:pt x="1198" y="839"/>
                    <a:pt x="1198" y="839"/>
                    <a:pt x="1198" y="839"/>
                  </a:cubicBezTo>
                  <a:cubicBezTo>
                    <a:pt x="1198" y="839"/>
                    <a:pt x="1198" y="839"/>
                    <a:pt x="1198" y="839"/>
                  </a:cubicBezTo>
                  <a:cubicBezTo>
                    <a:pt x="1198" y="839"/>
                    <a:pt x="1198" y="839"/>
                    <a:pt x="1198" y="839"/>
                  </a:cubicBezTo>
                  <a:cubicBezTo>
                    <a:pt x="1198" y="838"/>
                    <a:pt x="1198" y="838"/>
                    <a:pt x="1198" y="838"/>
                  </a:cubicBezTo>
                  <a:cubicBezTo>
                    <a:pt x="1198" y="838"/>
                    <a:pt x="1198" y="838"/>
                    <a:pt x="1198" y="838"/>
                  </a:cubicBezTo>
                  <a:cubicBezTo>
                    <a:pt x="1198" y="838"/>
                    <a:pt x="1198" y="838"/>
                    <a:pt x="1198" y="838"/>
                  </a:cubicBezTo>
                  <a:cubicBezTo>
                    <a:pt x="1198" y="838"/>
                    <a:pt x="1198" y="838"/>
                    <a:pt x="1198" y="838"/>
                  </a:cubicBezTo>
                  <a:cubicBezTo>
                    <a:pt x="1199" y="838"/>
                    <a:pt x="1199" y="838"/>
                    <a:pt x="1199" y="838"/>
                  </a:cubicBezTo>
                  <a:cubicBezTo>
                    <a:pt x="1199" y="838"/>
                    <a:pt x="1199" y="838"/>
                    <a:pt x="1199" y="838"/>
                  </a:cubicBezTo>
                  <a:cubicBezTo>
                    <a:pt x="1199" y="838"/>
                    <a:pt x="1199" y="838"/>
                    <a:pt x="1199" y="838"/>
                  </a:cubicBezTo>
                  <a:cubicBezTo>
                    <a:pt x="1199" y="838"/>
                    <a:pt x="1199" y="838"/>
                    <a:pt x="1199" y="838"/>
                  </a:cubicBezTo>
                  <a:cubicBezTo>
                    <a:pt x="1199" y="838"/>
                    <a:pt x="1199" y="838"/>
                    <a:pt x="1199" y="838"/>
                  </a:cubicBezTo>
                  <a:cubicBezTo>
                    <a:pt x="1199" y="837"/>
                    <a:pt x="1199" y="837"/>
                    <a:pt x="1199" y="837"/>
                  </a:cubicBezTo>
                  <a:cubicBezTo>
                    <a:pt x="1199" y="837"/>
                    <a:pt x="1199" y="837"/>
                    <a:pt x="1199" y="837"/>
                  </a:cubicBezTo>
                  <a:cubicBezTo>
                    <a:pt x="1199" y="837"/>
                    <a:pt x="1199" y="837"/>
                    <a:pt x="1199" y="837"/>
                  </a:cubicBezTo>
                  <a:cubicBezTo>
                    <a:pt x="1199" y="836"/>
                    <a:pt x="1197" y="837"/>
                    <a:pt x="1198" y="835"/>
                  </a:cubicBezTo>
                  <a:cubicBezTo>
                    <a:pt x="1198" y="835"/>
                    <a:pt x="1198" y="835"/>
                    <a:pt x="1198" y="835"/>
                  </a:cubicBezTo>
                  <a:cubicBezTo>
                    <a:pt x="1198" y="835"/>
                    <a:pt x="1198" y="835"/>
                    <a:pt x="1198" y="835"/>
                  </a:cubicBezTo>
                  <a:cubicBezTo>
                    <a:pt x="1198" y="835"/>
                    <a:pt x="1198" y="835"/>
                    <a:pt x="1198" y="835"/>
                  </a:cubicBezTo>
                  <a:cubicBezTo>
                    <a:pt x="1199" y="835"/>
                    <a:pt x="1199" y="835"/>
                    <a:pt x="1199" y="835"/>
                  </a:cubicBezTo>
                  <a:cubicBezTo>
                    <a:pt x="1199" y="835"/>
                    <a:pt x="1199" y="835"/>
                    <a:pt x="1199" y="835"/>
                  </a:cubicBezTo>
                  <a:cubicBezTo>
                    <a:pt x="1199" y="835"/>
                    <a:pt x="1199" y="835"/>
                    <a:pt x="1199" y="835"/>
                  </a:cubicBezTo>
                  <a:cubicBezTo>
                    <a:pt x="1199" y="835"/>
                    <a:pt x="1199" y="835"/>
                    <a:pt x="1199" y="835"/>
                  </a:cubicBezTo>
                  <a:cubicBezTo>
                    <a:pt x="1199" y="834"/>
                    <a:pt x="1199" y="834"/>
                    <a:pt x="1199" y="834"/>
                  </a:cubicBezTo>
                  <a:cubicBezTo>
                    <a:pt x="1199" y="834"/>
                    <a:pt x="1199" y="834"/>
                    <a:pt x="1199" y="834"/>
                  </a:cubicBezTo>
                  <a:cubicBezTo>
                    <a:pt x="1199" y="834"/>
                    <a:pt x="1199" y="834"/>
                    <a:pt x="1199" y="834"/>
                  </a:cubicBezTo>
                  <a:cubicBezTo>
                    <a:pt x="1199" y="834"/>
                    <a:pt x="1199" y="834"/>
                    <a:pt x="1199" y="834"/>
                  </a:cubicBezTo>
                  <a:cubicBezTo>
                    <a:pt x="1199" y="834"/>
                    <a:pt x="1199" y="834"/>
                    <a:pt x="1199" y="834"/>
                  </a:cubicBezTo>
                  <a:cubicBezTo>
                    <a:pt x="1199" y="834"/>
                    <a:pt x="1199" y="834"/>
                    <a:pt x="1199" y="834"/>
                  </a:cubicBezTo>
                  <a:cubicBezTo>
                    <a:pt x="1199" y="834"/>
                    <a:pt x="1199" y="834"/>
                    <a:pt x="1199" y="834"/>
                  </a:cubicBezTo>
                  <a:cubicBezTo>
                    <a:pt x="1200" y="834"/>
                    <a:pt x="1200" y="834"/>
                    <a:pt x="1200" y="834"/>
                  </a:cubicBezTo>
                  <a:cubicBezTo>
                    <a:pt x="1200" y="834"/>
                    <a:pt x="1200" y="834"/>
                    <a:pt x="1200" y="834"/>
                  </a:cubicBezTo>
                  <a:cubicBezTo>
                    <a:pt x="1200" y="834"/>
                    <a:pt x="1200" y="834"/>
                    <a:pt x="1200" y="834"/>
                  </a:cubicBezTo>
                  <a:cubicBezTo>
                    <a:pt x="1200" y="833"/>
                    <a:pt x="1200" y="833"/>
                    <a:pt x="1200" y="833"/>
                  </a:cubicBezTo>
                  <a:cubicBezTo>
                    <a:pt x="1200" y="833"/>
                    <a:pt x="1200" y="833"/>
                    <a:pt x="1200" y="833"/>
                  </a:cubicBezTo>
                  <a:cubicBezTo>
                    <a:pt x="1201" y="833"/>
                    <a:pt x="1201" y="833"/>
                    <a:pt x="1202" y="833"/>
                  </a:cubicBezTo>
                  <a:cubicBezTo>
                    <a:pt x="1202" y="833"/>
                    <a:pt x="1202" y="833"/>
                    <a:pt x="1202" y="833"/>
                  </a:cubicBezTo>
                  <a:cubicBezTo>
                    <a:pt x="1202" y="833"/>
                    <a:pt x="1202" y="833"/>
                    <a:pt x="1202" y="833"/>
                  </a:cubicBezTo>
                  <a:cubicBezTo>
                    <a:pt x="1203" y="832"/>
                    <a:pt x="1203" y="832"/>
                    <a:pt x="1204" y="832"/>
                  </a:cubicBezTo>
                  <a:cubicBezTo>
                    <a:pt x="1204" y="832"/>
                    <a:pt x="1204" y="832"/>
                    <a:pt x="1204" y="832"/>
                  </a:cubicBezTo>
                  <a:cubicBezTo>
                    <a:pt x="1204" y="832"/>
                    <a:pt x="1204" y="832"/>
                    <a:pt x="1204" y="832"/>
                  </a:cubicBezTo>
                  <a:cubicBezTo>
                    <a:pt x="1204" y="832"/>
                    <a:pt x="1204" y="832"/>
                    <a:pt x="1204" y="832"/>
                  </a:cubicBezTo>
                  <a:cubicBezTo>
                    <a:pt x="1204" y="832"/>
                    <a:pt x="1204" y="832"/>
                    <a:pt x="1204" y="832"/>
                  </a:cubicBezTo>
                  <a:cubicBezTo>
                    <a:pt x="1204" y="832"/>
                    <a:pt x="1204" y="832"/>
                    <a:pt x="1204" y="832"/>
                  </a:cubicBezTo>
                  <a:cubicBezTo>
                    <a:pt x="1205" y="832"/>
                    <a:pt x="1205" y="832"/>
                    <a:pt x="1205" y="832"/>
                  </a:cubicBezTo>
                  <a:cubicBezTo>
                    <a:pt x="1205" y="832"/>
                    <a:pt x="1205" y="832"/>
                    <a:pt x="1205" y="832"/>
                  </a:cubicBezTo>
                  <a:cubicBezTo>
                    <a:pt x="1205" y="832"/>
                    <a:pt x="1205" y="832"/>
                    <a:pt x="1205" y="832"/>
                  </a:cubicBezTo>
                  <a:cubicBezTo>
                    <a:pt x="1205" y="832"/>
                    <a:pt x="1205" y="832"/>
                    <a:pt x="1205" y="832"/>
                  </a:cubicBezTo>
                  <a:cubicBezTo>
                    <a:pt x="1205" y="832"/>
                    <a:pt x="1205" y="832"/>
                    <a:pt x="1205" y="832"/>
                  </a:cubicBezTo>
                  <a:cubicBezTo>
                    <a:pt x="1205" y="831"/>
                    <a:pt x="1205" y="831"/>
                    <a:pt x="1205" y="831"/>
                  </a:cubicBezTo>
                  <a:cubicBezTo>
                    <a:pt x="1205" y="831"/>
                    <a:pt x="1205" y="831"/>
                    <a:pt x="1205" y="831"/>
                  </a:cubicBezTo>
                  <a:cubicBezTo>
                    <a:pt x="1206" y="831"/>
                    <a:pt x="1206" y="831"/>
                    <a:pt x="1206" y="831"/>
                  </a:cubicBezTo>
                  <a:cubicBezTo>
                    <a:pt x="1206" y="831"/>
                    <a:pt x="1206" y="831"/>
                    <a:pt x="1206" y="831"/>
                  </a:cubicBezTo>
                  <a:cubicBezTo>
                    <a:pt x="1206" y="831"/>
                    <a:pt x="1206" y="831"/>
                    <a:pt x="1206" y="831"/>
                  </a:cubicBezTo>
                  <a:cubicBezTo>
                    <a:pt x="1206" y="831"/>
                    <a:pt x="1206" y="831"/>
                    <a:pt x="1206" y="831"/>
                  </a:cubicBezTo>
                  <a:cubicBezTo>
                    <a:pt x="1206" y="831"/>
                    <a:pt x="1206" y="831"/>
                    <a:pt x="1206" y="831"/>
                  </a:cubicBezTo>
                  <a:cubicBezTo>
                    <a:pt x="1207" y="831"/>
                    <a:pt x="1207" y="831"/>
                    <a:pt x="1207" y="831"/>
                  </a:cubicBezTo>
                  <a:cubicBezTo>
                    <a:pt x="1207" y="831"/>
                    <a:pt x="1207" y="831"/>
                    <a:pt x="1207" y="831"/>
                  </a:cubicBezTo>
                  <a:cubicBezTo>
                    <a:pt x="1207" y="831"/>
                    <a:pt x="1207" y="831"/>
                    <a:pt x="1207" y="831"/>
                  </a:cubicBezTo>
                  <a:cubicBezTo>
                    <a:pt x="1207" y="831"/>
                    <a:pt x="1207" y="831"/>
                    <a:pt x="1207" y="831"/>
                  </a:cubicBezTo>
                  <a:cubicBezTo>
                    <a:pt x="1207" y="831"/>
                    <a:pt x="1207" y="831"/>
                    <a:pt x="1207" y="831"/>
                  </a:cubicBezTo>
                  <a:cubicBezTo>
                    <a:pt x="1207" y="831"/>
                    <a:pt x="1207" y="831"/>
                    <a:pt x="1207" y="831"/>
                  </a:cubicBezTo>
                  <a:cubicBezTo>
                    <a:pt x="1207" y="831"/>
                    <a:pt x="1207" y="831"/>
                    <a:pt x="1207" y="831"/>
                  </a:cubicBezTo>
                  <a:cubicBezTo>
                    <a:pt x="1208" y="831"/>
                    <a:pt x="1208" y="831"/>
                    <a:pt x="1208" y="831"/>
                  </a:cubicBezTo>
                  <a:cubicBezTo>
                    <a:pt x="1208" y="831"/>
                    <a:pt x="1208" y="831"/>
                    <a:pt x="1208" y="831"/>
                  </a:cubicBezTo>
                  <a:cubicBezTo>
                    <a:pt x="1208" y="831"/>
                    <a:pt x="1208" y="831"/>
                    <a:pt x="1208" y="831"/>
                  </a:cubicBezTo>
                  <a:cubicBezTo>
                    <a:pt x="1208" y="830"/>
                    <a:pt x="1208" y="830"/>
                    <a:pt x="1208" y="830"/>
                  </a:cubicBezTo>
                  <a:cubicBezTo>
                    <a:pt x="1208" y="830"/>
                    <a:pt x="1208" y="830"/>
                    <a:pt x="1208" y="830"/>
                  </a:cubicBezTo>
                  <a:cubicBezTo>
                    <a:pt x="1208" y="830"/>
                    <a:pt x="1208" y="830"/>
                    <a:pt x="1208" y="830"/>
                  </a:cubicBezTo>
                  <a:cubicBezTo>
                    <a:pt x="1209" y="830"/>
                    <a:pt x="1209" y="830"/>
                    <a:pt x="1209" y="830"/>
                  </a:cubicBezTo>
                  <a:cubicBezTo>
                    <a:pt x="1209" y="830"/>
                    <a:pt x="1209" y="830"/>
                    <a:pt x="1209" y="830"/>
                  </a:cubicBezTo>
                  <a:cubicBezTo>
                    <a:pt x="1209" y="830"/>
                    <a:pt x="1209" y="830"/>
                    <a:pt x="1209" y="830"/>
                  </a:cubicBezTo>
                  <a:cubicBezTo>
                    <a:pt x="1209" y="830"/>
                    <a:pt x="1209" y="830"/>
                    <a:pt x="1209" y="830"/>
                  </a:cubicBezTo>
                  <a:cubicBezTo>
                    <a:pt x="1209" y="830"/>
                    <a:pt x="1209" y="830"/>
                    <a:pt x="1209" y="830"/>
                  </a:cubicBezTo>
                  <a:cubicBezTo>
                    <a:pt x="1209" y="831"/>
                    <a:pt x="1209" y="831"/>
                    <a:pt x="1209" y="831"/>
                  </a:cubicBezTo>
                  <a:cubicBezTo>
                    <a:pt x="1208" y="832"/>
                    <a:pt x="1208" y="832"/>
                    <a:pt x="1208" y="832"/>
                  </a:cubicBezTo>
                  <a:cubicBezTo>
                    <a:pt x="1208" y="833"/>
                    <a:pt x="1207" y="833"/>
                    <a:pt x="1207" y="834"/>
                  </a:cubicBezTo>
                  <a:cubicBezTo>
                    <a:pt x="1207" y="834"/>
                    <a:pt x="1207" y="834"/>
                    <a:pt x="1207" y="834"/>
                  </a:cubicBezTo>
                  <a:cubicBezTo>
                    <a:pt x="1207" y="834"/>
                    <a:pt x="1207" y="834"/>
                    <a:pt x="1207" y="834"/>
                  </a:cubicBezTo>
                  <a:cubicBezTo>
                    <a:pt x="1207" y="834"/>
                    <a:pt x="1207" y="834"/>
                    <a:pt x="1207" y="834"/>
                  </a:cubicBezTo>
                  <a:cubicBezTo>
                    <a:pt x="1207" y="834"/>
                    <a:pt x="1207" y="834"/>
                    <a:pt x="1207" y="834"/>
                  </a:cubicBezTo>
                  <a:cubicBezTo>
                    <a:pt x="1207" y="834"/>
                    <a:pt x="1207" y="834"/>
                    <a:pt x="1207" y="834"/>
                  </a:cubicBezTo>
                  <a:cubicBezTo>
                    <a:pt x="1207" y="835"/>
                    <a:pt x="1207" y="835"/>
                    <a:pt x="1207" y="835"/>
                  </a:cubicBezTo>
                  <a:cubicBezTo>
                    <a:pt x="1207" y="835"/>
                    <a:pt x="1207" y="835"/>
                    <a:pt x="1207" y="835"/>
                  </a:cubicBezTo>
                  <a:cubicBezTo>
                    <a:pt x="1207" y="835"/>
                    <a:pt x="1207" y="835"/>
                    <a:pt x="1207" y="835"/>
                  </a:cubicBezTo>
                  <a:cubicBezTo>
                    <a:pt x="1207" y="835"/>
                    <a:pt x="1207" y="835"/>
                    <a:pt x="1207" y="835"/>
                  </a:cubicBezTo>
                  <a:cubicBezTo>
                    <a:pt x="1207" y="835"/>
                    <a:pt x="1207" y="835"/>
                    <a:pt x="1207" y="835"/>
                  </a:cubicBezTo>
                  <a:cubicBezTo>
                    <a:pt x="1207" y="835"/>
                    <a:pt x="1207" y="835"/>
                    <a:pt x="1207" y="835"/>
                  </a:cubicBezTo>
                  <a:cubicBezTo>
                    <a:pt x="1207" y="835"/>
                    <a:pt x="1207" y="835"/>
                    <a:pt x="1207" y="835"/>
                  </a:cubicBezTo>
                  <a:cubicBezTo>
                    <a:pt x="1207" y="836"/>
                    <a:pt x="1207" y="836"/>
                    <a:pt x="1207" y="836"/>
                  </a:cubicBezTo>
                  <a:cubicBezTo>
                    <a:pt x="1207" y="836"/>
                    <a:pt x="1207" y="836"/>
                    <a:pt x="1207" y="836"/>
                  </a:cubicBezTo>
                  <a:cubicBezTo>
                    <a:pt x="1207" y="836"/>
                    <a:pt x="1207" y="836"/>
                    <a:pt x="1207" y="836"/>
                  </a:cubicBezTo>
                  <a:cubicBezTo>
                    <a:pt x="1207" y="836"/>
                    <a:pt x="1207" y="836"/>
                    <a:pt x="1207" y="836"/>
                  </a:cubicBezTo>
                  <a:cubicBezTo>
                    <a:pt x="1207" y="836"/>
                    <a:pt x="1207" y="836"/>
                    <a:pt x="1207" y="836"/>
                  </a:cubicBezTo>
                  <a:cubicBezTo>
                    <a:pt x="1207" y="836"/>
                    <a:pt x="1207" y="836"/>
                    <a:pt x="1207" y="836"/>
                  </a:cubicBezTo>
                  <a:cubicBezTo>
                    <a:pt x="1206" y="836"/>
                    <a:pt x="1206" y="836"/>
                    <a:pt x="1206" y="836"/>
                  </a:cubicBezTo>
                  <a:cubicBezTo>
                    <a:pt x="1206" y="836"/>
                    <a:pt x="1206" y="836"/>
                    <a:pt x="1206" y="836"/>
                  </a:cubicBezTo>
                  <a:cubicBezTo>
                    <a:pt x="1206" y="836"/>
                    <a:pt x="1206" y="836"/>
                    <a:pt x="1206" y="836"/>
                  </a:cubicBezTo>
                  <a:cubicBezTo>
                    <a:pt x="1206" y="836"/>
                    <a:pt x="1206" y="836"/>
                    <a:pt x="1206" y="836"/>
                  </a:cubicBezTo>
                  <a:cubicBezTo>
                    <a:pt x="1206" y="837"/>
                    <a:pt x="1206" y="837"/>
                    <a:pt x="1205" y="837"/>
                  </a:cubicBezTo>
                  <a:cubicBezTo>
                    <a:pt x="1205" y="838"/>
                    <a:pt x="1205" y="838"/>
                    <a:pt x="1205" y="838"/>
                  </a:cubicBezTo>
                  <a:cubicBezTo>
                    <a:pt x="1205" y="838"/>
                    <a:pt x="1205" y="838"/>
                    <a:pt x="1205" y="838"/>
                  </a:cubicBezTo>
                  <a:cubicBezTo>
                    <a:pt x="1205" y="838"/>
                    <a:pt x="1205" y="838"/>
                    <a:pt x="1205" y="838"/>
                  </a:cubicBezTo>
                  <a:cubicBezTo>
                    <a:pt x="1206" y="838"/>
                    <a:pt x="1206" y="838"/>
                    <a:pt x="1206" y="838"/>
                  </a:cubicBezTo>
                  <a:cubicBezTo>
                    <a:pt x="1206" y="838"/>
                    <a:pt x="1206" y="838"/>
                    <a:pt x="1206" y="838"/>
                  </a:cubicBezTo>
                  <a:cubicBezTo>
                    <a:pt x="1208" y="837"/>
                    <a:pt x="1208" y="837"/>
                    <a:pt x="1208" y="837"/>
                  </a:cubicBezTo>
                  <a:cubicBezTo>
                    <a:pt x="1210" y="837"/>
                    <a:pt x="1210" y="836"/>
                    <a:pt x="1211" y="834"/>
                  </a:cubicBezTo>
                  <a:cubicBezTo>
                    <a:pt x="1211" y="834"/>
                    <a:pt x="1211" y="834"/>
                    <a:pt x="1211" y="834"/>
                  </a:cubicBezTo>
                  <a:cubicBezTo>
                    <a:pt x="1211" y="833"/>
                    <a:pt x="1211" y="833"/>
                    <a:pt x="1211" y="833"/>
                  </a:cubicBezTo>
                  <a:cubicBezTo>
                    <a:pt x="1211" y="833"/>
                    <a:pt x="1211" y="833"/>
                    <a:pt x="1211" y="833"/>
                  </a:cubicBezTo>
                  <a:cubicBezTo>
                    <a:pt x="1211" y="833"/>
                    <a:pt x="1211" y="833"/>
                    <a:pt x="1211" y="832"/>
                  </a:cubicBezTo>
                  <a:cubicBezTo>
                    <a:pt x="1211" y="832"/>
                    <a:pt x="1211" y="832"/>
                    <a:pt x="1211" y="832"/>
                  </a:cubicBezTo>
                  <a:cubicBezTo>
                    <a:pt x="1211" y="832"/>
                    <a:pt x="1211" y="832"/>
                    <a:pt x="1211" y="832"/>
                  </a:cubicBezTo>
                  <a:cubicBezTo>
                    <a:pt x="1211" y="832"/>
                    <a:pt x="1212" y="832"/>
                    <a:pt x="1212" y="832"/>
                  </a:cubicBezTo>
                  <a:cubicBezTo>
                    <a:pt x="1212" y="832"/>
                    <a:pt x="1212" y="832"/>
                    <a:pt x="1212" y="832"/>
                  </a:cubicBezTo>
                  <a:cubicBezTo>
                    <a:pt x="1212" y="832"/>
                    <a:pt x="1212" y="832"/>
                    <a:pt x="1212" y="832"/>
                  </a:cubicBezTo>
                  <a:cubicBezTo>
                    <a:pt x="1212" y="831"/>
                    <a:pt x="1212" y="831"/>
                    <a:pt x="1212" y="831"/>
                  </a:cubicBezTo>
                  <a:cubicBezTo>
                    <a:pt x="1212" y="831"/>
                    <a:pt x="1212" y="831"/>
                    <a:pt x="1212" y="831"/>
                  </a:cubicBezTo>
                  <a:cubicBezTo>
                    <a:pt x="1212" y="831"/>
                    <a:pt x="1212" y="831"/>
                    <a:pt x="1212" y="831"/>
                  </a:cubicBezTo>
                  <a:cubicBezTo>
                    <a:pt x="1212" y="831"/>
                    <a:pt x="1212" y="831"/>
                    <a:pt x="1212" y="831"/>
                  </a:cubicBezTo>
                  <a:cubicBezTo>
                    <a:pt x="1212" y="831"/>
                    <a:pt x="1212" y="830"/>
                    <a:pt x="1212" y="830"/>
                  </a:cubicBezTo>
                  <a:cubicBezTo>
                    <a:pt x="1212" y="830"/>
                    <a:pt x="1212" y="830"/>
                    <a:pt x="1212" y="830"/>
                  </a:cubicBezTo>
                  <a:cubicBezTo>
                    <a:pt x="1212" y="830"/>
                    <a:pt x="1212" y="830"/>
                    <a:pt x="1212" y="830"/>
                  </a:cubicBezTo>
                  <a:cubicBezTo>
                    <a:pt x="1212" y="829"/>
                    <a:pt x="1212" y="829"/>
                    <a:pt x="1213" y="829"/>
                  </a:cubicBezTo>
                  <a:cubicBezTo>
                    <a:pt x="1213" y="829"/>
                    <a:pt x="1213" y="829"/>
                    <a:pt x="1213" y="829"/>
                  </a:cubicBezTo>
                  <a:cubicBezTo>
                    <a:pt x="1213" y="829"/>
                    <a:pt x="1213" y="829"/>
                    <a:pt x="1213" y="829"/>
                  </a:cubicBezTo>
                  <a:cubicBezTo>
                    <a:pt x="1214" y="829"/>
                    <a:pt x="1214" y="829"/>
                    <a:pt x="1214" y="829"/>
                  </a:cubicBezTo>
                  <a:cubicBezTo>
                    <a:pt x="1214" y="829"/>
                    <a:pt x="1214" y="829"/>
                    <a:pt x="1214" y="829"/>
                  </a:cubicBezTo>
                  <a:cubicBezTo>
                    <a:pt x="1215" y="828"/>
                    <a:pt x="1214" y="828"/>
                    <a:pt x="1214" y="828"/>
                  </a:cubicBezTo>
                  <a:cubicBezTo>
                    <a:pt x="1214" y="827"/>
                    <a:pt x="1214" y="827"/>
                    <a:pt x="1214" y="827"/>
                  </a:cubicBezTo>
                  <a:cubicBezTo>
                    <a:pt x="1214" y="827"/>
                    <a:pt x="1214" y="827"/>
                    <a:pt x="1214" y="827"/>
                  </a:cubicBezTo>
                  <a:cubicBezTo>
                    <a:pt x="1214" y="827"/>
                    <a:pt x="1214" y="827"/>
                    <a:pt x="1214" y="826"/>
                  </a:cubicBezTo>
                  <a:cubicBezTo>
                    <a:pt x="1215" y="826"/>
                    <a:pt x="1215" y="826"/>
                    <a:pt x="1215" y="826"/>
                  </a:cubicBezTo>
                  <a:cubicBezTo>
                    <a:pt x="1215" y="826"/>
                    <a:pt x="1215" y="826"/>
                    <a:pt x="1215" y="826"/>
                  </a:cubicBezTo>
                  <a:cubicBezTo>
                    <a:pt x="1215" y="826"/>
                    <a:pt x="1215" y="826"/>
                    <a:pt x="1215" y="826"/>
                  </a:cubicBezTo>
                  <a:cubicBezTo>
                    <a:pt x="1215" y="826"/>
                    <a:pt x="1215" y="826"/>
                    <a:pt x="1215" y="826"/>
                  </a:cubicBezTo>
                  <a:cubicBezTo>
                    <a:pt x="1215" y="826"/>
                    <a:pt x="1215" y="826"/>
                    <a:pt x="1215" y="826"/>
                  </a:cubicBezTo>
                  <a:cubicBezTo>
                    <a:pt x="1215" y="826"/>
                    <a:pt x="1215" y="826"/>
                    <a:pt x="1215" y="826"/>
                  </a:cubicBezTo>
                  <a:cubicBezTo>
                    <a:pt x="1214" y="826"/>
                    <a:pt x="1214" y="826"/>
                    <a:pt x="1214" y="826"/>
                  </a:cubicBezTo>
                  <a:cubicBezTo>
                    <a:pt x="1214" y="825"/>
                    <a:pt x="1214" y="825"/>
                    <a:pt x="1214" y="825"/>
                  </a:cubicBezTo>
                  <a:cubicBezTo>
                    <a:pt x="1214" y="825"/>
                    <a:pt x="1214" y="825"/>
                    <a:pt x="1214" y="825"/>
                  </a:cubicBezTo>
                  <a:cubicBezTo>
                    <a:pt x="1214" y="825"/>
                    <a:pt x="1214" y="825"/>
                    <a:pt x="1214" y="825"/>
                  </a:cubicBezTo>
                  <a:cubicBezTo>
                    <a:pt x="1214" y="825"/>
                    <a:pt x="1214" y="825"/>
                    <a:pt x="1214" y="825"/>
                  </a:cubicBezTo>
                  <a:cubicBezTo>
                    <a:pt x="1214" y="825"/>
                    <a:pt x="1214" y="825"/>
                    <a:pt x="1214" y="825"/>
                  </a:cubicBezTo>
                  <a:cubicBezTo>
                    <a:pt x="1214" y="825"/>
                    <a:pt x="1214" y="825"/>
                    <a:pt x="1214" y="825"/>
                  </a:cubicBezTo>
                  <a:cubicBezTo>
                    <a:pt x="1214" y="825"/>
                    <a:pt x="1214" y="825"/>
                    <a:pt x="1214" y="825"/>
                  </a:cubicBezTo>
                  <a:cubicBezTo>
                    <a:pt x="1214" y="824"/>
                    <a:pt x="1214" y="824"/>
                    <a:pt x="1214" y="824"/>
                  </a:cubicBezTo>
                  <a:cubicBezTo>
                    <a:pt x="1214" y="824"/>
                    <a:pt x="1214" y="824"/>
                    <a:pt x="1214" y="824"/>
                  </a:cubicBezTo>
                  <a:cubicBezTo>
                    <a:pt x="1214" y="824"/>
                    <a:pt x="1214" y="824"/>
                    <a:pt x="1214" y="824"/>
                  </a:cubicBezTo>
                  <a:cubicBezTo>
                    <a:pt x="1215" y="824"/>
                    <a:pt x="1215" y="824"/>
                    <a:pt x="1215" y="824"/>
                  </a:cubicBezTo>
                  <a:cubicBezTo>
                    <a:pt x="1215" y="824"/>
                    <a:pt x="1215" y="824"/>
                    <a:pt x="1215" y="824"/>
                  </a:cubicBezTo>
                  <a:cubicBezTo>
                    <a:pt x="1215" y="824"/>
                    <a:pt x="1215" y="824"/>
                    <a:pt x="1215" y="824"/>
                  </a:cubicBezTo>
                  <a:cubicBezTo>
                    <a:pt x="1215" y="823"/>
                    <a:pt x="1216" y="823"/>
                    <a:pt x="1216" y="822"/>
                  </a:cubicBezTo>
                  <a:cubicBezTo>
                    <a:pt x="1216" y="822"/>
                    <a:pt x="1216" y="822"/>
                    <a:pt x="1216" y="822"/>
                  </a:cubicBezTo>
                  <a:cubicBezTo>
                    <a:pt x="1216" y="822"/>
                    <a:pt x="1216" y="822"/>
                    <a:pt x="1216" y="822"/>
                  </a:cubicBezTo>
                  <a:cubicBezTo>
                    <a:pt x="1216" y="822"/>
                    <a:pt x="1216" y="822"/>
                    <a:pt x="1216" y="822"/>
                  </a:cubicBezTo>
                  <a:cubicBezTo>
                    <a:pt x="1216" y="822"/>
                    <a:pt x="1216" y="822"/>
                    <a:pt x="1216" y="822"/>
                  </a:cubicBezTo>
                  <a:cubicBezTo>
                    <a:pt x="1216" y="822"/>
                    <a:pt x="1216" y="822"/>
                    <a:pt x="1216" y="822"/>
                  </a:cubicBezTo>
                  <a:cubicBezTo>
                    <a:pt x="1216" y="822"/>
                    <a:pt x="1216" y="822"/>
                    <a:pt x="1216" y="822"/>
                  </a:cubicBezTo>
                  <a:cubicBezTo>
                    <a:pt x="1217" y="822"/>
                    <a:pt x="1217" y="822"/>
                    <a:pt x="1217" y="822"/>
                  </a:cubicBezTo>
                  <a:cubicBezTo>
                    <a:pt x="1217" y="822"/>
                    <a:pt x="1217" y="822"/>
                    <a:pt x="1217" y="822"/>
                  </a:cubicBezTo>
                  <a:cubicBezTo>
                    <a:pt x="1217" y="822"/>
                    <a:pt x="1217" y="822"/>
                    <a:pt x="1217" y="822"/>
                  </a:cubicBezTo>
                  <a:cubicBezTo>
                    <a:pt x="1217" y="822"/>
                    <a:pt x="1217" y="822"/>
                    <a:pt x="1217" y="822"/>
                  </a:cubicBezTo>
                  <a:cubicBezTo>
                    <a:pt x="1217" y="822"/>
                    <a:pt x="1217" y="822"/>
                    <a:pt x="1217" y="822"/>
                  </a:cubicBezTo>
                  <a:cubicBezTo>
                    <a:pt x="1218" y="822"/>
                    <a:pt x="1218" y="822"/>
                    <a:pt x="1218" y="822"/>
                  </a:cubicBezTo>
                  <a:cubicBezTo>
                    <a:pt x="1218" y="822"/>
                    <a:pt x="1218" y="822"/>
                    <a:pt x="1218" y="822"/>
                  </a:cubicBezTo>
                  <a:cubicBezTo>
                    <a:pt x="1218" y="823"/>
                    <a:pt x="1218" y="823"/>
                    <a:pt x="1218" y="823"/>
                  </a:cubicBezTo>
                  <a:cubicBezTo>
                    <a:pt x="1218" y="823"/>
                    <a:pt x="1218" y="823"/>
                    <a:pt x="1218" y="823"/>
                  </a:cubicBezTo>
                  <a:cubicBezTo>
                    <a:pt x="1219" y="825"/>
                    <a:pt x="1219" y="825"/>
                    <a:pt x="1219" y="825"/>
                  </a:cubicBezTo>
                  <a:cubicBezTo>
                    <a:pt x="1219" y="826"/>
                    <a:pt x="1219" y="826"/>
                    <a:pt x="1219" y="826"/>
                  </a:cubicBezTo>
                  <a:cubicBezTo>
                    <a:pt x="1219" y="827"/>
                    <a:pt x="1219" y="827"/>
                    <a:pt x="1219" y="827"/>
                  </a:cubicBezTo>
                  <a:cubicBezTo>
                    <a:pt x="1219" y="827"/>
                    <a:pt x="1219" y="827"/>
                    <a:pt x="1219" y="827"/>
                  </a:cubicBezTo>
                  <a:cubicBezTo>
                    <a:pt x="1219" y="827"/>
                    <a:pt x="1219" y="827"/>
                    <a:pt x="1219" y="827"/>
                  </a:cubicBezTo>
                  <a:cubicBezTo>
                    <a:pt x="1219" y="827"/>
                    <a:pt x="1219" y="827"/>
                    <a:pt x="1219" y="827"/>
                  </a:cubicBezTo>
                  <a:cubicBezTo>
                    <a:pt x="1219" y="827"/>
                    <a:pt x="1219" y="827"/>
                    <a:pt x="1219" y="827"/>
                  </a:cubicBezTo>
                  <a:cubicBezTo>
                    <a:pt x="1219" y="827"/>
                    <a:pt x="1219" y="827"/>
                    <a:pt x="1219" y="827"/>
                  </a:cubicBezTo>
                  <a:cubicBezTo>
                    <a:pt x="1218" y="827"/>
                    <a:pt x="1218" y="827"/>
                    <a:pt x="1218" y="827"/>
                  </a:cubicBezTo>
                  <a:cubicBezTo>
                    <a:pt x="1218" y="827"/>
                    <a:pt x="1218" y="827"/>
                    <a:pt x="1218" y="827"/>
                  </a:cubicBezTo>
                  <a:cubicBezTo>
                    <a:pt x="1218" y="828"/>
                    <a:pt x="1218" y="828"/>
                    <a:pt x="1218" y="828"/>
                  </a:cubicBezTo>
                  <a:cubicBezTo>
                    <a:pt x="1218" y="828"/>
                    <a:pt x="1218" y="828"/>
                    <a:pt x="1218" y="828"/>
                  </a:cubicBezTo>
                  <a:cubicBezTo>
                    <a:pt x="1218" y="828"/>
                    <a:pt x="1218" y="828"/>
                    <a:pt x="1218" y="828"/>
                  </a:cubicBezTo>
                  <a:cubicBezTo>
                    <a:pt x="1218" y="828"/>
                    <a:pt x="1218" y="828"/>
                    <a:pt x="1218" y="828"/>
                  </a:cubicBezTo>
                  <a:cubicBezTo>
                    <a:pt x="1218" y="828"/>
                    <a:pt x="1218" y="828"/>
                    <a:pt x="1218" y="828"/>
                  </a:cubicBezTo>
                  <a:cubicBezTo>
                    <a:pt x="1218" y="828"/>
                    <a:pt x="1218" y="828"/>
                    <a:pt x="1218" y="828"/>
                  </a:cubicBezTo>
                  <a:cubicBezTo>
                    <a:pt x="1218" y="828"/>
                    <a:pt x="1218" y="828"/>
                    <a:pt x="1218" y="828"/>
                  </a:cubicBezTo>
                  <a:cubicBezTo>
                    <a:pt x="1217" y="829"/>
                    <a:pt x="1217" y="829"/>
                    <a:pt x="1216" y="829"/>
                  </a:cubicBezTo>
                  <a:cubicBezTo>
                    <a:pt x="1216" y="829"/>
                    <a:pt x="1216" y="829"/>
                    <a:pt x="1216" y="829"/>
                  </a:cubicBezTo>
                  <a:cubicBezTo>
                    <a:pt x="1216" y="830"/>
                    <a:pt x="1216" y="830"/>
                    <a:pt x="1216" y="830"/>
                  </a:cubicBezTo>
                  <a:cubicBezTo>
                    <a:pt x="1216" y="830"/>
                    <a:pt x="1215" y="830"/>
                    <a:pt x="1215" y="831"/>
                  </a:cubicBezTo>
                  <a:cubicBezTo>
                    <a:pt x="1215" y="831"/>
                    <a:pt x="1215" y="831"/>
                    <a:pt x="1215" y="831"/>
                  </a:cubicBezTo>
                  <a:cubicBezTo>
                    <a:pt x="1215" y="831"/>
                    <a:pt x="1215" y="831"/>
                    <a:pt x="1215" y="831"/>
                  </a:cubicBezTo>
                  <a:cubicBezTo>
                    <a:pt x="1215" y="831"/>
                    <a:pt x="1215" y="831"/>
                    <a:pt x="1215" y="831"/>
                  </a:cubicBezTo>
                  <a:cubicBezTo>
                    <a:pt x="1215" y="831"/>
                    <a:pt x="1215" y="831"/>
                    <a:pt x="1215" y="831"/>
                  </a:cubicBezTo>
                  <a:cubicBezTo>
                    <a:pt x="1214" y="831"/>
                    <a:pt x="1214" y="831"/>
                    <a:pt x="1214" y="832"/>
                  </a:cubicBezTo>
                  <a:cubicBezTo>
                    <a:pt x="1214" y="832"/>
                    <a:pt x="1214" y="832"/>
                    <a:pt x="1214" y="832"/>
                  </a:cubicBezTo>
                  <a:cubicBezTo>
                    <a:pt x="1213" y="832"/>
                    <a:pt x="1213" y="832"/>
                    <a:pt x="1213" y="832"/>
                  </a:cubicBezTo>
                  <a:cubicBezTo>
                    <a:pt x="1213" y="833"/>
                    <a:pt x="1213" y="833"/>
                    <a:pt x="1213" y="833"/>
                  </a:cubicBezTo>
                  <a:cubicBezTo>
                    <a:pt x="1213" y="833"/>
                    <a:pt x="1213" y="833"/>
                    <a:pt x="1213" y="833"/>
                  </a:cubicBezTo>
                  <a:cubicBezTo>
                    <a:pt x="1213" y="833"/>
                    <a:pt x="1213" y="833"/>
                    <a:pt x="1213" y="833"/>
                  </a:cubicBezTo>
                  <a:cubicBezTo>
                    <a:pt x="1213" y="833"/>
                    <a:pt x="1213" y="833"/>
                    <a:pt x="1213" y="833"/>
                  </a:cubicBezTo>
                  <a:cubicBezTo>
                    <a:pt x="1213" y="833"/>
                    <a:pt x="1213" y="833"/>
                    <a:pt x="1213" y="833"/>
                  </a:cubicBezTo>
                  <a:cubicBezTo>
                    <a:pt x="1214" y="833"/>
                    <a:pt x="1214" y="833"/>
                    <a:pt x="1214" y="833"/>
                  </a:cubicBezTo>
                  <a:cubicBezTo>
                    <a:pt x="1214" y="833"/>
                    <a:pt x="1214" y="833"/>
                    <a:pt x="1214" y="833"/>
                  </a:cubicBezTo>
                  <a:cubicBezTo>
                    <a:pt x="1214" y="834"/>
                    <a:pt x="1214" y="834"/>
                    <a:pt x="1214" y="834"/>
                  </a:cubicBezTo>
                  <a:cubicBezTo>
                    <a:pt x="1214" y="834"/>
                    <a:pt x="1214" y="834"/>
                    <a:pt x="1214" y="834"/>
                  </a:cubicBezTo>
                  <a:cubicBezTo>
                    <a:pt x="1214" y="834"/>
                    <a:pt x="1214" y="834"/>
                    <a:pt x="1214" y="834"/>
                  </a:cubicBezTo>
                  <a:cubicBezTo>
                    <a:pt x="1214" y="834"/>
                    <a:pt x="1214" y="834"/>
                    <a:pt x="1214" y="834"/>
                  </a:cubicBezTo>
                  <a:cubicBezTo>
                    <a:pt x="1214" y="834"/>
                    <a:pt x="1214" y="834"/>
                    <a:pt x="1214" y="834"/>
                  </a:cubicBezTo>
                  <a:cubicBezTo>
                    <a:pt x="1214" y="834"/>
                    <a:pt x="1214" y="834"/>
                    <a:pt x="1214" y="834"/>
                  </a:cubicBezTo>
                  <a:cubicBezTo>
                    <a:pt x="1214" y="834"/>
                    <a:pt x="1214" y="834"/>
                    <a:pt x="1214" y="834"/>
                  </a:cubicBezTo>
                  <a:cubicBezTo>
                    <a:pt x="1214" y="834"/>
                    <a:pt x="1214" y="834"/>
                    <a:pt x="1214" y="834"/>
                  </a:cubicBezTo>
                  <a:cubicBezTo>
                    <a:pt x="1214" y="834"/>
                    <a:pt x="1214" y="834"/>
                    <a:pt x="1214" y="834"/>
                  </a:cubicBezTo>
                  <a:cubicBezTo>
                    <a:pt x="1215" y="833"/>
                    <a:pt x="1215" y="833"/>
                    <a:pt x="1215" y="833"/>
                  </a:cubicBezTo>
                  <a:cubicBezTo>
                    <a:pt x="1216" y="832"/>
                    <a:pt x="1216" y="832"/>
                    <a:pt x="1216" y="832"/>
                  </a:cubicBezTo>
                  <a:cubicBezTo>
                    <a:pt x="1216" y="831"/>
                    <a:pt x="1216" y="831"/>
                    <a:pt x="1216" y="831"/>
                  </a:cubicBezTo>
                  <a:cubicBezTo>
                    <a:pt x="1216" y="831"/>
                    <a:pt x="1216" y="831"/>
                    <a:pt x="1216" y="831"/>
                  </a:cubicBezTo>
                  <a:cubicBezTo>
                    <a:pt x="1217" y="831"/>
                    <a:pt x="1217" y="830"/>
                    <a:pt x="1218" y="831"/>
                  </a:cubicBezTo>
                  <a:cubicBezTo>
                    <a:pt x="1218" y="831"/>
                    <a:pt x="1218" y="831"/>
                    <a:pt x="1218" y="831"/>
                  </a:cubicBezTo>
                  <a:cubicBezTo>
                    <a:pt x="1218" y="831"/>
                    <a:pt x="1218" y="831"/>
                    <a:pt x="1218" y="831"/>
                  </a:cubicBezTo>
                  <a:cubicBezTo>
                    <a:pt x="1218" y="830"/>
                    <a:pt x="1218" y="830"/>
                    <a:pt x="1218" y="830"/>
                  </a:cubicBezTo>
                  <a:cubicBezTo>
                    <a:pt x="1219" y="830"/>
                    <a:pt x="1219" y="830"/>
                    <a:pt x="1219" y="830"/>
                  </a:cubicBezTo>
                  <a:cubicBezTo>
                    <a:pt x="1219" y="830"/>
                    <a:pt x="1219" y="830"/>
                    <a:pt x="1220" y="830"/>
                  </a:cubicBezTo>
                  <a:cubicBezTo>
                    <a:pt x="1220" y="830"/>
                    <a:pt x="1220" y="830"/>
                    <a:pt x="1220" y="830"/>
                  </a:cubicBezTo>
                  <a:cubicBezTo>
                    <a:pt x="1220" y="830"/>
                    <a:pt x="1220" y="830"/>
                    <a:pt x="1220" y="830"/>
                  </a:cubicBezTo>
                  <a:cubicBezTo>
                    <a:pt x="1219" y="829"/>
                    <a:pt x="1219" y="829"/>
                    <a:pt x="1219" y="828"/>
                  </a:cubicBezTo>
                  <a:cubicBezTo>
                    <a:pt x="1219" y="828"/>
                    <a:pt x="1219" y="828"/>
                    <a:pt x="1219" y="828"/>
                  </a:cubicBezTo>
                  <a:cubicBezTo>
                    <a:pt x="1219" y="828"/>
                    <a:pt x="1219" y="828"/>
                    <a:pt x="1219" y="828"/>
                  </a:cubicBezTo>
                  <a:cubicBezTo>
                    <a:pt x="1219" y="828"/>
                    <a:pt x="1219" y="828"/>
                    <a:pt x="1219" y="828"/>
                  </a:cubicBezTo>
                  <a:cubicBezTo>
                    <a:pt x="1219" y="828"/>
                    <a:pt x="1219" y="828"/>
                    <a:pt x="1219" y="828"/>
                  </a:cubicBezTo>
                  <a:cubicBezTo>
                    <a:pt x="1220" y="828"/>
                    <a:pt x="1220" y="828"/>
                    <a:pt x="1220" y="828"/>
                  </a:cubicBezTo>
                  <a:cubicBezTo>
                    <a:pt x="1221" y="828"/>
                    <a:pt x="1221" y="828"/>
                    <a:pt x="1221" y="828"/>
                  </a:cubicBezTo>
                  <a:cubicBezTo>
                    <a:pt x="1221" y="829"/>
                    <a:pt x="1221" y="829"/>
                    <a:pt x="1221" y="829"/>
                  </a:cubicBezTo>
                  <a:cubicBezTo>
                    <a:pt x="1222" y="829"/>
                    <a:pt x="1222" y="829"/>
                    <a:pt x="1223" y="828"/>
                  </a:cubicBezTo>
                  <a:cubicBezTo>
                    <a:pt x="1223" y="828"/>
                    <a:pt x="1223" y="828"/>
                    <a:pt x="1223" y="828"/>
                  </a:cubicBezTo>
                  <a:cubicBezTo>
                    <a:pt x="1223" y="828"/>
                    <a:pt x="1223" y="828"/>
                    <a:pt x="1223" y="828"/>
                  </a:cubicBezTo>
                  <a:cubicBezTo>
                    <a:pt x="1224" y="827"/>
                    <a:pt x="1224" y="827"/>
                    <a:pt x="1224" y="827"/>
                  </a:cubicBezTo>
                  <a:cubicBezTo>
                    <a:pt x="1224" y="826"/>
                    <a:pt x="1224" y="826"/>
                    <a:pt x="1224" y="826"/>
                  </a:cubicBezTo>
                  <a:cubicBezTo>
                    <a:pt x="1224" y="826"/>
                    <a:pt x="1224" y="826"/>
                    <a:pt x="1224" y="826"/>
                  </a:cubicBezTo>
                  <a:cubicBezTo>
                    <a:pt x="1224" y="826"/>
                    <a:pt x="1224" y="826"/>
                    <a:pt x="1224" y="826"/>
                  </a:cubicBezTo>
                  <a:cubicBezTo>
                    <a:pt x="1224" y="826"/>
                    <a:pt x="1224" y="826"/>
                    <a:pt x="1224" y="826"/>
                  </a:cubicBezTo>
                  <a:cubicBezTo>
                    <a:pt x="1224" y="825"/>
                    <a:pt x="1224" y="825"/>
                    <a:pt x="1224" y="825"/>
                  </a:cubicBezTo>
                  <a:cubicBezTo>
                    <a:pt x="1224" y="824"/>
                    <a:pt x="1224" y="824"/>
                    <a:pt x="1224" y="824"/>
                  </a:cubicBezTo>
                  <a:cubicBezTo>
                    <a:pt x="1224" y="824"/>
                    <a:pt x="1224" y="824"/>
                    <a:pt x="1224" y="824"/>
                  </a:cubicBezTo>
                  <a:cubicBezTo>
                    <a:pt x="1224" y="824"/>
                    <a:pt x="1224" y="824"/>
                    <a:pt x="1224" y="824"/>
                  </a:cubicBezTo>
                  <a:cubicBezTo>
                    <a:pt x="1224" y="824"/>
                    <a:pt x="1224" y="824"/>
                    <a:pt x="1224" y="824"/>
                  </a:cubicBezTo>
                  <a:cubicBezTo>
                    <a:pt x="1224" y="824"/>
                    <a:pt x="1224" y="824"/>
                    <a:pt x="1224" y="824"/>
                  </a:cubicBezTo>
                  <a:cubicBezTo>
                    <a:pt x="1224" y="823"/>
                    <a:pt x="1224" y="823"/>
                    <a:pt x="1224" y="823"/>
                  </a:cubicBezTo>
                  <a:cubicBezTo>
                    <a:pt x="1224" y="823"/>
                    <a:pt x="1224" y="823"/>
                    <a:pt x="1224" y="823"/>
                  </a:cubicBezTo>
                  <a:cubicBezTo>
                    <a:pt x="1223" y="823"/>
                    <a:pt x="1223" y="823"/>
                    <a:pt x="1223" y="823"/>
                  </a:cubicBezTo>
                  <a:cubicBezTo>
                    <a:pt x="1223" y="823"/>
                    <a:pt x="1223" y="823"/>
                    <a:pt x="1223" y="823"/>
                  </a:cubicBezTo>
                  <a:cubicBezTo>
                    <a:pt x="1223" y="823"/>
                    <a:pt x="1223" y="823"/>
                    <a:pt x="1223" y="823"/>
                  </a:cubicBezTo>
                  <a:cubicBezTo>
                    <a:pt x="1223" y="823"/>
                    <a:pt x="1223" y="823"/>
                    <a:pt x="1223" y="823"/>
                  </a:cubicBezTo>
                  <a:cubicBezTo>
                    <a:pt x="1223" y="822"/>
                    <a:pt x="1223" y="822"/>
                    <a:pt x="1223" y="822"/>
                  </a:cubicBezTo>
                  <a:cubicBezTo>
                    <a:pt x="1222" y="822"/>
                    <a:pt x="1222" y="822"/>
                    <a:pt x="1222" y="822"/>
                  </a:cubicBezTo>
                  <a:cubicBezTo>
                    <a:pt x="1221" y="822"/>
                    <a:pt x="1221" y="822"/>
                    <a:pt x="1221" y="822"/>
                  </a:cubicBezTo>
                  <a:cubicBezTo>
                    <a:pt x="1221" y="822"/>
                    <a:pt x="1221" y="822"/>
                    <a:pt x="1221" y="822"/>
                  </a:cubicBezTo>
                  <a:cubicBezTo>
                    <a:pt x="1221" y="822"/>
                    <a:pt x="1221" y="822"/>
                    <a:pt x="1221" y="822"/>
                  </a:cubicBezTo>
                  <a:cubicBezTo>
                    <a:pt x="1221" y="821"/>
                    <a:pt x="1221" y="821"/>
                    <a:pt x="1221" y="821"/>
                  </a:cubicBezTo>
                  <a:cubicBezTo>
                    <a:pt x="1221" y="821"/>
                    <a:pt x="1221" y="821"/>
                    <a:pt x="1221" y="821"/>
                  </a:cubicBezTo>
                  <a:cubicBezTo>
                    <a:pt x="1221" y="821"/>
                    <a:pt x="1221" y="820"/>
                    <a:pt x="1221" y="820"/>
                  </a:cubicBezTo>
                  <a:cubicBezTo>
                    <a:pt x="1221" y="820"/>
                    <a:pt x="1221" y="820"/>
                    <a:pt x="1221" y="820"/>
                  </a:cubicBezTo>
                  <a:cubicBezTo>
                    <a:pt x="1221" y="820"/>
                    <a:pt x="1221" y="820"/>
                    <a:pt x="1221" y="820"/>
                  </a:cubicBezTo>
                  <a:cubicBezTo>
                    <a:pt x="1221" y="819"/>
                    <a:pt x="1221" y="819"/>
                    <a:pt x="1221" y="818"/>
                  </a:cubicBezTo>
                  <a:cubicBezTo>
                    <a:pt x="1221" y="818"/>
                    <a:pt x="1221" y="818"/>
                    <a:pt x="1221" y="818"/>
                  </a:cubicBezTo>
                  <a:cubicBezTo>
                    <a:pt x="1221" y="818"/>
                    <a:pt x="1221" y="818"/>
                    <a:pt x="1221" y="818"/>
                  </a:cubicBezTo>
                  <a:cubicBezTo>
                    <a:pt x="1221" y="818"/>
                    <a:pt x="1221" y="818"/>
                    <a:pt x="1221" y="818"/>
                  </a:cubicBezTo>
                  <a:cubicBezTo>
                    <a:pt x="1221" y="818"/>
                    <a:pt x="1221" y="818"/>
                    <a:pt x="1221" y="818"/>
                  </a:cubicBezTo>
                  <a:cubicBezTo>
                    <a:pt x="1222" y="818"/>
                    <a:pt x="1222" y="818"/>
                    <a:pt x="1222" y="818"/>
                  </a:cubicBezTo>
                  <a:cubicBezTo>
                    <a:pt x="1223" y="818"/>
                    <a:pt x="1223" y="818"/>
                    <a:pt x="1223" y="818"/>
                  </a:cubicBezTo>
                  <a:cubicBezTo>
                    <a:pt x="1223" y="818"/>
                    <a:pt x="1223" y="818"/>
                    <a:pt x="1223" y="818"/>
                  </a:cubicBezTo>
                  <a:cubicBezTo>
                    <a:pt x="1223" y="818"/>
                    <a:pt x="1223" y="818"/>
                    <a:pt x="1223" y="818"/>
                  </a:cubicBezTo>
                  <a:cubicBezTo>
                    <a:pt x="1224" y="818"/>
                    <a:pt x="1224" y="818"/>
                    <a:pt x="1224" y="818"/>
                  </a:cubicBezTo>
                  <a:cubicBezTo>
                    <a:pt x="1224" y="818"/>
                    <a:pt x="1224" y="818"/>
                    <a:pt x="1224" y="818"/>
                  </a:cubicBezTo>
                  <a:cubicBezTo>
                    <a:pt x="1224" y="818"/>
                    <a:pt x="1224" y="818"/>
                    <a:pt x="1224" y="818"/>
                  </a:cubicBezTo>
                  <a:cubicBezTo>
                    <a:pt x="1224" y="818"/>
                    <a:pt x="1224" y="818"/>
                    <a:pt x="1224" y="818"/>
                  </a:cubicBezTo>
                  <a:cubicBezTo>
                    <a:pt x="1224" y="818"/>
                    <a:pt x="1224" y="818"/>
                    <a:pt x="1224" y="818"/>
                  </a:cubicBezTo>
                  <a:cubicBezTo>
                    <a:pt x="1224" y="818"/>
                    <a:pt x="1224" y="818"/>
                    <a:pt x="1224" y="818"/>
                  </a:cubicBezTo>
                  <a:cubicBezTo>
                    <a:pt x="1224" y="818"/>
                    <a:pt x="1224" y="818"/>
                    <a:pt x="1224" y="818"/>
                  </a:cubicBezTo>
                  <a:cubicBezTo>
                    <a:pt x="1224" y="818"/>
                    <a:pt x="1224" y="818"/>
                    <a:pt x="1224" y="818"/>
                  </a:cubicBezTo>
                  <a:cubicBezTo>
                    <a:pt x="1224" y="818"/>
                    <a:pt x="1224" y="818"/>
                    <a:pt x="1224" y="818"/>
                  </a:cubicBezTo>
                  <a:cubicBezTo>
                    <a:pt x="1225" y="818"/>
                    <a:pt x="1225" y="818"/>
                    <a:pt x="1225" y="818"/>
                  </a:cubicBezTo>
                  <a:cubicBezTo>
                    <a:pt x="1225" y="818"/>
                    <a:pt x="1225" y="818"/>
                    <a:pt x="1225" y="818"/>
                  </a:cubicBezTo>
                  <a:cubicBezTo>
                    <a:pt x="1225" y="818"/>
                    <a:pt x="1225" y="818"/>
                    <a:pt x="1225" y="818"/>
                  </a:cubicBezTo>
                  <a:cubicBezTo>
                    <a:pt x="1225" y="818"/>
                    <a:pt x="1225" y="818"/>
                    <a:pt x="1225" y="818"/>
                  </a:cubicBezTo>
                  <a:cubicBezTo>
                    <a:pt x="1225" y="818"/>
                    <a:pt x="1225" y="818"/>
                    <a:pt x="1225" y="818"/>
                  </a:cubicBezTo>
                  <a:cubicBezTo>
                    <a:pt x="1225" y="818"/>
                    <a:pt x="1225" y="818"/>
                    <a:pt x="1225" y="818"/>
                  </a:cubicBezTo>
                  <a:cubicBezTo>
                    <a:pt x="1225" y="817"/>
                    <a:pt x="1225" y="817"/>
                    <a:pt x="1225" y="817"/>
                  </a:cubicBezTo>
                  <a:cubicBezTo>
                    <a:pt x="1225" y="817"/>
                    <a:pt x="1225" y="817"/>
                    <a:pt x="1225" y="817"/>
                  </a:cubicBezTo>
                  <a:cubicBezTo>
                    <a:pt x="1226" y="817"/>
                    <a:pt x="1226" y="817"/>
                    <a:pt x="1226" y="817"/>
                  </a:cubicBezTo>
                  <a:cubicBezTo>
                    <a:pt x="1226" y="817"/>
                    <a:pt x="1226" y="817"/>
                    <a:pt x="1226" y="817"/>
                  </a:cubicBezTo>
                  <a:cubicBezTo>
                    <a:pt x="1227" y="818"/>
                    <a:pt x="1227" y="818"/>
                    <a:pt x="1227" y="818"/>
                  </a:cubicBezTo>
                  <a:cubicBezTo>
                    <a:pt x="1230" y="819"/>
                    <a:pt x="1230" y="819"/>
                    <a:pt x="1230" y="819"/>
                  </a:cubicBezTo>
                  <a:cubicBezTo>
                    <a:pt x="1238" y="822"/>
                    <a:pt x="1238" y="822"/>
                    <a:pt x="1238" y="822"/>
                  </a:cubicBezTo>
                  <a:cubicBezTo>
                    <a:pt x="1241" y="823"/>
                    <a:pt x="1241" y="823"/>
                    <a:pt x="1241" y="823"/>
                  </a:cubicBezTo>
                  <a:cubicBezTo>
                    <a:pt x="1242" y="823"/>
                    <a:pt x="1244" y="824"/>
                    <a:pt x="1245" y="825"/>
                  </a:cubicBezTo>
                  <a:cubicBezTo>
                    <a:pt x="1245" y="825"/>
                    <a:pt x="1245" y="825"/>
                    <a:pt x="1245" y="825"/>
                  </a:cubicBezTo>
                  <a:cubicBezTo>
                    <a:pt x="1245" y="825"/>
                    <a:pt x="1245" y="825"/>
                    <a:pt x="1245" y="825"/>
                  </a:cubicBezTo>
                  <a:cubicBezTo>
                    <a:pt x="1246" y="824"/>
                    <a:pt x="1246" y="824"/>
                    <a:pt x="1247" y="824"/>
                  </a:cubicBezTo>
                  <a:cubicBezTo>
                    <a:pt x="1247" y="824"/>
                    <a:pt x="1247" y="824"/>
                    <a:pt x="1247" y="824"/>
                  </a:cubicBezTo>
                  <a:cubicBezTo>
                    <a:pt x="1248" y="824"/>
                    <a:pt x="1248" y="824"/>
                    <a:pt x="1248" y="824"/>
                  </a:cubicBezTo>
                  <a:cubicBezTo>
                    <a:pt x="1248" y="824"/>
                    <a:pt x="1248" y="824"/>
                    <a:pt x="1248" y="824"/>
                  </a:cubicBezTo>
                  <a:cubicBezTo>
                    <a:pt x="1248" y="824"/>
                    <a:pt x="1248" y="824"/>
                    <a:pt x="1248" y="824"/>
                  </a:cubicBezTo>
                  <a:cubicBezTo>
                    <a:pt x="1248" y="824"/>
                    <a:pt x="1249" y="824"/>
                    <a:pt x="1249" y="824"/>
                  </a:cubicBezTo>
                  <a:cubicBezTo>
                    <a:pt x="1249" y="824"/>
                    <a:pt x="1249" y="824"/>
                    <a:pt x="1249" y="824"/>
                  </a:cubicBezTo>
                  <a:cubicBezTo>
                    <a:pt x="1249" y="824"/>
                    <a:pt x="1249" y="824"/>
                    <a:pt x="1249" y="824"/>
                  </a:cubicBezTo>
                  <a:cubicBezTo>
                    <a:pt x="1250" y="824"/>
                    <a:pt x="1250" y="824"/>
                    <a:pt x="1250" y="824"/>
                  </a:cubicBezTo>
                  <a:cubicBezTo>
                    <a:pt x="1250" y="824"/>
                    <a:pt x="1250" y="824"/>
                    <a:pt x="1250" y="824"/>
                  </a:cubicBezTo>
                  <a:cubicBezTo>
                    <a:pt x="1250" y="823"/>
                    <a:pt x="1250" y="823"/>
                    <a:pt x="1250" y="823"/>
                  </a:cubicBezTo>
                  <a:cubicBezTo>
                    <a:pt x="1250" y="823"/>
                    <a:pt x="1250" y="823"/>
                    <a:pt x="1250" y="823"/>
                  </a:cubicBezTo>
                  <a:cubicBezTo>
                    <a:pt x="1250" y="823"/>
                    <a:pt x="1250" y="823"/>
                    <a:pt x="1250" y="823"/>
                  </a:cubicBezTo>
                  <a:cubicBezTo>
                    <a:pt x="1250" y="823"/>
                    <a:pt x="1250" y="823"/>
                    <a:pt x="1250" y="823"/>
                  </a:cubicBezTo>
                  <a:cubicBezTo>
                    <a:pt x="1251" y="823"/>
                    <a:pt x="1251" y="823"/>
                    <a:pt x="1251" y="823"/>
                  </a:cubicBezTo>
                  <a:cubicBezTo>
                    <a:pt x="1251" y="823"/>
                    <a:pt x="1251" y="823"/>
                    <a:pt x="1251" y="823"/>
                  </a:cubicBezTo>
                  <a:cubicBezTo>
                    <a:pt x="1252" y="824"/>
                    <a:pt x="1252" y="824"/>
                    <a:pt x="1252" y="824"/>
                  </a:cubicBezTo>
                  <a:cubicBezTo>
                    <a:pt x="1253" y="824"/>
                    <a:pt x="1253" y="824"/>
                    <a:pt x="1253" y="824"/>
                  </a:cubicBezTo>
                  <a:cubicBezTo>
                    <a:pt x="1254" y="824"/>
                    <a:pt x="1254" y="824"/>
                    <a:pt x="1254" y="824"/>
                  </a:cubicBezTo>
                  <a:cubicBezTo>
                    <a:pt x="1255" y="824"/>
                    <a:pt x="1255" y="824"/>
                    <a:pt x="1255" y="824"/>
                  </a:cubicBezTo>
                  <a:cubicBezTo>
                    <a:pt x="1255" y="824"/>
                    <a:pt x="1255" y="824"/>
                    <a:pt x="1255" y="824"/>
                  </a:cubicBezTo>
                  <a:cubicBezTo>
                    <a:pt x="1255" y="824"/>
                    <a:pt x="1255" y="824"/>
                    <a:pt x="1255" y="824"/>
                  </a:cubicBezTo>
                  <a:cubicBezTo>
                    <a:pt x="1255" y="824"/>
                    <a:pt x="1255" y="824"/>
                    <a:pt x="1255" y="824"/>
                  </a:cubicBezTo>
                  <a:cubicBezTo>
                    <a:pt x="1255" y="824"/>
                    <a:pt x="1256" y="824"/>
                    <a:pt x="1256" y="824"/>
                  </a:cubicBezTo>
                  <a:cubicBezTo>
                    <a:pt x="1256" y="824"/>
                    <a:pt x="1256" y="824"/>
                    <a:pt x="1256" y="824"/>
                  </a:cubicBezTo>
                  <a:cubicBezTo>
                    <a:pt x="1256" y="824"/>
                    <a:pt x="1256" y="824"/>
                    <a:pt x="1256" y="824"/>
                  </a:cubicBezTo>
                  <a:cubicBezTo>
                    <a:pt x="1256" y="824"/>
                    <a:pt x="1256" y="824"/>
                    <a:pt x="1256" y="824"/>
                  </a:cubicBezTo>
                  <a:cubicBezTo>
                    <a:pt x="1256" y="824"/>
                    <a:pt x="1256" y="824"/>
                    <a:pt x="1256" y="824"/>
                  </a:cubicBezTo>
                  <a:cubicBezTo>
                    <a:pt x="1256" y="823"/>
                    <a:pt x="1256" y="823"/>
                    <a:pt x="1256" y="823"/>
                  </a:cubicBezTo>
                  <a:cubicBezTo>
                    <a:pt x="1257" y="823"/>
                    <a:pt x="1257" y="823"/>
                    <a:pt x="1257" y="823"/>
                  </a:cubicBezTo>
                  <a:cubicBezTo>
                    <a:pt x="1257" y="823"/>
                    <a:pt x="1257" y="823"/>
                    <a:pt x="1257" y="823"/>
                  </a:cubicBezTo>
                  <a:cubicBezTo>
                    <a:pt x="1257" y="823"/>
                    <a:pt x="1257" y="823"/>
                    <a:pt x="1257" y="823"/>
                  </a:cubicBezTo>
                  <a:cubicBezTo>
                    <a:pt x="1258" y="824"/>
                    <a:pt x="1258" y="824"/>
                    <a:pt x="1258" y="824"/>
                  </a:cubicBezTo>
                  <a:cubicBezTo>
                    <a:pt x="1259" y="824"/>
                    <a:pt x="1259" y="824"/>
                    <a:pt x="1259" y="824"/>
                  </a:cubicBezTo>
                  <a:cubicBezTo>
                    <a:pt x="1259" y="824"/>
                    <a:pt x="1259" y="824"/>
                    <a:pt x="1259" y="824"/>
                  </a:cubicBezTo>
                  <a:cubicBezTo>
                    <a:pt x="1261" y="825"/>
                    <a:pt x="1261" y="825"/>
                    <a:pt x="1261" y="825"/>
                  </a:cubicBezTo>
                  <a:cubicBezTo>
                    <a:pt x="1261" y="825"/>
                    <a:pt x="1261" y="825"/>
                    <a:pt x="1261" y="825"/>
                  </a:cubicBezTo>
                  <a:cubicBezTo>
                    <a:pt x="1262" y="825"/>
                    <a:pt x="1262" y="825"/>
                    <a:pt x="1262" y="825"/>
                  </a:cubicBezTo>
                  <a:cubicBezTo>
                    <a:pt x="1262" y="825"/>
                    <a:pt x="1262" y="825"/>
                    <a:pt x="1262" y="825"/>
                  </a:cubicBezTo>
                  <a:cubicBezTo>
                    <a:pt x="1262" y="825"/>
                    <a:pt x="1262" y="825"/>
                    <a:pt x="1262" y="825"/>
                  </a:cubicBezTo>
                  <a:cubicBezTo>
                    <a:pt x="1262" y="825"/>
                    <a:pt x="1262" y="825"/>
                    <a:pt x="1262" y="825"/>
                  </a:cubicBezTo>
                  <a:cubicBezTo>
                    <a:pt x="1262" y="825"/>
                    <a:pt x="1262" y="825"/>
                    <a:pt x="1262" y="825"/>
                  </a:cubicBezTo>
                  <a:cubicBezTo>
                    <a:pt x="1262" y="825"/>
                    <a:pt x="1262" y="825"/>
                    <a:pt x="1262" y="825"/>
                  </a:cubicBezTo>
                  <a:cubicBezTo>
                    <a:pt x="1263" y="825"/>
                    <a:pt x="1263" y="825"/>
                    <a:pt x="1263" y="825"/>
                  </a:cubicBezTo>
                  <a:cubicBezTo>
                    <a:pt x="1263" y="824"/>
                    <a:pt x="1263" y="824"/>
                    <a:pt x="1263" y="824"/>
                  </a:cubicBezTo>
                  <a:cubicBezTo>
                    <a:pt x="1263" y="824"/>
                    <a:pt x="1263" y="824"/>
                    <a:pt x="1263" y="824"/>
                  </a:cubicBezTo>
                  <a:cubicBezTo>
                    <a:pt x="1263" y="825"/>
                    <a:pt x="1263" y="825"/>
                    <a:pt x="1263" y="825"/>
                  </a:cubicBezTo>
                  <a:cubicBezTo>
                    <a:pt x="1264" y="826"/>
                    <a:pt x="1264" y="826"/>
                    <a:pt x="1264" y="826"/>
                  </a:cubicBezTo>
                  <a:cubicBezTo>
                    <a:pt x="1266" y="829"/>
                    <a:pt x="1266" y="829"/>
                    <a:pt x="1266" y="829"/>
                  </a:cubicBezTo>
                  <a:cubicBezTo>
                    <a:pt x="1267" y="830"/>
                    <a:pt x="1267" y="830"/>
                    <a:pt x="1267" y="830"/>
                  </a:cubicBezTo>
                  <a:cubicBezTo>
                    <a:pt x="1267" y="831"/>
                    <a:pt x="1267" y="831"/>
                    <a:pt x="1267" y="831"/>
                  </a:cubicBezTo>
                  <a:cubicBezTo>
                    <a:pt x="1267" y="831"/>
                    <a:pt x="1268" y="832"/>
                    <a:pt x="1268" y="832"/>
                  </a:cubicBezTo>
                  <a:cubicBezTo>
                    <a:pt x="1268" y="832"/>
                    <a:pt x="1268" y="832"/>
                    <a:pt x="1268" y="832"/>
                  </a:cubicBezTo>
                  <a:cubicBezTo>
                    <a:pt x="1268" y="832"/>
                    <a:pt x="1268" y="832"/>
                    <a:pt x="1268" y="832"/>
                  </a:cubicBezTo>
                  <a:cubicBezTo>
                    <a:pt x="1268" y="833"/>
                    <a:pt x="1268" y="833"/>
                    <a:pt x="1268" y="833"/>
                  </a:cubicBezTo>
                  <a:cubicBezTo>
                    <a:pt x="1268" y="833"/>
                    <a:pt x="1268" y="833"/>
                    <a:pt x="1268" y="833"/>
                  </a:cubicBezTo>
                  <a:cubicBezTo>
                    <a:pt x="1268" y="833"/>
                    <a:pt x="1268" y="833"/>
                    <a:pt x="1268" y="833"/>
                  </a:cubicBezTo>
                  <a:cubicBezTo>
                    <a:pt x="1268" y="833"/>
                    <a:pt x="1268" y="833"/>
                    <a:pt x="1268" y="833"/>
                  </a:cubicBezTo>
                  <a:cubicBezTo>
                    <a:pt x="1268" y="833"/>
                    <a:pt x="1268" y="833"/>
                    <a:pt x="1268" y="833"/>
                  </a:cubicBezTo>
                  <a:cubicBezTo>
                    <a:pt x="1268" y="833"/>
                    <a:pt x="1268" y="833"/>
                    <a:pt x="1268" y="833"/>
                  </a:cubicBezTo>
                  <a:cubicBezTo>
                    <a:pt x="1268" y="833"/>
                    <a:pt x="1268" y="833"/>
                    <a:pt x="1268" y="833"/>
                  </a:cubicBezTo>
                  <a:cubicBezTo>
                    <a:pt x="1268" y="833"/>
                    <a:pt x="1268" y="833"/>
                    <a:pt x="1268" y="833"/>
                  </a:cubicBezTo>
                  <a:cubicBezTo>
                    <a:pt x="1268" y="834"/>
                    <a:pt x="1268" y="834"/>
                    <a:pt x="1268" y="834"/>
                  </a:cubicBezTo>
                  <a:cubicBezTo>
                    <a:pt x="1268" y="834"/>
                    <a:pt x="1268" y="834"/>
                    <a:pt x="1268" y="834"/>
                  </a:cubicBezTo>
                  <a:cubicBezTo>
                    <a:pt x="1268" y="834"/>
                    <a:pt x="1268" y="834"/>
                    <a:pt x="1268" y="834"/>
                  </a:cubicBezTo>
                  <a:cubicBezTo>
                    <a:pt x="1268" y="834"/>
                    <a:pt x="1268" y="834"/>
                    <a:pt x="1268" y="834"/>
                  </a:cubicBezTo>
                  <a:cubicBezTo>
                    <a:pt x="1268" y="835"/>
                    <a:pt x="1268" y="834"/>
                    <a:pt x="1268" y="835"/>
                  </a:cubicBezTo>
                  <a:cubicBezTo>
                    <a:pt x="1269" y="835"/>
                    <a:pt x="1269" y="835"/>
                    <a:pt x="1269" y="835"/>
                  </a:cubicBezTo>
                  <a:cubicBezTo>
                    <a:pt x="1269" y="836"/>
                    <a:pt x="1269" y="836"/>
                    <a:pt x="1269" y="836"/>
                  </a:cubicBezTo>
                  <a:cubicBezTo>
                    <a:pt x="1269" y="836"/>
                    <a:pt x="1269" y="836"/>
                    <a:pt x="1269" y="836"/>
                  </a:cubicBezTo>
                  <a:cubicBezTo>
                    <a:pt x="1269" y="836"/>
                    <a:pt x="1269" y="836"/>
                    <a:pt x="1269" y="836"/>
                  </a:cubicBezTo>
                  <a:cubicBezTo>
                    <a:pt x="1269" y="836"/>
                    <a:pt x="1269" y="836"/>
                    <a:pt x="1269" y="836"/>
                  </a:cubicBezTo>
                  <a:cubicBezTo>
                    <a:pt x="1269" y="836"/>
                    <a:pt x="1269" y="836"/>
                    <a:pt x="1269" y="836"/>
                  </a:cubicBezTo>
                  <a:cubicBezTo>
                    <a:pt x="1269" y="836"/>
                    <a:pt x="1269" y="836"/>
                    <a:pt x="1269" y="836"/>
                  </a:cubicBezTo>
                  <a:cubicBezTo>
                    <a:pt x="1269" y="837"/>
                    <a:pt x="1269" y="837"/>
                    <a:pt x="1269" y="837"/>
                  </a:cubicBezTo>
                  <a:cubicBezTo>
                    <a:pt x="1269" y="837"/>
                    <a:pt x="1269" y="837"/>
                    <a:pt x="1269" y="837"/>
                  </a:cubicBezTo>
                  <a:cubicBezTo>
                    <a:pt x="1269" y="837"/>
                    <a:pt x="1269" y="837"/>
                    <a:pt x="1269" y="837"/>
                  </a:cubicBezTo>
                  <a:cubicBezTo>
                    <a:pt x="1269" y="837"/>
                    <a:pt x="1269" y="837"/>
                    <a:pt x="1269" y="837"/>
                  </a:cubicBezTo>
                  <a:cubicBezTo>
                    <a:pt x="1269" y="837"/>
                    <a:pt x="1269" y="837"/>
                    <a:pt x="1269" y="837"/>
                  </a:cubicBezTo>
                  <a:cubicBezTo>
                    <a:pt x="1269" y="837"/>
                    <a:pt x="1269" y="837"/>
                    <a:pt x="1269" y="837"/>
                  </a:cubicBezTo>
                  <a:cubicBezTo>
                    <a:pt x="1269" y="838"/>
                    <a:pt x="1269" y="838"/>
                    <a:pt x="1269" y="838"/>
                  </a:cubicBezTo>
                  <a:cubicBezTo>
                    <a:pt x="1269" y="838"/>
                    <a:pt x="1269" y="838"/>
                    <a:pt x="1269" y="838"/>
                  </a:cubicBezTo>
                  <a:cubicBezTo>
                    <a:pt x="1269" y="838"/>
                    <a:pt x="1269" y="838"/>
                    <a:pt x="1269" y="838"/>
                  </a:cubicBezTo>
                  <a:cubicBezTo>
                    <a:pt x="1270" y="838"/>
                    <a:pt x="1270" y="839"/>
                    <a:pt x="1270" y="839"/>
                  </a:cubicBezTo>
                  <a:cubicBezTo>
                    <a:pt x="1270" y="839"/>
                    <a:pt x="1270" y="839"/>
                    <a:pt x="1270" y="839"/>
                  </a:cubicBezTo>
                  <a:cubicBezTo>
                    <a:pt x="1270" y="839"/>
                    <a:pt x="1270" y="839"/>
                    <a:pt x="1270" y="839"/>
                  </a:cubicBezTo>
                  <a:cubicBezTo>
                    <a:pt x="1270" y="840"/>
                    <a:pt x="1270" y="840"/>
                    <a:pt x="1270" y="840"/>
                  </a:cubicBezTo>
                  <a:cubicBezTo>
                    <a:pt x="1271" y="841"/>
                    <a:pt x="1271" y="841"/>
                    <a:pt x="1271" y="841"/>
                  </a:cubicBezTo>
                  <a:cubicBezTo>
                    <a:pt x="1271" y="841"/>
                    <a:pt x="1271" y="841"/>
                    <a:pt x="1271" y="841"/>
                  </a:cubicBezTo>
                  <a:cubicBezTo>
                    <a:pt x="1271" y="841"/>
                    <a:pt x="1271" y="841"/>
                    <a:pt x="1271" y="841"/>
                  </a:cubicBezTo>
                  <a:cubicBezTo>
                    <a:pt x="1271" y="841"/>
                    <a:pt x="1271" y="841"/>
                    <a:pt x="1271" y="841"/>
                  </a:cubicBezTo>
                  <a:cubicBezTo>
                    <a:pt x="1271" y="842"/>
                    <a:pt x="1271" y="842"/>
                    <a:pt x="1272" y="842"/>
                  </a:cubicBezTo>
                  <a:cubicBezTo>
                    <a:pt x="1272" y="843"/>
                    <a:pt x="1272" y="843"/>
                    <a:pt x="1272" y="843"/>
                  </a:cubicBezTo>
                  <a:cubicBezTo>
                    <a:pt x="1272" y="843"/>
                    <a:pt x="1272" y="843"/>
                    <a:pt x="1272" y="843"/>
                  </a:cubicBezTo>
                  <a:cubicBezTo>
                    <a:pt x="1272" y="843"/>
                    <a:pt x="1272" y="843"/>
                    <a:pt x="1273" y="844"/>
                  </a:cubicBezTo>
                  <a:cubicBezTo>
                    <a:pt x="1273" y="844"/>
                    <a:pt x="1273" y="844"/>
                    <a:pt x="1273" y="844"/>
                  </a:cubicBezTo>
                  <a:cubicBezTo>
                    <a:pt x="1273" y="844"/>
                    <a:pt x="1273" y="844"/>
                    <a:pt x="1273" y="844"/>
                  </a:cubicBezTo>
                  <a:cubicBezTo>
                    <a:pt x="1273" y="844"/>
                    <a:pt x="1273" y="844"/>
                    <a:pt x="1273" y="844"/>
                  </a:cubicBezTo>
                  <a:cubicBezTo>
                    <a:pt x="1273" y="844"/>
                    <a:pt x="1273" y="844"/>
                    <a:pt x="1273" y="844"/>
                  </a:cubicBezTo>
                  <a:cubicBezTo>
                    <a:pt x="1273" y="844"/>
                    <a:pt x="1273" y="844"/>
                    <a:pt x="1273" y="844"/>
                  </a:cubicBezTo>
                  <a:cubicBezTo>
                    <a:pt x="1273" y="845"/>
                    <a:pt x="1273" y="845"/>
                    <a:pt x="1273" y="845"/>
                  </a:cubicBezTo>
                  <a:cubicBezTo>
                    <a:pt x="1273" y="845"/>
                    <a:pt x="1273" y="845"/>
                    <a:pt x="1273" y="845"/>
                  </a:cubicBezTo>
                  <a:cubicBezTo>
                    <a:pt x="1274" y="845"/>
                    <a:pt x="1274" y="845"/>
                    <a:pt x="1274" y="845"/>
                  </a:cubicBezTo>
                  <a:cubicBezTo>
                    <a:pt x="1274" y="846"/>
                    <a:pt x="1275" y="847"/>
                    <a:pt x="1276" y="847"/>
                  </a:cubicBezTo>
                  <a:cubicBezTo>
                    <a:pt x="1276" y="847"/>
                    <a:pt x="1276" y="847"/>
                    <a:pt x="1276" y="847"/>
                  </a:cubicBezTo>
                  <a:cubicBezTo>
                    <a:pt x="1276" y="848"/>
                    <a:pt x="1276" y="848"/>
                    <a:pt x="1276" y="848"/>
                  </a:cubicBezTo>
                  <a:cubicBezTo>
                    <a:pt x="1276" y="848"/>
                    <a:pt x="1276" y="848"/>
                    <a:pt x="1276" y="848"/>
                  </a:cubicBezTo>
                  <a:cubicBezTo>
                    <a:pt x="1277" y="848"/>
                    <a:pt x="1277" y="848"/>
                    <a:pt x="1277" y="848"/>
                  </a:cubicBezTo>
                  <a:cubicBezTo>
                    <a:pt x="1279" y="848"/>
                    <a:pt x="1279" y="848"/>
                    <a:pt x="1279" y="848"/>
                  </a:cubicBezTo>
                  <a:cubicBezTo>
                    <a:pt x="1283" y="849"/>
                    <a:pt x="1283" y="849"/>
                    <a:pt x="1283" y="849"/>
                  </a:cubicBezTo>
                  <a:cubicBezTo>
                    <a:pt x="1284" y="849"/>
                    <a:pt x="1284" y="849"/>
                    <a:pt x="1284" y="849"/>
                  </a:cubicBezTo>
                  <a:cubicBezTo>
                    <a:pt x="1285" y="850"/>
                    <a:pt x="1285" y="850"/>
                    <a:pt x="1285" y="850"/>
                  </a:cubicBezTo>
                  <a:cubicBezTo>
                    <a:pt x="1285" y="850"/>
                    <a:pt x="1285" y="850"/>
                    <a:pt x="1285" y="850"/>
                  </a:cubicBezTo>
                  <a:cubicBezTo>
                    <a:pt x="1285" y="850"/>
                    <a:pt x="1285" y="850"/>
                    <a:pt x="1285" y="850"/>
                  </a:cubicBezTo>
                  <a:cubicBezTo>
                    <a:pt x="1286" y="850"/>
                    <a:pt x="1286" y="850"/>
                    <a:pt x="1286" y="850"/>
                  </a:cubicBezTo>
                  <a:cubicBezTo>
                    <a:pt x="1286" y="850"/>
                    <a:pt x="1286" y="850"/>
                    <a:pt x="1286" y="850"/>
                  </a:cubicBezTo>
                  <a:cubicBezTo>
                    <a:pt x="1286" y="850"/>
                    <a:pt x="1286" y="850"/>
                    <a:pt x="1286" y="850"/>
                  </a:cubicBezTo>
                  <a:cubicBezTo>
                    <a:pt x="1288" y="850"/>
                    <a:pt x="1288" y="849"/>
                    <a:pt x="1289" y="849"/>
                  </a:cubicBezTo>
                  <a:cubicBezTo>
                    <a:pt x="1290" y="849"/>
                    <a:pt x="1290" y="849"/>
                    <a:pt x="1290" y="849"/>
                  </a:cubicBezTo>
                  <a:cubicBezTo>
                    <a:pt x="1290" y="849"/>
                    <a:pt x="1290" y="849"/>
                    <a:pt x="1290" y="849"/>
                  </a:cubicBezTo>
                  <a:cubicBezTo>
                    <a:pt x="1290" y="849"/>
                    <a:pt x="1290" y="849"/>
                    <a:pt x="1290" y="849"/>
                  </a:cubicBezTo>
                  <a:cubicBezTo>
                    <a:pt x="1290" y="849"/>
                    <a:pt x="1290" y="849"/>
                    <a:pt x="1290" y="849"/>
                  </a:cubicBezTo>
                  <a:cubicBezTo>
                    <a:pt x="1291" y="849"/>
                    <a:pt x="1293" y="848"/>
                    <a:pt x="1294" y="848"/>
                  </a:cubicBezTo>
                  <a:cubicBezTo>
                    <a:pt x="1295" y="848"/>
                    <a:pt x="1295" y="848"/>
                    <a:pt x="1295" y="848"/>
                  </a:cubicBezTo>
                  <a:cubicBezTo>
                    <a:pt x="1296" y="848"/>
                    <a:pt x="1297" y="848"/>
                    <a:pt x="1299" y="849"/>
                  </a:cubicBezTo>
                  <a:cubicBezTo>
                    <a:pt x="1299" y="849"/>
                    <a:pt x="1299" y="849"/>
                    <a:pt x="1299" y="849"/>
                  </a:cubicBezTo>
                  <a:cubicBezTo>
                    <a:pt x="1299" y="849"/>
                    <a:pt x="1299" y="849"/>
                    <a:pt x="1299" y="849"/>
                  </a:cubicBezTo>
                  <a:cubicBezTo>
                    <a:pt x="1299" y="849"/>
                    <a:pt x="1299" y="849"/>
                    <a:pt x="1299" y="849"/>
                  </a:cubicBezTo>
                  <a:cubicBezTo>
                    <a:pt x="1299" y="849"/>
                    <a:pt x="1299" y="849"/>
                    <a:pt x="1299" y="849"/>
                  </a:cubicBezTo>
                  <a:cubicBezTo>
                    <a:pt x="1300" y="849"/>
                    <a:pt x="1300" y="849"/>
                    <a:pt x="1300" y="849"/>
                  </a:cubicBezTo>
                  <a:cubicBezTo>
                    <a:pt x="1299" y="849"/>
                    <a:pt x="1299" y="849"/>
                    <a:pt x="1299" y="849"/>
                  </a:cubicBezTo>
                  <a:cubicBezTo>
                    <a:pt x="1299" y="851"/>
                    <a:pt x="1299" y="851"/>
                    <a:pt x="1299" y="851"/>
                  </a:cubicBezTo>
                  <a:cubicBezTo>
                    <a:pt x="1299" y="851"/>
                    <a:pt x="1299" y="851"/>
                    <a:pt x="1299" y="851"/>
                  </a:cubicBezTo>
                  <a:cubicBezTo>
                    <a:pt x="1299" y="852"/>
                    <a:pt x="1299" y="852"/>
                    <a:pt x="1299" y="852"/>
                  </a:cubicBezTo>
                  <a:cubicBezTo>
                    <a:pt x="1298" y="852"/>
                    <a:pt x="1298" y="852"/>
                    <a:pt x="1298" y="852"/>
                  </a:cubicBezTo>
                  <a:cubicBezTo>
                    <a:pt x="1298" y="852"/>
                    <a:pt x="1298" y="852"/>
                    <a:pt x="1298" y="852"/>
                  </a:cubicBezTo>
                  <a:cubicBezTo>
                    <a:pt x="1298" y="852"/>
                    <a:pt x="1298" y="852"/>
                    <a:pt x="1298" y="852"/>
                  </a:cubicBezTo>
                  <a:cubicBezTo>
                    <a:pt x="1298" y="852"/>
                    <a:pt x="1298" y="852"/>
                    <a:pt x="1298" y="852"/>
                  </a:cubicBezTo>
                  <a:cubicBezTo>
                    <a:pt x="1298" y="852"/>
                    <a:pt x="1298" y="852"/>
                    <a:pt x="1298" y="852"/>
                  </a:cubicBezTo>
                  <a:cubicBezTo>
                    <a:pt x="1298" y="852"/>
                    <a:pt x="1298" y="852"/>
                    <a:pt x="1298" y="852"/>
                  </a:cubicBezTo>
                  <a:cubicBezTo>
                    <a:pt x="1298" y="852"/>
                    <a:pt x="1298" y="852"/>
                    <a:pt x="1298" y="852"/>
                  </a:cubicBezTo>
                  <a:cubicBezTo>
                    <a:pt x="1298" y="853"/>
                    <a:pt x="1298" y="853"/>
                    <a:pt x="1298" y="853"/>
                  </a:cubicBezTo>
                  <a:cubicBezTo>
                    <a:pt x="1298" y="853"/>
                    <a:pt x="1298" y="853"/>
                    <a:pt x="1298" y="853"/>
                  </a:cubicBezTo>
                  <a:cubicBezTo>
                    <a:pt x="1298" y="853"/>
                    <a:pt x="1298" y="853"/>
                    <a:pt x="1298" y="853"/>
                  </a:cubicBezTo>
                  <a:cubicBezTo>
                    <a:pt x="1298" y="853"/>
                    <a:pt x="1298" y="853"/>
                    <a:pt x="1298" y="853"/>
                  </a:cubicBezTo>
                  <a:cubicBezTo>
                    <a:pt x="1299" y="853"/>
                    <a:pt x="1299" y="853"/>
                    <a:pt x="1299" y="853"/>
                  </a:cubicBezTo>
                  <a:cubicBezTo>
                    <a:pt x="1299" y="853"/>
                    <a:pt x="1299" y="853"/>
                    <a:pt x="1299" y="853"/>
                  </a:cubicBezTo>
                  <a:cubicBezTo>
                    <a:pt x="1299" y="854"/>
                    <a:pt x="1299" y="854"/>
                    <a:pt x="1299" y="854"/>
                  </a:cubicBezTo>
                  <a:cubicBezTo>
                    <a:pt x="1299" y="854"/>
                    <a:pt x="1299" y="854"/>
                    <a:pt x="1299" y="854"/>
                  </a:cubicBezTo>
                  <a:cubicBezTo>
                    <a:pt x="1299" y="854"/>
                    <a:pt x="1299" y="854"/>
                    <a:pt x="1299" y="854"/>
                  </a:cubicBezTo>
                  <a:cubicBezTo>
                    <a:pt x="1299" y="854"/>
                    <a:pt x="1299" y="854"/>
                    <a:pt x="1299" y="854"/>
                  </a:cubicBezTo>
                  <a:cubicBezTo>
                    <a:pt x="1299" y="854"/>
                    <a:pt x="1299" y="854"/>
                    <a:pt x="1299" y="854"/>
                  </a:cubicBezTo>
                  <a:cubicBezTo>
                    <a:pt x="1298" y="854"/>
                    <a:pt x="1298" y="854"/>
                    <a:pt x="1298" y="854"/>
                  </a:cubicBezTo>
                  <a:cubicBezTo>
                    <a:pt x="1298" y="854"/>
                    <a:pt x="1298" y="855"/>
                    <a:pt x="1298" y="855"/>
                  </a:cubicBezTo>
                  <a:cubicBezTo>
                    <a:pt x="1298" y="855"/>
                    <a:pt x="1298" y="855"/>
                    <a:pt x="1298" y="855"/>
                  </a:cubicBezTo>
                  <a:cubicBezTo>
                    <a:pt x="1298" y="855"/>
                    <a:pt x="1298" y="855"/>
                    <a:pt x="1298" y="855"/>
                  </a:cubicBezTo>
                  <a:cubicBezTo>
                    <a:pt x="1298" y="855"/>
                    <a:pt x="1298" y="855"/>
                    <a:pt x="1298" y="855"/>
                  </a:cubicBezTo>
                  <a:cubicBezTo>
                    <a:pt x="1297" y="855"/>
                    <a:pt x="1297" y="855"/>
                    <a:pt x="1297" y="855"/>
                  </a:cubicBezTo>
                  <a:cubicBezTo>
                    <a:pt x="1297" y="855"/>
                    <a:pt x="1297" y="855"/>
                    <a:pt x="1297" y="855"/>
                  </a:cubicBezTo>
                  <a:cubicBezTo>
                    <a:pt x="1297" y="855"/>
                    <a:pt x="1297" y="855"/>
                    <a:pt x="1297" y="855"/>
                  </a:cubicBezTo>
                  <a:cubicBezTo>
                    <a:pt x="1297" y="855"/>
                    <a:pt x="1297" y="855"/>
                    <a:pt x="1297" y="855"/>
                  </a:cubicBezTo>
                  <a:cubicBezTo>
                    <a:pt x="1297" y="856"/>
                    <a:pt x="1297" y="856"/>
                    <a:pt x="1297" y="856"/>
                  </a:cubicBezTo>
                  <a:cubicBezTo>
                    <a:pt x="1297" y="856"/>
                    <a:pt x="1297" y="856"/>
                    <a:pt x="1297" y="856"/>
                  </a:cubicBezTo>
                  <a:cubicBezTo>
                    <a:pt x="1297" y="856"/>
                    <a:pt x="1297" y="856"/>
                    <a:pt x="1297" y="856"/>
                  </a:cubicBezTo>
                  <a:cubicBezTo>
                    <a:pt x="1297" y="856"/>
                    <a:pt x="1297" y="856"/>
                    <a:pt x="1297" y="856"/>
                  </a:cubicBezTo>
                  <a:cubicBezTo>
                    <a:pt x="1297" y="856"/>
                    <a:pt x="1297" y="856"/>
                    <a:pt x="1297" y="856"/>
                  </a:cubicBezTo>
                  <a:cubicBezTo>
                    <a:pt x="1297" y="856"/>
                    <a:pt x="1297" y="856"/>
                    <a:pt x="1297" y="857"/>
                  </a:cubicBezTo>
                  <a:cubicBezTo>
                    <a:pt x="1297" y="857"/>
                    <a:pt x="1297" y="857"/>
                    <a:pt x="1297" y="857"/>
                  </a:cubicBezTo>
                  <a:cubicBezTo>
                    <a:pt x="1297" y="857"/>
                    <a:pt x="1297" y="857"/>
                    <a:pt x="1297" y="857"/>
                  </a:cubicBezTo>
                  <a:cubicBezTo>
                    <a:pt x="1297" y="857"/>
                    <a:pt x="1297" y="857"/>
                    <a:pt x="1297" y="857"/>
                  </a:cubicBezTo>
                  <a:cubicBezTo>
                    <a:pt x="1296" y="858"/>
                    <a:pt x="1296" y="858"/>
                    <a:pt x="1296" y="859"/>
                  </a:cubicBezTo>
                  <a:cubicBezTo>
                    <a:pt x="1296" y="859"/>
                    <a:pt x="1296" y="859"/>
                    <a:pt x="1296" y="859"/>
                  </a:cubicBezTo>
                  <a:cubicBezTo>
                    <a:pt x="1296" y="859"/>
                    <a:pt x="1296" y="859"/>
                    <a:pt x="1296" y="859"/>
                  </a:cubicBezTo>
                  <a:cubicBezTo>
                    <a:pt x="1296" y="859"/>
                    <a:pt x="1296" y="859"/>
                    <a:pt x="1296" y="859"/>
                  </a:cubicBezTo>
                  <a:cubicBezTo>
                    <a:pt x="1296" y="859"/>
                    <a:pt x="1296" y="859"/>
                    <a:pt x="1296" y="859"/>
                  </a:cubicBezTo>
                  <a:cubicBezTo>
                    <a:pt x="1296" y="859"/>
                    <a:pt x="1296" y="859"/>
                    <a:pt x="1296" y="859"/>
                  </a:cubicBezTo>
                  <a:cubicBezTo>
                    <a:pt x="1296" y="859"/>
                    <a:pt x="1296" y="859"/>
                    <a:pt x="1296" y="859"/>
                  </a:cubicBezTo>
                  <a:cubicBezTo>
                    <a:pt x="1296" y="859"/>
                    <a:pt x="1296" y="859"/>
                    <a:pt x="1296" y="859"/>
                  </a:cubicBezTo>
                  <a:cubicBezTo>
                    <a:pt x="1296" y="859"/>
                    <a:pt x="1296" y="859"/>
                    <a:pt x="1296" y="859"/>
                  </a:cubicBezTo>
                  <a:cubicBezTo>
                    <a:pt x="1297" y="860"/>
                    <a:pt x="1297" y="860"/>
                    <a:pt x="1297" y="860"/>
                  </a:cubicBezTo>
                  <a:cubicBezTo>
                    <a:pt x="1297" y="860"/>
                    <a:pt x="1297" y="860"/>
                    <a:pt x="1297" y="860"/>
                  </a:cubicBezTo>
                  <a:cubicBezTo>
                    <a:pt x="1298" y="861"/>
                    <a:pt x="1298" y="861"/>
                    <a:pt x="1298" y="861"/>
                  </a:cubicBezTo>
                  <a:cubicBezTo>
                    <a:pt x="1298" y="861"/>
                    <a:pt x="1298" y="861"/>
                    <a:pt x="1298" y="861"/>
                  </a:cubicBezTo>
                  <a:cubicBezTo>
                    <a:pt x="1298" y="861"/>
                    <a:pt x="1298" y="861"/>
                    <a:pt x="1298" y="861"/>
                  </a:cubicBezTo>
                  <a:cubicBezTo>
                    <a:pt x="1298" y="861"/>
                    <a:pt x="1298" y="861"/>
                    <a:pt x="1298" y="861"/>
                  </a:cubicBezTo>
                  <a:cubicBezTo>
                    <a:pt x="1298" y="861"/>
                    <a:pt x="1298" y="861"/>
                    <a:pt x="1298" y="861"/>
                  </a:cubicBezTo>
                  <a:cubicBezTo>
                    <a:pt x="1298" y="861"/>
                    <a:pt x="1298" y="861"/>
                    <a:pt x="1298" y="861"/>
                  </a:cubicBezTo>
                  <a:cubicBezTo>
                    <a:pt x="1299" y="862"/>
                    <a:pt x="1299" y="862"/>
                    <a:pt x="1299" y="862"/>
                  </a:cubicBezTo>
                  <a:cubicBezTo>
                    <a:pt x="1300" y="863"/>
                    <a:pt x="1300" y="863"/>
                    <a:pt x="1300" y="863"/>
                  </a:cubicBezTo>
                  <a:cubicBezTo>
                    <a:pt x="1302" y="865"/>
                    <a:pt x="1302" y="865"/>
                    <a:pt x="1302" y="865"/>
                  </a:cubicBezTo>
                  <a:cubicBezTo>
                    <a:pt x="1303" y="865"/>
                    <a:pt x="1303" y="865"/>
                    <a:pt x="1303" y="865"/>
                  </a:cubicBezTo>
                  <a:cubicBezTo>
                    <a:pt x="1304" y="866"/>
                    <a:pt x="1304" y="866"/>
                    <a:pt x="1304" y="866"/>
                  </a:cubicBezTo>
                  <a:cubicBezTo>
                    <a:pt x="1304" y="866"/>
                    <a:pt x="1304" y="866"/>
                    <a:pt x="1304" y="866"/>
                  </a:cubicBezTo>
                  <a:cubicBezTo>
                    <a:pt x="1304" y="866"/>
                    <a:pt x="1304" y="866"/>
                    <a:pt x="1304" y="866"/>
                  </a:cubicBezTo>
                  <a:cubicBezTo>
                    <a:pt x="1304" y="866"/>
                    <a:pt x="1304" y="866"/>
                    <a:pt x="1304" y="866"/>
                  </a:cubicBezTo>
                  <a:cubicBezTo>
                    <a:pt x="1305" y="867"/>
                    <a:pt x="1305" y="867"/>
                    <a:pt x="1305" y="867"/>
                  </a:cubicBezTo>
                  <a:cubicBezTo>
                    <a:pt x="1306" y="867"/>
                    <a:pt x="1306" y="867"/>
                    <a:pt x="1306" y="867"/>
                  </a:cubicBezTo>
                  <a:cubicBezTo>
                    <a:pt x="1306" y="868"/>
                    <a:pt x="1306" y="868"/>
                    <a:pt x="1306" y="868"/>
                  </a:cubicBezTo>
                  <a:cubicBezTo>
                    <a:pt x="1306" y="868"/>
                    <a:pt x="1306" y="868"/>
                    <a:pt x="1306" y="868"/>
                  </a:cubicBezTo>
                  <a:cubicBezTo>
                    <a:pt x="1306" y="868"/>
                    <a:pt x="1306" y="868"/>
                    <a:pt x="1306" y="868"/>
                  </a:cubicBezTo>
                  <a:cubicBezTo>
                    <a:pt x="1306" y="868"/>
                    <a:pt x="1306" y="868"/>
                    <a:pt x="1306" y="868"/>
                  </a:cubicBezTo>
                  <a:cubicBezTo>
                    <a:pt x="1306" y="868"/>
                    <a:pt x="1306" y="868"/>
                    <a:pt x="1306" y="868"/>
                  </a:cubicBezTo>
                  <a:cubicBezTo>
                    <a:pt x="1306" y="868"/>
                    <a:pt x="1306" y="868"/>
                    <a:pt x="1306" y="868"/>
                  </a:cubicBezTo>
                  <a:cubicBezTo>
                    <a:pt x="1306" y="869"/>
                    <a:pt x="1306" y="869"/>
                    <a:pt x="1305" y="869"/>
                  </a:cubicBezTo>
                  <a:cubicBezTo>
                    <a:pt x="1305" y="869"/>
                    <a:pt x="1305" y="869"/>
                    <a:pt x="1305" y="869"/>
                  </a:cubicBezTo>
                  <a:cubicBezTo>
                    <a:pt x="1305" y="869"/>
                    <a:pt x="1305" y="869"/>
                    <a:pt x="1305" y="869"/>
                  </a:cubicBezTo>
                  <a:cubicBezTo>
                    <a:pt x="1305" y="870"/>
                    <a:pt x="1304" y="871"/>
                    <a:pt x="1304" y="871"/>
                  </a:cubicBezTo>
                  <a:cubicBezTo>
                    <a:pt x="1304" y="871"/>
                    <a:pt x="1304" y="871"/>
                    <a:pt x="1304" y="871"/>
                  </a:cubicBezTo>
                  <a:cubicBezTo>
                    <a:pt x="1304" y="871"/>
                    <a:pt x="1304" y="871"/>
                    <a:pt x="1304" y="871"/>
                  </a:cubicBezTo>
                  <a:cubicBezTo>
                    <a:pt x="1304" y="871"/>
                    <a:pt x="1304" y="871"/>
                    <a:pt x="1304" y="871"/>
                  </a:cubicBezTo>
                  <a:cubicBezTo>
                    <a:pt x="1304" y="871"/>
                    <a:pt x="1304" y="871"/>
                    <a:pt x="1304" y="871"/>
                  </a:cubicBezTo>
                  <a:cubicBezTo>
                    <a:pt x="1304" y="871"/>
                    <a:pt x="1304" y="871"/>
                    <a:pt x="1304" y="871"/>
                  </a:cubicBezTo>
                  <a:cubicBezTo>
                    <a:pt x="1304" y="872"/>
                    <a:pt x="1304" y="872"/>
                    <a:pt x="1304" y="872"/>
                  </a:cubicBezTo>
                  <a:cubicBezTo>
                    <a:pt x="1304" y="872"/>
                    <a:pt x="1304" y="872"/>
                    <a:pt x="1304" y="872"/>
                  </a:cubicBezTo>
                  <a:cubicBezTo>
                    <a:pt x="1304" y="872"/>
                    <a:pt x="1304" y="872"/>
                    <a:pt x="1304" y="872"/>
                  </a:cubicBezTo>
                  <a:cubicBezTo>
                    <a:pt x="1304" y="872"/>
                    <a:pt x="1304" y="872"/>
                    <a:pt x="1304" y="872"/>
                  </a:cubicBezTo>
                  <a:cubicBezTo>
                    <a:pt x="1303" y="872"/>
                    <a:pt x="1303" y="872"/>
                    <a:pt x="1303" y="872"/>
                  </a:cubicBezTo>
                  <a:cubicBezTo>
                    <a:pt x="1303" y="872"/>
                    <a:pt x="1303" y="872"/>
                    <a:pt x="1303" y="872"/>
                  </a:cubicBezTo>
                  <a:cubicBezTo>
                    <a:pt x="1303" y="872"/>
                    <a:pt x="1303" y="872"/>
                    <a:pt x="1303" y="872"/>
                  </a:cubicBezTo>
                  <a:cubicBezTo>
                    <a:pt x="1303" y="872"/>
                    <a:pt x="1303" y="872"/>
                    <a:pt x="1303" y="872"/>
                  </a:cubicBezTo>
                  <a:cubicBezTo>
                    <a:pt x="1303" y="872"/>
                    <a:pt x="1303" y="872"/>
                    <a:pt x="1303" y="872"/>
                  </a:cubicBezTo>
                  <a:cubicBezTo>
                    <a:pt x="1303" y="873"/>
                    <a:pt x="1303" y="873"/>
                    <a:pt x="1303" y="873"/>
                  </a:cubicBezTo>
                  <a:cubicBezTo>
                    <a:pt x="1303" y="873"/>
                    <a:pt x="1303" y="873"/>
                    <a:pt x="1303" y="873"/>
                  </a:cubicBezTo>
                  <a:cubicBezTo>
                    <a:pt x="1303" y="873"/>
                    <a:pt x="1303" y="873"/>
                    <a:pt x="1303" y="873"/>
                  </a:cubicBezTo>
                  <a:cubicBezTo>
                    <a:pt x="1303" y="873"/>
                    <a:pt x="1303" y="873"/>
                    <a:pt x="1303" y="873"/>
                  </a:cubicBezTo>
                  <a:cubicBezTo>
                    <a:pt x="1303" y="874"/>
                    <a:pt x="1304" y="874"/>
                    <a:pt x="1303" y="874"/>
                  </a:cubicBezTo>
                  <a:cubicBezTo>
                    <a:pt x="1303" y="875"/>
                    <a:pt x="1303" y="875"/>
                    <a:pt x="1303" y="875"/>
                  </a:cubicBezTo>
                  <a:cubicBezTo>
                    <a:pt x="1303" y="875"/>
                    <a:pt x="1303" y="875"/>
                    <a:pt x="1303" y="875"/>
                  </a:cubicBezTo>
                  <a:cubicBezTo>
                    <a:pt x="1302" y="875"/>
                    <a:pt x="1302" y="875"/>
                    <a:pt x="1302" y="875"/>
                  </a:cubicBezTo>
                  <a:cubicBezTo>
                    <a:pt x="1302" y="875"/>
                    <a:pt x="1302" y="875"/>
                    <a:pt x="1302" y="875"/>
                  </a:cubicBezTo>
                  <a:cubicBezTo>
                    <a:pt x="1302" y="875"/>
                    <a:pt x="1302" y="875"/>
                    <a:pt x="1302" y="876"/>
                  </a:cubicBezTo>
                  <a:cubicBezTo>
                    <a:pt x="1302" y="876"/>
                    <a:pt x="1302" y="876"/>
                    <a:pt x="1302" y="876"/>
                  </a:cubicBezTo>
                  <a:cubicBezTo>
                    <a:pt x="1302" y="876"/>
                    <a:pt x="1302" y="876"/>
                    <a:pt x="1302" y="876"/>
                  </a:cubicBezTo>
                  <a:cubicBezTo>
                    <a:pt x="1302" y="877"/>
                    <a:pt x="1302" y="877"/>
                    <a:pt x="1302" y="877"/>
                  </a:cubicBezTo>
                  <a:cubicBezTo>
                    <a:pt x="1302" y="877"/>
                    <a:pt x="1302" y="877"/>
                    <a:pt x="1302" y="877"/>
                  </a:cubicBezTo>
                  <a:cubicBezTo>
                    <a:pt x="1301" y="877"/>
                    <a:pt x="1301" y="877"/>
                    <a:pt x="1301" y="877"/>
                  </a:cubicBezTo>
                  <a:cubicBezTo>
                    <a:pt x="1301" y="877"/>
                    <a:pt x="1301" y="877"/>
                    <a:pt x="1301" y="877"/>
                  </a:cubicBezTo>
                  <a:cubicBezTo>
                    <a:pt x="1301" y="877"/>
                    <a:pt x="1301" y="877"/>
                    <a:pt x="1301" y="877"/>
                  </a:cubicBezTo>
                  <a:cubicBezTo>
                    <a:pt x="1301" y="877"/>
                    <a:pt x="1301" y="877"/>
                    <a:pt x="1301" y="877"/>
                  </a:cubicBezTo>
                  <a:cubicBezTo>
                    <a:pt x="1301" y="877"/>
                    <a:pt x="1301" y="877"/>
                    <a:pt x="1301" y="877"/>
                  </a:cubicBezTo>
                  <a:cubicBezTo>
                    <a:pt x="1302" y="877"/>
                    <a:pt x="1302" y="877"/>
                    <a:pt x="1302" y="877"/>
                  </a:cubicBezTo>
                  <a:cubicBezTo>
                    <a:pt x="1302" y="877"/>
                    <a:pt x="1302" y="877"/>
                    <a:pt x="1302" y="877"/>
                  </a:cubicBezTo>
                  <a:cubicBezTo>
                    <a:pt x="1302" y="878"/>
                    <a:pt x="1302" y="878"/>
                    <a:pt x="1302" y="878"/>
                  </a:cubicBezTo>
                  <a:cubicBezTo>
                    <a:pt x="1303" y="879"/>
                    <a:pt x="1303" y="879"/>
                    <a:pt x="1303" y="879"/>
                  </a:cubicBezTo>
                  <a:cubicBezTo>
                    <a:pt x="1306" y="881"/>
                    <a:pt x="1306" y="881"/>
                    <a:pt x="1306" y="881"/>
                  </a:cubicBezTo>
                  <a:cubicBezTo>
                    <a:pt x="1307" y="881"/>
                    <a:pt x="1307" y="881"/>
                    <a:pt x="1307" y="881"/>
                  </a:cubicBezTo>
                  <a:cubicBezTo>
                    <a:pt x="1307" y="882"/>
                    <a:pt x="1307" y="882"/>
                    <a:pt x="1307" y="882"/>
                  </a:cubicBezTo>
                  <a:cubicBezTo>
                    <a:pt x="1307" y="882"/>
                    <a:pt x="1307" y="882"/>
                    <a:pt x="1307" y="882"/>
                  </a:cubicBezTo>
                  <a:cubicBezTo>
                    <a:pt x="1307" y="882"/>
                    <a:pt x="1307" y="882"/>
                    <a:pt x="1307" y="882"/>
                  </a:cubicBezTo>
                  <a:cubicBezTo>
                    <a:pt x="1307" y="882"/>
                    <a:pt x="1307" y="882"/>
                    <a:pt x="1307" y="882"/>
                  </a:cubicBezTo>
                  <a:cubicBezTo>
                    <a:pt x="1307" y="882"/>
                    <a:pt x="1307" y="882"/>
                    <a:pt x="1307" y="882"/>
                  </a:cubicBezTo>
                  <a:cubicBezTo>
                    <a:pt x="1307" y="882"/>
                    <a:pt x="1307" y="882"/>
                    <a:pt x="1307" y="882"/>
                  </a:cubicBezTo>
                  <a:cubicBezTo>
                    <a:pt x="1307" y="883"/>
                    <a:pt x="1307" y="883"/>
                    <a:pt x="1307" y="883"/>
                  </a:cubicBezTo>
                  <a:cubicBezTo>
                    <a:pt x="1307" y="883"/>
                    <a:pt x="1307" y="883"/>
                    <a:pt x="1307" y="883"/>
                  </a:cubicBezTo>
                  <a:cubicBezTo>
                    <a:pt x="1307" y="883"/>
                    <a:pt x="1307" y="883"/>
                    <a:pt x="1307" y="883"/>
                  </a:cubicBezTo>
                  <a:cubicBezTo>
                    <a:pt x="1307" y="883"/>
                    <a:pt x="1307" y="883"/>
                    <a:pt x="1307" y="883"/>
                  </a:cubicBezTo>
                  <a:cubicBezTo>
                    <a:pt x="1307" y="883"/>
                    <a:pt x="1307" y="884"/>
                    <a:pt x="1307" y="884"/>
                  </a:cubicBezTo>
                  <a:cubicBezTo>
                    <a:pt x="1307" y="884"/>
                    <a:pt x="1307" y="884"/>
                    <a:pt x="1307" y="884"/>
                  </a:cubicBezTo>
                  <a:cubicBezTo>
                    <a:pt x="1307" y="884"/>
                    <a:pt x="1307" y="884"/>
                    <a:pt x="1307" y="884"/>
                  </a:cubicBezTo>
                  <a:cubicBezTo>
                    <a:pt x="1307" y="884"/>
                    <a:pt x="1307" y="884"/>
                    <a:pt x="1307" y="884"/>
                  </a:cubicBezTo>
                  <a:cubicBezTo>
                    <a:pt x="1306" y="885"/>
                    <a:pt x="1308" y="886"/>
                    <a:pt x="1308" y="887"/>
                  </a:cubicBezTo>
                  <a:cubicBezTo>
                    <a:pt x="1308" y="887"/>
                    <a:pt x="1308" y="887"/>
                    <a:pt x="1308" y="887"/>
                  </a:cubicBezTo>
                  <a:cubicBezTo>
                    <a:pt x="1308" y="887"/>
                    <a:pt x="1308" y="887"/>
                    <a:pt x="1308" y="887"/>
                  </a:cubicBezTo>
                  <a:cubicBezTo>
                    <a:pt x="1308" y="887"/>
                    <a:pt x="1308" y="887"/>
                    <a:pt x="1308" y="887"/>
                  </a:cubicBezTo>
                  <a:cubicBezTo>
                    <a:pt x="1308" y="887"/>
                    <a:pt x="1308" y="887"/>
                    <a:pt x="1308" y="887"/>
                  </a:cubicBezTo>
                  <a:cubicBezTo>
                    <a:pt x="1308" y="887"/>
                    <a:pt x="1308" y="887"/>
                    <a:pt x="1308" y="887"/>
                  </a:cubicBezTo>
                  <a:cubicBezTo>
                    <a:pt x="1308" y="888"/>
                    <a:pt x="1308" y="888"/>
                    <a:pt x="1308" y="888"/>
                  </a:cubicBezTo>
                  <a:cubicBezTo>
                    <a:pt x="1308" y="888"/>
                    <a:pt x="1308" y="888"/>
                    <a:pt x="1308" y="888"/>
                  </a:cubicBezTo>
                  <a:cubicBezTo>
                    <a:pt x="1307" y="888"/>
                    <a:pt x="1307" y="888"/>
                    <a:pt x="1307" y="889"/>
                  </a:cubicBezTo>
                  <a:cubicBezTo>
                    <a:pt x="1307" y="889"/>
                    <a:pt x="1307" y="889"/>
                    <a:pt x="1307" y="889"/>
                  </a:cubicBezTo>
                  <a:cubicBezTo>
                    <a:pt x="1306" y="889"/>
                    <a:pt x="1306" y="889"/>
                    <a:pt x="1306" y="889"/>
                  </a:cubicBezTo>
                  <a:cubicBezTo>
                    <a:pt x="1306" y="889"/>
                    <a:pt x="1306" y="890"/>
                    <a:pt x="1306" y="890"/>
                  </a:cubicBezTo>
                  <a:cubicBezTo>
                    <a:pt x="1307" y="890"/>
                    <a:pt x="1307" y="890"/>
                    <a:pt x="1307" y="890"/>
                  </a:cubicBezTo>
                  <a:cubicBezTo>
                    <a:pt x="1307" y="891"/>
                    <a:pt x="1306" y="891"/>
                    <a:pt x="1306" y="891"/>
                  </a:cubicBezTo>
                  <a:cubicBezTo>
                    <a:pt x="1306" y="890"/>
                    <a:pt x="1306" y="890"/>
                    <a:pt x="1306" y="890"/>
                  </a:cubicBezTo>
                  <a:cubicBezTo>
                    <a:pt x="1306" y="890"/>
                    <a:pt x="1306" y="890"/>
                    <a:pt x="1306" y="890"/>
                  </a:cubicBezTo>
                  <a:cubicBezTo>
                    <a:pt x="1306" y="891"/>
                    <a:pt x="1307" y="891"/>
                    <a:pt x="1308" y="892"/>
                  </a:cubicBezTo>
                  <a:cubicBezTo>
                    <a:pt x="1309" y="892"/>
                    <a:pt x="1310" y="892"/>
                    <a:pt x="1311" y="891"/>
                  </a:cubicBezTo>
                  <a:cubicBezTo>
                    <a:pt x="1312" y="891"/>
                    <a:pt x="1312" y="891"/>
                    <a:pt x="1312" y="891"/>
                  </a:cubicBezTo>
                  <a:cubicBezTo>
                    <a:pt x="1313" y="891"/>
                    <a:pt x="1313" y="891"/>
                    <a:pt x="1315" y="890"/>
                  </a:cubicBezTo>
                  <a:cubicBezTo>
                    <a:pt x="1315" y="890"/>
                    <a:pt x="1315" y="890"/>
                    <a:pt x="1315" y="890"/>
                  </a:cubicBezTo>
                  <a:cubicBezTo>
                    <a:pt x="1315" y="890"/>
                    <a:pt x="1315" y="890"/>
                    <a:pt x="1315" y="890"/>
                  </a:cubicBezTo>
                  <a:cubicBezTo>
                    <a:pt x="1315" y="890"/>
                    <a:pt x="1315" y="890"/>
                    <a:pt x="1315" y="890"/>
                  </a:cubicBezTo>
                  <a:cubicBezTo>
                    <a:pt x="1315" y="890"/>
                    <a:pt x="1315" y="890"/>
                    <a:pt x="1315" y="890"/>
                  </a:cubicBezTo>
                  <a:cubicBezTo>
                    <a:pt x="1315" y="890"/>
                    <a:pt x="1315" y="890"/>
                    <a:pt x="1315" y="890"/>
                  </a:cubicBezTo>
                  <a:cubicBezTo>
                    <a:pt x="1315" y="890"/>
                    <a:pt x="1315" y="890"/>
                    <a:pt x="1315" y="890"/>
                  </a:cubicBezTo>
                  <a:cubicBezTo>
                    <a:pt x="1315" y="890"/>
                    <a:pt x="1315" y="890"/>
                    <a:pt x="1315" y="890"/>
                  </a:cubicBezTo>
                  <a:cubicBezTo>
                    <a:pt x="1316" y="890"/>
                    <a:pt x="1316" y="890"/>
                    <a:pt x="1316" y="890"/>
                  </a:cubicBezTo>
                  <a:cubicBezTo>
                    <a:pt x="1316" y="890"/>
                    <a:pt x="1316" y="890"/>
                    <a:pt x="1316" y="890"/>
                  </a:cubicBezTo>
                  <a:cubicBezTo>
                    <a:pt x="1316" y="890"/>
                    <a:pt x="1316" y="890"/>
                    <a:pt x="1316" y="890"/>
                  </a:cubicBezTo>
                  <a:cubicBezTo>
                    <a:pt x="1316" y="890"/>
                    <a:pt x="1316" y="890"/>
                    <a:pt x="1316" y="890"/>
                  </a:cubicBezTo>
                  <a:cubicBezTo>
                    <a:pt x="1317" y="890"/>
                    <a:pt x="1317" y="890"/>
                    <a:pt x="1317" y="890"/>
                  </a:cubicBezTo>
                  <a:cubicBezTo>
                    <a:pt x="1317" y="891"/>
                    <a:pt x="1317" y="891"/>
                    <a:pt x="1317" y="891"/>
                  </a:cubicBezTo>
                  <a:cubicBezTo>
                    <a:pt x="1317" y="893"/>
                    <a:pt x="1317" y="893"/>
                    <a:pt x="1317" y="893"/>
                  </a:cubicBezTo>
                  <a:cubicBezTo>
                    <a:pt x="1317" y="893"/>
                    <a:pt x="1317" y="893"/>
                    <a:pt x="1317" y="893"/>
                  </a:cubicBezTo>
                  <a:cubicBezTo>
                    <a:pt x="1317" y="894"/>
                    <a:pt x="1317" y="894"/>
                    <a:pt x="1317" y="894"/>
                  </a:cubicBezTo>
                  <a:cubicBezTo>
                    <a:pt x="1317" y="894"/>
                    <a:pt x="1317" y="894"/>
                    <a:pt x="1317" y="894"/>
                  </a:cubicBezTo>
                  <a:cubicBezTo>
                    <a:pt x="1317" y="894"/>
                    <a:pt x="1317" y="894"/>
                    <a:pt x="1317" y="894"/>
                  </a:cubicBezTo>
                  <a:cubicBezTo>
                    <a:pt x="1317" y="894"/>
                    <a:pt x="1317" y="895"/>
                    <a:pt x="1317" y="895"/>
                  </a:cubicBezTo>
                  <a:cubicBezTo>
                    <a:pt x="1317" y="896"/>
                    <a:pt x="1317" y="896"/>
                    <a:pt x="1317" y="896"/>
                  </a:cubicBezTo>
                  <a:cubicBezTo>
                    <a:pt x="1317" y="896"/>
                    <a:pt x="1317" y="896"/>
                    <a:pt x="1317" y="896"/>
                  </a:cubicBezTo>
                  <a:cubicBezTo>
                    <a:pt x="1317" y="896"/>
                    <a:pt x="1317" y="896"/>
                    <a:pt x="1317" y="896"/>
                  </a:cubicBezTo>
                  <a:cubicBezTo>
                    <a:pt x="1318" y="896"/>
                    <a:pt x="1318" y="896"/>
                    <a:pt x="1318" y="896"/>
                  </a:cubicBezTo>
                  <a:cubicBezTo>
                    <a:pt x="1318" y="896"/>
                    <a:pt x="1318" y="896"/>
                    <a:pt x="1318" y="896"/>
                  </a:cubicBezTo>
                  <a:cubicBezTo>
                    <a:pt x="1318" y="896"/>
                    <a:pt x="1318" y="896"/>
                    <a:pt x="1318" y="896"/>
                  </a:cubicBezTo>
                  <a:cubicBezTo>
                    <a:pt x="1318" y="896"/>
                    <a:pt x="1318" y="896"/>
                    <a:pt x="1318" y="896"/>
                  </a:cubicBezTo>
                  <a:cubicBezTo>
                    <a:pt x="1320" y="897"/>
                    <a:pt x="1320" y="897"/>
                    <a:pt x="1320" y="897"/>
                  </a:cubicBezTo>
                  <a:cubicBezTo>
                    <a:pt x="1323" y="897"/>
                    <a:pt x="1323" y="897"/>
                    <a:pt x="1323" y="897"/>
                  </a:cubicBezTo>
                  <a:cubicBezTo>
                    <a:pt x="1331" y="899"/>
                    <a:pt x="1331" y="899"/>
                    <a:pt x="1331" y="899"/>
                  </a:cubicBezTo>
                  <a:cubicBezTo>
                    <a:pt x="1334" y="899"/>
                    <a:pt x="1334" y="899"/>
                    <a:pt x="1334" y="899"/>
                  </a:cubicBezTo>
                  <a:cubicBezTo>
                    <a:pt x="1336" y="900"/>
                    <a:pt x="1336" y="900"/>
                    <a:pt x="1336" y="900"/>
                  </a:cubicBezTo>
                  <a:cubicBezTo>
                    <a:pt x="1336" y="900"/>
                    <a:pt x="1336" y="900"/>
                    <a:pt x="1336" y="900"/>
                  </a:cubicBezTo>
                  <a:cubicBezTo>
                    <a:pt x="1336" y="900"/>
                    <a:pt x="1336" y="900"/>
                    <a:pt x="1336" y="900"/>
                  </a:cubicBezTo>
                  <a:cubicBezTo>
                    <a:pt x="1336" y="900"/>
                    <a:pt x="1336" y="900"/>
                    <a:pt x="1336" y="900"/>
                  </a:cubicBezTo>
                  <a:cubicBezTo>
                    <a:pt x="1337" y="900"/>
                    <a:pt x="1338" y="900"/>
                    <a:pt x="1338" y="900"/>
                  </a:cubicBezTo>
                  <a:cubicBezTo>
                    <a:pt x="1339" y="900"/>
                    <a:pt x="1339" y="900"/>
                    <a:pt x="1339" y="900"/>
                  </a:cubicBezTo>
                  <a:cubicBezTo>
                    <a:pt x="1339" y="900"/>
                    <a:pt x="1339" y="900"/>
                    <a:pt x="1339" y="900"/>
                  </a:cubicBezTo>
                  <a:cubicBezTo>
                    <a:pt x="1341" y="900"/>
                    <a:pt x="1341" y="900"/>
                    <a:pt x="1343" y="901"/>
                  </a:cubicBezTo>
                  <a:cubicBezTo>
                    <a:pt x="1343" y="901"/>
                    <a:pt x="1343" y="901"/>
                    <a:pt x="1343" y="901"/>
                  </a:cubicBezTo>
                  <a:cubicBezTo>
                    <a:pt x="1343" y="901"/>
                    <a:pt x="1343" y="901"/>
                    <a:pt x="1343" y="901"/>
                  </a:cubicBezTo>
                  <a:cubicBezTo>
                    <a:pt x="1343" y="901"/>
                    <a:pt x="1343" y="901"/>
                    <a:pt x="1343" y="901"/>
                  </a:cubicBezTo>
                  <a:cubicBezTo>
                    <a:pt x="1343" y="901"/>
                    <a:pt x="1343" y="901"/>
                    <a:pt x="1343" y="901"/>
                  </a:cubicBezTo>
                  <a:cubicBezTo>
                    <a:pt x="1344" y="901"/>
                    <a:pt x="1344" y="901"/>
                    <a:pt x="1344" y="901"/>
                  </a:cubicBezTo>
                  <a:cubicBezTo>
                    <a:pt x="1344" y="901"/>
                    <a:pt x="1344" y="901"/>
                    <a:pt x="1344" y="901"/>
                  </a:cubicBezTo>
                  <a:cubicBezTo>
                    <a:pt x="1344" y="901"/>
                    <a:pt x="1344" y="901"/>
                    <a:pt x="1344" y="901"/>
                  </a:cubicBezTo>
                  <a:cubicBezTo>
                    <a:pt x="1344" y="901"/>
                    <a:pt x="1344" y="901"/>
                    <a:pt x="1344" y="901"/>
                  </a:cubicBezTo>
                  <a:cubicBezTo>
                    <a:pt x="1344" y="900"/>
                    <a:pt x="1345" y="901"/>
                    <a:pt x="1346" y="901"/>
                  </a:cubicBezTo>
                  <a:cubicBezTo>
                    <a:pt x="1346" y="901"/>
                    <a:pt x="1346" y="901"/>
                    <a:pt x="1346" y="901"/>
                  </a:cubicBezTo>
                  <a:cubicBezTo>
                    <a:pt x="1346" y="901"/>
                    <a:pt x="1346" y="901"/>
                    <a:pt x="1346" y="901"/>
                  </a:cubicBezTo>
                  <a:cubicBezTo>
                    <a:pt x="1347" y="901"/>
                    <a:pt x="1347" y="901"/>
                    <a:pt x="1348" y="900"/>
                  </a:cubicBezTo>
                  <a:cubicBezTo>
                    <a:pt x="1348" y="900"/>
                    <a:pt x="1348" y="900"/>
                    <a:pt x="1348" y="900"/>
                  </a:cubicBezTo>
                  <a:cubicBezTo>
                    <a:pt x="1348" y="900"/>
                    <a:pt x="1348" y="900"/>
                    <a:pt x="1348" y="900"/>
                  </a:cubicBezTo>
                  <a:cubicBezTo>
                    <a:pt x="1348" y="900"/>
                    <a:pt x="1348" y="900"/>
                    <a:pt x="1348" y="900"/>
                  </a:cubicBezTo>
                  <a:cubicBezTo>
                    <a:pt x="1349" y="900"/>
                    <a:pt x="1349" y="900"/>
                    <a:pt x="1349" y="900"/>
                  </a:cubicBezTo>
                  <a:cubicBezTo>
                    <a:pt x="1349" y="900"/>
                    <a:pt x="1350" y="900"/>
                    <a:pt x="1350" y="900"/>
                  </a:cubicBezTo>
                  <a:cubicBezTo>
                    <a:pt x="1350" y="900"/>
                    <a:pt x="1350" y="900"/>
                    <a:pt x="1350" y="900"/>
                  </a:cubicBezTo>
                  <a:cubicBezTo>
                    <a:pt x="1350" y="900"/>
                    <a:pt x="1350" y="900"/>
                    <a:pt x="1350" y="900"/>
                  </a:cubicBezTo>
                  <a:cubicBezTo>
                    <a:pt x="1351" y="900"/>
                    <a:pt x="1351" y="900"/>
                    <a:pt x="1351" y="900"/>
                  </a:cubicBezTo>
                  <a:cubicBezTo>
                    <a:pt x="1351" y="900"/>
                    <a:pt x="1351" y="900"/>
                    <a:pt x="1351" y="900"/>
                  </a:cubicBezTo>
                  <a:cubicBezTo>
                    <a:pt x="1351" y="900"/>
                    <a:pt x="1351" y="900"/>
                    <a:pt x="1351" y="900"/>
                  </a:cubicBezTo>
                  <a:cubicBezTo>
                    <a:pt x="1351" y="900"/>
                    <a:pt x="1351" y="900"/>
                    <a:pt x="1351" y="900"/>
                  </a:cubicBezTo>
                  <a:cubicBezTo>
                    <a:pt x="1351" y="900"/>
                    <a:pt x="1351" y="900"/>
                    <a:pt x="1351" y="900"/>
                  </a:cubicBezTo>
                  <a:cubicBezTo>
                    <a:pt x="1352" y="900"/>
                    <a:pt x="1352" y="900"/>
                    <a:pt x="1352" y="900"/>
                  </a:cubicBezTo>
                  <a:cubicBezTo>
                    <a:pt x="1352" y="900"/>
                    <a:pt x="1352" y="900"/>
                    <a:pt x="1352" y="900"/>
                  </a:cubicBezTo>
                  <a:cubicBezTo>
                    <a:pt x="1354" y="900"/>
                    <a:pt x="1354" y="900"/>
                    <a:pt x="1354" y="900"/>
                  </a:cubicBezTo>
                  <a:cubicBezTo>
                    <a:pt x="1354" y="901"/>
                    <a:pt x="1354" y="901"/>
                    <a:pt x="1354" y="901"/>
                  </a:cubicBezTo>
                  <a:cubicBezTo>
                    <a:pt x="1355" y="901"/>
                    <a:pt x="1355" y="901"/>
                    <a:pt x="1355" y="901"/>
                  </a:cubicBezTo>
                  <a:cubicBezTo>
                    <a:pt x="1355" y="901"/>
                    <a:pt x="1355" y="901"/>
                    <a:pt x="1355" y="901"/>
                  </a:cubicBezTo>
                  <a:cubicBezTo>
                    <a:pt x="1355" y="900"/>
                    <a:pt x="1355" y="900"/>
                    <a:pt x="1355" y="900"/>
                  </a:cubicBezTo>
                  <a:cubicBezTo>
                    <a:pt x="1355" y="900"/>
                    <a:pt x="1355" y="900"/>
                    <a:pt x="1355" y="900"/>
                  </a:cubicBezTo>
                  <a:cubicBezTo>
                    <a:pt x="1355" y="900"/>
                    <a:pt x="1355" y="900"/>
                    <a:pt x="1355" y="900"/>
                  </a:cubicBezTo>
                  <a:cubicBezTo>
                    <a:pt x="1355" y="900"/>
                    <a:pt x="1355" y="900"/>
                    <a:pt x="1355" y="900"/>
                  </a:cubicBezTo>
                  <a:cubicBezTo>
                    <a:pt x="1355" y="900"/>
                    <a:pt x="1355" y="900"/>
                    <a:pt x="1355" y="900"/>
                  </a:cubicBezTo>
                  <a:cubicBezTo>
                    <a:pt x="1356" y="900"/>
                    <a:pt x="1357" y="901"/>
                    <a:pt x="1358" y="900"/>
                  </a:cubicBezTo>
                  <a:cubicBezTo>
                    <a:pt x="1358" y="900"/>
                    <a:pt x="1358" y="900"/>
                    <a:pt x="1358" y="900"/>
                  </a:cubicBezTo>
                  <a:cubicBezTo>
                    <a:pt x="1361" y="901"/>
                    <a:pt x="1363" y="902"/>
                    <a:pt x="1366" y="903"/>
                  </a:cubicBezTo>
                  <a:cubicBezTo>
                    <a:pt x="1367" y="903"/>
                    <a:pt x="1367" y="903"/>
                    <a:pt x="1367" y="903"/>
                  </a:cubicBezTo>
                  <a:cubicBezTo>
                    <a:pt x="1367" y="903"/>
                    <a:pt x="1367" y="903"/>
                    <a:pt x="1367" y="903"/>
                  </a:cubicBezTo>
                  <a:cubicBezTo>
                    <a:pt x="1367" y="903"/>
                    <a:pt x="1367" y="903"/>
                    <a:pt x="1367" y="903"/>
                  </a:cubicBezTo>
                  <a:cubicBezTo>
                    <a:pt x="1367" y="903"/>
                    <a:pt x="1367" y="903"/>
                    <a:pt x="1367" y="903"/>
                  </a:cubicBezTo>
                  <a:cubicBezTo>
                    <a:pt x="1368" y="903"/>
                    <a:pt x="1368" y="903"/>
                    <a:pt x="1369" y="903"/>
                  </a:cubicBezTo>
                  <a:cubicBezTo>
                    <a:pt x="1369" y="903"/>
                    <a:pt x="1369" y="903"/>
                    <a:pt x="1369" y="903"/>
                  </a:cubicBezTo>
                  <a:cubicBezTo>
                    <a:pt x="1369" y="903"/>
                    <a:pt x="1369" y="903"/>
                    <a:pt x="1369" y="903"/>
                  </a:cubicBezTo>
                  <a:cubicBezTo>
                    <a:pt x="1370" y="903"/>
                    <a:pt x="1370" y="903"/>
                    <a:pt x="1371" y="903"/>
                  </a:cubicBezTo>
                  <a:cubicBezTo>
                    <a:pt x="1369" y="903"/>
                    <a:pt x="1368" y="904"/>
                    <a:pt x="1367" y="905"/>
                  </a:cubicBezTo>
                  <a:cubicBezTo>
                    <a:pt x="1367" y="905"/>
                    <a:pt x="1367" y="905"/>
                    <a:pt x="1367" y="905"/>
                  </a:cubicBezTo>
                  <a:cubicBezTo>
                    <a:pt x="1368" y="904"/>
                    <a:pt x="1370" y="903"/>
                    <a:pt x="1371" y="903"/>
                  </a:cubicBezTo>
                  <a:cubicBezTo>
                    <a:pt x="1371" y="903"/>
                    <a:pt x="1371" y="903"/>
                    <a:pt x="1371" y="903"/>
                  </a:cubicBezTo>
                  <a:cubicBezTo>
                    <a:pt x="1371" y="903"/>
                    <a:pt x="1371" y="903"/>
                    <a:pt x="1371" y="903"/>
                  </a:cubicBezTo>
                  <a:cubicBezTo>
                    <a:pt x="1372" y="903"/>
                    <a:pt x="1372" y="903"/>
                    <a:pt x="1372" y="903"/>
                  </a:cubicBezTo>
                  <a:cubicBezTo>
                    <a:pt x="1372" y="903"/>
                    <a:pt x="1372" y="903"/>
                    <a:pt x="1372" y="903"/>
                  </a:cubicBezTo>
                  <a:cubicBezTo>
                    <a:pt x="1372" y="903"/>
                    <a:pt x="1372" y="903"/>
                    <a:pt x="1372" y="903"/>
                  </a:cubicBezTo>
                  <a:cubicBezTo>
                    <a:pt x="1372" y="903"/>
                    <a:pt x="1372" y="903"/>
                    <a:pt x="1372" y="903"/>
                  </a:cubicBezTo>
                  <a:cubicBezTo>
                    <a:pt x="1372" y="903"/>
                    <a:pt x="1372" y="903"/>
                    <a:pt x="1372" y="903"/>
                  </a:cubicBezTo>
                  <a:cubicBezTo>
                    <a:pt x="1372" y="904"/>
                    <a:pt x="1372" y="904"/>
                    <a:pt x="1372" y="904"/>
                  </a:cubicBezTo>
                  <a:cubicBezTo>
                    <a:pt x="1372" y="905"/>
                    <a:pt x="1372" y="905"/>
                    <a:pt x="1372" y="905"/>
                  </a:cubicBezTo>
                  <a:cubicBezTo>
                    <a:pt x="1372" y="905"/>
                    <a:pt x="1372" y="905"/>
                    <a:pt x="1372" y="905"/>
                  </a:cubicBezTo>
                  <a:cubicBezTo>
                    <a:pt x="1373" y="904"/>
                    <a:pt x="1373" y="904"/>
                    <a:pt x="1373" y="904"/>
                  </a:cubicBezTo>
                  <a:cubicBezTo>
                    <a:pt x="1374" y="903"/>
                    <a:pt x="1374" y="903"/>
                    <a:pt x="1374" y="903"/>
                  </a:cubicBezTo>
                  <a:cubicBezTo>
                    <a:pt x="1374" y="902"/>
                    <a:pt x="1374" y="902"/>
                    <a:pt x="1374" y="902"/>
                  </a:cubicBezTo>
                  <a:cubicBezTo>
                    <a:pt x="1375" y="903"/>
                    <a:pt x="1375" y="903"/>
                    <a:pt x="1375" y="903"/>
                  </a:cubicBezTo>
                  <a:cubicBezTo>
                    <a:pt x="1374" y="903"/>
                    <a:pt x="1374" y="903"/>
                    <a:pt x="1374" y="903"/>
                  </a:cubicBezTo>
                  <a:cubicBezTo>
                    <a:pt x="1374" y="904"/>
                    <a:pt x="1374" y="904"/>
                    <a:pt x="1374" y="904"/>
                  </a:cubicBezTo>
                  <a:cubicBezTo>
                    <a:pt x="1374" y="905"/>
                    <a:pt x="1374" y="905"/>
                    <a:pt x="1374" y="905"/>
                  </a:cubicBezTo>
                  <a:cubicBezTo>
                    <a:pt x="1374" y="905"/>
                    <a:pt x="1374" y="905"/>
                    <a:pt x="1374" y="905"/>
                  </a:cubicBezTo>
                  <a:cubicBezTo>
                    <a:pt x="1373" y="905"/>
                    <a:pt x="1373" y="905"/>
                    <a:pt x="1373" y="905"/>
                  </a:cubicBezTo>
                  <a:cubicBezTo>
                    <a:pt x="1373" y="905"/>
                    <a:pt x="1373" y="905"/>
                    <a:pt x="1373" y="905"/>
                  </a:cubicBezTo>
                  <a:cubicBezTo>
                    <a:pt x="1373" y="905"/>
                    <a:pt x="1373" y="905"/>
                    <a:pt x="1373" y="905"/>
                  </a:cubicBezTo>
                  <a:cubicBezTo>
                    <a:pt x="1373" y="905"/>
                    <a:pt x="1373" y="905"/>
                    <a:pt x="1373" y="905"/>
                  </a:cubicBezTo>
                  <a:cubicBezTo>
                    <a:pt x="1374" y="905"/>
                    <a:pt x="1374" y="905"/>
                    <a:pt x="1374" y="905"/>
                  </a:cubicBezTo>
                  <a:cubicBezTo>
                    <a:pt x="1376" y="905"/>
                    <a:pt x="1376" y="905"/>
                    <a:pt x="1376" y="905"/>
                  </a:cubicBezTo>
                  <a:cubicBezTo>
                    <a:pt x="1377" y="905"/>
                    <a:pt x="1377" y="905"/>
                    <a:pt x="1377" y="905"/>
                  </a:cubicBezTo>
                  <a:cubicBezTo>
                    <a:pt x="1377" y="905"/>
                    <a:pt x="1377" y="905"/>
                    <a:pt x="1377" y="905"/>
                  </a:cubicBezTo>
                  <a:cubicBezTo>
                    <a:pt x="1377" y="905"/>
                    <a:pt x="1377" y="905"/>
                    <a:pt x="1377" y="905"/>
                  </a:cubicBezTo>
                  <a:cubicBezTo>
                    <a:pt x="1376" y="906"/>
                    <a:pt x="1375" y="907"/>
                    <a:pt x="1374" y="907"/>
                  </a:cubicBezTo>
                  <a:cubicBezTo>
                    <a:pt x="1374" y="907"/>
                    <a:pt x="1374" y="907"/>
                    <a:pt x="1374" y="907"/>
                  </a:cubicBezTo>
                  <a:cubicBezTo>
                    <a:pt x="1374" y="907"/>
                    <a:pt x="1374" y="907"/>
                    <a:pt x="1374" y="907"/>
                  </a:cubicBezTo>
                  <a:cubicBezTo>
                    <a:pt x="1375" y="907"/>
                    <a:pt x="1375" y="907"/>
                    <a:pt x="1375" y="907"/>
                  </a:cubicBezTo>
                  <a:cubicBezTo>
                    <a:pt x="1376" y="906"/>
                    <a:pt x="1376" y="906"/>
                    <a:pt x="1376" y="906"/>
                  </a:cubicBezTo>
                  <a:cubicBezTo>
                    <a:pt x="1377" y="906"/>
                    <a:pt x="1377" y="906"/>
                    <a:pt x="1377" y="906"/>
                  </a:cubicBezTo>
                  <a:cubicBezTo>
                    <a:pt x="1377" y="906"/>
                    <a:pt x="1377" y="906"/>
                    <a:pt x="1377" y="906"/>
                  </a:cubicBezTo>
                  <a:cubicBezTo>
                    <a:pt x="1377" y="906"/>
                    <a:pt x="1377" y="906"/>
                    <a:pt x="1377" y="906"/>
                  </a:cubicBezTo>
                  <a:cubicBezTo>
                    <a:pt x="1377" y="906"/>
                    <a:pt x="1377" y="906"/>
                    <a:pt x="1377" y="906"/>
                  </a:cubicBezTo>
                  <a:cubicBezTo>
                    <a:pt x="1377" y="906"/>
                    <a:pt x="1377" y="906"/>
                    <a:pt x="1377" y="906"/>
                  </a:cubicBezTo>
                  <a:cubicBezTo>
                    <a:pt x="1377" y="906"/>
                    <a:pt x="1377" y="906"/>
                    <a:pt x="1377" y="906"/>
                  </a:cubicBezTo>
                  <a:cubicBezTo>
                    <a:pt x="1377" y="906"/>
                    <a:pt x="1377" y="906"/>
                    <a:pt x="1377" y="906"/>
                  </a:cubicBezTo>
                  <a:cubicBezTo>
                    <a:pt x="1378" y="905"/>
                    <a:pt x="1378" y="905"/>
                    <a:pt x="1378" y="905"/>
                  </a:cubicBezTo>
                  <a:cubicBezTo>
                    <a:pt x="1378" y="905"/>
                    <a:pt x="1378" y="905"/>
                    <a:pt x="1378" y="905"/>
                  </a:cubicBezTo>
                  <a:cubicBezTo>
                    <a:pt x="1378" y="905"/>
                    <a:pt x="1378" y="905"/>
                    <a:pt x="1378" y="905"/>
                  </a:cubicBezTo>
                  <a:cubicBezTo>
                    <a:pt x="1378" y="906"/>
                    <a:pt x="1378" y="906"/>
                    <a:pt x="1378" y="906"/>
                  </a:cubicBezTo>
                  <a:cubicBezTo>
                    <a:pt x="1379" y="906"/>
                    <a:pt x="1379" y="906"/>
                    <a:pt x="1379" y="906"/>
                  </a:cubicBezTo>
                  <a:cubicBezTo>
                    <a:pt x="1380" y="906"/>
                    <a:pt x="1381" y="907"/>
                    <a:pt x="1382" y="907"/>
                  </a:cubicBezTo>
                  <a:cubicBezTo>
                    <a:pt x="1382" y="907"/>
                    <a:pt x="1382" y="907"/>
                    <a:pt x="1382" y="907"/>
                  </a:cubicBezTo>
                  <a:cubicBezTo>
                    <a:pt x="1382" y="907"/>
                    <a:pt x="1382" y="907"/>
                    <a:pt x="1382" y="907"/>
                  </a:cubicBezTo>
                  <a:cubicBezTo>
                    <a:pt x="1382" y="907"/>
                    <a:pt x="1382" y="907"/>
                    <a:pt x="1382" y="907"/>
                  </a:cubicBezTo>
                  <a:cubicBezTo>
                    <a:pt x="1383" y="907"/>
                    <a:pt x="1383" y="907"/>
                    <a:pt x="1383" y="907"/>
                  </a:cubicBezTo>
                  <a:cubicBezTo>
                    <a:pt x="1384" y="908"/>
                    <a:pt x="1384" y="907"/>
                    <a:pt x="1384" y="907"/>
                  </a:cubicBezTo>
                  <a:cubicBezTo>
                    <a:pt x="1385" y="907"/>
                    <a:pt x="1385" y="907"/>
                    <a:pt x="1385" y="907"/>
                  </a:cubicBezTo>
                  <a:cubicBezTo>
                    <a:pt x="1385" y="907"/>
                    <a:pt x="1385" y="907"/>
                    <a:pt x="1385" y="907"/>
                  </a:cubicBezTo>
                  <a:cubicBezTo>
                    <a:pt x="1385" y="907"/>
                    <a:pt x="1385" y="907"/>
                    <a:pt x="1385" y="907"/>
                  </a:cubicBezTo>
                  <a:cubicBezTo>
                    <a:pt x="1385" y="907"/>
                    <a:pt x="1385" y="907"/>
                    <a:pt x="1385" y="907"/>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5"/>
                    <a:pt x="1385" y="905"/>
                    <a:pt x="1385" y="905"/>
                  </a:cubicBezTo>
                  <a:cubicBezTo>
                    <a:pt x="1385" y="905"/>
                    <a:pt x="1385" y="905"/>
                    <a:pt x="1385" y="905"/>
                  </a:cubicBezTo>
                  <a:cubicBezTo>
                    <a:pt x="1386" y="906"/>
                    <a:pt x="1386" y="906"/>
                    <a:pt x="1386" y="906"/>
                  </a:cubicBezTo>
                  <a:cubicBezTo>
                    <a:pt x="1387" y="906"/>
                    <a:pt x="1387" y="906"/>
                    <a:pt x="1387" y="906"/>
                  </a:cubicBezTo>
                  <a:cubicBezTo>
                    <a:pt x="1390" y="907"/>
                    <a:pt x="1390" y="907"/>
                    <a:pt x="1390" y="907"/>
                  </a:cubicBezTo>
                  <a:cubicBezTo>
                    <a:pt x="1391" y="907"/>
                    <a:pt x="1391" y="907"/>
                    <a:pt x="1391" y="907"/>
                  </a:cubicBezTo>
                  <a:cubicBezTo>
                    <a:pt x="1392" y="907"/>
                    <a:pt x="1392" y="907"/>
                    <a:pt x="1392" y="907"/>
                  </a:cubicBezTo>
                  <a:cubicBezTo>
                    <a:pt x="1392" y="907"/>
                    <a:pt x="1392" y="907"/>
                    <a:pt x="1392" y="907"/>
                  </a:cubicBezTo>
                  <a:cubicBezTo>
                    <a:pt x="1393" y="908"/>
                    <a:pt x="1393" y="908"/>
                    <a:pt x="1393" y="908"/>
                  </a:cubicBezTo>
                  <a:cubicBezTo>
                    <a:pt x="1393" y="908"/>
                    <a:pt x="1393" y="908"/>
                    <a:pt x="1393" y="908"/>
                  </a:cubicBezTo>
                  <a:cubicBezTo>
                    <a:pt x="1394" y="908"/>
                    <a:pt x="1394" y="908"/>
                    <a:pt x="1394" y="908"/>
                  </a:cubicBezTo>
                  <a:cubicBezTo>
                    <a:pt x="1395" y="909"/>
                    <a:pt x="1395" y="909"/>
                    <a:pt x="1395" y="909"/>
                  </a:cubicBezTo>
                  <a:cubicBezTo>
                    <a:pt x="1398" y="912"/>
                    <a:pt x="1398" y="912"/>
                    <a:pt x="1398" y="912"/>
                  </a:cubicBezTo>
                  <a:cubicBezTo>
                    <a:pt x="1406" y="919"/>
                    <a:pt x="1406" y="919"/>
                    <a:pt x="1406" y="919"/>
                  </a:cubicBezTo>
                  <a:cubicBezTo>
                    <a:pt x="1409" y="922"/>
                    <a:pt x="1409" y="922"/>
                    <a:pt x="1409" y="922"/>
                  </a:cubicBezTo>
                  <a:cubicBezTo>
                    <a:pt x="1410" y="923"/>
                    <a:pt x="1410" y="923"/>
                    <a:pt x="1410" y="923"/>
                  </a:cubicBezTo>
                  <a:cubicBezTo>
                    <a:pt x="1411" y="923"/>
                    <a:pt x="1411" y="923"/>
                    <a:pt x="1411" y="923"/>
                  </a:cubicBezTo>
                  <a:cubicBezTo>
                    <a:pt x="1411" y="923"/>
                    <a:pt x="1411" y="923"/>
                    <a:pt x="1411" y="923"/>
                  </a:cubicBezTo>
                  <a:cubicBezTo>
                    <a:pt x="1411" y="924"/>
                    <a:pt x="1411" y="924"/>
                    <a:pt x="1411" y="924"/>
                  </a:cubicBezTo>
                  <a:cubicBezTo>
                    <a:pt x="1411" y="924"/>
                    <a:pt x="1411" y="924"/>
                    <a:pt x="1411" y="924"/>
                  </a:cubicBezTo>
                  <a:cubicBezTo>
                    <a:pt x="1411" y="925"/>
                    <a:pt x="1411" y="925"/>
                    <a:pt x="1411" y="925"/>
                  </a:cubicBezTo>
                  <a:cubicBezTo>
                    <a:pt x="1410" y="927"/>
                    <a:pt x="1410" y="927"/>
                    <a:pt x="1410" y="927"/>
                  </a:cubicBezTo>
                  <a:cubicBezTo>
                    <a:pt x="1410" y="928"/>
                    <a:pt x="1410" y="928"/>
                    <a:pt x="1410" y="928"/>
                  </a:cubicBezTo>
                  <a:cubicBezTo>
                    <a:pt x="1412" y="930"/>
                    <a:pt x="1412" y="930"/>
                    <a:pt x="1412" y="930"/>
                  </a:cubicBezTo>
                  <a:cubicBezTo>
                    <a:pt x="1412" y="933"/>
                    <a:pt x="1412" y="933"/>
                    <a:pt x="1412" y="933"/>
                  </a:cubicBezTo>
                  <a:cubicBezTo>
                    <a:pt x="1413" y="935"/>
                    <a:pt x="1413" y="935"/>
                    <a:pt x="1413" y="935"/>
                  </a:cubicBezTo>
                  <a:cubicBezTo>
                    <a:pt x="1418" y="939"/>
                    <a:pt x="1418" y="939"/>
                    <a:pt x="1418" y="939"/>
                  </a:cubicBezTo>
                  <a:cubicBezTo>
                    <a:pt x="1419" y="941"/>
                    <a:pt x="1419" y="941"/>
                    <a:pt x="1419" y="941"/>
                  </a:cubicBezTo>
                  <a:cubicBezTo>
                    <a:pt x="1420" y="942"/>
                    <a:pt x="1420" y="942"/>
                    <a:pt x="1420" y="942"/>
                  </a:cubicBezTo>
                  <a:cubicBezTo>
                    <a:pt x="1420" y="942"/>
                    <a:pt x="1420" y="942"/>
                    <a:pt x="1420" y="942"/>
                  </a:cubicBezTo>
                  <a:cubicBezTo>
                    <a:pt x="1420" y="942"/>
                    <a:pt x="1420" y="942"/>
                    <a:pt x="1420" y="942"/>
                  </a:cubicBezTo>
                  <a:cubicBezTo>
                    <a:pt x="1419" y="942"/>
                    <a:pt x="1419" y="942"/>
                    <a:pt x="1419" y="942"/>
                  </a:cubicBezTo>
                  <a:cubicBezTo>
                    <a:pt x="1419" y="942"/>
                    <a:pt x="1419" y="942"/>
                    <a:pt x="1418" y="942"/>
                  </a:cubicBezTo>
                  <a:cubicBezTo>
                    <a:pt x="1418" y="942"/>
                    <a:pt x="1418" y="942"/>
                    <a:pt x="1418" y="942"/>
                  </a:cubicBezTo>
                  <a:cubicBezTo>
                    <a:pt x="1418" y="942"/>
                    <a:pt x="1418" y="942"/>
                    <a:pt x="1418" y="942"/>
                  </a:cubicBezTo>
                  <a:cubicBezTo>
                    <a:pt x="1418" y="942"/>
                    <a:pt x="1418" y="942"/>
                    <a:pt x="1418" y="942"/>
                  </a:cubicBezTo>
                  <a:cubicBezTo>
                    <a:pt x="1418" y="942"/>
                    <a:pt x="1418" y="942"/>
                    <a:pt x="1418" y="942"/>
                  </a:cubicBezTo>
                  <a:cubicBezTo>
                    <a:pt x="1418" y="942"/>
                    <a:pt x="1418" y="942"/>
                    <a:pt x="1418" y="942"/>
                  </a:cubicBezTo>
                  <a:cubicBezTo>
                    <a:pt x="1417" y="942"/>
                    <a:pt x="1417" y="942"/>
                    <a:pt x="1417" y="942"/>
                  </a:cubicBezTo>
                  <a:cubicBezTo>
                    <a:pt x="1417" y="942"/>
                    <a:pt x="1417" y="942"/>
                    <a:pt x="1417" y="942"/>
                  </a:cubicBezTo>
                  <a:cubicBezTo>
                    <a:pt x="1417" y="942"/>
                    <a:pt x="1417" y="942"/>
                    <a:pt x="1417" y="942"/>
                  </a:cubicBezTo>
                  <a:cubicBezTo>
                    <a:pt x="1417" y="942"/>
                    <a:pt x="1417" y="942"/>
                    <a:pt x="1417" y="942"/>
                  </a:cubicBezTo>
                  <a:cubicBezTo>
                    <a:pt x="1417" y="941"/>
                    <a:pt x="1417" y="941"/>
                    <a:pt x="1417" y="941"/>
                  </a:cubicBezTo>
                  <a:cubicBezTo>
                    <a:pt x="1417" y="941"/>
                    <a:pt x="1417" y="941"/>
                    <a:pt x="1417" y="941"/>
                  </a:cubicBezTo>
                  <a:cubicBezTo>
                    <a:pt x="1417" y="941"/>
                    <a:pt x="1417" y="941"/>
                    <a:pt x="1417" y="941"/>
                  </a:cubicBezTo>
                  <a:cubicBezTo>
                    <a:pt x="1416" y="941"/>
                    <a:pt x="1416" y="941"/>
                    <a:pt x="1416" y="941"/>
                  </a:cubicBezTo>
                  <a:cubicBezTo>
                    <a:pt x="1416" y="941"/>
                    <a:pt x="1416" y="941"/>
                    <a:pt x="1416" y="941"/>
                  </a:cubicBezTo>
                  <a:cubicBezTo>
                    <a:pt x="1416" y="941"/>
                    <a:pt x="1416" y="941"/>
                    <a:pt x="1416" y="941"/>
                  </a:cubicBezTo>
                  <a:cubicBezTo>
                    <a:pt x="1416" y="941"/>
                    <a:pt x="1416" y="941"/>
                    <a:pt x="1416" y="941"/>
                  </a:cubicBezTo>
                  <a:cubicBezTo>
                    <a:pt x="1416" y="941"/>
                    <a:pt x="1416" y="941"/>
                    <a:pt x="1416" y="941"/>
                  </a:cubicBezTo>
                  <a:cubicBezTo>
                    <a:pt x="1416" y="941"/>
                    <a:pt x="1416" y="941"/>
                    <a:pt x="1416" y="941"/>
                  </a:cubicBezTo>
                  <a:cubicBezTo>
                    <a:pt x="1415" y="941"/>
                    <a:pt x="1415" y="941"/>
                    <a:pt x="1415" y="941"/>
                  </a:cubicBezTo>
                  <a:cubicBezTo>
                    <a:pt x="1415" y="940"/>
                    <a:pt x="1415" y="940"/>
                    <a:pt x="1415" y="940"/>
                  </a:cubicBezTo>
                  <a:cubicBezTo>
                    <a:pt x="1415" y="940"/>
                    <a:pt x="1415" y="940"/>
                    <a:pt x="1415" y="940"/>
                  </a:cubicBezTo>
                  <a:cubicBezTo>
                    <a:pt x="1415" y="940"/>
                    <a:pt x="1415" y="940"/>
                    <a:pt x="1415" y="940"/>
                  </a:cubicBezTo>
                  <a:cubicBezTo>
                    <a:pt x="1415" y="940"/>
                    <a:pt x="1415" y="940"/>
                    <a:pt x="1415" y="940"/>
                  </a:cubicBezTo>
                  <a:cubicBezTo>
                    <a:pt x="1415" y="940"/>
                    <a:pt x="1415" y="940"/>
                    <a:pt x="1415" y="940"/>
                  </a:cubicBezTo>
                  <a:cubicBezTo>
                    <a:pt x="1415" y="940"/>
                    <a:pt x="1415" y="940"/>
                    <a:pt x="1415" y="940"/>
                  </a:cubicBezTo>
                  <a:cubicBezTo>
                    <a:pt x="1414" y="940"/>
                    <a:pt x="1414" y="940"/>
                    <a:pt x="1414" y="940"/>
                  </a:cubicBezTo>
                  <a:cubicBezTo>
                    <a:pt x="1414" y="940"/>
                    <a:pt x="1414" y="940"/>
                    <a:pt x="1414" y="940"/>
                  </a:cubicBezTo>
                  <a:cubicBezTo>
                    <a:pt x="1414" y="939"/>
                    <a:pt x="1414" y="939"/>
                    <a:pt x="1414" y="939"/>
                  </a:cubicBezTo>
                  <a:cubicBezTo>
                    <a:pt x="1414" y="939"/>
                    <a:pt x="1414" y="939"/>
                    <a:pt x="1414" y="939"/>
                  </a:cubicBezTo>
                  <a:cubicBezTo>
                    <a:pt x="1414" y="939"/>
                    <a:pt x="1414" y="939"/>
                    <a:pt x="1414" y="939"/>
                  </a:cubicBezTo>
                  <a:cubicBezTo>
                    <a:pt x="1414" y="939"/>
                    <a:pt x="1414" y="939"/>
                    <a:pt x="1414" y="939"/>
                  </a:cubicBezTo>
                  <a:cubicBezTo>
                    <a:pt x="1414" y="939"/>
                    <a:pt x="1414" y="939"/>
                    <a:pt x="1414" y="939"/>
                  </a:cubicBezTo>
                  <a:cubicBezTo>
                    <a:pt x="1414" y="939"/>
                    <a:pt x="1414" y="939"/>
                    <a:pt x="1414" y="939"/>
                  </a:cubicBezTo>
                  <a:cubicBezTo>
                    <a:pt x="1414" y="939"/>
                    <a:pt x="1414" y="939"/>
                    <a:pt x="1414" y="939"/>
                  </a:cubicBezTo>
                  <a:cubicBezTo>
                    <a:pt x="1414" y="939"/>
                    <a:pt x="1414" y="939"/>
                    <a:pt x="1414" y="939"/>
                  </a:cubicBezTo>
                  <a:cubicBezTo>
                    <a:pt x="1413" y="939"/>
                    <a:pt x="1413" y="939"/>
                    <a:pt x="1413" y="939"/>
                  </a:cubicBezTo>
                  <a:cubicBezTo>
                    <a:pt x="1413" y="939"/>
                    <a:pt x="1413" y="939"/>
                    <a:pt x="1413" y="939"/>
                  </a:cubicBezTo>
                  <a:cubicBezTo>
                    <a:pt x="1412" y="939"/>
                    <a:pt x="1412" y="939"/>
                    <a:pt x="1412" y="939"/>
                  </a:cubicBezTo>
                  <a:cubicBezTo>
                    <a:pt x="1411" y="941"/>
                    <a:pt x="1411" y="941"/>
                    <a:pt x="1411" y="941"/>
                  </a:cubicBezTo>
                  <a:cubicBezTo>
                    <a:pt x="1410" y="941"/>
                    <a:pt x="1410" y="941"/>
                    <a:pt x="1410" y="941"/>
                  </a:cubicBezTo>
                  <a:cubicBezTo>
                    <a:pt x="1410" y="942"/>
                    <a:pt x="1410" y="942"/>
                    <a:pt x="1410" y="942"/>
                  </a:cubicBezTo>
                  <a:cubicBezTo>
                    <a:pt x="1410" y="942"/>
                    <a:pt x="1410" y="942"/>
                    <a:pt x="1410" y="942"/>
                  </a:cubicBezTo>
                  <a:cubicBezTo>
                    <a:pt x="1410" y="942"/>
                    <a:pt x="1410" y="942"/>
                    <a:pt x="1410" y="942"/>
                  </a:cubicBezTo>
                  <a:cubicBezTo>
                    <a:pt x="1410" y="943"/>
                    <a:pt x="1410" y="943"/>
                    <a:pt x="1410" y="943"/>
                  </a:cubicBezTo>
                  <a:cubicBezTo>
                    <a:pt x="1412" y="946"/>
                    <a:pt x="1412" y="946"/>
                    <a:pt x="1412" y="946"/>
                  </a:cubicBezTo>
                  <a:cubicBezTo>
                    <a:pt x="1411" y="949"/>
                    <a:pt x="1411" y="949"/>
                    <a:pt x="1411" y="949"/>
                  </a:cubicBezTo>
                  <a:cubicBezTo>
                    <a:pt x="1410" y="950"/>
                    <a:pt x="1410" y="950"/>
                    <a:pt x="1410" y="950"/>
                  </a:cubicBezTo>
                  <a:cubicBezTo>
                    <a:pt x="1410" y="950"/>
                    <a:pt x="1410" y="950"/>
                    <a:pt x="1410" y="950"/>
                  </a:cubicBezTo>
                  <a:cubicBezTo>
                    <a:pt x="1410" y="950"/>
                    <a:pt x="1410" y="950"/>
                    <a:pt x="1410" y="950"/>
                  </a:cubicBezTo>
                  <a:cubicBezTo>
                    <a:pt x="1409" y="950"/>
                    <a:pt x="1409" y="950"/>
                    <a:pt x="1409" y="950"/>
                  </a:cubicBezTo>
                  <a:cubicBezTo>
                    <a:pt x="1407" y="948"/>
                    <a:pt x="1404" y="948"/>
                    <a:pt x="1402" y="947"/>
                  </a:cubicBezTo>
                  <a:cubicBezTo>
                    <a:pt x="1402" y="947"/>
                    <a:pt x="1402" y="947"/>
                    <a:pt x="1402" y="947"/>
                  </a:cubicBezTo>
                  <a:cubicBezTo>
                    <a:pt x="1402" y="947"/>
                    <a:pt x="1402" y="947"/>
                    <a:pt x="1402" y="947"/>
                  </a:cubicBezTo>
                  <a:cubicBezTo>
                    <a:pt x="1402" y="947"/>
                    <a:pt x="1402" y="947"/>
                    <a:pt x="1402" y="947"/>
                  </a:cubicBezTo>
                  <a:cubicBezTo>
                    <a:pt x="1401" y="947"/>
                    <a:pt x="1401" y="947"/>
                    <a:pt x="1401" y="947"/>
                  </a:cubicBezTo>
                  <a:cubicBezTo>
                    <a:pt x="1401" y="947"/>
                    <a:pt x="1401" y="947"/>
                    <a:pt x="1401" y="947"/>
                  </a:cubicBezTo>
                  <a:cubicBezTo>
                    <a:pt x="1401" y="946"/>
                    <a:pt x="1401" y="946"/>
                    <a:pt x="1401" y="946"/>
                  </a:cubicBezTo>
                  <a:cubicBezTo>
                    <a:pt x="1400" y="946"/>
                    <a:pt x="1400" y="946"/>
                    <a:pt x="1400" y="946"/>
                  </a:cubicBezTo>
                  <a:cubicBezTo>
                    <a:pt x="1399" y="945"/>
                    <a:pt x="1399" y="945"/>
                    <a:pt x="1399" y="945"/>
                  </a:cubicBezTo>
                  <a:cubicBezTo>
                    <a:pt x="1397" y="944"/>
                    <a:pt x="1397" y="944"/>
                    <a:pt x="1397" y="944"/>
                  </a:cubicBezTo>
                  <a:cubicBezTo>
                    <a:pt x="1397" y="943"/>
                    <a:pt x="1397" y="943"/>
                    <a:pt x="1397" y="943"/>
                  </a:cubicBezTo>
                  <a:cubicBezTo>
                    <a:pt x="1396" y="943"/>
                    <a:pt x="1396" y="943"/>
                    <a:pt x="1396" y="943"/>
                  </a:cubicBezTo>
                  <a:cubicBezTo>
                    <a:pt x="1396" y="943"/>
                    <a:pt x="1396" y="943"/>
                    <a:pt x="1396" y="943"/>
                  </a:cubicBezTo>
                  <a:cubicBezTo>
                    <a:pt x="1395" y="943"/>
                    <a:pt x="1395" y="943"/>
                    <a:pt x="1395" y="943"/>
                  </a:cubicBezTo>
                  <a:cubicBezTo>
                    <a:pt x="1395" y="943"/>
                    <a:pt x="1395" y="943"/>
                    <a:pt x="1395" y="943"/>
                  </a:cubicBezTo>
                  <a:cubicBezTo>
                    <a:pt x="1395" y="943"/>
                    <a:pt x="1395" y="943"/>
                    <a:pt x="1395" y="943"/>
                  </a:cubicBezTo>
                  <a:cubicBezTo>
                    <a:pt x="1394" y="943"/>
                    <a:pt x="1394" y="943"/>
                    <a:pt x="1393" y="944"/>
                  </a:cubicBezTo>
                  <a:cubicBezTo>
                    <a:pt x="1391" y="946"/>
                    <a:pt x="1391" y="946"/>
                    <a:pt x="1391" y="946"/>
                  </a:cubicBezTo>
                  <a:cubicBezTo>
                    <a:pt x="1391" y="946"/>
                    <a:pt x="1391" y="946"/>
                    <a:pt x="1391" y="946"/>
                  </a:cubicBezTo>
                  <a:cubicBezTo>
                    <a:pt x="1391" y="946"/>
                    <a:pt x="1391" y="946"/>
                    <a:pt x="1391" y="946"/>
                  </a:cubicBezTo>
                  <a:cubicBezTo>
                    <a:pt x="1391" y="946"/>
                    <a:pt x="1391" y="946"/>
                    <a:pt x="1391" y="946"/>
                  </a:cubicBezTo>
                  <a:cubicBezTo>
                    <a:pt x="1391" y="946"/>
                    <a:pt x="1391" y="945"/>
                    <a:pt x="1391" y="945"/>
                  </a:cubicBezTo>
                  <a:cubicBezTo>
                    <a:pt x="1391" y="945"/>
                    <a:pt x="1391" y="945"/>
                    <a:pt x="1391" y="945"/>
                  </a:cubicBezTo>
                  <a:cubicBezTo>
                    <a:pt x="1391" y="944"/>
                    <a:pt x="1391" y="944"/>
                    <a:pt x="1391" y="944"/>
                  </a:cubicBezTo>
                  <a:cubicBezTo>
                    <a:pt x="1390" y="944"/>
                    <a:pt x="1390" y="944"/>
                    <a:pt x="1390" y="944"/>
                  </a:cubicBezTo>
                  <a:cubicBezTo>
                    <a:pt x="1388" y="942"/>
                    <a:pt x="1388" y="942"/>
                    <a:pt x="1388" y="942"/>
                  </a:cubicBezTo>
                  <a:cubicBezTo>
                    <a:pt x="1387" y="942"/>
                    <a:pt x="1387" y="942"/>
                    <a:pt x="1387" y="942"/>
                  </a:cubicBezTo>
                  <a:cubicBezTo>
                    <a:pt x="1386" y="942"/>
                    <a:pt x="1386" y="942"/>
                    <a:pt x="1386" y="942"/>
                  </a:cubicBezTo>
                  <a:cubicBezTo>
                    <a:pt x="1386" y="941"/>
                    <a:pt x="1386" y="941"/>
                    <a:pt x="1386" y="941"/>
                  </a:cubicBezTo>
                  <a:cubicBezTo>
                    <a:pt x="1387" y="939"/>
                    <a:pt x="1389" y="941"/>
                    <a:pt x="1390" y="936"/>
                  </a:cubicBezTo>
                  <a:cubicBezTo>
                    <a:pt x="1390" y="936"/>
                    <a:pt x="1390" y="936"/>
                    <a:pt x="1390" y="936"/>
                  </a:cubicBezTo>
                  <a:cubicBezTo>
                    <a:pt x="1390" y="936"/>
                    <a:pt x="1390" y="936"/>
                    <a:pt x="1390" y="936"/>
                  </a:cubicBezTo>
                  <a:cubicBezTo>
                    <a:pt x="1389" y="936"/>
                    <a:pt x="1389" y="936"/>
                    <a:pt x="1389" y="936"/>
                  </a:cubicBezTo>
                  <a:cubicBezTo>
                    <a:pt x="1387" y="937"/>
                    <a:pt x="1387" y="937"/>
                    <a:pt x="1387" y="937"/>
                  </a:cubicBezTo>
                  <a:cubicBezTo>
                    <a:pt x="1386" y="937"/>
                    <a:pt x="1386" y="937"/>
                    <a:pt x="1386" y="937"/>
                  </a:cubicBezTo>
                  <a:cubicBezTo>
                    <a:pt x="1386" y="937"/>
                    <a:pt x="1386" y="937"/>
                    <a:pt x="1386" y="937"/>
                  </a:cubicBezTo>
                  <a:cubicBezTo>
                    <a:pt x="1386" y="937"/>
                    <a:pt x="1386" y="937"/>
                    <a:pt x="1386" y="937"/>
                  </a:cubicBezTo>
                  <a:cubicBezTo>
                    <a:pt x="1386" y="937"/>
                    <a:pt x="1386" y="937"/>
                    <a:pt x="1386" y="937"/>
                  </a:cubicBezTo>
                  <a:cubicBezTo>
                    <a:pt x="1386" y="936"/>
                    <a:pt x="1386" y="936"/>
                    <a:pt x="1386" y="936"/>
                  </a:cubicBezTo>
                  <a:cubicBezTo>
                    <a:pt x="1385" y="936"/>
                    <a:pt x="1385" y="936"/>
                    <a:pt x="1385" y="936"/>
                  </a:cubicBezTo>
                  <a:cubicBezTo>
                    <a:pt x="1384" y="935"/>
                    <a:pt x="1384" y="935"/>
                    <a:pt x="1384" y="935"/>
                  </a:cubicBezTo>
                  <a:cubicBezTo>
                    <a:pt x="1384" y="935"/>
                    <a:pt x="1384" y="935"/>
                    <a:pt x="1384" y="935"/>
                  </a:cubicBezTo>
                  <a:cubicBezTo>
                    <a:pt x="1383" y="935"/>
                    <a:pt x="1383" y="935"/>
                    <a:pt x="1383" y="935"/>
                  </a:cubicBezTo>
                  <a:cubicBezTo>
                    <a:pt x="1383" y="935"/>
                    <a:pt x="1383" y="935"/>
                    <a:pt x="1383" y="935"/>
                  </a:cubicBezTo>
                  <a:cubicBezTo>
                    <a:pt x="1383" y="935"/>
                    <a:pt x="1383" y="935"/>
                    <a:pt x="1383" y="935"/>
                  </a:cubicBezTo>
                  <a:cubicBezTo>
                    <a:pt x="1383" y="935"/>
                    <a:pt x="1383" y="935"/>
                    <a:pt x="1383" y="935"/>
                  </a:cubicBezTo>
                  <a:cubicBezTo>
                    <a:pt x="1383" y="935"/>
                    <a:pt x="1383" y="935"/>
                    <a:pt x="1383" y="935"/>
                  </a:cubicBezTo>
                  <a:cubicBezTo>
                    <a:pt x="1383" y="935"/>
                    <a:pt x="1383" y="935"/>
                    <a:pt x="1383" y="935"/>
                  </a:cubicBezTo>
                  <a:cubicBezTo>
                    <a:pt x="1383" y="934"/>
                    <a:pt x="1383" y="934"/>
                    <a:pt x="1383" y="934"/>
                  </a:cubicBezTo>
                  <a:cubicBezTo>
                    <a:pt x="1383" y="934"/>
                    <a:pt x="1383" y="934"/>
                    <a:pt x="1383" y="933"/>
                  </a:cubicBezTo>
                  <a:cubicBezTo>
                    <a:pt x="1383" y="933"/>
                    <a:pt x="1383" y="933"/>
                    <a:pt x="1383" y="933"/>
                  </a:cubicBezTo>
                  <a:cubicBezTo>
                    <a:pt x="1383" y="933"/>
                    <a:pt x="1383" y="933"/>
                    <a:pt x="1383" y="933"/>
                  </a:cubicBezTo>
                  <a:cubicBezTo>
                    <a:pt x="1383" y="933"/>
                    <a:pt x="1383" y="933"/>
                    <a:pt x="1383" y="933"/>
                  </a:cubicBezTo>
                  <a:cubicBezTo>
                    <a:pt x="1383" y="933"/>
                    <a:pt x="1383" y="933"/>
                    <a:pt x="1383" y="933"/>
                  </a:cubicBezTo>
                  <a:cubicBezTo>
                    <a:pt x="1383" y="932"/>
                    <a:pt x="1383" y="932"/>
                    <a:pt x="1383" y="932"/>
                  </a:cubicBezTo>
                  <a:cubicBezTo>
                    <a:pt x="1383" y="931"/>
                    <a:pt x="1383" y="931"/>
                    <a:pt x="1383" y="931"/>
                  </a:cubicBezTo>
                  <a:cubicBezTo>
                    <a:pt x="1382" y="931"/>
                    <a:pt x="1382" y="931"/>
                    <a:pt x="1382" y="931"/>
                  </a:cubicBezTo>
                  <a:cubicBezTo>
                    <a:pt x="1382" y="931"/>
                    <a:pt x="1382" y="931"/>
                    <a:pt x="1382" y="930"/>
                  </a:cubicBezTo>
                  <a:cubicBezTo>
                    <a:pt x="1382" y="928"/>
                    <a:pt x="1382" y="928"/>
                    <a:pt x="1382" y="928"/>
                  </a:cubicBezTo>
                  <a:cubicBezTo>
                    <a:pt x="1382" y="928"/>
                    <a:pt x="1382" y="928"/>
                    <a:pt x="1382" y="928"/>
                  </a:cubicBezTo>
                  <a:cubicBezTo>
                    <a:pt x="1382" y="928"/>
                    <a:pt x="1382" y="928"/>
                    <a:pt x="1382" y="928"/>
                  </a:cubicBezTo>
                  <a:cubicBezTo>
                    <a:pt x="1382" y="928"/>
                    <a:pt x="1382" y="928"/>
                    <a:pt x="1382" y="928"/>
                  </a:cubicBezTo>
                  <a:cubicBezTo>
                    <a:pt x="1380" y="928"/>
                    <a:pt x="1377" y="927"/>
                    <a:pt x="1374" y="927"/>
                  </a:cubicBezTo>
                  <a:cubicBezTo>
                    <a:pt x="1373" y="928"/>
                    <a:pt x="1373" y="928"/>
                    <a:pt x="1373" y="928"/>
                  </a:cubicBezTo>
                  <a:cubicBezTo>
                    <a:pt x="1373" y="928"/>
                    <a:pt x="1373" y="928"/>
                    <a:pt x="1373" y="928"/>
                  </a:cubicBezTo>
                  <a:cubicBezTo>
                    <a:pt x="1373" y="928"/>
                    <a:pt x="1373" y="928"/>
                    <a:pt x="1373" y="928"/>
                  </a:cubicBezTo>
                  <a:cubicBezTo>
                    <a:pt x="1373" y="928"/>
                    <a:pt x="1373" y="928"/>
                    <a:pt x="1373" y="928"/>
                  </a:cubicBezTo>
                  <a:cubicBezTo>
                    <a:pt x="1373" y="928"/>
                    <a:pt x="1373" y="928"/>
                    <a:pt x="1373" y="928"/>
                  </a:cubicBezTo>
                  <a:cubicBezTo>
                    <a:pt x="1373" y="928"/>
                    <a:pt x="1373" y="928"/>
                    <a:pt x="1373" y="928"/>
                  </a:cubicBezTo>
                  <a:cubicBezTo>
                    <a:pt x="1373" y="929"/>
                    <a:pt x="1373" y="929"/>
                    <a:pt x="1373" y="929"/>
                  </a:cubicBezTo>
                  <a:cubicBezTo>
                    <a:pt x="1373" y="929"/>
                    <a:pt x="1373" y="929"/>
                    <a:pt x="1373" y="929"/>
                  </a:cubicBezTo>
                  <a:cubicBezTo>
                    <a:pt x="1373" y="929"/>
                    <a:pt x="1373" y="929"/>
                    <a:pt x="1373" y="929"/>
                  </a:cubicBezTo>
                  <a:cubicBezTo>
                    <a:pt x="1373" y="929"/>
                    <a:pt x="1373" y="929"/>
                    <a:pt x="1373" y="929"/>
                  </a:cubicBezTo>
                  <a:cubicBezTo>
                    <a:pt x="1373" y="929"/>
                    <a:pt x="1373" y="929"/>
                    <a:pt x="1373" y="929"/>
                  </a:cubicBezTo>
                  <a:cubicBezTo>
                    <a:pt x="1373" y="929"/>
                    <a:pt x="1373" y="929"/>
                    <a:pt x="1373" y="929"/>
                  </a:cubicBezTo>
                  <a:cubicBezTo>
                    <a:pt x="1373" y="929"/>
                    <a:pt x="1373" y="929"/>
                    <a:pt x="1373" y="929"/>
                  </a:cubicBezTo>
                  <a:cubicBezTo>
                    <a:pt x="1373" y="929"/>
                    <a:pt x="1373" y="929"/>
                    <a:pt x="1373" y="929"/>
                  </a:cubicBezTo>
                  <a:cubicBezTo>
                    <a:pt x="1374" y="929"/>
                    <a:pt x="1374" y="929"/>
                    <a:pt x="1374" y="929"/>
                  </a:cubicBezTo>
                  <a:cubicBezTo>
                    <a:pt x="1374" y="929"/>
                    <a:pt x="1374" y="929"/>
                    <a:pt x="1374" y="929"/>
                  </a:cubicBezTo>
                  <a:cubicBezTo>
                    <a:pt x="1374" y="929"/>
                    <a:pt x="1374" y="929"/>
                    <a:pt x="1374" y="929"/>
                  </a:cubicBezTo>
                  <a:cubicBezTo>
                    <a:pt x="1374" y="929"/>
                    <a:pt x="1374" y="929"/>
                    <a:pt x="1374" y="929"/>
                  </a:cubicBezTo>
                  <a:cubicBezTo>
                    <a:pt x="1374" y="929"/>
                    <a:pt x="1374" y="929"/>
                    <a:pt x="1374" y="929"/>
                  </a:cubicBezTo>
                  <a:cubicBezTo>
                    <a:pt x="1374" y="929"/>
                    <a:pt x="1374" y="929"/>
                    <a:pt x="1374" y="929"/>
                  </a:cubicBezTo>
                  <a:cubicBezTo>
                    <a:pt x="1374" y="929"/>
                    <a:pt x="1374" y="929"/>
                    <a:pt x="1374" y="929"/>
                  </a:cubicBezTo>
                  <a:cubicBezTo>
                    <a:pt x="1375" y="929"/>
                    <a:pt x="1375" y="929"/>
                    <a:pt x="1375" y="929"/>
                  </a:cubicBezTo>
                  <a:cubicBezTo>
                    <a:pt x="1375" y="929"/>
                    <a:pt x="1375" y="929"/>
                    <a:pt x="1375" y="929"/>
                  </a:cubicBezTo>
                  <a:cubicBezTo>
                    <a:pt x="1375" y="929"/>
                    <a:pt x="1375" y="929"/>
                    <a:pt x="1375" y="929"/>
                  </a:cubicBezTo>
                  <a:cubicBezTo>
                    <a:pt x="1375" y="929"/>
                    <a:pt x="1375" y="929"/>
                    <a:pt x="1375" y="929"/>
                  </a:cubicBezTo>
                  <a:cubicBezTo>
                    <a:pt x="1375" y="929"/>
                    <a:pt x="1375" y="929"/>
                    <a:pt x="1375" y="929"/>
                  </a:cubicBezTo>
                  <a:cubicBezTo>
                    <a:pt x="1375" y="929"/>
                    <a:pt x="1375" y="929"/>
                    <a:pt x="1375" y="929"/>
                  </a:cubicBezTo>
                  <a:cubicBezTo>
                    <a:pt x="1376" y="929"/>
                    <a:pt x="1376" y="929"/>
                    <a:pt x="1376" y="929"/>
                  </a:cubicBezTo>
                  <a:cubicBezTo>
                    <a:pt x="1376" y="929"/>
                    <a:pt x="1376" y="929"/>
                    <a:pt x="1376" y="929"/>
                  </a:cubicBezTo>
                  <a:cubicBezTo>
                    <a:pt x="1376" y="929"/>
                    <a:pt x="1376" y="929"/>
                    <a:pt x="1376" y="929"/>
                  </a:cubicBezTo>
                  <a:cubicBezTo>
                    <a:pt x="1376" y="930"/>
                    <a:pt x="1376" y="930"/>
                    <a:pt x="1376" y="930"/>
                  </a:cubicBezTo>
                  <a:cubicBezTo>
                    <a:pt x="1376" y="930"/>
                    <a:pt x="1376" y="930"/>
                    <a:pt x="1376" y="930"/>
                  </a:cubicBezTo>
                  <a:cubicBezTo>
                    <a:pt x="1376" y="930"/>
                    <a:pt x="1376" y="930"/>
                    <a:pt x="1376" y="930"/>
                  </a:cubicBezTo>
                  <a:cubicBezTo>
                    <a:pt x="1376" y="930"/>
                    <a:pt x="1376" y="930"/>
                    <a:pt x="1376" y="930"/>
                  </a:cubicBezTo>
                  <a:cubicBezTo>
                    <a:pt x="1376" y="930"/>
                    <a:pt x="1376" y="930"/>
                    <a:pt x="1376" y="930"/>
                  </a:cubicBezTo>
                  <a:cubicBezTo>
                    <a:pt x="1376" y="930"/>
                    <a:pt x="1376" y="930"/>
                    <a:pt x="1376" y="930"/>
                  </a:cubicBezTo>
                  <a:cubicBezTo>
                    <a:pt x="1376" y="930"/>
                    <a:pt x="1376" y="930"/>
                    <a:pt x="1376" y="930"/>
                  </a:cubicBezTo>
                  <a:cubicBezTo>
                    <a:pt x="1376" y="930"/>
                    <a:pt x="1376" y="930"/>
                    <a:pt x="1376" y="930"/>
                  </a:cubicBezTo>
                  <a:cubicBezTo>
                    <a:pt x="1376" y="931"/>
                    <a:pt x="1376" y="931"/>
                    <a:pt x="1376" y="931"/>
                  </a:cubicBezTo>
                  <a:cubicBezTo>
                    <a:pt x="1376" y="931"/>
                    <a:pt x="1376" y="931"/>
                    <a:pt x="1376" y="931"/>
                  </a:cubicBezTo>
                  <a:cubicBezTo>
                    <a:pt x="1376" y="931"/>
                    <a:pt x="1376" y="931"/>
                    <a:pt x="1376" y="931"/>
                  </a:cubicBezTo>
                  <a:cubicBezTo>
                    <a:pt x="1376" y="931"/>
                    <a:pt x="1376" y="931"/>
                    <a:pt x="1376" y="931"/>
                  </a:cubicBezTo>
                  <a:cubicBezTo>
                    <a:pt x="1376" y="931"/>
                    <a:pt x="1376" y="931"/>
                    <a:pt x="1376" y="931"/>
                  </a:cubicBezTo>
                  <a:cubicBezTo>
                    <a:pt x="1376" y="931"/>
                    <a:pt x="1376" y="931"/>
                    <a:pt x="1376" y="931"/>
                  </a:cubicBezTo>
                  <a:cubicBezTo>
                    <a:pt x="1376" y="931"/>
                    <a:pt x="1376" y="931"/>
                    <a:pt x="1376" y="931"/>
                  </a:cubicBezTo>
                  <a:cubicBezTo>
                    <a:pt x="1377" y="931"/>
                    <a:pt x="1377" y="931"/>
                    <a:pt x="1377" y="931"/>
                  </a:cubicBezTo>
                  <a:cubicBezTo>
                    <a:pt x="1377" y="931"/>
                    <a:pt x="1377" y="931"/>
                    <a:pt x="1377" y="931"/>
                  </a:cubicBezTo>
                  <a:cubicBezTo>
                    <a:pt x="1378" y="932"/>
                    <a:pt x="1377" y="932"/>
                    <a:pt x="1378" y="933"/>
                  </a:cubicBezTo>
                  <a:cubicBezTo>
                    <a:pt x="1378" y="933"/>
                    <a:pt x="1378" y="933"/>
                    <a:pt x="1378" y="933"/>
                  </a:cubicBezTo>
                  <a:cubicBezTo>
                    <a:pt x="1378" y="933"/>
                    <a:pt x="1378" y="933"/>
                    <a:pt x="1378" y="933"/>
                  </a:cubicBezTo>
                  <a:cubicBezTo>
                    <a:pt x="1378" y="933"/>
                    <a:pt x="1378" y="933"/>
                    <a:pt x="1378" y="933"/>
                  </a:cubicBezTo>
                  <a:cubicBezTo>
                    <a:pt x="1378" y="933"/>
                    <a:pt x="1378" y="933"/>
                    <a:pt x="1378" y="933"/>
                  </a:cubicBezTo>
                  <a:cubicBezTo>
                    <a:pt x="1378" y="933"/>
                    <a:pt x="1378" y="933"/>
                    <a:pt x="1378" y="933"/>
                  </a:cubicBezTo>
                  <a:cubicBezTo>
                    <a:pt x="1379" y="933"/>
                    <a:pt x="1379" y="933"/>
                    <a:pt x="1379" y="933"/>
                  </a:cubicBezTo>
                  <a:cubicBezTo>
                    <a:pt x="1379" y="934"/>
                    <a:pt x="1379" y="934"/>
                    <a:pt x="1379" y="934"/>
                  </a:cubicBezTo>
                  <a:cubicBezTo>
                    <a:pt x="1379" y="934"/>
                    <a:pt x="1379" y="934"/>
                    <a:pt x="1379" y="934"/>
                  </a:cubicBezTo>
                  <a:cubicBezTo>
                    <a:pt x="1379" y="934"/>
                    <a:pt x="1379" y="934"/>
                    <a:pt x="1379" y="934"/>
                  </a:cubicBezTo>
                  <a:cubicBezTo>
                    <a:pt x="1379" y="934"/>
                    <a:pt x="1379" y="934"/>
                    <a:pt x="1379" y="934"/>
                  </a:cubicBezTo>
                  <a:cubicBezTo>
                    <a:pt x="1379" y="934"/>
                    <a:pt x="1379" y="934"/>
                    <a:pt x="1379" y="934"/>
                  </a:cubicBezTo>
                  <a:cubicBezTo>
                    <a:pt x="1379" y="934"/>
                    <a:pt x="1379" y="934"/>
                    <a:pt x="1379" y="934"/>
                  </a:cubicBezTo>
                  <a:cubicBezTo>
                    <a:pt x="1379" y="934"/>
                    <a:pt x="1379" y="934"/>
                    <a:pt x="1379" y="934"/>
                  </a:cubicBezTo>
                  <a:cubicBezTo>
                    <a:pt x="1379" y="934"/>
                    <a:pt x="1379" y="934"/>
                    <a:pt x="1379" y="934"/>
                  </a:cubicBezTo>
                  <a:cubicBezTo>
                    <a:pt x="1379" y="935"/>
                    <a:pt x="1379" y="935"/>
                    <a:pt x="1379" y="935"/>
                  </a:cubicBezTo>
                  <a:cubicBezTo>
                    <a:pt x="1379" y="935"/>
                    <a:pt x="1379" y="935"/>
                    <a:pt x="1379" y="935"/>
                  </a:cubicBezTo>
                  <a:cubicBezTo>
                    <a:pt x="1379" y="935"/>
                    <a:pt x="1379" y="935"/>
                    <a:pt x="1379" y="935"/>
                  </a:cubicBezTo>
                  <a:cubicBezTo>
                    <a:pt x="1379" y="935"/>
                    <a:pt x="1379" y="935"/>
                    <a:pt x="1379" y="935"/>
                  </a:cubicBezTo>
                  <a:cubicBezTo>
                    <a:pt x="1379" y="935"/>
                    <a:pt x="1379" y="935"/>
                    <a:pt x="1379" y="935"/>
                  </a:cubicBezTo>
                  <a:cubicBezTo>
                    <a:pt x="1379" y="935"/>
                    <a:pt x="1379" y="935"/>
                    <a:pt x="1379" y="935"/>
                  </a:cubicBezTo>
                  <a:cubicBezTo>
                    <a:pt x="1379" y="935"/>
                    <a:pt x="1379" y="935"/>
                    <a:pt x="1379" y="935"/>
                  </a:cubicBezTo>
                  <a:cubicBezTo>
                    <a:pt x="1379" y="935"/>
                    <a:pt x="1379" y="935"/>
                    <a:pt x="1379" y="935"/>
                  </a:cubicBezTo>
                  <a:cubicBezTo>
                    <a:pt x="1380" y="935"/>
                    <a:pt x="1380" y="935"/>
                    <a:pt x="1380" y="935"/>
                  </a:cubicBezTo>
                  <a:cubicBezTo>
                    <a:pt x="1380" y="935"/>
                    <a:pt x="1380" y="935"/>
                    <a:pt x="1380" y="935"/>
                  </a:cubicBezTo>
                  <a:cubicBezTo>
                    <a:pt x="1380" y="935"/>
                    <a:pt x="1380" y="935"/>
                    <a:pt x="1380" y="935"/>
                  </a:cubicBezTo>
                  <a:cubicBezTo>
                    <a:pt x="1380" y="935"/>
                    <a:pt x="1380" y="935"/>
                    <a:pt x="1380" y="935"/>
                  </a:cubicBezTo>
                  <a:cubicBezTo>
                    <a:pt x="1380" y="935"/>
                    <a:pt x="1380" y="935"/>
                    <a:pt x="1380" y="935"/>
                  </a:cubicBezTo>
                  <a:cubicBezTo>
                    <a:pt x="1381" y="935"/>
                    <a:pt x="1381" y="935"/>
                    <a:pt x="1381" y="935"/>
                  </a:cubicBezTo>
                  <a:cubicBezTo>
                    <a:pt x="1381" y="935"/>
                    <a:pt x="1381" y="935"/>
                    <a:pt x="1381" y="935"/>
                  </a:cubicBezTo>
                  <a:cubicBezTo>
                    <a:pt x="1381" y="935"/>
                    <a:pt x="1381" y="935"/>
                    <a:pt x="1381" y="935"/>
                  </a:cubicBezTo>
                  <a:cubicBezTo>
                    <a:pt x="1381" y="935"/>
                    <a:pt x="1381" y="935"/>
                    <a:pt x="1381" y="935"/>
                  </a:cubicBezTo>
                  <a:cubicBezTo>
                    <a:pt x="1381" y="935"/>
                    <a:pt x="1381" y="935"/>
                    <a:pt x="1381" y="935"/>
                  </a:cubicBezTo>
                  <a:cubicBezTo>
                    <a:pt x="1381" y="935"/>
                    <a:pt x="1381" y="935"/>
                    <a:pt x="1381" y="935"/>
                  </a:cubicBezTo>
                  <a:cubicBezTo>
                    <a:pt x="1381" y="935"/>
                    <a:pt x="1381" y="935"/>
                    <a:pt x="1381" y="935"/>
                  </a:cubicBezTo>
                  <a:cubicBezTo>
                    <a:pt x="1381" y="936"/>
                    <a:pt x="1381" y="936"/>
                    <a:pt x="1381" y="936"/>
                  </a:cubicBezTo>
                  <a:cubicBezTo>
                    <a:pt x="1381" y="936"/>
                    <a:pt x="1381" y="936"/>
                    <a:pt x="1381" y="936"/>
                  </a:cubicBezTo>
                  <a:cubicBezTo>
                    <a:pt x="1381" y="936"/>
                    <a:pt x="1381" y="936"/>
                    <a:pt x="1381" y="936"/>
                  </a:cubicBezTo>
                  <a:cubicBezTo>
                    <a:pt x="1381" y="936"/>
                    <a:pt x="1381" y="936"/>
                    <a:pt x="1381" y="936"/>
                  </a:cubicBezTo>
                  <a:cubicBezTo>
                    <a:pt x="1381" y="936"/>
                    <a:pt x="1381" y="936"/>
                    <a:pt x="1381" y="936"/>
                  </a:cubicBezTo>
                  <a:cubicBezTo>
                    <a:pt x="1381" y="937"/>
                    <a:pt x="1381" y="937"/>
                    <a:pt x="1381" y="938"/>
                  </a:cubicBezTo>
                  <a:cubicBezTo>
                    <a:pt x="1381" y="938"/>
                    <a:pt x="1381" y="938"/>
                    <a:pt x="1381" y="938"/>
                  </a:cubicBezTo>
                  <a:cubicBezTo>
                    <a:pt x="1381" y="938"/>
                    <a:pt x="1381" y="938"/>
                    <a:pt x="1381" y="938"/>
                  </a:cubicBezTo>
                  <a:cubicBezTo>
                    <a:pt x="1381" y="939"/>
                    <a:pt x="1382" y="938"/>
                    <a:pt x="1382" y="939"/>
                  </a:cubicBezTo>
                  <a:cubicBezTo>
                    <a:pt x="1382" y="939"/>
                    <a:pt x="1382" y="939"/>
                    <a:pt x="1382" y="939"/>
                  </a:cubicBezTo>
                  <a:cubicBezTo>
                    <a:pt x="1382" y="940"/>
                    <a:pt x="1382" y="940"/>
                    <a:pt x="1382" y="940"/>
                  </a:cubicBezTo>
                  <a:cubicBezTo>
                    <a:pt x="1382" y="940"/>
                    <a:pt x="1382" y="940"/>
                    <a:pt x="1382" y="940"/>
                  </a:cubicBezTo>
                  <a:cubicBezTo>
                    <a:pt x="1382" y="940"/>
                    <a:pt x="1382" y="940"/>
                    <a:pt x="1382" y="940"/>
                  </a:cubicBezTo>
                  <a:cubicBezTo>
                    <a:pt x="1383" y="940"/>
                    <a:pt x="1382" y="941"/>
                    <a:pt x="1383" y="941"/>
                  </a:cubicBezTo>
                  <a:cubicBezTo>
                    <a:pt x="1383" y="941"/>
                    <a:pt x="1383" y="941"/>
                    <a:pt x="1383" y="941"/>
                  </a:cubicBezTo>
                  <a:cubicBezTo>
                    <a:pt x="1383" y="941"/>
                    <a:pt x="1383" y="941"/>
                    <a:pt x="1383" y="941"/>
                  </a:cubicBezTo>
                  <a:cubicBezTo>
                    <a:pt x="1383" y="941"/>
                    <a:pt x="1383" y="941"/>
                    <a:pt x="1383" y="941"/>
                  </a:cubicBezTo>
                  <a:cubicBezTo>
                    <a:pt x="1383" y="941"/>
                    <a:pt x="1383" y="941"/>
                    <a:pt x="1383" y="941"/>
                  </a:cubicBezTo>
                  <a:cubicBezTo>
                    <a:pt x="1383" y="942"/>
                    <a:pt x="1383" y="942"/>
                    <a:pt x="1383" y="942"/>
                  </a:cubicBezTo>
                  <a:cubicBezTo>
                    <a:pt x="1383" y="942"/>
                    <a:pt x="1383" y="942"/>
                    <a:pt x="1383" y="942"/>
                  </a:cubicBezTo>
                  <a:cubicBezTo>
                    <a:pt x="1383" y="942"/>
                    <a:pt x="1383" y="942"/>
                    <a:pt x="1383" y="942"/>
                  </a:cubicBezTo>
                  <a:cubicBezTo>
                    <a:pt x="1383" y="942"/>
                    <a:pt x="1383" y="942"/>
                    <a:pt x="1383" y="942"/>
                  </a:cubicBezTo>
                  <a:cubicBezTo>
                    <a:pt x="1383" y="942"/>
                    <a:pt x="1383" y="942"/>
                    <a:pt x="1383" y="942"/>
                  </a:cubicBezTo>
                  <a:cubicBezTo>
                    <a:pt x="1383" y="942"/>
                    <a:pt x="1383" y="942"/>
                    <a:pt x="1383" y="942"/>
                  </a:cubicBezTo>
                  <a:cubicBezTo>
                    <a:pt x="1383" y="943"/>
                    <a:pt x="1383" y="943"/>
                    <a:pt x="1383" y="943"/>
                  </a:cubicBezTo>
                  <a:cubicBezTo>
                    <a:pt x="1383" y="943"/>
                    <a:pt x="1383" y="943"/>
                    <a:pt x="1383" y="943"/>
                  </a:cubicBezTo>
                  <a:cubicBezTo>
                    <a:pt x="1383" y="943"/>
                    <a:pt x="1383" y="943"/>
                    <a:pt x="1383" y="943"/>
                  </a:cubicBezTo>
                  <a:cubicBezTo>
                    <a:pt x="1383" y="943"/>
                    <a:pt x="1383" y="943"/>
                    <a:pt x="1383" y="943"/>
                  </a:cubicBezTo>
                  <a:cubicBezTo>
                    <a:pt x="1382" y="943"/>
                    <a:pt x="1382" y="943"/>
                    <a:pt x="1382" y="943"/>
                  </a:cubicBezTo>
                  <a:cubicBezTo>
                    <a:pt x="1382" y="944"/>
                    <a:pt x="1382" y="944"/>
                    <a:pt x="1382" y="944"/>
                  </a:cubicBezTo>
                  <a:cubicBezTo>
                    <a:pt x="1383" y="944"/>
                    <a:pt x="1383" y="944"/>
                    <a:pt x="1383" y="944"/>
                  </a:cubicBezTo>
                  <a:cubicBezTo>
                    <a:pt x="1383" y="944"/>
                    <a:pt x="1383" y="944"/>
                    <a:pt x="1383" y="944"/>
                  </a:cubicBezTo>
                  <a:cubicBezTo>
                    <a:pt x="1383" y="944"/>
                    <a:pt x="1383" y="944"/>
                    <a:pt x="1383" y="944"/>
                  </a:cubicBezTo>
                  <a:cubicBezTo>
                    <a:pt x="1384" y="946"/>
                    <a:pt x="1382" y="946"/>
                    <a:pt x="1381" y="948"/>
                  </a:cubicBezTo>
                  <a:cubicBezTo>
                    <a:pt x="1381" y="948"/>
                    <a:pt x="1381" y="948"/>
                    <a:pt x="1381" y="948"/>
                  </a:cubicBezTo>
                  <a:cubicBezTo>
                    <a:pt x="1381" y="948"/>
                    <a:pt x="1381" y="948"/>
                    <a:pt x="1381" y="948"/>
                  </a:cubicBezTo>
                  <a:cubicBezTo>
                    <a:pt x="1381" y="948"/>
                    <a:pt x="1381" y="948"/>
                    <a:pt x="1381" y="948"/>
                  </a:cubicBezTo>
                  <a:cubicBezTo>
                    <a:pt x="1381" y="948"/>
                    <a:pt x="1380" y="949"/>
                    <a:pt x="1380" y="949"/>
                  </a:cubicBezTo>
                  <a:cubicBezTo>
                    <a:pt x="1380" y="949"/>
                    <a:pt x="1380" y="949"/>
                    <a:pt x="1380" y="949"/>
                  </a:cubicBezTo>
                  <a:cubicBezTo>
                    <a:pt x="1380" y="950"/>
                    <a:pt x="1380" y="950"/>
                    <a:pt x="1380" y="950"/>
                  </a:cubicBezTo>
                  <a:cubicBezTo>
                    <a:pt x="1378" y="951"/>
                    <a:pt x="1378" y="951"/>
                    <a:pt x="1378" y="951"/>
                  </a:cubicBezTo>
                  <a:cubicBezTo>
                    <a:pt x="1378" y="951"/>
                    <a:pt x="1378" y="951"/>
                    <a:pt x="1378" y="951"/>
                  </a:cubicBezTo>
                  <a:cubicBezTo>
                    <a:pt x="1378" y="952"/>
                    <a:pt x="1378" y="952"/>
                    <a:pt x="1378" y="952"/>
                  </a:cubicBezTo>
                  <a:cubicBezTo>
                    <a:pt x="1378" y="952"/>
                    <a:pt x="1378" y="952"/>
                    <a:pt x="1378" y="952"/>
                  </a:cubicBezTo>
                  <a:cubicBezTo>
                    <a:pt x="1378" y="952"/>
                    <a:pt x="1378" y="952"/>
                    <a:pt x="1378" y="952"/>
                  </a:cubicBezTo>
                  <a:cubicBezTo>
                    <a:pt x="1377" y="952"/>
                    <a:pt x="1377" y="952"/>
                    <a:pt x="1377" y="952"/>
                  </a:cubicBezTo>
                  <a:cubicBezTo>
                    <a:pt x="1377" y="952"/>
                    <a:pt x="1377" y="952"/>
                    <a:pt x="1377" y="952"/>
                  </a:cubicBezTo>
                  <a:cubicBezTo>
                    <a:pt x="1376" y="953"/>
                    <a:pt x="1376" y="953"/>
                    <a:pt x="1376" y="953"/>
                  </a:cubicBezTo>
                  <a:cubicBezTo>
                    <a:pt x="1376" y="954"/>
                    <a:pt x="1376" y="954"/>
                    <a:pt x="1376" y="954"/>
                  </a:cubicBezTo>
                  <a:cubicBezTo>
                    <a:pt x="1376" y="954"/>
                    <a:pt x="1376" y="954"/>
                    <a:pt x="1376" y="954"/>
                  </a:cubicBezTo>
                  <a:cubicBezTo>
                    <a:pt x="1376" y="954"/>
                    <a:pt x="1376" y="954"/>
                    <a:pt x="1376" y="954"/>
                  </a:cubicBezTo>
                  <a:cubicBezTo>
                    <a:pt x="1376" y="954"/>
                    <a:pt x="1376" y="954"/>
                    <a:pt x="1376" y="954"/>
                  </a:cubicBezTo>
                  <a:cubicBezTo>
                    <a:pt x="1376" y="954"/>
                    <a:pt x="1376" y="954"/>
                    <a:pt x="1376" y="954"/>
                  </a:cubicBezTo>
                  <a:cubicBezTo>
                    <a:pt x="1376" y="954"/>
                    <a:pt x="1376" y="954"/>
                    <a:pt x="1376" y="954"/>
                  </a:cubicBezTo>
                  <a:cubicBezTo>
                    <a:pt x="1376" y="955"/>
                    <a:pt x="1376" y="955"/>
                    <a:pt x="1376" y="955"/>
                  </a:cubicBezTo>
                  <a:cubicBezTo>
                    <a:pt x="1376" y="955"/>
                    <a:pt x="1376" y="955"/>
                    <a:pt x="1376" y="955"/>
                  </a:cubicBezTo>
                  <a:cubicBezTo>
                    <a:pt x="1376" y="955"/>
                    <a:pt x="1376" y="955"/>
                    <a:pt x="1376" y="955"/>
                  </a:cubicBezTo>
                  <a:cubicBezTo>
                    <a:pt x="1376" y="955"/>
                    <a:pt x="1376" y="955"/>
                    <a:pt x="1376" y="955"/>
                  </a:cubicBezTo>
                  <a:cubicBezTo>
                    <a:pt x="1376" y="955"/>
                    <a:pt x="1376" y="955"/>
                    <a:pt x="1376" y="955"/>
                  </a:cubicBezTo>
                  <a:cubicBezTo>
                    <a:pt x="1376" y="955"/>
                    <a:pt x="1376" y="955"/>
                    <a:pt x="1376" y="955"/>
                  </a:cubicBezTo>
                  <a:cubicBezTo>
                    <a:pt x="1375" y="956"/>
                    <a:pt x="1375" y="957"/>
                    <a:pt x="1375" y="957"/>
                  </a:cubicBezTo>
                  <a:cubicBezTo>
                    <a:pt x="1375" y="957"/>
                    <a:pt x="1375" y="957"/>
                    <a:pt x="1375" y="957"/>
                  </a:cubicBezTo>
                  <a:cubicBezTo>
                    <a:pt x="1375" y="958"/>
                    <a:pt x="1375" y="958"/>
                    <a:pt x="1375" y="958"/>
                  </a:cubicBezTo>
                  <a:cubicBezTo>
                    <a:pt x="1374" y="959"/>
                    <a:pt x="1374" y="959"/>
                    <a:pt x="1372" y="960"/>
                  </a:cubicBezTo>
                  <a:cubicBezTo>
                    <a:pt x="1372" y="960"/>
                    <a:pt x="1372" y="960"/>
                    <a:pt x="1372" y="960"/>
                  </a:cubicBezTo>
                  <a:cubicBezTo>
                    <a:pt x="1372" y="961"/>
                    <a:pt x="1372" y="961"/>
                    <a:pt x="1372" y="961"/>
                  </a:cubicBezTo>
                  <a:cubicBezTo>
                    <a:pt x="1372" y="961"/>
                    <a:pt x="1372" y="961"/>
                    <a:pt x="1372" y="961"/>
                  </a:cubicBezTo>
                  <a:cubicBezTo>
                    <a:pt x="1372" y="961"/>
                    <a:pt x="1372" y="961"/>
                    <a:pt x="1372" y="961"/>
                  </a:cubicBezTo>
                  <a:cubicBezTo>
                    <a:pt x="1372" y="962"/>
                    <a:pt x="1372" y="962"/>
                    <a:pt x="1372" y="963"/>
                  </a:cubicBezTo>
                  <a:cubicBezTo>
                    <a:pt x="1372" y="963"/>
                    <a:pt x="1372" y="963"/>
                    <a:pt x="1372" y="963"/>
                  </a:cubicBezTo>
                  <a:cubicBezTo>
                    <a:pt x="1372" y="963"/>
                    <a:pt x="1372" y="963"/>
                    <a:pt x="1372" y="963"/>
                  </a:cubicBezTo>
                  <a:cubicBezTo>
                    <a:pt x="1372" y="963"/>
                    <a:pt x="1372" y="964"/>
                    <a:pt x="1373" y="964"/>
                  </a:cubicBezTo>
                  <a:cubicBezTo>
                    <a:pt x="1373" y="964"/>
                    <a:pt x="1373" y="964"/>
                    <a:pt x="1373" y="964"/>
                  </a:cubicBezTo>
                  <a:cubicBezTo>
                    <a:pt x="1373" y="965"/>
                    <a:pt x="1373" y="965"/>
                    <a:pt x="1373" y="965"/>
                  </a:cubicBezTo>
                  <a:cubicBezTo>
                    <a:pt x="1373" y="965"/>
                    <a:pt x="1373" y="965"/>
                    <a:pt x="1373" y="965"/>
                  </a:cubicBezTo>
                  <a:cubicBezTo>
                    <a:pt x="1373" y="965"/>
                    <a:pt x="1373" y="965"/>
                    <a:pt x="1373" y="965"/>
                  </a:cubicBezTo>
                  <a:cubicBezTo>
                    <a:pt x="1373" y="968"/>
                    <a:pt x="1372" y="972"/>
                    <a:pt x="1373" y="974"/>
                  </a:cubicBezTo>
                  <a:cubicBezTo>
                    <a:pt x="1371" y="976"/>
                    <a:pt x="1371" y="976"/>
                    <a:pt x="1371" y="976"/>
                  </a:cubicBezTo>
                  <a:cubicBezTo>
                    <a:pt x="1370" y="978"/>
                    <a:pt x="1370" y="978"/>
                    <a:pt x="1370" y="978"/>
                  </a:cubicBezTo>
                  <a:cubicBezTo>
                    <a:pt x="1356" y="991"/>
                    <a:pt x="1356" y="991"/>
                    <a:pt x="1356" y="991"/>
                  </a:cubicBezTo>
                  <a:cubicBezTo>
                    <a:pt x="1356" y="992"/>
                    <a:pt x="1356" y="992"/>
                    <a:pt x="1356" y="992"/>
                  </a:cubicBezTo>
                  <a:cubicBezTo>
                    <a:pt x="1356" y="994"/>
                    <a:pt x="1355" y="995"/>
                    <a:pt x="1354" y="997"/>
                  </a:cubicBezTo>
                  <a:cubicBezTo>
                    <a:pt x="1351" y="1004"/>
                    <a:pt x="1351" y="1004"/>
                    <a:pt x="1351" y="1004"/>
                  </a:cubicBezTo>
                  <a:cubicBezTo>
                    <a:pt x="1351" y="1004"/>
                    <a:pt x="1351" y="1004"/>
                    <a:pt x="1351" y="1004"/>
                  </a:cubicBezTo>
                  <a:cubicBezTo>
                    <a:pt x="1351" y="1004"/>
                    <a:pt x="1351" y="1004"/>
                    <a:pt x="1351" y="1004"/>
                  </a:cubicBezTo>
                  <a:cubicBezTo>
                    <a:pt x="1353" y="1005"/>
                    <a:pt x="1354" y="1005"/>
                    <a:pt x="1355" y="1006"/>
                  </a:cubicBezTo>
                  <a:cubicBezTo>
                    <a:pt x="1355" y="1006"/>
                    <a:pt x="1355" y="1006"/>
                    <a:pt x="1355" y="1006"/>
                  </a:cubicBezTo>
                  <a:cubicBezTo>
                    <a:pt x="1356" y="1006"/>
                    <a:pt x="1356" y="1006"/>
                    <a:pt x="1356" y="1006"/>
                  </a:cubicBezTo>
                  <a:cubicBezTo>
                    <a:pt x="1356" y="1007"/>
                    <a:pt x="1356" y="1007"/>
                    <a:pt x="1356" y="1007"/>
                  </a:cubicBezTo>
                  <a:cubicBezTo>
                    <a:pt x="1356" y="1007"/>
                    <a:pt x="1356" y="1007"/>
                    <a:pt x="1356" y="1007"/>
                  </a:cubicBezTo>
                  <a:cubicBezTo>
                    <a:pt x="1356" y="1007"/>
                    <a:pt x="1356" y="1007"/>
                    <a:pt x="1356" y="1007"/>
                  </a:cubicBezTo>
                  <a:cubicBezTo>
                    <a:pt x="1356" y="1007"/>
                    <a:pt x="1356" y="1007"/>
                    <a:pt x="1356" y="1008"/>
                  </a:cubicBezTo>
                  <a:cubicBezTo>
                    <a:pt x="1357" y="1008"/>
                    <a:pt x="1357" y="1009"/>
                    <a:pt x="1356" y="1009"/>
                  </a:cubicBezTo>
                  <a:cubicBezTo>
                    <a:pt x="1356" y="1009"/>
                    <a:pt x="1356" y="1009"/>
                    <a:pt x="1356" y="1009"/>
                  </a:cubicBezTo>
                  <a:cubicBezTo>
                    <a:pt x="1356" y="1010"/>
                    <a:pt x="1356" y="1010"/>
                    <a:pt x="1355" y="1011"/>
                  </a:cubicBezTo>
                  <a:cubicBezTo>
                    <a:pt x="1355" y="1011"/>
                    <a:pt x="1355" y="1011"/>
                    <a:pt x="1355" y="1011"/>
                  </a:cubicBezTo>
                  <a:cubicBezTo>
                    <a:pt x="1355" y="1011"/>
                    <a:pt x="1355" y="1011"/>
                    <a:pt x="1355" y="1011"/>
                  </a:cubicBezTo>
                  <a:cubicBezTo>
                    <a:pt x="1355" y="1011"/>
                    <a:pt x="1355" y="1011"/>
                    <a:pt x="1355" y="1011"/>
                  </a:cubicBezTo>
                  <a:cubicBezTo>
                    <a:pt x="1355" y="1011"/>
                    <a:pt x="1355" y="1011"/>
                    <a:pt x="1355" y="1011"/>
                  </a:cubicBezTo>
                  <a:cubicBezTo>
                    <a:pt x="1352" y="1012"/>
                    <a:pt x="1346" y="1010"/>
                    <a:pt x="1343" y="1011"/>
                  </a:cubicBezTo>
                  <a:cubicBezTo>
                    <a:pt x="1341" y="1012"/>
                    <a:pt x="1341" y="1012"/>
                    <a:pt x="1341" y="1012"/>
                  </a:cubicBezTo>
                  <a:cubicBezTo>
                    <a:pt x="1341" y="1012"/>
                    <a:pt x="1341" y="1012"/>
                    <a:pt x="1341" y="1012"/>
                  </a:cubicBezTo>
                  <a:cubicBezTo>
                    <a:pt x="1341" y="1013"/>
                    <a:pt x="1341" y="1013"/>
                    <a:pt x="1341" y="1014"/>
                  </a:cubicBezTo>
                  <a:cubicBezTo>
                    <a:pt x="1340" y="1014"/>
                    <a:pt x="1340" y="1015"/>
                    <a:pt x="1340" y="1015"/>
                  </a:cubicBezTo>
                  <a:cubicBezTo>
                    <a:pt x="1340" y="1015"/>
                    <a:pt x="1340" y="1015"/>
                    <a:pt x="1340" y="1015"/>
                  </a:cubicBezTo>
                  <a:cubicBezTo>
                    <a:pt x="1340" y="1015"/>
                    <a:pt x="1340" y="1015"/>
                    <a:pt x="1340" y="1015"/>
                  </a:cubicBezTo>
                  <a:cubicBezTo>
                    <a:pt x="1340" y="1016"/>
                    <a:pt x="1340" y="1016"/>
                    <a:pt x="1340" y="1016"/>
                  </a:cubicBezTo>
                  <a:cubicBezTo>
                    <a:pt x="1340" y="1017"/>
                    <a:pt x="1341" y="1018"/>
                    <a:pt x="1341" y="1018"/>
                  </a:cubicBezTo>
                  <a:cubicBezTo>
                    <a:pt x="1341" y="1018"/>
                    <a:pt x="1342" y="1019"/>
                    <a:pt x="1342" y="1019"/>
                  </a:cubicBezTo>
                  <a:cubicBezTo>
                    <a:pt x="1342" y="1019"/>
                    <a:pt x="1342" y="1019"/>
                    <a:pt x="1342" y="1019"/>
                  </a:cubicBezTo>
                  <a:cubicBezTo>
                    <a:pt x="1342" y="1019"/>
                    <a:pt x="1342" y="1019"/>
                    <a:pt x="1342" y="1019"/>
                  </a:cubicBezTo>
                  <a:cubicBezTo>
                    <a:pt x="1343" y="1019"/>
                    <a:pt x="1343" y="1019"/>
                    <a:pt x="1343" y="1019"/>
                  </a:cubicBezTo>
                  <a:cubicBezTo>
                    <a:pt x="1343" y="1019"/>
                    <a:pt x="1343" y="1019"/>
                    <a:pt x="1344" y="1019"/>
                  </a:cubicBezTo>
                  <a:cubicBezTo>
                    <a:pt x="1346" y="1020"/>
                    <a:pt x="1350" y="1019"/>
                    <a:pt x="1352" y="1020"/>
                  </a:cubicBezTo>
                  <a:cubicBezTo>
                    <a:pt x="1352" y="1020"/>
                    <a:pt x="1352" y="1020"/>
                    <a:pt x="1352" y="1020"/>
                  </a:cubicBezTo>
                  <a:cubicBezTo>
                    <a:pt x="1353" y="1020"/>
                    <a:pt x="1353" y="1020"/>
                    <a:pt x="1353" y="1020"/>
                  </a:cubicBezTo>
                  <a:cubicBezTo>
                    <a:pt x="1353" y="1020"/>
                    <a:pt x="1353" y="1020"/>
                    <a:pt x="1353" y="1020"/>
                  </a:cubicBezTo>
                  <a:cubicBezTo>
                    <a:pt x="1353" y="1020"/>
                    <a:pt x="1354" y="1020"/>
                    <a:pt x="1354" y="1021"/>
                  </a:cubicBezTo>
                  <a:cubicBezTo>
                    <a:pt x="1354" y="1021"/>
                    <a:pt x="1354" y="1021"/>
                    <a:pt x="1354" y="1022"/>
                  </a:cubicBezTo>
                  <a:cubicBezTo>
                    <a:pt x="1354" y="1022"/>
                    <a:pt x="1354" y="1022"/>
                    <a:pt x="1354" y="1022"/>
                  </a:cubicBezTo>
                  <a:cubicBezTo>
                    <a:pt x="1354" y="1022"/>
                    <a:pt x="1354" y="1022"/>
                    <a:pt x="1354" y="1022"/>
                  </a:cubicBezTo>
                  <a:cubicBezTo>
                    <a:pt x="1354" y="1022"/>
                    <a:pt x="1354" y="1021"/>
                    <a:pt x="1354" y="1021"/>
                  </a:cubicBezTo>
                  <a:cubicBezTo>
                    <a:pt x="1354" y="1021"/>
                    <a:pt x="1354" y="1021"/>
                    <a:pt x="1354" y="1021"/>
                  </a:cubicBezTo>
                  <a:cubicBezTo>
                    <a:pt x="1355" y="1019"/>
                    <a:pt x="1355" y="1019"/>
                    <a:pt x="1355" y="1019"/>
                  </a:cubicBezTo>
                  <a:cubicBezTo>
                    <a:pt x="1355" y="1017"/>
                    <a:pt x="1358" y="1016"/>
                    <a:pt x="1360" y="1015"/>
                  </a:cubicBezTo>
                  <a:cubicBezTo>
                    <a:pt x="1361" y="1014"/>
                    <a:pt x="1361" y="1014"/>
                    <a:pt x="1362" y="1014"/>
                  </a:cubicBezTo>
                  <a:cubicBezTo>
                    <a:pt x="1362" y="1014"/>
                    <a:pt x="1363" y="1013"/>
                    <a:pt x="1363" y="1013"/>
                  </a:cubicBezTo>
                  <a:cubicBezTo>
                    <a:pt x="1363" y="1013"/>
                    <a:pt x="1363" y="1013"/>
                    <a:pt x="1363" y="1013"/>
                  </a:cubicBezTo>
                  <a:cubicBezTo>
                    <a:pt x="1364" y="1013"/>
                    <a:pt x="1364" y="1013"/>
                    <a:pt x="1364" y="1013"/>
                  </a:cubicBezTo>
                  <a:cubicBezTo>
                    <a:pt x="1365" y="1012"/>
                    <a:pt x="1365" y="1012"/>
                    <a:pt x="1365" y="1012"/>
                  </a:cubicBezTo>
                  <a:cubicBezTo>
                    <a:pt x="1366" y="1012"/>
                    <a:pt x="1366" y="1012"/>
                    <a:pt x="1366" y="1012"/>
                  </a:cubicBezTo>
                  <a:cubicBezTo>
                    <a:pt x="1368" y="1011"/>
                    <a:pt x="1370" y="1009"/>
                    <a:pt x="1372" y="1008"/>
                  </a:cubicBezTo>
                  <a:cubicBezTo>
                    <a:pt x="1373" y="1007"/>
                    <a:pt x="1374" y="1006"/>
                    <a:pt x="1375" y="1005"/>
                  </a:cubicBezTo>
                  <a:cubicBezTo>
                    <a:pt x="1375" y="1005"/>
                    <a:pt x="1375" y="1005"/>
                    <a:pt x="1375" y="1005"/>
                  </a:cubicBezTo>
                  <a:cubicBezTo>
                    <a:pt x="1376" y="1005"/>
                    <a:pt x="1376" y="1005"/>
                    <a:pt x="1376" y="1005"/>
                  </a:cubicBezTo>
                  <a:cubicBezTo>
                    <a:pt x="1377" y="1004"/>
                    <a:pt x="1378" y="1003"/>
                    <a:pt x="1379" y="1002"/>
                  </a:cubicBezTo>
                  <a:cubicBezTo>
                    <a:pt x="1380" y="1002"/>
                    <a:pt x="1380" y="1002"/>
                    <a:pt x="1380" y="1002"/>
                  </a:cubicBezTo>
                  <a:cubicBezTo>
                    <a:pt x="1382" y="1002"/>
                    <a:pt x="1382" y="1002"/>
                    <a:pt x="1382" y="1002"/>
                  </a:cubicBezTo>
                  <a:cubicBezTo>
                    <a:pt x="1385" y="1001"/>
                    <a:pt x="1388" y="1002"/>
                    <a:pt x="1391" y="1002"/>
                  </a:cubicBezTo>
                  <a:cubicBezTo>
                    <a:pt x="1394" y="1002"/>
                    <a:pt x="1397" y="1002"/>
                    <a:pt x="1399" y="1003"/>
                  </a:cubicBezTo>
                  <a:cubicBezTo>
                    <a:pt x="1400" y="1003"/>
                    <a:pt x="1400" y="1003"/>
                    <a:pt x="1400" y="1003"/>
                  </a:cubicBezTo>
                  <a:cubicBezTo>
                    <a:pt x="1400" y="1003"/>
                    <a:pt x="1400" y="1003"/>
                    <a:pt x="1400" y="1003"/>
                  </a:cubicBezTo>
                  <a:cubicBezTo>
                    <a:pt x="1400" y="1003"/>
                    <a:pt x="1400" y="1003"/>
                    <a:pt x="1400" y="1003"/>
                  </a:cubicBezTo>
                  <a:cubicBezTo>
                    <a:pt x="1400" y="1004"/>
                    <a:pt x="1400" y="1004"/>
                    <a:pt x="1400" y="1004"/>
                  </a:cubicBezTo>
                  <a:cubicBezTo>
                    <a:pt x="1401" y="1004"/>
                    <a:pt x="1403" y="1003"/>
                    <a:pt x="1404" y="1004"/>
                  </a:cubicBezTo>
                  <a:cubicBezTo>
                    <a:pt x="1405" y="1004"/>
                    <a:pt x="1405" y="1004"/>
                    <a:pt x="1405" y="1004"/>
                  </a:cubicBezTo>
                  <a:cubicBezTo>
                    <a:pt x="1405" y="1004"/>
                    <a:pt x="1405" y="1004"/>
                    <a:pt x="1405" y="1004"/>
                  </a:cubicBezTo>
                  <a:cubicBezTo>
                    <a:pt x="1405" y="1004"/>
                    <a:pt x="1405" y="1004"/>
                    <a:pt x="1405" y="1004"/>
                  </a:cubicBezTo>
                  <a:cubicBezTo>
                    <a:pt x="1407" y="1004"/>
                    <a:pt x="1408" y="1004"/>
                    <a:pt x="1410" y="1004"/>
                  </a:cubicBezTo>
                  <a:cubicBezTo>
                    <a:pt x="1409" y="1004"/>
                    <a:pt x="1409" y="1004"/>
                    <a:pt x="1409" y="1004"/>
                  </a:cubicBezTo>
                  <a:cubicBezTo>
                    <a:pt x="1407" y="1004"/>
                    <a:pt x="1406" y="1004"/>
                    <a:pt x="1405" y="1003"/>
                  </a:cubicBezTo>
                  <a:cubicBezTo>
                    <a:pt x="1405" y="1003"/>
                    <a:pt x="1405" y="1003"/>
                    <a:pt x="1405" y="1003"/>
                  </a:cubicBezTo>
                  <a:cubicBezTo>
                    <a:pt x="1405" y="1003"/>
                    <a:pt x="1405" y="1003"/>
                    <a:pt x="1405" y="1003"/>
                  </a:cubicBezTo>
                  <a:cubicBezTo>
                    <a:pt x="1404" y="1003"/>
                    <a:pt x="1404" y="1003"/>
                    <a:pt x="1404" y="1003"/>
                  </a:cubicBezTo>
                  <a:cubicBezTo>
                    <a:pt x="1404" y="1003"/>
                    <a:pt x="1404" y="1003"/>
                    <a:pt x="1404" y="1003"/>
                  </a:cubicBezTo>
                  <a:cubicBezTo>
                    <a:pt x="1404" y="1003"/>
                    <a:pt x="1404" y="1003"/>
                    <a:pt x="1404" y="1003"/>
                  </a:cubicBezTo>
                  <a:cubicBezTo>
                    <a:pt x="1403" y="1003"/>
                    <a:pt x="1403" y="1003"/>
                    <a:pt x="1403" y="1003"/>
                  </a:cubicBezTo>
                  <a:cubicBezTo>
                    <a:pt x="1403" y="1003"/>
                    <a:pt x="1403" y="1003"/>
                    <a:pt x="1402" y="1003"/>
                  </a:cubicBezTo>
                  <a:cubicBezTo>
                    <a:pt x="1402" y="1003"/>
                    <a:pt x="1402" y="1003"/>
                    <a:pt x="1402" y="1003"/>
                  </a:cubicBezTo>
                  <a:cubicBezTo>
                    <a:pt x="1402" y="1003"/>
                    <a:pt x="1402" y="1003"/>
                    <a:pt x="1402" y="1003"/>
                  </a:cubicBezTo>
                  <a:cubicBezTo>
                    <a:pt x="1402" y="1002"/>
                    <a:pt x="1402" y="1002"/>
                    <a:pt x="1402" y="1002"/>
                  </a:cubicBezTo>
                  <a:cubicBezTo>
                    <a:pt x="1403" y="1002"/>
                    <a:pt x="1403" y="1002"/>
                    <a:pt x="1403" y="1002"/>
                  </a:cubicBezTo>
                  <a:cubicBezTo>
                    <a:pt x="1404" y="1001"/>
                    <a:pt x="1404" y="1001"/>
                    <a:pt x="1404" y="1001"/>
                  </a:cubicBezTo>
                  <a:cubicBezTo>
                    <a:pt x="1405" y="1001"/>
                    <a:pt x="1405" y="1001"/>
                    <a:pt x="1405" y="1001"/>
                  </a:cubicBezTo>
                  <a:cubicBezTo>
                    <a:pt x="1406" y="1000"/>
                    <a:pt x="1407" y="1000"/>
                    <a:pt x="1408" y="999"/>
                  </a:cubicBezTo>
                  <a:cubicBezTo>
                    <a:pt x="1412" y="997"/>
                    <a:pt x="1412" y="997"/>
                    <a:pt x="1412" y="997"/>
                  </a:cubicBezTo>
                  <a:cubicBezTo>
                    <a:pt x="1418" y="996"/>
                    <a:pt x="1418" y="996"/>
                    <a:pt x="1418" y="996"/>
                  </a:cubicBezTo>
                  <a:cubicBezTo>
                    <a:pt x="1424" y="995"/>
                    <a:pt x="1430" y="995"/>
                    <a:pt x="1436" y="994"/>
                  </a:cubicBezTo>
                  <a:cubicBezTo>
                    <a:pt x="1435" y="992"/>
                    <a:pt x="1435" y="991"/>
                    <a:pt x="1434" y="989"/>
                  </a:cubicBezTo>
                  <a:cubicBezTo>
                    <a:pt x="1434" y="989"/>
                    <a:pt x="1434" y="989"/>
                    <a:pt x="1434" y="989"/>
                  </a:cubicBezTo>
                  <a:cubicBezTo>
                    <a:pt x="1434" y="987"/>
                    <a:pt x="1434" y="987"/>
                    <a:pt x="1434" y="987"/>
                  </a:cubicBezTo>
                  <a:cubicBezTo>
                    <a:pt x="1434" y="986"/>
                    <a:pt x="1434" y="986"/>
                    <a:pt x="1434" y="986"/>
                  </a:cubicBezTo>
                  <a:cubicBezTo>
                    <a:pt x="1434" y="985"/>
                    <a:pt x="1434" y="985"/>
                    <a:pt x="1434" y="984"/>
                  </a:cubicBezTo>
                  <a:cubicBezTo>
                    <a:pt x="1425" y="986"/>
                    <a:pt x="1425" y="986"/>
                    <a:pt x="1425" y="986"/>
                  </a:cubicBezTo>
                  <a:cubicBezTo>
                    <a:pt x="1424" y="986"/>
                    <a:pt x="1424" y="986"/>
                    <a:pt x="1424" y="986"/>
                  </a:cubicBezTo>
                  <a:cubicBezTo>
                    <a:pt x="1423" y="986"/>
                    <a:pt x="1423" y="986"/>
                    <a:pt x="1423" y="986"/>
                  </a:cubicBezTo>
                  <a:cubicBezTo>
                    <a:pt x="1423" y="986"/>
                    <a:pt x="1423" y="986"/>
                    <a:pt x="1423" y="986"/>
                  </a:cubicBezTo>
                  <a:cubicBezTo>
                    <a:pt x="1422" y="986"/>
                    <a:pt x="1420" y="985"/>
                    <a:pt x="1419" y="985"/>
                  </a:cubicBezTo>
                  <a:cubicBezTo>
                    <a:pt x="1419" y="985"/>
                    <a:pt x="1419" y="985"/>
                    <a:pt x="1419" y="985"/>
                  </a:cubicBezTo>
                  <a:cubicBezTo>
                    <a:pt x="1419" y="984"/>
                    <a:pt x="1419" y="984"/>
                    <a:pt x="1419" y="984"/>
                  </a:cubicBezTo>
                  <a:cubicBezTo>
                    <a:pt x="1418" y="984"/>
                    <a:pt x="1418" y="983"/>
                    <a:pt x="1418" y="983"/>
                  </a:cubicBezTo>
                  <a:cubicBezTo>
                    <a:pt x="1418" y="982"/>
                    <a:pt x="1418" y="982"/>
                    <a:pt x="1418" y="982"/>
                  </a:cubicBezTo>
                  <a:cubicBezTo>
                    <a:pt x="1418" y="982"/>
                    <a:pt x="1418" y="982"/>
                    <a:pt x="1418" y="982"/>
                  </a:cubicBezTo>
                  <a:cubicBezTo>
                    <a:pt x="1418" y="982"/>
                    <a:pt x="1418" y="982"/>
                    <a:pt x="1418" y="982"/>
                  </a:cubicBezTo>
                  <a:cubicBezTo>
                    <a:pt x="1418" y="982"/>
                    <a:pt x="1418" y="982"/>
                    <a:pt x="1418" y="982"/>
                  </a:cubicBezTo>
                  <a:cubicBezTo>
                    <a:pt x="1418" y="982"/>
                    <a:pt x="1418" y="982"/>
                    <a:pt x="1418" y="982"/>
                  </a:cubicBezTo>
                  <a:cubicBezTo>
                    <a:pt x="1419" y="981"/>
                    <a:pt x="1420" y="980"/>
                    <a:pt x="1420" y="979"/>
                  </a:cubicBezTo>
                  <a:cubicBezTo>
                    <a:pt x="1420" y="979"/>
                    <a:pt x="1420" y="979"/>
                    <a:pt x="1420" y="979"/>
                  </a:cubicBezTo>
                  <a:cubicBezTo>
                    <a:pt x="1421" y="979"/>
                    <a:pt x="1421" y="979"/>
                    <a:pt x="1421" y="979"/>
                  </a:cubicBezTo>
                  <a:cubicBezTo>
                    <a:pt x="1421" y="978"/>
                    <a:pt x="1421" y="978"/>
                    <a:pt x="1421" y="977"/>
                  </a:cubicBezTo>
                  <a:cubicBezTo>
                    <a:pt x="1420" y="976"/>
                    <a:pt x="1420" y="974"/>
                    <a:pt x="1420" y="973"/>
                  </a:cubicBezTo>
                  <a:cubicBezTo>
                    <a:pt x="1420" y="969"/>
                    <a:pt x="1423" y="966"/>
                    <a:pt x="1426" y="966"/>
                  </a:cubicBezTo>
                  <a:cubicBezTo>
                    <a:pt x="1428" y="966"/>
                    <a:pt x="1431" y="968"/>
                    <a:pt x="1432" y="970"/>
                  </a:cubicBezTo>
                  <a:cubicBezTo>
                    <a:pt x="1432" y="970"/>
                    <a:pt x="1432" y="970"/>
                    <a:pt x="1432" y="970"/>
                  </a:cubicBezTo>
                  <a:cubicBezTo>
                    <a:pt x="1432" y="970"/>
                    <a:pt x="1432" y="970"/>
                    <a:pt x="1432" y="970"/>
                  </a:cubicBezTo>
                  <a:cubicBezTo>
                    <a:pt x="1432" y="970"/>
                    <a:pt x="1432" y="970"/>
                    <a:pt x="1432" y="970"/>
                  </a:cubicBezTo>
                  <a:cubicBezTo>
                    <a:pt x="1433" y="969"/>
                    <a:pt x="1433" y="969"/>
                    <a:pt x="1433" y="968"/>
                  </a:cubicBezTo>
                  <a:cubicBezTo>
                    <a:pt x="1433" y="968"/>
                    <a:pt x="1433" y="968"/>
                    <a:pt x="1433" y="968"/>
                  </a:cubicBezTo>
                  <a:cubicBezTo>
                    <a:pt x="1434" y="968"/>
                    <a:pt x="1434" y="968"/>
                    <a:pt x="1434" y="968"/>
                  </a:cubicBezTo>
                  <a:cubicBezTo>
                    <a:pt x="1465" y="963"/>
                    <a:pt x="1465" y="963"/>
                    <a:pt x="1465" y="963"/>
                  </a:cubicBezTo>
                  <a:cubicBezTo>
                    <a:pt x="1465" y="963"/>
                    <a:pt x="1465" y="963"/>
                    <a:pt x="1465" y="963"/>
                  </a:cubicBezTo>
                  <a:cubicBezTo>
                    <a:pt x="1465" y="963"/>
                    <a:pt x="1465" y="963"/>
                    <a:pt x="1465" y="963"/>
                  </a:cubicBezTo>
                  <a:cubicBezTo>
                    <a:pt x="1465" y="963"/>
                    <a:pt x="1465" y="963"/>
                    <a:pt x="1465" y="963"/>
                  </a:cubicBezTo>
                  <a:cubicBezTo>
                    <a:pt x="1465" y="963"/>
                    <a:pt x="1465" y="963"/>
                    <a:pt x="1465" y="963"/>
                  </a:cubicBezTo>
                  <a:cubicBezTo>
                    <a:pt x="1465" y="963"/>
                    <a:pt x="1465" y="963"/>
                    <a:pt x="1465" y="963"/>
                  </a:cubicBezTo>
                  <a:cubicBezTo>
                    <a:pt x="1466" y="963"/>
                    <a:pt x="1466" y="963"/>
                    <a:pt x="1466" y="963"/>
                  </a:cubicBezTo>
                  <a:cubicBezTo>
                    <a:pt x="1466" y="963"/>
                    <a:pt x="1466" y="963"/>
                    <a:pt x="1466" y="963"/>
                  </a:cubicBezTo>
                  <a:cubicBezTo>
                    <a:pt x="1466" y="963"/>
                    <a:pt x="1466" y="963"/>
                    <a:pt x="1466" y="963"/>
                  </a:cubicBezTo>
                  <a:cubicBezTo>
                    <a:pt x="1466" y="963"/>
                    <a:pt x="1466" y="963"/>
                    <a:pt x="1466" y="963"/>
                  </a:cubicBezTo>
                  <a:cubicBezTo>
                    <a:pt x="1466" y="963"/>
                    <a:pt x="1466" y="963"/>
                    <a:pt x="1466" y="963"/>
                  </a:cubicBezTo>
                  <a:cubicBezTo>
                    <a:pt x="1466" y="963"/>
                    <a:pt x="1466" y="963"/>
                    <a:pt x="1466" y="963"/>
                  </a:cubicBezTo>
                  <a:cubicBezTo>
                    <a:pt x="1466" y="963"/>
                    <a:pt x="1466" y="963"/>
                    <a:pt x="1466" y="963"/>
                  </a:cubicBezTo>
                  <a:cubicBezTo>
                    <a:pt x="1466" y="963"/>
                    <a:pt x="1466" y="963"/>
                    <a:pt x="1466" y="963"/>
                  </a:cubicBezTo>
                  <a:cubicBezTo>
                    <a:pt x="1466" y="963"/>
                    <a:pt x="1466" y="963"/>
                    <a:pt x="1466" y="963"/>
                  </a:cubicBezTo>
                  <a:cubicBezTo>
                    <a:pt x="1467" y="963"/>
                    <a:pt x="1467" y="963"/>
                    <a:pt x="1467" y="963"/>
                  </a:cubicBezTo>
                  <a:cubicBezTo>
                    <a:pt x="1468" y="963"/>
                    <a:pt x="1468" y="963"/>
                    <a:pt x="1468" y="963"/>
                  </a:cubicBezTo>
                  <a:cubicBezTo>
                    <a:pt x="1468" y="962"/>
                    <a:pt x="1468" y="962"/>
                    <a:pt x="1468" y="962"/>
                  </a:cubicBezTo>
                  <a:cubicBezTo>
                    <a:pt x="1469" y="961"/>
                    <a:pt x="1469" y="961"/>
                    <a:pt x="1469" y="961"/>
                  </a:cubicBezTo>
                  <a:cubicBezTo>
                    <a:pt x="1469" y="961"/>
                    <a:pt x="1469" y="961"/>
                    <a:pt x="1469" y="961"/>
                  </a:cubicBezTo>
                  <a:cubicBezTo>
                    <a:pt x="1469" y="961"/>
                    <a:pt x="1469" y="961"/>
                    <a:pt x="1469" y="961"/>
                  </a:cubicBezTo>
                  <a:cubicBezTo>
                    <a:pt x="1468" y="961"/>
                    <a:pt x="1468" y="961"/>
                    <a:pt x="1468" y="961"/>
                  </a:cubicBezTo>
                  <a:cubicBezTo>
                    <a:pt x="1468" y="961"/>
                    <a:pt x="1468" y="961"/>
                    <a:pt x="1468" y="961"/>
                  </a:cubicBezTo>
                  <a:cubicBezTo>
                    <a:pt x="1469" y="961"/>
                    <a:pt x="1469" y="961"/>
                    <a:pt x="1469" y="961"/>
                  </a:cubicBezTo>
                  <a:cubicBezTo>
                    <a:pt x="1469" y="960"/>
                    <a:pt x="1469" y="960"/>
                    <a:pt x="1469" y="960"/>
                  </a:cubicBezTo>
                  <a:cubicBezTo>
                    <a:pt x="1470" y="960"/>
                    <a:pt x="1470" y="960"/>
                    <a:pt x="1470" y="960"/>
                  </a:cubicBezTo>
                  <a:cubicBezTo>
                    <a:pt x="1471" y="960"/>
                    <a:pt x="1471" y="960"/>
                    <a:pt x="1471" y="960"/>
                  </a:cubicBezTo>
                  <a:cubicBezTo>
                    <a:pt x="1472" y="960"/>
                    <a:pt x="1473" y="959"/>
                    <a:pt x="1474" y="959"/>
                  </a:cubicBezTo>
                  <a:cubicBezTo>
                    <a:pt x="1474" y="959"/>
                    <a:pt x="1474" y="959"/>
                    <a:pt x="1474" y="959"/>
                  </a:cubicBezTo>
                  <a:cubicBezTo>
                    <a:pt x="1475" y="959"/>
                    <a:pt x="1475" y="959"/>
                    <a:pt x="1475" y="959"/>
                  </a:cubicBezTo>
                  <a:cubicBezTo>
                    <a:pt x="1475" y="959"/>
                    <a:pt x="1475" y="959"/>
                    <a:pt x="1475" y="959"/>
                  </a:cubicBezTo>
                  <a:cubicBezTo>
                    <a:pt x="1475" y="959"/>
                    <a:pt x="1475" y="959"/>
                    <a:pt x="1475" y="959"/>
                  </a:cubicBezTo>
                  <a:cubicBezTo>
                    <a:pt x="1475" y="959"/>
                    <a:pt x="1475" y="959"/>
                    <a:pt x="1475" y="959"/>
                  </a:cubicBezTo>
                  <a:cubicBezTo>
                    <a:pt x="1475" y="959"/>
                    <a:pt x="1475" y="959"/>
                    <a:pt x="1475" y="959"/>
                  </a:cubicBezTo>
                  <a:cubicBezTo>
                    <a:pt x="1474" y="960"/>
                    <a:pt x="1474" y="960"/>
                    <a:pt x="1474" y="960"/>
                  </a:cubicBezTo>
                  <a:cubicBezTo>
                    <a:pt x="1475" y="960"/>
                    <a:pt x="1475" y="960"/>
                    <a:pt x="1475" y="960"/>
                  </a:cubicBezTo>
                  <a:cubicBezTo>
                    <a:pt x="1475" y="960"/>
                    <a:pt x="1475" y="960"/>
                    <a:pt x="1475" y="960"/>
                  </a:cubicBezTo>
                  <a:cubicBezTo>
                    <a:pt x="1475" y="960"/>
                    <a:pt x="1475" y="960"/>
                    <a:pt x="1475" y="960"/>
                  </a:cubicBezTo>
                  <a:cubicBezTo>
                    <a:pt x="1476" y="960"/>
                    <a:pt x="1476" y="959"/>
                    <a:pt x="1477" y="959"/>
                  </a:cubicBezTo>
                  <a:cubicBezTo>
                    <a:pt x="1477" y="959"/>
                    <a:pt x="1477" y="959"/>
                    <a:pt x="1477" y="959"/>
                  </a:cubicBezTo>
                  <a:cubicBezTo>
                    <a:pt x="1477" y="959"/>
                    <a:pt x="1477" y="959"/>
                    <a:pt x="1477" y="959"/>
                  </a:cubicBezTo>
                  <a:cubicBezTo>
                    <a:pt x="1478" y="959"/>
                    <a:pt x="1478" y="959"/>
                    <a:pt x="1479" y="959"/>
                  </a:cubicBezTo>
                  <a:cubicBezTo>
                    <a:pt x="1479" y="959"/>
                    <a:pt x="1479" y="959"/>
                    <a:pt x="1479" y="959"/>
                  </a:cubicBezTo>
                  <a:cubicBezTo>
                    <a:pt x="1479" y="959"/>
                    <a:pt x="1479" y="959"/>
                    <a:pt x="1479" y="959"/>
                  </a:cubicBezTo>
                  <a:cubicBezTo>
                    <a:pt x="1479" y="959"/>
                    <a:pt x="1479" y="959"/>
                    <a:pt x="1479" y="959"/>
                  </a:cubicBezTo>
                  <a:cubicBezTo>
                    <a:pt x="1479" y="959"/>
                    <a:pt x="1479" y="959"/>
                    <a:pt x="1479" y="959"/>
                  </a:cubicBezTo>
                  <a:cubicBezTo>
                    <a:pt x="1479" y="959"/>
                    <a:pt x="1480" y="958"/>
                    <a:pt x="1480" y="958"/>
                  </a:cubicBezTo>
                  <a:cubicBezTo>
                    <a:pt x="1480" y="958"/>
                    <a:pt x="1480" y="958"/>
                    <a:pt x="1480" y="958"/>
                  </a:cubicBezTo>
                  <a:cubicBezTo>
                    <a:pt x="1480" y="958"/>
                    <a:pt x="1480" y="958"/>
                    <a:pt x="1480" y="958"/>
                  </a:cubicBezTo>
                  <a:cubicBezTo>
                    <a:pt x="1480" y="958"/>
                    <a:pt x="1480" y="958"/>
                    <a:pt x="1480" y="958"/>
                  </a:cubicBezTo>
                  <a:cubicBezTo>
                    <a:pt x="1480" y="958"/>
                    <a:pt x="1480" y="958"/>
                    <a:pt x="1480" y="958"/>
                  </a:cubicBezTo>
                  <a:cubicBezTo>
                    <a:pt x="1480" y="959"/>
                    <a:pt x="1480" y="959"/>
                    <a:pt x="1480" y="959"/>
                  </a:cubicBezTo>
                  <a:cubicBezTo>
                    <a:pt x="1480" y="959"/>
                    <a:pt x="1480" y="959"/>
                    <a:pt x="1480" y="959"/>
                  </a:cubicBezTo>
                  <a:cubicBezTo>
                    <a:pt x="1480" y="959"/>
                    <a:pt x="1480" y="959"/>
                    <a:pt x="1480" y="959"/>
                  </a:cubicBezTo>
                  <a:cubicBezTo>
                    <a:pt x="1480" y="959"/>
                    <a:pt x="1480" y="959"/>
                    <a:pt x="1480" y="959"/>
                  </a:cubicBezTo>
                  <a:cubicBezTo>
                    <a:pt x="1480" y="960"/>
                    <a:pt x="1480" y="960"/>
                    <a:pt x="1480" y="960"/>
                  </a:cubicBezTo>
                  <a:cubicBezTo>
                    <a:pt x="1480" y="960"/>
                    <a:pt x="1480" y="960"/>
                    <a:pt x="1480" y="960"/>
                  </a:cubicBezTo>
                  <a:cubicBezTo>
                    <a:pt x="1482" y="960"/>
                    <a:pt x="1482" y="960"/>
                    <a:pt x="1482" y="960"/>
                  </a:cubicBezTo>
                  <a:cubicBezTo>
                    <a:pt x="1482" y="960"/>
                    <a:pt x="1482" y="960"/>
                    <a:pt x="1482" y="960"/>
                  </a:cubicBezTo>
                  <a:cubicBezTo>
                    <a:pt x="1482" y="960"/>
                    <a:pt x="1482" y="960"/>
                    <a:pt x="1482" y="960"/>
                  </a:cubicBezTo>
                  <a:cubicBezTo>
                    <a:pt x="1481" y="960"/>
                    <a:pt x="1481" y="960"/>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2"/>
                    <a:pt x="1481" y="962"/>
                    <a:pt x="1481" y="962"/>
                  </a:cubicBezTo>
                  <a:cubicBezTo>
                    <a:pt x="1481" y="962"/>
                    <a:pt x="1481" y="962"/>
                    <a:pt x="1481" y="962"/>
                  </a:cubicBezTo>
                  <a:cubicBezTo>
                    <a:pt x="1482" y="961"/>
                    <a:pt x="1482" y="961"/>
                    <a:pt x="1482" y="961"/>
                  </a:cubicBezTo>
                  <a:cubicBezTo>
                    <a:pt x="1482" y="961"/>
                    <a:pt x="1482" y="961"/>
                    <a:pt x="1482" y="961"/>
                  </a:cubicBezTo>
                  <a:cubicBezTo>
                    <a:pt x="1485" y="960"/>
                    <a:pt x="1485" y="960"/>
                    <a:pt x="1485" y="960"/>
                  </a:cubicBezTo>
                  <a:cubicBezTo>
                    <a:pt x="1485" y="960"/>
                    <a:pt x="1485" y="960"/>
                    <a:pt x="1485" y="960"/>
                  </a:cubicBezTo>
                  <a:cubicBezTo>
                    <a:pt x="1485" y="960"/>
                    <a:pt x="1485" y="960"/>
                    <a:pt x="1485" y="960"/>
                  </a:cubicBezTo>
                  <a:cubicBezTo>
                    <a:pt x="1485" y="960"/>
                    <a:pt x="1485" y="960"/>
                    <a:pt x="1485" y="960"/>
                  </a:cubicBezTo>
                  <a:cubicBezTo>
                    <a:pt x="1504" y="952"/>
                    <a:pt x="1504" y="952"/>
                    <a:pt x="1504" y="952"/>
                  </a:cubicBezTo>
                  <a:cubicBezTo>
                    <a:pt x="1503" y="951"/>
                    <a:pt x="1503" y="951"/>
                    <a:pt x="1503" y="951"/>
                  </a:cubicBezTo>
                  <a:cubicBezTo>
                    <a:pt x="1504" y="951"/>
                    <a:pt x="1504" y="951"/>
                    <a:pt x="1504" y="951"/>
                  </a:cubicBezTo>
                  <a:cubicBezTo>
                    <a:pt x="1507" y="949"/>
                    <a:pt x="1509" y="948"/>
                    <a:pt x="1510" y="947"/>
                  </a:cubicBezTo>
                  <a:cubicBezTo>
                    <a:pt x="1511" y="945"/>
                    <a:pt x="1513" y="944"/>
                    <a:pt x="1515" y="942"/>
                  </a:cubicBezTo>
                  <a:cubicBezTo>
                    <a:pt x="1516" y="942"/>
                    <a:pt x="1516" y="942"/>
                    <a:pt x="1516" y="942"/>
                  </a:cubicBezTo>
                  <a:cubicBezTo>
                    <a:pt x="1517" y="940"/>
                    <a:pt x="1519" y="939"/>
                    <a:pt x="1520" y="938"/>
                  </a:cubicBezTo>
                  <a:cubicBezTo>
                    <a:pt x="1524" y="934"/>
                    <a:pt x="1531" y="932"/>
                    <a:pt x="1540" y="932"/>
                  </a:cubicBezTo>
                  <a:cubicBezTo>
                    <a:pt x="1550" y="932"/>
                    <a:pt x="1598" y="932"/>
                    <a:pt x="1608" y="932"/>
                  </a:cubicBezTo>
                  <a:cubicBezTo>
                    <a:pt x="1610" y="928"/>
                    <a:pt x="1611" y="925"/>
                    <a:pt x="1614" y="924"/>
                  </a:cubicBezTo>
                  <a:cubicBezTo>
                    <a:pt x="1616" y="923"/>
                    <a:pt x="1619" y="923"/>
                    <a:pt x="1622" y="924"/>
                  </a:cubicBezTo>
                  <a:cubicBezTo>
                    <a:pt x="1625" y="925"/>
                    <a:pt x="1626" y="925"/>
                    <a:pt x="1628" y="921"/>
                  </a:cubicBezTo>
                  <a:cubicBezTo>
                    <a:pt x="1631" y="917"/>
                    <a:pt x="1635" y="911"/>
                    <a:pt x="1637" y="908"/>
                  </a:cubicBezTo>
                  <a:cubicBezTo>
                    <a:pt x="1637" y="908"/>
                    <a:pt x="1637" y="908"/>
                    <a:pt x="1637" y="908"/>
                  </a:cubicBezTo>
                  <a:cubicBezTo>
                    <a:pt x="1635" y="906"/>
                    <a:pt x="1637" y="902"/>
                    <a:pt x="1644" y="890"/>
                  </a:cubicBezTo>
                  <a:cubicBezTo>
                    <a:pt x="1644" y="889"/>
                    <a:pt x="1644" y="889"/>
                    <a:pt x="1644" y="889"/>
                  </a:cubicBezTo>
                  <a:cubicBezTo>
                    <a:pt x="1648" y="883"/>
                    <a:pt x="1659" y="865"/>
                    <a:pt x="1659" y="865"/>
                  </a:cubicBezTo>
                  <a:cubicBezTo>
                    <a:pt x="1659" y="864"/>
                    <a:pt x="1660" y="862"/>
                    <a:pt x="1662" y="861"/>
                  </a:cubicBezTo>
                  <a:cubicBezTo>
                    <a:pt x="1664" y="860"/>
                    <a:pt x="1665" y="860"/>
                    <a:pt x="1667" y="861"/>
                  </a:cubicBezTo>
                  <a:cubicBezTo>
                    <a:pt x="1671" y="863"/>
                    <a:pt x="1671" y="866"/>
                    <a:pt x="1670" y="867"/>
                  </a:cubicBezTo>
                  <a:cubicBezTo>
                    <a:pt x="1672" y="869"/>
                    <a:pt x="1672" y="869"/>
                    <a:pt x="1673" y="868"/>
                  </a:cubicBezTo>
                  <a:cubicBezTo>
                    <a:pt x="1673" y="868"/>
                    <a:pt x="1674" y="868"/>
                    <a:pt x="1674" y="868"/>
                  </a:cubicBezTo>
                  <a:cubicBezTo>
                    <a:pt x="1675" y="867"/>
                    <a:pt x="1675" y="867"/>
                    <a:pt x="1675" y="867"/>
                  </a:cubicBezTo>
                  <a:cubicBezTo>
                    <a:pt x="1680" y="865"/>
                    <a:pt x="1686" y="862"/>
                    <a:pt x="1689" y="865"/>
                  </a:cubicBezTo>
                  <a:cubicBezTo>
                    <a:pt x="1691" y="866"/>
                    <a:pt x="1692" y="867"/>
                    <a:pt x="1694" y="868"/>
                  </a:cubicBezTo>
                  <a:cubicBezTo>
                    <a:pt x="1694" y="869"/>
                    <a:pt x="1694" y="869"/>
                    <a:pt x="1694" y="869"/>
                  </a:cubicBezTo>
                  <a:cubicBezTo>
                    <a:pt x="1695" y="869"/>
                    <a:pt x="1695" y="870"/>
                    <a:pt x="1696" y="870"/>
                  </a:cubicBezTo>
                  <a:cubicBezTo>
                    <a:pt x="1698" y="872"/>
                    <a:pt x="1700" y="874"/>
                    <a:pt x="1700" y="883"/>
                  </a:cubicBezTo>
                  <a:cubicBezTo>
                    <a:pt x="1700" y="892"/>
                    <a:pt x="1700" y="910"/>
                    <a:pt x="1700" y="910"/>
                  </a:cubicBezTo>
                  <a:cubicBezTo>
                    <a:pt x="1700" y="910"/>
                    <a:pt x="1700" y="910"/>
                    <a:pt x="1700" y="910"/>
                  </a:cubicBezTo>
                  <a:cubicBezTo>
                    <a:pt x="1700" y="911"/>
                    <a:pt x="1700" y="911"/>
                    <a:pt x="1700" y="911"/>
                  </a:cubicBezTo>
                  <a:cubicBezTo>
                    <a:pt x="1700" y="911"/>
                    <a:pt x="1700" y="912"/>
                    <a:pt x="1700" y="913"/>
                  </a:cubicBezTo>
                  <a:cubicBezTo>
                    <a:pt x="1701" y="914"/>
                    <a:pt x="1702" y="915"/>
                    <a:pt x="1704" y="915"/>
                  </a:cubicBezTo>
                  <a:cubicBezTo>
                    <a:pt x="1704" y="915"/>
                    <a:pt x="1704" y="915"/>
                    <a:pt x="1704" y="915"/>
                  </a:cubicBezTo>
                  <a:cubicBezTo>
                    <a:pt x="1706" y="915"/>
                    <a:pt x="1707" y="915"/>
                    <a:pt x="1708" y="916"/>
                  </a:cubicBezTo>
                  <a:cubicBezTo>
                    <a:pt x="1709" y="918"/>
                    <a:pt x="1709" y="922"/>
                    <a:pt x="1708" y="925"/>
                  </a:cubicBezTo>
                  <a:cubicBezTo>
                    <a:pt x="1708" y="925"/>
                    <a:pt x="1708" y="925"/>
                    <a:pt x="1708" y="925"/>
                  </a:cubicBezTo>
                  <a:cubicBezTo>
                    <a:pt x="1708" y="926"/>
                    <a:pt x="1708" y="927"/>
                    <a:pt x="1708" y="927"/>
                  </a:cubicBezTo>
                  <a:cubicBezTo>
                    <a:pt x="1710" y="927"/>
                    <a:pt x="1713" y="927"/>
                    <a:pt x="1715" y="929"/>
                  </a:cubicBezTo>
                  <a:cubicBezTo>
                    <a:pt x="1716" y="930"/>
                    <a:pt x="1716" y="930"/>
                    <a:pt x="1716" y="930"/>
                  </a:cubicBezTo>
                  <a:cubicBezTo>
                    <a:pt x="1715" y="931"/>
                    <a:pt x="1715" y="931"/>
                    <a:pt x="1715" y="931"/>
                  </a:cubicBezTo>
                  <a:cubicBezTo>
                    <a:pt x="1715" y="931"/>
                    <a:pt x="1716" y="932"/>
                    <a:pt x="1717" y="932"/>
                  </a:cubicBezTo>
                  <a:cubicBezTo>
                    <a:pt x="1717" y="932"/>
                    <a:pt x="1717" y="932"/>
                    <a:pt x="1717" y="932"/>
                  </a:cubicBezTo>
                  <a:cubicBezTo>
                    <a:pt x="1717" y="932"/>
                    <a:pt x="1717" y="932"/>
                    <a:pt x="1717" y="932"/>
                  </a:cubicBezTo>
                  <a:cubicBezTo>
                    <a:pt x="1717" y="933"/>
                    <a:pt x="1716" y="933"/>
                    <a:pt x="1716" y="933"/>
                  </a:cubicBezTo>
                  <a:cubicBezTo>
                    <a:pt x="1716" y="933"/>
                    <a:pt x="1717" y="933"/>
                    <a:pt x="1717" y="932"/>
                  </a:cubicBezTo>
                  <a:cubicBezTo>
                    <a:pt x="1718" y="934"/>
                    <a:pt x="1726" y="932"/>
                    <a:pt x="1727" y="932"/>
                  </a:cubicBezTo>
                  <a:cubicBezTo>
                    <a:pt x="1727" y="932"/>
                    <a:pt x="1727" y="932"/>
                    <a:pt x="1727" y="933"/>
                  </a:cubicBezTo>
                  <a:cubicBezTo>
                    <a:pt x="1729" y="931"/>
                    <a:pt x="1731" y="929"/>
                    <a:pt x="1733" y="928"/>
                  </a:cubicBezTo>
                  <a:cubicBezTo>
                    <a:pt x="1734" y="926"/>
                    <a:pt x="1733" y="926"/>
                    <a:pt x="1733" y="925"/>
                  </a:cubicBezTo>
                  <a:cubicBezTo>
                    <a:pt x="1734" y="924"/>
                    <a:pt x="1736" y="923"/>
                    <a:pt x="1737" y="922"/>
                  </a:cubicBezTo>
                  <a:cubicBezTo>
                    <a:pt x="1736" y="924"/>
                    <a:pt x="1734" y="925"/>
                    <a:pt x="1735" y="926"/>
                  </a:cubicBezTo>
                  <a:cubicBezTo>
                    <a:pt x="1735" y="926"/>
                    <a:pt x="1737" y="928"/>
                    <a:pt x="1737" y="928"/>
                  </a:cubicBezTo>
                  <a:cubicBezTo>
                    <a:pt x="1738" y="928"/>
                    <a:pt x="1738" y="929"/>
                    <a:pt x="1739" y="929"/>
                  </a:cubicBezTo>
                  <a:cubicBezTo>
                    <a:pt x="1743" y="929"/>
                    <a:pt x="1749" y="924"/>
                    <a:pt x="1751" y="922"/>
                  </a:cubicBezTo>
                  <a:cubicBezTo>
                    <a:pt x="1757" y="919"/>
                    <a:pt x="1763" y="915"/>
                    <a:pt x="1769" y="912"/>
                  </a:cubicBezTo>
                  <a:cubicBezTo>
                    <a:pt x="1771" y="911"/>
                    <a:pt x="1770" y="911"/>
                    <a:pt x="1770" y="909"/>
                  </a:cubicBezTo>
                  <a:cubicBezTo>
                    <a:pt x="1769" y="908"/>
                    <a:pt x="1767" y="904"/>
                    <a:pt x="1766" y="904"/>
                  </a:cubicBezTo>
                  <a:cubicBezTo>
                    <a:pt x="1768" y="906"/>
                    <a:pt x="1774" y="911"/>
                    <a:pt x="1771" y="914"/>
                  </a:cubicBezTo>
                  <a:cubicBezTo>
                    <a:pt x="1773" y="913"/>
                    <a:pt x="1775" y="912"/>
                    <a:pt x="1777" y="911"/>
                  </a:cubicBezTo>
                  <a:cubicBezTo>
                    <a:pt x="1775" y="914"/>
                    <a:pt x="1773" y="916"/>
                    <a:pt x="1771" y="919"/>
                  </a:cubicBezTo>
                  <a:cubicBezTo>
                    <a:pt x="1770" y="920"/>
                    <a:pt x="1766" y="924"/>
                    <a:pt x="1766" y="925"/>
                  </a:cubicBezTo>
                  <a:cubicBezTo>
                    <a:pt x="1766" y="927"/>
                    <a:pt x="1770" y="923"/>
                    <a:pt x="1771" y="923"/>
                  </a:cubicBezTo>
                  <a:cubicBezTo>
                    <a:pt x="1773" y="923"/>
                    <a:pt x="1774" y="924"/>
                    <a:pt x="1776" y="924"/>
                  </a:cubicBezTo>
                  <a:cubicBezTo>
                    <a:pt x="1777" y="924"/>
                    <a:pt x="1779" y="923"/>
                    <a:pt x="1780" y="923"/>
                  </a:cubicBezTo>
                  <a:cubicBezTo>
                    <a:pt x="1782" y="923"/>
                    <a:pt x="1783" y="923"/>
                    <a:pt x="1784" y="924"/>
                  </a:cubicBezTo>
                  <a:cubicBezTo>
                    <a:pt x="1786" y="924"/>
                    <a:pt x="1786" y="924"/>
                    <a:pt x="1789" y="923"/>
                  </a:cubicBezTo>
                  <a:cubicBezTo>
                    <a:pt x="1790" y="923"/>
                    <a:pt x="1796" y="923"/>
                    <a:pt x="1797" y="924"/>
                  </a:cubicBezTo>
                  <a:cubicBezTo>
                    <a:pt x="1797" y="925"/>
                    <a:pt x="1798" y="924"/>
                    <a:pt x="1798" y="924"/>
                  </a:cubicBezTo>
                  <a:cubicBezTo>
                    <a:pt x="1793" y="928"/>
                    <a:pt x="1786" y="931"/>
                    <a:pt x="1781" y="935"/>
                  </a:cubicBezTo>
                  <a:cubicBezTo>
                    <a:pt x="1780" y="933"/>
                    <a:pt x="1779" y="932"/>
                    <a:pt x="1777" y="931"/>
                  </a:cubicBezTo>
                  <a:cubicBezTo>
                    <a:pt x="1775" y="930"/>
                    <a:pt x="1775" y="932"/>
                    <a:pt x="1775" y="929"/>
                  </a:cubicBezTo>
                  <a:cubicBezTo>
                    <a:pt x="1775" y="927"/>
                    <a:pt x="1777" y="927"/>
                    <a:pt x="1775" y="926"/>
                  </a:cubicBezTo>
                  <a:cubicBezTo>
                    <a:pt x="1774" y="924"/>
                    <a:pt x="1771" y="926"/>
                    <a:pt x="1769" y="927"/>
                  </a:cubicBezTo>
                  <a:cubicBezTo>
                    <a:pt x="1762" y="932"/>
                    <a:pt x="1754" y="937"/>
                    <a:pt x="1747" y="942"/>
                  </a:cubicBezTo>
                  <a:cubicBezTo>
                    <a:pt x="1743" y="945"/>
                    <a:pt x="1740" y="947"/>
                    <a:pt x="1737" y="950"/>
                  </a:cubicBezTo>
                  <a:cubicBezTo>
                    <a:pt x="1735" y="953"/>
                    <a:pt x="1735" y="954"/>
                    <a:pt x="1734" y="957"/>
                  </a:cubicBezTo>
                  <a:cubicBezTo>
                    <a:pt x="1734" y="958"/>
                    <a:pt x="1732" y="959"/>
                    <a:pt x="1732" y="961"/>
                  </a:cubicBezTo>
                  <a:cubicBezTo>
                    <a:pt x="1732" y="962"/>
                    <a:pt x="1733" y="963"/>
                    <a:pt x="1733" y="964"/>
                  </a:cubicBezTo>
                  <a:cubicBezTo>
                    <a:pt x="1734" y="966"/>
                    <a:pt x="1734" y="967"/>
                    <a:pt x="1734" y="968"/>
                  </a:cubicBezTo>
                  <a:cubicBezTo>
                    <a:pt x="1735" y="970"/>
                    <a:pt x="1735" y="970"/>
                    <a:pt x="1737" y="972"/>
                  </a:cubicBezTo>
                  <a:cubicBezTo>
                    <a:pt x="1737" y="971"/>
                    <a:pt x="1737" y="969"/>
                    <a:pt x="1737" y="968"/>
                  </a:cubicBezTo>
                  <a:cubicBezTo>
                    <a:pt x="1741" y="970"/>
                    <a:pt x="1741" y="972"/>
                    <a:pt x="1742" y="975"/>
                  </a:cubicBezTo>
                  <a:cubicBezTo>
                    <a:pt x="1743" y="976"/>
                    <a:pt x="1743" y="977"/>
                    <a:pt x="1744" y="978"/>
                  </a:cubicBezTo>
                  <a:cubicBezTo>
                    <a:pt x="1746" y="978"/>
                    <a:pt x="1749" y="976"/>
                    <a:pt x="1749" y="978"/>
                  </a:cubicBezTo>
                  <a:cubicBezTo>
                    <a:pt x="1750" y="976"/>
                    <a:pt x="1751" y="974"/>
                    <a:pt x="1753" y="972"/>
                  </a:cubicBezTo>
                  <a:cubicBezTo>
                    <a:pt x="1753" y="972"/>
                    <a:pt x="1752" y="968"/>
                    <a:pt x="1754" y="973"/>
                  </a:cubicBezTo>
                  <a:cubicBezTo>
                    <a:pt x="1754" y="972"/>
                    <a:pt x="1755" y="970"/>
                    <a:pt x="1755" y="969"/>
                  </a:cubicBezTo>
                  <a:cubicBezTo>
                    <a:pt x="1756" y="971"/>
                    <a:pt x="1757" y="972"/>
                    <a:pt x="1757" y="973"/>
                  </a:cubicBezTo>
                  <a:cubicBezTo>
                    <a:pt x="1760" y="969"/>
                    <a:pt x="1761" y="968"/>
                    <a:pt x="1764" y="965"/>
                  </a:cubicBezTo>
                  <a:cubicBezTo>
                    <a:pt x="1765" y="965"/>
                    <a:pt x="1770" y="963"/>
                    <a:pt x="1767" y="962"/>
                  </a:cubicBezTo>
                  <a:cubicBezTo>
                    <a:pt x="1768" y="961"/>
                    <a:pt x="1770" y="961"/>
                    <a:pt x="1771" y="960"/>
                  </a:cubicBezTo>
                  <a:cubicBezTo>
                    <a:pt x="1770" y="960"/>
                    <a:pt x="1770" y="960"/>
                    <a:pt x="1769" y="960"/>
                  </a:cubicBezTo>
                  <a:cubicBezTo>
                    <a:pt x="1770" y="958"/>
                    <a:pt x="1776" y="956"/>
                    <a:pt x="1775" y="955"/>
                  </a:cubicBezTo>
                  <a:cubicBezTo>
                    <a:pt x="1776" y="955"/>
                    <a:pt x="1776" y="956"/>
                    <a:pt x="1777" y="956"/>
                  </a:cubicBezTo>
                  <a:cubicBezTo>
                    <a:pt x="1776" y="954"/>
                    <a:pt x="1775" y="953"/>
                    <a:pt x="1777" y="952"/>
                  </a:cubicBezTo>
                  <a:cubicBezTo>
                    <a:pt x="1774" y="952"/>
                    <a:pt x="1777" y="949"/>
                    <a:pt x="1777" y="948"/>
                  </a:cubicBezTo>
                  <a:cubicBezTo>
                    <a:pt x="1778" y="948"/>
                    <a:pt x="1781" y="949"/>
                    <a:pt x="1781" y="950"/>
                  </a:cubicBezTo>
                  <a:cubicBezTo>
                    <a:pt x="1782" y="949"/>
                    <a:pt x="1782" y="947"/>
                    <a:pt x="1782" y="946"/>
                  </a:cubicBezTo>
                  <a:cubicBezTo>
                    <a:pt x="1783" y="945"/>
                    <a:pt x="1783" y="945"/>
                    <a:pt x="1784" y="945"/>
                  </a:cubicBezTo>
                  <a:cubicBezTo>
                    <a:pt x="1786" y="944"/>
                    <a:pt x="1785" y="944"/>
                    <a:pt x="1785" y="946"/>
                  </a:cubicBezTo>
                  <a:cubicBezTo>
                    <a:pt x="1786" y="948"/>
                    <a:pt x="1784" y="951"/>
                    <a:pt x="1788" y="949"/>
                  </a:cubicBezTo>
                  <a:cubicBezTo>
                    <a:pt x="1789" y="951"/>
                    <a:pt x="1791" y="950"/>
                    <a:pt x="1792" y="951"/>
                  </a:cubicBezTo>
                  <a:cubicBezTo>
                    <a:pt x="1796" y="946"/>
                    <a:pt x="1794" y="946"/>
                    <a:pt x="1792" y="943"/>
                  </a:cubicBezTo>
                  <a:cubicBezTo>
                    <a:pt x="1795" y="945"/>
                    <a:pt x="1795" y="947"/>
                    <a:pt x="1799" y="946"/>
                  </a:cubicBezTo>
                  <a:cubicBezTo>
                    <a:pt x="1803" y="945"/>
                    <a:pt x="1808" y="944"/>
                    <a:pt x="1812" y="942"/>
                  </a:cubicBezTo>
                  <a:cubicBezTo>
                    <a:pt x="1826" y="937"/>
                    <a:pt x="1840" y="931"/>
                    <a:pt x="1854" y="926"/>
                  </a:cubicBezTo>
                  <a:cubicBezTo>
                    <a:pt x="1851" y="923"/>
                    <a:pt x="1847" y="921"/>
                    <a:pt x="1845" y="918"/>
                  </a:cubicBezTo>
                  <a:cubicBezTo>
                    <a:pt x="1844" y="917"/>
                    <a:pt x="1844" y="916"/>
                    <a:pt x="1843" y="916"/>
                  </a:cubicBezTo>
                  <a:cubicBezTo>
                    <a:pt x="1841" y="914"/>
                    <a:pt x="1835" y="916"/>
                    <a:pt x="1832" y="917"/>
                  </a:cubicBezTo>
                  <a:cubicBezTo>
                    <a:pt x="1832" y="915"/>
                    <a:pt x="1832" y="911"/>
                    <a:pt x="1832" y="909"/>
                  </a:cubicBezTo>
                  <a:cubicBezTo>
                    <a:pt x="1830" y="911"/>
                    <a:pt x="1827" y="913"/>
                    <a:pt x="1825" y="914"/>
                  </a:cubicBezTo>
                  <a:cubicBezTo>
                    <a:pt x="1823" y="915"/>
                    <a:pt x="1820" y="915"/>
                    <a:pt x="1821" y="916"/>
                  </a:cubicBezTo>
                  <a:cubicBezTo>
                    <a:pt x="1819" y="918"/>
                    <a:pt x="1816" y="918"/>
                    <a:pt x="1814" y="917"/>
                  </a:cubicBezTo>
                  <a:cubicBezTo>
                    <a:pt x="1813" y="916"/>
                    <a:pt x="1817" y="914"/>
                    <a:pt x="1813" y="913"/>
                  </a:cubicBezTo>
                  <a:cubicBezTo>
                    <a:pt x="1814" y="913"/>
                    <a:pt x="1814" y="913"/>
                    <a:pt x="1814" y="913"/>
                  </a:cubicBezTo>
                  <a:cubicBezTo>
                    <a:pt x="1810" y="913"/>
                    <a:pt x="1805" y="913"/>
                    <a:pt x="1800" y="914"/>
                  </a:cubicBezTo>
                  <a:cubicBezTo>
                    <a:pt x="1800" y="909"/>
                    <a:pt x="1786" y="907"/>
                    <a:pt x="1783" y="906"/>
                  </a:cubicBezTo>
                  <a:cubicBezTo>
                    <a:pt x="1784" y="904"/>
                    <a:pt x="1787" y="904"/>
                    <a:pt x="1789" y="903"/>
                  </a:cubicBezTo>
                  <a:cubicBezTo>
                    <a:pt x="1786" y="902"/>
                    <a:pt x="1783" y="902"/>
                    <a:pt x="1781" y="901"/>
                  </a:cubicBezTo>
                  <a:cubicBezTo>
                    <a:pt x="1779" y="901"/>
                    <a:pt x="1778" y="900"/>
                    <a:pt x="1776" y="899"/>
                  </a:cubicBezTo>
                  <a:cubicBezTo>
                    <a:pt x="1775" y="899"/>
                    <a:pt x="1772" y="899"/>
                    <a:pt x="1771" y="899"/>
                  </a:cubicBezTo>
                  <a:cubicBezTo>
                    <a:pt x="1771" y="896"/>
                    <a:pt x="1772" y="895"/>
                    <a:pt x="1768" y="897"/>
                  </a:cubicBezTo>
                  <a:cubicBezTo>
                    <a:pt x="1770" y="894"/>
                    <a:pt x="1769" y="893"/>
                    <a:pt x="1768" y="891"/>
                  </a:cubicBezTo>
                  <a:cubicBezTo>
                    <a:pt x="1767" y="890"/>
                    <a:pt x="1768" y="887"/>
                    <a:pt x="1767" y="886"/>
                  </a:cubicBezTo>
                  <a:cubicBezTo>
                    <a:pt x="1764" y="883"/>
                    <a:pt x="1762" y="882"/>
                    <a:pt x="1763" y="879"/>
                  </a:cubicBezTo>
                  <a:cubicBezTo>
                    <a:pt x="1764" y="878"/>
                    <a:pt x="1765" y="878"/>
                    <a:pt x="1765" y="877"/>
                  </a:cubicBezTo>
                  <a:cubicBezTo>
                    <a:pt x="1765" y="876"/>
                    <a:pt x="1765" y="875"/>
                    <a:pt x="1765" y="875"/>
                  </a:cubicBezTo>
                  <a:cubicBezTo>
                    <a:pt x="1760" y="874"/>
                    <a:pt x="1757" y="876"/>
                    <a:pt x="1752" y="874"/>
                  </a:cubicBezTo>
                  <a:cubicBezTo>
                    <a:pt x="1756" y="872"/>
                    <a:pt x="1761" y="869"/>
                    <a:pt x="1763" y="865"/>
                  </a:cubicBezTo>
                  <a:cubicBezTo>
                    <a:pt x="1763" y="863"/>
                    <a:pt x="1763" y="861"/>
                    <a:pt x="1764" y="860"/>
                  </a:cubicBezTo>
                  <a:cubicBezTo>
                    <a:pt x="1765" y="857"/>
                    <a:pt x="1766" y="857"/>
                    <a:pt x="1768" y="856"/>
                  </a:cubicBezTo>
                  <a:cubicBezTo>
                    <a:pt x="1762" y="855"/>
                    <a:pt x="1755" y="855"/>
                    <a:pt x="1750" y="856"/>
                  </a:cubicBezTo>
                  <a:cubicBezTo>
                    <a:pt x="1749" y="857"/>
                    <a:pt x="1746" y="857"/>
                    <a:pt x="1746" y="858"/>
                  </a:cubicBezTo>
                  <a:cubicBezTo>
                    <a:pt x="1744" y="856"/>
                    <a:pt x="1745" y="854"/>
                    <a:pt x="1743" y="852"/>
                  </a:cubicBezTo>
                  <a:cubicBezTo>
                    <a:pt x="1741" y="849"/>
                    <a:pt x="1734" y="848"/>
                    <a:pt x="1731" y="846"/>
                  </a:cubicBezTo>
                  <a:cubicBezTo>
                    <a:pt x="1733" y="845"/>
                    <a:pt x="1733" y="845"/>
                    <a:pt x="1733" y="845"/>
                  </a:cubicBezTo>
                  <a:cubicBezTo>
                    <a:pt x="1735" y="845"/>
                    <a:pt x="1735" y="845"/>
                    <a:pt x="1735" y="845"/>
                  </a:cubicBezTo>
                  <a:cubicBezTo>
                    <a:pt x="1735" y="845"/>
                    <a:pt x="1735" y="845"/>
                    <a:pt x="1735" y="845"/>
                  </a:cubicBezTo>
                  <a:cubicBezTo>
                    <a:pt x="1736" y="844"/>
                    <a:pt x="1736" y="844"/>
                    <a:pt x="1736" y="844"/>
                  </a:cubicBezTo>
                  <a:cubicBezTo>
                    <a:pt x="1737" y="844"/>
                    <a:pt x="1737" y="844"/>
                    <a:pt x="1737" y="844"/>
                  </a:cubicBezTo>
                  <a:cubicBezTo>
                    <a:pt x="1739" y="843"/>
                    <a:pt x="1739" y="843"/>
                    <a:pt x="1739" y="843"/>
                  </a:cubicBezTo>
                  <a:cubicBezTo>
                    <a:pt x="1740" y="843"/>
                    <a:pt x="1740" y="843"/>
                    <a:pt x="1740" y="843"/>
                  </a:cubicBezTo>
                  <a:cubicBezTo>
                    <a:pt x="1741" y="843"/>
                    <a:pt x="1741" y="843"/>
                    <a:pt x="1741" y="843"/>
                  </a:cubicBezTo>
                  <a:cubicBezTo>
                    <a:pt x="1741" y="843"/>
                    <a:pt x="1741" y="843"/>
                    <a:pt x="1741" y="843"/>
                  </a:cubicBezTo>
                  <a:cubicBezTo>
                    <a:pt x="1741" y="843"/>
                    <a:pt x="1741" y="843"/>
                    <a:pt x="1741" y="843"/>
                  </a:cubicBezTo>
                  <a:cubicBezTo>
                    <a:pt x="1741" y="843"/>
                    <a:pt x="1741" y="843"/>
                    <a:pt x="1741" y="843"/>
                  </a:cubicBezTo>
                  <a:cubicBezTo>
                    <a:pt x="1741" y="843"/>
                    <a:pt x="1741" y="843"/>
                    <a:pt x="1741" y="843"/>
                  </a:cubicBezTo>
                  <a:cubicBezTo>
                    <a:pt x="1741" y="844"/>
                    <a:pt x="1741" y="844"/>
                    <a:pt x="1741" y="844"/>
                  </a:cubicBezTo>
                  <a:cubicBezTo>
                    <a:pt x="1741" y="844"/>
                    <a:pt x="1741" y="844"/>
                    <a:pt x="1741" y="844"/>
                  </a:cubicBezTo>
                  <a:cubicBezTo>
                    <a:pt x="1741" y="844"/>
                    <a:pt x="1741" y="844"/>
                    <a:pt x="1741" y="844"/>
                  </a:cubicBezTo>
                  <a:cubicBezTo>
                    <a:pt x="1742" y="844"/>
                    <a:pt x="1742" y="844"/>
                    <a:pt x="1742" y="844"/>
                  </a:cubicBezTo>
                  <a:cubicBezTo>
                    <a:pt x="1742" y="844"/>
                    <a:pt x="1742" y="844"/>
                    <a:pt x="1742" y="844"/>
                  </a:cubicBezTo>
                  <a:cubicBezTo>
                    <a:pt x="1742" y="844"/>
                    <a:pt x="1742" y="844"/>
                    <a:pt x="1742" y="844"/>
                  </a:cubicBezTo>
                  <a:cubicBezTo>
                    <a:pt x="1742" y="844"/>
                    <a:pt x="1742" y="844"/>
                    <a:pt x="1742" y="844"/>
                  </a:cubicBezTo>
                  <a:cubicBezTo>
                    <a:pt x="1742" y="844"/>
                    <a:pt x="1742" y="844"/>
                    <a:pt x="1742" y="844"/>
                  </a:cubicBezTo>
                  <a:cubicBezTo>
                    <a:pt x="1743" y="844"/>
                    <a:pt x="1743" y="844"/>
                    <a:pt x="1743" y="844"/>
                  </a:cubicBezTo>
                  <a:cubicBezTo>
                    <a:pt x="1743" y="844"/>
                    <a:pt x="1743" y="844"/>
                    <a:pt x="1743" y="844"/>
                  </a:cubicBezTo>
                  <a:cubicBezTo>
                    <a:pt x="1743" y="844"/>
                    <a:pt x="1743" y="844"/>
                    <a:pt x="1743" y="844"/>
                  </a:cubicBezTo>
                  <a:cubicBezTo>
                    <a:pt x="1743" y="844"/>
                    <a:pt x="1743" y="844"/>
                    <a:pt x="1743" y="844"/>
                  </a:cubicBezTo>
                  <a:cubicBezTo>
                    <a:pt x="1743" y="844"/>
                    <a:pt x="1743" y="844"/>
                    <a:pt x="1743" y="844"/>
                  </a:cubicBezTo>
                  <a:cubicBezTo>
                    <a:pt x="1744" y="844"/>
                    <a:pt x="1744" y="844"/>
                    <a:pt x="1744" y="844"/>
                  </a:cubicBezTo>
                  <a:cubicBezTo>
                    <a:pt x="1744" y="844"/>
                    <a:pt x="1744" y="844"/>
                    <a:pt x="1744" y="844"/>
                  </a:cubicBezTo>
                  <a:cubicBezTo>
                    <a:pt x="1744" y="844"/>
                    <a:pt x="1744" y="844"/>
                    <a:pt x="1744" y="844"/>
                  </a:cubicBezTo>
                  <a:cubicBezTo>
                    <a:pt x="1744" y="845"/>
                    <a:pt x="1744" y="845"/>
                    <a:pt x="1744" y="845"/>
                  </a:cubicBezTo>
                  <a:cubicBezTo>
                    <a:pt x="1744" y="845"/>
                    <a:pt x="1744" y="845"/>
                    <a:pt x="1744" y="845"/>
                  </a:cubicBezTo>
                  <a:cubicBezTo>
                    <a:pt x="1745" y="845"/>
                    <a:pt x="1746" y="845"/>
                    <a:pt x="1747" y="845"/>
                  </a:cubicBezTo>
                  <a:cubicBezTo>
                    <a:pt x="1747" y="845"/>
                    <a:pt x="1747" y="845"/>
                    <a:pt x="1747" y="845"/>
                  </a:cubicBezTo>
                  <a:cubicBezTo>
                    <a:pt x="1747" y="846"/>
                    <a:pt x="1747" y="846"/>
                    <a:pt x="1747" y="846"/>
                  </a:cubicBezTo>
                  <a:cubicBezTo>
                    <a:pt x="1747" y="846"/>
                    <a:pt x="1747" y="846"/>
                    <a:pt x="1747" y="846"/>
                  </a:cubicBezTo>
                  <a:cubicBezTo>
                    <a:pt x="1747" y="846"/>
                    <a:pt x="1747" y="846"/>
                    <a:pt x="1747" y="846"/>
                  </a:cubicBezTo>
                  <a:cubicBezTo>
                    <a:pt x="1748" y="846"/>
                    <a:pt x="1748" y="846"/>
                    <a:pt x="1748" y="846"/>
                  </a:cubicBezTo>
                  <a:cubicBezTo>
                    <a:pt x="1748" y="846"/>
                    <a:pt x="1748" y="846"/>
                    <a:pt x="1748" y="846"/>
                  </a:cubicBezTo>
                  <a:cubicBezTo>
                    <a:pt x="1748" y="846"/>
                    <a:pt x="1748" y="846"/>
                    <a:pt x="1748" y="846"/>
                  </a:cubicBezTo>
                  <a:cubicBezTo>
                    <a:pt x="1748" y="846"/>
                    <a:pt x="1748" y="846"/>
                    <a:pt x="1748" y="846"/>
                  </a:cubicBezTo>
                  <a:cubicBezTo>
                    <a:pt x="1749" y="846"/>
                    <a:pt x="1749" y="846"/>
                    <a:pt x="1749" y="846"/>
                  </a:cubicBezTo>
                  <a:cubicBezTo>
                    <a:pt x="1749" y="846"/>
                    <a:pt x="1749" y="846"/>
                    <a:pt x="1749" y="846"/>
                  </a:cubicBezTo>
                  <a:cubicBezTo>
                    <a:pt x="1749" y="846"/>
                    <a:pt x="1749" y="846"/>
                    <a:pt x="1749" y="846"/>
                  </a:cubicBezTo>
                  <a:cubicBezTo>
                    <a:pt x="1749" y="846"/>
                    <a:pt x="1749" y="846"/>
                    <a:pt x="1749" y="846"/>
                  </a:cubicBezTo>
                  <a:cubicBezTo>
                    <a:pt x="1749" y="846"/>
                    <a:pt x="1749" y="846"/>
                    <a:pt x="1749" y="846"/>
                  </a:cubicBezTo>
                  <a:cubicBezTo>
                    <a:pt x="1749" y="846"/>
                    <a:pt x="1749" y="846"/>
                    <a:pt x="1749" y="846"/>
                  </a:cubicBezTo>
                  <a:cubicBezTo>
                    <a:pt x="1749" y="847"/>
                    <a:pt x="1749" y="847"/>
                    <a:pt x="1749" y="847"/>
                  </a:cubicBezTo>
                  <a:cubicBezTo>
                    <a:pt x="1749" y="847"/>
                    <a:pt x="1749" y="847"/>
                    <a:pt x="1749" y="847"/>
                  </a:cubicBezTo>
                  <a:cubicBezTo>
                    <a:pt x="1749" y="847"/>
                    <a:pt x="1749" y="847"/>
                    <a:pt x="1749" y="847"/>
                  </a:cubicBezTo>
                  <a:cubicBezTo>
                    <a:pt x="1749" y="847"/>
                    <a:pt x="1749" y="847"/>
                    <a:pt x="1749" y="847"/>
                  </a:cubicBezTo>
                  <a:cubicBezTo>
                    <a:pt x="1750" y="847"/>
                    <a:pt x="1750" y="847"/>
                    <a:pt x="1750" y="847"/>
                  </a:cubicBezTo>
                  <a:cubicBezTo>
                    <a:pt x="1750" y="848"/>
                    <a:pt x="1750" y="847"/>
                    <a:pt x="1750" y="847"/>
                  </a:cubicBezTo>
                  <a:cubicBezTo>
                    <a:pt x="1751" y="847"/>
                    <a:pt x="1751" y="847"/>
                    <a:pt x="1751" y="847"/>
                  </a:cubicBezTo>
                  <a:cubicBezTo>
                    <a:pt x="1751" y="847"/>
                    <a:pt x="1751" y="847"/>
                    <a:pt x="1751" y="847"/>
                  </a:cubicBezTo>
                  <a:cubicBezTo>
                    <a:pt x="1752" y="847"/>
                    <a:pt x="1752" y="847"/>
                    <a:pt x="1753" y="847"/>
                  </a:cubicBezTo>
                  <a:cubicBezTo>
                    <a:pt x="1753" y="847"/>
                    <a:pt x="1753" y="847"/>
                    <a:pt x="1753" y="847"/>
                  </a:cubicBezTo>
                  <a:cubicBezTo>
                    <a:pt x="1753" y="847"/>
                    <a:pt x="1753" y="847"/>
                    <a:pt x="1753" y="847"/>
                  </a:cubicBezTo>
                  <a:cubicBezTo>
                    <a:pt x="1753" y="847"/>
                    <a:pt x="1753" y="847"/>
                    <a:pt x="1753" y="847"/>
                  </a:cubicBezTo>
                  <a:cubicBezTo>
                    <a:pt x="1754" y="847"/>
                    <a:pt x="1754" y="847"/>
                    <a:pt x="1754" y="847"/>
                  </a:cubicBezTo>
                  <a:cubicBezTo>
                    <a:pt x="1754" y="847"/>
                    <a:pt x="1754" y="847"/>
                    <a:pt x="1754" y="847"/>
                  </a:cubicBezTo>
                  <a:cubicBezTo>
                    <a:pt x="1754" y="847"/>
                    <a:pt x="1754" y="847"/>
                    <a:pt x="1754" y="847"/>
                  </a:cubicBezTo>
                  <a:cubicBezTo>
                    <a:pt x="1755" y="847"/>
                    <a:pt x="1755" y="847"/>
                    <a:pt x="1755" y="847"/>
                  </a:cubicBezTo>
                  <a:cubicBezTo>
                    <a:pt x="1756" y="846"/>
                    <a:pt x="1756" y="846"/>
                    <a:pt x="1756" y="846"/>
                  </a:cubicBezTo>
                  <a:cubicBezTo>
                    <a:pt x="1760" y="843"/>
                    <a:pt x="1760" y="843"/>
                    <a:pt x="1760" y="843"/>
                  </a:cubicBezTo>
                  <a:cubicBezTo>
                    <a:pt x="1762" y="842"/>
                    <a:pt x="1762" y="842"/>
                    <a:pt x="1762" y="842"/>
                  </a:cubicBezTo>
                  <a:cubicBezTo>
                    <a:pt x="1765" y="841"/>
                    <a:pt x="1765" y="841"/>
                    <a:pt x="1765" y="841"/>
                  </a:cubicBezTo>
                  <a:cubicBezTo>
                    <a:pt x="1766" y="840"/>
                    <a:pt x="1766" y="840"/>
                    <a:pt x="1766" y="840"/>
                  </a:cubicBezTo>
                  <a:cubicBezTo>
                    <a:pt x="1766" y="840"/>
                    <a:pt x="1766" y="840"/>
                    <a:pt x="1766" y="840"/>
                  </a:cubicBezTo>
                  <a:cubicBezTo>
                    <a:pt x="1766" y="840"/>
                    <a:pt x="1766" y="840"/>
                    <a:pt x="1766" y="840"/>
                  </a:cubicBezTo>
                  <a:cubicBezTo>
                    <a:pt x="1766" y="840"/>
                    <a:pt x="1766" y="840"/>
                    <a:pt x="1766" y="840"/>
                  </a:cubicBezTo>
                  <a:cubicBezTo>
                    <a:pt x="1767" y="840"/>
                    <a:pt x="1767" y="840"/>
                    <a:pt x="1767" y="840"/>
                  </a:cubicBezTo>
                  <a:cubicBezTo>
                    <a:pt x="1767" y="839"/>
                    <a:pt x="1767" y="839"/>
                    <a:pt x="1767" y="839"/>
                  </a:cubicBezTo>
                  <a:cubicBezTo>
                    <a:pt x="1767" y="839"/>
                    <a:pt x="1767" y="839"/>
                    <a:pt x="1767" y="839"/>
                  </a:cubicBezTo>
                  <a:cubicBezTo>
                    <a:pt x="1767" y="839"/>
                    <a:pt x="1767" y="839"/>
                    <a:pt x="1767" y="839"/>
                  </a:cubicBezTo>
                  <a:cubicBezTo>
                    <a:pt x="1767" y="839"/>
                    <a:pt x="1767" y="839"/>
                    <a:pt x="1767" y="839"/>
                  </a:cubicBezTo>
                  <a:cubicBezTo>
                    <a:pt x="1767" y="839"/>
                    <a:pt x="1767" y="839"/>
                    <a:pt x="1767" y="839"/>
                  </a:cubicBezTo>
                  <a:cubicBezTo>
                    <a:pt x="1767" y="839"/>
                    <a:pt x="1767" y="839"/>
                    <a:pt x="1767" y="839"/>
                  </a:cubicBezTo>
                  <a:cubicBezTo>
                    <a:pt x="1767" y="838"/>
                    <a:pt x="1767" y="838"/>
                    <a:pt x="1767" y="838"/>
                  </a:cubicBezTo>
                  <a:cubicBezTo>
                    <a:pt x="1767" y="838"/>
                    <a:pt x="1767" y="838"/>
                    <a:pt x="1767" y="838"/>
                  </a:cubicBezTo>
                  <a:cubicBezTo>
                    <a:pt x="1768" y="838"/>
                    <a:pt x="1768" y="838"/>
                    <a:pt x="1768" y="838"/>
                  </a:cubicBezTo>
                  <a:cubicBezTo>
                    <a:pt x="1768" y="838"/>
                    <a:pt x="1768" y="838"/>
                    <a:pt x="1768" y="838"/>
                  </a:cubicBezTo>
                  <a:cubicBezTo>
                    <a:pt x="1767" y="838"/>
                    <a:pt x="1767" y="838"/>
                    <a:pt x="1767" y="838"/>
                  </a:cubicBezTo>
                  <a:cubicBezTo>
                    <a:pt x="1767" y="838"/>
                    <a:pt x="1767" y="838"/>
                    <a:pt x="1767" y="838"/>
                  </a:cubicBezTo>
                  <a:cubicBezTo>
                    <a:pt x="1767" y="838"/>
                    <a:pt x="1767" y="838"/>
                    <a:pt x="1767" y="838"/>
                  </a:cubicBezTo>
                  <a:cubicBezTo>
                    <a:pt x="1767" y="838"/>
                    <a:pt x="1767" y="838"/>
                    <a:pt x="1767" y="838"/>
                  </a:cubicBezTo>
                  <a:cubicBezTo>
                    <a:pt x="1767" y="838"/>
                    <a:pt x="1767" y="838"/>
                    <a:pt x="1767" y="838"/>
                  </a:cubicBezTo>
                  <a:cubicBezTo>
                    <a:pt x="1767" y="837"/>
                    <a:pt x="1767" y="837"/>
                    <a:pt x="1767" y="837"/>
                  </a:cubicBezTo>
                  <a:cubicBezTo>
                    <a:pt x="1768" y="837"/>
                    <a:pt x="1768" y="837"/>
                    <a:pt x="1768" y="837"/>
                  </a:cubicBezTo>
                  <a:cubicBezTo>
                    <a:pt x="1769" y="837"/>
                    <a:pt x="1769" y="837"/>
                    <a:pt x="1769" y="837"/>
                  </a:cubicBezTo>
                  <a:cubicBezTo>
                    <a:pt x="1770" y="837"/>
                    <a:pt x="1770" y="836"/>
                    <a:pt x="1771" y="836"/>
                  </a:cubicBezTo>
                  <a:cubicBezTo>
                    <a:pt x="1771" y="836"/>
                    <a:pt x="1771" y="836"/>
                    <a:pt x="1771" y="836"/>
                  </a:cubicBezTo>
                  <a:cubicBezTo>
                    <a:pt x="1771" y="836"/>
                    <a:pt x="1771" y="836"/>
                    <a:pt x="1771" y="836"/>
                  </a:cubicBezTo>
                  <a:cubicBezTo>
                    <a:pt x="1773" y="835"/>
                    <a:pt x="1775" y="835"/>
                    <a:pt x="1776" y="834"/>
                  </a:cubicBezTo>
                  <a:cubicBezTo>
                    <a:pt x="1776" y="834"/>
                    <a:pt x="1776" y="834"/>
                    <a:pt x="1776" y="834"/>
                  </a:cubicBezTo>
                  <a:cubicBezTo>
                    <a:pt x="1776" y="834"/>
                    <a:pt x="1776" y="834"/>
                    <a:pt x="1776" y="834"/>
                  </a:cubicBezTo>
                  <a:cubicBezTo>
                    <a:pt x="1776" y="834"/>
                    <a:pt x="1776" y="834"/>
                    <a:pt x="1776" y="834"/>
                  </a:cubicBezTo>
                  <a:cubicBezTo>
                    <a:pt x="1777" y="834"/>
                    <a:pt x="1777" y="834"/>
                    <a:pt x="1777" y="834"/>
                  </a:cubicBezTo>
                  <a:cubicBezTo>
                    <a:pt x="1777" y="833"/>
                    <a:pt x="1777" y="833"/>
                    <a:pt x="1777" y="833"/>
                  </a:cubicBezTo>
                  <a:cubicBezTo>
                    <a:pt x="1778" y="833"/>
                    <a:pt x="1778" y="833"/>
                    <a:pt x="1778" y="833"/>
                  </a:cubicBezTo>
                  <a:cubicBezTo>
                    <a:pt x="1778" y="833"/>
                    <a:pt x="1778" y="833"/>
                    <a:pt x="1778" y="833"/>
                  </a:cubicBezTo>
                  <a:cubicBezTo>
                    <a:pt x="1779" y="833"/>
                    <a:pt x="1779" y="833"/>
                    <a:pt x="1779" y="832"/>
                  </a:cubicBezTo>
                  <a:cubicBezTo>
                    <a:pt x="1779" y="832"/>
                    <a:pt x="1779" y="832"/>
                    <a:pt x="1779" y="832"/>
                  </a:cubicBezTo>
                  <a:cubicBezTo>
                    <a:pt x="1779" y="832"/>
                    <a:pt x="1779" y="832"/>
                    <a:pt x="1779" y="832"/>
                  </a:cubicBezTo>
                  <a:cubicBezTo>
                    <a:pt x="1779" y="832"/>
                    <a:pt x="1779" y="832"/>
                    <a:pt x="1779" y="832"/>
                  </a:cubicBezTo>
                  <a:cubicBezTo>
                    <a:pt x="1779" y="832"/>
                    <a:pt x="1779" y="832"/>
                    <a:pt x="1779" y="832"/>
                  </a:cubicBezTo>
                  <a:cubicBezTo>
                    <a:pt x="1779" y="832"/>
                    <a:pt x="1779" y="832"/>
                    <a:pt x="1779" y="832"/>
                  </a:cubicBezTo>
                  <a:cubicBezTo>
                    <a:pt x="1779" y="832"/>
                    <a:pt x="1779" y="832"/>
                    <a:pt x="1779" y="832"/>
                  </a:cubicBezTo>
                  <a:cubicBezTo>
                    <a:pt x="1779" y="832"/>
                    <a:pt x="1779" y="832"/>
                    <a:pt x="1779" y="832"/>
                  </a:cubicBezTo>
                  <a:cubicBezTo>
                    <a:pt x="1778" y="832"/>
                    <a:pt x="1778" y="832"/>
                    <a:pt x="1778" y="832"/>
                  </a:cubicBezTo>
                  <a:cubicBezTo>
                    <a:pt x="1778" y="832"/>
                    <a:pt x="1778" y="832"/>
                    <a:pt x="1778" y="832"/>
                  </a:cubicBezTo>
                  <a:cubicBezTo>
                    <a:pt x="1778" y="831"/>
                    <a:pt x="1778" y="831"/>
                    <a:pt x="1778" y="831"/>
                  </a:cubicBezTo>
                  <a:cubicBezTo>
                    <a:pt x="1778" y="831"/>
                    <a:pt x="1778" y="831"/>
                    <a:pt x="1778" y="831"/>
                  </a:cubicBezTo>
                  <a:cubicBezTo>
                    <a:pt x="1778" y="831"/>
                    <a:pt x="1778" y="831"/>
                    <a:pt x="1778" y="831"/>
                  </a:cubicBezTo>
                  <a:cubicBezTo>
                    <a:pt x="1778" y="831"/>
                    <a:pt x="1778" y="831"/>
                    <a:pt x="1778" y="831"/>
                  </a:cubicBezTo>
                  <a:cubicBezTo>
                    <a:pt x="1778" y="831"/>
                    <a:pt x="1778" y="831"/>
                    <a:pt x="1778" y="831"/>
                  </a:cubicBezTo>
                  <a:cubicBezTo>
                    <a:pt x="1777" y="831"/>
                    <a:pt x="1777" y="831"/>
                    <a:pt x="1777" y="831"/>
                  </a:cubicBezTo>
                  <a:cubicBezTo>
                    <a:pt x="1777" y="831"/>
                    <a:pt x="1777" y="831"/>
                    <a:pt x="1777" y="831"/>
                  </a:cubicBezTo>
                  <a:cubicBezTo>
                    <a:pt x="1777" y="831"/>
                    <a:pt x="1777" y="831"/>
                    <a:pt x="1777" y="831"/>
                  </a:cubicBezTo>
                  <a:cubicBezTo>
                    <a:pt x="1777" y="831"/>
                    <a:pt x="1777" y="831"/>
                    <a:pt x="1777" y="831"/>
                  </a:cubicBezTo>
                  <a:cubicBezTo>
                    <a:pt x="1777" y="829"/>
                    <a:pt x="1777" y="829"/>
                    <a:pt x="1779" y="829"/>
                  </a:cubicBezTo>
                  <a:cubicBezTo>
                    <a:pt x="1779" y="828"/>
                    <a:pt x="1779" y="828"/>
                    <a:pt x="1779" y="828"/>
                  </a:cubicBezTo>
                  <a:cubicBezTo>
                    <a:pt x="1779" y="828"/>
                    <a:pt x="1779" y="828"/>
                    <a:pt x="1779" y="828"/>
                  </a:cubicBezTo>
                  <a:cubicBezTo>
                    <a:pt x="1779" y="828"/>
                    <a:pt x="1779" y="828"/>
                    <a:pt x="1779" y="828"/>
                  </a:cubicBezTo>
                  <a:cubicBezTo>
                    <a:pt x="1779" y="828"/>
                    <a:pt x="1779" y="828"/>
                    <a:pt x="1779" y="828"/>
                  </a:cubicBezTo>
                  <a:cubicBezTo>
                    <a:pt x="1779" y="828"/>
                    <a:pt x="1779" y="828"/>
                    <a:pt x="1779" y="828"/>
                  </a:cubicBezTo>
                  <a:cubicBezTo>
                    <a:pt x="1778" y="828"/>
                    <a:pt x="1779" y="828"/>
                    <a:pt x="1778" y="827"/>
                  </a:cubicBezTo>
                  <a:cubicBezTo>
                    <a:pt x="1778" y="827"/>
                    <a:pt x="1778" y="827"/>
                    <a:pt x="1778" y="827"/>
                  </a:cubicBezTo>
                  <a:cubicBezTo>
                    <a:pt x="1778" y="827"/>
                    <a:pt x="1778" y="827"/>
                    <a:pt x="1778" y="827"/>
                  </a:cubicBezTo>
                  <a:cubicBezTo>
                    <a:pt x="1778" y="826"/>
                    <a:pt x="1778" y="826"/>
                    <a:pt x="1777" y="826"/>
                  </a:cubicBezTo>
                  <a:cubicBezTo>
                    <a:pt x="1777" y="826"/>
                    <a:pt x="1777" y="826"/>
                    <a:pt x="1777" y="826"/>
                  </a:cubicBezTo>
                  <a:cubicBezTo>
                    <a:pt x="1777" y="826"/>
                    <a:pt x="1777" y="826"/>
                    <a:pt x="1777" y="826"/>
                  </a:cubicBezTo>
                  <a:cubicBezTo>
                    <a:pt x="1777" y="826"/>
                    <a:pt x="1777" y="826"/>
                    <a:pt x="1777" y="826"/>
                  </a:cubicBezTo>
                  <a:cubicBezTo>
                    <a:pt x="1777" y="826"/>
                    <a:pt x="1777" y="826"/>
                    <a:pt x="1777" y="826"/>
                  </a:cubicBezTo>
                  <a:cubicBezTo>
                    <a:pt x="1776" y="825"/>
                    <a:pt x="1776" y="825"/>
                    <a:pt x="1776" y="825"/>
                  </a:cubicBezTo>
                  <a:cubicBezTo>
                    <a:pt x="1776" y="825"/>
                    <a:pt x="1776" y="825"/>
                    <a:pt x="1776" y="825"/>
                  </a:cubicBezTo>
                  <a:cubicBezTo>
                    <a:pt x="1775" y="825"/>
                    <a:pt x="1775" y="825"/>
                    <a:pt x="1775" y="825"/>
                  </a:cubicBezTo>
                  <a:cubicBezTo>
                    <a:pt x="1775" y="824"/>
                    <a:pt x="1775" y="824"/>
                    <a:pt x="1774" y="824"/>
                  </a:cubicBezTo>
                  <a:cubicBezTo>
                    <a:pt x="1774" y="824"/>
                    <a:pt x="1774" y="824"/>
                    <a:pt x="1774" y="824"/>
                  </a:cubicBezTo>
                  <a:cubicBezTo>
                    <a:pt x="1774" y="824"/>
                    <a:pt x="1774" y="824"/>
                    <a:pt x="1774" y="824"/>
                  </a:cubicBezTo>
                  <a:cubicBezTo>
                    <a:pt x="1774" y="824"/>
                    <a:pt x="1774" y="824"/>
                    <a:pt x="1774" y="824"/>
                  </a:cubicBezTo>
                  <a:cubicBezTo>
                    <a:pt x="1774" y="824"/>
                    <a:pt x="1774" y="824"/>
                    <a:pt x="1774" y="824"/>
                  </a:cubicBezTo>
                  <a:cubicBezTo>
                    <a:pt x="1774" y="824"/>
                    <a:pt x="1774" y="824"/>
                    <a:pt x="1774" y="824"/>
                  </a:cubicBezTo>
                  <a:cubicBezTo>
                    <a:pt x="1775" y="824"/>
                    <a:pt x="1775" y="823"/>
                    <a:pt x="1774" y="823"/>
                  </a:cubicBezTo>
                  <a:cubicBezTo>
                    <a:pt x="1774" y="823"/>
                    <a:pt x="1774" y="823"/>
                    <a:pt x="1774" y="823"/>
                  </a:cubicBezTo>
                  <a:cubicBezTo>
                    <a:pt x="1774" y="823"/>
                    <a:pt x="1774" y="823"/>
                    <a:pt x="1774" y="823"/>
                  </a:cubicBezTo>
                  <a:cubicBezTo>
                    <a:pt x="1773" y="823"/>
                    <a:pt x="1772" y="823"/>
                    <a:pt x="1771" y="823"/>
                  </a:cubicBezTo>
                  <a:cubicBezTo>
                    <a:pt x="1771" y="823"/>
                    <a:pt x="1771" y="823"/>
                    <a:pt x="1771" y="823"/>
                  </a:cubicBezTo>
                  <a:cubicBezTo>
                    <a:pt x="1771" y="823"/>
                    <a:pt x="1771" y="823"/>
                    <a:pt x="1771" y="823"/>
                  </a:cubicBezTo>
                  <a:cubicBezTo>
                    <a:pt x="1771" y="823"/>
                    <a:pt x="1771" y="823"/>
                    <a:pt x="1771" y="823"/>
                  </a:cubicBezTo>
                  <a:cubicBezTo>
                    <a:pt x="1773" y="822"/>
                    <a:pt x="1772" y="822"/>
                    <a:pt x="1771" y="822"/>
                  </a:cubicBezTo>
                  <a:cubicBezTo>
                    <a:pt x="1771" y="821"/>
                    <a:pt x="1771" y="821"/>
                    <a:pt x="1771" y="821"/>
                  </a:cubicBezTo>
                  <a:cubicBezTo>
                    <a:pt x="1771" y="821"/>
                    <a:pt x="1771" y="821"/>
                    <a:pt x="1771" y="821"/>
                  </a:cubicBezTo>
                  <a:cubicBezTo>
                    <a:pt x="1774" y="822"/>
                    <a:pt x="1777" y="823"/>
                    <a:pt x="1780" y="825"/>
                  </a:cubicBezTo>
                  <a:cubicBezTo>
                    <a:pt x="1780" y="825"/>
                    <a:pt x="1780" y="825"/>
                    <a:pt x="1780" y="825"/>
                  </a:cubicBezTo>
                  <a:cubicBezTo>
                    <a:pt x="1780" y="825"/>
                    <a:pt x="1780" y="825"/>
                    <a:pt x="1780" y="825"/>
                  </a:cubicBezTo>
                  <a:cubicBezTo>
                    <a:pt x="1780" y="824"/>
                    <a:pt x="1780" y="824"/>
                    <a:pt x="1780" y="824"/>
                  </a:cubicBezTo>
                  <a:cubicBezTo>
                    <a:pt x="1779" y="823"/>
                    <a:pt x="1779" y="823"/>
                    <a:pt x="1779" y="823"/>
                  </a:cubicBezTo>
                  <a:cubicBezTo>
                    <a:pt x="1779" y="822"/>
                    <a:pt x="1779" y="822"/>
                    <a:pt x="1779" y="822"/>
                  </a:cubicBezTo>
                  <a:cubicBezTo>
                    <a:pt x="1779" y="822"/>
                    <a:pt x="1779" y="822"/>
                    <a:pt x="1779" y="822"/>
                  </a:cubicBezTo>
                  <a:cubicBezTo>
                    <a:pt x="1779" y="822"/>
                    <a:pt x="1779" y="822"/>
                    <a:pt x="1779" y="822"/>
                  </a:cubicBezTo>
                  <a:cubicBezTo>
                    <a:pt x="1779" y="821"/>
                    <a:pt x="1779" y="821"/>
                    <a:pt x="1778" y="820"/>
                  </a:cubicBezTo>
                  <a:cubicBezTo>
                    <a:pt x="1778" y="820"/>
                    <a:pt x="1778" y="820"/>
                    <a:pt x="1778" y="820"/>
                  </a:cubicBezTo>
                  <a:cubicBezTo>
                    <a:pt x="1778" y="820"/>
                    <a:pt x="1778" y="820"/>
                    <a:pt x="1778" y="820"/>
                  </a:cubicBezTo>
                  <a:cubicBezTo>
                    <a:pt x="1777" y="820"/>
                    <a:pt x="1777" y="819"/>
                    <a:pt x="1776" y="819"/>
                  </a:cubicBezTo>
                  <a:cubicBezTo>
                    <a:pt x="1776" y="819"/>
                    <a:pt x="1776" y="819"/>
                    <a:pt x="1776" y="819"/>
                  </a:cubicBezTo>
                  <a:cubicBezTo>
                    <a:pt x="1776" y="819"/>
                    <a:pt x="1776" y="819"/>
                    <a:pt x="1776" y="819"/>
                  </a:cubicBezTo>
                  <a:cubicBezTo>
                    <a:pt x="1776" y="819"/>
                    <a:pt x="1776" y="819"/>
                    <a:pt x="1776" y="819"/>
                  </a:cubicBezTo>
                  <a:cubicBezTo>
                    <a:pt x="1776" y="818"/>
                    <a:pt x="1776" y="818"/>
                    <a:pt x="1776" y="818"/>
                  </a:cubicBezTo>
                  <a:cubicBezTo>
                    <a:pt x="1775" y="818"/>
                    <a:pt x="1775" y="818"/>
                    <a:pt x="1775" y="818"/>
                  </a:cubicBezTo>
                  <a:cubicBezTo>
                    <a:pt x="1775" y="817"/>
                    <a:pt x="1775" y="817"/>
                    <a:pt x="1775" y="817"/>
                  </a:cubicBezTo>
                  <a:cubicBezTo>
                    <a:pt x="1775" y="817"/>
                    <a:pt x="1775" y="817"/>
                    <a:pt x="1775" y="817"/>
                  </a:cubicBezTo>
                  <a:cubicBezTo>
                    <a:pt x="1774" y="817"/>
                    <a:pt x="1774" y="817"/>
                    <a:pt x="1773" y="816"/>
                  </a:cubicBezTo>
                  <a:cubicBezTo>
                    <a:pt x="1773" y="816"/>
                    <a:pt x="1773" y="816"/>
                    <a:pt x="1773" y="816"/>
                  </a:cubicBezTo>
                  <a:cubicBezTo>
                    <a:pt x="1773" y="816"/>
                    <a:pt x="1773" y="816"/>
                    <a:pt x="1773" y="816"/>
                  </a:cubicBezTo>
                  <a:cubicBezTo>
                    <a:pt x="1772" y="816"/>
                    <a:pt x="1772" y="816"/>
                    <a:pt x="1772" y="816"/>
                  </a:cubicBezTo>
                  <a:cubicBezTo>
                    <a:pt x="1772" y="816"/>
                    <a:pt x="1772" y="816"/>
                    <a:pt x="1772" y="816"/>
                  </a:cubicBezTo>
                  <a:cubicBezTo>
                    <a:pt x="1772" y="816"/>
                    <a:pt x="1772" y="816"/>
                    <a:pt x="1772" y="816"/>
                  </a:cubicBezTo>
                  <a:cubicBezTo>
                    <a:pt x="1769" y="813"/>
                    <a:pt x="1771" y="815"/>
                    <a:pt x="1767" y="814"/>
                  </a:cubicBezTo>
                  <a:cubicBezTo>
                    <a:pt x="1767" y="813"/>
                    <a:pt x="1767" y="813"/>
                    <a:pt x="1767" y="813"/>
                  </a:cubicBezTo>
                  <a:cubicBezTo>
                    <a:pt x="1767" y="813"/>
                    <a:pt x="1767" y="813"/>
                    <a:pt x="1767" y="813"/>
                  </a:cubicBezTo>
                  <a:cubicBezTo>
                    <a:pt x="1767" y="813"/>
                    <a:pt x="1767" y="813"/>
                    <a:pt x="1767" y="813"/>
                  </a:cubicBezTo>
                  <a:cubicBezTo>
                    <a:pt x="1766" y="813"/>
                    <a:pt x="1766" y="813"/>
                    <a:pt x="1765" y="812"/>
                  </a:cubicBezTo>
                  <a:cubicBezTo>
                    <a:pt x="1765" y="812"/>
                    <a:pt x="1765" y="812"/>
                    <a:pt x="1765" y="812"/>
                  </a:cubicBezTo>
                  <a:cubicBezTo>
                    <a:pt x="1765" y="812"/>
                    <a:pt x="1765" y="812"/>
                    <a:pt x="1765" y="812"/>
                  </a:cubicBezTo>
                  <a:cubicBezTo>
                    <a:pt x="1764" y="812"/>
                    <a:pt x="1763" y="812"/>
                    <a:pt x="1762" y="811"/>
                  </a:cubicBezTo>
                  <a:cubicBezTo>
                    <a:pt x="1762" y="811"/>
                    <a:pt x="1762" y="811"/>
                    <a:pt x="1762" y="811"/>
                  </a:cubicBezTo>
                  <a:cubicBezTo>
                    <a:pt x="1762" y="811"/>
                    <a:pt x="1762" y="811"/>
                    <a:pt x="1762" y="811"/>
                  </a:cubicBezTo>
                  <a:cubicBezTo>
                    <a:pt x="1762" y="811"/>
                    <a:pt x="1762" y="811"/>
                    <a:pt x="1762" y="811"/>
                  </a:cubicBezTo>
                  <a:cubicBezTo>
                    <a:pt x="1761" y="811"/>
                    <a:pt x="1761" y="811"/>
                    <a:pt x="1761" y="811"/>
                  </a:cubicBezTo>
                  <a:cubicBezTo>
                    <a:pt x="1761" y="811"/>
                    <a:pt x="1761" y="811"/>
                    <a:pt x="1761" y="811"/>
                  </a:cubicBezTo>
                  <a:cubicBezTo>
                    <a:pt x="1761" y="811"/>
                    <a:pt x="1761" y="811"/>
                    <a:pt x="1761" y="811"/>
                  </a:cubicBezTo>
                  <a:cubicBezTo>
                    <a:pt x="1761" y="811"/>
                    <a:pt x="1761" y="811"/>
                    <a:pt x="1761" y="811"/>
                  </a:cubicBezTo>
                  <a:cubicBezTo>
                    <a:pt x="1759" y="811"/>
                    <a:pt x="1758" y="810"/>
                    <a:pt x="1756" y="811"/>
                  </a:cubicBezTo>
                  <a:cubicBezTo>
                    <a:pt x="1755" y="811"/>
                    <a:pt x="1755" y="811"/>
                    <a:pt x="1755" y="811"/>
                  </a:cubicBezTo>
                  <a:cubicBezTo>
                    <a:pt x="1755" y="811"/>
                    <a:pt x="1755" y="811"/>
                    <a:pt x="1755" y="811"/>
                  </a:cubicBezTo>
                  <a:cubicBezTo>
                    <a:pt x="1753" y="810"/>
                    <a:pt x="1752" y="810"/>
                    <a:pt x="1750" y="810"/>
                  </a:cubicBezTo>
                  <a:cubicBezTo>
                    <a:pt x="1749" y="810"/>
                    <a:pt x="1749" y="810"/>
                    <a:pt x="1749" y="810"/>
                  </a:cubicBezTo>
                  <a:cubicBezTo>
                    <a:pt x="1749" y="810"/>
                    <a:pt x="1749" y="810"/>
                    <a:pt x="1749" y="810"/>
                  </a:cubicBezTo>
                  <a:cubicBezTo>
                    <a:pt x="1749" y="810"/>
                    <a:pt x="1749" y="810"/>
                    <a:pt x="1749" y="810"/>
                  </a:cubicBezTo>
                  <a:cubicBezTo>
                    <a:pt x="1746" y="810"/>
                    <a:pt x="1744" y="811"/>
                    <a:pt x="1741" y="811"/>
                  </a:cubicBezTo>
                  <a:cubicBezTo>
                    <a:pt x="1741" y="811"/>
                    <a:pt x="1741" y="811"/>
                    <a:pt x="1741" y="811"/>
                  </a:cubicBezTo>
                  <a:cubicBezTo>
                    <a:pt x="1740" y="811"/>
                    <a:pt x="1740" y="811"/>
                    <a:pt x="1740" y="811"/>
                  </a:cubicBezTo>
                  <a:cubicBezTo>
                    <a:pt x="1739" y="811"/>
                    <a:pt x="1737" y="811"/>
                    <a:pt x="1735" y="811"/>
                  </a:cubicBezTo>
                  <a:cubicBezTo>
                    <a:pt x="1735" y="811"/>
                    <a:pt x="1735" y="811"/>
                    <a:pt x="1735" y="811"/>
                  </a:cubicBezTo>
                  <a:cubicBezTo>
                    <a:pt x="1735" y="811"/>
                    <a:pt x="1735" y="811"/>
                    <a:pt x="1735" y="811"/>
                  </a:cubicBezTo>
                  <a:cubicBezTo>
                    <a:pt x="1735" y="811"/>
                    <a:pt x="1735" y="811"/>
                    <a:pt x="1735" y="811"/>
                  </a:cubicBezTo>
                  <a:cubicBezTo>
                    <a:pt x="1735" y="811"/>
                    <a:pt x="1735" y="811"/>
                    <a:pt x="1735" y="811"/>
                  </a:cubicBezTo>
                  <a:cubicBezTo>
                    <a:pt x="1734" y="811"/>
                    <a:pt x="1734" y="811"/>
                    <a:pt x="1734" y="811"/>
                  </a:cubicBezTo>
                  <a:cubicBezTo>
                    <a:pt x="1734" y="811"/>
                    <a:pt x="1734" y="811"/>
                    <a:pt x="1734" y="811"/>
                  </a:cubicBezTo>
                  <a:cubicBezTo>
                    <a:pt x="1734" y="811"/>
                    <a:pt x="1734" y="811"/>
                    <a:pt x="1734" y="811"/>
                  </a:cubicBezTo>
                  <a:cubicBezTo>
                    <a:pt x="1724" y="813"/>
                    <a:pt x="1716" y="817"/>
                    <a:pt x="1707" y="820"/>
                  </a:cubicBezTo>
                  <a:cubicBezTo>
                    <a:pt x="1707" y="820"/>
                    <a:pt x="1707" y="820"/>
                    <a:pt x="1707" y="820"/>
                  </a:cubicBezTo>
                  <a:cubicBezTo>
                    <a:pt x="1706" y="820"/>
                    <a:pt x="1706" y="820"/>
                    <a:pt x="1706" y="820"/>
                  </a:cubicBezTo>
                  <a:cubicBezTo>
                    <a:pt x="1706" y="820"/>
                    <a:pt x="1706" y="820"/>
                    <a:pt x="1706" y="820"/>
                  </a:cubicBezTo>
                  <a:cubicBezTo>
                    <a:pt x="1706" y="820"/>
                    <a:pt x="1706" y="820"/>
                    <a:pt x="1706" y="820"/>
                  </a:cubicBezTo>
                  <a:cubicBezTo>
                    <a:pt x="1705" y="821"/>
                    <a:pt x="1704" y="822"/>
                    <a:pt x="1703" y="822"/>
                  </a:cubicBezTo>
                  <a:cubicBezTo>
                    <a:pt x="1703" y="822"/>
                    <a:pt x="1703" y="822"/>
                    <a:pt x="1703" y="822"/>
                  </a:cubicBezTo>
                  <a:cubicBezTo>
                    <a:pt x="1703" y="822"/>
                    <a:pt x="1703" y="822"/>
                    <a:pt x="1703" y="822"/>
                  </a:cubicBezTo>
                  <a:cubicBezTo>
                    <a:pt x="1701" y="822"/>
                    <a:pt x="1701" y="822"/>
                    <a:pt x="1700" y="823"/>
                  </a:cubicBezTo>
                  <a:cubicBezTo>
                    <a:pt x="1699" y="823"/>
                    <a:pt x="1699" y="823"/>
                    <a:pt x="1699" y="823"/>
                  </a:cubicBezTo>
                  <a:cubicBezTo>
                    <a:pt x="1699" y="823"/>
                    <a:pt x="1699" y="823"/>
                    <a:pt x="1699" y="823"/>
                  </a:cubicBezTo>
                  <a:cubicBezTo>
                    <a:pt x="1699" y="823"/>
                    <a:pt x="1699" y="823"/>
                    <a:pt x="1699" y="823"/>
                  </a:cubicBezTo>
                  <a:cubicBezTo>
                    <a:pt x="1698" y="824"/>
                    <a:pt x="1696" y="825"/>
                    <a:pt x="1694" y="825"/>
                  </a:cubicBezTo>
                  <a:cubicBezTo>
                    <a:pt x="1694" y="825"/>
                    <a:pt x="1694" y="825"/>
                    <a:pt x="1694" y="825"/>
                  </a:cubicBezTo>
                  <a:cubicBezTo>
                    <a:pt x="1694" y="825"/>
                    <a:pt x="1694" y="825"/>
                    <a:pt x="1694" y="825"/>
                  </a:cubicBezTo>
                  <a:cubicBezTo>
                    <a:pt x="1694" y="826"/>
                    <a:pt x="1694" y="826"/>
                    <a:pt x="1694" y="826"/>
                  </a:cubicBezTo>
                  <a:cubicBezTo>
                    <a:pt x="1694" y="826"/>
                    <a:pt x="1694" y="826"/>
                    <a:pt x="1694" y="826"/>
                  </a:cubicBezTo>
                  <a:cubicBezTo>
                    <a:pt x="1694" y="826"/>
                    <a:pt x="1694" y="826"/>
                    <a:pt x="1694" y="826"/>
                  </a:cubicBezTo>
                  <a:cubicBezTo>
                    <a:pt x="1694" y="826"/>
                    <a:pt x="1694" y="826"/>
                    <a:pt x="1694" y="826"/>
                  </a:cubicBezTo>
                  <a:cubicBezTo>
                    <a:pt x="1690" y="828"/>
                    <a:pt x="1691" y="826"/>
                    <a:pt x="1689" y="827"/>
                  </a:cubicBezTo>
                  <a:cubicBezTo>
                    <a:pt x="1688" y="828"/>
                    <a:pt x="1688" y="828"/>
                    <a:pt x="1688" y="828"/>
                  </a:cubicBezTo>
                  <a:cubicBezTo>
                    <a:pt x="1687" y="828"/>
                    <a:pt x="1687" y="828"/>
                    <a:pt x="1687" y="828"/>
                  </a:cubicBezTo>
                  <a:cubicBezTo>
                    <a:pt x="1687" y="828"/>
                    <a:pt x="1687" y="828"/>
                    <a:pt x="1687" y="828"/>
                  </a:cubicBezTo>
                  <a:cubicBezTo>
                    <a:pt x="1686" y="828"/>
                    <a:pt x="1685" y="829"/>
                    <a:pt x="1684" y="829"/>
                  </a:cubicBezTo>
                  <a:cubicBezTo>
                    <a:pt x="1683" y="831"/>
                    <a:pt x="1683" y="831"/>
                    <a:pt x="1683" y="831"/>
                  </a:cubicBezTo>
                  <a:cubicBezTo>
                    <a:pt x="1682" y="831"/>
                    <a:pt x="1682" y="831"/>
                    <a:pt x="1682" y="831"/>
                  </a:cubicBezTo>
                  <a:cubicBezTo>
                    <a:pt x="1681" y="831"/>
                    <a:pt x="1681" y="831"/>
                    <a:pt x="1681" y="831"/>
                  </a:cubicBezTo>
                  <a:cubicBezTo>
                    <a:pt x="1681" y="831"/>
                    <a:pt x="1681" y="831"/>
                    <a:pt x="1681" y="831"/>
                  </a:cubicBezTo>
                  <a:cubicBezTo>
                    <a:pt x="1681" y="831"/>
                    <a:pt x="1681" y="831"/>
                    <a:pt x="1681" y="831"/>
                  </a:cubicBezTo>
                  <a:cubicBezTo>
                    <a:pt x="1681" y="831"/>
                    <a:pt x="1681" y="831"/>
                    <a:pt x="1681" y="831"/>
                  </a:cubicBezTo>
                  <a:cubicBezTo>
                    <a:pt x="1681" y="831"/>
                    <a:pt x="1681" y="831"/>
                    <a:pt x="1681" y="831"/>
                  </a:cubicBezTo>
                  <a:cubicBezTo>
                    <a:pt x="1680" y="832"/>
                    <a:pt x="1680" y="832"/>
                    <a:pt x="1680" y="832"/>
                  </a:cubicBezTo>
                  <a:cubicBezTo>
                    <a:pt x="1678" y="833"/>
                    <a:pt x="1678" y="833"/>
                    <a:pt x="1678" y="833"/>
                  </a:cubicBezTo>
                  <a:cubicBezTo>
                    <a:pt x="1675" y="835"/>
                    <a:pt x="1675" y="835"/>
                    <a:pt x="1675" y="835"/>
                  </a:cubicBezTo>
                  <a:cubicBezTo>
                    <a:pt x="1673" y="836"/>
                    <a:pt x="1673" y="836"/>
                    <a:pt x="1673" y="836"/>
                  </a:cubicBezTo>
                  <a:cubicBezTo>
                    <a:pt x="1672" y="837"/>
                    <a:pt x="1672" y="837"/>
                    <a:pt x="1672" y="837"/>
                  </a:cubicBezTo>
                  <a:cubicBezTo>
                    <a:pt x="1672" y="837"/>
                    <a:pt x="1672" y="837"/>
                    <a:pt x="1672" y="837"/>
                  </a:cubicBezTo>
                  <a:cubicBezTo>
                    <a:pt x="1672" y="837"/>
                    <a:pt x="1672" y="837"/>
                    <a:pt x="1672" y="837"/>
                  </a:cubicBezTo>
                  <a:cubicBezTo>
                    <a:pt x="1644" y="864"/>
                    <a:pt x="1644" y="864"/>
                    <a:pt x="1644" y="864"/>
                  </a:cubicBezTo>
                  <a:cubicBezTo>
                    <a:pt x="1643" y="864"/>
                    <a:pt x="1643" y="864"/>
                    <a:pt x="1643" y="864"/>
                  </a:cubicBezTo>
                  <a:cubicBezTo>
                    <a:pt x="1643" y="864"/>
                    <a:pt x="1643" y="864"/>
                    <a:pt x="1643" y="864"/>
                  </a:cubicBezTo>
                  <a:cubicBezTo>
                    <a:pt x="1643" y="864"/>
                    <a:pt x="1643" y="864"/>
                    <a:pt x="1643" y="864"/>
                  </a:cubicBezTo>
                  <a:cubicBezTo>
                    <a:pt x="1643" y="865"/>
                    <a:pt x="1643" y="865"/>
                    <a:pt x="1643" y="865"/>
                  </a:cubicBezTo>
                  <a:cubicBezTo>
                    <a:pt x="1643" y="865"/>
                    <a:pt x="1643" y="865"/>
                    <a:pt x="1643" y="865"/>
                  </a:cubicBezTo>
                  <a:cubicBezTo>
                    <a:pt x="1644" y="865"/>
                    <a:pt x="1644" y="865"/>
                    <a:pt x="1644" y="865"/>
                  </a:cubicBezTo>
                  <a:cubicBezTo>
                    <a:pt x="1644" y="865"/>
                    <a:pt x="1644" y="865"/>
                    <a:pt x="1644" y="865"/>
                  </a:cubicBezTo>
                  <a:cubicBezTo>
                    <a:pt x="1643" y="865"/>
                    <a:pt x="1643" y="865"/>
                    <a:pt x="1643" y="865"/>
                  </a:cubicBezTo>
                  <a:cubicBezTo>
                    <a:pt x="1643" y="865"/>
                    <a:pt x="1643" y="865"/>
                    <a:pt x="1643" y="865"/>
                  </a:cubicBezTo>
                  <a:cubicBezTo>
                    <a:pt x="1643" y="866"/>
                    <a:pt x="1643" y="866"/>
                    <a:pt x="1643" y="866"/>
                  </a:cubicBezTo>
                  <a:cubicBezTo>
                    <a:pt x="1643" y="866"/>
                    <a:pt x="1643" y="866"/>
                    <a:pt x="1643" y="866"/>
                  </a:cubicBezTo>
                  <a:cubicBezTo>
                    <a:pt x="1643" y="866"/>
                    <a:pt x="1643" y="866"/>
                    <a:pt x="1643" y="866"/>
                  </a:cubicBezTo>
                  <a:cubicBezTo>
                    <a:pt x="1643" y="866"/>
                    <a:pt x="1643" y="866"/>
                    <a:pt x="1643" y="866"/>
                  </a:cubicBezTo>
                  <a:cubicBezTo>
                    <a:pt x="1642" y="866"/>
                    <a:pt x="1642" y="866"/>
                    <a:pt x="1642" y="866"/>
                  </a:cubicBezTo>
                  <a:cubicBezTo>
                    <a:pt x="1642" y="867"/>
                    <a:pt x="1642" y="867"/>
                    <a:pt x="1642" y="867"/>
                  </a:cubicBezTo>
                  <a:cubicBezTo>
                    <a:pt x="1640" y="869"/>
                    <a:pt x="1640" y="869"/>
                    <a:pt x="1640" y="869"/>
                  </a:cubicBezTo>
                  <a:cubicBezTo>
                    <a:pt x="1639" y="869"/>
                    <a:pt x="1639" y="869"/>
                    <a:pt x="1639" y="869"/>
                  </a:cubicBezTo>
                  <a:cubicBezTo>
                    <a:pt x="1639" y="870"/>
                    <a:pt x="1639" y="870"/>
                    <a:pt x="1639" y="870"/>
                  </a:cubicBezTo>
                  <a:cubicBezTo>
                    <a:pt x="1638" y="870"/>
                    <a:pt x="1638" y="871"/>
                    <a:pt x="1637" y="872"/>
                  </a:cubicBezTo>
                  <a:cubicBezTo>
                    <a:pt x="1637" y="872"/>
                    <a:pt x="1637" y="872"/>
                    <a:pt x="1637" y="872"/>
                  </a:cubicBezTo>
                  <a:cubicBezTo>
                    <a:pt x="1637" y="872"/>
                    <a:pt x="1637" y="872"/>
                    <a:pt x="1637" y="872"/>
                  </a:cubicBezTo>
                  <a:cubicBezTo>
                    <a:pt x="1637" y="872"/>
                    <a:pt x="1637" y="872"/>
                    <a:pt x="1637" y="872"/>
                  </a:cubicBezTo>
                  <a:cubicBezTo>
                    <a:pt x="1636" y="873"/>
                    <a:pt x="1635" y="874"/>
                    <a:pt x="1634" y="875"/>
                  </a:cubicBezTo>
                  <a:cubicBezTo>
                    <a:pt x="1634" y="875"/>
                    <a:pt x="1634" y="875"/>
                    <a:pt x="1634" y="875"/>
                  </a:cubicBezTo>
                  <a:cubicBezTo>
                    <a:pt x="1633" y="876"/>
                    <a:pt x="1633" y="876"/>
                    <a:pt x="1633" y="876"/>
                  </a:cubicBezTo>
                  <a:cubicBezTo>
                    <a:pt x="1632" y="877"/>
                    <a:pt x="1632" y="877"/>
                    <a:pt x="1632" y="877"/>
                  </a:cubicBezTo>
                  <a:cubicBezTo>
                    <a:pt x="1630" y="877"/>
                    <a:pt x="1630" y="877"/>
                    <a:pt x="1630" y="877"/>
                  </a:cubicBezTo>
                  <a:cubicBezTo>
                    <a:pt x="1621" y="881"/>
                    <a:pt x="1621" y="881"/>
                    <a:pt x="1621" y="881"/>
                  </a:cubicBezTo>
                  <a:cubicBezTo>
                    <a:pt x="1622" y="882"/>
                    <a:pt x="1618" y="881"/>
                    <a:pt x="1618" y="882"/>
                  </a:cubicBezTo>
                  <a:cubicBezTo>
                    <a:pt x="1619" y="880"/>
                    <a:pt x="1619" y="880"/>
                    <a:pt x="1619" y="880"/>
                  </a:cubicBezTo>
                  <a:cubicBezTo>
                    <a:pt x="1620" y="878"/>
                    <a:pt x="1620" y="878"/>
                    <a:pt x="1620" y="878"/>
                  </a:cubicBezTo>
                  <a:cubicBezTo>
                    <a:pt x="1621" y="878"/>
                    <a:pt x="1622" y="877"/>
                    <a:pt x="1622" y="876"/>
                  </a:cubicBezTo>
                  <a:cubicBezTo>
                    <a:pt x="1623" y="876"/>
                    <a:pt x="1623" y="876"/>
                    <a:pt x="1623" y="876"/>
                  </a:cubicBezTo>
                  <a:cubicBezTo>
                    <a:pt x="1623" y="876"/>
                    <a:pt x="1623" y="876"/>
                    <a:pt x="1623" y="876"/>
                  </a:cubicBezTo>
                  <a:cubicBezTo>
                    <a:pt x="1625" y="874"/>
                    <a:pt x="1628" y="875"/>
                    <a:pt x="1629" y="872"/>
                  </a:cubicBezTo>
                  <a:cubicBezTo>
                    <a:pt x="1629" y="872"/>
                    <a:pt x="1629" y="872"/>
                    <a:pt x="1629" y="872"/>
                  </a:cubicBezTo>
                  <a:cubicBezTo>
                    <a:pt x="1629" y="872"/>
                    <a:pt x="1629" y="872"/>
                    <a:pt x="1629" y="872"/>
                  </a:cubicBezTo>
                  <a:cubicBezTo>
                    <a:pt x="1629" y="872"/>
                    <a:pt x="1629" y="872"/>
                    <a:pt x="1629" y="872"/>
                  </a:cubicBezTo>
                  <a:cubicBezTo>
                    <a:pt x="1629" y="871"/>
                    <a:pt x="1629" y="871"/>
                    <a:pt x="1629" y="871"/>
                  </a:cubicBezTo>
                  <a:cubicBezTo>
                    <a:pt x="1629" y="871"/>
                    <a:pt x="1629" y="871"/>
                    <a:pt x="1629" y="871"/>
                  </a:cubicBezTo>
                  <a:cubicBezTo>
                    <a:pt x="1630" y="871"/>
                    <a:pt x="1630" y="870"/>
                    <a:pt x="1630" y="870"/>
                  </a:cubicBezTo>
                  <a:cubicBezTo>
                    <a:pt x="1630" y="870"/>
                    <a:pt x="1630" y="870"/>
                    <a:pt x="1630" y="870"/>
                  </a:cubicBezTo>
                  <a:cubicBezTo>
                    <a:pt x="1630" y="870"/>
                    <a:pt x="1630" y="870"/>
                    <a:pt x="1630" y="870"/>
                  </a:cubicBezTo>
                  <a:cubicBezTo>
                    <a:pt x="1631" y="869"/>
                    <a:pt x="1631" y="869"/>
                    <a:pt x="1631" y="869"/>
                  </a:cubicBezTo>
                  <a:cubicBezTo>
                    <a:pt x="1631" y="868"/>
                    <a:pt x="1631" y="868"/>
                    <a:pt x="1631" y="868"/>
                  </a:cubicBezTo>
                  <a:cubicBezTo>
                    <a:pt x="1631" y="868"/>
                    <a:pt x="1631" y="868"/>
                    <a:pt x="1631" y="868"/>
                  </a:cubicBezTo>
                  <a:cubicBezTo>
                    <a:pt x="1631" y="868"/>
                    <a:pt x="1631" y="868"/>
                    <a:pt x="1631" y="868"/>
                  </a:cubicBezTo>
                  <a:cubicBezTo>
                    <a:pt x="1631" y="867"/>
                    <a:pt x="1633" y="866"/>
                    <a:pt x="1633" y="865"/>
                  </a:cubicBezTo>
                  <a:cubicBezTo>
                    <a:pt x="1633" y="865"/>
                    <a:pt x="1633" y="865"/>
                    <a:pt x="1633" y="865"/>
                  </a:cubicBezTo>
                  <a:cubicBezTo>
                    <a:pt x="1633" y="865"/>
                    <a:pt x="1633" y="865"/>
                    <a:pt x="1633" y="865"/>
                  </a:cubicBezTo>
                  <a:cubicBezTo>
                    <a:pt x="1633" y="864"/>
                    <a:pt x="1633" y="864"/>
                    <a:pt x="1633" y="864"/>
                  </a:cubicBezTo>
                  <a:cubicBezTo>
                    <a:pt x="1633" y="864"/>
                    <a:pt x="1633" y="864"/>
                    <a:pt x="1633" y="864"/>
                  </a:cubicBezTo>
                  <a:cubicBezTo>
                    <a:pt x="1635" y="863"/>
                    <a:pt x="1635" y="863"/>
                    <a:pt x="1635" y="863"/>
                  </a:cubicBezTo>
                  <a:cubicBezTo>
                    <a:pt x="1638" y="862"/>
                    <a:pt x="1638" y="862"/>
                    <a:pt x="1638" y="862"/>
                  </a:cubicBezTo>
                  <a:cubicBezTo>
                    <a:pt x="1639" y="861"/>
                    <a:pt x="1639" y="861"/>
                    <a:pt x="1639" y="861"/>
                  </a:cubicBezTo>
                  <a:cubicBezTo>
                    <a:pt x="1640" y="861"/>
                    <a:pt x="1640" y="861"/>
                    <a:pt x="1640" y="861"/>
                  </a:cubicBezTo>
                  <a:cubicBezTo>
                    <a:pt x="1640" y="861"/>
                    <a:pt x="1640" y="861"/>
                    <a:pt x="1640" y="861"/>
                  </a:cubicBezTo>
                  <a:cubicBezTo>
                    <a:pt x="1640" y="861"/>
                    <a:pt x="1640" y="861"/>
                    <a:pt x="1640" y="861"/>
                  </a:cubicBezTo>
                  <a:cubicBezTo>
                    <a:pt x="1640" y="860"/>
                    <a:pt x="1640" y="860"/>
                    <a:pt x="1640" y="860"/>
                  </a:cubicBezTo>
                  <a:cubicBezTo>
                    <a:pt x="1640" y="860"/>
                    <a:pt x="1640" y="860"/>
                    <a:pt x="1640" y="860"/>
                  </a:cubicBezTo>
                  <a:cubicBezTo>
                    <a:pt x="1640" y="860"/>
                    <a:pt x="1640" y="860"/>
                    <a:pt x="1640" y="860"/>
                  </a:cubicBezTo>
                  <a:cubicBezTo>
                    <a:pt x="1640" y="859"/>
                    <a:pt x="1640" y="859"/>
                    <a:pt x="1641" y="858"/>
                  </a:cubicBezTo>
                  <a:cubicBezTo>
                    <a:pt x="1641" y="858"/>
                    <a:pt x="1641" y="858"/>
                    <a:pt x="1641" y="858"/>
                  </a:cubicBezTo>
                  <a:cubicBezTo>
                    <a:pt x="1641" y="858"/>
                    <a:pt x="1641" y="858"/>
                    <a:pt x="1641" y="858"/>
                  </a:cubicBezTo>
                  <a:cubicBezTo>
                    <a:pt x="1641" y="858"/>
                    <a:pt x="1641" y="858"/>
                    <a:pt x="1641" y="858"/>
                  </a:cubicBezTo>
                  <a:cubicBezTo>
                    <a:pt x="1641" y="858"/>
                    <a:pt x="1641" y="858"/>
                    <a:pt x="1641" y="858"/>
                  </a:cubicBezTo>
                  <a:cubicBezTo>
                    <a:pt x="1641" y="858"/>
                    <a:pt x="1641" y="858"/>
                    <a:pt x="1641" y="858"/>
                  </a:cubicBezTo>
                  <a:cubicBezTo>
                    <a:pt x="1641" y="858"/>
                    <a:pt x="1641" y="858"/>
                    <a:pt x="1641" y="858"/>
                  </a:cubicBezTo>
                  <a:cubicBezTo>
                    <a:pt x="1641" y="858"/>
                    <a:pt x="1641" y="858"/>
                    <a:pt x="1641" y="858"/>
                  </a:cubicBezTo>
                  <a:cubicBezTo>
                    <a:pt x="1641" y="858"/>
                    <a:pt x="1641" y="858"/>
                    <a:pt x="1641" y="858"/>
                  </a:cubicBezTo>
                  <a:cubicBezTo>
                    <a:pt x="1642" y="857"/>
                    <a:pt x="1642" y="857"/>
                    <a:pt x="1642" y="857"/>
                  </a:cubicBezTo>
                  <a:cubicBezTo>
                    <a:pt x="1642" y="857"/>
                    <a:pt x="1644" y="857"/>
                    <a:pt x="1644" y="856"/>
                  </a:cubicBezTo>
                  <a:cubicBezTo>
                    <a:pt x="1644" y="856"/>
                    <a:pt x="1644" y="856"/>
                    <a:pt x="1644" y="856"/>
                  </a:cubicBezTo>
                  <a:cubicBezTo>
                    <a:pt x="1644" y="856"/>
                    <a:pt x="1644" y="856"/>
                    <a:pt x="1644" y="856"/>
                  </a:cubicBezTo>
                  <a:cubicBezTo>
                    <a:pt x="1645" y="856"/>
                    <a:pt x="1645" y="856"/>
                    <a:pt x="1645" y="856"/>
                  </a:cubicBezTo>
                  <a:cubicBezTo>
                    <a:pt x="1645" y="856"/>
                    <a:pt x="1645" y="856"/>
                    <a:pt x="1645" y="856"/>
                  </a:cubicBezTo>
                  <a:cubicBezTo>
                    <a:pt x="1645" y="855"/>
                    <a:pt x="1645" y="855"/>
                    <a:pt x="1645" y="855"/>
                  </a:cubicBezTo>
                  <a:cubicBezTo>
                    <a:pt x="1645" y="854"/>
                    <a:pt x="1646" y="855"/>
                    <a:pt x="1646" y="854"/>
                  </a:cubicBezTo>
                  <a:cubicBezTo>
                    <a:pt x="1646" y="854"/>
                    <a:pt x="1646" y="854"/>
                    <a:pt x="1646" y="854"/>
                  </a:cubicBezTo>
                  <a:cubicBezTo>
                    <a:pt x="1646" y="853"/>
                    <a:pt x="1646" y="853"/>
                    <a:pt x="1646" y="853"/>
                  </a:cubicBezTo>
                  <a:cubicBezTo>
                    <a:pt x="1647" y="853"/>
                    <a:pt x="1647" y="852"/>
                    <a:pt x="1647" y="851"/>
                  </a:cubicBezTo>
                  <a:cubicBezTo>
                    <a:pt x="1647" y="851"/>
                    <a:pt x="1647" y="851"/>
                    <a:pt x="1647" y="851"/>
                  </a:cubicBezTo>
                  <a:cubicBezTo>
                    <a:pt x="1648" y="851"/>
                    <a:pt x="1648" y="851"/>
                    <a:pt x="1648" y="851"/>
                  </a:cubicBezTo>
                  <a:cubicBezTo>
                    <a:pt x="1648" y="851"/>
                    <a:pt x="1648" y="851"/>
                    <a:pt x="1648" y="851"/>
                  </a:cubicBezTo>
                  <a:cubicBezTo>
                    <a:pt x="1648" y="851"/>
                    <a:pt x="1648" y="851"/>
                    <a:pt x="1648" y="851"/>
                  </a:cubicBezTo>
                  <a:cubicBezTo>
                    <a:pt x="1648" y="851"/>
                    <a:pt x="1648" y="851"/>
                    <a:pt x="1648" y="851"/>
                  </a:cubicBezTo>
                  <a:cubicBezTo>
                    <a:pt x="1648" y="850"/>
                    <a:pt x="1648" y="850"/>
                    <a:pt x="1648" y="850"/>
                  </a:cubicBezTo>
                  <a:cubicBezTo>
                    <a:pt x="1648" y="850"/>
                    <a:pt x="1648" y="849"/>
                    <a:pt x="1649" y="848"/>
                  </a:cubicBezTo>
                  <a:cubicBezTo>
                    <a:pt x="1649" y="848"/>
                    <a:pt x="1649" y="848"/>
                    <a:pt x="1649" y="848"/>
                  </a:cubicBezTo>
                  <a:cubicBezTo>
                    <a:pt x="1649" y="848"/>
                    <a:pt x="1649" y="848"/>
                    <a:pt x="1649" y="848"/>
                  </a:cubicBezTo>
                  <a:cubicBezTo>
                    <a:pt x="1649" y="848"/>
                    <a:pt x="1649" y="847"/>
                    <a:pt x="1649" y="847"/>
                  </a:cubicBezTo>
                  <a:cubicBezTo>
                    <a:pt x="1650" y="846"/>
                    <a:pt x="1650" y="846"/>
                    <a:pt x="1650" y="846"/>
                  </a:cubicBezTo>
                  <a:cubicBezTo>
                    <a:pt x="1650" y="846"/>
                    <a:pt x="1650" y="846"/>
                    <a:pt x="1650" y="846"/>
                  </a:cubicBezTo>
                  <a:cubicBezTo>
                    <a:pt x="1650" y="846"/>
                    <a:pt x="1650" y="846"/>
                    <a:pt x="1650" y="846"/>
                  </a:cubicBezTo>
                  <a:cubicBezTo>
                    <a:pt x="1650" y="845"/>
                    <a:pt x="1650" y="845"/>
                    <a:pt x="1651" y="844"/>
                  </a:cubicBezTo>
                  <a:cubicBezTo>
                    <a:pt x="1651" y="844"/>
                    <a:pt x="1651" y="844"/>
                    <a:pt x="1651" y="844"/>
                  </a:cubicBezTo>
                  <a:cubicBezTo>
                    <a:pt x="1650" y="844"/>
                    <a:pt x="1650" y="844"/>
                    <a:pt x="1650" y="844"/>
                  </a:cubicBezTo>
                  <a:cubicBezTo>
                    <a:pt x="1650" y="844"/>
                    <a:pt x="1649" y="844"/>
                    <a:pt x="1648" y="843"/>
                  </a:cubicBezTo>
                  <a:cubicBezTo>
                    <a:pt x="1648" y="843"/>
                    <a:pt x="1648" y="843"/>
                    <a:pt x="1648" y="843"/>
                  </a:cubicBezTo>
                  <a:cubicBezTo>
                    <a:pt x="1648" y="843"/>
                    <a:pt x="1648" y="843"/>
                    <a:pt x="1648" y="843"/>
                  </a:cubicBezTo>
                  <a:cubicBezTo>
                    <a:pt x="1648" y="843"/>
                    <a:pt x="1648" y="843"/>
                    <a:pt x="1648" y="843"/>
                  </a:cubicBezTo>
                  <a:cubicBezTo>
                    <a:pt x="1648" y="843"/>
                    <a:pt x="1648" y="843"/>
                    <a:pt x="1648" y="843"/>
                  </a:cubicBezTo>
                  <a:cubicBezTo>
                    <a:pt x="1647" y="843"/>
                    <a:pt x="1647" y="843"/>
                    <a:pt x="1647" y="843"/>
                  </a:cubicBezTo>
                  <a:cubicBezTo>
                    <a:pt x="1647" y="843"/>
                    <a:pt x="1647" y="843"/>
                    <a:pt x="1647" y="843"/>
                  </a:cubicBezTo>
                  <a:cubicBezTo>
                    <a:pt x="1647" y="843"/>
                    <a:pt x="1647" y="843"/>
                    <a:pt x="1647" y="843"/>
                  </a:cubicBezTo>
                  <a:cubicBezTo>
                    <a:pt x="1647" y="842"/>
                    <a:pt x="1647" y="842"/>
                    <a:pt x="1647" y="842"/>
                  </a:cubicBezTo>
                  <a:cubicBezTo>
                    <a:pt x="1647" y="842"/>
                    <a:pt x="1647" y="841"/>
                    <a:pt x="1646" y="841"/>
                  </a:cubicBezTo>
                  <a:cubicBezTo>
                    <a:pt x="1646" y="841"/>
                    <a:pt x="1646" y="841"/>
                    <a:pt x="1646" y="841"/>
                  </a:cubicBezTo>
                  <a:cubicBezTo>
                    <a:pt x="1646" y="841"/>
                    <a:pt x="1646" y="841"/>
                    <a:pt x="1646" y="841"/>
                  </a:cubicBezTo>
                  <a:cubicBezTo>
                    <a:pt x="1645" y="841"/>
                    <a:pt x="1644" y="840"/>
                    <a:pt x="1644" y="840"/>
                  </a:cubicBezTo>
                  <a:cubicBezTo>
                    <a:pt x="1643" y="840"/>
                    <a:pt x="1643" y="840"/>
                    <a:pt x="1643" y="840"/>
                  </a:cubicBezTo>
                  <a:cubicBezTo>
                    <a:pt x="1643" y="840"/>
                    <a:pt x="1643" y="840"/>
                    <a:pt x="1643" y="840"/>
                  </a:cubicBezTo>
                  <a:cubicBezTo>
                    <a:pt x="1643" y="840"/>
                    <a:pt x="1643" y="840"/>
                    <a:pt x="1643" y="840"/>
                  </a:cubicBezTo>
                  <a:cubicBezTo>
                    <a:pt x="1643" y="840"/>
                    <a:pt x="1643" y="840"/>
                    <a:pt x="1643" y="840"/>
                  </a:cubicBezTo>
                  <a:cubicBezTo>
                    <a:pt x="1642" y="840"/>
                    <a:pt x="1642" y="840"/>
                    <a:pt x="1642" y="840"/>
                  </a:cubicBezTo>
                  <a:cubicBezTo>
                    <a:pt x="1642" y="841"/>
                    <a:pt x="1642" y="841"/>
                    <a:pt x="1642" y="841"/>
                  </a:cubicBezTo>
                  <a:cubicBezTo>
                    <a:pt x="1642" y="841"/>
                    <a:pt x="1642" y="841"/>
                    <a:pt x="1642" y="841"/>
                  </a:cubicBezTo>
                  <a:cubicBezTo>
                    <a:pt x="1642" y="840"/>
                    <a:pt x="1642" y="840"/>
                    <a:pt x="1642" y="840"/>
                  </a:cubicBezTo>
                  <a:cubicBezTo>
                    <a:pt x="1641" y="840"/>
                    <a:pt x="1641" y="840"/>
                    <a:pt x="1641" y="840"/>
                  </a:cubicBezTo>
                  <a:cubicBezTo>
                    <a:pt x="1641" y="840"/>
                    <a:pt x="1641" y="840"/>
                    <a:pt x="1641" y="840"/>
                  </a:cubicBezTo>
                  <a:cubicBezTo>
                    <a:pt x="1641" y="840"/>
                    <a:pt x="1641" y="840"/>
                    <a:pt x="1641" y="840"/>
                  </a:cubicBezTo>
                  <a:cubicBezTo>
                    <a:pt x="1641" y="840"/>
                    <a:pt x="1641" y="840"/>
                    <a:pt x="1641" y="840"/>
                  </a:cubicBezTo>
                  <a:cubicBezTo>
                    <a:pt x="1640" y="840"/>
                    <a:pt x="1640" y="840"/>
                    <a:pt x="1640" y="840"/>
                  </a:cubicBezTo>
                  <a:cubicBezTo>
                    <a:pt x="1640" y="840"/>
                    <a:pt x="1640" y="840"/>
                    <a:pt x="1640" y="840"/>
                  </a:cubicBezTo>
                  <a:cubicBezTo>
                    <a:pt x="1640" y="840"/>
                    <a:pt x="1640" y="840"/>
                    <a:pt x="1640" y="840"/>
                  </a:cubicBezTo>
                  <a:cubicBezTo>
                    <a:pt x="1640" y="840"/>
                    <a:pt x="1640" y="840"/>
                    <a:pt x="1640" y="840"/>
                  </a:cubicBezTo>
                  <a:cubicBezTo>
                    <a:pt x="1640" y="840"/>
                    <a:pt x="1640" y="840"/>
                    <a:pt x="1640" y="840"/>
                  </a:cubicBezTo>
                  <a:cubicBezTo>
                    <a:pt x="1640" y="839"/>
                    <a:pt x="1639" y="839"/>
                    <a:pt x="1638" y="839"/>
                  </a:cubicBezTo>
                  <a:cubicBezTo>
                    <a:pt x="1638" y="839"/>
                    <a:pt x="1638" y="839"/>
                    <a:pt x="1638" y="839"/>
                  </a:cubicBezTo>
                  <a:cubicBezTo>
                    <a:pt x="1638" y="839"/>
                    <a:pt x="1638" y="839"/>
                    <a:pt x="1638" y="839"/>
                  </a:cubicBezTo>
                  <a:cubicBezTo>
                    <a:pt x="1638" y="839"/>
                    <a:pt x="1638" y="839"/>
                    <a:pt x="1638" y="839"/>
                  </a:cubicBezTo>
                  <a:cubicBezTo>
                    <a:pt x="1637" y="839"/>
                    <a:pt x="1637" y="839"/>
                    <a:pt x="1637" y="839"/>
                  </a:cubicBezTo>
                  <a:cubicBezTo>
                    <a:pt x="1637" y="839"/>
                    <a:pt x="1637" y="839"/>
                    <a:pt x="1637" y="839"/>
                  </a:cubicBezTo>
                  <a:cubicBezTo>
                    <a:pt x="1637" y="838"/>
                    <a:pt x="1637" y="838"/>
                    <a:pt x="1637" y="838"/>
                  </a:cubicBezTo>
                  <a:cubicBezTo>
                    <a:pt x="1637" y="838"/>
                    <a:pt x="1637" y="838"/>
                    <a:pt x="1637" y="838"/>
                  </a:cubicBezTo>
                  <a:cubicBezTo>
                    <a:pt x="1637" y="838"/>
                    <a:pt x="1637" y="838"/>
                    <a:pt x="1637" y="838"/>
                  </a:cubicBezTo>
                  <a:cubicBezTo>
                    <a:pt x="1637" y="838"/>
                    <a:pt x="1637" y="838"/>
                    <a:pt x="1637" y="838"/>
                  </a:cubicBezTo>
                  <a:cubicBezTo>
                    <a:pt x="1637" y="838"/>
                    <a:pt x="1637" y="838"/>
                    <a:pt x="1637" y="838"/>
                  </a:cubicBezTo>
                  <a:cubicBezTo>
                    <a:pt x="1637" y="838"/>
                    <a:pt x="1637" y="838"/>
                    <a:pt x="1637" y="838"/>
                  </a:cubicBezTo>
                  <a:cubicBezTo>
                    <a:pt x="1636" y="838"/>
                    <a:pt x="1636" y="838"/>
                    <a:pt x="1636" y="838"/>
                  </a:cubicBezTo>
                  <a:cubicBezTo>
                    <a:pt x="1636" y="838"/>
                    <a:pt x="1636" y="838"/>
                    <a:pt x="1636" y="838"/>
                  </a:cubicBezTo>
                  <a:cubicBezTo>
                    <a:pt x="1636" y="838"/>
                    <a:pt x="1636" y="838"/>
                    <a:pt x="1636" y="838"/>
                  </a:cubicBezTo>
                  <a:cubicBezTo>
                    <a:pt x="1636" y="838"/>
                    <a:pt x="1636" y="838"/>
                    <a:pt x="1636" y="838"/>
                  </a:cubicBezTo>
                  <a:cubicBezTo>
                    <a:pt x="1636" y="838"/>
                    <a:pt x="1636" y="838"/>
                    <a:pt x="1636" y="838"/>
                  </a:cubicBezTo>
                  <a:cubicBezTo>
                    <a:pt x="1635" y="838"/>
                    <a:pt x="1635" y="838"/>
                    <a:pt x="1635" y="838"/>
                  </a:cubicBezTo>
                  <a:cubicBezTo>
                    <a:pt x="1635" y="838"/>
                    <a:pt x="1635" y="838"/>
                    <a:pt x="1635" y="838"/>
                  </a:cubicBezTo>
                  <a:cubicBezTo>
                    <a:pt x="1635" y="837"/>
                    <a:pt x="1635" y="837"/>
                    <a:pt x="1635" y="837"/>
                  </a:cubicBezTo>
                  <a:cubicBezTo>
                    <a:pt x="1635" y="837"/>
                    <a:pt x="1635" y="837"/>
                    <a:pt x="1635" y="837"/>
                  </a:cubicBezTo>
                  <a:cubicBezTo>
                    <a:pt x="1634" y="837"/>
                    <a:pt x="1633" y="837"/>
                    <a:pt x="1632" y="837"/>
                  </a:cubicBezTo>
                  <a:cubicBezTo>
                    <a:pt x="1632" y="837"/>
                    <a:pt x="1632" y="837"/>
                    <a:pt x="1632" y="837"/>
                  </a:cubicBezTo>
                  <a:cubicBezTo>
                    <a:pt x="1632" y="837"/>
                    <a:pt x="1632" y="837"/>
                    <a:pt x="1632" y="837"/>
                  </a:cubicBezTo>
                  <a:cubicBezTo>
                    <a:pt x="1632" y="837"/>
                    <a:pt x="1632" y="837"/>
                    <a:pt x="1632" y="837"/>
                  </a:cubicBezTo>
                  <a:cubicBezTo>
                    <a:pt x="1632" y="837"/>
                    <a:pt x="1632" y="837"/>
                    <a:pt x="1632" y="837"/>
                  </a:cubicBezTo>
                  <a:cubicBezTo>
                    <a:pt x="1631" y="837"/>
                    <a:pt x="1630" y="837"/>
                    <a:pt x="1629" y="837"/>
                  </a:cubicBezTo>
                  <a:cubicBezTo>
                    <a:pt x="1629" y="837"/>
                    <a:pt x="1629" y="837"/>
                    <a:pt x="1629" y="837"/>
                  </a:cubicBezTo>
                  <a:cubicBezTo>
                    <a:pt x="1629" y="837"/>
                    <a:pt x="1629" y="837"/>
                    <a:pt x="1629" y="837"/>
                  </a:cubicBezTo>
                  <a:cubicBezTo>
                    <a:pt x="1628" y="837"/>
                    <a:pt x="1627" y="837"/>
                    <a:pt x="1626" y="837"/>
                  </a:cubicBezTo>
                  <a:cubicBezTo>
                    <a:pt x="1626" y="837"/>
                    <a:pt x="1626" y="837"/>
                    <a:pt x="1626" y="837"/>
                  </a:cubicBezTo>
                  <a:cubicBezTo>
                    <a:pt x="1625" y="838"/>
                    <a:pt x="1625" y="838"/>
                    <a:pt x="1625" y="838"/>
                  </a:cubicBezTo>
                  <a:cubicBezTo>
                    <a:pt x="1624" y="838"/>
                    <a:pt x="1624" y="838"/>
                    <a:pt x="1624" y="838"/>
                  </a:cubicBezTo>
                  <a:cubicBezTo>
                    <a:pt x="1624" y="838"/>
                    <a:pt x="1624" y="838"/>
                    <a:pt x="1624" y="838"/>
                  </a:cubicBezTo>
                  <a:cubicBezTo>
                    <a:pt x="1624" y="837"/>
                    <a:pt x="1624" y="837"/>
                    <a:pt x="1624" y="837"/>
                  </a:cubicBezTo>
                  <a:cubicBezTo>
                    <a:pt x="1624" y="837"/>
                    <a:pt x="1624" y="837"/>
                    <a:pt x="1624" y="837"/>
                  </a:cubicBezTo>
                  <a:cubicBezTo>
                    <a:pt x="1624" y="837"/>
                    <a:pt x="1624" y="837"/>
                    <a:pt x="1624" y="837"/>
                  </a:cubicBezTo>
                  <a:cubicBezTo>
                    <a:pt x="1624" y="837"/>
                    <a:pt x="1624" y="837"/>
                    <a:pt x="1624" y="837"/>
                  </a:cubicBezTo>
                  <a:cubicBezTo>
                    <a:pt x="1624" y="837"/>
                    <a:pt x="1624" y="837"/>
                    <a:pt x="1624" y="837"/>
                  </a:cubicBezTo>
                  <a:cubicBezTo>
                    <a:pt x="1625" y="837"/>
                    <a:pt x="1625" y="837"/>
                    <a:pt x="1625" y="837"/>
                  </a:cubicBezTo>
                  <a:cubicBezTo>
                    <a:pt x="1626" y="836"/>
                    <a:pt x="1626" y="836"/>
                    <a:pt x="1626" y="836"/>
                  </a:cubicBezTo>
                  <a:cubicBezTo>
                    <a:pt x="1626" y="836"/>
                    <a:pt x="1626" y="836"/>
                    <a:pt x="1626" y="836"/>
                  </a:cubicBezTo>
                  <a:cubicBezTo>
                    <a:pt x="1626" y="836"/>
                    <a:pt x="1626" y="836"/>
                    <a:pt x="1626" y="836"/>
                  </a:cubicBezTo>
                  <a:cubicBezTo>
                    <a:pt x="1626" y="835"/>
                    <a:pt x="1626" y="835"/>
                    <a:pt x="1626" y="835"/>
                  </a:cubicBezTo>
                  <a:cubicBezTo>
                    <a:pt x="1625" y="835"/>
                    <a:pt x="1625" y="835"/>
                    <a:pt x="1625" y="835"/>
                  </a:cubicBezTo>
                  <a:cubicBezTo>
                    <a:pt x="1625" y="835"/>
                    <a:pt x="1625" y="835"/>
                    <a:pt x="1624" y="835"/>
                  </a:cubicBezTo>
                  <a:cubicBezTo>
                    <a:pt x="1624" y="835"/>
                    <a:pt x="1624" y="835"/>
                    <a:pt x="1624" y="835"/>
                  </a:cubicBezTo>
                  <a:cubicBezTo>
                    <a:pt x="1624" y="835"/>
                    <a:pt x="1624" y="835"/>
                    <a:pt x="1624" y="835"/>
                  </a:cubicBezTo>
                  <a:cubicBezTo>
                    <a:pt x="1623" y="835"/>
                    <a:pt x="1623" y="835"/>
                    <a:pt x="1622" y="834"/>
                  </a:cubicBezTo>
                  <a:cubicBezTo>
                    <a:pt x="1622" y="834"/>
                    <a:pt x="1622" y="834"/>
                    <a:pt x="1622" y="834"/>
                  </a:cubicBezTo>
                  <a:cubicBezTo>
                    <a:pt x="1621" y="834"/>
                    <a:pt x="1621" y="834"/>
                    <a:pt x="1621" y="834"/>
                  </a:cubicBezTo>
                  <a:cubicBezTo>
                    <a:pt x="1621" y="834"/>
                    <a:pt x="1621" y="834"/>
                    <a:pt x="1621" y="834"/>
                  </a:cubicBezTo>
                  <a:cubicBezTo>
                    <a:pt x="1620" y="834"/>
                    <a:pt x="1620" y="834"/>
                    <a:pt x="1620" y="834"/>
                  </a:cubicBezTo>
                  <a:cubicBezTo>
                    <a:pt x="1621" y="834"/>
                    <a:pt x="1621" y="834"/>
                    <a:pt x="1621" y="834"/>
                  </a:cubicBezTo>
                  <a:cubicBezTo>
                    <a:pt x="1621" y="834"/>
                    <a:pt x="1621" y="834"/>
                    <a:pt x="1621" y="834"/>
                  </a:cubicBezTo>
                  <a:cubicBezTo>
                    <a:pt x="1621" y="834"/>
                    <a:pt x="1621" y="834"/>
                    <a:pt x="1621" y="834"/>
                  </a:cubicBezTo>
                  <a:cubicBezTo>
                    <a:pt x="1622" y="834"/>
                    <a:pt x="1622" y="834"/>
                    <a:pt x="1622" y="834"/>
                  </a:cubicBezTo>
                  <a:cubicBezTo>
                    <a:pt x="1622" y="834"/>
                    <a:pt x="1622" y="834"/>
                    <a:pt x="1622" y="834"/>
                  </a:cubicBezTo>
                  <a:cubicBezTo>
                    <a:pt x="1624" y="834"/>
                    <a:pt x="1625" y="835"/>
                    <a:pt x="1627" y="835"/>
                  </a:cubicBezTo>
                  <a:cubicBezTo>
                    <a:pt x="1628" y="835"/>
                    <a:pt x="1628" y="835"/>
                    <a:pt x="1628" y="835"/>
                  </a:cubicBezTo>
                  <a:cubicBezTo>
                    <a:pt x="1628" y="835"/>
                    <a:pt x="1628" y="835"/>
                    <a:pt x="1628" y="835"/>
                  </a:cubicBezTo>
                  <a:cubicBezTo>
                    <a:pt x="1628" y="836"/>
                    <a:pt x="1628" y="836"/>
                    <a:pt x="1629" y="836"/>
                  </a:cubicBezTo>
                  <a:cubicBezTo>
                    <a:pt x="1629" y="836"/>
                    <a:pt x="1629" y="836"/>
                    <a:pt x="1629" y="836"/>
                  </a:cubicBezTo>
                  <a:cubicBezTo>
                    <a:pt x="1629" y="836"/>
                    <a:pt x="1629" y="836"/>
                    <a:pt x="1629" y="836"/>
                  </a:cubicBezTo>
                  <a:cubicBezTo>
                    <a:pt x="1630" y="836"/>
                    <a:pt x="1630" y="836"/>
                    <a:pt x="1630" y="836"/>
                  </a:cubicBezTo>
                  <a:cubicBezTo>
                    <a:pt x="1631" y="836"/>
                    <a:pt x="1632" y="836"/>
                    <a:pt x="1633" y="836"/>
                  </a:cubicBezTo>
                  <a:cubicBezTo>
                    <a:pt x="1633" y="836"/>
                    <a:pt x="1633" y="836"/>
                    <a:pt x="1633" y="836"/>
                  </a:cubicBezTo>
                  <a:cubicBezTo>
                    <a:pt x="1633" y="836"/>
                    <a:pt x="1633" y="836"/>
                    <a:pt x="1633" y="836"/>
                  </a:cubicBezTo>
                  <a:cubicBezTo>
                    <a:pt x="1634" y="836"/>
                    <a:pt x="1634" y="836"/>
                    <a:pt x="1634" y="836"/>
                  </a:cubicBezTo>
                  <a:cubicBezTo>
                    <a:pt x="1634" y="837"/>
                    <a:pt x="1634" y="837"/>
                    <a:pt x="1634" y="837"/>
                  </a:cubicBezTo>
                  <a:cubicBezTo>
                    <a:pt x="1634" y="837"/>
                    <a:pt x="1634" y="837"/>
                    <a:pt x="1634" y="837"/>
                  </a:cubicBezTo>
                  <a:cubicBezTo>
                    <a:pt x="1635" y="837"/>
                    <a:pt x="1636" y="836"/>
                    <a:pt x="1636" y="837"/>
                  </a:cubicBezTo>
                  <a:cubicBezTo>
                    <a:pt x="1636" y="837"/>
                    <a:pt x="1636" y="837"/>
                    <a:pt x="1636" y="837"/>
                  </a:cubicBezTo>
                  <a:cubicBezTo>
                    <a:pt x="1637" y="837"/>
                    <a:pt x="1637" y="837"/>
                    <a:pt x="1637" y="837"/>
                  </a:cubicBezTo>
                  <a:cubicBezTo>
                    <a:pt x="1637" y="837"/>
                    <a:pt x="1637" y="837"/>
                    <a:pt x="1638" y="837"/>
                  </a:cubicBezTo>
                  <a:cubicBezTo>
                    <a:pt x="1638" y="837"/>
                    <a:pt x="1638" y="837"/>
                    <a:pt x="1638" y="837"/>
                  </a:cubicBezTo>
                  <a:cubicBezTo>
                    <a:pt x="1638" y="838"/>
                    <a:pt x="1638" y="838"/>
                    <a:pt x="1638" y="838"/>
                  </a:cubicBezTo>
                  <a:cubicBezTo>
                    <a:pt x="1638" y="838"/>
                    <a:pt x="1638" y="838"/>
                    <a:pt x="1638" y="838"/>
                  </a:cubicBezTo>
                  <a:cubicBezTo>
                    <a:pt x="1640" y="838"/>
                    <a:pt x="1639" y="838"/>
                    <a:pt x="1641" y="839"/>
                  </a:cubicBezTo>
                  <a:cubicBezTo>
                    <a:pt x="1641" y="839"/>
                    <a:pt x="1641" y="839"/>
                    <a:pt x="1641" y="839"/>
                  </a:cubicBezTo>
                  <a:cubicBezTo>
                    <a:pt x="1641" y="839"/>
                    <a:pt x="1641" y="839"/>
                    <a:pt x="1641" y="839"/>
                  </a:cubicBezTo>
                  <a:cubicBezTo>
                    <a:pt x="1641" y="839"/>
                    <a:pt x="1641" y="839"/>
                    <a:pt x="1641" y="839"/>
                  </a:cubicBezTo>
                  <a:cubicBezTo>
                    <a:pt x="1641" y="839"/>
                    <a:pt x="1641" y="839"/>
                    <a:pt x="1641" y="839"/>
                  </a:cubicBezTo>
                  <a:cubicBezTo>
                    <a:pt x="1642" y="839"/>
                    <a:pt x="1642" y="839"/>
                    <a:pt x="1642" y="839"/>
                  </a:cubicBezTo>
                  <a:cubicBezTo>
                    <a:pt x="1642" y="839"/>
                    <a:pt x="1642" y="839"/>
                    <a:pt x="1642" y="839"/>
                  </a:cubicBezTo>
                  <a:cubicBezTo>
                    <a:pt x="1643" y="840"/>
                    <a:pt x="1644" y="839"/>
                    <a:pt x="1645" y="839"/>
                  </a:cubicBezTo>
                  <a:cubicBezTo>
                    <a:pt x="1645" y="839"/>
                    <a:pt x="1645" y="839"/>
                    <a:pt x="1645" y="839"/>
                  </a:cubicBezTo>
                  <a:cubicBezTo>
                    <a:pt x="1645" y="839"/>
                    <a:pt x="1645" y="839"/>
                    <a:pt x="1645" y="839"/>
                  </a:cubicBezTo>
                  <a:cubicBezTo>
                    <a:pt x="1645" y="839"/>
                    <a:pt x="1645" y="839"/>
                    <a:pt x="1645" y="839"/>
                  </a:cubicBezTo>
                  <a:cubicBezTo>
                    <a:pt x="1646" y="840"/>
                    <a:pt x="1646" y="840"/>
                    <a:pt x="1646" y="840"/>
                  </a:cubicBezTo>
                  <a:cubicBezTo>
                    <a:pt x="1646" y="840"/>
                    <a:pt x="1646" y="840"/>
                    <a:pt x="1646" y="840"/>
                  </a:cubicBezTo>
                  <a:cubicBezTo>
                    <a:pt x="1646" y="840"/>
                    <a:pt x="1646" y="840"/>
                    <a:pt x="1646" y="840"/>
                  </a:cubicBezTo>
                  <a:cubicBezTo>
                    <a:pt x="1647" y="840"/>
                    <a:pt x="1647" y="840"/>
                    <a:pt x="1647" y="841"/>
                  </a:cubicBezTo>
                  <a:cubicBezTo>
                    <a:pt x="1647" y="841"/>
                    <a:pt x="1647" y="841"/>
                    <a:pt x="1647" y="841"/>
                  </a:cubicBezTo>
                  <a:cubicBezTo>
                    <a:pt x="1647" y="841"/>
                    <a:pt x="1647" y="841"/>
                    <a:pt x="1647" y="841"/>
                  </a:cubicBezTo>
                  <a:cubicBezTo>
                    <a:pt x="1647" y="841"/>
                    <a:pt x="1647" y="841"/>
                    <a:pt x="1647" y="841"/>
                  </a:cubicBezTo>
                  <a:cubicBezTo>
                    <a:pt x="1648" y="841"/>
                    <a:pt x="1648" y="841"/>
                    <a:pt x="1648" y="841"/>
                  </a:cubicBezTo>
                  <a:cubicBezTo>
                    <a:pt x="1648" y="841"/>
                    <a:pt x="1648" y="841"/>
                    <a:pt x="1648" y="841"/>
                  </a:cubicBezTo>
                  <a:cubicBezTo>
                    <a:pt x="1648" y="842"/>
                    <a:pt x="1649" y="843"/>
                    <a:pt x="1650" y="843"/>
                  </a:cubicBezTo>
                  <a:cubicBezTo>
                    <a:pt x="1650" y="843"/>
                    <a:pt x="1650" y="843"/>
                    <a:pt x="1650" y="843"/>
                  </a:cubicBezTo>
                  <a:cubicBezTo>
                    <a:pt x="1650" y="843"/>
                    <a:pt x="1650" y="843"/>
                    <a:pt x="1650" y="843"/>
                  </a:cubicBezTo>
                  <a:cubicBezTo>
                    <a:pt x="1650" y="843"/>
                    <a:pt x="1650" y="843"/>
                    <a:pt x="1650" y="843"/>
                  </a:cubicBezTo>
                  <a:cubicBezTo>
                    <a:pt x="1651" y="843"/>
                    <a:pt x="1651" y="843"/>
                    <a:pt x="1651" y="843"/>
                  </a:cubicBezTo>
                  <a:cubicBezTo>
                    <a:pt x="1652" y="843"/>
                    <a:pt x="1652" y="843"/>
                    <a:pt x="1652" y="843"/>
                  </a:cubicBezTo>
                  <a:cubicBezTo>
                    <a:pt x="1653" y="842"/>
                    <a:pt x="1653" y="842"/>
                    <a:pt x="1653" y="842"/>
                  </a:cubicBezTo>
                  <a:cubicBezTo>
                    <a:pt x="1656" y="840"/>
                    <a:pt x="1656" y="840"/>
                    <a:pt x="1656" y="840"/>
                  </a:cubicBezTo>
                  <a:cubicBezTo>
                    <a:pt x="1657" y="839"/>
                    <a:pt x="1657" y="839"/>
                    <a:pt x="1657" y="839"/>
                  </a:cubicBezTo>
                  <a:cubicBezTo>
                    <a:pt x="1658" y="838"/>
                    <a:pt x="1658" y="838"/>
                    <a:pt x="1658" y="838"/>
                  </a:cubicBezTo>
                  <a:cubicBezTo>
                    <a:pt x="1658" y="838"/>
                    <a:pt x="1658" y="838"/>
                    <a:pt x="1658" y="838"/>
                  </a:cubicBezTo>
                  <a:cubicBezTo>
                    <a:pt x="1658" y="838"/>
                    <a:pt x="1658" y="838"/>
                    <a:pt x="1658" y="838"/>
                  </a:cubicBezTo>
                  <a:cubicBezTo>
                    <a:pt x="1658" y="837"/>
                    <a:pt x="1658" y="837"/>
                    <a:pt x="1658" y="837"/>
                  </a:cubicBezTo>
                  <a:cubicBezTo>
                    <a:pt x="1658" y="837"/>
                    <a:pt x="1658" y="837"/>
                    <a:pt x="1658" y="837"/>
                  </a:cubicBezTo>
                  <a:cubicBezTo>
                    <a:pt x="1658" y="837"/>
                    <a:pt x="1658" y="837"/>
                    <a:pt x="1658" y="837"/>
                  </a:cubicBezTo>
                  <a:cubicBezTo>
                    <a:pt x="1658" y="837"/>
                    <a:pt x="1658" y="837"/>
                    <a:pt x="1658" y="837"/>
                  </a:cubicBezTo>
                  <a:cubicBezTo>
                    <a:pt x="1658" y="837"/>
                    <a:pt x="1658" y="837"/>
                    <a:pt x="1658" y="837"/>
                  </a:cubicBezTo>
                  <a:cubicBezTo>
                    <a:pt x="1658" y="837"/>
                    <a:pt x="1658" y="837"/>
                    <a:pt x="1658" y="837"/>
                  </a:cubicBezTo>
                  <a:cubicBezTo>
                    <a:pt x="1659" y="837"/>
                    <a:pt x="1659" y="837"/>
                    <a:pt x="1659" y="837"/>
                  </a:cubicBezTo>
                  <a:cubicBezTo>
                    <a:pt x="1659" y="836"/>
                    <a:pt x="1659" y="836"/>
                    <a:pt x="1659" y="836"/>
                  </a:cubicBezTo>
                  <a:cubicBezTo>
                    <a:pt x="1659" y="836"/>
                    <a:pt x="1659" y="836"/>
                    <a:pt x="1659" y="836"/>
                  </a:cubicBezTo>
                  <a:cubicBezTo>
                    <a:pt x="1659" y="836"/>
                    <a:pt x="1659" y="836"/>
                    <a:pt x="1659" y="836"/>
                  </a:cubicBezTo>
                  <a:cubicBezTo>
                    <a:pt x="1659" y="836"/>
                    <a:pt x="1659" y="836"/>
                    <a:pt x="1659" y="836"/>
                  </a:cubicBezTo>
                  <a:cubicBezTo>
                    <a:pt x="1659" y="836"/>
                    <a:pt x="1660" y="836"/>
                    <a:pt x="1660" y="835"/>
                  </a:cubicBezTo>
                  <a:cubicBezTo>
                    <a:pt x="1660" y="835"/>
                    <a:pt x="1660" y="835"/>
                    <a:pt x="1660" y="835"/>
                  </a:cubicBezTo>
                  <a:cubicBezTo>
                    <a:pt x="1660" y="835"/>
                    <a:pt x="1660" y="835"/>
                    <a:pt x="1660" y="835"/>
                  </a:cubicBezTo>
                  <a:cubicBezTo>
                    <a:pt x="1660" y="835"/>
                    <a:pt x="1660" y="834"/>
                    <a:pt x="1661" y="834"/>
                  </a:cubicBezTo>
                  <a:cubicBezTo>
                    <a:pt x="1661" y="834"/>
                    <a:pt x="1661" y="834"/>
                    <a:pt x="1661" y="834"/>
                  </a:cubicBezTo>
                  <a:cubicBezTo>
                    <a:pt x="1661" y="834"/>
                    <a:pt x="1661" y="834"/>
                    <a:pt x="1661" y="834"/>
                  </a:cubicBezTo>
                  <a:cubicBezTo>
                    <a:pt x="1661" y="834"/>
                    <a:pt x="1661" y="834"/>
                    <a:pt x="1661" y="834"/>
                  </a:cubicBezTo>
                  <a:cubicBezTo>
                    <a:pt x="1661" y="833"/>
                    <a:pt x="1661" y="833"/>
                    <a:pt x="1662" y="831"/>
                  </a:cubicBezTo>
                  <a:cubicBezTo>
                    <a:pt x="1662" y="831"/>
                    <a:pt x="1662" y="831"/>
                    <a:pt x="1662" y="831"/>
                  </a:cubicBezTo>
                  <a:cubicBezTo>
                    <a:pt x="1662" y="831"/>
                    <a:pt x="1662" y="831"/>
                    <a:pt x="1662" y="831"/>
                  </a:cubicBezTo>
                  <a:cubicBezTo>
                    <a:pt x="1662" y="831"/>
                    <a:pt x="1662" y="831"/>
                    <a:pt x="1662" y="831"/>
                  </a:cubicBezTo>
                  <a:cubicBezTo>
                    <a:pt x="1662" y="831"/>
                    <a:pt x="1662" y="831"/>
                    <a:pt x="1662" y="831"/>
                  </a:cubicBezTo>
                  <a:cubicBezTo>
                    <a:pt x="1662" y="831"/>
                    <a:pt x="1662" y="831"/>
                    <a:pt x="1662" y="831"/>
                  </a:cubicBezTo>
                  <a:cubicBezTo>
                    <a:pt x="1662" y="830"/>
                    <a:pt x="1662" y="830"/>
                    <a:pt x="1662" y="830"/>
                  </a:cubicBezTo>
                  <a:cubicBezTo>
                    <a:pt x="1662" y="830"/>
                    <a:pt x="1662" y="830"/>
                    <a:pt x="1662" y="830"/>
                  </a:cubicBezTo>
                  <a:cubicBezTo>
                    <a:pt x="1663" y="830"/>
                    <a:pt x="1663" y="830"/>
                    <a:pt x="1663" y="830"/>
                  </a:cubicBezTo>
                  <a:cubicBezTo>
                    <a:pt x="1663" y="830"/>
                    <a:pt x="1663" y="830"/>
                    <a:pt x="1663" y="830"/>
                  </a:cubicBezTo>
                  <a:cubicBezTo>
                    <a:pt x="1664" y="829"/>
                    <a:pt x="1664" y="829"/>
                    <a:pt x="1664" y="829"/>
                  </a:cubicBezTo>
                  <a:cubicBezTo>
                    <a:pt x="1665" y="829"/>
                    <a:pt x="1665" y="829"/>
                    <a:pt x="1665" y="829"/>
                  </a:cubicBezTo>
                  <a:cubicBezTo>
                    <a:pt x="1665" y="829"/>
                    <a:pt x="1665" y="829"/>
                    <a:pt x="1665" y="829"/>
                  </a:cubicBezTo>
                  <a:cubicBezTo>
                    <a:pt x="1665" y="828"/>
                    <a:pt x="1665" y="828"/>
                    <a:pt x="1665" y="828"/>
                  </a:cubicBezTo>
                  <a:cubicBezTo>
                    <a:pt x="1665" y="828"/>
                    <a:pt x="1665" y="828"/>
                    <a:pt x="1665" y="827"/>
                  </a:cubicBezTo>
                  <a:cubicBezTo>
                    <a:pt x="1665" y="827"/>
                    <a:pt x="1665" y="827"/>
                    <a:pt x="1665" y="827"/>
                  </a:cubicBezTo>
                  <a:cubicBezTo>
                    <a:pt x="1665" y="827"/>
                    <a:pt x="1665" y="827"/>
                    <a:pt x="1665" y="827"/>
                  </a:cubicBezTo>
                  <a:cubicBezTo>
                    <a:pt x="1666" y="827"/>
                    <a:pt x="1666" y="827"/>
                    <a:pt x="1666" y="827"/>
                  </a:cubicBezTo>
                  <a:cubicBezTo>
                    <a:pt x="1666" y="827"/>
                    <a:pt x="1666" y="827"/>
                    <a:pt x="1666" y="827"/>
                  </a:cubicBezTo>
                  <a:cubicBezTo>
                    <a:pt x="1666" y="826"/>
                    <a:pt x="1666" y="826"/>
                    <a:pt x="1666" y="826"/>
                  </a:cubicBezTo>
                  <a:cubicBezTo>
                    <a:pt x="1666" y="826"/>
                    <a:pt x="1666" y="826"/>
                    <a:pt x="1666" y="826"/>
                  </a:cubicBezTo>
                  <a:cubicBezTo>
                    <a:pt x="1666" y="825"/>
                    <a:pt x="1666" y="825"/>
                    <a:pt x="1666" y="825"/>
                  </a:cubicBezTo>
                  <a:cubicBezTo>
                    <a:pt x="1666" y="825"/>
                    <a:pt x="1666" y="825"/>
                    <a:pt x="1666" y="825"/>
                  </a:cubicBezTo>
                  <a:cubicBezTo>
                    <a:pt x="1667" y="824"/>
                    <a:pt x="1667" y="824"/>
                    <a:pt x="1667" y="824"/>
                  </a:cubicBezTo>
                  <a:cubicBezTo>
                    <a:pt x="1667" y="824"/>
                    <a:pt x="1667" y="824"/>
                    <a:pt x="1667" y="824"/>
                  </a:cubicBezTo>
                  <a:cubicBezTo>
                    <a:pt x="1668" y="824"/>
                    <a:pt x="1668" y="824"/>
                    <a:pt x="1668" y="824"/>
                  </a:cubicBezTo>
                  <a:cubicBezTo>
                    <a:pt x="1668" y="824"/>
                    <a:pt x="1668" y="824"/>
                    <a:pt x="1668" y="824"/>
                  </a:cubicBezTo>
                  <a:cubicBezTo>
                    <a:pt x="1669" y="823"/>
                    <a:pt x="1669" y="823"/>
                    <a:pt x="1669" y="823"/>
                  </a:cubicBezTo>
                  <a:cubicBezTo>
                    <a:pt x="1669" y="823"/>
                    <a:pt x="1669" y="823"/>
                    <a:pt x="1669" y="823"/>
                  </a:cubicBezTo>
                  <a:cubicBezTo>
                    <a:pt x="1669" y="823"/>
                    <a:pt x="1669" y="823"/>
                    <a:pt x="1669" y="823"/>
                  </a:cubicBezTo>
                  <a:cubicBezTo>
                    <a:pt x="1670" y="823"/>
                    <a:pt x="1670" y="822"/>
                    <a:pt x="1672" y="822"/>
                  </a:cubicBezTo>
                  <a:cubicBezTo>
                    <a:pt x="1672" y="821"/>
                    <a:pt x="1672" y="821"/>
                    <a:pt x="1672" y="821"/>
                  </a:cubicBezTo>
                  <a:cubicBezTo>
                    <a:pt x="1672" y="821"/>
                    <a:pt x="1672" y="821"/>
                    <a:pt x="1672" y="821"/>
                  </a:cubicBezTo>
                  <a:cubicBezTo>
                    <a:pt x="1672" y="821"/>
                    <a:pt x="1672" y="821"/>
                    <a:pt x="1672" y="821"/>
                  </a:cubicBezTo>
                  <a:cubicBezTo>
                    <a:pt x="1672" y="821"/>
                    <a:pt x="1672" y="821"/>
                    <a:pt x="1672" y="821"/>
                  </a:cubicBezTo>
                  <a:cubicBezTo>
                    <a:pt x="1672" y="821"/>
                    <a:pt x="1672" y="821"/>
                    <a:pt x="1672" y="821"/>
                  </a:cubicBezTo>
                  <a:cubicBezTo>
                    <a:pt x="1672" y="821"/>
                    <a:pt x="1672" y="821"/>
                    <a:pt x="1672" y="821"/>
                  </a:cubicBezTo>
                  <a:cubicBezTo>
                    <a:pt x="1672" y="821"/>
                    <a:pt x="1672" y="821"/>
                    <a:pt x="1672" y="821"/>
                  </a:cubicBezTo>
                  <a:cubicBezTo>
                    <a:pt x="1672" y="821"/>
                    <a:pt x="1672" y="821"/>
                    <a:pt x="1672" y="821"/>
                  </a:cubicBezTo>
                  <a:cubicBezTo>
                    <a:pt x="1673" y="820"/>
                    <a:pt x="1673" y="820"/>
                    <a:pt x="1673" y="820"/>
                  </a:cubicBezTo>
                  <a:cubicBezTo>
                    <a:pt x="1673" y="820"/>
                    <a:pt x="1673" y="820"/>
                    <a:pt x="1673" y="820"/>
                  </a:cubicBezTo>
                  <a:cubicBezTo>
                    <a:pt x="1674" y="820"/>
                    <a:pt x="1674" y="820"/>
                    <a:pt x="1674" y="820"/>
                  </a:cubicBezTo>
                  <a:cubicBezTo>
                    <a:pt x="1675" y="820"/>
                    <a:pt x="1675" y="820"/>
                    <a:pt x="1675" y="820"/>
                  </a:cubicBezTo>
                  <a:cubicBezTo>
                    <a:pt x="1675" y="819"/>
                    <a:pt x="1675" y="819"/>
                    <a:pt x="1675" y="819"/>
                  </a:cubicBezTo>
                  <a:cubicBezTo>
                    <a:pt x="1675" y="819"/>
                    <a:pt x="1675" y="819"/>
                    <a:pt x="1675" y="819"/>
                  </a:cubicBezTo>
                  <a:cubicBezTo>
                    <a:pt x="1675" y="819"/>
                    <a:pt x="1675" y="819"/>
                    <a:pt x="1675" y="819"/>
                  </a:cubicBezTo>
                  <a:cubicBezTo>
                    <a:pt x="1676" y="819"/>
                    <a:pt x="1676" y="819"/>
                    <a:pt x="1676" y="819"/>
                  </a:cubicBezTo>
                  <a:cubicBezTo>
                    <a:pt x="1676" y="819"/>
                    <a:pt x="1676" y="819"/>
                    <a:pt x="1676" y="819"/>
                  </a:cubicBezTo>
                  <a:cubicBezTo>
                    <a:pt x="1676" y="818"/>
                    <a:pt x="1676" y="818"/>
                    <a:pt x="1676" y="818"/>
                  </a:cubicBezTo>
                  <a:cubicBezTo>
                    <a:pt x="1676" y="818"/>
                    <a:pt x="1676" y="818"/>
                    <a:pt x="1676" y="818"/>
                  </a:cubicBezTo>
                  <a:cubicBezTo>
                    <a:pt x="1676" y="818"/>
                    <a:pt x="1676" y="818"/>
                    <a:pt x="1676" y="818"/>
                  </a:cubicBezTo>
                  <a:cubicBezTo>
                    <a:pt x="1676" y="818"/>
                    <a:pt x="1676" y="818"/>
                    <a:pt x="1676" y="818"/>
                  </a:cubicBezTo>
                  <a:cubicBezTo>
                    <a:pt x="1676" y="818"/>
                    <a:pt x="1676" y="818"/>
                    <a:pt x="1676" y="818"/>
                  </a:cubicBezTo>
                  <a:cubicBezTo>
                    <a:pt x="1676" y="817"/>
                    <a:pt x="1677" y="816"/>
                    <a:pt x="1677" y="816"/>
                  </a:cubicBezTo>
                  <a:cubicBezTo>
                    <a:pt x="1677" y="816"/>
                    <a:pt x="1677" y="816"/>
                    <a:pt x="1677" y="816"/>
                  </a:cubicBezTo>
                  <a:cubicBezTo>
                    <a:pt x="1678" y="816"/>
                    <a:pt x="1678" y="816"/>
                    <a:pt x="1678" y="816"/>
                  </a:cubicBezTo>
                  <a:cubicBezTo>
                    <a:pt x="1678" y="816"/>
                    <a:pt x="1678" y="816"/>
                    <a:pt x="1678" y="816"/>
                  </a:cubicBezTo>
                  <a:cubicBezTo>
                    <a:pt x="1679" y="815"/>
                    <a:pt x="1681" y="815"/>
                    <a:pt x="1681" y="814"/>
                  </a:cubicBezTo>
                  <a:cubicBezTo>
                    <a:pt x="1681" y="814"/>
                    <a:pt x="1681" y="814"/>
                    <a:pt x="1681" y="814"/>
                  </a:cubicBezTo>
                  <a:cubicBezTo>
                    <a:pt x="1681" y="814"/>
                    <a:pt x="1681" y="814"/>
                    <a:pt x="1681" y="814"/>
                  </a:cubicBezTo>
                  <a:cubicBezTo>
                    <a:pt x="1681" y="814"/>
                    <a:pt x="1681" y="814"/>
                    <a:pt x="1681" y="814"/>
                  </a:cubicBezTo>
                  <a:cubicBezTo>
                    <a:pt x="1682" y="814"/>
                    <a:pt x="1682" y="814"/>
                    <a:pt x="1682" y="814"/>
                  </a:cubicBezTo>
                  <a:cubicBezTo>
                    <a:pt x="1682" y="814"/>
                    <a:pt x="1682" y="814"/>
                    <a:pt x="1682" y="814"/>
                  </a:cubicBezTo>
                  <a:cubicBezTo>
                    <a:pt x="1682" y="814"/>
                    <a:pt x="1682" y="814"/>
                    <a:pt x="1682" y="814"/>
                  </a:cubicBezTo>
                  <a:cubicBezTo>
                    <a:pt x="1682" y="815"/>
                    <a:pt x="1682" y="815"/>
                    <a:pt x="1681" y="816"/>
                  </a:cubicBezTo>
                  <a:cubicBezTo>
                    <a:pt x="1681" y="816"/>
                    <a:pt x="1681" y="816"/>
                    <a:pt x="1681" y="816"/>
                  </a:cubicBezTo>
                  <a:cubicBezTo>
                    <a:pt x="1681" y="816"/>
                    <a:pt x="1681" y="816"/>
                    <a:pt x="1681" y="816"/>
                  </a:cubicBezTo>
                  <a:cubicBezTo>
                    <a:pt x="1681" y="816"/>
                    <a:pt x="1681" y="816"/>
                    <a:pt x="1681" y="816"/>
                  </a:cubicBezTo>
                  <a:cubicBezTo>
                    <a:pt x="1681" y="816"/>
                    <a:pt x="1681" y="816"/>
                    <a:pt x="1681" y="816"/>
                  </a:cubicBezTo>
                  <a:cubicBezTo>
                    <a:pt x="1681" y="816"/>
                    <a:pt x="1681" y="816"/>
                    <a:pt x="1681" y="816"/>
                  </a:cubicBezTo>
                  <a:cubicBezTo>
                    <a:pt x="1681" y="816"/>
                    <a:pt x="1681" y="816"/>
                    <a:pt x="1681" y="816"/>
                  </a:cubicBezTo>
                  <a:cubicBezTo>
                    <a:pt x="1682" y="815"/>
                    <a:pt x="1682" y="815"/>
                    <a:pt x="1682" y="815"/>
                  </a:cubicBezTo>
                  <a:cubicBezTo>
                    <a:pt x="1684" y="812"/>
                    <a:pt x="1683" y="812"/>
                    <a:pt x="1687" y="811"/>
                  </a:cubicBezTo>
                  <a:cubicBezTo>
                    <a:pt x="1687" y="811"/>
                    <a:pt x="1687" y="811"/>
                    <a:pt x="1687" y="811"/>
                  </a:cubicBezTo>
                  <a:cubicBezTo>
                    <a:pt x="1688" y="810"/>
                    <a:pt x="1688" y="810"/>
                    <a:pt x="1688" y="810"/>
                  </a:cubicBezTo>
                  <a:cubicBezTo>
                    <a:pt x="1688" y="810"/>
                    <a:pt x="1688" y="810"/>
                    <a:pt x="1688" y="809"/>
                  </a:cubicBezTo>
                  <a:cubicBezTo>
                    <a:pt x="1691" y="809"/>
                    <a:pt x="1691" y="809"/>
                    <a:pt x="1691" y="809"/>
                  </a:cubicBezTo>
                  <a:cubicBezTo>
                    <a:pt x="1694" y="808"/>
                    <a:pt x="1694" y="808"/>
                    <a:pt x="1694" y="808"/>
                  </a:cubicBezTo>
                  <a:cubicBezTo>
                    <a:pt x="1703" y="805"/>
                    <a:pt x="1703" y="805"/>
                    <a:pt x="1703" y="805"/>
                  </a:cubicBezTo>
                  <a:cubicBezTo>
                    <a:pt x="1707" y="804"/>
                    <a:pt x="1707" y="804"/>
                    <a:pt x="1707" y="804"/>
                  </a:cubicBezTo>
                  <a:cubicBezTo>
                    <a:pt x="1709" y="804"/>
                    <a:pt x="1709" y="804"/>
                    <a:pt x="1709" y="804"/>
                  </a:cubicBezTo>
                  <a:cubicBezTo>
                    <a:pt x="1709" y="804"/>
                    <a:pt x="1709" y="804"/>
                    <a:pt x="1709" y="804"/>
                  </a:cubicBezTo>
                  <a:cubicBezTo>
                    <a:pt x="1709" y="803"/>
                    <a:pt x="1709" y="803"/>
                    <a:pt x="1709" y="803"/>
                  </a:cubicBezTo>
                  <a:cubicBezTo>
                    <a:pt x="1709" y="803"/>
                    <a:pt x="1709" y="803"/>
                    <a:pt x="1709" y="803"/>
                  </a:cubicBezTo>
                  <a:cubicBezTo>
                    <a:pt x="1709" y="803"/>
                    <a:pt x="1709" y="803"/>
                    <a:pt x="1709" y="803"/>
                  </a:cubicBezTo>
                  <a:cubicBezTo>
                    <a:pt x="1709" y="803"/>
                    <a:pt x="1709" y="803"/>
                    <a:pt x="1709" y="803"/>
                  </a:cubicBezTo>
                  <a:cubicBezTo>
                    <a:pt x="1709" y="803"/>
                    <a:pt x="1709" y="803"/>
                    <a:pt x="1709" y="803"/>
                  </a:cubicBezTo>
                  <a:cubicBezTo>
                    <a:pt x="1709" y="803"/>
                    <a:pt x="1709" y="803"/>
                    <a:pt x="1709" y="803"/>
                  </a:cubicBezTo>
                  <a:cubicBezTo>
                    <a:pt x="1709" y="802"/>
                    <a:pt x="1709" y="802"/>
                    <a:pt x="1709" y="802"/>
                  </a:cubicBezTo>
                  <a:cubicBezTo>
                    <a:pt x="1709" y="802"/>
                    <a:pt x="1709" y="802"/>
                    <a:pt x="1709" y="802"/>
                  </a:cubicBezTo>
                  <a:cubicBezTo>
                    <a:pt x="1709" y="802"/>
                    <a:pt x="1709" y="802"/>
                    <a:pt x="1709" y="802"/>
                  </a:cubicBezTo>
                  <a:cubicBezTo>
                    <a:pt x="1709" y="802"/>
                    <a:pt x="1709" y="802"/>
                    <a:pt x="1709" y="802"/>
                  </a:cubicBezTo>
                  <a:cubicBezTo>
                    <a:pt x="1709" y="801"/>
                    <a:pt x="1709" y="801"/>
                    <a:pt x="1709" y="801"/>
                  </a:cubicBezTo>
                  <a:cubicBezTo>
                    <a:pt x="1709" y="801"/>
                    <a:pt x="1709" y="801"/>
                    <a:pt x="1709" y="801"/>
                  </a:cubicBezTo>
                  <a:cubicBezTo>
                    <a:pt x="1708" y="800"/>
                    <a:pt x="1709" y="799"/>
                    <a:pt x="1709" y="799"/>
                  </a:cubicBezTo>
                  <a:cubicBezTo>
                    <a:pt x="1709" y="799"/>
                    <a:pt x="1709" y="799"/>
                    <a:pt x="1709" y="799"/>
                  </a:cubicBezTo>
                  <a:cubicBezTo>
                    <a:pt x="1709" y="798"/>
                    <a:pt x="1709" y="798"/>
                    <a:pt x="1709" y="798"/>
                  </a:cubicBezTo>
                  <a:cubicBezTo>
                    <a:pt x="1710" y="797"/>
                    <a:pt x="1711" y="798"/>
                    <a:pt x="1710" y="796"/>
                  </a:cubicBezTo>
                  <a:cubicBezTo>
                    <a:pt x="1710" y="796"/>
                    <a:pt x="1710" y="796"/>
                    <a:pt x="1710" y="796"/>
                  </a:cubicBezTo>
                  <a:cubicBezTo>
                    <a:pt x="1710" y="796"/>
                    <a:pt x="1710" y="796"/>
                    <a:pt x="1710" y="796"/>
                  </a:cubicBezTo>
                  <a:cubicBezTo>
                    <a:pt x="1710" y="796"/>
                    <a:pt x="1710" y="796"/>
                    <a:pt x="1710" y="796"/>
                  </a:cubicBezTo>
                  <a:cubicBezTo>
                    <a:pt x="1710" y="796"/>
                    <a:pt x="1710" y="796"/>
                    <a:pt x="1710" y="796"/>
                  </a:cubicBezTo>
                  <a:cubicBezTo>
                    <a:pt x="1710" y="795"/>
                    <a:pt x="1710" y="795"/>
                    <a:pt x="1710" y="795"/>
                  </a:cubicBezTo>
                  <a:cubicBezTo>
                    <a:pt x="1710" y="795"/>
                    <a:pt x="1710" y="795"/>
                    <a:pt x="1710" y="795"/>
                  </a:cubicBezTo>
                  <a:cubicBezTo>
                    <a:pt x="1710" y="794"/>
                    <a:pt x="1710" y="793"/>
                    <a:pt x="1711" y="793"/>
                  </a:cubicBezTo>
                  <a:cubicBezTo>
                    <a:pt x="1711" y="793"/>
                    <a:pt x="1711" y="793"/>
                    <a:pt x="1711" y="793"/>
                  </a:cubicBezTo>
                  <a:cubicBezTo>
                    <a:pt x="1711" y="792"/>
                    <a:pt x="1711" y="792"/>
                    <a:pt x="1711" y="792"/>
                  </a:cubicBezTo>
                  <a:cubicBezTo>
                    <a:pt x="1712" y="792"/>
                    <a:pt x="1712" y="792"/>
                    <a:pt x="1712" y="792"/>
                  </a:cubicBezTo>
                  <a:cubicBezTo>
                    <a:pt x="1712" y="792"/>
                    <a:pt x="1714" y="791"/>
                    <a:pt x="1714" y="791"/>
                  </a:cubicBezTo>
                  <a:cubicBezTo>
                    <a:pt x="1714" y="791"/>
                    <a:pt x="1714" y="791"/>
                    <a:pt x="1714" y="791"/>
                  </a:cubicBezTo>
                  <a:cubicBezTo>
                    <a:pt x="1714" y="791"/>
                    <a:pt x="1714" y="791"/>
                    <a:pt x="1714" y="791"/>
                  </a:cubicBezTo>
                  <a:cubicBezTo>
                    <a:pt x="1715" y="790"/>
                    <a:pt x="1715" y="790"/>
                    <a:pt x="1715" y="790"/>
                  </a:cubicBezTo>
                  <a:cubicBezTo>
                    <a:pt x="1715" y="790"/>
                    <a:pt x="1715" y="790"/>
                    <a:pt x="1715" y="790"/>
                  </a:cubicBezTo>
                  <a:cubicBezTo>
                    <a:pt x="1715" y="790"/>
                    <a:pt x="1715" y="790"/>
                    <a:pt x="1715" y="790"/>
                  </a:cubicBezTo>
                  <a:cubicBezTo>
                    <a:pt x="1715" y="789"/>
                    <a:pt x="1715" y="789"/>
                    <a:pt x="1715" y="789"/>
                  </a:cubicBezTo>
                  <a:cubicBezTo>
                    <a:pt x="1715" y="789"/>
                    <a:pt x="1715" y="789"/>
                    <a:pt x="1715" y="789"/>
                  </a:cubicBezTo>
                  <a:cubicBezTo>
                    <a:pt x="1715" y="789"/>
                    <a:pt x="1715" y="789"/>
                    <a:pt x="1715" y="789"/>
                  </a:cubicBezTo>
                  <a:cubicBezTo>
                    <a:pt x="1715" y="788"/>
                    <a:pt x="1716" y="788"/>
                    <a:pt x="1716" y="787"/>
                  </a:cubicBezTo>
                  <a:cubicBezTo>
                    <a:pt x="1717" y="787"/>
                    <a:pt x="1717" y="787"/>
                    <a:pt x="1717" y="787"/>
                  </a:cubicBezTo>
                  <a:cubicBezTo>
                    <a:pt x="1718" y="787"/>
                    <a:pt x="1718" y="787"/>
                    <a:pt x="1718" y="787"/>
                  </a:cubicBezTo>
                  <a:cubicBezTo>
                    <a:pt x="1722" y="785"/>
                    <a:pt x="1720" y="785"/>
                    <a:pt x="1722" y="783"/>
                  </a:cubicBezTo>
                  <a:cubicBezTo>
                    <a:pt x="1722" y="783"/>
                    <a:pt x="1722" y="783"/>
                    <a:pt x="1722" y="783"/>
                  </a:cubicBezTo>
                  <a:cubicBezTo>
                    <a:pt x="1722" y="783"/>
                    <a:pt x="1722" y="783"/>
                    <a:pt x="1722" y="783"/>
                  </a:cubicBezTo>
                  <a:cubicBezTo>
                    <a:pt x="1723" y="783"/>
                    <a:pt x="1723" y="783"/>
                    <a:pt x="1723" y="783"/>
                  </a:cubicBezTo>
                  <a:cubicBezTo>
                    <a:pt x="1723" y="783"/>
                    <a:pt x="1723" y="783"/>
                    <a:pt x="1723" y="783"/>
                  </a:cubicBezTo>
                  <a:cubicBezTo>
                    <a:pt x="1723" y="783"/>
                    <a:pt x="1723" y="783"/>
                    <a:pt x="1723" y="783"/>
                  </a:cubicBezTo>
                  <a:cubicBezTo>
                    <a:pt x="1723" y="783"/>
                    <a:pt x="1723" y="783"/>
                    <a:pt x="1723" y="783"/>
                  </a:cubicBezTo>
                  <a:cubicBezTo>
                    <a:pt x="1723" y="783"/>
                    <a:pt x="1723" y="783"/>
                    <a:pt x="1723" y="783"/>
                  </a:cubicBezTo>
                  <a:cubicBezTo>
                    <a:pt x="1723" y="782"/>
                    <a:pt x="1723" y="782"/>
                    <a:pt x="1723" y="782"/>
                  </a:cubicBezTo>
                  <a:cubicBezTo>
                    <a:pt x="1723" y="782"/>
                    <a:pt x="1723" y="782"/>
                    <a:pt x="1723" y="782"/>
                  </a:cubicBezTo>
                  <a:cubicBezTo>
                    <a:pt x="1723" y="782"/>
                    <a:pt x="1724" y="781"/>
                    <a:pt x="1725" y="781"/>
                  </a:cubicBezTo>
                  <a:cubicBezTo>
                    <a:pt x="1725" y="781"/>
                    <a:pt x="1725" y="781"/>
                    <a:pt x="1725" y="781"/>
                  </a:cubicBezTo>
                  <a:cubicBezTo>
                    <a:pt x="1725" y="781"/>
                    <a:pt x="1725" y="781"/>
                    <a:pt x="1725" y="781"/>
                  </a:cubicBezTo>
                  <a:cubicBezTo>
                    <a:pt x="1725" y="780"/>
                    <a:pt x="1726" y="780"/>
                    <a:pt x="1726" y="780"/>
                  </a:cubicBezTo>
                  <a:cubicBezTo>
                    <a:pt x="1726" y="780"/>
                    <a:pt x="1726" y="780"/>
                    <a:pt x="1726" y="780"/>
                  </a:cubicBezTo>
                  <a:cubicBezTo>
                    <a:pt x="1726" y="780"/>
                    <a:pt x="1726" y="780"/>
                    <a:pt x="1726" y="780"/>
                  </a:cubicBezTo>
                  <a:cubicBezTo>
                    <a:pt x="1726" y="780"/>
                    <a:pt x="1726" y="780"/>
                    <a:pt x="1726" y="780"/>
                  </a:cubicBezTo>
                  <a:cubicBezTo>
                    <a:pt x="1726" y="780"/>
                    <a:pt x="1726" y="780"/>
                    <a:pt x="1726" y="780"/>
                  </a:cubicBezTo>
                  <a:cubicBezTo>
                    <a:pt x="1729" y="780"/>
                    <a:pt x="1731" y="781"/>
                    <a:pt x="1734" y="782"/>
                  </a:cubicBezTo>
                  <a:cubicBezTo>
                    <a:pt x="1734" y="782"/>
                    <a:pt x="1734" y="782"/>
                    <a:pt x="1734" y="782"/>
                  </a:cubicBezTo>
                  <a:cubicBezTo>
                    <a:pt x="1734" y="782"/>
                    <a:pt x="1734" y="782"/>
                    <a:pt x="1734" y="782"/>
                  </a:cubicBezTo>
                  <a:cubicBezTo>
                    <a:pt x="1734" y="782"/>
                    <a:pt x="1734" y="782"/>
                    <a:pt x="1734" y="782"/>
                  </a:cubicBezTo>
                  <a:cubicBezTo>
                    <a:pt x="1735" y="782"/>
                    <a:pt x="1735" y="782"/>
                    <a:pt x="1735" y="782"/>
                  </a:cubicBezTo>
                  <a:cubicBezTo>
                    <a:pt x="1735" y="782"/>
                    <a:pt x="1735" y="782"/>
                    <a:pt x="1735" y="782"/>
                  </a:cubicBezTo>
                  <a:cubicBezTo>
                    <a:pt x="1737" y="781"/>
                    <a:pt x="1737" y="781"/>
                    <a:pt x="1737" y="781"/>
                  </a:cubicBezTo>
                  <a:cubicBezTo>
                    <a:pt x="1741" y="781"/>
                    <a:pt x="1741" y="781"/>
                    <a:pt x="1741" y="781"/>
                  </a:cubicBezTo>
                  <a:cubicBezTo>
                    <a:pt x="1750" y="779"/>
                    <a:pt x="1750" y="779"/>
                    <a:pt x="1750" y="779"/>
                  </a:cubicBezTo>
                  <a:cubicBezTo>
                    <a:pt x="1754" y="779"/>
                    <a:pt x="1754" y="779"/>
                    <a:pt x="1754" y="779"/>
                  </a:cubicBezTo>
                  <a:cubicBezTo>
                    <a:pt x="1756" y="779"/>
                    <a:pt x="1756" y="779"/>
                    <a:pt x="1756" y="779"/>
                  </a:cubicBezTo>
                  <a:cubicBezTo>
                    <a:pt x="1756" y="779"/>
                    <a:pt x="1756" y="779"/>
                    <a:pt x="1756" y="779"/>
                  </a:cubicBezTo>
                  <a:cubicBezTo>
                    <a:pt x="1757" y="779"/>
                    <a:pt x="1757" y="779"/>
                    <a:pt x="1757" y="779"/>
                  </a:cubicBezTo>
                  <a:cubicBezTo>
                    <a:pt x="1758" y="778"/>
                    <a:pt x="1759" y="779"/>
                    <a:pt x="1761" y="779"/>
                  </a:cubicBezTo>
                  <a:cubicBezTo>
                    <a:pt x="1761" y="779"/>
                    <a:pt x="1761" y="779"/>
                    <a:pt x="1761" y="779"/>
                  </a:cubicBezTo>
                  <a:cubicBezTo>
                    <a:pt x="1761" y="779"/>
                    <a:pt x="1761" y="779"/>
                    <a:pt x="1761" y="779"/>
                  </a:cubicBezTo>
                  <a:cubicBezTo>
                    <a:pt x="1761" y="779"/>
                    <a:pt x="1761" y="779"/>
                    <a:pt x="1761" y="779"/>
                  </a:cubicBezTo>
                  <a:cubicBezTo>
                    <a:pt x="1762" y="779"/>
                    <a:pt x="1762" y="779"/>
                    <a:pt x="1763" y="779"/>
                  </a:cubicBezTo>
                  <a:cubicBezTo>
                    <a:pt x="1763" y="779"/>
                    <a:pt x="1763" y="779"/>
                    <a:pt x="1763" y="779"/>
                  </a:cubicBezTo>
                  <a:cubicBezTo>
                    <a:pt x="1763" y="779"/>
                    <a:pt x="1763" y="779"/>
                    <a:pt x="1763" y="779"/>
                  </a:cubicBezTo>
                  <a:cubicBezTo>
                    <a:pt x="1765" y="779"/>
                    <a:pt x="1766" y="779"/>
                    <a:pt x="1767" y="779"/>
                  </a:cubicBezTo>
                  <a:cubicBezTo>
                    <a:pt x="1768" y="779"/>
                    <a:pt x="1768" y="779"/>
                    <a:pt x="1768" y="779"/>
                  </a:cubicBezTo>
                  <a:cubicBezTo>
                    <a:pt x="1768" y="779"/>
                    <a:pt x="1768" y="779"/>
                    <a:pt x="1768" y="779"/>
                  </a:cubicBezTo>
                  <a:cubicBezTo>
                    <a:pt x="1768" y="779"/>
                    <a:pt x="1768" y="779"/>
                    <a:pt x="1768" y="779"/>
                  </a:cubicBezTo>
                  <a:cubicBezTo>
                    <a:pt x="1769" y="779"/>
                    <a:pt x="1769" y="779"/>
                    <a:pt x="1769" y="779"/>
                  </a:cubicBezTo>
                  <a:cubicBezTo>
                    <a:pt x="1770" y="779"/>
                    <a:pt x="1770" y="779"/>
                    <a:pt x="1770" y="779"/>
                  </a:cubicBezTo>
                  <a:cubicBezTo>
                    <a:pt x="1773" y="779"/>
                    <a:pt x="1773" y="779"/>
                    <a:pt x="1773" y="779"/>
                  </a:cubicBezTo>
                  <a:cubicBezTo>
                    <a:pt x="1774" y="778"/>
                    <a:pt x="1774" y="778"/>
                    <a:pt x="1774" y="778"/>
                  </a:cubicBezTo>
                  <a:cubicBezTo>
                    <a:pt x="1775" y="778"/>
                    <a:pt x="1775" y="778"/>
                    <a:pt x="1775" y="778"/>
                  </a:cubicBezTo>
                  <a:cubicBezTo>
                    <a:pt x="1775" y="779"/>
                    <a:pt x="1775" y="779"/>
                    <a:pt x="1775" y="779"/>
                  </a:cubicBezTo>
                  <a:cubicBezTo>
                    <a:pt x="1775" y="779"/>
                    <a:pt x="1775" y="779"/>
                    <a:pt x="1775" y="779"/>
                  </a:cubicBezTo>
                  <a:cubicBezTo>
                    <a:pt x="1775" y="779"/>
                    <a:pt x="1775" y="779"/>
                    <a:pt x="1775" y="779"/>
                  </a:cubicBezTo>
                  <a:cubicBezTo>
                    <a:pt x="1776" y="779"/>
                    <a:pt x="1776" y="779"/>
                    <a:pt x="1776" y="779"/>
                  </a:cubicBezTo>
                  <a:cubicBezTo>
                    <a:pt x="1776" y="779"/>
                    <a:pt x="1776" y="779"/>
                    <a:pt x="1776" y="779"/>
                  </a:cubicBezTo>
                  <a:cubicBezTo>
                    <a:pt x="1776" y="779"/>
                    <a:pt x="1776" y="779"/>
                    <a:pt x="1776" y="779"/>
                  </a:cubicBezTo>
                  <a:cubicBezTo>
                    <a:pt x="1776" y="779"/>
                    <a:pt x="1777" y="779"/>
                    <a:pt x="1777" y="779"/>
                  </a:cubicBezTo>
                  <a:cubicBezTo>
                    <a:pt x="1777" y="779"/>
                    <a:pt x="1777" y="779"/>
                    <a:pt x="1777" y="779"/>
                  </a:cubicBezTo>
                  <a:cubicBezTo>
                    <a:pt x="1775" y="779"/>
                    <a:pt x="1773" y="779"/>
                    <a:pt x="1772" y="779"/>
                  </a:cubicBezTo>
                  <a:cubicBezTo>
                    <a:pt x="1775" y="781"/>
                    <a:pt x="1777" y="782"/>
                    <a:pt x="1781" y="783"/>
                  </a:cubicBezTo>
                  <a:cubicBezTo>
                    <a:pt x="1783" y="784"/>
                    <a:pt x="1784" y="784"/>
                    <a:pt x="1785" y="785"/>
                  </a:cubicBezTo>
                  <a:cubicBezTo>
                    <a:pt x="1787" y="786"/>
                    <a:pt x="1789" y="787"/>
                    <a:pt x="1791" y="788"/>
                  </a:cubicBezTo>
                  <a:cubicBezTo>
                    <a:pt x="1792" y="790"/>
                    <a:pt x="1792" y="793"/>
                    <a:pt x="1794" y="794"/>
                  </a:cubicBezTo>
                  <a:cubicBezTo>
                    <a:pt x="1795" y="794"/>
                    <a:pt x="1796" y="794"/>
                    <a:pt x="1797" y="795"/>
                  </a:cubicBezTo>
                  <a:cubicBezTo>
                    <a:pt x="1800" y="796"/>
                    <a:pt x="1802" y="797"/>
                    <a:pt x="1805" y="798"/>
                  </a:cubicBezTo>
                  <a:cubicBezTo>
                    <a:pt x="1808" y="799"/>
                    <a:pt x="1812" y="800"/>
                    <a:pt x="1816" y="801"/>
                  </a:cubicBezTo>
                  <a:cubicBezTo>
                    <a:pt x="1819" y="802"/>
                    <a:pt x="1825" y="803"/>
                    <a:pt x="1831" y="803"/>
                  </a:cubicBezTo>
                  <a:cubicBezTo>
                    <a:pt x="1831" y="803"/>
                    <a:pt x="1831" y="803"/>
                    <a:pt x="1831" y="803"/>
                  </a:cubicBezTo>
                  <a:cubicBezTo>
                    <a:pt x="1832" y="803"/>
                    <a:pt x="1833" y="803"/>
                    <a:pt x="1833" y="803"/>
                  </a:cubicBezTo>
                  <a:cubicBezTo>
                    <a:pt x="1834" y="803"/>
                    <a:pt x="1834" y="803"/>
                    <a:pt x="1835" y="802"/>
                  </a:cubicBezTo>
                  <a:cubicBezTo>
                    <a:pt x="1835" y="802"/>
                    <a:pt x="1835" y="802"/>
                    <a:pt x="1836" y="802"/>
                  </a:cubicBezTo>
                  <a:cubicBezTo>
                    <a:pt x="1836" y="802"/>
                    <a:pt x="1837" y="801"/>
                    <a:pt x="1838" y="801"/>
                  </a:cubicBezTo>
                  <a:cubicBezTo>
                    <a:pt x="1837" y="800"/>
                    <a:pt x="1837" y="800"/>
                    <a:pt x="1836" y="799"/>
                  </a:cubicBezTo>
                  <a:cubicBezTo>
                    <a:pt x="1835" y="797"/>
                    <a:pt x="1834" y="796"/>
                    <a:pt x="1832" y="795"/>
                  </a:cubicBezTo>
                  <a:cubicBezTo>
                    <a:pt x="1832" y="794"/>
                    <a:pt x="1831" y="794"/>
                    <a:pt x="1831" y="794"/>
                  </a:cubicBezTo>
                  <a:cubicBezTo>
                    <a:pt x="1831" y="794"/>
                    <a:pt x="1830" y="794"/>
                    <a:pt x="1830" y="794"/>
                  </a:cubicBezTo>
                  <a:cubicBezTo>
                    <a:pt x="1828" y="793"/>
                    <a:pt x="1827" y="793"/>
                    <a:pt x="1825" y="792"/>
                  </a:cubicBezTo>
                  <a:cubicBezTo>
                    <a:pt x="1825" y="792"/>
                    <a:pt x="1825" y="792"/>
                    <a:pt x="1824" y="791"/>
                  </a:cubicBezTo>
                  <a:cubicBezTo>
                    <a:pt x="1824" y="791"/>
                    <a:pt x="1823" y="791"/>
                    <a:pt x="1823" y="791"/>
                  </a:cubicBezTo>
                  <a:cubicBezTo>
                    <a:pt x="1823" y="791"/>
                    <a:pt x="1822" y="791"/>
                    <a:pt x="1822" y="791"/>
                  </a:cubicBezTo>
                  <a:cubicBezTo>
                    <a:pt x="1821" y="790"/>
                    <a:pt x="1820" y="789"/>
                    <a:pt x="1819" y="788"/>
                  </a:cubicBezTo>
                  <a:cubicBezTo>
                    <a:pt x="1818" y="788"/>
                    <a:pt x="1818" y="787"/>
                    <a:pt x="1817" y="787"/>
                  </a:cubicBezTo>
                  <a:cubicBezTo>
                    <a:pt x="1815" y="786"/>
                    <a:pt x="1811" y="785"/>
                    <a:pt x="1808" y="784"/>
                  </a:cubicBezTo>
                  <a:cubicBezTo>
                    <a:pt x="1806" y="783"/>
                    <a:pt x="1804" y="782"/>
                    <a:pt x="1801" y="781"/>
                  </a:cubicBezTo>
                  <a:cubicBezTo>
                    <a:pt x="1805" y="781"/>
                    <a:pt x="1810" y="779"/>
                    <a:pt x="1814" y="779"/>
                  </a:cubicBezTo>
                  <a:cubicBezTo>
                    <a:pt x="1816" y="779"/>
                    <a:pt x="1818" y="780"/>
                    <a:pt x="1820" y="780"/>
                  </a:cubicBezTo>
                  <a:cubicBezTo>
                    <a:pt x="1823" y="780"/>
                    <a:pt x="1825" y="780"/>
                    <a:pt x="1827" y="780"/>
                  </a:cubicBezTo>
                  <a:cubicBezTo>
                    <a:pt x="1829" y="781"/>
                    <a:pt x="1832" y="780"/>
                    <a:pt x="1834" y="781"/>
                  </a:cubicBezTo>
                  <a:cubicBezTo>
                    <a:pt x="1836" y="783"/>
                    <a:pt x="1834" y="784"/>
                    <a:pt x="1839" y="783"/>
                  </a:cubicBezTo>
                  <a:cubicBezTo>
                    <a:pt x="1837" y="783"/>
                    <a:pt x="1836" y="784"/>
                    <a:pt x="1835" y="785"/>
                  </a:cubicBezTo>
                  <a:cubicBezTo>
                    <a:pt x="1839" y="785"/>
                    <a:pt x="1845" y="783"/>
                    <a:pt x="1849" y="782"/>
                  </a:cubicBezTo>
                  <a:cubicBezTo>
                    <a:pt x="1852" y="782"/>
                    <a:pt x="1855" y="781"/>
                    <a:pt x="1858" y="781"/>
                  </a:cubicBezTo>
                  <a:cubicBezTo>
                    <a:pt x="1861" y="782"/>
                    <a:pt x="1872" y="779"/>
                    <a:pt x="1873" y="781"/>
                  </a:cubicBezTo>
                  <a:cubicBezTo>
                    <a:pt x="1879" y="777"/>
                    <a:pt x="1884" y="773"/>
                    <a:pt x="1890" y="768"/>
                  </a:cubicBezTo>
                  <a:cubicBezTo>
                    <a:pt x="1891" y="767"/>
                    <a:pt x="1898" y="763"/>
                    <a:pt x="1897" y="761"/>
                  </a:cubicBezTo>
                  <a:cubicBezTo>
                    <a:pt x="1899" y="768"/>
                    <a:pt x="1901" y="762"/>
                    <a:pt x="1900" y="759"/>
                  </a:cubicBezTo>
                  <a:cubicBezTo>
                    <a:pt x="1900" y="759"/>
                    <a:pt x="1900" y="756"/>
                    <a:pt x="1900" y="757"/>
                  </a:cubicBezTo>
                  <a:cubicBezTo>
                    <a:pt x="1901" y="755"/>
                    <a:pt x="1907" y="753"/>
                    <a:pt x="1909" y="751"/>
                  </a:cubicBezTo>
                  <a:cubicBezTo>
                    <a:pt x="1903" y="749"/>
                    <a:pt x="1918" y="746"/>
                    <a:pt x="1920" y="745"/>
                  </a:cubicBezTo>
                  <a:cubicBezTo>
                    <a:pt x="1923" y="744"/>
                    <a:pt x="1927" y="743"/>
                    <a:pt x="1931" y="743"/>
                  </a:cubicBezTo>
                  <a:cubicBezTo>
                    <a:pt x="1935" y="743"/>
                    <a:pt x="1940" y="745"/>
                    <a:pt x="1944" y="744"/>
                  </a:cubicBezTo>
                  <a:cubicBezTo>
                    <a:pt x="1944" y="744"/>
                    <a:pt x="1944" y="744"/>
                    <a:pt x="1945" y="744"/>
                  </a:cubicBezTo>
                  <a:cubicBezTo>
                    <a:pt x="1945" y="744"/>
                    <a:pt x="1945" y="744"/>
                    <a:pt x="1945" y="744"/>
                  </a:cubicBezTo>
                  <a:cubicBezTo>
                    <a:pt x="1947" y="746"/>
                    <a:pt x="1948" y="747"/>
                    <a:pt x="1945" y="749"/>
                  </a:cubicBezTo>
                  <a:cubicBezTo>
                    <a:pt x="1945" y="750"/>
                    <a:pt x="1944" y="751"/>
                    <a:pt x="1943" y="752"/>
                  </a:cubicBezTo>
                  <a:cubicBezTo>
                    <a:pt x="1941" y="753"/>
                    <a:pt x="1939" y="753"/>
                    <a:pt x="1937" y="754"/>
                  </a:cubicBezTo>
                  <a:cubicBezTo>
                    <a:pt x="1938" y="755"/>
                    <a:pt x="1940" y="756"/>
                    <a:pt x="1942" y="756"/>
                  </a:cubicBezTo>
                  <a:cubicBezTo>
                    <a:pt x="1942" y="756"/>
                    <a:pt x="1942" y="756"/>
                    <a:pt x="1942" y="756"/>
                  </a:cubicBezTo>
                  <a:cubicBezTo>
                    <a:pt x="1942" y="756"/>
                    <a:pt x="1942" y="756"/>
                    <a:pt x="1942" y="756"/>
                  </a:cubicBezTo>
                  <a:cubicBezTo>
                    <a:pt x="1940" y="757"/>
                    <a:pt x="1939" y="756"/>
                    <a:pt x="1937" y="758"/>
                  </a:cubicBezTo>
                  <a:cubicBezTo>
                    <a:pt x="1936" y="759"/>
                    <a:pt x="1935" y="761"/>
                    <a:pt x="1935" y="762"/>
                  </a:cubicBezTo>
                  <a:cubicBezTo>
                    <a:pt x="1934" y="763"/>
                    <a:pt x="1934" y="764"/>
                    <a:pt x="1934" y="764"/>
                  </a:cubicBezTo>
                  <a:cubicBezTo>
                    <a:pt x="1932" y="768"/>
                    <a:pt x="1930" y="772"/>
                    <a:pt x="1929" y="776"/>
                  </a:cubicBezTo>
                  <a:cubicBezTo>
                    <a:pt x="1928" y="778"/>
                    <a:pt x="1927" y="780"/>
                    <a:pt x="1926" y="781"/>
                  </a:cubicBezTo>
                  <a:cubicBezTo>
                    <a:pt x="1926" y="782"/>
                    <a:pt x="1926" y="782"/>
                    <a:pt x="1926" y="782"/>
                  </a:cubicBezTo>
                  <a:cubicBezTo>
                    <a:pt x="1924" y="784"/>
                    <a:pt x="1924" y="786"/>
                    <a:pt x="1923" y="788"/>
                  </a:cubicBezTo>
                  <a:cubicBezTo>
                    <a:pt x="1923" y="789"/>
                    <a:pt x="1921" y="790"/>
                    <a:pt x="1920" y="790"/>
                  </a:cubicBezTo>
                  <a:cubicBezTo>
                    <a:pt x="1919" y="792"/>
                    <a:pt x="1917" y="793"/>
                    <a:pt x="1918" y="795"/>
                  </a:cubicBezTo>
                  <a:cubicBezTo>
                    <a:pt x="1918" y="796"/>
                    <a:pt x="1918" y="796"/>
                    <a:pt x="1919" y="797"/>
                  </a:cubicBezTo>
                  <a:cubicBezTo>
                    <a:pt x="1920" y="798"/>
                    <a:pt x="1923" y="799"/>
                    <a:pt x="1924" y="798"/>
                  </a:cubicBezTo>
                  <a:cubicBezTo>
                    <a:pt x="1923" y="800"/>
                    <a:pt x="1922" y="800"/>
                    <a:pt x="1920" y="800"/>
                  </a:cubicBezTo>
                  <a:cubicBezTo>
                    <a:pt x="1920" y="800"/>
                    <a:pt x="1920" y="800"/>
                    <a:pt x="1920" y="800"/>
                  </a:cubicBezTo>
                  <a:cubicBezTo>
                    <a:pt x="1922" y="800"/>
                    <a:pt x="1924" y="800"/>
                    <a:pt x="1925" y="800"/>
                  </a:cubicBezTo>
                  <a:cubicBezTo>
                    <a:pt x="1926" y="800"/>
                    <a:pt x="1926" y="800"/>
                    <a:pt x="1926" y="800"/>
                  </a:cubicBezTo>
                  <a:cubicBezTo>
                    <a:pt x="1926" y="801"/>
                    <a:pt x="1925" y="801"/>
                    <a:pt x="1924" y="801"/>
                  </a:cubicBezTo>
                  <a:cubicBezTo>
                    <a:pt x="1923" y="801"/>
                    <a:pt x="1921" y="800"/>
                    <a:pt x="1920" y="801"/>
                  </a:cubicBezTo>
                  <a:cubicBezTo>
                    <a:pt x="1919" y="802"/>
                    <a:pt x="1920" y="803"/>
                    <a:pt x="1921" y="804"/>
                  </a:cubicBezTo>
                  <a:cubicBezTo>
                    <a:pt x="1922" y="805"/>
                    <a:pt x="1924" y="805"/>
                    <a:pt x="1924" y="806"/>
                  </a:cubicBezTo>
                  <a:cubicBezTo>
                    <a:pt x="1922" y="806"/>
                    <a:pt x="1922" y="806"/>
                    <a:pt x="1920" y="805"/>
                  </a:cubicBezTo>
                  <a:cubicBezTo>
                    <a:pt x="1920" y="805"/>
                    <a:pt x="1920" y="805"/>
                    <a:pt x="1920" y="804"/>
                  </a:cubicBezTo>
                  <a:cubicBezTo>
                    <a:pt x="1918" y="804"/>
                    <a:pt x="1917" y="804"/>
                    <a:pt x="1915" y="803"/>
                  </a:cubicBezTo>
                  <a:cubicBezTo>
                    <a:pt x="1915" y="803"/>
                    <a:pt x="1914" y="804"/>
                    <a:pt x="1914" y="802"/>
                  </a:cubicBezTo>
                  <a:cubicBezTo>
                    <a:pt x="1914" y="802"/>
                    <a:pt x="1914" y="802"/>
                    <a:pt x="1914" y="802"/>
                  </a:cubicBezTo>
                  <a:cubicBezTo>
                    <a:pt x="1914" y="801"/>
                    <a:pt x="1914" y="801"/>
                    <a:pt x="1913" y="802"/>
                  </a:cubicBezTo>
                  <a:cubicBezTo>
                    <a:pt x="1913" y="802"/>
                    <a:pt x="1912" y="803"/>
                    <a:pt x="1912" y="804"/>
                  </a:cubicBezTo>
                  <a:cubicBezTo>
                    <a:pt x="1911" y="805"/>
                    <a:pt x="1911" y="805"/>
                    <a:pt x="1911" y="805"/>
                  </a:cubicBezTo>
                  <a:cubicBezTo>
                    <a:pt x="1911" y="807"/>
                    <a:pt x="1911" y="808"/>
                    <a:pt x="1910" y="810"/>
                  </a:cubicBezTo>
                  <a:cubicBezTo>
                    <a:pt x="1909" y="811"/>
                    <a:pt x="1908" y="812"/>
                    <a:pt x="1908" y="813"/>
                  </a:cubicBezTo>
                  <a:cubicBezTo>
                    <a:pt x="1907" y="814"/>
                    <a:pt x="1907" y="817"/>
                    <a:pt x="1906" y="818"/>
                  </a:cubicBezTo>
                  <a:cubicBezTo>
                    <a:pt x="1905" y="819"/>
                    <a:pt x="1903" y="818"/>
                    <a:pt x="1903" y="816"/>
                  </a:cubicBezTo>
                  <a:cubicBezTo>
                    <a:pt x="1903" y="819"/>
                    <a:pt x="1901" y="818"/>
                    <a:pt x="1901" y="816"/>
                  </a:cubicBezTo>
                  <a:cubicBezTo>
                    <a:pt x="1901" y="815"/>
                    <a:pt x="1904" y="813"/>
                    <a:pt x="1905" y="812"/>
                  </a:cubicBezTo>
                  <a:cubicBezTo>
                    <a:pt x="1904" y="812"/>
                    <a:pt x="1904" y="813"/>
                    <a:pt x="1903" y="813"/>
                  </a:cubicBezTo>
                  <a:cubicBezTo>
                    <a:pt x="1900" y="815"/>
                    <a:pt x="1895" y="818"/>
                    <a:pt x="1894" y="820"/>
                  </a:cubicBezTo>
                  <a:cubicBezTo>
                    <a:pt x="1894" y="820"/>
                    <a:pt x="1895" y="820"/>
                    <a:pt x="1896" y="820"/>
                  </a:cubicBezTo>
                  <a:cubicBezTo>
                    <a:pt x="1899" y="820"/>
                    <a:pt x="1902" y="819"/>
                    <a:pt x="1905" y="819"/>
                  </a:cubicBezTo>
                  <a:cubicBezTo>
                    <a:pt x="1906" y="819"/>
                    <a:pt x="1906" y="819"/>
                    <a:pt x="1906" y="819"/>
                  </a:cubicBezTo>
                  <a:cubicBezTo>
                    <a:pt x="1908" y="819"/>
                    <a:pt x="1909" y="819"/>
                    <a:pt x="1911" y="820"/>
                  </a:cubicBezTo>
                  <a:cubicBezTo>
                    <a:pt x="1913" y="820"/>
                    <a:pt x="1914" y="820"/>
                    <a:pt x="1915" y="819"/>
                  </a:cubicBezTo>
                  <a:cubicBezTo>
                    <a:pt x="1915" y="819"/>
                    <a:pt x="1916" y="819"/>
                    <a:pt x="1916" y="819"/>
                  </a:cubicBezTo>
                  <a:cubicBezTo>
                    <a:pt x="1915" y="820"/>
                    <a:pt x="1914" y="821"/>
                    <a:pt x="1913" y="821"/>
                  </a:cubicBezTo>
                  <a:cubicBezTo>
                    <a:pt x="1912" y="822"/>
                    <a:pt x="1910" y="823"/>
                    <a:pt x="1909" y="823"/>
                  </a:cubicBezTo>
                  <a:cubicBezTo>
                    <a:pt x="1910" y="823"/>
                    <a:pt x="1910" y="822"/>
                    <a:pt x="1910" y="822"/>
                  </a:cubicBezTo>
                  <a:cubicBezTo>
                    <a:pt x="1906" y="824"/>
                    <a:pt x="1903" y="829"/>
                    <a:pt x="1899" y="831"/>
                  </a:cubicBezTo>
                  <a:cubicBezTo>
                    <a:pt x="1897" y="833"/>
                    <a:pt x="1895" y="834"/>
                    <a:pt x="1893" y="836"/>
                  </a:cubicBezTo>
                  <a:cubicBezTo>
                    <a:pt x="1891" y="837"/>
                    <a:pt x="1891" y="837"/>
                    <a:pt x="1891" y="839"/>
                  </a:cubicBezTo>
                  <a:cubicBezTo>
                    <a:pt x="1891" y="840"/>
                    <a:pt x="1892" y="841"/>
                    <a:pt x="1892" y="842"/>
                  </a:cubicBezTo>
                  <a:cubicBezTo>
                    <a:pt x="1892" y="842"/>
                    <a:pt x="1893" y="843"/>
                    <a:pt x="1893" y="843"/>
                  </a:cubicBezTo>
                  <a:cubicBezTo>
                    <a:pt x="1893" y="844"/>
                    <a:pt x="1892" y="844"/>
                    <a:pt x="1893" y="845"/>
                  </a:cubicBezTo>
                  <a:cubicBezTo>
                    <a:pt x="1893" y="846"/>
                    <a:pt x="1894" y="847"/>
                    <a:pt x="1896" y="847"/>
                  </a:cubicBezTo>
                  <a:cubicBezTo>
                    <a:pt x="1899" y="848"/>
                    <a:pt x="1902" y="847"/>
                    <a:pt x="1905" y="847"/>
                  </a:cubicBezTo>
                  <a:cubicBezTo>
                    <a:pt x="1906" y="846"/>
                    <a:pt x="1907" y="846"/>
                    <a:pt x="1908" y="846"/>
                  </a:cubicBezTo>
                  <a:cubicBezTo>
                    <a:pt x="1910" y="846"/>
                    <a:pt x="1912" y="846"/>
                    <a:pt x="1914" y="845"/>
                  </a:cubicBezTo>
                  <a:cubicBezTo>
                    <a:pt x="1915" y="844"/>
                    <a:pt x="1914" y="842"/>
                    <a:pt x="1916" y="842"/>
                  </a:cubicBezTo>
                  <a:cubicBezTo>
                    <a:pt x="1916" y="843"/>
                    <a:pt x="1915" y="844"/>
                    <a:pt x="1915" y="845"/>
                  </a:cubicBezTo>
                  <a:cubicBezTo>
                    <a:pt x="1915" y="845"/>
                    <a:pt x="1916" y="845"/>
                    <a:pt x="1916" y="845"/>
                  </a:cubicBezTo>
                  <a:cubicBezTo>
                    <a:pt x="1919" y="845"/>
                    <a:pt x="1922" y="844"/>
                    <a:pt x="1925" y="844"/>
                  </a:cubicBezTo>
                  <a:cubicBezTo>
                    <a:pt x="1925" y="844"/>
                    <a:pt x="1925" y="844"/>
                    <a:pt x="1926" y="844"/>
                  </a:cubicBezTo>
                  <a:cubicBezTo>
                    <a:pt x="1928" y="845"/>
                    <a:pt x="1931" y="845"/>
                    <a:pt x="1934" y="846"/>
                  </a:cubicBezTo>
                  <a:cubicBezTo>
                    <a:pt x="1934" y="846"/>
                    <a:pt x="1935" y="846"/>
                    <a:pt x="1936" y="846"/>
                  </a:cubicBezTo>
                  <a:cubicBezTo>
                    <a:pt x="1938" y="846"/>
                    <a:pt x="1940" y="846"/>
                    <a:pt x="1942" y="846"/>
                  </a:cubicBezTo>
                  <a:cubicBezTo>
                    <a:pt x="1943" y="846"/>
                    <a:pt x="1944" y="846"/>
                    <a:pt x="1945" y="847"/>
                  </a:cubicBezTo>
                  <a:cubicBezTo>
                    <a:pt x="1946" y="847"/>
                    <a:pt x="1947" y="848"/>
                    <a:pt x="1949" y="848"/>
                  </a:cubicBezTo>
                  <a:cubicBezTo>
                    <a:pt x="1950" y="849"/>
                    <a:pt x="1952" y="849"/>
                    <a:pt x="1953" y="848"/>
                  </a:cubicBezTo>
                  <a:cubicBezTo>
                    <a:pt x="1952" y="847"/>
                    <a:pt x="1952" y="847"/>
                    <a:pt x="1952" y="846"/>
                  </a:cubicBezTo>
                  <a:close/>
                  <a:moveTo>
                    <a:pt x="220" y="115"/>
                  </a:moveTo>
                  <a:cubicBezTo>
                    <a:pt x="221" y="115"/>
                    <a:pt x="224" y="112"/>
                    <a:pt x="224" y="111"/>
                  </a:cubicBezTo>
                  <a:cubicBezTo>
                    <a:pt x="224" y="112"/>
                    <a:pt x="221" y="115"/>
                    <a:pt x="220" y="115"/>
                  </a:cubicBezTo>
                  <a:close/>
                  <a:moveTo>
                    <a:pt x="246" y="651"/>
                  </a:moveTo>
                  <a:cubicBezTo>
                    <a:pt x="247" y="651"/>
                    <a:pt x="247" y="651"/>
                    <a:pt x="247" y="651"/>
                  </a:cubicBezTo>
                  <a:cubicBezTo>
                    <a:pt x="247" y="651"/>
                    <a:pt x="247" y="651"/>
                    <a:pt x="247" y="651"/>
                  </a:cubicBezTo>
                  <a:cubicBezTo>
                    <a:pt x="247" y="651"/>
                    <a:pt x="247" y="652"/>
                    <a:pt x="247" y="652"/>
                  </a:cubicBezTo>
                  <a:cubicBezTo>
                    <a:pt x="247" y="652"/>
                    <a:pt x="247" y="652"/>
                    <a:pt x="246" y="651"/>
                  </a:cubicBezTo>
                  <a:close/>
                  <a:moveTo>
                    <a:pt x="276" y="678"/>
                  </a:moveTo>
                  <a:cubicBezTo>
                    <a:pt x="276" y="678"/>
                    <a:pt x="276" y="679"/>
                    <a:pt x="277" y="679"/>
                  </a:cubicBezTo>
                  <a:cubicBezTo>
                    <a:pt x="277" y="679"/>
                    <a:pt x="277" y="679"/>
                    <a:pt x="277" y="679"/>
                  </a:cubicBezTo>
                  <a:cubicBezTo>
                    <a:pt x="277" y="679"/>
                    <a:pt x="277" y="679"/>
                    <a:pt x="277" y="679"/>
                  </a:cubicBezTo>
                  <a:cubicBezTo>
                    <a:pt x="277" y="679"/>
                    <a:pt x="277" y="679"/>
                    <a:pt x="277" y="679"/>
                  </a:cubicBezTo>
                  <a:cubicBezTo>
                    <a:pt x="277" y="679"/>
                    <a:pt x="277" y="679"/>
                    <a:pt x="277" y="679"/>
                  </a:cubicBezTo>
                  <a:cubicBezTo>
                    <a:pt x="276" y="679"/>
                    <a:pt x="276" y="678"/>
                    <a:pt x="276" y="678"/>
                  </a:cubicBezTo>
                  <a:close/>
                  <a:moveTo>
                    <a:pt x="287" y="695"/>
                  </a:moveTo>
                  <a:cubicBezTo>
                    <a:pt x="287" y="695"/>
                    <a:pt x="286" y="694"/>
                    <a:pt x="286" y="694"/>
                  </a:cubicBezTo>
                  <a:cubicBezTo>
                    <a:pt x="286" y="694"/>
                    <a:pt x="286" y="694"/>
                    <a:pt x="286" y="694"/>
                  </a:cubicBezTo>
                  <a:cubicBezTo>
                    <a:pt x="286" y="694"/>
                    <a:pt x="286" y="694"/>
                    <a:pt x="285" y="694"/>
                  </a:cubicBezTo>
                  <a:cubicBezTo>
                    <a:pt x="285" y="694"/>
                    <a:pt x="285" y="694"/>
                    <a:pt x="285" y="694"/>
                  </a:cubicBezTo>
                  <a:cubicBezTo>
                    <a:pt x="285" y="694"/>
                    <a:pt x="285" y="694"/>
                    <a:pt x="285" y="694"/>
                  </a:cubicBezTo>
                  <a:cubicBezTo>
                    <a:pt x="286" y="693"/>
                    <a:pt x="286" y="692"/>
                    <a:pt x="286" y="690"/>
                  </a:cubicBezTo>
                  <a:cubicBezTo>
                    <a:pt x="287" y="690"/>
                    <a:pt x="287" y="691"/>
                    <a:pt x="287" y="691"/>
                  </a:cubicBezTo>
                  <a:cubicBezTo>
                    <a:pt x="287" y="691"/>
                    <a:pt x="287" y="691"/>
                    <a:pt x="287" y="691"/>
                  </a:cubicBezTo>
                  <a:cubicBezTo>
                    <a:pt x="287" y="691"/>
                    <a:pt x="287" y="692"/>
                    <a:pt x="287" y="692"/>
                  </a:cubicBezTo>
                  <a:cubicBezTo>
                    <a:pt x="287" y="693"/>
                    <a:pt x="287" y="693"/>
                    <a:pt x="287" y="695"/>
                  </a:cubicBezTo>
                  <a:cubicBezTo>
                    <a:pt x="287" y="695"/>
                    <a:pt x="287" y="695"/>
                    <a:pt x="287" y="695"/>
                  </a:cubicBezTo>
                  <a:cubicBezTo>
                    <a:pt x="287" y="695"/>
                    <a:pt x="287" y="696"/>
                    <a:pt x="287" y="696"/>
                  </a:cubicBezTo>
                  <a:cubicBezTo>
                    <a:pt x="287" y="696"/>
                    <a:pt x="287" y="696"/>
                    <a:pt x="287" y="695"/>
                  </a:cubicBezTo>
                  <a:close/>
                  <a:moveTo>
                    <a:pt x="297" y="712"/>
                  </a:moveTo>
                  <a:cubicBezTo>
                    <a:pt x="297" y="712"/>
                    <a:pt x="297" y="712"/>
                    <a:pt x="297" y="712"/>
                  </a:cubicBezTo>
                  <a:cubicBezTo>
                    <a:pt x="297" y="712"/>
                    <a:pt x="297" y="712"/>
                    <a:pt x="297" y="712"/>
                  </a:cubicBezTo>
                  <a:cubicBezTo>
                    <a:pt x="296" y="712"/>
                    <a:pt x="296" y="713"/>
                    <a:pt x="295" y="713"/>
                  </a:cubicBezTo>
                  <a:cubicBezTo>
                    <a:pt x="295" y="713"/>
                    <a:pt x="296" y="712"/>
                    <a:pt x="296" y="712"/>
                  </a:cubicBezTo>
                  <a:cubicBezTo>
                    <a:pt x="298" y="710"/>
                    <a:pt x="299" y="710"/>
                    <a:pt x="301" y="708"/>
                  </a:cubicBezTo>
                  <a:cubicBezTo>
                    <a:pt x="301" y="710"/>
                    <a:pt x="298" y="711"/>
                    <a:pt x="297" y="712"/>
                  </a:cubicBezTo>
                  <a:close/>
                  <a:moveTo>
                    <a:pt x="527" y="249"/>
                  </a:moveTo>
                  <a:cubicBezTo>
                    <a:pt x="527" y="249"/>
                    <a:pt x="526" y="249"/>
                    <a:pt x="526" y="250"/>
                  </a:cubicBezTo>
                  <a:cubicBezTo>
                    <a:pt x="526" y="252"/>
                    <a:pt x="525" y="252"/>
                    <a:pt x="527" y="253"/>
                  </a:cubicBezTo>
                  <a:cubicBezTo>
                    <a:pt x="530" y="254"/>
                    <a:pt x="533" y="251"/>
                    <a:pt x="535" y="252"/>
                  </a:cubicBezTo>
                  <a:cubicBezTo>
                    <a:pt x="537" y="253"/>
                    <a:pt x="535" y="256"/>
                    <a:pt x="535" y="256"/>
                  </a:cubicBezTo>
                  <a:cubicBezTo>
                    <a:pt x="534" y="256"/>
                    <a:pt x="532" y="256"/>
                    <a:pt x="531" y="256"/>
                  </a:cubicBezTo>
                  <a:cubicBezTo>
                    <a:pt x="531" y="256"/>
                    <a:pt x="531" y="257"/>
                    <a:pt x="530" y="258"/>
                  </a:cubicBezTo>
                  <a:cubicBezTo>
                    <a:pt x="529" y="258"/>
                    <a:pt x="528" y="258"/>
                    <a:pt x="527" y="258"/>
                  </a:cubicBezTo>
                  <a:cubicBezTo>
                    <a:pt x="526" y="258"/>
                    <a:pt x="525" y="258"/>
                    <a:pt x="524" y="258"/>
                  </a:cubicBezTo>
                  <a:cubicBezTo>
                    <a:pt x="524" y="258"/>
                    <a:pt x="523" y="258"/>
                    <a:pt x="522" y="258"/>
                  </a:cubicBezTo>
                  <a:cubicBezTo>
                    <a:pt x="521" y="258"/>
                    <a:pt x="521" y="258"/>
                    <a:pt x="520" y="258"/>
                  </a:cubicBezTo>
                  <a:cubicBezTo>
                    <a:pt x="519" y="258"/>
                    <a:pt x="520" y="260"/>
                    <a:pt x="518" y="260"/>
                  </a:cubicBezTo>
                  <a:cubicBezTo>
                    <a:pt x="517" y="260"/>
                    <a:pt x="516" y="259"/>
                    <a:pt x="516" y="259"/>
                  </a:cubicBezTo>
                  <a:cubicBezTo>
                    <a:pt x="516" y="259"/>
                    <a:pt x="514" y="257"/>
                    <a:pt x="514" y="257"/>
                  </a:cubicBezTo>
                  <a:cubicBezTo>
                    <a:pt x="513" y="255"/>
                    <a:pt x="511" y="254"/>
                    <a:pt x="509" y="254"/>
                  </a:cubicBezTo>
                  <a:cubicBezTo>
                    <a:pt x="506" y="253"/>
                    <a:pt x="502" y="254"/>
                    <a:pt x="499" y="254"/>
                  </a:cubicBezTo>
                  <a:cubicBezTo>
                    <a:pt x="497" y="254"/>
                    <a:pt x="495" y="253"/>
                    <a:pt x="493" y="254"/>
                  </a:cubicBezTo>
                  <a:cubicBezTo>
                    <a:pt x="489" y="255"/>
                    <a:pt x="491" y="256"/>
                    <a:pt x="494" y="257"/>
                  </a:cubicBezTo>
                  <a:cubicBezTo>
                    <a:pt x="492" y="258"/>
                    <a:pt x="489" y="258"/>
                    <a:pt x="488" y="259"/>
                  </a:cubicBezTo>
                  <a:cubicBezTo>
                    <a:pt x="487" y="261"/>
                    <a:pt x="484" y="260"/>
                    <a:pt x="482" y="260"/>
                  </a:cubicBezTo>
                  <a:cubicBezTo>
                    <a:pt x="485" y="261"/>
                    <a:pt x="486" y="263"/>
                    <a:pt x="488" y="265"/>
                  </a:cubicBezTo>
                  <a:cubicBezTo>
                    <a:pt x="489" y="265"/>
                    <a:pt x="491" y="265"/>
                    <a:pt x="492" y="266"/>
                  </a:cubicBezTo>
                  <a:cubicBezTo>
                    <a:pt x="494" y="267"/>
                    <a:pt x="496" y="269"/>
                    <a:pt x="496" y="271"/>
                  </a:cubicBezTo>
                  <a:cubicBezTo>
                    <a:pt x="494" y="271"/>
                    <a:pt x="492" y="271"/>
                    <a:pt x="490" y="271"/>
                  </a:cubicBezTo>
                  <a:cubicBezTo>
                    <a:pt x="488" y="271"/>
                    <a:pt x="484" y="272"/>
                    <a:pt x="484" y="274"/>
                  </a:cubicBezTo>
                  <a:cubicBezTo>
                    <a:pt x="484" y="274"/>
                    <a:pt x="484" y="274"/>
                    <a:pt x="484" y="274"/>
                  </a:cubicBezTo>
                  <a:cubicBezTo>
                    <a:pt x="480" y="277"/>
                    <a:pt x="475" y="280"/>
                    <a:pt x="470" y="283"/>
                  </a:cubicBezTo>
                  <a:cubicBezTo>
                    <a:pt x="467" y="284"/>
                    <a:pt x="458" y="292"/>
                    <a:pt x="455" y="291"/>
                  </a:cubicBezTo>
                  <a:cubicBezTo>
                    <a:pt x="453" y="290"/>
                    <a:pt x="449" y="289"/>
                    <a:pt x="450" y="286"/>
                  </a:cubicBezTo>
                  <a:cubicBezTo>
                    <a:pt x="450" y="284"/>
                    <a:pt x="453" y="284"/>
                    <a:pt x="454" y="285"/>
                  </a:cubicBezTo>
                  <a:cubicBezTo>
                    <a:pt x="454" y="284"/>
                    <a:pt x="458" y="284"/>
                    <a:pt x="460" y="284"/>
                  </a:cubicBezTo>
                  <a:cubicBezTo>
                    <a:pt x="463" y="282"/>
                    <a:pt x="460" y="282"/>
                    <a:pt x="461" y="280"/>
                  </a:cubicBezTo>
                  <a:cubicBezTo>
                    <a:pt x="462" y="279"/>
                    <a:pt x="465" y="278"/>
                    <a:pt x="466" y="277"/>
                  </a:cubicBezTo>
                  <a:cubicBezTo>
                    <a:pt x="468" y="276"/>
                    <a:pt x="470" y="275"/>
                    <a:pt x="471" y="274"/>
                  </a:cubicBezTo>
                  <a:cubicBezTo>
                    <a:pt x="473" y="273"/>
                    <a:pt x="475" y="270"/>
                    <a:pt x="475" y="269"/>
                  </a:cubicBezTo>
                  <a:cubicBezTo>
                    <a:pt x="476" y="267"/>
                    <a:pt x="476" y="265"/>
                    <a:pt x="475" y="263"/>
                  </a:cubicBezTo>
                  <a:cubicBezTo>
                    <a:pt x="475" y="260"/>
                    <a:pt x="470" y="261"/>
                    <a:pt x="468" y="261"/>
                  </a:cubicBezTo>
                  <a:cubicBezTo>
                    <a:pt x="464" y="260"/>
                    <a:pt x="460" y="264"/>
                    <a:pt x="457" y="266"/>
                  </a:cubicBezTo>
                  <a:cubicBezTo>
                    <a:pt x="455" y="267"/>
                    <a:pt x="453" y="267"/>
                    <a:pt x="451" y="268"/>
                  </a:cubicBezTo>
                  <a:cubicBezTo>
                    <a:pt x="447" y="270"/>
                    <a:pt x="449" y="270"/>
                    <a:pt x="449" y="272"/>
                  </a:cubicBezTo>
                  <a:cubicBezTo>
                    <a:pt x="449" y="273"/>
                    <a:pt x="447" y="273"/>
                    <a:pt x="447" y="274"/>
                  </a:cubicBezTo>
                  <a:cubicBezTo>
                    <a:pt x="447" y="275"/>
                    <a:pt x="448" y="275"/>
                    <a:pt x="447" y="276"/>
                  </a:cubicBezTo>
                  <a:cubicBezTo>
                    <a:pt x="447" y="279"/>
                    <a:pt x="444" y="281"/>
                    <a:pt x="441" y="283"/>
                  </a:cubicBezTo>
                  <a:cubicBezTo>
                    <a:pt x="437" y="286"/>
                    <a:pt x="436" y="285"/>
                    <a:pt x="432" y="284"/>
                  </a:cubicBezTo>
                  <a:cubicBezTo>
                    <a:pt x="430" y="283"/>
                    <a:pt x="428" y="283"/>
                    <a:pt x="426" y="283"/>
                  </a:cubicBezTo>
                  <a:cubicBezTo>
                    <a:pt x="423" y="283"/>
                    <a:pt x="404" y="281"/>
                    <a:pt x="403" y="277"/>
                  </a:cubicBezTo>
                  <a:cubicBezTo>
                    <a:pt x="403" y="275"/>
                    <a:pt x="413" y="276"/>
                    <a:pt x="415" y="275"/>
                  </a:cubicBezTo>
                  <a:cubicBezTo>
                    <a:pt x="416" y="275"/>
                    <a:pt x="419" y="273"/>
                    <a:pt x="420" y="272"/>
                  </a:cubicBezTo>
                  <a:cubicBezTo>
                    <a:pt x="422" y="269"/>
                    <a:pt x="418" y="268"/>
                    <a:pt x="416" y="265"/>
                  </a:cubicBezTo>
                  <a:cubicBezTo>
                    <a:pt x="420" y="266"/>
                    <a:pt x="419" y="264"/>
                    <a:pt x="421" y="262"/>
                  </a:cubicBezTo>
                  <a:cubicBezTo>
                    <a:pt x="422" y="261"/>
                    <a:pt x="425" y="261"/>
                    <a:pt x="427" y="261"/>
                  </a:cubicBezTo>
                  <a:cubicBezTo>
                    <a:pt x="428" y="260"/>
                    <a:pt x="432" y="259"/>
                    <a:pt x="432" y="257"/>
                  </a:cubicBezTo>
                  <a:cubicBezTo>
                    <a:pt x="432" y="255"/>
                    <a:pt x="422" y="249"/>
                    <a:pt x="420" y="247"/>
                  </a:cubicBezTo>
                  <a:cubicBezTo>
                    <a:pt x="425" y="246"/>
                    <a:pt x="429" y="245"/>
                    <a:pt x="433" y="246"/>
                  </a:cubicBezTo>
                  <a:cubicBezTo>
                    <a:pt x="438" y="246"/>
                    <a:pt x="441" y="249"/>
                    <a:pt x="446" y="248"/>
                  </a:cubicBezTo>
                  <a:cubicBezTo>
                    <a:pt x="450" y="248"/>
                    <a:pt x="460" y="245"/>
                    <a:pt x="453" y="241"/>
                  </a:cubicBezTo>
                  <a:cubicBezTo>
                    <a:pt x="445" y="238"/>
                    <a:pt x="439" y="236"/>
                    <a:pt x="430" y="236"/>
                  </a:cubicBezTo>
                  <a:cubicBezTo>
                    <a:pt x="426" y="236"/>
                    <a:pt x="420" y="235"/>
                    <a:pt x="416" y="236"/>
                  </a:cubicBezTo>
                  <a:cubicBezTo>
                    <a:pt x="411" y="237"/>
                    <a:pt x="416" y="237"/>
                    <a:pt x="416" y="239"/>
                  </a:cubicBezTo>
                  <a:cubicBezTo>
                    <a:pt x="416" y="242"/>
                    <a:pt x="409" y="239"/>
                    <a:pt x="407" y="239"/>
                  </a:cubicBezTo>
                  <a:cubicBezTo>
                    <a:pt x="405" y="239"/>
                    <a:pt x="403" y="240"/>
                    <a:pt x="401" y="240"/>
                  </a:cubicBezTo>
                  <a:cubicBezTo>
                    <a:pt x="397" y="241"/>
                    <a:pt x="393" y="240"/>
                    <a:pt x="389" y="239"/>
                  </a:cubicBezTo>
                  <a:cubicBezTo>
                    <a:pt x="386" y="239"/>
                    <a:pt x="384" y="239"/>
                    <a:pt x="381" y="240"/>
                  </a:cubicBezTo>
                  <a:cubicBezTo>
                    <a:pt x="380" y="240"/>
                    <a:pt x="378" y="239"/>
                    <a:pt x="378" y="240"/>
                  </a:cubicBezTo>
                  <a:cubicBezTo>
                    <a:pt x="377" y="242"/>
                    <a:pt x="379" y="241"/>
                    <a:pt x="379" y="242"/>
                  </a:cubicBezTo>
                  <a:cubicBezTo>
                    <a:pt x="378" y="245"/>
                    <a:pt x="377" y="243"/>
                    <a:pt x="376" y="244"/>
                  </a:cubicBezTo>
                  <a:cubicBezTo>
                    <a:pt x="374" y="244"/>
                    <a:pt x="374" y="244"/>
                    <a:pt x="373" y="246"/>
                  </a:cubicBezTo>
                  <a:cubicBezTo>
                    <a:pt x="372" y="248"/>
                    <a:pt x="374" y="249"/>
                    <a:pt x="371" y="248"/>
                  </a:cubicBezTo>
                  <a:cubicBezTo>
                    <a:pt x="371" y="248"/>
                    <a:pt x="370" y="246"/>
                    <a:pt x="370" y="246"/>
                  </a:cubicBezTo>
                  <a:cubicBezTo>
                    <a:pt x="368" y="244"/>
                    <a:pt x="366" y="241"/>
                    <a:pt x="366" y="239"/>
                  </a:cubicBezTo>
                  <a:cubicBezTo>
                    <a:pt x="366" y="237"/>
                    <a:pt x="368" y="234"/>
                    <a:pt x="370" y="234"/>
                  </a:cubicBezTo>
                  <a:cubicBezTo>
                    <a:pt x="370" y="234"/>
                    <a:pt x="371" y="236"/>
                    <a:pt x="372" y="236"/>
                  </a:cubicBezTo>
                  <a:cubicBezTo>
                    <a:pt x="373" y="236"/>
                    <a:pt x="374" y="234"/>
                    <a:pt x="375" y="234"/>
                  </a:cubicBezTo>
                  <a:cubicBezTo>
                    <a:pt x="377" y="234"/>
                    <a:pt x="379" y="236"/>
                    <a:pt x="381" y="235"/>
                  </a:cubicBezTo>
                  <a:cubicBezTo>
                    <a:pt x="383" y="235"/>
                    <a:pt x="383" y="232"/>
                    <a:pt x="386" y="232"/>
                  </a:cubicBezTo>
                  <a:cubicBezTo>
                    <a:pt x="388" y="231"/>
                    <a:pt x="390" y="234"/>
                    <a:pt x="392" y="233"/>
                  </a:cubicBezTo>
                  <a:cubicBezTo>
                    <a:pt x="394" y="233"/>
                    <a:pt x="395" y="231"/>
                    <a:pt x="396" y="231"/>
                  </a:cubicBezTo>
                  <a:cubicBezTo>
                    <a:pt x="398" y="230"/>
                    <a:pt x="400" y="230"/>
                    <a:pt x="401" y="230"/>
                  </a:cubicBezTo>
                  <a:cubicBezTo>
                    <a:pt x="404" y="229"/>
                    <a:pt x="410" y="228"/>
                    <a:pt x="411" y="225"/>
                  </a:cubicBezTo>
                  <a:cubicBezTo>
                    <a:pt x="411" y="228"/>
                    <a:pt x="412" y="228"/>
                    <a:pt x="414" y="227"/>
                  </a:cubicBezTo>
                  <a:cubicBezTo>
                    <a:pt x="415" y="227"/>
                    <a:pt x="415" y="228"/>
                    <a:pt x="416" y="227"/>
                  </a:cubicBezTo>
                  <a:cubicBezTo>
                    <a:pt x="416" y="227"/>
                    <a:pt x="416" y="225"/>
                    <a:pt x="417" y="225"/>
                  </a:cubicBezTo>
                  <a:cubicBezTo>
                    <a:pt x="420" y="223"/>
                    <a:pt x="424" y="227"/>
                    <a:pt x="426" y="223"/>
                  </a:cubicBezTo>
                  <a:cubicBezTo>
                    <a:pt x="427" y="224"/>
                    <a:pt x="427" y="222"/>
                    <a:pt x="428" y="223"/>
                  </a:cubicBezTo>
                  <a:cubicBezTo>
                    <a:pt x="429" y="223"/>
                    <a:pt x="429" y="224"/>
                    <a:pt x="431" y="224"/>
                  </a:cubicBezTo>
                  <a:cubicBezTo>
                    <a:pt x="431" y="224"/>
                    <a:pt x="433" y="223"/>
                    <a:pt x="434" y="223"/>
                  </a:cubicBezTo>
                  <a:cubicBezTo>
                    <a:pt x="435" y="222"/>
                    <a:pt x="436" y="222"/>
                    <a:pt x="437" y="222"/>
                  </a:cubicBezTo>
                  <a:cubicBezTo>
                    <a:pt x="439" y="221"/>
                    <a:pt x="441" y="220"/>
                    <a:pt x="443" y="219"/>
                  </a:cubicBezTo>
                  <a:cubicBezTo>
                    <a:pt x="445" y="219"/>
                    <a:pt x="448" y="219"/>
                    <a:pt x="450" y="218"/>
                  </a:cubicBezTo>
                  <a:cubicBezTo>
                    <a:pt x="450" y="218"/>
                    <a:pt x="450" y="216"/>
                    <a:pt x="451" y="216"/>
                  </a:cubicBezTo>
                  <a:cubicBezTo>
                    <a:pt x="451" y="216"/>
                    <a:pt x="452" y="216"/>
                    <a:pt x="452" y="216"/>
                  </a:cubicBezTo>
                  <a:cubicBezTo>
                    <a:pt x="453" y="215"/>
                    <a:pt x="454" y="215"/>
                    <a:pt x="455" y="215"/>
                  </a:cubicBezTo>
                  <a:cubicBezTo>
                    <a:pt x="458" y="212"/>
                    <a:pt x="457" y="213"/>
                    <a:pt x="461" y="213"/>
                  </a:cubicBezTo>
                  <a:cubicBezTo>
                    <a:pt x="465" y="213"/>
                    <a:pt x="470" y="210"/>
                    <a:pt x="474" y="209"/>
                  </a:cubicBezTo>
                  <a:cubicBezTo>
                    <a:pt x="476" y="209"/>
                    <a:pt x="478" y="208"/>
                    <a:pt x="480" y="207"/>
                  </a:cubicBezTo>
                  <a:cubicBezTo>
                    <a:pt x="484" y="206"/>
                    <a:pt x="484" y="206"/>
                    <a:pt x="484" y="203"/>
                  </a:cubicBezTo>
                  <a:cubicBezTo>
                    <a:pt x="484" y="204"/>
                    <a:pt x="484" y="205"/>
                    <a:pt x="484" y="205"/>
                  </a:cubicBezTo>
                  <a:cubicBezTo>
                    <a:pt x="484" y="208"/>
                    <a:pt x="505" y="211"/>
                    <a:pt x="509" y="212"/>
                  </a:cubicBezTo>
                  <a:cubicBezTo>
                    <a:pt x="506" y="213"/>
                    <a:pt x="503" y="213"/>
                    <a:pt x="500" y="215"/>
                  </a:cubicBezTo>
                  <a:cubicBezTo>
                    <a:pt x="498" y="215"/>
                    <a:pt x="497" y="217"/>
                    <a:pt x="495" y="217"/>
                  </a:cubicBezTo>
                  <a:cubicBezTo>
                    <a:pt x="494" y="218"/>
                    <a:pt x="492" y="217"/>
                    <a:pt x="492" y="218"/>
                  </a:cubicBezTo>
                  <a:cubicBezTo>
                    <a:pt x="490" y="218"/>
                    <a:pt x="489" y="219"/>
                    <a:pt x="487" y="220"/>
                  </a:cubicBezTo>
                  <a:cubicBezTo>
                    <a:pt x="486" y="220"/>
                    <a:pt x="485" y="220"/>
                    <a:pt x="483" y="221"/>
                  </a:cubicBezTo>
                  <a:cubicBezTo>
                    <a:pt x="482" y="222"/>
                    <a:pt x="481" y="224"/>
                    <a:pt x="480" y="224"/>
                  </a:cubicBezTo>
                  <a:cubicBezTo>
                    <a:pt x="477" y="225"/>
                    <a:pt x="474" y="228"/>
                    <a:pt x="478" y="228"/>
                  </a:cubicBezTo>
                  <a:cubicBezTo>
                    <a:pt x="477" y="229"/>
                    <a:pt x="476" y="230"/>
                    <a:pt x="475" y="231"/>
                  </a:cubicBezTo>
                  <a:cubicBezTo>
                    <a:pt x="476" y="231"/>
                    <a:pt x="478" y="231"/>
                    <a:pt x="479" y="231"/>
                  </a:cubicBezTo>
                  <a:cubicBezTo>
                    <a:pt x="481" y="231"/>
                    <a:pt x="481" y="230"/>
                    <a:pt x="483" y="231"/>
                  </a:cubicBezTo>
                  <a:cubicBezTo>
                    <a:pt x="486" y="232"/>
                    <a:pt x="486" y="233"/>
                    <a:pt x="489" y="233"/>
                  </a:cubicBezTo>
                  <a:cubicBezTo>
                    <a:pt x="491" y="233"/>
                    <a:pt x="491" y="231"/>
                    <a:pt x="493" y="233"/>
                  </a:cubicBezTo>
                  <a:cubicBezTo>
                    <a:pt x="492" y="232"/>
                    <a:pt x="491" y="233"/>
                    <a:pt x="490" y="234"/>
                  </a:cubicBezTo>
                  <a:cubicBezTo>
                    <a:pt x="492" y="234"/>
                    <a:pt x="494" y="234"/>
                    <a:pt x="496" y="234"/>
                  </a:cubicBezTo>
                  <a:cubicBezTo>
                    <a:pt x="496" y="234"/>
                    <a:pt x="495" y="233"/>
                    <a:pt x="495" y="233"/>
                  </a:cubicBezTo>
                  <a:cubicBezTo>
                    <a:pt x="501" y="232"/>
                    <a:pt x="506" y="235"/>
                    <a:pt x="512" y="234"/>
                  </a:cubicBezTo>
                  <a:cubicBezTo>
                    <a:pt x="514" y="233"/>
                    <a:pt x="517" y="233"/>
                    <a:pt x="520" y="232"/>
                  </a:cubicBezTo>
                  <a:cubicBezTo>
                    <a:pt x="523" y="231"/>
                    <a:pt x="525" y="230"/>
                    <a:pt x="527" y="227"/>
                  </a:cubicBezTo>
                  <a:cubicBezTo>
                    <a:pt x="526" y="228"/>
                    <a:pt x="525" y="228"/>
                    <a:pt x="525" y="229"/>
                  </a:cubicBezTo>
                  <a:cubicBezTo>
                    <a:pt x="528" y="223"/>
                    <a:pt x="533" y="221"/>
                    <a:pt x="540" y="220"/>
                  </a:cubicBezTo>
                  <a:cubicBezTo>
                    <a:pt x="540" y="222"/>
                    <a:pt x="539" y="222"/>
                    <a:pt x="537" y="224"/>
                  </a:cubicBezTo>
                  <a:cubicBezTo>
                    <a:pt x="537" y="224"/>
                    <a:pt x="536" y="226"/>
                    <a:pt x="536" y="226"/>
                  </a:cubicBezTo>
                  <a:cubicBezTo>
                    <a:pt x="535" y="227"/>
                    <a:pt x="533" y="228"/>
                    <a:pt x="534" y="230"/>
                  </a:cubicBezTo>
                  <a:cubicBezTo>
                    <a:pt x="537" y="229"/>
                    <a:pt x="540" y="228"/>
                    <a:pt x="543" y="229"/>
                  </a:cubicBezTo>
                  <a:cubicBezTo>
                    <a:pt x="540" y="229"/>
                    <a:pt x="541" y="233"/>
                    <a:pt x="539" y="236"/>
                  </a:cubicBezTo>
                  <a:cubicBezTo>
                    <a:pt x="538" y="238"/>
                    <a:pt x="536" y="240"/>
                    <a:pt x="536" y="242"/>
                  </a:cubicBezTo>
                  <a:cubicBezTo>
                    <a:pt x="536" y="246"/>
                    <a:pt x="534" y="243"/>
                    <a:pt x="531" y="244"/>
                  </a:cubicBezTo>
                  <a:cubicBezTo>
                    <a:pt x="528" y="245"/>
                    <a:pt x="528" y="246"/>
                    <a:pt x="527" y="248"/>
                  </a:cubicBezTo>
                  <a:cubicBezTo>
                    <a:pt x="527" y="248"/>
                    <a:pt x="528" y="249"/>
                    <a:pt x="527" y="249"/>
                  </a:cubicBezTo>
                  <a:close/>
                  <a:moveTo>
                    <a:pt x="733" y="373"/>
                  </a:moveTo>
                  <a:cubicBezTo>
                    <a:pt x="732" y="369"/>
                    <a:pt x="734" y="369"/>
                    <a:pt x="730" y="367"/>
                  </a:cubicBezTo>
                  <a:cubicBezTo>
                    <a:pt x="728" y="367"/>
                    <a:pt x="726" y="367"/>
                    <a:pt x="724" y="366"/>
                  </a:cubicBezTo>
                  <a:cubicBezTo>
                    <a:pt x="719" y="365"/>
                    <a:pt x="716" y="364"/>
                    <a:pt x="711" y="364"/>
                  </a:cubicBezTo>
                  <a:cubicBezTo>
                    <a:pt x="709" y="364"/>
                    <a:pt x="707" y="364"/>
                    <a:pt x="705" y="364"/>
                  </a:cubicBezTo>
                  <a:cubicBezTo>
                    <a:pt x="701" y="364"/>
                    <a:pt x="698" y="365"/>
                    <a:pt x="694" y="367"/>
                  </a:cubicBezTo>
                  <a:cubicBezTo>
                    <a:pt x="688" y="370"/>
                    <a:pt x="679" y="372"/>
                    <a:pt x="678" y="381"/>
                  </a:cubicBezTo>
                  <a:cubicBezTo>
                    <a:pt x="683" y="378"/>
                    <a:pt x="689" y="372"/>
                    <a:pt x="695" y="370"/>
                  </a:cubicBezTo>
                  <a:cubicBezTo>
                    <a:pt x="696" y="370"/>
                    <a:pt x="705" y="370"/>
                    <a:pt x="705" y="370"/>
                  </a:cubicBezTo>
                  <a:cubicBezTo>
                    <a:pt x="706" y="367"/>
                    <a:pt x="703" y="365"/>
                    <a:pt x="707" y="366"/>
                  </a:cubicBezTo>
                  <a:cubicBezTo>
                    <a:pt x="710" y="366"/>
                    <a:pt x="711" y="366"/>
                    <a:pt x="714" y="366"/>
                  </a:cubicBezTo>
                  <a:cubicBezTo>
                    <a:pt x="717" y="366"/>
                    <a:pt x="719" y="367"/>
                    <a:pt x="722" y="368"/>
                  </a:cubicBezTo>
                  <a:cubicBezTo>
                    <a:pt x="717" y="368"/>
                    <a:pt x="713" y="367"/>
                    <a:pt x="708" y="367"/>
                  </a:cubicBezTo>
                  <a:cubicBezTo>
                    <a:pt x="712" y="372"/>
                    <a:pt x="719" y="367"/>
                    <a:pt x="724" y="370"/>
                  </a:cubicBezTo>
                  <a:cubicBezTo>
                    <a:pt x="718" y="372"/>
                    <a:pt x="712" y="372"/>
                    <a:pt x="707" y="374"/>
                  </a:cubicBezTo>
                  <a:cubicBezTo>
                    <a:pt x="704" y="375"/>
                    <a:pt x="702" y="374"/>
                    <a:pt x="699" y="374"/>
                  </a:cubicBezTo>
                  <a:cubicBezTo>
                    <a:pt x="703" y="377"/>
                    <a:pt x="705" y="374"/>
                    <a:pt x="709" y="374"/>
                  </a:cubicBezTo>
                  <a:cubicBezTo>
                    <a:pt x="707" y="376"/>
                    <a:pt x="706" y="376"/>
                    <a:pt x="705" y="377"/>
                  </a:cubicBezTo>
                  <a:cubicBezTo>
                    <a:pt x="706" y="377"/>
                    <a:pt x="707" y="376"/>
                    <a:pt x="708" y="375"/>
                  </a:cubicBezTo>
                  <a:cubicBezTo>
                    <a:pt x="710" y="375"/>
                    <a:pt x="711" y="376"/>
                    <a:pt x="711" y="376"/>
                  </a:cubicBezTo>
                  <a:cubicBezTo>
                    <a:pt x="714" y="376"/>
                    <a:pt x="717" y="373"/>
                    <a:pt x="720" y="374"/>
                  </a:cubicBezTo>
                  <a:cubicBezTo>
                    <a:pt x="714" y="378"/>
                    <a:pt x="709" y="382"/>
                    <a:pt x="702" y="380"/>
                  </a:cubicBezTo>
                  <a:cubicBezTo>
                    <a:pt x="702" y="380"/>
                    <a:pt x="695" y="379"/>
                    <a:pt x="694" y="380"/>
                  </a:cubicBezTo>
                  <a:cubicBezTo>
                    <a:pt x="691" y="380"/>
                    <a:pt x="687" y="385"/>
                    <a:pt x="685" y="387"/>
                  </a:cubicBezTo>
                  <a:cubicBezTo>
                    <a:pt x="682" y="389"/>
                    <a:pt x="679" y="391"/>
                    <a:pt x="677" y="393"/>
                  </a:cubicBezTo>
                  <a:cubicBezTo>
                    <a:pt x="677" y="392"/>
                    <a:pt x="682" y="391"/>
                    <a:pt x="682" y="391"/>
                  </a:cubicBezTo>
                  <a:cubicBezTo>
                    <a:pt x="683" y="392"/>
                    <a:pt x="680" y="394"/>
                    <a:pt x="679" y="395"/>
                  </a:cubicBezTo>
                  <a:cubicBezTo>
                    <a:pt x="676" y="398"/>
                    <a:pt x="671" y="402"/>
                    <a:pt x="667" y="404"/>
                  </a:cubicBezTo>
                  <a:cubicBezTo>
                    <a:pt x="665" y="406"/>
                    <a:pt x="665" y="408"/>
                    <a:pt x="663" y="409"/>
                  </a:cubicBezTo>
                  <a:cubicBezTo>
                    <a:pt x="657" y="412"/>
                    <a:pt x="652" y="413"/>
                    <a:pt x="645" y="412"/>
                  </a:cubicBezTo>
                  <a:cubicBezTo>
                    <a:pt x="642" y="412"/>
                    <a:pt x="639" y="413"/>
                    <a:pt x="636" y="416"/>
                  </a:cubicBezTo>
                  <a:cubicBezTo>
                    <a:pt x="634" y="418"/>
                    <a:pt x="632" y="419"/>
                    <a:pt x="631" y="422"/>
                  </a:cubicBezTo>
                  <a:cubicBezTo>
                    <a:pt x="630" y="422"/>
                    <a:pt x="632" y="423"/>
                    <a:pt x="630" y="424"/>
                  </a:cubicBezTo>
                  <a:cubicBezTo>
                    <a:pt x="634" y="422"/>
                    <a:pt x="632" y="429"/>
                    <a:pt x="629" y="429"/>
                  </a:cubicBezTo>
                  <a:cubicBezTo>
                    <a:pt x="621" y="430"/>
                    <a:pt x="613" y="432"/>
                    <a:pt x="605" y="433"/>
                  </a:cubicBezTo>
                  <a:cubicBezTo>
                    <a:pt x="599" y="434"/>
                    <a:pt x="592" y="436"/>
                    <a:pt x="586" y="435"/>
                  </a:cubicBezTo>
                  <a:cubicBezTo>
                    <a:pt x="582" y="434"/>
                    <a:pt x="579" y="435"/>
                    <a:pt x="575" y="434"/>
                  </a:cubicBezTo>
                  <a:cubicBezTo>
                    <a:pt x="573" y="433"/>
                    <a:pt x="572" y="433"/>
                    <a:pt x="570" y="432"/>
                  </a:cubicBezTo>
                  <a:cubicBezTo>
                    <a:pt x="568" y="431"/>
                    <a:pt x="567" y="430"/>
                    <a:pt x="566" y="429"/>
                  </a:cubicBezTo>
                  <a:cubicBezTo>
                    <a:pt x="561" y="427"/>
                    <a:pt x="555" y="429"/>
                    <a:pt x="550" y="427"/>
                  </a:cubicBezTo>
                  <a:cubicBezTo>
                    <a:pt x="548" y="426"/>
                    <a:pt x="545" y="424"/>
                    <a:pt x="544" y="423"/>
                  </a:cubicBezTo>
                  <a:cubicBezTo>
                    <a:pt x="543" y="422"/>
                    <a:pt x="543" y="421"/>
                    <a:pt x="542" y="420"/>
                  </a:cubicBezTo>
                  <a:cubicBezTo>
                    <a:pt x="541" y="420"/>
                    <a:pt x="539" y="419"/>
                    <a:pt x="538" y="419"/>
                  </a:cubicBezTo>
                  <a:cubicBezTo>
                    <a:pt x="540" y="419"/>
                    <a:pt x="542" y="419"/>
                    <a:pt x="544" y="420"/>
                  </a:cubicBezTo>
                  <a:cubicBezTo>
                    <a:pt x="549" y="420"/>
                    <a:pt x="556" y="422"/>
                    <a:pt x="561" y="422"/>
                  </a:cubicBezTo>
                  <a:cubicBezTo>
                    <a:pt x="555" y="415"/>
                    <a:pt x="568" y="419"/>
                    <a:pt x="571" y="420"/>
                  </a:cubicBezTo>
                  <a:cubicBezTo>
                    <a:pt x="574" y="420"/>
                    <a:pt x="578" y="422"/>
                    <a:pt x="579" y="420"/>
                  </a:cubicBezTo>
                  <a:cubicBezTo>
                    <a:pt x="582" y="418"/>
                    <a:pt x="579" y="417"/>
                    <a:pt x="576" y="416"/>
                  </a:cubicBezTo>
                  <a:cubicBezTo>
                    <a:pt x="577" y="416"/>
                    <a:pt x="578" y="415"/>
                    <a:pt x="579" y="415"/>
                  </a:cubicBezTo>
                  <a:cubicBezTo>
                    <a:pt x="579" y="414"/>
                    <a:pt x="581" y="415"/>
                    <a:pt x="582" y="415"/>
                  </a:cubicBezTo>
                  <a:cubicBezTo>
                    <a:pt x="585" y="414"/>
                    <a:pt x="583" y="413"/>
                    <a:pt x="583" y="411"/>
                  </a:cubicBezTo>
                  <a:cubicBezTo>
                    <a:pt x="583" y="410"/>
                    <a:pt x="585" y="408"/>
                    <a:pt x="585" y="408"/>
                  </a:cubicBezTo>
                  <a:cubicBezTo>
                    <a:pt x="586" y="406"/>
                    <a:pt x="587" y="406"/>
                    <a:pt x="588" y="405"/>
                  </a:cubicBezTo>
                  <a:cubicBezTo>
                    <a:pt x="586" y="403"/>
                    <a:pt x="589" y="402"/>
                    <a:pt x="591" y="402"/>
                  </a:cubicBezTo>
                  <a:cubicBezTo>
                    <a:pt x="593" y="402"/>
                    <a:pt x="595" y="402"/>
                    <a:pt x="598" y="403"/>
                  </a:cubicBezTo>
                  <a:cubicBezTo>
                    <a:pt x="600" y="404"/>
                    <a:pt x="606" y="402"/>
                    <a:pt x="608" y="400"/>
                  </a:cubicBezTo>
                  <a:cubicBezTo>
                    <a:pt x="608" y="400"/>
                    <a:pt x="607" y="400"/>
                    <a:pt x="607" y="399"/>
                  </a:cubicBezTo>
                  <a:cubicBezTo>
                    <a:pt x="610" y="399"/>
                    <a:pt x="608" y="399"/>
                    <a:pt x="608" y="398"/>
                  </a:cubicBezTo>
                  <a:cubicBezTo>
                    <a:pt x="608" y="395"/>
                    <a:pt x="609" y="397"/>
                    <a:pt x="606" y="395"/>
                  </a:cubicBezTo>
                  <a:cubicBezTo>
                    <a:pt x="606" y="395"/>
                    <a:pt x="605" y="394"/>
                    <a:pt x="605" y="393"/>
                  </a:cubicBezTo>
                  <a:cubicBezTo>
                    <a:pt x="604" y="392"/>
                    <a:pt x="602" y="392"/>
                    <a:pt x="601" y="391"/>
                  </a:cubicBezTo>
                  <a:cubicBezTo>
                    <a:pt x="598" y="389"/>
                    <a:pt x="600" y="388"/>
                    <a:pt x="598" y="386"/>
                  </a:cubicBezTo>
                  <a:cubicBezTo>
                    <a:pt x="595" y="384"/>
                    <a:pt x="591" y="387"/>
                    <a:pt x="595" y="383"/>
                  </a:cubicBezTo>
                  <a:cubicBezTo>
                    <a:pt x="592" y="382"/>
                    <a:pt x="594" y="380"/>
                    <a:pt x="594" y="378"/>
                  </a:cubicBezTo>
                  <a:cubicBezTo>
                    <a:pt x="594" y="377"/>
                    <a:pt x="595" y="377"/>
                    <a:pt x="594" y="376"/>
                  </a:cubicBezTo>
                  <a:cubicBezTo>
                    <a:pt x="592" y="376"/>
                    <a:pt x="591" y="377"/>
                    <a:pt x="590" y="377"/>
                  </a:cubicBezTo>
                  <a:cubicBezTo>
                    <a:pt x="588" y="377"/>
                    <a:pt x="585" y="377"/>
                    <a:pt x="584" y="376"/>
                  </a:cubicBezTo>
                  <a:cubicBezTo>
                    <a:pt x="584" y="376"/>
                    <a:pt x="583" y="374"/>
                    <a:pt x="583" y="374"/>
                  </a:cubicBezTo>
                  <a:cubicBezTo>
                    <a:pt x="583" y="375"/>
                    <a:pt x="581" y="372"/>
                    <a:pt x="582" y="372"/>
                  </a:cubicBezTo>
                  <a:cubicBezTo>
                    <a:pt x="581" y="371"/>
                    <a:pt x="576" y="370"/>
                    <a:pt x="576" y="368"/>
                  </a:cubicBezTo>
                  <a:cubicBezTo>
                    <a:pt x="576" y="366"/>
                    <a:pt x="579" y="366"/>
                    <a:pt x="580" y="367"/>
                  </a:cubicBezTo>
                  <a:cubicBezTo>
                    <a:pt x="582" y="368"/>
                    <a:pt x="584" y="370"/>
                    <a:pt x="586" y="370"/>
                  </a:cubicBezTo>
                  <a:cubicBezTo>
                    <a:pt x="588" y="371"/>
                    <a:pt x="590" y="371"/>
                    <a:pt x="592" y="372"/>
                  </a:cubicBezTo>
                  <a:cubicBezTo>
                    <a:pt x="595" y="372"/>
                    <a:pt x="595" y="373"/>
                    <a:pt x="597" y="375"/>
                  </a:cubicBezTo>
                  <a:cubicBezTo>
                    <a:pt x="598" y="377"/>
                    <a:pt x="600" y="376"/>
                    <a:pt x="602" y="377"/>
                  </a:cubicBezTo>
                  <a:cubicBezTo>
                    <a:pt x="606" y="378"/>
                    <a:pt x="608" y="382"/>
                    <a:pt x="612" y="381"/>
                  </a:cubicBezTo>
                  <a:cubicBezTo>
                    <a:pt x="613" y="380"/>
                    <a:pt x="616" y="379"/>
                    <a:pt x="617" y="379"/>
                  </a:cubicBezTo>
                  <a:cubicBezTo>
                    <a:pt x="619" y="379"/>
                    <a:pt x="619" y="383"/>
                    <a:pt x="621" y="384"/>
                  </a:cubicBezTo>
                  <a:cubicBezTo>
                    <a:pt x="621" y="384"/>
                    <a:pt x="623" y="384"/>
                    <a:pt x="623" y="384"/>
                  </a:cubicBezTo>
                  <a:cubicBezTo>
                    <a:pt x="624" y="385"/>
                    <a:pt x="625" y="385"/>
                    <a:pt x="625" y="386"/>
                  </a:cubicBezTo>
                  <a:cubicBezTo>
                    <a:pt x="626" y="386"/>
                    <a:pt x="626" y="387"/>
                    <a:pt x="627" y="388"/>
                  </a:cubicBezTo>
                  <a:cubicBezTo>
                    <a:pt x="628" y="389"/>
                    <a:pt x="629" y="388"/>
                    <a:pt x="630" y="389"/>
                  </a:cubicBezTo>
                  <a:cubicBezTo>
                    <a:pt x="631" y="390"/>
                    <a:pt x="631" y="390"/>
                    <a:pt x="633" y="391"/>
                  </a:cubicBezTo>
                  <a:cubicBezTo>
                    <a:pt x="633" y="392"/>
                    <a:pt x="635" y="393"/>
                    <a:pt x="635" y="393"/>
                  </a:cubicBezTo>
                  <a:cubicBezTo>
                    <a:pt x="636" y="393"/>
                    <a:pt x="637" y="393"/>
                    <a:pt x="638" y="393"/>
                  </a:cubicBezTo>
                  <a:cubicBezTo>
                    <a:pt x="638" y="393"/>
                    <a:pt x="639" y="394"/>
                    <a:pt x="639" y="394"/>
                  </a:cubicBezTo>
                  <a:cubicBezTo>
                    <a:pt x="641" y="394"/>
                    <a:pt x="642" y="393"/>
                    <a:pt x="644" y="393"/>
                  </a:cubicBezTo>
                  <a:cubicBezTo>
                    <a:pt x="645" y="393"/>
                    <a:pt x="645" y="394"/>
                    <a:pt x="646" y="393"/>
                  </a:cubicBezTo>
                  <a:cubicBezTo>
                    <a:pt x="647" y="393"/>
                    <a:pt x="647" y="392"/>
                    <a:pt x="648" y="392"/>
                  </a:cubicBezTo>
                  <a:cubicBezTo>
                    <a:pt x="649" y="391"/>
                    <a:pt x="649" y="392"/>
                    <a:pt x="651" y="393"/>
                  </a:cubicBezTo>
                  <a:cubicBezTo>
                    <a:pt x="651" y="393"/>
                    <a:pt x="652" y="392"/>
                    <a:pt x="653" y="392"/>
                  </a:cubicBezTo>
                  <a:cubicBezTo>
                    <a:pt x="655" y="391"/>
                    <a:pt x="658" y="392"/>
                    <a:pt x="660" y="391"/>
                  </a:cubicBezTo>
                  <a:cubicBezTo>
                    <a:pt x="663" y="390"/>
                    <a:pt x="666" y="387"/>
                    <a:pt x="668" y="385"/>
                  </a:cubicBezTo>
                  <a:cubicBezTo>
                    <a:pt x="670" y="384"/>
                    <a:pt x="671" y="383"/>
                    <a:pt x="672" y="382"/>
                  </a:cubicBezTo>
                  <a:cubicBezTo>
                    <a:pt x="673" y="381"/>
                    <a:pt x="676" y="381"/>
                    <a:pt x="677" y="380"/>
                  </a:cubicBezTo>
                  <a:cubicBezTo>
                    <a:pt x="678" y="379"/>
                    <a:pt x="678" y="377"/>
                    <a:pt x="679" y="375"/>
                  </a:cubicBezTo>
                  <a:cubicBezTo>
                    <a:pt x="680" y="373"/>
                    <a:pt x="681" y="373"/>
                    <a:pt x="682" y="371"/>
                  </a:cubicBezTo>
                  <a:cubicBezTo>
                    <a:pt x="685" y="365"/>
                    <a:pt x="694" y="362"/>
                    <a:pt x="700" y="361"/>
                  </a:cubicBezTo>
                  <a:cubicBezTo>
                    <a:pt x="707" y="359"/>
                    <a:pt x="715" y="360"/>
                    <a:pt x="722" y="361"/>
                  </a:cubicBezTo>
                  <a:cubicBezTo>
                    <a:pt x="724" y="361"/>
                    <a:pt x="725" y="362"/>
                    <a:pt x="727" y="362"/>
                  </a:cubicBezTo>
                  <a:cubicBezTo>
                    <a:pt x="729" y="363"/>
                    <a:pt x="731" y="363"/>
                    <a:pt x="733" y="363"/>
                  </a:cubicBezTo>
                  <a:cubicBezTo>
                    <a:pt x="736" y="363"/>
                    <a:pt x="739" y="366"/>
                    <a:pt x="742" y="365"/>
                  </a:cubicBezTo>
                  <a:cubicBezTo>
                    <a:pt x="739" y="368"/>
                    <a:pt x="736" y="370"/>
                    <a:pt x="733" y="373"/>
                  </a:cubicBezTo>
                  <a:close/>
                  <a:moveTo>
                    <a:pt x="988" y="663"/>
                  </a:moveTo>
                  <a:cubicBezTo>
                    <a:pt x="990" y="658"/>
                    <a:pt x="992" y="654"/>
                    <a:pt x="994" y="650"/>
                  </a:cubicBezTo>
                  <a:cubicBezTo>
                    <a:pt x="997" y="652"/>
                    <a:pt x="996" y="653"/>
                    <a:pt x="997" y="654"/>
                  </a:cubicBezTo>
                  <a:cubicBezTo>
                    <a:pt x="997" y="654"/>
                    <a:pt x="999" y="653"/>
                    <a:pt x="1000" y="654"/>
                  </a:cubicBezTo>
                  <a:cubicBezTo>
                    <a:pt x="997" y="657"/>
                    <a:pt x="992" y="656"/>
                    <a:pt x="991" y="659"/>
                  </a:cubicBezTo>
                  <a:cubicBezTo>
                    <a:pt x="991" y="660"/>
                    <a:pt x="991" y="661"/>
                    <a:pt x="991" y="662"/>
                  </a:cubicBezTo>
                  <a:cubicBezTo>
                    <a:pt x="991" y="663"/>
                    <a:pt x="988" y="664"/>
                    <a:pt x="992" y="665"/>
                  </a:cubicBezTo>
                  <a:cubicBezTo>
                    <a:pt x="993" y="665"/>
                    <a:pt x="993" y="665"/>
                    <a:pt x="995" y="664"/>
                  </a:cubicBezTo>
                  <a:cubicBezTo>
                    <a:pt x="995" y="663"/>
                    <a:pt x="996" y="663"/>
                    <a:pt x="997" y="662"/>
                  </a:cubicBezTo>
                  <a:cubicBezTo>
                    <a:pt x="998" y="662"/>
                    <a:pt x="998" y="663"/>
                    <a:pt x="999" y="663"/>
                  </a:cubicBezTo>
                  <a:cubicBezTo>
                    <a:pt x="1000" y="662"/>
                    <a:pt x="1000" y="661"/>
                    <a:pt x="1001" y="661"/>
                  </a:cubicBezTo>
                  <a:cubicBezTo>
                    <a:pt x="1003" y="661"/>
                    <a:pt x="998" y="664"/>
                    <a:pt x="997" y="664"/>
                  </a:cubicBezTo>
                  <a:cubicBezTo>
                    <a:pt x="995" y="665"/>
                    <a:pt x="996" y="664"/>
                    <a:pt x="996" y="666"/>
                  </a:cubicBezTo>
                  <a:cubicBezTo>
                    <a:pt x="996" y="666"/>
                    <a:pt x="996" y="667"/>
                    <a:pt x="996" y="667"/>
                  </a:cubicBezTo>
                  <a:cubicBezTo>
                    <a:pt x="996" y="668"/>
                    <a:pt x="997" y="668"/>
                    <a:pt x="997" y="669"/>
                  </a:cubicBezTo>
                  <a:cubicBezTo>
                    <a:pt x="997" y="669"/>
                    <a:pt x="998" y="670"/>
                    <a:pt x="998" y="671"/>
                  </a:cubicBezTo>
                  <a:cubicBezTo>
                    <a:pt x="994" y="671"/>
                    <a:pt x="995" y="670"/>
                    <a:pt x="992" y="668"/>
                  </a:cubicBezTo>
                  <a:cubicBezTo>
                    <a:pt x="991" y="667"/>
                    <a:pt x="986" y="666"/>
                    <a:pt x="988" y="663"/>
                  </a:cubicBezTo>
                  <a:close/>
                  <a:moveTo>
                    <a:pt x="1032" y="757"/>
                  </a:moveTo>
                  <a:cubicBezTo>
                    <a:pt x="1032" y="758"/>
                    <a:pt x="1033" y="759"/>
                    <a:pt x="1033" y="760"/>
                  </a:cubicBezTo>
                  <a:cubicBezTo>
                    <a:pt x="1033" y="763"/>
                    <a:pt x="1032" y="767"/>
                    <a:pt x="1034" y="768"/>
                  </a:cubicBezTo>
                  <a:cubicBezTo>
                    <a:pt x="1032" y="769"/>
                    <a:pt x="1029" y="766"/>
                    <a:pt x="1028" y="766"/>
                  </a:cubicBezTo>
                  <a:cubicBezTo>
                    <a:pt x="1027" y="766"/>
                    <a:pt x="1028" y="769"/>
                    <a:pt x="1028" y="770"/>
                  </a:cubicBezTo>
                  <a:cubicBezTo>
                    <a:pt x="1027" y="771"/>
                    <a:pt x="1028" y="773"/>
                    <a:pt x="1027" y="775"/>
                  </a:cubicBezTo>
                  <a:cubicBezTo>
                    <a:pt x="1027" y="776"/>
                    <a:pt x="1024" y="776"/>
                    <a:pt x="1023" y="776"/>
                  </a:cubicBezTo>
                  <a:cubicBezTo>
                    <a:pt x="1017" y="776"/>
                    <a:pt x="1019" y="767"/>
                    <a:pt x="1019" y="763"/>
                  </a:cubicBezTo>
                  <a:cubicBezTo>
                    <a:pt x="1019" y="760"/>
                    <a:pt x="1020" y="760"/>
                    <a:pt x="1020" y="757"/>
                  </a:cubicBezTo>
                  <a:cubicBezTo>
                    <a:pt x="1020" y="756"/>
                    <a:pt x="1020" y="755"/>
                    <a:pt x="1020" y="754"/>
                  </a:cubicBezTo>
                  <a:cubicBezTo>
                    <a:pt x="1020" y="754"/>
                    <a:pt x="1022" y="754"/>
                    <a:pt x="1022" y="754"/>
                  </a:cubicBezTo>
                  <a:cubicBezTo>
                    <a:pt x="1023" y="752"/>
                    <a:pt x="1023" y="751"/>
                    <a:pt x="1024" y="750"/>
                  </a:cubicBezTo>
                  <a:cubicBezTo>
                    <a:pt x="1025" y="749"/>
                    <a:pt x="1026" y="749"/>
                    <a:pt x="1027" y="747"/>
                  </a:cubicBezTo>
                  <a:cubicBezTo>
                    <a:pt x="1022" y="745"/>
                    <a:pt x="1023" y="751"/>
                    <a:pt x="1019" y="752"/>
                  </a:cubicBezTo>
                  <a:cubicBezTo>
                    <a:pt x="1019" y="748"/>
                    <a:pt x="1021" y="745"/>
                    <a:pt x="1023" y="742"/>
                  </a:cubicBezTo>
                  <a:cubicBezTo>
                    <a:pt x="1023" y="741"/>
                    <a:pt x="1025" y="740"/>
                    <a:pt x="1024" y="739"/>
                  </a:cubicBezTo>
                  <a:cubicBezTo>
                    <a:pt x="1024" y="737"/>
                    <a:pt x="1019" y="736"/>
                    <a:pt x="1017" y="736"/>
                  </a:cubicBezTo>
                  <a:cubicBezTo>
                    <a:pt x="1014" y="738"/>
                    <a:pt x="1016" y="741"/>
                    <a:pt x="1014" y="743"/>
                  </a:cubicBezTo>
                  <a:cubicBezTo>
                    <a:pt x="1009" y="747"/>
                    <a:pt x="1013" y="735"/>
                    <a:pt x="1013" y="732"/>
                  </a:cubicBezTo>
                  <a:cubicBezTo>
                    <a:pt x="1013" y="729"/>
                    <a:pt x="1010" y="723"/>
                    <a:pt x="1006" y="726"/>
                  </a:cubicBezTo>
                  <a:cubicBezTo>
                    <a:pt x="1006" y="727"/>
                    <a:pt x="1005" y="730"/>
                    <a:pt x="1005" y="728"/>
                  </a:cubicBezTo>
                  <a:cubicBezTo>
                    <a:pt x="1004" y="727"/>
                    <a:pt x="1006" y="724"/>
                    <a:pt x="1007" y="723"/>
                  </a:cubicBezTo>
                  <a:cubicBezTo>
                    <a:pt x="1005" y="722"/>
                    <a:pt x="1003" y="724"/>
                    <a:pt x="1002" y="722"/>
                  </a:cubicBezTo>
                  <a:cubicBezTo>
                    <a:pt x="1001" y="721"/>
                    <a:pt x="1000" y="723"/>
                    <a:pt x="1000" y="724"/>
                  </a:cubicBezTo>
                  <a:cubicBezTo>
                    <a:pt x="1000" y="724"/>
                    <a:pt x="1000" y="726"/>
                    <a:pt x="1000" y="727"/>
                  </a:cubicBezTo>
                  <a:cubicBezTo>
                    <a:pt x="1000" y="729"/>
                    <a:pt x="999" y="729"/>
                    <a:pt x="1000" y="731"/>
                  </a:cubicBezTo>
                  <a:cubicBezTo>
                    <a:pt x="997" y="729"/>
                    <a:pt x="995" y="729"/>
                    <a:pt x="993" y="726"/>
                  </a:cubicBezTo>
                  <a:cubicBezTo>
                    <a:pt x="991" y="723"/>
                    <a:pt x="989" y="719"/>
                    <a:pt x="986" y="716"/>
                  </a:cubicBezTo>
                  <a:cubicBezTo>
                    <a:pt x="985" y="714"/>
                    <a:pt x="984" y="713"/>
                    <a:pt x="982" y="710"/>
                  </a:cubicBezTo>
                  <a:cubicBezTo>
                    <a:pt x="981" y="708"/>
                    <a:pt x="979" y="707"/>
                    <a:pt x="978" y="706"/>
                  </a:cubicBezTo>
                  <a:cubicBezTo>
                    <a:pt x="976" y="703"/>
                    <a:pt x="976" y="701"/>
                    <a:pt x="978" y="697"/>
                  </a:cubicBezTo>
                  <a:cubicBezTo>
                    <a:pt x="979" y="695"/>
                    <a:pt x="983" y="696"/>
                    <a:pt x="985" y="694"/>
                  </a:cubicBezTo>
                  <a:cubicBezTo>
                    <a:pt x="983" y="693"/>
                    <a:pt x="980" y="693"/>
                    <a:pt x="978" y="693"/>
                  </a:cubicBezTo>
                  <a:cubicBezTo>
                    <a:pt x="976" y="693"/>
                    <a:pt x="976" y="693"/>
                    <a:pt x="975" y="694"/>
                  </a:cubicBezTo>
                  <a:cubicBezTo>
                    <a:pt x="974" y="694"/>
                    <a:pt x="971" y="694"/>
                    <a:pt x="970" y="693"/>
                  </a:cubicBezTo>
                  <a:cubicBezTo>
                    <a:pt x="969" y="693"/>
                    <a:pt x="969" y="690"/>
                    <a:pt x="966" y="689"/>
                  </a:cubicBezTo>
                  <a:cubicBezTo>
                    <a:pt x="966" y="689"/>
                    <a:pt x="966" y="688"/>
                    <a:pt x="966" y="687"/>
                  </a:cubicBezTo>
                  <a:cubicBezTo>
                    <a:pt x="968" y="682"/>
                    <a:pt x="969" y="673"/>
                    <a:pt x="972" y="669"/>
                  </a:cubicBezTo>
                  <a:cubicBezTo>
                    <a:pt x="975" y="666"/>
                    <a:pt x="978" y="668"/>
                    <a:pt x="980" y="668"/>
                  </a:cubicBezTo>
                  <a:cubicBezTo>
                    <a:pt x="984" y="669"/>
                    <a:pt x="986" y="667"/>
                    <a:pt x="990" y="669"/>
                  </a:cubicBezTo>
                  <a:cubicBezTo>
                    <a:pt x="992" y="670"/>
                    <a:pt x="993" y="671"/>
                    <a:pt x="994" y="672"/>
                  </a:cubicBezTo>
                  <a:cubicBezTo>
                    <a:pt x="996" y="673"/>
                    <a:pt x="995" y="673"/>
                    <a:pt x="998" y="673"/>
                  </a:cubicBezTo>
                  <a:cubicBezTo>
                    <a:pt x="999" y="673"/>
                    <a:pt x="998" y="671"/>
                    <a:pt x="999" y="673"/>
                  </a:cubicBezTo>
                  <a:cubicBezTo>
                    <a:pt x="1000" y="674"/>
                    <a:pt x="999" y="675"/>
                    <a:pt x="999" y="676"/>
                  </a:cubicBezTo>
                  <a:cubicBezTo>
                    <a:pt x="1000" y="678"/>
                    <a:pt x="1001" y="678"/>
                    <a:pt x="1002" y="679"/>
                  </a:cubicBezTo>
                  <a:cubicBezTo>
                    <a:pt x="1003" y="682"/>
                    <a:pt x="1004" y="685"/>
                    <a:pt x="1006" y="687"/>
                  </a:cubicBezTo>
                  <a:cubicBezTo>
                    <a:pt x="1007" y="689"/>
                    <a:pt x="1007" y="689"/>
                    <a:pt x="1008" y="691"/>
                  </a:cubicBezTo>
                  <a:cubicBezTo>
                    <a:pt x="1009" y="693"/>
                    <a:pt x="1008" y="694"/>
                    <a:pt x="1010" y="694"/>
                  </a:cubicBezTo>
                  <a:cubicBezTo>
                    <a:pt x="1008" y="697"/>
                    <a:pt x="1008" y="697"/>
                    <a:pt x="1009" y="700"/>
                  </a:cubicBezTo>
                  <a:cubicBezTo>
                    <a:pt x="1010" y="701"/>
                    <a:pt x="1011" y="702"/>
                    <a:pt x="1012" y="703"/>
                  </a:cubicBezTo>
                  <a:cubicBezTo>
                    <a:pt x="1013" y="706"/>
                    <a:pt x="1014" y="707"/>
                    <a:pt x="1015" y="710"/>
                  </a:cubicBezTo>
                  <a:cubicBezTo>
                    <a:pt x="1016" y="713"/>
                    <a:pt x="1017" y="714"/>
                    <a:pt x="1017" y="717"/>
                  </a:cubicBezTo>
                  <a:cubicBezTo>
                    <a:pt x="1017" y="720"/>
                    <a:pt x="1018" y="722"/>
                    <a:pt x="1020" y="725"/>
                  </a:cubicBezTo>
                  <a:cubicBezTo>
                    <a:pt x="1020" y="726"/>
                    <a:pt x="1022" y="726"/>
                    <a:pt x="1022" y="727"/>
                  </a:cubicBezTo>
                  <a:cubicBezTo>
                    <a:pt x="1022" y="728"/>
                    <a:pt x="1021" y="729"/>
                    <a:pt x="1021" y="730"/>
                  </a:cubicBezTo>
                  <a:cubicBezTo>
                    <a:pt x="1022" y="731"/>
                    <a:pt x="1022" y="730"/>
                    <a:pt x="1023" y="730"/>
                  </a:cubicBezTo>
                  <a:cubicBezTo>
                    <a:pt x="1023" y="731"/>
                    <a:pt x="1024" y="731"/>
                    <a:pt x="1025" y="732"/>
                  </a:cubicBezTo>
                  <a:cubicBezTo>
                    <a:pt x="1026" y="733"/>
                    <a:pt x="1024" y="733"/>
                    <a:pt x="1024" y="735"/>
                  </a:cubicBezTo>
                  <a:cubicBezTo>
                    <a:pt x="1025" y="736"/>
                    <a:pt x="1025" y="737"/>
                    <a:pt x="1027" y="738"/>
                  </a:cubicBezTo>
                  <a:cubicBezTo>
                    <a:pt x="1029" y="741"/>
                    <a:pt x="1028" y="743"/>
                    <a:pt x="1030" y="745"/>
                  </a:cubicBezTo>
                  <a:cubicBezTo>
                    <a:pt x="1031" y="746"/>
                    <a:pt x="1035" y="748"/>
                    <a:pt x="1035" y="751"/>
                  </a:cubicBezTo>
                  <a:cubicBezTo>
                    <a:pt x="1035" y="751"/>
                    <a:pt x="1034" y="754"/>
                    <a:pt x="1034" y="754"/>
                  </a:cubicBezTo>
                  <a:cubicBezTo>
                    <a:pt x="1031" y="755"/>
                    <a:pt x="1032" y="755"/>
                    <a:pt x="1032" y="757"/>
                  </a:cubicBezTo>
                  <a:close/>
                  <a:moveTo>
                    <a:pt x="1783" y="779"/>
                  </a:moveTo>
                  <a:cubicBezTo>
                    <a:pt x="1785" y="779"/>
                    <a:pt x="1787" y="778"/>
                    <a:pt x="1789" y="778"/>
                  </a:cubicBezTo>
                  <a:cubicBezTo>
                    <a:pt x="1789" y="778"/>
                    <a:pt x="1789" y="778"/>
                    <a:pt x="1789" y="778"/>
                  </a:cubicBezTo>
                  <a:cubicBezTo>
                    <a:pt x="1789" y="778"/>
                    <a:pt x="1789" y="778"/>
                    <a:pt x="1789" y="778"/>
                  </a:cubicBezTo>
                  <a:cubicBezTo>
                    <a:pt x="1790" y="778"/>
                    <a:pt x="1790" y="778"/>
                    <a:pt x="1790" y="778"/>
                  </a:cubicBezTo>
                  <a:cubicBezTo>
                    <a:pt x="1790" y="778"/>
                    <a:pt x="1790" y="778"/>
                    <a:pt x="1790" y="778"/>
                  </a:cubicBezTo>
                  <a:cubicBezTo>
                    <a:pt x="1791" y="778"/>
                    <a:pt x="1791" y="779"/>
                    <a:pt x="1791" y="779"/>
                  </a:cubicBezTo>
                  <a:cubicBezTo>
                    <a:pt x="1789" y="779"/>
                    <a:pt x="1786" y="779"/>
                    <a:pt x="1783" y="779"/>
                  </a:cubicBezTo>
                  <a:close/>
                  <a:moveTo>
                    <a:pt x="1795" y="780"/>
                  </a:moveTo>
                  <a:cubicBezTo>
                    <a:pt x="1795" y="780"/>
                    <a:pt x="1795" y="780"/>
                    <a:pt x="1795" y="780"/>
                  </a:cubicBezTo>
                  <a:cubicBezTo>
                    <a:pt x="1795" y="780"/>
                    <a:pt x="1795" y="780"/>
                    <a:pt x="1794" y="780"/>
                  </a:cubicBezTo>
                  <a:cubicBezTo>
                    <a:pt x="1795" y="780"/>
                    <a:pt x="1795" y="780"/>
                    <a:pt x="1796" y="780"/>
                  </a:cubicBezTo>
                  <a:cubicBezTo>
                    <a:pt x="1796" y="780"/>
                    <a:pt x="1796" y="780"/>
                    <a:pt x="1796" y="780"/>
                  </a:cubicBezTo>
                  <a:cubicBezTo>
                    <a:pt x="1796" y="780"/>
                    <a:pt x="1796" y="780"/>
                    <a:pt x="1796" y="780"/>
                  </a:cubicBezTo>
                  <a:cubicBezTo>
                    <a:pt x="1796" y="780"/>
                    <a:pt x="1796" y="780"/>
                    <a:pt x="1796" y="780"/>
                  </a:cubicBezTo>
                  <a:cubicBezTo>
                    <a:pt x="1796" y="780"/>
                    <a:pt x="1796" y="780"/>
                    <a:pt x="1795" y="780"/>
                  </a:cubicBezTo>
                  <a:close/>
                  <a:moveTo>
                    <a:pt x="1797" y="780"/>
                  </a:moveTo>
                  <a:cubicBezTo>
                    <a:pt x="1797" y="780"/>
                    <a:pt x="1797" y="780"/>
                    <a:pt x="1797" y="780"/>
                  </a:cubicBezTo>
                  <a:cubicBezTo>
                    <a:pt x="1797" y="780"/>
                    <a:pt x="1797" y="780"/>
                    <a:pt x="1797" y="780"/>
                  </a:cubicBezTo>
                  <a:cubicBezTo>
                    <a:pt x="1797" y="780"/>
                    <a:pt x="1797" y="780"/>
                    <a:pt x="1797" y="780"/>
                  </a:cubicBezTo>
                  <a:close/>
                  <a:moveTo>
                    <a:pt x="1946" y="745"/>
                  </a:moveTo>
                  <a:cubicBezTo>
                    <a:pt x="1946" y="744"/>
                    <a:pt x="1945" y="744"/>
                    <a:pt x="1945" y="744"/>
                  </a:cubicBezTo>
                  <a:cubicBezTo>
                    <a:pt x="1945" y="744"/>
                    <a:pt x="1945" y="744"/>
                    <a:pt x="1945" y="744"/>
                  </a:cubicBezTo>
                  <a:cubicBezTo>
                    <a:pt x="1946" y="743"/>
                    <a:pt x="1948" y="743"/>
                    <a:pt x="1949" y="742"/>
                  </a:cubicBezTo>
                  <a:cubicBezTo>
                    <a:pt x="1948" y="743"/>
                    <a:pt x="1946" y="743"/>
                    <a:pt x="1946" y="74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sp>
        <p:nvSpPr>
          <p:cNvPr id="376" name="Footer Placeholder 375">
            <a:extLst>
              <a:ext uri="{FF2B5EF4-FFF2-40B4-BE49-F238E27FC236}">
                <a16:creationId xmlns:a16="http://schemas.microsoft.com/office/drawing/2014/main" id="{8FAFC6F6-EFCA-4F9B-8A26-29F5B2B08778}"/>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379" name="Slide Number Placeholder 378">
            <a:extLst>
              <a:ext uri="{FF2B5EF4-FFF2-40B4-BE49-F238E27FC236}">
                <a16:creationId xmlns:a16="http://schemas.microsoft.com/office/drawing/2014/main" id="{EC291746-A581-4E7D-B2BA-0802881311C2}"/>
              </a:ext>
            </a:extLst>
          </p:cNvPr>
          <p:cNvSpPr>
            <a:spLocks noGrp="1"/>
          </p:cNvSpPr>
          <p:nvPr>
            <p:ph type="sldNum" sz="quarter" idx="10"/>
          </p:nvPr>
        </p:nvSpPr>
        <p:spPr/>
        <p:txBody>
          <a:bodyPr/>
          <a:lstStyle/>
          <a:p>
            <a:fld id="{1F90F471-3972-4120-B8B3-0237DE626C35}" type="slidenum">
              <a:rPr lang="en-US" smtClean="0"/>
              <a:pPr/>
              <a:t>354</a:t>
            </a:fld>
            <a:endParaRPr lang="en-US" dirty="0"/>
          </a:p>
        </p:txBody>
      </p:sp>
    </p:spTree>
    <p:extLst>
      <p:ext uri="{BB962C8B-B14F-4D97-AF65-F5344CB8AC3E}">
        <p14:creationId xmlns:p14="http://schemas.microsoft.com/office/powerpoint/2010/main" val="2410640679"/>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Canada</a:t>
            </a:r>
            <a:endParaRPr lang="de-DE" dirty="0"/>
          </a:p>
        </p:txBody>
      </p:sp>
      <p:sp>
        <p:nvSpPr>
          <p:cNvPr id="3" name="TextBox 2">
            <a:extLst>
              <a:ext uri="{FF2B5EF4-FFF2-40B4-BE49-F238E27FC236}">
                <a16:creationId xmlns:a16="http://schemas.microsoft.com/office/drawing/2014/main" id="{2479E5AD-EA0D-42FB-A756-E49B16036E31}"/>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shade one or more countries</a:t>
            </a:r>
          </a:p>
        </p:txBody>
      </p:sp>
      <p:grpSp>
        <p:nvGrpSpPr>
          <p:cNvPr id="376" name="Group 375" descr="Describe map here">
            <a:extLst>
              <a:ext uri="{FF2B5EF4-FFF2-40B4-BE49-F238E27FC236}">
                <a16:creationId xmlns:a16="http://schemas.microsoft.com/office/drawing/2014/main" id="{9061C9AB-07B2-43F2-ADAB-FD5B76CAA4C3}"/>
              </a:ext>
            </a:extLst>
          </p:cNvPr>
          <p:cNvGrpSpPr/>
          <p:nvPr/>
        </p:nvGrpSpPr>
        <p:grpSpPr>
          <a:xfrm>
            <a:off x="3137021" y="331199"/>
            <a:ext cx="6997580" cy="6335795"/>
            <a:chOff x="574675" y="-1558800"/>
            <a:chExt cx="8280000" cy="8018121"/>
          </a:xfrm>
          <a:solidFill>
            <a:schemeClr val="tx2">
              <a:lumMod val="40000"/>
              <a:lumOff val="60000"/>
            </a:schemeClr>
          </a:solidFill>
        </p:grpSpPr>
        <p:grpSp>
          <p:nvGrpSpPr>
            <p:cNvPr id="377" name="Group 376">
              <a:extLst>
                <a:ext uri="{FF2B5EF4-FFF2-40B4-BE49-F238E27FC236}">
                  <a16:creationId xmlns:a16="http://schemas.microsoft.com/office/drawing/2014/main" id="{33323DA0-818E-40BA-8578-68F969B3C045}"/>
                </a:ext>
              </a:extLst>
            </p:cNvPr>
            <p:cNvGrpSpPr/>
            <p:nvPr userDrawn="1"/>
          </p:nvGrpSpPr>
          <p:grpSpPr>
            <a:xfrm>
              <a:off x="6907913" y="2974019"/>
              <a:ext cx="1946762" cy="1917880"/>
              <a:chOff x="6907913" y="2874723"/>
              <a:chExt cx="1946762" cy="1917880"/>
            </a:xfrm>
            <a:grpFill/>
          </p:grpSpPr>
          <p:sp>
            <p:nvSpPr>
              <p:cNvPr id="433" name="Freeform 49">
                <a:extLst>
                  <a:ext uri="{FF2B5EF4-FFF2-40B4-BE49-F238E27FC236}">
                    <a16:creationId xmlns:a16="http://schemas.microsoft.com/office/drawing/2014/main" id="{D02F2ABF-F7C9-40CA-A35C-C2D6F8ADAF83}"/>
                  </a:ext>
                </a:extLst>
              </p:cNvPr>
              <p:cNvSpPr>
                <a:spLocks/>
              </p:cNvSpPr>
              <p:nvPr/>
            </p:nvSpPr>
            <p:spPr bwMode="auto">
              <a:xfrm>
                <a:off x="8107549" y="4008891"/>
                <a:ext cx="747126" cy="783712"/>
              </a:xfrm>
              <a:custGeom>
                <a:avLst/>
                <a:gdLst>
                  <a:gd name="T0" fmla="*/ 4 w 164"/>
                  <a:gd name="T1" fmla="*/ 169 h 172"/>
                  <a:gd name="T2" fmla="*/ 4 w 164"/>
                  <a:gd name="T3" fmla="*/ 152 h 172"/>
                  <a:gd name="T4" fmla="*/ 5 w 164"/>
                  <a:gd name="T5" fmla="*/ 138 h 172"/>
                  <a:gd name="T6" fmla="*/ 6 w 164"/>
                  <a:gd name="T7" fmla="*/ 128 h 172"/>
                  <a:gd name="T8" fmla="*/ 8 w 164"/>
                  <a:gd name="T9" fmla="*/ 110 h 172"/>
                  <a:gd name="T10" fmla="*/ 9 w 164"/>
                  <a:gd name="T11" fmla="*/ 44 h 172"/>
                  <a:gd name="T12" fmla="*/ 10 w 164"/>
                  <a:gd name="T13" fmla="*/ 30 h 172"/>
                  <a:gd name="T14" fmla="*/ 24 w 164"/>
                  <a:gd name="T15" fmla="*/ 5 h 172"/>
                  <a:gd name="T16" fmla="*/ 33 w 164"/>
                  <a:gd name="T17" fmla="*/ 1 h 172"/>
                  <a:gd name="T18" fmla="*/ 39 w 164"/>
                  <a:gd name="T19" fmla="*/ 28 h 172"/>
                  <a:gd name="T20" fmla="*/ 38 w 164"/>
                  <a:gd name="T21" fmla="*/ 46 h 172"/>
                  <a:gd name="T22" fmla="*/ 36 w 164"/>
                  <a:gd name="T23" fmla="*/ 56 h 172"/>
                  <a:gd name="T24" fmla="*/ 35 w 164"/>
                  <a:gd name="T25" fmla="*/ 64 h 172"/>
                  <a:gd name="T26" fmla="*/ 38 w 164"/>
                  <a:gd name="T27" fmla="*/ 60 h 172"/>
                  <a:gd name="T28" fmla="*/ 42 w 164"/>
                  <a:gd name="T29" fmla="*/ 55 h 172"/>
                  <a:gd name="T30" fmla="*/ 53 w 164"/>
                  <a:gd name="T31" fmla="*/ 54 h 172"/>
                  <a:gd name="T32" fmla="*/ 58 w 164"/>
                  <a:gd name="T33" fmla="*/ 63 h 172"/>
                  <a:gd name="T34" fmla="*/ 58 w 164"/>
                  <a:gd name="T35" fmla="*/ 68 h 172"/>
                  <a:gd name="T36" fmla="*/ 65 w 164"/>
                  <a:gd name="T37" fmla="*/ 68 h 172"/>
                  <a:gd name="T38" fmla="*/ 73 w 164"/>
                  <a:gd name="T39" fmla="*/ 66 h 172"/>
                  <a:gd name="T40" fmla="*/ 80 w 164"/>
                  <a:gd name="T41" fmla="*/ 63 h 172"/>
                  <a:gd name="T42" fmla="*/ 94 w 164"/>
                  <a:gd name="T43" fmla="*/ 58 h 172"/>
                  <a:gd name="T44" fmla="*/ 113 w 164"/>
                  <a:gd name="T45" fmla="*/ 58 h 172"/>
                  <a:gd name="T46" fmla="*/ 115 w 164"/>
                  <a:gd name="T47" fmla="*/ 71 h 172"/>
                  <a:gd name="T48" fmla="*/ 117 w 164"/>
                  <a:gd name="T49" fmla="*/ 76 h 172"/>
                  <a:gd name="T50" fmla="*/ 127 w 164"/>
                  <a:gd name="T51" fmla="*/ 78 h 172"/>
                  <a:gd name="T52" fmla="*/ 137 w 164"/>
                  <a:gd name="T53" fmla="*/ 82 h 172"/>
                  <a:gd name="T54" fmla="*/ 129 w 164"/>
                  <a:gd name="T55" fmla="*/ 95 h 172"/>
                  <a:gd name="T56" fmla="*/ 128 w 164"/>
                  <a:gd name="T57" fmla="*/ 97 h 172"/>
                  <a:gd name="T58" fmla="*/ 130 w 164"/>
                  <a:gd name="T59" fmla="*/ 102 h 172"/>
                  <a:gd name="T60" fmla="*/ 131 w 164"/>
                  <a:gd name="T61" fmla="*/ 109 h 172"/>
                  <a:gd name="T62" fmla="*/ 134 w 164"/>
                  <a:gd name="T63" fmla="*/ 110 h 172"/>
                  <a:gd name="T64" fmla="*/ 143 w 164"/>
                  <a:gd name="T65" fmla="*/ 99 h 172"/>
                  <a:gd name="T66" fmla="*/ 147 w 164"/>
                  <a:gd name="T67" fmla="*/ 104 h 172"/>
                  <a:gd name="T68" fmla="*/ 157 w 164"/>
                  <a:gd name="T69" fmla="*/ 107 h 172"/>
                  <a:gd name="T70" fmla="*/ 162 w 164"/>
                  <a:gd name="T71" fmla="*/ 105 h 172"/>
                  <a:gd name="T72" fmla="*/ 164 w 164"/>
                  <a:gd name="T73" fmla="*/ 116 h 172"/>
                  <a:gd name="T74" fmla="*/ 164 w 164"/>
                  <a:gd name="T75" fmla="*/ 130 h 172"/>
                  <a:gd name="T76" fmla="*/ 153 w 164"/>
                  <a:gd name="T77" fmla="*/ 147 h 172"/>
                  <a:gd name="T78" fmla="*/ 147 w 164"/>
                  <a:gd name="T79" fmla="*/ 143 h 172"/>
                  <a:gd name="T80" fmla="*/ 141 w 164"/>
                  <a:gd name="T81" fmla="*/ 143 h 172"/>
                  <a:gd name="T82" fmla="*/ 133 w 164"/>
                  <a:gd name="T83" fmla="*/ 131 h 172"/>
                  <a:gd name="T84" fmla="*/ 127 w 164"/>
                  <a:gd name="T85" fmla="*/ 116 h 172"/>
                  <a:gd name="T86" fmla="*/ 126 w 164"/>
                  <a:gd name="T87" fmla="*/ 121 h 172"/>
                  <a:gd name="T88" fmla="*/ 120 w 164"/>
                  <a:gd name="T89" fmla="*/ 131 h 172"/>
                  <a:gd name="T90" fmla="*/ 113 w 164"/>
                  <a:gd name="T91" fmla="*/ 147 h 172"/>
                  <a:gd name="T92" fmla="*/ 97 w 164"/>
                  <a:gd name="T93" fmla="*/ 165 h 172"/>
                  <a:gd name="T94" fmla="*/ 94 w 164"/>
                  <a:gd name="T95" fmla="*/ 156 h 172"/>
                  <a:gd name="T96" fmla="*/ 99 w 164"/>
                  <a:gd name="T97" fmla="*/ 145 h 172"/>
                  <a:gd name="T98" fmla="*/ 96 w 164"/>
                  <a:gd name="T99" fmla="*/ 141 h 172"/>
                  <a:gd name="T100" fmla="*/ 83 w 164"/>
                  <a:gd name="T101" fmla="*/ 144 h 172"/>
                  <a:gd name="T102" fmla="*/ 64 w 164"/>
                  <a:gd name="T103" fmla="*/ 152 h 172"/>
                  <a:gd name="T104" fmla="*/ 52 w 164"/>
                  <a:gd name="T105" fmla="*/ 158 h 172"/>
                  <a:gd name="T106" fmla="*/ 44 w 164"/>
                  <a:gd name="T107" fmla="*/ 159 h 172"/>
                  <a:gd name="T108" fmla="*/ 25 w 164"/>
                  <a:gd name="T109" fmla="*/ 166 h 172"/>
                  <a:gd name="T110" fmla="*/ 9 w 164"/>
                  <a:gd name="T111" fmla="*/ 172 h 172"/>
                  <a:gd name="T112" fmla="*/ 4 w 164"/>
                  <a:gd name="T113" fmla="*/ 16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4" h="172">
                    <a:moveTo>
                      <a:pt x="4" y="169"/>
                    </a:moveTo>
                    <a:cubicBezTo>
                      <a:pt x="0" y="164"/>
                      <a:pt x="0" y="158"/>
                      <a:pt x="4" y="152"/>
                    </a:cubicBezTo>
                    <a:cubicBezTo>
                      <a:pt x="9" y="146"/>
                      <a:pt x="9" y="139"/>
                      <a:pt x="5" y="138"/>
                    </a:cubicBezTo>
                    <a:cubicBezTo>
                      <a:pt x="2" y="137"/>
                      <a:pt x="2" y="134"/>
                      <a:pt x="6" y="128"/>
                    </a:cubicBezTo>
                    <a:cubicBezTo>
                      <a:pt x="8" y="123"/>
                      <a:pt x="8" y="121"/>
                      <a:pt x="8" y="110"/>
                    </a:cubicBezTo>
                    <a:cubicBezTo>
                      <a:pt x="6" y="91"/>
                      <a:pt x="7" y="67"/>
                      <a:pt x="9" y="44"/>
                    </a:cubicBezTo>
                    <a:cubicBezTo>
                      <a:pt x="10" y="30"/>
                      <a:pt x="10" y="30"/>
                      <a:pt x="10" y="30"/>
                    </a:cubicBezTo>
                    <a:cubicBezTo>
                      <a:pt x="12" y="17"/>
                      <a:pt x="14" y="12"/>
                      <a:pt x="24" y="5"/>
                    </a:cubicBezTo>
                    <a:cubicBezTo>
                      <a:pt x="30" y="0"/>
                      <a:pt x="31" y="0"/>
                      <a:pt x="33" y="1"/>
                    </a:cubicBezTo>
                    <a:cubicBezTo>
                      <a:pt x="38" y="6"/>
                      <a:pt x="40" y="11"/>
                      <a:pt x="39" y="28"/>
                    </a:cubicBezTo>
                    <a:cubicBezTo>
                      <a:pt x="39" y="37"/>
                      <a:pt x="38" y="45"/>
                      <a:pt x="38" y="46"/>
                    </a:cubicBezTo>
                    <a:cubicBezTo>
                      <a:pt x="37" y="47"/>
                      <a:pt x="36" y="51"/>
                      <a:pt x="36" y="56"/>
                    </a:cubicBezTo>
                    <a:cubicBezTo>
                      <a:pt x="35" y="64"/>
                      <a:pt x="35" y="64"/>
                      <a:pt x="35" y="64"/>
                    </a:cubicBezTo>
                    <a:cubicBezTo>
                      <a:pt x="38" y="60"/>
                      <a:pt x="38" y="60"/>
                      <a:pt x="38" y="60"/>
                    </a:cubicBezTo>
                    <a:cubicBezTo>
                      <a:pt x="40" y="58"/>
                      <a:pt x="42" y="55"/>
                      <a:pt x="42" y="55"/>
                    </a:cubicBezTo>
                    <a:cubicBezTo>
                      <a:pt x="42" y="53"/>
                      <a:pt x="48" y="52"/>
                      <a:pt x="53" y="54"/>
                    </a:cubicBezTo>
                    <a:cubicBezTo>
                      <a:pt x="58" y="56"/>
                      <a:pt x="58" y="56"/>
                      <a:pt x="58" y="63"/>
                    </a:cubicBezTo>
                    <a:cubicBezTo>
                      <a:pt x="58" y="68"/>
                      <a:pt x="58" y="68"/>
                      <a:pt x="58" y="68"/>
                    </a:cubicBezTo>
                    <a:cubicBezTo>
                      <a:pt x="65" y="68"/>
                      <a:pt x="65" y="68"/>
                      <a:pt x="65" y="68"/>
                    </a:cubicBezTo>
                    <a:cubicBezTo>
                      <a:pt x="69" y="68"/>
                      <a:pt x="72" y="67"/>
                      <a:pt x="73" y="66"/>
                    </a:cubicBezTo>
                    <a:cubicBezTo>
                      <a:pt x="73" y="66"/>
                      <a:pt x="76" y="64"/>
                      <a:pt x="80" y="63"/>
                    </a:cubicBezTo>
                    <a:cubicBezTo>
                      <a:pt x="84" y="62"/>
                      <a:pt x="90" y="60"/>
                      <a:pt x="94" y="58"/>
                    </a:cubicBezTo>
                    <a:cubicBezTo>
                      <a:pt x="101" y="55"/>
                      <a:pt x="107" y="55"/>
                      <a:pt x="113" y="58"/>
                    </a:cubicBezTo>
                    <a:cubicBezTo>
                      <a:pt x="116" y="60"/>
                      <a:pt x="118" y="67"/>
                      <a:pt x="115" y="71"/>
                    </a:cubicBezTo>
                    <a:cubicBezTo>
                      <a:pt x="114" y="73"/>
                      <a:pt x="114" y="74"/>
                      <a:pt x="117" y="76"/>
                    </a:cubicBezTo>
                    <a:cubicBezTo>
                      <a:pt x="119" y="79"/>
                      <a:pt x="120" y="79"/>
                      <a:pt x="127" y="78"/>
                    </a:cubicBezTo>
                    <a:cubicBezTo>
                      <a:pt x="136" y="76"/>
                      <a:pt x="137" y="77"/>
                      <a:pt x="137" y="82"/>
                    </a:cubicBezTo>
                    <a:cubicBezTo>
                      <a:pt x="137" y="86"/>
                      <a:pt x="134" y="91"/>
                      <a:pt x="129" y="95"/>
                    </a:cubicBezTo>
                    <a:cubicBezTo>
                      <a:pt x="128" y="96"/>
                      <a:pt x="127" y="97"/>
                      <a:pt x="128" y="97"/>
                    </a:cubicBezTo>
                    <a:cubicBezTo>
                      <a:pt x="129" y="97"/>
                      <a:pt x="130" y="100"/>
                      <a:pt x="130" y="102"/>
                    </a:cubicBezTo>
                    <a:cubicBezTo>
                      <a:pt x="130" y="105"/>
                      <a:pt x="130" y="108"/>
                      <a:pt x="131" y="109"/>
                    </a:cubicBezTo>
                    <a:cubicBezTo>
                      <a:pt x="132" y="112"/>
                      <a:pt x="134" y="112"/>
                      <a:pt x="134" y="110"/>
                    </a:cubicBezTo>
                    <a:cubicBezTo>
                      <a:pt x="134" y="107"/>
                      <a:pt x="141" y="99"/>
                      <a:pt x="143" y="99"/>
                    </a:cubicBezTo>
                    <a:cubicBezTo>
                      <a:pt x="145" y="99"/>
                      <a:pt x="146" y="101"/>
                      <a:pt x="147" y="104"/>
                    </a:cubicBezTo>
                    <a:cubicBezTo>
                      <a:pt x="149" y="111"/>
                      <a:pt x="151" y="111"/>
                      <a:pt x="157" y="107"/>
                    </a:cubicBezTo>
                    <a:cubicBezTo>
                      <a:pt x="159" y="105"/>
                      <a:pt x="162" y="104"/>
                      <a:pt x="162" y="105"/>
                    </a:cubicBezTo>
                    <a:cubicBezTo>
                      <a:pt x="163" y="106"/>
                      <a:pt x="163" y="110"/>
                      <a:pt x="164" y="116"/>
                    </a:cubicBezTo>
                    <a:cubicBezTo>
                      <a:pt x="164" y="121"/>
                      <a:pt x="164" y="127"/>
                      <a:pt x="164" y="130"/>
                    </a:cubicBezTo>
                    <a:cubicBezTo>
                      <a:pt x="164" y="138"/>
                      <a:pt x="159" y="146"/>
                      <a:pt x="153" y="147"/>
                    </a:cubicBezTo>
                    <a:cubicBezTo>
                      <a:pt x="149" y="147"/>
                      <a:pt x="148" y="146"/>
                      <a:pt x="147" y="143"/>
                    </a:cubicBezTo>
                    <a:cubicBezTo>
                      <a:pt x="145" y="139"/>
                      <a:pt x="144" y="139"/>
                      <a:pt x="141" y="143"/>
                    </a:cubicBezTo>
                    <a:cubicBezTo>
                      <a:pt x="137" y="151"/>
                      <a:pt x="134" y="146"/>
                      <a:pt x="133" y="131"/>
                    </a:cubicBezTo>
                    <a:cubicBezTo>
                      <a:pt x="131" y="120"/>
                      <a:pt x="130" y="116"/>
                      <a:pt x="127" y="116"/>
                    </a:cubicBezTo>
                    <a:cubicBezTo>
                      <a:pt x="126" y="116"/>
                      <a:pt x="126" y="118"/>
                      <a:pt x="126" y="121"/>
                    </a:cubicBezTo>
                    <a:cubicBezTo>
                      <a:pt x="126" y="125"/>
                      <a:pt x="125" y="127"/>
                      <a:pt x="120" y="131"/>
                    </a:cubicBezTo>
                    <a:cubicBezTo>
                      <a:pt x="115" y="136"/>
                      <a:pt x="114" y="138"/>
                      <a:pt x="113" y="147"/>
                    </a:cubicBezTo>
                    <a:cubicBezTo>
                      <a:pt x="111" y="161"/>
                      <a:pt x="108" y="164"/>
                      <a:pt x="97" y="165"/>
                    </a:cubicBezTo>
                    <a:cubicBezTo>
                      <a:pt x="87" y="165"/>
                      <a:pt x="86" y="163"/>
                      <a:pt x="94" y="156"/>
                    </a:cubicBezTo>
                    <a:cubicBezTo>
                      <a:pt x="98" y="152"/>
                      <a:pt x="99" y="150"/>
                      <a:pt x="99" y="145"/>
                    </a:cubicBezTo>
                    <a:cubicBezTo>
                      <a:pt x="99" y="140"/>
                      <a:pt x="99" y="140"/>
                      <a:pt x="96" y="141"/>
                    </a:cubicBezTo>
                    <a:cubicBezTo>
                      <a:pt x="90" y="144"/>
                      <a:pt x="84" y="146"/>
                      <a:pt x="83" y="144"/>
                    </a:cubicBezTo>
                    <a:cubicBezTo>
                      <a:pt x="81" y="143"/>
                      <a:pt x="78" y="144"/>
                      <a:pt x="64" y="152"/>
                    </a:cubicBezTo>
                    <a:cubicBezTo>
                      <a:pt x="60" y="155"/>
                      <a:pt x="55" y="157"/>
                      <a:pt x="52" y="158"/>
                    </a:cubicBezTo>
                    <a:cubicBezTo>
                      <a:pt x="50" y="158"/>
                      <a:pt x="46" y="159"/>
                      <a:pt x="44" y="159"/>
                    </a:cubicBezTo>
                    <a:cubicBezTo>
                      <a:pt x="41" y="160"/>
                      <a:pt x="32" y="162"/>
                      <a:pt x="25" y="166"/>
                    </a:cubicBezTo>
                    <a:cubicBezTo>
                      <a:pt x="9" y="172"/>
                      <a:pt x="9" y="172"/>
                      <a:pt x="9" y="172"/>
                    </a:cubicBezTo>
                    <a:cubicBezTo>
                      <a:pt x="8" y="172"/>
                      <a:pt x="6" y="171"/>
                      <a:pt x="4"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34" name="Freeform 50">
                <a:extLst>
                  <a:ext uri="{FF2B5EF4-FFF2-40B4-BE49-F238E27FC236}">
                    <a16:creationId xmlns:a16="http://schemas.microsoft.com/office/drawing/2014/main" id="{C61CF609-48D6-481C-8E6D-33AF0EBE6B27}"/>
                  </a:ext>
                </a:extLst>
              </p:cNvPr>
              <p:cNvSpPr>
                <a:spLocks/>
              </p:cNvSpPr>
              <p:nvPr/>
            </p:nvSpPr>
            <p:spPr bwMode="auto">
              <a:xfrm>
                <a:off x="6907913" y="2874723"/>
                <a:ext cx="1326726" cy="1444186"/>
              </a:xfrm>
              <a:custGeom>
                <a:avLst/>
                <a:gdLst>
                  <a:gd name="T0" fmla="*/ 85 w 291"/>
                  <a:gd name="T1" fmla="*/ 315 h 317"/>
                  <a:gd name="T2" fmla="*/ 66 w 291"/>
                  <a:gd name="T3" fmla="*/ 310 h 317"/>
                  <a:gd name="T4" fmla="*/ 52 w 291"/>
                  <a:gd name="T5" fmla="*/ 293 h 317"/>
                  <a:gd name="T6" fmla="*/ 43 w 291"/>
                  <a:gd name="T7" fmla="*/ 290 h 317"/>
                  <a:gd name="T8" fmla="*/ 29 w 291"/>
                  <a:gd name="T9" fmla="*/ 286 h 317"/>
                  <a:gd name="T10" fmla="*/ 23 w 291"/>
                  <a:gd name="T11" fmla="*/ 267 h 317"/>
                  <a:gd name="T12" fmla="*/ 8 w 291"/>
                  <a:gd name="T13" fmla="*/ 236 h 317"/>
                  <a:gd name="T14" fmla="*/ 16 w 291"/>
                  <a:gd name="T15" fmla="*/ 221 h 317"/>
                  <a:gd name="T16" fmla="*/ 28 w 291"/>
                  <a:gd name="T17" fmla="*/ 212 h 317"/>
                  <a:gd name="T18" fmla="*/ 51 w 291"/>
                  <a:gd name="T19" fmla="*/ 213 h 317"/>
                  <a:gd name="T20" fmla="*/ 70 w 291"/>
                  <a:gd name="T21" fmla="*/ 211 h 317"/>
                  <a:gd name="T22" fmla="*/ 71 w 291"/>
                  <a:gd name="T23" fmla="*/ 221 h 317"/>
                  <a:gd name="T24" fmla="*/ 55 w 291"/>
                  <a:gd name="T25" fmla="*/ 237 h 317"/>
                  <a:gd name="T26" fmla="*/ 68 w 291"/>
                  <a:gd name="T27" fmla="*/ 243 h 317"/>
                  <a:gd name="T28" fmla="*/ 98 w 291"/>
                  <a:gd name="T29" fmla="*/ 231 h 317"/>
                  <a:gd name="T30" fmla="*/ 94 w 291"/>
                  <a:gd name="T31" fmla="*/ 217 h 317"/>
                  <a:gd name="T32" fmla="*/ 81 w 291"/>
                  <a:gd name="T33" fmla="*/ 205 h 317"/>
                  <a:gd name="T34" fmla="*/ 78 w 291"/>
                  <a:gd name="T35" fmla="*/ 177 h 317"/>
                  <a:gd name="T36" fmla="*/ 64 w 291"/>
                  <a:gd name="T37" fmla="*/ 152 h 317"/>
                  <a:gd name="T38" fmla="*/ 56 w 291"/>
                  <a:gd name="T39" fmla="*/ 127 h 317"/>
                  <a:gd name="T40" fmla="*/ 46 w 291"/>
                  <a:gd name="T41" fmla="*/ 91 h 317"/>
                  <a:gd name="T42" fmla="*/ 35 w 291"/>
                  <a:gd name="T43" fmla="*/ 75 h 317"/>
                  <a:gd name="T44" fmla="*/ 37 w 291"/>
                  <a:gd name="T45" fmla="*/ 56 h 317"/>
                  <a:gd name="T46" fmla="*/ 19 w 291"/>
                  <a:gd name="T47" fmla="*/ 51 h 317"/>
                  <a:gd name="T48" fmla="*/ 13 w 291"/>
                  <a:gd name="T49" fmla="*/ 30 h 317"/>
                  <a:gd name="T50" fmla="*/ 1 w 291"/>
                  <a:gd name="T51" fmla="*/ 1 h 317"/>
                  <a:gd name="T52" fmla="*/ 34 w 291"/>
                  <a:gd name="T53" fmla="*/ 31 h 317"/>
                  <a:gd name="T54" fmla="*/ 47 w 291"/>
                  <a:gd name="T55" fmla="*/ 42 h 317"/>
                  <a:gd name="T56" fmla="*/ 60 w 291"/>
                  <a:gd name="T57" fmla="*/ 59 h 317"/>
                  <a:gd name="T58" fmla="*/ 74 w 291"/>
                  <a:gd name="T59" fmla="*/ 70 h 317"/>
                  <a:gd name="T60" fmla="*/ 87 w 291"/>
                  <a:gd name="T61" fmla="*/ 88 h 317"/>
                  <a:gd name="T62" fmla="*/ 103 w 291"/>
                  <a:gd name="T63" fmla="*/ 100 h 317"/>
                  <a:gd name="T64" fmla="*/ 103 w 291"/>
                  <a:gd name="T65" fmla="*/ 120 h 317"/>
                  <a:gd name="T66" fmla="*/ 122 w 291"/>
                  <a:gd name="T67" fmla="*/ 136 h 317"/>
                  <a:gd name="T68" fmla="*/ 148 w 291"/>
                  <a:gd name="T69" fmla="*/ 147 h 317"/>
                  <a:gd name="T70" fmla="*/ 166 w 291"/>
                  <a:gd name="T71" fmla="*/ 153 h 317"/>
                  <a:gd name="T72" fmla="*/ 197 w 291"/>
                  <a:gd name="T73" fmla="*/ 153 h 317"/>
                  <a:gd name="T74" fmla="*/ 220 w 291"/>
                  <a:gd name="T75" fmla="*/ 158 h 317"/>
                  <a:gd name="T76" fmla="*/ 204 w 291"/>
                  <a:gd name="T77" fmla="*/ 178 h 317"/>
                  <a:gd name="T78" fmla="*/ 182 w 291"/>
                  <a:gd name="T79" fmla="*/ 203 h 317"/>
                  <a:gd name="T80" fmla="*/ 194 w 291"/>
                  <a:gd name="T81" fmla="*/ 200 h 317"/>
                  <a:gd name="T82" fmla="*/ 222 w 291"/>
                  <a:gd name="T83" fmla="*/ 172 h 317"/>
                  <a:gd name="T84" fmla="*/ 237 w 291"/>
                  <a:gd name="T85" fmla="*/ 181 h 317"/>
                  <a:gd name="T86" fmla="*/ 266 w 291"/>
                  <a:gd name="T87" fmla="*/ 189 h 317"/>
                  <a:gd name="T88" fmla="*/ 274 w 291"/>
                  <a:gd name="T89" fmla="*/ 198 h 317"/>
                  <a:gd name="T90" fmla="*/ 291 w 291"/>
                  <a:gd name="T91" fmla="*/ 236 h 317"/>
                  <a:gd name="T92" fmla="*/ 272 w 291"/>
                  <a:gd name="T93" fmla="*/ 263 h 317"/>
                  <a:gd name="T94" fmla="*/ 259 w 291"/>
                  <a:gd name="T95" fmla="*/ 247 h 317"/>
                  <a:gd name="T96" fmla="*/ 240 w 291"/>
                  <a:gd name="T97" fmla="*/ 253 h 317"/>
                  <a:gd name="T98" fmla="*/ 197 w 291"/>
                  <a:gd name="T99" fmla="*/ 268 h 317"/>
                  <a:gd name="T100" fmla="*/ 126 w 291"/>
                  <a:gd name="T101" fmla="*/ 294 h 317"/>
                  <a:gd name="T102" fmla="*/ 103 w 291"/>
                  <a:gd name="T103" fmla="*/ 288 h 317"/>
                  <a:gd name="T104" fmla="*/ 99 w 291"/>
                  <a:gd name="T105" fmla="*/ 315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1" h="317">
                    <a:moveTo>
                      <a:pt x="91" y="316"/>
                    </a:moveTo>
                    <a:cubicBezTo>
                      <a:pt x="91" y="316"/>
                      <a:pt x="88" y="315"/>
                      <a:pt x="85" y="315"/>
                    </a:cubicBezTo>
                    <a:cubicBezTo>
                      <a:pt x="82" y="314"/>
                      <a:pt x="79" y="313"/>
                      <a:pt x="77" y="312"/>
                    </a:cubicBezTo>
                    <a:cubicBezTo>
                      <a:pt x="75" y="310"/>
                      <a:pt x="73" y="309"/>
                      <a:pt x="66" y="310"/>
                    </a:cubicBezTo>
                    <a:cubicBezTo>
                      <a:pt x="56" y="311"/>
                      <a:pt x="55" y="310"/>
                      <a:pt x="54" y="305"/>
                    </a:cubicBezTo>
                    <a:cubicBezTo>
                      <a:pt x="52" y="296"/>
                      <a:pt x="52" y="295"/>
                      <a:pt x="52" y="293"/>
                    </a:cubicBezTo>
                    <a:cubicBezTo>
                      <a:pt x="52" y="292"/>
                      <a:pt x="51" y="290"/>
                      <a:pt x="50" y="289"/>
                    </a:cubicBezTo>
                    <a:cubicBezTo>
                      <a:pt x="48" y="287"/>
                      <a:pt x="47" y="287"/>
                      <a:pt x="43" y="290"/>
                    </a:cubicBezTo>
                    <a:cubicBezTo>
                      <a:pt x="40" y="291"/>
                      <a:pt x="37" y="293"/>
                      <a:pt x="35" y="293"/>
                    </a:cubicBezTo>
                    <a:cubicBezTo>
                      <a:pt x="32" y="293"/>
                      <a:pt x="27" y="288"/>
                      <a:pt x="29" y="286"/>
                    </a:cubicBezTo>
                    <a:cubicBezTo>
                      <a:pt x="31" y="285"/>
                      <a:pt x="31" y="277"/>
                      <a:pt x="30" y="272"/>
                    </a:cubicBezTo>
                    <a:cubicBezTo>
                      <a:pt x="29" y="270"/>
                      <a:pt x="27" y="268"/>
                      <a:pt x="23" y="267"/>
                    </a:cubicBezTo>
                    <a:cubicBezTo>
                      <a:pt x="12" y="263"/>
                      <a:pt x="1" y="245"/>
                      <a:pt x="5" y="239"/>
                    </a:cubicBezTo>
                    <a:cubicBezTo>
                      <a:pt x="6" y="237"/>
                      <a:pt x="7" y="236"/>
                      <a:pt x="8" y="236"/>
                    </a:cubicBezTo>
                    <a:cubicBezTo>
                      <a:pt x="9" y="236"/>
                      <a:pt x="12" y="231"/>
                      <a:pt x="13" y="226"/>
                    </a:cubicBezTo>
                    <a:cubicBezTo>
                      <a:pt x="13" y="224"/>
                      <a:pt x="14" y="222"/>
                      <a:pt x="16" y="221"/>
                    </a:cubicBezTo>
                    <a:cubicBezTo>
                      <a:pt x="18" y="219"/>
                      <a:pt x="20" y="217"/>
                      <a:pt x="20" y="215"/>
                    </a:cubicBezTo>
                    <a:cubicBezTo>
                      <a:pt x="22" y="211"/>
                      <a:pt x="22" y="211"/>
                      <a:pt x="28" y="212"/>
                    </a:cubicBezTo>
                    <a:cubicBezTo>
                      <a:pt x="31" y="213"/>
                      <a:pt x="36" y="215"/>
                      <a:pt x="38" y="216"/>
                    </a:cubicBezTo>
                    <a:cubicBezTo>
                      <a:pt x="43" y="219"/>
                      <a:pt x="48" y="218"/>
                      <a:pt x="51" y="213"/>
                    </a:cubicBezTo>
                    <a:cubicBezTo>
                      <a:pt x="54" y="209"/>
                      <a:pt x="54" y="209"/>
                      <a:pt x="61" y="210"/>
                    </a:cubicBezTo>
                    <a:cubicBezTo>
                      <a:pt x="65" y="210"/>
                      <a:pt x="69" y="211"/>
                      <a:pt x="70" y="211"/>
                    </a:cubicBezTo>
                    <a:cubicBezTo>
                      <a:pt x="73" y="211"/>
                      <a:pt x="73" y="212"/>
                      <a:pt x="72" y="216"/>
                    </a:cubicBezTo>
                    <a:cubicBezTo>
                      <a:pt x="72" y="218"/>
                      <a:pt x="72" y="221"/>
                      <a:pt x="71" y="221"/>
                    </a:cubicBezTo>
                    <a:cubicBezTo>
                      <a:pt x="65" y="225"/>
                      <a:pt x="60" y="229"/>
                      <a:pt x="60" y="231"/>
                    </a:cubicBezTo>
                    <a:cubicBezTo>
                      <a:pt x="59" y="233"/>
                      <a:pt x="57" y="235"/>
                      <a:pt x="55" y="237"/>
                    </a:cubicBezTo>
                    <a:cubicBezTo>
                      <a:pt x="50" y="240"/>
                      <a:pt x="49" y="242"/>
                      <a:pt x="53" y="245"/>
                    </a:cubicBezTo>
                    <a:cubicBezTo>
                      <a:pt x="56" y="248"/>
                      <a:pt x="65" y="247"/>
                      <a:pt x="68" y="243"/>
                    </a:cubicBezTo>
                    <a:cubicBezTo>
                      <a:pt x="71" y="239"/>
                      <a:pt x="78" y="236"/>
                      <a:pt x="83" y="238"/>
                    </a:cubicBezTo>
                    <a:cubicBezTo>
                      <a:pt x="90" y="240"/>
                      <a:pt x="95" y="237"/>
                      <a:pt x="98" y="231"/>
                    </a:cubicBezTo>
                    <a:cubicBezTo>
                      <a:pt x="100" y="225"/>
                      <a:pt x="101" y="218"/>
                      <a:pt x="99" y="216"/>
                    </a:cubicBezTo>
                    <a:cubicBezTo>
                      <a:pt x="98" y="215"/>
                      <a:pt x="96" y="216"/>
                      <a:pt x="94" y="217"/>
                    </a:cubicBezTo>
                    <a:cubicBezTo>
                      <a:pt x="92" y="219"/>
                      <a:pt x="90" y="220"/>
                      <a:pt x="87" y="220"/>
                    </a:cubicBezTo>
                    <a:cubicBezTo>
                      <a:pt x="76" y="220"/>
                      <a:pt x="75" y="218"/>
                      <a:pt x="81" y="205"/>
                    </a:cubicBezTo>
                    <a:cubicBezTo>
                      <a:pt x="84" y="201"/>
                      <a:pt x="86" y="196"/>
                      <a:pt x="86" y="194"/>
                    </a:cubicBezTo>
                    <a:cubicBezTo>
                      <a:pt x="86" y="190"/>
                      <a:pt x="81" y="179"/>
                      <a:pt x="78" y="177"/>
                    </a:cubicBezTo>
                    <a:cubicBezTo>
                      <a:pt x="77" y="176"/>
                      <a:pt x="76" y="174"/>
                      <a:pt x="76" y="172"/>
                    </a:cubicBezTo>
                    <a:cubicBezTo>
                      <a:pt x="76" y="169"/>
                      <a:pt x="69" y="156"/>
                      <a:pt x="64" y="152"/>
                    </a:cubicBezTo>
                    <a:cubicBezTo>
                      <a:pt x="61" y="150"/>
                      <a:pt x="59" y="147"/>
                      <a:pt x="59" y="142"/>
                    </a:cubicBezTo>
                    <a:cubicBezTo>
                      <a:pt x="56" y="127"/>
                      <a:pt x="56" y="127"/>
                      <a:pt x="56" y="127"/>
                    </a:cubicBezTo>
                    <a:cubicBezTo>
                      <a:pt x="55" y="122"/>
                      <a:pt x="54" y="114"/>
                      <a:pt x="54" y="109"/>
                    </a:cubicBezTo>
                    <a:cubicBezTo>
                      <a:pt x="54" y="98"/>
                      <a:pt x="52" y="92"/>
                      <a:pt x="46" y="91"/>
                    </a:cubicBezTo>
                    <a:cubicBezTo>
                      <a:pt x="44" y="91"/>
                      <a:pt x="40" y="89"/>
                      <a:pt x="38" y="87"/>
                    </a:cubicBezTo>
                    <a:cubicBezTo>
                      <a:pt x="33" y="84"/>
                      <a:pt x="32" y="80"/>
                      <a:pt x="35" y="75"/>
                    </a:cubicBezTo>
                    <a:cubicBezTo>
                      <a:pt x="37" y="73"/>
                      <a:pt x="37" y="71"/>
                      <a:pt x="36" y="69"/>
                    </a:cubicBezTo>
                    <a:cubicBezTo>
                      <a:pt x="35" y="65"/>
                      <a:pt x="35" y="64"/>
                      <a:pt x="37" y="56"/>
                    </a:cubicBezTo>
                    <a:cubicBezTo>
                      <a:pt x="38" y="52"/>
                      <a:pt x="37" y="51"/>
                      <a:pt x="24" y="52"/>
                    </a:cubicBezTo>
                    <a:cubicBezTo>
                      <a:pt x="21" y="52"/>
                      <a:pt x="19" y="52"/>
                      <a:pt x="19" y="51"/>
                    </a:cubicBezTo>
                    <a:cubicBezTo>
                      <a:pt x="20" y="51"/>
                      <a:pt x="19" y="46"/>
                      <a:pt x="18" y="40"/>
                    </a:cubicBezTo>
                    <a:cubicBezTo>
                      <a:pt x="16" y="32"/>
                      <a:pt x="15" y="30"/>
                      <a:pt x="13" y="30"/>
                    </a:cubicBezTo>
                    <a:cubicBezTo>
                      <a:pt x="11" y="29"/>
                      <a:pt x="9" y="28"/>
                      <a:pt x="8" y="27"/>
                    </a:cubicBezTo>
                    <a:cubicBezTo>
                      <a:pt x="6" y="24"/>
                      <a:pt x="0" y="2"/>
                      <a:pt x="1" y="1"/>
                    </a:cubicBezTo>
                    <a:cubicBezTo>
                      <a:pt x="3" y="0"/>
                      <a:pt x="19" y="15"/>
                      <a:pt x="25" y="22"/>
                    </a:cubicBezTo>
                    <a:cubicBezTo>
                      <a:pt x="28" y="27"/>
                      <a:pt x="32" y="31"/>
                      <a:pt x="34" y="31"/>
                    </a:cubicBezTo>
                    <a:cubicBezTo>
                      <a:pt x="35" y="31"/>
                      <a:pt x="37" y="33"/>
                      <a:pt x="39" y="35"/>
                    </a:cubicBezTo>
                    <a:cubicBezTo>
                      <a:pt x="41" y="37"/>
                      <a:pt x="44" y="40"/>
                      <a:pt x="47" y="42"/>
                    </a:cubicBezTo>
                    <a:cubicBezTo>
                      <a:pt x="50" y="44"/>
                      <a:pt x="52" y="47"/>
                      <a:pt x="54" y="52"/>
                    </a:cubicBezTo>
                    <a:cubicBezTo>
                      <a:pt x="56" y="57"/>
                      <a:pt x="58" y="59"/>
                      <a:pt x="60" y="59"/>
                    </a:cubicBezTo>
                    <a:cubicBezTo>
                      <a:pt x="61" y="59"/>
                      <a:pt x="64" y="61"/>
                      <a:pt x="65" y="64"/>
                    </a:cubicBezTo>
                    <a:cubicBezTo>
                      <a:pt x="68" y="68"/>
                      <a:pt x="70" y="69"/>
                      <a:pt x="74" y="70"/>
                    </a:cubicBezTo>
                    <a:cubicBezTo>
                      <a:pt x="79" y="70"/>
                      <a:pt x="80" y="71"/>
                      <a:pt x="83" y="76"/>
                    </a:cubicBezTo>
                    <a:cubicBezTo>
                      <a:pt x="85" y="80"/>
                      <a:pt x="87" y="85"/>
                      <a:pt x="87" y="88"/>
                    </a:cubicBezTo>
                    <a:cubicBezTo>
                      <a:pt x="88" y="93"/>
                      <a:pt x="88" y="94"/>
                      <a:pt x="94" y="96"/>
                    </a:cubicBezTo>
                    <a:cubicBezTo>
                      <a:pt x="98" y="97"/>
                      <a:pt x="102" y="99"/>
                      <a:pt x="103" y="100"/>
                    </a:cubicBezTo>
                    <a:cubicBezTo>
                      <a:pt x="105" y="102"/>
                      <a:pt x="106" y="103"/>
                      <a:pt x="104" y="110"/>
                    </a:cubicBezTo>
                    <a:cubicBezTo>
                      <a:pt x="102" y="116"/>
                      <a:pt x="102" y="117"/>
                      <a:pt x="103" y="120"/>
                    </a:cubicBezTo>
                    <a:cubicBezTo>
                      <a:pt x="104" y="122"/>
                      <a:pt x="106" y="125"/>
                      <a:pt x="106" y="127"/>
                    </a:cubicBezTo>
                    <a:cubicBezTo>
                      <a:pt x="107" y="130"/>
                      <a:pt x="109" y="131"/>
                      <a:pt x="122" y="136"/>
                    </a:cubicBezTo>
                    <a:cubicBezTo>
                      <a:pt x="131" y="139"/>
                      <a:pt x="139" y="141"/>
                      <a:pt x="140" y="141"/>
                    </a:cubicBezTo>
                    <a:cubicBezTo>
                      <a:pt x="141" y="141"/>
                      <a:pt x="145" y="144"/>
                      <a:pt x="148" y="147"/>
                    </a:cubicBezTo>
                    <a:cubicBezTo>
                      <a:pt x="153" y="153"/>
                      <a:pt x="153" y="153"/>
                      <a:pt x="153" y="153"/>
                    </a:cubicBezTo>
                    <a:cubicBezTo>
                      <a:pt x="166" y="153"/>
                      <a:pt x="166" y="153"/>
                      <a:pt x="166" y="153"/>
                    </a:cubicBezTo>
                    <a:cubicBezTo>
                      <a:pt x="173" y="154"/>
                      <a:pt x="181" y="155"/>
                      <a:pt x="184" y="156"/>
                    </a:cubicBezTo>
                    <a:cubicBezTo>
                      <a:pt x="189" y="158"/>
                      <a:pt x="193" y="157"/>
                      <a:pt x="197" y="153"/>
                    </a:cubicBezTo>
                    <a:cubicBezTo>
                      <a:pt x="198" y="152"/>
                      <a:pt x="201" y="152"/>
                      <a:pt x="209" y="154"/>
                    </a:cubicBezTo>
                    <a:cubicBezTo>
                      <a:pt x="215" y="156"/>
                      <a:pt x="220" y="158"/>
                      <a:pt x="220" y="158"/>
                    </a:cubicBezTo>
                    <a:cubicBezTo>
                      <a:pt x="222" y="161"/>
                      <a:pt x="220" y="166"/>
                      <a:pt x="216" y="168"/>
                    </a:cubicBezTo>
                    <a:cubicBezTo>
                      <a:pt x="214" y="169"/>
                      <a:pt x="209" y="174"/>
                      <a:pt x="204" y="178"/>
                    </a:cubicBezTo>
                    <a:cubicBezTo>
                      <a:pt x="200" y="183"/>
                      <a:pt x="195" y="189"/>
                      <a:pt x="193" y="191"/>
                    </a:cubicBezTo>
                    <a:cubicBezTo>
                      <a:pt x="182" y="203"/>
                      <a:pt x="182" y="203"/>
                      <a:pt x="182" y="203"/>
                    </a:cubicBezTo>
                    <a:cubicBezTo>
                      <a:pt x="175" y="210"/>
                      <a:pt x="172" y="218"/>
                      <a:pt x="175" y="220"/>
                    </a:cubicBezTo>
                    <a:cubicBezTo>
                      <a:pt x="178" y="221"/>
                      <a:pt x="193" y="206"/>
                      <a:pt x="194" y="200"/>
                    </a:cubicBezTo>
                    <a:cubicBezTo>
                      <a:pt x="195" y="197"/>
                      <a:pt x="198" y="192"/>
                      <a:pt x="206" y="184"/>
                    </a:cubicBezTo>
                    <a:cubicBezTo>
                      <a:pt x="216" y="173"/>
                      <a:pt x="217" y="172"/>
                      <a:pt x="222" y="172"/>
                    </a:cubicBezTo>
                    <a:cubicBezTo>
                      <a:pt x="226" y="172"/>
                      <a:pt x="228" y="173"/>
                      <a:pt x="230" y="177"/>
                    </a:cubicBezTo>
                    <a:cubicBezTo>
                      <a:pt x="233" y="181"/>
                      <a:pt x="234" y="182"/>
                      <a:pt x="237" y="181"/>
                    </a:cubicBezTo>
                    <a:cubicBezTo>
                      <a:pt x="244" y="179"/>
                      <a:pt x="251" y="179"/>
                      <a:pt x="254" y="182"/>
                    </a:cubicBezTo>
                    <a:cubicBezTo>
                      <a:pt x="256" y="183"/>
                      <a:pt x="262" y="187"/>
                      <a:pt x="266" y="189"/>
                    </a:cubicBezTo>
                    <a:cubicBezTo>
                      <a:pt x="271" y="192"/>
                      <a:pt x="275" y="194"/>
                      <a:pt x="275" y="194"/>
                    </a:cubicBezTo>
                    <a:cubicBezTo>
                      <a:pt x="275" y="194"/>
                      <a:pt x="275" y="196"/>
                      <a:pt x="274" y="198"/>
                    </a:cubicBezTo>
                    <a:cubicBezTo>
                      <a:pt x="271" y="204"/>
                      <a:pt x="274" y="212"/>
                      <a:pt x="280" y="218"/>
                    </a:cubicBezTo>
                    <a:cubicBezTo>
                      <a:pt x="285" y="223"/>
                      <a:pt x="291" y="233"/>
                      <a:pt x="291" y="236"/>
                    </a:cubicBezTo>
                    <a:cubicBezTo>
                      <a:pt x="291" y="238"/>
                      <a:pt x="281" y="253"/>
                      <a:pt x="277" y="258"/>
                    </a:cubicBezTo>
                    <a:cubicBezTo>
                      <a:pt x="272" y="263"/>
                      <a:pt x="272" y="263"/>
                      <a:pt x="272" y="263"/>
                    </a:cubicBezTo>
                    <a:cubicBezTo>
                      <a:pt x="266" y="255"/>
                      <a:pt x="266" y="255"/>
                      <a:pt x="266" y="255"/>
                    </a:cubicBezTo>
                    <a:cubicBezTo>
                      <a:pt x="263" y="251"/>
                      <a:pt x="260" y="248"/>
                      <a:pt x="259" y="247"/>
                    </a:cubicBezTo>
                    <a:cubicBezTo>
                      <a:pt x="259" y="247"/>
                      <a:pt x="256" y="247"/>
                      <a:pt x="253" y="249"/>
                    </a:cubicBezTo>
                    <a:cubicBezTo>
                      <a:pt x="250" y="250"/>
                      <a:pt x="244" y="252"/>
                      <a:pt x="240" y="253"/>
                    </a:cubicBezTo>
                    <a:cubicBezTo>
                      <a:pt x="236" y="254"/>
                      <a:pt x="228" y="256"/>
                      <a:pt x="223" y="259"/>
                    </a:cubicBezTo>
                    <a:cubicBezTo>
                      <a:pt x="217" y="261"/>
                      <a:pt x="205" y="265"/>
                      <a:pt x="197" y="268"/>
                    </a:cubicBezTo>
                    <a:cubicBezTo>
                      <a:pt x="188" y="272"/>
                      <a:pt x="178" y="276"/>
                      <a:pt x="175" y="277"/>
                    </a:cubicBezTo>
                    <a:cubicBezTo>
                      <a:pt x="161" y="283"/>
                      <a:pt x="132" y="293"/>
                      <a:pt x="126" y="294"/>
                    </a:cubicBezTo>
                    <a:cubicBezTo>
                      <a:pt x="121" y="295"/>
                      <a:pt x="119" y="294"/>
                      <a:pt x="113" y="291"/>
                    </a:cubicBezTo>
                    <a:cubicBezTo>
                      <a:pt x="108" y="289"/>
                      <a:pt x="104" y="288"/>
                      <a:pt x="103" y="288"/>
                    </a:cubicBezTo>
                    <a:cubicBezTo>
                      <a:pt x="102" y="289"/>
                      <a:pt x="102" y="292"/>
                      <a:pt x="102" y="295"/>
                    </a:cubicBezTo>
                    <a:cubicBezTo>
                      <a:pt x="101" y="302"/>
                      <a:pt x="100" y="314"/>
                      <a:pt x="99" y="315"/>
                    </a:cubicBezTo>
                    <a:cubicBezTo>
                      <a:pt x="98" y="316"/>
                      <a:pt x="92" y="317"/>
                      <a:pt x="91" y="3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378" name="Group 377">
              <a:extLst>
                <a:ext uri="{FF2B5EF4-FFF2-40B4-BE49-F238E27FC236}">
                  <a16:creationId xmlns:a16="http://schemas.microsoft.com/office/drawing/2014/main" id="{7DC39123-7078-4FE9-B315-D02498242D88}"/>
                </a:ext>
              </a:extLst>
            </p:cNvPr>
            <p:cNvGrpSpPr/>
            <p:nvPr userDrawn="1"/>
          </p:nvGrpSpPr>
          <p:grpSpPr>
            <a:xfrm>
              <a:off x="1545168" y="-1558800"/>
              <a:ext cx="5254912" cy="6833889"/>
              <a:chOff x="1545168" y="-1658096"/>
              <a:chExt cx="5254912" cy="6833889"/>
            </a:xfrm>
            <a:grpFill/>
          </p:grpSpPr>
          <p:sp>
            <p:nvSpPr>
              <p:cNvPr id="394" name="Freeform 6">
                <a:extLst>
                  <a:ext uri="{FF2B5EF4-FFF2-40B4-BE49-F238E27FC236}">
                    <a16:creationId xmlns:a16="http://schemas.microsoft.com/office/drawing/2014/main" id="{CA8D3283-5DA3-42F5-8A6C-21AD1D71E683}"/>
                  </a:ext>
                </a:extLst>
              </p:cNvPr>
              <p:cNvSpPr>
                <a:spLocks noEditPoints="1"/>
              </p:cNvSpPr>
              <p:nvPr/>
            </p:nvSpPr>
            <p:spPr bwMode="auto">
              <a:xfrm>
                <a:off x="1545168" y="700742"/>
                <a:ext cx="2197089" cy="2507107"/>
              </a:xfrm>
              <a:custGeom>
                <a:avLst/>
                <a:gdLst>
                  <a:gd name="T0" fmla="*/ 253 w 482"/>
                  <a:gd name="T1" fmla="*/ 398 h 550"/>
                  <a:gd name="T2" fmla="*/ 300 w 482"/>
                  <a:gd name="T3" fmla="*/ 424 h 550"/>
                  <a:gd name="T4" fmla="*/ 337 w 482"/>
                  <a:gd name="T5" fmla="*/ 413 h 550"/>
                  <a:gd name="T6" fmla="*/ 298 w 482"/>
                  <a:gd name="T7" fmla="*/ 444 h 550"/>
                  <a:gd name="T8" fmla="*/ 267 w 482"/>
                  <a:gd name="T9" fmla="*/ 457 h 550"/>
                  <a:gd name="T10" fmla="*/ 206 w 482"/>
                  <a:gd name="T11" fmla="*/ 450 h 550"/>
                  <a:gd name="T12" fmla="*/ 231 w 482"/>
                  <a:gd name="T13" fmla="*/ 433 h 550"/>
                  <a:gd name="T14" fmla="*/ 239 w 482"/>
                  <a:gd name="T15" fmla="*/ 392 h 550"/>
                  <a:gd name="T16" fmla="*/ 229 w 482"/>
                  <a:gd name="T17" fmla="*/ 205 h 550"/>
                  <a:gd name="T18" fmla="*/ 248 w 482"/>
                  <a:gd name="T19" fmla="*/ 233 h 550"/>
                  <a:gd name="T20" fmla="*/ 242 w 482"/>
                  <a:gd name="T21" fmla="*/ 251 h 550"/>
                  <a:gd name="T22" fmla="*/ 217 w 482"/>
                  <a:gd name="T23" fmla="*/ 246 h 550"/>
                  <a:gd name="T24" fmla="*/ 184 w 482"/>
                  <a:gd name="T25" fmla="*/ 271 h 550"/>
                  <a:gd name="T26" fmla="*/ 181 w 482"/>
                  <a:gd name="T27" fmla="*/ 257 h 550"/>
                  <a:gd name="T28" fmla="*/ 164 w 482"/>
                  <a:gd name="T29" fmla="*/ 240 h 550"/>
                  <a:gd name="T30" fmla="*/ 176 w 482"/>
                  <a:gd name="T31" fmla="*/ 213 h 550"/>
                  <a:gd name="T32" fmla="*/ 153 w 482"/>
                  <a:gd name="T33" fmla="*/ 199 h 550"/>
                  <a:gd name="T34" fmla="*/ 61 w 482"/>
                  <a:gd name="T35" fmla="*/ 1 h 550"/>
                  <a:gd name="T36" fmla="*/ 40 w 482"/>
                  <a:gd name="T37" fmla="*/ 16 h 550"/>
                  <a:gd name="T38" fmla="*/ 3 w 482"/>
                  <a:gd name="T39" fmla="*/ 77 h 550"/>
                  <a:gd name="T40" fmla="*/ 16 w 482"/>
                  <a:gd name="T41" fmla="*/ 138 h 550"/>
                  <a:gd name="T42" fmla="*/ 25 w 482"/>
                  <a:gd name="T43" fmla="*/ 163 h 550"/>
                  <a:gd name="T44" fmla="*/ 10 w 482"/>
                  <a:gd name="T45" fmla="*/ 189 h 550"/>
                  <a:gd name="T46" fmla="*/ 12 w 482"/>
                  <a:gd name="T47" fmla="*/ 209 h 550"/>
                  <a:gd name="T48" fmla="*/ 21 w 482"/>
                  <a:gd name="T49" fmla="*/ 244 h 550"/>
                  <a:gd name="T50" fmla="*/ 12 w 482"/>
                  <a:gd name="T51" fmla="*/ 313 h 550"/>
                  <a:gd name="T52" fmla="*/ 31 w 482"/>
                  <a:gd name="T53" fmla="*/ 359 h 550"/>
                  <a:gd name="T54" fmla="*/ 28 w 482"/>
                  <a:gd name="T55" fmla="*/ 374 h 550"/>
                  <a:gd name="T56" fmla="*/ 48 w 482"/>
                  <a:gd name="T57" fmla="*/ 397 h 550"/>
                  <a:gd name="T58" fmla="*/ 64 w 482"/>
                  <a:gd name="T59" fmla="*/ 437 h 550"/>
                  <a:gd name="T60" fmla="*/ 298 w 482"/>
                  <a:gd name="T61" fmla="*/ 516 h 550"/>
                  <a:gd name="T62" fmla="*/ 374 w 482"/>
                  <a:gd name="T63" fmla="*/ 533 h 550"/>
                  <a:gd name="T64" fmla="*/ 435 w 482"/>
                  <a:gd name="T65" fmla="*/ 545 h 550"/>
                  <a:gd name="T66" fmla="*/ 468 w 482"/>
                  <a:gd name="T67" fmla="*/ 528 h 550"/>
                  <a:gd name="T68" fmla="*/ 475 w 482"/>
                  <a:gd name="T69" fmla="*/ 455 h 550"/>
                  <a:gd name="T70" fmla="*/ 479 w 482"/>
                  <a:gd name="T71" fmla="*/ 409 h 550"/>
                  <a:gd name="T72" fmla="*/ 461 w 482"/>
                  <a:gd name="T73" fmla="*/ 360 h 550"/>
                  <a:gd name="T74" fmla="*/ 374 w 482"/>
                  <a:gd name="T75" fmla="*/ 305 h 550"/>
                  <a:gd name="T76" fmla="*/ 333 w 482"/>
                  <a:gd name="T77" fmla="*/ 284 h 550"/>
                  <a:gd name="T78" fmla="*/ 262 w 482"/>
                  <a:gd name="T79" fmla="*/ 187 h 550"/>
                  <a:gd name="T80" fmla="*/ 254 w 482"/>
                  <a:gd name="T81" fmla="*/ 85 h 550"/>
                  <a:gd name="T82" fmla="*/ 242 w 482"/>
                  <a:gd name="T83" fmla="*/ 73 h 550"/>
                  <a:gd name="T84" fmla="*/ 211 w 482"/>
                  <a:gd name="T85" fmla="*/ 78 h 550"/>
                  <a:gd name="T86" fmla="*/ 214 w 482"/>
                  <a:gd name="T87" fmla="*/ 55 h 550"/>
                  <a:gd name="T88" fmla="*/ 183 w 482"/>
                  <a:gd name="T89" fmla="*/ 60 h 550"/>
                  <a:gd name="T90" fmla="*/ 167 w 482"/>
                  <a:gd name="T91" fmla="*/ 22 h 550"/>
                  <a:gd name="T92" fmla="*/ 153 w 482"/>
                  <a:gd name="T93" fmla="*/ 18 h 550"/>
                  <a:gd name="T94" fmla="*/ 103 w 482"/>
                  <a:gd name="T95" fmla="*/ 10 h 550"/>
                  <a:gd name="T96" fmla="*/ 77 w 482"/>
                  <a:gd name="T97" fmla="*/ 9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2" h="550">
                    <a:moveTo>
                      <a:pt x="237" y="380"/>
                    </a:moveTo>
                    <a:cubicBezTo>
                      <a:pt x="238" y="380"/>
                      <a:pt x="241" y="383"/>
                      <a:pt x="243" y="387"/>
                    </a:cubicBezTo>
                    <a:cubicBezTo>
                      <a:pt x="246" y="390"/>
                      <a:pt x="250" y="395"/>
                      <a:pt x="253" y="398"/>
                    </a:cubicBezTo>
                    <a:cubicBezTo>
                      <a:pt x="260" y="405"/>
                      <a:pt x="266" y="411"/>
                      <a:pt x="269" y="417"/>
                    </a:cubicBezTo>
                    <a:cubicBezTo>
                      <a:pt x="272" y="421"/>
                      <a:pt x="274" y="422"/>
                      <a:pt x="282" y="424"/>
                    </a:cubicBezTo>
                    <a:cubicBezTo>
                      <a:pt x="291" y="427"/>
                      <a:pt x="292" y="427"/>
                      <a:pt x="300" y="424"/>
                    </a:cubicBezTo>
                    <a:cubicBezTo>
                      <a:pt x="305" y="423"/>
                      <a:pt x="309" y="421"/>
                      <a:pt x="311" y="418"/>
                    </a:cubicBezTo>
                    <a:cubicBezTo>
                      <a:pt x="315" y="413"/>
                      <a:pt x="321" y="410"/>
                      <a:pt x="330" y="410"/>
                    </a:cubicBezTo>
                    <a:cubicBezTo>
                      <a:pt x="337" y="409"/>
                      <a:pt x="337" y="409"/>
                      <a:pt x="337" y="413"/>
                    </a:cubicBezTo>
                    <a:cubicBezTo>
                      <a:pt x="337" y="419"/>
                      <a:pt x="331" y="425"/>
                      <a:pt x="325" y="427"/>
                    </a:cubicBezTo>
                    <a:cubicBezTo>
                      <a:pt x="322" y="428"/>
                      <a:pt x="317" y="431"/>
                      <a:pt x="314" y="434"/>
                    </a:cubicBezTo>
                    <a:cubicBezTo>
                      <a:pt x="310" y="438"/>
                      <a:pt x="303" y="442"/>
                      <a:pt x="298" y="444"/>
                    </a:cubicBezTo>
                    <a:cubicBezTo>
                      <a:pt x="293" y="447"/>
                      <a:pt x="287" y="450"/>
                      <a:pt x="284" y="451"/>
                    </a:cubicBezTo>
                    <a:cubicBezTo>
                      <a:pt x="281" y="453"/>
                      <a:pt x="277" y="454"/>
                      <a:pt x="275" y="454"/>
                    </a:cubicBezTo>
                    <a:cubicBezTo>
                      <a:pt x="272" y="453"/>
                      <a:pt x="270" y="454"/>
                      <a:pt x="267" y="457"/>
                    </a:cubicBezTo>
                    <a:cubicBezTo>
                      <a:pt x="264" y="459"/>
                      <a:pt x="260" y="462"/>
                      <a:pt x="257" y="463"/>
                    </a:cubicBezTo>
                    <a:cubicBezTo>
                      <a:pt x="254" y="464"/>
                      <a:pt x="250" y="465"/>
                      <a:pt x="248" y="465"/>
                    </a:cubicBezTo>
                    <a:cubicBezTo>
                      <a:pt x="221" y="463"/>
                      <a:pt x="219" y="462"/>
                      <a:pt x="206" y="450"/>
                    </a:cubicBezTo>
                    <a:cubicBezTo>
                      <a:pt x="195" y="440"/>
                      <a:pt x="195" y="437"/>
                      <a:pt x="207" y="437"/>
                    </a:cubicBezTo>
                    <a:cubicBezTo>
                      <a:pt x="211" y="437"/>
                      <a:pt x="216" y="438"/>
                      <a:pt x="218" y="438"/>
                    </a:cubicBezTo>
                    <a:cubicBezTo>
                      <a:pt x="221" y="440"/>
                      <a:pt x="225" y="439"/>
                      <a:pt x="231" y="433"/>
                    </a:cubicBezTo>
                    <a:cubicBezTo>
                      <a:pt x="234" y="430"/>
                      <a:pt x="236" y="429"/>
                      <a:pt x="240" y="430"/>
                    </a:cubicBezTo>
                    <a:cubicBezTo>
                      <a:pt x="247" y="430"/>
                      <a:pt x="250" y="428"/>
                      <a:pt x="250" y="424"/>
                    </a:cubicBezTo>
                    <a:cubicBezTo>
                      <a:pt x="250" y="419"/>
                      <a:pt x="244" y="403"/>
                      <a:pt x="239" y="392"/>
                    </a:cubicBezTo>
                    <a:cubicBezTo>
                      <a:pt x="235" y="384"/>
                      <a:pt x="235" y="380"/>
                      <a:pt x="237" y="380"/>
                    </a:cubicBezTo>
                    <a:close/>
                    <a:moveTo>
                      <a:pt x="189" y="198"/>
                    </a:moveTo>
                    <a:cubicBezTo>
                      <a:pt x="226" y="199"/>
                      <a:pt x="229" y="199"/>
                      <a:pt x="229" y="205"/>
                    </a:cubicBezTo>
                    <a:cubicBezTo>
                      <a:pt x="229" y="206"/>
                      <a:pt x="226" y="210"/>
                      <a:pt x="222" y="213"/>
                    </a:cubicBezTo>
                    <a:cubicBezTo>
                      <a:pt x="218" y="217"/>
                      <a:pt x="216" y="219"/>
                      <a:pt x="217" y="220"/>
                    </a:cubicBezTo>
                    <a:cubicBezTo>
                      <a:pt x="219" y="222"/>
                      <a:pt x="238" y="230"/>
                      <a:pt x="248" y="233"/>
                    </a:cubicBezTo>
                    <a:cubicBezTo>
                      <a:pt x="254" y="235"/>
                      <a:pt x="255" y="235"/>
                      <a:pt x="254" y="239"/>
                    </a:cubicBezTo>
                    <a:cubicBezTo>
                      <a:pt x="253" y="244"/>
                      <a:pt x="251" y="247"/>
                      <a:pt x="249" y="247"/>
                    </a:cubicBezTo>
                    <a:cubicBezTo>
                      <a:pt x="248" y="247"/>
                      <a:pt x="245" y="249"/>
                      <a:pt x="242" y="251"/>
                    </a:cubicBezTo>
                    <a:cubicBezTo>
                      <a:pt x="236" y="255"/>
                      <a:pt x="236" y="255"/>
                      <a:pt x="236" y="255"/>
                    </a:cubicBezTo>
                    <a:cubicBezTo>
                      <a:pt x="228" y="251"/>
                      <a:pt x="228" y="251"/>
                      <a:pt x="228" y="251"/>
                    </a:cubicBezTo>
                    <a:cubicBezTo>
                      <a:pt x="223" y="249"/>
                      <a:pt x="219" y="246"/>
                      <a:pt x="217" y="246"/>
                    </a:cubicBezTo>
                    <a:cubicBezTo>
                      <a:pt x="214" y="244"/>
                      <a:pt x="212" y="246"/>
                      <a:pt x="209" y="255"/>
                    </a:cubicBezTo>
                    <a:cubicBezTo>
                      <a:pt x="206" y="264"/>
                      <a:pt x="205" y="265"/>
                      <a:pt x="194" y="268"/>
                    </a:cubicBezTo>
                    <a:cubicBezTo>
                      <a:pt x="189" y="270"/>
                      <a:pt x="185" y="271"/>
                      <a:pt x="184" y="271"/>
                    </a:cubicBezTo>
                    <a:cubicBezTo>
                      <a:pt x="181" y="271"/>
                      <a:pt x="182" y="267"/>
                      <a:pt x="186" y="263"/>
                    </a:cubicBezTo>
                    <a:cubicBezTo>
                      <a:pt x="194" y="253"/>
                      <a:pt x="194" y="253"/>
                      <a:pt x="190" y="253"/>
                    </a:cubicBezTo>
                    <a:cubicBezTo>
                      <a:pt x="187" y="253"/>
                      <a:pt x="184" y="254"/>
                      <a:pt x="181" y="257"/>
                    </a:cubicBezTo>
                    <a:cubicBezTo>
                      <a:pt x="174" y="263"/>
                      <a:pt x="169" y="263"/>
                      <a:pt x="162" y="260"/>
                    </a:cubicBezTo>
                    <a:cubicBezTo>
                      <a:pt x="159" y="258"/>
                      <a:pt x="156" y="255"/>
                      <a:pt x="155" y="253"/>
                    </a:cubicBezTo>
                    <a:cubicBezTo>
                      <a:pt x="154" y="250"/>
                      <a:pt x="154" y="249"/>
                      <a:pt x="164" y="240"/>
                    </a:cubicBezTo>
                    <a:cubicBezTo>
                      <a:pt x="169" y="235"/>
                      <a:pt x="177" y="229"/>
                      <a:pt x="180" y="227"/>
                    </a:cubicBezTo>
                    <a:cubicBezTo>
                      <a:pt x="183" y="226"/>
                      <a:pt x="187" y="223"/>
                      <a:pt x="187" y="222"/>
                    </a:cubicBezTo>
                    <a:cubicBezTo>
                      <a:pt x="188" y="218"/>
                      <a:pt x="182" y="213"/>
                      <a:pt x="176" y="213"/>
                    </a:cubicBezTo>
                    <a:cubicBezTo>
                      <a:pt x="173" y="213"/>
                      <a:pt x="166" y="212"/>
                      <a:pt x="161" y="210"/>
                    </a:cubicBezTo>
                    <a:cubicBezTo>
                      <a:pt x="154" y="208"/>
                      <a:pt x="152" y="206"/>
                      <a:pt x="152" y="204"/>
                    </a:cubicBezTo>
                    <a:cubicBezTo>
                      <a:pt x="151" y="202"/>
                      <a:pt x="152" y="200"/>
                      <a:pt x="153" y="199"/>
                    </a:cubicBezTo>
                    <a:cubicBezTo>
                      <a:pt x="153" y="199"/>
                      <a:pt x="170" y="198"/>
                      <a:pt x="189" y="198"/>
                    </a:cubicBezTo>
                    <a:close/>
                    <a:moveTo>
                      <a:pt x="72" y="0"/>
                    </a:moveTo>
                    <a:cubicBezTo>
                      <a:pt x="69" y="0"/>
                      <a:pt x="66" y="0"/>
                      <a:pt x="61" y="1"/>
                    </a:cubicBezTo>
                    <a:cubicBezTo>
                      <a:pt x="53" y="2"/>
                      <a:pt x="46" y="3"/>
                      <a:pt x="45" y="3"/>
                    </a:cubicBezTo>
                    <a:cubicBezTo>
                      <a:pt x="44" y="4"/>
                      <a:pt x="44" y="6"/>
                      <a:pt x="44" y="11"/>
                    </a:cubicBezTo>
                    <a:cubicBezTo>
                      <a:pt x="45" y="19"/>
                      <a:pt x="43" y="21"/>
                      <a:pt x="40" y="16"/>
                    </a:cubicBezTo>
                    <a:cubicBezTo>
                      <a:pt x="39" y="14"/>
                      <a:pt x="37" y="12"/>
                      <a:pt x="37" y="12"/>
                    </a:cubicBezTo>
                    <a:cubicBezTo>
                      <a:pt x="34" y="12"/>
                      <a:pt x="14" y="50"/>
                      <a:pt x="10" y="61"/>
                    </a:cubicBezTo>
                    <a:cubicBezTo>
                      <a:pt x="7" y="68"/>
                      <a:pt x="4" y="75"/>
                      <a:pt x="3" y="77"/>
                    </a:cubicBezTo>
                    <a:cubicBezTo>
                      <a:pt x="0" y="82"/>
                      <a:pt x="1" y="84"/>
                      <a:pt x="10" y="90"/>
                    </a:cubicBezTo>
                    <a:cubicBezTo>
                      <a:pt x="30" y="103"/>
                      <a:pt x="30" y="105"/>
                      <a:pt x="22" y="121"/>
                    </a:cubicBezTo>
                    <a:cubicBezTo>
                      <a:pt x="19" y="127"/>
                      <a:pt x="17" y="135"/>
                      <a:pt x="16" y="138"/>
                    </a:cubicBezTo>
                    <a:cubicBezTo>
                      <a:pt x="16" y="143"/>
                      <a:pt x="16" y="144"/>
                      <a:pt x="21" y="148"/>
                    </a:cubicBezTo>
                    <a:cubicBezTo>
                      <a:pt x="24" y="151"/>
                      <a:pt x="26" y="153"/>
                      <a:pt x="26" y="154"/>
                    </a:cubicBezTo>
                    <a:cubicBezTo>
                      <a:pt x="26" y="154"/>
                      <a:pt x="25" y="158"/>
                      <a:pt x="25" y="163"/>
                    </a:cubicBezTo>
                    <a:cubicBezTo>
                      <a:pt x="25" y="172"/>
                      <a:pt x="23" y="175"/>
                      <a:pt x="17" y="176"/>
                    </a:cubicBezTo>
                    <a:cubicBezTo>
                      <a:pt x="13" y="177"/>
                      <a:pt x="11" y="181"/>
                      <a:pt x="11" y="186"/>
                    </a:cubicBezTo>
                    <a:cubicBezTo>
                      <a:pt x="11" y="188"/>
                      <a:pt x="10" y="189"/>
                      <a:pt x="10" y="189"/>
                    </a:cubicBezTo>
                    <a:cubicBezTo>
                      <a:pt x="9" y="189"/>
                      <a:pt x="8" y="191"/>
                      <a:pt x="7" y="193"/>
                    </a:cubicBezTo>
                    <a:cubicBezTo>
                      <a:pt x="7" y="196"/>
                      <a:pt x="7" y="198"/>
                      <a:pt x="9" y="200"/>
                    </a:cubicBezTo>
                    <a:cubicBezTo>
                      <a:pt x="11" y="202"/>
                      <a:pt x="12" y="205"/>
                      <a:pt x="12" y="209"/>
                    </a:cubicBezTo>
                    <a:cubicBezTo>
                      <a:pt x="12" y="213"/>
                      <a:pt x="14" y="218"/>
                      <a:pt x="16" y="223"/>
                    </a:cubicBezTo>
                    <a:cubicBezTo>
                      <a:pt x="18" y="227"/>
                      <a:pt x="19" y="231"/>
                      <a:pt x="18" y="234"/>
                    </a:cubicBezTo>
                    <a:cubicBezTo>
                      <a:pt x="18" y="237"/>
                      <a:pt x="19" y="241"/>
                      <a:pt x="21" y="244"/>
                    </a:cubicBezTo>
                    <a:cubicBezTo>
                      <a:pt x="23" y="250"/>
                      <a:pt x="23" y="250"/>
                      <a:pt x="21" y="258"/>
                    </a:cubicBezTo>
                    <a:cubicBezTo>
                      <a:pt x="18" y="270"/>
                      <a:pt x="14" y="288"/>
                      <a:pt x="13" y="300"/>
                    </a:cubicBezTo>
                    <a:cubicBezTo>
                      <a:pt x="13" y="306"/>
                      <a:pt x="12" y="312"/>
                      <a:pt x="12" y="313"/>
                    </a:cubicBezTo>
                    <a:cubicBezTo>
                      <a:pt x="11" y="315"/>
                      <a:pt x="12" y="317"/>
                      <a:pt x="14" y="320"/>
                    </a:cubicBezTo>
                    <a:cubicBezTo>
                      <a:pt x="18" y="324"/>
                      <a:pt x="20" y="329"/>
                      <a:pt x="22" y="339"/>
                    </a:cubicBezTo>
                    <a:cubicBezTo>
                      <a:pt x="24" y="348"/>
                      <a:pt x="27" y="354"/>
                      <a:pt x="31" y="359"/>
                    </a:cubicBezTo>
                    <a:cubicBezTo>
                      <a:pt x="34" y="362"/>
                      <a:pt x="34" y="362"/>
                      <a:pt x="34" y="362"/>
                    </a:cubicBezTo>
                    <a:cubicBezTo>
                      <a:pt x="31" y="365"/>
                      <a:pt x="31" y="365"/>
                      <a:pt x="31" y="365"/>
                    </a:cubicBezTo>
                    <a:cubicBezTo>
                      <a:pt x="29" y="367"/>
                      <a:pt x="28" y="370"/>
                      <a:pt x="28" y="374"/>
                    </a:cubicBezTo>
                    <a:cubicBezTo>
                      <a:pt x="28" y="377"/>
                      <a:pt x="27" y="380"/>
                      <a:pt x="26" y="382"/>
                    </a:cubicBezTo>
                    <a:cubicBezTo>
                      <a:pt x="25" y="384"/>
                      <a:pt x="26" y="385"/>
                      <a:pt x="34" y="389"/>
                    </a:cubicBezTo>
                    <a:cubicBezTo>
                      <a:pt x="39" y="391"/>
                      <a:pt x="45" y="395"/>
                      <a:pt x="48" y="397"/>
                    </a:cubicBezTo>
                    <a:cubicBezTo>
                      <a:pt x="53" y="400"/>
                      <a:pt x="55" y="400"/>
                      <a:pt x="58" y="399"/>
                    </a:cubicBezTo>
                    <a:cubicBezTo>
                      <a:pt x="64" y="398"/>
                      <a:pt x="64" y="397"/>
                      <a:pt x="64" y="420"/>
                    </a:cubicBezTo>
                    <a:cubicBezTo>
                      <a:pt x="64" y="437"/>
                      <a:pt x="64" y="437"/>
                      <a:pt x="64" y="437"/>
                    </a:cubicBezTo>
                    <a:cubicBezTo>
                      <a:pt x="80" y="444"/>
                      <a:pt x="80" y="444"/>
                      <a:pt x="80" y="444"/>
                    </a:cubicBezTo>
                    <a:cubicBezTo>
                      <a:pt x="130" y="464"/>
                      <a:pt x="190" y="484"/>
                      <a:pt x="247" y="501"/>
                    </a:cubicBezTo>
                    <a:cubicBezTo>
                      <a:pt x="264" y="505"/>
                      <a:pt x="287" y="512"/>
                      <a:pt x="298" y="516"/>
                    </a:cubicBezTo>
                    <a:cubicBezTo>
                      <a:pt x="310" y="519"/>
                      <a:pt x="321" y="522"/>
                      <a:pt x="323" y="523"/>
                    </a:cubicBezTo>
                    <a:cubicBezTo>
                      <a:pt x="325" y="523"/>
                      <a:pt x="337" y="525"/>
                      <a:pt x="349" y="528"/>
                    </a:cubicBezTo>
                    <a:cubicBezTo>
                      <a:pt x="360" y="530"/>
                      <a:pt x="372" y="532"/>
                      <a:pt x="374" y="533"/>
                    </a:cubicBezTo>
                    <a:cubicBezTo>
                      <a:pt x="376" y="533"/>
                      <a:pt x="384" y="535"/>
                      <a:pt x="392" y="536"/>
                    </a:cubicBezTo>
                    <a:cubicBezTo>
                      <a:pt x="400" y="538"/>
                      <a:pt x="409" y="539"/>
                      <a:pt x="411" y="540"/>
                    </a:cubicBezTo>
                    <a:cubicBezTo>
                      <a:pt x="413" y="540"/>
                      <a:pt x="424" y="542"/>
                      <a:pt x="435" y="545"/>
                    </a:cubicBezTo>
                    <a:cubicBezTo>
                      <a:pt x="457" y="549"/>
                      <a:pt x="465" y="550"/>
                      <a:pt x="466" y="547"/>
                    </a:cubicBezTo>
                    <a:cubicBezTo>
                      <a:pt x="466" y="546"/>
                      <a:pt x="466" y="544"/>
                      <a:pt x="466" y="543"/>
                    </a:cubicBezTo>
                    <a:cubicBezTo>
                      <a:pt x="466" y="541"/>
                      <a:pt x="467" y="534"/>
                      <a:pt x="468" y="528"/>
                    </a:cubicBezTo>
                    <a:cubicBezTo>
                      <a:pt x="468" y="521"/>
                      <a:pt x="469" y="514"/>
                      <a:pt x="469" y="512"/>
                    </a:cubicBezTo>
                    <a:cubicBezTo>
                      <a:pt x="469" y="510"/>
                      <a:pt x="470" y="504"/>
                      <a:pt x="470" y="499"/>
                    </a:cubicBezTo>
                    <a:cubicBezTo>
                      <a:pt x="472" y="485"/>
                      <a:pt x="474" y="462"/>
                      <a:pt x="475" y="455"/>
                    </a:cubicBezTo>
                    <a:cubicBezTo>
                      <a:pt x="475" y="452"/>
                      <a:pt x="476" y="445"/>
                      <a:pt x="476" y="438"/>
                    </a:cubicBezTo>
                    <a:cubicBezTo>
                      <a:pt x="477" y="431"/>
                      <a:pt x="477" y="424"/>
                      <a:pt x="478" y="423"/>
                    </a:cubicBezTo>
                    <a:cubicBezTo>
                      <a:pt x="478" y="422"/>
                      <a:pt x="478" y="415"/>
                      <a:pt x="479" y="409"/>
                    </a:cubicBezTo>
                    <a:cubicBezTo>
                      <a:pt x="479" y="402"/>
                      <a:pt x="480" y="391"/>
                      <a:pt x="481" y="385"/>
                    </a:cubicBezTo>
                    <a:cubicBezTo>
                      <a:pt x="482" y="379"/>
                      <a:pt x="482" y="373"/>
                      <a:pt x="482" y="372"/>
                    </a:cubicBezTo>
                    <a:cubicBezTo>
                      <a:pt x="481" y="371"/>
                      <a:pt x="472" y="366"/>
                      <a:pt x="461" y="360"/>
                    </a:cubicBezTo>
                    <a:cubicBezTo>
                      <a:pt x="437" y="348"/>
                      <a:pt x="413" y="335"/>
                      <a:pt x="395" y="326"/>
                    </a:cubicBezTo>
                    <a:cubicBezTo>
                      <a:pt x="383" y="319"/>
                      <a:pt x="383" y="319"/>
                      <a:pt x="383" y="319"/>
                    </a:cubicBezTo>
                    <a:cubicBezTo>
                      <a:pt x="374" y="305"/>
                      <a:pt x="374" y="305"/>
                      <a:pt x="374" y="305"/>
                    </a:cubicBezTo>
                    <a:cubicBezTo>
                      <a:pt x="365" y="291"/>
                      <a:pt x="365" y="291"/>
                      <a:pt x="365" y="291"/>
                    </a:cubicBezTo>
                    <a:cubicBezTo>
                      <a:pt x="349" y="287"/>
                      <a:pt x="349" y="287"/>
                      <a:pt x="349" y="287"/>
                    </a:cubicBezTo>
                    <a:cubicBezTo>
                      <a:pt x="333" y="284"/>
                      <a:pt x="333" y="284"/>
                      <a:pt x="333" y="284"/>
                    </a:cubicBezTo>
                    <a:cubicBezTo>
                      <a:pt x="320" y="265"/>
                      <a:pt x="320" y="265"/>
                      <a:pt x="320" y="265"/>
                    </a:cubicBezTo>
                    <a:cubicBezTo>
                      <a:pt x="312" y="255"/>
                      <a:pt x="300" y="239"/>
                      <a:pt x="293" y="229"/>
                    </a:cubicBezTo>
                    <a:cubicBezTo>
                      <a:pt x="286" y="219"/>
                      <a:pt x="272" y="200"/>
                      <a:pt x="262" y="187"/>
                    </a:cubicBezTo>
                    <a:cubicBezTo>
                      <a:pt x="253" y="173"/>
                      <a:pt x="243" y="161"/>
                      <a:pt x="242" y="159"/>
                    </a:cubicBezTo>
                    <a:cubicBezTo>
                      <a:pt x="240" y="156"/>
                      <a:pt x="240" y="155"/>
                      <a:pt x="245" y="142"/>
                    </a:cubicBezTo>
                    <a:cubicBezTo>
                      <a:pt x="263" y="96"/>
                      <a:pt x="262" y="96"/>
                      <a:pt x="254" y="85"/>
                    </a:cubicBezTo>
                    <a:cubicBezTo>
                      <a:pt x="251" y="81"/>
                      <a:pt x="249" y="78"/>
                      <a:pt x="249" y="77"/>
                    </a:cubicBezTo>
                    <a:cubicBezTo>
                      <a:pt x="249" y="77"/>
                      <a:pt x="248" y="76"/>
                      <a:pt x="247" y="76"/>
                    </a:cubicBezTo>
                    <a:cubicBezTo>
                      <a:pt x="246" y="76"/>
                      <a:pt x="244" y="75"/>
                      <a:pt x="242" y="73"/>
                    </a:cubicBezTo>
                    <a:cubicBezTo>
                      <a:pt x="240" y="72"/>
                      <a:pt x="236" y="70"/>
                      <a:pt x="233" y="70"/>
                    </a:cubicBezTo>
                    <a:cubicBezTo>
                      <a:pt x="228" y="70"/>
                      <a:pt x="226" y="70"/>
                      <a:pt x="221" y="74"/>
                    </a:cubicBezTo>
                    <a:cubicBezTo>
                      <a:pt x="216" y="78"/>
                      <a:pt x="215" y="79"/>
                      <a:pt x="211" y="78"/>
                    </a:cubicBezTo>
                    <a:cubicBezTo>
                      <a:pt x="207" y="76"/>
                      <a:pt x="207" y="75"/>
                      <a:pt x="212" y="70"/>
                    </a:cubicBezTo>
                    <a:cubicBezTo>
                      <a:pt x="214" y="68"/>
                      <a:pt x="216" y="65"/>
                      <a:pt x="215" y="64"/>
                    </a:cubicBezTo>
                    <a:cubicBezTo>
                      <a:pt x="215" y="63"/>
                      <a:pt x="214" y="59"/>
                      <a:pt x="214" y="55"/>
                    </a:cubicBezTo>
                    <a:cubicBezTo>
                      <a:pt x="214" y="43"/>
                      <a:pt x="212" y="43"/>
                      <a:pt x="200" y="55"/>
                    </a:cubicBezTo>
                    <a:cubicBezTo>
                      <a:pt x="194" y="61"/>
                      <a:pt x="189" y="66"/>
                      <a:pt x="188" y="66"/>
                    </a:cubicBezTo>
                    <a:cubicBezTo>
                      <a:pt x="187" y="66"/>
                      <a:pt x="183" y="62"/>
                      <a:pt x="183" y="60"/>
                    </a:cubicBezTo>
                    <a:cubicBezTo>
                      <a:pt x="183" y="60"/>
                      <a:pt x="183" y="51"/>
                      <a:pt x="182" y="41"/>
                    </a:cubicBezTo>
                    <a:cubicBezTo>
                      <a:pt x="182" y="23"/>
                      <a:pt x="182" y="23"/>
                      <a:pt x="179" y="21"/>
                    </a:cubicBezTo>
                    <a:cubicBezTo>
                      <a:pt x="174" y="19"/>
                      <a:pt x="171" y="19"/>
                      <a:pt x="167" y="22"/>
                    </a:cubicBezTo>
                    <a:cubicBezTo>
                      <a:pt x="164" y="24"/>
                      <a:pt x="162" y="25"/>
                      <a:pt x="157" y="25"/>
                    </a:cubicBezTo>
                    <a:cubicBezTo>
                      <a:pt x="152" y="25"/>
                      <a:pt x="150" y="24"/>
                      <a:pt x="151" y="23"/>
                    </a:cubicBezTo>
                    <a:cubicBezTo>
                      <a:pt x="152" y="22"/>
                      <a:pt x="152" y="20"/>
                      <a:pt x="153" y="18"/>
                    </a:cubicBezTo>
                    <a:cubicBezTo>
                      <a:pt x="154" y="14"/>
                      <a:pt x="153" y="13"/>
                      <a:pt x="147" y="10"/>
                    </a:cubicBezTo>
                    <a:cubicBezTo>
                      <a:pt x="140" y="7"/>
                      <a:pt x="130" y="6"/>
                      <a:pt x="121" y="9"/>
                    </a:cubicBezTo>
                    <a:cubicBezTo>
                      <a:pt x="119" y="9"/>
                      <a:pt x="111" y="10"/>
                      <a:pt x="103" y="10"/>
                    </a:cubicBezTo>
                    <a:cubicBezTo>
                      <a:pt x="92" y="11"/>
                      <a:pt x="88" y="12"/>
                      <a:pt x="87" y="13"/>
                    </a:cubicBezTo>
                    <a:cubicBezTo>
                      <a:pt x="86" y="14"/>
                      <a:pt x="84" y="15"/>
                      <a:pt x="82" y="15"/>
                    </a:cubicBezTo>
                    <a:cubicBezTo>
                      <a:pt x="78" y="15"/>
                      <a:pt x="77" y="15"/>
                      <a:pt x="77" y="9"/>
                    </a:cubicBezTo>
                    <a:cubicBezTo>
                      <a:pt x="77" y="2"/>
                      <a:pt x="77" y="0"/>
                      <a:pt x="7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95" name="Freeform 16">
                <a:extLst>
                  <a:ext uri="{FF2B5EF4-FFF2-40B4-BE49-F238E27FC236}">
                    <a16:creationId xmlns:a16="http://schemas.microsoft.com/office/drawing/2014/main" id="{A541A084-0214-42B4-ACB7-65EE7CBDF5A7}"/>
                  </a:ext>
                </a:extLst>
              </p:cNvPr>
              <p:cNvSpPr>
                <a:spLocks/>
              </p:cNvSpPr>
              <p:nvPr/>
            </p:nvSpPr>
            <p:spPr bwMode="auto">
              <a:xfrm>
                <a:off x="2667783" y="983802"/>
                <a:ext cx="2705442" cy="2287591"/>
              </a:xfrm>
              <a:custGeom>
                <a:avLst/>
                <a:gdLst>
                  <a:gd name="T0" fmla="*/ 326 w 594"/>
                  <a:gd name="T1" fmla="*/ 499 h 502"/>
                  <a:gd name="T2" fmla="*/ 292 w 594"/>
                  <a:gd name="T3" fmla="*/ 495 h 502"/>
                  <a:gd name="T4" fmla="*/ 224 w 594"/>
                  <a:gd name="T5" fmla="*/ 486 h 502"/>
                  <a:gd name="T6" fmla="*/ 229 w 594"/>
                  <a:gd name="T7" fmla="*/ 442 h 502"/>
                  <a:gd name="T8" fmla="*/ 234 w 594"/>
                  <a:gd name="T9" fmla="*/ 381 h 502"/>
                  <a:gd name="T10" fmla="*/ 241 w 594"/>
                  <a:gd name="T11" fmla="*/ 310 h 502"/>
                  <a:gd name="T12" fmla="*/ 147 w 594"/>
                  <a:gd name="T13" fmla="*/ 257 h 502"/>
                  <a:gd name="T14" fmla="*/ 106 w 594"/>
                  <a:gd name="T15" fmla="*/ 221 h 502"/>
                  <a:gd name="T16" fmla="*/ 45 w 594"/>
                  <a:gd name="T17" fmla="*/ 156 h 502"/>
                  <a:gd name="T18" fmla="*/ 19 w 594"/>
                  <a:gd name="T19" fmla="*/ 40 h 502"/>
                  <a:gd name="T20" fmla="*/ 68 w 594"/>
                  <a:gd name="T21" fmla="*/ 76 h 502"/>
                  <a:gd name="T22" fmla="*/ 95 w 594"/>
                  <a:gd name="T23" fmla="*/ 109 h 502"/>
                  <a:gd name="T24" fmla="*/ 72 w 594"/>
                  <a:gd name="T25" fmla="*/ 128 h 502"/>
                  <a:gd name="T26" fmla="*/ 140 w 594"/>
                  <a:gd name="T27" fmla="*/ 140 h 502"/>
                  <a:gd name="T28" fmla="*/ 170 w 594"/>
                  <a:gd name="T29" fmla="*/ 183 h 502"/>
                  <a:gd name="T30" fmla="*/ 171 w 594"/>
                  <a:gd name="T31" fmla="*/ 154 h 502"/>
                  <a:gd name="T32" fmla="*/ 196 w 594"/>
                  <a:gd name="T33" fmla="*/ 137 h 502"/>
                  <a:gd name="T34" fmla="*/ 185 w 594"/>
                  <a:gd name="T35" fmla="*/ 119 h 502"/>
                  <a:gd name="T36" fmla="*/ 217 w 594"/>
                  <a:gd name="T37" fmla="*/ 126 h 502"/>
                  <a:gd name="T38" fmla="*/ 243 w 594"/>
                  <a:gd name="T39" fmla="*/ 153 h 502"/>
                  <a:gd name="T40" fmla="*/ 259 w 594"/>
                  <a:gd name="T41" fmla="*/ 172 h 502"/>
                  <a:gd name="T42" fmla="*/ 305 w 594"/>
                  <a:gd name="T43" fmla="*/ 177 h 502"/>
                  <a:gd name="T44" fmla="*/ 318 w 594"/>
                  <a:gd name="T45" fmla="*/ 164 h 502"/>
                  <a:gd name="T46" fmla="*/ 353 w 594"/>
                  <a:gd name="T47" fmla="*/ 161 h 502"/>
                  <a:gd name="T48" fmla="*/ 356 w 594"/>
                  <a:gd name="T49" fmla="*/ 197 h 502"/>
                  <a:gd name="T50" fmla="*/ 364 w 594"/>
                  <a:gd name="T51" fmla="*/ 203 h 502"/>
                  <a:gd name="T52" fmla="*/ 367 w 594"/>
                  <a:gd name="T53" fmla="*/ 169 h 502"/>
                  <a:gd name="T54" fmla="*/ 388 w 594"/>
                  <a:gd name="T55" fmla="*/ 135 h 502"/>
                  <a:gd name="T56" fmla="*/ 362 w 594"/>
                  <a:gd name="T57" fmla="*/ 96 h 502"/>
                  <a:gd name="T58" fmla="*/ 356 w 594"/>
                  <a:gd name="T59" fmla="*/ 58 h 502"/>
                  <a:gd name="T60" fmla="*/ 363 w 594"/>
                  <a:gd name="T61" fmla="*/ 30 h 502"/>
                  <a:gd name="T62" fmla="*/ 386 w 594"/>
                  <a:gd name="T63" fmla="*/ 2 h 502"/>
                  <a:gd name="T64" fmla="*/ 411 w 594"/>
                  <a:gd name="T65" fmla="*/ 41 h 502"/>
                  <a:gd name="T66" fmla="*/ 419 w 594"/>
                  <a:gd name="T67" fmla="*/ 88 h 502"/>
                  <a:gd name="T68" fmla="*/ 427 w 594"/>
                  <a:gd name="T69" fmla="*/ 107 h 502"/>
                  <a:gd name="T70" fmla="*/ 443 w 594"/>
                  <a:gd name="T71" fmla="*/ 118 h 502"/>
                  <a:gd name="T72" fmla="*/ 449 w 594"/>
                  <a:gd name="T73" fmla="*/ 145 h 502"/>
                  <a:gd name="T74" fmla="*/ 473 w 594"/>
                  <a:gd name="T75" fmla="*/ 132 h 502"/>
                  <a:gd name="T76" fmla="*/ 480 w 594"/>
                  <a:gd name="T77" fmla="*/ 172 h 502"/>
                  <a:gd name="T78" fmla="*/ 495 w 594"/>
                  <a:gd name="T79" fmla="*/ 202 h 502"/>
                  <a:gd name="T80" fmla="*/ 509 w 594"/>
                  <a:gd name="T81" fmla="*/ 170 h 502"/>
                  <a:gd name="T82" fmla="*/ 522 w 594"/>
                  <a:gd name="T83" fmla="*/ 125 h 502"/>
                  <a:gd name="T84" fmla="*/ 545 w 594"/>
                  <a:gd name="T85" fmla="*/ 96 h 502"/>
                  <a:gd name="T86" fmla="*/ 573 w 594"/>
                  <a:gd name="T87" fmla="*/ 113 h 502"/>
                  <a:gd name="T88" fmla="*/ 583 w 594"/>
                  <a:gd name="T89" fmla="*/ 132 h 502"/>
                  <a:gd name="T90" fmla="*/ 578 w 594"/>
                  <a:gd name="T91" fmla="*/ 153 h 502"/>
                  <a:gd name="T92" fmla="*/ 579 w 594"/>
                  <a:gd name="T93" fmla="*/ 172 h 502"/>
                  <a:gd name="T94" fmla="*/ 565 w 594"/>
                  <a:gd name="T95" fmla="*/ 239 h 502"/>
                  <a:gd name="T96" fmla="*/ 554 w 594"/>
                  <a:gd name="T97" fmla="*/ 238 h 502"/>
                  <a:gd name="T98" fmla="*/ 534 w 594"/>
                  <a:gd name="T99" fmla="*/ 246 h 502"/>
                  <a:gd name="T100" fmla="*/ 511 w 594"/>
                  <a:gd name="T101" fmla="*/ 241 h 502"/>
                  <a:gd name="T102" fmla="*/ 509 w 594"/>
                  <a:gd name="T103" fmla="*/ 273 h 502"/>
                  <a:gd name="T104" fmla="*/ 500 w 594"/>
                  <a:gd name="T105" fmla="*/ 292 h 502"/>
                  <a:gd name="T106" fmla="*/ 496 w 594"/>
                  <a:gd name="T107" fmla="*/ 318 h 502"/>
                  <a:gd name="T108" fmla="*/ 450 w 594"/>
                  <a:gd name="T109" fmla="*/ 357 h 502"/>
                  <a:gd name="T110" fmla="*/ 432 w 594"/>
                  <a:gd name="T111" fmla="*/ 365 h 502"/>
                  <a:gd name="T112" fmla="*/ 421 w 594"/>
                  <a:gd name="T113" fmla="*/ 394 h 502"/>
                  <a:gd name="T114" fmla="*/ 390 w 594"/>
                  <a:gd name="T115" fmla="*/ 432 h 502"/>
                  <a:gd name="T116" fmla="*/ 369 w 594"/>
                  <a:gd name="T117" fmla="*/ 472 h 502"/>
                  <a:gd name="T118" fmla="*/ 356 w 594"/>
                  <a:gd name="T119"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4" h="502">
                    <a:moveTo>
                      <a:pt x="350" y="502"/>
                    </a:moveTo>
                    <a:cubicBezTo>
                      <a:pt x="349" y="502"/>
                      <a:pt x="344" y="501"/>
                      <a:pt x="338" y="500"/>
                    </a:cubicBezTo>
                    <a:cubicBezTo>
                      <a:pt x="331" y="500"/>
                      <a:pt x="326" y="499"/>
                      <a:pt x="326" y="499"/>
                    </a:cubicBezTo>
                    <a:cubicBezTo>
                      <a:pt x="325" y="499"/>
                      <a:pt x="320" y="498"/>
                      <a:pt x="314" y="497"/>
                    </a:cubicBezTo>
                    <a:cubicBezTo>
                      <a:pt x="307" y="497"/>
                      <a:pt x="302" y="496"/>
                      <a:pt x="302" y="496"/>
                    </a:cubicBezTo>
                    <a:cubicBezTo>
                      <a:pt x="301" y="496"/>
                      <a:pt x="297" y="495"/>
                      <a:pt x="292" y="495"/>
                    </a:cubicBezTo>
                    <a:cubicBezTo>
                      <a:pt x="287" y="494"/>
                      <a:pt x="280" y="493"/>
                      <a:pt x="276" y="493"/>
                    </a:cubicBezTo>
                    <a:cubicBezTo>
                      <a:pt x="263" y="492"/>
                      <a:pt x="258" y="491"/>
                      <a:pt x="242" y="490"/>
                    </a:cubicBezTo>
                    <a:cubicBezTo>
                      <a:pt x="226" y="488"/>
                      <a:pt x="223" y="487"/>
                      <a:pt x="224" y="486"/>
                    </a:cubicBezTo>
                    <a:cubicBezTo>
                      <a:pt x="225" y="485"/>
                      <a:pt x="225" y="479"/>
                      <a:pt x="226" y="471"/>
                    </a:cubicBezTo>
                    <a:cubicBezTo>
                      <a:pt x="226" y="464"/>
                      <a:pt x="227" y="457"/>
                      <a:pt x="227" y="456"/>
                    </a:cubicBezTo>
                    <a:cubicBezTo>
                      <a:pt x="227" y="455"/>
                      <a:pt x="228" y="448"/>
                      <a:pt x="229" y="442"/>
                    </a:cubicBezTo>
                    <a:cubicBezTo>
                      <a:pt x="229" y="435"/>
                      <a:pt x="230" y="428"/>
                      <a:pt x="230" y="426"/>
                    </a:cubicBezTo>
                    <a:cubicBezTo>
                      <a:pt x="230" y="424"/>
                      <a:pt x="231" y="418"/>
                      <a:pt x="231" y="413"/>
                    </a:cubicBezTo>
                    <a:cubicBezTo>
                      <a:pt x="232" y="401"/>
                      <a:pt x="233" y="389"/>
                      <a:pt x="234" y="381"/>
                    </a:cubicBezTo>
                    <a:cubicBezTo>
                      <a:pt x="235" y="377"/>
                      <a:pt x="235" y="371"/>
                      <a:pt x="236" y="367"/>
                    </a:cubicBezTo>
                    <a:cubicBezTo>
                      <a:pt x="238" y="342"/>
                      <a:pt x="239" y="336"/>
                      <a:pt x="240" y="322"/>
                    </a:cubicBezTo>
                    <a:cubicBezTo>
                      <a:pt x="241" y="317"/>
                      <a:pt x="241" y="312"/>
                      <a:pt x="241" y="310"/>
                    </a:cubicBezTo>
                    <a:cubicBezTo>
                      <a:pt x="241" y="308"/>
                      <a:pt x="239" y="306"/>
                      <a:pt x="230" y="301"/>
                    </a:cubicBezTo>
                    <a:cubicBezTo>
                      <a:pt x="216" y="293"/>
                      <a:pt x="189" y="279"/>
                      <a:pt x="168" y="268"/>
                    </a:cubicBezTo>
                    <a:cubicBezTo>
                      <a:pt x="160" y="264"/>
                      <a:pt x="150" y="258"/>
                      <a:pt x="147" y="257"/>
                    </a:cubicBezTo>
                    <a:cubicBezTo>
                      <a:pt x="141" y="254"/>
                      <a:pt x="138" y="250"/>
                      <a:pt x="127" y="233"/>
                    </a:cubicBezTo>
                    <a:cubicBezTo>
                      <a:pt x="122" y="224"/>
                      <a:pt x="122" y="224"/>
                      <a:pt x="122" y="224"/>
                    </a:cubicBezTo>
                    <a:cubicBezTo>
                      <a:pt x="106" y="221"/>
                      <a:pt x="106" y="221"/>
                      <a:pt x="106" y="221"/>
                    </a:cubicBezTo>
                    <a:cubicBezTo>
                      <a:pt x="90" y="217"/>
                      <a:pt x="90" y="217"/>
                      <a:pt x="90" y="217"/>
                    </a:cubicBezTo>
                    <a:cubicBezTo>
                      <a:pt x="82" y="207"/>
                      <a:pt x="82" y="207"/>
                      <a:pt x="82" y="207"/>
                    </a:cubicBezTo>
                    <a:cubicBezTo>
                      <a:pt x="78" y="201"/>
                      <a:pt x="61" y="178"/>
                      <a:pt x="45" y="156"/>
                    </a:cubicBezTo>
                    <a:cubicBezTo>
                      <a:pt x="29" y="135"/>
                      <a:pt x="13" y="112"/>
                      <a:pt x="8" y="105"/>
                    </a:cubicBezTo>
                    <a:cubicBezTo>
                      <a:pt x="4" y="99"/>
                      <a:pt x="0" y="94"/>
                      <a:pt x="0" y="93"/>
                    </a:cubicBezTo>
                    <a:cubicBezTo>
                      <a:pt x="0" y="91"/>
                      <a:pt x="18" y="41"/>
                      <a:pt x="19" y="40"/>
                    </a:cubicBezTo>
                    <a:cubicBezTo>
                      <a:pt x="21" y="38"/>
                      <a:pt x="35" y="50"/>
                      <a:pt x="40" y="59"/>
                    </a:cubicBezTo>
                    <a:cubicBezTo>
                      <a:pt x="44" y="65"/>
                      <a:pt x="54" y="73"/>
                      <a:pt x="61" y="76"/>
                    </a:cubicBezTo>
                    <a:cubicBezTo>
                      <a:pt x="64" y="78"/>
                      <a:pt x="65" y="78"/>
                      <a:pt x="68" y="76"/>
                    </a:cubicBezTo>
                    <a:cubicBezTo>
                      <a:pt x="71" y="75"/>
                      <a:pt x="72" y="75"/>
                      <a:pt x="77" y="80"/>
                    </a:cubicBezTo>
                    <a:cubicBezTo>
                      <a:pt x="81" y="83"/>
                      <a:pt x="85" y="87"/>
                      <a:pt x="86" y="89"/>
                    </a:cubicBezTo>
                    <a:cubicBezTo>
                      <a:pt x="89" y="94"/>
                      <a:pt x="95" y="106"/>
                      <a:pt x="95" y="109"/>
                    </a:cubicBezTo>
                    <a:cubicBezTo>
                      <a:pt x="95" y="112"/>
                      <a:pt x="91" y="114"/>
                      <a:pt x="84" y="115"/>
                    </a:cubicBezTo>
                    <a:cubicBezTo>
                      <a:pt x="76" y="116"/>
                      <a:pt x="69" y="119"/>
                      <a:pt x="69" y="122"/>
                    </a:cubicBezTo>
                    <a:cubicBezTo>
                      <a:pt x="69" y="123"/>
                      <a:pt x="71" y="126"/>
                      <a:pt x="72" y="128"/>
                    </a:cubicBezTo>
                    <a:cubicBezTo>
                      <a:pt x="75" y="132"/>
                      <a:pt x="78" y="133"/>
                      <a:pt x="90" y="137"/>
                    </a:cubicBezTo>
                    <a:cubicBezTo>
                      <a:pt x="112" y="144"/>
                      <a:pt x="116" y="145"/>
                      <a:pt x="127" y="143"/>
                    </a:cubicBezTo>
                    <a:cubicBezTo>
                      <a:pt x="132" y="142"/>
                      <a:pt x="138" y="141"/>
                      <a:pt x="140" y="140"/>
                    </a:cubicBezTo>
                    <a:cubicBezTo>
                      <a:pt x="143" y="138"/>
                      <a:pt x="144" y="138"/>
                      <a:pt x="146" y="141"/>
                    </a:cubicBezTo>
                    <a:cubicBezTo>
                      <a:pt x="147" y="143"/>
                      <a:pt x="152" y="150"/>
                      <a:pt x="156" y="156"/>
                    </a:cubicBezTo>
                    <a:cubicBezTo>
                      <a:pt x="167" y="171"/>
                      <a:pt x="171" y="178"/>
                      <a:pt x="170" y="183"/>
                    </a:cubicBezTo>
                    <a:cubicBezTo>
                      <a:pt x="170" y="186"/>
                      <a:pt x="170" y="187"/>
                      <a:pt x="171" y="185"/>
                    </a:cubicBezTo>
                    <a:cubicBezTo>
                      <a:pt x="172" y="184"/>
                      <a:pt x="172" y="178"/>
                      <a:pt x="172" y="169"/>
                    </a:cubicBezTo>
                    <a:cubicBezTo>
                      <a:pt x="171" y="154"/>
                      <a:pt x="171" y="154"/>
                      <a:pt x="171" y="154"/>
                    </a:cubicBezTo>
                    <a:cubicBezTo>
                      <a:pt x="186" y="147"/>
                      <a:pt x="186" y="147"/>
                      <a:pt x="186" y="147"/>
                    </a:cubicBezTo>
                    <a:cubicBezTo>
                      <a:pt x="195" y="143"/>
                      <a:pt x="201" y="138"/>
                      <a:pt x="202" y="137"/>
                    </a:cubicBezTo>
                    <a:cubicBezTo>
                      <a:pt x="202" y="135"/>
                      <a:pt x="202" y="135"/>
                      <a:pt x="196" y="137"/>
                    </a:cubicBezTo>
                    <a:cubicBezTo>
                      <a:pt x="193" y="139"/>
                      <a:pt x="187" y="140"/>
                      <a:pt x="183" y="142"/>
                    </a:cubicBezTo>
                    <a:cubicBezTo>
                      <a:pt x="176" y="143"/>
                      <a:pt x="175" y="143"/>
                      <a:pt x="172" y="141"/>
                    </a:cubicBezTo>
                    <a:cubicBezTo>
                      <a:pt x="162" y="133"/>
                      <a:pt x="170" y="120"/>
                      <a:pt x="185" y="119"/>
                    </a:cubicBezTo>
                    <a:cubicBezTo>
                      <a:pt x="188" y="119"/>
                      <a:pt x="193" y="118"/>
                      <a:pt x="197" y="116"/>
                    </a:cubicBezTo>
                    <a:cubicBezTo>
                      <a:pt x="201" y="115"/>
                      <a:pt x="206" y="114"/>
                      <a:pt x="209" y="114"/>
                    </a:cubicBezTo>
                    <a:cubicBezTo>
                      <a:pt x="213" y="115"/>
                      <a:pt x="217" y="120"/>
                      <a:pt x="217" y="126"/>
                    </a:cubicBezTo>
                    <a:cubicBezTo>
                      <a:pt x="217" y="129"/>
                      <a:pt x="219" y="133"/>
                      <a:pt x="220" y="136"/>
                    </a:cubicBezTo>
                    <a:cubicBezTo>
                      <a:pt x="224" y="142"/>
                      <a:pt x="234" y="153"/>
                      <a:pt x="238" y="153"/>
                    </a:cubicBezTo>
                    <a:cubicBezTo>
                      <a:pt x="240" y="153"/>
                      <a:pt x="242" y="153"/>
                      <a:pt x="243" y="153"/>
                    </a:cubicBezTo>
                    <a:cubicBezTo>
                      <a:pt x="244" y="154"/>
                      <a:pt x="245" y="154"/>
                      <a:pt x="246" y="154"/>
                    </a:cubicBezTo>
                    <a:cubicBezTo>
                      <a:pt x="247" y="154"/>
                      <a:pt x="250" y="158"/>
                      <a:pt x="253" y="163"/>
                    </a:cubicBezTo>
                    <a:cubicBezTo>
                      <a:pt x="259" y="172"/>
                      <a:pt x="259" y="172"/>
                      <a:pt x="259" y="172"/>
                    </a:cubicBezTo>
                    <a:cubicBezTo>
                      <a:pt x="268" y="173"/>
                      <a:pt x="268" y="173"/>
                      <a:pt x="268" y="173"/>
                    </a:cubicBezTo>
                    <a:cubicBezTo>
                      <a:pt x="273" y="174"/>
                      <a:pt x="281" y="174"/>
                      <a:pt x="286" y="174"/>
                    </a:cubicBezTo>
                    <a:cubicBezTo>
                      <a:pt x="291" y="174"/>
                      <a:pt x="300" y="175"/>
                      <a:pt x="305" y="177"/>
                    </a:cubicBezTo>
                    <a:cubicBezTo>
                      <a:pt x="315" y="180"/>
                      <a:pt x="315" y="180"/>
                      <a:pt x="315" y="180"/>
                    </a:cubicBezTo>
                    <a:cubicBezTo>
                      <a:pt x="315" y="175"/>
                      <a:pt x="315" y="175"/>
                      <a:pt x="315" y="175"/>
                    </a:cubicBezTo>
                    <a:cubicBezTo>
                      <a:pt x="315" y="172"/>
                      <a:pt x="317" y="167"/>
                      <a:pt x="318" y="164"/>
                    </a:cubicBezTo>
                    <a:cubicBezTo>
                      <a:pt x="319" y="161"/>
                      <a:pt x="320" y="157"/>
                      <a:pt x="320" y="155"/>
                    </a:cubicBezTo>
                    <a:cubicBezTo>
                      <a:pt x="320" y="151"/>
                      <a:pt x="320" y="151"/>
                      <a:pt x="327" y="152"/>
                    </a:cubicBezTo>
                    <a:cubicBezTo>
                      <a:pt x="335" y="153"/>
                      <a:pt x="343" y="156"/>
                      <a:pt x="353" y="161"/>
                    </a:cubicBezTo>
                    <a:cubicBezTo>
                      <a:pt x="357" y="163"/>
                      <a:pt x="361" y="165"/>
                      <a:pt x="361" y="165"/>
                    </a:cubicBezTo>
                    <a:cubicBezTo>
                      <a:pt x="361" y="165"/>
                      <a:pt x="356" y="185"/>
                      <a:pt x="353" y="194"/>
                    </a:cubicBezTo>
                    <a:cubicBezTo>
                      <a:pt x="353" y="195"/>
                      <a:pt x="354" y="196"/>
                      <a:pt x="356" y="197"/>
                    </a:cubicBezTo>
                    <a:cubicBezTo>
                      <a:pt x="358" y="197"/>
                      <a:pt x="360" y="200"/>
                      <a:pt x="361" y="203"/>
                    </a:cubicBezTo>
                    <a:cubicBezTo>
                      <a:pt x="363" y="207"/>
                      <a:pt x="363" y="207"/>
                      <a:pt x="363" y="207"/>
                    </a:cubicBezTo>
                    <a:cubicBezTo>
                      <a:pt x="364" y="203"/>
                      <a:pt x="364" y="203"/>
                      <a:pt x="364" y="203"/>
                    </a:cubicBezTo>
                    <a:cubicBezTo>
                      <a:pt x="364" y="200"/>
                      <a:pt x="364" y="197"/>
                      <a:pt x="363" y="195"/>
                    </a:cubicBezTo>
                    <a:cubicBezTo>
                      <a:pt x="361" y="192"/>
                      <a:pt x="360" y="186"/>
                      <a:pt x="360" y="181"/>
                    </a:cubicBezTo>
                    <a:cubicBezTo>
                      <a:pt x="360" y="171"/>
                      <a:pt x="362" y="168"/>
                      <a:pt x="367" y="169"/>
                    </a:cubicBezTo>
                    <a:cubicBezTo>
                      <a:pt x="372" y="171"/>
                      <a:pt x="382" y="166"/>
                      <a:pt x="387" y="160"/>
                    </a:cubicBezTo>
                    <a:cubicBezTo>
                      <a:pt x="390" y="155"/>
                      <a:pt x="391" y="152"/>
                      <a:pt x="391" y="146"/>
                    </a:cubicBezTo>
                    <a:cubicBezTo>
                      <a:pt x="391" y="139"/>
                      <a:pt x="390" y="137"/>
                      <a:pt x="388" y="135"/>
                    </a:cubicBezTo>
                    <a:cubicBezTo>
                      <a:pt x="385" y="132"/>
                      <a:pt x="384" y="122"/>
                      <a:pt x="387" y="119"/>
                    </a:cubicBezTo>
                    <a:cubicBezTo>
                      <a:pt x="389" y="117"/>
                      <a:pt x="381" y="109"/>
                      <a:pt x="373" y="106"/>
                    </a:cubicBezTo>
                    <a:cubicBezTo>
                      <a:pt x="368" y="105"/>
                      <a:pt x="365" y="103"/>
                      <a:pt x="362" y="96"/>
                    </a:cubicBezTo>
                    <a:cubicBezTo>
                      <a:pt x="357" y="90"/>
                      <a:pt x="357" y="87"/>
                      <a:pt x="357" y="80"/>
                    </a:cubicBezTo>
                    <a:cubicBezTo>
                      <a:pt x="357" y="76"/>
                      <a:pt x="357" y="71"/>
                      <a:pt x="358" y="69"/>
                    </a:cubicBezTo>
                    <a:cubicBezTo>
                      <a:pt x="359" y="67"/>
                      <a:pt x="359" y="65"/>
                      <a:pt x="356" y="58"/>
                    </a:cubicBezTo>
                    <a:cubicBezTo>
                      <a:pt x="352" y="49"/>
                      <a:pt x="352" y="49"/>
                      <a:pt x="352" y="49"/>
                    </a:cubicBezTo>
                    <a:cubicBezTo>
                      <a:pt x="355" y="41"/>
                      <a:pt x="355" y="41"/>
                      <a:pt x="355" y="41"/>
                    </a:cubicBezTo>
                    <a:cubicBezTo>
                      <a:pt x="357" y="34"/>
                      <a:pt x="358" y="33"/>
                      <a:pt x="363" y="30"/>
                    </a:cubicBezTo>
                    <a:cubicBezTo>
                      <a:pt x="369" y="27"/>
                      <a:pt x="369" y="26"/>
                      <a:pt x="368" y="23"/>
                    </a:cubicBezTo>
                    <a:cubicBezTo>
                      <a:pt x="367" y="20"/>
                      <a:pt x="367" y="19"/>
                      <a:pt x="371" y="14"/>
                    </a:cubicBezTo>
                    <a:cubicBezTo>
                      <a:pt x="382" y="0"/>
                      <a:pt x="381" y="1"/>
                      <a:pt x="386" y="2"/>
                    </a:cubicBezTo>
                    <a:cubicBezTo>
                      <a:pt x="390" y="3"/>
                      <a:pt x="392" y="4"/>
                      <a:pt x="393" y="7"/>
                    </a:cubicBezTo>
                    <a:cubicBezTo>
                      <a:pt x="394" y="9"/>
                      <a:pt x="397" y="13"/>
                      <a:pt x="400" y="15"/>
                    </a:cubicBezTo>
                    <a:cubicBezTo>
                      <a:pt x="409" y="24"/>
                      <a:pt x="411" y="27"/>
                      <a:pt x="411" y="41"/>
                    </a:cubicBezTo>
                    <a:cubicBezTo>
                      <a:pt x="412" y="53"/>
                      <a:pt x="412" y="53"/>
                      <a:pt x="419" y="65"/>
                    </a:cubicBezTo>
                    <a:cubicBezTo>
                      <a:pt x="428" y="80"/>
                      <a:pt x="429" y="88"/>
                      <a:pt x="421" y="85"/>
                    </a:cubicBezTo>
                    <a:cubicBezTo>
                      <a:pt x="419" y="84"/>
                      <a:pt x="418" y="84"/>
                      <a:pt x="419" y="88"/>
                    </a:cubicBezTo>
                    <a:cubicBezTo>
                      <a:pt x="419" y="90"/>
                      <a:pt x="419" y="95"/>
                      <a:pt x="418" y="98"/>
                    </a:cubicBezTo>
                    <a:cubicBezTo>
                      <a:pt x="416" y="103"/>
                      <a:pt x="416" y="104"/>
                      <a:pt x="419" y="106"/>
                    </a:cubicBezTo>
                    <a:cubicBezTo>
                      <a:pt x="421" y="108"/>
                      <a:pt x="423" y="108"/>
                      <a:pt x="427" y="107"/>
                    </a:cubicBezTo>
                    <a:cubicBezTo>
                      <a:pt x="433" y="106"/>
                      <a:pt x="437" y="107"/>
                      <a:pt x="448" y="111"/>
                    </a:cubicBezTo>
                    <a:cubicBezTo>
                      <a:pt x="453" y="113"/>
                      <a:pt x="453" y="114"/>
                      <a:pt x="452" y="115"/>
                    </a:cubicBezTo>
                    <a:cubicBezTo>
                      <a:pt x="450" y="116"/>
                      <a:pt x="447" y="118"/>
                      <a:pt x="443" y="118"/>
                    </a:cubicBezTo>
                    <a:cubicBezTo>
                      <a:pt x="433" y="120"/>
                      <a:pt x="432" y="122"/>
                      <a:pt x="439" y="131"/>
                    </a:cubicBezTo>
                    <a:cubicBezTo>
                      <a:pt x="444" y="139"/>
                      <a:pt x="445" y="143"/>
                      <a:pt x="446" y="154"/>
                    </a:cubicBezTo>
                    <a:cubicBezTo>
                      <a:pt x="446" y="160"/>
                      <a:pt x="448" y="154"/>
                      <a:pt x="449" y="145"/>
                    </a:cubicBezTo>
                    <a:cubicBezTo>
                      <a:pt x="451" y="130"/>
                      <a:pt x="453" y="126"/>
                      <a:pt x="459" y="123"/>
                    </a:cubicBezTo>
                    <a:cubicBezTo>
                      <a:pt x="464" y="121"/>
                      <a:pt x="464" y="121"/>
                      <a:pt x="464" y="121"/>
                    </a:cubicBezTo>
                    <a:cubicBezTo>
                      <a:pt x="473" y="132"/>
                      <a:pt x="473" y="132"/>
                      <a:pt x="473" y="132"/>
                    </a:cubicBezTo>
                    <a:cubicBezTo>
                      <a:pt x="480" y="139"/>
                      <a:pt x="483" y="144"/>
                      <a:pt x="484" y="148"/>
                    </a:cubicBezTo>
                    <a:cubicBezTo>
                      <a:pt x="486" y="157"/>
                      <a:pt x="486" y="162"/>
                      <a:pt x="483" y="166"/>
                    </a:cubicBezTo>
                    <a:cubicBezTo>
                      <a:pt x="481" y="167"/>
                      <a:pt x="480" y="170"/>
                      <a:pt x="480" y="172"/>
                    </a:cubicBezTo>
                    <a:cubicBezTo>
                      <a:pt x="480" y="177"/>
                      <a:pt x="483" y="186"/>
                      <a:pt x="484" y="187"/>
                    </a:cubicBezTo>
                    <a:cubicBezTo>
                      <a:pt x="485" y="187"/>
                      <a:pt x="487" y="191"/>
                      <a:pt x="490" y="195"/>
                    </a:cubicBezTo>
                    <a:cubicBezTo>
                      <a:pt x="492" y="199"/>
                      <a:pt x="495" y="202"/>
                      <a:pt x="495" y="202"/>
                    </a:cubicBezTo>
                    <a:cubicBezTo>
                      <a:pt x="498" y="202"/>
                      <a:pt x="503" y="198"/>
                      <a:pt x="504" y="195"/>
                    </a:cubicBezTo>
                    <a:cubicBezTo>
                      <a:pt x="505" y="193"/>
                      <a:pt x="506" y="188"/>
                      <a:pt x="506" y="183"/>
                    </a:cubicBezTo>
                    <a:cubicBezTo>
                      <a:pt x="507" y="178"/>
                      <a:pt x="508" y="173"/>
                      <a:pt x="509" y="170"/>
                    </a:cubicBezTo>
                    <a:cubicBezTo>
                      <a:pt x="510" y="168"/>
                      <a:pt x="512" y="162"/>
                      <a:pt x="514" y="156"/>
                    </a:cubicBezTo>
                    <a:cubicBezTo>
                      <a:pt x="515" y="151"/>
                      <a:pt x="519" y="143"/>
                      <a:pt x="521" y="140"/>
                    </a:cubicBezTo>
                    <a:cubicBezTo>
                      <a:pt x="526" y="133"/>
                      <a:pt x="526" y="129"/>
                      <a:pt x="522" y="125"/>
                    </a:cubicBezTo>
                    <a:cubicBezTo>
                      <a:pt x="519" y="121"/>
                      <a:pt x="515" y="104"/>
                      <a:pt x="516" y="100"/>
                    </a:cubicBezTo>
                    <a:cubicBezTo>
                      <a:pt x="518" y="94"/>
                      <a:pt x="521" y="92"/>
                      <a:pt x="529" y="92"/>
                    </a:cubicBezTo>
                    <a:cubicBezTo>
                      <a:pt x="535" y="92"/>
                      <a:pt x="539" y="93"/>
                      <a:pt x="545" y="96"/>
                    </a:cubicBezTo>
                    <a:cubicBezTo>
                      <a:pt x="549" y="99"/>
                      <a:pt x="554" y="100"/>
                      <a:pt x="555" y="100"/>
                    </a:cubicBezTo>
                    <a:cubicBezTo>
                      <a:pt x="557" y="100"/>
                      <a:pt x="560" y="103"/>
                      <a:pt x="563" y="105"/>
                    </a:cubicBezTo>
                    <a:cubicBezTo>
                      <a:pt x="565" y="108"/>
                      <a:pt x="570" y="111"/>
                      <a:pt x="573" y="113"/>
                    </a:cubicBezTo>
                    <a:cubicBezTo>
                      <a:pt x="579" y="116"/>
                      <a:pt x="585" y="121"/>
                      <a:pt x="585" y="124"/>
                    </a:cubicBezTo>
                    <a:cubicBezTo>
                      <a:pt x="585" y="124"/>
                      <a:pt x="584" y="126"/>
                      <a:pt x="582" y="127"/>
                    </a:cubicBezTo>
                    <a:cubicBezTo>
                      <a:pt x="580" y="128"/>
                      <a:pt x="580" y="129"/>
                      <a:pt x="583" y="132"/>
                    </a:cubicBezTo>
                    <a:cubicBezTo>
                      <a:pt x="585" y="135"/>
                      <a:pt x="586" y="139"/>
                      <a:pt x="587" y="142"/>
                    </a:cubicBezTo>
                    <a:cubicBezTo>
                      <a:pt x="588" y="146"/>
                      <a:pt x="588" y="147"/>
                      <a:pt x="584" y="148"/>
                    </a:cubicBezTo>
                    <a:cubicBezTo>
                      <a:pt x="581" y="149"/>
                      <a:pt x="579" y="151"/>
                      <a:pt x="578" y="153"/>
                    </a:cubicBezTo>
                    <a:cubicBezTo>
                      <a:pt x="577" y="154"/>
                      <a:pt x="575" y="156"/>
                      <a:pt x="573" y="156"/>
                    </a:cubicBezTo>
                    <a:cubicBezTo>
                      <a:pt x="570" y="156"/>
                      <a:pt x="570" y="158"/>
                      <a:pt x="574" y="163"/>
                    </a:cubicBezTo>
                    <a:cubicBezTo>
                      <a:pt x="576" y="165"/>
                      <a:pt x="578" y="169"/>
                      <a:pt x="579" y="172"/>
                    </a:cubicBezTo>
                    <a:cubicBezTo>
                      <a:pt x="579" y="175"/>
                      <a:pt x="581" y="178"/>
                      <a:pt x="584" y="180"/>
                    </a:cubicBezTo>
                    <a:cubicBezTo>
                      <a:pt x="594" y="187"/>
                      <a:pt x="594" y="201"/>
                      <a:pt x="584" y="218"/>
                    </a:cubicBezTo>
                    <a:cubicBezTo>
                      <a:pt x="572" y="238"/>
                      <a:pt x="571" y="239"/>
                      <a:pt x="565" y="239"/>
                    </a:cubicBezTo>
                    <a:cubicBezTo>
                      <a:pt x="562" y="238"/>
                      <a:pt x="558" y="237"/>
                      <a:pt x="556" y="236"/>
                    </a:cubicBezTo>
                    <a:cubicBezTo>
                      <a:pt x="552" y="233"/>
                      <a:pt x="552" y="233"/>
                      <a:pt x="552" y="233"/>
                    </a:cubicBezTo>
                    <a:cubicBezTo>
                      <a:pt x="554" y="238"/>
                      <a:pt x="554" y="238"/>
                      <a:pt x="554" y="238"/>
                    </a:cubicBezTo>
                    <a:cubicBezTo>
                      <a:pt x="557" y="244"/>
                      <a:pt x="555" y="247"/>
                      <a:pt x="550" y="245"/>
                    </a:cubicBezTo>
                    <a:cubicBezTo>
                      <a:pt x="545" y="244"/>
                      <a:pt x="543" y="244"/>
                      <a:pt x="541" y="246"/>
                    </a:cubicBezTo>
                    <a:cubicBezTo>
                      <a:pt x="539" y="247"/>
                      <a:pt x="538" y="247"/>
                      <a:pt x="534" y="246"/>
                    </a:cubicBezTo>
                    <a:cubicBezTo>
                      <a:pt x="531" y="245"/>
                      <a:pt x="528" y="242"/>
                      <a:pt x="527" y="241"/>
                    </a:cubicBezTo>
                    <a:cubicBezTo>
                      <a:pt x="525" y="238"/>
                      <a:pt x="524" y="238"/>
                      <a:pt x="519" y="239"/>
                    </a:cubicBezTo>
                    <a:cubicBezTo>
                      <a:pt x="516" y="239"/>
                      <a:pt x="512" y="240"/>
                      <a:pt x="511" y="241"/>
                    </a:cubicBezTo>
                    <a:cubicBezTo>
                      <a:pt x="509" y="242"/>
                      <a:pt x="509" y="243"/>
                      <a:pt x="513" y="247"/>
                    </a:cubicBezTo>
                    <a:cubicBezTo>
                      <a:pt x="518" y="251"/>
                      <a:pt x="518" y="252"/>
                      <a:pt x="518" y="258"/>
                    </a:cubicBezTo>
                    <a:cubicBezTo>
                      <a:pt x="517" y="262"/>
                      <a:pt x="514" y="266"/>
                      <a:pt x="509" y="273"/>
                    </a:cubicBezTo>
                    <a:cubicBezTo>
                      <a:pt x="505" y="278"/>
                      <a:pt x="501" y="283"/>
                      <a:pt x="500" y="285"/>
                    </a:cubicBezTo>
                    <a:cubicBezTo>
                      <a:pt x="500" y="287"/>
                      <a:pt x="499" y="289"/>
                      <a:pt x="498" y="289"/>
                    </a:cubicBezTo>
                    <a:cubicBezTo>
                      <a:pt x="497" y="289"/>
                      <a:pt x="498" y="290"/>
                      <a:pt x="500" y="292"/>
                    </a:cubicBezTo>
                    <a:cubicBezTo>
                      <a:pt x="504" y="295"/>
                      <a:pt x="504" y="296"/>
                      <a:pt x="504" y="301"/>
                    </a:cubicBezTo>
                    <a:cubicBezTo>
                      <a:pt x="504" y="304"/>
                      <a:pt x="502" y="308"/>
                      <a:pt x="501" y="310"/>
                    </a:cubicBezTo>
                    <a:cubicBezTo>
                      <a:pt x="500" y="312"/>
                      <a:pt x="498" y="315"/>
                      <a:pt x="496" y="318"/>
                    </a:cubicBezTo>
                    <a:cubicBezTo>
                      <a:pt x="495" y="320"/>
                      <a:pt x="490" y="327"/>
                      <a:pt x="487" y="333"/>
                    </a:cubicBezTo>
                    <a:cubicBezTo>
                      <a:pt x="480" y="345"/>
                      <a:pt x="478" y="347"/>
                      <a:pt x="464" y="347"/>
                    </a:cubicBezTo>
                    <a:cubicBezTo>
                      <a:pt x="454" y="347"/>
                      <a:pt x="451" y="349"/>
                      <a:pt x="450" y="357"/>
                    </a:cubicBezTo>
                    <a:cubicBezTo>
                      <a:pt x="450" y="361"/>
                      <a:pt x="449" y="362"/>
                      <a:pt x="443" y="361"/>
                    </a:cubicBezTo>
                    <a:cubicBezTo>
                      <a:pt x="440" y="361"/>
                      <a:pt x="435" y="361"/>
                      <a:pt x="433" y="361"/>
                    </a:cubicBezTo>
                    <a:cubicBezTo>
                      <a:pt x="427" y="359"/>
                      <a:pt x="427" y="362"/>
                      <a:pt x="432" y="365"/>
                    </a:cubicBezTo>
                    <a:cubicBezTo>
                      <a:pt x="435" y="367"/>
                      <a:pt x="437" y="369"/>
                      <a:pt x="437" y="369"/>
                    </a:cubicBezTo>
                    <a:cubicBezTo>
                      <a:pt x="439" y="370"/>
                      <a:pt x="439" y="381"/>
                      <a:pt x="438" y="385"/>
                    </a:cubicBezTo>
                    <a:cubicBezTo>
                      <a:pt x="436" y="391"/>
                      <a:pt x="430" y="394"/>
                      <a:pt x="421" y="394"/>
                    </a:cubicBezTo>
                    <a:cubicBezTo>
                      <a:pt x="410" y="395"/>
                      <a:pt x="410" y="394"/>
                      <a:pt x="412" y="398"/>
                    </a:cubicBezTo>
                    <a:cubicBezTo>
                      <a:pt x="414" y="401"/>
                      <a:pt x="414" y="401"/>
                      <a:pt x="409" y="406"/>
                    </a:cubicBezTo>
                    <a:cubicBezTo>
                      <a:pt x="402" y="413"/>
                      <a:pt x="394" y="424"/>
                      <a:pt x="390" y="432"/>
                    </a:cubicBezTo>
                    <a:cubicBezTo>
                      <a:pt x="388" y="435"/>
                      <a:pt x="385" y="439"/>
                      <a:pt x="384" y="441"/>
                    </a:cubicBezTo>
                    <a:cubicBezTo>
                      <a:pt x="380" y="444"/>
                      <a:pt x="377" y="450"/>
                      <a:pt x="377" y="454"/>
                    </a:cubicBezTo>
                    <a:cubicBezTo>
                      <a:pt x="377" y="455"/>
                      <a:pt x="373" y="463"/>
                      <a:pt x="369" y="472"/>
                    </a:cubicBezTo>
                    <a:cubicBezTo>
                      <a:pt x="363" y="485"/>
                      <a:pt x="362" y="488"/>
                      <a:pt x="362" y="495"/>
                    </a:cubicBezTo>
                    <a:cubicBezTo>
                      <a:pt x="362" y="502"/>
                      <a:pt x="362" y="502"/>
                      <a:pt x="362" y="502"/>
                    </a:cubicBezTo>
                    <a:cubicBezTo>
                      <a:pt x="356" y="502"/>
                      <a:pt x="356" y="502"/>
                      <a:pt x="356" y="502"/>
                    </a:cubicBezTo>
                    <a:cubicBezTo>
                      <a:pt x="353" y="502"/>
                      <a:pt x="350" y="502"/>
                      <a:pt x="350" y="5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96" name="Freeform 43">
                <a:extLst>
                  <a:ext uri="{FF2B5EF4-FFF2-40B4-BE49-F238E27FC236}">
                    <a16:creationId xmlns:a16="http://schemas.microsoft.com/office/drawing/2014/main" id="{C285FFBE-3C71-4165-AD59-4DA10BE13293}"/>
                  </a:ext>
                </a:extLst>
              </p:cNvPr>
              <p:cNvSpPr>
                <a:spLocks/>
              </p:cNvSpPr>
              <p:nvPr/>
            </p:nvSpPr>
            <p:spPr bwMode="auto">
              <a:xfrm>
                <a:off x="1782015" y="2841988"/>
                <a:ext cx="1193860" cy="2137395"/>
              </a:xfrm>
              <a:custGeom>
                <a:avLst/>
                <a:gdLst>
                  <a:gd name="T0" fmla="*/ 144 w 262"/>
                  <a:gd name="T1" fmla="*/ 455 h 469"/>
                  <a:gd name="T2" fmla="*/ 72 w 262"/>
                  <a:gd name="T3" fmla="*/ 428 h 469"/>
                  <a:gd name="T4" fmla="*/ 68 w 262"/>
                  <a:gd name="T5" fmla="*/ 420 h 469"/>
                  <a:gd name="T6" fmla="*/ 71 w 262"/>
                  <a:gd name="T7" fmla="*/ 404 h 469"/>
                  <a:gd name="T8" fmla="*/ 70 w 262"/>
                  <a:gd name="T9" fmla="*/ 375 h 469"/>
                  <a:gd name="T10" fmla="*/ 60 w 262"/>
                  <a:gd name="T11" fmla="*/ 357 h 469"/>
                  <a:gd name="T12" fmla="*/ 51 w 262"/>
                  <a:gd name="T13" fmla="*/ 335 h 469"/>
                  <a:gd name="T14" fmla="*/ 44 w 262"/>
                  <a:gd name="T15" fmla="*/ 320 h 469"/>
                  <a:gd name="T16" fmla="*/ 39 w 262"/>
                  <a:gd name="T17" fmla="*/ 308 h 469"/>
                  <a:gd name="T18" fmla="*/ 34 w 262"/>
                  <a:gd name="T19" fmla="*/ 299 h 469"/>
                  <a:gd name="T20" fmla="*/ 30 w 262"/>
                  <a:gd name="T21" fmla="*/ 292 h 469"/>
                  <a:gd name="T22" fmla="*/ 27 w 262"/>
                  <a:gd name="T23" fmla="*/ 287 h 469"/>
                  <a:gd name="T24" fmla="*/ 22 w 262"/>
                  <a:gd name="T25" fmla="*/ 273 h 469"/>
                  <a:gd name="T26" fmla="*/ 18 w 262"/>
                  <a:gd name="T27" fmla="*/ 259 h 469"/>
                  <a:gd name="T28" fmla="*/ 13 w 262"/>
                  <a:gd name="T29" fmla="*/ 250 h 469"/>
                  <a:gd name="T30" fmla="*/ 6 w 262"/>
                  <a:gd name="T31" fmla="*/ 243 h 469"/>
                  <a:gd name="T32" fmla="*/ 3 w 262"/>
                  <a:gd name="T33" fmla="*/ 232 h 469"/>
                  <a:gd name="T34" fmla="*/ 4 w 262"/>
                  <a:gd name="T35" fmla="*/ 224 h 469"/>
                  <a:gd name="T36" fmla="*/ 77 w 262"/>
                  <a:gd name="T37" fmla="*/ 16 h 469"/>
                  <a:gd name="T38" fmla="*/ 82 w 262"/>
                  <a:gd name="T39" fmla="*/ 0 h 469"/>
                  <a:gd name="T40" fmla="*/ 114 w 262"/>
                  <a:gd name="T41" fmla="*/ 10 h 469"/>
                  <a:gd name="T42" fmla="*/ 172 w 262"/>
                  <a:gd name="T43" fmla="*/ 29 h 469"/>
                  <a:gd name="T44" fmla="*/ 230 w 262"/>
                  <a:gd name="T45" fmla="*/ 46 h 469"/>
                  <a:gd name="T46" fmla="*/ 261 w 262"/>
                  <a:gd name="T47" fmla="*/ 55 h 469"/>
                  <a:gd name="T48" fmla="*/ 256 w 262"/>
                  <a:gd name="T49" fmla="*/ 78 h 469"/>
                  <a:gd name="T50" fmla="*/ 251 w 262"/>
                  <a:gd name="T51" fmla="*/ 80 h 469"/>
                  <a:gd name="T52" fmla="*/ 232 w 262"/>
                  <a:gd name="T53" fmla="*/ 98 h 469"/>
                  <a:gd name="T54" fmla="*/ 237 w 262"/>
                  <a:gd name="T55" fmla="*/ 102 h 469"/>
                  <a:gd name="T56" fmla="*/ 246 w 262"/>
                  <a:gd name="T57" fmla="*/ 101 h 469"/>
                  <a:gd name="T58" fmla="*/ 251 w 262"/>
                  <a:gd name="T59" fmla="*/ 96 h 469"/>
                  <a:gd name="T60" fmla="*/ 253 w 262"/>
                  <a:gd name="T61" fmla="*/ 93 h 469"/>
                  <a:gd name="T62" fmla="*/ 248 w 262"/>
                  <a:gd name="T63" fmla="*/ 117 h 469"/>
                  <a:gd name="T64" fmla="*/ 222 w 262"/>
                  <a:gd name="T65" fmla="*/ 225 h 469"/>
                  <a:gd name="T66" fmla="*/ 210 w 262"/>
                  <a:gd name="T67" fmla="*/ 275 h 469"/>
                  <a:gd name="T68" fmla="*/ 188 w 262"/>
                  <a:gd name="T69" fmla="*/ 368 h 469"/>
                  <a:gd name="T70" fmla="*/ 164 w 262"/>
                  <a:gd name="T71" fmla="*/ 461 h 469"/>
                  <a:gd name="T72" fmla="*/ 144 w 262"/>
                  <a:gd name="T73" fmla="*/ 455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2" h="469">
                    <a:moveTo>
                      <a:pt x="144" y="455"/>
                    </a:moveTo>
                    <a:cubicBezTo>
                      <a:pt x="68" y="435"/>
                      <a:pt x="76" y="438"/>
                      <a:pt x="72" y="428"/>
                    </a:cubicBezTo>
                    <a:cubicBezTo>
                      <a:pt x="68" y="420"/>
                      <a:pt x="68" y="420"/>
                      <a:pt x="68" y="420"/>
                    </a:cubicBezTo>
                    <a:cubicBezTo>
                      <a:pt x="71" y="404"/>
                      <a:pt x="71" y="404"/>
                      <a:pt x="71" y="404"/>
                    </a:cubicBezTo>
                    <a:cubicBezTo>
                      <a:pt x="74" y="388"/>
                      <a:pt x="74" y="384"/>
                      <a:pt x="70" y="375"/>
                    </a:cubicBezTo>
                    <a:cubicBezTo>
                      <a:pt x="60" y="357"/>
                      <a:pt x="60" y="357"/>
                      <a:pt x="60" y="357"/>
                    </a:cubicBezTo>
                    <a:cubicBezTo>
                      <a:pt x="57" y="350"/>
                      <a:pt x="53" y="340"/>
                      <a:pt x="51" y="335"/>
                    </a:cubicBezTo>
                    <a:cubicBezTo>
                      <a:pt x="49" y="330"/>
                      <a:pt x="46" y="323"/>
                      <a:pt x="44" y="320"/>
                    </a:cubicBezTo>
                    <a:cubicBezTo>
                      <a:pt x="42" y="316"/>
                      <a:pt x="39" y="311"/>
                      <a:pt x="39" y="308"/>
                    </a:cubicBezTo>
                    <a:cubicBezTo>
                      <a:pt x="38" y="305"/>
                      <a:pt x="36" y="301"/>
                      <a:pt x="34" y="299"/>
                    </a:cubicBezTo>
                    <a:cubicBezTo>
                      <a:pt x="32" y="296"/>
                      <a:pt x="30" y="293"/>
                      <a:pt x="30" y="292"/>
                    </a:cubicBezTo>
                    <a:cubicBezTo>
                      <a:pt x="30" y="292"/>
                      <a:pt x="28" y="289"/>
                      <a:pt x="27" y="287"/>
                    </a:cubicBezTo>
                    <a:cubicBezTo>
                      <a:pt x="25" y="284"/>
                      <a:pt x="23" y="279"/>
                      <a:pt x="22" y="273"/>
                    </a:cubicBezTo>
                    <a:cubicBezTo>
                      <a:pt x="22" y="267"/>
                      <a:pt x="20" y="262"/>
                      <a:pt x="18" y="259"/>
                    </a:cubicBezTo>
                    <a:cubicBezTo>
                      <a:pt x="16" y="256"/>
                      <a:pt x="14" y="252"/>
                      <a:pt x="13" y="250"/>
                    </a:cubicBezTo>
                    <a:cubicBezTo>
                      <a:pt x="12" y="248"/>
                      <a:pt x="9" y="244"/>
                      <a:pt x="6" y="243"/>
                    </a:cubicBezTo>
                    <a:cubicBezTo>
                      <a:pt x="1" y="240"/>
                      <a:pt x="0" y="234"/>
                      <a:pt x="3" y="232"/>
                    </a:cubicBezTo>
                    <a:cubicBezTo>
                      <a:pt x="4" y="232"/>
                      <a:pt x="4" y="228"/>
                      <a:pt x="4" y="224"/>
                    </a:cubicBezTo>
                    <a:cubicBezTo>
                      <a:pt x="4" y="216"/>
                      <a:pt x="14" y="189"/>
                      <a:pt x="77" y="16"/>
                    </a:cubicBezTo>
                    <a:cubicBezTo>
                      <a:pt x="82" y="0"/>
                      <a:pt x="82" y="0"/>
                      <a:pt x="82" y="0"/>
                    </a:cubicBezTo>
                    <a:cubicBezTo>
                      <a:pt x="114" y="10"/>
                      <a:pt x="114" y="10"/>
                      <a:pt x="114" y="10"/>
                    </a:cubicBezTo>
                    <a:cubicBezTo>
                      <a:pt x="131" y="16"/>
                      <a:pt x="157" y="24"/>
                      <a:pt x="172" y="29"/>
                    </a:cubicBezTo>
                    <a:cubicBezTo>
                      <a:pt x="230" y="46"/>
                      <a:pt x="230" y="46"/>
                      <a:pt x="230" y="46"/>
                    </a:cubicBezTo>
                    <a:cubicBezTo>
                      <a:pt x="247" y="51"/>
                      <a:pt x="261" y="55"/>
                      <a:pt x="261" y="55"/>
                    </a:cubicBezTo>
                    <a:cubicBezTo>
                      <a:pt x="262" y="56"/>
                      <a:pt x="257" y="77"/>
                      <a:pt x="256" y="78"/>
                    </a:cubicBezTo>
                    <a:cubicBezTo>
                      <a:pt x="255" y="78"/>
                      <a:pt x="253" y="79"/>
                      <a:pt x="251" y="80"/>
                    </a:cubicBezTo>
                    <a:cubicBezTo>
                      <a:pt x="247" y="81"/>
                      <a:pt x="232" y="95"/>
                      <a:pt x="232" y="98"/>
                    </a:cubicBezTo>
                    <a:cubicBezTo>
                      <a:pt x="232" y="99"/>
                      <a:pt x="234" y="101"/>
                      <a:pt x="237" y="102"/>
                    </a:cubicBezTo>
                    <a:cubicBezTo>
                      <a:pt x="242" y="104"/>
                      <a:pt x="242" y="104"/>
                      <a:pt x="246" y="101"/>
                    </a:cubicBezTo>
                    <a:cubicBezTo>
                      <a:pt x="249" y="100"/>
                      <a:pt x="251" y="97"/>
                      <a:pt x="251" y="96"/>
                    </a:cubicBezTo>
                    <a:cubicBezTo>
                      <a:pt x="252" y="94"/>
                      <a:pt x="253" y="93"/>
                      <a:pt x="253" y="93"/>
                    </a:cubicBezTo>
                    <a:cubicBezTo>
                      <a:pt x="253" y="94"/>
                      <a:pt x="251" y="104"/>
                      <a:pt x="248" y="117"/>
                    </a:cubicBezTo>
                    <a:cubicBezTo>
                      <a:pt x="241" y="147"/>
                      <a:pt x="233" y="180"/>
                      <a:pt x="222" y="225"/>
                    </a:cubicBezTo>
                    <a:cubicBezTo>
                      <a:pt x="218" y="244"/>
                      <a:pt x="212" y="267"/>
                      <a:pt x="210" y="275"/>
                    </a:cubicBezTo>
                    <a:cubicBezTo>
                      <a:pt x="201" y="314"/>
                      <a:pt x="192" y="349"/>
                      <a:pt x="188" y="368"/>
                    </a:cubicBezTo>
                    <a:cubicBezTo>
                      <a:pt x="164" y="469"/>
                      <a:pt x="166" y="461"/>
                      <a:pt x="164" y="461"/>
                    </a:cubicBezTo>
                    <a:cubicBezTo>
                      <a:pt x="164" y="461"/>
                      <a:pt x="155" y="458"/>
                      <a:pt x="144" y="4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97" name="Freeform 47">
                <a:extLst>
                  <a:ext uri="{FF2B5EF4-FFF2-40B4-BE49-F238E27FC236}">
                    <a16:creationId xmlns:a16="http://schemas.microsoft.com/office/drawing/2014/main" id="{12E5A151-D9AC-4726-984D-7B7218DFECEB}"/>
                  </a:ext>
                </a:extLst>
              </p:cNvPr>
              <p:cNvSpPr>
                <a:spLocks noEditPoints="1"/>
              </p:cNvSpPr>
              <p:nvPr/>
            </p:nvSpPr>
            <p:spPr bwMode="auto">
              <a:xfrm>
                <a:off x="3515038" y="3225178"/>
                <a:ext cx="1301693" cy="1950615"/>
              </a:xfrm>
              <a:custGeom>
                <a:avLst/>
                <a:gdLst>
                  <a:gd name="T0" fmla="*/ 90 w 286"/>
                  <a:gd name="T1" fmla="*/ 252 h 428"/>
                  <a:gd name="T2" fmla="*/ 102 w 286"/>
                  <a:gd name="T3" fmla="*/ 279 h 428"/>
                  <a:gd name="T4" fmla="*/ 108 w 286"/>
                  <a:gd name="T5" fmla="*/ 304 h 428"/>
                  <a:gd name="T6" fmla="*/ 120 w 286"/>
                  <a:gd name="T7" fmla="*/ 354 h 428"/>
                  <a:gd name="T8" fmla="*/ 111 w 286"/>
                  <a:gd name="T9" fmla="*/ 372 h 428"/>
                  <a:gd name="T10" fmla="*/ 104 w 286"/>
                  <a:gd name="T11" fmla="*/ 356 h 428"/>
                  <a:gd name="T12" fmla="*/ 109 w 286"/>
                  <a:gd name="T13" fmla="*/ 343 h 428"/>
                  <a:gd name="T14" fmla="*/ 104 w 286"/>
                  <a:gd name="T15" fmla="*/ 336 h 428"/>
                  <a:gd name="T16" fmla="*/ 100 w 286"/>
                  <a:gd name="T17" fmla="*/ 331 h 428"/>
                  <a:gd name="T18" fmla="*/ 82 w 286"/>
                  <a:gd name="T19" fmla="*/ 313 h 428"/>
                  <a:gd name="T20" fmla="*/ 71 w 286"/>
                  <a:gd name="T21" fmla="*/ 292 h 428"/>
                  <a:gd name="T22" fmla="*/ 62 w 286"/>
                  <a:gd name="T23" fmla="*/ 275 h 428"/>
                  <a:gd name="T24" fmla="*/ 48 w 286"/>
                  <a:gd name="T25" fmla="*/ 293 h 428"/>
                  <a:gd name="T26" fmla="*/ 68 w 286"/>
                  <a:gd name="T27" fmla="*/ 337 h 428"/>
                  <a:gd name="T28" fmla="*/ 74 w 286"/>
                  <a:gd name="T29" fmla="*/ 363 h 428"/>
                  <a:gd name="T30" fmla="*/ 67 w 286"/>
                  <a:gd name="T31" fmla="*/ 380 h 428"/>
                  <a:gd name="T32" fmla="*/ 45 w 286"/>
                  <a:gd name="T33" fmla="*/ 327 h 428"/>
                  <a:gd name="T34" fmla="*/ 35 w 286"/>
                  <a:gd name="T35" fmla="*/ 311 h 428"/>
                  <a:gd name="T36" fmla="*/ 39 w 286"/>
                  <a:gd name="T37" fmla="*/ 295 h 428"/>
                  <a:gd name="T38" fmla="*/ 25 w 286"/>
                  <a:gd name="T39" fmla="*/ 270 h 428"/>
                  <a:gd name="T40" fmla="*/ 32 w 286"/>
                  <a:gd name="T41" fmla="*/ 258 h 428"/>
                  <a:gd name="T42" fmla="*/ 40 w 286"/>
                  <a:gd name="T43" fmla="*/ 248 h 428"/>
                  <a:gd name="T44" fmla="*/ 54 w 286"/>
                  <a:gd name="T45" fmla="*/ 263 h 428"/>
                  <a:gd name="T46" fmla="*/ 59 w 286"/>
                  <a:gd name="T47" fmla="*/ 261 h 428"/>
                  <a:gd name="T48" fmla="*/ 79 w 286"/>
                  <a:gd name="T49" fmla="*/ 244 h 428"/>
                  <a:gd name="T50" fmla="*/ 37 w 286"/>
                  <a:gd name="T51" fmla="*/ 9 h 428"/>
                  <a:gd name="T52" fmla="*/ 34 w 286"/>
                  <a:gd name="T53" fmla="*/ 30 h 428"/>
                  <a:gd name="T54" fmla="*/ 30 w 286"/>
                  <a:gd name="T55" fmla="*/ 61 h 428"/>
                  <a:gd name="T56" fmla="*/ 28 w 286"/>
                  <a:gd name="T57" fmla="*/ 92 h 428"/>
                  <a:gd name="T58" fmla="*/ 20 w 286"/>
                  <a:gd name="T59" fmla="*/ 120 h 428"/>
                  <a:gd name="T60" fmla="*/ 17 w 286"/>
                  <a:gd name="T61" fmla="*/ 163 h 428"/>
                  <a:gd name="T62" fmla="*/ 13 w 286"/>
                  <a:gd name="T63" fmla="*/ 222 h 428"/>
                  <a:gd name="T64" fmla="*/ 10 w 286"/>
                  <a:gd name="T65" fmla="*/ 262 h 428"/>
                  <a:gd name="T66" fmla="*/ 7 w 286"/>
                  <a:gd name="T67" fmla="*/ 302 h 428"/>
                  <a:gd name="T68" fmla="*/ 4 w 286"/>
                  <a:gd name="T69" fmla="*/ 343 h 428"/>
                  <a:gd name="T70" fmla="*/ 0 w 286"/>
                  <a:gd name="T71" fmla="*/ 407 h 428"/>
                  <a:gd name="T72" fmla="*/ 9 w 286"/>
                  <a:gd name="T73" fmla="*/ 417 h 428"/>
                  <a:gd name="T74" fmla="*/ 50 w 286"/>
                  <a:gd name="T75" fmla="*/ 422 h 428"/>
                  <a:gd name="T76" fmla="*/ 97 w 286"/>
                  <a:gd name="T77" fmla="*/ 426 h 428"/>
                  <a:gd name="T78" fmla="*/ 139 w 286"/>
                  <a:gd name="T79" fmla="*/ 428 h 428"/>
                  <a:gd name="T80" fmla="*/ 142 w 286"/>
                  <a:gd name="T81" fmla="*/ 398 h 428"/>
                  <a:gd name="T82" fmla="*/ 145 w 286"/>
                  <a:gd name="T83" fmla="*/ 339 h 428"/>
                  <a:gd name="T84" fmla="*/ 172 w 286"/>
                  <a:gd name="T85" fmla="*/ 264 h 428"/>
                  <a:gd name="T86" fmla="*/ 206 w 286"/>
                  <a:gd name="T87" fmla="*/ 228 h 428"/>
                  <a:gd name="T88" fmla="*/ 252 w 286"/>
                  <a:gd name="T89" fmla="*/ 174 h 428"/>
                  <a:gd name="T90" fmla="*/ 278 w 286"/>
                  <a:gd name="T91" fmla="*/ 145 h 428"/>
                  <a:gd name="T92" fmla="*/ 272 w 286"/>
                  <a:gd name="T93" fmla="*/ 130 h 428"/>
                  <a:gd name="T94" fmla="*/ 247 w 286"/>
                  <a:gd name="T95" fmla="*/ 123 h 428"/>
                  <a:gd name="T96" fmla="*/ 217 w 286"/>
                  <a:gd name="T97" fmla="*/ 127 h 428"/>
                  <a:gd name="T98" fmla="*/ 213 w 286"/>
                  <a:gd name="T99" fmla="*/ 100 h 428"/>
                  <a:gd name="T100" fmla="*/ 189 w 286"/>
                  <a:gd name="T101" fmla="*/ 59 h 428"/>
                  <a:gd name="T102" fmla="*/ 175 w 286"/>
                  <a:gd name="T103" fmla="*/ 24 h 428"/>
                  <a:gd name="T104" fmla="*/ 168 w 286"/>
                  <a:gd name="T105" fmla="*/ 14 h 428"/>
                  <a:gd name="T106" fmla="*/ 148 w 286"/>
                  <a:gd name="T107" fmla="*/ 13 h 428"/>
                  <a:gd name="T108" fmla="*/ 123 w 286"/>
                  <a:gd name="T109" fmla="*/ 10 h 428"/>
                  <a:gd name="T110" fmla="*/ 99 w 286"/>
                  <a:gd name="T111" fmla="*/ 7 h 428"/>
                  <a:gd name="T112" fmla="*/ 60 w 286"/>
                  <a:gd name="T113" fmla="*/ 3 h 428"/>
                  <a:gd name="T114" fmla="*/ 38 w 286"/>
                  <a:gd name="T115" fmla="*/ 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6" h="428">
                    <a:moveTo>
                      <a:pt x="79" y="244"/>
                    </a:moveTo>
                    <a:cubicBezTo>
                      <a:pt x="84" y="244"/>
                      <a:pt x="88" y="246"/>
                      <a:pt x="90" y="252"/>
                    </a:cubicBezTo>
                    <a:cubicBezTo>
                      <a:pt x="92" y="255"/>
                      <a:pt x="94" y="258"/>
                      <a:pt x="94" y="258"/>
                    </a:cubicBezTo>
                    <a:cubicBezTo>
                      <a:pt x="97" y="260"/>
                      <a:pt x="103" y="277"/>
                      <a:pt x="102" y="279"/>
                    </a:cubicBezTo>
                    <a:cubicBezTo>
                      <a:pt x="102" y="280"/>
                      <a:pt x="104" y="288"/>
                      <a:pt x="107" y="293"/>
                    </a:cubicBezTo>
                    <a:cubicBezTo>
                      <a:pt x="108" y="295"/>
                      <a:pt x="108" y="300"/>
                      <a:pt x="108" y="304"/>
                    </a:cubicBezTo>
                    <a:cubicBezTo>
                      <a:pt x="108" y="312"/>
                      <a:pt x="113" y="329"/>
                      <a:pt x="117" y="337"/>
                    </a:cubicBezTo>
                    <a:cubicBezTo>
                      <a:pt x="119" y="340"/>
                      <a:pt x="120" y="345"/>
                      <a:pt x="120" y="354"/>
                    </a:cubicBezTo>
                    <a:cubicBezTo>
                      <a:pt x="120" y="368"/>
                      <a:pt x="120" y="368"/>
                      <a:pt x="117" y="368"/>
                    </a:cubicBezTo>
                    <a:cubicBezTo>
                      <a:pt x="115" y="369"/>
                      <a:pt x="112" y="370"/>
                      <a:pt x="111" y="372"/>
                    </a:cubicBezTo>
                    <a:cubicBezTo>
                      <a:pt x="108" y="376"/>
                      <a:pt x="105" y="376"/>
                      <a:pt x="102" y="374"/>
                    </a:cubicBezTo>
                    <a:cubicBezTo>
                      <a:pt x="100" y="371"/>
                      <a:pt x="101" y="361"/>
                      <a:pt x="104" y="356"/>
                    </a:cubicBezTo>
                    <a:cubicBezTo>
                      <a:pt x="105" y="355"/>
                      <a:pt x="106" y="352"/>
                      <a:pt x="106" y="350"/>
                    </a:cubicBezTo>
                    <a:cubicBezTo>
                      <a:pt x="107" y="347"/>
                      <a:pt x="108" y="345"/>
                      <a:pt x="109" y="343"/>
                    </a:cubicBezTo>
                    <a:cubicBezTo>
                      <a:pt x="112" y="340"/>
                      <a:pt x="111" y="337"/>
                      <a:pt x="108" y="335"/>
                    </a:cubicBezTo>
                    <a:cubicBezTo>
                      <a:pt x="106" y="333"/>
                      <a:pt x="105" y="334"/>
                      <a:pt x="104" y="336"/>
                    </a:cubicBezTo>
                    <a:cubicBezTo>
                      <a:pt x="102" y="339"/>
                      <a:pt x="99" y="340"/>
                      <a:pt x="99" y="337"/>
                    </a:cubicBezTo>
                    <a:cubicBezTo>
                      <a:pt x="99" y="336"/>
                      <a:pt x="99" y="333"/>
                      <a:pt x="100" y="331"/>
                    </a:cubicBezTo>
                    <a:cubicBezTo>
                      <a:pt x="104" y="320"/>
                      <a:pt x="98" y="311"/>
                      <a:pt x="89" y="314"/>
                    </a:cubicBezTo>
                    <a:cubicBezTo>
                      <a:pt x="85" y="316"/>
                      <a:pt x="84" y="315"/>
                      <a:pt x="82" y="313"/>
                    </a:cubicBezTo>
                    <a:cubicBezTo>
                      <a:pt x="80" y="311"/>
                      <a:pt x="78" y="307"/>
                      <a:pt x="77" y="303"/>
                    </a:cubicBezTo>
                    <a:cubicBezTo>
                      <a:pt x="76" y="299"/>
                      <a:pt x="73" y="294"/>
                      <a:pt x="71" y="292"/>
                    </a:cubicBezTo>
                    <a:cubicBezTo>
                      <a:pt x="69" y="288"/>
                      <a:pt x="68" y="286"/>
                      <a:pt x="68" y="283"/>
                    </a:cubicBezTo>
                    <a:cubicBezTo>
                      <a:pt x="69" y="279"/>
                      <a:pt x="68" y="278"/>
                      <a:pt x="62" y="275"/>
                    </a:cubicBezTo>
                    <a:cubicBezTo>
                      <a:pt x="53" y="270"/>
                      <a:pt x="49" y="272"/>
                      <a:pt x="49" y="280"/>
                    </a:cubicBezTo>
                    <a:cubicBezTo>
                      <a:pt x="49" y="283"/>
                      <a:pt x="48" y="289"/>
                      <a:pt x="48" y="293"/>
                    </a:cubicBezTo>
                    <a:cubicBezTo>
                      <a:pt x="47" y="312"/>
                      <a:pt x="47" y="312"/>
                      <a:pt x="53" y="317"/>
                    </a:cubicBezTo>
                    <a:cubicBezTo>
                      <a:pt x="65" y="327"/>
                      <a:pt x="66" y="328"/>
                      <a:pt x="68" y="337"/>
                    </a:cubicBezTo>
                    <a:cubicBezTo>
                      <a:pt x="69" y="341"/>
                      <a:pt x="70" y="347"/>
                      <a:pt x="70" y="350"/>
                    </a:cubicBezTo>
                    <a:cubicBezTo>
                      <a:pt x="70" y="353"/>
                      <a:pt x="72" y="359"/>
                      <a:pt x="74" y="363"/>
                    </a:cubicBezTo>
                    <a:cubicBezTo>
                      <a:pt x="78" y="372"/>
                      <a:pt x="79" y="379"/>
                      <a:pt x="74" y="380"/>
                    </a:cubicBezTo>
                    <a:cubicBezTo>
                      <a:pt x="69" y="382"/>
                      <a:pt x="68" y="381"/>
                      <a:pt x="67" y="380"/>
                    </a:cubicBezTo>
                    <a:cubicBezTo>
                      <a:pt x="66" y="378"/>
                      <a:pt x="62" y="360"/>
                      <a:pt x="59" y="345"/>
                    </a:cubicBezTo>
                    <a:cubicBezTo>
                      <a:pt x="57" y="336"/>
                      <a:pt x="55" y="333"/>
                      <a:pt x="45" y="327"/>
                    </a:cubicBezTo>
                    <a:cubicBezTo>
                      <a:pt x="38" y="322"/>
                      <a:pt x="34" y="318"/>
                      <a:pt x="34" y="315"/>
                    </a:cubicBezTo>
                    <a:cubicBezTo>
                      <a:pt x="34" y="314"/>
                      <a:pt x="35" y="312"/>
                      <a:pt x="35" y="311"/>
                    </a:cubicBezTo>
                    <a:cubicBezTo>
                      <a:pt x="35" y="309"/>
                      <a:pt x="36" y="307"/>
                      <a:pt x="37" y="306"/>
                    </a:cubicBezTo>
                    <a:cubicBezTo>
                      <a:pt x="38" y="305"/>
                      <a:pt x="39" y="301"/>
                      <a:pt x="39" y="295"/>
                    </a:cubicBezTo>
                    <a:cubicBezTo>
                      <a:pt x="39" y="285"/>
                      <a:pt x="39" y="285"/>
                      <a:pt x="33" y="282"/>
                    </a:cubicBezTo>
                    <a:cubicBezTo>
                      <a:pt x="27" y="279"/>
                      <a:pt x="25" y="276"/>
                      <a:pt x="25" y="270"/>
                    </a:cubicBezTo>
                    <a:cubicBezTo>
                      <a:pt x="25" y="267"/>
                      <a:pt x="26" y="267"/>
                      <a:pt x="28" y="267"/>
                    </a:cubicBezTo>
                    <a:cubicBezTo>
                      <a:pt x="34" y="267"/>
                      <a:pt x="35" y="262"/>
                      <a:pt x="32" y="258"/>
                    </a:cubicBezTo>
                    <a:cubicBezTo>
                      <a:pt x="30" y="256"/>
                      <a:pt x="29" y="253"/>
                      <a:pt x="29" y="253"/>
                    </a:cubicBezTo>
                    <a:cubicBezTo>
                      <a:pt x="29" y="251"/>
                      <a:pt x="36" y="248"/>
                      <a:pt x="40" y="248"/>
                    </a:cubicBezTo>
                    <a:cubicBezTo>
                      <a:pt x="43" y="248"/>
                      <a:pt x="50" y="255"/>
                      <a:pt x="50" y="258"/>
                    </a:cubicBezTo>
                    <a:cubicBezTo>
                      <a:pt x="50" y="259"/>
                      <a:pt x="52" y="262"/>
                      <a:pt x="54" y="263"/>
                    </a:cubicBezTo>
                    <a:cubicBezTo>
                      <a:pt x="57" y="267"/>
                      <a:pt x="57" y="267"/>
                      <a:pt x="57" y="267"/>
                    </a:cubicBezTo>
                    <a:cubicBezTo>
                      <a:pt x="59" y="261"/>
                      <a:pt x="59" y="261"/>
                      <a:pt x="59" y="261"/>
                    </a:cubicBezTo>
                    <a:cubicBezTo>
                      <a:pt x="62" y="253"/>
                      <a:pt x="68" y="245"/>
                      <a:pt x="72" y="244"/>
                    </a:cubicBezTo>
                    <a:cubicBezTo>
                      <a:pt x="75" y="244"/>
                      <a:pt x="77" y="244"/>
                      <a:pt x="79" y="244"/>
                    </a:cubicBezTo>
                    <a:close/>
                    <a:moveTo>
                      <a:pt x="38" y="0"/>
                    </a:moveTo>
                    <a:cubicBezTo>
                      <a:pt x="37" y="9"/>
                      <a:pt x="37" y="9"/>
                      <a:pt x="37" y="9"/>
                    </a:cubicBezTo>
                    <a:cubicBezTo>
                      <a:pt x="36" y="14"/>
                      <a:pt x="36" y="19"/>
                      <a:pt x="36" y="20"/>
                    </a:cubicBezTo>
                    <a:cubicBezTo>
                      <a:pt x="35" y="21"/>
                      <a:pt x="35" y="26"/>
                      <a:pt x="34" y="30"/>
                    </a:cubicBezTo>
                    <a:cubicBezTo>
                      <a:pt x="34" y="34"/>
                      <a:pt x="33" y="39"/>
                      <a:pt x="33" y="40"/>
                    </a:cubicBezTo>
                    <a:cubicBezTo>
                      <a:pt x="33" y="41"/>
                      <a:pt x="31" y="50"/>
                      <a:pt x="30" y="61"/>
                    </a:cubicBezTo>
                    <a:cubicBezTo>
                      <a:pt x="28" y="78"/>
                      <a:pt x="28" y="79"/>
                      <a:pt x="30" y="83"/>
                    </a:cubicBezTo>
                    <a:cubicBezTo>
                      <a:pt x="32" y="87"/>
                      <a:pt x="32" y="87"/>
                      <a:pt x="28" y="92"/>
                    </a:cubicBezTo>
                    <a:cubicBezTo>
                      <a:pt x="26" y="95"/>
                      <a:pt x="24" y="98"/>
                      <a:pt x="23" y="99"/>
                    </a:cubicBezTo>
                    <a:cubicBezTo>
                      <a:pt x="22" y="101"/>
                      <a:pt x="21" y="110"/>
                      <a:pt x="20" y="120"/>
                    </a:cubicBezTo>
                    <a:cubicBezTo>
                      <a:pt x="20" y="130"/>
                      <a:pt x="19" y="141"/>
                      <a:pt x="19" y="144"/>
                    </a:cubicBezTo>
                    <a:cubicBezTo>
                      <a:pt x="18" y="147"/>
                      <a:pt x="18" y="156"/>
                      <a:pt x="17" y="163"/>
                    </a:cubicBezTo>
                    <a:cubicBezTo>
                      <a:pt x="17" y="170"/>
                      <a:pt x="16" y="179"/>
                      <a:pt x="16" y="184"/>
                    </a:cubicBezTo>
                    <a:cubicBezTo>
                      <a:pt x="14" y="203"/>
                      <a:pt x="14" y="211"/>
                      <a:pt x="13" y="222"/>
                    </a:cubicBezTo>
                    <a:cubicBezTo>
                      <a:pt x="12" y="228"/>
                      <a:pt x="12" y="237"/>
                      <a:pt x="12" y="240"/>
                    </a:cubicBezTo>
                    <a:cubicBezTo>
                      <a:pt x="11" y="244"/>
                      <a:pt x="11" y="254"/>
                      <a:pt x="10" y="262"/>
                    </a:cubicBezTo>
                    <a:cubicBezTo>
                      <a:pt x="10" y="269"/>
                      <a:pt x="9" y="278"/>
                      <a:pt x="9" y="281"/>
                    </a:cubicBezTo>
                    <a:cubicBezTo>
                      <a:pt x="8" y="285"/>
                      <a:pt x="8" y="294"/>
                      <a:pt x="7" y="302"/>
                    </a:cubicBezTo>
                    <a:cubicBezTo>
                      <a:pt x="7" y="310"/>
                      <a:pt x="6" y="319"/>
                      <a:pt x="6" y="322"/>
                    </a:cubicBezTo>
                    <a:cubicBezTo>
                      <a:pt x="6" y="325"/>
                      <a:pt x="5" y="334"/>
                      <a:pt x="4" y="343"/>
                    </a:cubicBezTo>
                    <a:cubicBezTo>
                      <a:pt x="4" y="352"/>
                      <a:pt x="3" y="360"/>
                      <a:pt x="3" y="361"/>
                    </a:cubicBezTo>
                    <a:cubicBezTo>
                      <a:pt x="2" y="365"/>
                      <a:pt x="0" y="397"/>
                      <a:pt x="0" y="407"/>
                    </a:cubicBezTo>
                    <a:cubicBezTo>
                      <a:pt x="0" y="416"/>
                      <a:pt x="0" y="416"/>
                      <a:pt x="0" y="416"/>
                    </a:cubicBezTo>
                    <a:cubicBezTo>
                      <a:pt x="9" y="417"/>
                      <a:pt x="9" y="417"/>
                      <a:pt x="9" y="417"/>
                    </a:cubicBezTo>
                    <a:cubicBezTo>
                      <a:pt x="22" y="418"/>
                      <a:pt x="35" y="420"/>
                      <a:pt x="39" y="420"/>
                    </a:cubicBezTo>
                    <a:cubicBezTo>
                      <a:pt x="41" y="420"/>
                      <a:pt x="46" y="421"/>
                      <a:pt x="50" y="422"/>
                    </a:cubicBezTo>
                    <a:cubicBezTo>
                      <a:pt x="59" y="422"/>
                      <a:pt x="63" y="423"/>
                      <a:pt x="76" y="424"/>
                    </a:cubicBezTo>
                    <a:cubicBezTo>
                      <a:pt x="80" y="425"/>
                      <a:pt x="90" y="426"/>
                      <a:pt x="97" y="426"/>
                    </a:cubicBezTo>
                    <a:cubicBezTo>
                      <a:pt x="105" y="427"/>
                      <a:pt x="117" y="427"/>
                      <a:pt x="125" y="428"/>
                    </a:cubicBezTo>
                    <a:cubicBezTo>
                      <a:pt x="139" y="428"/>
                      <a:pt x="139" y="428"/>
                      <a:pt x="139" y="428"/>
                    </a:cubicBezTo>
                    <a:cubicBezTo>
                      <a:pt x="140" y="421"/>
                      <a:pt x="140" y="421"/>
                      <a:pt x="140" y="421"/>
                    </a:cubicBezTo>
                    <a:cubicBezTo>
                      <a:pt x="141" y="418"/>
                      <a:pt x="141" y="407"/>
                      <a:pt x="142" y="398"/>
                    </a:cubicBezTo>
                    <a:cubicBezTo>
                      <a:pt x="142" y="388"/>
                      <a:pt x="143" y="376"/>
                      <a:pt x="143" y="371"/>
                    </a:cubicBezTo>
                    <a:cubicBezTo>
                      <a:pt x="144" y="365"/>
                      <a:pt x="144" y="351"/>
                      <a:pt x="145" y="339"/>
                    </a:cubicBezTo>
                    <a:cubicBezTo>
                      <a:pt x="146" y="299"/>
                      <a:pt x="147" y="295"/>
                      <a:pt x="150" y="289"/>
                    </a:cubicBezTo>
                    <a:cubicBezTo>
                      <a:pt x="152" y="286"/>
                      <a:pt x="162" y="275"/>
                      <a:pt x="172" y="264"/>
                    </a:cubicBezTo>
                    <a:cubicBezTo>
                      <a:pt x="183" y="252"/>
                      <a:pt x="194" y="240"/>
                      <a:pt x="198" y="236"/>
                    </a:cubicBezTo>
                    <a:cubicBezTo>
                      <a:pt x="206" y="228"/>
                      <a:pt x="206" y="228"/>
                      <a:pt x="206" y="228"/>
                    </a:cubicBezTo>
                    <a:cubicBezTo>
                      <a:pt x="219" y="212"/>
                      <a:pt x="226" y="205"/>
                      <a:pt x="233" y="196"/>
                    </a:cubicBezTo>
                    <a:cubicBezTo>
                      <a:pt x="238" y="190"/>
                      <a:pt x="246" y="180"/>
                      <a:pt x="252" y="174"/>
                    </a:cubicBezTo>
                    <a:cubicBezTo>
                      <a:pt x="257" y="168"/>
                      <a:pt x="264" y="161"/>
                      <a:pt x="266" y="158"/>
                    </a:cubicBezTo>
                    <a:cubicBezTo>
                      <a:pt x="269" y="155"/>
                      <a:pt x="274" y="149"/>
                      <a:pt x="278" y="145"/>
                    </a:cubicBezTo>
                    <a:cubicBezTo>
                      <a:pt x="282" y="141"/>
                      <a:pt x="286" y="136"/>
                      <a:pt x="286" y="136"/>
                    </a:cubicBezTo>
                    <a:cubicBezTo>
                      <a:pt x="286" y="134"/>
                      <a:pt x="278" y="131"/>
                      <a:pt x="272" y="130"/>
                    </a:cubicBezTo>
                    <a:cubicBezTo>
                      <a:pt x="262" y="128"/>
                      <a:pt x="259" y="127"/>
                      <a:pt x="258" y="125"/>
                    </a:cubicBezTo>
                    <a:cubicBezTo>
                      <a:pt x="256" y="123"/>
                      <a:pt x="254" y="123"/>
                      <a:pt x="247" y="123"/>
                    </a:cubicBezTo>
                    <a:cubicBezTo>
                      <a:pt x="243" y="123"/>
                      <a:pt x="238" y="124"/>
                      <a:pt x="238" y="124"/>
                    </a:cubicBezTo>
                    <a:cubicBezTo>
                      <a:pt x="237" y="126"/>
                      <a:pt x="220" y="128"/>
                      <a:pt x="217" y="127"/>
                    </a:cubicBezTo>
                    <a:cubicBezTo>
                      <a:pt x="216" y="126"/>
                      <a:pt x="215" y="125"/>
                      <a:pt x="216" y="123"/>
                    </a:cubicBezTo>
                    <a:cubicBezTo>
                      <a:pt x="217" y="120"/>
                      <a:pt x="217" y="119"/>
                      <a:pt x="213" y="100"/>
                    </a:cubicBezTo>
                    <a:cubicBezTo>
                      <a:pt x="210" y="86"/>
                      <a:pt x="209" y="82"/>
                      <a:pt x="208" y="74"/>
                    </a:cubicBezTo>
                    <a:cubicBezTo>
                      <a:pt x="207" y="65"/>
                      <a:pt x="203" y="62"/>
                      <a:pt x="189" y="59"/>
                    </a:cubicBezTo>
                    <a:cubicBezTo>
                      <a:pt x="179" y="57"/>
                      <a:pt x="176" y="56"/>
                      <a:pt x="175" y="54"/>
                    </a:cubicBezTo>
                    <a:cubicBezTo>
                      <a:pt x="173" y="51"/>
                      <a:pt x="173" y="39"/>
                      <a:pt x="175" y="24"/>
                    </a:cubicBezTo>
                    <a:cubicBezTo>
                      <a:pt x="176" y="15"/>
                      <a:pt x="176" y="15"/>
                      <a:pt x="176" y="15"/>
                    </a:cubicBezTo>
                    <a:cubicBezTo>
                      <a:pt x="168" y="14"/>
                      <a:pt x="168" y="14"/>
                      <a:pt x="168" y="14"/>
                    </a:cubicBezTo>
                    <a:cubicBezTo>
                      <a:pt x="164" y="14"/>
                      <a:pt x="160" y="14"/>
                      <a:pt x="160" y="14"/>
                    </a:cubicBezTo>
                    <a:cubicBezTo>
                      <a:pt x="159" y="14"/>
                      <a:pt x="154" y="13"/>
                      <a:pt x="148" y="13"/>
                    </a:cubicBezTo>
                    <a:cubicBezTo>
                      <a:pt x="142" y="12"/>
                      <a:pt x="137" y="11"/>
                      <a:pt x="135" y="11"/>
                    </a:cubicBezTo>
                    <a:cubicBezTo>
                      <a:pt x="134" y="11"/>
                      <a:pt x="129" y="10"/>
                      <a:pt x="123" y="10"/>
                    </a:cubicBezTo>
                    <a:cubicBezTo>
                      <a:pt x="118" y="9"/>
                      <a:pt x="112" y="8"/>
                      <a:pt x="111" y="8"/>
                    </a:cubicBezTo>
                    <a:cubicBezTo>
                      <a:pt x="109" y="8"/>
                      <a:pt x="104" y="7"/>
                      <a:pt x="99" y="7"/>
                    </a:cubicBezTo>
                    <a:cubicBezTo>
                      <a:pt x="95" y="6"/>
                      <a:pt x="86" y="5"/>
                      <a:pt x="79" y="5"/>
                    </a:cubicBezTo>
                    <a:cubicBezTo>
                      <a:pt x="73" y="4"/>
                      <a:pt x="64" y="3"/>
                      <a:pt x="60" y="3"/>
                    </a:cubicBezTo>
                    <a:cubicBezTo>
                      <a:pt x="55" y="2"/>
                      <a:pt x="48" y="2"/>
                      <a:pt x="45" y="1"/>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98" name="Freeform 57">
                <a:extLst>
                  <a:ext uri="{FF2B5EF4-FFF2-40B4-BE49-F238E27FC236}">
                    <a16:creationId xmlns:a16="http://schemas.microsoft.com/office/drawing/2014/main" id="{51B5F43A-4F0F-4EFD-AAD1-19FF1B7EA991}"/>
                  </a:ext>
                </a:extLst>
              </p:cNvPr>
              <p:cNvSpPr>
                <a:spLocks/>
              </p:cNvSpPr>
              <p:nvPr/>
            </p:nvSpPr>
            <p:spPr bwMode="auto">
              <a:xfrm>
                <a:off x="2558024" y="3098090"/>
                <a:ext cx="1107210" cy="2027638"/>
              </a:xfrm>
              <a:custGeom>
                <a:avLst/>
                <a:gdLst>
                  <a:gd name="T0" fmla="*/ 201 w 243"/>
                  <a:gd name="T1" fmla="*/ 443 h 445"/>
                  <a:gd name="T2" fmla="*/ 189 w 243"/>
                  <a:gd name="T3" fmla="*/ 441 h 445"/>
                  <a:gd name="T4" fmla="*/ 174 w 243"/>
                  <a:gd name="T5" fmla="*/ 440 h 445"/>
                  <a:gd name="T6" fmla="*/ 161 w 243"/>
                  <a:gd name="T7" fmla="*/ 438 h 445"/>
                  <a:gd name="T8" fmla="*/ 149 w 243"/>
                  <a:gd name="T9" fmla="*/ 437 h 445"/>
                  <a:gd name="T10" fmla="*/ 136 w 243"/>
                  <a:gd name="T11" fmla="*/ 435 h 445"/>
                  <a:gd name="T12" fmla="*/ 92 w 243"/>
                  <a:gd name="T13" fmla="*/ 427 h 445"/>
                  <a:gd name="T14" fmla="*/ 55 w 243"/>
                  <a:gd name="T15" fmla="*/ 418 h 445"/>
                  <a:gd name="T16" fmla="*/ 37 w 243"/>
                  <a:gd name="T17" fmla="*/ 414 h 445"/>
                  <a:gd name="T18" fmla="*/ 25 w 243"/>
                  <a:gd name="T19" fmla="*/ 412 h 445"/>
                  <a:gd name="T20" fmla="*/ 11 w 243"/>
                  <a:gd name="T21" fmla="*/ 409 h 445"/>
                  <a:gd name="T22" fmla="*/ 1 w 243"/>
                  <a:gd name="T23" fmla="*/ 404 h 445"/>
                  <a:gd name="T24" fmla="*/ 13 w 243"/>
                  <a:gd name="T25" fmla="*/ 351 h 445"/>
                  <a:gd name="T26" fmla="*/ 18 w 243"/>
                  <a:gd name="T27" fmla="*/ 331 h 445"/>
                  <a:gd name="T28" fmla="*/ 28 w 243"/>
                  <a:gd name="T29" fmla="*/ 291 h 445"/>
                  <a:gd name="T30" fmla="*/ 40 w 243"/>
                  <a:gd name="T31" fmla="*/ 241 h 445"/>
                  <a:gd name="T32" fmla="*/ 47 w 243"/>
                  <a:gd name="T33" fmla="*/ 209 h 445"/>
                  <a:gd name="T34" fmla="*/ 52 w 243"/>
                  <a:gd name="T35" fmla="*/ 188 h 445"/>
                  <a:gd name="T36" fmla="*/ 63 w 243"/>
                  <a:gd name="T37" fmla="*/ 144 h 445"/>
                  <a:gd name="T38" fmla="*/ 74 w 243"/>
                  <a:gd name="T39" fmla="*/ 97 h 445"/>
                  <a:gd name="T40" fmla="*/ 84 w 243"/>
                  <a:gd name="T41" fmla="*/ 56 h 445"/>
                  <a:gd name="T42" fmla="*/ 89 w 243"/>
                  <a:gd name="T43" fmla="*/ 34 h 445"/>
                  <a:gd name="T44" fmla="*/ 97 w 243"/>
                  <a:gd name="T45" fmla="*/ 35 h 445"/>
                  <a:gd name="T46" fmla="*/ 111 w 243"/>
                  <a:gd name="T47" fmla="*/ 37 h 445"/>
                  <a:gd name="T48" fmla="*/ 129 w 243"/>
                  <a:gd name="T49" fmla="*/ 36 h 445"/>
                  <a:gd name="T50" fmla="*/ 148 w 243"/>
                  <a:gd name="T51" fmla="*/ 39 h 445"/>
                  <a:gd name="T52" fmla="*/ 160 w 243"/>
                  <a:gd name="T53" fmla="*/ 40 h 445"/>
                  <a:gd name="T54" fmla="*/ 122 w 243"/>
                  <a:gd name="T55" fmla="*/ 22 h 445"/>
                  <a:gd name="T56" fmla="*/ 114 w 243"/>
                  <a:gd name="T57" fmla="*/ 20 h 445"/>
                  <a:gd name="T58" fmla="*/ 108 w 243"/>
                  <a:gd name="T59" fmla="*/ 17 h 445"/>
                  <a:gd name="T60" fmla="*/ 96 w 243"/>
                  <a:gd name="T61" fmla="*/ 16 h 445"/>
                  <a:gd name="T62" fmla="*/ 95 w 243"/>
                  <a:gd name="T63" fmla="*/ 7 h 445"/>
                  <a:gd name="T64" fmla="*/ 99 w 243"/>
                  <a:gd name="T65" fmla="*/ 1 h 445"/>
                  <a:gd name="T66" fmla="*/ 120 w 243"/>
                  <a:gd name="T67" fmla="*/ 5 h 445"/>
                  <a:gd name="T68" fmla="*/ 127 w 243"/>
                  <a:gd name="T69" fmla="*/ 6 h 445"/>
                  <a:gd name="T70" fmla="*/ 194 w 243"/>
                  <a:gd name="T71" fmla="*/ 20 h 445"/>
                  <a:gd name="T72" fmla="*/ 214 w 243"/>
                  <a:gd name="T73" fmla="*/ 24 h 445"/>
                  <a:gd name="T74" fmla="*/ 237 w 243"/>
                  <a:gd name="T75" fmla="*/ 27 h 445"/>
                  <a:gd name="T76" fmla="*/ 243 w 243"/>
                  <a:gd name="T77" fmla="*/ 33 h 445"/>
                  <a:gd name="T78" fmla="*/ 239 w 243"/>
                  <a:gd name="T79" fmla="*/ 64 h 445"/>
                  <a:gd name="T80" fmla="*/ 234 w 243"/>
                  <a:gd name="T81" fmla="*/ 97 h 445"/>
                  <a:gd name="T82" fmla="*/ 229 w 243"/>
                  <a:gd name="T83" fmla="*/ 108 h 445"/>
                  <a:gd name="T84" fmla="*/ 217 w 243"/>
                  <a:gd name="T85" fmla="*/ 122 h 445"/>
                  <a:gd name="T86" fmla="*/ 216 w 243"/>
                  <a:gd name="T87" fmla="*/ 131 h 445"/>
                  <a:gd name="T88" fmla="*/ 214 w 243"/>
                  <a:gd name="T89" fmla="*/ 151 h 445"/>
                  <a:gd name="T90" fmla="*/ 211 w 243"/>
                  <a:gd name="T91" fmla="*/ 157 h 445"/>
                  <a:gd name="T92" fmla="*/ 217 w 243"/>
                  <a:gd name="T93" fmla="*/ 155 h 445"/>
                  <a:gd name="T94" fmla="*/ 223 w 243"/>
                  <a:gd name="T95" fmla="*/ 152 h 445"/>
                  <a:gd name="T96" fmla="*/ 223 w 243"/>
                  <a:gd name="T97" fmla="*/ 184 h 445"/>
                  <a:gd name="T98" fmla="*/ 221 w 243"/>
                  <a:gd name="T99" fmla="*/ 205 h 445"/>
                  <a:gd name="T100" fmla="*/ 220 w 243"/>
                  <a:gd name="T101" fmla="*/ 224 h 445"/>
                  <a:gd name="T102" fmla="*/ 219 w 243"/>
                  <a:gd name="T103" fmla="*/ 244 h 445"/>
                  <a:gd name="T104" fmla="*/ 217 w 243"/>
                  <a:gd name="T105" fmla="*/ 263 h 445"/>
                  <a:gd name="T106" fmla="*/ 216 w 243"/>
                  <a:gd name="T107" fmla="*/ 284 h 445"/>
                  <a:gd name="T108" fmla="*/ 214 w 243"/>
                  <a:gd name="T109" fmla="*/ 303 h 445"/>
                  <a:gd name="T110" fmla="*/ 213 w 243"/>
                  <a:gd name="T111" fmla="*/ 324 h 445"/>
                  <a:gd name="T112" fmla="*/ 212 w 243"/>
                  <a:gd name="T113" fmla="*/ 343 h 445"/>
                  <a:gd name="T114" fmla="*/ 210 w 243"/>
                  <a:gd name="T115" fmla="*/ 363 h 445"/>
                  <a:gd name="T116" fmla="*/ 209 w 243"/>
                  <a:gd name="T117" fmla="*/ 382 h 445"/>
                  <a:gd name="T118" fmla="*/ 207 w 243"/>
                  <a:gd name="T119" fmla="*/ 402 h 445"/>
                  <a:gd name="T120" fmla="*/ 206 w 243"/>
                  <a:gd name="T121" fmla="*/ 422 h 445"/>
                  <a:gd name="T122" fmla="*/ 205 w 243"/>
                  <a:gd name="T123" fmla="*/ 434 h 445"/>
                  <a:gd name="T124" fmla="*/ 201 w 243"/>
                  <a:gd name="T125" fmla="*/ 443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3" h="445">
                    <a:moveTo>
                      <a:pt x="201" y="443"/>
                    </a:moveTo>
                    <a:cubicBezTo>
                      <a:pt x="201" y="442"/>
                      <a:pt x="195" y="442"/>
                      <a:pt x="189" y="441"/>
                    </a:cubicBezTo>
                    <a:cubicBezTo>
                      <a:pt x="183" y="441"/>
                      <a:pt x="176" y="440"/>
                      <a:pt x="174" y="440"/>
                    </a:cubicBezTo>
                    <a:cubicBezTo>
                      <a:pt x="172" y="439"/>
                      <a:pt x="166" y="439"/>
                      <a:pt x="161" y="438"/>
                    </a:cubicBezTo>
                    <a:cubicBezTo>
                      <a:pt x="156" y="438"/>
                      <a:pt x="151" y="437"/>
                      <a:pt x="149" y="437"/>
                    </a:cubicBezTo>
                    <a:cubicBezTo>
                      <a:pt x="147" y="437"/>
                      <a:pt x="141" y="436"/>
                      <a:pt x="136" y="435"/>
                    </a:cubicBezTo>
                    <a:cubicBezTo>
                      <a:pt x="131" y="435"/>
                      <a:pt x="111" y="431"/>
                      <a:pt x="92" y="427"/>
                    </a:cubicBezTo>
                    <a:cubicBezTo>
                      <a:pt x="73" y="422"/>
                      <a:pt x="56" y="419"/>
                      <a:pt x="55" y="418"/>
                    </a:cubicBezTo>
                    <a:cubicBezTo>
                      <a:pt x="49" y="417"/>
                      <a:pt x="45" y="416"/>
                      <a:pt x="37" y="414"/>
                    </a:cubicBezTo>
                    <a:cubicBezTo>
                      <a:pt x="32" y="413"/>
                      <a:pt x="26" y="412"/>
                      <a:pt x="25" y="412"/>
                    </a:cubicBezTo>
                    <a:cubicBezTo>
                      <a:pt x="23" y="411"/>
                      <a:pt x="17" y="410"/>
                      <a:pt x="11" y="409"/>
                    </a:cubicBezTo>
                    <a:cubicBezTo>
                      <a:pt x="2" y="407"/>
                      <a:pt x="0" y="406"/>
                      <a:pt x="1" y="404"/>
                    </a:cubicBezTo>
                    <a:cubicBezTo>
                      <a:pt x="1" y="402"/>
                      <a:pt x="12" y="356"/>
                      <a:pt x="13" y="351"/>
                    </a:cubicBezTo>
                    <a:cubicBezTo>
                      <a:pt x="14" y="350"/>
                      <a:pt x="16" y="341"/>
                      <a:pt x="18" y="331"/>
                    </a:cubicBezTo>
                    <a:cubicBezTo>
                      <a:pt x="21" y="321"/>
                      <a:pt x="25" y="303"/>
                      <a:pt x="28" y="291"/>
                    </a:cubicBezTo>
                    <a:cubicBezTo>
                      <a:pt x="31" y="279"/>
                      <a:pt x="36" y="257"/>
                      <a:pt x="40" y="241"/>
                    </a:cubicBezTo>
                    <a:cubicBezTo>
                      <a:pt x="44" y="225"/>
                      <a:pt x="47" y="211"/>
                      <a:pt x="47" y="209"/>
                    </a:cubicBezTo>
                    <a:cubicBezTo>
                      <a:pt x="48" y="207"/>
                      <a:pt x="50" y="198"/>
                      <a:pt x="52" y="188"/>
                    </a:cubicBezTo>
                    <a:cubicBezTo>
                      <a:pt x="55" y="179"/>
                      <a:pt x="59" y="159"/>
                      <a:pt x="63" y="144"/>
                    </a:cubicBezTo>
                    <a:cubicBezTo>
                      <a:pt x="67" y="129"/>
                      <a:pt x="72" y="108"/>
                      <a:pt x="74" y="97"/>
                    </a:cubicBezTo>
                    <a:cubicBezTo>
                      <a:pt x="84" y="56"/>
                      <a:pt x="84" y="56"/>
                      <a:pt x="84" y="56"/>
                    </a:cubicBezTo>
                    <a:cubicBezTo>
                      <a:pt x="89" y="34"/>
                      <a:pt x="89" y="34"/>
                      <a:pt x="89" y="34"/>
                    </a:cubicBezTo>
                    <a:cubicBezTo>
                      <a:pt x="97" y="35"/>
                      <a:pt x="97" y="35"/>
                      <a:pt x="97" y="35"/>
                    </a:cubicBezTo>
                    <a:cubicBezTo>
                      <a:pt x="101" y="35"/>
                      <a:pt x="107" y="36"/>
                      <a:pt x="111" y="37"/>
                    </a:cubicBezTo>
                    <a:cubicBezTo>
                      <a:pt x="115" y="37"/>
                      <a:pt x="123" y="37"/>
                      <a:pt x="129" y="36"/>
                    </a:cubicBezTo>
                    <a:cubicBezTo>
                      <a:pt x="139" y="35"/>
                      <a:pt x="140" y="35"/>
                      <a:pt x="148" y="39"/>
                    </a:cubicBezTo>
                    <a:cubicBezTo>
                      <a:pt x="157" y="43"/>
                      <a:pt x="160" y="43"/>
                      <a:pt x="160" y="40"/>
                    </a:cubicBezTo>
                    <a:cubicBezTo>
                      <a:pt x="160" y="38"/>
                      <a:pt x="130" y="24"/>
                      <a:pt x="122" y="22"/>
                    </a:cubicBezTo>
                    <a:cubicBezTo>
                      <a:pt x="119" y="21"/>
                      <a:pt x="115" y="20"/>
                      <a:pt x="114" y="20"/>
                    </a:cubicBezTo>
                    <a:cubicBezTo>
                      <a:pt x="112" y="20"/>
                      <a:pt x="109" y="19"/>
                      <a:pt x="108" y="17"/>
                    </a:cubicBezTo>
                    <a:cubicBezTo>
                      <a:pt x="104" y="14"/>
                      <a:pt x="100" y="14"/>
                      <a:pt x="96" y="16"/>
                    </a:cubicBezTo>
                    <a:cubicBezTo>
                      <a:pt x="93" y="18"/>
                      <a:pt x="93" y="17"/>
                      <a:pt x="95" y="7"/>
                    </a:cubicBezTo>
                    <a:cubicBezTo>
                      <a:pt x="96" y="2"/>
                      <a:pt x="97" y="0"/>
                      <a:pt x="99" y="1"/>
                    </a:cubicBezTo>
                    <a:cubicBezTo>
                      <a:pt x="101" y="1"/>
                      <a:pt x="111" y="3"/>
                      <a:pt x="120" y="5"/>
                    </a:cubicBezTo>
                    <a:cubicBezTo>
                      <a:pt x="122" y="6"/>
                      <a:pt x="125" y="6"/>
                      <a:pt x="127" y="6"/>
                    </a:cubicBezTo>
                    <a:cubicBezTo>
                      <a:pt x="131" y="7"/>
                      <a:pt x="190" y="19"/>
                      <a:pt x="194" y="20"/>
                    </a:cubicBezTo>
                    <a:cubicBezTo>
                      <a:pt x="196" y="20"/>
                      <a:pt x="205" y="22"/>
                      <a:pt x="214" y="24"/>
                    </a:cubicBezTo>
                    <a:cubicBezTo>
                      <a:pt x="224" y="25"/>
                      <a:pt x="234" y="27"/>
                      <a:pt x="237" y="27"/>
                    </a:cubicBezTo>
                    <a:cubicBezTo>
                      <a:pt x="243" y="28"/>
                      <a:pt x="243" y="28"/>
                      <a:pt x="243" y="33"/>
                    </a:cubicBezTo>
                    <a:cubicBezTo>
                      <a:pt x="242" y="36"/>
                      <a:pt x="241" y="49"/>
                      <a:pt x="239" y="64"/>
                    </a:cubicBezTo>
                    <a:cubicBezTo>
                      <a:pt x="237" y="78"/>
                      <a:pt x="235" y="93"/>
                      <a:pt x="234" y="97"/>
                    </a:cubicBezTo>
                    <a:cubicBezTo>
                      <a:pt x="233" y="104"/>
                      <a:pt x="232" y="108"/>
                      <a:pt x="229" y="108"/>
                    </a:cubicBezTo>
                    <a:cubicBezTo>
                      <a:pt x="227" y="108"/>
                      <a:pt x="219" y="117"/>
                      <a:pt x="217" y="122"/>
                    </a:cubicBezTo>
                    <a:cubicBezTo>
                      <a:pt x="215" y="125"/>
                      <a:pt x="215" y="127"/>
                      <a:pt x="216" y="131"/>
                    </a:cubicBezTo>
                    <a:cubicBezTo>
                      <a:pt x="219" y="141"/>
                      <a:pt x="219" y="146"/>
                      <a:pt x="214" y="151"/>
                    </a:cubicBezTo>
                    <a:cubicBezTo>
                      <a:pt x="211" y="154"/>
                      <a:pt x="210" y="156"/>
                      <a:pt x="211" y="157"/>
                    </a:cubicBezTo>
                    <a:cubicBezTo>
                      <a:pt x="212" y="159"/>
                      <a:pt x="213" y="158"/>
                      <a:pt x="217" y="155"/>
                    </a:cubicBezTo>
                    <a:cubicBezTo>
                      <a:pt x="219" y="153"/>
                      <a:pt x="222" y="152"/>
                      <a:pt x="223" y="152"/>
                    </a:cubicBezTo>
                    <a:cubicBezTo>
                      <a:pt x="225" y="152"/>
                      <a:pt x="225" y="156"/>
                      <a:pt x="223" y="184"/>
                    </a:cubicBezTo>
                    <a:cubicBezTo>
                      <a:pt x="223" y="188"/>
                      <a:pt x="222" y="198"/>
                      <a:pt x="221" y="205"/>
                    </a:cubicBezTo>
                    <a:cubicBezTo>
                      <a:pt x="221" y="212"/>
                      <a:pt x="220" y="220"/>
                      <a:pt x="220" y="224"/>
                    </a:cubicBezTo>
                    <a:cubicBezTo>
                      <a:pt x="220" y="227"/>
                      <a:pt x="219" y="237"/>
                      <a:pt x="219" y="244"/>
                    </a:cubicBezTo>
                    <a:cubicBezTo>
                      <a:pt x="218" y="252"/>
                      <a:pt x="218" y="261"/>
                      <a:pt x="217" y="263"/>
                    </a:cubicBezTo>
                    <a:cubicBezTo>
                      <a:pt x="217" y="266"/>
                      <a:pt x="216" y="275"/>
                      <a:pt x="216" y="284"/>
                    </a:cubicBezTo>
                    <a:cubicBezTo>
                      <a:pt x="215" y="293"/>
                      <a:pt x="215" y="301"/>
                      <a:pt x="214" y="303"/>
                    </a:cubicBezTo>
                    <a:cubicBezTo>
                      <a:pt x="214" y="305"/>
                      <a:pt x="213" y="314"/>
                      <a:pt x="213" y="324"/>
                    </a:cubicBezTo>
                    <a:cubicBezTo>
                      <a:pt x="212" y="333"/>
                      <a:pt x="212" y="342"/>
                      <a:pt x="212" y="343"/>
                    </a:cubicBezTo>
                    <a:cubicBezTo>
                      <a:pt x="211" y="344"/>
                      <a:pt x="211" y="353"/>
                      <a:pt x="210" y="363"/>
                    </a:cubicBezTo>
                    <a:cubicBezTo>
                      <a:pt x="210" y="372"/>
                      <a:pt x="209" y="381"/>
                      <a:pt x="209" y="382"/>
                    </a:cubicBezTo>
                    <a:cubicBezTo>
                      <a:pt x="209" y="384"/>
                      <a:pt x="208" y="392"/>
                      <a:pt x="207" y="402"/>
                    </a:cubicBezTo>
                    <a:cubicBezTo>
                      <a:pt x="207" y="412"/>
                      <a:pt x="206" y="421"/>
                      <a:pt x="206" y="422"/>
                    </a:cubicBezTo>
                    <a:cubicBezTo>
                      <a:pt x="206" y="424"/>
                      <a:pt x="205" y="429"/>
                      <a:pt x="205" y="434"/>
                    </a:cubicBezTo>
                    <a:cubicBezTo>
                      <a:pt x="205" y="442"/>
                      <a:pt x="203" y="445"/>
                      <a:pt x="201" y="4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99" name="Freeform 7">
                <a:extLst>
                  <a:ext uri="{FF2B5EF4-FFF2-40B4-BE49-F238E27FC236}">
                    <a16:creationId xmlns:a16="http://schemas.microsoft.com/office/drawing/2014/main" id="{F34AABAF-A5D5-46C0-B2C4-A61A6CA5F3DF}"/>
                  </a:ext>
                </a:extLst>
              </p:cNvPr>
              <p:cNvSpPr>
                <a:spLocks/>
              </p:cNvSpPr>
              <p:nvPr/>
            </p:nvSpPr>
            <p:spPr bwMode="auto">
              <a:xfrm>
                <a:off x="2945066" y="500481"/>
                <a:ext cx="606559" cy="720167"/>
              </a:xfrm>
              <a:custGeom>
                <a:avLst/>
                <a:gdLst>
                  <a:gd name="T0" fmla="*/ 81 w 133"/>
                  <a:gd name="T1" fmla="*/ 153 h 158"/>
                  <a:gd name="T2" fmla="*/ 46 w 133"/>
                  <a:gd name="T3" fmla="*/ 142 h 158"/>
                  <a:gd name="T4" fmla="*/ 18 w 133"/>
                  <a:gd name="T5" fmla="*/ 134 h 158"/>
                  <a:gd name="T6" fmla="*/ 11 w 133"/>
                  <a:gd name="T7" fmla="*/ 130 h 158"/>
                  <a:gd name="T8" fmla="*/ 32 w 133"/>
                  <a:gd name="T9" fmla="*/ 130 h 158"/>
                  <a:gd name="T10" fmla="*/ 54 w 133"/>
                  <a:gd name="T11" fmla="*/ 134 h 158"/>
                  <a:gd name="T12" fmla="*/ 79 w 133"/>
                  <a:gd name="T13" fmla="*/ 141 h 158"/>
                  <a:gd name="T14" fmla="*/ 71 w 133"/>
                  <a:gd name="T15" fmla="*/ 132 h 158"/>
                  <a:gd name="T16" fmla="*/ 48 w 133"/>
                  <a:gd name="T17" fmla="*/ 120 h 158"/>
                  <a:gd name="T18" fmla="*/ 12 w 133"/>
                  <a:gd name="T19" fmla="*/ 111 h 158"/>
                  <a:gd name="T20" fmla="*/ 3 w 133"/>
                  <a:gd name="T21" fmla="*/ 99 h 158"/>
                  <a:gd name="T22" fmla="*/ 0 w 133"/>
                  <a:gd name="T23" fmla="*/ 89 h 158"/>
                  <a:gd name="T24" fmla="*/ 25 w 133"/>
                  <a:gd name="T25" fmla="*/ 80 h 158"/>
                  <a:gd name="T26" fmla="*/ 32 w 133"/>
                  <a:gd name="T27" fmla="*/ 79 h 158"/>
                  <a:gd name="T28" fmla="*/ 27 w 133"/>
                  <a:gd name="T29" fmla="*/ 77 h 158"/>
                  <a:gd name="T30" fmla="*/ 18 w 133"/>
                  <a:gd name="T31" fmla="*/ 76 h 158"/>
                  <a:gd name="T32" fmla="*/ 10 w 133"/>
                  <a:gd name="T33" fmla="*/ 66 h 158"/>
                  <a:gd name="T34" fmla="*/ 9 w 133"/>
                  <a:gd name="T35" fmla="*/ 62 h 158"/>
                  <a:gd name="T36" fmla="*/ 5 w 133"/>
                  <a:gd name="T37" fmla="*/ 57 h 158"/>
                  <a:gd name="T38" fmla="*/ 9 w 133"/>
                  <a:gd name="T39" fmla="*/ 40 h 158"/>
                  <a:gd name="T40" fmla="*/ 17 w 133"/>
                  <a:gd name="T41" fmla="*/ 27 h 158"/>
                  <a:gd name="T42" fmla="*/ 59 w 133"/>
                  <a:gd name="T43" fmla="*/ 4 h 158"/>
                  <a:gd name="T44" fmla="*/ 79 w 133"/>
                  <a:gd name="T45" fmla="*/ 0 h 158"/>
                  <a:gd name="T46" fmla="*/ 87 w 133"/>
                  <a:gd name="T47" fmla="*/ 4 h 158"/>
                  <a:gd name="T48" fmla="*/ 83 w 133"/>
                  <a:gd name="T49" fmla="*/ 25 h 158"/>
                  <a:gd name="T50" fmla="*/ 81 w 133"/>
                  <a:gd name="T51" fmla="*/ 32 h 158"/>
                  <a:gd name="T52" fmla="*/ 88 w 133"/>
                  <a:gd name="T53" fmla="*/ 27 h 158"/>
                  <a:gd name="T54" fmla="*/ 95 w 133"/>
                  <a:gd name="T55" fmla="*/ 22 h 158"/>
                  <a:gd name="T56" fmla="*/ 104 w 133"/>
                  <a:gd name="T57" fmla="*/ 27 h 158"/>
                  <a:gd name="T58" fmla="*/ 116 w 133"/>
                  <a:gd name="T59" fmla="*/ 35 h 158"/>
                  <a:gd name="T60" fmla="*/ 119 w 133"/>
                  <a:gd name="T61" fmla="*/ 38 h 158"/>
                  <a:gd name="T62" fmla="*/ 116 w 133"/>
                  <a:gd name="T63" fmla="*/ 45 h 158"/>
                  <a:gd name="T64" fmla="*/ 114 w 133"/>
                  <a:gd name="T65" fmla="*/ 52 h 158"/>
                  <a:gd name="T66" fmla="*/ 119 w 133"/>
                  <a:gd name="T67" fmla="*/ 50 h 158"/>
                  <a:gd name="T68" fmla="*/ 126 w 133"/>
                  <a:gd name="T69" fmla="*/ 48 h 158"/>
                  <a:gd name="T70" fmla="*/ 125 w 133"/>
                  <a:gd name="T71" fmla="*/ 41 h 158"/>
                  <a:gd name="T72" fmla="*/ 123 w 133"/>
                  <a:gd name="T73" fmla="*/ 35 h 158"/>
                  <a:gd name="T74" fmla="*/ 132 w 133"/>
                  <a:gd name="T75" fmla="*/ 31 h 158"/>
                  <a:gd name="T76" fmla="*/ 101 w 133"/>
                  <a:gd name="T77" fmla="*/ 157 h 158"/>
                  <a:gd name="T78" fmla="*/ 81 w 133"/>
                  <a:gd name="T79" fmla="*/ 15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3" h="158">
                    <a:moveTo>
                      <a:pt x="81" y="153"/>
                    </a:moveTo>
                    <a:cubicBezTo>
                      <a:pt x="71" y="150"/>
                      <a:pt x="55" y="145"/>
                      <a:pt x="46" y="142"/>
                    </a:cubicBezTo>
                    <a:cubicBezTo>
                      <a:pt x="37" y="139"/>
                      <a:pt x="24" y="136"/>
                      <a:pt x="18" y="134"/>
                    </a:cubicBezTo>
                    <a:cubicBezTo>
                      <a:pt x="7" y="131"/>
                      <a:pt x="7" y="131"/>
                      <a:pt x="11" y="130"/>
                    </a:cubicBezTo>
                    <a:cubicBezTo>
                      <a:pt x="14" y="129"/>
                      <a:pt x="23" y="129"/>
                      <a:pt x="32" y="130"/>
                    </a:cubicBezTo>
                    <a:cubicBezTo>
                      <a:pt x="44" y="130"/>
                      <a:pt x="49" y="131"/>
                      <a:pt x="54" y="134"/>
                    </a:cubicBezTo>
                    <a:cubicBezTo>
                      <a:pt x="60" y="137"/>
                      <a:pt x="78" y="142"/>
                      <a:pt x="79" y="141"/>
                    </a:cubicBezTo>
                    <a:cubicBezTo>
                      <a:pt x="79" y="141"/>
                      <a:pt x="75" y="137"/>
                      <a:pt x="71" y="132"/>
                    </a:cubicBezTo>
                    <a:cubicBezTo>
                      <a:pt x="62" y="124"/>
                      <a:pt x="55" y="120"/>
                      <a:pt x="48" y="120"/>
                    </a:cubicBezTo>
                    <a:cubicBezTo>
                      <a:pt x="43" y="120"/>
                      <a:pt x="21" y="114"/>
                      <a:pt x="12" y="111"/>
                    </a:cubicBezTo>
                    <a:cubicBezTo>
                      <a:pt x="5" y="108"/>
                      <a:pt x="5" y="107"/>
                      <a:pt x="3" y="99"/>
                    </a:cubicBezTo>
                    <a:cubicBezTo>
                      <a:pt x="1" y="95"/>
                      <a:pt x="0" y="90"/>
                      <a:pt x="0" y="89"/>
                    </a:cubicBezTo>
                    <a:cubicBezTo>
                      <a:pt x="0" y="88"/>
                      <a:pt x="6" y="85"/>
                      <a:pt x="25" y="80"/>
                    </a:cubicBezTo>
                    <a:cubicBezTo>
                      <a:pt x="32" y="79"/>
                      <a:pt x="32" y="79"/>
                      <a:pt x="32" y="79"/>
                    </a:cubicBezTo>
                    <a:cubicBezTo>
                      <a:pt x="27" y="77"/>
                      <a:pt x="27" y="77"/>
                      <a:pt x="27" y="77"/>
                    </a:cubicBezTo>
                    <a:cubicBezTo>
                      <a:pt x="24" y="77"/>
                      <a:pt x="20" y="76"/>
                      <a:pt x="18" y="76"/>
                    </a:cubicBezTo>
                    <a:cubicBezTo>
                      <a:pt x="13" y="76"/>
                      <a:pt x="9" y="69"/>
                      <a:pt x="10" y="66"/>
                    </a:cubicBezTo>
                    <a:cubicBezTo>
                      <a:pt x="11" y="64"/>
                      <a:pt x="10" y="63"/>
                      <a:pt x="9" y="62"/>
                    </a:cubicBezTo>
                    <a:cubicBezTo>
                      <a:pt x="8" y="62"/>
                      <a:pt x="6" y="60"/>
                      <a:pt x="5" y="57"/>
                    </a:cubicBezTo>
                    <a:cubicBezTo>
                      <a:pt x="2" y="52"/>
                      <a:pt x="3" y="47"/>
                      <a:pt x="9" y="40"/>
                    </a:cubicBezTo>
                    <a:cubicBezTo>
                      <a:pt x="15" y="35"/>
                      <a:pt x="17" y="31"/>
                      <a:pt x="17" y="27"/>
                    </a:cubicBezTo>
                    <a:cubicBezTo>
                      <a:pt x="17" y="20"/>
                      <a:pt x="38" y="8"/>
                      <a:pt x="59" y="4"/>
                    </a:cubicBezTo>
                    <a:cubicBezTo>
                      <a:pt x="67" y="3"/>
                      <a:pt x="76" y="1"/>
                      <a:pt x="79" y="0"/>
                    </a:cubicBezTo>
                    <a:cubicBezTo>
                      <a:pt x="86" y="0"/>
                      <a:pt x="86" y="0"/>
                      <a:pt x="87" y="4"/>
                    </a:cubicBezTo>
                    <a:cubicBezTo>
                      <a:pt x="89" y="9"/>
                      <a:pt x="88" y="17"/>
                      <a:pt x="83" y="25"/>
                    </a:cubicBezTo>
                    <a:cubicBezTo>
                      <a:pt x="82" y="28"/>
                      <a:pt x="81" y="31"/>
                      <a:pt x="81" y="32"/>
                    </a:cubicBezTo>
                    <a:cubicBezTo>
                      <a:pt x="82" y="32"/>
                      <a:pt x="85" y="30"/>
                      <a:pt x="88" y="27"/>
                    </a:cubicBezTo>
                    <a:cubicBezTo>
                      <a:pt x="95" y="22"/>
                      <a:pt x="95" y="22"/>
                      <a:pt x="95" y="22"/>
                    </a:cubicBezTo>
                    <a:cubicBezTo>
                      <a:pt x="104" y="27"/>
                      <a:pt x="104" y="27"/>
                      <a:pt x="104" y="27"/>
                    </a:cubicBezTo>
                    <a:cubicBezTo>
                      <a:pt x="108" y="30"/>
                      <a:pt x="114" y="34"/>
                      <a:pt x="116" y="35"/>
                    </a:cubicBezTo>
                    <a:cubicBezTo>
                      <a:pt x="119" y="38"/>
                      <a:pt x="119" y="38"/>
                      <a:pt x="119" y="38"/>
                    </a:cubicBezTo>
                    <a:cubicBezTo>
                      <a:pt x="116" y="45"/>
                      <a:pt x="116" y="45"/>
                      <a:pt x="116" y="45"/>
                    </a:cubicBezTo>
                    <a:cubicBezTo>
                      <a:pt x="114" y="52"/>
                      <a:pt x="114" y="52"/>
                      <a:pt x="114" y="52"/>
                    </a:cubicBezTo>
                    <a:cubicBezTo>
                      <a:pt x="119" y="50"/>
                      <a:pt x="119" y="50"/>
                      <a:pt x="119" y="50"/>
                    </a:cubicBezTo>
                    <a:cubicBezTo>
                      <a:pt x="123" y="50"/>
                      <a:pt x="126" y="49"/>
                      <a:pt x="126" y="48"/>
                    </a:cubicBezTo>
                    <a:cubicBezTo>
                      <a:pt x="127" y="48"/>
                      <a:pt x="126" y="44"/>
                      <a:pt x="125" y="41"/>
                    </a:cubicBezTo>
                    <a:cubicBezTo>
                      <a:pt x="124" y="38"/>
                      <a:pt x="123" y="35"/>
                      <a:pt x="123" y="35"/>
                    </a:cubicBezTo>
                    <a:cubicBezTo>
                      <a:pt x="129" y="31"/>
                      <a:pt x="132" y="30"/>
                      <a:pt x="132" y="31"/>
                    </a:cubicBezTo>
                    <a:cubicBezTo>
                      <a:pt x="133" y="32"/>
                      <a:pt x="102" y="156"/>
                      <a:pt x="101" y="157"/>
                    </a:cubicBezTo>
                    <a:cubicBezTo>
                      <a:pt x="100" y="158"/>
                      <a:pt x="91" y="156"/>
                      <a:pt x="81" y="15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00" name="Freeform 8">
                <a:extLst>
                  <a:ext uri="{FF2B5EF4-FFF2-40B4-BE49-F238E27FC236}">
                    <a16:creationId xmlns:a16="http://schemas.microsoft.com/office/drawing/2014/main" id="{4C38FD0A-A8F7-4434-A311-D6406477D58B}"/>
                  </a:ext>
                </a:extLst>
              </p:cNvPr>
              <p:cNvSpPr>
                <a:spLocks/>
              </p:cNvSpPr>
              <p:nvPr/>
            </p:nvSpPr>
            <p:spPr bwMode="auto">
              <a:xfrm>
                <a:off x="2588833" y="96109"/>
                <a:ext cx="702838" cy="687433"/>
              </a:xfrm>
              <a:custGeom>
                <a:avLst/>
                <a:gdLst>
                  <a:gd name="T0" fmla="*/ 19 w 154"/>
                  <a:gd name="T1" fmla="*/ 149 h 151"/>
                  <a:gd name="T2" fmla="*/ 17 w 154"/>
                  <a:gd name="T3" fmla="*/ 135 h 151"/>
                  <a:gd name="T4" fmla="*/ 8 w 154"/>
                  <a:gd name="T5" fmla="*/ 110 h 151"/>
                  <a:gd name="T6" fmla="*/ 0 w 154"/>
                  <a:gd name="T7" fmla="*/ 95 h 151"/>
                  <a:gd name="T8" fmla="*/ 8 w 154"/>
                  <a:gd name="T9" fmla="*/ 86 h 151"/>
                  <a:gd name="T10" fmla="*/ 20 w 154"/>
                  <a:gd name="T11" fmla="*/ 71 h 151"/>
                  <a:gd name="T12" fmla="*/ 30 w 154"/>
                  <a:gd name="T13" fmla="*/ 56 h 151"/>
                  <a:gd name="T14" fmla="*/ 43 w 154"/>
                  <a:gd name="T15" fmla="*/ 39 h 151"/>
                  <a:gd name="T16" fmla="*/ 54 w 154"/>
                  <a:gd name="T17" fmla="*/ 17 h 151"/>
                  <a:gd name="T18" fmla="*/ 54 w 154"/>
                  <a:gd name="T19" fmla="*/ 7 h 151"/>
                  <a:gd name="T20" fmla="*/ 60 w 154"/>
                  <a:gd name="T21" fmla="*/ 0 h 151"/>
                  <a:gd name="T22" fmla="*/ 67 w 154"/>
                  <a:gd name="T23" fmla="*/ 2 h 151"/>
                  <a:gd name="T24" fmla="*/ 80 w 154"/>
                  <a:gd name="T25" fmla="*/ 5 h 151"/>
                  <a:gd name="T26" fmla="*/ 93 w 154"/>
                  <a:gd name="T27" fmla="*/ 10 h 151"/>
                  <a:gd name="T28" fmla="*/ 100 w 154"/>
                  <a:gd name="T29" fmla="*/ 16 h 151"/>
                  <a:gd name="T30" fmla="*/ 110 w 154"/>
                  <a:gd name="T31" fmla="*/ 28 h 151"/>
                  <a:gd name="T32" fmla="*/ 126 w 154"/>
                  <a:gd name="T33" fmla="*/ 35 h 151"/>
                  <a:gd name="T34" fmla="*/ 145 w 154"/>
                  <a:gd name="T35" fmla="*/ 57 h 151"/>
                  <a:gd name="T36" fmla="*/ 131 w 154"/>
                  <a:gd name="T37" fmla="*/ 91 h 151"/>
                  <a:gd name="T38" fmla="*/ 109 w 154"/>
                  <a:gd name="T39" fmla="*/ 100 h 151"/>
                  <a:gd name="T40" fmla="*/ 104 w 154"/>
                  <a:gd name="T41" fmla="*/ 103 h 151"/>
                  <a:gd name="T42" fmla="*/ 96 w 154"/>
                  <a:gd name="T43" fmla="*/ 108 h 151"/>
                  <a:gd name="T44" fmla="*/ 83 w 154"/>
                  <a:gd name="T45" fmla="*/ 118 h 151"/>
                  <a:gd name="T46" fmla="*/ 69 w 154"/>
                  <a:gd name="T47" fmla="*/ 134 h 151"/>
                  <a:gd name="T48" fmla="*/ 60 w 154"/>
                  <a:gd name="T49" fmla="*/ 146 h 151"/>
                  <a:gd name="T50" fmla="*/ 57 w 154"/>
                  <a:gd name="T51" fmla="*/ 147 h 151"/>
                  <a:gd name="T52" fmla="*/ 45 w 154"/>
                  <a:gd name="T53" fmla="*/ 149 h 151"/>
                  <a:gd name="T54" fmla="*/ 31 w 154"/>
                  <a:gd name="T55" fmla="*/ 151 h 151"/>
                  <a:gd name="T56" fmla="*/ 19 w 154"/>
                  <a:gd name="T57" fmla="*/ 14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4" h="151">
                    <a:moveTo>
                      <a:pt x="19" y="149"/>
                    </a:moveTo>
                    <a:cubicBezTo>
                      <a:pt x="19" y="148"/>
                      <a:pt x="18" y="142"/>
                      <a:pt x="17" y="135"/>
                    </a:cubicBezTo>
                    <a:cubicBezTo>
                      <a:pt x="16" y="124"/>
                      <a:pt x="15" y="122"/>
                      <a:pt x="8" y="110"/>
                    </a:cubicBezTo>
                    <a:cubicBezTo>
                      <a:pt x="4" y="103"/>
                      <a:pt x="0" y="96"/>
                      <a:pt x="0" y="95"/>
                    </a:cubicBezTo>
                    <a:cubicBezTo>
                      <a:pt x="0" y="93"/>
                      <a:pt x="4" y="88"/>
                      <a:pt x="8" y="86"/>
                    </a:cubicBezTo>
                    <a:cubicBezTo>
                      <a:pt x="10" y="84"/>
                      <a:pt x="16" y="78"/>
                      <a:pt x="20" y="71"/>
                    </a:cubicBezTo>
                    <a:cubicBezTo>
                      <a:pt x="24" y="64"/>
                      <a:pt x="29" y="57"/>
                      <a:pt x="30" y="56"/>
                    </a:cubicBezTo>
                    <a:cubicBezTo>
                      <a:pt x="32" y="54"/>
                      <a:pt x="38" y="46"/>
                      <a:pt x="43" y="39"/>
                    </a:cubicBezTo>
                    <a:cubicBezTo>
                      <a:pt x="53" y="26"/>
                      <a:pt x="54" y="25"/>
                      <a:pt x="54" y="17"/>
                    </a:cubicBezTo>
                    <a:cubicBezTo>
                      <a:pt x="54" y="12"/>
                      <a:pt x="54" y="8"/>
                      <a:pt x="54" y="7"/>
                    </a:cubicBezTo>
                    <a:cubicBezTo>
                      <a:pt x="54" y="4"/>
                      <a:pt x="58" y="0"/>
                      <a:pt x="60" y="0"/>
                    </a:cubicBezTo>
                    <a:cubicBezTo>
                      <a:pt x="61" y="1"/>
                      <a:pt x="64" y="1"/>
                      <a:pt x="67" y="2"/>
                    </a:cubicBezTo>
                    <a:cubicBezTo>
                      <a:pt x="70" y="2"/>
                      <a:pt x="75" y="3"/>
                      <a:pt x="80" y="5"/>
                    </a:cubicBezTo>
                    <a:cubicBezTo>
                      <a:pt x="84" y="7"/>
                      <a:pt x="90" y="9"/>
                      <a:pt x="93" y="10"/>
                    </a:cubicBezTo>
                    <a:cubicBezTo>
                      <a:pt x="98" y="11"/>
                      <a:pt x="99" y="12"/>
                      <a:pt x="100" y="16"/>
                    </a:cubicBezTo>
                    <a:cubicBezTo>
                      <a:pt x="101" y="18"/>
                      <a:pt x="105" y="24"/>
                      <a:pt x="110" y="28"/>
                    </a:cubicBezTo>
                    <a:cubicBezTo>
                      <a:pt x="117" y="36"/>
                      <a:pt x="117" y="36"/>
                      <a:pt x="126" y="35"/>
                    </a:cubicBezTo>
                    <a:cubicBezTo>
                      <a:pt x="137" y="35"/>
                      <a:pt x="139" y="37"/>
                      <a:pt x="145" y="57"/>
                    </a:cubicBezTo>
                    <a:cubicBezTo>
                      <a:pt x="154" y="83"/>
                      <a:pt x="153" y="85"/>
                      <a:pt x="131" y="91"/>
                    </a:cubicBezTo>
                    <a:cubicBezTo>
                      <a:pt x="121" y="93"/>
                      <a:pt x="111" y="97"/>
                      <a:pt x="109" y="100"/>
                    </a:cubicBezTo>
                    <a:cubicBezTo>
                      <a:pt x="109" y="101"/>
                      <a:pt x="106" y="102"/>
                      <a:pt x="104" y="103"/>
                    </a:cubicBezTo>
                    <a:cubicBezTo>
                      <a:pt x="102" y="104"/>
                      <a:pt x="98" y="106"/>
                      <a:pt x="96" y="108"/>
                    </a:cubicBezTo>
                    <a:cubicBezTo>
                      <a:pt x="94" y="109"/>
                      <a:pt x="88" y="114"/>
                      <a:pt x="83" y="118"/>
                    </a:cubicBezTo>
                    <a:cubicBezTo>
                      <a:pt x="76" y="123"/>
                      <a:pt x="73" y="127"/>
                      <a:pt x="69" y="134"/>
                    </a:cubicBezTo>
                    <a:cubicBezTo>
                      <a:pt x="66" y="140"/>
                      <a:pt x="62" y="145"/>
                      <a:pt x="60" y="146"/>
                    </a:cubicBezTo>
                    <a:cubicBezTo>
                      <a:pt x="59" y="147"/>
                      <a:pt x="57" y="147"/>
                      <a:pt x="57" y="147"/>
                    </a:cubicBezTo>
                    <a:cubicBezTo>
                      <a:pt x="57" y="146"/>
                      <a:pt x="56" y="147"/>
                      <a:pt x="45" y="149"/>
                    </a:cubicBezTo>
                    <a:cubicBezTo>
                      <a:pt x="43" y="149"/>
                      <a:pt x="37" y="150"/>
                      <a:pt x="31" y="151"/>
                    </a:cubicBezTo>
                    <a:cubicBezTo>
                      <a:pt x="22" y="151"/>
                      <a:pt x="20" y="151"/>
                      <a:pt x="19" y="14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01" name="Freeform 9">
                <a:extLst>
                  <a:ext uri="{FF2B5EF4-FFF2-40B4-BE49-F238E27FC236}">
                    <a16:creationId xmlns:a16="http://schemas.microsoft.com/office/drawing/2014/main" id="{9952449D-E689-4ECC-9591-3C6C73F1CBB6}"/>
                  </a:ext>
                </a:extLst>
              </p:cNvPr>
              <p:cNvSpPr>
                <a:spLocks/>
              </p:cNvSpPr>
              <p:nvPr/>
            </p:nvSpPr>
            <p:spPr bwMode="auto">
              <a:xfrm>
                <a:off x="3272415" y="-150365"/>
                <a:ext cx="406298" cy="477544"/>
              </a:xfrm>
              <a:custGeom>
                <a:avLst/>
                <a:gdLst>
                  <a:gd name="T0" fmla="*/ 34 w 89"/>
                  <a:gd name="T1" fmla="*/ 97 h 105"/>
                  <a:gd name="T2" fmla="*/ 27 w 89"/>
                  <a:gd name="T3" fmla="*/ 88 h 105"/>
                  <a:gd name="T4" fmla="*/ 41 w 89"/>
                  <a:gd name="T5" fmla="*/ 79 h 105"/>
                  <a:gd name="T6" fmla="*/ 48 w 89"/>
                  <a:gd name="T7" fmla="*/ 71 h 105"/>
                  <a:gd name="T8" fmla="*/ 40 w 89"/>
                  <a:gd name="T9" fmla="*/ 68 h 105"/>
                  <a:gd name="T10" fmla="*/ 34 w 89"/>
                  <a:gd name="T11" fmla="*/ 67 h 105"/>
                  <a:gd name="T12" fmla="*/ 19 w 89"/>
                  <a:gd name="T13" fmla="*/ 69 h 105"/>
                  <a:gd name="T14" fmla="*/ 1 w 89"/>
                  <a:gd name="T15" fmla="*/ 47 h 105"/>
                  <a:gd name="T16" fmla="*/ 7 w 89"/>
                  <a:gd name="T17" fmla="*/ 38 h 105"/>
                  <a:gd name="T18" fmla="*/ 9 w 89"/>
                  <a:gd name="T19" fmla="*/ 37 h 105"/>
                  <a:gd name="T20" fmla="*/ 13 w 89"/>
                  <a:gd name="T21" fmla="*/ 27 h 105"/>
                  <a:gd name="T22" fmla="*/ 17 w 89"/>
                  <a:gd name="T23" fmla="*/ 20 h 105"/>
                  <a:gd name="T24" fmla="*/ 28 w 89"/>
                  <a:gd name="T25" fmla="*/ 7 h 105"/>
                  <a:gd name="T26" fmla="*/ 33 w 89"/>
                  <a:gd name="T27" fmla="*/ 3 h 105"/>
                  <a:gd name="T28" fmla="*/ 42 w 89"/>
                  <a:gd name="T29" fmla="*/ 0 h 105"/>
                  <a:gd name="T30" fmla="*/ 57 w 89"/>
                  <a:gd name="T31" fmla="*/ 11 h 105"/>
                  <a:gd name="T32" fmla="*/ 62 w 89"/>
                  <a:gd name="T33" fmla="*/ 19 h 105"/>
                  <a:gd name="T34" fmla="*/ 73 w 89"/>
                  <a:gd name="T35" fmla="*/ 42 h 105"/>
                  <a:gd name="T36" fmla="*/ 82 w 89"/>
                  <a:gd name="T37" fmla="*/ 55 h 105"/>
                  <a:gd name="T38" fmla="*/ 85 w 89"/>
                  <a:gd name="T39" fmla="*/ 75 h 105"/>
                  <a:gd name="T40" fmla="*/ 78 w 89"/>
                  <a:gd name="T41" fmla="*/ 93 h 105"/>
                  <a:gd name="T42" fmla="*/ 68 w 89"/>
                  <a:gd name="T43" fmla="*/ 99 h 105"/>
                  <a:gd name="T44" fmla="*/ 50 w 89"/>
                  <a:gd name="T45" fmla="*/ 105 h 105"/>
                  <a:gd name="T46" fmla="*/ 40 w 89"/>
                  <a:gd name="T47" fmla="*/ 105 h 105"/>
                  <a:gd name="T48" fmla="*/ 34 w 89"/>
                  <a:gd name="T49" fmla="*/ 9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9" h="105">
                    <a:moveTo>
                      <a:pt x="34" y="97"/>
                    </a:moveTo>
                    <a:cubicBezTo>
                      <a:pt x="30" y="93"/>
                      <a:pt x="27" y="89"/>
                      <a:pt x="27" y="88"/>
                    </a:cubicBezTo>
                    <a:cubicBezTo>
                      <a:pt x="27" y="84"/>
                      <a:pt x="33" y="81"/>
                      <a:pt x="41" y="79"/>
                    </a:cubicBezTo>
                    <a:cubicBezTo>
                      <a:pt x="56" y="76"/>
                      <a:pt x="60" y="71"/>
                      <a:pt x="48" y="71"/>
                    </a:cubicBezTo>
                    <a:cubicBezTo>
                      <a:pt x="44" y="71"/>
                      <a:pt x="42" y="71"/>
                      <a:pt x="40" y="68"/>
                    </a:cubicBezTo>
                    <a:cubicBezTo>
                      <a:pt x="37" y="64"/>
                      <a:pt x="37" y="64"/>
                      <a:pt x="34" y="67"/>
                    </a:cubicBezTo>
                    <a:cubicBezTo>
                      <a:pt x="31" y="70"/>
                      <a:pt x="23" y="71"/>
                      <a:pt x="19" y="69"/>
                    </a:cubicBezTo>
                    <a:cubicBezTo>
                      <a:pt x="15" y="66"/>
                      <a:pt x="2" y="51"/>
                      <a:pt x="1" y="47"/>
                    </a:cubicBezTo>
                    <a:cubicBezTo>
                      <a:pt x="0" y="43"/>
                      <a:pt x="3" y="38"/>
                      <a:pt x="7" y="38"/>
                    </a:cubicBezTo>
                    <a:cubicBezTo>
                      <a:pt x="8" y="38"/>
                      <a:pt x="9" y="38"/>
                      <a:pt x="9" y="37"/>
                    </a:cubicBezTo>
                    <a:cubicBezTo>
                      <a:pt x="9" y="33"/>
                      <a:pt x="10" y="30"/>
                      <a:pt x="13" y="27"/>
                    </a:cubicBezTo>
                    <a:cubicBezTo>
                      <a:pt x="15" y="25"/>
                      <a:pt x="17" y="22"/>
                      <a:pt x="17" y="20"/>
                    </a:cubicBezTo>
                    <a:cubicBezTo>
                      <a:pt x="17" y="16"/>
                      <a:pt x="25" y="7"/>
                      <a:pt x="28" y="7"/>
                    </a:cubicBezTo>
                    <a:cubicBezTo>
                      <a:pt x="30" y="7"/>
                      <a:pt x="32" y="5"/>
                      <a:pt x="33" y="3"/>
                    </a:cubicBezTo>
                    <a:cubicBezTo>
                      <a:pt x="35" y="0"/>
                      <a:pt x="37" y="0"/>
                      <a:pt x="42" y="0"/>
                    </a:cubicBezTo>
                    <a:cubicBezTo>
                      <a:pt x="51" y="0"/>
                      <a:pt x="57" y="4"/>
                      <a:pt x="57" y="11"/>
                    </a:cubicBezTo>
                    <a:cubicBezTo>
                      <a:pt x="57" y="15"/>
                      <a:pt x="58" y="16"/>
                      <a:pt x="62" y="19"/>
                    </a:cubicBezTo>
                    <a:cubicBezTo>
                      <a:pt x="69" y="24"/>
                      <a:pt x="73" y="31"/>
                      <a:pt x="73" y="42"/>
                    </a:cubicBezTo>
                    <a:cubicBezTo>
                      <a:pt x="73" y="52"/>
                      <a:pt x="75" y="55"/>
                      <a:pt x="82" y="55"/>
                    </a:cubicBezTo>
                    <a:cubicBezTo>
                      <a:pt x="89" y="55"/>
                      <a:pt x="89" y="56"/>
                      <a:pt x="85" y="75"/>
                    </a:cubicBezTo>
                    <a:cubicBezTo>
                      <a:pt x="81" y="88"/>
                      <a:pt x="80" y="93"/>
                      <a:pt x="78" y="93"/>
                    </a:cubicBezTo>
                    <a:cubicBezTo>
                      <a:pt x="77" y="93"/>
                      <a:pt x="72" y="96"/>
                      <a:pt x="68" y="99"/>
                    </a:cubicBezTo>
                    <a:cubicBezTo>
                      <a:pt x="60" y="104"/>
                      <a:pt x="59" y="105"/>
                      <a:pt x="50" y="105"/>
                    </a:cubicBezTo>
                    <a:cubicBezTo>
                      <a:pt x="40" y="105"/>
                      <a:pt x="40" y="105"/>
                      <a:pt x="40" y="105"/>
                    </a:cubicBezTo>
                    <a:lnTo>
                      <a:pt x="34" y="9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02" name="Freeform 10">
                <a:extLst>
                  <a:ext uri="{FF2B5EF4-FFF2-40B4-BE49-F238E27FC236}">
                    <a16:creationId xmlns:a16="http://schemas.microsoft.com/office/drawing/2014/main" id="{9CBF1970-CB9B-41FA-955D-AEA021094DDD}"/>
                  </a:ext>
                </a:extLst>
              </p:cNvPr>
              <p:cNvSpPr>
                <a:spLocks/>
              </p:cNvSpPr>
              <p:nvPr/>
            </p:nvSpPr>
            <p:spPr bwMode="auto">
              <a:xfrm>
                <a:off x="3199243" y="-109929"/>
                <a:ext cx="142493" cy="119386"/>
              </a:xfrm>
              <a:custGeom>
                <a:avLst/>
                <a:gdLst>
                  <a:gd name="T0" fmla="*/ 6 w 31"/>
                  <a:gd name="T1" fmla="*/ 25 h 26"/>
                  <a:gd name="T2" fmla="*/ 2 w 31"/>
                  <a:gd name="T3" fmla="*/ 19 h 26"/>
                  <a:gd name="T4" fmla="*/ 14 w 31"/>
                  <a:gd name="T5" fmla="*/ 4 h 26"/>
                  <a:gd name="T6" fmla="*/ 28 w 31"/>
                  <a:gd name="T7" fmla="*/ 3 h 26"/>
                  <a:gd name="T8" fmla="*/ 25 w 31"/>
                  <a:gd name="T9" fmla="*/ 13 h 26"/>
                  <a:gd name="T10" fmla="*/ 15 w 31"/>
                  <a:gd name="T11" fmla="*/ 22 h 26"/>
                  <a:gd name="T12" fmla="*/ 9 w 31"/>
                  <a:gd name="T13" fmla="*/ 26 h 26"/>
                  <a:gd name="T14" fmla="*/ 6 w 31"/>
                  <a:gd name="T15" fmla="*/ 25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26">
                    <a:moveTo>
                      <a:pt x="6" y="25"/>
                    </a:moveTo>
                    <a:cubicBezTo>
                      <a:pt x="5" y="25"/>
                      <a:pt x="3" y="22"/>
                      <a:pt x="2" y="19"/>
                    </a:cubicBezTo>
                    <a:cubicBezTo>
                      <a:pt x="0" y="12"/>
                      <a:pt x="3" y="9"/>
                      <a:pt x="14" y="4"/>
                    </a:cubicBezTo>
                    <a:cubicBezTo>
                      <a:pt x="23" y="0"/>
                      <a:pt x="26" y="0"/>
                      <a:pt x="28" y="3"/>
                    </a:cubicBezTo>
                    <a:cubicBezTo>
                      <a:pt x="31" y="6"/>
                      <a:pt x="30" y="9"/>
                      <a:pt x="25" y="13"/>
                    </a:cubicBezTo>
                    <a:cubicBezTo>
                      <a:pt x="22" y="15"/>
                      <a:pt x="18" y="19"/>
                      <a:pt x="15" y="22"/>
                    </a:cubicBezTo>
                    <a:cubicBezTo>
                      <a:pt x="12" y="24"/>
                      <a:pt x="9" y="26"/>
                      <a:pt x="9" y="26"/>
                    </a:cubicBezTo>
                    <a:cubicBezTo>
                      <a:pt x="9" y="26"/>
                      <a:pt x="7" y="26"/>
                      <a:pt x="6" y="2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03" name="Freeform 11">
                <a:extLst>
                  <a:ext uri="{FF2B5EF4-FFF2-40B4-BE49-F238E27FC236}">
                    <a16:creationId xmlns:a16="http://schemas.microsoft.com/office/drawing/2014/main" id="{1184EF6E-BE5E-4849-8FDE-68138BD0761E}"/>
                  </a:ext>
                </a:extLst>
              </p:cNvPr>
              <p:cNvSpPr>
                <a:spLocks/>
              </p:cNvSpPr>
              <p:nvPr/>
            </p:nvSpPr>
            <p:spPr bwMode="auto">
              <a:xfrm>
                <a:off x="3045197" y="-387212"/>
                <a:ext cx="460215" cy="304242"/>
              </a:xfrm>
              <a:custGeom>
                <a:avLst/>
                <a:gdLst>
                  <a:gd name="T0" fmla="*/ 27 w 101"/>
                  <a:gd name="T1" fmla="*/ 62 h 67"/>
                  <a:gd name="T2" fmla="*/ 25 w 101"/>
                  <a:gd name="T3" fmla="*/ 57 h 67"/>
                  <a:gd name="T4" fmla="*/ 17 w 101"/>
                  <a:gd name="T5" fmla="*/ 53 h 67"/>
                  <a:gd name="T6" fmla="*/ 7 w 101"/>
                  <a:gd name="T7" fmla="*/ 38 h 67"/>
                  <a:gd name="T8" fmla="*/ 16 w 101"/>
                  <a:gd name="T9" fmla="*/ 31 h 67"/>
                  <a:gd name="T10" fmla="*/ 29 w 101"/>
                  <a:gd name="T11" fmla="*/ 26 h 67"/>
                  <a:gd name="T12" fmla="*/ 37 w 101"/>
                  <a:gd name="T13" fmla="*/ 23 h 67"/>
                  <a:gd name="T14" fmla="*/ 49 w 101"/>
                  <a:gd name="T15" fmla="*/ 14 h 67"/>
                  <a:gd name="T16" fmla="*/ 75 w 101"/>
                  <a:gd name="T17" fmla="*/ 1 h 67"/>
                  <a:gd name="T18" fmla="*/ 87 w 101"/>
                  <a:gd name="T19" fmla="*/ 1 h 67"/>
                  <a:gd name="T20" fmla="*/ 99 w 101"/>
                  <a:gd name="T21" fmla="*/ 6 h 67"/>
                  <a:gd name="T22" fmla="*/ 92 w 101"/>
                  <a:gd name="T23" fmla="*/ 25 h 67"/>
                  <a:gd name="T24" fmla="*/ 89 w 101"/>
                  <a:gd name="T25" fmla="*/ 33 h 67"/>
                  <a:gd name="T26" fmla="*/ 82 w 101"/>
                  <a:gd name="T27" fmla="*/ 44 h 67"/>
                  <a:gd name="T28" fmla="*/ 74 w 101"/>
                  <a:gd name="T29" fmla="*/ 50 h 67"/>
                  <a:gd name="T30" fmla="*/ 65 w 101"/>
                  <a:gd name="T31" fmla="*/ 53 h 67"/>
                  <a:gd name="T32" fmla="*/ 66 w 101"/>
                  <a:gd name="T33" fmla="*/ 38 h 67"/>
                  <a:gd name="T34" fmla="*/ 68 w 101"/>
                  <a:gd name="T35" fmla="*/ 35 h 67"/>
                  <a:gd name="T36" fmla="*/ 49 w 101"/>
                  <a:gd name="T37" fmla="*/ 51 h 67"/>
                  <a:gd name="T38" fmla="*/ 27 w 101"/>
                  <a:gd name="T39" fmla="*/ 6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67">
                    <a:moveTo>
                      <a:pt x="27" y="62"/>
                    </a:moveTo>
                    <a:cubicBezTo>
                      <a:pt x="26" y="61"/>
                      <a:pt x="25" y="59"/>
                      <a:pt x="25" y="57"/>
                    </a:cubicBezTo>
                    <a:cubicBezTo>
                      <a:pt x="25" y="53"/>
                      <a:pt x="24" y="53"/>
                      <a:pt x="17" y="53"/>
                    </a:cubicBezTo>
                    <a:cubicBezTo>
                      <a:pt x="4" y="53"/>
                      <a:pt x="0" y="47"/>
                      <a:pt x="7" y="38"/>
                    </a:cubicBezTo>
                    <a:cubicBezTo>
                      <a:pt x="9" y="34"/>
                      <a:pt x="11" y="32"/>
                      <a:pt x="16" y="31"/>
                    </a:cubicBezTo>
                    <a:cubicBezTo>
                      <a:pt x="20" y="30"/>
                      <a:pt x="26" y="28"/>
                      <a:pt x="29" y="26"/>
                    </a:cubicBezTo>
                    <a:cubicBezTo>
                      <a:pt x="33" y="24"/>
                      <a:pt x="37" y="22"/>
                      <a:pt x="37" y="23"/>
                    </a:cubicBezTo>
                    <a:cubicBezTo>
                      <a:pt x="38" y="23"/>
                      <a:pt x="43" y="19"/>
                      <a:pt x="49" y="14"/>
                    </a:cubicBezTo>
                    <a:cubicBezTo>
                      <a:pt x="62" y="2"/>
                      <a:pt x="64" y="1"/>
                      <a:pt x="75" y="1"/>
                    </a:cubicBezTo>
                    <a:cubicBezTo>
                      <a:pt x="79" y="1"/>
                      <a:pt x="85" y="1"/>
                      <a:pt x="87" y="1"/>
                    </a:cubicBezTo>
                    <a:cubicBezTo>
                      <a:pt x="91" y="0"/>
                      <a:pt x="98" y="3"/>
                      <a:pt x="99" y="6"/>
                    </a:cubicBezTo>
                    <a:cubicBezTo>
                      <a:pt x="101" y="13"/>
                      <a:pt x="99" y="21"/>
                      <a:pt x="92" y="25"/>
                    </a:cubicBezTo>
                    <a:cubicBezTo>
                      <a:pt x="90" y="26"/>
                      <a:pt x="89" y="29"/>
                      <a:pt x="89" y="33"/>
                    </a:cubicBezTo>
                    <a:cubicBezTo>
                      <a:pt x="88" y="40"/>
                      <a:pt x="88" y="41"/>
                      <a:pt x="82" y="44"/>
                    </a:cubicBezTo>
                    <a:cubicBezTo>
                      <a:pt x="78" y="46"/>
                      <a:pt x="75" y="49"/>
                      <a:pt x="74" y="50"/>
                    </a:cubicBezTo>
                    <a:cubicBezTo>
                      <a:pt x="72" y="54"/>
                      <a:pt x="67" y="55"/>
                      <a:pt x="65" y="53"/>
                    </a:cubicBezTo>
                    <a:cubicBezTo>
                      <a:pt x="62" y="51"/>
                      <a:pt x="62" y="41"/>
                      <a:pt x="66" y="38"/>
                    </a:cubicBezTo>
                    <a:cubicBezTo>
                      <a:pt x="67" y="37"/>
                      <a:pt x="68" y="35"/>
                      <a:pt x="68" y="35"/>
                    </a:cubicBezTo>
                    <a:cubicBezTo>
                      <a:pt x="68" y="33"/>
                      <a:pt x="63" y="37"/>
                      <a:pt x="49" y="51"/>
                    </a:cubicBezTo>
                    <a:cubicBezTo>
                      <a:pt x="36" y="65"/>
                      <a:pt x="32" y="67"/>
                      <a:pt x="27" y="6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04" name="Freeform 12">
                <a:extLst>
                  <a:ext uri="{FF2B5EF4-FFF2-40B4-BE49-F238E27FC236}">
                    <a16:creationId xmlns:a16="http://schemas.microsoft.com/office/drawing/2014/main" id="{E3DE7878-F7E0-4289-907B-8C0D90B1C180}"/>
                  </a:ext>
                </a:extLst>
              </p:cNvPr>
              <p:cNvSpPr>
                <a:spLocks/>
              </p:cNvSpPr>
              <p:nvPr/>
            </p:nvSpPr>
            <p:spPr bwMode="auto">
              <a:xfrm>
                <a:off x="3551624" y="-470012"/>
                <a:ext cx="240698" cy="206038"/>
              </a:xfrm>
              <a:custGeom>
                <a:avLst/>
                <a:gdLst>
                  <a:gd name="T0" fmla="*/ 26 w 53"/>
                  <a:gd name="T1" fmla="*/ 42 h 45"/>
                  <a:gd name="T2" fmla="*/ 17 w 53"/>
                  <a:gd name="T3" fmla="*/ 32 h 45"/>
                  <a:gd name="T4" fmla="*/ 14 w 53"/>
                  <a:gd name="T5" fmla="*/ 22 h 45"/>
                  <a:gd name="T6" fmla="*/ 11 w 53"/>
                  <a:gd name="T7" fmla="*/ 19 h 45"/>
                  <a:gd name="T8" fmla="*/ 7 w 53"/>
                  <a:gd name="T9" fmla="*/ 0 h 45"/>
                  <a:gd name="T10" fmla="*/ 14 w 53"/>
                  <a:gd name="T11" fmla="*/ 7 h 45"/>
                  <a:gd name="T12" fmla="*/ 19 w 53"/>
                  <a:gd name="T13" fmla="*/ 8 h 45"/>
                  <a:gd name="T14" fmla="*/ 52 w 53"/>
                  <a:gd name="T15" fmla="*/ 7 h 45"/>
                  <a:gd name="T16" fmla="*/ 52 w 53"/>
                  <a:gd name="T17" fmla="*/ 13 h 45"/>
                  <a:gd name="T18" fmla="*/ 50 w 53"/>
                  <a:gd name="T19" fmla="*/ 22 h 45"/>
                  <a:gd name="T20" fmla="*/ 44 w 53"/>
                  <a:gd name="T21" fmla="*/ 41 h 45"/>
                  <a:gd name="T22" fmla="*/ 26 w 53"/>
                  <a:gd name="T23" fmla="*/ 4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 h="45">
                    <a:moveTo>
                      <a:pt x="26" y="42"/>
                    </a:moveTo>
                    <a:cubicBezTo>
                      <a:pt x="21" y="40"/>
                      <a:pt x="20" y="38"/>
                      <a:pt x="17" y="32"/>
                    </a:cubicBezTo>
                    <a:cubicBezTo>
                      <a:pt x="16" y="28"/>
                      <a:pt x="14" y="23"/>
                      <a:pt x="14" y="22"/>
                    </a:cubicBezTo>
                    <a:cubicBezTo>
                      <a:pt x="14" y="21"/>
                      <a:pt x="13" y="20"/>
                      <a:pt x="11" y="19"/>
                    </a:cubicBezTo>
                    <a:cubicBezTo>
                      <a:pt x="4" y="14"/>
                      <a:pt x="0" y="0"/>
                      <a:pt x="7" y="0"/>
                    </a:cubicBezTo>
                    <a:cubicBezTo>
                      <a:pt x="10" y="0"/>
                      <a:pt x="14" y="5"/>
                      <a:pt x="14" y="7"/>
                    </a:cubicBezTo>
                    <a:cubicBezTo>
                      <a:pt x="14" y="9"/>
                      <a:pt x="15" y="9"/>
                      <a:pt x="19" y="8"/>
                    </a:cubicBezTo>
                    <a:cubicBezTo>
                      <a:pt x="25" y="7"/>
                      <a:pt x="49" y="6"/>
                      <a:pt x="52" y="7"/>
                    </a:cubicBezTo>
                    <a:cubicBezTo>
                      <a:pt x="53" y="7"/>
                      <a:pt x="53" y="9"/>
                      <a:pt x="52" y="13"/>
                    </a:cubicBezTo>
                    <a:cubicBezTo>
                      <a:pt x="51" y="17"/>
                      <a:pt x="50" y="21"/>
                      <a:pt x="50" y="22"/>
                    </a:cubicBezTo>
                    <a:cubicBezTo>
                      <a:pt x="48" y="33"/>
                      <a:pt x="46" y="39"/>
                      <a:pt x="44" y="41"/>
                    </a:cubicBezTo>
                    <a:cubicBezTo>
                      <a:pt x="40" y="44"/>
                      <a:pt x="33" y="45"/>
                      <a:pt x="26" y="4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05" name="Freeform 13">
                <a:extLst>
                  <a:ext uri="{FF2B5EF4-FFF2-40B4-BE49-F238E27FC236}">
                    <a16:creationId xmlns:a16="http://schemas.microsoft.com/office/drawing/2014/main" id="{A2FA5CD4-B668-4160-8093-37DE45D8D250}"/>
                  </a:ext>
                </a:extLst>
              </p:cNvPr>
              <p:cNvSpPr>
                <a:spLocks/>
              </p:cNvSpPr>
              <p:nvPr/>
            </p:nvSpPr>
            <p:spPr bwMode="auto">
              <a:xfrm>
                <a:off x="3672936" y="-570142"/>
                <a:ext cx="152122" cy="109759"/>
              </a:xfrm>
              <a:custGeom>
                <a:avLst/>
                <a:gdLst>
                  <a:gd name="T0" fmla="*/ 24 w 33"/>
                  <a:gd name="T1" fmla="*/ 23 h 24"/>
                  <a:gd name="T2" fmla="*/ 20 w 33"/>
                  <a:gd name="T3" fmla="*/ 20 h 24"/>
                  <a:gd name="T4" fmla="*/ 13 w 33"/>
                  <a:gd name="T5" fmla="*/ 15 h 24"/>
                  <a:gd name="T6" fmla="*/ 7 w 33"/>
                  <a:gd name="T7" fmla="*/ 13 h 24"/>
                  <a:gd name="T8" fmla="*/ 2 w 33"/>
                  <a:gd name="T9" fmla="*/ 13 h 24"/>
                  <a:gd name="T10" fmla="*/ 14 w 33"/>
                  <a:gd name="T11" fmla="*/ 2 h 24"/>
                  <a:gd name="T12" fmla="*/ 18 w 33"/>
                  <a:gd name="T13" fmla="*/ 1 h 24"/>
                  <a:gd name="T14" fmla="*/ 32 w 33"/>
                  <a:gd name="T15" fmla="*/ 1 h 24"/>
                  <a:gd name="T16" fmla="*/ 26 w 33"/>
                  <a:gd name="T17" fmla="*/ 24 h 24"/>
                  <a:gd name="T18" fmla="*/ 24 w 33"/>
                  <a:gd name="T19"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4">
                    <a:moveTo>
                      <a:pt x="24" y="23"/>
                    </a:moveTo>
                    <a:cubicBezTo>
                      <a:pt x="24" y="22"/>
                      <a:pt x="22" y="21"/>
                      <a:pt x="20" y="20"/>
                    </a:cubicBezTo>
                    <a:cubicBezTo>
                      <a:pt x="18" y="19"/>
                      <a:pt x="15" y="17"/>
                      <a:pt x="13" y="15"/>
                    </a:cubicBezTo>
                    <a:cubicBezTo>
                      <a:pt x="11" y="13"/>
                      <a:pt x="10" y="13"/>
                      <a:pt x="7" y="13"/>
                    </a:cubicBezTo>
                    <a:cubicBezTo>
                      <a:pt x="5" y="14"/>
                      <a:pt x="3" y="14"/>
                      <a:pt x="2" y="13"/>
                    </a:cubicBezTo>
                    <a:cubicBezTo>
                      <a:pt x="0" y="9"/>
                      <a:pt x="11" y="0"/>
                      <a:pt x="14" y="2"/>
                    </a:cubicBezTo>
                    <a:cubicBezTo>
                      <a:pt x="15" y="3"/>
                      <a:pt x="17" y="2"/>
                      <a:pt x="18" y="1"/>
                    </a:cubicBezTo>
                    <a:cubicBezTo>
                      <a:pt x="19" y="0"/>
                      <a:pt x="30" y="0"/>
                      <a:pt x="32" y="1"/>
                    </a:cubicBezTo>
                    <a:cubicBezTo>
                      <a:pt x="33" y="3"/>
                      <a:pt x="27" y="24"/>
                      <a:pt x="26" y="24"/>
                    </a:cubicBezTo>
                    <a:cubicBezTo>
                      <a:pt x="25" y="24"/>
                      <a:pt x="24" y="23"/>
                      <a:pt x="24" y="2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06" name="Freeform 14">
                <a:extLst>
                  <a:ext uri="{FF2B5EF4-FFF2-40B4-BE49-F238E27FC236}">
                    <a16:creationId xmlns:a16="http://schemas.microsoft.com/office/drawing/2014/main" id="{CA7160AA-D11A-4428-B459-253C295620E6}"/>
                  </a:ext>
                </a:extLst>
              </p:cNvPr>
              <p:cNvSpPr>
                <a:spLocks/>
              </p:cNvSpPr>
              <p:nvPr/>
            </p:nvSpPr>
            <p:spPr bwMode="auto">
              <a:xfrm>
                <a:off x="2935438" y="533216"/>
                <a:ext cx="1084103" cy="1047516"/>
              </a:xfrm>
              <a:custGeom>
                <a:avLst/>
                <a:gdLst>
                  <a:gd name="T0" fmla="*/ 192 w 238"/>
                  <a:gd name="T1" fmla="*/ 228 h 230"/>
                  <a:gd name="T2" fmla="*/ 167 w 238"/>
                  <a:gd name="T3" fmla="*/ 213 h 230"/>
                  <a:gd name="T4" fmla="*/ 158 w 238"/>
                  <a:gd name="T5" fmla="*/ 207 h 230"/>
                  <a:gd name="T6" fmla="*/ 152 w 238"/>
                  <a:gd name="T7" fmla="*/ 203 h 230"/>
                  <a:gd name="T8" fmla="*/ 151 w 238"/>
                  <a:gd name="T9" fmla="*/ 199 h 230"/>
                  <a:gd name="T10" fmla="*/ 144 w 238"/>
                  <a:gd name="T11" fmla="*/ 199 h 230"/>
                  <a:gd name="T12" fmla="*/ 126 w 238"/>
                  <a:gd name="T13" fmla="*/ 208 h 230"/>
                  <a:gd name="T14" fmla="*/ 116 w 238"/>
                  <a:gd name="T15" fmla="*/ 210 h 230"/>
                  <a:gd name="T16" fmla="*/ 83 w 238"/>
                  <a:gd name="T17" fmla="*/ 214 h 230"/>
                  <a:gd name="T18" fmla="*/ 44 w 238"/>
                  <a:gd name="T19" fmla="*/ 208 h 230"/>
                  <a:gd name="T20" fmla="*/ 44 w 238"/>
                  <a:gd name="T21" fmla="*/ 200 h 230"/>
                  <a:gd name="T22" fmla="*/ 42 w 238"/>
                  <a:gd name="T23" fmla="*/ 186 h 230"/>
                  <a:gd name="T24" fmla="*/ 32 w 238"/>
                  <a:gd name="T25" fmla="*/ 172 h 230"/>
                  <a:gd name="T26" fmla="*/ 6 w 238"/>
                  <a:gd name="T27" fmla="*/ 154 h 230"/>
                  <a:gd name="T28" fmla="*/ 6 w 238"/>
                  <a:gd name="T29" fmla="*/ 152 h 230"/>
                  <a:gd name="T30" fmla="*/ 3 w 238"/>
                  <a:gd name="T31" fmla="*/ 139 h 230"/>
                  <a:gd name="T32" fmla="*/ 0 w 238"/>
                  <a:gd name="T33" fmla="*/ 127 h 230"/>
                  <a:gd name="T34" fmla="*/ 62 w 238"/>
                  <a:gd name="T35" fmla="*/ 144 h 230"/>
                  <a:gd name="T36" fmla="*/ 106 w 238"/>
                  <a:gd name="T37" fmla="*/ 157 h 230"/>
                  <a:gd name="T38" fmla="*/ 122 w 238"/>
                  <a:gd name="T39" fmla="*/ 93 h 230"/>
                  <a:gd name="T40" fmla="*/ 139 w 238"/>
                  <a:gd name="T41" fmla="*/ 28 h 230"/>
                  <a:gd name="T42" fmla="*/ 145 w 238"/>
                  <a:gd name="T43" fmla="*/ 40 h 230"/>
                  <a:gd name="T44" fmla="*/ 150 w 238"/>
                  <a:gd name="T45" fmla="*/ 68 h 230"/>
                  <a:gd name="T46" fmla="*/ 156 w 238"/>
                  <a:gd name="T47" fmla="*/ 84 h 230"/>
                  <a:gd name="T48" fmla="*/ 158 w 238"/>
                  <a:gd name="T49" fmla="*/ 70 h 230"/>
                  <a:gd name="T50" fmla="*/ 157 w 238"/>
                  <a:gd name="T51" fmla="*/ 42 h 230"/>
                  <a:gd name="T52" fmla="*/ 156 w 238"/>
                  <a:gd name="T53" fmla="*/ 25 h 230"/>
                  <a:gd name="T54" fmla="*/ 161 w 238"/>
                  <a:gd name="T55" fmla="*/ 20 h 230"/>
                  <a:gd name="T56" fmla="*/ 171 w 238"/>
                  <a:gd name="T57" fmla="*/ 17 h 230"/>
                  <a:gd name="T58" fmla="*/ 180 w 238"/>
                  <a:gd name="T59" fmla="*/ 22 h 230"/>
                  <a:gd name="T60" fmla="*/ 181 w 238"/>
                  <a:gd name="T61" fmla="*/ 22 h 230"/>
                  <a:gd name="T62" fmla="*/ 178 w 238"/>
                  <a:gd name="T63" fmla="*/ 14 h 230"/>
                  <a:gd name="T64" fmla="*/ 189 w 238"/>
                  <a:gd name="T65" fmla="*/ 2 h 230"/>
                  <a:gd name="T66" fmla="*/ 208 w 238"/>
                  <a:gd name="T67" fmla="*/ 10 h 230"/>
                  <a:gd name="T68" fmla="*/ 202 w 238"/>
                  <a:gd name="T69" fmla="*/ 35 h 230"/>
                  <a:gd name="T70" fmla="*/ 194 w 238"/>
                  <a:gd name="T71" fmla="*/ 45 h 230"/>
                  <a:gd name="T72" fmla="*/ 195 w 238"/>
                  <a:gd name="T73" fmla="*/ 63 h 230"/>
                  <a:gd name="T74" fmla="*/ 199 w 238"/>
                  <a:gd name="T75" fmla="*/ 103 h 230"/>
                  <a:gd name="T76" fmla="*/ 198 w 238"/>
                  <a:gd name="T77" fmla="*/ 116 h 230"/>
                  <a:gd name="T78" fmla="*/ 195 w 238"/>
                  <a:gd name="T79" fmla="*/ 128 h 230"/>
                  <a:gd name="T80" fmla="*/ 218 w 238"/>
                  <a:gd name="T81" fmla="*/ 159 h 230"/>
                  <a:gd name="T82" fmla="*/ 235 w 238"/>
                  <a:gd name="T83" fmla="*/ 190 h 230"/>
                  <a:gd name="T84" fmla="*/ 226 w 238"/>
                  <a:gd name="T85" fmla="*/ 193 h 230"/>
                  <a:gd name="T86" fmla="*/ 216 w 238"/>
                  <a:gd name="T87" fmla="*/ 191 h 230"/>
                  <a:gd name="T88" fmla="*/ 213 w 238"/>
                  <a:gd name="T89" fmla="*/ 190 h 230"/>
                  <a:gd name="T90" fmla="*/ 215 w 238"/>
                  <a:gd name="T91" fmla="*/ 202 h 230"/>
                  <a:gd name="T92" fmla="*/ 210 w 238"/>
                  <a:gd name="T93" fmla="*/ 227 h 230"/>
                  <a:gd name="T94" fmla="*/ 192 w 238"/>
                  <a:gd name="T95" fmla="*/ 228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8" h="230">
                    <a:moveTo>
                      <a:pt x="192" y="228"/>
                    </a:moveTo>
                    <a:cubicBezTo>
                      <a:pt x="185" y="226"/>
                      <a:pt x="175" y="220"/>
                      <a:pt x="167" y="213"/>
                    </a:cubicBezTo>
                    <a:cubicBezTo>
                      <a:pt x="165" y="211"/>
                      <a:pt x="161" y="209"/>
                      <a:pt x="158" y="207"/>
                    </a:cubicBezTo>
                    <a:cubicBezTo>
                      <a:pt x="155" y="206"/>
                      <a:pt x="152" y="204"/>
                      <a:pt x="152" y="203"/>
                    </a:cubicBezTo>
                    <a:cubicBezTo>
                      <a:pt x="151" y="199"/>
                      <a:pt x="151" y="199"/>
                      <a:pt x="151" y="199"/>
                    </a:cubicBezTo>
                    <a:cubicBezTo>
                      <a:pt x="151" y="196"/>
                      <a:pt x="145" y="196"/>
                      <a:pt x="144" y="199"/>
                    </a:cubicBezTo>
                    <a:cubicBezTo>
                      <a:pt x="143" y="204"/>
                      <a:pt x="136" y="207"/>
                      <a:pt x="126" y="208"/>
                    </a:cubicBezTo>
                    <a:cubicBezTo>
                      <a:pt x="121" y="208"/>
                      <a:pt x="117" y="209"/>
                      <a:pt x="116" y="210"/>
                    </a:cubicBezTo>
                    <a:cubicBezTo>
                      <a:pt x="111" y="214"/>
                      <a:pt x="104" y="215"/>
                      <a:pt x="83" y="214"/>
                    </a:cubicBezTo>
                    <a:cubicBezTo>
                      <a:pt x="53" y="213"/>
                      <a:pt x="44" y="211"/>
                      <a:pt x="44" y="208"/>
                    </a:cubicBezTo>
                    <a:cubicBezTo>
                      <a:pt x="44" y="207"/>
                      <a:pt x="44" y="203"/>
                      <a:pt x="44" y="200"/>
                    </a:cubicBezTo>
                    <a:cubicBezTo>
                      <a:pt x="43" y="197"/>
                      <a:pt x="43" y="191"/>
                      <a:pt x="42" y="186"/>
                    </a:cubicBezTo>
                    <a:cubicBezTo>
                      <a:pt x="42" y="177"/>
                      <a:pt x="39" y="173"/>
                      <a:pt x="32" y="172"/>
                    </a:cubicBezTo>
                    <a:cubicBezTo>
                      <a:pt x="23" y="170"/>
                      <a:pt x="6" y="158"/>
                      <a:pt x="6" y="154"/>
                    </a:cubicBezTo>
                    <a:cubicBezTo>
                      <a:pt x="6" y="153"/>
                      <a:pt x="6" y="152"/>
                      <a:pt x="6" y="152"/>
                    </a:cubicBezTo>
                    <a:cubicBezTo>
                      <a:pt x="3" y="139"/>
                      <a:pt x="3" y="139"/>
                      <a:pt x="3" y="139"/>
                    </a:cubicBezTo>
                    <a:cubicBezTo>
                      <a:pt x="2" y="133"/>
                      <a:pt x="1" y="128"/>
                      <a:pt x="0" y="127"/>
                    </a:cubicBezTo>
                    <a:cubicBezTo>
                      <a:pt x="0" y="126"/>
                      <a:pt x="1" y="126"/>
                      <a:pt x="62" y="144"/>
                    </a:cubicBezTo>
                    <a:cubicBezTo>
                      <a:pt x="86" y="151"/>
                      <a:pt x="106" y="157"/>
                      <a:pt x="106" y="157"/>
                    </a:cubicBezTo>
                    <a:cubicBezTo>
                      <a:pt x="106" y="156"/>
                      <a:pt x="114" y="128"/>
                      <a:pt x="122" y="93"/>
                    </a:cubicBezTo>
                    <a:cubicBezTo>
                      <a:pt x="131" y="59"/>
                      <a:pt x="138" y="29"/>
                      <a:pt x="139" y="28"/>
                    </a:cubicBezTo>
                    <a:cubicBezTo>
                      <a:pt x="139" y="27"/>
                      <a:pt x="142" y="32"/>
                      <a:pt x="145" y="40"/>
                    </a:cubicBezTo>
                    <a:cubicBezTo>
                      <a:pt x="151" y="54"/>
                      <a:pt x="151" y="55"/>
                      <a:pt x="150" y="68"/>
                    </a:cubicBezTo>
                    <a:cubicBezTo>
                      <a:pt x="149" y="84"/>
                      <a:pt x="151" y="89"/>
                      <a:pt x="156" y="84"/>
                    </a:cubicBezTo>
                    <a:cubicBezTo>
                      <a:pt x="158" y="81"/>
                      <a:pt x="159" y="79"/>
                      <a:pt x="158" y="70"/>
                    </a:cubicBezTo>
                    <a:cubicBezTo>
                      <a:pt x="158" y="65"/>
                      <a:pt x="157" y="52"/>
                      <a:pt x="157" y="42"/>
                    </a:cubicBezTo>
                    <a:cubicBezTo>
                      <a:pt x="156" y="25"/>
                      <a:pt x="156" y="25"/>
                      <a:pt x="156" y="25"/>
                    </a:cubicBezTo>
                    <a:cubicBezTo>
                      <a:pt x="161" y="20"/>
                      <a:pt x="161" y="20"/>
                      <a:pt x="161" y="20"/>
                    </a:cubicBezTo>
                    <a:cubicBezTo>
                      <a:pt x="165" y="16"/>
                      <a:pt x="166" y="16"/>
                      <a:pt x="171" y="17"/>
                    </a:cubicBezTo>
                    <a:cubicBezTo>
                      <a:pt x="174" y="18"/>
                      <a:pt x="178" y="20"/>
                      <a:pt x="180" y="22"/>
                    </a:cubicBezTo>
                    <a:cubicBezTo>
                      <a:pt x="183" y="26"/>
                      <a:pt x="183" y="26"/>
                      <a:pt x="181" y="22"/>
                    </a:cubicBezTo>
                    <a:cubicBezTo>
                      <a:pt x="180" y="20"/>
                      <a:pt x="178" y="17"/>
                      <a:pt x="178" y="14"/>
                    </a:cubicBezTo>
                    <a:cubicBezTo>
                      <a:pt x="176" y="8"/>
                      <a:pt x="180" y="3"/>
                      <a:pt x="189" y="2"/>
                    </a:cubicBezTo>
                    <a:cubicBezTo>
                      <a:pt x="196" y="0"/>
                      <a:pt x="202" y="3"/>
                      <a:pt x="208" y="10"/>
                    </a:cubicBezTo>
                    <a:cubicBezTo>
                      <a:pt x="213" y="17"/>
                      <a:pt x="212" y="23"/>
                      <a:pt x="202" y="35"/>
                    </a:cubicBezTo>
                    <a:cubicBezTo>
                      <a:pt x="194" y="45"/>
                      <a:pt x="194" y="45"/>
                      <a:pt x="194" y="45"/>
                    </a:cubicBezTo>
                    <a:cubicBezTo>
                      <a:pt x="195" y="63"/>
                      <a:pt x="195" y="63"/>
                      <a:pt x="195" y="63"/>
                    </a:cubicBezTo>
                    <a:cubicBezTo>
                      <a:pt x="195" y="83"/>
                      <a:pt x="196" y="94"/>
                      <a:pt x="199" y="103"/>
                    </a:cubicBezTo>
                    <a:cubicBezTo>
                      <a:pt x="201" y="108"/>
                      <a:pt x="201" y="109"/>
                      <a:pt x="198" y="116"/>
                    </a:cubicBezTo>
                    <a:cubicBezTo>
                      <a:pt x="195" y="121"/>
                      <a:pt x="194" y="125"/>
                      <a:pt x="195" y="128"/>
                    </a:cubicBezTo>
                    <a:cubicBezTo>
                      <a:pt x="196" y="136"/>
                      <a:pt x="205" y="148"/>
                      <a:pt x="218" y="159"/>
                    </a:cubicBezTo>
                    <a:cubicBezTo>
                      <a:pt x="233" y="171"/>
                      <a:pt x="238" y="181"/>
                      <a:pt x="235" y="190"/>
                    </a:cubicBezTo>
                    <a:cubicBezTo>
                      <a:pt x="234" y="194"/>
                      <a:pt x="234" y="194"/>
                      <a:pt x="226" y="193"/>
                    </a:cubicBezTo>
                    <a:cubicBezTo>
                      <a:pt x="221" y="192"/>
                      <a:pt x="217" y="192"/>
                      <a:pt x="216" y="191"/>
                    </a:cubicBezTo>
                    <a:cubicBezTo>
                      <a:pt x="216" y="190"/>
                      <a:pt x="214" y="190"/>
                      <a:pt x="213" y="190"/>
                    </a:cubicBezTo>
                    <a:cubicBezTo>
                      <a:pt x="210" y="190"/>
                      <a:pt x="210" y="194"/>
                      <a:pt x="215" y="202"/>
                    </a:cubicBezTo>
                    <a:cubicBezTo>
                      <a:pt x="223" y="214"/>
                      <a:pt x="221" y="221"/>
                      <a:pt x="210" y="227"/>
                    </a:cubicBezTo>
                    <a:cubicBezTo>
                      <a:pt x="204" y="229"/>
                      <a:pt x="200" y="230"/>
                      <a:pt x="192" y="22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07" name="Freeform 17">
                <a:extLst>
                  <a:ext uri="{FF2B5EF4-FFF2-40B4-BE49-F238E27FC236}">
                    <a16:creationId xmlns:a16="http://schemas.microsoft.com/office/drawing/2014/main" id="{3EFA34D3-A062-4A00-B3CB-C8D1C1033D40}"/>
                  </a:ext>
                </a:extLst>
              </p:cNvPr>
              <p:cNvSpPr>
                <a:spLocks/>
              </p:cNvSpPr>
              <p:nvPr/>
            </p:nvSpPr>
            <p:spPr bwMode="auto">
              <a:xfrm>
                <a:off x="5529197" y="2774592"/>
                <a:ext cx="107833" cy="154047"/>
              </a:xfrm>
              <a:custGeom>
                <a:avLst/>
                <a:gdLst>
                  <a:gd name="T0" fmla="*/ 8 w 24"/>
                  <a:gd name="T1" fmla="*/ 31 h 34"/>
                  <a:gd name="T2" fmla="*/ 8 w 24"/>
                  <a:gd name="T3" fmla="*/ 4 h 34"/>
                  <a:gd name="T4" fmla="*/ 19 w 24"/>
                  <a:gd name="T5" fmla="*/ 4 h 34"/>
                  <a:gd name="T6" fmla="*/ 16 w 24"/>
                  <a:gd name="T7" fmla="*/ 30 h 34"/>
                  <a:gd name="T8" fmla="*/ 8 w 24"/>
                  <a:gd name="T9" fmla="*/ 31 h 34"/>
                </a:gdLst>
                <a:ahLst/>
                <a:cxnLst>
                  <a:cxn ang="0">
                    <a:pos x="T0" y="T1"/>
                  </a:cxn>
                  <a:cxn ang="0">
                    <a:pos x="T2" y="T3"/>
                  </a:cxn>
                  <a:cxn ang="0">
                    <a:pos x="T4" y="T5"/>
                  </a:cxn>
                  <a:cxn ang="0">
                    <a:pos x="T6" y="T7"/>
                  </a:cxn>
                  <a:cxn ang="0">
                    <a:pos x="T8" y="T9"/>
                  </a:cxn>
                </a:cxnLst>
                <a:rect l="0" t="0" r="r" b="b"/>
                <a:pathLst>
                  <a:path w="24" h="34">
                    <a:moveTo>
                      <a:pt x="8" y="31"/>
                    </a:moveTo>
                    <a:cubicBezTo>
                      <a:pt x="0" y="26"/>
                      <a:pt x="0" y="12"/>
                      <a:pt x="8" y="4"/>
                    </a:cubicBezTo>
                    <a:cubicBezTo>
                      <a:pt x="11" y="0"/>
                      <a:pt x="15" y="0"/>
                      <a:pt x="19" y="4"/>
                    </a:cubicBezTo>
                    <a:cubicBezTo>
                      <a:pt x="24" y="8"/>
                      <a:pt x="22" y="25"/>
                      <a:pt x="16" y="30"/>
                    </a:cubicBezTo>
                    <a:cubicBezTo>
                      <a:pt x="12" y="34"/>
                      <a:pt x="12" y="34"/>
                      <a:pt x="8"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08" name="Freeform 18">
                <a:extLst>
                  <a:ext uri="{FF2B5EF4-FFF2-40B4-BE49-F238E27FC236}">
                    <a16:creationId xmlns:a16="http://schemas.microsoft.com/office/drawing/2014/main" id="{64AEFC86-785F-4132-BD22-AB57D1544EEE}"/>
                  </a:ext>
                </a:extLst>
              </p:cNvPr>
              <p:cNvSpPr>
                <a:spLocks/>
              </p:cNvSpPr>
              <p:nvPr/>
            </p:nvSpPr>
            <p:spPr bwMode="auto">
              <a:xfrm>
                <a:off x="5213401" y="2711049"/>
                <a:ext cx="182931" cy="146344"/>
              </a:xfrm>
              <a:custGeom>
                <a:avLst/>
                <a:gdLst>
                  <a:gd name="T0" fmla="*/ 3 w 40"/>
                  <a:gd name="T1" fmla="*/ 29 h 32"/>
                  <a:gd name="T2" fmla="*/ 11 w 40"/>
                  <a:gd name="T3" fmla="*/ 4 h 32"/>
                  <a:gd name="T4" fmla="*/ 30 w 40"/>
                  <a:gd name="T5" fmla="*/ 0 h 32"/>
                  <a:gd name="T6" fmla="*/ 39 w 40"/>
                  <a:gd name="T7" fmla="*/ 4 h 32"/>
                  <a:gd name="T8" fmla="*/ 36 w 40"/>
                  <a:gd name="T9" fmla="*/ 16 h 32"/>
                  <a:gd name="T10" fmla="*/ 12 w 40"/>
                  <a:gd name="T11" fmla="*/ 31 h 32"/>
                  <a:gd name="T12" fmla="*/ 3 w 40"/>
                  <a:gd name="T13" fmla="*/ 29 h 32"/>
                </a:gdLst>
                <a:ahLst/>
                <a:cxnLst>
                  <a:cxn ang="0">
                    <a:pos x="T0" y="T1"/>
                  </a:cxn>
                  <a:cxn ang="0">
                    <a:pos x="T2" y="T3"/>
                  </a:cxn>
                  <a:cxn ang="0">
                    <a:pos x="T4" y="T5"/>
                  </a:cxn>
                  <a:cxn ang="0">
                    <a:pos x="T6" y="T7"/>
                  </a:cxn>
                  <a:cxn ang="0">
                    <a:pos x="T8" y="T9"/>
                  </a:cxn>
                  <a:cxn ang="0">
                    <a:pos x="T10" y="T11"/>
                  </a:cxn>
                  <a:cxn ang="0">
                    <a:pos x="T12" y="T13"/>
                  </a:cxn>
                </a:cxnLst>
                <a:rect l="0" t="0" r="r" b="b"/>
                <a:pathLst>
                  <a:path w="40" h="32">
                    <a:moveTo>
                      <a:pt x="3" y="29"/>
                    </a:moveTo>
                    <a:cubicBezTo>
                      <a:pt x="0" y="23"/>
                      <a:pt x="5" y="9"/>
                      <a:pt x="11" y="4"/>
                    </a:cubicBezTo>
                    <a:cubicBezTo>
                      <a:pt x="17" y="0"/>
                      <a:pt x="19" y="0"/>
                      <a:pt x="30" y="0"/>
                    </a:cubicBezTo>
                    <a:cubicBezTo>
                      <a:pt x="36" y="0"/>
                      <a:pt x="37" y="1"/>
                      <a:pt x="39" y="4"/>
                    </a:cubicBezTo>
                    <a:cubicBezTo>
                      <a:pt x="40" y="8"/>
                      <a:pt x="40" y="9"/>
                      <a:pt x="36" y="16"/>
                    </a:cubicBezTo>
                    <a:cubicBezTo>
                      <a:pt x="30" y="25"/>
                      <a:pt x="22" y="30"/>
                      <a:pt x="12" y="31"/>
                    </a:cubicBezTo>
                    <a:cubicBezTo>
                      <a:pt x="6" y="32"/>
                      <a:pt x="5" y="31"/>
                      <a:pt x="3" y="2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09" name="Freeform 19">
                <a:extLst>
                  <a:ext uri="{FF2B5EF4-FFF2-40B4-BE49-F238E27FC236}">
                    <a16:creationId xmlns:a16="http://schemas.microsoft.com/office/drawing/2014/main" id="{949A994C-0EEB-4332-A83F-1739CEA707DA}"/>
                  </a:ext>
                </a:extLst>
              </p:cNvPr>
              <p:cNvSpPr>
                <a:spLocks/>
              </p:cNvSpPr>
              <p:nvPr/>
            </p:nvSpPr>
            <p:spPr bwMode="auto">
              <a:xfrm>
                <a:off x="4936117" y="2177662"/>
                <a:ext cx="573823" cy="523758"/>
              </a:xfrm>
              <a:custGeom>
                <a:avLst/>
                <a:gdLst>
                  <a:gd name="T0" fmla="*/ 33 w 126"/>
                  <a:gd name="T1" fmla="*/ 115 h 115"/>
                  <a:gd name="T2" fmla="*/ 30 w 126"/>
                  <a:gd name="T3" fmla="*/ 108 h 115"/>
                  <a:gd name="T4" fmla="*/ 28 w 126"/>
                  <a:gd name="T5" fmla="*/ 99 h 115"/>
                  <a:gd name="T6" fmla="*/ 19 w 126"/>
                  <a:gd name="T7" fmla="*/ 97 h 115"/>
                  <a:gd name="T8" fmla="*/ 9 w 126"/>
                  <a:gd name="T9" fmla="*/ 83 h 115"/>
                  <a:gd name="T10" fmla="*/ 15 w 126"/>
                  <a:gd name="T11" fmla="*/ 67 h 115"/>
                  <a:gd name="T12" fmla="*/ 20 w 126"/>
                  <a:gd name="T13" fmla="*/ 9 h 115"/>
                  <a:gd name="T14" fmla="*/ 27 w 126"/>
                  <a:gd name="T15" fmla="*/ 0 h 115"/>
                  <a:gd name="T16" fmla="*/ 35 w 126"/>
                  <a:gd name="T17" fmla="*/ 4 h 115"/>
                  <a:gd name="T18" fmla="*/ 41 w 126"/>
                  <a:gd name="T19" fmla="*/ 14 h 115"/>
                  <a:gd name="T20" fmla="*/ 48 w 126"/>
                  <a:gd name="T21" fmla="*/ 20 h 115"/>
                  <a:gd name="T22" fmla="*/ 64 w 126"/>
                  <a:gd name="T23" fmla="*/ 28 h 115"/>
                  <a:gd name="T24" fmla="*/ 85 w 126"/>
                  <a:gd name="T25" fmla="*/ 43 h 115"/>
                  <a:gd name="T26" fmla="*/ 94 w 126"/>
                  <a:gd name="T27" fmla="*/ 51 h 115"/>
                  <a:gd name="T28" fmla="*/ 97 w 126"/>
                  <a:gd name="T29" fmla="*/ 59 h 115"/>
                  <a:gd name="T30" fmla="*/ 101 w 126"/>
                  <a:gd name="T31" fmla="*/ 67 h 115"/>
                  <a:gd name="T32" fmla="*/ 108 w 126"/>
                  <a:gd name="T33" fmla="*/ 68 h 115"/>
                  <a:gd name="T34" fmla="*/ 121 w 126"/>
                  <a:gd name="T35" fmla="*/ 71 h 115"/>
                  <a:gd name="T36" fmla="*/ 126 w 126"/>
                  <a:gd name="T37" fmla="*/ 80 h 115"/>
                  <a:gd name="T38" fmla="*/ 118 w 126"/>
                  <a:gd name="T39" fmla="*/ 93 h 115"/>
                  <a:gd name="T40" fmla="*/ 107 w 126"/>
                  <a:gd name="T41" fmla="*/ 93 h 115"/>
                  <a:gd name="T42" fmla="*/ 95 w 126"/>
                  <a:gd name="T43" fmla="*/ 91 h 115"/>
                  <a:gd name="T44" fmla="*/ 87 w 126"/>
                  <a:gd name="T45" fmla="*/ 88 h 115"/>
                  <a:gd name="T46" fmla="*/ 84 w 126"/>
                  <a:gd name="T47" fmla="*/ 83 h 115"/>
                  <a:gd name="T48" fmla="*/ 69 w 126"/>
                  <a:gd name="T49" fmla="*/ 75 h 115"/>
                  <a:gd name="T50" fmla="*/ 67 w 126"/>
                  <a:gd name="T51" fmla="*/ 80 h 115"/>
                  <a:gd name="T52" fmla="*/ 60 w 126"/>
                  <a:gd name="T53" fmla="*/ 95 h 115"/>
                  <a:gd name="T54" fmla="*/ 53 w 126"/>
                  <a:gd name="T55" fmla="*/ 103 h 115"/>
                  <a:gd name="T56" fmla="*/ 42 w 126"/>
                  <a:gd name="T57" fmla="*/ 115 h 115"/>
                  <a:gd name="T58" fmla="*/ 33 w 126"/>
                  <a:gd name="T59"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6" h="115">
                    <a:moveTo>
                      <a:pt x="33" y="115"/>
                    </a:moveTo>
                    <a:cubicBezTo>
                      <a:pt x="31" y="114"/>
                      <a:pt x="30" y="113"/>
                      <a:pt x="30" y="108"/>
                    </a:cubicBezTo>
                    <a:cubicBezTo>
                      <a:pt x="30" y="104"/>
                      <a:pt x="29" y="100"/>
                      <a:pt x="28" y="99"/>
                    </a:cubicBezTo>
                    <a:cubicBezTo>
                      <a:pt x="28" y="98"/>
                      <a:pt x="23" y="97"/>
                      <a:pt x="19" y="97"/>
                    </a:cubicBezTo>
                    <a:cubicBezTo>
                      <a:pt x="2" y="97"/>
                      <a:pt x="0" y="93"/>
                      <a:pt x="9" y="83"/>
                    </a:cubicBezTo>
                    <a:cubicBezTo>
                      <a:pt x="14" y="78"/>
                      <a:pt x="15" y="75"/>
                      <a:pt x="15" y="67"/>
                    </a:cubicBezTo>
                    <a:cubicBezTo>
                      <a:pt x="14" y="39"/>
                      <a:pt x="15" y="30"/>
                      <a:pt x="20" y="9"/>
                    </a:cubicBezTo>
                    <a:cubicBezTo>
                      <a:pt x="22" y="2"/>
                      <a:pt x="23" y="1"/>
                      <a:pt x="27" y="0"/>
                    </a:cubicBezTo>
                    <a:cubicBezTo>
                      <a:pt x="32" y="0"/>
                      <a:pt x="33" y="0"/>
                      <a:pt x="35" y="4"/>
                    </a:cubicBezTo>
                    <a:cubicBezTo>
                      <a:pt x="37" y="6"/>
                      <a:pt x="40" y="10"/>
                      <a:pt x="41" y="14"/>
                    </a:cubicBezTo>
                    <a:cubicBezTo>
                      <a:pt x="43" y="19"/>
                      <a:pt x="44" y="20"/>
                      <a:pt x="48" y="20"/>
                    </a:cubicBezTo>
                    <a:cubicBezTo>
                      <a:pt x="51" y="20"/>
                      <a:pt x="56" y="23"/>
                      <a:pt x="64" y="28"/>
                    </a:cubicBezTo>
                    <a:cubicBezTo>
                      <a:pt x="71" y="33"/>
                      <a:pt x="80" y="39"/>
                      <a:pt x="85" y="43"/>
                    </a:cubicBezTo>
                    <a:cubicBezTo>
                      <a:pt x="90" y="46"/>
                      <a:pt x="94" y="50"/>
                      <a:pt x="94" y="51"/>
                    </a:cubicBezTo>
                    <a:cubicBezTo>
                      <a:pt x="94" y="52"/>
                      <a:pt x="95" y="55"/>
                      <a:pt x="97" y="59"/>
                    </a:cubicBezTo>
                    <a:cubicBezTo>
                      <a:pt x="99" y="62"/>
                      <a:pt x="101" y="65"/>
                      <a:pt x="101" y="67"/>
                    </a:cubicBezTo>
                    <a:cubicBezTo>
                      <a:pt x="101" y="69"/>
                      <a:pt x="102" y="69"/>
                      <a:pt x="108" y="68"/>
                    </a:cubicBezTo>
                    <a:cubicBezTo>
                      <a:pt x="115" y="68"/>
                      <a:pt x="116" y="68"/>
                      <a:pt x="121" y="71"/>
                    </a:cubicBezTo>
                    <a:cubicBezTo>
                      <a:pt x="126" y="75"/>
                      <a:pt x="126" y="76"/>
                      <a:pt x="126" y="80"/>
                    </a:cubicBezTo>
                    <a:cubicBezTo>
                      <a:pt x="125" y="88"/>
                      <a:pt x="124" y="89"/>
                      <a:pt x="118" y="93"/>
                    </a:cubicBezTo>
                    <a:cubicBezTo>
                      <a:pt x="113" y="96"/>
                      <a:pt x="113" y="96"/>
                      <a:pt x="107" y="93"/>
                    </a:cubicBezTo>
                    <a:cubicBezTo>
                      <a:pt x="103" y="91"/>
                      <a:pt x="98" y="90"/>
                      <a:pt x="95" y="91"/>
                    </a:cubicBezTo>
                    <a:cubicBezTo>
                      <a:pt x="91" y="91"/>
                      <a:pt x="89" y="91"/>
                      <a:pt x="87" y="88"/>
                    </a:cubicBezTo>
                    <a:cubicBezTo>
                      <a:pt x="85" y="86"/>
                      <a:pt x="84" y="84"/>
                      <a:pt x="84" y="83"/>
                    </a:cubicBezTo>
                    <a:cubicBezTo>
                      <a:pt x="85" y="79"/>
                      <a:pt x="72" y="72"/>
                      <a:pt x="69" y="75"/>
                    </a:cubicBezTo>
                    <a:cubicBezTo>
                      <a:pt x="68" y="76"/>
                      <a:pt x="67" y="78"/>
                      <a:pt x="67" y="80"/>
                    </a:cubicBezTo>
                    <a:cubicBezTo>
                      <a:pt x="67" y="85"/>
                      <a:pt x="64" y="91"/>
                      <a:pt x="60" y="95"/>
                    </a:cubicBezTo>
                    <a:cubicBezTo>
                      <a:pt x="58" y="97"/>
                      <a:pt x="55" y="100"/>
                      <a:pt x="53" y="103"/>
                    </a:cubicBezTo>
                    <a:cubicBezTo>
                      <a:pt x="49" y="109"/>
                      <a:pt x="43" y="114"/>
                      <a:pt x="42" y="115"/>
                    </a:cubicBezTo>
                    <a:cubicBezTo>
                      <a:pt x="38" y="115"/>
                      <a:pt x="35" y="115"/>
                      <a:pt x="33" y="11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10" name="Freeform 20">
                <a:extLst>
                  <a:ext uri="{FF2B5EF4-FFF2-40B4-BE49-F238E27FC236}">
                    <a16:creationId xmlns:a16="http://schemas.microsoft.com/office/drawing/2014/main" id="{E9EEF67F-85AE-4CB3-88A2-D64382DE32F2}"/>
                  </a:ext>
                </a:extLst>
              </p:cNvPr>
              <p:cNvSpPr>
                <a:spLocks/>
              </p:cNvSpPr>
              <p:nvPr/>
            </p:nvSpPr>
            <p:spPr bwMode="auto">
              <a:xfrm>
                <a:off x="4092713" y="1420909"/>
                <a:ext cx="250326" cy="273433"/>
              </a:xfrm>
              <a:custGeom>
                <a:avLst/>
                <a:gdLst>
                  <a:gd name="T0" fmla="*/ 32 w 55"/>
                  <a:gd name="T1" fmla="*/ 58 h 60"/>
                  <a:gd name="T2" fmla="*/ 15 w 55"/>
                  <a:gd name="T3" fmla="*/ 47 h 60"/>
                  <a:gd name="T4" fmla="*/ 9 w 55"/>
                  <a:gd name="T5" fmla="*/ 43 h 60"/>
                  <a:gd name="T6" fmla="*/ 0 w 55"/>
                  <a:gd name="T7" fmla="*/ 34 h 60"/>
                  <a:gd name="T8" fmla="*/ 25 w 55"/>
                  <a:gd name="T9" fmla="*/ 0 h 60"/>
                  <a:gd name="T10" fmla="*/ 45 w 55"/>
                  <a:gd name="T11" fmla="*/ 22 h 60"/>
                  <a:gd name="T12" fmla="*/ 55 w 55"/>
                  <a:gd name="T13" fmla="*/ 49 h 60"/>
                  <a:gd name="T14" fmla="*/ 50 w 55"/>
                  <a:gd name="T15" fmla="*/ 56 h 60"/>
                  <a:gd name="T16" fmla="*/ 32 w 55"/>
                  <a:gd name="T17"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60">
                    <a:moveTo>
                      <a:pt x="32" y="58"/>
                    </a:moveTo>
                    <a:cubicBezTo>
                      <a:pt x="27" y="56"/>
                      <a:pt x="21" y="52"/>
                      <a:pt x="15" y="47"/>
                    </a:cubicBezTo>
                    <a:cubicBezTo>
                      <a:pt x="12" y="44"/>
                      <a:pt x="10" y="43"/>
                      <a:pt x="9" y="43"/>
                    </a:cubicBezTo>
                    <a:cubicBezTo>
                      <a:pt x="7" y="43"/>
                      <a:pt x="0" y="37"/>
                      <a:pt x="0" y="34"/>
                    </a:cubicBezTo>
                    <a:cubicBezTo>
                      <a:pt x="0" y="30"/>
                      <a:pt x="22" y="0"/>
                      <a:pt x="25" y="0"/>
                    </a:cubicBezTo>
                    <a:cubicBezTo>
                      <a:pt x="29" y="0"/>
                      <a:pt x="42" y="14"/>
                      <a:pt x="45" y="22"/>
                    </a:cubicBezTo>
                    <a:cubicBezTo>
                      <a:pt x="51" y="33"/>
                      <a:pt x="55" y="44"/>
                      <a:pt x="55" y="49"/>
                    </a:cubicBezTo>
                    <a:cubicBezTo>
                      <a:pt x="55" y="52"/>
                      <a:pt x="54" y="53"/>
                      <a:pt x="50" y="56"/>
                    </a:cubicBezTo>
                    <a:cubicBezTo>
                      <a:pt x="44" y="60"/>
                      <a:pt x="39" y="60"/>
                      <a:pt x="32" y="5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11" name="Freeform 21">
                <a:extLst>
                  <a:ext uri="{FF2B5EF4-FFF2-40B4-BE49-F238E27FC236}">
                    <a16:creationId xmlns:a16="http://schemas.microsoft.com/office/drawing/2014/main" id="{62DDACA9-62CF-4302-9AA5-AE3541288C9B}"/>
                  </a:ext>
                </a:extLst>
              </p:cNvPr>
              <p:cNvSpPr>
                <a:spLocks/>
              </p:cNvSpPr>
              <p:nvPr/>
            </p:nvSpPr>
            <p:spPr bwMode="auto">
              <a:xfrm>
                <a:off x="4712750" y="583281"/>
                <a:ext cx="2087330" cy="2077703"/>
              </a:xfrm>
              <a:custGeom>
                <a:avLst/>
                <a:gdLst>
                  <a:gd name="T0" fmla="*/ 379 w 458"/>
                  <a:gd name="T1" fmla="*/ 451 h 456"/>
                  <a:gd name="T2" fmla="*/ 333 w 458"/>
                  <a:gd name="T3" fmla="*/ 433 h 456"/>
                  <a:gd name="T4" fmla="*/ 323 w 458"/>
                  <a:gd name="T5" fmla="*/ 412 h 456"/>
                  <a:gd name="T6" fmla="*/ 297 w 458"/>
                  <a:gd name="T7" fmla="*/ 396 h 456"/>
                  <a:gd name="T8" fmla="*/ 259 w 458"/>
                  <a:gd name="T9" fmla="*/ 391 h 456"/>
                  <a:gd name="T10" fmla="*/ 229 w 458"/>
                  <a:gd name="T11" fmla="*/ 402 h 456"/>
                  <a:gd name="T12" fmla="*/ 211 w 458"/>
                  <a:gd name="T13" fmla="*/ 361 h 456"/>
                  <a:gd name="T14" fmla="*/ 254 w 458"/>
                  <a:gd name="T15" fmla="*/ 349 h 456"/>
                  <a:gd name="T16" fmla="*/ 270 w 458"/>
                  <a:gd name="T17" fmla="*/ 330 h 456"/>
                  <a:gd name="T18" fmla="*/ 262 w 458"/>
                  <a:gd name="T19" fmla="*/ 306 h 456"/>
                  <a:gd name="T20" fmla="*/ 276 w 458"/>
                  <a:gd name="T21" fmla="*/ 264 h 456"/>
                  <a:gd name="T22" fmla="*/ 242 w 458"/>
                  <a:gd name="T23" fmla="*/ 218 h 456"/>
                  <a:gd name="T24" fmla="*/ 222 w 458"/>
                  <a:gd name="T25" fmla="*/ 208 h 456"/>
                  <a:gd name="T26" fmla="*/ 211 w 458"/>
                  <a:gd name="T27" fmla="*/ 201 h 456"/>
                  <a:gd name="T28" fmla="*/ 194 w 458"/>
                  <a:gd name="T29" fmla="*/ 192 h 456"/>
                  <a:gd name="T30" fmla="*/ 173 w 458"/>
                  <a:gd name="T31" fmla="*/ 163 h 456"/>
                  <a:gd name="T32" fmla="*/ 157 w 458"/>
                  <a:gd name="T33" fmla="*/ 173 h 456"/>
                  <a:gd name="T34" fmla="*/ 112 w 458"/>
                  <a:gd name="T35" fmla="*/ 178 h 456"/>
                  <a:gd name="T36" fmla="*/ 51 w 458"/>
                  <a:gd name="T37" fmla="*/ 168 h 456"/>
                  <a:gd name="T38" fmla="*/ 7 w 458"/>
                  <a:gd name="T39" fmla="*/ 138 h 456"/>
                  <a:gd name="T40" fmla="*/ 30 w 458"/>
                  <a:gd name="T41" fmla="*/ 131 h 456"/>
                  <a:gd name="T42" fmla="*/ 1 w 458"/>
                  <a:gd name="T43" fmla="*/ 100 h 456"/>
                  <a:gd name="T44" fmla="*/ 68 w 458"/>
                  <a:gd name="T45" fmla="*/ 11 h 456"/>
                  <a:gd name="T46" fmla="*/ 55 w 458"/>
                  <a:gd name="T47" fmla="*/ 40 h 456"/>
                  <a:gd name="T48" fmla="*/ 56 w 458"/>
                  <a:gd name="T49" fmla="*/ 85 h 456"/>
                  <a:gd name="T50" fmla="*/ 64 w 458"/>
                  <a:gd name="T51" fmla="*/ 70 h 456"/>
                  <a:gd name="T52" fmla="*/ 65 w 458"/>
                  <a:gd name="T53" fmla="*/ 39 h 456"/>
                  <a:gd name="T54" fmla="*/ 86 w 458"/>
                  <a:gd name="T55" fmla="*/ 10 h 456"/>
                  <a:gd name="T56" fmla="*/ 132 w 458"/>
                  <a:gd name="T57" fmla="*/ 50 h 456"/>
                  <a:gd name="T58" fmla="*/ 153 w 458"/>
                  <a:gd name="T59" fmla="*/ 55 h 456"/>
                  <a:gd name="T60" fmla="*/ 192 w 458"/>
                  <a:gd name="T61" fmla="*/ 46 h 456"/>
                  <a:gd name="T62" fmla="*/ 216 w 458"/>
                  <a:gd name="T63" fmla="*/ 70 h 456"/>
                  <a:gd name="T64" fmla="*/ 236 w 458"/>
                  <a:gd name="T65" fmla="*/ 88 h 456"/>
                  <a:gd name="T66" fmla="*/ 263 w 458"/>
                  <a:gd name="T67" fmla="*/ 90 h 456"/>
                  <a:gd name="T68" fmla="*/ 287 w 458"/>
                  <a:gd name="T69" fmla="*/ 108 h 456"/>
                  <a:gd name="T70" fmla="*/ 307 w 458"/>
                  <a:gd name="T71" fmla="*/ 130 h 456"/>
                  <a:gd name="T72" fmla="*/ 336 w 458"/>
                  <a:gd name="T73" fmla="*/ 144 h 456"/>
                  <a:gd name="T74" fmla="*/ 351 w 458"/>
                  <a:gd name="T75" fmla="*/ 166 h 456"/>
                  <a:gd name="T76" fmla="*/ 332 w 458"/>
                  <a:gd name="T77" fmla="*/ 175 h 456"/>
                  <a:gd name="T78" fmla="*/ 353 w 458"/>
                  <a:gd name="T79" fmla="*/ 205 h 456"/>
                  <a:gd name="T80" fmla="*/ 384 w 458"/>
                  <a:gd name="T81" fmla="*/ 211 h 456"/>
                  <a:gd name="T82" fmla="*/ 413 w 458"/>
                  <a:gd name="T83" fmla="*/ 227 h 456"/>
                  <a:gd name="T84" fmla="*/ 425 w 458"/>
                  <a:gd name="T85" fmla="*/ 238 h 456"/>
                  <a:gd name="T86" fmla="*/ 451 w 458"/>
                  <a:gd name="T87" fmla="*/ 235 h 456"/>
                  <a:gd name="T88" fmla="*/ 452 w 458"/>
                  <a:gd name="T89" fmla="*/ 268 h 456"/>
                  <a:gd name="T90" fmla="*/ 444 w 458"/>
                  <a:gd name="T91" fmla="*/ 296 h 456"/>
                  <a:gd name="T92" fmla="*/ 444 w 458"/>
                  <a:gd name="T93" fmla="*/ 321 h 456"/>
                  <a:gd name="T94" fmla="*/ 410 w 458"/>
                  <a:gd name="T95" fmla="*/ 308 h 456"/>
                  <a:gd name="T96" fmla="*/ 372 w 458"/>
                  <a:gd name="T97" fmla="*/ 283 h 456"/>
                  <a:gd name="T98" fmla="*/ 369 w 458"/>
                  <a:gd name="T99" fmla="*/ 292 h 456"/>
                  <a:gd name="T100" fmla="*/ 368 w 458"/>
                  <a:gd name="T101" fmla="*/ 311 h 456"/>
                  <a:gd name="T102" fmla="*/ 410 w 458"/>
                  <a:gd name="T103" fmla="*/ 337 h 456"/>
                  <a:gd name="T104" fmla="*/ 427 w 458"/>
                  <a:gd name="T105" fmla="*/ 354 h 456"/>
                  <a:gd name="T106" fmla="*/ 450 w 458"/>
                  <a:gd name="T107" fmla="*/ 400 h 456"/>
                  <a:gd name="T108" fmla="*/ 391 w 458"/>
                  <a:gd name="T109" fmla="*/ 398 h 456"/>
                  <a:gd name="T110" fmla="*/ 384 w 458"/>
                  <a:gd name="T111" fmla="*/ 406 h 456"/>
                  <a:gd name="T112" fmla="*/ 439 w 458"/>
                  <a:gd name="T113" fmla="*/ 438 h 456"/>
                  <a:gd name="T114" fmla="*/ 430 w 458"/>
                  <a:gd name="T115" fmla="*/ 455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8" h="456">
                    <a:moveTo>
                      <a:pt x="421" y="455"/>
                    </a:moveTo>
                    <a:cubicBezTo>
                      <a:pt x="421" y="455"/>
                      <a:pt x="412" y="454"/>
                      <a:pt x="402" y="454"/>
                    </a:cubicBezTo>
                    <a:cubicBezTo>
                      <a:pt x="386" y="453"/>
                      <a:pt x="381" y="452"/>
                      <a:pt x="379" y="451"/>
                    </a:cubicBezTo>
                    <a:cubicBezTo>
                      <a:pt x="377" y="449"/>
                      <a:pt x="374" y="446"/>
                      <a:pt x="372" y="444"/>
                    </a:cubicBezTo>
                    <a:cubicBezTo>
                      <a:pt x="368" y="441"/>
                      <a:pt x="366" y="441"/>
                      <a:pt x="360" y="441"/>
                    </a:cubicBezTo>
                    <a:cubicBezTo>
                      <a:pt x="352" y="441"/>
                      <a:pt x="348" y="440"/>
                      <a:pt x="333" y="433"/>
                    </a:cubicBezTo>
                    <a:cubicBezTo>
                      <a:pt x="324" y="429"/>
                      <a:pt x="323" y="428"/>
                      <a:pt x="321" y="423"/>
                    </a:cubicBezTo>
                    <a:cubicBezTo>
                      <a:pt x="320" y="418"/>
                      <a:pt x="320" y="417"/>
                      <a:pt x="322" y="416"/>
                    </a:cubicBezTo>
                    <a:cubicBezTo>
                      <a:pt x="324" y="415"/>
                      <a:pt x="325" y="412"/>
                      <a:pt x="323" y="412"/>
                    </a:cubicBezTo>
                    <a:cubicBezTo>
                      <a:pt x="322" y="412"/>
                      <a:pt x="318" y="410"/>
                      <a:pt x="314" y="407"/>
                    </a:cubicBezTo>
                    <a:cubicBezTo>
                      <a:pt x="310" y="405"/>
                      <a:pt x="305" y="402"/>
                      <a:pt x="303" y="401"/>
                    </a:cubicBezTo>
                    <a:cubicBezTo>
                      <a:pt x="300" y="401"/>
                      <a:pt x="298" y="399"/>
                      <a:pt x="297" y="396"/>
                    </a:cubicBezTo>
                    <a:cubicBezTo>
                      <a:pt x="293" y="390"/>
                      <a:pt x="286" y="386"/>
                      <a:pt x="278" y="385"/>
                    </a:cubicBezTo>
                    <a:cubicBezTo>
                      <a:pt x="272" y="385"/>
                      <a:pt x="271" y="385"/>
                      <a:pt x="268" y="388"/>
                    </a:cubicBezTo>
                    <a:cubicBezTo>
                      <a:pt x="266" y="390"/>
                      <a:pt x="263" y="391"/>
                      <a:pt x="259" y="391"/>
                    </a:cubicBezTo>
                    <a:cubicBezTo>
                      <a:pt x="253" y="391"/>
                      <a:pt x="252" y="392"/>
                      <a:pt x="246" y="396"/>
                    </a:cubicBezTo>
                    <a:cubicBezTo>
                      <a:pt x="240" y="402"/>
                      <a:pt x="240" y="402"/>
                      <a:pt x="240" y="402"/>
                    </a:cubicBezTo>
                    <a:cubicBezTo>
                      <a:pt x="229" y="402"/>
                      <a:pt x="229" y="402"/>
                      <a:pt x="229" y="402"/>
                    </a:cubicBezTo>
                    <a:cubicBezTo>
                      <a:pt x="209" y="402"/>
                      <a:pt x="205" y="399"/>
                      <a:pt x="203" y="381"/>
                    </a:cubicBezTo>
                    <a:cubicBezTo>
                      <a:pt x="202" y="375"/>
                      <a:pt x="203" y="374"/>
                      <a:pt x="206" y="370"/>
                    </a:cubicBezTo>
                    <a:cubicBezTo>
                      <a:pt x="210" y="367"/>
                      <a:pt x="211" y="365"/>
                      <a:pt x="211" y="361"/>
                    </a:cubicBezTo>
                    <a:cubicBezTo>
                      <a:pt x="211" y="357"/>
                      <a:pt x="212" y="355"/>
                      <a:pt x="213" y="354"/>
                    </a:cubicBezTo>
                    <a:cubicBezTo>
                      <a:pt x="215" y="354"/>
                      <a:pt x="223" y="353"/>
                      <a:pt x="233" y="353"/>
                    </a:cubicBezTo>
                    <a:cubicBezTo>
                      <a:pt x="248" y="353"/>
                      <a:pt x="250" y="352"/>
                      <a:pt x="254" y="349"/>
                    </a:cubicBezTo>
                    <a:cubicBezTo>
                      <a:pt x="260" y="344"/>
                      <a:pt x="267" y="341"/>
                      <a:pt x="270" y="341"/>
                    </a:cubicBezTo>
                    <a:cubicBezTo>
                      <a:pt x="273" y="341"/>
                      <a:pt x="273" y="341"/>
                      <a:pt x="273" y="338"/>
                    </a:cubicBezTo>
                    <a:cubicBezTo>
                      <a:pt x="271" y="334"/>
                      <a:pt x="271" y="331"/>
                      <a:pt x="270" y="330"/>
                    </a:cubicBezTo>
                    <a:cubicBezTo>
                      <a:pt x="270" y="329"/>
                      <a:pt x="268" y="327"/>
                      <a:pt x="264" y="325"/>
                    </a:cubicBezTo>
                    <a:cubicBezTo>
                      <a:pt x="259" y="321"/>
                      <a:pt x="259" y="321"/>
                      <a:pt x="259" y="316"/>
                    </a:cubicBezTo>
                    <a:cubicBezTo>
                      <a:pt x="260" y="313"/>
                      <a:pt x="261" y="309"/>
                      <a:pt x="262" y="306"/>
                    </a:cubicBezTo>
                    <a:cubicBezTo>
                      <a:pt x="263" y="304"/>
                      <a:pt x="268" y="296"/>
                      <a:pt x="272" y="288"/>
                    </a:cubicBezTo>
                    <a:cubicBezTo>
                      <a:pt x="279" y="274"/>
                      <a:pt x="279" y="274"/>
                      <a:pt x="279" y="274"/>
                    </a:cubicBezTo>
                    <a:cubicBezTo>
                      <a:pt x="276" y="264"/>
                      <a:pt x="276" y="264"/>
                      <a:pt x="276" y="264"/>
                    </a:cubicBezTo>
                    <a:cubicBezTo>
                      <a:pt x="273" y="254"/>
                      <a:pt x="265" y="241"/>
                      <a:pt x="258" y="235"/>
                    </a:cubicBezTo>
                    <a:cubicBezTo>
                      <a:pt x="257" y="234"/>
                      <a:pt x="254" y="231"/>
                      <a:pt x="252" y="228"/>
                    </a:cubicBezTo>
                    <a:cubicBezTo>
                      <a:pt x="250" y="225"/>
                      <a:pt x="246" y="221"/>
                      <a:pt x="242" y="218"/>
                    </a:cubicBezTo>
                    <a:cubicBezTo>
                      <a:pt x="236" y="215"/>
                      <a:pt x="235" y="214"/>
                      <a:pt x="234" y="210"/>
                    </a:cubicBezTo>
                    <a:cubicBezTo>
                      <a:pt x="233" y="205"/>
                      <a:pt x="232" y="205"/>
                      <a:pt x="228" y="205"/>
                    </a:cubicBezTo>
                    <a:cubicBezTo>
                      <a:pt x="226" y="205"/>
                      <a:pt x="223" y="207"/>
                      <a:pt x="222" y="208"/>
                    </a:cubicBezTo>
                    <a:cubicBezTo>
                      <a:pt x="221" y="209"/>
                      <a:pt x="217" y="211"/>
                      <a:pt x="214" y="212"/>
                    </a:cubicBezTo>
                    <a:cubicBezTo>
                      <a:pt x="209" y="215"/>
                      <a:pt x="208" y="215"/>
                      <a:pt x="207" y="213"/>
                    </a:cubicBezTo>
                    <a:cubicBezTo>
                      <a:pt x="204" y="210"/>
                      <a:pt x="206" y="205"/>
                      <a:pt x="211" y="201"/>
                    </a:cubicBezTo>
                    <a:cubicBezTo>
                      <a:pt x="216" y="197"/>
                      <a:pt x="216" y="197"/>
                      <a:pt x="213" y="195"/>
                    </a:cubicBezTo>
                    <a:cubicBezTo>
                      <a:pt x="209" y="192"/>
                      <a:pt x="207" y="192"/>
                      <a:pt x="202" y="195"/>
                    </a:cubicBezTo>
                    <a:cubicBezTo>
                      <a:pt x="197" y="198"/>
                      <a:pt x="194" y="197"/>
                      <a:pt x="194" y="192"/>
                    </a:cubicBezTo>
                    <a:cubicBezTo>
                      <a:pt x="194" y="189"/>
                      <a:pt x="195" y="187"/>
                      <a:pt x="197" y="186"/>
                    </a:cubicBezTo>
                    <a:cubicBezTo>
                      <a:pt x="199" y="185"/>
                      <a:pt x="199" y="184"/>
                      <a:pt x="193" y="178"/>
                    </a:cubicBezTo>
                    <a:cubicBezTo>
                      <a:pt x="181" y="167"/>
                      <a:pt x="175" y="162"/>
                      <a:pt x="173" y="163"/>
                    </a:cubicBezTo>
                    <a:cubicBezTo>
                      <a:pt x="172" y="163"/>
                      <a:pt x="171" y="165"/>
                      <a:pt x="171" y="168"/>
                    </a:cubicBezTo>
                    <a:cubicBezTo>
                      <a:pt x="171" y="173"/>
                      <a:pt x="171" y="173"/>
                      <a:pt x="171" y="173"/>
                    </a:cubicBezTo>
                    <a:cubicBezTo>
                      <a:pt x="157" y="173"/>
                      <a:pt x="157" y="173"/>
                      <a:pt x="157" y="173"/>
                    </a:cubicBezTo>
                    <a:cubicBezTo>
                      <a:pt x="149" y="173"/>
                      <a:pt x="138" y="173"/>
                      <a:pt x="133" y="173"/>
                    </a:cubicBezTo>
                    <a:cubicBezTo>
                      <a:pt x="125" y="173"/>
                      <a:pt x="123" y="174"/>
                      <a:pt x="124" y="175"/>
                    </a:cubicBezTo>
                    <a:cubicBezTo>
                      <a:pt x="124" y="177"/>
                      <a:pt x="122" y="178"/>
                      <a:pt x="112" y="178"/>
                    </a:cubicBezTo>
                    <a:cubicBezTo>
                      <a:pt x="105" y="178"/>
                      <a:pt x="93" y="177"/>
                      <a:pt x="85" y="176"/>
                    </a:cubicBezTo>
                    <a:cubicBezTo>
                      <a:pt x="76" y="176"/>
                      <a:pt x="68" y="176"/>
                      <a:pt x="65" y="177"/>
                    </a:cubicBezTo>
                    <a:cubicBezTo>
                      <a:pt x="59" y="179"/>
                      <a:pt x="54" y="176"/>
                      <a:pt x="51" y="168"/>
                    </a:cubicBezTo>
                    <a:cubicBezTo>
                      <a:pt x="50" y="164"/>
                      <a:pt x="49" y="164"/>
                      <a:pt x="46" y="164"/>
                    </a:cubicBezTo>
                    <a:cubicBezTo>
                      <a:pt x="29" y="165"/>
                      <a:pt x="28" y="165"/>
                      <a:pt x="24" y="162"/>
                    </a:cubicBezTo>
                    <a:cubicBezTo>
                      <a:pt x="15" y="155"/>
                      <a:pt x="7" y="144"/>
                      <a:pt x="7" y="138"/>
                    </a:cubicBezTo>
                    <a:cubicBezTo>
                      <a:pt x="7" y="136"/>
                      <a:pt x="8" y="135"/>
                      <a:pt x="14" y="134"/>
                    </a:cubicBezTo>
                    <a:cubicBezTo>
                      <a:pt x="17" y="134"/>
                      <a:pt x="23" y="133"/>
                      <a:pt x="26" y="133"/>
                    </a:cubicBezTo>
                    <a:cubicBezTo>
                      <a:pt x="31" y="133"/>
                      <a:pt x="31" y="133"/>
                      <a:pt x="30" y="131"/>
                    </a:cubicBezTo>
                    <a:cubicBezTo>
                      <a:pt x="26" y="128"/>
                      <a:pt x="19" y="126"/>
                      <a:pt x="12" y="126"/>
                    </a:cubicBezTo>
                    <a:cubicBezTo>
                      <a:pt x="7" y="126"/>
                      <a:pt x="6" y="125"/>
                      <a:pt x="5" y="124"/>
                    </a:cubicBezTo>
                    <a:cubicBezTo>
                      <a:pt x="2" y="118"/>
                      <a:pt x="0" y="106"/>
                      <a:pt x="1" y="100"/>
                    </a:cubicBezTo>
                    <a:cubicBezTo>
                      <a:pt x="2" y="70"/>
                      <a:pt x="3" y="67"/>
                      <a:pt x="9" y="49"/>
                    </a:cubicBezTo>
                    <a:cubicBezTo>
                      <a:pt x="18" y="24"/>
                      <a:pt x="24" y="12"/>
                      <a:pt x="32" y="7"/>
                    </a:cubicBezTo>
                    <a:cubicBezTo>
                      <a:pt x="45" y="0"/>
                      <a:pt x="66" y="2"/>
                      <a:pt x="68" y="11"/>
                    </a:cubicBezTo>
                    <a:cubicBezTo>
                      <a:pt x="69" y="14"/>
                      <a:pt x="68" y="16"/>
                      <a:pt x="64" y="20"/>
                    </a:cubicBezTo>
                    <a:cubicBezTo>
                      <a:pt x="62" y="23"/>
                      <a:pt x="59" y="28"/>
                      <a:pt x="58" y="31"/>
                    </a:cubicBezTo>
                    <a:cubicBezTo>
                      <a:pt x="58" y="34"/>
                      <a:pt x="57" y="38"/>
                      <a:pt x="55" y="40"/>
                    </a:cubicBezTo>
                    <a:cubicBezTo>
                      <a:pt x="53" y="43"/>
                      <a:pt x="49" y="58"/>
                      <a:pt x="50" y="60"/>
                    </a:cubicBezTo>
                    <a:cubicBezTo>
                      <a:pt x="51" y="61"/>
                      <a:pt x="51" y="66"/>
                      <a:pt x="52" y="72"/>
                    </a:cubicBezTo>
                    <a:cubicBezTo>
                      <a:pt x="52" y="83"/>
                      <a:pt x="53" y="85"/>
                      <a:pt x="56" y="85"/>
                    </a:cubicBezTo>
                    <a:cubicBezTo>
                      <a:pt x="58" y="85"/>
                      <a:pt x="59" y="84"/>
                      <a:pt x="60" y="81"/>
                    </a:cubicBezTo>
                    <a:cubicBezTo>
                      <a:pt x="61" y="79"/>
                      <a:pt x="62" y="76"/>
                      <a:pt x="63" y="75"/>
                    </a:cubicBezTo>
                    <a:cubicBezTo>
                      <a:pt x="65" y="73"/>
                      <a:pt x="65" y="72"/>
                      <a:pt x="64" y="70"/>
                    </a:cubicBezTo>
                    <a:cubicBezTo>
                      <a:pt x="60" y="65"/>
                      <a:pt x="59" y="60"/>
                      <a:pt x="59" y="53"/>
                    </a:cubicBezTo>
                    <a:cubicBezTo>
                      <a:pt x="59" y="48"/>
                      <a:pt x="59" y="46"/>
                      <a:pt x="62" y="44"/>
                    </a:cubicBezTo>
                    <a:cubicBezTo>
                      <a:pt x="63" y="43"/>
                      <a:pt x="65" y="41"/>
                      <a:pt x="65" y="39"/>
                    </a:cubicBezTo>
                    <a:cubicBezTo>
                      <a:pt x="66" y="38"/>
                      <a:pt x="67" y="37"/>
                      <a:pt x="68" y="37"/>
                    </a:cubicBezTo>
                    <a:cubicBezTo>
                      <a:pt x="69" y="37"/>
                      <a:pt x="69" y="36"/>
                      <a:pt x="69" y="34"/>
                    </a:cubicBezTo>
                    <a:cubicBezTo>
                      <a:pt x="69" y="29"/>
                      <a:pt x="80" y="14"/>
                      <a:pt x="86" y="10"/>
                    </a:cubicBezTo>
                    <a:cubicBezTo>
                      <a:pt x="92" y="7"/>
                      <a:pt x="106" y="4"/>
                      <a:pt x="110" y="6"/>
                    </a:cubicBezTo>
                    <a:cubicBezTo>
                      <a:pt x="112" y="7"/>
                      <a:pt x="115" y="11"/>
                      <a:pt x="123" y="26"/>
                    </a:cubicBezTo>
                    <a:cubicBezTo>
                      <a:pt x="129" y="36"/>
                      <a:pt x="133" y="47"/>
                      <a:pt x="132" y="50"/>
                    </a:cubicBezTo>
                    <a:cubicBezTo>
                      <a:pt x="131" y="54"/>
                      <a:pt x="136" y="61"/>
                      <a:pt x="141" y="61"/>
                    </a:cubicBezTo>
                    <a:cubicBezTo>
                      <a:pt x="142" y="61"/>
                      <a:pt x="146" y="60"/>
                      <a:pt x="149" y="60"/>
                    </a:cubicBezTo>
                    <a:cubicBezTo>
                      <a:pt x="153" y="58"/>
                      <a:pt x="154" y="58"/>
                      <a:pt x="153" y="55"/>
                    </a:cubicBezTo>
                    <a:cubicBezTo>
                      <a:pt x="152" y="50"/>
                      <a:pt x="160" y="43"/>
                      <a:pt x="171" y="41"/>
                    </a:cubicBezTo>
                    <a:cubicBezTo>
                      <a:pt x="179" y="40"/>
                      <a:pt x="180" y="40"/>
                      <a:pt x="184" y="43"/>
                    </a:cubicBezTo>
                    <a:cubicBezTo>
                      <a:pt x="187" y="44"/>
                      <a:pt x="190" y="45"/>
                      <a:pt x="192" y="46"/>
                    </a:cubicBezTo>
                    <a:cubicBezTo>
                      <a:pt x="197" y="46"/>
                      <a:pt x="203" y="51"/>
                      <a:pt x="204" y="55"/>
                    </a:cubicBezTo>
                    <a:cubicBezTo>
                      <a:pt x="206" y="60"/>
                      <a:pt x="209" y="64"/>
                      <a:pt x="212" y="64"/>
                    </a:cubicBezTo>
                    <a:cubicBezTo>
                      <a:pt x="214" y="64"/>
                      <a:pt x="215" y="65"/>
                      <a:pt x="216" y="70"/>
                    </a:cubicBezTo>
                    <a:cubicBezTo>
                      <a:pt x="216" y="73"/>
                      <a:pt x="217" y="75"/>
                      <a:pt x="218" y="75"/>
                    </a:cubicBezTo>
                    <a:cubicBezTo>
                      <a:pt x="219" y="75"/>
                      <a:pt x="223" y="79"/>
                      <a:pt x="227" y="83"/>
                    </a:cubicBezTo>
                    <a:cubicBezTo>
                      <a:pt x="234" y="89"/>
                      <a:pt x="235" y="90"/>
                      <a:pt x="236" y="88"/>
                    </a:cubicBezTo>
                    <a:cubicBezTo>
                      <a:pt x="236" y="87"/>
                      <a:pt x="237" y="84"/>
                      <a:pt x="239" y="81"/>
                    </a:cubicBezTo>
                    <a:cubicBezTo>
                      <a:pt x="241" y="76"/>
                      <a:pt x="242" y="76"/>
                      <a:pt x="254" y="80"/>
                    </a:cubicBezTo>
                    <a:cubicBezTo>
                      <a:pt x="260" y="82"/>
                      <a:pt x="261" y="84"/>
                      <a:pt x="263" y="90"/>
                    </a:cubicBezTo>
                    <a:cubicBezTo>
                      <a:pt x="265" y="94"/>
                      <a:pt x="268" y="97"/>
                      <a:pt x="270" y="99"/>
                    </a:cubicBezTo>
                    <a:cubicBezTo>
                      <a:pt x="273" y="100"/>
                      <a:pt x="275" y="103"/>
                      <a:pt x="276" y="104"/>
                    </a:cubicBezTo>
                    <a:cubicBezTo>
                      <a:pt x="279" y="110"/>
                      <a:pt x="282" y="111"/>
                      <a:pt x="287" y="108"/>
                    </a:cubicBezTo>
                    <a:cubicBezTo>
                      <a:pt x="291" y="104"/>
                      <a:pt x="294" y="105"/>
                      <a:pt x="303" y="111"/>
                    </a:cubicBezTo>
                    <a:cubicBezTo>
                      <a:pt x="308" y="114"/>
                      <a:pt x="309" y="116"/>
                      <a:pt x="308" y="119"/>
                    </a:cubicBezTo>
                    <a:cubicBezTo>
                      <a:pt x="305" y="129"/>
                      <a:pt x="305" y="131"/>
                      <a:pt x="307" y="130"/>
                    </a:cubicBezTo>
                    <a:cubicBezTo>
                      <a:pt x="308" y="130"/>
                      <a:pt x="310" y="128"/>
                      <a:pt x="312" y="126"/>
                    </a:cubicBezTo>
                    <a:cubicBezTo>
                      <a:pt x="315" y="120"/>
                      <a:pt x="320" y="121"/>
                      <a:pt x="327" y="128"/>
                    </a:cubicBezTo>
                    <a:cubicBezTo>
                      <a:pt x="333" y="135"/>
                      <a:pt x="336" y="140"/>
                      <a:pt x="336" y="144"/>
                    </a:cubicBezTo>
                    <a:cubicBezTo>
                      <a:pt x="337" y="152"/>
                      <a:pt x="337" y="153"/>
                      <a:pt x="342" y="155"/>
                    </a:cubicBezTo>
                    <a:cubicBezTo>
                      <a:pt x="344" y="156"/>
                      <a:pt x="348" y="159"/>
                      <a:pt x="349" y="161"/>
                    </a:cubicBezTo>
                    <a:cubicBezTo>
                      <a:pt x="351" y="166"/>
                      <a:pt x="351" y="166"/>
                      <a:pt x="351" y="166"/>
                    </a:cubicBezTo>
                    <a:cubicBezTo>
                      <a:pt x="345" y="169"/>
                      <a:pt x="345" y="169"/>
                      <a:pt x="345" y="169"/>
                    </a:cubicBezTo>
                    <a:cubicBezTo>
                      <a:pt x="339" y="173"/>
                      <a:pt x="338" y="173"/>
                      <a:pt x="335" y="172"/>
                    </a:cubicBezTo>
                    <a:cubicBezTo>
                      <a:pt x="330" y="170"/>
                      <a:pt x="329" y="171"/>
                      <a:pt x="332" y="175"/>
                    </a:cubicBezTo>
                    <a:cubicBezTo>
                      <a:pt x="334" y="178"/>
                      <a:pt x="334" y="184"/>
                      <a:pt x="332" y="190"/>
                    </a:cubicBezTo>
                    <a:cubicBezTo>
                      <a:pt x="331" y="193"/>
                      <a:pt x="335" y="197"/>
                      <a:pt x="342" y="200"/>
                    </a:cubicBezTo>
                    <a:cubicBezTo>
                      <a:pt x="345" y="200"/>
                      <a:pt x="350" y="203"/>
                      <a:pt x="353" y="205"/>
                    </a:cubicBezTo>
                    <a:cubicBezTo>
                      <a:pt x="356" y="207"/>
                      <a:pt x="361" y="209"/>
                      <a:pt x="364" y="209"/>
                    </a:cubicBezTo>
                    <a:cubicBezTo>
                      <a:pt x="367" y="209"/>
                      <a:pt x="370" y="210"/>
                      <a:pt x="372" y="211"/>
                    </a:cubicBezTo>
                    <a:cubicBezTo>
                      <a:pt x="374" y="211"/>
                      <a:pt x="380" y="212"/>
                      <a:pt x="384" y="211"/>
                    </a:cubicBezTo>
                    <a:cubicBezTo>
                      <a:pt x="392" y="211"/>
                      <a:pt x="392" y="211"/>
                      <a:pt x="392" y="211"/>
                    </a:cubicBezTo>
                    <a:cubicBezTo>
                      <a:pt x="400" y="219"/>
                      <a:pt x="400" y="219"/>
                      <a:pt x="400" y="219"/>
                    </a:cubicBezTo>
                    <a:cubicBezTo>
                      <a:pt x="406" y="226"/>
                      <a:pt x="408" y="227"/>
                      <a:pt x="413" y="227"/>
                    </a:cubicBezTo>
                    <a:cubicBezTo>
                      <a:pt x="416" y="227"/>
                      <a:pt x="420" y="227"/>
                      <a:pt x="421" y="227"/>
                    </a:cubicBezTo>
                    <a:cubicBezTo>
                      <a:pt x="422" y="227"/>
                      <a:pt x="423" y="229"/>
                      <a:pt x="423" y="232"/>
                    </a:cubicBezTo>
                    <a:cubicBezTo>
                      <a:pt x="424" y="235"/>
                      <a:pt x="425" y="237"/>
                      <a:pt x="425" y="238"/>
                    </a:cubicBezTo>
                    <a:cubicBezTo>
                      <a:pt x="426" y="238"/>
                      <a:pt x="431" y="237"/>
                      <a:pt x="436" y="235"/>
                    </a:cubicBezTo>
                    <a:cubicBezTo>
                      <a:pt x="446" y="232"/>
                      <a:pt x="446" y="232"/>
                      <a:pt x="446" y="232"/>
                    </a:cubicBezTo>
                    <a:cubicBezTo>
                      <a:pt x="451" y="235"/>
                      <a:pt x="451" y="235"/>
                      <a:pt x="451" y="235"/>
                    </a:cubicBezTo>
                    <a:cubicBezTo>
                      <a:pt x="456" y="238"/>
                      <a:pt x="457" y="238"/>
                      <a:pt x="457" y="245"/>
                    </a:cubicBezTo>
                    <a:cubicBezTo>
                      <a:pt x="458" y="254"/>
                      <a:pt x="457" y="258"/>
                      <a:pt x="453" y="262"/>
                    </a:cubicBezTo>
                    <a:cubicBezTo>
                      <a:pt x="450" y="265"/>
                      <a:pt x="450" y="265"/>
                      <a:pt x="452" y="268"/>
                    </a:cubicBezTo>
                    <a:cubicBezTo>
                      <a:pt x="454" y="270"/>
                      <a:pt x="455" y="271"/>
                      <a:pt x="453" y="274"/>
                    </a:cubicBezTo>
                    <a:cubicBezTo>
                      <a:pt x="452" y="276"/>
                      <a:pt x="452" y="280"/>
                      <a:pt x="453" y="282"/>
                    </a:cubicBezTo>
                    <a:cubicBezTo>
                      <a:pt x="454" y="289"/>
                      <a:pt x="449" y="296"/>
                      <a:pt x="444" y="296"/>
                    </a:cubicBezTo>
                    <a:cubicBezTo>
                      <a:pt x="441" y="296"/>
                      <a:pt x="440" y="296"/>
                      <a:pt x="441" y="299"/>
                    </a:cubicBezTo>
                    <a:cubicBezTo>
                      <a:pt x="443" y="304"/>
                      <a:pt x="447" y="313"/>
                      <a:pt x="449" y="314"/>
                    </a:cubicBezTo>
                    <a:cubicBezTo>
                      <a:pt x="452" y="316"/>
                      <a:pt x="450" y="318"/>
                      <a:pt x="444" y="321"/>
                    </a:cubicBezTo>
                    <a:cubicBezTo>
                      <a:pt x="439" y="324"/>
                      <a:pt x="438" y="324"/>
                      <a:pt x="434" y="321"/>
                    </a:cubicBezTo>
                    <a:cubicBezTo>
                      <a:pt x="431" y="320"/>
                      <a:pt x="425" y="318"/>
                      <a:pt x="422" y="317"/>
                    </a:cubicBezTo>
                    <a:cubicBezTo>
                      <a:pt x="416" y="315"/>
                      <a:pt x="414" y="314"/>
                      <a:pt x="410" y="308"/>
                    </a:cubicBezTo>
                    <a:cubicBezTo>
                      <a:pt x="404" y="300"/>
                      <a:pt x="395" y="290"/>
                      <a:pt x="391" y="290"/>
                    </a:cubicBezTo>
                    <a:cubicBezTo>
                      <a:pt x="390" y="290"/>
                      <a:pt x="389" y="290"/>
                      <a:pt x="388" y="289"/>
                    </a:cubicBezTo>
                    <a:cubicBezTo>
                      <a:pt x="382" y="283"/>
                      <a:pt x="372" y="279"/>
                      <a:pt x="372" y="283"/>
                    </a:cubicBezTo>
                    <a:cubicBezTo>
                      <a:pt x="372" y="284"/>
                      <a:pt x="371" y="285"/>
                      <a:pt x="369" y="286"/>
                    </a:cubicBezTo>
                    <a:cubicBezTo>
                      <a:pt x="365" y="288"/>
                      <a:pt x="365" y="288"/>
                      <a:pt x="365" y="288"/>
                    </a:cubicBezTo>
                    <a:cubicBezTo>
                      <a:pt x="369" y="292"/>
                      <a:pt x="369" y="292"/>
                      <a:pt x="369" y="292"/>
                    </a:cubicBezTo>
                    <a:cubicBezTo>
                      <a:pt x="373" y="296"/>
                      <a:pt x="373" y="303"/>
                      <a:pt x="369" y="305"/>
                    </a:cubicBezTo>
                    <a:cubicBezTo>
                      <a:pt x="366" y="306"/>
                      <a:pt x="366" y="307"/>
                      <a:pt x="367" y="309"/>
                    </a:cubicBezTo>
                    <a:cubicBezTo>
                      <a:pt x="367" y="311"/>
                      <a:pt x="368" y="312"/>
                      <a:pt x="368" y="311"/>
                    </a:cubicBezTo>
                    <a:cubicBezTo>
                      <a:pt x="368" y="309"/>
                      <a:pt x="378" y="314"/>
                      <a:pt x="380" y="317"/>
                    </a:cubicBezTo>
                    <a:cubicBezTo>
                      <a:pt x="381" y="318"/>
                      <a:pt x="385" y="322"/>
                      <a:pt x="388" y="326"/>
                    </a:cubicBezTo>
                    <a:cubicBezTo>
                      <a:pt x="393" y="332"/>
                      <a:pt x="395" y="333"/>
                      <a:pt x="410" y="337"/>
                    </a:cubicBezTo>
                    <a:cubicBezTo>
                      <a:pt x="414" y="338"/>
                      <a:pt x="416" y="339"/>
                      <a:pt x="417" y="342"/>
                    </a:cubicBezTo>
                    <a:cubicBezTo>
                      <a:pt x="417" y="344"/>
                      <a:pt x="419" y="346"/>
                      <a:pt x="420" y="347"/>
                    </a:cubicBezTo>
                    <a:cubicBezTo>
                      <a:pt x="422" y="348"/>
                      <a:pt x="425" y="351"/>
                      <a:pt x="427" y="354"/>
                    </a:cubicBezTo>
                    <a:cubicBezTo>
                      <a:pt x="429" y="357"/>
                      <a:pt x="435" y="364"/>
                      <a:pt x="440" y="370"/>
                    </a:cubicBezTo>
                    <a:cubicBezTo>
                      <a:pt x="450" y="380"/>
                      <a:pt x="450" y="380"/>
                      <a:pt x="450" y="380"/>
                    </a:cubicBezTo>
                    <a:cubicBezTo>
                      <a:pt x="450" y="400"/>
                      <a:pt x="450" y="400"/>
                      <a:pt x="450" y="400"/>
                    </a:cubicBezTo>
                    <a:cubicBezTo>
                      <a:pt x="450" y="410"/>
                      <a:pt x="449" y="420"/>
                      <a:pt x="449" y="420"/>
                    </a:cubicBezTo>
                    <a:cubicBezTo>
                      <a:pt x="447" y="421"/>
                      <a:pt x="421" y="413"/>
                      <a:pt x="408" y="407"/>
                    </a:cubicBezTo>
                    <a:cubicBezTo>
                      <a:pt x="401" y="404"/>
                      <a:pt x="394" y="400"/>
                      <a:pt x="391" y="398"/>
                    </a:cubicBezTo>
                    <a:cubicBezTo>
                      <a:pt x="387" y="394"/>
                      <a:pt x="383" y="394"/>
                      <a:pt x="375" y="395"/>
                    </a:cubicBezTo>
                    <a:cubicBezTo>
                      <a:pt x="372" y="395"/>
                      <a:pt x="374" y="398"/>
                      <a:pt x="378" y="399"/>
                    </a:cubicBezTo>
                    <a:cubicBezTo>
                      <a:pt x="380" y="400"/>
                      <a:pt x="383" y="403"/>
                      <a:pt x="384" y="406"/>
                    </a:cubicBezTo>
                    <a:cubicBezTo>
                      <a:pt x="386" y="410"/>
                      <a:pt x="389" y="411"/>
                      <a:pt x="398" y="414"/>
                    </a:cubicBezTo>
                    <a:cubicBezTo>
                      <a:pt x="404" y="417"/>
                      <a:pt x="415" y="423"/>
                      <a:pt x="424" y="428"/>
                    </a:cubicBezTo>
                    <a:cubicBezTo>
                      <a:pt x="439" y="438"/>
                      <a:pt x="439" y="438"/>
                      <a:pt x="439" y="438"/>
                    </a:cubicBezTo>
                    <a:cubicBezTo>
                      <a:pt x="438" y="447"/>
                      <a:pt x="438" y="447"/>
                      <a:pt x="438" y="447"/>
                    </a:cubicBezTo>
                    <a:cubicBezTo>
                      <a:pt x="438" y="455"/>
                      <a:pt x="438" y="455"/>
                      <a:pt x="438" y="455"/>
                    </a:cubicBezTo>
                    <a:cubicBezTo>
                      <a:pt x="430" y="455"/>
                      <a:pt x="430" y="455"/>
                      <a:pt x="430" y="455"/>
                    </a:cubicBezTo>
                    <a:cubicBezTo>
                      <a:pt x="426" y="456"/>
                      <a:pt x="422" y="455"/>
                      <a:pt x="421" y="45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12" name="Freeform 22">
                <a:extLst>
                  <a:ext uri="{FF2B5EF4-FFF2-40B4-BE49-F238E27FC236}">
                    <a16:creationId xmlns:a16="http://schemas.microsoft.com/office/drawing/2014/main" id="{463F5543-ADCE-4BCE-B49F-C696EE64FC4F}"/>
                  </a:ext>
                </a:extLst>
              </p:cNvPr>
              <p:cNvSpPr>
                <a:spLocks/>
              </p:cNvSpPr>
              <p:nvPr/>
            </p:nvSpPr>
            <p:spPr bwMode="auto">
              <a:xfrm>
                <a:off x="5660136" y="2574332"/>
                <a:ext cx="82801" cy="77023"/>
              </a:xfrm>
              <a:custGeom>
                <a:avLst/>
                <a:gdLst>
                  <a:gd name="T0" fmla="*/ 7 w 18"/>
                  <a:gd name="T1" fmla="*/ 13 h 17"/>
                  <a:gd name="T2" fmla="*/ 3 w 18"/>
                  <a:gd name="T3" fmla="*/ 3 h 17"/>
                  <a:gd name="T4" fmla="*/ 13 w 18"/>
                  <a:gd name="T5" fmla="*/ 3 h 17"/>
                  <a:gd name="T6" fmla="*/ 15 w 18"/>
                  <a:gd name="T7" fmla="*/ 14 h 17"/>
                  <a:gd name="T8" fmla="*/ 7 w 18"/>
                  <a:gd name="T9" fmla="*/ 13 h 17"/>
                </a:gdLst>
                <a:ahLst/>
                <a:cxnLst>
                  <a:cxn ang="0">
                    <a:pos x="T0" y="T1"/>
                  </a:cxn>
                  <a:cxn ang="0">
                    <a:pos x="T2" y="T3"/>
                  </a:cxn>
                  <a:cxn ang="0">
                    <a:pos x="T4" y="T5"/>
                  </a:cxn>
                  <a:cxn ang="0">
                    <a:pos x="T6" y="T7"/>
                  </a:cxn>
                  <a:cxn ang="0">
                    <a:pos x="T8" y="T9"/>
                  </a:cxn>
                </a:cxnLst>
                <a:rect l="0" t="0" r="r" b="b"/>
                <a:pathLst>
                  <a:path w="18" h="17">
                    <a:moveTo>
                      <a:pt x="7" y="13"/>
                    </a:moveTo>
                    <a:cubicBezTo>
                      <a:pt x="2" y="9"/>
                      <a:pt x="0" y="6"/>
                      <a:pt x="3" y="3"/>
                    </a:cubicBezTo>
                    <a:cubicBezTo>
                      <a:pt x="5" y="0"/>
                      <a:pt x="8" y="0"/>
                      <a:pt x="13" y="3"/>
                    </a:cubicBezTo>
                    <a:cubicBezTo>
                      <a:pt x="17" y="7"/>
                      <a:pt x="18" y="11"/>
                      <a:pt x="15" y="14"/>
                    </a:cubicBezTo>
                    <a:cubicBezTo>
                      <a:pt x="13" y="17"/>
                      <a:pt x="13" y="17"/>
                      <a:pt x="7" y="1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13" name="Freeform 23">
                <a:extLst>
                  <a:ext uri="{FF2B5EF4-FFF2-40B4-BE49-F238E27FC236}">
                    <a16:creationId xmlns:a16="http://schemas.microsoft.com/office/drawing/2014/main" id="{9E7F15F5-F05F-43D2-825C-A60923C8CB8A}"/>
                  </a:ext>
                </a:extLst>
              </p:cNvPr>
              <p:cNvSpPr>
                <a:spLocks/>
              </p:cNvSpPr>
              <p:nvPr/>
            </p:nvSpPr>
            <p:spPr bwMode="auto">
              <a:xfrm>
                <a:off x="5750638" y="2518491"/>
                <a:ext cx="69321" cy="46214"/>
              </a:xfrm>
              <a:custGeom>
                <a:avLst/>
                <a:gdLst>
                  <a:gd name="T0" fmla="*/ 3 w 15"/>
                  <a:gd name="T1" fmla="*/ 9 h 10"/>
                  <a:gd name="T2" fmla="*/ 0 w 15"/>
                  <a:gd name="T3" fmla="*/ 4 h 10"/>
                  <a:gd name="T4" fmla="*/ 4 w 15"/>
                  <a:gd name="T5" fmla="*/ 0 h 10"/>
                  <a:gd name="T6" fmla="*/ 13 w 15"/>
                  <a:gd name="T7" fmla="*/ 7 h 10"/>
                  <a:gd name="T8" fmla="*/ 3 w 15"/>
                  <a:gd name="T9" fmla="*/ 9 h 10"/>
                </a:gdLst>
                <a:ahLst/>
                <a:cxnLst>
                  <a:cxn ang="0">
                    <a:pos x="T0" y="T1"/>
                  </a:cxn>
                  <a:cxn ang="0">
                    <a:pos x="T2" y="T3"/>
                  </a:cxn>
                  <a:cxn ang="0">
                    <a:pos x="T4" y="T5"/>
                  </a:cxn>
                  <a:cxn ang="0">
                    <a:pos x="T6" y="T7"/>
                  </a:cxn>
                  <a:cxn ang="0">
                    <a:pos x="T8" y="T9"/>
                  </a:cxn>
                </a:cxnLst>
                <a:rect l="0" t="0" r="r" b="b"/>
                <a:pathLst>
                  <a:path w="15" h="10">
                    <a:moveTo>
                      <a:pt x="3" y="9"/>
                    </a:moveTo>
                    <a:cubicBezTo>
                      <a:pt x="0" y="8"/>
                      <a:pt x="0" y="7"/>
                      <a:pt x="0" y="4"/>
                    </a:cubicBezTo>
                    <a:cubicBezTo>
                      <a:pt x="0" y="1"/>
                      <a:pt x="1" y="0"/>
                      <a:pt x="4" y="0"/>
                    </a:cubicBezTo>
                    <a:cubicBezTo>
                      <a:pt x="9" y="0"/>
                      <a:pt x="15" y="4"/>
                      <a:pt x="13" y="7"/>
                    </a:cubicBezTo>
                    <a:cubicBezTo>
                      <a:pt x="12" y="10"/>
                      <a:pt x="10" y="10"/>
                      <a:pt x="3" y="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14" name="Freeform 24">
                <a:extLst>
                  <a:ext uri="{FF2B5EF4-FFF2-40B4-BE49-F238E27FC236}">
                    <a16:creationId xmlns:a16="http://schemas.microsoft.com/office/drawing/2014/main" id="{95DFDE94-E663-4248-9ED0-05F0CDFC0902}"/>
                  </a:ext>
                </a:extLst>
              </p:cNvPr>
              <p:cNvSpPr>
                <a:spLocks/>
              </p:cNvSpPr>
              <p:nvPr/>
            </p:nvSpPr>
            <p:spPr bwMode="auto">
              <a:xfrm>
                <a:off x="5613922" y="1617319"/>
                <a:ext cx="169451" cy="246474"/>
              </a:xfrm>
              <a:custGeom>
                <a:avLst/>
                <a:gdLst>
                  <a:gd name="T0" fmla="*/ 10 w 37"/>
                  <a:gd name="T1" fmla="*/ 49 h 54"/>
                  <a:gd name="T2" fmla="*/ 15 w 37"/>
                  <a:gd name="T3" fmla="*/ 3 h 54"/>
                  <a:gd name="T4" fmla="*/ 33 w 37"/>
                  <a:gd name="T5" fmla="*/ 7 h 54"/>
                  <a:gd name="T6" fmla="*/ 37 w 37"/>
                  <a:gd name="T7" fmla="*/ 27 h 54"/>
                  <a:gd name="T8" fmla="*/ 25 w 37"/>
                  <a:gd name="T9" fmla="*/ 51 h 54"/>
                  <a:gd name="T10" fmla="*/ 10 w 37"/>
                  <a:gd name="T11" fmla="*/ 49 h 54"/>
                </a:gdLst>
                <a:ahLst/>
                <a:cxnLst>
                  <a:cxn ang="0">
                    <a:pos x="T0" y="T1"/>
                  </a:cxn>
                  <a:cxn ang="0">
                    <a:pos x="T2" y="T3"/>
                  </a:cxn>
                  <a:cxn ang="0">
                    <a:pos x="T4" y="T5"/>
                  </a:cxn>
                  <a:cxn ang="0">
                    <a:pos x="T6" y="T7"/>
                  </a:cxn>
                  <a:cxn ang="0">
                    <a:pos x="T8" y="T9"/>
                  </a:cxn>
                  <a:cxn ang="0">
                    <a:pos x="T10" y="T11"/>
                  </a:cxn>
                </a:cxnLst>
                <a:rect l="0" t="0" r="r" b="b"/>
                <a:pathLst>
                  <a:path w="37" h="54">
                    <a:moveTo>
                      <a:pt x="10" y="49"/>
                    </a:moveTo>
                    <a:cubicBezTo>
                      <a:pt x="0" y="40"/>
                      <a:pt x="4" y="10"/>
                      <a:pt x="15" y="3"/>
                    </a:cubicBezTo>
                    <a:cubicBezTo>
                      <a:pt x="20" y="0"/>
                      <a:pt x="28" y="2"/>
                      <a:pt x="33" y="7"/>
                    </a:cubicBezTo>
                    <a:cubicBezTo>
                      <a:pt x="37" y="11"/>
                      <a:pt x="37" y="12"/>
                      <a:pt x="37" y="27"/>
                    </a:cubicBezTo>
                    <a:cubicBezTo>
                      <a:pt x="37" y="45"/>
                      <a:pt x="36" y="46"/>
                      <a:pt x="25" y="51"/>
                    </a:cubicBezTo>
                    <a:cubicBezTo>
                      <a:pt x="18" y="54"/>
                      <a:pt x="15" y="54"/>
                      <a:pt x="10" y="4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15" name="Freeform 25">
                <a:extLst>
                  <a:ext uri="{FF2B5EF4-FFF2-40B4-BE49-F238E27FC236}">
                    <a16:creationId xmlns:a16="http://schemas.microsoft.com/office/drawing/2014/main" id="{156BF465-6798-4B26-9502-DA78A3DA21F1}"/>
                  </a:ext>
                </a:extLst>
              </p:cNvPr>
              <p:cNvSpPr>
                <a:spLocks/>
              </p:cNvSpPr>
              <p:nvPr/>
            </p:nvSpPr>
            <p:spPr bwMode="auto">
              <a:xfrm>
                <a:off x="5800703" y="1667384"/>
                <a:ext cx="92428" cy="59694"/>
              </a:xfrm>
              <a:custGeom>
                <a:avLst/>
                <a:gdLst>
                  <a:gd name="T0" fmla="*/ 8 w 20"/>
                  <a:gd name="T1" fmla="*/ 12 h 13"/>
                  <a:gd name="T2" fmla="*/ 2 w 20"/>
                  <a:gd name="T3" fmla="*/ 3 h 13"/>
                  <a:gd name="T4" fmla="*/ 17 w 20"/>
                  <a:gd name="T5" fmla="*/ 4 h 13"/>
                  <a:gd name="T6" fmla="*/ 15 w 20"/>
                  <a:gd name="T7" fmla="*/ 12 h 13"/>
                  <a:gd name="T8" fmla="*/ 8 w 20"/>
                  <a:gd name="T9" fmla="*/ 12 h 13"/>
                </a:gdLst>
                <a:ahLst/>
                <a:cxnLst>
                  <a:cxn ang="0">
                    <a:pos x="T0" y="T1"/>
                  </a:cxn>
                  <a:cxn ang="0">
                    <a:pos x="T2" y="T3"/>
                  </a:cxn>
                  <a:cxn ang="0">
                    <a:pos x="T4" y="T5"/>
                  </a:cxn>
                  <a:cxn ang="0">
                    <a:pos x="T6" y="T7"/>
                  </a:cxn>
                  <a:cxn ang="0">
                    <a:pos x="T8" y="T9"/>
                  </a:cxn>
                </a:cxnLst>
                <a:rect l="0" t="0" r="r" b="b"/>
                <a:pathLst>
                  <a:path w="20" h="13">
                    <a:moveTo>
                      <a:pt x="8" y="12"/>
                    </a:moveTo>
                    <a:cubicBezTo>
                      <a:pt x="4" y="10"/>
                      <a:pt x="0" y="5"/>
                      <a:pt x="2" y="3"/>
                    </a:cubicBezTo>
                    <a:cubicBezTo>
                      <a:pt x="3" y="0"/>
                      <a:pt x="15" y="1"/>
                      <a:pt x="17" y="4"/>
                    </a:cubicBezTo>
                    <a:cubicBezTo>
                      <a:pt x="20" y="7"/>
                      <a:pt x="19" y="10"/>
                      <a:pt x="15" y="12"/>
                    </a:cubicBezTo>
                    <a:cubicBezTo>
                      <a:pt x="12" y="13"/>
                      <a:pt x="10" y="13"/>
                      <a:pt x="8" y="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16" name="Freeform 26">
                <a:extLst>
                  <a:ext uri="{FF2B5EF4-FFF2-40B4-BE49-F238E27FC236}">
                    <a16:creationId xmlns:a16="http://schemas.microsoft.com/office/drawing/2014/main" id="{186A301F-1EF5-4CA0-A782-9E0011F9BBD1}"/>
                  </a:ext>
                </a:extLst>
              </p:cNvPr>
              <p:cNvSpPr>
                <a:spLocks/>
              </p:cNvSpPr>
              <p:nvPr/>
            </p:nvSpPr>
            <p:spPr bwMode="auto">
              <a:xfrm>
                <a:off x="5446396" y="1407430"/>
                <a:ext cx="77023" cy="163675"/>
              </a:xfrm>
              <a:custGeom>
                <a:avLst/>
                <a:gdLst>
                  <a:gd name="T0" fmla="*/ 1 w 17"/>
                  <a:gd name="T1" fmla="*/ 32 h 36"/>
                  <a:gd name="T2" fmla="*/ 4 w 17"/>
                  <a:gd name="T3" fmla="*/ 25 h 36"/>
                  <a:gd name="T4" fmla="*/ 8 w 17"/>
                  <a:gd name="T5" fmla="*/ 14 h 36"/>
                  <a:gd name="T6" fmla="*/ 14 w 17"/>
                  <a:gd name="T7" fmla="*/ 0 h 36"/>
                  <a:gd name="T8" fmla="*/ 16 w 17"/>
                  <a:gd name="T9" fmla="*/ 8 h 36"/>
                  <a:gd name="T10" fmla="*/ 14 w 17"/>
                  <a:gd name="T11" fmla="*/ 16 h 36"/>
                  <a:gd name="T12" fmla="*/ 1 w 17"/>
                  <a:gd name="T13" fmla="*/ 32 h 36"/>
                </a:gdLst>
                <a:ahLst/>
                <a:cxnLst>
                  <a:cxn ang="0">
                    <a:pos x="T0" y="T1"/>
                  </a:cxn>
                  <a:cxn ang="0">
                    <a:pos x="T2" y="T3"/>
                  </a:cxn>
                  <a:cxn ang="0">
                    <a:pos x="T4" y="T5"/>
                  </a:cxn>
                  <a:cxn ang="0">
                    <a:pos x="T6" y="T7"/>
                  </a:cxn>
                  <a:cxn ang="0">
                    <a:pos x="T8" y="T9"/>
                  </a:cxn>
                  <a:cxn ang="0">
                    <a:pos x="T10" y="T11"/>
                  </a:cxn>
                  <a:cxn ang="0">
                    <a:pos x="T12" y="T13"/>
                  </a:cxn>
                </a:cxnLst>
                <a:rect l="0" t="0" r="r" b="b"/>
                <a:pathLst>
                  <a:path w="17" h="36">
                    <a:moveTo>
                      <a:pt x="1" y="32"/>
                    </a:moveTo>
                    <a:cubicBezTo>
                      <a:pt x="0" y="30"/>
                      <a:pt x="0" y="30"/>
                      <a:pt x="4" y="25"/>
                    </a:cubicBezTo>
                    <a:cubicBezTo>
                      <a:pt x="6" y="23"/>
                      <a:pt x="7" y="19"/>
                      <a:pt x="8" y="14"/>
                    </a:cubicBezTo>
                    <a:cubicBezTo>
                      <a:pt x="9" y="7"/>
                      <a:pt x="12" y="0"/>
                      <a:pt x="14" y="0"/>
                    </a:cubicBezTo>
                    <a:cubicBezTo>
                      <a:pt x="17" y="0"/>
                      <a:pt x="17" y="5"/>
                      <a:pt x="16" y="8"/>
                    </a:cubicBezTo>
                    <a:cubicBezTo>
                      <a:pt x="15" y="10"/>
                      <a:pt x="14" y="13"/>
                      <a:pt x="14" y="16"/>
                    </a:cubicBezTo>
                    <a:cubicBezTo>
                      <a:pt x="15" y="23"/>
                      <a:pt x="5" y="36"/>
                      <a:pt x="1" y="3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17" name="Freeform 27">
                <a:extLst>
                  <a:ext uri="{FF2B5EF4-FFF2-40B4-BE49-F238E27FC236}">
                    <a16:creationId xmlns:a16="http://schemas.microsoft.com/office/drawing/2014/main" id="{BF00ED9A-31BE-4174-8C99-F695BFA66456}"/>
                  </a:ext>
                </a:extLst>
              </p:cNvPr>
              <p:cNvSpPr>
                <a:spLocks/>
              </p:cNvSpPr>
              <p:nvPr/>
            </p:nvSpPr>
            <p:spPr bwMode="auto">
              <a:xfrm>
                <a:off x="3965624" y="564025"/>
                <a:ext cx="363935" cy="552642"/>
              </a:xfrm>
              <a:custGeom>
                <a:avLst/>
                <a:gdLst>
                  <a:gd name="T0" fmla="*/ 37 w 80"/>
                  <a:gd name="T1" fmla="*/ 116 h 121"/>
                  <a:gd name="T2" fmla="*/ 30 w 80"/>
                  <a:gd name="T3" fmla="*/ 108 h 121"/>
                  <a:gd name="T4" fmla="*/ 14 w 80"/>
                  <a:gd name="T5" fmla="*/ 80 h 121"/>
                  <a:gd name="T6" fmla="*/ 5 w 80"/>
                  <a:gd name="T7" fmla="*/ 69 h 121"/>
                  <a:gd name="T8" fmla="*/ 2 w 80"/>
                  <a:gd name="T9" fmla="*/ 54 h 121"/>
                  <a:gd name="T10" fmla="*/ 8 w 80"/>
                  <a:gd name="T11" fmla="*/ 45 h 121"/>
                  <a:gd name="T12" fmla="*/ 19 w 80"/>
                  <a:gd name="T13" fmla="*/ 48 h 121"/>
                  <a:gd name="T14" fmla="*/ 29 w 80"/>
                  <a:gd name="T15" fmla="*/ 51 h 121"/>
                  <a:gd name="T16" fmla="*/ 32 w 80"/>
                  <a:gd name="T17" fmla="*/ 43 h 121"/>
                  <a:gd name="T18" fmla="*/ 31 w 80"/>
                  <a:gd name="T19" fmla="*/ 35 h 121"/>
                  <a:gd name="T20" fmla="*/ 24 w 80"/>
                  <a:gd name="T21" fmla="*/ 16 h 121"/>
                  <a:gd name="T22" fmla="*/ 33 w 80"/>
                  <a:gd name="T23" fmla="*/ 1 h 121"/>
                  <a:gd name="T24" fmla="*/ 43 w 80"/>
                  <a:gd name="T25" fmla="*/ 6 h 121"/>
                  <a:gd name="T26" fmla="*/ 52 w 80"/>
                  <a:gd name="T27" fmla="*/ 8 h 121"/>
                  <a:gd name="T28" fmla="*/ 74 w 80"/>
                  <a:gd name="T29" fmla="*/ 3 h 121"/>
                  <a:gd name="T30" fmla="*/ 76 w 80"/>
                  <a:gd name="T31" fmla="*/ 12 h 121"/>
                  <a:gd name="T32" fmla="*/ 74 w 80"/>
                  <a:gd name="T33" fmla="*/ 20 h 121"/>
                  <a:gd name="T34" fmla="*/ 74 w 80"/>
                  <a:gd name="T35" fmla="*/ 23 h 121"/>
                  <a:gd name="T36" fmla="*/ 70 w 80"/>
                  <a:gd name="T37" fmla="*/ 35 h 121"/>
                  <a:gd name="T38" fmla="*/ 63 w 80"/>
                  <a:gd name="T39" fmla="*/ 44 h 121"/>
                  <a:gd name="T40" fmla="*/ 68 w 80"/>
                  <a:gd name="T41" fmla="*/ 47 h 121"/>
                  <a:gd name="T42" fmla="*/ 72 w 80"/>
                  <a:gd name="T43" fmla="*/ 52 h 121"/>
                  <a:gd name="T44" fmla="*/ 74 w 80"/>
                  <a:gd name="T45" fmla="*/ 59 h 121"/>
                  <a:gd name="T46" fmla="*/ 80 w 80"/>
                  <a:gd name="T47" fmla="*/ 80 h 121"/>
                  <a:gd name="T48" fmla="*/ 77 w 80"/>
                  <a:gd name="T49" fmla="*/ 96 h 121"/>
                  <a:gd name="T50" fmla="*/ 61 w 80"/>
                  <a:gd name="T51" fmla="*/ 108 h 121"/>
                  <a:gd name="T52" fmla="*/ 60 w 80"/>
                  <a:gd name="T53" fmla="*/ 109 h 121"/>
                  <a:gd name="T54" fmla="*/ 49 w 80"/>
                  <a:gd name="T55" fmla="*/ 120 h 121"/>
                  <a:gd name="T56" fmla="*/ 37 w 80"/>
                  <a:gd name="T57" fmla="*/ 11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121">
                    <a:moveTo>
                      <a:pt x="37" y="116"/>
                    </a:moveTo>
                    <a:cubicBezTo>
                      <a:pt x="33" y="113"/>
                      <a:pt x="30" y="109"/>
                      <a:pt x="30" y="108"/>
                    </a:cubicBezTo>
                    <a:cubicBezTo>
                      <a:pt x="29" y="93"/>
                      <a:pt x="26" y="89"/>
                      <a:pt x="14" y="80"/>
                    </a:cubicBezTo>
                    <a:cubicBezTo>
                      <a:pt x="11" y="78"/>
                      <a:pt x="7" y="73"/>
                      <a:pt x="5" y="69"/>
                    </a:cubicBezTo>
                    <a:cubicBezTo>
                      <a:pt x="0" y="60"/>
                      <a:pt x="0" y="60"/>
                      <a:pt x="2" y="54"/>
                    </a:cubicBezTo>
                    <a:cubicBezTo>
                      <a:pt x="3" y="50"/>
                      <a:pt x="6" y="46"/>
                      <a:pt x="8" y="45"/>
                    </a:cubicBezTo>
                    <a:cubicBezTo>
                      <a:pt x="11" y="42"/>
                      <a:pt x="11" y="42"/>
                      <a:pt x="19" y="48"/>
                    </a:cubicBezTo>
                    <a:cubicBezTo>
                      <a:pt x="26" y="53"/>
                      <a:pt x="26" y="53"/>
                      <a:pt x="29" y="51"/>
                    </a:cubicBezTo>
                    <a:cubicBezTo>
                      <a:pt x="30" y="50"/>
                      <a:pt x="32" y="46"/>
                      <a:pt x="32" y="43"/>
                    </a:cubicBezTo>
                    <a:cubicBezTo>
                      <a:pt x="34" y="39"/>
                      <a:pt x="33" y="37"/>
                      <a:pt x="31" y="35"/>
                    </a:cubicBezTo>
                    <a:cubicBezTo>
                      <a:pt x="24" y="27"/>
                      <a:pt x="23" y="23"/>
                      <a:pt x="24" y="16"/>
                    </a:cubicBezTo>
                    <a:cubicBezTo>
                      <a:pt x="26" y="8"/>
                      <a:pt x="30" y="1"/>
                      <a:pt x="33" y="1"/>
                    </a:cubicBezTo>
                    <a:cubicBezTo>
                      <a:pt x="34" y="1"/>
                      <a:pt x="39" y="3"/>
                      <a:pt x="43" y="6"/>
                    </a:cubicBezTo>
                    <a:cubicBezTo>
                      <a:pt x="49" y="9"/>
                      <a:pt x="50" y="10"/>
                      <a:pt x="52" y="8"/>
                    </a:cubicBezTo>
                    <a:cubicBezTo>
                      <a:pt x="55" y="4"/>
                      <a:pt x="71" y="0"/>
                      <a:pt x="74" y="3"/>
                    </a:cubicBezTo>
                    <a:cubicBezTo>
                      <a:pt x="75" y="4"/>
                      <a:pt x="76" y="8"/>
                      <a:pt x="76" y="12"/>
                    </a:cubicBezTo>
                    <a:cubicBezTo>
                      <a:pt x="76" y="18"/>
                      <a:pt x="76" y="20"/>
                      <a:pt x="74" y="20"/>
                    </a:cubicBezTo>
                    <a:cubicBezTo>
                      <a:pt x="71" y="21"/>
                      <a:pt x="71" y="21"/>
                      <a:pt x="74" y="23"/>
                    </a:cubicBezTo>
                    <a:cubicBezTo>
                      <a:pt x="77" y="26"/>
                      <a:pt x="77" y="27"/>
                      <a:pt x="70" y="35"/>
                    </a:cubicBezTo>
                    <a:cubicBezTo>
                      <a:pt x="66" y="39"/>
                      <a:pt x="63" y="43"/>
                      <a:pt x="63" y="44"/>
                    </a:cubicBezTo>
                    <a:cubicBezTo>
                      <a:pt x="63" y="45"/>
                      <a:pt x="65" y="46"/>
                      <a:pt x="68" y="47"/>
                    </a:cubicBezTo>
                    <a:cubicBezTo>
                      <a:pt x="71" y="48"/>
                      <a:pt x="72" y="49"/>
                      <a:pt x="72" y="52"/>
                    </a:cubicBezTo>
                    <a:cubicBezTo>
                      <a:pt x="72" y="54"/>
                      <a:pt x="73" y="57"/>
                      <a:pt x="74" y="59"/>
                    </a:cubicBezTo>
                    <a:cubicBezTo>
                      <a:pt x="78" y="67"/>
                      <a:pt x="79" y="70"/>
                      <a:pt x="80" y="80"/>
                    </a:cubicBezTo>
                    <a:cubicBezTo>
                      <a:pt x="80" y="89"/>
                      <a:pt x="80" y="91"/>
                      <a:pt x="77" y="96"/>
                    </a:cubicBezTo>
                    <a:cubicBezTo>
                      <a:pt x="73" y="102"/>
                      <a:pt x="65" y="108"/>
                      <a:pt x="61" y="108"/>
                    </a:cubicBezTo>
                    <a:cubicBezTo>
                      <a:pt x="60" y="108"/>
                      <a:pt x="59" y="108"/>
                      <a:pt x="60" y="109"/>
                    </a:cubicBezTo>
                    <a:cubicBezTo>
                      <a:pt x="61" y="111"/>
                      <a:pt x="54" y="118"/>
                      <a:pt x="49" y="120"/>
                    </a:cubicBezTo>
                    <a:cubicBezTo>
                      <a:pt x="44" y="121"/>
                      <a:pt x="43" y="121"/>
                      <a:pt x="37" y="11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18" name="Freeform 28">
                <a:extLst>
                  <a:ext uri="{FF2B5EF4-FFF2-40B4-BE49-F238E27FC236}">
                    <a16:creationId xmlns:a16="http://schemas.microsoft.com/office/drawing/2014/main" id="{48F13820-63ED-4FC8-8E86-2990C5E4E2B2}"/>
                  </a:ext>
                </a:extLst>
              </p:cNvPr>
              <p:cNvSpPr>
                <a:spLocks/>
              </p:cNvSpPr>
              <p:nvPr/>
            </p:nvSpPr>
            <p:spPr bwMode="auto">
              <a:xfrm>
                <a:off x="4362294" y="533216"/>
                <a:ext cx="340829" cy="450586"/>
              </a:xfrm>
              <a:custGeom>
                <a:avLst/>
                <a:gdLst>
                  <a:gd name="T0" fmla="*/ 8 w 75"/>
                  <a:gd name="T1" fmla="*/ 96 h 99"/>
                  <a:gd name="T2" fmla="*/ 5 w 75"/>
                  <a:gd name="T3" fmla="*/ 87 h 99"/>
                  <a:gd name="T4" fmla="*/ 3 w 75"/>
                  <a:gd name="T5" fmla="*/ 77 h 99"/>
                  <a:gd name="T6" fmla="*/ 7 w 75"/>
                  <a:gd name="T7" fmla="*/ 25 h 99"/>
                  <a:gd name="T8" fmla="*/ 11 w 75"/>
                  <a:gd name="T9" fmla="*/ 12 h 99"/>
                  <a:gd name="T10" fmla="*/ 32 w 75"/>
                  <a:gd name="T11" fmla="*/ 0 h 99"/>
                  <a:gd name="T12" fmla="*/ 44 w 75"/>
                  <a:gd name="T13" fmla="*/ 3 h 99"/>
                  <a:gd name="T14" fmla="*/ 53 w 75"/>
                  <a:gd name="T15" fmla="*/ 6 h 99"/>
                  <a:gd name="T16" fmla="*/ 71 w 75"/>
                  <a:gd name="T17" fmla="*/ 13 h 99"/>
                  <a:gd name="T18" fmla="*/ 73 w 75"/>
                  <a:gd name="T19" fmla="*/ 22 h 99"/>
                  <a:gd name="T20" fmla="*/ 69 w 75"/>
                  <a:gd name="T21" fmla="*/ 28 h 99"/>
                  <a:gd name="T22" fmla="*/ 66 w 75"/>
                  <a:gd name="T23" fmla="*/ 35 h 99"/>
                  <a:gd name="T24" fmla="*/ 61 w 75"/>
                  <a:gd name="T25" fmla="*/ 46 h 99"/>
                  <a:gd name="T26" fmla="*/ 54 w 75"/>
                  <a:gd name="T27" fmla="*/ 61 h 99"/>
                  <a:gd name="T28" fmla="*/ 51 w 75"/>
                  <a:gd name="T29" fmla="*/ 70 h 99"/>
                  <a:gd name="T30" fmla="*/ 40 w 75"/>
                  <a:gd name="T31" fmla="*/ 71 h 99"/>
                  <a:gd name="T32" fmla="*/ 30 w 75"/>
                  <a:gd name="T33" fmla="*/ 73 h 99"/>
                  <a:gd name="T34" fmla="*/ 27 w 75"/>
                  <a:gd name="T35" fmla="*/ 93 h 99"/>
                  <a:gd name="T36" fmla="*/ 16 w 75"/>
                  <a:gd name="T37" fmla="*/ 99 h 99"/>
                  <a:gd name="T38" fmla="*/ 8 w 75"/>
                  <a:gd name="T39" fmla="*/ 9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99">
                    <a:moveTo>
                      <a:pt x="8" y="96"/>
                    </a:moveTo>
                    <a:cubicBezTo>
                      <a:pt x="5" y="94"/>
                      <a:pt x="5" y="92"/>
                      <a:pt x="5" y="87"/>
                    </a:cubicBezTo>
                    <a:cubicBezTo>
                      <a:pt x="5" y="84"/>
                      <a:pt x="4" y="79"/>
                      <a:pt x="3" y="77"/>
                    </a:cubicBezTo>
                    <a:cubicBezTo>
                      <a:pt x="0" y="68"/>
                      <a:pt x="2" y="36"/>
                      <a:pt x="7" y="25"/>
                    </a:cubicBezTo>
                    <a:cubicBezTo>
                      <a:pt x="9" y="21"/>
                      <a:pt x="11" y="15"/>
                      <a:pt x="11" y="12"/>
                    </a:cubicBezTo>
                    <a:cubicBezTo>
                      <a:pt x="12" y="5"/>
                      <a:pt x="17" y="2"/>
                      <a:pt x="32" y="0"/>
                    </a:cubicBezTo>
                    <a:cubicBezTo>
                      <a:pt x="37" y="0"/>
                      <a:pt x="40" y="0"/>
                      <a:pt x="44" y="3"/>
                    </a:cubicBezTo>
                    <a:cubicBezTo>
                      <a:pt x="47" y="4"/>
                      <a:pt x="51" y="6"/>
                      <a:pt x="53" y="6"/>
                    </a:cubicBezTo>
                    <a:cubicBezTo>
                      <a:pt x="57" y="6"/>
                      <a:pt x="65" y="9"/>
                      <a:pt x="71" y="13"/>
                    </a:cubicBezTo>
                    <a:cubicBezTo>
                      <a:pt x="75" y="17"/>
                      <a:pt x="75" y="17"/>
                      <a:pt x="73" y="22"/>
                    </a:cubicBezTo>
                    <a:cubicBezTo>
                      <a:pt x="72" y="24"/>
                      <a:pt x="70" y="27"/>
                      <a:pt x="69" y="28"/>
                    </a:cubicBezTo>
                    <a:cubicBezTo>
                      <a:pt x="68" y="30"/>
                      <a:pt x="66" y="32"/>
                      <a:pt x="66" y="35"/>
                    </a:cubicBezTo>
                    <a:cubicBezTo>
                      <a:pt x="66" y="37"/>
                      <a:pt x="63" y="42"/>
                      <a:pt x="61" y="46"/>
                    </a:cubicBezTo>
                    <a:cubicBezTo>
                      <a:pt x="58" y="50"/>
                      <a:pt x="55" y="57"/>
                      <a:pt x="54" y="61"/>
                    </a:cubicBezTo>
                    <a:cubicBezTo>
                      <a:pt x="53" y="66"/>
                      <a:pt x="52" y="70"/>
                      <a:pt x="51" y="70"/>
                    </a:cubicBezTo>
                    <a:cubicBezTo>
                      <a:pt x="50" y="70"/>
                      <a:pt x="45" y="71"/>
                      <a:pt x="40" y="71"/>
                    </a:cubicBezTo>
                    <a:cubicBezTo>
                      <a:pt x="35" y="72"/>
                      <a:pt x="31" y="72"/>
                      <a:pt x="30" y="73"/>
                    </a:cubicBezTo>
                    <a:cubicBezTo>
                      <a:pt x="29" y="74"/>
                      <a:pt x="28" y="84"/>
                      <a:pt x="27" y="93"/>
                    </a:cubicBezTo>
                    <a:cubicBezTo>
                      <a:pt x="27" y="95"/>
                      <a:pt x="20" y="99"/>
                      <a:pt x="16" y="99"/>
                    </a:cubicBezTo>
                    <a:cubicBezTo>
                      <a:pt x="14" y="99"/>
                      <a:pt x="10" y="98"/>
                      <a:pt x="8" y="9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19" name="Freeform 29">
                <a:extLst>
                  <a:ext uri="{FF2B5EF4-FFF2-40B4-BE49-F238E27FC236}">
                    <a16:creationId xmlns:a16="http://schemas.microsoft.com/office/drawing/2014/main" id="{145A8BF1-C472-4A53-9C63-2FDBE0669073}"/>
                  </a:ext>
                </a:extLst>
              </p:cNvPr>
              <p:cNvSpPr>
                <a:spLocks/>
              </p:cNvSpPr>
              <p:nvPr/>
            </p:nvSpPr>
            <p:spPr bwMode="auto">
              <a:xfrm>
                <a:off x="5259615" y="592909"/>
                <a:ext cx="283061" cy="190633"/>
              </a:xfrm>
              <a:custGeom>
                <a:avLst/>
                <a:gdLst>
                  <a:gd name="T0" fmla="*/ 16 w 62"/>
                  <a:gd name="T1" fmla="*/ 36 h 42"/>
                  <a:gd name="T2" fmla="*/ 1 w 62"/>
                  <a:gd name="T3" fmla="*/ 3 h 42"/>
                  <a:gd name="T4" fmla="*/ 37 w 62"/>
                  <a:gd name="T5" fmla="*/ 4 h 42"/>
                  <a:gd name="T6" fmla="*/ 59 w 62"/>
                  <a:gd name="T7" fmla="*/ 27 h 42"/>
                  <a:gd name="T8" fmla="*/ 48 w 62"/>
                  <a:gd name="T9" fmla="*/ 35 h 42"/>
                  <a:gd name="T10" fmla="*/ 33 w 62"/>
                  <a:gd name="T11" fmla="*/ 38 h 42"/>
                  <a:gd name="T12" fmla="*/ 16 w 62"/>
                  <a:gd name="T13" fmla="*/ 36 h 42"/>
                </a:gdLst>
                <a:ahLst/>
                <a:cxnLst>
                  <a:cxn ang="0">
                    <a:pos x="T0" y="T1"/>
                  </a:cxn>
                  <a:cxn ang="0">
                    <a:pos x="T2" y="T3"/>
                  </a:cxn>
                  <a:cxn ang="0">
                    <a:pos x="T4" y="T5"/>
                  </a:cxn>
                  <a:cxn ang="0">
                    <a:pos x="T6" y="T7"/>
                  </a:cxn>
                  <a:cxn ang="0">
                    <a:pos x="T8" y="T9"/>
                  </a:cxn>
                  <a:cxn ang="0">
                    <a:pos x="T10" y="T11"/>
                  </a:cxn>
                  <a:cxn ang="0">
                    <a:pos x="T12" y="T13"/>
                  </a:cxn>
                </a:cxnLst>
                <a:rect l="0" t="0" r="r" b="b"/>
                <a:pathLst>
                  <a:path w="62" h="42">
                    <a:moveTo>
                      <a:pt x="16" y="36"/>
                    </a:moveTo>
                    <a:cubicBezTo>
                      <a:pt x="9" y="25"/>
                      <a:pt x="0" y="5"/>
                      <a:pt x="1" y="3"/>
                    </a:cubicBezTo>
                    <a:cubicBezTo>
                      <a:pt x="2" y="0"/>
                      <a:pt x="30" y="0"/>
                      <a:pt x="37" y="4"/>
                    </a:cubicBezTo>
                    <a:cubicBezTo>
                      <a:pt x="45" y="8"/>
                      <a:pt x="55" y="19"/>
                      <a:pt x="59" y="27"/>
                    </a:cubicBezTo>
                    <a:cubicBezTo>
                      <a:pt x="62" y="33"/>
                      <a:pt x="58" y="35"/>
                      <a:pt x="48" y="35"/>
                    </a:cubicBezTo>
                    <a:cubicBezTo>
                      <a:pt x="41" y="35"/>
                      <a:pt x="37" y="35"/>
                      <a:pt x="33" y="38"/>
                    </a:cubicBezTo>
                    <a:cubicBezTo>
                      <a:pt x="24" y="42"/>
                      <a:pt x="19" y="42"/>
                      <a:pt x="16" y="3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20" name="Freeform 30">
                <a:extLst>
                  <a:ext uri="{FF2B5EF4-FFF2-40B4-BE49-F238E27FC236}">
                    <a16:creationId xmlns:a16="http://schemas.microsoft.com/office/drawing/2014/main" id="{BAD72C3C-119E-4A06-A68E-BA81151D9A55}"/>
                  </a:ext>
                </a:extLst>
              </p:cNvPr>
              <p:cNvSpPr>
                <a:spLocks/>
              </p:cNvSpPr>
              <p:nvPr/>
            </p:nvSpPr>
            <p:spPr bwMode="auto">
              <a:xfrm>
                <a:off x="4366145" y="-104151"/>
                <a:ext cx="947386" cy="573823"/>
              </a:xfrm>
              <a:custGeom>
                <a:avLst/>
                <a:gdLst>
                  <a:gd name="T0" fmla="*/ 71 w 208"/>
                  <a:gd name="T1" fmla="*/ 122 h 126"/>
                  <a:gd name="T2" fmla="*/ 61 w 208"/>
                  <a:gd name="T3" fmla="*/ 119 h 126"/>
                  <a:gd name="T4" fmla="*/ 51 w 208"/>
                  <a:gd name="T5" fmla="*/ 106 h 126"/>
                  <a:gd name="T6" fmla="*/ 49 w 208"/>
                  <a:gd name="T7" fmla="*/ 95 h 126"/>
                  <a:gd name="T8" fmla="*/ 48 w 208"/>
                  <a:gd name="T9" fmla="*/ 74 h 126"/>
                  <a:gd name="T10" fmla="*/ 50 w 208"/>
                  <a:gd name="T11" fmla="*/ 64 h 126"/>
                  <a:gd name="T12" fmla="*/ 46 w 208"/>
                  <a:gd name="T13" fmla="*/ 51 h 126"/>
                  <a:gd name="T14" fmla="*/ 42 w 208"/>
                  <a:gd name="T15" fmla="*/ 43 h 126"/>
                  <a:gd name="T16" fmla="*/ 31 w 208"/>
                  <a:gd name="T17" fmla="*/ 39 h 126"/>
                  <a:gd name="T18" fmla="*/ 18 w 208"/>
                  <a:gd name="T19" fmla="*/ 37 h 126"/>
                  <a:gd name="T20" fmla="*/ 0 w 208"/>
                  <a:gd name="T21" fmla="*/ 16 h 126"/>
                  <a:gd name="T22" fmla="*/ 1 w 208"/>
                  <a:gd name="T23" fmla="*/ 8 h 126"/>
                  <a:gd name="T24" fmla="*/ 17 w 208"/>
                  <a:gd name="T25" fmla="*/ 2 h 126"/>
                  <a:gd name="T26" fmla="*/ 38 w 208"/>
                  <a:gd name="T27" fmla="*/ 15 h 126"/>
                  <a:gd name="T28" fmla="*/ 52 w 208"/>
                  <a:gd name="T29" fmla="*/ 19 h 126"/>
                  <a:gd name="T30" fmla="*/ 69 w 208"/>
                  <a:gd name="T31" fmla="*/ 28 h 126"/>
                  <a:gd name="T32" fmla="*/ 72 w 208"/>
                  <a:gd name="T33" fmla="*/ 33 h 126"/>
                  <a:gd name="T34" fmla="*/ 77 w 208"/>
                  <a:gd name="T35" fmla="*/ 47 h 126"/>
                  <a:gd name="T36" fmla="*/ 80 w 208"/>
                  <a:gd name="T37" fmla="*/ 58 h 126"/>
                  <a:gd name="T38" fmla="*/ 84 w 208"/>
                  <a:gd name="T39" fmla="*/ 66 h 126"/>
                  <a:gd name="T40" fmla="*/ 90 w 208"/>
                  <a:gd name="T41" fmla="*/ 70 h 126"/>
                  <a:gd name="T42" fmla="*/ 108 w 208"/>
                  <a:gd name="T43" fmla="*/ 73 h 126"/>
                  <a:gd name="T44" fmla="*/ 120 w 208"/>
                  <a:gd name="T45" fmla="*/ 75 h 126"/>
                  <a:gd name="T46" fmla="*/ 128 w 208"/>
                  <a:gd name="T47" fmla="*/ 71 h 126"/>
                  <a:gd name="T48" fmla="*/ 138 w 208"/>
                  <a:gd name="T49" fmla="*/ 68 h 126"/>
                  <a:gd name="T50" fmla="*/ 145 w 208"/>
                  <a:gd name="T51" fmla="*/ 63 h 126"/>
                  <a:gd name="T52" fmla="*/ 163 w 208"/>
                  <a:gd name="T53" fmla="*/ 58 h 126"/>
                  <a:gd name="T54" fmla="*/ 190 w 208"/>
                  <a:gd name="T55" fmla="*/ 66 h 126"/>
                  <a:gd name="T56" fmla="*/ 203 w 208"/>
                  <a:gd name="T57" fmla="*/ 88 h 126"/>
                  <a:gd name="T58" fmla="*/ 204 w 208"/>
                  <a:gd name="T59" fmla="*/ 94 h 126"/>
                  <a:gd name="T60" fmla="*/ 203 w 208"/>
                  <a:gd name="T61" fmla="*/ 101 h 126"/>
                  <a:gd name="T62" fmla="*/ 200 w 208"/>
                  <a:gd name="T63" fmla="*/ 109 h 126"/>
                  <a:gd name="T64" fmla="*/ 193 w 208"/>
                  <a:gd name="T65" fmla="*/ 117 h 126"/>
                  <a:gd name="T66" fmla="*/ 161 w 208"/>
                  <a:gd name="T67" fmla="*/ 117 h 126"/>
                  <a:gd name="T68" fmla="*/ 158 w 208"/>
                  <a:gd name="T69" fmla="*/ 116 h 126"/>
                  <a:gd name="T70" fmla="*/ 149 w 208"/>
                  <a:gd name="T71" fmla="*/ 121 h 126"/>
                  <a:gd name="T72" fmla="*/ 122 w 208"/>
                  <a:gd name="T73" fmla="*/ 125 h 126"/>
                  <a:gd name="T74" fmla="*/ 92 w 208"/>
                  <a:gd name="T75" fmla="*/ 119 h 126"/>
                  <a:gd name="T76" fmla="*/ 84 w 208"/>
                  <a:gd name="T77" fmla="*/ 121 h 126"/>
                  <a:gd name="T78" fmla="*/ 78 w 208"/>
                  <a:gd name="T79" fmla="*/ 126 h 126"/>
                  <a:gd name="T80" fmla="*/ 71 w 208"/>
                  <a:gd name="T81" fmla="*/ 12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 h="126">
                    <a:moveTo>
                      <a:pt x="71" y="122"/>
                    </a:moveTo>
                    <a:cubicBezTo>
                      <a:pt x="68" y="120"/>
                      <a:pt x="63" y="119"/>
                      <a:pt x="61" y="119"/>
                    </a:cubicBezTo>
                    <a:cubicBezTo>
                      <a:pt x="54" y="119"/>
                      <a:pt x="52" y="116"/>
                      <a:pt x="51" y="106"/>
                    </a:cubicBezTo>
                    <a:cubicBezTo>
                      <a:pt x="51" y="101"/>
                      <a:pt x="50" y="96"/>
                      <a:pt x="49" y="95"/>
                    </a:cubicBezTo>
                    <a:cubicBezTo>
                      <a:pt x="47" y="91"/>
                      <a:pt x="46" y="78"/>
                      <a:pt x="48" y="74"/>
                    </a:cubicBezTo>
                    <a:cubicBezTo>
                      <a:pt x="49" y="73"/>
                      <a:pt x="49" y="68"/>
                      <a:pt x="50" y="64"/>
                    </a:cubicBezTo>
                    <a:cubicBezTo>
                      <a:pt x="50" y="57"/>
                      <a:pt x="49" y="55"/>
                      <a:pt x="46" y="51"/>
                    </a:cubicBezTo>
                    <a:cubicBezTo>
                      <a:pt x="44" y="48"/>
                      <a:pt x="42" y="44"/>
                      <a:pt x="42" y="43"/>
                    </a:cubicBezTo>
                    <a:cubicBezTo>
                      <a:pt x="41" y="40"/>
                      <a:pt x="40" y="40"/>
                      <a:pt x="31" y="39"/>
                    </a:cubicBezTo>
                    <a:cubicBezTo>
                      <a:pt x="25" y="39"/>
                      <a:pt x="19" y="38"/>
                      <a:pt x="18" y="37"/>
                    </a:cubicBezTo>
                    <a:cubicBezTo>
                      <a:pt x="14" y="36"/>
                      <a:pt x="1" y="20"/>
                      <a:pt x="0" y="16"/>
                    </a:cubicBezTo>
                    <a:cubicBezTo>
                      <a:pt x="0" y="14"/>
                      <a:pt x="0" y="10"/>
                      <a:pt x="1" y="8"/>
                    </a:cubicBezTo>
                    <a:cubicBezTo>
                      <a:pt x="3" y="2"/>
                      <a:pt x="6" y="0"/>
                      <a:pt x="17" y="2"/>
                    </a:cubicBezTo>
                    <a:cubicBezTo>
                      <a:pt x="29" y="3"/>
                      <a:pt x="36" y="7"/>
                      <a:pt x="38" y="15"/>
                    </a:cubicBezTo>
                    <a:cubicBezTo>
                      <a:pt x="39" y="19"/>
                      <a:pt x="43" y="20"/>
                      <a:pt x="52" y="19"/>
                    </a:cubicBezTo>
                    <a:cubicBezTo>
                      <a:pt x="64" y="18"/>
                      <a:pt x="69" y="21"/>
                      <a:pt x="69" y="28"/>
                    </a:cubicBezTo>
                    <a:cubicBezTo>
                      <a:pt x="69" y="31"/>
                      <a:pt x="70" y="32"/>
                      <a:pt x="72" y="33"/>
                    </a:cubicBezTo>
                    <a:cubicBezTo>
                      <a:pt x="78" y="36"/>
                      <a:pt x="79" y="41"/>
                      <a:pt x="77" y="47"/>
                    </a:cubicBezTo>
                    <a:cubicBezTo>
                      <a:pt x="75" y="53"/>
                      <a:pt x="75" y="53"/>
                      <a:pt x="80" y="58"/>
                    </a:cubicBezTo>
                    <a:cubicBezTo>
                      <a:pt x="82" y="60"/>
                      <a:pt x="84" y="64"/>
                      <a:pt x="84" y="66"/>
                    </a:cubicBezTo>
                    <a:cubicBezTo>
                      <a:pt x="84" y="68"/>
                      <a:pt x="85" y="69"/>
                      <a:pt x="90" y="70"/>
                    </a:cubicBezTo>
                    <a:cubicBezTo>
                      <a:pt x="94" y="70"/>
                      <a:pt x="102" y="72"/>
                      <a:pt x="108" y="73"/>
                    </a:cubicBezTo>
                    <a:cubicBezTo>
                      <a:pt x="120" y="75"/>
                      <a:pt x="120" y="75"/>
                      <a:pt x="120" y="75"/>
                    </a:cubicBezTo>
                    <a:cubicBezTo>
                      <a:pt x="128" y="71"/>
                      <a:pt x="128" y="71"/>
                      <a:pt x="128" y="71"/>
                    </a:cubicBezTo>
                    <a:cubicBezTo>
                      <a:pt x="133" y="69"/>
                      <a:pt x="137" y="68"/>
                      <a:pt x="138" y="68"/>
                    </a:cubicBezTo>
                    <a:cubicBezTo>
                      <a:pt x="139" y="68"/>
                      <a:pt x="142" y="65"/>
                      <a:pt x="145" y="63"/>
                    </a:cubicBezTo>
                    <a:cubicBezTo>
                      <a:pt x="151" y="58"/>
                      <a:pt x="152" y="58"/>
                      <a:pt x="163" y="58"/>
                    </a:cubicBezTo>
                    <a:cubicBezTo>
                      <a:pt x="176" y="58"/>
                      <a:pt x="180" y="59"/>
                      <a:pt x="190" y="66"/>
                    </a:cubicBezTo>
                    <a:cubicBezTo>
                      <a:pt x="202" y="73"/>
                      <a:pt x="208" y="84"/>
                      <a:pt x="203" y="88"/>
                    </a:cubicBezTo>
                    <a:cubicBezTo>
                      <a:pt x="202" y="89"/>
                      <a:pt x="202" y="91"/>
                      <a:pt x="204" y="94"/>
                    </a:cubicBezTo>
                    <a:cubicBezTo>
                      <a:pt x="205" y="98"/>
                      <a:pt x="205" y="99"/>
                      <a:pt x="203" y="101"/>
                    </a:cubicBezTo>
                    <a:cubicBezTo>
                      <a:pt x="202" y="103"/>
                      <a:pt x="200" y="106"/>
                      <a:pt x="200" y="109"/>
                    </a:cubicBezTo>
                    <a:cubicBezTo>
                      <a:pt x="200" y="113"/>
                      <a:pt x="199" y="114"/>
                      <a:pt x="193" y="117"/>
                    </a:cubicBezTo>
                    <a:cubicBezTo>
                      <a:pt x="181" y="123"/>
                      <a:pt x="164" y="123"/>
                      <a:pt x="161" y="117"/>
                    </a:cubicBezTo>
                    <a:cubicBezTo>
                      <a:pt x="160" y="114"/>
                      <a:pt x="160" y="114"/>
                      <a:pt x="158" y="116"/>
                    </a:cubicBezTo>
                    <a:cubicBezTo>
                      <a:pt x="157" y="117"/>
                      <a:pt x="153" y="119"/>
                      <a:pt x="149" y="121"/>
                    </a:cubicBezTo>
                    <a:cubicBezTo>
                      <a:pt x="144" y="124"/>
                      <a:pt x="140" y="124"/>
                      <a:pt x="122" y="125"/>
                    </a:cubicBezTo>
                    <a:cubicBezTo>
                      <a:pt x="99" y="125"/>
                      <a:pt x="94" y="124"/>
                      <a:pt x="92" y="119"/>
                    </a:cubicBezTo>
                    <a:cubicBezTo>
                      <a:pt x="91" y="115"/>
                      <a:pt x="90" y="115"/>
                      <a:pt x="84" y="121"/>
                    </a:cubicBezTo>
                    <a:cubicBezTo>
                      <a:pt x="82" y="123"/>
                      <a:pt x="79" y="126"/>
                      <a:pt x="78" y="126"/>
                    </a:cubicBezTo>
                    <a:cubicBezTo>
                      <a:pt x="77" y="126"/>
                      <a:pt x="74" y="124"/>
                      <a:pt x="71" y="12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21" name="Freeform 31">
                <a:extLst>
                  <a:ext uri="{FF2B5EF4-FFF2-40B4-BE49-F238E27FC236}">
                    <a16:creationId xmlns:a16="http://schemas.microsoft.com/office/drawing/2014/main" id="{4C1D18BA-A956-4BBF-9E40-DAF8011005F3}"/>
                  </a:ext>
                </a:extLst>
              </p:cNvPr>
              <p:cNvSpPr>
                <a:spLocks/>
              </p:cNvSpPr>
              <p:nvPr/>
            </p:nvSpPr>
            <p:spPr bwMode="auto">
              <a:xfrm>
                <a:off x="4352666" y="209718"/>
                <a:ext cx="190633" cy="227219"/>
              </a:xfrm>
              <a:custGeom>
                <a:avLst/>
                <a:gdLst>
                  <a:gd name="T0" fmla="*/ 26 w 42"/>
                  <a:gd name="T1" fmla="*/ 49 h 50"/>
                  <a:gd name="T2" fmla="*/ 3 w 42"/>
                  <a:gd name="T3" fmla="*/ 33 h 50"/>
                  <a:gd name="T4" fmla="*/ 7 w 42"/>
                  <a:gd name="T5" fmla="*/ 14 h 50"/>
                  <a:gd name="T6" fmla="*/ 18 w 42"/>
                  <a:gd name="T7" fmla="*/ 2 h 50"/>
                  <a:gd name="T8" fmla="*/ 37 w 42"/>
                  <a:gd name="T9" fmla="*/ 6 h 50"/>
                  <a:gd name="T10" fmla="*/ 41 w 42"/>
                  <a:gd name="T11" fmla="*/ 26 h 50"/>
                  <a:gd name="T12" fmla="*/ 39 w 42"/>
                  <a:gd name="T13" fmla="*/ 46 h 50"/>
                  <a:gd name="T14" fmla="*/ 26 w 42"/>
                  <a:gd name="T15" fmla="*/ 49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50">
                    <a:moveTo>
                      <a:pt x="26" y="49"/>
                    </a:moveTo>
                    <a:cubicBezTo>
                      <a:pt x="23" y="48"/>
                      <a:pt x="7" y="37"/>
                      <a:pt x="3" y="33"/>
                    </a:cubicBezTo>
                    <a:cubicBezTo>
                      <a:pt x="0" y="30"/>
                      <a:pt x="1" y="25"/>
                      <a:pt x="7" y="14"/>
                    </a:cubicBezTo>
                    <a:cubicBezTo>
                      <a:pt x="11" y="5"/>
                      <a:pt x="13" y="3"/>
                      <a:pt x="18" y="2"/>
                    </a:cubicBezTo>
                    <a:cubicBezTo>
                      <a:pt x="24" y="0"/>
                      <a:pt x="31" y="1"/>
                      <a:pt x="37" y="6"/>
                    </a:cubicBezTo>
                    <a:cubicBezTo>
                      <a:pt x="40" y="9"/>
                      <a:pt x="41" y="10"/>
                      <a:pt x="41" y="26"/>
                    </a:cubicBezTo>
                    <a:cubicBezTo>
                      <a:pt x="42" y="42"/>
                      <a:pt x="42" y="42"/>
                      <a:pt x="39" y="46"/>
                    </a:cubicBezTo>
                    <a:cubicBezTo>
                      <a:pt x="35" y="49"/>
                      <a:pt x="32" y="50"/>
                      <a:pt x="26" y="4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22" name="Freeform 32">
                <a:extLst>
                  <a:ext uri="{FF2B5EF4-FFF2-40B4-BE49-F238E27FC236}">
                    <a16:creationId xmlns:a16="http://schemas.microsoft.com/office/drawing/2014/main" id="{937A1570-8E8E-4C47-94AD-6073062BC5A5}"/>
                  </a:ext>
                </a:extLst>
              </p:cNvPr>
              <p:cNvSpPr>
                <a:spLocks/>
              </p:cNvSpPr>
              <p:nvPr/>
            </p:nvSpPr>
            <p:spPr bwMode="auto">
              <a:xfrm>
                <a:off x="3982954" y="-32905"/>
                <a:ext cx="342753" cy="360084"/>
              </a:xfrm>
              <a:custGeom>
                <a:avLst/>
                <a:gdLst>
                  <a:gd name="T0" fmla="*/ 51 w 75"/>
                  <a:gd name="T1" fmla="*/ 76 h 79"/>
                  <a:gd name="T2" fmla="*/ 38 w 75"/>
                  <a:gd name="T3" fmla="*/ 62 h 79"/>
                  <a:gd name="T4" fmla="*/ 43 w 75"/>
                  <a:gd name="T5" fmla="*/ 55 h 79"/>
                  <a:gd name="T6" fmla="*/ 47 w 75"/>
                  <a:gd name="T7" fmla="*/ 51 h 79"/>
                  <a:gd name="T8" fmla="*/ 34 w 75"/>
                  <a:gd name="T9" fmla="*/ 52 h 79"/>
                  <a:gd name="T10" fmla="*/ 17 w 75"/>
                  <a:gd name="T11" fmla="*/ 42 h 79"/>
                  <a:gd name="T12" fmla="*/ 7 w 75"/>
                  <a:gd name="T13" fmla="*/ 28 h 79"/>
                  <a:gd name="T14" fmla="*/ 0 w 75"/>
                  <a:gd name="T15" fmla="*/ 23 h 79"/>
                  <a:gd name="T16" fmla="*/ 2 w 75"/>
                  <a:gd name="T17" fmla="*/ 18 h 79"/>
                  <a:gd name="T18" fmla="*/ 11 w 75"/>
                  <a:gd name="T19" fmla="*/ 14 h 79"/>
                  <a:gd name="T20" fmla="*/ 23 w 75"/>
                  <a:gd name="T21" fmla="*/ 20 h 79"/>
                  <a:gd name="T22" fmla="*/ 29 w 75"/>
                  <a:gd name="T23" fmla="*/ 28 h 79"/>
                  <a:gd name="T24" fmla="*/ 39 w 75"/>
                  <a:gd name="T25" fmla="*/ 35 h 79"/>
                  <a:gd name="T26" fmla="*/ 44 w 75"/>
                  <a:gd name="T27" fmla="*/ 30 h 79"/>
                  <a:gd name="T28" fmla="*/ 35 w 75"/>
                  <a:gd name="T29" fmla="*/ 17 h 79"/>
                  <a:gd name="T30" fmla="*/ 31 w 75"/>
                  <a:gd name="T31" fmla="*/ 12 h 79"/>
                  <a:gd name="T32" fmla="*/ 38 w 75"/>
                  <a:gd name="T33" fmla="*/ 5 h 79"/>
                  <a:gd name="T34" fmla="*/ 49 w 75"/>
                  <a:gd name="T35" fmla="*/ 0 h 79"/>
                  <a:gd name="T36" fmla="*/ 61 w 75"/>
                  <a:gd name="T37" fmla="*/ 1 h 79"/>
                  <a:gd name="T38" fmla="*/ 72 w 75"/>
                  <a:gd name="T39" fmla="*/ 4 h 79"/>
                  <a:gd name="T40" fmla="*/ 75 w 75"/>
                  <a:gd name="T41" fmla="*/ 7 h 79"/>
                  <a:gd name="T42" fmla="*/ 74 w 75"/>
                  <a:gd name="T43" fmla="*/ 33 h 79"/>
                  <a:gd name="T44" fmla="*/ 72 w 75"/>
                  <a:gd name="T45" fmla="*/ 61 h 79"/>
                  <a:gd name="T46" fmla="*/ 71 w 75"/>
                  <a:gd name="T47" fmla="*/ 68 h 79"/>
                  <a:gd name="T48" fmla="*/ 63 w 75"/>
                  <a:gd name="T49" fmla="*/ 78 h 79"/>
                  <a:gd name="T50" fmla="*/ 51 w 75"/>
                  <a:gd name="T51" fmla="*/ 7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5" h="79">
                    <a:moveTo>
                      <a:pt x="51" y="76"/>
                    </a:moveTo>
                    <a:cubicBezTo>
                      <a:pt x="45" y="73"/>
                      <a:pt x="38" y="66"/>
                      <a:pt x="38" y="62"/>
                    </a:cubicBezTo>
                    <a:cubicBezTo>
                      <a:pt x="38" y="60"/>
                      <a:pt x="40" y="58"/>
                      <a:pt x="43" y="55"/>
                    </a:cubicBezTo>
                    <a:cubicBezTo>
                      <a:pt x="47" y="51"/>
                      <a:pt x="47" y="51"/>
                      <a:pt x="47" y="51"/>
                    </a:cubicBezTo>
                    <a:cubicBezTo>
                      <a:pt x="34" y="52"/>
                      <a:pt x="34" y="52"/>
                      <a:pt x="34" y="52"/>
                    </a:cubicBezTo>
                    <a:cubicBezTo>
                      <a:pt x="19" y="52"/>
                      <a:pt x="17" y="51"/>
                      <a:pt x="17" y="42"/>
                    </a:cubicBezTo>
                    <a:cubicBezTo>
                      <a:pt x="17" y="35"/>
                      <a:pt x="15" y="33"/>
                      <a:pt x="7" y="28"/>
                    </a:cubicBezTo>
                    <a:cubicBezTo>
                      <a:pt x="3" y="25"/>
                      <a:pt x="0" y="23"/>
                      <a:pt x="0" y="23"/>
                    </a:cubicBezTo>
                    <a:cubicBezTo>
                      <a:pt x="0" y="22"/>
                      <a:pt x="1" y="20"/>
                      <a:pt x="2" y="18"/>
                    </a:cubicBezTo>
                    <a:cubicBezTo>
                      <a:pt x="4" y="14"/>
                      <a:pt x="5" y="14"/>
                      <a:pt x="11" y="14"/>
                    </a:cubicBezTo>
                    <a:cubicBezTo>
                      <a:pt x="19" y="15"/>
                      <a:pt x="23" y="17"/>
                      <a:pt x="23" y="20"/>
                    </a:cubicBezTo>
                    <a:cubicBezTo>
                      <a:pt x="23" y="21"/>
                      <a:pt x="25" y="24"/>
                      <a:pt x="29" y="28"/>
                    </a:cubicBezTo>
                    <a:cubicBezTo>
                      <a:pt x="34" y="33"/>
                      <a:pt x="36" y="35"/>
                      <a:pt x="39" y="35"/>
                    </a:cubicBezTo>
                    <a:cubicBezTo>
                      <a:pt x="43" y="35"/>
                      <a:pt x="43" y="34"/>
                      <a:pt x="44" y="30"/>
                    </a:cubicBezTo>
                    <a:cubicBezTo>
                      <a:pt x="45" y="24"/>
                      <a:pt x="43" y="21"/>
                      <a:pt x="35" y="17"/>
                    </a:cubicBezTo>
                    <a:cubicBezTo>
                      <a:pt x="33" y="15"/>
                      <a:pt x="31" y="13"/>
                      <a:pt x="31" y="12"/>
                    </a:cubicBezTo>
                    <a:cubicBezTo>
                      <a:pt x="31" y="12"/>
                      <a:pt x="34" y="8"/>
                      <a:pt x="38" y="5"/>
                    </a:cubicBezTo>
                    <a:cubicBezTo>
                      <a:pt x="43" y="1"/>
                      <a:pt x="46" y="0"/>
                      <a:pt x="49" y="0"/>
                    </a:cubicBezTo>
                    <a:cubicBezTo>
                      <a:pt x="51" y="0"/>
                      <a:pt x="56" y="1"/>
                      <a:pt x="61" y="1"/>
                    </a:cubicBezTo>
                    <a:cubicBezTo>
                      <a:pt x="65" y="2"/>
                      <a:pt x="70" y="3"/>
                      <a:pt x="72" y="4"/>
                    </a:cubicBezTo>
                    <a:cubicBezTo>
                      <a:pt x="75" y="7"/>
                      <a:pt x="75" y="7"/>
                      <a:pt x="75" y="7"/>
                    </a:cubicBezTo>
                    <a:cubicBezTo>
                      <a:pt x="74" y="33"/>
                      <a:pt x="74" y="33"/>
                      <a:pt x="74" y="33"/>
                    </a:cubicBezTo>
                    <a:cubicBezTo>
                      <a:pt x="74" y="48"/>
                      <a:pt x="73" y="60"/>
                      <a:pt x="72" y="61"/>
                    </a:cubicBezTo>
                    <a:cubicBezTo>
                      <a:pt x="71" y="62"/>
                      <a:pt x="71" y="65"/>
                      <a:pt x="71" y="68"/>
                    </a:cubicBezTo>
                    <a:cubicBezTo>
                      <a:pt x="73" y="75"/>
                      <a:pt x="70" y="79"/>
                      <a:pt x="63" y="78"/>
                    </a:cubicBezTo>
                    <a:cubicBezTo>
                      <a:pt x="60" y="78"/>
                      <a:pt x="55" y="77"/>
                      <a:pt x="51" y="7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23" name="Freeform 33">
                <a:extLst>
                  <a:ext uri="{FF2B5EF4-FFF2-40B4-BE49-F238E27FC236}">
                    <a16:creationId xmlns:a16="http://schemas.microsoft.com/office/drawing/2014/main" id="{54C1A11C-ADA6-49D0-901C-E91DCE9AE580}"/>
                  </a:ext>
                </a:extLst>
              </p:cNvPr>
              <p:cNvSpPr>
                <a:spLocks/>
              </p:cNvSpPr>
              <p:nvPr/>
            </p:nvSpPr>
            <p:spPr bwMode="auto">
              <a:xfrm>
                <a:off x="3659456" y="-154216"/>
                <a:ext cx="269581" cy="454437"/>
              </a:xfrm>
              <a:custGeom>
                <a:avLst/>
                <a:gdLst>
                  <a:gd name="T0" fmla="*/ 19 w 59"/>
                  <a:gd name="T1" fmla="*/ 94 h 100"/>
                  <a:gd name="T2" fmla="*/ 6 w 59"/>
                  <a:gd name="T3" fmla="*/ 93 h 100"/>
                  <a:gd name="T4" fmla="*/ 2 w 59"/>
                  <a:gd name="T5" fmla="*/ 94 h 100"/>
                  <a:gd name="T6" fmla="*/ 10 w 59"/>
                  <a:gd name="T7" fmla="*/ 61 h 100"/>
                  <a:gd name="T8" fmla="*/ 11 w 59"/>
                  <a:gd name="T9" fmla="*/ 54 h 100"/>
                  <a:gd name="T10" fmla="*/ 21 w 59"/>
                  <a:gd name="T11" fmla="*/ 7 h 100"/>
                  <a:gd name="T12" fmla="*/ 32 w 59"/>
                  <a:gd name="T13" fmla="*/ 13 h 100"/>
                  <a:gd name="T14" fmla="*/ 32 w 59"/>
                  <a:gd name="T15" fmla="*/ 18 h 100"/>
                  <a:gd name="T16" fmla="*/ 31 w 59"/>
                  <a:gd name="T17" fmla="*/ 34 h 100"/>
                  <a:gd name="T18" fmla="*/ 30 w 59"/>
                  <a:gd name="T19" fmla="*/ 43 h 100"/>
                  <a:gd name="T20" fmla="*/ 34 w 59"/>
                  <a:gd name="T21" fmla="*/ 49 h 100"/>
                  <a:gd name="T22" fmla="*/ 44 w 59"/>
                  <a:gd name="T23" fmla="*/ 47 h 100"/>
                  <a:gd name="T24" fmla="*/ 53 w 59"/>
                  <a:gd name="T25" fmla="*/ 48 h 100"/>
                  <a:gd name="T26" fmla="*/ 54 w 59"/>
                  <a:gd name="T27" fmla="*/ 79 h 100"/>
                  <a:gd name="T28" fmla="*/ 49 w 59"/>
                  <a:gd name="T29" fmla="*/ 87 h 100"/>
                  <a:gd name="T30" fmla="*/ 19 w 59"/>
                  <a:gd name="T31" fmla="*/ 9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 h="100">
                    <a:moveTo>
                      <a:pt x="19" y="94"/>
                    </a:moveTo>
                    <a:cubicBezTo>
                      <a:pt x="14" y="90"/>
                      <a:pt x="10" y="90"/>
                      <a:pt x="6" y="93"/>
                    </a:cubicBezTo>
                    <a:cubicBezTo>
                      <a:pt x="5" y="95"/>
                      <a:pt x="3" y="95"/>
                      <a:pt x="2" y="94"/>
                    </a:cubicBezTo>
                    <a:cubicBezTo>
                      <a:pt x="0" y="93"/>
                      <a:pt x="7" y="61"/>
                      <a:pt x="10" y="61"/>
                    </a:cubicBezTo>
                    <a:cubicBezTo>
                      <a:pt x="11" y="62"/>
                      <a:pt x="11" y="59"/>
                      <a:pt x="11" y="54"/>
                    </a:cubicBezTo>
                    <a:cubicBezTo>
                      <a:pt x="11" y="45"/>
                      <a:pt x="18" y="11"/>
                      <a:pt x="21" y="7"/>
                    </a:cubicBezTo>
                    <a:cubicBezTo>
                      <a:pt x="25" y="0"/>
                      <a:pt x="36" y="6"/>
                      <a:pt x="32" y="13"/>
                    </a:cubicBezTo>
                    <a:cubicBezTo>
                      <a:pt x="31" y="14"/>
                      <a:pt x="31" y="16"/>
                      <a:pt x="32" y="18"/>
                    </a:cubicBezTo>
                    <a:cubicBezTo>
                      <a:pt x="34" y="22"/>
                      <a:pt x="33" y="31"/>
                      <a:pt x="31" y="34"/>
                    </a:cubicBezTo>
                    <a:cubicBezTo>
                      <a:pt x="31" y="36"/>
                      <a:pt x="30" y="39"/>
                      <a:pt x="30" y="43"/>
                    </a:cubicBezTo>
                    <a:cubicBezTo>
                      <a:pt x="30" y="47"/>
                      <a:pt x="31" y="48"/>
                      <a:pt x="34" y="49"/>
                    </a:cubicBezTo>
                    <a:cubicBezTo>
                      <a:pt x="36" y="49"/>
                      <a:pt x="40" y="48"/>
                      <a:pt x="44" y="47"/>
                    </a:cubicBezTo>
                    <a:cubicBezTo>
                      <a:pt x="49" y="46"/>
                      <a:pt x="50" y="46"/>
                      <a:pt x="53" y="48"/>
                    </a:cubicBezTo>
                    <a:cubicBezTo>
                      <a:pt x="58" y="54"/>
                      <a:pt x="59" y="73"/>
                      <a:pt x="54" y="79"/>
                    </a:cubicBezTo>
                    <a:cubicBezTo>
                      <a:pt x="53" y="81"/>
                      <a:pt x="51" y="84"/>
                      <a:pt x="49" y="87"/>
                    </a:cubicBezTo>
                    <a:cubicBezTo>
                      <a:pt x="43" y="97"/>
                      <a:pt x="30" y="100"/>
                      <a:pt x="19" y="9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24" name="Freeform 34">
                <a:extLst>
                  <a:ext uri="{FF2B5EF4-FFF2-40B4-BE49-F238E27FC236}">
                    <a16:creationId xmlns:a16="http://schemas.microsoft.com/office/drawing/2014/main" id="{46E7C592-CC07-471F-8AC3-F55DA992C240}"/>
                  </a:ext>
                </a:extLst>
              </p:cNvPr>
              <p:cNvSpPr>
                <a:spLocks/>
              </p:cNvSpPr>
              <p:nvPr/>
            </p:nvSpPr>
            <p:spPr bwMode="auto">
              <a:xfrm>
                <a:off x="3919410" y="209718"/>
                <a:ext cx="86652" cy="77023"/>
              </a:xfrm>
              <a:custGeom>
                <a:avLst/>
                <a:gdLst>
                  <a:gd name="T0" fmla="*/ 1 w 19"/>
                  <a:gd name="T1" fmla="*/ 13 h 17"/>
                  <a:gd name="T2" fmla="*/ 2 w 19"/>
                  <a:gd name="T3" fmla="*/ 6 h 17"/>
                  <a:gd name="T4" fmla="*/ 5 w 19"/>
                  <a:gd name="T5" fmla="*/ 2 h 17"/>
                  <a:gd name="T6" fmla="*/ 9 w 19"/>
                  <a:gd name="T7" fmla="*/ 1 h 17"/>
                  <a:gd name="T8" fmla="*/ 17 w 19"/>
                  <a:gd name="T9" fmla="*/ 7 h 17"/>
                  <a:gd name="T10" fmla="*/ 18 w 19"/>
                  <a:gd name="T11" fmla="*/ 15 h 17"/>
                  <a:gd name="T12" fmla="*/ 10 w 19"/>
                  <a:gd name="T13" fmla="*/ 16 h 17"/>
                  <a:gd name="T14" fmla="*/ 1 w 19"/>
                  <a:gd name="T15" fmla="*/ 13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7">
                    <a:moveTo>
                      <a:pt x="1" y="13"/>
                    </a:moveTo>
                    <a:cubicBezTo>
                      <a:pt x="0" y="11"/>
                      <a:pt x="0" y="9"/>
                      <a:pt x="2" y="6"/>
                    </a:cubicBezTo>
                    <a:cubicBezTo>
                      <a:pt x="3" y="4"/>
                      <a:pt x="5" y="2"/>
                      <a:pt x="5" y="2"/>
                    </a:cubicBezTo>
                    <a:cubicBezTo>
                      <a:pt x="5" y="2"/>
                      <a:pt x="7" y="1"/>
                      <a:pt x="9" y="1"/>
                    </a:cubicBezTo>
                    <a:cubicBezTo>
                      <a:pt x="13" y="0"/>
                      <a:pt x="14" y="0"/>
                      <a:pt x="17" y="7"/>
                    </a:cubicBezTo>
                    <a:cubicBezTo>
                      <a:pt x="18" y="11"/>
                      <a:pt x="19" y="14"/>
                      <a:pt x="18" y="15"/>
                    </a:cubicBezTo>
                    <a:cubicBezTo>
                      <a:pt x="18" y="15"/>
                      <a:pt x="14" y="16"/>
                      <a:pt x="10" y="16"/>
                    </a:cubicBezTo>
                    <a:cubicBezTo>
                      <a:pt x="3" y="17"/>
                      <a:pt x="2" y="17"/>
                      <a:pt x="1" y="1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25" name="Freeform 35">
                <a:extLst>
                  <a:ext uri="{FF2B5EF4-FFF2-40B4-BE49-F238E27FC236}">
                    <a16:creationId xmlns:a16="http://schemas.microsoft.com/office/drawing/2014/main" id="{28437079-E3DB-47CF-AC09-A651681BCF96}"/>
                  </a:ext>
                </a:extLst>
              </p:cNvPr>
              <p:cNvSpPr>
                <a:spLocks/>
              </p:cNvSpPr>
              <p:nvPr/>
            </p:nvSpPr>
            <p:spPr bwMode="auto">
              <a:xfrm>
                <a:off x="4635727" y="-1658096"/>
                <a:ext cx="1060996" cy="1767684"/>
              </a:xfrm>
              <a:custGeom>
                <a:avLst/>
                <a:gdLst>
                  <a:gd name="T0" fmla="*/ 114 w 233"/>
                  <a:gd name="T1" fmla="*/ 369 h 388"/>
                  <a:gd name="T2" fmla="*/ 93 w 233"/>
                  <a:gd name="T3" fmla="*/ 371 h 388"/>
                  <a:gd name="T4" fmla="*/ 79 w 233"/>
                  <a:gd name="T5" fmla="*/ 370 h 388"/>
                  <a:gd name="T6" fmla="*/ 26 w 233"/>
                  <a:gd name="T7" fmla="*/ 372 h 388"/>
                  <a:gd name="T8" fmla="*/ 39 w 233"/>
                  <a:gd name="T9" fmla="*/ 335 h 388"/>
                  <a:gd name="T10" fmla="*/ 46 w 233"/>
                  <a:gd name="T11" fmla="*/ 300 h 388"/>
                  <a:gd name="T12" fmla="*/ 74 w 233"/>
                  <a:gd name="T13" fmla="*/ 322 h 388"/>
                  <a:gd name="T14" fmla="*/ 64 w 233"/>
                  <a:gd name="T15" fmla="*/ 295 h 388"/>
                  <a:gd name="T16" fmla="*/ 42 w 233"/>
                  <a:gd name="T17" fmla="*/ 280 h 388"/>
                  <a:gd name="T18" fmla="*/ 60 w 233"/>
                  <a:gd name="T19" fmla="*/ 250 h 388"/>
                  <a:gd name="T20" fmla="*/ 90 w 233"/>
                  <a:gd name="T21" fmla="*/ 254 h 388"/>
                  <a:gd name="T22" fmla="*/ 86 w 233"/>
                  <a:gd name="T23" fmla="*/ 247 h 388"/>
                  <a:gd name="T24" fmla="*/ 55 w 233"/>
                  <a:gd name="T25" fmla="*/ 205 h 388"/>
                  <a:gd name="T26" fmla="*/ 60 w 233"/>
                  <a:gd name="T27" fmla="*/ 172 h 388"/>
                  <a:gd name="T28" fmla="*/ 84 w 233"/>
                  <a:gd name="T29" fmla="*/ 184 h 388"/>
                  <a:gd name="T30" fmla="*/ 105 w 233"/>
                  <a:gd name="T31" fmla="*/ 157 h 388"/>
                  <a:gd name="T32" fmla="*/ 119 w 233"/>
                  <a:gd name="T33" fmla="*/ 140 h 388"/>
                  <a:gd name="T34" fmla="*/ 108 w 233"/>
                  <a:gd name="T35" fmla="*/ 133 h 388"/>
                  <a:gd name="T36" fmla="*/ 51 w 233"/>
                  <a:gd name="T37" fmla="*/ 152 h 388"/>
                  <a:gd name="T38" fmla="*/ 48 w 233"/>
                  <a:gd name="T39" fmla="*/ 145 h 388"/>
                  <a:gd name="T40" fmla="*/ 24 w 233"/>
                  <a:gd name="T41" fmla="*/ 138 h 388"/>
                  <a:gd name="T42" fmla="*/ 14 w 233"/>
                  <a:gd name="T43" fmla="*/ 126 h 388"/>
                  <a:gd name="T44" fmla="*/ 18 w 233"/>
                  <a:gd name="T45" fmla="*/ 106 h 388"/>
                  <a:gd name="T46" fmla="*/ 27 w 233"/>
                  <a:gd name="T47" fmla="*/ 77 h 388"/>
                  <a:gd name="T48" fmla="*/ 47 w 233"/>
                  <a:gd name="T49" fmla="*/ 61 h 388"/>
                  <a:gd name="T50" fmla="*/ 62 w 233"/>
                  <a:gd name="T51" fmla="*/ 50 h 388"/>
                  <a:gd name="T52" fmla="*/ 80 w 233"/>
                  <a:gd name="T53" fmla="*/ 40 h 388"/>
                  <a:gd name="T54" fmla="*/ 100 w 233"/>
                  <a:gd name="T55" fmla="*/ 17 h 388"/>
                  <a:gd name="T56" fmla="*/ 138 w 233"/>
                  <a:gd name="T57" fmla="*/ 6 h 388"/>
                  <a:gd name="T58" fmla="*/ 183 w 233"/>
                  <a:gd name="T59" fmla="*/ 1 h 388"/>
                  <a:gd name="T60" fmla="*/ 221 w 233"/>
                  <a:gd name="T61" fmla="*/ 14 h 388"/>
                  <a:gd name="T62" fmla="*/ 222 w 233"/>
                  <a:gd name="T63" fmla="*/ 65 h 388"/>
                  <a:gd name="T64" fmla="*/ 198 w 233"/>
                  <a:gd name="T65" fmla="*/ 94 h 388"/>
                  <a:gd name="T66" fmla="*/ 217 w 233"/>
                  <a:gd name="T67" fmla="*/ 76 h 388"/>
                  <a:gd name="T68" fmla="*/ 222 w 233"/>
                  <a:gd name="T69" fmla="*/ 99 h 388"/>
                  <a:gd name="T70" fmla="*/ 198 w 233"/>
                  <a:gd name="T71" fmla="*/ 153 h 388"/>
                  <a:gd name="T72" fmla="*/ 174 w 233"/>
                  <a:gd name="T73" fmla="*/ 198 h 388"/>
                  <a:gd name="T74" fmla="*/ 151 w 233"/>
                  <a:gd name="T75" fmla="*/ 215 h 388"/>
                  <a:gd name="T76" fmla="*/ 152 w 233"/>
                  <a:gd name="T77" fmla="*/ 235 h 388"/>
                  <a:gd name="T78" fmla="*/ 166 w 233"/>
                  <a:gd name="T79" fmla="*/ 240 h 388"/>
                  <a:gd name="T80" fmla="*/ 171 w 233"/>
                  <a:gd name="T81" fmla="*/ 271 h 388"/>
                  <a:gd name="T82" fmla="*/ 151 w 233"/>
                  <a:gd name="T83" fmla="*/ 294 h 388"/>
                  <a:gd name="T84" fmla="*/ 144 w 233"/>
                  <a:gd name="T85" fmla="*/ 320 h 388"/>
                  <a:gd name="T86" fmla="*/ 151 w 233"/>
                  <a:gd name="T87" fmla="*/ 34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3" h="388">
                    <a:moveTo>
                      <a:pt x="120" y="379"/>
                    </a:moveTo>
                    <a:cubicBezTo>
                      <a:pt x="119" y="377"/>
                      <a:pt x="119" y="376"/>
                      <a:pt x="119" y="375"/>
                    </a:cubicBezTo>
                    <a:cubicBezTo>
                      <a:pt x="120" y="373"/>
                      <a:pt x="119" y="371"/>
                      <a:pt x="114" y="369"/>
                    </a:cubicBezTo>
                    <a:cubicBezTo>
                      <a:pt x="110" y="367"/>
                      <a:pt x="110" y="367"/>
                      <a:pt x="106" y="370"/>
                    </a:cubicBezTo>
                    <a:cubicBezTo>
                      <a:pt x="104" y="373"/>
                      <a:pt x="102" y="373"/>
                      <a:pt x="100" y="373"/>
                    </a:cubicBezTo>
                    <a:cubicBezTo>
                      <a:pt x="98" y="372"/>
                      <a:pt x="95" y="371"/>
                      <a:pt x="93" y="371"/>
                    </a:cubicBezTo>
                    <a:cubicBezTo>
                      <a:pt x="91" y="371"/>
                      <a:pt x="88" y="369"/>
                      <a:pt x="87" y="367"/>
                    </a:cubicBezTo>
                    <a:cubicBezTo>
                      <a:pt x="84" y="363"/>
                      <a:pt x="83" y="363"/>
                      <a:pt x="81" y="365"/>
                    </a:cubicBezTo>
                    <a:cubicBezTo>
                      <a:pt x="80" y="366"/>
                      <a:pt x="79" y="368"/>
                      <a:pt x="79" y="370"/>
                    </a:cubicBezTo>
                    <a:cubicBezTo>
                      <a:pt x="79" y="375"/>
                      <a:pt x="75" y="378"/>
                      <a:pt x="69" y="377"/>
                    </a:cubicBezTo>
                    <a:cubicBezTo>
                      <a:pt x="67" y="376"/>
                      <a:pt x="57" y="376"/>
                      <a:pt x="47" y="376"/>
                    </a:cubicBezTo>
                    <a:cubicBezTo>
                      <a:pt x="32" y="375"/>
                      <a:pt x="29" y="375"/>
                      <a:pt x="26" y="372"/>
                    </a:cubicBezTo>
                    <a:cubicBezTo>
                      <a:pt x="22" y="370"/>
                      <a:pt x="22" y="368"/>
                      <a:pt x="21" y="362"/>
                    </a:cubicBezTo>
                    <a:cubicBezTo>
                      <a:pt x="21" y="356"/>
                      <a:pt x="22" y="352"/>
                      <a:pt x="23" y="349"/>
                    </a:cubicBezTo>
                    <a:cubicBezTo>
                      <a:pt x="27" y="343"/>
                      <a:pt x="35" y="335"/>
                      <a:pt x="39" y="335"/>
                    </a:cubicBezTo>
                    <a:cubicBezTo>
                      <a:pt x="45" y="335"/>
                      <a:pt x="46" y="332"/>
                      <a:pt x="41" y="327"/>
                    </a:cubicBezTo>
                    <a:cubicBezTo>
                      <a:pt x="33" y="320"/>
                      <a:pt x="30" y="312"/>
                      <a:pt x="34" y="305"/>
                    </a:cubicBezTo>
                    <a:cubicBezTo>
                      <a:pt x="36" y="300"/>
                      <a:pt x="38" y="300"/>
                      <a:pt x="46" y="300"/>
                    </a:cubicBezTo>
                    <a:cubicBezTo>
                      <a:pt x="54" y="300"/>
                      <a:pt x="60" y="304"/>
                      <a:pt x="62" y="312"/>
                    </a:cubicBezTo>
                    <a:cubicBezTo>
                      <a:pt x="63" y="315"/>
                      <a:pt x="65" y="319"/>
                      <a:pt x="67" y="320"/>
                    </a:cubicBezTo>
                    <a:cubicBezTo>
                      <a:pt x="70" y="323"/>
                      <a:pt x="71" y="324"/>
                      <a:pt x="74" y="322"/>
                    </a:cubicBezTo>
                    <a:cubicBezTo>
                      <a:pt x="76" y="321"/>
                      <a:pt x="76" y="320"/>
                      <a:pt x="70" y="314"/>
                    </a:cubicBezTo>
                    <a:cubicBezTo>
                      <a:pt x="67" y="311"/>
                      <a:pt x="63" y="306"/>
                      <a:pt x="62" y="304"/>
                    </a:cubicBezTo>
                    <a:cubicBezTo>
                      <a:pt x="61" y="300"/>
                      <a:pt x="61" y="299"/>
                      <a:pt x="64" y="295"/>
                    </a:cubicBezTo>
                    <a:cubicBezTo>
                      <a:pt x="68" y="290"/>
                      <a:pt x="68" y="290"/>
                      <a:pt x="68" y="290"/>
                    </a:cubicBezTo>
                    <a:cubicBezTo>
                      <a:pt x="58" y="290"/>
                      <a:pt x="58" y="290"/>
                      <a:pt x="58" y="290"/>
                    </a:cubicBezTo>
                    <a:cubicBezTo>
                      <a:pt x="46" y="290"/>
                      <a:pt x="42" y="288"/>
                      <a:pt x="42" y="280"/>
                    </a:cubicBezTo>
                    <a:cubicBezTo>
                      <a:pt x="42" y="278"/>
                      <a:pt x="44" y="273"/>
                      <a:pt x="45" y="270"/>
                    </a:cubicBezTo>
                    <a:cubicBezTo>
                      <a:pt x="47" y="267"/>
                      <a:pt x="48" y="264"/>
                      <a:pt x="47" y="263"/>
                    </a:cubicBezTo>
                    <a:cubicBezTo>
                      <a:pt x="45" y="261"/>
                      <a:pt x="52" y="254"/>
                      <a:pt x="60" y="250"/>
                    </a:cubicBezTo>
                    <a:cubicBezTo>
                      <a:pt x="69" y="245"/>
                      <a:pt x="69" y="245"/>
                      <a:pt x="69" y="245"/>
                    </a:cubicBezTo>
                    <a:cubicBezTo>
                      <a:pt x="79" y="250"/>
                      <a:pt x="79" y="250"/>
                      <a:pt x="79" y="250"/>
                    </a:cubicBezTo>
                    <a:cubicBezTo>
                      <a:pt x="91" y="256"/>
                      <a:pt x="90" y="256"/>
                      <a:pt x="90" y="254"/>
                    </a:cubicBezTo>
                    <a:cubicBezTo>
                      <a:pt x="90" y="253"/>
                      <a:pt x="91" y="251"/>
                      <a:pt x="91" y="250"/>
                    </a:cubicBezTo>
                    <a:cubicBezTo>
                      <a:pt x="92" y="248"/>
                      <a:pt x="92" y="247"/>
                      <a:pt x="91" y="247"/>
                    </a:cubicBezTo>
                    <a:cubicBezTo>
                      <a:pt x="90" y="247"/>
                      <a:pt x="88" y="247"/>
                      <a:pt x="86" y="247"/>
                    </a:cubicBezTo>
                    <a:cubicBezTo>
                      <a:pt x="80" y="246"/>
                      <a:pt x="70" y="235"/>
                      <a:pt x="67" y="226"/>
                    </a:cubicBezTo>
                    <a:cubicBezTo>
                      <a:pt x="66" y="222"/>
                      <a:pt x="62" y="216"/>
                      <a:pt x="60" y="212"/>
                    </a:cubicBezTo>
                    <a:cubicBezTo>
                      <a:pt x="57" y="209"/>
                      <a:pt x="55" y="205"/>
                      <a:pt x="55" y="205"/>
                    </a:cubicBezTo>
                    <a:cubicBezTo>
                      <a:pt x="55" y="204"/>
                      <a:pt x="54" y="203"/>
                      <a:pt x="52" y="203"/>
                    </a:cubicBezTo>
                    <a:cubicBezTo>
                      <a:pt x="48" y="202"/>
                      <a:pt x="47" y="195"/>
                      <a:pt x="48" y="185"/>
                    </a:cubicBezTo>
                    <a:cubicBezTo>
                      <a:pt x="49" y="172"/>
                      <a:pt x="51" y="171"/>
                      <a:pt x="60" y="172"/>
                    </a:cubicBezTo>
                    <a:cubicBezTo>
                      <a:pt x="69" y="172"/>
                      <a:pt x="72" y="174"/>
                      <a:pt x="82" y="188"/>
                    </a:cubicBezTo>
                    <a:cubicBezTo>
                      <a:pt x="87" y="194"/>
                      <a:pt x="91" y="199"/>
                      <a:pt x="91" y="199"/>
                    </a:cubicBezTo>
                    <a:cubicBezTo>
                      <a:pt x="93" y="197"/>
                      <a:pt x="89" y="189"/>
                      <a:pt x="84" y="184"/>
                    </a:cubicBezTo>
                    <a:cubicBezTo>
                      <a:pt x="77" y="176"/>
                      <a:pt x="78" y="171"/>
                      <a:pt x="86" y="167"/>
                    </a:cubicBezTo>
                    <a:cubicBezTo>
                      <a:pt x="89" y="166"/>
                      <a:pt x="94" y="163"/>
                      <a:pt x="97" y="161"/>
                    </a:cubicBezTo>
                    <a:cubicBezTo>
                      <a:pt x="100" y="158"/>
                      <a:pt x="104" y="157"/>
                      <a:pt x="105" y="157"/>
                    </a:cubicBezTo>
                    <a:cubicBezTo>
                      <a:pt x="107" y="157"/>
                      <a:pt x="107" y="156"/>
                      <a:pt x="107" y="154"/>
                    </a:cubicBezTo>
                    <a:cubicBezTo>
                      <a:pt x="107" y="152"/>
                      <a:pt x="110" y="148"/>
                      <a:pt x="113" y="145"/>
                    </a:cubicBezTo>
                    <a:cubicBezTo>
                      <a:pt x="119" y="140"/>
                      <a:pt x="119" y="140"/>
                      <a:pt x="119" y="140"/>
                    </a:cubicBezTo>
                    <a:cubicBezTo>
                      <a:pt x="115" y="135"/>
                      <a:pt x="115" y="135"/>
                      <a:pt x="115" y="135"/>
                    </a:cubicBezTo>
                    <a:cubicBezTo>
                      <a:pt x="113" y="133"/>
                      <a:pt x="112" y="130"/>
                      <a:pt x="112" y="129"/>
                    </a:cubicBezTo>
                    <a:cubicBezTo>
                      <a:pt x="112" y="127"/>
                      <a:pt x="110" y="129"/>
                      <a:pt x="108" y="133"/>
                    </a:cubicBezTo>
                    <a:cubicBezTo>
                      <a:pt x="100" y="150"/>
                      <a:pt x="93" y="156"/>
                      <a:pt x="82" y="156"/>
                    </a:cubicBezTo>
                    <a:cubicBezTo>
                      <a:pt x="79" y="156"/>
                      <a:pt x="72" y="157"/>
                      <a:pt x="68" y="158"/>
                    </a:cubicBezTo>
                    <a:cubicBezTo>
                      <a:pt x="56" y="161"/>
                      <a:pt x="52" y="159"/>
                      <a:pt x="51" y="152"/>
                    </a:cubicBezTo>
                    <a:cubicBezTo>
                      <a:pt x="51" y="149"/>
                      <a:pt x="52" y="145"/>
                      <a:pt x="53" y="142"/>
                    </a:cubicBezTo>
                    <a:cubicBezTo>
                      <a:pt x="54" y="139"/>
                      <a:pt x="55" y="137"/>
                      <a:pt x="54" y="137"/>
                    </a:cubicBezTo>
                    <a:cubicBezTo>
                      <a:pt x="53" y="137"/>
                      <a:pt x="48" y="143"/>
                      <a:pt x="48" y="145"/>
                    </a:cubicBezTo>
                    <a:cubicBezTo>
                      <a:pt x="48" y="146"/>
                      <a:pt x="46" y="148"/>
                      <a:pt x="44" y="150"/>
                    </a:cubicBezTo>
                    <a:cubicBezTo>
                      <a:pt x="41" y="153"/>
                      <a:pt x="40" y="153"/>
                      <a:pt x="37" y="153"/>
                    </a:cubicBezTo>
                    <a:cubicBezTo>
                      <a:pt x="27" y="150"/>
                      <a:pt x="20" y="142"/>
                      <a:pt x="24" y="138"/>
                    </a:cubicBezTo>
                    <a:cubicBezTo>
                      <a:pt x="25" y="136"/>
                      <a:pt x="25" y="136"/>
                      <a:pt x="23" y="136"/>
                    </a:cubicBezTo>
                    <a:cubicBezTo>
                      <a:pt x="21" y="136"/>
                      <a:pt x="19" y="135"/>
                      <a:pt x="19" y="135"/>
                    </a:cubicBezTo>
                    <a:cubicBezTo>
                      <a:pt x="16" y="135"/>
                      <a:pt x="14" y="130"/>
                      <a:pt x="14" y="126"/>
                    </a:cubicBezTo>
                    <a:cubicBezTo>
                      <a:pt x="14" y="122"/>
                      <a:pt x="15" y="120"/>
                      <a:pt x="20" y="116"/>
                    </a:cubicBezTo>
                    <a:cubicBezTo>
                      <a:pt x="26" y="110"/>
                      <a:pt x="27" y="109"/>
                      <a:pt x="23" y="109"/>
                    </a:cubicBezTo>
                    <a:cubicBezTo>
                      <a:pt x="22" y="109"/>
                      <a:pt x="20" y="107"/>
                      <a:pt x="18" y="106"/>
                    </a:cubicBezTo>
                    <a:cubicBezTo>
                      <a:pt x="17" y="104"/>
                      <a:pt x="14" y="103"/>
                      <a:pt x="12" y="103"/>
                    </a:cubicBezTo>
                    <a:cubicBezTo>
                      <a:pt x="0" y="103"/>
                      <a:pt x="3" y="90"/>
                      <a:pt x="17" y="85"/>
                    </a:cubicBezTo>
                    <a:cubicBezTo>
                      <a:pt x="20" y="83"/>
                      <a:pt x="24" y="80"/>
                      <a:pt x="27" y="77"/>
                    </a:cubicBezTo>
                    <a:cubicBezTo>
                      <a:pt x="31" y="73"/>
                      <a:pt x="33" y="72"/>
                      <a:pt x="38" y="72"/>
                    </a:cubicBezTo>
                    <a:cubicBezTo>
                      <a:pt x="44" y="72"/>
                      <a:pt x="44" y="72"/>
                      <a:pt x="43" y="68"/>
                    </a:cubicBezTo>
                    <a:cubicBezTo>
                      <a:pt x="43" y="66"/>
                      <a:pt x="43" y="64"/>
                      <a:pt x="47" y="61"/>
                    </a:cubicBezTo>
                    <a:cubicBezTo>
                      <a:pt x="49" y="59"/>
                      <a:pt x="51" y="57"/>
                      <a:pt x="51" y="55"/>
                    </a:cubicBezTo>
                    <a:cubicBezTo>
                      <a:pt x="51" y="52"/>
                      <a:pt x="54" y="49"/>
                      <a:pt x="57" y="50"/>
                    </a:cubicBezTo>
                    <a:cubicBezTo>
                      <a:pt x="59" y="50"/>
                      <a:pt x="61" y="50"/>
                      <a:pt x="62" y="50"/>
                    </a:cubicBezTo>
                    <a:cubicBezTo>
                      <a:pt x="62" y="51"/>
                      <a:pt x="65" y="52"/>
                      <a:pt x="68" y="54"/>
                    </a:cubicBezTo>
                    <a:cubicBezTo>
                      <a:pt x="74" y="58"/>
                      <a:pt x="75" y="57"/>
                      <a:pt x="75" y="50"/>
                    </a:cubicBezTo>
                    <a:cubicBezTo>
                      <a:pt x="75" y="48"/>
                      <a:pt x="77" y="44"/>
                      <a:pt x="80" y="40"/>
                    </a:cubicBezTo>
                    <a:cubicBezTo>
                      <a:pt x="83" y="36"/>
                      <a:pt x="85" y="32"/>
                      <a:pt x="85" y="31"/>
                    </a:cubicBezTo>
                    <a:cubicBezTo>
                      <a:pt x="85" y="29"/>
                      <a:pt x="87" y="25"/>
                      <a:pt x="90" y="22"/>
                    </a:cubicBezTo>
                    <a:cubicBezTo>
                      <a:pt x="95" y="17"/>
                      <a:pt x="97" y="16"/>
                      <a:pt x="100" y="17"/>
                    </a:cubicBezTo>
                    <a:cubicBezTo>
                      <a:pt x="103" y="18"/>
                      <a:pt x="104" y="17"/>
                      <a:pt x="105" y="14"/>
                    </a:cubicBezTo>
                    <a:cubicBezTo>
                      <a:pt x="106" y="9"/>
                      <a:pt x="112" y="7"/>
                      <a:pt x="118" y="7"/>
                    </a:cubicBezTo>
                    <a:cubicBezTo>
                      <a:pt x="128" y="9"/>
                      <a:pt x="132" y="9"/>
                      <a:pt x="138" y="6"/>
                    </a:cubicBezTo>
                    <a:cubicBezTo>
                      <a:pt x="145" y="2"/>
                      <a:pt x="156" y="1"/>
                      <a:pt x="160" y="3"/>
                    </a:cubicBezTo>
                    <a:cubicBezTo>
                      <a:pt x="162" y="4"/>
                      <a:pt x="166" y="3"/>
                      <a:pt x="171" y="2"/>
                    </a:cubicBezTo>
                    <a:cubicBezTo>
                      <a:pt x="177" y="0"/>
                      <a:pt x="181" y="0"/>
                      <a:pt x="183" y="1"/>
                    </a:cubicBezTo>
                    <a:cubicBezTo>
                      <a:pt x="185" y="1"/>
                      <a:pt x="190" y="2"/>
                      <a:pt x="194" y="1"/>
                    </a:cubicBezTo>
                    <a:cubicBezTo>
                      <a:pt x="204" y="1"/>
                      <a:pt x="207" y="2"/>
                      <a:pt x="209" y="6"/>
                    </a:cubicBezTo>
                    <a:cubicBezTo>
                      <a:pt x="211" y="11"/>
                      <a:pt x="215" y="13"/>
                      <a:pt x="221" y="14"/>
                    </a:cubicBezTo>
                    <a:cubicBezTo>
                      <a:pt x="227" y="15"/>
                      <a:pt x="229" y="18"/>
                      <a:pt x="231" y="25"/>
                    </a:cubicBezTo>
                    <a:cubicBezTo>
                      <a:pt x="233" y="33"/>
                      <a:pt x="232" y="41"/>
                      <a:pt x="229" y="51"/>
                    </a:cubicBezTo>
                    <a:cubicBezTo>
                      <a:pt x="227" y="59"/>
                      <a:pt x="226" y="62"/>
                      <a:pt x="222" y="65"/>
                    </a:cubicBezTo>
                    <a:cubicBezTo>
                      <a:pt x="219" y="67"/>
                      <a:pt x="217" y="69"/>
                      <a:pt x="216" y="69"/>
                    </a:cubicBezTo>
                    <a:cubicBezTo>
                      <a:pt x="213" y="69"/>
                      <a:pt x="206" y="78"/>
                      <a:pt x="202" y="86"/>
                    </a:cubicBezTo>
                    <a:cubicBezTo>
                      <a:pt x="200" y="90"/>
                      <a:pt x="198" y="94"/>
                      <a:pt x="198" y="94"/>
                    </a:cubicBezTo>
                    <a:cubicBezTo>
                      <a:pt x="198" y="96"/>
                      <a:pt x="205" y="89"/>
                      <a:pt x="207" y="86"/>
                    </a:cubicBezTo>
                    <a:cubicBezTo>
                      <a:pt x="207" y="84"/>
                      <a:pt x="210" y="81"/>
                      <a:pt x="212" y="80"/>
                    </a:cubicBezTo>
                    <a:cubicBezTo>
                      <a:pt x="215" y="78"/>
                      <a:pt x="217" y="76"/>
                      <a:pt x="217" y="76"/>
                    </a:cubicBezTo>
                    <a:cubicBezTo>
                      <a:pt x="217" y="74"/>
                      <a:pt x="223" y="74"/>
                      <a:pt x="224" y="76"/>
                    </a:cubicBezTo>
                    <a:cubicBezTo>
                      <a:pt x="225" y="77"/>
                      <a:pt x="225" y="81"/>
                      <a:pt x="225" y="85"/>
                    </a:cubicBezTo>
                    <a:cubicBezTo>
                      <a:pt x="225" y="91"/>
                      <a:pt x="224" y="95"/>
                      <a:pt x="222" y="99"/>
                    </a:cubicBezTo>
                    <a:cubicBezTo>
                      <a:pt x="216" y="107"/>
                      <a:pt x="212" y="116"/>
                      <a:pt x="213" y="118"/>
                    </a:cubicBezTo>
                    <a:cubicBezTo>
                      <a:pt x="213" y="118"/>
                      <a:pt x="210" y="126"/>
                      <a:pt x="207" y="134"/>
                    </a:cubicBezTo>
                    <a:cubicBezTo>
                      <a:pt x="203" y="142"/>
                      <a:pt x="199" y="151"/>
                      <a:pt x="198" y="153"/>
                    </a:cubicBezTo>
                    <a:cubicBezTo>
                      <a:pt x="197" y="157"/>
                      <a:pt x="194" y="172"/>
                      <a:pt x="193" y="180"/>
                    </a:cubicBezTo>
                    <a:cubicBezTo>
                      <a:pt x="193" y="188"/>
                      <a:pt x="186" y="194"/>
                      <a:pt x="179" y="193"/>
                    </a:cubicBezTo>
                    <a:cubicBezTo>
                      <a:pt x="175" y="193"/>
                      <a:pt x="175" y="193"/>
                      <a:pt x="174" y="198"/>
                    </a:cubicBezTo>
                    <a:cubicBezTo>
                      <a:pt x="173" y="200"/>
                      <a:pt x="172" y="204"/>
                      <a:pt x="170" y="206"/>
                    </a:cubicBezTo>
                    <a:cubicBezTo>
                      <a:pt x="167" y="209"/>
                      <a:pt x="155" y="214"/>
                      <a:pt x="154" y="213"/>
                    </a:cubicBezTo>
                    <a:cubicBezTo>
                      <a:pt x="154" y="212"/>
                      <a:pt x="152" y="213"/>
                      <a:pt x="151" y="215"/>
                    </a:cubicBezTo>
                    <a:cubicBezTo>
                      <a:pt x="148" y="218"/>
                      <a:pt x="148" y="218"/>
                      <a:pt x="151" y="220"/>
                    </a:cubicBezTo>
                    <a:cubicBezTo>
                      <a:pt x="155" y="223"/>
                      <a:pt x="155" y="228"/>
                      <a:pt x="152" y="232"/>
                    </a:cubicBezTo>
                    <a:cubicBezTo>
                      <a:pt x="150" y="234"/>
                      <a:pt x="150" y="235"/>
                      <a:pt x="152" y="235"/>
                    </a:cubicBezTo>
                    <a:cubicBezTo>
                      <a:pt x="153" y="235"/>
                      <a:pt x="154" y="235"/>
                      <a:pt x="155" y="235"/>
                    </a:cubicBezTo>
                    <a:cubicBezTo>
                      <a:pt x="156" y="235"/>
                      <a:pt x="158" y="236"/>
                      <a:pt x="159" y="236"/>
                    </a:cubicBezTo>
                    <a:cubicBezTo>
                      <a:pt x="160" y="236"/>
                      <a:pt x="163" y="238"/>
                      <a:pt x="166" y="240"/>
                    </a:cubicBezTo>
                    <a:cubicBezTo>
                      <a:pt x="171" y="246"/>
                      <a:pt x="172" y="256"/>
                      <a:pt x="167" y="259"/>
                    </a:cubicBezTo>
                    <a:cubicBezTo>
                      <a:pt x="163" y="261"/>
                      <a:pt x="163" y="263"/>
                      <a:pt x="168" y="266"/>
                    </a:cubicBezTo>
                    <a:cubicBezTo>
                      <a:pt x="170" y="268"/>
                      <a:pt x="171" y="270"/>
                      <a:pt x="171" y="271"/>
                    </a:cubicBezTo>
                    <a:cubicBezTo>
                      <a:pt x="171" y="273"/>
                      <a:pt x="170" y="275"/>
                      <a:pt x="168" y="275"/>
                    </a:cubicBezTo>
                    <a:cubicBezTo>
                      <a:pt x="165" y="276"/>
                      <a:pt x="164" y="277"/>
                      <a:pt x="164" y="280"/>
                    </a:cubicBezTo>
                    <a:cubicBezTo>
                      <a:pt x="164" y="287"/>
                      <a:pt x="158" y="294"/>
                      <a:pt x="151" y="294"/>
                    </a:cubicBezTo>
                    <a:cubicBezTo>
                      <a:pt x="146" y="295"/>
                      <a:pt x="146" y="295"/>
                      <a:pt x="146" y="295"/>
                    </a:cubicBezTo>
                    <a:cubicBezTo>
                      <a:pt x="147" y="305"/>
                      <a:pt x="147" y="305"/>
                      <a:pt x="147" y="305"/>
                    </a:cubicBezTo>
                    <a:cubicBezTo>
                      <a:pt x="147" y="315"/>
                      <a:pt x="147" y="316"/>
                      <a:pt x="144" y="320"/>
                    </a:cubicBezTo>
                    <a:cubicBezTo>
                      <a:pt x="135" y="329"/>
                      <a:pt x="135" y="329"/>
                      <a:pt x="138" y="333"/>
                    </a:cubicBezTo>
                    <a:cubicBezTo>
                      <a:pt x="139" y="335"/>
                      <a:pt x="142" y="338"/>
                      <a:pt x="145" y="339"/>
                    </a:cubicBezTo>
                    <a:cubicBezTo>
                      <a:pt x="147" y="340"/>
                      <a:pt x="150" y="342"/>
                      <a:pt x="151" y="343"/>
                    </a:cubicBezTo>
                    <a:cubicBezTo>
                      <a:pt x="153" y="346"/>
                      <a:pt x="152" y="353"/>
                      <a:pt x="149" y="361"/>
                    </a:cubicBezTo>
                    <a:cubicBezTo>
                      <a:pt x="143" y="375"/>
                      <a:pt x="122" y="388"/>
                      <a:pt x="120" y="37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26" name="Freeform 36">
                <a:extLst>
                  <a:ext uri="{FF2B5EF4-FFF2-40B4-BE49-F238E27FC236}">
                    <a16:creationId xmlns:a16="http://schemas.microsoft.com/office/drawing/2014/main" id="{DA63C55C-7007-4AB9-9714-330011C3E621}"/>
                  </a:ext>
                </a:extLst>
              </p:cNvPr>
              <p:cNvSpPr>
                <a:spLocks/>
              </p:cNvSpPr>
              <p:nvPr/>
            </p:nvSpPr>
            <p:spPr bwMode="auto">
              <a:xfrm>
                <a:off x="3952145" y="-277454"/>
                <a:ext cx="77023" cy="117461"/>
              </a:xfrm>
              <a:custGeom>
                <a:avLst/>
                <a:gdLst>
                  <a:gd name="T0" fmla="*/ 5 w 17"/>
                  <a:gd name="T1" fmla="*/ 23 h 26"/>
                  <a:gd name="T2" fmla="*/ 3 w 17"/>
                  <a:gd name="T3" fmla="*/ 5 h 26"/>
                  <a:gd name="T4" fmla="*/ 11 w 17"/>
                  <a:gd name="T5" fmla="*/ 5 h 26"/>
                  <a:gd name="T6" fmla="*/ 11 w 17"/>
                  <a:gd name="T7" fmla="*/ 25 h 26"/>
                  <a:gd name="T8" fmla="*/ 5 w 17"/>
                  <a:gd name="T9" fmla="*/ 23 h 26"/>
                </a:gdLst>
                <a:ahLst/>
                <a:cxnLst>
                  <a:cxn ang="0">
                    <a:pos x="T0" y="T1"/>
                  </a:cxn>
                  <a:cxn ang="0">
                    <a:pos x="T2" y="T3"/>
                  </a:cxn>
                  <a:cxn ang="0">
                    <a:pos x="T4" y="T5"/>
                  </a:cxn>
                  <a:cxn ang="0">
                    <a:pos x="T6" y="T7"/>
                  </a:cxn>
                  <a:cxn ang="0">
                    <a:pos x="T8" y="T9"/>
                  </a:cxn>
                </a:cxnLst>
                <a:rect l="0" t="0" r="r" b="b"/>
                <a:pathLst>
                  <a:path w="17" h="26">
                    <a:moveTo>
                      <a:pt x="5" y="23"/>
                    </a:moveTo>
                    <a:cubicBezTo>
                      <a:pt x="1" y="19"/>
                      <a:pt x="0" y="13"/>
                      <a:pt x="3" y="5"/>
                    </a:cubicBezTo>
                    <a:cubicBezTo>
                      <a:pt x="5" y="0"/>
                      <a:pt x="7" y="0"/>
                      <a:pt x="11" y="5"/>
                    </a:cubicBezTo>
                    <a:cubicBezTo>
                      <a:pt x="16" y="13"/>
                      <a:pt x="17" y="22"/>
                      <a:pt x="11" y="25"/>
                    </a:cubicBezTo>
                    <a:cubicBezTo>
                      <a:pt x="9" y="26"/>
                      <a:pt x="8" y="26"/>
                      <a:pt x="5" y="2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27" name="Freeform 37">
                <a:extLst>
                  <a:ext uri="{FF2B5EF4-FFF2-40B4-BE49-F238E27FC236}">
                    <a16:creationId xmlns:a16="http://schemas.microsoft.com/office/drawing/2014/main" id="{F5CC7A22-11BD-463E-B692-D28FD0F501D8}"/>
                  </a:ext>
                </a:extLst>
              </p:cNvPr>
              <p:cNvSpPr>
                <a:spLocks/>
              </p:cNvSpPr>
              <p:nvPr/>
            </p:nvSpPr>
            <p:spPr bwMode="auto">
              <a:xfrm>
                <a:off x="4398880" y="-287082"/>
                <a:ext cx="167526" cy="117461"/>
              </a:xfrm>
              <a:custGeom>
                <a:avLst/>
                <a:gdLst>
                  <a:gd name="T0" fmla="*/ 11 w 37"/>
                  <a:gd name="T1" fmla="*/ 23 h 26"/>
                  <a:gd name="T2" fmla="*/ 7 w 37"/>
                  <a:gd name="T3" fmla="*/ 6 h 26"/>
                  <a:gd name="T4" fmla="*/ 29 w 37"/>
                  <a:gd name="T5" fmla="*/ 4 h 26"/>
                  <a:gd name="T6" fmla="*/ 29 w 37"/>
                  <a:gd name="T7" fmla="*/ 22 h 26"/>
                  <a:gd name="T8" fmla="*/ 11 w 37"/>
                  <a:gd name="T9" fmla="*/ 23 h 26"/>
                </a:gdLst>
                <a:ahLst/>
                <a:cxnLst>
                  <a:cxn ang="0">
                    <a:pos x="T0" y="T1"/>
                  </a:cxn>
                  <a:cxn ang="0">
                    <a:pos x="T2" y="T3"/>
                  </a:cxn>
                  <a:cxn ang="0">
                    <a:pos x="T4" y="T5"/>
                  </a:cxn>
                  <a:cxn ang="0">
                    <a:pos x="T6" y="T7"/>
                  </a:cxn>
                  <a:cxn ang="0">
                    <a:pos x="T8" y="T9"/>
                  </a:cxn>
                </a:cxnLst>
                <a:rect l="0" t="0" r="r" b="b"/>
                <a:pathLst>
                  <a:path w="37" h="26">
                    <a:moveTo>
                      <a:pt x="11" y="23"/>
                    </a:moveTo>
                    <a:cubicBezTo>
                      <a:pt x="1" y="18"/>
                      <a:pt x="0" y="13"/>
                      <a:pt x="7" y="6"/>
                    </a:cubicBezTo>
                    <a:cubicBezTo>
                      <a:pt x="14" y="1"/>
                      <a:pt x="21" y="0"/>
                      <a:pt x="29" y="4"/>
                    </a:cubicBezTo>
                    <a:cubicBezTo>
                      <a:pt x="37" y="9"/>
                      <a:pt x="37" y="16"/>
                      <a:pt x="29" y="22"/>
                    </a:cubicBezTo>
                    <a:cubicBezTo>
                      <a:pt x="24" y="26"/>
                      <a:pt x="17" y="26"/>
                      <a:pt x="11" y="2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28" name="Freeform 38">
                <a:extLst>
                  <a:ext uri="{FF2B5EF4-FFF2-40B4-BE49-F238E27FC236}">
                    <a16:creationId xmlns:a16="http://schemas.microsoft.com/office/drawing/2014/main" id="{D4D173E0-1D68-430A-BA8E-6EE2EBF671EF}"/>
                  </a:ext>
                </a:extLst>
              </p:cNvPr>
              <p:cNvSpPr>
                <a:spLocks/>
              </p:cNvSpPr>
              <p:nvPr/>
            </p:nvSpPr>
            <p:spPr bwMode="auto">
              <a:xfrm>
                <a:off x="4319931" y="-510449"/>
                <a:ext cx="165600" cy="232996"/>
              </a:xfrm>
              <a:custGeom>
                <a:avLst/>
                <a:gdLst>
                  <a:gd name="T0" fmla="*/ 16 w 36"/>
                  <a:gd name="T1" fmla="*/ 48 h 51"/>
                  <a:gd name="T2" fmla="*/ 10 w 36"/>
                  <a:gd name="T3" fmla="*/ 38 h 51"/>
                  <a:gd name="T4" fmla="*/ 7 w 36"/>
                  <a:gd name="T5" fmla="*/ 31 h 51"/>
                  <a:gd name="T6" fmla="*/ 1 w 36"/>
                  <a:gd name="T7" fmla="*/ 13 h 51"/>
                  <a:gd name="T8" fmla="*/ 11 w 36"/>
                  <a:gd name="T9" fmla="*/ 2 h 51"/>
                  <a:gd name="T10" fmla="*/ 23 w 36"/>
                  <a:gd name="T11" fmla="*/ 8 h 51"/>
                  <a:gd name="T12" fmla="*/ 32 w 36"/>
                  <a:gd name="T13" fmla="*/ 14 h 51"/>
                  <a:gd name="T14" fmla="*/ 36 w 36"/>
                  <a:gd name="T15" fmla="*/ 31 h 51"/>
                  <a:gd name="T16" fmla="*/ 36 w 36"/>
                  <a:gd name="T17" fmla="*/ 40 h 51"/>
                  <a:gd name="T18" fmla="*/ 30 w 36"/>
                  <a:gd name="T19" fmla="*/ 46 h 51"/>
                  <a:gd name="T20" fmla="*/ 16 w 36"/>
                  <a:gd name="T21"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51">
                    <a:moveTo>
                      <a:pt x="16" y="48"/>
                    </a:moveTo>
                    <a:cubicBezTo>
                      <a:pt x="11" y="46"/>
                      <a:pt x="9" y="42"/>
                      <a:pt x="10" y="38"/>
                    </a:cubicBezTo>
                    <a:cubicBezTo>
                      <a:pt x="10" y="37"/>
                      <a:pt x="9" y="34"/>
                      <a:pt x="7" y="31"/>
                    </a:cubicBezTo>
                    <a:cubicBezTo>
                      <a:pt x="1" y="25"/>
                      <a:pt x="0" y="21"/>
                      <a:pt x="1" y="13"/>
                    </a:cubicBezTo>
                    <a:cubicBezTo>
                      <a:pt x="2" y="5"/>
                      <a:pt x="6" y="0"/>
                      <a:pt x="11" y="2"/>
                    </a:cubicBezTo>
                    <a:cubicBezTo>
                      <a:pt x="13" y="2"/>
                      <a:pt x="18" y="5"/>
                      <a:pt x="23" y="8"/>
                    </a:cubicBezTo>
                    <a:cubicBezTo>
                      <a:pt x="27" y="11"/>
                      <a:pt x="32" y="14"/>
                      <a:pt x="32" y="14"/>
                    </a:cubicBezTo>
                    <a:cubicBezTo>
                      <a:pt x="34" y="14"/>
                      <a:pt x="36" y="22"/>
                      <a:pt x="36" y="31"/>
                    </a:cubicBezTo>
                    <a:cubicBezTo>
                      <a:pt x="36" y="40"/>
                      <a:pt x="36" y="40"/>
                      <a:pt x="36" y="40"/>
                    </a:cubicBezTo>
                    <a:cubicBezTo>
                      <a:pt x="30" y="46"/>
                      <a:pt x="30" y="46"/>
                      <a:pt x="30" y="46"/>
                    </a:cubicBezTo>
                    <a:cubicBezTo>
                      <a:pt x="22" y="51"/>
                      <a:pt x="22" y="51"/>
                      <a:pt x="16" y="4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29" name="Freeform 39">
                <a:extLst>
                  <a:ext uri="{FF2B5EF4-FFF2-40B4-BE49-F238E27FC236}">
                    <a16:creationId xmlns:a16="http://schemas.microsoft.com/office/drawing/2014/main" id="{46F2D9AE-7651-43AE-9975-0159E8897E1B}"/>
                  </a:ext>
                </a:extLst>
              </p:cNvPr>
              <p:cNvSpPr>
                <a:spLocks/>
              </p:cNvSpPr>
              <p:nvPr/>
            </p:nvSpPr>
            <p:spPr bwMode="auto">
              <a:xfrm>
                <a:off x="4019541" y="-674123"/>
                <a:ext cx="292688" cy="387042"/>
              </a:xfrm>
              <a:custGeom>
                <a:avLst/>
                <a:gdLst>
                  <a:gd name="T0" fmla="*/ 51 w 64"/>
                  <a:gd name="T1" fmla="*/ 82 h 85"/>
                  <a:gd name="T2" fmla="*/ 43 w 64"/>
                  <a:gd name="T3" fmla="*/ 73 h 85"/>
                  <a:gd name="T4" fmla="*/ 21 w 64"/>
                  <a:gd name="T5" fmla="*/ 61 h 85"/>
                  <a:gd name="T6" fmla="*/ 9 w 64"/>
                  <a:gd name="T7" fmla="*/ 57 h 85"/>
                  <a:gd name="T8" fmla="*/ 6 w 64"/>
                  <a:gd name="T9" fmla="*/ 43 h 85"/>
                  <a:gd name="T10" fmla="*/ 10 w 64"/>
                  <a:gd name="T11" fmla="*/ 40 h 85"/>
                  <a:gd name="T12" fmla="*/ 14 w 64"/>
                  <a:gd name="T13" fmla="*/ 37 h 85"/>
                  <a:gd name="T14" fmla="*/ 16 w 64"/>
                  <a:gd name="T15" fmla="*/ 29 h 85"/>
                  <a:gd name="T16" fmla="*/ 9 w 64"/>
                  <a:gd name="T17" fmla="*/ 20 h 85"/>
                  <a:gd name="T18" fmla="*/ 16 w 64"/>
                  <a:gd name="T19" fmla="*/ 0 h 85"/>
                  <a:gd name="T20" fmla="*/ 30 w 64"/>
                  <a:gd name="T21" fmla="*/ 10 h 85"/>
                  <a:gd name="T22" fmla="*/ 35 w 64"/>
                  <a:gd name="T23" fmla="*/ 15 h 85"/>
                  <a:gd name="T24" fmla="*/ 49 w 64"/>
                  <a:gd name="T25" fmla="*/ 28 h 85"/>
                  <a:gd name="T26" fmla="*/ 54 w 64"/>
                  <a:gd name="T27" fmla="*/ 37 h 85"/>
                  <a:gd name="T28" fmla="*/ 58 w 64"/>
                  <a:gd name="T29" fmla="*/ 50 h 85"/>
                  <a:gd name="T30" fmla="*/ 60 w 64"/>
                  <a:gd name="T31" fmla="*/ 66 h 85"/>
                  <a:gd name="T32" fmla="*/ 64 w 64"/>
                  <a:gd name="T33" fmla="*/ 73 h 85"/>
                  <a:gd name="T34" fmla="*/ 57 w 64"/>
                  <a:gd name="T35" fmla="*/ 84 h 85"/>
                  <a:gd name="T36" fmla="*/ 51 w 64"/>
                  <a:gd name="T37" fmla="*/ 8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85">
                    <a:moveTo>
                      <a:pt x="51" y="82"/>
                    </a:moveTo>
                    <a:cubicBezTo>
                      <a:pt x="49" y="80"/>
                      <a:pt x="46" y="76"/>
                      <a:pt x="43" y="73"/>
                    </a:cubicBezTo>
                    <a:cubicBezTo>
                      <a:pt x="34" y="63"/>
                      <a:pt x="30" y="61"/>
                      <a:pt x="21" y="61"/>
                    </a:cubicBezTo>
                    <a:cubicBezTo>
                      <a:pt x="14" y="61"/>
                      <a:pt x="13" y="61"/>
                      <a:pt x="9" y="57"/>
                    </a:cubicBezTo>
                    <a:cubicBezTo>
                      <a:pt x="4" y="53"/>
                      <a:pt x="3" y="47"/>
                      <a:pt x="6" y="43"/>
                    </a:cubicBezTo>
                    <a:cubicBezTo>
                      <a:pt x="7" y="41"/>
                      <a:pt x="8" y="40"/>
                      <a:pt x="10" y="40"/>
                    </a:cubicBezTo>
                    <a:cubicBezTo>
                      <a:pt x="11" y="40"/>
                      <a:pt x="13" y="39"/>
                      <a:pt x="14" y="37"/>
                    </a:cubicBezTo>
                    <a:cubicBezTo>
                      <a:pt x="17" y="35"/>
                      <a:pt x="17" y="34"/>
                      <a:pt x="16" y="29"/>
                    </a:cubicBezTo>
                    <a:cubicBezTo>
                      <a:pt x="15" y="26"/>
                      <a:pt x="12" y="22"/>
                      <a:pt x="9" y="20"/>
                    </a:cubicBezTo>
                    <a:cubicBezTo>
                      <a:pt x="0" y="12"/>
                      <a:pt x="4" y="0"/>
                      <a:pt x="16" y="0"/>
                    </a:cubicBezTo>
                    <a:cubicBezTo>
                      <a:pt x="22" y="0"/>
                      <a:pt x="30" y="6"/>
                      <a:pt x="30" y="10"/>
                    </a:cubicBezTo>
                    <a:cubicBezTo>
                      <a:pt x="30" y="13"/>
                      <a:pt x="32" y="15"/>
                      <a:pt x="35" y="15"/>
                    </a:cubicBezTo>
                    <a:cubicBezTo>
                      <a:pt x="39" y="16"/>
                      <a:pt x="45" y="22"/>
                      <a:pt x="49" y="28"/>
                    </a:cubicBezTo>
                    <a:cubicBezTo>
                      <a:pt x="50" y="31"/>
                      <a:pt x="53" y="35"/>
                      <a:pt x="54" y="37"/>
                    </a:cubicBezTo>
                    <a:cubicBezTo>
                      <a:pt x="59" y="42"/>
                      <a:pt x="60" y="44"/>
                      <a:pt x="58" y="50"/>
                    </a:cubicBezTo>
                    <a:cubicBezTo>
                      <a:pt x="55" y="59"/>
                      <a:pt x="55" y="60"/>
                      <a:pt x="60" y="66"/>
                    </a:cubicBezTo>
                    <a:cubicBezTo>
                      <a:pt x="62" y="68"/>
                      <a:pt x="64" y="72"/>
                      <a:pt x="64" y="73"/>
                    </a:cubicBezTo>
                    <a:cubicBezTo>
                      <a:pt x="64" y="77"/>
                      <a:pt x="61" y="82"/>
                      <a:pt x="57" y="84"/>
                    </a:cubicBezTo>
                    <a:cubicBezTo>
                      <a:pt x="55" y="85"/>
                      <a:pt x="54" y="85"/>
                      <a:pt x="51" y="8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30" name="Freeform 40">
                <a:extLst>
                  <a:ext uri="{FF2B5EF4-FFF2-40B4-BE49-F238E27FC236}">
                    <a16:creationId xmlns:a16="http://schemas.microsoft.com/office/drawing/2014/main" id="{E2F06DE0-38B9-48CA-8019-625F5709340D}"/>
                  </a:ext>
                </a:extLst>
              </p:cNvPr>
              <p:cNvSpPr>
                <a:spLocks/>
              </p:cNvSpPr>
              <p:nvPr/>
            </p:nvSpPr>
            <p:spPr bwMode="auto">
              <a:xfrm>
                <a:off x="4439317" y="-1124709"/>
                <a:ext cx="487173" cy="783712"/>
              </a:xfrm>
              <a:custGeom>
                <a:avLst/>
                <a:gdLst>
                  <a:gd name="T0" fmla="*/ 40 w 107"/>
                  <a:gd name="T1" fmla="*/ 166 h 172"/>
                  <a:gd name="T2" fmla="*/ 34 w 107"/>
                  <a:gd name="T3" fmla="*/ 157 h 172"/>
                  <a:gd name="T4" fmla="*/ 29 w 107"/>
                  <a:gd name="T5" fmla="*/ 150 h 172"/>
                  <a:gd name="T6" fmla="*/ 19 w 107"/>
                  <a:gd name="T7" fmla="*/ 129 h 172"/>
                  <a:gd name="T8" fmla="*/ 30 w 107"/>
                  <a:gd name="T9" fmla="*/ 118 h 172"/>
                  <a:gd name="T10" fmla="*/ 39 w 107"/>
                  <a:gd name="T11" fmla="*/ 111 h 172"/>
                  <a:gd name="T12" fmla="*/ 29 w 107"/>
                  <a:gd name="T13" fmla="*/ 106 h 172"/>
                  <a:gd name="T14" fmla="*/ 21 w 107"/>
                  <a:gd name="T15" fmla="*/ 107 h 172"/>
                  <a:gd name="T16" fmla="*/ 6 w 107"/>
                  <a:gd name="T17" fmla="*/ 103 h 172"/>
                  <a:gd name="T18" fmla="*/ 7 w 107"/>
                  <a:gd name="T19" fmla="*/ 96 h 172"/>
                  <a:gd name="T20" fmla="*/ 8 w 107"/>
                  <a:gd name="T21" fmla="*/ 92 h 172"/>
                  <a:gd name="T22" fmla="*/ 3 w 107"/>
                  <a:gd name="T23" fmla="*/ 89 h 172"/>
                  <a:gd name="T24" fmla="*/ 2 w 107"/>
                  <a:gd name="T25" fmla="*/ 73 h 172"/>
                  <a:gd name="T26" fmla="*/ 9 w 107"/>
                  <a:gd name="T27" fmla="*/ 68 h 172"/>
                  <a:gd name="T28" fmla="*/ 14 w 107"/>
                  <a:gd name="T29" fmla="*/ 65 h 172"/>
                  <a:gd name="T30" fmla="*/ 9 w 107"/>
                  <a:gd name="T31" fmla="*/ 58 h 172"/>
                  <a:gd name="T32" fmla="*/ 5 w 107"/>
                  <a:gd name="T33" fmla="*/ 50 h 172"/>
                  <a:gd name="T34" fmla="*/ 14 w 107"/>
                  <a:gd name="T35" fmla="*/ 42 h 172"/>
                  <a:gd name="T36" fmla="*/ 17 w 107"/>
                  <a:gd name="T37" fmla="*/ 32 h 172"/>
                  <a:gd name="T38" fmla="*/ 12 w 107"/>
                  <a:gd name="T39" fmla="*/ 27 h 172"/>
                  <a:gd name="T40" fmla="*/ 15 w 107"/>
                  <a:gd name="T41" fmla="*/ 21 h 172"/>
                  <a:gd name="T42" fmla="*/ 22 w 107"/>
                  <a:gd name="T43" fmla="*/ 14 h 172"/>
                  <a:gd name="T44" fmla="*/ 26 w 107"/>
                  <a:gd name="T45" fmla="*/ 6 h 172"/>
                  <a:gd name="T46" fmla="*/ 32 w 107"/>
                  <a:gd name="T47" fmla="*/ 0 h 172"/>
                  <a:gd name="T48" fmla="*/ 47 w 107"/>
                  <a:gd name="T49" fmla="*/ 9 h 172"/>
                  <a:gd name="T50" fmla="*/ 54 w 107"/>
                  <a:gd name="T51" fmla="*/ 25 h 172"/>
                  <a:gd name="T52" fmla="*/ 66 w 107"/>
                  <a:gd name="T53" fmla="*/ 44 h 172"/>
                  <a:gd name="T54" fmla="*/ 73 w 107"/>
                  <a:gd name="T55" fmla="*/ 55 h 172"/>
                  <a:gd name="T56" fmla="*/ 80 w 107"/>
                  <a:gd name="T57" fmla="*/ 67 h 172"/>
                  <a:gd name="T58" fmla="*/ 87 w 107"/>
                  <a:gd name="T59" fmla="*/ 81 h 172"/>
                  <a:gd name="T60" fmla="*/ 101 w 107"/>
                  <a:gd name="T61" fmla="*/ 99 h 172"/>
                  <a:gd name="T62" fmla="*/ 107 w 107"/>
                  <a:gd name="T63" fmla="*/ 110 h 172"/>
                  <a:gd name="T64" fmla="*/ 98 w 107"/>
                  <a:gd name="T65" fmla="*/ 127 h 172"/>
                  <a:gd name="T66" fmla="*/ 86 w 107"/>
                  <a:gd name="T67" fmla="*/ 140 h 172"/>
                  <a:gd name="T68" fmla="*/ 83 w 107"/>
                  <a:gd name="T69" fmla="*/ 146 h 172"/>
                  <a:gd name="T70" fmla="*/ 77 w 107"/>
                  <a:gd name="T71" fmla="*/ 156 h 172"/>
                  <a:gd name="T72" fmla="*/ 65 w 107"/>
                  <a:gd name="T73" fmla="*/ 162 h 172"/>
                  <a:gd name="T74" fmla="*/ 61 w 107"/>
                  <a:gd name="T75" fmla="*/ 166 h 172"/>
                  <a:gd name="T76" fmla="*/ 53 w 107"/>
                  <a:gd name="T77" fmla="*/ 171 h 172"/>
                  <a:gd name="T78" fmla="*/ 40 w 107"/>
                  <a:gd name="T79" fmla="*/ 16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7" h="172">
                    <a:moveTo>
                      <a:pt x="40" y="166"/>
                    </a:moveTo>
                    <a:cubicBezTo>
                      <a:pt x="37" y="162"/>
                      <a:pt x="34" y="158"/>
                      <a:pt x="34" y="157"/>
                    </a:cubicBezTo>
                    <a:cubicBezTo>
                      <a:pt x="33" y="155"/>
                      <a:pt x="31" y="153"/>
                      <a:pt x="29" y="150"/>
                    </a:cubicBezTo>
                    <a:cubicBezTo>
                      <a:pt x="24" y="145"/>
                      <a:pt x="19" y="134"/>
                      <a:pt x="19" y="129"/>
                    </a:cubicBezTo>
                    <a:cubicBezTo>
                      <a:pt x="19" y="123"/>
                      <a:pt x="24" y="118"/>
                      <a:pt x="30" y="118"/>
                    </a:cubicBezTo>
                    <a:cubicBezTo>
                      <a:pt x="33" y="118"/>
                      <a:pt x="39" y="114"/>
                      <a:pt x="39" y="111"/>
                    </a:cubicBezTo>
                    <a:cubicBezTo>
                      <a:pt x="39" y="109"/>
                      <a:pt x="32" y="106"/>
                      <a:pt x="29" y="106"/>
                    </a:cubicBezTo>
                    <a:cubicBezTo>
                      <a:pt x="29" y="106"/>
                      <a:pt x="25" y="106"/>
                      <a:pt x="21" y="107"/>
                    </a:cubicBezTo>
                    <a:cubicBezTo>
                      <a:pt x="13" y="108"/>
                      <a:pt x="8" y="107"/>
                      <a:pt x="6" y="103"/>
                    </a:cubicBezTo>
                    <a:cubicBezTo>
                      <a:pt x="5" y="101"/>
                      <a:pt x="5" y="99"/>
                      <a:pt x="7" y="96"/>
                    </a:cubicBezTo>
                    <a:cubicBezTo>
                      <a:pt x="8" y="94"/>
                      <a:pt x="8" y="92"/>
                      <a:pt x="8" y="92"/>
                    </a:cubicBezTo>
                    <a:cubicBezTo>
                      <a:pt x="7" y="92"/>
                      <a:pt x="5" y="91"/>
                      <a:pt x="3" y="89"/>
                    </a:cubicBezTo>
                    <a:cubicBezTo>
                      <a:pt x="0" y="86"/>
                      <a:pt x="0" y="79"/>
                      <a:pt x="2" y="73"/>
                    </a:cubicBezTo>
                    <a:cubicBezTo>
                      <a:pt x="3" y="69"/>
                      <a:pt x="4" y="68"/>
                      <a:pt x="9" y="68"/>
                    </a:cubicBezTo>
                    <a:cubicBezTo>
                      <a:pt x="14" y="68"/>
                      <a:pt x="15" y="68"/>
                      <a:pt x="14" y="65"/>
                    </a:cubicBezTo>
                    <a:cubicBezTo>
                      <a:pt x="13" y="63"/>
                      <a:pt x="11" y="60"/>
                      <a:pt x="9" y="58"/>
                    </a:cubicBezTo>
                    <a:cubicBezTo>
                      <a:pt x="5" y="55"/>
                      <a:pt x="4" y="54"/>
                      <a:pt x="5" y="50"/>
                    </a:cubicBezTo>
                    <a:cubicBezTo>
                      <a:pt x="6" y="45"/>
                      <a:pt x="9" y="42"/>
                      <a:pt x="14" y="42"/>
                    </a:cubicBezTo>
                    <a:cubicBezTo>
                      <a:pt x="23" y="40"/>
                      <a:pt x="23" y="39"/>
                      <a:pt x="17" y="32"/>
                    </a:cubicBezTo>
                    <a:cubicBezTo>
                      <a:pt x="12" y="27"/>
                      <a:pt x="12" y="27"/>
                      <a:pt x="12" y="27"/>
                    </a:cubicBezTo>
                    <a:cubicBezTo>
                      <a:pt x="15" y="21"/>
                      <a:pt x="15" y="21"/>
                      <a:pt x="15" y="21"/>
                    </a:cubicBezTo>
                    <a:cubicBezTo>
                      <a:pt x="16" y="18"/>
                      <a:pt x="19" y="15"/>
                      <a:pt x="22" y="14"/>
                    </a:cubicBezTo>
                    <a:cubicBezTo>
                      <a:pt x="25" y="12"/>
                      <a:pt x="26" y="10"/>
                      <a:pt x="26" y="6"/>
                    </a:cubicBezTo>
                    <a:cubicBezTo>
                      <a:pt x="27" y="1"/>
                      <a:pt x="27" y="1"/>
                      <a:pt x="32" y="0"/>
                    </a:cubicBezTo>
                    <a:cubicBezTo>
                      <a:pt x="37" y="0"/>
                      <a:pt x="45" y="4"/>
                      <a:pt x="47" y="9"/>
                    </a:cubicBezTo>
                    <a:cubicBezTo>
                      <a:pt x="50" y="15"/>
                      <a:pt x="54" y="24"/>
                      <a:pt x="54" y="25"/>
                    </a:cubicBezTo>
                    <a:cubicBezTo>
                      <a:pt x="54" y="28"/>
                      <a:pt x="60" y="38"/>
                      <a:pt x="66" y="44"/>
                    </a:cubicBezTo>
                    <a:cubicBezTo>
                      <a:pt x="71" y="49"/>
                      <a:pt x="73" y="52"/>
                      <a:pt x="73" y="55"/>
                    </a:cubicBezTo>
                    <a:cubicBezTo>
                      <a:pt x="73" y="59"/>
                      <a:pt x="74" y="62"/>
                      <a:pt x="80" y="67"/>
                    </a:cubicBezTo>
                    <a:cubicBezTo>
                      <a:pt x="86" y="74"/>
                      <a:pt x="87" y="75"/>
                      <a:pt x="87" y="81"/>
                    </a:cubicBezTo>
                    <a:cubicBezTo>
                      <a:pt x="87" y="87"/>
                      <a:pt x="87" y="88"/>
                      <a:pt x="101" y="99"/>
                    </a:cubicBezTo>
                    <a:cubicBezTo>
                      <a:pt x="106" y="103"/>
                      <a:pt x="107" y="104"/>
                      <a:pt x="107" y="110"/>
                    </a:cubicBezTo>
                    <a:cubicBezTo>
                      <a:pt x="107" y="115"/>
                      <a:pt x="105" y="117"/>
                      <a:pt x="98" y="127"/>
                    </a:cubicBezTo>
                    <a:cubicBezTo>
                      <a:pt x="93" y="133"/>
                      <a:pt x="88" y="139"/>
                      <a:pt x="86" y="140"/>
                    </a:cubicBezTo>
                    <a:cubicBezTo>
                      <a:pt x="84" y="141"/>
                      <a:pt x="83" y="143"/>
                      <a:pt x="83" y="146"/>
                    </a:cubicBezTo>
                    <a:cubicBezTo>
                      <a:pt x="83" y="148"/>
                      <a:pt x="80" y="152"/>
                      <a:pt x="77" y="156"/>
                    </a:cubicBezTo>
                    <a:cubicBezTo>
                      <a:pt x="71" y="164"/>
                      <a:pt x="71" y="164"/>
                      <a:pt x="65" y="162"/>
                    </a:cubicBezTo>
                    <a:cubicBezTo>
                      <a:pt x="62" y="161"/>
                      <a:pt x="61" y="162"/>
                      <a:pt x="61" y="166"/>
                    </a:cubicBezTo>
                    <a:cubicBezTo>
                      <a:pt x="61" y="171"/>
                      <a:pt x="60" y="171"/>
                      <a:pt x="53" y="171"/>
                    </a:cubicBezTo>
                    <a:cubicBezTo>
                      <a:pt x="46" y="172"/>
                      <a:pt x="46" y="171"/>
                      <a:pt x="40" y="16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31" name="Freeform 41">
                <a:extLst>
                  <a:ext uri="{FF2B5EF4-FFF2-40B4-BE49-F238E27FC236}">
                    <a16:creationId xmlns:a16="http://schemas.microsoft.com/office/drawing/2014/main" id="{AD84A3CC-3B9E-49A3-96CB-B2A42BB5AA7B}"/>
                  </a:ext>
                </a:extLst>
              </p:cNvPr>
              <p:cNvSpPr>
                <a:spLocks/>
              </p:cNvSpPr>
              <p:nvPr/>
            </p:nvSpPr>
            <p:spPr bwMode="auto">
              <a:xfrm>
                <a:off x="3819280" y="-537408"/>
                <a:ext cx="32735" cy="77023"/>
              </a:xfrm>
              <a:custGeom>
                <a:avLst/>
                <a:gdLst>
                  <a:gd name="T0" fmla="*/ 1 w 7"/>
                  <a:gd name="T1" fmla="*/ 14 h 17"/>
                  <a:gd name="T2" fmla="*/ 3 w 7"/>
                  <a:gd name="T3" fmla="*/ 5 h 17"/>
                  <a:gd name="T4" fmla="*/ 5 w 7"/>
                  <a:gd name="T5" fmla="*/ 0 h 17"/>
                  <a:gd name="T6" fmla="*/ 2 w 7"/>
                  <a:gd name="T7" fmla="*/ 15 h 17"/>
                  <a:gd name="T8" fmla="*/ 1 w 7"/>
                  <a:gd name="T9" fmla="*/ 14 h 17"/>
                </a:gdLst>
                <a:ahLst/>
                <a:cxnLst>
                  <a:cxn ang="0">
                    <a:pos x="T0" y="T1"/>
                  </a:cxn>
                  <a:cxn ang="0">
                    <a:pos x="T2" y="T3"/>
                  </a:cxn>
                  <a:cxn ang="0">
                    <a:pos x="T4" y="T5"/>
                  </a:cxn>
                  <a:cxn ang="0">
                    <a:pos x="T6" y="T7"/>
                  </a:cxn>
                  <a:cxn ang="0">
                    <a:pos x="T8" y="T9"/>
                  </a:cxn>
                </a:cxnLst>
                <a:rect l="0" t="0" r="r" b="b"/>
                <a:pathLst>
                  <a:path w="7" h="17">
                    <a:moveTo>
                      <a:pt x="1" y="14"/>
                    </a:moveTo>
                    <a:cubicBezTo>
                      <a:pt x="1" y="12"/>
                      <a:pt x="2" y="8"/>
                      <a:pt x="3" y="5"/>
                    </a:cubicBezTo>
                    <a:cubicBezTo>
                      <a:pt x="3" y="2"/>
                      <a:pt x="4" y="0"/>
                      <a:pt x="5" y="0"/>
                    </a:cubicBezTo>
                    <a:cubicBezTo>
                      <a:pt x="7" y="0"/>
                      <a:pt x="5" y="13"/>
                      <a:pt x="2" y="15"/>
                    </a:cubicBezTo>
                    <a:cubicBezTo>
                      <a:pt x="0" y="17"/>
                      <a:pt x="0" y="17"/>
                      <a:pt x="1" y="1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32" name="Freeform 42">
                <a:extLst>
                  <a:ext uri="{FF2B5EF4-FFF2-40B4-BE49-F238E27FC236}">
                    <a16:creationId xmlns:a16="http://schemas.microsoft.com/office/drawing/2014/main" id="{3A7836F9-BE2F-4170-A002-1D09444B0B98}"/>
                  </a:ext>
                </a:extLst>
              </p:cNvPr>
              <p:cNvSpPr>
                <a:spLocks/>
              </p:cNvSpPr>
              <p:nvPr/>
            </p:nvSpPr>
            <p:spPr bwMode="auto">
              <a:xfrm>
                <a:off x="4275642" y="-843574"/>
                <a:ext cx="90503" cy="100130"/>
              </a:xfrm>
              <a:custGeom>
                <a:avLst/>
                <a:gdLst>
                  <a:gd name="T0" fmla="*/ 8 w 20"/>
                  <a:gd name="T1" fmla="*/ 20 h 22"/>
                  <a:gd name="T2" fmla="*/ 1 w 20"/>
                  <a:gd name="T3" fmla="*/ 7 h 22"/>
                  <a:gd name="T4" fmla="*/ 8 w 20"/>
                  <a:gd name="T5" fmla="*/ 0 h 22"/>
                  <a:gd name="T6" fmla="*/ 16 w 20"/>
                  <a:gd name="T7" fmla="*/ 6 h 22"/>
                  <a:gd name="T8" fmla="*/ 17 w 20"/>
                  <a:gd name="T9" fmla="*/ 19 h 22"/>
                  <a:gd name="T10" fmla="*/ 8 w 20"/>
                  <a:gd name="T11" fmla="*/ 20 h 22"/>
                </a:gdLst>
                <a:ahLst/>
                <a:cxnLst>
                  <a:cxn ang="0">
                    <a:pos x="T0" y="T1"/>
                  </a:cxn>
                  <a:cxn ang="0">
                    <a:pos x="T2" y="T3"/>
                  </a:cxn>
                  <a:cxn ang="0">
                    <a:pos x="T4" y="T5"/>
                  </a:cxn>
                  <a:cxn ang="0">
                    <a:pos x="T6" y="T7"/>
                  </a:cxn>
                  <a:cxn ang="0">
                    <a:pos x="T8" y="T9"/>
                  </a:cxn>
                  <a:cxn ang="0">
                    <a:pos x="T10" y="T11"/>
                  </a:cxn>
                </a:cxnLst>
                <a:rect l="0" t="0" r="r" b="b"/>
                <a:pathLst>
                  <a:path w="20" h="22">
                    <a:moveTo>
                      <a:pt x="8" y="20"/>
                    </a:moveTo>
                    <a:cubicBezTo>
                      <a:pt x="3" y="16"/>
                      <a:pt x="0" y="10"/>
                      <a:pt x="1" y="7"/>
                    </a:cubicBezTo>
                    <a:cubicBezTo>
                      <a:pt x="2" y="2"/>
                      <a:pt x="4" y="0"/>
                      <a:pt x="8" y="0"/>
                    </a:cubicBezTo>
                    <a:cubicBezTo>
                      <a:pt x="11" y="0"/>
                      <a:pt x="13" y="2"/>
                      <a:pt x="16" y="6"/>
                    </a:cubicBezTo>
                    <a:cubicBezTo>
                      <a:pt x="20" y="13"/>
                      <a:pt x="20" y="15"/>
                      <a:pt x="17" y="19"/>
                    </a:cubicBezTo>
                    <a:cubicBezTo>
                      <a:pt x="13" y="22"/>
                      <a:pt x="11" y="22"/>
                      <a:pt x="8"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379" name="Group 378">
              <a:extLst>
                <a:ext uri="{FF2B5EF4-FFF2-40B4-BE49-F238E27FC236}">
                  <a16:creationId xmlns:a16="http://schemas.microsoft.com/office/drawing/2014/main" id="{52D9FB6F-4C89-4C24-85E7-2B93CA090543}"/>
                </a:ext>
              </a:extLst>
            </p:cNvPr>
            <p:cNvGrpSpPr/>
            <p:nvPr userDrawn="1"/>
          </p:nvGrpSpPr>
          <p:grpSpPr>
            <a:xfrm>
              <a:off x="5696722" y="2791089"/>
              <a:ext cx="2478223" cy="3011610"/>
              <a:chOff x="5696722" y="2691793"/>
              <a:chExt cx="2478223" cy="3011610"/>
            </a:xfrm>
            <a:grpFill/>
          </p:grpSpPr>
          <p:sp>
            <p:nvSpPr>
              <p:cNvPr id="388" name="Freeform 55">
                <a:extLst>
                  <a:ext uri="{FF2B5EF4-FFF2-40B4-BE49-F238E27FC236}">
                    <a16:creationId xmlns:a16="http://schemas.microsoft.com/office/drawing/2014/main" id="{BC2F8E32-B55F-451F-945E-89698E8A13E0}"/>
                  </a:ext>
                </a:extLst>
              </p:cNvPr>
              <p:cNvSpPr>
                <a:spLocks/>
              </p:cNvSpPr>
              <p:nvPr/>
            </p:nvSpPr>
            <p:spPr bwMode="auto">
              <a:xfrm>
                <a:off x="5696722" y="2691793"/>
                <a:ext cx="2433935" cy="2998131"/>
              </a:xfrm>
              <a:custGeom>
                <a:avLst/>
                <a:gdLst>
                  <a:gd name="T0" fmla="*/ 181 w 534"/>
                  <a:gd name="T1" fmla="*/ 640 h 658"/>
                  <a:gd name="T2" fmla="*/ 131 w 534"/>
                  <a:gd name="T3" fmla="*/ 646 h 658"/>
                  <a:gd name="T4" fmla="*/ 100 w 534"/>
                  <a:gd name="T5" fmla="*/ 632 h 658"/>
                  <a:gd name="T6" fmla="*/ 49 w 534"/>
                  <a:gd name="T7" fmla="*/ 587 h 658"/>
                  <a:gd name="T8" fmla="*/ 44 w 534"/>
                  <a:gd name="T9" fmla="*/ 538 h 658"/>
                  <a:gd name="T10" fmla="*/ 32 w 534"/>
                  <a:gd name="T11" fmla="*/ 443 h 658"/>
                  <a:gd name="T12" fmla="*/ 42 w 534"/>
                  <a:gd name="T13" fmla="*/ 423 h 658"/>
                  <a:gd name="T14" fmla="*/ 33 w 534"/>
                  <a:gd name="T15" fmla="*/ 380 h 658"/>
                  <a:gd name="T16" fmla="*/ 19 w 534"/>
                  <a:gd name="T17" fmla="*/ 342 h 658"/>
                  <a:gd name="T18" fmla="*/ 10 w 534"/>
                  <a:gd name="T19" fmla="*/ 325 h 658"/>
                  <a:gd name="T20" fmla="*/ 48 w 534"/>
                  <a:gd name="T21" fmla="*/ 290 h 658"/>
                  <a:gd name="T22" fmla="*/ 60 w 534"/>
                  <a:gd name="T23" fmla="*/ 222 h 658"/>
                  <a:gd name="T24" fmla="*/ 12 w 534"/>
                  <a:gd name="T25" fmla="*/ 162 h 658"/>
                  <a:gd name="T26" fmla="*/ 20 w 534"/>
                  <a:gd name="T27" fmla="*/ 140 h 658"/>
                  <a:gd name="T28" fmla="*/ 27 w 534"/>
                  <a:gd name="T29" fmla="*/ 112 h 658"/>
                  <a:gd name="T30" fmla="*/ 12 w 534"/>
                  <a:gd name="T31" fmla="*/ 65 h 658"/>
                  <a:gd name="T32" fmla="*/ 0 w 534"/>
                  <a:gd name="T33" fmla="*/ 25 h 658"/>
                  <a:gd name="T34" fmla="*/ 40 w 534"/>
                  <a:gd name="T35" fmla="*/ 11 h 658"/>
                  <a:gd name="T36" fmla="*/ 80 w 534"/>
                  <a:gd name="T37" fmla="*/ 0 h 658"/>
                  <a:gd name="T38" fmla="*/ 130 w 534"/>
                  <a:gd name="T39" fmla="*/ 37 h 658"/>
                  <a:gd name="T40" fmla="*/ 175 w 534"/>
                  <a:gd name="T41" fmla="*/ 48 h 658"/>
                  <a:gd name="T42" fmla="*/ 182 w 534"/>
                  <a:gd name="T43" fmla="*/ 95 h 658"/>
                  <a:gd name="T44" fmla="*/ 195 w 534"/>
                  <a:gd name="T45" fmla="*/ 119 h 658"/>
                  <a:gd name="T46" fmla="*/ 227 w 534"/>
                  <a:gd name="T47" fmla="*/ 131 h 658"/>
                  <a:gd name="T48" fmla="*/ 248 w 534"/>
                  <a:gd name="T49" fmla="*/ 117 h 658"/>
                  <a:gd name="T50" fmla="*/ 256 w 534"/>
                  <a:gd name="T51" fmla="*/ 76 h 658"/>
                  <a:gd name="T52" fmla="*/ 264 w 534"/>
                  <a:gd name="T53" fmla="*/ 52 h 658"/>
                  <a:gd name="T54" fmla="*/ 281 w 534"/>
                  <a:gd name="T55" fmla="*/ 93 h 658"/>
                  <a:gd name="T56" fmla="*/ 297 w 534"/>
                  <a:gd name="T57" fmla="*/ 105 h 658"/>
                  <a:gd name="T58" fmla="*/ 310 w 534"/>
                  <a:gd name="T59" fmla="*/ 135 h 658"/>
                  <a:gd name="T60" fmla="*/ 321 w 534"/>
                  <a:gd name="T61" fmla="*/ 187 h 658"/>
                  <a:gd name="T62" fmla="*/ 340 w 534"/>
                  <a:gd name="T63" fmla="*/ 220 h 658"/>
                  <a:gd name="T64" fmla="*/ 342 w 534"/>
                  <a:gd name="T65" fmla="*/ 247 h 658"/>
                  <a:gd name="T66" fmla="*/ 315 w 534"/>
                  <a:gd name="T67" fmla="*/ 248 h 658"/>
                  <a:gd name="T68" fmla="*/ 282 w 534"/>
                  <a:gd name="T69" fmla="*/ 252 h 658"/>
                  <a:gd name="T70" fmla="*/ 269 w 534"/>
                  <a:gd name="T71" fmla="*/ 274 h 658"/>
                  <a:gd name="T72" fmla="*/ 286 w 534"/>
                  <a:gd name="T73" fmla="*/ 311 h 658"/>
                  <a:gd name="T74" fmla="*/ 310 w 534"/>
                  <a:gd name="T75" fmla="*/ 335 h 658"/>
                  <a:gd name="T76" fmla="*/ 330 w 534"/>
                  <a:gd name="T77" fmla="*/ 355 h 658"/>
                  <a:gd name="T78" fmla="*/ 368 w 534"/>
                  <a:gd name="T79" fmla="*/ 360 h 658"/>
                  <a:gd name="T80" fmla="*/ 379 w 534"/>
                  <a:gd name="T81" fmla="*/ 337 h 658"/>
                  <a:gd name="T82" fmla="*/ 510 w 534"/>
                  <a:gd name="T83" fmla="*/ 297 h 658"/>
                  <a:gd name="T84" fmla="*/ 534 w 534"/>
                  <a:gd name="T85" fmla="*/ 306 h 658"/>
                  <a:gd name="T86" fmla="*/ 497 w 534"/>
                  <a:gd name="T87" fmla="*/ 356 h 658"/>
                  <a:gd name="T88" fmla="*/ 423 w 534"/>
                  <a:gd name="T89" fmla="*/ 401 h 658"/>
                  <a:gd name="T90" fmla="*/ 329 w 534"/>
                  <a:gd name="T91" fmla="*/ 460 h 658"/>
                  <a:gd name="T92" fmla="*/ 290 w 534"/>
                  <a:gd name="T93" fmla="*/ 513 h 658"/>
                  <a:gd name="T94" fmla="*/ 214 w 534"/>
                  <a:gd name="T95" fmla="*/ 619 h 658"/>
                  <a:gd name="T96" fmla="*/ 273 w 534"/>
                  <a:gd name="T97" fmla="*/ 560 h 658"/>
                  <a:gd name="T98" fmla="*/ 312 w 534"/>
                  <a:gd name="T99" fmla="*/ 496 h 658"/>
                  <a:gd name="T100" fmla="*/ 359 w 534"/>
                  <a:gd name="T101" fmla="*/ 461 h 658"/>
                  <a:gd name="T102" fmla="*/ 407 w 534"/>
                  <a:gd name="T103" fmla="*/ 459 h 658"/>
                  <a:gd name="T104" fmla="*/ 350 w 534"/>
                  <a:gd name="T105" fmla="*/ 508 h 658"/>
                  <a:gd name="T106" fmla="*/ 317 w 534"/>
                  <a:gd name="T107" fmla="*/ 543 h 658"/>
                  <a:gd name="T108" fmla="*/ 296 w 534"/>
                  <a:gd name="T109" fmla="*/ 547 h 658"/>
                  <a:gd name="T110" fmla="*/ 282 w 534"/>
                  <a:gd name="T111" fmla="*/ 610 h 658"/>
                  <a:gd name="T112" fmla="*/ 256 w 534"/>
                  <a:gd name="T113" fmla="*/ 647 h 658"/>
                  <a:gd name="T114" fmla="*/ 190 w 534"/>
                  <a:gd name="T115" fmla="*/ 654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34" h="658">
                    <a:moveTo>
                      <a:pt x="190" y="654"/>
                    </a:moveTo>
                    <a:cubicBezTo>
                      <a:pt x="189" y="652"/>
                      <a:pt x="187" y="648"/>
                      <a:pt x="187" y="645"/>
                    </a:cubicBezTo>
                    <a:cubicBezTo>
                      <a:pt x="187" y="641"/>
                      <a:pt x="186" y="640"/>
                      <a:pt x="181" y="640"/>
                    </a:cubicBezTo>
                    <a:cubicBezTo>
                      <a:pt x="175" y="640"/>
                      <a:pt x="167" y="643"/>
                      <a:pt x="159" y="648"/>
                    </a:cubicBezTo>
                    <a:cubicBezTo>
                      <a:pt x="156" y="650"/>
                      <a:pt x="153" y="651"/>
                      <a:pt x="145" y="651"/>
                    </a:cubicBezTo>
                    <a:cubicBezTo>
                      <a:pt x="134" y="651"/>
                      <a:pt x="134" y="651"/>
                      <a:pt x="131" y="646"/>
                    </a:cubicBezTo>
                    <a:cubicBezTo>
                      <a:pt x="129" y="643"/>
                      <a:pt x="126" y="641"/>
                      <a:pt x="125" y="641"/>
                    </a:cubicBezTo>
                    <a:cubicBezTo>
                      <a:pt x="123" y="641"/>
                      <a:pt x="119" y="639"/>
                      <a:pt x="115" y="637"/>
                    </a:cubicBezTo>
                    <a:cubicBezTo>
                      <a:pt x="110" y="634"/>
                      <a:pt x="105" y="632"/>
                      <a:pt x="100" y="632"/>
                    </a:cubicBezTo>
                    <a:cubicBezTo>
                      <a:pt x="88" y="631"/>
                      <a:pt x="74" y="626"/>
                      <a:pt x="66" y="621"/>
                    </a:cubicBezTo>
                    <a:cubicBezTo>
                      <a:pt x="60" y="617"/>
                      <a:pt x="58" y="614"/>
                      <a:pt x="55" y="606"/>
                    </a:cubicBezTo>
                    <a:cubicBezTo>
                      <a:pt x="52" y="600"/>
                      <a:pt x="50" y="593"/>
                      <a:pt x="49" y="587"/>
                    </a:cubicBezTo>
                    <a:cubicBezTo>
                      <a:pt x="49" y="582"/>
                      <a:pt x="48" y="576"/>
                      <a:pt x="48" y="574"/>
                    </a:cubicBezTo>
                    <a:cubicBezTo>
                      <a:pt x="48" y="572"/>
                      <a:pt x="47" y="564"/>
                      <a:pt x="46" y="556"/>
                    </a:cubicBezTo>
                    <a:cubicBezTo>
                      <a:pt x="45" y="549"/>
                      <a:pt x="44" y="541"/>
                      <a:pt x="44" y="538"/>
                    </a:cubicBezTo>
                    <a:cubicBezTo>
                      <a:pt x="42" y="527"/>
                      <a:pt x="42" y="527"/>
                      <a:pt x="42" y="527"/>
                    </a:cubicBezTo>
                    <a:cubicBezTo>
                      <a:pt x="42" y="523"/>
                      <a:pt x="40" y="504"/>
                      <a:pt x="37" y="483"/>
                    </a:cubicBezTo>
                    <a:cubicBezTo>
                      <a:pt x="35" y="463"/>
                      <a:pt x="33" y="445"/>
                      <a:pt x="32" y="443"/>
                    </a:cubicBezTo>
                    <a:cubicBezTo>
                      <a:pt x="32" y="440"/>
                      <a:pt x="32" y="439"/>
                      <a:pt x="36" y="438"/>
                    </a:cubicBezTo>
                    <a:cubicBezTo>
                      <a:pt x="40" y="437"/>
                      <a:pt x="40" y="437"/>
                      <a:pt x="39" y="433"/>
                    </a:cubicBezTo>
                    <a:cubicBezTo>
                      <a:pt x="39" y="430"/>
                      <a:pt x="39" y="427"/>
                      <a:pt x="42" y="423"/>
                    </a:cubicBezTo>
                    <a:cubicBezTo>
                      <a:pt x="45" y="420"/>
                      <a:pt x="46" y="415"/>
                      <a:pt x="46" y="413"/>
                    </a:cubicBezTo>
                    <a:cubicBezTo>
                      <a:pt x="46" y="411"/>
                      <a:pt x="44" y="404"/>
                      <a:pt x="41" y="398"/>
                    </a:cubicBezTo>
                    <a:cubicBezTo>
                      <a:pt x="37" y="391"/>
                      <a:pt x="34" y="383"/>
                      <a:pt x="33" y="380"/>
                    </a:cubicBezTo>
                    <a:cubicBezTo>
                      <a:pt x="32" y="377"/>
                      <a:pt x="31" y="373"/>
                      <a:pt x="29" y="371"/>
                    </a:cubicBezTo>
                    <a:cubicBezTo>
                      <a:pt x="28" y="369"/>
                      <a:pt x="27" y="365"/>
                      <a:pt x="27" y="361"/>
                    </a:cubicBezTo>
                    <a:cubicBezTo>
                      <a:pt x="28" y="353"/>
                      <a:pt x="24" y="345"/>
                      <a:pt x="19" y="342"/>
                    </a:cubicBezTo>
                    <a:cubicBezTo>
                      <a:pt x="17" y="342"/>
                      <a:pt x="16" y="339"/>
                      <a:pt x="16" y="337"/>
                    </a:cubicBezTo>
                    <a:cubicBezTo>
                      <a:pt x="16" y="335"/>
                      <a:pt x="15" y="332"/>
                      <a:pt x="13" y="330"/>
                    </a:cubicBezTo>
                    <a:cubicBezTo>
                      <a:pt x="12" y="328"/>
                      <a:pt x="10" y="326"/>
                      <a:pt x="10" y="325"/>
                    </a:cubicBezTo>
                    <a:cubicBezTo>
                      <a:pt x="10" y="323"/>
                      <a:pt x="17" y="317"/>
                      <a:pt x="25" y="312"/>
                    </a:cubicBezTo>
                    <a:cubicBezTo>
                      <a:pt x="29" y="309"/>
                      <a:pt x="34" y="305"/>
                      <a:pt x="37" y="302"/>
                    </a:cubicBezTo>
                    <a:cubicBezTo>
                      <a:pt x="39" y="299"/>
                      <a:pt x="44" y="293"/>
                      <a:pt x="48" y="290"/>
                    </a:cubicBezTo>
                    <a:cubicBezTo>
                      <a:pt x="52" y="285"/>
                      <a:pt x="56" y="279"/>
                      <a:pt x="59" y="270"/>
                    </a:cubicBezTo>
                    <a:cubicBezTo>
                      <a:pt x="64" y="259"/>
                      <a:pt x="64" y="256"/>
                      <a:pt x="64" y="245"/>
                    </a:cubicBezTo>
                    <a:cubicBezTo>
                      <a:pt x="64" y="237"/>
                      <a:pt x="63" y="230"/>
                      <a:pt x="60" y="222"/>
                    </a:cubicBezTo>
                    <a:cubicBezTo>
                      <a:pt x="58" y="215"/>
                      <a:pt x="56" y="209"/>
                      <a:pt x="55" y="206"/>
                    </a:cubicBezTo>
                    <a:cubicBezTo>
                      <a:pt x="54" y="200"/>
                      <a:pt x="41" y="186"/>
                      <a:pt x="32" y="181"/>
                    </a:cubicBezTo>
                    <a:cubicBezTo>
                      <a:pt x="21" y="176"/>
                      <a:pt x="13" y="167"/>
                      <a:pt x="12" y="162"/>
                    </a:cubicBezTo>
                    <a:cubicBezTo>
                      <a:pt x="12" y="159"/>
                      <a:pt x="13" y="155"/>
                      <a:pt x="14" y="152"/>
                    </a:cubicBezTo>
                    <a:cubicBezTo>
                      <a:pt x="16" y="149"/>
                      <a:pt x="17" y="146"/>
                      <a:pt x="17" y="144"/>
                    </a:cubicBezTo>
                    <a:cubicBezTo>
                      <a:pt x="17" y="143"/>
                      <a:pt x="19" y="141"/>
                      <a:pt x="20" y="140"/>
                    </a:cubicBezTo>
                    <a:cubicBezTo>
                      <a:pt x="22" y="138"/>
                      <a:pt x="23" y="136"/>
                      <a:pt x="23" y="131"/>
                    </a:cubicBezTo>
                    <a:cubicBezTo>
                      <a:pt x="23" y="126"/>
                      <a:pt x="24" y="123"/>
                      <a:pt x="26" y="121"/>
                    </a:cubicBezTo>
                    <a:cubicBezTo>
                      <a:pt x="29" y="118"/>
                      <a:pt x="29" y="118"/>
                      <a:pt x="27" y="112"/>
                    </a:cubicBezTo>
                    <a:cubicBezTo>
                      <a:pt x="26" y="109"/>
                      <a:pt x="24" y="105"/>
                      <a:pt x="24" y="103"/>
                    </a:cubicBezTo>
                    <a:cubicBezTo>
                      <a:pt x="23" y="99"/>
                      <a:pt x="20" y="91"/>
                      <a:pt x="15" y="86"/>
                    </a:cubicBezTo>
                    <a:cubicBezTo>
                      <a:pt x="12" y="82"/>
                      <a:pt x="12" y="80"/>
                      <a:pt x="12" y="65"/>
                    </a:cubicBezTo>
                    <a:cubicBezTo>
                      <a:pt x="12" y="54"/>
                      <a:pt x="11" y="49"/>
                      <a:pt x="10" y="47"/>
                    </a:cubicBezTo>
                    <a:cubicBezTo>
                      <a:pt x="9" y="46"/>
                      <a:pt x="6" y="40"/>
                      <a:pt x="4" y="35"/>
                    </a:cubicBezTo>
                    <a:cubicBezTo>
                      <a:pt x="0" y="25"/>
                      <a:pt x="0" y="25"/>
                      <a:pt x="0" y="25"/>
                    </a:cubicBezTo>
                    <a:cubicBezTo>
                      <a:pt x="4" y="18"/>
                      <a:pt x="4" y="18"/>
                      <a:pt x="4" y="18"/>
                    </a:cubicBezTo>
                    <a:cubicBezTo>
                      <a:pt x="7" y="11"/>
                      <a:pt x="8" y="10"/>
                      <a:pt x="14" y="9"/>
                    </a:cubicBezTo>
                    <a:cubicBezTo>
                      <a:pt x="25" y="8"/>
                      <a:pt x="34" y="8"/>
                      <a:pt x="40" y="11"/>
                    </a:cubicBezTo>
                    <a:cubicBezTo>
                      <a:pt x="48" y="13"/>
                      <a:pt x="59" y="14"/>
                      <a:pt x="64" y="13"/>
                    </a:cubicBezTo>
                    <a:cubicBezTo>
                      <a:pt x="66" y="12"/>
                      <a:pt x="70" y="9"/>
                      <a:pt x="73" y="6"/>
                    </a:cubicBezTo>
                    <a:cubicBezTo>
                      <a:pt x="76" y="3"/>
                      <a:pt x="80" y="0"/>
                      <a:pt x="80" y="0"/>
                    </a:cubicBezTo>
                    <a:cubicBezTo>
                      <a:pt x="83" y="0"/>
                      <a:pt x="110" y="15"/>
                      <a:pt x="119" y="21"/>
                    </a:cubicBezTo>
                    <a:cubicBezTo>
                      <a:pt x="126" y="25"/>
                      <a:pt x="128" y="27"/>
                      <a:pt x="128" y="30"/>
                    </a:cubicBezTo>
                    <a:cubicBezTo>
                      <a:pt x="128" y="32"/>
                      <a:pt x="128" y="35"/>
                      <a:pt x="130" y="37"/>
                    </a:cubicBezTo>
                    <a:cubicBezTo>
                      <a:pt x="132" y="40"/>
                      <a:pt x="134" y="41"/>
                      <a:pt x="147" y="42"/>
                    </a:cubicBezTo>
                    <a:cubicBezTo>
                      <a:pt x="155" y="43"/>
                      <a:pt x="164" y="45"/>
                      <a:pt x="168" y="46"/>
                    </a:cubicBezTo>
                    <a:cubicBezTo>
                      <a:pt x="175" y="48"/>
                      <a:pt x="175" y="48"/>
                      <a:pt x="175" y="48"/>
                    </a:cubicBezTo>
                    <a:cubicBezTo>
                      <a:pt x="174" y="56"/>
                      <a:pt x="174" y="56"/>
                      <a:pt x="174" y="56"/>
                    </a:cubicBezTo>
                    <a:cubicBezTo>
                      <a:pt x="173" y="64"/>
                      <a:pt x="174" y="69"/>
                      <a:pt x="181" y="87"/>
                    </a:cubicBezTo>
                    <a:cubicBezTo>
                      <a:pt x="181" y="89"/>
                      <a:pt x="182" y="93"/>
                      <a:pt x="182" y="95"/>
                    </a:cubicBezTo>
                    <a:cubicBezTo>
                      <a:pt x="182" y="98"/>
                      <a:pt x="183" y="100"/>
                      <a:pt x="185" y="103"/>
                    </a:cubicBezTo>
                    <a:cubicBezTo>
                      <a:pt x="187" y="105"/>
                      <a:pt x="190" y="109"/>
                      <a:pt x="192" y="113"/>
                    </a:cubicBezTo>
                    <a:cubicBezTo>
                      <a:pt x="195" y="119"/>
                      <a:pt x="195" y="119"/>
                      <a:pt x="195" y="119"/>
                    </a:cubicBezTo>
                    <a:cubicBezTo>
                      <a:pt x="202" y="118"/>
                      <a:pt x="202" y="118"/>
                      <a:pt x="202" y="118"/>
                    </a:cubicBezTo>
                    <a:cubicBezTo>
                      <a:pt x="208" y="117"/>
                      <a:pt x="209" y="117"/>
                      <a:pt x="216" y="124"/>
                    </a:cubicBezTo>
                    <a:cubicBezTo>
                      <a:pt x="220" y="127"/>
                      <a:pt x="225" y="130"/>
                      <a:pt x="227" y="131"/>
                    </a:cubicBezTo>
                    <a:cubicBezTo>
                      <a:pt x="230" y="132"/>
                      <a:pt x="231" y="133"/>
                      <a:pt x="231" y="133"/>
                    </a:cubicBezTo>
                    <a:cubicBezTo>
                      <a:pt x="231" y="136"/>
                      <a:pt x="234" y="134"/>
                      <a:pt x="240" y="128"/>
                    </a:cubicBezTo>
                    <a:cubicBezTo>
                      <a:pt x="245" y="124"/>
                      <a:pt x="247" y="121"/>
                      <a:pt x="248" y="117"/>
                    </a:cubicBezTo>
                    <a:cubicBezTo>
                      <a:pt x="248" y="113"/>
                      <a:pt x="249" y="110"/>
                      <a:pt x="252" y="109"/>
                    </a:cubicBezTo>
                    <a:cubicBezTo>
                      <a:pt x="254" y="108"/>
                      <a:pt x="256" y="106"/>
                      <a:pt x="257" y="102"/>
                    </a:cubicBezTo>
                    <a:cubicBezTo>
                      <a:pt x="259" y="95"/>
                      <a:pt x="259" y="80"/>
                      <a:pt x="256" y="76"/>
                    </a:cubicBezTo>
                    <a:cubicBezTo>
                      <a:pt x="256" y="74"/>
                      <a:pt x="255" y="72"/>
                      <a:pt x="255" y="72"/>
                    </a:cubicBezTo>
                    <a:cubicBezTo>
                      <a:pt x="255" y="71"/>
                      <a:pt x="256" y="67"/>
                      <a:pt x="257" y="62"/>
                    </a:cubicBezTo>
                    <a:cubicBezTo>
                      <a:pt x="258" y="55"/>
                      <a:pt x="262" y="50"/>
                      <a:pt x="264" y="52"/>
                    </a:cubicBezTo>
                    <a:cubicBezTo>
                      <a:pt x="265" y="52"/>
                      <a:pt x="265" y="55"/>
                      <a:pt x="266" y="58"/>
                    </a:cubicBezTo>
                    <a:cubicBezTo>
                      <a:pt x="267" y="64"/>
                      <a:pt x="273" y="75"/>
                      <a:pt x="276" y="75"/>
                    </a:cubicBezTo>
                    <a:cubicBezTo>
                      <a:pt x="278" y="75"/>
                      <a:pt x="282" y="89"/>
                      <a:pt x="281" y="93"/>
                    </a:cubicBezTo>
                    <a:cubicBezTo>
                      <a:pt x="280" y="97"/>
                      <a:pt x="281" y="97"/>
                      <a:pt x="289" y="97"/>
                    </a:cubicBezTo>
                    <a:cubicBezTo>
                      <a:pt x="297" y="96"/>
                      <a:pt x="297" y="96"/>
                      <a:pt x="297" y="96"/>
                    </a:cubicBezTo>
                    <a:cubicBezTo>
                      <a:pt x="297" y="105"/>
                      <a:pt x="297" y="105"/>
                      <a:pt x="297" y="105"/>
                    </a:cubicBezTo>
                    <a:cubicBezTo>
                      <a:pt x="297" y="110"/>
                      <a:pt x="296" y="116"/>
                      <a:pt x="295" y="119"/>
                    </a:cubicBezTo>
                    <a:cubicBezTo>
                      <a:pt x="294" y="122"/>
                      <a:pt x="294" y="124"/>
                      <a:pt x="295" y="126"/>
                    </a:cubicBezTo>
                    <a:cubicBezTo>
                      <a:pt x="297" y="129"/>
                      <a:pt x="304" y="134"/>
                      <a:pt x="310" y="135"/>
                    </a:cubicBezTo>
                    <a:cubicBezTo>
                      <a:pt x="314" y="136"/>
                      <a:pt x="315" y="138"/>
                      <a:pt x="316" y="154"/>
                    </a:cubicBezTo>
                    <a:cubicBezTo>
                      <a:pt x="316" y="162"/>
                      <a:pt x="317" y="171"/>
                      <a:pt x="318" y="175"/>
                    </a:cubicBezTo>
                    <a:cubicBezTo>
                      <a:pt x="319" y="179"/>
                      <a:pt x="321" y="184"/>
                      <a:pt x="321" y="187"/>
                    </a:cubicBezTo>
                    <a:cubicBezTo>
                      <a:pt x="322" y="190"/>
                      <a:pt x="323" y="193"/>
                      <a:pt x="326" y="195"/>
                    </a:cubicBezTo>
                    <a:cubicBezTo>
                      <a:pt x="331" y="198"/>
                      <a:pt x="337" y="211"/>
                      <a:pt x="338" y="215"/>
                    </a:cubicBezTo>
                    <a:cubicBezTo>
                      <a:pt x="338" y="217"/>
                      <a:pt x="339" y="219"/>
                      <a:pt x="340" y="220"/>
                    </a:cubicBezTo>
                    <a:cubicBezTo>
                      <a:pt x="342" y="221"/>
                      <a:pt x="344" y="225"/>
                      <a:pt x="345" y="228"/>
                    </a:cubicBezTo>
                    <a:cubicBezTo>
                      <a:pt x="348" y="233"/>
                      <a:pt x="348" y="233"/>
                      <a:pt x="345" y="240"/>
                    </a:cubicBezTo>
                    <a:cubicBezTo>
                      <a:pt x="342" y="247"/>
                      <a:pt x="342" y="247"/>
                      <a:pt x="342" y="247"/>
                    </a:cubicBezTo>
                    <a:cubicBezTo>
                      <a:pt x="334" y="246"/>
                      <a:pt x="334" y="246"/>
                      <a:pt x="334" y="246"/>
                    </a:cubicBezTo>
                    <a:cubicBezTo>
                      <a:pt x="330" y="245"/>
                      <a:pt x="325" y="245"/>
                      <a:pt x="323" y="244"/>
                    </a:cubicBezTo>
                    <a:cubicBezTo>
                      <a:pt x="319" y="243"/>
                      <a:pt x="318" y="244"/>
                      <a:pt x="315" y="248"/>
                    </a:cubicBezTo>
                    <a:cubicBezTo>
                      <a:pt x="311" y="254"/>
                      <a:pt x="309" y="255"/>
                      <a:pt x="305" y="251"/>
                    </a:cubicBezTo>
                    <a:cubicBezTo>
                      <a:pt x="303" y="250"/>
                      <a:pt x="298" y="248"/>
                      <a:pt x="294" y="247"/>
                    </a:cubicBezTo>
                    <a:cubicBezTo>
                      <a:pt x="284" y="245"/>
                      <a:pt x="283" y="246"/>
                      <a:pt x="282" y="252"/>
                    </a:cubicBezTo>
                    <a:cubicBezTo>
                      <a:pt x="281" y="255"/>
                      <a:pt x="279" y="257"/>
                      <a:pt x="277" y="258"/>
                    </a:cubicBezTo>
                    <a:cubicBezTo>
                      <a:pt x="275" y="259"/>
                      <a:pt x="274" y="261"/>
                      <a:pt x="274" y="264"/>
                    </a:cubicBezTo>
                    <a:cubicBezTo>
                      <a:pt x="274" y="268"/>
                      <a:pt x="273" y="270"/>
                      <a:pt x="269" y="274"/>
                    </a:cubicBezTo>
                    <a:cubicBezTo>
                      <a:pt x="266" y="278"/>
                      <a:pt x="265" y="279"/>
                      <a:pt x="266" y="284"/>
                    </a:cubicBezTo>
                    <a:cubicBezTo>
                      <a:pt x="266" y="287"/>
                      <a:pt x="267" y="291"/>
                      <a:pt x="269" y="293"/>
                    </a:cubicBezTo>
                    <a:cubicBezTo>
                      <a:pt x="272" y="300"/>
                      <a:pt x="280" y="308"/>
                      <a:pt x="286" y="311"/>
                    </a:cubicBezTo>
                    <a:cubicBezTo>
                      <a:pt x="292" y="314"/>
                      <a:pt x="293" y="317"/>
                      <a:pt x="290" y="325"/>
                    </a:cubicBezTo>
                    <a:cubicBezTo>
                      <a:pt x="289" y="330"/>
                      <a:pt x="289" y="330"/>
                      <a:pt x="293" y="334"/>
                    </a:cubicBezTo>
                    <a:cubicBezTo>
                      <a:pt x="297" y="337"/>
                      <a:pt x="302" y="337"/>
                      <a:pt x="310" y="335"/>
                    </a:cubicBezTo>
                    <a:cubicBezTo>
                      <a:pt x="313" y="334"/>
                      <a:pt x="313" y="334"/>
                      <a:pt x="314" y="341"/>
                    </a:cubicBezTo>
                    <a:cubicBezTo>
                      <a:pt x="315" y="346"/>
                      <a:pt x="316" y="350"/>
                      <a:pt x="319" y="352"/>
                    </a:cubicBezTo>
                    <a:cubicBezTo>
                      <a:pt x="322" y="355"/>
                      <a:pt x="323" y="355"/>
                      <a:pt x="330" y="355"/>
                    </a:cubicBezTo>
                    <a:cubicBezTo>
                      <a:pt x="336" y="354"/>
                      <a:pt x="338" y="354"/>
                      <a:pt x="341" y="356"/>
                    </a:cubicBezTo>
                    <a:cubicBezTo>
                      <a:pt x="342" y="358"/>
                      <a:pt x="344" y="359"/>
                      <a:pt x="346" y="359"/>
                    </a:cubicBezTo>
                    <a:cubicBezTo>
                      <a:pt x="352" y="360"/>
                      <a:pt x="367" y="361"/>
                      <a:pt x="368" y="360"/>
                    </a:cubicBezTo>
                    <a:cubicBezTo>
                      <a:pt x="369" y="359"/>
                      <a:pt x="371" y="356"/>
                      <a:pt x="371" y="352"/>
                    </a:cubicBezTo>
                    <a:cubicBezTo>
                      <a:pt x="372" y="344"/>
                      <a:pt x="373" y="335"/>
                      <a:pt x="373" y="334"/>
                    </a:cubicBezTo>
                    <a:cubicBezTo>
                      <a:pt x="373" y="334"/>
                      <a:pt x="376" y="335"/>
                      <a:pt x="379" y="337"/>
                    </a:cubicBezTo>
                    <a:cubicBezTo>
                      <a:pt x="383" y="339"/>
                      <a:pt x="386" y="340"/>
                      <a:pt x="390" y="339"/>
                    </a:cubicBezTo>
                    <a:cubicBezTo>
                      <a:pt x="397" y="338"/>
                      <a:pt x="419" y="331"/>
                      <a:pt x="443" y="321"/>
                    </a:cubicBezTo>
                    <a:cubicBezTo>
                      <a:pt x="479" y="307"/>
                      <a:pt x="502" y="299"/>
                      <a:pt x="510" y="297"/>
                    </a:cubicBezTo>
                    <a:cubicBezTo>
                      <a:pt x="515" y="295"/>
                      <a:pt x="520" y="294"/>
                      <a:pt x="521" y="293"/>
                    </a:cubicBezTo>
                    <a:cubicBezTo>
                      <a:pt x="522" y="292"/>
                      <a:pt x="524" y="292"/>
                      <a:pt x="524" y="292"/>
                    </a:cubicBezTo>
                    <a:cubicBezTo>
                      <a:pt x="528" y="296"/>
                      <a:pt x="534" y="306"/>
                      <a:pt x="534" y="306"/>
                    </a:cubicBezTo>
                    <a:cubicBezTo>
                      <a:pt x="534" y="307"/>
                      <a:pt x="530" y="310"/>
                      <a:pt x="526" y="314"/>
                    </a:cubicBezTo>
                    <a:cubicBezTo>
                      <a:pt x="513" y="324"/>
                      <a:pt x="505" y="332"/>
                      <a:pt x="504" y="338"/>
                    </a:cubicBezTo>
                    <a:cubicBezTo>
                      <a:pt x="503" y="341"/>
                      <a:pt x="500" y="349"/>
                      <a:pt x="497" y="356"/>
                    </a:cubicBezTo>
                    <a:cubicBezTo>
                      <a:pt x="493" y="363"/>
                      <a:pt x="490" y="370"/>
                      <a:pt x="489" y="372"/>
                    </a:cubicBezTo>
                    <a:cubicBezTo>
                      <a:pt x="488" y="377"/>
                      <a:pt x="465" y="389"/>
                      <a:pt x="450" y="393"/>
                    </a:cubicBezTo>
                    <a:cubicBezTo>
                      <a:pt x="445" y="395"/>
                      <a:pt x="433" y="398"/>
                      <a:pt x="423" y="401"/>
                    </a:cubicBezTo>
                    <a:cubicBezTo>
                      <a:pt x="368" y="417"/>
                      <a:pt x="342" y="427"/>
                      <a:pt x="337" y="433"/>
                    </a:cubicBezTo>
                    <a:cubicBezTo>
                      <a:pt x="336" y="435"/>
                      <a:pt x="334" y="440"/>
                      <a:pt x="333" y="444"/>
                    </a:cubicBezTo>
                    <a:cubicBezTo>
                      <a:pt x="332" y="448"/>
                      <a:pt x="331" y="455"/>
                      <a:pt x="329" y="460"/>
                    </a:cubicBezTo>
                    <a:cubicBezTo>
                      <a:pt x="326" y="469"/>
                      <a:pt x="326" y="470"/>
                      <a:pt x="323" y="470"/>
                    </a:cubicBezTo>
                    <a:cubicBezTo>
                      <a:pt x="316" y="470"/>
                      <a:pt x="302" y="486"/>
                      <a:pt x="297" y="499"/>
                    </a:cubicBezTo>
                    <a:cubicBezTo>
                      <a:pt x="296" y="503"/>
                      <a:pt x="292" y="509"/>
                      <a:pt x="290" y="513"/>
                    </a:cubicBezTo>
                    <a:cubicBezTo>
                      <a:pt x="287" y="517"/>
                      <a:pt x="285" y="522"/>
                      <a:pt x="285" y="525"/>
                    </a:cubicBezTo>
                    <a:cubicBezTo>
                      <a:pt x="283" y="537"/>
                      <a:pt x="261" y="572"/>
                      <a:pt x="250" y="581"/>
                    </a:cubicBezTo>
                    <a:cubicBezTo>
                      <a:pt x="234" y="594"/>
                      <a:pt x="212" y="617"/>
                      <a:pt x="214" y="619"/>
                    </a:cubicBezTo>
                    <a:cubicBezTo>
                      <a:pt x="215" y="619"/>
                      <a:pt x="220" y="614"/>
                      <a:pt x="227" y="606"/>
                    </a:cubicBezTo>
                    <a:cubicBezTo>
                      <a:pt x="234" y="599"/>
                      <a:pt x="243" y="590"/>
                      <a:pt x="248" y="586"/>
                    </a:cubicBezTo>
                    <a:cubicBezTo>
                      <a:pt x="257" y="579"/>
                      <a:pt x="267" y="569"/>
                      <a:pt x="273" y="560"/>
                    </a:cubicBezTo>
                    <a:cubicBezTo>
                      <a:pt x="279" y="551"/>
                      <a:pt x="289" y="531"/>
                      <a:pt x="289" y="528"/>
                    </a:cubicBezTo>
                    <a:cubicBezTo>
                      <a:pt x="289" y="526"/>
                      <a:pt x="290" y="524"/>
                      <a:pt x="291" y="522"/>
                    </a:cubicBezTo>
                    <a:cubicBezTo>
                      <a:pt x="294" y="517"/>
                      <a:pt x="307" y="501"/>
                      <a:pt x="312" y="496"/>
                    </a:cubicBezTo>
                    <a:cubicBezTo>
                      <a:pt x="315" y="493"/>
                      <a:pt x="320" y="488"/>
                      <a:pt x="324" y="485"/>
                    </a:cubicBezTo>
                    <a:cubicBezTo>
                      <a:pt x="328" y="481"/>
                      <a:pt x="335" y="476"/>
                      <a:pt x="340" y="473"/>
                    </a:cubicBezTo>
                    <a:cubicBezTo>
                      <a:pt x="344" y="470"/>
                      <a:pt x="353" y="465"/>
                      <a:pt x="359" y="461"/>
                    </a:cubicBezTo>
                    <a:cubicBezTo>
                      <a:pt x="366" y="456"/>
                      <a:pt x="372" y="453"/>
                      <a:pt x="379" y="451"/>
                    </a:cubicBezTo>
                    <a:cubicBezTo>
                      <a:pt x="387" y="449"/>
                      <a:pt x="388" y="449"/>
                      <a:pt x="396" y="451"/>
                    </a:cubicBezTo>
                    <a:cubicBezTo>
                      <a:pt x="403" y="453"/>
                      <a:pt x="405" y="455"/>
                      <a:pt x="407" y="459"/>
                    </a:cubicBezTo>
                    <a:cubicBezTo>
                      <a:pt x="413" y="469"/>
                      <a:pt x="412" y="477"/>
                      <a:pt x="404" y="487"/>
                    </a:cubicBezTo>
                    <a:cubicBezTo>
                      <a:pt x="396" y="496"/>
                      <a:pt x="393" y="498"/>
                      <a:pt x="385" y="499"/>
                    </a:cubicBezTo>
                    <a:cubicBezTo>
                      <a:pt x="368" y="501"/>
                      <a:pt x="355" y="504"/>
                      <a:pt x="350" y="508"/>
                    </a:cubicBezTo>
                    <a:cubicBezTo>
                      <a:pt x="345" y="514"/>
                      <a:pt x="340" y="515"/>
                      <a:pt x="329" y="516"/>
                    </a:cubicBezTo>
                    <a:cubicBezTo>
                      <a:pt x="315" y="516"/>
                      <a:pt x="315" y="517"/>
                      <a:pt x="316" y="532"/>
                    </a:cubicBezTo>
                    <a:cubicBezTo>
                      <a:pt x="317" y="543"/>
                      <a:pt x="317" y="543"/>
                      <a:pt x="317" y="543"/>
                    </a:cubicBezTo>
                    <a:cubicBezTo>
                      <a:pt x="311" y="544"/>
                      <a:pt x="311" y="544"/>
                      <a:pt x="311" y="544"/>
                    </a:cubicBezTo>
                    <a:cubicBezTo>
                      <a:pt x="308" y="544"/>
                      <a:pt x="304" y="545"/>
                      <a:pt x="302" y="544"/>
                    </a:cubicBezTo>
                    <a:cubicBezTo>
                      <a:pt x="299" y="544"/>
                      <a:pt x="297" y="544"/>
                      <a:pt x="296" y="547"/>
                    </a:cubicBezTo>
                    <a:cubicBezTo>
                      <a:pt x="293" y="551"/>
                      <a:pt x="287" y="570"/>
                      <a:pt x="286" y="579"/>
                    </a:cubicBezTo>
                    <a:cubicBezTo>
                      <a:pt x="285" y="582"/>
                      <a:pt x="284" y="589"/>
                      <a:pt x="284" y="594"/>
                    </a:cubicBezTo>
                    <a:cubicBezTo>
                      <a:pt x="283" y="600"/>
                      <a:pt x="282" y="606"/>
                      <a:pt x="282" y="610"/>
                    </a:cubicBezTo>
                    <a:cubicBezTo>
                      <a:pt x="281" y="621"/>
                      <a:pt x="276" y="630"/>
                      <a:pt x="271" y="634"/>
                    </a:cubicBezTo>
                    <a:cubicBezTo>
                      <a:pt x="268" y="636"/>
                      <a:pt x="264" y="640"/>
                      <a:pt x="262" y="642"/>
                    </a:cubicBezTo>
                    <a:cubicBezTo>
                      <a:pt x="261" y="645"/>
                      <a:pt x="258" y="647"/>
                      <a:pt x="256" y="647"/>
                    </a:cubicBezTo>
                    <a:cubicBezTo>
                      <a:pt x="255" y="648"/>
                      <a:pt x="243" y="650"/>
                      <a:pt x="230" y="653"/>
                    </a:cubicBezTo>
                    <a:cubicBezTo>
                      <a:pt x="218" y="656"/>
                      <a:pt x="204" y="658"/>
                      <a:pt x="200" y="658"/>
                    </a:cubicBezTo>
                    <a:cubicBezTo>
                      <a:pt x="193" y="658"/>
                      <a:pt x="192" y="658"/>
                      <a:pt x="190" y="6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89" name="Freeform 48">
                <a:extLst>
                  <a:ext uri="{FF2B5EF4-FFF2-40B4-BE49-F238E27FC236}">
                    <a16:creationId xmlns:a16="http://schemas.microsoft.com/office/drawing/2014/main" id="{94DA9BBF-0243-4338-8C12-0D1F21016E4F}"/>
                  </a:ext>
                </a:extLst>
              </p:cNvPr>
              <p:cNvSpPr>
                <a:spLocks/>
              </p:cNvSpPr>
              <p:nvPr/>
            </p:nvSpPr>
            <p:spPr bwMode="auto">
              <a:xfrm>
                <a:off x="7154387" y="4942797"/>
                <a:ext cx="579601" cy="556494"/>
              </a:xfrm>
              <a:custGeom>
                <a:avLst/>
                <a:gdLst>
                  <a:gd name="T0" fmla="*/ 55 w 127"/>
                  <a:gd name="T1" fmla="*/ 119 h 122"/>
                  <a:gd name="T2" fmla="*/ 46 w 127"/>
                  <a:gd name="T3" fmla="*/ 109 h 122"/>
                  <a:gd name="T4" fmla="*/ 41 w 127"/>
                  <a:gd name="T5" fmla="*/ 104 h 122"/>
                  <a:gd name="T6" fmla="*/ 26 w 127"/>
                  <a:gd name="T7" fmla="*/ 65 h 122"/>
                  <a:gd name="T8" fmla="*/ 23 w 127"/>
                  <a:gd name="T9" fmla="*/ 56 h 122"/>
                  <a:gd name="T10" fmla="*/ 5 w 127"/>
                  <a:gd name="T11" fmla="*/ 47 h 122"/>
                  <a:gd name="T12" fmla="*/ 1 w 127"/>
                  <a:gd name="T13" fmla="*/ 47 h 122"/>
                  <a:gd name="T14" fmla="*/ 0 w 127"/>
                  <a:gd name="T15" fmla="*/ 38 h 122"/>
                  <a:gd name="T16" fmla="*/ 0 w 127"/>
                  <a:gd name="T17" fmla="*/ 28 h 122"/>
                  <a:gd name="T18" fmla="*/ 9 w 127"/>
                  <a:gd name="T19" fmla="*/ 27 h 122"/>
                  <a:gd name="T20" fmla="*/ 32 w 127"/>
                  <a:gd name="T21" fmla="*/ 19 h 122"/>
                  <a:gd name="T22" fmla="*/ 46 w 127"/>
                  <a:gd name="T23" fmla="*/ 13 h 122"/>
                  <a:gd name="T24" fmla="*/ 62 w 127"/>
                  <a:gd name="T25" fmla="*/ 12 h 122"/>
                  <a:gd name="T26" fmla="*/ 70 w 127"/>
                  <a:gd name="T27" fmla="*/ 11 h 122"/>
                  <a:gd name="T28" fmla="*/ 93 w 127"/>
                  <a:gd name="T29" fmla="*/ 5 h 122"/>
                  <a:gd name="T30" fmla="*/ 90 w 127"/>
                  <a:gd name="T31" fmla="*/ 10 h 122"/>
                  <a:gd name="T32" fmla="*/ 91 w 127"/>
                  <a:gd name="T33" fmla="*/ 31 h 122"/>
                  <a:gd name="T34" fmla="*/ 95 w 127"/>
                  <a:gd name="T35" fmla="*/ 39 h 122"/>
                  <a:gd name="T36" fmla="*/ 102 w 127"/>
                  <a:gd name="T37" fmla="*/ 50 h 122"/>
                  <a:gd name="T38" fmla="*/ 117 w 127"/>
                  <a:gd name="T39" fmla="*/ 57 h 122"/>
                  <a:gd name="T40" fmla="*/ 127 w 127"/>
                  <a:gd name="T41" fmla="*/ 57 h 122"/>
                  <a:gd name="T42" fmla="*/ 121 w 127"/>
                  <a:gd name="T43" fmla="*/ 66 h 122"/>
                  <a:gd name="T44" fmla="*/ 110 w 127"/>
                  <a:gd name="T45" fmla="*/ 80 h 122"/>
                  <a:gd name="T46" fmla="*/ 82 w 127"/>
                  <a:gd name="T47" fmla="*/ 109 h 122"/>
                  <a:gd name="T48" fmla="*/ 76 w 127"/>
                  <a:gd name="T49" fmla="*/ 113 h 122"/>
                  <a:gd name="T50" fmla="*/ 55 w 127"/>
                  <a:gd name="T51" fmla="*/ 119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7" h="122">
                    <a:moveTo>
                      <a:pt x="55" y="119"/>
                    </a:moveTo>
                    <a:cubicBezTo>
                      <a:pt x="52" y="118"/>
                      <a:pt x="48" y="114"/>
                      <a:pt x="46" y="109"/>
                    </a:cubicBezTo>
                    <a:cubicBezTo>
                      <a:pt x="45" y="106"/>
                      <a:pt x="43" y="104"/>
                      <a:pt x="41" y="104"/>
                    </a:cubicBezTo>
                    <a:cubicBezTo>
                      <a:pt x="35" y="102"/>
                      <a:pt x="26" y="79"/>
                      <a:pt x="26" y="65"/>
                    </a:cubicBezTo>
                    <a:cubicBezTo>
                      <a:pt x="26" y="60"/>
                      <a:pt x="25" y="58"/>
                      <a:pt x="23" y="56"/>
                    </a:cubicBezTo>
                    <a:cubicBezTo>
                      <a:pt x="17" y="51"/>
                      <a:pt x="10" y="47"/>
                      <a:pt x="5" y="47"/>
                    </a:cubicBezTo>
                    <a:cubicBezTo>
                      <a:pt x="1" y="47"/>
                      <a:pt x="1" y="47"/>
                      <a:pt x="1" y="47"/>
                    </a:cubicBezTo>
                    <a:cubicBezTo>
                      <a:pt x="0" y="38"/>
                      <a:pt x="0" y="38"/>
                      <a:pt x="0" y="38"/>
                    </a:cubicBezTo>
                    <a:cubicBezTo>
                      <a:pt x="0" y="33"/>
                      <a:pt x="0" y="29"/>
                      <a:pt x="0" y="28"/>
                    </a:cubicBezTo>
                    <a:cubicBezTo>
                      <a:pt x="0" y="27"/>
                      <a:pt x="5" y="27"/>
                      <a:pt x="9" y="27"/>
                    </a:cubicBezTo>
                    <a:cubicBezTo>
                      <a:pt x="20" y="27"/>
                      <a:pt x="26" y="25"/>
                      <a:pt x="32" y="19"/>
                    </a:cubicBezTo>
                    <a:cubicBezTo>
                      <a:pt x="34" y="17"/>
                      <a:pt x="40" y="14"/>
                      <a:pt x="46" y="13"/>
                    </a:cubicBezTo>
                    <a:cubicBezTo>
                      <a:pt x="56" y="10"/>
                      <a:pt x="57" y="10"/>
                      <a:pt x="62" y="12"/>
                    </a:cubicBezTo>
                    <a:cubicBezTo>
                      <a:pt x="67" y="14"/>
                      <a:pt x="68" y="14"/>
                      <a:pt x="70" y="11"/>
                    </a:cubicBezTo>
                    <a:cubicBezTo>
                      <a:pt x="76" y="5"/>
                      <a:pt x="93" y="0"/>
                      <a:pt x="93" y="5"/>
                    </a:cubicBezTo>
                    <a:cubicBezTo>
                      <a:pt x="93" y="6"/>
                      <a:pt x="92" y="8"/>
                      <a:pt x="90" y="10"/>
                    </a:cubicBezTo>
                    <a:cubicBezTo>
                      <a:pt x="87" y="15"/>
                      <a:pt x="88" y="27"/>
                      <a:pt x="91" y="31"/>
                    </a:cubicBezTo>
                    <a:cubicBezTo>
                      <a:pt x="92" y="33"/>
                      <a:pt x="94" y="37"/>
                      <a:pt x="95" y="39"/>
                    </a:cubicBezTo>
                    <a:cubicBezTo>
                      <a:pt x="95" y="42"/>
                      <a:pt x="98" y="46"/>
                      <a:pt x="102" y="50"/>
                    </a:cubicBezTo>
                    <a:cubicBezTo>
                      <a:pt x="109" y="56"/>
                      <a:pt x="109" y="57"/>
                      <a:pt x="117" y="57"/>
                    </a:cubicBezTo>
                    <a:cubicBezTo>
                      <a:pt x="122" y="57"/>
                      <a:pt x="126" y="57"/>
                      <a:pt x="127" y="57"/>
                    </a:cubicBezTo>
                    <a:cubicBezTo>
                      <a:pt x="127" y="58"/>
                      <a:pt x="125" y="62"/>
                      <a:pt x="121" y="66"/>
                    </a:cubicBezTo>
                    <a:cubicBezTo>
                      <a:pt x="117" y="70"/>
                      <a:pt x="112" y="76"/>
                      <a:pt x="110" y="80"/>
                    </a:cubicBezTo>
                    <a:cubicBezTo>
                      <a:pt x="105" y="91"/>
                      <a:pt x="87" y="109"/>
                      <a:pt x="82" y="109"/>
                    </a:cubicBezTo>
                    <a:cubicBezTo>
                      <a:pt x="79" y="109"/>
                      <a:pt x="77" y="110"/>
                      <a:pt x="76" y="113"/>
                    </a:cubicBezTo>
                    <a:cubicBezTo>
                      <a:pt x="73" y="119"/>
                      <a:pt x="64" y="122"/>
                      <a:pt x="55"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90" name="Freeform 165">
                <a:extLst>
                  <a:ext uri="{FF2B5EF4-FFF2-40B4-BE49-F238E27FC236}">
                    <a16:creationId xmlns:a16="http://schemas.microsoft.com/office/drawing/2014/main" id="{75DEA511-4A41-4A70-9D07-20EA56EAB832}"/>
                  </a:ext>
                </a:extLst>
              </p:cNvPr>
              <p:cNvSpPr>
                <a:spLocks/>
              </p:cNvSpPr>
              <p:nvPr/>
            </p:nvSpPr>
            <p:spPr bwMode="auto">
              <a:xfrm>
                <a:off x="7547206" y="5189272"/>
                <a:ext cx="527609" cy="514131"/>
              </a:xfrm>
              <a:custGeom>
                <a:avLst/>
                <a:gdLst>
                  <a:gd name="T0" fmla="*/ 17 w 116"/>
                  <a:gd name="T1" fmla="*/ 111 h 113"/>
                  <a:gd name="T2" fmla="*/ 2 w 116"/>
                  <a:gd name="T3" fmla="*/ 93 h 113"/>
                  <a:gd name="T4" fmla="*/ 1 w 116"/>
                  <a:gd name="T5" fmla="*/ 81 h 113"/>
                  <a:gd name="T6" fmla="*/ 18 w 116"/>
                  <a:gd name="T7" fmla="*/ 55 h 113"/>
                  <a:gd name="T8" fmla="*/ 26 w 116"/>
                  <a:gd name="T9" fmla="*/ 47 h 113"/>
                  <a:gd name="T10" fmla="*/ 31 w 116"/>
                  <a:gd name="T11" fmla="*/ 43 h 113"/>
                  <a:gd name="T12" fmla="*/ 48 w 116"/>
                  <a:gd name="T13" fmla="*/ 32 h 113"/>
                  <a:gd name="T14" fmla="*/ 34 w 116"/>
                  <a:gd name="T15" fmla="*/ 37 h 113"/>
                  <a:gd name="T16" fmla="*/ 37 w 116"/>
                  <a:gd name="T17" fmla="*/ 16 h 113"/>
                  <a:gd name="T18" fmla="*/ 49 w 116"/>
                  <a:gd name="T19" fmla="*/ 8 h 113"/>
                  <a:gd name="T20" fmla="*/ 83 w 116"/>
                  <a:gd name="T21" fmla="*/ 3 h 113"/>
                  <a:gd name="T22" fmla="*/ 90 w 116"/>
                  <a:gd name="T23" fmla="*/ 1 h 113"/>
                  <a:gd name="T24" fmla="*/ 99 w 116"/>
                  <a:gd name="T25" fmla="*/ 2 h 113"/>
                  <a:gd name="T26" fmla="*/ 115 w 116"/>
                  <a:gd name="T27" fmla="*/ 11 h 113"/>
                  <a:gd name="T28" fmla="*/ 107 w 116"/>
                  <a:gd name="T29" fmla="*/ 23 h 113"/>
                  <a:gd name="T30" fmla="*/ 96 w 116"/>
                  <a:gd name="T31" fmla="*/ 35 h 113"/>
                  <a:gd name="T32" fmla="*/ 75 w 116"/>
                  <a:gd name="T33" fmla="*/ 50 h 113"/>
                  <a:gd name="T34" fmla="*/ 68 w 116"/>
                  <a:gd name="T35" fmla="*/ 58 h 113"/>
                  <a:gd name="T36" fmla="*/ 60 w 116"/>
                  <a:gd name="T37" fmla="*/ 64 h 113"/>
                  <a:gd name="T38" fmla="*/ 53 w 116"/>
                  <a:gd name="T39" fmla="*/ 67 h 113"/>
                  <a:gd name="T40" fmla="*/ 52 w 116"/>
                  <a:gd name="T41" fmla="*/ 72 h 113"/>
                  <a:gd name="T42" fmla="*/ 48 w 116"/>
                  <a:gd name="T43" fmla="*/ 84 h 113"/>
                  <a:gd name="T44" fmla="*/ 34 w 116"/>
                  <a:gd name="T45" fmla="*/ 104 h 113"/>
                  <a:gd name="T46" fmla="*/ 25 w 116"/>
                  <a:gd name="T47" fmla="*/ 113 h 113"/>
                  <a:gd name="T48" fmla="*/ 17 w 116"/>
                  <a:gd name="T49" fmla="*/ 1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6" h="113">
                    <a:moveTo>
                      <a:pt x="17" y="111"/>
                    </a:moveTo>
                    <a:cubicBezTo>
                      <a:pt x="9" y="109"/>
                      <a:pt x="5" y="105"/>
                      <a:pt x="2" y="93"/>
                    </a:cubicBezTo>
                    <a:cubicBezTo>
                      <a:pt x="0" y="87"/>
                      <a:pt x="0" y="84"/>
                      <a:pt x="1" y="81"/>
                    </a:cubicBezTo>
                    <a:cubicBezTo>
                      <a:pt x="3" y="76"/>
                      <a:pt x="12" y="62"/>
                      <a:pt x="18" y="55"/>
                    </a:cubicBezTo>
                    <a:cubicBezTo>
                      <a:pt x="21" y="52"/>
                      <a:pt x="25" y="48"/>
                      <a:pt x="26" y="47"/>
                    </a:cubicBezTo>
                    <a:cubicBezTo>
                      <a:pt x="27" y="45"/>
                      <a:pt x="29" y="44"/>
                      <a:pt x="31" y="43"/>
                    </a:cubicBezTo>
                    <a:cubicBezTo>
                      <a:pt x="35" y="42"/>
                      <a:pt x="48" y="34"/>
                      <a:pt x="48" y="32"/>
                    </a:cubicBezTo>
                    <a:cubicBezTo>
                      <a:pt x="48" y="31"/>
                      <a:pt x="41" y="33"/>
                      <a:pt x="34" y="37"/>
                    </a:cubicBezTo>
                    <a:cubicBezTo>
                      <a:pt x="21" y="45"/>
                      <a:pt x="23" y="33"/>
                      <a:pt x="37" y="16"/>
                    </a:cubicBezTo>
                    <a:cubicBezTo>
                      <a:pt x="43" y="9"/>
                      <a:pt x="45" y="8"/>
                      <a:pt x="49" y="8"/>
                    </a:cubicBezTo>
                    <a:cubicBezTo>
                      <a:pt x="63" y="9"/>
                      <a:pt x="78" y="6"/>
                      <a:pt x="83" y="3"/>
                    </a:cubicBezTo>
                    <a:cubicBezTo>
                      <a:pt x="86" y="1"/>
                      <a:pt x="89" y="0"/>
                      <a:pt x="90" y="1"/>
                    </a:cubicBezTo>
                    <a:cubicBezTo>
                      <a:pt x="91" y="1"/>
                      <a:pt x="95" y="2"/>
                      <a:pt x="99" y="2"/>
                    </a:cubicBezTo>
                    <a:cubicBezTo>
                      <a:pt x="106" y="2"/>
                      <a:pt x="112" y="5"/>
                      <a:pt x="115" y="11"/>
                    </a:cubicBezTo>
                    <a:cubicBezTo>
                      <a:pt x="116" y="14"/>
                      <a:pt x="116" y="15"/>
                      <a:pt x="107" y="23"/>
                    </a:cubicBezTo>
                    <a:cubicBezTo>
                      <a:pt x="102" y="28"/>
                      <a:pt x="97" y="33"/>
                      <a:pt x="96" y="35"/>
                    </a:cubicBezTo>
                    <a:cubicBezTo>
                      <a:pt x="91" y="40"/>
                      <a:pt x="78" y="49"/>
                      <a:pt x="75" y="50"/>
                    </a:cubicBezTo>
                    <a:cubicBezTo>
                      <a:pt x="74" y="51"/>
                      <a:pt x="70" y="54"/>
                      <a:pt x="68" y="58"/>
                    </a:cubicBezTo>
                    <a:cubicBezTo>
                      <a:pt x="64" y="64"/>
                      <a:pt x="64" y="65"/>
                      <a:pt x="60" y="64"/>
                    </a:cubicBezTo>
                    <a:cubicBezTo>
                      <a:pt x="56" y="64"/>
                      <a:pt x="55" y="64"/>
                      <a:pt x="53" y="67"/>
                    </a:cubicBezTo>
                    <a:cubicBezTo>
                      <a:pt x="53" y="69"/>
                      <a:pt x="52" y="71"/>
                      <a:pt x="52" y="72"/>
                    </a:cubicBezTo>
                    <a:cubicBezTo>
                      <a:pt x="52" y="73"/>
                      <a:pt x="50" y="78"/>
                      <a:pt x="48" y="84"/>
                    </a:cubicBezTo>
                    <a:cubicBezTo>
                      <a:pt x="44" y="92"/>
                      <a:pt x="41" y="96"/>
                      <a:pt x="34" y="104"/>
                    </a:cubicBezTo>
                    <a:cubicBezTo>
                      <a:pt x="29" y="109"/>
                      <a:pt x="25" y="113"/>
                      <a:pt x="25" y="113"/>
                    </a:cubicBezTo>
                    <a:cubicBezTo>
                      <a:pt x="24" y="113"/>
                      <a:pt x="21" y="112"/>
                      <a:pt x="17"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91" name="Freeform 166">
                <a:extLst>
                  <a:ext uri="{FF2B5EF4-FFF2-40B4-BE49-F238E27FC236}">
                    <a16:creationId xmlns:a16="http://schemas.microsoft.com/office/drawing/2014/main" id="{42FC7B5D-4CDF-48A1-81D5-0E98B704BCD5}"/>
                  </a:ext>
                </a:extLst>
              </p:cNvPr>
              <p:cNvSpPr>
                <a:spLocks/>
              </p:cNvSpPr>
              <p:nvPr/>
            </p:nvSpPr>
            <p:spPr bwMode="auto">
              <a:xfrm>
                <a:off x="7988163" y="4942797"/>
                <a:ext cx="186782" cy="273433"/>
              </a:xfrm>
              <a:custGeom>
                <a:avLst/>
                <a:gdLst>
                  <a:gd name="T0" fmla="*/ 16 w 41"/>
                  <a:gd name="T1" fmla="*/ 58 h 60"/>
                  <a:gd name="T2" fmla="*/ 7 w 41"/>
                  <a:gd name="T3" fmla="*/ 48 h 60"/>
                  <a:gd name="T4" fmla="*/ 1 w 41"/>
                  <a:gd name="T5" fmla="*/ 39 h 60"/>
                  <a:gd name="T6" fmla="*/ 7 w 41"/>
                  <a:gd name="T7" fmla="*/ 24 h 60"/>
                  <a:gd name="T8" fmla="*/ 19 w 41"/>
                  <a:gd name="T9" fmla="*/ 0 h 60"/>
                  <a:gd name="T10" fmla="*/ 24 w 41"/>
                  <a:gd name="T11" fmla="*/ 11 h 60"/>
                  <a:gd name="T12" fmla="*/ 30 w 41"/>
                  <a:gd name="T13" fmla="*/ 23 h 60"/>
                  <a:gd name="T14" fmla="*/ 41 w 41"/>
                  <a:gd name="T15" fmla="*/ 34 h 60"/>
                  <a:gd name="T16" fmla="*/ 37 w 41"/>
                  <a:gd name="T17" fmla="*/ 44 h 60"/>
                  <a:gd name="T18" fmla="*/ 29 w 41"/>
                  <a:gd name="T19" fmla="*/ 51 h 60"/>
                  <a:gd name="T20" fmla="*/ 23 w 41"/>
                  <a:gd name="T21" fmla="*/ 55 h 60"/>
                  <a:gd name="T22" fmla="*/ 16 w 41"/>
                  <a:gd name="T23"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60">
                    <a:moveTo>
                      <a:pt x="16" y="58"/>
                    </a:moveTo>
                    <a:cubicBezTo>
                      <a:pt x="15" y="57"/>
                      <a:pt x="10" y="53"/>
                      <a:pt x="7" y="48"/>
                    </a:cubicBezTo>
                    <a:cubicBezTo>
                      <a:pt x="2" y="43"/>
                      <a:pt x="0" y="41"/>
                      <a:pt x="1" y="39"/>
                    </a:cubicBezTo>
                    <a:cubicBezTo>
                      <a:pt x="2" y="38"/>
                      <a:pt x="5" y="32"/>
                      <a:pt x="7" y="24"/>
                    </a:cubicBezTo>
                    <a:cubicBezTo>
                      <a:pt x="12" y="10"/>
                      <a:pt x="17" y="0"/>
                      <a:pt x="19" y="0"/>
                    </a:cubicBezTo>
                    <a:cubicBezTo>
                      <a:pt x="21" y="0"/>
                      <a:pt x="24" y="6"/>
                      <a:pt x="24" y="11"/>
                    </a:cubicBezTo>
                    <a:cubicBezTo>
                      <a:pt x="24" y="19"/>
                      <a:pt x="26" y="22"/>
                      <a:pt x="30" y="23"/>
                    </a:cubicBezTo>
                    <a:cubicBezTo>
                      <a:pt x="35" y="25"/>
                      <a:pt x="41" y="31"/>
                      <a:pt x="41" y="34"/>
                    </a:cubicBezTo>
                    <a:cubicBezTo>
                      <a:pt x="41" y="36"/>
                      <a:pt x="39" y="40"/>
                      <a:pt x="37" y="44"/>
                    </a:cubicBezTo>
                    <a:cubicBezTo>
                      <a:pt x="34" y="49"/>
                      <a:pt x="32" y="51"/>
                      <a:pt x="29" y="51"/>
                    </a:cubicBezTo>
                    <a:cubicBezTo>
                      <a:pt x="27" y="51"/>
                      <a:pt x="25" y="53"/>
                      <a:pt x="23" y="55"/>
                    </a:cubicBezTo>
                    <a:cubicBezTo>
                      <a:pt x="20" y="60"/>
                      <a:pt x="19" y="60"/>
                      <a:pt x="16"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92" name="Freeform 167">
                <a:extLst>
                  <a:ext uri="{FF2B5EF4-FFF2-40B4-BE49-F238E27FC236}">
                    <a16:creationId xmlns:a16="http://schemas.microsoft.com/office/drawing/2014/main" id="{442E60BA-9165-41A0-A6A2-5FA878CA96B7}"/>
                  </a:ext>
                </a:extLst>
              </p:cNvPr>
              <p:cNvSpPr>
                <a:spLocks/>
              </p:cNvSpPr>
              <p:nvPr/>
            </p:nvSpPr>
            <p:spPr bwMode="auto">
              <a:xfrm>
                <a:off x="7624229" y="5085290"/>
                <a:ext cx="277284" cy="121312"/>
              </a:xfrm>
              <a:custGeom>
                <a:avLst/>
                <a:gdLst>
                  <a:gd name="T0" fmla="*/ 53 w 61"/>
                  <a:gd name="T1" fmla="*/ 25 h 27"/>
                  <a:gd name="T2" fmla="*/ 40 w 61"/>
                  <a:gd name="T3" fmla="*/ 23 h 27"/>
                  <a:gd name="T4" fmla="*/ 21 w 61"/>
                  <a:gd name="T5" fmla="*/ 21 h 27"/>
                  <a:gd name="T6" fmla="*/ 7 w 61"/>
                  <a:gd name="T7" fmla="*/ 17 h 27"/>
                  <a:gd name="T8" fmla="*/ 4 w 61"/>
                  <a:gd name="T9" fmla="*/ 7 h 27"/>
                  <a:gd name="T10" fmla="*/ 9 w 61"/>
                  <a:gd name="T11" fmla="*/ 0 h 27"/>
                  <a:gd name="T12" fmla="*/ 17 w 61"/>
                  <a:gd name="T13" fmla="*/ 6 h 27"/>
                  <a:gd name="T14" fmla="*/ 25 w 61"/>
                  <a:gd name="T15" fmla="*/ 11 h 27"/>
                  <a:gd name="T16" fmla="*/ 34 w 61"/>
                  <a:gd name="T17" fmla="*/ 9 h 27"/>
                  <a:gd name="T18" fmla="*/ 43 w 61"/>
                  <a:gd name="T19" fmla="*/ 7 h 27"/>
                  <a:gd name="T20" fmla="*/ 61 w 61"/>
                  <a:gd name="T21" fmla="*/ 3 h 27"/>
                  <a:gd name="T22" fmla="*/ 60 w 61"/>
                  <a:gd name="T23" fmla="*/ 8 h 27"/>
                  <a:gd name="T24" fmla="*/ 57 w 61"/>
                  <a:gd name="T25" fmla="*/ 18 h 27"/>
                  <a:gd name="T26" fmla="*/ 53 w 61"/>
                  <a:gd name="T27"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27">
                    <a:moveTo>
                      <a:pt x="53" y="25"/>
                    </a:moveTo>
                    <a:cubicBezTo>
                      <a:pt x="52" y="24"/>
                      <a:pt x="47" y="24"/>
                      <a:pt x="40" y="23"/>
                    </a:cubicBezTo>
                    <a:cubicBezTo>
                      <a:pt x="34" y="23"/>
                      <a:pt x="25" y="22"/>
                      <a:pt x="21" y="21"/>
                    </a:cubicBezTo>
                    <a:cubicBezTo>
                      <a:pt x="11" y="18"/>
                      <a:pt x="9" y="17"/>
                      <a:pt x="7" y="17"/>
                    </a:cubicBezTo>
                    <a:cubicBezTo>
                      <a:pt x="1" y="17"/>
                      <a:pt x="0" y="15"/>
                      <a:pt x="4" y="7"/>
                    </a:cubicBezTo>
                    <a:cubicBezTo>
                      <a:pt x="6" y="3"/>
                      <a:pt x="8" y="0"/>
                      <a:pt x="9" y="0"/>
                    </a:cubicBezTo>
                    <a:cubicBezTo>
                      <a:pt x="10" y="0"/>
                      <a:pt x="14" y="3"/>
                      <a:pt x="17" y="6"/>
                    </a:cubicBezTo>
                    <a:cubicBezTo>
                      <a:pt x="22" y="11"/>
                      <a:pt x="24" y="12"/>
                      <a:pt x="25" y="11"/>
                    </a:cubicBezTo>
                    <a:cubicBezTo>
                      <a:pt x="26" y="9"/>
                      <a:pt x="30" y="9"/>
                      <a:pt x="34" y="9"/>
                    </a:cubicBezTo>
                    <a:cubicBezTo>
                      <a:pt x="38" y="9"/>
                      <a:pt x="42" y="8"/>
                      <a:pt x="43" y="7"/>
                    </a:cubicBezTo>
                    <a:cubicBezTo>
                      <a:pt x="48" y="5"/>
                      <a:pt x="60" y="2"/>
                      <a:pt x="61" y="3"/>
                    </a:cubicBezTo>
                    <a:cubicBezTo>
                      <a:pt x="61" y="3"/>
                      <a:pt x="61" y="6"/>
                      <a:pt x="60" y="8"/>
                    </a:cubicBezTo>
                    <a:cubicBezTo>
                      <a:pt x="59" y="10"/>
                      <a:pt x="58" y="14"/>
                      <a:pt x="57" y="18"/>
                    </a:cubicBezTo>
                    <a:cubicBezTo>
                      <a:pt x="57" y="23"/>
                      <a:pt x="55" y="27"/>
                      <a:pt x="5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93" name="Freeform 56">
                <a:extLst>
                  <a:ext uri="{FF2B5EF4-FFF2-40B4-BE49-F238E27FC236}">
                    <a16:creationId xmlns:a16="http://schemas.microsoft.com/office/drawing/2014/main" id="{F276340C-F282-4132-A9F6-84766D6E9614}"/>
                  </a:ext>
                </a:extLst>
              </p:cNvPr>
              <p:cNvSpPr>
                <a:spLocks/>
              </p:cNvSpPr>
              <p:nvPr/>
            </p:nvSpPr>
            <p:spPr bwMode="auto">
              <a:xfrm>
                <a:off x="7474034" y="4588490"/>
                <a:ext cx="327349" cy="100130"/>
              </a:xfrm>
              <a:custGeom>
                <a:avLst/>
                <a:gdLst>
                  <a:gd name="T0" fmla="*/ 31 w 72"/>
                  <a:gd name="T1" fmla="*/ 22 h 22"/>
                  <a:gd name="T2" fmla="*/ 24 w 72"/>
                  <a:gd name="T3" fmla="*/ 19 h 22"/>
                  <a:gd name="T4" fmla="*/ 12 w 72"/>
                  <a:gd name="T5" fmla="*/ 14 h 22"/>
                  <a:gd name="T6" fmla="*/ 6 w 72"/>
                  <a:gd name="T7" fmla="*/ 4 h 22"/>
                  <a:gd name="T8" fmla="*/ 20 w 72"/>
                  <a:gd name="T9" fmla="*/ 0 h 22"/>
                  <a:gd name="T10" fmla="*/ 59 w 72"/>
                  <a:gd name="T11" fmla="*/ 5 h 22"/>
                  <a:gd name="T12" fmla="*/ 72 w 72"/>
                  <a:gd name="T13" fmla="*/ 14 h 22"/>
                  <a:gd name="T14" fmla="*/ 56 w 72"/>
                  <a:gd name="T15" fmla="*/ 21 h 22"/>
                  <a:gd name="T16" fmla="*/ 31 w 72"/>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22">
                    <a:moveTo>
                      <a:pt x="31" y="22"/>
                    </a:moveTo>
                    <a:cubicBezTo>
                      <a:pt x="29" y="21"/>
                      <a:pt x="26" y="20"/>
                      <a:pt x="24" y="19"/>
                    </a:cubicBezTo>
                    <a:cubicBezTo>
                      <a:pt x="22" y="17"/>
                      <a:pt x="17" y="15"/>
                      <a:pt x="12" y="14"/>
                    </a:cubicBezTo>
                    <a:cubicBezTo>
                      <a:pt x="2" y="12"/>
                      <a:pt x="0" y="9"/>
                      <a:pt x="6" y="4"/>
                    </a:cubicBezTo>
                    <a:cubicBezTo>
                      <a:pt x="10" y="1"/>
                      <a:pt x="12" y="0"/>
                      <a:pt x="20" y="0"/>
                    </a:cubicBezTo>
                    <a:cubicBezTo>
                      <a:pt x="39" y="0"/>
                      <a:pt x="46" y="0"/>
                      <a:pt x="59" y="5"/>
                    </a:cubicBezTo>
                    <a:cubicBezTo>
                      <a:pt x="72" y="9"/>
                      <a:pt x="72" y="9"/>
                      <a:pt x="72" y="14"/>
                    </a:cubicBezTo>
                    <a:cubicBezTo>
                      <a:pt x="72" y="19"/>
                      <a:pt x="72" y="19"/>
                      <a:pt x="56" y="21"/>
                    </a:cubicBezTo>
                    <a:cubicBezTo>
                      <a:pt x="39" y="22"/>
                      <a:pt x="35" y="22"/>
                      <a:pt x="3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380" name="Group 379">
              <a:extLst>
                <a:ext uri="{FF2B5EF4-FFF2-40B4-BE49-F238E27FC236}">
                  <a16:creationId xmlns:a16="http://schemas.microsoft.com/office/drawing/2014/main" id="{7C11D77A-A534-42D2-9A23-71FBC215A735}"/>
                </a:ext>
              </a:extLst>
            </p:cNvPr>
            <p:cNvGrpSpPr/>
            <p:nvPr userDrawn="1"/>
          </p:nvGrpSpPr>
          <p:grpSpPr>
            <a:xfrm>
              <a:off x="4179363" y="3948363"/>
              <a:ext cx="2360763" cy="2510958"/>
              <a:chOff x="4179363" y="3849067"/>
              <a:chExt cx="2360763" cy="2510958"/>
            </a:xfrm>
            <a:grpFill/>
          </p:grpSpPr>
          <p:sp>
            <p:nvSpPr>
              <p:cNvPr id="386" name="Freeform 53">
                <a:extLst>
                  <a:ext uri="{FF2B5EF4-FFF2-40B4-BE49-F238E27FC236}">
                    <a16:creationId xmlns:a16="http://schemas.microsoft.com/office/drawing/2014/main" id="{5614F35C-951B-4AC3-B6D1-982353C53A93}"/>
                  </a:ext>
                </a:extLst>
              </p:cNvPr>
              <p:cNvSpPr>
                <a:spLocks/>
              </p:cNvSpPr>
              <p:nvPr/>
            </p:nvSpPr>
            <p:spPr bwMode="auto">
              <a:xfrm>
                <a:off x="4179363" y="3849067"/>
                <a:ext cx="2360763" cy="2510958"/>
              </a:xfrm>
              <a:custGeom>
                <a:avLst/>
                <a:gdLst>
                  <a:gd name="T0" fmla="*/ 319 w 518"/>
                  <a:gd name="T1" fmla="*/ 542 h 551"/>
                  <a:gd name="T2" fmla="*/ 328 w 518"/>
                  <a:gd name="T3" fmla="*/ 527 h 551"/>
                  <a:gd name="T4" fmla="*/ 330 w 518"/>
                  <a:gd name="T5" fmla="*/ 516 h 551"/>
                  <a:gd name="T6" fmla="*/ 342 w 518"/>
                  <a:gd name="T7" fmla="*/ 492 h 551"/>
                  <a:gd name="T8" fmla="*/ 347 w 518"/>
                  <a:gd name="T9" fmla="*/ 455 h 551"/>
                  <a:gd name="T10" fmla="*/ 349 w 518"/>
                  <a:gd name="T11" fmla="*/ 440 h 551"/>
                  <a:gd name="T12" fmla="*/ 342 w 518"/>
                  <a:gd name="T13" fmla="*/ 425 h 551"/>
                  <a:gd name="T14" fmla="*/ 374 w 518"/>
                  <a:gd name="T15" fmla="*/ 449 h 551"/>
                  <a:gd name="T16" fmla="*/ 357 w 518"/>
                  <a:gd name="T17" fmla="*/ 404 h 551"/>
                  <a:gd name="T18" fmla="*/ 328 w 518"/>
                  <a:gd name="T19" fmla="*/ 398 h 551"/>
                  <a:gd name="T20" fmla="*/ 276 w 518"/>
                  <a:gd name="T21" fmla="*/ 393 h 551"/>
                  <a:gd name="T22" fmla="*/ 259 w 518"/>
                  <a:gd name="T23" fmla="*/ 378 h 551"/>
                  <a:gd name="T24" fmla="*/ 253 w 518"/>
                  <a:gd name="T25" fmla="*/ 365 h 551"/>
                  <a:gd name="T26" fmla="*/ 247 w 518"/>
                  <a:gd name="T27" fmla="*/ 346 h 551"/>
                  <a:gd name="T28" fmla="*/ 215 w 518"/>
                  <a:gd name="T29" fmla="*/ 327 h 551"/>
                  <a:gd name="T30" fmla="*/ 211 w 518"/>
                  <a:gd name="T31" fmla="*/ 310 h 551"/>
                  <a:gd name="T32" fmla="*/ 198 w 518"/>
                  <a:gd name="T33" fmla="*/ 307 h 551"/>
                  <a:gd name="T34" fmla="*/ 171 w 518"/>
                  <a:gd name="T35" fmla="*/ 299 h 551"/>
                  <a:gd name="T36" fmla="*/ 161 w 518"/>
                  <a:gd name="T37" fmla="*/ 309 h 551"/>
                  <a:gd name="T38" fmla="*/ 139 w 518"/>
                  <a:gd name="T39" fmla="*/ 329 h 551"/>
                  <a:gd name="T40" fmla="*/ 92 w 518"/>
                  <a:gd name="T41" fmla="*/ 330 h 551"/>
                  <a:gd name="T42" fmla="*/ 69 w 518"/>
                  <a:gd name="T43" fmla="*/ 322 h 551"/>
                  <a:gd name="T44" fmla="*/ 42 w 518"/>
                  <a:gd name="T45" fmla="*/ 312 h 551"/>
                  <a:gd name="T46" fmla="*/ 20 w 518"/>
                  <a:gd name="T47" fmla="*/ 307 h 551"/>
                  <a:gd name="T48" fmla="*/ 5 w 518"/>
                  <a:gd name="T49" fmla="*/ 284 h 551"/>
                  <a:gd name="T50" fmla="*/ 3 w 518"/>
                  <a:gd name="T51" fmla="*/ 212 h 551"/>
                  <a:gd name="T52" fmla="*/ 37 w 518"/>
                  <a:gd name="T53" fmla="*/ 123 h 551"/>
                  <a:gd name="T54" fmla="*/ 69 w 518"/>
                  <a:gd name="T55" fmla="*/ 87 h 551"/>
                  <a:gd name="T56" fmla="*/ 112 w 518"/>
                  <a:gd name="T57" fmla="*/ 38 h 551"/>
                  <a:gd name="T58" fmla="*/ 145 w 518"/>
                  <a:gd name="T59" fmla="*/ 0 h 551"/>
                  <a:gd name="T60" fmla="*/ 165 w 518"/>
                  <a:gd name="T61" fmla="*/ 17 h 551"/>
                  <a:gd name="T62" fmla="*/ 183 w 518"/>
                  <a:gd name="T63" fmla="*/ 29 h 551"/>
                  <a:gd name="T64" fmla="*/ 210 w 518"/>
                  <a:gd name="T65" fmla="*/ 40 h 551"/>
                  <a:gd name="T66" fmla="*/ 228 w 518"/>
                  <a:gd name="T67" fmla="*/ 54 h 551"/>
                  <a:gd name="T68" fmla="*/ 287 w 518"/>
                  <a:gd name="T69" fmla="*/ 59 h 551"/>
                  <a:gd name="T70" fmla="*/ 292 w 518"/>
                  <a:gd name="T71" fmla="*/ 74 h 551"/>
                  <a:gd name="T72" fmla="*/ 291 w 518"/>
                  <a:gd name="T73" fmla="*/ 93 h 551"/>
                  <a:gd name="T74" fmla="*/ 298 w 518"/>
                  <a:gd name="T75" fmla="*/ 119 h 551"/>
                  <a:gd name="T76" fmla="*/ 302 w 518"/>
                  <a:gd name="T77" fmla="*/ 141 h 551"/>
                  <a:gd name="T78" fmla="*/ 341 w 518"/>
                  <a:gd name="T79" fmla="*/ 190 h 551"/>
                  <a:gd name="T80" fmla="*/ 353 w 518"/>
                  <a:gd name="T81" fmla="*/ 197 h 551"/>
                  <a:gd name="T82" fmla="*/ 363 w 518"/>
                  <a:gd name="T83" fmla="*/ 204 h 551"/>
                  <a:gd name="T84" fmla="*/ 367 w 518"/>
                  <a:gd name="T85" fmla="*/ 240 h 551"/>
                  <a:gd name="T86" fmla="*/ 370 w 518"/>
                  <a:gd name="T87" fmla="*/ 264 h 551"/>
                  <a:gd name="T88" fmla="*/ 374 w 518"/>
                  <a:gd name="T89" fmla="*/ 301 h 551"/>
                  <a:gd name="T90" fmla="*/ 383 w 518"/>
                  <a:gd name="T91" fmla="*/ 355 h 551"/>
                  <a:gd name="T92" fmla="*/ 431 w 518"/>
                  <a:gd name="T93" fmla="*/ 382 h 551"/>
                  <a:gd name="T94" fmla="*/ 455 w 518"/>
                  <a:gd name="T95" fmla="*/ 391 h 551"/>
                  <a:gd name="T96" fmla="*/ 465 w 518"/>
                  <a:gd name="T97" fmla="*/ 402 h 551"/>
                  <a:gd name="T98" fmla="*/ 499 w 518"/>
                  <a:gd name="T99" fmla="*/ 396 h 551"/>
                  <a:gd name="T100" fmla="*/ 517 w 518"/>
                  <a:gd name="T101" fmla="*/ 400 h 551"/>
                  <a:gd name="T102" fmla="*/ 486 w 518"/>
                  <a:gd name="T103" fmla="*/ 436 h 551"/>
                  <a:gd name="T104" fmla="*/ 467 w 518"/>
                  <a:gd name="T105" fmla="*/ 455 h 551"/>
                  <a:gd name="T106" fmla="*/ 402 w 518"/>
                  <a:gd name="T107" fmla="*/ 481 h 551"/>
                  <a:gd name="T108" fmla="*/ 409 w 518"/>
                  <a:gd name="T109" fmla="*/ 495 h 551"/>
                  <a:gd name="T110" fmla="*/ 407 w 518"/>
                  <a:gd name="T111" fmla="*/ 506 h 551"/>
                  <a:gd name="T112" fmla="*/ 383 w 518"/>
                  <a:gd name="T113" fmla="*/ 520 h 551"/>
                  <a:gd name="T114" fmla="*/ 383 w 518"/>
                  <a:gd name="T115" fmla="*/ 524 h 551"/>
                  <a:gd name="T116" fmla="*/ 339 w 518"/>
                  <a:gd name="T117" fmla="*/ 539 h 551"/>
                  <a:gd name="T118" fmla="*/ 314 w 518"/>
                  <a:gd name="T119" fmla="*/ 551 h 551"/>
                  <a:gd name="T120" fmla="*/ 312 w 518"/>
                  <a:gd name="T121" fmla="*/ 54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8" h="551">
                    <a:moveTo>
                      <a:pt x="312" y="547"/>
                    </a:moveTo>
                    <a:cubicBezTo>
                      <a:pt x="313" y="544"/>
                      <a:pt x="315" y="543"/>
                      <a:pt x="319" y="542"/>
                    </a:cubicBezTo>
                    <a:cubicBezTo>
                      <a:pt x="322" y="542"/>
                      <a:pt x="325" y="541"/>
                      <a:pt x="326" y="540"/>
                    </a:cubicBezTo>
                    <a:cubicBezTo>
                      <a:pt x="329" y="539"/>
                      <a:pt x="330" y="529"/>
                      <a:pt x="328" y="527"/>
                    </a:cubicBezTo>
                    <a:cubicBezTo>
                      <a:pt x="327" y="527"/>
                      <a:pt x="327" y="525"/>
                      <a:pt x="328" y="524"/>
                    </a:cubicBezTo>
                    <a:cubicBezTo>
                      <a:pt x="328" y="522"/>
                      <a:pt x="329" y="519"/>
                      <a:pt x="330" y="516"/>
                    </a:cubicBezTo>
                    <a:cubicBezTo>
                      <a:pt x="330" y="513"/>
                      <a:pt x="332" y="510"/>
                      <a:pt x="333" y="509"/>
                    </a:cubicBezTo>
                    <a:cubicBezTo>
                      <a:pt x="338" y="505"/>
                      <a:pt x="343" y="497"/>
                      <a:pt x="342" y="492"/>
                    </a:cubicBezTo>
                    <a:cubicBezTo>
                      <a:pt x="342" y="489"/>
                      <a:pt x="342" y="482"/>
                      <a:pt x="342" y="475"/>
                    </a:cubicBezTo>
                    <a:cubicBezTo>
                      <a:pt x="342" y="465"/>
                      <a:pt x="342" y="463"/>
                      <a:pt x="347" y="455"/>
                    </a:cubicBezTo>
                    <a:cubicBezTo>
                      <a:pt x="352" y="446"/>
                      <a:pt x="352" y="446"/>
                      <a:pt x="352" y="446"/>
                    </a:cubicBezTo>
                    <a:cubicBezTo>
                      <a:pt x="349" y="440"/>
                      <a:pt x="349" y="440"/>
                      <a:pt x="349" y="440"/>
                    </a:cubicBezTo>
                    <a:cubicBezTo>
                      <a:pt x="348" y="437"/>
                      <a:pt x="345" y="433"/>
                      <a:pt x="344" y="432"/>
                    </a:cubicBezTo>
                    <a:cubicBezTo>
                      <a:pt x="341" y="429"/>
                      <a:pt x="340" y="425"/>
                      <a:pt x="342" y="425"/>
                    </a:cubicBezTo>
                    <a:cubicBezTo>
                      <a:pt x="342" y="425"/>
                      <a:pt x="346" y="429"/>
                      <a:pt x="351" y="434"/>
                    </a:cubicBezTo>
                    <a:cubicBezTo>
                      <a:pt x="359" y="442"/>
                      <a:pt x="366" y="446"/>
                      <a:pt x="374" y="449"/>
                    </a:cubicBezTo>
                    <a:cubicBezTo>
                      <a:pt x="382" y="451"/>
                      <a:pt x="386" y="438"/>
                      <a:pt x="380" y="429"/>
                    </a:cubicBezTo>
                    <a:cubicBezTo>
                      <a:pt x="376" y="424"/>
                      <a:pt x="361" y="407"/>
                      <a:pt x="357" y="404"/>
                    </a:cubicBezTo>
                    <a:cubicBezTo>
                      <a:pt x="356" y="403"/>
                      <a:pt x="350" y="402"/>
                      <a:pt x="345" y="401"/>
                    </a:cubicBezTo>
                    <a:cubicBezTo>
                      <a:pt x="340" y="401"/>
                      <a:pt x="332" y="399"/>
                      <a:pt x="328" y="398"/>
                    </a:cubicBezTo>
                    <a:cubicBezTo>
                      <a:pt x="322" y="396"/>
                      <a:pt x="314" y="396"/>
                      <a:pt x="299" y="396"/>
                    </a:cubicBezTo>
                    <a:cubicBezTo>
                      <a:pt x="280" y="396"/>
                      <a:pt x="278" y="395"/>
                      <a:pt x="276" y="393"/>
                    </a:cubicBezTo>
                    <a:cubicBezTo>
                      <a:pt x="275" y="391"/>
                      <a:pt x="271" y="388"/>
                      <a:pt x="267" y="386"/>
                    </a:cubicBezTo>
                    <a:cubicBezTo>
                      <a:pt x="261" y="383"/>
                      <a:pt x="259" y="381"/>
                      <a:pt x="259" y="378"/>
                    </a:cubicBezTo>
                    <a:cubicBezTo>
                      <a:pt x="259" y="376"/>
                      <a:pt x="257" y="373"/>
                      <a:pt x="255" y="370"/>
                    </a:cubicBezTo>
                    <a:cubicBezTo>
                      <a:pt x="252" y="367"/>
                      <a:pt x="251" y="366"/>
                      <a:pt x="253" y="365"/>
                    </a:cubicBezTo>
                    <a:cubicBezTo>
                      <a:pt x="256" y="364"/>
                      <a:pt x="256" y="361"/>
                      <a:pt x="253" y="356"/>
                    </a:cubicBezTo>
                    <a:cubicBezTo>
                      <a:pt x="251" y="354"/>
                      <a:pt x="249" y="349"/>
                      <a:pt x="247" y="346"/>
                    </a:cubicBezTo>
                    <a:cubicBezTo>
                      <a:pt x="245" y="340"/>
                      <a:pt x="244" y="339"/>
                      <a:pt x="239" y="339"/>
                    </a:cubicBezTo>
                    <a:cubicBezTo>
                      <a:pt x="233" y="338"/>
                      <a:pt x="218" y="330"/>
                      <a:pt x="215" y="327"/>
                    </a:cubicBezTo>
                    <a:cubicBezTo>
                      <a:pt x="214" y="326"/>
                      <a:pt x="213" y="323"/>
                      <a:pt x="212" y="320"/>
                    </a:cubicBezTo>
                    <a:cubicBezTo>
                      <a:pt x="212" y="317"/>
                      <a:pt x="212" y="312"/>
                      <a:pt x="211" y="310"/>
                    </a:cubicBezTo>
                    <a:cubicBezTo>
                      <a:pt x="210" y="306"/>
                      <a:pt x="210" y="306"/>
                      <a:pt x="210" y="306"/>
                    </a:cubicBezTo>
                    <a:cubicBezTo>
                      <a:pt x="198" y="307"/>
                      <a:pt x="198" y="307"/>
                      <a:pt x="198" y="307"/>
                    </a:cubicBezTo>
                    <a:cubicBezTo>
                      <a:pt x="188" y="308"/>
                      <a:pt x="186" y="307"/>
                      <a:pt x="179" y="304"/>
                    </a:cubicBezTo>
                    <a:cubicBezTo>
                      <a:pt x="171" y="299"/>
                      <a:pt x="171" y="299"/>
                      <a:pt x="171" y="299"/>
                    </a:cubicBezTo>
                    <a:cubicBezTo>
                      <a:pt x="165" y="303"/>
                      <a:pt x="165" y="303"/>
                      <a:pt x="165" y="303"/>
                    </a:cubicBezTo>
                    <a:cubicBezTo>
                      <a:pt x="160" y="306"/>
                      <a:pt x="159" y="307"/>
                      <a:pt x="161" y="309"/>
                    </a:cubicBezTo>
                    <a:cubicBezTo>
                      <a:pt x="163" y="311"/>
                      <a:pt x="163" y="312"/>
                      <a:pt x="154" y="317"/>
                    </a:cubicBezTo>
                    <a:cubicBezTo>
                      <a:pt x="149" y="321"/>
                      <a:pt x="142" y="326"/>
                      <a:pt x="139" y="329"/>
                    </a:cubicBezTo>
                    <a:cubicBezTo>
                      <a:pt x="134" y="335"/>
                      <a:pt x="133" y="335"/>
                      <a:pt x="113" y="332"/>
                    </a:cubicBezTo>
                    <a:cubicBezTo>
                      <a:pt x="107" y="331"/>
                      <a:pt x="97" y="330"/>
                      <a:pt x="92" y="330"/>
                    </a:cubicBezTo>
                    <a:cubicBezTo>
                      <a:pt x="82" y="330"/>
                      <a:pt x="73" y="326"/>
                      <a:pt x="73" y="323"/>
                    </a:cubicBezTo>
                    <a:cubicBezTo>
                      <a:pt x="73" y="323"/>
                      <a:pt x="71" y="322"/>
                      <a:pt x="69" y="322"/>
                    </a:cubicBezTo>
                    <a:cubicBezTo>
                      <a:pt x="67" y="322"/>
                      <a:pt x="64" y="320"/>
                      <a:pt x="60" y="317"/>
                    </a:cubicBezTo>
                    <a:cubicBezTo>
                      <a:pt x="55" y="312"/>
                      <a:pt x="55" y="312"/>
                      <a:pt x="42" y="312"/>
                    </a:cubicBezTo>
                    <a:cubicBezTo>
                      <a:pt x="33" y="312"/>
                      <a:pt x="29" y="312"/>
                      <a:pt x="27" y="310"/>
                    </a:cubicBezTo>
                    <a:cubicBezTo>
                      <a:pt x="26" y="309"/>
                      <a:pt x="23" y="308"/>
                      <a:pt x="20" y="307"/>
                    </a:cubicBezTo>
                    <a:cubicBezTo>
                      <a:pt x="12" y="306"/>
                      <a:pt x="11" y="305"/>
                      <a:pt x="10" y="295"/>
                    </a:cubicBezTo>
                    <a:cubicBezTo>
                      <a:pt x="9" y="287"/>
                      <a:pt x="9" y="286"/>
                      <a:pt x="5" y="284"/>
                    </a:cubicBezTo>
                    <a:cubicBezTo>
                      <a:pt x="0" y="282"/>
                      <a:pt x="0" y="281"/>
                      <a:pt x="0" y="273"/>
                    </a:cubicBezTo>
                    <a:cubicBezTo>
                      <a:pt x="0" y="264"/>
                      <a:pt x="2" y="226"/>
                      <a:pt x="3" y="212"/>
                    </a:cubicBezTo>
                    <a:cubicBezTo>
                      <a:pt x="3" y="208"/>
                      <a:pt x="4" y="194"/>
                      <a:pt x="4" y="181"/>
                    </a:cubicBezTo>
                    <a:cubicBezTo>
                      <a:pt x="5" y="153"/>
                      <a:pt x="3" y="158"/>
                      <a:pt x="37" y="123"/>
                    </a:cubicBezTo>
                    <a:cubicBezTo>
                      <a:pt x="44" y="115"/>
                      <a:pt x="54" y="104"/>
                      <a:pt x="59" y="99"/>
                    </a:cubicBezTo>
                    <a:cubicBezTo>
                      <a:pt x="64" y="93"/>
                      <a:pt x="69" y="87"/>
                      <a:pt x="69" y="87"/>
                    </a:cubicBezTo>
                    <a:cubicBezTo>
                      <a:pt x="70" y="86"/>
                      <a:pt x="79" y="76"/>
                      <a:pt x="88" y="65"/>
                    </a:cubicBezTo>
                    <a:cubicBezTo>
                      <a:pt x="97" y="54"/>
                      <a:pt x="108" y="42"/>
                      <a:pt x="112" y="38"/>
                    </a:cubicBezTo>
                    <a:cubicBezTo>
                      <a:pt x="131" y="16"/>
                      <a:pt x="140" y="7"/>
                      <a:pt x="142" y="4"/>
                    </a:cubicBezTo>
                    <a:cubicBezTo>
                      <a:pt x="145" y="0"/>
                      <a:pt x="145" y="0"/>
                      <a:pt x="145" y="0"/>
                    </a:cubicBezTo>
                    <a:cubicBezTo>
                      <a:pt x="150" y="3"/>
                      <a:pt x="150" y="3"/>
                      <a:pt x="150" y="3"/>
                    </a:cubicBezTo>
                    <a:cubicBezTo>
                      <a:pt x="155" y="6"/>
                      <a:pt x="165" y="15"/>
                      <a:pt x="165" y="17"/>
                    </a:cubicBezTo>
                    <a:cubicBezTo>
                      <a:pt x="165" y="18"/>
                      <a:pt x="167" y="21"/>
                      <a:pt x="170" y="23"/>
                    </a:cubicBezTo>
                    <a:cubicBezTo>
                      <a:pt x="173" y="26"/>
                      <a:pt x="177" y="28"/>
                      <a:pt x="183" y="29"/>
                    </a:cubicBezTo>
                    <a:cubicBezTo>
                      <a:pt x="189" y="30"/>
                      <a:pt x="193" y="32"/>
                      <a:pt x="195" y="35"/>
                    </a:cubicBezTo>
                    <a:cubicBezTo>
                      <a:pt x="200" y="39"/>
                      <a:pt x="203" y="40"/>
                      <a:pt x="210" y="40"/>
                    </a:cubicBezTo>
                    <a:cubicBezTo>
                      <a:pt x="211" y="40"/>
                      <a:pt x="216" y="43"/>
                      <a:pt x="220" y="47"/>
                    </a:cubicBezTo>
                    <a:cubicBezTo>
                      <a:pt x="228" y="54"/>
                      <a:pt x="228" y="54"/>
                      <a:pt x="228" y="54"/>
                    </a:cubicBezTo>
                    <a:cubicBezTo>
                      <a:pt x="255" y="55"/>
                      <a:pt x="255" y="55"/>
                      <a:pt x="255" y="55"/>
                    </a:cubicBezTo>
                    <a:cubicBezTo>
                      <a:pt x="278" y="56"/>
                      <a:pt x="282" y="56"/>
                      <a:pt x="287" y="59"/>
                    </a:cubicBezTo>
                    <a:cubicBezTo>
                      <a:pt x="293" y="62"/>
                      <a:pt x="293" y="62"/>
                      <a:pt x="293" y="62"/>
                    </a:cubicBezTo>
                    <a:cubicBezTo>
                      <a:pt x="292" y="74"/>
                      <a:pt x="292" y="74"/>
                      <a:pt x="292" y="74"/>
                    </a:cubicBezTo>
                    <a:cubicBezTo>
                      <a:pt x="291" y="81"/>
                      <a:pt x="290" y="87"/>
                      <a:pt x="290" y="88"/>
                    </a:cubicBezTo>
                    <a:cubicBezTo>
                      <a:pt x="289" y="88"/>
                      <a:pt x="290" y="91"/>
                      <a:pt x="291" y="93"/>
                    </a:cubicBezTo>
                    <a:cubicBezTo>
                      <a:pt x="293" y="96"/>
                      <a:pt x="294" y="101"/>
                      <a:pt x="295" y="104"/>
                    </a:cubicBezTo>
                    <a:cubicBezTo>
                      <a:pt x="296" y="115"/>
                      <a:pt x="296" y="117"/>
                      <a:pt x="298" y="119"/>
                    </a:cubicBezTo>
                    <a:cubicBezTo>
                      <a:pt x="298" y="121"/>
                      <a:pt x="299" y="125"/>
                      <a:pt x="299" y="128"/>
                    </a:cubicBezTo>
                    <a:cubicBezTo>
                      <a:pt x="298" y="134"/>
                      <a:pt x="299" y="136"/>
                      <a:pt x="302" y="141"/>
                    </a:cubicBezTo>
                    <a:cubicBezTo>
                      <a:pt x="308" y="150"/>
                      <a:pt x="325" y="171"/>
                      <a:pt x="327" y="171"/>
                    </a:cubicBezTo>
                    <a:cubicBezTo>
                      <a:pt x="330" y="171"/>
                      <a:pt x="339" y="182"/>
                      <a:pt x="341" y="190"/>
                    </a:cubicBezTo>
                    <a:cubicBezTo>
                      <a:pt x="344" y="198"/>
                      <a:pt x="344" y="198"/>
                      <a:pt x="344" y="198"/>
                    </a:cubicBezTo>
                    <a:cubicBezTo>
                      <a:pt x="353" y="197"/>
                      <a:pt x="353" y="197"/>
                      <a:pt x="353" y="197"/>
                    </a:cubicBezTo>
                    <a:cubicBezTo>
                      <a:pt x="362" y="196"/>
                      <a:pt x="362" y="196"/>
                      <a:pt x="362" y="196"/>
                    </a:cubicBezTo>
                    <a:cubicBezTo>
                      <a:pt x="363" y="204"/>
                      <a:pt x="363" y="204"/>
                      <a:pt x="363" y="204"/>
                    </a:cubicBezTo>
                    <a:cubicBezTo>
                      <a:pt x="364" y="215"/>
                      <a:pt x="365" y="220"/>
                      <a:pt x="365" y="229"/>
                    </a:cubicBezTo>
                    <a:cubicBezTo>
                      <a:pt x="366" y="233"/>
                      <a:pt x="366" y="238"/>
                      <a:pt x="367" y="240"/>
                    </a:cubicBezTo>
                    <a:cubicBezTo>
                      <a:pt x="367" y="242"/>
                      <a:pt x="368" y="247"/>
                      <a:pt x="368" y="252"/>
                    </a:cubicBezTo>
                    <a:cubicBezTo>
                      <a:pt x="369" y="257"/>
                      <a:pt x="369" y="262"/>
                      <a:pt x="370" y="264"/>
                    </a:cubicBezTo>
                    <a:cubicBezTo>
                      <a:pt x="370" y="269"/>
                      <a:pt x="372" y="280"/>
                      <a:pt x="373" y="289"/>
                    </a:cubicBezTo>
                    <a:cubicBezTo>
                      <a:pt x="373" y="293"/>
                      <a:pt x="374" y="298"/>
                      <a:pt x="374" y="301"/>
                    </a:cubicBezTo>
                    <a:cubicBezTo>
                      <a:pt x="376" y="318"/>
                      <a:pt x="377" y="329"/>
                      <a:pt x="378" y="337"/>
                    </a:cubicBezTo>
                    <a:cubicBezTo>
                      <a:pt x="379" y="341"/>
                      <a:pt x="381" y="349"/>
                      <a:pt x="383" y="355"/>
                    </a:cubicBezTo>
                    <a:cubicBezTo>
                      <a:pt x="387" y="363"/>
                      <a:pt x="389" y="365"/>
                      <a:pt x="396" y="370"/>
                    </a:cubicBezTo>
                    <a:cubicBezTo>
                      <a:pt x="405" y="376"/>
                      <a:pt x="418" y="381"/>
                      <a:pt x="431" y="382"/>
                    </a:cubicBezTo>
                    <a:cubicBezTo>
                      <a:pt x="436" y="383"/>
                      <a:pt x="441" y="384"/>
                      <a:pt x="446" y="387"/>
                    </a:cubicBezTo>
                    <a:cubicBezTo>
                      <a:pt x="449" y="390"/>
                      <a:pt x="453" y="391"/>
                      <a:pt x="455" y="391"/>
                    </a:cubicBezTo>
                    <a:cubicBezTo>
                      <a:pt x="456" y="391"/>
                      <a:pt x="459" y="394"/>
                      <a:pt x="461" y="397"/>
                    </a:cubicBezTo>
                    <a:cubicBezTo>
                      <a:pt x="465" y="402"/>
                      <a:pt x="465" y="402"/>
                      <a:pt x="465" y="402"/>
                    </a:cubicBezTo>
                    <a:cubicBezTo>
                      <a:pt x="477" y="402"/>
                      <a:pt x="477" y="402"/>
                      <a:pt x="477" y="402"/>
                    </a:cubicBezTo>
                    <a:cubicBezTo>
                      <a:pt x="488" y="401"/>
                      <a:pt x="491" y="400"/>
                      <a:pt x="499" y="396"/>
                    </a:cubicBezTo>
                    <a:cubicBezTo>
                      <a:pt x="508" y="391"/>
                      <a:pt x="515" y="389"/>
                      <a:pt x="515" y="391"/>
                    </a:cubicBezTo>
                    <a:cubicBezTo>
                      <a:pt x="515" y="393"/>
                      <a:pt x="516" y="397"/>
                      <a:pt x="517" y="400"/>
                    </a:cubicBezTo>
                    <a:cubicBezTo>
                      <a:pt x="518" y="402"/>
                      <a:pt x="517" y="404"/>
                      <a:pt x="512" y="407"/>
                    </a:cubicBezTo>
                    <a:cubicBezTo>
                      <a:pt x="504" y="415"/>
                      <a:pt x="496" y="423"/>
                      <a:pt x="486" y="436"/>
                    </a:cubicBezTo>
                    <a:cubicBezTo>
                      <a:pt x="480" y="442"/>
                      <a:pt x="475" y="448"/>
                      <a:pt x="474" y="448"/>
                    </a:cubicBezTo>
                    <a:cubicBezTo>
                      <a:pt x="472" y="448"/>
                      <a:pt x="466" y="454"/>
                      <a:pt x="467" y="455"/>
                    </a:cubicBezTo>
                    <a:cubicBezTo>
                      <a:pt x="469" y="458"/>
                      <a:pt x="457" y="462"/>
                      <a:pt x="448" y="462"/>
                    </a:cubicBezTo>
                    <a:cubicBezTo>
                      <a:pt x="431" y="463"/>
                      <a:pt x="407" y="473"/>
                      <a:pt x="402" y="481"/>
                    </a:cubicBezTo>
                    <a:cubicBezTo>
                      <a:pt x="396" y="490"/>
                      <a:pt x="397" y="492"/>
                      <a:pt x="402" y="494"/>
                    </a:cubicBezTo>
                    <a:cubicBezTo>
                      <a:pt x="405" y="495"/>
                      <a:pt x="408" y="496"/>
                      <a:pt x="409" y="495"/>
                    </a:cubicBezTo>
                    <a:cubicBezTo>
                      <a:pt x="412" y="495"/>
                      <a:pt x="413" y="496"/>
                      <a:pt x="415" y="499"/>
                    </a:cubicBezTo>
                    <a:cubicBezTo>
                      <a:pt x="417" y="505"/>
                      <a:pt x="416" y="506"/>
                      <a:pt x="407" y="506"/>
                    </a:cubicBezTo>
                    <a:cubicBezTo>
                      <a:pt x="401" y="506"/>
                      <a:pt x="386" y="512"/>
                      <a:pt x="382" y="516"/>
                    </a:cubicBezTo>
                    <a:cubicBezTo>
                      <a:pt x="380" y="517"/>
                      <a:pt x="380" y="518"/>
                      <a:pt x="383" y="520"/>
                    </a:cubicBezTo>
                    <a:cubicBezTo>
                      <a:pt x="387" y="523"/>
                      <a:pt x="387" y="523"/>
                      <a:pt x="387" y="523"/>
                    </a:cubicBezTo>
                    <a:cubicBezTo>
                      <a:pt x="383" y="524"/>
                      <a:pt x="383" y="524"/>
                      <a:pt x="383" y="524"/>
                    </a:cubicBezTo>
                    <a:cubicBezTo>
                      <a:pt x="381" y="524"/>
                      <a:pt x="376" y="524"/>
                      <a:pt x="373" y="523"/>
                    </a:cubicBezTo>
                    <a:cubicBezTo>
                      <a:pt x="359" y="520"/>
                      <a:pt x="356" y="521"/>
                      <a:pt x="339" y="539"/>
                    </a:cubicBezTo>
                    <a:cubicBezTo>
                      <a:pt x="330" y="548"/>
                      <a:pt x="328" y="550"/>
                      <a:pt x="324" y="550"/>
                    </a:cubicBezTo>
                    <a:cubicBezTo>
                      <a:pt x="321" y="550"/>
                      <a:pt x="317" y="550"/>
                      <a:pt x="314" y="551"/>
                    </a:cubicBezTo>
                    <a:cubicBezTo>
                      <a:pt x="309" y="551"/>
                      <a:pt x="309" y="551"/>
                      <a:pt x="309" y="551"/>
                    </a:cubicBezTo>
                    <a:lnTo>
                      <a:pt x="312" y="5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87" name="Freeform 15">
                <a:extLst>
                  <a:ext uri="{FF2B5EF4-FFF2-40B4-BE49-F238E27FC236}">
                    <a16:creationId xmlns:a16="http://schemas.microsoft.com/office/drawing/2014/main" id="{91B2EFA0-ECB6-45B1-8B7A-A9087A685283}"/>
                  </a:ext>
                </a:extLst>
              </p:cNvPr>
              <p:cNvSpPr>
                <a:spLocks/>
              </p:cNvSpPr>
              <p:nvPr/>
            </p:nvSpPr>
            <p:spPr bwMode="auto">
              <a:xfrm>
                <a:off x="5569633" y="4432519"/>
                <a:ext cx="123237" cy="77023"/>
              </a:xfrm>
              <a:custGeom>
                <a:avLst/>
                <a:gdLst>
                  <a:gd name="T0" fmla="*/ 9 w 27"/>
                  <a:gd name="T1" fmla="*/ 13 h 17"/>
                  <a:gd name="T2" fmla="*/ 0 w 27"/>
                  <a:gd name="T3" fmla="*/ 6 h 17"/>
                  <a:gd name="T4" fmla="*/ 11 w 27"/>
                  <a:gd name="T5" fmla="*/ 1 h 17"/>
                  <a:gd name="T6" fmla="*/ 22 w 27"/>
                  <a:gd name="T7" fmla="*/ 5 h 17"/>
                  <a:gd name="T8" fmla="*/ 21 w 27"/>
                  <a:gd name="T9" fmla="*/ 17 h 17"/>
                  <a:gd name="T10" fmla="*/ 9 w 27"/>
                  <a:gd name="T11" fmla="*/ 13 h 17"/>
                </a:gdLst>
                <a:ahLst/>
                <a:cxnLst>
                  <a:cxn ang="0">
                    <a:pos x="T0" y="T1"/>
                  </a:cxn>
                  <a:cxn ang="0">
                    <a:pos x="T2" y="T3"/>
                  </a:cxn>
                  <a:cxn ang="0">
                    <a:pos x="T4" y="T5"/>
                  </a:cxn>
                  <a:cxn ang="0">
                    <a:pos x="T6" y="T7"/>
                  </a:cxn>
                  <a:cxn ang="0">
                    <a:pos x="T8" y="T9"/>
                  </a:cxn>
                  <a:cxn ang="0">
                    <a:pos x="T10" y="T11"/>
                  </a:cxn>
                </a:cxnLst>
                <a:rect l="0" t="0" r="r" b="b"/>
                <a:pathLst>
                  <a:path w="27" h="17">
                    <a:moveTo>
                      <a:pt x="9" y="13"/>
                    </a:moveTo>
                    <a:cubicBezTo>
                      <a:pt x="2" y="10"/>
                      <a:pt x="0" y="9"/>
                      <a:pt x="0" y="6"/>
                    </a:cubicBezTo>
                    <a:cubicBezTo>
                      <a:pt x="0" y="2"/>
                      <a:pt x="1" y="2"/>
                      <a:pt x="11" y="1"/>
                    </a:cubicBezTo>
                    <a:cubicBezTo>
                      <a:pt x="17" y="0"/>
                      <a:pt x="18" y="1"/>
                      <a:pt x="22" y="5"/>
                    </a:cubicBezTo>
                    <a:cubicBezTo>
                      <a:pt x="27" y="11"/>
                      <a:pt x="27" y="16"/>
                      <a:pt x="21" y="17"/>
                    </a:cubicBezTo>
                    <a:cubicBezTo>
                      <a:pt x="19" y="17"/>
                      <a:pt x="14" y="15"/>
                      <a:pt x="9"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381" name="Group 380">
              <a:extLst>
                <a:ext uri="{FF2B5EF4-FFF2-40B4-BE49-F238E27FC236}">
                  <a16:creationId xmlns:a16="http://schemas.microsoft.com/office/drawing/2014/main" id="{19C08FE5-18B0-4022-8265-A8A646898090}"/>
                </a:ext>
              </a:extLst>
            </p:cNvPr>
            <p:cNvGrpSpPr/>
            <p:nvPr userDrawn="1"/>
          </p:nvGrpSpPr>
          <p:grpSpPr>
            <a:xfrm>
              <a:off x="574675" y="568968"/>
              <a:ext cx="1559721" cy="4355665"/>
              <a:chOff x="574675" y="469672"/>
              <a:chExt cx="1559721" cy="4355665"/>
            </a:xfrm>
            <a:grpFill/>
          </p:grpSpPr>
          <p:sp>
            <p:nvSpPr>
              <p:cNvPr id="382" name="Freeform 5">
                <a:extLst>
                  <a:ext uri="{FF2B5EF4-FFF2-40B4-BE49-F238E27FC236}">
                    <a16:creationId xmlns:a16="http://schemas.microsoft.com/office/drawing/2014/main" id="{9EAFC41C-E48F-4163-973E-5674E2EA01B3}"/>
                  </a:ext>
                </a:extLst>
              </p:cNvPr>
              <p:cNvSpPr>
                <a:spLocks/>
              </p:cNvSpPr>
              <p:nvPr/>
            </p:nvSpPr>
            <p:spPr bwMode="auto">
              <a:xfrm>
                <a:off x="593931" y="469672"/>
                <a:ext cx="1224670" cy="2214419"/>
              </a:xfrm>
              <a:custGeom>
                <a:avLst/>
                <a:gdLst>
                  <a:gd name="T0" fmla="*/ 264 w 269"/>
                  <a:gd name="T1" fmla="*/ 485 h 486"/>
                  <a:gd name="T2" fmla="*/ 251 w 269"/>
                  <a:gd name="T3" fmla="*/ 478 h 486"/>
                  <a:gd name="T4" fmla="*/ 161 w 269"/>
                  <a:gd name="T5" fmla="*/ 431 h 486"/>
                  <a:gd name="T6" fmla="*/ 43 w 269"/>
                  <a:gd name="T7" fmla="*/ 358 h 486"/>
                  <a:gd name="T8" fmla="*/ 20 w 269"/>
                  <a:gd name="T9" fmla="*/ 341 h 486"/>
                  <a:gd name="T10" fmla="*/ 29 w 269"/>
                  <a:gd name="T11" fmla="*/ 327 h 486"/>
                  <a:gd name="T12" fmla="*/ 17 w 269"/>
                  <a:gd name="T13" fmla="*/ 315 h 486"/>
                  <a:gd name="T14" fmla="*/ 11 w 269"/>
                  <a:gd name="T15" fmla="*/ 312 h 486"/>
                  <a:gd name="T16" fmla="*/ 9 w 269"/>
                  <a:gd name="T17" fmla="*/ 310 h 486"/>
                  <a:gd name="T18" fmla="*/ 1 w 269"/>
                  <a:gd name="T19" fmla="*/ 305 h 486"/>
                  <a:gd name="T20" fmla="*/ 14 w 269"/>
                  <a:gd name="T21" fmla="*/ 282 h 486"/>
                  <a:gd name="T22" fmla="*/ 98 w 269"/>
                  <a:gd name="T23" fmla="*/ 158 h 486"/>
                  <a:gd name="T24" fmla="*/ 187 w 269"/>
                  <a:gd name="T25" fmla="*/ 26 h 486"/>
                  <a:gd name="T26" fmla="*/ 205 w 269"/>
                  <a:gd name="T27" fmla="*/ 0 h 486"/>
                  <a:gd name="T28" fmla="*/ 209 w 269"/>
                  <a:gd name="T29" fmla="*/ 1 h 486"/>
                  <a:gd name="T30" fmla="*/ 222 w 269"/>
                  <a:gd name="T31" fmla="*/ 17 h 486"/>
                  <a:gd name="T32" fmla="*/ 226 w 269"/>
                  <a:gd name="T33" fmla="*/ 32 h 486"/>
                  <a:gd name="T34" fmla="*/ 231 w 269"/>
                  <a:gd name="T35" fmla="*/ 44 h 486"/>
                  <a:gd name="T36" fmla="*/ 237 w 269"/>
                  <a:gd name="T37" fmla="*/ 54 h 486"/>
                  <a:gd name="T38" fmla="*/ 241 w 269"/>
                  <a:gd name="T39" fmla="*/ 62 h 486"/>
                  <a:gd name="T40" fmla="*/ 220 w 269"/>
                  <a:gd name="T41" fmla="*/ 95 h 486"/>
                  <a:gd name="T42" fmla="*/ 215 w 269"/>
                  <a:gd name="T43" fmla="*/ 109 h 486"/>
                  <a:gd name="T44" fmla="*/ 209 w 269"/>
                  <a:gd name="T45" fmla="*/ 123 h 486"/>
                  <a:gd name="T46" fmla="*/ 218 w 269"/>
                  <a:gd name="T47" fmla="*/ 146 h 486"/>
                  <a:gd name="T48" fmla="*/ 231 w 269"/>
                  <a:gd name="T49" fmla="*/ 159 h 486"/>
                  <a:gd name="T50" fmla="*/ 226 w 269"/>
                  <a:gd name="T51" fmla="*/ 172 h 486"/>
                  <a:gd name="T52" fmla="*/ 220 w 269"/>
                  <a:gd name="T53" fmla="*/ 190 h 486"/>
                  <a:gd name="T54" fmla="*/ 225 w 269"/>
                  <a:gd name="T55" fmla="*/ 201 h 486"/>
                  <a:gd name="T56" fmla="*/ 228 w 269"/>
                  <a:gd name="T57" fmla="*/ 221 h 486"/>
                  <a:gd name="T58" fmla="*/ 224 w 269"/>
                  <a:gd name="T59" fmla="*/ 223 h 486"/>
                  <a:gd name="T60" fmla="*/ 216 w 269"/>
                  <a:gd name="T61" fmla="*/ 233 h 486"/>
                  <a:gd name="T62" fmla="*/ 213 w 269"/>
                  <a:gd name="T63" fmla="*/ 241 h 486"/>
                  <a:gd name="T64" fmla="*/ 215 w 269"/>
                  <a:gd name="T65" fmla="*/ 254 h 486"/>
                  <a:gd name="T66" fmla="*/ 216 w 269"/>
                  <a:gd name="T67" fmla="*/ 262 h 486"/>
                  <a:gd name="T68" fmla="*/ 219 w 269"/>
                  <a:gd name="T69" fmla="*/ 272 h 486"/>
                  <a:gd name="T70" fmla="*/ 222 w 269"/>
                  <a:gd name="T71" fmla="*/ 284 h 486"/>
                  <a:gd name="T72" fmla="*/ 225 w 269"/>
                  <a:gd name="T73" fmla="*/ 297 h 486"/>
                  <a:gd name="T74" fmla="*/ 224 w 269"/>
                  <a:gd name="T75" fmla="*/ 312 h 486"/>
                  <a:gd name="T76" fmla="*/ 218 w 269"/>
                  <a:gd name="T77" fmla="*/ 348 h 486"/>
                  <a:gd name="T78" fmla="*/ 215 w 269"/>
                  <a:gd name="T79" fmla="*/ 363 h 486"/>
                  <a:gd name="T80" fmla="*/ 217 w 269"/>
                  <a:gd name="T81" fmla="*/ 372 h 486"/>
                  <a:gd name="T82" fmla="*/ 226 w 269"/>
                  <a:gd name="T83" fmla="*/ 390 h 486"/>
                  <a:gd name="T84" fmla="*/ 233 w 269"/>
                  <a:gd name="T85" fmla="*/ 407 h 486"/>
                  <a:gd name="T86" fmla="*/ 235 w 269"/>
                  <a:gd name="T87" fmla="*/ 415 h 486"/>
                  <a:gd name="T88" fmla="*/ 232 w 269"/>
                  <a:gd name="T89" fmla="*/ 422 h 486"/>
                  <a:gd name="T90" fmla="*/ 230 w 269"/>
                  <a:gd name="T91" fmla="*/ 433 h 486"/>
                  <a:gd name="T92" fmla="*/ 243 w 269"/>
                  <a:gd name="T93" fmla="*/ 445 h 486"/>
                  <a:gd name="T94" fmla="*/ 256 w 269"/>
                  <a:gd name="T95" fmla="*/ 452 h 486"/>
                  <a:gd name="T96" fmla="*/ 265 w 269"/>
                  <a:gd name="T97" fmla="*/ 456 h 486"/>
                  <a:gd name="T98" fmla="*/ 269 w 269"/>
                  <a:gd name="T99" fmla="*/ 456 h 486"/>
                  <a:gd name="T100" fmla="*/ 268 w 269"/>
                  <a:gd name="T101" fmla="*/ 471 h 486"/>
                  <a:gd name="T102" fmla="*/ 268 w 269"/>
                  <a:gd name="T103" fmla="*/ 486 h 486"/>
                  <a:gd name="T104" fmla="*/ 264 w 269"/>
                  <a:gd name="T105" fmla="*/ 485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9" h="486">
                    <a:moveTo>
                      <a:pt x="264" y="485"/>
                    </a:moveTo>
                    <a:cubicBezTo>
                      <a:pt x="263" y="484"/>
                      <a:pt x="257" y="481"/>
                      <a:pt x="251" y="478"/>
                    </a:cubicBezTo>
                    <a:cubicBezTo>
                      <a:pt x="242" y="474"/>
                      <a:pt x="211" y="458"/>
                      <a:pt x="161" y="431"/>
                    </a:cubicBezTo>
                    <a:cubicBezTo>
                      <a:pt x="145" y="423"/>
                      <a:pt x="86" y="386"/>
                      <a:pt x="43" y="358"/>
                    </a:cubicBezTo>
                    <a:cubicBezTo>
                      <a:pt x="27" y="348"/>
                      <a:pt x="20" y="342"/>
                      <a:pt x="20" y="341"/>
                    </a:cubicBezTo>
                    <a:cubicBezTo>
                      <a:pt x="20" y="337"/>
                      <a:pt x="25" y="330"/>
                      <a:pt x="29" y="327"/>
                    </a:cubicBezTo>
                    <a:cubicBezTo>
                      <a:pt x="37" y="320"/>
                      <a:pt x="33" y="316"/>
                      <a:pt x="17" y="315"/>
                    </a:cubicBezTo>
                    <a:cubicBezTo>
                      <a:pt x="13" y="315"/>
                      <a:pt x="12" y="315"/>
                      <a:pt x="11" y="312"/>
                    </a:cubicBezTo>
                    <a:cubicBezTo>
                      <a:pt x="11" y="311"/>
                      <a:pt x="10" y="310"/>
                      <a:pt x="9" y="310"/>
                    </a:cubicBezTo>
                    <a:cubicBezTo>
                      <a:pt x="7" y="311"/>
                      <a:pt x="2" y="308"/>
                      <a:pt x="1" y="305"/>
                    </a:cubicBezTo>
                    <a:cubicBezTo>
                      <a:pt x="0" y="303"/>
                      <a:pt x="4" y="297"/>
                      <a:pt x="14" y="282"/>
                    </a:cubicBezTo>
                    <a:cubicBezTo>
                      <a:pt x="34" y="253"/>
                      <a:pt x="70" y="200"/>
                      <a:pt x="98" y="158"/>
                    </a:cubicBezTo>
                    <a:cubicBezTo>
                      <a:pt x="120" y="125"/>
                      <a:pt x="148" y="83"/>
                      <a:pt x="187" y="26"/>
                    </a:cubicBezTo>
                    <a:cubicBezTo>
                      <a:pt x="205" y="0"/>
                      <a:pt x="205" y="0"/>
                      <a:pt x="205" y="0"/>
                    </a:cubicBezTo>
                    <a:cubicBezTo>
                      <a:pt x="209" y="1"/>
                      <a:pt x="209" y="1"/>
                      <a:pt x="209" y="1"/>
                    </a:cubicBezTo>
                    <a:cubicBezTo>
                      <a:pt x="218" y="5"/>
                      <a:pt x="221" y="8"/>
                      <a:pt x="222" y="17"/>
                    </a:cubicBezTo>
                    <a:cubicBezTo>
                      <a:pt x="223" y="22"/>
                      <a:pt x="225" y="28"/>
                      <a:pt x="226" y="32"/>
                    </a:cubicBezTo>
                    <a:cubicBezTo>
                      <a:pt x="228" y="35"/>
                      <a:pt x="230" y="41"/>
                      <a:pt x="231" y="44"/>
                    </a:cubicBezTo>
                    <a:cubicBezTo>
                      <a:pt x="231" y="48"/>
                      <a:pt x="233" y="51"/>
                      <a:pt x="237" y="54"/>
                    </a:cubicBezTo>
                    <a:cubicBezTo>
                      <a:pt x="243" y="59"/>
                      <a:pt x="243" y="59"/>
                      <a:pt x="241" y="62"/>
                    </a:cubicBezTo>
                    <a:cubicBezTo>
                      <a:pt x="238" y="65"/>
                      <a:pt x="224" y="88"/>
                      <a:pt x="220" y="95"/>
                    </a:cubicBezTo>
                    <a:cubicBezTo>
                      <a:pt x="219" y="98"/>
                      <a:pt x="216" y="104"/>
                      <a:pt x="215" y="109"/>
                    </a:cubicBezTo>
                    <a:cubicBezTo>
                      <a:pt x="214" y="113"/>
                      <a:pt x="211" y="119"/>
                      <a:pt x="209" y="123"/>
                    </a:cubicBezTo>
                    <a:cubicBezTo>
                      <a:pt x="203" y="135"/>
                      <a:pt x="203" y="134"/>
                      <a:pt x="218" y="146"/>
                    </a:cubicBezTo>
                    <a:cubicBezTo>
                      <a:pt x="228" y="153"/>
                      <a:pt x="231" y="157"/>
                      <a:pt x="231" y="159"/>
                    </a:cubicBezTo>
                    <a:cubicBezTo>
                      <a:pt x="231" y="161"/>
                      <a:pt x="229" y="167"/>
                      <a:pt x="226" y="172"/>
                    </a:cubicBezTo>
                    <a:cubicBezTo>
                      <a:pt x="223" y="178"/>
                      <a:pt x="221" y="184"/>
                      <a:pt x="220" y="190"/>
                    </a:cubicBezTo>
                    <a:cubicBezTo>
                      <a:pt x="220" y="197"/>
                      <a:pt x="220" y="197"/>
                      <a:pt x="225" y="201"/>
                    </a:cubicBezTo>
                    <a:cubicBezTo>
                      <a:pt x="230" y="205"/>
                      <a:pt x="230" y="204"/>
                      <a:pt x="228" y="221"/>
                    </a:cubicBezTo>
                    <a:cubicBezTo>
                      <a:pt x="228" y="221"/>
                      <a:pt x="227" y="222"/>
                      <a:pt x="224" y="223"/>
                    </a:cubicBezTo>
                    <a:cubicBezTo>
                      <a:pt x="220" y="224"/>
                      <a:pt x="216" y="229"/>
                      <a:pt x="216" y="233"/>
                    </a:cubicBezTo>
                    <a:cubicBezTo>
                      <a:pt x="216" y="235"/>
                      <a:pt x="214" y="238"/>
                      <a:pt x="213" y="241"/>
                    </a:cubicBezTo>
                    <a:cubicBezTo>
                      <a:pt x="210" y="246"/>
                      <a:pt x="210" y="251"/>
                      <a:pt x="215" y="254"/>
                    </a:cubicBezTo>
                    <a:cubicBezTo>
                      <a:pt x="216" y="256"/>
                      <a:pt x="217" y="258"/>
                      <a:pt x="216" y="262"/>
                    </a:cubicBezTo>
                    <a:cubicBezTo>
                      <a:pt x="216" y="266"/>
                      <a:pt x="216" y="268"/>
                      <a:pt x="219" y="272"/>
                    </a:cubicBezTo>
                    <a:cubicBezTo>
                      <a:pt x="221" y="275"/>
                      <a:pt x="222" y="279"/>
                      <a:pt x="222" y="284"/>
                    </a:cubicBezTo>
                    <a:cubicBezTo>
                      <a:pt x="222" y="288"/>
                      <a:pt x="223" y="294"/>
                      <a:pt x="225" y="297"/>
                    </a:cubicBezTo>
                    <a:cubicBezTo>
                      <a:pt x="227" y="301"/>
                      <a:pt x="227" y="302"/>
                      <a:pt x="224" y="312"/>
                    </a:cubicBezTo>
                    <a:cubicBezTo>
                      <a:pt x="221" y="325"/>
                      <a:pt x="219" y="335"/>
                      <a:pt x="218" y="348"/>
                    </a:cubicBezTo>
                    <a:cubicBezTo>
                      <a:pt x="217" y="354"/>
                      <a:pt x="216" y="361"/>
                      <a:pt x="215" y="363"/>
                    </a:cubicBezTo>
                    <a:cubicBezTo>
                      <a:pt x="214" y="367"/>
                      <a:pt x="214" y="368"/>
                      <a:pt x="217" y="372"/>
                    </a:cubicBezTo>
                    <a:cubicBezTo>
                      <a:pt x="222" y="377"/>
                      <a:pt x="223" y="380"/>
                      <a:pt x="226" y="390"/>
                    </a:cubicBezTo>
                    <a:cubicBezTo>
                      <a:pt x="228" y="395"/>
                      <a:pt x="230" y="403"/>
                      <a:pt x="233" y="407"/>
                    </a:cubicBezTo>
                    <a:cubicBezTo>
                      <a:pt x="235" y="412"/>
                      <a:pt x="236" y="414"/>
                      <a:pt x="235" y="415"/>
                    </a:cubicBezTo>
                    <a:cubicBezTo>
                      <a:pt x="234" y="415"/>
                      <a:pt x="233" y="419"/>
                      <a:pt x="232" y="422"/>
                    </a:cubicBezTo>
                    <a:cubicBezTo>
                      <a:pt x="232" y="426"/>
                      <a:pt x="231" y="431"/>
                      <a:pt x="230" y="433"/>
                    </a:cubicBezTo>
                    <a:cubicBezTo>
                      <a:pt x="229" y="438"/>
                      <a:pt x="231" y="440"/>
                      <a:pt x="243" y="445"/>
                    </a:cubicBezTo>
                    <a:cubicBezTo>
                      <a:pt x="247" y="447"/>
                      <a:pt x="253" y="450"/>
                      <a:pt x="256" y="452"/>
                    </a:cubicBezTo>
                    <a:cubicBezTo>
                      <a:pt x="259" y="454"/>
                      <a:pt x="263" y="456"/>
                      <a:pt x="265" y="456"/>
                    </a:cubicBezTo>
                    <a:cubicBezTo>
                      <a:pt x="269" y="456"/>
                      <a:pt x="269" y="456"/>
                      <a:pt x="269" y="456"/>
                    </a:cubicBezTo>
                    <a:cubicBezTo>
                      <a:pt x="268" y="471"/>
                      <a:pt x="268" y="471"/>
                      <a:pt x="268" y="471"/>
                    </a:cubicBezTo>
                    <a:cubicBezTo>
                      <a:pt x="268" y="479"/>
                      <a:pt x="268" y="486"/>
                      <a:pt x="268" y="486"/>
                    </a:cubicBezTo>
                    <a:cubicBezTo>
                      <a:pt x="267" y="486"/>
                      <a:pt x="266" y="486"/>
                      <a:pt x="264"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83" name="Freeform 45">
                <a:extLst>
                  <a:ext uri="{FF2B5EF4-FFF2-40B4-BE49-F238E27FC236}">
                    <a16:creationId xmlns:a16="http://schemas.microsoft.com/office/drawing/2014/main" id="{855350CC-C888-4A71-B133-4BE0FD2778DD}"/>
                  </a:ext>
                </a:extLst>
              </p:cNvPr>
              <p:cNvSpPr>
                <a:spLocks/>
              </p:cNvSpPr>
              <p:nvPr/>
            </p:nvSpPr>
            <p:spPr bwMode="auto">
              <a:xfrm>
                <a:off x="674805" y="2064053"/>
                <a:ext cx="1459591" cy="2761284"/>
              </a:xfrm>
              <a:custGeom>
                <a:avLst/>
                <a:gdLst>
                  <a:gd name="T0" fmla="*/ 257 w 320"/>
                  <a:gd name="T1" fmla="*/ 589 h 606"/>
                  <a:gd name="T2" fmla="*/ 118 w 320"/>
                  <a:gd name="T3" fmla="*/ 537 h 606"/>
                  <a:gd name="T4" fmla="*/ 108 w 320"/>
                  <a:gd name="T5" fmla="*/ 519 h 606"/>
                  <a:gd name="T6" fmla="*/ 96 w 320"/>
                  <a:gd name="T7" fmla="*/ 503 h 606"/>
                  <a:gd name="T8" fmla="*/ 72 w 320"/>
                  <a:gd name="T9" fmla="*/ 461 h 606"/>
                  <a:gd name="T10" fmla="*/ 64 w 320"/>
                  <a:gd name="T11" fmla="*/ 439 h 606"/>
                  <a:gd name="T12" fmla="*/ 54 w 320"/>
                  <a:gd name="T13" fmla="*/ 433 h 606"/>
                  <a:gd name="T14" fmla="*/ 47 w 320"/>
                  <a:gd name="T15" fmla="*/ 423 h 606"/>
                  <a:gd name="T16" fmla="*/ 51 w 320"/>
                  <a:gd name="T17" fmla="*/ 385 h 606"/>
                  <a:gd name="T18" fmla="*/ 52 w 320"/>
                  <a:gd name="T19" fmla="*/ 367 h 606"/>
                  <a:gd name="T20" fmla="*/ 41 w 320"/>
                  <a:gd name="T21" fmla="*/ 340 h 606"/>
                  <a:gd name="T22" fmla="*/ 43 w 320"/>
                  <a:gd name="T23" fmla="*/ 318 h 606"/>
                  <a:gd name="T24" fmla="*/ 44 w 320"/>
                  <a:gd name="T25" fmla="*/ 273 h 606"/>
                  <a:gd name="T26" fmla="*/ 73 w 320"/>
                  <a:gd name="T27" fmla="*/ 250 h 606"/>
                  <a:gd name="T28" fmla="*/ 86 w 320"/>
                  <a:gd name="T29" fmla="*/ 218 h 606"/>
                  <a:gd name="T30" fmla="*/ 66 w 320"/>
                  <a:gd name="T31" fmla="*/ 176 h 606"/>
                  <a:gd name="T32" fmla="*/ 70 w 320"/>
                  <a:gd name="T33" fmla="*/ 130 h 606"/>
                  <a:gd name="T34" fmla="*/ 67 w 320"/>
                  <a:gd name="T35" fmla="*/ 92 h 606"/>
                  <a:gd name="T36" fmla="*/ 60 w 320"/>
                  <a:gd name="T37" fmla="*/ 60 h 606"/>
                  <a:gd name="T38" fmla="*/ 49 w 320"/>
                  <a:gd name="T39" fmla="*/ 34 h 606"/>
                  <a:gd name="T40" fmla="*/ 24 w 320"/>
                  <a:gd name="T41" fmla="*/ 42 h 606"/>
                  <a:gd name="T42" fmla="*/ 4 w 320"/>
                  <a:gd name="T43" fmla="*/ 50 h 606"/>
                  <a:gd name="T44" fmla="*/ 3 w 320"/>
                  <a:gd name="T45" fmla="*/ 17 h 606"/>
                  <a:gd name="T46" fmla="*/ 35 w 320"/>
                  <a:gd name="T47" fmla="*/ 20 h 606"/>
                  <a:gd name="T48" fmla="*/ 176 w 320"/>
                  <a:gd name="T49" fmla="*/ 104 h 606"/>
                  <a:gd name="T50" fmla="*/ 288 w 320"/>
                  <a:gd name="T51" fmla="*/ 156 h 606"/>
                  <a:gd name="T52" fmla="*/ 320 w 320"/>
                  <a:gd name="T53" fmla="*/ 174 h 606"/>
                  <a:gd name="T54" fmla="*/ 283 w 320"/>
                  <a:gd name="T55" fmla="*/ 275 h 606"/>
                  <a:gd name="T56" fmla="*/ 241 w 320"/>
                  <a:gd name="T57" fmla="*/ 402 h 606"/>
                  <a:gd name="T58" fmla="*/ 261 w 320"/>
                  <a:gd name="T59" fmla="*/ 446 h 606"/>
                  <a:gd name="T60" fmla="*/ 270 w 320"/>
                  <a:gd name="T61" fmla="*/ 468 h 606"/>
                  <a:gd name="T62" fmla="*/ 278 w 320"/>
                  <a:gd name="T63" fmla="*/ 484 h 606"/>
                  <a:gd name="T64" fmla="*/ 290 w 320"/>
                  <a:gd name="T65" fmla="*/ 510 h 606"/>
                  <a:gd name="T66" fmla="*/ 311 w 320"/>
                  <a:gd name="T67" fmla="*/ 559 h 606"/>
                  <a:gd name="T68" fmla="*/ 311 w 320"/>
                  <a:gd name="T69" fmla="*/ 60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606">
                    <a:moveTo>
                      <a:pt x="310" y="606"/>
                    </a:moveTo>
                    <a:cubicBezTo>
                      <a:pt x="309" y="605"/>
                      <a:pt x="280" y="596"/>
                      <a:pt x="257" y="589"/>
                    </a:cubicBezTo>
                    <a:cubicBezTo>
                      <a:pt x="249" y="587"/>
                      <a:pt x="167" y="556"/>
                      <a:pt x="133" y="543"/>
                    </a:cubicBezTo>
                    <a:cubicBezTo>
                      <a:pt x="127" y="540"/>
                      <a:pt x="120" y="538"/>
                      <a:pt x="118" y="537"/>
                    </a:cubicBezTo>
                    <a:cubicBezTo>
                      <a:pt x="112" y="535"/>
                      <a:pt x="111" y="533"/>
                      <a:pt x="111" y="527"/>
                    </a:cubicBezTo>
                    <a:cubicBezTo>
                      <a:pt x="111" y="523"/>
                      <a:pt x="110" y="521"/>
                      <a:pt x="108" y="519"/>
                    </a:cubicBezTo>
                    <a:cubicBezTo>
                      <a:pt x="100" y="512"/>
                      <a:pt x="97" y="509"/>
                      <a:pt x="97" y="506"/>
                    </a:cubicBezTo>
                    <a:cubicBezTo>
                      <a:pt x="97" y="505"/>
                      <a:pt x="97" y="503"/>
                      <a:pt x="96" y="503"/>
                    </a:cubicBezTo>
                    <a:cubicBezTo>
                      <a:pt x="92" y="503"/>
                      <a:pt x="88" y="496"/>
                      <a:pt x="87" y="489"/>
                    </a:cubicBezTo>
                    <a:cubicBezTo>
                      <a:pt x="85" y="479"/>
                      <a:pt x="81" y="469"/>
                      <a:pt x="72" y="461"/>
                    </a:cubicBezTo>
                    <a:cubicBezTo>
                      <a:pt x="65" y="453"/>
                      <a:pt x="65" y="453"/>
                      <a:pt x="65" y="446"/>
                    </a:cubicBezTo>
                    <a:cubicBezTo>
                      <a:pt x="66" y="441"/>
                      <a:pt x="66" y="439"/>
                      <a:pt x="64" y="439"/>
                    </a:cubicBezTo>
                    <a:cubicBezTo>
                      <a:pt x="63" y="439"/>
                      <a:pt x="62" y="439"/>
                      <a:pt x="61" y="438"/>
                    </a:cubicBezTo>
                    <a:cubicBezTo>
                      <a:pt x="61" y="438"/>
                      <a:pt x="58" y="436"/>
                      <a:pt x="54" y="433"/>
                    </a:cubicBezTo>
                    <a:cubicBezTo>
                      <a:pt x="51" y="431"/>
                      <a:pt x="48" y="429"/>
                      <a:pt x="47" y="428"/>
                    </a:cubicBezTo>
                    <a:cubicBezTo>
                      <a:pt x="47" y="427"/>
                      <a:pt x="47" y="425"/>
                      <a:pt x="47" y="423"/>
                    </a:cubicBezTo>
                    <a:cubicBezTo>
                      <a:pt x="46" y="419"/>
                      <a:pt x="46" y="417"/>
                      <a:pt x="46" y="402"/>
                    </a:cubicBezTo>
                    <a:cubicBezTo>
                      <a:pt x="46" y="389"/>
                      <a:pt x="46" y="389"/>
                      <a:pt x="51" y="385"/>
                    </a:cubicBezTo>
                    <a:cubicBezTo>
                      <a:pt x="55" y="382"/>
                      <a:pt x="55" y="381"/>
                      <a:pt x="53" y="377"/>
                    </a:cubicBezTo>
                    <a:cubicBezTo>
                      <a:pt x="53" y="375"/>
                      <a:pt x="52" y="370"/>
                      <a:pt x="52" y="367"/>
                    </a:cubicBezTo>
                    <a:cubicBezTo>
                      <a:pt x="52" y="363"/>
                      <a:pt x="50" y="359"/>
                      <a:pt x="46" y="353"/>
                    </a:cubicBezTo>
                    <a:cubicBezTo>
                      <a:pt x="41" y="346"/>
                      <a:pt x="40" y="344"/>
                      <a:pt x="41" y="340"/>
                    </a:cubicBezTo>
                    <a:cubicBezTo>
                      <a:pt x="42" y="338"/>
                      <a:pt x="43" y="334"/>
                      <a:pt x="45" y="333"/>
                    </a:cubicBezTo>
                    <a:cubicBezTo>
                      <a:pt x="48" y="330"/>
                      <a:pt x="48" y="328"/>
                      <a:pt x="43" y="318"/>
                    </a:cubicBezTo>
                    <a:cubicBezTo>
                      <a:pt x="40" y="314"/>
                      <a:pt x="40" y="310"/>
                      <a:pt x="40" y="294"/>
                    </a:cubicBezTo>
                    <a:cubicBezTo>
                      <a:pt x="40" y="277"/>
                      <a:pt x="40" y="276"/>
                      <a:pt x="44" y="273"/>
                    </a:cubicBezTo>
                    <a:cubicBezTo>
                      <a:pt x="46" y="271"/>
                      <a:pt x="51" y="268"/>
                      <a:pt x="55" y="266"/>
                    </a:cubicBezTo>
                    <a:cubicBezTo>
                      <a:pt x="65" y="262"/>
                      <a:pt x="73" y="255"/>
                      <a:pt x="73" y="250"/>
                    </a:cubicBezTo>
                    <a:cubicBezTo>
                      <a:pt x="73" y="244"/>
                      <a:pt x="76" y="237"/>
                      <a:pt x="81" y="232"/>
                    </a:cubicBezTo>
                    <a:cubicBezTo>
                      <a:pt x="85" y="227"/>
                      <a:pt x="86" y="226"/>
                      <a:pt x="86" y="218"/>
                    </a:cubicBezTo>
                    <a:cubicBezTo>
                      <a:pt x="86" y="210"/>
                      <a:pt x="85" y="209"/>
                      <a:pt x="82" y="205"/>
                    </a:cubicBezTo>
                    <a:cubicBezTo>
                      <a:pt x="77" y="201"/>
                      <a:pt x="68" y="185"/>
                      <a:pt x="66" y="176"/>
                    </a:cubicBezTo>
                    <a:cubicBezTo>
                      <a:pt x="65" y="170"/>
                      <a:pt x="65" y="167"/>
                      <a:pt x="68" y="154"/>
                    </a:cubicBezTo>
                    <a:cubicBezTo>
                      <a:pt x="72" y="140"/>
                      <a:pt x="72" y="137"/>
                      <a:pt x="70" y="130"/>
                    </a:cubicBezTo>
                    <a:cubicBezTo>
                      <a:pt x="70" y="125"/>
                      <a:pt x="69" y="116"/>
                      <a:pt x="68" y="108"/>
                    </a:cubicBezTo>
                    <a:cubicBezTo>
                      <a:pt x="68" y="101"/>
                      <a:pt x="67" y="94"/>
                      <a:pt x="67" y="92"/>
                    </a:cubicBezTo>
                    <a:cubicBezTo>
                      <a:pt x="66" y="90"/>
                      <a:pt x="66" y="86"/>
                      <a:pt x="65" y="83"/>
                    </a:cubicBezTo>
                    <a:cubicBezTo>
                      <a:pt x="65" y="80"/>
                      <a:pt x="63" y="70"/>
                      <a:pt x="60" y="60"/>
                    </a:cubicBezTo>
                    <a:cubicBezTo>
                      <a:pt x="58" y="50"/>
                      <a:pt x="56" y="41"/>
                      <a:pt x="55" y="39"/>
                    </a:cubicBezTo>
                    <a:cubicBezTo>
                      <a:pt x="55" y="37"/>
                      <a:pt x="53" y="35"/>
                      <a:pt x="49" y="34"/>
                    </a:cubicBezTo>
                    <a:cubicBezTo>
                      <a:pt x="39" y="30"/>
                      <a:pt x="38" y="30"/>
                      <a:pt x="35" y="34"/>
                    </a:cubicBezTo>
                    <a:cubicBezTo>
                      <a:pt x="34" y="38"/>
                      <a:pt x="31" y="40"/>
                      <a:pt x="24" y="42"/>
                    </a:cubicBezTo>
                    <a:cubicBezTo>
                      <a:pt x="20" y="44"/>
                      <a:pt x="13" y="46"/>
                      <a:pt x="10" y="48"/>
                    </a:cubicBezTo>
                    <a:cubicBezTo>
                      <a:pt x="7" y="49"/>
                      <a:pt x="4" y="50"/>
                      <a:pt x="4" y="50"/>
                    </a:cubicBezTo>
                    <a:cubicBezTo>
                      <a:pt x="4" y="50"/>
                      <a:pt x="4" y="48"/>
                      <a:pt x="5" y="46"/>
                    </a:cubicBezTo>
                    <a:cubicBezTo>
                      <a:pt x="7" y="39"/>
                      <a:pt x="6" y="22"/>
                      <a:pt x="3" y="17"/>
                    </a:cubicBezTo>
                    <a:cubicBezTo>
                      <a:pt x="0" y="13"/>
                      <a:pt x="1" y="0"/>
                      <a:pt x="4" y="0"/>
                    </a:cubicBezTo>
                    <a:cubicBezTo>
                      <a:pt x="5" y="1"/>
                      <a:pt x="19" y="10"/>
                      <a:pt x="35" y="20"/>
                    </a:cubicBezTo>
                    <a:cubicBezTo>
                      <a:pt x="80" y="50"/>
                      <a:pt x="129" y="80"/>
                      <a:pt x="153" y="92"/>
                    </a:cubicBezTo>
                    <a:cubicBezTo>
                      <a:pt x="165" y="98"/>
                      <a:pt x="175" y="104"/>
                      <a:pt x="176" y="104"/>
                    </a:cubicBezTo>
                    <a:cubicBezTo>
                      <a:pt x="180" y="107"/>
                      <a:pt x="223" y="129"/>
                      <a:pt x="239" y="136"/>
                    </a:cubicBezTo>
                    <a:cubicBezTo>
                      <a:pt x="250" y="141"/>
                      <a:pt x="272" y="150"/>
                      <a:pt x="288" y="156"/>
                    </a:cubicBezTo>
                    <a:cubicBezTo>
                      <a:pt x="305" y="163"/>
                      <a:pt x="319" y="169"/>
                      <a:pt x="320" y="169"/>
                    </a:cubicBezTo>
                    <a:cubicBezTo>
                      <a:pt x="320" y="170"/>
                      <a:pt x="320" y="172"/>
                      <a:pt x="320" y="174"/>
                    </a:cubicBezTo>
                    <a:cubicBezTo>
                      <a:pt x="319" y="175"/>
                      <a:pt x="311" y="196"/>
                      <a:pt x="303" y="219"/>
                    </a:cubicBezTo>
                    <a:cubicBezTo>
                      <a:pt x="295" y="242"/>
                      <a:pt x="286" y="267"/>
                      <a:pt x="283" y="275"/>
                    </a:cubicBezTo>
                    <a:cubicBezTo>
                      <a:pt x="250" y="365"/>
                      <a:pt x="243" y="385"/>
                      <a:pt x="243" y="392"/>
                    </a:cubicBezTo>
                    <a:cubicBezTo>
                      <a:pt x="243" y="396"/>
                      <a:pt x="242" y="401"/>
                      <a:pt x="241" y="402"/>
                    </a:cubicBezTo>
                    <a:cubicBezTo>
                      <a:pt x="238" y="407"/>
                      <a:pt x="240" y="413"/>
                      <a:pt x="245" y="416"/>
                    </a:cubicBezTo>
                    <a:cubicBezTo>
                      <a:pt x="251" y="420"/>
                      <a:pt x="260" y="436"/>
                      <a:pt x="261" y="446"/>
                    </a:cubicBezTo>
                    <a:cubicBezTo>
                      <a:pt x="262" y="452"/>
                      <a:pt x="263" y="456"/>
                      <a:pt x="266" y="461"/>
                    </a:cubicBezTo>
                    <a:cubicBezTo>
                      <a:pt x="268" y="464"/>
                      <a:pt x="270" y="468"/>
                      <a:pt x="270" y="468"/>
                    </a:cubicBezTo>
                    <a:cubicBezTo>
                      <a:pt x="270" y="469"/>
                      <a:pt x="271" y="471"/>
                      <a:pt x="273" y="473"/>
                    </a:cubicBezTo>
                    <a:cubicBezTo>
                      <a:pt x="275" y="475"/>
                      <a:pt x="277" y="480"/>
                      <a:pt x="278" y="484"/>
                    </a:cubicBezTo>
                    <a:cubicBezTo>
                      <a:pt x="279" y="487"/>
                      <a:pt x="281" y="491"/>
                      <a:pt x="281" y="491"/>
                    </a:cubicBezTo>
                    <a:cubicBezTo>
                      <a:pt x="283" y="492"/>
                      <a:pt x="289" y="505"/>
                      <a:pt x="290" y="510"/>
                    </a:cubicBezTo>
                    <a:cubicBezTo>
                      <a:pt x="291" y="512"/>
                      <a:pt x="296" y="523"/>
                      <a:pt x="301" y="534"/>
                    </a:cubicBezTo>
                    <a:cubicBezTo>
                      <a:pt x="307" y="546"/>
                      <a:pt x="311" y="556"/>
                      <a:pt x="311" y="559"/>
                    </a:cubicBezTo>
                    <a:cubicBezTo>
                      <a:pt x="311" y="561"/>
                      <a:pt x="310" y="569"/>
                      <a:pt x="309" y="577"/>
                    </a:cubicBezTo>
                    <a:cubicBezTo>
                      <a:pt x="306" y="590"/>
                      <a:pt x="307" y="596"/>
                      <a:pt x="311" y="602"/>
                    </a:cubicBezTo>
                    <a:cubicBezTo>
                      <a:pt x="313" y="605"/>
                      <a:pt x="313" y="606"/>
                      <a:pt x="310" y="6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84" name="Freeform 44">
                <a:extLst>
                  <a:ext uri="{FF2B5EF4-FFF2-40B4-BE49-F238E27FC236}">
                    <a16:creationId xmlns:a16="http://schemas.microsoft.com/office/drawing/2014/main" id="{C2D99EBB-C707-4ADA-9331-D008F807F375}"/>
                  </a:ext>
                </a:extLst>
              </p:cNvPr>
              <p:cNvSpPr>
                <a:spLocks/>
              </p:cNvSpPr>
              <p:nvPr/>
            </p:nvSpPr>
            <p:spPr bwMode="auto">
              <a:xfrm>
                <a:off x="761457" y="3981933"/>
                <a:ext cx="392819" cy="620037"/>
              </a:xfrm>
              <a:custGeom>
                <a:avLst/>
                <a:gdLst>
                  <a:gd name="T0" fmla="*/ 67 w 86"/>
                  <a:gd name="T1" fmla="*/ 131 h 136"/>
                  <a:gd name="T2" fmla="*/ 44 w 86"/>
                  <a:gd name="T3" fmla="*/ 102 h 136"/>
                  <a:gd name="T4" fmla="*/ 40 w 86"/>
                  <a:gd name="T5" fmla="*/ 96 h 136"/>
                  <a:gd name="T6" fmla="*/ 31 w 86"/>
                  <a:gd name="T7" fmla="*/ 80 h 136"/>
                  <a:gd name="T8" fmla="*/ 27 w 86"/>
                  <a:gd name="T9" fmla="*/ 71 h 136"/>
                  <a:gd name="T10" fmla="*/ 21 w 86"/>
                  <a:gd name="T11" fmla="*/ 60 h 136"/>
                  <a:gd name="T12" fmla="*/ 13 w 86"/>
                  <a:gd name="T13" fmla="*/ 44 h 136"/>
                  <a:gd name="T14" fmla="*/ 5 w 86"/>
                  <a:gd name="T15" fmla="*/ 25 h 136"/>
                  <a:gd name="T16" fmla="*/ 1 w 86"/>
                  <a:gd name="T17" fmla="*/ 12 h 136"/>
                  <a:gd name="T18" fmla="*/ 4 w 86"/>
                  <a:gd name="T19" fmla="*/ 4 h 136"/>
                  <a:gd name="T20" fmla="*/ 11 w 86"/>
                  <a:gd name="T21" fmla="*/ 0 h 136"/>
                  <a:gd name="T22" fmla="*/ 36 w 86"/>
                  <a:gd name="T23" fmla="*/ 24 h 136"/>
                  <a:gd name="T24" fmla="*/ 45 w 86"/>
                  <a:gd name="T25" fmla="*/ 35 h 136"/>
                  <a:gd name="T26" fmla="*/ 51 w 86"/>
                  <a:gd name="T27" fmla="*/ 43 h 136"/>
                  <a:gd name="T28" fmla="*/ 57 w 86"/>
                  <a:gd name="T29" fmla="*/ 50 h 136"/>
                  <a:gd name="T30" fmla="*/ 63 w 86"/>
                  <a:gd name="T31" fmla="*/ 72 h 136"/>
                  <a:gd name="T32" fmla="*/ 71 w 86"/>
                  <a:gd name="T33" fmla="*/ 90 h 136"/>
                  <a:gd name="T34" fmla="*/ 82 w 86"/>
                  <a:gd name="T35" fmla="*/ 114 h 136"/>
                  <a:gd name="T36" fmla="*/ 85 w 86"/>
                  <a:gd name="T37" fmla="*/ 128 h 136"/>
                  <a:gd name="T38" fmla="*/ 86 w 86"/>
                  <a:gd name="T39" fmla="*/ 134 h 136"/>
                  <a:gd name="T40" fmla="*/ 67 w 86"/>
                  <a:gd name="T41" fmla="*/ 13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6" h="136">
                    <a:moveTo>
                      <a:pt x="67" y="131"/>
                    </a:moveTo>
                    <a:cubicBezTo>
                      <a:pt x="58" y="126"/>
                      <a:pt x="44" y="108"/>
                      <a:pt x="44" y="102"/>
                    </a:cubicBezTo>
                    <a:cubicBezTo>
                      <a:pt x="44" y="98"/>
                      <a:pt x="43" y="97"/>
                      <a:pt x="40" y="96"/>
                    </a:cubicBezTo>
                    <a:cubicBezTo>
                      <a:pt x="36" y="94"/>
                      <a:pt x="33" y="89"/>
                      <a:pt x="31" y="80"/>
                    </a:cubicBezTo>
                    <a:cubicBezTo>
                      <a:pt x="30" y="78"/>
                      <a:pt x="28" y="74"/>
                      <a:pt x="27" y="71"/>
                    </a:cubicBezTo>
                    <a:cubicBezTo>
                      <a:pt x="25" y="68"/>
                      <a:pt x="22" y="63"/>
                      <a:pt x="21" y="60"/>
                    </a:cubicBezTo>
                    <a:cubicBezTo>
                      <a:pt x="20" y="56"/>
                      <a:pt x="16" y="49"/>
                      <a:pt x="13" y="44"/>
                    </a:cubicBezTo>
                    <a:cubicBezTo>
                      <a:pt x="9" y="38"/>
                      <a:pt x="6" y="31"/>
                      <a:pt x="5" y="25"/>
                    </a:cubicBezTo>
                    <a:cubicBezTo>
                      <a:pt x="4" y="20"/>
                      <a:pt x="3" y="14"/>
                      <a:pt x="1" y="12"/>
                    </a:cubicBezTo>
                    <a:cubicBezTo>
                      <a:pt x="0" y="7"/>
                      <a:pt x="0" y="7"/>
                      <a:pt x="4" y="4"/>
                    </a:cubicBezTo>
                    <a:cubicBezTo>
                      <a:pt x="6" y="2"/>
                      <a:pt x="9" y="0"/>
                      <a:pt x="11" y="0"/>
                    </a:cubicBezTo>
                    <a:cubicBezTo>
                      <a:pt x="14" y="0"/>
                      <a:pt x="22" y="8"/>
                      <a:pt x="36" y="24"/>
                    </a:cubicBezTo>
                    <a:cubicBezTo>
                      <a:pt x="40" y="29"/>
                      <a:pt x="44" y="34"/>
                      <a:pt x="45" y="35"/>
                    </a:cubicBezTo>
                    <a:cubicBezTo>
                      <a:pt x="46" y="35"/>
                      <a:pt x="49" y="39"/>
                      <a:pt x="51" y="43"/>
                    </a:cubicBezTo>
                    <a:cubicBezTo>
                      <a:pt x="54" y="46"/>
                      <a:pt x="56" y="49"/>
                      <a:pt x="57" y="50"/>
                    </a:cubicBezTo>
                    <a:cubicBezTo>
                      <a:pt x="59" y="51"/>
                      <a:pt x="62" y="64"/>
                      <a:pt x="63" y="72"/>
                    </a:cubicBezTo>
                    <a:cubicBezTo>
                      <a:pt x="64" y="80"/>
                      <a:pt x="65" y="82"/>
                      <a:pt x="71" y="90"/>
                    </a:cubicBezTo>
                    <a:cubicBezTo>
                      <a:pt x="80" y="101"/>
                      <a:pt x="80" y="103"/>
                      <a:pt x="82" y="114"/>
                    </a:cubicBezTo>
                    <a:cubicBezTo>
                      <a:pt x="82" y="118"/>
                      <a:pt x="83" y="125"/>
                      <a:pt x="85" y="128"/>
                    </a:cubicBezTo>
                    <a:cubicBezTo>
                      <a:pt x="86" y="130"/>
                      <a:pt x="86" y="133"/>
                      <a:pt x="86" y="134"/>
                    </a:cubicBezTo>
                    <a:cubicBezTo>
                      <a:pt x="83" y="136"/>
                      <a:pt x="71" y="134"/>
                      <a:pt x="67" y="1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85" name="Freeform 46">
                <a:extLst>
                  <a:ext uri="{FF2B5EF4-FFF2-40B4-BE49-F238E27FC236}">
                    <a16:creationId xmlns:a16="http://schemas.microsoft.com/office/drawing/2014/main" id="{2FD7AC4A-BBE4-4359-A4A5-2521B9F66D8E}"/>
                  </a:ext>
                </a:extLst>
              </p:cNvPr>
              <p:cNvSpPr>
                <a:spLocks/>
              </p:cNvSpPr>
              <p:nvPr/>
            </p:nvSpPr>
            <p:spPr bwMode="auto">
              <a:xfrm>
                <a:off x="574675" y="3230956"/>
                <a:ext cx="152122" cy="423628"/>
              </a:xfrm>
              <a:custGeom>
                <a:avLst/>
                <a:gdLst>
                  <a:gd name="T0" fmla="*/ 8 w 33"/>
                  <a:gd name="T1" fmla="*/ 83 h 93"/>
                  <a:gd name="T2" fmla="*/ 1 w 33"/>
                  <a:gd name="T3" fmla="*/ 31 h 93"/>
                  <a:gd name="T4" fmla="*/ 3 w 33"/>
                  <a:gd name="T5" fmla="*/ 8 h 93"/>
                  <a:gd name="T6" fmla="*/ 5 w 33"/>
                  <a:gd name="T7" fmla="*/ 4 h 93"/>
                  <a:gd name="T8" fmla="*/ 17 w 33"/>
                  <a:gd name="T9" fmla="*/ 4 h 93"/>
                  <a:gd name="T10" fmla="*/ 33 w 33"/>
                  <a:gd name="T11" fmla="*/ 20 h 93"/>
                  <a:gd name="T12" fmla="*/ 20 w 33"/>
                  <a:gd name="T13" fmla="*/ 35 h 93"/>
                  <a:gd name="T14" fmla="*/ 11 w 33"/>
                  <a:gd name="T15" fmla="*/ 72 h 93"/>
                  <a:gd name="T16" fmla="*/ 14 w 33"/>
                  <a:gd name="T17" fmla="*/ 88 h 93"/>
                  <a:gd name="T18" fmla="*/ 8 w 33"/>
                  <a:gd name="T19" fmla="*/ 8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93">
                    <a:moveTo>
                      <a:pt x="8" y="83"/>
                    </a:moveTo>
                    <a:cubicBezTo>
                      <a:pt x="2" y="69"/>
                      <a:pt x="0" y="53"/>
                      <a:pt x="1" y="31"/>
                    </a:cubicBezTo>
                    <a:cubicBezTo>
                      <a:pt x="1" y="18"/>
                      <a:pt x="2" y="10"/>
                      <a:pt x="3" y="8"/>
                    </a:cubicBezTo>
                    <a:cubicBezTo>
                      <a:pt x="4" y="7"/>
                      <a:pt x="5" y="5"/>
                      <a:pt x="5" y="4"/>
                    </a:cubicBezTo>
                    <a:cubicBezTo>
                      <a:pt x="5" y="0"/>
                      <a:pt x="11" y="0"/>
                      <a:pt x="17" y="4"/>
                    </a:cubicBezTo>
                    <a:cubicBezTo>
                      <a:pt x="24" y="9"/>
                      <a:pt x="33" y="18"/>
                      <a:pt x="33" y="20"/>
                    </a:cubicBezTo>
                    <a:cubicBezTo>
                      <a:pt x="33" y="21"/>
                      <a:pt x="27" y="28"/>
                      <a:pt x="20" y="35"/>
                    </a:cubicBezTo>
                    <a:cubicBezTo>
                      <a:pt x="5" y="50"/>
                      <a:pt x="5" y="51"/>
                      <a:pt x="11" y="72"/>
                    </a:cubicBezTo>
                    <a:cubicBezTo>
                      <a:pt x="13" y="79"/>
                      <a:pt x="14" y="86"/>
                      <a:pt x="14" y="88"/>
                    </a:cubicBezTo>
                    <a:cubicBezTo>
                      <a:pt x="14" y="93"/>
                      <a:pt x="11" y="90"/>
                      <a:pt x="8"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5" name="Footer Placeholder 4">
            <a:extLst>
              <a:ext uri="{FF2B5EF4-FFF2-40B4-BE49-F238E27FC236}">
                <a16:creationId xmlns:a16="http://schemas.microsoft.com/office/drawing/2014/main" id="{0FD7C5C4-6B57-46DC-B970-690642CE72D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D457D636-BC73-4607-A915-F80B5B700C2B}"/>
              </a:ext>
            </a:extLst>
          </p:cNvPr>
          <p:cNvSpPr>
            <a:spLocks noGrp="1"/>
          </p:cNvSpPr>
          <p:nvPr>
            <p:ph type="sldNum" sz="quarter" idx="10"/>
          </p:nvPr>
        </p:nvSpPr>
        <p:spPr/>
        <p:txBody>
          <a:bodyPr/>
          <a:lstStyle/>
          <a:p>
            <a:fld id="{1F90F471-3972-4120-B8B3-0237DE626C35}" type="slidenum">
              <a:rPr lang="en-US" smtClean="0"/>
              <a:pPr/>
              <a:t>355</a:t>
            </a:fld>
            <a:endParaRPr lang="en-US" dirty="0"/>
          </a:p>
        </p:txBody>
      </p:sp>
    </p:spTree>
    <p:extLst>
      <p:ext uri="{BB962C8B-B14F-4D97-AF65-F5344CB8AC3E}">
        <p14:creationId xmlns:p14="http://schemas.microsoft.com/office/powerpoint/2010/main" val="1277766761"/>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United States</a:t>
            </a:r>
            <a:endParaRPr lang="de-DE" dirty="0"/>
          </a:p>
        </p:txBody>
      </p:sp>
      <p:sp>
        <p:nvSpPr>
          <p:cNvPr id="3" name="TextBox 2">
            <a:extLst>
              <a:ext uri="{FF2B5EF4-FFF2-40B4-BE49-F238E27FC236}">
                <a16:creationId xmlns:a16="http://schemas.microsoft.com/office/drawing/2014/main" id="{2479E5AD-EA0D-42FB-A756-E49B16036E31}"/>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shade one or more countries</a:t>
            </a:r>
          </a:p>
        </p:txBody>
      </p:sp>
      <p:grpSp>
        <p:nvGrpSpPr>
          <p:cNvPr id="996" name="Group 995" descr="Describe map here">
            <a:extLst>
              <a:ext uri="{FF2B5EF4-FFF2-40B4-BE49-F238E27FC236}">
                <a16:creationId xmlns:a16="http://schemas.microsoft.com/office/drawing/2014/main" id="{588DF327-E60C-484F-9604-1D02AE45050B}"/>
              </a:ext>
            </a:extLst>
          </p:cNvPr>
          <p:cNvGrpSpPr/>
          <p:nvPr/>
        </p:nvGrpSpPr>
        <p:grpSpPr>
          <a:xfrm>
            <a:off x="153594" y="2136269"/>
            <a:ext cx="2772437" cy="1563297"/>
            <a:chOff x="4276143" y="-1380367"/>
            <a:chExt cx="2772437" cy="1563297"/>
          </a:xfrm>
          <a:solidFill>
            <a:schemeClr val="tx2">
              <a:lumMod val="40000"/>
              <a:lumOff val="60000"/>
            </a:schemeClr>
          </a:solidFill>
        </p:grpSpPr>
        <p:sp>
          <p:nvSpPr>
            <p:cNvPr id="997" name="Freeform 874">
              <a:extLst>
                <a:ext uri="{FF2B5EF4-FFF2-40B4-BE49-F238E27FC236}">
                  <a16:creationId xmlns:a16="http://schemas.microsoft.com/office/drawing/2014/main" id="{E3995CA7-BC32-460E-9C74-FB5AE616E265}"/>
                </a:ext>
              </a:extLst>
            </p:cNvPr>
            <p:cNvSpPr>
              <a:spLocks noChangeArrowheads="1"/>
            </p:cNvSpPr>
            <p:nvPr/>
          </p:nvSpPr>
          <p:spPr bwMode="auto">
            <a:xfrm>
              <a:off x="5765104" y="-888398"/>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98" name="Freeform 875">
              <a:extLst>
                <a:ext uri="{FF2B5EF4-FFF2-40B4-BE49-F238E27FC236}">
                  <a16:creationId xmlns:a16="http://schemas.microsoft.com/office/drawing/2014/main" id="{9B917917-E355-4AA5-A269-1343085BD9C2}"/>
                </a:ext>
              </a:extLst>
            </p:cNvPr>
            <p:cNvSpPr>
              <a:spLocks noChangeArrowheads="1"/>
            </p:cNvSpPr>
            <p:nvPr/>
          </p:nvSpPr>
          <p:spPr bwMode="auto">
            <a:xfrm>
              <a:off x="5765104" y="-888398"/>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99" name="Freeform 876">
              <a:extLst>
                <a:ext uri="{FF2B5EF4-FFF2-40B4-BE49-F238E27FC236}">
                  <a16:creationId xmlns:a16="http://schemas.microsoft.com/office/drawing/2014/main" id="{F4A49F59-CF66-49B5-A3D7-AEC225C601C7}"/>
                </a:ext>
              </a:extLst>
            </p:cNvPr>
            <p:cNvSpPr>
              <a:spLocks noChangeArrowheads="1"/>
            </p:cNvSpPr>
            <p:nvPr/>
          </p:nvSpPr>
          <p:spPr bwMode="auto">
            <a:xfrm>
              <a:off x="5386748" y="-1380367"/>
              <a:ext cx="1661832" cy="1519602"/>
            </a:xfrm>
            <a:custGeom>
              <a:avLst/>
              <a:gdLst>
                <a:gd name="T0" fmla="*/ 232 w 4492"/>
                <a:gd name="T1" fmla="*/ 2245 h 4142"/>
                <a:gd name="T2" fmla="*/ 262 w 4492"/>
                <a:gd name="T3" fmla="*/ 2391 h 4142"/>
                <a:gd name="T4" fmla="*/ 350 w 4492"/>
                <a:gd name="T5" fmla="*/ 2712 h 4142"/>
                <a:gd name="T6" fmla="*/ 495 w 4492"/>
                <a:gd name="T7" fmla="*/ 2712 h 4142"/>
                <a:gd name="T8" fmla="*/ 700 w 4492"/>
                <a:gd name="T9" fmla="*/ 2828 h 4142"/>
                <a:gd name="T10" fmla="*/ 991 w 4492"/>
                <a:gd name="T11" fmla="*/ 2857 h 4142"/>
                <a:gd name="T12" fmla="*/ 553 w 4492"/>
                <a:gd name="T13" fmla="*/ 3295 h 4142"/>
                <a:gd name="T14" fmla="*/ 203 w 4492"/>
                <a:gd name="T15" fmla="*/ 3383 h 4142"/>
                <a:gd name="T16" fmla="*/ 145 w 4492"/>
                <a:gd name="T17" fmla="*/ 3499 h 4142"/>
                <a:gd name="T18" fmla="*/ 436 w 4492"/>
                <a:gd name="T19" fmla="*/ 3557 h 4142"/>
                <a:gd name="T20" fmla="*/ 670 w 4492"/>
                <a:gd name="T21" fmla="*/ 3383 h 4142"/>
                <a:gd name="T22" fmla="*/ 786 w 4492"/>
                <a:gd name="T23" fmla="*/ 3353 h 4142"/>
                <a:gd name="T24" fmla="*/ 1050 w 4492"/>
                <a:gd name="T25" fmla="*/ 3295 h 4142"/>
                <a:gd name="T26" fmla="*/ 1107 w 4492"/>
                <a:gd name="T27" fmla="*/ 3178 h 4142"/>
                <a:gd name="T28" fmla="*/ 1253 w 4492"/>
                <a:gd name="T29" fmla="*/ 3120 h 4142"/>
                <a:gd name="T30" fmla="*/ 1486 w 4492"/>
                <a:gd name="T31" fmla="*/ 3003 h 4142"/>
                <a:gd name="T32" fmla="*/ 1428 w 4492"/>
                <a:gd name="T33" fmla="*/ 2770 h 4142"/>
                <a:gd name="T34" fmla="*/ 1924 w 4492"/>
                <a:gd name="T35" fmla="*/ 2478 h 4142"/>
                <a:gd name="T36" fmla="*/ 2012 w 4492"/>
                <a:gd name="T37" fmla="*/ 2566 h 4142"/>
                <a:gd name="T38" fmla="*/ 1836 w 4492"/>
                <a:gd name="T39" fmla="*/ 2595 h 4142"/>
                <a:gd name="T40" fmla="*/ 1691 w 4492"/>
                <a:gd name="T41" fmla="*/ 2857 h 4142"/>
                <a:gd name="T42" fmla="*/ 1662 w 4492"/>
                <a:gd name="T43" fmla="*/ 2974 h 4142"/>
                <a:gd name="T44" fmla="*/ 1750 w 4492"/>
                <a:gd name="T45" fmla="*/ 3003 h 4142"/>
                <a:gd name="T46" fmla="*/ 1953 w 4492"/>
                <a:gd name="T47" fmla="*/ 2886 h 4142"/>
                <a:gd name="T48" fmla="*/ 2186 w 4492"/>
                <a:gd name="T49" fmla="*/ 2828 h 4142"/>
                <a:gd name="T50" fmla="*/ 2216 w 4492"/>
                <a:gd name="T51" fmla="*/ 2624 h 4142"/>
                <a:gd name="T52" fmla="*/ 2420 w 4492"/>
                <a:gd name="T53" fmla="*/ 2595 h 4142"/>
                <a:gd name="T54" fmla="*/ 2420 w 4492"/>
                <a:gd name="T55" fmla="*/ 2741 h 4142"/>
                <a:gd name="T56" fmla="*/ 2799 w 4492"/>
                <a:gd name="T57" fmla="*/ 2916 h 4142"/>
                <a:gd name="T58" fmla="*/ 3295 w 4492"/>
                <a:gd name="T59" fmla="*/ 3178 h 4142"/>
                <a:gd name="T60" fmla="*/ 3616 w 4492"/>
                <a:gd name="T61" fmla="*/ 3383 h 4142"/>
                <a:gd name="T62" fmla="*/ 3966 w 4492"/>
                <a:gd name="T63" fmla="*/ 3645 h 4142"/>
                <a:gd name="T64" fmla="*/ 4286 w 4492"/>
                <a:gd name="T65" fmla="*/ 3907 h 4142"/>
                <a:gd name="T66" fmla="*/ 4316 w 4492"/>
                <a:gd name="T67" fmla="*/ 3819 h 4142"/>
                <a:gd name="T68" fmla="*/ 3878 w 4492"/>
                <a:gd name="T69" fmla="*/ 3236 h 4142"/>
                <a:gd name="T70" fmla="*/ 3324 w 4492"/>
                <a:gd name="T71" fmla="*/ 2916 h 4142"/>
                <a:gd name="T72" fmla="*/ 3033 w 4492"/>
                <a:gd name="T73" fmla="*/ 553 h 4142"/>
                <a:gd name="T74" fmla="*/ 2624 w 4492"/>
                <a:gd name="T75" fmla="*/ 436 h 4142"/>
                <a:gd name="T76" fmla="*/ 2303 w 4492"/>
                <a:gd name="T77" fmla="*/ 233 h 4142"/>
                <a:gd name="T78" fmla="*/ 2012 w 4492"/>
                <a:gd name="T79" fmla="*/ 0 h 4142"/>
                <a:gd name="T80" fmla="*/ 1633 w 4492"/>
                <a:gd name="T81" fmla="*/ 86 h 4142"/>
                <a:gd name="T82" fmla="*/ 1136 w 4492"/>
                <a:gd name="T83" fmla="*/ 320 h 4142"/>
                <a:gd name="T84" fmla="*/ 903 w 4492"/>
                <a:gd name="T85" fmla="*/ 436 h 4142"/>
                <a:gd name="T86" fmla="*/ 1195 w 4492"/>
                <a:gd name="T87" fmla="*/ 874 h 4142"/>
                <a:gd name="T88" fmla="*/ 1050 w 4492"/>
                <a:gd name="T89" fmla="*/ 1020 h 4142"/>
                <a:gd name="T90" fmla="*/ 466 w 4492"/>
                <a:gd name="T91" fmla="*/ 845 h 4142"/>
                <a:gd name="T92" fmla="*/ 729 w 4492"/>
                <a:gd name="T93" fmla="*/ 1341 h 4142"/>
                <a:gd name="T94" fmla="*/ 874 w 4492"/>
                <a:gd name="T95" fmla="*/ 1399 h 4142"/>
                <a:gd name="T96" fmla="*/ 933 w 4492"/>
                <a:gd name="T97" fmla="*/ 1457 h 4142"/>
                <a:gd name="T98" fmla="*/ 816 w 4492"/>
                <a:gd name="T99" fmla="*/ 1662 h 4142"/>
                <a:gd name="T100" fmla="*/ 583 w 4492"/>
                <a:gd name="T101" fmla="*/ 1836 h 4142"/>
                <a:gd name="T102" fmla="*/ 350 w 4492"/>
                <a:gd name="T103" fmla="*/ 1778 h 4142"/>
                <a:gd name="T104" fmla="*/ 203 w 4492"/>
                <a:gd name="T105" fmla="*/ 1836 h 4142"/>
                <a:gd name="T106" fmla="*/ 232 w 4492"/>
                <a:gd name="T107" fmla="*/ 2041 h 4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92" h="4142">
                  <a:moveTo>
                    <a:pt x="232" y="2157"/>
                  </a:moveTo>
                  <a:lnTo>
                    <a:pt x="232" y="2157"/>
                  </a:lnTo>
                  <a:cubicBezTo>
                    <a:pt x="232" y="2128"/>
                    <a:pt x="203" y="2128"/>
                    <a:pt x="174" y="2128"/>
                  </a:cubicBezTo>
                  <a:cubicBezTo>
                    <a:pt x="116" y="2157"/>
                    <a:pt x="174" y="2245"/>
                    <a:pt x="232" y="2245"/>
                  </a:cubicBezTo>
                  <a:cubicBezTo>
                    <a:pt x="232" y="2245"/>
                    <a:pt x="232" y="2216"/>
                    <a:pt x="262" y="2216"/>
                  </a:cubicBezTo>
                  <a:cubicBezTo>
                    <a:pt x="291" y="2216"/>
                    <a:pt x="320" y="2245"/>
                    <a:pt x="320" y="2274"/>
                  </a:cubicBezTo>
                  <a:cubicBezTo>
                    <a:pt x="320" y="2303"/>
                    <a:pt x="262" y="2274"/>
                    <a:pt x="262" y="2303"/>
                  </a:cubicBezTo>
                  <a:cubicBezTo>
                    <a:pt x="262" y="2333"/>
                    <a:pt x="262" y="2362"/>
                    <a:pt x="262" y="2391"/>
                  </a:cubicBezTo>
                  <a:cubicBezTo>
                    <a:pt x="291" y="2391"/>
                    <a:pt x="320" y="2449"/>
                    <a:pt x="350" y="2449"/>
                  </a:cubicBezTo>
                  <a:cubicBezTo>
                    <a:pt x="407" y="2478"/>
                    <a:pt x="436" y="2420"/>
                    <a:pt x="495" y="2420"/>
                  </a:cubicBezTo>
                  <a:cubicBezTo>
                    <a:pt x="466" y="2478"/>
                    <a:pt x="407" y="2536"/>
                    <a:pt x="436" y="2624"/>
                  </a:cubicBezTo>
                  <a:cubicBezTo>
                    <a:pt x="379" y="2653"/>
                    <a:pt x="407" y="2712"/>
                    <a:pt x="350" y="2712"/>
                  </a:cubicBezTo>
                  <a:lnTo>
                    <a:pt x="291" y="2712"/>
                  </a:lnTo>
                  <a:cubicBezTo>
                    <a:pt x="291" y="2741"/>
                    <a:pt x="291" y="2741"/>
                    <a:pt x="291" y="2741"/>
                  </a:cubicBezTo>
                  <a:cubicBezTo>
                    <a:pt x="350" y="2770"/>
                    <a:pt x="436" y="2770"/>
                    <a:pt x="495" y="2770"/>
                  </a:cubicBezTo>
                  <a:cubicBezTo>
                    <a:pt x="466" y="2741"/>
                    <a:pt x="466" y="2741"/>
                    <a:pt x="495" y="2712"/>
                  </a:cubicBezTo>
                  <a:cubicBezTo>
                    <a:pt x="524" y="2712"/>
                    <a:pt x="524" y="2712"/>
                    <a:pt x="524" y="2712"/>
                  </a:cubicBezTo>
                  <a:cubicBezTo>
                    <a:pt x="553" y="2712"/>
                    <a:pt x="553" y="2683"/>
                    <a:pt x="583" y="2683"/>
                  </a:cubicBezTo>
                  <a:cubicBezTo>
                    <a:pt x="583" y="2712"/>
                    <a:pt x="583" y="2741"/>
                    <a:pt x="583" y="2741"/>
                  </a:cubicBezTo>
                  <a:cubicBezTo>
                    <a:pt x="612" y="2770"/>
                    <a:pt x="670" y="2770"/>
                    <a:pt x="700" y="2828"/>
                  </a:cubicBezTo>
                  <a:cubicBezTo>
                    <a:pt x="729" y="2857"/>
                    <a:pt x="700" y="2916"/>
                    <a:pt x="729" y="2974"/>
                  </a:cubicBezTo>
                  <a:cubicBezTo>
                    <a:pt x="816" y="3003"/>
                    <a:pt x="757" y="2886"/>
                    <a:pt x="786" y="2857"/>
                  </a:cubicBezTo>
                  <a:cubicBezTo>
                    <a:pt x="816" y="2886"/>
                    <a:pt x="786" y="2916"/>
                    <a:pt x="816" y="2945"/>
                  </a:cubicBezTo>
                  <a:cubicBezTo>
                    <a:pt x="903" y="2945"/>
                    <a:pt x="933" y="2886"/>
                    <a:pt x="991" y="2857"/>
                  </a:cubicBezTo>
                  <a:cubicBezTo>
                    <a:pt x="991" y="2974"/>
                    <a:pt x="845" y="2945"/>
                    <a:pt x="874" y="3033"/>
                  </a:cubicBezTo>
                  <a:cubicBezTo>
                    <a:pt x="816" y="3033"/>
                    <a:pt x="786" y="3091"/>
                    <a:pt x="757" y="3149"/>
                  </a:cubicBezTo>
                  <a:cubicBezTo>
                    <a:pt x="729" y="3149"/>
                    <a:pt x="729" y="3149"/>
                    <a:pt x="729" y="3149"/>
                  </a:cubicBezTo>
                  <a:cubicBezTo>
                    <a:pt x="670" y="3207"/>
                    <a:pt x="583" y="3207"/>
                    <a:pt x="553" y="3295"/>
                  </a:cubicBezTo>
                  <a:cubicBezTo>
                    <a:pt x="495" y="3266"/>
                    <a:pt x="436" y="3324"/>
                    <a:pt x="379" y="3324"/>
                  </a:cubicBezTo>
                  <a:cubicBezTo>
                    <a:pt x="379" y="3353"/>
                    <a:pt x="350" y="3383"/>
                    <a:pt x="320" y="3383"/>
                  </a:cubicBezTo>
                  <a:cubicBezTo>
                    <a:pt x="320" y="3324"/>
                    <a:pt x="203" y="3353"/>
                    <a:pt x="203" y="3353"/>
                  </a:cubicBezTo>
                  <a:cubicBezTo>
                    <a:pt x="174" y="3383"/>
                    <a:pt x="203" y="3383"/>
                    <a:pt x="203" y="3383"/>
                  </a:cubicBezTo>
                  <a:cubicBezTo>
                    <a:pt x="145" y="3383"/>
                    <a:pt x="58" y="3412"/>
                    <a:pt x="0" y="3441"/>
                  </a:cubicBezTo>
                  <a:cubicBezTo>
                    <a:pt x="29" y="3469"/>
                    <a:pt x="29" y="3499"/>
                    <a:pt x="58" y="3528"/>
                  </a:cubicBezTo>
                  <a:cubicBezTo>
                    <a:pt x="145" y="3557"/>
                    <a:pt x="116" y="3469"/>
                    <a:pt x="174" y="3441"/>
                  </a:cubicBezTo>
                  <a:cubicBezTo>
                    <a:pt x="174" y="3469"/>
                    <a:pt x="116" y="3499"/>
                    <a:pt x="145" y="3499"/>
                  </a:cubicBezTo>
                  <a:cubicBezTo>
                    <a:pt x="203" y="3528"/>
                    <a:pt x="291" y="3557"/>
                    <a:pt x="291" y="3499"/>
                  </a:cubicBezTo>
                  <a:cubicBezTo>
                    <a:pt x="350" y="3499"/>
                    <a:pt x="379" y="3499"/>
                    <a:pt x="407" y="3469"/>
                  </a:cubicBezTo>
                  <a:cubicBezTo>
                    <a:pt x="379" y="3499"/>
                    <a:pt x="379" y="3499"/>
                    <a:pt x="379" y="3528"/>
                  </a:cubicBezTo>
                  <a:cubicBezTo>
                    <a:pt x="407" y="3557"/>
                    <a:pt x="407" y="3586"/>
                    <a:pt x="436" y="3557"/>
                  </a:cubicBezTo>
                  <a:cubicBezTo>
                    <a:pt x="466" y="3528"/>
                    <a:pt x="466" y="3499"/>
                    <a:pt x="466" y="3469"/>
                  </a:cubicBezTo>
                  <a:cubicBezTo>
                    <a:pt x="524" y="3499"/>
                    <a:pt x="670" y="3499"/>
                    <a:pt x="670" y="3441"/>
                  </a:cubicBezTo>
                  <a:cubicBezTo>
                    <a:pt x="670" y="3412"/>
                    <a:pt x="641" y="3412"/>
                    <a:pt x="641" y="3412"/>
                  </a:cubicBezTo>
                  <a:cubicBezTo>
                    <a:pt x="641" y="3383"/>
                    <a:pt x="641" y="3383"/>
                    <a:pt x="670" y="3383"/>
                  </a:cubicBezTo>
                  <a:cubicBezTo>
                    <a:pt x="670" y="3383"/>
                    <a:pt x="670" y="3441"/>
                    <a:pt x="729" y="3412"/>
                  </a:cubicBezTo>
                  <a:cubicBezTo>
                    <a:pt x="729" y="3412"/>
                    <a:pt x="729" y="3412"/>
                    <a:pt x="757" y="3383"/>
                  </a:cubicBezTo>
                  <a:cubicBezTo>
                    <a:pt x="757" y="3412"/>
                    <a:pt x="757" y="3412"/>
                    <a:pt x="786" y="3412"/>
                  </a:cubicBezTo>
                  <a:cubicBezTo>
                    <a:pt x="786" y="3383"/>
                    <a:pt x="786" y="3353"/>
                    <a:pt x="786" y="3353"/>
                  </a:cubicBezTo>
                  <a:cubicBezTo>
                    <a:pt x="816" y="3353"/>
                    <a:pt x="816" y="3383"/>
                    <a:pt x="816" y="3383"/>
                  </a:cubicBezTo>
                  <a:cubicBezTo>
                    <a:pt x="845" y="3383"/>
                    <a:pt x="845" y="3383"/>
                    <a:pt x="845" y="3383"/>
                  </a:cubicBezTo>
                  <a:cubicBezTo>
                    <a:pt x="903" y="3295"/>
                    <a:pt x="962" y="3295"/>
                    <a:pt x="1050" y="3236"/>
                  </a:cubicBezTo>
                  <a:cubicBezTo>
                    <a:pt x="1050" y="3266"/>
                    <a:pt x="1050" y="3266"/>
                    <a:pt x="1050" y="3295"/>
                  </a:cubicBezTo>
                  <a:lnTo>
                    <a:pt x="1079" y="3295"/>
                  </a:lnTo>
                  <a:cubicBezTo>
                    <a:pt x="1107" y="3266"/>
                    <a:pt x="1079" y="3207"/>
                    <a:pt x="1079" y="3178"/>
                  </a:cubicBezTo>
                  <a:cubicBezTo>
                    <a:pt x="1079" y="3207"/>
                    <a:pt x="1050" y="3178"/>
                    <a:pt x="1050" y="3178"/>
                  </a:cubicBezTo>
                  <a:cubicBezTo>
                    <a:pt x="1050" y="3149"/>
                    <a:pt x="1107" y="3149"/>
                    <a:pt x="1107" y="3178"/>
                  </a:cubicBezTo>
                  <a:cubicBezTo>
                    <a:pt x="1107" y="3207"/>
                    <a:pt x="1107" y="3207"/>
                    <a:pt x="1107" y="3236"/>
                  </a:cubicBezTo>
                  <a:cubicBezTo>
                    <a:pt x="1166" y="3236"/>
                    <a:pt x="1136" y="3178"/>
                    <a:pt x="1195" y="3178"/>
                  </a:cubicBezTo>
                  <a:cubicBezTo>
                    <a:pt x="1195" y="3207"/>
                    <a:pt x="1224" y="3207"/>
                    <a:pt x="1253" y="3207"/>
                  </a:cubicBezTo>
                  <a:cubicBezTo>
                    <a:pt x="1253" y="3178"/>
                    <a:pt x="1253" y="3120"/>
                    <a:pt x="1253" y="3120"/>
                  </a:cubicBezTo>
                  <a:cubicBezTo>
                    <a:pt x="1312" y="3149"/>
                    <a:pt x="1312" y="3091"/>
                    <a:pt x="1341" y="3091"/>
                  </a:cubicBezTo>
                  <a:cubicBezTo>
                    <a:pt x="1341" y="3091"/>
                    <a:pt x="1341" y="3091"/>
                    <a:pt x="1370" y="3062"/>
                  </a:cubicBezTo>
                  <a:cubicBezTo>
                    <a:pt x="1370" y="3062"/>
                    <a:pt x="1370" y="3091"/>
                    <a:pt x="1400" y="3091"/>
                  </a:cubicBezTo>
                  <a:cubicBezTo>
                    <a:pt x="1428" y="3062"/>
                    <a:pt x="1428" y="3003"/>
                    <a:pt x="1486" y="3003"/>
                  </a:cubicBezTo>
                  <a:lnTo>
                    <a:pt x="1486" y="2974"/>
                  </a:lnTo>
                  <a:cubicBezTo>
                    <a:pt x="1457" y="2974"/>
                    <a:pt x="1428" y="2974"/>
                    <a:pt x="1400" y="2974"/>
                  </a:cubicBezTo>
                  <a:cubicBezTo>
                    <a:pt x="1400" y="2916"/>
                    <a:pt x="1370" y="2916"/>
                    <a:pt x="1370" y="2857"/>
                  </a:cubicBezTo>
                  <a:cubicBezTo>
                    <a:pt x="1400" y="2857"/>
                    <a:pt x="1428" y="2799"/>
                    <a:pt x="1428" y="2770"/>
                  </a:cubicBezTo>
                  <a:cubicBezTo>
                    <a:pt x="1486" y="2799"/>
                    <a:pt x="1545" y="2799"/>
                    <a:pt x="1603" y="2799"/>
                  </a:cubicBezTo>
                  <a:cubicBezTo>
                    <a:pt x="1603" y="2683"/>
                    <a:pt x="1691" y="2653"/>
                    <a:pt x="1720" y="2566"/>
                  </a:cubicBezTo>
                  <a:cubicBezTo>
                    <a:pt x="1750" y="2566"/>
                    <a:pt x="1750" y="2595"/>
                    <a:pt x="1778" y="2595"/>
                  </a:cubicBezTo>
                  <a:cubicBezTo>
                    <a:pt x="1807" y="2536"/>
                    <a:pt x="1895" y="2507"/>
                    <a:pt x="1924" y="2478"/>
                  </a:cubicBezTo>
                  <a:lnTo>
                    <a:pt x="1924" y="2507"/>
                  </a:lnTo>
                  <a:cubicBezTo>
                    <a:pt x="1983" y="2507"/>
                    <a:pt x="2012" y="2449"/>
                    <a:pt x="2041" y="2478"/>
                  </a:cubicBezTo>
                  <a:cubicBezTo>
                    <a:pt x="2012" y="2507"/>
                    <a:pt x="1983" y="2507"/>
                    <a:pt x="1953" y="2566"/>
                  </a:cubicBezTo>
                  <a:cubicBezTo>
                    <a:pt x="1953" y="2566"/>
                    <a:pt x="1983" y="2566"/>
                    <a:pt x="2012" y="2566"/>
                  </a:cubicBezTo>
                  <a:cubicBezTo>
                    <a:pt x="2041" y="2595"/>
                    <a:pt x="2100" y="2624"/>
                    <a:pt x="2070" y="2683"/>
                  </a:cubicBezTo>
                  <a:cubicBezTo>
                    <a:pt x="2041" y="2653"/>
                    <a:pt x="2041" y="2624"/>
                    <a:pt x="2012" y="2595"/>
                  </a:cubicBezTo>
                  <a:cubicBezTo>
                    <a:pt x="1953" y="2624"/>
                    <a:pt x="1953" y="2566"/>
                    <a:pt x="1895" y="2566"/>
                  </a:cubicBezTo>
                  <a:cubicBezTo>
                    <a:pt x="1866" y="2566"/>
                    <a:pt x="1866" y="2595"/>
                    <a:pt x="1836" y="2595"/>
                  </a:cubicBezTo>
                  <a:cubicBezTo>
                    <a:pt x="1807" y="2595"/>
                    <a:pt x="1778" y="2595"/>
                    <a:pt x="1750" y="2624"/>
                  </a:cubicBezTo>
                  <a:cubicBezTo>
                    <a:pt x="1778" y="2624"/>
                    <a:pt x="1778" y="2624"/>
                    <a:pt x="1778" y="2653"/>
                  </a:cubicBezTo>
                  <a:cubicBezTo>
                    <a:pt x="1720" y="2712"/>
                    <a:pt x="1662" y="2770"/>
                    <a:pt x="1662" y="2857"/>
                  </a:cubicBezTo>
                  <a:cubicBezTo>
                    <a:pt x="1691" y="2857"/>
                    <a:pt x="1691" y="2857"/>
                    <a:pt x="1691" y="2857"/>
                  </a:cubicBezTo>
                  <a:cubicBezTo>
                    <a:pt x="1720" y="2857"/>
                    <a:pt x="1750" y="2770"/>
                    <a:pt x="1807" y="2828"/>
                  </a:cubicBezTo>
                  <a:cubicBezTo>
                    <a:pt x="1750" y="2857"/>
                    <a:pt x="1691" y="2886"/>
                    <a:pt x="1633" y="2886"/>
                  </a:cubicBezTo>
                  <a:cubicBezTo>
                    <a:pt x="1633" y="2916"/>
                    <a:pt x="1603" y="2945"/>
                    <a:pt x="1603" y="2974"/>
                  </a:cubicBezTo>
                  <a:cubicBezTo>
                    <a:pt x="1633" y="2974"/>
                    <a:pt x="1662" y="2974"/>
                    <a:pt x="1662" y="2974"/>
                  </a:cubicBezTo>
                  <a:cubicBezTo>
                    <a:pt x="1662" y="2974"/>
                    <a:pt x="1662" y="3003"/>
                    <a:pt x="1691" y="3003"/>
                  </a:cubicBezTo>
                  <a:cubicBezTo>
                    <a:pt x="1720" y="3003"/>
                    <a:pt x="1691" y="2974"/>
                    <a:pt x="1720" y="2974"/>
                  </a:cubicBezTo>
                  <a:lnTo>
                    <a:pt x="1750" y="2974"/>
                  </a:lnTo>
                  <a:cubicBezTo>
                    <a:pt x="1750" y="3003"/>
                    <a:pt x="1750" y="3003"/>
                    <a:pt x="1750" y="3003"/>
                  </a:cubicBezTo>
                  <a:cubicBezTo>
                    <a:pt x="1836" y="3003"/>
                    <a:pt x="1836" y="2945"/>
                    <a:pt x="1836" y="2857"/>
                  </a:cubicBezTo>
                  <a:cubicBezTo>
                    <a:pt x="1866" y="2857"/>
                    <a:pt x="1895" y="2857"/>
                    <a:pt x="1895" y="2857"/>
                  </a:cubicBezTo>
                  <a:cubicBezTo>
                    <a:pt x="1895" y="2886"/>
                    <a:pt x="1866" y="2886"/>
                    <a:pt x="1866" y="2916"/>
                  </a:cubicBezTo>
                  <a:cubicBezTo>
                    <a:pt x="1895" y="2945"/>
                    <a:pt x="1924" y="2886"/>
                    <a:pt x="1953" y="2886"/>
                  </a:cubicBezTo>
                  <a:cubicBezTo>
                    <a:pt x="1953" y="2886"/>
                    <a:pt x="1953" y="2886"/>
                    <a:pt x="1983" y="2886"/>
                  </a:cubicBezTo>
                  <a:lnTo>
                    <a:pt x="2012" y="2857"/>
                  </a:lnTo>
                  <a:cubicBezTo>
                    <a:pt x="2041" y="2886"/>
                    <a:pt x="2070" y="2886"/>
                    <a:pt x="2128" y="2886"/>
                  </a:cubicBezTo>
                  <a:cubicBezTo>
                    <a:pt x="2157" y="2857"/>
                    <a:pt x="2157" y="2828"/>
                    <a:pt x="2186" y="2828"/>
                  </a:cubicBezTo>
                  <a:cubicBezTo>
                    <a:pt x="2186" y="2799"/>
                    <a:pt x="2157" y="2799"/>
                    <a:pt x="2186" y="2770"/>
                  </a:cubicBezTo>
                  <a:lnTo>
                    <a:pt x="2216" y="2799"/>
                  </a:lnTo>
                  <a:cubicBezTo>
                    <a:pt x="2303" y="2712"/>
                    <a:pt x="2157" y="2712"/>
                    <a:pt x="2157" y="2653"/>
                  </a:cubicBezTo>
                  <a:lnTo>
                    <a:pt x="2216" y="2624"/>
                  </a:lnTo>
                  <a:cubicBezTo>
                    <a:pt x="2216" y="2653"/>
                    <a:pt x="2245" y="2683"/>
                    <a:pt x="2274" y="2683"/>
                  </a:cubicBezTo>
                  <a:cubicBezTo>
                    <a:pt x="2274" y="2683"/>
                    <a:pt x="2274" y="2653"/>
                    <a:pt x="2303" y="2653"/>
                  </a:cubicBezTo>
                  <a:cubicBezTo>
                    <a:pt x="2303" y="2653"/>
                    <a:pt x="2303" y="2683"/>
                    <a:pt x="2333" y="2653"/>
                  </a:cubicBezTo>
                  <a:cubicBezTo>
                    <a:pt x="2362" y="2653"/>
                    <a:pt x="2362" y="2595"/>
                    <a:pt x="2420" y="2595"/>
                  </a:cubicBezTo>
                  <a:cubicBezTo>
                    <a:pt x="2420" y="2624"/>
                    <a:pt x="2362" y="2624"/>
                    <a:pt x="2391" y="2683"/>
                  </a:cubicBezTo>
                  <a:cubicBezTo>
                    <a:pt x="2420" y="2683"/>
                    <a:pt x="2478" y="2595"/>
                    <a:pt x="2507" y="2683"/>
                  </a:cubicBezTo>
                  <a:cubicBezTo>
                    <a:pt x="2449" y="2683"/>
                    <a:pt x="2362" y="2683"/>
                    <a:pt x="2333" y="2741"/>
                  </a:cubicBezTo>
                  <a:cubicBezTo>
                    <a:pt x="2362" y="2741"/>
                    <a:pt x="2391" y="2741"/>
                    <a:pt x="2420" y="2741"/>
                  </a:cubicBezTo>
                  <a:cubicBezTo>
                    <a:pt x="2420" y="2770"/>
                    <a:pt x="2507" y="2741"/>
                    <a:pt x="2507" y="2770"/>
                  </a:cubicBezTo>
                  <a:cubicBezTo>
                    <a:pt x="2507" y="2799"/>
                    <a:pt x="2507" y="2799"/>
                    <a:pt x="2507" y="2828"/>
                  </a:cubicBezTo>
                  <a:cubicBezTo>
                    <a:pt x="2536" y="2857"/>
                    <a:pt x="2566" y="2857"/>
                    <a:pt x="2595" y="2857"/>
                  </a:cubicBezTo>
                  <a:cubicBezTo>
                    <a:pt x="2595" y="2974"/>
                    <a:pt x="2712" y="2886"/>
                    <a:pt x="2799" y="2916"/>
                  </a:cubicBezTo>
                  <a:cubicBezTo>
                    <a:pt x="2828" y="2916"/>
                    <a:pt x="2828" y="2945"/>
                    <a:pt x="2857" y="2945"/>
                  </a:cubicBezTo>
                  <a:cubicBezTo>
                    <a:pt x="2916" y="2945"/>
                    <a:pt x="2916" y="2974"/>
                    <a:pt x="2974" y="2974"/>
                  </a:cubicBezTo>
                  <a:cubicBezTo>
                    <a:pt x="3033" y="3003"/>
                    <a:pt x="3120" y="3003"/>
                    <a:pt x="3120" y="3062"/>
                  </a:cubicBezTo>
                  <a:cubicBezTo>
                    <a:pt x="3178" y="3091"/>
                    <a:pt x="3207" y="3178"/>
                    <a:pt x="3295" y="3178"/>
                  </a:cubicBezTo>
                  <a:cubicBezTo>
                    <a:pt x="3324" y="3207"/>
                    <a:pt x="3383" y="3178"/>
                    <a:pt x="3383" y="3207"/>
                  </a:cubicBezTo>
                  <a:cubicBezTo>
                    <a:pt x="3412" y="3324"/>
                    <a:pt x="3470" y="3353"/>
                    <a:pt x="3528" y="3412"/>
                  </a:cubicBezTo>
                  <a:cubicBezTo>
                    <a:pt x="3557" y="3383"/>
                    <a:pt x="3557" y="3412"/>
                    <a:pt x="3616" y="3412"/>
                  </a:cubicBezTo>
                  <a:lnTo>
                    <a:pt x="3616" y="3383"/>
                  </a:lnTo>
                  <a:cubicBezTo>
                    <a:pt x="3674" y="3383"/>
                    <a:pt x="3762" y="3412"/>
                    <a:pt x="3791" y="3441"/>
                  </a:cubicBezTo>
                  <a:cubicBezTo>
                    <a:pt x="3820" y="3528"/>
                    <a:pt x="3791" y="3645"/>
                    <a:pt x="3849" y="3703"/>
                  </a:cubicBezTo>
                  <a:cubicBezTo>
                    <a:pt x="3878" y="3674"/>
                    <a:pt x="3878" y="3586"/>
                    <a:pt x="3936" y="3557"/>
                  </a:cubicBezTo>
                  <a:cubicBezTo>
                    <a:pt x="3966" y="3586"/>
                    <a:pt x="3936" y="3616"/>
                    <a:pt x="3966" y="3645"/>
                  </a:cubicBezTo>
                  <a:cubicBezTo>
                    <a:pt x="4024" y="3645"/>
                    <a:pt x="4083" y="3674"/>
                    <a:pt x="4141" y="3674"/>
                  </a:cubicBezTo>
                  <a:cubicBezTo>
                    <a:pt x="4112" y="3791"/>
                    <a:pt x="4199" y="3819"/>
                    <a:pt x="4228" y="3878"/>
                  </a:cubicBezTo>
                  <a:cubicBezTo>
                    <a:pt x="4199" y="3907"/>
                    <a:pt x="4199" y="3936"/>
                    <a:pt x="4169" y="3966"/>
                  </a:cubicBezTo>
                  <a:cubicBezTo>
                    <a:pt x="4228" y="3995"/>
                    <a:pt x="4228" y="3907"/>
                    <a:pt x="4286" y="3907"/>
                  </a:cubicBezTo>
                  <a:cubicBezTo>
                    <a:pt x="4345" y="3907"/>
                    <a:pt x="4345" y="4024"/>
                    <a:pt x="4345" y="4083"/>
                  </a:cubicBezTo>
                  <a:cubicBezTo>
                    <a:pt x="4433" y="4141"/>
                    <a:pt x="4462" y="4053"/>
                    <a:pt x="4491" y="4053"/>
                  </a:cubicBezTo>
                  <a:cubicBezTo>
                    <a:pt x="4462" y="3995"/>
                    <a:pt x="4433" y="3907"/>
                    <a:pt x="4374" y="3849"/>
                  </a:cubicBezTo>
                  <a:cubicBezTo>
                    <a:pt x="4374" y="3849"/>
                    <a:pt x="4345" y="3819"/>
                    <a:pt x="4316" y="3819"/>
                  </a:cubicBezTo>
                  <a:cubicBezTo>
                    <a:pt x="4286" y="3762"/>
                    <a:pt x="4316" y="3645"/>
                    <a:pt x="4257" y="3645"/>
                  </a:cubicBezTo>
                  <a:cubicBezTo>
                    <a:pt x="4228" y="3616"/>
                    <a:pt x="4169" y="3645"/>
                    <a:pt x="4141" y="3616"/>
                  </a:cubicBezTo>
                  <a:cubicBezTo>
                    <a:pt x="4112" y="3586"/>
                    <a:pt x="4083" y="3528"/>
                    <a:pt x="4083" y="3499"/>
                  </a:cubicBezTo>
                  <a:cubicBezTo>
                    <a:pt x="4024" y="3383"/>
                    <a:pt x="3966" y="3353"/>
                    <a:pt x="3878" y="3236"/>
                  </a:cubicBezTo>
                  <a:cubicBezTo>
                    <a:pt x="3820" y="3149"/>
                    <a:pt x="3791" y="3033"/>
                    <a:pt x="3616" y="3062"/>
                  </a:cubicBezTo>
                  <a:cubicBezTo>
                    <a:pt x="3557" y="3120"/>
                    <a:pt x="3557" y="3178"/>
                    <a:pt x="3528" y="3236"/>
                  </a:cubicBezTo>
                  <a:cubicBezTo>
                    <a:pt x="3499" y="3178"/>
                    <a:pt x="3412" y="3149"/>
                    <a:pt x="3383" y="3062"/>
                  </a:cubicBezTo>
                  <a:cubicBezTo>
                    <a:pt x="3353" y="3033"/>
                    <a:pt x="3383" y="2945"/>
                    <a:pt x="3324" y="2916"/>
                  </a:cubicBezTo>
                  <a:cubicBezTo>
                    <a:pt x="3266" y="2945"/>
                    <a:pt x="3178" y="2945"/>
                    <a:pt x="3149" y="2916"/>
                  </a:cubicBezTo>
                  <a:cubicBezTo>
                    <a:pt x="3120" y="2916"/>
                    <a:pt x="3091" y="2886"/>
                    <a:pt x="3033" y="2886"/>
                  </a:cubicBezTo>
                  <a:cubicBezTo>
                    <a:pt x="3091" y="2128"/>
                    <a:pt x="3120" y="1370"/>
                    <a:pt x="3178" y="612"/>
                  </a:cubicBezTo>
                  <a:cubicBezTo>
                    <a:pt x="3120" y="583"/>
                    <a:pt x="3091" y="553"/>
                    <a:pt x="3033" y="553"/>
                  </a:cubicBezTo>
                  <a:cubicBezTo>
                    <a:pt x="3033" y="524"/>
                    <a:pt x="3062" y="495"/>
                    <a:pt x="3033" y="466"/>
                  </a:cubicBezTo>
                  <a:cubicBezTo>
                    <a:pt x="2974" y="466"/>
                    <a:pt x="2945" y="524"/>
                    <a:pt x="2857" y="524"/>
                  </a:cubicBezTo>
                  <a:cubicBezTo>
                    <a:pt x="2828" y="495"/>
                    <a:pt x="2741" y="466"/>
                    <a:pt x="2653" y="495"/>
                  </a:cubicBezTo>
                  <a:cubicBezTo>
                    <a:pt x="2653" y="466"/>
                    <a:pt x="2653" y="436"/>
                    <a:pt x="2624" y="436"/>
                  </a:cubicBezTo>
                  <a:cubicBezTo>
                    <a:pt x="2595" y="436"/>
                    <a:pt x="2624" y="466"/>
                    <a:pt x="2595" y="466"/>
                  </a:cubicBezTo>
                  <a:cubicBezTo>
                    <a:pt x="2566" y="378"/>
                    <a:pt x="2478" y="291"/>
                    <a:pt x="2391" y="378"/>
                  </a:cubicBezTo>
                  <a:cubicBezTo>
                    <a:pt x="2391" y="349"/>
                    <a:pt x="2333" y="320"/>
                    <a:pt x="2303" y="320"/>
                  </a:cubicBezTo>
                  <a:cubicBezTo>
                    <a:pt x="2303" y="291"/>
                    <a:pt x="2303" y="291"/>
                    <a:pt x="2303" y="233"/>
                  </a:cubicBezTo>
                  <a:cubicBezTo>
                    <a:pt x="2274" y="233"/>
                    <a:pt x="2157" y="262"/>
                    <a:pt x="2100" y="233"/>
                  </a:cubicBezTo>
                  <a:cubicBezTo>
                    <a:pt x="2128" y="174"/>
                    <a:pt x="2128" y="116"/>
                    <a:pt x="2157" y="86"/>
                  </a:cubicBezTo>
                  <a:cubicBezTo>
                    <a:pt x="2128" y="86"/>
                    <a:pt x="2070" y="86"/>
                    <a:pt x="2070" y="86"/>
                  </a:cubicBezTo>
                  <a:cubicBezTo>
                    <a:pt x="2041" y="57"/>
                    <a:pt x="2041" y="0"/>
                    <a:pt x="2012" y="0"/>
                  </a:cubicBezTo>
                  <a:cubicBezTo>
                    <a:pt x="1983" y="0"/>
                    <a:pt x="1953" y="28"/>
                    <a:pt x="1924" y="28"/>
                  </a:cubicBezTo>
                  <a:cubicBezTo>
                    <a:pt x="1895" y="57"/>
                    <a:pt x="1807" y="57"/>
                    <a:pt x="1778" y="86"/>
                  </a:cubicBezTo>
                  <a:lnTo>
                    <a:pt x="1778" y="28"/>
                  </a:lnTo>
                  <a:cubicBezTo>
                    <a:pt x="1720" y="0"/>
                    <a:pt x="1691" y="57"/>
                    <a:pt x="1633" y="86"/>
                  </a:cubicBezTo>
                  <a:cubicBezTo>
                    <a:pt x="1603" y="86"/>
                    <a:pt x="1574" y="86"/>
                    <a:pt x="1545" y="86"/>
                  </a:cubicBezTo>
                  <a:cubicBezTo>
                    <a:pt x="1457" y="86"/>
                    <a:pt x="1400" y="145"/>
                    <a:pt x="1341" y="145"/>
                  </a:cubicBezTo>
                  <a:cubicBezTo>
                    <a:pt x="1312" y="203"/>
                    <a:pt x="1283" y="233"/>
                    <a:pt x="1253" y="262"/>
                  </a:cubicBezTo>
                  <a:cubicBezTo>
                    <a:pt x="1224" y="291"/>
                    <a:pt x="1195" y="320"/>
                    <a:pt x="1136" y="320"/>
                  </a:cubicBezTo>
                  <a:lnTo>
                    <a:pt x="1136" y="291"/>
                  </a:lnTo>
                  <a:cubicBezTo>
                    <a:pt x="1107" y="291"/>
                    <a:pt x="1079" y="291"/>
                    <a:pt x="1079" y="291"/>
                  </a:cubicBezTo>
                  <a:cubicBezTo>
                    <a:pt x="1020" y="203"/>
                    <a:pt x="903" y="262"/>
                    <a:pt x="933" y="378"/>
                  </a:cubicBezTo>
                  <a:cubicBezTo>
                    <a:pt x="933" y="407"/>
                    <a:pt x="903" y="407"/>
                    <a:pt x="903" y="436"/>
                  </a:cubicBezTo>
                  <a:cubicBezTo>
                    <a:pt x="933" y="524"/>
                    <a:pt x="1107" y="612"/>
                    <a:pt x="1020" y="757"/>
                  </a:cubicBezTo>
                  <a:cubicBezTo>
                    <a:pt x="1020" y="786"/>
                    <a:pt x="1050" y="816"/>
                    <a:pt x="1107" y="816"/>
                  </a:cubicBezTo>
                  <a:cubicBezTo>
                    <a:pt x="1107" y="816"/>
                    <a:pt x="1107" y="816"/>
                    <a:pt x="1107" y="786"/>
                  </a:cubicBezTo>
                  <a:cubicBezTo>
                    <a:pt x="1136" y="845"/>
                    <a:pt x="1224" y="816"/>
                    <a:pt x="1195" y="874"/>
                  </a:cubicBezTo>
                  <a:cubicBezTo>
                    <a:pt x="1166" y="874"/>
                    <a:pt x="1166" y="845"/>
                    <a:pt x="1136" y="845"/>
                  </a:cubicBezTo>
                  <a:cubicBezTo>
                    <a:pt x="1050" y="845"/>
                    <a:pt x="1079" y="1020"/>
                    <a:pt x="1136" y="1020"/>
                  </a:cubicBezTo>
                  <a:cubicBezTo>
                    <a:pt x="1107" y="1020"/>
                    <a:pt x="1136" y="1078"/>
                    <a:pt x="1079" y="1078"/>
                  </a:cubicBezTo>
                  <a:cubicBezTo>
                    <a:pt x="1079" y="1049"/>
                    <a:pt x="1079" y="1020"/>
                    <a:pt x="1050" y="1020"/>
                  </a:cubicBezTo>
                  <a:cubicBezTo>
                    <a:pt x="991" y="991"/>
                    <a:pt x="962" y="991"/>
                    <a:pt x="933" y="933"/>
                  </a:cubicBezTo>
                  <a:cubicBezTo>
                    <a:pt x="962" y="903"/>
                    <a:pt x="991" y="874"/>
                    <a:pt x="991" y="816"/>
                  </a:cubicBezTo>
                  <a:cubicBezTo>
                    <a:pt x="874" y="816"/>
                    <a:pt x="786" y="816"/>
                    <a:pt x="670" y="816"/>
                  </a:cubicBezTo>
                  <a:cubicBezTo>
                    <a:pt x="641" y="874"/>
                    <a:pt x="524" y="816"/>
                    <a:pt x="466" y="845"/>
                  </a:cubicBezTo>
                  <a:cubicBezTo>
                    <a:pt x="407" y="962"/>
                    <a:pt x="583" y="991"/>
                    <a:pt x="583" y="1049"/>
                  </a:cubicBezTo>
                  <a:cubicBezTo>
                    <a:pt x="583" y="1020"/>
                    <a:pt x="524" y="1020"/>
                    <a:pt x="524" y="1020"/>
                  </a:cubicBezTo>
                  <a:cubicBezTo>
                    <a:pt x="524" y="1107"/>
                    <a:pt x="495" y="1136"/>
                    <a:pt x="524" y="1195"/>
                  </a:cubicBezTo>
                  <a:cubicBezTo>
                    <a:pt x="524" y="1283"/>
                    <a:pt x="641" y="1312"/>
                    <a:pt x="729" y="1341"/>
                  </a:cubicBezTo>
                  <a:cubicBezTo>
                    <a:pt x="757" y="1370"/>
                    <a:pt x="757" y="1399"/>
                    <a:pt x="786" y="1399"/>
                  </a:cubicBezTo>
                  <a:cubicBezTo>
                    <a:pt x="816" y="1399"/>
                    <a:pt x="816" y="1399"/>
                    <a:pt x="816" y="1399"/>
                  </a:cubicBezTo>
                  <a:cubicBezTo>
                    <a:pt x="816" y="1428"/>
                    <a:pt x="845" y="1428"/>
                    <a:pt x="874" y="1428"/>
                  </a:cubicBezTo>
                  <a:lnTo>
                    <a:pt x="874" y="1399"/>
                  </a:lnTo>
                  <a:cubicBezTo>
                    <a:pt x="933" y="1341"/>
                    <a:pt x="991" y="1312"/>
                    <a:pt x="1050" y="1283"/>
                  </a:cubicBezTo>
                  <a:cubicBezTo>
                    <a:pt x="1050" y="1312"/>
                    <a:pt x="1050" y="1312"/>
                    <a:pt x="1050" y="1341"/>
                  </a:cubicBezTo>
                  <a:cubicBezTo>
                    <a:pt x="1050" y="1341"/>
                    <a:pt x="1020" y="1370"/>
                    <a:pt x="1020" y="1341"/>
                  </a:cubicBezTo>
                  <a:cubicBezTo>
                    <a:pt x="1020" y="1399"/>
                    <a:pt x="903" y="1399"/>
                    <a:pt x="933" y="1457"/>
                  </a:cubicBezTo>
                  <a:cubicBezTo>
                    <a:pt x="962" y="1457"/>
                    <a:pt x="962" y="1428"/>
                    <a:pt x="991" y="1428"/>
                  </a:cubicBezTo>
                  <a:cubicBezTo>
                    <a:pt x="1020" y="1486"/>
                    <a:pt x="991" y="1516"/>
                    <a:pt x="962" y="1545"/>
                  </a:cubicBezTo>
                  <a:cubicBezTo>
                    <a:pt x="962" y="1574"/>
                    <a:pt x="991" y="1574"/>
                    <a:pt x="991" y="1603"/>
                  </a:cubicBezTo>
                  <a:cubicBezTo>
                    <a:pt x="962" y="1633"/>
                    <a:pt x="903" y="1662"/>
                    <a:pt x="816" y="1662"/>
                  </a:cubicBezTo>
                  <a:cubicBezTo>
                    <a:pt x="786" y="1662"/>
                    <a:pt x="786" y="1633"/>
                    <a:pt x="757" y="1633"/>
                  </a:cubicBezTo>
                  <a:cubicBezTo>
                    <a:pt x="700" y="1633"/>
                    <a:pt x="700" y="1662"/>
                    <a:pt x="670" y="1662"/>
                  </a:cubicBezTo>
                  <a:cubicBezTo>
                    <a:pt x="641" y="1662"/>
                    <a:pt x="641" y="1662"/>
                    <a:pt x="612" y="1662"/>
                  </a:cubicBezTo>
                  <a:cubicBezTo>
                    <a:pt x="612" y="1720"/>
                    <a:pt x="612" y="1807"/>
                    <a:pt x="583" y="1836"/>
                  </a:cubicBezTo>
                  <a:cubicBezTo>
                    <a:pt x="553" y="1807"/>
                    <a:pt x="553" y="1691"/>
                    <a:pt x="495" y="1691"/>
                  </a:cubicBezTo>
                  <a:cubicBezTo>
                    <a:pt x="466" y="1691"/>
                    <a:pt x="466" y="1749"/>
                    <a:pt x="407" y="1778"/>
                  </a:cubicBezTo>
                  <a:cubicBezTo>
                    <a:pt x="407" y="1720"/>
                    <a:pt x="436" y="1720"/>
                    <a:pt x="436" y="1691"/>
                  </a:cubicBezTo>
                  <a:cubicBezTo>
                    <a:pt x="379" y="1662"/>
                    <a:pt x="379" y="1749"/>
                    <a:pt x="350" y="1778"/>
                  </a:cubicBezTo>
                  <a:cubicBezTo>
                    <a:pt x="350" y="1749"/>
                    <a:pt x="350" y="1720"/>
                    <a:pt x="291" y="1720"/>
                  </a:cubicBezTo>
                  <a:cubicBezTo>
                    <a:pt x="291" y="1720"/>
                    <a:pt x="291" y="1749"/>
                    <a:pt x="262" y="1749"/>
                  </a:cubicBezTo>
                  <a:cubicBezTo>
                    <a:pt x="232" y="1749"/>
                    <a:pt x="232" y="1778"/>
                    <a:pt x="203" y="1749"/>
                  </a:cubicBezTo>
                  <a:cubicBezTo>
                    <a:pt x="174" y="1778"/>
                    <a:pt x="174" y="1807"/>
                    <a:pt x="203" y="1836"/>
                  </a:cubicBezTo>
                  <a:cubicBezTo>
                    <a:pt x="174" y="1836"/>
                    <a:pt x="145" y="1836"/>
                    <a:pt x="145" y="1866"/>
                  </a:cubicBezTo>
                  <a:cubicBezTo>
                    <a:pt x="145" y="1895"/>
                    <a:pt x="174" y="1895"/>
                    <a:pt x="203" y="1895"/>
                  </a:cubicBezTo>
                  <a:cubicBezTo>
                    <a:pt x="203" y="1924"/>
                    <a:pt x="174" y="1924"/>
                    <a:pt x="174" y="1924"/>
                  </a:cubicBezTo>
                  <a:cubicBezTo>
                    <a:pt x="203" y="1953"/>
                    <a:pt x="203" y="1983"/>
                    <a:pt x="232" y="2041"/>
                  </a:cubicBezTo>
                  <a:cubicBezTo>
                    <a:pt x="262" y="2070"/>
                    <a:pt x="291" y="2070"/>
                    <a:pt x="291" y="2099"/>
                  </a:cubicBezTo>
                  <a:cubicBezTo>
                    <a:pt x="291" y="2128"/>
                    <a:pt x="262" y="2128"/>
                    <a:pt x="232" y="215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0" name="Freeform 877">
              <a:extLst>
                <a:ext uri="{FF2B5EF4-FFF2-40B4-BE49-F238E27FC236}">
                  <a16:creationId xmlns:a16="http://schemas.microsoft.com/office/drawing/2014/main" id="{EC6539CD-9ACC-4DA8-8CF9-880636EDE295}"/>
                </a:ext>
              </a:extLst>
            </p:cNvPr>
            <p:cNvSpPr>
              <a:spLocks noChangeArrowheads="1"/>
            </p:cNvSpPr>
            <p:nvPr/>
          </p:nvSpPr>
          <p:spPr bwMode="auto">
            <a:xfrm>
              <a:off x="5311729" y="-983879"/>
              <a:ext cx="130468" cy="129466"/>
            </a:xfrm>
            <a:custGeom>
              <a:avLst/>
              <a:gdLst>
                <a:gd name="T0" fmla="*/ 117 w 351"/>
                <a:gd name="T1" fmla="*/ 146 h 351"/>
                <a:gd name="T2" fmla="*/ 117 w 351"/>
                <a:gd name="T3" fmla="*/ 146 h 351"/>
                <a:gd name="T4" fmla="*/ 205 w 351"/>
                <a:gd name="T5" fmla="*/ 321 h 351"/>
                <a:gd name="T6" fmla="*/ 263 w 351"/>
                <a:gd name="T7" fmla="*/ 292 h 351"/>
                <a:gd name="T8" fmla="*/ 263 w 351"/>
                <a:gd name="T9" fmla="*/ 321 h 351"/>
                <a:gd name="T10" fmla="*/ 350 w 351"/>
                <a:gd name="T11" fmla="*/ 321 h 351"/>
                <a:gd name="T12" fmla="*/ 263 w 351"/>
                <a:gd name="T13" fmla="*/ 88 h 351"/>
                <a:gd name="T14" fmla="*/ 175 w 351"/>
                <a:gd name="T15" fmla="*/ 88 h 351"/>
                <a:gd name="T16" fmla="*/ 175 w 351"/>
                <a:gd name="T17" fmla="*/ 0 h 351"/>
                <a:gd name="T18" fmla="*/ 29 w 351"/>
                <a:gd name="T19" fmla="*/ 146 h 351"/>
                <a:gd name="T20" fmla="*/ 117 w 351"/>
                <a:gd name="T21" fmla="*/ 14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351">
                  <a:moveTo>
                    <a:pt x="117" y="146"/>
                  </a:moveTo>
                  <a:lnTo>
                    <a:pt x="117" y="146"/>
                  </a:lnTo>
                  <a:cubicBezTo>
                    <a:pt x="175" y="205"/>
                    <a:pt x="205" y="234"/>
                    <a:pt x="205" y="321"/>
                  </a:cubicBezTo>
                  <a:cubicBezTo>
                    <a:pt x="234" y="350"/>
                    <a:pt x="234" y="321"/>
                    <a:pt x="263" y="292"/>
                  </a:cubicBezTo>
                  <a:cubicBezTo>
                    <a:pt x="263" y="321"/>
                    <a:pt x="263" y="321"/>
                    <a:pt x="263" y="321"/>
                  </a:cubicBezTo>
                  <a:cubicBezTo>
                    <a:pt x="321" y="350"/>
                    <a:pt x="350" y="321"/>
                    <a:pt x="350" y="321"/>
                  </a:cubicBezTo>
                  <a:cubicBezTo>
                    <a:pt x="291" y="234"/>
                    <a:pt x="291" y="146"/>
                    <a:pt x="263" y="88"/>
                  </a:cubicBezTo>
                  <a:cubicBezTo>
                    <a:pt x="234" y="58"/>
                    <a:pt x="234" y="88"/>
                    <a:pt x="175" y="88"/>
                  </a:cubicBezTo>
                  <a:cubicBezTo>
                    <a:pt x="146" y="88"/>
                    <a:pt x="146" y="29"/>
                    <a:pt x="175" y="0"/>
                  </a:cubicBezTo>
                  <a:cubicBezTo>
                    <a:pt x="88" y="0"/>
                    <a:pt x="0" y="58"/>
                    <a:pt x="29" y="146"/>
                  </a:cubicBezTo>
                  <a:cubicBezTo>
                    <a:pt x="58" y="175"/>
                    <a:pt x="88" y="146"/>
                    <a:pt x="117" y="14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1" name="Freeform 878">
              <a:extLst>
                <a:ext uri="{FF2B5EF4-FFF2-40B4-BE49-F238E27FC236}">
                  <a16:creationId xmlns:a16="http://schemas.microsoft.com/office/drawing/2014/main" id="{B18810CC-9C54-4F62-BBB1-5DE8E709F7D5}"/>
                </a:ext>
              </a:extLst>
            </p:cNvPr>
            <p:cNvSpPr>
              <a:spLocks noChangeArrowheads="1"/>
            </p:cNvSpPr>
            <p:nvPr/>
          </p:nvSpPr>
          <p:spPr bwMode="auto">
            <a:xfrm>
              <a:off x="5138859" y="-823665"/>
              <a:ext cx="53818" cy="118137"/>
            </a:xfrm>
            <a:custGeom>
              <a:avLst/>
              <a:gdLst>
                <a:gd name="T0" fmla="*/ 29 w 146"/>
                <a:gd name="T1" fmla="*/ 117 h 321"/>
                <a:gd name="T2" fmla="*/ 29 w 146"/>
                <a:gd name="T3" fmla="*/ 117 h 321"/>
                <a:gd name="T4" fmla="*/ 29 w 146"/>
                <a:gd name="T5" fmla="*/ 233 h 321"/>
                <a:gd name="T6" fmla="*/ 57 w 146"/>
                <a:gd name="T7" fmla="*/ 262 h 321"/>
                <a:gd name="T8" fmla="*/ 57 w 146"/>
                <a:gd name="T9" fmla="*/ 320 h 321"/>
                <a:gd name="T10" fmla="*/ 116 w 146"/>
                <a:gd name="T11" fmla="*/ 291 h 321"/>
                <a:gd name="T12" fmla="*/ 57 w 146"/>
                <a:gd name="T13" fmla="*/ 175 h 321"/>
                <a:gd name="T14" fmla="*/ 0 w 146"/>
                <a:gd name="T15" fmla="*/ 58 h 321"/>
                <a:gd name="T16" fmla="*/ 29 w 146"/>
                <a:gd name="T17" fmla="*/ 11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321">
                  <a:moveTo>
                    <a:pt x="29" y="117"/>
                  </a:moveTo>
                  <a:lnTo>
                    <a:pt x="29" y="117"/>
                  </a:lnTo>
                  <a:cubicBezTo>
                    <a:pt x="0" y="146"/>
                    <a:pt x="0" y="204"/>
                    <a:pt x="29" y="233"/>
                  </a:cubicBezTo>
                  <a:cubicBezTo>
                    <a:pt x="29" y="233"/>
                    <a:pt x="57" y="233"/>
                    <a:pt x="57" y="262"/>
                  </a:cubicBezTo>
                  <a:cubicBezTo>
                    <a:pt x="57" y="291"/>
                    <a:pt x="57" y="291"/>
                    <a:pt x="57" y="320"/>
                  </a:cubicBezTo>
                  <a:cubicBezTo>
                    <a:pt x="87" y="320"/>
                    <a:pt x="116" y="291"/>
                    <a:pt x="116" y="291"/>
                  </a:cubicBezTo>
                  <a:cubicBezTo>
                    <a:pt x="145" y="204"/>
                    <a:pt x="87" y="204"/>
                    <a:pt x="57" y="175"/>
                  </a:cubicBezTo>
                  <a:cubicBezTo>
                    <a:pt x="116" y="146"/>
                    <a:pt x="57" y="0"/>
                    <a:pt x="0" y="58"/>
                  </a:cubicBezTo>
                  <a:cubicBezTo>
                    <a:pt x="0" y="87"/>
                    <a:pt x="29" y="87"/>
                    <a:pt x="29"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2" name="Freeform 879">
              <a:extLst>
                <a:ext uri="{FF2B5EF4-FFF2-40B4-BE49-F238E27FC236}">
                  <a16:creationId xmlns:a16="http://schemas.microsoft.com/office/drawing/2014/main" id="{49748BB3-C7D3-4D31-AD16-23F1F14B8B56}"/>
                </a:ext>
              </a:extLst>
            </p:cNvPr>
            <p:cNvSpPr>
              <a:spLocks noChangeArrowheads="1"/>
            </p:cNvSpPr>
            <p:nvPr/>
          </p:nvSpPr>
          <p:spPr bwMode="auto">
            <a:xfrm>
              <a:off x="5344346" y="-610047"/>
              <a:ext cx="107636" cy="85770"/>
            </a:xfrm>
            <a:custGeom>
              <a:avLst/>
              <a:gdLst>
                <a:gd name="T0" fmla="*/ 203 w 292"/>
                <a:gd name="T1" fmla="*/ 0 h 235"/>
                <a:gd name="T2" fmla="*/ 203 w 292"/>
                <a:gd name="T3" fmla="*/ 0 h 235"/>
                <a:gd name="T4" fmla="*/ 29 w 292"/>
                <a:gd name="T5" fmla="*/ 29 h 235"/>
                <a:gd name="T6" fmla="*/ 87 w 292"/>
                <a:gd name="T7" fmla="*/ 87 h 235"/>
                <a:gd name="T8" fmla="*/ 58 w 292"/>
                <a:gd name="T9" fmla="*/ 117 h 235"/>
                <a:gd name="T10" fmla="*/ 262 w 292"/>
                <a:gd name="T11" fmla="*/ 146 h 235"/>
                <a:gd name="T12" fmla="*/ 233 w 292"/>
                <a:gd name="T13" fmla="*/ 87 h 235"/>
                <a:gd name="T14" fmla="*/ 203 w 292"/>
                <a:gd name="T15" fmla="*/ 0 h 2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235">
                  <a:moveTo>
                    <a:pt x="203" y="0"/>
                  </a:moveTo>
                  <a:lnTo>
                    <a:pt x="203" y="0"/>
                  </a:lnTo>
                  <a:cubicBezTo>
                    <a:pt x="146" y="0"/>
                    <a:pt x="87" y="29"/>
                    <a:pt x="29" y="29"/>
                  </a:cubicBezTo>
                  <a:cubicBezTo>
                    <a:pt x="0" y="87"/>
                    <a:pt x="58" y="87"/>
                    <a:pt x="87" y="87"/>
                  </a:cubicBezTo>
                  <a:cubicBezTo>
                    <a:pt x="58" y="87"/>
                    <a:pt x="58" y="117"/>
                    <a:pt x="58" y="117"/>
                  </a:cubicBezTo>
                  <a:cubicBezTo>
                    <a:pt x="87" y="234"/>
                    <a:pt x="175" y="146"/>
                    <a:pt x="262" y="146"/>
                  </a:cubicBezTo>
                  <a:cubicBezTo>
                    <a:pt x="291" y="87"/>
                    <a:pt x="233" y="117"/>
                    <a:pt x="233" y="87"/>
                  </a:cubicBezTo>
                  <a:cubicBezTo>
                    <a:pt x="203" y="58"/>
                    <a:pt x="233" y="29"/>
                    <a:pt x="203"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3" name="Freeform 880">
              <a:extLst>
                <a:ext uri="{FF2B5EF4-FFF2-40B4-BE49-F238E27FC236}">
                  <a16:creationId xmlns:a16="http://schemas.microsoft.com/office/drawing/2014/main" id="{738A3AA3-376F-4A50-843A-4A1A1F6BBB99}"/>
                </a:ext>
              </a:extLst>
            </p:cNvPr>
            <p:cNvSpPr>
              <a:spLocks noChangeArrowheads="1"/>
            </p:cNvSpPr>
            <p:nvPr/>
          </p:nvSpPr>
          <p:spPr bwMode="auto">
            <a:xfrm>
              <a:off x="5063840" y="-470871"/>
              <a:ext cx="86435" cy="43694"/>
            </a:xfrm>
            <a:custGeom>
              <a:avLst/>
              <a:gdLst>
                <a:gd name="T0" fmla="*/ 59 w 235"/>
                <a:gd name="T1" fmla="*/ 117 h 118"/>
                <a:gd name="T2" fmla="*/ 59 w 235"/>
                <a:gd name="T3" fmla="*/ 117 h 118"/>
                <a:gd name="T4" fmla="*/ 88 w 235"/>
                <a:gd name="T5" fmla="*/ 117 h 118"/>
                <a:gd name="T6" fmla="*/ 176 w 235"/>
                <a:gd name="T7" fmla="*/ 0 h 118"/>
                <a:gd name="T8" fmla="*/ 0 w 235"/>
                <a:gd name="T9" fmla="*/ 29 h 118"/>
                <a:gd name="T10" fmla="*/ 0 w 235"/>
                <a:gd name="T11" fmla="*/ 58 h 118"/>
                <a:gd name="T12" fmla="*/ 59 w 235"/>
                <a:gd name="T13" fmla="*/ 88 h 118"/>
                <a:gd name="T14" fmla="*/ 59 w 235"/>
                <a:gd name="T15" fmla="*/ 117 h 1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5" h="118">
                  <a:moveTo>
                    <a:pt x="59" y="117"/>
                  </a:moveTo>
                  <a:lnTo>
                    <a:pt x="59" y="117"/>
                  </a:lnTo>
                  <a:lnTo>
                    <a:pt x="88" y="117"/>
                  </a:lnTo>
                  <a:cubicBezTo>
                    <a:pt x="146" y="88"/>
                    <a:pt x="234" y="58"/>
                    <a:pt x="176" y="0"/>
                  </a:cubicBezTo>
                  <a:cubicBezTo>
                    <a:pt x="117" y="0"/>
                    <a:pt x="88" y="58"/>
                    <a:pt x="0" y="29"/>
                  </a:cubicBezTo>
                  <a:cubicBezTo>
                    <a:pt x="0" y="58"/>
                    <a:pt x="0" y="58"/>
                    <a:pt x="0" y="58"/>
                  </a:cubicBezTo>
                  <a:cubicBezTo>
                    <a:pt x="29" y="88"/>
                    <a:pt x="59" y="88"/>
                    <a:pt x="59" y="88"/>
                  </a:cubicBezTo>
                  <a:cubicBezTo>
                    <a:pt x="59" y="88"/>
                    <a:pt x="59" y="88"/>
                    <a:pt x="59"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4" name="Freeform 881">
              <a:extLst>
                <a:ext uri="{FF2B5EF4-FFF2-40B4-BE49-F238E27FC236}">
                  <a16:creationId xmlns:a16="http://schemas.microsoft.com/office/drawing/2014/main" id="{9605394F-DB84-4481-B246-411B5CEE8A98}"/>
                </a:ext>
              </a:extLst>
            </p:cNvPr>
            <p:cNvSpPr>
              <a:spLocks noChangeArrowheads="1"/>
            </p:cNvSpPr>
            <p:nvPr/>
          </p:nvSpPr>
          <p:spPr bwMode="auto">
            <a:xfrm>
              <a:off x="5085042" y="-385101"/>
              <a:ext cx="44032" cy="43695"/>
            </a:xfrm>
            <a:custGeom>
              <a:avLst/>
              <a:gdLst>
                <a:gd name="T0" fmla="*/ 117 w 118"/>
                <a:gd name="T1" fmla="*/ 116 h 117"/>
                <a:gd name="T2" fmla="*/ 117 w 118"/>
                <a:gd name="T3" fmla="*/ 116 h 117"/>
                <a:gd name="T4" fmla="*/ 117 w 118"/>
                <a:gd name="T5" fmla="*/ 58 h 117"/>
                <a:gd name="T6" fmla="*/ 0 w 118"/>
                <a:gd name="T7" fmla="*/ 58 h 117"/>
                <a:gd name="T8" fmla="*/ 117 w 118"/>
                <a:gd name="T9" fmla="*/ 116 h 117"/>
              </a:gdLst>
              <a:ahLst/>
              <a:cxnLst>
                <a:cxn ang="0">
                  <a:pos x="T0" y="T1"/>
                </a:cxn>
                <a:cxn ang="0">
                  <a:pos x="T2" y="T3"/>
                </a:cxn>
                <a:cxn ang="0">
                  <a:pos x="T4" y="T5"/>
                </a:cxn>
                <a:cxn ang="0">
                  <a:pos x="T6" y="T7"/>
                </a:cxn>
                <a:cxn ang="0">
                  <a:pos x="T8" y="T9"/>
                </a:cxn>
              </a:cxnLst>
              <a:rect l="0" t="0" r="r" b="b"/>
              <a:pathLst>
                <a:path w="118" h="117">
                  <a:moveTo>
                    <a:pt x="117" y="116"/>
                  </a:moveTo>
                  <a:lnTo>
                    <a:pt x="117" y="116"/>
                  </a:lnTo>
                  <a:cubicBezTo>
                    <a:pt x="117" y="87"/>
                    <a:pt x="117" y="87"/>
                    <a:pt x="117" y="58"/>
                  </a:cubicBezTo>
                  <a:cubicBezTo>
                    <a:pt x="87" y="58"/>
                    <a:pt x="58" y="0"/>
                    <a:pt x="0" y="58"/>
                  </a:cubicBezTo>
                  <a:cubicBezTo>
                    <a:pt x="29" y="87"/>
                    <a:pt x="58" y="116"/>
                    <a:pt x="117" y="11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5" name="Freeform 882">
              <a:extLst>
                <a:ext uri="{FF2B5EF4-FFF2-40B4-BE49-F238E27FC236}">
                  <a16:creationId xmlns:a16="http://schemas.microsoft.com/office/drawing/2014/main" id="{22C7B9FF-4C65-4898-ABF8-07FC19817168}"/>
                </a:ext>
              </a:extLst>
            </p:cNvPr>
            <p:cNvSpPr>
              <a:spLocks noChangeArrowheads="1"/>
            </p:cNvSpPr>
            <p:nvPr/>
          </p:nvSpPr>
          <p:spPr bwMode="auto">
            <a:xfrm>
              <a:off x="4276143" y="-364062"/>
              <a:ext cx="44032" cy="21038"/>
            </a:xfrm>
            <a:custGeom>
              <a:avLst/>
              <a:gdLst>
                <a:gd name="T0" fmla="*/ 0 w 118"/>
                <a:gd name="T1" fmla="*/ 58 h 59"/>
                <a:gd name="T2" fmla="*/ 0 w 118"/>
                <a:gd name="T3" fmla="*/ 58 h 59"/>
                <a:gd name="T4" fmla="*/ 88 w 118"/>
                <a:gd name="T5" fmla="*/ 58 h 59"/>
                <a:gd name="T6" fmla="*/ 117 w 118"/>
                <a:gd name="T7" fmla="*/ 0 h 59"/>
                <a:gd name="T8" fmla="*/ 0 w 118"/>
                <a:gd name="T9" fmla="*/ 29 h 59"/>
                <a:gd name="T10" fmla="*/ 0 w 118"/>
                <a:gd name="T11" fmla="*/ 58 h 59"/>
              </a:gdLst>
              <a:ahLst/>
              <a:cxnLst>
                <a:cxn ang="0">
                  <a:pos x="T0" y="T1"/>
                </a:cxn>
                <a:cxn ang="0">
                  <a:pos x="T2" y="T3"/>
                </a:cxn>
                <a:cxn ang="0">
                  <a:pos x="T4" y="T5"/>
                </a:cxn>
                <a:cxn ang="0">
                  <a:pos x="T6" y="T7"/>
                </a:cxn>
                <a:cxn ang="0">
                  <a:pos x="T8" y="T9"/>
                </a:cxn>
                <a:cxn ang="0">
                  <a:pos x="T10" y="T11"/>
                </a:cxn>
              </a:cxnLst>
              <a:rect l="0" t="0" r="r" b="b"/>
              <a:pathLst>
                <a:path w="118" h="59">
                  <a:moveTo>
                    <a:pt x="0" y="58"/>
                  </a:moveTo>
                  <a:lnTo>
                    <a:pt x="0" y="58"/>
                  </a:lnTo>
                  <a:cubicBezTo>
                    <a:pt x="29" y="29"/>
                    <a:pt x="58" y="58"/>
                    <a:pt x="88" y="58"/>
                  </a:cubicBezTo>
                  <a:cubicBezTo>
                    <a:pt x="88" y="29"/>
                    <a:pt x="117" y="29"/>
                    <a:pt x="117" y="0"/>
                  </a:cubicBezTo>
                  <a:cubicBezTo>
                    <a:pt x="58" y="0"/>
                    <a:pt x="0" y="0"/>
                    <a:pt x="0" y="29"/>
                  </a:cubicBezTo>
                  <a:cubicBezTo>
                    <a:pt x="0" y="29"/>
                    <a:pt x="0" y="29"/>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6" name="Freeform 883">
              <a:extLst>
                <a:ext uri="{FF2B5EF4-FFF2-40B4-BE49-F238E27FC236}">
                  <a16:creationId xmlns:a16="http://schemas.microsoft.com/office/drawing/2014/main" id="{742E0EA9-0964-40E8-A5D0-0E678E311592}"/>
                </a:ext>
              </a:extLst>
            </p:cNvPr>
            <p:cNvSpPr>
              <a:spLocks noChangeArrowheads="1"/>
            </p:cNvSpPr>
            <p:nvPr/>
          </p:nvSpPr>
          <p:spPr bwMode="auto">
            <a:xfrm>
              <a:off x="4383778" y="-299329"/>
              <a:ext cx="21200" cy="32366"/>
            </a:xfrm>
            <a:custGeom>
              <a:avLst/>
              <a:gdLst>
                <a:gd name="T0" fmla="*/ 30 w 59"/>
                <a:gd name="T1" fmla="*/ 88 h 89"/>
                <a:gd name="T2" fmla="*/ 30 w 59"/>
                <a:gd name="T3" fmla="*/ 88 h 89"/>
                <a:gd name="T4" fmla="*/ 58 w 59"/>
                <a:gd name="T5" fmla="*/ 58 h 89"/>
                <a:gd name="T6" fmla="*/ 0 w 59"/>
                <a:gd name="T7" fmla="*/ 58 h 89"/>
                <a:gd name="T8" fmla="*/ 30 w 59"/>
                <a:gd name="T9" fmla="*/ 88 h 89"/>
              </a:gdLst>
              <a:ahLst/>
              <a:cxnLst>
                <a:cxn ang="0">
                  <a:pos x="T0" y="T1"/>
                </a:cxn>
                <a:cxn ang="0">
                  <a:pos x="T2" y="T3"/>
                </a:cxn>
                <a:cxn ang="0">
                  <a:pos x="T4" y="T5"/>
                </a:cxn>
                <a:cxn ang="0">
                  <a:pos x="T6" y="T7"/>
                </a:cxn>
                <a:cxn ang="0">
                  <a:pos x="T8" y="T9"/>
                </a:cxn>
              </a:cxnLst>
              <a:rect l="0" t="0" r="r" b="b"/>
              <a:pathLst>
                <a:path w="59" h="89">
                  <a:moveTo>
                    <a:pt x="30" y="88"/>
                  </a:moveTo>
                  <a:lnTo>
                    <a:pt x="30" y="88"/>
                  </a:lnTo>
                  <a:cubicBezTo>
                    <a:pt x="58" y="88"/>
                    <a:pt x="58" y="58"/>
                    <a:pt x="58" y="58"/>
                  </a:cubicBezTo>
                  <a:cubicBezTo>
                    <a:pt x="30" y="29"/>
                    <a:pt x="0" y="0"/>
                    <a:pt x="0" y="58"/>
                  </a:cubicBezTo>
                  <a:cubicBezTo>
                    <a:pt x="0" y="88"/>
                    <a:pt x="30" y="88"/>
                    <a:pt x="30"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7" name="Freeform 884">
              <a:extLst>
                <a:ext uri="{FF2B5EF4-FFF2-40B4-BE49-F238E27FC236}">
                  <a16:creationId xmlns:a16="http://schemas.microsoft.com/office/drawing/2014/main" id="{ABE948CD-554B-4E3B-9014-3BF21B9E28BB}"/>
                </a:ext>
              </a:extLst>
            </p:cNvPr>
            <p:cNvSpPr>
              <a:spLocks noChangeArrowheads="1"/>
            </p:cNvSpPr>
            <p:nvPr/>
          </p:nvSpPr>
          <p:spPr bwMode="auto">
            <a:xfrm>
              <a:off x="5905357" y="-245925"/>
              <a:ext cx="65234" cy="53405"/>
            </a:xfrm>
            <a:custGeom>
              <a:avLst/>
              <a:gdLst>
                <a:gd name="T0" fmla="*/ 145 w 175"/>
                <a:gd name="T1" fmla="*/ 0 h 146"/>
                <a:gd name="T2" fmla="*/ 145 w 175"/>
                <a:gd name="T3" fmla="*/ 0 h 146"/>
                <a:gd name="T4" fmla="*/ 0 w 175"/>
                <a:gd name="T5" fmla="*/ 116 h 146"/>
                <a:gd name="T6" fmla="*/ 174 w 175"/>
                <a:gd name="T7" fmla="*/ 87 h 146"/>
                <a:gd name="T8" fmla="*/ 174 w 175"/>
                <a:gd name="T9" fmla="*/ 29 h 146"/>
                <a:gd name="T10" fmla="*/ 145 w 175"/>
                <a:gd name="T11" fmla="*/ 0 h 146"/>
              </a:gdLst>
              <a:ahLst/>
              <a:cxnLst>
                <a:cxn ang="0">
                  <a:pos x="T0" y="T1"/>
                </a:cxn>
                <a:cxn ang="0">
                  <a:pos x="T2" y="T3"/>
                </a:cxn>
                <a:cxn ang="0">
                  <a:pos x="T4" y="T5"/>
                </a:cxn>
                <a:cxn ang="0">
                  <a:pos x="T6" y="T7"/>
                </a:cxn>
                <a:cxn ang="0">
                  <a:pos x="T8" y="T9"/>
                </a:cxn>
                <a:cxn ang="0">
                  <a:pos x="T10" y="T11"/>
                </a:cxn>
              </a:cxnLst>
              <a:rect l="0" t="0" r="r" b="b"/>
              <a:pathLst>
                <a:path w="175" h="146">
                  <a:moveTo>
                    <a:pt x="145" y="0"/>
                  </a:moveTo>
                  <a:lnTo>
                    <a:pt x="145" y="0"/>
                  </a:lnTo>
                  <a:cubicBezTo>
                    <a:pt x="86" y="0"/>
                    <a:pt x="0" y="29"/>
                    <a:pt x="0" y="116"/>
                  </a:cubicBezTo>
                  <a:cubicBezTo>
                    <a:pt x="57" y="145"/>
                    <a:pt x="116" y="58"/>
                    <a:pt x="174" y="87"/>
                  </a:cubicBezTo>
                  <a:cubicBezTo>
                    <a:pt x="174" y="87"/>
                    <a:pt x="174" y="58"/>
                    <a:pt x="174" y="29"/>
                  </a:cubicBezTo>
                  <a:cubicBezTo>
                    <a:pt x="145" y="58"/>
                    <a:pt x="145" y="29"/>
                    <a:pt x="14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8" name="Freeform 885">
              <a:extLst>
                <a:ext uri="{FF2B5EF4-FFF2-40B4-BE49-F238E27FC236}">
                  <a16:creationId xmlns:a16="http://schemas.microsoft.com/office/drawing/2014/main" id="{358FE9FF-4120-413D-85A2-11AE478FA8EC}"/>
                </a:ext>
              </a:extLst>
            </p:cNvPr>
            <p:cNvSpPr>
              <a:spLocks noChangeArrowheads="1"/>
            </p:cNvSpPr>
            <p:nvPr/>
          </p:nvSpPr>
          <p:spPr bwMode="auto">
            <a:xfrm>
              <a:off x="5807506" y="-213559"/>
              <a:ext cx="151669" cy="118138"/>
            </a:xfrm>
            <a:custGeom>
              <a:avLst/>
              <a:gdLst>
                <a:gd name="T0" fmla="*/ 0 w 410"/>
                <a:gd name="T1" fmla="*/ 205 h 322"/>
                <a:gd name="T2" fmla="*/ 0 w 410"/>
                <a:gd name="T3" fmla="*/ 205 h 322"/>
                <a:gd name="T4" fmla="*/ 59 w 410"/>
                <a:gd name="T5" fmla="*/ 263 h 322"/>
                <a:gd name="T6" fmla="*/ 88 w 410"/>
                <a:gd name="T7" fmla="*/ 234 h 322"/>
                <a:gd name="T8" fmla="*/ 59 w 410"/>
                <a:gd name="T9" fmla="*/ 291 h 322"/>
                <a:gd name="T10" fmla="*/ 147 w 410"/>
                <a:gd name="T11" fmla="*/ 263 h 322"/>
                <a:gd name="T12" fmla="*/ 205 w 410"/>
                <a:gd name="T13" fmla="*/ 234 h 322"/>
                <a:gd name="T14" fmla="*/ 176 w 410"/>
                <a:gd name="T15" fmla="*/ 263 h 322"/>
                <a:gd name="T16" fmla="*/ 264 w 410"/>
                <a:gd name="T17" fmla="*/ 234 h 322"/>
                <a:gd name="T18" fmla="*/ 321 w 410"/>
                <a:gd name="T19" fmla="*/ 205 h 322"/>
                <a:gd name="T20" fmla="*/ 380 w 410"/>
                <a:gd name="T21" fmla="*/ 205 h 322"/>
                <a:gd name="T22" fmla="*/ 409 w 410"/>
                <a:gd name="T23" fmla="*/ 117 h 322"/>
                <a:gd name="T24" fmla="*/ 350 w 410"/>
                <a:gd name="T25" fmla="*/ 117 h 322"/>
                <a:gd name="T26" fmla="*/ 264 w 410"/>
                <a:gd name="T27" fmla="*/ 58 h 322"/>
                <a:gd name="T28" fmla="*/ 264 w 410"/>
                <a:gd name="T29" fmla="*/ 29 h 322"/>
                <a:gd name="T30" fmla="*/ 147 w 410"/>
                <a:gd name="T31" fmla="*/ 58 h 322"/>
                <a:gd name="T32" fmla="*/ 205 w 410"/>
                <a:gd name="T33" fmla="*/ 117 h 322"/>
                <a:gd name="T34" fmla="*/ 176 w 410"/>
                <a:gd name="T35" fmla="*/ 117 h 322"/>
                <a:gd name="T36" fmla="*/ 147 w 410"/>
                <a:gd name="T37" fmla="*/ 88 h 322"/>
                <a:gd name="T38" fmla="*/ 0 w 410"/>
                <a:gd name="T39" fmla="*/ 146 h 322"/>
                <a:gd name="T40" fmla="*/ 30 w 410"/>
                <a:gd name="T41" fmla="*/ 205 h 322"/>
                <a:gd name="T42" fmla="*/ 0 w 410"/>
                <a:gd name="T43" fmla="*/ 205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0" h="322">
                  <a:moveTo>
                    <a:pt x="0" y="205"/>
                  </a:moveTo>
                  <a:lnTo>
                    <a:pt x="0" y="205"/>
                  </a:lnTo>
                  <a:cubicBezTo>
                    <a:pt x="0" y="234"/>
                    <a:pt x="30" y="263"/>
                    <a:pt x="59" y="263"/>
                  </a:cubicBezTo>
                  <a:cubicBezTo>
                    <a:pt x="59" y="263"/>
                    <a:pt x="59" y="234"/>
                    <a:pt x="88" y="234"/>
                  </a:cubicBezTo>
                  <a:cubicBezTo>
                    <a:pt x="117" y="263"/>
                    <a:pt x="59" y="263"/>
                    <a:pt x="59" y="291"/>
                  </a:cubicBezTo>
                  <a:cubicBezTo>
                    <a:pt x="117" y="321"/>
                    <a:pt x="117" y="291"/>
                    <a:pt x="147" y="263"/>
                  </a:cubicBezTo>
                  <a:cubicBezTo>
                    <a:pt x="176" y="234"/>
                    <a:pt x="176" y="234"/>
                    <a:pt x="205" y="234"/>
                  </a:cubicBezTo>
                  <a:lnTo>
                    <a:pt x="176" y="263"/>
                  </a:lnTo>
                  <a:cubicBezTo>
                    <a:pt x="234" y="291"/>
                    <a:pt x="234" y="263"/>
                    <a:pt x="264" y="234"/>
                  </a:cubicBezTo>
                  <a:cubicBezTo>
                    <a:pt x="264" y="234"/>
                    <a:pt x="292" y="205"/>
                    <a:pt x="321" y="205"/>
                  </a:cubicBezTo>
                  <a:cubicBezTo>
                    <a:pt x="321" y="234"/>
                    <a:pt x="350" y="205"/>
                    <a:pt x="380" y="205"/>
                  </a:cubicBezTo>
                  <a:cubicBezTo>
                    <a:pt x="380" y="175"/>
                    <a:pt x="409" y="175"/>
                    <a:pt x="409" y="117"/>
                  </a:cubicBezTo>
                  <a:cubicBezTo>
                    <a:pt x="409" y="117"/>
                    <a:pt x="380" y="88"/>
                    <a:pt x="350" y="117"/>
                  </a:cubicBezTo>
                  <a:cubicBezTo>
                    <a:pt x="350" y="58"/>
                    <a:pt x="292" y="29"/>
                    <a:pt x="264" y="58"/>
                  </a:cubicBezTo>
                  <a:cubicBezTo>
                    <a:pt x="264" y="29"/>
                    <a:pt x="264" y="29"/>
                    <a:pt x="264" y="29"/>
                  </a:cubicBezTo>
                  <a:cubicBezTo>
                    <a:pt x="205" y="29"/>
                    <a:pt x="147" y="0"/>
                    <a:pt x="147" y="58"/>
                  </a:cubicBezTo>
                  <a:cubicBezTo>
                    <a:pt x="176" y="88"/>
                    <a:pt x="205" y="88"/>
                    <a:pt x="205" y="117"/>
                  </a:cubicBezTo>
                  <a:cubicBezTo>
                    <a:pt x="176" y="117"/>
                    <a:pt x="176" y="146"/>
                    <a:pt x="176" y="117"/>
                  </a:cubicBezTo>
                  <a:cubicBezTo>
                    <a:pt x="147" y="117"/>
                    <a:pt x="176" y="117"/>
                    <a:pt x="147" y="88"/>
                  </a:cubicBezTo>
                  <a:cubicBezTo>
                    <a:pt x="88" y="58"/>
                    <a:pt x="30" y="117"/>
                    <a:pt x="0" y="146"/>
                  </a:cubicBezTo>
                  <a:cubicBezTo>
                    <a:pt x="0" y="175"/>
                    <a:pt x="30" y="175"/>
                    <a:pt x="30" y="205"/>
                  </a:cubicBezTo>
                  <a:cubicBezTo>
                    <a:pt x="30" y="175"/>
                    <a:pt x="30" y="205"/>
                    <a:pt x="0" y="20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9" name="Freeform 886">
              <a:extLst>
                <a:ext uri="{FF2B5EF4-FFF2-40B4-BE49-F238E27FC236}">
                  <a16:creationId xmlns:a16="http://schemas.microsoft.com/office/drawing/2014/main" id="{BB5F4CD1-6224-4789-B95C-8A2916D7567E}"/>
                </a:ext>
              </a:extLst>
            </p:cNvPr>
            <p:cNvSpPr>
              <a:spLocks noChangeArrowheads="1"/>
            </p:cNvSpPr>
            <p:nvPr/>
          </p:nvSpPr>
          <p:spPr bwMode="auto">
            <a:xfrm>
              <a:off x="4470213" y="-202230"/>
              <a:ext cx="32617" cy="43694"/>
            </a:xfrm>
            <a:custGeom>
              <a:avLst/>
              <a:gdLst>
                <a:gd name="T0" fmla="*/ 88 w 89"/>
                <a:gd name="T1" fmla="*/ 117 h 118"/>
                <a:gd name="T2" fmla="*/ 88 w 89"/>
                <a:gd name="T3" fmla="*/ 117 h 118"/>
                <a:gd name="T4" fmla="*/ 88 w 89"/>
                <a:gd name="T5" fmla="*/ 88 h 118"/>
                <a:gd name="T6" fmla="*/ 88 w 89"/>
                <a:gd name="T7" fmla="*/ 29 h 118"/>
                <a:gd name="T8" fmla="*/ 30 w 89"/>
                <a:gd name="T9" fmla="*/ 0 h 118"/>
                <a:gd name="T10" fmla="*/ 30 w 89"/>
                <a:gd name="T11" fmla="*/ 59 h 118"/>
                <a:gd name="T12" fmla="*/ 0 w 89"/>
                <a:gd name="T13" fmla="*/ 59 h 118"/>
                <a:gd name="T14" fmla="*/ 88 w 89"/>
                <a:gd name="T15" fmla="*/ 117 h 1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18">
                  <a:moveTo>
                    <a:pt x="88" y="117"/>
                  </a:moveTo>
                  <a:lnTo>
                    <a:pt x="88" y="117"/>
                  </a:lnTo>
                  <a:cubicBezTo>
                    <a:pt x="88" y="117"/>
                    <a:pt x="88" y="117"/>
                    <a:pt x="88" y="88"/>
                  </a:cubicBezTo>
                  <a:cubicBezTo>
                    <a:pt x="59" y="88"/>
                    <a:pt x="88" y="59"/>
                    <a:pt x="88" y="29"/>
                  </a:cubicBezTo>
                  <a:cubicBezTo>
                    <a:pt x="88" y="29"/>
                    <a:pt x="59" y="0"/>
                    <a:pt x="30" y="0"/>
                  </a:cubicBezTo>
                  <a:cubicBezTo>
                    <a:pt x="0" y="0"/>
                    <a:pt x="30" y="29"/>
                    <a:pt x="30" y="59"/>
                  </a:cubicBezTo>
                  <a:lnTo>
                    <a:pt x="0" y="59"/>
                  </a:lnTo>
                  <a:cubicBezTo>
                    <a:pt x="30" y="88"/>
                    <a:pt x="59" y="117"/>
                    <a:pt x="88"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0" name="Freeform 887">
              <a:extLst>
                <a:ext uri="{FF2B5EF4-FFF2-40B4-BE49-F238E27FC236}">
                  <a16:creationId xmlns:a16="http://schemas.microsoft.com/office/drawing/2014/main" id="{2E61F08E-783C-4271-AA8A-452DFB08222C}"/>
                </a:ext>
              </a:extLst>
            </p:cNvPr>
            <p:cNvSpPr>
              <a:spLocks noChangeArrowheads="1"/>
            </p:cNvSpPr>
            <p:nvPr/>
          </p:nvSpPr>
          <p:spPr bwMode="auto">
            <a:xfrm>
              <a:off x="4514246" y="-171482"/>
              <a:ext cx="21200" cy="21039"/>
            </a:xfrm>
            <a:custGeom>
              <a:avLst/>
              <a:gdLst>
                <a:gd name="T0" fmla="*/ 58 w 59"/>
                <a:gd name="T1" fmla="*/ 0 h 59"/>
                <a:gd name="T2" fmla="*/ 58 w 59"/>
                <a:gd name="T3" fmla="*/ 0 h 59"/>
                <a:gd name="T4" fmla="*/ 0 w 59"/>
                <a:gd name="T5" fmla="*/ 29 h 59"/>
                <a:gd name="T6" fmla="*/ 58 w 59"/>
                <a:gd name="T7" fmla="*/ 0 h 59"/>
              </a:gdLst>
              <a:ahLst/>
              <a:cxnLst>
                <a:cxn ang="0">
                  <a:pos x="T0" y="T1"/>
                </a:cxn>
                <a:cxn ang="0">
                  <a:pos x="T2" y="T3"/>
                </a:cxn>
                <a:cxn ang="0">
                  <a:pos x="T4" y="T5"/>
                </a:cxn>
                <a:cxn ang="0">
                  <a:pos x="T6" y="T7"/>
                </a:cxn>
              </a:cxnLst>
              <a:rect l="0" t="0" r="r" b="b"/>
              <a:pathLst>
                <a:path w="59" h="59">
                  <a:moveTo>
                    <a:pt x="58" y="0"/>
                  </a:moveTo>
                  <a:lnTo>
                    <a:pt x="58" y="0"/>
                  </a:lnTo>
                  <a:cubicBezTo>
                    <a:pt x="58" y="0"/>
                    <a:pt x="0" y="0"/>
                    <a:pt x="0" y="29"/>
                  </a:cubicBezTo>
                  <a:cubicBezTo>
                    <a:pt x="29" y="58"/>
                    <a:pt x="58" y="29"/>
                    <a:pt x="5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1" name="Freeform 888">
              <a:extLst>
                <a:ext uri="{FF2B5EF4-FFF2-40B4-BE49-F238E27FC236}">
                  <a16:creationId xmlns:a16="http://schemas.microsoft.com/office/drawing/2014/main" id="{B0E0A6A6-953E-4ACC-91E5-EB4E6E360630}"/>
                </a:ext>
              </a:extLst>
            </p:cNvPr>
            <p:cNvSpPr>
              <a:spLocks noChangeArrowheads="1"/>
            </p:cNvSpPr>
            <p:nvPr/>
          </p:nvSpPr>
          <p:spPr bwMode="auto">
            <a:xfrm>
              <a:off x="4524031" y="-171482"/>
              <a:ext cx="44032" cy="43695"/>
            </a:xfrm>
            <a:custGeom>
              <a:avLst/>
              <a:gdLst>
                <a:gd name="T0" fmla="*/ 0 w 118"/>
                <a:gd name="T1" fmla="*/ 88 h 118"/>
                <a:gd name="T2" fmla="*/ 0 w 118"/>
                <a:gd name="T3" fmla="*/ 88 h 118"/>
                <a:gd name="T4" fmla="*/ 87 w 118"/>
                <a:gd name="T5" fmla="*/ 117 h 118"/>
                <a:gd name="T6" fmla="*/ 117 w 118"/>
                <a:gd name="T7" fmla="*/ 29 h 118"/>
                <a:gd name="T8" fmla="*/ 0 w 118"/>
                <a:gd name="T9" fmla="*/ 88 h 118"/>
              </a:gdLst>
              <a:ahLst/>
              <a:cxnLst>
                <a:cxn ang="0">
                  <a:pos x="T0" y="T1"/>
                </a:cxn>
                <a:cxn ang="0">
                  <a:pos x="T2" y="T3"/>
                </a:cxn>
                <a:cxn ang="0">
                  <a:pos x="T4" y="T5"/>
                </a:cxn>
                <a:cxn ang="0">
                  <a:pos x="T6" y="T7"/>
                </a:cxn>
                <a:cxn ang="0">
                  <a:pos x="T8" y="T9"/>
                </a:cxn>
              </a:cxnLst>
              <a:rect l="0" t="0" r="r" b="b"/>
              <a:pathLst>
                <a:path w="118" h="118">
                  <a:moveTo>
                    <a:pt x="0" y="88"/>
                  </a:moveTo>
                  <a:lnTo>
                    <a:pt x="0" y="88"/>
                  </a:lnTo>
                  <a:cubicBezTo>
                    <a:pt x="29" y="117"/>
                    <a:pt x="58" y="117"/>
                    <a:pt x="87" y="117"/>
                  </a:cubicBezTo>
                  <a:cubicBezTo>
                    <a:pt x="87" y="88"/>
                    <a:pt x="117" y="58"/>
                    <a:pt x="117" y="29"/>
                  </a:cubicBezTo>
                  <a:cubicBezTo>
                    <a:pt x="58" y="0"/>
                    <a:pt x="29" y="88"/>
                    <a:pt x="0"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2" name="Freeform 889">
              <a:extLst>
                <a:ext uri="{FF2B5EF4-FFF2-40B4-BE49-F238E27FC236}">
                  <a16:creationId xmlns:a16="http://schemas.microsoft.com/office/drawing/2014/main" id="{C069A3D6-1488-459D-AD7B-03A140C04825}"/>
                </a:ext>
              </a:extLst>
            </p:cNvPr>
            <p:cNvSpPr>
              <a:spLocks noChangeArrowheads="1"/>
            </p:cNvSpPr>
            <p:nvPr/>
          </p:nvSpPr>
          <p:spPr bwMode="auto">
            <a:xfrm>
              <a:off x="6714256" y="-127787"/>
              <a:ext cx="107636" cy="181252"/>
            </a:xfrm>
            <a:custGeom>
              <a:avLst/>
              <a:gdLst>
                <a:gd name="T0" fmla="*/ 176 w 293"/>
                <a:gd name="T1" fmla="*/ 87 h 496"/>
                <a:gd name="T2" fmla="*/ 176 w 293"/>
                <a:gd name="T3" fmla="*/ 87 h 496"/>
                <a:gd name="T4" fmla="*/ 176 w 293"/>
                <a:gd name="T5" fmla="*/ 29 h 496"/>
                <a:gd name="T6" fmla="*/ 59 w 293"/>
                <a:gd name="T7" fmla="*/ 0 h 496"/>
                <a:gd name="T8" fmla="*/ 0 w 293"/>
                <a:gd name="T9" fmla="*/ 57 h 496"/>
                <a:gd name="T10" fmla="*/ 117 w 293"/>
                <a:gd name="T11" fmla="*/ 233 h 496"/>
                <a:gd name="T12" fmla="*/ 59 w 293"/>
                <a:gd name="T13" fmla="*/ 291 h 496"/>
                <a:gd name="T14" fmla="*/ 176 w 293"/>
                <a:gd name="T15" fmla="*/ 350 h 496"/>
                <a:gd name="T16" fmla="*/ 205 w 293"/>
                <a:gd name="T17" fmla="*/ 495 h 496"/>
                <a:gd name="T18" fmla="*/ 234 w 293"/>
                <a:gd name="T19" fmla="*/ 495 h 496"/>
                <a:gd name="T20" fmla="*/ 205 w 293"/>
                <a:gd name="T21" fmla="*/ 233 h 496"/>
                <a:gd name="T22" fmla="*/ 117 w 293"/>
                <a:gd name="T23" fmla="*/ 174 h 496"/>
                <a:gd name="T24" fmla="*/ 176 w 293"/>
                <a:gd name="T25" fmla="*/ 204 h 496"/>
                <a:gd name="T26" fmla="*/ 117 w 293"/>
                <a:gd name="T27" fmla="*/ 57 h 496"/>
                <a:gd name="T28" fmla="*/ 176 w 293"/>
                <a:gd name="T29" fmla="*/ 8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3" h="496">
                  <a:moveTo>
                    <a:pt x="176" y="87"/>
                  </a:moveTo>
                  <a:lnTo>
                    <a:pt x="176" y="87"/>
                  </a:lnTo>
                  <a:cubicBezTo>
                    <a:pt x="205" y="57"/>
                    <a:pt x="176" y="57"/>
                    <a:pt x="176" y="29"/>
                  </a:cubicBezTo>
                  <a:cubicBezTo>
                    <a:pt x="117" y="29"/>
                    <a:pt x="117" y="0"/>
                    <a:pt x="59" y="0"/>
                  </a:cubicBezTo>
                  <a:cubicBezTo>
                    <a:pt x="59" y="29"/>
                    <a:pt x="30" y="29"/>
                    <a:pt x="0" y="57"/>
                  </a:cubicBezTo>
                  <a:cubicBezTo>
                    <a:pt x="30" y="116"/>
                    <a:pt x="59" y="174"/>
                    <a:pt x="117" y="233"/>
                  </a:cubicBezTo>
                  <a:cubicBezTo>
                    <a:pt x="88" y="262"/>
                    <a:pt x="59" y="262"/>
                    <a:pt x="59" y="291"/>
                  </a:cubicBezTo>
                  <a:cubicBezTo>
                    <a:pt x="59" y="350"/>
                    <a:pt x="117" y="350"/>
                    <a:pt x="176" y="350"/>
                  </a:cubicBezTo>
                  <a:cubicBezTo>
                    <a:pt x="176" y="407"/>
                    <a:pt x="205" y="437"/>
                    <a:pt x="205" y="495"/>
                  </a:cubicBezTo>
                  <a:cubicBezTo>
                    <a:pt x="234" y="466"/>
                    <a:pt x="234" y="495"/>
                    <a:pt x="234" y="495"/>
                  </a:cubicBezTo>
                  <a:cubicBezTo>
                    <a:pt x="292" y="407"/>
                    <a:pt x="234" y="291"/>
                    <a:pt x="205" y="233"/>
                  </a:cubicBezTo>
                  <a:cubicBezTo>
                    <a:pt x="176" y="204"/>
                    <a:pt x="88" y="233"/>
                    <a:pt x="117" y="174"/>
                  </a:cubicBezTo>
                  <a:cubicBezTo>
                    <a:pt x="147" y="204"/>
                    <a:pt x="147" y="204"/>
                    <a:pt x="176" y="204"/>
                  </a:cubicBezTo>
                  <a:cubicBezTo>
                    <a:pt x="205" y="116"/>
                    <a:pt x="147" y="116"/>
                    <a:pt x="117" y="57"/>
                  </a:cubicBezTo>
                  <a:cubicBezTo>
                    <a:pt x="147" y="57"/>
                    <a:pt x="147" y="87"/>
                    <a:pt x="176" y="8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3" name="Freeform 890">
              <a:extLst>
                <a:ext uri="{FF2B5EF4-FFF2-40B4-BE49-F238E27FC236}">
                  <a16:creationId xmlns:a16="http://schemas.microsoft.com/office/drawing/2014/main" id="{2D3DC733-2D40-47A5-A08D-B55A76911BFF}"/>
                </a:ext>
              </a:extLst>
            </p:cNvPr>
            <p:cNvSpPr>
              <a:spLocks noChangeArrowheads="1"/>
            </p:cNvSpPr>
            <p:nvPr/>
          </p:nvSpPr>
          <p:spPr bwMode="auto">
            <a:xfrm>
              <a:off x="5225295" y="-116460"/>
              <a:ext cx="119051" cy="53405"/>
            </a:xfrm>
            <a:custGeom>
              <a:avLst/>
              <a:gdLst>
                <a:gd name="T0" fmla="*/ 174 w 322"/>
                <a:gd name="T1" fmla="*/ 58 h 146"/>
                <a:gd name="T2" fmla="*/ 174 w 322"/>
                <a:gd name="T3" fmla="*/ 58 h 146"/>
                <a:gd name="T4" fmla="*/ 291 w 322"/>
                <a:gd name="T5" fmla="*/ 116 h 146"/>
                <a:gd name="T6" fmla="*/ 291 w 322"/>
                <a:gd name="T7" fmla="*/ 0 h 146"/>
                <a:gd name="T8" fmla="*/ 174 w 322"/>
                <a:gd name="T9" fmla="*/ 58 h 146"/>
              </a:gdLst>
              <a:ahLst/>
              <a:cxnLst>
                <a:cxn ang="0">
                  <a:pos x="T0" y="T1"/>
                </a:cxn>
                <a:cxn ang="0">
                  <a:pos x="T2" y="T3"/>
                </a:cxn>
                <a:cxn ang="0">
                  <a:pos x="T4" y="T5"/>
                </a:cxn>
                <a:cxn ang="0">
                  <a:pos x="T6" y="T7"/>
                </a:cxn>
                <a:cxn ang="0">
                  <a:pos x="T8" y="T9"/>
                </a:cxn>
              </a:cxnLst>
              <a:rect l="0" t="0" r="r" b="b"/>
              <a:pathLst>
                <a:path w="322" h="146">
                  <a:moveTo>
                    <a:pt x="174" y="58"/>
                  </a:moveTo>
                  <a:lnTo>
                    <a:pt x="174" y="58"/>
                  </a:lnTo>
                  <a:cubicBezTo>
                    <a:pt x="174" y="116"/>
                    <a:pt x="233" y="145"/>
                    <a:pt x="291" y="116"/>
                  </a:cubicBezTo>
                  <a:cubicBezTo>
                    <a:pt x="262" y="87"/>
                    <a:pt x="321" y="28"/>
                    <a:pt x="291" y="0"/>
                  </a:cubicBezTo>
                  <a:cubicBezTo>
                    <a:pt x="233" y="0"/>
                    <a:pt x="0" y="0"/>
                    <a:pt x="174"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4" name="Freeform 891">
              <a:extLst>
                <a:ext uri="{FF2B5EF4-FFF2-40B4-BE49-F238E27FC236}">
                  <a16:creationId xmlns:a16="http://schemas.microsoft.com/office/drawing/2014/main" id="{A98291CD-EF2B-4E4A-998F-2AB9156B466A}"/>
                </a:ext>
              </a:extLst>
            </p:cNvPr>
            <p:cNvSpPr>
              <a:spLocks noChangeArrowheads="1"/>
            </p:cNvSpPr>
            <p:nvPr/>
          </p:nvSpPr>
          <p:spPr bwMode="auto">
            <a:xfrm>
              <a:off x="4610465" y="-127787"/>
              <a:ext cx="97851" cy="43694"/>
            </a:xfrm>
            <a:custGeom>
              <a:avLst/>
              <a:gdLst>
                <a:gd name="T0" fmla="*/ 233 w 263"/>
                <a:gd name="T1" fmla="*/ 116 h 117"/>
                <a:gd name="T2" fmla="*/ 233 w 263"/>
                <a:gd name="T3" fmla="*/ 116 h 117"/>
                <a:gd name="T4" fmla="*/ 233 w 263"/>
                <a:gd name="T5" fmla="*/ 29 h 117"/>
                <a:gd name="T6" fmla="*/ 174 w 263"/>
                <a:gd name="T7" fmla="*/ 29 h 117"/>
                <a:gd name="T8" fmla="*/ 174 w 263"/>
                <a:gd name="T9" fmla="*/ 57 h 117"/>
                <a:gd name="T10" fmla="*/ 0 w 263"/>
                <a:gd name="T11" fmla="*/ 29 h 117"/>
                <a:gd name="T12" fmla="*/ 233 w 263"/>
                <a:gd name="T13" fmla="*/ 116 h 117"/>
              </a:gdLst>
              <a:ahLst/>
              <a:cxnLst>
                <a:cxn ang="0">
                  <a:pos x="T0" y="T1"/>
                </a:cxn>
                <a:cxn ang="0">
                  <a:pos x="T2" y="T3"/>
                </a:cxn>
                <a:cxn ang="0">
                  <a:pos x="T4" y="T5"/>
                </a:cxn>
                <a:cxn ang="0">
                  <a:pos x="T6" y="T7"/>
                </a:cxn>
                <a:cxn ang="0">
                  <a:pos x="T8" y="T9"/>
                </a:cxn>
                <a:cxn ang="0">
                  <a:pos x="T10" y="T11"/>
                </a:cxn>
                <a:cxn ang="0">
                  <a:pos x="T12" y="T13"/>
                </a:cxn>
              </a:cxnLst>
              <a:rect l="0" t="0" r="r" b="b"/>
              <a:pathLst>
                <a:path w="263" h="117">
                  <a:moveTo>
                    <a:pt x="233" y="116"/>
                  </a:moveTo>
                  <a:lnTo>
                    <a:pt x="233" y="116"/>
                  </a:lnTo>
                  <a:cubicBezTo>
                    <a:pt x="262" y="87"/>
                    <a:pt x="262" y="57"/>
                    <a:pt x="233" y="29"/>
                  </a:cubicBezTo>
                  <a:cubicBezTo>
                    <a:pt x="233" y="29"/>
                    <a:pt x="203" y="29"/>
                    <a:pt x="174" y="29"/>
                  </a:cubicBezTo>
                  <a:lnTo>
                    <a:pt x="174" y="57"/>
                  </a:lnTo>
                  <a:cubicBezTo>
                    <a:pt x="116" y="57"/>
                    <a:pt x="58" y="0"/>
                    <a:pt x="0" y="29"/>
                  </a:cubicBezTo>
                  <a:cubicBezTo>
                    <a:pt x="58" y="87"/>
                    <a:pt x="145" y="116"/>
                    <a:pt x="233" y="11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5" name="Freeform 892">
              <a:extLst>
                <a:ext uri="{FF2B5EF4-FFF2-40B4-BE49-F238E27FC236}">
                  <a16:creationId xmlns:a16="http://schemas.microsoft.com/office/drawing/2014/main" id="{E1B0C043-AC25-433F-9886-C91698E001F2}"/>
                </a:ext>
              </a:extLst>
            </p:cNvPr>
            <p:cNvSpPr>
              <a:spLocks noChangeArrowheads="1"/>
            </p:cNvSpPr>
            <p:nvPr/>
          </p:nvSpPr>
          <p:spPr bwMode="auto">
            <a:xfrm>
              <a:off x="5332930" y="-116460"/>
              <a:ext cx="55449" cy="43695"/>
            </a:xfrm>
            <a:custGeom>
              <a:avLst/>
              <a:gdLst>
                <a:gd name="T0" fmla="*/ 59 w 148"/>
                <a:gd name="T1" fmla="*/ 87 h 117"/>
                <a:gd name="T2" fmla="*/ 59 w 148"/>
                <a:gd name="T3" fmla="*/ 87 h 117"/>
                <a:gd name="T4" fmla="*/ 117 w 148"/>
                <a:gd name="T5" fmla="*/ 116 h 117"/>
                <a:gd name="T6" fmla="*/ 147 w 148"/>
                <a:gd name="T7" fmla="*/ 58 h 117"/>
                <a:gd name="T8" fmla="*/ 30 w 148"/>
                <a:gd name="T9" fmla="*/ 0 h 117"/>
                <a:gd name="T10" fmla="*/ 59 w 148"/>
                <a:gd name="T11" fmla="*/ 87 h 117"/>
              </a:gdLst>
              <a:ahLst/>
              <a:cxnLst>
                <a:cxn ang="0">
                  <a:pos x="T0" y="T1"/>
                </a:cxn>
                <a:cxn ang="0">
                  <a:pos x="T2" y="T3"/>
                </a:cxn>
                <a:cxn ang="0">
                  <a:pos x="T4" y="T5"/>
                </a:cxn>
                <a:cxn ang="0">
                  <a:pos x="T6" y="T7"/>
                </a:cxn>
                <a:cxn ang="0">
                  <a:pos x="T8" y="T9"/>
                </a:cxn>
                <a:cxn ang="0">
                  <a:pos x="T10" y="T11"/>
                </a:cxn>
              </a:cxnLst>
              <a:rect l="0" t="0" r="r" b="b"/>
              <a:pathLst>
                <a:path w="148" h="117">
                  <a:moveTo>
                    <a:pt x="59" y="87"/>
                  </a:moveTo>
                  <a:lnTo>
                    <a:pt x="59" y="87"/>
                  </a:lnTo>
                  <a:cubicBezTo>
                    <a:pt x="88" y="116"/>
                    <a:pt x="88" y="116"/>
                    <a:pt x="117" y="116"/>
                  </a:cubicBezTo>
                  <a:cubicBezTo>
                    <a:pt x="117" y="87"/>
                    <a:pt x="117" y="87"/>
                    <a:pt x="147" y="58"/>
                  </a:cubicBezTo>
                  <a:cubicBezTo>
                    <a:pt x="147" y="0"/>
                    <a:pt x="88" y="0"/>
                    <a:pt x="30" y="0"/>
                  </a:cubicBezTo>
                  <a:cubicBezTo>
                    <a:pt x="0" y="28"/>
                    <a:pt x="59" y="58"/>
                    <a:pt x="59" y="8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6" name="Freeform 893">
              <a:extLst>
                <a:ext uri="{FF2B5EF4-FFF2-40B4-BE49-F238E27FC236}">
                  <a16:creationId xmlns:a16="http://schemas.microsoft.com/office/drawing/2014/main" id="{C1050573-E868-4ABA-8C2C-FC8DF9259ED7}"/>
                </a:ext>
              </a:extLst>
            </p:cNvPr>
            <p:cNvSpPr>
              <a:spLocks noChangeArrowheads="1"/>
            </p:cNvSpPr>
            <p:nvPr/>
          </p:nvSpPr>
          <p:spPr bwMode="auto">
            <a:xfrm>
              <a:off x="5786305" y="-116460"/>
              <a:ext cx="32617" cy="43695"/>
            </a:xfrm>
            <a:custGeom>
              <a:avLst/>
              <a:gdLst>
                <a:gd name="T0" fmla="*/ 0 w 88"/>
                <a:gd name="T1" fmla="*/ 87 h 117"/>
                <a:gd name="T2" fmla="*/ 0 w 88"/>
                <a:gd name="T3" fmla="*/ 87 h 117"/>
                <a:gd name="T4" fmla="*/ 87 w 88"/>
                <a:gd name="T5" fmla="*/ 87 h 117"/>
                <a:gd name="T6" fmla="*/ 87 w 88"/>
                <a:gd name="T7" fmla="*/ 28 h 117"/>
                <a:gd name="T8" fmla="*/ 0 w 88"/>
                <a:gd name="T9" fmla="*/ 87 h 117"/>
              </a:gdLst>
              <a:ahLst/>
              <a:cxnLst>
                <a:cxn ang="0">
                  <a:pos x="T0" y="T1"/>
                </a:cxn>
                <a:cxn ang="0">
                  <a:pos x="T2" y="T3"/>
                </a:cxn>
                <a:cxn ang="0">
                  <a:pos x="T4" y="T5"/>
                </a:cxn>
                <a:cxn ang="0">
                  <a:pos x="T6" y="T7"/>
                </a:cxn>
                <a:cxn ang="0">
                  <a:pos x="T8" y="T9"/>
                </a:cxn>
              </a:cxnLst>
              <a:rect l="0" t="0" r="r" b="b"/>
              <a:pathLst>
                <a:path w="88" h="117">
                  <a:moveTo>
                    <a:pt x="0" y="87"/>
                  </a:moveTo>
                  <a:lnTo>
                    <a:pt x="0" y="87"/>
                  </a:lnTo>
                  <a:cubicBezTo>
                    <a:pt x="0" y="116"/>
                    <a:pt x="57" y="116"/>
                    <a:pt x="87" y="87"/>
                  </a:cubicBezTo>
                  <a:cubicBezTo>
                    <a:pt x="57" y="58"/>
                    <a:pt x="87" y="58"/>
                    <a:pt x="87" y="28"/>
                  </a:cubicBezTo>
                  <a:cubicBezTo>
                    <a:pt x="57" y="0"/>
                    <a:pt x="0" y="28"/>
                    <a:pt x="0" y="8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7" name="Freeform 894">
              <a:extLst>
                <a:ext uri="{FF2B5EF4-FFF2-40B4-BE49-F238E27FC236}">
                  <a16:creationId xmlns:a16="http://schemas.microsoft.com/office/drawing/2014/main" id="{FA4FBEB2-9885-454E-8022-0A535E94BD24}"/>
                </a:ext>
              </a:extLst>
            </p:cNvPr>
            <p:cNvSpPr>
              <a:spLocks noChangeArrowheads="1"/>
            </p:cNvSpPr>
            <p:nvPr/>
          </p:nvSpPr>
          <p:spPr bwMode="auto">
            <a:xfrm>
              <a:off x="5236710" y="-106750"/>
              <a:ext cx="44033" cy="43695"/>
            </a:xfrm>
            <a:custGeom>
              <a:avLst/>
              <a:gdLst>
                <a:gd name="T0" fmla="*/ 29 w 118"/>
                <a:gd name="T1" fmla="*/ 117 h 118"/>
                <a:gd name="T2" fmla="*/ 29 w 118"/>
                <a:gd name="T3" fmla="*/ 117 h 118"/>
                <a:gd name="T4" fmla="*/ 117 w 118"/>
                <a:gd name="T5" fmla="*/ 59 h 118"/>
                <a:gd name="T6" fmla="*/ 29 w 118"/>
                <a:gd name="T7" fmla="*/ 0 h 118"/>
                <a:gd name="T8" fmla="*/ 0 w 118"/>
                <a:gd name="T9" fmla="*/ 59 h 118"/>
                <a:gd name="T10" fmla="*/ 29 w 118"/>
                <a:gd name="T11" fmla="*/ 117 h 118"/>
              </a:gdLst>
              <a:ahLst/>
              <a:cxnLst>
                <a:cxn ang="0">
                  <a:pos x="T0" y="T1"/>
                </a:cxn>
                <a:cxn ang="0">
                  <a:pos x="T2" y="T3"/>
                </a:cxn>
                <a:cxn ang="0">
                  <a:pos x="T4" y="T5"/>
                </a:cxn>
                <a:cxn ang="0">
                  <a:pos x="T6" y="T7"/>
                </a:cxn>
                <a:cxn ang="0">
                  <a:pos x="T8" y="T9"/>
                </a:cxn>
                <a:cxn ang="0">
                  <a:pos x="T10" y="T11"/>
                </a:cxn>
              </a:cxnLst>
              <a:rect l="0" t="0" r="r" b="b"/>
              <a:pathLst>
                <a:path w="118" h="118">
                  <a:moveTo>
                    <a:pt x="29" y="117"/>
                  </a:moveTo>
                  <a:lnTo>
                    <a:pt x="29" y="117"/>
                  </a:lnTo>
                  <a:cubicBezTo>
                    <a:pt x="88" y="117"/>
                    <a:pt x="117" y="88"/>
                    <a:pt x="117" y="59"/>
                  </a:cubicBezTo>
                  <a:cubicBezTo>
                    <a:pt x="88" y="30"/>
                    <a:pt x="59" y="0"/>
                    <a:pt x="29" y="0"/>
                  </a:cubicBezTo>
                  <a:cubicBezTo>
                    <a:pt x="0" y="0"/>
                    <a:pt x="0" y="30"/>
                    <a:pt x="0" y="59"/>
                  </a:cubicBezTo>
                  <a:cubicBezTo>
                    <a:pt x="29" y="88"/>
                    <a:pt x="29" y="88"/>
                    <a:pt x="29"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8" name="Freeform 895">
              <a:extLst>
                <a:ext uri="{FF2B5EF4-FFF2-40B4-BE49-F238E27FC236}">
                  <a16:creationId xmlns:a16="http://schemas.microsoft.com/office/drawing/2014/main" id="{8A87370D-D3CB-424B-9218-EE2F21D075F9}"/>
                </a:ext>
              </a:extLst>
            </p:cNvPr>
            <p:cNvSpPr>
              <a:spLocks noChangeArrowheads="1"/>
            </p:cNvSpPr>
            <p:nvPr/>
          </p:nvSpPr>
          <p:spPr bwMode="auto">
            <a:xfrm>
              <a:off x="5063840" y="-95421"/>
              <a:ext cx="86435" cy="74443"/>
            </a:xfrm>
            <a:custGeom>
              <a:avLst/>
              <a:gdLst>
                <a:gd name="T0" fmla="*/ 176 w 235"/>
                <a:gd name="T1" fmla="*/ 29 h 205"/>
                <a:gd name="T2" fmla="*/ 176 w 235"/>
                <a:gd name="T3" fmla="*/ 29 h 205"/>
                <a:gd name="T4" fmla="*/ 88 w 235"/>
                <a:gd name="T5" fmla="*/ 29 h 205"/>
                <a:gd name="T6" fmla="*/ 59 w 235"/>
                <a:gd name="T7" fmla="*/ 117 h 205"/>
                <a:gd name="T8" fmla="*/ 88 w 235"/>
                <a:gd name="T9" fmla="*/ 146 h 205"/>
                <a:gd name="T10" fmla="*/ 0 w 235"/>
                <a:gd name="T11" fmla="*/ 146 h 205"/>
                <a:gd name="T12" fmla="*/ 0 w 235"/>
                <a:gd name="T13" fmla="*/ 175 h 205"/>
                <a:gd name="T14" fmla="*/ 146 w 235"/>
                <a:gd name="T15" fmla="*/ 204 h 205"/>
                <a:gd name="T16" fmla="*/ 146 w 235"/>
                <a:gd name="T17" fmla="*/ 175 h 205"/>
                <a:gd name="T18" fmla="*/ 234 w 235"/>
                <a:gd name="T19" fmla="*/ 87 h 205"/>
                <a:gd name="T20" fmla="*/ 176 w 235"/>
                <a:gd name="T21" fmla="*/ 58 h 205"/>
                <a:gd name="T22" fmla="*/ 176 w 235"/>
                <a:gd name="T23" fmla="*/ 29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 h="205">
                  <a:moveTo>
                    <a:pt x="176" y="29"/>
                  </a:moveTo>
                  <a:lnTo>
                    <a:pt x="176" y="29"/>
                  </a:lnTo>
                  <a:cubicBezTo>
                    <a:pt x="146" y="0"/>
                    <a:pt x="117" y="29"/>
                    <a:pt x="88" y="29"/>
                  </a:cubicBezTo>
                  <a:cubicBezTo>
                    <a:pt x="88" y="58"/>
                    <a:pt x="88" y="87"/>
                    <a:pt x="59" y="117"/>
                  </a:cubicBezTo>
                  <a:lnTo>
                    <a:pt x="88" y="146"/>
                  </a:lnTo>
                  <a:cubicBezTo>
                    <a:pt x="59" y="146"/>
                    <a:pt x="0" y="117"/>
                    <a:pt x="0" y="146"/>
                  </a:cubicBezTo>
                  <a:cubicBezTo>
                    <a:pt x="0" y="175"/>
                    <a:pt x="0" y="175"/>
                    <a:pt x="0" y="175"/>
                  </a:cubicBezTo>
                  <a:cubicBezTo>
                    <a:pt x="59" y="175"/>
                    <a:pt x="88" y="204"/>
                    <a:pt x="146" y="204"/>
                  </a:cubicBezTo>
                  <a:cubicBezTo>
                    <a:pt x="146" y="175"/>
                    <a:pt x="117" y="175"/>
                    <a:pt x="146" y="175"/>
                  </a:cubicBezTo>
                  <a:cubicBezTo>
                    <a:pt x="176" y="146"/>
                    <a:pt x="205" y="117"/>
                    <a:pt x="234" y="87"/>
                  </a:cubicBezTo>
                  <a:cubicBezTo>
                    <a:pt x="234" y="58"/>
                    <a:pt x="205" y="58"/>
                    <a:pt x="176" y="58"/>
                  </a:cubicBezTo>
                  <a:cubicBezTo>
                    <a:pt x="205" y="29"/>
                    <a:pt x="205" y="29"/>
                    <a:pt x="176"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9" name="Freeform 896">
              <a:extLst>
                <a:ext uri="{FF2B5EF4-FFF2-40B4-BE49-F238E27FC236}">
                  <a16:creationId xmlns:a16="http://schemas.microsoft.com/office/drawing/2014/main" id="{D7B940DC-2BE9-4C3A-BF74-EC2A3ED3AB93}"/>
                </a:ext>
              </a:extLst>
            </p:cNvPr>
            <p:cNvSpPr>
              <a:spLocks noChangeArrowheads="1"/>
            </p:cNvSpPr>
            <p:nvPr/>
          </p:nvSpPr>
          <p:spPr bwMode="auto">
            <a:xfrm>
              <a:off x="4685484" y="-85711"/>
              <a:ext cx="44033" cy="32366"/>
            </a:xfrm>
            <a:custGeom>
              <a:avLst/>
              <a:gdLst>
                <a:gd name="T0" fmla="*/ 117 w 118"/>
                <a:gd name="T1" fmla="*/ 88 h 89"/>
                <a:gd name="T2" fmla="*/ 117 w 118"/>
                <a:gd name="T3" fmla="*/ 88 h 89"/>
                <a:gd name="T4" fmla="*/ 0 w 118"/>
                <a:gd name="T5" fmla="*/ 0 h 89"/>
                <a:gd name="T6" fmla="*/ 117 w 118"/>
                <a:gd name="T7" fmla="*/ 88 h 89"/>
              </a:gdLst>
              <a:ahLst/>
              <a:cxnLst>
                <a:cxn ang="0">
                  <a:pos x="T0" y="T1"/>
                </a:cxn>
                <a:cxn ang="0">
                  <a:pos x="T2" y="T3"/>
                </a:cxn>
                <a:cxn ang="0">
                  <a:pos x="T4" y="T5"/>
                </a:cxn>
                <a:cxn ang="0">
                  <a:pos x="T6" y="T7"/>
                </a:cxn>
              </a:cxnLst>
              <a:rect l="0" t="0" r="r" b="b"/>
              <a:pathLst>
                <a:path w="118" h="89">
                  <a:moveTo>
                    <a:pt x="117" y="88"/>
                  </a:moveTo>
                  <a:lnTo>
                    <a:pt x="117" y="88"/>
                  </a:lnTo>
                  <a:cubicBezTo>
                    <a:pt x="88" y="58"/>
                    <a:pt x="88" y="0"/>
                    <a:pt x="0" y="0"/>
                  </a:cubicBezTo>
                  <a:cubicBezTo>
                    <a:pt x="30" y="58"/>
                    <a:pt x="59" y="88"/>
                    <a:pt x="117"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20" name="Freeform 897">
              <a:extLst>
                <a:ext uri="{FF2B5EF4-FFF2-40B4-BE49-F238E27FC236}">
                  <a16:creationId xmlns:a16="http://schemas.microsoft.com/office/drawing/2014/main" id="{60517CD2-A354-4450-BD84-0DE76228B45F}"/>
                </a:ext>
              </a:extLst>
            </p:cNvPr>
            <p:cNvSpPr>
              <a:spLocks noChangeArrowheads="1"/>
            </p:cNvSpPr>
            <p:nvPr/>
          </p:nvSpPr>
          <p:spPr bwMode="auto">
            <a:xfrm>
              <a:off x="4965990" y="-74383"/>
              <a:ext cx="97851" cy="64733"/>
            </a:xfrm>
            <a:custGeom>
              <a:avLst/>
              <a:gdLst>
                <a:gd name="T0" fmla="*/ 146 w 263"/>
                <a:gd name="T1" fmla="*/ 117 h 177"/>
                <a:gd name="T2" fmla="*/ 146 w 263"/>
                <a:gd name="T3" fmla="*/ 117 h 177"/>
                <a:gd name="T4" fmla="*/ 262 w 263"/>
                <a:gd name="T5" fmla="*/ 29 h 177"/>
                <a:gd name="T6" fmla="*/ 175 w 263"/>
                <a:gd name="T7" fmla="*/ 59 h 177"/>
                <a:gd name="T8" fmla="*/ 146 w 263"/>
                <a:gd name="T9" fmla="*/ 59 h 177"/>
                <a:gd name="T10" fmla="*/ 0 w 263"/>
                <a:gd name="T11" fmla="*/ 117 h 177"/>
                <a:gd name="T12" fmla="*/ 146 w 263"/>
                <a:gd name="T13" fmla="*/ 117 h 177"/>
              </a:gdLst>
              <a:ahLst/>
              <a:cxnLst>
                <a:cxn ang="0">
                  <a:pos x="T0" y="T1"/>
                </a:cxn>
                <a:cxn ang="0">
                  <a:pos x="T2" y="T3"/>
                </a:cxn>
                <a:cxn ang="0">
                  <a:pos x="T4" y="T5"/>
                </a:cxn>
                <a:cxn ang="0">
                  <a:pos x="T6" y="T7"/>
                </a:cxn>
                <a:cxn ang="0">
                  <a:pos x="T8" y="T9"/>
                </a:cxn>
                <a:cxn ang="0">
                  <a:pos x="T10" y="T11"/>
                </a:cxn>
                <a:cxn ang="0">
                  <a:pos x="T12" y="T13"/>
                </a:cxn>
              </a:cxnLst>
              <a:rect l="0" t="0" r="r" b="b"/>
              <a:pathLst>
                <a:path w="263" h="177">
                  <a:moveTo>
                    <a:pt x="146" y="117"/>
                  </a:moveTo>
                  <a:lnTo>
                    <a:pt x="146" y="117"/>
                  </a:lnTo>
                  <a:cubicBezTo>
                    <a:pt x="204" y="88"/>
                    <a:pt x="233" y="59"/>
                    <a:pt x="262" y="29"/>
                  </a:cubicBezTo>
                  <a:cubicBezTo>
                    <a:pt x="233" y="0"/>
                    <a:pt x="204" y="29"/>
                    <a:pt x="175" y="59"/>
                  </a:cubicBezTo>
                  <a:cubicBezTo>
                    <a:pt x="146" y="59"/>
                    <a:pt x="146" y="59"/>
                    <a:pt x="146" y="59"/>
                  </a:cubicBezTo>
                  <a:cubicBezTo>
                    <a:pt x="88" y="88"/>
                    <a:pt x="29" y="88"/>
                    <a:pt x="0" y="117"/>
                  </a:cubicBezTo>
                  <a:cubicBezTo>
                    <a:pt x="58" y="176"/>
                    <a:pt x="117" y="146"/>
                    <a:pt x="146"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21" name="Freeform 898">
              <a:extLst>
                <a:ext uri="{FF2B5EF4-FFF2-40B4-BE49-F238E27FC236}">
                  <a16:creationId xmlns:a16="http://schemas.microsoft.com/office/drawing/2014/main" id="{ADAB6AAC-90A2-4255-8D76-451F641697D6}"/>
                </a:ext>
              </a:extLst>
            </p:cNvPr>
            <p:cNvSpPr>
              <a:spLocks noChangeArrowheads="1"/>
            </p:cNvSpPr>
            <p:nvPr/>
          </p:nvSpPr>
          <p:spPr bwMode="auto">
            <a:xfrm>
              <a:off x="5711287" y="-64673"/>
              <a:ext cx="44032" cy="43695"/>
            </a:xfrm>
            <a:custGeom>
              <a:avLst/>
              <a:gdLst>
                <a:gd name="T0" fmla="*/ 117 w 118"/>
                <a:gd name="T1" fmla="*/ 0 h 118"/>
                <a:gd name="T2" fmla="*/ 117 w 118"/>
                <a:gd name="T3" fmla="*/ 0 h 118"/>
                <a:gd name="T4" fmla="*/ 0 w 118"/>
                <a:gd name="T5" fmla="*/ 117 h 118"/>
                <a:gd name="T6" fmla="*/ 88 w 118"/>
                <a:gd name="T7" fmla="*/ 117 h 118"/>
                <a:gd name="T8" fmla="*/ 117 w 118"/>
                <a:gd name="T9" fmla="*/ 0 h 118"/>
              </a:gdLst>
              <a:ahLst/>
              <a:cxnLst>
                <a:cxn ang="0">
                  <a:pos x="T0" y="T1"/>
                </a:cxn>
                <a:cxn ang="0">
                  <a:pos x="T2" y="T3"/>
                </a:cxn>
                <a:cxn ang="0">
                  <a:pos x="T4" y="T5"/>
                </a:cxn>
                <a:cxn ang="0">
                  <a:pos x="T6" y="T7"/>
                </a:cxn>
                <a:cxn ang="0">
                  <a:pos x="T8" y="T9"/>
                </a:cxn>
              </a:cxnLst>
              <a:rect l="0" t="0" r="r" b="b"/>
              <a:pathLst>
                <a:path w="118" h="118">
                  <a:moveTo>
                    <a:pt x="117" y="0"/>
                  </a:moveTo>
                  <a:lnTo>
                    <a:pt x="117" y="0"/>
                  </a:lnTo>
                  <a:cubicBezTo>
                    <a:pt x="88" y="30"/>
                    <a:pt x="29" y="59"/>
                    <a:pt x="0" y="117"/>
                  </a:cubicBezTo>
                  <a:cubicBezTo>
                    <a:pt x="29" y="117"/>
                    <a:pt x="59" y="117"/>
                    <a:pt x="88" y="117"/>
                  </a:cubicBezTo>
                  <a:cubicBezTo>
                    <a:pt x="88" y="59"/>
                    <a:pt x="117" y="59"/>
                    <a:pt x="1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22" name="Freeform 899">
              <a:extLst>
                <a:ext uri="{FF2B5EF4-FFF2-40B4-BE49-F238E27FC236}">
                  <a16:creationId xmlns:a16="http://schemas.microsoft.com/office/drawing/2014/main" id="{2C8DDBC4-4799-4CB6-93B5-E044BA9C9520}"/>
                </a:ext>
              </a:extLst>
            </p:cNvPr>
            <p:cNvSpPr>
              <a:spLocks noChangeArrowheads="1"/>
            </p:cNvSpPr>
            <p:nvPr/>
          </p:nvSpPr>
          <p:spPr bwMode="auto">
            <a:xfrm>
              <a:off x="4858354" y="-42017"/>
              <a:ext cx="32617" cy="21039"/>
            </a:xfrm>
            <a:custGeom>
              <a:avLst/>
              <a:gdLst>
                <a:gd name="T0" fmla="*/ 88 w 89"/>
                <a:gd name="T1" fmla="*/ 29 h 59"/>
                <a:gd name="T2" fmla="*/ 88 w 89"/>
                <a:gd name="T3" fmla="*/ 29 h 59"/>
                <a:gd name="T4" fmla="*/ 0 w 89"/>
                <a:gd name="T5" fmla="*/ 58 h 59"/>
                <a:gd name="T6" fmla="*/ 88 w 89"/>
                <a:gd name="T7" fmla="*/ 29 h 59"/>
              </a:gdLst>
              <a:ahLst/>
              <a:cxnLst>
                <a:cxn ang="0">
                  <a:pos x="T0" y="T1"/>
                </a:cxn>
                <a:cxn ang="0">
                  <a:pos x="T2" y="T3"/>
                </a:cxn>
                <a:cxn ang="0">
                  <a:pos x="T4" y="T5"/>
                </a:cxn>
                <a:cxn ang="0">
                  <a:pos x="T6" y="T7"/>
                </a:cxn>
              </a:cxnLst>
              <a:rect l="0" t="0" r="r" b="b"/>
              <a:pathLst>
                <a:path w="89" h="59">
                  <a:moveTo>
                    <a:pt x="88" y="29"/>
                  </a:moveTo>
                  <a:lnTo>
                    <a:pt x="88" y="29"/>
                  </a:lnTo>
                  <a:cubicBezTo>
                    <a:pt x="59" y="29"/>
                    <a:pt x="0" y="0"/>
                    <a:pt x="0" y="58"/>
                  </a:cubicBezTo>
                  <a:cubicBezTo>
                    <a:pt x="30" y="58"/>
                    <a:pt x="59" y="58"/>
                    <a:pt x="8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23" name="Freeform 900">
              <a:extLst>
                <a:ext uri="{FF2B5EF4-FFF2-40B4-BE49-F238E27FC236}">
                  <a16:creationId xmlns:a16="http://schemas.microsoft.com/office/drawing/2014/main" id="{47F84427-D512-4182-B43E-4876FC9898E0}"/>
                </a:ext>
              </a:extLst>
            </p:cNvPr>
            <p:cNvSpPr>
              <a:spLocks noChangeArrowheads="1"/>
            </p:cNvSpPr>
            <p:nvPr/>
          </p:nvSpPr>
          <p:spPr bwMode="auto">
            <a:xfrm>
              <a:off x="4902387" y="-42017"/>
              <a:ext cx="32617" cy="21039"/>
            </a:xfrm>
            <a:custGeom>
              <a:avLst/>
              <a:gdLst>
                <a:gd name="T0" fmla="*/ 0 w 88"/>
                <a:gd name="T1" fmla="*/ 58 h 59"/>
                <a:gd name="T2" fmla="*/ 0 w 88"/>
                <a:gd name="T3" fmla="*/ 58 h 59"/>
                <a:gd name="T4" fmla="*/ 87 w 88"/>
                <a:gd name="T5" fmla="*/ 58 h 59"/>
                <a:gd name="T6" fmla="*/ 0 w 88"/>
                <a:gd name="T7" fmla="*/ 58 h 59"/>
              </a:gdLst>
              <a:ahLst/>
              <a:cxnLst>
                <a:cxn ang="0">
                  <a:pos x="T0" y="T1"/>
                </a:cxn>
                <a:cxn ang="0">
                  <a:pos x="T2" y="T3"/>
                </a:cxn>
                <a:cxn ang="0">
                  <a:pos x="T4" y="T5"/>
                </a:cxn>
                <a:cxn ang="0">
                  <a:pos x="T6" y="T7"/>
                </a:cxn>
              </a:cxnLst>
              <a:rect l="0" t="0" r="r" b="b"/>
              <a:pathLst>
                <a:path w="88" h="59">
                  <a:moveTo>
                    <a:pt x="0" y="58"/>
                  </a:moveTo>
                  <a:lnTo>
                    <a:pt x="0" y="58"/>
                  </a:lnTo>
                  <a:cubicBezTo>
                    <a:pt x="29" y="58"/>
                    <a:pt x="58" y="58"/>
                    <a:pt x="87" y="58"/>
                  </a:cubicBezTo>
                  <a:cubicBezTo>
                    <a:pt x="87" y="0"/>
                    <a:pt x="0" y="29"/>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24" name="Freeform 901">
              <a:extLst>
                <a:ext uri="{FF2B5EF4-FFF2-40B4-BE49-F238E27FC236}">
                  <a16:creationId xmlns:a16="http://schemas.microsoft.com/office/drawing/2014/main" id="{A0A692B1-4209-4BAD-BBD3-61B7F3B7EF0B}"/>
                </a:ext>
              </a:extLst>
            </p:cNvPr>
            <p:cNvSpPr>
              <a:spLocks noChangeArrowheads="1"/>
            </p:cNvSpPr>
            <p:nvPr/>
          </p:nvSpPr>
          <p:spPr bwMode="auto">
            <a:xfrm>
              <a:off x="6810476" y="-42017"/>
              <a:ext cx="151668" cy="224947"/>
            </a:xfrm>
            <a:custGeom>
              <a:avLst/>
              <a:gdLst>
                <a:gd name="T0" fmla="*/ 58 w 409"/>
                <a:gd name="T1" fmla="*/ 58 h 613"/>
                <a:gd name="T2" fmla="*/ 58 w 409"/>
                <a:gd name="T3" fmla="*/ 58 h 613"/>
                <a:gd name="T4" fmla="*/ 0 w 409"/>
                <a:gd name="T5" fmla="*/ 88 h 613"/>
                <a:gd name="T6" fmla="*/ 29 w 409"/>
                <a:gd name="T7" fmla="*/ 204 h 613"/>
                <a:gd name="T8" fmla="*/ 87 w 409"/>
                <a:gd name="T9" fmla="*/ 174 h 613"/>
                <a:gd name="T10" fmla="*/ 146 w 409"/>
                <a:gd name="T11" fmla="*/ 438 h 613"/>
                <a:gd name="T12" fmla="*/ 204 w 409"/>
                <a:gd name="T13" fmla="*/ 438 h 613"/>
                <a:gd name="T14" fmla="*/ 146 w 409"/>
                <a:gd name="T15" fmla="*/ 496 h 613"/>
                <a:gd name="T16" fmla="*/ 263 w 409"/>
                <a:gd name="T17" fmla="*/ 612 h 613"/>
                <a:gd name="T18" fmla="*/ 263 w 409"/>
                <a:gd name="T19" fmla="*/ 524 h 613"/>
                <a:gd name="T20" fmla="*/ 379 w 409"/>
                <a:gd name="T21" fmla="*/ 583 h 613"/>
                <a:gd name="T22" fmla="*/ 350 w 409"/>
                <a:gd name="T23" fmla="*/ 496 h 613"/>
                <a:gd name="T24" fmla="*/ 379 w 409"/>
                <a:gd name="T25" fmla="*/ 467 h 613"/>
                <a:gd name="T26" fmla="*/ 320 w 409"/>
                <a:gd name="T27" fmla="*/ 438 h 613"/>
                <a:gd name="T28" fmla="*/ 320 w 409"/>
                <a:gd name="T29" fmla="*/ 408 h 613"/>
                <a:gd name="T30" fmla="*/ 379 w 409"/>
                <a:gd name="T31" fmla="*/ 408 h 613"/>
                <a:gd name="T32" fmla="*/ 379 w 409"/>
                <a:gd name="T33" fmla="*/ 350 h 613"/>
                <a:gd name="T34" fmla="*/ 292 w 409"/>
                <a:gd name="T35" fmla="*/ 379 h 613"/>
                <a:gd name="T36" fmla="*/ 263 w 409"/>
                <a:gd name="T37" fmla="*/ 262 h 613"/>
                <a:gd name="T38" fmla="*/ 204 w 409"/>
                <a:gd name="T39" fmla="*/ 262 h 613"/>
                <a:gd name="T40" fmla="*/ 117 w 409"/>
                <a:gd name="T41" fmla="*/ 204 h 613"/>
                <a:gd name="T42" fmla="*/ 175 w 409"/>
                <a:gd name="T43" fmla="*/ 146 h 613"/>
                <a:gd name="T44" fmla="*/ 146 w 409"/>
                <a:gd name="T45" fmla="*/ 88 h 613"/>
                <a:gd name="T46" fmla="*/ 175 w 409"/>
                <a:gd name="T47" fmla="*/ 117 h 613"/>
                <a:gd name="T48" fmla="*/ 58 w 409"/>
                <a:gd name="T49" fmla="*/ 5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9" h="613">
                  <a:moveTo>
                    <a:pt x="58" y="58"/>
                  </a:moveTo>
                  <a:lnTo>
                    <a:pt x="58" y="58"/>
                  </a:lnTo>
                  <a:cubicBezTo>
                    <a:pt x="29" y="58"/>
                    <a:pt x="29" y="88"/>
                    <a:pt x="0" y="88"/>
                  </a:cubicBezTo>
                  <a:cubicBezTo>
                    <a:pt x="29" y="117"/>
                    <a:pt x="0" y="204"/>
                    <a:pt x="29" y="204"/>
                  </a:cubicBezTo>
                  <a:cubicBezTo>
                    <a:pt x="58" y="204"/>
                    <a:pt x="58" y="174"/>
                    <a:pt x="87" y="174"/>
                  </a:cubicBezTo>
                  <a:cubicBezTo>
                    <a:pt x="87" y="262"/>
                    <a:pt x="146" y="321"/>
                    <a:pt x="146" y="438"/>
                  </a:cubicBezTo>
                  <a:cubicBezTo>
                    <a:pt x="175" y="438"/>
                    <a:pt x="204" y="438"/>
                    <a:pt x="204" y="438"/>
                  </a:cubicBezTo>
                  <a:cubicBezTo>
                    <a:pt x="175" y="467"/>
                    <a:pt x="146" y="467"/>
                    <a:pt x="146" y="496"/>
                  </a:cubicBezTo>
                  <a:cubicBezTo>
                    <a:pt x="204" y="524"/>
                    <a:pt x="204" y="583"/>
                    <a:pt x="263" y="612"/>
                  </a:cubicBezTo>
                  <a:cubicBezTo>
                    <a:pt x="320" y="583"/>
                    <a:pt x="263" y="554"/>
                    <a:pt x="263" y="524"/>
                  </a:cubicBezTo>
                  <a:cubicBezTo>
                    <a:pt x="320" y="524"/>
                    <a:pt x="292" y="612"/>
                    <a:pt x="379" y="583"/>
                  </a:cubicBezTo>
                  <a:cubicBezTo>
                    <a:pt x="408" y="554"/>
                    <a:pt x="379" y="524"/>
                    <a:pt x="350" y="496"/>
                  </a:cubicBezTo>
                  <a:cubicBezTo>
                    <a:pt x="379" y="496"/>
                    <a:pt x="379" y="467"/>
                    <a:pt x="379" y="467"/>
                  </a:cubicBezTo>
                  <a:cubicBezTo>
                    <a:pt x="350" y="438"/>
                    <a:pt x="320" y="467"/>
                    <a:pt x="320" y="438"/>
                  </a:cubicBezTo>
                  <a:lnTo>
                    <a:pt x="320" y="408"/>
                  </a:lnTo>
                  <a:cubicBezTo>
                    <a:pt x="350" y="408"/>
                    <a:pt x="350" y="408"/>
                    <a:pt x="379" y="408"/>
                  </a:cubicBezTo>
                  <a:cubicBezTo>
                    <a:pt x="379" y="379"/>
                    <a:pt x="379" y="379"/>
                    <a:pt x="379" y="350"/>
                  </a:cubicBezTo>
                  <a:cubicBezTo>
                    <a:pt x="320" y="350"/>
                    <a:pt x="292" y="379"/>
                    <a:pt x="292" y="379"/>
                  </a:cubicBezTo>
                  <a:cubicBezTo>
                    <a:pt x="263" y="350"/>
                    <a:pt x="263" y="321"/>
                    <a:pt x="263" y="262"/>
                  </a:cubicBezTo>
                  <a:cubicBezTo>
                    <a:pt x="234" y="262"/>
                    <a:pt x="234" y="262"/>
                    <a:pt x="204" y="262"/>
                  </a:cubicBezTo>
                  <a:cubicBezTo>
                    <a:pt x="204" y="233"/>
                    <a:pt x="146" y="233"/>
                    <a:pt x="117" y="204"/>
                  </a:cubicBezTo>
                  <a:cubicBezTo>
                    <a:pt x="146" y="174"/>
                    <a:pt x="175" y="174"/>
                    <a:pt x="175" y="146"/>
                  </a:cubicBezTo>
                  <a:cubicBezTo>
                    <a:pt x="175" y="117"/>
                    <a:pt x="117" y="117"/>
                    <a:pt x="146" y="88"/>
                  </a:cubicBezTo>
                  <a:lnTo>
                    <a:pt x="175" y="117"/>
                  </a:lnTo>
                  <a:cubicBezTo>
                    <a:pt x="263" y="58"/>
                    <a:pt x="87" y="0"/>
                    <a:pt x="58"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25" name="Freeform 902">
              <a:extLst>
                <a:ext uri="{FF2B5EF4-FFF2-40B4-BE49-F238E27FC236}">
                  <a16:creationId xmlns:a16="http://schemas.microsoft.com/office/drawing/2014/main" id="{16404E8F-91F2-4D5B-9817-832790E9106D}"/>
                </a:ext>
              </a:extLst>
            </p:cNvPr>
            <p:cNvSpPr>
              <a:spLocks noChangeArrowheads="1"/>
            </p:cNvSpPr>
            <p:nvPr/>
          </p:nvSpPr>
          <p:spPr bwMode="auto">
            <a:xfrm>
              <a:off x="6875710" y="59"/>
              <a:ext cx="65234" cy="74443"/>
            </a:xfrm>
            <a:custGeom>
              <a:avLst/>
              <a:gdLst>
                <a:gd name="T0" fmla="*/ 117 w 176"/>
                <a:gd name="T1" fmla="*/ 204 h 205"/>
                <a:gd name="T2" fmla="*/ 117 w 176"/>
                <a:gd name="T3" fmla="*/ 204 h 205"/>
                <a:gd name="T4" fmla="*/ 117 w 176"/>
                <a:gd name="T5" fmla="*/ 87 h 205"/>
                <a:gd name="T6" fmla="*/ 0 w 176"/>
                <a:gd name="T7" fmla="*/ 87 h 205"/>
                <a:gd name="T8" fmla="*/ 117 w 176"/>
                <a:gd name="T9" fmla="*/ 204 h 205"/>
              </a:gdLst>
              <a:ahLst/>
              <a:cxnLst>
                <a:cxn ang="0">
                  <a:pos x="T0" y="T1"/>
                </a:cxn>
                <a:cxn ang="0">
                  <a:pos x="T2" y="T3"/>
                </a:cxn>
                <a:cxn ang="0">
                  <a:pos x="T4" y="T5"/>
                </a:cxn>
                <a:cxn ang="0">
                  <a:pos x="T6" y="T7"/>
                </a:cxn>
                <a:cxn ang="0">
                  <a:pos x="T8" y="T9"/>
                </a:cxn>
              </a:cxnLst>
              <a:rect l="0" t="0" r="r" b="b"/>
              <a:pathLst>
                <a:path w="176" h="205">
                  <a:moveTo>
                    <a:pt x="117" y="204"/>
                  </a:moveTo>
                  <a:lnTo>
                    <a:pt x="117" y="204"/>
                  </a:lnTo>
                  <a:cubicBezTo>
                    <a:pt x="175" y="145"/>
                    <a:pt x="145" y="116"/>
                    <a:pt x="117" y="87"/>
                  </a:cubicBezTo>
                  <a:cubicBezTo>
                    <a:pt x="88" y="57"/>
                    <a:pt x="29" y="0"/>
                    <a:pt x="0" y="87"/>
                  </a:cubicBezTo>
                  <a:cubicBezTo>
                    <a:pt x="59" y="116"/>
                    <a:pt x="88" y="145"/>
                    <a:pt x="117" y="2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26" name="Freeform 903">
              <a:extLst>
                <a:ext uri="{FF2B5EF4-FFF2-40B4-BE49-F238E27FC236}">
                  <a16:creationId xmlns:a16="http://schemas.microsoft.com/office/drawing/2014/main" id="{56A7A542-796C-4692-A0A2-CED5CDF1C077}"/>
                </a:ext>
              </a:extLst>
            </p:cNvPr>
            <p:cNvSpPr>
              <a:spLocks noChangeArrowheads="1"/>
            </p:cNvSpPr>
            <p:nvPr/>
          </p:nvSpPr>
          <p:spPr bwMode="auto">
            <a:xfrm>
              <a:off x="6950729" y="53465"/>
              <a:ext cx="32617" cy="97099"/>
            </a:xfrm>
            <a:custGeom>
              <a:avLst/>
              <a:gdLst>
                <a:gd name="T0" fmla="*/ 29 w 89"/>
                <a:gd name="T1" fmla="*/ 262 h 263"/>
                <a:gd name="T2" fmla="*/ 29 w 89"/>
                <a:gd name="T3" fmla="*/ 262 h 263"/>
                <a:gd name="T4" fmla="*/ 88 w 89"/>
                <a:gd name="T5" fmla="*/ 234 h 263"/>
                <a:gd name="T6" fmla="*/ 88 w 89"/>
                <a:gd name="T7" fmla="*/ 88 h 263"/>
                <a:gd name="T8" fmla="*/ 0 w 89"/>
                <a:gd name="T9" fmla="*/ 59 h 263"/>
                <a:gd name="T10" fmla="*/ 29 w 89"/>
                <a:gd name="T11" fmla="*/ 262 h 263"/>
              </a:gdLst>
              <a:ahLst/>
              <a:cxnLst>
                <a:cxn ang="0">
                  <a:pos x="T0" y="T1"/>
                </a:cxn>
                <a:cxn ang="0">
                  <a:pos x="T2" y="T3"/>
                </a:cxn>
                <a:cxn ang="0">
                  <a:pos x="T4" y="T5"/>
                </a:cxn>
                <a:cxn ang="0">
                  <a:pos x="T6" y="T7"/>
                </a:cxn>
                <a:cxn ang="0">
                  <a:pos x="T8" y="T9"/>
                </a:cxn>
                <a:cxn ang="0">
                  <a:pos x="T10" y="T11"/>
                </a:cxn>
              </a:cxnLst>
              <a:rect l="0" t="0" r="r" b="b"/>
              <a:pathLst>
                <a:path w="89" h="263">
                  <a:moveTo>
                    <a:pt x="29" y="262"/>
                  </a:moveTo>
                  <a:lnTo>
                    <a:pt x="29" y="262"/>
                  </a:lnTo>
                  <a:cubicBezTo>
                    <a:pt x="58" y="262"/>
                    <a:pt x="58" y="262"/>
                    <a:pt x="88" y="234"/>
                  </a:cubicBezTo>
                  <a:cubicBezTo>
                    <a:pt x="88" y="205"/>
                    <a:pt x="58" y="146"/>
                    <a:pt x="88" y="88"/>
                  </a:cubicBezTo>
                  <a:cubicBezTo>
                    <a:pt x="88" y="59"/>
                    <a:pt x="29" y="0"/>
                    <a:pt x="0" y="59"/>
                  </a:cubicBezTo>
                  <a:cubicBezTo>
                    <a:pt x="29" y="146"/>
                    <a:pt x="0" y="205"/>
                    <a:pt x="29" y="26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27" name="Freeform 904">
              <a:extLst>
                <a:ext uri="{FF2B5EF4-FFF2-40B4-BE49-F238E27FC236}">
                  <a16:creationId xmlns:a16="http://schemas.microsoft.com/office/drawing/2014/main" id="{541D8F55-E097-46E4-BBD9-87FBE57B3C0F}"/>
                </a:ext>
              </a:extLst>
            </p:cNvPr>
            <p:cNvSpPr>
              <a:spLocks noChangeArrowheads="1"/>
            </p:cNvSpPr>
            <p:nvPr/>
          </p:nvSpPr>
          <p:spPr bwMode="auto">
            <a:xfrm>
              <a:off x="7015963" y="129525"/>
              <a:ext cx="22832" cy="32366"/>
            </a:xfrm>
            <a:custGeom>
              <a:avLst/>
              <a:gdLst>
                <a:gd name="T0" fmla="*/ 0 w 60"/>
                <a:gd name="T1" fmla="*/ 29 h 88"/>
                <a:gd name="T2" fmla="*/ 0 w 60"/>
                <a:gd name="T3" fmla="*/ 29 h 88"/>
                <a:gd name="T4" fmla="*/ 0 w 60"/>
                <a:gd name="T5" fmla="*/ 87 h 88"/>
                <a:gd name="T6" fmla="*/ 30 w 60"/>
                <a:gd name="T7" fmla="*/ 87 h 88"/>
                <a:gd name="T8" fmla="*/ 0 w 60"/>
                <a:gd name="T9" fmla="*/ 29 h 88"/>
              </a:gdLst>
              <a:ahLst/>
              <a:cxnLst>
                <a:cxn ang="0">
                  <a:pos x="T0" y="T1"/>
                </a:cxn>
                <a:cxn ang="0">
                  <a:pos x="T2" y="T3"/>
                </a:cxn>
                <a:cxn ang="0">
                  <a:pos x="T4" y="T5"/>
                </a:cxn>
                <a:cxn ang="0">
                  <a:pos x="T6" y="T7"/>
                </a:cxn>
                <a:cxn ang="0">
                  <a:pos x="T8" y="T9"/>
                </a:cxn>
              </a:cxnLst>
              <a:rect l="0" t="0" r="r" b="b"/>
              <a:pathLst>
                <a:path w="60" h="88">
                  <a:moveTo>
                    <a:pt x="0" y="29"/>
                  </a:moveTo>
                  <a:lnTo>
                    <a:pt x="0" y="29"/>
                  </a:lnTo>
                  <a:cubicBezTo>
                    <a:pt x="0" y="57"/>
                    <a:pt x="0" y="57"/>
                    <a:pt x="0" y="87"/>
                  </a:cubicBezTo>
                  <a:cubicBezTo>
                    <a:pt x="0" y="87"/>
                    <a:pt x="0" y="87"/>
                    <a:pt x="30" y="87"/>
                  </a:cubicBezTo>
                  <a:cubicBezTo>
                    <a:pt x="59" y="57"/>
                    <a:pt x="30"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028" name="Group 1027" descr="Describe map here">
            <a:extLst>
              <a:ext uri="{FF2B5EF4-FFF2-40B4-BE49-F238E27FC236}">
                <a16:creationId xmlns:a16="http://schemas.microsoft.com/office/drawing/2014/main" id="{8136A538-DE3F-4E85-A183-B3C9D25C3B6E}"/>
              </a:ext>
            </a:extLst>
          </p:cNvPr>
          <p:cNvGrpSpPr/>
          <p:nvPr/>
        </p:nvGrpSpPr>
        <p:grpSpPr>
          <a:xfrm>
            <a:off x="2440825" y="4505654"/>
            <a:ext cx="1273691" cy="823725"/>
            <a:chOff x="9043103" y="-545314"/>
            <a:chExt cx="1273691" cy="823725"/>
          </a:xfrm>
          <a:solidFill>
            <a:schemeClr val="tx2">
              <a:lumMod val="40000"/>
              <a:lumOff val="60000"/>
            </a:schemeClr>
          </a:solidFill>
        </p:grpSpPr>
        <p:sp>
          <p:nvSpPr>
            <p:cNvPr id="1029" name="Freeform 905">
              <a:extLst>
                <a:ext uri="{FF2B5EF4-FFF2-40B4-BE49-F238E27FC236}">
                  <a16:creationId xmlns:a16="http://schemas.microsoft.com/office/drawing/2014/main" id="{64A7CE59-0F7B-4BFC-AFC0-AE82511F420F}"/>
                </a:ext>
              </a:extLst>
            </p:cNvPr>
            <p:cNvSpPr>
              <a:spLocks noChangeArrowheads="1"/>
            </p:cNvSpPr>
            <p:nvPr/>
          </p:nvSpPr>
          <p:spPr bwMode="auto">
            <a:xfrm>
              <a:off x="9108337" y="-545314"/>
              <a:ext cx="172870" cy="106809"/>
            </a:xfrm>
            <a:custGeom>
              <a:avLst/>
              <a:gdLst>
                <a:gd name="T0" fmla="*/ 175 w 468"/>
                <a:gd name="T1" fmla="*/ 175 h 293"/>
                <a:gd name="T2" fmla="*/ 175 w 468"/>
                <a:gd name="T3" fmla="*/ 175 h 293"/>
                <a:gd name="T4" fmla="*/ 408 w 468"/>
                <a:gd name="T5" fmla="*/ 233 h 293"/>
                <a:gd name="T6" fmla="*/ 438 w 468"/>
                <a:gd name="T7" fmla="*/ 29 h 293"/>
                <a:gd name="T8" fmla="*/ 205 w 468"/>
                <a:gd name="T9" fmla="*/ 0 h 293"/>
                <a:gd name="T10" fmla="*/ 175 w 468"/>
                <a:gd name="T11" fmla="*/ 175 h 293"/>
              </a:gdLst>
              <a:ahLst/>
              <a:cxnLst>
                <a:cxn ang="0">
                  <a:pos x="T0" y="T1"/>
                </a:cxn>
                <a:cxn ang="0">
                  <a:pos x="T2" y="T3"/>
                </a:cxn>
                <a:cxn ang="0">
                  <a:pos x="T4" y="T5"/>
                </a:cxn>
                <a:cxn ang="0">
                  <a:pos x="T6" y="T7"/>
                </a:cxn>
                <a:cxn ang="0">
                  <a:pos x="T8" y="T9"/>
                </a:cxn>
                <a:cxn ang="0">
                  <a:pos x="T10" y="T11"/>
                </a:cxn>
              </a:cxnLst>
              <a:rect l="0" t="0" r="r" b="b"/>
              <a:pathLst>
                <a:path w="468" h="293">
                  <a:moveTo>
                    <a:pt x="175" y="175"/>
                  </a:moveTo>
                  <a:lnTo>
                    <a:pt x="175" y="175"/>
                  </a:lnTo>
                  <a:cubicBezTo>
                    <a:pt x="175" y="262"/>
                    <a:pt x="350" y="292"/>
                    <a:pt x="408" y="233"/>
                  </a:cubicBezTo>
                  <a:cubicBezTo>
                    <a:pt x="438" y="146"/>
                    <a:pt x="467" y="88"/>
                    <a:pt x="438" y="29"/>
                  </a:cubicBezTo>
                  <a:cubicBezTo>
                    <a:pt x="350" y="0"/>
                    <a:pt x="291" y="0"/>
                    <a:pt x="205" y="0"/>
                  </a:cubicBezTo>
                  <a:cubicBezTo>
                    <a:pt x="175" y="59"/>
                    <a:pt x="0" y="146"/>
                    <a:pt x="175" y="17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0" name="Freeform 906">
              <a:extLst>
                <a:ext uri="{FF2B5EF4-FFF2-40B4-BE49-F238E27FC236}">
                  <a16:creationId xmlns:a16="http://schemas.microsoft.com/office/drawing/2014/main" id="{D3102816-8824-46C9-87D0-2986E3C62854}"/>
                </a:ext>
              </a:extLst>
            </p:cNvPr>
            <p:cNvSpPr>
              <a:spLocks noChangeArrowheads="1"/>
            </p:cNvSpPr>
            <p:nvPr/>
          </p:nvSpPr>
          <p:spPr bwMode="auto">
            <a:xfrm>
              <a:off x="9043103" y="-503238"/>
              <a:ext cx="53818" cy="74443"/>
            </a:xfrm>
            <a:custGeom>
              <a:avLst/>
              <a:gdLst>
                <a:gd name="T0" fmla="*/ 59 w 147"/>
                <a:gd name="T1" fmla="*/ 204 h 205"/>
                <a:gd name="T2" fmla="*/ 59 w 147"/>
                <a:gd name="T3" fmla="*/ 204 h 205"/>
                <a:gd name="T4" fmla="*/ 87 w 147"/>
                <a:gd name="T5" fmla="*/ 145 h 205"/>
                <a:gd name="T6" fmla="*/ 146 w 147"/>
                <a:gd name="T7" fmla="*/ 116 h 205"/>
                <a:gd name="T8" fmla="*/ 146 w 147"/>
                <a:gd name="T9" fmla="*/ 0 h 205"/>
                <a:gd name="T10" fmla="*/ 116 w 147"/>
                <a:gd name="T11" fmla="*/ 0 h 205"/>
                <a:gd name="T12" fmla="*/ 0 w 147"/>
                <a:gd name="T13" fmla="*/ 175 h 205"/>
                <a:gd name="T14" fmla="*/ 59 w 147"/>
                <a:gd name="T15" fmla="*/ 204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205">
                  <a:moveTo>
                    <a:pt x="59" y="204"/>
                  </a:moveTo>
                  <a:lnTo>
                    <a:pt x="59" y="204"/>
                  </a:lnTo>
                  <a:cubicBezTo>
                    <a:pt x="87" y="204"/>
                    <a:pt x="59" y="175"/>
                    <a:pt x="87" y="145"/>
                  </a:cubicBezTo>
                  <a:cubicBezTo>
                    <a:pt x="116" y="116"/>
                    <a:pt x="146" y="116"/>
                    <a:pt x="146" y="116"/>
                  </a:cubicBezTo>
                  <a:cubicBezTo>
                    <a:pt x="146" y="87"/>
                    <a:pt x="146" y="29"/>
                    <a:pt x="146" y="0"/>
                  </a:cubicBezTo>
                  <a:lnTo>
                    <a:pt x="116" y="0"/>
                  </a:lnTo>
                  <a:cubicBezTo>
                    <a:pt x="87" y="58"/>
                    <a:pt x="0" y="87"/>
                    <a:pt x="0" y="175"/>
                  </a:cubicBezTo>
                  <a:cubicBezTo>
                    <a:pt x="0" y="175"/>
                    <a:pt x="30" y="204"/>
                    <a:pt x="59" y="2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1" name="Freeform 907">
              <a:extLst>
                <a:ext uri="{FF2B5EF4-FFF2-40B4-BE49-F238E27FC236}">
                  <a16:creationId xmlns:a16="http://schemas.microsoft.com/office/drawing/2014/main" id="{74714306-6502-4E40-BCDD-109708488673}"/>
                </a:ext>
              </a:extLst>
            </p:cNvPr>
            <p:cNvSpPr>
              <a:spLocks noChangeArrowheads="1"/>
            </p:cNvSpPr>
            <p:nvPr/>
          </p:nvSpPr>
          <p:spPr bwMode="auto">
            <a:xfrm>
              <a:off x="9496478" y="-417467"/>
              <a:ext cx="151669" cy="129466"/>
            </a:xfrm>
            <a:custGeom>
              <a:avLst/>
              <a:gdLst>
                <a:gd name="T0" fmla="*/ 117 w 409"/>
                <a:gd name="T1" fmla="*/ 321 h 351"/>
                <a:gd name="T2" fmla="*/ 117 w 409"/>
                <a:gd name="T3" fmla="*/ 321 h 351"/>
                <a:gd name="T4" fmla="*/ 205 w 409"/>
                <a:gd name="T5" fmla="*/ 262 h 351"/>
                <a:gd name="T6" fmla="*/ 408 w 409"/>
                <a:gd name="T7" fmla="*/ 321 h 351"/>
                <a:gd name="T8" fmla="*/ 379 w 409"/>
                <a:gd name="T9" fmla="*/ 175 h 351"/>
                <a:gd name="T10" fmla="*/ 321 w 409"/>
                <a:gd name="T11" fmla="*/ 175 h 351"/>
                <a:gd name="T12" fmla="*/ 321 w 409"/>
                <a:gd name="T13" fmla="*/ 204 h 351"/>
                <a:gd name="T14" fmla="*/ 291 w 409"/>
                <a:gd name="T15" fmla="*/ 146 h 351"/>
                <a:gd name="T16" fmla="*/ 205 w 409"/>
                <a:gd name="T17" fmla="*/ 0 h 351"/>
                <a:gd name="T18" fmla="*/ 117 w 409"/>
                <a:gd name="T19" fmla="*/ 59 h 351"/>
                <a:gd name="T20" fmla="*/ 0 w 409"/>
                <a:gd name="T21" fmla="*/ 88 h 351"/>
                <a:gd name="T22" fmla="*/ 88 w 409"/>
                <a:gd name="T23" fmla="*/ 233 h 351"/>
                <a:gd name="T24" fmla="*/ 117 w 409"/>
                <a:gd name="T25" fmla="*/ 32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9" h="351">
                  <a:moveTo>
                    <a:pt x="117" y="321"/>
                  </a:moveTo>
                  <a:lnTo>
                    <a:pt x="117" y="321"/>
                  </a:lnTo>
                  <a:cubicBezTo>
                    <a:pt x="175" y="321"/>
                    <a:pt x="175" y="292"/>
                    <a:pt x="205" y="262"/>
                  </a:cubicBezTo>
                  <a:cubicBezTo>
                    <a:pt x="262" y="321"/>
                    <a:pt x="321" y="350"/>
                    <a:pt x="408" y="321"/>
                  </a:cubicBezTo>
                  <a:cubicBezTo>
                    <a:pt x="408" y="262"/>
                    <a:pt x="379" y="233"/>
                    <a:pt x="379" y="175"/>
                  </a:cubicBezTo>
                  <a:cubicBezTo>
                    <a:pt x="350" y="175"/>
                    <a:pt x="350" y="175"/>
                    <a:pt x="321" y="175"/>
                  </a:cubicBezTo>
                  <a:lnTo>
                    <a:pt x="321" y="204"/>
                  </a:lnTo>
                  <a:cubicBezTo>
                    <a:pt x="321" y="175"/>
                    <a:pt x="291" y="175"/>
                    <a:pt x="291" y="146"/>
                  </a:cubicBezTo>
                  <a:cubicBezTo>
                    <a:pt x="291" y="88"/>
                    <a:pt x="233" y="59"/>
                    <a:pt x="205" y="0"/>
                  </a:cubicBezTo>
                  <a:cubicBezTo>
                    <a:pt x="146" y="0"/>
                    <a:pt x="146" y="29"/>
                    <a:pt x="117" y="59"/>
                  </a:cubicBezTo>
                  <a:cubicBezTo>
                    <a:pt x="58" y="59"/>
                    <a:pt x="29" y="59"/>
                    <a:pt x="0" y="88"/>
                  </a:cubicBezTo>
                  <a:cubicBezTo>
                    <a:pt x="0" y="146"/>
                    <a:pt x="58" y="175"/>
                    <a:pt x="88" y="233"/>
                  </a:cubicBezTo>
                  <a:cubicBezTo>
                    <a:pt x="88" y="262"/>
                    <a:pt x="117" y="292"/>
                    <a:pt x="117" y="3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2" name="Freeform 908">
              <a:extLst>
                <a:ext uri="{FF2B5EF4-FFF2-40B4-BE49-F238E27FC236}">
                  <a16:creationId xmlns:a16="http://schemas.microsoft.com/office/drawing/2014/main" id="{1B04D03C-1F6C-4C10-BE46-24A98FF0C5D0}"/>
                </a:ext>
              </a:extLst>
            </p:cNvPr>
            <p:cNvSpPr>
              <a:spLocks noChangeArrowheads="1"/>
            </p:cNvSpPr>
            <p:nvPr/>
          </p:nvSpPr>
          <p:spPr bwMode="auto">
            <a:xfrm>
              <a:off x="9701965" y="-299329"/>
              <a:ext cx="172870" cy="64733"/>
            </a:xfrm>
            <a:custGeom>
              <a:avLst/>
              <a:gdLst>
                <a:gd name="T0" fmla="*/ 203 w 467"/>
                <a:gd name="T1" fmla="*/ 117 h 176"/>
                <a:gd name="T2" fmla="*/ 203 w 467"/>
                <a:gd name="T3" fmla="*/ 117 h 176"/>
                <a:gd name="T4" fmla="*/ 466 w 467"/>
                <a:gd name="T5" fmla="*/ 58 h 176"/>
                <a:gd name="T6" fmla="*/ 262 w 467"/>
                <a:gd name="T7" fmla="*/ 29 h 176"/>
                <a:gd name="T8" fmla="*/ 57 w 467"/>
                <a:gd name="T9" fmla="*/ 0 h 176"/>
                <a:gd name="T10" fmla="*/ 0 w 467"/>
                <a:gd name="T11" fmla="*/ 146 h 176"/>
                <a:gd name="T12" fmla="*/ 203 w 467"/>
                <a:gd name="T13" fmla="*/ 117 h 176"/>
              </a:gdLst>
              <a:ahLst/>
              <a:cxnLst>
                <a:cxn ang="0">
                  <a:pos x="T0" y="T1"/>
                </a:cxn>
                <a:cxn ang="0">
                  <a:pos x="T2" y="T3"/>
                </a:cxn>
                <a:cxn ang="0">
                  <a:pos x="T4" y="T5"/>
                </a:cxn>
                <a:cxn ang="0">
                  <a:pos x="T6" y="T7"/>
                </a:cxn>
                <a:cxn ang="0">
                  <a:pos x="T8" y="T9"/>
                </a:cxn>
                <a:cxn ang="0">
                  <a:pos x="T10" y="T11"/>
                </a:cxn>
                <a:cxn ang="0">
                  <a:pos x="T12" y="T13"/>
                </a:cxn>
              </a:cxnLst>
              <a:rect l="0" t="0" r="r" b="b"/>
              <a:pathLst>
                <a:path w="467" h="176">
                  <a:moveTo>
                    <a:pt x="203" y="117"/>
                  </a:moveTo>
                  <a:lnTo>
                    <a:pt x="203" y="117"/>
                  </a:lnTo>
                  <a:cubicBezTo>
                    <a:pt x="291" y="175"/>
                    <a:pt x="436" y="146"/>
                    <a:pt x="466" y="58"/>
                  </a:cubicBezTo>
                  <a:cubicBezTo>
                    <a:pt x="407" y="0"/>
                    <a:pt x="291" y="58"/>
                    <a:pt x="262" y="29"/>
                  </a:cubicBezTo>
                  <a:cubicBezTo>
                    <a:pt x="203" y="58"/>
                    <a:pt x="116" y="29"/>
                    <a:pt x="57" y="0"/>
                  </a:cubicBezTo>
                  <a:cubicBezTo>
                    <a:pt x="28" y="58"/>
                    <a:pt x="0" y="88"/>
                    <a:pt x="0" y="146"/>
                  </a:cubicBezTo>
                  <a:cubicBezTo>
                    <a:pt x="28" y="146"/>
                    <a:pt x="145" y="146"/>
                    <a:pt x="203"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3" name="Freeform 909">
              <a:extLst>
                <a:ext uri="{FF2B5EF4-FFF2-40B4-BE49-F238E27FC236}">
                  <a16:creationId xmlns:a16="http://schemas.microsoft.com/office/drawing/2014/main" id="{ECC5784D-9ECB-4E09-9E13-6B77FA7EBAA1}"/>
                </a:ext>
              </a:extLst>
            </p:cNvPr>
            <p:cNvSpPr>
              <a:spLocks noChangeArrowheads="1"/>
            </p:cNvSpPr>
            <p:nvPr/>
          </p:nvSpPr>
          <p:spPr bwMode="auto">
            <a:xfrm>
              <a:off x="9863419" y="-255635"/>
              <a:ext cx="163085" cy="129466"/>
            </a:xfrm>
            <a:custGeom>
              <a:avLst/>
              <a:gdLst>
                <a:gd name="T0" fmla="*/ 0 w 439"/>
                <a:gd name="T1" fmla="*/ 116 h 351"/>
                <a:gd name="T2" fmla="*/ 0 w 439"/>
                <a:gd name="T3" fmla="*/ 116 h 351"/>
                <a:gd name="T4" fmla="*/ 147 w 439"/>
                <a:gd name="T5" fmla="*/ 204 h 351"/>
                <a:gd name="T6" fmla="*/ 350 w 439"/>
                <a:gd name="T7" fmla="*/ 321 h 351"/>
                <a:gd name="T8" fmla="*/ 438 w 439"/>
                <a:gd name="T9" fmla="*/ 204 h 351"/>
                <a:gd name="T10" fmla="*/ 147 w 439"/>
                <a:gd name="T11" fmla="*/ 87 h 351"/>
                <a:gd name="T12" fmla="*/ 88 w 439"/>
                <a:gd name="T13" fmla="*/ 29 h 351"/>
                <a:gd name="T14" fmla="*/ 0 w 439"/>
                <a:gd name="T15" fmla="*/ 116 h 3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9" h="351">
                  <a:moveTo>
                    <a:pt x="0" y="116"/>
                  </a:moveTo>
                  <a:lnTo>
                    <a:pt x="0" y="116"/>
                  </a:lnTo>
                  <a:cubicBezTo>
                    <a:pt x="0" y="174"/>
                    <a:pt x="88" y="174"/>
                    <a:pt x="147" y="204"/>
                  </a:cubicBezTo>
                  <a:cubicBezTo>
                    <a:pt x="147" y="321"/>
                    <a:pt x="234" y="350"/>
                    <a:pt x="350" y="321"/>
                  </a:cubicBezTo>
                  <a:cubicBezTo>
                    <a:pt x="409" y="321"/>
                    <a:pt x="438" y="262"/>
                    <a:pt x="438" y="204"/>
                  </a:cubicBezTo>
                  <a:cubicBezTo>
                    <a:pt x="380" y="145"/>
                    <a:pt x="292" y="87"/>
                    <a:pt x="147" y="87"/>
                  </a:cubicBezTo>
                  <a:cubicBezTo>
                    <a:pt x="117" y="58"/>
                    <a:pt x="117" y="29"/>
                    <a:pt x="88" y="29"/>
                  </a:cubicBezTo>
                  <a:cubicBezTo>
                    <a:pt x="59" y="0"/>
                    <a:pt x="0" y="87"/>
                    <a:pt x="0" y="11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4" name="Freeform 910">
              <a:extLst>
                <a:ext uri="{FF2B5EF4-FFF2-40B4-BE49-F238E27FC236}">
                  <a16:creationId xmlns:a16="http://schemas.microsoft.com/office/drawing/2014/main" id="{F2D5EECA-0B4D-4C11-841F-16800CA057FE}"/>
                </a:ext>
              </a:extLst>
            </p:cNvPr>
            <p:cNvSpPr>
              <a:spLocks noChangeArrowheads="1"/>
            </p:cNvSpPr>
            <p:nvPr/>
          </p:nvSpPr>
          <p:spPr bwMode="auto">
            <a:xfrm>
              <a:off x="9776984" y="-245925"/>
              <a:ext cx="75019" cy="97099"/>
            </a:xfrm>
            <a:custGeom>
              <a:avLst/>
              <a:gdLst>
                <a:gd name="T0" fmla="*/ 175 w 205"/>
                <a:gd name="T1" fmla="*/ 175 h 263"/>
                <a:gd name="T2" fmla="*/ 175 w 205"/>
                <a:gd name="T3" fmla="*/ 175 h 263"/>
                <a:gd name="T4" fmla="*/ 175 w 205"/>
                <a:gd name="T5" fmla="*/ 58 h 263"/>
                <a:gd name="T6" fmla="*/ 0 w 205"/>
                <a:gd name="T7" fmla="*/ 87 h 263"/>
                <a:gd name="T8" fmla="*/ 146 w 205"/>
                <a:gd name="T9" fmla="*/ 233 h 263"/>
                <a:gd name="T10" fmla="*/ 175 w 205"/>
                <a:gd name="T11" fmla="*/ 175 h 263"/>
              </a:gdLst>
              <a:ahLst/>
              <a:cxnLst>
                <a:cxn ang="0">
                  <a:pos x="T0" y="T1"/>
                </a:cxn>
                <a:cxn ang="0">
                  <a:pos x="T2" y="T3"/>
                </a:cxn>
                <a:cxn ang="0">
                  <a:pos x="T4" y="T5"/>
                </a:cxn>
                <a:cxn ang="0">
                  <a:pos x="T6" y="T7"/>
                </a:cxn>
                <a:cxn ang="0">
                  <a:pos x="T8" y="T9"/>
                </a:cxn>
                <a:cxn ang="0">
                  <a:pos x="T10" y="T11"/>
                </a:cxn>
              </a:cxnLst>
              <a:rect l="0" t="0" r="r" b="b"/>
              <a:pathLst>
                <a:path w="205" h="263">
                  <a:moveTo>
                    <a:pt x="175" y="175"/>
                  </a:moveTo>
                  <a:lnTo>
                    <a:pt x="175" y="175"/>
                  </a:lnTo>
                  <a:cubicBezTo>
                    <a:pt x="204" y="145"/>
                    <a:pt x="175" y="116"/>
                    <a:pt x="175" y="58"/>
                  </a:cubicBezTo>
                  <a:cubicBezTo>
                    <a:pt x="117" y="87"/>
                    <a:pt x="0" y="0"/>
                    <a:pt x="0" y="87"/>
                  </a:cubicBezTo>
                  <a:cubicBezTo>
                    <a:pt x="59" y="116"/>
                    <a:pt x="59" y="262"/>
                    <a:pt x="146" y="233"/>
                  </a:cubicBezTo>
                  <a:cubicBezTo>
                    <a:pt x="146" y="204"/>
                    <a:pt x="175" y="204"/>
                    <a:pt x="175" y="17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5" name="Freeform 911">
              <a:extLst>
                <a:ext uri="{FF2B5EF4-FFF2-40B4-BE49-F238E27FC236}">
                  <a16:creationId xmlns:a16="http://schemas.microsoft.com/office/drawing/2014/main" id="{CD9CE6D8-B81F-4F7D-B51B-AC9AFEA25B60}"/>
                </a:ext>
              </a:extLst>
            </p:cNvPr>
            <p:cNvSpPr>
              <a:spLocks noChangeArrowheads="1"/>
            </p:cNvSpPr>
            <p:nvPr/>
          </p:nvSpPr>
          <p:spPr bwMode="auto">
            <a:xfrm>
              <a:off x="9840587" y="-148826"/>
              <a:ext cx="76649" cy="43695"/>
            </a:xfrm>
            <a:custGeom>
              <a:avLst/>
              <a:gdLst>
                <a:gd name="T0" fmla="*/ 175 w 206"/>
                <a:gd name="T1" fmla="*/ 0 h 117"/>
                <a:gd name="T2" fmla="*/ 175 w 206"/>
                <a:gd name="T3" fmla="*/ 0 h 117"/>
                <a:gd name="T4" fmla="*/ 58 w 206"/>
                <a:gd name="T5" fmla="*/ 116 h 117"/>
                <a:gd name="T6" fmla="*/ 175 w 206"/>
                <a:gd name="T7" fmla="*/ 88 h 117"/>
                <a:gd name="T8" fmla="*/ 175 w 206"/>
                <a:gd name="T9" fmla="*/ 0 h 117"/>
              </a:gdLst>
              <a:ahLst/>
              <a:cxnLst>
                <a:cxn ang="0">
                  <a:pos x="T0" y="T1"/>
                </a:cxn>
                <a:cxn ang="0">
                  <a:pos x="T2" y="T3"/>
                </a:cxn>
                <a:cxn ang="0">
                  <a:pos x="T4" y="T5"/>
                </a:cxn>
                <a:cxn ang="0">
                  <a:pos x="T6" y="T7"/>
                </a:cxn>
                <a:cxn ang="0">
                  <a:pos x="T8" y="T9"/>
                </a:cxn>
              </a:cxnLst>
              <a:rect l="0" t="0" r="r" b="b"/>
              <a:pathLst>
                <a:path w="206" h="117">
                  <a:moveTo>
                    <a:pt x="175" y="0"/>
                  </a:moveTo>
                  <a:lnTo>
                    <a:pt x="175" y="0"/>
                  </a:lnTo>
                  <a:cubicBezTo>
                    <a:pt x="88" y="0"/>
                    <a:pt x="0" y="59"/>
                    <a:pt x="58" y="116"/>
                  </a:cubicBezTo>
                  <a:cubicBezTo>
                    <a:pt x="117" y="116"/>
                    <a:pt x="146" y="88"/>
                    <a:pt x="175" y="88"/>
                  </a:cubicBezTo>
                  <a:cubicBezTo>
                    <a:pt x="205" y="59"/>
                    <a:pt x="175" y="30"/>
                    <a:pt x="17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6" name="Freeform 912">
              <a:extLst>
                <a:ext uri="{FF2B5EF4-FFF2-40B4-BE49-F238E27FC236}">
                  <a16:creationId xmlns:a16="http://schemas.microsoft.com/office/drawing/2014/main" id="{59CE8F1E-ABC4-4E16-9458-1AC44AF956CE}"/>
                </a:ext>
              </a:extLst>
            </p:cNvPr>
            <p:cNvSpPr>
              <a:spLocks noChangeArrowheads="1"/>
            </p:cNvSpPr>
            <p:nvPr/>
          </p:nvSpPr>
          <p:spPr bwMode="auto">
            <a:xfrm>
              <a:off x="10003672" y="-74383"/>
              <a:ext cx="313122" cy="352794"/>
            </a:xfrm>
            <a:custGeom>
              <a:avLst/>
              <a:gdLst>
                <a:gd name="T0" fmla="*/ 87 w 847"/>
                <a:gd name="T1" fmla="*/ 321 h 963"/>
                <a:gd name="T2" fmla="*/ 87 w 847"/>
                <a:gd name="T3" fmla="*/ 321 h 963"/>
                <a:gd name="T4" fmla="*/ 29 w 847"/>
                <a:gd name="T5" fmla="*/ 467 h 963"/>
                <a:gd name="T6" fmla="*/ 58 w 847"/>
                <a:gd name="T7" fmla="*/ 496 h 963"/>
                <a:gd name="T8" fmla="*/ 117 w 847"/>
                <a:gd name="T9" fmla="*/ 584 h 963"/>
                <a:gd name="T10" fmla="*/ 87 w 847"/>
                <a:gd name="T11" fmla="*/ 759 h 963"/>
                <a:gd name="T12" fmla="*/ 146 w 847"/>
                <a:gd name="T13" fmla="*/ 876 h 963"/>
                <a:gd name="T14" fmla="*/ 262 w 847"/>
                <a:gd name="T15" fmla="*/ 962 h 963"/>
                <a:gd name="T16" fmla="*/ 320 w 847"/>
                <a:gd name="T17" fmla="*/ 876 h 963"/>
                <a:gd name="T18" fmla="*/ 437 w 847"/>
                <a:gd name="T19" fmla="*/ 788 h 963"/>
                <a:gd name="T20" fmla="*/ 525 w 847"/>
                <a:gd name="T21" fmla="*/ 729 h 963"/>
                <a:gd name="T22" fmla="*/ 670 w 847"/>
                <a:gd name="T23" fmla="*/ 700 h 963"/>
                <a:gd name="T24" fmla="*/ 817 w 847"/>
                <a:gd name="T25" fmla="*/ 584 h 963"/>
                <a:gd name="T26" fmla="*/ 817 w 847"/>
                <a:gd name="T27" fmla="*/ 555 h 963"/>
                <a:gd name="T28" fmla="*/ 700 w 847"/>
                <a:gd name="T29" fmla="*/ 438 h 963"/>
                <a:gd name="T30" fmla="*/ 670 w 847"/>
                <a:gd name="T31" fmla="*/ 350 h 963"/>
                <a:gd name="T32" fmla="*/ 408 w 847"/>
                <a:gd name="T33" fmla="*/ 176 h 963"/>
                <a:gd name="T34" fmla="*/ 379 w 847"/>
                <a:gd name="T35" fmla="*/ 117 h 963"/>
                <a:gd name="T36" fmla="*/ 204 w 847"/>
                <a:gd name="T37" fmla="*/ 29 h 963"/>
                <a:gd name="T38" fmla="*/ 146 w 847"/>
                <a:gd name="T39" fmla="*/ 234 h 963"/>
                <a:gd name="T40" fmla="*/ 87 w 847"/>
                <a:gd name="T41" fmla="*/ 321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7" h="963">
                  <a:moveTo>
                    <a:pt x="87" y="321"/>
                  </a:moveTo>
                  <a:lnTo>
                    <a:pt x="87" y="321"/>
                  </a:lnTo>
                  <a:cubicBezTo>
                    <a:pt x="0" y="321"/>
                    <a:pt x="0" y="409"/>
                    <a:pt x="29" y="467"/>
                  </a:cubicBezTo>
                  <a:cubicBezTo>
                    <a:pt x="29" y="467"/>
                    <a:pt x="58" y="467"/>
                    <a:pt x="58" y="496"/>
                  </a:cubicBezTo>
                  <a:cubicBezTo>
                    <a:pt x="58" y="555"/>
                    <a:pt x="87" y="555"/>
                    <a:pt x="117" y="584"/>
                  </a:cubicBezTo>
                  <a:cubicBezTo>
                    <a:pt x="117" y="642"/>
                    <a:pt x="87" y="700"/>
                    <a:pt x="87" y="759"/>
                  </a:cubicBezTo>
                  <a:cubicBezTo>
                    <a:pt x="87" y="817"/>
                    <a:pt x="117" y="817"/>
                    <a:pt x="146" y="876"/>
                  </a:cubicBezTo>
                  <a:cubicBezTo>
                    <a:pt x="204" y="876"/>
                    <a:pt x="204" y="962"/>
                    <a:pt x="262" y="962"/>
                  </a:cubicBezTo>
                  <a:cubicBezTo>
                    <a:pt x="320" y="962"/>
                    <a:pt x="320" y="905"/>
                    <a:pt x="320" y="876"/>
                  </a:cubicBezTo>
                  <a:cubicBezTo>
                    <a:pt x="350" y="876"/>
                    <a:pt x="408" y="817"/>
                    <a:pt x="437" y="788"/>
                  </a:cubicBezTo>
                  <a:cubicBezTo>
                    <a:pt x="467" y="759"/>
                    <a:pt x="496" y="729"/>
                    <a:pt x="525" y="729"/>
                  </a:cubicBezTo>
                  <a:cubicBezTo>
                    <a:pt x="583" y="700"/>
                    <a:pt x="612" y="729"/>
                    <a:pt x="670" y="700"/>
                  </a:cubicBezTo>
                  <a:cubicBezTo>
                    <a:pt x="729" y="700"/>
                    <a:pt x="817" y="612"/>
                    <a:pt x="817" y="584"/>
                  </a:cubicBezTo>
                  <a:cubicBezTo>
                    <a:pt x="817" y="584"/>
                    <a:pt x="846" y="555"/>
                    <a:pt x="817" y="555"/>
                  </a:cubicBezTo>
                  <a:cubicBezTo>
                    <a:pt x="729" y="555"/>
                    <a:pt x="758" y="496"/>
                    <a:pt x="700" y="438"/>
                  </a:cubicBezTo>
                  <a:cubicBezTo>
                    <a:pt x="700" y="409"/>
                    <a:pt x="641" y="409"/>
                    <a:pt x="670" y="350"/>
                  </a:cubicBezTo>
                  <a:cubicBezTo>
                    <a:pt x="554" y="292"/>
                    <a:pt x="525" y="205"/>
                    <a:pt x="408" y="176"/>
                  </a:cubicBezTo>
                  <a:cubicBezTo>
                    <a:pt x="408" y="146"/>
                    <a:pt x="379" y="117"/>
                    <a:pt x="379" y="117"/>
                  </a:cubicBezTo>
                  <a:cubicBezTo>
                    <a:pt x="262" y="117"/>
                    <a:pt x="262" y="59"/>
                    <a:pt x="204" y="29"/>
                  </a:cubicBezTo>
                  <a:cubicBezTo>
                    <a:pt x="58" y="0"/>
                    <a:pt x="146" y="146"/>
                    <a:pt x="146" y="234"/>
                  </a:cubicBezTo>
                  <a:cubicBezTo>
                    <a:pt x="117" y="262"/>
                    <a:pt x="87" y="262"/>
                    <a:pt x="87" y="3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64" name="Group 63" descr="Describe map here">
            <a:extLst>
              <a:ext uri="{FF2B5EF4-FFF2-40B4-BE49-F238E27FC236}">
                <a16:creationId xmlns:a16="http://schemas.microsoft.com/office/drawing/2014/main" id="{D272FCD7-D5C2-4087-B5F9-E1C923AC054E}"/>
              </a:ext>
            </a:extLst>
          </p:cNvPr>
          <p:cNvGrpSpPr/>
          <p:nvPr/>
        </p:nvGrpSpPr>
        <p:grpSpPr>
          <a:xfrm>
            <a:off x="3649898" y="953250"/>
            <a:ext cx="7875352" cy="4806411"/>
            <a:chOff x="3649898" y="953250"/>
            <a:chExt cx="7875352" cy="4806411"/>
          </a:xfrm>
          <a:solidFill>
            <a:schemeClr val="tx2">
              <a:lumMod val="40000"/>
              <a:lumOff val="60000"/>
            </a:schemeClr>
          </a:solidFill>
        </p:grpSpPr>
        <p:sp>
          <p:nvSpPr>
            <p:cNvPr id="65" name="Freeform 2">
              <a:extLst>
                <a:ext uri="{FF2B5EF4-FFF2-40B4-BE49-F238E27FC236}">
                  <a16:creationId xmlns:a16="http://schemas.microsoft.com/office/drawing/2014/main" id="{554EA8EA-07C4-41F7-BC84-DB4496C43112}"/>
                </a:ext>
              </a:extLst>
            </p:cNvPr>
            <p:cNvSpPr>
              <a:spLocks noChangeArrowheads="1"/>
            </p:cNvSpPr>
            <p:nvPr/>
          </p:nvSpPr>
          <p:spPr bwMode="auto">
            <a:xfrm>
              <a:off x="10024872" y="2461525"/>
              <a:ext cx="11416" cy="22656"/>
            </a:xfrm>
            <a:custGeom>
              <a:avLst/>
              <a:gdLst>
                <a:gd name="T0" fmla="*/ 0 w 30"/>
                <a:gd name="T1" fmla="*/ 30 h 60"/>
                <a:gd name="T2" fmla="*/ 0 w 30"/>
                <a:gd name="T3" fmla="*/ 30 h 60"/>
                <a:gd name="T4" fmla="*/ 0 w 30"/>
                <a:gd name="T5" fmla="*/ 59 h 60"/>
                <a:gd name="T6" fmla="*/ 0 w 30"/>
                <a:gd name="T7" fmla="*/ 30 h 60"/>
                <a:gd name="T8" fmla="*/ 29 w 30"/>
                <a:gd name="T9" fmla="*/ 0 h 60"/>
                <a:gd name="T10" fmla="*/ 29 w 30"/>
                <a:gd name="T11" fmla="*/ 0 h 60"/>
                <a:gd name="T12" fmla="*/ 29 w 30"/>
                <a:gd name="T13" fmla="*/ 0 h 60"/>
                <a:gd name="T14" fmla="*/ 0 w 30"/>
                <a:gd name="T15" fmla="*/ 3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60">
                  <a:moveTo>
                    <a:pt x="0" y="30"/>
                  </a:moveTo>
                  <a:lnTo>
                    <a:pt x="0" y="30"/>
                  </a:lnTo>
                  <a:cubicBezTo>
                    <a:pt x="0" y="59"/>
                    <a:pt x="0" y="59"/>
                    <a:pt x="0" y="59"/>
                  </a:cubicBezTo>
                  <a:cubicBezTo>
                    <a:pt x="0" y="59"/>
                    <a:pt x="0" y="59"/>
                    <a:pt x="0" y="30"/>
                  </a:cubicBezTo>
                  <a:cubicBezTo>
                    <a:pt x="29" y="30"/>
                    <a:pt x="29" y="30"/>
                    <a:pt x="29" y="0"/>
                  </a:cubicBezTo>
                  <a:lnTo>
                    <a:pt x="29" y="0"/>
                  </a:lnTo>
                  <a:lnTo>
                    <a:pt x="29" y="0"/>
                  </a:lnTo>
                  <a:cubicBezTo>
                    <a:pt x="29" y="30"/>
                    <a:pt x="29" y="30"/>
                    <a:pt x="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6" name="Freeform 3">
              <a:extLst>
                <a:ext uri="{FF2B5EF4-FFF2-40B4-BE49-F238E27FC236}">
                  <a16:creationId xmlns:a16="http://schemas.microsoft.com/office/drawing/2014/main" id="{C4ED4684-909E-482E-90E7-FB964D96A1CF}"/>
                </a:ext>
              </a:extLst>
            </p:cNvPr>
            <p:cNvSpPr>
              <a:spLocks noChangeArrowheads="1"/>
            </p:cNvSpPr>
            <p:nvPr/>
          </p:nvSpPr>
          <p:spPr bwMode="auto">
            <a:xfrm>
              <a:off x="10036289" y="2345006"/>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7" name="Freeform 4">
              <a:extLst>
                <a:ext uri="{FF2B5EF4-FFF2-40B4-BE49-F238E27FC236}">
                  <a16:creationId xmlns:a16="http://schemas.microsoft.com/office/drawing/2014/main" id="{799B26B0-2D83-4E26-92BC-010CC92867AE}"/>
                </a:ext>
              </a:extLst>
            </p:cNvPr>
            <p:cNvSpPr>
              <a:spLocks noChangeArrowheads="1"/>
            </p:cNvSpPr>
            <p:nvPr/>
          </p:nvSpPr>
          <p:spPr bwMode="auto">
            <a:xfrm>
              <a:off x="10121093" y="2312639"/>
              <a:ext cx="22832" cy="11328"/>
            </a:xfrm>
            <a:custGeom>
              <a:avLst/>
              <a:gdLst>
                <a:gd name="T0" fmla="*/ 59 w 60"/>
                <a:gd name="T1" fmla="*/ 0 h 30"/>
                <a:gd name="T2" fmla="*/ 59 w 60"/>
                <a:gd name="T3" fmla="*/ 0 h 30"/>
                <a:gd name="T4" fmla="*/ 30 w 60"/>
                <a:gd name="T5" fmla="*/ 0 h 30"/>
                <a:gd name="T6" fmla="*/ 0 w 60"/>
                <a:gd name="T7" fmla="*/ 29 h 30"/>
                <a:gd name="T8" fmla="*/ 30 w 60"/>
                <a:gd name="T9" fmla="*/ 0 h 30"/>
                <a:gd name="T10" fmla="*/ 59 w 60"/>
                <a:gd name="T11" fmla="*/ 0 h 30"/>
              </a:gdLst>
              <a:ahLst/>
              <a:cxnLst>
                <a:cxn ang="0">
                  <a:pos x="T0" y="T1"/>
                </a:cxn>
                <a:cxn ang="0">
                  <a:pos x="T2" y="T3"/>
                </a:cxn>
                <a:cxn ang="0">
                  <a:pos x="T4" y="T5"/>
                </a:cxn>
                <a:cxn ang="0">
                  <a:pos x="T6" y="T7"/>
                </a:cxn>
                <a:cxn ang="0">
                  <a:pos x="T8" y="T9"/>
                </a:cxn>
                <a:cxn ang="0">
                  <a:pos x="T10" y="T11"/>
                </a:cxn>
              </a:cxnLst>
              <a:rect l="0" t="0" r="r" b="b"/>
              <a:pathLst>
                <a:path w="60" h="30">
                  <a:moveTo>
                    <a:pt x="59" y="0"/>
                  </a:moveTo>
                  <a:lnTo>
                    <a:pt x="59" y="0"/>
                  </a:lnTo>
                  <a:cubicBezTo>
                    <a:pt x="30" y="0"/>
                    <a:pt x="30" y="0"/>
                    <a:pt x="30" y="0"/>
                  </a:cubicBezTo>
                  <a:cubicBezTo>
                    <a:pt x="0" y="0"/>
                    <a:pt x="0" y="29"/>
                    <a:pt x="0" y="29"/>
                  </a:cubicBezTo>
                  <a:cubicBezTo>
                    <a:pt x="0" y="29"/>
                    <a:pt x="0" y="0"/>
                    <a:pt x="30" y="0"/>
                  </a:cubicBezTo>
                  <a:cubicBezTo>
                    <a:pt x="30" y="0"/>
                    <a:pt x="30" y="0"/>
                    <a:pt x="5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8" name="Freeform 5">
              <a:extLst>
                <a:ext uri="{FF2B5EF4-FFF2-40B4-BE49-F238E27FC236}">
                  <a16:creationId xmlns:a16="http://schemas.microsoft.com/office/drawing/2014/main" id="{AF091D6B-C79A-4DB1-ADC2-1CC4446ABE86}"/>
                </a:ext>
              </a:extLst>
            </p:cNvPr>
            <p:cNvSpPr>
              <a:spLocks noChangeArrowheads="1"/>
            </p:cNvSpPr>
            <p:nvPr/>
          </p:nvSpPr>
          <p:spPr bwMode="auto">
            <a:xfrm>
              <a:off x="10024872" y="2408120"/>
              <a:ext cx="11416" cy="11329"/>
            </a:xfrm>
            <a:custGeom>
              <a:avLst/>
              <a:gdLst>
                <a:gd name="T0" fmla="*/ 0 w 30"/>
                <a:gd name="T1" fmla="*/ 29 h 30"/>
                <a:gd name="T2" fmla="*/ 0 w 30"/>
                <a:gd name="T3" fmla="*/ 29 h 30"/>
                <a:gd name="T4" fmla="*/ 0 w 30"/>
                <a:gd name="T5" fmla="*/ 29 h 30"/>
                <a:gd name="T6" fmla="*/ 0 w 30"/>
                <a:gd name="T7" fmla="*/ 29 h 30"/>
                <a:gd name="T8" fmla="*/ 0 w 30"/>
                <a:gd name="T9" fmla="*/ 0 h 30"/>
                <a:gd name="T10" fmla="*/ 0 w 30"/>
                <a:gd name="T11" fmla="*/ 29 h 30"/>
                <a:gd name="T12" fmla="*/ 0 w 30"/>
                <a:gd name="T13" fmla="*/ 29 h 30"/>
                <a:gd name="T14" fmla="*/ 0 w 30"/>
                <a:gd name="T15" fmla="*/ 29 h 30"/>
                <a:gd name="T16" fmla="*/ 29 w 30"/>
                <a:gd name="T17" fmla="*/ 29 h 30"/>
                <a:gd name="T18" fmla="*/ 0 w 30"/>
                <a:gd name="T19"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0" y="29"/>
                  </a:moveTo>
                  <a:lnTo>
                    <a:pt x="0" y="29"/>
                  </a:lnTo>
                  <a:lnTo>
                    <a:pt x="0" y="29"/>
                  </a:lnTo>
                  <a:lnTo>
                    <a:pt x="0" y="29"/>
                  </a:lnTo>
                  <a:cubicBezTo>
                    <a:pt x="0" y="0"/>
                    <a:pt x="0" y="0"/>
                    <a:pt x="0" y="0"/>
                  </a:cubicBezTo>
                  <a:cubicBezTo>
                    <a:pt x="0" y="0"/>
                    <a:pt x="0" y="0"/>
                    <a:pt x="0" y="29"/>
                  </a:cubicBezTo>
                  <a:lnTo>
                    <a:pt x="0" y="29"/>
                  </a:lnTo>
                  <a:lnTo>
                    <a:pt x="0" y="29"/>
                  </a:lnTo>
                  <a:cubicBezTo>
                    <a:pt x="29" y="29"/>
                    <a:pt x="29" y="29"/>
                    <a:pt x="29" y="29"/>
                  </a:cubicBezTo>
                  <a:cubicBezTo>
                    <a:pt x="29" y="29"/>
                    <a:pt x="29"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9" name="Freeform 6">
              <a:extLst>
                <a:ext uri="{FF2B5EF4-FFF2-40B4-BE49-F238E27FC236}">
                  <a16:creationId xmlns:a16="http://schemas.microsoft.com/office/drawing/2014/main" id="{939C0F0D-77F5-444F-A1F7-8CA295C068E7}"/>
                </a:ext>
              </a:extLst>
            </p:cNvPr>
            <p:cNvSpPr>
              <a:spLocks noChangeArrowheads="1"/>
            </p:cNvSpPr>
            <p:nvPr/>
          </p:nvSpPr>
          <p:spPr bwMode="auto">
            <a:xfrm>
              <a:off x="10046074" y="2419448"/>
              <a:ext cx="11415" cy="11328"/>
            </a:xfrm>
            <a:custGeom>
              <a:avLst/>
              <a:gdLst>
                <a:gd name="T0" fmla="*/ 0 w 30"/>
                <a:gd name="T1" fmla="*/ 0 h 30"/>
                <a:gd name="T2" fmla="*/ 0 w 30"/>
                <a:gd name="T3" fmla="*/ 0 h 30"/>
                <a:gd name="T4" fmla="*/ 29 w 30"/>
                <a:gd name="T5" fmla="*/ 29 h 30"/>
                <a:gd name="T6" fmla="*/ 0 w 30"/>
                <a:gd name="T7" fmla="*/ 0 h 30"/>
              </a:gdLst>
              <a:ahLst/>
              <a:cxnLst>
                <a:cxn ang="0">
                  <a:pos x="T0" y="T1"/>
                </a:cxn>
                <a:cxn ang="0">
                  <a:pos x="T2" y="T3"/>
                </a:cxn>
                <a:cxn ang="0">
                  <a:pos x="T4" y="T5"/>
                </a:cxn>
                <a:cxn ang="0">
                  <a:pos x="T6" y="T7"/>
                </a:cxn>
              </a:cxnLst>
              <a:rect l="0" t="0" r="r" b="b"/>
              <a:pathLst>
                <a:path w="30" h="30">
                  <a:moveTo>
                    <a:pt x="0" y="0"/>
                  </a:moveTo>
                  <a:lnTo>
                    <a:pt x="0" y="0"/>
                  </a:lnTo>
                  <a:cubicBezTo>
                    <a:pt x="0" y="0"/>
                    <a:pt x="0" y="29"/>
                    <a:pt x="29" y="29"/>
                  </a:cubicBezTo>
                  <a:cubicBezTo>
                    <a:pt x="0" y="29"/>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0" name="Freeform 7">
              <a:extLst>
                <a:ext uri="{FF2B5EF4-FFF2-40B4-BE49-F238E27FC236}">
                  <a16:creationId xmlns:a16="http://schemas.microsoft.com/office/drawing/2014/main" id="{A5C3930D-EFD9-4654-8195-BA2657A2E518}"/>
                </a:ext>
              </a:extLst>
            </p:cNvPr>
            <p:cNvSpPr>
              <a:spLocks noChangeArrowheads="1"/>
            </p:cNvSpPr>
            <p:nvPr/>
          </p:nvSpPr>
          <p:spPr bwMode="auto">
            <a:xfrm>
              <a:off x="10057489" y="2429158"/>
              <a:ext cx="1631"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29"/>
                    <a:pt x="0" y="29"/>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1" name="Freeform 8">
              <a:extLst>
                <a:ext uri="{FF2B5EF4-FFF2-40B4-BE49-F238E27FC236}">
                  <a16:creationId xmlns:a16="http://schemas.microsoft.com/office/drawing/2014/main" id="{AC93168E-D990-45EC-9049-97E702D4CC32}"/>
                </a:ext>
              </a:extLst>
            </p:cNvPr>
            <p:cNvSpPr>
              <a:spLocks noChangeArrowheads="1"/>
            </p:cNvSpPr>
            <p:nvPr/>
          </p:nvSpPr>
          <p:spPr bwMode="auto">
            <a:xfrm>
              <a:off x="8881650" y="2751204"/>
              <a:ext cx="432174" cy="749283"/>
            </a:xfrm>
            <a:custGeom>
              <a:avLst/>
              <a:gdLst>
                <a:gd name="T0" fmla="*/ 1020 w 1168"/>
                <a:gd name="T1" fmla="*/ 88 h 2042"/>
                <a:gd name="T2" fmla="*/ 1020 w 1168"/>
                <a:gd name="T3" fmla="*/ 88 h 2042"/>
                <a:gd name="T4" fmla="*/ 1020 w 1168"/>
                <a:gd name="T5" fmla="*/ 0 h 2042"/>
                <a:gd name="T6" fmla="*/ 991 w 1168"/>
                <a:gd name="T7" fmla="*/ 0 h 2042"/>
                <a:gd name="T8" fmla="*/ 612 w 1168"/>
                <a:gd name="T9" fmla="*/ 29 h 2042"/>
                <a:gd name="T10" fmla="*/ 233 w 1168"/>
                <a:gd name="T11" fmla="*/ 29 h 2042"/>
                <a:gd name="T12" fmla="*/ 87 w 1168"/>
                <a:gd name="T13" fmla="*/ 117 h 2042"/>
                <a:gd name="T14" fmla="*/ 58 w 1168"/>
                <a:gd name="T15" fmla="*/ 88 h 2042"/>
                <a:gd name="T16" fmla="*/ 87 w 1168"/>
                <a:gd name="T17" fmla="*/ 583 h 2042"/>
                <a:gd name="T18" fmla="*/ 146 w 1168"/>
                <a:gd name="T19" fmla="*/ 1312 h 2042"/>
                <a:gd name="T20" fmla="*/ 146 w 1168"/>
                <a:gd name="T21" fmla="*/ 1400 h 2042"/>
                <a:gd name="T22" fmla="*/ 175 w 1168"/>
                <a:gd name="T23" fmla="*/ 1488 h 2042"/>
                <a:gd name="T24" fmla="*/ 117 w 1168"/>
                <a:gd name="T25" fmla="*/ 1692 h 2042"/>
                <a:gd name="T26" fmla="*/ 87 w 1168"/>
                <a:gd name="T27" fmla="*/ 1750 h 2042"/>
                <a:gd name="T28" fmla="*/ 58 w 1168"/>
                <a:gd name="T29" fmla="*/ 1779 h 2042"/>
                <a:gd name="T30" fmla="*/ 58 w 1168"/>
                <a:gd name="T31" fmla="*/ 1809 h 2042"/>
                <a:gd name="T32" fmla="*/ 58 w 1168"/>
                <a:gd name="T33" fmla="*/ 1866 h 2042"/>
                <a:gd name="T34" fmla="*/ 29 w 1168"/>
                <a:gd name="T35" fmla="*/ 1866 h 2042"/>
                <a:gd name="T36" fmla="*/ 29 w 1168"/>
                <a:gd name="T37" fmla="*/ 1895 h 2042"/>
                <a:gd name="T38" fmla="*/ 29 w 1168"/>
                <a:gd name="T39" fmla="*/ 1925 h 2042"/>
                <a:gd name="T40" fmla="*/ 29 w 1168"/>
                <a:gd name="T41" fmla="*/ 1954 h 2042"/>
                <a:gd name="T42" fmla="*/ 29 w 1168"/>
                <a:gd name="T43" fmla="*/ 1983 h 2042"/>
                <a:gd name="T44" fmla="*/ 0 w 1168"/>
                <a:gd name="T45" fmla="*/ 2041 h 2042"/>
                <a:gd name="T46" fmla="*/ 58 w 1168"/>
                <a:gd name="T47" fmla="*/ 2012 h 2042"/>
                <a:gd name="T48" fmla="*/ 117 w 1168"/>
                <a:gd name="T49" fmla="*/ 1954 h 2042"/>
                <a:gd name="T50" fmla="*/ 117 w 1168"/>
                <a:gd name="T51" fmla="*/ 1925 h 2042"/>
                <a:gd name="T52" fmla="*/ 117 w 1168"/>
                <a:gd name="T53" fmla="*/ 1954 h 2042"/>
                <a:gd name="T54" fmla="*/ 175 w 1168"/>
                <a:gd name="T55" fmla="*/ 1925 h 2042"/>
                <a:gd name="T56" fmla="*/ 233 w 1168"/>
                <a:gd name="T57" fmla="*/ 1925 h 2042"/>
                <a:gd name="T58" fmla="*/ 320 w 1168"/>
                <a:gd name="T59" fmla="*/ 1954 h 2042"/>
                <a:gd name="T60" fmla="*/ 379 w 1168"/>
                <a:gd name="T61" fmla="*/ 1954 h 2042"/>
                <a:gd name="T62" fmla="*/ 379 w 1168"/>
                <a:gd name="T63" fmla="*/ 1954 h 2042"/>
                <a:gd name="T64" fmla="*/ 437 w 1168"/>
                <a:gd name="T65" fmla="*/ 1954 h 2042"/>
                <a:gd name="T66" fmla="*/ 496 w 1168"/>
                <a:gd name="T67" fmla="*/ 1895 h 2042"/>
                <a:gd name="T68" fmla="*/ 496 w 1168"/>
                <a:gd name="T69" fmla="*/ 1895 h 2042"/>
                <a:gd name="T70" fmla="*/ 524 w 1168"/>
                <a:gd name="T71" fmla="*/ 1925 h 2042"/>
                <a:gd name="T72" fmla="*/ 553 w 1168"/>
                <a:gd name="T73" fmla="*/ 1925 h 2042"/>
                <a:gd name="T74" fmla="*/ 583 w 1168"/>
                <a:gd name="T75" fmla="*/ 1866 h 2042"/>
                <a:gd name="T76" fmla="*/ 641 w 1168"/>
                <a:gd name="T77" fmla="*/ 1750 h 2042"/>
                <a:gd name="T78" fmla="*/ 729 w 1168"/>
                <a:gd name="T79" fmla="*/ 1809 h 2042"/>
                <a:gd name="T80" fmla="*/ 787 w 1168"/>
                <a:gd name="T81" fmla="*/ 1866 h 2042"/>
                <a:gd name="T82" fmla="*/ 874 w 1168"/>
                <a:gd name="T83" fmla="*/ 1779 h 2042"/>
                <a:gd name="T84" fmla="*/ 903 w 1168"/>
                <a:gd name="T85" fmla="*/ 1721 h 2042"/>
                <a:gd name="T86" fmla="*/ 962 w 1168"/>
                <a:gd name="T87" fmla="*/ 1633 h 2042"/>
                <a:gd name="T88" fmla="*/ 962 w 1168"/>
                <a:gd name="T89" fmla="*/ 1604 h 2042"/>
                <a:gd name="T90" fmla="*/ 962 w 1168"/>
                <a:gd name="T91" fmla="*/ 1545 h 2042"/>
                <a:gd name="T92" fmla="*/ 1079 w 1168"/>
                <a:gd name="T93" fmla="*/ 1459 h 2042"/>
                <a:gd name="T94" fmla="*/ 1167 w 1168"/>
                <a:gd name="T95" fmla="*/ 1400 h 2042"/>
                <a:gd name="T96" fmla="*/ 1167 w 1168"/>
                <a:gd name="T97" fmla="*/ 1312 h 2042"/>
                <a:gd name="T98" fmla="*/ 1137 w 1168"/>
                <a:gd name="T99" fmla="*/ 1079 h 2042"/>
                <a:gd name="T100" fmla="*/ 1137 w 1168"/>
                <a:gd name="T101" fmla="*/ 962 h 2042"/>
                <a:gd name="T102" fmla="*/ 1050 w 1168"/>
                <a:gd name="T103" fmla="*/ 117 h 2042"/>
                <a:gd name="T104" fmla="*/ 1020 w 1168"/>
                <a:gd name="T105" fmla="*/ 88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68" h="2042">
                  <a:moveTo>
                    <a:pt x="1020" y="88"/>
                  </a:moveTo>
                  <a:lnTo>
                    <a:pt x="1020" y="88"/>
                  </a:lnTo>
                  <a:cubicBezTo>
                    <a:pt x="1020" y="59"/>
                    <a:pt x="1020" y="0"/>
                    <a:pt x="1020" y="0"/>
                  </a:cubicBezTo>
                  <a:cubicBezTo>
                    <a:pt x="1020" y="0"/>
                    <a:pt x="1020" y="0"/>
                    <a:pt x="991" y="0"/>
                  </a:cubicBezTo>
                  <a:cubicBezTo>
                    <a:pt x="874" y="0"/>
                    <a:pt x="758" y="0"/>
                    <a:pt x="612" y="29"/>
                  </a:cubicBezTo>
                  <a:cubicBezTo>
                    <a:pt x="496" y="29"/>
                    <a:pt x="379" y="29"/>
                    <a:pt x="233" y="29"/>
                  </a:cubicBezTo>
                  <a:cubicBezTo>
                    <a:pt x="233" y="88"/>
                    <a:pt x="175" y="117"/>
                    <a:pt x="87" y="117"/>
                  </a:cubicBezTo>
                  <a:lnTo>
                    <a:pt x="58" y="88"/>
                  </a:lnTo>
                  <a:cubicBezTo>
                    <a:pt x="58" y="262"/>
                    <a:pt x="58" y="438"/>
                    <a:pt x="87" y="583"/>
                  </a:cubicBezTo>
                  <a:cubicBezTo>
                    <a:pt x="87" y="845"/>
                    <a:pt x="117" y="1079"/>
                    <a:pt x="146" y="1312"/>
                  </a:cubicBezTo>
                  <a:cubicBezTo>
                    <a:pt x="146" y="1342"/>
                    <a:pt x="146" y="1371"/>
                    <a:pt x="146" y="1400"/>
                  </a:cubicBezTo>
                  <a:cubicBezTo>
                    <a:pt x="146" y="1429"/>
                    <a:pt x="175" y="1459"/>
                    <a:pt x="175" y="1488"/>
                  </a:cubicBezTo>
                  <a:cubicBezTo>
                    <a:pt x="175" y="1575"/>
                    <a:pt x="146" y="1633"/>
                    <a:pt x="117" y="1692"/>
                  </a:cubicBezTo>
                  <a:cubicBezTo>
                    <a:pt x="117" y="1692"/>
                    <a:pt x="117" y="1721"/>
                    <a:pt x="87" y="1750"/>
                  </a:cubicBezTo>
                  <a:lnTo>
                    <a:pt x="58" y="1779"/>
                  </a:lnTo>
                  <a:lnTo>
                    <a:pt x="58" y="1809"/>
                  </a:lnTo>
                  <a:cubicBezTo>
                    <a:pt x="58" y="1838"/>
                    <a:pt x="58" y="1838"/>
                    <a:pt x="58" y="1866"/>
                  </a:cubicBezTo>
                  <a:lnTo>
                    <a:pt x="29" y="1866"/>
                  </a:lnTo>
                  <a:cubicBezTo>
                    <a:pt x="29" y="1895"/>
                    <a:pt x="29" y="1895"/>
                    <a:pt x="29" y="1895"/>
                  </a:cubicBezTo>
                  <a:lnTo>
                    <a:pt x="29" y="1925"/>
                  </a:lnTo>
                  <a:cubicBezTo>
                    <a:pt x="29" y="1925"/>
                    <a:pt x="29" y="1925"/>
                    <a:pt x="29" y="1954"/>
                  </a:cubicBezTo>
                  <a:lnTo>
                    <a:pt x="29" y="1983"/>
                  </a:lnTo>
                  <a:cubicBezTo>
                    <a:pt x="0" y="2012"/>
                    <a:pt x="0" y="2012"/>
                    <a:pt x="0" y="2041"/>
                  </a:cubicBezTo>
                  <a:cubicBezTo>
                    <a:pt x="29" y="2041"/>
                    <a:pt x="58" y="2041"/>
                    <a:pt x="58" y="2012"/>
                  </a:cubicBezTo>
                  <a:cubicBezTo>
                    <a:pt x="58" y="1983"/>
                    <a:pt x="87" y="1954"/>
                    <a:pt x="117" y="1954"/>
                  </a:cubicBezTo>
                  <a:cubicBezTo>
                    <a:pt x="117" y="1925"/>
                    <a:pt x="117" y="1925"/>
                    <a:pt x="117" y="1925"/>
                  </a:cubicBezTo>
                  <a:cubicBezTo>
                    <a:pt x="117" y="1954"/>
                    <a:pt x="117" y="1954"/>
                    <a:pt x="117" y="1954"/>
                  </a:cubicBezTo>
                  <a:cubicBezTo>
                    <a:pt x="146" y="1954"/>
                    <a:pt x="175" y="1954"/>
                    <a:pt x="175" y="1925"/>
                  </a:cubicBezTo>
                  <a:cubicBezTo>
                    <a:pt x="203" y="1925"/>
                    <a:pt x="233" y="1925"/>
                    <a:pt x="233" y="1925"/>
                  </a:cubicBezTo>
                  <a:cubicBezTo>
                    <a:pt x="262" y="1925"/>
                    <a:pt x="291" y="1925"/>
                    <a:pt x="320" y="1954"/>
                  </a:cubicBezTo>
                  <a:cubicBezTo>
                    <a:pt x="320" y="1954"/>
                    <a:pt x="350" y="1954"/>
                    <a:pt x="379" y="1954"/>
                  </a:cubicBezTo>
                  <a:lnTo>
                    <a:pt x="379" y="1954"/>
                  </a:lnTo>
                  <a:cubicBezTo>
                    <a:pt x="408" y="1954"/>
                    <a:pt x="408" y="1954"/>
                    <a:pt x="437" y="1954"/>
                  </a:cubicBezTo>
                  <a:cubicBezTo>
                    <a:pt x="437" y="1925"/>
                    <a:pt x="467" y="1895"/>
                    <a:pt x="496" y="1895"/>
                  </a:cubicBezTo>
                  <a:lnTo>
                    <a:pt x="496" y="1895"/>
                  </a:lnTo>
                  <a:lnTo>
                    <a:pt x="524" y="1925"/>
                  </a:lnTo>
                  <a:cubicBezTo>
                    <a:pt x="553" y="1925"/>
                    <a:pt x="553" y="1925"/>
                    <a:pt x="553" y="1925"/>
                  </a:cubicBezTo>
                  <a:cubicBezTo>
                    <a:pt x="583" y="1925"/>
                    <a:pt x="583" y="1895"/>
                    <a:pt x="583" y="1866"/>
                  </a:cubicBezTo>
                  <a:cubicBezTo>
                    <a:pt x="583" y="1809"/>
                    <a:pt x="612" y="1779"/>
                    <a:pt x="641" y="1750"/>
                  </a:cubicBezTo>
                  <a:cubicBezTo>
                    <a:pt x="700" y="1750"/>
                    <a:pt x="700" y="1779"/>
                    <a:pt x="729" y="1809"/>
                  </a:cubicBezTo>
                  <a:cubicBezTo>
                    <a:pt x="729" y="1838"/>
                    <a:pt x="758" y="1866"/>
                    <a:pt x="787" y="1866"/>
                  </a:cubicBezTo>
                  <a:cubicBezTo>
                    <a:pt x="817" y="1866"/>
                    <a:pt x="874" y="1809"/>
                    <a:pt x="874" y="1779"/>
                  </a:cubicBezTo>
                  <a:cubicBezTo>
                    <a:pt x="903" y="1750"/>
                    <a:pt x="903" y="1750"/>
                    <a:pt x="903" y="1721"/>
                  </a:cubicBezTo>
                  <a:cubicBezTo>
                    <a:pt x="933" y="1692"/>
                    <a:pt x="962" y="1662"/>
                    <a:pt x="962" y="1633"/>
                  </a:cubicBezTo>
                  <a:lnTo>
                    <a:pt x="962" y="1604"/>
                  </a:lnTo>
                  <a:cubicBezTo>
                    <a:pt x="962" y="1575"/>
                    <a:pt x="962" y="1575"/>
                    <a:pt x="962" y="1545"/>
                  </a:cubicBezTo>
                  <a:cubicBezTo>
                    <a:pt x="991" y="1488"/>
                    <a:pt x="1020" y="1488"/>
                    <a:pt x="1079" y="1459"/>
                  </a:cubicBezTo>
                  <a:cubicBezTo>
                    <a:pt x="1108" y="1429"/>
                    <a:pt x="1137" y="1429"/>
                    <a:pt x="1167" y="1400"/>
                  </a:cubicBezTo>
                  <a:cubicBezTo>
                    <a:pt x="1167" y="1371"/>
                    <a:pt x="1167" y="1342"/>
                    <a:pt x="1167" y="1312"/>
                  </a:cubicBezTo>
                  <a:cubicBezTo>
                    <a:pt x="1167" y="1225"/>
                    <a:pt x="1167" y="1166"/>
                    <a:pt x="1137" y="1079"/>
                  </a:cubicBezTo>
                  <a:cubicBezTo>
                    <a:pt x="1137" y="1050"/>
                    <a:pt x="1137" y="1021"/>
                    <a:pt x="1137" y="962"/>
                  </a:cubicBezTo>
                  <a:cubicBezTo>
                    <a:pt x="1108" y="700"/>
                    <a:pt x="1079" y="409"/>
                    <a:pt x="1050" y="117"/>
                  </a:cubicBezTo>
                  <a:cubicBezTo>
                    <a:pt x="1050" y="117"/>
                    <a:pt x="1020" y="117"/>
                    <a:pt x="1020"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2" name="Freeform 9">
              <a:extLst>
                <a:ext uri="{FF2B5EF4-FFF2-40B4-BE49-F238E27FC236}">
                  <a16:creationId xmlns:a16="http://schemas.microsoft.com/office/drawing/2014/main" id="{4EE0C8DF-CDCA-491C-B7FD-E76ED770526B}"/>
                </a:ext>
              </a:extLst>
            </p:cNvPr>
            <p:cNvSpPr>
              <a:spLocks noChangeArrowheads="1"/>
            </p:cNvSpPr>
            <p:nvPr/>
          </p:nvSpPr>
          <p:spPr bwMode="auto">
            <a:xfrm>
              <a:off x="8364672" y="2654104"/>
              <a:ext cx="561011" cy="995267"/>
            </a:xfrm>
            <a:custGeom>
              <a:avLst/>
              <a:gdLst>
                <a:gd name="T0" fmla="*/ 1400 w 1518"/>
                <a:gd name="T1" fmla="*/ 2071 h 2713"/>
                <a:gd name="T2" fmla="*/ 1458 w 1518"/>
                <a:gd name="T3" fmla="*/ 1983 h 2713"/>
                <a:gd name="T4" fmla="*/ 1517 w 1518"/>
                <a:gd name="T5" fmla="*/ 1778 h 2713"/>
                <a:gd name="T6" fmla="*/ 1487 w 1518"/>
                <a:gd name="T7" fmla="*/ 1574 h 2713"/>
                <a:gd name="T8" fmla="*/ 1400 w 1518"/>
                <a:gd name="T9" fmla="*/ 495 h 2713"/>
                <a:gd name="T10" fmla="*/ 1400 w 1518"/>
                <a:gd name="T11" fmla="*/ 321 h 2713"/>
                <a:gd name="T12" fmla="*/ 1312 w 1518"/>
                <a:gd name="T13" fmla="*/ 174 h 2713"/>
                <a:gd name="T14" fmla="*/ 1225 w 1518"/>
                <a:gd name="T15" fmla="*/ 0 h 2713"/>
                <a:gd name="T16" fmla="*/ 233 w 1518"/>
                <a:gd name="T17" fmla="*/ 29 h 2713"/>
                <a:gd name="T18" fmla="*/ 350 w 1518"/>
                <a:gd name="T19" fmla="*/ 87 h 2713"/>
                <a:gd name="T20" fmla="*/ 379 w 1518"/>
                <a:gd name="T21" fmla="*/ 174 h 2713"/>
                <a:gd name="T22" fmla="*/ 408 w 1518"/>
                <a:gd name="T23" fmla="*/ 233 h 2713"/>
                <a:gd name="T24" fmla="*/ 467 w 1518"/>
                <a:gd name="T25" fmla="*/ 407 h 2713"/>
                <a:gd name="T26" fmla="*/ 204 w 1518"/>
                <a:gd name="T27" fmla="*/ 641 h 2713"/>
                <a:gd name="T28" fmla="*/ 146 w 1518"/>
                <a:gd name="T29" fmla="*/ 757 h 2713"/>
                <a:gd name="T30" fmla="*/ 117 w 1518"/>
                <a:gd name="T31" fmla="*/ 904 h 2713"/>
                <a:gd name="T32" fmla="*/ 29 w 1518"/>
                <a:gd name="T33" fmla="*/ 1107 h 2713"/>
                <a:gd name="T34" fmla="*/ 29 w 1518"/>
                <a:gd name="T35" fmla="*/ 1341 h 2713"/>
                <a:gd name="T36" fmla="*/ 29 w 1518"/>
                <a:gd name="T37" fmla="*/ 1428 h 2713"/>
                <a:gd name="T38" fmla="*/ 204 w 1518"/>
                <a:gd name="T39" fmla="*/ 1545 h 2713"/>
                <a:gd name="T40" fmla="*/ 233 w 1518"/>
                <a:gd name="T41" fmla="*/ 1545 h 2713"/>
                <a:gd name="T42" fmla="*/ 350 w 1518"/>
                <a:gd name="T43" fmla="*/ 1750 h 2713"/>
                <a:gd name="T44" fmla="*/ 467 w 1518"/>
                <a:gd name="T45" fmla="*/ 1778 h 2713"/>
                <a:gd name="T46" fmla="*/ 496 w 1518"/>
                <a:gd name="T47" fmla="*/ 2100 h 2713"/>
                <a:gd name="T48" fmla="*/ 583 w 1518"/>
                <a:gd name="T49" fmla="*/ 2187 h 2713"/>
                <a:gd name="T50" fmla="*/ 700 w 1518"/>
                <a:gd name="T51" fmla="*/ 2303 h 2713"/>
                <a:gd name="T52" fmla="*/ 758 w 1518"/>
                <a:gd name="T53" fmla="*/ 2333 h 2713"/>
                <a:gd name="T54" fmla="*/ 817 w 1518"/>
                <a:gd name="T55" fmla="*/ 2537 h 2713"/>
                <a:gd name="T56" fmla="*/ 962 w 1518"/>
                <a:gd name="T57" fmla="*/ 2712 h 2713"/>
                <a:gd name="T58" fmla="*/ 991 w 1518"/>
                <a:gd name="T59" fmla="*/ 2683 h 2713"/>
                <a:gd name="T60" fmla="*/ 1050 w 1518"/>
                <a:gd name="T61" fmla="*/ 2595 h 2713"/>
                <a:gd name="T62" fmla="*/ 1196 w 1518"/>
                <a:gd name="T63" fmla="*/ 2654 h 2713"/>
                <a:gd name="T64" fmla="*/ 1253 w 1518"/>
                <a:gd name="T65" fmla="*/ 2537 h 2713"/>
                <a:gd name="T66" fmla="*/ 1283 w 1518"/>
                <a:gd name="T67" fmla="*/ 2537 h 2713"/>
                <a:gd name="T68" fmla="*/ 1341 w 1518"/>
                <a:gd name="T69" fmla="*/ 2391 h 2713"/>
                <a:gd name="T70" fmla="*/ 1341 w 1518"/>
                <a:gd name="T71" fmla="*/ 2362 h 2713"/>
                <a:gd name="T72" fmla="*/ 1341 w 1518"/>
                <a:gd name="T73" fmla="*/ 2274 h 2713"/>
                <a:gd name="T74" fmla="*/ 1370 w 1518"/>
                <a:gd name="T75" fmla="*/ 2157 h 2713"/>
                <a:gd name="T76" fmla="*/ 1370 w 1518"/>
                <a:gd name="T77" fmla="*/ 2128 h 2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18" h="2713">
                  <a:moveTo>
                    <a:pt x="1400" y="2071"/>
                  </a:moveTo>
                  <a:lnTo>
                    <a:pt x="1400" y="2071"/>
                  </a:lnTo>
                  <a:lnTo>
                    <a:pt x="1400" y="2041"/>
                  </a:lnTo>
                  <a:cubicBezTo>
                    <a:pt x="1429" y="2012"/>
                    <a:pt x="1429" y="1983"/>
                    <a:pt x="1458" y="1983"/>
                  </a:cubicBezTo>
                  <a:cubicBezTo>
                    <a:pt x="1458" y="1954"/>
                    <a:pt x="1458" y="1954"/>
                    <a:pt x="1487" y="1924"/>
                  </a:cubicBezTo>
                  <a:cubicBezTo>
                    <a:pt x="1487" y="1895"/>
                    <a:pt x="1517" y="1837"/>
                    <a:pt x="1517" y="1778"/>
                  </a:cubicBezTo>
                  <a:cubicBezTo>
                    <a:pt x="1517" y="1750"/>
                    <a:pt x="1517" y="1691"/>
                    <a:pt x="1487" y="1662"/>
                  </a:cubicBezTo>
                  <a:cubicBezTo>
                    <a:pt x="1487" y="1633"/>
                    <a:pt x="1487" y="1604"/>
                    <a:pt x="1487" y="1574"/>
                  </a:cubicBezTo>
                  <a:cubicBezTo>
                    <a:pt x="1458" y="1341"/>
                    <a:pt x="1429" y="1107"/>
                    <a:pt x="1429" y="874"/>
                  </a:cubicBezTo>
                  <a:cubicBezTo>
                    <a:pt x="1429" y="757"/>
                    <a:pt x="1400" y="612"/>
                    <a:pt x="1400" y="495"/>
                  </a:cubicBezTo>
                  <a:cubicBezTo>
                    <a:pt x="1400" y="466"/>
                    <a:pt x="1400" y="437"/>
                    <a:pt x="1400" y="407"/>
                  </a:cubicBezTo>
                  <a:cubicBezTo>
                    <a:pt x="1400" y="379"/>
                    <a:pt x="1400" y="350"/>
                    <a:pt x="1400" y="321"/>
                  </a:cubicBezTo>
                  <a:cubicBezTo>
                    <a:pt x="1370" y="291"/>
                    <a:pt x="1370" y="262"/>
                    <a:pt x="1341" y="233"/>
                  </a:cubicBezTo>
                  <a:cubicBezTo>
                    <a:pt x="1341" y="233"/>
                    <a:pt x="1312" y="204"/>
                    <a:pt x="1312" y="174"/>
                  </a:cubicBezTo>
                  <a:lnTo>
                    <a:pt x="1312" y="174"/>
                  </a:lnTo>
                  <a:cubicBezTo>
                    <a:pt x="1283" y="116"/>
                    <a:pt x="1253" y="57"/>
                    <a:pt x="1225" y="0"/>
                  </a:cubicBezTo>
                  <a:cubicBezTo>
                    <a:pt x="1050" y="0"/>
                    <a:pt x="904" y="0"/>
                    <a:pt x="758" y="0"/>
                  </a:cubicBezTo>
                  <a:cubicBezTo>
                    <a:pt x="583" y="29"/>
                    <a:pt x="408" y="29"/>
                    <a:pt x="233" y="29"/>
                  </a:cubicBezTo>
                  <a:cubicBezTo>
                    <a:pt x="262" y="57"/>
                    <a:pt x="291" y="57"/>
                    <a:pt x="320" y="87"/>
                  </a:cubicBezTo>
                  <a:cubicBezTo>
                    <a:pt x="350" y="87"/>
                    <a:pt x="350" y="87"/>
                    <a:pt x="350" y="87"/>
                  </a:cubicBezTo>
                  <a:lnTo>
                    <a:pt x="350" y="87"/>
                  </a:lnTo>
                  <a:cubicBezTo>
                    <a:pt x="350" y="116"/>
                    <a:pt x="350" y="145"/>
                    <a:pt x="379" y="174"/>
                  </a:cubicBezTo>
                  <a:cubicBezTo>
                    <a:pt x="379" y="204"/>
                    <a:pt x="408" y="204"/>
                    <a:pt x="408" y="233"/>
                  </a:cubicBezTo>
                  <a:lnTo>
                    <a:pt x="408" y="233"/>
                  </a:lnTo>
                  <a:cubicBezTo>
                    <a:pt x="408" y="233"/>
                    <a:pt x="437" y="233"/>
                    <a:pt x="437" y="262"/>
                  </a:cubicBezTo>
                  <a:cubicBezTo>
                    <a:pt x="467" y="291"/>
                    <a:pt x="467" y="350"/>
                    <a:pt x="467" y="407"/>
                  </a:cubicBezTo>
                  <a:cubicBezTo>
                    <a:pt x="408" y="466"/>
                    <a:pt x="350" y="524"/>
                    <a:pt x="262" y="554"/>
                  </a:cubicBezTo>
                  <a:cubicBezTo>
                    <a:pt x="262" y="612"/>
                    <a:pt x="233" y="612"/>
                    <a:pt x="204" y="641"/>
                  </a:cubicBezTo>
                  <a:cubicBezTo>
                    <a:pt x="175" y="641"/>
                    <a:pt x="175" y="641"/>
                    <a:pt x="175" y="641"/>
                  </a:cubicBezTo>
                  <a:cubicBezTo>
                    <a:pt x="146" y="671"/>
                    <a:pt x="146" y="700"/>
                    <a:pt x="146" y="757"/>
                  </a:cubicBezTo>
                  <a:cubicBezTo>
                    <a:pt x="146" y="787"/>
                    <a:pt x="175" y="816"/>
                    <a:pt x="146" y="845"/>
                  </a:cubicBezTo>
                  <a:cubicBezTo>
                    <a:pt x="146" y="874"/>
                    <a:pt x="117" y="904"/>
                    <a:pt x="117" y="904"/>
                  </a:cubicBezTo>
                  <a:cubicBezTo>
                    <a:pt x="87" y="904"/>
                    <a:pt x="87" y="933"/>
                    <a:pt x="58" y="933"/>
                  </a:cubicBezTo>
                  <a:cubicBezTo>
                    <a:pt x="58" y="962"/>
                    <a:pt x="29" y="1050"/>
                    <a:pt x="29" y="1107"/>
                  </a:cubicBezTo>
                  <a:cubicBezTo>
                    <a:pt x="0" y="1166"/>
                    <a:pt x="29" y="1195"/>
                    <a:pt x="29" y="1224"/>
                  </a:cubicBezTo>
                  <a:cubicBezTo>
                    <a:pt x="29" y="1254"/>
                    <a:pt x="29" y="1312"/>
                    <a:pt x="29" y="1341"/>
                  </a:cubicBezTo>
                  <a:lnTo>
                    <a:pt x="29" y="1371"/>
                  </a:lnTo>
                  <a:cubicBezTo>
                    <a:pt x="29" y="1400"/>
                    <a:pt x="29" y="1400"/>
                    <a:pt x="29" y="1428"/>
                  </a:cubicBezTo>
                  <a:lnTo>
                    <a:pt x="29" y="1428"/>
                  </a:lnTo>
                  <a:cubicBezTo>
                    <a:pt x="87" y="1487"/>
                    <a:pt x="146" y="1516"/>
                    <a:pt x="204" y="1545"/>
                  </a:cubicBezTo>
                  <a:lnTo>
                    <a:pt x="204" y="1545"/>
                  </a:lnTo>
                  <a:cubicBezTo>
                    <a:pt x="233" y="1545"/>
                    <a:pt x="233" y="1545"/>
                    <a:pt x="233" y="1545"/>
                  </a:cubicBezTo>
                  <a:cubicBezTo>
                    <a:pt x="233" y="1574"/>
                    <a:pt x="262" y="1604"/>
                    <a:pt x="262" y="1633"/>
                  </a:cubicBezTo>
                  <a:cubicBezTo>
                    <a:pt x="291" y="1662"/>
                    <a:pt x="320" y="1691"/>
                    <a:pt x="350" y="1750"/>
                  </a:cubicBezTo>
                  <a:cubicBezTo>
                    <a:pt x="350" y="1778"/>
                    <a:pt x="379" y="1778"/>
                    <a:pt x="408" y="1778"/>
                  </a:cubicBezTo>
                  <a:cubicBezTo>
                    <a:pt x="408" y="1778"/>
                    <a:pt x="437" y="1778"/>
                    <a:pt x="467" y="1778"/>
                  </a:cubicBezTo>
                  <a:cubicBezTo>
                    <a:pt x="496" y="1807"/>
                    <a:pt x="525" y="1837"/>
                    <a:pt x="554" y="1866"/>
                  </a:cubicBezTo>
                  <a:cubicBezTo>
                    <a:pt x="554" y="1954"/>
                    <a:pt x="525" y="2041"/>
                    <a:pt x="496" y="2100"/>
                  </a:cubicBezTo>
                  <a:lnTo>
                    <a:pt x="496" y="2100"/>
                  </a:lnTo>
                  <a:cubicBezTo>
                    <a:pt x="525" y="2128"/>
                    <a:pt x="554" y="2157"/>
                    <a:pt x="583" y="2187"/>
                  </a:cubicBezTo>
                  <a:cubicBezTo>
                    <a:pt x="583" y="2216"/>
                    <a:pt x="612" y="2216"/>
                    <a:pt x="612" y="2216"/>
                  </a:cubicBezTo>
                  <a:cubicBezTo>
                    <a:pt x="641" y="2245"/>
                    <a:pt x="670" y="2274"/>
                    <a:pt x="700" y="2303"/>
                  </a:cubicBezTo>
                  <a:lnTo>
                    <a:pt x="700" y="2303"/>
                  </a:lnTo>
                  <a:cubicBezTo>
                    <a:pt x="729" y="2303"/>
                    <a:pt x="729" y="2303"/>
                    <a:pt x="758" y="2333"/>
                  </a:cubicBezTo>
                  <a:cubicBezTo>
                    <a:pt x="787" y="2362"/>
                    <a:pt x="817" y="2450"/>
                    <a:pt x="846" y="2507"/>
                  </a:cubicBezTo>
                  <a:lnTo>
                    <a:pt x="817" y="2537"/>
                  </a:lnTo>
                  <a:cubicBezTo>
                    <a:pt x="817" y="2566"/>
                    <a:pt x="817" y="2566"/>
                    <a:pt x="817" y="2595"/>
                  </a:cubicBezTo>
                  <a:cubicBezTo>
                    <a:pt x="846" y="2654"/>
                    <a:pt x="904" y="2683"/>
                    <a:pt x="962" y="2712"/>
                  </a:cubicBezTo>
                  <a:lnTo>
                    <a:pt x="962" y="2712"/>
                  </a:lnTo>
                  <a:cubicBezTo>
                    <a:pt x="962" y="2712"/>
                    <a:pt x="962" y="2712"/>
                    <a:pt x="991" y="2683"/>
                  </a:cubicBezTo>
                  <a:cubicBezTo>
                    <a:pt x="991" y="2654"/>
                    <a:pt x="991" y="2654"/>
                    <a:pt x="1020" y="2624"/>
                  </a:cubicBezTo>
                  <a:lnTo>
                    <a:pt x="1050" y="2595"/>
                  </a:lnTo>
                  <a:cubicBezTo>
                    <a:pt x="1079" y="2595"/>
                    <a:pt x="1108" y="2624"/>
                    <a:pt x="1108" y="2624"/>
                  </a:cubicBezTo>
                  <a:cubicBezTo>
                    <a:pt x="1137" y="2624"/>
                    <a:pt x="1167" y="2654"/>
                    <a:pt x="1196" y="2654"/>
                  </a:cubicBezTo>
                  <a:cubicBezTo>
                    <a:pt x="1196" y="2624"/>
                    <a:pt x="1196" y="2624"/>
                    <a:pt x="1225" y="2595"/>
                  </a:cubicBezTo>
                  <a:cubicBezTo>
                    <a:pt x="1225" y="2595"/>
                    <a:pt x="1225" y="2566"/>
                    <a:pt x="1253" y="2537"/>
                  </a:cubicBezTo>
                  <a:lnTo>
                    <a:pt x="1283" y="2537"/>
                  </a:lnTo>
                  <a:lnTo>
                    <a:pt x="1283" y="2537"/>
                  </a:lnTo>
                  <a:cubicBezTo>
                    <a:pt x="1312" y="2507"/>
                    <a:pt x="1312" y="2507"/>
                    <a:pt x="1312" y="2478"/>
                  </a:cubicBezTo>
                  <a:cubicBezTo>
                    <a:pt x="1341" y="2450"/>
                    <a:pt x="1341" y="2421"/>
                    <a:pt x="1341" y="2391"/>
                  </a:cubicBezTo>
                  <a:cubicBezTo>
                    <a:pt x="1312" y="2362"/>
                    <a:pt x="1312" y="2362"/>
                    <a:pt x="1312" y="2362"/>
                  </a:cubicBezTo>
                  <a:cubicBezTo>
                    <a:pt x="1341" y="2362"/>
                    <a:pt x="1341" y="2362"/>
                    <a:pt x="1341" y="2362"/>
                  </a:cubicBezTo>
                  <a:cubicBezTo>
                    <a:pt x="1341" y="2333"/>
                    <a:pt x="1341" y="2333"/>
                    <a:pt x="1341" y="2303"/>
                  </a:cubicBezTo>
                  <a:cubicBezTo>
                    <a:pt x="1341" y="2274"/>
                    <a:pt x="1341" y="2274"/>
                    <a:pt x="1341" y="2274"/>
                  </a:cubicBezTo>
                  <a:cubicBezTo>
                    <a:pt x="1341" y="2245"/>
                    <a:pt x="1370" y="2216"/>
                    <a:pt x="1370" y="2216"/>
                  </a:cubicBezTo>
                  <a:cubicBezTo>
                    <a:pt x="1370" y="2187"/>
                    <a:pt x="1370" y="2157"/>
                    <a:pt x="1370" y="2157"/>
                  </a:cubicBezTo>
                  <a:cubicBezTo>
                    <a:pt x="1370" y="2128"/>
                    <a:pt x="1370" y="2128"/>
                    <a:pt x="1370" y="2128"/>
                  </a:cubicBezTo>
                  <a:lnTo>
                    <a:pt x="1370" y="2128"/>
                  </a:lnTo>
                  <a:cubicBezTo>
                    <a:pt x="1400" y="2128"/>
                    <a:pt x="1400" y="2100"/>
                    <a:pt x="1400" y="207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3" name="Freeform 10">
              <a:extLst>
                <a:ext uri="{FF2B5EF4-FFF2-40B4-BE49-F238E27FC236}">
                  <a16:creationId xmlns:a16="http://schemas.microsoft.com/office/drawing/2014/main" id="{25C97799-6D79-4F0E-AC57-2FD6B6F6E05B}"/>
                </a:ext>
              </a:extLst>
            </p:cNvPr>
            <p:cNvSpPr>
              <a:spLocks noChangeArrowheads="1"/>
            </p:cNvSpPr>
            <p:nvPr/>
          </p:nvSpPr>
          <p:spPr bwMode="auto">
            <a:xfrm>
              <a:off x="9701965" y="3008517"/>
              <a:ext cx="614829" cy="470931"/>
            </a:xfrm>
            <a:custGeom>
              <a:avLst/>
              <a:gdLst>
                <a:gd name="T0" fmla="*/ 1078 w 1663"/>
                <a:gd name="T1" fmla="*/ 612 h 1284"/>
                <a:gd name="T2" fmla="*/ 1195 w 1663"/>
                <a:gd name="T3" fmla="*/ 642 h 1284"/>
                <a:gd name="T4" fmla="*/ 1312 w 1663"/>
                <a:gd name="T5" fmla="*/ 466 h 1284"/>
                <a:gd name="T6" fmla="*/ 1399 w 1663"/>
                <a:gd name="T7" fmla="*/ 409 h 1284"/>
                <a:gd name="T8" fmla="*/ 1457 w 1663"/>
                <a:gd name="T9" fmla="*/ 262 h 1284"/>
                <a:gd name="T10" fmla="*/ 1545 w 1663"/>
                <a:gd name="T11" fmla="*/ 233 h 1284"/>
                <a:gd name="T12" fmla="*/ 1633 w 1663"/>
                <a:gd name="T13" fmla="*/ 175 h 1284"/>
                <a:gd name="T14" fmla="*/ 1662 w 1663"/>
                <a:gd name="T15" fmla="*/ 58 h 1284"/>
                <a:gd name="T16" fmla="*/ 1516 w 1663"/>
                <a:gd name="T17" fmla="*/ 29 h 1284"/>
                <a:gd name="T18" fmla="*/ 1399 w 1663"/>
                <a:gd name="T19" fmla="*/ 29 h 1284"/>
                <a:gd name="T20" fmla="*/ 1224 w 1663"/>
                <a:gd name="T21" fmla="*/ 145 h 1284"/>
                <a:gd name="T22" fmla="*/ 1136 w 1663"/>
                <a:gd name="T23" fmla="*/ 321 h 1284"/>
                <a:gd name="T24" fmla="*/ 1107 w 1663"/>
                <a:gd name="T25" fmla="*/ 350 h 1284"/>
                <a:gd name="T26" fmla="*/ 1020 w 1663"/>
                <a:gd name="T27" fmla="*/ 350 h 1284"/>
                <a:gd name="T28" fmla="*/ 1020 w 1663"/>
                <a:gd name="T29" fmla="*/ 204 h 1284"/>
                <a:gd name="T30" fmla="*/ 845 w 1663"/>
                <a:gd name="T31" fmla="*/ 58 h 1284"/>
                <a:gd name="T32" fmla="*/ 553 w 1663"/>
                <a:gd name="T33" fmla="*/ 88 h 1284"/>
                <a:gd name="T34" fmla="*/ 553 w 1663"/>
                <a:gd name="T35" fmla="*/ 29 h 1284"/>
                <a:gd name="T36" fmla="*/ 524 w 1663"/>
                <a:gd name="T37" fmla="*/ 29 h 1284"/>
                <a:gd name="T38" fmla="*/ 466 w 1663"/>
                <a:gd name="T39" fmla="*/ 145 h 1284"/>
                <a:gd name="T40" fmla="*/ 466 w 1663"/>
                <a:gd name="T41" fmla="*/ 204 h 1284"/>
                <a:gd name="T42" fmla="*/ 407 w 1663"/>
                <a:gd name="T43" fmla="*/ 262 h 1284"/>
                <a:gd name="T44" fmla="*/ 320 w 1663"/>
                <a:gd name="T45" fmla="*/ 350 h 1284"/>
                <a:gd name="T46" fmla="*/ 262 w 1663"/>
                <a:gd name="T47" fmla="*/ 409 h 1284"/>
                <a:gd name="T48" fmla="*/ 203 w 1663"/>
                <a:gd name="T49" fmla="*/ 554 h 1284"/>
                <a:gd name="T50" fmla="*/ 174 w 1663"/>
                <a:gd name="T51" fmla="*/ 525 h 1284"/>
                <a:gd name="T52" fmla="*/ 116 w 1663"/>
                <a:gd name="T53" fmla="*/ 583 h 1284"/>
                <a:gd name="T54" fmla="*/ 86 w 1663"/>
                <a:gd name="T55" fmla="*/ 700 h 1284"/>
                <a:gd name="T56" fmla="*/ 57 w 1663"/>
                <a:gd name="T57" fmla="*/ 816 h 1284"/>
                <a:gd name="T58" fmla="*/ 28 w 1663"/>
                <a:gd name="T59" fmla="*/ 845 h 1284"/>
                <a:gd name="T60" fmla="*/ 28 w 1663"/>
                <a:gd name="T61" fmla="*/ 1021 h 1284"/>
                <a:gd name="T62" fmla="*/ 86 w 1663"/>
                <a:gd name="T63" fmla="*/ 1021 h 1284"/>
                <a:gd name="T64" fmla="*/ 86 w 1663"/>
                <a:gd name="T65" fmla="*/ 1079 h 1284"/>
                <a:gd name="T66" fmla="*/ 145 w 1663"/>
                <a:gd name="T67" fmla="*/ 1109 h 1284"/>
                <a:gd name="T68" fmla="*/ 203 w 1663"/>
                <a:gd name="T69" fmla="*/ 1195 h 1284"/>
                <a:gd name="T70" fmla="*/ 349 w 1663"/>
                <a:gd name="T71" fmla="*/ 1225 h 1284"/>
                <a:gd name="T72" fmla="*/ 466 w 1663"/>
                <a:gd name="T73" fmla="*/ 1109 h 1284"/>
                <a:gd name="T74" fmla="*/ 553 w 1663"/>
                <a:gd name="T75" fmla="*/ 1166 h 1284"/>
                <a:gd name="T76" fmla="*/ 612 w 1663"/>
                <a:gd name="T77" fmla="*/ 1109 h 1284"/>
                <a:gd name="T78" fmla="*/ 728 w 1663"/>
                <a:gd name="T79" fmla="*/ 1109 h 1284"/>
                <a:gd name="T80" fmla="*/ 757 w 1663"/>
                <a:gd name="T81" fmla="*/ 1050 h 1284"/>
                <a:gd name="T82" fmla="*/ 816 w 1663"/>
                <a:gd name="T83" fmla="*/ 875 h 1284"/>
                <a:gd name="T84" fmla="*/ 991 w 1663"/>
                <a:gd name="T85" fmla="*/ 788 h 1284"/>
                <a:gd name="T86" fmla="*/ 1020 w 1663"/>
                <a:gd name="T87" fmla="*/ 612 h 1284"/>
                <a:gd name="T88" fmla="*/ 1078 w 1663"/>
                <a:gd name="T89" fmla="*/ 61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63" h="1284">
                  <a:moveTo>
                    <a:pt x="1078" y="612"/>
                  </a:moveTo>
                  <a:lnTo>
                    <a:pt x="1078" y="612"/>
                  </a:lnTo>
                  <a:cubicBezTo>
                    <a:pt x="1107" y="612"/>
                    <a:pt x="1107" y="612"/>
                    <a:pt x="1136" y="612"/>
                  </a:cubicBezTo>
                  <a:cubicBezTo>
                    <a:pt x="1166" y="642"/>
                    <a:pt x="1195" y="642"/>
                    <a:pt x="1195" y="642"/>
                  </a:cubicBezTo>
                  <a:cubicBezTo>
                    <a:pt x="1253" y="642"/>
                    <a:pt x="1253" y="612"/>
                    <a:pt x="1283" y="554"/>
                  </a:cubicBezTo>
                  <a:cubicBezTo>
                    <a:pt x="1283" y="525"/>
                    <a:pt x="1283" y="495"/>
                    <a:pt x="1312" y="466"/>
                  </a:cubicBezTo>
                  <a:cubicBezTo>
                    <a:pt x="1312" y="466"/>
                    <a:pt x="1341" y="438"/>
                    <a:pt x="1370" y="438"/>
                  </a:cubicBezTo>
                  <a:cubicBezTo>
                    <a:pt x="1370" y="438"/>
                    <a:pt x="1399" y="438"/>
                    <a:pt x="1399" y="409"/>
                  </a:cubicBezTo>
                  <a:cubicBezTo>
                    <a:pt x="1399" y="409"/>
                    <a:pt x="1428" y="379"/>
                    <a:pt x="1428" y="350"/>
                  </a:cubicBezTo>
                  <a:cubicBezTo>
                    <a:pt x="1428" y="321"/>
                    <a:pt x="1428" y="262"/>
                    <a:pt x="1457" y="262"/>
                  </a:cubicBezTo>
                  <a:cubicBezTo>
                    <a:pt x="1486" y="233"/>
                    <a:pt x="1516" y="233"/>
                    <a:pt x="1545" y="233"/>
                  </a:cubicBezTo>
                  <a:lnTo>
                    <a:pt x="1545" y="233"/>
                  </a:lnTo>
                  <a:lnTo>
                    <a:pt x="1574" y="233"/>
                  </a:lnTo>
                  <a:cubicBezTo>
                    <a:pt x="1603" y="233"/>
                    <a:pt x="1603" y="204"/>
                    <a:pt x="1633" y="175"/>
                  </a:cubicBezTo>
                  <a:cubicBezTo>
                    <a:pt x="1633" y="145"/>
                    <a:pt x="1633" y="117"/>
                    <a:pt x="1662" y="117"/>
                  </a:cubicBezTo>
                  <a:cubicBezTo>
                    <a:pt x="1662" y="88"/>
                    <a:pt x="1662" y="88"/>
                    <a:pt x="1662" y="58"/>
                  </a:cubicBezTo>
                  <a:cubicBezTo>
                    <a:pt x="1633" y="29"/>
                    <a:pt x="1633" y="29"/>
                    <a:pt x="1603" y="0"/>
                  </a:cubicBezTo>
                  <a:cubicBezTo>
                    <a:pt x="1574" y="0"/>
                    <a:pt x="1545" y="0"/>
                    <a:pt x="1516" y="29"/>
                  </a:cubicBezTo>
                  <a:cubicBezTo>
                    <a:pt x="1486" y="29"/>
                    <a:pt x="1486" y="29"/>
                    <a:pt x="1457" y="29"/>
                  </a:cubicBezTo>
                  <a:cubicBezTo>
                    <a:pt x="1428" y="29"/>
                    <a:pt x="1428" y="29"/>
                    <a:pt x="1399" y="29"/>
                  </a:cubicBezTo>
                  <a:cubicBezTo>
                    <a:pt x="1399" y="29"/>
                    <a:pt x="1399" y="29"/>
                    <a:pt x="1370" y="29"/>
                  </a:cubicBezTo>
                  <a:cubicBezTo>
                    <a:pt x="1341" y="29"/>
                    <a:pt x="1283" y="88"/>
                    <a:pt x="1224" y="145"/>
                  </a:cubicBezTo>
                  <a:cubicBezTo>
                    <a:pt x="1195" y="204"/>
                    <a:pt x="1136" y="292"/>
                    <a:pt x="1136" y="321"/>
                  </a:cubicBezTo>
                  <a:lnTo>
                    <a:pt x="1136" y="321"/>
                  </a:lnTo>
                  <a:cubicBezTo>
                    <a:pt x="1107" y="321"/>
                    <a:pt x="1107" y="321"/>
                    <a:pt x="1107" y="321"/>
                  </a:cubicBezTo>
                  <a:cubicBezTo>
                    <a:pt x="1107" y="350"/>
                    <a:pt x="1107" y="350"/>
                    <a:pt x="1107" y="350"/>
                  </a:cubicBezTo>
                  <a:cubicBezTo>
                    <a:pt x="1078" y="350"/>
                    <a:pt x="1078" y="350"/>
                    <a:pt x="1049" y="350"/>
                  </a:cubicBezTo>
                  <a:cubicBezTo>
                    <a:pt x="1020" y="350"/>
                    <a:pt x="1020" y="350"/>
                    <a:pt x="1020" y="350"/>
                  </a:cubicBezTo>
                  <a:lnTo>
                    <a:pt x="1020" y="350"/>
                  </a:lnTo>
                  <a:cubicBezTo>
                    <a:pt x="1020" y="292"/>
                    <a:pt x="1020" y="233"/>
                    <a:pt x="1020" y="204"/>
                  </a:cubicBezTo>
                  <a:cubicBezTo>
                    <a:pt x="991" y="145"/>
                    <a:pt x="991" y="88"/>
                    <a:pt x="991" y="29"/>
                  </a:cubicBezTo>
                  <a:cubicBezTo>
                    <a:pt x="933" y="29"/>
                    <a:pt x="874" y="29"/>
                    <a:pt x="845" y="58"/>
                  </a:cubicBezTo>
                  <a:cubicBezTo>
                    <a:pt x="757" y="58"/>
                    <a:pt x="670" y="88"/>
                    <a:pt x="583" y="88"/>
                  </a:cubicBezTo>
                  <a:cubicBezTo>
                    <a:pt x="553" y="88"/>
                    <a:pt x="553" y="88"/>
                    <a:pt x="553" y="88"/>
                  </a:cubicBezTo>
                  <a:lnTo>
                    <a:pt x="553" y="88"/>
                  </a:lnTo>
                  <a:cubicBezTo>
                    <a:pt x="553" y="58"/>
                    <a:pt x="553" y="58"/>
                    <a:pt x="553" y="29"/>
                  </a:cubicBezTo>
                  <a:lnTo>
                    <a:pt x="553" y="29"/>
                  </a:lnTo>
                  <a:lnTo>
                    <a:pt x="524" y="29"/>
                  </a:lnTo>
                  <a:cubicBezTo>
                    <a:pt x="524" y="88"/>
                    <a:pt x="495" y="117"/>
                    <a:pt x="495" y="117"/>
                  </a:cubicBezTo>
                  <a:cubicBezTo>
                    <a:pt x="495" y="145"/>
                    <a:pt x="466" y="145"/>
                    <a:pt x="466" y="145"/>
                  </a:cubicBezTo>
                  <a:lnTo>
                    <a:pt x="466" y="175"/>
                  </a:lnTo>
                  <a:lnTo>
                    <a:pt x="466" y="204"/>
                  </a:lnTo>
                  <a:lnTo>
                    <a:pt x="436" y="233"/>
                  </a:lnTo>
                  <a:cubicBezTo>
                    <a:pt x="436" y="233"/>
                    <a:pt x="436" y="262"/>
                    <a:pt x="407" y="262"/>
                  </a:cubicBezTo>
                  <a:cubicBezTo>
                    <a:pt x="407" y="292"/>
                    <a:pt x="378" y="321"/>
                    <a:pt x="320" y="350"/>
                  </a:cubicBezTo>
                  <a:lnTo>
                    <a:pt x="320" y="350"/>
                  </a:lnTo>
                  <a:cubicBezTo>
                    <a:pt x="291" y="350"/>
                    <a:pt x="291" y="350"/>
                    <a:pt x="291" y="350"/>
                  </a:cubicBezTo>
                  <a:cubicBezTo>
                    <a:pt x="291" y="350"/>
                    <a:pt x="262" y="379"/>
                    <a:pt x="262" y="409"/>
                  </a:cubicBezTo>
                  <a:cubicBezTo>
                    <a:pt x="262" y="466"/>
                    <a:pt x="262" y="525"/>
                    <a:pt x="203" y="525"/>
                  </a:cubicBezTo>
                  <a:lnTo>
                    <a:pt x="203" y="554"/>
                  </a:lnTo>
                  <a:cubicBezTo>
                    <a:pt x="174" y="554"/>
                    <a:pt x="174" y="525"/>
                    <a:pt x="174" y="525"/>
                  </a:cubicBezTo>
                  <a:lnTo>
                    <a:pt x="174" y="525"/>
                  </a:lnTo>
                  <a:cubicBezTo>
                    <a:pt x="145" y="525"/>
                    <a:pt x="116" y="554"/>
                    <a:pt x="116" y="583"/>
                  </a:cubicBezTo>
                  <a:lnTo>
                    <a:pt x="116" y="583"/>
                  </a:lnTo>
                  <a:cubicBezTo>
                    <a:pt x="116" y="612"/>
                    <a:pt x="116" y="612"/>
                    <a:pt x="116" y="642"/>
                  </a:cubicBezTo>
                  <a:cubicBezTo>
                    <a:pt x="116" y="671"/>
                    <a:pt x="116" y="671"/>
                    <a:pt x="86" y="700"/>
                  </a:cubicBezTo>
                  <a:cubicBezTo>
                    <a:pt x="57" y="729"/>
                    <a:pt x="28" y="759"/>
                    <a:pt x="57" y="788"/>
                  </a:cubicBezTo>
                  <a:cubicBezTo>
                    <a:pt x="57" y="816"/>
                    <a:pt x="57" y="816"/>
                    <a:pt x="57" y="816"/>
                  </a:cubicBezTo>
                  <a:lnTo>
                    <a:pt x="57" y="816"/>
                  </a:lnTo>
                  <a:cubicBezTo>
                    <a:pt x="57" y="816"/>
                    <a:pt x="57" y="845"/>
                    <a:pt x="28" y="845"/>
                  </a:cubicBezTo>
                  <a:lnTo>
                    <a:pt x="28" y="875"/>
                  </a:lnTo>
                  <a:cubicBezTo>
                    <a:pt x="0" y="904"/>
                    <a:pt x="28" y="962"/>
                    <a:pt x="28" y="1021"/>
                  </a:cubicBezTo>
                  <a:cubicBezTo>
                    <a:pt x="57" y="1021"/>
                    <a:pt x="57" y="1021"/>
                    <a:pt x="86" y="1021"/>
                  </a:cubicBezTo>
                  <a:lnTo>
                    <a:pt x="86" y="1021"/>
                  </a:lnTo>
                  <a:cubicBezTo>
                    <a:pt x="86" y="1050"/>
                    <a:pt x="86" y="1050"/>
                    <a:pt x="86" y="1050"/>
                  </a:cubicBezTo>
                  <a:lnTo>
                    <a:pt x="86" y="1079"/>
                  </a:lnTo>
                  <a:lnTo>
                    <a:pt x="86" y="1079"/>
                  </a:lnTo>
                  <a:cubicBezTo>
                    <a:pt x="116" y="1079"/>
                    <a:pt x="116" y="1109"/>
                    <a:pt x="145" y="1109"/>
                  </a:cubicBezTo>
                  <a:cubicBezTo>
                    <a:pt x="145" y="1109"/>
                    <a:pt x="145" y="1109"/>
                    <a:pt x="174" y="1138"/>
                  </a:cubicBezTo>
                  <a:cubicBezTo>
                    <a:pt x="174" y="1138"/>
                    <a:pt x="203" y="1166"/>
                    <a:pt x="203" y="1195"/>
                  </a:cubicBezTo>
                  <a:cubicBezTo>
                    <a:pt x="233" y="1225"/>
                    <a:pt x="262" y="1254"/>
                    <a:pt x="320" y="1283"/>
                  </a:cubicBezTo>
                  <a:cubicBezTo>
                    <a:pt x="320" y="1254"/>
                    <a:pt x="349" y="1254"/>
                    <a:pt x="349" y="1225"/>
                  </a:cubicBezTo>
                  <a:cubicBezTo>
                    <a:pt x="378" y="1195"/>
                    <a:pt x="407" y="1138"/>
                    <a:pt x="436" y="1109"/>
                  </a:cubicBezTo>
                  <a:cubicBezTo>
                    <a:pt x="466" y="1109"/>
                    <a:pt x="466" y="1109"/>
                    <a:pt x="466" y="1109"/>
                  </a:cubicBezTo>
                  <a:lnTo>
                    <a:pt x="466" y="1109"/>
                  </a:lnTo>
                  <a:cubicBezTo>
                    <a:pt x="495" y="1166"/>
                    <a:pt x="495" y="1166"/>
                    <a:pt x="553" y="1166"/>
                  </a:cubicBezTo>
                  <a:cubicBezTo>
                    <a:pt x="553" y="1166"/>
                    <a:pt x="553" y="1166"/>
                    <a:pt x="553" y="1138"/>
                  </a:cubicBezTo>
                  <a:cubicBezTo>
                    <a:pt x="553" y="1138"/>
                    <a:pt x="583" y="1109"/>
                    <a:pt x="612" y="1109"/>
                  </a:cubicBezTo>
                  <a:cubicBezTo>
                    <a:pt x="641" y="1109"/>
                    <a:pt x="670" y="1109"/>
                    <a:pt x="699" y="1109"/>
                  </a:cubicBezTo>
                  <a:cubicBezTo>
                    <a:pt x="699" y="1109"/>
                    <a:pt x="699" y="1109"/>
                    <a:pt x="728" y="1109"/>
                  </a:cubicBezTo>
                  <a:cubicBezTo>
                    <a:pt x="728" y="1109"/>
                    <a:pt x="757" y="1109"/>
                    <a:pt x="757" y="1079"/>
                  </a:cubicBezTo>
                  <a:cubicBezTo>
                    <a:pt x="757" y="1079"/>
                    <a:pt x="757" y="1079"/>
                    <a:pt x="757" y="1050"/>
                  </a:cubicBezTo>
                  <a:lnTo>
                    <a:pt x="757" y="1021"/>
                  </a:lnTo>
                  <a:cubicBezTo>
                    <a:pt x="786" y="962"/>
                    <a:pt x="786" y="904"/>
                    <a:pt x="816" y="875"/>
                  </a:cubicBezTo>
                  <a:cubicBezTo>
                    <a:pt x="845" y="816"/>
                    <a:pt x="874" y="816"/>
                    <a:pt x="933" y="816"/>
                  </a:cubicBezTo>
                  <a:cubicBezTo>
                    <a:pt x="962" y="788"/>
                    <a:pt x="962" y="788"/>
                    <a:pt x="991" y="788"/>
                  </a:cubicBezTo>
                  <a:cubicBezTo>
                    <a:pt x="1020" y="759"/>
                    <a:pt x="1020" y="700"/>
                    <a:pt x="1020" y="642"/>
                  </a:cubicBezTo>
                  <a:cubicBezTo>
                    <a:pt x="1020" y="612"/>
                    <a:pt x="1020" y="612"/>
                    <a:pt x="1020" y="612"/>
                  </a:cubicBezTo>
                  <a:lnTo>
                    <a:pt x="1020" y="612"/>
                  </a:lnTo>
                  <a:cubicBezTo>
                    <a:pt x="1049" y="612"/>
                    <a:pt x="1049" y="612"/>
                    <a:pt x="1078" y="6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4" name="Freeform 11">
              <a:extLst>
                <a:ext uri="{FF2B5EF4-FFF2-40B4-BE49-F238E27FC236}">
                  <a16:creationId xmlns:a16="http://schemas.microsoft.com/office/drawing/2014/main" id="{34A4A8ED-F014-42C9-ACC9-EB70DD9F3699}"/>
                </a:ext>
              </a:extLst>
            </p:cNvPr>
            <p:cNvSpPr>
              <a:spLocks noChangeArrowheads="1"/>
            </p:cNvSpPr>
            <p:nvPr/>
          </p:nvSpPr>
          <p:spPr bwMode="auto">
            <a:xfrm>
              <a:off x="10153710" y="2312639"/>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5" name="Freeform 12">
              <a:extLst>
                <a:ext uri="{FF2B5EF4-FFF2-40B4-BE49-F238E27FC236}">
                  <a16:creationId xmlns:a16="http://schemas.microsoft.com/office/drawing/2014/main" id="{F7F8D823-1FE2-4223-86B2-186807F13E1D}"/>
                </a:ext>
              </a:extLst>
            </p:cNvPr>
            <p:cNvSpPr>
              <a:spLocks noChangeArrowheads="1"/>
            </p:cNvSpPr>
            <p:nvPr/>
          </p:nvSpPr>
          <p:spPr bwMode="auto">
            <a:xfrm>
              <a:off x="10165125" y="2312639"/>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6" name="Freeform 13">
              <a:extLst>
                <a:ext uri="{FF2B5EF4-FFF2-40B4-BE49-F238E27FC236}">
                  <a16:creationId xmlns:a16="http://schemas.microsoft.com/office/drawing/2014/main" id="{6FB7FB5D-D6CA-4E8C-B952-5F2AC1CCAF29}"/>
                </a:ext>
              </a:extLst>
            </p:cNvPr>
            <p:cNvSpPr>
              <a:spLocks noChangeArrowheads="1"/>
            </p:cNvSpPr>
            <p:nvPr/>
          </p:nvSpPr>
          <p:spPr bwMode="auto">
            <a:xfrm>
              <a:off x="10143924" y="2312639"/>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7" name="Freeform 14">
              <a:extLst>
                <a:ext uri="{FF2B5EF4-FFF2-40B4-BE49-F238E27FC236}">
                  <a16:creationId xmlns:a16="http://schemas.microsoft.com/office/drawing/2014/main" id="{AC1E4566-2525-415F-8FF2-ABF16E8602F2}"/>
                </a:ext>
              </a:extLst>
            </p:cNvPr>
            <p:cNvSpPr>
              <a:spLocks noChangeArrowheads="1"/>
            </p:cNvSpPr>
            <p:nvPr/>
          </p:nvSpPr>
          <p:spPr bwMode="auto">
            <a:xfrm>
              <a:off x="10013457" y="2345006"/>
              <a:ext cx="11415" cy="11328"/>
            </a:xfrm>
            <a:custGeom>
              <a:avLst/>
              <a:gdLst>
                <a:gd name="T0" fmla="*/ 29 w 30"/>
                <a:gd name="T1" fmla="*/ 0 h 30"/>
                <a:gd name="T2" fmla="*/ 29 w 30"/>
                <a:gd name="T3" fmla="*/ 0 h 30"/>
                <a:gd name="T4" fmla="*/ 0 w 30"/>
                <a:gd name="T5" fmla="*/ 29 h 30"/>
                <a:gd name="T6" fmla="*/ 29 w 30"/>
                <a:gd name="T7" fmla="*/ 0 h 30"/>
              </a:gdLst>
              <a:ahLst/>
              <a:cxnLst>
                <a:cxn ang="0">
                  <a:pos x="T0" y="T1"/>
                </a:cxn>
                <a:cxn ang="0">
                  <a:pos x="T2" y="T3"/>
                </a:cxn>
                <a:cxn ang="0">
                  <a:pos x="T4" y="T5"/>
                </a:cxn>
                <a:cxn ang="0">
                  <a:pos x="T6" y="T7"/>
                </a:cxn>
              </a:cxnLst>
              <a:rect l="0" t="0" r="r" b="b"/>
              <a:pathLst>
                <a:path w="30" h="30">
                  <a:moveTo>
                    <a:pt x="29" y="0"/>
                  </a:moveTo>
                  <a:lnTo>
                    <a:pt x="29" y="0"/>
                  </a:lnTo>
                  <a:cubicBezTo>
                    <a:pt x="29" y="0"/>
                    <a:pt x="29" y="29"/>
                    <a:pt x="0" y="29"/>
                  </a:cubicBezTo>
                  <a:cubicBezTo>
                    <a:pt x="29" y="29"/>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8" name="Freeform 15">
              <a:extLst>
                <a:ext uri="{FF2B5EF4-FFF2-40B4-BE49-F238E27FC236}">
                  <a16:creationId xmlns:a16="http://schemas.microsoft.com/office/drawing/2014/main" id="{34846309-2EDE-480F-9C59-FAEA54D6D371}"/>
                </a:ext>
              </a:extLst>
            </p:cNvPr>
            <p:cNvSpPr>
              <a:spLocks noChangeArrowheads="1"/>
            </p:cNvSpPr>
            <p:nvPr/>
          </p:nvSpPr>
          <p:spPr bwMode="auto">
            <a:xfrm>
              <a:off x="9571497" y="2461525"/>
              <a:ext cx="11416" cy="11328"/>
            </a:xfrm>
            <a:custGeom>
              <a:avLst/>
              <a:gdLst>
                <a:gd name="T0" fmla="*/ 28 w 29"/>
                <a:gd name="T1" fmla="*/ 30 h 31"/>
                <a:gd name="T2" fmla="*/ 28 w 29"/>
                <a:gd name="T3" fmla="*/ 30 h 31"/>
                <a:gd name="T4" fmla="*/ 28 w 29"/>
                <a:gd name="T5" fmla="*/ 30 h 31"/>
                <a:gd name="T6" fmla="*/ 0 w 29"/>
                <a:gd name="T7" fmla="*/ 0 h 31"/>
                <a:gd name="T8" fmla="*/ 28 w 29"/>
                <a:gd name="T9" fmla="*/ 30 h 31"/>
              </a:gdLst>
              <a:ahLst/>
              <a:cxnLst>
                <a:cxn ang="0">
                  <a:pos x="T0" y="T1"/>
                </a:cxn>
                <a:cxn ang="0">
                  <a:pos x="T2" y="T3"/>
                </a:cxn>
                <a:cxn ang="0">
                  <a:pos x="T4" y="T5"/>
                </a:cxn>
                <a:cxn ang="0">
                  <a:pos x="T6" y="T7"/>
                </a:cxn>
                <a:cxn ang="0">
                  <a:pos x="T8" y="T9"/>
                </a:cxn>
              </a:cxnLst>
              <a:rect l="0" t="0" r="r" b="b"/>
              <a:pathLst>
                <a:path w="29" h="31">
                  <a:moveTo>
                    <a:pt x="28" y="30"/>
                  </a:moveTo>
                  <a:lnTo>
                    <a:pt x="28" y="30"/>
                  </a:lnTo>
                  <a:lnTo>
                    <a:pt x="28" y="30"/>
                  </a:lnTo>
                  <a:cubicBezTo>
                    <a:pt x="28" y="30"/>
                    <a:pt x="0" y="30"/>
                    <a:pt x="0" y="0"/>
                  </a:cubicBezTo>
                  <a:cubicBezTo>
                    <a:pt x="0" y="30"/>
                    <a:pt x="28" y="30"/>
                    <a:pt x="28"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Freeform 16">
              <a:extLst>
                <a:ext uri="{FF2B5EF4-FFF2-40B4-BE49-F238E27FC236}">
                  <a16:creationId xmlns:a16="http://schemas.microsoft.com/office/drawing/2014/main" id="{D966E60C-1E17-4A65-9638-74E730609CA1}"/>
                </a:ext>
              </a:extLst>
            </p:cNvPr>
            <p:cNvSpPr>
              <a:spLocks noChangeArrowheads="1"/>
            </p:cNvSpPr>
            <p:nvPr/>
          </p:nvSpPr>
          <p:spPr bwMode="auto">
            <a:xfrm>
              <a:off x="9582914" y="2558624"/>
              <a:ext cx="1630" cy="11328"/>
            </a:xfrm>
            <a:custGeom>
              <a:avLst/>
              <a:gdLst>
                <a:gd name="T0" fmla="*/ 0 w 1"/>
                <a:gd name="T1" fmla="*/ 29 h 30"/>
                <a:gd name="T2" fmla="*/ 0 w 1"/>
                <a:gd name="T3" fmla="*/ 0 h 30"/>
                <a:gd name="T4" fmla="*/ 0 w 1"/>
                <a:gd name="T5" fmla="*/ 29 h 30"/>
              </a:gdLst>
              <a:ahLst/>
              <a:cxnLst>
                <a:cxn ang="0">
                  <a:pos x="T0" y="T1"/>
                </a:cxn>
                <a:cxn ang="0">
                  <a:pos x="T2" y="T3"/>
                </a:cxn>
                <a:cxn ang="0">
                  <a:pos x="T4" y="T5"/>
                </a:cxn>
              </a:cxnLst>
              <a:rect l="0" t="0" r="r" b="b"/>
              <a:pathLst>
                <a:path w="1" h="30">
                  <a:moveTo>
                    <a:pt x="0" y="29"/>
                  </a:move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0" name="Freeform 17">
              <a:extLst>
                <a:ext uri="{FF2B5EF4-FFF2-40B4-BE49-F238E27FC236}">
                  <a16:creationId xmlns:a16="http://schemas.microsoft.com/office/drawing/2014/main" id="{0183CD8D-F3F3-446D-B642-4C18BD1B91FE}"/>
                </a:ext>
              </a:extLst>
            </p:cNvPr>
            <p:cNvSpPr>
              <a:spLocks noChangeArrowheads="1"/>
            </p:cNvSpPr>
            <p:nvPr/>
          </p:nvSpPr>
          <p:spPr bwMode="auto">
            <a:xfrm>
              <a:off x="9529095" y="2301311"/>
              <a:ext cx="44033" cy="139176"/>
            </a:xfrm>
            <a:custGeom>
              <a:avLst/>
              <a:gdLst>
                <a:gd name="T0" fmla="*/ 117 w 118"/>
                <a:gd name="T1" fmla="*/ 379 h 380"/>
                <a:gd name="T2" fmla="*/ 117 w 118"/>
                <a:gd name="T3" fmla="*/ 379 h 380"/>
                <a:gd name="T4" fmla="*/ 0 w 118"/>
                <a:gd name="T5" fmla="*/ 0 h 380"/>
                <a:gd name="T6" fmla="*/ 117 w 118"/>
                <a:gd name="T7" fmla="*/ 379 h 380"/>
              </a:gdLst>
              <a:ahLst/>
              <a:cxnLst>
                <a:cxn ang="0">
                  <a:pos x="T0" y="T1"/>
                </a:cxn>
                <a:cxn ang="0">
                  <a:pos x="T2" y="T3"/>
                </a:cxn>
                <a:cxn ang="0">
                  <a:pos x="T4" y="T5"/>
                </a:cxn>
                <a:cxn ang="0">
                  <a:pos x="T6" y="T7"/>
                </a:cxn>
              </a:cxnLst>
              <a:rect l="0" t="0" r="r" b="b"/>
              <a:pathLst>
                <a:path w="118" h="380">
                  <a:moveTo>
                    <a:pt x="117" y="379"/>
                  </a:moveTo>
                  <a:lnTo>
                    <a:pt x="117" y="379"/>
                  </a:lnTo>
                  <a:cubicBezTo>
                    <a:pt x="117" y="292"/>
                    <a:pt x="58" y="87"/>
                    <a:pt x="0" y="0"/>
                  </a:cubicBezTo>
                  <a:cubicBezTo>
                    <a:pt x="58" y="87"/>
                    <a:pt x="117" y="292"/>
                    <a:pt x="117" y="37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8">
              <a:extLst>
                <a:ext uri="{FF2B5EF4-FFF2-40B4-BE49-F238E27FC236}">
                  <a16:creationId xmlns:a16="http://schemas.microsoft.com/office/drawing/2014/main" id="{71B77A9F-2E3D-456B-9EEF-A4339447506B}"/>
                </a:ext>
              </a:extLst>
            </p:cNvPr>
            <p:cNvSpPr>
              <a:spLocks noChangeArrowheads="1"/>
            </p:cNvSpPr>
            <p:nvPr/>
          </p:nvSpPr>
          <p:spPr bwMode="auto">
            <a:xfrm>
              <a:off x="9561712" y="2568334"/>
              <a:ext cx="11416" cy="1618"/>
            </a:xfrm>
            <a:custGeom>
              <a:avLst/>
              <a:gdLst>
                <a:gd name="T0" fmla="*/ 0 w 31"/>
                <a:gd name="T1" fmla="*/ 0 h 1"/>
                <a:gd name="T2" fmla="*/ 0 w 31"/>
                <a:gd name="T3" fmla="*/ 0 h 1"/>
                <a:gd name="T4" fmla="*/ 30 w 31"/>
                <a:gd name="T5" fmla="*/ 0 h 1"/>
                <a:gd name="T6" fmla="*/ 0 w 31"/>
                <a:gd name="T7" fmla="*/ 0 h 1"/>
              </a:gdLst>
              <a:ahLst/>
              <a:cxnLst>
                <a:cxn ang="0">
                  <a:pos x="T0" y="T1"/>
                </a:cxn>
                <a:cxn ang="0">
                  <a:pos x="T2" y="T3"/>
                </a:cxn>
                <a:cxn ang="0">
                  <a:pos x="T4" y="T5"/>
                </a:cxn>
                <a:cxn ang="0">
                  <a:pos x="T6" y="T7"/>
                </a:cxn>
              </a:cxnLst>
              <a:rect l="0" t="0" r="r" b="b"/>
              <a:pathLst>
                <a:path w="31" h="1">
                  <a:moveTo>
                    <a:pt x="0" y="0"/>
                  </a:moveTo>
                  <a:lnTo>
                    <a:pt x="0" y="0"/>
                  </a:lnTo>
                  <a:lnTo>
                    <a:pt x="30"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Freeform 19">
              <a:extLst>
                <a:ext uri="{FF2B5EF4-FFF2-40B4-BE49-F238E27FC236}">
                  <a16:creationId xmlns:a16="http://schemas.microsoft.com/office/drawing/2014/main" id="{9FCA6789-04E5-43A3-932F-F8B47961B3BF}"/>
                </a:ext>
              </a:extLst>
            </p:cNvPr>
            <p:cNvSpPr>
              <a:spLocks noChangeArrowheads="1"/>
            </p:cNvSpPr>
            <p:nvPr/>
          </p:nvSpPr>
          <p:spPr bwMode="auto">
            <a:xfrm>
              <a:off x="9538880" y="2730166"/>
              <a:ext cx="65234" cy="32366"/>
            </a:xfrm>
            <a:custGeom>
              <a:avLst/>
              <a:gdLst>
                <a:gd name="T0" fmla="*/ 174 w 175"/>
                <a:gd name="T1" fmla="*/ 0 h 88"/>
                <a:gd name="T2" fmla="*/ 174 w 175"/>
                <a:gd name="T3" fmla="*/ 0 h 88"/>
                <a:gd name="T4" fmla="*/ 58 w 175"/>
                <a:gd name="T5" fmla="*/ 87 h 88"/>
                <a:gd name="T6" fmla="*/ 0 w 175"/>
                <a:gd name="T7" fmla="*/ 87 h 88"/>
                <a:gd name="T8" fmla="*/ 29 w 175"/>
                <a:gd name="T9" fmla="*/ 58 h 88"/>
                <a:gd name="T10" fmla="*/ 88 w 175"/>
                <a:gd name="T11" fmla="*/ 29 h 88"/>
                <a:gd name="T12" fmla="*/ 116 w 175"/>
                <a:gd name="T13" fmla="*/ 29 h 88"/>
                <a:gd name="T14" fmla="*/ 116 w 175"/>
                <a:gd name="T15" fmla="*/ 29 h 88"/>
                <a:gd name="T16" fmla="*/ 88 w 175"/>
                <a:gd name="T17" fmla="*/ 29 h 88"/>
                <a:gd name="T18" fmla="*/ 29 w 175"/>
                <a:gd name="T19" fmla="*/ 58 h 88"/>
                <a:gd name="T20" fmla="*/ 0 w 175"/>
                <a:gd name="T21" fmla="*/ 87 h 88"/>
                <a:gd name="T22" fmla="*/ 58 w 175"/>
                <a:gd name="T23" fmla="*/ 87 h 88"/>
                <a:gd name="T24" fmla="*/ 174 w 175"/>
                <a:gd name="T2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 h="88">
                  <a:moveTo>
                    <a:pt x="174" y="0"/>
                  </a:moveTo>
                  <a:lnTo>
                    <a:pt x="174" y="0"/>
                  </a:lnTo>
                  <a:cubicBezTo>
                    <a:pt x="174" y="58"/>
                    <a:pt x="116" y="87"/>
                    <a:pt x="58" y="87"/>
                  </a:cubicBezTo>
                  <a:cubicBezTo>
                    <a:pt x="29" y="87"/>
                    <a:pt x="29" y="87"/>
                    <a:pt x="0" y="87"/>
                  </a:cubicBezTo>
                  <a:cubicBezTo>
                    <a:pt x="29" y="87"/>
                    <a:pt x="29" y="87"/>
                    <a:pt x="29" y="58"/>
                  </a:cubicBezTo>
                  <a:cubicBezTo>
                    <a:pt x="58" y="58"/>
                    <a:pt x="88" y="58"/>
                    <a:pt x="88" y="29"/>
                  </a:cubicBezTo>
                  <a:cubicBezTo>
                    <a:pt x="116" y="29"/>
                    <a:pt x="116" y="29"/>
                    <a:pt x="116" y="29"/>
                  </a:cubicBezTo>
                  <a:lnTo>
                    <a:pt x="116" y="29"/>
                  </a:lnTo>
                  <a:cubicBezTo>
                    <a:pt x="88" y="29"/>
                    <a:pt x="88" y="29"/>
                    <a:pt x="88" y="29"/>
                  </a:cubicBezTo>
                  <a:cubicBezTo>
                    <a:pt x="88" y="58"/>
                    <a:pt x="58" y="58"/>
                    <a:pt x="29" y="58"/>
                  </a:cubicBezTo>
                  <a:cubicBezTo>
                    <a:pt x="29" y="87"/>
                    <a:pt x="29" y="87"/>
                    <a:pt x="0" y="87"/>
                  </a:cubicBezTo>
                  <a:cubicBezTo>
                    <a:pt x="29" y="87"/>
                    <a:pt x="29" y="87"/>
                    <a:pt x="58" y="87"/>
                  </a:cubicBezTo>
                  <a:cubicBezTo>
                    <a:pt x="116" y="87"/>
                    <a:pt x="174" y="58"/>
                    <a:pt x="17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3" name="Freeform 20">
              <a:extLst>
                <a:ext uri="{FF2B5EF4-FFF2-40B4-BE49-F238E27FC236}">
                  <a16:creationId xmlns:a16="http://schemas.microsoft.com/office/drawing/2014/main" id="{2D925150-D752-4C95-BF20-C78A3B175695}"/>
                </a:ext>
              </a:extLst>
            </p:cNvPr>
            <p:cNvSpPr>
              <a:spLocks noChangeArrowheads="1"/>
            </p:cNvSpPr>
            <p:nvPr/>
          </p:nvSpPr>
          <p:spPr bwMode="auto">
            <a:xfrm>
              <a:off x="9625316" y="2718837"/>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Freeform 21">
              <a:extLst>
                <a:ext uri="{FF2B5EF4-FFF2-40B4-BE49-F238E27FC236}">
                  <a16:creationId xmlns:a16="http://schemas.microsoft.com/office/drawing/2014/main" id="{775FCC10-3994-4EC6-A50F-25864A72737A}"/>
                </a:ext>
              </a:extLst>
            </p:cNvPr>
            <p:cNvSpPr>
              <a:spLocks noChangeArrowheads="1"/>
            </p:cNvSpPr>
            <p:nvPr/>
          </p:nvSpPr>
          <p:spPr bwMode="auto">
            <a:xfrm>
              <a:off x="9949853" y="2514929"/>
              <a:ext cx="44033" cy="53405"/>
            </a:xfrm>
            <a:custGeom>
              <a:avLst/>
              <a:gdLst>
                <a:gd name="T0" fmla="*/ 116 w 117"/>
                <a:gd name="T1" fmla="*/ 0 h 146"/>
                <a:gd name="T2" fmla="*/ 116 w 117"/>
                <a:gd name="T3" fmla="*/ 0 h 146"/>
                <a:gd name="T4" fmla="*/ 29 w 117"/>
                <a:gd name="T5" fmla="*/ 87 h 146"/>
                <a:gd name="T6" fmla="*/ 0 w 117"/>
                <a:gd name="T7" fmla="*/ 145 h 146"/>
                <a:gd name="T8" fmla="*/ 29 w 117"/>
                <a:gd name="T9" fmla="*/ 87 h 146"/>
                <a:gd name="T10" fmla="*/ 116 w 117"/>
                <a:gd name="T11" fmla="*/ 0 h 146"/>
              </a:gdLst>
              <a:ahLst/>
              <a:cxnLst>
                <a:cxn ang="0">
                  <a:pos x="T0" y="T1"/>
                </a:cxn>
                <a:cxn ang="0">
                  <a:pos x="T2" y="T3"/>
                </a:cxn>
                <a:cxn ang="0">
                  <a:pos x="T4" y="T5"/>
                </a:cxn>
                <a:cxn ang="0">
                  <a:pos x="T6" y="T7"/>
                </a:cxn>
                <a:cxn ang="0">
                  <a:pos x="T8" y="T9"/>
                </a:cxn>
                <a:cxn ang="0">
                  <a:pos x="T10" y="T11"/>
                </a:cxn>
              </a:cxnLst>
              <a:rect l="0" t="0" r="r" b="b"/>
              <a:pathLst>
                <a:path w="117" h="146">
                  <a:moveTo>
                    <a:pt x="116" y="0"/>
                  </a:moveTo>
                  <a:lnTo>
                    <a:pt x="116" y="0"/>
                  </a:lnTo>
                  <a:cubicBezTo>
                    <a:pt x="58" y="29"/>
                    <a:pt x="58" y="87"/>
                    <a:pt x="29" y="87"/>
                  </a:cubicBezTo>
                  <a:cubicBezTo>
                    <a:pt x="29" y="116"/>
                    <a:pt x="0" y="116"/>
                    <a:pt x="0" y="145"/>
                  </a:cubicBezTo>
                  <a:cubicBezTo>
                    <a:pt x="0" y="116"/>
                    <a:pt x="29" y="116"/>
                    <a:pt x="29" y="87"/>
                  </a:cubicBezTo>
                  <a:cubicBezTo>
                    <a:pt x="58" y="87"/>
                    <a:pt x="58" y="29"/>
                    <a:pt x="11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Freeform 22">
              <a:extLst>
                <a:ext uri="{FF2B5EF4-FFF2-40B4-BE49-F238E27FC236}">
                  <a16:creationId xmlns:a16="http://schemas.microsoft.com/office/drawing/2014/main" id="{7307A8DA-9A61-4162-B1BE-F2BA5EF2CC33}"/>
                </a:ext>
              </a:extLst>
            </p:cNvPr>
            <p:cNvSpPr>
              <a:spLocks noChangeArrowheads="1"/>
            </p:cNvSpPr>
            <p:nvPr/>
          </p:nvSpPr>
          <p:spPr bwMode="auto">
            <a:xfrm>
              <a:off x="9949853" y="2568334"/>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6" name="Freeform 23">
              <a:extLst>
                <a:ext uri="{FF2B5EF4-FFF2-40B4-BE49-F238E27FC236}">
                  <a16:creationId xmlns:a16="http://schemas.microsoft.com/office/drawing/2014/main" id="{E53B2109-DC6F-4675-B33C-BB2A7C93D41B}"/>
                </a:ext>
              </a:extLst>
            </p:cNvPr>
            <p:cNvSpPr>
              <a:spLocks noChangeArrowheads="1"/>
            </p:cNvSpPr>
            <p:nvPr/>
          </p:nvSpPr>
          <p:spPr bwMode="auto">
            <a:xfrm>
              <a:off x="9550297" y="2558624"/>
              <a:ext cx="1630" cy="11328"/>
            </a:xfrm>
            <a:custGeom>
              <a:avLst/>
              <a:gdLst>
                <a:gd name="T0" fmla="*/ 0 w 1"/>
                <a:gd name="T1" fmla="*/ 29 h 30"/>
                <a:gd name="T2" fmla="*/ 0 w 1"/>
                <a:gd name="T3" fmla="*/ 29 h 30"/>
                <a:gd name="T4" fmla="*/ 0 w 1"/>
                <a:gd name="T5" fmla="*/ 0 h 30"/>
                <a:gd name="T6" fmla="*/ 0 w 1"/>
                <a:gd name="T7" fmla="*/ 0 h 30"/>
                <a:gd name="T8" fmla="*/ 0 w 1"/>
                <a:gd name="T9" fmla="*/ 29 h 30"/>
              </a:gdLst>
              <a:ahLst/>
              <a:cxnLst>
                <a:cxn ang="0">
                  <a:pos x="T0" y="T1"/>
                </a:cxn>
                <a:cxn ang="0">
                  <a:pos x="T2" y="T3"/>
                </a:cxn>
                <a:cxn ang="0">
                  <a:pos x="T4" y="T5"/>
                </a:cxn>
                <a:cxn ang="0">
                  <a:pos x="T6" y="T7"/>
                </a:cxn>
                <a:cxn ang="0">
                  <a:pos x="T8" y="T9"/>
                </a:cxn>
              </a:cxnLst>
              <a:rect l="0" t="0" r="r" b="b"/>
              <a:pathLst>
                <a:path w="1" h="30">
                  <a:moveTo>
                    <a:pt x="0" y="29"/>
                  </a:moveTo>
                  <a:lnTo>
                    <a:pt x="0" y="29"/>
                  </a:lnTo>
                  <a:cubicBezTo>
                    <a:pt x="0" y="29"/>
                    <a:pt x="0" y="29"/>
                    <a:pt x="0" y="0"/>
                  </a:cubicBezTo>
                  <a:lnTo>
                    <a:pt x="0" y="0"/>
                  </a:ln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7" name="Freeform 24">
              <a:extLst>
                <a:ext uri="{FF2B5EF4-FFF2-40B4-BE49-F238E27FC236}">
                  <a16:creationId xmlns:a16="http://schemas.microsoft.com/office/drawing/2014/main" id="{281DD58E-E8EB-44A0-8DD0-11F50737BC83}"/>
                </a:ext>
              </a:extLst>
            </p:cNvPr>
            <p:cNvSpPr>
              <a:spLocks noChangeArrowheads="1"/>
            </p:cNvSpPr>
            <p:nvPr/>
          </p:nvSpPr>
          <p:spPr bwMode="auto">
            <a:xfrm>
              <a:off x="9840587" y="2621738"/>
              <a:ext cx="21200" cy="1619"/>
            </a:xfrm>
            <a:custGeom>
              <a:avLst/>
              <a:gdLst>
                <a:gd name="T0" fmla="*/ 0 w 59"/>
                <a:gd name="T1" fmla="*/ 0 h 1"/>
                <a:gd name="T2" fmla="*/ 0 w 59"/>
                <a:gd name="T3" fmla="*/ 0 h 1"/>
                <a:gd name="T4" fmla="*/ 0 w 59"/>
                <a:gd name="T5" fmla="*/ 0 h 1"/>
                <a:gd name="T6" fmla="*/ 58 w 59"/>
                <a:gd name="T7" fmla="*/ 0 h 1"/>
                <a:gd name="T8" fmla="*/ 0 w 59"/>
                <a:gd name="T9" fmla="*/ 0 h 1"/>
              </a:gdLst>
              <a:ahLst/>
              <a:cxnLst>
                <a:cxn ang="0">
                  <a:pos x="T0" y="T1"/>
                </a:cxn>
                <a:cxn ang="0">
                  <a:pos x="T2" y="T3"/>
                </a:cxn>
                <a:cxn ang="0">
                  <a:pos x="T4" y="T5"/>
                </a:cxn>
                <a:cxn ang="0">
                  <a:pos x="T6" y="T7"/>
                </a:cxn>
                <a:cxn ang="0">
                  <a:pos x="T8" y="T9"/>
                </a:cxn>
              </a:cxnLst>
              <a:rect l="0" t="0" r="r" b="b"/>
              <a:pathLst>
                <a:path w="59" h="1">
                  <a:moveTo>
                    <a:pt x="0" y="0"/>
                  </a:moveTo>
                  <a:lnTo>
                    <a:pt x="0" y="0"/>
                  </a:lnTo>
                  <a:lnTo>
                    <a:pt x="0" y="0"/>
                  </a:lnTo>
                  <a:cubicBezTo>
                    <a:pt x="0" y="0"/>
                    <a:pt x="29" y="0"/>
                    <a:pt x="58" y="0"/>
                  </a:cubicBezTo>
                  <a:cubicBezTo>
                    <a:pt x="29"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8" name="Freeform 25">
              <a:extLst>
                <a:ext uri="{FF2B5EF4-FFF2-40B4-BE49-F238E27FC236}">
                  <a16:creationId xmlns:a16="http://schemas.microsoft.com/office/drawing/2014/main" id="{237F8A0C-6F29-4725-8D33-52ECD056B3CF}"/>
                </a:ext>
              </a:extLst>
            </p:cNvPr>
            <p:cNvSpPr>
              <a:spLocks noChangeArrowheads="1"/>
            </p:cNvSpPr>
            <p:nvPr/>
          </p:nvSpPr>
          <p:spPr bwMode="auto">
            <a:xfrm>
              <a:off x="10013457" y="2354716"/>
              <a:ext cx="1630"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29"/>
                    <a:pt x="0" y="29"/>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9" name="Freeform 26">
              <a:extLst>
                <a:ext uri="{FF2B5EF4-FFF2-40B4-BE49-F238E27FC236}">
                  <a16:creationId xmlns:a16="http://schemas.microsoft.com/office/drawing/2014/main" id="{8A0BD9D1-C789-49DC-A6A7-1326A6DC8F80}"/>
                </a:ext>
              </a:extLst>
            </p:cNvPr>
            <p:cNvSpPr>
              <a:spLocks noChangeArrowheads="1"/>
            </p:cNvSpPr>
            <p:nvPr/>
          </p:nvSpPr>
          <p:spPr bwMode="auto">
            <a:xfrm>
              <a:off x="9281207" y="2633067"/>
              <a:ext cx="626245" cy="663511"/>
            </a:xfrm>
            <a:custGeom>
              <a:avLst/>
              <a:gdLst>
                <a:gd name="T0" fmla="*/ 612 w 1692"/>
                <a:gd name="T1" fmla="*/ 321 h 1810"/>
                <a:gd name="T2" fmla="*/ 612 w 1692"/>
                <a:gd name="T3" fmla="*/ 321 h 1810"/>
                <a:gd name="T4" fmla="*/ 583 w 1692"/>
                <a:gd name="T5" fmla="*/ 263 h 1810"/>
                <a:gd name="T6" fmla="*/ 583 w 1692"/>
                <a:gd name="T7" fmla="*/ 263 h 1810"/>
                <a:gd name="T8" fmla="*/ 291 w 1692"/>
                <a:gd name="T9" fmla="*/ 321 h 1810"/>
                <a:gd name="T10" fmla="*/ 0 w 1692"/>
                <a:gd name="T11" fmla="*/ 350 h 1810"/>
                <a:gd name="T12" fmla="*/ 88 w 1692"/>
                <a:gd name="T13" fmla="*/ 1021 h 1810"/>
                <a:gd name="T14" fmla="*/ 145 w 1692"/>
                <a:gd name="T15" fmla="*/ 1546 h 1810"/>
                <a:gd name="T16" fmla="*/ 174 w 1692"/>
                <a:gd name="T17" fmla="*/ 1546 h 1810"/>
                <a:gd name="T18" fmla="*/ 233 w 1692"/>
                <a:gd name="T19" fmla="*/ 1575 h 1810"/>
                <a:gd name="T20" fmla="*/ 262 w 1692"/>
                <a:gd name="T21" fmla="*/ 1604 h 1810"/>
                <a:gd name="T22" fmla="*/ 408 w 1692"/>
                <a:gd name="T23" fmla="*/ 1633 h 1810"/>
                <a:gd name="T24" fmla="*/ 554 w 1692"/>
                <a:gd name="T25" fmla="*/ 1663 h 1810"/>
                <a:gd name="T26" fmla="*/ 583 w 1692"/>
                <a:gd name="T27" fmla="*/ 1692 h 1810"/>
                <a:gd name="T28" fmla="*/ 612 w 1692"/>
                <a:gd name="T29" fmla="*/ 1721 h 1810"/>
                <a:gd name="T30" fmla="*/ 612 w 1692"/>
                <a:gd name="T31" fmla="*/ 1721 h 1810"/>
                <a:gd name="T32" fmla="*/ 641 w 1692"/>
                <a:gd name="T33" fmla="*/ 1692 h 1810"/>
                <a:gd name="T34" fmla="*/ 700 w 1692"/>
                <a:gd name="T35" fmla="*/ 1692 h 1810"/>
                <a:gd name="T36" fmla="*/ 758 w 1692"/>
                <a:gd name="T37" fmla="*/ 1692 h 1810"/>
                <a:gd name="T38" fmla="*/ 788 w 1692"/>
                <a:gd name="T39" fmla="*/ 1721 h 1810"/>
                <a:gd name="T40" fmla="*/ 816 w 1692"/>
                <a:gd name="T41" fmla="*/ 1692 h 1810"/>
                <a:gd name="T42" fmla="*/ 874 w 1692"/>
                <a:gd name="T43" fmla="*/ 1663 h 1810"/>
                <a:gd name="T44" fmla="*/ 962 w 1692"/>
                <a:gd name="T45" fmla="*/ 1721 h 1810"/>
                <a:gd name="T46" fmla="*/ 991 w 1692"/>
                <a:gd name="T47" fmla="*/ 1750 h 1810"/>
                <a:gd name="T48" fmla="*/ 991 w 1692"/>
                <a:gd name="T49" fmla="*/ 1750 h 1810"/>
                <a:gd name="T50" fmla="*/ 1138 w 1692"/>
                <a:gd name="T51" fmla="*/ 1809 h 1810"/>
                <a:gd name="T52" fmla="*/ 1138 w 1692"/>
                <a:gd name="T53" fmla="*/ 1809 h 1810"/>
                <a:gd name="T54" fmla="*/ 1138 w 1692"/>
                <a:gd name="T55" fmla="*/ 1750 h 1810"/>
                <a:gd name="T56" fmla="*/ 1195 w 1692"/>
                <a:gd name="T57" fmla="*/ 1692 h 1810"/>
                <a:gd name="T58" fmla="*/ 1224 w 1692"/>
                <a:gd name="T59" fmla="*/ 1633 h 1810"/>
                <a:gd name="T60" fmla="*/ 1195 w 1692"/>
                <a:gd name="T61" fmla="*/ 1604 h 1810"/>
                <a:gd name="T62" fmla="*/ 1195 w 1692"/>
                <a:gd name="T63" fmla="*/ 1575 h 1810"/>
                <a:gd name="T64" fmla="*/ 1312 w 1692"/>
                <a:gd name="T65" fmla="*/ 1487 h 1810"/>
                <a:gd name="T66" fmla="*/ 1341 w 1692"/>
                <a:gd name="T67" fmla="*/ 1487 h 1810"/>
                <a:gd name="T68" fmla="*/ 1341 w 1692"/>
                <a:gd name="T69" fmla="*/ 1430 h 1810"/>
                <a:gd name="T70" fmla="*/ 1400 w 1692"/>
                <a:gd name="T71" fmla="*/ 1313 h 1810"/>
                <a:gd name="T72" fmla="*/ 1400 w 1692"/>
                <a:gd name="T73" fmla="*/ 1313 h 1810"/>
                <a:gd name="T74" fmla="*/ 1458 w 1692"/>
                <a:gd name="T75" fmla="*/ 1313 h 1810"/>
                <a:gd name="T76" fmla="*/ 1545 w 1692"/>
                <a:gd name="T77" fmla="*/ 1196 h 1810"/>
                <a:gd name="T78" fmla="*/ 1604 w 1692"/>
                <a:gd name="T79" fmla="*/ 1109 h 1810"/>
                <a:gd name="T80" fmla="*/ 1691 w 1692"/>
                <a:gd name="T81" fmla="*/ 992 h 1810"/>
                <a:gd name="T82" fmla="*/ 1545 w 1692"/>
                <a:gd name="T83" fmla="*/ 0 h 1810"/>
                <a:gd name="T84" fmla="*/ 1400 w 1692"/>
                <a:gd name="T85" fmla="*/ 59 h 1810"/>
                <a:gd name="T86" fmla="*/ 1341 w 1692"/>
                <a:gd name="T87" fmla="*/ 116 h 1810"/>
                <a:gd name="T88" fmla="*/ 1283 w 1692"/>
                <a:gd name="T89" fmla="*/ 146 h 1810"/>
                <a:gd name="T90" fmla="*/ 1254 w 1692"/>
                <a:gd name="T91" fmla="*/ 146 h 1810"/>
                <a:gd name="T92" fmla="*/ 1224 w 1692"/>
                <a:gd name="T93" fmla="*/ 204 h 1810"/>
                <a:gd name="T94" fmla="*/ 1138 w 1692"/>
                <a:gd name="T95" fmla="*/ 233 h 1810"/>
                <a:gd name="T96" fmla="*/ 1138 w 1692"/>
                <a:gd name="T97" fmla="*/ 233 h 1810"/>
                <a:gd name="T98" fmla="*/ 1079 w 1692"/>
                <a:gd name="T99" fmla="*/ 233 h 1810"/>
                <a:gd name="T100" fmla="*/ 1050 w 1692"/>
                <a:gd name="T101" fmla="*/ 204 h 1810"/>
                <a:gd name="T102" fmla="*/ 1021 w 1692"/>
                <a:gd name="T103" fmla="*/ 233 h 1810"/>
                <a:gd name="T104" fmla="*/ 991 w 1692"/>
                <a:gd name="T105" fmla="*/ 263 h 1810"/>
                <a:gd name="T106" fmla="*/ 933 w 1692"/>
                <a:gd name="T107" fmla="*/ 292 h 1810"/>
                <a:gd name="T108" fmla="*/ 904 w 1692"/>
                <a:gd name="T109" fmla="*/ 292 h 1810"/>
                <a:gd name="T110" fmla="*/ 758 w 1692"/>
                <a:gd name="T111" fmla="*/ 409 h 1810"/>
                <a:gd name="T112" fmla="*/ 671 w 1692"/>
                <a:gd name="T113" fmla="*/ 350 h 1810"/>
                <a:gd name="T114" fmla="*/ 671 w 1692"/>
                <a:gd name="T115" fmla="*/ 350 h 1810"/>
                <a:gd name="T116" fmla="*/ 671 w 1692"/>
                <a:gd name="T117" fmla="*/ 321 h 1810"/>
                <a:gd name="T118" fmla="*/ 700 w 1692"/>
                <a:gd name="T119" fmla="*/ 321 h 1810"/>
                <a:gd name="T120" fmla="*/ 700 w 1692"/>
                <a:gd name="T121" fmla="*/ 321 h 1810"/>
                <a:gd name="T122" fmla="*/ 612 w 1692"/>
                <a:gd name="T123" fmla="*/ 321 h 1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92" h="1810">
                  <a:moveTo>
                    <a:pt x="612" y="321"/>
                  </a:moveTo>
                  <a:lnTo>
                    <a:pt x="612" y="321"/>
                  </a:lnTo>
                  <a:cubicBezTo>
                    <a:pt x="583" y="292"/>
                    <a:pt x="583" y="292"/>
                    <a:pt x="583" y="263"/>
                  </a:cubicBezTo>
                  <a:lnTo>
                    <a:pt x="583" y="263"/>
                  </a:lnTo>
                  <a:cubicBezTo>
                    <a:pt x="495" y="292"/>
                    <a:pt x="379" y="292"/>
                    <a:pt x="291" y="321"/>
                  </a:cubicBezTo>
                  <a:cubicBezTo>
                    <a:pt x="174" y="321"/>
                    <a:pt x="88" y="321"/>
                    <a:pt x="0" y="350"/>
                  </a:cubicBezTo>
                  <a:cubicBezTo>
                    <a:pt x="29" y="554"/>
                    <a:pt x="58" y="788"/>
                    <a:pt x="88" y="1021"/>
                  </a:cubicBezTo>
                  <a:cubicBezTo>
                    <a:pt x="88" y="1196"/>
                    <a:pt x="117" y="1371"/>
                    <a:pt x="145" y="1546"/>
                  </a:cubicBezTo>
                  <a:lnTo>
                    <a:pt x="174" y="1546"/>
                  </a:lnTo>
                  <a:cubicBezTo>
                    <a:pt x="204" y="1575"/>
                    <a:pt x="204" y="1575"/>
                    <a:pt x="233" y="1575"/>
                  </a:cubicBezTo>
                  <a:cubicBezTo>
                    <a:pt x="233" y="1604"/>
                    <a:pt x="262" y="1604"/>
                    <a:pt x="262" y="1604"/>
                  </a:cubicBezTo>
                  <a:cubicBezTo>
                    <a:pt x="321" y="1633"/>
                    <a:pt x="350" y="1633"/>
                    <a:pt x="408" y="1633"/>
                  </a:cubicBezTo>
                  <a:cubicBezTo>
                    <a:pt x="466" y="1633"/>
                    <a:pt x="495" y="1633"/>
                    <a:pt x="554" y="1663"/>
                  </a:cubicBezTo>
                  <a:lnTo>
                    <a:pt x="583" y="1692"/>
                  </a:lnTo>
                  <a:cubicBezTo>
                    <a:pt x="612" y="1692"/>
                    <a:pt x="612" y="1721"/>
                    <a:pt x="612" y="1721"/>
                  </a:cubicBezTo>
                  <a:lnTo>
                    <a:pt x="612" y="1721"/>
                  </a:lnTo>
                  <a:cubicBezTo>
                    <a:pt x="641" y="1721"/>
                    <a:pt x="641" y="1721"/>
                    <a:pt x="641" y="1692"/>
                  </a:cubicBezTo>
                  <a:cubicBezTo>
                    <a:pt x="671" y="1692"/>
                    <a:pt x="700" y="1692"/>
                    <a:pt x="700" y="1692"/>
                  </a:cubicBezTo>
                  <a:cubicBezTo>
                    <a:pt x="729" y="1692"/>
                    <a:pt x="758" y="1692"/>
                    <a:pt x="758" y="1692"/>
                  </a:cubicBezTo>
                  <a:cubicBezTo>
                    <a:pt x="788" y="1721"/>
                    <a:pt x="788" y="1721"/>
                    <a:pt x="788" y="1721"/>
                  </a:cubicBezTo>
                  <a:cubicBezTo>
                    <a:pt x="816" y="1721"/>
                    <a:pt x="816" y="1692"/>
                    <a:pt x="816" y="1692"/>
                  </a:cubicBezTo>
                  <a:cubicBezTo>
                    <a:pt x="845" y="1692"/>
                    <a:pt x="845" y="1663"/>
                    <a:pt x="874" y="1663"/>
                  </a:cubicBezTo>
                  <a:cubicBezTo>
                    <a:pt x="904" y="1663"/>
                    <a:pt x="933" y="1692"/>
                    <a:pt x="962" y="1721"/>
                  </a:cubicBezTo>
                  <a:cubicBezTo>
                    <a:pt x="991" y="1721"/>
                    <a:pt x="991" y="1750"/>
                    <a:pt x="991" y="1750"/>
                  </a:cubicBezTo>
                  <a:lnTo>
                    <a:pt x="991" y="1750"/>
                  </a:lnTo>
                  <a:cubicBezTo>
                    <a:pt x="1050" y="1780"/>
                    <a:pt x="1079" y="1809"/>
                    <a:pt x="1138" y="1809"/>
                  </a:cubicBezTo>
                  <a:lnTo>
                    <a:pt x="1138" y="1809"/>
                  </a:lnTo>
                  <a:cubicBezTo>
                    <a:pt x="1138" y="1780"/>
                    <a:pt x="1138" y="1780"/>
                    <a:pt x="1138" y="1750"/>
                  </a:cubicBezTo>
                  <a:cubicBezTo>
                    <a:pt x="1138" y="1721"/>
                    <a:pt x="1166" y="1692"/>
                    <a:pt x="1195" y="1692"/>
                  </a:cubicBezTo>
                  <a:cubicBezTo>
                    <a:pt x="1195" y="1663"/>
                    <a:pt x="1195" y="1663"/>
                    <a:pt x="1224" y="1633"/>
                  </a:cubicBezTo>
                  <a:cubicBezTo>
                    <a:pt x="1224" y="1633"/>
                    <a:pt x="1195" y="1633"/>
                    <a:pt x="1195" y="1604"/>
                  </a:cubicBezTo>
                  <a:cubicBezTo>
                    <a:pt x="1195" y="1604"/>
                    <a:pt x="1195" y="1604"/>
                    <a:pt x="1195" y="1575"/>
                  </a:cubicBezTo>
                  <a:cubicBezTo>
                    <a:pt x="1224" y="1516"/>
                    <a:pt x="1254" y="1487"/>
                    <a:pt x="1312" y="1487"/>
                  </a:cubicBezTo>
                  <a:lnTo>
                    <a:pt x="1341" y="1487"/>
                  </a:lnTo>
                  <a:cubicBezTo>
                    <a:pt x="1341" y="1487"/>
                    <a:pt x="1341" y="1459"/>
                    <a:pt x="1341" y="1430"/>
                  </a:cubicBezTo>
                  <a:cubicBezTo>
                    <a:pt x="1341" y="1400"/>
                    <a:pt x="1371" y="1342"/>
                    <a:pt x="1400" y="1313"/>
                  </a:cubicBezTo>
                  <a:lnTo>
                    <a:pt x="1400" y="1313"/>
                  </a:lnTo>
                  <a:cubicBezTo>
                    <a:pt x="1458" y="1313"/>
                    <a:pt x="1458" y="1313"/>
                    <a:pt x="1458" y="1313"/>
                  </a:cubicBezTo>
                  <a:cubicBezTo>
                    <a:pt x="1487" y="1283"/>
                    <a:pt x="1516" y="1254"/>
                    <a:pt x="1545" y="1196"/>
                  </a:cubicBezTo>
                  <a:cubicBezTo>
                    <a:pt x="1545" y="1166"/>
                    <a:pt x="1574" y="1138"/>
                    <a:pt x="1604" y="1109"/>
                  </a:cubicBezTo>
                  <a:cubicBezTo>
                    <a:pt x="1604" y="1021"/>
                    <a:pt x="1633" y="992"/>
                    <a:pt x="1691" y="992"/>
                  </a:cubicBezTo>
                  <a:cubicBezTo>
                    <a:pt x="1633" y="700"/>
                    <a:pt x="1604" y="380"/>
                    <a:pt x="1545" y="0"/>
                  </a:cubicBezTo>
                  <a:cubicBezTo>
                    <a:pt x="1487" y="0"/>
                    <a:pt x="1429" y="30"/>
                    <a:pt x="1400" y="59"/>
                  </a:cubicBezTo>
                  <a:cubicBezTo>
                    <a:pt x="1400" y="88"/>
                    <a:pt x="1371" y="116"/>
                    <a:pt x="1341" y="116"/>
                  </a:cubicBezTo>
                  <a:cubicBezTo>
                    <a:pt x="1341" y="146"/>
                    <a:pt x="1312" y="146"/>
                    <a:pt x="1283" y="146"/>
                  </a:cubicBezTo>
                  <a:cubicBezTo>
                    <a:pt x="1283" y="146"/>
                    <a:pt x="1283" y="146"/>
                    <a:pt x="1254" y="146"/>
                  </a:cubicBezTo>
                  <a:cubicBezTo>
                    <a:pt x="1254" y="175"/>
                    <a:pt x="1224" y="175"/>
                    <a:pt x="1224" y="204"/>
                  </a:cubicBezTo>
                  <a:cubicBezTo>
                    <a:pt x="1195" y="204"/>
                    <a:pt x="1166" y="233"/>
                    <a:pt x="1138" y="233"/>
                  </a:cubicBezTo>
                  <a:lnTo>
                    <a:pt x="1138" y="233"/>
                  </a:lnTo>
                  <a:cubicBezTo>
                    <a:pt x="1108" y="233"/>
                    <a:pt x="1108" y="233"/>
                    <a:pt x="1079" y="233"/>
                  </a:cubicBezTo>
                  <a:lnTo>
                    <a:pt x="1050" y="204"/>
                  </a:lnTo>
                  <a:cubicBezTo>
                    <a:pt x="1050" y="204"/>
                    <a:pt x="1050" y="233"/>
                    <a:pt x="1021" y="233"/>
                  </a:cubicBezTo>
                  <a:lnTo>
                    <a:pt x="991" y="263"/>
                  </a:lnTo>
                  <a:cubicBezTo>
                    <a:pt x="962" y="292"/>
                    <a:pt x="962" y="292"/>
                    <a:pt x="933" y="292"/>
                  </a:cubicBezTo>
                  <a:cubicBezTo>
                    <a:pt x="933" y="292"/>
                    <a:pt x="933" y="292"/>
                    <a:pt x="904" y="292"/>
                  </a:cubicBezTo>
                  <a:cubicBezTo>
                    <a:pt x="904" y="350"/>
                    <a:pt x="816" y="409"/>
                    <a:pt x="758" y="409"/>
                  </a:cubicBezTo>
                  <a:cubicBezTo>
                    <a:pt x="700" y="409"/>
                    <a:pt x="671" y="380"/>
                    <a:pt x="671" y="350"/>
                  </a:cubicBezTo>
                  <a:lnTo>
                    <a:pt x="671" y="350"/>
                  </a:lnTo>
                  <a:cubicBezTo>
                    <a:pt x="671" y="321"/>
                    <a:pt x="671" y="321"/>
                    <a:pt x="671" y="321"/>
                  </a:cubicBezTo>
                  <a:cubicBezTo>
                    <a:pt x="671" y="321"/>
                    <a:pt x="671" y="321"/>
                    <a:pt x="700" y="321"/>
                  </a:cubicBezTo>
                  <a:lnTo>
                    <a:pt x="700" y="321"/>
                  </a:lnTo>
                  <a:cubicBezTo>
                    <a:pt x="671" y="321"/>
                    <a:pt x="641" y="321"/>
                    <a:pt x="612" y="3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0" name="Freeform 27">
              <a:extLst>
                <a:ext uri="{FF2B5EF4-FFF2-40B4-BE49-F238E27FC236}">
                  <a16:creationId xmlns:a16="http://schemas.microsoft.com/office/drawing/2014/main" id="{F16E59DD-DDE1-4073-BF24-6B1CAF21676B}"/>
                </a:ext>
              </a:extLst>
            </p:cNvPr>
            <p:cNvSpPr>
              <a:spLocks noChangeArrowheads="1"/>
            </p:cNvSpPr>
            <p:nvPr/>
          </p:nvSpPr>
          <p:spPr bwMode="auto">
            <a:xfrm>
              <a:off x="9538880" y="2621738"/>
              <a:ext cx="11416" cy="53405"/>
            </a:xfrm>
            <a:custGeom>
              <a:avLst/>
              <a:gdLst>
                <a:gd name="T0" fmla="*/ 0 w 30"/>
                <a:gd name="T1" fmla="*/ 88 h 146"/>
                <a:gd name="T2" fmla="*/ 0 w 30"/>
                <a:gd name="T3" fmla="*/ 88 h 146"/>
                <a:gd name="T4" fmla="*/ 0 w 30"/>
                <a:gd name="T5" fmla="*/ 117 h 146"/>
                <a:gd name="T6" fmla="*/ 0 w 30"/>
                <a:gd name="T7" fmla="*/ 145 h 146"/>
                <a:gd name="T8" fmla="*/ 0 w 30"/>
                <a:gd name="T9" fmla="*/ 117 h 146"/>
                <a:gd name="T10" fmla="*/ 0 w 30"/>
                <a:gd name="T11" fmla="*/ 88 h 146"/>
                <a:gd name="T12" fmla="*/ 29 w 30"/>
                <a:gd name="T13" fmla="*/ 29 h 146"/>
                <a:gd name="T14" fmla="*/ 29 w 30"/>
                <a:gd name="T15" fmla="*/ 0 h 146"/>
                <a:gd name="T16" fmla="*/ 29 w 30"/>
                <a:gd name="T17" fmla="*/ 29 h 146"/>
                <a:gd name="T18" fmla="*/ 0 w 30"/>
                <a:gd name="T19" fmla="*/ 8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146">
                  <a:moveTo>
                    <a:pt x="0" y="88"/>
                  </a:moveTo>
                  <a:lnTo>
                    <a:pt x="0" y="88"/>
                  </a:lnTo>
                  <a:cubicBezTo>
                    <a:pt x="0" y="88"/>
                    <a:pt x="0" y="88"/>
                    <a:pt x="0" y="117"/>
                  </a:cubicBezTo>
                  <a:lnTo>
                    <a:pt x="0" y="145"/>
                  </a:lnTo>
                  <a:lnTo>
                    <a:pt x="0" y="117"/>
                  </a:lnTo>
                  <a:cubicBezTo>
                    <a:pt x="0" y="88"/>
                    <a:pt x="0" y="88"/>
                    <a:pt x="0" y="88"/>
                  </a:cubicBezTo>
                  <a:cubicBezTo>
                    <a:pt x="0" y="59"/>
                    <a:pt x="0" y="29"/>
                    <a:pt x="29" y="29"/>
                  </a:cubicBezTo>
                  <a:cubicBezTo>
                    <a:pt x="29" y="0"/>
                    <a:pt x="29" y="0"/>
                    <a:pt x="29" y="0"/>
                  </a:cubicBezTo>
                  <a:cubicBezTo>
                    <a:pt x="29" y="0"/>
                    <a:pt x="29" y="0"/>
                    <a:pt x="29" y="29"/>
                  </a:cubicBezTo>
                  <a:cubicBezTo>
                    <a:pt x="0" y="29"/>
                    <a:pt x="0" y="59"/>
                    <a:pt x="0"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1" name="Freeform 28">
              <a:extLst>
                <a:ext uri="{FF2B5EF4-FFF2-40B4-BE49-F238E27FC236}">
                  <a16:creationId xmlns:a16="http://schemas.microsoft.com/office/drawing/2014/main" id="{83027EE7-A4F9-4ADA-92A2-933626F1B62F}"/>
                </a:ext>
              </a:extLst>
            </p:cNvPr>
            <p:cNvSpPr>
              <a:spLocks noChangeArrowheads="1"/>
            </p:cNvSpPr>
            <p:nvPr/>
          </p:nvSpPr>
          <p:spPr bwMode="auto">
            <a:xfrm>
              <a:off x="8989286" y="2387082"/>
              <a:ext cx="53817" cy="118137"/>
            </a:xfrm>
            <a:custGeom>
              <a:avLst/>
              <a:gdLst>
                <a:gd name="T0" fmla="*/ 0 w 147"/>
                <a:gd name="T1" fmla="*/ 58 h 321"/>
                <a:gd name="T2" fmla="*/ 0 w 147"/>
                <a:gd name="T3" fmla="*/ 58 h 321"/>
                <a:gd name="T4" fmla="*/ 0 w 147"/>
                <a:gd name="T5" fmla="*/ 0 h 321"/>
                <a:gd name="T6" fmla="*/ 0 w 147"/>
                <a:gd name="T7" fmla="*/ 58 h 321"/>
                <a:gd name="T8" fmla="*/ 88 w 147"/>
                <a:gd name="T9" fmla="*/ 233 h 321"/>
                <a:gd name="T10" fmla="*/ 146 w 147"/>
                <a:gd name="T11" fmla="*/ 320 h 321"/>
                <a:gd name="T12" fmla="*/ 88 w 147"/>
                <a:gd name="T13" fmla="*/ 233 h 321"/>
                <a:gd name="T14" fmla="*/ 0 w 147"/>
                <a:gd name="T15" fmla="*/ 58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321">
                  <a:moveTo>
                    <a:pt x="0" y="58"/>
                  </a:moveTo>
                  <a:lnTo>
                    <a:pt x="0" y="58"/>
                  </a:lnTo>
                  <a:cubicBezTo>
                    <a:pt x="0" y="29"/>
                    <a:pt x="0" y="29"/>
                    <a:pt x="0" y="0"/>
                  </a:cubicBezTo>
                  <a:cubicBezTo>
                    <a:pt x="0" y="29"/>
                    <a:pt x="0" y="29"/>
                    <a:pt x="0" y="58"/>
                  </a:cubicBezTo>
                  <a:cubicBezTo>
                    <a:pt x="0" y="116"/>
                    <a:pt x="59" y="174"/>
                    <a:pt x="88" y="233"/>
                  </a:cubicBezTo>
                  <a:cubicBezTo>
                    <a:pt x="117" y="262"/>
                    <a:pt x="146" y="291"/>
                    <a:pt x="146" y="320"/>
                  </a:cubicBezTo>
                  <a:cubicBezTo>
                    <a:pt x="146" y="291"/>
                    <a:pt x="117" y="262"/>
                    <a:pt x="88" y="233"/>
                  </a:cubicBezTo>
                  <a:cubicBezTo>
                    <a:pt x="59" y="174"/>
                    <a:pt x="0" y="116"/>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2" name="Freeform 29">
              <a:extLst>
                <a:ext uri="{FF2B5EF4-FFF2-40B4-BE49-F238E27FC236}">
                  <a16:creationId xmlns:a16="http://schemas.microsoft.com/office/drawing/2014/main" id="{499E3A65-822C-4E5C-81D8-A9A262D921F2}"/>
                </a:ext>
              </a:extLst>
            </p:cNvPr>
            <p:cNvSpPr>
              <a:spLocks noChangeArrowheads="1"/>
            </p:cNvSpPr>
            <p:nvPr/>
          </p:nvSpPr>
          <p:spPr bwMode="auto">
            <a:xfrm>
              <a:off x="9043103" y="2141097"/>
              <a:ext cx="22832" cy="43694"/>
            </a:xfrm>
            <a:custGeom>
              <a:avLst/>
              <a:gdLst>
                <a:gd name="T0" fmla="*/ 59 w 60"/>
                <a:gd name="T1" fmla="*/ 0 h 117"/>
                <a:gd name="T2" fmla="*/ 59 w 60"/>
                <a:gd name="T3" fmla="*/ 0 h 117"/>
                <a:gd name="T4" fmla="*/ 30 w 60"/>
                <a:gd name="T5" fmla="*/ 58 h 117"/>
                <a:gd name="T6" fmla="*/ 0 w 60"/>
                <a:gd name="T7" fmla="*/ 116 h 117"/>
                <a:gd name="T8" fmla="*/ 30 w 60"/>
                <a:gd name="T9" fmla="*/ 58 h 117"/>
                <a:gd name="T10" fmla="*/ 59 w 60"/>
                <a:gd name="T11" fmla="*/ 0 h 117"/>
              </a:gdLst>
              <a:ahLst/>
              <a:cxnLst>
                <a:cxn ang="0">
                  <a:pos x="T0" y="T1"/>
                </a:cxn>
                <a:cxn ang="0">
                  <a:pos x="T2" y="T3"/>
                </a:cxn>
                <a:cxn ang="0">
                  <a:pos x="T4" y="T5"/>
                </a:cxn>
                <a:cxn ang="0">
                  <a:pos x="T6" y="T7"/>
                </a:cxn>
                <a:cxn ang="0">
                  <a:pos x="T8" y="T9"/>
                </a:cxn>
                <a:cxn ang="0">
                  <a:pos x="T10" y="T11"/>
                </a:cxn>
              </a:cxnLst>
              <a:rect l="0" t="0" r="r" b="b"/>
              <a:pathLst>
                <a:path w="60" h="117">
                  <a:moveTo>
                    <a:pt x="59" y="0"/>
                  </a:moveTo>
                  <a:lnTo>
                    <a:pt x="59" y="0"/>
                  </a:lnTo>
                  <a:cubicBezTo>
                    <a:pt x="59" y="29"/>
                    <a:pt x="30" y="29"/>
                    <a:pt x="30" y="58"/>
                  </a:cubicBezTo>
                  <a:cubicBezTo>
                    <a:pt x="30" y="58"/>
                    <a:pt x="0" y="87"/>
                    <a:pt x="0" y="116"/>
                  </a:cubicBezTo>
                  <a:cubicBezTo>
                    <a:pt x="0" y="87"/>
                    <a:pt x="30" y="58"/>
                    <a:pt x="30" y="58"/>
                  </a:cubicBezTo>
                  <a:cubicBezTo>
                    <a:pt x="30" y="29"/>
                    <a:pt x="59" y="29"/>
                    <a:pt x="5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3" name="Freeform 30">
              <a:extLst>
                <a:ext uri="{FF2B5EF4-FFF2-40B4-BE49-F238E27FC236}">
                  <a16:creationId xmlns:a16="http://schemas.microsoft.com/office/drawing/2014/main" id="{C34DD5D8-D6F2-495C-8B78-92FF9A279186}"/>
                </a:ext>
              </a:extLst>
            </p:cNvPr>
            <p:cNvSpPr>
              <a:spLocks noChangeArrowheads="1"/>
            </p:cNvSpPr>
            <p:nvPr/>
          </p:nvSpPr>
          <p:spPr bwMode="auto">
            <a:xfrm>
              <a:off x="9592699" y="2493891"/>
              <a:ext cx="1630" cy="11328"/>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4" name="Freeform 31">
              <a:extLst>
                <a:ext uri="{FF2B5EF4-FFF2-40B4-BE49-F238E27FC236}">
                  <a16:creationId xmlns:a16="http://schemas.microsoft.com/office/drawing/2014/main" id="{DB541D9F-AE4A-404B-BBDA-6F568357B36F}"/>
                </a:ext>
              </a:extLst>
            </p:cNvPr>
            <p:cNvSpPr>
              <a:spLocks noChangeArrowheads="1"/>
            </p:cNvSpPr>
            <p:nvPr/>
          </p:nvSpPr>
          <p:spPr bwMode="auto">
            <a:xfrm>
              <a:off x="9010486" y="2183174"/>
              <a:ext cx="21202" cy="11328"/>
            </a:xfrm>
            <a:custGeom>
              <a:avLst/>
              <a:gdLst>
                <a:gd name="T0" fmla="*/ 29 w 59"/>
                <a:gd name="T1" fmla="*/ 29 h 30"/>
                <a:gd name="T2" fmla="*/ 29 w 59"/>
                <a:gd name="T3" fmla="*/ 29 h 30"/>
                <a:gd name="T4" fmla="*/ 58 w 59"/>
                <a:gd name="T5" fmla="*/ 0 h 30"/>
                <a:gd name="T6" fmla="*/ 29 w 59"/>
                <a:gd name="T7" fmla="*/ 29 h 30"/>
                <a:gd name="T8" fmla="*/ 0 w 59"/>
                <a:gd name="T9" fmla="*/ 29 h 30"/>
                <a:gd name="T10" fmla="*/ 29 w 59"/>
                <a:gd name="T11" fmla="*/ 29 h 30"/>
              </a:gdLst>
              <a:ahLst/>
              <a:cxnLst>
                <a:cxn ang="0">
                  <a:pos x="T0" y="T1"/>
                </a:cxn>
                <a:cxn ang="0">
                  <a:pos x="T2" y="T3"/>
                </a:cxn>
                <a:cxn ang="0">
                  <a:pos x="T4" y="T5"/>
                </a:cxn>
                <a:cxn ang="0">
                  <a:pos x="T6" y="T7"/>
                </a:cxn>
                <a:cxn ang="0">
                  <a:pos x="T8" y="T9"/>
                </a:cxn>
                <a:cxn ang="0">
                  <a:pos x="T10" y="T11"/>
                </a:cxn>
              </a:cxnLst>
              <a:rect l="0" t="0" r="r" b="b"/>
              <a:pathLst>
                <a:path w="59" h="30">
                  <a:moveTo>
                    <a:pt x="29" y="29"/>
                  </a:moveTo>
                  <a:lnTo>
                    <a:pt x="29" y="29"/>
                  </a:lnTo>
                  <a:lnTo>
                    <a:pt x="58" y="0"/>
                  </a:lnTo>
                  <a:lnTo>
                    <a:pt x="29" y="29"/>
                  </a:lnTo>
                  <a:lnTo>
                    <a:pt x="0" y="29"/>
                  </a:lnTo>
                  <a:lnTo>
                    <a:pt x="2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5" name="Freeform 32">
              <a:extLst>
                <a:ext uri="{FF2B5EF4-FFF2-40B4-BE49-F238E27FC236}">
                  <a16:creationId xmlns:a16="http://schemas.microsoft.com/office/drawing/2014/main" id="{6D40938D-331C-4D33-B0A2-59A8F2E756E8}"/>
                </a:ext>
              </a:extLst>
            </p:cNvPr>
            <p:cNvSpPr>
              <a:spLocks noChangeArrowheads="1"/>
            </p:cNvSpPr>
            <p:nvPr/>
          </p:nvSpPr>
          <p:spPr bwMode="auto">
            <a:xfrm>
              <a:off x="8977869" y="2333677"/>
              <a:ext cx="11416" cy="22656"/>
            </a:xfrm>
            <a:custGeom>
              <a:avLst/>
              <a:gdLst>
                <a:gd name="T0" fmla="*/ 0 w 30"/>
                <a:gd name="T1" fmla="*/ 59 h 60"/>
                <a:gd name="T2" fmla="*/ 0 w 30"/>
                <a:gd name="T3" fmla="*/ 59 h 60"/>
                <a:gd name="T4" fmla="*/ 29 w 30"/>
                <a:gd name="T5" fmla="*/ 0 h 60"/>
                <a:gd name="T6" fmla="*/ 0 w 30"/>
                <a:gd name="T7" fmla="*/ 59 h 60"/>
              </a:gdLst>
              <a:ahLst/>
              <a:cxnLst>
                <a:cxn ang="0">
                  <a:pos x="T0" y="T1"/>
                </a:cxn>
                <a:cxn ang="0">
                  <a:pos x="T2" y="T3"/>
                </a:cxn>
                <a:cxn ang="0">
                  <a:pos x="T4" y="T5"/>
                </a:cxn>
                <a:cxn ang="0">
                  <a:pos x="T6" y="T7"/>
                </a:cxn>
              </a:cxnLst>
              <a:rect l="0" t="0" r="r" b="b"/>
              <a:pathLst>
                <a:path w="30" h="60">
                  <a:moveTo>
                    <a:pt x="0" y="59"/>
                  </a:moveTo>
                  <a:lnTo>
                    <a:pt x="0" y="59"/>
                  </a:lnTo>
                  <a:cubicBezTo>
                    <a:pt x="0" y="30"/>
                    <a:pt x="0" y="0"/>
                    <a:pt x="29" y="0"/>
                  </a:cubicBezTo>
                  <a:cubicBezTo>
                    <a:pt x="0" y="0"/>
                    <a:pt x="0" y="30"/>
                    <a:pt x="0"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6" name="Freeform 33">
              <a:extLst>
                <a:ext uri="{FF2B5EF4-FFF2-40B4-BE49-F238E27FC236}">
                  <a16:creationId xmlns:a16="http://schemas.microsoft.com/office/drawing/2014/main" id="{C99149F1-2EA7-463E-8721-1EAD0C44B0BB}"/>
                </a:ext>
              </a:extLst>
            </p:cNvPr>
            <p:cNvSpPr>
              <a:spLocks noChangeArrowheads="1"/>
            </p:cNvSpPr>
            <p:nvPr/>
          </p:nvSpPr>
          <p:spPr bwMode="auto">
            <a:xfrm>
              <a:off x="8989286" y="2375753"/>
              <a:ext cx="1630" cy="11329"/>
            </a:xfrm>
            <a:custGeom>
              <a:avLst/>
              <a:gdLst>
                <a:gd name="T0" fmla="*/ 0 w 1"/>
                <a:gd name="T1" fmla="*/ 0 h 31"/>
                <a:gd name="T2" fmla="*/ 0 w 1"/>
                <a:gd name="T3" fmla="*/ 0 h 31"/>
                <a:gd name="T4" fmla="*/ 0 w 1"/>
                <a:gd name="T5" fmla="*/ 30 h 31"/>
                <a:gd name="T6" fmla="*/ 0 w 1"/>
                <a:gd name="T7" fmla="*/ 0 h 31"/>
              </a:gdLst>
              <a:ahLst/>
              <a:cxnLst>
                <a:cxn ang="0">
                  <a:pos x="T0" y="T1"/>
                </a:cxn>
                <a:cxn ang="0">
                  <a:pos x="T2" y="T3"/>
                </a:cxn>
                <a:cxn ang="0">
                  <a:pos x="T4" y="T5"/>
                </a:cxn>
                <a:cxn ang="0">
                  <a:pos x="T6" y="T7"/>
                </a:cxn>
              </a:cxnLst>
              <a:rect l="0" t="0" r="r" b="b"/>
              <a:pathLst>
                <a:path w="1" h="31">
                  <a:moveTo>
                    <a:pt x="0" y="0"/>
                  </a:moveTo>
                  <a:lnTo>
                    <a:pt x="0" y="0"/>
                  </a:lnTo>
                  <a:lnTo>
                    <a:pt x="0" y="3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7" name="Freeform 34">
              <a:extLst>
                <a:ext uri="{FF2B5EF4-FFF2-40B4-BE49-F238E27FC236}">
                  <a16:creationId xmlns:a16="http://schemas.microsoft.com/office/drawing/2014/main" id="{0DE96B63-B4D4-4DB7-9797-580D20984B67}"/>
                </a:ext>
              </a:extLst>
            </p:cNvPr>
            <p:cNvSpPr>
              <a:spLocks noChangeArrowheads="1"/>
            </p:cNvSpPr>
            <p:nvPr/>
          </p:nvSpPr>
          <p:spPr bwMode="auto">
            <a:xfrm>
              <a:off x="8989286" y="2366043"/>
              <a:ext cx="1630" cy="11329"/>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cubicBezTo>
                    <a:pt x="0" y="29"/>
                    <a:pt x="0" y="29"/>
                    <a:pt x="0" y="29"/>
                  </a:cubicBez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8" name="Freeform 35">
              <a:extLst>
                <a:ext uri="{FF2B5EF4-FFF2-40B4-BE49-F238E27FC236}">
                  <a16:creationId xmlns:a16="http://schemas.microsoft.com/office/drawing/2014/main" id="{7EDB629D-3035-4411-9B85-81F5CD43A1FA}"/>
                </a:ext>
              </a:extLst>
            </p:cNvPr>
            <p:cNvSpPr>
              <a:spLocks noChangeArrowheads="1"/>
            </p:cNvSpPr>
            <p:nvPr/>
          </p:nvSpPr>
          <p:spPr bwMode="auto">
            <a:xfrm>
              <a:off x="9129539" y="2099021"/>
              <a:ext cx="1630"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9" name="Freeform 36">
              <a:extLst>
                <a:ext uri="{FF2B5EF4-FFF2-40B4-BE49-F238E27FC236}">
                  <a16:creationId xmlns:a16="http://schemas.microsoft.com/office/drawing/2014/main" id="{BDB88201-2CE8-433E-9372-CCD22EF6D36A}"/>
                </a:ext>
              </a:extLst>
            </p:cNvPr>
            <p:cNvSpPr>
              <a:spLocks noChangeArrowheads="1"/>
            </p:cNvSpPr>
            <p:nvPr/>
          </p:nvSpPr>
          <p:spPr bwMode="auto">
            <a:xfrm>
              <a:off x="8977869" y="2354716"/>
              <a:ext cx="11416" cy="11328"/>
            </a:xfrm>
            <a:custGeom>
              <a:avLst/>
              <a:gdLst>
                <a:gd name="T0" fmla="*/ 0 w 30"/>
                <a:gd name="T1" fmla="*/ 0 h 30"/>
                <a:gd name="T2" fmla="*/ 0 w 30"/>
                <a:gd name="T3" fmla="*/ 0 h 30"/>
                <a:gd name="T4" fmla="*/ 29 w 30"/>
                <a:gd name="T5" fmla="*/ 29 h 30"/>
                <a:gd name="T6" fmla="*/ 0 w 30"/>
                <a:gd name="T7" fmla="*/ 0 h 30"/>
              </a:gdLst>
              <a:ahLst/>
              <a:cxnLst>
                <a:cxn ang="0">
                  <a:pos x="T0" y="T1"/>
                </a:cxn>
                <a:cxn ang="0">
                  <a:pos x="T2" y="T3"/>
                </a:cxn>
                <a:cxn ang="0">
                  <a:pos x="T4" y="T5"/>
                </a:cxn>
                <a:cxn ang="0">
                  <a:pos x="T6" y="T7"/>
                </a:cxn>
              </a:cxnLst>
              <a:rect l="0" t="0" r="r" b="b"/>
              <a:pathLst>
                <a:path w="30" h="30">
                  <a:moveTo>
                    <a:pt x="0" y="0"/>
                  </a:moveTo>
                  <a:lnTo>
                    <a:pt x="0" y="0"/>
                  </a:lnTo>
                  <a:cubicBezTo>
                    <a:pt x="0" y="0"/>
                    <a:pt x="0" y="29"/>
                    <a:pt x="29" y="29"/>
                  </a:cubicBezTo>
                  <a:cubicBezTo>
                    <a:pt x="0" y="29"/>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 name="Freeform 37">
              <a:extLst>
                <a:ext uri="{FF2B5EF4-FFF2-40B4-BE49-F238E27FC236}">
                  <a16:creationId xmlns:a16="http://schemas.microsoft.com/office/drawing/2014/main" id="{8F74D361-5BDA-42DE-9B7F-03606C4DC16E}"/>
                </a:ext>
              </a:extLst>
            </p:cNvPr>
            <p:cNvSpPr>
              <a:spLocks noChangeArrowheads="1"/>
            </p:cNvSpPr>
            <p:nvPr/>
          </p:nvSpPr>
          <p:spPr bwMode="auto">
            <a:xfrm>
              <a:off x="9129539" y="2131387"/>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 name="Freeform 38">
              <a:extLst>
                <a:ext uri="{FF2B5EF4-FFF2-40B4-BE49-F238E27FC236}">
                  <a16:creationId xmlns:a16="http://schemas.microsoft.com/office/drawing/2014/main" id="{F8322EDB-C3A6-4E7E-A541-A3F75622033F}"/>
                </a:ext>
              </a:extLst>
            </p:cNvPr>
            <p:cNvSpPr>
              <a:spLocks noChangeArrowheads="1"/>
            </p:cNvSpPr>
            <p:nvPr/>
          </p:nvSpPr>
          <p:spPr bwMode="auto">
            <a:xfrm>
              <a:off x="9129539" y="2141097"/>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2" name="Freeform 39">
              <a:extLst>
                <a:ext uri="{FF2B5EF4-FFF2-40B4-BE49-F238E27FC236}">
                  <a16:creationId xmlns:a16="http://schemas.microsoft.com/office/drawing/2014/main" id="{5090CF19-588B-4DE8-B305-7A1F77A3F853}"/>
                </a:ext>
              </a:extLst>
            </p:cNvPr>
            <p:cNvSpPr>
              <a:spLocks noChangeArrowheads="1"/>
            </p:cNvSpPr>
            <p:nvPr/>
          </p:nvSpPr>
          <p:spPr bwMode="auto">
            <a:xfrm>
              <a:off x="9118122" y="2152425"/>
              <a:ext cx="11416" cy="21039"/>
            </a:xfrm>
            <a:custGeom>
              <a:avLst/>
              <a:gdLst>
                <a:gd name="T0" fmla="*/ 29 w 30"/>
                <a:gd name="T1" fmla="*/ 0 h 59"/>
                <a:gd name="T2" fmla="*/ 29 w 30"/>
                <a:gd name="T3" fmla="*/ 0 h 59"/>
                <a:gd name="T4" fmla="*/ 0 w 30"/>
                <a:gd name="T5" fmla="*/ 58 h 59"/>
                <a:gd name="T6" fmla="*/ 0 w 30"/>
                <a:gd name="T7" fmla="*/ 58 h 59"/>
                <a:gd name="T8" fmla="*/ 29 w 30"/>
                <a:gd name="T9" fmla="*/ 0 h 59"/>
              </a:gdLst>
              <a:ahLst/>
              <a:cxnLst>
                <a:cxn ang="0">
                  <a:pos x="T0" y="T1"/>
                </a:cxn>
                <a:cxn ang="0">
                  <a:pos x="T2" y="T3"/>
                </a:cxn>
                <a:cxn ang="0">
                  <a:pos x="T4" y="T5"/>
                </a:cxn>
                <a:cxn ang="0">
                  <a:pos x="T6" y="T7"/>
                </a:cxn>
                <a:cxn ang="0">
                  <a:pos x="T8" y="T9"/>
                </a:cxn>
              </a:cxnLst>
              <a:rect l="0" t="0" r="r" b="b"/>
              <a:pathLst>
                <a:path w="30" h="59">
                  <a:moveTo>
                    <a:pt x="29" y="0"/>
                  </a:moveTo>
                  <a:lnTo>
                    <a:pt x="29" y="0"/>
                  </a:lnTo>
                  <a:cubicBezTo>
                    <a:pt x="29" y="29"/>
                    <a:pt x="0" y="29"/>
                    <a:pt x="0" y="58"/>
                  </a:cubicBezTo>
                  <a:lnTo>
                    <a:pt x="0" y="58"/>
                  </a:lnTo>
                  <a:cubicBezTo>
                    <a:pt x="0" y="29"/>
                    <a:pt x="29" y="29"/>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 name="Freeform 40">
              <a:extLst>
                <a:ext uri="{FF2B5EF4-FFF2-40B4-BE49-F238E27FC236}">
                  <a16:creationId xmlns:a16="http://schemas.microsoft.com/office/drawing/2014/main" id="{8895635D-8ABD-4CC1-AF0B-E134C3BAD44D}"/>
                </a:ext>
              </a:extLst>
            </p:cNvPr>
            <p:cNvSpPr>
              <a:spLocks noChangeArrowheads="1"/>
            </p:cNvSpPr>
            <p:nvPr/>
          </p:nvSpPr>
          <p:spPr bwMode="auto">
            <a:xfrm>
              <a:off x="9108337" y="2108731"/>
              <a:ext cx="1631" cy="11328"/>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cubicBezTo>
                    <a:pt x="0" y="29"/>
                    <a:pt x="0" y="29"/>
                    <a:pt x="0" y="29"/>
                  </a:cubicBez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4" name="Freeform 41">
              <a:extLst>
                <a:ext uri="{FF2B5EF4-FFF2-40B4-BE49-F238E27FC236}">
                  <a16:creationId xmlns:a16="http://schemas.microsoft.com/office/drawing/2014/main" id="{CE9A0203-DDFC-410B-947D-9AEBD6E8C026}"/>
                </a:ext>
              </a:extLst>
            </p:cNvPr>
            <p:cNvSpPr>
              <a:spLocks noChangeArrowheads="1"/>
            </p:cNvSpPr>
            <p:nvPr/>
          </p:nvSpPr>
          <p:spPr bwMode="auto">
            <a:xfrm>
              <a:off x="9096922" y="2099021"/>
              <a:ext cx="11415" cy="11328"/>
            </a:xfrm>
            <a:custGeom>
              <a:avLst/>
              <a:gdLst>
                <a:gd name="T0" fmla="*/ 0 w 30"/>
                <a:gd name="T1" fmla="*/ 29 h 30"/>
                <a:gd name="T2" fmla="*/ 0 w 30"/>
                <a:gd name="T3" fmla="*/ 29 h 30"/>
                <a:gd name="T4" fmla="*/ 0 w 30"/>
                <a:gd name="T5" fmla="*/ 0 h 30"/>
                <a:gd name="T6" fmla="*/ 29 w 30"/>
                <a:gd name="T7" fmla="*/ 0 h 30"/>
                <a:gd name="T8" fmla="*/ 29 w 30"/>
                <a:gd name="T9" fmla="*/ 29 h 30"/>
                <a:gd name="T10" fmla="*/ 29 w 30"/>
                <a:gd name="T11" fmla="*/ 0 h 30"/>
                <a:gd name="T12" fmla="*/ 0 w 30"/>
                <a:gd name="T13" fmla="*/ 0 h 30"/>
                <a:gd name="T14" fmla="*/ 0 w 30"/>
                <a:gd name="T15" fmla="*/ 29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0">
                  <a:moveTo>
                    <a:pt x="0" y="29"/>
                  </a:moveTo>
                  <a:lnTo>
                    <a:pt x="0" y="29"/>
                  </a:lnTo>
                  <a:cubicBezTo>
                    <a:pt x="0" y="29"/>
                    <a:pt x="0" y="29"/>
                    <a:pt x="0" y="0"/>
                  </a:cubicBezTo>
                  <a:cubicBezTo>
                    <a:pt x="29" y="0"/>
                    <a:pt x="29" y="0"/>
                    <a:pt x="29" y="0"/>
                  </a:cubicBezTo>
                  <a:cubicBezTo>
                    <a:pt x="29" y="29"/>
                    <a:pt x="29" y="29"/>
                    <a:pt x="29" y="29"/>
                  </a:cubicBezTo>
                  <a:cubicBezTo>
                    <a:pt x="29" y="0"/>
                    <a:pt x="29" y="0"/>
                    <a:pt x="29" y="0"/>
                  </a:cubicBezTo>
                  <a:cubicBezTo>
                    <a:pt x="0" y="0"/>
                    <a:pt x="0" y="0"/>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5" name="Freeform 42">
              <a:extLst>
                <a:ext uri="{FF2B5EF4-FFF2-40B4-BE49-F238E27FC236}">
                  <a16:creationId xmlns:a16="http://schemas.microsoft.com/office/drawing/2014/main" id="{503C5EF1-6C0A-4BB2-9310-DBAF4312614E}"/>
                </a:ext>
              </a:extLst>
            </p:cNvPr>
            <p:cNvSpPr>
              <a:spLocks noChangeArrowheads="1"/>
            </p:cNvSpPr>
            <p:nvPr/>
          </p:nvSpPr>
          <p:spPr bwMode="auto">
            <a:xfrm>
              <a:off x="8827832" y="2600700"/>
              <a:ext cx="11416" cy="21038"/>
            </a:xfrm>
            <a:custGeom>
              <a:avLst/>
              <a:gdLst>
                <a:gd name="T0" fmla="*/ 30 w 31"/>
                <a:gd name="T1" fmla="*/ 0 h 59"/>
                <a:gd name="T2" fmla="*/ 30 w 31"/>
                <a:gd name="T3" fmla="*/ 0 h 59"/>
                <a:gd name="T4" fmla="*/ 0 w 31"/>
                <a:gd name="T5" fmla="*/ 58 h 59"/>
                <a:gd name="T6" fmla="*/ 30 w 31"/>
                <a:gd name="T7" fmla="*/ 0 h 59"/>
              </a:gdLst>
              <a:ahLst/>
              <a:cxnLst>
                <a:cxn ang="0">
                  <a:pos x="T0" y="T1"/>
                </a:cxn>
                <a:cxn ang="0">
                  <a:pos x="T2" y="T3"/>
                </a:cxn>
                <a:cxn ang="0">
                  <a:pos x="T4" y="T5"/>
                </a:cxn>
                <a:cxn ang="0">
                  <a:pos x="T6" y="T7"/>
                </a:cxn>
              </a:cxnLst>
              <a:rect l="0" t="0" r="r" b="b"/>
              <a:pathLst>
                <a:path w="31" h="59">
                  <a:moveTo>
                    <a:pt x="30" y="0"/>
                  </a:moveTo>
                  <a:lnTo>
                    <a:pt x="30" y="0"/>
                  </a:lnTo>
                  <a:cubicBezTo>
                    <a:pt x="30" y="29"/>
                    <a:pt x="0" y="29"/>
                    <a:pt x="0" y="58"/>
                  </a:cubicBezTo>
                  <a:cubicBezTo>
                    <a:pt x="0" y="29"/>
                    <a:pt x="30" y="29"/>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6" name="Freeform 43">
              <a:extLst>
                <a:ext uri="{FF2B5EF4-FFF2-40B4-BE49-F238E27FC236}">
                  <a16:creationId xmlns:a16="http://schemas.microsoft.com/office/drawing/2014/main" id="{99C2C58A-9ED9-43AE-84ED-5921F04584FC}"/>
                </a:ext>
              </a:extLst>
            </p:cNvPr>
            <p:cNvSpPr>
              <a:spLocks noChangeArrowheads="1"/>
            </p:cNvSpPr>
            <p:nvPr/>
          </p:nvSpPr>
          <p:spPr bwMode="auto">
            <a:xfrm>
              <a:off x="8870234" y="2730166"/>
              <a:ext cx="11416" cy="11328"/>
            </a:xfrm>
            <a:custGeom>
              <a:avLst/>
              <a:gdLst>
                <a:gd name="T0" fmla="*/ 30 w 31"/>
                <a:gd name="T1" fmla="*/ 29 h 30"/>
                <a:gd name="T2" fmla="*/ 30 w 31"/>
                <a:gd name="T3" fmla="*/ 29 h 30"/>
                <a:gd name="T4" fmla="*/ 0 w 31"/>
                <a:gd name="T5" fmla="*/ 0 h 30"/>
                <a:gd name="T6" fmla="*/ 0 w 31"/>
                <a:gd name="T7" fmla="*/ 0 h 30"/>
                <a:gd name="T8" fmla="*/ 0 w 31"/>
                <a:gd name="T9" fmla="*/ 0 h 30"/>
                <a:gd name="T10" fmla="*/ 30 w 31"/>
                <a:gd name="T11" fmla="*/ 29 h 30"/>
              </a:gdLst>
              <a:ahLst/>
              <a:cxnLst>
                <a:cxn ang="0">
                  <a:pos x="T0" y="T1"/>
                </a:cxn>
                <a:cxn ang="0">
                  <a:pos x="T2" y="T3"/>
                </a:cxn>
                <a:cxn ang="0">
                  <a:pos x="T4" y="T5"/>
                </a:cxn>
                <a:cxn ang="0">
                  <a:pos x="T6" y="T7"/>
                </a:cxn>
                <a:cxn ang="0">
                  <a:pos x="T8" y="T9"/>
                </a:cxn>
                <a:cxn ang="0">
                  <a:pos x="T10" y="T11"/>
                </a:cxn>
              </a:cxnLst>
              <a:rect l="0" t="0" r="r" b="b"/>
              <a:pathLst>
                <a:path w="31" h="30">
                  <a:moveTo>
                    <a:pt x="30" y="29"/>
                  </a:moveTo>
                  <a:lnTo>
                    <a:pt x="30" y="29"/>
                  </a:lnTo>
                  <a:cubicBezTo>
                    <a:pt x="0" y="29"/>
                    <a:pt x="0" y="29"/>
                    <a:pt x="0" y="0"/>
                  </a:cubicBezTo>
                  <a:lnTo>
                    <a:pt x="0" y="0"/>
                  </a:lnTo>
                  <a:lnTo>
                    <a:pt x="0" y="0"/>
                  </a:lnTo>
                  <a:cubicBezTo>
                    <a:pt x="0" y="29"/>
                    <a:pt x="0" y="29"/>
                    <a:pt x="3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7" name="Freeform 44">
              <a:extLst>
                <a:ext uri="{FF2B5EF4-FFF2-40B4-BE49-F238E27FC236}">
                  <a16:creationId xmlns:a16="http://schemas.microsoft.com/office/drawing/2014/main" id="{9A13C575-C0C9-4DF3-A4C3-88F9A3036ED7}"/>
                </a:ext>
              </a:extLst>
            </p:cNvPr>
            <p:cNvSpPr>
              <a:spLocks noChangeArrowheads="1"/>
            </p:cNvSpPr>
            <p:nvPr/>
          </p:nvSpPr>
          <p:spPr bwMode="auto">
            <a:xfrm>
              <a:off x="8902851" y="2087692"/>
              <a:ext cx="11416" cy="53405"/>
            </a:xfrm>
            <a:custGeom>
              <a:avLst/>
              <a:gdLst>
                <a:gd name="T0" fmla="*/ 29 w 30"/>
                <a:gd name="T1" fmla="*/ 0 h 147"/>
                <a:gd name="T2" fmla="*/ 29 w 30"/>
                <a:gd name="T3" fmla="*/ 0 h 147"/>
                <a:gd name="T4" fmla="*/ 29 w 30"/>
                <a:gd name="T5" fmla="*/ 0 h 147"/>
                <a:gd name="T6" fmla="*/ 29 w 30"/>
                <a:gd name="T7" fmla="*/ 29 h 147"/>
                <a:gd name="T8" fmla="*/ 0 w 30"/>
                <a:gd name="T9" fmla="*/ 146 h 147"/>
                <a:gd name="T10" fmla="*/ 29 w 30"/>
                <a:gd name="T11" fmla="*/ 29 h 147"/>
                <a:gd name="T12" fmla="*/ 29 w 30"/>
                <a:gd name="T13" fmla="*/ 0 h 147"/>
              </a:gdLst>
              <a:ahLst/>
              <a:cxnLst>
                <a:cxn ang="0">
                  <a:pos x="T0" y="T1"/>
                </a:cxn>
                <a:cxn ang="0">
                  <a:pos x="T2" y="T3"/>
                </a:cxn>
                <a:cxn ang="0">
                  <a:pos x="T4" y="T5"/>
                </a:cxn>
                <a:cxn ang="0">
                  <a:pos x="T6" y="T7"/>
                </a:cxn>
                <a:cxn ang="0">
                  <a:pos x="T8" y="T9"/>
                </a:cxn>
                <a:cxn ang="0">
                  <a:pos x="T10" y="T11"/>
                </a:cxn>
                <a:cxn ang="0">
                  <a:pos x="T12" y="T13"/>
                </a:cxn>
              </a:cxnLst>
              <a:rect l="0" t="0" r="r" b="b"/>
              <a:pathLst>
                <a:path w="30" h="147">
                  <a:moveTo>
                    <a:pt x="29" y="0"/>
                  </a:moveTo>
                  <a:lnTo>
                    <a:pt x="29" y="0"/>
                  </a:lnTo>
                  <a:lnTo>
                    <a:pt x="29" y="0"/>
                  </a:lnTo>
                  <a:cubicBezTo>
                    <a:pt x="29" y="29"/>
                    <a:pt x="29" y="29"/>
                    <a:pt x="29" y="29"/>
                  </a:cubicBezTo>
                  <a:cubicBezTo>
                    <a:pt x="29" y="87"/>
                    <a:pt x="0" y="117"/>
                    <a:pt x="0" y="146"/>
                  </a:cubicBezTo>
                  <a:cubicBezTo>
                    <a:pt x="0" y="117"/>
                    <a:pt x="29" y="87"/>
                    <a:pt x="29" y="29"/>
                  </a:cubicBez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8" name="Freeform 45">
              <a:extLst>
                <a:ext uri="{FF2B5EF4-FFF2-40B4-BE49-F238E27FC236}">
                  <a16:creationId xmlns:a16="http://schemas.microsoft.com/office/drawing/2014/main" id="{26BFFC2E-0030-409B-B561-522FC9E73C26}"/>
                </a:ext>
              </a:extLst>
            </p:cNvPr>
            <p:cNvSpPr>
              <a:spLocks noChangeArrowheads="1"/>
            </p:cNvSpPr>
            <p:nvPr/>
          </p:nvSpPr>
          <p:spPr bwMode="auto">
            <a:xfrm>
              <a:off x="8870234" y="2194501"/>
              <a:ext cx="11416" cy="11329"/>
            </a:xfrm>
            <a:custGeom>
              <a:avLst/>
              <a:gdLst>
                <a:gd name="T0" fmla="*/ 0 w 31"/>
                <a:gd name="T1" fmla="*/ 29 h 30"/>
                <a:gd name="T2" fmla="*/ 0 w 31"/>
                <a:gd name="T3" fmla="*/ 29 h 30"/>
                <a:gd name="T4" fmla="*/ 30 w 31"/>
                <a:gd name="T5" fmla="*/ 29 h 30"/>
                <a:gd name="T6" fmla="*/ 30 w 31"/>
                <a:gd name="T7" fmla="*/ 0 h 30"/>
                <a:gd name="T8" fmla="*/ 30 w 31"/>
                <a:gd name="T9" fmla="*/ 29 h 30"/>
                <a:gd name="T10" fmla="*/ 0 w 31"/>
                <a:gd name="T11" fmla="*/ 29 h 30"/>
              </a:gdLst>
              <a:ahLst/>
              <a:cxnLst>
                <a:cxn ang="0">
                  <a:pos x="T0" y="T1"/>
                </a:cxn>
                <a:cxn ang="0">
                  <a:pos x="T2" y="T3"/>
                </a:cxn>
                <a:cxn ang="0">
                  <a:pos x="T4" y="T5"/>
                </a:cxn>
                <a:cxn ang="0">
                  <a:pos x="T6" y="T7"/>
                </a:cxn>
                <a:cxn ang="0">
                  <a:pos x="T8" y="T9"/>
                </a:cxn>
                <a:cxn ang="0">
                  <a:pos x="T10" y="T11"/>
                </a:cxn>
              </a:cxnLst>
              <a:rect l="0" t="0" r="r" b="b"/>
              <a:pathLst>
                <a:path w="31" h="30">
                  <a:moveTo>
                    <a:pt x="0" y="29"/>
                  </a:moveTo>
                  <a:lnTo>
                    <a:pt x="0" y="29"/>
                  </a:lnTo>
                  <a:cubicBezTo>
                    <a:pt x="0" y="29"/>
                    <a:pt x="0" y="29"/>
                    <a:pt x="30" y="29"/>
                  </a:cubicBezTo>
                  <a:cubicBezTo>
                    <a:pt x="30" y="0"/>
                    <a:pt x="30" y="0"/>
                    <a:pt x="30" y="0"/>
                  </a:cubicBezTo>
                  <a:cubicBezTo>
                    <a:pt x="30" y="0"/>
                    <a:pt x="30" y="0"/>
                    <a:pt x="30" y="29"/>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9" name="Freeform 46">
              <a:extLst>
                <a:ext uri="{FF2B5EF4-FFF2-40B4-BE49-F238E27FC236}">
                  <a16:creationId xmlns:a16="http://schemas.microsoft.com/office/drawing/2014/main" id="{797C8A73-A994-4483-A96B-629F431BAE97}"/>
                </a:ext>
              </a:extLst>
            </p:cNvPr>
            <p:cNvSpPr>
              <a:spLocks noChangeArrowheads="1"/>
            </p:cNvSpPr>
            <p:nvPr/>
          </p:nvSpPr>
          <p:spPr bwMode="auto">
            <a:xfrm>
              <a:off x="8849033" y="2120059"/>
              <a:ext cx="21200" cy="74443"/>
            </a:xfrm>
            <a:custGeom>
              <a:avLst/>
              <a:gdLst>
                <a:gd name="T0" fmla="*/ 58 w 59"/>
                <a:gd name="T1" fmla="*/ 30 h 205"/>
                <a:gd name="T2" fmla="*/ 58 w 59"/>
                <a:gd name="T3" fmla="*/ 30 h 205"/>
                <a:gd name="T4" fmla="*/ 58 w 59"/>
                <a:gd name="T5" fmla="*/ 30 h 205"/>
                <a:gd name="T6" fmla="*/ 58 w 59"/>
                <a:gd name="T7" fmla="*/ 0 h 205"/>
                <a:gd name="T8" fmla="*/ 58 w 59"/>
                <a:gd name="T9" fmla="*/ 30 h 205"/>
                <a:gd name="T10" fmla="*/ 58 w 59"/>
                <a:gd name="T11" fmla="*/ 30 h 205"/>
                <a:gd name="T12" fmla="*/ 0 w 59"/>
                <a:gd name="T13" fmla="*/ 146 h 205"/>
                <a:gd name="T14" fmla="*/ 0 w 59"/>
                <a:gd name="T15" fmla="*/ 204 h 205"/>
                <a:gd name="T16" fmla="*/ 0 w 59"/>
                <a:gd name="T17" fmla="*/ 146 h 205"/>
                <a:gd name="T18" fmla="*/ 58 w 59"/>
                <a:gd name="T19" fmla="*/ 3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205">
                  <a:moveTo>
                    <a:pt x="58" y="30"/>
                  </a:moveTo>
                  <a:lnTo>
                    <a:pt x="58" y="30"/>
                  </a:lnTo>
                  <a:lnTo>
                    <a:pt x="58" y="30"/>
                  </a:lnTo>
                  <a:cubicBezTo>
                    <a:pt x="58" y="30"/>
                    <a:pt x="58" y="30"/>
                    <a:pt x="58" y="0"/>
                  </a:cubicBezTo>
                  <a:cubicBezTo>
                    <a:pt x="58" y="30"/>
                    <a:pt x="58" y="30"/>
                    <a:pt x="58" y="30"/>
                  </a:cubicBezTo>
                  <a:lnTo>
                    <a:pt x="58" y="30"/>
                  </a:lnTo>
                  <a:cubicBezTo>
                    <a:pt x="29" y="59"/>
                    <a:pt x="29" y="117"/>
                    <a:pt x="0" y="146"/>
                  </a:cubicBezTo>
                  <a:cubicBezTo>
                    <a:pt x="0" y="146"/>
                    <a:pt x="0" y="175"/>
                    <a:pt x="0" y="204"/>
                  </a:cubicBezTo>
                  <a:cubicBezTo>
                    <a:pt x="0" y="175"/>
                    <a:pt x="0" y="146"/>
                    <a:pt x="0" y="146"/>
                  </a:cubicBezTo>
                  <a:cubicBezTo>
                    <a:pt x="29" y="117"/>
                    <a:pt x="29" y="59"/>
                    <a:pt x="58"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0" name="Freeform 47">
              <a:extLst>
                <a:ext uri="{FF2B5EF4-FFF2-40B4-BE49-F238E27FC236}">
                  <a16:creationId xmlns:a16="http://schemas.microsoft.com/office/drawing/2014/main" id="{919D6CEC-8827-45C6-9869-E79C7304C9C7}"/>
                </a:ext>
              </a:extLst>
            </p:cNvPr>
            <p:cNvSpPr>
              <a:spLocks noChangeArrowheads="1"/>
            </p:cNvSpPr>
            <p:nvPr/>
          </p:nvSpPr>
          <p:spPr bwMode="auto">
            <a:xfrm>
              <a:off x="8827832" y="2654104"/>
              <a:ext cx="32617" cy="64733"/>
            </a:xfrm>
            <a:custGeom>
              <a:avLst/>
              <a:gdLst>
                <a:gd name="T0" fmla="*/ 88 w 89"/>
                <a:gd name="T1" fmla="*/ 174 h 175"/>
                <a:gd name="T2" fmla="*/ 88 w 89"/>
                <a:gd name="T3" fmla="*/ 174 h 175"/>
                <a:gd name="T4" fmla="*/ 88 w 89"/>
                <a:gd name="T5" fmla="*/ 145 h 175"/>
                <a:gd name="T6" fmla="*/ 0 w 89"/>
                <a:gd name="T7" fmla="*/ 0 h 175"/>
                <a:gd name="T8" fmla="*/ 0 w 89"/>
                <a:gd name="T9" fmla="*/ 0 h 175"/>
                <a:gd name="T10" fmla="*/ 88 w 89"/>
                <a:gd name="T11" fmla="*/ 145 h 175"/>
                <a:gd name="T12" fmla="*/ 88 w 89"/>
                <a:gd name="T13" fmla="*/ 174 h 175"/>
              </a:gdLst>
              <a:ahLst/>
              <a:cxnLst>
                <a:cxn ang="0">
                  <a:pos x="T0" y="T1"/>
                </a:cxn>
                <a:cxn ang="0">
                  <a:pos x="T2" y="T3"/>
                </a:cxn>
                <a:cxn ang="0">
                  <a:pos x="T4" y="T5"/>
                </a:cxn>
                <a:cxn ang="0">
                  <a:pos x="T6" y="T7"/>
                </a:cxn>
                <a:cxn ang="0">
                  <a:pos x="T8" y="T9"/>
                </a:cxn>
                <a:cxn ang="0">
                  <a:pos x="T10" y="T11"/>
                </a:cxn>
                <a:cxn ang="0">
                  <a:pos x="T12" y="T13"/>
                </a:cxn>
              </a:cxnLst>
              <a:rect l="0" t="0" r="r" b="b"/>
              <a:pathLst>
                <a:path w="89" h="175">
                  <a:moveTo>
                    <a:pt x="88" y="174"/>
                  </a:moveTo>
                  <a:lnTo>
                    <a:pt x="88" y="174"/>
                  </a:lnTo>
                  <a:cubicBezTo>
                    <a:pt x="88" y="145"/>
                    <a:pt x="88" y="145"/>
                    <a:pt x="88" y="145"/>
                  </a:cubicBezTo>
                  <a:cubicBezTo>
                    <a:pt x="59" y="87"/>
                    <a:pt x="30" y="57"/>
                    <a:pt x="0" y="0"/>
                  </a:cubicBezTo>
                  <a:lnTo>
                    <a:pt x="0" y="0"/>
                  </a:lnTo>
                  <a:cubicBezTo>
                    <a:pt x="30" y="57"/>
                    <a:pt x="59" y="87"/>
                    <a:pt x="88" y="145"/>
                  </a:cubicBezTo>
                  <a:lnTo>
                    <a:pt x="88" y="17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1" name="Freeform 48">
              <a:extLst>
                <a:ext uri="{FF2B5EF4-FFF2-40B4-BE49-F238E27FC236}">
                  <a16:creationId xmlns:a16="http://schemas.microsoft.com/office/drawing/2014/main" id="{DFC3A246-4003-4344-A2C3-F200DA0B23B1}"/>
                </a:ext>
              </a:extLst>
            </p:cNvPr>
            <p:cNvSpPr>
              <a:spLocks noChangeArrowheads="1"/>
            </p:cNvSpPr>
            <p:nvPr/>
          </p:nvSpPr>
          <p:spPr bwMode="auto">
            <a:xfrm>
              <a:off x="8783799" y="2194501"/>
              <a:ext cx="65234" cy="53405"/>
            </a:xfrm>
            <a:custGeom>
              <a:avLst/>
              <a:gdLst>
                <a:gd name="T0" fmla="*/ 175 w 176"/>
                <a:gd name="T1" fmla="*/ 0 h 147"/>
                <a:gd name="T2" fmla="*/ 175 w 176"/>
                <a:gd name="T3" fmla="*/ 0 h 147"/>
                <a:gd name="T4" fmla="*/ 88 w 176"/>
                <a:gd name="T5" fmla="*/ 88 h 147"/>
                <a:gd name="T6" fmla="*/ 0 w 176"/>
                <a:gd name="T7" fmla="*/ 146 h 147"/>
                <a:gd name="T8" fmla="*/ 0 w 176"/>
                <a:gd name="T9" fmla="*/ 146 h 147"/>
                <a:gd name="T10" fmla="*/ 88 w 176"/>
                <a:gd name="T11" fmla="*/ 88 h 147"/>
                <a:gd name="T12" fmla="*/ 175 w 176"/>
                <a:gd name="T13" fmla="*/ 0 h 147"/>
              </a:gdLst>
              <a:ahLst/>
              <a:cxnLst>
                <a:cxn ang="0">
                  <a:pos x="T0" y="T1"/>
                </a:cxn>
                <a:cxn ang="0">
                  <a:pos x="T2" y="T3"/>
                </a:cxn>
                <a:cxn ang="0">
                  <a:pos x="T4" y="T5"/>
                </a:cxn>
                <a:cxn ang="0">
                  <a:pos x="T6" y="T7"/>
                </a:cxn>
                <a:cxn ang="0">
                  <a:pos x="T8" y="T9"/>
                </a:cxn>
                <a:cxn ang="0">
                  <a:pos x="T10" y="T11"/>
                </a:cxn>
                <a:cxn ang="0">
                  <a:pos x="T12" y="T13"/>
                </a:cxn>
              </a:cxnLst>
              <a:rect l="0" t="0" r="r" b="b"/>
              <a:pathLst>
                <a:path w="176" h="147">
                  <a:moveTo>
                    <a:pt x="175" y="0"/>
                  </a:moveTo>
                  <a:lnTo>
                    <a:pt x="175" y="0"/>
                  </a:lnTo>
                  <a:cubicBezTo>
                    <a:pt x="146" y="29"/>
                    <a:pt x="116" y="59"/>
                    <a:pt x="88" y="88"/>
                  </a:cubicBezTo>
                  <a:cubicBezTo>
                    <a:pt x="59" y="88"/>
                    <a:pt x="30" y="117"/>
                    <a:pt x="0" y="146"/>
                  </a:cubicBezTo>
                  <a:lnTo>
                    <a:pt x="0" y="146"/>
                  </a:lnTo>
                  <a:cubicBezTo>
                    <a:pt x="30" y="117"/>
                    <a:pt x="59" y="88"/>
                    <a:pt x="88" y="88"/>
                  </a:cubicBezTo>
                  <a:cubicBezTo>
                    <a:pt x="116" y="59"/>
                    <a:pt x="146" y="29"/>
                    <a:pt x="17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 name="Freeform 49">
              <a:extLst>
                <a:ext uri="{FF2B5EF4-FFF2-40B4-BE49-F238E27FC236}">
                  <a16:creationId xmlns:a16="http://schemas.microsoft.com/office/drawing/2014/main" id="{C9CB60D0-8058-4FE0-BD1A-2227ACC9FA1A}"/>
                </a:ext>
              </a:extLst>
            </p:cNvPr>
            <p:cNvSpPr>
              <a:spLocks noChangeArrowheads="1"/>
            </p:cNvSpPr>
            <p:nvPr/>
          </p:nvSpPr>
          <p:spPr bwMode="auto">
            <a:xfrm>
              <a:off x="8806631" y="2419448"/>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3" name="Freeform 50">
              <a:extLst>
                <a:ext uri="{FF2B5EF4-FFF2-40B4-BE49-F238E27FC236}">
                  <a16:creationId xmlns:a16="http://schemas.microsoft.com/office/drawing/2014/main" id="{EADB6BF1-D866-43CC-A283-D429A1267023}"/>
                </a:ext>
              </a:extLst>
            </p:cNvPr>
            <p:cNvSpPr>
              <a:spLocks noChangeArrowheads="1"/>
            </p:cNvSpPr>
            <p:nvPr/>
          </p:nvSpPr>
          <p:spPr bwMode="auto">
            <a:xfrm>
              <a:off x="8827832" y="2633067"/>
              <a:ext cx="1631" cy="22656"/>
            </a:xfrm>
            <a:custGeom>
              <a:avLst/>
              <a:gdLst>
                <a:gd name="T0" fmla="*/ 0 w 1"/>
                <a:gd name="T1" fmla="*/ 59 h 60"/>
                <a:gd name="T2" fmla="*/ 0 w 1"/>
                <a:gd name="T3" fmla="*/ 59 h 60"/>
                <a:gd name="T4" fmla="*/ 0 w 1"/>
                <a:gd name="T5" fmla="*/ 59 h 60"/>
                <a:gd name="T6" fmla="*/ 0 w 1"/>
                <a:gd name="T7" fmla="*/ 30 h 60"/>
                <a:gd name="T8" fmla="*/ 0 w 1"/>
                <a:gd name="T9" fmla="*/ 0 h 60"/>
                <a:gd name="T10" fmla="*/ 0 w 1"/>
                <a:gd name="T11" fmla="*/ 30 h 60"/>
                <a:gd name="T12" fmla="*/ 0 w 1"/>
                <a:gd name="T13" fmla="*/ 59 h 60"/>
              </a:gdLst>
              <a:ahLst/>
              <a:cxnLst>
                <a:cxn ang="0">
                  <a:pos x="T0" y="T1"/>
                </a:cxn>
                <a:cxn ang="0">
                  <a:pos x="T2" y="T3"/>
                </a:cxn>
                <a:cxn ang="0">
                  <a:pos x="T4" y="T5"/>
                </a:cxn>
                <a:cxn ang="0">
                  <a:pos x="T6" y="T7"/>
                </a:cxn>
                <a:cxn ang="0">
                  <a:pos x="T8" y="T9"/>
                </a:cxn>
                <a:cxn ang="0">
                  <a:pos x="T10" y="T11"/>
                </a:cxn>
                <a:cxn ang="0">
                  <a:pos x="T12" y="T13"/>
                </a:cxn>
              </a:cxnLst>
              <a:rect l="0" t="0" r="r" b="b"/>
              <a:pathLst>
                <a:path w="1" h="60">
                  <a:moveTo>
                    <a:pt x="0" y="59"/>
                  </a:moveTo>
                  <a:lnTo>
                    <a:pt x="0" y="59"/>
                  </a:lnTo>
                  <a:lnTo>
                    <a:pt x="0" y="59"/>
                  </a:lnTo>
                  <a:cubicBezTo>
                    <a:pt x="0" y="30"/>
                    <a:pt x="0" y="30"/>
                    <a:pt x="0" y="30"/>
                  </a:cubicBezTo>
                  <a:lnTo>
                    <a:pt x="0" y="0"/>
                  </a:lnTo>
                  <a:lnTo>
                    <a:pt x="0" y="30"/>
                  </a:lnTo>
                  <a:lnTo>
                    <a:pt x="0" y="5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4" name="Freeform 51">
              <a:extLst>
                <a:ext uri="{FF2B5EF4-FFF2-40B4-BE49-F238E27FC236}">
                  <a16:creationId xmlns:a16="http://schemas.microsoft.com/office/drawing/2014/main" id="{167BFE70-F8B9-4097-8553-3BA6935C67AB}"/>
                </a:ext>
              </a:extLst>
            </p:cNvPr>
            <p:cNvSpPr>
              <a:spLocks noChangeArrowheads="1"/>
            </p:cNvSpPr>
            <p:nvPr/>
          </p:nvSpPr>
          <p:spPr bwMode="auto">
            <a:xfrm>
              <a:off x="8914267" y="2718837"/>
              <a:ext cx="75019" cy="55023"/>
            </a:xfrm>
            <a:custGeom>
              <a:avLst/>
              <a:gdLst>
                <a:gd name="T0" fmla="*/ 146 w 205"/>
                <a:gd name="T1" fmla="*/ 88 h 148"/>
                <a:gd name="T2" fmla="*/ 146 w 205"/>
                <a:gd name="T3" fmla="*/ 88 h 148"/>
                <a:gd name="T4" fmla="*/ 146 w 205"/>
                <a:gd name="T5" fmla="*/ 88 h 148"/>
                <a:gd name="T6" fmla="*/ 146 w 205"/>
                <a:gd name="T7" fmla="*/ 88 h 148"/>
                <a:gd name="T8" fmla="*/ 116 w 205"/>
                <a:gd name="T9" fmla="*/ 88 h 148"/>
                <a:gd name="T10" fmla="*/ 0 w 205"/>
                <a:gd name="T11" fmla="*/ 147 h 148"/>
                <a:gd name="T12" fmla="*/ 0 w 205"/>
                <a:gd name="T13" fmla="*/ 147 h 148"/>
                <a:gd name="T14" fmla="*/ 116 w 205"/>
                <a:gd name="T15" fmla="*/ 88 h 148"/>
                <a:gd name="T16" fmla="*/ 146 w 205"/>
                <a:gd name="T17" fmla="*/ 88 h 148"/>
                <a:gd name="T18" fmla="*/ 146 w 205"/>
                <a:gd name="T19" fmla="*/ 88 h 148"/>
                <a:gd name="T20" fmla="*/ 146 w 205"/>
                <a:gd name="T21" fmla="*/ 88 h 148"/>
                <a:gd name="T22" fmla="*/ 204 w 205"/>
                <a:gd name="T23" fmla="*/ 0 h 148"/>
                <a:gd name="T24" fmla="*/ 146 w 205"/>
                <a:gd name="T25" fmla="*/ 8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5" h="148">
                  <a:moveTo>
                    <a:pt x="146" y="88"/>
                  </a:moveTo>
                  <a:lnTo>
                    <a:pt x="146" y="88"/>
                  </a:lnTo>
                  <a:lnTo>
                    <a:pt x="146" y="88"/>
                  </a:lnTo>
                  <a:lnTo>
                    <a:pt x="146" y="88"/>
                  </a:lnTo>
                  <a:cubicBezTo>
                    <a:pt x="116" y="88"/>
                    <a:pt x="116" y="88"/>
                    <a:pt x="116" y="88"/>
                  </a:cubicBezTo>
                  <a:cubicBezTo>
                    <a:pt x="116" y="147"/>
                    <a:pt x="59" y="147"/>
                    <a:pt x="0" y="147"/>
                  </a:cubicBezTo>
                  <a:lnTo>
                    <a:pt x="0" y="147"/>
                  </a:lnTo>
                  <a:cubicBezTo>
                    <a:pt x="59" y="147"/>
                    <a:pt x="116" y="147"/>
                    <a:pt x="116" y="88"/>
                  </a:cubicBezTo>
                  <a:cubicBezTo>
                    <a:pt x="146" y="88"/>
                    <a:pt x="146" y="88"/>
                    <a:pt x="146" y="88"/>
                  </a:cubicBezTo>
                  <a:lnTo>
                    <a:pt x="146" y="88"/>
                  </a:lnTo>
                  <a:lnTo>
                    <a:pt x="146" y="88"/>
                  </a:lnTo>
                  <a:cubicBezTo>
                    <a:pt x="175" y="59"/>
                    <a:pt x="175" y="30"/>
                    <a:pt x="204" y="0"/>
                  </a:cubicBezTo>
                  <a:cubicBezTo>
                    <a:pt x="175" y="30"/>
                    <a:pt x="175" y="59"/>
                    <a:pt x="146"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5" name="Freeform 52">
              <a:extLst>
                <a:ext uri="{FF2B5EF4-FFF2-40B4-BE49-F238E27FC236}">
                  <a16:creationId xmlns:a16="http://schemas.microsoft.com/office/drawing/2014/main" id="{BB4D3400-BD82-4D92-8671-DA9608AD3E9D}"/>
                </a:ext>
              </a:extLst>
            </p:cNvPr>
            <p:cNvSpPr>
              <a:spLocks noChangeArrowheads="1"/>
            </p:cNvSpPr>
            <p:nvPr/>
          </p:nvSpPr>
          <p:spPr bwMode="auto">
            <a:xfrm>
              <a:off x="9000701" y="2247907"/>
              <a:ext cx="1631" cy="22656"/>
            </a:xfrm>
            <a:custGeom>
              <a:avLst/>
              <a:gdLst>
                <a:gd name="T0" fmla="*/ 0 w 1"/>
                <a:gd name="T1" fmla="*/ 0 h 60"/>
                <a:gd name="T2" fmla="*/ 0 w 1"/>
                <a:gd name="T3" fmla="*/ 0 h 60"/>
                <a:gd name="T4" fmla="*/ 0 w 1"/>
                <a:gd name="T5" fmla="*/ 59 h 60"/>
                <a:gd name="T6" fmla="*/ 0 w 1"/>
                <a:gd name="T7" fmla="*/ 0 h 60"/>
              </a:gdLst>
              <a:ahLst/>
              <a:cxnLst>
                <a:cxn ang="0">
                  <a:pos x="T0" y="T1"/>
                </a:cxn>
                <a:cxn ang="0">
                  <a:pos x="T2" y="T3"/>
                </a:cxn>
                <a:cxn ang="0">
                  <a:pos x="T4" y="T5"/>
                </a:cxn>
                <a:cxn ang="0">
                  <a:pos x="T6" y="T7"/>
                </a:cxn>
              </a:cxnLst>
              <a:rect l="0" t="0" r="r" b="b"/>
              <a:pathLst>
                <a:path w="1" h="60">
                  <a:moveTo>
                    <a:pt x="0" y="0"/>
                  </a:moveTo>
                  <a:lnTo>
                    <a:pt x="0" y="0"/>
                  </a:lnTo>
                  <a:cubicBezTo>
                    <a:pt x="0" y="30"/>
                    <a:pt x="0" y="30"/>
                    <a:pt x="0" y="59"/>
                  </a:cubicBezTo>
                  <a:cubicBezTo>
                    <a:pt x="0" y="30"/>
                    <a:pt x="0" y="3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6" name="Freeform 53">
              <a:extLst>
                <a:ext uri="{FF2B5EF4-FFF2-40B4-BE49-F238E27FC236}">
                  <a16:creationId xmlns:a16="http://schemas.microsoft.com/office/drawing/2014/main" id="{96D33ECA-6090-4514-A9E1-5AA6902A029E}"/>
                </a:ext>
              </a:extLst>
            </p:cNvPr>
            <p:cNvSpPr>
              <a:spLocks noChangeArrowheads="1"/>
            </p:cNvSpPr>
            <p:nvPr/>
          </p:nvSpPr>
          <p:spPr bwMode="auto">
            <a:xfrm>
              <a:off x="8989286" y="2215540"/>
              <a:ext cx="11415" cy="32366"/>
            </a:xfrm>
            <a:custGeom>
              <a:avLst/>
              <a:gdLst>
                <a:gd name="T0" fmla="*/ 0 w 30"/>
                <a:gd name="T1" fmla="*/ 0 h 88"/>
                <a:gd name="T2" fmla="*/ 0 w 30"/>
                <a:gd name="T3" fmla="*/ 0 h 88"/>
                <a:gd name="T4" fmla="*/ 0 w 30"/>
                <a:gd name="T5" fmla="*/ 0 h 88"/>
                <a:gd name="T6" fmla="*/ 29 w 30"/>
                <a:gd name="T7" fmla="*/ 87 h 88"/>
                <a:gd name="T8" fmla="*/ 0 w 30"/>
                <a:gd name="T9" fmla="*/ 0 h 88"/>
              </a:gdLst>
              <a:ahLst/>
              <a:cxnLst>
                <a:cxn ang="0">
                  <a:pos x="T0" y="T1"/>
                </a:cxn>
                <a:cxn ang="0">
                  <a:pos x="T2" y="T3"/>
                </a:cxn>
                <a:cxn ang="0">
                  <a:pos x="T4" y="T5"/>
                </a:cxn>
                <a:cxn ang="0">
                  <a:pos x="T6" y="T7"/>
                </a:cxn>
                <a:cxn ang="0">
                  <a:pos x="T8" y="T9"/>
                </a:cxn>
              </a:cxnLst>
              <a:rect l="0" t="0" r="r" b="b"/>
              <a:pathLst>
                <a:path w="30" h="88">
                  <a:moveTo>
                    <a:pt x="0" y="0"/>
                  </a:moveTo>
                  <a:lnTo>
                    <a:pt x="0" y="0"/>
                  </a:lnTo>
                  <a:lnTo>
                    <a:pt x="0" y="0"/>
                  </a:lnTo>
                  <a:cubicBezTo>
                    <a:pt x="0" y="29"/>
                    <a:pt x="0" y="58"/>
                    <a:pt x="29" y="87"/>
                  </a:cubicBezTo>
                  <a:cubicBezTo>
                    <a:pt x="0" y="58"/>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7" name="Freeform 54">
              <a:extLst>
                <a:ext uri="{FF2B5EF4-FFF2-40B4-BE49-F238E27FC236}">
                  <a16:creationId xmlns:a16="http://schemas.microsoft.com/office/drawing/2014/main" id="{004A8E53-FDEB-435F-9340-DBB933208B29}"/>
                </a:ext>
              </a:extLst>
            </p:cNvPr>
            <p:cNvSpPr>
              <a:spLocks noChangeArrowheads="1"/>
            </p:cNvSpPr>
            <p:nvPr/>
          </p:nvSpPr>
          <p:spPr bwMode="auto">
            <a:xfrm>
              <a:off x="8837617" y="2259234"/>
              <a:ext cx="11416" cy="53405"/>
            </a:xfrm>
            <a:custGeom>
              <a:avLst/>
              <a:gdLst>
                <a:gd name="T0" fmla="*/ 29 w 30"/>
                <a:gd name="T1" fmla="*/ 58 h 145"/>
                <a:gd name="T2" fmla="*/ 29 w 30"/>
                <a:gd name="T3" fmla="*/ 58 h 145"/>
                <a:gd name="T4" fmla="*/ 29 w 30"/>
                <a:gd name="T5" fmla="*/ 115 h 145"/>
                <a:gd name="T6" fmla="*/ 0 w 30"/>
                <a:gd name="T7" fmla="*/ 144 h 145"/>
                <a:gd name="T8" fmla="*/ 29 w 30"/>
                <a:gd name="T9" fmla="*/ 115 h 145"/>
                <a:gd name="T10" fmla="*/ 29 w 30"/>
                <a:gd name="T11" fmla="*/ 58 h 145"/>
                <a:gd name="T12" fmla="*/ 29 w 30"/>
                <a:gd name="T13" fmla="*/ 29 h 145"/>
                <a:gd name="T14" fmla="*/ 29 w 30"/>
                <a:gd name="T15" fmla="*/ 0 h 145"/>
                <a:gd name="T16" fmla="*/ 29 w 30"/>
                <a:gd name="T17" fmla="*/ 29 h 145"/>
                <a:gd name="T18" fmla="*/ 29 w 30"/>
                <a:gd name="T19" fmla="*/ 5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145">
                  <a:moveTo>
                    <a:pt x="29" y="58"/>
                  </a:moveTo>
                  <a:lnTo>
                    <a:pt x="29" y="58"/>
                  </a:lnTo>
                  <a:cubicBezTo>
                    <a:pt x="29" y="87"/>
                    <a:pt x="29" y="115"/>
                    <a:pt x="29" y="115"/>
                  </a:cubicBezTo>
                  <a:cubicBezTo>
                    <a:pt x="29" y="144"/>
                    <a:pt x="0" y="144"/>
                    <a:pt x="0" y="144"/>
                  </a:cubicBezTo>
                  <a:cubicBezTo>
                    <a:pt x="0" y="144"/>
                    <a:pt x="29" y="144"/>
                    <a:pt x="29" y="115"/>
                  </a:cubicBezTo>
                  <a:cubicBezTo>
                    <a:pt x="29" y="115"/>
                    <a:pt x="29" y="87"/>
                    <a:pt x="29" y="58"/>
                  </a:cubicBezTo>
                  <a:lnTo>
                    <a:pt x="29" y="29"/>
                  </a:lnTo>
                  <a:lnTo>
                    <a:pt x="29" y="0"/>
                  </a:lnTo>
                  <a:lnTo>
                    <a:pt x="29" y="29"/>
                  </a:lnTo>
                  <a:lnTo>
                    <a:pt x="29" y="5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8" name="Freeform 55">
              <a:extLst>
                <a:ext uri="{FF2B5EF4-FFF2-40B4-BE49-F238E27FC236}">
                  <a16:creationId xmlns:a16="http://schemas.microsoft.com/office/drawing/2014/main" id="{DEF0BDE0-38F4-4E68-AB4A-88DD021DA675}"/>
                </a:ext>
              </a:extLst>
            </p:cNvPr>
            <p:cNvSpPr>
              <a:spLocks noChangeArrowheads="1"/>
            </p:cNvSpPr>
            <p:nvPr/>
          </p:nvSpPr>
          <p:spPr bwMode="auto">
            <a:xfrm>
              <a:off x="8816416" y="2366043"/>
              <a:ext cx="1630" cy="22656"/>
            </a:xfrm>
            <a:custGeom>
              <a:avLst/>
              <a:gdLst>
                <a:gd name="T0" fmla="*/ 0 w 1"/>
                <a:gd name="T1" fmla="*/ 59 h 60"/>
                <a:gd name="T2" fmla="*/ 0 w 1"/>
                <a:gd name="T3" fmla="*/ 59 h 60"/>
                <a:gd name="T4" fmla="*/ 0 w 1"/>
                <a:gd name="T5" fmla="*/ 29 h 60"/>
                <a:gd name="T6" fmla="*/ 0 w 1"/>
                <a:gd name="T7" fmla="*/ 0 h 60"/>
                <a:gd name="T8" fmla="*/ 0 w 1"/>
                <a:gd name="T9" fmla="*/ 29 h 60"/>
                <a:gd name="T10" fmla="*/ 0 w 1"/>
                <a:gd name="T11" fmla="*/ 59 h 60"/>
              </a:gdLst>
              <a:ahLst/>
              <a:cxnLst>
                <a:cxn ang="0">
                  <a:pos x="T0" y="T1"/>
                </a:cxn>
                <a:cxn ang="0">
                  <a:pos x="T2" y="T3"/>
                </a:cxn>
                <a:cxn ang="0">
                  <a:pos x="T4" y="T5"/>
                </a:cxn>
                <a:cxn ang="0">
                  <a:pos x="T6" y="T7"/>
                </a:cxn>
                <a:cxn ang="0">
                  <a:pos x="T8" y="T9"/>
                </a:cxn>
                <a:cxn ang="0">
                  <a:pos x="T10" y="T11"/>
                </a:cxn>
              </a:cxnLst>
              <a:rect l="0" t="0" r="r" b="b"/>
              <a:pathLst>
                <a:path w="1" h="60">
                  <a:moveTo>
                    <a:pt x="0" y="59"/>
                  </a:moveTo>
                  <a:lnTo>
                    <a:pt x="0" y="59"/>
                  </a:lnTo>
                  <a:cubicBezTo>
                    <a:pt x="0" y="29"/>
                    <a:pt x="0" y="29"/>
                    <a:pt x="0" y="29"/>
                  </a:cubicBezTo>
                  <a:cubicBezTo>
                    <a:pt x="0" y="0"/>
                    <a:pt x="0" y="0"/>
                    <a:pt x="0" y="0"/>
                  </a:cubicBezTo>
                  <a:cubicBezTo>
                    <a:pt x="0" y="29"/>
                    <a:pt x="0" y="29"/>
                    <a:pt x="0" y="29"/>
                  </a:cubicBezTo>
                  <a:cubicBezTo>
                    <a:pt x="0" y="29"/>
                    <a:pt x="0" y="29"/>
                    <a:pt x="0"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9" name="Freeform 56">
              <a:extLst>
                <a:ext uri="{FF2B5EF4-FFF2-40B4-BE49-F238E27FC236}">
                  <a16:creationId xmlns:a16="http://schemas.microsoft.com/office/drawing/2014/main" id="{E4688C85-933F-48D2-8290-2F45C74BD3DA}"/>
                </a:ext>
              </a:extLst>
            </p:cNvPr>
            <p:cNvSpPr>
              <a:spLocks noChangeArrowheads="1"/>
            </p:cNvSpPr>
            <p:nvPr/>
          </p:nvSpPr>
          <p:spPr bwMode="auto">
            <a:xfrm>
              <a:off x="9162156" y="2045616"/>
              <a:ext cx="11415" cy="11329"/>
            </a:xfrm>
            <a:custGeom>
              <a:avLst/>
              <a:gdLst>
                <a:gd name="T0" fmla="*/ 29 w 30"/>
                <a:gd name="T1" fmla="*/ 29 h 30"/>
                <a:gd name="T2" fmla="*/ 29 w 30"/>
                <a:gd name="T3" fmla="*/ 29 h 30"/>
                <a:gd name="T4" fmla="*/ 0 w 30"/>
                <a:gd name="T5" fmla="*/ 0 h 30"/>
                <a:gd name="T6" fmla="*/ 29 w 30"/>
                <a:gd name="T7" fmla="*/ 29 h 30"/>
              </a:gdLst>
              <a:ahLst/>
              <a:cxnLst>
                <a:cxn ang="0">
                  <a:pos x="T0" y="T1"/>
                </a:cxn>
                <a:cxn ang="0">
                  <a:pos x="T2" y="T3"/>
                </a:cxn>
                <a:cxn ang="0">
                  <a:pos x="T4" y="T5"/>
                </a:cxn>
                <a:cxn ang="0">
                  <a:pos x="T6" y="T7"/>
                </a:cxn>
              </a:cxnLst>
              <a:rect l="0" t="0" r="r" b="b"/>
              <a:pathLst>
                <a:path w="30" h="30">
                  <a:moveTo>
                    <a:pt x="29" y="29"/>
                  </a:moveTo>
                  <a:lnTo>
                    <a:pt x="29" y="29"/>
                  </a:lnTo>
                  <a:cubicBezTo>
                    <a:pt x="29" y="29"/>
                    <a:pt x="29" y="0"/>
                    <a:pt x="0" y="0"/>
                  </a:cubicBezTo>
                  <a:cubicBezTo>
                    <a:pt x="29" y="0"/>
                    <a:pt x="29"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0" name="Freeform 57">
              <a:extLst>
                <a:ext uri="{FF2B5EF4-FFF2-40B4-BE49-F238E27FC236}">
                  <a16:creationId xmlns:a16="http://schemas.microsoft.com/office/drawing/2014/main" id="{6BA22CD4-10D5-4952-94C0-D7940D87A658}"/>
                </a:ext>
              </a:extLst>
            </p:cNvPr>
            <p:cNvSpPr>
              <a:spLocks noChangeArrowheads="1"/>
            </p:cNvSpPr>
            <p:nvPr/>
          </p:nvSpPr>
          <p:spPr bwMode="auto">
            <a:xfrm>
              <a:off x="10682103" y="3210806"/>
              <a:ext cx="11415" cy="11329"/>
            </a:xfrm>
            <a:custGeom>
              <a:avLst/>
              <a:gdLst>
                <a:gd name="T0" fmla="*/ 0 w 31"/>
                <a:gd name="T1" fmla="*/ 0 h 30"/>
                <a:gd name="T2" fmla="*/ 0 w 31"/>
                <a:gd name="T3" fmla="*/ 0 h 30"/>
                <a:gd name="T4" fmla="*/ 30 w 31"/>
                <a:gd name="T5" fmla="*/ 29 h 30"/>
                <a:gd name="T6" fmla="*/ 0 w 31"/>
                <a:gd name="T7" fmla="*/ 0 h 30"/>
              </a:gdLst>
              <a:ahLst/>
              <a:cxnLst>
                <a:cxn ang="0">
                  <a:pos x="T0" y="T1"/>
                </a:cxn>
                <a:cxn ang="0">
                  <a:pos x="T2" y="T3"/>
                </a:cxn>
                <a:cxn ang="0">
                  <a:pos x="T4" y="T5"/>
                </a:cxn>
                <a:cxn ang="0">
                  <a:pos x="T6" y="T7"/>
                </a:cxn>
              </a:cxnLst>
              <a:rect l="0" t="0" r="r" b="b"/>
              <a:pathLst>
                <a:path w="31" h="30">
                  <a:moveTo>
                    <a:pt x="0" y="0"/>
                  </a:moveTo>
                  <a:lnTo>
                    <a:pt x="0" y="0"/>
                  </a:lnTo>
                  <a:lnTo>
                    <a:pt x="3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1" name="Freeform 58">
              <a:extLst>
                <a:ext uri="{FF2B5EF4-FFF2-40B4-BE49-F238E27FC236}">
                  <a16:creationId xmlns:a16="http://schemas.microsoft.com/office/drawing/2014/main" id="{2A7AD5D8-FA02-4469-A8A7-C55CB5DDB096}"/>
                </a:ext>
              </a:extLst>
            </p:cNvPr>
            <p:cNvSpPr>
              <a:spLocks noChangeArrowheads="1"/>
            </p:cNvSpPr>
            <p:nvPr/>
          </p:nvSpPr>
          <p:spPr bwMode="auto">
            <a:xfrm>
              <a:off x="10628285" y="3147692"/>
              <a:ext cx="11416" cy="11328"/>
            </a:xfrm>
            <a:custGeom>
              <a:avLst/>
              <a:gdLst>
                <a:gd name="T0" fmla="*/ 29 w 30"/>
                <a:gd name="T1" fmla="*/ 30 h 31"/>
                <a:gd name="T2" fmla="*/ 29 w 30"/>
                <a:gd name="T3" fmla="*/ 30 h 31"/>
                <a:gd name="T4" fmla="*/ 0 w 30"/>
                <a:gd name="T5" fmla="*/ 0 h 31"/>
                <a:gd name="T6" fmla="*/ 29 w 30"/>
                <a:gd name="T7" fmla="*/ 30 h 31"/>
              </a:gdLst>
              <a:ahLst/>
              <a:cxnLst>
                <a:cxn ang="0">
                  <a:pos x="T0" y="T1"/>
                </a:cxn>
                <a:cxn ang="0">
                  <a:pos x="T2" y="T3"/>
                </a:cxn>
                <a:cxn ang="0">
                  <a:pos x="T4" y="T5"/>
                </a:cxn>
                <a:cxn ang="0">
                  <a:pos x="T6" y="T7"/>
                </a:cxn>
              </a:cxnLst>
              <a:rect l="0" t="0" r="r" b="b"/>
              <a:pathLst>
                <a:path w="30" h="31">
                  <a:moveTo>
                    <a:pt x="29" y="30"/>
                  </a:moveTo>
                  <a:lnTo>
                    <a:pt x="29" y="30"/>
                  </a:lnTo>
                  <a:lnTo>
                    <a:pt x="0" y="0"/>
                  </a:lnTo>
                  <a:lnTo>
                    <a:pt x="29" y="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2" name="Freeform 59">
              <a:extLst>
                <a:ext uri="{FF2B5EF4-FFF2-40B4-BE49-F238E27FC236}">
                  <a16:creationId xmlns:a16="http://schemas.microsoft.com/office/drawing/2014/main" id="{0D4ED5F3-BAB9-402F-BA54-351A8EF67594}"/>
                </a:ext>
              </a:extLst>
            </p:cNvPr>
            <p:cNvSpPr>
              <a:spLocks noChangeArrowheads="1"/>
            </p:cNvSpPr>
            <p:nvPr/>
          </p:nvSpPr>
          <p:spPr bwMode="auto">
            <a:xfrm>
              <a:off x="10639701" y="3157402"/>
              <a:ext cx="11415" cy="1618"/>
            </a:xfrm>
            <a:custGeom>
              <a:avLst/>
              <a:gdLst>
                <a:gd name="T0" fmla="*/ 0 w 31"/>
                <a:gd name="T1" fmla="*/ 0 h 1"/>
                <a:gd name="T2" fmla="*/ 0 w 31"/>
                <a:gd name="T3" fmla="*/ 0 h 1"/>
                <a:gd name="T4" fmla="*/ 30 w 31"/>
                <a:gd name="T5" fmla="*/ 0 h 1"/>
                <a:gd name="T6" fmla="*/ 30 w 31"/>
                <a:gd name="T7" fmla="*/ 0 h 1"/>
                <a:gd name="T8" fmla="*/ 0 w 31"/>
                <a:gd name="T9" fmla="*/ 0 h 1"/>
              </a:gdLst>
              <a:ahLst/>
              <a:cxnLst>
                <a:cxn ang="0">
                  <a:pos x="T0" y="T1"/>
                </a:cxn>
                <a:cxn ang="0">
                  <a:pos x="T2" y="T3"/>
                </a:cxn>
                <a:cxn ang="0">
                  <a:pos x="T4" y="T5"/>
                </a:cxn>
                <a:cxn ang="0">
                  <a:pos x="T6" y="T7"/>
                </a:cxn>
                <a:cxn ang="0">
                  <a:pos x="T8" y="T9"/>
                </a:cxn>
              </a:cxnLst>
              <a:rect l="0" t="0" r="r" b="b"/>
              <a:pathLst>
                <a:path w="31" h="1">
                  <a:moveTo>
                    <a:pt x="0" y="0"/>
                  </a:moveTo>
                  <a:lnTo>
                    <a:pt x="0" y="0"/>
                  </a:lnTo>
                  <a:cubicBezTo>
                    <a:pt x="30" y="0"/>
                    <a:pt x="30" y="0"/>
                    <a:pt x="30" y="0"/>
                  </a:cubicBezTo>
                  <a:lnTo>
                    <a:pt x="30" y="0"/>
                  </a:lnTo>
                  <a:cubicBezTo>
                    <a:pt x="30" y="0"/>
                    <a:pt x="3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3" name="Freeform 60">
              <a:extLst>
                <a:ext uri="{FF2B5EF4-FFF2-40B4-BE49-F238E27FC236}">
                  <a16:creationId xmlns:a16="http://schemas.microsoft.com/office/drawing/2014/main" id="{29411E65-1547-4D4C-9FBC-6FDA56049508}"/>
                </a:ext>
              </a:extLst>
            </p:cNvPr>
            <p:cNvSpPr>
              <a:spLocks noChangeArrowheads="1"/>
            </p:cNvSpPr>
            <p:nvPr/>
          </p:nvSpPr>
          <p:spPr bwMode="auto">
            <a:xfrm>
              <a:off x="10628285" y="2964822"/>
              <a:ext cx="11416" cy="22656"/>
            </a:xfrm>
            <a:custGeom>
              <a:avLst/>
              <a:gdLst>
                <a:gd name="T0" fmla="*/ 29 w 30"/>
                <a:gd name="T1" fmla="*/ 0 h 60"/>
                <a:gd name="T2" fmla="*/ 29 w 30"/>
                <a:gd name="T3" fmla="*/ 0 h 60"/>
                <a:gd name="T4" fmla="*/ 29 w 30"/>
                <a:gd name="T5" fmla="*/ 0 h 60"/>
                <a:gd name="T6" fmla="*/ 29 w 30"/>
                <a:gd name="T7" fmla="*/ 0 h 60"/>
                <a:gd name="T8" fmla="*/ 0 w 30"/>
                <a:gd name="T9" fmla="*/ 29 h 60"/>
                <a:gd name="T10" fmla="*/ 0 w 30"/>
                <a:gd name="T11" fmla="*/ 59 h 60"/>
                <a:gd name="T12" fmla="*/ 29 w 30"/>
                <a:gd name="T13" fmla="*/ 59 h 60"/>
                <a:gd name="T14" fmla="*/ 0 w 30"/>
                <a:gd name="T15" fmla="*/ 59 h 60"/>
                <a:gd name="T16" fmla="*/ 0 w 30"/>
                <a:gd name="T17" fmla="*/ 29 h 60"/>
                <a:gd name="T18" fmla="*/ 29 w 30"/>
                <a:gd name="T1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60">
                  <a:moveTo>
                    <a:pt x="29" y="0"/>
                  </a:moveTo>
                  <a:lnTo>
                    <a:pt x="29" y="0"/>
                  </a:lnTo>
                  <a:lnTo>
                    <a:pt x="29" y="0"/>
                  </a:lnTo>
                  <a:lnTo>
                    <a:pt x="29" y="0"/>
                  </a:lnTo>
                  <a:cubicBezTo>
                    <a:pt x="29" y="29"/>
                    <a:pt x="29" y="29"/>
                    <a:pt x="0" y="29"/>
                  </a:cubicBezTo>
                  <a:cubicBezTo>
                    <a:pt x="0" y="59"/>
                    <a:pt x="0" y="59"/>
                    <a:pt x="0" y="59"/>
                  </a:cubicBezTo>
                  <a:cubicBezTo>
                    <a:pt x="29" y="59"/>
                    <a:pt x="29" y="59"/>
                    <a:pt x="29" y="59"/>
                  </a:cubicBezTo>
                  <a:cubicBezTo>
                    <a:pt x="0" y="59"/>
                    <a:pt x="0" y="59"/>
                    <a:pt x="0" y="59"/>
                  </a:cubicBezTo>
                  <a:cubicBezTo>
                    <a:pt x="0" y="29"/>
                    <a:pt x="0" y="29"/>
                    <a:pt x="0" y="29"/>
                  </a:cubicBezTo>
                  <a:cubicBezTo>
                    <a:pt x="29" y="29"/>
                    <a:pt x="29" y="29"/>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4" name="Freeform 61">
              <a:extLst>
                <a:ext uri="{FF2B5EF4-FFF2-40B4-BE49-F238E27FC236}">
                  <a16:creationId xmlns:a16="http://schemas.microsoft.com/office/drawing/2014/main" id="{C9058DAC-590A-4B2F-ACD7-53058FCE1492}"/>
                </a:ext>
              </a:extLst>
            </p:cNvPr>
            <p:cNvSpPr>
              <a:spLocks noChangeArrowheads="1"/>
            </p:cNvSpPr>
            <p:nvPr/>
          </p:nvSpPr>
          <p:spPr bwMode="auto">
            <a:xfrm>
              <a:off x="10618500" y="2976151"/>
              <a:ext cx="21202" cy="22656"/>
            </a:xfrm>
            <a:custGeom>
              <a:avLst/>
              <a:gdLst>
                <a:gd name="T0" fmla="*/ 0 w 59"/>
                <a:gd name="T1" fmla="*/ 59 h 60"/>
                <a:gd name="T2" fmla="*/ 0 w 59"/>
                <a:gd name="T3" fmla="*/ 59 h 60"/>
                <a:gd name="T4" fmla="*/ 0 w 59"/>
                <a:gd name="T5" fmla="*/ 30 h 60"/>
                <a:gd name="T6" fmla="*/ 0 w 59"/>
                <a:gd name="T7" fmla="*/ 0 h 60"/>
                <a:gd name="T8" fmla="*/ 0 w 59"/>
                <a:gd name="T9" fmla="*/ 0 h 60"/>
                <a:gd name="T10" fmla="*/ 0 w 59"/>
                <a:gd name="T11" fmla="*/ 0 h 60"/>
                <a:gd name="T12" fmla="*/ 0 w 59"/>
                <a:gd name="T13" fmla="*/ 0 h 60"/>
                <a:gd name="T14" fmla="*/ 0 w 59"/>
                <a:gd name="T15" fmla="*/ 30 h 60"/>
                <a:gd name="T16" fmla="*/ 0 w 59"/>
                <a:gd name="T17" fmla="*/ 59 h 60"/>
                <a:gd name="T18" fmla="*/ 58 w 59"/>
                <a:gd name="T19" fmla="*/ 59 h 60"/>
                <a:gd name="T20" fmla="*/ 58 w 59"/>
                <a:gd name="T21" fmla="*/ 30 h 60"/>
                <a:gd name="T22" fmla="*/ 58 w 59"/>
                <a:gd name="T23" fmla="*/ 59 h 60"/>
                <a:gd name="T24" fmla="*/ 0 w 59"/>
                <a:gd name="T25" fmla="*/ 5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60">
                  <a:moveTo>
                    <a:pt x="0" y="59"/>
                  </a:moveTo>
                  <a:lnTo>
                    <a:pt x="0" y="59"/>
                  </a:lnTo>
                  <a:cubicBezTo>
                    <a:pt x="0" y="30"/>
                    <a:pt x="0" y="30"/>
                    <a:pt x="0" y="30"/>
                  </a:cubicBezTo>
                  <a:lnTo>
                    <a:pt x="0" y="0"/>
                  </a:lnTo>
                  <a:lnTo>
                    <a:pt x="0" y="0"/>
                  </a:lnTo>
                  <a:lnTo>
                    <a:pt x="0" y="0"/>
                  </a:lnTo>
                  <a:lnTo>
                    <a:pt x="0" y="0"/>
                  </a:lnTo>
                  <a:lnTo>
                    <a:pt x="0" y="30"/>
                  </a:lnTo>
                  <a:cubicBezTo>
                    <a:pt x="0" y="59"/>
                    <a:pt x="0" y="59"/>
                    <a:pt x="0" y="59"/>
                  </a:cubicBezTo>
                  <a:cubicBezTo>
                    <a:pt x="58" y="59"/>
                    <a:pt x="58" y="59"/>
                    <a:pt x="58" y="59"/>
                  </a:cubicBezTo>
                  <a:lnTo>
                    <a:pt x="58" y="30"/>
                  </a:lnTo>
                  <a:lnTo>
                    <a:pt x="58" y="59"/>
                  </a:lnTo>
                  <a:lnTo>
                    <a:pt x="0" y="5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5" name="Freeform 62">
              <a:extLst>
                <a:ext uri="{FF2B5EF4-FFF2-40B4-BE49-F238E27FC236}">
                  <a16:creationId xmlns:a16="http://schemas.microsoft.com/office/drawing/2014/main" id="{DA45DA36-B4F7-4FBA-93EF-DF2E0898F904}"/>
                </a:ext>
              </a:extLst>
            </p:cNvPr>
            <p:cNvSpPr>
              <a:spLocks noChangeArrowheads="1"/>
            </p:cNvSpPr>
            <p:nvPr/>
          </p:nvSpPr>
          <p:spPr bwMode="auto">
            <a:xfrm>
              <a:off x="10908790" y="1776975"/>
              <a:ext cx="215272" cy="461222"/>
            </a:xfrm>
            <a:custGeom>
              <a:avLst/>
              <a:gdLst>
                <a:gd name="T0" fmla="*/ 87 w 584"/>
                <a:gd name="T1" fmla="*/ 146 h 1255"/>
                <a:gd name="T2" fmla="*/ 87 w 584"/>
                <a:gd name="T3" fmla="*/ 146 h 1255"/>
                <a:gd name="T4" fmla="*/ 87 w 584"/>
                <a:gd name="T5" fmla="*/ 146 h 1255"/>
                <a:gd name="T6" fmla="*/ 87 w 584"/>
                <a:gd name="T7" fmla="*/ 175 h 1255"/>
                <a:gd name="T8" fmla="*/ 87 w 584"/>
                <a:gd name="T9" fmla="*/ 233 h 1255"/>
                <a:gd name="T10" fmla="*/ 87 w 584"/>
                <a:gd name="T11" fmla="*/ 263 h 1255"/>
                <a:gd name="T12" fmla="*/ 117 w 584"/>
                <a:gd name="T13" fmla="*/ 292 h 1255"/>
                <a:gd name="T14" fmla="*/ 117 w 584"/>
                <a:gd name="T15" fmla="*/ 321 h 1255"/>
                <a:gd name="T16" fmla="*/ 29 w 584"/>
                <a:gd name="T17" fmla="*/ 525 h 1255"/>
                <a:gd name="T18" fmla="*/ 29 w 584"/>
                <a:gd name="T19" fmla="*/ 554 h 1255"/>
                <a:gd name="T20" fmla="*/ 29 w 584"/>
                <a:gd name="T21" fmla="*/ 613 h 1255"/>
                <a:gd name="T22" fmla="*/ 29 w 584"/>
                <a:gd name="T23" fmla="*/ 787 h 1255"/>
                <a:gd name="T24" fmla="*/ 0 w 584"/>
                <a:gd name="T25" fmla="*/ 846 h 1255"/>
                <a:gd name="T26" fmla="*/ 0 w 584"/>
                <a:gd name="T27" fmla="*/ 963 h 1255"/>
                <a:gd name="T28" fmla="*/ 29 w 584"/>
                <a:gd name="T29" fmla="*/ 1021 h 1255"/>
                <a:gd name="T30" fmla="*/ 29 w 584"/>
                <a:gd name="T31" fmla="*/ 1079 h 1255"/>
                <a:gd name="T32" fmla="*/ 58 w 584"/>
                <a:gd name="T33" fmla="*/ 1137 h 1255"/>
                <a:gd name="T34" fmla="*/ 29 w 584"/>
                <a:gd name="T35" fmla="*/ 1196 h 1255"/>
                <a:gd name="T36" fmla="*/ 29 w 584"/>
                <a:gd name="T37" fmla="*/ 1254 h 1255"/>
                <a:gd name="T38" fmla="*/ 437 w 584"/>
                <a:gd name="T39" fmla="*/ 1166 h 1255"/>
                <a:gd name="T40" fmla="*/ 437 w 584"/>
                <a:gd name="T41" fmla="*/ 1137 h 1255"/>
                <a:gd name="T42" fmla="*/ 467 w 584"/>
                <a:gd name="T43" fmla="*/ 1108 h 1255"/>
                <a:gd name="T44" fmla="*/ 467 w 584"/>
                <a:gd name="T45" fmla="*/ 1108 h 1255"/>
                <a:gd name="T46" fmla="*/ 467 w 584"/>
                <a:gd name="T47" fmla="*/ 1108 h 1255"/>
                <a:gd name="T48" fmla="*/ 524 w 584"/>
                <a:gd name="T49" fmla="*/ 1079 h 1255"/>
                <a:gd name="T50" fmla="*/ 553 w 584"/>
                <a:gd name="T51" fmla="*/ 1050 h 1255"/>
                <a:gd name="T52" fmla="*/ 553 w 584"/>
                <a:gd name="T53" fmla="*/ 1050 h 1255"/>
                <a:gd name="T54" fmla="*/ 583 w 584"/>
                <a:gd name="T55" fmla="*/ 1050 h 1255"/>
                <a:gd name="T56" fmla="*/ 583 w 584"/>
                <a:gd name="T57" fmla="*/ 1050 h 1255"/>
                <a:gd name="T58" fmla="*/ 553 w 584"/>
                <a:gd name="T59" fmla="*/ 1050 h 1255"/>
                <a:gd name="T60" fmla="*/ 553 w 584"/>
                <a:gd name="T61" fmla="*/ 1021 h 1255"/>
                <a:gd name="T62" fmla="*/ 408 w 584"/>
                <a:gd name="T63" fmla="*/ 671 h 1255"/>
                <a:gd name="T64" fmla="*/ 146 w 584"/>
                <a:gd name="T65" fmla="*/ 0 h 1255"/>
                <a:gd name="T66" fmla="*/ 117 w 584"/>
                <a:gd name="T67" fmla="*/ 0 h 1255"/>
                <a:gd name="T68" fmla="*/ 87 w 584"/>
                <a:gd name="T69" fmla="*/ 0 h 1255"/>
                <a:gd name="T70" fmla="*/ 87 w 584"/>
                <a:gd name="T71" fmla="*/ 29 h 1255"/>
                <a:gd name="T72" fmla="*/ 87 w 584"/>
                <a:gd name="T73" fmla="*/ 58 h 1255"/>
                <a:gd name="T74" fmla="*/ 87 w 584"/>
                <a:gd name="T75" fmla="*/ 87 h 1255"/>
                <a:gd name="T76" fmla="*/ 87 w 584"/>
                <a:gd name="T77" fmla="*/ 146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4" h="1255">
                  <a:moveTo>
                    <a:pt x="87" y="146"/>
                  </a:moveTo>
                  <a:lnTo>
                    <a:pt x="87" y="146"/>
                  </a:lnTo>
                  <a:lnTo>
                    <a:pt x="87" y="146"/>
                  </a:lnTo>
                  <a:cubicBezTo>
                    <a:pt x="87" y="175"/>
                    <a:pt x="87" y="175"/>
                    <a:pt x="87" y="175"/>
                  </a:cubicBezTo>
                  <a:cubicBezTo>
                    <a:pt x="87" y="204"/>
                    <a:pt x="87" y="204"/>
                    <a:pt x="87" y="233"/>
                  </a:cubicBezTo>
                  <a:lnTo>
                    <a:pt x="87" y="263"/>
                  </a:lnTo>
                  <a:cubicBezTo>
                    <a:pt x="87" y="263"/>
                    <a:pt x="87" y="263"/>
                    <a:pt x="117" y="292"/>
                  </a:cubicBezTo>
                  <a:lnTo>
                    <a:pt x="117" y="321"/>
                  </a:lnTo>
                  <a:cubicBezTo>
                    <a:pt x="146" y="408"/>
                    <a:pt x="87" y="466"/>
                    <a:pt x="29" y="525"/>
                  </a:cubicBezTo>
                  <a:lnTo>
                    <a:pt x="29" y="554"/>
                  </a:lnTo>
                  <a:cubicBezTo>
                    <a:pt x="29" y="583"/>
                    <a:pt x="29" y="583"/>
                    <a:pt x="29" y="613"/>
                  </a:cubicBezTo>
                  <a:cubicBezTo>
                    <a:pt x="29" y="671"/>
                    <a:pt x="29" y="729"/>
                    <a:pt x="29" y="787"/>
                  </a:cubicBezTo>
                  <a:cubicBezTo>
                    <a:pt x="29" y="816"/>
                    <a:pt x="0" y="816"/>
                    <a:pt x="0" y="846"/>
                  </a:cubicBezTo>
                  <a:cubicBezTo>
                    <a:pt x="0" y="875"/>
                    <a:pt x="0" y="933"/>
                    <a:pt x="0" y="963"/>
                  </a:cubicBezTo>
                  <a:cubicBezTo>
                    <a:pt x="29" y="992"/>
                    <a:pt x="29" y="1021"/>
                    <a:pt x="29" y="1021"/>
                  </a:cubicBezTo>
                  <a:cubicBezTo>
                    <a:pt x="29" y="1050"/>
                    <a:pt x="29" y="1079"/>
                    <a:pt x="29" y="1079"/>
                  </a:cubicBezTo>
                  <a:cubicBezTo>
                    <a:pt x="29" y="1108"/>
                    <a:pt x="29" y="1108"/>
                    <a:pt x="58" y="1137"/>
                  </a:cubicBezTo>
                  <a:cubicBezTo>
                    <a:pt x="58" y="1166"/>
                    <a:pt x="58" y="1166"/>
                    <a:pt x="29" y="1196"/>
                  </a:cubicBezTo>
                  <a:cubicBezTo>
                    <a:pt x="29" y="1225"/>
                    <a:pt x="29" y="1225"/>
                    <a:pt x="29" y="1254"/>
                  </a:cubicBezTo>
                  <a:cubicBezTo>
                    <a:pt x="174" y="1225"/>
                    <a:pt x="320" y="1196"/>
                    <a:pt x="437" y="1166"/>
                  </a:cubicBezTo>
                  <a:cubicBezTo>
                    <a:pt x="437" y="1166"/>
                    <a:pt x="437" y="1166"/>
                    <a:pt x="437" y="1137"/>
                  </a:cubicBezTo>
                  <a:cubicBezTo>
                    <a:pt x="437" y="1137"/>
                    <a:pt x="437" y="1108"/>
                    <a:pt x="467" y="1108"/>
                  </a:cubicBezTo>
                  <a:lnTo>
                    <a:pt x="467" y="1108"/>
                  </a:lnTo>
                  <a:lnTo>
                    <a:pt x="467" y="1108"/>
                  </a:lnTo>
                  <a:cubicBezTo>
                    <a:pt x="496" y="1108"/>
                    <a:pt x="496" y="1108"/>
                    <a:pt x="524" y="1079"/>
                  </a:cubicBezTo>
                  <a:cubicBezTo>
                    <a:pt x="524" y="1079"/>
                    <a:pt x="524" y="1050"/>
                    <a:pt x="553" y="1050"/>
                  </a:cubicBezTo>
                  <a:lnTo>
                    <a:pt x="553" y="1050"/>
                  </a:lnTo>
                  <a:cubicBezTo>
                    <a:pt x="583" y="1050"/>
                    <a:pt x="583" y="1050"/>
                    <a:pt x="583" y="1050"/>
                  </a:cubicBezTo>
                  <a:lnTo>
                    <a:pt x="583" y="1050"/>
                  </a:lnTo>
                  <a:lnTo>
                    <a:pt x="553" y="1050"/>
                  </a:lnTo>
                  <a:cubicBezTo>
                    <a:pt x="553" y="1021"/>
                    <a:pt x="553" y="1021"/>
                    <a:pt x="553" y="1021"/>
                  </a:cubicBezTo>
                  <a:cubicBezTo>
                    <a:pt x="496" y="904"/>
                    <a:pt x="467" y="787"/>
                    <a:pt x="408" y="671"/>
                  </a:cubicBezTo>
                  <a:cubicBezTo>
                    <a:pt x="320" y="437"/>
                    <a:pt x="233" y="204"/>
                    <a:pt x="146" y="0"/>
                  </a:cubicBezTo>
                  <a:lnTo>
                    <a:pt x="117" y="0"/>
                  </a:lnTo>
                  <a:cubicBezTo>
                    <a:pt x="117" y="0"/>
                    <a:pt x="117" y="0"/>
                    <a:pt x="87" y="0"/>
                  </a:cubicBezTo>
                  <a:cubicBezTo>
                    <a:pt x="87" y="0"/>
                    <a:pt x="87" y="0"/>
                    <a:pt x="87" y="29"/>
                  </a:cubicBezTo>
                  <a:cubicBezTo>
                    <a:pt x="87" y="29"/>
                    <a:pt x="87" y="29"/>
                    <a:pt x="87" y="58"/>
                  </a:cubicBezTo>
                  <a:lnTo>
                    <a:pt x="87" y="87"/>
                  </a:lnTo>
                  <a:cubicBezTo>
                    <a:pt x="87" y="116"/>
                    <a:pt x="87" y="116"/>
                    <a:pt x="87" y="14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6" name="Freeform 63">
              <a:extLst>
                <a:ext uri="{FF2B5EF4-FFF2-40B4-BE49-F238E27FC236}">
                  <a16:creationId xmlns:a16="http://schemas.microsoft.com/office/drawing/2014/main" id="{2F11D5A1-4571-4C1F-9BCB-BEC46E2D58F2}"/>
                </a:ext>
              </a:extLst>
            </p:cNvPr>
            <p:cNvSpPr>
              <a:spLocks noChangeArrowheads="1"/>
            </p:cNvSpPr>
            <p:nvPr/>
          </p:nvSpPr>
          <p:spPr bwMode="auto">
            <a:xfrm>
              <a:off x="10714720" y="3639662"/>
              <a:ext cx="11415" cy="21038"/>
            </a:xfrm>
            <a:custGeom>
              <a:avLst/>
              <a:gdLst>
                <a:gd name="T0" fmla="*/ 28 w 29"/>
                <a:gd name="T1" fmla="*/ 58 h 59"/>
                <a:gd name="T2" fmla="*/ 28 w 29"/>
                <a:gd name="T3" fmla="*/ 58 h 59"/>
                <a:gd name="T4" fmla="*/ 0 w 29"/>
                <a:gd name="T5" fmla="*/ 29 h 59"/>
                <a:gd name="T6" fmla="*/ 0 w 29"/>
                <a:gd name="T7" fmla="*/ 0 h 59"/>
                <a:gd name="T8" fmla="*/ 0 w 29"/>
                <a:gd name="T9" fmla="*/ 0 h 59"/>
                <a:gd name="T10" fmla="*/ 0 w 29"/>
                <a:gd name="T11" fmla="*/ 29 h 59"/>
                <a:gd name="T12" fmla="*/ 28 w 29"/>
                <a:gd name="T13" fmla="*/ 58 h 59"/>
              </a:gdLst>
              <a:ahLst/>
              <a:cxnLst>
                <a:cxn ang="0">
                  <a:pos x="T0" y="T1"/>
                </a:cxn>
                <a:cxn ang="0">
                  <a:pos x="T2" y="T3"/>
                </a:cxn>
                <a:cxn ang="0">
                  <a:pos x="T4" y="T5"/>
                </a:cxn>
                <a:cxn ang="0">
                  <a:pos x="T6" y="T7"/>
                </a:cxn>
                <a:cxn ang="0">
                  <a:pos x="T8" y="T9"/>
                </a:cxn>
                <a:cxn ang="0">
                  <a:pos x="T10" y="T11"/>
                </a:cxn>
                <a:cxn ang="0">
                  <a:pos x="T12" y="T13"/>
                </a:cxn>
              </a:cxnLst>
              <a:rect l="0" t="0" r="r" b="b"/>
              <a:pathLst>
                <a:path w="29" h="59">
                  <a:moveTo>
                    <a:pt x="28" y="58"/>
                  </a:moveTo>
                  <a:lnTo>
                    <a:pt x="28" y="58"/>
                  </a:lnTo>
                  <a:cubicBezTo>
                    <a:pt x="28" y="58"/>
                    <a:pt x="28" y="58"/>
                    <a:pt x="0" y="29"/>
                  </a:cubicBezTo>
                  <a:cubicBezTo>
                    <a:pt x="0" y="29"/>
                    <a:pt x="0" y="29"/>
                    <a:pt x="0" y="0"/>
                  </a:cubicBezTo>
                  <a:lnTo>
                    <a:pt x="0" y="0"/>
                  </a:lnTo>
                  <a:cubicBezTo>
                    <a:pt x="0" y="29"/>
                    <a:pt x="0" y="29"/>
                    <a:pt x="0" y="29"/>
                  </a:cubicBezTo>
                  <a:cubicBezTo>
                    <a:pt x="28" y="58"/>
                    <a:pt x="28" y="58"/>
                    <a:pt x="28"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7" name="Freeform 64">
              <a:extLst>
                <a:ext uri="{FF2B5EF4-FFF2-40B4-BE49-F238E27FC236}">
                  <a16:creationId xmlns:a16="http://schemas.microsoft.com/office/drawing/2014/main" id="{E5295C2B-0BEC-429B-AE52-67BFF672E054}"/>
                </a:ext>
              </a:extLst>
            </p:cNvPr>
            <p:cNvSpPr>
              <a:spLocks noChangeArrowheads="1"/>
            </p:cNvSpPr>
            <p:nvPr/>
          </p:nvSpPr>
          <p:spPr bwMode="auto">
            <a:xfrm>
              <a:off x="7911297" y="3767509"/>
              <a:ext cx="733880" cy="642474"/>
            </a:xfrm>
            <a:custGeom>
              <a:avLst/>
              <a:gdLst>
                <a:gd name="T0" fmla="*/ 1982 w 1983"/>
                <a:gd name="T1" fmla="*/ 233 h 1751"/>
                <a:gd name="T2" fmla="*/ 1982 w 1983"/>
                <a:gd name="T3" fmla="*/ 233 h 1751"/>
                <a:gd name="T4" fmla="*/ 1982 w 1983"/>
                <a:gd name="T5" fmla="*/ 174 h 1751"/>
                <a:gd name="T6" fmla="*/ 1865 w 1983"/>
                <a:gd name="T7" fmla="*/ 174 h 1751"/>
                <a:gd name="T8" fmla="*/ 1836 w 1983"/>
                <a:gd name="T9" fmla="*/ 174 h 1751"/>
                <a:gd name="T10" fmla="*/ 1807 w 1983"/>
                <a:gd name="T11" fmla="*/ 174 h 1751"/>
                <a:gd name="T12" fmla="*/ 1778 w 1983"/>
                <a:gd name="T13" fmla="*/ 116 h 1751"/>
                <a:gd name="T14" fmla="*/ 1778 w 1983"/>
                <a:gd name="T15" fmla="*/ 58 h 1751"/>
                <a:gd name="T16" fmla="*/ 1749 w 1983"/>
                <a:gd name="T17" fmla="*/ 0 h 1751"/>
                <a:gd name="T18" fmla="*/ 1749 w 1983"/>
                <a:gd name="T19" fmla="*/ 0 h 1751"/>
                <a:gd name="T20" fmla="*/ 1136 w 1983"/>
                <a:gd name="T21" fmla="*/ 29 h 1751"/>
                <a:gd name="T22" fmla="*/ 0 w 1983"/>
                <a:gd name="T23" fmla="*/ 58 h 1751"/>
                <a:gd name="T24" fmla="*/ 59 w 1983"/>
                <a:gd name="T25" fmla="*/ 1458 h 1751"/>
                <a:gd name="T26" fmla="*/ 116 w 1983"/>
                <a:gd name="T27" fmla="*/ 1458 h 1751"/>
                <a:gd name="T28" fmla="*/ 175 w 1983"/>
                <a:gd name="T29" fmla="*/ 1487 h 1751"/>
                <a:gd name="T30" fmla="*/ 204 w 1983"/>
                <a:gd name="T31" fmla="*/ 1487 h 1751"/>
                <a:gd name="T32" fmla="*/ 204 w 1983"/>
                <a:gd name="T33" fmla="*/ 1750 h 1751"/>
                <a:gd name="T34" fmla="*/ 261 w 1983"/>
                <a:gd name="T35" fmla="*/ 1750 h 1751"/>
                <a:gd name="T36" fmla="*/ 1020 w 1983"/>
                <a:gd name="T37" fmla="*/ 1750 h 1751"/>
                <a:gd name="T38" fmla="*/ 1457 w 1983"/>
                <a:gd name="T39" fmla="*/ 1750 h 1751"/>
                <a:gd name="T40" fmla="*/ 1457 w 1983"/>
                <a:gd name="T41" fmla="*/ 1691 h 1751"/>
                <a:gd name="T42" fmla="*/ 1457 w 1983"/>
                <a:gd name="T43" fmla="*/ 1691 h 1751"/>
                <a:gd name="T44" fmla="*/ 1515 w 1983"/>
                <a:gd name="T45" fmla="*/ 1604 h 1751"/>
                <a:gd name="T46" fmla="*/ 1486 w 1983"/>
                <a:gd name="T47" fmla="*/ 1516 h 1751"/>
                <a:gd name="T48" fmla="*/ 1515 w 1983"/>
                <a:gd name="T49" fmla="*/ 1487 h 1751"/>
                <a:gd name="T50" fmla="*/ 1486 w 1983"/>
                <a:gd name="T51" fmla="*/ 1487 h 1751"/>
                <a:gd name="T52" fmla="*/ 1457 w 1983"/>
                <a:gd name="T53" fmla="*/ 1429 h 1751"/>
                <a:gd name="T54" fmla="*/ 1574 w 1983"/>
                <a:gd name="T55" fmla="*/ 1108 h 1751"/>
                <a:gd name="T56" fmla="*/ 1603 w 1983"/>
                <a:gd name="T57" fmla="*/ 1079 h 1751"/>
                <a:gd name="T58" fmla="*/ 1691 w 1983"/>
                <a:gd name="T59" fmla="*/ 933 h 1751"/>
                <a:gd name="T60" fmla="*/ 1720 w 1983"/>
                <a:gd name="T61" fmla="*/ 845 h 1751"/>
                <a:gd name="T62" fmla="*/ 1720 w 1983"/>
                <a:gd name="T63" fmla="*/ 845 h 1751"/>
                <a:gd name="T64" fmla="*/ 1720 w 1983"/>
                <a:gd name="T65" fmla="*/ 816 h 1751"/>
                <a:gd name="T66" fmla="*/ 1720 w 1983"/>
                <a:gd name="T67" fmla="*/ 816 h 1751"/>
                <a:gd name="T68" fmla="*/ 1720 w 1983"/>
                <a:gd name="T69" fmla="*/ 788 h 1751"/>
                <a:gd name="T70" fmla="*/ 1749 w 1983"/>
                <a:gd name="T71" fmla="*/ 758 h 1751"/>
                <a:gd name="T72" fmla="*/ 1778 w 1983"/>
                <a:gd name="T73" fmla="*/ 700 h 1751"/>
                <a:gd name="T74" fmla="*/ 1778 w 1983"/>
                <a:gd name="T75" fmla="*/ 671 h 1751"/>
                <a:gd name="T76" fmla="*/ 1778 w 1983"/>
                <a:gd name="T77" fmla="*/ 671 h 1751"/>
                <a:gd name="T78" fmla="*/ 1807 w 1983"/>
                <a:gd name="T79" fmla="*/ 671 h 1751"/>
                <a:gd name="T80" fmla="*/ 1836 w 1983"/>
                <a:gd name="T81" fmla="*/ 641 h 1751"/>
                <a:gd name="T82" fmla="*/ 1836 w 1983"/>
                <a:gd name="T83" fmla="*/ 612 h 1751"/>
                <a:gd name="T84" fmla="*/ 1836 w 1983"/>
                <a:gd name="T85" fmla="*/ 554 h 1751"/>
                <a:gd name="T86" fmla="*/ 1894 w 1983"/>
                <a:gd name="T87" fmla="*/ 466 h 1751"/>
                <a:gd name="T88" fmla="*/ 1924 w 1983"/>
                <a:gd name="T89" fmla="*/ 379 h 1751"/>
                <a:gd name="T90" fmla="*/ 1924 w 1983"/>
                <a:gd name="T91" fmla="*/ 379 h 1751"/>
                <a:gd name="T92" fmla="*/ 1953 w 1983"/>
                <a:gd name="T93" fmla="*/ 379 h 1751"/>
                <a:gd name="T94" fmla="*/ 1953 w 1983"/>
                <a:gd name="T95" fmla="*/ 321 h 1751"/>
                <a:gd name="T96" fmla="*/ 1953 w 1983"/>
                <a:gd name="T97" fmla="*/ 321 h 1751"/>
                <a:gd name="T98" fmla="*/ 1953 w 1983"/>
                <a:gd name="T99" fmla="*/ 291 h 1751"/>
                <a:gd name="T100" fmla="*/ 1982 w 1983"/>
                <a:gd name="T101" fmla="*/ 233 h 1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83" h="1751">
                  <a:moveTo>
                    <a:pt x="1982" y="233"/>
                  </a:moveTo>
                  <a:lnTo>
                    <a:pt x="1982" y="233"/>
                  </a:lnTo>
                  <a:cubicBezTo>
                    <a:pt x="1982" y="204"/>
                    <a:pt x="1982" y="204"/>
                    <a:pt x="1982" y="174"/>
                  </a:cubicBezTo>
                  <a:cubicBezTo>
                    <a:pt x="1953" y="174"/>
                    <a:pt x="1924" y="174"/>
                    <a:pt x="1865" y="174"/>
                  </a:cubicBezTo>
                  <a:cubicBezTo>
                    <a:pt x="1836" y="174"/>
                    <a:pt x="1836" y="174"/>
                    <a:pt x="1836" y="174"/>
                  </a:cubicBezTo>
                  <a:cubicBezTo>
                    <a:pt x="1807" y="174"/>
                    <a:pt x="1807" y="174"/>
                    <a:pt x="1807" y="174"/>
                  </a:cubicBezTo>
                  <a:cubicBezTo>
                    <a:pt x="1807" y="174"/>
                    <a:pt x="1778" y="145"/>
                    <a:pt x="1778" y="116"/>
                  </a:cubicBezTo>
                  <a:cubicBezTo>
                    <a:pt x="1778" y="88"/>
                    <a:pt x="1778" y="58"/>
                    <a:pt x="1778" y="58"/>
                  </a:cubicBezTo>
                  <a:cubicBezTo>
                    <a:pt x="1778" y="29"/>
                    <a:pt x="1778" y="29"/>
                    <a:pt x="1749" y="0"/>
                  </a:cubicBezTo>
                  <a:lnTo>
                    <a:pt x="1749" y="0"/>
                  </a:lnTo>
                  <a:cubicBezTo>
                    <a:pt x="1544" y="0"/>
                    <a:pt x="1341" y="0"/>
                    <a:pt x="1136" y="29"/>
                  </a:cubicBezTo>
                  <a:cubicBezTo>
                    <a:pt x="757" y="29"/>
                    <a:pt x="378" y="29"/>
                    <a:pt x="0" y="58"/>
                  </a:cubicBezTo>
                  <a:cubicBezTo>
                    <a:pt x="29" y="495"/>
                    <a:pt x="59" y="933"/>
                    <a:pt x="59" y="1458"/>
                  </a:cubicBezTo>
                  <a:cubicBezTo>
                    <a:pt x="87" y="1458"/>
                    <a:pt x="87" y="1458"/>
                    <a:pt x="116" y="1458"/>
                  </a:cubicBezTo>
                  <a:cubicBezTo>
                    <a:pt x="145" y="1487"/>
                    <a:pt x="145" y="1487"/>
                    <a:pt x="175" y="1487"/>
                  </a:cubicBezTo>
                  <a:cubicBezTo>
                    <a:pt x="204" y="1487"/>
                    <a:pt x="204" y="1487"/>
                    <a:pt x="204" y="1487"/>
                  </a:cubicBezTo>
                  <a:cubicBezTo>
                    <a:pt x="204" y="1750"/>
                    <a:pt x="204" y="1750"/>
                    <a:pt x="204" y="1750"/>
                  </a:cubicBezTo>
                  <a:cubicBezTo>
                    <a:pt x="261" y="1750"/>
                    <a:pt x="261" y="1750"/>
                    <a:pt x="261" y="1750"/>
                  </a:cubicBezTo>
                  <a:cubicBezTo>
                    <a:pt x="553" y="1750"/>
                    <a:pt x="757" y="1750"/>
                    <a:pt x="1020" y="1750"/>
                  </a:cubicBezTo>
                  <a:cubicBezTo>
                    <a:pt x="1136" y="1750"/>
                    <a:pt x="1282" y="1750"/>
                    <a:pt x="1457" y="1750"/>
                  </a:cubicBezTo>
                  <a:cubicBezTo>
                    <a:pt x="1457" y="1721"/>
                    <a:pt x="1457" y="1721"/>
                    <a:pt x="1457" y="1691"/>
                  </a:cubicBezTo>
                  <a:lnTo>
                    <a:pt x="1457" y="1691"/>
                  </a:lnTo>
                  <a:cubicBezTo>
                    <a:pt x="1486" y="1662"/>
                    <a:pt x="1486" y="1633"/>
                    <a:pt x="1515" y="1604"/>
                  </a:cubicBezTo>
                  <a:cubicBezTo>
                    <a:pt x="1486" y="1574"/>
                    <a:pt x="1486" y="1545"/>
                    <a:pt x="1486" y="1516"/>
                  </a:cubicBezTo>
                  <a:cubicBezTo>
                    <a:pt x="1486" y="1516"/>
                    <a:pt x="1515" y="1516"/>
                    <a:pt x="1515" y="1487"/>
                  </a:cubicBezTo>
                  <a:lnTo>
                    <a:pt x="1486" y="1487"/>
                  </a:lnTo>
                  <a:cubicBezTo>
                    <a:pt x="1486" y="1458"/>
                    <a:pt x="1486" y="1458"/>
                    <a:pt x="1457" y="1429"/>
                  </a:cubicBezTo>
                  <a:cubicBezTo>
                    <a:pt x="1428" y="1312"/>
                    <a:pt x="1515" y="1195"/>
                    <a:pt x="1574" y="1108"/>
                  </a:cubicBezTo>
                  <a:cubicBezTo>
                    <a:pt x="1574" y="1079"/>
                    <a:pt x="1603" y="1079"/>
                    <a:pt x="1603" y="1079"/>
                  </a:cubicBezTo>
                  <a:cubicBezTo>
                    <a:pt x="1632" y="1021"/>
                    <a:pt x="1661" y="962"/>
                    <a:pt x="1691" y="933"/>
                  </a:cubicBezTo>
                  <a:cubicBezTo>
                    <a:pt x="1691" y="904"/>
                    <a:pt x="1720" y="874"/>
                    <a:pt x="1720" y="845"/>
                  </a:cubicBezTo>
                  <a:lnTo>
                    <a:pt x="1720" y="845"/>
                  </a:lnTo>
                  <a:lnTo>
                    <a:pt x="1720" y="816"/>
                  </a:lnTo>
                  <a:lnTo>
                    <a:pt x="1720" y="816"/>
                  </a:lnTo>
                  <a:cubicBezTo>
                    <a:pt x="1720" y="788"/>
                    <a:pt x="1720" y="788"/>
                    <a:pt x="1720" y="788"/>
                  </a:cubicBezTo>
                  <a:cubicBezTo>
                    <a:pt x="1720" y="788"/>
                    <a:pt x="1749" y="788"/>
                    <a:pt x="1749" y="758"/>
                  </a:cubicBezTo>
                  <a:cubicBezTo>
                    <a:pt x="1778" y="729"/>
                    <a:pt x="1807" y="729"/>
                    <a:pt x="1778" y="700"/>
                  </a:cubicBezTo>
                  <a:cubicBezTo>
                    <a:pt x="1778" y="671"/>
                    <a:pt x="1778" y="671"/>
                    <a:pt x="1778" y="671"/>
                  </a:cubicBezTo>
                  <a:lnTo>
                    <a:pt x="1778" y="671"/>
                  </a:lnTo>
                  <a:cubicBezTo>
                    <a:pt x="1807" y="671"/>
                    <a:pt x="1807" y="671"/>
                    <a:pt x="1807" y="671"/>
                  </a:cubicBezTo>
                  <a:cubicBezTo>
                    <a:pt x="1807" y="671"/>
                    <a:pt x="1836" y="671"/>
                    <a:pt x="1836" y="641"/>
                  </a:cubicBezTo>
                  <a:lnTo>
                    <a:pt x="1836" y="612"/>
                  </a:lnTo>
                  <a:cubicBezTo>
                    <a:pt x="1836" y="583"/>
                    <a:pt x="1836" y="583"/>
                    <a:pt x="1836" y="554"/>
                  </a:cubicBezTo>
                  <a:cubicBezTo>
                    <a:pt x="1836" y="524"/>
                    <a:pt x="1865" y="495"/>
                    <a:pt x="1894" y="466"/>
                  </a:cubicBezTo>
                  <a:cubicBezTo>
                    <a:pt x="1924" y="438"/>
                    <a:pt x="1953" y="438"/>
                    <a:pt x="1924" y="379"/>
                  </a:cubicBezTo>
                  <a:lnTo>
                    <a:pt x="1924" y="379"/>
                  </a:lnTo>
                  <a:cubicBezTo>
                    <a:pt x="1953" y="379"/>
                    <a:pt x="1953" y="379"/>
                    <a:pt x="1953" y="379"/>
                  </a:cubicBezTo>
                  <a:cubicBezTo>
                    <a:pt x="1953" y="350"/>
                    <a:pt x="1953" y="350"/>
                    <a:pt x="1953" y="321"/>
                  </a:cubicBezTo>
                  <a:lnTo>
                    <a:pt x="1953" y="321"/>
                  </a:lnTo>
                  <a:cubicBezTo>
                    <a:pt x="1953" y="291"/>
                    <a:pt x="1953" y="291"/>
                    <a:pt x="1953" y="291"/>
                  </a:cubicBezTo>
                  <a:cubicBezTo>
                    <a:pt x="1982" y="291"/>
                    <a:pt x="1982" y="291"/>
                    <a:pt x="1982" y="23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8" name="Freeform 65">
              <a:extLst>
                <a:ext uri="{FF2B5EF4-FFF2-40B4-BE49-F238E27FC236}">
                  <a16:creationId xmlns:a16="http://schemas.microsoft.com/office/drawing/2014/main" id="{A1D68E81-8A16-4B27-86AC-76963A207003}"/>
                </a:ext>
              </a:extLst>
            </p:cNvPr>
            <p:cNvSpPr>
              <a:spLocks noChangeArrowheads="1"/>
            </p:cNvSpPr>
            <p:nvPr/>
          </p:nvSpPr>
          <p:spPr bwMode="auto">
            <a:xfrm>
              <a:off x="4837153" y="1145830"/>
              <a:ext cx="874133" cy="1401465"/>
            </a:xfrm>
            <a:custGeom>
              <a:avLst/>
              <a:gdLst>
                <a:gd name="T0" fmla="*/ 233 w 2363"/>
                <a:gd name="T1" fmla="*/ 2566 h 3820"/>
                <a:gd name="T2" fmla="*/ 0 w 2363"/>
                <a:gd name="T3" fmla="*/ 3352 h 3820"/>
                <a:gd name="T4" fmla="*/ 2217 w 2363"/>
                <a:gd name="T5" fmla="*/ 3352 h 3820"/>
                <a:gd name="T6" fmla="*/ 2274 w 2363"/>
                <a:gd name="T7" fmla="*/ 2653 h 3820"/>
                <a:gd name="T8" fmla="*/ 2245 w 2363"/>
                <a:gd name="T9" fmla="*/ 2624 h 3820"/>
                <a:gd name="T10" fmla="*/ 2217 w 2363"/>
                <a:gd name="T11" fmla="*/ 2566 h 3820"/>
                <a:gd name="T12" fmla="*/ 1924 w 2363"/>
                <a:gd name="T13" fmla="*/ 2536 h 3820"/>
                <a:gd name="T14" fmla="*/ 1604 w 2363"/>
                <a:gd name="T15" fmla="*/ 2362 h 3820"/>
                <a:gd name="T16" fmla="*/ 1574 w 2363"/>
                <a:gd name="T17" fmla="*/ 2245 h 3820"/>
                <a:gd name="T18" fmla="*/ 1488 w 2363"/>
                <a:gd name="T19" fmla="*/ 2157 h 3820"/>
                <a:gd name="T20" fmla="*/ 1458 w 2363"/>
                <a:gd name="T21" fmla="*/ 1924 h 3820"/>
                <a:gd name="T22" fmla="*/ 1429 w 2363"/>
                <a:gd name="T23" fmla="*/ 1836 h 3820"/>
                <a:gd name="T24" fmla="*/ 1429 w 2363"/>
                <a:gd name="T25" fmla="*/ 1778 h 3820"/>
                <a:gd name="T26" fmla="*/ 1312 w 2363"/>
                <a:gd name="T27" fmla="*/ 1836 h 3820"/>
                <a:gd name="T28" fmla="*/ 1312 w 2363"/>
                <a:gd name="T29" fmla="*/ 1836 h 3820"/>
                <a:gd name="T30" fmla="*/ 1312 w 2363"/>
                <a:gd name="T31" fmla="*/ 1691 h 3820"/>
                <a:gd name="T32" fmla="*/ 1312 w 2363"/>
                <a:gd name="T33" fmla="*/ 1574 h 3820"/>
                <a:gd name="T34" fmla="*/ 1400 w 2363"/>
                <a:gd name="T35" fmla="*/ 1457 h 3820"/>
                <a:gd name="T36" fmla="*/ 1429 w 2363"/>
                <a:gd name="T37" fmla="*/ 1370 h 3820"/>
                <a:gd name="T38" fmla="*/ 1371 w 2363"/>
                <a:gd name="T39" fmla="*/ 1253 h 3820"/>
                <a:gd name="T40" fmla="*/ 1400 w 2363"/>
                <a:gd name="T41" fmla="*/ 1166 h 3820"/>
                <a:gd name="T42" fmla="*/ 1312 w 2363"/>
                <a:gd name="T43" fmla="*/ 962 h 3820"/>
                <a:gd name="T44" fmla="*/ 1312 w 2363"/>
                <a:gd name="T45" fmla="*/ 903 h 3820"/>
                <a:gd name="T46" fmla="*/ 1312 w 2363"/>
                <a:gd name="T47" fmla="*/ 845 h 3820"/>
                <a:gd name="T48" fmla="*/ 1224 w 2363"/>
                <a:gd name="T49" fmla="*/ 757 h 3820"/>
                <a:gd name="T50" fmla="*/ 1138 w 2363"/>
                <a:gd name="T51" fmla="*/ 612 h 3820"/>
                <a:gd name="T52" fmla="*/ 1050 w 2363"/>
                <a:gd name="T53" fmla="*/ 466 h 3820"/>
                <a:gd name="T54" fmla="*/ 1079 w 2363"/>
                <a:gd name="T55" fmla="*/ 350 h 3820"/>
                <a:gd name="T56" fmla="*/ 1167 w 2363"/>
                <a:gd name="T57" fmla="*/ 57 h 3820"/>
                <a:gd name="T58" fmla="*/ 933 w 2363"/>
                <a:gd name="T59" fmla="*/ 0 h 3820"/>
                <a:gd name="T60" fmla="*/ 467 w 2363"/>
                <a:gd name="T61" fmla="*/ 1428 h 3820"/>
                <a:gd name="T62" fmla="*/ 525 w 2363"/>
                <a:gd name="T63" fmla="*/ 1545 h 3820"/>
                <a:gd name="T64" fmla="*/ 525 w 2363"/>
                <a:gd name="T65" fmla="*/ 1574 h 3820"/>
                <a:gd name="T66" fmla="*/ 641 w 2363"/>
                <a:gd name="T67" fmla="*/ 1720 h 3820"/>
                <a:gd name="T68" fmla="*/ 496 w 2363"/>
                <a:gd name="T69" fmla="*/ 1836 h 3820"/>
                <a:gd name="T70" fmla="*/ 438 w 2363"/>
                <a:gd name="T71" fmla="*/ 1924 h 3820"/>
                <a:gd name="T72" fmla="*/ 379 w 2363"/>
                <a:gd name="T73" fmla="*/ 2041 h 3820"/>
                <a:gd name="T74" fmla="*/ 321 w 2363"/>
                <a:gd name="T75" fmla="*/ 2216 h 3820"/>
                <a:gd name="T76" fmla="*/ 262 w 2363"/>
                <a:gd name="T77" fmla="*/ 2362 h 3820"/>
                <a:gd name="T78" fmla="*/ 233 w 2363"/>
                <a:gd name="T79" fmla="*/ 2507 h 3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63" h="3820">
                  <a:moveTo>
                    <a:pt x="233" y="2566"/>
                  </a:moveTo>
                  <a:lnTo>
                    <a:pt x="233" y="2566"/>
                  </a:lnTo>
                  <a:cubicBezTo>
                    <a:pt x="204" y="2653"/>
                    <a:pt x="175" y="2770"/>
                    <a:pt x="146" y="2857"/>
                  </a:cubicBezTo>
                  <a:cubicBezTo>
                    <a:pt x="88" y="3033"/>
                    <a:pt x="29" y="3206"/>
                    <a:pt x="0" y="3352"/>
                  </a:cubicBezTo>
                  <a:cubicBezTo>
                    <a:pt x="729" y="3527"/>
                    <a:pt x="1400" y="3702"/>
                    <a:pt x="2129" y="3819"/>
                  </a:cubicBezTo>
                  <a:cubicBezTo>
                    <a:pt x="2158" y="3644"/>
                    <a:pt x="2188" y="3498"/>
                    <a:pt x="2217" y="3352"/>
                  </a:cubicBezTo>
                  <a:cubicBezTo>
                    <a:pt x="2274" y="3120"/>
                    <a:pt x="2304" y="2886"/>
                    <a:pt x="2362" y="2653"/>
                  </a:cubicBezTo>
                  <a:cubicBezTo>
                    <a:pt x="2333" y="2653"/>
                    <a:pt x="2304" y="2653"/>
                    <a:pt x="2274" y="2653"/>
                  </a:cubicBezTo>
                  <a:cubicBezTo>
                    <a:pt x="2245" y="2653"/>
                    <a:pt x="2245" y="2653"/>
                    <a:pt x="2245" y="2653"/>
                  </a:cubicBezTo>
                  <a:cubicBezTo>
                    <a:pt x="2245" y="2624"/>
                    <a:pt x="2245" y="2624"/>
                    <a:pt x="2245" y="2624"/>
                  </a:cubicBezTo>
                  <a:cubicBezTo>
                    <a:pt x="2245" y="2624"/>
                    <a:pt x="2245" y="2624"/>
                    <a:pt x="2245" y="2595"/>
                  </a:cubicBezTo>
                  <a:cubicBezTo>
                    <a:pt x="2245" y="2595"/>
                    <a:pt x="2217" y="2595"/>
                    <a:pt x="2217" y="2566"/>
                  </a:cubicBezTo>
                  <a:cubicBezTo>
                    <a:pt x="2100" y="2595"/>
                    <a:pt x="2012" y="2566"/>
                    <a:pt x="1954" y="2536"/>
                  </a:cubicBezTo>
                  <a:cubicBezTo>
                    <a:pt x="1954" y="2536"/>
                    <a:pt x="1954" y="2536"/>
                    <a:pt x="1924" y="2536"/>
                  </a:cubicBezTo>
                  <a:cubicBezTo>
                    <a:pt x="1895" y="2536"/>
                    <a:pt x="1838" y="2566"/>
                    <a:pt x="1808" y="2536"/>
                  </a:cubicBezTo>
                  <a:cubicBezTo>
                    <a:pt x="1720" y="2536"/>
                    <a:pt x="1604" y="2420"/>
                    <a:pt x="1604" y="2362"/>
                  </a:cubicBezTo>
                  <a:cubicBezTo>
                    <a:pt x="1574" y="2362"/>
                    <a:pt x="1574" y="2333"/>
                    <a:pt x="1574" y="2303"/>
                  </a:cubicBezTo>
                  <a:cubicBezTo>
                    <a:pt x="1574" y="2274"/>
                    <a:pt x="1574" y="2274"/>
                    <a:pt x="1574" y="2245"/>
                  </a:cubicBezTo>
                  <a:cubicBezTo>
                    <a:pt x="1546" y="2245"/>
                    <a:pt x="1546" y="2216"/>
                    <a:pt x="1517" y="2216"/>
                  </a:cubicBezTo>
                  <a:cubicBezTo>
                    <a:pt x="1517" y="2186"/>
                    <a:pt x="1488" y="2186"/>
                    <a:pt x="1488" y="2157"/>
                  </a:cubicBezTo>
                  <a:cubicBezTo>
                    <a:pt x="1458" y="2128"/>
                    <a:pt x="1458" y="2070"/>
                    <a:pt x="1458" y="2041"/>
                  </a:cubicBezTo>
                  <a:cubicBezTo>
                    <a:pt x="1458" y="1983"/>
                    <a:pt x="1458" y="1953"/>
                    <a:pt x="1458" y="1924"/>
                  </a:cubicBezTo>
                  <a:cubicBezTo>
                    <a:pt x="1429" y="1924"/>
                    <a:pt x="1429" y="1895"/>
                    <a:pt x="1429" y="1895"/>
                  </a:cubicBezTo>
                  <a:cubicBezTo>
                    <a:pt x="1429" y="1866"/>
                    <a:pt x="1429" y="1866"/>
                    <a:pt x="1429" y="1836"/>
                  </a:cubicBezTo>
                  <a:lnTo>
                    <a:pt x="1429" y="1807"/>
                  </a:lnTo>
                  <a:cubicBezTo>
                    <a:pt x="1429" y="1778"/>
                    <a:pt x="1429" y="1778"/>
                    <a:pt x="1429" y="1778"/>
                  </a:cubicBezTo>
                  <a:cubicBezTo>
                    <a:pt x="1429" y="1778"/>
                    <a:pt x="1429" y="1778"/>
                    <a:pt x="1400" y="1778"/>
                  </a:cubicBezTo>
                  <a:cubicBezTo>
                    <a:pt x="1400" y="1807"/>
                    <a:pt x="1371" y="1836"/>
                    <a:pt x="1312" y="1836"/>
                  </a:cubicBezTo>
                  <a:lnTo>
                    <a:pt x="1312" y="1836"/>
                  </a:lnTo>
                  <a:lnTo>
                    <a:pt x="1312" y="1836"/>
                  </a:lnTo>
                  <a:cubicBezTo>
                    <a:pt x="1283" y="1807"/>
                    <a:pt x="1283" y="1749"/>
                    <a:pt x="1312" y="1720"/>
                  </a:cubicBezTo>
                  <a:cubicBezTo>
                    <a:pt x="1312" y="1720"/>
                    <a:pt x="1312" y="1720"/>
                    <a:pt x="1312" y="1691"/>
                  </a:cubicBezTo>
                  <a:cubicBezTo>
                    <a:pt x="1312" y="1662"/>
                    <a:pt x="1312" y="1662"/>
                    <a:pt x="1312" y="1633"/>
                  </a:cubicBezTo>
                  <a:cubicBezTo>
                    <a:pt x="1312" y="1603"/>
                    <a:pt x="1312" y="1603"/>
                    <a:pt x="1312" y="1574"/>
                  </a:cubicBezTo>
                  <a:cubicBezTo>
                    <a:pt x="1312" y="1516"/>
                    <a:pt x="1371" y="1486"/>
                    <a:pt x="1400" y="1457"/>
                  </a:cubicBezTo>
                  <a:lnTo>
                    <a:pt x="1400" y="1457"/>
                  </a:lnTo>
                  <a:cubicBezTo>
                    <a:pt x="1429" y="1457"/>
                    <a:pt x="1429" y="1428"/>
                    <a:pt x="1429" y="1428"/>
                  </a:cubicBezTo>
                  <a:cubicBezTo>
                    <a:pt x="1429" y="1399"/>
                    <a:pt x="1429" y="1399"/>
                    <a:pt x="1429" y="1370"/>
                  </a:cubicBezTo>
                  <a:cubicBezTo>
                    <a:pt x="1429" y="1341"/>
                    <a:pt x="1429" y="1341"/>
                    <a:pt x="1400" y="1312"/>
                  </a:cubicBezTo>
                  <a:cubicBezTo>
                    <a:pt x="1400" y="1283"/>
                    <a:pt x="1371" y="1283"/>
                    <a:pt x="1371" y="1253"/>
                  </a:cubicBezTo>
                  <a:cubicBezTo>
                    <a:pt x="1371" y="1224"/>
                    <a:pt x="1371" y="1195"/>
                    <a:pt x="1400" y="1166"/>
                  </a:cubicBezTo>
                  <a:lnTo>
                    <a:pt x="1400" y="1166"/>
                  </a:lnTo>
                  <a:cubicBezTo>
                    <a:pt x="1400" y="1136"/>
                    <a:pt x="1400" y="1136"/>
                    <a:pt x="1400" y="1136"/>
                  </a:cubicBezTo>
                  <a:cubicBezTo>
                    <a:pt x="1341" y="1107"/>
                    <a:pt x="1312" y="1049"/>
                    <a:pt x="1312" y="962"/>
                  </a:cubicBezTo>
                  <a:cubicBezTo>
                    <a:pt x="1312" y="962"/>
                    <a:pt x="1312" y="962"/>
                    <a:pt x="1312" y="933"/>
                  </a:cubicBezTo>
                  <a:cubicBezTo>
                    <a:pt x="1312" y="933"/>
                    <a:pt x="1312" y="933"/>
                    <a:pt x="1312" y="903"/>
                  </a:cubicBezTo>
                  <a:cubicBezTo>
                    <a:pt x="1312" y="903"/>
                    <a:pt x="1312" y="903"/>
                    <a:pt x="1312" y="874"/>
                  </a:cubicBezTo>
                  <a:cubicBezTo>
                    <a:pt x="1312" y="874"/>
                    <a:pt x="1312" y="874"/>
                    <a:pt x="1312" y="845"/>
                  </a:cubicBezTo>
                  <a:cubicBezTo>
                    <a:pt x="1283" y="845"/>
                    <a:pt x="1254" y="845"/>
                    <a:pt x="1254" y="816"/>
                  </a:cubicBezTo>
                  <a:cubicBezTo>
                    <a:pt x="1224" y="816"/>
                    <a:pt x="1224" y="786"/>
                    <a:pt x="1224" y="757"/>
                  </a:cubicBezTo>
                  <a:cubicBezTo>
                    <a:pt x="1196" y="728"/>
                    <a:pt x="1196" y="700"/>
                    <a:pt x="1167" y="641"/>
                  </a:cubicBezTo>
                  <a:cubicBezTo>
                    <a:pt x="1167" y="641"/>
                    <a:pt x="1138" y="641"/>
                    <a:pt x="1138" y="612"/>
                  </a:cubicBezTo>
                  <a:lnTo>
                    <a:pt x="1138" y="583"/>
                  </a:lnTo>
                  <a:cubicBezTo>
                    <a:pt x="1108" y="553"/>
                    <a:pt x="1050" y="495"/>
                    <a:pt x="1050" y="466"/>
                  </a:cubicBezTo>
                  <a:cubicBezTo>
                    <a:pt x="1050" y="436"/>
                    <a:pt x="1079" y="407"/>
                    <a:pt x="1079" y="378"/>
                  </a:cubicBezTo>
                  <a:lnTo>
                    <a:pt x="1079" y="350"/>
                  </a:lnTo>
                  <a:cubicBezTo>
                    <a:pt x="1108" y="320"/>
                    <a:pt x="1108" y="291"/>
                    <a:pt x="1108" y="233"/>
                  </a:cubicBezTo>
                  <a:cubicBezTo>
                    <a:pt x="1138" y="174"/>
                    <a:pt x="1138" y="116"/>
                    <a:pt x="1167" y="57"/>
                  </a:cubicBezTo>
                  <a:cubicBezTo>
                    <a:pt x="1138" y="57"/>
                    <a:pt x="1079" y="28"/>
                    <a:pt x="1050" y="28"/>
                  </a:cubicBezTo>
                  <a:cubicBezTo>
                    <a:pt x="991" y="28"/>
                    <a:pt x="962" y="0"/>
                    <a:pt x="933" y="0"/>
                  </a:cubicBezTo>
                  <a:cubicBezTo>
                    <a:pt x="817" y="320"/>
                    <a:pt x="700" y="670"/>
                    <a:pt x="612" y="991"/>
                  </a:cubicBezTo>
                  <a:cubicBezTo>
                    <a:pt x="554" y="1136"/>
                    <a:pt x="525" y="1283"/>
                    <a:pt x="467" y="1428"/>
                  </a:cubicBezTo>
                  <a:cubicBezTo>
                    <a:pt x="467" y="1457"/>
                    <a:pt x="496" y="1457"/>
                    <a:pt x="496" y="1486"/>
                  </a:cubicBezTo>
                  <a:cubicBezTo>
                    <a:pt x="525" y="1516"/>
                    <a:pt x="525" y="1516"/>
                    <a:pt x="525" y="1545"/>
                  </a:cubicBezTo>
                  <a:cubicBezTo>
                    <a:pt x="525" y="1545"/>
                    <a:pt x="525" y="1545"/>
                    <a:pt x="525" y="1574"/>
                  </a:cubicBezTo>
                  <a:lnTo>
                    <a:pt x="525" y="1574"/>
                  </a:lnTo>
                  <a:cubicBezTo>
                    <a:pt x="554" y="1603"/>
                    <a:pt x="554" y="1603"/>
                    <a:pt x="583" y="1633"/>
                  </a:cubicBezTo>
                  <a:cubicBezTo>
                    <a:pt x="612" y="1662"/>
                    <a:pt x="641" y="1691"/>
                    <a:pt x="641" y="1720"/>
                  </a:cubicBezTo>
                  <a:cubicBezTo>
                    <a:pt x="641" y="1749"/>
                    <a:pt x="612" y="1778"/>
                    <a:pt x="554" y="1807"/>
                  </a:cubicBezTo>
                  <a:cubicBezTo>
                    <a:pt x="525" y="1836"/>
                    <a:pt x="496" y="1836"/>
                    <a:pt x="496" y="1836"/>
                  </a:cubicBezTo>
                  <a:cubicBezTo>
                    <a:pt x="467" y="1866"/>
                    <a:pt x="467" y="1866"/>
                    <a:pt x="438" y="1866"/>
                  </a:cubicBezTo>
                  <a:cubicBezTo>
                    <a:pt x="438" y="1895"/>
                    <a:pt x="438" y="1895"/>
                    <a:pt x="438" y="1924"/>
                  </a:cubicBezTo>
                  <a:cubicBezTo>
                    <a:pt x="408" y="1953"/>
                    <a:pt x="408" y="1983"/>
                    <a:pt x="408" y="2012"/>
                  </a:cubicBezTo>
                  <a:cubicBezTo>
                    <a:pt x="379" y="2012"/>
                    <a:pt x="379" y="2041"/>
                    <a:pt x="379" y="2041"/>
                  </a:cubicBezTo>
                  <a:cubicBezTo>
                    <a:pt x="350" y="2099"/>
                    <a:pt x="350" y="2128"/>
                    <a:pt x="321" y="2186"/>
                  </a:cubicBezTo>
                  <a:cubicBezTo>
                    <a:pt x="321" y="2216"/>
                    <a:pt x="321" y="2216"/>
                    <a:pt x="321" y="2216"/>
                  </a:cubicBezTo>
                  <a:lnTo>
                    <a:pt x="321" y="2216"/>
                  </a:lnTo>
                  <a:cubicBezTo>
                    <a:pt x="291" y="2245"/>
                    <a:pt x="262" y="2303"/>
                    <a:pt x="262" y="2362"/>
                  </a:cubicBezTo>
                  <a:cubicBezTo>
                    <a:pt x="262" y="2362"/>
                    <a:pt x="233" y="2362"/>
                    <a:pt x="233" y="2391"/>
                  </a:cubicBezTo>
                  <a:cubicBezTo>
                    <a:pt x="262" y="2420"/>
                    <a:pt x="262" y="2478"/>
                    <a:pt x="233" y="2507"/>
                  </a:cubicBezTo>
                  <a:cubicBezTo>
                    <a:pt x="233" y="2536"/>
                    <a:pt x="233" y="2536"/>
                    <a:pt x="233" y="256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9" name="Freeform 66">
              <a:extLst>
                <a:ext uri="{FF2B5EF4-FFF2-40B4-BE49-F238E27FC236}">
                  <a16:creationId xmlns:a16="http://schemas.microsoft.com/office/drawing/2014/main" id="{5D8B6442-6DBE-4978-A49D-FE387EDF1D89}"/>
                </a:ext>
              </a:extLst>
            </p:cNvPr>
            <p:cNvSpPr>
              <a:spLocks noChangeArrowheads="1"/>
            </p:cNvSpPr>
            <p:nvPr/>
          </p:nvSpPr>
          <p:spPr bwMode="auto">
            <a:xfrm>
              <a:off x="4243526" y="2280273"/>
              <a:ext cx="949152" cy="1422503"/>
            </a:xfrm>
            <a:custGeom>
              <a:avLst/>
              <a:gdLst>
                <a:gd name="T0" fmla="*/ 1808 w 2567"/>
                <a:gd name="T1" fmla="*/ 3265 h 3878"/>
                <a:gd name="T2" fmla="*/ 1808 w 2567"/>
                <a:gd name="T3" fmla="*/ 3265 h 3878"/>
                <a:gd name="T4" fmla="*/ 1895 w 2567"/>
                <a:gd name="T5" fmla="*/ 3294 h 3878"/>
                <a:gd name="T6" fmla="*/ 1895 w 2567"/>
                <a:gd name="T7" fmla="*/ 3294 h 3878"/>
                <a:gd name="T8" fmla="*/ 1895 w 2567"/>
                <a:gd name="T9" fmla="*/ 3294 h 3878"/>
                <a:gd name="T10" fmla="*/ 1954 w 2567"/>
                <a:gd name="T11" fmla="*/ 3382 h 3878"/>
                <a:gd name="T12" fmla="*/ 2566 w 2567"/>
                <a:gd name="T13" fmla="*/ 553 h 3878"/>
                <a:gd name="T14" fmla="*/ 962 w 2567"/>
                <a:gd name="T15" fmla="*/ 144 h 3878"/>
                <a:gd name="T16" fmla="*/ 409 w 2567"/>
                <a:gd name="T17" fmla="*/ 0 h 3878"/>
                <a:gd name="T18" fmla="*/ 29 w 2567"/>
                <a:gd name="T19" fmla="*/ 1224 h 3878"/>
                <a:gd name="T20" fmla="*/ 59 w 2567"/>
                <a:gd name="T21" fmla="*/ 1224 h 3878"/>
                <a:gd name="T22" fmla="*/ 87 w 2567"/>
                <a:gd name="T23" fmla="*/ 1253 h 3878"/>
                <a:gd name="T24" fmla="*/ 87 w 2567"/>
                <a:gd name="T25" fmla="*/ 1253 h 3878"/>
                <a:gd name="T26" fmla="*/ 87 w 2567"/>
                <a:gd name="T27" fmla="*/ 1253 h 3878"/>
                <a:gd name="T28" fmla="*/ 0 w 2567"/>
                <a:gd name="T29" fmla="*/ 1457 h 3878"/>
                <a:gd name="T30" fmla="*/ 787 w 2567"/>
                <a:gd name="T31" fmla="*/ 2682 h 3878"/>
                <a:gd name="T32" fmla="*/ 933 w 2567"/>
                <a:gd name="T33" fmla="*/ 2915 h 3878"/>
                <a:gd name="T34" fmla="*/ 1195 w 2567"/>
                <a:gd name="T35" fmla="*/ 3294 h 3878"/>
                <a:gd name="T36" fmla="*/ 1342 w 2567"/>
                <a:gd name="T37" fmla="*/ 3527 h 3878"/>
                <a:gd name="T38" fmla="*/ 1604 w 2567"/>
                <a:gd name="T39" fmla="*/ 3877 h 3878"/>
                <a:gd name="T40" fmla="*/ 1604 w 2567"/>
                <a:gd name="T41" fmla="*/ 3732 h 3878"/>
                <a:gd name="T42" fmla="*/ 1575 w 2567"/>
                <a:gd name="T43" fmla="*/ 3615 h 3878"/>
                <a:gd name="T44" fmla="*/ 1604 w 2567"/>
                <a:gd name="T45" fmla="*/ 3527 h 3878"/>
                <a:gd name="T46" fmla="*/ 1633 w 2567"/>
                <a:gd name="T47" fmla="*/ 3470 h 3878"/>
                <a:gd name="T48" fmla="*/ 1633 w 2567"/>
                <a:gd name="T49" fmla="*/ 3441 h 3878"/>
                <a:gd name="T50" fmla="*/ 1633 w 2567"/>
                <a:gd name="T51" fmla="*/ 3382 h 3878"/>
                <a:gd name="T52" fmla="*/ 1808 w 2567"/>
                <a:gd name="T53" fmla="*/ 3265 h 3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67" h="3878">
                  <a:moveTo>
                    <a:pt x="1808" y="3265"/>
                  </a:moveTo>
                  <a:lnTo>
                    <a:pt x="1808" y="3265"/>
                  </a:lnTo>
                  <a:cubicBezTo>
                    <a:pt x="1837" y="3265"/>
                    <a:pt x="1866" y="3265"/>
                    <a:pt x="1895" y="3294"/>
                  </a:cubicBezTo>
                  <a:lnTo>
                    <a:pt x="1895" y="3294"/>
                  </a:lnTo>
                  <a:lnTo>
                    <a:pt x="1895" y="3294"/>
                  </a:lnTo>
                  <a:cubicBezTo>
                    <a:pt x="1925" y="3323"/>
                    <a:pt x="1925" y="3353"/>
                    <a:pt x="1954" y="3382"/>
                  </a:cubicBezTo>
                  <a:cubicBezTo>
                    <a:pt x="2187" y="2274"/>
                    <a:pt x="2392" y="1370"/>
                    <a:pt x="2566" y="553"/>
                  </a:cubicBezTo>
                  <a:cubicBezTo>
                    <a:pt x="2042" y="436"/>
                    <a:pt x="1487" y="291"/>
                    <a:pt x="962" y="144"/>
                  </a:cubicBezTo>
                  <a:cubicBezTo>
                    <a:pt x="787" y="86"/>
                    <a:pt x="583" y="57"/>
                    <a:pt x="409" y="0"/>
                  </a:cubicBezTo>
                  <a:cubicBezTo>
                    <a:pt x="292" y="407"/>
                    <a:pt x="175" y="786"/>
                    <a:pt x="29" y="1224"/>
                  </a:cubicBezTo>
                  <a:lnTo>
                    <a:pt x="59" y="1224"/>
                  </a:lnTo>
                  <a:cubicBezTo>
                    <a:pt x="59" y="1224"/>
                    <a:pt x="87" y="1224"/>
                    <a:pt x="87" y="1253"/>
                  </a:cubicBezTo>
                  <a:lnTo>
                    <a:pt x="87" y="1253"/>
                  </a:lnTo>
                  <a:lnTo>
                    <a:pt x="87" y="1253"/>
                  </a:lnTo>
                  <a:cubicBezTo>
                    <a:pt x="29" y="1311"/>
                    <a:pt x="0" y="1399"/>
                    <a:pt x="0" y="1457"/>
                  </a:cubicBezTo>
                  <a:cubicBezTo>
                    <a:pt x="292" y="1894"/>
                    <a:pt x="554" y="2303"/>
                    <a:pt x="787" y="2682"/>
                  </a:cubicBezTo>
                  <a:cubicBezTo>
                    <a:pt x="845" y="2741"/>
                    <a:pt x="904" y="2827"/>
                    <a:pt x="933" y="2915"/>
                  </a:cubicBezTo>
                  <a:cubicBezTo>
                    <a:pt x="1021" y="3032"/>
                    <a:pt x="1108" y="3177"/>
                    <a:pt x="1195" y="3294"/>
                  </a:cubicBezTo>
                  <a:cubicBezTo>
                    <a:pt x="1254" y="3382"/>
                    <a:pt x="1312" y="3441"/>
                    <a:pt x="1342" y="3527"/>
                  </a:cubicBezTo>
                  <a:cubicBezTo>
                    <a:pt x="1429" y="3644"/>
                    <a:pt x="1516" y="3761"/>
                    <a:pt x="1604" y="3877"/>
                  </a:cubicBezTo>
                  <a:cubicBezTo>
                    <a:pt x="1633" y="3848"/>
                    <a:pt x="1604" y="3791"/>
                    <a:pt x="1604" y="3732"/>
                  </a:cubicBezTo>
                  <a:cubicBezTo>
                    <a:pt x="1575" y="3703"/>
                    <a:pt x="1575" y="3674"/>
                    <a:pt x="1575" y="3615"/>
                  </a:cubicBezTo>
                  <a:cubicBezTo>
                    <a:pt x="1575" y="3586"/>
                    <a:pt x="1604" y="3557"/>
                    <a:pt x="1604" y="3527"/>
                  </a:cubicBezTo>
                  <a:cubicBezTo>
                    <a:pt x="1633" y="3527"/>
                    <a:pt x="1633" y="3498"/>
                    <a:pt x="1633" y="3470"/>
                  </a:cubicBezTo>
                  <a:lnTo>
                    <a:pt x="1633" y="3441"/>
                  </a:lnTo>
                  <a:cubicBezTo>
                    <a:pt x="1633" y="3411"/>
                    <a:pt x="1633" y="3411"/>
                    <a:pt x="1633" y="3382"/>
                  </a:cubicBezTo>
                  <a:cubicBezTo>
                    <a:pt x="1662" y="3294"/>
                    <a:pt x="1721" y="3265"/>
                    <a:pt x="1808" y="326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30" name="Freeform 67">
              <a:extLst>
                <a:ext uri="{FF2B5EF4-FFF2-40B4-BE49-F238E27FC236}">
                  <a16:creationId xmlns:a16="http://schemas.microsoft.com/office/drawing/2014/main" id="{13BC150C-03D2-45CC-A412-62CC51EC5C6F}"/>
                </a:ext>
              </a:extLst>
            </p:cNvPr>
            <p:cNvSpPr>
              <a:spLocks noChangeArrowheads="1"/>
            </p:cNvSpPr>
            <p:nvPr/>
          </p:nvSpPr>
          <p:spPr bwMode="auto">
            <a:xfrm>
              <a:off x="8676164" y="3222135"/>
              <a:ext cx="1056788" cy="524336"/>
            </a:xfrm>
            <a:custGeom>
              <a:avLst/>
              <a:gdLst>
                <a:gd name="T0" fmla="*/ 495 w 2858"/>
                <a:gd name="T1" fmla="*/ 1342 h 1430"/>
                <a:gd name="T2" fmla="*/ 2128 w 2858"/>
                <a:gd name="T3" fmla="*/ 1226 h 1430"/>
                <a:gd name="T4" fmla="*/ 2333 w 2858"/>
                <a:gd name="T5" fmla="*/ 1196 h 1430"/>
                <a:gd name="T6" fmla="*/ 2391 w 2858"/>
                <a:gd name="T7" fmla="*/ 1109 h 1430"/>
                <a:gd name="T8" fmla="*/ 2537 w 2858"/>
                <a:gd name="T9" fmla="*/ 992 h 1430"/>
                <a:gd name="T10" fmla="*/ 2566 w 2858"/>
                <a:gd name="T11" fmla="*/ 933 h 1430"/>
                <a:gd name="T12" fmla="*/ 2741 w 2858"/>
                <a:gd name="T13" fmla="*/ 758 h 1430"/>
                <a:gd name="T14" fmla="*/ 2828 w 2858"/>
                <a:gd name="T15" fmla="*/ 671 h 1430"/>
                <a:gd name="T16" fmla="*/ 2857 w 2858"/>
                <a:gd name="T17" fmla="*/ 555 h 1430"/>
                <a:gd name="T18" fmla="*/ 2799 w 2858"/>
                <a:gd name="T19" fmla="*/ 496 h 1430"/>
                <a:gd name="T20" fmla="*/ 2771 w 2858"/>
                <a:gd name="T21" fmla="*/ 467 h 1430"/>
                <a:gd name="T22" fmla="*/ 2741 w 2858"/>
                <a:gd name="T23" fmla="*/ 262 h 1430"/>
                <a:gd name="T24" fmla="*/ 2507 w 2858"/>
                <a:gd name="T25" fmla="*/ 117 h 1430"/>
                <a:gd name="T26" fmla="*/ 2421 w 2858"/>
                <a:gd name="T27" fmla="*/ 176 h 1430"/>
                <a:gd name="T28" fmla="*/ 2391 w 2858"/>
                <a:gd name="T29" fmla="*/ 146 h 1430"/>
                <a:gd name="T30" fmla="*/ 2304 w 2858"/>
                <a:gd name="T31" fmla="*/ 146 h 1430"/>
                <a:gd name="T32" fmla="*/ 2187 w 2858"/>
                <a:gd name="T33" fmla="*/ 117 h 1430"/>
                <a:gd name="T34" fmla="*/ 2041 w 2858"/>
                <a:gd name="T35" fmla="*/ 88 h 1430"/>
                <a:gd name="T36" fmla="*/ 1866 w 2858"/>
                <a:gd name="T37" fmla="*/ 29 h 1430"/>
                <a:gd name="T38" fmla="*/ 1778 w 2858"/>
                <a:gd name="T39" fmla="*/ 29 h 1430"/>
                <a:gd name="T40" fmla="*/ 1691 w 2858"/>
                <a:gd name="T41" fmla="*/ 205 h 1430"/>
                <a:gd name="T42" fmla="*/ 1487 w 2858"/>
                <a:gd name="T43" fmla="*/ 496 h 1430"/>
                <a:gd name="T44" fmla="*/ 1341 w 2858"/>
                <a:gd name="T45" fmla="*/ 642 h 1430"/>
                <a:gd name="T46" fmla="*/ 1254 w 2858"/>
                <a:gd name="T47" fmla="*/ 583 h 1430"/>
                <a:gd name="T48" fmla="*/ 1195 w 2858"/>
                <a:gd name="T49" fmla="*/ 583 h 1430"/>
                <a:gd name="T50" fmla="*/ 1078 w 2858"/>
                <a:gd name="T51" fmla="*/ 700 h 1430"/>
                <a:gd name="T52" fmla="*/ 1050 w 2858"/>
                <a:gd name="T53" fmla="*/ 671 h 1430"/>
                <a:gd name="T54" fmla="*/ 962 w 2858"/>
                <a:gd name="T55" fmla="*/ 729 h 1430"/>
                <a:gd name="T56" fmla="*/ 787 w 2858"/>
                <a:gd name="T57" fmla="*/ 700 h 1430"/>
                <a:gd name="T58" fmla="*/ 729 w 2858"/>
                <a:gd name="T59" fmla="*/ 729 h 1430"/>
                <a:gd name="T60" fmla="*/ 671 w 2858"/>
                <a:gd name="T61" fmla="*/ 729 h 1430"/>
                <a:gd name="T62" fmla="*/ 495 w 2858"/>
                <a:gd name="T63" fmla="*/ 1021 h 1430"/>
                <a:gd name="T64" fmla="*/ 466 w 2858"/>
                <a:gd name="T65" fmla="*/ 1050 h 1430"/>
                <a:gd name="T66" fmla="*/ 321 w 2858"/>
                <a:gd name="T67" fmla="*/ 1138 h 1430"/>
                <a:gd name="T68" fmla="*/ 204 w 2858"/>
                <a:gd name="T69" fmla="*/ 1109 h 1430"/>
                <a:gd name="T70" fmla="*/ 145 w 2858"/>
                <a:gd name="T71" fmla="*/ 1226 h 1430"/>
                <a:gd name="T72" fmla="*/ 0 w 2858"/>
                <a:gd name="T73" fmla="*/ 1429 h 1430"/>
                <a:gd name="T74" fmla="*/ 350 w 2858"/>
                <a:gd name="T75" fmla="*/ 1400 h 1430"/>
                <a:gd name="T76" fmla="*/ 495 w 2858"/>
                <a:gd name="T77" fmla="*/ 1400 h 1430"/>
                <a:gd name="T78" fmla="*/ 495 w 2858"/>
                <a:gd name="T79" fmla="*/ 1342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58" h="1430">
                  <a:moveTo>
                    <a:pt x="495" y="1342"/>
                  </a:moveTo>
                  <a:lnTo>
                    <a:pt x="495" y="1342"/>
                  </a:lnTo>
                  <a:lnTo>
                    <a:pt x="495" y="1342"/>
                  </a:lnTo>
                  <a:cubicBezTo>
                    <a:pt x="1078" y="1312"/>
                    <a:pt x="1691" y="1254"/>
                    <a:pt x="2128" y="1226"/>
                  </a:cubicBezTo>
                  <a:cubicBezTo>
                    <a:pt x="2157" y="1196"/>
                    <a:pt x="2187" y="1196"/>
                    <a:pt x="2187" y="1196"/>
                  </a:cubicBezTo>
                  <a:cubicBezTo>
                    <a:pt x="2245" y="1196"/>
                    <a:pt x="2304" y="1196"/>
                    <a:pt x="2333" y="1196"/>
                  </a:cubicBezTo>
                  <a:cubicBezTo>
                    <a:pt x="2333" y="1196"/>
                    <a:pt x="2333" y="1167"/>
                    <a:pt x="2362" y="1167"/>
                  </a:cubicBezTo>
                  <a:cubicBezTo>
                    <a:pt x="2362" y="1138"/>
                    <a:pt x="2362" y="1138"/>
                    <a:pt x="2391" y="1109"/>
                  </a:cubicBezTo>
                  <a:cubicBezTo>
                    <a:pt x="2391" y="1109"/>
                    <a:pt x="2421" y="1079"/>
                    <a:pt x="2449" y="1050"/>
                  </a:cubicBezTo>
                  <a:cubicBezTo>
                    <a:pt x="2478" y="1050"/>
                    <a:pt x="2537" y="1021"/>
                    <a:pt x="2537" y="992"/>
                  </a:cubicBezTo>
                  <a:cubicBezTo>
                    <a:pt x="2537" y="933"/>
                    <a:pt x="2537" y="933"/>
                    <a:pt x="2537" y="933"/>
                  </a:cubicBezTo>
                  <a:cubicBezTo>
                    <a:pt x="2566" y="933"/>
                    <a:pt x="2566" y="933"/>
                    <a:pt x="2566" y="933"/>
                  </a:cubicBezTo>
                  <a:cubicBezTo>
                    <a:pt x="2595" y="933"/>
                    <a:pt x="2595" y="933"/>
                    <a:pt x="2595" y="933"/>
                  </a:cubicBezTo>
                  <a:cubicBezTo>
                    <a:pt x="2624" y="846"/>
                    <a:pt x="2683" y="788"/>
                    <a:pt x="2741" y="758"/>
                  </a:cubicBezTo>
                  <a:lnTo>
                    <a:pt x="2771" y="729"/>
                  </a:lnTo>
                  <a:cubicBezTo>
                    <a:pt x="2799" y="729"/>
                    <a:pt x="2828" y="700"/>
                    <a:pt x="2828" y="671"/>
                  </a:cubicBezTo>
                  <a:cubicBezTo>
                    <a:pt x="2857" y="671"/>
                    <a:pt x="2857" y="612"/>
                    <a:pt x="2857" y="583"/>
                  </a:cubicBezTo>
                  <a:lnTo>
                    <a:pt x="2857" y="555"/>
                  </a:lnTo>
                  <a:cubicBezTo>
                    <a:pt x="2828" y="555"/>
                    <a:pt x="2799" y="526"/>
                    <a:pt x="2799" y="496"/>
                  </a:cubicBezTo>
                  <a:lnTo>
                    <a:pt x="2799" y="496"/>
                  </a:lnTo>
                  <a:lnTo>
                    <a:pt x="2771" y="496"/>
                  </a:lnTo>
                  <a:cubicBezTo>
                    <a:pt x="2771" y="467"/>
                    <a:pt x="2771" y="467"/>
                    <a:pt x="2771" y="467"/>
                  </a:cubicBezTo>
                  <a:cubicBezTo>
                    <a:pt x="2741" y="467"/>
                    <a:pt x="2741" y="467"/>
                    <a:pt x="2741" y="467"/>
                  </a:cubicBezTo>
                  <a:cubicBezTo>
                    <a:pt x="2741" y="409"/>
                    <a:pt x="2712" y="321"/>
                    <a:pt x="2741" y="262"/>
                  </a:cubicBezTo>
                  <a:cubicBezTo>
                    <a:pt x="2683" y="262"/>
                    <a:pt x="2624" y="205"/>
                    <a:pt x="2595" y="176"/>
                  </a:cubicBezTo>
                  <a:cubicBezTo>
                    <a:pt x="2566" y="146"/>
                    <a:pt x="2537" y="146"/>
                    <a:pt x="2507" y="117"/>
                  </a:cubicBezTo>
                  <a:cubicBezTo>
                    <a:pt x="2507" y="117"/>
                    <a:pt x="2507" y="117"/>
                    <a:pt x="2478" y="146"/>
                  </a:cubicBezTo>
                  <a:cubicBezTo>
                    <a:pt x="2478" y="146"/>
                    <a:pt x="2449" y="176"/>
                    <a:pt x="2421" y="176"/>
                  </a:cubicBezTo>
                  <a:lnTo>
                    <a:pt x="2421" y="176"/>
                  </a:lnTo>
                  <a:lnTo>
                    <a:pt x="2391" y="146"/>
                  </a:lnTo>
                  <a:cubicBezTo>
                    <a:pt x="2362" y="146"/>
                    <a:pt x="2362" y="146"/>
                    <a:pt x="2333" y="146"/>
                  </a:cubicBezTo>
                  <a:lnTo>
                    <a:pt x="2304" y="146"/>
                  </a:lnTo>
                  <a:cubicBezTo>
                    <a:pt x="2274" y="146"/>
                    <a:pt x="2274" y="176"/>
                    <a:pt x="2245" y="146"/>
                  </a:cubicBezTo>
                  <a:cubicBezTo>
                    <a:pt x="2216" y="146"/>
                    <a:pt x="2216" y="146"/>
                    <a:pt x="2187" y="117"/>
                  </a:cubicBezTo>
                  <a:cubicBezTo>
                    <a:pt x="2187" y="117"/>
                    <a:pt x="2187" y="117"/>
                    <a:pt x="2157" y="117"/>
                  </a:cubicBezTo>
                  <a:cubicBezTo>
                    <a:pt x="2128" y="88"/>
                    <a:pt x="2099" y="88"/>
                    <a:pt x="2041" y="88"/>
                  </a:cubicBezTo>
                  <a:cubicBezTo>
                    <a:pt x="2012" y="88"/>
                    <a:pt x="1983" y="88"/>
                    <a:pt x="1954" y="59"/>
                  </a:cubicBezTo>
                  <a:cubicBezTo>
                    <a:pt x="1924" y="59"/>
                    <a:pt x="1895" y="59"/>
                    <a:pt x="1866" y="29"/>
                  </a:cubicBezTo>
                  <a:cubicBezTo>
                    <a:pt x="1837" y="29"/>
                    <a:pt x="1807" y="0"/>
                    <a:pt x="1778" y="29"/>
                  </a:cubicBezTo>
                  <a:lnTo>
                    <a:pt x="1778" y="29"/>
                  </a:lnTo>
                  <a:cubicBezTo>
                    <a:pt x="1778" y="88"/>
                    <a:pt x="1750" y="176"/>
                    <a:pt x="1721" y="205"/>
                  </a:cubicBezTo>
                  <a:cubicBezTo>
                    <a:pt x="1691" y="205"/>
                    <a:pt x="1691" y="205"/>
                    <a:pt x="1691" y="205"/>
                  </a:cubicBezTo>
                  <a:cubicBezTo>
                    <a:pt x="1633" y="205"/>
                    <a:pt x="1604" y="233"/>
                    <a:pt x="1574" y="292"/>
                  </a:cubicBezTo>
                  <a:cubicBezTo>
                    <a:pt x="1574" y="379"/>
                    <a:pt x="1545" y="438"/>
                    <a:pt x="1487" y="496"/>
                  </a:cubicBezTo>
                  <a:cubicBezTo>
                    <a:pt x="1487" y="496"/>
                    <a:pt x="1487" y="496"/>
                    <a:pt x="1487" y="526"/>
                  </a:cubicBezTo>
                  <a:cubicBezTo>
                    <a:pt x="1428" y="612"/>
                    <a:pt x="1371" y="642"/>
                    <a:pt x="1341" y="642"/>
                  </a:cubicBezTo>
                  <a:lnTo>
                    <a:pt x="1341" y="642"/>
                  </a:lnTo>
                  <a:cubicBezTo>
                    <a:pt x="1283" y="642"/>
                    <a:pt x="1254" y="612"/>
                    <a:pt x="1254" y="583"/>
                  </a:cubicBezTo>
                  <a:cubicBezTo>
                    <a:pt x="1224" y="555"/>
                    <a:pt x="1224" y="555"/>
                    <a:pt x="1195" y="555"/>
                  </a:cubicBezTo>
                  <a:lnTo>
                    <a:pt x="1195" y="583"/>
                  </a:lnTo>
                  <a:cubicBezTo>
                    <a:pt x="1195" y="642"/>
                    <a:pt x="1166" y="700"/>
                    <a:pt x="1107" y="700"/>
                  </a:cubicBezTo>
                  <a:cubicBezTo>
                    <a:pt x="1078" y="700"/>
                    <a:pt x="1078" y="700"/>
                    <a:pt x="1078" y="700"/>
                  </a:cubicBezTo>
                  <a:lnTo>
                    <a:pt x="1078" y="700"/>
                  </a:lnTo>
                  <a:lnTo>
                    <a:pt x="1050" y="671"/>
                  </a:lnTo>
                  <a:cubicBezTo>
                    <a:pt x="1021" y="671"/>
                    <a:pt x="1021" y="700"/>
                    <a:pt x="1021" y="700"/>
                  </a:cubicBezTo>
                  <a:cubicBezTo>
                    <a:pt x="991" y="700"/>
                    <a:pt x="991" y="729"/>
                    <a:pt x="962" y="729"/>
                  </a:cubicBezTo>
                  <a:cubicBezTo>
                    <a:pt x="904" y="729"/>
                    <a:pt x="874" y="729"/>
                    <a:pt x="845" y="700"/>
                  </a:cubicBezTo>
                  <a:cubicBezTo>
                    <a:pt x="816" y="700"/>
                    <a:pt x="816" y="700"/>
                    <a:pt x="787" y="700"/>
                  </a:cubicBezTo>
                  <a:cubicBezTo>
                    <a:pt x="787" y="700"/>
                    <a:pt x="787" y="700"/>
                    <a:pt x="757" y="700"/>
                  </a:cubicBezTo>
                  <a:lnTo>
                    <a:pt x="729" y="729"/>
                  </a:lnTo>
                  <a:cubicBezTo>
                    <a:pt x="700" y="729"/>
                    <a:pt x="700" y="729"/>
                    <a:pt x="700" y="729"/>
                  </a:cubicBezTo>
                  <a:lnTo>
                    <a:pt x="671" y="729"/>
                  </a:lnTo>
                  <a:cubicBezTo>
                    <a:pt x="671" y="758"/>
                    <a:pt x="641" y="817"/>
                    <a:pt x="554" y="817"/>
                  </a:cubicBezTo>
                  <a:cubicBezTo>
                    <a:pt x="554" y="905"/>
                    <a:pt x="524" y="962"/>
                    <a:pt x="495" y="1021"/>
                  </a:cubicBezTo>
                  <a:cubicBezTo>
                    <a:pt x="495" y="1050"/>
                    <a:pt x="495" y="1050"/>
                    <a:pt x="495" y="1050"/>
                  </a:cubicBezTo>
                  <a:cubicBezTo>
                    <a:pt x="466" y="1050"/>
                    <a:pt x="466" y="1050"/>
                    <a:pt x="466" y="1050"/>
                  </a:cubicBezTo>
                  <a:cubicBezTo>
                    <a:pt x="437" y="1050"/>
                    <a:pt x="437" y="1050"/>
                    <a:pt x="407" y="1079"/>
                  </a:cubicBezTo>
                  <a:cubicBezTo>
                    <a:pt x="407" y="1109"/>
                    <a:pt x="379" y="1138"/>
                    <a:pt x="321" y="1138"/>
                  </a:cubicBezTo>
                  <a:cubicBezTo>
                    <a:pt x="291" y="1167"/>
                    <a:pt x="291" y="1138"/>
                    <a:pt x="262" y="1138"/>
                  </a:cubicBezTo>
                  <a:cubicBezTo>
                    <a:pt x="233" y="1138"/>
                    <a:pt x="233" y="1109"/>
                    <a:pt x="204" y="1109"/>
                  </a:cubicBezTo>
                  <a:cubicBezTo>
                    <a:pt x="204" y="1138"/>
                    <a:pt x="174" y="1138"/>
                    <a:pt x="174" y="1167"/>
                  </a:cubicBezTo>
                  <a:cubicBezTo>
                    <a:pt x="174" y="1196"/>
                    <a:pt x="174" y="1196"/>
                    <a:pt x="145" y="1226"/>
                  </a:cubicBezTo>
                  <a:cubicBezTo>
                    <a:pt x="174" y="1254"/>
                    <a:pt x="174" y="1312"/>
                    <a:pt x="174" y="1342"/>
                  </a:cubicBezTo>
                  <a:cubicBezTo>
                    <a:pt x="145" y="1400"/>
                    <a:pt x="87" y="1429"/>
                    <a:pt x="0" y="1429"/>
                  </a:cubicBezTo>
                  <a:lnTo>
                    <a:pt x="0" y="1429"/>
                  </a:lnTo>
                  <a:cubicBezTo>
                    <a:pt x="116" y="1429"/>
                    <a:pt x="233" y="1429"/>
                    <a:pt x="350" y="1400"/>
                  </a:cubicBezTo>
                  <a:cubicBezTo>
                    <a:pt x="407" y="1400"/>
                    <a:pt x="437" y="1400"/>
                    <a:pt x="495" y="1400"/>
                  </a:cubicBezTo>
                  <a:lnTo>
                    <a:pt x="495" y="1400"/>
                  </a:lnTo>
                  <a:cubicBezTo>
                    <a:pt x="495" y="1371"/>
                    <a:pt x="466" y="1371"/>
                    <a:pt x="466" y="1342"/>
                  </a:cubicBezTo>
                  <a:lnTo>
                    <a:pt x="495" y="134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31" name="Freeform 68">
              <a:extLst>
                <a:ext uri="{FF2B5EF4-FFF2-40B4-BE49-F238E27FC236}">
                  <a16:creationId xmlns:a16="http://schemas.microsoft.com/office/drawing/2014/main" id="{ECF27E52-7BB6-46D2-BB57-7EF393EBBC16}"/>
                </a:ext>
              </a:extLst>
            </p:cNvPr>
            <p:cNvSpPr>
              <a:spLocks noChangeArrowheads="1"/>
            </p:cNvSpPr>
            <p:nvPr/>
          </p:nvSpPr>
          <p:spPr bwMode="auto">
            <a:xfrm>
              <a:off x="10704935" y="1820670"/>
              <a:ext cx="238103" cy="440183"/>
            </a:xfrm>
            <a:custGeom>
              <a:avLst/>
              <a:gdLst>
                <a:gd name="T0" fmla="*/ 583 w 642"/>
                <a:gd name="T1" fmla="*/ 30 h 1198"/>
                <a:gd name="T2" fmla="*/ 583 w 642"/>
                <a:gd name="T3" fmla="*/ 30 h 1198"/>
                <a:gd name="T4" fmla="*/ 583 w 642"/>
                <a:gd name="T5" fmla="*/ 0 h 1198"/>
                <a:gd name="T6" fmla="*/ 116 w 642"/>
                <a:gd name="T7" fmla="*/ 147 h 1198"/>
                <a:gd name="T8" fmla="*/ 0 w 642"/>
                <a:gd name="T9" fmla="*/ 176 h 1198"/>
                <a:gd name="T10" fmla="*/ 29 w 642"/>
                <a:gd name="T11" fmla="*/ 350 h 1198"/>
                <a:gd name="T12" fmla="*/ 57 w 642"/>
                <a:gd name="T13" fmla="*/ 380 h 1198"/>
                <a:gd name="T14" fmla="*/ 87 w 642"/>
                <a:gd name="T15" fmla="*/ 467 h 1198"/>
                <a:gd name="T16" fmla="*/ 87 w 642"/>
                <a:gd name="T17" fmla="*/ 584 h 1198"/>
                <a:gd name="T18" fmla="*/ 87 w 642"/>
                <a:gd name="T19" fmla="*/ 642 h 1198"/>
                <a:gd name="T20" fmla="*/ 116 w 642"/>
                <a:gd name="T21" fmla="*/ 700 h 1198"/>
                <a:gd name="T22" fmla="*/ 145 w 642"/>
                <a:gd name="T23" fmla="*/ 817 h 1198"/>
                <a:gd name="T24" fmla="*/ 145 w 642"/>
                <a:gd name="T25" fmla="*/ 817 h 1198"/>
                <a:gd name="T26" fmla="*/ 145 w 642"/>
                <a:gd name="T27" fmla="*/ 817 h 1198"/>
                <a:gd name="T28" fmla="*/ 174 w 642"/>
                <a:gd name="T29" fmla="*/ 817 h 1198"/>
                <a:gd name="T30" fmla="*/ 174 w 642"/>
                <a:gd name="T31" fmla="*/ 847 h 1198"/>
                <a:gd name="T32" fmla="*/ 262 w 642"/>
                <a:gd name="T33" fmla="*/ 1080 h 1198"/>
                <a:gd name="T34" fmla="*/ 291 w 642"/>
                <a:gd name="T35" fmla="*/ 1197 h 1198"/>
                <a:gd name="T36" fmla="*/ 437 w 642"/>
                <a:gd name="T37" fmla="*/ 1167 h 1198"/>
                <a:gd name="T38" fmla="*/ 524 w 642"/>
                <a:gd name="T39" fmla="*/ 1138 h 1198"/>
                <a:gd name="T40" fmla="*/ 554 w 642"/>
                <a:gd name="T41" fmla="*/ 1080 h 1198"/>
                <a:gd name="T42" fmla="*/ 554 w 642"/>
                <a:gd name="T43" fmla="*/ 1021 h 1198"/>
                <a:gd name="T44" fmla="*/ 524 w 642"/>
                <a:gd name="T45" fmla="*/ 992 h 1198"/>
                <a:gd name="T46" fmla="*/ 524 w 642"/>
                <a:gd name="T47" fmla="*/ 963 h 1198"/>
                <a:gd name="T48" fmla="*/ 524 w 642"/>
                <a:gd name="T49" fmla="*/ 905 h 1198"/>
                <a:gd name="T50" fmla="*/ 524 w 642"/>
                <a:gd name="T51" fmla="*/ 876 h 1198"/>
                <a:gd name="T52" fmla="*/ 524 w 642"/>
                <a:gd name="T53" fmla="*/ 847 h 1198"/>
                <a:gd name="T54" fmla="*/ 495 w 642"/>
                <a:gd name="T55" fmla="*/ 788 h 1198"/>
                <a:gd name="T56" fmla="*/ 524 w 642"/>
                <a:gd name="T57" fmla="*/ 700 h 1198"/>
                <a:gd name="T58" fmla="*/ 524 w 642"/>
                <a:gd name="T59" fmla="*/ 642 h 1198"/>
                <a:gd name="T60" fmla="*/ 524 w 642"/>
                <a:gd name="T61" fmla="*/ 613 h 1198"/>
                <a:gd name="T62" fmla="*/ 524 w 642"/>
                <a:gd name="T63" fmla="*/ 555 h 1198"/>
                <a:gd name="T64" fmla="*/ 524 w 642"/>
                <a:gd name="T65" fmla="*/ 526 h 1198"/>
                <a:gd name="T66" fmla="*/ 554 w 642"/>
                <a:gd name="T67" fmla="*/ 497 h 1198"/>
                <a:gd name="T68" fmla="*/ 524 w 642"/>
                <a:gd name="T69" fmla="*/ 467 h 1198"/>
                <a:gd name="T70" fmla="*/ 524 w 642"/>
                <a:gd name="T71" fmla="*/ 350 h 1198"/>
                <a:gd name="T72" fmla="*/ 583 w 642"/>
                <a:gd name="T73" fmla="*/ 350 h 1198"/>
                <a:gd name="T74" fmla="*/ 612 w 642"/>
                <a:gd name="T75" fmla="*/ 292 h 1198"/>
                <a:gd name="T76" fmla="*/ 641 w 642"/>
                <a:gd name="T77" fmla="*/ 234 h 1198"/>
                <a:gd name="T78" fmla="*/ 612 w 642"/>
                <a:gd name="T79" fmla="*/ 176 h 1198"/>
                <a:gd name="T80" fmla="*/ 612 w 642"/>
                <a:gd name="T81" fmla="*/ 88 h 1198"/>
                <a:gd name="T82" fmla="*/ 583 w 642"/>
                <a:gd name="T83" fmla="*/ 30 h 1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2" h="1198">
                  <a:moveTo>
                    <a:pt x="583" y="30"/>
                  </a:moveTo>
                  <a:lnTo>
                    <a:pt x="583" y="30"/>
                  </a:lnTo>
                  <a:cubicBezTo>
                    <a:pt x="583" y="30"/>
                    <a:pt x="583" y="30"/>
                    <a:pt x="583" y="0"/>
                  </a:cubicBezTo>
                  <a:cubicBezTo>
                    <a:pt x="437" y="59"/>
                    <a:pt x="262" y="88"/>
                    <a:pt x="116" y="147"/>
                  </a:cubicBezTo>
                  <a:cubicBezTo>
                    <a:pt x="87" y="147"/>
                    <a:pt x="29" y="176"/>
                    <a:pt x="0" y="176"/>
                  </a:cubicBezTo>
                  <a:cubicBezTo>
                    <a:pt x="0" y="263"/>
                    <a:pt x="0" y="292"/>
                    <a:pt x="29" y="350"/>
                  </a:cubicBezTo>
                  <a:cubicBezTo>
                    <a:pt x="29" y="380"/>
                    <a:pt x="29" y="380"/>
                    <a:pt x="57" y="380"/>
                  </a:cubicBezTo>
                  <a:cubicBezTo>
                    <a:pt x="57" y="409"/>
                    <a:pt x="87" y="438"/>
                    <a:pt x="87" y="467"/>
                  </a:cubicBezTo>
                  <a:cubicBezTo>
                    <a:pt x="87" y="526"/>
                    <a:pt x="87" y="555"/>
                    <a:pt x="87" y="584"/>
                  </a:cubicBezTo>
                  <a:cubicBezTo>
                    <a:pt x="87" y="613"/>
                    <a:pt x="57" y="613"/>
                    <a:pt x="87" y="642"/>
                  </a:cubicBezTo>
                  <a:cubicBezTo>
                    <a:pt x="87" y="671"/>
                    <a:pt x="87" y="700"/>
                    <a:pt x="116" y="700"/>
                  </a:cubicBezTo>
                  <a:cubicBezTo>
                    <a:pt x="116" y="730"/>
                    <a:pt x="145" y="788"/>
                    <a:pt x="145" y="817"/>
                  </a:cubicBezTo>
                  <a:lnTo>
                    <a:pt x="145" y="817"/>
                  </a:lnTo>
                  <a:lnTo>
                    <a:pt x="145" y="817"/>
                  </a:lnTo>
                  <a:cubicBezTo>
                    <a:pt x="174" y="817"/>
                    <a:pt x="174" y="817"/>
                    <a:pt x="174" y="817"/>
                  </a:cubicBezTo>
                  <a:cubicBezTo>
                    <a:pt x="174" y="847"/>
                    <a:pt x="174" y="847"/>
                    <a:pt x="174" y="847"/>
                  </a:cubicBezTo>
                  <a:cubicBezTo>
                    <a:pt x="233" y="905"/>
                    <a:pt x="233" y="992"/>
                    <a:pt x="262" y="1080"/>
                  </a:cubicBezTo>
                  <a:cubicBezTo>
                    <a:pt x="262" y="1138"/>
                    <a:pt x="262" y="1167"/>
                    <a:pt x="291" y="1197"/>
                  </a:cubicBezTo>
                  <a:cubicBezTo>
                    <a:pt x="321" y="1197"/>
                    <a:pt x="379" y="1197"/>
                    <a:pt x="437" y="1167"/>
                  </a:cubicBezTo>
                  <a:cubicBezTo>
                    <a:pt x="466" y="1167"/>
                    <a:pt x="495" y="1167"/>
                    <a:pt x="524" y="1138"/>
                  </a:cubicBezTo>
                  <a:cubicBezTo>
                    <a:pt x="524" y="1138"/>
                    <a:pt x="524" y="1109"/>
                    <a:pt x="554" y="1080"/>
                  </a:cubicBezTo>
                  <a:cubicBezTo>
                    <a:pt x="554" y="1080"/>
                    <a:pt x="554" y="1050"/>
                    <a:pt x="554" y="1021"/>
                  </a:cubicBezTo>
                  <a:cubicBezTo>
                    <a:pt x="554" y="1021"/>
                    <a:pt x="554" y="992"/>
                    <a:pt x="524" y="992"/>
                  </a:cubicBezTo>
                  <a:lnTo>
                    <a:pt x="524" y="963"/>
                  </a:lnTo>
                  <a:cubicBezTo>
                    <a:pt x="524" y="934"/>
                    <a:pt x="524" y="934"/>
                    <a:pt x="524" y="905"/>
                  </a:cubicBezTo>
                  <a:lnTo>
                    <a:pt x="524" y="876"/>
                  </a:lnTo>
                  <a:cubicBezTo>
                    <a:pt x="524" y="847"/>
                    <a:pt x="524" y="847"/>
                    <a:pt x="524" y="847"/>
                  </a:cubicBezTo>
                  <a:cubicBezTo>
                    <a:pt x="495" y="847"/>
                    <a:pt x="495" y="817"/>
                    <a:pt x="495" y="788"/>
                  </a:cubicBezTo>
                  <a:cubicBezTo>
                    <a:pt x="495" y="759"/>
                    <a:pt x="524" y="730"/>
                    <a:pt x="524" y="700"/>
                  </a:cubicBezTo>
                  <a:cubicBezTo>
                    <a:pt x="524" y="700"/>
                    <a:pt x="524" y="671"/>
                    <a:pt x="524" y="642"/>
                  </a:cubicBezTo>
                  <a:lnTo>
                    <a:pt x="524" y="613"/>
                  </a:lnTo>
                  <a:cubicBezTo>
                    <a:pt x="524" y="584"/>
                    <a:pt x="524" y="555"/>
                    <a:pt x="524" y="555"/>
                  </a:cubicBezTo>
                  <a:cubicBezTo>
                    <a:pt x="524" y="526"/>
                    <a:pt x="524" y="526"/>
                    <a:pt x="524" y="526"/>
                  </a:cubicBezTo>
                  <a:cubicBezTo>
                    <a:pt x="524" y="497"/>
                    <a:pt x="554" y="497"/>
                    <a:pt x="554" y="497"/>
                  </a:cubicBezTo>
                  <a:lnTo>
                    <a:pt x="524" y="467"/>
                  </a:lnTo>
                  <a:cubicBezTo>
                    <a:pt x="524" y="409"/>
                    <a:pt x="524" y="380"/>
                    <a:pt x="524" y="350"/>
                  </a:cubicBezTo>
                  <a:cubicBezTo>
                    <a:pt x="554" y="350"/>
                    <a:pt x="554" y="350"/>
                    <a:pt x="583" y="350"/>
                  </a:cubicBezTo>
                  <a:cubicBezTo>
                    <a:pt x="583" y="321"/>
                    <a:pt x="612" y="321"/>
                    <a:pt x="612" y="292"/>
                  </a:cubicBezTo>
                  <a:cubicBezTo>
                    <a:pt x="641" y="263"/>
                    <a:pt x="641" y="263"/>
                    <a:pt x="641" y="234"/>
                  </a:cubicBezTo>
                  <a:cubicBezTo>
                    <a:pt x="641" y="205"/>
                    <a:pt x="641" y="205"/>
                    <a:pt x="612" y="176"/>
                  </a:cubicBezTo>
                  <a:cubicBezTo>
                    <a:pt x="612" y="147"/>
                    <a:pt x="583" y="117"/>
                    <a:pt x="612" y="88"/>
                  </a:cubicBezTo>
                  <a:cubicBezTo>
                    <a:pt x="583" y="59"/>
                    <a:pt x="583" y="59"/>
                    <a:pt x="583"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32" name="Freeform 69">
              <a:extLst>
                <a:ext uri="{FF2B5EF4-FFF2-40B4-BE49-F238E27FC236}">
                  <a16:creationId xmlns:a16="http://schemas.microsoft.com/office/drawing/2014/main" id="{E4F751BE-FF6F-4787-AA99-8BBD45D220B6}"/>
                </a:ext>
              </a:extLst>
            </p:cNvPr>
            <p:cNvSpPr>
              <a:spLocks noChangeArrowheads="1"/>
            </p:cNvSpPr>
            <p:nvPr/>
          </p:nvSpPr>
          <p:spPr bwMode="auto">
            <a:xfrm>
              <a:off x="10672318" y="3210806"/>
              <a:ext cx="11415" cy="1619"/>
            </a:xfrm>
            <a:custGeom>
              <a:avLst/>
              <a:gdLst>
                <a:gd name="T0" fmla="*/ 29 w 30"/>
                <a:gd name="T1" fmla="*/ 0 h 1"/>
                <a:gd name="T2" fmla="*/ 29 w 30"/>
                <a:gd name="T3" fmla="*/ 0 h 1"/>
                <a:gd name="T4" fmla="*/ 0 w 30"/>
                <a:gd name="T5" fmla="*/ 0 h 1"/>
                <a:gd name="T6" fmla="*/ 0 w 30"/>
                <a:gd name="T7" fmla="*/ 0 h 1"/>
                <a:gd name="T8" fmla="*/ 29 w 30"/>
                <a:gd name="T9" fmla="*/ 0 h 1"/>
              </a:gdLst>
              <a:ahLst/>
              <a:cxnLst>
                <a:cxn ang="0">
                  <a:pos x="T0" y="T1"/>
                </a:cxn>
                <a:cxn ang="0">
                  <a:pos x="T2" y="T3"/>
                </a:cxn>
                <a:cxn ang="0">
                  <a:pos x="T4" y="T5"/>
                </a:cxn>
                <a:cxn ang="0">
                  <a:pos x="T6" y="T7"/>
                </a:cxn>
                <a:cxn ang="0">
                  <a:pos x="T8" y="T9"/>
                </a:cxn>
              </a:cxnLst>
              <a:rect l="0" t="0" r="r" b="b"/>
              <a:pathLst>
                <a:path w="30" h="1">
                  <a:moveTo>
                    <a:pt x="29" y="0"/>
                  </a:moveTo>
                  <a:lnTo>
                    <a:pt x="29" y="0"/>
                  </a:lnTo>
                  <a:cubicBezTo>
                    <a:pt x="29" y="0"/>
                    <a:pt x="29" y="0"/>
                    <a:pt x="0" y="0"/>
                  </a:cubicBezTo>
                  <a:lnTo>
                    <a:pt x="0" y="0"/>
                  </a:lnTo>
                  <a:cubicBezTo>
                    <a:pt x="29"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33" name="Freeform 70">
              <a:extLst>
                <a:ext uri="{FF2B5EF4-FFF2-40B4-BE49-F238E27FC236}">
                  <a16:creationId xmlns:a16="http://schemas.microsoft.com/office/drawing/2014/main" id="{F3FBE546-9D9A-459D-B621-6DD7FE78FB04}"/>
                </a:ext>
              </a:extLst>
            </p:cNvPr>
            <p:cNvSpPr>
              <a:spLocks noChangeArrowheads="1"/>
            </p:cNvSpPr>
            <p:nvPr/>
          </p:nvSpPr>
          <p:spPr bwMode="auto">
            <a:xfrm>
              <a:off x="6639237" y="3639662"/>
              <a:ext cx="1273691" cy="663511"/>
            </a:xfrm>
            <a:custGeom>
              <a:avLst/>
              <a:gdLst>
                <a:gd name="T0" fmla="*/ 2536 w 3442"/>
                <a:gd name="T1" fmla="*/ 1662 h 1809"/>
                <a:gd name="T2" fmla="*/ 2566 w 3442"/>
                <a:gd name="T3" fmla="*/ 1662 h 1809"/>
                <a:gd name="T4" fmla="*/ 2653 w 3442"/>
                <a:gd name="T5" fmla="*/ 1691 h 1809"/>
                <a:gd name="T6" fmla="*/ 2712 w 3442"/>
                <a:gd name="T7" fmla="*/ 1750 h 1809"/>
                <a:gd name="T8" fmla="*/ 2712 w 3442"/>
                <a:gd name="T9" fmla="*/ 1750 h 1809"/>
                <a:gd name="T10" fmla="*/ 2916 w 3442"/>
                <a:gd name="T11" fmla="*/ 1691 h 1809"/>
                <a:gd name="T12" fmla="*/ 2974 w 3442"/>
                <a:gd name="T13" fmla="*/ 1691 h 1809"/>
                <a:gd name="T14" fmla="*/ 3003 w 3442"/>
                <a:gd name="T15" fmla="*/ 1691 h 1809"/>
                <a:gd name="T16" fmla="*/ 3120 w 3442"/>
                <a:gd name="T17" fmla="*/ 1691 h 1809"/>
                <a:gd name="T18" fmla="*/ 3178 w 3442"/>
                <a:gd name="T19" fmla="*/ 1691 h 1809"/>
                <a:gd name="T20" fmla="*/ 3441 w 3442"/>
                <a:gd name="T21" fmla="*/ 1808 h 1809"/>
                <a:gd name="T22" fmla="*/ 3441 w 3442"/>
                <a:gd name="T23" fmla="*/ 1691 h 1809"/>
                <a:gd name="T24" fmla="*/ 3412 w 3442"/>
                <a:gd name="T25" fmla="*/ 788 h 1809"/>
                <a:gd name="T26" fmla="*/ 408 w 3442"/>
                <a:gd name="T27" fmla="*/ 29 h 1809"/>
                <a:gd name="T28" fmla="*/ 379 w 3442"/>
                <a:gd name="T29" fmla="*/ 29 h 1809"/>
                <a:gd name="T30" fmla="*/ 58 w 3442"/>
                <a:gd name="T31" fmla="*/ 0 h 1809"/>
                <a:gd name="T32" fmla="*/ 0 w 3442"/>
                <a:gd name="T33" fmla="*/ 174 h 1809"/>
                <a:gd name="T34" fmla="*/ 1166 w 3442"/>
                <a:gd name="T35" fmla="*/ 291 h 1809"/>
                <a:gd name="T36" fmla="*/ 1195 w 3442"/>
                <a:gd name="T37" fmla="*/ 320 h 1809"/>
                <a:gd name="T38" fmla="*/ 1166 w 3442"/>
                <a:gd name="T39" fmla="*/ 1283 h 1809"/>
                <a:gd name="T40" fmla="*/ 1574 w 3442"/>
                <a:gd name="T41" fmla="*/ 1458 h 1809"/>
                <a:gd name="T42" fmla="*/ 1691 w 3442"/>
                <a:gd name="T43" fmla="*/ 1516 h 1809"/>
                <a:gd name="T44" fmla="*/ 1836 w 3442"/>
                <a:gd name="T45" fmla="*/ 1574 h 1809"/>
                <a:gd name="T46" fmla="*/ 1866 w 3442"/>
                <a:gd name="T47" fmla="*/ 1545 h 1809"/>
                <a:gd name="T48" fmla="*/ 2041 w 3442"/>
                <a:gd name="T49" fmla="*/ 1633 h 1809"/>
                <a:gd name="T50" fmla="*/ 2129 w 3442"/>
                <a:gd name="T51" fmla="*/ 1691 h 1809"/>
                <a:gd name="T52" fmla="*/ 2245 w 3442"/>
                <a:gd name="T53" fmla="*/ 1691 h 1809"/>
                <a:gd name="T54" fmla="*/ 2362 w 3442"/>
                <a:gd name="T55" fmla="*/ 1662 h 1809"/>
                <a:gd name="T56" fmla="*/ 2420 w 3442"/>
                <a:gd name="T57" fmla="*/ 1691 h 1809"/>
                <a:gd name="T58" fmla="*/ 2420 w 3442"/>
                <a:gd name="T59" fmla="*/ 1633 h 1809"/>
                <a:gd name="T60" fmla="*/ 2450 w 3442"/>
                <a:gd name="T61" fmla="*/ 1604 h 1809"/>
                <a:gd name="T62" fmla="*/ 2479 w 3442"/>
                <a:gd name="T63" fmla="*/ 1633 h 1809"/>
                <a:gd name="T64" fmla="*/ 2536 w 3442"/>
                <a:gd name="T65" fmla="*/ 1662 h 1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42" h="1809">
                  <a:moveTo>
                    <a:pt x="2536" y="1662"/>
                  </a:moveTo>
                  <a:lnTo>
                    <a:pt x="2536" y="1662"/>
                  </a:lnTo>
                  <a:lnTo>
                    <a:pt x="2536" y="1662"/>
                  </a:lnTo>
                  <a:cubicBezTo>
                    <a:pt x="2566" y="1662"/>
                    <a:pt x="2566" y="1662"/>
                    <a:pt x="2566" y="1662"/>
                  </a:cubicBezTo>
                  <a:cubicBezTo>
                    <a:pt x="2595" y="1662"/>
                    <a:pt x="2624" y="1662"/>
                    <a:pt x="2653" y="1662"/>
                  </a:cubicBezTo>
                  <a:cubicBezTo>
                    <a:pt x="2653" y="1691"/>
                    <a:pt x="2653" y="1691"/>
                    <a:pt x="2653" y="1691"/>
                  </a:cubicBezTo>
                  <a:cubicBezTo>
                    <a:pt x="2683" y="1691"/>
                    <a:pt x="2683" y="1721"/>
                    <a:pt x="2683" y="1721"/>
                  </a:cubicBezTo>
                  <a:cubicBezTo>
                    <a:pt x="2683" y="1750"/>
                    <a:pt x="2683" y="1750"/>
                    <a:pt x="2712" y="1750"/>
                  </a:cubicBezTo>
                  <a:lnTo>
                    <a:pt x="2712" y="1750"/>
                  </a:lnTo>
                  <a:lnTo>
                    <a:pt x="2712" y="1750"/>
                  </a:lnTo>
                  <a:cubicBezTo>
                    <a:pt x="2741" y="1750"/>
                    <a:pt x="2741" y="1721"/>
                    <a:pt x="2741" y="1721"/>
                  </a:cubicBezTo>
                  <a:cubicBezTo>
                    <a:pt x="2800" y="1721"/>
                    <a:pt x="2857" y="1691"/>
                    <a:pt x="2916" y="1691"/>
                  </a:cubicBezTo>
                  <a:lnTo>
                    <a:pt x="2945" y="1691"/>
                  </a:lnTo>
                  <a:cubicBezTo>
                    <a:pt x="2945" y="1691"/>
                    <a:pt x="2945" y="1691"/>
                    <a:pt x="2974" y="1691"/>
                  </a:cubicBezTo>
                  <a:cubicBezTo>
                    <a:pt x="2974" y="1691"/>
                    <a:pt x="2974" y="1691"/>
                    <a:pt x="3003" y="1691"/>
                  </a:cubicBezTo>
                  <a:lnTo>
                    <a:pt x="3003" y="1691"/>
                  </a:lnTo>
                  <a:lnTo>
                    <a:pt x="3003" y="1691"/>
                  </a:lnTo>
                  <a:cubicBezTo>
                    <a:pt x="3033" y="1691"/>
                    <a:pt x="3091" y="1691"/>
                    <a:pt x="3120" y="1691"/>
                  </a:cubicBezTo>
                  <a:lnTo>
                    <a:pt x="3150" y="1691"/>
                  </a:lnTo>
                  <a:cubicBezTo>
                    <a:pt x="3178" y="1691"/>
                    <a:pt x="3178" y="1691"/>
                    <a:pt x="3178" y="1691"/>
                  </a:cubicBezTo>
                  <a:cubicBezTo>
                    <a:pt x="3236" y="1691"/>
                    <a:pt x="3295" y="1721"/>
                    <a:pt x="3324" y="1750"/>
                  </a:cubicBezTo>
                  <a:cubicBezTo>
                    <a:pt x="3383" y="1779"/>
                    <a:pt x="3412" y="1808"/>
                    <a:pt x="3441" y="1808"/>
                  </a:cubicBezTo>
                  <a:cubicBezTo>
                    <a:pt x="3441" y="1808"/>
                    <a:pt x="3441" y="1750"/>
                    <a:pt x="3441" y="1721"/>
                  </a:cubicBezTo>
                  <a:lnTo>
                    <a:pt x="3441" y="1691"/>
                  </a:lnTo>
                  <a:cubicBezTo>
                    <a:pt x="3441" y="1516"/>
                    <a:pt x="3441" y="1341"/>
                    <a:pt x="3441" y="1166"/>
                  </a:cubicBezTo>
                  <a:cubicBezTo>
                    <a:pt x="3441" y="1050"/>
                    <a:pt x="3412" y="904"/>
                    <a:pt x="3412" y="788"/>
                  </a:cubicBezTo>
                  <a:cubicBezTo>
                    <a:pt x="3383" y="583"/>
                    <a:pt x="3353" y="350"/>
                    <a:pt x="3353" y="145"/>
                  </a:cubicBezTo>
                  <a:cubicBezTo>
                    <a:pt x="2420" y="116"/>
                    <a:pt x="1458" y="58"/>
                    <a:pt x="408" y="29"/>
                  </a:cubicBezTo>
                  <a:cubicBezTo>
                    <a:pt x="408" y="29"/>
                    <a:pt x="408" y="29"/>
                    <a:pt x="379" y="29"/>
                  </a:cubicBezTo>
                  <a:lnTo>
                    <a:pt x="379" y="29"/>
                  </a:lnTo>
                  <a:lnTo>
                    <a:pt x="379" y="29"/>
                  </a:lnTo>
                  <a:cubicBezTo>
                    <a:pt x="262" y="29"/>
                    <a:pt x="145" y="29"/>
                    <a:pt x="58" y="0"/>
                  </a:cubicBezTo>
                  <a:cubicBezTo>
                    <a:pt x="0" y="0"/>
                    <a:pt x="0" y="0"/>
                    <a:pt x="0" y="0"/>
                  </a:cubicBezTo>
                  <a:cubicBezTo>
                    <a:pt x="0" y="58"/>
                    <a:pt x="0" y="116"/>
                    <a:pt x="0" y="174"/>
                  </a:cubicBezTo>
                  <a:cubicBezTo>
                    <a:pt x="262" y="204"/>
                    <a:pt x="466" y="233"/>
                    <a:pt x="729" y="262"/>
                  </a:cubicBezTo>
                  <a:cubicBezTo>
                    <a:pt x="874" y="262"/>
                    <a:pt x="1020" y="262"/>
                    <a:pt x="1166" y="291"/>
                  </a:cubicBezTo>
                  <a:cubicBezTo>
                    <a:pt x="1195" y="291"/>
                    <a:pt x="1195" y="291"/>
                    <a:pt x="1195" y="291"/>
                  </a:cubicBezTo>
                  <a:cubicBezTo>
                    <a:pt x="1195" y="320"/>
                    <a:pt x="1195" y="320"/>
                    <a:pt x="1195" y="320"/>
                  </a:cubicBezTo>
                  <a:cubicBezTo>
                    <a:pt x="1195" y="495"/>
                    <a:pt x="1195" y="641"/>
                    <a:pt x="1166" y="816"/>
                  </a:cubicBezTo>
                  <a:cubicBezTo>
                    <a:pt x="1166" y="962"/>
                    <a:pt x="1166" y="1108"/>
                    <a:pt x="1166" y="1283"/>
                  </a:cubicBezTo>
                  <a:cubicBezTo>
                    <a:pt x="1195" y="1283"/>
                    <a:pt x="1253" y="1312"/>
                    <a:pt x="1283" y="1312"/>
                  </a:cubicBezTo>
                  <a:cubicBezTo>
                    <a:pt x="1400" y="1341"/>
                    <a:pt x="1516" y="1341"/>
                    <a:pt x="1574" y="1458"/>
                  </a:cubicBezTo>
                  <a:cubicBezTo>
                    <a:pt x="1574" y="1488"/>
                    <a:pt x="1603" y="1488"/>
                    <a:pt x="1633" y="1488"/>
                  </a:cubicBezTo>
                  <a:cubicBezTo>
                    <a:pt x="1662" y="1488"/>
                    <a:pt x="1691" y="1516"/>
                    <a:pt x="1691" y="1516"/>
                  </a:cubicBezTo>
                  <a:lnTo>
                    <a:pt x="1691" y="1516"/>
                  </a:lnTo>
                  <a:cubicBezTo>
                    <a:pt x="1779" y="1516"/>
                    <a:pt x="1807" y="1545"/>
                    <a:pt x="1836" y="1574"/>
                  </a:cubicBezTo>
                  <a:lnTo>
                    <a:pt x="1836" y="1574"/>
                  </a:lnTo>
                  <a:cubicBezTo>
                    <a:pt x="1836" y="1574"/>
                    <a:pt x="1836" y="1545"/>
                    <a:pt x="1866" y="1545"/>
                  </a:cubicBezTo>
                  <a:cubicBezTo>
                    <a:pt x="1866" y="1545"/>
                    <a:pt x="1895" y="1516"/>
                    <a:pt x="1924" y="1516"/>
                  </a:cubicBezTo>
                  <a:cubicBezTo>
                    <a:pt x="1983" y="1516"/>
                    <a:pt x="2012" y="1574"/>
                    <a:pt x="2041" y="1633"/>
                  </a:cubicBezTo>
                  <a:cubicBezTo>
                    <a:pt x="2041" y="1691"/>
                    <a:pt x="2070" y="1721"/>
                    <a:pt x="2100" y="1721"/>
                  </a:cubicBezTo>
                  <a:cubicBezTo>
                    <a:pt x="2100" y="1721"/>
                    <a:pt x="2129" y="1721"/>
                    <a:pt x="2129" y="1691"/>
                  </a:cubicBezTo>
                  <a:cubicBezTo>
                    <a:pt x="2157" y="1691"/>
                    <a:pt x="2157" y="1691"/>
                    <a:pt x="2186" y="1662"/>
                  </a:cubicBezTo>
                  <a:cubicBezTo>
                    <a:pt x="2216" y="1662"/>
                    <a:pt x="2245" y="1691"/>
                    <a:pt x="2245" y="1691"/>
                  </a:cubicBezTo>
                  <a:cubicBezTo>
                    <a:pt x="2274" y="1691"/>
                    <a:pt x="2274" y="1691"/>
                    <a:pt x="2303" y="1721"/>
                  </a:cubicBezTo>
                  <a:cubicBezTo>
                    <a:pt x="2303" y="1662"/>
                    <a:pt x="2333" y="1662"/>
                    <a:pt x="2362" y="1662"/>
                  </a:cubicBezTo>
                  <a:cubicBezTo>
                    <a:pt x="2391" y="1662"/>
                    <a:pt x="2391" y="1662"/>
                    <a:pt x="2420" y="1691"/>
                  </a:cubicBezTo>
                  <a:lnTo>
                    <a:pt x="2420" y="1691"/>
                  </a:lnTo>
                  <a:cubicBezTo>
                    <a:pt x="2420" y="1662"/>
                    <a:pt x="2420" y="1662"/>
                    <a:pt x="2420" y="1633"/>
                  </a:cubicBezTo>
                  <a:lnTo>
                    <a:pt x="2420" y="1633"/>
                  </a:lnTo>
                  <a:cubicBezTo>
                    <a:pt x="2450" y="1633"/>
                    <a:pt x="2450" y="1633"/>
                    <a:pt x="2450" y="1633"/>
                  </a:cubicBezTo>
                  <a:cubicBezTo>
                    <a:pt x="2450" y="1604"/>
                    <a:pt x="2450" y="1604"/>
                    <a:pt x="2450" y="1604"/>
                  </a:cubicBezTo>
                  <a:cubicBezTo>
                    <a:pt x="2479" y="1633"/>
                    <a:pt x="2479" y="1633"/>
                    <a:pt x="2479" y="1633"/>
                  </a:cubicBezTo>
                  <a:lnTo>
                    <a:pt x="2479" y="1633"/>
                  </a:lnTo>
                  <a:cubicBezTo>
                    <a:pt x="2507" y="1633"/>
                    <a:pt x="2507" y="1633"/>
                    <a:pt x="2536" y="1633"/>
                  </a:cubicBezTo>
                  <a:cubicBezTo>
                    <a:pt x="2536" y="1662"/>
                    <a:pt x="2536" y="1662"/>
                    <a:pt x="2536" y="166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34" name="Freeform 71">
              <a:extLst>
                <a:ext uri="{FF2B5EF4-FFF2-40B4-BE49-F238E27FC236}">
                  <a16:creationId xmlns:a16="http://schemas.microsoft.com/office/drawing/2014/main" id="{28AEF0EA-988D-443B-B82C-7FF6852EF02D}"/>
                </a:ext>
              </a:extLst>
            </p:cNvPr>
            <p:cNvSpPr>
              <a:spLocks noChangeArrowheads="1"/>
            </p:cNvSpPr>
            <p:nvPr/>
          </p:nvSpPr>
          <p:spPr bwMode="auto">
            <a:xfrm>
              <a:off x="9398628" y="2322349"/>
              <a:ext cx="21202" cy="32366"/>
            </a:xfrm>
            <a:custGeom>
              <a:avLst/>
              <a:gdLst>
                <a:gd name="T0" fmla="*/ 58 w 59"/>
                <a:gd name="T1" fmla="*/ 0 h 89"/>
                <a:gd name="T2" fmla="*/ 58 w 59"/>
                <a:gd name="T3" fmla="*/ 0 h 89"/>
                <a:gd name="T4" fmla="*/ 29 w 59"/>
                <a:gd name="T5" fmla="*/ 59 h 89"/>
                <a:gd name="T6" fmla="*/ 0 w 59"/>
                <a:gd name="T7" fmla="*/ 88 h 89"/>
                <a:gd name="T8" fmla="*/ 29 w 59"/>
                <a:gd name="T9" fmla="*/ 59 h 89"/>
                <a:gd name="T10" fmla="*/ 58 w 59"/>
                <a:gd name="T11" fmla="*/ 0 h 89"/>
              </a:gdLst>
              <a:ahLst/>
              <a:cxnLst>
                <a:cxn ang="0">
                  <a:pos x="T0" y="T1"/>
                </a:cxn>
                <a:cxn ang="0">
                  <a:pos x="T2" y="T3"/>
                </a:cxn>
                <a:cxn ang="0">
                  <a:pos x="T4" y="T5"/>
                </a:cxn>
                <a:cxn ang="0">
                  <a:pos x="T6" y="T7"/>
                </a:cxn>
                <a:cxn ang="0">
                  <a:pos x="T8" y="T9"/>
                </a:cxn>
                <a:cxn ang="0">
                  <a:pos x="T10" y="T11"/>
                </a:cxn>
              </a:cxnLst>
              <a:rect l="0" t="0" r="r" b="b"/>
              <a:pathLst>
                <a:path w="59" h="89">
                  <a:moveTo>
                    <a:pt x="58" y="0"/>
                  </a:moveTo>
                  <a:lnTo>
                    <a:pt x="58" y="0"/>
                  </a:lnTo>
                  <a:cubicBezTo>
                    <a:pt x="58" y="29"/>
                    <a:pt x="29" y="59"/>
                    <a:pt x="29" y="59"/>
                  </a:cubicBezTo>
                  <a:cubicBezTo>
                    <a:pt x="0" y="88"/>
                    <a:pt x="0" y="88"/>
                    <a:pt x="0" y="88"/>
                  </a:cubicBezTo>
                  <a:cubicBezTo>
                    <a:pt x="0" y="88"/>
                    <a:pt x="0" y="88"/>
                    <a:pt x="29" y="59"/>
                  </a:cubicBezTo>
                  <a:cubicBezTo>
                    <a:pt x="29" y="59"/>
                    <a:pt x="58" y="29"/>
                    <a:pt x="5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35" name="Freeform 72">
              <a:extLst>
                <a:ext uri="{FF2B5EF4-FFF2-40B4-BE49-F238E27FC236}">
                  <a16:creationId xmlns:a16="http://schemas.microsoft.com/office/drawing/2014/main" id="{365F46E7-8AC4-413F-8870-1537AFA70F67}"/>
                </a:ext>
              </a:extLst>
            </p:cNvPr>
            <p:cNvSpPr>
              <a:spLocks noChangeArrowheads="1"/>
            </p:cNvSpPr>
            <p:nvPr/>
          </p:nvSpPr>
          <p:spPr bwMode="auto">
            <a:xfrm>
              <a:off x="9388843" y="2108731"/>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36" name="Freeform 73">
              <a:extLst>
                <a:ext uri="{FF2B5EF4-FFF2-40B4-BE49-F238E27FC236}">
                  <a16:creationId xmlns:a16="http://schemas.microsoft.com/office/drawing/2014/main" id="{D74E7A79-772F-4B45-B421-ECE41536AEC7}"/>
                </a:ext>
              </a:extLst>
            </p:cNvPr>
            <p:cNvSpPr>
              <a:spLocks noChangeArrowheads="1"/>
            </p:cNvSpPr>
            <p:nvPr/>
          </p:nvSpPr>
          <p:spPr bwMode="auto">
            <a:xfrm>
              <a:off x="9421459" y="2312639"/>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37" name="Freeform 74">
              <a:extLst>
                <a:ext uri="{FF2B5EF4-FFF2-40B4-BE49-F238E27FC236}">
                  <a16:creationId xmlns:a16="http://schemas.microsoft.com/office/drawing/2014/main" id="{5E8E987D-ED6B-4EBB-B443-E222C0A7B687}"/>
                </a:ext>
              </a:extLst>
            </p:cNvPr>
            <p:cNvSpPr>
              <a:spLocks noChangeArrowheads="1"/>
            </p:cNvSpPr>
            <p:nvPr/>
          </p:nvSpPr>
          <p:spPr bwMode="auto">
            <a:xfrm>
              <a:off x="9506263" y="2730166"/>
              <a:ext cx="53818" cy="1618"/>
            </a:xfrm>
            <a:custGeom>
              <a:avLst/>
              <a:gdLst>
                <a:gd name="T0" fmla="*/ 0 w 147"/>
                <a:gd name="T1" fmla="*/ 0 h 1"/>
                <a:gd name="T2" fmla="*/ 0 w 147"/>
                <a:gd name="T3" fmla="*/ 0 h 1"/>
                <a:gd name="T4" fmla="*/ 88 w 147"/>
                <a:gd name="T5" fmla="*/ 0 h 1"/>
                <a:gd name="T6" fmla="*/ 146 w 147"/>
                <a:gd name="T7" fmla="*/ 0 h 1"/>
                <a:gd name="T8" fmla="*/ 88 w 147"/>
                <a:gd name="T9" fmla="*/ 0 h 1"/>
                <a:gd name="T10" fmla="*/ 0 w 147"/>
                <a:gd name="T11" fmla="*/ 0 h 1"/>
              </a:gdLst>
              <a:ahLst/>
              <a:cxnLst>
                <a:cxn ang="0">
                  <a:pos x="T0" y="T1"/>
                </a:cxn>
                <a:cxn ang="0">
                  <a:pos x="T2" y="T3"/>
                </a:cxn>
                <a:cxn ang="0">
                  <a:pos x="T4" y="T5"/>
                </a:cxn>
                <a:cxn ang="0">
                  <a:pos x="T6" y="T7"/>
                </a:cxn>
                <a:cxn ang="0">
                  <a:pos x="T8" y="T9"/>
                </a:cxn>
                <a:cxn ang="0">
                  <a:pos x="T10" y="T11"/>
                </a:cxn>
              </a:cxnLst>
              <a:rect l="0" t="0" r="r" b="b"/>
              <a:pathLst>
                <a:path w="147" h="1">
                  <a:moveTo>
                    <a:pt x="0" y="0"/>
                  </a:moveTo>
                  <a:lnTo>
                    <a:pt x="0" y="0"/>
                  </a:lnTo>
                  <a:cubicBezTo>
                    <a:pt x="29" y="0"/>
                    <a:pt x="59" y="0"/>
                    <a:pt x="88" y="0"/>
                  </a:cubicBezTo>
                  <a:cubicBezTo>
                    <a:pt x="117" y="0"/>
                    <a:pt x="146" y="0"/>
                    <a:pt x="146" y="0"/>
                  </a:cubicBezTo>
                  <a:cubicBezTo>
                    <a:pt x="146" y="0"/>
                    <a:pt x="117" y="0"/>
                    <a:pt x="88" y="0"/>
                  </a:cubicBezTo>
                  <a:cubicBezTo>
                    <a:pt x="5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38" name="Freeform 75">
              <a:extLst>
                <a:ext uri="{FF2B5EF4-FFF2-40B4-BE49-F238E27FC236}">
                  <a16:creationId xmlns:a16="http://schemas.microsoft.com/office/drawing/2014/main" id="{44582A6C-185D-4EF8-BF32-DB8F0CD12DD4}"/>
                </a:ext>
              </a:extLst>
            </p:cNvPr>
            <p:cNvSpPr>
              <a:spLocks noChangeArrowheads="1"/>
            </p:cNvSpPr>
            <p:nvPr/>
          </p:nvSpPr>
          <p:spPr bwMode="auto">
            <a:xfrm>
              <a:off x="9959638" y="1895113"/>
              <a:ext cx="874133" cy="737954"/>
            </a:xfrm>
            <a:custGeom>
              <a:avLst/>
              <a:gdLst>
                <a:gd name="T0" fmla="*/ 992 w 2364"/>
                <a:gd name="T1" fmla="*/ 1107 h 2012"/>
                <a:gd name="T2" fmla="*/ 904 w 2364"/>
                <a:gd name="T3" fmla="*/ 1165 h 2012"/>
                <a:gd name="T4" fmla="*/ 875 w 2364"/>
                <a:gd name="T5" fmla="*/ 1165 h 2012"/>
                <a:gd name="T6" fmla="*/ 758 w 2364"/>
                <a:gd name="T7" fmla="*/ 1165 h 2012"/>
                <a:gd name="T8" fmla="*/ 700 w 2364"/>
                <a:gd name="T9" fmla="*/ 1224 h 2012"/>
                <a:gd name="T10" fmla="*/ 642 w 2364"/>
                <a:gd name="T11" fmla="*/ 1194 h 2012"/>
                <a:gd name="T12" fmla="*/ 467 w 2364"/>
                <a:gd name="T13" fmla="*/ 1194 h 2012"/>
                <a:gd name="T14" fmla="*/ 379 w 2364"/>
                <a:gd name="T15" fmla="*/ 1194 h 2012"/>
                <a:gd name="T16" fmla="*/ 204 w 2364"/>
                <a:gd name="T17" fmla="*/ 1370 h 2012"/>
                <a:gd name="T18" fmla="*/ 263 w 2364"/>
                <a:gd name="T19" fmla="*/ 1399 h 2012"/>
                <a:gd name="T20" fmla="*/ 263 w 2364"/>
                <a:gd name="T21" fmla="*/ 1544 h 2012"/>
                <a:gd name="T22" fmla="*/ 234 w 2364"/>
                <a:gd name="T23" fmla="*/ 1603 h 2012"/>
                <a:gd name="T24" fmla="*/ 146 w 2364"/>
                <a:gd name="T25" fmla="*/ 1691 h 2012"/>
                <a:gd name="T26" fmla="*/ 29 w 2364"/>
                <a:gd name="T27" fmla="*/ 1807 h 2012"/>
                <a:gd name="T28" fmla="*/ 0 w 2364"/>
                <a:gd name="T29" fmla="*/ 1865 h 2012"/>
                <a:gd name="T30" fmla="*/ 1400 w 2364"/>
                <a:gd name="T31" fmla="*/ 1632 h 2012"/>
                <a:gd name="T32" fmla="*/ 1604 w 2364"/>
                <a:gd name="T33" fmla="*/ 1603 h 2012"/>
                <a:gd name="T34" fmla="*/ 1984 w 2364"/>
                <a:gd name="T35" fmla="*/ 1865 h 2012"/>
                <a:gd name="T36" fmla="*/ 2304 w 2364"/>
                <a:gd name="T37" fmla="*/ 1982 h 2012"/>
                <a:gd name="T38" fmla="*/ 2304 w 2364"/>
                <a:gd name="T39" fmla="*/ 2011 h 2012"/>
                <a:gd name="T40" fmla="*/ 2304 w 2364"/>
                <a:gd name="T41" fmla="*/ 2011 h 2012"/>
                <a:gd name="T42" fmla="*/ 2334 w 2364"/>
                <a:gd name="T43" fmla="*/ 1953 h 2012"/>
                <a:gd name="T44" fmla="*/ 2304 w 2364"/>
                <a:gd name="T45" fmla="*/ 1924 h 2012"/>
                <a:gd name="T46" fmla="*/ 2334 w 2364"/>
                <a:gd name="T47" fmla="*/ 1807 h 2012"/>
                <a:gd name="T48" fmla="*/ 2275 w 2364"/>
                <a:gd name="T49" fmla="*/ 1544 h 2012"/>
                <a:gd name="T50" fmla="*/ 2246 w 2364"/>
                <a:gd name="T51" fmla="*/ 1079 h 2012"/>
                <a:gd name="T52" fmla="*/ 2158 w 2364"/>
                <a:gd name="T53" fmla="*/ 700 h 2012"/>
                <a:gd name="T54" fmla="*/ 2129 w 2364"/>
                <a:gd name="T55" fmla="*/ 729 h 2012"/>
                <a:gd name="T56" fmla="*/ 2100 w 2364"/>
                <a:gd name="T57" fmla="*/ 612 h 2012"/>
                <a:gd name="T58" fmla="*/ 2070 w 2364"/>
                <a:gd name="T59" fmla="*/ 525 h 2012"/>
                <a:gd name="T60" fmla="*/ 2042 w 2364"/>
                <a:gd name="T61" fmla="*/ 379 h 2012"/>
                <a:gd name="T62" fmla="*/ 2013 w 2364"/>
                <a:gd name="T63" fmla="*/ 204 h 2012"/>
                <a:gd name="T64" fmla="*/ 1954 w 2364"/>
                <a:gd name="T65" fmla="*/ 29 h 2012"/>
                <a:gd name="T66" fmla="*/ 1692 w 2364"/>
                <a:gd name="T67" fmla="*/ 58 h 2012"/>
                <a:gd name="T68" fmla="*/ 1517 w 2364"/>
                <a:gd name="T69" fmla="*/ 116 h 2012"/>
                <a:gd name="T70" fmla="*/ 1313 w 2364"/>
                <a:gd name="T71" fmla="*/ 262 h 2012"/>
                <a:gd name="T72" fmla="*/ 1254 w 2364"/>
                <a:gd name="T73" fmla="*/ 321 h 2012"/>
                <a:gd name="T74" fmla="*/ 1196 w 2364"/>
                <a:gd name="T75" fmla="*/ 525 h 2012"/>
                <a:gd name="T76" fmla="*/ 1050 w 2364"/>
                <a:gd name="T77" fmla="*/ 671 h 2012"/>
                <a:gd name="T78" fmla="*/ 1108 w 2364"/>
                <a:gd name="T79" fmla="*/ 642 h 2012"/>
                <a:gd name="T80" fmla="*/ 1137 w 2364"/>
                <a:gd name="T81" fmla="*/ 729 h 2012"/>
                <a:gd name="T82" fmla="*/ 1137 w 2364"/>
                <a:gd name="T83" fmla="*/ 758 h 2012"/>
                <a:gd name="T84" fmla="*/ 1137 w 2364"/>
                <a:gd name="T85" fmla="*/ 933 h 2012"/>
                <a:gd name="T86" fmla="*/ 1050 w 2364"/>
                <a:gd name="T87" fmla="*/ 1021 h 2012"/>
                <a:gd name="T88" fmla="*/ 992 w 2364"/>
                <a:gd name="T89" fmla="*/ 1107 h 2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64" h="2012">
                  <a:moveTo>
                    <a:pt x="992" y="1107"/>
                  </a:moveTo>
                  <a:lnTo>
                    <a:pt x="992" y="1107"/>
                  </a:lnTo>
                  <a:lnTo>
                    <a:pt x="992" y="1107"/>
                  </a:lnTo>
                  <a:cubicBezTo>
                    <a:pt x="963" y="1107"/>
                    <a:pt x="934" y="1136"/>
                    <a:pt x="904" y="1165"/>
                  </a:cubicBezTo>
                  <a:cubicBezTo>
                    <a:pt x="904" y="1194"/>
                    <a:pt x="904" y="1194"/>
                    <a:pt x="904" y="1194"/>
                  </a:cubicBezTo>
                  <a:cubicBezTo>
                    <a:pt x="875" y="1165"/>
                    <a:pt x="875" y="1165"/>
                    <a:pt x="875" y="1165"/>
                  </a:cubicBezTo>
                  <a:cubicBezTo>
                    <a:pt x="875" y="1136"/>
                    <a:pt x="846" y="1136"/>
                    <a:pt x="846" y="1136"/>
                  </a:cubicBezTo>
                  <a:cubicBezTo>
                    <a:pt x="817" y="1136"/>
                    <a:pt x="787" y="1165"/>
                    <a:pt x="758" y="1165"/>
                  </a:cubicBezTo>
                  <a:cubicBezTo>
                    <a:pt x="758" y="1165"/>
                    <a:pt x="729" y="1165"/>
                    <a:pt x="729" y="1194"/>
                  </a:cubicBezTo>
                  <a:cubicBezTo>
                    <a:pt x="729" y="1194"/>
                    <a:pt x="700" y="1194"/>
                    <a:pt x="700" y="1224"/>
                  </a:cubicBezTo>
                  <a:lnTo>
                    <a:pt x="700" y="1224"/>
                  </a:lnTo>
                  <a:cubicBezTo>
                    <a:pt x="671" y="1224"/>
                    <a:pt x="642" y="1194"/>
                    <a:pt x="642" y="1194"/>
                  </a:cubicBezTo>
                  <a:cubicBezTo>
                    <a:pt x="613" y="1194"/>
                    <a:pt x="613" y="1165"/>
                    <a:pt x="613" y="1165"/>
                  </a:cubicBezTo>
                  <a:cubicBezTo>
                    <a:pt x="554" y="1165"/>
                    <a:pt x="525" y="1165"/>
                    <a:pt x="467" y="1194"/>
                  </a:cubicBezTo>
                  <a:lnTo>
                    <a:pt x="437" y="1194"/>
                  </a:lnTo>
                  <a:cubicBezTo>
                    <a:pt x="408" y="1194"/>
                    <a:pt x="379" y="1194"/>
                    <a:pt x="379" y="1194"/>
                  </a:cubicBezTo>
                  <a:cubicBezTo>
                    <a:pt x="292" y="1224"/>
                    <a:pt x="234" y="1224"/>
                    <a:pt x="204" y="1282"/>
                  </a:cubicBezTo>
                  <a:cubicBezTo>
                    <a:pt x="175" y="1311"/>
                    <a:pt x="204" y="1341"/>
                    <a:pt x="204" y="1370"/>
                  </a:cubicBezTo>
                  <a:cubicBezTo>
                    <a:pt x="204" y="1370"/>
                    <a:pt x="204" y="1370"/>
                    <a:pt x="204" y="1399"/>
                  </a:cubicBezTo>
                  <a:cubicBezTo>
                    <a:pt x="234" y="1399"/>
                    <a:pt x="234" y="1399"/>
                    <a:pt x="263" y="1399"/>
                  </a:cubicBezTo>
                  <a:cubicBezTo>
                    <a:pt x="263" y="1428"/>
                    <a:pt x="292" y="1457"/>
                    <a:pt x="292" y="1515"/>
                  </a:cubicBezTo>
                  <a:lnTo>
                    <a:pt x="263" y="1544"/>
                  </a:lnTo>
                  <a:cubicBezTo>
                    <a:pt x="234" y="1574"/>
                    <a:pt x="234" y="1574"/>
                    <a:pt x="234" y="1574"/>
                  </a:cubicBezTo>
                  <a:cubicBezTo>
                    <a:pt x="234" y="1574"/>
                    <a:pt x="234" y="1574"/>
                    <a:pt x="234" y="1603"/>
                  </a:cubicBezTo>
                  <a:cubicBezTo>
                    <a:pt x="234" y="1603"/>
                    <a:pt x="234" y="1632"/>
                    <a:pt x="204" y="1632"/>
                  </a:cubicBezTo>
                  <a:cubicBezTo>
                    <a:pt x="204" y="1661"/>
                    <a:pt x="175" y="1691"/>
                    <a:pt x="146" y="1691"/>
                  </a:cubicBezTo>
                  <a:cubicBezTo>
                    <a:pt x="117" y="1720"/>
                    <a:pt x="117" y="1720"/>
                    <a:pt x="87" y="1720"/>
                  </a:cubicBezTo>
                  <a:cubicBezTo>
                    <a:pt x="58" y="1749"/>
                    <a:pt x="58" y="1778"/>
                    <a:pt x="29" y="1807"/>
                  </a:cubicBezTo>
                  <a:cubicBezTo>
                    <a:pt x="29" y="1836"/>
                    <a:pt x="29" y="1836"/>
                    <a:pt x="0" y="1836"/>
                  </a:cubicBezTo>
                  <a:cubicBezTo>
                    <a:pt x="0" y="1865"/>
                    <a:pt x="0" y="1865"/>
                    <a:pt x="0" y="1865"/>
                  </a:cubicBezTo>
                  <a:cubicBezTo>
                    <a:pt x="29" y="1894"/>
                    <a:pt x="29" y="1894"/>
                    <a:pt x="29" y="1924"/>
                  </a:cubicBezTo>
                  <a:cubicBezTo>
                    <a:pt x="467" y="1836"/>
                    <a:pt x="992" y="1720"/>
                    <a:pt x="1400" y="1632"/>
                  </a:cubicBezTo>
                  <a:cubicBezTo>
                    <a:pt x="1429" y="1632"/>
                    <a:pt x="1429" y="1632"/>
                    <a:pt x="1458" y="1632"/>
                  </a:cubicBezTo>
                  <a:cubicBezTo>
                    <a:pt x="1517" y="1603"/>
                    <a:pt x="1575" y="1603"/>
                    <a:pt x="1604" y="1603"/>
                  </a:cubicBezTo>
                  <a:cubicBezTo>
                    <a:pt x="1720" y="1603"/>
                    <a:pt x="1808" y="1749"/>
                    <a:pt x="1837" y="1836"/>
                  </a:cubicBezTo>
                  <a:cubicBezTo>
                    <a:pt x="1896" y="1836"/>
                    <a:pt x="1954" y="1865"/>
                    <a:pt x="1984" y="1865"/>
                  </a:cubicBezTo>
                  <a:cubicBezTo>
                    <a:pt x="2100" y="1894"/>
                    <a:pt x="2187" y="1953"/>
                    <a:pt x="2275" y="1953"/>
                  </a:cubicBezTo>
                  <a:cubicBezTo>
                    <a:pt x="2304" y="1982"/>
                    <a:pt x="2304" y="1982"/>
                    <a:pt x="2304" y="1982"/>
                  </a:cubicBezTo>
                  <a:lnTo>
                    <a:pt x="2304" y="1982"/>
                  </a:lnTo>
                  <a:cubicBezTo>
                    <a:pt x="2304" y="1982"/>
                    <a:pt x="2304" y="1982"/>
                    <a:pt x="2304" y="2011"/>
                  </a:cubicBezTo>
                  <a:lnTo>
                    <a:pt x="2304" y="2011"/>
                  </a:lnTo>
                  <a:lnTo>
                    <a:pt x="2304" y="2011"/>
                  </a:lnTo>
                  <a:cubicBezTo>
                    <a:pt x="2334" y="1982"/>
                    <a:pt x="2334" y="1982"/>
                    <a:pt x="2334" y="1953"/>
                  </a:cubicBezTo>
                  <a:lnTo>
                    <a:pt x="2334" y="1953"/>
                  </a:lnTo>
                  <a:cubicBezTo>
                    <a:pt x="2304" y="1953"/>
                    <a:pt x="2304" y="1953"/>
                    <a:pt x="2304" y="1924"/>
                  </a:cubicBezTo>
                  <a:lnTo>
                    <a:pt x="2304" y="1924"/>
                  </a:lnTo>
                  <a:cubicBezTo>
                    <a:pt x="2304" y="1894"/>
                    <a:pt x="2304" y="1894"/>
                    <a:pt x="2304" y="1894"/>
                  </a:cubicBezTo>
                  <a:cubicBezTo>
                    <a:pt x="2363" y="1865"/>
                    <a:pt x="2334" y="1865"/>
                    <a:pt x="2334" y="1807"/>
                  </a:cubicBezTo>
                  <a:cubicBezTo>
                    <a:pt x="2334" y="1778"/>
                    <a:pt x="2334" y="1778"/>
                    <a:pt x="2334" y="1778"/>
                  </a:cubicBezTo>
                  <a:cubicBezTo>
                    <a:pt x="2304" y="1691"/>
                    <a:pt x="2275" y="1603"/>
                    <a:pt x="2275" y="1544"/>
                  </a:cubicBezTo>
                  <a:cubicBezTo>
                    <a:pt x="2246" y="1457"/>
                    <a:pt x="2246" y="1370"/>
                    <a:pt x="2246" y="1282"/>
                  </a:cubicBezTo>
                  <a:cubicBezTo>
                    <a:pt x="2246" y="1224"/>
                    <a:pt x="2275" y="1136"/>
                    <a:pt x="2246" y="1079"/>
                  </a:cubicBezTo>
                  <a:cubicBezTo>
                    <a:pt x="2246" y="1021"/>
                    <a:pt x="2217" y="962"/>
                    <a:pt x="2217" y="904"/>
                  </a:cubicBezTo>
                  <a:cubicBezTo>
                    <a:pt x="2217" y="845"/>
                    <a:pt x="2187" y="758"/>
                    <a:pt x="2158" y="700"/>
                  </a:cubicBezTo>
                  <a:cubicBezTo>
                    <a:pt x="2158" y="700"/>
                    <a:pt x="2158" y="700"/>
                    <a:pt x="2129" y="700"/>
                  </a:cubicBezTo>
                  <a:cubicBezTo>
                    <a:pt x="2129" y="729"/>
                    <a:pt x="2129" y="729"/>
                    <a:pt x="2129" y="729"/>
                  </a:cubicBezTo>
                  <a:cubicBezTo>
                    <a:pt x="2129" y="700"/>
                    <a:pt x="2129" y="700"/>
                    <a:pt x="2129" y="700"/>
                  </a:cubicBezTo>
                  <a:cubicBezTo>
                    <a:pt x="2100" y="671"/>
                    <a:pt x="2100" y="642"/>
                    <a:pt x="2100" y="612"/>
                  </a:cubicBezTo>
                  <a:lnTo>
                    <a:pt x="2100" y="583"/>
                  </a:lnTo>
                  <a:cubicBezTo>
                    <a:pt x="2100" y="554"/>
                    <a:pt x="2070" y="554"/>
                    <a:pt x="2070" y="525"/>
                  </a:cubicBezTo>
                  <a:cubicBezTo>
                    <a:pt x="2070" y="495"/>
                    <a:pt x="2042" y="495"/>
                    <a:pt x="2042" y="466"/>
                  </a:cubicBezTo>
                  <a:cubicBezTo>
                    <a:pt x="2042" y="437"/>
                    <a:pt x="2042" y="408"/>
                    <a:pt x="2042" y="379"/>
                  </a:cubicBezTo>
                  <a:cubicBezTo>
                    <a:pt x="2042" y="350"/>
                    <a:pt x="2042" y="321"/>
                    <a:pt x="2042" y="292"/>
                  </a:cubicBezTo>
                  <a:cubicBezTo>
                    <a:pt x="2042" y="262"/>
                    <a:pt x="2013" y="233"/>
                    <a:pt x="2013" y="204"/>
                  </a:cubicBezTo>
                  <a:cubicBezTo>
                    <a:pt x="1984" y="145"/>
                    <a:pt x="1954" y="116"/>
                    <a:pt x="1954" y="58"/>
                  </a:cubicBezTo>
                  <a:lnTo>
                    <a:pt x="1954" y="29"/>
                  </a:lnTo>
                  <a:lnTo>
                    <a:pt x="1954" y="0"/>
                  </a:lnTo>
                  <a:cubicBezTo>
                    <a:pt x="1867" y="29"/>
                    <a:pt x="1779" y="29"/>
                    <a:pt x="1692" y="58"/>
                  </a:cubicBezTo>
                  <a:cubicBezTo>
                    <a:pt x="1634" y="87"/>
                    <a:pt x="1575" y="87"/>
                    <a:pt x="1517" y="116"/>
                  </a:cubicBezTo>
                  <a:lnTo>
                    <a:pt x="1517" y="116"/>
                  </a:lnTo>
                  <a:cubicBezTo>
                    <a:pt x="1487" y="116"/>
                    <a:pt x="1487" y="116"/>
                    <a:pt x="1487" y="116"/>
                  </a:cubicBezTo>
                  <a:cubicBezTo>
                    <a:pt x="1400" y="145"/>
                    <a:pt x="1371" y="175"/>
                    <a:pt x="1313" y="262"/>
                  </a:cubicBezTo>
                  <a:lnTo>
                    <a:pt x="1284" y="292"/>
                  </a:lnTo>
                  <a:lnTo>
                    <a:pt x="1254" y="321"/>
                  </a:lnTo>
                  <a:cubicBezTo>
                    <a:pt x="1225" y="350"/>
                    <a:pt x="1225" y="379"/>
                    <a:pt x="1225" y="437"/>
                  </a:cubicBezTo>
                  <a:cubicBezTo>
                    <a:pt x="1196" y="466"/>
                    <a:pt x="1196" y="495"/>
                    <a:pt x="1196" y="525"/>
                  </a:cubicBezTo>
                  <a:cubicBezTo>
                    <a:pt x="1167" y="554"/>
                    <a:pt x="1137" y="583"/>
                    <a:pt x="1108" y="583"/>
                  </a:cubicBezTo>
                  <a:cubicBezTo>
                    <a:pt x="1108" y="612"/>
                    <a:pt x="1079" y="642"/>
                    <a:pt x="1050" y="671"/>
                  </a:cubicBezTo>
                  <a:cubicBezTo>
                    <a:pt x="1079" y="671"/>
                    <a:pt x="1079" y="642"/>
                    <a:pt x="1108" y="642"/>
                  </a:cubicBezTo>
                  <a:lnTo>
                    <a:pt x="1108" y="642"/>
                  </a:lnTo>
                  <a:cubicBezTo>
                    <a:pt x="1108" y="671"/>
                    <a:pt x="1108" y="671"/>
                    <a:pt x="1108" y="671"/>
                  </a:cubicBezTo>
                  <a:cubicBezTo>
                    <a:pt x="1137" y="671"/>
                    <a:pt x="1137" y="700"/>
                    <a:pt x="1137" y="729"/>
                  </a:cubicBezTo>
                  <a:lnTo>
                    <a:pt x="1137" y="729"/>
                  </a:lnTo>
                  <a:cubicBezTo>
                    <a:pt x="1137" y="758"/>
                    <a:pt x="1137" y="758"/>
                    <a:pt x="1137" y="758"/>
                  </a:cubicBezTo>
                  <a:cubicBezTo>
                    <a:pt x="1137" y="758"/>
                    <a:pt x="1137" y="787"/>
                    <a:pt x="1108" y="787"/>
                  </a:cubicBezTo>
                  <a:cubicBezTo>
                    <a:pt x="1137" y="816"/>
                    <a:pt x="1167" y="904"/>
                    <a:pt x="1137" y="933"/>
                  </a:cubicBezTo>
                  <a:cubicBezTo>
                    <a:pt x="1137" y="962"/>
                    <a:pt x="1137" y="992"/>
                    <a:pt x="1079" y="992"/>
                  </a:cubicBezTo>
                  <a:lnTo>
                    <a:pt x="1050" y="1021"/>
                  </a:lnTo>
                  <a:cubicBezTo>
                    <a:pt x="1021" y="1050"/>
                    <a:pt x="1021" y="1079"/>
                    <a:pt x="1021" y="1079"/>
                  </a:cubicBezTo>
                  <a:lnTo>
                    <a:pt x="992" y="110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39" name="Freeform 76">
              <a:extLst>
                <a:ext uri="{FF2B5EF4-FFF2-40B4-BE49-F238E27FC236}">
                  <a16:creationId xmlns:a16="http://schemas.microsoft.com/office/drawing/2014/main" id="{B8801D60-0945-4FA2-BA38-282F849E8C8C}"/>
                </a:ext>
              </a:extLst>
            </p:cNvPr>
            <p:cNvSpPr>
              <a:spLocks noChangeArrowheads="1"/>
            </p:cNvSpPr>
            <p:nvPr/>
          </p:nvSpPr>
          <p:spPr bwMode="auto">
            <a:xfrm>
              <a:off x="9356226" y="2312639"/>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40" name="Freeform 77">
              <a:extLst>
                <a:ext uri="{FF2B5EF4-FFF2-40B4-BE49-F238E27FC236}">
                  <a16:creationId xmlns:a16="http://schemas.microsoft.com/office/drawing/2014/main" id="{55AD7FB5-3866-451C-9064-50CB1969CB56}"/>
                </a:ext>
              </a:extLst>
            </p:cNvPr>
            <p:cNvSpPr>
              <a:spLocks noChangeArrowheads="1"/>
            </p:cNvSpPr>
            <p:nvPr/>
          </p:nvSpPr>
          <p:spPr bwMode="auto">
            <a:xfrm>
              <a:off x="9356226" y="2312639"/>
              <a:ext cx="1631"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41" name="Freeform 78">
              <a:extLst>
                <a:ext uri="{FF2B5EF4-FFF2-40B4-BE49-F238E27FC236}">
                  <a16:creationId xmlns:a16="http://schemas.microsoft.com/office/drawing/2014/main" id="{C24B21E0-93E4-4033-8061-A404319EFF2B}"/>
                </a:ext>
              </a:extLst>
            </p:cNvPr>
            <p:cNvSpPr>
              <a:spLocks noChangeArrowheads="1"/>
            </p:cNvSpPr>
            <p:nvPr/>
          </p:nvSpPr>
          <p:spPr bwMode="auto">
            <a:xfrm>
              <a:off x="10347780" y="2152425"/>
              <a:ext cx="11416" cy="1619"/>
            </a:xfrm>
            <a:custGeom>
              <a:avLst/>
              <a:gdLst>
                <a:gd name="T0" fmla="*/ 0 w 30"/>
                <a:gd name="T1" fmla="*/ 0 h 1"/>
                <a:gd name="T2" fmla="*/ 0 w 30"/>
                <a:gd name="T3" fmla="*/ 0 h 1"/>
                <a:gd name="T4" fmla="*/ 0 w 30"/>
                <a:gd name="T5" fmla="*/ 0 h 1"/>
                <a:gd name="T6" fmla="*/ 29 w 30"/>
                <a:gd name="T7" fmla="*/ 0 h 1"/>
                <a:gd name="T8" fmla="*/ 29 w 30"/>
                <a:gd name="T9" fmla="*/ 0 h 1"/>
                <a:gd name="T10" fmla="*/ 29 w 30"/>
                <a:gd name="T11" fmla="*/ 0 h 1"/>
                <a:gd name="T12" fmla="*/ 0 w 30"/>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0" h="1">
                  <a:moveTo>
                    <a:pt x="0" y="0"/>
                  </a:moveTo>
                  <a:lnTo>
                    <a:pt x="0" y="0"/>
                  </a:lnTo>
                  <a:lnTo>
                    <a:pt x="0" y="0"/>
                  </a:lnTo>
                  <a:lnTo>
                    <a:pt x="29" y="0"/>
                  </a:lnTo>
                  <a:lnTo>
                    <a:pt x="29" y="0"/>
                  </a:ln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42" name="Freeform 79">
              <a:extLst>
                <a:ext uri="{FF2B5EF4-FFF2-40B4-BE49-F238E27FC236}">
                  <a16:creationId xmlns:a16="http://schemas.microsoft.com/office/drawing/2014/main" id="{72B03020-7E61-458A-A4F3-763C926F2978}"/>
                </a:ext>
              </a:extLst>
            </p:cNvPr>
            <p:cNvSpPr>
              <a:spLocks noChangeArrowheads="1"/>
            </p:cNvSpPr>
            <p:nvPr/>
          </p:nvSpPr>
          <p:spPr bwMode="auto">
            <a:xfrm>
              <a:off x="10337995" y="2238197"/>
              <a:ext cx="32617" cy="22656"/>
            </a:xfrm>
            <a:custGeom>
              <a:avLst/>
              <a:gdLst>
                <a:gd name="T0" fmla="*/ 29 w 88"/>
                <a:gd name="T1" fmla="*/ 29 h 60"/>
                <a:gd name="T2" fmla="*/ 29 w 88"/>
                <a:gd name="T3" fmla="*/ 29 h 60"/>
                <a:gd name="T4" fmla="*/ 29 w 88"/>
                <a:gd name="T5" fmla="*/ 0 h 60"/>
                <a:gd name="T6" fmla="*/ 58 w 88"/>
                <a:gd name="T7" fmla="*/ 0 h 60"/>
                <a:gd name="T8" fmla="*/ 87 w 88"/>
                <a:gd name="T9" fmla="*/ 0 h 60"/>
                <a:gd name="T10" fmla="*/ 58 w 88"/>
                <a:gd name="T11" fmla="*/ 0 h 60"/>
                <a:gd name="T12" fmla="*/ 29 w 88"/>
                <a:gd name="T13" fmla="*/ 0 h 60"/>
                <a:gd name="T14" fmla="*/ 29 w 88"/>
                <a:gd name="T15" fmla="*/ 29 h 60"/>
                <a:gd name="T16" fmla="*/ 0 w 88"/>
                <a:gd name="T17" fmla="*/ 59 h 60"/>
                <a:gd name="T18" fmla="*/ 29 w 88"/>
                <a:gd name="T19" fmla="*/ 2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60">
                  <a:moveTo>
                    <a:pt x="29" y="29"/>
                  </a:moveTo>
                  <a:lnTo>
                    <a:pt x="29" y="29"/>
                  </a:lnTo>
                  <a:cubicBezTo>
                    <a:pt x="29" y="0"/>
                    <a:pt x="29" y="0"/>
                    <a:pt x="29" y="0"/>
                  </a:cubicBezTo>
                  <a:cubicBezTo>
                    <a:pt x="58" y="0"/>
                    <a:pt x="58" y="0"/>
                    <a:pt x="58" y="0"/>
                  </a:cubicBezTo>
                  <a:cubicBezTo>
                    <a:pt x="87" y="0"/>
                    <a:pt x="87" y="0"/>
                    <a:pt x="87" y="0"/>
                  </a:cubicBezTo>
                  <a:cubicBezTo>
                    <a:pt x="87" y="0"/>
                    <a:pt x="87" y="0"/>
                    <a:pt x="58" y="0"/>
                  </a:cubicBezTo>
                  <a:cubicBezTo>
                    <a:pt x="29" y="0"/>
                    <a:pt x="29" y="0"/>
                    <a:pt x="29" y="0"/>
                  </a:cubicBezTo>
                  <a:cubicBezTo>
                    <a:pt x="29" y="29"/>
                    <a:pt x="29" y="29"/>
                    <a:pt x="29" y="29"/>
                  </a:cubicBezTo>
                  <a:cubicBezTo>
                    <a:pt x="29" y="29"/>
                    <a:pt x="29" y="29"/>
                    <a:pt x="0" y="59"/>
                  </a:cubicBezTo>
                  <a:cubicBezTo>
                    <a:pt x="29" y="29"/>
                    <a:pt x="29"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43" name="Freeform 80">
              <a:extLst>
                <a:ext uri="{FF2B5EF4-FFF2-40B4-BE49-F238E27FC236}">
                  <a16:creationId xmlns:a16="http://schemas.microsoft.com/office/drawing/2014/main" id="{04FE9B58-1697-4C4C-967D-2F8B01CF67C7}"/>
                </a:ext>
              </a:extLst>
            </p:cNvPr>
            <p:cNvSpPr>
              <a:spLocks noChangeArrowheads="1"/>
            </p:cNvSpPr>
            <p:nvPr/>
          </p:nvSpPr>
          <p:spPr bwMode="auto">
            <a:xfrm>
              <a:off x="10359196" y="2152425"/>
              <a:ext cx="11415" cy="11329"/>
            </a:xfrm>
            <a:custGeom>
              <a:avLst/>
              <a:gdLst>
                <a:gd name="T0" fmla="*/ 0 w 30"/>
                <a:gd name="T1" fmla="*/ 0 h 30"/>
                <a:gd name="T2" fmla="*/ 0 w 30"/>
                <a:gd name="T3" fmla="*/ 0 h 30"/>
                <a:gd name="T4" fmla="*/ 29 w 30"/>
                <a:gd name="T5" fmla="*/ 29 h 30"/>
                <a:gd name="T6" fmla="*/ 0 w 30"/>
                <a:gd name="T7" fmla="*/ 0 h 30"/>
              </a:gdLst>
              <a:ahLst/>
              <a:cxnLst>
                <a:cxn ang="0">
                  <a:pos x="T0" y="T1"/>
                </a:cxn>
                <a:cxn ang="0">
                  <a:pos x="T2" y="T3"/>
                </a:cxn>
                <a:cxn ang="0">
                  <a:pos x="T4" y="T5"/>
                </a:cxn>
                <a:cxn ang="0">
                  <a:pos x="T6" y="T7"/>
                </a:cxn>
              </a:cxnLst>
              <a:rect l="0" t="0" r="r" b="b"/>
              <a:pathLst>
                <a:path w="30" h="30">
                  <a:moveTo>
                    <a:pt x="0" y="0"/>
                  </a:moveTo>
                  <a:lnTo>
                    <a:pt x="0" y="0"/>
                  </a:lnTo>
                  <a:lnTo>
                    <a:pt x="29"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44" name="Freeform 81">
              <a:extLst>
                <a:ext uri="{FF2B5EF4-FFF2-40B4-BE49-F238E27FC236}">
                  <a16:creationId xmlns:a16="http://schemas.microsoft.com/office/drawing/2014/main" id="{C7E0C07D-F804-4EEF-822F-3A03EA2FD864}"/>
                </a:ext>
              </a:extLst>
            </p:cNvPr>
            <p:cNvSpPr>
              <a:spLocks noChangeArrowheads="1"/>
            </p:cNvSpPr>
            <p:nvPr/>
          </p:nvSpPr>
          <p:spPr bwMode="auto">
            <a:xfrm>
              <a:off x="10347780" y="2162135"/>
              <a:ext cx="21202" cy="11329"/>
            </a:xfrm>
            <a:custGeom>
              <a:avLst/>
              <a:gdLst>
                <a:gd name="T0" fmla="*/ 58 w 59"/>
                <a:gd name="T1" fmla="*/ 0 h 30"/>
                <a:gd name="T2" fmla="*/ 58 w 59"/>
                <a:gd name="T3" fmla="*/ 0 h 30"/>
                <a:gd name="T4" fmla="*/ 58 w 59"/>
                <a:gd name="T5" fmla="*/ 0 h 30"/>
                <a:gd name="T6" fmla="*/ 29 w 59"/>
                <a:gd name="T7" fmla="*/ 29 h 30"/>
                <a:gd name="T8" fmla="*/ 0 w 59"/>
                <a:gd name="T9" fmla="*/ 29 h 30"/>
                <a:gd name="T10" fmla="*/ 0 w 59"/>
                <a:gd name="T11" fmla="*/ 29 h 30"/>
                <a:gd name="T12" fmla="*/ 29 w 59"/>
                <a:gd name="T13" fmla="*/ 29 h 30"/>
                <a:gd name="T14" fmla="*/ 58 w 59"/>
                <a:gd name="T15" fmla="*/ 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0">
                  <a:moveTo>
                    <a:pt x="58" y="0"/>
                  </a:moveTo>
                  <a:lnTo>
                    <a:pt x="58" y="0"/>
                  </a:lnTo>
                  <a:lnTo>
                    <a:pt x="58" y="0"/>
                  </a:lnTo>
                  <a:cubicBezTo>
                    <a:pt x="58" y="29"/>
                    <a:pt x="29" y="29"/>
                    <a:pt x="29" y="29"/>
                  </a:cubicBezTo>
                  <a:cubicBezTo>
                    <a:pt x="0" y="29"/>
                    <a:pt x="0" y="29"/>
                    <a:pt x="0" y="29"/>
                  </a:cubicBezTo>
                  <a:lnTo>
                    <a:pt x="0" y="29"/>
                  </a:lnTo>
                  <a:cubicBezTo>
                    <a:pt x="29" y="29"/>
                    <a:pt x="29" y="29"/>
                    <a:pt x="29" y="29"/>
                  </a:cubicBezTo>
                  <a:cubicBezTo>
                    <a:pt x="29" y="29"/>
                    <a:pt x="58" y="29"/>
                    <a:pt x="5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45" name="Freeform 82">
              <a:extLst>
                <a:ext uri="{FF2B5EF4-FFF2-40B4-BE49-F238E27FC236}">
                  <a16:creationId xmlns:a16="http://schemas.microsoft.com/office/drawing/2014/main" id="{4B9E4D66-1483-49B6-95EC-E6AAAB5689F8}"/>
                </a:ext>
              </a:extLst>
            </p:cNvPr>
            <p:cNvSpPr>
              <a:spLocks noChangeArrowheads="1"/>
            </p:cNvSpPr>
            <p:nvPr/>
          </p:nvSpPr>
          <p:spPr bwMode="auto">
            <a:xfrm>
              <a:off x="10359196" y="2183174"/>
              <a:ext cx="11415" cy="43694"/>
            </a:xfrm>
            <a:custGeom>
              <a:avLst/>
              <a:gdLst>
                <a:gd name="T0" fmla="*/ 29 w 30"/>
                <a:gd name="T1" fmla="*/ 117 h 118"/>
                <a:gd name="T2" fmla="*/ 29 w 30"/>
                <a:gd name="T3" fmla="*/ 117 h 118"/>
                <a:gd name="T4" fmla="*/ 0 w 30"/>
                <a:gd name="T5" fmla="*/ 0 h 118"/>
                <a:gd name="T6" fmla="*/ 0 w 30"/>
                <a:gd name="T7" fmla="*/ 0 h 118"/>
                <a:gd name="T8" fmla="*/ 0 w 30"/>
                <a:gd name="T9" fmla="*/ 0 h 118"/>
                <a:gd name="T10" fmla="*/ 29 w 30"/>
                <a:gd name="T11" fmla="*/ 117 h 118"/>
              </a:gdLst>
              <a:ahLst/>
              <a:cxnLst>
                <a:cxn ang="0">
                  <a:pos x="T0" y="T1"/>
                </a:cxn>
                <a:cxn ang="0">
                  <a:pos x="T2" y="T3"/>
                </a:cxn>
                <a:cxn ang="0">
                  <a:pos x="T4" y="T5"/>
                </a:cxn>
                <a:cxn ang="0">
                  <a:pos x="T6" y="T7"/>
                </a:cxn>
                <a:cxn ang="0">
                  <a:pos x="T8" y="T9"/>
                </a:cxn>
                <a:cxn ang="0">
                  <a:pos x="T10" y="T11"/>
                </a:cxn>
              </a:cxnLst>
              <a:rect l="0" t="0" r="r" b="b"/>
              <a:pathLst>
                <a:path w="30" h="118">
                  <a:moveTo>
                    <a:pt x="29" y="117"/>
                  </a:moveTo>
                  <a:lnTo>
                    <a:pt x="29" y="117"/>
                  </a:lnTo>
                  <a:cubicBezTo>
                    <a:pt x="29" y="88"/>
                    <a:pt x="29" y="29"/>
                    <a:pt x="0" y="0"/>
                  </a:cubicBezTo>
                  <a:lnTo>
                    <a:pt x="0" y="0"/>
                  </a:lnTo>
                  <a:lnTo>
                    <a:pt x="0" y="0"/>
                  </a:lnTo>
                  <a:cubicBezTo>
                    <a:pt x="29" y="29"/>
                    <a:pt x="29" y="88"/>
                    <a:pt x="29"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46" name="Freeform 83">
              <a:extLst>
                <a:ext uri="{FF2B5EF4-FFF2-40B4-BE49-F238E27FC236}">
                  <a16:creationId xmlns:a16="http://schemas.microsoft.com/office/drawing/2014/main" id="{26E107CD-7109-4A47-813E-409E921F58C8}"/>
                </a:ext>
              </a:extLst>
            </p:cNvPr>
            <p:cNvSpPr>
              <a:spLocks noChangeArrowheads="1"/>
            </p:cNvSpPr>
            <p:nvPr/>
          </p:nvSpPr>
          <p:spPr bwMode="auto">
            <a:xfrm>
              <a:off x="9388843" y="2375753"/>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47" name="Freeform 84">
              <a:extLst>
                <a:ext uri="{FF2B5EF4-FFF2-40B4-BE49-F238E27FC236}">
                  <a16:creationId xmlns:a16="http://schemas.microsoft.com/office/drawing/2014/main" id="{9F13F3E1-0D40-46AC-B9E9-6B147B1C65C8}"/>
                </a:ext>
              </a:extLst>
            </p:cNvPr>
            <p:cNvSpPr>
              <a:spLocks noChangeArrowheads="1"/>
            </p:cNvSpPr>
            <p:nvPr/>
          </p:nvSpPr>
          <p:spPr bwMode="auto">
            <a:xfrm>
              <a:off x="6260881" y="1338411"/>
              <a:ext cx="21202" cy="1618"/>
            </a:xfrm>
            <a:custGeom>
              <a:avLst/>
              <a:gdLst>
                <a:gd name="T0" fmla="*/ 0 w 59"/>
                <a:gd name="T1" fmla="*/ 0 h 1"/>
                <a:gd name="T2" fmla="*/ 0 w 59"/>
                <a:gd name="T3" fmla="*/ 0 h 1"/>
                <a:gd name="T4" fmla="*/ 58 w 59"/>
                <a:gd name="T5" fmla="*/ 0 h 1"/>
                <a:gd name="T6" fmla="*/ 0 w 59"/>
                <a:gd name="T7" fmla="*/ 0 h 1"/>
              </a:gdLst>
              <a:ahLst/>
              <a:cxnLst>
                <a:cxn ang="0">
                  <a:pos x="T0" y="T1"/>
                </a:cxn>
                <a:cxn ang="0">
                  <a:pos x="T2" y="T3"/>
                </a:cxn>
                <a:cxn ang="0">
                  <a:pos x="T4" y="T5"/>
                </a:cxn>
                <a:cxn ang="0">
                  <a:pos x="T6" y="T7"/>
                </a:cxn>
              </a:cxnLst>
              <a:rect l="0" t="0" r="r" b="b"/>
              <a:pathLst>
                <a:path w="59" h="1">
                  <a:moveTo>
                    <a:pt x="0" y="0"/>
                  </a:moveTo>
                  <a:lnTo>
                    <a:pt x="0" y="0"/>
                  </a:lnTo>
                  <a:cubicBezTo>
                    <a:pt x="29" y="0"/>
                    <a:pt x="29" y="0"/>
                    <a:pt x="58"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48" name="Freeform 85">
              <a:extLst>
                <a:ext uri="{FF2B5EF4-FFF2-40B4-BE49-F238E27FC236}">
                  <a16:creationId xmlns:a16="http://schemas.microsoft.com/office/drawing/2014/main" id="{992AAD26-C5F6-4863-999F-6EFA4D054354}"/>
                </a:ext>
              </a:extLst>
            </p:cNvPr>
            <p:cNvSpPr>
              <a:spLocks noChangeArrowheads="1"/>
            </p:cNvSpPr>
            <p:nvPr/>
          </p:nvSpPr>
          <p:spPr bwMode="auto">
            <a:xfrm>
              <a:off x="8222789" y="1862746"/>
              <a:ext cx="86434" cy="32366"/>
            </a:xfrm>
            <a:custGeom>
              <a:avLst/>
              <a:gdLst>
                <a:gd name="T0" fmla="*/ 0 w 235"/>
                <a:gd name="T1" fmla="*/ 88 h 89"/>
                <a:gd name="T2" fmla="*/ 0 w 235"/>
                <a:gd name="T3" fmla="*/ 88 h 89"/>
                <a:gd name="T4" fmla="*/ 88 w 235"/>
                <a:gd name="T5" fmla="*/ 59 h 89"/>
                <a:gd name="T6" fmla="*/ 234 w 235"/>
                <a:gd name="T7" fmla="*/ 0 h 89"/>
                <a:gd name="T8" fmla="*/ 88 w 235"/>
                <a:gd name="T9" fmla="*/ 59 h 89"/>
                <a:gd name="T10" fmla="*/ 0 w 235"/>
                <a:gd name="T11" fmla="*/ 88 h 89"/>
              </a:gdLst>
              <a:ahLst/>
              <a:cxnLst>
                <a:cxn ang="0">
                  <a:pos x="T0" y="T1"/>
                </a:cxn>
                <a:cxn ang="0">
                  <a:pos x="T2" y="T3"/>
                </a:cxn>
                <a:cxn ang="0">
                  <a:pos x="T4" y="T5"/>
                </a:cxn>
                <a:cxn ang="0">
                  <a:pos x="T6" y="T7"/>
                </a:cxn>
                <a:cxn ang="0">
                  <a:pos x="T8" y="T9"/>
                </a:cxn>
                <a:cxn ang="0">
                  <a:pos x="T10" y="T11"/>
                </a:cxn>
              </a:cxnLst>
              <a:rect l="0" t="0" r="r" b="b"/>
              <a:pathLst>
                <a:path w="235" h="89">
                  <a:moveTo>
                    <a:pt x="0" y="88"/>
                  </a:moveTo>
                  <a:lnTo>
                    <a:pt x="0" y="88"/>
                  </a:lnTo>
                  <a:cubicBezTo>
                    <a:pt x="30" y="88"/>
                    <a:pt x="59" y="88"/>
                    <a:pt x="88" y="59"/>
                  </a:cubicBezTo>
                  <a:cubicBezTo>
                    <a:pt x="117" y="59"/>
                    <a:pt x="205" y="30"/>
                    <a:pt x="234" y="0"/>
                  </a:cubicBezTo>
                  <a:cubicBezTo>
                    <a:pt x="205" y="30"/>
                    <a:pt x="117" y="59"/>
                    <a:pt x="88" y="59"/>
                  </a:cubicBezTo>
                  <a:cubicBezTo>
                    <a:pt x="59" y="88"/>
                    <a:pt x="30" y="88"/>
                    <a:pt x="0"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49" name="Freeform 86">
              <a:extLst>
                <a:ext uri="{FF2B5EF4-FFF2-40B4-BE49-F238E27FC236}">
                  <a16:creationId xmlns:a16="http://schemas.microsoft.com/office/drawing/2014/main" id="{A5D51D7B-5D63-49BB-9AF8-3FE3FEB76E14}"/>
                </a:ext>
              </a:extLst>
            </p:cNvPr>
            <p:cNvSpPr>
              <a:spLocks noChangeArrowheads="1"/>
            </p:cNvSpPr>
            <p:nvPr/>
          </p:nvSpPr>
          <p:spPr bwMode="auto">
            <a:xfrm>
              <a:off x="8234204" y="1862746"/>
              <a:ext cx="1631" cy="22656"/>
            </a:xfrm>
            <a:custGeom>
              <a:avLst/>
              <a:gdLst>
                <a:gd name="T0" fmla="*/ 0 w 1"/>
                <a:gd name="T1" fmla="*/ 0 h 60"/>
                <a:gd name="T2" fmla="*/ 0 w 1"/>
                <a:gd name="T3" fmla="*/ 0 h 60"/>
                <a:gd name="T4" fmla="*/ 0 w 1"/>
                <a:gd name="T5" fmla="*/ 59 h 60"/>
                <a:gd name="T6" fmla="*/ 0 w 1"/>
                <a:gd name="T7" fmla="*/ 0 h 60"/>
              </a:gdLst>
              <a:ahLst/>
              <a:cxnLst>
                <a:cxn ang="0">
                  <a:pos x="T0" y="T1"/>
                </a:cxn>
                <a:cxn ang="0">
                  <a:pos x="T2" y="T3"/>
                </a:cxn>
                <a:cxn ang="0">
                  <a:pos x="T4" y="T5"/>
                </a:cxn>
                <a:cxn ang="0">
                  <a:pos x="T6" y="T7"/>
                </a:cxn>
              </a:cxnLst>
              <a:rect l="0" t="0" r="r" b="b"/>
              <a:pathLst>
                <a:path w="1" h="60">
                  <a:moveTo>
                    <a:pt x="0" y="0"/>
                  </a:moveTo>
                  <a:lnTo>
                    <a:pt x="0" y="0"/>
                  </a:lnTo>
                  <a:cubicBezTo>
                    <a:pt x="0" y="30"/>
                    <a:pt x="0" y="30"/>
                    <a:pt x="0" y="59"/>
                  </a:cubicBezTo>
                  <a:cubicBezTo>
                    <a:pt x="0" y="30"/>
                    <a:pt x="0" y="3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50" name="Freeform 87">
              <a:extLst>
                <a:ext uri="{FF2B5EF4-FFF2-40B4-BE49-F238E27FC236}">
                  <a16:creationId xmlns:a16="http://schemas.microsoft.com/office/drawing/2014/main" id="{8BFB0D57-E350-4EA4-9738-BA66E347BF74}"/>
                </a:ext>
              </a:extLst>
            </p:cNvPr>
            <p:cNvSpPr>
              <a:spLocks noChangeArrowheads="1"/>
            </p:cNvSpPr>
            <p:nvPr/>
          </p:nvSpPr>
          <p:spPr bwMode="auto">
            <a:xfrm>
              <a:off x="8374457" y="1841708"/>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51" name="Freeform 88">
              <a:extLst>
                <a:ext uri="{FF2B5EF4-FFF2-40B4-BE49-F238E27FC236}">
                  <a16:creationId xmlns:a16="http://schemas.microsoft.com/office/drawing/2014/main" id="{BF8B2BD8-E63A-4C17-B854-7692A34B3F03}"/>
                </a:ext>
              </a:extLst>
            </p:cNvPr>
            <p:cNvSpPr>
              <a:spLocks noChangeArrowheads="1"/>
            </p:cNvSpPr>
            <p:nvPr/>
          </p:nvSpPr>
          <p:spPr bwMode="auto">
            <a:xfrm>
              <a:off x="8309223" y="1851418"/>
              <a:ext cx="44033" cy="11329"/>
            </a:xfrm>
            <a:custGeom>
              <a:avLst/>
              <a:gdLst>
                <a:gd name="T0" fmla="*/ 0 w 117"/>
                <a:gd name="T1" fmla="*/ 29 h 30"/>
                <a:gd name="T2" fmla="*/ 0 w 117"/>
                <a:gd name="T3" fmla="*/ 29 h 30"/>
                <a:gd name="T4" fmla="*/ 58 w 117"/>
                <a:gd name="T5" fmla="*/ 29 h 30"/>
                <a:gd name="T6" fmla="*/ 87 w 117"/>
                <a:gd name="T7" fmla="*/ 0 h 30"/>
                <a:gd name="T8" fmla="*/ 116 w 117"/>
                <a:gd name="T9" fmla="*/ 0 h 30"/>
                <a:gd name="T10" fmla="*/ 87 w 117"/>
                <a:gd name="T11" fmla="*/ 0 h 30"/>
                <a:gd name="T12" fmla="*/ 58 w 117"/>
                <a:gd name="T13" fmla="*/ 29 h 30"/>
                <a:gd name="T14" fmla="*/ 0 w 117"/>
                <a:gd name="T15" fmla="*/ 29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30">
                  <a:moveTo>
                    <a:pt x="0" y="29"/>
                  </a:moveTo>
                  <a:lnTo>
                    <a:pt x="0" y="29"/>
                  </a:lnTo>
                  <a:cubicBezTo>
                    <a:pt x="58" y="29"/>
                    <a:pt x="58" y="29"/>
                    <a:pt x="58" y="29"/>
                  </a:cubicBezTo>
                  <a:cubicBezTo>
                    <a:pt x="58" y="29"/>
                    <a:pt x="87" y="29"/>
                    <a:pt x="87" y="0"/>
                  </a:cubicBezTo>
                  <a:cubicBezTo>
                    <a:pt x="116" y="0"/>
                    <a:pt x="116" y="0"/>
                    <a:pt x="116" y="0"/>
                  </a:cubicBezTo>
                  <a:cubicBezTo>
                    <a:pt x="116" y="0"/>
                    <a:pt x="116" y="0"/>
                    <a:pt x="87" y="0"/>
                  </a:cubicBezTo>
                  <a:cubicBezTo>
                    <a:pt x="87" y="29"/>
                    <a:pt x="58" y="29"/>
                    <a:pt x="58" y="29"/>
                  </a:cubicBez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52" name="Freeform 89">
              <a:extLst>
                <a:ext uri="{FF2B5EF4-FFF2-40B4-BE49-F238E27FC236}">
                  <a16:creationId xmlns:a16="http://schemas.microsoft.com/office/drawing/2014/main" id="{1114C4A2-54B2-47C9-9CAA-5F12935DE983}"/>
                </a:ext>
              </a:extLst>
            </p:cNvPr>
            <p:cNvSpPr>
              <a:spLocks noChangeArrowheads="1"/>
            </p:cNvSpPr>
            <p:nvPr/>
          </p:nvSpPr>
          <p:spPr bwMode="auto">
            <a:xfrm>
              <a:off x="8341840" y="1713861"/>
              <a:ext cx="44033" cy="21038"/>
            </a:xfrm>
            <a:custGeom>
              <a:avLst/>
              <a:gdLst>
                <a:gd name="T0" fmla="*/ 0 w 118"/>
                <a:gd name="T1" fmla="*/ 58 h 59"/>
                <a:gd name="T2" fmla="*/ 0 w 118"/>
                <a:gd name="T3" fmla="*/ 58 h 59"/>
                <a:gd name="T4" fmla="*/ 88 w 118"/>
                <a:gd name="T5" fmla="*/ 29 h 59"/>
                <a:gd name="T6" fmla="*/ 117 w 118"/>
                <a:gd name="T7" fmla="*/ 0 h 59"/>
                <a:gd name="T8" fmla="*/ 88 w 118"/>
                <a:gd name="T9" fmla="*/ 29 h 59"/>
                <a:gd name="T10" fmla="*/ 0 w 118"/>
                <a:gd name="T11" fmla="*/ 58 h 59"/>
              </a:gdLst>
              <a:ahLst/>
              <a:cxnLst>
                <a:cxn ang="0">
                  <a:pos x="T0" y="T1"/>
                </a:cxn>
                <a:cxn ang="0">
                  <a:pos x="T2" y="T3"/>
                </a:cxn>
                <a:cxn ang="0">
                  <a:pos x="T4" y="T5"/>
                </a:cxn>
                <a:cxn ang="0">
                  <a:pos x="T6" y="T7"/>
                </a:cxn>
                <a:cxn ang="0">
                  <a:pos x="T8" y="T9"/>
                </a:cxn>
                <a:cxn ang="0">
                  <a:pos x="T10" y="T11"/>
                </a:cxn>
              </a:cxnLst>
              <a:rect l="0" t="0" r="r" b="b"/>
              <a:pathLst>
                <a:path w="118" h="59">
                  <a:moveTo>
                    <a:pt x="0" y="58"/>
                  </a:moveTo>
                  <a:lnTo>
                    <a:pt x="0" y="58"/>
                  </a:lnTo>
                  <a:cubicBezTo>
                    <a:pt x="29" y="58"/>
                    <a:pt x="59" y="29"/>
                    <a:pt x="88" y="29"/>
                  </a:cubicBezTo>
                  <a:cubicBezTo>
                    <a:pt x="88" y="0"/>
                    <a:pt x="117" y="0"/>
                    <a:pt x="117" y="0"/>
                  </a:cubicBezTo>
                  <a:cubicBezTo>
                    <a:pt x="117" y="0"/>
                    <a:pt x="88" y="0"/>
                    <a:pt x="88" y="29"/>
                  </a:cubicBezTo>
                  <a:cubicBezTo>
                    <a:pt x="59" y="29"/>
                    <a:pt x="29" y="58"/>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53" name="Freeform 90">
              <a:extLst>
                <a:ext uri="{FF2B5EF4-FFF2-40B4-BE49-F238E27FC236}">
                  <a16:creationId xmlns:a16="http://schemas.microsoft.com/office/drawing/2014/main" id="{3AF011FB-0ED4-473E-9437-F6443D144E43}"/>
                </a:ext>
              </a:extLst>
            </p:cNvPr>
            <p:cNvSpPr>
              <a:spLocks noChangeArrowheads="1"/>
            </p:cNvSpPr>
            <p:nvPr/>
          </p:nvSpPr>
          <p:spPr bwMode="auto">
            <a:xfrm>
              <a:off x="8439690" y="1874074"/>
              <a:ext cx="21202" cy="32366"/>
            </a:xfrm>
            <a:custGeom>
              <a:avLst/>
              <a:gdLst>
                <a:gd name="T0" fmla="*/ 29 w 59"/>
                <a:gd name="T1" fmla="*/ 87 h 88"/>
                <a:gd name="T2" fmla="*/ 29 w 59"/>
                <a:gd name="T3" fmla="*/ 87 h 88"/>
                <a:gd name="T4" fmla="*/ 58 w 59"/>
                <a:gd name="T5" fmla="*/ 0 h 88"/>
                <a:gd name="T6" fmla="*/ 58 w 59"/>
                <a:gd name="T7" fmla="*/ 0 h 88"/>
                <a:gd name="T8" fmla="*/ 58 w 59"/>
                <a:gd name="T9" fmla="*/ 0 h 88"/>
                <a:gd name="T10" fmla="*/ 29 w 59"/>
                <a:gd name="T11" fmla="*/ 87 h 88"/>
                <a:gd name="T12" fmla="*/ 0 w 59"/>
                <a:gd name="T13" fmla="*/ 87 h 88"/>
                <a:gd name="T14" fmla="*/ 0 w 59"/>
                <a:gd name="T15" fmla="*/ 87 h 88"/>
                <a:gd name="T16" fmla="*/ 0 w 59"/>
                <a:gd name="T17" fmla="*/ 87 h 88"/>
                <a:gd name="T18" fmla="*/ 29 w 59"/>
                <a:gd name="T19" fmla="*/ 8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88">
                  <a:moveTo>
                    <a:pt x="29" y="87"/>
                  </a:moveTo>
                  <a:lnTo>
                    <a:pt x="29" y="87"/>
                  </a:lnTo>
                  <a:cubicBezTo>
                    <a:pt x="29" y="58"/>
                    <a:pt x="29" y="29"/>
                    <a:pt x="58" y="0"/>
                  </a:cubicBezTo>
                  <a:lnTo>
                    <a:pt x="58" y="0"/>
                  </a:lnTo>
                  <a:lnTo>
                    <a:pt x="58" y="0"/>
                  </a:lnTo>
                  <a:cubicBezTo>
                    <a:pt x="29" y="29"/>
                    <a:pt x="29" y="58"/>
                    <a:pt x="29" y="87"/>
                  </a:cubicBezTo>
                  <a:cubicBezTo>
                    <a:pt x="0" y="87"/>
                    <a:pt x="0" y="87"/>
                    <a:pt x="0" y="87"/>
                  </a:cubicBezTo>
                  <a:lnTo>
                    <a:pt x="0" y="87"/>
                  </a:lnTo>
                  <a:lnTo>
                    <a:pt x="0" y="87"/>
                  </a:lnTo>
                  <a:lnTo>
                    <a:pt x="29" y="8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54" name="Freeform 91">
              <a:extLst>
                <a:ext uri="{FF2B5EF4-FFF2-40B4-BE49-F238E27FC236}">
                  <a16:creationId xmlns:a16="http://schemas.microsoft.com/office/drawing/2014/main" id="{AB761C3D-10D5-46AB-B75F-4DB2A27B98C4}"/>
                </a:ext>
              </a:extLst>
            </p:cNvPr>
            <p:cNvSpPr>
              <a:spLocks noChangeArrowheads="1"/>
            </p:cNvSpPr>
            <p:nvPr/>
          </p:nvSpPr>
          <p:spPr bwMode="auto">
            <a:xfrm>
              <a:off x="9550297" y="2621738"/>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55" name="Freeform 92">
              <a:extLst>
                <a:ext uri="{FF2B5EF4-FFF2-40B4-BE49-F238E27FC236}">
                  <a16:creationId xmlns:a16="http://schemas.microsoft.com/office/drawing/2014/main" id="{DAB1FF48-739A-4C33-860D-46EA175DE8EB}"/>
                </a:ext>
              </a:extLst>
            </p:cNvPr>
            <p:cNvSpPr>
              <a:spLocks noChangeArrowheads="1"/>
            </p:cNvSpPr>
            <p:nvPr/>
          </p:nvSpPr>
          <p:spPr bwMode="auto">
            <a:xfrm>
              <a:off x="9550297" y="2612028"/>
              <a:ext cx="11415" cy="1619"/>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0" y="0"/>
                    <a:pt x="0" y="0"/>
                    <a:pt x="29"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56" name="Freeform 93">
              <a:extLst>
                <a:ext uri="{FF2B5EF4-FFF2-40B4-BE49-F238E27FC236}">
                  <a16:creationId xmlns:a16="http://schemas.microsoft.com/office/drawing/2014/main" id="{CFD7949A-1788-4815-9FEC-70DFBE68A046}"/>
                </a:ext>
              </a:extLst>
            </p:cNvPr>
            <p:cNvSpPr>
              <a:spLocks noChangeArrowheads="1"/>
            </p:cNvSpPr>
            <p:nvPr/>
          </p:nvSpPr>
          <p:spPr bwMode="auto">
            <a:xfrm>
              <a:off x="9550297" y="2568334"/>
              <a:ext cx="1630" cy="11328"/>
            </a:xfrm>
            <a:custGeom>
              <a:avLst/>
              <a:gdLst>
                <a:gd name="T0" fmla="*/ 0 w 1"/>
                <a:gd name="T1" fmla="*/ 0 h 30"/>
                <a:gd name="T2" fmla="*/ 0 w 1"/>
                <a:gd name="T3" fmla="*/ 0 h 30"/>
                <a:gd name="T4" fmla="*/ 0 w 1"/>
                <a:gd name="T5" fmla="*/ 29 h 30"/>
                <a:gd name="T6" fmla="*/ 0 w 1"/>
                <a:gd name="T7" fmla="*/ 29 h 30"/>
                <a:gd name="T8" fmla="*/ 0 w 1"/>
                <a:gd name="T9" fmla="*/ 29 h 30"/>
                <a:gd name="T10" fmla="*/ 0 w 1"/>
                <a:gd name="T11" fmla="*/ 0 h 30"/>
              </a:gdLst>
              <a:ahLst/>
              <a:cxnLst>
                <a:cxn ang="0">
                  <a:pos x="T0" y="T1"/>
                </a:cxn>
                <a:cxn ang="0">
                  <a:pos x="T2" y="T3"/>
                </a:cxn>
                <a:cxn ang="0">
                  <a:pos x="T4" y="T5"/>
                </a:cxn>
                <a:cxn ang="0">
                  <a:pos x="T6" y="T7"/>
                </a:cxn>
                <a:cxn ang="0">
                  <a:pos x="T8" y="T9"/>
                </a:cxn>
                <a:cxn ang="0">
                  <a:pos x="T10" y="T11"/>
                </a:cxn>
              </a:cxnLst>
              <a:rect l="0" t="0" r="r" b="b"/>
              <a:pathLst>
                <a:path w="1" h="30">
                  <a:moveTo>
                    <a:pt x="0" y="0"/>
                  </a:moveTo>
                  <a:lnTo>
                    <a:pt x="0" y="0"/>
                  </a:lnTo>
                  <a:lnTo>
                    <a:pt x="0" y="29"/>
                  </a:lnTo>
                  <a:lnTo>
                    <a:pt x="0" y="29"/>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57" name="Freeform 94">
              <a:extLst>
                <a:ext uri="{FF2B5EF4-FFF2-40B4-BE49-F238E27FC236}">
                  <a16:creationId xmlns:a16="http://schemas.microsoft.com/office/drawing/2014/main" id="{7334AC4D-943F-4711-8AB5-3B99D1BEC37B}"/>
                </a:ext>
              </a:extLst>
            </p:cNvPr>
            <p:cNvSpPr>
              <a:spLocks noChangeArrowheads="1"/>
            </p:cNvSpPr>
            <p:nvPr/>
          </p:nvSpPr>
          <p:spPr bwMode="auto">
            <a:xfrm>
              <a:off x="9561712" y="2589372"/>
              <a:ext cx="1631" cy="11329"/>
            </a:xfrm>
            <a:custGeom>
              <a:avLst/>
              <a:gdLst>
                <a:gd name="T0" fmla="*/ 0 w 1"/>
                <a:gd name="T1" fmla="*/ 0 h 31"/>
                <a:gd name="T2" fmla="*/ 0 w 1"/>
                <a:gd name="T3" fmla="*/ 0 h 31"/>
                <a:gd name="T4" fmla="*/ 0 w 1"/>
                <a:gd name="T5" fmla="*/ 30 h 31"/>
                <a:gd name="T6" fmla="*/ 0 w 1"/>
                <a:gd name="T7" fmla="*/ 0 h 31"/>
              </a:gdLst>
              <a:ahLst/>
              <a:cxnLst>
                <a:cxn ang="0">
                  <a:pos x="T0" y="T1"/>
                </a:cxn>
                <a:cxn ang="0">
                  <a:pos x="T2" y="T3"/>
                </a:cxn>
                <a:cxn ang="0">
                  <a:pos x="T4" y="T5"/>
                </a:cxn>
                <a:cxn ang="0">
                  <a:pos x="T6" y="T7"/>
                </a:cxn>
              </a:cxnLst>
              <a:rect l="0" t="0" r="r" b="b"/>
              <a:pathLst>
                <a:path w="1" h="31">
                  <a:moveTo>
                    <a:pt x="0" y="0"/>
                  </a:moveTo>
                  <a:lnTo>
                    <a:pt x="0" y="0"/>
                  </a:lnTo>
                  <a:cubicBezTo>
                    <a:pt x="0" y="30"/>
                    <a:pt x="0" y="30"/>
                    <a:pt x="0" y="30"/>
                  </a:cubicBezTo>
                  <a:cubicBezTo>
                    <a:pt x="0" y="30"/>
                    <a:pt x="0" y="3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58" name="Freeform 95">
              <a:extLst>
                <a:ext uri="{FF2B5EF4-FFF2-40B4-BE49-F238E27FC236}">
                  <a16:creationId xmlns:a16="http://schemas.microsoft.com/office/drawing/2014/main" id="{E73C0E94-3CF7-45EA-846A-0489AFF88D6B}"/>
                </a:ext>
              </a:extLst>
            </p:cNvPr>
            <p:cNvSpPr>
              <a:spLocks noChangeArrowheads="1"/>
            </p:cNvSpPr>
            <p:nvPr/>
          </p:nvSpPr>
          <p:spPr bwMode="auto">
            <a:xfrm>
              <a:off x="9129539" y="2152425"/>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59" name="Freeform 96">
              <a:extLst>
                <a:ext uri="{FF2B5EF4-FFF2-40B4-BE49-F238E27FC236}">
                  <a16:creationId xmlns:a16="http://schemas.microsoft.com/office/drawing/2014/main" id="{D96DF255-555D-4CA3-B345-780F82DD7426}"/>
                </a:ext>
              </a:extLst>
            </p:cNvPr>
            <p:cNvSpPr>
              <a:spLocks noChangeArrowheads="1"/>
            </p:cNvSpPr>
            <p:nvPr/>
          </p:nvSpPr>
          <p:spPr bwMode="auto">
            <a:xfrm>
              <a:off x="9162156" y="2001922"/>
              <a:ext cx="11415" cy="43694"/>
            </a:xfrm>
            <a:custGeom>
              <a:avLst/>
              <a:gdLst>
                <a:gd name="T0" fmla="*/ 0 w 30"/>
                <a:gd name="T1" fmla="*/ 58 h 117"/>
                <a:gd name="T2" fmla="*/ 0 w 30"/>
                <a:gd name="T3" fmla="*/ 58 h 117"/>
                <a:gd name="T4" fmla="*/ 0 w 30"/>
                <a:gd name="T5" fmla="*/ 116 h 117"/>
                <a:gd name="T6" fmla="*/ 0 w 30"/>
                <a:gd name="T7" fmla="*/ 58 h 117"/>
                <a:gd name="T8" fmla="*/ 29 w 30"/>
                <a:gd name="T9" fmla="*/ 0 h 117"/>
                <a:gd name="T10" fmla="*/ 0 w 30"/>
                <a:gd name="T11" fmla="*/ 58 h 117"/>
              </a:gdLst>
              <a:ahLst/>
              <a:cxnLst>
                <a:cxn ang="0">
                  <a:pos x="T0" y="T1"/>
                </a:cxn>
                <a:cxn ang="0">
                  <a:pos x="T2" y="T3"/>
                </a:cxn>
                <a:cxn ang="0">
                  <a:pos x="T4" y="T5"/>
                </a:cxn>
                <a:cxn ang="0">
                  <a:pos x="T6" y="T7"/>
                </a:cxn>
                <a:cxn ang="0">
                  <a:pos x="T8" y="T9"/>
                </a:cxn>
                <a:cxn ang="0">
                  <a:pos x="T10" y="T11"/>
                </a:cxn>
              </a:cxnLst>
              <a:rect l="0" t="0" r="r" b="b"/>
              <a:pathLst>
                <a:path w="30" h="117">
                  <a:moveTo>
                    <a:pt x="0" y="58"/>
                  </a:moveTo>
                  <a:lnTo>
                    <a:pt x="0" y="58"/>
                  </a:lnTo>
                  <a:cubicBezTo>
                    <a:pt x="0" y="87"/>
                    <a:pt x="0" y="116"/>
                    <a:pt x="0" y="116"/>
                  </a:cubicBezTo>
                  <a:cubicBezTo>
                    <a:pt x="0" y="116"/>
                    <a:pt x="0" y="87"/>
                    <a:pt x="0" y="58"/>
                  </a:cubicBezTo>
                  <a:cubicBezTo>
                    <a:pt x="0" y="29"/>
                    <a:pt x="0" y="29"/>
                    <a:pt x="29" y="0"/>
                  </a:cubicBezTo>
                  <a:cubicBezTo>
                    <a:pt x="0" y="29"/>
                    <a:pt x="0" y="29"/>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0" name="Freeform 97">
              <a:extLst>
                <a:ext uri="{FF2B5EF4-FFF2-40B4-BE49-F238E27FC236}">
                  <a16:creationId xmlns:a16="http://schemas.microsoft.com/office/drawing/2014/main" id="{72610844-4EB8-407B-8D9A-490F912C4EF9}"/>
                </a:ext>
              </a:extLst>
            </p:cNvPr>
            <p:cNvSpPr>
              <a:spLocks noChangeArrowheads="1"/>
            </p:cNvSpPr>
            <p:nvPr/>
          </p:nvSpPr>
          <p:spPr bwMode="auto">
            <a:xfrm>
              <a:off x="8222789" y="1883784"/>
              <a:ext cx="11415" cy="1619"/>
            </a:xfrm>
            <a:custGeom>
              <a:avLst/>
              <a:gdLst>
                <a:gd name="T0" fmla="*/ 30 w 31"/>
                <a:gd name="T1" fmla="*/ 0 h 1"/>
                <a:gd name="T2" fmla="*/ 30 w 31"/>
                <a:gd name="T3" fmla="*/ 0 h 1"/>
                <a:gd name="T4" fmla="*/ 0 w 31"/>
                <a:gd name="T5" fmla="*/ 0 h 1"/>
                <a:gd name="T6" fmla="*/ 30 w 31"/>
                <a:gd name="T7" fmla="*/ 0 h 1"/>
              </a:gdLst>
              <a:ahLst/>
              <a:cxnLst>
                <a:cxn ang="0">
                  <a:pos x="T0" y="T1"/>
                </a:cxn>
                <a:cxn ang="0">
                  <a:pos x="T2" y="T3"/>
                </a:cxn>
                <a:cxn ang="0">
                  <a:pos x="T4" y="T5"/>
                </a:cxn>
                <a:cxn ang="0">
                  <a:pos x="T6" y="T7"/>
                </a:cxn>
              </a:cxnLst>
              <a:rect l="0" t="0" r="r" b="b"/>
              <a:pathLst>
                <a:path w="31" h="1">
                  <a:moveTo>
                    <a:pt x="30" y="0"/>
                  </a:moveTo>
                  <a:lnTo>
                    <a:pt x="30" y="0"/>
                  </a:lnTo>
                  <a:cubicBezTo>
                    <a:pt x="0" y="0"/>
                    <a:pt x="0" y="0"/>
                    <a:pt x="0" y="0"/>
                  </a:cubicBezTo>
                  <a:cubicBezTo>
                    <a:pt x="0" y="0"/>
                    <a:pt x="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1" name="Freeform 98">
              <a:extLst>
                <a:ext uri="{FF2B5EF4-FFF2-40B4-BE49-F238E27FC236}">
                  <a16:creationId xmlns:a16="http://schemas.microsoft.com/office/drawing/2014/main" id="{1CE2A51C-19E1-4E7D-8E36-3FA88A316BF3}"/>
                </a:ext>
              </a:extLst>
            </p:cNvPr>
            <p:cNvSpPr>
              <a:spLocks noChangeArrowheads="1"/>
            </p:cNvSpPr>
            <p:nvPr/>
          </p:nvSpPr>
          <p:spPr bwMode="auto">
            <a:xfrm>
              <a:off x="6616405" y="1980883"/>
              <a:ext cx="1025802" cy="663511"/>
            </a:xfrm>
            <a:custGeom>
              <a:avLst/>
              <a:gdLst>
                <a:gd name="T0" fmla="*/ 2742 w 2772"/>
                <a:gd name="T1" fmla="*/ 146 h 1809"/>
                <a:gd name="T2" fmla="*/ 2742 w 2772"/>
                <a:gd name="T3" fmla="*/ 146 h 1809"/>
                <a:gd name="T4" fmla="*/ 175 w 2772"/>
                <a:gd name="T5" fmla="*/ 0 h 1809"/>
                <a:gd name="T6" fmla="*/ 29 w 2772"/>
                <a:gd name="T7" fmla="*/ 1195 h 1809"/>
                <a:gd name="T8" fmla="*/ 0 w 2772"/>
                <a:gd name="T9" fmla="*/ 1428 h 1809"/>
                <a:gd name="T10" fmla="*/ 1312 w 2772"/>
                <a:gd name="T11" fmla="*/ 1516 h 1809"/>
                <a:gd name="T12" fmla="*/ 1400 w 2772"/>
                <a:gd name="T13" fmla="*/ 1516 h 1809"/>
                <a:gd name="T14" fmla="*/ 1517 w 2772"/>
                <a:gd name="T15" fmla="*/ 1545 h 1809"/>
                <a:gd name="T16" fmla="*/ 1545 w 2772"/>
                <a:gd name="T17" fmla="*/ 1545 h 1809"/>
                <a:gd name="T18" fmla="*/ 1604 w 2772"/>
                <a:gd name="T19" fmla="*/ 1574 h 1809"/>
                <a:gd name="T20" fmla="*/ 1633 w 2772"/>
                <a:gd name="T21" fmla="*/ 1574 h 1809"/>
                <a:gd name="T22" fmla="*/ 1692 w 2772"/>
                <a:gd name="T23" fmla="*/ 1603 h 1809"/>
                <a:gd name="T24" fmla="*/ 1721 w 2772"/>
                <a:gd name="T25" fmla="*/ 1632 h 1809"/>
                <a:gd name="T26" fmla="*/ 1750 w 2772"/>
                <a:gd name="T27" fmla="*/ 1632 h 1809"/>
                <a:gd name="T28" fmla="*/ 1866 w 2772"/>
                <a:gd name="T29" fmla="*/ 1661 h 1809"/>
                <a:gd name="T30" fmla="*/ 2012 w 2772"/>
                <a:gd name="T31" fmla="*/ 1691 h 1809"/>
                <a:gd name="T32" fmla="*/ 2100 w 2772"/>
                <a:gd name="T33" fmla="*/ 1720 h 1809"/>
                <a:gd name="T34" fmla="*/ 2188 w 2772"/>
                <a:gd name="T35" fmla="*/ 1778 h 1809"/>
                <a:gd name="T36" fmla="*/ 2245 w 2772"/>
                <a:gd name="T37" fmla="*/ 1749 h 1809"/>
                <a:gd name="T38" fmla="*/ 2304 w 2772"/>
                <a:gd name="T39" fmla="*/ 1720 h 1809"/>
                <a:gd name="T40" fmla="*/ 2421 w 2772"/>
                <a:gd name="T41" fmla="*/ 1691 h 1809"/>
                <a:gd name="T42" fmla="*/ 2479 w 2772"/>
                <a:gd name="T43" fmla="*/ 1720 h 1809"/>
                <a:gd name="T44" fmla="*/ 2479 w 2772"/>
                <a:gd name="T45" fmla="*/ 1720 h 1809"/>
                <a:gd name="T46" fmla="*/ 2509 w 2772"/>
                <a:gd name="T47" fmla="*/ 1720 h 1809"/>
                <a:gd name="T48" fmla="*/ 2538 w 2772"/>
                <a:gd name="T49" fmla="*/ 1720 h 1809"/>
                <a:gd name="T50" fmla="*/ 2566 w 2772"/>
                <a:gd name="T51" fmla="*/ 1720 h 1809"/>
                <a:gd name="T52" fmla="*/ 2683 w 2772"/>
                <a:gd name="T53" fmla="*/ 1778 h 1809"/>
                <a:gd name="T54" fmla="*/ 2771 w 2772"/>
                <a:gd name="T55" fmla="*/ 1808 h 1809"/>
                <a:gd name="T56" fmla="*/ 2771 w 2772"/>
                <a:gd name="T57" fmla="*/ 1661 h 1809"/>
                <a:gd name="T58" fmla="*/ 2742 w 2772"/>
                <a:gd name="T59" fmla="*/ 1458 h 1809"/>
                <a:gd name="T60" fmla="*/ 2712 w 2772"/>
                <a:gd name="T61" fmla="*/ 1399 h 1809"/>
                <a:gd name="T62" fmla="*/ 2683 w 2772"/>
                <a:gd name="T63" fmla="*/ 1370 h 1809"/>
                <a:gd name="T64" fmla="*/ 2654 w 2772"/>
                <a:gd name="T65" fmla="*/ 1341 h 1809"/>
                <a:gd name="T66" fmla="*/ 2683 w 2772"/>
                <a:gd name="T67" fmla="*/ 1341 h 1809"/>
                <a:gd name="T68" fmla="*/ 2742 w 2772"/>
                <a:gd name="T69" fmla="*/ 1341 h 1809"/>
                <a:gd name="T70" fmla="*/ 2742 w 2772"/>
                <a:gd name="T71" fmla="*/ 1341 h 1809"/>
                <a:gd name="T72" fmla="*/ 2771 w 2772"/>
                <a:gd name="T73" fmla="*/ 1341 h 1809"/>
                <a:gd name="T74" fmla="*/ 2771 w 2772"/>
                <a:gd name="T75" fmla="*/ 1078 h 1809"/>
                <a:gd name="T76" fmla="*/ 2771 w 2772"/>
                <a:gd name="T77" fmla="*/ 903 h 1809"/>
                <a:gd name="T78" fmla="*/ 2771 w 2772"/>
                <a:gd name="T79" fmla="*/ 729 h 1809"/>
                <a:gd name="T80" fmla="*/ 2771 w 2772"/>
                <a:gd name="T81" fmla="*/ 438 h 1809"/>
                <a:gd name="T82" fmla="*/ 2771 w 2772"/>
                <a:gd name="T83" fmla="*/ 409 h 1809"/>
                <a:gd name="T84" fmla="*/ 2742 w 2772"/>
                <a:gd name="T85" fmla="*/ 350 h 1809"/>
                <a:gd name="T86" fmla="*/ 2742 w 2772"/>
                <a:gd name="T87" fmla="*/ 233 h 1809"/>
                <a:gd name="T88" fmla="*/ 2742 w 2772"/>
                <a:gd name="T89" fmla="*/ 146 h 1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2" h="1809">
                  <a:moveTo>
                    <a:pt x="2742" y="146"/>
                  </a:moveTo>
                  <a:lnTo>
                    <a:pt x="2742" y="146"/>
                  </a:lnTo>
                  <a:cubicBezTo>
                    <a:pt x="1895" y="117"/>
                    <a:pt x="1079" y="59"/>
                    <a:pt x="175" y="0"/>
                  </a:cubicBezTo>
                  <a:cubicBezTo>
                    <a:pt x="117" y="379"/>
                    <a:pt x="59" y="788"/>
                    <a:pt x="29" y="1195"/>
                  </a:cubicBezTo>
                  <a:cubicBezTo>
                    <a:pt x="0" y="1428"/>
                    <a:pt x="0" y="1428"/>
                    <a:pt x="0" y="1428"/>
                  </a:cubicBezTo>
                  <a:cubicBezTo>
                    <a:pt x="467" y="1458"/>
                    <a:pt x="933" y="1487"/>
                    <a:pt x="1312" y="1516"/>
                  </a:cubicBezTo>
                  <a:cubicBezTo>
                    <a:pt x="1342" y="1516"/>
                    <a:pt x="1371" y="1516"/>
                    <a:pt x="1400" y="1516"/>
                  </a:cubicBezTo>
                  <a:cubicBezTo>
                    <a:pt x="1429" y="1516"/>
                    <a:pt x="1488" y="1516"/>
                    <a:pt x="1517" y="1545"/>
                  </a:cubicBezTo>
                  <a:cubicBezTo>
                    <a:pt x="1545" y="1545"/>
                    <a:pt x="1545" y="1545"/>
                    <a:pt x="1545" y="1545"/>
                  </a:cubicBezTo>
                  <a:cubicBezTo>
                    <a:pt x="1575" y="1574"/>
                    <a:pt x="1575" y="1574"/>
                    <a:pt x="1604" y="1574"/>
                  </a:cubicBezTo>
                  <a:cubicBezTo>
                    <a:pt x="1604" y="1574"/>
                    <a:pt x="1604" y="1574"/>
                    <a:pt x="1633" y="1574"/>
                  </a:cubicBezTo>
                  <a:cubicBezTo>
                    <a:pt x="1662" y="1574"/>
                    <a:pt x="1662" y="1574"/>
                    <a:pt x="1692" y="1603"/>
                  </a:cubicBezTo>
                  <a:cubicBezTo>
                    <a:pt x="1692" y="1603"/>
                    <a:pt x="1721" y="1603"/>
                    <a:pt x="1721" y="1632"/>
                  </a:cubicBezTo>
                  <a:cubicBezTo>
                    <a:pt x="1750" y="1632"/>
                    <a:pt x="1750" y="1632"/>
                    <a:pt x="1750" y="1632"/>
                  </a:cubicBezTo>
                  <a:cubicBezTo>
                    <a:pt x="1779" y="1661"/>
                    <a:pt x="1838" y="1661"/>
                    <a:pt x="1866" y="1661"/>
                  </a:cubicBezTo>
                  <a:cubicBezTo>
                    <a:pt x="1925" y="1661"/>
                    <a:pt x="1983" y="1691"/>
                    <a:pt x="2012" y="1691"/>
                  </a:cubicBezTo>
                  <a:cubicBezTo>
                    <a:pt x="2042" y="1691"/>
                    <a:pt x="2071" y="1720"/>
                    <a:pt x="2100" y="1720"/>
                  </a:cubicBezTo>
                  <a:cubicBezTo>
                    <a:pt x="2129" y="1749"/>
                    <a:pt x="2159" y="1778"/>
                    <a:pt x="2188" y="1778"/>
                  </a:cubicBezTo>
                  <a:cubicBezTo>
                    <a:pt x="2188" y="1778"/>
                    <a:pt x="2216" y="1749"/>
                    <a:pt x="2245" y="1749"/>
                  </a:cubicBezTo>
                  <a:cubicBezTo>
                    <a:pt x="2275" y="1720"/>
                    <a:pt x="2275" y="1720"/>
                    <a:pt x="2304" y="1720"/>
                  </a:cubicBezTo>
                  <a:cubicBezTo>
                    <a:pt x="2333" y="1691"/>
                    <a:pt x="2392" y="1691"/>
                    <a:pt x="2421" y="1691"/>
                  </a:cubicBezTo>
                  <a:cubicBezTo>
                    <a:pt x="2450" y="1691"/>
                    <a:pt x="2450" y="1720"/>
                    <a:pt x="2479" y="1720"/>
                  </a:cubicBezTo>
                  <a:lnTo>
                    <a:pt x="2479" y="1720"/>
                  </a:lnTo>
                  <a:cubicBezTo>
                    <a:pt x="2509" y="1720"/>
                    <a:pt x="2509" y="1720"/>
                    <a:pt x="2509" y="1720"/>
                  </a:cubicBezTo>
                  <a:cubicBezTo>
                    <a:pt x="2538" y="1720"/>
                    <a:pt x="2538" y="1720"/>
                    <a:pt x="2538" y="1720"/>
                  </a:cubicBezTo>
                  <a:lnTo>
                    <a:pt x="2566" y="1720"/>
                  </a:lnTo>
                  <a:cubicBezTo>
                    <a:pt x="2595" y="1749"/>
                    <a:pt x="2625" y="1749"/>
                    <a:pt x="2683" y="1778"/>
                  </a:cubicBezTo>
                  <a:cubicBezTo>
                    <a:pt x="2712" y="1808"/>
                    <a:pt x="2742" y="1808"/>
                    <a:pt x="2771" y="1808"/>
                  </a:cubicBezTo>
                  <a:cubicBezTo>
                    <a:pt x="2742" y="1778"/>
                    <a:pt x="2742" y="1720"/>
                    <a:pt x="2771" y="1661"/>
                  </a:cubicBezTo>
                  <a:cubicBezTo>
                    <a:pt x="2771" y="1574"/>
                    <a:pt x="2771" y="1487"/>
                    <a:pt x="2742" y="1458"/>
                  </a:cubicBezTo>
                  <a:cubicBezTo>
                    <a:pt x="2742" y="1428"/>
                    <a:pt x="2742" y="1428"/>
                    <a:pt x="2712" y="1399"/>
                  </a:cubicBezTo>
                  <a:cubicBezTo>
                    <a:pt x="2712" y="1399"/>
                    <a:pt x="2683" y="1399"/>
                    <a:pt x="2683" y="1370"/>
                  </a:cubicBezTo>
                  <a:cubicBezTo>
                    <a:pt x="2654" y="1341"/>
                    <a:pt x="2654" y="1341"/>
                    <a:pt x="2654" y="1341"/>
                  </a:cubicBezTo>
                  <a:cubicBezTo>
                    <a:pt x="2683" y="1341"/>
                    <a:pt x="2683" y="1341"/>
                    <a:pt x="2683" y="1341"/>
                  </a:cubicBezTo>
                  <a:cubicBezTo>
                    <a:pt x="2712" y="1341"/>
                    <a:pt x="2712" y="1341"/>
                    <a:pt x="2742" y="1341"/>
                  </a:cubicBezTo>
                  <a:lnTo>
                    <a:pt x="2742" y="1341"/>
                  </a:lnTo>
                  <a:lnTo>
                    <a:pt x="2771" y="1341"/>
                  </a:lnTo>
                  <a:cubicBezTo>
                    <a:pt x="2771" y="1253"/>
                    <a:pt x="2771" y="1166"/>
                    <a:pt x="2771" y="1078"/>
                  </a:cubicBezTo>
                  <a:cubicBezTo>
                    <a:pt x="2771" y="1020"/>
                    <a:pt x="2771" y="961"/>
                    <a:pt x="2771" y="903"/>
                  </a:cubicBezTo>
                  <a:cubicBezTo>
                    <a:pt x="2771" y="846"/>
                    <a:pt x="2771" y="788"/>
                    <a:pt x="2771" y="729"/>
                  </a:cubicBezTo>
                  <a:cubicBezTo>
                    <a:pt x="2771" y="642"/>
                    <a:pt x="2771" y="525"/>
                    <a:pt x="2771" y="438"/>
                  </a:cubicBezTo>
                  <a:lnTo>
                    <a:pt x="2771" y="409"/>
                  </a:lnTo>
                  <a:cubicBezTo>
                    <a:pt x="2742" y="379"/>
                    <a:pt x="2742" y="350"/>
                    <a:pt x="2742" y="350"/>
                  </a:cubicBezTo>
                  <a:cubicBezTo>
                    <a:pt x="2742" y="292"/>
                    <a:pt x="2742" y="262"/>
                    <a:pt x="2742" y="233"/>
                  </a:cubicBezTo>
                  <a:cubicBezTo>
                    <a:pt x="2742" y="204"/>
                    <a:pt x="2771" y="175"/>
                    <a:pt x="2742" y="14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2" name="Freeform 99">
              <a:extLst>
                <a:ext uri="{FF2B5EF4-FFF2-40B4-BE49-F238E27FC236}">
                  <a16:creationId xmlns:a16="http://schemas.microsoft.com/office/drawing/2014/main" id="{36208135-1190-4E50-BA83-F8E079D48962}"/>
                </a:ext>
              </a:extLst>
            </p:cNvPr>
            <p:cNvSpPr>
              <a:spLocks noChangeArrowheads="1"/>
            </p:cNvSpPr>
            <p:nvPr/>
          </p:nvSpPr>
          <p:spPr bwMode="auto">
            <a:xfrm>
              <a:off x="8137985" y="1851418"/>
              <a:ext cx="755081" cy="792977"/>
            </a:xfrm>
            <a:custGeom>
              <a:avLst/>
              <a:gdLst>
                <a:gd name="T0" fmla="*/ 525 w 2043"/>
                <a:gd name="T1" fmla="*/ 1487 h 2159"/>
                <a:gd name="T2" fmla="*/ 613 w 2043"/>
                <a:gd name="T3" fmla="*/ 1574 h 2159"/>
                <a:gd name="T4" fmla="*/ 613 w 2043"/>
                <a:gd name="T5" fmla="*/ 1720 h 2159"/>
                <a:gd name="T6" fmla="*/ 642 w 2043"/>
                <a:gd name="T7" fmla="*/ 1953 h 2159"/>
                <a:gd name="T8" fmla="*/ 788 w 2043"/>
                <a:gd name="T9" fmla="*/ 2158 h 2159"/>
                <a:gd name="T10" fmla="*/ 1021 w 2043"/>
                <a:gd name="T11" fmla="*/ 2158 h 2159"/>
                <a:gd name="T12" fmla="*/ 1838 w 2043"/>
                <a:gd name="T13" fmla="*/ 2128 h 2159"/>
                <a:gd name="T14" fmla="*/ 1838 w 2043"/>
                <a:gd name="T15" fmla="*/ 2041 h 2159"/>
                <a:gd name="T16" fmla="*/ 1780 w 2043"/>
                <a:gd name="T17" fmla="*/ 1661 h 2159"/>
                <a:gd name="T18" fmla="*/ 1809 w 2043"/>
                <a:gd name="T19" fmla="*/ 1399 h 2159"/>
                <a:gd name="T20" fmla="*/ 1838 w 2043"/>
                <a:gd name="T21" fmla="*/ 1282 h 2159"/>
                <a:gd name="T22" fmla="*/ 1866 w 2043"/>
                <a:gd name="T23" fmla="*/ 1224 h 2159"/>
                <a:gd name="T24" fmla="*/ 1896 w 2043"/>
                <a:gd name="T25" fmla="*/ 1138 h 2159"/>
                <a:gd name="T26" fmla="*/ 2042 w 2043"/>
                <a:gd name="T27" fmla="*/ 759 h 2159"/>
                <a:gd name="T28" fmla="*/ 2013 w 2043"/>
                <a:gd name="T29" fmla="*/ 788 h 2159"/>
                <a:gd name="T30" fmla="*/ 1954 w 2043"/>
                <a:gd name="T31" fmla="*/ 933 h 2159"/>
                <a:gd name="T32" fmla="*/ 1780 w 2043"/>
                <a:gd name="T33" fmla="*/ 1109 h 2159"/>
                <a:gd name="T34" fmla="*/ 1692 w 2043"/>
                <a:gd name="T35" fmla="*/ 1282 h 2159"/>
                <a:gd name="T36" fmla="*/ 1633 w 2043"/>
                <a:gd name="T37" fmla="*/ 1253 h 2159"/>
                <a:gd name="T38" fmla="*/ 1692 w 2043"/>
                <a:gd name="T39" fmla="*/ 1109 h 2159"/>
                <a:gd name="T40" fmla="*/ 1780 w 2043"/>
                <a:gd name="T41" fmla="*/ 933 h 2159"/>
                <a:gd name="T42" fmla="*/ 1780 w 2043"/>
                <a:gd name="T43" fmla="*/ 846 h 2159"/>
                <a:gd name="T44" fmla="*/ 1750 w 2043"/>
                <a:gd name="T45" fmla="*/ 700 h 2159"/>
                <a:gd name="T46" fmla="*/ 1692 w 2043"/>
                <a:gd name="T47" fmla="*/ 583 h 2159"/>
                <a:gd name="T48" fmla="*/ 1633 w 2043"/>
                <a:gd name="T49" fmla="*/ 525 h 2159"/>
                <a:gd name="T50" fmla="*/ 1546 w 2043"/>
                <a:gd name="T51" fmla="*/ 467 h 2159"/>
                <a:gd name="T52" fmla="*/ 1400 w 2043"/>
                <a:gd name="T53" fmla="*/ 409 h 2159"/>
                <a:gd name="T54" fmla="*/ 1196 w 2043"/>
                <a:gd name="T55" fmla="*/ 321 h 2159"/>
                <a:gd name="T56" fmla="*/ 1167 w 2043"/>
                <a:gd name="T57" fmla="*/ 321 h 2159"/>
                <a:gd name="T58" fmla="*/ 963 w 2043"/>
                <a:gd name="T59" fmla="*/ 262 h 2159"/>
                <a:gd name="T60" fmla="*/ 904 w 2043"/>
                <a:gd name="T61" fmla="*/ 233 h 2159"/>
                <a:gd name="T62" fmla="*/ 788 w 2043"/>
                <a:gd name="T63" fmla="*/ 175 h 2159"/>
                <a:gd name="T64" fmla="*/ 730 w 2043"/>
                <a:gd name="T65" fmla="*/ 175 h 2159"/>
                <a:gd name="T66" fmla="*/ 671 w 2043"/>
                <a:gd name="T67" fmla="*/ 175 h 2159"/>
                <a:gd name="T68" fmla="*/ 671 w 2043"/>
                <a:gd name="T69" fmla="*/ 146 h 2159"/>
                <a:gd name="T70" fmla="*/ 700 w 2043"/>
                <a:gd name="T71" fmla="*/ 59 h 2159"/>
                <a:gd name="T72" fmla="*/ 671 w 2043"/>
                <a:gd name="T73" fmla="*/ 0 h 2159"/>
                <a:gd name="T74" fmla="*/ 525 w 2043"/>
                <a:gd name="T75" fmla="*/ 88 h 2159"/>
                <a:gd name="T76" fmla="*/ 467 w 2043"/>
                <a:gd name="T77" fmla="*/ 88 h 2159"/>
                <a:gd name="T78" fmla="*/ 233 w 2043"/>
                <a:gd name="T79" fmla="*/ 146 h 2159"/>
                <a:gd name="T80" fmla="*/ 233 w 2043"/>
                <a:gd name="T81" fmla="*/ 438 h 2159"/>
                <a:gd name="T82" fmla="*/ 233 w 2043"/>
                <a:gd name="T83" fmla="*/ 438 h 2159"/>
                <a:gd name="T84" fmla="*/ 59 w 2043"/>
                <a:gd name="T85" fmla="*/ 671 h 2159"/>
                <a:gd name="T86" fmla="*/ 59 w 2043"/>
                <a:gd name="T87" fmla="*/ 759 h 2159"/>
                <a:gd name="T88" fmla="*/ 59 w 2043"/>
                <a:gd name="T89" fmla="*/ 904 h 2159"/>
                <a:gd name="T90" fmla="*/ 29 w 2043"/>
                <a:gd name="T91" fmla="*/ 1050 h 2159"/>
                <a:gd name="T92" fmla="*/ 117 w 2043"/>
                <a:gd name="T93" fmla="*/ 1109 h 2159"/>
                <a:gd name="T94" fmla="*/ 175 w 2043"/>
                <a:gd name="T95" fmla="*/ 1196 h 2159"/>
                <a:gd name="T96" fmla="*/ 233 w 2043"/>
                <a:gd name="T97" fmla="*/ 1196 h 2159"/>
                <a:gd name="T98" fmla="*/ 380 w 2043"/>
                <a:gd name="T99" fmla="*/ 1370 h 2159"/>
                <a:gd name="T100" fmla="*/ 525 w 2043"/>
                <a:gd name="T101" fmla="*/ 1458 h 2159"/>
                <a:gd name="T102" fmla="*/ 525 w 2043"/>
                <a:gd name="T103" fmla="*/ 1458 h 2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43" h="2159">
                  <a:moveTo>
                    <a:pt x="525" y="1487"/>
                  </a:moveTo>
                  <a:lnTo>
                    <a:pt x="525" y="1487"/>
                  </a:lnTo>
                  <a:lnTo>
                    <a:pt x="525" y="1487"/>
                  </a:lnTo>
                  <a:cubicBezTo>
                    <a:pt x="554" y="1516"/>
                    <a:pt x="583" y="1516"/>
                    <a:pt x="613" y="1574"/>
                  </a:cubicBezTo>
                  <a:cubicBezTo>
                    <a:pt x="613" y="1574"/>
                    <a:pt x="613" y="1603"/>
                    <a:pt x="583" y="1632"/>
                  </a:cubicBezTo>
                  <a:cubicBezTo>
                    <a:pt x="613" y="1661"/>
                    <a:pt x="613" y="1691"/>
                    <a:pt x="613" y="1720"/>
                  </a:cubicBezTo>
                  <a:cubicBezTo>
                    <a:pt x="671" y="1749"/>
                    <a:pt x="671" y="1837"/>
                    <a:pt x="642" y="1895"/>
                  </a:cubicBezTo>
                  <a:cubicBezTo>
                    <a:pt x="642" y="1924"/>
                    <a:pt x="642" y="1953"/>
                    <a:pt x="642" y="1953"/>
                  </a:cubicBezTo>
                  <a:cubicBezTo>
                    <a:pt x="642" y="1982"/>
                    <a:pt x="642" y="2011"/>
                    <a:pt x="642" y="2011"/>
                  </a:cubicBezTo>
                  <a:cubicBezTo>
                    <a:pt x="671" y="2070"/>
                    <a:pt x="759" y="2158"/>
                    <a:pt x="788" y="2158"/>
                  </a:cubicBezTo>
                  <a:cubicBezTo>
                    <a:pt x="846" y="2158"/>
                    <a:pt x="904" y="2158"/>
                    <a:pt x="963" y="2158"/>
                  </a:cubicBezTo>
                  <a:cubicBezTo>
                    <a:pt x="992" y="2158"/>
                    <a:pt x="992" y="2158"/>
                    <a:pt x="1021" y="2158"/>
                  </a:cubicBezTo>
                  <a:cubicBezTo>
                    <a:pt x="1167" y="2158"/>
                    <a:pt x="1283" y="2158"/>
                    <a:pt x="1430" y="2158"/>
                  </a:cubicBezTo>
                  <a:cubicBezTo>
                    <a:pt x="1575" y="2128"/>
                    <a:pt x="1692" y="2128"/>
                    <a:pt x="1838" y="2128"/>
                  </a:cubicBezTo>
                  <a:cubicBezTo>
                    <a:pt x="1838" y="2128"/>
                    <a:pt x="1838" y="2099"/>
                    <a:pt x="1838" y="2070"/>
                  </a:cubicBezTo>
                  <a:lnTo>
                    <a:pt x="1838" y="2041"/>
                  </a:lnTo>
                  <a:cubicBezTo>
                    <a:pt x="1838" y="1982"/>
                    <a:pt x="1838" y="1895"/>
                    <a:pt x="1809" y="1837"/>
                  </a:cubicBezTo>
                  <a:cubicBezTo>
                    <a:pt x="1780" y="1778"/>
                    <a:pt x="1780" y="1720"/>
                    <a:pt x="1780" y="1661"/>
                  </a:cubicBezTo>
                  <a:cubicBezTo>
                    <a:pt x="1750" y="1574"/>
                    <a:pt x="1780" y="1487"/>
                    <a:pt x="1809" y="1428"/>
                  </a:cubicBezTo>
                  <a:cubicBezTo>
                    <a:pt x="1809" y="1399"/>
                    <a:pt x="1809" y="1399"/>
                    <a:pt x="1809" y="1399"/>
                  </a:cubicBezTo>
                  <a:cubicBezTo>
                    <a:pt x="1809" y="1370"/>
                    <a:pt x="1809" y="1370"/>
                    <a:pt x="1809" y="1370"/>
                  </a:cubicBezTo>
                  <a:cubicBezTo>
                    <a:pt x="1809" y="1311"/>
                    <a:pt x="1809" y="1282"/>
                    <a:pt x="1838" y="1282"/>
                  </a:cubicBezTo>
                  <a:cubicBezTo>
                    <a:pt x="1838" y="1253"/>
                    <a:pt x="1838" y="1253"/>
                    <a:pt x="1866" y="1253"/>
                  </a:cubicBezTo>
                  <a:cubicBezTo>
                    <a:pt x="1866" y="1224"/>
                    <a:pt x="1866" y="1224"/>
                    <a:pt x="1866" y="1224"/>
                  </a:cubicBezTo>
                  <a:cubicBezTo>
                    <a:pt x="1866" y="1224"/>
                    <a:pt x="1866" y="1196"/>
                    <a:pt x="1866" y="1167"/>
                  </a:cubicBezTo>
                  <a:cubicBezTo>
                    <a:pt x="1866" y="1167"/>
                    <a:pt x="1866" y="1138"/>
                    <a:pt x="1896" y="1138"/>
                  </a:cubicBezTo>
                  <a:cubicBezTo>
                    <a:pt x="1896" y="1050"/>
                    <a:pt x="1925" y="992"/>
                    <a:pt x="1954" y="933"/>
                  </a:cubicBezTo>
                  <a:cubicBezTo>
                    <a:pt x="1983" y="875"/>
                    <a:pt x="2013" y="817"/>
                    <a:pt x="2042" y="759"/>
                  </a:cubicBezTo>
                  <a:cubicBezTo>
                    <a:pt x="2042" y="759"/>
                    <a:pt x="2042" y="759"/>
                    <a:pt x="2013" y="759"/>
                  </a:cubicBezTo>
                  <a:cubicBezTo>
                    <a:pt x="2013" y="788"/>
                    <a:pt x="2013" y="788"/>
                    <a:pt x="2013" y="788"/>
                  </a:cubicBezTo>
                  <a:cubicBezTo>
                    <a:pt x="1983" y="817"/>
                    <a:pt x="1983" y="846"/>
                    <a:pt x="1983" y="875"/>
                  </a:cubicBezTo>
                  <a:cubicBezTo>
                    <a:pt x="1983" y="904"/>
                    <a:pt x="1954" y="904"/>
                    <a:pt x="1954" y="933"/>
                  </a:cubicBezTo>
                  <a:cubicBezTo>
                    <a:pt x="1925" y="992"/>
                    <a:pt x="1896" y="1021"/>
                    <a:pt x="1866" y="1050"/>
                  </a:cubicBezTo>
                  <a:cubicBezTo>
                    <a:pt x="1838" y="1050"/>
                    <a:pt x="1809" y="1079"/>
                    <a:pt x="1780" y="1109"/>
                  </a:cubicBezTo>
                  <a:cubicBezTo>
                    <a:pt x="1780" y="1109"/>
                    <a:pt x="1780" y="1138"/>
                    <a:pt x="1750" y="1167"/>
                  </a:cubicBezTo>
                  <a:cubicBezTo>
                    <a:pt x="1750" y="1224"/>
                    <a:pt x="1721" y="1282"/>
                    <a:pt x="1692" y="1282"/>
                  </a:cubicBezTo>
                  <a:lnTo>
                    <a:pt x="1692" y="1282"/>
                  </a:lnTo>
                  <a:cubicBezTo>
                    <a:pt x="1663" y="1282"/>
                    <a:pt x="1663" y="1282"/>
                    <a:pt x="1633" y="1253"/>
                  </a:cubicBezTo>
                  <a:cubicBezTo>
                    <a:pt x="1633" y="1224"/>
                    <a:pt x="1633" y="1167"/>
                    <a:pt x="1633" y="1167"/>
                  </a:cubicBezTo>
                  <a:cubicBezTo>
                    <a:pt x="1663" y="1138"/>
                    <a:pt x="1663" y="1109"/>
                    <a:pt x="1692" y="1109"/>
                  </a:cubicBezTo>
                  <a:lnTo>
                    <a:pt x="1721" y="1079"/>
                  </a:lnTo>
                  <a:cubicBezTo>
                    <a:pt x="1721" y="1021"/>
                    <a:pt x="1750" y="962"/>
                    <a:pt x="1780" y="933"/>
                  </a:cubicBezTo>
                  <a:lnTo>
                    <a:pt x="1809" y="904"/>
                  </a:lnTo>
                  <a:cubicBezTo>
                    <a:pt x="1809" y="875"/>
                    <a:pt x="1780" y="875"/>
                    <a:pt x="1780" y="846"/>
                  </a:cubicBezTo>
                  <a:cubicBezTo>
                    <a:pt x="1780" y="846"/>
                    <a:pt x="1750" y="817"/>
                    <a:pt x="1750" y="759"/>
                  </a:cubicBezTo>
                  <a:cubicBezTo>
                    <a:pt x="1750" y="759"/>
                    <a:pt x="1750" y="729"/>
                    <a:pt x="1750" y="700"/>
                  </a:cubicBezTo>
                  <a:cubicBezTo>
                    <a:pt x="1721" y="671"/>
                    <a:pt x="1721" y="642"/>
                    <a:pt x="1721" y="612"/>
                  </a:cubicBezTo>
                  <a:lnTo>
                    <a:pt x="1692" y="583"/>
                  </a:lnTo>
                  <a:lnTo>
                    <a:pt x="1663" y="554"/>
                  </a:lnTo>
                  <a:lnTo>
                    <a:pt x="1633" y="525"/>
                  </a:lnTo>
                  <a:cubicBezTo>
                    <a:pt x="1633" y="525"/>
                    <a:pt x="1633" y="496"/>
                    <a:pt x="1604" y="496"/>
                  </a:cubicBezTo>
                  <a:cubicBezTo>
                    <a:pt x="1604" y="496"/>
                    <a:pt x="1575" y="467"/>
                    <a:pt x="1546" y="467"/>
                  </a:cubicBezTo>
                  <a:cubicBezTo>
                    <a:pt x="1517" y="467"/>
                    <a:pt x="1488" y="438"/>
                    <a:pt x="1459" y="438"/>
                  </a:cubicBezTo>
                  <a:cubicBezTo>
                    <a:pt x="1430" y="409"/>
                    <a:pt x="1400" y="409"/>
                    <a:pt x="1400" y="409"/>
                  </a:cubicBezTo>
                  <a:cubicBezTo>
                    <a:pt x="1342" y="379"/>
                    <a:pt x="1254" y="321"/>
                    <a:pt x="1196" y="321"/>
                  </a:cubicBezTo>
                  <a:lnTo>
                    <a:pt x="1196" y="321"/>
                  </a:lnTo>
                  <a:cubicBezTo>
                    <a:pt x="1167" y="321"/>
                    <a:pt x="1167" y="321"/>
                    <a:pt x="1167" y="321"/>
                  </a:cubicBezTo>
                  <a:lnTo>
                    <a:pt x="1167" y="321"/>
                  </a:lnTo>
                  <a:cubicBezTo>
                    <a:pt x="1138" y="321"/>
                    <a:pt x="1109" y="321"/>
                    <a:pt x="1109" y="321"/>
                  </a:cubicBezTo>
                  <a:cubicBezTo>
                    <a:pt x="1050" y="321"/>
                    <a:pt x="992" y="292"/>
                    <a:pt x="963" y="262"/>
                  </a:cubicBezTo>
                  <a:cubicBezTo>
                    <a:pt x="963" y="262"/>
                    <a:pt x="933" y="262"/>
                    <a:pt x="933" y="233"/>
                  </a:cubicBezTo>
                  <a:lnTo>
                    <a:pt x="904" y="233"/>
                  </a:lnTo>
                  <a:cubicBezTo>
                    <a:pt x="875" y="204"/>
                    <a:pt x="846" y="204"/>
                    <a:pt x="817" y="175"/>
                  </a:cubicBezTo>
                  <a:lnTo>
                    <a:pt x="788" y="175"/>
                  </a:lnTo>
                  <a:cubicBezTo>
                    <a:pt x="759" y="175"/>
                    <a:pt x="759" y="146"/>
                    <a:pt x="759" y="146"/>
                  </a:cubicBezTo>
                  <a:cubicBezTo>
                    <a:pt x="759" y="146"/>
                    <a:pt x="759" y="146"/>
                    <a:pt x="730" y="175"/>
                  </a:cubicBezTo>
                  <a:lnTo>
                    <a:pt x="700" y="175"/>
                  </a:lnTo>
                  <a:lnTo>
                    <a:pt x="671" y="175"/>
                  </a:lnTo>
                  <a:lnTo>
                    <a:pt x="671" y="175"/>
                  </a:lnTo>
                  <a:cubicBezTo>
                    <a:pt x="671" y="146"/>
                    <a:pt x="671" y="146"/>
                    <a:pt x="671" y="146"/>
                  </a:cubicBezTo>
                  <a:cubicBezTo>
                    <a:pt x="671" y="117"/>
                    <a:pt x="671" y="117"/>
                    <a:pt x="700" y="88"/>
                  </a:cubicBezTo>
                  <a:cubicBezTo>
                    <a:pt x="700" y="88"/>
                    <a:pt x="700" y="88"/>
                    <a:pt x="700" y="59"/>
                  </a:cubicBezTo>
                  <a:cubicBezTo>
                    <a:pt x="700" y="59"/>
                    <a:pt x="700" y="59"/>
                    <a:pt x="700" y="29"/>
                  </a:cubicBezTo>
                  <a:cubicBezTo>
                    <a:pt x="671" y="29"/>
                    <a:pt x="671" y="0"/>
                    <a:pt x="671" y="0"/>
                  </a:cubicBezTo>
                  <a:cubicBezTo>
                    <a:pt x="642" y="0"/>
                    <a:pt x="613" y="29"/>
                    <a:pt x="583" y="29"/>
                  </a:cubicBezTo>
                  <a:cubicBezTo>
                    <a:pt x="554" y="59"/>
                    <a:pt x="554" y="59"/>
                    <a:pt x="525" y="88"/>
                  </a:cubicBezTo>
                  <a:lnTo>
                    <a:pt x="525" y="88"/>
                  </a:lnTo>
                  <a:cubicBezTo>
                    <a:pt x="467" y="88"/>
                    <a:pt x="467" y="88"/>
                    <a:pt x="467" y="88"/>
                  </a:cubicBezTo>
                  <a:cubicBezTo>
                    <a:pt x="438" y="117"/>
                    <a:pt x="380" y="117"/>
                    <a:pt x="321" y="146"/>
                  </a:cubicBezTo>
                  <a:cubicBezTo>
                    <a:pt x="292" y="146"/>
                    <a:pt x="263" y="146"/>
                    <a:pt x="233" y="146"/>
                  </a:cubicBezTo>
                  <a:cubicBezTo>
                    <a:pt x="233" y="204"/>
                    <a:pt x="233" y="233"/>
                    <a:pt x="233" y="262"/>
                  </a:cubicBezTo>
                  <a:cubicBezTo>
                    <a:pt x="233" y="321"/>
                    <a:pt x="233" y="379"/>
                    <a:pt x="233" y="438"/>
                  </a:cubicBezTo>
                  <a:lnTo>
                    <a:pt x="233" y="438"/>
                  </a:lnTo>
                  <a:lnTo>
                    <a:pt x="233" y="438"/>
                  </a:lnTo>
                  <a:cubicBezTo>
                    <a:pt x="175" y="496"/>
                    <a:pt x="117" y="554"/>
                    <a:pt x="29" y="583"/>
                  </a:cubicBezTo>
                  <a:cubicBezTo>
                    <a:pt x="29" y="612"/>
                    <a:pt x="59" y="642"/>
                    <a:pt x="59" y="671"/>
                  </a:cubicBezTo>
                  <a:cubicBezTo>
                    <a:pt x="59" y="700"/>
                    <a:pt x="59" y="729"/>
                    <a:pt x="59" y="729"/>
                  </a:cubicBezTo>
                  <a:cubicBezTo>
                    <a:pt x="59" y="759"/>
                    <a:pt x="59" y="759"/>
                    <a:pt x="59" y="759"/>
                  </a:cubicBezTo>
                  <a:cubicBezTo>
                    <a:pt x="59" y="788"/>
                    <a:pt x="88" y="788"/>
                    <a:pt x="88" y="817"/>
                  </a:cubicBezTo>
                  <a:cubicBezTo>
                    <a:pt x="88" y="846"/>
                    <a:pt x="59" y="875"/>
                    <a:pt x="59" y="904"/>
                  </a:cubicBezTo>
                  <a:cubicBezTo>
                    <a:pt x="29" y="904"/>
                    <a:pt x="29" y="933"/>
                    <a:pt x="29" y="933"/>
                  </a:cubicBezTo>
                  <a:cubicBezTo>
                    <a:pt x="29" y="962"/>
                    <a:pt x="0" y="1021"/>
                    <a:pt x="29" y="1050"/>
                  </a:cubicBezTo>
                  <a:cubicBezTo>
                    <a:pt x="29" y="1079"/>
                    <a:pt x="59" y="1079"/>
                    <a:pt x="59" y="1079"/>
                  </a:cubicBezTo>
                  <a:cubicBezTo>
                    <a:pt x="88" y="1109"/>
                    <a:pt x="88" y="1109"/>
                    <a:pt x="117" y="1109"/>
                  </a:cubicBezTo>
                  <a:cubicBezTo>
                    <a:pt x="117" y="1138"/>
                    <a:pt x="117" y="1138"/>
                    <a:pt x="117" y="1167"/>
                  </a:cubicBezTo>
                  <a:cubicBezTo>
                    <a:pt x="146" y="1196"/>
                    <a:pt x="146" y="1196"/>
                    <a:pt x="175" y="1196"/>
                  </a:cubicBezTo>
                  <a:cubicBezTo>
                    <a:pt x="175" y="1196"/>
                    <a:pt x="175" y="1196"/>
                    <a:pt x="204" y="1196"/>
                  </a:cubicBezTo>
                  <a:cubicBezTo>
                    <a:pt x="204" y="1196"/>
                    <a:pt x="204" y="1196"/>
                    <a:pt x="233" y="1196"/>
                  </a:cubicBezTo>
                  <a:cubicBezTo>
                    <a:pt x="292" y="1224"/>
                    <a:pt x="321" y="1253"/>
                    <a:pt x="321" y="1311"/>
                  </a:cubicBezTo>
                  <a:cubicBezTo>
                    <a:pt x="350" y="1311"/>
                    <a:pt x="350" y="1341"/>
                    <a:pt x="380" y="1370"/>
                  </a:cubicBezTo>
                  <a:cubicBezTo>
                    <a:pt x="380" y="1370"/>
                    <a:pt x="409" y="1370"/>
                    <a:pt x="438" y="1399"/>
                  </a:cubicBezTo>
                  <a:cubicBezTo>
                    <a:pt x="467" y="1399"/>
                    <a:pt x="496" y="1399"/>
                    <a:pt x="525" y="1458"/>
                  </a:cubicBezTo>
                  <a:lnTo>
                    <a:pt x="525" y="1458"/>
                  </a:lnTo>
                  <a:lnTo>
                    <a:pt x="525" y="1458"/>
                  </a:lnTo>
                  <a:cubicBezTo>
                    <a:pt x="525" y="1487"/>
                    <a:pt x="525" y="1487"/>
                    <a:pt x="525" y="148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3" name="Freeform 100">
              <a:extLst>
                <a:ext uri="{FF2B5EF4-FFF2-40B4-BE49-F238E27FC236}">
                  <a16:creationId xmlns:a16="http://schemas.microsoft.com/office/drawing/2014/main" id="{CA872026-BA1A-4FB6-A664-8D02924A5405}"/>
                </a:ext>
              </a:extLst>
            </p:cNvPr>
            <p:cNvSpPr>
              <a:spLocks noChangeArrowheads="1"/>
            </p:cNvSpPr>
            <p:nvPr/>
          </p:nvSpPr>
          <p:spPr bwMode="auto">
            <a:xfrm>
              <a:off x="8407074" y="1874074"/>
              <a:ext cx="11416" cy="21039"/>
            </a:xfrm>
            <a:custGeom>
              <a:avLst/>
              <a:gdLst>
                <a:gd name="T0" fmla="*/ 29 w 30"/>
                <a:gd name="T1" fmla="*/ 0 h 59"/>
                <a:gd name="T2" fmla="*/ 29 w 30"/>
                <a:gd name="T3" fmla="*/ 0 h 59"/>
                <a:gd name="T4" fmla="*/ 0 w 30"/>
                <a:gd name="T5" fmla="*/ 58 h 59"/>
                <a:gd name="T6" fmla="*/ 29 w 30"/>
                <a:gd name="T7" fmla="*/ 0 h 59"/>
              </a:gdLst>
              <a:ahLst/>
              <a:cxnLst>
                <a:cxn ang="0">
                  <a:pos x="T0" y="T1"/>
                </a:cxn>
                <a:cxn ang="0">
                  <a:pos x="T2" y="T3"/>
                </a:cxn>
                <a:cxn ang="0">
                  <a:pos x="T4" y="T5"/>
                </a:cxn>
                <a:cxn ang="0">
                  <a:pos x="T6" y="T7"/>
                </a:cxn>
              </a:cxnLst>
              <a:rect l="0" t="0" r="r" b="b"/>
              <a:pathLst>
                <a:path w="30" h="59">
                  <a:moveTo>
                    <a:pt x="29" y="0"/>
                  </a:moveTo>
                  <a:lnTo>
                    <a:pt x="29" y="0"/>
                  </a:lnTo>
                  <a:cubicBezTo>
                    <a:pt x="29" y="29"/>
                    <a:pt x="0" y="29"/>
                    <a:pt x="0" y="58"/>
                  </a:cubicBezTo>
                  <a:cubicBezTo>
                    <a:pt x="0" y="29"/>
                    <a:pt x="29" y="29"/>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4" name="Freeform 101">
              <a:extLst>
                <a:ext uri="{FF2B5EF4-FFF2-40B4-BE49-F238E27FC236}">
                  <a16:creationId xmlns:a16="http://schemas.microsoft.com/office/drawing/2014/main" id="{CE86C088-701C-440E-AFEB-850E19FDB033}"/>
                </a:ext>
              </a:extLst>
            </p:cNvPr>
            <p:cNvSpPr>
              <a:spLocks noChangeArrowheads="1"/>
            </p:cNvSpPr>
            <p:nvPr/>
          </p:nvSpPr>
          <p:spPr bwMode="auto">
            <a:xfrm>
              <a:off x="5246495" y="1178196"/>
              <a:ext cx="1477546" cy="953191"/>
            </a:xfrm>
            <a:custGeom>
              <a:avLst/>
              <a:gdLst>
                <a:gd name="T0" fmla="*/ 59 w 3997"/>
                <a:gd name="T1" fmla="*/ 176 h 2598"/>
                <a:gd name="T2" fmla="*/ 0 w 3997"/>
                <a:gd name="T3" fmla="*/ 380 h 2598"/>
                <a:gd name="T4" fmla="*/ 88 w 3997"/>
                <a:gd name="T5" fmla="*/ 497 h 2598"/>
                <a:gd name="T6" fmla="*/ 175 w 3997"/>
                <a:gd name="T7" fmla="*/ 642 h 2598"/>
                <a:gd name="T8" fmla="*/ 175 w 3997"/>
                <a:gd name="T9" fmla="*/ 642 h 2598"/>
                <a:gd name="T10" fmla="*/ 204 w 3997"/>
                <a:gd name="T11" fmla="*/ 700 h 2598"/>
                <a:gd name="T12" fmla="*/ 263 w 3997"/>
                <a:gd name="T13" fmla="*/ 847 h 2598"/>
                <a:gd name="T14" fmla="*/ 292 w 3997"/>
                <a:gd name="T15" fmla="*/ 992 h 2598"/>
                <a:gd name="T16" fmla="*/ 350 w 3997"/>
                <a:gd name="T17" fmla="*/ 1050 h 2598"/>
                <a:gd name="T18" fmla="*/ 321 w 3997"/>
                <a:gd name="T19" fmla="*/ 1138 h 2598"/>
                <a:gd name="T20" fmla="*/ 350 w 3997"/>
                <a:gd name="T21" fmla="*/ 1197 h 2598"/>
                <a:gd name="T22" fmla="*/ 292 w 3997"/>
                <a:gd name="T23" fmla="*/ 1430 h 2598"/>
                <a:gd name="T24" fmla="*/ 263 w 3997"/>
                <a:gd name="T25" fmla="*/ 1547 h 2598"/>
                <a:gd name="T26" fmla="*/ 233 w 3997"/>
                <a:gd name="T27" fmla="*/ 1663 h 2598"/>
                <a:gd name="T28" fmla="*/ 263 w 3997"/>
                <a:gd name="T29" fmla="*/ 1663 h 2598"/>
                <a:gd name="T30" fmla="*/ 350 w 3997"/>
                <a:gd name="T31" fmla="*/ 1605 h 2598"/>
                <a:gd name="T32" fmla="*/ 380 w 3997"/>
                <a:gd name="T33" fmla="*/ 1721 h 2598"/>
                <a:gd name="T34" fmla="*/ 380 w 3997"/>
                <a:gd name="T35" fmla="*/ 1780 h 2598"/>
                <a:gd name="T36" fmla="*/ 409 w 3997"/>
                <a:gd name="T37" fmla="*/ 1926 h 2598"/>
                <a:gd name="T38" fmla="*/ 466 w 3997"/>
                <a:gd name="T39" fmla="*/ 2100 h 2598"/>
                <a:gd name="T40" fmla="*/ 525 w 3997"/>
                <a:gd name="T41" fmla="*/ 2217 h 2598"/>
                <a:gd name="T42" fmla="*/ 700 w 3997"/>
                <a:gd name="T43" fmla="*/ 2421 h 2598"/>
                <a:gd name="T44" fmla="*/ 816 w 3997"/>
                <a:gd name="T45" fmla="*/ 2392 h 2598"/>
                <a:gd name="T46" fmla="*/ 904 w 3997"/>
                <a:gd name="T47" fmla="*/ 2392 h 2598"/>
                <a:gd name="T48" fmla="*/ 1021 w 3997"/>
                <a:gd name="T49" fmla="*/ 2450 h 2598"/>
                <a:gd name="T50" fmla="*/ 1137 w 3997"/>
                <a:gd name="T51" fmla="*/ 2421 h 2598"/>
                <a:gd name="T52" fmla="*/ 1196 w 3997"/>
                <a:gd name="T53" fmla="*/ 2509 h 2598"/>
                <a:gd name="T54" fmla="*/ 1283 w 3997"/>
                <a:gd name="T55" fmla="*/ 2421 h 2598"/>
                <a:gd name="T56" fmla="*/ 1342 w 3997"/>
                <a:gd name="T57" fmla="*/ 2247 h 2598"/>
                <a:gd name="T58" fmla="*/ 3763 w 3997"/>
                <a:gd name="T59" fmla="*/ 2597 h 2598"/>
                <a:gd name="T60" fmla="*/ 3996 w 3997"/>
                <a:gd name="T61" fmla="*/ 671 h 2598"/>
                <a:gd name="T62" fmla="*/ 59 w 3997"/>
                <a:gd name="T63" fmla="*/ 147 h 2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97" h="2598">
                  <a:moveTo>
                    <a:pt x="59" y="176"/>
                  </a:moveTo>
                  <a:lnTo>
                    <a:pt x="59" y="176"/>
                  </a:lnTo>
                  <a:cubicBezTo>
                    <a:pt x="59" y="205"/>
                    <a:pt x="59" y="234"/>
                    <a:pt x="30" y="264"/>
                  </a:cubicBezTo>
                  <a:cubicBezTo>
                    <a:pt x="30" y="292"/>
                    <a:pt x="0" y="350"/>
                    <a:pt x="0" y="380"/>
                  </a:cubicBezTo>
                  <a:cubicBezTo>
                    <a:pt x="0" y="380"/>
                    <a:pt x="30" y="438"/>
                    <a:pt x="59" y="467"/>
                  </a:cubicBezTo>
                  <a:cubicBezTo>
                    <a:pt x="59" y="467"/>
                    <a:pt x="59" y="467"/>
                    <a:pt x="88" y="497"/>
                  </a:cubicBezTo>
                  <a:lnTo>
                    <a:pt x="88" y="526"/>
                  </a:lnTo>
                  <a:cubicBezTo>
                    <a:pt x="116" y="555"/>
                    <a:pt x="146" y="614"/>
                    <a:pt x="175" y="642"/>
                  </a:cubicBezTo>
                  <a:lnTo>
                    <a:pt x="175" y="642"/>
                  </a:lnTo>
                  <a:lnTo>
                    <a:pt x="175" y="642"/>
                  </a:lnTo>
                  <a:cubicBezTo>
                    <a:pt x="175" y="671"/>
                    <a:pt x="175" y="700"/>
                    <a:pt x="175" y="700"/>
                  </a:cubicBezTo>
                  <a:cubicBezTo>
                    <a:pt x="175" y="700"/>
                    <a:pt x="175" y="700"/>
                    <a:pt x="204" y="700"/>
                  </a:cubicBezTo>
                  <a:lnTo>
                    <a:pt x="233" y="730"/>
                  </a:lnTo>
                  <a:cubicBezTo>
                    <a:pt x="263" y="788"/>
                    <a:pt x="263" y="817"/>
                    <a:pt x="263" y="847"/>
                  </a:cubicBezTo>
                  <a:cubicBezTo>
                    <a:pt x="263" y="876"/>
                    <a:pt x="263" y="876"/>
                    <a:pt x="263" y="905"/>
                  </a:cubicBezTo>
                  <a:cubicBezTo>
                    <a:pt x="263" y="905"/>
                    <a:pt x="263" y="963"/>
                    <a:pt x="292" y="992"/>
                  </a:cubicBezTo>
                  <a:cubicBezTo>
                    <a:pt x="292" y="992"/>
                    <a:pt x="292" y="992"/>
                    <a:pt x="292" y="1021"/>
                  </a:cubicBezTo>
                  <a:cubicBezTo>
                    <a:pt x="321" y="1021"/>
                    <a:pt x="350" y="1050"/>
                    <a:pt x="350" y="1050"/>
                  </a:cubicBezTo>
                  <a:cubicBezTo>
                    <a:pt x="350" y="1080"/>
                    <a:pt x="321" y="1109"/>
                    <a:pt x="321" y="1109"/>
                  </a:cubicBezTo>
                  <a:cubicBezTo>
                    <a:pt x="321" y="1138"/>
                    <a:pt x="321" y="1138"/>
                    <a:pt x="321" y="1138"/>
                  </a:cubicBezTo>
                  <a:cubicBezTo>
                    <a:pt x="321" y="1167"/>
                    <a:pt x="321" y="1167"/>
                    <a:pt x="321" y="1167"/>
                  </a:cubicBezTo>
                  <a:cubicBezTo>
                    <a:pt x="350" y="1197"/>
                    <a:pt x="350" y="1197"/>
                    <a:pt x="350" y="1197"/>
                  </a:cubicBezTo>
                  <a:cubicBezTo>
                    <a:pt x="380" y="1255"/>
                    <a:pt x="380" y="1342"/>
                    <a:pt x="350" y="1400"/>
                  </a:cubicBezTo>
                  <a:cubicBezTo>
                    <a:pt x="321" y="1430"/>
                    <a:pt x="321" y="1430"/>
                    <a:pt x="292" y="1430"/>
                  </a:cubicBezTo>
                  <a:cubicBezTo>
                    <a:pt x="292" y="1459"/>
                    <a:pt x="263" y="1459"/>
                    <a:pt x="263" y="1488"/>
                  </a:cubicBezTo>
                  <a:cubicBezTo>
                    <a:pt x="263" y="1517"/>
                    <a:pt x="263" y="1517"/>
                    <a:pt x="263" y="1547"/>
                  </a:cubicBezTo>
                  <a:cubicBezTo>
                    <a:pt x="263" y="1576"/>
                    <a:pt x="263" y="1605"/>
                    <a:pt x="263" y="1634"/>
                  </a:cubicBezTo>
                  <a:cubicBezTo>
                    <a:pt x="263" y="1634"/>
                    <a:pt x="263" y="1663"/>
                    <a:pt x="233" y="1663"/>
                  </a:cubicBezTo>
                  <a:lnTo>
                    <a:pt x="233" y="1692"/>
                  </a:lnTo>
                  <a:cubicBezTo>
                    <a:pt x="263" y="1692"/>
                    <a:pt x="263" y="1692"/>
                    <a:pt x="263" y="1663"/>
                  </a:cubicBezTo>
                  <a:cubicBezTo>
                    <a:pt x="292" y="1634"/>
                    <a:pt x="292" y="1634"/>
                    <a:pt x="321" y="1605"/>
                  </a:cubicBezTo>
                  <a:cubicBezTo>
                    <a:pt x="350" y="1605"/>
                    <a:pt x="350" y="1605"/>
                    <a:pt x="350" y="1605"/>
                  </a:cubicBezTo>
                  <a:cubicBezTo>
                    <a:pt x="350" y="1634"/>
                    <a:pt x="350" y="1634"/>
                    <a:pt x="350" y="1634"/>
                  </a:cubicBezTo>
                  <a:cubicBezTo>
                    <a:pt x="380" y="1663"/>
                    <a:pt x="380" y="1692"/>
                    <a:pt x="380" y="1721"/>
                  </a:cubicBezTo>
                  <a:cubicBezTo>
                    <a:pt x="350" y="1750"/>
                    <a:pt x="350" y="1750"/>
                    <a:pt x="350" y="1750"/>
                  </a:cubicBezTo>
                  <a:cubicBezTo>
                    <a:pt x="350" y="1780"/>
                    <a:pt x="380" y="1780"/>
                    <a:pt x="380" y="1780"/>
                  </a:cubicBezTo>
                  <a:cubicBezTo>
                    <a:pt x="380" y="1809"/>
                    <a:pt x="380" y="1809"/>
                    <a:pt x="380" y="1809"/>
                  </a:cubicBezTo>
                  <a:cubicBezTo>
                    <a:pt x="380" y="1838"/>
                    <a:pt x="409" y="1897"/>
                    <a:pt x="409" y="1926"/>
                  </a:cubicBezTo>
                  <a:cubicBezTo>
                    <a:pt x="409" y="1955"/>
                    <a:pt x="409" y="2013"/>
                    <a:pt x="409" y="2042"/>
                  </a:cubicBezTo>
                  <a:cubicBezTo>
                    <a:pt x="438" y="2071"/>
                    <a:pt x="438" y="2071"/>
                    <a:pt x="466" y="2100"/>
                  </a:cubicBezTo>
                  <a:cubicBezTo>
                    <a:pt x="466" y="2100"/>
                    <a:pt x="496" y="2130"/>
                    <a:pt x="496" y="2159"/>
                  </a:cubicBezTo>
                  <a:cubicBezTo>
                    <a:pt x="525" y="2159"/>
                    <a:pt x="525" y="2188"/>
                    <a:pt x="525" y="2217"/>
                  </a:cubicBezTo>
                  <a:cubicBezTo>
                    <a:pt x="525" y="2217"/>
                    <a:pt x="525" y="2247"/>
                    <a:pt x="525" y="2276"/>
                  </a:cubicBezTo>
                  <a:cubicBezTo>
                    <a:pt x="554" y="2334"/>
                    <a:pt x="671" y="2392"/>
                    <a:pt x="700" y="2421"/>
                  </a:cubicBezTo>
                  <a:cubicBezTo>
                    <a:pt x="730" y="2421"/>
                    <a:pt x="759" y="2392"/>
                    <a:pt x="816" y="2392"/>
                  </a:cubicBezTo>
                  <a:lnTo>
                    <a:pt x="816" y="2392"/>
                  </a:lnTo>
                  <a:cubicBezTo>
                    <a:pt x="846" y="2392"/>
                    <a:pt x="846" y="2363"/>
                    <a:pt x="875" y="2392"/>
                  </a:cubicBezTo>
                  <a:cubicBezTo>
                    <a:pt x="904" y="2392"/>
                    <a:pt x="904" y="2392"/>
                    <a:pt x="904" y="2392"/>
                  </a:cubicBezTo>
                  <a:cubicBezTo>
                    <a:pt x="933" y="2421"/>
                    <a:pt x="933" y="2421"/>
                    <a:pt x="933" y="2421"/>
                  </a:cubicBezTo>
                  <a:cubicBezTo>
                    <a:pt x="963" y="2421"/>
                    <a:pt x="1021" y="2450"/>
                    <a:pt x="1021" y="2450"/>
                  </a:cubicBezTo>
                  <a:cubicBezTo>
                    <a:pt x="1050" y="2450"/>
                    <a:pt x="1050" y="2450"/>
                    <a:pt x="1080" y="2421"/>
                  </a:cubicBezTo>
                  <a:cubicBezTo>
                    <a:pt x="1080" y="2421"/>
                    <a:pt x="1109" y="2421"/>
                    <a:pt x="1137" y="2421"/>
                  </a:cubicBezTo>
                  <a:cubicBezTo>
                    <a:pt x="1166" y="2450"/>
                    <a:pt x="1166" y="2480"/>
                    <a:pt x="1166" y="2480"/>
                  </a:cubicBezTo>
                  <a:cubicBezTo>
                    <a:pt x="1166" y="2509"/>
                    <a:pt x="1196" y="2509"/>
                    <a:pt x="1196" y="2509"/>
                  </a:cubicBezTo>
                  <a:lnTo>
                    <a:pt x="1254" y="2509"/>
                  </a:lnTo>
                  <a:cubicBezTo>
                    <a:pt x="1283" y="2480"/>
                    <a:pt x="1283" y="2450"/>
                    <a:pt x="1283" y="2421"/>
                  </a:cubicBezTo>
                  <a:cubicBezTo>
                    <a:pt x="1283" y="2363"/>
                    <a:pt x="1313" y="2305"/>
                    <a:pt x="1313" y="2276"/>
                  </a:cubicBezTo>
                  <a:cubicBezTo>
                    <a:pt x="1342" y="2247"/>
                    <a:pt x="1342" y="2247"/>
                    <a:pt x="1342" y="2247"/>
                  </a:cubicBezTo>
                  <a:lnTo>
                    <a:pt x="1342" y="2247"/>
                  </a:lnTo>
                  <a:cubicBezTo>
                    <a:pt x="2158" y="2392"/>
                    <a:pt x="2975" y="2509"/>
                    <a:pt x="3763" y="2597"/>
                  </a:cubicBezTo>
                  <a:cubicBezTo>
                    <a:pt x="3792" y="2421"/>
                    <a:pt x="3792" y="2247"/>
                    <a:pt x="3821" y="2042"/>
                  </a:cubicBezTo>
                  <a:cubicBezTo>
                    <a:pt x="3879" y="1605"/>
                    <a:pt x="3937" y="1109"/>
                    <a:pt x="3996" y="671"/>
                  </a:cubicBezTo>
                  <a:cubicBezTo>
                    <a:pt x="2596" y="467"/>
                    <a:pt x="1342" y="234"/>
                    <a:pt x="116" y="0"/>
                  </a:cubicBezTo>
                  <a:cubicBezTo>
                    <a:pt x="88" y="30"/>
                    <a:pt x="88" y="88"/>
                    <a:pt x="59" y="147"/>
                  </a:cubicBezTo>
                  <a:lnTo>
                    <a:pt x="59" y="1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5" name="Freeform 102">
              <a:extLst>
                <a:ext uri="{FF2B5EF4-FFF2-40B4-BE49-F238E27FC236}">
                  <a16:creationId xmlns:a16="http://schemas.microsoft.com/office/drawing/2014/main" id="{DB6FBD52-F9B3-4186-9BCC-D69FB9C614BF}"/>
                </a:ext>
              </a:extLst>
            </p:cNvPr>
            <p:cNvSpPr>
              <a:spLocks noChangeArrowheads="1"/>
            </p:cNvSpPr>
            <p:nvPr/>
          </p:nvSpPr>
          <p:spPr bwMode="auto">
            <a:xfrm>
              <a:off x="6347316" y="1349738"/>
              <a:ext cx="184285" cy="32366"/>
            </a:xfrm>
            <a:custGeom>
              <a:avLst/>
              <a:gdLst>
                <a:gd name="T0" fmla="*/ 0 w 497"/>
                <a:gd name="T1" fmla="*/ 0 h 89"/>
                <a:gd name="T2" fmla="*/ 0 w 497"/>
                <a:gd name="T3" fmla="*/ 0 h 89"/>
                <a:gd name="T4" fmla="*/ 496 w 497"/>
                <a:gd name="T5" fmla="*/ 88 h 89"/>
                <a:gd name="T6" fmla="*/ 0 w 497"/>
                <a:gd name="T7" fmla="*/ 0 h 89"/>
              </a:gdLst>
              <a:ahLst/>
              <a:cxnLst>
                <a:cxn ang="0">
                  <a:pos x="T0" y="T1"/>
                </a:cxn>
                <a:cxn ang="0">
                  <a:pos x="T2" y="T3"/>
                </a:cxn>
                <a:cxn ang="0">
                  <a:pos x="T4" y="T5"/>
                </a:cxn>
                <a:cxn ang="0">
                  <a:pos x="T6" y="T7"/>
                </a:cxn>
              </a:cxnLst>
              <a:rect l="0" t="0" r="r" b="b"/>
              <a:pathLst>
                <a:path w="497" h="89">
                  <a:moveTo>
                    <a:pt x="0" y="0"/>
                  </a:moveTo>
                  <a:lnTo>
                    <a:pt x="0" y="0"/>
                  </a:lnTo>
                  <a:cubicBezTo>
                    <a:pt x="175" y="30"/>
                    <a:pt x="321" y="59"/>
                    <a:pt x="496" y="88"/>
                  </a:cubicBezTo>
                  <a:cubicBezTo>
                    <a:pt x="321" y="59"/>
                    <a:pt x="175" y="3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6" name="Freeform 103">
              <a:extLst>
                <a:ext uri="{FF2B5EF4-FFF2-40B4-BE49-F238E27FC236}">
                  <a16:creationId xmlns:a16="http://schemas.microsoft.com/office/drawing/2014/main" id="{A58DCC29-4B9D-44EB-864E-A15F60FFBAA2}"/>
                </a:ext>
              </a:extLst>
            </p:cNvPr>
            <p:cNvSpPr>
              <a:spLocks noChangeArrowheads="1"/>
            </p:cNvSpPr>
            <p:nvPr/>
          </p:nvSpPr>
          <p:spPr bwMode="auto">
            <a:xfrm>
              <a:off x="6541386" y="1382105"/>
              <a:ext cx="194071" cy="32366"/>
            </a:xfrm>
            <a:custGeom>
              <a:avLst/>
              <a:gdLst>
                <a:gd name="T0" fmla="*/ 0 w 526"/>
                <a:gd name="T1" fmla="*/ 0 h 88"/>
                <a:gd name="T2" fmla="*/ 0 w 526"/>
                <a:gd name="T3" fmla="*/ 0 h 88"/>
                <a:gd name="T4" fmla="*/ 525 w 526"/>
                <a:gd name="T5" fmla="*/ 87 h 88"/>
                <a:gd name="T6" fmla="*/ 0 w 526"/>
                <a:gd name="T7" fmla="*/ 0 h 88"/>
              </a:gdLst>
              <a:ahLst/>
              <a:cxnLst>
                <a:cxn ang="0">
                  <a:pos x="T0" y="T1"/>
                </a:cxn>
                <a:cxn ang="0">
                  <a:pos x="T2" y="T3"/>
                </a:cxn>
                <a:cxn ang="0">
                  <a:pos x="T4" y="T5"/>
                </a:cxn>
                <a:cxn ang="0">
                  <a:pos x="T6" y="T7"/>
                </a:cxn>
              </a:cxnLst>
              <a:rect l="0" t="0" r="r" b="b"/>
              <a:pathLst>
                <a:path w="526" h="88">
                  <a:moveTo>
                    <a:pt x="0" y="0"/>
                  </a:moveTo>
                  <a:lnTo>
                    <a:pt x="0" y="0"/>
                  </a:lnTo>
                  <a:cubicBezTo>
                    <a:pt x="175" y="29"/>
                    <a:pt x="350" y="59"/>
                    <a:pt x="525" y="87"/>
                  </a:cubicBezTo>
                  <a:cubicBezTo>
                    <a:pt x="350" y="59"/>
                    <a:pt x="175"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7" name="Freeform 104">
              <a:extLst>
                <a:ext uri="{FF2B5EF4-FFF2-40B4-BE49-F238E27FC236}">
                  <a16:creationId xmlns:a16="http://schemas.microsoft.com/office/drawing/2014/main" id="{D9CAABCB-770C-495F-8D15-D4B2F4536183}"/>
                </a:ext>
              </a:extLst>
            </p:cNvPr>
            <p:cNvSpPr>
              <a:spLocks noChangeArrowheads="1"/>
            </p:cNvSpPr>
            <p:nvPr/>
          </p:nvSpPr>
          <p:spPr bwMode="auto">
            <a:xfrm>
              <a:off x="8418490" y="1895113"/>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8" name="Freeform 105">
              <a:extLst>
                <a:ext uri="{FF2B5EF4-FFF2-40B4-BE49-F238E27FC236}">
                  <a16:creationId xmlns:a16="http://schemas.microsoft.com/office/drawing/2014/main" id="{E2AC1789-76F5-4D05-BEA9-6E691CFB80FA}"/>
                </a:ext>
              </a:extLst>
            </p:cNvPr>
            <p:cNvSpPr>
              <a:spLocks noChangeArrowheads="1"/>
            </p:cNvSpPr>
            <p:nvPr/>
          </p:nvSpPr>
          <p:spPr bwMode="auto">
            <a:xfrm>
              <a:off x="8395658" y="1906440"/>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9" name="Freeform 106">
              <a:extLst>
                <a:ext uri="{FF2B5EF4-FFF2-40B4-BE49-F238E27FC236}">
                  <a16:creationId xmlns:a16="http://schemas.microsoft.com/office/drawing/2014/main" id="{544BE2FC-A763-4909-AEE4-DA8BB1C9F9BD}"/>
                </a:ext>
              </a:extLst>
            </p:cNvPr>
            <p:cNvSpPr>
              <a:spLocks noChangeArrowheads="1"/>
            </p:cNvSpPr>
            <p:nvPr/>
          </p:nvSpPr>
          <p:spPr bwMode="auto">
            <a:xfrm>
              <a:off x="9344810" y="2322349"/>
              <a:ext cx="1630"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0"/>
                    <a:pt x="0" y="0"/>
                    <a:pt x="0" y="0"/>
                  </a:cubicBezTo>
                  <a:cubicBezTo>
                    <a:pt x="0" y="0"/>
                    <a:pt x="0"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0" name="Freeform 107">
              <a:extLst>
                <a:ext uri="{FF2B5EF4-FFF2-40B4-BE49-F238E27FC236}">
                  <a16:creationId xmlns:a16="http://schemas.microsoft.com/office/drawing/2014/main" id="{BEA00A85-DB6C-4332-8D29-F203FA903410}"/>
                </a:ext>
              </a:extLst>
            </p:cNvPr>
            <p:cNvSpPr>
              <a:spLocks noChangeArrowheads="1"/>
            </p:cNvSpPr>
            <p:nvPr/>
          </p:nvSpPr>
          <p:spPr bwMode="auto">
            <a:xfrm>
              <a:off x="8385873" y="1702532"/>
              <a:ext cx="11415" cy="11329"/>
            </a:xfrm>
            <a:custGeom>
              <a:avLst/>
              <a:gdLst>
                <a:gd name="T0" fmla="*/ 29 w 30"/>
                <a:gd name="T1" fmla="*/ 0 h 30"/>
                <a:gd name="T2" fmla="*/ 29 w 30"/>
                <a:gd name="T3" fmla="*/ 0 h 30"/>
                <a:gd name="T4" fmla="*/ 0 w 30"/>
                <a:gd name="T5" fmla="*/ 29 h 30"/>
                <a:gd name="T6" fmla="*/ 29 w 30"/>
                <a:gd name="T7" fmla="*/ 0 h 30"/>
              </a:gdLst>
              <a:ahLst/>
              <a:cxnLst>
                <a:cxn ang="0">
                  <a:pos x="T0" y="T1"/>
                </a:cxn>
                <a:cxn ang="0">
                  <a:pos x="T2" y="T3"/>
                </a:cxn>
                <a:cxn ang="0">
                  <a:pos x="T4" y="T5"/>
                </a:cxn>
                <a:cxn ang="0">
                  <a:pos x="T6" y="T7"/>
                </a:cxn>
              </a:cxnLst>
              <a:rect l="0" t="0" r="r" b="b"/>
              <a:pathLst>
                <a:path w="30" h="30">
                  <a:moveTo>
                    <a:pt x="29" y="0"/>
                  </a:moveTo>
                  <a:lnTo>
                    <a:pt x="29" y="0"/>
                  </a:lnTo>
                  <a:cubicBezTo>
                    <a:pt x="29" y="0"/>
                    <a:pt x="29" y="0"/>
                    <a:pt x="0" y="29"/>
                  </a:cubicBezTo>
                  <a:cubicBezTo>
                    <a:pt x="29"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1" name="Freeform 108">
              <a:extLst>
                <a:ext uri="{FF2B5EF4-FFF2-40B4-BE49-F238E27FC236}">
                  <a16:creationId xmlns:a16="http://schemas.microsoft.com/office/drawing/2014/main" id="{C55FF03C-57E6-443F-B5C7-090C3C6010E3}"/>
                </a:ext>
              </a:extLst>
            </p:cNvPr>
            <p:cNvSpPr>
              <a:spLocks noChangeArrowheads="1"/>
            </p:cNvSpPr>
            <p:nvPr/>
          </p:nvSpPr>
          <p:spPr bwMode="auto">
            <a:xfrm>
              <a:off x="8374457" y="1841708"/>
              <a:ext cx="11416" cy="1619"/>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29" y="0"/>
                    <a:pt x="29" y="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2" name="Freeform 109">
              <a:extLst>
                <a:ext uri="{FF2B5EF4-FFF2-40B4-BE49-F238E27FC236}">
                  <a16:creationId xmlns:a16="http://schemas.microsoft.com/office/drawing/2014/main" id="{B8EBDC39-5B5D-4FC8-8615-41A9A2EC6EE7}"/>
                </a:ext>
              </a:extLst>
            </p:cNvPr>
            <p:cNvSpPr>
              <a:spLocks noChangeArrowheads="1"/>
            </p:cNvSpPr>
            <p:nvPr/>
          </p:nvSpPr>
          <p:spPr bwMode="auto">
            <a:xfrm>
              <a:off x="8385873" y="1841708"/>
              <a:ext cx="22832" cy="21039"/>
            </a:xfrm>
            <a:custGeom>
              <a:avLst/>
              <a:gdLst>
                <a:gd name="T0" fmla="*/ 0 w 60"/>
                <a:gd name="T1" fmla="*/ 0 h 59"/>
                <a:gd name="T2" fmla="*/ 0 w 60"/>
                <a:gd name="T3" fmla="*/ 0 h 59"/>
                <a:gd name="T4" fmla="*/ 59 w 60"/>
                <a:gd name="T5" fmla="*/ 58 h 59"/>
                <a:gd name="T6" fmla="*/ 0 w 60"/>
                <a:gd name="T7" fmla="*/ 0 h 59"/>
              </a:gdLst>
              <a:ahLst/>
              <a:cxnLst>
                <a:cxn ang="0">
                  <a:pos x="T0" y="T1"/>
                </a:cxn>
                <a:cxn ang="0">
                  <a:pos x="T2" y="T3"/>
                </a:cxn>
                <a:cxn ang="0">
                  <a:pos x="T4" y="T5"/>
                </a:cxn>
                <a:cxn ang="0">
                  <a:pos x="T6" y="T7"/>
                </a:cxn>
              </a:cxnLst>
              <a:rect l="0" t="0" r="r" b="b"/>
              <a:pathLst>
                <a:path w="60" h="59">
                  <a:moveTo>
                    <a:pt x="0" y="0"/>
                  </a:moveTo>
                  <a:lnTo>
                    <a:pt x="0" y="0"/>
                  </a:lnTo>
                  <a:cubicBezTo>
                    <a:pt x="29" y="0"/>
                    <a:pt x="29" y="29"/>
                    <a:pt x="59" y="58"/>
                  </a:cubicBezTo>
                  <a:cubicBezTo>
                    <a:pt x="29" y="29"/>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3" name="Freeform 110">
              <a:extLst>
                <a:ext uri="{FF2B5EF4-FFF2-40B4-BE49-F238E27FC236}">
                  <a16:creationId xmlns:a16="http://schemas.microsoft.com/office/drawing/2014/main" id="{BF2ABECC-AC4B-497D-A374-ED16AE3BE011}"/>
                </a:ext>
              </a:extLst>
            </p:cNvPr>
            <p:cNvSpPr>
              <a:spLocks noChangeArrowheads="1"/>
            </p:cNvSpPr>
            <p:nvPr/>
          </p:nvSpPr>
          <p:spPr bwMode="auto">
            <a:xfrm>
              <a:off x="8407074" y="1895113"/>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4" name="Freeform 111">
              <a:extLst>
                <a:ext uri="{FF2B5EF4-FFF2-40B4-BE49-F238E27FC236}">
                  <a16:creationId xmlns:a16="http://schemas.microsoft.com/office/drawing/2014/main" id="{18B9AF1C-1F06-4A23-8E9C-9297326F91D7}"/>
                </a:ext>
              </a:extLst>
            </p:cNvPr>
            <p:cNvSpPr>
              <a:spLocks noChangeArrowheads="1"/>
            </p:cNvSpPr>
            <p:nvPr/>
          </p:nvSpPr>
          <p:spPr bwMode="auto">
            <a:xfrm>
              <a:off x="10618500" y="3617005"/>
              <a:ext cx="32617" cy="22656"/>
            </a:xfrm>
            <a:custGeom>
              <a:avLst/>
              <a:gdLst>
                <a:gd name="T0" fmla="*/ 88 w 89"/>
                <a:gd name="T1" fmla="*/ 0 h 60"/>
                <a:gd name="T2" fmla="*/ 88 w 89"/>
                <a:gd name="T3" fmla="*/ 0 h 60"/>
                <a:gd name="T4" fmla="*/ 29 w 89"/>
                <a:gd name="T5" fmla="*/ 59 h 60"/>
                <a:gd name="T6" fmla="*/ 0 w 89"/>
                <a:gd name="T7" fmla="*/ 59 h 60"/>
                <a:gd name="T8" fmla="*/ 29 w 89"/>
                <a:gd name="T9" fmla="*/ 59 h 60"/>
                <a:gd name="T10" fmla="*/ 88 w 89"/>
                <a:gd name="T11" fmla="*/ 0 h 60"/>
              </a:gdLst>
              <a:ahLst/>
              <a:cxnLst>
                <a:cxn ang="0">
                  <a:pos x="T0" y="T1"/>
                </a:cxn>
                <a:cxn ang="0">
                  <a:pos x="T2" y="T3"/>
                </a:cxn>
                <a:cxn ang="0">
                  <a:pos x="T4" y="T5"/>
                </a:cxn>
                <a:cxn ang="0">
                  <a:pos x="T6" y="T7"/>
                </a:cxn>
                <a:cxn ang="0">
                  <a:pos x="T8" y="T9"/>
                </a:cxn>
                <a:cxn ang="0">
                  <a:pos x="T10" y="T11"/>
                </a:cxn>
              </a:cxnLst>
              <a:rect l="0" t="0" r="r" b="b"/>
              <a:pathLst>
                <a:path w="89" h="60">
                  <a:moveTo>
                    <a:pt x="88" y="0"/>
                  </a:moveTo>
                  <a:lnTo>
                    <a:pt x="88" y="0"/>
                  </a:lnTo>
                  <a:cubicBezTo>
                    <a:pt x="58" y="30"/>
                    <a:pt x="29" y="30"/>
                    <a:pt x="29" y="59"/>
                  </a:cubicBezTo>
                  <a:lnTo>
                    <a:pt x="0" y="59"/>
                  </a:lnTo>
                  <a:lnTo>
                    <a:pt x="29" y="59"/>
                  </a:lnTo>
                  <a:cubicBezTo>
                    <a:pt x="29" y="30"/>
                    <a:pt x="58" y="30"/>
                    <a:pt x="8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5" name="Freeform 112">
              <a:extLst>
                <a:ext uri="{FF2B5EF4-FFF2-40B4-BE49-F238E27FC236}">
                  <a16:creationId xmlns:a16="http://schemas.microsoft.com/office/drawing/2014/main" id="{8DE97C93-8797-4171-AA7C-BEEF57360F8B}"/>
                </a:ext>
              </a:extLst>
            </p:cNvPr>
            <p:cNvSpPr>
              <a:spLocks noChangeArrowheads="1"/>
            </p:cNvSpPr>
            <p:nvPr/>
          </p:nvSpPr>
          <p:spPr bwMode="auto">
            <a:xfrm>
              <a:off x="10737552" y="3275539"/>
              <a:ext cx="1630" cy="11329"/>
            </a:xfrm>
            <a:custGeom>
              <a:avLst/>
              <a:gdLst>
                <a:gd name="T0" fmla="*/ 0 w 1"/>
                <a:gd name="T1" fmla="*/ 30 h 31"/>
                <a:gd name="T2" fmla="*/ 0 w 1"/>
                <a:gd name="T3" fmla="*/ 30 h 31"/>
                <a:gd name="T4" fmla="*/ 0 w 1"/>
                <a:gd name="T5" fmla="*/ 0 h 31"/>
                <a:gd name="T6" fmla="*/ 0 w 1"/>
                <a:gd name="T7" fmla="*/ 0 h 31"/>
                <a:gd name="T8" fmla="*/ 0 w 1"/>
                <a:gd name="T9" fmla="*/ 0 h 31"/>
                <a:gd name="T10" fmla="*/ 0 w 1"/>
                <a:gd name="T11" fmla="*/ 30 h 31"/>
              </a:gdLst>
              <a:ahLst/>
              <a:cxnLst>
                <a:cxn ang="0">
                  <a:pos x="T0" y="T1"/>
                </a:cxn>
                <a:cxn ang="0">
                  <a:pos x="T2" y="T3"/>
                </a:cxn>
                <a:cxn ang="0">
                  <a:pos x="T4" y="T5"/>
                </a:cxn>
                <a:cxn ang="0">
                  <a:pos x="T6" y="T7"/>
                </a:cxn>
                <a:cxn ang="0">
                  <a:pos x="T8" y="T9"/>
                </a:cxn>
                <a:cxn ang="0">
                  <a:pos x="T10" y="T11"/>
                </a:cxn>
              </a:cxnLst>
              <a:rect l="0" t="0" r="r" b="b"/>
              <a:pathLst>
                <a:path w="1" h="31">
                  <a:moveTo>
                    <a:pt x="0" y="30"/>
                  </a:moveTo>
                  <a:lnTo>
                    <a:pt x="0" y="30"/>
                  </a:lnTo>
                  <a:cubicBezTo>
                    <a:pt x="0" y="30"/>
                    <a:pt x="0" y="30"/>
                    <a:pt x="0" y="0"/>
                  </a:cubicBezTo>
                  <a:lnTo>
                    <a:pt x="0" y="0"/>
                  </a:lnTo>
                  <a:lnTo>
                    <a:pt x="0" y="0"/>
                  </a:lnTo>
                  <a:cubicBezTo>
                    <a:pt x="0" y="30"/>
                    <a:pt x="0" y="30"/>
                    <a:pt x="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6" name="Freeform 113">
              <a:extLst>
                <a:ext uri="{FF2B5EF4-FFF2-40B4-BE49-F238E27FC236}">
                  <a16:creationId xmlns:a16="http://schemas.microsoft.com/office/drawing/2014/main" id="{7D075108-FFE4-4B8F-84AF-C25B10C5A670}"/>
                </a:ext>
              </a:extLst>
            </p:cNvPr>
            <p:cNvSpPr>
              <a:spLocks noChangeArrowheads="1"/>
            </p:cNvSpPr>
            <p:nvPr/>
          </p:nvSpPr>
          <p:spPr bwMode="auto">
            <a:xfrm>
              <a:off x="10737552" y="3607295"/>
              <a:ext cx="21200" cy="64733"/>
            </a:xfrm>
            <a:custGeom>
              <a:avLst/>
              <a:gdLst>
                <a:gd name="T0" fmla="*/ 29 w 59"/>
                <a:gd name="T1" fmla="*/ 176 h 177"/>
                <a:gd name="T2" fmla="*/ 29 w 59"/>
                <a:gd name="T3" fmla="*/ 176 h 177"/>
                <a:gd name="T4" fmla="*/ 29 w 59"/>
                <a:gd name="T5" fmla="*/ 29 h 177"/>
                <a:gd name="T6" fmla="*/ 0 w 59"/>
                <a:gd name="T7" fmla="*/ 0 h 177"/>
                <a:gd name="T8" fmla="*/ 29 w 59"/>
                <a:gd name="T9" fmla="*/ 59 h 177"/>
                <a:gd name="T10" fmla="*/ 0 w 59"/>
                <a:gd name="T11" fmla="*/ 176 h 177"/>
                <a:gd name="T12" fmla="*/ 0 w 59"/>
                <a:gd name="T13" fmla="*/ 176 h 177"/>
                <a:gd name="T14" fmla="*/ 29 w 59"/>
                <a:gd name="T15" fmla="*/ 176 h 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177">
                  <a:moveTo>
                    <a:pt x="29" y="176"/>
                  </a:moveTo>
                  <a:lnTo>
                    <a:pt x="29" y="176"/>
                  </a:lnTo>
                  <a:cubicBezTo>
                    <a:pt x="58" y="146"/>
                    <a:pt x="58" y="88"/>
                    <a:pt x="29" y="29"/>
                  </a:cubicBezTo>
                  <a:cubicBezTo>
                    <a:pt x="29" y="29"/>
                    <a:pt x="29" y="0"/>
                    <a:pt x="0" y="0"/>
                  </a:cubicBezTo>
                  <a:cubicBezTo>
                    <a:pt x="0" y="0"/>
                    <a:pt x="0" y="29"/>
                    <a:pt x="29" y="59"/>
                  </a:cubicBezTo>
                  <a:cubicBezTo>
                    <a:pt x="29" y="117"/>
                    <a:pt x="29" y="146"/>
                    <a:pt x="0" y="176"/>
                  </a:cubicBezTo>
                  <a:lnTo>
                    <a:pt x="0" y="176"/>
                  </a:lnTo>
                  <a:lnTo>
                    <a:pt x="29" y="1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7" name="Freeform 114">
              <a:extLst>
                <a:ext uri="{FF2B5EF4-FFF2-40B4-BE49-F238E27FC236}">
                  <a16:creationId xmlns:a16="http://schemas.microsoft.com/office/drawing/2014/main" id="{78691B7B-BAD1-42C8-BCBF-DEE3C9D4C36C}"/>
                </a:ext>
              </a:extLst>
            </p:cNvPr>
            <p:cNvSpPr>
              <a:spLocks noChangeArrowheads="1"/>
            </p:cNvSpPr>
            <p:nvPr/>
          </p:nvSpPr>
          <p:spPr bwMode="auto">
            <a:xfrm>
              <a:off x="10564683" y="3050593"/>
              <a:ext cx="11415" cy="11328"/>
            </a:xfrm>
            <a:custGeom>
              <a:avLst/>
              <a:gdLst>
                <a:gd name="T0" fmla="*/ 29 w 30"/>
                <a:gd name="T1" fmla="*/ 0 h 29"/>
                <a:gd name="T2" fmla="*/ 29 w 30"/>
                <a:gd name="T3" fmla="*/ 0 h 29"/>
                <a:gd name="T4" fmla="*/ 29 w 30"/>
                <a:gd name="T5" fmla="*/ 28 h 29"/>
                <a:gd name="T6" fmla="*/ 29 w 30"/>
                <a:gd name="T7" fmla="*/ 28 h 29"/>
                <a:gd name="T8" fmla="*/ 29 w 30"/>
                <a:gd name="T9" fmla="*/ 0 h 29"/>
                <a:gd name="T10" fmla="*/ 29 w 30"/>
                <a:gd name="T11" fmla="*/ 0 h 29"/>
                <a:gd name="T12" fmla="*/ 0 w 30"/>
                <a:gd name="T13" fmla="*/ 0 h 29"/>
                <a:gd name="T14" fmla="*/ 29 w 30"/>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29" y="0"/>
                  </a:moveTo>
                  <a:lnTo>
                    <a:pt x="29" y="0"/>
                  </a:lnTo>
                  <a:cubicBezTo>
                    <a:pt x="29" y="28"/>
                    <a:pt x="29" y="28"/>
                    <a:pt x="29" y="28"/>
                  </a:cubicBezTo>
                  <a:lnTo>
                    <a:pt x="29" y="28"/>
                  </a:lnTo>
                  <a:cubicBezTo>
                    <a:pt x="29" y="0"/>
                    <a:pt x="29" y="0"/>
                    <a:pt x="29" y="0"/>
                  </a:cubicBezTo>
                  <a:lnTo>
                    <a:pt x="29" y="0"/>
                  </a:lnTo>
                  <a:cubicBezTo>
                    <a:pt x="0" y="0"/>
                    <a:pt x="0" y="0"/>
                    <a:pt x="0" y="0"/>
                  </a:cubicBez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8" name="Freeform 115">
              <a:extLst>
                <a:ext uri="{FF2B5EF4-FFF2-40B4-BE49-F238E27FC236}">
                  <a16:creationId xmlns:a16="http://schemas.microsoft.com/office/drawing/2014/main" id="{6535E0CB-A1A3-4922-9503-AA2597B11CDD}"/>
                </a:ext>
              </a:extLst>
            </p:cNvPr>
            <p:cNvSpPr>
              <a:spLocks noChangeArrowheads="1"/>
            </p:cNvSpPr>
            <p:nvPr/>
          </p:nvSpPr>
          <p:spPr bwMode="auto">
            <a:xfrm>
              <a:off x="10704935" y="3286868"/>
              <a:ext cx="11415" cy="1618"/>
            </a:xfrm>
            <a:custGeom>
              <a:avLst/>
              <a:gdLst>
                <a:gd name="T0" fmla="*/ 0 w 30"/>
                <a:gd name="T1" fmla="*/ 0 h 1"/>
                <a:gd name="T2" fmla="*/ 0 w 30"/>
                <a:gd name="T3" fmla="*/ 0 h 1"/>
                <a:gd name="T4" fmla="*/ 29 w 30"/>
                <a:gd name="T5" fmla="*/ 0 h 1"/>
                <a:gd name="T6" fmla="*/ 29 w 30"/>
                <a:gd name="T7" fmla="*/ 0 h 1"/>
                <a:gd name="T8" fmla="*/ 29 w 30"/>
                <a:gd name="T9" fmla="*/ 0 h 1"/>
                <a:gd name="T10" fmla="*/ 0 w 30"/>
                <a:gd name="T11" fmla="*/ 0 h 1"/>
              </a:gdLst>
              <a:ahLst/>
              <a:cxnLst>
                <a:cxn ang="0">
                  <a:pos x="T0" y="T1"/>
                </a:cxn>
                <a:cxn ang="0">
                  <a:pos x="T2" y="T3"/>
                </a:cxn>
                <a:cxn ang="0">
                  <a:pos x="T4" y="T5"/>
                </a:cxn>
                <a:cxn ang="0">
                  <a:pos x="T6" y="T7"/>
                </a:cxn>
                <a:cxn ang="0">
                  <a:pos x="T8" y="T9"/>
                </a:cxn>
                <a:cxn ang="0">
                  <a:pos x="T10" y="T11"/>
                </a:cxn>
              </a:cxnLst>
              <a:rect l="0" t="0" r="r" b="b"/>
              <a:pathLst>
                <a:path w="30" h="1">
                  <a:moveTo>
                    <a:pt x="0" y="0"/>
                  </a:moveTo>
                  <a:lnTo>
                    <a:pt x="0" y="0"/>
                  </a:lnTo>
                  <a:cubicBezTo>
                    <a:pt x="29" y="0"/>
                    <a:pt x="29" y="0"/>
                    <a:pt x="29" y="0"/>
                  </a:cubicBezTo>
                  <a:lnTo>
                    <a:pt x="29" y="0"/>
                  </a:ln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9" name="Freeform 116">
              <a:extLst>
                <a:ext uri="{FF2B5EF4-FFF2-40B4-BE49-F238E27FC236}">
                  <a16:creationId xmlns:a16="http://schemas.microsoft.com/office/drawing/2014/main" id="{858A73B0-A5B1-47DC-8751-7741DDA0A3E8}"/>
                </a:ext>
              </a:extLst>
            </p:cNvPr>
            <p:cNvSpPr>
              <a:spLocks noChangeArrowheads="1"/>
            </p:cNvSpPr>
            <p:nvPr/>
          </p:nvSpPr>
          <p:spPr bwMode="auto">
            <a:xfrm>
              <a:off x="10693519" y="3595967"/>
              <a:ext cx="21202" cy="21039"/>
            </a:xfrm>
            <a:custGeom>
              <a:avLst/>
              <a:gdLst>
                <a:gd name="T0" fmla="*/ 58 w 59"/>
                <a:gd name="T1" fmla="*/ 0 h 59"/>
                <a:gd name="T2" fmla="*/ 58 w 59"/>
                <a:gd name="T3" fmla="*/ 0 h 59"/>
                <a:gd name="T4" fmla="*/ 58 w 59"/>
                <a:gd name="T5" fmla="*/ 0 h 59"/>
                <a:gd name="T6" fmla="*/ 58 w 59"/>
                <a:gd name="T7" fmla="*/ 29 h 59"/>
                <a:gd name="T8" fmla="*/ 58 w 59"/>
                <a:gd name="T9" fmla="*/ 29 h 59"/>
                <a:gd name="T10" fmla="*/ 58 w 59"/>
                <a:gd name="T11" fmla="*/ 29 h 59"/>
                <a:gd name="T12" fmla="*/ 58 w 59"/>
                <a:gd name="T13" fmla="*/ 0 h 59"/>
                <a:gd name="T14" fmla="*/ 58 w 59"/>
                <a:gd name="T15" fmla="*/ 0 h 59"/>
                <a:gd name="T16" fmla="*/ 0 w 59"/>
                <a:gd name="T17" fmla="*/ 58 h 59"/>
                <a:gd name="T18" fmla="*/ 58 w 59"/>
                <a:gd name="T1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59">
                  <a:moveTo>
                    <a:pt x="58" y="0"/>
                  </a:moveTo>
                  <a:lnTo>
                    <a:pt x="58" y="0"/>
                  </a:lnTo>
                  <a:lnTo>
                    <a:pt x="58" y="0"/>
                  </a:lnTo>
                  <a:cubicBezTo>
                    <a:pt x="58" y="29"/>
                    <a:pt x="58" y="29"/>
                    <a:pt x="58" y="29"/>
                  </a:cubicBezTo>
                  <a:lnTo>
                    <a:pt x="58" y="29"/>
                  </a:lnTo>
                  <a:lnTo>
                    <a:pt x="58" y="29"/>
                  </a:lnTo>
                  <a:cubicBezTo>
                    <a:pt x="58" y="0"/>
                    <a:pt x="58" y="0"/>
                    <a:pt x="58" y="0"/>
                  </a:cubicBezTo>
                  <a:lnTo>
                    <a:pt x="58" y="0"/>
                  </a:lnTo>
                  <a:cubicBezTo>
                    <a:pt x="29" y="0"/>
                    <a:pt x="0" y="29"/>
                    <a:pt x="0" y="58"/>
                  </a:cubicBezTo>
                  <a:cubicBezTo>
                    <a:pt x="0" y="29"/>
                    <a:pt x="29" y="0"/>
                    <a:pt x="5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80" name="Freeform 117">
              <a:extLst>
                <a:ext uri="{FF2B5EF4-FFF2-40B4-BE49-F238E27FC236}">
                  <a16:creationId xmlns:a16="http://schemas.microsoft.com/office/drawing/2014/main" id="{644F49ED-76A8-4047-9EA8-9CC9090E7DBD}"/>
                </a:ext>
              </a:extLst>
            </p:cNvPr>
            <p:cNvSpPr>
              <a:spLocks noChangeArrowheads="1"/>
            </p:cNvSpPr>
            <p:nvPr/>
          </p:nvSpPr>
          <p:spPr bwMode="auto">
            <a:xfrm>
              <a:off x="10726136" y="3500486"/>
              <a:ext cx="44033" cy="74443"/>
            </a:xfrm>
            <a:custGeom>
              <a:avLst/>
              <a:gdLst>
                <a:gd name="T0" fmla="*/ 0 w 118"/>
                <a:gd name="T1" fmla="*/ 0 h 205"/>
                <a:gd name="T2" fmla="*/ 0 w 118"/>
                <a:gd name="T3" fmla="*/ 0 h 205"/>
                <a:gd name="T4" fmla="*/ 0 w 118"/>
                <a:gd name="T5" fmla="*/ 0 h 205"/>
                <a:gd name="T6" fmla="*/ 0 w 118"/>
                <a:gd name="T7" fmla="*/ 0 h 205"/>
                <a:gd name="T8" fmla="*/ 117 w 118"/>
                <a:gd name="T9" fmla="*/ 204 h 205"/>
                <a:gd name="T10" fmla="*/ 0 w 118"/>
                <a:gd name="T11" fmla="*/ 0 h 205"/>
              </a:gdLst>
              <a:ahLst/>
              <a:cxnLst>
                <a:cxn ang="0">
                  <a:pos x="T0" y="T1"/>
                </a:cxn>
                <a:cxn ang="0">
                  <a:pos x="T2" y="T3"/>
                </a:cxn>
                <a:cxn ang="0">
                  <a:pos x="T4" y="T5"/>
                </a:cxn>
                <a:cxn ang="0">
                  <a:pos x="T6" y="T7"/>
                </a:cxn>
                <a:cxn ang="0">
                  <a:pos x="T8" y="T9"/>
                </a:cxn>
                <a:cxn ang="0">
                  <a:pos x="T10" y="T11"/>
                </a:cxn>
              </a:cxnLst>
              <a:rect l="0" t="0" r="r" b="b"/>
              <a:pathLst>
                <a:path w="118" h="205">
                  <a:moveTo>
                    <a:pt x="0" y="0"/>
                  </a:moveTo>
                  <a:lnTo>
                    <a:pt x="0" y="0"/>
                  </a:lnTo>
                  <a:lnTo>
                    <a:pt x="0" y="0"/>
                  </a:lnTo>
                  <a:lnTo>
                    <a:pt x="0" y="0"/>
                  </a:lnTo>
                  <a:cubicBezTo>
                    <a:pt x="59" y="59"/>
                    <a:pt x="88" y="147"/>
                    <a:pt x="117" y="204"/>
                  </a:cubicBezTo>
                  <a:cubicBezTo>
                    <a:pt x="88" y="147"/>
                    <a:pt x="59" y="5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81" name="Freeform 118">
              <a:extLst>
                <a:ext uri="{FF2B5EF4-FFF2-40B4-BE49-F238E27FC236}">
                  <a16:creationId xmlns:a16="http://schemas.microsoft.com/office/drawing/2014/main" id="{53525078-77BF-451B-92D6-7D0929DFBD93}"/>
                </a:ext>
              </a:extLst>
            </p:cNvPr>
            <p:cNvSpPr>
              <a:spLocks noChangeArrowheads="1"/>
            </p:cNvSpPr>
            <p:nvPr/>
          </p:nvSpPr>
          <p:spPr bwMode="auto">
            <a:xfrm>
              <a:off x="10704935" y="3254502"/>
              <a:ext cx="1630" cy="11328"/>
            </a:xfrm>
            <a:custGeom>
              <a:avLst/>
              <a:gdLst>
                <a:gd name="T0" fmla="*/ 0 w 1"/>
                <a:gd name="T1" fmla="*/ 0 h 30"/>
                <a:gd name="T2" fmla="*/ 0 w 1"/>
                <a:gd name="T3" fmla="*/ 29 h 30"/>
                <a:gd name="T4" fmla="*/ 0 w 1"/>
                <a:gd name="T5" fmla="*/ 29 h 30"/>
                <a:gd name="T6" fmla="*/ 0 w 1"/>
                <a:gd name="T7" fmla="*/ 29 h 30"/>
                <a:gd name="T8" fmla="*/ 0 w 1"/>
                <a:gd name="T9" fmla="*/ 0 h 30"/>
              </a:gdLst>
              <a:ahLst/>
              <a:cxnLst>
                <a:cxn ang="0">
                  <a:pos x="T0" y="T1"/>
                </a:cxn>
                <a:cxn ang="0">
                  <a:pos x="T2" y="T3"/>
                </a:cxn>
                <a:cxn ang="0">
                  <a:pos x="T4" y="T5"/>
                </a:cxn>
                <a:cxn ang="0">
                  <a:pos x="T6" y="T7"/>
                </a:cxn>
                <a:cxn ang="0">
                  <a:pos x="T8" y="T9"/>
                </a:cxn>
              </a:cxnLst>
              <a:rect l="0" t="0" r="r" b="b"/>
              <a:pathLst>
                <a:path w="1" h="30">
                  <a:moveTo>
                    <a:pt x="0" y="0"/>
                  </a:moveTo>
                  <a:lnTo>
                    <a:pt x="0" y="29"/>
                  </a:lnTo>
                  <a:lnTo>
                    <a:pt x="0" y="29"/>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82" name="Freeform 119">
              <a:extLst>
                <a:ext uri="{FF2B5EF4-FFF2-40B4-BE49-F238E27FC236}">
                  <a16:creationId xmlns:a16="http://schemas.microsoft.com/office/drawing/2014/main" id="{8B3C2909-ED0A-42F3-B153-115C1B581B91}"/>
                </a:ext>
              </a:extLst>
            </p:cNvPr>
            <p:cNvSpPr>
              <a:spLocks noChangeArrowheads="1"/>
            </p:cNvSpPr>
            <p:nvPr/>
          </p:nvSpPr>
          <p:spPr bwMode="auto">
            <a:xfrm>
              <a:off x="10704935" y="3243173"/>
              <a:ext cx="11415"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cubicBezTo>
                    <a:pt x="0" y="0"/>
                    <a:pt x="0" y="0"/>
                    <a:pt x="0" y="0"/>
                  </a:cubicBez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83" name="Freeform 120">
              <a:extLst>
                <a:ext uri="{FF2B5EF4-FFF2-40B4-BE49-F238E27FC236}">
                  <a16:creationId xmlns:a16="http://schemas.microsoft.com/office/drawing/2014/main" id="{7FCEC462-9E6E-49D0-9D41-6131585A5399}"/>
                </a:ext>
              </a:extLst>
            </p:cNvPr>
            <p:cNvSpPr>
              <a:spLocks noChangeArrowheads="1"/>
            </p:cNvSpPr>
            <p:nvPr/>
          </p:nvSpPr>
          <p:spPr bwMode="auto">
            <a:xfrm>
              <a:off x="10704935" y="3264212"/>
              <a:ext cx="11415" cy="11328"/>
            </a:xfrm>
            <a:custGeom>
              <a:avLst/>
              <a:gdLst>
                <a:gd name="T0" fmla="*/ 29 w 30"/>
                <a:gd name="T1" fmla="*/ 0 h 30"/>
                <a:gd name="T2" fmla="*/ 29 w 30"/>
                <a:gd name="T3" fmla="*/ 0 h 30"/>
                <a:gd name="T4" fmla="*/ 29 w 30"/>
                <a:gd name="T5" fmla="*/ 0 h 30"/>
                <a:gd name="T6" fmla="*/ 0 w 30"/>
                <a:gd name="T7" fmla="*/ 29 h 30"/>
                <a:gd name="T8" fmla="*/ 29 w 30"/>
                <a:gd name="T9" fmla="*/ 0 h 30"/>
              </a:gdLst>
              <a:ahLst/>
              <a:cxnLst>
                <a:cxn ang="0">
                  <a:pos x="T0" y="T1"/>
                </a:cxn>
                <a:cxn ang="0">
                  <a:pos x="T2" y="T3"/>
                </a:cxn>
                <a:cxn ang="0">
                  <a:pos x="T4" y="T5"/>
                </a:cxn>
                <a:cxn ang="0">
                  <a:pos x="T6" y="T7"/>
                </a:cxn>
                <a:cxn ang="0">
                  <a:pos x="T8" y="T9"/>
                </a:cxn>
              </a:cxnLst>
              <a:rect l="0" t="0" r="r" b="b"/>
              <a:pathLst>
                <a:path w="30" h="30">
                  <a:moveTo>
                    <a:pt x="29" y="0"/>
                  </a:moveTo>
                  <a:lnTo>
                    <a:pt x="29" y="0"/>
                  </a:lnTo>
                  <a:lnTo>
                    <a:pt x="29" y="0"/>
                  </a:lnTo>
                  <a:cubicBezTo>
                    <a:pt x="0" y="0"/>
                    <a:pt x="0" y="0"/>
                    <a:pt x="0" y="29"/>
                  </a:cubicBez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84" name="Freeform 121">
              <a:extLst>
                <a:ext uri="{FF2B5EF4-FFF2-40B4-BE49-F238E27FC236}">
                  <a16:creationId xmlns:a16="http://schemas.microsoft.com/office/drawing/2014/main" id="{FC9D193A-C8EA-4CE5-A67B-56F3E58AABED}"/>
                </a:ext>
              </a:extLst>
            </p:cNvPr>
            <p:cNvSpPr>
              <a:spLocks noChangeArrowheads="1"/>
            </p:cNvSpPr>
            <p:nvPr/>
          </p:nvSpPr>
          <p:spPr bwMode="auto">
            <a:xfrm>
              <a:off x="10639701" y="3210806"/>
              <a:ext cx="32617" cy="21039"/>
            </a:xfrm>
            <a:custGeom>
              <a:avLst/>
              <a:gdLst>
                <a:gd name="T0" fmla="*/ 0 w 89"/>
                <a:gd name="T1" fmla="*/ 0 h 59"/>
                <a:gd name="T2" fmla="*/ 0 w 89"/>
                <a:gd name="T3" fmla="*/ 0 h 59"/>
                <a:gd name="T4" fmla="*/ 59 w 89"/>
                <a:gd name="T5" fmla="*/ 29 h 59"/>
                <a:gd name="T6" fmla="*/ 88 w 89"/>
                <a:gd name="T7" fmla="*/ 58 h 59"/>
                <a:gd name="T8" fmla="*/ 59 w 89"/>
                <a:gd name="T9" fmla="*/ 29 h 59"/>
                <a:gd name="T10" fmla="*/ 0 w 89"/>
                <a:gd name="T11" fmla="*/ 0 h 59"/>
              </a:gdLst>
              <a:ahLst/>
              <a:cxnLst>
                <a:cxn ang="0">
                  <a:pos x="T0" y="T1"/>
                </a:cxn>
                <a:cxn ang="0">
                  <a:pos x="T2" y="T3"/>
                </a:cxn>
                <a:cxn ang="0">
                  <a:pos x="T4" y="T5"/>
                </a:cxn>
                <a:cxn ang="0">
                  <a:pos x="T6" y="T7"/>
                </a:cxn>
                <a:cxn ang="0">
                  <a:pos x="T8" y="T9"/>
                </a:cxn>
                <a:cxn ang="0">
                  <a:pos x="T10" y="T11"/>
                </a:cxn>
              </a:cxnLst>
              <a:rect l="0" t="0" r="r" b="b"/>
              <a:pathLst>
                <a:path w="89" h="59">
                  <a:moveTo>
                    <a:pt x="0" y="0"/>
                  </a:moveTo>
                  <a:lnTo>
                    <a:pt x="0" y="0"/>
                  </a:lnTo>
                  <a:cubicBezTo>
                    <a:pt x="0" y="29"/>
                    <a:pt x="30" y="29"/>
                    <a:pt x="59" y="29"/>
                  </a:cubicBezTo>
                  <a:cubicBezTo>
                    <a:pt x="88" y="58"/>
                    <a:pt x="88" y="58"/>
                    <a:pt x="88" y="58"/>
                  </a:cubicBezTo>
                  <a:cubicBezTo>
                    <a:pt x="59" y="29"/>
                    <a:pt x="59" y="29"/>
                    <a:pt x="59" y="29"/>
                  </a:cubicBezTo>
                  <a:cubicBezTo>
                    <a:pt x="3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85" name="Freeform 122">
              <a:extLst>
                <a:ext uri="{FF2B5EF4-FFF2-40B4-BE49-F238E27FC236}">
                  <a16:creationId xmlns:a16="http://schemas.microsoft.com/office/drawing/2014/main" id="{42DBF283-0ACC-4AF7-BEAF-691049362385}"/>
                </a:ext>
              </a:extLst>
            </p:cNvPr>
            <p:cNvSpPr>
              <a:spLocks noChangeArrowheads="1"/>
            </p:cNvSpPr>
            <p:nvPr/>
          </p:nvSpPr>
          <p:spPr bwMode="auto">
            <a:xfrm>
              <a:off x="10714720" y="3264212"/>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86" name="Freeform 123">
              <a:extLst>
                <a:ext uri="{FF2B5EF4-FFF2-40B4-BE49-F238E27FC236}">
                  <a16:creationId xmlns:a16="http://schemas.microsoft.com/office/drawing/2014/main" id="{B05EB19D-A116-46FC-B178-526F61E26355}"/>
                </a:ext>
              </a:extLst>
            </p:cNvPr>
            <p:cNvSpPr>
              <a:spLocks noChangeArrowheads="1"/>
            </p:cNvSpPr>
            <p:nvPr/>
          </p:nvSpPr>
          <p:spPr bwMode="auto">
            <a:xfrm>
              <a:off x="10714720" y="3264212"/>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87" name="Freeform 124">
              <a:extLst>
                <a:ext uri="{FF2B5EF4-FFF2-40B4-BE49-F238E27FC236}">
                  <a16:creationId xmlns:a16="http://schemas.microsoft.com/office/drawing/2014/main" id="{49622A1F-942E-4A4A-89EA-D47380BBB75A}"/>
                </a:ext>
              </a:extLst>
            </p:cNvPr>
            <p:cNvSpPr>
              <a:spLocks noChangeArrowheads="1"/>
            </p:cNvSpPr>
            <p:nvPr/>
          </p:nvSpPr>
          <p:spPr bwMode="auto">
            <a:xfrm>
              <a:off x="10704935" y="3542563"/>
              <a:ext cx="11415" cy="1618"/>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29" y="0"/>
                    <a:pt x="29" y="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88" name="Freeform 125">
              <a:extLst>
                <a:ext uri="{FF2B5EF4-FFF2-40B4-BE49-F238E27FC236}">
                  <a16:creationId xmlns:a16="http://schemas.microsoft.com/office/drawing/2014/main" id="{966D10F3-0FC6-4B9A-8F90-B5DE71BD33D4}"/>
                </a:ext>
              </a:extLst>
            </p:cNvPr>
            <p:cNvSpPr>
              <a:spLocks noChangeArrowheads="1"/>
            </p:cNvSpPr>
            <p:nvPr/>
          </p:nvSpPr>
          <p:spPr bwMode="auto">
            <a:xfrm>
              <a:off x="10585883" y="3210806"/>
              <a:ext cx="32617" cy="11329"/>
            </a:xfrm>
            <a:custGeom>
              <a:avLst/>
              <a:gdLst>
                <a:gd name="T0" fmla="*/ 87 w 88"/>
                <a:gd name="T1" fmla="*/ 29 h 30"/>
                <a:gd name="T2" fmla="*/ 87 w 88"/>
                <a:gd name="T3" fmla="*/ 29 h 30"/>
                <a:gd name="T4" fmla="*/ 87 w 88"/>
                <a:gd name="T5" fmla="*/ 29 h 30"/>
                <a:gd name="T6" fmla="*/ 58 w 88"/>
                <a:gd name="T7" fmla="*/ 29 h 30"/>
                <a:gd name="T8" fmla="*/ 0 w 88"/>
                <a:gd name="T9" fmla="*/ 0 h 30"/>
                <a:gd name="T10" fmla="*/ 58 w 88"/>
                <a:gd name="T11" fmla="*/ 29 h 30"/>
                <a:gd name="T12" fmla="*/ 87 w 88"/>
                <a:gd name="T13" fmla="*/ 29 h 30"/>
              </a:gdLst>
              <a:ahLst/>
              <a:cxnLst>
                <a:cxn ang="0">
                  <a:pos x="T0" y="T1"/>
                </a:cxn>
                <a:cxn ang="0">
                  <a:pos x="T2" y="T3"/>
                </a:cxn>
                <a:cxn ang="0">
                  <a:pos x="T4" y="T5"/>
                </a:cxn>
                <a:cxn ang="0">
                  <a:pos x="T6" y="T7"/>
                </a:cxn>
                <a:cxn ang="0">
                  <a:pos x="T8" y="T9"/>
                </a:cxn>
                <a:cxn ang="0">
                  <a:pos x="T10" y="T11"/>
                </a:cxn>
                <a:cxn ang="0">
                  <a:pos x="T12" y="T13"/>
                </a:cxn>
              </a:cxnLst>
              <a:rect l="0" t="0" r="r" b="b"/>
              <a:pathLst>
                <a:path w="88" h="30">
                  <a:moveTo>
                    <a:pt x="87" y="29"/>
                  </a:moveTo>
                  <a:lnTo>
                    <a:pt x="87" y="29"/>
                  </a:lnTo>
                  <a:lnTo>
                    <a:pt x="87" y="29"/>
                  </a:lnTo>
                  <a:cubicBezTo>
                    <a:pt x="58" y="29"/>
                    <a:pt x="58" y="29"/>
                    <a:pt x="58" y="29"/>
                  </a:cubicBezTo>
                  <a:cubicBezTo>
                    <a:pt x="28" y="29"/>
                    <a:pt x="0" y="0"/>
                    <a:pt x="0" y="0"/>
                  </a:cubicBezTo>
                  <a:cubicBezTo>
                    <a:pt x="0" y="0"/>
                    <a:pt x="28" y="29"/>
                    <a:pt x="58" y="29"/>
                  </a:cubicBezTo>
                  <a:lnTo>
                    <a:pt x="87"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89" name="Freeform 126">
              <a:extLst>
                <a:ext uri="{FF2B5EF4-FFF2-40B4-BE49-F238E27FC236}">
                  <a16:creationId xmlns:a16="http://schemas.microsoft.com/office/drawing/2014/main" id="{4AB8805F-9130-40AB-A3E0-DCE2489985CE}"/>
                </a:ext>
              </a:extLst>
            </p:cNvPr>
            <p:cNvSpPr>
              <a:spLocks noChangeArrowheads="1"/>
            </p:cNvSpPr>
            <p:nvPr/>
          </p:nvSpPr>
          <p:spPr bwMode="auto">
            <a:xfrm>
              <a:off x="10564683" y="3201097"/>
              <a:ext cx="21200" cy="11329"/>
            </a:xfrm>
            <a:custGeom>
              <a:avLst/>
              <a:gdLst>
                <a:gd name="T0" fmla="*/ 58 w 59"/>
                <a:gd name="T1" fmla="*/ 29 h 30"/>
                <a:gd name="T2" fmla="*/ 58 w 59"/>
                <a:gd name="T3" fmla="*/ 29 h 30"/>
                <a:gd name="T4" fmla="*/ 0 w 59"/>
                <a:gd name="T5" fmla="*/ 0 h 30"/>
                <a:gd name="T6" fmla="*/ 58 w 59"/>
                <a:gd name="T7" fmla="*/ 29 h 30"/>
              </a:gdLst>
              <a:ahLst/>
              <a:cxnLst>
                <a:cxn ang="0">
                  <a:pos x="T0" y="T1"/>
                </a:cxn>
                <a:cxn ang="0">
                  <a:pos x="T2" y="T3"/>
                </a:cxn>
                <a:cxn ang="0">
                  <a:pos x="T4" y="T5"/>
                </a:cxn>
                <a:cxn ang="0">
                  <a:pos x="T6" y="T7"/>
                </a:cxn>
              </a:cxnLst>
              <a:rect l="0" t="0" r="r" b="b"/>
              <a:pathLst>
                <a:path w="59" h="30">
                  <a:moveTo>
                    <a:pt x="58" y="29"/>
                  </a:moveTo>
                  <a:lnTo>
                    <a:pt x="58" y="29"/>
                  </a:lnTo>
                  <a:cubicBezTo>
                    <a:pt x="29" y="0"/>
                    <a:pt x="29" y="0"/>
                    <a:pt x="0" y="0"/>
                  </a:cubicBezTo>
                  <a:cubicBezTo>
                    <a:pt x="29" y="0"/>
                    <a:pt x="29" y="0"/>
                    <a:pt x="5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90" name="Freeform 127">
              <a:extLst>
                <a:ext uri="{FF2B5EF4-FFF2-40B4-BE49-F238E27FC236}">
                  <a16:creationId xmlns:a16="http://schemas.microsoft.com/office/drawing/2014/main" id="{4B4DE8A4-A260-45DC-BA13-C9994A826E0D}"/>
                </a:ext>
              </a:extLst>
            </p:cNvPr>
            <p:cNvSpPr>
              <a:spLocks noChangeArrowheads="1"/>
            </p:cNvSpPr>
            <p:nvPr/>
          </p:nvSpPr>
          <p:spPr bwMode="auto">
            <a:xfrm>
              <a:off x="10651117" y="3586257"/>
              <a:ext cx="21202" cy="32366"/>
            </a:xfrm>
            <a:custGeom>
              <a:avLst/>
              <a:gdLst>
                <a:gd name="T0" fmla="*/ 58 w 59"/>
                <a:gd name="T1" fmla="*/ 29 h 88"/>
                <a:gd name="T2" fmla="*/ 58 w 59"/>
                <a:gd name="T3" fmla="*/ 29 h 88"/>
                <a:gd name="T4" fmla="*/ 58 w 59"/>
                <a:gd name="T5" fmla="*/ 0 h 88"/>
                <a:gd name="T6" fmla="*/ 58 w 59"/>
                <a:gd name="T7" fmla="*/ 0 h 88"/>
                <a:gd name="T8" fmla="*/ 58 w 59"/>
                <a:gd name="T9" fmla="*/ 29 h 88"/>
                <a:gd name="T10" fmla="*/ 0 w 59"/>
                <a:gd name="T11" fmla="*/ 87 h 88"/>
                <a:gd name="T12" fmla="*/ 58 w 59"/>
                <a:gd name="T13" fmla="*/ 29 h 88"/>
              </a:gdLst>
              <a:ahLst/>
              <a:cxnLst>
                <a:cxn ang="0">
                  <a:pos x="T0" y="T1"/>
                </a:cxn>
                <a:cxn ang="0">
                  <a:pos x="T2" y="T3"/>
                </a:cxn>
                <a:cxn ang="0">
                  <a:pos x="T4" y="T5"/>
                </a:cxn>
                <a:cxn ang="0">
                  <a:pos x="T6" y="T7"/>
                </a:cxn>
                <a:cxn ang="0">
                  <a:pos x="T8" y="T9"/>
                </a:cxn>
                <a:cxn ang="0">
                  <a:pos x="T10" y="T11"/>
                </a:cxn>
                <a:cxn ang="0">
                  <a:pos x="T12" y="T13"/>
                </a:cxn>
              </a:cxnLst>
              <a:rect l="0" t="0" r="r" b="b"/>
              <a:pathLst>
                <a:path w="59" h="88">
                  <a:moveTo>
                    <a:pt x="58" y="29"/>
                  </a:moveTo>
                  <a:lnTo>
                    <a:pt x="58" y="29"/>
                  </a:lnTo>
                  <a:cubicBezTo>
                    <a:pt x="58" y="0"/>
                    <a:pt x="58" y="0"/>
                    <a:pt x="58" y="0"/>
                  </a:cubicBezTo>
                  <a:lnTo>
                    <a:pt x="58" y="0"/>
                  </a:lnTo>
                  <a:cubicBezTo>
                    <a:pt x="58" y="29"/>
                    <a:pt x="58" y="29"/>
                    <a:pt x="58" y="29"/>
                  </a:cubicBezTo>
                  <a:cubicBezTo>
                    <a:pt x="29" y="58"/>
                    <a:pt x="29" y="58"/>
                    <a:pt x="0" y="87"/>
                  </a:cubicBezTo>
                  <a:cubicBezTo>
                    <a:pt x="29" y="58"/>
                    <a:pt x="29" y="58"/>
                    <a:pt x="5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91" name="Freeform 128">
              <a:extLst>
                <a:ext uri="{FF2B5EF4-FFF2-40B4-BE49-F238E27FC236}">
                  <a16:creationId xmlns:a16="http://schemas.microsoft.com/office/drawing/2014/main" id="{BCB93FBA-C6FA-479C-BF14-7036DB919584}"/>
                </a:ext>
              </a:extLst>
            </p:cNvPr>
            <p:cNvSpPr>
              <a:spLocks noChangeArrowheads="1"/>
            </p:cNvSpPr>
            <p:nvPr/>
          </p:nvSpPr>
          <p:spPr bwMode="auto">
            <a:xfrm>
              <a:off x="10564683" y="3071631"/>
              <a:ext cx="11415" cy="1619"/>
            </a:xfrm>
            <a:custGeom>
              <a:avLst/>
              <a:gdLst>
                <a:gd name="T0" fmla="*/ 0 w 30"/>
                <a:gd name="T1" fmla="*/ 0 h 1"/>
                <a:gd name="T2" fmla="*/ 0 w 30"/>
                <a:gd name="T3" fmla="*/ 0 h 1"/>
                <a:gd name="T4" fmla="*/ 0 w 30"/>
                <a:gd name="T5" fmla="*/ 0 h 1"/>
                <a:gd name="T6" fmla="*/ 0 w 30"/>
                <a:gd name="T7" fmla="*/ 0 h 1"/>
                <a:gd name="T8" fmla="*/ 29 w 30"/>
                <a:gd name="T9" fmla="*/ 0 h 1"/>
                <a:gd name="T10" fmla="*/ 0 w 30"/>
                <a:gd name="T11" fmla="*/ 0 h 1"/>
              </a:gdLst>
              <a:ahLst/>
              <a:cxnLst>
                <a:cxn ang="0">
                  <a:pos x="T0" y="T1"/>
                </a:cxn>
                <a:cxn ang="0">
                  <a:pos x="T2" y="T3"/>
                </a:cxn>
                <a:cxn ang="0">
                  <a:pos x="T4" y="T5"/>
                </a:cxn>
                <a:cxn ang="0">
                  <a:pos x="T6" y="T7"/>
                </a:cxn>
                <a:cxn ang="0">
                  <a:pos x="T8" y="T9"/>
                </a:cxn>
                <a:cxn ang="0">
                  <a:pos x="T10" y="T11"/>
                </a:cxn>
              </a:cxnLst>
              <a:rect l="0" t="0" r="r" b="b"/>
              <a:pathLst>
                <a:path w="30" h="1">
                  <a:moveTo>
                    <a:pt x="0" y="0"/>
                  </a:moveTo>
                  <a:lnTo>
                    <a:pt x="0" y="0"/>
                  </a:lnTo>
                  <a:lnTo>
                    <a:pt x="0" y="0"/>
                  </a:lnTo>
                  <a:lnTo>
                    <a:pt x="0" y="0"/>
                  </a:lnTo>
                  <a:cubicBezTo>
                    <a:pt x="0" y="0"/>
                    <a:pt x="0" y="0"/>
                    <a:pt x="29"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92" name="Freeform 129">
              <a:extLst>
                <a:ext uri="{FF2B5EF4-FFF2-40B4-BE49-F238E27FC236}">
                  <a16:creationId xmlns:a16="http://schemas.microsoft.com/office/drawing/2014/main" id="{746559D3-DE76-454B-9101-B4030A196F2E}"/>
                </a:ext>
              </a:extLst>
            </p:cNvPr>
            <p:cNvSpPr>
              <a:spLocks noChangeArrowheads="1"/>
            </p:cNvSpPr>
            <p:nvPr/>
          </p:nvSpPr>
          <p:spPr bwMode="auto">
            <a:xfrm>
              <a:off x="10574468" y="3103997"/>
              <a:ext cx="1630" cy="11329"/>
            </a:xfrm>
            <a:custGeom>
              <a:avLst/>
              <a:gdLst>
                <a:gd name="T0" fmla="*/ 0 w 1"/>
                <a:gd name="T1" fmla="*/ 30 h 31"/>
                <a:gd name="T2" fmla="*/ 0 w 1"/>
                <a:gd name="T3" fmla="*/ 30 h 31"/>
                <a:gd name="T4" fmla="*/ 0 w 1"/>
                <a:gd name="T5" fmla="*/ 0 h 31"/>
                <a:gd name="T6" fmla="*/ 0 w 1"/>
                <a:gd name="T7" fmla="*/ 30 h 31"/>
              </a:gdLst>
              <a:ahLst/>
              <a:cxnLst>
                <a:cxn ang="0">
                  <a:pos x="T0" y="T1"/>
                </a:cxn>
                <a:cxn ang="0">
                  <a:pos x="T2" y="T3"/>
                </a:cxn>
                <a:cxn ang="0">
                  <a:pos x="T4" y="T5"/>
                </a:cxn>
                <a:cxn ang="0">
                  <a:pos x="T6" y="T7"/>
                </a:cxn>
              </a:cxnLst>
              <a:rect l="0" t="0" r="r" b="b"/>
              <a:pathLst>
                <a:path w="1" h="31">
                  <a:moveTo>
                    <a:pt x="0" y="30"/>
                  </a:moveTo>
                  <a:lnTo>
                    <a:pt x="0" y="30"/>
                  </a:lnTo>
                  <a:cubicBezTo>
                    <a:pt x="0" y="30"/>
                    <a:pt x="0" y="30"/>
                    <a:pt x="0" y="0"/>
                  </a:cubicBezTo>
                  <a:cubicBezTo>
                    <a:pt x="0" y="30"/>
                    <a:pt x="0" y="30"/>
                    <a:pt x="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93" name="Freeform 130">
              <a:extLst>
                <a:ext uri="{FF2B5EF4-FFF2-40B4-BE49-F238E27FC236}">
                  <a16:creationId xmlns:a16="http://schemas.microsoft.com/office/drawing/2014/main" id="{EFCD20E6-6A04-41F6-8F0D-EBECAD2ADA12}"/>
                </a:ext>
              </a:extLst>
            </p:cNvPr>
            <p:cNvSpPr>
              <a:spLocks noChangeArrowheads="1"/>
            </p:cNvSpPr>
            <p:nvPr/>
          </p:nvSpPr>
          <p:spPr bwMode="auto">
            <a:xfrm>
              <a:off x="10595668" y="3243173"/>
              <a:ext cx="22832" cy="21039"/>
            </a:xfrm>
            <a:custGeom>
              <a:avLst/>
              <a:gdLst>
                <a:gd name="T0" fmla="*/ 0 w 60"/>
                <a:gd name="T1" fmla="*/ 58 h 59"/>
                <a:gd name="T2" fmla="*/ 0 w 60"/>
                <a:gd name="T3" fmla="*/ 58 h 59"/>
                <a:gd name="T4" fmla="*/ 0 w 60"/>
                <a:gd name="T5" fmla="*/ 58 h 59"/>
                <a:gd name="T6" fmla="*/ 0 w 60"/>
                <a:gd name="T7" fmla="*/ 58 h 59"/>
                <a:gd name="T8" fmla="*/ 0 w 60"/>
                <a:gd name="T9" fmla="*/ 58 h 59"/>
                <a:gd name="T10" fmla="*/ 30 w 60"/>
                <a:gd name="T11" fmla="*/ 29 h 59"/>
                <a:gd name="T12" fmla="*/ 59 w 60"/>
                <a:gd name="T13" fmla="*/ 0 h 59"/>
                <a:gd name="T14" fmla="*/ 30 w 60"/>
                <a:gd name="T15" fmla="*/ 29 h 59"/>
                <a:gd name="T16" fmla="*/ 0 w 60"/>
                <a:gd name="T17" fmla="*/ 5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59">
                  <a:moveTo>
                    <a:pt x="0" y="58"/>
                  </a:moveTo>
                  <a:lnTo>
                    <a:pt x="0" y="58"/>
                  </a:lnTo>
                  <a:lnTo>
                    <a:pt x="0" y="58"/>
                  </a:lnTo>
                  <a:lnTo>
                    <a:pt x="0" y="58"/>
                  </a:lnTo>
                  <a:lnTo>
                    <a:pt x="0" y="58"/>
                  </a:lnTo>
                  <a:lnTo>
                    <a:pt x="30" y="29"/>
                  </a:lnTo>
                  <a:cubicBezTo>
                    <a:pt x="30" y="29"/>
                    <a:pt x="59" y="29"/>
                    <a:pt x="59" y="0"/>
                  </a:cubicBezTo>
                  <a:cubicBezTo>
                    <a:pt x="59" y="29"/>
                    <a:pt x="30" y="29"/>
                    <a:pt x="30" y="29"/>
                  </a:cubicBezTo>
                  <a:lnTo>
                    <a:pt x="0" y="5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94" name="Freeform 131">
              <a:extLst>
                <a:ext uri="{FF2B5EF4-FFF2-40B4-BE49-F238E27FC236}">
                  <a16:creationId xmlns:a16="http://schemas.microsoft.com/office/drawing/2014/main" id="{FECCA2AE-BEA9-4620-A089-4B2B23ADA692}"/>
                </a:ext>
              </a:extLst>
            </p:cNvPr>
            <p:cNvSpPr>
              <a:spLocks noChangeArrowheads="1"/>
            </p:cNvSpPr>
            <p:nvPr/>
          </p:nvSpPr>
          <p:spPr bwMode="auto">
            <a:xfrm>
              <a:off x="10585883" y="3222135"/>
              <a:ext cx="32617" cy="11328"/>
            </a:xfrm>
            <a:custGeom>
              <a:avLst/>
              <a:gdLst>
                <a:gd name="T0" fmla="*/ 87 w 88"/>
                <a:gd name="T1" fmla="*/ 0 h 30"/>
                <a:gd name="T2" fmla="*/ 87 w 88"/>
                <a:gd name="T3" fmla="*/ 0 h 30"/>
                <a:gd name="T4" fmla="*/ 87 w 88"/>
                <a:gd name="T5" fmla="*/ 29 h 30"/>
                <a:gd name="T6" fmla="*/ 87 w 88"/>
                <a:gd name="T7" fmla="*/ 29 h 30"/>
                <a:gd name="T8" fmla="*/ 87 w 88"/>
                <a:gd name="T9" fmla="*/ 29 h 30"/>
                <a:gd name="T10" fmla="*/ 87 w 88"/>
                <a:gd name="T11" fmla="*/ 0 h 30"/>
                <a:gd name="T12" fmla="*/ 58 w 88"/>
                <a:gd name="T13" fmla="*/ 0 h 30"/>
                <a:gd name="T14" fmla="*/ 0 w 88"/>
                <a:gd name="T15" fmla="*/ 0 h 30"/>
                <a:gd name="T16" fmla="*/ 58 w 88"/>
                <a:gd name="T17" fmla="*/ 0 h 30"/>
                <a:gd name="T18" fmla="*/ 87 w 88"/>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30">
                  <a:moveTo>
                    <a:pt x="87" y="0"/>
                  </a:moveTo>
                  <a:lnTo>
                    <a:pt x="87" y="0"/>
                  </a:lnTo>
                  <a:cubicBezTo>
                    <a:pt x="87" y="29"/>
                    <a:pt x="87" y="29"/>
                    <a:pt x="87" y="29"/>
                  </a:cubicBezTo>
                  <a:lnTo>
                    <a:pt x="87" y="29"/>
                  </a:lnTo>
                  <a:lnTo>
                    <a:pt x="87" y="29"/>
                  </a:lnTo>
                  <a:cubicBezTo>
                    <a:pt x="87" y="0"/>
                    <a:pt x="87" y="0"/>
                    <a:pt x="87" y="0"/>
                  </a:cubicBezTo>
                  <a:cubicBezTo>
                    <a:pt x="58" y="0"/>
                    <a:pt x="58" y="0"/>
                    <a:pt x="58" y="0"/>
                  </a:cubicBezTo>
                  <a:cubicBezTo>
                    <a:pt x="58" y="0"/>
                    <a:pt x="28" y="0"/>
                    <a:pt x="0" y="0"/>
                  </a:cubicBezTo>
                  <a:cubicBezTo>
                    <a:pt x="28" y="0"/>
                    <a:pt x="58" y="0"/>
                    <a:pt x="58" y="0"/>
                  </a:cubicBezTo>
                  <a:lnTo>
                    <a:pt x="87"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95" name="Freeform 132">
              <a:extLst>
                <a:ext uri="{FF2B5EF4-FFF2-40B4-BE49-F238E27FC236}">
                  <a16:creationId xmlns:a16="http://schemas.microsoft.com/office/drawing/2014/main" id="{6B9C578D-1C16-4A7C-8C9A-2B99BA5AFECD}"/>
                </a:ext>
              </a:extLst>
            </p:cNvPr>
            <p:cNvSpPr>
              <a:spLocks noChangeArrowheads="1"/>
            </p:cNvSpPr>
            <p:nvPr/>
          </p:nvSpPr>
          <p:spPr bwMode="auto">
            <a:xfrm>
              <a:off x="10704935" y="3521524"/>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96" name="Freeform 133">
              <a:extLst>
                <a:ext uri="{FF2B5EF4-FFF2-40B4-BE49-F238E27FC236}">
                  <a16:creationId xmlns:a16="http://schemas.microsoft.com/office/drawing/2014/main" id="{D908DCE2-4944-4CC3-82A3-25B8AC5EDE26}"/>
                </a:ext>
              </a:extLst>
            </p:cNvPr>
            <p:cNvSpPr>
              <a:spLocks noChangeArrowheads="1"/>
            </p:cNvSpPr>
            <p:nvPr/>
          </p:nvSpPr>
          <p:spPr bwMode="auto">
            <a:xfrm>
              <a:off x="10651117" y="3157402"/>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97" name="Freeform 134">
              <a:extLst>
                <a:ext uri="{FF2B5EF4-FFF2-40B4-BE49-F238E27FC236}">
                  <a16:creationId xmlns:a16="http://schemas.microsoft.com/office/drawing/2014/main" id="{CD9E6692-5F27-4D08-B2D3-E093442DD9AF}"/>
                </a:ext>
              </a:extLst>
            </p:cNvPr>
            <p:cNvSpPr>
              <a:spLocks noChangeArrowheads="1"/>
            </p:cNvSpPr>
            <p:nvPr/>
          </p:nvSpPr>
          <p:spPr bwMode="auto">
            <a:xfrm>
              <a:off x="10704935" y="3447081"/>
              <a:ext cx="11415"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cubicBezTo>
                    <a:pt x="29" y="0"/>
                    <a:pt x="29" y="0"/>
                    <a:pt x="0" y="0"/>
                  </a:cubicBezTo>
                  <a:cubicBezTo>
                    <a:pt x="29"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98" name="Freeform 135">
              <a:extLst>
                <a:ext uri="{FF2B5EF4-FFF2-40B4-BE49-F238E27FC236}">
                  <a16:creationId xmlns:a16="http://schemas.microsoft.com/office/drawing/2014/main" id="{1BF2B22B-BF93-4791-B839-A8B0D4AFDCAD}"/>
                </a:ext>
              </a:extLst>
            </p:cNvPr>
            <p:cNvSpPr>
              <a:spLocks noChangeArrowheads="1"/>
            </p:cNvSpPr>
            <p:nvPr/>
          </p:nvSpPr>
          <p:spPr bwMode="auto">
            <a:xfrm>
              <a:off x="10704935" y="3456791"/>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99" name="Freeform 136">
              <a:extLst>
                <a:ext uri="{FF2B5EF4-FFF2-40B4-BE49-F238E27FC236}">
                  <a16:creationId xmlns:a16="http://schemas.microsoft.com/office/drawing/2014/main" id="{DEE11562-A5F9-4FE3-8EBA-ECBCFCD6E4EF}"/>
                </a:ext>
              </a:extLst>
            </p:cNvPr>
            <p:cNvSpPr>
              <a:spLocks noChangeArrowheads="1"/>
            </p:cNvSpPr>
            <p:nvPr/>
          </p:nvSpPr>
          <p:spPr bwMode="auto">
            <a:xfrm>
              <a:off x="10574468" y="3349982"/>
              <a:ext cx="11415" cy="1619"/>
            </a:xfrm>
            <a:custGeom>
              <a:avLst/>
              <a:gdLst>
                <a:gd name="T0" fmla="*/ 29 w 30"/>
                <a:gd name="T1" fmla="*/ 0 h 1"/>
                <a:gd name="T2" fmla="*/ 29 w 30"/>
                <a:gd name="T3" fmla="*/ 0 h 1"/>
                <a:gd name="T4" fmla="*/ 29 w 30"/>
                <a:gd name="T5" fmla="*/ 0 h 1"/>
                <a:gd name="T6" fmla="*/ 29 w 30"/>
                <a:gd name="T7" fmla="*/ 0 h 1"/>
                <a:gd name="T8" fmla="*/ 0 w 30"/>
                <a:gd name="T9" fmla="*/ 0 h 1"/>
                <a:gd name="T10" fmla="*/ 29 w 30"/>
                <a:gd name="T11" fmla="*/ 0 h 1"/>
              </a:gdLst>
              <a:ahLst/>
              <a:cxnLst>
                <a:cxn ang="0">
                  <a:pos x="T0" y="T1"/>
                </a:cxn>
                <a:cxn ang="0">
                  <a:pos x="T2" y="T3"/>
                </a:cxn>
                <a:cxn ang="0">
                  <a:pos x="T4" y="T5"/>
                </a:cxn>
                <a:cxn ang="0">
                  <a:pos x="T6" y="T7"/>
                </a:cxn>
                <a:cxn ang="0">
                  <a:pos x="T8" y="T9"/>
                </a:cxn>
                <a:cxn ang="0">
                  <a:pos x="T10" y="T11"/>
                </a:cxn>
              </a:cxnLst>
              <a:rect l="0" t="0" r="r" b="b"/>
              <a:pathLst>
                <a:path w="30" h="1">
                  <a:moveTo>
                    <a:pt x="29" y="0"/>
                  </a:moveTo>
                  <a:lnTo>
                    <a:pt x="29" y="0"/>
                  </a:lnTo>
                  <a:lnTo>
                    <a:pt x="29" y="0"/>
                  </a:lnTo>
                  <a:lnTo>
                    <a:pt x="29" y="0"/>
                  </a:lnTo>
                  <a:lnTo>
                    <a:pt x="0" y="0"/>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00" name="Freeform 137">
              <a:extLst>
                <a:ext uri="{FF2B5EF4-FFF2-40B4-BE49-F238E27FC236}">
                  <a16:creationId xmlns:a16="http://schemas.microsoft.com/office/drawing/2014/main" id="{D68FC43E-BA98-4F55-B039-2B9AED07BF59}"/>
                </a:ext>
              </a:extLst>
            </p:cNvPr>
            <p:cNvSpPr>
              <a:spLocks noChangeArrowheads="1"/>
            </p:cNvSpPr>
            <p:nvPr/>
          </p:nvSpPr>
          <p:spPr bwMode="auto">
            <a:xfrm>
              <a:off x="10585883" y="3328944"/>
              <a:ext cx="44033" cy="11328"/>
            </a:xfrm>
            <a:custGeom>
              <a:avLst/>
              <a:gdLst>
                <a:gd name="T0" fmla="*/ 0 w 117"/>
                <a:gd name="T1" fmla="*/ 0 h 30"/>
                <a:gd name="T2" fmla="*/ 0 w 117"/>
                <a:gd name="T3" fmla="*/ 0 h 30"/>
                <a:gd name="T4" fmla="*/ 0 w 117"/>
                <a:gd name="T5" fmla="*/ 0 h 30"/>
                <a:gd name="T6" fmla="*/ 87 w 117"/>
                <a:gd name="T7" fmla="*/ 0 h 30"/>
                <a:gd name="T8" fmla="*/ 116 w 117"/>
                <a:gd name="T9" fmla="*/ 0 h 30"/>
                <a:gd name="T10" fmla="*/ 116 w 117"/>
                <a:gd name="T11" fmla="*/ 0 h 30"/>
                <a:gd name="T12" fmla="*/ 87 w 117"/>
                <a:gd name="T13" fmla="*/ 0 h 30"/>
                <a:gd name="T14" fmla="*/ 0 w 117"/>
                <a:gd name="T15" fmla="*/ 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30">
                  <a:moveTo>
                    <a:pt x="0" y="0"/>
                  </a:moveTo>
                  <a:lnTo>
                    <a:pt x="0" y="0"/>
                  </a:lnTo>
                  <a:lnTo>
                    <a:pt x="0" y="0"/>
                  </a:lnTo>
                  <a:cubicBezTo>
                    <a:pt x="28" y="0"/>
                    <a:pt x="58" y="29"/>
                    <a:pt x="87" y="0"/>
                  </a:cubicBezTo>
                  <a:cubicBezTo>
                    <a:pt x="116" y="0"/>
                    <a:pt x="116" y="0"/>
                    <a:pt x="116" y="0"/>
                  </a:cubicBezTo>
                  <a:lnTo>
                    <a:pt x="116" y="0"/>
                  </a:lnTo>
                  <a:cubicBezTo>
                    <a:pt x="87" y="0"/>
                    <a:pt x="87" y="0"/>
                    <a:pt x="87" y="0"/>
                  </a:cubicBezTo>
                  <a:cubicBezTo>
                    <a:pt x="58" y="29"/>
                    <a:pt x="28"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01" name="Freeform 138">
              <a:extLst>
                <a:ext uri="{FF2B5EF4-FFF2-40B4-BE49-F238E27FC236}">
                  <a16:creationId xmlns:a16="http://schemas.microsoft.com/office/drawing/2014/main" id="{F9108B3F-9237-4F57-B471-A33EE2B4A460}"/>
                </a:ext>
              </a:extLst>
            </p:cNvPr>
            <p:cNvSpPr>
              <a:spLocks noChangeArrowheads="1"/>
            </p:cNvSpPr>
            <p:nvPr/>
          </p:nvSpPr>
          <p:spPr bwMode="auto">
            <a:xfrm>
              <a:off x="10672318" y="3617005"/>
              <a:ext cx="11415" cy="1618"/>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02" name="Freeform 139">
              <a:extLst>
                <a:ext uri="{FF2B5EF4-FFF2-40B4-BE49-F238E27FC236}">
                  <a16:creationId xmlns:a16="http://schemas.microsoft.com/office/drawing/2014/main" id="{E946F221-AAB7-4E9D-BFCD-2679031AF3D1}"/>
                </a:ext>
              </a:extLst>
            </p:cNvPr>
            <p:cNvSpPr>
              <a:spLocks noChangeArrowheads="1"/>
            </p:cNvSpPr>
            <p:nvPr/>
          </p:nvSpPr>
          <p:spPr bwMode="auto">
            <a:xfrm>
              <a:off x="10791370" y="2879051"/>
              <a:ext cx="11416" cy="11328"/>
            </a:xfrm>
            <a:custGeom>
              <a:avLst/>
              <a:gdLst>
                <a:gd name="T0" fmla="*/ 29 w 30"/>
                <a:gd name="T1" fmla="*/ 0 h 30"/>
                <a:gd name="T2" fmla="*/ 29 w 30"/>
                <a:gd name="T3" fmla="*/ 0 h 30"/>
                <a:gd name="T4" fmla="*/ 29 w 30"/>
                <a:gd name="T5" fmla="*/ 0 h 30"/>
                <a:gd name="T6" fmla="*/ 29 w 30"/>
                <a:gd name="T7" fmla="*/ 0 h 30"/>
                <a:gd name="T8" fmla="*/ 29 w 30"/>
                <a:gd name="T9" fmla="*/ 0 h 30"/>
                <a:gd name="T10" fmla="*/ 0 w 30"/>
                <a:gd name="T11" fmla="*/ 29 h 30"/>
                <a:gd name="T12" fmla="*/ 29 w 30"/>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0" h="30">
                  <a:moveTo>
                    <a:pt x="29" y="0"/>
                  </a:moveTo>
                  <a:lnTo>
                    <a:pt x="29" y="0"/>
                  </a:lnTo>
                  <a:lnTo>
                    <a:pt x="29" y="0"/>
                  </a:lnTo>
                  <a:lnTo>
                    <a:pt x="29" y="0"/>
                  </a:lnTo>
                  <a:lnTo>
                    <a:pt x="29" y="0"/>
                  </a:lnTo>
                  <a:cubicBezTo>
                    <a:pt x="29" y="0"/>
                    <a:pt x="29" y="29"/>
                    <a:pt x="0" y="29"/>
                  </a:cubicBezTo>
                  <a:cubicBezTo>
                    <a:pt x="29" y="29"/>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03" name="Freeform 140">
              <a:extLst>
                <a:ext uri="{FF2B5EF4-FFF2-40B4-BE49-F238E27FC236}">
                  <a16:creationId xmlns:a16="http://schemas.microsoft.com/office/drawing/2014/main" id="{5DFDFDF6-88CD-46AB-89A6-5E76A07D80D2}"/>
                </a:ext>
              </a:extLst>
            </p:cNvPr>
            <p:cNvSpPr>
              <a:spLocks noChangeArrowheads="1"/>
            </p:cNvSpPr>
            <p:nvPr/>
          </p:nvSpPr>
          <p:spPr bwMode="auto">
            <a:xfrm>
              <a:off x="10768538" y="2718837"/>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04" name="Freeform 141">
              <a:extLst>
                <a:ext uri="{FF2B5EF4-FFF2-40B4-BE49-F238E27FC236}">
                  <a16:creationId xmlns:a16="http://schemas.microsoft.com/office/drawing/2014/main" id="{6B842B0E-E8D8-496E-80EE-13974C359EB6}"/>
                </a:ext>
              </a:extLst>
            </p:cNvPr>
            <p:cNvSpPr>
              <a:spLocks noChangeArrowheads="1"/>
            </p:cNvSpPr>
            <p:nvPr/>
          </p:nvSpPr>
          <p:spPr bwMode="auto">
            <a:xfrm>
              <a:off x="10974024" y="2537585"/>
              <a:ext cx="22832" cy="11329"/>
            </a:xfrm>
            <a:custGeom>
              <a:avLst/>
              <a:gdLst>
                <a:gd name="T0" fmla="*/ 0 w 60"/>
                <a:gd name="T1" fmla="*/ 29 h 30"/>
                <a:gd name="T2" fmla="*/ 0 w 60"/>
                <a:gd name="T3" fmla="*/ 29 h 30"/>
                <a:gd name="T4" fmla="*/ 0 w 60"/>
                <a:gd name="T5" fmla="*/ 29 h 30"/>
                <a:gd name="T6" fmla="*/ 59 w 60"/>
                <a:gd name="T7" fmla="*/ 0 h 30"/>
                <a:gd name="T8" fmla="*/ 0 w 60"/>
                <a:gd name="T9" fmla="*/ 29 h 30"/>
              </a:gdLst>
              <a:ahLst/>
              <a:cxnLst>
                <a:cxn ang="0">
                  <a:pos x="T0" y="T1"/>
                </a:cxn>
                <a:cxn ang="0">
                  <a:pos x="T2" y="T3"/>
                </a:cxn>
                <a:cxn ang="0">
                  <a:pos x="T4" y="T5"/>
                </a:cxn>
                <a:cxn ang="0">
                  <a:pos x="T6" y="T7"/>
                </a:cxn>
                <a:cxn ang="0">
                  <a:pos x="T8" y="T9"/>
                </a:cxn>
              </a:cxnLst>
              <a:rect l="0" t="0" r="r" b="b"/>
              <a:pathLst>
                <a:path w="60" h="30">
                  <a:moveTo>
                    <a:pt x="0" y="29"/>
                  </a:moveTo>
                  <a:lnTo>
                    <a:pt x="0" y="29"/>
                  </a:lnTo>
                  <a:lnTo>
                    <a:pt x="0" y="29"/>
                  </a:lnTo>
                  <a:cubicBezTo>
                    <a:pt x="0" y="29"/>
                    <a:pt x="29" y="0"/>
                    <a:pt x="59" y="0"/>
                  </a:cubicBezTo>
                  <a:cubicBezTo>
                    <a:pt x="29" y="0"/>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05" name="Freeform 142">
              <a:extLst>
                <a:ext uri="{FF2B5EF4-FFF2-40B4-BE49-F238E27FC236}">
                  <a16:creationId xmlns:a16="http://schemas.microsoft.com/office/drawing/2014/main" id="{58B84F73-454A-4CAE-A939-42B9164AC2F8}"/>
                </a:ext>
              </a:extLst>
            </p:cNvPr>
            <p:cNvSpPr>
              <a:spLocks noChangeArrowheads="1"/>
            </p:cNvSpPr>
            <p:nvPr/>
          </p:nvSpPr>
          <p:spPr bwMode="auto">
            <a:xfrm>
              <a:off x="10833772" y="2621738"/>
              <a:ext cx="21202" cy="1619"/>
            </a:xfrm>
            <a:custGeom>
              <a:avLst/>
              <a:gdLst>
                <a:gd name="T0" fmla="*/ 0 w 58"/>
                <a:gd name="T1" fmla="*/ 0 h 1"/>
                <a:gd name="T2" fmla="*/ 0 w 58"/>
                <a:gd name="T3" fmla="*/ 0 h 1"/>
                <a:gd name="T4" fmla="*/ 0 w 58"/>
                <a:gd name="T5" fmla="*/ 0 h 1"/>
                <a:gd name="T6" fmla="*/ 57 w 58"/>
                <a:gd name="T7" fmla="*/ 0 h 1"/>
                <a:gd name="T8" fmla="*/ 57 w 58"/>
                <a:gd name="T9" fmla="*/ 0 h 1"/>
                <a:gd name="T10" fmla="*/ 57 w 58"/>
                <a:gd name="T11" fmla="*/ 0 h 1"/>
                <a:gd name="T12" fmla="*/ 0 w 58"/>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58" h="1">
                  <a:moveTo>
                    <a:pt x="0" y="0"/>
                  </a:moveTo>
                  <a:lnTo>
                    <a:pt x="0" y="0"/>
                  </a:lnTo>
                  <a:lnTo>
                    <a:pt x="0" y="0"/>
                  </a:lnTo>
                  <a:cubicBezTo>
                    <a:pt x="57" y="0"/>
                    <a:pt x="57" y="0"/>
                    <a:pt x="57" y="0"/>
                  </a:cubicBezTo>
                  <a:lnTo>
                    <a:pt x="57" y="0"/>
                  </a:lnTo>
                  <a:lnTo>
                    <a:pt x="57"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06" name="Freeform 143">
              <a:extLst>
                <a:ext uri="{FF2B5EF4-FFF2-40B4-BE49-F238E27FC236}">
                  <a16:creationId xmlns:a16="http://schemas.microsoft.com/office/drawing/2014/main" id="{8E1A2BE0-CA21-4570-9B55-CEF677ED9BAC}"/>
                </a:ext>
              </a:extLst>
            </p:cNvPr>
            <p:cNvSpPr>
              <a:spLocks noChangeArrowheads="1"/>
            </p:cNvSpPr>
            <p:nvPr/>
          </p:nvSpPr>
          <p:spPr bwMode="auto">
            <a:xfrm>
              <a:off x="10791370" y="2707509"/>
              <a:ext cx="32617" cy="22656"/>
            </a:xfrm>
            <a:custGeom>
              <a:avLst/>
              <a:gdLst>
                <a:gd name="T0" fmla="*/ 58 w 89"/>
                <a:gd name="T1" fmla="*/ 0 h 60"/>
                <a:gd name="T2" fmla="*/ 58 w 89"/>
                <a:gd name="T3" fmla="*/ 0 h 60"/>
                <a:gd name="T4" fmla="*/ 58 w 89"/>
                <a:gd name="T5" fmla="*/ 0 h 60"/>
                <a:gd name="T6" fmla="*/ 0 w 89"/>
                <a:gd name="T7" fmla="*/ 29 h 60"/>
                <a:gd name="T8" fmla="*/ 0 w 89"/>
                <a:gd name="T9" fmla="*/ 29 h 60"/>
                <a:gd name="T10" fmla="*/ 0 w 89"/>
                <a:gd name="T11" fmla="*/ 29 h 60"/>
                <a:gd name="T12" fmla="*/ 58 w 89"/>
                <a:gd name="T13" fmla="*/ 0 h 60"/>
                <a:gd name="T14" fmla="*/ 58 w 89"/>
                <a:gd name="T15" fmla="*/ 0 h 60"/>
                <a:gd name="T16" fmla="*/ 58 w 89"/>
                <a:gd name="T17" fmla="*/ 29 h 60"/>
                <a:gd name="T18" fmla="*/ 88 w 89"/>
                <a:gd name="T19" fmla="*/ 59 h 60"/>
                <a:gd name="T20" fmla="*/ 58 w 89"/>
                <a:gd name="T21" fmla="*/ 29 h 60"/>
                <a:gd name="T22" fmla="*/ 58 w 89"/>
                <a:gd name="T2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60">
                  <a:moveTo>
                    <a:pt x="58" y="0"/>
                  </a:moveTo>
                  <a:lnTo>
                    <a:pt x="58" y="0"/>
                  </a:lnTo>
                  <a:lnTo>
                    <a:pt x="58" y="0"/>
                  </a:lnTo>
                  <a:cubicBezTo>
                    <a:pt x="29" y="29"/>
                    <a:pt x="29" y="29"/>
                    <a:pt x="0" y="29"/>
                  </a:cubicBezTo>
                  <a:lnTo>
                    <a:pt x="0" y="29"/>
                  </a:lnTo>
                  <a:lnTo>
                    <a:pt x="0" y="29"/>
                  </a:lnTo>
                  <a:cubicBezTo>
                    <a:pt x="29" y="29"/>
                    <a:pt x="29" y="29"/>
                    <a:pt x="58" y="0"/>
                  </a:cubicBezTo>
                  <a:lnTo>
                    <a:pt x="58" y="0"/>
                  </a:lnTo>
                  <a:cubicBezTo>
                    <a:pt x="58" y="29"/>
                    <a:pt x="58" y="29"/>
                    <a:pt x="58" y="29"/>
                  </a:cubicBezTo>
                  <a:cubicBezTo>
                    <a:pt x="58" y="29"/>
                    <a:pt x="88" y="29"/>
                    <a:pt x="88" y="59"/>
                  </a:cubicBezTo>
                  <a:cubicBezTo>
                    <a:pt x="88" y="29"/>
                    <a:pt x="58" y="29"/>
                    <a:pt x="58" y="29"/>
                  </a:cubicBezTo>
                  <a:lnTo>
                    <a:pt x="5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07" name="Freeform 144">
              <a:extLst>
                <a:ext uri="{FF2B5EF4-FFF2-40B4-BE49-F238E27FC236}">
                  <a16:creationId xmlns:a16="http://schemas.microsoft.com/office/drawing/2014/main" id="{6502BA49-EBCA-4C06-86B1-7343A95C30B1}"/>
                </a:ext>
              </a:extLst>
            </p:cNvPr>
            <p:cNvSpPr>
              <a:spLocks noChangeArrowheads="1"/>
            </p:cNvSpPr>
            <p:nvPr/>
          </p:nvSpPr>
          <p:spPr bwMode="auto">
            <a:xfrm>
              <a:off x="10651117" y="3157402"/>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08" name="Freeform 145">
              <a:extLst>
                <a:ext uri="{FF2B5EF4-FFF2-40B4-BE49-F238E27FC236}">
                  <a16:creationId xmlns:a16="http://schemas.microsoft.com/office/drawing/2014/main" id="{995B9CC4-029F-452D-BAAC-5FED38F1EAB1}"/>
                </a:ext>
              </a:extLst>
            </p:cNvPr>
            <p:cNvSpPr>
              <a:spLocks noChangeArrowheads="1"/>
            </p:cNvSpPr>
            <p:nvPr/>
          </p:nvSpPr>
          <p:spPr bwMode="auto">
            <a:xfrm>
              <a:off x="10823986" y="2633067"/>
              <a:ext cx="11416" cy="11328"/>
            </a:xfrm>
            <a:custGeom>
              <a:avLst/>
              <a:gdLst>
                <a:gd name="T0" fmla="*/ 29 w 30"/>
                <a:gd name="T1" fmla="*/ 0 h 31"/>
                <a:gd name="T2" fmla="*/ 29 w 30"/>
                <a:gd name="T3" fmla="*/ 0 h 31"/>
                <a:gd name="T4" fmla="*/ 0 w 30"/>
                <a:gd name="T5" fmla="*/ 30 h 31"/>
                <a:gd name="T6" fmla="*/ 29 w 30"/>
                <a:gd name="T7" fmla="*/ 0 h 31"/>
              </a:gdLst>
              <a:ahLst/>
              <a:cxnLst>
                <a:cxn ang="0">
                  <a:pos x="T0" y="T1"/>
                </a:cxn>
                <a:cxn ang="0">
                  <a:pos x="T2" y="T3"/>
                </a:cxn>
                <a:cxn ang="0">
                  <a:pos x="T4" y="T5"/>
                </a:cxn>
                <a:cxn ang="0">
                  <a:pos x="T6" y="T7"/>
                </a:cxn>
              </a:cxnLst>
              <a:rect l="0" t="0" r="r" b="b"/>
              <a:pathLst>
                <a:path w="30" h="31">
                  <a:moveTo>
                    <a:pt x="29" y="0"/>
                  </a:moveTo>
                  <a:lnTo>
                    <a:pt x="29" y="0"/>
                  </a:lnTo>
                  <a:cubicBezTo>
                    <a:pt x="0" y="0"/>
                    <a:pt x="0" y="0"/>
                    <a:pt x="0" y="30"/>
                  </a:cubicBez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09" name="Freeform 146">
              <a:extLst>
                <a:ext uri="{FF2B5EF4-FFF2-40B4-BE49-F238E27FC236}">
                  <a16:creationId xmlns:a16="http://schemas.microsoft.com/office/drawing/2014/main" id="{B5BF43D9-ADC2-4A29-BC5B-3D3B077291EC}"/>
                </a:ext>
              </a:extLst>
            </p:cNvPr>
            <p:cNvSpPr>
              <a:spLocks noChangeArrowheads="1"/>
            </p:cNvSpPr>
            <p:nvPr/>
          </p:nvSpPr>
          <p:spPr bwMode="auto">
            <a:xfrm>
              <a:off x="10693519" y="2964822"/>
              <a:ext cx="32617" cy="22656"/>
            </a:xfrm>
            <a:custGeom>
              <a:avLst/>
              <a:gdLst>
                <a:gd name="T0" fmla="*/ 86 w 87"/>
                <a:gd name="T1" fmla="*/ 59 h 60"/>
                <a:gd name="T2" fmla="*/ 86 w 87"/>
                <a:gd name="T3" fmla="*/ 59 h 60"/>
                <a:gd name="T4" fmla="*/ 29 w 87"/>
                <a:gd name="T5" fmla="*/ 0 h 60"/>
                <a:gd name="T6" fmla="*/ 0 w 87"/>
                <a:gd name="T7" fmla="*/ 0 h 60"/>
                <a:gd name="T8" fmla="*/ 0 w 87"/>
                <a:gd name="T9" fmla="*/ 0 h 60"/>
                <a:gd name="T10" fmla="*/ 29 w 87"/>
                <a:gd name="T11" fmla="*/ 0 h 60"/>
                <a:gd name="T12" fmla="*/ 86 w 87"/>
                <a:gd name="T13" fmla="*/ 59 h 60"/>
              </a:gdLst>
              <a:ahLst/>
              <a:cxnLst>
                <a:cxn ang="0">
                  <a:pos x="T0" y="T1"/>
                </a:cxn>
                <a:cxn ang="0">
                  <a:pos x="T2" y="T3"/>
                </a:cxn>
                <a:cxn ang="0">
                  <a:pos x="T4" y="T5"/>
                </a:cxn>
                <a:cxn ang="0">
                  <a:pos x="T6" y="T7"/>
                </a:cxn>
                <a:cxn ang="0">
                  <a:pos x="T8" y="T9"/>
                </a:cxn>
                <a:cxn ang="0">
                  <a:pos x="T10" y="T11"/>
                </a:cxn>
                <a:cxn ang="0">
                  <a:pos x="T12" y="T13"/>
                </a:cxn>
              </a:cxnLst>
              <a:rect l="0" t="0" r="r" b="b"/>
              <a:pathLst>
                <a:path w="87" h="60">
                  <a:moveTo>
                    <a:pt x="86" y="59"/>
                  </a:moveTo>
                  <a:lnTo>
                    <a:pt x="86" y="59"/>
                  </a:lnTo>
                  <a:cubicBezTo>
                    <a:pt x="58" y="59"/>
                    <a:pt x="29" y="29"/>
                    <a:pt x="29" y="0"/>
                  </a:cubicBezTo>
                  <a:cubicBezTo>
                    <a:pt x="0" y="0"/>
                    <a:pt x="0" y="0"/>
                    <a:pt x="0" y="0"/>
                  </a:cubicBezTo>
                  <a:lnTo>
                    <a:pt x="0" y="0"/>
                  </a:lnTo>
                  <a:cubicBezTo>
                    <a:pt x="0" y="0"/>
                    <a:pt x="0" y="0"/>
                    <a:pt x="29" y="0"/>
                  </a:cubicBezTo>
                  <a:cubicBezTo>
                    <a:pt x="29" y="29"/>
                    <a:pt x="58" y="59"/>
                    <a:pt x="86"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10" name="Freeform 147">
              <a:extLst>
                <a:ext uri="{FF2B5EF4-FFF2-40B4-BE49-F238E27FC236}">
                  <a16:creationId xmlns:a16="http://schemas.microsoft.com/office/drawing/2014/main" id="{47B98462-7FEE-4D59-8562-21F549668B75}"/>
                </a:ext>
              </a:extLst>
            </p:cNvPr>
            <p:cNvSpPr>
              <a:spLocks noChangeArrowheads="1"/>
            </p:cNvSpPr>
            <p:nvPr/>
          </p:nvSpPr>
          <p:spPr bwMode="auto">
            <a:xfrm>
              <a:off x="10693519" y="2953494"/>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11" name="Freeform 148">
              <a:extLst>
                <a:ext uri="{FF2B5EF4-FFF2-40B4-BE49-F238E27FC236}">
                  <a16:creationId xmlns:a16="http://schemas.microsoft.com/office/drawing/2014/main" id="{7E7B0459-6225-4A1E-BEE6-40CDC4D6484A}"/>
                </a:ext>
              </a:extLst>
            </p:cNvPr>
            <p:cNvSpPr>
              <a:spLocks noChangeArrowheads="1"/>
            </p:cNvSpPr>
            <p:nvPr/>
          </p:nvSpPr>
          <p:spPr bwMode="auto">
            <a:xfrm>
              <a:off x="10660902" y="2600700"/>
              <a:ext cx="151669" cy="331755"/>
            </a:xfrm>
            <a:custGeom>
              <a:avLst/>
              <a:gdLst>
                <a:gd name="T0" fmla="*/ 88 w 409"/>
                <a:gd name="T1" fmla="*/ 875 h 904"/>
                <a:gd name="T2" fmla="*/ 88 w 409"/>
                <a:gd name="T3" fmla="*/ 875 h 904"/>
                <a:gd name="T4" fmla="*/ 146 w 409"/>
                <a:gd name="T5" fmla="*/ 903 h 904"/>
                <a:gd name="T6" fmla="*/ 174 w 409"/>
                <a:gd name="T7" fmla="*/ 903 h 904"/>
                <a:gd name="T8" fmla="*/ 204 w 409"/>
                <a:gd name="T9" fmla="*/ 903 h 904"/>
                <a:gd name="T10" fmla="*/ 233 w 409"/>
                <a:gd name="T11" fmla="*/ 903 h 904"/>
                <a:gd name="T12" fmla="*/ 262 w 409"/>
                <a:gd name="T13" fmla="*/ 903 h 904"/>
                <a:gd name="T14" fmla="*/ 262 w 409"/>
                <a:gd name="T15" fmla="*/ 903 h 904"/>
                <a:gd name="T16" fmla="*/ 262 w 409"/>
                <a:gd name="T17" fmla="*/ 903 h 904"/>
                <a:gd name="T18" fmla="*/ 291 w 409"/>
                <a:gd name="T19" fmla="*/ 875 h 904"/>
                <a:gd name="T20" fmla="*/ 262 w 409"/>
                <a:gd name="T21" fmla="*/ 817 h 904"/>
                <a:gd name="T22" fmla="*/ 262 w 409"/>
                <a:gd name="T23" fmla="*/ 817 h 904"/>
                <a:gd name="T24" fmla="*/ 321 w 409"/>
                <a:gd name="T25" fmla="*/ 817 h 904"/>
                <a:gd name="T26" fmla="*/ 350 w 409"/>
                <a:gd name="T27" fmla="*/ 758 h 904"/>
                <a:gd name="T28" fmla="*/ 321 w 409"/>
                <a:gd name="T29" fmla="*/ 729 h 904"/>
                <a:gd name="T30" fmla="*/ 291 w 409"/>
                <a:gd name="T31" fmla="*/ 700 h 904"/>
                <a:gd name="T32" fmla="*/ 321 w 409"/>
                <a:gd name="T33" fmla="*/ 700 h 904"/>
                <a:gd name="T34" fmla="*/ 379 w 409"/>
                <a:gd name="T35" fmla="*/ 525 h 904"/>
                <a:gd name="T36" fmla="*/ 379 w 409"/>
                <a:gd name="T37" fmla="*/ 496 h 904"/>
                <a:gd name="T38" fmla="*/ 379 w 409"/>
                <a:gd name="T39" fmla="*/ 496 h 904"/>
                <a:gd name="T40" fmla="*/ 408 w 409"/>
                <a:gd name="T41" fmla="*/ 467 h 904"/>
                <a:gd name="T42" fmla="*/ 379 w 409"/>
                <a:gd name="T43" fmla="*/ 408 h 904"/>
                <a:gd name="T44" fmla="*/ 379 w 409"/>
                <a:gd name="T45" fmla="*/ 350 h 904"/>
                <a:gd name="T46" fmla="*/ 379 w 409"/>
                <a:gd name="T47" fmla="*/ 350 h 904"/>
                <a:gd name="T48" fmla="*/ 291 w 409"/>
                <a:gd name="T49" fmla="*/ 350 h 904"/>
                <a:gd name="T50" fmla="*/ 233 w 409"/>
                <a:gd name="T51" fmla="*/ 350 h 904"/>
                <a:gd name="T52" fmla="*/ 233 w 409"/>
                <a:gd name="T53" fmla="*/ 320 h 904"/>
                <a:gd name="T54" fmla="*/ 233 w 409"/>
                <a:gd name="T55" fmla="*/ 320 h 904"/>
                <a:gd name="T56" fmla="*/ 262 w 409"/>
                <a:gd name="T57" fmla="*/ 291 h 904"/>
                <a:gd name="T58" fmla="*/ 291 w 409"/>
                <a:gd name="T59" fmla="*/ 175 h 904"/>
                <a:gd name="T60" fmla="*/ 321 w 409"/>
                <a:gd name="T61" fmla="*/ 87 h 904"/>
                <a:gd name="T62" fmla="*/ 321 w 409"/>
                <a:gd name="T63" fmla="*/ 87 h 904"/>
                <a:gd name="T64" fmla="*/ 88 w 409"/>
                <a:gd name="T65" fmla="*/ 0 h 904"/>
                <a:gd name="T66" fmla="*/ 58 w 409"/>
                <a:gd name="T67" fmla="*/ 87 h 904"/>
                <a:gd name="T68" fmla="*/ 29 w 409"/>
                <a:gd name="T69" fmla="*/ 117 h 904"/>
                <a:gd name="T70" fmla="*/ 58 w 409"/>
                <a:gd name="T71" fmla="*/ 437 h 904"/>
                <a:gd name="T72" fmla="*/ 88 w 409"/>
                <a:gd name="T73" fmla="*/ 437 h 904"/>
                <a:gd name="T74" fmla="*/ 117 w 409"/>
                <a:gd name="T75" fmla="*/ 467 h 904"/>
                <a:gd name="T76" fmla="*/ 174 w 409"/>
                <a:gd name="T77" fmla="*/ 641 h 904"/>
                <a:gd name="T78" fmla="*/ 58 w 409"/>
                <a:gd name="T79" fmla="*/ 729 h 904"/>
                <a:gd name="T80" fmla="*/ 58 w 409"/>
                <a:gd name="T81" fmla="*/ 729 h 904"/>
                <a:gd name="T82" fmla="*/ 29 w 409"/>
                <a:gd name="T83" fmla="*/ 758 h 904"/>
                <a:gd name="T84" fmla="*/ 0 w 409"/>
                <a:gd name="T85" fmla="*/ 787 h 904"/>
                <a:gd name="T86" fmla="*/ 88 w 409"/>
                <a:gd name="T87" fmla="*/ 875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9" h="904">
                  <a:moveTo>
                    <a:pt x="88" y="875"/>
                  </a:moveTo>
                  <a:lnTo>
                    <a:pt x="88" y="875"/>
                  </a:lnTo>
                  <a:cubicBezTo>
                    <a:pt x="117" y="875"/>
                    <a:pt x="146" y="903"/>
                    <a:pt x="146" y="903"/>
                  </a:cubicBezTo>
                  <a:cubicBezTo>
                    <a:pt x="174" y="903"/>
                    <a:pt x="174" y="903"/>
                    <a:pt x="174" y="903"/>
                  </a:cubicBezTo>
                  <a:cubicBezTo>
                    <a:pt x="204" y="903"/>
                    <a:pt x="204" y="903"/>
                    <a:pt x="204" y="903"/>
                  </a:cubicBezTo>
                  <a:cubicBezTo>
                    <a:pt x="233" y="903"/>
                    <a:pt x="233" y="903"/>
                    <a:pt x="233" y="903"/>
                  </a:cubicBezTo>
                  <a:cubicBezTo>
                    <a:pt x="262" y="903"/>
                    <a:pt x="262" y="903"/>
                    <a:pt x="262" y="903"/>
                  </a:cubicBezTo>
                  <a:lnTo>
                    <a:pt x="262" y="903"/>
                  </a:lnTo>
                  <a:lnTo>
                    <a:pt x="262" y="903"/>
                  </a:lnTo>
                  <a:lnTo>
                    <a:pt x="291" y="875"/>
                  </a:lnTo>
                  <a:cubicBezTo>
                    <a:pt x="262" y="875"/>
                    <a:pt x="262" y="846"/>
                    <a:pt x="262" y="817"/>
                  </a:cubicBezTo>
                  <a:lnTo>
                    <a:pt x="262" y="817"/>
                  </a:lnTo>
                  <a:cubicBezTo>
                    <a:pt x="321" y="817"/>
                    <a:pt x="321" y="817"/>
                    <a:pt x="321" y="817"/>
                  </a:cubicBezTo>
                  <a:cubicBezTo>
                    <a:pt x="321" y="787"/>
                    <a:pt x="321" y="758"/>
                    <a:pt x="350" y="758"/>
                  </a:cubicBezTo>
                  <a:cubicBezTo>
                    <a:pt x="321" y="758"/>
                    <a:pt x="321" y="729"/>
                    <a:pt x="321" y="729"/>
                  </a:cubicBezTo>
                  <a:cubicBezTo>
                    <a:pt x="291" y="700"/>
                    <a:pt x="291" y="700"/>
                    <a:pt x="291" y="700"/>
                  </a:cubicBezTo>
                  <a:cubicBezTo>
                    <a:pt x="321" y="700"/>
                    <a:pt x="321" y="700"/>
                    <a:pt x="321" y="700"/>
                  </a:cubicBezTo>
                  <a:cubicBezTo>
                    <a:pt x="408" y="700"/>
                    <a:pt x="379" y="612"/>
                    <a:pt x="379" y="525"/>
                  </a:cubicBezTo>
                  <a:cubicBezTo>
                    <a:pt x="379" y="496"/>
                    <a:pt x="379" y="496"/>
                    <a:pt x="379" y="496"/>
                  </a:cubicBezTo>
                  <a:lnTo>
                    <a:pt x="379" y="496"/>
                  </a:lnTo>
                  <a:cubicBezTo>
                    <a:pt x="379" y="467"/>
                    <a:pt x="379" y="467"/>
                    <a:pt x="408" y="467"/>
                  </a:cubicBezTo>
                  <a:cubicBezTo>
                    <a:pt x="379" y="437"/>
                    <a:pt x="379" y="437"/>
                    <a:pt x="379" y="408"/>
                  </a:cubicBezTo>
                  <a:cubicBezTo>
                    <a:pt x="379" y="379"/>
                    <a:pt x="408" y="350"/>
                    <a:pt x="379" y="350"/>
                  </a:cubicBezTo>
                  <a:lnTo>
                    <a:pt x="379" y="350"/>
                  </a:lnTo>
                  <a:cubicBezTo>
                    <a:pt x="350" y="350"/>
                    <a:pt x="321" y="350"/>
                    <a:pt x="291" y="350"/>
                  </a:cubicBezTo>
                  <a:cubicBezTo>
                    <a:pt x="262" y="350"/>
                    <a:pt x="262" y="350"/>
                    <a:pt x="233" y="350"/>
                  </a:cubicBezTo>
                  <a:cubicBezTo>
                    <a:pt x="233" y="320"/>
                    <a:pt x="233" y="320"/>
                    <a:pt x="233" y="320"/>
                  </a:cubicBezTo>
                  <a:lnTo>
                    <a:pt x="233" y="320"/>
                  </a:lnTo>
                  <a:cubicBezTo>
                    <a:pt x="262" y="291"/>
                    <a:pt x="262" y="291"/>
                    <a:pt x="262" y="291"/>
                  </a:cubicBezTo>
                  <a:cubicBezTo>
                    <a:pt x="262" y="233"/>
                    <a:pt x="291" y="203"/>
                    <a:pt x="291" y="175"/>
                  </a:cubicBezTo>
                  <a:cubicBezTo>
                    <a:pt x="321" y="146"/>
                    <a:pt x="321" y="117"/>
                    <a:pt x="321" y="87"/>
                  </a:cubicBezTo>
                  <a:lnTo>
                    <a:pt x="321" y="87"/>
                  </a:lnTo>
                  <a:cubicBezTo>
                    <a:pt x="262" y="58"/>
                    <a:pt x="174" y="29"/>
                    <a:pt x="88" y="0"/>
                  </a:cubicBezTo>
                  <a:cubicBezTo>
                    <a:pt x="88" y="58"/>
                    <a:pt x="58" y="58"/>
                    <a:pt x="58" y="87"/>
                  </a:cubicBezTo>
                  <a:cubicBezTo>
                    <a:pt x="29" y="87"/>
                    <a:pt x="29" y="87"/>
                    <a:pt x="29" y="117"/>
                  </a:cubicBezTo>
                  <a:cubicBezTo>
                    <a:pt x="0" y="175"/>
                    <a:pt x="0" y="379"/>
                    <a:pt x="58" y="437"/>
                  </a:cubicBezTo>
                  <a:cubicBezTo>
                    <a:pt x="58" y="437"/>
                    <a:pt x="58" y="437"/>
                    <a:pt x="88" y="437"/>
                  </a:cubicBezTo>
                  <a:cubicBezTo>
                    <a:pt x="88" y="467"/>
                    <a:pt x="117" y="467"/>
                    <a:pt x="117" y="467"/>
                  </a:cubicBezTo>
                  <a:cubicBezTo>
                    <a:pt x="174" y="525"/>
                    <a:pt x="174" y="583"/>
                    <a:pt x="174" y="641"/>
                  </a:cubicBezTo>
                  <a:cubicBezTo>
                    <a:pt x="146" y="700"/>
                    <a:pt x="117" y="729"/>
                    <a:pt x="58" y="729"/>
                  </a:cubicBezTo>
                  <a:lnTo>
                    <a:pt x="58" y="729"/>
                  </a:lnTo>
                  <a:cubicBezTo>
                    <a:pt x="58" y="729"/>
                    <a:pt x="58" y="729"/>
                    <a:pt x="29" y="758"/>
                  </a:cubicBezTo>
                  <a:lnTo>
                    <a:pt x="0" y="787"/>
                  </a:lnTo>
                  <a:cubicBezTo>
                    <a:pt x="0" y="846"/>
                    <a:pt x="58" y="846"/>
                    <a:pt x="88" y="87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12" name="Freeform 149">
              <a:extLst>
                <a:ext uri="{FF2B5EF4-FFF2-40B4-BE49-F238E27FC236}">
                  <a16:creationId xmlns:a16="http://schemas.microsoft.com/office/drawing/2014/main" id="{05D6899C-AE37-46C7-AC39-7CD14AD98776}"/>
                </a:ext>
              </a:extLst>
            </p:cNvPr>
            <p:cNvSpPr>
              <a:spLocks noChangeArrowheads="1"/>
            </p:cNvSpPr>
            <p:nvPr/>
          </p:nvSpPr>
          <p:spPr bwMode="auto">
            <a:xfrm>
              <a:off x="10726136" y="2997188"/>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13" name="Freeform 150">
              <a:extLst>
                <a:ext uri="{FF2B5EF4-FFF2-40B4-BE49-F238E27FC236}">
                  <a16:creationId xmlns:a16="http://schemas.microsoft.com/office/drawing/2014/main" id="{C9DEE799-8830-4676-8076-0C136279B509}"/>
                </a:ext>
              </a:extLst>
            </p:cNvPr>
            <p:cNvSpPr>
              <a:spLocks noChangeArrowheads="1"/>
            </p:cNvSpPr>
            <p:nvPr/>
          </p:nvSpPr>
          <p:spPr bwMode="auto">
            <a:xfrm>
              <a:off x="10682103" y="2932455"/>
              <a:ext cx="44032" cy="22656"/>
            </a:xfrm>
            <a:custGeom>
              <a:avLst/>
              <a:gdLst>
                <a:gd name="T0" fmla="*/ 30 w 117"/>
                <a:gd name="T1" fmla="*/ 0 h 60"/>
                <a:gd name="T2" fmla="*/ 30 w 117"/>
                <a:gd name="T3" fmla="*/ 0 h 60"/>
                <a:gd name="T4" fmla="*/ 88 w 117"/>
                <a:gd name="T5" fmla="*/ 30 h 60"/>
                <a:gd name="T6" fmla="*/ 88 w 117"/>
                <a:gd name="T7" fmla="*/ 59 h 60"/>
                <a:gd name="T8" fmla="*/ 116 w 117"/>
                <a:gd name="T9" fmla="*/ 30 h 60"/>
                <a:gd name="T10" fmla="*/ 116 w 117"/>
                <a:gd name="T11" fmla="*/ 30 h 60"/>
                <a:gd name="T12" fmla="*/ 116 w 117"/>
                <a:gd name="T13" fmla="*/ 30 h 60"/>
                <a:gd name="T14" fmla="*/ 116 w 117"/>
                <a:gd name="T15" fmla="*/ 30 h 60"/>
                <a:gd name="T16" fmla="*/ 88 w 117"/>
                <a:gd name="T17" fmla="*/ 59 h 60"/>
                <a:gd name="T18" fmla="*/ 88 w 117"/>
                <a:gd name="T19" fmla="*/ 30 h 60"/>
                <a:gd name="T20" fmla="*/ 30 w 117"/>
                <a:gd name="T21" fmla="*/ 0 h 60"/>
                <a:gd name="T22" fmla="*/ 0 w 117"/>
                <a:gd name="T23" fmla="*/ 0 h 60"/>
                <a:gd name="T24" fmla="*/ 0 w 117"/>
                <a:gd name="T25" fmla="*/ 0 h 60"/>
                <a:gd name="T26" fmla="*/ 0 w 117"/>
                <a:gd name="T27" fmla="*/ 0 h 60"/>
                <a:gd name="T28" fmla="*/ 30 w 117"/>
                <a:gd name="T2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 h="60">
                  <a:moveTo>
                    <a:pt x="30" y="0"/>
                  </a:moveTo>
                  <a:lnTo>
                    <a:pt x="30" y="0"/>
                  </a:lnTo>
                  <a:cubicBezTo>
                    <a:pt x="59" y="30"/>
                    <a:pt x="59" y="30"/>
                    <a:pt x="88" y="30"/>
                  </a:cubicBezTo>
                  <a:cubicBezTo>
                    <a:pt x="88" y="59"/>
                    <a:pt x="88" y="59"/>
                    <a:pt x="88" y="59"/>
                  </a:cubicBezTo>
                  <a:cubicBezTo>
                    <a:pt x="116" y="30"/>
                    <a:pt x="116" y="30"/>
                    <a:pt x="116" y="30"/>
                  </a:cubicBezTo>
                  <a:lnTo>
                    <a:pt x="116" y="30"/>
                  </a:lnTo>
                  <a:lnTo>
                    <a:pt x="116" y="30"/>
                  </a:lnTo>
                  <a:lnTo>
                    <a:pt x="116" y="30"/>
                  </a:lnTo>
                  <a:cubicBezTo>
                    <a:pt x="88" y="59"/>
                    <a:pt x="88" y="59"/>
                    <a:pt x="88" y="59"/>
                  </a:cubicBezTo>
                  <a:cubicBezTo>
                    <a:pt x="88" y="30"/>
                    <a:pt x="88" y="30"/>
                    <a:pt x="88" y="30"/>
                  </a:cubicBezTo>
                  <a:cubicBezTo>
                    <a:pt x="59" y="30"/>
                    <a:pt x="59" y="30"/>
                    <a:pt x="30" y="0"/>
                  </a:cubicBezTo>
                  <a:cubicBezTo>
                    <a:pt x="30" y="0"/>
                    <a:pt x="30" y="0"/>
                    <a:pt x="0" y="0"/>
                  </a:cubicBezTo>
                  <a:lnTo>
                    <a:pt x="0" y="0"/>
                  </a:lnTo>
                  <a:lnTo>
                    <a:pt x="0" y="0"/>
                  </a:lnTo>
                  <a:cubicBezTo>
                    <a:pt x="30" y="0"/>
                    <a:pt x="3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14" name="Freeform 151">
              <a:extLst>
                <a:ext uri="{FF2B5EF4-FFF2-40B4-BE49-F238E27FC236}">
                  <a16:creationId xmlns:a16="http://schemas.microsoft.com/office/drawing/2014/main" id="{B15FC1B3-AC0E-42B1-9488-C10A208677BE}"/>
                </a:ext>
              </a:extLst>
            </p:cNvPr>
            <p:cNvSpPr>
              <a:spLocks noChangeArrowheads="1"/>
            </p:cNvSpPr>
            <p:nvPr/>
          </p:nvSpPr>
          <p:spPr bwMode="auto">
            <a:xfrm>
              <a:off x="10801155" y="2644394"/>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15" name="Freeform 152">
              <a:extLst>
                <a:ext uri="{FF2B5EF4-FFF2-40B4-BE49-F238E27FC236}">
                  <a16:creationId xmlns:a16="http://schemas.microsoft.com/office/drawing/2014/main" id="{CA543C84-719E-47C7-910F-B702B9AE25C8}"/>
                </a:ext>
              </a:extLst>
            </p:cNvPr>
            <p:cNvSpPr>
              <a:spLocks noChangeArrowheads="1"/>
            </p:cNvSpPr>
            <p:nvPr/>
          </p:nvSpPr>
          <p:spPr bwMode="auto">
            <a:xfrm>
              <a:off x="10779954" y="2901708"/>
              <a:ext cx="11415" cy="11328"/>
            </a:xfrm>
            <a:custGeom>
              <a:avLst/>
              <a:gdLst>
                <a:gd name="T0" fmla="*/ 29 w 30"/>
                <a:gd name="T1" fmla="*/ 29 h 30"/>
                <a:gd name="T2" fmla="*/ 29 w 30"/>
                <a:gd name="T3" fmla="*/ 29 h 30"/>
                <a:gd name="T4" fmla="*/ 29 w 30"/>
                <a:gd name="T5" fmla="*/ 0 h 30"/>
                <a:gd name="T6" fmla="*/ 29 w 30"/>
                <a:gd name="T7" fmla="*/ 29 h 30"/>
                <a:gd name="T8" fmla="*/ 29 w 30"/>
                <a:gd name="T9" fmla="*/ 29 h 30"/>
                <a:gd name="T10" fmla="*/ 0 w 30"/>
                <a:gd name="T11" fmla="*/ 29 h 30"/>
                <a:gd name="T12" fmla="*/ 0 w 30"/>
                <a:gd name="T13" fmla="*/ 29 h 30"/>
                <a:gd name="T14" fmla="*/ 29 w 30"/>
                <a:gd name="T15" fmla="*/ 29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0">
                  <a:moveTo>
                    <a:pt x="29" y="29"/>
                  </a:moveTo>
                  <a:lnTo>
                    <a:pt x="29" y="29"/>
                  </a:lnTo>
                  <a:cubicBezTo>
                    <a:pt x="29" y="0"/>
                    <a:pt x="29" y="0"/>
                    <a:pt x="29" y="0"/>
                  </a:cubicBezTo>
                  <a:cubicBezTo>
                    <a:pt x="29" y="0"/>
                    <a:pt x="29" y="0"/>
                    <a:pt x="29" y="29"/>
                  </a:cubicBezTo>
                  <a:lnTo>
                    <a:pt x="29" y="29"/>
                  </a:lnTo>
                  <a:cubicBezTo>
                    <a:pt x="0" y="29"/>
                    <a:pt x="0" y="29"/>
                    <a:pt x="0" y="29"/>
                  </a:cubicBezTo>
                  <a:lnTo>
                    <a:pt x="0" y="29"/>
                  </a:lnTo>
                  <a:cubicBezTo>
                    <a:pt x="29" y="29"/>
                    <a:pt x="29"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16" name="Freeform 153">
              <a:extLst>
                <a:ext uri="{FF2B5EF4-FFF2-40B4-BE49-F238E27FC236}">
                  <a16:creationId xmlns:a16="http://schemas.microsoft.com/office/drawing/2014/main" id="{92190894-C495-49A9-99AC-C556F51F9470}"/>
                </a:ext>
              </a:extLst>
            </p:cNvPr>
            <p:cNvSpPr>
              <a:spLocks noChangeArrowheads="1"/>
            </p:cNvSpPr>
            <p:nvPr/>
          </p:nvSpPr>
          <p:spPr bwMode="auto">
            <a:xfrm>
              <a:off x="10618500" y="3115326"/>
              <a:ext cx="11416" cy="1618"/>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lnTo>
                    <a:pt x="0" y="0"/>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17" name="Freeform 154">
              <a:extLst>
                <a:ext uri="{FF2B5EF4-FFF2-40B4-BE49-F238E27FC236}">
                  <a16:creationId xmlns:a16="http://schemas.microsoft.com/office/drawing/2014/main" id="{16F83474-DC80-4A03-967B-0547E26783C2}"/>
                </a:ext>
              </a:extLst>
            </p:cNvPr>
            <p:cNvSpPr>
              <a:spLocks noChangeArrowheads="1"/>
            </p:cNvSpPr>
            <p:nvPr/>
          </p:nvSpPr>
          <p:spPr bwMode="auto">
            <a:xfrm>
              <a:off x="10618500" y="3092670"/>
              <a:ext cx="11416" cy="22656"/>
            </a:xfrm>
            <a:custGeom>
              <a:avLst/>
              <a:gdLst>
                <a:gd name="T0" fmla="*/ 0 w 30"/>
                <a:gd name="T1" fmla="*/ 0 h 60"/>
                <a:gd name="T2" fmla="*/ 0 w 30"/>
                <a:gd name="T3" fmla="*/ 0 h 60"/>
                <a:gd name="T4" fmla="*/ 0 w 30"/>
                <a:gd name="T5" fmla="*/ 29 h 60"/>
                <a:gd name="T6" fmla="*/ 29 w 30"/>
                <a:gd name="T7" fmla="*/ 59 h 60"/>
                <a:gd name="T8" fmla="*/ 29 w 30"/>
                <a:gd name="T9" fmla="*/ 59 h 60"/>
                <a:gd name="T10" fmla="*/ 29 w 30"/>
                <a:gd name="T11" fmla="*/ 59 h 60"/>
                <a:gd name="T12" fmla="*/ 0 w 30"/>
                <a:gd name="T13" fmla="*/ 29 h 60"/>
                <a:gd name="T14" fmla="*/ 0 w 30"/>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60">
                  <a:moveTo>
                    <a:pt x="0" y="0"/>
                  </a:moveTo>
                  <a:lnTo>
                    <a:pt x="0" y="0"/>
                  </a:lnTo>
                  <a:cubicBezTo>
                    <a:pt x="0" y="29"/>
                    <a:pt x="0" y="29"/>
                    <a:pt x="0" y="29"/>
                  </a:cubicBezTo>
                  <a:cubicBezTo>
                    <a:pt x="29" y="59"/>
                    <a:pt x="29" y="59"/>
                    <a:pt x="29" y="59"/>
                  </a:cubicBezTo>
                  <a:lnTo>
                    <a:pt x="29" y="59"/>
                  </a:lnTo>
                  <a:lnTo>
                    <a:pt x="29" y="59"/>
                  </a:lnTo>
                  <a:cubicBezTo>
                    <a:pt x="29" y="59"/>
                    <a:pt x="29" y="59"/>
                    <a:pt x="0" y="29"/>
                  </a:cubicBez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18" name="Freeform 155">
              <a:extLst>
                <a:ext uri="{FF2B5EF4-FFF2-40B4-BE49-F238E27FC236}">
                  <a16:creationId xmlns:a16="http://schemas.microsoft.com/office/drawing/2014/main" id="{A957C500-E16B-4906-B31B-14561F6B9E3F}"/>
                </a:ext>
              </a:extLst>
            </p:cNvPr>
            <p:cNvSpPr>
              <a:spLocks noChangeArrowheads="1"/>
            </p:cNvSpPr>
            <p:nvPr/>
          </p:nvSpPr>
          <p:spPr bwMode="auto">
            <a:xfrm>
              <a:off x="10607085" y="2997188"/>
              <a:ext cx="11415" cy="11329"/>
            </a:xfrm>
            <a:custGeom>
              <a:avLst/>
              <a:gdLst>
                <a:gd name="T0" fmla="*/ 29 w 30"/>
                <a:gd name="T1" fmla="*/ 0 h 30"/>
                <a:gd name="T2" fmla="*/ 29 w 30"/>
                <a:gd name="T3" fmla="*/ 0 h 30"/>
                <a:gd name="T4" fmla="*/ 29 w 30"/>
                <a:gd name="T5" fmla="*/ 0 h 30"/>
                <a:gd name="T6" fmla="*/ 29 w 30"/>
                <a:gd name="T7" fmla="*/ 0 h 30"/>
                <a:gd name="T8" fmla="*/ 0 w 30"/>
                <a:gd name="T9" fmla="*/ 29 h 30"/>
                <a:gd name="T10" fmla="*/ 29 w 30"/>
                <a:gd name="T11" fmla="*/ 0 h 30"/>
              </a:gdLst>
              <a:ahLst/>
              <a:cxnLst>
                <a:cxn ang="0">
                  <a:pos x="T0" y="T1"/>
                </a:cxn>
                <a:cxn ang="0">
                  <a:pos x="T2" y="T3"/>
                </a:cxn>
                <a:cxn ang="0">
                  <a:pos x="T4" y="T5"/>
                </a:cxn>
                <a:cxn ang="0">
                  <a:pos x="T6" y="T7"/>
                </a:cxn>
                <a:cxn ang="0">
                  <a:pos x="T8" y="T9"/>
                </a:cxn>
                <a:cxn ang="0">
                  <a:pos x="T10" y="T11"/>
                </a:cxn>
              </a:cxnLst>
              <a:rect l="0" t="0" r="r" b="b"/>
              <a:pathLst>
                <a:path w="30" h="30">
                  <a:moveTo>
                    <a:pt x="29" y="0"/>
                  </a:moveTo>
                  <a:lnTo>
                    <a:pt x="29" y="0"/>
                  </a:lnTo>
                  <a:lnTo>
                    <a:pt x="29" y="0"/>
                  </a:lnTo>
                  <a:lnTo>
                    <a:pt x="29" y="0"/>
                  </a:lnTo>
                  <a:cubicBezTo>
                    <a:pt x="29" y="0"/>
                    <a:pt x="0" y="0"/>
                    <a:pt x="0" y="29"/>
                  </a:cubicBezTo>
                  <a:cubicBezTo>
                    <a:pt x="0"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19" name="Freeform 156">
              <a:extLst>
                <a:ext uri="{FF2B5EF4-FFF2-40B4-BE49-F238E27FC236}">
                  <a16:creationId xmlns:a16="http://schemas.microsoft.com/office/drawing/2014/main" id="{50C1F79D-063B-4CB4-A165-C676BE9CA77C}"/>
                </a:ext>
              </a:extLst>
            </p:cNvPr>
            <p:cNvSpPr>
              <a:spLocks noChangeArrowheads="1"/>
            </p:cNvSpPr>
            <p:nvPr/>
          </p:nvSpPr>
          <p:spPr bwMode="auto">
            <a:xfrm>
              <a:off x="10607085" y="3060303"/>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20" name="Freeform 157">
              <a:extLst>
                <a:ext uri="{FF2B5EF4-FFF2-40B4-BE49-F238E27FC236}">
                  <a16:creationId xmlns:a16="http://schemas.microsoft.com/office/drawing/2014/main" id="{40F11AE8-CAA7-4E79-A612-3CA3CF9C1BC6}"/>
                </a:ext>
              </a:extLst>
            </p:cNvPr>
            <p:cNvSpPr>
              <a:spLocks noChangeArrowheads="1"/>
            </p:cNvSpPr>
            <p:nvPr/>
          </p:nvSpPr>
          <p:spPr bwMode="auto">
            <a:xfrm>
              <a:off x="10618500" y="3136364"/>
              <a:ext cx="11416" cy="11329"/>
            </a:xfrm>
            <a:custGeom>
              <a:avLst/>
              <a:gdLst>
                <a:gd name="T0" fmla="*/ 29 w 30"/>
                <a:gd name="T1" fmla="*/ 29 h 30"/>
                <a:gd name="T2" fmla="*/ 0 w 30"/>
                <a:gd name="T3" fmla="*/ 0 h 30"/>
                <a:gd name="T4" fmla="*/ 29 w 30"/>
                <a:gd name="T5" fmla="*/ 29 h 30"/>
              </a:gdLst>
              <a:ahLst/>
              <a:cxnLst>
                <a:cxn ang="0">
                  <a:pos x="T0" y="T1"/>
                </a:cxn>
                <a:cxn ang="0">
                  <a:pos x="T2" y="T3"/>
                </a:cxn>
                <a:cxn ang="0">
                  <a:pos x="T4" y="T5"/>
                </a:cxn>
              </a:cxnLst>
              <a:rect l="0" t="0" r="r" b="b"/>
              <a:pathLst>
                <a:path w="30" h="30">
                  <a:moveTo>
                    <a:pt x="29" y="29"/>
                  </a:moveTo>
                  <a:lnTo>
                    <a:pt x="0" y="0"/>
                  </a:lnTo>
                  <a:lnTo>
                    <a:pt x="2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21" name="Freeform 158">
              <a:extLst>
                <a:ext uri="{FF2B5EF4-FFF2-40B4-BE49-F238E27FC236}">
                  <a16:creationId xmlns:a16="http://schemas.microsoft.com/office/drawing/2014/main" id="{A031CB94-A83B-438C-942D-455DECD124EB}"/>
                </a:ext>
              </a:extLst>
            </p:cNvPr>
            <p:cNvSpPr>
              <a:spLocks noChangeArrowheads="1"/>
            </p:cNvSpPr>
            <p:nvPr/>
          </p:nvSpPr>
          <p:spPr bwMode="auto">
            <a:xfrm>
              <a:off x="10618500" y="3136364"/>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22" name="Freeform 159">
              <a:extLst>
                <a:ext uri="{FF2B5EF4-FFF2-40B4-BE49-F238E27FC236}">
                  <a16:creationId xmlns:a16="http://schemas.microsoft.com/office/drawing/2014/main" id="{5659EFBB-C1D7-4BDC-9935-3848C2043D84}"/>
                </a:ext>
              </a:extLst>
            </p:cNvPr>
            <p:cNvSpPr>
              <a:spLocks noChangeArrowheads="1"/>
            </p:cNvSpPr>
            <p:nvPr/>
          </p:nvSpPr>
          <p:spPr bwMode="auto">
            <a:xfrm>
              <a:off x="10618500" y="2964822"/>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23" name="Freeform 160">
              <a:extLst>
                <a:ext uri="{FF2B5EF4-FFF2-40B4-BE49-F238E27FC236}">
                  <a16:creationId xmlns:a16="http://schemas.microsoft.com/office/drawing/2014/main" id="{867F9E2C-71C3-4370-A204-565B11D35854}"/>
                </a:ext>
              </a:extLst>
            </p:cNvPr>
            <p:cNvSpPr>
              <a:spLocks noChangeArrowheads="1"/>
            </p:cNvSpPr>
            <p:nvPr/>
          </p:nvSpPr>
          <p:spPr bwMode="auto">
            <a:xfrm>
              <a:off x="10090106" y="2922745"/>
              <a:ext cx="561011" cy="322046"/>
            </a:xfrm>
            <a:custGeom>
              <a:avLst/>
              <a:gdLst>
                <a:gd name="T0" fmla="*/ 1517 w 1518"/>
                <a:gd name="T1" fmla="*/ 87 h 876"/>
                <a:gd name="T2" fmla="*/ 904 w 1518"/>
                <a:gd name="T3" fmla="*/ 116 h 876"/>
                <a:gd name="T4" fmla="*/ 29 w 1518"/>
                <a:gd name="T5" fmla="*/ 525 h 876"/>
                <a:gd name="T6" fmla="*/ 58 w 1518"/>
                <a:gd name="T7" fmla="*/ 466 h 876"/>
                <a:gd name="T8" fmla="*/ 379 w 1518"/>
                <a:gd name="T9" fmla="*/ 204 h 876"/>
                <a:gd name="T10" fmla="*/ 467 w 1518"/>
                <a:gd name="T11" fmla="*/ 204 h 876"/>
                <a:gd name="T12" fmla="*/ 554 w 1518"/>
                <a:gd name="T13" fmla="*/ 175 h 876"/>
                <a:gd name="T14" fmla="*/ 671 w 1518"/>
                <a:gd name="T15" fmla="*/ 321 h 876"/>
                <a:gd name="T16" fmla="*/ 729 w 1518"/>
                <a:gd name="T17" fmla="*/ 321 h 876"/>
                <a:gd name="T18" fmla="*/ 787 w 1518"/>
                <a:gd name="T19" fmla="*/ 408 h 876"/>
                <a:gd name="T20" fmla="*/ 963 w 1518"/>
                <a:gd name="T21" fmla="*/ 495 h 876"/>
                <a:gd name="T22" fmla="*/ 992 w 1518"/>
                <a:gd name="T23" fmla="*/ 671 h 876"/>
                <a:gd name="T24" fmla="*/ 992 w 1518"/>
                <a:gd name="T25" fmla="*/ 787 h 876"/>
                <a:gd name="T26" fmla="*/ 1137 w 1518"/>
                <a:gd name="T27" fmla="*/ 816 h 876"/>
                <a:gd name="T28" fmla="*/ 1254 w 1518"/>
                <a:gd name="T29" fmla="*/ 845 h 876"/>
                <a:gd name="T30" fmla="*/ 1370 w 1518"/>
                <a:gd name="T31" fmla="*/ 875 h 876"/>
                <a:gd name="T32" fmla="*/ 1254 w 1518"/>
                <a:gd name="T33" fmla="*/ 758 h 876"/>
                <a:gd name="T34" fmla="*/ 1254 w 1518"/>
                <a:gd name="T35" fmla="*/ 728 h 876"/>
                <a:gd name="T36" fmla="*/ 1284 w 1518"/>
                <a:gd name="T37" fmla="*/ 642 h 876"/>
                <a:gd name="T38" fmla="*/ 1284 w 1518"/>
                <a:gd name="T39" fmla="*/ 583 h 876"/>
                <a:gd name="T40" fmla="*/ 1284 w 1518"/>
                <a:gd name="T41" fmla="*/ 554 h 876"/>
                <a:gd name="T42" fmla="*/ 1254 w 1518"/>
                <a:gd name="T43" fmla="*/ 495 h 876"/>
                <a:gd name="T44" fmla="*/ 1284 w 1518"/>
                <a:gd name="T45" fmla="*/ 466 h 876"/>
                <a:gd name="T46" fmla="*/ 1284 w 1518"/>
                <a:gd name="T47" fmla="*/ 437 h 876"/>
                <a:gd name="T48" fmla="*/ 1254 w 1518"/>
                <a:gd name="T49" fmla="*/ 378 h 876"/>
                <a:gd name="T50" fmla="*/ 1225 w 1518"/>
                <a:gd name="T51" fmla="*/ 291 h 876"/>
                <a:gd name="T52" fmla="*/ 1254 w 1518"/>
                <a:gd name="T53" fmla="*/ 262 h 876"/>
                <a:gd name="T54" fmla="*/ 1254 w 1518"/>
                <a:gd name="T55" fmla="*/ 262 h 876"/>
                <a:gd name="T56" fmla="*/ 1284 w 1518"/>
                <a:gd name="T57" fmla="*/ 233 h 876"/>
                <a:gd name="T58" fmla="*/ 1342 w 1518"/>
                <a:gd name="T59" fmla="*/ 204 h 876"/>
                <a:gd name="T60" fmla="*/ 1342 w 1518"/>
                <a:gd name="T61" fmla="*/ 204 h 876"/>
                <a:gd name="T62" fmla="*/ 1342 w 1518"/>
                <a:gd name="T63" fmla="*/ 175 h 876"/>
                <a:gd name="T64" fmla="*/ 1370 w 1518"/>
                <a:gd name="T65" fmla="*/ 175 h 876"/>
                <a:gd name="T66" fmla="*/ 1400 w 1518"/>
                <a:gd name="T67" fmla="*/ 145 h 876"/>
                <a:gd name="T68" fmla="*/ 1370 w 1518"/>
                <a:gd name="T69" fmla="*/ 116 h 876"/>
                <a:gd name="T70" fmla="*/ 1458 w 1518"/>
                <a:gd name="T71" fmla="*/ 58 h 876"/>
                <a:gd name="T72" fmla="*/ 1487 w 1518"/>
                <a:gd name="T73" fmla="*/ 87 h 876"/>
                <a:gd name="T74" fmla="*/ 1517 w 1518"/>
                <a:gd name="T75" fmla="*/ 87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18" h="876">
                  <a:moveTo>
                    <a:pt x="1517" y="87"/>
                  </a:moveTo>
                  <a:lnTo>
                    <a:pt x="1517" y="87"/>
                  </a:lnTo>
                  <a:cubicBezTo>
                    <a:pt x="1487" y="58"/>
                    <a:pt x="1487" y="28"/>
                    <a:pt x="1487" y="0"/>
                  </a:cubicBezTo>
                  <a:cubicBezTo>
                    <a:pt x="1284" y="58"/>
                    <a:pt x="1079" y="87"/>
                    <a:pt x="904" y="116"/>
                  </a:cubicBezTo>
                  <a:cubicBezTo>
                    <a:pt x="584" y="145"/>
                    <a:pt x="292" y="204"/>
                    <a:pt x="0" y="262"/>
                  </a:cubicBezTo>
                  <a:cubicBezTo>
                    <a:pt x="0" y="350"/>
                    <a:pt x="0" y="437"/>
                    <a:pt x="29" y="525"/>
                  </a:cubicBezTo>
                  <a:cubicBezTo>
                    <a:pt x="29" y="525"/>
                    <a:pt x="29" y="525"/>
                    <a:pt x="58" y="495"/>
                  </a:cubicBezTo>
                  <a:lnTo>
                    <a:pt x="58" y="466"/>
                  </a:lnTo>
                  <a:cubicBezTo>
                    <a:pt x="117" y="378"/>
                    <a:pt x="204" y="262"/>
                    <a:pt x="292" y="204"/>
                  </a:cubicBezTo>
                  <a:cubicBezTo>
                    <a:pt x="321" y="204"/>
                    <a:pt x="350" y="204"/>
                    <a:pt x="379" y="204"/>
                  </a:cubicBezTo>
                  <a:cubicBezTo>
                    <a:pt x="379" y="204"/>
                    <a:pt x="379" y="204"/>
                    <a:pt x="408" y="204"/>
                  </a:cubicBezTo>
                  <a:cubicBezTo>
                    <a:pt x="408" y="204"/>
                    <a:pt x="437" y="204"/>
                    <a:pt x="467" y="204"/>
                  </a:cubicBezTo>
                  <a:cubicBezTo>
                    <a:pt x="496" y="204"/>
                    <a:pt x="525" y="175"/>
                    <a:pt x="554" y="175"/>
                  </a:cubicBezTo>
                  <a:lnTo>
                    <a:pt x="554" y="175"/>
                  </a:lnTo>
                  <a:cubicBezTo>
                    <a:pt x="613" y="175"/>
                    <a:pt x="642" y="233"/>
                    <a:pt x="642" y="262"/>
                  </a:cubicBezTo>
                  <a:cubicBezTo>
                    <a:pt x="671" y="291"/>
                    <a:pt x="671" y="291"/>
                    <a:pt x="671" y="321"/>
                  </a:cubicBezTo>
                  <a:cubicBezTo>
                    <a:pt x="729" y="321"/>
                    <a:pt x="729" y="321"/>
                    <a:pt x="729" y="321"/>
                  </a:cubicBezTo>
                  <a:lnTo>
                    <a:pt x="729" y="321"/>
                  </a:lnTo>
                  <a:cubicBezTo>
                    <a:pt x="758" y="321"/>
                    <a:pt x="758" y="350"/>
                    <a:pt x="787" y="378"/>
                  </a:cubicBezTo>
                  <a:lnTo>
                    <a:pt x="787" y="408"/>
                  </a:lnTo>
                  <a:cubicBezTo>
                    <a:pt x="817" y="437"/>
                    <a:pt x="846" y="466"/>
                    <a:pt x="904" y="466"/>
                  </a:cubicBezTo>
                  <a:cubicBezTo>
                    <a:pt x="934" y="466"/>
                    <a:pt x="963" y="466"/>
                    <a:pt x="963" y="495"/>
                  </a:cubicBezTo>
                  <a:cubicBezTo>
                    <a:pt x="992" y="525"/>
                    <a:pt x="1021" y="583"/>
                    <a:pt x="1021" y="612"/>
                  </a:cubicBezTo>
                  <a:cubicBezTo>
                    <a:pt x="1021" y="642"/>
                    <a:pt x="1021" y="642"/>
                    <a:pt x="992" y="671"/>
                  </a:cubicBezTo>
                  <a:cubicBezTo>
                    <a:pt x="992" y="671"/>
                    <a:pt x="992" y="671"/>
                    <a:pt x="992" y="699"/>
                  </a:cubicBezTo>
                  <a:cubicBezTo>
                    <a:pt x="963" y="728"/>
                    <a:pt x="963" y="758"/>
                    <a:pt x="992" y="787"/>
                  </a:cubicBezTo>
                  <a:cubicBezTo>
                    <a:pt x="1021" y="787"/>
                    <a:pt x="1021" y="787"/>
                    <a:pt x="1050" y="787"/>
                  </a:cubicBezTo>
                  <a:cubicBezTo>
                    <a:pt x="1079" y="787"/>
                    <a:pt x="1108" y="787"/>
                    <a:pt x="1137" y="816"/>
                  </a:cubicBezTo>
                  <a:cubicBezTo>
                    <a:pt x="1167" y="816"/>
                    <a:pt x="1167" y="816"/>
                    <a:pt x="1196" y="845"/>
                  </a:cubicBezTo>
                  <a:cubicBezTo>
                    <a:pt x="1225" y="845"/>
                    <a:pt x="1225" y="845"/>
                    <a:pt x="1254" y="845"/>
                  </a:cubicBezTo>
                  <a:cubicBezTo>
                    <a:pt x="1284" y="845"/>
                    <a:pt x="1342" y="875"/>
                    <a:pt x="1370" y="875"/>
                  </a:cubicBezTo>
                  <a:lnTo>
                    <a:pt x="1370" y="875"/>
                  </a:lnTo>
                  <a:lnTo>
                    <a:pt x="1400" y="875"/>
                  </a:lnTo>
                  <a:cubicBezTo>
                    <a:pt x="1313" y="845"/>
                    <a:pt x="1254" y="787"/>
                    <a:pt x="1254" y="758"/>
                  </a:cubicBezTo>
                  <a:cubicBezTo>
                    <a:pt x="1225" y="728"/>
                    <a:pt x="1225" y="728"/>
                    <a:pt x="1225" y="728"/>
                  </a:cubicBezTo>
                  <a:cubicBezTo>
                    <a:pt x="1254" y="728"/>
                    <a:pt x="1254" y="728"/>
                    <a:pt x="1254" y="728"/>
                  </a:cubicBezTo>
                  <a:cubicBezTo>
                    <a:pt x="1284" y="728"/>
                    <a:pt x="1284" y="699"/>
                    <a:pt x="1313" y="728"/>
                  </a:cubicBezTo>
                  <a:cubicBezTo>
                    <a:pt x="1313" y="699"/>
                    <a:pt x="1284" y="671"/>
                    <a:pt x="1284" y="642"/>
                  </a:cubicBezTo>
                  <a:cubicBezTo>
                    <a:pt x="1284" y="612"/>
                    <a:pt x="1284" y="612"/>
                    <a:pt x="1284" y="583"/>
                  </a:cubicBezTo>
                  <a:lnTo>
                    <a:pt x="1284" y="583"/>
                  </a:lnTo>
                  <a:lnTo>
                    <a:pt x="1284" y="583"/>
                  </a:lnTo>
                  <a:cubicBezTo>
                    <a:pt x="1284" y="554"/>
                    <a:pt x="1284" y="554"/>
                    <a:pt x="1284" y="554"/>
                  </a:cubicBezTo>
                  <a:cubicBezTo>
                    <a:pt x="1284" y="554"/>
                    <a:pt x="1254" y="525"/>
                    <a:pt x="1254" y="495"/>
                  </a:cubicBezTo>
                  <a:lnTo>
                    <a:pt x="1254" y="495"/>
                  </a:lnTo>
                  <a:cubicBezTo>
                    <a:pt x="1284" y="495"/>
                    <a:pt x="1284" y="495"/>
                    <a:pt x="1284" y="495"/>
                  </a:cubicBezTo>
                  <a:cubicBezTo>
                    <a:pt x="1284" y="495"/>
                    <a:pt x="1284" y="495"/>
                    <a:pt x="1284" y="466"/>
                  </a:cubicBezTo>
                  <a:lnTo>
                    <a:pt x="1284" y="466"/>
                  </a:lnTo>
                  <a:cubicBezTo>
                    <a:pt x="1284" y="466"/>
                    <a:pt x="1284" y="466"/>
                    <a:pt x="1284" y="437"/>
                  </a:cubicBezTo>
                  <a:lnTo>
                    <a:pt x="1254" y="408"/>
                  </a:lnTo>
                  <a:cubicBezTo>
                    <a:pt x="1254" y="378"/>
                    <a:pt x="1254" y="378"/>
                    <a:pt x="1254" y="378"/>
                  </a:cubicBezTo>
                  <a:lnTo>
                    <a:pt x="1254" y="378"/>
                  </a:lnTo>
                  <a:cubicBezTo>
                    <a:pt x="1225" y="350"/>
                    <a:pt x="1196" y="321"/>
                    <a:pt x="1225" y="291"/>
                  </a:cubicBezTo>
                  <a:cubicBezTo>
                    <a:pt x="1225" y="262"/>
                    <a:pt x="1225" y="262"/>
                    <a:pt x="1225" y="262"/>
                  </a:cubicBezTo>
                  <a:cubicBezTo>
                    <a:pt x="1254" y="262"/>
                    <a:pt x="1254" y="262"/>
                    <a:pt x="1254" y="262"/>
                  </a:cubicBezTo>
                  <a:lnTo>
                    <a:pt x="1254" y="262"/>
                  </a:lnTo>
                  <a:lnTo>
                    <a:pt x="1254" y="262"/>
                  </a:lnTo>
                  <a:cubicBezTo>
                    <a:pt x="1284" y="262"/>
                    <a:pt x="1284" y="262"/>
                    <a:pt x="1284" y="262"/>
                  </a:cubicBezTo>
                  <a:lnTo>
                    <a:pt x="1284" y="233"/>
                  </a:lnTo>
                  <a:lnTo>
                    <a:pt x="1313" y="233"/>
                  </a:lnTo>
                  <a:cubicBezTo>
                    <a:pt x="1313" y="204"/>
                    <a:pt x="1313" y="204"/>
                    <a:pt x="1342" y="204"/>
                  </a:cubicBezTo>
                  <a:lnTo>
                    <a:pt x="1342" y="204"/>
                  </a:lnTo>
                  <a:lnTo>
                    <a:pt x="1342" y="204"/>
                  </a:lnTo>
                  <a:lnTo>
                    <a:pt x="1342" y="204"/>
                  </a:lnTo>
                  <a:cubicBezTo>
                    <a:pt x="1342" y="175"/>
                    <a:pt x="1342" y="175"/>
                    <a:pt x="1342" y="175"/>
                  </a:cubicBezTo>
                  <a:cubicBezTo>
                    <a:pt x="1370" y="175"/>
                    <a:pt x="1370" y="175"/>
                    <a:pt x="1370" y="175"/>
                  </a:cubicBezTo>
                  <a:lnTo>
                    <a:pt x="1370" y="175"/>
                  </a:lnTo>
                  <a:cubicBezTo>
                    <a:pt x="1370" y="175"/>
                    <a:pt x="1370" y="175"/>
                    <a:pt x="1400" y="175"/>
                  </a:cubicBezTo>
                  <a:lnTo>
                    <a:pt x="1400" y="145"/>
                  </a:lnTo>
                  <a:cubicBezTo>
                    <a:pt x="1370" y="145"/>
                    <a:pt x="1370" y="145"/>
                    <a:pt x="1370" y="145"/>
                  </a:cubicBezTo>
                  <a:cubicBezTo>
                    <a:pt x="1370" y="116"/>
                    <a:pt x="1370" y="116"/>
                    <a:pt x="1370" y="116"/>
                  </a:cubicBezTo>
                  <a:cubicBezTo>
                    <a:pt x="1400" y="116"/>
                    <a:pt x="1400" y="116"/>
                    <a:pt x="1400" y="116"/>
                  </a:cubicBezTo>
                  <a:cubicBezTo>
                    <a:pt x="1400" y="87"/>
                    <a:pt x="1429" y="58"/>
                    <a:pt x="1458" y="58"/>
                  </a:cubicBezTo>
                  <a:cubicBezTo>
                    <a:pt x="1487" y="58"/>
                    <a:pt x="1487" y="58"/>
                    <a:pt x="1487" y="58"/>
                  </a:cubicBezTo>
                  <a:cubicBezTo>
                    <a:pt x="1487" y="87"/>
                    <a:pt x="1487" y="87"/>
                    <a:pt x="1487" y="87"/>
                  </a:cubicBezTo>
                  <a:lnTo>
                    <a:pt x="1487" y="87"/>
                  </a:lnTo>
                  <a:lnTo>
                    <a:pt x="1517" y="8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24" name="Freeform 161">
              <a:extLst>
                <a:ext uri="{FF2B5EF4-FFF2-40B4-BE49-F238E27FC236}">
                  <a16:creationId xmlns:a16="http://schemas.microsoft.com/office/drawing/2014/main" id="{9832585A-2DD9-4842-AFFA-04829F71D402}"/>
                </a:ext>
              </a:extLst>
            </p:cNvPr>
            <p:cNvSpPr>
              <a:spLocks noChangeArrowheads="1"/>
            </p:cNvSpPr>
            <p:nvPr/>
          </p:nvSpPr>
          <p:spPr bwMode="auto">
            <a:xfrm>
              <a:off x="10607085" y="2997188"/>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25" name="Freeform 162">
              <a:extLst>
                <a:ext uri="{FF2B5EF4-FFF2-40B4-BE49-F238E27FC236}">
                  <a16:creationId xmlns:a16="http://schemas.microsoft.com/office/drawing/2014/main" id="{59A5C873-8F1B-4882-9B74-D76A4027871B}"/>
                </a:ext>
              </a:extLst>
            </p:cNvPr>
            <p:cNvSpPr>
              <a:spLocks noChangeArrowheads="1"/>
            </p:cNvSpPr>
            <p:nvPr/>
          </p:nvSpPr>
          <p:spPr bwMode="auto">
            <a:xfrm>
              <a:off x="9873204" y="2505219"/>
              <a:ext cx="841516" cy="514626"/>
            </a:xfrm>
            <a:custGeom>
              <a:avLst/>
              <a:gdLst>
                <a:gd name="T0" fmla="*/ 2158 w 2276"/>
                <a:gd name="T1" fmla="*/ 933 h 1401"/>
                <a:gd name="T2" fmla="*/ 2158 w 2276"/>
                <a:gd name="T3" fmla="*/ 933 h 1401"/>
                <a:gd name="T4" fmla="*/ 2187 w 2276"/>
                <a:gd name="T5" fmla="*/ 933 h 1401"/>
                <a:gd name="T6" fmla="*/ 2217 w 2276"/>
                <a:gd name="T7" fmla="*/ 933 h 1401"/>
                <a:gd name="T8" fmla="*/ 2246 w 2276"/>
                <a:gd name="T9" fmla="*/ 816 h 1401"/>
                <a:gd name="T10" fmla="*/ 2187 w 2276"/>
                <a:gd name="T11" fmla="*/ 759 h 1401"/>
                <a:gd name="T12" fmla="*/ 2129 w 2276"/>
                <a:gd name="T13" fmla="*/ 700 h 1401"/>
                <a:gd name="T14" fmla="*/ 2100 w 2276"/>
                <a:gd name="T15" fmla="*/ 350 h 1401"/>
                <a:gd name="T16" fmla="*/ 2129 w 2276"/>
                <a:gd name="T17" fmla="*/ 321 h 1401"/>
                <a:gd name="T18" fmla="*/ 2158 w 2276"/>
                <a:gd name="T19" fmla="*/ 263 h 1401"/>
                <a:gd name="T20" fmla="*/ 2070 w 2276"/>
                <a:gd name="T21" fmla="*/ 233 h 1401"/>
                <a:gd name="T22" fmla="*/ 2041 w 2276"/>
                <a:gd name="T23" fmla="*/ 204 h 1401"/>
                <a:gd name="T24" fmla="*/ 2041 w 2276"/>
                <a:gd name="T25" fmla="*/ 175 h 1401"/>
                <a:gd name="T26" fmla="*/ 1808 w 2276"/>
                <a:gd name="T27" fmla="*/ 0 h 1401"/>
                <a:gd name="T28" fmla="*/ 1808 w 2276"/>
                <a:gd name="T29" fmla="*/ 0 h 1401"/>
                <a:gd name="T30" fmla="*/ 233 w 2276"/>
                <a:gd name="T31" fmla="*/ 321 h 1401"/>
                <a:gd name="T32" fmla="*/ 233 w 2276"/>
                <a:gd name="T33" fmla="*/ 321 h 1401"/>
                <a:gd name="T34" fmla="*/ 204 w 2276"/>
                <a:gd name="T35" fmla="*/ 292 h 1401"/>
                <a:gd name="T36" fmla="*/ 204 w 2276"/>
                <a:gd name="T37" fmla="*/ 263 h 1401"/>
                <a:gd name="T38" fmla="*/ 204 w 2276"/>
                <a:gd name="T39" fmla="*/ 233 h 1401"/>
                <a:gd name="T40" fmla="*/ 58 w 2276"/>
                <a:gd name="T41" fmla="*/ 321 h 1401"/>
                <a:gd name="T42" fmla="*/ 0 w 2276"/>
                <a:gd name="T43" fmla="*/ 380 h 1401"/>
                <a:gd name="T44" fmla="*/ 117 w 2276"/>
                <a:gd name="T45" fmla="*/ 1254 h 1401"/>
                <a:gd name="T46" fmla="*/ 146 w 2276"/>
                <a:gd name="T47" fmla="*/ 1400 h 1401"/>
                <a:gd name="T48" fmla="*/ 1925 w 2276"/>
                <a:gd name="T49" fmla="*/ 1109 h 1401"/>
                <a:gd name="T50" fmla="*/ 1983 w 2276"/>
                <a:gd name="T51" fmla="*/ 1109 h 1401"/>
                <a:gd name="T52" fmla="*/ 2041 w 2276"/>
                <a:gd name="T53" fmla="*/ 1109 h 1401"/>
                <a:gd name="T54" fmla="*/ 2100 w 2276"/>
                <a:gd name="T55" fmla="*/ 1021 h 1401"/>
                <a:gd name="T56" fmla="*/ 2158 w 2276"/>
                <a:gd name="T57" fmla="*/ 933 h 1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76" h="1401">
                  <a:moveTo>
                    <a:pt x="2158" y="933"/>
                  </a:moveTo>
                  <a:lnTo>
                    <a:pt x="2158" y="933"/>
                  </a:lnTo>
                  <a:lnTo>
                    <a:pt x="2187" y="933"/>
                  </a:lnTo>
                  <a:cubicBezTo>
                    <a:pt x="2217" y="933"/>
                    <a:pt x="2217" y="933"/>
                    <a:pt x="2217" y="933"/>
                  </a:cubicBezTo>
                  <a:cubicBezTo>
                    <a:pt x="2246" y="875"/>
                    <a:pt x="2275" y="846"/>
                    <a:pt x="2246" y="816"/>
                  </a:cubicBezTo>
                  <a:cubicBezTo>
                    <a:pt x="2246" y="788"/>
                    <a:pt x="2217" y="788"/>
                    <a:pt x="2187" y="759"/>
                  </a:cubicBezTo>
                  <a:cubicBezTo>
                    <a:pt x="2158" y="759"/>
                    <a:pt x="2129" y="730"/>
                    <a:pt x="2129" y="700"/>
                  </a:cubicBezTo>
                  <a:cubicBezTo>
                    <a:pt x="2070" y="613"/>
                    <a:pt x="2070" y="438"/>
                    <a:pt x="2100" y="350"/>
                  </a:cubicBezTo>
                  <a:lnTo>
                    <a:pt x="2129" y="321"/>
                  </a:lnTo>
                  <a:cubicBezTo>
                    <a:pt x="2158" y="292"/>
                    <a:pt x="2158" y="292"/>
                    <a:pt x="2158" y="263"/>
                  </a:cubicBezTo>
                  <a:cubicBezTo>
                    <a:pt x="2158" y="233"/>
                    <a:pt x="2100" y="233"/>
                    <a:pt x="2070" y="233"/>
                  </a:cubicBezTo>
                  <a:cubicBezTo>
                    <a:pt x="2041" y="204"/>
                    <a:pt x="2041" y="204"/>
                    <a:pt x="2041" y="204"/>
                  </a:cubicBezTo>
                  <a:cubicBezTo>
                    <a:pt x="2041" y="175"/>
                    <a:pt x="2041" y="175"/>
                    <a:pt x="2041" y="175"/>
                  </a:cubicBezTo>
                  <a:cubicBezTo>
                    <a:pt x="1983" y="117"/>
                    <a:pt x="1925" y="0"/>
                    <a:pt x="1808" y="0"/>
                  </a:cubicBezTo>
                  <a:lnTo>
                    <a:pt x="1808" y="0"/>
                  </a:lnTo>
                  <a:cubicBezTo>
                    <a:pt x="1341" y="88"/>
                    <a:pt x="758" y="204"/>
                    <a:pt x="233" y="321"/>
                  </a:cubicBezTo>
                  <a:lnTo>
                    <a:pt x="233" y="321"/>
                  </a:lnTo>
                  <a:cubicBezTo>
                    <a:pt x="204" y="292"/>
                    <a:pt x="204" y="292"/>
                    <a:pt x="204" y="292"/>
                  </a:cubicBezTo>
                  <a:lnTo>
                    <a:pt x="204" y="263"/>
                  </a:lnTo>
                  <a:cubicBezTo>
                    <a:pt x="204" y="233"/>
                    <a:pt x="204" y="233"/>
                    <a:pt x="204" y="233"/>
                  </a:cubicBezTo>
                  <a:cubicBezTo>
                    <a:pt x="146" y="263"/>
                    <a:pt x="117" y="292"/>
                    <a:pt x="58" y="321"/>
                  </a:cubicBezTo>
                  <a:cubicBezTo>
                    <a:pt x="29" y="350"/>
                    <a:pt x="29" y="350"/>
                    <a:pt x="0" y="380"/>
                  </a:cubicBezTo>
                  <a:cubicBezTo>
                    <a:pt x="29" y="671"/>
                    <a:pt x="87" y="963"/>
                    <a:pt x="117" y="1254"/>
                  </a:cubicBezTo>
                  <a:cubicBezTo>
                    <a:pt x="146" y="1400"/>
                    <a:pt x="146" y="1400"/>
                    <a:pt x="146" y="1400"/>
                  </a:cubicBezTo>
                  <a:cubicBezTo>
                    <a:pt x="729" y="1313"/>
                    <a:pt x="1370" y="1196"/>
                    <a:pt x="1925" y="1109"/>
                  </a:cubicBezTo>
                  <a:cubicBezTo>
                    <a:pt x="1953" y="1109"/>
                    <a:pt x="1953" y="1109"/>
                    <a:pt x="1983" y="1109"/>
                  </a:cubicBezTo>
                  <a:cubicBezTo>
                    <a:pt x="2012" y="1109"/>
                    <a:pt x="2041" y="1109"/>
                    <a:pt x="2041" y="1109"/>
                  </a:cubicBezTo>
                  <a:cubicBezTo>
                    <a:pt x="2070" y="1080"/>
                    <a:pt x="2070" y="1050"/>
                    <a:pt x="2100" y="1021"/>
                  </a:cubicBezTo>
                  <a:cubicBezTo>
                    <a:pt x="2100" y="992"/>
                    <a:pt x="2129" y="963"/>
                    <a:pt x="2158" y="93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26" name="Freeform 163">
              <a:extLst>
                <a:ext uri="{FF2B5EF4-FFF2-40B4-BE49-F238E27FC236}">
                  <a16:creationId xmlns:a16="http://schemas.microsoft.com/office/drawing/2014/main" id="{273F2416-45BD-4273-B9DA-6E704C07C8A4}"/>
                </a:ext>
              </a:extLst>
            </p:cNvPr>
            <p:cNvSpPr>
              <a:spLocks noChangeArrowheads="1"/>
            </p:cNvSpPr>
            <p:nvPr/>
          </p:nvSpPr>
          <p:spPr bwMode="auto">
            <a:xfrm>
              <a:off x="10660902" y="2922745"/>
              <a:ext cx="11416" cy="11329"/>
            </a:xfrm>
            <a:custGeom>
              <a:avLst/>
              <a:gdLst>
                <a:gd name="T0" fmla="*/ 29 w 30"/>
                <a:gd name="T1" fmla="*/ 28 h 29"/>
                <a:gd name="T2" fmla="*/ 29 w 30"/>
                <a:gd name="T3" fmla="*/ 28 h 29"/>
                <a:gd name="T4" fmla="*/ 29 w 30"/>
                <a:gd name="T5" fmla="*/ 28 h 29"/>
                <a:gd name="T6" fmla="*/ 0 w 30"/>
                <a:gd name="T7" fmla="*/ 0 h 29"/>
                <a:gd name="T8" fmla="*/ 0 w 30"/>
                <a:gd name="T9" fmla="*/ 28 h 29"/>
                <a:gd name="T10" fmla="*/ 29 w 30"/>
                <a:gd name="T11" fmla="*/ 28 h 29"/>
              </a:gdLst>
              <a:ahLst/>
              <a:cxnLst>
                <a:cxn ang="0">
                  <a:pos x="T0" y="T1"/>
                </a:cxn>
                <a:cxn ang="0">
                  <a:pos x="T2" y="T3"/>
                </a:cxn>
                <a:cxn ang="0">
                  <a:pos x="T4" y="T5"/>
                </a:cxn>
                <a:cxn ang="0">
                  <a:pos x="T6" y="T7"/>
                </a:cxn>
                <a:cxn ang="0">
                  <a:pos x="T8" y="T9"/>
                </a:cxn>
                <a:cxn ang="0">
                  <a:pos x="T10" y="T11"/>
                </a:cxn>
              </a:cxnLst>
              <a:rect l="0" t="0" r="r" b="b"/>
              <a:pathLst>
                <a:path w="30" h="29">
                  <a:moveTo>
                    <a:pt x="29" y="28"/>
                  </a:moveTo>
                  <a:lnTo>
                    <a:pt x="29" y="28"/>
                  </a:lnTo>
                  <a:lnTo>
                    <a:pt x="29" y="28"/>
                  </a:lnTo>
                  <a:cubicBezTo>
                    <a:pt x="0" y="0"/>
                    <a:pt x="0" y="0"/>
                    <a:pt x="0" y="0"/>
                  </a:cubicBezTo>
                  <a:lnTo>
                    <a:pt x="0" y="28"/>
                  </a:lnTo>
                  <a:cubicBezTo>
                    <a:pt x="0" y="28"/>
                    <a:pt x="0" y="28"/>
                    <a:pt x="29" y="2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27" name="Freeform 164">
              <a:extLst>
                <a:ext uri="{FF2B5EF4-FFF2-40B4-BE49-F238E27FC236}">
                  <a16:creationId xmlns:a16="http://schemas.microsoft.com/office/drawing/2014/main" id="{B5416999-5D78-433D-8CA7-710E49FC43A9}"/>
                </a:ext>
              </a:extLst>
            </p:cNvPr>
            <p:cNvSpPr>
              <a:spLocks noChangeArrowheads="1"/>
            </p:cNvSpPr>
            <p:nvPr/>
          </p:nvSpPr>
          <p:spPr bwMode="auto">
            <a:xfrm>
              <a:off x="10618500" y="2953494"/>
              <a:ext cx="11416" cy="11328"/>
            </a:xfrm>
            <a:custGeom>
              <a:avLst/>
              <a:gdLst>
                <a:gd name="T0" fmla="*/ 29 w 30"/>
                <a:gd name="T1" fmla="*/ 29 h 30"/>
                <a:gd name="T2" fmla="*/ 29 w 30"/>
                <a:gd name="T3" fmla="*/ 29 h 30"/>
                <a:gd name="T4" fmla="*/ 29 w 30"/>
                <a:gd name="T5" fmla="*/ 0 h 30"/>
                <a:gd name="T6" fmla="*/ 0 w 30"/>
                <a:gd name="T7" fmla="*/ 29 h 30"/>
                <a:gd name="T8" fmla="*/ 29 w 30"/>
                <a:gd name="T9" fmla="*/ 0 h 30"/>
                <a:gd name="T10" fmla="*/ 29 w 30"/>
                <a:gd name="T11" fmla="*/ 29 h 30"/>
              </a:gdLst>
              <a:ahLst/>
              <a:cxnLst>
                <a:cxn ang="0">
                  <a:pos x="T0" y="T1"/>
                </a:cxn>
                <a:cxn ang="0">
                  <a:pos x="T2" y="T3"/>
                </a:cxn>
                <a:cxn ang="0">
                  <a:pos x="T4" y="T5"/>
                </a:cxn>
                <a:cxn ang="0">
                  <a:pos x="T6" y="T7"/>
                </a:cxn>
                <a:cxn ang="0">
                  <a:pos x="T8" y="T9"/>
                </a:cxn>
                <a:cxn ang="0">
                  <a:pos x="T10" y="T11"/>
                </a:cxn>
              </a:cxnLst>
              <a:rect l="0" t="0" r="r" b="b"/>
              <a:pathLst>
                <a:path w="30" h="30">
                  <a:moveTo>
                    <a:pt x="29" y="29"/>
                  </a:moveTo>
                  <a:lnTo>
                    <a:pt x="29" y="29"/>
                  </a:lnTo>
                  <a:cubicBezTo>
                    <a:pt x="29" y="29"/>
                    <a:pt x="29" y="29"/>
                    <a:pt x="29" y="0"/>
                  </a:cubicBezTo>
                  <a:cubicBezTo>
                    <a:pt x="29" y="0"/>
                    <a:pt x="29" y="29"/>
                    <a:pt x="0" y="29"/>
                  </a:cubicBezTo>
                  <a:cubicBezTo>
                    <a:pt x="29" y="29"/>
                    <a:pt x="29" y="0"/>
                    <a:pt x="29" y="0"/>
                  </a:cubicBezTo>
                  <a:cubicBezTo>
                    <a:pt x="29" y="29"/>
                    <a:pt x="29"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28" name="Freeform 165">
              <a:extLst>
                <a:ext uri="{FF2B5EF4-FFF2-40B4-BE49-F238E27FC236}">
                  <a16:creationId xmlns:a16="http://schemas.microsoft.com/office/drawing/2014/main" id="{5C813F8E-2BE4-43FF-A0EB-733B1CF6706C}"/>
                </a:ext>
              </a:extLst>
            </p:cNvPr>
            <p:cNvSpPr>
              <a:spLocks noChangeArrowheads="1"/>
            </p:cNvSpPr>
            <p:nvPr/>
          </p:nvSpPr>
          <p:spPr bwMode="auto">
            <a:xfrm>
              <a:off x="8849033" y="2055326"/>
              <a:ext cx="11415"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lnTo>
                    <a:pt x="0" y="0"/>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29" name="Freeform 166">
              <a:extLst>
                <a:ext uri="{FF2B5EF4-FFF2-40B4-BE49-F238E27FC236}">
                  <a16:creationId xmlns:a16="http://schemas.microsoft.com/office/drawing/2014/main" id="{ACE55E0D-5F8B-4821-908E-9A7B4A180DC2}"/>
                </a:ext>
              </a:extLst>
            </p:cNvPr>
            <p:cNvSpPr>
              <a:spLocks noChangeArrowheads="1"/>
            </p:cNvSpPr>
            <p:nvPr/>
          </p:nvSpPr>
          <p:spPr bwMode="auto">
            <a:xfrm>
              <a:off x="6574003" y="2526258"/>
              <a:ext cx="1208457" cy="577740"/>
            </a:xfrm>
            <a:custGeom>
              <a:avLst/>
              <a:gdLst>
                <a:gd name="T0" fmla="*/ 2888 w 3268"/>
                <a:gd name="T1" fmla="*/ 407 h 1575"/>
                <a:gd name="T2" fmla="*/ 2888 w 3268"/>
                <a:gd name="T3" fmla="*/ 407 h 1575"/>
                <a:gd name="T4" fmla="*/ 2800 w 3268"/>
                <a:gd name="T5" fmla="*/ 350 h 1575"/>
                <a:gd name="T6" fmla="*/ 2800 w 3268"/>
                <a:gd name="T7" fmla="*/ 350 h 1575"/>
                <a:gd name="T8" fmla="*/ 2742 w 3268"/>
                <a:gd name="T9" fmla="*/ 321 h 1575"/>
                <a:gd name="T10" fmla="*/ 2655 w 3268"/>
                <a:gd name="T11" fmla="*/ 291 h 1575"/>
                <a:gd name="T12" fmla="*/ 2626 w 3268"/>
                <a:gd name="T13" fmla="*/ 291 h 1575"/>
                <a:gd name="T14" fmla="*/ 2626 w 3268"/>
                <a:gd name="T15" fmla="*/ 291 h 1575"/>
                <a:gd name="T16" fmla="*/ 2596 w 3268"/>
                <a:gd name="T17" fmla="*/ 291 h 1575"/>
                <a:gd name="T18" fmla="*/ 2538 w 3268"/>
                <a:gd name="T19" fmla="*/ 291 h 1575"/>
                <a:gd name="T20" fmla="*/ 2509 w 3268"/>
                <a:gd name="T21" fmla="*/ 262 h 1575"/>
                <a:gd name="T22" fmla="*/ 2392 w 3268"/>
                <a:gd name="T23" fmla="*/ 291 h 1575"/>
                <a:gd name="T24" fmla="*/ 2305 w 3268"/>
                <a:gd name="T25" fmla="*/ 321 h 1575"/>
                <a:gd name="T26" fmla="*/ 2188 w 3268"/>
                <a:gd name="T27" fmla="*/ 291 h 1575"/>
                <a:gd name="T28" fmla="*/ 2129 w 3268"/>
                <a:gd name="T29" fmla="*/ 262 h 1575"/>
                <a:gd name="T30" fmla="*/ 1983 w 3268"/>
                <a:gd name="T31" fmla="*/ 233 h 1575"/>
                <a:gd name="T32" fmla="*/ 1838 w 3268"/>
                <a:gd name="T33" fmla="*/ 204 h 1575"/>
                <a:gd name="T34" fmla="*/ 1809 w 3268"/>
                <a:gd name="T35" fmla="*/ 174 h 1575"/>
                <a:gd name="T36" fmla="*/ 1779 w 3268"/>
                <a:gd name="T37" fmla="*/ 145 h 1575"/>
                <a:gd name="T38" fmla="*/ 1721 w 3268"/>
                <a:gd name="T39" fmla="*/ 145 h 1575"/>
                <a:gd name="T40" fmla="*/ 1692 w 3268"/>
                <a:gd name="T41" fmla="*/ 145 h 1575"/>
                <a:gd name="T42" fmla="*/ 1662 w 3268"/>
                <a:gd name="T43" fmla="*/ 116 h 1575"/>
                <a:gd name="T44" fmla="*/ 1605 w 3268"/>
                <a:gd name="T45" fmla="*/ 87 h 1575"/>
                <a:gd name="T46" fmla="*/ 1517 w 3268"/>
                <a:gd name="T47" fmla="*/ 87 h 1575"/>
                <a:gd name="T48" fmla="*/ 1459 w 3268"/>
                <a:gd name="T49" fmla="*/ 87 h 1575"/>
                <a:gd name="T50" fmla="*/ 846 w 3268"/>
                <a:gd name="T51" fmla="*/ 58 h 1575"/>
                <a:gd name="T52" fmla="*/ 88 w 3268"/>
                <a:gd name="T53" fmla="*/ 0 h 1575"/>
                <a:gd name="T54" fmla="*/ 0 w 3268"/>
                <a:gd name="T55" fmla="*/ 933 h 1575"/>
                <a:gd name="T56" fmla="*/ 409 w 3268"/>
                <a:gd name="T57" fmla="*/ 962 h 1575"/>
                <a:gd name="T58" fmla="*/ 759 w 3268"/>
                <a:gd name="T59" fmla="*/ 1021 h 1575"/>
                <a:gd name="T60" fmla="*/ 788 w 3268"/>
                <a:gd name="T61" fmla="*/ 1021 h 1575"/>
                <a:gd name="T62" fmla="*/ 788 w 3268"/>
                <a:gd name="T63" fmla="*/ 1050 h 1575"/>
                <a:gd name="T64" fmla="*/ 729 w 3268"/>
                <a:gd name="T65" fmla="*/ 1487 h 1575"/>
                <a:gd name="T66" fmla="*/ 3267 w 3268"/>
                <a:gd name="T67" fmla="*/ 1574 h 1575"/>
                <a:gd name="T68" fmla="*/ 3238 w 3268"/>
                <a:gd name="T69" fmla="*/ 1516 h 1575"/>
                <a:gd name="T70" fmla="*/ 3209 w 3268"/>
                <a:gd name="T71" fmla="*/ 1457 h 1575"/>
                <a:gd name="T72" fmla="*/ 3209 w 3268"/>
                <a:gd name="T73" fmla="*/ 1429 h 1575"/>
                <a:gd name="T74" fmla="*/ 3209 w 3268"/>
                <a:gd name="T75" fmla="*/ 1400 h 1575"/>
                <a:gd name="T76" fmla="*/ 3179 w 3268"/>
                <a:gd name="T77" fmla="*/ 1341 h 1575"/>
                <a:gd name="T78" fmla="*/ 3121 w 3268"/>
                <a:gd name="T79" fmla="*/ 1283 h 1575"/>
                <a:gd name="T80" fmla="*/ 3092 w 3268"/>
                <a:gd name="T81" fmla="*/ 1107 h 1575"/>
                <a:gd name="T82" fmla="*/ 3092 w 3268"/>
                <a:gd name="T83" fmla="*/ 991 h 1575"/>
                <a:gd name="T84" fmla="*/ 3062 w 3268"/>
                <a:gd name="T85" fmla="*/ 962 h 1575"/>
                <a:gd name="T86" fmla="*/ 3033 w 3268"/>
                <a:gd name="T87" fmla="*/ 904 h 1575"/>
                <a:gd name="T88" fmla="*/ 3004 w 3268"/>
                <a:gd name="T89" fmla="*/ 787 h 1575"/>
                <a:gd name="T90" fmla="*/ 3004 w 3268"/>
                <a:gd name="T91" fmla="*/ 757 h 1575"/>
                <a:gd name="T92" fmla="*/ 3004 w 3268"/>
                <a:gd name="T93" fmla="*/ 700 h 1575"/>
                <a:gd name="T94" fmla="*/ 3004 w 3268"/>
                <a:gd name="T95" fmla="*/ 671 h 1575"/>
                <a:gd name="T96" fmla="*/ 2976 w 3268"/>
                <a:gd name="T97" fmla="*/ 641 h 1575"/>
                <a:gd name="T98" fmla="*/ 2946 w 3268"/>
                <a:gd name="T99" fmla="*/ 612 h 1575"/>
                <a:gd name="T100" fmla="*/ 2946 w 3268"/>
                <a:gd name="T101" fmla="*/ 583 h 1575"/>
                <a:gd name="T102" fmla="*/ 2917 w 3268"/>
                <a:gd name="T103" fmla="*/ 524 h 1575"/>
                <a:gd name="T104" fmla="*/ 2888 w 3268"/>
                <a:gd name="T105" fmla="*/ 407 h 1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68" h="1575">
                  <a:moveTo>
                    <a:pt x="2888" y="407"/>
                  </a:moveTo>
                  <a:lnTo>
                    <a:pt x="2888" y="407"/>
                  </a:lnTo>
                  <a:cubicBezTo>
                    <a:pt x="2859" y="379"/>
                    <a:pt x="2829" y="379"/>
                    <a:pt x="2800" y="350"/>
                  </a:cubicBezTo>
                  <a:lnTo>
                    <a:pt x="2800" y="350"/>
                  </a:lnTo>
                  <a:cubicBezTo>
                    <a:pt x="2771" y="350"/>
                    <a:pt x="2771" y="350"/>
                    <a:pt x="2742" y="321"/>
                  </a:cubicBezTo>
                  <a:cubicBezTo>
                    <a:pt x="2712" y="321"/>
                    <a:pt x="2683" y="291"/>
                    <a:pt x="2655" y="291"/>
                  </a:cubicBezTo>
                  <a:cubicBezTo>
                    <a:pt x="2655" y="291"/>
                    <a:pt x="2655" y="291"/>
                    <a:pt x="2626" y="291"/>
                  </a:cubicBezTo>
                  <a:lnTo>
                    <a:pt x="2626" y="291"/>
                  </a:lnTo>
                  <a:lnTo>
                    <a:pt x="2596" y="291"/>
                  </a:lnTo>
                  <a:cubicBezTo>
                    <a:pt x="2567" y="291"/>
                    <a:pt x="2567" y="291"/>
                    <a:pt x="2538" y="291"/>
                  </a:cubicBezTo>
                  <a:cubicBezTo>
                    <a:pt x="2538" y="262"/>
                    <a:pt x="2509" y="262"/>
                    <a:pt x="2509" y="262"/>
                  </a:cubicBezTo>
                  <a:cubicBezTo>
                    <a:pt x="2479" y="262"/>
                    <a:pt x="2421" y="291"/>
                    <a:pt x="2392" y="291"/>
                  </a:cubicBezTo>
                  <a:cubicBezTo>
                    <a:pt x="2362" y="321"/>
                    <a:pt x="2333" y="321"/>
                    <a:pt x="2305" y="321"/>
                  </a:cubicBezTo>
                  <a:cubicBezTo>
                    <a:pt x="2246" y="321"/>
                    <a:pt x="2217" y="321"/>
                    <a:pt x="2188" y="291"/>
                  </a:cubicBezTo>
                  <a:cubicBezTo>
                    <a:pt x="2159" y="291"/>
                    <a:pt x="2129" y="262"/>
                    <a:pt x="2129" y="262"/>
                  </a:cubicBezTo>
                  <a:cubicBezTo>
                    <a:pt x="2071" y="262"/>
                    <a:pt x="2042" y="233"/>
                    <a:pt x="1983" y="233"/>
                  </a:cubicBezTo>
                  <a:cubicBezTo>
                    <a:pt x="1955" y="233"/>
                    <a:pt x="1896" y="204"/>
                    <a:pt x="1838" y="204"/>
                  </a:cubicBezTo>
                  <a:lnTo>
                    <a:pt x="1809" y="174"/>
                  </a:lnTo>
                  <a:cubicBezTo>
                    <a:pt x="1779" y="174"/>
                    <a:pt x="1779" y="145"/>
                    <a:pt x="1779" y="145"/>
                  </a:cubicBezTo>
                  <a:cubicBezTo>
                    <a:pt x="1750" y="145"/>
                    <a:pt x="1750" y="145"/>
                    <a:pt x="1721" y="145"/>
                  </a:cubicBezTo>
                  <a:cubicBezTo>
                    <a:pt x="1721" y="145"/>
                    <a:pt x="1721" y="145"/>
                    <a:pt x="1692" y="145"/>
                  </a:cubicBezTo>
                  <a:lnTo>
                    <a:pt x="1662" y="116"/>
                  </a:lnTo>
                  <a:cubicBezTo>
                    <a:pt x="1634" y="116"/>
                    <a:pt x="1634" y="116"/>
                    <a:pt x="1605" y="87"/>
                  </a:cubicBezTo>
                  <a:cubicBezTo>
                    <a:pt x="1576" y="87"/>
                    <a:pt x="1546" y="87"/>
                    <a:pt x="1517" y="87"/>
                  </a:cubicBezTo>
                  <a:cubicBezTo>
                    <a:pt x="1488" y="87"/>
                    <a:pt x="1459" y="87"/>
                    <a:pt x="1459" y="87"/>
                  </a:cubicBezTo>
                  <a:cubicBezTo>
                    <a:pt x="1226" y="58"/>
                    <a:pt x="1021" y="58"/>
                    <a:pt x="846" y="58"/>
                  </a:cubicBezTo>
                  <a:cubicBezTo>
                    <a:pt x="584" y="29"/>
                    <a:pt x="350" y="0"/>
                    <a:pt x="88" y="0"/>
                  </a:cubicBezTo>
                  <a:cubicBezTo>
                    <a:pt x="59" y="321"/>
                    <a:pt x="29" y="641"/>
                    <a:pt x="0" y="933"/>
                  </a:cubicBezTo>
                  <a:cubicBezTo>
                    <a:pt x="146" y="933"/>
                    <a:pt x="263" y="962"/>
                    <a:pt x="409" y="962"/>
                  </a:cubicBezTo>
                  <a:cubicBezTo>
                    <a:pt x="526" y="991"/>
                    <a:pt x="642" y="991"/>
                    <a:pt x="759" y="1021"/>
                  </a:cubicBezTo>
                  <a:cubicBezTo>
                    <a:pt x="788" y="1021"/>
                    <a:pt x="788" y="1021"/>
                    <a:pt x="788" y="1021"/>
                  </a:cubicBezTo>
                  <a:cubicBezTo>
                    <a:pt x="788" y="1050"/>
                    <a:pt x="788" y="1050"/>
                    <a:pt x="788" y="1050"/>
                  </a:cubicBezTo>
                  <a:cubicBezTo>
                    <a:pt x="759" y="1195"/>
                    <a:pt x="759" y="1341"/>
                    <a:pt x="729" y="1487"/>
                  </a:cubicBezTo>
                  <a:cubicBezTo>
                    <a:pt x="1662" y="1545"/>
                    <a:pt x="2509" y="1574"/>
                    <a:pt x="3267" y="1574"/>
                  </a:cubicBezTo>
                  <a:cubicBezTo>
                    <a:pt x="3267" y="1574"/>
                    <a:pt x="3238" y="1545"/>
                    <a:pt x="3238" y="1516"/>
                  </a:cubicBezTo>
                  <a:cubicBezTo>
                    <a:pt x="3209" y="1516"/>
                    <a:pt x="3209" y="1487"/>
                    <a:pt x="3209" y="1457"/>
                  </a:cubicBezTo>
                  <a:lnTo>
                    <a:pt x="3209" y="1429"/>
                  </a:lnTo>
                  <a:cubicBezTo>
                    <a:pt x="3209" y="1400"/>
                    <a:pt x="3209" y="1400"/>
                    <a:pt x="3209" y="1400"/>
                  </a:cubicBezTo>
                  <a:cubicBezTo>
                    <a:pt x="3209" y="1370"/>
                    <a:pt x="3179" y="1341"/>
                    <a:pt x="3179" y="1341"/>
                  </a:cubicBezTo>
                  <a:cubicBezTo>
                    <a:pt x="3150" y="1312"/>
                    <a:pt x="3121" y="1312"/>
                    <a:pt x="3121" y="1283"/>
                  </a:cubicBezTo>
                  <a:cubicBezTo>
                    <a:pt x="3092" y="1224"/>
                    <a:pt x="3092" y="1166"/>
                    <a:pt x="3092" y="1107"/>
                  </a:cubicBezTo>
                  <a:cubicBezTo>
                    <a:pt x="3092" y="1079"/>
                    <a:pt x="3092" y="1021"/>
                    <a:pt x="3092" y="991"/>
                  </a:cubicBezTo>
                  <a:cubicBezTo>
                    <a:pt x="3092" y="962"/>
                    <a:pt x="3092" y="962"/>
                    <a:pt x="3062" y="962"/>
                  </a:cubicBezTo>
                  <a:cubicBezTo>
                    <a:pt x="3062" y="933"/>
                    <a:pt x="3062" y="904"/>
                    <a:pt x="3033" y="904"/>
                  </a:cubicBezTo>
                  <a:cubicBezTo>
                    <a:pt x="3033" y="874"/>
                    <a:pt x="3033" y="845"/>
                    <a:pt x="3004" y="787"/>
                  </a:cubicBezTo>
                  <a:lnTo>
                    <a:pt x="3004" y="757"/>
                  </a:lnTo>
                  <a:cubicBezTo>
                    <a:pt x="3004" y="729"/>
                    <a:pt x="3004" y="700"/>
                    <a:pt x="3004" y="700"/>
                  </a:cubicBezTo>
                  <a:cubicBezTo>
                    <a:pt x="3004" y="700"/>
                    <a:pt x="3004" y="700"/>
                    <a:pt x="3004" y="671"/>
                  </a:cubicBezTo>
                  <a:cubicBezTo>
                    <a:pt x="2976" y="671"/>
                    <a:pt x="2976" y="671"/>
                    <a:pt x="2976" y="641"/>
                  </a:cubicBezTo>
                  <a:cubicBezTo>
                    <a:pt x="2946" y="641"/>
                    <a:pt x="2946" y="612"/>
                    <a:pt x="2946" y="612"/>
                  </a:cubicBezTo>
                  <a:lnTo>
                    <a:pt x="2946" y="583"/>
                  </a:lnTo>
                  <a:cubicBezTo>
                    <a:pt x="2946" y="554"/>
                    <a:pt x="2946" y="554"/>
                    <a:pt x="2917" y="524"/>
                  </a:cubicBezTo>
                  <a:cubicBezTo>
                    <a:pt x="2917" y="495"/>
                    <a:pt x="2888" y="466"/>
                    <a:pt x="2888" y="4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30" name="Freeform 167">
              <a:extLst>
                <a:ext uri="{FF2B5EF4-FFF2-40B4-BE49-F238E27FC236}">
                  <a16:creationId xmlns:a16="http://schemas.microsoft.com/office/drawing/2014/main" id="{1162AADB-391E-4C9F-9C7D-4A1A3A4B7E07}"/>
                </a:ext>
              </a:extLst>
            </p:cNvPr>
            <p:cNvSpPr>
              <a:spLocks noChangeArrowheads="1"/>
            </p:cNvSpPr>
            <p:nvPr/>
          </p:nvSpPr>
          <p:spPr bwMode="auto">
            <a:xfrm>
              <a:off x="6800691" y="3092670"/>
              <a:ext cx="1089405" cy="568030"/>
            </a:xfrm>
            <a:custGeom>
              <a:avLst/>
              <a:gdLst>
                <a:gd name="T0" fmla="*/ 2829 w 2947"/>
                <a:gd name="T1" fmla="*/ 262 h 1547"/>
                <a:gd name="T2" fmla="*/ 2829 w 2947"/>
                <a:gd name="T3" fmla="*/ 262 h 1547"/>
                <a:gd name="T4" fmla="*/ 2858 w 2947"/>
                <a:gd name="T5" fmla="*/ 233 h 1547"/>
                <a:gd name="T6" fmla="*/ 2683 w 2947"/>
                <a:gd name="T7" fmla="*/ 88 h 1547"/>
                <a:gd name="T8" fmla="*/ 2625 w 2947"/>
                <a:gd name="T9" fmla="*/ 88 h 1547"/>
                <a:gd name="T10" fmla="*/ 2596 w 2947"/>
                <a:gd name="T11" fmla="*/ 88 h 1547"/>
                <a:gd name="T12" fmla="*/ 2537 w 2947"/>
                <a:gd name="T13" fmla="*/ 88 h 1547"/>
                <a:gd name="T14" fmla="*/ 2537 w 2947"/>
                <a:gd name="T15" fmla="*/ 88 h 1547"/>
                <a:gd name="T16" fmla="*/ 2275 w 2947"/>
                <a:gd name="T17" fmla="*/ 88 h 1547"/>
                <a:gd name="T18" fmla="*/ 2070 w 2947"/>
                <a:gd name="T19" fmla="*/ 88 h 1547"/>
                <a:gd name="T20" fmla="*/ 729 w 2947"/>
                <a:gd name="T21" fmla="*/ 29 h 1547"/>
                <a:gd name="T22" fmla="*/ 116 w 2947"/>
                <a:gd name="T23" fmla="*/ 0 h 1547"/>
                <a:gd name="T24" fmla="*/ 58 w 2947"/>
                <a:gd name="T25" fmla="*/ 555 h 1547"/>
                <a:gd name="T26" fmla="*/ 0 w 2947"/>
                <a:gd name="T27" fmla="*/ 1459 h 1547"/>
                <a:gd name="T28" fmla="*/ 1049 w 2947"/>
                <a:gd name="T29" fmla="*/ 1488 h 1547"/>
                <a:gd name="T30" fmla="*/ 1342 w 2947"/>
                <a:gd name="T31" fmla="*/ 1517 h 1547"/>
                <a:gd name="T32" fmla="*/ 1925 w 2947"/>
                <a:gd name="T33" fmla="*/ 1517 h 1547"/>
                <a:gd name="T34" fmla="*/ 2099 w 2947"/>
                <a:gd name="T35" fmla="*/ 1517 h 1547"/>
                <a:gd name="T36" fmla="*/ 2713 w 2947"/>
                <a:gd name="T37" fmla="*/ 1546 h 1547"/>
                <a:gd name="T38" fmla="*/ 2946 w 2947"/>
                <a:gd name="T39" fmla="*/ 1546 h 1547"/>
                <a:gd name="T40" fmla="*/ 2916 w 2947"/>
                <a:gd name="T41" fmla="*/ 700 h 1547"/>
                <a:gd name="T42" fmla="*/ 2916 w 2947"/>
                <a:gd name="T43" fmla="*/ 642 h 1547"/>
                <a:gd name="T44" fmla="*/ 2916 w 2947"/>
                <a:gd name="T45" fmla="*/ 555 h 1547"/>
                <a:gd name="T46" fmla="*/ 2887 w 2947"/>
                <a:gd name="T47" fmla="*/ 526 h 1547"/>
                <a:gd name="T48" fmla="*/ 2858 w 2947"/>
                <a:gd name="T49" fmla="*/ 526 h 1547"/>
                <a:gd name="T50" fmla="*/ 2799 w 2947"/>
                <a:gd name="T51" fmla="*/ 321 h 1547"/>
                <a:gd name="T52" fmla="*/ 2829 w 2947"/>
                <a:gd name="T53" fmla="*/ 262 h 1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47" h="1547">
                  <a:moveTo>
                    <a:pt x="2829" y="262"/>
                  </a:moveTo>
                  <a:lnTo>
                    <a:pt x="2829" y="262"/>
                  </a:lnTo>
                  <a:cubicBezTo>
                    <a:pt x="2858" y="262"/>
                    <a:pt x="2858" y="233"/>
                    <a:pt x="2858" y="233"/>
                  </a:cubicBezTo>
                  <a:cubicBezTo>
                    <a:pt x="2858" y="205"/>
                    <a:pt x="2713" y="117"/>
                    <a:pt x="2683" y="88"/>
                  </a:cubicBezTo>
                  <a:cubicBezTo>
                    <a:pt x="2654" y="88"/>
                    <a:pt x="2654" y="88"/>
                    <a:pt x="2625" y="88"/>
                  </a:cubicBezTo>
                  <a:cubicBezTo>
                    <a:pt x="2596" y="88"/>
                    <a:pt x="2596" y="88"/>
                    <a:pt x="2596" y="88"/>
                  </a:cubicBezTo>
                  <a:cubicBezTo>
                    <a:pt x="2566" y="88"/>
                    <a:pt x="2566" y="88"/>
                    <a:pt x="2537" y="88"/>
                  </a:cubicBezTo>
                  <a:lnTo>
                    <a:pt x="2537" y="88"/>
                  </a:lnTo>
                  <a:cubicBezTo>
                    <a:pt x="2449" y="88"/>
                    <a:pt x="2363" y="88"/>
                    <a:pt x="2275" y="88"/>
                  </a:cubicBezTo>
                  <a:cubicBezTo>
                    <a:pt x="2187" y="88"/>
                    <a:pt x="2129" y="88"/>
                    <a:pt x="2070" y="88"/>
                  </a:cubicBezTo>
                  <a:cubicBezTo>
                    <a:pt x="1633" y="88"/>
                    <a:pt x="1166" y="59"/>
                    <a:pt x="729" y="29"/>
                  </a:cubicBezTo>
                  <a:cubicBezTo>
                    <a:pt x="525" y="29"/>
                    <a:pt x="321" y="0"/>
                    <a:pt x="116" y="0"/>
                  </a:cubicBezTo>
                  <a:cubicBezTo>
                    <a:pt x="87" y="176"/>
                    <a:pt x="87" y="379"/>
                    <a:pt x="58" y="555"/>
                  </a:cubicBezTo>
                  <a:cubicBezTo>
                    <a:pt x="29" y="846"/>
                    <a:pt x="0" y="1167"/>
                    <a:pt x="0" y="1459"/>
                  </a:cubicBezTo>
                  <a:cubicBezTo>
                    <a:pt x="349" y="1459"/>
                    <a:pt x="699" y="1488"/>
                    <a:pt x="1049" y="1488"/>
                  </a:cubicBezTo>
                  <a:cubicBezTo>
                    <a:pt x="1137" y="1488"/>
                    <a:pt x="1254" y="1517"/>
                    <a:pt x="1342" y="1517"/>
                  </a:cubicBezTo>
                  <a:cubicBezTo>
                    <a:pt x="1546" y="1517"/>
                    <a:pt x="1720" y="1517"/>
                    <a:pt x="1925" y="1517"/>
                  </a:cubicBezTo>
                  <a:cubicBezTo>
                    <a:pt x="1983" y="1517"/>
                    <a:pt x="2042" y="1517"/>
                    <a:pt x="2099" y="1517"/>
                  </a:cubicBezTo>
                  <a:cubicBezTo>
                    <a:pt x="2275" y="1546"/>
                    <a:pt x="2508" y="1546"/>
                    <a:pt x="2713" y="1546"/>
                  </a:cubicBezTo>
                  <a:cubicBezTo>
                    <a:pt x="2799" y="1546"/>
                    <a:pt x="2858" y="1546"/>
                    <a:pt x="2946" y="1546"/>
                  </a:cubicBezTo>
                  <a:cubicBezTo>
                    <a:pt x="2916" y="1283"/>
                    <a:pt x="2916" y="962"/>
                    <a:pt x="2916" y="700"/>
                  </a:cubicBezTo>
                  <a:cubicBezTo>
                    <a:pt x="2916" y="671"/>
                    <a:pt x="2916" y="642"/>
                    <a:pt x="2916" y="642"/>
                  </a:cubicBezTo>
                  <a:cubicBezTo>
                    <a:pt x="2916" y="612"/>
                    <a:pt x="2916" y="583"/>
                    <a:pt x="2916" y="555"/>
                  </a:cubicBezTo>
                  <a:cubicBezTo>
                    <a:pt x="2916" y="555"/>
                    <a:pt x="2916" y="555"/>
                    <a:pt x="2887" y="526"/>
                  </a:cubicBezTo>
                  <a:lnTo>
                    <a:pt x="2858" y="526"/>
                  </a:lnTo>
                  <a:cubicBezTo>
                    <a:pt x="2829" y="467"/>
                    <a:pt x="2799" y="379"/>
                    <a:pt x="2799" y="321"/>
                  </a:cubicBezTo>
                  <a:cubicBezTo>
                    <a:pt x="2829" y="292"/>
                    <a:pt x="2829" y="292"/>
                    <a:pt x="2829" y="26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31" name="Freeform 168">
              <a:extLst>
                <a:ext uri="{FF2B5EF4-FFF2-40B4-BE49-F238E27FC236}">
                  <a16:creationId xmlns:a16="http://schemas.microsoft.com/office/drawing/2014/main" id="{00CE7D0F-70D7-4A5C-A97B-4B41C2ABDC7C}"/>
                </a:ext>
              </a:extLst>
            </p:cNvPr>
            <p:cNvSpPr>
              <a:spLocks noChangeArrowheads="1"/>
            </p:cNvSpPr>
            <p:nvPr/>
          </p:nvSpPr>
          <p:spPr bwMode="auto">
            <a:xfrm>
              <a:off x="5603651" y="2022960"/>
              <a:ext cx="1024171" cy="835053"/>
            </a:xfrm>
            <a:custGeom>
              <a:avLst/>
              <a:gdLst>
                <a:gd name="T0" fmla="*/ 408 w 2771"/>
                <a:gd name="T1" fmla="*/ 0 h 2275"/>
                <a:gd name="T2" fmla="*/ 408 w 2771"/>
                <a:gd name="T3" fmla="*/ 0 h 2275"/>
                <a:gd name="T4" fmla="*/ 0 w 2771"/>
                <a:gd name="T5" fmla="*/ 1924 h 2275"/>
                <a:gd name="T6" fmla="*/ 2566 w 2771"/>
                <a:gd name="T7" fmla="*/ 2274 h 2275"/>
                <a:gd name="T8" fmla="*/ 2712 w 2771"/>
                <a:gd name="T9" fmla="*/ 961 h 2275"/>
                <a:gd name="T10" fmla="*/ 2770 w 2771"/>
                <a:gd name="T11" fmla="*/ 350 h 2275"/>
                <a:gd name="T12" fmla="*/ 408 w 2771"/>
                <a:gd name="T13" fmla="*/ 0 h 2275"/>
              </a:gdLst>
              <a:ahLst/>
              <a:cxnLst>
                <a:cxn ang="0">
                  <a:pos x="T0" y="T1"/>
                </a:cxn>
                <a:cxn ang="0">
                  <a:pos x="T2" y="T3"/>
                </a:cxn>
                <a:cxn ang="0">
                  <a:pos x="T4" y="T5"/>
                </a:cxn>
                <a:cxn ang="0">
                  <a:pos x="T6" y="T7"/>
                </a:cxn>
                <a:cxn ang="0">
                  <a:pos x="T8" y="T9"/>
                </a:cxn>
                <a:cxn ang="0">
                  <a:pos x="T10" y="T11"/>
                </a:cxn>
                <a:cxn ang="0">
                  <a:pos x="T12" y="T13"/>
                </a:cxn>
              </a:cxnLst>
              <a:rect l="0" t="0" r="r" b="b"/>
              <a:pathLst>
                <a:path w="2771" h="2275">
                  <a:moveTo>
                    <a:pt x="408" y="0"/>
                  </a:moveTo>
                  <a:lnTo>
                    <a:pt x="408" y="0"/>
                  </a:lnTo>
                  <a:cubicBezTo>
                    <a:pt x="262" y="700"/>
                    <a:pt x="117" y="1311"/>
                    <a:pt x="0" y="1924"/>
                  </a:cubicBezTo>
                  <a:cubicBezTo>
                    <a:pt x="729" y="2070"/>
                    <a:pt x="1545" y="2186"/>
                    <a:pt x="2566" y="2274"/>
                  </a:cubicBezTo>
                  <a:cubicBezTo>
                    <a:pt x="2595" y="1836"/>
                    <a:pt x="2653" y="1399"/>
                    <a:pt x="2712" y="961"/>
                  </a:cubicBezTo>
                  <a:cubicBezTo>
                    <a:pt x="2741" y="757"/>
                    <a:pt x="2770" y="554"/>
                    <a:pt x="2770" y="350"/>
                  </a:cubicBezTo>
                  <a:cubicBezTo>
                    <a:pt x="1924" y="262"/>
                    <a:pt x="1167" y="145"/>
                    <a:pt x="40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32" name="Freeform 169">
              <a:extLst>
                <a:ext uri="{FF2B5EF4-FFF2-40B4-BE49-F238E27FC236}">
                  <a16:creationId xmlns:a16="http://schemas.microsoft.com/office/drawing/2014/main" id="{507A3F19-411E-489B-9321-5F391319EE5C}"/>
                </a:ext>
              </a:extLst>
            </p:cNvPr>
            <p:cNvSpPr>
              <a:spLocks noChangeArrowheads="1"/>
            </p:cNvSpPr>
            <p:nvPr/>
          </p:nvSpPr>
          <p:spPr bwMode="auto">
            <a:xfrm>
              <a:off x="8762598" y="2270563"/>
              <a:ext cx="11416" cy="42076"/>
            </a:xfrm>
            <a:custGeom>
              <a:avLst/>
              <a:gdLst>
                <a:gd name="T0" fmla="*/ 0 w 30"/>
                <a:gd name="T1" fmla="*/ 115 h 116"/>
                <a:gd name="T2" fmla="*/ 0 w 30"/>
                <a:gd name="T3" fmla="*/ 115 h 116"/>
                <a:gd name="T4" fmla="*/ 0 w 30"/>
                <a:gd name="T5" fmla="*/ 115 h 116"/>
                <a:gd name="T6" fmla="*/ 0 w 30"/>
                <a:gd name="T7" fmla="*/ 86 h 116"/>
                <a:gd name="T8" fmla="*/ 0 w 30"/>
                <a:gd name="T9" fmla="*/ 86 h 116"/>
                <a:gd name="T10" fmla="*/ 0 w 30"/>
                <a:gd name="T11" fmla="*/ 115 h 116"/>
                <a:gd name="T12" fmla="*/ 0 w 30"/>
                <a:gd name="T13" fmla="*/ 115 h 116"/>
                <a:gd name="T14" fmla="*/ 29 w 30"/>
                <a:gd name="T15" fmla="*/ 29 h 116"/>
                <a:gd name="T16" fmla="*/ 29 w 30"/>
                <a:gd name="T17" fmla="*/ 0 h 116"/>
                <a:gd name="T18" fmla="*/ 29 w 30"/>
                <a:gd name="T19" fmla="*/ 0 h 116"/>
                <a:gd name="T20" fmla="*/ 29 w 30"/>
                <a:gd name="T21" fmla="*/ 29 h 116"/>
                <a:gd name="T22" fmla="*/ 0 w 30"/>
                <a:gd name="T23" fmla="*/ 1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 h="116">
                  <a:moveTo>
                    <a:pt x="0" y="115"/>
                  </a:moveTo>
                  <a:lnTo>
                    <a:pt x="0" y="115"/>
                  </a:lnTo>
                  <a:lnTo>
                    <a:pt x="0" y="115"/>
                  </a:lnTo>
                  <a:cubicBezTo>
                    <a:pt x="0" y="115"/>
                    <a:pt x="0" y="115"/>
                    <a:pt x="0" y="86"/>
                  </a:cubicBezTo>
                  <a:lnTo>
                    <a:pt x="0" y="86"/>
                  </a:lnTo>
                  <a:cubicBezTo>
                    <a:pt x="0" y="115"/>
                    <a:pt x="0" y="115"/>
                    <a:pt x="0" y="115"/>
                  </a:cubicBezTo>
                  <a:lnTo>
                    <a:pt x="0" y="115"/>
                  </a:lnTo>
                  <a:lnTo>
                    <a:pt x="29" y="29"/>
                  </a:lnTo>
                  <a:cubicBezTo>
                    <a:pt x="29" y="0"/>
                    <a:pt x="29" y="0"/>
                    <a:pt x="29" y="0"/>
                  </a:cubicBezTo>
                  <a:lnTo>
                    <a:pt x="29" y="0"/>
                  </a:lnTo>
                  <a:cubicBezTo>
                    <a:pt x="29" y="0"/>
                    <a:pt x="29" y="0"/>
                    <a:pt x="29" y="29"/>
                  </a:cubicBezTo>
                  <a:lnTo>
                    <a:pt x="0" y="11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33" name="Freeform 170">
              <a:extLst>
                <a:ext uri="{FF2B5EF4-FFF2-40B4-BE49-F238E27FC236}">
                  <a16:creationId xmlns:a16="http://schemas.microsoft.com/office/drawing/2014/main" id="{011A9F49-DD5E-4E94-A42D-C5161EA438A1}"/>
                </a:ext>
              </a:extLst>
            </p:cNvPr>
            <p:cNvSpPr>
              <a:spLocks noChangeArrowheads="1"/>
            </p:cNvSpPr>
            <p:nvPr/>
          </p:nvSpPr>
          <p:spPr bwMode="auto">
            <a:xfrm>
              <a:off x="7642208" y="2493891"/>
              <a:ext cx="883918" cy="568030"/>
            </a:xfrm>
            <a:custGeom>
              <a:avLst/>
              <a:gdLst>
                <a:gd name="T0" fmla="*/ 1749 w 2391"/>
                <a:gd name="T1" fmla="*/ 0 h 1546"/>
                <a:gd name="T2" fmla="*/ 1749 w 2391"/>
                <a:gd name="T3" fmla="*/ 0 h 1546"/>
                <a:gd name="T4" fmla="*/ 1690 w 2391"/>
                <a:gd name="T5" fmla="*/ 0 h 1546"/>
                <a:gd name="T6" fmla="*/ 1690 w 2391"/>
                <a:gd name="T7" fmla="*/ 0 h 1546"/>
                <a:gd name="T8" fmla="*/ 1194 w 2391"/>
                <a:gd name="T9" fmla="*/ 0 h 1546"/>
                <a:gd name="T10" fmla="*/ 845 w 2391"/>
                <a:gd name="T11" fmla="*/ 0 h 1546"/>
                <a:gd name="T12" fmla="*/ 495 w 2391"/>
                <a:gd name="T13" fmla="*/ 0 h 1546"/>
                <a:gd name="T14" fmla="*/ 0 w 2391"/>
                <a:gd name="T15" fmla="*/ 0 h 1546"/>
                <a:gd name="T16" fmla="*/ 29 w 2391"/>
                <a:gd name="T17" fmla="*/ 262 h 1546"/>
                <a:gd name="T18" fmla="*/ 29 w 2391"/>
                <a:gd name="T19" fmla="*/ 409 h 1546"/>
                <a:gd name="T20" fmla="*/ 58 w 2391"/>
                <a:gd name="T21" fmla="*/ 438 h 1546"/>
                <a:gd name="T22" fmla="*/ 58 w 2391"/>
                <a:gd name="T23" fmla="*/ 495 h 1546"/>
                <a:gd name="T24" fmla="*/ 58 w 2391"/>
                <a:gd name="T25" fmla="*/ 525 h 1546"/>
                <a:gd name="T26" fmla="*/ 58 w 2391"/>
                <a:gd name="T27" fmla="*/ 554 h 1546"/>
                <a:gd name="T28" fmla="*/ 88 w 2391"/>
                <a:gd name="T29" fmla="*/ 612 h 1546"/>
                <a:gd name="T30" fmla="*/ 116 w 2391"/>
                <a:gd name="T31" fmla="*/ 729 h 1546"/>
                <a:gd name="T32" fmla="*/ 174 w 2391"/>
                <a:gd name="T33" fmla="*/ 875 h 1546"/>
                <a:gd name="T34" fmla="*/ 204 w 2391"/>
                <a:gd name="T35" fmla="*/ 992 h 1546"/>
                <a:gd name="T36" fmla="*/ 233 w 2391"/>
                <a:gd name="T37" fmla="*/ 1021 h 1546"/>
                <a:gd name="T38" fmla="*/ 262 w 2391"/>
                <a:gd name="T39" fmla="*/ 1079 h 1546"/>
                <a:gd name="T40" fmla="*/ 262 w 2391"/>
                <a:gd name="T41" fmla="*/ 1195 h 1546"/>
                <a:gd name="T42" fmla="*/ 262 w 2391"/>
                <a:gd name="T43" fmla="*/ 1342 h 1546"/>
                <a:gd name="T44" fmla="*/ 350 w 2391"/>
                <a:gd name="T45" fmla="*/ 1429 h 1546"/>
                <a:gd name="T46" fmla="*/ 408 w 2391"/>
                <a:gd name="T47" fmla="*/ 1429 h 1546"/>
                <a:gd name="T48" fmla="*/ 438 w 2391"/>
                <a:gd name="T49" fmla="*/ 1429 h 1546"/>
                <a:gd name="T50" fmla="*/ 495 w 2391"/>
                <a:gd name="T51" fmla="*/ 1429 h 1546"/>
                <a:gd name="T52" fmla="*/ 1573 w 2391"/>
                <a:gd name="T53" fmla="*/ 1400 h 1546"/>
                <a:gd name="T54" fmla="*/ 1632 w 2391"/>
                <a:gd name="T55" fmla="*/ 1400 h 1546"/>
                <a:gd name="T56" fmla="*/ 1690 w 2391"/>
                <a:gd name="T57" fmla="*/ 1400 h 1546"/>
                <a:gd name="T58" fmla="*/ 1778 w 2391"/>
                <a:gd name="T59" fmla="*/ 1400 h 1546"/>
                <a:gd name="T60" fmla="*/ 1836 w 2391"/>
                <a:gd name="T61" fmla="*/ 1429 h 1546"/>
                <a:gd name="T62" fmla="*/ 1836 w 2391"/>
                <a:gd name="T63" fmla="*/ 1458 h 1546"/>
                <a:gd name="T64" fmla="*/ 1865 w 2391"/>
                <a:gd name="T65" fmla="*/ 1488 h 1546"/>
                <a:gd name="T66" fmla="*/ 1894 w 2391"/>
                <a:gd name="T67" fmla="*/ 1488 h 1546"/>
                <a:gd name="T68" fmla="*/ 1923 w 2391"/>
                <a:gd name="T69" fmla="*/ 1517 h 1546"/>
                <a:gd name="T70" fmla="*/ 1923 w 2391"/>
                <a:gd name="T71" fmla="*/ 1545 h 1546"/>
                <a:gd name="T72" fmla="*/ 1982 w 2391"/>
                <a:gd name="T73" fmla="*/ 1342 h 1546"/>
                <a:gd name="T74" fmla="*/ 2011 w 2391"/>
                <a:gd name="T75" fmla="*/ 1312 h 1546"/>
                <a:gd name="T76" fmla="*/ 2040 w 2391"/>
                <a:gd name="T77" fmla="*/ 1254 h 1546"/>
                <a:gd name="T78" fmla="*/ 2070 w 2391"/>
                <a:gd name="T79" fmla="*/ 1167 h 1546"/>
                <a:gd name="T80" fmla="*/ 2070 w 2391"/>
                <a:gd name="T81" fmla="*/ 1050 h 1546"/>
                <a:gd name="T82" fmla="*/ 2128 w 2391"/>
                <a:gd name="T83" fmla="*/ 1021 h 1546"/>
                <a:gd name="T84" fmla="*/ 2157 w 2391"/>
                <a:gd name="T85" fmla="*/ 992 h 1546"/>
                <a:gd name="T86" fmla="*/ 2157 w 2391"/>
                <a:gd name="T87" fmla="*/ 992 h 1546"/>
                <a:gd name="T88" fmla="*/ 2186 w 2391"/>
                <a:gd name="T89" fmla="*/ 962 h 1546"/>
                <a:gd name="T90" fmla="*/ 2361 w 2391"/>
                <a:gd name="T91" fmla="*/ 729 h 1546"/>
                <a:gd name="T92" fmla="*/ 2332 w 2391"/>
                <a:gd name="T93" fmla="*/ 729 h 1546"/>
                <a:gd name="T94" fmla="*/ 2303 w 2391"/>
                <a:gd name="T95" fmla="*/ 700 h 1546"/>
                <a:gd name="T96" fmla="*/ 2273 w 2391"/>
                <a:gd name="T97" fmla="*/ 642 h 1546"/>
                <a:gd name="T98" fmla="*/ 2244 w 2391"/>
                <a:gd name="T99" fmla="*/ 554 h 1546"/>
                <a:gd name="T100" fmla="*/ 2128 w 2391"/>
                <a:gd name="T101" fmla="*/ 495 h 1546"/>
                <a:gd name="T102" fmla="*/ 2070 w 2391"/>
                <a:gd name="T103" fmla="*/ 438 h 1546"/>
                <a:gd name="T104" fmla="*/ 1923 w 2391"/>
                <a:gd name="T105" fmla="*/ 204 h 1546"/>
                <a:gd name="T106" fmla="*/ 1953 w 2391"/>
                <a:gd name="T107" fmla="*/ 146 h 1546"/>
                <a:gd name="T108" fmla="*/ 1953 w 2391"/>
                <a:gd name="T109" fmla="*/ 59 h 1546"/>
                <a:gd name="T110" fmla="*/ 1923 w 2391"/>
                <a:gd name="T111" fmla="*/ 0 h 1546"/>
                <a:gd name="T112" fmla="*/ 1836 w 2391"/>
                <a:gd name="T113" fmla="*/ 0 h 1546"/>
                <a:gd name="T114" fmla="*/ 1749 w 2391"/>
                <a:gd name="T115" fmla="*/ 0 h 1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91" h="1546">
                  <a:moveTo>
                    <a:pt x="1749" y="0"/>
                  </a:moveTo>
                  <a:lnTo>
                    <a:pt x="1749" y="0"/>
                  </a:lnTo>
                  <a:cubicBezTo>
                    <a:pt x="1720" y="0"/>
                    <a:pt x="1720" y="0"/>
                    <a:pt x="1690" y="0"/>
                  </a:cubicBezTo>
                  <a:lnTo>
                    <a:pt x="1690" y="0"/>
                  </a:lnTo>
                  <a:cubicBezTo>
                    <a:pt x="1573" y="0"/>
                    <a:pt x="1399" y="0"/>
                    <a:pt x="1194" y="0"/>
                  </a:cubicBezTo>
                  <a:cubicBezTo>
                    <a:pt x="1078" y="0"/>
                    <a:pt x="962" y="0"/>
                    <a:pt x="845" y="0"/>
                  </a:cubicBezTo>
                  <a:cubicBezTo>
                    <a:pt x="729" y="0"/>
                    <a:pt x="612" y="0"/>
                    <a:pt x="495" y="0"/>
                  </a:cubicBezTo>
                  <a:cubicBezTo>
                    <a:pt x="291" y="0"/>
                    <a:pt x="145" y="0"/>
                    <a:pt x="0" y="0"/>
                  </a:cubicBezTo>
                  <a:cubicBezTo>
                    <a:pt x="58" y="88"/>
                    <a:pt x="58" y="175"/>
                    <a:pt x="29" y="262"/>
                  </a:cubicBezTo>
                  <a:cubicBezTo>
                    <a:pt x="29" y="321"/>
                    <a:pt x="29" y="379"/>
                    <a:pt x="29" y="409"/>
                  </a:cubicBezTo>
                  <a:cubicBezTo>
                    <a:pt x="58" y="438"/>
                    <a:pt x="58" y="438"/>
                    <a:pt x="58" y="438"/>
                  </a:cubicBezTo>
                  <a:cubicBezTo>
                    <a:pt x="58" y="467"/>
                    <a:pt x="58" y="467"/>
                    <a:pt x="58" y="495"/>
                  </a:cubicBezTo>
                  <a:lnTo>
                    <a:pt x="58" y="525"/>
                  </a:lnTo>
                  <a:cubicBezTo>
                    <a:pt x="58" y="525"/>
                    <a:pt x="58" y="525"/>
                    <a:pt x="58" y="554"/>
                  </a:cubicBezTo>
                  <a:cubicBezTo>
                    <a:pt x="58" y="554"/>
                    <a:pt x="88" y="583"/>
                    <a:pt x="88" y="612"/>
                  </a:cubicBezTo>
                  <a:cubicBezTo>
                    <a:pt x="116" y="642"/>
                    <a:pt x="145" y="671"/>
                    <a:pt x="116" y="729"/>
                  </a:cubicBezTo>
                  <a:cubicBezTo>
                    <a:pt x="174" y="759"/>
                    <a:pt x="174" y="817"/>
                    <a:pt x="174" y="875"/>
                  </a:cubicBezTo>
                  <a:cubicBezTo>
                    <a:pt x="174" y="904"/>
                    <a:pt x="204" y="962"/>
                    <a:pt x="204" y="992"/>
                  </a:cubicBezTo>
                  <a:lnTo>
                    <a:pt x="233" y="1021"/>
                  </a:lnTo>
                  <a:cubicBezTo>
                    <a:pt x="233" y="1021"/>
                    <a:pt x="262" y="1050"/>
                    <a:pt x="262" y="1079"/>
                  </a:cubicBezTo>
                  <a:cubicBezTo>
                    <a:pt x="262" y="1109"/>
                    <a:pt x="262" y="1167"/>
                    <a:pt x="262" y="1195"/>
                  </a:cubicBezTo>
                  <a:cubicBezTo>
                    <a:pt x="262" y="1254"/>
                    <a:pt x="262" y="1312"/>
                    <a:pt x="262" y="1342"/>
                  </a:cubicBezTo>
                  <a:cubicBezTo>
                    <a:pt x="291" y="1371"/>
                    <a:pt x="321" y="1400"/>
                    <a:pt x="350" y="1429"/>
                  </a:cubicBezTo>
                  <a:cubicBezTo>
                    <a:pt x="350" y="1429"/>
                    <a:pt x="379" y="1429"/>
                    <a:pt x="408" y="1429"/>
                  </a:cubicBezTo>
                  <a:lnTo>
                    <a:pt x="438" y="1429"/>
                  </a:lnTo>
                  <a:cubicBezTo>
                    <a:pt x="466" y="1429"/>
                    <a:pt x="495" y="1429"/>
                    <a:pt x="495" y="1429"/>
                  </a:cubicBezTo>
                  <a:cubicBezTo>
                    <a:pt x="904" y="1429"/>
                    <a:pt x="1194" y="1429"/>
                    <a:pt x="1573" y="1400"/>
                  </a:cubicBezTo>
                  <a:cubicBezTo>
                    <a:pt x="1573" y="1400"/>
                    <a:pt x="1603" y="1400"/>
                    <a:pt x="1632" y="1400"/>
                  </a:cubicBezTo>
                  <a:cubicBezTo>
                    <a:pt x="1661" y="1400"/>
                    <a:pt x="1690" y="1400"/>
                    <a:pt x="1690" y="1400"/>
                  </a:cubicBezTo>
                  <a:cubicBezTo>
                    <a:pt x="1749" y="1400"/>
                    <a:pt x="1778" y="1400"/>
                    <a:pt x="1778" y="1400"/>
                  </a:cubicBezTo>
                  <a:cubicBezTo>
                    <a:pt x="1807" y="1429"/>
                    <a:pt x="1807" y="1429"/>
                    <a:pt x="1836" y="1429"/>
                  </a:cubicBezTo>
                  <a:cubicBezTo>
                    <a:pt x="1836" y="1458"/>
                    <a:pt x="1836" y="1458"/>
                    <a:pt x="1836" y="1458"/>
                  </a:cubicBezTo>
                  <a:lnTo>
                    <a:pt x="1865" y="1488"/>
                  </a:lnTo>
                  <a:cubicBezTo>
                    <a:pt x="1894" y="1488"/>
                    <a:pt x="1894" y="1488"/>
                    <a:pt x="1894" y="1488"/>
                  </a:cubicBezTo>
                  <a:cubicBezTo>
                    <a:pt x="1923" y="1517"/>
                    <a:pt x="1923" y="1517"/>
                    <a:pt x="1923" y="1517"/>
                  </a:cubicBezTo>
                  <a:cubicBezTo>
                    <a:pt x="1923" y="1545"/>
                    <a:pt x="1923" y="1545"/>
                    <a:pt x="1923" y="1545"/>
                  </a:cubicBezTo>
                  <a:cubicBezTo>
                    <a:pt x="1923" y="1458"/>
                    <a:pt x="1953" y="1400"/>
                    <a:pt x="1982" y="1342"/>
                  </a:cubicBezTo>
                  <a:cubicBezTo>
                    <a:pt x="1982" y="1312"/>
                    <a:pt x="2011" y="1312"/>
                    <a:pt x="2011" y="1312"/>
                  </a:cubicBezTo>
                  <a:cubicBezTo>
                    <a:pt x="2040" y="1283"/>
                    <a:pt x="2040" y="1283"/>
                    <a:pt x="2040" y="1254"/>
                  </a:cubicBezTo>
                  <a:cubicBezTo>
                    <a:pt x="2070" y="1225"/>
                    <a:pt x="2070" y="1195"/>
                    <a:pt x="2070" y="1167"/>
                  </a:cubicBezTo>
                  <a:cubicBezTo>
                    <a:pt x="2040" y="1109"/>
                    <a:pt x="2040" y="1079"/>
                    <a:pt x="2070" y="1050"/>
                  </a:cubicBezTo>
                  <a:cubicBezTo>
                    <a:pt x="2099" y="1021"/>
                    <a:pt x="2128" y="1021"/>
                    <a:pt x="2128" y="1021"/>
                  </a:cubicBezTo>
                  <a:cubicBezTo>
                    <a:pt x="2157" y="1021"/>
                    <a:pt x="2157" y="1021"/>
                    <a:pt x="2157" y="992"/>
                  </a:cubicBezTo>
                  <a:lnTo>
                    <a:pt x="2157" y="992"/>
                  </a:lnTo>
                  <a:cubicBezTo>
                    <a:pt x="2157" y="992"/>
                    <a:pt x="2157" y="962"/>
                    <a:pt x="2186" y="962"/>
                  </a:cubicBezTo>
                  <a:cubicBezTo>
                    <a:pt x="2244" y="933"/>
                    <a:pt x="2390" y="845"/>
                    <a:pt x="2361" y="729"/>
                  </a:cubicBezTo>
                  <a:cubicBezTo>
                    <a:pt x="2332" y="729"/>
                    <a:pt x="2332" y="729"/>
                    <a:pt x="2332" y="729"/>
                  </a:cubicBezTo>
                  <a:lnTo>
                    <a:pt x="2303" y="700"/>
                  </a:lnTo>
                  <a:cubicBezTo>
                    <a:pt x="2303" y="671"/>
                    <a:pt x="2303" y="671"/>
                    <a:pt x="2273" y="642"/>
                  </a:cubicBezTo>
                  <a:cubicBezTo>
                    <a:pt x="2273" y="612"/>
                    <a:pt x="2244" y="583"/>
                    <a:pt x="2244" y="554"/>
                  </a:cubicBezTo>
                  <a:cubicBezTo>
                    <a:pt x="2186" y="525"/>
                    <a:pt x="2157" y="495"/>
                    <a:pt x="2128" y="495"/>
                  </a:cubicBezTo>
                  <a:cubicBezTo>
                    <a:pt x="2128" y="467"/>
                    <a:pt x="2099" y="467"/>
                    <a:pt x="2070" y="438"/>
                  </a:cubicBezTo>
                  <a:cubicBezTo>
                    <a:pt x="2011" y="379"/>
                    <a:pt x="1923" y="321"/>
                    <a:pt x="1923" y="204"/>
                  </a:cubicBezTo>
                  <a:cubicBezTo>
                    <a:pt x="1923" y="175"/>
                    <a:pt x="1923" y="146"/>
                    <a:pt x="1953" y="146"/>
                  </a:cubicBezTo>
                  <a:cubicBezTo>
                    <a:pt x="1953" y="117"/>
                    <a:pt x="1953" y="88"/>
                    <a:pt x="1953" y="59"/>
                  </a:cubicBezTo>
                  <a:lnTo>
                    <a:pt x="1923" y="0"/>
                  </a:lnTo>
                  <a:cubicBezTo>
                    <a:pt x="1894" y="0"/>
                    <a:pt x="1865" y="0"/>
                    <a:pt x="1836" y="0"/>
                  </a:cubicBezTo>
                  <a:cubicBezTo>
                    <a:pt x="1807" y="0"/>
                    <a:pt x="1778" y="0"/>
                    <a:pt x="174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34" name="Freeform 171">
              <a:extLst>
                <a:ext uri="{FF2B5EF4-FFF2-40B4-BE49-F238E27FC236}">
                  <a16:creationId xmlns:a16="http://schemas.microsoft.com/office/drawing/2014/main" id="{4735C2BB-3275-4B7A-8194-F0E77403B13F}"/>
                </a:ext>
              </a:extLst>
            </p:cNvPr>
            <p:cNvSpPr>
              <a:spLocks noChangeArrowheads="1"/>
            </p:cNvSpPr>
            <p:nvPr/>
          </p:nvSpPr>
          <p:spPr bwMode="auto">
            <a:xfrm>
              <a:off x="10618500" y="3060303"/>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35" name="Freeform 172">
              <a:extLst>
                <a:ext uri="{FF2B5EF4-FFF2-40B4-BE49-F238E27FC236}">
                  <a16:creationId xmlns:a16="http://schemas.microsoft.com/office/drawing/2014/main" id="{5478BFF8-E2E7-4CF3-9DC7-22D611B91359}"/>
                </a:ext>
              </a:extLst>
            </p:cNvPr>
            <p:cNvSpPr>
              <a:spLocks noChangeArrowheads="1"/>
            </p:cNvSpPr>
            <p:nvPr/>
          </p:nvSpPr>
          <p:spPr bwMode="auto">
            <a:xfrm>
              <a:off x="9561712" y="3050593"/>
              <a:ext cx="1154639" cy="610106"/>
            </a:xfrm>
            <a:custGeom>
              <a:avLst/>
              <a:gdLst>
                <a:gd name="T0" fmla="*/ 3121 w 3122"/>
                <a:gd name="T1" fmla="*/ 1195 h 1663"/>
                <a:gd name="T2" fmla="*/ 3121 w 3122"/>
                <a:gd name="T3" fmla="*/ 1137 h 1663"/>
                <a:gd name="T4" fmla="*/ 3033 w 3122"/>
                <a:gd name="T5" fmla="*/ 1137 h 1663"/>
                <a:gd name="T6" fmla="*/ 2946 w 3122"/>
                <a:gd name="T7" fmla="*/ 1166 h 1663"/>
                <a:gd name="T8" fmla="*/ 2742 w 3122"/>
                <a:gd name="T9" fmla="*/ 1049 h 1663"/>
                <a:gd name="T10" fmla="*/ 2479 w 3122"/>
                <a:gd name="T11" fmla="*/ 992 h 1663"/>
                <a:gd name="T12" fmla="*/ 2479 w 3122"/>
                <a:gd name="T13" fmla="*/ 962 h 1663"/>
                <a:gd name="T14" fmla="*/ 2858 w 3122"/>
                <a:gd name="T15" fmla="*/ 992 h 1663"/>
                <a:gd name="T16" fmla="*/ 2829 w 3122"/>
                <a:gd name="T17" fmla="*/ 933 h 1663"/>
                <a:gd name="T18" fmla="*/ 2771 w 3122"/>
                <a:gd name="T19" fmla="*/ 904 h 1663"/>
                <a:gd name="T20" fmla="*/ 2829 w 3122"/>
                <a:gd name="T21" fmla="*/ 875 h 1663"/>
                <a:gd name="T22" fmla="*/ 2771 w 3122"/>
                <a:gd name="T23" fmla="*/ 845 h 1663"/>
                <a:gd name="T24" fmla="*/ 2654 w 3122"/>
                <a:gd name="T25" fmla="*/ 758 h 1663"/>
                <a:gd name="T26" fmla="*/ 2742 w 3122"/>
                <a:gd name="T27" fmla="*/ 728 h 1663"/>
                <a:gd name="T28" fmla="*/ 2742 w 3122"/>
                <a:gd name="T29" fmla="*/ 699 h 1663"/>
                <a:gd name="T30" fmla="*/ 2799 w 3122"/>
                <a:gd name="T31" fmla="*/ 699 h 1663"/>
                <a:gd name="T32" fmla="*/ 2683 w 3122"/>
                <a:gd name="T33" fmla="*/ 554 h 1663"/>
                <a:gd name="T34" fmla="*/ 2537 w 3122"/>
                <a:gd name="T35" fmla="*/ 495 h 1663"/>
                <a:gd name="T36" fmla="*/ 2450 w 3122"/>
                <a:gd name="T37" fmla="*/ 495 h 1663"/>
                <a:gd name="T38" fmla="*/ 2363 w 3122"/>
                <a:gd name="T39" fmla="*/ 349 h 1663"/>
                <a:gd name="T40" fmla="*/ 2392 w 3122"/>
                <a:gd name="T41" fmla="*/ 262 h 1663"/>
                <a:gd name="T42" fmla="*/ 2246 w 3122"/>
                <a:gd name="T43" fmla="*/ 145 h 1663"/>
                <a:gd name="T44" fmla="*/ 2158 w 3122"/>
                <a:gd name="T45" fmla="*/ 28 h 1663"/>
                <a:gd name="T46" fmla="*/ 1954 w 3122"/>
                <a:gd name="T47" fmla="*/ 175 h 1663"/>
                <a:gd name="T48" fmla="*/ 1866 w 3122"/>
                <a:gd name="T49" fmla="*/ 175 h 1663"/>
                <a:gd name="T50" fmla="*/ 1808 w 3122"/>
                <a:gd name="T51" fmla="*/ 321 h 1663"/>
                <a:gd name="T52" fmla="*/ 1721 w 3122"/>
                <a:gd name="T53" fmla="*/ 378 h 1663"/>
                <a:gd name="T54" fmla="*/ 1663 w 3122"/>
                <a:gd name="T55" fmla="*/ 554 h 1663"/>
                <a:gd name="T56" fmla="*/ 1575 w 3122"/>
                <a:gd name="T57" fmla="*/ 583 h 1663"/>
                <a:gd name="T58" fmla="*/ 1458 w 3122"/>
                <a:gd name="T59" fmla="*/ 554 h 1663"/>
                <a:gd name="T60" fmla="*/ 1458 w 3122"/>
                <a:gd name="T61" fmla="*/ 642 h 1663"/>
                <a:gd name="T62" fmla="*/ 1254 w 3122"/>
                <a:gd name="T63" fmla="*/ 758 h 1663"/>
                <a:gd name="T64" fmla="*/ 1196 w 3122"/>
                <a:gd name="T65" fmla="*/ 904 h 1663"/>
                <a:gd name="T66" fmla="*/ 1050 w 3122"/>
                <a:gd name="T67" fmla="*/ 1049 h 1663"/>
                <a:gd name="T68" fmla="*/ 963 w 3122"/>
                <a:gd name="T69" fmla="*/ 1108 h 1663"/>
                <a:gd name="T70" fmla="*/ 933 w 3122"/>
                <a:gd name="T71" fmla="*/ 1108 h 1663"/>
                <a:gd name="T72" fmla="*/ 758 w 3122"/>
                <a:gd name="T73" fmla="*/ 1166 h 1663"/>
                <a:gd name="T74" fmla="*/ 729 w 3122"/>
                <a:gd name="T75" fmla="*/ 1224 h 1663"/>
                <a:gd name="T76" fmla="*/ 554 w 3122"/>
                <a:gd name="T77" fmla="*/ 1108 h 1663"/>
                <a:gd name="T78" fmla="*/ 496 w 3122"/>
                <a:gd name="T79" fmla="*/ 1108 h 1663"/>
                <a:gd name="T80" fmla="*/ 408 w 3122"/>
                <a:gd name="T81" fmla="*/ 1254 h 1663"/>
                <a:gd name="T82" fmla="*/ 263 w 3122"/>
                <a:gd name="T83" fmla="*/ 1399 h 1663"/>
                <a:gd name="T84" fmla="*/ 263 w 3122"/>
                <a:gd name="T85" fmla="*/ 1428 h 1663"/>
                <a:gd name="T86" fmla="*/ 204 w 3122"/>
                <a:gd name="T87" fmla="*/ 1458 h 1663"/>
                <a:gd name="T88" fmla="*/ 87 w 3122"/>
                <a:gd name="T89" fmla="*/ 1575 h 1663"/>
                <a:gd name="T90" fmla="*/ 2829 w 3122"/>
                <a:gd name="T91" fmla="*/ 1254 h 1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22" h="1663">
                  <a:moveTo>
                    <a:pt x="3121" y="1195"/>
                  </a:moveTo>
                  <a:lnTo>
                    <a:pt x="3121" y="1195"/>
                  </a:lnTo>
                  <a:cubicBezTo>
                    <a:pt x="3121" y="1166"/>
                    <a:pt x="3121" y="1137"/>
                    <a:pt x="3121" y="1137"/>
                  </a:cubicBezTo>
                  <a:lnTo>
                    <a:pt x="3121" y="1137"/>
                  </a:lnTo>
                  <a:lnTo>
                    <a:pt x="3092" y="1137"/>
                  </a:lnTo>
                  <a:cubicBezTo>
                    <a:pt x="3063" y="1137"/>
                    <a:pt x="3033" y="1137"/>
                    <a:pt x="3033" y="1137"/>
                  </a:cubicBezTo>
                  <a:cubicBezTo>
                    <a:pt x="3033" y="1108"/>
                    <a:pt x="3033" y="1108"/>
                    <a:pt x="3033" y="1108"/>
                  </a:cubicBezTo>
                  <a:cubicBezTo>
                    <a:pt x="3004" y="1137"/>
                    <a:pt x="2975" y="1166"/>
                    <a:pt x="2946" y="1166"/>
                  </a:cubicBezTo>
                  <a:cubicBezTo>
                    <a:pt x="2887" y="1166"/>
                    <a:pt x="2829" y="1108"/>
                    <a:pt x="2771" y="1078"/>
                  </a:cubicBezTo>
                  <a:cubicBezTo>
                    <a:pt x="2771" y="1078"/>
                    <a:pt x="2771" y="1049"/>
                    <a:pt x="2742" y="1049"/>
                  </a:cubicBezTo>
                  <a:cubicBezTo>
                    <a:pt x="2713" y="1021"/>
                    <a:pt x="2654" y="1021"/>
                    <a:pt x="2596" y="1021"/>
                  </a:cubicBezTo>
                  <a:cubicBezTo>
                    <a:pt x="2537" y="992"/>
                    <a:pt x="2508" y="992"/>
                    <a:pt x="2479" y="992"/>
                  </a:cubicBezTo>
                  <a:cubicBezTo>
                    <a:pt x="2421" y="992"/>
                    <a:pt x="2421" y="992"/>
                    <a:pt x="2421" y="992"/>
                  </a:cubicBezTo>
                  <a:cubicBezTo>
                    <a:pt x="2479" y="962"/>
                    <a:pt x="2479" y="962"/>
                    <a:pt x="2479" y="962"/>
                  </a:cubicBezTo>
                  <a:cubicBezTo>
                    <a:pt x="2537" y="904"/>
                    <a:pt x="2596" y="904"/>
                    <a:pt x="2683" y="904"/>
                  </a:cubicBezTo>
                  <a:cubicBezTo>
                    <a:pt x="2771" y="904"/>
                    <a:pt x="2829" y="962"/>
                    <a:pt x="2858" y="992"/>
                  </a:cubicBezTo>
                  <a:cubicBezTo>
                    <a:pt x="2887" y="992"/>
                    <a:pt x="2887" y="1021"/>
                    <a:pt x="2916" y="1021"/>
                  </a:cubicBezTo>
                  <a:cubicBezTo>
                    <a:pt x="2887" y="992"/>
                    <a:pt x="2858" y="962"/>
                    <a:pt x="2829" y="933"/>
                  </a:cubicBezTo>
                  <a:cubicBezTo>
                    <a:pt x="2829" y="933"/>
                    <a:pt x="2829" y="933"/>
                    <a:pt x="2799" y="933"/>
                  </a:cubicBezTo>
                  <a:cubicBezTo>
                    <a:pt x="2771" y="904"/>
                    <a:pt x="2771" y="904"/>
                    <a:pt x="2771" y="904"/>
                  </a:cubicBezTo>
                  <a:cubicBezTo>
                    <a:pt x="2829" y="875"/>
                    <a:pt x="2829" y="875"/>
                    <a:pt x="2829" y="875"/>
                  </a:cubicBezTo>
                  <a:lnTo>
                    <a:pt x="2829" y="875"/>
                  </a:lnTo>
                  <a:lnTo>
                    <a:pt x="2829" y="875"/>
                  </a:lnTo>
                  <a:cubicBezTo>
                    <a:pt x="2829" y="875"/>
                    <a:pt x="2799" y="875"/>
                    <a:pt x="2771" y="845"/>
                  </a:cubicBezTo>
                  <a:cubicBezTo>
                    <a:pt x="2713" y="845"/>
                    <a:pt x="2625" y="845"/>
                    <a:pt x="2654" y="758"/>
                  </a:cubicBezTo>
                  <a:lnTo>
                    <a:pt x="2654" y="758"/>
                  </a:lnTo>
                  <a:cubicBezTo>
                    <a:pt x="2654" y="728"/>
                    <a:pt x="2654" y="728"/>
                    <a:pt x="2654" y="728"/>
                  </a:cubicBezTo>
                  <a:cubicBezTo>
                    <a:pt x="2683" y="728"/>
                    <a:pt x="2713" y="728"/>
                    <a:pt x="2742" y="728"/>
                  </a:cubicBezTo>
                  <a:cubicBezTo>
                    <a:pt x="2742" y="728"/>
                    <a:pt x="2742" y="728"/>
                    <a:pt x="2771" y="728"/>
                  </a:cubicBezTo>
                  <a:cubicBezTo>
                    <a:pt x="2742" y="699"/>
                    <a:pt x="2742" y="699"/>
                    <a:pt x="2742" y="699"/>
                  </a:cubicBezTo>
                  <a:cubicBezTo>
                    <a:pt x="2771" y="699"/>
                    <a:pt x="2771" y="699"/>
                    <a:pt x="2771" y="699"/>
                  </a:cubicBezTo>
                  <a:cubicBezTo>
                    <a:pt x="2771" y="699"/>
                    <a:pt x="2771" y="699"/>
                    <a:pt x="2799" y="699"/>
                  </a:cubicBezTo>
                  <a:cubicBezTo>
                    <a:pt x="2799" y="671"/>
                    <a:pt x="2799" y="612"/>
                    <a:pt x="2771" y="612"/>
                  </a:cubicBezTo>
                  <a:cubicBezTo>
                    <a:pt x="2771" y="583"/>
                    <a:pt x="2742" y="554"/>
                    <a:pt x="2683" y="554"/>
                  </a:cubicBezTo>
                  <a:cubicBezTo>
                    <a:pt x="2654" y="554"/>
                    <a:pt x="2625" y="554"/>
                    <a:pt x="2596" y="525"/>
                  </a:cubicBezTo>
                  <a:cubicBezTo>
                    <a:pt x="2566" y="525"/>
                    <a:pt x="2566" y="525"/>
                    <a:pt x="2537" y="495"/>
                  </a:cubicBezTo>
                  <a:lnTo>
                    <a:pt x="2508" y="495"/>
                  </a:lnTo>
                  <a:cubicBezTo>
                    <a:pt x="2479" y="466"/>
                    <a:pt x="2479" y="495"/>
                    <a:pt x="2450" y="495"/>
                  </a:cubicBezTo>
                  <a:lnTo>
                    <a:pt x="2421" y="495"/>
                  </a:lnTo>
                  <a:cubicBezTo>
                    <a:pt x="2363" y="466"/>
                    <a:pt x="2333" y="408"/>
                    <a:pt x="2363" y="349"/>
                  </a:cubicBezTo>
                  <a:cubicBezTo>
                    <a:pt x="2363" y="321"/>
                    <a:pt x="2363" y="292"/>
                    <a:pt x="2392" y="292"/>
                  </a:cubicBezTo>
                  <a:cubicBezTo>
                    <a:pt x="2392" y="262"/>
                    <a:pt x="2392" y="262"/>
                    <a:pt x="2392" y="262"/>
                  </a:cubicBezTo>
                  <a:cubicBezTo>
                    <a:pt x="2392" y="204"/>
                    <a:pt x="2363" y="175"/>
                    <a:pt x="2304" y="175"/>
                  </a:cubicBezTo>
                  <a:cubicBezTo>
                    <a:pt x="2275" y="145"/>
                    <a:pt x="2246" y="145"/>
                    <a:pt x="2246" y="145"/>
                  </a:cubicBezTo>
                  <a:cubicBezTo>
                    <a:pt x="2187" y="116"/>
                    <a:pt x="2187" y="87"/>
                    <a:pt x="2158" y="58"/>
                  </a:cubicBezTo>
                  <a:lnTo>
                    <a:pt x="2158" y="28"/>
                  </a:lnTo>
                  <a:cubicBezTo>
                    <a:pt x="2100" y="0"/>
                    <a:pt x="2071" y="28"/>
                    <a:pt x="2042" y="87"/>
                  </a:cubicBezTo>
                  <a:cubicBezTo>
                    <a:pt x="2042" y="116"/>
                    <a:pt x="2013" y="145"/>
                    <a:pt x="1954" y="175"/>
                  </a:cubicBezTo>
                  <a:lnTo>
                    <a:pt x="1925" y="175"/>
                  </a:lnTo>
                  <a:cubicBezTo>
                    <a:pt x="1896" y="175"/>
                    <a:pt x="1896" y="175"/>
                    <a:pt x="1866" y="175"/>
                  </a:cubicBezTo>
                  <a:cubicBezTo>
                    <a:pt x="1866" y="204"/>
                    <a:pt x="1866" y="233"/>
                    <a:pt x="1866" y="233"/>
                  </a:cubicBezTo>
                  <a:cubicBezTo>
                    <a:pt x="1866" y="262"/>
                    <a:pt x="1837" y="292"/>
                    <a:pt x="1808" y="321"/>
                  </a:cubicBezTo>
                  <a:cubicBezTo>
                    <a:pt x="1808" y="349"/>
                    <a:pt x="1779" y="349"/>
                    <a:pt x="1779" y="378"/>
                  </a:cubicBezTo>
                  <a:cubicBezTo>
                    <a:pt x="1750" y="378"/>
                    <a:pt x="1750" y="378"/>
                    <a:pt x="1721" y="378"/>
                  </a:cubicBezTo>
                  <a:cubicBezTo>
                    <a:pt x="1721" y="408"/>
                    <a:pt x="1721" y="437"/>
                    <a:pt x="1692" y="466"/>
                  </a:cubicBezTo>
                  <a:cubicBezTo>
                    <a:pt x="1692" y="495"/>
                    <a:pt x="1692" y="525"/>
                    <a:pt x="1663" y="554"/>
                  </a:cubicBezTo>
                  <a:cubicBezTo>
                    <a:pt x="1633" y="554"/>
                    <a:pt x="1604" y="583"/>
                    <a:pt x="1575" y="583"/>
                  </a:cubicBezTo>
                  <a:lnTo>
                    <a:pt x="1575" y="583"/>
                  </a:lnTo>
                  <a:cubicBezTo>
                    <a:pt x="1546" y="583"/>
                    <a:pt x="1546" y="554"/>
                    <a:pt x="1516" y="554"/>
                  </a:cubicBezTo>
                  <a:cubicBezTo>
                    <a:pt x="1487" y="554"/>
                    <a:pt x="1487" y="554"/>
                    <a:pt x="1458" y="554"/>
                  </a:cubicBezTo>
                  <a:lnTo>
                    <a:pt x="1458" y="554"/>
                  </a:lnTo>
                  <a:cubicBezTo>
                    <a:pt x="1458" y="583"/>
                    <a:pt x="1458" y="612"/>
                    <a:pt x="1458" y="642"/>
                  </a:cubicBezTo>
                  <a:cubicBezTo>
                    <a:pt x="1458" y="699"/>
                    <a:pt x="1400" y="728"/>
                    <a:pt x="1342" y="728"/>
                  </a:cubicBezTo>
                  <a:cubicBezTo>
                    <a:pt x="1313" y="728"/>
                    <a:pt x="1283" y="758"/>
                    <a:pt x="1254" y="758"/>
                  </a:cubicBezTo>
                  <a:cubicBezTo>
                    <a:pt x="1225" y="787"/>
                    <a:pt x="1225" y="816"/>
                    <a:pt x="1225" y="875"/>
                  </a:cubicBezTo>
                  <a:cubicBezTo>
                    <a:pt x="1196" y="875"/>
                    <a:pt x="1196" y="904"/>
                    <a:pt x="1196" y="904"/>
                  </a:cubicBezTo>
                  <a:cubicBezTo>
                    <a:pt x="1196" y="933"/>
                    <a:pt x="1196" y="962"/>
                    <a:pt x="1196" y="992"/>
                  </a:cubicBezTo>
                  <a:cubicBezTo>
                    <a:pt x="1166" y="1021"/>
                    <a:pt x="1108" y="1049"/>
                    <a:pt x="1050" y="1049"/>
                  </a:cubicBezTo>
                  <a:lnTo>
                    <a:pt x="1021" y="1049"/>
                  </a:lnTo>
                  <a:cubicBezTo>
                    <a:pt x="992" y="1049"/>
                    <a:pt x="963" y="1078"/>
                    <a:pt x="963" y="1108"/>
                  </a:cubicBezTo>
                  <a:lnTo>
                    <a:pt x="963" y="1108"/>
                  </a:lnTo>
                  <a:cubicBezTo>
                    <a:pt x="933" y="1108"/>
                    <a:pt x="933" y="1108"/>
                    <a:pt x="933" y="1108"/>
                  </a:cubicBezTo>
                  <a:cubicBezTo>
                    <a:pt x="875" y="1108"/>
                    <a:pt x="846" y="1078"/>
                    <a:pt x="816" y="1078"/>
                  </a:cubicBezTo>
                  <a:cubicBezTo>
                    <a:pt x="787" y="1108"/>
                    <a:pt x="787" y="1137"/>
                    <a:pt x="758" y="1166"/>
                  </a:cubicBezTo>
                  <a:lnTo>
                    <a:pt x="758" y="1166"/>
                  </a:lnTo>
                  <a:cubicBezTo>
                    <a:pt x="758" y="1195"/>
                    <a:pt x="758" y="1224"/>
                    <a:pt x="729" y="1224"/>
                  </a:cubicBezTo>
                  <a:cubicBezTo>
                    <a:pt x="671" y="1224"/>
                    <a:pt x="613" y="1195"/>
                    <a:pt x="613" y="1195"/>
                  </a:cubicBezTo>
                  <a:cubicBezTo>
                    <a:pt x="583" y="1166"/>
                    <a:pt x="583" y="1137"/>
                    <a:pt x="554" y="1108"/>
                  </a:cubicBezTo>
                  <a:lnTo>
                    <a:pt x="525" y="1078"/>
                  </a:lnTo>
                  <a:cubicBezTo>
                    <a:pt x="496" y="1078"/>
                    <a:pt x="496" y="1108"/>
                    <a:pt x="496" y="1108"/>
                  </a:cubicBezTo>
                  <a:cubicBezTo>
                    <a:pt x="496" y="1137"/>
                    <a:pt x="496" y="1166"/>
                    <a:pt x="496" y="1166"/>
                  </a:cubicBezTo>
                  <a:cubicBezTo>
                    <a:pt x="466" y="1224"/>
                    <a:pt x="437" y="1224"/>
                    <a:pt x="408" y="1254"/>
                  </a:cubicBezTo>
                  <a:cubicBezTo>
                    <a:pt x="380" y="1254"/>
                    <a:pt x="380" y="1283"/>
                    <a:pt x="350" y="1283"/>
                  </a:cubicBezTo>
                  <a:cubicBezTo>
                    <a:pt x="321" y="1312"/>
                    <a:pt x="292" y="1342"/>
                    <a:pt x="263" y="1399"/>
                  </a:cubicBezTo>
                  <a:cubicBezTo>
                    <a:pt x="263" y="1399"/>
                    <a:pt x="263" y="1399"/>
                    <a:pt x="263" y="1428"/>
                  </a:cubicBezTo>
                  <a:lnTo>
                    <a:pt x="263" y="1428"/>
                  </a:lnTo>
                  <a:cubicBezTo>
                    <a:pt x="233" y="1428"/>
                    <a:pt x="233" y="1428"/>
                    <a:pt x="233" y="1428"/>
                  </a:cubicBezTo>
                  <a:cubicBezTo>
                    <a:pt x="233" y="1428"/>
                    <a:pt x="233" y="1428"/>
                    <a:pt x="204" y="1458"/>
                  </a:cubicBezTo>
                  <a:lnTo>
                    <a:pt x="204" y="1458"/>
                  </a:lnTo>
                  <a:cubicBezTo>
                    <a:pt x="175" y="1516"/>
                    <a:pt x="146" y="1545"/>
                    <a:pt x="87" y="1575"/>
                  </a:cubicBezTo>
                  <a:cubicBezTo>
                    <a:pt x="58" y="1604"/>
                    <a:pt x="30" y="1633"/>
                    <a:pt x="0" y="1662"/>
                  </a:cubicBezTo>
                  <a:cubicBezTo>
                    <a:pt x="992" y="1575"/>
                    <a:pt x="1925" y="1399"/>
                    <a:pt x="2829" y="1254"/>
                  </a:cubicBezTo>
                  <a:lnTo>
                    <a:pt x="3121" y="11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36" name="Freeform 173">
              <a:extLst>
                <a:ext uri="{FF2B5EF4-FFF2-40B4-BE49-F238E27FC236}">
                  <a16:creationId xmlns:a16="http://schemas.microsoft.com/office/drawing/2014/main" id="{3B611A03-C7F6-4239-8CB3-86E350CBA98A}"/>
                </a:ext>
              </a:extLst>
            </p:cNvPr>
            <p:cNvSpPr>
              <a:spLocks noChangeArrowheads="1"/>
            </p:cNvSpPr>
            <p:nvPr/>
          </p:nvSpPr>
          <p:spPr bwMode="auto">
            <a:xfrm>
              <a:off x="5776520" y="2793280"/>
              <a:ext cx="1068203" cy="835053"/>
            </a:xfrm>
            <a:custGeom>
              <a:avLst/>
              <a:gdLst>
                <a:gd name="T0" fmla="*/ 2770 w 2887"/>
                <a:gd name="T1" fmla="*/ 1487 h 2276"/>
                <a:gd name="T2" fmla="*/ 2770 w 2887"/>
                <a:gd name="T3" fmla="*/ 1487 h 2276"/>
                <a:gd name="T4" fmla="*/ 2886 w 2887"/>
                <a:gd name="T5" fmla="*/ 350 h 2276"/>
                <a:gd name="T6" fmla="*/ 2507 w 2887"/>
                <a:gd name="T7" fmla="*/ 292 h 2276"/>
                <a:gd name="T8" fmla="*/ 291 w 2887"/>
                <a:gd name="T9" fmla="*/ 0 h 2276"/>
                <a:gd name="T10" fmla="*/ 0 w 2887"/>
                <a:gd name="T11" fmla="*/ 1924 h 2276"/>
                <a:gd name="T12" fmla="*/ 2712 w 2887"/>
                <a:gd name="T13" fmla="*/ 2275 h 2276"/>
                <a:gd name="T14" fmla="*/ 2770 w 2887"/>
                <a:gd name="T15" fmla="*/ 1487 h 22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7" h="2276">
                  <a:moveTo>
                    <a:pt x="2770" y="1487"/>
                  </a:moveTo>
                  <a:lnTo>
                    <a:pt x="2770" y="1487"/>
                  </a:lnTo>
                  <a:cubicBezTo>
                    <a:pt x="2799" y="1108"/>
                    <a:pt x="2828" y="728"/>
                    <a:pt x="2886" y="350"/>
                  </a:cubicBezTo>
                  <a:cubicBezTo>
                    <a:pt x="2741" y="321"/>
                    <a:pt x="2624" y="321"/>
                    <a:pt x="2507" y="292"/>
                  </a:cubicBezTo>
                  <a:cubicBezTo>
                    <a:pt x="1778" y="204"/>
                    <a:pt x="1020" y="116"/>
                    <a:pt x="291" y="0"/>
                  </a:cubicBezTo>
                  <a:cubicBezTo>
                    <a:pt x="203" y="583"/>
                    <a:pt x="86" y="1195"/>
                    <a:pt x="0" y="1924"/>
                  </a:cubicBezTo>
                  <a:cubicBezTo>
                    <a:pt x="903" y="2071"/>
                    <a:pt x="1924" y="2187"/>
                    <a:pt x="2712" y="2275"/>
                  </a:cubicBezTo>
                  <a:cubicBezTo>
                    <a:pt x="2712" y="2012"/>
                    <a:pt x="2741" y="1749"/>
                    <a:pt x="2770" y="148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37" name="Freeform 174">
              <a:extLst>
                <a:ext uri="{FF2B5EF4-FFF2-40B4-BE49-F238E27FC236}">
                  <a16:creationId xmlns:a16="http://schemas.microsoft.com/office/drawing/2014/main" id="{9E0EFE92-0E75-481C-98A4-2DF3DC5CB3EC}"/>
                </a:ext>
              </a:extLst>
            </p:cNvPr>
            <p:cNvSpPr>
              <a:spLocks noChangeArrowheads="1"/>
            </p:cNvSpPr>
            <p:nvPr/>
          </p:nvSpPr>
          <p:spPr bwMode="auto">
            <a:xfrm>
              <a:off x="10574468" y="3029555"/>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38" name="Freeform 175">
              <a:extLst>
                <a:ext uri="{FF2B5EF4-FFF2-40B4-BE49-F238E27FC236}">
                  <a16:creationId xmlns:a16="http://schemas.microsoft.com/office/drawing/2014/main" id="{6BF45A41-0432-4C3B-9304-BD5B338A2776}"/>
                </a:ext>
              </a:extLst>
            </p:cNvPr>
            <p:cNvSpPr>
              <a:spLocks noChangeArrowheads="1"/>
            </p:cNvSpPr>
            <p:nvPr/>
          </p:nvSpPr>
          <p:spPr bwMode="auto">
            <a:xfrm>
              <a:off x="10585883" y="3018227"/>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39" name="Freeform 176">
              <a:extLst>
                <a:ext uri="{FF2B5EF4-FFF2-40B4-BE49-F238E27FC236}">
                  <a16:creationId xmlns:a16="http://schemas.microsoft.com/office/drawing/2014/main" id="{98F120BA-3BAC-474E-A0EE-94396BF221E2}"/>
                </a:ext>
              </a:extLst>
            </p:cNvPr>
            <p:cNvSpPr>
              <a:spLocks noChangeArrowheads="1"/>
            </p:cNvSpPr>
            <p:nvPr/>
          </p:nvSpPr>
          <p:spPr bwMode="auto">
            <a:xfrm>
              <a:off x="10553266" y="3040883"/>
              <a:ext cx="11416" cy="1618"/>
            </a:xfrm>
            <a:custGeom>
              <a:avLst/>
              <a:gdLst>
                <a:gd name="T0" fmla="*/ 30 w 31"/>
                <a:gd name="T1" fmla="*/ 0 h 1"/>
                <a:gd name="T2" fmla="*/ 30 w 31"/>
                <a:gd name="T3" fmla="*/ 0 h 1"/>
                <a:gd name="T4" fmla="*/ 0 w 31"/>
                <a:gd name="T5" fmla="*/ 0 h 1"/>
                <a:gd name="T6" fmla="*/ 0 w 31"/>
                <a:gd name="T7" fmla="*/ 0 h 1"/>
                <a:gd name="T8" fmla="*/ 0 w 31"/>
                <a:gd name="T9" fmla="*/ 0 h 1"/>
                <a:gd name="T10" fmla="*/ 0 w 31"/>
                <a:gd name="T11" fmla="*/ 0 h 1"/>
                <a:gd name="T12" fmla="*/ 30 w 3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1" h="1">
                  <a:moveTo>
                    <a:pt x="30" y="0"/>
                  </a:moveTo>
                  <a:lnTo>
                    <a:pt x="30" y="0"/>
                  </a:lnTo>
                  <a:lnTo>
                    <a:pt x="0" y="0"/>
                  </a:lnTo>
                  <a:lnTo>
                    <a:pt x="0" y="0"/>
                  </a:lnTo>
                  <a:lnTo>
                    <a:pt x="0" y="0"/>
                  </a:lnTo>
                  <a:lnTo>
                    <a:pt x="0" y="0"/>
                  </a:lnTo>
                  <a:lnTo>
                    <a:pt x="3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0" name="Freeform 177">
              <a:extLst>
                <a:ext uri="{FF2B5EF4-FFF2-40B4-BE49-F238E27FC236}">
                  <a16:creationId xmlns:a16="http://schemas.microsoft.com/office/drawing/2014/main" id="{9DCDFEFB-55B1-44AC-9C3F-36DF2DAA333D}"/>
                </a:ext>
              </a:extLst>
            </p:cNvPr>
            <p:cNvSpPr>
              <a:spLocks noChangeArrowheads="1"/>
            </p:cNvSpPr>
            <p:nvPr/>
          </p:nvSpPr>
          <p:spPr bwMode="auto">
            <a:xfrm>
              <a:off x="7782460" y="3029555"/>
              <a:ext cx="937736" cy="781649"/>
            </a:xfrm>
            <a:custGeom>
              <a:avLst/>
              <a:gdLst>
                <a:gd name="T0" fmla="*/ 2361 w 2537"/>
                <a:gd name="T1" fmla="*/ 2013 h 2130"/>
                <a:gd name="T2" fmla="*/ 2391 w 2537"/>
                <a:gd name="T3" fmla="*/ 1896 h 2130"/>
                <a:gd name="T4" fmla="*/ 2420 w 2537"/>
                <a:gd name="T5" fmla="*/ 1896 h 2130"/>
                <a:gd name="T6" fmla="*/ 2536 w 2537"/>
                <a:gd name="T7" fmla="*/ 1808 h 2130"/>
                <a:gd name="T8" fmla="*/ 2332 w 2537"/>
                <a:gd name="T9" fmla="*/ 1546 h 2130"/>
                <a:gd name="T10" fmla="*/ 2361 w 2537"/>
                <a:gd name="T11" fmla="*/ 1487 h 2130"/>
                <a:gd name="T12" fmla="*/ 2215 w 2537"/>
                <a:gd name="T13" fmla="*/ 1313 h 2130"/>
                <a:gd name="T14" fmla="*/ 2157 w 2537"/>
                <a:gd name="T15" fmla="*/ 1254 h 2130"/>
                <a:gd name="T16" fmla="*/ 2099 w 2537"/>
                <a:gd name="T17" fmla="*/ 1196 h 2130"/>
                <a:gd name="T18" fmla="*/ 2041 w 2537"/>
                <a:gd name="T19" fmla="*/ 1021 h 2130"/>
                <a:gd name="T20" fmla="*/ 2070 w 2537"/>
                <a:gd name="T21" fmla="*/ 904 h 2130"/>
                <a:gd name="T22" fmla="*/ 1865 w 2537"/>
                <a:gd name="T23" fmla="*/ 787 h 2130"/>
                <a:gd name="T24" fmla="*/ 1836 w 2537"/>
                <a:gd name="T25" fmla="*/ 671 h 2130"/>
                <a:gd name="T26" fmla="*/ 1632 w 2537"/>
                <a:gd name="T27" fmla="*/ 496 h 2130"/>
                <a:gd name="T28" fmla="*/ 1574 w 2537"/>
                <a:gd name="T29" fmla="*/ 467 h 2130"/>
                <a:gd name="T30" fmla="*/ 1544 w 2537"/>
                <a:gd name="T31" fmla="*/ 351 h 2130"/>
                <a:gd name="T32" fmla="*/ 1544 w 2537"/>
                <a:gd name="T33" fmla="*/ 175 h 2130"/>
                <a:gd name="T34" fmla="*/ 1486 w 2537"/>
                <a:gd name="T35" fmla="*/ 87 h 2130"/>
                <a:gd name="T36" fmla="*/ 1370 w 2537"/>
                <a:gd name="T37" fmla="*/ 0 h 2130"/>
                <a:gd name="T38" fmla="*/ 1224 w 2537"/>
                <a:gd name="T39" fmla="*/ 0 h 2130"/>
                <a:gd name="T40" fmla="*/ 0 w 2537"/>
                <a:gd name="T41" fmla="*/ 30 h 2130"/>
                <a:gd name="T42" fmla="*/ 0 w 2537"/>
                <a:gd name="T43" fmla="*/ 87 h 2130"/>
                <a:gd name="T44" fmla="*/ 59 w 2537"/>
                <a:gd name="T45" fmla="*/ 204 h 2130"/>
                <a:gd name="T46" fmla="*/ 262 w 2537"/>
                <a:gd name="T47" fmla="*/ 408 h 2130"/>
                <a:gd name="T48" fmla="*/ 204 w 2537"/>
                <a:gd name="T49" fmla="*/ 496 h 2130"/>
                <a:gd name="T50" fmla="*/ 262 w 2537"/>
                <a:gd name="T51" fmla="*/ 671 h 2130"/>
                <a:gd name="T52" fmla="*/ 321 w 2537"/>
                <a:gd name="T53" fmla="*/ 817 h 2130"/>
                <a:gd name="T54" fmla="*/ 321 w 2537"/>
                <a:gd name="T55" fmla="*/ 1517 h 2130"/>
                <a:gd name="T56" fmla="*/ 1661 w 2537"/>
                <a:gd name="T57" fmla="*/ 1983 h 2130"/>
                <a:gd name="T58" fmla="*/ 2157 w 2537"/>
                <a:gd name="T59" fmla="*/ 1954 h 2130"/>
                <a:gd name="T60" fmla="*/ 2186 w 2537"/>
                <a:gd name="T61" fmla="*/ 2013 h 2130"/>
                <a:gd name="T62" fmla="*/ 2186 w 2537"/>
                <a:gd name="T63" fmla="*/ 2042 h 2130"/>
                <a:gd name="T64" fmla="*/ 2186 w 2537"/>
                <a:gd name="T65" fmla="*/ 2129 h 2130"/>
                <a:gd name="T66" fmla="*/ 2303 w 2537"/>
                <a:gd name="T67" fmla="*/ 2129 h 2130"/>
                <a:gd name="T68" fmla="*/ 2361 w 2537"/>
                <a:gd name="T69" fmla="*/ 2013 h 2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37" h="2130">
                  <a:moveTo>
                    <a:pt x="2361" y="2013"/>
                  </a:moveTo>
                  <a:lnTo>
                    <a:pt x="2361" y="2013"/>
                  </a:lnTo>
                  <a:cubicBezTo>
                    <a:pt x="2361" y="1983"/>
                    <a:pt x="2361" y="1925"/>
                    <a:pt x="2391" y="1896"/>
                  </a:cubicBezTo>
                  <a:lnTo>
                    <a:pt x="2391" y="1896"/>
                  </a:lnTo>
                  <a:cubicBezTo>
                    <a:pt x="2420" y="1896"/>
                    <a:pt x="2420" y="1896"/>
                    <a:pt x="2420" y="1896"/>
                  </a:cubicBezTo>
                  <a:lnTo>
                    <a:pt x="2420" y="1896"/>
                  </a:lnTo>
                  <a:cubicBezTo>
                    <a:pt x="2478" y="1896"/>
                    <a:pt x="2507" y="1867"/>
                    <a:pt x="2536" y="1867"/>
                  </a:cubicBezTo>
                  <a:cubicBezTo>
                    <a:pt x="2536" y="1837"/>
                    <a:pt x="2536" y="1837"/>
                    <a:pt x="2536" y="1808"/>
                  </a:cubicBezTo>
                  <a:cubicBezTo>
                    <a:pt x="2536" y="1779"/>
                    <a:pt x="2507" y="1751"/>
                    <a:pt x="2478" y="1721"/>
                  </a:cubicBezTo>
                  <a:cubicBezTo>
                    <a:pt x="2420" y="1692"/>
                    <a:pt x="2361" y="1634"/>
                    <a:pt x="2332" y="1546"/>
                  </a:cubicBezTo>
                  <a:lnTo>
                    <a:pt x="2332" y="1517"/>
                  </a:lnTo>
                  <a:cubicBezTo>
                    <a:pt x="2361" y="1487"/>
                    <a:pt x="2361" y="1487"/>
                    <a:pt x="2361" y="1487"/>
                  </a:cubicBezTo>
                  <a:cubicBezTo>
                    <a:pt x="2332" y="1401"/>
                    <a:pt x="2274" y="1342"/>
                    <a:pt x="2215" y="1313"/>
                  </a:cubicBezTo>
                  <a:lnTo>
                    <a:pt x="2215" y="1313"/>
                  </a:lnTo>
                  <a:lnTo>
                    <a:pt x="2215" y="1313"/>
                  </a:lnTo>
                  <a:cubicBezTo>
                    <a:pt x="2186" y="1283"/>
                    <a:pt x="2157" y="1254"/>
                    <a:pt x="2157" y="1254"/>
                  </a:cubicBezTo>
                  <a:cubicBezTo>
                    <a:pt x="2128" y="1225"/>
                    <a:pt x="2128" y="1225"/>
                    <a:pt x="2099" y="1196"/>
                  </a:cubicBezTo>
                  <a:lnTo>
                    <a:pt x="2099" y="1196"/>
                  </a:lnTo>
                  <a:cubicBezTo>
                    <a:pt x="2070" y="1167"/>
                    <a:pt x="2011" y="1108"/>
                    <a:pt x="2011" y="1080"/>
                  </a:cubicBezTo>
                  <a:cubicBezTo>
                    <a:pt x="2011" y="1051"/>
                    <a:pt x="2041" y="1021"/>
                    <a:pt x="2041" y="1021"/>
                  </a:cubicBezTo>
                  <a:cubicBezTo>
                    <a:pt x="2041" y="992"/>
                    <a:pt x="2041" y="992"/>
                    <a:pt x="2070" y="992"/>
                  </a:cubicBezTo>
                  <a:cubicBezTo>
                    <a:pt x="2070" y="963"/>
                    <a:pt x="2070" y="934"/>
                    <a:pt x="2070" y="904"/>
                  </a:cubicBezTo>
                  <a:cubicBezTo>
                    <a:pt x="2070" y="817"/>
                    <a:pt x="2011" y="787"/>
                    <a:pt x="1894" y="787"/>
                  </a:cubicBezTo>
                  <a:cubicBezTo>
                    <a:pt x="1865" y="787"/>
                    <a:pt x="1865" y="787"/>
                    <a:pt x="1865" y="787"/>
                  </a:cubicBezTo>
                  <a:lnTo>
                    <a:pt x="1865" y="787"/>
                  </a:lnTo>
                  <a:cubicBezTo>
                    <a:pt x="1865" y="758"/>
                    <a:pt x="1836" y="701"/>
                    <a:pt x="1836" y="671"/>
                  </a:cubicBezTo>
                  <a:cubicBezTo>
                    <a:pt x="1807" y="642"/>
                    <a:pt x="1778" y="613"/>
                    <a:pt x="1749" y="554"/>
                  </a:cubicBezTo>
                  <a:cubicBezTo>
                    <a:pt x="1691" y="554"/>
                    <a:pt x="1661" y="525"/>
                    <a:pt x="1632" y="496"/>
                  </a:cubicBezTo>
                  <a:lnTo>
                    <a:pt x="1603" y="467"/>
                  </a:lnTo>
                  <a:lnTo>
                    <a:pt x="1574" y="467"/>
                  </a:lnTo>
                  <a:cubicBezTo>
                    <a:pt x="1574" y="437"/>
                    <a:pt x="1544" y="437"/>
                    <a:pt x="1544" y="408"/>
                  </a:cubicBezTo>
                  <a:cubicBezTo>
                    <a:pt x="1544" y="380"/>
                    <a:pt x="1544" y="351"/>
                    <a:pt x="1544" y="351"/>
                  </a:cubicBezTo>
                  <a:cubicBezTo>
                    <a:pt x="1544" y="321"/>
                    <a:pt x="1544" y="321"/>
                    <a:pt x="1544" y="292"/>
                  </a:cubicBezTo>
                  <a:cubicBezTo>
                    <a:pt x="1544" y="263"/>
                    <a:pt x="1544" y="175"/>
                    <a:pt x="1544" y="175"/>
                  </a:cubicBezTo>
                  <a:cubicBezTo>
                    <a:pt x="1544" y="146"/>
                    <a:pt x="1515" y="146"/>
                    <a:pt x="1515" y="146"/>
                  </a:cubicBezTo>
                  <a:cubicBezTo>
                    <a:pt x="1515" y="117"/>
                    <a:pt x="1486" y="117"/>
                    <a:pt x="1486" y="87"/>
                  </a:cubicBezTo>
                  <a:cubicBezTo>
                    <a:pt x="1457" y="87"/>
                    <a:pt x="1428" y="59"/>
                    <a:pt x="1428" y="30"/>
                  </a:cubicBezTo>
                  <a:cubicBezTo>
                    <a:pt x="1399" y="30"/>
                    <a:pt x="1399" y="0"/>
                    <a:pt x="1370" y="0"/>
                  </a:cubicBezTo>
                  <a:cubicBezTo>
                    <a:pt x="1370" y="0"/>
                    <a:pt x="1311" y="0"/>
                    <a:pt x="1282" y="0"/>
                  </a:cubicBezTo>
                  <a:cubicBezTo>
                    <a:pt x="1253" y="0"/>
                    <a:pt x="1253" y="0"/>
                    <a:pt x="1224" y="0"/>
                  </a:cubicBezTo>
                  <a:cubicBezTo>
                    <a:pt x="903" y="0"/>
                    <a:pt x="437" y="30"/>
                    <a:pt x="87" y="30"/>
                  </a:cubicBezTo>
                  <a:cubicBezTo>
                    <a:pt x="0" y="30"/>
                    <a:pt x="0" y="30"/>
                    <a:pt x="0" y="30"/>
                  </a:cubicBezTo>
                  <a:lnTo>
                    <a:pt x="0" y="59"/>
                  </a:lnTo>
                  <a:lnTo>
                    <a:pt x="0" y="87"/>
                  </a:lnTo>
                  <a:cubicBezTo>
                    <a:pt x="29" y="117"/>
                    <a:pt x="29" y="146"/>
                    <a:pt x="29" y="146"/>
                  </a:cubicBezTo>
                  <a:cubicBezTo>
                    <a:pt x="29" y="175"/>
                    <a:pt x="29" y="204"/>
                    <a:pt x="59" y="204"/>
                  </a:cubicBezTo>
                  <a:cubicBezTo>
                    <a:pt x="59" y="234"/>
                    <a:pt x="116" y="263"/>
                    <a:pt x="145" y="292"/>
                  </a:cubicBezTo>
                  <a:cubicBezTo>
                    <a:pt x="204" y="292"/>
                    <a:pt x="262" y="321"/>
                    <a:pt x="262" y="408"/>
                  </a:cubicBezTo>
                  <a:cubicBezTo>
                    <a:pt x="262" y="437"/>
                    <a:pt x="233" y="437"/>
                    <a:pt x="233" y="467"/>
                  </a:cubicBezTo>
                  <a:lnTo>
                    <a:pt x="204" y="496"/>
                  </a:lnTo>
                  <a:cubicBezTo>
                    <a:pt x="204" y="554"/>
                    <a:pt x="204" y="613"/>
                    <a:pt x="233" y="642"/>
                  </a:cubicBezTo>
                  <a:cubicBezTo>
                    <a:pt x="233" y="642"/>
                    <a:pt x="262" y="642"/>
                    <a:pt x="262" y="671"/>
                  </a:cubicBezTo>
                  <a:cubicBezTo>
                    <a:pt x="292" y="671"/>
                    <a:pt x="292" y="701"/>
                    <a:pt x="321" y="701"/>
                  </a:cubicBezTo>
                  <a:cubicBezTo>
                    <a:pt x="321" y="730"/>
                    <a:pt x="321" y="758"/>
                    <a:pt x="321" y="817"/>
                  </a:cubicBezTo>
                  <a:lnTo>
                    <a:pt x="321" y="846"/>
                  </a:lnTo>
                  <a:cubicBezTo>
                    <a:pt x="321" y="1080"/>
                    <a:pt x="321" y="1313"/>
                    <a:pt x="321" y="1517"/>
                  </a:cubicBezTo>
                  <a:cubicBezTo>
                    <a:pt x="321" y="1692"/>
                    <a:pt x="321" y="1837"/>
                    <a:pt x="350" y="2013"/>
                  </a:cubicBezTo>
                  <a:cubicBezTo>
                    <a:pt x="757" y="2013"/>
                    <a:pt x="1224" y="1983"/>
                    <a:pt x="1661" y="1983"/>
                  </a:cubicBezTo>
                  <a:cubicBezTo>
                    <a:pt x="1807" y="1954"/>
                    <a:pt x="1982" y="1954"/>
                    <a:pt x="2128" y="1954"/>
                  </a:cubicBezTo>
                  <a:cubicBezTo>
                    <a:pt x="2157" y="1954"/>
                    <a:pt x="2157" y="1954"/>
                    <a:pt x="2157" y="1954"/>
                  </a:cubicBezTo>
                  <a:cubicBezTo>
                    <a:pt x="2157" y="1983"/>
                    <a:pt x="2157" y="1983"/>
                    <a:pt x="2157" y="1983"/>
                  </a:cubicBezTo>
                  <a:cubicBezTo>
                    <a:pt x="2157" y="1983"/>
                    <a:pt x="2157" y="2013"/>
                    <a:pt x="2186" y="2013"/>
                  </a:cubicBezTo>
                  <a:lnTo>
                    <a:pt x="2186" y="2042"/>
                  </a:lnTo>
                  <a:lnTo>
                    <a:pt x="2186" y="2042"/>
                  </a:lnTo>
                  <a:lnTo>
                    <a:pt x="2186" y="2042"/>
                  </a:lnTo>
                  <a:cubicBezTo>
                    <a:pt x="2186" y="2071"/>
                    <a:pt x="2186" y="2101"/>
                    <a:pt x="2186" y="2129"/>
                  </a:cubicBezTo>
                  <a:cubicBezTo>
                    <a:pt x="2186" y="2129"/>
                    <a:pt x="2186" y="2129"/>
                    <a:pt x="2215" y="2129"/>
                  </a:cubicBezTo>
                  <a:cubicBezTo>
                    <a:pt x="2244" y="2129"/>
                    <a:pt x="2274" y="2129"/>
                    <a:pt x="2303" y="2129"/>
                  </a:cubicBezTo>
                  <a:cubicBezTo>
                    <a:pt x="2332" y="2129"/>
                    <a:pt x="2332" y="2129"/>
                    <a:pt x="2332" y="2129"/>
                  </a:cubicBezTo>
                  <a:cubicBezTo>
                    <a:pt x="2361" y="2101"/>
                    <a:pt x="2361" y="2042"/>
                    <a:pt x="2361" y="201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1" name="Freeform 178">
              <a:extLst>
                <a:ext uri="{FF2B5EF4-FFF2-40B4-BE49-F238E27FC236}">
                  <a16:creationId xmlns:a16="http://schemas.microsoft.com/office/drawing/2014/main" id="{B5A80C62-4CF1-4AF0-BCE1-549B380798E8}"/>
                </a:ext>
              </a:extLst>
            </p:cNvPr>
            <p:cNvSpPr>
              <a:spLocks noChangeArrowheads="1"/>
            </p:cNvSpPr>
            <p:nvPr/>
          </p:nvSpPr>
          <p:spPr bwMode="auto">
            <a:xfrm>
              <a:off x="8827832" y="2108731"/>
              <a:ext cx="11416" cy="43694"/>
            </a:xfrm>
            <a:custGeom>
              <a:avLst/>
              <a:gdLst>
                <a:gd name="T0" fmla="*/ 0 w 31"/>
                <a:gd name="T1" fmla="*/ 117 h 118"/>
                <a:gd name="T2" fmla="*/ 0 w 31"/>
                <a:gd name="T3" fmla="*/ 117 h 118"/>
                <a:gd name="T4" fmla="*/ 0 w 31"/>
                <a:gd name="T5" fmla="*/ 59 h 118"/>
                <a:gd name="T6" fmla="*/ 30 w 31"/>
                <a:gd name="T7" fmla="*/ 0 h 118"/>
                <a:gd name="T8" fmla="*/ 0 w 31"/>
                <a:gd name="T9" fmla="*/ 59 h 118"/>
                <a:gd name="T10" fmla="*/ 0 w 31"/>
                <a:gd name="T11" fmla="*/ 117 h 118"/>
              </a:gdLst>
              <a:ahLst/>
              <a:cxnLst>
                <a:cxn ang="0">
                  <a:pos x="T0" y="T1"/>
                </a:cxn>
                <a:cxn ang="0">
                  <a:pos x="T2" y="T3"/>
                </a:cxn>
                <a:cxn ang="0">
                  <a:pos x="T4" y="T5"/>
                </a:cxn>
                <a:cxn ang="0">
                  <a:pos x="T6" y="T7"/>
                </a:cxn>
                <a:cxn ang="0">
                  <a:pos x="T8" y="T9"/>
                </a:cxn>
                <a:cxn ang="0">
                  <a:pos x="T10" y="T11"/>
                </a:cxn>
              </a:cxnLst>
              <a:rect l="0" t="0" r="r" b="b"/>
              <a:pathLst>
                <a:path w="31" h="118">
                  <a:moveTo>
                    <a:pt x="0" y="117"/>
                  </a:moveTo>
                  <a:lnTo>
                    <a:pt x="0" y="117"/>
                  </a:lnTo>
                  <a:cubicBezTo>
                    <a:pt x="0" y="88"/>
                    <a:pt x="0" y="88"/>
                    <a:pt x="0" y="59"/>
                  </a:cubicBezTo>
                  <a:cubicBezTo>
                    <a:pt x="0" y="29"/>
                    <a:pt x="0" y="0"/>
                    <a:pt x="30" y="0"/>
                  </a:cubicBezTo>
                  <a:cubicBezTo>
                    <a:pt x="0" y="0"/>
                    <a:pt x="0" y="29"/>
                    <a:pt x="0" y="59"/>
                  </a:cubicBezTo>
                  <a:cubicBezTo>
                    <a:pt x="0" y="88"/>
                    <a:pt x="0" y="88"/>
                    <a:pt x="0"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2" name="Freeform 179">
              <a:extLst>
                <a:ext uri="{FF2B5EF4-FFF2-40B4-BE49-F238E27FC236}">
                  <a16:creationId xmlns:a16="http://schemas.microsoft.com/office/drawing/2014/main" id="{D2078B6B-3470-4F58-80E5-1BC3532E85E6}"/>
                </a:ext>
              </a:extLst>
            </p:cNvPr>
            <p:cNvSpPr>
              <a:spLocks noChangeArrowheads="1"/>
            </p:cNvSpPr>
            <p:nvPr/>
          </p:nvSpPr>
          <p:spPr bwMode="auto">
            <a:xfrm>
              <a:off x="5021438" y="2484181"/>
              <a:ext cx="841516" cy="1016305"/>
            </a:xfrm>
            <a:custGeom>
              <a:avLst/>
              <a:gdLst>
                <a:gd name="T0" fmla="*/ 1983 w 2276"/>
                <a:gd name="T1" fmla="*/ 2770 h 2771"/>
                <a:gd name="T2" fmla="*/ 1983 w 2276"/>
                <a:gd name="T3" fmla="*/ 2770 h 2771"/>
                <a:gd name="T4" fmla="*/ 2275 w 2276"/>
                <a:gd name="T5" fmla="*/ 846 h 2771"/>
                <a:gd name="T6" fmla="*/ 1954 w 2276"/>
                <a:gd name="T7" fmla="*/ 788 h 2771"/>
                <a:gd name="T8" fmla="*/ 1516 w 2276"/>
                <a:gd name="T9" fmla="*/ 700 h 2771"/>
                <a:gd name="T10" fmla="*/ 1516 w 2276"/>
                <a:gd name="T11" fmla="*/ 700 h 2771"/>
                <a:gd name="T12" fmla="*/ 1516 w 2276"/>
                <a:gd name="T13" fmla="*/ 700 h 2771"/>
                <a:gd name="T14" fmla="*/ 1545 w 2276"/>
                <a:gd name="T15" fmla="*/ 467 h 2771"/>
                <a:gd name="T16" fmla="*/ 1604 w 2276"/>
                <a:gd name="T17" fmla="*/ 233 h 2771"/>
                <a:gd name="T18" fmla="*/ 1283 w 2276"/>
                <a:gd name="T19" fmla="*/ 175 h 2771"/>
                <a:gd name="T20" fmla="*/ 554 w 2276"/>
                <a:gd name="T21" fmla="*/ 0 h 2771"/>
                <a:gd name="T22" fmla="*/ 0 w 2276"/>
                <a:gd name="T23" fmla="*/ 2421 h 2771"/>
                <a:gd name="T24" fmla="*/ 1778 w 2276"/>
                <a:gd name="T25" fmla="*/ 2741 h 2771"/>
                <a:gd name="T26" fmla="*/ 1983 w 2276"/>
                <a:gd name="T27" fmla="*/ 2770 h 2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76" h="2771">
                  <a:moveTo>
                    <a:pt x="1983" y="2770"/>
                  </a:moveTo>
                  <a:lnTo>
                    <a:pt x="1983" y="2770"/>
                  </a:lnTo>
                  <a:cubicBezTo>
                    <a:pt x="2071" y="2158"/>
                    <a:pt x="2158" y="1546"/>
                    <a:pt x="2275" y="846"/>
                  </a:cubicBezTo>
                  <a:cubicBezTo>
                    <a:pt x="2158" y="817"/>
                    <a:pt x="2071" y="817"/>
                    <a:pt x="1954" y="788"/>
                  </a:cubicBezTo>
                  <a:cubicBezTo>
                    <a:pt x="1808" y="758"/>
                    <a:pt x="1662" y="758"/>
                    <a:pt x="1516" y="700"/>
                  </a:cubicBezTo>
                  <a:lnTo>
                    <a:pt x="1516" y="700"/>
                  </a:lnTo>
                  <a:lnTo>
                    <a:pt x="1516" y="700"/>
                  </a:lnTo>
                  <a:cubicBezTo>
                    <a:pt x="1545" y="612"/>
                    <a:pt x="1545" y="524"/>
                    <a:pt x="1545" y="467"/>
                  </a:cubicBezTo>
                  <a:cubicBezTo>
                    <a:pt x="1575" y="379"/>
                    <a:pt x="1604" y="291"/>
                    <a:pt x="1604" y="233"/>
                  </a:cubicBezTo>
                  <a:cubicBezTo>
                    <a:pt x="1283" y="175"/>
                    <a:pt x="1283" y="175"/>
                    <a:pt x="1283" y="175"/>
                  </a:cubicBezTo>
                  <a:cubicBezTo>
                    <a:pt x="1021" y="117"/>
                    <a:pt x="787" y="58"/>
                    <a:pt x="554" y="0"/>
                  </a:cubicBezTo>
                  <a:cubicBezTo>
                    <a:pt x="350" y="817"/>
                    <a:pt x="175" y="1633"/>
                    <a:pt x="0" y="2421"/>
                  </a:cubicBezTo>
                  <a:cubicBezTo>
                    <a:pt x="583" y="2538"/>
                    <a:pt x="1195" y="2654"/>
                    <a:pt x="1778" y="2741"/>
                  </a:cubicBezTo>
                  <a:lnTo>
                    <a:pt x="1983" y="277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3" name="Freeform 180">
              <a:extLst>
                <a:ext uri="{FF2B5EF4-FFF2-40B4-BE49-F238E27FC236}">
                  <a16:creationId xmlns:a16="http://schemas.microsoft.com/office/drawing/2014/main" id="{0A3F5EEE-771E-43CB-B3D8-4C178E97C044}"/>
                </a:ext>
              </a:extLst>
            </p:cNvPr>
            <p:cNvSpPr>
              <a:spLocks noChangeArrowheads="1"/>
            </p:cNvSpPr>
            <p:nvPr/>
          </p:nvSpPr>
          <p:spPr bwMode="auto">
            <a:xfrm>
              <a:off x="9140954" y="1959846"/>
              <a:ext cx="11416" cy="21038"/>
            </a:xfrm>
            <a:custGeom>
              <a:avLst/>
              <a:gdLst>
                <a:gd name="T0" fmla="*/ 29 w 30"/>
                <a:gd name="T1" fmla="*/ 0 h 59"/>
                <a:gd name="T2" fmla="*/ 29 w 30"/>
                <a:gd name="T3" fmla="*/ 0 h 59"/>
                <a:gd name="T4" fmla="*/ 29 w 30"/>
                <a:gd name="T5" fmla="*/ 29 h 59"/>
                <a:gd name="T6" fmla="*/ 29 w 30"/>
                <a:gd name="T7" fmla="*/ 58 h 59"/>
                <a:gd name="T8" fmla="*/ 29 w 30"/>
                <a:gd name="T9" fmla="*/ 29 h 59"/>
                <a:gd name="T10" fmla="*/ 29 w 30"/>
                <a:gd name="T11" fmla="*/ 0 h 59"/>
                <a:gd name="T12" fmla="*/ 0 w 30"/>
                <a:gd name="T13" fmla="*/ 0 h 59"/>
                <a:gd name="T14" fmla="*/ 29 w 30"/>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59">
                  <a:moveTo>
                    <a:pt x="29" y="0"/>
                  </a:moveTo>
                  <a:lnTo>
                    <a:pt x="29" y="0"/>
                  </a:lnTo>
                  <a:cubicBezTo>
                    <a:pt x="29" y="29"/>
                    <a:pt x="29" y="29"/>
                    <a:pt x="29" y="29"/>
                  </a:cubicBezTo>
                  <a:lnTo>
                    <a:pt x="29" y="58"/>
                  </a:lnTo>
                  <a:lnTo>
                    <a:pt x="29" y="29"/>
                  </a:lnTo>
                  <a:cubicBezTo>
                    <a:pt x="29" y="29"/>
                    <a:pt x="29" y="29"/>
                    <a:pt x="29" y="0"/>
                  </a:cubicBezTo>
                  <a:cubicBezTo>
                    <a:pt x="29" y="0"/>
                    <a:pt x="29" y="0"/>
                    <a:pt x="0" y="0"/>
                  </a:cubicBezTo>
                  <a:cubicBezTo>
                    <a:pt x="29"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4" name="Freeform 181">
              <a:extLst>
                <a:ext uri="{FF2B5EF4-FFF2-40B4-BE49-F238E27FC236}">
                  <a16:creationId xmlns:a16="http://schemas.microsoft.com/office/drawing/2014/main" id="{EC74964E-AB8D-44E5-8875-356784EB2A04}"/>
                </a:ext>
              </a:extLst>
            </p:cNvPr>
            <p:cNvSpPr>
              <a:spLocks noChangeArrowheads="1"/>
            </p:cNvSpPr>
            <p:nvPr/>
          </p:nvSpPr>
          <p:spPr bwMode="auto">
            <a:xfrm>
              <a:off x="9064305" y="1937189"/>
              <a:ext cx="44032" cy="11328"/>
            </a:xfrm>
            <a:custGeom>
              <a:avLst/>
              <a:gdLst>
                <a:gd name="T0" fmla="*/ 0 w 117"/>
                <a:gd name="T1" fmla="*/ 0 h 30"/>
                <a:gd name="T2" fmla="*/ 0 w 117"/>
                <a:gd name="T3" fmla="*/ 0 h 30"/>
                <a:gd name="T4" fmla="*/ 57 w 117"/>
                <a:gd name="T5" fmla="*/ 0 h 30"/>
                <a:gd name="T6" fmla="*/ 116 w 117"/>
                <a:gd name="T7" fmla="*/ 29 h 30"/>
                <a:gd name="T8" fmla="*/ 57 w 117"/>
                <a:gd name="T9" fmla="*/ 0 h 30"/>
                <a:gd name="T10" fmla="*/ 0 w 117"/>
                <a:gd name="T11" fmla="*/ 0 h 30"/>
              </a:gdLst>
              <a:ahLst/>
              <a:cxnLst>
                <a:cxn ang="0">
                  <a:pos x="T0" y="T1"/>
                </a:cxn>
                <a:cxn ang="0">
                  <a:pos x="T2" y="T3"/>
                </a:cxn>
                <a:cxn ang="0">
                  <a:pos x="T4" y="T5"/>
                </a:cxn>
                <a:cxn ang="0">
                  <a:pos x="T6" y="T7"/>
                </a:cxn>
                <a:cxn ang="0">
                  <a:pos x="T8" y="T9"/>
                </a:cxn>
                <a:cxn ang="0">
                  <a:pos x="T10" y="T11"/>
                </a:cxn>
              </a:cxnLst>
              <a:rect l="0" t="0" r="r" b="b"/>
              <a:pathLst>
                <a:path w="117" h="30">
                  <a:moveTo>
                    <a:pt x="0" y="0"/>
                  </a:moveTo>
                  <a:lnTo>
                    <a:pt x="0" y="0"/>
                  </a:lnTo>
                  <a:cubicBezTo>
                    <a:pt x="28" y="0"/>
                    <a:pt x="28" y="0"/>
                    <a:pt x="57" y="0"/>
                  </a:cubicBezTo>
                  <a:cubicBezTo>
                    <a:pt x="87" y="0"/>
                    <a:pt x="87" y="0"/>
                    <a:pt x="116" y="29"/>
                  </a:cubicBezTo>
                  <a:cubicBezTo>
                    <a:pt x="87" y="0"/>
                    <a:pt x="87" y="0"/>
                    <a:pt x="57" y="0"/>
                  </a:cubicBezTo>
                  <a:cubicBezTo>
                    <a:pt x="28" y="0"/>
                    <a:pt x="28"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5" name="Freeform 182">
              <a:extLst>
                <a:ext uri="{FF2B5EF4-FFF2-40B4-BE49-F238E27FC236}">
                  <a16:creationId xmlns:a16="http://schemas.microsoft.com/office/drawing/2014/main" id="{A0F9D420-74F5-41B8-B0D7-ECDA5ED57784}"/>
                </a:ext>
              </a:extLst>
            </p:cNvPr>
            <p:cNvSpPr>
              <a:spLocks noChangeArrowheads="1"/>
            </p:cNvSpPr>
            <p:nvPr/>
          </p:nvSpPr>
          <p:spPr bwMode="auto">
            <a:xfrm>
              <a:off x="9096922" y="2108731"/>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6" name="Freeform 183">
              <a:extLst>
                <a:ext uri="{FF2B5EF4-FFF2-40B4-BE49-F238E27FC236}">
                  <a16:creationId xmlns:a16="http://schemas.microsoft.com/office/drawing/2014/main" id="{9491513E-8E5B-4B84-BB8F-224B1678F155}"/>
                </a:ext>
              </a:extLst>
            </p:cNvPr>
            <p:cNvSpPr>
              <a:spLocks noChangeArrowheads="1"/>
            </p:cNvSpPr>
            <p:nvPr/>
          </p:nvSpPr>
          <p:spPr bwMode="auto">
            <a:xfrm>
              <a:off x="8968084" y="1980883"/>
              <a:ext cx="32617" cy="11329"/>
            </a:xfrm>
            <a:custGeom>
              <a:avLst/>
              <a:gdLst>
                <a:gd name="T0" fmla="*/ 0 w 88"/>
                <a:gd name="T1" fmla="*/ 29 h 30"/>
                <a:gd name="T2" fmla="*/ 0 w 88"/>
                <a:gd name="T3" fmla="*/ 29 h 30"/>
                <a:gd name="T4" fmla="*/ 0 w 88"/>
                <a:gd name="T5" fmla="*/ 29 h 30"/>
                <a:gd name="T6" fmla="*/ 87 w 88"/>
                <a:gd name="T7" fmla="*/ 0 h 30"/>
                <a:gd name="T8" fmla="*/ 0 w 88"/>
                <a:gd name="T9" fmla="*/ 29 h 30"/>
              </a:gdLst>
              <a:ahLst/>
              <a:cxnLst>
                <a:cxn ang="0">
                  <a:pos x="T0" y="T1"/>
                </a:cxn>
                <a:cxn ang="0">
                  <a:pos x="T2" y="T3"/>
                </a:cxn>
                <a:cxn ang="0">
                  <a:pos x="T4" y="T5"/>
                </a:cxn>
                <a:cxn ang="0">
                  <a:pos x="T6" y="T7"/>
                </a:cxn>
                <a:cxn ang="0">
                  <a:pos x="T8" y="T9"/>
                </a:cxn>
              </a:cxnLst>
              <a:rect l="0" t="0" r="r" b="b"/>
              <a:pathLst>
                <a:path w="88" h="30">
                  <a:moveTo>
                    <a:pt x="0" y="29"/>
                  </a:moveTo>
                  <a:lnTo>
                    <a:pt x="0" y="29"/>
                  </a:lnTo>
                  <a:lnTo>
                    <a:pt x="0" y="29"/>
                  </a:lnTo>
                  <a:cubicBezTo>
                    <a:pt x="29" y="29"/>
                    <a:pt x="58" y="0"/>
                    <a:pt x="87" y="0"/>
                  </a:cubicBezTo>
                  <a:cubicBezTo>
                    <a:pt x="58" y="0"/>
                    <a:pt x="29"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7" name="Freeform 184">
              <a:extLst>
                <a:ext uri="{FF2B5EF4-FFF2-40B4-BE49-F238E27FC236}">
                  <a16:creationId xmlns:a16="http://schemas.microsoft.com/office/drawing/2014/main" id="{E473C724-D2CA-4967-96A3-32CE3B5CEB24}"/>
                </a:ext>
              </a:extLst>
            </p:cNvPr>
            <p:cNvSpPr>
              <a:spLocks noChangeArrowheads="1"/>
            </p:cNvSpPr>
            <p:nvPr/>
          </p:nvSpPr>
          <p:spPr bwMode="auto">
            <a:xfrm>
              <a:off x="9171941" y="1990593"/>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8" name="Freeform 185">
              <a:extLst>
                <a:ext uri="{FF2B5EF4-FFF2-40B4-BE49-F238E27FC236}">
                  <a16:creationId xmlns:a16="http://schemas.microsoft.com/office/drawing/2014/main" id="{4BD56716-CC80-4792-94E4-7AB90847C277}"/>
                </a:ext>
              </a:extLst>
            </p:cNvPr>
            <p:cNvSpPr>
              <a:spLocks noChangeArrowheads="1"/>
            </p:cNvSpPr>
            <p:nvPr/>
          </p:nvSpPr>
          <p:spPr bwMode="auto">
            <a:xfrm>
              <a:off x="9162156" y="1990593"/>
              <a:ext cx="1630" cy="11329"/>
            </a:xfrm>
            <a:custGeom>
              <a:avLst/>
              <a:gdLst>
                <a:gd name="T0" fmla="*/ 0 w 1"/>
                <a:gd name="T1" fmla="*/ 0 h 31"/>
                <a:gd name="T2" fmla="*/ 0 w 1"/>
                <a:gd name="T3" fmla="*/ 30 h 31"/>
                <a:gd name="T4" fmla="*/ 0 w 1"/>
                <a:gd name="T5" fmla="*/ 30 h 31"/>
                <a:gd name="T6" fmla="*/ 0 w 1"/>
                <a:gd name="T7" fmla="*/ 0 h 31"/>
              </a:gdLst>
              <a:ahLst/>
              <a:cxnLst>
                <a:cxn ang="0">
                  <a:pos x="T0" y="T1"/>
                </a:cxn>
                <a:cxn ang="0">
                  <a:pos x="T2" y="T3"/>
                </a:cxn>
                <a:cxn ang="0">
                  <a:pos x="T4" y="T5"/>
                </a:cxn>
                <a:cxn ang="0">
                  <a:pos x="T6" y="T7"/>
                </a:cxn>
              </a:cxnLst>
              <a:rect l="0" t="0" r="r" b="b"/>
              <a:pathLst>
                <a:path w="1" h="31">
                  <a:moveTo>
                    <a:pt x="0" y="0"/>
                  </a:moveTo>
                  <a:lnTo>
                    <a:pt x="0" y="30"/>
                  </a:lnTo>
                  <a:lnTo>
                    <a:pt x="0" y="3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9" name="Freeform 186">
              <a:extLst>
                <a:ext uri="{FF2B5EF4-FFF2-40B4-BE49-F238E27FC236}">
                  <a16:creationId xmlns:a16="http://schemas.microsoft.com/office/drawing/2014/main" id="{D435F392-4CBD-49AC-9F17-859998665C4F}"/>
                </a:ext>
              </a:extLst>
            </p:cNvPr>
            <p:cNvSpPr>
              <a:spLocks noChangeArrowheads="1"/>
            </p:cNvSpPr>
            <p:nvPr/>
          </p:nvSpPr>
          <p:spPr bwMode="auto">
            <a:xfrm>
              <a:off x="9162156" y="1969555"/>
              <a:ext cx="1630" cy="11328"/>
            </a:xfrm>
            <a:custGeom>
              <a:avLst/>
              <a:gdLst>
                <a:gd name="T0" fmla="*/ 0 w 1"/>
                <a:gd name="T1" fmla="*/ 0 h 30"/>
                <a:gd name="T2" fmla="*/ 0 w 1"/>
                <a:gd name="T3" fmla="*/ 0 h 30"/>
                <a:gd name="T4" fmla="*/ 0 w 1"/>
                <a:gd name="T5" fmla="*/ 29 h 30"/>
                <a:gd name="T6" fmla="*/ 0 w 1"/>
                <a:gd name="T7" fmla="*/ 29 h 30"/>
                <a:gd name="T8" fmla="*/ 0 w 1"/>
                <a:gd name="T9" fmla="*/ 0 h 30"/>
              </a:gdLst>
              <a:ahLst/>
              <a:cxnLst>
                <a:cxn ang="0">
                  <a:pos x="T0" y="T1"/>
                </a:cxn>
                <a:cxn ang="0">
                  <a:pos x="T2" y="T3"/>
                </a:cxn>
                <a:cxn ang="0">
                  <a:pos x="T4" y="T5"/>
                </a:cxn>
                <a:cxn ang="0">
                  <a:pos x="T6" y="T7"/>
                </a:cxn>
                <a:cxn ang="0">
                  <a:pos x="T8" y="T9"/>
                </a:cxn>
              </a:cxnLst>
              <a:rect l="0" t="0" r="r" b="b"/>
              <a:pathLst>
                <a:path w="1" h="30">
                  <a:moveTo>
                    <a:pt x="0" y="0"/>
                  </a:moveTo>
                  <a:lnTo>
                    <a:pt x="0" y="0"/>
                  </a:lnTo>
                  <a:cubicBezTo>
                    <a:pt x="0" y="29"/>
                    <a:pt x="0" y="29"/>
                    <a:pt x="0" y="29"/>
                  </a:cubicBez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0" name="Freeform 187">
              <a:extLst>
                <a:ext uri="{FF2B5EF4-FFF2-40B4-BE49-F238E27FC236}">
                  <a16:creationId xmlns:a16="http://schemas.microsoft.com/office/drawing/2014/main" id="{C9868362-B5E7-448F-B445-860ABA5E34EF}"/>
                </a:ext>
              </a:extLst>
            </p:cNvPr>
            <p:cNvSpPr>
              <a:spLocks noChangeArrowheads="1"/>
            </p:cNvSpPr>
            <p:nvPr/>
          </p:nvSpPr>
          <p:spPr bwMode="auto">
            <a:xfrm>
              <a:off x="8914267" y="2001922"/>
              <a:ext cx="11415" cy="1618"/>
            </a:xfrm>
            <a:custGeom>
              <a:avLst/>
              <a:gdLst>
                <a:gd name="T0" fmla="*/ 0 w 31"/>
                <a:gd name="T1" fmla="*/ 0 h 1"/>
                <a:gd name="T2" fmla="*/ 0 w 31"/>
                <a:gd name="T3" fmla="*/ 0 h 1"/>
                <a:gd name="T4" fmla="*/ 30 w 31"/>
                <a:gd name="T5" fmla="*/ 0 h 1"/>
                <a:gd name="T6" fmla="*/ 0 w 31"/>
                <a:gd name="T7" fmla="*/ 0 h 1"/>
              </a:gdLst>
              <a:ahLst/>
              <a:cxnLst>
                <a:cxn ang="0">
                  <a:pos x="T0" y="T1"/>
                </a:cxn>
                <a:cxn ang="0">
                  <a:pos x="T2" y="T3"/>
                </a:cxn>
                <a:cxn ang="0">
                  <a:pos x="T4" y="T5"/>
                </a:cxn>
                <a:cxn ang="0">
                  <a:pos x="T6" y="T7"/>
                </a:cxn>
              </a:cxnLst>
              <a:rect l="0" t="0" r="r" b="b"/>
              <a:pathLst>
                <a:path w="31" h="1">
                  <a:moveTo>
                    <a:pt x="0" y="0"/>
                  </a:moveTo>
                  <a:lnTo>
                    <a:pt x="0" y="0"/>
                  </a:lnTo>
                  <a:cubicBezTo>
                    <a:pt x="0" y="0"/>
                    <a:pt x="0" y="0"/>
                    <a:pt x="30"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1" name="Freeform 188">
              <a:extLst>
                <a:ext uri="{FF2B5EF4-FFF2-40B4-BE49-F238E27FC236}">
                  <a16:creationId xmlns:a16="http://schemas.microsoft.com/office/drawing/2014/main" id="{02D57ED7-702D-4E27-8FB3-4F7AE968C47A}"/>
                </a:ext>
              </a:extLst>
            </p:cNvPr>
            <p:cNvSpPr>
              <a:spLocks noChangeArrowheads="1"/>
            </p:cNvSpPr>
            <p:nvPr/>
          </p:nvSpPr>
          <p:spPr bwMode="auto">
            <a:xfrm>
              <a:off x="8860449" y="2001922"/>
              <a:ext cx="53818" cy="53404"/>
            </a:xfrm>
            <a:custGeom>
              <a:avLst/>
              <a:gdLst>
                <a:gd name="T0" fmla="*/ 0 w 147"/>
                <a:gd name="T1" fmla="*/ 145 h 146"/>
                <a:gd name="T2" fmla="*/ 0 w 147"/>
                <a:gd name="T3" fmla="*/ 145 h 146"/>
                <a:gd name="T4" fmla="*/ 146 w 147"/>
                <a:gd name="T5" fmla="*/ 0 h 146"/>
                <a:gd name="T6" fmla="*/ 0 w 147"/>
                <a:gd name="T7" fmla="*/ 145 h 146"/>
              </a:gdLst>
              <a:ahLst/>
              <a:cxnLst>
                <a:cxn ang="0">
                  <a:pos x="T0" y="T1"/>
                </a:cxn>
                <a:cxn ang="0">
                  <a:pos x="T2" y="T3"/>
                </a:cxn>
                <a:cxn ang="0">
                  <a:pos x="T4" y="T5"/>
                </a:cxn>
                <a:cxn ang="0">
                  <a:pos x="T6" y="T7"/>
                </a:cxn>
              </a:cxnLst>
              <a:rect l="0" t="0" r="r" b="b"/>
              <a:pathLst>
                <a:path w="147" h="146">
                  <a:moveTo>
                    <a:pt x="0" y="145"/>
                  </a:moveTo>
                  <a:lnTo>
                    <a:pt x="0" y="145"/>
                  </a:lnTo>
                  <a:cubicBezTo>
                    <a:pt x="29" y="87"/>
                    <a:pt x="117" y="0"/>
                    <a:pt x="146" y="0"/>
                  </a:cubicBezTo>
                  <a:cubicBezTo>
                    <a:pt x="88" y="0"/>
                    <a:pt x="29" y="87"/>
                    <a:pt x="0" y="14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2" name="Freeform 189">
              <a:extLst>
                <a:ext uri="{FF2B5EF4-FFF2-40B4-BE49-F238E27FC236}">
                  <a16:creationId xmlns:a16="http://schemas.microsoft.com/office/drawing/2014/main" id="{74933847-B5F5-4E62-AA43-949AA392002C}"/>
                </a:ext>
              </a:extLst>
            </p:cNvPr>
            <p:cNvSpPr>
              <a:spLocks noChangeArrowheads="1"/>
            </p:cNvSpPr>
            <p:nvPr/>
          </p:nvSpPr>
          <p:spPr bwMode="auto">
            <a:xfrm>
              <a:off x="8925682" y="2013250"/>
              <a:ext cx="1631" cy="11329"/>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29"/>
                    <a:pt x="0" y="29"/>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3" name="Freeform 190">
              <a:extLst>
                <a:ext uri="{FF2B5EF4-FFF2-40B4-BE49-F238E27FC236}">
                  <a16:creationId xmlns:a16="http://schemas.microsoft.com/office/drawing/2014/main" id="{0405CBA9-FA17-46B0-8CB1-FFDCB65643D0}"/>
                </a:ext>
              </a:extLst>
            </p:cNvPr>
            <p:cNvSpPr>
              <a:spLocks noChangeArrowheads="1"/>
            </p:cNvSpPr>
            <p:nvPr/>
          </p:nvSpPr>
          <p:spPr bwMode="auto">
            <a:xfrm>
              <a:off x="8925682" y="2001922"/>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4" name="Freeform 191">
              <a:extLst>
                <a:ext uri="{FF2B5EF4-FFF2-40B4-BE49-F238E27FC236}">
                  <a16:creationId xmlns:a16="http://schemas.microsoft.com/office/drawing/2014/main" id="{A5A14E05-6250-4EA9-8081-DECA69E99052}"/>
                </a:ext>
              </a:extLst>
            </p:cNvPr>
            <p:cNvSpPr>
              <a:spLocks noChangeArrowheads="1"/>
            </p:cNvSpPr>
            <p:nvPr/>
          </p:nvSpPr>
          <p:spPr bwMode="auto">
            <a:xfrm>
              <a:off x="8946884" y="2022960"/>
              <a:ext cx="11415" cy="21039"/>
            </a:xfrm>
            <a:custGeom>
              <a:avLst/>
              <a:gdLst>
                <a:gd name="T0" fmla="*/ 28 w 29"/>
                <a:gd name="T1" fmla="*/ 0 h 59"/>
                <a:gd name="T2" fmla="*/ 28 w 29"/>
                <a:gd name="T3" fmla="*/ 0 h 59"/>
                <a:gd name="T4" fmla="*/ 0 w 29"/>
                <a:gd name="T5" fmla="*/ 58 h 59"/>
                <a:gd name="T6" fmla="*/ 28 w 29"/>
                <a:gd name="T7" fmla="*/ 0 h 59"/>
              </a:gdLst>
              <a:ahLst/>
              <a:cxnLst>
                <a:cxn ang="0">
                  <a:pos x="T0" y="T1"/>
                </a:cxn>
                <a:cxn ang="0">
                  <a:pos x="T2" y="T3"/>
                </a:cxn>
                <a:cxn ang="0">
                  <a:pos x="T4" y="T5"/>
                </a:cxn>
                <a:cxn ang="0">
                  <a:pos x="T6" y="T7"/>
                </a:cxn>
              </a:cxnLst>
              <a:rect l="0" t="0" r="r" b="b"/>
              <a:pathLst>
                <a:path w="29" h="59">
                  <a:moveTo>
                    <a:pt x="28" y="0"/>
                  </a:moveTo>
                  <a:lnTo>
                    <a:pt x="28" y="0"/>
                  </a:lnTo>
                  <a:cubicBezTo>
                    <a:pt x="28" y="29"/>
                    <a:pt x="0" y="29"/>
                    <a:pt x="0" y="58"/>
                  </a:cubicBezTo>
                  <a:cubicBezTo>
                    <a:pt x="0" y="29"/>
                    <a:pt x="28" y="29"/>
                    <a:pt x="2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5" name="Freeform 192">
              <a:extLst>
                <a:ext uri="{FF2B5EF4-FFF2-40B4-BE49-F238E27FC236}">
                  <a16:creationId xmlns:a16="http://schemas.microsoft.com/office/drawing/2014/main" id="{6228DA48-D95A-4338-BC5E-1775D040AFE1}"/>
                </a:ext>
              </a:extLst>
            </p:cNvPr>
            <p:cNvSpPr>
              <a:spLocks noChangeArrowheads="1"/>
            </p:cNvSpPr>
            <p:nvPr/>
          </p:nvSpPr>
          <p:spPr bwMode="auto">
            <a:xfrm>
              <a:off x="10585883" y="3115326"/>
              <a:ext cx="1631" cy="11328"/>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6" name="Freeform 193">
              <a:extLst>
                <a:ext uri="{FF2B5EF4-FFF2-40B4-BE49-F238E27FC236}">
                  <a16:creationId xmlns:a16="http://schemas.microsoft.com/office/drawing/2014/main" id="{B1491626-A111-47B8-8DBD-81F92133AC01}"/>
                </a:ext>
              </a:extLst>
            </p:cNvPr>
            <p:cNvSpPr>
              <a:spLocks noChangeArrowheads="1"/>
            </p:cNvSpPr>
            <p:nvPr/>
          </p:nvSpPr>
          <p:spPr bwMode="auto">
            <a:xfrm>
              <a:off x="10574468" y="3125036"/>
              <a:ext cx="11415" cy="11328"/>
            </a:xfrm>
            <a:custGeom>
              <a:avLst/>
              <a:gdLst>
                <a:gd name="T0" fmla="*/ 0 w 30"/>
                <a:gd name="T1" fmla="*/ 29 h 30"/>
                <a:gd name="T2" fmla="*/ 0 w 30"/>
                <a:gd name="T3" fmla="*/ 29 h 30"/>
                <a:gd name="T4" fmla="*/ 0 w 30"/>
                <a:gd name="T5" fmla="*/ 29 h 30"/>
                <a:gd name="T6" fmla="*/ 0 w 30"/>
                <a:gd name="T7" fmla="*/ 0 h 30"/>
                <a:gd name="T8" fmla="*/ 29 w 30"/>
                <a:gd name="T9" fmla="*/ 0 h 30"/>
                <a:gd name="T10" fmla="*/ 0 w 30"/>
                <a:gd name="T11" fmla="*/ 0 h 30"/>
                <a:gd name="T12" fmla="*/ 0 w 30"/>
                <a:gd name="T13" fmla="*/ 29 h 30"/>
              </a:gdLst>
              <a:ahLst/>
              <a:cxnLst>
                <a:cxn ang="0">
                  <a:pos x="T0" y="T1"/>
                </a:cxn>
                <a:cxn ang="0">
                  <a:pos x="T2" y="T3"/>
                </a:cxn>
                <a:cxn ang="0">
                  <a:pos x="T4" y="T5"/>
                </a:cxn>
                <a:cxn ang="0">
                  <a:pos x="T6" y="T7"/>
                </a:cxn>
                <a:cxn ang="0">
                  <a:pos x="T8" y="T9"/>
                </a:cxn>
                <a:cxn ang="0">
                  <a:pos x="T10" y="T11"/>
                </a:cxn>
                <a:cxn ang="0">
                  <a:pos x="T12" y="T13"/>
                </a:cxn>
              </a:cxnLst>
              <a:rect l="0" t="0" r="r" b="b"/>
              <a:pathLst>
                <a:path w="30" h="30">
                  <a:moveTo>
                    <a:pt x="0" y="29"/>
                  </a:moveTo>
                  <a:lnTo>
                    <a:pt x="0" y="29"/>
                  </a:lnTo>
                  <a:lnTo>
                    <a:pt x="0" y="29"/>
                  </a:lnTo>
                  <a:cubicBezTo>
                    <a:pt x="0" y="29"/>
                    <a:pt x="0" y="29"/>
                    <a:pt x="0" y="0"/>
                  </a:cubicBezTo>
                  <a:cubicBezTo>
                    <a:pt x="0" y="0"/>
                    <a:pt x="0" y="0"/>
                    <a:pt x="29" y="0"/>
                  </a:cubicBezTo>
                  <a:cubicBezTo>
                    <a:pt x="0" y="0"/>
                    <a:pt x="0" y="0"/>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7" name="Freeform 194">
              <a:extLst>
                <a:ext uri="{FF2B5EF4-FFF2-40B4-BE49-F238E27FC236}">
                  <a16:creationId xmlns:a16="http://schemas.microsoft.com/office/drawing/2014/main" id="{470BDB39-F823-4294-B742-5AE061F46EB8}"/>
                </a:ext>
              </a:extLst>
            </p:cNvPr>
            <p:cNvSpPr>
              <a:spLocks noChangeArrowheads="1"/>
            </p:cNvSpPr>
            <p:nvPr/>
          </p:nvSpPr>
          <p:spPr bwMode="auto">
            <a:xfrm>
              <a:off x="10607085" y="3201097"/>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8" name="Freeform 195">
              <a:extLst>
                <a:ext uri="{FF2B5EF4-FFF2-40B4-BE49-F238E27FC236}">
                  <a16:creationId xmlns:a16="http://schemas.microsoft.com/office/drawing/2014/main" id="{08BE29EA-CD16-4765-8C96-5A20CF1043E8}"/>
                </a:ext>
              </a:extLst>
            </p:cNvPr>
            <p:cNvSpPr>
              <a:spLocks noChangeArrowheads="1"/>
            </p:cNvSpPr>
            <p:nvPr/>
          </p:nvSpPr>
          <p:spPr bwMode="auto">
            <a:xfrm>
              <a:off x="10574468" y="3029555"/>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9" name="Freeform 196">
              <a:extLst>
                <a:ext uri="{FF2B5EF4-FFF2-40B4-BE49-F238E27FC236}">
                  <a16:creationId xmlns:a16="http://schemas.microsoft.com/office/drawing/2014/main" id="{E09EDD69-29BC-4171-AD9A-937C02ED09D4}"/>
                </a:ext>
              </a:extLst>
            </p:cNvPr>
            <p:cNvSpPr>
              <a:spLocks noChangeArrowheads="1"/>
            </p:cNvSpPr>
            <p:nvPr/>
          </p:nvSpPr>
          <p:spPr bwMode="auto">
            <a:xfrm>
              <a:off x="10618500" y="3168730"/>
              <a:ext cx="11416" cy="11329"/>
            </a:xfrm>
            <a:custGeom>
              <a:avLst/>
              <a:gdLst>
                <a:gd name="T0" fmla="*/ 0 w 30"/>
                <a:gd name="T1" fmla="*/ 0 h 29"/>
                <a:gd name="T2" fmla="*/ 0 w 30"/>
                <a:gd name="T3" fmla="*/ 0 h 29"/>
                <a:gd name="T4" fmla="*/ 29 w 30"/>
                <a:gd name="T5" fmla="*/ 28 h 29"/>
                <a:gd name="T6" fmla="*/ 0 w 30"/>
                <a:gd name="T7" fmla="*/ 0 h 29"/>
              </a:gdLst>
              <a:ahLst/>
              <a:cxnLst>
                <a:cxn ang="0">
                  <a:pos x="T0" y="T1"/>
                </a:cxn>
                <a:cxn ang="0">
                  <a:pos x="T2" y="T3"/>
                </a:cxn>
                <a:cxn ang="0">
                  <a:pos x="T4" y="T5"/>
                </a:cxn>
                <a:cxn ang="0">
                  <a:pos x="T6" y="T7"/>
                </a:cxn>
              </a:cxnLst>
              <a:rect l="0" t="0" r="r" b="b"/>
              <a:pathLst>
                <a:path w="30" h="29">
                  <a:moveTo>
                    <a:pt x="0" y="0"/>
                  </a:moveTo>
                  <a:lnTo>
                    <a:pt x="0" y="0"/>
                  </a:lnTo>
                  <a:cubicBezTo>
                    <a:pt x="0" y="0"/>
                    <a:pt x="0" y="0"/>
                    <a:pt x="29" y="28"/>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0" name="Freeform 197">
              <a:extLst>
                <a:ext uri="{FF2B5EF4-FFF2-40B4-BE49-F238E27FC236}">
                  <a16:creationId xmlns:a16="http://schemas.microsoft.com/office/drawing/2014/main" id="{097CED5F-3F60-4358-930D-C79C5C4C5A75}"/>
                </a:ext>
              </a:extLst>
            </p:cNvPr>
            <p:cNvSpPr>
              <a:spLocks noChangeArrowheads="1"/>
            </p:cNvSpPr>
            <p:nvPr/>
          </p:nvSpPr>
          <p:spPr bwMode="auto">
            <a:xfrm>
              <a:off x="10574468" y="3103997"/>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1" name="Freeform 198">
              <a:extLst>
                <a:ext uri="{FF2B5EF4-FFF2-40B4-BE49-F238E27FC236}">
                  <a16:creationId xmlns:a16="http://schemas.microsoft.com/office/drawing/2014/main" id="{AABEEEE1-4E13-430E-83B6-3338F2AC7A19}"/>
                </a:ext>
              </a:extLst>
            </p:cNvPr>
            <p:cNvSpPr>
              <a:spLocks noChangeArrowheads="1"/>
            </p:cNvSpPr>
            <p:nvPr/>
          </p:nvSpPr>
          <p:spPr bwMode="auto">
            <a:xfrm>
              <a:off x="10574468" y="3071631"/>
              <a:ext cx="21200" cy="1619"/>
            </a:xfrm>
            <a:custGeom>
              <a:avLst/>
              <a:gdLst>
                <a:gd name="T0" fmla="*/ 0 w 58"/>
                <a:gd name="T1" fmla="*/ 0 h 1"/>
                <a:gd name="T2" fmla="*/ 0 w 58"/>
                <a:gd name="T3" fmla="*/ 0 h 1"/>
                <a:gd name="T4" fmla="*/ 57 w 58"/>
                <a:gd name="T5" fmla="*/ 0 h 1"/>
                <a:gd name="T6" fmla="*/ 57 w 58"/>
                <a:gd name="T7" fmla="*/ 0 h 1"/>
                <a:gd name="T8" fmla="*/ 0 w 58"/>
                <a:gd name="T9" fmla="*/ 0 h 1"/>
              </a:gdLst>
              <a:ahLst/>
              <a:cxnLst>
                <a:cxn ang="0">
                  <a:pos x="T0" y="T1"/>
                </a:cxn>
                <a:cxn ang="0">
                  <a:pos x="T2" y="T3"/>
                </a:cxn>
                <a:cxn ang="0">
                  <a:pos x="T4" y="T5"/>
                </a:cxn>
                <a:cxn ang="0">
                  <a:pos x="T6" y="T7"/>
                </a:cxn>
                <a:cxn ang="0">
                  <a:pos x="T8" y="T9"/>
                </a:cxn>
              </a:cxnLst>
              <a:rect l="0" t="0" r="r" b="b"/>
              <a:pathLst>
                <a:path w="58" h="1">
                  <a:moveTo>
                    <a:pt x="0" y="0"/>
                  </a:moveTo>
                  <a:lnTo>
                    <a:pt x="0" y="0"/>
                  </a:lnTo>
                  <a:cubicBezTo>
                    <a:pt x="57" y="0"/>
                    <a:pt x="57" y="0"/>
                    <a:pt x="57" y="0"/>
                  </a:cubicBezTo>
                  <a:lnTo>
                    <a:pt x="57" y="0"/>
                  </a:ln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2" name="Freeform 199">
              <a:extLst>
                <a:ext uri="{FF2B5EF4-FFF2-40B4-BE49-F238E27FC236}">
                  <a16:creationId xmlns:a16="http://schemas.microsoft.com/office/drawing/2014/main" id="{3545B2AA-593A-4224-B0B6-023BB24D50B6}"/>
                </a:ext>
              </a:extLst>
            </p:cNvPr>
            <p:cNvSpPr>
              <a:spLocks noChangeArrowheads="1"/>
            </p:cNvSpPr>
            <p:nvPr/>
          </p:nvSpPr>
          <p:spPr bwMode="auto">
            <a:xfrm>
              <a:off x="10585883" y="3157402"/>
              <a:ext cx="11416" cy="32366"/>
            </a:xfrm>
            <a:custGeom>
              <a:avLst/>
              <a:gdLst>
                <a:gd name="T0" fmla="*/ 28 w 29"/>
                <a:gd name="T1" fmla="*/ 86 h 87"/>
                <a:gd name="T2" fmla="*/ 28 w 29"/>
                <a:gd name="T3" fmla="*/ 86 h 87"/>
                <a:gd name="T4" fmla="*/ 0 w 29"/>
                <a:gd name="T5" fmla="*/ 57 h 87"/>
                <a:gd name="T6" fmla="*/ 0 w 29"/>
                <a:gd name="T7" fmla="*/ 0 h 87"/>
                <a:gd name="T8" fmla="*/ 0 w 29"/>
                <a:gd name="T9" fmla="*/ 57 h 87"/>
                <a:gd name="T10" fmla="*/ 28 w 29"/>
                <a:gd name="T11" fmla="*/ 86 h 87"/>
              </a:gdLst>
              <a:ahLst/>
              <a:cxnLst>
                <a:cxn ang="0">
                  <a:pos x="T0" y="T1"/>
                </a:cxn>
                <a:cxn ang="0">
                  <a:pos x="T2" y="T3"/>
                </a:cxn>
                <a:cxn ang="0">
                  <a:pos x="T4" y="T5"/>
                </a:cxn>
                <a:cxn ang="0">
                  <a:pos x="T6" y="T7"/>
                </a:cxn>
                <a:cxn ang="0">
                  <a:pos x="T8" y="T9"/>
                </a:cxn>
                <a:cxn ang="0">
                  <a:pos x="T10" y="T11"/>
                </a:cxn>
              </a:cxnLst>
              <a:rect l="0" t="0" r="r" b="b"/>
              <a:pathLst>
                <a:path w="29" h="87">
                  <a:moveTo>
                    <a:pt x="28" y="86"/>
                  </a:moveTo>
                  <a:lnTo>
                    <a:pt x="28" y="86"/>
                  </a:lnTo>
                  <a:cubicBezTo>
                    <a:pt x="28" y="57"/>
                    <a:pt x="0" y="57"/>
                    <a:pt x="0" y="57"/>
                  </a:cubicBezTo>
                  <a:cubicBezTo>
                    <a:pt x="0" y="57"/>
                    <a:pt x="0" y="29"/>
                    <a:pt x="0" y="0"/>
                  </a:cubicBezTo>
                  <a:cubicBezTo>
                    <a:pt x="0" y="29"/>
                    <a:pt x="0" y="57"/>
                    <a:pt x="0" y="57"/>
                  </a:cubicBezTo>
                  <a:cubicBezTo>
                    <a:pt x="0" y="57"/>
                    <a:pt x="28" y="57"/>
                    <a:pt x="28" y="8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3" name="Freeform 200">
              <a:extLst>
                <a:ext uri="{FF2B5EF4-FFF2-40B4-BE49-F238E27FC236}">
                  <a16:creationId xmlns:a16="http://schemas.microsoft.com/office/drawing/2014/main" id="{C83B78F3-A587-4DD7-B2AC-95C3F58CD500}"/>
                </a:ext>
              </a:extLst>
            </p:cNvPr>
            <p:cNvSpPr>
              <a:spLocks noChangeArrowheads="1"/>
            </p:cNvSpPr>
            <p:nvPr/>
          </p:nvSpPr>
          <p:spPr bwMode="auto">
            <a:xfrm>
              <a:off x="10595668" y="3008517"/>
              <a:ext cx="1631" cy="11328"/>
            </a:xfrm>
            <a:custGeom>
              <a:avLst/>
              <a:gdLst>
                <a:gd name="T0" fmla="*/ 0 w 1"/>
                <a:gd name="T1" fmla="*/ 29 h 30"/>
                <a:gd name="T2" fmla="*/ 0 w 1"/>
                <a:gd name="T3" fmla="*/ 29 h 30"/>
                <a:gd name="T4" fmla="*/ 0 w 1"/>
                <a:gd name="T5" fmla="*/ 29 h 30"/>
                <a:gd name="T6" fmla="*/ 0 w 1"/>
                <a:gd name="T7" fmla="*/ 0 h 30"/>
                <a:gd name="T8" fmla="*/ 0 w 1"/>
                <a:gd name="T9" fmla="*/ 0 h 30"/>
                <a:gd name="T10" fmla="*/ 0 w 1"/>
                <a:gd name="T11" fmla="*/ 0 h 30"/>
                <a:gd name="T12" fmla="*/ 0 w 1"/>
                <a:gd name="T13" fmla="*/ 29 h 30"/>
              </a:gdLst>
              <a:ahLst/>
              <a:cxnLst>
                <a:cxn ang="0">
                  <a:pos x="T0" y="T1"/>
                </a:cxn>
                <a:cxn ang="0">
                  <a:pos x="T2" y="T3"/>
                </a:cxn>
                <a:cxn ang="0">
                  <a:pos x="T4" y="T5"/>
                </a:cxn>
                <a:cxn ang="0">
                  <a:pos x="T6" y="T7"/>
                </a:cxn>
                <a:cxn ang="0">
                  <a:pos x="T8" y="T9"/>
                </a:cxn>
                <a:cxn ang="0">
                  <a:pos x="T10" y="T11"/>
                </a:cxn>
                <a:cxn ang="0">
                  <a:pos x="T12" y="T13"/>
                </a:cxn>
              </a:cxnLst>
              <a:rect l="0" t="0" r="r" b="b"/>
              <a:pathLst>
                <a:path w="1" h="30">
                  <a:moveTo>
                    <a:pt x="0" y="29"/>
                  </a:moveTo>
                  <a:lnTo>
                    <a:pt x="0" y="29"/>
                  </a:lnTo>
                  <a:lnTo>
                    <a:pt x="0" y="29"/>
                  </a:lnTo>
                  <a:cubicBezTo>
                    <a:pt x="0" y="0"/>
                    <a:pt x="0" y="0"/>
                    <a:pt x="0" y="0"/>
                  </a:cubicBezTo>
                  <a:lnTo>
                    <a:pt x="0" y="0"/>
                  </a:ln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4" name="Freeform 201">
              <a:extLst>
                <a:ext uri="{FF2B5EF4-FFF2-40B4-BE49-F238E27FC236}">
                  <a16:creationId xmlns:a16="http://schemas.microsoft.com/office/drawing/2014/main" id="{E91D0957-1041-4C35-8AC3-F63BF83C632B}"/>
                </a:ext>
              </a:extLst>
            </p:cNvPr>
            <p:cNvSpPr>
              <a:spLocks noChangeArrowheads="1"/>
            </p:cNvSpPr>
            <p:nvPr/>
          </p:nvSpPr>
          <p:spPr bwMode="auto">
            <a:xfrm>
              <a:off x="10693519" y="3222135"/>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5" name="Freeform 202">
              <a:extLst>
                <a:ext uri="{FF2B5EF4-FFF2-40B4-BE49-F238E27FC236}">
                  <a16:creationId xmlns:a16="http://schemas.microsoft.com/office/drawing/2014/main" id="{FE9F59D9-0943-463A-A8C8-03247958E3E8}"/>
                </a:ext>
              </a:extLst>
            </p:cNvPr>
            <p:cNvSpPr>
              <a:spLocks noChangeArrowheads="1"/>
            </p:cNvSpPr>
            <p:nvPr/>
          </p:nvSpPr>
          <p:spPr bwMode="auto">
            <a:xfrm>
              <a:off x="10595668" y="3018227"/>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6" name="Freeform 203">
              <a:extLst>
                <a:ext uri="{FF2B5EF4-FFF2-40B4-BE49-F238E27FC236}">
                  <a16:creationId xmlns:a16="http://schemas.microsoft.com/office/drawing/2014/main" id="{352AB563-77B8-444D-BD42-D11B9EF28F80}"/>
                </a:ext>
              </a:extLst>
            </p:cNvPr>
            <p:cNvSpPr>
              <a:spLocks noChangeArrowheads="1"/>
            </p:cNvSpPr>
            <p:nvPr/>
          </p:nvSpPr>
          <p:spPr bwMode="auto">
            <a:xfrm>
              <a:off x="10618500" y="3136364"/>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7" name="Freeform 204">
              <a:extLst>
                <a:ext uri="{FF2B5EF4-FFF2-40B4-BE49-F238E27FC236}">
                  <a16:creationId xmlns:a16="http://schemas.microsoft.com/office/drawing/2014/main" id="{E66637C3-970F-44C8-B934-70CC2B75DA73}"/>
                </a:ext>
              </a:extLst>
            </p:cNvPr>
            <p:cNvSpPr>
              <a:spLocks noChangeArrowheads="1"/>
            </p:cNvSpPr>
            <p:nvPr/>
          </p:nvSpPr>
          <p:spPr bwMode="auto">
            <a:xfrm>
              <a:off x="10595668" y="3103997"/>
              <a:ext cx="11416" cy="22656"/>
            </a:xfrm>
            <a:custGeom>
              <a:avLst/>
              <a:gdLst>
                <a:gd name="T0" fmla="*/ 30 w 31"/>
                <a:gd name="T1" fmla="*/ 0 h 60"/>
                <a:gd name="T2" fmla="*/ 30 w 31"/>
                <a:gd name="T3" fmla="*/ 0 h 60"/>
                <a:gd name="T4" fmla="*/ 30 w 31"/>
                <a:gd name="T5" fmla="*/ 30 h 60"/>
                <a:gd name="T6" fmla="*/ 0 w 31"/>
                <a:gd name="T7" fmla="*/ 59 h 60"/>
                <a:gd name="T8" fmla="*/ 30 w 31"/>
                <a:gd name="T9" fmla="*/ 30 h 60"/>
                <a:gd name="T10" fmla="*/ 30 w 31"/>
                <a:gd name="T11" fmla="*/ 0 h 60"/>
              </a:gdLst>
              <a:ahLst/>
              <a:cxnLst>
                <a:cxn ang="0">
                  <a:pos x="T0" y="T1"/>
                </a:cxn>
                <a:cxn ang="0">
                  <a:pos x="T2" y="T3"/>
                </a:cxn>
                <a:cxn ang="0">
                  <a:pos x="T4" y="T5"/>
                </a:cxn>
                <a:cxn ang="0">
                  <a:pos x="T6" y="T7"/>
                </a:cxn>
                <a:cxn ang="0">
                  <a:pos x="T8" y="T9"/>
                </a:cxn>
                <a:cxn ang="0">
                  <a:pos x="T10" y="T11"/>
                </a:cxn>
              </a:cxnLst>
              <a:rect l="0" t="0" r="r" b="b"/>
              <a:pathLst>
                <a:path w="31" h="60">
                  <a:moveTo>
                    <a:pt x="30" y="0"/>
                  </a:moveTo>
                  <a:lnTo>
                    <a:pt x="30" y="0"/>
                  </a:lnTo>
                  <a:cubicBezTo>
                    <a:pt x="30" y="30"/>
                    <a:pt x="30" y="30"/>
                    <a:pt x="30" y="30"/>
                  </a:cubicBezTo>
                  <a:cubicBezTo>
                    <a:pt x="30" y="30"/>
                    <a:pt x="0" y="30"/>
                    <a:pt x="0" y="59"/>
                  </a:cubicBezTo>
                  <a:cubicBezTo>
                    <a:pt x="0" y="30"/>
                    <a:pt x="30" y="30"/>
                    <a:pt x="30" y="30"/>
                  </a:cubicBezTo>
                  <a:cubicBezTo>
                    <a:pt x="30" y="0"/>
                    <a:pt x="3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8" name="Freeform 205">
              <a:extLst>
                <a:ext uri="{FF2B5EF4-FFF2-40B4-BE49-F238E27FC236}">
                  <a16:creationId xmlns:a16="http://schemas.microsoft.com/office/drawing/2014/main" id="{44669A57-D730-47F5-973E-CFCC2C8A8CE2}"/>
                </a:ext>
              </a:extLst>
            </p:cNvPr>
            <p:cNvSpPr>
              <a:spLocks noChangeArrowheads="1"/>
            </p:cNvSpPr>
            <p:nvPr/>
          </p:nvSpPr>
          <p:spPr bwMode="auto">
            <a:xfrm>
              <a:off x="10618500" y="3115326"/>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9" name="Freeform 206">
              <a:extLst>
                <a:ext uri="{FF2B5EF4-FFF2-40B4-BE49-F238E27FC236}">
                  <a16:creationId xmlns:a16="http://schemas.microsoft.com/office/drawing/2014/main" id="{1CB00A4B-DFA1-4DFC-BDF9-555F8A936BBF}"/>
                </a:ext>
              </a:extLst>
            </p:cNvPr>
            <p:cNvSpPr>
              <a:spLocks noChangeArrowheads="1"/>
            </p:cNvSpPr>
            <p:nvPr/>
          </p:nvSpPr>
          <p:spPr bwMode="auto">
            <a:xfrm>
              <a:off x="10618500" y="3103997"/>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0" name="Freeform 207">
              <a:extLst>
                <a:ext uri="{FF2B5EF4-FFF2-40B4-BE49-F238E27FC236}">
                  <a16:creationId xmlns:a16="http://schemas.microsoft.com/office/drawing/2014/main" id="{B3193E55-E929-4352-B35F-18CCEDA5955B}"/>
                </a:ext>
              </a:extLst>
            </p:cNvPr>
            <p:cNvSpPr>
              <a:spLocks noChangeArrowheads="1"/>
            </p:cNvSpPr>
            <p:nvPr/>
          </p:nvSpPr>
          <p:spPr bwMode="auto">
            <a:xfrm>
              <a:off x="10726136" y="3532853"/>
              <a:ext cx="1631" cy="11328"/>
            </a:xfrm>
            <a:custGeom>
              <a:avLst/>
              <a:gdLst>
                <a:gd name="T0" fmla="*/ 0 w 1"/>
                <a:gd name="T1" fmla="*/ 30 h 31"/>
                <a:gd name="T2" fmla="*/ 0 w 1"/>
                <a:gd name="T3" fmla="*/ 30 h 31"/>
                <a:gd name="T4" fmla="*/ 0 w 1"/>
                <a:gd name="T5" fmla="*/ 0 h 31"/>
                <a:gd name="T6" fmla="*/ 0 w 1"/>
                <a:gd name="T7" fmla="*/ 30 h 31"/>
              </a:gdLst>
              <a:ahLst/>
              <a:cxnLst>
                <a:cxn ang="0">
                  <a:pos x="T0" y="T1"/>
                </a:cxn>
                <a:cxn ang="0">
                  <a:pos x="T2" y="T3"/>
                </a:cxn>
                <a:cxn ang="0">
                  <a:pos x="T4" y="T5"/>
                </a:cxn>
                <a:cxn ang="0">
                  <a:pos x="T6" y="T7"/>
                </a:cxn>
              </a:cxnLst>
              <a:rect l="0" t="0" r="r" b="b"/>
              <a:pathLst>
                <a:path w="1" h="31">
                  <a:moveTo>
                    <a:pt x="0" y="30"/>
                  </a:moveTo>
                  <a:lnTo>
                    <a:pt x="0" y="30"/>
                  </a:lnTo>
                  <a:cubicBezTo>
                    <a:pt x="0" y="30"/>
                    <a:pt x="0" y="30"/>
                    <a:pt x="0" y="0"/>
                  </a:cubicBezTo>
                  <a:cubicBezTo>
                    <a:pt x="0" y="30"/>
                    <a:pt x="0" y="30"/>
                    <a:pt x="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1" name="Freeform 208">
              <a:extLst>
                <a:ext uri="{FF2B5EF4-FFF2-40B4-BE49-F238E27FC236}">
                  <a16:creationId xmlns:a16="http://schemas.microsoft.com/office/drawing/2014/main" id="{152365AE-DA7D-4944-958E-796E67F14A03}"/>
                </a:ext>
              </a:extLst>
            </p:cNvPr>
            <p:cNvSpPr>
              <a:spLocks noChangeArrowheads="1"/>
            </p:cNvSpPr>
            <p:nvPr/>
          </p:nvSpPr>
          <p:spPr bwMode="auto">
            <a:xfrm>
              <a:off x="10585883" y="3426044"/>
              <a:ext cx="21202" cy="11328"/>
            </a:xfrm>
            <a:custGeom>
              <a:avLst/>
              <a:gdLst>
                <a:gd name="T0" fmla="*/ 58 w 59"/>
                <a:gd name="T1" fmla="*/ 28 h 29"/>
                <a:gd name="T2" fmla="*/ 58 w 59"/>
                <a:gd name="T3" fmla="*/ 28 h 29"/>
                <a:gd name="T4" fmla="*/ 28 w 59"/>
                <a:gd name="T5" fmla="*/ 28 h 29"/>
                <a:gd name="T6" fmla="*/ 0 w 59"/>
                <a:gd name="T7" fmla="*/ 0 h 29"/>
                <a:gd name="T8" fmla="*/ 28 w 59"/>
                <a:gd name="T9" fmla="*/ 28 h 29"/>
                <a:gd name="T10" fmla="*/ 58 w 59"/>
                <a:gd name="T11" fmla="*/ 28 h 29"/>
              </a:gdLst>
              <a:ahLst/>
              <a:cxnLst>
                <a:cxn ang="0">
                  <a:pos x="T0" y="T1"/>
                </a:cxn>
                <a:cxn ang="0">
                  <a:pos x="T2" y="T3"/>
                </a:cxn>
                <a:cxn ang="0">
                  <a:pos x="T4" y="T5"/>
                </a:cxn>
                <a:cxn ang="0">
                  <a:pos x="T6" y="T7"/>
                </a:cxn>
                <a:cxn ang="0">
                  <a:pos x="T8" y="T9"/>
                </a:cxn>
                <a:cxn ang="0">
                  <a:pos x="T10" y="T11"/>
                </a:cxn>
              </a:cxnLst>
              <a:rect l="0" t="0" r="r" b="b"/>
              <a:pathLst>
                <a:path w="59" h="29">
                  <a:moveTo>
                    <a:pt x="58" y="28"/>
                  </a:moveTo>
                  <a:lnTo>
                    <a:pt x="58" y="28"/>
                  </a:lnTo>
                  <a:lnTo>
                    <a:pt x="28" y="28"/>
                  </a:lnTo>
                  <a:cubicBezTo>
                    <a:pt x="28" y="28"/>
                    <a:pt x="28" y="0"/>
                    <a:pt x="0" y="0"/>
                  </a:cubicBezTo>
                  <a:cubicBezTo>
                    <a:pt x="28" y="0"/>
                    <a:pt x="28" y="28"/>
                    <a:pt x="28" y="28"/>
                  </a:cubicBezTo>
                  <a:lnTo>
                    <a:pt x="58" y="2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2" name="Freeform 209">
              <a:extLst>
                <a:ext uri="{FF2B5EF4-FFF2-40B4-BE49-F238E27FC236}">
                  <a16:creationId xmlns:a16="http://schemas.microsoft.com/office/drawing/2014/main" id="{54DB1438-C693-40F6-8920-980BAC66D149}"/>
                </a:ext>
              </a:extLst>
            </p:cNvPr>
            <p:cNvSpPr>
              <a:spLocks noChangeArrowheads="1"/>
            </p:cNvSpPr>
            <p:nvPr/>
          </p:nvSpPr>
          <p:spPr bwMode="auto">
            <a:xfrm>
              <a:off x="10726136" y="3563600"/>
              <a:ext cx="1631" cy="11329"/>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cubicBezTo>
                    <a:pt x="0" y="0"/>
                    <a:pt x="0" y="0"/>
                    <a:pt x="0" y="29"/>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3" name="Freeform 210">
              <a:extLst>
                <a:ext uri="{FF2B5EF4-FFF2-40B4-BE49-F238E27FC236}">
                  <a16:creationId xmlns:a16="http://schemas.microsoft.com/office/drawing/2014/main" id="{E311C7D6-3CB0-47CA-A873-B2A8CA43E380}"/>
                </a:ext>
              </a:extLst>
            </p:cNvPr>
            <p:cNvSpPr>
              <a:spLocks noChangeArrowheads="1"/>
            </p:cNvSpPr>
            <p:nvPr/>
          </p:nvSpPr>
          <p:spPr bwMode="auto">
            <a:xfrm>
              <a:off x="10618500" y="3178440"/>
              <a:ext cx="1631" cy="11329"/>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4" name="Freeform 211">
              <a:extLst>
                <a:ext uri="{FF2B5EF4-FFF2-40B4-BE49-F238E27FC236}">
                  <a16:creationId xmlns:a16="http://schemas.microsoft.com/office/drawing/2014/main" id="{9BD0E8A2-5078-40EA-9A2D-3C59B0C2E5F1}"/>
                </a:ext>
              </a:extLst>
            </p:cNvPr>
            <p:cNvSpPr>
              <a:spLocks noChangeArrowheads="1"/>
            </p:cNvSpPr>
            <p:nvPr/>
          </p:nvSpPr>
          <p:spPr bwMode="auto">
            <a:xfrm>
              <a:off x="10693519" y="3231845"/>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5" name="Freeform 212">
              <a:extLst>
                <a:ext uri="{FF2B5EF4-FFF2-40B4-BE49-F238E27FC236}">
                  <a16:creationId xmlns:a16="http://schemas.microsoft.com/office/drawing/2014/main" id="{70E033BB-30C7-4FA0-A053-D9C1B7660417}"/>
                </a:ext>
              </a:extLst>
            </p:cNvPr>
            <p:cNvSpPr>
              <a:spLocks noChangeArrowheads="1"/>
            </p:cNvSpPr>
            <p:nvPr/>
          </p:nvSpPr>
          <p:spPr bwMode="auto">
            <a:xfrm>
              <a:off x="10499449" y="3393677"/>
              <a:ext cx="86434" cy="32366"/>
            </a:xfrm>
            <a:custGeom>
              <a:avLst/>
              <a:gdLst>
                <a:gd name="T0" fmla="*/ 146 w 235"/>
                <a:gd name="T1" fmla="*/ 0 h 89"/>
                <a:gd name="T2" fmla="*/ 146 w 235"/>
                <a:gd name="T3" fmla="*/ 0 h 89"/>
                <a:gd name="T4" fmla="*/ 0 w 235"/>
                <a:gd name="T5" fmla="*/ 29 h 89"/>
                <a:gd name="T6" fmla="*/ 59 w 235"/>
                <a:gd name="T7" fmla="*/ 29 h 89"/>
                <a:gd name="T8" fmla="*/ 234 w 235"/>
                <a:gd name="T9" fmla="*/ 88 h 89"/>
                <a:gd name="T10" fmla="*/ 59 w 235"/>
                <a:gd name="T11" fmla="*/ 29 h 89"/>
                <a:gd name="T12" fmla="*/ 0 w 235"/>
                <a:gd name="T13" fmla="*/ 29 h 89"/>
                <a:gd name="T14" fmla="*/ 146 w 235"/>
                <a:gd name="T15" fmla="*/ 0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5" h="89">
                  <a:moveTo>
                    <a:pt x="146" y="0"/>
                  </a:moveTo>
                  <a:lnTo>
                    <a:pt x="146" y="0"/>
                  </a:lnTo>
                  <a:cubicBezTo>
                    <a:pt x="88" y="0"/>
                    <a:pt x="29" y="0"/>
                    <a:pt x="0" y="29"/>
                  </a:cubicBezTo>
                  <a:cubicBezTo>
                    <a:pt x="0" y="29"/>
                    <a:pt x="29" y="29"/>
                    <a:pt x="59" y="29"/>
                  </a:cubicBezTo>
                  <a:cubicBezTo>
                    <a:pt x="117" y="29"/>
                    <a:pt x="176" y="29"/>
                    <a:pt x="234" y="88"/>
                  </a:cubicBezTo>
                  <a:cubicBezTo>
                    <a:pt x="176" y="29"/>
                    <a:pt x="117" y="29"/>
                    <a:pt x="59" y="29"/>
                  </a:cubicBezTo>
                  <a:cubicBezTo>
                    <a:pt x="29" y="29"/>
                    <a:pt x="0" y="29"/>
                    <a:pt x="0" y="29"/>
                  </a:cubicBezTo>
                  <a:cubicBezTo>
                    <a:pt x="29" y="0"/>
                    <a:pt x="88" y="0"/>
                    <a:pt x="14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6" name="Freeform 213">
              <a:extLst>
                <a:ext uri="{FF2B5EF4-FFF2-40B4-BE49-F238E27FC236}">
                  <a16:creationId xmlns:a16="http://schemas.microsoft.com/office/drawing/2014/main" id="{359E7E51-417D-451C-A2B5-8DC740A61221}"/>
                </a:ext>
              </a:extLst>
            </p:cNvPr>
            <p:cNvSpPr>
              <a:spLocks noChangeArrowheads="1"/>
            </p:cNvSpPr>
            <p:nvPr/>
          </p:nvSpPr>
          <p:spPr bwMode="auto">
            <a:xfrm>
              <a:off x="10704935" y="3456791"/>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7" name="Freeform 214">
              <a:extLst>
                <a:ext uri="{FF2B5EF4-FFF2-40B4-BE49-F238E27FC236}">
                  <a16:creationId xmlns:a16="http://schemas.microsoft.com/office/drawing/2014/main" id="{C4A2A28F-94EA-41E1-8614-F4D02610DDE4}"/>
                </a:ext>
              </a:extLst>
            </p:cNvPr>
            <p:cNvSpPr>
              <a:spLocks noChangeArrowheads="1"/>
            </p:cNvSpPr>
            <p:nvPr/>
          </p:nvSpPr>
          <p:spPr bwMode="auto">
            <a:xfrm>
              <a:off x="10618500" y="3382348"/>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8" name="Freeform 215">
              <a:extLst>
                <a:ext uri="{FF2B5EF4-FFF2-40B4-BE49-F238E27FC236}">
                  <a16:creationId xmlns:a16="http://schemas.microsoft.com/office/drawing/2014/main" id="{F907A141-E3DE-4297-A520-75835B52A1A5}"/>
                </a:ext>
              </a:extLst>
            </p:cNvPr>
            <p:cNvSpPr>
              <a:spLocks noChangeArrowheads="1"/>
            </p:cNvSpPr>
            <p:nvPr/>
          </p:nvSpPr>
          <p:spPr bwMode="auto">
            <a:xfrm>
              <a:off x="10607085" y="3361311"/>
              <a:ext cx="21200" cy="22656"/>
            </a:xfrm>
            <a:custGeom>
              <a:avLst/>
              <a:gdLst>
                <a:gd name="T0" fmla="*/ 0 w 59"/>
                <a:gd name="T1" fmla="*/ 0 h 60"/>
                <a:gd name="T2" fmla="*/ 0 w 59"/>
                <a:gd name="T3" fmla="*/ 0 h 60"/>
                <a:gd name="T4" fmla="*/ 58 w 59"/>
                <a:gd name="T5" fmla="*/ 30 h 60"/>
                <a:gd name="T6" fmla="*/ 58 w 59"/>
                <a:gd name="T7" fmla="*/ 59 h 60"/>
                <a:gd name="T8" fmla="*/ 58 w 59"/>
                <a:gd name="T9" fmla="*/ 59 h 60"/>
                <a:gd name="T10" fmla="*/ 58 w 59"/>
                <a:gd name="T11" fmla="*/ 30 h 60"/>
                <a:gd name="T12" fmla="*/ 0 w 59"/>
                <a:gd name="T13" fmla="*/ 0 h 60"/>
              </a:gdLst>
              <a:ahLst/>
              <a:cxnLst>
                <a:cxn ang="0">
                  <a:pos x="T0" y="T1"/>
                </a:cxn>
                <a:cxn ang="0">
                  <a:pos x="T2" y="T3"/>
                </a:cxn>
                <a:cxn ang="0">
                  <a:pos x="T4" y="T5"/>
                </a:cxn>
                <a:cxn ang="0">
                  <a:pos x="T6" y="T7"/>
                </a:cxn>
                <a:cxn ang="0">
                  <a:pos x="T8" y="T9"/>
                </a:cxn>
                <a:cxn ang="0">
                  <a:pos x="T10" y="T11"/>
                </a:cxn>
                <a:cxn ang="0">
                  <a:pos x="T12" y="T13"/>
                </a:cxn>
              </a:cxnLst>
              <a:rect l="0" t="0" r="r" b="b"/>
              <a:pathLst>
                <a:path w="59" h="60">
                  <a:moveTo>
                    <a:pt x="0" y="0"/>
                  </a:moveTo>
                  <a:lnTo>
                    <a:pt x="0" y="0"/>
                  </a:lnTo>
                  <a:cubicBezTo>
                    <a:pt x="29" y="0"/>
                    <a:pt x="58" y="0"/>
                    <a:pt x="58" y="30"/>
                  </a:cubicBezTo>
                  <a:cubicBezTo>
                    <a:pt x="58" y="59"/>
                    <a:pt x="58" y="59"/>
                    <a:pt x="58" y="59"/>
                  </a:cubicBezTo>
                  <a:lnTo>
                    <a:pt x="58" y="59"/>
                  </a:lnTo>
                  <a:cubicBezTo>
                    <a:pt x="58" y="30"/>
                    <a:pt x="58" y="30"/>
                    <a:pt x="58" y="30"/>
                  </a:cubicBezTo>
                  <a:cubicBezTo>
                    <a:pt x="58"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9" name="Freeform 216">
              <a:extLst>
                <a:ext uri="{FF2B5EF4-FFF2-40B4-BE49-F238E27FC236}">
                  <a16:creationId xmlns:a16="http://schemas.microsoft.com/office/drawing/2014/main" id="{C225F8AE-B5FC-4FF4-B36C-1D7CAEFD3328}"/>
                </a:ext>
              </a:extLst>
            </p:cNvPr>
            <p:cNvSpPr>
              <a:spLocks noChangeArrowheads="1"/>
            </p:cNvSpPr>
            <p:nvPr/>
          </p:nvSpPr>
          <p:spPr bwMode="auto">
            <a:xfrm>
              <a:off x="10628285" y="3456791"/>
              <a:ext cx="22832" cy="1619"/>
            </a:xfrm>
            <a:custGeom>
              <a:avLst/>
              <a:gdLst>
                <a:gd name="T0" fmla="*/ 59 w 60"/>
                <a:gd name="T1" fmla="*/ 0 h 1"/>
                <a:gd name="T2" fmla="*/ 59 w 60"/>
                <a:gd name="T3" fmla="*/ 0 h 1"/>
                <a:gd name="T4" fmla="*/ 0 w 60"/>
                <a:gd name="T5" fmla="*/ 0 h 1"/>
                <a:gd name="T6" fmla="*/ 59 w 60"/>
                <a:gd name="T7" fmla="*/ 0 h 1"/>
              </a:gdLst>
              <a:ahLst/>
              <a:cxnLst>
                <a:cxn ang="0">
                  <a:pos x="T0" y="T1"/>
                </a:cxn>
                <a:cxn ang="0">
                  <a:pos x="T2" y="T3"/>
                </a:cxn>
                <a:cxn ang="0">
                  <a:pos x="T4" y="T5"/>
                </a:cxn>
                <a:cxn ang="0">
                  <a:pos x="T6" y="T7"/>
                </a:cxn>
              </a:cxnLst>
              <a:rect l="0" t="0" r="r" b="b"/>
              <a:pathLst>
                <a:path w="60" h="1">
                  <a:moveTo>
                    <a:pt x="59" y="0"/>
                  </a:moveTo>
                  <a:lnTo>
                    <a:pt x="59" y="0"/>
                  </a:lnTo>
                  <a:cubicBezTo>
                    <a:pt x="29" y="0"/>
                    <a:pt x="0" y="0"/>
                    <a:pt x="0" y="0"/>
                  </a:cubicBezTo>
                  <a:cubicBezTo>
                    <a:pt x="0" y="0"/>
                    <a:pt x="29" y="0"/>
                    <a:pt x="5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80" name="Freeform 217">
              <a:extLst>
                <a:ext uri="{FF2B5EF4-FFF2-40B4-BE49-F238E27FC236}">
                  <a16:creationId xmlns:a16="http://schemas.microsoft.com/office/drawing/2014/main" id="{23DF9200-E20A-4DC1-B1FD-E561B6A6B95C}"/>
                </a:ext>
              </a:extLst>
            </p:cNvPr>
            <p:cNvSpPr>
              <a:spLocks noChangeArrowheads="1"/>
            </p:cNvSpPr>
            <p:nvPr/>
          </p:nvSpPr>
          <p:spPr bwMode="auto">
            <a:xfrm>
              <a:off x="10607085" y="3307906"/>
              <a:ext cx="21200" cy="22656"/>
            </a:xfrm>
            <a:custGeom>
              <a:avLst/>
              <a:gdLst>
                <a:gd name="T0" fmla="*/ 29 w 59"/>
                <a:gd name="T1" fmla="*/ 29 h 60"/>
                <a:gd name="T2" fmla="*/ 29 w 59"/>
                <a:gd name="T3" fmla="*/ 29 h 60"/>
                <a:gd name="T4" fmla="*/ 58 w 59"/>
                <a:gd name="T5" fmla="*/ 59 h 60"/>
                <a:gd name="T6" fmla="*/ 29 w 59"/>
                <a:gd name="T7" fmla="*/ 29 h 60"/>
                <a:gd name="T8" fmla="*/ 0 w 59"/>
                <a:gd name="T9" fmla="*/ 0 h 60"/>
                <a:gd name="T10" fmla="*/ 0 w 59"/>
                <a:gd name="T11" fmla="*/ 0 h 60"/>
                <a:gd name="T12" fmla="*/ 0 w 59"/>
                <a:gd name="T13" fmla="*/ 0 h 60"/>
                <a:gd name="T14" fmla="*/ 29 w 59"/>
                <a:gd name="T15" fmla="*/ 29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60">
                  <a:moveTo>
                    <a:pt x="29" y="29"/>
                  </a:moveTo>
                  <a:lnTo>
                    <a:pt x="29" y="29"/>
                  </a:lnTo>
                  <a:cubicBezTo>
                    <a:pt x="58" y="59"/>
                    <a:pt x="58" y="59"/>
                    <a:pt x="58" y="59"/>
                  </a:cubicBezTo>
                  <a:cubicBezTo>
                    <a:pt x="29" y="29"/>
                    <a:pt x="29" y="29"/>
                    <a:pt x="29" y="29"/>
                  </a:cubicBezTo>
                  <a:cubicBezTo>
                    <a:pt x="29" y="29"/>
                    <a:pt x="0" y="29"/>
                    <a:pt x="0" y="0"/>
                  </a:cubicBezTo>
                  <a:lnTo>
                    <a:pt x="0" y="0"/>
                  </a:lnTo>
                  <a:lnTo>
                    <a:pt x="0" y="0"/>
                  </a:lnTo>
                  <a:cubicBezTo>
                    <a:pt x="0" y="29"/>
                    <a:pt x="29"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81" name="Freeform 218">
              <a:extLst>
                <a:ext uri="{FF2B5EF4-FFF2-40B4-BE49-F238E27FC236}">
                  <a16:creationId xmlns:a16="http://schemas.microsoft.com/office/drawing/2014/main" id="{CDD64AA5-475B-46F8-9A29-E9F30FB66F43}"/>
                </a:ext>
              </a:extLst>
            </p:cNvPr>
            <p:cNvSpPr>
              <a:spLocks noChangeArrowheads="1"/>
            </p:cNvSpPr>
            <p:nvPr/>
          </p:nvSpPr>
          <p:spPr bwMode="auto">
            <a:xfrm>
              <a:off x="10628285" y="3393677"/>
              <a:ext cx="22832" cy="43694"/>
            </a:xfrm>
            <a:custGeom>
              <a:avLst/>
              <a:gdLst>
                <a:gd name="T0" fmla="*/ 0 w 60"/>
                <a:gd name="T1" fmla="*/ 0 h 117"/>
                <a:gd name="T2" fmla="*/ 0 w 60"/>
                <a:gd name="T3" fmla="*/ 0 h 117"/>
                <a:gd name="T4" fmla="*/ 59 w 60"/>
                <a:gd name="T5" fmla="*/ 116 h 117"/>
                <a:gd name="T6" fmla="*/ 0 w 60"/>
                <a:gd name="T7" fmla="*/ 0 h 117"/>
              </a:gdLst>
              <a:ahLst/>
              <a:cxnLst>
                <a:cxn ang="0">
                  <a:pos x="T0" y="T1"/>
                </a:cxn>
                <a:cxn ang="0">
                  <a:pos x="T2" y="T3"/>
                </a:cxn>
                <a:cxn ang="0">
                  <a:pos x="T4" y="T5"/>
                </a:cxn>
                <a:cxn ang="0">
                  <a:pos x="T6" y="T7"/>
                </a:cxn>
              </a:cxnLst>
              <a:rect l="0" t="0" r="r" b="b"/>
              <a:pathLst>
                <a:path w="60" h="117">
                  <a:moveTo>
                    <a:pt x="0" y="0"/>
                  </a:moveTo>
                  <a:lnTo>
                    <a:pt x="0" y="0"/>
                  </a:lnTo>
                  <a:cubicBezTo>
                    <a:pt x="29" y="29"/>
                    <a:pt x="59" y="59"/>
                    <a:pt x="59" y="116"/>
                  </a:cubicBezTo>
                  <a:cubicBezTo>
                    <a:pt x="59" y="59"/>
                    <a:pt x="29"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82" name="Freeform 219">
              <a:extLst>
                <a:ext uri="{FF2B5EF4-FFF2-40B4-BE49-F238E27FC236}">
                  <a16:creationId xmlns:a16="http://schemas.microsoft.com/office/drawing/2014/main" id="{3E473CDF-141E-4BB0-A173-C49C577C4210}"/>
                </a:ext>
              </a:extLst>
            </p:cNvPr>
            <p:cNvSpPr>
              <a:spLocks noChangeArrowheads="1"/>
            </p:cNvSpPr>
            <p:nvPr/>
          </p:nvSpPr>
          <p:spPr bwMode="auto">
            <a:xfrm>
              <a:off x="9290992" y="1948517"/>
              <a:ext cx="44033" cy="1619"/>
            </a:xfrm>
            <a:custGeom>
              <a:avLst/>
              <a:gdLst>
                <a:gd name="T0" fmla="*/ 0 w 117"/>
                <a:gd name="T1" fmla="*/ 0 h 1"/>
                <a:gd name="T2" fmla="*/ 0 w 117"/>
                <a:gd name="T3" fmla="*/ 0 h 1"/>
                <a:gd name="T4" fmla="*/ 29 w 117"/>
                <a:gd name="T5" fmla="*/ 0 h 1"/>
                <a:gd name="T6" fmla="*/ 88 w 117"/>
                <a:gd name="T7" fmla="*/ 0 h 1"/>
                <a:gd name="T8" fmla="*/ 116 w 117"/>
                <a:gd name="T9" fmla="*/ 0 h 1"/>
                <a:gd name="T10" fmla="*/ 88 w 117"/>
                <a:gd name="T11" fmla="*/ 0 h 1"/>
                <a:gd name="T12" fmla="*/ 29 w 117"/>
                <a:gd name="T13" fmla="*/ 0 h 1"/>
                <a:gd name="T14" fmla="*/ 0 w 117"/>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1">
                  <a:moveTo>
                    <a:pt x="0" y="0"/>
                  </a:moveTo>
                  <a:lnTo>
                    <a:pt x="0" y="0"/>
                  </a:lnTo>
                  <a:cubicBezTo>
                    <a:pt x="29" y="0"/>
                    <a:pt x="29" y="0"/>
                    <a:pt x="29" y="0"/>
                  </a:cubicBezTo>
                  <a:cubicBezTo>
                    <a:pt x="29" y="0"/>
                    <a:pt x="59" y="0"/>
                    <a:pt x="88" y="0"/>
                  </a:cubicBezTo>
                  <a:cubicBezTo>
                    <a:pt x="88" y="0"/>
                    <a:pt x="88" y="0"/>
                    <a:pt x="116" y="0"/>
                  </a:cubicBezTo>
                  <a:cubicBezTo>
                    <a:pt x="88" y="0"/>
                    <a:pt x="88" y="0"/>
                    <a:pt x="88" y="0"/>
                  </a:cubicBezTo>
                  <a:cubicBezTo>
                    <a:pt x="59" y="0"/>
                    <a:pt x="29" y="0"/>
                    <a:pt x="29"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83" name="Freeform 220">
              <a:extLst>
                <a:ext uri="{FF2B5EF4-FFF2-40B4-BE49-F238E27FC236}">
                  <a16:creationId xmlns:a16="http://schemas.microsoft.com/office/drawing/2014/main" id="{76094E00-E215-4B50-A9B4-137902B829C3}"/>
                </a:ext>
              </a:extLst>
            </p:cNvPr>
            <p:cNvSpPr>
              <a:spLocks noChangeArrowheads="1"/>
            </p:cNvSpPr>
            <p:nvPr/>
          </p:nvSpPr>
          <p:spPr bwMode="auto">
            <a:xfrm>
              <a:off x="9096922" y="4827509"/>
              <a:ext cx="21200" cy="21038"/>
            </a:xfrm>
            <a:custGeom>
              <a:avLst/>
              <a:gdLst>
                <a:gd name="T0" fmla="*/ 0 w 59"/>
                <a:gd name="T1" fmla="*/ 58 h 59"/>
                <a:gd name="T2" fmla="*/ 0 w 59"/>
                <a:gd name="T3" fmla="*/ 58 h 59"/>
                <a:gd name="T4" fmla="*/ 29 w 59"/>
                <a:gd name="T5" fmla="*/ 0 h 59"/>
                <a:gd name="T6" fmla="*/ 58 w 59"/>
                <a:gd name="T7" fmla="*/ 0 h 59"/>
                <a:gd name="T8" fmla="*/ 29 w 59"/>
                <a:gd name="T9" fmla="*/ 0 h 59"/>
                <a:gd name="T10" fmla="*/ 0 w 59"/>
                <a:gd name="T11" fmla="*/ 58 h 59"/>
              </a:gdLst>
              <a:ahLst/>
              <a:cxnLst>
                <a:cxn ang="0">
                  <a:pos x="T0" y="T1"/>
                </a:cxn>
                <a:cxn ang="0">
                  <a:pos x="T2" y="T3"/>
                </a:cxn>
                <a:cxn ang="0">
                  <a:pos x="T4" y="T5"/>
                </a:cxn>
                <a:cxn ang="0">
                  <a:pos x="T6" y="T7"/>
                </a:cxn>
                <a:cxn ang="0">
                  <a:pos x="T8" y="T9"/>
                </a:cxn>
                <a:cxn ang="0">
                  <a:pos x="T10" y="T11"/>
                </a:cxn>
              </a:cxnLst>
              <a:rect l="0" t="0" r="r" b="b"/>
              <a:pathLst>
                <a:path w="59" h="59">
                  <a:moveTo>
                    <a:pt x="0" y="58"/>
                  </a:moveTo>
                  <a:lnTo>
                    <a:pt x="0" y="58"/>
                  </a:lnTo>
                  <a:cubicBezTo>
                    <a:pt x="0" y="58"/>
                    <a:pt x="29" y="29"/>
                    <a:pt x="29" y="0"/>
                  </a:cubicBezTo>
                  <a:lnTo>
                    <a:pt x="58" y="0"/>
                  </a:lnTo>
                  <a:lnTo>
                    <a:pt x="29" y="0"/>
                  </a:lnTo>
                  <a:cubicBezTo>
                    <a:pt x="29" y="29"/>
                    <a:pt x="0" y="58"/>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84" name="Freeform 221">
              <a:extLst>
                <a:ext uri="{FF2B5EF4-FFF2-40B4-BE49-F238E27FC236}">
                  <a16:creationId xmlns:a16="http://schemas.microsoft.com/office/drawing/2014/main" id="{818A2039-ECE4-4A4B-B776-8D5BC0BF4163}"/>
                </a:ext>
              </a:extLst>
            </p:cNvPr>
            <p:cNvSpPr>
              <a:spLocks noChangeArrowheads="1"/>
            </p:cNvSpPr>
            <p:nvPr/>
          </p:nvSpPr>
          <p:spPr bwMode="auto">
            <a:xfrm>
              <a:off x="9108337" y="4869585"/>
              <a:ext cx="21202" cy="21038"/>
            </a:xfrm>
            <a:custGeom>
              <a:avLst/>
              <a:gdLst>
                <a:gd name="T0" fmla="*/ 0 w 59"/>
                <a:gd name="T1" fmla="*/ 29 h 59"/>
                <a:gd name="T2" fmla="*/ 0 w 59"/>
                <a:gd name="T3" fmla="*/ 29 h 59"/>
                <a:gd name="T4" fmla="*/ 0 w 59"/>
                <a:gd name="T5" fmla="*/ 0 h 59"/>
                <a:gd name="T6" fmla="*/ 0 w 59"/>
                <a:gd name="T7" fmla="*/ 29 h 59"/>
                <a:gd name="T8" fmla="*/ 58 w 59"/>
                <a:gd name="T9" fmla="*/ 58 h 59"/>
                <a:gd name="T10" fmla="*/ 0 w 59"/>
                <a:gd name="T11" fmla="*/ 29 h 59"/>
              </a:gdLst>
              <a:ahLst/>
              <a:cxnLst>
                <a:cxn ang="0">
                  <a:pos x="T0" y="T1"/>
                </a:cxn>
                <a:cxn ang="0">
                  <a:pos x="T2" y="T3"/>
                </a:cxn>
                <a:cxn ang="0">
                  <a:pos x="T4" y="T5"/>
                </a:cxn>
                <a:cxn ang="0">
                  <a:pos x="T6" y="T7"/>
                </a:cxn>
                <a:cxn ang="0">
                  <a:pos x="T8" y="T9"/>
                </a:cxn>
                <a:cxn ang="0">
                  <a:pos x="T10" y="T11"/>
                </a:cxn>
              </a:cxnLst>
              <a:rect l="0" t="0" r="r" b="b"/>
              <a:pathLst>
                <a:path w="59" h="59">
                  <a:moveTo>
                    <a:pt x="0" y="29"/>
                  </a:moveTo>
                  <a:lnTo>
                    <a:pt x="0" y="29"/>
                  </a:lnTo>
                  <a:cubicBezTo>
                    <a:pt x="0" y="0"/>
                    <a:pt x="0" y="0"/>
                    <a:pt x="0" y="0"/>
                  </a:cubicBezTo>
                  <a:lnTo>
                    <a:pt x="0" y="29"/>
                  </a:lnTo>
                  <a:cubicBezTo>
                    <a:pt x="0" y="29"/>
                    <a:pt x="29" y="58"/>
                    <a:pt x="58" y="58"/>
                  </a:cubicBezTo>
                  <a:cubicBezTo>
                    <a:pt x="29"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85" name="Freeform 222">
              <a:extLst>
                <a:ext uri="{FF2B5EF4-FFF2-40B4-BE49-F238E27FC236}">
                  <a16:creationId xmlns:a16="http://schemas.microsoft.com/office/drawing/2014/main" id="{4FF43978-6D48-4367-8CB6-C89377DC0F73}"/>
                </a:ext>
              </a:extLst>
            </p:cNvPr>
            <p:cNvSpPr>
              <a:spLocks noChangeArrowheads="1"/>
            </p:cNvSpPr>
            <p:nvPr/>
          </p:nvSpPr>
          <p:spPr bwMode="auto">
            <a:xfrm>
              <a:off x="9118122" y="4827509"/>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86" name="Freeform 223">
              <a:extLst>
                <a:ext uri="{FF2B5EF4-FFF2-40B4-BE49-F238E27FC236}">
                  <a16:creationId xmlns:a16="http://schemas.microsoft.com/office/drawing/2014/main" id="{5366274B-BA77-4D36-ACCF-3131A49D7627}"/>
                </a:ext>
              </a:extLst>
            </p:cNvPr>
            <p:cNvSpPr>
              <a:spLocks noChangeArrowheads="1"/>
            </p:cNvSpPr>
            <p:nvPr/>
          </p:nvSpPr>
          <p:spPr bwMode="auto">
            <a:xfrm>
              <a:off x="9108337" y="4848546"/>
              <a:ext cx="1631" cy="11329"/>
            </a:xfrm>
            <a:custGeom>
              <a:avLst/>
              <a:gdLst>
                <a:gd name="T0" fmla="*/ 0 w 1"/>
                <a:gd name="T1" fmla="*/ 0 h 30"/>
                <a:gd name="T2" fmla="*/ 0 w 1"/>
                <a:gd name="T3" fmla="*/ 0 h 30"/>
                <a:gd name="T4" fmla="*/ 0 w 1"/>
                <a:gd name="T5" fmla="*/ 0 h 30"/>
                <a:gd name="T6" fmla="*/ 0 w 1"/>
                <a:gd name="T7" fmla="*/ 0 h 30"/>
                <a:gd name="T8" fmla="*/ 0 w 1"/>
                <a:gd name="T9" fmla="*/ 29 h 30"/>
                <a:gd name="T10" fmla="*/ 0 w 1"/>
                <a:gd name="T11" fmla="*/ 0 h 30"/>
              </a:gdLst>
              <a:ahLst/>
              <a:cxnLst>
                <a:cxn ang="0">
                  <a:pos x="T0" y="T1"/>
                </a:cxn>
                <a:cxn ang="0">
                  <a:pos x="T2" y="T3"/>
                </a:cxn>
                <a:cxn ang="0">
                  <a:pos x="T4" y="T5"/>
                </a:cxn>
                <a:cxn ang="0">
                  <a:pos x="T6" y="T7"/>
                </a:cxn>
                <a:cxn ang="0">
                  <a:pos x="T8" y="T9"/>
                </a:cxn>
                <a:cxn ang="0">
                  <a:pos x="T10" y="T11"/>
                </a:cxn>
              </a:cxnLst>
              <a:rect l="0" t="0" r="r" b="b"/>
              <a:pathLst>
                <a:path w="1" h="30">
                  <a:moveTo>
                    <a:pt x="0" y="0"/>
                  </a:moveTo>
                  <a:lnTo>
                    <a:pt x="0" y="0"/>
                  </a:lnTo>
                  <a:lnTo>
                    <a:pt x="0" y="0"/>
                  </a:lnTo>
                  <a:lnTo>
                    <a:pt x="0" y="0"/>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87" name="Freeform 224">
              <a:extLst>
                <a:ext uri="{FF2B5EF4-FFF2-40B4-BE49-F238E27FC236}">
                  <a16:creationId xmlns:a16="http://schemas.microsoft.com/office/drawing/2014/main" id="{234D0B09-B533-4A58-BF75-435E1ED900BE}"/>
                </a:ext>
              </a:extLst>
            </p:cNvPr>
            <p:cNvSpPr>
              <a:spLocks noChangeArrowheads="1"/>
            </p:cNvSpPr>
            <p:nvPr/>
          </p:nvSpPr>
          <p:spPr bwMode="auto">
            <a:xfrm>
              <a:off x="9194772" y="4848546"/>
              <a:ext cx="21200" cy="11329"/>
            </a:xfrm>
            <a:custGeom>
              <a:avLst/>
              <a:gdLst>
                <a:gd name="T0" fmla="*/ 57 w 58"/>
                <a:gd name="T1" fmla="*/ 0 h 30"/>
                <a:gd name="T2" fmla="*/ 57 w 58"/>
                <a:gd name="T3" fmla="*/ 0 h 30"/>
                <a:gd name="T4" fmla="*/ 28 w 58"/>
                <a:gd name="T5" fmla="*/ 29 h 30"/>
                <a:gd name="T6" fmla="*/ 0 w 58"/>
                <a:gd name="T7" fmla="*/ 29 h 30"/>
                <a:gd name="T8" fmla="*/ 0 w 58"/>
                <a:gd name="T9" fmla="*/ 29 h 30"/>
                <a:gd name="T10" fmla="*/ 28 w 58"/>
                <a:gd name="T11" fmla="*/ 29 h 30"/>
                <a:gd name="T12" fmla="*/ 57 w 58"/>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58" h="30">
                  <a:moveTo>
                    <a:pt x="57" y="0"/>
                  </a:moveTo>
                  <a:lnTo>
                    <a:pt x="57" y="0"/>
                  </a:lnTo>
                  <a:cubicBezTo>
                    <a:pt x="57" y="0"/>
                    <a:pt x="28" y="0"/>
                    <a:pt x="28" y="29"/>
                  </a:cubicBezTo>
                  <a:cubicBezTo>
                    <a:pt x="0" y="29"/>
                    <a:pt x="0" y="29"/>
                    <a:pt x="0" y="29"/>
                  </a:cubicBezTo>
                  <a:lnTo>
                    <a:pt x="0" y="29"/>
                  </a:lnTo>
                  <a:cubicBezTo>
                    <a:pt x="28" y="29"/>
                    <a:pt x="28" y="29"/>
                    <a:pt x="28" y="29"/>
                  </a:cubicBezTo>
                  <a:cubicBezTo>
                    <a:pt x="28" y="0"/>
                    <a:pt x="57" y="0"/>
                    <a:pt x="5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88" name="Freeform 225">
              <a:extLst>
                <a:ext uri="{FF2B5EF4-FFF2-40B4-BE49-F238E27FC236}">
                  <a16:creationId xmlns:a16="http://schemas.microsoft.com/office/drawing/2014/main" id="{E3D9232F-6203-4240-B9B5-31A2CC5E096B}"/>
                </a:ext>
              </a:extLst>
            </p:cNvPr>
            <p:cNvSpPr>
              <a:spLocks noChangeArrowheads="1"/>
            </p:cNvSpPr>
            <p:nvPr/>
          </p:nvSpPr>
          <p:spPr bwMode="auto">
            <a:xfrm>
              <a:off x="9183356" y="4869585"/>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89" name="Freeform 226">
              <a:extLst>
                <a:ext uri="{FF2B5EF4-FFF2-40B4-BE49-F238E27FC236}">
                  <a16:creationId xmlns:a16="http://schemas.microsoft.com/office/drawing/2014/main" id="{2B1F274A-D988-4190-9C9C-6AFF1A04F94C}"/>
                </a:ext>
              </a:extLst>
            </p:cNvPr>
            <p:cNvSpPr>
              <a:spLocks noChangeArrowheads="1"/>
            </p:cNvSpPr>
            <p:nvPr/>
          </p:nvSpPr>
          <p:spPr bwMode="auto">
            <a:xfrm>
              <a:off x="9819386" y="5245035"/>
              <a:ext cx="1631" cy="11328"/>
            </a:xfrm>
            <a:custGeom>
              <a:avLst/>
              <a:gdLst>
                <a:gd name="T0" fmla="*/ 0 w 1"/>
                <a:gd name="T1" fmla="*/ 30 h 31"/>
                <a:gd name="T2" fmla="*/ 0 w 1"/>
                <a:gd name="T3" fmla="*/ 30 h 31"/>
                <a:gd name="T4" fmla="*/ 0 w 1"/>
                <a:gd name="T5" fmla="*/ 0 h 31"/>
                <a:gd name="T6" fmla="*/ 0 w 1"/>
                <a:gd name="T7" fmla="*/ 30 h 31"/>
              </a:gdLst>
              <a:ahLst/>
              <a:cxnLst>
                <a:cxn ang="0">
                  <a:pos x="T0" y="T1"/>
                </a:cxn>
                <a:cxn ang="0">
                  <a:pos x="T2" y="T3"/>
                </a:cxn>
                <a:cxn ang="0">
                  <a:pos x="T4" y="T5"/>
                </a:cxn>
                <a:cxn ang="0">
                  <a:pos x="T6" y="T7"/>
                </a:cxn>
              </a:cxnLst>
              <a:rect l="0" t="0" r="r" b="b"/>
              <a:pathLst>
                <a:path w="1" h="31">
                  <a:moveTo>
                    <a:pt x="0" y="30"/>
                  </a:moveTo>
                  <a:lnTo>
                    <a:pt x="0" y="30"/>
                  </a:lnTo>
                  <a:lnTo>
                    <a:pt x="0" y="0"/>
                  </a:lnTo>
                  <a:lnTo>
                    <a:pt x="0" y="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0" name="Freeform 227">
              <a:extLst>
                <a:ext uri="{FF2B5EF4-FFF2-40B4-BE49-F238E27FC236}">
                  <a16:creationId xmlns:a16="http://schemas.microsoft.com/office/drawing/2014/main" id="{FB4D446A-2ACC-4CD5-84A3-76C3F2872A51}"/>
                </a:ext>
              </a:extLst>
            </p:cNvPr>
            <p:cNvSpPr>
              <a:spLocks noChangeArrowheads="1"/>
            </p:cNvSpPr>
            <p:nvPr/>
          </p:nvSpPr>
          <p:spPr bwMode="auto">
            <a:xfrm>
              <a:off x="9162156" y="4869585"/>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1" name="Freeform 228">
              <a:extLst>
                <a:ext uri="{FF2B5EF4-FFF2-40B4-BE49-F238E27FC236}">
                  <a16:creationId xmlns:a16="http://schemas.microsoft.com/office/drawing/2014/main" id="{8EEB020A-D4BD-40F2-9E10-918967A7A35C}"/>
                </a:ext>
              </a:extLst>
            </p:cNvPr>
            <p:cNvSpPr>
              <a:spLocks noChangeArrowheads="1"/>
            </p:cNvSpPr>
            <p:nvPr/>
          </p:nvSpPr>
          <p:spPr bwMode="auto">
            <a:xfrm>
              <a:off x="9171941" y="4869585"/>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2" name="Freeform 229">
              <a:extLst>
                <a:ext uri="{FF2B5EF4-FFF2-40B4-BE49-F238E27FC236}">
                  <a16:creationId xmlns:a16="http://schemas.microsoft.com/office/drawing/2014/main" id="{93287127-25C6-4D88-81B4-1BEB3F48FDB6}"/>
                </a:ext>
              </a:extLst>
            </p:cNvPr>
            <p:cNvSpPr>
              <a:spLocks noChangeArrowheads="1"/>
            </p:cNvSpPr>
            <p:nvPr/>
          </p:nvSpPr>
          <p:spPr bwMode="auto">
            <a:xfrm>
              <a:off x="8881650" y="4003783"/>
              <a:ext cx="549594" cy="888458"/>
            </a:xfrm>
            <a:custGeom>
              <a:avLst/>
              <a:gdLst>
                <a:gd name="T0" fmla="*/ 379 w 1488"/>
                <a:gd name="T1" fmla="*/ 2042 h 2422"/>
                <a:gd name="T2" fmla="*/ 1458 w 1488"/>
                <a:gd name="T3" fmla="*/ 1983 h 2422"/>
                <a:gd name="T4" fmla="*/ 1429 w 1488"/>
                <a:gd name="T5" fmla="*/ 1371 h 2422"/>
                <a:gd name="T6" fmla="*/ 1487 w 1488"/>
                <a:gd name="T7" fmla="*/ 1313 h 2422"/>
                <a:gd name="T8" fmla="*/ 1400 w 1488"/>
                <a:gd name="T9" fmla="*/ 1167 h 2422"/>
                <a:gd name="T10" fmla="*/ 1312 w 1488"/>
                <a:gd name="T11" fmla="*/ 992 h 2422"/>
                <a:gd name="T12" fmla="*/ 1196 w 1488"/>
                <a:gd name="T13" fmla="*/ 497 h 2422"/>
                <a:gd name="T14" fmla="*/ 1108 w 1488"/>
                <a:gd name="T15" fmla="*/ 0 h 2422"/>
                <a:gd name="T16" fmla="*/ 29 w 1488"/>
                <a:gd name="T17" fmla="*/ 88 h 2422"/>
                <a:gd name="T18" fmla="*/ 58 w 1488"/>
                <a:gd name="T19" fmla="*/ 117 h 2422"/>
                <a:gd name="T20" fmla="*/ 58 w 1488"/>
                <a:gd name="T21" fmla="*/ 380 h 2422"/>
                <a:gd name="T22" fmla="*/ 29 w 1488"/>
                <a:gd name="T23" fmla="*/ 1138 h 2422"/>
                <a:gd name="T24" fmla="*/ 0 w 1488"/>
                <a:gd name="T25" fmla="*/ 1721 h 2422"/>
                <a:gd name="T26" fmla="*/ 58 w 1488"/>
                <a:gd name="T27" fmla="*/ 2246 h 2422"/>
                <a:gd name="T28" fmla="*/ 58 w 1488"/>
                <a:gd name="T29" fmla="*/ 2421 h 2422"/>
                <a:gd name="T30" fmla="*/ 87 w 1488"/>
                <a:gd name="T31" fmla="*/ 2363 h 2422"/>
                <a:gd name="T32" fmla="*/ 117 w 1488"/>
                <a:gd name="T33" fmla="*/ 2392 h 2422"/>
                <a:gd name="T34" fmla="*/ 146 w 1488"/>
                <a:gd name="T35" fmla="*/ 2363 h 2422"/>
                <a:gd name="T36" fmla="*/ 146 w 1488"/>
                <a:gd name="T37" fmla="*/ 2333 h 2422"/>
                <a:gd name="T38" fmla="*/ 146 w 1488"/>
                <a:gd name="T39" fmla="*/ 2246 h 2422"/>
                <a:gd name="T40" fmla="*/ 146 w 1488"/>
                <a:gd name="T41" fmla="*/ 2159 h 2422"/>
                <a:gd name="T42" fmla="*/ 175 w 1488"/>
                <a:gd name="T43" fmla="*/ 2013 h 2422"/>
                <a:gd name="T44" fmla="*/ 203 w 1488"/>
                <a:gd name="T45" fmla="*/ 1925 h 2422"/>
                <a:gd name="T46" fmla="*/ 233 w 1488"/>
                <a:gd name="T47" fmla="*/ 2071 h 2422"/>
                <a:gd name="T48" fmla="*/ 262 w 1488"/>
                <a:gd name="T49" fmla="*/ 2188 h 2422"/>
                <a:gd name="T50" fmla="*/ 262 w 1488"/>
                <a:gd name="T51" fmla="*/ 2246 h 2422"/>
                <a:gd name="T52" fmla="*/ 320 w 1488"/>
                <a:gd name="T53" fmla="*/ 2363 h 2422"/>
                <a:gd name="T54" fmla="*/ 350 w 1488"/>
                <a:gd name="T55" fmla="*/ 2421 h 2422"/>
                <a:gd name="T56" fmla="*/ 350 w 1488"/>
                <a:gd name="T57" fmla="*/ 2421 h 2422"/>
                <a:gd name="T58" fmla="*/ 350 w 1488"/>
                <a:gd name="T59" fmla="*/ 2363 h 2422"/>
                <a:gd name="T60" fmla="*/ 437 w 1488"/>
                <a:gd name="T61" fmla="*/ 2304 h 2422"/>
                <a:gd name="T62" fmla="*/ 379 w 1488"/>
                <a:gd name="T63" fmla="*/ 2100 h 2422"/>
                <a:gd name="T64" fmla="*/ 350 w 1488"/>
                <a:gd name="T65" fmla="*/ 2071 h 2422"/>
                <a:gd name="T66" fmla="*/ 379 w 1488"/>
                <a:gd name="T67" fmla="*/ 2042 h 2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88" h="2422">
                  <a:moveTo>
                    <a:pt x="379" y="2042"/>
                  </a:moveTo>
                  <a:lnTo>
                    <a:pt x="379" y="2042"/>
                  </a:lnTo>
                  <a:cubicBezTo>
                    <a:pt x="641" y="2013"/>
                    <a:pt x="903" y="2013"/>
                    <a:pt x="1167" y="1983"/>
                  </a:cubicBezTo>
                  <a:cubicBezTo>
                    <a:pt x="1253" y="1983"/>
                    <a:pt x="1341" y="1983"/>
                    <a:pt x="1458" y="1983"/>
                  </a:cubicBezTo>
                  <a:cubicBezTo>
                    <a:pt x="1458" y="1925"/>
                    <a:pt x="1429" y="1867"/>
                    <a:pt x="1429" y="1838"/>
                  </a:cubicBezTo>
                  <a:cubicBezTo>
                    <a:pt x="1400" y="1663"/>
                    <a:pt x="1370" y="1517"/>
                    <a:pt x="1429" y="1371"/>
                  </a:cubicBezTo>
                  <a:lnTo>
                    <a:pt x="1458" y="1342"/>
                  </a:lnTo>
                  <a:cubicBezTo>
                    <a:pt x="1458" y="1313"/>
                    <a:pt x="1487" y="1313"/>
                    <a:pt x="1487" y="1313"/>
                  </a:cubicBezTo>
                  <a:cubicBezTo>
                    <a:pt x="1487" y="1283"/>
                    <a:pt x="1429" y="1225"/>
                    <a:pt x="1429" y="1196"/>
                  </a:cubicBezTo>
                  <a:cubicBezTo>
                    <a:pt x="1400" y="1196"/>
                    <a:pt x="1400" y="1167"/>
                    <a:pt x="1400" y="1167"/>
                  </a:cubicBezTo>
                  <a:lnTo>
                    <a:pt x="1370" y="1138"/>
                  </a:lnTo>
                  <a:cubicBezTo>
                    <a:pt x="1341" y="1080"/>
                    <a:pt x="1312" y="1021"/>
                    <a:pt x="1312" y="992"/>
                  </a:cubicBezTo>
                  <a:cubicBezTo>
                    <a:pt x="1283" y="904"/>
                    <a:pt x="1253" y="788"/>
                    <a:pt x="1224" y="671"/>
                  </a:cubicBezTo>
                  <a:cubicBezTo>
                    <a:pt x="1224" y="613"/>
                    <a:pt x="1224" y="554"/>
                    <a:pt x="1196" y="497"/>
                  </a:cubicBezTo>
                  <a:cubicBezTo>
                    <a:pt x="1196" y="409"/>
                    <a:pt x="1167" y="321"/>
                    <a:pt x="1137" y="263"/>
                  </a:cubicBezTo>
                  <a:cubicBezTo>
                    <a:pt x="1137" y="175"/>
                    <a:pt x="1108" y="88"/>
                    <a:pt x="1108" y="0"/>
                  </a:cubicBezTo>
                  <a:cubicBezTo>
                    <a:pt x="1020" y="30"/>
                    <a:pt x="1020" y="30"/>
                    <a:pt x="1020" y="30"/>
                  </a:cubicBezTo>
                  <a:cubicBezTo>
                    <a:pt x="700" y="59"/>
                    <a:pt x="379" y="59"/>
                    <a:pt x="29" y="88"/>
                  </a:cubicBezTo>
                  <a:lnTo>
                    <a:pt x="29" y="88"/>
                  </a:lnTo>
                  <a:cubicBezTo>
                    <a:pt x="58" y="88"/>
                    <a:pt x="58" y="117"/>
                    <a:pt x="58" y="117"/>
                  </a:cubicBezTo>
                  <a:cubicBezTo>
                    <a:pt x="58" y="175"/>
                    <a:pt x="58" y="233"/>
                    <a:pt x="58" y="292"/>
                  </a:cubicBezTo>
                  <a:cubicBezTo>
                    <a:pt x="58" y="321"/>
                    <a:pt x="58" y="350"/>
                    <a:pt x="58" y="380"/>
                  </a:cubicBezTo>
                  <a:cubicBezTo>
                    <a:pt x="29" y="525"/>
                    <a:pt x="29" y="642"/>
                    <a:pt x="29" y="759"/>
                  </a:cubicBezTo>
                  <a:cubicBezTo>
                    <a:pt x="29" y="875"/>
                    <a:pt x="29" y="1021"/>
                    <a:pt x="29" y="1138"/>
                  </a:cubicBezTo>
                  <a:cubicBezTo>
                    <a:pt x="29" y="1167"/>
                    <a:pt x="29" y="1167"/>
                    <a:pt x="29" y="1167"/>
                  </a:cubicBezTo>
                  <a:cubicBezTo>
                    <a:pt x="29" y="1371"/>
                    <a:pt x="0" y="1546"/>
                    <a:pt x="0" y="1721"/>
                  </a:cubicBezTo>
                  <a:cubicBezTo>
                    <a:pt x="29" y="1838"/>
                    <a:pt x="29" y="1954"/>
                    <a:pt x="29" y="2071"/>
                  </a:cubicBezTo>
                  <a:cubicBezTo>
                    <a:pt x="29" y="2130"/>
                    <a:pt x="58" y="2188"/>
                    <a:pt x="58" y="2246"/>
                  </a:cubicBezTo>
                  <a:cubicBezTo>
                    <a:pt x="58" y="2275"/>
                    <a:pt x="58" y="2275"/>
                    <a:pt x="58" y="2304"/>
                  </a:cubicBezTo>
                  <a:cubicBezTo>
                    <a:pt x="58" y="2333"/>
                    <a:pt x="58" y="2392"/>
                    <a:pt x="58" y="2421"/>
                  </a:cubicBezTo>
                  <a:cubicBezTo>
                    <a:pt x="87" y="2421"/>
                    <a:pt x="87" y="2392"/>
                    <a:pt x="87" y="2392"/>
                  </a:cubicBezTo>
                  <a:cubicBezTo>
                    <a:pt x="87" y="2392"/>
                    <a:pt x="87" y="2392"/>
                    <a:pt x="87" y="2363"/>
                  </a:cubicBezTo>
                  <a:cubicBezTo>
                    <a:pt x="117" y="2363"/>
                    <a:pt x="117" y="2363"/>
                    <a:pt x="117" y="2363"/>
                  </a:cubicBezTo>
                  <a:cubicBezTo>
                    <a:pt x="117" y="2392"/>
                    <a:pt x="117" y="2392"/>
                    <a:pt x="117" y="2392"/>
                  </a:cubicBezTo>
                  <a:lnTo>
                    <a:pt x="146" y="2392"/>
                  </a:lnTo>
                  <a:cubicBezTo>
                    <a:pt x="175" y="2392"/>
                    <a:pt x="175" y="2392"/>
                    <a:pt x="146" y="2363"/>
                  </a:cubicBezTo>
                  <a:cubicBezTo>
                    <a:pt x="146" y="2363"/>
                    <a:pt x="146" y="2363"/>
                    <a:pt x="146" y="2333"/>
                  </a:cubicBezTo>
                  <a:lnTo>
                    <a:pt x="146" y="2333"/>
                  </a:lnTo>
                  <a:cubicBezTo>
                    <a:pt x="146" y="2304"/>
                    <a:pt x="146" y="2275"/>
                    <a:pt x="146" y="2275"/>
                  </a:cubicBezTo>
                  <a:cubicBezTo>
                    <a:pt x="146" y="2246"/>
                    <a:pt x="146" y="2246"/>
                    <a:pt x="146" y="2246"/>
                  </a:cubicBezTo>
                  <a:lnTo>
                    <a:pt x="175" y="2246"/>
                  </a:lnTo>
                  <a:cubicBezTo>
                    <a:pt x="175" y="2217"/>
                    <a:pt x="146" y="2188"/>
                    <a:pt x="146" y="2159"/>
                  </a:cubicBezTo>
                  <a:cubicBezTo>
                    <a:pt x="146" y="2159"/>
                    <a:pt x="117" y="2130"/>
                    <a:pt x="117" y="2100"/>
                  </a:cubicBezTo>
                  <a:cubicBezTo>
                    <a:pt x="146" y="2071"/>
                    <a:pt x="146" y="2042"/>
                    <a:pt x="175" y="2013"/>
                  </a:cubicBezTo>
                  <a:cubicBezTo>
                    <a:pt x="175" y="1983"/>
                    <a:pt x="175" y="1983"/>
                    <a:pt x="175" y="1983"/>
                  </a:cubicBezTo>
                  <a:cubicBezTo>
                    <a:pt x="203" y="1925"/>
                    <a:pt x="203" y="1925"/>
                    <a:pt x="203" y="1925"/>
                  </a:cubicBezTo>
                  <a:cubicBezTo>
                    <a:pt x="203" y="1983"/>
                    <a:pt x="203" y="1983"/>
                    <a:pt x="203" y="1983"/>
                  </a:cubicBezTo>
                  <a:cubicBezTo>
                    <a:pt x="233" y="2013"/>
                    <a:pt x="233" y="2042"/>
                    <a:pt x="233" y="2071"/>
                  </a:cubicBezTo>
                  <a:cubicBezTo>
                    <a:pt x="262" y="2100"/>
                    <a:pt x="262" y="2130"/>
                    <a:pt x="262" y="2159"/>
                  </a:cubicBezTo>
                  <a:lnTo>
                    <a:pt x="262" y="2188"/>
                  </a:lnTo>
                  <a:cubicBezTo>
                    <a:pt x="262" y="2217"/>
                    <a:pt x="262" y="2217"/>
                    <a:pt x="262" y="2217"/>
                  </a:cubicBezTo>
                  <a:lnTo>
                    <a:pt x="262" y="2246"/>
                  </a:lnTo>
                  <a:cubicBezTo>
                    <a:pt x="291" y="2275"/>
                    <a:pt x="320" y="2304"/>
                    <a:pt x="320" y="2363"/>
                  </a:cubicBezTo>
                  <a:lnTo>
                    <a:pt x="320" y="2363"/>
                  </a:lnTo>
                  <a:cubicBezTo>
                    <a:pt x="320" y="2363"/>
                    <a:pt x="350" y="2392"/>
                    <a:pt x="350" y="2421"/>
                  </a:cubicBezTo>
                  <a:lnTo>
                    <a:pt x="350" y="2421"/>
                  </a:lnTo>
                  <a:lnTo>
                    <a:pt x="350" y="2421"/>
                  </a:lnTo>
                  <a:lnTo>
                    <a:pt x="350" y="2421"/>
                  </a:lnTo>
                  <a:lnTo>
                    <a:pt x="379" y="2421"/>
                  </a:lnTo>
                  <a:cubicBezTo>
                    <a:pt x="379" y="2421"/>
                    <a:pt x="350" y="2392"/>
                    <a:pt x="350" y="2363"/>
                  </a:cubicBezTo>
                  <a:cubicBezTo>
                    <a:pt x="379" y="2333"/>
                    <a:pt x="379" y="2333"/>
                    <a:pt x="408" y="2333"/>
                  </a:cubicBezTo>
                  <a:cubicBezTo>
                    <a:pt x="408" y="2333"/>
                    <a:pt x="408" y="2304"/>
                    <a:pt x="437" y="2304"/>
                  </a:cubicBezTo>
                  <a:cubicBezTo>
                    <a:pt x="408" y="2275"/>
                    <a:pt x="408" y="2217"/>
                    <a:pt x="408" y="2159"/>
                  </a:cubicBezTo>
                  <a:cubicBezTo>
                    <a:pt x="408" y="2159"/>
                    <a:pt x="408" y="2130"/>
                    <a:pt x="379" y="2100"/>
                  </a:cubicBezTo>
                  <a:lnTo>
                    <a:pt x="379" y="2100"/>
                  </a:lnTo>
                  <a:lnTo>
                    <a:pt x="350" y="2071"/>
                  </a:lnTo>
                  <a:cubicBezTo>
                    <a:pt x="350" y="2042"/>
                    <a:pt x="350" y="2042"/>
                    <a:pt x="350" y="2042"/>
                  </a:cubicBezTo>
                  <a:lnTo>
                    <a:pt x="379" y="204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3" name="Freeform 230">
              <a:extLst>
                <a:ext uri="{FF2B5EF4-FFF2-40B4-BE49-F238E27FC236}">
                  <a16:creationId xmlns:a16="http://schemas.microsoft.com/office/drawing/2014/main" id="{3A97340E-B23F-4216-9A05-2C0B61C45983}"/>
                </a:ext>
              </a:extLst>
            </p:cNvPr>
            <p:cNvSpPr>
              <a:spLocks noChangeArrowheads="1"/>
            </p:cNvSpPr>
            <p:nvPr/>
          </p:nvSpPr>
          <p:spPr bwMode="auto">
            <a:xfrm>
              <a:off x="9150739" y="4880913"/>
              <a:ext cx="11416" cy="1619"/>
            </a:xfrm>
            <a:custGeom>
              <a:avLst/>
              <a:gdLst>
                <a:gd name="T0" fmla="*/ 29 w 30"/>
                <a:gd name="T1" fmla="*/ 0 h 1"/>
                <a:gd name="T2" fmla="*/ 29 w 30"/>
                <a:gd name="T3" fmla="*/ 0 h 1"/>
                <a:gd name="T4" fmla="*/ 0 w 30"/>
                <a:gd name="T5" fmla="*/ 0 h 1"/>
                <a:gd name="T6" fmla="*/ 0 w 30"/>
                <a:gd name="T7" fmla="*/ 0 h 1"/>
                <a:gd name="T8" fmla="*/ 29 w 30"/>
                <a:gd name="T9" fmla="*/ 0 h 1"/>
              </a:gdLst>
              <a:ahLst/>
              <a:cxnLst>
                <a:cxn ang="0">
                  <a:pos x="T0" y="T1"/>
                </a:cxn>
                <a:cxn ang="0">
                  <a:pos x="T2" y="T3"/>
                </a:cxn>
                <a:cxn ang="0">
                  <a:pos x="T4" y="T5"/>
                </a:cxn>
                <a:cxn ang="0">
                  <a:pos x="T6" y="T7"/>
                </a:cxn>
                <a:cxn ang="0">
                  <a:pos x="T8" y="T9"/>
                </a:cxn>
              </a:cxnLst>
              <a:rect l="0" t="0" r="r" b="b"/>
              <a:pathLst>
                <a:path w="30" h="1">
                  <a:moveTo>
                    <a:pt x="29" y="0"/>
                  </a:moveTo>
                  <a:lnTo>
                    <a:pt x="29" y="0"/>
                  </a:lnTo>
                  <a:cubicBezTo>
                    <a:pt x="0" y="0"/>
                    <a:pt x="0" y="0"/>
                    <a:pt x="0" y="0"/>
                  </a:cubicBezTo>
                  <a:lnTo>
                    <a:pt x="0" y="0"/>
                  </a:ln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4" name="Freeform 231">
              <a:extLst>
                <a:ext uri="{FF2B5EF4-FFF2-40B4-BE49-F238E27FC236}">
                  <a16:creationId xmlns:a16="http://schemas.microsoft.com/office/drawing/2014/main" id="{7556CA61-73C4-4F09-82B4-534FD9D91668}"/>
                </a:ext>
              </a:extLst>
            </p:cNvPr>
            <p:cNvSpPr>
              <a:spLocks noChangeArrowheads="1"/>
            </p:cNvSpPr>
            <p:nvPr/>
          </p:nvSpPr>
          <p:spPr bwMode="auto">
            <a:xfrm>
              <a:off x="9118122" y="4869585"/>
              <a:ext cx="11416" cy="1618"/>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cubicBezTo>
                    <a:pt x="29" y="0"/>
                    <a:pt x="29" y="0"/>
                    <a:pt x="0" y="0"/>
                  </a:cubicBezTo>
                  <a:cubicBezTo>
                    <a:pt x="29"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5" name="Freeform 232">
              <a:extLst>
                <a:ext uri="{FF2B5EF4-FFF2-40B4-BE49-F238E27FC236}">
                  <a16:creationId xmlns:a16="http://schemas.microsoft.com/office/drawing/2014/main" id="{34E3DCBB-ADEB-4B3D-8D75-09616F7BA696}"/>
                </a:ext>
              </a:extLst>
            </p:cNvPr>
            <p:cNvSpPr>
              <a:spLocks noChangeArrowheads="1"/>
            </p:cNvSpPr>
            <p:nvPr/>
          </p:nvSpPr>
          <p:spPr bwMode="auto">
            <a:xfrm>
              <a:off x="9171941" y="4859875"/>
              <a:ext cx="11415" cy="11328"/>
            </a:xfrm>
            <a:custGeom>
              <a:avLst/>
              <a:gdLst>
                <a:gd name="T0" fmla="*/ 0 w 31"/>
                <a:gd name="T1" fmla="*/ 0 h 31"/>
                <a:gd name="T2" fmla="*/ 0 w 31"/>
                <a:gd name="T3" fmla="*/ 0 h 31"/>
                <a:gd name="T4" fmla="*/ 0 w 31"/>
                <a:gd name="T5" fmla="*/ 30 h 31"/>
                <a:gd name="T6" fmla="*/ 0 w 31"/>
                <a:gd name="T7" fmla="*/ 0 h 31"/>
                <a:gd name="T8" fmla="*/ 30 w 31"/>
                <a:gd name="T9" fmla="*/ 0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0"/>
                  </a:lnTo>
                  <a:cubicBezTo>
                    <a:pt x="0" y="30"/>
                    <a:pt x="0" y="30"/>
                    <a:pt x="0" y="30"/>
                  </a:cubicBezTo>
                  <a:cubicBezTo>
                    <a:pt x="0" y="0"/>
                    <a:pt x="0" y="0"/>
                    <a:pt x="0" y="0"/>
                  </a:cubicBezTo>
                  <a:cubicBezTo>
                    <a:pt x="0" y="0"/>
                    <a:pt x="0" y="0"/>
                    <a:pt x="30"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6" name="Freeform 233">
              <a:extLst>
                <a:ext uri="{FF2B5EF4-FFF2-40B4-BE49-F238E27FC236}">
                  <a16:creationId xmlns:a16="http://schemas.microsoft.com/office/drawing/2014/main" id="{5BFF07D2-3685-48D8-941D-B595F7DCF15D}"/>
                </a:ext>
              </a:extLst>
            </p:cNvPr>
            <p:cNvSpPr>
              <a:spLocks noChangeArrowheads="1"/>
            </p:cNvSpPr>
            <p:nvPr/>
          </p:nvSpPr>
          <p:spPr bwMode="auto">
            <a:xfrm>
              <a:off x="9463861" y="4955355"/>
              <a:ext cx="1631" cy="11329"/>
            </a:xfrm>
            <a:custGeom>
              <a:avLst/>
              <a:gdLst>
                <a:gd name="T0" fmla="*/ 0 w 1"/>
                <a:gd name="T1" fmla="*/ 0 h 30"/>
                <a:gd name="T2" fmla="*/ 0 w 1"/>
                <a:gd name="T3" fmla="*/ 0 h 30"/>
                <a:gd name="T4" fmla="*/ 0 w 1"/>
                <a:gd name="T5" fmla="*/ 29 h 30"/>
                <a:gd name="T6" fmla="*/ 0 w 1"/>
                <a:gd name="T7" fmla="*/ 29 h 30"/>
                <a:gd name="T8" fmla="*/ 0 w 1"/>
                <a:gd name="T9" fmla="*/ 0 h 30"/>
              </a:gdLst>
              <a:ahLst/>
              <a:cxnLst>
                <a:cxn ang="0">
                  <a:pos x="T0" y="T1"/>
                </a:cxn>
                <a:cxn ang="0">
                  <a:pos x="T2" y="T3"/>
                </a:cxn>
                <a:cxn ang="0">
                  <a:pos x="T4" y="T5"/>
                </a:cxn>
                <a:cxn ang="0">
                  <a:pos x="T6" y="T7"/>
                </a:cxn>
                <a:cxn ang="0">
                  <a:pos x="T8" y="T9"/>
                </a:cxn>
              </a:cxnLst>
              <a:rect l="0" t="0" r="r" b="b"/>
              <a:pathLst>
                <a:path w="1" h="30">
                  <a:moveTo>
                    <a:pt x="0" y="0"/>
                  </a:moveTo>
                  <a:lnTo>
                    <a:pt x="0" y="0"/>
                  </a:lnTo>
                  <a:cubicBezTo>
                    <a:pt x="0" y="29"/>
                    <a:pt x="0" y="29"/>
                    <a:pt x="0" y="29"/>
                  </a:cubicBezTo>
                  <a:lnTo>
                    <a:pt x="0" y="29"/>
                  </a:ln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7" name="Freeform 234">
              <a:extLst>
                <a:ext uri="{FF2B5EF4-FFF2-40B4-BE49-F238E27FC236}">
                  <a16:creationId xmlns:a16="http://schemas.microsoft.com/office/drawing/2014/main" id="{AADA484B-8CDD-4542-996A-8C8C36080764}"/>
                </a:ext>
              </a:extLst>
            </p:cNvPr>
            <p:cNvSpPr>
              <a:spLocks noChangeArrowheads="1"/>
            </p:cNvSpPr>
            <p:nvPr/>
          </p:nvSpPr>
          <p:spPr bwMode="auto">
            <a:xfrm>
              <a:off x="9550297" y="4934318"/>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8" name="Freeform 235">
              <a:extLst>
                <a:ext uri="{FF2B5EF4-FFF2-40B4-BE49-F238E27FC236}">
                  <a16:creationId xmlns:a16="http://schemas.microsoft.com/office/drawing/2014/main" id="{1E4033F2-60A6-4AF2-8478-36DA1B853A43}"/>
                </a:ext>
              </a:extLst>
            </p:cNvPr>
            <p:cNvSpPr>
              <a:spLocks noChangeArrowheads="1"/>
            </p:cNvSpPr>
            <p:nvPr/>
          </p:nvSpPr>
          <p:spPr bwMode="auto">
            <a:xfrm>
              <a:off x="9517680" y="4934318"/>
              <a:ext cx="11415" cy="1618"/>
            </a:xfrm>
            <a:custGeom>
              <a:avLst/>
              <a:gdLst>
                <a:gd name="T0" fmla="*/ 30 w 31"/>
                <a:gd name="T1" fmla="*/ 0 h 1"/>
                <a:gd name="T2" fmla="*/ 30 w 31"/>
                <a:gd name="T3" fmla="*/ 0 h 1"/>
                <a:gd name="T4" fmla="*/ 0 w 31"/>
                <a:gd name="T5" fmla="*/ 0 h 1"/>
                <a:gd name="T6" fmla="*/ 0 w 31"/>
                <a:gd name="T7" fmla="*/ 0 h 1"/>
                <a:gd name="T8" fmla="*/ 0 w 31"/>
                <a:gd name="T9" fmla="*/ 0 h 1"/>
                <a:gd name="T10" fmla="*/ 30 w 31"/>
                <a:gd name="T11" fmla="*/ 0 h 1"/>
              </a:gdLst>
              <a:ahLst/>
              <a:cxnLst>
                <a:cxn ang="0">
                  <a:pos x="T0" y="T1"/>
                </a:cxn>
                <a:cxn ang="0">
                  <a:pos x="T2" y="T3"/>
                </a:cxn>
                <a:cxn ang="0">
                  <a:pos x="T4" y="T5"/>
                </a:cxn>
                <a:cxn ang="0">
                  <a:pos x="T6" y="T7"/>
                </a:cxn>
                <a:cxn ang="0">
                  <a:pos x="T8" y="T9"/>
                </a:cxn>
                <a:cxn ang="0">
                  <a:pos x="T10" y="T11"/>
                </a:cxn>
              </a:cxnLst>
              <a:rect l="0" t="0" r="r" b="b"/>
              <a:pathLst>
                <a:path w="31" h="1">
                  <a:moveTo>
                    <a:pt x="30" y="0"/>
                  </a:moveTo>
                  <a:lnTo>
                    <a:pt x="30" y="0"/>
                  </a:lnTo>
                  <a:lnTo>
                    <a:pt x="0" y="0"/>
                  </a:lnTo>
                  <a:lnTo>
                    <a:pt x="0" y="0"/>
                  </a:lnTo>
                  <a:lnTo>
                    <a:pt x="0" y="0"/>
                  </a:lnTo>
                  <a:lnTo>
                    <a:pt x="3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9" name="Freeform 236">
              <a:extLst>
                <a:ext uri="{FF2B5EF4-FFF2-40B4-BE49-F238E27FC236}">
                  <a16:creationId xmlns:a16="http://schemas.microsoft.com/office/drawing/2014/main" id="{78BC5A1F-FE0D-46BE-AC36-5D9D115E5B66}"/>
                </a:ext>
              </a:extLst>
            </p:cNvPr>
            <p:cNvSpPr>
              <a:spLocks noChangeArrowheads="1"/>
            </p:cNvSpPr>
            <p:nvPr/>
          </p:nvSpPr>
          <p:spPr bwMode="auto">
            <a:xfrm>
              <a:off x="9475278" y="4955355"/>
              <a:ext cx="11415" cy="11329"/>
            </a:xfrm>
            <a:custGeom>
              <a:avLst/>
              <a:gdLst>
                <a:gd name="T0" fmla="*/ 30 w 31"/>
                <a:gd name="T1" fmla="*/ 0 h 30"/>
                <a:gd name="T2" fmla="*/ 30 w 31"/>
                <a:gd name="T3" fmla="*/ 0 h 30"/>
                <a:gd name="T4" fmla="*/ 0 w 31"/>
                <a:gd name="T5" fmla="*/ 29 h 30"/>
                <a:gd name="T6" fmla="*/ 30 w 31"/>
                <a:gd name="T7" fmla="*/ 0 h 30"/>
              </a:gdLst>
              <a:ahLst/>
              <a:cxnLst>
                <a:cxn ang="0">
                  <a:pos x="T0" y="T1"/>
                </a:cxn>
                <a:cxn ang="0">
                  <a:pos x="T2" y="T3"/>
                </a:cxn>
                <a:cxn ang="0">
                  <a:pos x="T4" y="T5"/>
                </a:cxn>
                <a:cxn ang="0">
                  <a:pos x="T6" y="T7"/>
                </a:cxn>
              </a:cxnLst>
              <a:rect l="0" t="0" r="r" b="b"/>
              <a:pathLst>
                <a:path w="31" h="30">
                  <a:moveTo>
                    <a:pt x="30" y="0"/>
                  </a:moveTo>
                  <a:lnTo>
                    <a:pt x="30" y="0"/>
                  </a:lnTo>
                  <a:lnTo>
                    <a:pt x="0" y="29"/>
                  </a:lnTo>
                  <a:lnTo>
                    <a:pt x="3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0" name="Freeform 237">
              <a:extLst>
                <a:ext uri="{FF2B5EF4-FFF2-40B4-BE49-F238E27FC236}">
                  <a16:creationId xmlns:a16="http://schemas.microsoft.com/office/drawing/2014/main" id="{F31E3D2B-6DD4-4D5C-9D72-C5F853FE2C15}"/>
                </a:ext>
              </a:extLst>
            </p:cNvPr>
            <p:cNvSpPr>
              <a:spLocks noChangeArrowheads="1"/>
            </p:cNvSpPr>
            <p:nvPr/>
          </p:nvSpPr>
          <p:spPr bwMode="auto">
            <a:xfrm>
              <a:off x="9830802" y="5180302"/>
              <a:ext cx="11415" cy="21038"/>
            </a:xfrm>
            <a:custGeom>
              <a:avLst/>
              <a:gdLst>
                <a:gd name="T0" fmla="*/ 29 w 30"/>
                <a:gd name="T1" fmla="*/ 0 h 59"/>
                <a:gd name="T2" fmla="*/ 29 w 30"/>
                <a:gd name="T3" fmla="*/ 0 h 59"/>
                <a:gd name="T4" fmla="*/ 0 w 30"/>
                <a:gd name="T5" fmla="*/ 58 h 59"/>
                <a:gd name="T6" fmla="*/ 0 w 30"/>
                <a:gd name="T7" fmla="*/ 58 h 59"/>
                <a:gd name="T8" fmla="*/ 0 w 30"/>
                <a:gd name="T9" fmla="*/ 58 h 59"/>
                <a:gd name="T10" fmla="*/ 29 w 30"/>
                <a:gd name="T11" fmla="*/ 0 h 59"/>
              </a:gdLst>
              <a:ahLst/>
              <a:cxnLst>
                <a:cxn ang="0">
                  <a:pos x="T0" y="T1"/>
                </a:cxn>
                <a:cxn ang="0">
                  <a:pos x="T2" y="T3"/>
                </a:cxn>
                <a:cxn ang="0">
                  <a:pos x="T4" y="T5"/>
                </a:cxn>
                <a:cxn ang="0">
                  <a:pos x="T6" y="T7"/>
                </a:cxn>
                <a:cxn ang="0">
                  <a:pos x="T8" y="T9"/>
                </a:cxn>
                <a:cxn ang="0">
                  <a:pos x="T10" y="T11"/>
                </a:cxn>
              </a:cxnLst>
              <a:rect l="0" t="0" r="r" b="b"/>
              <a:pathLst>
                <a:path w="30" h="59">
                  <a:moveTo>
                    <a:pt x="29" y="0"/>
                  </a:moveTo>
                  <a:lnTo>
                    <a:pt x="29" y="0"/>
                  </a:lnTo>
                  <a:cubicBezTo>
                    <a:pt x="29" y="29"/>
                    <a:pt x="29" y="58"/>
                    <a:pt x="0" y="58"/>
                  </a:cubicBezTo>
                  <a:lnTo>
                    <a:pt x="0" y="58"/>
                  </a:lnTo>
                  <a:lnTo>
                    <a:pt x="0" y="58"/>
                  </a:lnTo>
                  <a:cubicBezTo>
                    <a:pt x="29" y="58"/>
                    <a:pt x="29" y="29"/>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1" name="Freeform 238">
              <a:extLst>
                <a:ext uri="{FF2B5EF4-FFF2-40B4-BE49-F238E27FC236}">
                  <a16:creationId xmlns:a16="http://schemas.microsoft.com/office/drawing/2014/main" id="{1254FB0B-2091-4520-AEDE-C9286526F1DE}"/>
                </a:ext>
              </a:extLst>
            </p:cNvPr>
            <p:cNvSpPr>
              <a:spLocks noChangeArrowheads="1"/>
            </p:cNvSpPr>
            <p:nvPr/>
          </p:nvSpPr>
          <p:spPr bwMode="auto">
            <a:xfrm>
              <a:off x="9701965" y="4955355"/>
              <a:ext cx="11416" cy="11329"/>
            </a:xfrm>
            <a:custGeom>
              <a:avLst/>
              <a:gdLst>
                <a:gd name="T0" fmla="*/ 0 w 29"/>
                <a:gd name="T1" fmla="*/ 29 h 30"/>
                <a:gd name="T2" fmla="*/ 0 w 29"/>
                <a:gd name="T3" fmla="*/ 29 h 30"/>
                <a:gd name="T4" fmla="*/ 28 w 29"/>
                <a:gd name="T5" fmla="*/ 0 h 30"/>
                <a:gd name="T6" fmla="*/ 0 w 29"/>
                <a:gd name="T7" fmla="*/ 29 h 30"/>
              </a:gdLst>
              <a:ahLst/>
              <a:cxnLst>
                <a:cxn ang="0">
                  <a:pos x="T0" y="T1"/>
                </a:cxn>
                <a:cxn ang="0">
                  <a:pos x="T2" y="T3"/>
                </a:cxn>
                <a:cxn ang="0">
                  <a:pos x="T4" y="T5"/>
                </a:cxn>
                <a:cxn ang="0">
                  <a:pos x="T6" y="T7"/>
                </a:cxn>
              </a:cxnLst>
              <a:rect l="0" t="0" r="r" b="b"/>
              <a:pathLst>
                <a:path w="29" h="30">
                  <a:moveTo>
                    <a:pt x="0" y="29"/>
                  </a:moveTo>
                  <a:lnTo>
                    <a:pt x="0" y="29"/>
                  </a:lnTo>
                  <a:cubicBezTo>
                    <a:pt x="0" y="0"/>
                    <a:pt x="28" y="0"/>
                    <a:pt x="28" y="0"/>
                  </a:cubicBezTo>
                  <a:cubicBezTo>
                    <a:pt x="28" y="0"/>
                    <a:pt x="0"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2" name="Freeform 239">
              <a:extLst>
                <a:ext uri="{FF2B5EF4-FFF2-40B4-BE49-F238E27FC236}">
                  <a16:creationId xmlns:a16="http://schemas.microsoft.com/office/drawing/2014/main" id="{2A05FE19-986C-46F2-B250-FFAC3F35AF58}"/>
                </a:ext>
              </a:extLst>
            </p:cNvPr>
            <p:cNvSpPr>
              <a:spLocks noChangeArrowheads="1"/>
            </p:cNvSpPr>
            <p:nvPr/>
          </p:nvSpPr>
          <p:spPr bwMode="auto">
            <a:xfrm>
              <a:off x="9367642" y="4892241"/>
              <a:ext cx="11415" cy="1618"/>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cubicBezTo>
                    <a:pt x="0" y="0"/>
                    <a:pt x="0" y="0"/>
                    <a:pt x="0" y="0"/>
                  </a:cubicBez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3" name="Freeform 240">
              <a:extLst>
                <a:ext uri="{FF2B5EF4-FFF2-40B4-BE49-F238E27FC236}">
                  <a16:creationId xmlns:a16="http://schemas.microsoft.com/office/drawing/2014/main" id="{D6D9611E-7953-415E-9FA0-7EEE3D67FFA6}"/>
                </a:ext>
              </a:extLst>
            </p:cNvPr>
            <p:cNvSpPr>
              <a:spLocks noChangeArrowheads="1"/>
            </p:cNvSpPr>
            <p:nvPr/>
          </p:nvSpPr>
          <p:spPr bwMode="auto">
            <a:xfrm>
              <a:off x="9475278" y="4966684"/>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4" name="Freeform 241">
              <a:extLst>
                <a:ext uri="{FF2B5EF4-FFF2-40B4-BE49-F238E27FC236}">
                  <a16:creationId xmlns:a16="http://schemas.microsoft.com/office/drawing/2014/main" id="{58F81B48-A526-46C0-BDD9-552006881D09}"/>
                </a:ext>
              </a:extLst>
            </p:cNvPr>
            <p:cNvSpPr>
              <a:spLocks noChangeArrowheads="1"/>
            </p:cNvSpPr>
            <p:nvPr/>
          </p:nvSpPr>
          <p:spPr bwMode="auto">
            <a:xfrm>
              <a:off x="9344810" y="4859875"/>
              <a:ext cx="11415" cy="32366"/>
            </a:xfrm>
            <a:custGeom>
              <a:avLst/>
              <a:gdLst>
                <a:gd name="T0" fmla="*/ 30 w 31"/>
                <a:gd name="T1" fmla="*/ 0 h 89"/>
                <a:gd name="T2" fmla="*/ 30 w 31"/>
                <a:gd name="T3" fmla="*/ 0 h 89"/>
                <a:gd name="T4" fmla="*/ 0 w 31"/>
                <a:gd name="T5" fmla="*/ 0 h 89"/>
                <a:gd name="T6" fmla="*/ 0 w 31"/>
                <a:gd name="T7" fmla="*/ 0 h 89"/>
                <a:gd name="T8" fmla="*/ 30 w 31"/>
                <a:gd name="T9" fmla="*/ 0 h 89"/>
                <a:gd name="T10" fmla="*/ 30 w 31"/>
                <a:gd name="T11" fmla="*/ 30 h 89"/>
                <a:gd name="T12" fmla="*/ 30 w 31"/>
                <a:gd name="T13" fmla="*/ 88 h 89"/>
                <a:gd name="T14" fmla="*/ 30 w 31"/>
                <a:gd name="T15" fmla="*/ 88 h 89"/>
                <a:gd name="T16" fmla="*/ 30 w 31"/>
                <a:gd name="T17" fmla="*/ 88 h 89"/>
                <a:gd name="T18" fmla="*/ 30 w 31"/>
                <a:gd name="T19" fmla="*/ 30 h 89"/>
                <a:gd name="T20" fmla="*/ 30 w 31"/>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89">
                  <a:moveTo>
                    <a:pt x="30" y="0"/>
                  </a:moveTo>
                  <a:lnTo>
                    <a:pt x="30" y="0"/>
                  </a:lnTo>
                  <a:cubicBezTo>
                    <a:pt x="0" y="0"/>
                    <a:pt x="0" y="0"/>
                    <a:pt x="0" y="0"/>
                  </a:cubicBezTo>
                  <a:lnTo>
                    <a:pt x="0" y="0"/>
                  </a:lnTo>
                  <a:cubicBezTo>
                    <a:pt x="0" y="0"/>
                    <a:pt x="0" y="0"/>
                    <a:pt x="30" y="0"/>
                  </a:cubicBezTo>
                  <a:cubicBezTo>
                    <a:pt x="30" y="0"/>
                    <a:pt x="30" y="0"/>
                    <a:pt x="30" y="30"/>
                  </a:cubicBezTo>
                  <a:cubicBezTo>
                    <a:pt x="0" y="30"/>
                    <a:pt x="0" y="59"/>
                    <a:pt x="30" y="88"/>
                  </a:cubicBezTo>
                  <a:lnTo>
                    <a:pt x="30" y="88"/>
                  </a:lnTo>
                  <a:lnTo>
                    <a:pt x="30" y="88"/>
                  </a:lnTo>
                  <a:cubicBezTo>
                    <a:pt x="0" y="59"/>
                    <a:pt x="0" y="30"/>
                    <a:pt x="30" y="30"/>
                  </a:cubicBezTo>
                  <a:cubicBezTo>
                    <a:pt x="30" y="0"/>
                    <a:pt x="3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5" name="Freeform 242">
              <a:extLst>
                <a:ext uri="{FF2B5EF4-FFF2-40B4-BE49-F238E27FC236}">
                  <a16:creationId xmlns:a16="http://schemas.microsoft.com/office/drawing/2014/main" id="{EBEFACF4-43A2-47C8-AF13-7F3BFF774ED0}"/>
                </a:ext>
              </a:extLst>
            </p:cNvPr>
            <p:cNvSpPr>
              <a:spLocks noChangeArrowheads="1"/>
            </p:cNvSpPr>
            <p:nvPr/>
          </p:nvSpPr>
          <p:spPr bwMode="auto">
            <a:xfrm>
              <a:off x="9335025" y="4869585"/>
              <a:ext cx="1630" cy="11328"/>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6" name="Freeform 243">
              <a:extLst>
                <a:ext uri="{FF2B5EF4-FFF2-40B4-BE49-F238E27FC236}">
                  <a16:creationId xmlns:a16="http://schemas.microsoft.com/office/drawing/2014/main" id="{3BC7B8C1-6697-4D71-9866-A337AE2277F2}"/>
                </a:ext>
              </a:extLst>
            </p:cNvPr>
            <p:cNvSpPr>
              <a:spLocks noChangeArrowheads="1"/>
            </p:cNvSpPr>
            <p:nvPr/>
          </p:nvSpPr>
          <p:spPr bwMode="auto">
            <a:xfrm>
              <a:off x="9335025" y="4880913"/>
              <a:ext cx="44032" cy="21039"/>
            </a:xfrm>
            <a:custGeom>
              <a:avLst/>
              <a:gdLst>
                <a:gd name="T0" fmla="*/ 117 w 118"/>
                <a:gd name="T1" fmla="*/ 58 h 59"/>
                <a:gd name="T2" fmla="*/ 117 w 118"/>
                <a:gd name="T3" fmla="*/ 58 h 59"/>
                <a:gd name="T4" fmla="*/ 117 w 118"/>
                <a:gd name="T5" fmla="*/ 58 h 59"/>
                <a:gd name="T6" fmla="*/ 59 w 118"/>
                <a:gd name="T7" fmla="*/ 29 h 59"/>
                <a:gd name="T8" fmla="*/ 29 w 118"/>
                <a:gd name="T9" fmla="*/ 29 h 59"/>
                <a:gd name="T10" fmla="*/ 0 w 118"/>
                <a:gd name="T11" fmla="*/ 0 h 59"/>
                <a:gd name="T12" fmla="*/ 0 w 118"/>
                <a:gd name="T13" fmla="*/ 0 h 59"/>
                <a:gd name="T14" fmla="*/ 29 w 118"/>
                <a:gd name="T15" fmla="*/ 29 h 59"/>
                <a:gd name="T16" fmla="*/ 59 w 118"/>
                <a:gd name="T17" fmla="*/ 29 h 59"/>
                <a:gd name="T18" fmla="*/ 117 w 118"/>
                <a:gd name="T19" fmla="*/ 5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59">
                  <a:moveTo>
                    <a:pt x="117" y="58"/>
                  </a:moveTo>
                  <a:lnTo>
                    <a:pt x="117" y="58"/>
                  </a:lnTo>
                  <a:lnTo>
                    <a:pt x="117" y="58"/>
                  </a:lnTo>
                  <a:cubicBezTo>
                    <a:pt x="88" y="58"/>
                    <a:pt x="88" y="58"/>
                    <a:pt x="59" y="29"/>
                  </a:cubicBezTo>
                  <a:lnTo>
                    <a:pt x="29" y="29"/>
                  </a:lnTo>
                  <a:cubicBezTo>
                    <a:pt x="0" y="0"/>
                    <a:pt x="0" y="0"/>
                    <a:pt x="0" y="0"/>
                  </a:cubicBezTo>
                  <a:lnTo>
                    <a:pt x="0" y="0"/>
                  </a:lnTo>
                  <a:cubicBezTo>
                    <a:pt x="29" y="29"/>
                    <a:pt x="29" y="29"/>
                    <a:pt x="29" y="29"/>
                  </a:cubicBezTo>
                  <a:lnTo>
                    <a:pt x="59" y="29"/>
                  </a:lnTo>
                  <a:cubicBezTo>
                    <a:pt x="88" y="58"/>
                    <a:pt x="88" y="58"/>
                    <a:pt x="117"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7" name="Freeform 244">
              <a:extLst>
                <a:ext uri="{FF2B5EF4-FFF2-40B4-BE49-F238E27FC236}">
                  <a16:creationId xmlns:a16="http://schemas.microsoft.com/office/drawing/2014/main" id="{8272D88F-F512-441A-88A9-2E6FEB8605AE}"/>
                </a:ext>
              </a:extLst>
            </p:cNvPr>
            <p:cNvSpPr>
              <a:spLocks noChangeArrowheads="1"/>
            </p:cNvSpPr>
            <p:nvPr/>
          </p:nvSpPr>
          <p:spPr bwMode="auto">
            <a:xfrm>
              <a:off x="9463861" y="4955355"/>
              <a:ext cx="11416" cy="1619"/>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0" y="0"/>
                    <a:pt x="0" y="0"/>
                    <a:pt x="29"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8" name="Freeform 245">
              <a:extLst>
                <a:ext uri="{FF2B5EF4-FFF2-40B4-BE49-F238E27FC236}">
                  <a16:creationId xmlns:a16="http://schemas.microsoft.com/office/drawing/2014/main" id="{44FF410E-B57D-413C-B16E-1D9AB2A37271}"/>
                </a:ext>
              </a:extLst>
            </p:cNvPr>
            <p:cNvSpPr>
              <a:spLocks noChangeArrowheads="1"/>
            </p:cNvSpPr>
            <p:nvPr/>
          </p:nvSpPr>
          <p:spPr bwMode="auto">
            <a:xfrm>
              <a:off x="8977869" y="4869585"/>
              <a:ext cx="11416" cy="11328"/>
            </a:xfrm>
            <a:custGeom>
              <a:avLst/>
              <a:gdLst>
                <a:gd name="T0" fmla="*/ 0 w 30"/>
                <a:gd name="T1" fmla="*/ 0 h 30"/>
                <a:gd name="T2" fmla="*/ 0 w 30"/>
                <a:gd name="T3" fmla="*/ 0 h 30"/>
                <a:gd name="T4" fmla="*/ 29 w 30"/>
                <a:gd name="T5" fmla="*/ 29 h 30"/>
                <a:gd name="T6" fmla="*/ 0 w 30"/>
                <a:gd name="T7" fmla="*/ 0 h 30"/>
              </a:gdLst>
              <a:ahLst/>
              <a:cxnLst>
                <a:cxn ang="0">
                  <a:pos x="T0" y="T1"/>
                </a:cxn>
                <a:cxn ang="0">
                  <a:pos x="T2" y="T3"/>
                </a:cxn>
                <a:cxn ang="0">
                  <a:pos x="T4" y="T5"/>
                </a:cxn>
                <a:cxn ang="0">
                  <a:pos x="T6" y="T7"/>
                </a:cxn>
              </a:cxnLst>
              <a:rect l="0" t="0" r="r" b="b"/>
              <a:pathLst>
                <a:path w="30" h="30">
                  <a:moveTo>
                    <a:pt x="0" y="0"/>
                  </a:moveTo>
                  <a:lnTo>
                    <a:pt x="0" y="0"/>
                  </a:lnTo>
                  <a:cubicBezTo>
                    <a:pt x="0" y="29"/>
                    <a:pt x="29" y="29"/>
                    <a:pt x="29" y="29"/>
                  </a:cubicBezTo>
                  <a:cubicBezTo>
                    <a:pt x="29"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9" name="Freeform 246">
              <a:extLst>
                <a:ext uri="{FF2B5EF4-FFF2-40B4-BE49-F238E27FC236}">
                  <a16:creationId xmlns:a16="http://schemas.microsoft.com/office/drawing/2014/main" id="{2621C751-4F89-4665-A58C-BC88489CA97C}"/>
                </a:ext>
              </a:extLst>
            </p:cNvPr>
            <p:cNvSpPr>
              <a:spLocks noChangeArrowheads="1"/>
            </p:cNvSpPr>
            <p:nvPr/>
          </p:nvSpPr>
          <p:spPr bwMode="auto">
            <a:xfrm>
              <a:off x="9356226" y="4892241"/>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10" name="Freeform 247">
              <a:extLst>
                <a:ext uri="{FF2B5EF4-FFF2-40B4-BE49-F238E27FC236}">
                  <a16:creationId xmlns:a16="http://schemas.microsoft.com/office/drawing/2014/main" id="{177BB330-7A9B-4673-A6BF-DCE55B1C6D12}"/>
                </a:ext>
              </a:extLst>
            </p:cNvPr>
            <p:cNvSpPr>
              <a:spLocks noChangeArrowheads="1"/>
            </p:cNvSpPr>
            <p:nvPr/>
          </p:nvSpPr>
          <p:spPr bwMode="auto">
            <a:xfrm>
              <a:off x="9227389" y="4848546"/>
              <a:ext cx="11415" cy="1619"/>
            </a:xfrm>
            <a:custGeom>
              <a:avLst/>
              <a:gdLst>
                <a:gd name="T0" fmla="*/ 29 w 30"/>
                <a:gd name="T1" fmla="*/ 0 h 1"/>
                <a:gd name="T2" fmla="*/ 29 w 30"/>
                <a:gd name="T3" fmla="*/ 0 h 1"/>
                <a:gd name="T4" fmla="*/ 29 w 30"/>
                <a:gd name="T5" fmla="*/ 0 h 1"/>
                <a:gd name="T6" fmla="*/ 0 w 30"/>
                <a:gd name="T7" fmla="*/ 0 h 1"/>
                <a:gd name="T8" fmla="*/ 0 w 30"/>
                <a:gd name="T9" fmla="*/ 0 h 1"/>
                <a:gd name="T10" fmla="*/ 0 w 30"/>
                <a:gd name="T11" fmla="*/ 0 h 1"/>
                <a:gd name="T12" fmla="*/ 29 w 30"/>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0" h="1">
                  <a:moveTo>
                    <a:pt x="29" y="0"/>
                  </a:moveTo>
                  <a:lnTo>
                    <a:pt x="29" y="0"/>
                  </a:lnTo>
                  <a:lnTo>
                    <a:pt x="29" y="0"/>
                  </a:lnTo>
                  <a:lnTo>
                    <a:pt x="0" y="0"/>
                  </a:lnTo>
                  <a:lnTo>
                    <a:pt x="0" y="0"/>
                  </a:lnTo>
                  <a:lnTo>
                    <a:pt x="0" y="0"/>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11" name="Freeform 248">
              <a:extLst>
                <a:ext uri="{FF2B5EF4-FFF2-40B4-BE49-F238E27FC236}">
                  <a16:creationId xmlns:a16="http://schemas.microsoft.com/office/drawing/2014/main" id="{F73BCC51-52DB-4D07-A56A-C72AB2337513}"/>
                </a:ext>
              </a:extLst>
            </p:cNvPr>
            <p:cNvSpPr>
              <a:spLocks noChangeArrowheads="1"/>
            </p:cNvSpPr>
            <p:nvPr/>
          </p:nvSpPr>
          <p:spPr bwMode="auto">
            <a:xfrm>
              <a:off x="8395658" y="4024822"/>
              <a:ext cx="485992" cy="888457"/>
            </a:xfrm>
            <a:custGeom>
              <a:avLst/>
              <a:gdLst>
                <a:gd name="T0" fmla="*/ 1313 w 1314"/>
                <a:gd name="T1" fmla="*/ 204 h 2422"/>
                <a:gd name="T2" fmla="*/ 1313 w 1314"/>
                <a:gd name="T3" fmla="*/ 58 h 2422"/>
                <a:gd name="T4" fmla="*/ 1021 w 1314"/>
                <a:gd name="T5" fmla="*/ 29 h 2422"/>
                <a:gd name="T6" fmla="*/ 583 w 1314"/>
                <a:gd name="T7" fmla="*/ 29 h 2422"/>
                <a:gd name="T8" fmla="*/ 496 w 1314"/>
                <a:gd name="T9" fmla="*/ 88 h 2422"/>
                <a:gd name="T10" fmla="*/ 467 w 1314"/>
                <a:gd name="T11" fmla="*/ 116 h 2422"/>
                <a:gd name="T12" fmla="*/ 467 w 1314"/>
                <a:gd name="T13" fmla="*/ 174 h 2422"/>
                <a:gd name="T14" fmla="*/ 409 w 1314"/>
                <a:gd name="T15" fmla="*/ 262 h 2422"/>
                <a:gd name="T16" fmla="*/ 292 w 1314"/>
                <a:gd name="T17" fmla="*/ 438 h 2422"/>
                <a:gd name="T18" fmla="*/ 204 w 1314"/>
                <a:gd name="T19" fmla="*/ 700 h 2422"/>
                <a:gd name="T20" fmla="*/ 263 w 1314"/>
                <a:gd name="T21" fmla="*/ 787 h 2422"/>
                <a:gd name="T22" fmla="*/ 233 w 1314"/>
                <a:gd name="T23" fmla="*/ 845 h 2422"/>
                <a:gd name="T24" fmla="*/ 263 w 1314"/>
                <a:gd name="T25" fmla="*/ 904 h 2422"/>
                <a:gd name="T26" fmla="*/ 204 w 1314"/>
                <a:gd name="T27" fmla="*/ 991 h 2422"/>
                <a:gd name="T28" fmla="*/ 233 w 1314"/>
                <a:gd name="T29" fmla="*/ 1050 h 2422"/>
                <a:gd name="T30" fmla="*/ 233 w 1314"/>
                <a:gd name="T31" fmla="*/ 1050 h 2422"/>
                <a:gd name="T32" fmla="*/ 204 w 1314"/>
                <a:gd name="T33" fmla="*/ 1137 h 2422"/>
                <a:gd name="T34" fmla="*/ 233 w 1314"/>
                <a:gd name="T35" fmla="*/ 1283 h 2422"/>
                <a:gd name="T36" fmla="*/ 263 w 1314"/>
                <a:gd name="T37" fmla="*/ 1371 h 2422"/>
                <a:gd name="T38" fmla="*/ 233 w 1314"/>
                <a:gd name="T39" fmla="*/ 1516 h 2422"/>
                <a:gd name="T40" fmla="*/ 175 w 1314"/>
                <a:gd name="T41" fmla="*/ 1662 h 2422"/>
                <a:gd name="T42" fmla="*/ 117 w 1314"/>
                <a:gd name="T43" fmla="*/ 1721 h 2422"/>
                <a:gd name="T44" fmla="*/ 117 w 1314"/>
                <a:gd name="T45" fmla="*/ 1808 h 2422"/>
                <a:gd name="T46" fmla="*/ 30 w 1314"/>
                <a:gd name="T47" fmla="*/ 1924 h 2422"/>
                <a:gd name="T48" fmla="*/ 30 w 1314"/>
                <a:gd name="T49" fmla="*/ 1983 h 2422"/>
                <a:gd name="T50" fmla="*/ 0 w 1314"/>
                <a:gd name="T51" fmla="*/ 2071 h 2422"/>
                <a:gd name="T52" fmla="*/ 671 w 1314"/>
                <a:gd name="T53" fmla="*/ 2041 h 2422"/>
                <a:gd name="T54" fmla="*/ 759 w 1314"/>
                <a:gd name="T55" fmla="*/ 2041 h 2422"/>
                <a:gd name="T56" fmla="*/ 788 w 1314"/>
                <a:gd name="T57" fmla="*/ 2158 h 2422"/>
                <a:gd name="T58" fmla="*/ 788 w 1314"/>
                <a:gd name="T59" fmla="*/ 2245 h 2422"/>
                <a:gd name="T60" fmla="*/ 817 w 1314"/>
                <a:gd name="T61" fmla="*/ 2333 h 2422"/>
                <a:gd name="T62" fmla="*/ 846 w 1314"/>
                <a:gd name="T63" fmla="*/ 2362 h 2422"/>
                <a:gd name="T64" fmla="*/ 904 w 1314"/>
                <a:gd name="T65" fmla="*/ 2421 h 2422"/>
                <a:gd name="T66" fmla="*/ 933 w 1314"/>
                <a:gd name="T67" fmla="*/ 2391 h 2422"/>
                <a:gd name="T68" fmla="*/ 1080 w 1314"/>
                <a:gd name="T69" fmla="*/ 2362 h 2422"/>
                <a:gd name="T70" fmla="*/ 1196 w 1314"/>
                <a:gd name="T71" fmla="*/ 2333 h 2422"/>
                <a:gd name="T72" fmla="*/ 1313 w 1314"/>
                <a:gd name="T73" fmla="*/ 2333 h 2422"/>
                <a:gd name="T74" fmla="*/ 1313 w 1314"/>
                <a:gd name="T75" fmla="*/ 262 h 2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14" h="2422">
                  <a:moveTo>
                    <a:pt x="1313" y="204"/>
                  </a:moveTo>
                  <a:lnTo>
                    <a:pt x="1313" y="204"/>
                  </a:lnTo>
                  <a:cubicBezTo>
                    <a:pt x="1313" y="145"/>
                    <a:pt x="1313" y="116"/>
                    <a:pt x="1313" y="88"/>
                  </a:cubicBezTo>
                  <a:lnTo>
                    <a:pt x="1313" y="58"/>
                  </a:lnTo>
                  <a:lnTo>
                    <a:pt x="1283" y="29"/>
                  </a:lnTo>
                  <a:cubicBezTo>
                    <a:pt x="1196" y="29"/>
                    <a:pt x="1138" y="29"/>
                    <a:pt x="1021" y="29"/>
                  </a:cubicBezTo>
                  <a:lnTo>
                    <a:pt x="1021" y="29"/>
                  </a:lnTo>
                  <a:cubicBezTo>
                    <a:pt x="875" y="29"/>
                    <a:pt x="730" y="29"/>
                    <a:pt x="583" y="29"/>
                  </a:cubicBezTo>
                  <a:cubicBezTo>
                    <a:pt x="525" y="0"/>
                    <a:pt x="525" y="0"/>
                    <a:pt x="525" y="0"/>
                  </a:cubicBezTo>
                  <a:cubicBezTo>
                    <a:pt x="525" y="58"/>
                    <a:pt x="496" y="58"/>
                    <a:pt x="496" y="88"/>
                  </a:cubicBezTo>
                  <a:lnTo>
                    <a:pt x="467" y="116"/>
                  </a:lnTo>
                  <a:lnTo>
                    <a:pt x="467" y="116"/>
                  </a:lnTo>
                  <a:cubicBezTo>
                    <a:pt x="467" y="145"/>
                    <a:pt x="467" y="145"/>
                    <a:pt x="467" y="174"/>
                  </a:cubicBezTo>
                  <a:lnTo>
                    <a:pt x="467" y="174"/>
                  </a:lnTo>
                  <a:lnTo>
                    <a:pt x="467" y="174"/>
                  </a:lnTo>
                  <a:cubicBezTo>
                    <a:pt x="438" y="204"/>
                    <a:pt x="438" y="233"/>
                    <a:pt x="409" y="262"/>
                  </a:cubicBezTo>
                  <a:cubicBezTo>
                    <a:pt x="380" y="291"/>
                    <a:pt x="380" y="350"/>
                    <a:pt x="350" y="379"/>
                  </a:cubicBezTo>
                  <a:cubicBezTo>
                    <a:pt x="350" y="408"/>
                    <a:pt x="321" y="408"/>
                    <a:pt x="292" y="438"/>
                  </a:cubicBezTo>
                  <a:cubicBezTo>
                    <a:pt x="263" y="466"/>
                    <a:pt x="233" y="524"/>
                    <a:pt x="233" y="554"/>
                  </a:cubicBezTo>
                  <a:cubicBezTo>
                    <a:pt x="204" y="583"/>
                    <a:pt x="175" y="641"/>
                    <a:pt x="204" y="700"/>
                  </a:cubicBezTo>
                  <a:cubicBezTo>
                    <a:pt x="204" y="729"/>
                    <a:pt x="204" y="729"/>
                    <a:pt x="233" y="729"/>
                  </a:cubicBezTo>
                  <a:cubicBezTo>
                    <a:pt x="233" y="758"/>
                    <a:pt x="233" y="758"/>
                    <a:pt x="263" y="787"/>
                  </a:cubicBezTo>
                  <a:cubicBezTo>
                    <a:pt x="263" y="816"/>
                    <a:pt x="233" y="816"/>
                    <a:pt x="233" y="845"/>
                  </a:cubicBezTo>
                  <a:lnTo>
                    <a:pt x="233" y="845"/>
                  </a:lnTo>
                  <a:lnTo>
                    <a:pt x="233" y="845"/>
                  </a:lnTo>
                  <a:cubicBezTo>
                    <a:pt x="233" y="874"/>
                    <a:pt x="263" y="874"/>
                    <a:pt x="263" y="904"/>
                  </a:cubicBezTo>
                  <a:lnTo>
                    <a:pt x="263" y="904"/>
                  </a:lnTo>
                  <a:cubicBezTo>
                    <a:pt x="233" y="933"/>
                    <a:pt x="233" y="962"/>
                    <a:pt x="204" y="991"/>
                  </a:cubicBezTo>
                  <a:cubicBezTo>
                    <a:pt x="204" y="1021"/>
                    <a:pt x="204" y="1021"/>
                    <a:pt x="204" y="1021"/>
                  </a:cubicBezTo>
                  <a:lnTo>
                    <a:pt x="233" y="1050"/>
                  </a:lnTo>
                  <a:lnTo>
                    <a:pt x="233" y="1050"/>
                  </a:lnTo>
                  <a:lnTo>
                    <a:pt x="233" y="1050"/>
                  </a:lnTo>
                  <a:cubicBezTo>
                    <a:pt x="233" y="1079"/>
                    <a:pt x="204" y="1079"/>
                    <a:pt x="204" y="1108"/>
                  </a:cubicBezTo>
                  <a:lnTo>
                    <a:pt x="204" y="1137"/>
                  </a:lnTo>
                  <a:cubicBezTo>
                    <a:pt x="204" y="1166"/>
                    <a:pt x="204" y="1166"/>
                    <a:pt x="204" y="1195"/>
                  </a:cubicBezTo>
                  <a:cubicBezTo>
                    <a:pt x="233" y="1224"/>
                    <a:pt x="233" y="1254"/>
                    <a:pt x="233" y="1283"/>
                  </a:cubicBezTo>
                  <a:cubicBezTo>
                    <a:pt x="233" y="1283"/>
                    <a:pt x="233" y="1283"/>
                    <a:pt x="233" y="1312"/>
                  </a:cubicBezTo>
                  <a:cubicBezTo>
                    <a:pt x="263" y="1312"/>
                    <a:pt x="263" y="1341"/>
                    <a:pt x="263" y="1371"/>
                  </a:cubicBezTo>
                  <a:cubicBezTo>
                    <a:pt x="292" y="1429"/>
                    <a:pt x="263" y="1458"/>
                    <a:pt x="233" y="1487"/>
                  </a:cubicBezTo>
                  <a:cubicBezTo>
                    <a:pt x="233" y="1487"/>
                    <a:pt x="233" y="1487"/>
                    <a:pt x="233" y="1516"/>
                  </a:cubicBezTo>
                  <a:cubicBezTo>
                    <a:pt x="204" y="1516"/>
                    <a:pt x="204" y="1545"/>
                    <a:pt x="204" y="1574"/>
                  </a:cubicBezTo>
                  <a:cubicBezTo>
                    <a:pt x="204" y="1604"/>
                    <a:pt x="175" y="1633"/>
                    <a:pt x="175" y="1662"/>
                  </a:cubicBezTo>
                  <a:cubicBezTo>
                    <a:pt x="175" y="1662"/>
                    <a:pt x="175" y="1691"/>
                    <a:pt x="146" y="1691"/>
                  </a:cubicBezTo>
                  <a:cubicBezTo>
                    <a:pt x="146" y="1691"/>
                    <a:pt x="146" y="1721"/>
                    <a:pt x="117" y="1721"/>
                  </a:cubicBezTo>
                  <a:lnTo>
                    <a:pt x="117" y="1750"/>
                  </a:lnTo>
                  <a:cubicBezTo>
                    <a:pt x="117" y="1779"/>
                    <a:pt x="117" y="1779"/>
                    <a:pt x="117" y="1808"/>
                  </a:cubicBezTo>
                  <a:cubicBezTo>
                    <a:pt x="88" y="1808"/>
                    <a:pt x="88" y="1837"/>
                    <a:pt x="88" y="1866"/>
                  </a:cubicBezTo>
                  <a:cubicBezTo>
                    <a:pt x="59" y="1895"/>
                    <a:pt x="59" y="1895"/>
                    <a:pt x="30" y="1924"/>
                  </a:cubicBezTo>
                  <a:lnTo>
                    <a:pt x="30" y="1954"/>
                  </a:lnTo>
                  <a:lnTo>
                    <a:pt x="30" y="1983"/>
                  </a:lnTo>
                  <a:cubicBezTo>
                    <a:pt x="30" y="2012"/>
                    <a:pt x="30" y="2012"/>
                    <a:pt x="0" y="2041"/>
                  </a:cubicBezTo>
                  <a:cubicBezTo>
                    <a:pt x="0" y="2041"/>
                    <a:pt x="0" y="2041"/>
                    <a:pt x="0" y="2071"/>
                  </a:cubicBezTo>
                  <a:cubicBezTo>
                    <a:pt x="117" y="2071"/>
                    <a:pt x="204" y="2041"/>
                    <a:pt x="321" y="2041"/>
                  </a:cubicBezTo>
                  <a:cubicBezTo>
                    <a:pt x="438" y="2041"/>
                    <a:pt x="554" y="2041"/>
                    <a:pt x="671" y="2041"/>
                  </a:cubicBezTo>
                  <a:cubicBezTo>
                    <a:pt x="700" y="2041"/>
                    <a:pt x="730" y="2041"/>
                    <a:pt x="759" y="2041"/>
                  </a:cubicBezTo>
                  <a:lnTo>
                    <a:pt x="759" y="2041"/>
                  </a:lnTo>
                  <a:cubicBezTo>
                    <a:pt x="788" y="2041"/>
                    <a:pt x="788" y="2041"/>
                    <a:pt x="788" y="2041"/>
                  </a:cubicBezTo>
                  <a:cubicBezTo>
                    <a:pt x="788" y="2100"/>
                    <a:pt x="788" y="2129"/>
                    <a:pt x="788" y="2158"/>
                  </a:cubicBezTo>
                  <a:cubicBezTo>
                    <a:pt x="759" y="2187"/>
                    <a:pt x="759" y="2216"/>
                    <a:pt x="759" y="2216"/>
                  </a:cubicBezTo>
                  <a:cubicBezTo>
                    <a:pt x="759" y="2245"/>
                    <a:pt x="788" y="2245"/>
                    <a:pt x="788" y="2245"/>
                  </a:cubicBezTo>
                  <a:cubicBezTo>
                    <a:pt x="788" y="2274"/>
                    <a:pt x="817" y="2274"/>
                    <a:pt x="817" y="2304"/>
                  </a:cubicBezTo>
                  <a:cubicBezTo>
                    <a:pt x="817" y="2304"/>
                    <a:pt x="817" y="2304"/>
                    <a:pt x="817" y="2333"/>
                  </a:cubicBezTo>
                  <a:lnTo>
                    <a:pt x="817" y="2333"/>
                  </a:lnTo>
                  <a:lnTo>
                    <a:pt x="846" y="2362"/>
                  </a:lnTo>
                  <a:cubicBezTo>
                    <a:pt x="846" y="2362"/>
                    <a:pt x="875" y="2362"/>
                    <a:pt x="875" y="2391"/>
                  </a:cubicBezTo>
                  <a:cubicBezTo>
                    <a:pt x="875" y="2391"/>
                    <a:pt x="875" y="2391"/>
                    <a:pt x="904" y="2421"/>
                  </a:cubicBezTo>
                  <a:lnTo>
                    <a:pt x="904" y="2421"/>
                  </a:lnTo>
                  <a:cubicBezTo>
                    <a:pt x="904" y="2421"/>
                    <a:pt x="933" y="2421"/>
                    <a:pt x="933" y="2391"/>
                  </a:cubicBezTo>
                  <a:cubicBezTo>
                    <a:pt x="963" y="2391"/>
                    <a:pt x="992" y="2362"/>
                    <a:pt x="1021" y="2362"/>
                  </a:cubicBezTo>
                  <a:cubicBezTo>
                    <a:pt x="1050" y="2362"/>
                    <a:pt x="1080" y="2362"/>
                    <a:pt x="1080" y="2362"/>
                  </a:cubicBezTo>
                  <a:cubicBezTo>
                    <a:pt x="1109" y="2362"/>
                    <a:pt x="1138" y="2362"/>
                    <a:pt x="1138" y="2362"/>
                  </a:cubicBezTo>
                  <a:cubicBezTo>
                    <a:pt x="1166" y="2362"/>
                    <a:pt x="1196" y="2362"/>
                    <a:pt x="1196" y="2333"/>
                  </a:cubicBezTo>
                  <a:cubicBezTo>
                    <a:pt x="1225" y="2333"/>
                    <a:pt x="1225" y="2304"/>
                    <a:pt x="1254" y="2304"/>
                  </a:cubicBezTo>
                  <a:cubicBezTo>
                    <a:pt x="1283" y="2304"/>
                    <a:pt x="1283" y="2333"/>
                    <a:pt x="1313" y="2333"/>
                  </a:cubicBezTo>
                  <a:lnTo>
                    <a:pt x="1313" y="2333"/>
                  </a:lnTo>
                  <a:cubicBezTo>
                    <a:pt x="1254" y="1633"/>
                    <a:pt x="1283" y="904"/>
                    <a:pt x="1313" y="262"/>
                  </a:cubicBezTo>
                  <a:cubicBezTo>
                    <a:pt x="1313" y="233"/>
                    <a:pt x="1313" y="233"/>
                    <a:pt x="1313" y="2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12" name="Freeform 249">
              <a:extLst>
                <a:ext uri="{FF2B5EF4-FFF2-40B4-BE49-F238E27FC236}">
                  <a16:creationId xmlns:a16="http://schemas.microsoft.com/office/drawing/2014/main" id="{09DCEDBB-BB30-44C0-A057-B34952BEAC02}"/>
                </a:ext>
              </a:extLst>
            </p:cNvPr>
            <p:cNvSpPr>
              <a:spLocks noChangeArrowheads="1"/>
            </p:cNvSpPr>
            <p:nvPr/>
          </p:nvSpPr>
          <p:spPr bwMode="auto">
            <a:xfrm>
              <a:off x="8708780" y="5115570"/>
              <a:ext cx="1630" cy="11328"/>
            </a:xfrm>
            <a:custGeom>
              <a:avLst/>
              <a:gdLst>
                <a:gd name="T0" fmla="*/ 0 w 1"/>
                <a:gd name="T1" fmla="*/ 0 h 31"/>
                <a:gd name="T2" fmla="*/ 0 w 1"/>
                <a:gd name="T3" fmla="*/ 0 h 31"/>
                <a:gd name="T4" fmla="*/ 0 w 1"/>
                <a:gd name="T5" fmla="*/ 30 h 31"/>
                <a:gd name="T6" fmla="*/ 0 w 1"/>
                <a:gd name="T7" fmla="*/ 0 h 31"/>
              </a:gdLst>
              <a:ahLst/>
              <a:cxnLst>
                <a:cxn ang="0">
                  <a:pos x="T0" y="T1"/>
                </a:cxn>
                <a:cxn ang="0">
                  <a:pos x="T2" y="T3"/>
                </a:cxn>
                <a:cxn ang="0">
                  <a:pos x="T4" y="T5"/>
                </a:cxn>
                <a:cxn ang="0">
                  <a:pos x="T6" y="T7"/>
                </a:cxn>
              </a:cxnLst>
              <a:rect l="0" t="0" r="r" b="b"/>
              <a:pathLst>
                <a:path w="1" h="31">
                  <a:moveTo>
                    <a:pt x="0" y="0"/>
                  </a:moveTo>
                  <a:lnTo>
                    <a:pt x="0" y="0"/>
                  </a:lnTo>
                  <a:cubicBezTo>
                    <a:pt x="0" y="30"/>
                    <a:pt x="0" y="30"/>
                    <a:pt x="0" y="30"/>
                  </a:cubicBezTo>
                  <a:cubicBezTo>
                    <a:pt x="0" y="30"/>
                    <a:pt x="0" y="3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13" name="Freeform 250">
              <a:extLst>
                <a:ext uri="{FF2B5EF4-FFF2-40B4-BE49-F238E27FC236}">
                  <a16:creationId xmlns:a16="http://schemas.microsoft.com/office/drawing/2014/main" id="{CAC8662E-B01A-4B13-A5E5-AB20C84F620E}"/>
                </a:ext>
              </a:extLst>
            </p:cNvPr>
            <p:cNvSpPr>
              <a:spLocks noChangeArrowheads="1"/>
            </p:cNvSpPr>
            <p:nvPr/>
          </p:nvSpPr>
          <p:spPr bwMode="auto">
            <a:xfrm>
              <a:off x="8601145" y="5094531"/>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14" name="Freeform 251">
              <a:extLst>
                <a:ext uri="{FF2B5EF4-FFF2-40B4-BE49-F238E27FC236}">
                  <a16:creationId xmlns:a16="http://schemas.microsoft.com/office/drawing/2014/main" id="{2C9E99E1-3025-46A4-904D-FE65EDA719C4}"/>
                </a:ext>
              </a:extLst>
            </p:cNvPr>
            <p:cNvSpPr>
              <a:spLocks noChangeArrowheads="1"/>
            </p:cNvSpPr>
            <p:nvPr/>
          </p:nvSpPr>
          <p:spPr bwMode="auto">
            <a:xfrm>
              <a:off x="7986315" y="4431020"/>
              <a:ext cx="743666" cy="695878"/>
            </a:xfrm>
            <a:custGeom>
              <a:avLst/>
              <a:gdLst>
                <a:gd name="T0" fmla="*/ 1982 w 2012"/>
                <a:gd name="T1" fmla="*/ 1779 h 1897"/>
                <a:gd name="T2" fmla="*/ 1924 w 2012"/>
                <a:gd name="T3" fmla="*/ 1633 h 1897"/>
                <a:gd name="T4" fmla="*/ 1895 w 2012"/>
                <a:gd name="T5" fmla="*/ 1575 h 1897"/>
                <a:gd name="T6" fmla="*/ 1924 w 2012"/>
                <a:gd name="T7" fmla="*/ 1546 h 1897"/>
                <a:gd name="T8" fmla="*/ 1807 w 2012"/>
                <a:gd name="T9" fmla="*/ 1516 h 1897"/>
                <a:gd name="T10" fmla="*/ 1807 w 2012"/>
                <a:gd name="T11" fmla="*/ 1429 h 1897"/>
                <a:gd name="T12" fmla="*/ 1895 w 2012"/>
                <a:gd name="T13" fmla="*/ 1400 h 1897"/>
                <a:gd name="T14" fmla="*/ 1661 w 2012"/>
                <a:gd name="T15" fmla="*/ 1487 h 1897"/>
                <a:gd name="T16" fmla="*/ 1545 w 2012"/>
                <a:gd name="T17" fmla="*/ 1429 h 1897"/>
                <a:gd name="T18" fmla="*/ 1457 w 2012"/>
                <a:gd name="T19" fmla="*/ 1283 h 1897"/>
                <a:gd name="T20" fmla="*/ 1574 w 2012"/>
                <a:gd name="T21" fmla="*/ 1313 h 1897"/>
                <a:gd name="T22" fmla="*/ 1545 w 2012"/>
                <a:gd name="T23" fmla="*/ 1283 h 1897"/>
                <a:gd name="T24" fmla="*/ 1720 w 2012"/>
                <a:gd name="T25" fmla="*/ 1225 h 1897"/>
                <a:gd name="T26" fmla="*/ 1953 w 2012"/>
                <a:gd name="T27" fmla="*/ 1313 h 1897"/>
                <a:gd name="T28" fmla="*/ 1866 w 2012"/>
                <a:gd name="T29" fmla="*/ 1225 h 1897"/>
                <a:gd name="T30" fmla="*/ 1807 w 2012"/>
                <a:gd name="T31" fmla="*/ 1108 h 1897"/>
                <a:gd name="T32" fmla="*/ 1516 w 2012"/>
                <a:gd name="T33" fmla="*/ 992 h 1897"/>
                <a:gd name="T34" fmla="*/ 1049 w 2012"/>
                <a:gd name="T35" fmla="*/ 992 h 1897"/>
                <a:gd name="T36" fmla="*/ 1166 w 2012"/>
                <a:gd name="T37" fmla="*/ 671 h 1897"/>
                <a:gd name="T38" fmla="*/ 1224 w 2012"/>
                <a:gd name="T39" fmla="*/ 554 h 1897"/>
                <a:gd name="T40" fmla="*/ 1282 w 2012"/>
                <a:gd name="T41" fmla="*/ 379 h 1897"/>
                <a:gd name="T42" fmla="*/ 1311 w 2012"/>
                <a:gd name="T43" fmla="*/ 233 h 1897"/>
                <a:gd name="T44" fmla="*/ 1282 w 2012"/>
                <a:gd name="T45" fmla="*/ 146 h 1897"/>
                <a:gd name="T46" fmla="*/ 932 w 2012"/>
                <a:gd name="T47" fmla="*/ 0 h 1897"/>
                <a:gd name="T48" fmla="*/ 0 w 2012"/>
                <a:gd name="T49" fmla="*/ 116 h 1897"/>
                <a:gd name="T50" fmla="*/ 0 w 2012"/>
                <a:gd name="T51" fmla="*/ 379 h 1897"/>
                <a:gd name="T52" fmla="*/ 87 w 2012"/>
                <a:gd name="T53" fmla="*/ 525 h 1897"/>
                <a:gd name="T54" fmla="*/ 116 w 2012"/>
                <a:gd name="T55" fmla="*/ 613 h 1897"/>
                <a:gd name="T56" fmla="*/ 145 w 2012"/>
                <a:gd name="T57" fmla="*/ 700 h 1897"/>
                <a:gd name="T58" fmla="*/ 261 w 2012"/>
                <a:gd name="T59" fmla="*/ 963 h 1897"/>
                <a:gd name="T60" fmla="*/ 232 w 2012"/>
                <a:gd name="T61" fmla="*/ 1254 h 1897"/>
                <a:gd name="T62" fmla="*/ 203 w 2012"/>
                <a:gd name="T63" fmla="*/ 1487 h 1897"/>
                <a:gd name="T64" fmla="*/ 203 w 2012"/>
                <a:gd name="T65" fmla="*/ 1516 h 1897"/>
                <a:gd name="T66" fmla="*/ 232 w 2012"/>
                <a:gd name="T67" fmla="*/ 1604 h 1897"/>
                <a:gd name="T68" fmla="*/ 319 w 2012"/>
                <a:gd name="T69" fmla="*/ 1575 h 1897"/>
                <a:gd name="T70" fmla="*/ 290 w 2012"/>
                <a:gd name="T71" fmla="*/ 1516 h 1897"/>
                <a:gd name="T72" fmla="*/ 349 w 2012"/>
                <a:gd name="T73" fmla="*/ 1400 h 1897"/>
                <a:gd name="T74" fmla="*/ 436 w 2012"/>
                <a:gd name="T75" fmla="*/ 1546 h 1897"/>
                <a:gd name="T76" fmla="*/ 495 w 2012"/>
                <a:gd name="T77" fmla="*/ 1575 h 1897"/>
                <a:gd name="T78" fmla="*/ 757 w 2012"/>
                <a:gd name="T79" fmla="*/ 1663 h 1897"/>
                <a:gd name="T80" fmla="*/ 874 w 2012"/>
                <a:gd name="T81" fmla="*/ 1663 h 1897"/>
                <a:gd name="T82" fmla="*/ 932 w 2012"/>
                <a:gd name="T83" fmla="*/ 1487 h 1897"/>
                <a:gd name="T84" fmla="*/ 1020 w 2012"/>
                <a:gd name="T85" fmla="*/ 1546 h 1897"/>
                <a:gd name="T86" fmla="*/ 1049 w 2012"/>
                <a:gd name="T87" fmla="*/ 1487 h 1897"/>
                <a:gd name="T88" fmla="*/ 1166 w 2012"/>
                <a:gd name="T89" fmla="*/ 1663 h 1897"/>
                <a:gd name="T90" fmla="*/ 1224 w 2012"/>
                <a:gd name="T91" fmla="*/ 1575 h 1897"/>
                <a:gd name="T92" fmla="*/ 1282 w 2012"/>
                <a:gd name="T93" fmla="*/ 1750 h 1897"/>
                <a:gd name="T94" fmla="*/ 1224 w 2012"/>
                <a:gd name="T95" fmla="*/ 1808 h 1897"/>
                <a:gd name="T96" fmla="*/ 1370 w 2012"/>
                <a:gd name="T97" fmla="*/ 1779 h 1897"/>
                <a:gd name="T98" fmla="*/ 1428 w 2012"/>
                <a:gd name="T99" fmla="*/ 1866 h 1897"/>
                <a:gd name="T100" fmla="*/ 1574 w 2012"/>
                <a:gd name="T101" fmla="*/ 1866 h 1897"/>
                <a:gd name="T102" fmla="*/ 1545 w 2012"/>
                <a:gd name="T103" fmla="*/ 1779 h 1897"/>
                <a:gd name="T104" fmla="*/ 1574 w 2012"/>
                <a:gd name="T105" fmla="*/ 1721 h 1897"/>
                <a:gd name="T106" fmla="*/ 1632 w 2012"/>
                <a:gd name="T107" fmla="*/ 1779 h 1897"/>
                <a:gd name="T108" fmla="*/ 1690 w 2012"/>
                <a:gd name="T109" fmla="*/ 1750 h 1897"/>
                <a:gd name="T110" fmla="*/ 1720 w 2012"/>
                <a:gd name="T111" fmla="*/ 1866 h 1897"/>
                <a:gd name="T112" fmla="*/ 1749 w 2012"/>
                <a:gd name="T113" fmla="*/ 1692 h 1897"/>
                <a:gd name="T114" fmla="*/ 1895 w 2012"/>
                <a:gd name="T115" fmla="*/ 1721 h 1897"/>
                <a:gd name="T116" fmla="*/ 1953 w 2012"/>
                <a:gd name="T117" fmla="*/ 1808 h 1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12" h="1897">
                  <a:moveTo>
                    <a:pt x="1982" y="1779"/>
                  </a:moveTo>
                  <a:lnTo>
                    <a:pt x="1982" y="1779"/>
                  </a:lnTo>
                  <a:lnTo>
                    <a:pt x="1982" y="1779"/>
                  </a:lnTo>
                  <a:lnTo>
                    <a:pt x="2011" y="1779"/>
                  </a:lnTo>
                  <a:cubicBezTo>
                    <a:pt x="1953" y="1750"/>
                    <a:pt x="1924" y="1721"/>
                    <a:pt x="1924" y="1633"/>
                  </a:cubicBezTo>
                  <a:lnTo>
                    <a:pt x="1924" y="1633"/>
                  </a:lnTo>
                  <a:lnTo>
                    <a:pt x="1924" y="1633"/>
                  </a:lnTo>
                  <a:cubicBezTo>
                    <a:pt x="1924" y="1633"/>
                    <a:pt x="1924" y="1633"/>
                    <a:pt x="1924" y="1604"/>
                  </a:cubicBezTo>
                  <a:cubicBezTo>
                    <a:pt x="1924" y="1604"/>
                    <a:pt x="1924" y="1604"/>
                    <a:pt x="1895" y="1575"/>
                  </a:cubicBezTo>
                  <a:lnTo>
                    <a:pt x="1895" y="1575"/>
                  </a:lnTo>
                  <a:cubicBezTo>
                    <a:pt x="1924" y="1575"/>
                    <a:pt x="1924" y="1575"/>
                    <a:pt x="1924" y="1575"/>
                  </a:cubicBezTo>
                  <a:cubicBezTo>
                    <a:pt x="1924" y="1546"/>
                    <a:pt x="1924" y="1546"/>
                    <a:pt x="1924" y="1546"/>
                  </a:cubicBezTo>
                  <a:lnTo>
                    <a:pt x="1924" y="1546"/>
                  </a:lnTo>
                  <a:cubicBezTo>
                    <a:pt x="1924" y="1546"/>
                    <a:pt x="1895" y="1575"/>
                    <a:pt x="1866" y="1575"/>
                  </a:cubicBezTo>
                  <a:cubicBezTo>
                    <a:pt x="1837" y="1575"/>
                    <a:pt x="1807" y="1546"/>
                    <a:pt x="1807" y="1516"/>
                  </a:cubicBezTo>
                  <a:cubicBezTo>
                    <a:pt x="1778" y="1516"/>
                    <a:pt x="1778" y="1487"/>
                    <a:pt x="1807" y="1458"/>
                  </a:cubicBezTo>
                  <a:cubicBezTo>
                    <a:pt x="1807" y="1429"/>
                    <a:pt x="1807" y="1429"/>
                    <a:pt x="1807" y="1429"/>
                  </a:cubicBezTo>
                  <a:lnTo>
                    <a:pt x="1807" y="1429"/>
                  </a:lnTo>
                  <a:cubicBezTo>
                    <a:pt x="1807" y="1429"/>
                    <a:pt x="1837" y="1429"/>
                    <a:pt x="1866" y="1429"/>
                  </a:cubicBezTo>
                  <a:cubicBezTo>
                    <a:pt x="1866" y="1400"/>
                    <a:pt x="1895" y="1400"/>
                    <a:pt x="1895" y="1400"/>
                  </a:cubicBezTo>
                  <a:lnTo>
                    <a:pt x="1895" y="1400"/>
                  </a:lnTo>
                  <a:cubicBezTo>
                    <a:pt x="1866" y="1400"/>
                    <a:pt x="1866" y="1400"/>
                    <a:pt x="1837" y="1400"/>
                  </a:cubicBezTo>
                  <a:cubicBezTo>
                    <a:pt x="1807" y="1400"/>
                    <a:pt x="1778" y="1429"/>
                    <a:pt x="1749" y="1458"/>
                  </a:cubicBezTo>
                  <a:cubicBezTo>
                    <a:pt x="1720" y="1487"/>
                    <a:pt x="1690" y="1487"/>
                    <a:pt x="1661" y="1487"/>
                  </a:cubicBezTo>
                  <a:cubicBezTo>
                    <a:pt x="1632" y="1487"/>
                    <a:pt x="1603" y="1458"/>
                    <a:pt x="1603" y="1458"/>
                  </a:cubicBezTo>
                  <a:cubicBezTo>
                    <a:pt x="1574" y="1429"/>
                    <a:pt x="1574" y="1400"/>
                    <a:pt x="1545" y="1400"/>
                  </a:cubicBezTo>
                  <a:lnTo>
                    <a:pt x="1545" y="1429"/>
                  </a:lnTo>
                  <a:cubicBezTo>
                    <a:pt x="1516" y="1429"/>
                    <a:pt x="1516" y="1429"/>
                    <a:pt x="1487" y="1429"/>
                  </a:cubicBezTo>
                  <a:cubicBezTo>
                    <a:pt x="1457" y="1429"/>
                    <a:pt x="1428" y="1400"/>
                    <a:pt x="1428" y="1371"/>
                  </a:cubicBezTo>
                  <a:cubicBezTo>
                    <a:pt x="1399" y="1342"/>
                    <a:pt x="1428" y="1283"/>
                    <a:pt x="1457" y="1283"/>
                  </a:cubicBezTo>
                  <a:lnTo>
                    <a:pt x="1487" y="1283"/>
                  </a:lnTo>
                  <a:cubicBezTo>
                    <a:pt x="1516" y="1283"/>
                    <a:pt x="1516" y="1283"/>
                    <a:pt x="1545" y="1313"/>
                  </a:cubicBezTo>
                  <a:lnTo>
                    <a:pt x="1574" y="1313"/>
                  </a:lnTo>
                  <a:lnTo>
                    <a:pt x="1574" y="1313"/>
                  </a:lnTo>
                  <a:cubicBezTo>
                    <a:pt x="1574" y="1313"/>
                    <a:pt x="1545" y="1313"/>
                    <a:pt x="1545" y="1283"/>
                  </a:cubicBezTo>
                  <a:lnTo>
                    <a:pt x="1545" y="1283"/>
                  </a:lnTo>
                  <a:cubicBezTo>
                    <a:pt x="1574" y="1254"/>
                    <a:pt x="1574" y="1225"/>
                    <a:pt x="1603" y="1225"/>
                  </a:cubicBezTo>
                  <a:cubicBezTo>
                    <a:pt x="1632" y="1225"/>
                    <a:pt x="1632" y="1225"/>
                    <a:pt x="1632" y="1225"/>
                  </a:cubicBezTo>
                  <a:cubicBezTo>
                    <a:pt x="1661" y="1254"/>
                    <a:pt x="1690" y="1225"/>
                    <a:pt x="1720" y="1225"/>
                  </a:cubicBezTo>
                  <a:lnTo>
                    <a:pt x="1749" y="1225"/>
                  </a:lnTo>
                  <a:cubicBezTo>
                    <a:pt x="1807" y="1254"/>
                    <a:pt x="1837" y="1254"/>
                    <a:pt x="1866" y="1283"/>
                  </a:cubicBezTo>
                  <a:cubicBezTo>
                    <a:pt x="1895" y="1313"/>
                    <a:pt x="1924" y="1313"/>
                    <a:pt x="1953" y="1313"/>
                  </a:cubicBezTo>
                  <a:lnTo>
                    <a:pt x="1924" y="1313"/>
                  </a:lnTo>
                  <a:cubicBezTo>
                    <a:pt x="1924" y="1283"/>
                    <a:pt x="1895" y="1283"/>
                    <a:pt x="1895" y="1254"/>
                  </a:cubicBezTo>
                  <a:cubicBezTo>
                    <a:pt x="1866" y="1254"/>
                    <a:pt x="1866" y="1225"/>
                    <a:pt x="1866" y="1225"/>
                  </a:cubicBezTo>
                  <a:lnTo>
                    <a:pt x="1866" y="1196"/>
                  </a:lnTo>
                  <a:cubicBezTo>
                    <a:pt x="1866" y="1196"/>
                    <a:pt x="1866" y="1196"/>
                    <a:pt x="1866" y="1166"/>
                  </a:cubicBezTo>
                  <a:cubicBezTo>
                    <a:pt x="1837" y="1166"/>
                    <a:pt x="1837" y="1137"/>
                    <a:pt x="1807" y="1108"/>
                  </a:cubicBezTo>
                  <a:cubicBezTo>
                    <a:pt x="1807" y="1108"/>
                    <a:pt x="1837" y="1079"/>
                    <a:pt x="1837" y="1050"/>
                  </a:cubicBezTo>
                  <a:cubicBezTo>
                    <a:pt x="1837" y="1021"/>
                    <a:pt x="1837" y="992"/>
                    <a:pt x="1837" y="992"/>
                  </a:cubicBezTo>
                  <a:cubicBezTo>
                    <a:pt x="1720" y="992"/>
                    <a:pt x="1632" y="992"/>
                    <a:pt x="1516" y="992"/>
                  </a:cubicBezTo>
                  <a:cubicBezTo>
                    <a:pt x="1370" y="992"/>
                    <a:pt x="1224" y="1021"/>
                    <a:pt x="1049" y="1021"/>
                  </a:cubicBezTo>
                  <a:lnTo>
                    <a:pt x="1049" y="1021"/>
                  </a:lnTo>
                  <a:cubicBezTo>
                    <a:pt x="1049" y="992"/>
                    <a:pt x="1049" y="992"/>
                    <a:pt x="1049" y="992"/>
                  </a:cubicBezTo>
                  <a:cubicBezTo>
                    <a:pt x="1049" y="933"/>
                    <a:pt x="1049" y="904"/>
                    <a:pt x="1078" y="875"/>
                  </a:cubicBezTo>
                  <a:cubicBezTo>
                    <a:pt x="1078" y="816"/>
                    <a:pt x="1107" y="758"/>
                    <a:pt x="1137" y="729"/>
                  </a:cubicBezTo>
                  <a:cubicBezTo>
                    <a:pt x="1166" y="700"/>
                    <a:pt x="1166" y="671"/>
                    <a:pt x="1166" y="671"/>
                  </a:cubicBezTo>
                  <a:cubicBezTo>
                    <a:pt x="1166" y="642"/>
                    <a:pt x="1166" y="642"/>
                    <a:pt x="1166" y="642"/>
                  </a:cubicBezTo>
                  <a:cubicBezTo>
                    <a:pt x="1166" y="613"/>
                    <a:pt x="1195" y="613"/>
                    <a:pt x="1195" y="583"/>
                  </a:cubicBezTo>
                  <a:cubicBezTo>
                    <a:pt x="1195" y="583"/>
                    <a:pt x="1195" y="554"/>
                    <a:pt x="1224" y="554"/>
                  </a:cubicBezTo>
                  <a:lnTo>
                    <a:pt x="1224" y="525"/>
                  </a:lnTo>
                  <a:cubicBezTo>
                    <a:pt x="1253" y="496"/>
                    <a:pt x="1253" y="496"/>
                    <a:pt x="1253" y="466"/>
                  </a:cubicBezTo>
                  <a:cubicBezTo>
                    <a:pt x="1253" y="437"/>
                    <a:pt x="1282" y="408"/>
                    <a:pt x="1282" y="379"/>
                  </a:cubicBezTo>
                  <a:cubicBezTo>
                    <a:pt x="1282" y="350"/>
                    <a:pt x="1311" y="350"/>
                    <a:pt x="1311" y="321"/>
                  </a:cubicBezTo>
                  <a:cubicBezTo>
                    <a:pt x="1311" y="321"/>
                    <a:pt x="1311" y="321"/>
                    <a:pt x="1311" y="292"/>
                  </a:cubicBezTo>
                  <a:cubicBezTo>
                    <a:pt x="1340" y="263"/>
                    <a:pt x="1311" y="263"/>
                    <a:pt x="1311" y="233"/>
                  </a:cubicBezTo>
                  <a:cubicBezTo>
                    <a:pt x="1311" y="233"/>
                    <a:pt x="1282" y="204"/>
                    <a:pt x="1282" y="175"/>
                  </a:cubicBezTo>
                  <a:cubicBezTo>
                    <a:pt x="1282" y="175"/>
                    <a:pt x="1282" y="175"/>
                    <a:pt x="1282" y="146"/>
                  </a:cubicBezTo>
                  <a:lnTo>
                    <a:pt x="1282" y="146"/>
                  </a:lnTo>
                  <a:cubicBezTo>
                    <a:pt x="1282" y="116"/>
                    <a:pt x="1282" y="116"/>
                    <a:pt x="1282" y="87"/>
                  </a:cubicBezTo>
                  <a:cubicBezTo>
                    <a:pt x="1253" y="58"/>
                    <a:pt x="1253" y="29"/>
                    <a:pt x="1253" y="0"/>
                  </a:cubicBezTo>
                  <a:cubicBezTo>
                    <a:pt x="1166" y="0"/>
                    <a:pt x="1049" y="0"/>
                    <a:pt x="932" y="0"/>
                  </a:cubicBezTo>
                  <a:cubicBezTo>
                    <a:pt x="670" y="0"/>
                    <a:pt x="670" y="0"/>
                    <a:pt x="670" y="0"/>
                  </a:cubicBezTo>
                  <a:cubicBezTo>
                    <a:pt x="466" y="0"/>
                    <a:pt x="203" y="0"/>
                    <a:pt x="0" y="0"/>
                  </a:cubicBezTo>
                  <a:cubicBezTo>
                    <a:pt x="0" y="29"/>
                    <a:pt x="0" y="87"/>
                    <a:pt x="0" y="116"/>
                  </a:cubicBezTo>
                  <a:cubicBezTo>
                    <a:pt x="0" y="146"/>
                    <a:pt x="0" y="146"/>
                    <a:pt x="0" y="175"/>
                  </a:cubicBezTo>
                  <a:cubicBezTo>
                    <a:pt x="0" y="204"/>
                    <a:pt x="0" y="204"/>
                    <a:pt x="0" y="233"/>
                  </a:cubicBezTo>
                  <a:cubicBezTo>
                    <a:pt x="0" y="292"/>
                    <a:pt x="0" y="321"/>
                    <a:pt x="0" y="379"/>
                  </a:cubicBezTo>
                  <a:lnTo>
                    <a:pt x="29" y="408"/>
                  </a:lnTo>
                  <a:cubicBezTo>
                    <a:pt x="29" y="437"/>
                    <a:pt x="57" y="466"/>
                    <a:pt x="57" y="466"/>
                  </a:cubicBezTo>
                  <a:cubicBezTo>
                    <a:pt x="87" y="496"/>
                    <a:pt x="87" y="525"/>
                    <a:pt x="87" y="525"/>
                  </a:cubicBezTo>
                  <a:cubicBezTo>
                    <a:pt x="87" y="554"/>
                    <a:pt x="87" y="583"/>
                    <a:pt x="87" y="583"/>
                  </a:cubicBezTo>
                  <a:cubicBezTo>
                    <a:pt x="87" y="583"/>
                    <a:pt x="87" y="583"/>
                    <a:pt x="116" y="583"/>
                  </a:cubicBezTo>
                  <a:cubicBezTo>
                    <a:pt x="116" y="613"/>
                    <a:pt x="116" y="613"/>
                    <a:pt x="116" y="613"/>
                  </a:cubicBezTo>
                  <a:lnTo>
                    <a:pt x="116" y="613"/>
                  </a:lnTo>
                  <a:cubicBezTo>
                    <a:pt x="145" y="613"/>
                    <a:pt x="145" y="613"/>
                    <a:pt x="145" y="613"/>
                  </a:cubicBezTo>
                  <a:cubicBezTo>
                    <a:pt x="145" y="642"/>
                    <a:pt x="145" y="671"/>
                    <a:pt x="145" y="700"/>
                  </a:cubicBezTo>
                  <a:cubicBezTo>
                    <a:pt x="174" y="758"/>
                    <a:pt x="174" y="816"/>
                    <a:pt x="174" y="875"/>
                  </a:cubicBezTo>
                  <a:lnTo>
                    <a:pt x="203" y="904"/>
                  </a:lnTo>
                  <a:cubicBezTo>
                    <a:pt x="232" y="933"/>
                    <a:pt x="232" y="933"/>
                    <a:pt x="261" y="963"/>
                  </a:cubicBezTo>
                  <a:cubicBezTo>
                    <a:pt x="261" y="1021"/>
                    <a:pt x="232" y="1050"/>
                    <a:pt x="232" y="1079"/>
                  </a:cubicBezTo>
                  <a:cubicBezTo>
                    <a:pt x="203" y="1108"/>
                    <a:pt x="203" y="1166"/>
                    <a:pt x="203" y="1196"/>
                  </a:cubicBezTo>
                  <a:cubicBezTo>
                    <a:pt x="203" y="1196"/>
                    <a:pt x="203" y="1225"/>
                    <a:pt x="232" y="1254"/>
                  </a:cubicBezTo>
                  <a:lnTo>
                    <a:pt x="232" y="1283"/>
                  </a:lnTo>
                  <a:cubicBezTo>
                    <a:pt x="232" y="1371"/>
                    <a:pt x="232" y="1400"/>
                    <a:pt x="203" y="1458"/>
                  </a:cubicBezTo>
                  <a:cubicBezTo>
                    <a:pt x="203" y="1487"/>
                    <a:pt x="203" y="1487"/>
                    <a:pt x="203" y="1487"/>
                  </a:cubicBezTo>
                  <a:lnTo>
                    <a:pt x="203" y="1487"/>
                  </a:lnTo>
                  <a:cubicBezTo>
                    <a:pt x="203" y="1487"/>
                    <a:pt x="203" y="1487"/>
                    <a:pt x="203" y="1516"/>
                  </a:cubicBezTo>
                  <a:lnTo>
                    <a:pt x="203" y="1516"/>
                  </a:lnTo>
                  <a:cubicBezTo>
                    <a:pt x="203" y="1516"/>
                    <a:pt x="203" y="1546"/>
                    <a:pt x="174" y="1546"/>
                  </a:cubicBezTo>
                  <a:cubicBezTo>
                    <a:pt x="174" y="1575"/>
                    <a:pt x="145" y="1575"/>
                    <a:pt x="145" y="1604"/>
                  </a:cubicBezTo>
                  <a:cubicBezTo>
                    <a:pt x="174" y="1604"/>
                    <a:pt x="203" y="1604"/>
                    <a:pt x="232" y="1604"/>
                  </a:cubicBezTo>
                  <a:cubicBezTo>
                    <a:pt x="232" y="1575"/>
                    <a:pt x="261" y="1575"/>
                    <a:pt x="290" y="1575"/>
                  </a:cubicBezTo>
                  <a:lnTo>
                    <a:pt x="319" y="1575"/>
                  </a:lnTo>
                  <a:lnTo>
                    <a:pt x="319" y="1575"/>
                  </a:lnTo>
                  <a:cubicBezTo>
                    <a:pt x="319" y="1575"/>
                    <a:pt x="319" y="1575"/>
                    <a:pt x="349" y="1575"/>
                  </a:cubicBezTo>
                  <a:cubicBezTo>
                    <a:pt x="319" y="1575"/>
                    <a:pt x="319" y="1575"/>
                    <a:pt x="319" y="1546"/>
                  </a:cubicBezTo>
                  <a:cubicBezTo>
                    <a:pt x="319" y="1546"/>
                    <a:pt x="290" y="1546"/>
                    <a:pt x="290" y="1516"/>
                  </a:cubicBezTo>
                  <a:cubicBezTo>
                    <a:pt x="261" y="1487"/>
                    <a:pt x="290" y="1458"/>
                    <a:pt x="290" y="1429"/>
                  </a:cubicBezTo>
                  <a:cubicBezTo>
                    <a:pt x="319" y="1400"/>
                    <a:pt x="319" y="1400"/>
                    <a:pt x="349" y="1400"/>
                  </a:cubicBezTo>
                  <a:lnTo>
                    <a:pt x="349" y="1400"/>
                  </a:lnTo>
                  <a:cubicBezTo>
                    <a:pt x="378" y="1400"/>
                    <a:pt x="378" y="1400"/>
                    <a:pt x="378" y="1429"/>
                  </a:cubicBezTo>
                  <a:cubicBezTo>
                    <a:pt x="407" y="1458"/>
                    <a:pt x="407" y="1487"/>
                    <a:pt x="407" y="1546"/>
                  </a:cubicBezTo>
                  <a:lnTo>
                    <a:pt x="436" y="1546"/>
                  </a:lnTo>
                  <a:cubicBezTo>
                    <a:pt x="466" y="1575"/>
                    <a:pt x="466" y="1575"/>
                    <a:pt x="466" y="1575"/>
                  </a:cubicBezTo>
                  <a:lnTo>
                    <a:pt x="466" y="1575"/>
                  </a:lnTo>
                  <a:cubicBezTo>
                    <a:pt x="495" y="1575"/>
                    <a:pt x="495" y="1575"/>
                    <a:pt x="495" y="1575"/>
                  </a:cubicBezTo>
                  <a:cubicBezTo>
                    <a:pt x="495" y="1633"/>
                    <a:pt x="553" y="1633"/>
                    <a:pt x="611" y="1663"/>
                  </a:cubicBezTo>
                  <a:cubicBezTo>
                    <a:pt x="640" y="1633"/>
                    <a:pt x="670" y="1633"/>
                    <a:pt x="670" y="1633"/>
                  </a:cubicBezTo>
                  <a:cubicBezTo>
                    <a:pt x="699" y="1633"/>
                    <a:pt x="728" y="1633"/>
                    <a:pt x="757" y="1663"/>
                  </a:cubicBezTo>
                  <a:cubicBezTo>
                    <a:pt x="787" y="1663"/>
                    <a:pt x="816" y="1663"/>
                    <a:pt x="845" y="1663"/>
                  </a:cubicBezTo>
                  <a:lnTo>
                    <a:pt x="874" y="1663"/>
                  </a:lnTo>
                  <a:lnTo>
                    <a:pt x="874" y="1663"/>
                  </a:lnTo>
                  <a:lnTo>
                    <a:pt x="874" y="1663"/>
                  </a:lnTo>
                  <a:cubicBezTo>
                    <a:pt x="845" y="1633"/>
                    <a:pt x="787" y="1633"/>
                    <a:pt x="816" y="1546"/>
                  </a:cubicBezTo>
                  <a:cubicBezTo>
                    <a:pt x="816" y="1516"/>
                    <a:pt x="903" y="1487"/>
                    <a:pt x="932" y="1487"/>
                  </a:cubicBezTo>
                  <a:lnTo>
                    <a:pt x="961" y="1487"/>
                  </a:lnTo>
                  <a:cubicBezTo>
                    <a:pt x="990" y="1516"/>
                    <a:pt x="990" y="1516"/>
                    <a:pt x="1020" y="1546"/>
                  </a:cubicBezTo>
                  <a:lnTo>
                    <a:pt x="1020" y="1546"/>
                  </a:lnTo>
                  <a:cubicBezTo>
                    <a:pt x="1020" y="1516"/>
                    <a:pt x="1020" y="1516"/>
                    <a:pt x="1049" y="1516"/>
                  </a:cubicBezTo>
                  <a:cubicBezTo>
                    <a:pt x="1049" y="1487"/>
                    <a:pt x="1049" y="1487"/>
                    <a:pt x="1049" y="1487"/>
                  </a:cubicBezTo>
                  <a:lnTo>
                    <a:pt x="1049" y="1487"/>
                  </a:lnTo>
                  <a:cubicBezTo>
                    <a:pt x="1078" y="1487"/>
                    <a:pt x="1107" y="1516"/>
                    <a:pt x="1137" y="1546"/>
                  </a:cubicBezTo>
                  <a:cubicBezTo>
                    <a:pt x="1137" y="1575"/>
                    <a:pt x="1137" y="1633"/>
                    <a:pt x="1137" y="1663"/>
                  </a:cubicBezTo>
                  <a:lnTo>
                    <a:pt x="1166" y="1663"/>
                  </a:lnTo>
                  <a:lnTo>
                    <a:pt x="1166" y="1633"/>
                  </a:lnTo>
                  <a:cubicBezTo>
                    <a:pt x="1195" y="1604"/>
                    <a:pt x="1195" y="1575"/>
                    <a:pt x="1224" y="1575"/>
                  </a:cubicBezTo>
                  <a:lnTo>
                    <a:pt x="1224" y="1575"/>
                  </a:lnTo>
                  <a:cubicBezTo>
                    <a:pt x="1253" y="1575"/>
                    <a:pt x="1253" y="1575"/>
                    <a:pt x="1253" y="1575"/>
                  </a:cubicBezTo>
                  <a:cubicBezTo>
                    <a:pt x="1282" y="1575"/>
                    <a:pt x="1282" y="1633"/>
                    <a:pt x="1282" y="1663"/>
                  </a:cubicBezTo>
                  <a:cubicBezTo>
                    <a:pt x="1282" y="1721"/>
                    <a:pt x="1282" y="1721"/>
                    <a:pt x="1282" y="1750"/>
                  </a:cubicBezTo>
                  <a:cubicBezTo>
                    <a:pt x="1340" y="1750"/>
                    <a:pt x="1340" y="1750"/>
                    <a:pt x="1340" y="1750"/>
                  </a:cubicBezTo>
                  <a:cubicBezTo>
                    <a:pt x="1282" y="1779"/>
                    <a:pt x="1282" y="1779"/>
                    <a:pt x="1282" y="1779"/>
                  </a:cubicBezTo>
                  <a:cubicBezTo>
                    <a:pt x="1253" y="1779"/>
                    <a:pt x="1224" y="1808"/>
                    <a:pt x="1224" y="1808"/>
                  </a:cubicBezTo>
                  <a:lnTo>
                    <a:pt x="1224" y="1808"/>
                  </a:lnTo>
                  <a:cubicBezTo>
                    <a:pt x="1253" y="1808"/>
                    <a:pt x="1282" y="1808"/>
                    <a:pt x="1311" y="1808"/>
                  </a:cubicBezTo>
                  <a:cubicBezTo>
                    <a:pt x="1311" y="1779"/>
                    <a:pt x="1340" y="1779"/>
                    <a:pt x="1370" y="1779"/>
                  </a:cubicBezTo>
                  <a:cubicBezTo>
                    <a:pt x="1399" y="1779"/>
                    <a:pt x="1428" y="1779"/>
                    <a:pt x="1428" y="1808"/>
                  </a:cubicBezTo>
                  <a:lnTo>
                    <a:pt x="1428" y="1808"/>
                  </a:lnTo>
                  <a:cubicBezTo>
                    <a:pt x="1428" y="1837"/>
                    <a:pt x="1428" y="1866"/>
                    <a:pt x="1428" y="1866"/>
                  </a:cubicBezTo>
                  <a:lnTo>
                    <a:pt x="1457" y="1866"/>
                  </a:lnTo>
                  <a:cubicBezTo>
                    <a:pt x="1516" y="1896"/>
                    <a:pt x="1574" y="1896"/>
                    <a:pt x="1574" y="1896"/>
                  </a:cubicBezTo>
                  <a:lnTo>
                    <a:pt x="1574" y="1866"/>
                  </a:lnTo>
                  <a:lnTo>
                    <a:pt x="1574" y="1837"/>
                  </a:lnTo>
                  <a:cubicBezTo>
                    <a:pt x="1545" y="1837"/>
                    <a:pt x="1545" y="1808"/>
                    <a:pt x="1545" y="1779"/>
                  </a:cubicBezTo>
                  <a:lnTo>
                    <a:pt x="1545" y="1779"/>
                  </a:lnTo>
                  <a:cubicBezTo>
                    <a:pt x="1545" y="1750"/>
                    <a:pt x="1545" y="1750"/>
                    <a:pt x="1545" y="1750"/>
                  </a:cubicBezTo>
                  <a:cubicBezTo>
                    <a:pt x="1545" y="1750"/>
                    <a:pt x="1545" y="1750"/>
                    <a:pt x="1574" y="1721"/>
                  </a:cubicBezTo>
                  <a:lnTo>
                    <a:pt x="1574" y="1721"/>
                  </a:lnTo>
                  <a:lnTo>
                    <a:pt x="1574" y="1721"/>
                  </a:lnTo>
                  <a:cubicBezTo>
                    <a:pt x="1603" y="1750"/>
                    <a:pt x="1632" y="1750"/>
                    <a:pt x="1632" y="1750"/>
                  </a:cubicBezTo>
                  <a:cubicBezTo>
                    <a:pt x="1632" y="1779"/>
                    <a:pt x="1632" y="1779"/>
                    <a:pt x="1632" y="1779"/>
                  </a:cubicBezTo>
                  <a:cubicBezTo>
                    <a:pt x="1632" y="1750"/>
                    <a:pt x="1661" y="1750"/>
                    <a:pt x="1690" y="1750"/>
                  </a:cubicBezTo>
                  <a:lnTo>
                    <a:pt x="1690" y="1750"/>
                  </a:lnTo>
                  <a:lnTo>
                    <a:pt x="1690" y="1750"/>
                  </a:lnTo>
                  <a:cubicBezTo>
                    <a:pt x="1720" y="1779"/>
                    <a:pt x="1720" y="1808"/>
                    <a:pt x="1690" y="1837"/>
                  </a:cubicBezTo>
                  <a:lnTo>
                    <a:pt x="1690" y="1837"/>
                  </a:lnTo>
                  <a:cubicBezTo>
                    <a:pt x="1690" y="1866"/>
                    <a:pt x="1690" y="1866"/>
                    <a:pt x="1720" y="1866"/>
                  </a:cubicBezTo>
                  <a:cubicBezTo>
                    <a:pt x="1749" y="1866"/>
                    <a:pt x="1778" y="1837"/>
                    <a:pt x="1778" y="1837"/>
                  </a:cubicBezTo>
                  <a:cubicBezTo>
                    <a:pt x="1749" y="1808"/>
                    <a:pt x="1720" y="1750"/>
                    <a:pt x="1749" y="1692"/>
                  </a:cubicBezTo>
                  <a:lnTo>
                    <a:pt x="1749" y="1692"/>
                  </a:lnTo>
                  <a:cubicBezTo>
                    <a:pt x="1778" y="1663"/>
                    <a:pt x="1778" y="1663"/>
                    <a:pt x="1807" y="1663"/>
                  </a:cubicBezTo>
                  <a:cubicBezTo>
                    <a:pt x="1837" y="1663"/>
                    <a:pt x="1837" y="1692"/>
                    <a:pt x="1866" y="1721"/>
                  </a:cubicBezTo>
                  <a:lnTo>
                    <a:pt x="1895" y="1721"/>
                  </a:lnTo>
                  <a:cubicBezTo>
                    <a:pt x="1895" y="1750"/>
                    <a:pt x="1895" y="1750"/>
                    <a:pt x="1924" y="1750"/>
                  </a:cubicBezTo>
                  <a:cubicBezTo>
                    <a:pt x="1924" y="1750"/>
                    <a:pt x="1953" y="1750"/>
                    <a:pt x="1953" y="1779"/>
                  </a:cubicBezTo>
                  <a:cubicBezTo>
                    <a:pt x="1953" y="1808"/>
                    <a:pt x="1953" y="1808"/>
                    <a:pt x="1953" y="1808"/>
                  </a:cubicBezTo>
                  <a:cubicBezTo>
                    <a:pt x="1953" y="1808"/>
                    <a:pt x="1982" y="1808"/>
                    <a:pt x="1982" y="1837"/>
                  </a:cubicBezTo>
                  <a:cubicBezTo>
                    <a:pt x="1982" y="1808"/>
                    <a:pt x="1982" y="1808"/>
                    <a:pt x="1982" y="177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15" name="Freeform 252">
              <a:extLst>
                <a:ext uri="{FF2B5EF4-FFF2-40B4-BE49-F238E27FC236}">
                  <a16:creationId xmlns:a16="http://schemas.microsoft.com/office/drawing/2014/main" id="{6CF9CA44-8711-4748-BD8A-ABD72171316B}"/>
                </a:ext>
              </a:extLst>
            </p:cNvPr>
            <p:cNvSpPr>
              <a:spLocks noChangeArrowheads="1"/>
            </p:cNvSpPr>
            <p:nvPr/>
          </p:nvSpPr>
          <p:spPr bwMode="auto">
            <a:xfrm>
              <a:off x="8439690" y="5031417"/>
              <a:ext cx="11416" cy="32366"/>
            </a:xfrm>
            <a:custGeom>
              <a:avLst/>
              <a:gdLst>
                <a:gd name="T0" fmla="*/ 29 w 30"/>
                <a:gd name="T1" fmla="*/ 0 h 89"/>
                <a:gd name="T2" fmla="*/ 29 w 30"/>
                <a:gd name="T3" fmla="*/ 0 h 89"/>
                <a:gd name="T4" fmla="*/ 29 w 30"/>
                <a:gd name="T5" fmla="*/ 30 h 89"/>
                <a:gd name="T6" fmla="*/ 0 w 30"/>
                <a:gd name="T7" fmla="*/ 88 h 89"/>
                <a:gd name="T8" fmla="*/ 29 w 30"/>
                <a:gd name="T9" fmla="*/ 30 h 89"/>
                <a:gd name="T10" fmla="*/ 29 w 30"/>
                <a:gd name="T11" fmla="*/ 0 h 89"/>
              </a:gdLst>
              <a:ahLst/>
              <a:cxnLst>
                <a:cxn ang="0">
                  <a:pos x="T0" y="T1"/>
                </a:cxn>
                <a:cxn ang="0">
                  <a:pos x="T2" y="T3"/>
                </a:cxn>
                <a:cxn ang="0">
                  <a:pos x="T4" y="T5"/>
                </a:cxn>
                <a:cxn ang="0">
                  <a:pos x="T6" y="T7"/>
                </a:cxn>
                <a:cxn ang="0">
                  <a:pos x="T8" y="T9"/>
                </a:cxn>
                <a:cxn ang="0">
                  <a:pos x="T10" y="T11"/>
                </a:cxn>
              </a:cxnLst>
              <a:rect l="0" t="0" r="r" b="b"/>
              <a:pathLst>
                <a:path w="30" h="89">
                  <a:moveTo>
                    <a:pt x="29" y="0"/>
                  </a:moveTo>
                  <a:lnTo>
                    <a:pt x="29" y="0"/>
                  </a:lnTo>
                  <a:lnTo>
                    <a:pt x="29" y="30"/>
                  </a:lnTo>
                  <a:cubicBezTo>
                    <a:pt x="29" y="59"/>
                    <a:pt x="0" y="59"/>
                    <a:pt x="0" y="88"/>
                  </a:cubicBezTo>
                  <a:cubicBezTo>
                    <a:pt x="0" y="59"/>
                    <a:pt x="29" y="59"/>
                    <a:pt x="29" y="30"/>
                  </a:cubicBez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16" name="Freeform 253">
              <a:extLst>
                <a:ext uri="{FF2B5EF4-FFF2-40B4-BE49-F238E27FC236}">
                  <a16:creationId xmlns:a16="http://schemas.microsoft.com/office/drawing/2014/main" id="{C2F33294-C8D0-449C-A5AB-6682C5762286}"/>
                </a:ext>
              </a:extLst>
            </p:cNvPr>
            <p:cNvSpPr>
              <a:spLocks noChangeArrowheads="1"/>
            </p:cNvSpPr>
            <p:nvPr/>
          </p:nvSpPr>
          <p:spPr bwMode="auto">
            <a:xfrm>
              <a:off x="8720196" y="5105860"/>
              <a:ext cx="11416" cy="22656"/>
            </a:xfrm>
            <a:custGeom>
              <a:avLst/>
              <a:gdLst>
                <a:gd name="T0" fmla="*/ 29 w 30"/>
                <a:gd name="T1" fmla="*/ 29 h 60"/>
                <a:gd name="T2" fmla="*/ 29 w 30"/>
                <a:gd name="T3" fmla="*/ 29 h 60"/>
                <a:gd name="T4" fmla="*/ 29 w 30"/>
                <a:gd name="T5" fmla="*/ 0 h 60"/>
                <a:gd name="T6" fmla="*/ 0 w 30"/>
                <a:gd name="T7" fmla="*/ 0 h 60"/>
                <a:gd name="T8" fmla="*/ 0 w 30"/>
                <a:gd name="T9" fmla="*/ 0 h 60"/>
                <a:gd name="T10" fmla="*/ 29 w 30"/>
                <a:gd name="T11" fmla="*/ 59 h 60"/>
                <a:gd name="T12" fmla="*/ 29 w 30"/>
                <a:gd name="T13" fmla="*/ 29 h 60"/>
              </a:gdLst>
              <a:ahLst/>
              <a:cxnLst>
                <a:cxn ang="0">
                  <a:pos x="T0" y="T1"/>
                </a:cxn>
                <a:cxn ang="0">
                  <a:pos x="T2" y="T3"/>
                </a:cxn>
                <a:cxn ang="0">
                  <a:pos x="T4" y="T5"/>
                </a:cxn>
                <a:cxn ang="0">
                  <a:pos x="T6" y="T7"/>
                </a:cxn>
                <a:cxn ang="0">
                  <a:pos x="T8" y="T9"/>
                </a:cxn>
                <a:cxn ang="0">
                  <a:pos x="T10" y="T11"/>
                </a:cxn>
                <a:cxn ang="0">
                  <a:pos x="T12" y="T13"/>
                </a:cxn>
              </a:cxnLst>
              <a:rect l="0" t="0" r="r" b="b"/>
              <a:pathLst>
                <a:path w="30" h="60">
                  <a:moveTo>
                    <a:pt x="29" y="29"/>
                  </a:moveTo>
                  <a:lnTo>
                    <a:pt x="29" y="29"/>
                  </a:lnTo>
                  <a:cubicBezTo>
                    <a:pt x="29" y="29"/>
                    <a:pt x="29" y="29"/>
                    <a:pt x="29" y="0"/>
                  </a:cubicBezTo>
                  <a:lnTo>
                    <a:pt x="0" y="0"/>
                  </a:lnTo>
                  <a:lnTo>
                    <a:pt x="0" y="0"/>
                  </a:lnTo>
                  <a:cubicBezTo>
                    <a:pt x="29" y="29"/>
                    <a:pt x="29" y="29"/>
                    <a:pt x="29" y="59"/>
                  </a:cubicBezTo>
                  <a:lnTo>
                    <a:pt x="2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17" name="Freeform 254">
              <a:extLst>
                <a:ext uri="{FF2B5EF4-FFF2-40B4-BE49-F238E27FC236}">
                  <a16:creationId xmlns:a16="http://schemas.microsoft.com/office/drawing/2014/main" id="{066F3F2F-8F00-4CFD-B291-A800759ABAD2}"/>
                </a:ext>
              </a:extLst>
            </p:cNvPr>
            <p:cNvSpPr>
              <a:spLocks noChangeArrowheads="1"/>
            </p:cNvSpPr>
            <p:nvPr/>
          </p:nvSpPr>
          <p:spPr bwMode="auto">
            <a:xfrm>
              <a:off x="8643547" y="5062165"/>
              <a:ext cx="11415" cy="32366"/>
            </a:xfrm>
            <a:custGeom>
              <a:avLst/>
              <a:gdLst>
                <a:gd name="T0" fmla="*/ 29 w 30"/>
                <a:gd name="T1" fmla="*/ 87 h 88"/>
                <a:gd name="T2" fmla="*/ 29 w 30"/>
                <a:gd name="T3" fmla="*/ 87 h 88"/>
                <a:gd name="T4" fmla="*/ 0 w 30"/>
                <a:gd name="T5" fmla="*/ 0 h 88"/>
                <a:gd name="T6" fmla="*/ 29 w 30"/>
                <a:gd name="T7" fmla="*/ 87 h 88"/>
              </a:gdLst>
              <a:ahLst/>
              <a:cxnLst>
                <a:cxn ang="0">
                  <a:pos x="T0" y="T1"/>
                </a:cxn>
                <a:cxn ang="0">
                  <a:pos x="T2" y="T3"/>
                </a:cxn>
                <a:cxn ang="0">
                  <a:pos x="T4" y="T5"/>
                </a:cxn>
                <a:cxn ang="0">
                  <a:pos x="T6" y="T7"/>
                </a:cxn>
              </a:cxnLst>
              <a:rect l="0" t="0" r="r" b="b"/>
              <a:pathLst>
                <a:path w="30" h="88">
                  <a:moveTo>
                    <a:pt x="29" y="87"/>
                  </a:moveTo>
                  <a:lnTo>
                    <a:pt x="29" y="87"/>
                  </a:lnTo>
                  <a:cubicBezTo>
                    <a:pt x="0" y="58"/>
                    <a:pt x="0" y="29"/>
                    <a:pt x="0" y="0"/>
                  </a:cubicBezTo>
                  <a:cubicBezTo>
                    <a:pt x="0" y="29"/>
                    <a:pt x="0" y="58"/>
                    <a:pt x="29" y="8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18" name="Freeform 255">
              <a:extLst>
                <a:ext uri="{FF2B5EF4-FFF2-40B4-BE49-F238E27FC236}">
                  <a16:creationId xmlns:a16="http://schemas.microsoft.com/office/drawing/2014/main" id="{A2EAD931-8977-4F81-91A6-3C8425160F6B}"/>
                </a:ext>
              </a:extLst>
            </p:cNvPr>
            <p:cNvSpPr>
              <a:spLocks noChangeArrowheads="1"/>
            </p:cNvSpPr>
            <p:nvPr/>
          </p:nvSpPr>
          <p:spPr bwMode="auto">
            <a:xfrm>
              <a:off x="8439690" y="5062165"/>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19" name="Freeform 256">
              <a:extLst>
                <a:ext uri="{FF2B5EF4-FFF2-40B4-BE49-F238E27FC236}">
                  <a16:creationId xmlns:a16="http://schemas.microsoft.com/office/drawing/2014/main" id="{0BC6B109-C376-494E-82E9-E317CCE8AD12}"/>
                </a:ext>
              </a:extLst>
            </p:cNvPr>
            <p:cNvSpPr>
              <a:spLocks noChangeArrowheads="1"/>
            </p:cNvSpPr>
            <p:nvPr/>
          </p:nvSpPr>
          <p:spPr bwMode="auto">
            <a:xfrm>
              <a:off x="8332055" y="4999051"/>
              <a:ext cx="11416" cy="1618"/>
            </a:xfrm>
            <a:custGeom>
              <a:avLst/>
              <a:gdLst>
                <a:gd name="T0" fmla="*/ 29 w 30"/>
                <a:gd name="T1" fmla="*/ 0 h 1"/>
                <a:gd name="T2" fmla="*/ 29 w 30"/>
                <a:gd name="T3" fmla="*/ 0 h 1"/>
                <a:gd name="T4" fmla="*/ 29 w 30"/>
                <a:gd name="T5" fmla="*/ 0 h 1"/>
                <a:gd name="T6" fmla="*/ 0 w 30"/>
                <a:gd name="T7" fmla="*/ 0 h 1"/>
                <a:gd name="T8" fmla="*/ 0 w 30"/>
                <a:gd name="T9" fmla="*/ 0 h 1"/>
                <a:gd name="T10" fmla="*/ 29 w 30"/>
                <a:gd name="T11" fmla="*/ 0 h 1"/>
              </a:gdLst>
              <a:ahLst/>
              <a:cxnLst>
                <a:cxn ang="0">
                  <a:pos x="T0" y="T1"/>
                </a:cxn>
                <a:cxn ang="0">
                  <a:pos x="T2" y="T3"/>
                </a:cxn>
                <a:cxn ang="0">
                  <a:pos x="T4" y="T5"/>
                </a:cxn>
                <a:cxn ang="0">
                  <a:pos x="T6" y="T7"/>
                </a:cxn>
                <a:cxn ang="0">
                  <a:pos x="T8" y="T9"/>
                </a:cxn>
                <a:cxn ang="0">
                  <a:pos x="T10" y="T11"/>
                </a:cxn>
              </a:cxnLst>
              <a:rect l="0" t="0" r="r" b="b"/>
              <a:pathLst>
                <a:path w="30" h="1">
                  <a:moveTo>
                    <a:pt x="29" y="0"/>
                  </a:moveTo>
                  <a:lnTo>
                    <a:pt x="29" y="0"/>
                  </a:lnTo>
                  <a:lnTo>
                    <a:pt x="29" y="0"/>
                  </a:lnTo>
                  <a:cubicBezTo>
                    <a:pt x="0" y="0"/>
                    <a:pt x="0" y="0"/>
                    <a:pt x="0" y="0"/>
                  </a:cubicBezTo>
                  <a:lnTo>
                    <a:pt x="0" y="0"/>
                  </a:ln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20" name="Freeform 257">
              <a:extLst>
                <a:ext uri="{FF2B5EF4-FFF2-40B4-BE49-F238E27FC236}">
                  <a16:creationId xmlns:a16="http://schemas.microsoft.com/office/drawing/2014/main" id="{67A2DA7B-8A3D-40C5-8489-AB330277C924}"/>
                </a:ext>
              </a:extLst>
            </p:cNvPr>
            <p:cNvSpPr>
              <a:spLocks noChangeArrowheads="1"/>
            </p:cNvSpPr>
            <p:nvPr/>
          </p:nvSpPr>
          <p:spPr bwMode="auto">
            <a:xfrm>
              <a:off x="8341840" y="5062165"/>
              <a:ext cx="22832" cy="11329"/>
            </a:xfrm>
            <a:custGeom>
              <a:avLst/>
              <a:gdLst>
                <a:gd name="T0" fmla="*/ 59 w 60"/>
                <a:gd name="T1" fmla="*/ 0 h 30"/>
                <a:gd name="T2" fmla="*/ 59 w 60"/>
                <a:gd name="T3" fmla="*/ 0 h 30"/>
                <a:gd name="T4" fmla="*/ 29 w 60"/>
                <a:gd name="T5" fmla="*/ 0 h 30"/>
                <a:gd name="T6" fmla="*/ 0 w 60"/>
                <a:gd name="T7" fmla="*/ 0 h 30"/>
                <a:gd name="T8" fmla="*/ 0 w 60"/>
                <a:gd name="T9" fmla="*/ 0 h 30"/>
                <a:gd name="T10" fmla="*/ 29 w 60"/>
                <a:gd name="T11" fmla="*/ 29 h 30"/>
                <a:gd name="T12" fmla="*/ 59 w 60"/>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60" h="30">
                  <a:moveTo>
                    <a:pt x="59" y="0"/>
                  </a:moveTo>
                  <a:lnTo>
                    <a:pt x="59" y="0"/>
                  </a:lnTo>
                  <a:lnTo>
                    <a:pt x="29" y="0"/>
                  </a:lnTo>
                  <a:cubicBezTo>
                    <a:pt x="0" y="0"/>
                    <a:pt x="0" y="0"/>
                    <a:pt x="0" y="0"/>
                  </a:cubicBezTo>
                  <a:lnTo>
                    <a:pt x="0" y="0"/>
                  </a:lnTo>
                  <a:cubicBezTo>
                    <a:pt x="0" y="29"/>
                    <a:pt x="0" y="29"/>
                    <a:pt x="29" y="29"/>
                  </a:cubicBezTo>
                  <a:lnTo>
                    <a:pt x="5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21" name="Freeform 258">
              <a:extLst>
                <a:ext uri="{FF2B5EF4-FFF2-40B4-BE49-F238E27FC236}">
                  <a16:creationId xmlns:a16="http://schemas.microsoft.com/office/drawing/2014/main" id="{15AB84F0-F409-4912-ABEF-2F861DC0D156}"/>
                </a:ext>
              </a:extLst>
            </p:cNvPr>
            <p:cNvSpPr>
              <a:spLocks noChangeArrowheads="1"/>
            </p:cNvSpPr>
            <p:nvPr/>
          </p:nvSpPr>
          <p:spPr bwMode="auto">
            <a:xfrm>
              <a:off x="8299438" y="5008761"/>
              <a:ext cx="44033" cy="43694"/>
            </a:xfrm>
            <a:custGeom>
              <a:avLst/>
              <a:gdLst>
                <a:gd name="T0" fmla="*/ 116 w 117"/>
                <a:gd name="T1" fmla="*/ 88 h 118"/>
                <a:gd name="T2" fmla="*/ 116 w 117"/>
                <a:gd name="T3" fmla="*/ 88 h 118"/>
                <a:gd name="T4" fmla="*/ 116 w 117"/>
                <a:gd name="T5" fmla="*/ 117 h 118"/>
                <a:gd name="T6" fmla="*/ 116 w 117"/>
                <a:gd name="T7" fmla="*/ 117 h 118"/>
                <a:gd name="T8" fmla="*/ 116 w 117"/>
                <a:gd name="T9" fmla="*/ 88 h 118"/>
                <a:gd name="T10" fmla="*/ 29 w 117"/>
                <a:gd name="T11" fmla="*/ 29 h 118"/>
                <a:gd name="T12" fmla="*/ 0 w 117"/>
                <a:gd name="T13" fmla="*/ 0 h 118"/>
                <a:gd name="T14" fmla="*/ 29 w 117"/>
                <a:gd name="T15" fmla="*/ 29 h 118"/>
                <a:gd name="T16" fmla="*/ 116 w 117"/>
                <a:gd name="T17" fmla="*/ 8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118">
                  <a:moveTo>
                    <a:pt x="116" y="88"/>
                  </a:moveTo>
                  <a:lnTo>
                    <a:pt x="116" y="88"/>
                  </a:lnTo>
                  <a:cubicBezTo>
                    <a:pt x="116" y="117"/>
                    <a:pt x="116" y="117"/>
                    <a:pt x="116" y="117"/>
                  </a:cubicBezTo>
                  <a:lnTo>
                    <a:pt x="116" y="117"/>
                  </a:lnTo>
                  <a:cubicBezTo>
                    <a:pt x="116" y="88"/>
                    <a:pt x="116" y="88"/>
                    <a:pt x="116" y="88"/>
                  </a:cubicBezTo>
                  <a:cubicBezTo>
                    <a:pt x="87" y="58"/>
                    <a:pt x="58" y="58"/>
                    <a:pt x="29" y="29"/>
                  </a:cubicBezTo>
                  <a:cubicBezTo>
                    <a:pt x="29" y="29"/>
                    <a:pt x="0" y="29"/>
                    <a:pt x="0" y="0"/>
                  </a:cubicBezTo>
                  <a:cubicBezTo>
                    <a:pt x="0" y="29"/>
                    <a:pt x="29" y="29"/>
                    <a:pt x="29" y="29"/>
                  </a:cubicBezTo>
                  <a:cubicBezTo>
                    <a:pt x="58" y="58"/>
                    <a:pt x="87" y="58"/>
                    <a:pt x="116"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22" name="Freeform 259">
              <a:extLst>
                <a:ext uri="{FF2B5EF4-FFF2-40B4-BE49-F238E27FC236}">
                  <a16:creationId xmlns:a16="http://schemas.microsoft.com/office/drawing/2014/main" id="{3FEEA0DE-3697-41F1-BE03-E50D15166F2C}"/>
                </a:ext>
              </a:extLst>
            </p:cNvPr>
            <p:cNvSpPr>
              <a:spLocks noChangeArrowheads="1"/>
            </p:cNvSpPr>
            <p:nvPr/>
          </p:nvSpPr>
          <p:spPr bwMode="auto">
            <a:xfrm>
              <a:off x="8439690" y="5020088"/>
              <a:ext cx="11416" cy="11329"/>
            </a:xfrm>
            <a:custGeom>
              <a:avLst/>
              <a:gdLst>
                <a:gd name="T0" fmla="*/ 0 w 30"/>
                <a:gd name="T1" fmla="*/ 0 h 30"/>
                <a:gd name="T2" fmla="*/ 0 w 30"/>
                <a:gd name="T3" fmla="*/ 0 h 30"/>
                <a:gd name="T4" fmla="*/ 0 w 30"/>
                <a:gd name="T5" fmla="*/ 29 h 30"/>
                <a:gd name="T6" fmla="*/ 0 w 30"/>
                <a:gd name="T7" fmla="*/ 0 h 30"/>
                <a:gd name="T8" fmla="*/ 29 w 30"/>
                <a:gd name="T9" fmla="*/ 29 h 30"/>
                <a:gd name="T10" fmla="*/ 0 w 30"/>
                <a:gd name="T11" fmla="*/ 0 h 30"/>
              </a:gdLst>
              <a:ahLst/>
              <a:cxnLst>
                <a:cxn ang="0">
                  <a:pos x="T0" y="T1"/>
                </a:cxn>
                <a:cxn ang="0">
                  <a:pos x="T2" y="T3"/>
                </a:cxn>
                <a:cxn ang="0">
                  <a:pos x="T4" y="T5"/>
                </a:cxn>
                <a:cxn ang="0">
                  <a:pos x="T6" y="T7"/>
                </a:cxn>
                <a:cxn ang="0">
                  <a:pos x="T8" y="T9"/>
                </a:cxn>
                <a:cxn ang="0">
                  <a:pos x="T10" y="T11"/>
                </a:cxn>
              </a:cxnLst>
              <a:rect l="0" t="0" r="r" b="b"/>
              <a:pathLst>
                <a:path w="30" h="30">
                  <a:moveTo>
                    <a:pt x="0" y="0"/>
                  </a:moveTo>
                  <a:lnTo>
                    <a:pt x="0" y="0"/>
                  </a:lnTo>
                  <a:cubicBezTo>
                    <a:pt x="0" y="0"/>
                    <a:pt x="0" y="0"/>
                    <a:pt x="0" y="29"/>
                  </a:cubicBezTo>
                  <a:cubicBezTo>
                    <a:pt x="0" y="0"/>
                    <a:pt x="0" y="0"/>
                    <a:pt x="0" y="0"/>
                  </a:cubicBezTo>
                  <a:cubicBezTo>
                    <a:pt x="29" y="0"/>
                    <a:pt x="29" y="0"/>
                    <a:pt x="29" y="29"/>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23" name="Freeform 260">
              <a:extLst>
                <a:ext uri="{FF2B5EF4-FFF2-40B4-BE49-F238E27FC236}">
                  <a16:creationId xmlns:a16="http://schemas.microsoft.com/office/drawing/2014/main" id="{B2257963-BCED-4281-A554-A18734E0B59A}"/>
                </a:ext>
              </a:extLst>
            </p:cNvPr>
            <p:cNvSpPr>
              <a:spLocks noChangeArrowheads="1"/>
            </p:cNvSpPr>
            <p:nvPr/>
          </p:nvSpPr>
          <p:spPr bwMode="auto">
            <a:xfrm>
              <a:off x="8374457" y="4999051"/>
              <a:ext cx="11416" cy="1618"/>
            </a:xfrm>
            <a:custGeom>
              <a:avLst/>
              <a:gdLst>
                <a:gd name="T0" fmla="*/ 0 w 30"/>
                <a:gd name="T1" fmla="*/ 0 h 1"/>
                <a:gd name="T2" fmla="*/ 0 w 30"/>
                <a:gd name="T3" fmla="*/ 0 h 1"/>
                <a:gd name="T4" fmla="*/ 0 w 30"/>
                <a:gd name="T5" fmla="*/ 0 h 1"/>
                <a:gd name="T6" fmla="*/ 29 w 30"/>
                <a:gd name="T7" fmla="*/ 0 h 1"/>
                <a:gd name="T8" fmla="*/ 0 w 30"/>
                <a:gd name="T9" fmla="*/ 0 h 1"/>
              </a:gdLst>
              <a:ahLst/>
              <a:cxnLst>
                <a:cxn ang="0">
                  <a:pos x="T0" y="T1"/>
                </a:cxn>
                <a:cxn ang="0">
                  <a:pos x="T2" y="T3"/>
                </a:cxn>
                <a:cxn ang="0">
                  <a:pos x="T4" y="T5"/>
                </a:cxn>
                <a:cxn ang="0">
                  <a:pos x="T6" y="T7"/>
                </a:cxn>
                <a:cxn ang="0">
                  <a:pos x="T8" y="T9"/>
                </a:cxn>
              </a:cxnLst>
              <a:rect l="0" t="0" r="r" b="b"/>
              <a:pathLst>
                <a:path w="30" h="1">
                  <a:moveTo>
                    <a:pt x="0" y="0"/>
                  </a:moveTo>
                  <a:lnTo>
                    <a:pt x="0" y="0"/>
                  </a:lnTo>
                  <a:lnTo>
                    <a:pt x="0" y="0"/>
                  </a:lnTo>
                  <a:cubicBezTo>
                    <a:pt x="29" y="0"/>
                    <a:pt x="29" y="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24" name="Freeform 261">
              <a:extLst>
                <a:ext uri="{FF2B5EF4-FFF2-40B4-BE49-F238E27FC236}">
                  <a16:creationId xmlns:a16="http://schemas.microsoft.com/office/drawing/2014/main" id="{D85B9144-E1B0-46AF-95E0-4035664D702F}"/>
                </a:ext>
              </a:extLst>
            </p:cNvPr>
            <p:cNvSpPr>
              <a:spLocks noChangeArrowheads="1"/>
            </p:cNvSpPr>
            <p:nvPr/>
          </p:nvSpPr>
          <p:spPr bwMode="auto">
            <a:xfrm>
              <a:off x="8977869" y="4859875"/>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25" name="Freeform 262">
              <a:extLst>
                <a:ext uri="{FF2B5EF4-FFF2-40B4-BE49-F238E27FC236}">
                  <a16:creationId xmlns:a16="http://schemas.microsoft.com/office/drawing/2014/main" id="{28E7350D-D762-4B98-B182-500486974372}"/>
                </a:ext>
              </a:extLst>
            </p:cNvPr>
            <p:cNvSpPr>
              <a:spLocks noChangeArrowheads="1"/>
            </p:cNvSpPr>
            <p:nvPr/>
          </p:nvSpPr>
          <p:spPr bwMode="auto">
            <a:xfrm>
              <a:off x="8968084" y="4795142"/>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26" name="Freeform 263">
              <a:extLst>
                <a:ext uri="{FF2B5EF4-FFF2-40B4-BE49-F238E27FC236}">
                  <a16:creationId xmlns:a16="http://schemas.microsoft.com/office/drawing/2014/main" id="{3EE1AB1F-E0B2-4628-9C11-F5680EE4ADF3}"/>
                </a:ext>
              </a:extLst>
            </p:cNvPr>
            <p:cNvSpPr>
              <a:spLocks noChangeArrowheads="1"/>
            </p:cNvSpPr>
            <p:nvPr/>
          </p:nvSpPr>
          <p:spPr bwMode="auto">
            <a:xfrm>
              <a:off x="8956669" y="4827509"/>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27" name="Freeform 264">
              <a:extLst>
                <a:ext uri="{FF2B5EF4-FFF2-40B4-BE49-F238E27FC236}">
                  <a16:creationId xmlns:a16="http://schemas.microsoft.com/office/drawing/2014/main" id="{B4BA80AF-5651-439D-BC30-511126768126}"/>
                </a:ext>
              </a:extLst>
            </p:cNvPr>
            <p:cNvSpPr>
              <a:spLocks noChangeArrowheads="1"/>
            </p:cNvSpPr>
            <p:nvPr/>
          </p:nvSpPr>
          <p:spPr bwMode="auto">
            <a:xfrm>
              <a:off x="8968084" y="4827509"/>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28" name="Freeform 265">
              <a:extLst>
                <a:ext uri="{FF2B5EF4-FFF2-40B4-BE49-F238E27FC236}">
                  <a16:creationId xmlns:a16="http://schemas.microsoft.com/office/drawing/2014/main" id="{4074A4EF-1FAB-4642-A8CD-50464406AA7E}"/>
                </a:ext>
              </a:extLst>
            </p:cNvPr>
            <p:cNvSpPr>
              <a:spLocks noChangeArrowheads="1"/>
            </p:cNvSpPr>
            <p:nvPr/>
          </p:nvSpPr>
          <p:spPr bwMode="auto">
            <a:xfrm>
              <a:off x="8989286" y="4880913"/>
              <a:ext cx="11415" cy="11329"/>
            </a:xfrm>
            <a:custGeom>
              <a:avLst/>
              <a:gdLst>
                <a:gd name="T0" fmla="*/ 0 w 30"/>
                <a:gd name="T1" fmla="*/ 0 h 30"/>
                <a:gd name="T2" fmla="*/ 0 w 30"/>
                <a:gd name="T3" fmla="*/ 0 h 30"/>
                <a:gd name="T4" fmla="*/ 29 w 30"/>
                <a:gd name="T5" fmla="*/ 29 h 30"/>
                <a:gd name="T6" fmla="*/ 29 w 30"/>
                <a:gd name="T7" fmla="*/ 29 h 30"/>
                <a:gd name="T8" fmla="*/ 0 w 30"/>
                <a:gd name="T9" fmla="*/ 0 h 30"/>
              </a:gdLst>
              <a:ahLst/>
              <a:cxnLst>
                <a:cxn ang="0">
                  <a:pos x="T0" y="T1"/>
                </a:cxn>
                <a:cxn ang="0">
                  <a:pos x="T2" y="T3"/>
                </a:cxn>
                <a:cxn ang="0">
                  <a:pos x="T4" y="T5"/>
                </a:cxn>
                <a:cxn ang="0">
                  <a:pos x="T6" y="T7"/>
                </a:cxn>
                <a:cxn ang="0">
                  <a:pos x="T8" y="T9"/>
                </a:cxn>
              </a:cxnLst>
              <a:rect l="0" t="0" r="r" b="b"/>
              <a:pathLst>
                <a:path w="30" h="30">
                  <a:moveTo>
                    <a:pt x="0" y="0"/>
                  </a:moveTo>
                  <a:lnTo>
                    <a:pt x="0" y="0"/>
                  </a:lnTo>
                  <a:cubicBezTo>
                    <a:pt x="29" y="0"/>
                    <a:pt x="29" y="0"/>
                    <a:pt x="29" y="29"/>
                  </a:cubicBezTo>
                  <a:lnTo>
                    <a:pt x="29" y="29"/>
                  </a:ln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29" name="Freeform 266">
              <a:extLst>
                <a:ext uri="{FF2B5EF4-FFF2-40B4-BE49-F238E27FC236}">
                  <a16:creationId xmlns:a16="http://schemas.microsoft.com/office/drawing/2014/main" id="{CD45FB47-4079-4FC7-8042-118998756625}"/>
                </a:ext>
              </a:extLst>
            </p:cNvPr>
            <p:cNvSpPr>
              <a:spLocks noChangeArrowheads="1"/>
            </p:cNvSpPr>
            <p:nvPr/>
          </p:nvSpPr>
          <p:spPr bwMode="auto">
            <a:xfrm>
              <a:off x="8946884" y="4827509"/>
              <a:ext cx="11415" cy="11328"/>
            </a:xfrm>
            <a:custGeom>
              <a:avLst/>
              <a:gdLst>
                <a:gd name="T0" fmla="*/ 0 w 29"/>
                <a:gd name="T1" fmla="*/ 29 h 30"/>
                <a:gd name="T2" fmla="*/ 0 w 29"/>
                <a:gd name="T3" fmla="*/ 29 h 30"/>
                <a:gd name="T4" fmla="*/ 0 w 29"/>
                <a:gd name="T5" fmla="*/ 29 h 30"/>
                <a:gd name="T6" fmla="*/ 28 w 29"/>
                <a:gd name="T7" fmla="*/ 0 h 30"/>
                <a:gd name="T8" fmla="*/ 28 w 29"/>
                <a:gd name="T9" fmla="*/ 0 h 30"/>
                <a:gd name="T10" fmla="*/ 0 w 29"/>
                <a:gd name="T11" fmla="*/ 29 h 30"/>
              </a:gdLst>
              <a:ahLst/>
              <a:cxnLst>
                <a:cxn ang="0">
                  <a:pos x="T0" y="T1"/>
                </a:cxn>
                <a:cxn ang="0">
                  <a:pos x="T2" y="T3"/>
                </a:cxn>
                <a:cxn ang="0">
                  <a:pos x="T4" y="T5"/>
                </a:cxn>
                <a:cxn ang="0">
                  <a:pos x="T6" y="T7"/>
                </a:cxn>
                <a:cxn ang="0">
                  <a:pos x="T8" y="T9"/>
                </a:cxn>
                <a:cxn ang="0">
                  <a:pos x="T10" y="T11"/>
                </a:cxn>
              </a:cxnLst>
              <a:rect l="0" t="0" r="r" b="b"/>
              <a:pathLst>
                <a:path w="29" h="30">
                  <a:moveTo>
                    <a:pt x="0" y="29"/>
                  </a:moveTo>
                  <a:lnTo>
                    <a:pt x="0" y="29"/>
                  </a:lnTo>
                  <a:lnTo>
                    <a:pt x="0" y="29"/>
                  </a:lnTo>
                  <a:cubicBezTo>
                    <a:pt x="28" y="0"/>
                    <a:pt x="28" y="0"/>
                    <a:pt x="28" y="0"/>
                  </a:cubicBezTo>
                  <a:lnTo>
                    <a:pt x="28" y="0"/>
                  </a:lnTo>
                  <a:cubicBezTo>
                    <a:pt x="28" y="0"/>
                    <a:pt x="28"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30" name="Freeform 267">
              <a:extLst>
                <a:ext uri="{FF2B5EF4-FFF2-40B4-BE49-F238E27FC236}">
                  <a16:creationId xmlns:a16="http://schemas.microsoft.com/office/drawing/2014/main" id="{2F34F0B3-E6DD-4277-B29B-C2E3EF5AD060}"/>
                </a:ext>
              </a:extLst>
            </p:cNvPr>
            <p:cNvSpPr>
              <a:spLocks noChangeArrowheads="1"/>
            </p:cNvSpPr>
            <p:nvPr/>
          </p:nvSpPr>
          <p:spPr bwMode="auto">
            <a:xfrm>
              <a:off x="8977869" y="4848546"/>
              <a:ext cx="1631" cy="11329"/>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0"/>
                    <a:pt x="0" y="0"/>
                    <a:pt x="0" y="0"/>
                  </a:cubicBezTo>
                  <a:cubicBezTo>
                    <a:pt x="0" y="0"/>
                    <a:pt x="0"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31" name="Freeform 268">
              <a:extLst>
                <a:ext uri="{FF2B5EF4-FFF2-40B4-BE49-F238E27FC236}">
                  <a16:creationId xmlns:a16="http://schemas.microsoft.com/office/drawing/2014/main" id="{7E883165-4020-4A4B-A097-07BAE4273936}"/>
                </a:ext>
              </a:extLst>
            </p:cNvPr>
            <p:cNvSpPr>
              <a:spLocks noChangeArrowheads="1"/>
            </p:cNvSpPr>
            <p:nvPr/>
          </p:nvSpPr>
          <p:spPr bwMode="auto">
            <a:xfrm>
              <a:off x="8956669" y="4795142"/>
              <a:ext cx="11415" cy="21038"/>
            </a:xfrm>
            <a:custGeom>
              <a:avLst/>
              <a:gdLst>
                <a:gd name="T0" fmla="*/ 30 w 31"/>
                <a:gd name="T1" fmla="*/ 0 h 59"/>
                <a:gd name="T2" fmla="*/ 30 w 31"/>
                <a:gd name="T3" fmla="*/ 0 h 59"/>
                <a:gd name="T4" fmla="*/ 30 w 31"/>
                <a:gd name="T5" fmla="*/ 29 h 59"/>
                <a:gd name="T6" fmla="*/ 0 w 31"/>
                <a:gd name="T7" fmla="*/ 58 h 59"/>
                <a:gd name="T8" fmla="*/ 0 w 31"/>
                <a:gd name="T9" fmla="*/ 58 h 59"/>
                <a:gd name="T10" fmla="*/ 30 w 31"/>
                <a:gd name="T11" fmla="*/ 29 h 59"/>
                <a:gd name="T12" fmla="*/ 30 w 31"/>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31" h="59">
                  <a:moveTo>
                    <a:pt x="30" y="0"/>
                  </a:moveTo>
                  <a:lnTo>
                    <a:pt x="30" y="0"/>
                  </a:lnTo>
                  <a:lnTo>
                    <a:pt x="30" y="29"/>
                  </a:lnTo>
                  <a:cubicBezTo>
                    <a:pt x="0" y="29"/>
                    <a:pt x="0" y="58"/>
                    <a:pt x="0" y="58"/>
                  </a:cubicBezTo>
                  <a:lnTo>
                    <a:pt x="0" y="58"/>
                  </a:lnTo>
                  <a:cubicBezTo>
                    <a:pt x="0" y="58"/>
                    <a:pt x="0" y="29"/>
                    <a:pt x="30" y="29"/>
                  </a:cubicBezTo>
                  <a:lnTo>
                    <a:pt x="3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32" name="Freeform 269">
              <a:extLst>
                <a:ext uri="{FF2B5EF4-FFF2-40B4-BE49-F238E27FC236}">
                  <a16:creationId xmlns:a16="http://schemas.microsoft.com/office/drawing/2014/main" id="{08AD3F78-033C-43EB-BF08-FDB29E639712}"/>
                </a:ext>
              </a:extLst>
            </p:cNvPr>
            <p:cNvSpPr>
              <a:spLocks noChangeArrowheads="1"/>
            </p:cNvSpPr>
            <p:nvPr/>
          </p:nvSpPr>
          <p:spPr bwMode="auto">
            <a:xfrm>
              <a:off x="8946884" y="4785432"/>
              <a:ext cx="11415" cy="32366"/>
            </a:xfrm>
            <a:custGeom>
              <a:avLst/>
              <a:gdLst>
                <a:gd name="T0" fmla="*/ 28 w 29"/>
                <a:gd name="T1" fmla="*/ 87 h 88"/>
                <a:gd name="T2" fmla="*/ 28 w 29"/>
                <a:gd name="T3" fmla="*/ 87 h 88"/>
                <a:gd name="T4" fmla="*/ 0 w 29"/>
                <a:gd name="T5" fmla="*/ 29 h 88"/>
                <a:gd name="T6" fmla="*/ 0 w 29"/>
                <a:gd name="T7" fmla="*/ 0 h 88"/>
                <a:gd name="T8" fmla="*/ 0 w 29"/>
                <a:gd name="T9" fmla="*/ 29 h 88"/>
                <a:gd name="T10" fmla="*/ 28 w 29"/>
                <a:gd name="T11" fmla="*/ 87 h 88"/>
              </a:gdLst>
              <a:ahLst/>
              <a:cxnLst>
                <a:cxn ang="0">
                  <a:pos x="T0" y="T1"/>
                </a:cxn>
                <a:cxn ang="0">
                  <a:pos x="T2" y="T3"/>
                </a:cxn>
                <a:cxn ang="0">
                  <a:pos x="T4" y="T5"/>
                </a:cxn>
                <a:cxn ang="0">
                  <a:pos x="T6" y="T7"/>
                </a:cxn>
                <a:cxn ang="0">
                  <a:pos x="T8" y="T9"/>
                </a:cxn>
                <a:cxn ang="0">
                  <a:pos x="T10" y="T11"/>
                </a:cxn>
              </a:cxnLst>
              <a:rect l="0" t="0" r="r" b="b"/>
              <a:pathLst>
                <a:path w="29" h="88">
                  <a:moveTo>
                    <a:pt x="28" y="87"/>
                  </a:moveTo>
                  <a:lnTo>
                    <a:pt x="28" y="87"/>
                  </a:lnTo>
                  <a:cubicBezTo>
                    <a:pt x="28" y="58"/>
                    <a:pt x="0" y="29"/>
                    <a:pt x="0" y="29"/>
                  </a:cubicBezTo>
                  <a:lnTo>
                    <a:pt x="0" y="0"/>
                  </a:lnTo>
                  <a:lnTo>
                    <a:pt x="0" y="29"/>
                  </a:lnTo>
                  <a:cubicBezTo>
                    <a:pt x="0" y="29"/>
                    <a:pt x="28" y="58"/>
                    <a:pt x="28" y="8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33" name="Freeform 270">
              <a:extLst>
                <a:ext uri="{FF2B5EF4-FFF2-40B4-BE49-F238E27FC236}">
                  <a16:creationId xmlns:a16="http://schemas.microsoft.com/office/drawing/2014/main" id="{3367C331-8B2F-46A3-BA9B-B7E89E45C1B2}"/>
                </a:ext>
              </a:extLst>
            </p:cNvPr>
            <p:cNvSpPr>
              <a:spLocks noChangeArrowheads="1"/>
            </p:cNvSpPr>
            <p:nvPr/>
          </p:nvSpPr>
          <p:spPr bwMode="auto">
            <a:xfrm>
              <a:off x="8977869" y="4848546"/>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34" name="Freeform 271">
              <a:extLst>
                <a:ext uri="{FF2B5EF4-FFF2-40B4-BE49-F238E27FC236}">
                  <a16:creationId xmlns:a16="http://schemas.microsoft.com/office/drawing/2014/main" id="{3CFFCB14-0E38-4085-AB5B-50ED9DFD70EA}"/>
                </a:ext>
              </a:extLst>
            </p:cNvPr>
            <p:cNvSpPr>
              <a:spLocks noChangeArrowheads="1"/>
            </p:cNvSpPr>
            <p:nvPr/>
          </p:nvSpPr>
          <p:spPr bwMode="auto">
            <a:xfrm>
              <a:off x="8956669" y="4892241"/>
              <a:ext cx="32617" cy="22656"/>
            </a:xfrm>
            <a:custGeom>
              <a:avLst/>
              <a:gdLst>
                <a:gd name="T0" fmla="*/ 59 w 89"/>
                <a:gd name="T1" fmla="*/ 0 h 60"/>
                <a:gd name="T2" fmla="*/ 59 w 89"/>
                <a:gd name="T3" fmla="*/ 0 h 60"/>
                <a:gd name="T4" fmla="*/ 88 w 89"/>
                <a:gd name="T5" fmla="*/ 0 h 60"/>
                <a:gd name="T6" fmla="*/ 59 w 89"/>
                <a:gd name="T7" fmla="*/ 0 h 60"/>
                <a:gd name="T8" fmla="*/ 0 w 89"/>
                <a:gd name="T9" fmla="*/ 59 h 60"/>
                <a:gd name="T10" fmla="*/ 59 w 89"/>
                <a:gd name="T11" fmla="*/ 0 h 60"/>
              </a:gdLst>
              <a:ahLst/>
              <a:cxnLst>
                <a:cxn ang="0">
                  <a:pos x="T0" y="T1"/>
                </a:cxn>
                <a:cxn ang="0">
                  <a:pos x="T2" y="T3"/>
                </a:cxn>
                <a:cxn ang="0">
                  <a:pos x="T4" y="T5"/>
                </a:cxn>
                <a:cxn ang="0">
                  <a:pos x="T6" y="T7"/>
                </a:cxn>
                <a:cxn ang="0">
                  <a:pos x="T8" y="T9"/>
                </a:cxn>
                <a:cxn ang="0">
                  <a:pos x="T10" y="T11"/>
                </a:cxn>
              </a:cxnLst>
              <a:rect l="0" t="0" r="r" b="b"/>
              <a:pathLst>
                <a:path w="89" h="60">
                  <a:moveTo>
                    <a:pt x="59" y="0"/>
                  </a:moveTo>
                  <a:lnTo>
                    <a:pt x="59" y="0"/>
                  </a:lnTo>
                  <a:cubicBezTo>
                    <a:pt x="88" y="0"/>
                    <a:pt x="88" y="0"/>
                    <a:pt x="88" y="0"/>
                  </a:cubicBezTo>
                  <a:cubicBezTo>
                    <a:pt x="88" y="0"/>
                    <a:pt x="88" y="0"/>
                    <a:pt x="59" y="0"/>
                  </a:cubicBezTo>
                  <a:cubicBezTo>
                    <a:pt x="30" y="29"/>
                    <a:pt x="0" y="29"/>
                    <a:pt x="0" y="59"/>
                  </a:cubicBezTo>
                  <a:cubicBezTo>
                    <a:pt x="0" y="29"/>
                    <a:pt x="30" y="29"/>
                    <a:pt x="5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35" name="Freeform 272">
              <a:extLst>
                <a:ext uri="{FF2B5EF4-FFF2-40B4-BE49-F238E27FC236}">
                  <a16:creationId xmlns:a16="http://schemas.microsoft.com/office/drawing/2014/main" id="{8A5DA777-D609-4CB4-BEBE-AF938D26AA0B}"/>
                </a:ext>
              </a:extLst>
            </p:cNvPr>
            <p:cNvSpPr>
              <a:spLocks noChangeArrowheads="1"/>
            </p:cNvSpPr>
            <p:nvPr/>
          </p:nvSpPr>
          <p:spPr bwMode="auto">
            <a:xfrm>
              <a:off x="8946884" y="4892241"/>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36" name="Freeform 273">
              <a:extLst>
                <a:ext uri="{FF2B5EF4-FFF2-40B4-BE49-F238E27FC236}">
                  <a16:creationId xmlns:a16="http://schemas.microsoft.com/office/drawing/2014/main" id="{EA939F98-17F7-4F68-8B1B-E819A307BFE7}"/>
                </a:ext>
              </a:extLst>
            </p:cNvPr>
            <p:cNvSpPr>
              <a:spLocks noChangeArrowheads="1"/>
            </p:cNvSpPr>
            <p:nvPr/>
          </p:nvSpPr>
          <p:spPr bwMode="auto">
            <a:xfrm>
              <a:off x="8946884" y="4837219"/>
              <a:ext cx="1630" cy="11328"/>
            </a:xfrm>
            <a:custGeom>
              <a:avLst/>
              <a:gdLst>
                <a:gd name="T0" fmla="*/ 0 w 1"/>
                <a:gd name="T1" fmla="*/ 0 h 30"/>
                <a:gd name="T2" fmla="*/ 0 w 1"/>
                <a:gd name="T3" fmla="*/ 0 h 30"/>
                <a:gd name="T4" fmla="*/ 0 w 1"/>
                <a:gd name="T5" fmla="*/ 0 h 30"/>
                <a:gd name="T6" fmla="*/ 0 w 1"/>
                <a:gd name="T7" fmla="*/ 29 h 30"/>
                <a:gd name="T8" fmla="*/ 0 w 1"/>
                <a:gd name="T9" fmla="*/ 0 h 30"/>
              </a:gdLst>
              <a:ahLst/>
              <a:cxnLst>
                <a:cxn ang="0">
                  <a:pos x="T0" y="T1"/>
                </a:cxn>
                <a:cxn ang="0">
                  <a:pos x="T2" y="T3"/>
                </a:cxn>
                <a:cxn ang="0">
                  <a:pos x="T4" y="T5"/>
                </a:cxn>
                <a:cxn ang="0">
                  <a:pos x="T6" y="T7"/>
                </a:cxn>
                <a:cxn ang="0">
                  <a:pos x="T8" y="T9"/>
                </a:cxn>
              </a:cxnLst>
              <a:rect l="0" t="0" r="r" b="b"/>
              <a:pathLst>
                <a:path w="1" h="30">
                  <a:moveTo>
                    <a:pt x="0" y="0"/>
                  </a:moveTo>
                  <a:lnTo>
                    <a:pt x="0" y="0"/>
                  </a:lnTo>
                  <a:lnTo>
                    <a:pt x="0" y="0"/>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37" name="Freeform 274">
              <a:extLst>
                <a:ext uri="{FF2B5EF4-FFF2-40B4-BE49-F238E27FC236}">
                  <a16:creationId xmlns:a16="http://schemas.microsoft.com/office/drawing/2014/main" id="{E596F4F8-93E6-4406-BF5D-7D38E9044540}"/>
                </a:ext>
              </a:extLst>
            </p:cNvPr>
            <p:cNvSpPr>
              <a:spLocks noChangeArrowheads="1"/>
            </p:cNvSpPr>
            <p:nvPr/>
          </p:nvSpPr>
          <p:spPr bwMode="auto">
            <a:xfrm>
              <a:off x="9884620" y="5340516"/>
              <a:ext cx="11416" cy="1619"/>
            </a:xfrm>
            <a:custGeom>
              <a:avLst/>
              <a:gdLst>
                <a:gd name="T0" fmla="*/ 29 w 30"/>
                <a:gd name="T1" fmla="*/ 0 h 1"/>
                <a:gd name="T2" fmla="*/ 29 w 30"/>
                <a:gd name="T3" fmla="*/ 0 h 1"/>
                <a:gd name="T4" fmla="*/ 0 w 30"/>
                <a:gd name="T5" fmla="*/ 0 h 1"/>
                <a:gd name="T6" fmla="*/ 0 w 30"/>
                <a:gd name="T7" fmla="*/ 0 h 1"/>
                <a:gd name="T8" fmla="*/ 0 w 30"/>
                <a:gd name="T9" fmla="*/ 0 h 1"/>
                <a:gd name="T10" fmla="*/ 29 w 30"/>
                <a:gd name="T11" fmla="*/ 0 h 1"/>
              </a:gdLst>
              <a:ahLst/>
              <a:cxnLst>
                <a:cxn ang="0">
                  <a:pos x="T0" y="T1"/>
                </a:cxn>
                <a:cxn ang="0">
                  <a:pos x="T2" y="T3"/>
                </a:cxn>
                <a:cxn ang="0">
                  <a:pos x="T4" y="T5"/>
                </a:cxn>
                <a:cxn ang="0">
                  <a:pos x="T6" y="T7"/>
                </a:cxn>
                <a:cxn ang="0">
                  <a:pos x="T8" y="T9"/>
                </a:cxn>
                <a:cxn ang="0">
                  <a:pos x="T10" y="T11"/>
                </a:cxn>
              </a:cxnLst>
              <a:rect l="0" t="0" r="r" b="b"/>
              <a:pathLst>
                <a:path w="30" h="1">
                  <a:moveTo>
                    <a:pt x="29" y="0"/>
                  </a:moveTo>
                  <a:lnTo>
                    <a:pt x="29" y="0"/>
                  </a:lnTo>
                  <a:cubicBezTo>
                    <a:pt x="0" y="0"/>
                    <a:pt x="0" y="0"/>
                    <a:pt x="0" y="0"/>
                  </a:cubicBezTo>
                  <a:lnTo>
                    <a:pt x="0" y="0"/>
                  </a:lnTo>
                  <a:lnTo>
                    <a:pt x="0" y="0"/>
                  </a:ln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38" name="Freeform 275">
              <a:extLst>
                <a:ext uri="{FF2B5EF4-FFF2-40B4-BE49-F238E27FC236}">
                  <a16:creationId xmlns:a16="http://schemas.microsoft.com/office/drawing/2014/main" id="{617783A9-6946-4127-A097-432F03BB46AB}"/>
                </a:ext>
              </a:extLst>
            </p:cNvPr>
            <p:cNvSpPr>
              <a:spLocks noChangeArrowheads="1"/>
            </p:cNvSpPr>
            <p:nvPr/>
          </p:nvSpPr>
          <p:spPr bwMode="auto">
            <a:xfrm>
              <a:off x="9463861" y="3510196"/>
              <a:ext cx="1262274" cy="546992"/>
            </a:xfrm>
            <a:custGeom>
              <a:avLst/>
              <a:gdLst>
                <a:gd name="T0" fmla="*/ 3384 w 3413"/>
                <a:gd name="T1" fmla="*/ 524 h 1489"/>
                <a:gd name="T2" fmla="*/ 3267 w 3413"/>
                <a:gd name="T3" fmla="*/ 495 h 1489"/>
                <a:gd name="T4" fmla="*/ 3384 w 3413"/>
                <a:gd name="T5" fmla="*/ 438 h 1489"/>
                <a:gd name="T6" fmla="*/ 3355 w 3413"/>
                <a:gd name="T7" fmla="*/ 321 h 1489"/>
                <a:gd name="T8" fmla="*/ 3355 w 3413"/>
                <a:gd name="T9" fmla="*/ 291 h 1489"/>
                <a:gd name="T10" fmla="*/ 3296 w 3413"/>
                <a:gd name="T11" fmla="*/ 350 h 1489"/>
                <a:gd name="T12" fmla="*/ 3092 w 3413"/>
                <a:gd name="T13" fmla="*/ 408 h 1489"/>
                <a:gd name="T14" fmla="*/ 3150 w 3413"/>
                <a:gd name="T15" fmla="*/ 262 h 1489"/>
                <a:gd name="T16" fmla="*/ 3238 w 3413"/>
                <a:gd name="T17" fmla="*/ 145 h 1489"/>
                <a:gd name="T18" fmla="*/ 3355 w 3413"/>
                <a:gd name="T19" fmla="*/ 174 h 1489"/>
                <a:gd name="T20" fmla="*/ 3355 w 3413"/>
                <a:gd name="T21" fmla="*/ 117 h 1489"/>
                <a:gd name="T22" fmla="*/ 3296 w 3413"/>
                <a:gd name="T23" fmla="*/ 58 h 1489"/>
                <a:gd name="T24" fmla="*/ 1255 w 3413"/>
                <a:gd name="T25" fmla="*/ 350 h 1489"/>
                <a:gd name="T26" fmla="*/ 1079 w 3413"/>
                <a:gd name="T27" fmla="*/ 408 h 1489"/>
                <a:gd name="T28" fmla="*/ 934 w 3413"/>
                <a:gd name="T29" fmla="*/ 554 h 1489"/>
                <a:gd name="T30" fmla="*/ 700 w 3413"/>
                <a:gd name="T31" fmla="*/ 788 h 1489"/>
                <a:gd name="T32" fmla="*/ 496 w 3413"/>
                <a:gd name="T33" fmla="*/ 933 h 1489"/>
                <a:gd name="T34" fmla="*/ 176 w 3413"/>
                <a:gd name="T35" fmla="*/ 1108 h 1489"/>
                <a:gd name="T36" fmla="*/ 88 w 3413"/>
                <a:gd name="T37" fmla="*/ 1195 h 1489"/>
                <a:gd name="T38" fmla="*/ 176 w 3413"/>
                <a:gd name="T39" fmla="*/ 1224 h 1489"/>
                <a:gd name="T40" fmla="*/ 555 w 3413"/>
                <a:gd name="T41" fmla="*/ 1195 h 1489"/>
                <a:gd name="T42" fmla="*/ 992 w 3413"/>
                <a:gd name="T43" fmla="*/ 1050 h 1489"/>
                <a:gd name="T44" fmla="*/ 1342 w 3413"/>
                <a:gd name="T45" fmla="*/ 1021 h 1489"/>
                <a:gd name="T46" fmla="*/ 1517 w 3413"/>
                <a:gd name="T47" fmla="*/ 1108 h 1489"/>
                <a:gd name="T48" fmla="*/ 1779 w 3413"/>
                <a:gd name="T49" fmla="*/ 1108 h 1489"/>
                <a:gd name="T50" fmla="*/ 1984 w 3413"/>
                <a:gd name="T51" fmla="*/ 1079 h 1489"/>
                <a:gd name="T52" fmla="*/ 2509 w 3413"/>
                <a:gd name="T53" fmla="*/ 1458 h 1489"/>
                <a:gd name="T54" fmla="*/ 2596 w 3413"/>
                <a:gd name="T55" fmla="*/ 1429 h 1489"/>
                <a:gd name="T56" fmla="*/ 2713 w 3413"/>
                <a:gd name="T57" fmla="*/ 1429 h 1489"/>
                <a:gd name="T58" fmla="*/ 2567 w 3413"/>
                <a:gd name="T59" fmla="*/ 1195 h 1489"/>
                <a:gd name="T60" fmla="*/ 2713 w 3413"/>
                <a:gd name="T61" fmla="*/ 1283 h 1489"/>
                <a:gd name="T62" fmla="*/ 2800 w 3413"/>
                <a:gd name="T63" fmla="*/ 1400 h 1489"/>
                <a:gd name="T64" fmla="*/ 2859 w 3413"/>
                <a:gd name="T65" fmla="*/ 1224 h 1489"/>
                <a:gd name="T66" fmla="*/ 2859 w 3413"/>
                <a:gd name="T67" fmla="*/ 1166 h 1489"/>
                <a:gd name="T68" fmla="*/ 2888 w 3413"/>
                <a:gd name="T69" fmla="*/ 1138 h 1489"/>
                <a:gd name="T70" fmla="*/ 3005 w 3413"/>
                <a:gd name="T71" fmla="*/ 962 h 1489"/>
                <a:gd name="T72" fmla="*/ 3092 w 3413"/>
                <a:gd name="T73" fmla="*/ 933 h 1489"/>
                <a:gd name="T74" fmla="*/ 3267 w 3413"/>
                <a:gd name="T75" fmla="*/ 874 h 1489"/>
                <a:gd name="T76" fmla="*/ 3355 w 3413"/>
                <a:gd name="T77" fmla="*/ 758 h 1489"/>
                <a:gd name="T78" fmla="*/ 3179 w 3413"/>
                <a:gd name="T79" fmla="*/ 845 h 1489"/>
                <a:gd name="T80" fmla="*/ 3034 w 3413"/>
                <a:gd name="T81" fmla="*/ 729 h 1489"/>
                <a:gd name="T82" fmla="*/ 3121 w 3413"/>
                <a:gd name="T83" fmla="*/ 583 h 1489"/>
                <a:gd name="T84" fmla="*/ 3179 w 3413"/>
                <a:gd name="T85" fmla="*/ 524 h 1489"/>
                <a:gd name="T86" fmla="*/ 3326 w 3413"/>
                <a:gd name="T87" fmla="*/ 612 h 1489"/>
                <a:gd name="T88" fmla="*/ 3355 w 3413"/>
                <a:gd name="T89" fmla="*/ 583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13" h="1489">
                  <a:moveTo>
                    <a:pt x="3412" y="524"/>
                  </a:moveTo>
                  <a:lnTo>
                    <a:pt x="3412" y="524"/>
                  </a:lnTo>
                  <a:cubicBezTo>
                    <a:pt x="3412" y="524"/>
                    <a:pt x="3412" y="524"/>
                    <a:pt x="3384" y="524"/>
                  </a:cubicBezTo>
                  <a:cubicBezTo>
                    <a:pt x="3384" y="524"/>
                    <a:pt x="3355" y="524"/>
                    <a:pt x="3326" y="524"/>
                  </a:cubicBezTo>
                  <a:cubicBezTo>
                    <a:pt x="3326" y="524"/>
                    <a:pt x="3296" y="524"/>
                    <a:pt x="3267" y="495"/>
                  </a:cubicBezTo>
                  <a:lnTo>
                    <a:pt x="3267" y="495"/>
                  </a:lnTo>
                  <a:cubicBezTo>
                    <a:pt x="3267" y="466"/>
                    <a:pt x="3267" y="466"/>
                    <a:pt x="3267" y="466"/>
                  </a:cubicBezTo>
                  <a:cubicBezTo>
                    <a:pt x="3296" y="438"/>
                    <a:pt x="3326" y="438"/>
                    <a:pt x="3355" y="438"/>
                  </a:cubicBezTo>
                  <a:lnTo>
                    <a:pt x="3384" y="438"/>
                  </a:lnTo>
                  <a:cubicBezTo>
                    <a:pt x="3384" y="438"/>
                    <a:pt x="3384" y="438"/>
                    <a:pt x="3355" y="408"/>
                  </a:cubicBezTo>
                  <a:cubicBezTo>
                    <a:pt x="3355" y="408"/>
                    <a:pt x="3355" y="379"/>
                    <a:pt x="3355" y="350"/>
                  </a:cubicBezTo>
                  <a:cubicBezTo>
                    <a:pt x="3355" y="350"/>
                    <a:pt x="3355" y="350"/>
                    <a:pt x="3355" y="321"/>
                  </a:cubicBezTo>
                  <a:lnTo>
                    <a:pt x="3355" y="321"/>
                  </a:lnTo>
                  <a:cubicBezTo>
                    <a:pt x="3384" y="291"/>
                    <a:pt x="3355" y="291"/>
                    <a:pt x="3355" y="291"/>
                  </a:cubicBezTo>
                  <a:lnTo>
                    <a:pt x="3355" y="291"/>
                  </a:lnTo>
                  <a:cubicBezTo>
                    <a:pt x="3355" y="321"/>
                    <a:pt x="3326" y="350"/>
                    <a:pt x="3296" y="350"/>
                  </a:cubicBezTo>
                  <a:lnTo>
                    <a:pt x="3296" y="350"/>
                  </a:lnTo>
                  <a:lnTo>
                    <a:pt x="3296" y="350"/>
                  </a:lnTo>
                  <a:cubicBezTo>
                    <a:pt x="3238" y="321"/>
                    <a:pt x="3209" y="350"/>
                    <a:pt x="3150" y="379"/>
                  </a:cubicBezTo>
                  <a:lnTo>
                    <a:pt x="3121" y="408"/>
                  </a:lnTo>
                  <a:cubicBezTo>
                    <a:pt x="3092" y="408"/>
                    <a:pt x="3092" y="408"/>
                    <a:pt x="3092" y="408"/>
                  </a:cubicBezTo>
                  <a:lnTo>
                    <a:pt x="3092" y="408"/>
                  </a:lnTo>
                  <a:cubicBezTo>
                    <a:pt x="3062" y="379"/>
                    <a:pt x="3062" y="321"/>
                    <a:pt x="3062" y="291"/>
                  </a:cubicBezTo>
                  <a:cubicBezTo>
                    <a:pt x="3092" y="262"/>
                    <a:pt x="3121" y="262"/>
                    <a:pt x="3150" y="262"/>
                  </a:cubicBezTo>
                  <a:cubicBezTo>
                    <a:pt x="3179" y="233"/>
                    <a:pt x="3209" y="233"/>
                    <a:pt x="3209" y="233"/>
                  </a:cubicBezTo>
                  <a:cubicBezTo>
                    <a:pt x="3179" y="233"/>
                    <a:pt x="3179" y="204"/>
                    <a:pt x="3179" y="174"/>
                  </a:cubicBezTo>
                  <a:cubicBezTo>
                    <a:pt x="3179" y="174"/>
                    <a:pt x="3209" y="145"/>
                    <a:pt x="3238" y="145"/>
                  </a:cubicBezTo>
                  <a:lnTo>
                    <a:pt x="3238" y="145"/>
                  </a:lnTo>
                  <a:cubicBezTo>
                    <a:pt x="3267" y="145"/>
                    <a:pt x="3296" y="145"/>
                    <a:pt x="3326" y="174"/>
                  </a:cubicBezTo>
                  <a:lnTo>
                    <a:pt x="3355" y="174"/>
                  </a:lnTo>
                  <a:lnTo>
                    <a:pt x="3384" y="174"/>
                  </a:lnTo>
                  <a:cubicBezTo>
                    <a:pt x="3384" y="145"/>
                    <a:pt x="3384" y="145"/>
                    <a:pt x="3384" y="117"/>
                  </a:cubicBezTo>
                  <a:cubicBezTo>
                    <a:pt x="3355" y="117"/>
                    <a:pt x="3355" y="117"/>
                    <a:pt x="3355" y="117"/>
                  </a:cubicBezTo>
                  <a:cubicBezTo>
                    <a:pt x="3326" y="117"/>
                    <a:pt x="3326" y="88"/>
                    <a:pt x="3296" y="88"/>
                  </a:cubicBezTo>
                  <a:lnTo>
                    <a:pt x="3296" y="88"/>
                  </a:lnTo>
                  <a:cubicBezTo>
                    <a:pt x="3296" y="58"/>
                    <a:pt x="3296" y="58"/>
                    <a:pt x="3296" y="58"/>
                  </a:cubicBezTo>
                  <a:cubicBezTo>
                    <a:pt x="3326" y="58"/>
                    <a:pt x="3326" y="58"/>
                    <a:pt x="3326" y="29"/>
                  </a:cubicBezTo>
                  <a:cubicBezTo>
                    <a:pt x="3326" y="29"/>
                    <a:pt x="3326" y="29"/>
                    <a:pt x="3326" y="0"/>
                  </a:cubicBezTo>
                  <a:cubicBezTo>
                    <a:pt x="2655" y="117"/>
                    <a:pt x="1926" y="233"/>
                    <a:pt x="1255" y="350"/>
                  </a:cubicBezTo>
                  <a:cubicBezTo>
                    <a:pt x="1255" y="350"/>
                    <a:pt x="1226" y="350"/>
                    <a:pt x="1196" y="350"/>
                  </a:cubicBezTo>
                  <a:cubicBezTo>
                    <a:pt x="1167" y="350"/>
                    <a:pt x="1138" y="350"/>
                    <a:pt x="1109" y="350"/>
                  </a:cubicBezTo>
                  <a:cubicBezTo>
                    <a:pt x="1109" y="379"/>
                    <a:pt x="1079" y="379"/>
                    <a:pt x="1079" y="408"/>
                  </a:cubicBezTo>
                  <a:cubicBezTo>
                    <a:pt x="1079" y="438"/>
                    <a:pt x="1050" y="466"/>
                    <a:pt x="1050" y="466"/>
                  </a:cubicBezTo>
                  <a:cubicBezTo>
                    <a:pt x="1021" y="524"/>
                    <a:pt x="992" y="524"/>
                    <a:pt x="963" y="554"/>
                  </a:cubicBezTo>
                  <a:cubicBezTo>
                    <a:pt x="934" y="554"/>
                    <a:pt x="934" y="554"/>
                    <a:pt x="934" y="554"/>
                  </a:cubicBezTo>
                  <a:cubicBezTo>
                    <a:pt x="905" y="641"/>
                    <a:pt x="846" y="670"/>
                    <a:pt x="788" y="700"/>
                  </a:cubicBezTo>
                  <a:cubicBezTo>
                    <a:pt x="759" y="729"/>
                    <a:pt x="729" y="729"/>
                    <a:pt x="700" y="788"/>
                  </a:cubicBezTo>
                  <a:lnTo>
                    <a:pt x="700" y="788"/>
                  </a:lnTo>
                  <a:cubicBezTo>
                    <a:pt x="671" y="788"/>
                    <a:pt x="671" y="788"/>
                    <a:pt x="671" y="788"/>
                  </a:cubicBezTo>
                  <a:cubicBezTo>
                    <a:pt x="613" y="816"/>
                    <a:pt x="584" y="845"/>
                    <a:pt x="555" y="874"/>
                  </a:cubicBezTo>
                  <a:cubicBezTo>
                    <a:pt x="526" y="904"/>
                    <a:pt x="526" y="904"/>
                    <a:pt x="496" y="933"/>
                  </a:cubicBezTo>
                  <a:cubicBezTo>
                    <a:pt x="409" y="1021"/>
                    <a:pt x="350" y="1079"/>
                    <a:pt x="263" y="1079"/>
                  </a:cubicBezTo>
                  <a:lnTo>
                    <a:pt x="234" y="1108"/>
                  </a:lnTo>
                  <a:cubicBezTo>
                    <a:pt x="205" y="1108"/>
                    <a:pt x="176" y="1108"/>
                    <a:pt x="176" y="1108"/>
                  </a:cubicBezTo>
                  <a:lnTo>
                    <a:pt x="146" y="1138"/>
                  </a:lnTo>
                  <a:lnTo>
                    <a:pt x="117" y="1166"/>
                  </a:lnTo>
                  <a:cubicBezTo>
                    <a:pt x="88" y="1166"/>
                    <a:pt x="88" y="1166"/>
                    <a:pt x="88" y="1195"/>
                  </a:cubicBezTo>
                  <a:cubicBezTo>
                    <a:pt x="29" y="1195"/>
                    <a:pt x="0" y="1224"/>
                    <a:pt x="0" y="1254"/>
                  </a:cubicBezTo>
                  <a:lnTo>
                    <a:pt x="0" y="1254"/>
                  </a:lnTo>
                  <a:cubicBezTo>
                    <a:pt x="59" y="1254"/>
                    <a:pt x="117" y="1254"/>
                    <a:pt x="176" y="1224"/>
                  </a:cubicBezTo>
                  <a:cubicBezTo>
                    <a:pt x="205" y="1224"/>
                    <a:pt x="234" y="1224"/>
                    <a:pt x="263" y="1224"/>
                  </a:cubicBezTo>
                  <a:cubicBezTo>
                    <a:pt x="293" y="1224"/>
                    <a:pt x="321" y="1224"/>
                    <a:pt x="379" y="1224"/>
                  </a:cubicBezTo>
                  <a:cubicBezTo>
                    <a:pt x="438" y="1195"/>
                    <a:pt x="526" y="1195"/>
                    <a:pt x="555" y="1195"/>
                  </a:cubicBezTo>
                  <a:cubicBezTo>
                    <a:pt x="613" y="1166"/>
                    <a:pt x="643" y="1138"/>
                    <a:pt x="700" y="1138"/>
                  </a:cubicBezTo>
                  <a:cubicBezTo>
                    <a:pt x="729" y="1108"/>
                    <a:pt x="788" y="1079"/>
                    <a:pt x="817" y="1050"/>
                  </a:cubicBezTo>
                  <a:cubicBezTo>
                    <a:pt x="876" y="1050"/>
                    <a:pt x="934" y="1050"/>
                    <a:pt x="992" y="1050"/>
                  </a:cubicBezTo>
                  <a:cubicBezTo>
                    <a:pt x="1021" y="1050"/>
                    <a:pt x="1050" y="1050"/>
                    <a:pt x="1079" y="1050"/>
                  </a:cubicBezTo>
                  <a:cubicBezTo>
                    <a:pt x="1109" y="1021"/>
                    <a:pt x="1138" y="1021"/>
                    <a:pt x="1167" y="1021"/>
                  </a:cubicBezTo>
                  <a:cubicBezTo>
                    <a:pt x="1226" y="1021"/>
                    <a:pt x="1313" y="991"/>
                    <a:pt x="1342" y="1021"/>
                  </a:cubicBezTo>
                  <a:cubicBezTo>
                    <a:pt x="1371" y="1021"/>
                    <a:pt x="1400" y="1050"/>
                    <a:pt x="1459" y="1050"/>
                  </a:cubicBezTo>
                  <a:cubicBezTo>
                    <a:pt x="1459" y="1050"/>
                    <a:pt x="1459" y="1079"/>
                    <a:pt x="1488" y="1079"/>
                  </a:cubicBezTo>
                  <a:lnTo>
                    <a:pt x="1517" y="1108"/>
                  </a:lnTo>
                  <a:cubicBezTo>
                    <a:pt x="1546" y="1108"/>
                    <a:pt x="1576" y="1138"/>
                    <a:pt x="1605" y="1138"/>
                  </a:cubicBezTo>
                  <a:cubicBezTo>
                    <a:pt x="1634" y="1138"/>
                    <a:pt x="1663" y="1138"/>
                    <a:pt x="1721" y="1138"/>
                  </a:cubicBezTo>
                  <a:cubicBezTo>
                    <a:pt x="1721" y="1108"/>
                    <a:pt x="1750" y="1108"/>
                    <a:pt x="1779" y="1108"/>
                  </a:cubicBezTo>
                  <a:lnTo>
                    <a:pt x="1779" y="1108"/>
                  </a:lnTo>
                  <a:cubicBezTo>
                    <a:pt x="1867" y="1108"/>
                    <a:pt x="1926" y="1079"/>
                    <a:pt x="1984" y="1079"/>
                  </a:cubicBezTo>
                  <a:lnTo>
                    <a:pt x="1984" y="1079"/>
                  </a:lnTo>
                  <a:lnTo>
                    <a:pt x="1984" y="1079"/>
                  </a:lnTo>
                  <a:cubicBezTo>
                    <a:pt x="2071" y="1138"/>
                    <a:pt x="2159" y="1195"/>
                    <a:pt x="2246" y="1283"/>
                  </a:cubicBezTo>
                  <a:cubicBezTo>
                    <a:pt x="2334" y="1341"/>
                    <a:pt x="2421" y="1400"/>
                    <a:pt x="2509" y="1458"/>
                  </a:cubicBezTo>
                  <a:cubicBezTo>
                    <a:pt x="2538" y="1488"/>
                    <a:pt x="2567" y="1488"/>
                    <a:pt x="2567" y="1488"/>
                  </a:cubicBezTo>
                  <a:cubicBezTo>
                    <a:pt x="2567" y="1488"/>
                    <a:pt x="2596" y="1488"/>
                    <a:pt x="2596" y="1458"/>
                  </a:cubicBezTo>
                  <a:cubicBezTo>
                    <a:pt x="2596" y="1429"/>
                    <a:pt x="2596" y="1429"/>
                    <a:pt x="2596" y="1429"/>
                  </a:cubicBezTo>
                  <a:lnTo>
                    <a:pt x="2596" y="1429"/>
                  </a:lnTo>
                  <a:cubicBezTo>
                    <a:pt x="2626" y="1400"/>
                    <a:pt x="2655" y="1429"/>
                    <a:pt x="2713" y="1429"/>
                  </a:cubicBezTo>
                  <a:lnTo>
                    <a:pt x="2713" y="1429"/>
                  </a:lnTo>
                  <a:cubicBezTo>
                    <a:pt x="2684" y="1400"/>
                    <a:pt x="2684" y="1371"/>
                    <a:pt x="2684" y="1371"/>
                  </a:cubicBezTo>
                  <a:cubicBezTo>
                    <a:pt x="2655" y="1312"/>
                    <a:pt x="2626" y="1254"/>
                    <a:pt x="2596" y="1224"/>
                  </a:cubicBezTo>
                  <a:cubicBezTo>
                    <a:pt x="2567" y="1195"/>
                    <a:pt x="2567" y="1195"/>
                    <a:pt x="2567" y="1195"/>
                  </a:cubicBezTo>
                  <a:cubicBezTo>
                    <a:pt x="2596" y="1195"/>
                    <a:pt x="2596" y="1195"/>
                    <a:pt x="2596" y="1195"/>
                  </a:cubicBezTo>
                  <a:cubicBezTo>
                    <a:pt x="2626" y="1195"/>
                    <a:pt x="2626" y="1195"/>
                    <a:pt x="2626" y="1195"/>
                  </a:cubicBezTo>
                  <a:cubicBezTo>
                    <a:pt x="2684" y="1195"/>
                    <a:pt x="2713" y="1224"/>
                    <a:pt x="2713" y="1283"/>
                  </a:cubicBezTo>
                  <a:cubicBezTo>
                    <a:pt x="2713" y="1283"/>
                    <a:pt x="2713" y="1283"/>
                    <a:pt x="2713" y="1312"/>
                  </a:cubicBezTo>
                  <a:cubicBezTo>
                    <a:pt x="2742" y="1341"/>
                    <a:pt x="2771" y="1371"/>
                    <a:pt x="2800" y="1400"/>
                  </a:cubicBezTo>
                  <a:lnTo>
                    <a:pt x="2800" y="1400"/>
                  </a:lnTo>
                  <a:cubicBezTo>
                    <a:pt x="2800" y="1371"/>
                    <a:pt x="2800" y="1341"/>
                    <a:pt x="2800" y="1312"/>
                  </a:cubicBezTo>
                  <a:cubicBezTo>
                    <a:pt x="2800" y="1283"/>
                    <a:pt x="2829" y="1283"/>
                    <a:pt x="2829" y="1254"/>
                  </a:cubicBezTo>
                  <a:cubicBezTo>
                    <a:pt x="2859" y="1254"/>
                    <a:pt x="2859" y="1254"/>
                    <a:pt x="2859" y="1224"/>
                  </a:cubicBezTo>
                  <a:lnTo>
                    <a:pt x="2859" y="1224"/>
                  </a:lnTo>
                  <a:cubicBezTo>
                    <a:pt x="2859" y="1195"/>
                    <a:pt x="2859" y="1195"/>
                    <a:pt x="2859" y="1166"/>
                  </a:cubicBezTo>
                  <a:lnTo>
                    <a:pt x="2859" y="1166"/>
                  </a:lnTo>
                  <a:lnTo>
                    <a:pt x="2859" y="1166"/>
                  </a:lnTo>
                  <a:cubicBezTo>
                    <a:pt x="2888" y="1166"/>
                    <a:pt x="2888" y="1166"/>
                    <a:pt x="2888" y="1138"/>
                  </a:cubicBezTo>
                  <a:lnTo>
                    <a:pt x="2888" y="1138"/>
                  </a:lnTo>
                  <a:lnTo>
                    <a:pt x="2888" y="1138"/>
                  </a:lnTo>
                  <a:cubicBezTo>
                    <a:pt x="2859" y="1108"/>
                    <a:pt x="2859" y="1108"/>
                    <a:pt x="2859" y="1079"/>
                  </a:cubicBezTo>
                  <a:cubicBezTo>
                    <a:pt x="2888" y="1021"/>
                    <a:pt x="2946" y="962"/>
                    <a:pt x="3005" y="962"/>
                  </a:cubicBezTo>
                  <a:cubicBezTo>
                    <a:pt x="3034" y="933"/>
                    <a:pt x="3034" y="933"/>
                    <a:pt x="3062" y="933"/>
                  </a:cubicBezTo>
                  <a:cubicBezTo>
                    <a:pt x="3092" y="933"/>
                    <a:pt x="3092" y="933"/>
                    <a:pt x="3092" y="933"/>
                  </a:cubicBezTo>
                  <a:lnTo>
                    <a:pt x="3092" y="933"/>
                  </a:lnTo>
                  <a:cubicBezTo>
                    <a:pt x="3121" y="933"/>
                    <a:pt x="3121" y="933"/>
                    <a:pt x="3150" y="904"/>
                  </a:cubicBezTo>
                  <a:cubicBezTo>
                    <a:pt x="3150" y="904"/>
                    <a:pt x="3179" y="874"/>
                    <a:pt x="3209" y="874"/>
                  </a:cubicBezTo>
                  <a:cubicBezTo>
                    <a:pt x="3238" y="874"/>
                    <a:pt x="3238" y="874"/>
                    <a:pt x="3267" y="874"/>
                  </a:cubicBezTo>
                  <a:cubicBezTo>
                    <a:pt x="3267" y="874"/>
                    <a:pt x="3296" y="904"/>
                    <a:pt x="3296" y="874"/>
                  </a:cubicBezTo>
                  <a:cubicBezTo>
                    <a:pt x="3355" y="874"/>
                    <a:pt x="3384" y="816"/>
                    <a:pt x="3384" y="758"/>
                  </a:cubicBezTo>
                  <a:lnTo>
                    <a:pt x="3355" y="758"/>
                  </a:lnTo>
                  <a:cubicBezTo>
                    <a:pt x="3355" y="758"/>
                    <a:pt x="3326" y="758"/>
                    <a:pt x="3326" y="788"/>
                  </a:cubicBezTo>
                  <a:cubicBezTo>
                    <a:pt x="3296" y="816"/>
                    <a:pt x="3267" y="816"/>
                    <a:pt x="3267" y="845"/>
                  </a:cubicBezTo>
                  <a:cubicBezTo>
                    <a:pt x="3238" y="845"/>
                    <a:pt x="3209" y="845"/>
                    <a:pt x="3179" y="845"/>
                  </a:cubicBezTo>
                  <a:cubicBezTo>
                    <a:pt x="3121" y="845"/>
                    <a:pt x="3034" y="816"/>
                    <a:pt x="3034" y="758"/>
                  </a:cubicBezTo>
                  <a:cubicBezTo>
                    <a:pt x="3034" y="729"/>
                    <a:pt x="3034" y="729"/>
                    <a:pt x="3034" y="729"/>
                  </a:cubicBezTo>
                  <a:lnTo>
                    <a:pt x="3034" y="729"/>
                  </a:lnTo>
                  <a:cubicBezTo>
                    <a:pt x="3034" y="700"/>
                    <a:pt x="3005" y="670"/>
                    <a:pt x="3034" y="641"/>
                  </a:cubicBezTo>
                  <a:cubicBezTo>
                    <a:pt x="3034" y="612"/>
                    <a:pt x="3062" y="583"/>
                    <a:pt x="3121" y="583"/>
                  </a:cubicBezTo>
                  <a:lnTo>
                    <a:pt x="3121" y="583"/>
                  </a:lnTo>
                  <a:lnTo>
                    <a:pt x="3150" y="583"/>
                  </a:lnTo>
                  <a:cubicBezTo>
                    <a:pt x="3150" y="583"/>
                    <a:pt x="3150" y="554"/>
                    <a:pt x="3179" y="524"/>
                  </a:cubicBezTo>
                  <a:lnTo>
                    <a:pt x="3179" y="524"/>
                  </a:lnTo>
                  <a:lnTo>
                    <a:pt x="3179" y="524"/>
                  </a:lnTo>
                  <a:cubicBezTo>
                    <a:pt x="3238" y="524"/>
                    <a:pt x="3267" y="554"/>
                    <a:pt x="3267" y="583"/>
                  </a:cubicBezTo>
                  <a:cubicBezTo>
                    <a:pt x="3296" y="612"/>
                    <a:pt x="3296" y="641"/>
                    <a:pt x="3326" y="612"/>
                  </a:cubicBezTo>
                  <a:lnTo>
                    <a:pt x="3326" y="612"/>
                  </a:lnTo>
                  <a:lnTo>
                    <a:pt x="3326" y="583"/>
                  </a:lnTo>
                  <a:cubicBezTo>
                    <a:pt x="3355" y="583"/>
                    <a:pt x="3355" y="583"/>
                    <a:pt x="3355" y="583"/>
                  </a:cubicBezTo>
                  <a:lnTo>
                    <a:pt x="3355" y="583"/>
                  </a:lnTo>
                  <a:cubicBezTo>
                    <a:pt x="3384" y="554"/>
                    <a:pt x="3412" y="554"/>
                    <a:pt x="3412" y="52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39" name="Freeform 276">
              <a:extLst>
                <a:ext uri="{FF2B5EF4-FFF2-40B4-BE49-F238E27FC236}">
                  <a16:creationId xmlns:a16="http://schemas.microsoft.com/office/drawing/2014/main" id="{A2E35982-3865-42CA-8C2B-0E43F00402B0}"/>
                </a:ext>
              </a:extLst>
            </p:cNvPr>
            <p:cNvSpPr>
              <a:spLocks noChangeArrowheads="1"/>
            </p:cNvSpPr>
            <p:nvPr/>
          </p:nvSpPr>
          <p:spPr bwMode="auto">
            <a:xfrm>
              <a:off x="10682103" y="3778837"/>
              <a:ext cx="11415" cy="11328"/>
            </a:xfrm>
            <a:custGeom>
              <a:avLst/>
              <a:gdLst>
                <a:gd name="T0" fmla="*/ 0 w 31"/>
                <a:gd name="T1" fmla="*/ 29 h 30"/>
                <a:gd name="T2" fmla="*/ 0 w 31"/>
                <a:gd name="T3" fmla="*/ 29 h 30"/>
                <a:gd name="T4" fmla="*/ 0 w 31"/>
                <a:gd name="T5" fmla="*/ 29 h 30"/>
                <a:gd name="T6" fmla="*/ 30 w 31"/>
                <a:gd name="T7" fmla="*/ 0 h 30"/>
                <a:gd name="T8" fmla="*/ 0 w 31"/>
                <a:gd name="T9" fmla="*/ 29 h 30"/>
              </a:gdLst>
              <a:ahLst/>
              <a:cxnLst>
                <a:cxn ang="0">
                  <a:pos x="T0" y="T1"/>
                </a:cxn>
                <a:cxn ang="0">
                  <a:pos x="T2" y="T3"/>
                </a:cxn>
                <a:cxn ang="0">
                  <a:pos x="T4" y="T5"/>
                </a:cxn>
                <a:cxn ang="0">
                  <a:pos x="T6" y="T7"/>
                </a:cxn>
                <a:cxn ang="0">
                  <a:pos x="T8" y="T9"/>
                </a:cxn>
              </a:cxnLst>
              <a:rect l="0" t="0" r="r" b="b"/>
              <a:pathLst>
                <a:path w="31" h="30">
                  <a:moveTo>
                    <a:pt x="0" y="29"/>
                  </a:moveTo>
                  <a:lnTo>
                    <a:pt x="0" y="29"/>
                  </a:lnTo>
                  <a:lnTo>
                    <a:pt x="0" y="29"/>
                  </a:lnTo>
                  <a:cubicBezTo>
                    <a:pt x="0" y="29"/>
                    <a:pt x="0" y="0"/>
                    <a:pt x="30" y="0"/>
                  </a:cubicBezTo>
                  <a:cubicBezTo>
                    <a:pt x="0" y="0"/>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40" name="Freeform 277">
              <a:extLst>
                <a:ext uri="{FF2B5EF4-FFF2-40B4-BE49-F238E27FC236}">
                  <a16:creationId xmlns:a16="http://schemas.microsoft.com/office/drawing/2014/main" id="{EE51F5D7-1E19-4AA2-BE57-0AF1E4CD414A}"/>
                </a:ext>
              </a:extLst>
            </p:cNvPr>
            <p:cNvSpPr>
              <a:spLocks noChangeArrowheads="1"/>
            </p:cNvSpPr>
            <p:nvPr/>
          </p:nvSpPr>
          <p:spPr bwMode="auto">
            <a:xfrm>
              <a:off x="10541851" y="3906684"/>
              <a:ext cx="1630" cy="11329"/>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0"/>
                    <a:pt x="0" y="0"/>
                    <a:pt x="0" y="0"/>
                  </a:cubicBezTo>
                  <a:cubicBezTo>
                    <a:pt x="0" y="0"/>
                    <a:pt x="0"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41" name="Freeform 278">
              <a:extLst>
                <a:ext uri="{FF2B5EF4-FFF2-40B4-BE49-F238E27FC236}">
                  <a16:creationId xmlns:a16="http://schemas.microsoft.com/office/drawing/2014/main" id="{DC01F2F7-19BF-4119-8985-DC36825ACE1B}"/>
                </a:ext>
              </a:extLst>
            </p:cNvPr>
            <p:cNvSpPr>
              <a:spLocks noChangeArrowheads="1"/>
            </p:cNvSpPr>
            <p:nvPr/>
          </p:nvSpPr>
          <p:spPr bwMode="auto">
            <a:xfrm>
              <a:off x="10541851" y="3918013"/>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42" name="Freeform 279">
              <a:extLst>
                <a:ext uri="{FF2B5EF4-FFF2-40B4-BE49-F238E27FC236}">
                  <a16:creationId xmlns:a16="http://schemas.microsoft.com/office/drawing/2014/main" id="{29CA536B-E541-4761-9EF9-09DB5675B1F4}"/>
                </a:ext>
              </a:extLst>
            </p:cNvPr>
            <p:cNvSpPr>
              <a:spLocks noChangeArrowheads="1"/>
            </p:cNvSpPr>
            <p:nvPr/>
          </p:nvSpPr>
          <p:spPr bwMode="auto">
            <a:xfrm>
              <a:off x="10639701" y="3767509"/>
              <a:ext cx="11415" cy="1619"/>
            </a:xfrm>
            <a:custGeom>
              <a:avLst/>
              <a:gdLst>
                <a:gd name="T0" fmla="*/ 0 w 31"/>
                <a:gd name="T1" fmla="*/ 0 h 1"/>
                <a:gd name="T2" fmla="*/ 0 w 31"/>
                <a:gd name="T3" fmla="*/ 0 h 1"/>
                <a:gd name="T4" fmla="*/ 30 w 31"/>
                <a:gd name="T5" fmla="*/ 0 h 1"/>
                <a:gd name="T6" fmla="*/ 0 w 31"/>
                <a:gd name="T7" fmla="*/ 0 h 1"/>
              </a:gdLst>
              <a:ahLst/>
              <a:cxnLst>
                <a:cxn ang="0">
                  <a:pos x="T0" y="T1"/>
                </a:cxn>
                <a:cxn ang="0">
                  <a:pos x="T2" y="T3"/>
                </a:cxn>
                <a:cxn ang="0">
                  <a:pos x="T4" y="T5"/>
                </a:cxn>
                <a:cxn ang="0">
                  <a:pos x="T6" y="T7"/>
                </a:cxn>
              </a:cxnLst>
              <a:rect l="0" t="0" r="r" b="b"/>
              <a:pathLst>
                <a:path w="31" h="1">
                  <a:moveTo>
                    <a:pt x="0" y="0"/>
                  </a:moveTo>
                  <a:lnTo>
                    <a:pt x="0" y="0"/>
                  </a:lnTo>
                  <a:lnTo>
                    <a:pt x="30"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43" name="Freeform 280">
              <a:extLst>
                <a:ext uri="{FF2B5EF4-FFF2-40B4-BE49-F238E27FC236}">
                  <a16:creationId xmlns:a16="http://schemas.microsoft.com/office/drawing/2014/main" id="{6193EA3B-7CDC-4751-A7DD-508469F1619A}"/>
                </a:ext>
              </a:extLst>
            </p:cNvPr>
            <p:cNvSpPr>
              <a:spLocks noChangeArrowheads="1"/>
            </p:cNvSpPr>
            <p:nvPr/>
          </p:nvSpPr>
          <p:spPr bwMode="auto">
            <a:xfrm>
              <a:off x="10607085" y="3778837"/>
              <a:ext cx="65234" cy="22656"/>
            </a:xfrm>
            <a:custGeom>
              <a:avLst/>
              <a:gdLst>
                <a:gd name="T0" fmla="*/ 175 w 176"/>
                <a:gd name="T1" fmla="*/ 0 h 60"/>
                <a:gd name="T2" fmla="*/ 175 w 176"/>
                <a:gd name="T3" fmla="*/ 0 h 60"/>
                <a:gd name="T4" fmla="*/ 146 w 176"/>
                <a:gd name="T5" fmla="*/ 29 h 60"/>
                <a:gd name="T6" fmla="*/ 0 w 176"/>
                <a:gd name="T7" fmla="*/ 0 h 60"/>
                <a:gd name="T8" fmla="*/ 0 w 176"/>
                <a:gd name="T9" fmla="*/ 0 h 60"/>
                <a:gd name="T10" fmla="*/ 58 w 176"/>
                <a:gd name="T11" fmla="*/ 29 h 60"/>
                <a:gd name="T12" fmla="*/ 87 w 176"/>
                <a:gd name="T13" fmla="*/ 59 h 60"/>
                <a:gd name="T14" fmla="*/ 175 w 176"/>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6" h="60">
                  <a:moveTo>
                    <a:pt x="175" y="0"/>
                  </a:moveTo>
                  <a:lnTo>
                    <a:pt x="175" y="0"/>
                  </a:lnTo>
                  <a:cubicBezTo>
                    <a:pt x="146" y="0"/>
                    <a:pt x="146" y="29"/>
                    <a:pt x="146" y="29"/>
                  </a:cubicBezTo>
                  <a:cubicBezTo>
                    <a:pt x="87" y="29"/>
                    <a:pt x="58" y="29"/>
                    <a:pt x="0" y="0"/>
                  </a:cubicBezTo>
                  <a:lnTo>
                    <a:pt x="0" y="0"/>
                  </a:lnTo>
                  <a:cubicBezTo>
                    <a:pt x="29" y="0"/>
                    <a:pt x="29" y="29"/>
                    <a:pt x="58" y="29"/>
                  </a:cubicBezTo>
                  <a:lnTo>
                    <a:pt x="87" y="59"/>
                  </a:lnTo>
                  <a:cubicBezTo>
                    <a:pt x="117" y="59"/>
                    <a:pt x="146" y="29"/>
                    <a:pt x="17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44" name="Freeform 281">
              <a:extLst>
                <a:ext uri="{FF2B5EF4-FFF2-40B4-BE49-F238E27FC236}">
                  <a16:creationId xmlns:a16="http://schemas.microsoft.com/office/drawing/2014/main" id="{72775892-D25E-4662-A720-E1B66620819B}"/>
                </a:ext>
              </a:extLst>
            </p:cNvPr>
            <p:cNvSpPr>
              <a:spLocks noChangeArrowheads="1"/>
            </p:cNvSpPr>
            <p:nvPr/>
          </p:nvSpPr>
          <p:spPr bwMode="auto">
            <a:xfrm>
              <a:off x="10651117" y="3756181"/>
              <a:ext cx="21202" cy="11328"/>
            </a:xfrm>
            <a:custGeom>
              <a:avLst/>
              <a:gdLst>
                <a:gd name="T0" fmla="*/ 58 w 59"/>
                <a:gd name="T1" fmla="*/ 30 h 31"/>
                <a:gd name="T2" fmla="*/ 58 w 59"/>
                <a:gd name="T3" fmla="*/ 30 h 31"/>
                <a:gd name="T4" fmla="*/ 0 w 59"/>
                <a:gd name="T5" fmla="*/ 30 h 31"/>
                <a:gd name="T6" fmla="*/ 58 w 59"/>
                <a:gd name="T7" fmla="*/ 30 h 31"/>
                <a:gd name="T8" fmla="*/ 58 w 59"/>
                <a:gd name="T9" fmla="*/ 0 h 31"/>
                <a:gd name="T10" fmla="*/ 58 w 59"/>
                <a:gd name="T11" fmla="*/ 30 h 31"/>
              </a:gdLst>
              <a:ahLst/>
              <a:cxnLst>
                <a:cxn ang="0">
                  <a:pos x="T0" y="T1"/>
                </a:cxn>
                <a:cxn ang="0">
                  <a:pos x="T2" y="T3"/>
                </a:cxn>
                <a:cxn ang="0">
                  <a:pos x="T4" y="T5"/>
                </a:cxn>
                <a:cxn ang="0">
                  <a:pos x="T6" y="T7"/>
                </a:cxn>
                <a:cxn ang="0">
                  <a:pos x="T8" y="T9"/>
                </a:cxn>
                <a:cxn ang="0">
                  <a:pos x="T10" y="T11"/>
                </a:cxn>
              </a:cxnLst>
              <a:rect l="0" t="0" r="r" b="b"/>
              <a:pathLst>
                <a:path w="59" h="31">
                  <a:moveTo>
                    <a:pt x="58" y="30"/>
                  </a:moveTo>
                  <a:lnTo>
                    <a:pt x="58" y="30"/>
                  </a:lnTo>
                  <a:cubicBezTo>
                    <a:pt x="29" y="30"/>
                    <a:pt x="29" y="30"/>
                    <a:pt x="0" y="30"/>
                  </a:cubicBezTo>
                  <a:cubicBezTo>
                    <a:pt x="29" y="30"/>
                    <a:pt x="29" y="30"/>
                    <a:pt x="58" y="30"/>
                  </a:cubicBezTo>
                  <a:cubicBezTo>
                    <a:pt x="58" y="0"/>
                    <a:pt x="58" y="0"/>
                    <a:pt x="58" y="0"/>
                  </a:cubicBezTo>
                  <a:cubicBezTo>
                    <a:pt x="58" y="0"/>
                    <a:pt x="58" y="0"/>
                    <a:pt x="58"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45" name="Freeform 282">
              <a:extLst>
                <a:ext uri="{FF2B5EF4-FFF2-40B4-BE49-F238E27FC236}">
                  <a16:creationId xmlns:a16="http://schemas.microsoft.com/office/drawing/2014/main" id="{14E1CF9E-39E0-4B0D-8485-1361417F521A}"/>
                </a:ext>
              </a:extLst>
            </p:cNvPr>
            <p:cNvSpPr>
              <a:spLocks noChangeArrowheads="1"/>
            </p:cNvSpPr>
            <p:nvPr/>
          </p:nvSpPr>
          <p:spPr bwMode="auto">
            <a:xfrm>
              <a:off x="10207527" y="5748332"/>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46" name="Freeform 283">
              <a:extLst>
                <a:ext uri="{FF2B5EF4-FFF2-40B4-BE49-F238E27FC236}">
                  <a16:creationId xmlns:a16="http://schemas.microsoft.com/office/drawing/2014/main" id="{B5187591-7041-4157-A019-6B85106D486C}"/>
                </a:ext>
              </a:extLst>
            </p:cNvPr>
            <p:cNvSpPr>
              <a:spLocks noChangeArrowheads="1"/>
            </p:cNvSpPr>
            <p:nvPr/>
          </p:nvSpPr>
          <p:spPr bwMode="auto">
            <a:xfrm>
              <a:off x="10553266" y="3906684"/>
              <a:ext cx="1631" cy="11329"/>
            </a:xfrm>
            <a:custGeom>
              <a:avLst/>
              <a:gdLst>
                <a:gd name="T0" fmla="*/ 0 w 1"/>
                <a:gd name="T1" fmla="*/ 0 h 30"/>
                <a:gd name="T2" fmla="*/ 0 w 1"/>
                <a:gd name="T3" fmla="*/ 0 h 30"/>
                <a:gd name="T4" fmla="*/ 0 w 1"/>
                <a:gd name="T5" fmla="*/ 0 h 30"/>
                <a:gd name="T6" fmla="*/ 0 w 1"/>
                <a:gd name="T7" fmla="*/ 29 h 30"/>
                <a:gd name="T8" fmla="*/ 0 w 1"/>
                <a:gd name="T9" fmla="*/ 0 h 30"/>
              </a:gdLst>
              <a:ahLst/>
              <a:cxnLst>
                <a:cxn ang="0">
                  <a:pos x="T0" y="T1"/>
                </a:cxn>
                <a:cxn ang="0">
                  <a:pos x="T2" y="T3"/>
                </a:cxn>
                <a:cxn ang="0">
                  <a:pos x="T4" y="T5"/>
                </a:cxn>
                <a:cxn ang="0">
                  <a:pos x="T6" y="T7"/>
                </a:cxn>
                <a:cxn ang="0">
                  <a:pos x="T8" y="T9"/>
                </a:cxn>
              </a:cxnLst>
              <a:rect l="0" t="0" r="r" b="b"/>
              <a:pathLst>
                <a:path w="1" h="30">
                  <a:moveTo>
                    <a:pt x="0" y="0"/>
                  </a:moveTo>
                  <a:lnTo>
                    <a:pt x="0" y="0"/>
                  </a:lnTo>
                  <a:lnTo>
                    <a:pt x="0" y="0"/>
                  </a:lnTo>
                  <a:cubicBezTo>
                    <a:pt x="0" y="29"/>
                    <a:pt x="0" y="29"/>
                    <a:pt x="0" y="29"/>
                  </a:cubicBez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47" name="Freeform 284">
              <a:extLst>
                <a:ext uri="{FF2B5EF4-FFF2-40B4-BE49-F238E27FC236}">
                  <a16:creationId xmlns:a16="http://schemas.microsoft.com/office/drawing/2014/main" id="{E983B2C4-6D1D-4BC9-AAA2-31A79AD5FA93}"/>
                </a:ext>
              </a:extLst>
            </p:cNvPr>
            <p:cNvSpPr>
              <a:spLocks noChangeArrowheads="1"/>
            </p:cNvSpPr>
            <p:nvPr/>
          </p:nvSpPr>
          <p:spPr bwMode="auto">
            <a:xfrm>
              <a:off x="10186326" y="5694928"/>
              <a:ext cx="11415" cy="11328"/>
            </a:xfrm>
            <a:custGeom>
              <a:avLst/>
              <a:gdLst>
                <a:gd name="T0" fmla="*/ 0 w 30"/>
                <a:gd name="T1" fmla="*/ 29 h 30"/>
                <a:gd name="T2" fmla="*/ 0 w 30"/>
                <a:gd name="T3" fmla="*/ 29 h 30"/>
                <a:gd name="T4" fmla="*/ 29 w 30"/>
                <a:gd name="T5" fmla="*/ 0 h 30"/>
                <a:gd name="T6" fmla="*/ 0 w 30"/>
                <a:gd name="T7" fmla="*/ 29 h 30"/>
              </a:gdLst>
              <a:ahLst/>
              <a:cxnLst>
                <a:cxn ang="0">
                  <a:pos x="T0" y="T1"/>
                </a:cxn>
                <a:cxn ang="0">
                  <a:pos x="T2" y="T3"/>
                </a:cxn>
                <a:cxn ang="0">
                  <a:pos x="T4" y="T5"/>
                </a:cxn>
                <a:cxn ang="0">
                  <a:pos x="T6" y="T7"/>
                </a:cxn>
              </a:cxnLst>
              <a:rect l="0" t="0" r="r" b="b"/>
              <a:pathLst>
                <a:path w="30" h="30">
                  <a:moveTo>
                    <a:pt x="0" y="29"/>
                  </a:moveTo>
                  <a:lnTo>
                    <a:pt x="0" y="29"/>
                  </a:lnTo>
                  <a:cubicBezTo>
                    <a:pt x="0" y="29"/>
                    <a:pt x="0" y="0"/>
                    <a:pt x="29" y="0"/>
                  </a:cubicBezTo>
                  <a:cubicBezTo>
                    <a:pt x="0" y="0"/>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48" name="Freeform 285">
              <a:extLst>
                <a:ext uri="{FF2B5EF4-FFF2-40B4-BE49-F238E27FC236}">
                  <a16:creationId xmlns:a16="http://schemas.microsoft.com/office/drawing/2014/main" id="{0F7D69A5-505B-403A-97BC-3DB80ED58D0C}"/>
                </a:ext>
              </a:extLst>
            </p:cNvPr>
            <p:cNvSpPr>
              <a:spLocks noChangeArrowheads="1"/>
            </p:cNvSpPr>
            <p:nvPr/>
          </p:nvSpPr>
          <p:spPr bwMode="auto">
            <a:xfrm>
              <a:off x="10165125" y="5683599"/>
              <a:ext cx="11416" cy="1619"/>
            </a:xfrm>
            <a:custGeom>
              <a:avLst/>
              <a:gdLst>
                <a:gd name="T0" fmla="*/ 0 w 31"/>
                <a:gd name="T1" fmla="*/ 0 h 1"/>
                <a:gd name="T2" fmla="*/ 0 w 31"/>
                <a:gd name="T3" fmla="*/ 0 h 1"/>
                <a:gd name="T4" fmla="*/ 30 w 31"/>
                <a:gd name="T5" fmla="*/ 0 h 1"/>
                <a:gd name="T6" fmla="*/ 0 w 31"/>
                <a:gd name="T7" fmla="*/ 0 h 1"/>
              </a:gdLst>
              <a:ahLst/>
              <a:cxnLst>
                <a:cxn ang="0">
                  <a:pos x="T0" y="T1"/>
                </a:cxn>
                <a:cxn ang="0">
                  <a:pos x="T2" y="T3"/>
                </a:cxn>
                <a:cxn ang="0">
                  <a:pos x="T4" y="T5"/>
                </a:cxn>
                <a:cxn ang="0">
                  <a:pos x="T6" y="T7"/>
                </a:cxn>
              </a:cxnLst>
              <a:rect l="0" t="0" r="r" b="b"/>
              <a:pathLst>
                <a:path w="31" h="1">
                  <a:moveTo>
                    <a:pt x="0" y="0"/>
                  </a:moveTo>
                  <a:lnTo>
                    <a:pt x="0" y="0"/>
                  </a:lnTo>
                  <a:cubicBezTo>
                    <a:pt x="0" y="0"/>
                    <a:pt x="0" y="0"/>
                    <a:pt x="30"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49" name="Freeform 286">
              <a:extLst>
                <a:ext uri="{FF2B5EF4-FFF2-40B4-BE49-F238E27FC236}">
                  <a16:creationId xmlns:a16="http://schemas.microsoft.com/office/drawing/2014/main" id="{0C1FB6A3-B3AE-44B2-A2DB-1D19E7AC501A}"/>
                </a:ext>
              </a:extLst>
            </p:cNvPr>
            <p:cNvSpPr>
              <a:spLocks noChangeArrowheads="1"/>
            </p:cNvSpPr>
            <p:nvPr/>
          </p:nvSpPr>
          <p:spPr bwMode="auto">
            <a:xfrm>
              <a:off x="10197742" y="5694928"/>
              <a:ext cx="11416" cy="11328"/>
            </a:xfrm>
            <a:custGeom>
              <a:avLst/>
              <a:gdLst>
                <a:gd name="T0" fmla="*/ 29 w 30"/>
                <a:gd name="T1" fmla="*/ 29 h 30"/>
                <a:gd name="T2" fmla="*/ 29 w 30"/>
                <a:gd name="T3" fmla="*/ 29 h 30"/>
                <a:gd name="T4" fmla="*/ 0 w 30"/>
                <a:gd name="T5" fmla="*/ 29 h 30"/>
                <a:gd name="T6" fmla="*/ 0 w 30"/>
                <a:gd name="T7" fmla="*/ 0 h 30"/>
                <a:gd name="T8" fmla="*/ 0 w 30"/>
                <a:gd name="T9" fmla="*/ 29 h 30"/>
                <a:gd name="T10" fmla="*/ 29 w 30"/>
                <a:gd name="T11" fmla="*/ 29 h 30"/>
              </a:gdLst>
              <a:ahLst/>
              <a:cxnLst>
                <a:cxn ang="0">
                  <a:pos x="T0" y="T1"/>
                </a:cxn>
                <a:cxn ang="0">
                  <a:pos x="T2" y="T3"/>
                </a:cxn>
                <a:cxn ang="0">
                  <a:pos x="T4" y="T5"/>
                </a:cxn>
                <a:cxn ang="0">
                  <a:pos x="T6" y="T7"/>
                </a:cxn>
                <a:cxn ang="0">
                  <a:pos x="T8" y="T9"/>
                </a:cxn>
                <a:cxn ang="0">
                  <a:pos x="T10" y="T11"/>
                </a:cxn>
              </a:cxnLst>
              <a:rect l="0" t="0" r="r" b="b"/>
              <a:pathLst>
                <a:path w="30" h="30">
                  <a:moveTo>
                    <a:pt x="29" y="29"/>
                  </a:moveTo>
                  <a:lnTo>
                    <a:pt x="29" y="29"/>
                  </a:lnTo>
                  <a:cubicBezTo>
                    <a:pt x="29" y="29"/>
                    <a:pt x="29" y="29"/>
                    <a:pt x="0" y="29"/>
                  </a:cubicBezTo>
                  <a:cubicBezTo>
                    <a:pt x="0" y="0"/>
                    <a:pt x="0" y="0"/>
                    <a:pt x="0" y="0"/>
                  </a:cubicBezTo>
                  <a:cubicBezTo>
                    <a:pt x="0" y="0"/>
                    <a:pt x="0" y="0"/>
                    <a:pt x="0" y="29"/>
                  </a:cubicBezTo>
                  <a:cubicBezTo>
                    <a:pt x="29" y="29"/>
                    <a:pt x="29"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50" name="Freeform 287">
              <a:extLst>
                <a:ext uri="{FF2B5EF4-FFF2-40B4-BE49-F238E27FC236}">
                  <a16:creationId xmlns:a16="http://schemas.microsoft.com/office/drawing/2014/main" id="{18F23327-77CB-4227-A549-FE0F9F841D92}"/>
                </a:ext>
              </a:extLst>
            </p:cNvPr>
            <p:cNvSpPr>
              <a:spLocks noChangeArrowheads="1"/>
            </p:cNvSpPr>
            <p:nvPr/>
          </p:nvSpPr>
          <p:spPr bwMode="auto">
            <a:xfrm>
              <a:off x="9043103" y="4730409"/>
              <a:ext cx="1273691" cy="1017923"/>
            </a:xfrm>
            <a:custGeom>
              <a:avLst/>
              <a:gdLst>
                <a:gd name="T0" fmla="*/ 3413 w 3443"/>
                <a:gd name="T1" fmla="*/ 2247 h 2772"/>
                <a:gd name="T2" fmla="*/ 3383 w 3443"/>
                <a:gd name="T3" fmla="*/ 2042 h 2772"/>
                <a:gd name="T4" fmla="*/ 3383 w 3443"/>
                <a:gd name="T5" fmla="*/ 1926 h 2772"/>
                <a:gd name="T6" fmla="*/ 3354 w 3443"/>
                <a:gd name="T7" fmla="*/ 1926 h 2772"/>
                <a:gd name="T8" fmla="*/ 3266 w 3443"/>
                <a:gd name="T9" fmla="*/ 1692 h 2772"/>
                <a:gd name="T10" fmla="*/ 3033 w 3443"/>
                <a:gd name="T11" fmla="*/ 1226 h 2772"/>
                <a:gd name="T12" fmla="*/ 2916 w 3443"/>
                <a:gd name="T13" fmla="*/ 934 h 2772"/>
                <a:gd name="T14" fmla="*/ 2858 w 3443"/>
                <a:gd name="T15" fmla="*/ 817 h 2772"/>
                <a:gd name="T16" fmla="*/ 2829 w 3443"/>
                <a:gd name="T17" fmla="*/ 671 h 2772"/>
                <a:gd name="T18" fmla="*/ 2683 w 3443"/>
                <a:gd name="T19" fmla="*/ 350 h 2772"/>
                <a:gd name="T20" fmla="*/ 2625 w 3443"/>
                <a:gd name="T21" fmla="*/ 147 h 2772"/>
                <a:gd name="T22" fmla="*/ 2566 w 3443"/>
                <a:gd name="T23" fmla="*/ 30 h 2772"/>
                <a:gd name="T24" fmla="*/ 2392 w 3443"/>
                <a:gd name="T25" fmla="*/ 59 h 2772"/>
                <a:gd name="T26" fmla="*/ 1692 w 3443"/>
                <a:gd name="T27" fmla="*/ 147 h 2772"/>
                <a:gd name="T28" fmla="*/ 1021 w 3443"/>
                <a:gd name="T29" fmla="*/ 30 h 2772"/>
                <a:gd name="T30" fmla="*/ 0 w 3443"/>
                <a:gd name="T31" fmla="*/ 234 h 2772"/>
                <a:gd name="T32" fmla="*/ 30 w 3443"/>
                <a:gd name="T33" fmla="*/ 380 h 2772"/>
                <a:gd name="T34" fmla="*/ 87 w 3443"/>
                <a:gd name="T35" fmla="*/ 380 h 2772"/>
                <a:gd name="T36" fmla="*/ 116 w 3443"/>
                <a:gd name="T37" fmla="*/ 263 h 2772"/>
                <a:gd name="T38" fmla="*/ 204 w 3443"/>
                <a:gd name="T39" fmla="*/ 234 h 2772"/>
                <a:gd name="T40" fmla="*/ 350 w 3443"/>
                <a:gd name="T41" fmla="*/ 321 h 2772"/>
                <a:gd name="T42" fmla="*/ 466 w 3443"/>
                <a:gd name="T43" fmla="*/ 263 h 2772"/>
                <a:gd name="T44" fmla="*/ 642 w 3443"/>
                <a:gd name="T45" fmla="*/ 321 h 2772"/>
                <a:gd name="T46" fmla="*/ 730 w 3443"/>
                <a:gd name="T47" fmla="*/ 350 h 2772"/>
                <a:gd name="T48" fmla="*/ 875 w 3443"/>
                <a:gd name="T49" fmla="*/ 380 h 2772"/>
                <a:gd name="T50" fmla="*/ 933 w 3443"/>
                <a:gd name="T51" fmla="*/ 467 h 2772"/>
                <a:gd name="T52" fmla="*/ 963 w 3443"/>
                <a:gd name="T53" fmla="*/ 584 h 2772"/>
                <a:gd name="T54" fmla="*/ 1080 w 3443"/>
                <a:gd name="T55" fmla="*/ 613 h 2772"/>
                <a:gd name="T56" fmla="*/ 1108 w 3443"/>
                <a:gd name="T57" fmla="*/ 613 h 2772"/>
                <a:gd name="T58" fmla="*/ 1254 w 3443"/>
                <a:gd name="T59" fmla="*/ 526 h 2772"/>
                <a:gd name="T60" fmla="*/ 1371 w 3443"/>
                <a:gd name="T61" fmla="*/ 438 h 2772"/>
                <a:gd name="T62" fmla="*/ 1546 w 3443"/>
                <a:gd name="T63" fmla="*/ 380 h 2772"/>
                <a:gd name="T64" fmla="*/ 1663 w 3443"/>
                <a:gd name="T65" fmla="*/ 467 h 2772"/>
                <a:gd name="T66" fmla="*/ 1750 w 3443"/>
                <a:gd name="T67" fmla="*/ 526 h 2772"/>
                <a:gd name="T68" fmla="*/ 1837 w 3443"/>
                <a:gd name="T69" fmla="*/ 613 h 2772"/>
                <a:gd name="T70" fmla="*/ 1983 w 3443"/>
                <a:gd name="T71" fmla="*/ 788 h 2772"/>
                <a:gd name="T72" fmla="*/ 2071 w 3443"/>
                <a:gd name="T73" fmla="*/ 788 h 2772"/>
                <a:gd name="T74" fmla="*/ 2187 w 3443"/>
                <a:gd name="T75" fmla="*/ 934 h 2772"/>
                <a:gd name="T76" fmla="*/ 2158 w 3443"/>
                <a:gd name="T77" fmla="*/ 1459 h 2772"/>
                <a:gd name="T78" fmla="*/ 2158 w 3443"/>
                <a:gd name="T79" fmla="*/ 1342 h 2772"/>
                <a:gd name="T80" fmla="*/ 2275 w 3443"/>
                <a:gd name="T81" fmla="*/ 1400 h 2772"/>
                <a:gd name="T82" fmla="*/ 2392 w 3443"/>
                <a:gd name="T83" fmla="*/ 1633 h 2772"/>
                <a:gd name="T84" fmla="*/ 2275 w 3443"/>
                <a:gd name="T85" fmla="*/ 1692 h 2772"/>
                <a:gd name="T86" fmla="*/ 2363 w 3443"/>
                <a:gd name="T87" fmla="*/ 1897 h 2772"/>
                <a:gd name="T88" fmla="*/ 2596 w 3443"/>
                <a:gd name="T89" fmla="*/ 1867 h 2772"/>
                <a:gd name="T90" fmla="*/ 2566 w 3443"/>
                <a:gd name="T91" fmla="*/ 1955 h 2772"/>
                <a:gd name="T92" fmla="*/ 2479 w 3443"/>
                <a:gd name="T93" fmla="*/ 2071 h 2772"/>
                <a:gd name="T94" fmla="*/ 2508 w 3443"/>
                <a:gd name="T95" fmla="*/ 2100 h 2772"/>
                <a:gd name="T96" fmla="*/ 2537 w 3443"/>
                <a:gd name="T97" fmla="*/ 2159 h 2772"/>
                <a:gd name="T98" fmla="*/ 2713 w 3443"/>
                <a:gd name="T99" fmla="*/ 2100 h 2772"/>
                <a:gd name="T100" fmla="*/ 2829 w 3443"/>
                <a:gd name="T101" fmla="*/ 2363 h 2772"/>
                <a:gd name="T102" fmla="*/ 2887 w 3443"/>
                <a:gd name="T103" fmla="*/ 2333 h 2772"/>
                <a:gd name="T104" fmla="*/ 2975 w 3443"/>
                <a:gd name="T105" fmla="*/ 2392 h 2772"/>
                <a:gd name="T106" fmla="*/ 3063 w 3443"/>
                <a:gd name="T107" fmla="*/ 2480 h 2772"/>
                <a:gd name="T108" fmla="*/ 3063 w 3443"/>
                <a:gd name="T109" fmla="*/ 2538 h 2772"/>
                <a:gd name="T110" fmla="*/ 3092 w 3443"/>
                <a:gd name="T111" fmla="*/ 2597 h 2772"/>
                <a:gd name="T112" fmla="*/ 3150 w 3443"/>
                <a:gd name="T113" fmla="*/ 2597 h 2772"/>
                <a:gd name="T114" fmla="*/ 3004 w 3443"/>
                <a:gd name="T115" fmla="*/ 2742 h 2772"/>
                <a:gd name="T116" fmla="*/ 3179 w 3443"/>
                <a:gd name="T117" fmla="*/ 2742 h 2772"/>
                <a:gd name="T118" fmla="*/ 3208 w 3443"/>
                <a:gd name="T119" fmla="*/ 2713 h 2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43" h="2772">
                  <a:moveTo>
                    <a:pt x="3296" y="2509"/>
                  </a:moveTo>
                  <a:lnTo>
                    <a:pt x="3296" y="2509"/>
                  </a:lnTo>
                  <a:cubicBezTo>
                    <a:pt x="3296" y="2421"/>
                    <a:pt x="3354" y="2305"/>
                    <a:pt x="3413" y="2247"/>
                  </a:cubicBezTo>
                  <a:lnTo>
                    <a:pt x="3413" y="2247"/>
                  </a:lnTo>
                  <a:lnTo>
                    <a:pt x="3442" y="2247"/>
                  </a:lnTo>
                  <a:cubicBezTo>
                    <a:pt x="3442" y="2247"/>
                    <a:pt x="3442" y="2217"/>
                    <a:pt x="3413" y="2188"/>
                  </a:cubicBezTo>
                  <a:cubicBezTo>
                    <a:pt x="3413" y="2159"/>
                    <a:pt x="3413" y="2100"/>
                    <a:pt x="3413" y="2071"/>
                  </a:cubicBezTo>
                  <a:cubicBezTo>
                    <a:pt x="3413" y="2071"/>
                    <a:pt x="3383" y="2071"/>
                    <a:pt x="3383" y="2042"/>
                  </a:cubicBezTo>
                  <a:lnTo>
                    <a:pt x="3383" y="2042"/>
                  </a:lnTo>
                  <a:lnTo>
                    <a:pt x="3383" y="2042"/>
                  </a:lnTo>
                  <a:cubicBezTo>
                    <a:pt x="3383" y="2013"/>
                    <a:pt x="3383" y="2013"/>
                    <a:pt x="3383" y="1983"/>
                  </a:cubicBezTo>
                  <a:cubicBezTo>
                    <a:pt x="3383" y="1955"/>
                    <a:pt x="3383" y="1955"/>
                    <a:pt x="3383" y="1926"/>
                  </a:cubicBezTo>
                  <a:lnTo>
                    <a:pt x="3383" y="1926"/>
                  </a:lnTo>
                  <a:lnTo>
                    <a:pt x="3383" y="1926"/>
                  </a:lnTo>
                  <a:lnTo>
                    <a:pt x="3383" y="1926"/>
                  </a:lnTo>
                  <a:cubicBezTo>
                    <a:pt x="3354" y="1926"/>
                    <a:pt x="3354" y="1926"/>
                    <a:pt x="3354" y="1926"/>
                  </a:cubicBezTo>
                  <a:lnTo>
                    <a:pt x="3354" y="1926"/>
                  </a:lnTo>
                  <a:cubicBezTo>
                    <a:pt x="3325" y="1897"/>
                    <a:pt x="3325" y="1838"/>
                    <a:pt x="3325" y="1809"/>
                  </a:cubicBezTo>
                  <a:cubicBezTo>
                    <a:pt x="3325" y="1780"/>
                    <a:pt x="3296" y="1750"/>
                    <a:pt x="3296" y="1750"/>
                  </a:cubicBezTo>
                  <a:cubicBezTo>
                    <a:pt x="3296" y="1721"/>
                    <a:pt x="3296" y="1692"/>
                    <a:pt x="3266" y="1692"/>
                  </a:cubicBezTo>
                  <a:cubicBezTo>
                    <a:pt x="3266" y="1663"/>
                    <a:pt x="3237" y="1605"/>
                    <a:pt x="3237" y="1576"/>
                  </a:cubicBezTo>
                  <a:cubicBezTo>
                    <a:pt x="3179" y="1488"/>
                    <a:pt x="3150" y="1430"/>
                    <a:pt x="3121" y="1342"/>
                  </a:cubicBezTo>
                  <a:cubicBezTo>
                    <a:pt x="3092" y="1313"/>
                    <a:pt x="3092" y="1313"/>
                    <a:pt x="3063" y="1284"/>
                  </a:cubicBezTo>
                  <a:cubicBezTo>
                    <a:pt x="3063" y="1255"/>
                    <a:pt x="3033" y="1255"/>
                    <a:pt x="3033" y="1226"/>
                  </a:cubicBezTo>
                  <a:cubicBezTo>
                    <a:pt x="3033" y="1226"/>
                    <a:pt x="3033" y="1197"/>
                    <a:pt x="3004" y="1197"/>
                  </a:cubicBezTo>
                  <a:cubicBezTo>
                    <a:pt x="3004" y="1167"/>
                    <a:pt x="2975" y="1138"/>
                    <a:pt x="2975" y="1109"/>
                  </a:cubicBezTo>
                  <a:cubicBezTo>
                    <a:pt x="2975" y="1080"/>
                    <a:pt x="2946" y="1080"/>
                    <a:pt x="2946" y="1080"/>
                  </a:cubicBezTo>
                  <a:cubicBezTo>
                    <a:pt x="2916" y="1050"/>
                    <a:pt x="2887" y="992"/>
                    <a:pt x="2916" y="934"/>
                  </a:cubicBezTo>
                  <a:cubicBezTo>
                    <a:pt x="2946" y="934"/>
                    <a:pt x="2946" y="934"/>
                    <a:pt x="2946" y="934"/>
                  </a:cubicBezTo>
                  <a:lnTo>
                    <a:pt x="2946" y="934"/>
                  </a:lnTo>
                  <a:cubicBezTo>
                    <a:pt x="2916" y="905"/>
                    <a:pt x="2916" y="905"/>
                    <a:pt x="2887" y="876"/>
                  </a:cubicBezTo>
                  <a:cubicBezTo>
                    <a:pt x="2887" y="847"/>
                    <a:pt x="2887" y="847"/>
                    <a:pt x="2858" y="817"/>
                  </a:cubicBezTo>
                  <a:cubicBezTo>
                    <a:pt x="2829" y="817"/>
                    <a:pt x="2800" y="788"/>
                    <a:pt x="2800" y="759"/>
                  </a:cubicBezTo>
                  <a:cubicBezTo>
                    <a:pt x="2771" y="730"/>
                    <a:pt x="2800" y="700"/>
                    <a:pt x="2829" y="700"/>
                  </a:cubicBezTo>
                  <a:lnTo>
                    <a:pt x="2829" y="700"/>
                  </a:lnTo>
                  <a:cubicBezTo>
                    <a:pt x="2829" y="700"/>
                    <a:pt x="2829" y="700"/>
                    <a:pt x="2829" y="671"/>
                  </a:cubicBezTo>
                  <a:cubicBezTo>
                    <a:pt x="2771" y="642"/>
                    <a:pt x="2742" y="584"/>
                    <a:pt x="2713" y="526"/>
                  </a:cubicBezTo>
                  <a:cubicBezTo>
                    <a:pt x="2713" y="497"/>
                    <a:pt x="2713" y="467"/>
                    <a:pt x="2713" y="467"/>
                  </a:cubicBezTo>
                  <a:cubicBezTo>
                    <a:pt x="2713" y="438"/>
                    <a:pt x="2713" y="409"/>
                    <a:pt x="2713" y="380"/>
                  </a:cubicBezTo>
                  <a:cubicBezTo>
                    <a:pt x="2683" y="380"/>
                    <a:pt x="2683" y="380"/>
                    <a:pt x="2683" y="350"/>
                  </a:cubicBezTo>
                  <a:cubicBezTo>
                    <a:pt x="2683" y="350"/>
                    <a:pt x="2654" y="350"/>
                    <a:pt x="2654" y="321"/>
                  </a:cubicBezTo>
                  <a:cubicBezTo>
                    <a:pt x="2654" y="292"/>
                    <a:pt x="2654" y="292"/>
                    <a:pt x="2654" y="263"/>
                  </a:cubicBezTo>
                  <a:cubicBezTo>
                    <a:pt x="2654" y="234"/>
                    <a:pt x="2654" y="205"/>
                    <a:pt x="2625" y="176"/>
                  </a:cubicBezTo>
                  <a:lnTo>
                    <a:pt x="2625" y="147"/>
                  </a:lnTo>
                  <a:cubicBezTo>
                    <a:pt x="2625" y="117"/>
                    <a:pt x="2596" y="88"/>
                    <a:pt x="2596" y="88"/>
                  </a:cubicBezTo>
                  <a:cubicBezTo>
                    <a:pt x="2596" y="59"/>
                    <a:pt x="2596" y="59"/>
                    <a:pt x="2596" y="30"/>
                  </a:cubicBezTo>
                  <a:cubicBezTo>
                    <a:pt x="2596" y="30"/>
                    <a:pt x="2596" y="30"/>
                    <a:pt x="2596" y="0"/>
                  </a:cubicBezTo>
                  <a:cubicBezTo>
                    <a:pt x="2596" y="30"/>
                    <a:pt x="2596" y="30"/>
                    <a:pt x="2566" y="30"/>
                  </a:cubicBezTo>
                  <a:cubicBezTo>
                    <a:pt x="2566" y="30"/>
                    <a:pt x="2537" y="30"/>
                    <a:pt x="2508" y="30"/>
                  </a:cubicBezTo>
                  <a:cubicBezTo>
                    <a:pt x="2479" y="30"/>
                    <a:pt x="2479" y="30"/>
                    <a:pt x="2479" y="0"/>
                  </a:cubicBezTo>
                  <a:cubicBezTo>
                    <a:pt x="2450" y="0"/>
                    <a:pt x="2450" y="0"/>
                    <a:pt x="2421" y="0"/>
                  </a:cubicBezTo>
                  <a:cubicBezTo>
                    <a:pt x="2421" y="0"/>
                    <a:pt x="2421" y="59"/>
                    <a:pt x="2392" y="59"/>
                  </a:cubicBezTo>
                  <a:cubicBezTo>
                    <a:pt x="2392" y="117"/>
                    <a:pt x="2392" y="147"/>
                    <a:pt x="2392" y="147"/>
                  </a:cubicBezTo>
                  <a:cubicBezTo>
                    <a:pt x="2363" y="176"/>
                    <a:pt x="2333" y="176"/>
                    <a:pt x="2333" y="176"/>
                  </a:cubicBezTo>
                  <a:cubicBezTo>
                    <a:pt x="2304" y="176"/>
                    <a:pt x="2275" y="147"/>
                    <a:pt x="2246" y="88"/>
                  </a:cubicBezTo>
                  <a:cubicBezTo>
                    <a:pt x="2071" y="117"/>
                    <a:pt x="1866" y="117"/>
                    <a:pt x="1692" y="147"/>
                  </a:cubicBezTo>
                  <a:cubicBezTo>
                    <a:pt x="1487" y="147"/>
                    <a:pt x="1313" y="147"/>
                    <a:pt x="1108" y="176"/>
                  </a:cubicBezTo>
                  <a:lnTo>
                    <a:pt x="1108" y="176"/>
                  </a:lnTo>
                  <a:cubicBezTo>
                    <a:pt x="1108" y="147"/>
                    <a:pt x="1108" y="147"/>
                    <a:pt x="1108" y="147"/>
                  </a:cubicBezTo>
                  <a:cubicBezTo>
                    <a:pt x="1080" y="117"/>
                    <a:pt x="1050" y="59"/>
                    <a:pt x="1021" y="30"/>
                  </a:cubicBezTo>
                  <a:cubicBezTo>
                    <a:pt x="816" y="59"/>
                    <a:pt x="613" y="59"/>
                    <a:pt x="409" y="88"/>
                  </a:cubicBezTo>
                  <a:cubicBezTo>
                    <a:pt x="292" y="88"/>
                    <a:pt x="146" y="88"/>
                    <a:pt x="0" y="117"/>
                  </a:cubicBezTo>
                  <a:cubicBezTo>
                    <a:pt x="0" y="147"/>
                    <a:pt x="0" y="147"/>
                    <a:pt x="0" y="176"/>
                  </a:cubicBezTo>
                  <a:cubicBezTo>
                    <a:pt x="0" y="205"/>
                    <a:pt x="0" y="234"/>
                    <a:pt x="0" y="234"/>
                  </a:cubicBezTo>
                  <a:cubicBezTo>
                    <a:pt x="0" y="263"/>
                    <a:pt x="30" y="263"/>
                    <a:pt x="30" y="292"/>
                  </a:cubicBezTo>
                  <a:cubicBezTo>
                    <a:pt x="30" y="292"/>
                    <a:pt x="59" y="321"/>
                    <a:pt x="30" y="380"/>
                  </a:cubicBezTo>
                  <a:lnTo>
                    <a:pt x="30" y="380"/>
                  </a:lnTo>
                  <a:lnTo>
                    <a:pt x="30" y="380"/>
                  </a:lnTo>
                  <a:lnTo>
                    <a:pt x="0" y="380"/>
                  </a:lnTo>
                  <a:lnTo>
                    <a:pt x="0" y="380"/>
                  </a:lnTo>
                  <a:cubicBezTo>
                    <a:pt x="0" y="380"/>
                    <a:pt x="0" y="380"/>
                    <a:pt x="30" y="409"/>
                  </a:cubicBezTo>
                  <a:cubicBezTo>
                    <a:pt x="30" y="380"/>
                    <a:pt x="59" y="380"/>
                    <a:pt x="87" y="380"/>
                  </a:cubicBezTo>
                  <a:lnTo>
                    <a:pt x="59" y="350"/>
                  </a:lnTo>
                  <a:cubicBezTo>
                    <a:pt x="59" y="321"/>
                    <a:pt x="59" y="292"/>
                    <a:pt x="87" y="292"/>
                  </a:cubicBezTo>
                  <a:cubicBezTo>
                    <a:pt x="87" y="263"/>
                    <a:pt x="87" y="263"/>
                    <a:pt x="116" y="263"/>
                  </a:cubicBezTo>
                  <a:lnTo>
                    <a:pt x="116" y="263"/>
                  </a:lnTo>
                  <a:lnTo>
                    <a:pt x="116" y="263"/>
                  </a:lnTo>
                  <a:cubicBezTo>
                    <a:pt x="116" y="263"/>
                    <a:pt x="116" y="263"/>
                    <a:pt x="116" y="292"/>
                  </a:cubicBezTo>
                  <a:cubicBezTo>
                    <a:pt x="146" y="263"/>
                    <a:pt x="146" y="263"/>
                    <a:pt x="146" y="234"/>
                  </a:cubicBezTo>
                  <a:cubicBezTo>
                    <a:pt x="175" y="234"/>
                    <a:pt x="175" y="234"/>
                    <a:pt x="204" y="234"/>
                  </a:cubicBezTo>
                  <a:cubicBezTo>
                    <a:pt x="204" y="234"/>
                    <a:pt x="233" y="234"/>
                    <a:pt x="233" y="263"/>
                  </a:cubicBezTo>
                  <a:cubicBezTo>
                    <a:pt x="233" y="292"/>
                    <a:pt x="233" y="321"/>
                    <a:pt x="204" y="350"/>
                  </a:cubicBezTo>
                  <a:cubicBezTo>
                    <a:pt x="233" y="321"/>
                    <a:pt x="292" y="321"/>
                    <a:pt x="321" y="321"/>
                  </a:cubicBezTo>
                  <a:cubicBezTo>
                    <a:pt x="350" y="321"/>
                    <a:pt x="350" y="321"/>
                    <a:pt x="350" y="321"/>
                  </a:cubicBezTo>
                  <a:lnTo>
                    <a:pt x="350" y="321"/>
                  </a:lnTo>
                  <a:lnTo>
                    <a:pt x="350" y="321"/>
                  </a:lnTo>
                  <a:cubicBezTo>
                    <a:pt x="350" y="292"/>
                    <a:pt x="350" y="292"/>
                    <a:pt x="380" y="292"/>
                  </a:cubicBezTo>
                  <a:cubicBezTo>
                    <a:pt x="380" y="263"/>
                    <a:pt x="437" y="263"/>
                    <a:pt x="466" y="263"/>
                  </a:cubicBezTo>
                  <a:cubicBezTo>
                    <a:pt x="496" y="263"/>
                    <a:pt x="554" y="263"/>
                    <a:pt x="583" y="292"/>
                  </a:cubicBezTo>
                  <a:lnTo>
                    <a:pt x="583" y="321"/>
                  </a:lnTo>
                  <a:cubicBezTo>
                    <a:pt x="583" y="321"/>
                    <a:pt x="583" y="321"/>
                    <a:pt x="583" y="350"/>
                  </a:cubicBezTo>
                  <a:cubicBezTo>
                    <a:pt x="613" y="321"/>
                    <a:pt x="613" y="321"/>
                    <a:pt x="642" y="321"/>
                  </a:cubicBezTo>
                  <a:cubicBezTo>
                    <a:pt x="671" y="350"/>
                    <a:pt x="700" y="350"/>
                    <a:pt x="700" y="380"/>
                  </a:cubicBezTo>
                  <a:cubicBezTo>
                    <a:pt x="730" y="380"/>
                    <a:pt x="730" y="409"/>
                    <a:pt x="730" y="409"/>
                  </a:cubicBezTo>
                  <a:lnTo>
                    <a:pt x="730" y="409"/>
                  </a:lnTo>
                  <a:cubicBezTo>
                    <a:pt x="730" y="380"/>
                    <a:pt x="730" y="380"/>
                    <a:pt x="730" y="350"/>
                  </a:cubicBezTo>
                  <a:cubicBezTo>
                    <a:pt x="730" y="321"/>
                    <a:pt x="759" y="292"/>
                    <a:pt x="816" y="292"/>
                  </a:cubicBezTo>
                  <a:cubicBezTo>
                    <a:pt x="846" y="292"/>
                    <a:pt x="846" y="321"/>
                    <a:pt x="875" y="321"/>
                  </a:cubicBezTo>
                  <a:cubicBezTo>
                    <a:pt x="875" y="350"/>
                    <a:pt x="875" y="350"/>
                    <a:pt x="875" y="350"/>
                  </a:cubicBezTo>
                  <a:lnTo>
                    <a:pt x="875" y="380"/>
                  </a:lnTo>
                  <a:cubicBezTo>
                    <a:pt x="875" y="380"/>
                    <a:pt x="875" y="380"/>
                    <a:pt x="875" y="409"/>
                  </a:cubicBezTo>
                  <a:cubicBezTo>
                    <a:pt x="875" y="380"/>
                    <a:pt x="875" y="380"/>
                    <a:pt x="904" y="380"/>
                  </a:cubicBezTo>
                  <a:cubicBezTo>
                    <a:pt x="904" y="409"/>
                    <a:pt x="904" y="409"/>
                    <a:pt x="904" y="409"/>
                  </a:cubicBezTo>
                  <a:cubicBezTo>
                    <a:pt x="933" y="409"/>
                    <a:pt x="963" y="438"/>
                    <a:pt x="933" y="467"/>
                  </a:cubicBezTo>
                  <a:cubicBezTo>
                    <a:pt x="933" y="497"/>
                    <a:pt x="933" y="497"/>
                    <a:pt x="933" y="497"/>
                  </a:cubicBezTo>
                  <a:lnTo>
                    <a:pt x="933" y="497"/>
                  </a:lnTo>
                  <a:cubicBezTo>
                    <a:pt x="933" y="497"/>
                    <a:pt x="904" y="497"/>
                    <a:pt x="875" y="497"/>
                  </a:cubicBezTo>
                  <a:cubicBezTo>
                    <a:pt x="904" y="526"/>
                    <a:pt x="933" y="526"/>
                    <a:pt x="963" y="584"/>
                  </a:cubicBezTo>
                  <a:lnTo>
                    <a:pt x="963" y="613"/>
                  </a:lnTo>
                  <a:cubicBezTo>
                    <a:pt x="963" y="642"/>
                    <a:pt x="963" y="642"/>
                    <a:pt x="963" y="642"/>
                  </a:cubicBezTo>
                  <a:lnTo>
                    <a:pt x="992" y="642"/>
                  </a:lnTo>
                  <a:cubicBezTo>
                    <a:pt x="1021" y="642"/>
                    <a:pt x="1050" y="613"/>
                    <a:pt x="1080" y="613"/>
                  </a:cubicBezTo>
                  <a:lnTo>
                    <a:pt x="1080" y="613"/>
                  </a:lnTo>
                  <a:lnTo>
                    <a:pt x="1080" y="613"/>
                  </a:lnTo>
                  <a:cubicBezTo>
                    <a:pt x="1080" y="584"/>
                    <a:pt x="1108" y="613"/>
                    <a:pt x="1108" y="613"/>
                  </a:cubicBezTo>
                  <a:lnTo>
                    <a:pt x="1108" y="613"/>
                  </a:lnTo>
                  <a:cubicBezTo>
                    <a:pt x="1137" y="584"/>
                    <a:pt x="1166" y="584"/>
                    <a:pt x="1196" y="555"/>
                  </a:cubicBezTo>
                  <a:cubicBezTo>
                    <a:pt x="1225" y="555"/>
                    <a:pt x="1225" y="555"/>
                    <a:pt x="1225" y="555"/>
                  </a:cubicBezTo>
                  <a:lnTo>
                    <a:pt x="1225" y="555"/>
                  </a:lnTo>
                  <a:cubicBezTo>
                    <a:pt x="1254" y="526"/>
                    <a:pt x="1254" y="526"/>
                    <a:pt x="1254" y="526"/>
                  </a:cubicBezTo>
                  <a:lnTo>
                    <a:pt x="1254" y="526"/>
                  </a:lnTo>
                  <a:cubicBezTo>
                    <a:pt x="1283" y="526"/>
                    <a:pt x="1313" y="497"/>
                    <a:pt x="1342" y="497"/>
                  </a:cubicBezTo>
                  <a:cubicBezTo>
                    <a:pt x="1342" y="497"/>
                    <a:pt x="1342" y="497"/>
                    <a:pt x="1371" y="497"/>
                  </a:cubicBezTo>
                  <a:cubicBezTo>
                    <a:pt x="1371" y="467"/>
                    <a:pt x="1371" y="438"/>
                    <a:pt x="1371" y="438"/>
                  </a:cubicBezTo>
                  <a:cubicBezTo>
                    <a:pt x="1371" y="409"/>
                    <a:pt x="1400" y="409"/>
                    <a:pt x="1430" y="409"/>
                  </a:cubicBezTo>
                  <a:cubicBezTo>
                    <a:pt x="1430" y="380"/>
                    <a:pt x="1430" y="380"/>
                    <a:pt x="1458" y="380"/>
                  </a:cubicBezTo>
                  <a:cubicBezTo>
                    <a:pt x="1458" y="380"/>
                    <a:pt x="1458" y="380"/>
                    <a:pt x="1487" y="380"/>
                  </a:cubicBezTo>
                  <a:cubicBezTo>
                    <a:pt x="1516" y="380"/>
                    <a:pt x="1546" y="380"/>
                    <a:pt x="1546" y="380"/>
                  </a:cubicBezTo>
                  <a:cubicBezTo>
                    <a:pt x="1575" y="380"/>
                    <a:pt x="1604" y="409"/>
                    <a:pt x="1633" y="409"/>
                  </a:cubicBezTo>
                  <a:cubicBezTo>
                    <a:pt x="1633" y="380"/>
                    <a:pt x="1633" y="380"/>
                    <a:pt x="1633" y="380"/>
                  </a:cubicBezTo>
                  <a:cubicBezTo>
                    <a:pt x="1633" y="409"/>
                    <a:pt x="1633" y="409"/>
                    <a:pt x="1633" y="409"/>
                  </a:cubicBezTo>
                  <a:cubicBezTo>
                    <a:pt x="1663" y="409"/>
                    <a:pt x="1663" y="438"/>
                    <a:pt x="1663" y="467"/>
                  </a:cubicBezTo>
                  <a:cubicBezTo>
                    <a:pt x="1663" y="497"/>
                    <a:pt x="1663" y="497"/>
                    <a:pt x="1663" y="526"/>
                  </a:cubicBezTo>
                  <a:cubicBezTo>
                    <a:pt x="1692" y="526"/>
                    <a:pt x="1721" y="526"/>
                    <a:pt x="1750" y="526"/>
                  </a:cubicBezTo>
                  <a:lnTo>
                    <a:pt x="1750" y="526"/>
                  </a:lnTo>
                  <a:lnTo>
                    <a:pt x="1750" y="526"/>
                  </a:lnTo>
                  <a:cubicBezTo>
                    <a:pt x="1780" y="526"/>
                    <a:pt x="1780" y="526"/>
                    <a:pt x="1808" y="526"/>
                  </a:cubicBezTo>
                  <a:lnTo>
                    <a:pt x="1837" y="555"/>
                  </a:lnTo>
                  <a:lnTo>
                    <a:pt x="1837" y="555"/>
                  </a:lnTo>
                  <a:cubicBezTo>
                    <a:pt x="1837" y="584"/>
                    <a:pt x="1837" y="584"/>
                    <a:pt x="1837" y="613"/>
                  </a:cubicBezTo>
                  <a:lnTo>
                    <a:pt x="1837" y="642"/>
                  </a:lnTo>
                  <a:cubicBezTo>
                    <a:pt x="1837" y="642"/>
                    <a:pt x="1866" y="671"/>
                    <a:pt x="1896" y="671"/>
                  </a:cubicBezTo>
                  <a:cubicBezTo>
                    <a:pt x="1925" y="671"/>
                    <a:pt x="1954" y="700"/>
                    <a:pt x="1954" y="730"/>
                  </a:cubicBezTo>
                  <a:cubicBezTo>
                    <a:pt x="1983" y="759"/>
                    <a:pt x="1983" y="759"/>
                    <a:pt x="1983" y="788"/>
                  </a:cubicBezTo>
                  <a:cubicBezTo>
                    <a:pt x="1983" y="817"/>
                    <a:pt x="1983" y="817"/>
                    <a:pt x="1983" y="847"/>
                  </a:cubicBezTo>
                  <a:cubicBezTo>
                    <a:pt x="2013" y="847"/>
                    <a:pt x="2042" y="817"/>
                    <a:pt x="2071" y="788"/>
                  </a:cubicBezTo>
                  <a:lnTo>
                    <a:pt x="2071" y="788"/>
                  </a:lnTo>
                  <a:lnTo>
                    <a:pt x="2071" y="788"/>
                  </a:lnTo>
                  <a:cubicBezTo>
                    <a:pt x="2100" y="788"/>
                    <a:pt x="2129" y="788"/>
                    <a:pt x="2129" y="788"/>
                  </a:cubicBezTo>
                  <a:cubicBezTo>
                    <a:pt x="2158" y="817"/>
                    <a:pt x="2158" y="847"/>
                    <a:pt x="2129" y="876"/>
                  </a:cubicBezTo>
                  <a:cubicBezTo>
                    <a:pt x="2158" y="905"/>
                    <a:pt x="2158" y="905"/>
                    <a:pt x="2158" y="905"/>
                  </a:cubicBezTo>
                  <a:cubicBezTo>
                    <a:pt x="2187" y="905"/>
                    <a:pt x="2187" y="934"/>
                    <a:pt x="2187" y="934"/>
                  </a:cubicBezTo>
                  <a:cubicBezTo>
                    <a:pt x="2216" y="992"/>
                    <a:pt x="2246" y="1080"/>
                    <a:pt x="2216" y="1167"/>
                  </a:cubicBezTo>
                  <a:cubicBezTo>
                    <a:pt x="2216" y="1226"/>
                    <a:pt x="2187" y="1284"/>
                    <a:pt x="2158" y="1313"/>
                  </a:cubicBezTo>
                  <a:lnTo>
                    <a:pt x="2158" y="1313"/>
                  </a:lnTo>
                  <a:cubicBezTo>
                    <a:pt x="2158" y="1342"/>
                    <a:pt x="2129" y="1400"/>
                    <a:pt x="2158" y="1459"/>
                  </a:cubicBezTo>
                  <a:cubicBezTo>
                    <a:pt x="2187" y="1459"/>
                    <a:pt x="2216" y="1488"/>
                    <a:pt x="2216" y="1517"/>
                  </a:cubicBezTo>
                  <a:cubicBezTo>
                    <a:pt x="2216" y="1517"/>
                    <a:pt x="2216" y="1488"/>
                    <a:pt x="2187" y="1459"/>
                  </a:cubicBezTo>
                  <a:cubicBezTo>
                    <a:pt x="2187" y="1430"/>
                    <a:pt x="2158" y="1400"/>
                    <a:pt x="2158" y="1371"/>
                  </a:cubicBezTo>
                  <a:cubicBezTo>
                    <a:pt x="2158" y="1342"/>
                    <a:pt x="2158" y="1342"/>
                    <a:pt x="2158" y="1342"/>
                  </a:cubicBezTo>
                  <a:cubicBezTo>
                    <a:pt x="2187" y="1342"/>
                    <a:pt x="2187" y="1342"/>
                    <a:pt x="2187" y="1342"/>
                  </a:cubicBezTo>
                  <a:lnTo>
                    <a:pt x="2216" y="1342"/>
                  </a:lnTo>
                  <a:cubicBezTo>
                    <a:pt x="2246" y="1342"/>
                    <a:pt x="2275" y="1371"/>
                    <a:pt x="2275" y="1400"/>
                  </a:cubicBezTo>
                  <a:lnTo>
                    <a:pt x="2275" y="1400"/>
                  </a:lnTo>
                  <a:lnTo>
                    <a:pt x="2304" y="1400"/>
                  </a:lnTo>
                  <a:cubicBezTo>
                    <a:pt x="2333" y="1400"/>
                    <a:pt x="2363" y="1400"/>
                    <a:pt x="2363" y="1400"/>
                  </a:cubicBezTo>
                  <a:cubicBezTo>
                    <a:pt x="2392" y="1459"/>
                    <a:pt x="2363" y="1547"/>
                    <a:pt x="2363" y="1576"/>
                  </a:cubicBezTo>
                  <a:cubicBezTo>
                    <a:pt x="2392" y="1605"/>
                    <a:pt x="2392" y="1605"/>
                    <a:pt x="2392" y="1633"/>
                  </a:cubicBezTo>
                  <a:cubicBezTo>
                    <a:pt x="2392" y="1663"/>
                    <a:pt x="2363" y="1692"/>
                    <a:pt x="2333" y="1663"/>
                  </a:cubicBezTo>
                  <a:cubicBezTo>
                    <a:pt x="2333" y="1692"/>
                    <a:pt x="2333" y="1692"/>
                    <a:pt x="2304" y="1692"/>
                  </a:cubicBezTo>
                  <a:lnTo>
                    <a:pt x="2304" y="1692"/>
                  </a:lnTo>
                  <a:lnTo>
                    <a:pt x="2275" y="1692"/>
                  </a:lnTo>
                  <a:cubicBezTo>
                    <a:pt x="2275" y="1721"/>
                    <a:pt x="2304" y="1780"/>
                    <a:pt x="2275" y="1809"/>
                  </a:cubicBezTo>
                  <a:cubicBezTo>
                    <a:pt x="2275" y="1809"/>
                    <a:pt x="2304" y="1838"/>
                    <a:pt x="2333" y="1838"/>
                  </a:cubicBezTo>
                  <a:cubicBezTo>
                    <a:pt x="2333" y="1867"/>
                    <a:pt x="2363" y="1867"/>
                    <a:pt x="2363" y="1897"/>
                  </a:cubicBezTo>
                  <a:lnTo>
                    <a:pt x="2363" y="1897"/>
                  </a:lnTo>
                  <a:cubicBezTo>
                    <a:pt x="2392" y="1897"/>
                    <a:pt x="2392" y="1867"/>
                    <a:pt x="2421" y="1897"/>
                  </a:cubicBezTo>
                  <a:cubicBezTo>
                    <a:pt x="2421" y="1897"/>
                    <a:pt x="2450" y="1897"/>
                    <a:pt x="2450" y="1926"/>
                  </a:cubicBezTo>
                  <a:cubicBezTo>
                    <a:pt x="2450" y="1897"/>
                    <a:pt x="2450" y="1897"/>
                    <a:pt x="2479" y="1867"/>
                  </a:cubicBezTo>
                  <a:cubicBezTo>
                    <a:pt x="2508" y="1838"/>
                    <a:pt x="2566" y="1838"/>
                    <a:pt x="2596" y="1867"/>
                  </a:cubicBezTo>
                  <a:lnTo>
                    <a:pt x="2596" y="1867"/>
                  </a:lnTo>
                  <a:cubicBezTo>
                    <a:pt x="2596" y="1897"/>
                    <a:pt x="2596" y="1897"/>
                    <a:pt x="2596" y="1897"/>
                  </a:cubicBezTo>
                  <a:cubicBezTo>
                    <a:pt x="2596" y="1926"/>
                    <a:pt x="2596" y="1955"/>
                    <a:pt x="2566" y="1955"/>
                  </a:cubicBezTo>
                  <a:lnTo>
                    <a:pt x="2566" y="1955"/>
                  </a:lnTo>
                  <a:cubicBezTo>
                    <a:pt x="2596" y="1983"/>
                    <a:pt x="2596" y="2013"/>
                    <a:pt x="2596" y="2042"/>
                  </a:cubicBezTo>
                  <a:cubicBezTo>
                    <a:pt x="2596" y="2071"/>
                    <a:pt x="2596" y="2071"/>
                    <a:pt x="2566" y="2100"/>
                  </a:cubicBezTo>
                  <a:lnTo>
                    <a:pt x="2537" y="2100"/>
                  </a:lnTo>
                  <a:cubicBezTo>
                    <a:pt x="2508" y="2100"/>
                    <a:pt x="2479" y="2071"/>
                    <a:pt x="2479" y="2071"/>
                  </a:cubicBezTo>
                  <a:lnTo>
                    <a:pt x="2450" y="2042"/>
                  </a:lnTo>
                  <a:cubicBezTo>
                    <a:pt x="2450" y="2071"/>
                    <a:pt x="2479" y="2071"/>
                    <a:pt x="2479" y="2071"/>
                  </a:cubicBezTo>
                  <a:cubicBezTo>
                    <a:pt x="2479" y="2071"/>
                    <a:pt x="2479" y="2100"/>
                    <a:pt x="2508" y="2100"/>
                  </a:cubicBezTo>
                  <a:lnTo>
                    <a:pt x="2508" y="2100"/>
                  </a:lnTo>
                  <a:cubicBezTo>
                    <a:pt x="2508" y="2130"/>
                    <a:pt x="2508" y="2130"/>
                    <a:pt x="2508" y="2130"/>
                  </a:cubicBezTo>
                  <a:lnTo>
                    <a:pt x="2479" y="2130"/>
                  </a:lnTo>
                  <a:cubicBezTo>
                    <a:pt x="2479" y="2159"/>
                    <a:pt x="2508" y="2159"/>
                    <a:pt x="2508" y="2159"/>
                  </a:cubicBezTo>
                  <a:cubicBezTo>
                    <a:pt x="2537" y="2159"/>
                    <a:pt x="2537" y="2159"/>
                    <a:pt x="2537" y="2159"/>
                  </a:cubicBezTo>
                  <a:cubicBezTo>
                    <a:pt x="2566" y="2159"/>
                    <a:pt x="2566" y="2159"/>
                    <a:pt x="2596" y="2159"/>
                  </a:cubicBezTo>
                  <a:cubicBezTo>
                    <a:pt x="2596" y="2130"/>
                    <a:pt x="2625" y="2071"/>
                    <a:pt x="2713" y="2071"/>
                  </a:cubicBezTo>
                  <a:lnTo>
                    <a:pt x="2713" y="2071"/>
                  </a:lnTo>
                  <a:cubicBezTo>
                    <a:pt x="2713" y="2100"/>
                    <a:pt x="2713" y="2100"/>
                    <a:pt x="2713" y="2100"/>
                  </a:cubicBezTo>
                  <a:cubicBezTo>
                    <a:pt x="2713" y="2130"/>
                    <a:pt x="2742" y="2159"/>
                    <a:pt x="2742" y="2188"/>
                  </a:cubicBezTo>
                  <a:cubicBezTo>
                    <a:pt x="2742" y="2247"/>
                    <a:pt x="2742" y="2305"/>
                    <a:pt x="2771" y="2333"/>
                  </a:cubicBezTo>
                  <a:cubicBezTo>
                    <a:pt x="2829" y="2333"/>
                    <a:pt x="2829" y="2333"/>
                    <a:pt x="2829" y="2333"/>
                  </a:cubicBezTo>
                  <a:cubicBezTo>
                    <a:pt x="2829" y="2363"/>
                    <a:pt x="2829" y="2363"/>
                    <a:pt x="2829" y="2363"/>
                  </a:cubicBezTo>
                  <a:lnTo>
                    <a:pt x="2829" y="2363"/>
                  </a:lnTo>
                  <a:lnTo>
                    <a:pt x="2829" y="2363"/>
                  </a:lnTo>
                  <a:lnTo>
                    <a:pt x="2858" y="2333"/>
                  </a:lnTo>
                  <a:cubicBezTo>
                    <a:pt x="2887" y="2333"/>
                    <a:pt x="2887" y="2333"/>
                    <a:pt x="2887" y="2333"/>
                  </a:cubicBezTo>
                  <a:cubicBezTo>
                    <a:pt x="2887" y="2363"/>
                    <a:pt x="2887" y="2363"/>
                    <a:pt x="2887" y="2363"/>
                  </a:cubicBezTo>
                  <a:cubicBezTo>
                    <a:pt x="2916" y="2363"/>
                    <a:pt x="2887" y="2392"/>
                    <a:pt x="2887" y="2421"/>
                  </a:cubicBezTo>
                  <a:lnTo>
                    <a:pt x="2887" y="2421"/>
                  </a:lnTo>
                  <a:cubicBezTo>
                    <a:pt x="2916" y="2421"/>
                    <a:pt x="2946" y="2421"/>
                    <a:pt x="2975" y="2392"/>
                  </a:cubicBezTo>
                  <a:cubicBezTo>
                    <a:pt x="3004" y="2392"/>
                    <a:pt x="3004" y="2392"/>
                    <a:pt x="3033" y="2392"/>
                  </a:cubicBezTo>
                  <a:cubicBezTo>
                    <a:pt x="3063" y="2392"/>
                    <a:pt x="3063" y="2392"/>
                    <a:pt x="3063" y="2392"/>
                  </a:cubicBezTo>
                  <a:lnTo>
                    <a:pt x="3063" y="2392"/>
                  </a:lnTo>
                  <a:cubicBezTo>
                    <a:pt x="3063" y="2421"/>
                    <a:pt x="3063" y="2450"/>
                    <a:pt x="3063" y="2480"/>
                  </a:cubicBezTo>
                  <a:cubicBezTo>
                    <a:pt x="3063" y="2509"/>
                    <a:pt x="3063" y="2509"/>
                    <a:pt x="3063" y="2509"/>
                  </a:cubicBezTo>
                  <a:cubicBezTo>
                    <a:pt x="3092" y="2538"/>
                    <a:pt x="3092" y="2538"/>
                    <a:pt x="3092" y="2538"/>
                  </a:cubicBezTo>
                  <a:cubicBezTo>
                    <a:pt x="3063" y="2538"/>
                    <a:pt x="3063" y="2538"/>
                    <a:pt x="3063" y="2538"/>
                  </a:cubicBezTo>
                  <a:lnTo>
                    <a:pt x="3063" y="2538"/>
                  </a:lnTo>
                  <a:cubicBezTo>
                    <a:pt x="3063" y="2538"/>
                    <a:pt x="3063" y="2538"/>
                    <a:pt x="3092" y="2567"/>
                  </a:cubicBezTo>
                  <a:lnTo>
                    <a:pt x="3092" y="2567"/>
                  </a:lnTo>
                  <a:lnTo>
                    <a:pt x="3092" y="2567"/>
                  </a:lnTo>
                  <a:cubicBezTo>
                    <a:pt x="3092" y="2597"/>
                    <a:pt x="3092" y="2597"/>
                    <a:pt x="3092" y="2597"/>
                  </a:cubicBezTo>
                  <a:cubicBezTo>
                    <a:pt x="3092" y="2597"/>
                    <a:pt x="3092" y="2597"/>
                    <a:pt x="3121" y="2597"/>
                  </a:cubicBezTo>
                  <a:lnTo>
                    <a:pt x="3121" y="2597"/>
                  </a:lnTo>
                  <a:lnTo>
                    <a:pt x="3121" y="2597"/>
                  </a:lnTo>
                  <a:lnTo>
                    <a:pt x="3150" y="2597"/>
                  </a:lnTo>
                  <a:lnTo>
                    <a:pt x="3179" y="2626"/>
                  </a:lnTo>
                  <a:cubicBezTo>
                    <a:pt x="3208" y="2655"/>
                    <a:pt x="3208" y="2683"/>
                    <a:pt x="3179" y="2683"/>
                  </a:cubicBezTo>
                  <a:cubicBezTo>
                    <a:pt x="3179" y="2713"/>
                    <a:pt x="3121" y="2713"/>
                    <a:pt x="3092" y="2742"/>
                  </a:cubicBezTo>
                  <a:cubicBezTo>
                    <a:pt x="3063" y="2742"/>
                    <a:pt x="3033" y="2742"/>
                    <a:pt x="3004" y="2742"/>
                  </a:cubicBezTo>
                  <a:cubicBezTo>
                    <a:pt x="3033" y="2771"/>
                    <a:pt x="3063" y="2771"/>
                    <a:pt x="3092" y="2771"/>
                  </a:cubicBezTo>
                  <a:cubicBezTo>
                    <a:pt x="3092" y="2771"/>
                    <a:pt x="3092" y="2771"/>
                    <a:pt x="3092" y="2742"/>
                  </a:cubicBezTo>
                  <a:cubicBezTo>
                    <a:pt x="3121" y="2742"/>
                    <a:pt x="3121" y="2742"/>
                    <a:pt x="3150" y="2742"/>
                  </a:cubicBezTo>
                  <a:cubicBezTo>
                    <a:pt x="3179" y="2742"/>
                    <a:pt x="3179" y="2742"/>
                    <a:pt x="3179" y="2742"/>
                  </a:cubicBezTo>
                  <a:cubicBezTo>
                    <a:pt x="3208" y="2742"/>
                    <a:pt x="3208" y="2742"/>
                    <a:pt x="3208" y="2742"/>
                  </a:cubicBezTo>
                  <a:cubicBezTo>
                    <a:pt x="3208" y="2742"/>
                    <a:pt x="3208" y="2742"/>
                    <a:pt x="3208" y="2713"/>
                  </a:cubicBezTo>
                  <a:lnTo>
                    <a:pt x="3208" y="2713"/>
                  </a:lnTo>
                  <a:lnTo>
                    <a:pt x="3208" y="2713"/>
                  </a:lnTo>
                  <a:cubicBezTo>
                    <a:pt x="3237" y="2683"/>
                    <a:pt x="3237" y="2683"/>
                    <a:pt x="3266" y="2683"/>
                  </a:cubicBezTo>
                  <a:cubicBezTo>
                    <a:pt x="3296" y="2655"/>
                    <a:pt x="3325" y="2655"/>
                    <a:pt x="3354" y="2626"/>
                  </a:cubicBezTo>
                  <a:cubicBezTo>
                    <a:pt x="3325" y="2597"/>
                    <a:pt x="3296" y="2567"/>
                    <a:pt x="3296" y="250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51" name="Freeform 288">
              <a:extLst>
                <a:ext uri="{FF2B5EF4-FFF2-40B4-BE49-F238E27FC236}">
                  <a16:creationId xmlns:a16="http://schemas.microsoft.com/office/drawing/2014/main" id="{9079EF93-30DD-4006-8B4B-99EFCCB2177C}"/>
                </a:ext>
              </a:extLst>
            </p:cNvPr>
            <p:cNvSpPr>
              <a:spLocks noChangeArrowheads="1"/>
            </p:cNvSpPr>
            <p:nvPr/>
          </p:nvSpPr>
          <p:spPr bwMode="auto">
            <a:xfrm>
              <a:off x="9819386" y="5233706"/>
              <a:ext cx="1631" cy="11329"/>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29"/>
                    <a:pt x="0" y="29"/>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52" name="Freeform 289">
              <a:extLst>
                <a:ext uri="{FF2B5EF4-FFF2-40B4-BE49-F238E27FC236}">
                  <a16:creationId xmlns:a16="http://schemas.microsoft.com/office/drawing/2014/main" id="{182A09F2-6C28-40CB-8DBD-F9DBA5B2BEF3}"/>
                </a:ext>
              </a:extLst>
            </p:cNvPr>
            <p:cNvSpPr>
              <a:spLocks noChangeArrowheads="1"/>
            </p:cNvSpPr>
            <p:nvPr/>
          </p:nvSpPr>
          <p:spPr bwMode="auto">
            <a:xfrm>
              <a:off x="10595668" y="3756181"/>
              <a:ext cx="22832" cy="11328"/>
            </a:xfrm>
            <a:custGeom>
              <a:avLst/>
              <a:gdLst>
                <a:gd name="T0" fmla="*/ 30 w 60"/>
                <a:gd name="T1" fmla="*/ 0 h 31"/>
                <a:gd name="T2" fmla="*/ 30 w 60"/>
                <a:gd name="T3" fmla="*/ 0 h 31"/>
                <a:gd name="T4" fmla="*/ 30 w 60"/>
                <a:gd name="T5" fmla="*/ 0 h 31"/>
                <a:gd name="T6" fmla="*/ 59 w 60"/>
                <a:gd name="T7" fmla="*/ 0 h 31"/>
                <a:gd name="T8" fmla="*/ 59 w 60"/>
                <a:gd name="T9" fmla="*/ 30 h 31"/>
                <a:gd name="T10" fmla="*/ 59 w 60"/>
                <a:gd name="T11" fmla="*/ 0 h 31"/>
                <a:gd name="T12" fmla="*/ 30 w 60"/>
                <a:gd name="T13" fmla="*/ 0 h 31"/>
                <a:gd name="T14" fmla="*/ 30 w 60"/>
                <a:gd name="T15" fmla="*/ 0 h 31"/>
                <a:gd name="T16" fmla="*/ 0 w 60"/>
                <a:gd name="T17" fmla="*/ 30 h 31"/>
                <a:gd name="T18" fmla="*/ 0 w 60"/>
                <a:gd name="T19" fmla="*/ 30 h 31"/>
                <a:gd name="T20" fmla="*/ 0 w 60"/>
                <a:gd name="T21" fmla="*/ 30 h 31"/>
                <a:gd name="T22" fmla="*/ 30 w 60"/>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31">
                  <a:moveTo>
                    <a:pt x="30" y="0"/>
                  </a:moveTo>
                  <a:lnTo>
                    <a:pt x="30" y="0"/>
                  </a:lnTo>
                  <a:lnTo>
                    <a:pt x="30" y="0"/>
                  </a:lnTo>
                  <a:cubicBezTo>
                    <a:pt x="59" y="0"/>
                    <a:pt x="59" y="0"/>
                    <a:pt x="59" y="0"/>
                  </a:cubicBezTo>
                  <a:cubicBezTo>
                    <a:pt x="59" y="30"/>
                    <a:pt x="59" y="30"/>
                    <a:pt x="59" y="30"/>
                  </a:cubicBezTo>
                  <a:cubicBezTo>
                    <a:pt x="59" y="30"/>
                    <a:pt x="59" y="30"/>
                    <a:pt x="59" y="0"/>
                  </a:cubicBezTo>
                  <a:cubicBezTo>
                    <a:pt x="30" y="0"/>
                    <a:pt x="30" y="0"/>
                    <a:pt x="30" y="0"/>
                  </a:cubicBezTo>
                  <a:lnTo>
                    <a:pt x="30" y="0"/>
                  </a:lnTo>
                  <a:lnTo>
                    <a:pt x="0" y="30"/>
                  </a:lnTo>
                  <a:lnTo>
                    <a:pt x="0" y="30"/>
                  </a:lnTo>
                  <a:lnTo>
                    <a:pt x="0" y="30"/>
                  </a:lnTo>
                  <a:lnTo>
                    <a:pt x="3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53" name="Freeform 290">
              <a:extLst>
                <a:ext uri="{FF2B5EF4-FFF2-40B4-BE49-F238E27FC236}">
                  <a16:creationId xmlns:a16="http://schemas.microsoft.com/office/drawing/2014/main" id="{40BED403-A255-4936-9412-D98402C58D64}"/>
                </a:ext>
              </a:extLst>
            </p:cNvPr>
            <p:cNvSpPr>
              <a:spLocks noChangeArrowheads="1"/>
            </p:cNvSpPr>
            <p:nvPr/>
          </p:nvSpPr>
          <p:spPr bwMode="auto">
            <a:xfrm>
              <a:off x="10812571" y="2183174"/>
              <a:ext cx="453375" cy="236275"/>
            </a:xfrm>
            <a:custGeom>
              <a:avLst/>
              <a:gdLst>
                <a:gd name="T0" fmla="*/ 1166 w 1226"/>
                <a:gd name="T1" fmla="*/ 554 h 642"/>
                <a:gd name="T2" fmla="*/ 1166 w 1226"/>
                <a:gd name="T3" fmla="*/ 554 h 642"/>
                <a:gd name="T4" fmla="*/ 1166 w 1226"/>
                <a:gd name="T5" fmla="*/ 583 h 642"/>
                <a:gd name="T6" fmla="*/ 1225 w 1226"/>
                <a:gd name="T7" fmla="*/ 524 h 642"/>
                <a:gd name="T8" fmla="*/ 1225 w 1226"/>
                <a:gd name="T9" fmla="*/ 524 h 642"/>
                <a:gd name="T10" fmla="*/ 1108 w 1226"/>
                <a:gd name="T11" fmla="*/ 437 h 642"/>
                <a:gd name="T12" fmla="*/ 1021 w 1226"/>
                <a:gd name="T13" fmla="*/ 378 h 642"/>
                <a:gd name="T14" fmla="*/ 1050 w 1226"/>
                <a:gd name="T15" fmla="*/ 349 h 642"/>
                <a:gd name="T16" fmla="*/ 1021 w 1226"/>
                <a:gd name="T17" fmla="*/ 349 h 642"/>
                <a:gd name="T18" fmla="*/ 963 w 1226"/>
                <a:gd name="T19" fmla="*/ 292 h 642"/>
                <a:gd name="T20" fmla="*/ 963 w 1226"/>
                <a:gd name="T21" fmla="*/ 292 h 642"/>
                <a:gd name="T22" fmla="*/ 933 w 1226"/>
                <a:gd name="T23" fmla="*/ 320 h 642"/>
                <a:gd name="T24" fmla="*/ 875 w 1226"/>
                <a:gd name="T25" fmla="*/ 292 h 642"/>
                <a:gd name="T26" fmla="*/ 846 w 1226"/>
                <a:gd name="T27" fmla="*/ 205 h 642"/>
                <a:gd name="T28" fmla="*/ 875 w 1226"/>
                <a:gd name="T29" fmla="*/ 175 h 642"/>
                <a:gd name="T30" fmla="*/ 875 w 1226"/>
                <a:gd name="T31" fmla="*/ 175 h 642"/>
                <a:gd name="T32" fmla="*/ 904 w 1226"/>
                <a:gd name="T33" fmla="*/ 146 h 642"/>
                <a:gd name="T34" fmla="*/ 904 w 1226"/>
                <a:gd name="T35" fmla="*/ 146 h 642"/>
                <a:gd name="T36" fmla="*/ 875 w 1226"/>
                <a:gd name="T37" fmla="*/ 117 h 642"/>
                <a:gd name="T38" fmla="*/ 875 w 1226"/>
                <a:gd name="T39" fmla="*/ 117 h 642"/>
                <a:gd name="T40" fmla="*/ 933 w 1226"/>
                <a:gd name="T41" fmla="*/ 88 h 642"/>
                <a:gd name="T42" fmla="*/ 933 w 1226"/>
                <a:gd name="T43" fmla="*/ 88 h 642"/>
                <a:gd name="T44" fmla="*/ 904 w 1226"/>
                <a:gd name="T45" fmla="*/ 88 h 642"/>
                <a:gd name="T46" fmla="*/ 875 w 1226"/>
                <a:gd name="T47" fmla="*/ 58 h 642"/>
                <a:gd name="T48" fmla="*/ 875 w 1226"/>
                <a:gd name="T49" fmla="*/ 58 h 642"/>
                <a:gd name="T50" fmla="*/ 846 w 1226"/>
                <a:gd name="T51" fmla="*/ 0 h 642"/>
                <a:gd name="T52" fmla="*/ 787 w 1226"/>
                <a:gd name="T53" fmla="*/ 29 h 642"/>
                <a:gd name="T54" fmla="*/ 787 w 1226"/>
                <a:gd name="T55" fmla="*/ 58 h 642"/>
                <a:gd name="T56" fmla="*/ 787 w 1226"/>
                <a:gd name="T57" fmla="*/ 58 h 642"/>
                <a:gd name="T58" fmla="*/ 759 w 1226"/>
                <a:gd name="T59" fmla="*/ 58 h 642"/>
                <a:gd name="T60" fmla="*/ 759 w 1226"/>
                <a:gd name="T61" fmla="*/ 88 h 642"/>
                <a:gd name="T62" fmla="*/ 759 w 1226"/>
                <a:gd name="T63" fmla="*/ 88 h 642"/>
                <a:gd name="T64" fmla="*/ 263 w 1226"/>
                <a:gd name="T65" fmla="*/ 205 h 642"/>
                <a:gd name="T66" fmla="*/ 0 w 1226"/>
                <a:gd name="T67" fmla="*/ 263 h 642"/>
                <a:gd name="T68" fmla="*/ 0 w 1226"/>
                <a:gd name="T69" fmla="*/ 466 h 642"/>
                <a:gd name="T70" fmla="*/ 0 w 1226"/>
                <a:gd name="T71" fmla="*/ 612 h 642"/>
                <a:gd name="T72" fmla="*/ 88 w 1226"/>
                <a:gd name="T73" fmla="*/ 612 h 642"/>
                <a:gd name="T74" fmla="*/ 233 w 1226"/>
                <a:gd name="T75" fmla="*/ 583 h 642"/>
                <a:gd name="T76" fmla="*/ 263 w 1226"/>
                <a:gd name="T77" fmla="*/ 554 h 642"/>
                <a:gd name="T78" fmla="*/ 437 w 1226"/>
                <a:gd name="T79" fmla="*/ 524 h 642"/>
                <a:gd name="T80" fmla="*/ 613 w 1226"/>
                <a:gd name="T81" fmla="*/ 466 h 642"/>
                <a:gd name="T82" fmla="*/ 642 w 1226"/>
                <a:gd name="T83" fmla="*/ 466 h 642"/>
                <a:gd name="T84" fmla="*/ 642 w 1226"/>
                <a:gd name="T85" fmla="*/ 466 h 642"/>
                <a:gd name="T86" fmla="*/ 642 w 1226"/>
                <a:gd name="T87" fmla="*/ 466 h 642"/>
                <a:gd name="T88" fmla="*/ 787 w 1226"/>
                <a:gd name="T89" fmla="*/ 407 h 642"/>
                <a:gd name="T90" fmla="*/ 816 w 1226"/>
                <a:gd name="T91" fmla="*/ 407 h 642"/>
                <a:gd name="T92" fmla="*/ 816 w 1226"/>
                <a:gd name="T93" fmla="*/ 437 h 642"/>
                <a:gd name="T94" fmla="*/ 846 w 1226"/>
                <a:gd name="T95" fmla="*/ 495 h 642"/>
                <a:gd name="T96" fmla="*/ 875 w 1226"/>
                <a:gd name="T97" fmla="*/ 554 h 642"/>
                <a:gd name="T98" fmla="*/ 875 w 1226"/>
                <a:gd name="T99" fmla="*/ 554 h 642"/>
                <a:gd name="T100" fmla="*/ 933 w 1226"/>
                <a:gd name="T101" fmla="*/ 554 h 642"/>
                <a:gd name="T102" fmla="*/ 933 w 1226"/>
                <a:gd name="T103" fmla="*/ 554 h 642"/>
                <a:gd name="T104" fmla="*/ 933 w 1226"/>
                <a:gd name="T105" fmla="*/ 554 h 642"/>
                <a:gd name="T106" fmla="*/ 963 w 1226"/>
                <a:gd name="T107" fmla="*/ 583 h 642"/>
                <a:gd name="T108" fmla="*/ 992 w 1226"/>
                <a:gd name="T109" fmla="*/ 641 h 642"/>
                <a:gd name="T110" fmla="*/ 992 w 1226"/>
                <a:gd name="T111" fmla="*/ 641 h 642"/>
                <a:gd name="T112" fmla="*/ 1050 w 1226"/>
                <a:gd name="T113" fmla="*/ 583 h 642"/>
                <a:gd name="T114" fmla="*/ 1108 w 1226"/>
                <a:gd name="T115" fmla="*/ 495 h 642"/>
                <a:gd name="T116" fmla="*/ 1166 w 1226"/>
                <a:gd name="T117" fmla="*/ 554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26" h="642">
                  <a:moveTo>
                    <a:pt x="1166" y="554"/>
                  </a:moveTo>
                  <a:lnTo>
                    <a:pt x="1166" y="554"/>
                  </a:lnTo>
                  <a:lnTo>
                    <a:pt x="1166" y="583"/>
                  </a:lnTo>
                  <a:cubicBezTo>
                    <a:pt x="1196" y="583"/>
                    <a:pt x="1196" y="554"/>
                    <a:pt x="1225" y="524"/>
                  </a:cubicBezTo>
                  <a:lnTo>
                    <a:pt x="1225" y="524"/>
                  </a:lnTo>
                  <a:cubicBezTo>
                    <a:pt x="1166" y="524"/>
                    <a:pt x="1108" y="466"/>
                    <a:pt x="1108" y="437"/>
                  </a:cubicBezTo>
                  <a:cubicBezTo>
                    <a:pt x="1080" y="437"/>
                    <a:pt x="1050" y="407"/>
                    <a:pt x="1021" y="378"/>
                  </a:cubicBezTo>
                  <a:cubicBezTo>
                    <a:pt x="1050" y="378"/>
                    <a:pt x="1050" y="378"/>
                    <a:pt x="1050" y="349"/>
                  </a:cubicBezTo>
                  <a:cubicBezTo>
                    <a:pt x="1050" y="349"/>
                    <a:pt x="1050" y="349"/>
                    <a:pt x="1021" y="349"/>
                  </a:cubicBezTo>
                  <a:cubicBezTo>
                    <a:pt x="1021" y="320"/>
                    <a:pt x="992" y="320"/>
                    <a:pt x="963" y="292"/>
                  </a:cubicBezTo>
                  <a:lnTo>
                    <a:pt x="963" y="292"/>
                  </a:lnTo>
                  <a:cubicBezTo>
                    <a:pt x="963" y="320"/>
                    <a:pt x="963" y="320"/>
                    <a:pt x="933" y="320"/>
                  </a:cubicBezTo>
                  <a:cubicBezTo>
                    <a:pt x="904" y="320"/>
                    <a:pt x="875" y="320"/>
                    <a:pt x="875" y="292"/>
                  </a:cubicBezTo>
                  <a:cubicBezTo>
                    <a:pt x="846" y="263"/>
                    <a:pt x="846" y="234"/>
                    <a:pt x="846" y="205"/>
                  </a:cubicBezTo>
                  <a:cubicBezTo>
                    <a:pt x="875" y="175"/>
                    <a:pt x="875" y="175"/>
                    <a:pt x="875" y="175"/>
                  </a:cubicBezTo>
                  <a:lnTo>
                    <a:pt x="875" y="175"/>
                  </a:lnTo>
                  <a:cubicBezTo>
                    <a:pt x="875" y="175"/>
                    <a:pt x="875" y="175"/>
                    <a:pt x="904" y="146"/>
                  </a:cubicBezTo>
                  <a:lnTo>
                    <a:pt x="904" y="146"/>
                  </a:lnTo>
                  <a:cubicBezTo>
                    <a:pt x="904" y="146"/>
                    <a:pt x="875" y="146"/>
                    <a:pt x="875" y="117"/>
                  </a:cubicBezTo>
                  <a:lnTo>
                    <a:pt x="875" y="117"/>
                  </a:lnTo>
                  <a:cubicBezTo>
                    <a:pt x="904" y="117"/>
                    <a:pt x="904" y="88"/>
                    <a:pt x="933" y="88"/>
                  </a:cubicBezTo>
                  <a:lnTo>
                    <a:pt x="933" y="88"/>
                  </a:lnTo>
                  <a:cubicBezTo>
                    <a:pt x="904" y="88"/>
                    <a:pt x="904" y="88"/>
                    <a:pt x="904" y="88"/>
                  </a:cubicBezTo>
                  <a:cubicBezTo>
                    <a:pt x="875" y="58"/>
                    <a:pt x="875" y="58"/>
                    <a:pt x="875" y="58"/>
                  </a:cubicBezTo>
                  <a:lnTo>
                    <a:pt x="875" y="58"/>
                  </a:lnTo>
                  <a:cubicBezTo>
                    <a:pt x="875" y="29"/>
                    <a:pt x="846" y="0"/>
                    <a:pt x="846" y="0"/>
                  </a:cubicBezTo>
                  <a:cubicBezTo>
                    <a:pt x="816" y="0"/>
                    <a:pt x="816" y="29"/>
                    <a:pt x="787" y="29"/>
                  </a:cubicBezTo>
                  <a:cubicBezTo>
                    <a:pt x="787" y="58"/>
                    <a:pt x="787" y="58"/>
                    <a:pt x="787" y="58"/>
                  </a:cubicBezTo>
                  <a:lnTo>
                    <a:pt x="787" y="58"/>
                  </a:lnTo>
                  <a:cubicBezTo>
                    <a:pt x="759" y="58"/>
                    <a:pt x="759" y="58"/>
                    <a:pt x="759" y="58"/>
                  </a:cubicBezTo>
                  <a:cubicBezTo>
                    <a:pt x="759" y="88"/>
                    <a:pt x="759" y="88"/>
                    <a:pt x="759" y="88"/>
                  </a:cubicBezTo>
                  <a:lnTo>
                    <a:pt x="759" y="88"/>
                  </a:lnTo>
                  <a:cubicBezTo>
                    <a:pt x="613" y="146"/>
                    <a:pt x="437" y="175"/>
                    <a:pt x="263" y="205"/>
                  </a:cubicBezTo>
                  <a:cubicBezTo>
                    <a:pt x="175" y="234"/>
                    <a:pt x="88" y="234"/>
                    <a:pt x="0" y="263"/>
                  </a:cubicBezTo>
                  <a:cubicBezTo>
                    <a:pt x="0" y="320"/>
                    <a:pt x="0" y="378"/>
                    <a:pt x="0" y="466"/>
                  </a:cubicBezTo>
                  <a:cubicBezTo>
                    <a:pt x="0" y="524"/>
                    <a:pt x="0" y="583"/>
                    <a:pt x="0" y="612"/>
                  </a:cubicBezTo>
                  <a:cubicBezTo>
                    <a:pt x="30" y="612"/>
                    <a:pt x="59" y="612"/>
                    <a:pt x="88" y="612"/>
                  </a:cubicBezTo>
                  <a:cubicBezTo>
                    <a:pt x="146" y="583"/>
                    <a:pt x="204" y="583"/>
                    <a:pt x="233" y="583"/>
                  </a:cubicBezTo>
                  <a:cubicBezTo>
                    <a:pt x="263" y="554"/>
                    <a:pt x="263" y="554"/>
                    <a:pt x="263" y="554"/>
                  </a:cubicBezTo>
                  <a:cubicBezTo>
                    <a:pt x="321" y="554"/>
                    <a:pt x="380" y="524"/>
                    <a:pt x="437" y="524"/>
                  </a:cubicBezTo>
                  <a:cubicBezTo>
                    <a:pt x="496" y="495"/>
                    <a:pt x="554" y="495"/>
                    <a:pt x="613" y="466"/>
                  </a:cubicBezTo>
                  <a:cubicBezTo>
                    <a:pt x="642" y="466"/>
                    <a:pt x="642" y="466"/>
                    <a:pt x="642" y="466"/>
                  </a:cubicBezTo>
                  <a:lnTo>
                    <a:pt x="642" y="466"/>
                  </a:lnTo>
                  <a:lnTo>
                    <a:pt x="642" y="466"/>
                  </a:lnTo>
                  <a:cubicBezTo>
                    <a:pt x="700" y="437"/>
                    <a:pt x="759" y="437"/>
                    <a:pt x="787" y="407"/>
                  </a:cubicBezTo>
                  <a:cubicBezTo>
                    <a:pt x="816" y="407"/>
                    <a:pt x="816" y="407"/>
                    <a:pt x="816" y="407"/>
                  </a:cubicBezTo>
                  <a:cubicBezTo>
                    <a:pt x="816" y="437"/>
                    <a:pt x="816" y="437"/>
                    <a:pt x="816" y="437"/>
                  </a:cubicBezTo>
                  <a:cubicBezTo>
                    <a:pt x="816" y="466"/>
                    <a:pt x="846" y="466"/>
                    <a:pt x="846" y="495"/>
                  </a:cubicBezTo>
                  <a:cubicBezTo>
                    <a:pt x="846" y="524"/>
                    <a:pt x="875" y="524"/>
                    <a:pt x="875" y="554"/>
                  </a:cubicBezTo>
                  <a:lnTo>
                    <a:pt x="875" y="554"/>
                  </a:lnTo>
                  <a:cubicBezTo>
                    <a:pt x="904" y="554"/>
                    <a:pt x="904" y="554"/>
                    <a:pt x="933" y="554"/>
                  </a:cubicBezTo>
                  <a:lnTo>
                    <a:pt x="933" y="554"/>
                  </a:lnTo>
                  <a:lnTo>
                    <a:pt x="933" y="554"/>
                  </a:lnTo>
                  <a:cubicBezTo>
                    <a:pt x="963" y="554"/>
                    <a:pt x="963" y="583"/>
                    <a:pt x="963" y="583"/>
                  </a:cubicBezTo>
                  <a:cubicBezTo>
                    <a:pt x="963" y="612"/>
                    <a:pt x="992" y="641"/>
                    <a:pt x="992" y="641"/>
                  </a:cubicBezTo>
                  <a:lnTo>
                    <a:pt x="992" y="641"/>
                  </a:lnTo>
                  <a:cubicBezTo>
                    <a:pt x="992" y="612"/>
                    <a:pt x="1021" y="583"/>
                    <a:pt x="1050" y="583"/>
                  </a:cubicBezTo>
                  <a:cubicBezTo>
                    <a:pt x="1050" y="554"/>
                    <a:pt x="1080" y="495"/>
                    <a:pt x="1108" y="495"/>
                  </a:cubicBezTo>
                  <a:cubicBezTo>
                    <a:pt x="1166" y="495"/>
                    <a:pt x="1166" y="524"/>
                    <a:pt x="1166" y="55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54" name="Freeform 291">
              <a:extLst>
                <a:ext uri="{FF2B5EF4-FFF2-40B4-BE49-F238E27FC236}">
                  <a16:creationId xmlns:a16="http://schemas.microsoft.com/office/drawing/2014/main" id="{B1449AE1-689E-4065-804D-2511D68A1990}"/>
                </a:ext>
              </a:extLst>
            </p:cNvPr>
            <p:cNvSpPr>
              <a:spLocks noChangeArrowheads="1"/>
            </p:cNvSpPr>
            <p:nvPr/>
          </p:nvSpPr>
          <p:spPr bwMode="auto">
            <a:xfrm>
              <a:off x="11135478" y="2408120"/>
              <a:ext cx="21200" cy="21039"/>
            </a:xfrm>
            <a:custGeom>
              <a:avLst/>
              <a:gdLst>
                <a:gd name="T0" fmla="*/ 29 w 59"/>
                <a:gd name="T1" fmla="*/ 0 h 59"/>
                <a:gd name="T2" fmla="*/ 29 w 59"/>
                <a:gd name="T3" fmla="*/ 0 h 59"/>
                <a:gd name="T4" fmla="*/ 0 w 59"/>
                <a:gd name="T5" fmla="*/ 0 h 59"/>
                <a:gd name="T6" fmla="*/ 29 w 59"/>
                <a:gd name="T7" fmla="*/ 58 h 59"/>
                <a:gd name="T8" fmla="*/ 58 w 59"/>
                <a:gd name="T9" fmla="*/ 58 h 59"/>
                <a:gd name="T10" fmla="*/ 29 w 59"/>
                <a:gd name="T11" fmla="*/ 0 h 59"/>
              </a:gdLst>
              <a:ahLst/>
              <a:cxnLst>
                <a:cxn ang="0">
                  <a:pos x="T0" y="T1"/>
                </a:cxn>
                <a:cxn ang="0">
                  <a:pos x="T2" y="T3"/>
                </a:cxn>
                <a:cxn ang="0">
                  <a:pos x="T4" y="T5"/>
                </a:cxn>
                <a:cxn ang="0">
                  <a:pos x="T6" y="T7"/>
                </a:cxn>
                <a:cxn ang="0">
                  <a:pos x="T8" y="T9"/>
                </a:cxn>
                <a:cxn ang="0">
                  <a:pos x="T10" y="T11"/>
                </a:cxn>
              </a:cxnLst>
              <a:rect l="0" t="0" r="r" b="b"/>
              <a:pathLst>
                <a:path w="59" h="59">
                  <a:moveTo>
                    <a:pt x="29" y="0"/>
                  </a:moveTo>
                  <a:lnTo>
                    <a:pt x="29" y="0"/>
                  </a:lnTo>
                  <a:cubicBezTo>
                    <a:pt x="29" y="0"/>
                    <a:pt x="29" y="0"/>
                    <a:pt x="0" y="0"/>
                  </a:cubicBezTo>
                  <a:cubicBezTo>
                    <a:pt x="29" y="0"/>
                    <a:pt x="29" y="29"/>
                    <a:pt x="29" y="58"/>
                  </a:cubicBezTo>
                  <a:cubicBezTo>
                    <a:pt x="58" y="58"/>
                    <a:pt x="58" y="58"/>
                    <a:pt x="58" y="58"/>
                  </a:cubicBezTo>
                  <a:cubicBezTo>
                    <a:pt x="58" y="29"/>
                    <a:pt x="58" y="29"/>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55" name="Freeform 292">
              <a:extLst>
                <a:ext uri="{FF2B5EF4-FFF2-40B4-BE49-F238E27FC236}">
                  <a16:creationId xmlns:a16="http://schemas.microsoft.com/office/drawing/2014/main" id="{D21D553D-D23B-408E-A301-030D636AEB14}"/>
                </a:ext>
              </a:extLst>
            </p:cNvPr>
            <p:cNvSpPr>
              <a:spLocks noChangeArrowheads="1"/>
            </p:cNvSpPr>
            <p:nvPr/>
          </p:nvSpPr>
          <p:spPr bwMode="auto">
            <a:xfrm>
              <a:off x="11448601" y="1776975"/>
              <a:ext cx="11415" cy="1619"/>
            </a:xfrm>
            <a:custGeom>
              <a:avLst/>
              <a:gdLst>
                <a:gd name="T0" fmla="*/ 0 w 30"/>
                <a:gd name="T1" fmla="*/ 0 h 1"/>
                <a:gd name="T2" fmla="*/ 0 w 30"/>
                <a:gd name="T3" fmla="*/ 0 h 1"/>
                <a:gd name="T4" fmla="*/ 0 w 30"/>
                <a:gd name="T5" fmla="*/ 0 h 1"/>
                <a:gd name="T6" fmla="*/ 29 w 30"/>
                <a:gd name="T7" fmla="*/ 0 h 1"/>
                <a:gd name="T8" fmla="*/ 0 w 30"/>
                <a:gd name="T9" fmla="*/ 0 h 1"/>
              </a:gdLst>
              <a:ahLst/>
              <a:cxnLst>
                <a:cxn ang="0">
                  <a:pos x="T0" y="T1"/>
                </a:cxn>
                <a:cxn ang="0">
                  <a:pos x="T2" y="T3"/>
                </a:cxn>
                <a:cxn ang="0">
                  <a:pos x="T4" y="T5"/>
                </a:cxn>
                <a:cxn ang="0">
                  <a:pos x="T6" y="T7"/>
                </a:cxn>
                <a:cxn ang="0">
                  <a:pos x="T8" y="T9"/>
                </a:cxn>
              </a:cxnLst>
              <a:rect l="0" t="0" r="r" b="b"/>
              <a:pathLst>
                <a:path w="30" h="1">
                  <a:moveTo>
                    <a:pt x="0" y="0"/>
                  </a:moveTo>
                  <a:lnTo>
                    <a:pt x="0" y="0"/>
                  </a:lnTo>
                  <a:lnTo>
                    <a:pt x="0" y="0"/>
                  </a:ln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56" name="Freeform 293">
              <a:extLst>
                <a:ext uri="{FF2B5EF4-FFF2-40B4-BE49-F238E27FC236}">
                  <a16:creationId xmlns:a16="http://schemas.microsoft.com/office/drawing/2014/main" id="{01F1DE26-D634-43AA-8A2D-A24BD2DF0D60}"/>
                </a:ext>
              </a:extLst>
            </p:cNvPr>
            <p:cNvSpPr>
              <a:spLocks noChangeArrowheads="1"/>
            </p:cNvSpPr>
            <p:nvPr/>
          </p:nvSpPr>
          <p:spPr bwMode="auto">
            <a:xfrm>
              <a:off x="10983809" y="1317372"/>
              <a:ext cx="539810" cy="835053"/>
            </a:xfrm>
            <a:custGeom>
              <a:avLst/>
              <a:gdLst>
                <a:gd name="T0" fmla="*/ 1459 w 1460"/>
                <a:gd name="T1" fmla="*/ 1050 h 2276"/>
                <a:gd name="T2" fmla="*/ 1284 w 1460"/>
                <a:gd name="T3" fmla="*/ 817 h 2276"/>
                <a:gd name="T4" fmla="*/ 1138 w 1460"/>
                <a:gd name="T5" fmla="*/ 758 h 2276"/>
                <a:gd name="T6" fmla="*/ 1021 w 1460"/>
                <a:gd name="T7" fmla="*/ 758 h 2276"/>
                <a:gd name="T8" fmla="*/ 847 w 1460"/>
                <a:gd name="T9" fmla="*/ 291 h 2276"/>
                <a:gd name="T10" fmla="*/ 730 w 1460"/>
                <a:gd name="T11" fmla="*/ 58 h 2276"/>
                <a:gd name="T12" fmla="*/ 642 w 1460"/>
                <a:gd name="T13" fmla="*/ 58 h 2276"/>
                <a:gd name="T14" fmla="*/ 584 w 1460"/>
                <a:gd name="T15" fmla="*/ 29 h 2276"/>
                <a:gd name="T16" fmla="*/ 497 w 1460"/>
                <a:gd name="T17" fmla="*/ 29 h 2276"/>
                <a:gd name="T18" fmla="*/ 321 w 1460"/>
                <a:gd name="T19" fmla="*/ 87 h 2276"/>
                <a:gd name="T20" fmla="*/ 293 w 1460"/>
                <a:gd name="T21" fmla="*/ 87 h 2276"/>
                <a:gd name="T22" fmla="*/ 234 w 1460"/>
                <a:gd name="T23" fmla="*/ 29 h 2276"/>
                <a:gd name="T24" fmla="*/ 117 w 1460"/>
                <a:gd name="T25" fmla="*/ 379 h 2276"/>
                <a:gd name="T26" fmla="*/ 59 w 1460"/>
                <a:gd name="T27" fmla="*/ 496 h 2276"/>
                <a:gd name="T28" fmla="*/ 117 w 1460"/>
                <a:gd name="T29" fmla="*/ 670 h 2276"/>
                <a:gd name="T30" fmla="*/ 147 w 1460"/>
                <a:gd name="T31" fmla="*/ 787 h 2276"/>
                <a:gd name="T32" fmla="*/ 117 w 1460"/>
                <a:gd name="T33" fmla="*/ 904 h 2276"/>
                <a:gd name="T34" fmla="*/ 147 w 1460"/>
                <a:gd name="T35" fmla="*/ 962 h 2276"/>
                <a:gd name="T36" fmla="*/ 88 w 1460"/>
                <a:gd name="T37" fmla="*/ 1050 h 2276"/>
                <a:gd name="T38" fmla="*/ 0 w 1460"/>
                <a:gd name="T39" fmla="*/ 1225 h 2276"/>
                <a:gd name="T40" fmla="*/ 380 w 1460"/>
                <a:gd name="T41" fmla="*/ 2246 h 2276"/>
                <a:gd name="T42" fmla="*/ 438 w 1460"/>
                <a:gd name="T43" fmla="*/ 2275 h 2276"/>
                <a:gd name="T44" fmla="*/ 467 w 1460"/>
                <a:gd name="T45" fmla="*/ 2129 h 2276"/>
                <a:gd name="T46" fmla="*/ 526 w 1460"/>
                <a:gd name="T47" fmla="*/ 2100 h 2276"/>
                <a:gd name="T48" fmla="*/ 497 w 1460"/>
                <a:gd name="T49" fmla="*/ 2012 h 2276"/>
                <a:gd name="T50" fmla="*/ 497 w 1460"/>
                <a:gd name="T51" fmla="*/ 2012 h 2276"/>
                <a:gd name="T52" fmla="*/ 584 w 1460"/>
                <a:gd name="T53" fmla="*/ 1954 h 2276"/>
                <a:gd name="T54" fmla="*/ 526 w 1460"/>
                <a:gd name="T55" fmla="*/ 1867 h 2276"/>
                <a:gd name="T56" fmla="*/ 526 w 1460"/>
                <a:gd name="T57" fmla="*/ 1837 h 2276"/>
                <a:gd name="T58" fmla="*/ 642 w 1460"/>
                <a:gd name="T59" fmla="*/ 1779 h 2276"/>
                <a:gd name="T60" fmla="*/ 671 w 1460"/>
                <a:gd name="T61" fmla="*/ 1808 h 2276"/>
                <a:gd name="T62" fmla="*/ 730 w 1460"/>
                <a:gd name="T63" fmla="*/ 1633 h 2276"/>
                <a:gd name="T64" fmla="*/ 730 w 1460"/>
                <a:gd name="T65" fmla="*/ 1633 h 2276"/>
                <a:gd name="T66" fmla="*/ 847 w 1460"/>
                <a:gd name="T67" fmla="*/ 1633 h 2276"/>
                <a:gd name="T68" fmla="*/ 847 w 1460"/>
                <a:gd name="T69" fmla="*/ 1575 h 2276"/>
                <a:gd name="T70" fmla="*/ 847 w 1460"/>
                <a:gd name="T71" fmla="*/ 1458 h 2276"/>
                <a:gd name="T72" fmla="*/ 876 w 1460"/>
                <a:gd name="T73" fmla="*/ 1283 h 2276"/>
                <a:gd name="T74" fmla="*/ 934 w 1460"/>
                <a:gd name="T75" fmla="*/ 1400 h 2276"/>
                <a:gd name="T76" fmla="*/ 992 w 1460"/>
                <a:gd name="T77" fmla="*/ 1341 h 2276"/>
                <a:gd name="T78" fmla="*/ 1080 w 1460"/>
                <a:gd name="T79" fmla="*/ 1370 h 2276"/>
                <a:gd name="T80" fmla="*/ 1109 w 1460"/>
                <a:gd name="T81" fmla="*/ 1283 h 2276"/>
                <a:gd name="T82" fmla="*/ 1138 w 1460"/>
                <a:gd name="T83" fmla="*/ 1283 h 2276"/>
                <a:gd name="T84" fmla="*/ 1167 w 1460"/>
                <a:gd name="T85" fmla="*/ 1312 h 2276"/>
                <a:gd name="T86" fmla="*/ 1167 w 1460"/>
                <a:gd name="T87" fmla="*/ 1283 h 2276"/>
                <a:gd name="T88" fmla="*/ 1197 w 1460"/>
                <a:gd name="T89" fmla="*/ 1225 h 2276"/>
                <a:gd name="T90" fmla="*/ 1255 w 1460"/>
                <a:gd name="T91" fmla="*/ 1196 h 2276"/>
                <a:gd name="T92" fmla="*/ 1255 w 1460"/>
                <a:gd name="T93" fmla="*/ 1196 h 2276"/>
                <a:gd name="T94" fmla="*/ 1314 w 1460"/>
                <a:gd name="T95" fmla="*/ 1196 h 2276"/>
                <a:gd name="T96" fmla="*/ 1314 w 1460"/>
                <a:gd name="T97" fmla="*/ 1137 h 2276"/>
                <a:gd name="T98" fmla="*/ 1459 w 1460"/>
                <a:gd name="T99" fmla="*/ 1050 h 2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60" h="2276">
                  <a:moveTo>
                    <a:pt x="1459" y="1050"/>
                  </a:moveTo>
                  <a:lnTo>
                    <a:pt x="1459" y="1050"/>
                  </a:lnTo>
                  <a:cubicBezTo>
                    <a:pt x="1400" y="1020"/>
                    <a:pt x="1371" y="962"/>
                    <a:pt x="1371" y="904"/>
                  </a:cubicBezTo>
                  <a:cubicBezTo>
                    <a:pt x="1342" y="875"/>
                    <a:pt x="1314" y="846"/>
                    <a:pt x="1284" y="817"/>
                  </a:cubicBezTo>
                  <a:cubicBezTo>
                    <a:pt x="1284" y="787"/>
                    <a:pt x="1284" y="787"/>
                    <a:pt x="1284" y="787"/>
                  </a:cubicBezTo>
                  <a:cubicBezTo>
                    <a:pt x="1226" y="787"/>
                    <a:pt x="1167" y="787"/>
                    <a:pt x="1138" y="758"/>
                  </a:cubicBezTo>
                  <a:cubicBezTo>
                    <a:pt x="1109" y="787"/>
                    <a:pt x="1080" y="787"/>
                    <a:pt x="1050" y="758"/>
                  </a:cubicBezTo>
                  <a:cubicBezTo>
                    <a:pt x="1021" y="758"/>
                    <a:pt x="1021" y="758"/>
                    <a:pt x="1021" y="758"/>
                  </a:cubicBezTo>
                  <a:lnTo>
                    <a:pt x="1021" y="758"/>
                  </a:lnTo>
                  <a:cubicBezTo>
                    <a:pt x="964" y="612"/>
                    <a:pt x="905" y="437"/>
                    <a:pt x="847" y="291"/>
                  </a:cubicBezTo>
                  <a:cubicBezTo>
                    <a:pt x="817" y="234"/>
                    <a:pt x="788" y="146"/>
                    <a:pt x="759" y="87"/>
                  </a:cubicBezTo>
                  <a:cubicBezTo>
                    <a:pt x="759" y="58"/>
                    <a:pt x="730" y="58"/>
                    <a:pt x="730" y="58"/>
                  </a:cubicBezTo>
                  <a:cubicBezTo>
                    <a:pt x="700" y="58"/>
                    <a:pt x="700" y="58"/>
                    <a:pt x="700" y="58"/>
                  </a:cubicBezTo>
                  <a:cubicBezTo>
                    <a:pt x="671" y="58"/>
                    <a:pt x="642" y="58"/>
                    <a:pt x="642" y="58"/>
                  </a:cubicBezTo>
                  <a:cubicBezTo>
                    <a:pt x="614" y="29"/>
                    <a:pt x="614" y="29"/>
                    <a:pt x="614" y="29"/>
                  </a:cubicBezTo>
                  <a:cubicBezTo>
                    <a:pt x="584" y="29"/>
                    <a:pt x="584" y="29"/>
                    <a:pt x="584" y="29"/>
                  </a:cubicBezTo>
                  <a:lnTo>
                    <a:pt x="555" y="29"/>
                  </a:lnTo>
                  <a:cubicBezTo>
                    <a:pt x="526" y="29"/>
                    <a:pt x="497" y="29"/>
                    <a:pt x="497" y="29"/>
                  </a:cubicBezTo>
                  <a:cubicBezTo>
                    <a:pt x="467" y="0"/>
                    <a:pt x="467" y="0"/>
                    <a:pt x="467" y="0"/>
                  </a:cubicBezTo>
                  <a:cubicBezTo>
                    <a:pt x="438" y="58"/>
                    <a:pt x="380" y="87"/>
                    <a:pt x="321" y="87"/>
                  </a:cubicBezTo>
                  <a:cubicBezTo>
                    <a:pt x="293" y="87"/>
                    <a:pt x="293" y="87"/>
                    <a:pt x="293" y="87"/>
                  </a:cubicBezTo>
                  <a:lnTo>
                    <a:pt x="293" y="87"/>
                  </a:lnTo>
                  <a:cubicBezTo>
                    <a:pt x="264" y="87"/>
                    <a:pt x="264" y="58"/>
                    <a:pt x="264" y="29"/>
                  </a:cubicBezTo>
                  <a:cubicBezTo>
                    <a:pt x="264" y="29"/>
                    <a:pt x="264" y="29"/>
                    <a:pt x="234" y="29"/>
                  </a:cubicBezTo>
                  <a:cubicBezTo>
                    <a:pt x="205" y="117"/>
                    <a:pt x="176" y="204"/>
                    <a:pt x="147" y="291"/>
                  </a:cubicBezTo>
                  <a:cubicBezTo>
                    <a:pt x="147" y="320"/>
                    <a:pt x="117" y="350"/>
                    <a:pt x="117" y="379"/>
                  </a:cubicBezTo>
                  <a:cubicBezTo>
                    <a:pt x="117" y="408"/>
                    <a:pt x="117" y="408"/>
                    <a:pt x="88" y="437"/>
                  </a:cubicBezTo>
                  <a:cubicBezTo>
                    <a:pt x="88" y="467"/>
                    <a:pt x="88" y="496"/>
                    <a:pt x="59" y="496"/>
                  </a:cubicBezTo>
                  <a:cubicBezTo>
                    <a:pt x="59" y="554"/>
                    <a:pt x="88" y="583"/>
                    <a:pt x="88" y="641"/>
                  </a:cubicBezTo>
                  <a:cubicBezTo>
                    <a:pt x="88" y="641"/>
                    <a:pt x="117" y="641"/>
                    <a:pt x="117" y="670"/>
                  </a:cubicBezTo>
                  <a:lnTo>
                    <a:pt x="117" y="700"/>
                  </a:lnTo>
                  <a:cubicBezTo>
                    <a:pt x="147" y="729"/>
                    <a:pt x="147" y="758"/>
                    <a:pt x="147" y="787"/>
                  </a:cubicBezTo>
                  <a:cubicBezTo>
                    <a:pt x="176" y="846"/>
                    <a:pt x="147" y="846"/>
                    <a:pt x="147" y="875"/>
                  </a:cubicBezTo>
                  <a:cubicBezTo>
                    <a:pt x="117" y="875"/>
                    <a:pt x="117" y="904"/>
                    <a:pt x="117" y="904"/>
                  </a:cubicBezTo>
                  <a:cubicBezTo>
                    <a:pt x="117" y="904"/>
                    <a:pt x="117" y="904"/>
                    <a:pt x="147" y="933"/>
                  </a:cubicBezTo>
                  <a:lnTo>
                    <a:pt x="147" y="962"/>
                  </a:lnTo>
                  <a:cubicBezTo>
                    <a:pt x="147" y="991"/>
                    <a:pt x="117" y="1020"/>
                    <a:pt x="88" y="1020"/>
                  </a:cubicBezTo>
                  <a:lnTo>
                    <a:pt x="88" y="1050"/>
                  </a:lnTo>
                  <a:cubicBezTo>
                    <a:pt x="88" y="1108"/>
                    <a:pt x="88" y="1137"/>
                    <a:pt x="59" y="1196"/>
                  </a:cubicBezTo>
                  <a:cubicBezTo>
                    <a:pt x="59" y="1196"/>
                    <a:pt x="30" y="1225"/>
                    <a:pt x="0" y="1225"/>
                  </a:cubicBezTo>
                  <a:cubicBezTo>
                    <a:pt x="59" y="1400"/>
                    <a:pt x="117" y="1575"/>
                    <a:pt x="176" y="1720"/>
                  </a:cubicBezTo>
                  <a:cubicBezTo>
                    <a:pt x="264" y="1896"/>
                    <a:pt x="321" y="2070"/>
                    <a:pt x="380" y="2246"/>
                  </a:cubicBezTo>
                  <a:cubicBezTo>
                    <a:pt x="380" y="2246"/>
                    <a:pt x="380" y="2246"/>
                    <a:pt x="409" y="2275"/>
                  </a:cubicBezTo>
                  <a:cubicBezTo>
                    <a:pt x="409" y="2275"/>
                    <a:pt x="409" y="2275"/>
                    <a:pt x="438" y="2275"/>
                  </a:cubicBezTo>
                  <a:cubicBezTo>
                    <a:pt x="438" y="2246"/>
                    <a:pt x="497" y="2187"/>
                    <a:pt x="467" y="2129"/>
                  </a:cubicBezTo>
                  <a:lnTo>
                    <a:pt x="467" y="2129"/>
                  </a:lnTo>
                  <a:cubicBezTo>
                    <a:pt x="467" y="2100"/>
                    <a:pt x="467" y="2100"/>
                    <a:pt x="467" y="2100"/>
                  </a:cubicBezTo>
                  <a:cubicBezTo>
                    <a:pt x="497" y="2100"/>
                    <a:pt x="497" y="2100"/>
                    <a:pt x="526" y="2100"/>
                  </a:cubicBezTo>
                  <a:lnTo>
                    <a:pt x="555" y="2070"/>
                  </a:lnTo>
                  <a:cubicBezTo>
                    <a:pt x="526" y="2070"/>
                    <a:pt x="497" y="2041"/>
                    <a:pt x="497" y="2012"/>
                  </a:cubicBezTo>
                  <a:lnTo>
                    <a:pt x="497" y="2012"/>
                  </a:lnTo>
                  <a:lnTo>
                    <a:pt x="497" y="2012"/>
                  </a:lnTo>
                  <a:cubicBezTo>
                    <a:pt x="526" y="1983"/>
                    <a:pt x="526" y="1983"/>
                    <a:pt x="555" y="1983"/>
                  </a:cubicBezTo>
                  <a:cubicBezTo>
                    <a:pt x="584" y="1954"/>
                    <a:pt x="584" y="1954"/>
                    <a:pt x="584" y="1954"/>
                  </a:cubicBezTo>
                  <a:cubicBezTo>
                    <a:pt x="584" y="1925"/>
                    <a:pt x="584" y="1925"/>
                    <a:pt x="584" y="1925"/>
                  </a:cubicBezTo>
                  <a:cubicBezTo>
                    <a:pt x="555" y="1896"/>
                    <a:pt x="526" y="1896"/>
                    <a:pt x="526" y="1867"/>
                  </a:cubicBezTo>
                  <a:cubicBezTo>
                    <a:pt x="526" y="1837"/>
                    <a:pt x="526" y="1837"/>
                    <a:pt x="526" y="1837"/>
                  </a:cubicBezTo>
                  <a:lnTo>
                    <a:pt x="526" y="1837"/>
                  </a:lnTo>
                  <a:cubicBezTo>
                    <a:pt x="555" y="1808"/>
                    <a:pt x="584" y="1779"/>
                    <a:pt x="642" y="1779"/>
                  </a:cubicBezTo>
                  <a:lnTo>
                    <a:pt x="642" y="1779"/>
                  </a:lnTo>
                  <a:lnTo>
                    <a:pt x="642" y="1779"/>
                  </a:lnTo>
                  <a:cubicBezTo>
                    <a:pt x="671" y="1779"/>
                    <a:pt x="671" y="1779"/>
                    <a:pt x="671" y="1808"/>
                  </a:cubicBezTo>
                  <a:cubicBezTo>
                    <a:pt x="671" y="1779"/>
                    <a:pt x="700" y="1750"/>
                    <a:pt x="700" y="1720"/>
                  </a:cubicBezTo>
                  <a:cubicBezTo>
                    <a:pt x="730" y="1691"/>
                    <a:pt x="730" y="1662"/>
                    <a:pt x="730" y="1633"/>
                  </a:cubicBezTo>
                  <a:lnTo>
                    <a:pt x="730" y="1633"/>
                  </a:lnTo>
                  <a:lnTo>
                    <a:pt x="730" y="1633"/>
                  </a:lnTo>
                  <a:cubicBezTo>
                    <a:pt x="759" y="1604"/>
                    <a:pt x="759" y="1604"/>
                    <a:pt x="788" y="1604"/>
                  </a:cubicBezTo>
                  <a:cubicBezTo>
                    <a:pt x="817" y="1604"/>
                    <a:pt x="817" y="1633"/>
                    <a:pt x="847" y="1633"/>
                  </a:cubicBezTo>
                  <a:cubicBezTo>
                    <a:pt x="847" y="1633"/>
                    <a:pt x="817" y="1633"/>
                    <a:pt x="817" y="1604"/>
                  </a:cubicBezTo>
                  <a:cubicBezTo>
                    <a:pt x="817" y="1604"/>
                    <a:pt x="847" y="1604"/>
                    <a:pt x="847" y="1575"/>
                  </a:cubicBezTo>
                  <a:lnTo>
                    <a:pt x="847" y="1575"/>
                  </a:lnTo>
                  <a:cubicBezTo>
                    <a:pt x="847" y="1546"/>
                    <a:pt x="847" y="1487"/>
                    <a:pt x="847" y="1458"/>
                  </a:cubicBezTo>
                  <a:cubicBezTo>
                    <a:pt x="817" y="1400"/>
                    <a:pt x="817" y="1341"/>
                    <a:pt x="847" y="1283"/>
                  </a:cubicBezTo>
                  <a:cubicBezTo>
                    <a:pt x="876" y="1283"/>
                    <a:pt x="876" y="1283"/>
                    <a:pt x="876" y="1283"/>
                  </a:cubicBezTo>
                  <a:lnTo>
                    <a:pt x="876" y="1283"/>
                  </a:lnTo>
                  <a:cubicBezTo>
                    <a:pt x="905" y="1312"/>
                    <a:pt x="934" y="1341"/>
                    <a:pt x="934" y="1400"/>
                  </a:cubicBezTo>
                  <a:cubicBezTo>
                    <a:pt x="934" y="1400"/>
                    <a:pt x="934" y="1400"/>
                    <a:pt x="964" y="1400"/>
                  </a:cubicBezTo>
                  <a:cubicBezTo>
                    <a:pt x="964" y="1370"/>
                    <a:pt x="964" y="1341"/>
                    <a:pt x="992" y="1341"/>
                  </a:cubicBezTo>
                  <a:cubicBezTo>
                    <a:pt x="1050" y="1312"/>
                    <a:pt x="1050" y="1341"/>
                    <a:pt x="1080" y="1370"/>
                  </a:cubicBezTo>
                  <a:lnTo>
                    <a:pt x="1080" y="1370"/>
                  </a:lnTo>
                  <a:cubicBezTo>
                    <a:pt x="1080" y="1341"/>
                    <a:pt x="1080" y="1341"/>
                    <a:pt x="1080" y="1312"/>
                  </a:cubicBezTo>
                  <a:cubicBezTo>
                    <a:pt x="1080" y="1312"/>
                    <a:pt x="1080" y="1283"/>
                    <a:pt x="1109" y="1283"/>
                  </a:cubicBezTo>
                  <a:lnTo>
                    <a:pt x="1109" y="1283"/>
                  </a:lnTo>
                  <a:cubicBezTo>
                    <a:pt x="1138" y="1283"/>
                    <a:pt x="1138" y="1283"/>
                    <a:pt x="1138" y="1283"/>
                  </a:cubicBezTo>
                  <a:cubicBezTo>
                    <a:pt x="1138" y="1283"/>
                    <a:pt x="1138" y="1312"/>
                    <a:pt x="1167" y="1312"/>
                  </a:cubicBezTo>
                  <a:lnTo>
                    <a:pt x="1167" y="1312"/>
                  </a:lnTo>
                  <a:lnTo>
                    <a:pt x="1167" y="1312"/>
                  </a:lnTo>
                  <a:cubicBezTo>
                    <a:pt x="1167" y="1283"/>
                    <a:pt x="1167" y="1283"/>
                    <a:pt x="1167" y="1283"/>
                  </a:cubicBezTo>
                  <a:lnTo>
                    <a:pt x="1197" y="1283"/>
                  </a:lnTo>
                  <a:cubicBezTo>
                    <a:pt x="1197" y="1254"/>
                    <a:pt x="1197" y="1254"/>
                    <a:pt x="1197" y="1225"/>
                  </a:cubicBezTo>
                  <a:lnTo>
                    <a:pt x="1197" y="1225"/>
                  </a:lnTo>
                  <a:cubicBezTo>
                    <a:pt x="1197" y="1196"/>
                    <a:pt x="1226" y="1196"/>
                    <a:pt x="1255" y="1196"/>
                  </a:cubicBezTo>
                  <a:lnTo>
                    <a:pt x="1255" y="1196"/>
                  </a:lnTo>
                  <a:lnTo>
                    <a:pt x="1255" y="1196"/>
                  </a:lnTo>
                  <a:cubicBezTo>
                    <a:pt x="1284" y="1196"/>
                    <a:pt x="1284" y="1196"/>
                    <a:pt x="1284" y="1196"/>
                  </a:cubicBezTo>
                  <a:cubicBezTo>
                    <a:pt x="1314" y="1196"/>
                    <a:pt x="1314" y="1196"/>
                    <a:pt x="1314" y="1196"/>
                  </a:cubicBezTo>
                  <a:lnTo>
                    <a:pt x="1314" y="1167"/>
                  </a:lnTo>
                  <a:cubicBezTo>
                    <a:pt x="1314" y="1137"/>
                    <a:pt x="1314" y="1137"/>
                    <a:pt x="1314" y="1137"/>
                  </a:cubicBezTo>
                  <a:cubicBezTo>
                    <a:pt x="1342" y="1137"/>
                    <a:pt x="1342" y="1137"/>
                    <a:pt x="1342" y="1137"/>
                  </a:cubicBezTo>
                  <a:cubicBezTo>
                    <a:pt x="1400" y="1137"/>
                    <a:pt x="1430" y="1108"/>
                    <a:pt x="1459" y="105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57" name="Freeform 294">
              <a:extLst>
                <a:ext uri="{FF2B5EF4-FFF2-40B4-BE49-F238E27FC236}">
                  <a16:creationId xmlns:a16="http://schemas.microsoft.com/office/drawing/2014/main" id="{C61FC626-59FA-4DDF-8C2C-2C59EB774CC0}"/>
                </a:ext>
              </a:extLst>
            </p:cNvPr>
            <p:cNvSpPr>
              <a:spLocks noChangeArrowheads="1"/>
            </p:cNvSpPr>
            <p:nvPr/>
          </p:nvSpPr>
          <p:spPr bwMode="auto">
            <a:xfrm>
              <a:off x="10639701" y="3811204"/>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58" name="Freeform 295">
              <a:extLst>
                <a:ext uri="{FF2B5EF4-FFF2-40B4-BE49-F238E27FC236}">
                  <a16:creationId xmlns:a16="http://schemas.microsoft.com/office/drawing/2014/main" id="{0F56584B-7F45-42A0-AC88-D94E2D96420C}"/>
                </a:ext>
              </a:extLst>
            </p:cNvPr>
            <p:cNvSpPr>
              <a:spLocks noChangeArrowheads="1"/>
            </p:cNvSpPr>
            <p:nvPr/>
          </p:nvSpPr>
          <p:spPr bwMode="auto">
            <a:xfrm>
              <a:off x="11394782" y="1809341"/>
              <a:ext cx="11416" cy="22656"/>
            </a:xfrm>
            <a:custGeom>
              <a:avLst/>
              <a:gdLst>
                <a:gd name="T0" fmla="*/ 29 w 30"/>
                <a:gd name="T1" fmla="*/ 59 h 60"/>
                <a:gd name="T2" fmla="*/ 29 w 30"/>
                <a:gd name="T3" fmla="*/ 59 h 60"/>
                <a:gd name="T4" fmla="*/ 0 w 30"/>
                <a:gd name="T5" fmla="*/ 29 h 60"/>
                <a:gd name="T6" fmla="*/ 0 w 30"/>
                <a:gd name="T7" fmla="*/ 0 h 60"/>
                <a:gd name="T8" fmla="*/ 0 w 30"/>
                <a:gd name="T9" fmla="*/ 29 h 60"/>
                <a:gd name="T10" fmla="*/ 29 w 30"/>
                <a:gd name="T11" fmla="*/ 59 h 60"/>
              </a:gdLst>
              <a:ahLst/>
              <a:cxnLst>
                <a:cxn ang="0">
                  <a:pos x="T0" y="T1"/>
                </a:cxn>
                <a:cxn ang="0">
                  <a:pos x="T2" y="T3"/>
                </a:cxn>
                <a:cxn ang="0">
                  <a:pos x="T4" y="T5"/>
                </a:cxn>
                <a:cxn ang="0">
                  <a:pos x="T6" y="T7"/>
                </a:cxn>
                <a:cxn ang="0">
                  <a:pos x="T8" y="T9"/>
                </a:cxn>
                <a:cxn ang="0">
                  <a:pos x="T10" y="T11"/>
                </a:cxn>
              </a:cxnLst>
              <a:rect l="0" t="0" r="r" b="b"/>
              <a:pathLst>
                <a:path w="30" h="60">
                  <a:moveTo>
                    <a:pt x="29" y="59"/>
                  </a:moveTo>
                  <a:lnTo>
                    <a:pt x="29" y="59"/>
                  </a:lnTo>
                  <a:cubicBezTo>
                    <a:pt x="29" y="29"/>
                    <a:pt x="29" y="29"/>
                    <a:pt x="0" y="29"/>
                  </a:cubicBezTo>
                  <a:cubicBezTo>
                    <a:pt x="0" y="0"/>
                    <a:pt x="0" y="0"/>
                    <a:pt x="0" y="0"/>
                  </a:cubicBezTo>
                  <a:cubicBezTo>
                    <a:pt x="0" y="0"/>
                    <a:pt x="0" y="0"/>
                    <a:pt x="0" y="29"/>
                  </a:cubicBezTo>
                  <a:cubicBezTo>
                    <a:pt x="29" y="29"/>
                    <a:pt x="29" y="29"/>
                    <a:pt x="29"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59" name="Freeform 296">
              <a:extLst>
                <a:ext uri="{FF2B5EF4-FFF2-40B4-BE49-F238E27FC236}">
                  <a16:creationId xmlns:a16="http://schemas.microsoft.com/office/drawing/2014/main" id="{97A84332-C711-43A4-9283-FF8ED9D59EB8}"/>
                </a:ext>
              </a:extLst>
            </p:cNvPr>
            <p:cNvSpPr>
              <a:spLocks noChangeArrowheads="1"/>
            </p:cNvSpPr>
            <p:nvPr/>
          </p:nvSpPr>
          <p:spPr bwMode="auto">
            <a:xfrm>
              <a:off x="10639701" y="3756181"/>
              <a:ext cx="11415" cy="1618"/>
            </a:xfrm>
            <a:custGeom>
              <a:avLst/>
              <a:gdLst>
                <a:gd name="T0" fmla="*/ 30 w 31"/>
                <a:gd name="T1" fmla="*/ 0 h 1"/>
                <a:gd name="T2" fmla="*/ 30 w 31"/>
                <a:gd name="T3" fmla="*/ 0 h 1"/>
                <a:gd name="T4" fmla="*/ 0 w 31"/>
                <a:gd name="T5" fmla="*/ 0 h 1"/>
                <a:gd name="T6" fmla="*/ 30 w 31"/>
                <a:gd name="T7" fmla="*/ 0 h 1"/>
              </a:gdLst>
              <a:ahLst/>
              <a:cxnLst>
                <a:cxn ang="0">
                  <a:pos x="T0" y="T1"/>
                </a:cxn>
                <a:cxn ang="0">
                  <a:pos x="T2" y="T3"/>
                </a:cxn>
                <a:cxn ang="0">
                  <a:pos x="T4" y="T5"/>
                </a:cxn>
                <a:cxn ang="0">
                  <a:pos x="T6" y="T7"/>
                </a:cxn>
              </a:cxnLst>
              <a:rect l="0" t="0" r="r" b="b"/>
              <a:pathLst>
                <a:path w="31" h="1">
                  <a:moveTo>
                    <a:pt x="30" y="0"/>
                  </a:moveTo>
                  <a:lnTo>
                    <a:pt x="30" y="0"/>
                  </a:lnTo>
                  <a:cubicBezTo>
                    <a:pt x="30" y="0"/>
                    <a:pt x="30" y="0"/>
                    <a:pt x="0" y="0"/>
                  </a:cubicBezTo>
                  <a:cubicBezTo>
                    <a:pt x="30" y="0"/>
                    <a:pt x="3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60" name="Freeform 297">
              <a:extLst>
                <a:ext uri="{FF2B5EF4-FFF2-40B4-BE49-F238E27FC236}">
                  <a16:creationId xmlns:a16="http://schemas.microsoft.com/office/drawing/2014/main" id="{78E66A2B-F5B0-4420-B215-6DED402178B2}"/>
                </a:ext>
              </a:extLst>
            </p:cNvPr>
            <p:cNvSpPr>
              <a:spLocks noChangeArrowheads="1"/>
            </p:cNvSpPr>
            <p:nvPr/>
          </p:nvSpPr>
          <p:spPr bwMode="auto">
            <a:xfrm>
              <a:off x="10595668" y="3756181"/>
              <a:ext cx="1631" cy="11328"/>
            </a:xfrm>
            <a:custGeom>
              <a:avLst/>
              <a:gdLst>
                <a:gd name="T0" fmla="*/ 0 w 1"/>
                <a:gd name="T1" fmla="*/ 30 h 31"/>
                <a:gd name="T2" fmla="*/ 0 w 1"/>
                <a:gd name="T3" fmla="*/ 30 h 31"/>
                <a:gd name="T4" fmla="*/ 0 w 1"/>
                <a:gd name="T5" fmla="*/ 30 h 31"/>
                <a:gd name="T6" fmla="*/ 0 w 1"/>
                <a:gd name="T7" fmla="*/ 0 h 31"/>
                <a:gd name="T8" fmla="*/ 0 w 1"/>
                <a:gd name="T9" fmla="*/ 30 h 31"/>
              </a:gdLst>
              <a:ahLst/>
              <a:cxnLst>
                <a:cxn ang="0">
                  <a:pos x="T0" y="T1"/>
                </a:cxn>
                <a:cxn ang="0">
                  <a:pos x="T2" y="T3"/>
                </a:cxn>
                <a:cxn ang="0">
                  <a:pos x="T4" y="T5"/>
                </a:cxn>
                <a:cxn ang="0">
                  <a:pos x="T6" y="T7"/>
                </a:cxn>
                <a:cxn ang="0">
                  <a:pos x="T8" y="T9"/>
                </a:cxn>
              </a:cxnLst>
              <a:rect l="0" t="0" r="r" b="b"/>
              <a:pathLst>
                <a:path w="1" h="31">
                  <a:moveTo>
                    <a:pt x="0" y="30"/>
                  </a:moveTo>
                  <a:lnTo>
                    <a:pt x="0" y="30"/>
                  </a:lnTo>
                  <a:lnTo>
                    <a:pt x="0" y="30"/>
                  </a:lnTo>
                  <a:cubicBezTo>
                    <a:pt x="0" y="0"/>
                    <a:pt x="0" y="0"/>
                    <a:pt x="0" y="0"/>
                  </a:cubicBezTo>
                  <a:cubicBezTo>
                    <a:pt x="0" y="0"/>
                    <a:pt x="0" y="0"/>
                    <a:pt x="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61" name="Freeform 298">
              <a:extLst>
                <a:ext uri="{FF2B5EF4-FFF2-40B4-BE49-F238E27FC236}">
                  <a16:creationId xmlns:a16="http://schemas.microsoft.com/office/drawing/2014/main" id="{3F877A02-AE6B-4CB3-ABF1-1C1181F28EF6}"/>
                </a:ext>
              </a:extLst>
            </p:cNvPr>
            <p:cNvSpPr>
              <a:spLocks noChangeArrowheads="1"/>
            </p:cNvSpPr>
            <p:nvPr/>
          </p:nvSpPr>
          <p:spPr bwMode="auto">
            <a:xfrm>
              <a:off x="10595668" y="3735142"/>
              <a:ext cx="11416" cy="11329"/>
            </a:xfrm>
            <a:custGeom>
              <a:avLst/>
              <a:gdLst>
                <a:gd name="T0" fmla="*/ 0 w 31"/>
                <a:gd name="T1" fmla="*/ 29 h 30"/>
                <a:gd name="T2" fmla="*/ 0 w 31"/>
                <a:gd name="T3" fmla="*/ 29 h 30"/>
                <a:gd name="T4" fmla="*/ 30 w 31"/>
                <a:gd name="T5" fmla="*/ 0 h 30"/>
                <a:gd name="T6" fmla="*/ 0 w 31"/>
                <a:gd name="T7" fmla="*/ 29 h 30"/>
              </a:gdLst>
              <a:ahLst/>
              <a:cxnLst>
                <a:cxn ang="0">
                  <a:pos x="T0" y="T1"/>
                </a:cxn>
                <a:cxn ang="0">
                  <a:pos x="T2" y="T3"/>
                </a:cxn>
                <a:cxn ang="0">
                  <a:pos x="T4" y="T5"/>
                </a:cxn>
                <a:cxn ang="0">
                  <a:pos x="T6" y="T7"/>
                </a:cxn>
              </a:cxnLst>
              <a:rect l="0" t="0" r="r" b="b"/>
              <a:pathLst>
                <a:path w="31" h="30">
                  <a:moveTo>
                    <a:pt x="0" y="29"/>
                  </a:moveTo>
                  <a:lnTo>
                    <a:pt x="0" y="29"/>
                  </a:lnTo>
                  <a:lnTo>
                    <a:pt x="3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62" name="Freeform 299">
              <a:extLst>
                <a:ext uri="{FF2B5EF4-FFF2-40B4-BE49-F238E27FC236}">
                  <a16:creationId xmlns:a16="http://schemas.microsoft.com/office/drawing/2014/main" id="{5422B71B-4581-4FB8-81B6-E1420F2B91F8}"/>
                </a:ext>
              </a:extLst>
            </p:cNvPr>
            <p:cNvSpPr>
              <a:spLocks noChangeArrowheads="1"/>
            </p:cNvSpPr>
            <p:nvPr/>
          </p:nvSpPr>
          <p:spPr bwMode="auto">
            <a:xfrm>
              <a:off x="10639701" y="3714104"/>
              <a:ext cx="1630"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63" name="Freeform 300">
              <a:extLst>
                <a:ext uri="{FF2B5EF4-FFF2-40B4-BE49-F238E27FC236}">
                  <a16:creationId xmlns:a16="http://schemas.microsoft.com/office/drawing/2014/main" id="{2A60FBEF-A9FB-4D77-ADF1-88360C06375E}"/>
                </a:ext>
              </a:extLst>
            </p:cNvPr>
            <p:cNvSpPr>
              <a:spLocks noChangeArrowheads="1"/>
            </p:cNvSpPr>
            <p:nvPr/>
          </p:nvSpPr>
          <p:spPr bwMode="auto">
            <a:xfrm>
              <a:off x="10693519" y="3767509"/>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64" name="Freeform 301">
              <a:extLst>
                <a:ext uri="{FF2B5EF4-FFF2-40B4-BE49-F238E27FC236}">
                  <a16:creationId xmlns:a16="http://schemas.microsoft.com/office/drawing/2014/main" id="{C3BE589C-BB1A-4426-9036-6A0522759C3E}"/>
                </a:ext>
              </a:extLst>
            </p:cNvPr>
            <p:cNvSpPr>
              <a:spLocks noChangeArrowheads="1"/>
            </p:cNvSpPr>
            <p:nvPr/>
          </p:nvSpPr>
          <p:spPr bwMode="auto">
            <a:xfrm>
              <a:off x="10660902" y="3735142"/>
              <a:ext cx="32617" cy="21039"/>
            </a:xfrm>
            <a:custGeom>
              <a:avLst/>
              <a:gdLst>
                <a:gd name="T0" fmla="*/ 88 w 89"/>
                <a:gd name="T1" fmla="*/ 58 h 59"/>
                <a:gd name="T2" fmla="*/ 88 w 89"/>
                <a:gd name="T3" fmla="*/ 58 h 59"/>
                <a:gd name="T4" fmla="*/ 0 w 89"/>
                <a:gd name="T5" fmla="*/ 0 h 59"/>
                <a:gd name="T6" fmla="*/ 88 w 89"/>
                <a:gd name="T7" fmla="*/ 58 h 59"/>
              </a:gdLst>
              <a:ahLst/>
              <a:cxnLst>
                <a:cxn ang="0">
                  <a:pos x="T0" y="T1"/>
                </a:cxn>
                <a:cxn ang="0">
                  <a:pos x="T2" y="T3"/>
                </a:cxn>
                <a:cxn ang="0">
                  <a:pos x="T4" y="T5"/>
                </a:cxn>
                <a:cxn ang="0">
                  <a:pos x="T6" y="T7"/>
                </a:cxn>
              </a:cxnLst>
              <a:rect l="0" t="0" r="r" b="b"/>
              <a:pathLst>
                <a:path w="89" h="59">
                  <a:moveTo>
                    <a:pt x="88" y="58"/>
                  </a:moveTo>
                  <a:lnTo>
                    <a:pt x="88" y="58"/>
                  </a:lnTo>
                  <a:cubicBezTo>
                    <a:pt x="29" y="58"/>
                    <a:pt x="29" y="29"/>
                    <a:pt x="0" y="0"/>
                  </a:cubicBezTo>
                  <a:cubicBezTo>
                    <a:pt x="29" y="29"/>
                    <a:pt x="29" y="58"/>
                    <a:pt x="88"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65" name="Freeform 302">
              <a:extLst>
                <a:ext uri="{FF2B5EF4-FFF2-40B4-BE49-F238E27FC236}">
                  <a16:creationId xmlns:a16="http://schemas.microsoft.com/office/drawing/2014/main" id="{B8A8288E-9AC5-464B-97CD-D8418440CCF6}"/>
                </a:ext>
              </a:extLst>
            </p:cNvPr>
            <p:cNvSpPr>
              <a:spLocks noChangeArrowheads="1"/>
            </p:cNvSpPr>
            <p:nvPr/>
          </p:nvSpPr>
          <p:spPr bwMode="auto">
            <a:xfrm>
              <a:off x="9344810" y="2333677"/>
              <a:ext cx="11415" cy="32366"/>
            </a:xfrm>
            <a:custGeom>
              <a:avLst/>
              <a:gdLst>
                <a:gd name="T0" fmla="*/ 30 w 31"/>
                <a:gd name="T1" fmla="*/ 59 h 89"/>
                <a:gd name="T2" fmla="*/ 30 w 31"/>
                <a:gd name="T3" fmla="*/ 59 h 89"/>
                <a:gd name="T4" fmla="*/ 30 w 31"/>
                <a:gd name="T5" fmla="*/ 88 h 89"/>
                <a:gd name="T6" fmla="*/ 30 w 31"/>
                <a:gd name="T7" fmla="*/ 59 h 89"/>
                <a:gd name="T8" fmla="*/ 0 w 31"/>
                <a:gd name="T9" fmla="*/ 0 h 89"/>
                <a:gd name="T10" fmla="*/ 30 w 31"/>
                <a:gd name="T11" fmla="*/ 59 h 89"/>
              </a:gdLst>
              <a:ahLst/>
              <a:cxnLst>
                <a:cxn ang="0">
                  <a:pos x="T0" y="T1"/>
                </a:cxn>
                <a:cxn ang="0">
                  <a:pos x="T2" y="T3"/>
                </a:cxn>
                <a:cxn ang="0">
                  <a:pos x="T4" y="T5"/>
                </a:cxn>
                <a:cxn ang="0">
                  <a:pos x="T6" y="T7"/>
                </a:cxn>
                <a:cxn ang="0">
                  <a:pos x="T8" y="T9"/>
                </a:cxn>
                <a:cxn ang="0">
                  <a:pos x="T10" y="T11"/>
                </a:cxn>
              </a:cxnLst>
              <a:rect l="0" t="0" r="r" b="b"/>
              <a:pathLst>
                <a:path w="31" h="89">
                  <a:moveTo>
                    <a:pt x="30" y="59"/>
                  </a:moveTo>
                  <a:lnTo>
                    <a:pt x="30" y="59"/>
                  </a:lnTo>
                  <a:cubicBezTo>
                    <a:pt x="30" y="88"/>
                    <a:pt x="30" y="88"/>
                    <a:pt x="30" y="88"/>
                  </a:cubicBezTo>
                  <a:cubicBezTo>
                    <a:pt x="30" y="88"/>
                    <a:pt x="30" y="88"/>
                    <a:pt x="30" y="59"/>
                  </a:cubicBezTo>
                  <a:cubicBezTo>
                    <a:pt x="0" y="59"/>
                    <a:pt x="0" y="30"/>
                    <a:pt x="0" y="0"/>
                  </a:cubicBezTo>
                  <a:cubicBezTo>
                    <a:pt x="0" y="30"/>
                    <a:pt x="0" y="59"/>
                    <a:pt x="30"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66" name="Freeform 303">
              <a:extLst>
                <a:ext uri="{FF2B5EF4-FFF2-40B4-BE49-F238E27FC236}">
                  <a16:creationId xmlns:a16="http://schemas.microsoft.com/office/drawing/2014/main" id="{A2884DC8-FDD6-4674-9A07-40641F1C05C2}"/>
                </a:ext>
              </a:extLst>
            </p:cNvPr>
            <p:cNvSpPr>
              <a:spLocks noChangeArrowheads="1"/>
            </p:cNvSpPr>
            <p:nvPr/>
          </p:nvSpPr>
          <p:spPr bwMode="auto">
            <a:xfrm>
              <a:off x="9863419" y="5233706"/>
              <a:ext cx="1630" cy="11329"/>
            </a:xfrm>
            <a:custGeom>
              <a:avLst/>
              <a:gdLst>
                <a:gd name="T0" fmla="*/ 0 w 1"/>
                <a:gd name="T1" fmla="*/ 29 h 30"/>
                <a:gd name="T2" fmla="*/ 0 w 1"/>
                <a:gd name="T3" fmla="*/ 29 h 30"/>
                <a:gd name="T4" fmla="*/ 0 w 1"/>
                <a:gd name="T5" fmla="*/ 0 h 30"/>
                <a:gd name="T6" fmla="*/ 0 w 1"/>
                <a:gd name="T7" fmla="*/ 0 h 30"/>
                <a:gd name="T8" fmla="*/ 0 w 1"/>
                <a:gd name="T9" fmla="*/ 29 h 30"/>
              </a:gdLst>
              <a:ahLst/>
              <a:cxnLst>
                <a:cxn ang="0">
                  <a:pos x="T0" y="T1"/>
                </a:cxn>
                <a:cxn ang="0">
                  <a:pos x="T2" y="T3"/>
                </a:cxn>
                <a:cxn ang="0">
                  <a:pos x="T4" y="T5"/>
                </a:cxn>
                <a:cxn ang="0">
                  <a:pos x="T6" y="T7"/>
                </a:cxn>
                <a:cxn ang="0">
                  <a:pos x="T8" y="T9"/>
                </a:cxn>
              </a:cxnLst>
              <a:rect l="0" t="0" r="r" b="b"/>
              <a:pathLst>
                <a:path w="1" h="30">
                  <a:moveTo>
                    <a:pt x="0" y="29"/>
                  </a:moveTo>
                  <a:lnTo>
                    <a:pt x="0" y="29"/>
                  </a:lnTo>
                  <a:lnTo>
                    <a:pt x="0" y="0"/>
                  </a:ln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67" name="Freeform 304">
              <a:extLst>
                <a:ext uri="{FF2B5EF4-FFF2-40B4-BE49-F238E27FC236}">
                  <a16:creationId xmlns:a16="http://schemas.microsoft.com/office/drawing/2014/main" id="{2F0ECC1F-2706-434F-AE09-4A9F14432058}"/>
                </a:ext>
              </a:extLst>
            </p:cNvPr>
            <p:cNvSpPr>
              <a:spLocks noChangeArrowheads="1"/>
            </p:cNvSpPr>
            <p:nvPr/>
          </p:nvSpPr>
          <p:spPr bwMode="auto">
            <a:xfrm>
              <a:off x="9819386" y="5031417"/>
              <a:ext cx="1631" cy="22656"/>
            </a:xfrm>
            <a:custGeom>
              <a:avLst/>
              <a:gdLst>
                <a:gd name="T0" fmla="*/ 0 w 1"/>
                <a:gd name="T1" fmla="*/ 0 h 60"/>
                <a:gd name="T2" fmla="*/ 0 w 1"/>
                <a:gd name="T3" fmla="*/ 0 h 60"/>
                <a:gd name="T4" fmla="*/ 0 w 1"/>
                <a:gd name="T5" fmla="*/ 59 h 60"/>
                <a:gd name="T6" fmla="*/ 0 w 1"/>
                <a:gd name="T7" fmla="*/ 59 h 60"/>
                <a:gd name="T8" fmla="*/ 0 w 1"/>
                <a:gd name="T9" fmla="*/ 59 h 60"/>
                <a:gd name="T10" fmla="*/ 0 w 1"/>
                <a:gd name="T11" fmla="*/ 59 h 60"/>
                <a:gd name="T12" fmla="*/ 0 w 1"/>
                <a:gd name="T13" fmla="*/ 0 h 60"/>
              </a:gdLst>
              <a:ahLst/>
              <a:cxnLst>
                <a:cxn ang="0">
                  <a:pos x="T0" y="T1"/>
                </a:cxn>
                <a:cxn ang="0">
                  <a:pos x="T2" y="T3"/>
                </a:cxn>
                <a:cxn ang="0">
                  <a:pos x="T4" y="T5"/>
                </a:cxn>
                <a:cxn ang="0">
                  <a:pos x="T6" y="T7"/>
                </a:cxn>
                <a:cxn ang="0">
                  <a:pos x="T8" y="T9"/>
                </a:cxn>
                <a:cxn ang="0">
                  <a:pos x="T10" y="T11"/>
                </a:cxn>
                <a:cxn ang="0">
                  <a:pos x="T12" y="T13"/>
                </a:cxn>
              </a:cxnLst>
              <a:rect l="0" t="0" r="r" b="b"/>
              <a:pathLst>
                <a:path w="1" h="60">
                  <a:moveTo>
                    <a:pt x="0" y="0"/>
                  </a:moveTo>
                  <a:lnTo>
                    <a:pt x="0" y="0"/>
                  </a:lnTo>
                  <a:cubicBezTo>
                    <a:pt x="0" y="30"/>
                    <a:pt x="0" y="30"/>
                    <a:pt x="0" y="59"/>
                  </a:cubicBezTo>
                  <a:lnTo>
                    <a:pt x="0" y="59"/>
                  </a:lnTo>
                  <a:lnTo>
                    <a:pt x="0" y="59"/>
                  </a:lnTo>
                  <a:lnTo>
                    <a:pt x="0" y="59"/>
                  </a:lnTo>
                  <a:cubicBezTo>
                    <a:pt x="0" y="30"/>
                    <a:pt x="0" y="3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68" name="Freeform 305">
              <a:extLst>
                <a:ext uri="{FF2B5EF4-FFF2-40B4-BE49-F238E27FC236}">
                  <a16:creationId xmlns:a16="http://schemas.microsoft.com/office/drawing/2014/main" id="{ABDE7DCA-0CAA-428D-868F-7A0D097BDB44}"/>
                </a:ext>
              </a:extLst>
            </p:cNvPr>
            <p:cNvSpPr>
              <a:spLocks noChangeArrowheads="1"/>
            </p:cNvSpPr>
            <p:nvPr/>
          </p:nvSpPr>
          <p:spPr bwMode="auto">
            <a:xfrm>
              <a:off x="9905821" y="5277402"/>
              <a:ext cx="1630" cy="32366"/>
            </a:xfrm>
            <a:custGeom>
              <a:avLst/>
              <a:gdLst>
                <a:gd name="T0" fmla="*/ 0 w 1"/>
                <a:gd name="T1" fmla="*/ 88 h 89"/>
                <a:gd name="T2" fmla="*/ 0 w 1"/>
                <a:gd name="T3" fmla="*/ 88 h 89"/>
                <a:gd name="T4" fmla="*/ 0 w 1"/>
                <a:gd name="T5" fmla="*/ 0 h 89"/>
                <a:gd name="T6" fmla="*/ 0 w 1"/>
                <a:gd name="T7" fmla="*/ 88 h 89"/>
              </a:gdLst>
              <a:ahLst/>
              <a:cxnLst>
                <a:cxn ang="0">
                  <a:pos x="T0" y="T1"/>
                </a:cxn>
                <a:cxn ang="0">
                  <a:pos x="T2" y="T3"/>
                </a:cxn>
                <a:cxn ang="0">
                  <a:pos x="T4" y="T5"/>
                </a:cxn>
                <a:cxn ang="0">
                  <a:pos x="T6" y="T7"/>
                </a:cxn>
              </a:cxnLst>
              <a:rect l="0" t="0" r="r" b="b"/>
              <a:pathLst>
                <a:path w="1" h="89">
                  <a:moveTo>
                    <a:pt x="0" y="88"/>
                  </a:moveTo>
                  <a:lnTo>
                    <a:pt x="0" y="88"/>
                  </a:lnTo>
                  <a:cubicBezTo>
                    <a:pt x="0" y="59"/>
                    <a:pt x="0" y="29"/>
                    <a:pt x="0" y="0"/>
                  </a:cubicBezTo>
                  <a:cubicBezTo>
                    <a:pt x="0" y="29"/>
                    <a:pt x="0" y="59"/>
                    <a:pt x="0"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69" name="Freeform 306">
              <a:extLst>
                <a:ext uri="{FF2B5EF4-FFF2-40B4-BE49-F238E27FC236}">
                  <a16:creationId xmlns:a16="http://schemas.microsoft.com/office/drawing/2014/main" id="{1A64F9C1-6C4D-497B-91EA-DA41A1AE97DC}"/>
                </a:ext>
              </a:extLst>
            </p:cNvPr>
            <p:cNvSpPr>
              <a:spLocks noChangeArrowheads="1"/>
            </p:cNvSpPr>
            <p:nvPr/>
          </p:nvSpPr>
          <p:spPr bwMode="auto">
            <a:xfrm>
              <a:off x="9873204" y="5287112"/>
              <a:ext cx="11415" cy="22656"/>
            </a:xfrm>
            <a:custGeom>
              <a:avLst/>
              <a:gdLst>
                <a:gd name="T0" fmla="*/ 29 w 30"/>
                <a:gd name="T1" fmla="*/ 0 h 60"/>
                <a:gd name="T2" fmla="*/ 29 w 30"/>
                <a:gd name="T3" fmla="*/ 0 h 60"/>
                <a:gd name="T4" fmla="*/ 0 w 30"/>
                <a:gd name="T5" fmla="*/ 59 h 60"/>
                <a:gd name="T6" fmla="*/ 29 w 30"/>
                <a:gd name="T7" fmla="*/ 0 h 60"/>
              </a:gdLst>
              <a:ahLst/>
              <a:cxnLst>
                <a:cxn ang="0">
                  <a:pos x="T0" y="T1"/>
                </a:cxn>
                <a:cxn ang="0">
                  <a:pos x="T2" y="T3"/>
                </a:cxn>
                <a:cxn ang="0">
                  <a:pos x="T4" y="T5"/>
                </a:cxn>
                <a:cxn ang="0">
                  <a:pos x="T6" y="T7"/>
                </a:cxn>
              </a:cxnLst>
              <a:rect l="0" t="0" r="r" b="b"/>
              <a:pathLst>
                <a:path w="30" h="60">
                  <a:moveTo>
                    <a:pt x="29" y="0"/>
                  </a:moveTo>
                  <a:lnTo>
                    <a:pt x="29" y="0"/>
                  </a:lnTo>
                  <a:cubicBezTo>
                    <a:pt x="29" y="30"/>
                    <a:pt x="0" y="30"/>
                    <a:pt x="0" y="59"/>
                  </a:cubicBezTo>
                  <a:cubicBezTo>
                    <a:pt x="0" y="30"/>
                    <a:pt x="29" y="3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70" name="Freeform 307">
              <a:extLst>
                <a:ext uri="{FF2B5EF4-FFF2-40B4-BE49-F238E27FC236}">
                  <a16:creationId xmlns:a16="http://schemas.microsoft.com/office/drawing/2014/main" id="{84D9DE99-3642-4811-862E-AED248F52BE4}"/>
                </a:ext>
              </a:extLst>
            </p:cNvPr>
            <p:cNvSpPr>
              <a:spLocks noChangeArrowheads="1"/>
            </p:cNvSpPr>
            <p:nvPr/>
          </p:nvSpPr>
          <p:spPr bwMode="auto">
            <a:xfrm>
              <a:off x="9896036" y="5330806"/>
              <a:ext cx="1630" cy="11329"/>
            </a:xfrm>
            <a:custGeom>
              <a:avLst/>
              <a:gdLst>
                <a:gd name="T0" fmla="*/ 0 w 1"/>
                <a:gd name="T1" fmla="*/ 30 h 31"/>
                <a:gd name="T2" fmla="*/ 0 w 1"/>
                <a:gd name="T3" fmla="*/ 30 h 31"/>
                <a:gd name="T4" fmla="*/ 0 w 1"/>
                <a:gd name="T5" fmla="*/ 30 h 31"/>
                <a:gd name="T6" fmla="*/ 0 w 1"/>
                <a:gd name="T7" fmla="*/ 0 h 31"/>
                <a:gd name="T8" fmla="*/ 0 w 1"/>
                <a:gd name="T9" fmla="*/ 30 h 31"/>
              </a:gdLst>
              <a:ahLst/>
              <a:cxnLst>
                <a:cxn ang="0">
                  <a:pos x="T0" y="T1"/>
                </a:cxn>
                <a:cxn ang="0">
                  <a:pos x="T2" y="T3"/>
                </a:cxn>
                <a:cxn ang="0">
                  <a:pos x="T4" y="T5"/>
                </a:cxn>
                <a:cxn ang="0">
                  <a:pos x="T6" y="T7"/>
                </a:cxn>
                <a:cxn ang="0">
                  <a:pos x="T8" y="T9"/>
                </a:cxn>
              </a:cxnLst>
              <a:rect l="0" t="0" r="r" b="b"/>
              <a:pathLst>
                <a:path w="1" h="31">
                  <a:moveTo>
                    <a:pt x="0" y="30"/>
                  </a:moveTo>
                  <a:lnTo>
                    <a:pt x="0" y="30"/>
                  </a:lnTo>
                  <a:lnTo>
                    <a:pt x="0" y="30"/>
                  </a:lnTo>
                  <a:lnTo>
                    <a:pt x="0" y="0"/>
                  </a:lnTo>
                  <a:lnTo>
                    <a:pt x="0" y="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71" name="Freeform 308">
              <a:extLst>
                <a:ext uri="{FF2B5EF4-FFF2-40B4-BE49-F238E27FC236}">
                  <a16:creationId xmlns:a16="http://schemas.microsoft.com/office/drawing/2014/main" id="{7CB7B3FB-7E5A-4F4A-B2A6-3F12A3729EA8}"/>
                </a:ext>
              </a:extLst>
            </p:cNvPr>
            <p:cNvSpPr>
              <a:spLocks noChangeArrowheads="1"/>
            </p:cNvSpPr>
            <p:nvPr/>
          </p:nvSpPr>
          <p:spPr bwMode="auto">
            <a:xfrm>
              <a:off x="9884620" y="5277402"/>
              <a:ext cx="11416" cy="11328"/>
            </a:xfrm>
            <a:custGeom>
              <a:avLst/>
              <a:gdLst>
                <a:gd name="T0" fmla="*/ 29 w 30"/>
                <a:gd name="T1" fmla="*/ 29 h 30"/>
                <a:gd name="T2" fmla="*/ 29 w 30"/>
                <a:gd name="T3" fmla="*/ 29 h 30"/>
                <a:gd name="T4" fmla="*/ 0 w 30"/>
                <a:gd name="T5" fmla="*/ 0 h 30"/>
                <a:gd name="T6" fmla="*/ 29 w 30"/>
                <a:gd name="T7" fmla="*/ 29 h 30"/>
              </a:gdLst>
              <a:ahLst/>
              <a:cxnLst>
                <a:cxn ang="0">
                  <a:pos x="T0" y="T1"/>
                </a:cxn>
                <a:cxn ang="0">
                  <a:pos x="T2" y="T3"/>
                </a:cxn>
                <a:cxn ang="0">
                  <a:pos x="T4" y="T5"/>
                </a:cxn>
                <a:cxn ang="0">
                  <a:pos x="T6" y="T7"/>
                </a:cxn>
              </a:cxnLst>
              <a:rect l="0" t="0" r="r" b="b"/>
              <a:pathLst>
                <a:path w="30" h="30">
                  <a:moveTo>
                    <a:pt x="29" y="29"/>
                  </a:moveTo>
                  <a:lnTo>
                    <a:pt x="29" y="29"/>
                  </a:lnTo>
                  <a:lnTo>
                    <a:pt x="0" y="0"/>
                  </a:lnTo>
                  <a:lnTo>
                    <a:pt x="2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72" name="Freeform 309">
              <a:extLst>
                <a:ext uri="{FF2B5EF4-FFF2-40B4-BE49-F238E27FC236}">
                  <a16:creationId xmlns:a16="http://schemas.microsoft.com/office/drawing/2014/main" id="{A3D2354F-DB92-4A82-B301-6D9D136ECA23}"/>
                </a:ext>
              </a:extLst>
            </p:cNvPr>
            <p:cNvSpPr>
              <a:spLocks noChangeArrowheads="1"/>
            </p:cNvSpPr>
            <p:nvPr/>
          </p:nvSpPr>
          <p:spPr bwMode="auto">
            <a:xfrm>
              <a:off x="8115153" y="4966684"/>
              <a:ext cx="1630" cy="21038"/>
            </a:xfrm>
            <a:custGeom>
              <a:avLst/>
              <a:gdLst>
                <a:gd name="T0" fmla="*/ 0 w 1"/>
                <a:gd name="T1" fmla="*/ 29 h 59"/>
                <a:gd name="T2" fmla="*/ 0 w 1"/>
                <a:gd name="T3" fmla="*/ 29 h 59"/>
                <a:gd name="T4" fmla="*/ 0 w 1"/>
                <a:gd name="T5" fmla="*/ 58 h 59"/>
                <a:gd name="T6" fmla="*/ 0 w 1"/>
                <a:gd name="T7" fmla="*/ 0 h 59"/>
                <a:gd name="T8" fmla="*/ 0 w 1"/>
                <a:gd name="T9" fmla="*/ 29 h 59"/>
              </a:gdLst>
              <a:ahLst/>
              <a:cxnLst>
                <a:cxn ang="0">
                  <a:pos x="T0" y="T1"/>
                </a:cxn>
                <a:cxn ang="0">
                  <a:pos x="T2" y="T3"/>
                </a:cxn>
                <a:cxn ang="0">
                  <a:pos x="T4" y="T5"/>
                </a:cxn>
                <a:cxn ang="0">
                  <a:pos x="T6" y="T7"/>
                </a:cxn>
                <a:cxn ang="0">
                  <a:pos x="T8" y="T9"/>
                </a:cxn>
              </a:cxnLst>
              <a:rect l="0" t="0" r="r" b="b"/>
              <a:pathLst>
                <a:path w="1" h="59">
                  <a:moveTo>
                    <a:pt x="0" y="29"/>
                  </a:moveTo>
                  <a:lnTo>
                    <a:pt x="0" y="29"/>
                  </a:lnTo>
                  <a:lnTo>
                    <a:pt x="0" y="58"/>
                  </a:lnTo>
                  <a:cubicBezTo>
                    <a:pt x="0" y="29"/>
                    <a:pt x="0" y="0"/>
                    <a:pt x="0" y="0"/>
                  </a:cubicBez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73" name="Freeform 310">
              <a:extLst>
                <a:ext uri="{FF2B5EF4-FFF2-40B4-BE49-F238E27FC236}">
                  <a16:creationId xmlns:a16="http://schemas.microsoft.com/office/drawing/2014/main" id="{0C1082B4-DF34-4892-AB85-5E2E789F1C95}"/>
                </a:ext>
              </a:extLst>
            </p:cNvPr>
            <p:cNvSpPr>
              <a:spLocks noChangeArrowheads="1"/>
            </p:cNvSpPr>
            <p:nvPr/>
          </p:nvSpPr>
          <p:spPr bwMode="auto">
            <a:xfrm>
              <a:off x="9819386" y="5223997"/>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74" name="Freeform 311">
              <a:extLst>
                <a:ext uri="{FF2B5EF4-FFF2-40B4-BE49-F238E27FC236}">
                  <a16:creationId xmlns:a16="http://schemas.microsoft.com/office/drawing/2014/main" id="{03F2902E-6515-4FF1-9EEF-3B6D990C8F98}"/>
                </a:ext>
              </a:extLst>
            </p:cNvPr>
            <p:cNvSpPr>
              <a:spLocks noChangeArrowheads="1"/>
            </p:cNvSpPr>
            <p:nvPr/>
          </p:nvSpPr>
          <p:spPr bwMode="auto">
            <a:xfrm>
              <a:off x="9840587" y="5138226"/>
              <a:ext cx="11415" cy="43694"/>
            </a:xfrm>
            <a:custGeom>
              <a:avLst/>
              <a:gdLst>
                <a:gd name="T0" fmla="*/ 0 w 30"/>
                <a:gd name="T1" fmla="*/ 117 h 118"/>
                <a:gd name="T2" fmla="*/ 0 w 30"/>
                <a:gd name="T3" fmla="*/ 117 h 118"/>
                <a:gd name="T4" fmla="*/ 29 w 30"/>
                <a:gd name="T5" fmla="*/ 58 h 118"/>
                <a:gd name="T6" fmla="*/ 29 w 30"/>
                <a:gd name="T7" fmla="*/ 0 h 118"/>
                <a:gd name="T8" fmla="*/ 29 w 30"/>
                <a:gd name="T9" fmla="*/ 58 h 118"/>
                <a:gd name="T10" fmla="*/ 0 w 30"/>
                <a:gd name="T11" fmla="*/ 117 h 118"/>
              </a:gdLst>
              <a:ahLst/>
              <a:cxnLst>
                <a:cxn ang="0">
                  <a:pos x="T0" y="T1"/>
                </a:cxn>
                <a:cxn ang="0">
                  <a:pos x="T2" y="T3"/>
                </a:cxn>
                <a:cxn ang="0">
                  <a:pos x="T4" y="T5"/>
                </a:cxn>
                <a:cxn ang="0">
                  <a:pos x="T6" y="T7"/>
                </a:cxn>
                <a:cxn ang="0">
                  <a:pos x="T8" y="T9"/>
                </a:cxn>
                <a:cxn ang="0">
                  <a:pos x="T10" y="T11"/>
                </a:cxn>
              </a:cxnLst>
              <a:rect l="0" t="0" r="r" b="b"/>
              <a:pathLst>
                <a:path w="30" h="118">
                  <a:moveTo>
                    <a:pt x="0" y="117"/>
                  </a:moveTo>
                  <a:lnTo>
                    <a:pt x="0" y="117"/>
                  </a:lnTo>
                  <a:cubicBezTo>
                    <a:pt x="29" y="88"/>
                    <a:pt x="29" y="88"/>
                    <a:pt x="29" y="58"/>
                  </a:cubicBezTo>
                  <a:cubicBezTo>
                    <a:pt x="29" y="29"/>
                    <a:pt x="29" y="29"/>
                    <a:pt x="29" y="0"/>
                  </a:cubicBezTo>
                  <a:cubicBezTo>
                    <a:pt x="29" y="29"/>
                    <a:pt x="29" y="29"/>
                    <a:pt x="29" y="58"/>
                  </a:cubicBezTo>
                  <a:cubicBezTo>
                    <a:pt x="29" y="88"/>
                    <a:pt x="29" y="88"/>
                    <a:pt x="0"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75" name="Freeform 312">
              <a:extLst>
                <a:ext uri="{FF2B5EF4-FFF2-40B4-BE49-F238E27FC236}">
                  <a16:creationId xmlns:a16="http://schemas.microsoft.com/office/drawing/2014/main" id="{61DA1D1D-C1DA-4432-A0B7-7B0B1F2FAD01}"/>
                </a:ext>
              </a:extLst>
            </p:cNvPr>
            <p:cNvSpPr>
              <a:spLocks noChangeArrowheads="1"/>
            </p:cNvSpPr>
            <p:nvPr/>
          </p:nvSpPr>
          <p:spPr bwMode="auto">
            <a:xfrm>
              <a:off x="9830802" y="5212669"/>
              <a:ext cx="1630"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35" name="Freeform 313">
              <a:extLst>
                <a:ext uri="{FF2B5EF4-FFF2-40B4-BE49-F238E27FC236}">
                  <a16:creationId xmlns:a16="http://schemas.microsoft.com/office/drawing/2014/main" id="{99DC8E57-5622-4564-B2EC-AEC12D0F5FE8}"/>
                </a:ext>
              </a:extLst>
            </p:cNvPr>
            <p:cNvSpPr>
              <a:spLocks noChangeArrowheads="1"/>
            </p:cNvSpPr>
            <p:nvPr/>
          </p:nvSpPr>
          <p:spPr bwMode="auto">
            <a:xfrm>
              <a:off x="9819386" y="5233706"/>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36" name="Freeform 314">
              <a:extLst>
                <a:ext uri="{FF2B5EF4-FFF2-40B4-BE49-F238E27FC236}">
                  <a16:creationId xmlns:a16="http://schemas.microsoft.com/office/drawing/2014/main" id="{BF43AFB3-D00D-4B76-90D6-5D0ABED4BB37}"/>
                </a:ext>
              </a:extLst>
            </p:cNvPr>
            <p:cNvSpPr>
              <a:spLocks noChangeArrowheads="1"/>
            </p:cNvSpPr>
            <p:nvPr/>
          </p:nvSpPr>
          <p:spPr bwMode="auto">
            <a:xfrm>
              <a:off x="9830802" y="5212669"/>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37" name="Freeform 315">
              <a:extLst>
                <a:ext uri="{FF2B5EF4-FFF2-40B4-BE49-F238E27FC236}">
                  <a16:creationId xmlns:a16="http://schemas.microsoft.com/office/drawing/2014/main" id="{653180AA-4997-4262-AEF8-3030F72C2ECB}"/>
                </a:ext>
              </a:extLst>
            </p:cNvPr>
            <p:cNvSpPr>
              <a:spLocks noChangeArrowheads="1"/>
            </p:cNvSpPr>
            <p:nvPr/>
          </p:nvSpPr>
          <p:spPr bwMode="auto">
            <a:xfrm>
              <a:off x="9840587" y="5084821"/>
              <a:ext cx="11415" cy="32366"/>
            </a:xfrm>
            <a:custGeom>
              <a:avLst/>
              <a:gdLst>
                <a:gd name="T0" fmla="*/ 0 w 30"/>
                <a:gd name="T1" fmla="*/ 0 h 88"/>
                <a:gd name="T2" fmla="*/ 0 w 30"/>
                <a:gd name="T3" fmla="*/ 0 h 88"/>
                <a:gd name="T4" fmla="*/ 0 w 30"/>
                <a:gd name="T5" fmla="*/ 0 h 88"/>
                <a:gd name="T6" fmla="*/ 29 w 30"/>
                <a:gd name="T7" fmla="*/ 87 h 88"/>
                <a:gd name="T8" fmla="*/ 0 w 30"/>
                <a:gd name="T9" fmla="*/ 0 h 88"/>
              </a:gdLst>
              <a:ahLst/>
              <a:cxnLst>
                <a:cxn ang="0">
                  <a:pos x="T0" y="T1"/>
                </a:cxn>
                <a:cxn ang="0">
                  <a:pos x="T2" y="T3"/>
                </a:cxn>
                <a:cxn ang="0">
                  <a:pos x="T4" y="T5"/>
                </a:cxn>
                <a:cxn ang="0">
                  <a:pos x="T6" y="T7"/>
                </a:cxn>
                <a:cxn ang="0">
                  <a:pos x="T8" y="T9"/>
                </a:cxn>
              </a:cxnLst>
              <a:rect l="0" t="0" r="r" b="b"/>
              <a:pathLst>
                <a:path w="30" h="88">
                  <a:moveTo>
                    <a:pt x="0" y="0"/>
                  </a:moveTo>
                  <a:lnTo>
                    <a:pt x="0" y="0"/>
                  </a:lnTo>
                  <a:lnTo>
                    <a:pt x="0" y="0"/>
                  </a:lnTo>
                  <a:cubicBezTo>
                    <a:pt x="29" y="29"/>
                    <a:pt x="29" y="58"/>
                    <a:pt x="29" y="87"/>
                  </a:cubicBezTo>
                  <a:cubicBezTo>
                    <a:pt x="29" y="58"/>
                    <a:pt x="29"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38" name="Freeform 316">
              <a:extLst>
                <a:ext uri="{FF2B5EF4-FFF2-40B4-BE49-F238E27FC236}">
                  <a16:creationId xmlns:a16="http://schemas.microsoft.com/office/drawing/2014/main" id="{7CFA6465-AEEB-4FFD-8D7B-9B6361B0BF03}"/>
                </a:ext>
              </a:extLst>
            </p:cNvPr>
            <p:cNvSpPr>
              <a:spLocks noChangeArrowheads="1"/>
            </p:cNvSpPr>
            <p:nvPr/>
          </p:nvSpPr>
          <p:spPr bwMode="auto">
            <a:xfrm>
              <a:off x="9971055" y="5426287"/>
              <a:ext cx="21200" cy="1618"/>
            </a:xfrm>
            <a:custGeom>
              <a:avLst/>
              <a:gdLst>
                <a:gd name="T0" fmla="*/ 0 w 59"/>
                <a:gd name="T1" fmla="*/ 0 h 1"/>
                <a:gd name="T2" fmla="*/ 0 w 59"/>
                <a:gd name="T3" fmla="*/ 0 h 1"/>
                <a:gd name="T4" fmla="*/ 58 w 59"/>
                <a:gd name="T5" fmla="*/ 0 h 1"/>
                <a:gd name="T6" fmla="*/ 0 w 59"/>
                <a:gd name="T7" fmla="*/ 0 h 1"/>
              </a:gdLst>
              <a:ahLst/>
              <a:cxnLst>
                <a:cxn ang="0">
                  <a:pos x="T0" y="T1"/>
                </a:cxn>
                <a:cxn ang="0">
                  <a:pos x="T2" y="T3"/>
                </a:cxn>
                <a:cxn ang="0">
                  <a:pos x="T4" y="T5"/>
                </a:cxn>
                <a:cxn ang="0">
                  <a:pos x="T6" y="T7"/>
                </a:cxn>
              </a:cxnLst>
              <a:rect l="0" t="0" r="r" b="b"/>
              <a:pathLst>
                <a:path w="59" h="1">
                  <a:moveTo>
                    <a:pt x="0" y="0"/>
                  </a:moveTo>
                  <a:lnTo>
                    <a:pt x="0" y="0"/>
                  </a:lnTo>
                  <a:cubicBezTo>
                    <a:pt x="29" y="0"/>
                    <a:pt x="29" y="0"/>
                    <a:pt x="58"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39" name="Freeform 317">
              <a:extLst>
                <a:ext uri="{FF2B5EF4-FFF2-40B4-BE49-F238E27FC236}">
                  <a16:creationId xmlns:a16="http://schemas.microsoft.com/office/drawing/2014/main" id="{0596071E-A1AE-4F20-A5D3-2162C3813DD2}"/>
                </a:ext>
              </a:extLst>
            </p:cNvPr>
            <p:cNvSpPr>
              <a:spLocks noChangeArrowheads="1"/>
            </p:cNvSpPr>
            <p:nvPr/>
          </p:nvSpPr>
          <p:spPr bwMode="auto">
            <a:xfrm>
              <a:off x="9971055" y="5479691"/>
              <a:ext cx="11415" cy="1619"/>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0" y="0"/>
                    <a:pt x="0" y="0"/>
                    <a:pt x="29"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40" name="Freeform 318">
              <a:extLst>
                <a:ext uri="{FF2B5EF4-FFF2-40B4-BE49-F238E27FC236}">
                  <a16:creationId xmlns:a16="http://schemas.microsoft.com/office/drawing/2014/main" id="{CF5F8B21-A5CE-42BD-95D3-E100145386C6}"/>
                </a:ext>
              </a:extLst>
            </p:cNvPr>
            <p:cNvSpPr>
              <a:spLocks noChangeArrowheads="1"/>
            </p:cNvSpPr>
            <p:nvPr/>
          </p:nvSpPr>
          <p:spPr bwMode="auto">
            <a:xfrm>
              <a:off x="9971055" y="5426287"/>
              <a:ext cx="21200" cy="32366"/>
            </a:xfrm>
            <a:custGeom>
              <a:avLst/>
              <a:gdLst>
                <a:gd name="T0" fmla="*/ 0 w 59"/>
                <a:gd name="T1" fmla="*/ 86 h 87"/>
                <a:gd name="T2" fmla="*/ 0 w 59"/>
                <a:gd name="T3" fmla="*/ 86 h 87"/>
                <a:gd name="T4" fmla="*/ 0 w 59"/>
                <a:gd name="T5" fmla="*/ 86 h 87"/>
                <a:gd name="T6" fmla="*/ 0 w 59"/>
                <a:gd name="T7" fmla="*/ 86 h 87"/>
                <a:gd name="T8" fmla="*/ 0 w 59"/>
                <a:gd name="T9" fmla="*/ 86 h 87"/>
                <a:gd name="T10" fmla="*/ 29 w 59"/>
                <a:gd name="T11" fmla="*/ 29 h 87"/>
                <a:gd name="T12" fmla="*/ 58 w 59"/>
                <a:gd name="T13" fmla="*/ 0 h 87"/>
                <a:gd name="T14" fmla="*/ 58 w 59"/>
                <a:gd name="T15" fmla="*/ 0 h 87"/>
                <a:gd name="T16" fmla="*/ 29 w 59"/>
                <a:gd name="T17" fmla="*/ 29 h 87"/>
                <a:gd name="T18" fmla="*/ 0 w 59"/>
                <a:gd name="T19" fmla="*/ 8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87">
                  <a:moveTo>
                    <a:pt x="0" y="86"/>
                  </a:moveTo>
                  <a:lnTo>
                    <a:pt x="0" y="86"/>
                  </a:lnTo>
                  <a:lnTo>
                    <a:pt x="0" y="86"/>
                  </a:lnTo>
                  <a:lnTo>
                    <a:pt x="0" y="86"/>
                  </a:lnTo>
                  <a:lnTo>
                    <a:pt x="0" y="86"/>
                  </a:lnTo>
                  <a:cubicBezTo>
                    <a:pt x="0" y="58"/>
                    <a:pt x="29" y="58"/>
                    <a:pt x="29" y="29"/>
                  </a:cubicBezTo>
                  <a:cubicBezTo>
                    <a:pt x="58" y="29"/>
                    <a:pt x="58" y="29"/>
                    <a:pt x="58" y="0"/>
                  </a:cubicBezTo>
                  <a:lnTo>
                    <a:pt x="58" y="0"/>
                  </a:lnTo>
                  <a:cubicBezTo>
                    <a:pt x="58" y="29"/>
                    <a:pt x="58" y="29"/>
                    <a:pt x="29" y="29"/>
                  </a:cubicBezTo>
                  <a:cubicBezTo>
                    <a:pt x="29" y="58"/>
                    <a:pt x="0" y="58"/>
                    <a:pt x="0" y="8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41" name="Freeform 319">
              <a:extLst>
                <a:ext uri="{FF2B5EF4-FFF2-40B4-BE49-F238E27FC236}">
                  <a16:creationId xmlns:a16="http://schemas.microsoft.com/office/drawing/2014/main" id="{9DAA560D-CA4D-4478-9F8C-CA9B7A2AC674}"/>
                </a:ext>
              </a:extLst>
            </p:cNvPr>
            <p:cNvSpPr>
              <a:spLocks noChangeArrowheads="1"/>
            </p:cNvSpPr>
            <p:nvPr/>
          </p:nvSpPr>
          <p:spPr bwMode="auto">
            <a:xfrm>
              <a:off x="9992255" y="5469981"/>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42" name="Freeform 320">
              <a:extLst>
                <a:ext uri="{FF2B5EF4-FFF2-40B4-BE49-F238E27FC236}">
                  <a16:creationId xmlns:a16="http://schemas.microsoft.com/office/drawing/2014/main" id="{C7987B66-FAF6-40BA-BF9E-61F550572AB4}"/>
                </a:ext>
              </a:extLst>
            </p:cNvPr>
            <p:cNvSpPr>
              <a:spLocks noChangeArrowheads="1"/>
            </p:cNvSpPr>
            <p:nvPr/>
          </p:nvSpPr>
          <p:spPr bwMode="auto">
            <a:xfrm>
              <a:off x="9959638" y="5437615"/>
              <a:ext cx="1631" cy="11329"/>
            </a:xfrm>
            <a:custGeom>
              <a:avLst/>
              <a:gdLst>
                <a:gd name="T0" fmla="*/ 0 w 1"/>
                <a:gd name="T1" fmla="*/ 29 h 30"/>
                <a:gd name="T2" fmla="*/ 0 w 1"/>
                <a:gd name="T3" fmla="*/ 29 h 30"/>
                <a:gd name="T4" fmla="*/ 0 w 1"/>
                <a:gd name="T5" fmla="*/ 29 h 30"/>
                <a:gd name="T6" fmla="*/ 0 w 1"/>
                <a:gd name="T7" fmla="*/ 0 h 30"/>
                <a:gd name="T8" fmla="*/ 0 w 1"/>
                <a:gd name="T9" fmla="*/ 29 h 30"/>
              </a:gdLst>
              <a:ahLst/>
              <a:cxnLst>
                <a:cxn ang="0">
                  <a:pos x="T0" y="T1"/>
                </a:cxn>
                <a:cxn ang="0">
                  <a:pos x="T2" y="T3"/>
                </a:cxn>
                <a:cxn ang="0">
                  <a:pos x="T4" y="T5"/>
                </a:cxn>
                <a:cxn ang="0">
                  <a:pos x="T6" y="T7"/>
                </a:cxn>
                <a:cxn ang="0">
                  <a:pos x="T8" y="T9"/>
                </a:cxn>
              </a:cxnLst>
              <a:rect l="0" t="0" r="r" b="b"/>
              <a:pathLst>
                <a:path w="1" h="30">
                  <a:moveTo>
                    <a:pt x="0" y="29"/>
                  </a:moveTo>
                  <a:lnTo>
                    <a:pt x="0" y="29"/>
                  </a:lnTo>
                  <a:lnTo>
                    <a:pt x="0" y="29"/>
                  </a:lnTo>
                  <a:cubicBezTo>
                    <a:pt x="0" y="29"/>
                    <a:pt x="0" y="29"/>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43" name="Freeform 321">
              <a:extLst>
                <a:ext uri="{FF2B5EF4-FFF2-40B4-BE49-F238E27FC236}">
                  <a16:creationId xmlns:a16="http://schemas.microsoft.com/office/drawing/2014/main" id="{FB3127A4-9E3D-4386-956C-5101C676D229}"/>
                </a:ext>
              </a:extLst>
            </p:cNvPr>
            <p:cNvSpPr>
              <a:spLocks noChangeArrowheads="1"/>
            </p:cNvSpPr>
            <p:nvPr/>
          </p:nvSpPr>
          <p:spPr bwMode="auto">
            <a:xfrm>
              <a:off x="9938438" y="5458653"/>
              <a:ext cx="11415" cy="11328"/>
            </a:xfrm>
            <a:custGeom>
              <a:avLst/>
              <a:gdLst>
                <a:gd name="T0" fmla="*/ 0 w 30"/>
                <a:gd name="T1" fmla="*/ 30 h 31"/>
                <a:gd name="T2" fmla="*/ 0 w 30"/>
                <a:gd name="T3" fmla="*/ 0 h 31"/>
                <a:gd name="T4" fmla="*/ 29 w 30"/>
                <a:gd name="T5" fmla="*/ 30 h 31"/>
                <a:gd name="T6" fmla="*/ 0 w 30"/>
                <a:gd name="T7" fmla="*/ 0 h 31"/>
                <a:gd name="T8" fmla="*/ 0 w 30"/>
                <a:gd name="T9" fmla="*/ 30 h 31"/>
              </a:gdLst>
              <a:ahLst/>
              <a:cxnLst>
                <a:cxn ang="0">
                  <a:pos x="T0" y="T1"/>
                </a:cxn>
                <a:cxn ang="0">
                  <a:pos x="T2" y="T3"/>
                </a:cxn>
                <a:cxn ang="0">
                  <a:pos x="T4" y="T5"/>
                </a:cxn>
                <a:cxn ang="0">
                  <a:pos x="T6" y="T7"/>
                </a:cxn>
                <a:cxn ang="0">
                  <a:pos x="T8" y="T9"/>
                </a:cxn>
              </a:cxnLst>
              <a:rect l="0" t="0" r="r" b="b"/>
              <a:pathLst>
                <a:path w="30" h="31">
                  <a:moveTo>
                    <a:pt x="0" y="30"/>
                  </a:moveTo>
                  <a:lnTo>
                    <a:pt x="0" y="0"/>
                  </a:lnTo>
                  <a:lnTo>
                    <a:pt x="29" y="30"/>
                  </a:lnTo>
                  <a:lnTo>
                    <a:pt x="0" y="0"/>
                  </a:lnTo>
                  <a:lnTo>
                    <a:pt x="0" y="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44" name="Freeform 322">
              <a:extLst>
                <a:ext uri="{FF2B5EF4-FFF2-40B4-BE49-F238E27FC236}">
                  <a16:creationId xmlns:a16="http://schemas.microsoft.com/office/drawing/2014/main" id="{75FC835C-6B20-4FB4-A1D9-C5968D4D6EB7}"/>
                </a:ext>
              </a:extLst>
            </p:cNvPr>
            <p:cNvSpPr>
              <a:spLocks noChangeArrowheads="1"/>
            </p:cNvSpPr>
            <p:nvPr/>
          </p:nvSpPr>
          <p:spPr bwMode="auto">
            <a:xfrm>
              <a:off x="10143924" y="5683599"/>
              <a:ext cx="44032" cy="32366"/>
            </a:xfrm>
            <a:custGeom>
              <a:avLst/>
              <a:gdLst>
                <a:gd name="T0" fmla="*/ 0 w 118"/>
                <a:gd name="T1" fmla="*/ 86 h 87"/>
                <a:gd name="T2" fmla="*/ 0 w 118"/>
                <a:gd name="T3" fmla="*/ 86 h 87"/>
                <a:gd name="T4" fmla="*/ 29 w 118"/>
                <a:gd name="T5" fmla="*/ 86 h 87"/>
                <a:gd name="T6" fmla="*/ 117 w 118"/>
                <a:gd name="T7" fmla="*/ 58 h 87"/>
                <a:gd name="T8" fmla="*/ 29 w 118"/>
                <a:gd name="T9" fmla="*/ 86 h 87"/>
                <a:gd name="T10" fmla="*/ 0 w 118"/>
                <a:gd name="T11" fmla="*/ 86 h 87"/>
                <a:gd name="T12" fmla="*/ 0 w 118"/>
                <a:gd name="T13" fmla="*/ 58 h 87"/>
                <a:gd name="T14" fmla="*/ 58 w 118"/>
                <a:gd name="T15" fmla="*/ 0 h 87"/>
                <a:gd name="T16" fmla="*/ 88 w 118"/>
                <a:gd name="T17" fmla="*/ 0 h 87"/>
                <a:gd name="T18" fmla="*/ 88 w 118"/>
                <a:gd name="T19" fmla="*/ 0 h 87"/>
                <a:gd name="T20" fmla="*/ 58 w 118"/>
                <a:gd name="T21" fmla="*/ 0 h 87"/>
                <a:gd name="T22" fmla="*/ 0 w 118"/>
                <a:gd name="T23" fmla="*/ 58 h 87"/>
                <a:gd name="T24" fmla="*/ 0 w 118"/>
                <a:gd name="T25" fmla="*/ 8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87">
                  <a:moveTo>
                    <a:pt x="0" y="86"/>
                  </a:moveTo>
                  <a:lnTo>
                    <a:pt x="0" y="86"/>
                  </a:lnTo>
                  <a:cubicBezTo>
                    <a:pt x="29" y="86"/>
                    <a:pt x="29" y="86"/>
                    <a:pt x="29" y="86"/>
                  </a:cubicBezTo>
                  <a:cubicBezTo>
                    <a:pt x="88" y="86"/>
                    <a:pt x="88" y="58"/>
                    <a:pt x="117" y="58"/>
                  </a:cubicBezTo>
                  <a:cubicBezTo>
                    <a:pt x="88" y="58"/>
                    <a:pt x="88" y="86"/>
                    <a:pt x="29" y="86"/>
                  </a:cubicBezTo>
                  <a:cubicBezTo>
                    <a:pt x="0" y="86"/>
                    <a:pt x="0" y="86"/>
                    <a:pt x="0" y="86"/>
                  </a:cubicBezTo>
                  <a:cubicBezTo>
                    <a:pt x="0" y="58"/>
                    <a:pt x="0" y="58"/>
                    <a:pt x="0" y="58"/>
                  </a:cubicBezTo>
                  <a:cubicBezTo>
                    <a:pt x="29" y="29"/>
                    <a:pt x="29" y="29"/>
                    <a:pt x="58" y="0"/>
                  </a:cubicBezTo>
                  <a:lnTo>
                    <a:pt x="88" y="0"/>
                  </a:lnTo>
                  <a:lnTo>
                    <a:pt x="88" y="0"/>
                  </a:lnTo>
                  <a:lnTo>
                    <a:pt x="58" y="0"/>
                  </a:lnTo>
                  <a:cubicBezTo>
                    <a:pt x="29" y="29"/>
                    <a:pt x="29" y="29"/>
                    <a:pt x="0" y="58"/>
                  </a:cubicBezTo>
                  <a:lnTo>
                    <a:pt x="0" y="8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45" name="Freeform 323">
              <a:extLst>
                <a:ext uri="{FF2B5EF4-FFF2-40B4-BE49-F238E27FC236}">
                  <a16:creationId xmlns:a16="http://schemas.microsoft.com/office/drawing/2014/main" id="{24354A9D-19DE-4EDB-BFDD-163D3ED60286}"/>
                </a:ext>
              </a:extLst>
            </p:cNvPr>
            <p:cNvSpPr>
              <a:spLocks noChangeArrowheads="1"/>
            </p:cNvSpPr>
            <p:nvPr/>
          </p:nvSpPr>
          <p:spPr bwMode="auto">
            <a:xfrm>
              <a:off x="9938438" y="5458653"/>
              <a:ext cx="21200" cy="1618"/>
            </a:xfrm>
            <a:custGeom>
              <a:avLst/>
              <a:gdLst>
                <a:gd name="T0" fmla="*/ 0 w 59"/>
                <a:gd name="T1" fmla="*/ 0 h 1"/>
                <a:gd name="T2" fmla="*/ 0 w 59"/>
                <a:gd name="T3" fmla="*/ 0 h 1"/>
                <a:gd name="T4" fmla="*/ 29 w 59"/>
                <a:gd name="T5" fmla="*/ 0 h 1"/>
                <a:gd name="T6" fmla="*/ 58 w 59"/>
                <a:gd name="T7" fmla="*/ 0 h 1"/>
                <a:gd name="T8" fmla="*/ 58 w 59"/>
                <a:gd name="T9" fmla="*/ 0 h 1"/>
                <a:gd name="T10" fmla="*/ 29 w 59"/>
                <a:gd name="T11" fmla="*/ 0 h 1"/>
                <a:gd name="T12" fmla="*/ 0 w 59"/>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59" h="1">
                  <a:moveTo>
                    <a:pt x="0" y="0"/>
                  </a:moveTo>
                  <a:lnTo>
                    <a:pt x="0" y="0"/>
                  </a:lnTo>
                  <a:cubicBezTo>
                    <a:pt x="29" y="0"/>
                    <a:pt x="29" y="0"/>
                    <a:pt x="29" y="0"/>
                  </a:cubicBezTo>
                  <a:cubicBezTo>
                    <a:pt x="58" y="0"/>
                    <a:pt x="58" y="0"/>
                    <a:pt x="58" y="0"/>
                  </a:cubicBezTo>
                  <a:lnTo>
                    <a:pt x="58" y="0"/>
                  </a:lnTo>
                  <a:cubicBezTo>
                    <a:pt x="29" y="0"/>
                    <a:pt x="29" y="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46" name="Freeform 324">
              <a:extLst>
                <a:ext uri="{FF2B5EF4-FFF2-40B4-BE49-F238E27FC236}">
                  <a16:creationId xmlns:a16="http://schemas.microsoft.com/office/drawing/2014/main" id="{3EF2DA82-6C10-4FA1-A85D-74CA0CC49C25}"/>
                </a:ext>
              </a:extLst>
            </p:cNvPr>
            <p:cNvSpPr>
              <a:spLocks noChangeArrowheads="1"/>
            </p:cNvSpPr>
            <p:nvPr/>
          </p:nvSpPr>
          <p:spPr bwMode="auto">
            <a:xfrm>
              <a:off x="9905821" y="5319478"/>
              <a:ext cx="11415" cy="11328"/>
            </a:xfrm>
            <a:custGeom>
              <a:avLst/>
              <a:gdLst>
                <a:gd name="T0" fmla="*/ 0 w 31"/>
                <a:gd name="T1" fmla="*/ 0 h 29"/>
                <a:gd name="T2" fmla="*/ 0 w 31"/>
                <a:gd name="T3" fmla="*/ 0 h 29"/>
                <a:gd name="T4" fmla="*/ 30 w 31"/>
                <a:gd name="T5" fmla="*/ 28 h 29"/>
                <a:gd name="T6" fmla="*/ 0 w 31"/>
                <a:gd name="T7" fmla="*/ 0 h 29"/>
              </a:gdLst>
              <a:ahLst/>
              <a:cxnLst>
                <a:cxn ang="0">
                  <a:pos x="T0" y="T1"/>
                </a:cxn>
                <a:cxn ang="0">
                  <a:pos x="T2" y="T3"/>
                </a:cxn>
                <a:cxn ang="0">
                  <a:pos x="T4" y="T5"/>
                </a:cxn>
                <a:cxn ang="0">
                  <a:pos x="T6" y="T7"/>
                </a:cxn>
              </a:cxnLst>
              <a:rect l="0" t="0" r="r" b="b"/>
              <a:pathLst>
                <a:path w="31" h="29">
                  <a:moveTo>
                    <a:pt x="0" y="0"/>
                  </a:moveTo>
                  <a:lnTo>
                    <a:pt x="0" y="0"/>
                  </a:lnTo>
                  <a:cubicBezTo>
                    <a:pt x="30" y="0"/>
                    <a:pt x="30" y="28"/>
                    <a:pt x="30" y="28"/>
                  </a:cubicBezTo>
                  <a:cubicBezTo>
                    <a:pt x="30" y="28"/>
                    <a:pt x="3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47" name="Freeform 325">
              <a:extLst>
                <a:ext uri="{FF2B5EF4-FFF2-40B4-BE49-F238E27FC236}">
                  <a16:creationId xmlns:a16="http://schemas.microsoft.com/office/drawing/2014/main" id="{4036808B-B5D9-45DE-B6BC-C41163F152B6}"/>
                </a:ext>
              </a:extLst>
            </p:cNvPr>
            <p:cNvSpPr>
              <a:spLocks noChangeArrowheads="1"/>
            </p:cNvSpPr>
            <p:nvPr/>
          </p:nvSpPr>
          <p:spPr bwMode="auto">
            <a:xfrm>
              <a:off x="9896036" y="5256363"/>
              <a:ext cx="11415" cy="11329"/>
            </a:xfrm>
            <a:custGeom>
              <a:avLst/>
              <a:gdLst>
                <a:gd name="T0" fmla="*/ 29 w 30"/>
                <a:gd name="T1" fmla="*/ 0 h 30"/>
                <a:gd name="T2" fmla="*/ 29 w 30"/>
                <a:gd name="T3" fmla="*/ 0 h 30"/>
                <a:gd name="T4" fmla="*/ 29 w 30"/>
                <a:gd name="T5" fmla="*/ 0 h 30"/>
                <a:gd name="T6" fmla="*/ 29 w 30"/>
                <a:gd name="T7" fmla="*/ 0 h 30"/>
                <a:gd name="T8" fmla="*/ 29 w 30"/>
                <a:gd name="T9" fmla="*/ 0 h 30"/>
                <a:gd name="T10" fmla="*/ 0 w 30"/>
                <a:gd name="T11" fmla="*/ 29 h 30"/>
                <a:gd name="T12" fmla="*/ 29 w 30"/>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0" h="30">
                  <a:moveTo>
                    <a:pt x="29" y="0"/>
                  </a:moveTo>
                  <a:lnTo>
                    <a:pt x="29" y="0"/>
                  </a:lnTo>
                  <a:lnTo>
                    <a:pt x="29" y="0"/>
                  </a:lnTo>
                  <a:lnTo>
                    <a:pt x="29" y="0"/>
                  </a:lnTo>
                  <a:lnTo>
                    <a:pt x="29" y="0"/>
                  </a:lnTo>
                  <a:cubicBezTo>
                    <a:pt x="0" y="0"/>
                    <a:pt x="0" y="0"/>
                    <a:pt x="0" y="29"/>
                  </a:cubicBez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48" name="Freeform 326">
              <a:extLst>
                <a:ext uri="{FF2B5EF4-FFF2-40B4-BE49-F238E27FC236}">
                  <a16:creationId xmlns:a16="http://schemas.microsoft.com/office/drawing/2014/main" id="{2A999B9C-140D-46CB-8A34-2B0821C6945C}"/>
                </a:ext>
              </a:extLst>
            </p:cNvPr>
            <p:cNvSpPr>
              <a:spLocks noChangeArrowheads="1"/>
            </p:cNvSpPr>
            <p:nvPr/>
          </p:nvSpPr>
          <p:spPr bwMode="auto">
            <a:xfrm>
              <a:off x="9917236" y="5330806"/>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49" name="Freeform 327">
              <a:extLst>
                <a:ext uri="{FF2B5EF4-FFF2-40B4-BE49-F238E27FC236}">
                  <a16:creationId xmlns:a16="http://schemas.microsoft.com/office/drawing/2014/main" id="{C0FA9BF2-94F2-438C-8812-5F651DE9021C}"/>
                </a:ext>
              </a:extLst>
            </p:cNvPr>
            <p:cNvSpPr>
              <a:spLocks noChangeArrowheads="1"/>
            </p:cNvSpPr>
            <p:nvPr/>
          </p:nvSpPr>
          <p:spPr bwMode="auto">
            <a:xfrm>
              <a:off x="9938438" y="5448944"/>
              <a:ext cx="1630" cy="11328"/>
            </a:xfrm>
            <a:custGeom>
              <a:avLst/>
              <a:gdLst>
                <a:gd name="T0" fmla="*/ 0 w 1"/>
                <a:gd name="T1" fmla="*/ 0 h 29"/>
                <a:gd name="T2" fmla="*/ 0 w 1"/>
                <a:gd name="T3" fmla="*/ 0 h 29"/>
                <a:gd name="T4" fmla="*/ 0 w 1"/>
                <a:gd name="T5" fmla="*/ 28 h 29"/>
                <a:gd name="T6" fmla="*/ 0 w 1"/>
                <a:gd name="T7" fmla="*/ 0 h 29"/>
              </a:gdLst>
              <a:ahLst/>
              <a:cxnLst>
                <a:cxn ang="0">
                  <a:pos x="T0" y="T1"/>
                </a:cxn>
                <a:cxn ang="0">
                  <a:pos x="T2" y="T3"/>
                </a:cxn>
                <a:cxn ang="0">
                  <a:pos x="T4" y="T5"/>
                </a:cxn>
                <a:cxn ang="0">
                  <a:pos x="T6" y="T7"/>
                </a:cxn>
              </a:cxnLst>
              <a:rect l="0" t="0" r="r" b="b"/>
              <a:pathLst>
                <a:path w="1" h="29">
                  <a:moveTo>
                    <a:pt x="0" y="0"/>
                  </a:moveTo>
                  <a:lnTo>
                    <a:pt x="0" y="0"/>
                  </a:lnTo>
                  <a:lnTo>
                    <a:pt x="0" y="28"/>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50" name="Freeform 328">
              <a:extLst>
                <a:ext uri="{FF2B5EF4-FFF2-40B4-BE49-F238E27FC236}">
                  <a16:creationId xmlns:a16="http://schemas.microsoft.com/office/drawing/2014/main" id="{C49B5F05-09CC-4780-8196-D37B2A3905B2}"/>
                </a:ext>
              </a:extLst>
            </p:cNvPr>
            <p:cNvSpPr>
              <a:spLocks noChangeArrowheads="1"/>
            </p:cNvSpPr>
            <p:nvPr/>
          </p:nvSpPr>
          <p:spPr bwMode="auto">
            <a:xfrm>
              <a:off x="9938438" y="5448944"/>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51" name="Freeform 329">
              <a:extLst>
                <a:ext uri="{FF2B5EF4-FFF2-40B4-BE49-F238E27FC236}">
                  <a16:creationId xmlns:a16="http://schemas.microsoft.com/office/drawing/2014/main" id="{745489AB-010C-472C-B135-7C459A12063A}"/>
                </a:ext>
              </a:extLst>
            </p:cNvPr>
            <p:cNvSpPr>
              <a:spLocks noChangeArrowheads="1"/>
            </p:cNvSpPr>
            <p:nvPr/>
          </p:nvSpPr>
          <p:spPr bwMode="auto">
            <a:xfrm>
              <a:off x="10207527" y="5748332"/>
              <a:ext cx="11416"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cubicBezTo>
                    <a:pt x="0" y="0"/>
                    <a:pt x="0" y="0"/>
                    <a:pt x="0" y="0"/>
                  </a:cubicBez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52" name="Freeform 330">
              <a:extLst>
                <a:ext uri="{FF2B5EF4-FFF2-40B4-BE49-F238E27FC236}">
                  <a16:creationId xmlns:a16="http://schemas.microsoft.com/office/drawing/2014/main" id="{B8F26FA3-2127-4FA3-8D8F-4C7E7DF9305D}"/>
                </a:ext>
              </a:extLst>
            </p:cNvPr>
            <p:cNvSpPr>
              <a:spLocks noChangeArrowheads="1"/>
            </p:cNvSpPr>
            <p:nvPr/>
          </p:nvSpPr>
          <p:spPr bwMode="auto">
            <a:xfrm>
              <a:off x="3834183" y="2869341"/>
              <a:ext cx="32617" cy="11328"/>
            </a:xfrm>
            <a:custGeom>
              <a:avLst/>
              <a:gdLst>
                <a:gd name="T0" fmla="*/ 87 w 88"/>
                <a:gd name="T1" fmla="*/ 0 h 30"/>
                <a:gd name="T2" fmla="*/ 87 w 88"/>
                <a:gd name="T3" fmla="*/ 0 h 30"/>
                <a:gd name="T4" fmla="*/ 58 w 88"/>
                <a:gd name="T5" fmla="*/ 0 h 30"/>
                <a:gd name="T6" fmla="*/ 58 w 88"/>
                <a:gd name="T7" fmla="*/ 0 h 30"/>
                <a:gd name="T8" fmla="*/ 58 w 88"/>
                <a:gd name="T9" fmla="*/ 0 h 30"/>
                <a:gd name="T10" fmla="*/ 87 w 88"/>
                <a:gd name="T11" fmla="*/ 0 h 30"/>
                <a:gd name="T12" fmla="*/ 29 w 88"/>
                <a:gd name="T13" fmla="*/ 0 h 30"/>
                <a:gd name="T14" fmla="*/ 0 w 88"/>
                <a:gd name="T15" fmla="*/ 0 h 30"/>
                <a:gd name="T16" fmla="*/ 0 w 88"/>
                <a:gd name="T17" fmla="*/ 0 h 30"/>
                <a:gd name="T18" fmla="*/ 0 w 88"/>
                <a:gd name="T19" fmla="*/ 29 h 30"/>
                <a:gd name="T20" fmla="*/ 0 w 88"/>
                <a:gd name="T21" fmla="*/ 29 h 30"/>
                <a:gd name="T22" fmla="*/ 0 w 88"/>
                <a:gd name="T23" fmla="*/ 29 h 30"/>
                <a:gd name="T24" fmla="*/ 0 w 88"/>
                <a:gd name="T25" fmla="*/ 0 h 30"/>
                <a:gd name="T26" fmla="*/ 0 w 88"/>
                <a:gd name="T27" fmla="*/ 0 h 30"/>
                <a:gd name="T28" fmla="*/ 29 w 88"/>
                <a:gd name="T29" fmla="*/ 0 h 30"/>
                <a:gd name="T30" fmla="*/ 87 w 88"/>
                <a:gd name="T3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30">
                  <a:moveTo>
                    <a:pt x="87" y="0"/>
                  </a:moveTo>
                  <a:lnTo>
                    <a:pt x="87" y="0"/>
                  </a:lnTo>
                  <a:cubicBezTo>
                    <a:pt x="87" y="0"/>
                    <a:pt x="87" y="0"/>
                    <a:pt x="58" y="0"/>
                  </a:cubicBezTo>
                  <a:lnTo>
                    <a:pt x="58" y="0"/>
                  </a:lnTo>
                  <a:lnTo>
                    <a:pt x="58" y="0"/>
                  </a:lnTo>
                  <a:cubicBezTo>
                    <a:pt x="87" y="0"/>
                    <a:pt x="87" y="0"/>
                    <a:pt x="87" y="0"/>
                  </a:cubicBezTo>
                  <a:cubicBezTo>
                    <a:pt x="58" y="0"/>
                    <a:pt x="58" y="0"/>
                    <a:pt x="29" y="0"/>
                  </a:cubicBezTo>
                  <a:cubicBezTo>
                    <a:pt x="29" y="0"/>
                    <a:pt x="29" y="0"/>
                    <a:pt x="0" y="0"/>
                  </a:cubicBezTo>
                  <a:lnTo>
                    <a:pt x="0" y="0"/>
                  </a:lnTo>
                  <a:cubicBezTo>
                    <a:pt x="0" y="29"/>
                    <a:pt x="0" y="29"/>
                    <a:pt x="0" y="29"/>
                  </a:cubicBezTo>
                  <a:lnTo>
                    <a:pt x="0" y="29"/>
                  </a:lnTo>
                  <a:lnTo>
                    <a:pt x="0" y="29"/>
                  </a:lnTo>
                  <a:cubicBezTo>
                    <a:pt x="0" y="0"/>
                    <a:pt x="0" y="0"/>
                    <a:pt x="0" y="0"/>
                  </a:cubicBezTo>
                  <a:lnTo>
                    <a:pt x="0" y="0"/>
                  </a:lnTo>
                  <a:cubicBezTo>
                    <a:pt x="29" y="0"/>
                    <a:pt x="29" y="0"/>
                    <a:pt x="29" y="0"/>
                  </a:cubicBezTo>
                  <a:cubicBezTo>
                    <a:pt x="58" y="0"/>
                    <a:pt x="87" y="0"/>
                    <a:pt x="8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53" name="Freeform 331">
              <a:extLst>
                <a:ext uri="{FF2B5EF4-FFF2-40B4-BE49-F238E27FC236}">
                  <a16:creationId xmlns:a16="http://schemas.microsoft.com/office/drawing/2014/main" id="{7648F96E-760D-41ED-8787-DF321AFA241E}"/>
                </a:ext>
              </a:extLst>
            </p:cNvPr>
            <p:cNvSpPr>
              <a:spLocks noChangeArrowheads="1"/>
            </p:cNvSpPr>
            <p:nvPr/>
          </p:nvSpPr>
          <p:spPr bwMode="auto">
            <a:xfrm>
              <a:off x="3780366" y="2911418"/>
              <a:ext cx="55449" cy="43694"/>
            </a:xfrm>
            <a:custGeom>
              <a:avLst/>
              <a:gdLst>
                <a:gd name="T0" fmla="*/ 117 w 148"/>
                <a:gd name="T1" fmla="*/ 0 h 117"/>
                <a:gd name="T2" fmla="*/ 117 w 148"/>
                <a:gd name="T3" fmla="*/ 0 h 117"/>
                <a:gd name="T4" fmla="*/ 88 w 148"/>
                <a:gd name="T5" fmla="*/ 0 h 117"/>
                <a:gd name="T6" fmla="*/ 0 w 148"/>
                <a:gd name="T7" fmla="*/ 57 h 117"/>
                <a:gd name="T8" fmla="*/ 0 w 148"/>
                <a:gd name="T9" fmla="*/ 57 h 117"/>
                <a:gd name="T10" fmla="*/ 0 w 148"/>
                <a:gd name="T11" fmla="*/ 87 h 117"/>
                <a:gd name="T12" fmla="*/ 0 w 148"/>
                <a:gd name="T13" fmla="*/ 116 h 117"/>
                <a:gd name="T14" fmla="*/ 0 w 148"/>
                <a:gd name="T15" fmla="*/ 87 h 117"/>
                <a:gd name="T16" fmla="*/ 0 w 148"/>
                <a:gd name="T17" fmla="*/ 57 h 117"/>
                <a:gd name="T18" fmla="*/ 0 w 148"/>
                <a:gd name="T19" fmla="*/ 57 h 117"/>
                <a:gd name="T20" fmla="*/ 88 w 148"/>
                <a:gd name="T21" fmla="*/ 0 h 117"/>
                <a:gd name="T22" fmla="*/ 117 w 148"/>
                <a:gd name="T23" fmla="*/ 0 h 117"/>
                <a:gd name="T24" fmla="*/ 117 w 148"/>
                <a:gd name="T25" fmla="*/ 29 h 117"/>
                <a:gd name="T26" fmla="*/ 147 w 148"/>
                <a:gd name="T27" fmla="*/ 57 h 117"/>
                <a:gd name="T28" fmla="*/ 117 w 148"/>
                <a:gd name="T29" fmla="*/ 29 h 117"/>
                <a:gd name="T30" fmla="*/ 117 w 148"/>
                <a:gd name="T3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8" h="117">
                  <a:moveTo>
                    <a:pt x="117" y="0"/>
                  </a:moveTo>
                  <a:lnTo>
                    <a:pt x="117" y="0"/>
                  </a:lnTo>
                  <a:cubicBezTo>
                    <a:pt x="88" y="0"/>
                    <a:pt x="88" y="0"/>
                    <a:pt x="88" y="0"/>
                  </a:cubicBezTo>
                  <a:cubicBezTo>
                    <a:pt x="59" y="29"/>
                    <a:pt x="30" y="29"/>
                    <a:pt x="0" y="57"/>
                  </a:cubicBezTo>
                  <a:lnTo>
                    <a:pt x="0" y="57"/>
                  </a:lnTo>
                  <a:cubicBezTo>
                    <a:pt x="0" y="87"/>
                    <a:pt x="0" y="87"/>
                    <a:pt x="0" y="87"/>
                  </a:cubicBezTo>
                  <a:cubicBezTo>
                    <a:pt x="0" y="87"/>
                    <a:pt x="0" y="87"/>
                    <a:pt x="0" y="116"/>
                  </a:cubicBezTo>
                  <a:cubicBezTo>
                    <a:pt x="0" y="87"/>
                    <a:pt x="0" y="87"/>
                    <a:pt x="0" y="87"/>
                  </a:cubicBezTo>
                  <a:cubicBezTo>
                    <a:pt x="0" y="57"/>
                    <a:pt x="0" y="57"/>
                    <a:pt x="0" y="57"/>
                  </a:cubicBezTo>
                  <a:lnTo>
                    <a:pt x="0" y="57"/>
                  </a:lnTo>
                  <a:cubicBezTo>
                    <a:pt x="30" y="29"/>
                    <a:pt x="59" y="29"/>
                    <a:pt x="88" y="0"/>
                  </a:cubicBezTo>
                  <a:cubicBezTo>
                    <a:pt x="117" y="0"/>
                    <a:pt x="117" y="0"/>
                    <a:pt x="117" y="0"/>
                  </a:cubicBezTo>
                  <a:cubicBezTo>
                    <a:pt x="117" y="29"/>
                    <a:pt x="117" y="29"/>
                    <a:pt x="117" y="29"/>
                  </a:cubicBezTo>
                  <a:cubicBezTo>
                    <a:pt x="117" y="29"/>
                    <a:pt x="117" y="29"/>
                    <a:pt x="147" y="57"/>
                  </a:cubicBezTo>
                  <a:cubicBezTo>
                    <a:pt x="117" y="29"/>
                    <a:pt x="117" y="29"/>
                    <a:pt x="117" y="29"/>
                  </a:cubicBezTo>
                  <a:lnTo>
                    <a:pt x="117"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54" name="Freeform 332">
              <a:extLst>
                <a:ext uri="{FF2B5EF4-FFF2-40B4-BE49-F238E27FC236}">
                  <a16:creationId xmlns:a16="http://schemas.microsoft.com/office/drawing/2014/main" id="{CD7F1EDA-7FA5-4FFE-86E4-200755F6C4B6}"/>
                </a:ext>
              </a:extLst>
            </p:cNvPr>
            <p:cNvSpPr>
              <a:spLocks noChangeArrowheads="1"/>
            </p:cNvSpPr>
            <p:nvPr/>
          </p:nvSpPr>
          <p:spPr bwMode="auto">
            <a:xfrm>
              <a:off x="6024409" y="3725432"/>
              <a:ext cx="2038557" cy="2001862"/>
            </a:xfrm>
            <a:custGeom>
              <a:avLst/>
              <a:gdLst>
                <a:gd name="T0" fmla="*/ 5453 w 5512"/>
                <a:gd name="T1" fmla="*/ 3354 h 5455"/>
                <a:gd name="T2" fmla="*/ 5453 w 5512"/>
                <a:gd name="T3" fmla="*/ 2858 h 5455"/>
                <a:gd name="T4" fmla="*/ 5395 w 5512"/>
                <a:gd name="T5" fmla="*/ 2596 h 5455"/>
                <a:gd name="T6" fmla="*/ 5249 w 5512"/>
                <a:gd name="T7" fmla="*/ 2100 h 5455"/>
                <a:gd name="T8" fmla="*/ 5104 w 5512"/>
                <a:gd name="T9" fmla="*/ 1633 h 5455"/>
                <a:gd name="T10" fmla="*/ 4666 w 5512"/>
                <a:gd name="T11" fmla="*/ 1517 h 5455"/>
                <a:gd name="T12" fmla="*/ 4463 w 5512"/>
                <a:gd name="T13" fmla="*/ 1546 h 5455"/>
                <a:gd name="T14" fmla="*/ 4258 w 5512"/>
                <a:gd name="T15" fmla="*/ 1488 h 5455"/>
                <a:gd name="T16" fmla="*/ 4054 w 5512"/>
                <a:gd name="T17" fmla="*/ 1546 h 5455"/>
                <a:gd name="T18" fmla="*/ 3996 w 5512"/>
                <a:gd name="T19" fmla="*/ 1517 h 5455"/>
                <a:gd name="T20" fmla="*/ 3820 w 5512"/>
                <a:gd name="T21" fmla="*/ 1517 h 5455"/>
                <a:gd name="T22" fmla="*/ 3558 w 5512"/>
                <a:gd name="T23" fmla="*/ 1400 h 5455"/>
                <a:gd name="T24" fmla="*/ 3499 w 5512"/>
                <a:gd name="T25" fmla="*/ 1429 h 5455"/>
                <a:gd name="T26" fmla="*/ 3354 w 5512"/>
                <a:gd name="T27" fmla="*/ 1341 h 5455"/>
                <a:gd name="T28" fmla="*/ 3149 w 5512"/>
                <a:gd name="T29" fmla="*/ 1225 h 5455"/>
                <a:gd name="T30" fmla="*/ 2771 w 5512"/>
                <a:gd name="T31" fmla="*/ 1079 h 5455"/>
                <a:gd name="T32" fmla="*/ 1633 w 5512"/>
                <a:gd name="T33" fmla="*/ 321 h 5455"/>
                <a:gd name="T34" fmla="*/ 1458 w 5512"/>
                <a:gd name="T35" fmla="*/ 2275 h 5455"/>
                <a:gd name="T36" fmla="*/ 0 w 5512"/>
                <a:gd name="T37" fmla="*/ 2188 h 5455"/>
                <a:gd name="T38" fmla="*/ 292 w 5512"/>
                <a:gd name="T39" fmla="*/ 2596 h 5455"/>
                <a:gd name="T40" fmla="*/ 437 w 5512"/>
                <a:gd name="T41" fmla="*/ 2712 h 5455"/>
                <a:gd name="T42" fmla="*/ 642 w 5512"/>
                <a:gd name="T43" fmla="*/ 3121 h 5455"/>
                <a:gd name="T44" fmla="*/ 933 w 5512"/>
                <a:gd name="T45" fmla="*/ 3529 h 5455"/>
                <a:gd name="T46" fmla="*/ 1021 w 5512"/>
                <a:gd name="T47" fmla="*/ 3588 h 5455"/>
                <a:gd name="T48" fmla="*/ 1166 w 5512"/>
                <a:gd name="T49" fmla="*/ 3704 h 5455"/>
                <a:gd name="T50" fmla="*/ 1400 w 5512"/>
                <a:gd name="T51" fmla="*/ 3471 h 5455"/>
                <a:gd name="T52" fmla="*/ 1575 w 5512"/>
                <a:gd name="T53" fmla="*/ 3325 h 5455"/>
                <a:gd name="T54" fmla="*/ 1721 w 5512"/>
                <a:gd name="T55" fmla="*/ 3354 h 5455"/>
                <a:gd name="T56" fmla="*/ 2100 w 5512"/>
                <a:gd name="T57" fmla="*/ 3471 h 5455"/>
                <a:gd name="T58" fmla="*/ 2392 w 5512"/>
                <a:gd name="T59" fmla="*/ 3733 h 5455"/>
                <a:gd name="T60" fmla="*/ 2421 w 5512"/>
                <a:gd name="T61" fmla="*/ 3791 h 5455"/>
                <a:gd name="T62" fmla="*/ 2654 w 5512"/>
                <a:gd name="T63" fmla="*/ 4229 h 5455"/>
                <a:gd name="T64" fmla="*/ 2916 w 5512"/>
                <a:gd name="T65" fmla="*/ 4638 h 5455"/>
                <a:gd name="T66" fmla="*/ 3004 w 5512"/>
                <a:gd name="T67" fmla="*/ 4988 h 5455"/>
                <a:gd name="T68" fmla="*/ 3179 w 5512"/>
                <a:gd name="T69" fmla="*/ 5191 h 5455"/>
                <a:gd name="T70" fmla="*/ 3266 w 5512"/>
                <a:gd name="T71" fmla="*/ 5279 h 5455"/>
                <a:gd name="T72" fmla="*/ 3733 w 5512"/>
                <a:gd name="T73" fmla="*/ 5338 h 5455"/>
                <a:gd name="T74" fmla="*/ 3849 w 5512"/>
                <a:gd name="T75" fmla="*/ 5367 h 5455"/>
                <a:gd name="T76" fmla="*/ 3763 w 5512"/>
                <a:gd name="T77" fmla="*/ 5017 h 5455"/>
                <a:gd name="T78" fmla="*/ 3675 w 5512"/>
                <a:gd name="T79" fmla="*/ 4812 h 5455"/>
                <a:gd name="T80" fmla="*/ 3704 w 5512"/>
                <a:gd name="T81" fmla="*/ 4667 h 5455"/>
                <a:gd name="T82" fmla="*/ 3820 w 5512"/>
                <a:gd name="T83" fmla="*/ 4638 h 5455"/>
                <a:gd name="T84" fmla="*/ 3733 w 5512"/>
                <a:gd name="T85" fmla="*/ 4433 h 5455"/>
                <a:gd name="T86" fmla="*/ 3996 w 5512"/>
                <a:gd name="T87" fmla="*/ 4258 h 5455"/>
                <a:gd name="T88" fmla="*/ 4199 w 5512"/>
                <a:gd name="T89" fmla="*/ 4171 h 5455"/>
                <a:gd name="T90" fmla="*/ 4170 w 5512"/>
                <a:gd name="T91" fmla="*/ 3996 h 5455"/>
                <a:gd name="T92" fmla="*/ 4316 w 5512"/>
                <a:gd name="T93" fmla="*/ 3996 h 5455"/>
                <a:gd name="T94" fmla="*/ 4375 w 5512"/>
                <a:gd name="T95" fmla="*/ 3996 h 5455"/>
                <a:gd name="T96" fmla="*/ 4549 w 5512"/>
                <a:gd name="T97" fmla="*/ 4025 h 5455"/>
                <a:gd name="T98" fmla="*/ 4696 w 5512"/>
                <a:gd name="T99" fmla="*/ 3967 h 5455"/>
                <a:gd name="T100" fmla="*/ 4813 w 5512"/>
                <a:gd name="T101" fmla="*/ 3850 h 5455"/>
                <a:gd name="T102" fmla="*/ 4841 w 5512"/>
                <a:gd name="T103" fmla="*/ 3617 h 5455"/>
                <a:gd name="T104" fmla="*/ 5046 w 5512"/>
                <a:gd name="T105" fmla="*/ 3471 h 5455"/>
                <a:gd name="T106" fmla="*/ 5075 w 5512"/>
                <a:gd name="T107" fmla="*/ 3617 h 5455"/>
                <a:gd name="T108" fmla="*/ 5133 w 5512"/>
                <a:gd name="T109" fmla="*/ 3646 h 5455"/>
                <a:gd name="T110" fmla="*/ 5424 w 5512"/>
                <a:gd name="T111" fmla="*/ 3471 h 5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12" h="5455">
                  <a:moveTo>
                    <a:pt x="5453" y="3412"/>
                  </a:moveTo>
                  <a:lnTo>
                    <a:pt x="5453" y="3412"/>
                  </a:lnTo>
                  <a:cubicBezTo>
                    <a:pt x="5395" y="3354"/>
                    <a:pt x="5395" y="3354"/>
                    <a:pt x="5395" y="3354"/>
                  </a:cubicBezTo>
                  <a:cubicBezTo>
                    <a:pt x="5453" y="3354"/>
                    <a:pt x="5453" y="3354"/>
                    <a:pt x="5453" y="3354"/>
                  </a:cubicBezTo>
                  <a:lnTo>
                    <a:pt x="5453" y="3354"/>
                  </a:lnTo>
                  <a:cubicBezTo>
                    <a:pt x="5482" y="3325"/>
                    <a:pt x="5482" y="3267"/>
                    <a:pt x="5482" y="3208"/>
                  </a:cubicBezTo>
                  <a:cubicBezTo>
                    <a:pt x="5453" y="3179"/>
                    <a:pt x="5453" y="3179"/>
                    <a:pt x="5453" y="3150"/>
                  </a:cubicBezTo>
                  <a:cubicBezTo>
                    <a:pt x="5453" y="3091"/>
                    <a:pt x="5453" y="3033"/>
                    <a:pt x="5482" y="3004"/>
                  </a:cubicBezTo>
                  <a:cubicBezTo>
                    <a:pt x="5482" y="2975"/>
                    <a:pt x="5511" y="2946"/>
                    <a:pt x="5511" y="2917"/>
                  </a:cubicBezTo>
                  <a:cubicBezTo>
                    <a:pt x="5511" y="2888"/>
                    <a:pt x="5482" y="2888"/>
                    <a:pt x="5453" y="2858"/>
                  </a:cubicBezTo>
                  <a:cubicBezTo>
                    <a:pt x="5453" y="2858"/>
                    <a:pt x="5424" y="2829"/>
                    <a:pt x="5424" y="2800"/>
                  </a:cubicBezTo>
                  <a:cubicBezTo>
                    <a:pt x="5424" y="2771"/>
                    <a:pt x="5424" y="2771"/>
                    <a:pt x="5424" y="2741"/>
                  </a:cubicBezTo>
                  <a:lnTo>
                    <a:pt x="5424" y="2741"/>
                  </a:lnTo>
                  <a:cubicBezTo>
                    <a:pt x="5424" y="2712"/>
                    <a:pt x="5395" y="2683"/>
                    <a:pt x="5395" y="2654"/>
                  </a:cubicBezTo>
                  <a:cubicBezTo>
                    <a:pt x="5395" y="2625"/>
                    <a:pt x="5395" y="2625"/>
                    <a:pt x="5395" y="2596"/>
                  </a:cubicBezTo>
                  <a:cubicBezTo>
                    <a:pt x="5337" y="2567"/>
                    <a:pt x="5337" y="2508"/>
                    <a:pt x="5308" y="2450"/>
                  </a:cubicBezTo>
                  <a:cubicBezTo>
                    <a:pt x="5308" y="2391"/>
                    <a:pt x="5279" y="2362"/>
                    <a:pt x="5249" y="2333"/>
                  </a:cubicBezTo>
                  <a:lnTo>
                    <a:pt x="5249" y="2333"/>
                  </a:lnTo>
                  <a:cubicBezTo>
                    <a:pt x="5249" y="2304"/>
                    <a:pt x="5249" y="2304"/>
                    <a:pt x="5249" y="2304"/>
                  </a:cubicBezTo>
                  <a:cubicBezTo>
                    <a:pt x="5249" y="2246"/>
                    <a:pt x="5249" y="2188"/>
                    <a:pt x="5249" y="2100"/>
                  </a:cubicBezTo>
                  <a:cubicBezTo>
                    <a:pt x="5249" y="1954"/>
                    <a:pt x="5249" y="1808"/>
                    <a:pt x="5249" y="1662"/>
                  </a:cubicBezTo>
                  <a:cubicBezTo>
                    <a:pt x="5220" y="1662"/>
                    <a:pt x="5220" y="1662"/>
                    <a:pt x="5191" y="1633"/>
                  </a:cubicBezTo>
                  <a:lnTo>
                    <a:pt x="5163" y="1633"/>
                  </a:lnTo>
                  <a:lnTo>
                    <a:pt x="5163" y="1633"/>
                  </a:lnTo>
                  <a:cubicBezTo>
                    <a:pt x="5133" y="1633"/>
                    <a:pt x="5133" y="1633"/>
                    <a:pt x="5104" y="1633"/>
                  </a:cubicBezTo>
                  <a:cubicBezTo>
                    <a:pt x="5046" y="1633"/>
                    <a:pt x="5016" y="1604"/>
                    <a:pt x="4958" y="1575"/>
                  </a:cubicBezTo>
                  <a:cubicBezTo>
                    <a:pt x="4929" y="1546"/>
                    <a:pt x="4899" y="1517"/>
                    <a:pt x="4870" y="1517"/>
                  </a:cubicBezTo>
                  <a:cubicBezTo>
                    <a:pt x="4841" y="1488"/>
                    <a:pt x="4813" y="1488"/>
                    <a:pt x="4783" y="1517"/>
                  </a:cubicBezTo>
                  <a:cubicBezTo>
                    <a:pt x="4754" y="1517"/>
                    <a:pt x="4725" y="1517"/>
                    <a:pt x="4666" y="1517"/>
                  </a:cubicBezTo>
                  <a:lnTo>
                    <a:pt x="4666" y="1517"/>
                  </a:lnTo>
                  <a:cubicBezTo>
                    <a:pt x="4666" y="1517"/>
                    <a:pt x="4666" y="1517"/>
                    <a:pt x="4637" y="1517"/>
                  </a:cubicBezTo>
                  <a:lnTo>
                    <a:pt x="4637" y="1517"/>
                  </a:lnTo>
                  <a:lnTo>
                    <a:pt x="4637" y="1517"/>
                  </a:lnTo>
                  <a:cubicBezTo>
                    <a:pt x="4608" y="1517"/>
                    <a:pt x="4579" y="1517"/>
                    <a:pt x="4549" y="1517"/>
                  </a:cubicBezTo>
                  <a:cubicBezTo>
                    <a:pt x="4520" y="1517"/>
                    <a:pt x="4491" y="1517"/>
                    <a:pt x="4463" y="1546"/>
                  </a:cubicBezTo>
                  <a:cubicBezTo>
                    <a:pt x="4433" y="1546"/>
                    <a:pt x="4433" y="1546"/>
                    <a:pt x="4404" y="1546"/>
                  </a:cubicBezTo>
                  <a:cubicBezTo>
                    <a:pt x="4404" y="1575"/>
                    <a:pt x="4375" y="1575"/>
                    <a:pt x="4375" y="1575"/>
                  </a:cubicBezTo>
                  <a:cubicBezTo>
                    <a:pt x="4316" y="1575"/>
                    <a:pt x="4316" y="1546"/>
                    <a:pt x="4287" y="1517"/>
                  </a:cubicBezTo>
                  <a:cubicBezTo>
                    <a:pt x="4287" y="1488"/>
                    <a:pt x="4287" y="1488"/>
                    <a:pt x="4287" y="1488"/>
                  </a:cubicBezTo>
                  <a:lnTo>
                    <a:pt x="4258" y="1488"/>
                  </a:lnTo>
                  <a:cubicBezTo>
                    <a:pt x="4229" y="1488"/>
                    <a:pt x="4170" y="1458"/>
                    <a:pt x="4170" y="1458"/>
                  </a:cubicBezTo>
                  <a:lnTo>
                    <a:pt x="4142" y="1458"/>
                  </a:lnTo>
                  <a:lnTo>
                    <a:pt x="4142" y="1429"/>
                  </a:lnTo>
                  <a:cubicBezTo>
                    <a:pt x="4142" y="1458"/>
                    <a:pt x="4142" y="1458"/>
                    <a:pt x="4113" y="1488"/>
                  </a:cubicBezTo>
                  <a:cubicBezTo>
                    <a:pt x="4113" y="1517"/>
                    <a:pt x="4113" y="1546"/>
                    <a:pt x="4054" y="1546"/>
                  </a:cubicBezTo>
                  <a:lnTo>
                    <a:pt x="4054" y="1546"/>
                  </a:lnTo>
                  <a:cubicBezTo>
                    <a:pt x="4025" y="1517"/>
                    <a:pt x="4025" y="1517"/>
                    <a:pt x="4025" y="1488"/>
                  </a:cubicBezTo>
                  <a:lnTo>
                    <a:pt x="4025" y="1488"/>
                  </a:lnTo>
                  <a:lnTo>
                    <a:pt x="4025" y="1488"/>
                  </a:lnTo>
                  <a:cubicBezTo>
                    <a:pt x="4025" y="1517"/>
                    <a:pt x="3996" y="1517"/>
                    <a:pt x="3996" y="1517"/>
                  </a:cubicBezTo>
                  <a:cubicBezTo>
                    <a:pt x="3996" y="1546"/>
                    <a:pt x="3996" y="1546"/>
                    <a:pt x="3996" y="1546"/>
                  </a:cubicBezTo>
                  <a:lnTo>
                    <a:pt x="3996" y="1546"/>
                  </a:lnTo>
                  <a:cubicBezTo>
                    <a:pt x="3937" y="1546"/>
                    <a:pt x="3908" y="1517"/>
                    <a:pt x="3908" y="1517"/>
                  </a:cubicBezTo>
                  <a:cubicBezTo>
                    <a:pt x="3879" y="1488"/>
                    <a:pt x="3879" y="1488"/>
                    <a:pt x="3849" y="1488"/>
                  </a:cubicBezTo>
                  <a:cubicBezTo>
                    <a:pt x="3849" y="1488"/>
                    <a:pt x="3849" y="1517"/>
                    <a:pt x="3820" y="1517"/>
                  </a:cubicBezTo>
                  <a:cubicBezTo>
                    <a:pt x="3820" y="1517"/>
                    <a:pt x="3792" y="1546"/>
                    <a:pt x="3763" y="1546"/>
                  </a:cubicBezTo>
                  <a:cubicBezTo>
                    <a:pt x="3704" y="1546"/>
                    <a:pt x="3675" y="1488"/>
                    <a:pt x="3646" y="1429"/>
                  </a:cubicBezTo>
                  <a:cubicBezTo>
                    <a:pt x="3616" y="1371"/>
                    <a:pt x="3616" y="1341"/>
                    <a:pt x="3558" y="1341"/>
                  </a:cubicBezTo>
                  <a:cubicBezTo>
                    <a:pt x="3558" y="1341"/>
                    <a:pt x="3558" y="1341"/>
                    <a:pt x="3558" y="1371"/>
                  </a:cubicBezTo>
                  <a:cubicBezTo>
                    <a:pt x="3558" y="1371"/>
                    <a:pt x="3558" y="1371"/>
                    <a:pt x="3558" y="1400"/>
                  </a:cubicBezTo>
                  <a:lnTo>
                    <a:pt x="3558" y="1400"/>
                  </a:lnTo>
                  <a:cubicBezTo>
                    <a:pt x="3529" y="1400"/>
                    <a:pt x="3529" y="1400"/>
                    <a:pt x="3529" y="1400"/>
                  </a:cubicBezTo>
                  <a:lnTo>
                    <a:pt x="3529" y="1400"/>
                  </a:lnTo>
                  <a:lnTo>
                    <a:pt x="3529" y="1429"/>
                  </a:lnTo>
                  <a:cubicBezTo>
                    <a:pt x="3499" y="1429"/>
                    <a:pt x="3499" y="1429"/>
                    <a:pt x="3499" y="1429"/>
                  </a:cubicBezTo>
                  <a:lnTo>
                    <a:pt x="3499" y="1429"/>
                  </a:lnTo>
                  <a:cubicBezTo>
                    <a:pt x="3470" y="1400"/>
                    <a:pt x="3470" y="1400"/>
                    <a:pt x="3470" y="1400"/>
                  </a:cubicBezTo>
                  <a:cubicBezTo>
                    <a:pt x="3470" y="1371"/>
                    <a:pt x="3442" y="1371"/>
                    <a:pt x="3442" y="1371"/>
                  </a:cubicBezTo>
                  <a:cubicBezTo>
                    <a:pt x="3442" y="1371"/>
                    <a:pt x="3413" y="1341"/>
                    <a:pt x="3383" y="1341"/>
                  </a:cubicBezTo>
                  <a:lnTo>
                    <a:pt x="3354" y="1341"/>
                  </a:lnTo>
                  <a:cubicBezTo>
                    <a:pt x="3325" y="1341"/>
                    <a:pt x="3325" y="1341"/>
                    <a:pt x="3325" y="1341"/>
                  </a:cubicBezTo>
                  <a:cubicBezTo>
                    <a:pt x="3325" y="1312"/>
                    <a:pt x="3325" y="1312"/>
                    <a:pt x="3296" y="1312"/>
                  </a:cubicBezTo>
                  <a:lnTo>
                    <a:pt x="3266" y="1312"/>
                  </a:lnTo>
                  <a:cubicBezTo>
                    <a:pt x="3237" y="1312"/>
                    <a:pt x="3208" y="1312"/>
                    <a:pt x="3179" y="1255"/>
                  </a:cubicBezTo>
                  <a:cubicBezTo>
                    <a:pt x="3179" y="1255"/>
                    <a:pt x="3179" y="1255"/>
                    <a:pt x="3149" y="1225"/>
                  </a:cubicBezTo>
                  <a:lnTo>
                    <a:pt x="3149" y="1225"/>
                  </a:lnTo>
                  <a:cubicBezTo>
                    <a:pt x="3092" y="1138"/>
                    <a:pt x="3033" y="1138"/>
                    <a:pt x="2946" y="1138"/>
                  </a:cubicBezTo>
                  <a:cubicBezTo>
                    <a:pt x="2887" y="1108"/>
                    <a:pt x="2829" y="1108"/>
                    <a:pt x="2771" y="1108"/>
                  </a:cubicBezTo>
                  <a:lnTo>
                    <a:pt x="2771" y="1108"/>
                  </a:lnTo>
                  <a:cubicBezTo>
                    <a:pt x="2771" y="1079"/>
                    <a:pt x="2771" y="1079"/>
                    <a:pt x="2771" y="1079"/>
                  </a:cubicBezTo>
                  <a:cubicBezTo>
                    <a:pt x="2771" y="875"/>
                    <a:pt x="2771" y="671"/>
                    <a:pt x="2799" y="496"/>
                  </a:cubicBezTo>
                  <a:cubicBezTo>
                    <a:pt x="2799" y="350"/>
                    <a:pt x="2799" y="233"/>
                    <a:pt x="2799" y="117"/>
                  </a:cubicBezTo>
                  <a:cubicBezTo>
                    <a:pt x="2596" y="87"/>
                    <a:pt x="2363" y="58"/>
                    <a:pt x="2158" y="58"/>
                  </a:cubicBezTo>
                  <a:cubicBezTo>
                    <a:pt x="1983" y="29"/>
                    <a:pt x="1837" y="29"/>
                    <a:pt x="1663" y="0"/>
                  </a:cubicBezTo>
                  <a:cubicBezTo>
                    <a:pt x="1633" y="117"/>
                    <a:pt x="1633" y="205"/>
                    <a:pt x="1633" y="321"/>
                  </a:cubicBezTo>
                  <a:cubicBezTo>
                    <a:pt x="1633" y="350"/>
                    <a:pt x="1633" y="379"/>
                    <a:pt x="1633" y="408"/>
                  </a:cubicBezTo>
                  <a:cubicBezTo>
                    <a:pt x="1604" y="700"/>
                    <a:pt x="1575" y="1021"/>
                    <a:pt x="1546" y="1312"/>
                  </a:cubicBezTo>
                  <a:cubicBezTo>
                    <a:pt x="1516" y="1633"/>
                    <a:pt x="1487" y="1925"/>
                    <a:pt x="1458" y="2246"/>
                  </a:cubicBezTo>
                  <a:cubicBezTo>
                    <a:pt x="1458" y="2275"/>
                    <a:pt x="1458" y="2275"/>
                    <a:pt x="1458" y="2275"/>
                  </a:cubicBezTo>
                  <a:lnTo>
                    <a:pt x="1458" y="2275"/>
                  </a:lnTo>
                  <a:cubicBezTo>
                    <a:pt x="1196" y="2246"/>
                    <a:pt x="933" y="2217"/>
                    <a:pt x="671" y="2188"/>
                  </a:cubicBezTo>
                  <a:cubicBezTo>
                    <a:pt x="437" y="2158"/>
                    <a:pt x="233" y="2158"/>
                    <a:pt x="0" y="2129"/>
                  </a:cubicBezTo>
                  <a:cubicBezTo>
                    <a:pt x="0" y="2129"/>
                    <a:pt x="0" y="2129"/>
                    <a:pt x="0" y="2158"/>
                  </a:cubicBezTo>
                  <a:lnTo>
                    <a:pt x="0" y="2188"/>
                  </a:lnTo>
                  <a:lnTo>
                    <a:pt x="0" y="2188"/>
                  </a:lnTo>
                  <a:cubicBezTo>
                    <a:pt x="0" y="2217"/>
                    <a:pt x="30" y="2217"/>
                    <a:pt x="30" y="2246"/>
                  </a:cubicBezTo>
                  <a:cubicBezTo>
                    <a:pt x="30" y="2304"/>
                    <a:pt x="87" y="2362"/>
                    <a:pt x="146" y="2391"/>
                  </a:cubicBezTo>
                  <a:cubicBezTo>
                    <a:pt x="175" y="2421"/>
                    <a:pt x="204" y="2450"/>
                    <a:pt x="233" y="2479"/>
                  </a:cubicBezTo>
                  <a:cubicBezTo>
                    <a:pt x="233" y="2479"/>
                    <a:pt x="263" y="2508"/>
                    <a:pt x="263" y="2538"/>
                  </a:cubicBezTo>
                  <a:cubicBezTo>
                    <a:pt x="263" y="2538"/>
                    <a:pt x="292" y="2567"/>
                    <a:pt x="292" y="2596"/>
                  </a:cubicBezTo>
                  <a:cubicBezTo>
                    <a:pt x="321" y="2596"/>
                    <a:pt x="321" y="2625"/>
                    <a:pt x="350" y="2654"/>
                  </a:cubicBezTo>
                  <a:cubicBezTo>
                    <a:pt x="350" y="2654"/>
                    <a:pt x="380" y="2683"/>
                    <a:pt x="408" y="2712"/>
                  </a:cubicBezTo>
                  <a:lnTo>
                    <a:pt x="408" y="2712"/>
                  </a:lnTo>
                  <a:lnTo>
                    <a:pt x="437" y="2712"/>
                  </a:lnTo>
                  <a:lnTo>
                    <a:pt x="437" y="2712"/>
                  </a:lnTo>
                  <a:lnTo>
                    <a:pt x="437" y="2712"/>
                  </a:lnTo>
                  <a:cubicBezTo>
                    <a:pt x="437" y="2771"/>
                    <a:pt x="466" y="2771"/>
                    <a:pt x="525" y="2800"/>
                  </a:cubicBezTo>
                  <a:cubicBezTo>
                    <a:pt x="554" y="2829"/>
                    <a:pt x="583" y="2858"/>
                    <a:pt x="583" y="2888"/>
                  </a:cubicBezTo>
                  <a:cubicBezTo>
                    <a:pt x="613" y="2946"/>
                    <a:pt x="613" y="2975"/>
                    <a:pt x="613" y="3033"/>
                  </a:cubicBezTo>
                  <a:cubicBezTo>
                    <a:pt x="642" y="3062"/>
                    <a:pt x="642" y="3091"/>
                    <a:pt x="642" y="3121"/>
                  </a:cubicBezTo>
                  <a:cubicBezTo>
                    <a:pt x="642" y="3150"/>
                    <a:pt x="671" y="3179"/>
                    <a:pt x="671" y="3208"/>
                  </a:cubicBezTo>
                  <a:cubicBezTo>
                    <a:pt x="671" y="3238"/>
                    <a:pt x="700" y="3296"/>
                    <a:pt x="700" y="3354"/>
                  </a:cubicBezTo>
                  <a:cubicBezTo>
                    <a:pt x="758" y="3412"/>
                    <a:pt x="787" y="3500"/>
                    <a:pt x="875" y="3529"/>
                  </a:cubicBezTo>
                  <a:cubicBezTo>
                    <a:pt x="904" y="3529"/>
                    <a:pt x="904" y="3529"/>
                    <a:pt x="904" y="3529"/>
                  </a:cubicBezTo>
                  <a:cubicBezTo>
                    <a:pt x="933" y="3529"/>
                    <a:pt x="933" y="3529"/>
                    <a:pt x="933" y="3529"/>
                  </a:cubicBezTo>
                  <a:lnTo>
                    <a:pt x="933" y="3558"/>
                  </a:lnTo>
                  <a:cubicBezTo>
                    <a:pt x="963" y="3558"/>
                    <a:pt x="963" y="3588"/>
                    <a:pt x="992" y="3588"/>
                  </a:cubicBezTo>
                  <a:lnTo>
                    <a:pt x="992" y="3588"/>
                  </a:lnTo>
                  <a:cubicBezTo>
                    <a:pt x="1021" y="3588"/>
                    <a:pt x="1021" y="3588"/>
                    <a:pt x="1021" y="3588"/>
                  </a:cubicBezTo>
                  <a:lnTo>
                    <a:pt x="1021" y="3588"/>
                  </a:lnTo>
                  <a:lnTo>
                    <a:pt x="1021" y="3588"/>
                  </a:lnTo>
                  <a:cubicBezTo>
                    <a:pt x="1050" y="3588"/>
                    <a:pt x="1050" y="3588"/>
                    <a:pt x="1050" y="3588"/>
                  </a:cubicBezTo>
                  <a:lnTo>
                    <a:pt x="1050" y="3617"/>
                  </a:lnTo>
                  <a:cubicBezTo>
                    <a:pt x="1050" y="3617"/>
                    <a:pt x="1050" y="3617"/>
                    <a:pt x="1079" y="3617"/>
                  </a:cubicBezTo>
                  <a:cubicBezTo>
                    <a:pt x="1108" y="3617"/>
                    <a:pt x="1137" y="3675"/>
                    <a:pt x="1166" y="3704"/>
                  </a:cubicBezTo>
                  <a:cubicBezTo>
                    <a:pt x="1196" y="3733"/>
                    <a:pt x="1225" y="3762"/>
                    <a:pt x="1254" y="3762"/>
                  </a:cubicBezTo>
                  <a:cubicBezTo>
                    <a:pt x="1283" y="3762"/>
                    <a:pt x="1283" y="3733"/>
                    <a:pt x="1313" y="3704"/>
                  </a:cubicBezTo>
                  <a:lnTo>
                    <a:pt x="1313" y="3704"/>
                  </a:lnTo>
                  <a:cubicBezTo>
                    <a:pt x="1342" y="3617"/>
                    <a:pt x="1400" y="3558"/>
                    <a:pt x="1400" y="3471"/>
                  </a:cubicBezTo>
                  <a:lnTo>
                    <a:pt x="1400" y="3471"/>
                  </a:lnTo>
                  <a:lnTo>
                    <a:pt x="1400" y="3471"/>
                  </a:lnTo>
                  <a:cubicBezTo>
                    <a:pt x="1429" y="3441"/>
                    <a:pt x="1429" y="3441"/>
                    <a:pt x="1429" y="3441"/>
                  </a:cubicBezTo>
                  <a:cubicBezTo>
                    <a:pt x="1458" y="3441"/>
                    <a:pt x="1458" y="3412"/>
                    <a:pt x="1458" y="3412"/>
                  </a:cubicBezTo>
                  <a:cubicBezTo>
                    <a:pt x="1487" y="3412"/>
                    <a:pt x="1487" y="3383"/>
                    <a:pt x="1487" y="3383"/>
                  </a:cubicBezTo>
                  <a:cubicBezTo>
                    <a:pt x="1516" y="3354"/>
                    <a:pt x="1546" y="3325"/>
                    <a:pt x="1575" y="3325"/>
                  </a:cubicBezTo>
                  <a:cubicBezTo>
                    <a:pt x="1604" y="3296"/>
                    <a:pt x="1633" y="3325"/>
                    <a:pt x="1663" y="3354"/>
                  </a:cubicBezTo>
                  <a:lnTo>
                    <a:pt x="1692" y="3354"/>
                  </a:lnTo>
                  <a:lnTo>
                    <a:pt x="1692" y="3354"/>
                  </a:lnTo>
                  <a:lnTo>
                    <a:pt x="1721" y="3354"/>
                  </a:lnTo>
                  <a:lnTo>
                    <a:pt x="1721" y="3354"/>
                  </a:lnTo>
                  <a:cubicBezTo>
                    <a:pt x="1750" y="3354"/>
                    <a:pt x="1750" y="3354"/>
                    <a:pt x="1750" y="3354"/>
                  </a:cubicBezTo>
                  <a:cubicBezTo>
                    <a:pt x="1750" y="3383"/>
                    <a:pt x="1808" y="3383"/>
                    <a:pt x="1837" y="3383"/>
                  </a:cubicBezTo>
                  <a:cubicBezTo>
                    <a:pt x="1866" y="3383"/>
                    <a:pt x="1925" y="3383"/>
                    <a:pt x="1954" y="3412"/>
                  </a:cubicBezTo>
                  <a:cubicBezTo>
                    <a:pt x="1954" y="3412"/>
                    <a:pt x="1954" y="3412"/>
                    <a:pt x="1983" y="3412"/>
                  </a:cubicBezTo>
                  <a:cubicBezTo>
                    <a:pt x="2013" y="3412"/>
                    <a:pt x="2071" y="3441"/>
                    <a:pt x="2100" y="3471"/>
                  </a:cubicBezTo>
                  <a:cubicBezTo>
                    <a:pt x="2158" y="3500"/>
                    <a:pt x="2187" y="3500"/>
                    <a:pt x="2216" y="3529"/>
                  </a:cubicBezTo>
                  <a:lnTo>
                    <a:pt x="2216" y="3529"/>
                  </a:lnTo>
                  <a:lnTo>
                    <a:pt x="2216" y="3529"/>
                  </a:lnTo>
                  <a:cubicBezTo>
                    <a:pt x="2246" y="3588"/>
                    <a:pt x="2275" y="3617"/>
                    <a:pt x="2333" y="3646"/>
                  </a:cubicBezTo>
                  <a:cubicBezTo>
                    <a:pt x="2333" y="3675"/>
                    <a:pt x="2363" y="3704"/>
                    <a:pt x="2392" y="3733"/>
                  </a:cubicBezTo>
                  <a:lnTo>
                    <a:pt x="2392" y="3733"/>
                  </a:lnTo>
                  <a:lnTo>
                    <a:pt x="2392" y="3733"/>
                  </a:lnTo>
                  <a:cubicBezTo>
                    <a:pt x="2392" y="3762"/>
                    <a:pt x="2392" y="3762"/>
                    <a:pt x="2392" y="3762"/>
                  </a:cubicBezTo>
                  <a:lnTo>
                    <a:pt x="2392" y="3762"/>
                  </a:lnTo>
                  <a:cubicBezTo>
                    <a:pt x="2392" y="3762"/>
                    <a:pt x="2392" y="3791"/>
                    <a:pt x="2421" y="3791"/>
                  </a:cubicBezTo>
                  <a:cubicBezTo>
                    <a:pt x="2449" y="3821"/>
                    <a:pt x="2508" y="3850"/>
                    <a:pt x="2479" y="3938"/>
                  </a:cubicBezTo>
                  <a:cubicBezTo>
                    <a:pt x="2508" y="3967"/>
                    <a:pt x="2537" y="3996"/>
                    <a:pt x="2537" y="4054"/>
                  </a:cubicBezTo>
                  <a:cubicBezTo>
                    <a:pt x="2566" y="4083"/>
                    <a:pt x="2596" y="4141"/>
                    <a:pt x="2625" y="4171"/>
                  </a:cubicBezTo>
                  <a:cubicBezTo>
                    <a:pt x="2654" y="4171"/>
                    <a:pt x="2654" y="4171"/>
                    <a:pt x="2654" y="4171"/>
                  </a:cubicBezTo>
                  <a:cubicBezTo>
                    <a:pt x="2654" y="4229"/>
                    <a:pt x="2654" y="4229"/>
                    <a:pt x="2654" y="4229"/>
                  </a:cubicBezTo>
                  <a:cubicBezTo>
                    <a:pt x="2683" y="4258"/>
                    <a:pt x="2683" y="4288"/>
                    <a:pt x="2713" y="4346"/>
                  </a:cubicBezTo>
                  <a:cubicBezTo>
                    <a:pt x="2713" y="4374"/>
                    <a:pt x="2742" y="4404"/>
                    <a:pt x="2771" y="4462"/>
                  </a:cubicBezTo>
                  <a:cubicBezTo>
                    <a:pt x="2771" y="4462"/>
                    <a:pt x="2799" y="4491"/>
                    <a:pt x="2829" y="4491"/>
                  </a:cubicBezTo>
                  <a:cubicBezTo>
                    <a:pt x="2858" y="4521"/>
                    <a:pt x="2887" y="4521"/>
                    <a:pt x="2916" y="4608"/>
                  </a:cubicBezTo>
                  <a:lnTo>
                    <a:pt x="2916" y="4638"/>
                  </a:lnTo>
                  <a:cubicBezTo>
                    <a:pt x="2916" y="4667"/>
                    <a:pt x="2916" y="4667"/>
                    <a:pt x="2916" y="4667"/>
                  </a:cubicBezTo>
                  <a:cubicBezTo>
                    <a:pt x="2916" y="4696"/>
                    <a:pt x="2916" y="4724"/>
                    <a:pt x="2946" y="4754"/>
                  </a:cubicBezTo>
                  <a:cubicBezTo>
                    <a:pt x="2946" y="4783"/>
                    <a:pt x="2975" y="4841"/>
                    <a:pt x="2946" y="4871"/>
                  </a:cubicBezTo>
                  <a:cubicBezTo>
                    <a:pt x="2975" y="4900"/>
                    <a:pt x="2975" y="4900"/>
                    <a:pt x="2975" y="4929"/>
                  </a:cubicBezTo>
                  <a:cubicBezTo>
                    <a:pt x="2975" y="4958"/>
                    <a:pt x="3004" y="4958"/>
                    <a:pt x="3004" y="4988"/>
                  </a:cubicBezTo>
                  <a:cubicBezTo>
                    <a:pt x="3033" y="4988"/>
                    <a:pt x="3033" y="4988"/>
                    <a:pt x="3033" y="4988"/>
                  </a:cubicBezTo>
                  <a:cubicBezTo>
                    <a:pt x="3063" y="5017"/>
                    <a:pt x="3092" y="5046"/>
                    <a:pt x="3121" y="5074"/>
                  </a:cubicBezTo>
                  <a:lnTo>
                    <a:pt x="3121" y="5104"/>
                  </a:lnTo>
                  <a:lnTo>
                    <a:pt x="3121" y="5133"/>
                  </a:lnTo>
                  <a:cubicBezTo>
                    <a:pt x="3121" y="5162"/>
                    <a:pt x="3149" y="5162"/>
                    <a:pt x="3179" y="5191"/>
                  </a:cubicBezTo>
                  <a:cubicBezTo>
                    <a:pt x="3208" y="5191"/>
                    <a:pt x="3208" y="5221"/>
                    <a:pt x="3237" y="5221"/>
                  </a:cubicBezTo>
                  <a:lnTo>
                    <a:pt x="3237" y="5221"/>
                  </a:lnTo>
                  <a:lnTo>
                    <a:pt x="3237" y="5221"/>
                  </a:lnTo>
                  <a:cubicBezTo>
                    <a:pt x="3237" y="5221"/>
                    <a:pt x="3237" y="5250"/>
                    <a:pt x="3266" y="5250"/>
                  </a:cubicBezTo>
                  <a:cubicBezTo>
                    <a:pt x="3266" y="5279"/>
                    <a:pt x="3266" y="5279"/>
                    <a:pt x="3266" y="5279"/>
                  </a:cubicBezTo>
                  <a:cubicBezTo>
                    <a:pt x="3266" y="5279"/>
                    <a:pt x="3266" y="5279"/>
                    <a:pt x="3296" y="5279"/>
                  </a:cubicBezTo>
                  <a:cubicBezTo>
                    <a:pt x="3325" y="5279"/>
                    <a:pt x="3354" y="5308"/>
                    <a:pt x="3383" y="5308"/>
                  </a:cubicBezTo>
                  <a:cubicBezTo>
                    <a:pt x="3413" y="5338"/>
                    <a:pt x="3470" y="5308"/>
                    <a:pt x="3499" y="5308"/>
                  </a:cubicBezTo>
                  <a:cubicBezTo>
                    <a:pt x="3529" y="5308"/>
                    <a:pt x="3558" y="5308"/>
                    <a:pt x="3587" y="5308"/>
                  </a:cubicBezTo>
                  <a:cubicBezTo>
                    <a:pt x="3646" y="5308"/>
                    <a:pt x="3704" y="5308"/>
                    <a:pt x="3733" y="5338"/>
                  </a:cubicBezTo>
                  <a:lnTo>
                    <a:pt x="3733" y="5338"/>
                  </a:lnTo>
                  <a:lnTo>
                    <a:pt x="3733" y="5338"/>
                  </a:lnTo>
                  <a:cubicBezTo>
                    <a:pt x="3763" y="5396"/>
                    <a:pt x="3792" y="5454"/>
                    <a:pt x="3820" y="5454"/>
                  </a:cubicBezTo>
                  <a:cubicBezTo>
                    <a:pt x="3849" y="5454"/>
                    <a:pt x="3849" y="5454"/>
                    <a:pt x="3849" y="5454"/>
                  </a:cubicBezTo>
                  <a:cubicBezTo>
                    <a:pt x="3849" y="5424"/>
                    <a:pt x="3849" y="5396"/>
                    <a:pt x="3849" y="5367"/>
                  </a:cubicBezTo>
                  <a:cubicBezTo>
                    <a:pt x="3849" y="5338"/>
                    <a:pt x="3849" y="5308"/>
                    <a:pt x="3849" y="5279"/>
                  </a:cubicBezTo>
                  <a:lnTo>
                    <a:pt x="3820" y="5250"/>
                  </a:lnTo>
                  <a:cubicBezTo>
                    <a:pt x="3792" y="5221"/>
                    <a:pt x="3763" y="5191"/>
                    <a:pt x="3763" y="5162"/>
                  </a:cubicBezTo>
                  <a:cubicBezTo>
                    <a:pt x="3763" y="5133"/>
                    <a:pt x="3763" y="5133"/>
                    <a:pt x="3763" y="5104"/>
                  </a:cubicBezTo>
                  <a:cubicBezTo>
                    <a:pt x="3763" y="5074"/>
                    <a:pt x="3792" y="5046"/>
                    <a:pt x="3763" y="5017"/>
                  </a:cubicBezTo>
                  <a:cubicBezTo>
                    <a:pt x="3763" y="5017"/>
                    <a:pt x="3763" y="4988"/>
                    <a:pt x="3733" y="4988"/>
                  </a:cubicBezTo>
                  <a:cubicBezTo>
                    <a:pt x="3733" y="4958"/>
                    <a:pt x="3704" y="4929"/>
                    <a:pt x="3704" y="4900"/>
                  </a:cubicBezTo>
                  <a:cubicBezTo>
                    <a:pt x="3704" y="4900"/>
                    <a:pt x="3704" y="4900"/>
                    <a:pt x="3704" y="4871"/>
                  </a:cubicBezTo>
                  <a:cubicBezTo>
                    <a:pt x="3704" y="4871"/>
                    <a:pt x="3704" y="4871"/>
                    <a:pt x="3704" y="4841"/>
                  </a:cubicBezTo>
                  <a:cubicBezTo>
                    <a:pt x="3704" y="4841"/>
                    <a:pt x="3675" y="4841"/>
                    <a:pt x="3675" y="4812"/>
                  </a:cubicBezTo>
                  <a:cubicBezTo>
                    <a:pt x="3646" y="4783"/>
                    <a:pt x="3616" y="4783"/>
                    <a:pt x="3616" y="4724"/>
                  </a:cubicBezTo>
                  <a:cubicBezTo>
                    <a:pt x="3616" y="4724"/>
                    <a:pt x="3616" y="4696"/>
                    <a:pt x="3646" y="4696"/>
                  </a:cubicBezTo>
                  <a:cubicBezTo>
                    <a:pt x="3675" y="4667"/>
                    <a:pt x="3675" y="4667"/>
                    <a:pt x="3675" y="4667"/>
                  </a:cubicBezTo>
                  <a:cubicBezTo>
                    <a:pt x="3675" y="4667"/>
                    <a:pt x="3675" y="4696"/>
                    <a:pt x="3704" y="4696"/>
                  </a:cubicBezTo>
                  <a:lnTo>
                    <a:pt x="3704" y="4667"/>
                  </a:lnTo>
                  <a:cubicBezTo>
                    <a:pt x="3704" y="4638"/>
                    <a:pt x="3704" y="4608"/>
                    <a:pt x="3763" y="4608"/>
                  </a:cubicBezTo>
                  <a:cubicBezTo>
                    <a:pt x="3763" y="4608"/>
                    <a:pt x="3792" y="4608"/>
                    <a:pt x="3792" y="4638"/>
                  </a:cubicBezTo>
                  <a:lnTo>
                    <a:pt x="3792" y="4667"/>
                  </a:lnTo>
                  <a:lnTo>
                    <a:pt x="3792" y="4667"/>
                  </a:lnTo>
                  <a:cubicBezTo>
                    <a:pt x="3820" y="4667"/>
                    <a:pt x="3820" y="4638"/>
                    <a:pt x="3820" y="4638"/>
                  </a:cubicBezTo>
                  <a:cubicBezTo>
                    <a:pt x="3849" y="4579"/>
                    <a:pt x="3849" y="4550"/>
                    <a:pt x="3820" y="4521"/>
                  </a:cubicBezTo>
                  <a:lnTo>
                    <a:pt x="3792" y="4521"/>
                  </a:lnTo>
                  <a:cubicBezTo>
                    <a:pt x="3763" y="4491"/>
                    <a:pt x="3704" y="4491"/>
                    <a:pt x="3704" y="4433"/>
                  </a:cubicBezTo>
                  <a:cubicBezTo>
                    <a:pt x="3704" y="4404"/>
                    <a:pt x="3704" y="4404"/>
                    <a:pt x="3704" y="4404"/>
                  </a:cubicBezTo>
                  <a:cubicBezTo>
                    <a:pt x="3733" y="4433"/>
                    <a:pt x="3733" y="4433"/>
                    <a:pt x="3733" y="4433"/>
                  </a:cubicBezTo>
                  <a:cubicBezTo>
                    <a:pt x="3733" y="4433"/>
                    <a:pt x="3763" y="4433"/>
                    <a:pt x="3792" y="4404"/>
                  </a:cubicBezTo>
                  <a:cubicBezTo>
                    <a:pt x="3820" y="4404"/>
                    <a:pt x="3849" y="4404"/>
                    <a:pt x="3849" y="4404"/>
                  </a:cubicBezTo>
                  <a:cubicBezTo>
                    <a:pt x="3879" y="4404"/>
                    <a:pt x="3908" y="4404"/>
                    <a:pt x="3937" y="4433"/>
                  </a:cubicBezTo>
                  <a:cubicBezTo>
                    <a:pt x="3937" y="4404"/>
                    <a:pt x="3966" y="4374"/>
                    <a:pt x="3966" y="4317"/>
                  </a:cubicBezTo>
                  <a:cubicBezTo>
                    <a:pt x="3966" y="4288"/>
                    <a:pt x="3996" y="4258"/>
                    <a:pt x="3996" y="4258"/>
                  </a:cubicBezTo>
                  <a:cubicBezTo>
                    <a:pt x="3996" y="4229"/>
                    <a:pt x="3996" y="4229"/>
                    <a:pt x="3996" y="4229"/>
                  </a:cubicBezTo>
                  <a:cubicBezTo>
                    <a:pt x="4054" y="4229"/>
                    <a:pt x="4054" y="4229"/>
                    <a:pt x="4054" y="4229"/>
                  </a:cubicBezTo>
                  <a:cubicBezTo>
                    <a:pt x="4054" y="4229"/>
                    <a:pt x="4083" y="4229"/>
                    <a:pt x="4083" y="4200"/>
                  </a:cubicBezTo>
                  <a:cubicBezTo>
                    <a:pt x="4083" y="4171"/>
                    <a:pt x="4083" y="4141"/>
                    <a:pt x="4113" y="4141"/>
                  </a:cubicBezTo>
                  <a:cubicBezTo>
                    <a:pt x="4142" y="4141"/>
                    <a:pt x="4170" y="4171"/>
                    <a:pt x="4199" y="4171"/>
                  </a:cubicBezTo>
                  <a:lnTo>
                    <a:pt x="4199" y="4171"/>
                  </a:lnTo>
                  <a:lnTo>
                    <a:pt x="4199" y="4141"/>
                  </a:lnTo>
                  <a:cubicBezTo>
                    <a:pt x="4170" y="4112"/>
                    <a:pt x="4142" y="4083"/>
                    <a:pt x="4142" y="4025"/>
                  </a:cubicBezTo>
                  <a:cubicBezTo>
                    <a:pt x="4142" y="3996"/>
                    <a:pt x="4142" y="3996"/>
                    <a:pt x="4142" y="3996"/>
                  </a:cubicBezTo>
                  <a:cubicBezTo>
                    <a:pt x="4170" y="3996"/>
                    <a:pt x="4170" y="3996"/>
                    <a:pt x="4170" y="3996"/>
                  </a:cubicBezTo>
                  <a:cubicBezTo>
                    <a:pt x="4199" y="3996"/>
                    <a:pt x="4229" y="3996"/>
                    <a:pt x="4229" y="4025"/>
                  </a:cubicBezTo>
                  <a:lnTo>
                    <a:pt x="4229" y="4025"/>
                  </a:lnTo>
                  <a:cubicBezTo>
                    <a:pt x="4229" y="3996"/>
                    <a:pt x="4229" y="3996"/>
                    <a:pt x="4258" y="3996"/>
                  </a:cubicBezTo>
                  <a:lnTo>
                    <a:pt x="4258" y="3996"/>
                  </a:lnTo>
                  <a:cubicBezTo>
                    <a:pt x="4287" y="3996"/>
                    <a:pt x="4287" y="3996"/>
                    <a:pt x="4316" y="3996"/>
                  </a:cubicBezTo>
                  <a:lnTo>
                    <a:pt x="4316" y="3996"/>
                  </a:lnTo>
                  <a:lnTo>
                    <a:pt x="4346" y="3967"/>
                  </a:lnTo>
                  <a:cubicBezTo>
                    <a:pt x="4375" y="3967"/>
                    <a:pt x="4375" y="3967"/>
                    <a:pt x="4375" y="3996"/>
                  </a:cubicBezTo>
                  <a:lnTo>
                    <a:pt x="4375" y="3996"/>
                  </a:lnTo>
                  <a:lnTo>
                    <a:pt x="4375" y="3996"/>
                  </a:lnTo>
                  <a:cubicBezTo>
                    <a:pt x="4404" y="4025"/>
                    <a:pt x="4404" y="4025"/>
                    <a:pt x="4375" y="4054"/>
                  </a:cubicBezTo>
                  <a:cubicBezTo>
                    <a:pt x="4404" y="4025"/>
                    <a:pt x="4463" y="4025"/>
                    <a:pt x="4491" y="4025"/>
                  </a:cubicBezTo>
                  <a:cubicBezTo>
                    <a:pt x="4520" y="4025"/>
                    <a:pt x="4520" y="4025"/>
                    <a:pt x="4520" y="4025"/>
                  </a:cubicBezTo>
                  <a:cubicBezTo>
                    <a:pt x="4549" y="4025"/>
                    <a:pt x="4549" y="4025"/>
                    <a:pt x="4549" y="4025"/>
                  </a:cubicBezTo>
                  <a:lnTo>
                    <a:pt x="4549" y="4025"/>
                  </a:lnTo>
                  <a:lnTo>
                    <a:pt x="4549" y="4025"/>
                  </a:lnTo>
                  <a:lnTo>
                    <a:pt x="4549" y="4025"/>
                  </a:lnTo>
                  <a:cubicBezTo>
                    <a:pt x="4579" y="3996"/>
                    <a:pt x="4608" y="3967"/>
                    <a:pt x="4637" y="3967"/>
                  </a:cubicBezTo>
                  <a:lnTo>
                    <a:pt x="4666" y="3967"/>
                  </a:lnTo>
                  <a:cubicBezTo>
                    <a:pt x="4696" y="3967"/>
                    <a:pt x="4696" y="3967"/>
                    <a:pt x="4696" y="3967"/>
                  </a:cubicBezTo>
                  <a:cubicBezTo>
                    <a:pt x="4696" y="3967"/>
                    <a:pt x="4696" y="3967"/>
                    <a:pt x="4725" y="3938"/>
                  </a:cubicBezTo>
                  <a:cubicBezTo>
                    <a:pt x="4725" y="3938"/>
                    <a:pt x="4725" y="3938"/>
                    <a:pt x="4754" y="3938"/>
                  </a:cubicBezTo>
                  <a:cubicBezTo>
                    <a:pt x="4754" y="3938"/>
                    <a:pt x="4783" y="3938"/>
                    <a:pt x="4783" y="3908"/>
                  </a:cubicBezTo>
                  <a:cubicBezTo>
                    <a:pt x="4813" y="3908"/>
                    <a:pt x="4841" y="3908"/>
                    <a:pt x="4813" y="3879"/>
                  </a:cubicBezTo>
                  <a:cubicBezTo>
                    <a:pt x="4813" y="3850"/>
                    <a:pt x="4813" y="3850"/>
                    <a:pt x="4813" y="3850"/>
                  </a:cubicBezTo>
                  <a:cubicBezTo>
                    <a:pt x="4841" y="3850"/>
                    <a:pt x="4841" y="3850"/>
                    <a:pt x="4841" y="3850"/>
                  </a:cubicBezTo>
                  <a:cubicBezTo>
                    <a:pt x="4870" y="3850"/>
                    <a:pt x="4899" y="3821"/>
                    <a:pt x="4899" y="3821"/>
                  </a:cubicBezTo>
                  <a:cubicBezTo>
                    <a:pt x="4899" y="3791"/>
                    <a:pt x="4899" y="3791"/>
                    <a:pt x="4899" y="3791"/>
                  </a:cubicBezTo>
                  <a:cubicBezTo>
                    <a:pt x="4899" y="3733"/>
                    <a:pt x="4899" y="3646"/>
                    <a:pt x="4870" y="3617"/>
                  </a:cubicBezTo>
                  <a:cubicBezTo>
                    <a:pt x="4841" y="3617"/>
                    <a:pt x="4841" y="3617"/>
                    <a:pt x="4841" y="3617"/>
                  </a:cubicBezTo>
                  <a:cubicBezTo>
                    <a:pt x="4841" y="3588"/>
                    <a:pt x="4841" y="3588"/>
                    <a:pt x="4841" y="3588"/>
                  </a:cubicBezTo>
                  <a:cubicBezTo>
                    <a:pt x="4870" y="3558"/>
                    <a:pt x="4899" y="3558"/>
                    <a:pt x="4929" y="3529"/>
                  </a:cubicBezTo>
                  <a:cubicBezTo>
                    <a:pt x="4929" y="3529"/>
                    <a:pt x="4929" y="3529"/>
                    <a:pt x="4958" y="3529"/>
                  </a:cubicBezTo>
                  <a:cubicBezTo>
                    <a:pt x="4958" y="3529"/>
                    <a:pt x="4958" y="3529"/>
                    <a:pt x="4987" y="3500"/>
                  </a:cubicBezTo>
                  <a:cubicBezTo>
                    <a:pt x="4987" y="3500"/>
                    <a:pt x="5016" y="3471"/>
                    <a:pt x="5046" y="3471"/>
                  </a:cubicBezTo>
                  <a:cubicBezTo>
                    <a:pt x="5046" y="3471"/>
                    <a:pt x="5046" y="3471"/>
                    <a:pt x="5075" y="3471"/>
                  </a:cubicBezTo>
                  <a:lnTo>
                    <a:pt x="5075" y="3471"/>
                  </a:lnTo>
                  <a:cubicBezTo>
                    <a:pt x="5075" y="3500"/>
                    <a:pt x="5075" y="3500"/>
                    <a:pt x="5075" y="3500"/>
                  </a:cubicBezTo>
                  <a:cubicBezTo>
                    <a:pt x="5104" y="3529"/>
                    <a:pt x="5075" y="3558"/>
                    <a:pt x="5075" y="3588"/>
                  </a:cubicBezTo>
                  <a:cubicBezTo>
                    <a:pt x="5075" y="3617"/>
                    <a:pt x="5075" y="3617"/>
                    <a:pt x="5075" y="3617"/>
                  </a:cubicBezTo>
                  <a:lnTo>
                    <a:pt x="5075" y="3617"/>
                  </a:lnTo>
                  <a:cubicBezTo>
                    <a:pt x="5104" y="3617"/>
                    <a:pt x="5104" y="3617"/>
                    <a:pt x="5133" y="3617"/>
                  </a:cubicBezTo>
                  <a:cubicBezTo>
                    <a:pt x="5133" y="3646"/>
                    <a:pt x="5133" y="3646"/>
                    <a:pt x="5133" y="3646"/>
                  </a:cubicBezTo>
                  <a:cubicBezTo>
                    <a:pt x="5133" y="3646"/>
                    <a:pt x="5133" y="3646"/>
                    <a:pt x="5133" y="3675"/>
                  </a:cubicBezTo>
                  <a:lnTo>
                    <a:pt x="5133" y="3646"/>
                  </a:lnTo>
                  <a:cubicBezTo>
                    <a:pt x="5163" y="3646"/>
                    <a:pt x="5163" y="3646"/>
                    <a:pt x="5191" y="3617"/>
                  </a:cubicBezTo>
                  <a:cubicBezTo>
                    <a:pt x="5220" y="3588"/>
                    <a:pt x="5249" y="3558"/>
                    <a:pt x="5279" y="3558"/>
                  </a:cubicBezTo>
                  <a:cubicBezTo>
                    <a:pt x="5308" y="3558"/>
                    <a:pt x="5308" y="3558"/>
                    <a:pt x="5337" y="3558"/>
                  </a:cubicBezTo>
                  <a:cubicBezTo>
                    <a:pt x="5365" y="3558"/>
                    <a:pt x="5395" y="3588"/>
                    <a:pt x="5395" y="3558"/>
                  </a:cubicBezTo>
                  <a:cubicBezTo>
                    <a:pt x="5395" y="3529"/>
                    <a:pt x="5424" y="3471"/>
                    <a:pt x="5424" y="3471"/>
                  </a:cubicBezTo>
                  <a:cubicBezTo>
                    <a:pt x="5453" y="3412"/>
                    <a:pt x="5453" y="3412"/>
                    <a:pt x="5453" y="3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55" name="Freeform 333">
              <a:extLst>
                <a:ext uri="{FF2B5EF4-FFF2-40B4-BE49-F238E27FC236}">
                  <a16:creationId xmlns:a16="http://schemas.microsoft.com/office/drawing/2014/main" id="{4F4E8861-276F-4C48-AABF-EF6DA95029C9}"/>
                </a:ext>
              </a:extLst>
            </p:cNvPr>
            <p:cNvSpPr>
              <a:spLocks noChangeArrowheads="1"/>
            </p:cNvSpPr>
            <p:nvPr/>
          </p:nvSpPr>
          <p:spPr bwMode="auto">
            <a:xfrm>
              <a:off x="3834183" y="2953494"/>
              <a:ext cx="1631" cy="11328"/>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56" name="Freeform 334">
              <a:extLst>
                <a:ext uri="{FF2B5EF4-FFF2-40B4-BE49-F238E27FC236}">
                  <a16:creationId xmlns:a16="http://schemas.microsoft.com/office/drawing/2014/main" id="{22B153A4-3CC9-47CB-9B8D-F987E3BDC5BA}"/>
                </a:ext>
              </a:extLst>
            </p:cNvPr>
            <p:cNvSpPr>
              <a:spLocks noChangeArrowheads="1"/>
            </p:cNvSpPr>
            <p:nvPr/>
          </p:nvSpPr>
          <p:spPr bwMode="auto">
            <a:xfrm>
              <a:off x="3845599" y="2976151"/>
              <a:ext cx="11415" cy="22656"/>
            </a:xfrm>
            <a:custGeom>
              <a:avLst/>
              <a:gdLst>
                <a:gd name="T0" fmla="*/ 0 w 30"/>
                <a:gd name="T1" fmla="*/ 0 h 60"/>
                <a:gd name="T2" fmla="*/ 0 w 30"/>
                <a:gd name="T3" fmla="*/ 0 h 60"/>
                <a:gd name="T4" fmla="*/ 0 w 30"/>
                <a:gd name="T5" fmla="*/ 30 h 60"/>
                <a:gd name="T6" fmla="*/ 29 w 30"/>
                <a:gd name="T7" fmla="*/ 59 h 60"/>
                <a:gd name="T8" fmla="*/ 0 w 30"/>
                <a:gd name="T9" fmla="*/ 30 h 60"/>
                <a:gd name="T10" fmla="*/ 0 w 30"/>
                <a:gd name="T11" fmla="*/ 0 h 60"/>
              </a:gdLst>
              <a:ahLst/>
              <a:cxnLst>
                <a:cxn ang="0">
                  <a:pos x="T0" y="T1"/>
                </a:cxn>
                <a:cxn ang="0">
                  <a:pos x="T2" y="T3"/>
                </a:cxn>
                <a:cxn ang="0">
                  <a:pos x="T4" y="T5"/>
                </a:cxn>
                <a:cxn ang="0">
                  <a:pos x="T6" y="T7"/>
                </a:cxn>
                <a:cxn ang="0">
                  <a:pos x="T8" y="T9"/>
                </a:cxn>
                <a:cxn ang="0">
                  <a:pos x="T10" y="T11"/>
                </a:cxn>
              </a:cxnLst>
              <a:rect l="0" t="0" r="r" b="b"/>
              <a:pathLst>
                <a:path w="30" h="60">
                  <a:moveTo>
                    <a:pt x="0" y="0"/>
                  </a:moveTo>
                  <a:lnTo>
                    <a:pt x="0" y="0"/>
                  </a:lnTo>
                  <a:lnTo>
                    <a:pt x="0" y="30"/>
                  </a:lnTo>
                  <a:cubicBezTo>
                    <a:pt x="0" y="30"/>
                    <a:pt x="29" y="30"/>
                    <a:pt x="29" y="59"/>
                  </a:cubicBezTo>
                  <a:cubicBezTo>
                    <a:pt x="29" y="30"/>
                    <a:pt x="0" y="30"/>
                    <a:pt x="0" y="30"/>
                  </a:cubicBez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57" name="Freeform 335">
              <a:extLst>
                <a:ext uri="{FF2B5EF4-FFF2-40B4-BE49-F238E27FC236}">
                  <a16:creationId xmlns:a16="http://schemas.microsoft.com/office/drawing/2014/main" id="{F93350F4-E72D-4B9C-BD82-F83AFF54A426}"/>
                </a:ext>
              </a:extLst>
            </p:cNvPr>
            <p:cNvSpPr>
              <a:spLocks noChangeArrowheads="1"/>
            </p:cNvSpPr>
            <p:nvPr/>
          </p:nvSpPr>
          <p:spPr bwMode="auto">
            <a:xfrm>
              <a:off x="3878216" y="2869341"/>
              <a:ext cx="75019" cy="21038"/>
            </a:xfrm>
            <a:custGeom>
              <a:avLst/>
              <a:gdLst>
                <a:gd name="T0" fmla="*/ 0 w 204"/>
                <a:gd name="T1" fmla="*/ 0 h 59"/>
                <a:gd name="T2" fmla="*/ 0 w 204"/>
                <a:gd name="T3" fmla="*/ 0 h 59"/>
                <a:gd name="T4" fmla="*/ 29 w 204"/>
                <a:gd name="T5" fmla="*/ 0 h 59"/>
                <a:gd name="T6" fmla="*/ 116 w 204"/>
                <a:gd name="T7" fmla="*/ 58 h 59"/>
                <a:gd name="T8" fmla="*/ 145 w 204"/>
                <a:gd name="T9" fmla="*/ 58 h 59"/>
                <a:gd name="T10" fmla="*/ 203 w 204"/>
                <a:gd name="T11" fmla="*/ 29 h 59"/>
                <a:gd name="T12" fmla="*/ 145 w 204"/>
                <a:gd name="T13" fmla="*/ 58 h 59"/>
                <a:gd name="T14" fmla="*/ 116 w 204"/>
                <a:gd name="T15" fmla="*/ 58 h 59"/>
                <a:gd name="T16" fmla="*/ 29 w 204"/>
                <a:gd name="T17" fmla="*/ 0 h 59"/>
                <a:gd name="T18" fmla="*/ 0 w 204"/>
                <a:gd name="T19" fmla="*/ 0 h 59"/>
                <a:gd name="T20" fmla="*/ 29 w 204"/>
                <a:gd name="T21" fmla="*/ 0 h 59"/>
                <a:gd name="T22" fmla="*/ 0 w 204"/>
                <a:gd name="T2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4" h="59">
                  <a:moveTo>
                    <a:pt x="0" y="0"/>
                  </a:moveTo>
                  <a:lnTo>
                    <a:pt x="0" y="0"/>
                  </a:lnTo>
                  <a:cubicBezTo>
                    <a:pt x="29" y="0"/>
                    <a:pt x="29" y="0"/>
                    <a:pt x="29" y="0"/>
                  </a:cubicBezTo>
                  <a:cubicBezTo>
                    <a:pt x="57" y="29"/>
                    <a:pt x="86" y="29"/>
                    <a:pt x="116" y="58"/>
                  </a:cubicBezTo>
                  <a:cubicBezTo>
                    <a:pt x="116" y="58"/>
                    <a:pt x="116" y="58"/>
                    <a:pt x="145" y="58"/>
                  </a:cubicBezTo>
                  <a:cubicBezTo>
                    <a:pt x="174" y="58"/>
                    <a:pt x="174" y="58"/>
                    <a:pt x="203" y="29"/>
                  </a:cubicBezTo>
                  <a:cubicBezTo>
                    <a:pt x="174" y="58"/>
                    <a:pt x="174" y="58"/>
                    <a:pt x="145" y="58"/>
                  </a:cubicBezTo>
                  <a:cubicBezTo>
                    <a:pt x="116" y="58"/>
                    <a:pt x="116" y="58"/>
                    <a:pt x="116" y="58"/>
                  </a:cubicBezTo>
                  <a:cubicBezTo>
                    <a:pt x="86" y="29"/>
                    <a:pt x="57" y="29"/>
                    <a:pt x="29" y="0"/>
                  </a:cubicBezTo>
                  <a:cubicBezTo>
                    <a:pt x="29" y="0"/>
                    <a:pt x="29" y="0"/>
                    <a:pt x="0" y="0"/>
                  </a:cubicBez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58" name="Freeform 336">
              <a:extLst>
                <a:ext uri="{FF2B5EF4-FFF2-40B4-BE49-F238E27FC236}">
                  <a16:creationId xmlns:a16="http://schemas.microsoft.com/office/drawing/2014/main" id="{E839CA6A-C84B-4FD3-A1B7-FED966CEDC5B}"/>
                </a:ext>
              </a:extLst>
            </p:cNvPr>
            <p:cNvSpPr>
              <a:spLocks noChangeArrowheads="1"/>
            </p:cNvSpPr>
            <p:nvPr/>
          </p:nvSpPr>
          <p:spPr bwMode="auto">
            <a:xfrm>
              <a:off x="3822768" y="2858013"/>
              <a:ext cx="22832" cy="11329"/>
            </a:xfrm>
            <a:custGeom>
              <a:avLst/>
              <a:gdLst>
                <a:gd name="T0" fmla="*/ 30 w 60"/>
                <a:gd name="T1" fmla="*/ 0 h 30"/>
                <a:gd name="T2" fmla="*/ 30 w 60"/>
                <a:gd name="T3" fmla="*/ 0 h 30"/>
                <a:gd name="T4" fmla="*/ 0 w 60"/>
                <a:gd name="T5" fmla="*/ 29 h 30"/>
                <a:gd name="T6" fmla="*/ 30 w 60"/>
                <a:gd name="T7" fmla="*/ 0 h 30"/>
                <a:gd name="T8" fmla="*/ 59 w 60"/>
                <a:gd name="T9" fmla="*/ 0 h 30"/>
                <a:gd name="T10" fmla="*/ 30 w 60"/>
                <a:gd name="T11" fmla="*/ 0 h 30"/>
              </a:gdLst>
              <a:ahLst/>
              <a:cxnLst>
                <a:cxn ang="0">
                  <a:pos x="T0" y="T1"/>
                </a:cxn>
                <a:cxn ang="0">
                  <a:pos x="T2" y="T3"/>
                </a:cxn>
                <a:cxn ang="0">
                  <a:pos x="T4" y="T5"/>
                </a:cxn>
                <a:cxn ang="0">
                  <a:pos x="T6" y="T7"/>
                </a:cxn>
                <a:cxn ang="0">
                  <a:pos x="T8" y="T9"/>
                </a:cxn>
                <a:cxn ang="0">
                  <a:pos x="T10" y="T11"/>
                </a:cxn>
              </a:cxnLst>
              <a:rect l="0" t="0" r="r" b="b"/>
              <a:pathLst>
                <a:path w="60" h="30">
                  <a:moveTo>
                    <a:pt x="30" y="0"/>
                  </a:moveTo>
                  <a:lnTo>
                    <a:pt x="30" y="0"/>
                  </a:lnTo>
                  <a:cubicBezTo>
                    <a:pt x="30" y="0"/>
                    <a:pt x="30" y="0"/>
                    <a:pt x="0" y="29"/>
                  </a:cubicBezTo>
                  <a:cubicBezTo>
                    <a:pt x="30" y="0"/>
                    <a:pt x="30" y="0"/>
                    <a:pt x="30" y="0"/>
                  </a:cubicBezTo>
                  <a:cubicBezTo>
                    <a:pt x="30" y="0"/>
                    <a:pt x="30" y="0"/>
                    <a:pt x="59" y="0"/>
                  </a:cubicBezTo>
                  <a:cubicBezTo>
                    <a:pt x="30" y="0"/>
                    <a:pt x="3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59" name="Freeform 337">
              <a:extLst>
                <a:ext uri="{FF2B5EF4-FFF2-40B4-BE49-F238E27FC236}">
                  <a16:creationId xmlns:a16="http://schemas.microsoft.com/office/drawing/2014/main" id="{CE13E42F-AC2E-4889-8E2E-9525569CCA53}"/>
                </a:ext>
              </a:extLst>
            </p:cNvPr>
            <p:cNvSpPr>
              <a:spLocks noChangeArrowheads="1"/>
            </p:cNvSpPr>
            <p:nvPr/>
          </p:nvSpPr>
          <p:spPr bwMode="auto">
            <a:xfrm>
              <a:off x="3747749" y="2772242"/>
              <a:ext cx="11415" cy="43694"/>
            </a:xfrm>
            <a:custGeom>
              <a:avLst/>
              <a:gdLst>
                <a:gd name="T0" fmla="*/ 29 w 30"/>
                <a:gd name="T1" fmla="*/ 58 h 117"/>
                <a:gd name="T2" fmla="*/ 29 w 30"/>
                <a:gd name="T3" fmla="*/ 58 h 117"/>
                <a:gd name="T4" fmla="*/ 0 w 30"/>
                <a:gd name="T5" fmla="*/ 0 h 117"/>
                <a:gd name="T6" fmla="*/ 0 w 30"/>
                <a:gd name="T7" fmla="*/ 0 h 117"/>
                <a:gd name="T8" fmla="*/ 0 w 30"/>
                <a:gd name="T9" fmla="*/ 0 h 117"/>
                <a:gd name="T10" fmla="*/ 29 w 30"/>
                <a:gd name="T11" fmla="*/ 58 h 117"/>
                <a:gd name="T12" fmla="*/ 29 w 30"/>
                <a:gd name="T13" fmla="*/ 116 h 117"/>
                <a:gd name="T14" fmla="*/ 29 w 30"/>
                <a:gd name="T15" fmla="*/ 116 h 117"/>
                <a:gd name="T16" fmla="*/ 29 w 30"/>
                <a:gd name="T17" fmla="*/ 58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17">
                  <a:moveTo>
                    <a:pt x="29" y="58"/>
                  </a:moveTo>
                  <a:lnTo>
                    <a:pt x="29" y="58"/>
                  </a:lnTo>
                  <a:cubicBezTo>
                    <a:pt x="29" y="29"/>
                    <a:pt x="0" y="29"/>
                    <a:pt x="0" y="0"/>
                  </a:cubicBezTo>
                  <a:lnTo>
                    <a:pt x="0" y="0"/>
                  </a:lnTo>
                  <a:lnTo>
                    <a:pt x="0" y="0"/>
                  </a:lnTo>
                  <a:cubicBezTo>
                    <a:pt x="0" y="29"/>
                    <a:pt x="29" y="29"/>
                    <a:pt x="29" y="58"/>
                  </a:cubicBezTo>
                  <a:cubicBezTo>
                    <a:pt x="29" y="86"/>
                    <a:pt x="29" y="86"/>
                    <a:pt x="29" y="116"/>
                  </a:cubicBezTo>
                  <a:lnTo>
                    <a:pt x="29" y="116"/>
                  </a:lnTo>
                  <a:cubicBezTo>
                    <a:pt x="29" y="86"/>
                    <a:pt x="29" y="86"/>
                    <a:pt x="29"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60" name="Freeform 338">
              <a:extLst>
                <a:ext uri="{FF2B5EF4-FFF2-40B4-BE49-F238E27FC236}">
                  <a16:creationId xmlns:a16="http://schemas.microsoft.com/office/drawing/2014/main" id="{6A650DB2-591C-4E01-A05F-8E56BA009230}"/>
                </a:ext>
              </a:extLst>
            </p:cNvPr>
            <p:cNvSpPr>
              <a:spLocks noChangeArrowheads="1"/>
            </p:cNvSpPr>
            <p:nvPr/>
          </p:nvSpPr>
          <p:spPr bwMode="auto">
            <a:xfrm>
              <a:off x="3693930" y="2612028"/>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61" name="Freeform 339">
              <a:extLst>
                <a:ext uri="{FF2B5EF4-FFF2-40B4-BE49-F238E27FC236}">
                  <a16:creationId xmlns:a16="http://schemas.microsoft.com/office/drawing/2014/main" id="{7428B5CF-D6E9-41F5-92D9-814BEFEC5DB7}"/>
                </a:ext>
              </a:extLst>
            </p:cNvPr>
            <p:cNvSpPr>
              <a:spLocks noChangeArrowheads="1"/>
            </p:cNvSpPr>
            <p:nvPr/>
          </p:nvSpPr>
          <p:spPr bwMode="auto">
            <a:xfrm>
              <a:off x="3791781" y="1382105"/>
              <a:ext cx="1262274" cy="983939"/>
            </a:xfrm>
            <a:custGeom>
              <a:avLst/>
              <a:gdLst>
                <a:gd name="T0" fmla="*/ 175 w 3413"/>
                <a:gd name="T1" fmla="*/ 1487 h 2683"/>
                <a:gd name="T2" fmla="*/ 29 w 3413"/>
                <a:gd name="T3" fmla="*/ 1516 h 2683"/>
                <a:gd name="T4" fmla="*/ 87 w 3413"/>
                <a:gd name="T5" fmla="*/ 1633 h 2683"/>
                <a:gd name="T6" fmla="*/ 87 w 3413"/>
                <a:gd name="T7" fmla="*/ 1750 h 2683"/>
                <a:gd name="T8" fmla="*/ 87 w 3413"/>
                <a:gd name="T9" fmla="*/ 1779 h 2683"/>
                <a:gd name="T10" fmla="*/ 87 w 3413"/>
                <a:gd name="T11" fmla="*/ 1925 h 2683"/>
                <a:gd name="T12" fmla="*/ 2917 w 3413"/>
                <a:gd name="T13" fmla="*/ 2245 h 2683"/>
                <a:gd name="T14" fmla="*/ 3120 w 3413"/>
                <a:gd name="T15" fmla="*/ 1545 h 2683"/>
                <a:gd name="T16" fmla="*/ 3237 w 3413"/>
                <a:gd name="T17" fmla="*/ 1195 h 2683"/>
                <a:gd name="T18" fmla="*/ 3237 w 3413"/>
                <a:gd name="T19" fmla="*/ 1195 h 2683"/>
                <a:gd name="T20" fmla="*/ 3325 w 3413"/>
                <a:gd name="T21" fmla="*/ 1108 h 2683"/>
                <a:gd name="T22" fmla="*/ 3354 w 3413"/>
                <a:gd name="T23" fmla="*/ 1108 h 2683"/>
                <a:gd name="T24" fmla="*/ 3325 w 3413"/>
                <a:gd name="T25" fmla="*/ 992 h 2683"/>
                <a:gd name="T26" fmla="*/ 3325 w 3413"/>
                <a:gd name="T27" fmla="*/ 962 h 2683"/>
                <a:gd name="T28" fmla="*/ 3296 w 3413"/>
                <a:gd name="T29" fmla="*/ 875 h 2683"/>
                <a:gd name="T30" fmla="*/ 2946 w 3413"/>
                <a:gd name="T31" fmla="*/ 700 h 2683"/>
                <a:gd name="T32" fmla="*/ 2537 w 3413"/>
                <a:gd name="T33" fmla="*/ 612 h 2683"/>
                <a:gd name="T34" fmla="*/ 2420 w 3413"/>
                <a:gd name="T35" fmla="*/ 642 h 2683"/>
                <a:gd name="T36" fmla="*/ 2362 w 3413"/>
                <a:gd name="T37" fmla="*/ 612 h 2683"/>
                <a:gd name="T38" fmla="*/ 2304 w 3413"/>
                <a:gd name="T39" fmla="*/ 642 h 2683"/>
                <a:gd name="T40" fmla="*/ 2012 w 3413"/>
                <a:gd name="T41" fmla="*/ 612 h 2683"/>
                <a:gd name="T42" fmla="*/ 1896 w 3413"/>
                <a:gd name="T43" fmla="*/ 583 h 2683"/>
                <a:gd name="T44" fmla="*/ 1837 w 3413"/>
                <a:gd name="T45" fmla="*/ 583 h 2683"/>
                <a:gd name="T46" fmla="*/ 1691 w 3413"/>
                <a:gd name="T47" fmla="*/ 525 h 2683"/>
                <a:gd name="T48" fmla="*/ 1634 w 3413"/>
                <a:gd name="T49" fmla="*/ 495 h 2683"/>
                <a:gd name="T50" fmla="*/ 1400 w 3413"/>
                <a:gd name="T51" fmla="*/ 466 h 2683"/>
                <a:gd name="T52" fmla="*/ 1254 w 3413"/>
                <a:gd name="T53" fmla="*/ 292 h 2683"/>
                <a:gd name="T54" fmla="*/ 1254 w 3413"/>
                <a:gd name="T55" fmla="*/ 262 h 2683"/>
                <a:gd name="T56" fmla="*/ 1050 w 3413"/>
                <a:gd name="T57" fmla="*/ 87 h 2683"/>
                <a:gd name="T58" fmla="*/ 904 w 3413"/>
                <a:gd name="T59" fmla="*/ 59 h 2683"/>
                <a:gd name="T60" fmla="*/ 787 w 3413"/>
                <a:gd name="T61" fmla="*/ 321 h 2683"/>
                <a:gd name="T62" fmla="*/ 729 w 3413"/>
                <a:gd name="T63" fmla="*/ 408 h 2683"/>
                <a:gd name="T64" fmla="*/ 729 w 3413"/>
                <a:gd name="T65" fmla="*/ 437 h 2683"/>
                <a:gd name="T66" fmla="*/ 641 w 3413"/>
                <a:gd name="T67" fmla="*/ 583 h 2683"/>
                <a:gd name="T68" fmla="*/ 613 w 3413"/>
                <a:gd name="T69" fmla="*/ 700 h 2683"/>
                <a:gd name="T70" fmla="*/ 525 w 3413"/>
                <a:gd name="T71" fmla="*/ 933 h 2683"/>
                <a:gd name="T72" fmla="*/ 496 w 3413"/>
                <a:gd name="T73" fmla="*/ 1021 h 2683"/>
                <a:gd name="T74" fmla="*/ 350 w 3413"/>
                <a:gd name="T75" fmla="*/ 1166 h 2683"/>
                <a:gd name="T76" fmla="*/ 350 w 3413"/>
                <a:gd name="T77" fmla="*/ 1195 h 2683"/>
                <a:gd name="T78" fmla="*/ 320 w 3413"/>
                <a:gd name="T79" fmla="*/ 1195 h 2683"/>
                <a:gd name="T80" fmla="*/ 291 w 3413"/>
                <a:gd name="T81" fmla="*/ 1283 h 2683"/>
                <a:gd name="T82" fmla="*/ 234 w 3413"/>
                <a:gd name="T83" fmla="*/ 1312 h 2683"/>
                <a:gd name="T84" fmla="*/ 234 w 3413"/>
                <a:gd name="T85" fmla="*/ 1429 h 2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13" h="2683">
                  <a:moveTo>
                    <a:pt x="175" y="1487"/>
                  </a:moveTo>
                  <a:lnTo>
                    <a:pt x="175" y="1487"/>
                  </a:lnTo>
                  <a:cubicBezTo>
                    <a:pt x="146" y="1516"/>
                    <a:pt x="117" y="1516"/>
                    <a:pt x="87" y="1516"/>
                  </a:cubicBezTo>
                  <a:cubicBezTo>
                    <a:pt x="58" y="1487"/>
                    <a:pt x="29" y="1487"/>
                    <a:pt x="29" y="1516"/>
                  </a:cubicBezTo>
                  <a:cubicBezTo>
                    <a:pt x="0" y="1545"/>
                    <a:pt x="29" y="1545"/>
                    <a:pt x="58" y="1575"/>
                  </a:cubicBezTo>
                  <a:cubicBezTo>
                    <a:pt x="58" y="1575"/>
                    <a:pt x="87" y="1604"/>
                    <a:pt x="87" y="1633"/>
                  </a:cubicBezTo>
                  <a:cubicBezTo>
                    <a:pt x="117" y="1662"/>
                    <a:pt x="87" y="1692"/>
                    <a:pt x="87" y="1692"/>
                  </a:cubicBezTo>
                  <a:cubicBezTo>
                    <a:pt x="87" y="1721"/>
                    <a:pt x="87" y="1750"/>
                    <a:pt x="87" y="1750"/>
                  </a:cubicBezTo>
                  <a:cubicBezTo>
                    <a:pt x="87" y="1779"/>
                    <a:pt x="87" y="1779"/>
                    <a:pt x="87" y="1779"/>
                  </a:cubicBezTo>
                  <a:lnTo>
                    <a:pt x="87" y="1779"/>
                  </a:lnTo>
                  <a:cubicBezTo>
                    <a:pt x="58" y="1808"/>
                    <a:pt x="58" y="1837"/>
                    <a:pt x="58" y="1895"/>
                  </a:cubicBezTo>
                  <a:cubicBezTo>
                    <a:pt x="58" y="1895"/>
                    <a:pt x="87" y="1895"/>
                    <a:pt x="87" y="1925"/>
                  </a:cubicBezTo>
                  <a:cubicBezTo>
                    <a:pt x="1079" y="2245"/>
                    <a:pt x="1954" y="2479"/>
                    <a:pt x="2770" y="2682"/>
                  </a:cubicBezTo>
                  <a:cubicBezTo>
                    <a:pt x="2829" y="2536"/>
                    <a:pt x="2858" y="2392"/>
                    <a:pt x="2917" y="2245"/>
                  </a:cubicBezTo>
                  <a:cubicBezTo>
                    <a:pt x="2946" y="2100"/>
                    <a:pt x="2975" y="1925"/>
                    <a:pt x="3033" y="1779"/>
                  </a:cubicBezTo>
                  <a:cubicBezTo>
                    <a:pt x="3004" y="1692"/>
                    <a:pt x="3062" y="1604"/>
                    <a:pt x="3120" y="1545"/>
                  </a:cubicBezTo>
                  <a:cubicBezTo>
                    <a:pt x="3120" y="1458"/>
                    <a:pt x="3150" y="1400"/>
                    <a:pt x="3179" y="1342"/>
                  </a:cubicBezTo>
                  <a:cubicBezTo>
                    <a:pt x="3208" y="1312"/>
                    <a:pt x="3208" y="1254"/>
                    <a:pt x="3237" y="1195"/>
                  </a:cubicBezTo>
                  <a:lnTo>
                    <a:pt x="3237" y="1195"/>
                  </a:lnTo>
                  <a:lnTo>
                    <a:pt x="3237" y="1195"/>
                  </a:lnTo>
                  <a:lnTo>
                    <a:pt x="3267" y="1166"/>
                  </a:lnTo>
                  <a:cubicBezTo>
                    <a:pt x="3296" y="1166"/>
                    <a:pt x="3325" y="1137"/>
                    <a:pt x="3325" y="1108"/>
                  </a:cubicBezTo>
                  <a:cubicBezTo>
                    <a:pt x="3354" y="1108"/>
                    <a:pt x="3354" y="1108"/>
                    <a:pt x="3354" y="1108"/>
                  </a:cubicBezTo>
                  <a:lnTo>
                    <a:pt x="3354" y="1108"/>
                  </a:lnTo>
                  <a:cubicBezTo>
                    <a:pt x="3383" y="1108"/>
                    <a:pt x="3383" y="1108"/>
                    <a:pt x="3383" y="1079"/>
                  </a:cubicBezTo>
                  <a:cubicBezTo>
                    <a:pt x="3412" y="1050"/>
                    <a:pt x="3354" y="992"/>
                    <a:pt x="3325" y="992"/>
                  </a:cubicBezTo>
                  <a:cubicBezTo>
                    <a:pt x="3325" y="962"/>
                    <a:pt x="3325" y="962"/>
                    <a:pt x="3325" y="962"/>
                  </a:cubicBezTo>
                  <a:lnTo>
                    <a:pt x="3325" y="962"/>
                  </a:lnTo>
                  <a:lnTo>
                    <a:pt x="3325" y="962"/>
                  </a:lnTo>
                  <a:cubicBezTo>
                    <a:pt x="3325" y="933"/>
                    <a:pt x="3296" y="904"/>
                    <a:pt x="3296" y="875"/>
                  </a:cubicBezTo>
                  <a:cubicBezTo>
                    <a:pt x="3267" y="845"/>
                    <a:pt x="3267" y="816"/>
                    <a:pt x="3237" y="787"/>
                  </a:cubicBezTo>
                  <a:cubicBezTo>
                    <a:pt x="3150" y="758"/>
                    <a:pt x="3062" y="729"/>
                    <a:pt x="2946" y="700"/>
                  </a:cubicBezTo>
                  <a:cubicBezTo>
                    <a:pt x="2829" y="671"/>
                    <a:pt x="2712" y="642"/>
                    <a:pt x="2567" y="612"/>
                  </a:cubicBezTo>
                  <a:cubicBezTo>
                    <a:pt x="2567" y="612"/>
                    <a:pt x="2567" y="612"/>
                    <a:pt x="2537" y="612"/>
                  </a:cubicBezTo>
                  <a:cubicBezTo>
                    <a:pt x="2537" y="612"/>
                    <a:pt x="2508" y="612"/>
                    <a:pt x="2479" y="612"/>
                  </a:cubicBezTo>
                  <a:cubicBezTo>
                    <a:pt x="2479" y="612"/>
                    <a:pt x="2450" y="642"/>
                    <a:pt x="2420" y="642"/>
                  </a:cubicBezTo>
                  <a:cubicBezTo>
                    <a:pt x="2420" y="642"/>
                    <a:pt x="2391" y="642"/>
                    <a:pt x="2391" y="612"/>
                  </a:cubicBezTo>
                  <a:cubicBezTo>
                    <a:pt x="2362" y="612"/>
                    <a:pt x="2362" y="612"/>
                    <a:pt x="2362" y="612"/>
                  </a:cubicBezTo>
                  <a:lnTo>
                    <a:pt x="2333" y="612"/>
                  </a:lnTo>
                  <a:cubicBezTo>
                    <a:pt x="2333" y="642"/>
                    <a:pt x="2333" y="642"/>
                    <a:pt x="2304" y="642"/>
                  </a:cubicBezTo>
                  <a:cubicBezTo>
                    <a:pt x="2246" y="642"/>
                    <a:pt x="2187" y="642"/>
                    <a:pt x="2100" y="642"/>
                  </a:cubicBezTo>
                  <a:cubicBezTo>
                    <a:pt x="2070" y="642"/>
                    <a:pt x="2041" y="612"/>
                    <a:pt x="2012" y="612"/>
                  </a:cubicBezTo>
                  <a:cubicBezTo>
                    <a:pt x="1983" y="612"/>
                    <a:pt x="1983" y="583"/>
                    <a:pt x="1983" y="583"/>
                  </a:cubicBezTo>
                  <a:cubicBezTo>
                    <a:pt x="1954" y="583"/>
                    <a:pt x="1925" y="583"/>
                    <a:pt x="1896" y="583"/>
                  </a:cubicBezTo>
                  <a:lnTo>
                    <a:pt x="1867" y="583"/>
                  </a:lnTo>
                  <a:cubicBezTo>
                    <a:pt x="1837" y="583"/>
                    <a:pt x="1837" y="583"/>
                    <a:pt x="1837" y="583"/>
                  </a:cubicBezTo>
                  <a:cubicBezTo>
                    <a:pt x="1808" y="583"/>
                    <a:pt x="1779" y="583"/>
                    <a:pt x="1750" y="583"/>
                  </a:cubicBezTo>
                  <a:cubicBezTo>
                    <a:pt x="1720" y="554"/>
                    <a:pt x="1720" y="554"/>
                    <a:pt x="1691" y="525"/>
                  </a:cubicBezTo>
                  <a:cubicBezTo>
                    <a:pt x="1691" y="495"/>
                    <a:pt x="1691" y="495"/>
                    <a:pt x="1691" y="495"/>
                  </a:cubicBezTo>
                  <a:cubicBezTo>
                    <a:pt x="1662" y="495"/>
                    <a:pt x="1634" y="495"/>
                    <a:pt x="1634" y="495"/>
                  </a:cubicBezTo>
                  <a:cubicBezTo>
                    <a:pt x="1604" y="495"/>
                    <a:pt x="1575" y="495"/>
                    <a:pt x="1575" y="495"/>
                  </a:cubicBezTo>
                  <a:cubicBezTo>
                    <a:pt x="1517" y="495"/>
                    <a:pt x="1429" y="495"/>
                    <a:pt x="1400" y="466"/>
                  </a:cubicBezTo>
                  <a:cubicBezTo>
                    <a:pt x="1370" y="466"/>
                    <a:pt x="1254" y="379"/>
                    <a:pt x="1254" y="350"/>
                  </a:cubicBezTo>
                  <a:cubicBezTo>
                    <a:pt x="1254" y="321"/>
                    <a:pt x="1254" y="321"/>
                    <a:pt x="1254" y="292"/>
                  </a:cubicBezTo>
                  <a:cubicBezTo>
                    <a:pt x="1284" y="292"/>
                    <a:pt x="1284" y="292"/>
                    <a:pt x="1284" y="292"/>
                  </a:cubicBezTo>
                  <a:lnTo>
                    <a:pt x="1254" y="262"/>
                  </a:lnTo>
                  <a:cubicBezTo>
                    <a:pt x="1254" y="233"/>
                    <a:pt x="1225" y="204"/>
                    <a:pt x="1225" y="175"/>
                  </a:cubicBezTo>
                  <a:cubicBezTo>
                    <a:pt x="1196" y="116"/>
                    <a:pt x="1137" y="87"/>
                    <a:pt x="1050" y="87"/>
                  </a:cubicBezTo>
                  <a:cubicBezTo>
                    <a:pt x="991" y="59"/>
                    <a:pt x="934" y="29"/>
                    <a:pt x="904" y="0"/>
                  </a:cubicBezTo>
                  <a:cubicBezTo>
                    <a:pt x="875" y="29"/>
                    <a:pt x="875" y="29"/>
                    <a:pt x="904" y="59"/>
                  </a:cubicBezTo>
                  <a:cubicBezTo>
                    <a:pt x="904" y="87"/>
                    <a:pt x="904" y="116"/>
                    <a:pt x="904" y="116"/>
                  </a:cubicBezTo>
                  <a:cubicBezTo>
                    <a:pt x="904" y="204"/>
                    <a:pt x="846" y="262"/>
                    <a:pt x="787" y="321"/>
                  </a:cubicBezTo>
                  <a:cubicBezTo>
                    <a:pt x="758" y="350"/>
                    <a:pt x="758" y="350"/>
                    <a:pt x="729" y="379"/>
                  </a:cubicBezTo>
                  <a:cubicBezTo>
                    <a:pt x="729" y="379"/>
                    <a:pt x="729" y="379"/>
                    <a:pt x="729" y="408"/>
                  </a:cubicBezTo>
                  <a:cubicBezTo>
                    <a:pt x="729" y="408"/>
                    <a:pt x="729" y="408"/>
                    <a:pt x="729" y="437"/>
                  </a:cubicBezTo>
                  <a:lnTo>
                    <a:pt x="729" y="437"/>
                  </a:lnTo>
                  <a:lnTo>
                    <a:pt x="729" y="437"/>
                  </a:lnTo>
                  <a:cubicBezTo>
                    <a:pt x="670" y="466"/>
                    <a:pt x="670" y="525"/>
                    <a:pt x="641" y="583"/>
                  </a:cubicBezTo>
                  <a:cubicBezTo>
                    <a:pt x="641" y="612"/>
                    <a:pt x="641" y="642"/>
                    <a:pt x="613" y="642"/>
                  </a:cubicBezTo>
                  <a:cubicBezTo>
                    <a:pt x="613" y="671"/>
                    <a:pt x="613" y="671"/>
                    <a:pt x="613" y="700"/>
                  </a:cubicBezTo>
                  <a:cubicBezTo>
                    <a:pt x="584" y="729"/>
                    <a:pt x="554" y="787"/>
                    <a:pt x="525" y="816"/>
                  </a:cubicBezTo>
                  <a:cubicBezTo>
                    <a:pt x="584" y="875"/>
                    <a:pt x="525" y="904"/>
                    <a:pt x="525" y="933"/>
                  </a:cubicBezTo>
                  <a:cubicBezTo>
                    <a:pt x="496" y="962"/>
                    <a:pt x="467" y="962"/>
                    <a:pt x="467" y="1021"/>
                  </a:cubicBezTo>
                  <a:cubicBezTo>
                    <a:pt x="496" y="1021"/>
                    <a:pt x="496" y="1021"/>
                    <a:pt x="496" y="1021"/>
                  </a:cubicBezTo>
                  <a:cubicBezTo>
                    <a:pt x="467" y="1021"/>
                    <a:pt x="467" y="1021"/>
                    <a:pt x="467" y="1021"/>
                  </a:cubicBezTo>
                  <a:cubicBezTo>
                    <a:pt x="408" y="1050"/>
                    <a:pt x="379" y="1108"/>
                    <a:pt x="350" y="1166"/>
                  </a:cubicBezTo>
                  <a:cubicBezTo>
                    <a:pt x="350" y="1195"/>
                    <a:pt x="350" y="1195"/>
                    <a:pt x="350" y="1195"/>
                  </a:cubicBezTo>
                  <a:lnTo>
                    <a:pt x="350" y="1195"/>
                  </a:lnTo>
                  <a:cubicBezTo>
                    <a:pt x="320" y="1195"/>
                    <a:pt x="320" y="1195"/>
                    <a:pt x="320" y="1195"/>
                  </a:cubicBezTo>
                  <a:lnTo>
                    <a:pt x="320" y="1195"/>
                  </a:lnTo>
                  <a:cubicBezTo>
                    <a:pt x="320" y="1225"/>
                    <a:pt x="320" y="1225"/>
                    <a:pt x="320" y="1225"/>
                  </a:cubicBezTo>
                  <a:cubicBezTo>
                    <a:pt x="320" y="1254"/>
                    <a:pt x="320" y="1254"/>
                    <a:pt x="291" y="1283"/>
                  </a:cubicBezTo>
                  <a:cubicBezTo>
                    <a:pt x="291" y="1283"/>
                    <a:pt x="291" y="1312"/>
                    <a:pt x="263" y="1312"/>
                  </a:cubicBezTo>
                  <a:cubicBezTo>
                    <a:pt x="263" y="1312"/>
                    <a:pt x="263" y="1312"/>
                    <a:pt x="234" y="1312"/>
                  </a:cubicBezTo>
                  <a:cubicBezTo>
                    <a:pt x="234" y="1342"/>
                    <a:pt x="234" y="1342"/>
                    <a:pt x="234" y="1371"/>
                  </a:cubicBezTo>
                  <a:cubicBezTo>
                    <a:pt x="234" y="1371"/>
                    <a:pt x="234" y="1400"/>
                    <a:pt x="234" y="1429"/>
                  </a:cubicBezTo>
                  <a:lnTo>
                    <a:pt x="175" y="148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62" name="Freeform 340">
              <a:extLst>
                <a:ext uri="{FF2B5EF4-FFF2-40B4-BE49-F238E27FC236}">
                  <a16:creationId xmlns:a16="http://schemas.microsoft.com/office/drawing/2014/main" id="{8BF8523C-B29C-4DA0-84FA-6033D54727E1}"/>
                </a:ext>
              </a:extLst>
            </p:cNvPr>
            <p:cNvSpPr>
              <a:spLocks noChangeArrowheads="1"/>
            </p:cNvSpPr>
            <p:nvPr/>
          </p:nvSpPr>
          <p:spPr bwMode="auto">
            <a:xfrm>
              <a:off x="3693930" y="2675143"/>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63" name="Freeform 341">
              <a:extLst>
                <a:ext uri="{FF2B5EF4-FFF2-40B4-BE49-F238E27FC236}">
                  <a16:creationId xmlns:a16="http://schemas.microsoft.com/office/drawing/2014/main" id="{41825EFF-54C8-4F2C-87D1-2042A7CE90BC}"/>
                </a:ext>
              </a:extLst>
            </p:cNvPr>
            <p:cNvSpPr>
              <a:spLocks noChangeArrowheads="1"/>
            </p:cNvSpPr>
            <p:nvPr/>
          </p:nvSpPr>
          <p:spPr bwMode="auto">
            <a:xfrm>
              <a:off x="3736332" y="2772242"/>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64" name="Freeform 342">
              <a:extLst>
                <a:ext uri="{FF2B5EF4-FFF2-40B4-BE49-F238E27FC236}">
                  <a16:creationId xmlns:a16="http://schemas.microsoft.com/office/drawing/2014/main" id="{994FBD8D-46E9-4167-AE7F-11B657D7E168}"/>
                </a:ext>
              </a:extLst>
            </p:cNvPr>
            <p:cNvSpPr>
              <a:spLocks noChangeArrowheads="1"/>
            </p:cNvSpPr>
            <p:nvPr/>
          </p:nvSpPr>
          <p:spPr bwMode="auto">
            <a:xfrm>
              <a:off x="3736332" y="2804609"/>
              <a:ext cx="22832" cy="11328"/>
            </a:xfrm>
            <a:custGeom>
              <a:avLst/>
              <a:gdLst>
                <a:gd name="T0" fmla="*/ 0 w 60"/>
                <a:gd name="T1" fmla="*/ 30 h 31"/>
                <a:gd name="T2" fmla="*/ 0 w 60"/>
                <a:gd name="T3" fmla="*/ 30 h 31"/>
                <a:gd name="T4" fmla="*/ 59 w 60"/>
                <a:gd name="T5" fmla="*/ 30 h 31"/>
                <a:gd name="T6" fmla="*/ 0 w 60"/>
                <a:gd name="T7" fmla="*/ 30 h 31"/>
              </a:gdLst>
              <a:ahLst/>
              <a:cxnLst>
                <a:cxn ang="0">
                  <a:pos x="T0" y="T1"/>
                </a:cxn>
                <a:cxn ang="0">
                  <a:pos x="T2" y="T3"/>
                </a:cxn>
                <a:cxn ang="0">
                  <a:pos x="T4" y="T5"/>
                </a:cxn>
                <a:cxn ang="0">
                  <a:pos x="T6" y="T7"/>
                </a:cxn>
              </a:cxnLst>
              <a:rect l="0" t="0" r="r" b="b"/>
              <a:pathLst>
                <a:path w="60" h="31">
                  <a:moveTo>
                    <a:pt x="0" y="30"/>
                  </a:moveTo>
                  <a:lnTo>
                    <a:pt x="0" y="30"/>
                  </a:lnTo>
                  <a:cubicBezTo>
                    <a:pt x="0" y="30"/>
                    <a:pt x="30" y="0"/>
                    <a:pt x="59" y="30"/>
                  </a:cubicBezTo>
                  <a:cubicBezTo>
                    <a:pt x="30" y="0"/>
                    <a:pt x="0" y="30"/>
                    <a:pt x="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65" name="Freeform 343">
              <a:extLst>
                <a:ext uri="{FF2B5EF4-FFF2-40B4-BE49-F238E27FC236}">
                  <a16:creationId xmlns:a16="http://schemas.microsoft.com/office/drawing/2014/main" id="{1D7B1E73-5B9A-4FF6-94F2-F188C619A82B}"/>
                </a:ext>
              </a:extLst>
            </p:cNvPr>
            <p:cNvSpPr>
              <a:spLocks noChangeArrowheads="1"/>
            </p:cNvSpPr>
            <p:nvPr/>
          </p:nvSpPr>
          <p:spPr bwMode="auto">
            <a:xfrm>
              <a:off x="3897787" y="3456791"/>
              <a:ext cx="22832" cy="21039"/>
            </a:xfrm>
            <a:custGeom>
              <a:avLst/>
              <a:gdLst>
                <a:gd name="T0" fmla="*/ 0 w 60"/>
                <a:gd name="T1" fmla="*/ 0 h 59"/>
                <a:gd name="T2" fmla="*/ 0 w 60"/>
                <a:gd name="T3" fmla="*/ 0 h 59"/>
                <a:gd name="T4" fmla="*/ 0 w 60"/>
                <a:gd name="T5" fmla="*/ 0 h 59"/>
                <a:gd name="T6" fmla="*/ 0 w 60"/>
                <a:gd name="T7" fmla="*/ 0 h 59"/>
                <a:gd name="T8" fmla="*/ 0 w 60"/>
                <a:gd name="T9" fmla="*/ 0 h 59"/>
                <a:gd name="T10" fmla="*/ 59 w 60"/>
                <a:gd name="T11" fmla="*/ 58 h 59"/>
                <a:gd name="T12" fmla="*/ 0 w 60"/>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60" h="59">
                  <a:moveTo>
                    <a:pt x="0" y="0"/>
                  </a:moveTo>
                  <a:lnTo>
                    <a:pt x="0" y="0"/>
                  </a:lnTo>
                  <a:lnTo>
                    <a:pt x="0" y="0"/>
                  </a:lnTo>
                  <a:lnTo>
                    <a:pt x="0" y="0"/>
                  </a:lnTo>
                  <a:lnTo>
                    <a:pt x="0" y="0"/>
                  </a:lnTo>
                  <a:cubicBezTo>
                    <a:pt x="59" y="0"/>
                    <a:pt x="59" y="29"/>
                    <a:pt x="59" y="58"/>
                  </a:cubicBezTo>
                  <a:cubicBezTo>
                    <a:pt x="59" y="29"/>
                    <a:pt x="5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66" name="Freeform 344">
              <a:extLst>
                <a:ext uri="{FF2B5EF4-FFF2-40B4-BE49-F238E27FC236}">
                  <a16:creationId xmlns:a16="http://schemas.microsoft.com/office/drawing/2014/main" id="{CC09BF44-B84E-4464-B172-4A39613586BF}"/>
                </a:ext>
              </a:extLst>
            </p:cNvPr>
            <p:cNvSpPr>
              <a:spLocks noChangeArrowheads="1"/>
            </p:cNvSpPr>
            <p:nvPr/>
          </p:nvSpPr>
          <p:spPr bwMode="auto">
            <a:xfrm>
              <a:off x="3909202" y="3479448"/>
              <a:ext cx="11416" cy="53405"/>
            </a:xfrm>
            <a:custGeom>
              <a:avLst/>
              <a:gdLst>
                <a:gd name="T0" fmla="*/ 30 w 31"/>
                <a:gd name="T1" fmla="*/ 0 h 147"/>
                <a:gd name="T2" fmla="*/ 30 w 31"/>
                <a:gd name="T3" fmla="*/ 0 h 147"/>
                <a:gd name="T4" fmla="*/ 0 w 31"/>
                <a:gd name="T5" fmla="*/ 58 h 147"/>
                <a:gd name="T6" fmla="*/ 0 w 31"/>
                <a:gd name="T7" fmla="*/ 146 h 147"/>
                <a:gd name="T8" fmla="*/ 0 w 31"/>
                <a:gd name="T9" fmla="*/ 58 h 147"/>
                <a:gd name="T10" fmla="*/ 30 w 31"/>
                <a:gd name="T11" fmla="*/ 0 h 147"/>
              </a:gdLst>
              <a:ahLst/>
              <a:cxnLst>
                <a:cxn ang="0">
                  <a:pos x="T0" y="T1"/>
                </a:cxn>
                <a:cxn ang="0">
                  <a:pos x="T2" y="T3"/>
                </a:cxn>
                <a:cxn ang="0">
                  <a:pos x="T4" y="T5"/>
                </a:cxn>
                <a:cxn ang="0">
                  <a:pos x="T6" y="T7"/>
                </a:cxn>
                <a:cxn ang="0">
                  <a:pos x="T8" y="T9"/>
                </a:cxn>
                <a:cxn ang="0">
                  <a:pos x="T10" y="T11"/>
                </a:cxn>
              </a:cxnLst>
              <a:rect l="0" t="0" r="r" b="b"/>
              <a:pathLst>
                <a:path w="31" h="147">
                  <a:moveTo>
                    <a:pt x="30" y="0"/>
                  </a:moveTo>
                  <a:lnTo>
                    <a:pt x="30" y="0"/>
                  </a:lnTo>
                  <a:cubicBezTo>
                    <a:pt x="30" y="29"/>
                    <a:pt x="30" y="29"/>
                    <a:pt x="0" y="58"/>
                  </a:cubicBezTo>
                  <a:cubicBezTo>
                    <a:pt x="0" y="88"/>
                    <a:pt x="0" y="117"/>
                    <a:pt x="0" y="146"/>
                  </a:cubicBezTo>
                  <a:cubicBezTo>
                    <a:pt x="0" y="117"/>
                    <a:pt x="0" y="88"/>
                    <a:pt x="0" y="58"/>
                  </a:cubicBezTo>
                  <a:cubicBezTo>
                    <a:pt x="30" y="29"/>
                    <a:pt x="30" y="29"/>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67" name="Freeform 345">
              <a:extLst>
                <a:ext uri="{FF2B5EF4-FFF2-40B4-BE49-F238E27FC236}">
                  <a16:creationId xmlns:a16="http://schemas.microsoft.com/office/drawing/2014/main" id="{F8B13E44-CA31-4B43-BE7F-78A4316DB5D4}"/>
                </a:ext>
              </a:extLst>
            </p:cNvPr>
            <p:cNvSpPr>
              <a:spLocks noChangeArrowheads="1"/>
            </p:cNvSpPr>
            <p:nvPr/>
          </p:nvSpPr>
          <p:spPr bwMode="auto">
            <a:xfrm>
              <a:off x="4147305" y="974288"/>
              <a:ext cx="1014386" cy="674840"/>
            </a:xfrm>
            <a:custGeom>
              <a:avLst/>
              <a:gdLst>
                <a:gd name="T0" fmla="*/ 88 w 2742"/>
                <a:gd name="T1" fmla="*/ 203 h 1838"/>
                <a:gd name="T2" fmla="*/ 146 w 2742"/>
                <a:gd name="T3" fmla="*/ 291 h 1838"/>
                <a:gd name="T4" fmla="*/ 117 w 2742"/>
                <a:gd name="T5" fmla="*/ 379 h 1838"/>
                <a:gd name="T6" fmla="*/ 88 w 2742"/>
                <a:gd name="T7" fmla="*/ 641 h 1838"/>
                <a:gd name="T8" fmla="*/ 58 w 2742"/>
                <a:gd name="T9" fmla="*/ 670 h 1838"/>
                <a:gd name="T10" fmla="*/ 88 w 2742"/>
                <a:gd name="T11" fmla="*/ 700 h 1838"/>
                <a:gd name="T12" fmla="*/ 146 w 2742"/>
                <a:gd name="T13" fmla="*/ 758 h 1838"/>
                <a:gd name="T14" fmla="*/ 117 w 2742"/>
                <a:gd name="T15" fmla="*/ 874 h 1838"/>
                <a:gd name="T16" fmla="*/ 29 w 2742"/>
                <a:gd name="T17" fmla="*/ 1020 h 1838"/>
                <a:gd name="T18" fmla="*/ 58 w 2742"/>
                <a:gd name="T19" fmla="*/ 1020 h 1838"/>
                <a:gd name="T20" fmla="*/ 205 w 2742"/>
                <a:gd name="T21" fmla="*/ 1137 h 1838"/>
                <a:gd name="T22" fmla="*/ 350 w 2742"/>
                <a:gd name="T23" fmla="*/ 1400 h 1838"/>
                <a:gd name="T24" fmla="*/ 350 w 2742"/>
                <a:gd name="T25" fmla="*/ 1429 h 1838"/>
                <a:gd name="T26" fmla="*/ 729 w 2742"/>
                <a:gd name="T27" fmla="*/ 1545 h 1838"/>
                <a:gd name="T28" fmla="*/ 817 w 2742"/>
                <a:gd name="T29" fmla="*/ 1633 h 1838"/>
                <a:gd name="T30" fmla="*/ 963 w 2742"/>
                <a:gd name="T31" fmla="*/ 1633 h 1838"/>
                <a:gd name="T32" fmla="*/ 1255 w 2742"/>
                <a:gd name="T33" fmla="*/ 1691 h 1838"/>
                <a:gd name="T34" fmla="*/ 1458 w 2742"/>
                <a:gd name="T35" fmla="*/ 1691 h 1838"/>
                <a:gd name="T36" fmla="*/ 1605 w 2742"/>
                <a:gd name="T37" fmla="*/ 1662 h 1838"/>
                <a:gd name="T38" fmla="*/ 1955 w 2742"/>
                <a:gd name="T39" fmla="*/ 1750 h 1838"/>
                <a:gd name="T40" fmla="*/ 2741 w 2742"/>
                <a:gd name="T41" fmla="*/ 467 h 1838"/>
                <a:gd name="T42" fmla="*/ 934 w 2742"/>
                <a:gd name="T43" fmla="*/ 29 h 1838"/>
                <a:gd name="T44" fmla="*/ 963 w 2742"/>
                <a:gd name="T45" fmla="*/ 58 h 1838"/>
                <a:gd name="T46" fmla="*/ 934 w 2742"/>
                <a:gd name="T47" fmla="*/ 145 h 1838"/>
                <a:gd name="T48" fmla="*/ 934 w 2742"/>
                <a:gd name="T49" fmla="*/ 203 h 1838"/>
                <a:gd name="T50" fmla="*/ 934 w 2742"/>
                <a:gd name="T51" fmla="*/ 262 h 1838"/>
                <a:gd name="T52" fmla="*/ 905 w 2742"/>
                <a:gd name="T53" fmla="*/ 291 h 1838"/>
                <a:gd name="T54" fmla="*/ 905 w 2742"/>
                <a:gd name="T55" fmla="*/ 291 h 1838"/>
                <a:gd name="T56" fmla="*/ 934 w 2742"/>
                <a:gd name="T57" fmla="*/ 408 h 1838"/>
                <a:gd name="T58" fmla="*/ 905 w 2742"/>
                <a:gd name="T59" fmla="*/ 583 h 1838"/>
                <a:gd name="T60" fmla="*/ 875 w 2742"/>
                <a:gd name="T61" fmla="*/ 524 h 1838"/>
                <a:gd name="T62" fmla="*/ 846 w 2742"/>
                <a:gd name="T63" fmla="*/ 583 h 1838"/>
                <a:gd name="T64" fmla="*/ 788 w 2742"/>
                <a:gd name="T65" fmla="*/ 700 h 1838"/>
                <a:gd name="T66" fmla="*/ 729 w 2742"/>
                <a:gd name="T67" fmla="*/ 787 h 1838"/>
                <a:gd name="T68" fmla="*/ 700 w 2742"/>
                <a:gd name="T69" fmla="*/ 787 h 1838"/>
                <a:gd name="T70" fmla="*/ 672 w 2742"/>
                <a:gd name="T71" fmla="*/ 583 h 1838"/>
                <a:gd name="T72" fmla="*/ 642 w 2742"/>
                <a:gd name="T73" fmla="*/ 612 h 1838"/>
                <a:gd name="T74" fmla="*/ 672 w 2742"/>
                <a:gd name="T75" fmla="*/ 408 h 1838"/>
                <a:gd name="T76" fmla="*/ 642 w 2742"/>
                <a:gd name="T77" fmla="*/ 350 h 1838"/>
                <a:gd name="T78" fmla="*/ 408 w 2742"/>
                <a:gd name="T79" fmla="*/ 262 h 1838"/>
                <a:gd name="T80" fmla="*/ 379 w 2742"/>
                <a:gd name="T81" fmla="*/ 233 h 1838"/>
                <a:gd name="T82" fmla="*/ 263 w 2742"/>
                <a:gd name="T83" fmla="*/ 174 h 1838"/>
                <a:gd name="T84" fmla="*/ 117 w 2742"/>
                <a:gd name="T85" fmla="*/ 58 h 1838"/>
                <a:gd name="T86" fmla="*/ 88 w 2742"/>
                <a:gd name="T87" fmla="*/ 174 h 1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42" h="1838">
                  <a:moveTo>
                    <a:pt x="88" y="174"/>
                  </a:moveTo>
                  <a:lnTo>
                    <a:pt x="88" y="174"/>
                  </a:lnTo>
                  <a:lnTo>
                    <a:pt x="88" y="203"/>
                  </a:lnTo>
                  <a:cubicBezTo>
                    <a:pt x="88" y="203"/>
                    <a:pt x="88" y="203"/>
                    <a:pt x="88" y="233"/>
                  </a:cubicBezTo>
                  <a:cubicBezTo>
                    <a:pt x="117" y="233"/>
                    <a:pt x="117" y="233"/>
                    <a:pt x="117" y="233"/>
                  </a:cubicBezTo>
                  <a:cubicBezTo>
                    <a:pt x="117" y="262"/>
                    <a:pt x="146" y="262"/>
                    <a:pt x="146" y="291"/>
                  </a:cubicBezTo>
                  <a:cubicBezTo>
                    <a:pt x="146" y="320"/>
                    <a:pt x="146" y="320"/>
                    <a:pt x="146" y="350"/>
                  </a:cubicBezTo>
                  <a:lnTo>
                    <a:pt x="146" y="350"/>
                  </a:lnTo>
                  <a:cubicBezTo>
                    <a:pt x="117" y="379"/>
                    <a:pt x="117" y="379"/>
                    <a:pt x="117" y="379"/>
                  </a:cubicBezTo>
                  <a:cubicBezTo>
                    <a:pt x="146" y="408"/>
                    <a:pt x="146" y="437"/>
                    <a:pt x="117" y="467"/>
                  </a:cubicBezTo>
                  <a:cubicBezTo>
                    <a:pt x="117" y="495"/>
                    <a:pt x="117" y="495"/>
                    <a:pt x="117" y="524"/>
                  </a:cubicBezTo>
                  <a:cubicBezTo>
                    <a:pt x="88" y="553"/>
                    <a:pt x="88" y="583"/>
                    <a:pt x="88" y="641"/>
                  </a:cubicBezTo>
                  <a:lnTo>
                    <a:pt x="88" y="641"/>
                  </a:lnTo>
                  <a:lnTo>
                    <a:pt x="88" y="641"/>
                  </a:lnTo>
                  <a:cubicBezTo>
                    <a:pt x="88" y="641"/>
                    <a:pt x="88" y="670"/>
                    <a:pt x="58" y="670"/>
                  </a:cubicBezTo>
                  <a:lnTo>
                    <a:pt x="58" y="670"/>
                  </a:lnTo>
                  <a:cubicBezTo>
                    <a:pt x="88" y="670"/>
                    <a:pt x="88" y="670"/>
                    <a:pt x="88" y="670"/>
                  </a:cubicBezTo>
                  <a:cubicBezTo>
                    <a:pt x="88" y="670"/>
                    <a:pt x="88" y="670"/>
                    <a:pt x="88" y="700"/>
                  </a:cubicBezTo>
                  <a:cubicBezTo>
                    <a:pt x="117" y="700"/>
                    <a:pt x="146" y="729"/>
                    <a:pt x="146" y="758"/>
                  </a:cubicBezTo>
                  <a:lnTo>
                    <a:pt x="146" y="758"/>
                  </a:lnTo>
                  <a:lnTo>
                    <a:pt x="146" y="758"/>
                  </a:lnTo>
                  <a:cubicBezTo>
                    <a:pt x="146" y="817"/>
                    <a:pt x="117" y="817"/>
                    <a:pt x="88" y="817"/>
                  </a:cubicBezTo>
                  <a:lnTo>
                    <a:pt x="88" y="817"/>
                  </a:lnTo>
                  <a:cubicBezTo>
                    <a:pt x="117" y="817"/>
                    <a:pt x="117" y="845"/>
                    <a:pt x="117" y="874"/>
                  </a:cubicBezTo>
                  <a:cubicBezTo>
                    <a:pt x="117" y="903"/>
                    <a:pt x="88" y="933"/>
                    <a:pt x="58" y="933"/>
                  </a:cubicBezTo>
                  <a:cubicBezTo>
                    <a:pt x="58" y="933"/>
                    <a:pt x="58" y="933"/>
                    <a:pt x="29" y="962"/>
                  </a:cubicBezTo>
                  <a:cubicBezTo>
                    <a:pt x="29" y="962"/>
                    <a:pt x="29" y="991"/>
                    <a:pt x="29" y="1020"/>
                  </a:cubicBezTo>
                  <a:cubicBezTo>
                    <a:pt x="0" y="1020"/>
                    <a:pt x="0" y="1020"/>
                    <a:pt x="0" y="1020"/>
                  </a:cubicBezTo>
                  <a:cubicBezTo>
                    <a:pt x="29" y="1020"/>
                    <a:pt x="29" y="1020"/>
                    <a:pt x="58" y="1020"/>
                  </a:cubicBezTo>
                  <a:lnTo>
                    <a:pt x="58" y="1020"/>
                  </a:lnTo>
                  <a:cubicBezTo>
                    <a:pt x="88" y="1050"/>
                    <a:pt x="88" y="1050"/>
                    <a:pt x="117" y="1079"/>
                  </a:cubicBezTo>
                  <a:lnTo>
                    <a:pt x="117" y="1079"/>
                  </a:lnTo>
                  <a:cubicBezTo>
                    <a:pt x="146" y="1108"/>
                    <a:pt x="175" y="1108"/>
                    <a:pt x="205" y="1137"/>
                  </a:cubicBezTo>
                  <a:cubicBezTo>
                    <a:pt x="263" y="1137"/>
                    <a:pt x="322" y="1167"/>
                    <a:pt x="350" y="1195"/>
                  </a:cubicBezTo>
                  <a:cubicBezTo>
                    <a:pt x="350" y="1253"/>
                    <a:pt x="350" y="1283"/>
                    <a:pt x="350" y="1312"/>
                  </a:cubicBezTo>
                  <a:cubicBezTo>
                    <a:pt x="350" y="1341"/>
                    <a:pt x="350" y="1370"/>
                    <a:pt x="350" y="1400"/>
                  </a:cubicBezTo>
                  <a:cubicBezTo>
                    <a:pt x="379" y="1400"/>
                    <a:pt x="379" y="1400"/>
                    <a:pt x="379" y="1400"/>
                  </a:cubicBezTo>
                  <a:cubicBezTo>
                    <a:pt x="350" y="1400"/>
                    <a:pt x="350" y="1400"/>
                    <a:pt x="350" y="1400"/>
                  </a:cubicBezTo>
                  <a:cubicBezTo>
                    <a:pt x="350" y="1429"/>
                    <a:pt x="350" y="1429"/>
                    <a:pt x="350" y="1429"/>
                  </a:cubicBezTo>
                  <a:lnTo>
                    <a:pt x="350" y="1429"/>
                  </a:lnTo>
                  <a:cubicBezTo>
                    <a:pt x="438" y="1545"/>
                    <a:pt x="584" y="1574"/>
                    <a:pt x="729" y="1545"/>
                  </a:cubicBezTo>
                  <a:lnTo>
                    <a:pt x="729" y="1545"/>
                  </a:lnTo>
                  <a:lnTo>
                    <a:pt x="729" y="1545"/>
                  </a:lnTo>
                  <a:cubicBezTo>
                    <a:pt x="758" y="1574"/>
                    <a:pt x="788" y="1603"/>
                    <a:pt x="788" y="1603"/>
                  </a:cubicBezTo>
                  <a:cubicBezTo>
                    <a:pt x="788" y="1633"/>
                    <a:pt x="788" y="1633"/>
                    <a:pt x="817" y="1633"/>
                  </a:cubicBezTo>
                  <a:cubicBezTo>
                    <a:pt x="846" y="1633"/>
                    <a:pt x="846" y="1633"/>
                    <a:pt x="875" y="1633"/>
                  </a:cubicBezTo>
                  <a:cubicBezTo>
                    <a:pt x="905" y="1633"/>
                    <a:pt x="905" y="1633"/>
                    <a:pt x="905" y="1633"/>
                  </a:cubicBezTo>
                  <a:cubicBezTo>
                    <a:pt x="934" y="1633"/>
                    <a:pt x="963" y="1633"/>
                    <a:pt x="963" y="1633"/>
                  </a:cubicBezTo>
                  <a:cubicBezTo>
                    <a:pt x="992" y="1633"/>
                    <a:pt x="1021" y="1662"/>
                    <a:pt x="1050" y="1662"/>
                  </a:cubicBezTo>
                  <a:cubicBezTo>
                    <a:pt x="1079" y="1662"/>
                    <a:pt x="1108" y="1691"/>
                    <a:pt x="1138" y="1691"/>
                  </a:cubicBezTo>
                  <a:cubicBezTo>
                    <a:pt x="1167" y="1691"/>
                    <a:pt x="1225" y="1691"/>
                    <a:pt x="1255" y="1691"/>
                  </a:cubicBezTo>
                  <a:cubicBezTo>
                    <a:pt x="1313" y="1691"/>
                    <a:pt x="1371" y="1691"/>
                    <a:pt x="1429" y="1662"/>
                  </a:cubicBezTo>
                  <a:lnTo>
                    <a:pt x="1429" y="1662"/>
                  </a:lnTo>
                  <a:cubicBezTo>
                    <a:pt x="1458" y="1691"/>
                    <a:pt x="1458" y="1691"/>
                    <a:pt x="1458" y="1691"/>
                  </a:cubicBezTo>
                  <a:cubicBezTo>
                    <a:pt x="1458" y="1691"/>
                    <a:pt x="1488" y="1691"/>
                    <a:pt x="1488" y="1662"/>
                  </a:cubicBezTo>
                  <a:cubicBezTo>
                    <a:pt x="1517" y="1662"/>
                    <a:pt x="1546" y="1662"/>
                    <a:pt x="1605" y="1662"/>
                  </a:cubicBezTo>
                  <a:lnTo>
                    <a:pt x="1605" y="1662"/>
                  </a:lnTo>
                  <a:cubicBezTo>
                    <a:pt x="1663" y="1662"/>
                    <a:pt x="1692" y="1662"/>
                    <a:pt x="1750" y="1691"/>
                  </a:cubicBezTo>
                  <a:lnTo>
                    <a:pt x="1779" y="1691"/>
                  </a:lnTo>
                  <a:cubicBezTo>
                    <a:pt x="1838" y="1720"/>
                    <a:pt x="1896" y="1720"/>
                    <a:pt x="1955" y="1750"/>
                  </a:cubicBezTo>
                  <a:cubicBezTo>
                    <a:pt x="2071" y="1779"/>
                    <a:pt x="2188" y="1808"/>
                    <a:pt x="2305" y="1837"/>
                  </a:cubicBezTo>
                  <a:cubicBezTo>
                    <a:pt x="2392" y="1545"/>
                    <a:pt x="2479" y="1253"/>
                    <a:pt x="2567" y="991"/>
                  </a:cubicBezTo>
                  <a:cubicBezTo>
                    <a:pt x="2625" y="817"/>
                    <a:pt x="2684" y="641"/>
                    <a:pt x="2741" y="467"/>
                  </a:cubicBezTo>
                  <a:cubicBezTo>
                    <a:pt x="2538" y="408"/>
                    <a:pt x="2334" y="350"/>
                    <a:pt x="2129" y="320"/>
                  </a:cubicBezTo>
                  <a:cubicBezTo>
                    <a:pt x="1721" y="203"/>
                    <a:pt x="1313" y="117"/>
                    <a:pt x="934" y="0"/>
                  </a:cubicBezTo>
                  <a:lnTo>
                    <a:pt x="934" y="29"/>
                  </a:lnTo>
                  <a:cubicBezTo>
                    <a:pt x="934" y="58"/>
                    <a:pt x="934" y="58"/>
                    <a:pt x="934" y="58"/>
                  </a:cubicBezTo>
                  <a:lnTo>
                    <a:pt x="934" y="58"/>
                  </a:lnTo>
                  <a:cubicBezTo>
                    <a:pt x="934" y="58"/>
                    <a:pt x="934" y="58"/>
                    <a:pt x="963" y="58"/>
                  </a:cubicBezTo>
                  <a:lnTo>
                    <a:pt x="963" y="58"/>
                  </a:lnTo>
                  <a:lnTo>
                    <a:pt x="963" y="58"/>
                  </a:lnTo>
                  <a:cubicBezTo>
                    <a:pt x="992" y="117"/>
                    <a:pt x="963" y="117"/>
                    <a:pt x="934" y="145"/>
                  </a:cubicBezTo>
                  <a:lnTo>
                    <a:pt x="934" y="145"/>
                  </a:lnTo>
                  <a:lnTo>
                    <a:pt x="934" y="145"/>
                  </a:lnTo>
                  <a:cubicBezTo>
                    <a:pt x="934" y="174"/>
                    <a:pt x="934" y="174"/>
                    <a:pt x="934" y="203"/>
                  </a:cubicBezTo>
                  <a:lnTo>
                    <a:pt x="934" y="203"/>
                  </a:lnTo>
                  <a:lnTo>
                    <a:pt x="934" y="203"/>
                  </a:lnTo>
                  <a:cubicBezTo>
                    <a:pt x="905" y="233"/>
                    <a:pt x="905" y="233"/>
                    <a:pt x="934" y="262"/>
                  </a:cubicBezTo>
                  <a:lnTo>
                    <a:pt x="934" y="262"/>
                  </a:lnTo>
                  <a:cubicBezTo>
                    <a:pt x="905" y="262"/>
                    <a:pt x="905" y="262"/>
                    <a:pt x="905" y="262"/>
                  </a:cubicBezTo>
                  <a:lnTo>
                    <a:pt x="905" y="291"/>
                  </a:lnTo>
                  <a:cubicBezTo>
                    <a:pt x="875" y="291"/>
                    <a:pt x="875" y="291"/>
                    <a:pt x="875" y="320"/>
                  </a:cubicBezTo>
                  <a:cubicBezTo>
                    <a:pt x="875" y="291"/>
                    <a:pt x="875" y="291"/>
                    <a:pt x="905" y="291"/>
                  </a:cubicBezTo>
                  <a:lnTo>
                    <a:pt x="905" y="291"/>
                  </a:lnTo>
                  <a:cubicBezTo>
                    <a:pt x="905" y="320"/>
                    <a:pt x="905" y="320"/>
                    <a:pt x="905" y="320"/>
                  </a:cubicBezTo>
                  <a:cubicBezTo>
                    <a:pt x="934" y="320"/>
                    <a:pt x="934" y="350"/>
                    <a:pt x="934" y="379"/>
                  </a:cubicBezTo>
                  <a:lnTo>
                    <a:pt x="934" y="408"/>
                  </a:lnTo>
                  <a:cubicBezTo>
                    <a:pt x="934" y="437"/>
                    <a:pt x="934" y="437"/>
                    <a:pt x="934" y="467"/>
                  </a:cubicBezTo>
                  <a:cubicBezTo>
                    <a:pt x="963" y="495"/>
                    <a:pt x="963" y="524"/>
                    <a:pt x="963" y="553"/>
                  </a:cubicBezTo>
                  <a:cubicBezTo>
                    <a:pt x="963" y="583"/>
                    <a:pt x="934" y="583"/>
                    <a:pt x="905" y="583"/>
                  </a:cubicBezTo>
                  <a:lnTo>
                    <a:pt x="905" y="583"/>
                  </a:lnTo>
                  <a:lnTo>
                    <a:pt x="905" y="583"/>
                  </a:lnTo>
                  <a:cubicBezTo>
                    <a:pt x="875" y="583"/>
                    <a:pt x="875" y="553"/>
                    <a:pt x="875" y="524"/>
                  </a:cubicBezTo>
                  <a:cubicBezTo>
                    <a:pt x="875" y="524"/>
                    <a:pt x="875" y="495"/>
                    <a:pt x="846" y="495"/>
                  </a:cubicBezTo>
                  <a:cubicBezTo>
                    <a:pt x="817" y="524"/>
                    <a:pt x="817" y="524"/>
                    <a:pt x="817" y="553"/>
                  </a:cubicBezTo>
                  <a:cubicBezTo>
                    <a:pt x="846" y="583"/>
                    <a:pt x="846" y="583"/>
                    <a:pt x="846" y="583"/>
                  </a:cubicBezTo>
                  <a:cubicBezTo>
                    <a:pt x="817" y="583"/>
                    <a:pt x="817" y="583"/>
                    <a:pt x="817" y="583"/>
                  </a:cubicBezTo>
                  <a:cubicBezTo>
                    <a:pt x="788" y="583"/>
                    <a:pt x="788" y="612"/>
                    <a:pt x="788" y="670"/>
                  </a:cubicBezTo>
                  <a:cubicBezTo>
                    <a:pt x="788" y="700"/>
                    <a:pt x="788" y="700"/>
                    <a:pt x="788" y="700"/>
                  </a:cubicBezTo>
                  <a:lnTo>
                    <a:pt x="788" y="700"/>
                  </a:lnTo>
                  <a:cubicBezTo>
                    <a:pt x="758" y="729"/>
                    <a:pt x="758" y="729"/>
                    <a:pt x="729" y="729"/>
                  </a:cubicBezTo>
                  <a:cubicBezTo>
                    <a:pt x="729" y="758"/>
                    <a:pt x="729" y="787"/>
                    <a:pt x="729" y="787"/>
                  </a:cubicBezTo>
                  <a:cubicBezTo>
                    <a:pt x="729" y="817"/>
                    <a:pt x="729" y="817"/>
                    <a:pt x="729" y="817"/>
                  </a:cubicBezTo>
                  <a:cubicBezTo>
                    <a:pt x="700" y="817"/>
                    <a:pt x="700" y="817"/>
                    <a:pt x="700" y="817"/>
                  </a:cubicBezTo>
                  <a:lnTo>
                    <a:pt x="700" y="787"/>
                  </a:lnTo>
                  <a:cubicBezTo>
                    <a:pt x="672" y="787"/>
                    <a:pt x="642" y="787"/>
                    <a:pt x="642" y="758"/>
                  </a:cubicBezTo>
                  <a:cubicBezTo>
                    <a:pt x="642" y="729"/>
                    <a:pt x="642" y="670"/>
                    <a:pt x="672" y="641"/>
                  </a:cubicBezTo>
                  <a:cubicBezTo>
                    <a:pt x="672" y="641"/>
                    <a:pt x="672" y="612"/>
                    <a:pt x="672" y="583"/>
                  </a:cubicBezTo>
                  <a:lnTo>
                    <a:pt x="672" y="612"/>
                  </a:lnTo>
                  <a:cubicBezTo>
                    <a:pt x="642" y="612"/>
                    <a:pt x="642" y="612"/>
                    <a:pt x="642" y="612"/>
                  </a:cubicBezTo>
                  <a:lnTo>
                    <a:pt x="642" y="612"/>
                  </a:lnTo>
                  <a:cubicBezTo>
                    <a:pt x="642" y="612"/>
                    <a:pt x="613" y="583"/>
                    <a:pt x="613" y="553"/>
                  </a:cubicBezTo>
                  <a:cubicBezTo>
                    <a:pt x="613" y="524"/>
                    <a:pt x="613" y="467"/>
                    <a:pt x="642" y="437"/>
                  </a:cubicBezTo>
                  <a:lnTo>
                    <a:pt x="672" y="408"/>
                  </a:lnTo>
                  <a:lnTo>
                    <a:pt x="700" y="408"/>
                  </a:lnTo>
                  <a:cubicBezTo>
                    <a:pt x="672" y="379"/>
                    <a:pt x="672" y="379"/>
                    <a:pt x="672" y="350"/>
                  </a:cubicBezTo>
                  <a:lnTo>
                    <a:pt x="642" y="350"/>
                  </a:lnTo>
                  <a:cubicBezTo>
                    <a:pt x="613" y="350"/>
                    <a:pt x="584" y="320"/>
                    <a:pt x="584" y="291"/>
                  </a:cubicBezTo>
                  <a:cubicBezTo>
                    <a:pt x="555" y="291"/>
                    <a:pt x="525" y="291"/>
                    <a:pt x="496" y="262"/>
                  </a:cubicBezTo>
                  <a:cubicBezTo>
                    <a:pt x="467" y="262"/>
                    <a:pt x="438" y="262"/>
                    <a:pt x="408" y="262"/>
                  </a:cubicBezTo>
                  <a:lnTo>
                    <a:pt x="408" y="262"/>
                  </a:lnTo>
                  <a:lnTo>
                    <a:pt x="408" y="262"/>
                  </a:lnTo>
                  <a:cubicBezTo>
                    <a:pt x="379" y="262"/>
                    <a:pt x="379" y="233"/>
                    <a:pt x="379" y="233"/>
                  </a:cubicBezTo>
                  <a:cubicBezTo>
                    <a:pt x="379" y="203"/>
                    <a:pt x="379" y="203"/>
                    <a:pt x="350" y="203"/>
                  </a:cubicBezTo>
                  <a:cubicBezTo>
                    <a:pt x="350" y="203"/>
                    <a:pt x="350" y="203"/>
                    <a:pt x="322" y="203"/>
                  </a:cubicBezTo>
                  <a:cubicBezTo>
                    <a:pt x="292" y="203"/>
                    <a:pt x="292" y="203"/>
                    <a:pt x="263" y="174"/>
                  </a:cubicBezTo>
                  <a:lnTo>
                    <a:pt x="263" y="174"/>
                  </a:lnTo>
                  <a:cubicBezTo>
                    <a:pt x="234" y="174"/>
                    <a:pt x="205" y="117"/>
                    <a:pt x="175" y="87"/>
                  </a:cubicBezTo>
                  <a:cubicBezTo>
                    <a:pt x="146" y="87"/>
                    <a:pt x="146" y="58"/>
                    <a:pt x="117" y="58"/>
                  </a:cubicBezTo>
                  <a:lnTo>
                    <a:pt x="117" y="58"/>
                  </a:lnTo>
                  <a:cubicBezTo>
                    <a:pt x="117" y="87"/>
                    <a:pt x="117" y="117"/>
                    <a:pt x="117" y="145"/>
                  </a:cubicBezTo>
                  <a:lnTo>
                    <a:pt x="88" y="17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68" name="Freeform 346">
              <a:extLst>
                <a:ext uri="{FF2B5EF4-FFF2-40B4-BE49-F238E27FC236}">
                  <a16:creationId xmlns:a16="http://schemas.microsoft.com/office/drawing/2014/main" id="{9F21758F-E852-4337-83B2-A194F8EAC3FD}"/>
                </a:ext>
              </a:extLst>
            </p:cNvPr>
            <p:cNvSpPr>
              <a:spLocks noChangeArrowheads="1"/>
            </p:cNvSpPr>
            <p:nvPr/>
          </p:nvSpPr>
          <p:spPr bwMode="auto">
            <a:xfrm>
              <a:off x="3909202" y="3403387"/>
              <a:ext cx="1631" cy="11328"/>
            </a:xfrm>
            <a:custGeom>
              <a:avLst/>
              <a:gdLst>
                <a:gd name="T0" fmla="*/ 0 w 1"/>
                <a:gd name="T1" fmla="*/ 0 h 31"/>
                <a:gd name="T2" fmla="*/ 0 w 1"/>
                <a:gd name="T3" fmla="*/ 0 h 31"/>
                <a:gd name="T4" fmla="*/ 0 w 1"/>
                <a:gd name="T5" fmla="*/ 30 h 31"/>
                <a:gd name="T6" fmla="*/ 0 w 1"/>
                <a:gd name="T7" fmla="*/ 0 h 31"/>
              </a:gdLst>
              <a:ahLst/>
              <a:cxnLst>
                <a:cxn ang="0">
                  <a:pos x="T0" y="T1"/>
                </a:cxn>
                <a:cxn ang="0">
                  <a:pos x="T2" y="T3"/>
                </a:cxn>
                <a:cxn ang="0">
                  <a:pos x="T4" y="T5"/>
                </a:cxn>
                <a:cxn ang="0">
                  <a:pos x="T6" y="T7"/>
                </a:cxn>
              </a:cxnLst>
              <a:rect l="0" t="0" r="r" b="b"/>
              <a:pathLst>
                <a:path w="1" h="31">
                  <a:moveTo>
                    <a:pt x="0" y="0"/>
                  </a:moveTo>
                  <a:lnTo>
                    <a:pt x="0" y="0"/>
                  </a:lnTo>
                  <a:cubicBezTo>
                    <a:pt x="0" y="0"/>
                    <a:pt x="0" y="0"/>
                    <a:pt x="0" y="3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69" name="Freeform 347">
              <a:extLst>
                <a:ext uri="{FF2B5EF4-FFF2-40B4-BE49-F238E27FC236}">
                  <a16:creationId xmlns:a16="http://schemas.microsoft.com/office/drawing/2014/main" id="{102ED1FA-E10F-4615-A298-BE52DBB80803}"/>
                </a:ext>
              </a:extLst>
            </p:cNvPr>
            <p:cNvSpPr>
              <a:spLocks noChangeArrowheads="1"/>
            </p:cNvSpPr>
            <p:nvPr/>
          </p:nvSpPr>
          <p:spPr bwMode="auto">
            <a:xfrm>
              <a:off x="3888001" y="3393677"/>
              <a:ext cx="11415" cy="11328"/>
            </a:xfrm>
            <a:custGeom>
              <a:avLst/>
              <a:gdLst>
                <a:gd name="T0" fmla="*/ 0 w 29"/>
                <a:gd name="T1" fmla="*/ 0 h 30"/>
                <a:gd name="T2" fmla="*/ 0 w 29"/>
                <a:gd name="T3" fmla="*/ 0 h 30"/>
                <a:gd name="T4" fmla="*/ 28 w 29"/>
                <a:gd name="T5" fmla="*/ 0 h 30"/>
                <a:gd name="T6" fmla="*/ 28 w 29"/>
                <a:gd name="T7" fmla="*/ 29 h 30"/>
                <a:gd name="T8" fmla="*/ 28 w 29"/>
                <a:gd name="T9" fmla="*/ 0 h 30"/>
                <a:gd name="T10" fmla="*/ 0 w 29"/>
                <a:gd name="T11" fmla="*/ 0 h 30"/>
              </a:gdLst>
              <a:ahLst/>
              <a:cxnLst>
                <a:cxn ang="0">
                  <a:pos x="T0" y="T1"/>
                </a:cxn>
                <a:cxn ang="0">
                  <a:pos x="T2" y="T3"/>
                </a:cxn>
                <a:cxn ang="0">
                  <a:pos x="T4" y="T5"/>
                </a:cxn>
                <a:cxn ang="0">
                  <a:pos x="T6" y="T7"/>
                </a:cxn>
                <a:cxn ang="0">
                  <a:pos x="T8" y="T9"/>
                </a:cxn>
                <a:cxn ang="0">
                  <a:pos x="T10" y="T11"/>
                </a:cxn>
              </a:cxnLst>
              <a:rect l="0" t="0" r="r" b="b"/>
              <a:pathLst>
                <a:path w="29" h="30">
                  <a:moveTo>
                    <a:pt x="0" y="0"/>
                  </a:moveTo>
                  <a:lnTo>
                    <a:pt x="0" y="0"/>
                  </a:lnTo>
                  <a:cubicBezTo>
                    <a:pt x="0" y="0"/>
                    <a:pt x="0" y="0"/>
                    <a:pt x="28" y="0"/>
                  </a:cubicBezTo>
                  <a:cubicBezTo>
                    <a:pt x="28" y="0"/>
                    <a:pt x="28" y="0"/>
                    <a:pt x="28" y="29"/>
                  </a:cubicBezTo>
                  <a:cubicBezTo>
                    <a:pt x="28" y="0"/>
                    <a:pt x="28" y="0"/>
                    <a:pt x="28"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70" name="Freeform 348">
              <a:extLst>
                <a:ext uri="{FF2B5EF4-FFF2-40B4-BE49-F238E27FC236}">
                  <a16:creationId xmlns:a16="http://schemas.microsoft.com/office/drawing/2014/main" id="{129A9646-FA4D-4643-8998-A2F1A2729683}"/>
                </a:ext>
              </a:extLst>
            </p:cNvPr>
            <p:cNvSpPr>
              <a:spLocks noChangeArrowheads="1"/>
            </p:cNvSpPr>
            <p:nvPr/>
          </p:nvSpPr>
          <p:spPr bwMode="auto">
            <a:xfrm>
              <a:off x="3897787" y="3563600"/>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71" name="Freeform 349">
              <a:extLst>
                <a:ext uri="{FF2B5EF4-FFF2-40B4-BE49-F238E27FC236}">
                  <a16:creationId xmlns:a16="http://schemas.microsoft.com/office/drawing/2014/main" id="{5BA6848D-D9B5-4A87-8C7A-13FD7165CE6B}"/>
                </a:ext>
              </a:extLst>
            </p:cNvPr>
            <p:cNvSpPr>
              <a:spLocks noChangeArrowheads="1"/>
            </p:cNvSpPr>
            <p:nvPr/>
          </p:nvSpPr>
          <p:spPr bwMode="auto">
            <a:xfrm>
              <a:off x="3897787" y="3542563"/>
              <a:ext cx="11415" cy="21038"/>
            </a:xfrm>
            <a:custGeom>
              <a:avLst/>
              <a:gdLst>
                <a:gd name="T0" fmla="*/ 0 w 30"/>
                <a:gd name="T1" fmla="*/ 57 h 58"/>
                <a:gd name="T2" fmla="*/ 0 w 30"/>
                <a:gd name="T3" fmla="*/ 57 h 58"/>
                <a:gd name="T4" fmla="*/ 0 w 30"/>
                <a:gd name="T5" fmla="*/ 57 h 58"/>
                <a:gd name="T6" fmla="*/ 29 w 30"/>
                <a:gd name="T7" fmla="*/ 0 h 58"/>
                <a:gd name="T8" fmla="*/ 29 w 30"/>
                <a:gd name="T9" fmla="*/ 0 h 58"/>
                <a:gd name="T10" fmla="*/ 0 w 30"/>
                <a:gd name="T11" fmla="*/ 57 h 58"/>
              </a:gdLst>
              <a:ahLst/>
              <a:cxnLst>
                <a:cxn ang="0">
                  <a:pos x="T0" y="T1"/>
                </a:cxn>
                <a:cxn ang="0">
                  <a:pos x="T2" y="T3"/>
                </a:cxn>
                <a:cxn ang="0">
                  <a:pos x="T4" y="T5"/>
                </a:cxn>
                <a:cxn ang="0">
                  <a:pos x="T6" y="T7"/>
                </a:cxn>
                <a:cxn ang="0">
                  <a:pos x="T8" y="T9"/>
                </a:cxn>
                <a:cxn ang="0">
                  <a:pos x="T10" y="T11"/>
                </a:cxn>
              </a:cxnLst>
              <a:rect l="0" t="0" r="r" b="b"/>
              <a:pathLst>
                <a:path w="30" h="58">
                  <a:moveTo>
                    <a:pt x="0" y="57"/>
                  </a:moveTo>
                  <a:lnTo>
                    <a:pt x="0" y="57"/>
                  </a:lnTo>
                  <a:lnTo>
                    <a:pt x="0" y="57"/>
                  </a:lnTo>
                  <a:cubicBezTo>
                    <a:pt x="0" y="29"/>
                    <a:pt x="0" y="29"/>
                    <a:pt x="29" y="0"/>
                  </a:cubicBezTo>
                  <a:lnTo>
                    <a:pt x="29" y="0"/>
                  </a:lnTo>
                  <a:cubicBezTo>
                    <a:pt x="0" y="29"/>
                    <a:pt x="0" y="29"/>
                    <a:pt x="0" y="5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72" name="Freeform 350">
              <a:extLst>
                <a:ext uri="{FF2B5EF4-FFF2-40B4-BE49-F238E27FC236}">
                  <a16:creationId xmlns:a16="http://schemas.microsoft.com/office/drawing/2014/main" id="{8F5838E9-E98F-4F59-A7CB-4C84F976A295}"/>
                </a:ext>
              </a:extLst>
            </p:cNvPr>
            <p:cNvSpPr>
              <a:spLocks noChangeArrowheads="1"/>
            </p:cNvSpPr>
            <p:nvPr/>
          </p:nvSpPr>
          <p:spPr bwMode="auto">
            <a:xfrm>
              <a:off x="3845599" y="3008517"/>
              <a:ext cx="11415" cy="11328"/>
            </a:xfrm>
            <a:custGeom>
              <a:avLst/>
              <a:gdLst>
                <a:gd name="T0" fmla="*/ 0 w 30"/>
                <a:gd name="T1" fmla="*/ 29 h 30"/>
                <a:gd name="T2" fmla="*/ 0 w 30"/>
                <a:gd name="T3" fmla="*/ 29 h 30"/>
                <a:gd name="T4" fmla="*/ 0 w 30"/>
                <a:gd name="T5" fmla="*/ 0 h 30"/>
                <a:gd name="T6" fmla="*/ 0 w 30"/>
                <a:gd name="T7" fmla="*/ 29 h 30"/>
                <a:gd name="T8" fmla="*/ 29 w 30"/>
                <a:gd name="T9" fmla="*/ 29 h 30"/>
                <a:gd name="T10" fmla="*/ 29 w 30"/>
                <a:gd name="T11" fmla="*/ 0 h 30"/>
                <a:gd name="T12" fmla="*/ 29 w 30"/>
                <a:gd name="T13" fmla="*/ 29 h 30"/>
                <a:gd name="T14" fmla="*/ 0 w 30"/>
                <a:gd name="T15" fmla="*/ 29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0">
                  <a:moveTo>
                    <a:pt x="0" y="29"/>
                  </a:moveTo>
                  <a:lnTo>
                    <a:pt x="0" y="29"/>
                  </a:lnTo>
                  <a:cubicBezTo>
                    <a:pt x="0" y="0"/>
                    <a:pt x="0" y="0"/>
                    <a:pt x="0" y="0"/>
                  </a:cubicBezTo>
                  <a:cubicBezTo>
                    <a:pt x="0" y="0"/>
                    <a:pt x="0" y="0"/>
                    <a:pt x="0" y="29"/>
                  </a:cubicBezTo>
                  <a:cubicBezTo>
                    <a:pt x="29" y="29"/>
                    <a:pt x="29" y="29"/>
                    <a:pt x="29" y="29"/>
                  </a:cubicBezTo>
                  <a:lnTo>
                    <a:pt x="29" y="0"/>
                  </a:lnTo>
                  <a:lnTo>
                    <a:pt x="29" y="29"/>
                  </a:lnTo>
                  <a:cubicBezTo>
                    <a:pt x="29" y="29"/>
                    <a:pt x="29"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73" name="Freeform 351">
              <a:extLst>
                <a:ext uri="{FF2B5EF4-FFF2-40B4-BE49-F238E27FC236}">
                  <a16:creationId xmlns:a16="http://schemas.microsoft.com/office/drawing/2014/main" id="{25C0E61B-31BA-4EE4-9877-74BA17219F64}"/>
                </a:ext>
              </a:extLst>
            </p:cNvPr>
            <p:cNvSpPr>
              <a:spLocks noChangeArrowheads="1"/>
            </p:cNvSpPr>
            <p:nvPr/>
          </p:nvSpPr>
          <p:spPr bwMode="auto">
            <a:xfrm>
              <a:off x="3866800" y="3349982"/>
              <a:ext cx="11416" cy="1619"/>
            </a:xfrm>
            <a:custGeom>
              <a:avLst/>
              <a:gdLst>
                <a:gd name="T0" fmla="*/ 0 w 31"/>
                <a:gd name="T1" fmla="*/ 0 h 1"/>
                <a:gd name="T2" fmla="*/ 0 w 31"/>
                <a:gd name="T3" fmla="*/ 0 h 1"/>
                <a:gd name="T4" fmla="*/ 30 w 31"/>
                <a:gd name="T5" fmla="*/ 0 h 1"/>
                <a:gd name="T6" fmla="*/ 30 w 31"/>
                <a:gd name="T7" fmla="*/ 0 h 1"/>
                <a:gd name="T8" fmla="*/ 30 w 31"/>
                <a:gd name="T9" fmla="*/ 0 h 1"/>
                <a:gd name="T10" fmla="*/ 0 w 31"/>
                <a:gd name="T11" fmla="*/ 0 h 1"/>
              </a:gdLst>
              <a:ahLst/>
              <a:cxnLst>
                <a:cxn ang="0">
                  <a:pos x="T0" y="T1"/>
                </a:cxn>
                <a:cxn ang="0">
                  <a:pos x="T2" y="T3"/>
                </a:cxn>
                <a:cxn ang="0">
                  <a:pos x="T4" y="T5"/>
                </a:cxn>
                <a:cxn ang="0">
                  <a:pos x="T6" y="T7"/>
                </a:cxn>
                <a:cxn ang="0">
                  <a:pos x="T8" y="T9"/>
                </a:cxn>
                <a:cxn ang="0">
                  <a:pos x="T10" y="T11"/>
                </a:cxn>
              </a:cxnLst>
              <a:rect l="0" t="0" r="r" b="b"/>
              <a:pathLst>
                <a:path w="31" h="1">
                  <a:moveTo>
                    <a:pt x="0" y="0"/>
                  </a:moveTo>
                  <a:lnTo>
                    <a:pt x="0" y="0"/>
                  </a:lnTo>
                  <a:cubicBezTo>
                    <a:pt x="30" y="0"/>
                    <a:pt x="30" y="0"/>
                    <a:pt x="30" y="0"/>
                  </a:cubicBezTo>
                  <a:lnTo>
                    <a:pt x="30" y="0"/>
                  </a:lnTo>
                  <a:lnTo>
                    <a:pt x="30" y="0"/>
                  </a:lnTo>
                  <a:cubicBezTo>
                    <a:pt x="30" y="0"/>
                    <a:pt x="3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74" name="Freeform 352">
              <a:extLst>
                <a:ext uri="{FF2B5EF4-FFF2-40B4-BE49-F238E27FC236}">
                  <a16:creationId xmlns:a16="http://schemas.microsoft.com/office/drawing/2014/main" id="{541B4A8B-7DB6-43DB-BD46-BBCA727117A3}"/>
                </a:ext>
              </a:extLst>
            </p:cNvPr>
            <p:cNvSpPr>
              <a:spLocks noChangeArrowheads="1"/>
            </p:cNvSpPr>
            <p:nvPr/>
          </p:nvSpPr>
          <p:spPr bwMode="auto">
            <a:xfrm>
              <a:off x="3759164" y="2964822"/>
              <a:ext cx="21202" cy="64733"/>
            </a:xfrm>
            <a:custGeom>
              <a:avLst/>
              <a:gdLst>
                <a:gd name="T0" fmla="*/ 57 w 58"/>
                <a:gd name="T1" fmla="*/ 29 h 176"/>
                <a:gd name="T2" fmla="*/ 57 w 58"/>
                <a:gd name="T3" fmla="*/ 29 h 176"/>
                <a:gd name="T4" fmla="*/ 57 w 58"/>
                <a:gd name="T5" fmla="*/ 0 h 176"/>
                <a:gd name="T6" fmla="*/ 57 w 58"/>
                <a:gd name="T7" fmla="*/ 29 h 176"/>
                <a:gd name="T8" fmla="*/ 28 w 58"/>
                <a:gd name="T9" fmla="*/ 175 h 176"/>
                <a:gd name="T10" fmla="*/ 0 w 58"/>
                <a:gd name="T11" fmla="*/ 175 h 176"/>
                <a:gd name="T12" fmla="*/ 0 w 58"/>
                <a:gd name="T13" fmla="*/ 175 h 176"/>
                <a:gd name="T14" fmla="*/ 28 w 58"/>
                <a:gd name="T15" fmla="*/ 175 h 176"/>
                <a:gd name="T16" fmla="*/ 57 w 58"/>
                <a:gd name="T17" fmla="*/ 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76">
                  <a:moveTo>
                    <a:pt x="57" y="29"/>
                  </a:moveTo>
                  <a:lnTo>
                    <a:pt x="57" y="29"/>
                  </a:lnTo>
                  <a:cubicBezTo>
                    <a:pt x="57" y="0"/>
                    <a:pt x="57" y="0"/>
                    <a:pt x="57" y="0"/>
                  </a:cubicBezTo>
                  <a:cubicBezTo>
                    <a:pt x="57" y="0"/>
                    <a:pt x="57" y="0"/>
                    <a:pt x="57" y="29"/>
                  </a:cubicBezTo>
                  <a:cubicBezTo>
                    <a:pt x="57" y="88"/>
                    <a:pt x="28" y="146"/>
                    <a:pt x="28" y="175"/>
                  </a:cubicBezTo>
                  <a:cubicBezTo>
                    <a:pt x="0" y="175"/>
                    <a:pt x="0" y="175"/>
                    <a:pt x="0" y="175"/>
                  </a:cubicBezTo>
                  <a:lnTo>
                    <a:pt x="0" y="175"/>
                  </a:lnTo>
                  <a:cubicBezTo>
                    <a:pt x="28" y="175"/>
                    <a:pt x="28" y="175"/>
                    <a:pt x="28" y="175"/>
                  </a:cubicBezTo>
                  <a:cubicBezTo>
                    <a:pt x="28" y="146"/>
                    <a:pt x="57" y="88"/>
                    <a:pt x="57"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75" name="Freeform 353">
              <a:extLst>
                <a:ext uri="{FF2B5EF4-FFF2-40B4-BE49-F238E27FC236}">
                  <a16:creationId xmlns:a16="http://schemas.microsoft.com/office/drawing/2014/main" id="{9E560436-D9A1-408B-8622-647011ABB08D}"/>
                </a:ext>
              </a:extLst>
            </p:cNvPr>
            <p:cNvSpPr>
              <a:spLocks noChangeArrowheads="1"/>
            </p:cNvSpPr>
            <p:nvPr/>
          </p:nvSpPr>
          <p:spPr bwMode="auto">
            <a:xfrm>
              <a:off x="3834183" y="2901708"/>
              <a:ext cx="1631" cy="11328"/>
            </a:xfrm>
            <a:custGeom>
              <a:avLst/>
              <a:gdLst>
                <a:gd name="T0" fmla="*/ 0 w 1"/>
                <a:gd name="T1" fmla="*/ 0 h 30"/>
                <a:gd name="T2" fmla="*/ 0 w 1"/>
                <a:gd name="T3" fmla="*/ 0 h 30"/>
                <a:gd name="T4" fmla="*/ 0 w 1"/>
                <a:gd name="T5" fmla="*/ 0 h 30"/>
                <a:gd name="T6" fmla="*/ 0 w 1"/>
                <a:gd name="T7" fmla="*/ 29 h 30"/>
                <a:gd name="T8" fmla="*/ 0 w 1"/>
                <a:gd name="T9" fmla="*/ 0 h 30"/>
              </a:gdLst>
              <a:ahLst/>
              <a:cxnLst>
                <a:cxn ang="0">
                  <a:pos x="T0" y="T1"/>
                </a:cxn>
                <a:cxn ang="0">
                  <a:pos x="T2" y="T3"/>
                </a:cxn>
                <a:cxn ang="0">
                  <a:pos x="T4" y="T5"/>
                </a:cxn>
                <a:cxn ang="0">
                  <a:pos x="T6" y="T7"/>
                </a:cxn>
                <a:cxn ang="0">
                  <a:pos x="T8" y="T9"/>
                </a:cxn>
              </a:cxnLst>
              <a:rect l="0" t="0" r="r" b="b"/>
              <a:pathLst>
                <a:path w="1" h="30">
                  <a:moveTo>
                    <a:pt x="0" y="0"/>
                  </a:moveTo>
                  <a:lnTo>
                    <a:pt x="0" y="0"/>
                  </a:lnTo>
                  <a:lnTo>
                    <a:pt x="0" y="0"/>
                  </a:lnTo>
                  <a:cubicBezTo>
                    <a:pt x="0" y="29"/>
                    <a:pt x="0" y="29"/>
                    <a:pt x="0" y="29"/>
                  </a:cubicBez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76" name="Freeform 354">
              <a:extLst>
                <a:ext uri="{FF2B5EF4-FFF2-40B4-BE49-F238E27FC236}">
                  <a16:creationId xmlns:a16="http://schemas.microsoft.com/office/drawing/2014/main" id="{136D1CBA-CA3F-4CAB-8D74-23F63C7A009D}"/>
                </a:ext>
              </a:extLst>
            </p:cNvPr>
            <p:cNvSpPr>
              <a:spLocks noChangeArrowheads="1"/>
            </p:cNvSpPr>
            <p:nvPr/>
          </p:nvSpPr>
          <p:spPr bwMode="auto">
            <a:xfrm>
              <a:off x="3834183" y="2922745"/>
              <a:ext cx="1631" cy="11329"/>
            </a:xfrm>
            <a:custGeom>
              <a:avLst/>
              <a:gdLst>
                <a:gd name="T0" fmla="*/ 0 w 1"/>
                <a:gd name="T1" fmla="*/ 28 h 29"/>
                <a:gd name="T2" fmla="*/ 0 w 1"/>
                <a:gd name="T3" fmla="*/ 28 h 29"/>
                <a:gd name="T4" fmla="*/ 0 w 1"/>
                <a:gd name="T5" fmla="*/ 28 h 29"/>
                <a:gd name="T6" fmla="*/ 0 w 1"/>
                <a:gd name="T7" fmla="*/ 0 h 29"/>
                <a:gd name="T8" fmla="*/ 0 w 1"/>
                <a:gd name="T9" fmla="*/ 28 h 29"/>
              </a:gdLst>
              <a:ahLst/>
              <a:cxnLst>
                <a:cxn ang="0">
                  <a:pos x="T0" y="T1"/>
                </a:cxn>
                <a:cxn ang="0">
                  <a:pos x="T2" y="T3"/>
                </a:cxn>
                <a:cxn ang="0">
                  <a:pos x="T4" y="T5"/>
                </a:cxn>
                <a:cxn ang="0">
                  <a:pos x="T6" y="T7"/>
                </a:cxn>
                <a:cxn ang="0">
                  <a:pos x="T8" y="T9"/>
                </a:cxn>
              </a:cxnLst>
              <a:rect l="0" t="0" r="r" b="b"/>
              <a:pathLst>
                <a:path w="1" h="29">
                  <a:moveTo>
                    <a:pt x="0" y="28"/>
                  </a:moveTo>
                  <a:lnTo>
                    <a:pt x="0" y="28"/>
                  </a:lnTo>
                  <a:lnTo>
                    <a:pt x="0" y="28"/>
                  </a:lnTo>
                  <a:lnTo>
                    <a:pt x="0" y="0"/>
                  </a:lnTo>
                  <a:lnTo>
                    <a:pt x="0" y="2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77" name="Freeform 355">
              <a:extLst>
                <a:ext uri="{FF2B5EF4-FFF2-40B4-BE49-F238E27FC236}">
                  <a16:creationId xmlns:a16="http://schemas.microsoft.com/office/drawing/2014/main" id="{D100020E-8C4A-41E1-9872-BEC71DDE87BA}"/>
                </a:ext>
              </a:extLst>
            </p:cNvPr>
            <p:cNvSpPr>
              <a:spLocks noChangeArrowheads="1"/>
            </p:cNvSpPr>
            <p:nvPr/>
          </p:nvSpPr>
          <p:spPr bwMode="auto">
            <a:xfrm>
              <a:off x="3791781" y="3157402"/>
              <a:ext cx="11416" cy="21038"/>
            </a:xfrm>
            <a:custGeom>
              <a:avLst/>
              <a:gdLst>
                <a:gd name="T0" fmla="*/ 29 w 30"/>
                <a:gd name="T1" fmla="*/ 0 h 58"/>
                <a:gd name="T2" fmla="*/ 29 w 30"/>
                <a:gd name="T3" fmla="*/ 0 h 58"/>
                <a:gd name="T4" fmla="*/ 0 w 30"/>
                <a:gd name="T5" fmla="*/ 57 h 58"/>
                <a:gd name="T6" fmla="*/ 29 w 30"/>
                <a:gd name="T7" fmla="*/ 0 h 58"/>
              </a:gdLst>
              <a:ahLst/>
              <a:cxnLst>
                <a:cxn ang="0">
                  <a:pos x="T0" y="T1"/>
                </a:cxn>
                <a:cxn ang="0">
                  <a:pos x="T2" y="T3"/>
                </a:cxn>
                <a:cxn ang="0">
                  <a:pos x="T4" y="T5"/>
                </a:cxn>
                <a:cxn ang="0">
                  <a:pos x="T6" y="T7"/>
                </a:cxn>
              </a:cxnLst>
              <a:rect l="0" t="0" r="r" b="b"/>
              <a:pathLst>
                <a:path w="30" h="58">
                  <a:moveTo>
                    <a:pt x="29" y="0"/>
                  </a:moveTo>
                  <a:lnTo>
                    <a:pt x="29" y="0"/>
                  </a:lnTo>
                  <a:cubicBezTo>
                    <a:pt x="0" y="29"/>
                    <a:pt x="0" y="29"/>
                    <a:pt x="0" y="57"/>
                  </a:cubicBezTo>
                  <a:cubicBezTo>
                    <a:pt x="0" y="29"/>
                    <a:pt x="0" y="29"/>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78" name="Freeform 356">
              <a:extLst>
                <a:ext uri="{FF2B5EF4-FFF2-40B4-BE49-F238E27FC236}">
                  <a16:creationId xmlns:a16="http://schemas.microsoft.com/office/drawing/2014/main" id="{173E22D2-D413-49D4-B01B-FF9C3279B698}"/>
                </a:ext>
              </a:extLst>
            </p:cNvPr>
            <p:cNvSpPr>
              <a:spLocks noChangeArrowheads="1"/>
            </p:cNvSpPr>
            <p:nvPr/>
          </p:nvSpPr>
          <p:spPr bwMode="auto">
            <a:xfrm>
              <a:off x="3834183" y="2976151"/>
              <a:ext cx="11416" cy="32366"/>
            </a:xfrm>
            <a:custGeom>
              <a:avLst/>
              <a:gdLst>
                <a:gd name="T0" fmla="*/ 0 w 30"/>
                <a:gd name="T1" fmla="*/ 0 h 89"/>
                <a:gd name="T2" fmla="*/ 0 w 30"/>
                <a:gd name="T3" fmla="*/ 0 h 89"/>
                <a:gd name="T4" fmla="*/ 0 w 30"/>
                <a:gd name="T5" fmla="*/ 30 h 89"/>
                <a:gd name="T6" fmla="*/ 29 w 30"/>
                <a:gd name="T7" fmla="*/ 88 h 89"/>
                <a:gd name="T8" fmla="*/ 0 w 30"/>
                <a:gd name="T9" fmla="*/ 30 h 89"/>
                <a:gd name="T10" fmla="*/ 0 w 30"/>
                <a:gd name="T11" fmla="*/ 0 h 89"/>
              </a:gdLst>
              <a:ahLst/>
              <a:cxnLst>
                <a:cxn ang="0">
                  <a:pos x="T0" y="T1"/>
                </a:cxn>
                <a:cxn ang="0">
                  <a:pos x="T2" y="T3"/>
                </a:cxn>
                <a:cxn ang="0">
                  <a:pos x="T4" y="T5"/>
                </a:cxn>
                <a:cxn ang="0">
                  <a:pos x="T6" y="T7"/>
                </a:cxn>
                <a:cxn ang="0">
                  <a:pos x="T8" y="T9"/>
                </a:cxn>
                <a:cxn ang="0">
                  <a:pos x="T10" y="T11"/>
                </a:cxn>
              </a:cxnLst>
              <a:rect l="0" t="0" r="r" b="b"/>
              <a:pathLst>
                <a:path w="30" h="89">
                  <a:moveTo>
                    <a:pt x="0" y="0"/>
                  </a:moveTo>
                  <a:lnTo>
                    <a:pt x="0" y="0"/>
                  </a:lnTo>
                  <a:lnTo>
                    <a:pt x="0" y="30"/>
                  </a:lnTo>
                  <a:cubicBezTo>
                    <a:pt x="0" y="59"/>
                    <a:pt x="0" y="59"/>
                    <a:pt x="29" y="88"/>
                  </a:cubicBezTo>
                  <a:cubicBezTo>
                    <a:pt x="0" y="59"/>
                    <a:pt x="0" y="59"/>
                    <a:pt x="0" y="30"/>
                  </a:cubicBez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79" name="Freeform 357">
              <a:extLst>
                <a:ext uri="{FF2B5EF4-FFF2-40B4-BE49-F238E27FC236}">
                  <a16:creationId xmlns:a16="http://schemas.microsoft.com/office/drawing/2014/main" id="{AE233C40-C25B-49BB-9A0C-FF57F168FCAB}"/>
                </a:ext>
              </a:extLst>
            </p:cNvPr>
            <p:cNvSpPr>
              <a:spLocks noChangeArrowheads="1"/>
            </p:cNvSpPr>
            <p:nvPr/>
          </p:nvSpPr>
          <p:spPr bwMode="auto">
            <a:xfrm>
              <a:off x="9313824" y="1927479"/>
              <a:ext cx="11416" cy="11328"/>
            </a:xfrm>
            <a:custGeom>
              <a:avLst/>
              <a:gdLst>
                <a:gd name="T0" fmla="*/ 29 w 30"/>
                <a:gd name="T1" fmla="*/ 29 h 30"/>
                <a:gd name="T2" fmla="*/ 29 w 30"/>
                <a:gd name="T3" fmla="*/ 29 h 30"/>
                <a:gd name="T4" fmla="*/ 29 w 30"/>
                <a:gd name="T5" fmla="*/ 29 h 30"/>
                <a:gd name="T6" fmla="*/ 29 w 30"/>
                <a:gd name="T7" fmla="*/ 0 h 30"/>
                <a:gd name="T8" fmla="*/ 29 w 30"/>
                <a:gd name="T9" fmla="*/ 0 h 30"/>
                <a:gd name="T10" fmla="*/ 0 w 30"/>
                <a:gd name="T11" fmla="*/ 29 h 30"/>
                <a:gd name="T12" fmla="*/ 29 w 30"/>
                <a:gd name="T13" fmla="*/ 29 h 30"/>
              </a:gdLst>
              <a:ahLst/>
              <a:cxnLst>
                <a:cxn ang="0">
                  <a:pos x="T0" y="T1"/>
                </a:cxn>
                <a:cxn ang="0">
                  <a:pos x="T2" y="T3"/>
                </a:cxn>
                <a:cxn ang="0">
                  <a:pos x="T4" y="T5"/>
                </a:cxn>
                <a:cxn ang="0">
                  <a:pos x="T6" y="T7"/>
                </a:cxn>
                <a:cxn ang="0">
                  <a:pos x="T8" y="T9"/>
                </a:cxn>
                <a:cxn ang="0">
                  <a:pos x="T10" y="T11"/>
                </a:cxn>
                <a:cxn ang="0">
                  <a:pos x="T12" y="T13"/>
                </a:cxn>
              </a:cxnLst>
              <a:rect l="0" t="0" r="r" b="b"/>
              <a:pathLst>
                <a:path w="30" h="30">
                  <a:moveTo>
                    <a:pt x="29" y="29"/>
                  </a:moveTo>
                  <a:lnTo>
                    <a:pt x="29" y="29"/>
                  </a:lnTo>
                  <a:lnTo>
                    <a:pt x="29" y="29"/>
                  </a:lnTo>
                  <a:cubicBezTo>
                    <a:pt x="29" y="29"/>
                    <a:pt x="29" y="29"/>
                    <a:pt x="29" y="0"/>
                  </a:cubicBezTo>
                  <a:lnTo>
                    <a:pt x="29" y="0"/>
                  </a:lnTo>
                  <a:cubicBezTo>
                    <a:pt x="29" y="0"/>
                    <a:pt x="0" y="0"/>
                    <a:pt x="0" y="29"/>
                  </a:cubicBezTo>
                  <a:lnTo>
                    <a:pt x="2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0" name="Freeform 358">
              <a:extLst>
                <a:ext uri="{FF2B5EF4-FFF2-40B4-BE49-F238E27FC236}">
                  <a16:creationId xmlns:a16="http://schemas.microsoft.com/office/drawing/2014/main" id="{A7F2108D-87B3-48B9-BC5D-8E7A69D2B87E}"/>
                </a:ext>
              </a:extLst>
            </p:cNvPr>
            <p:cNvSpPr>
              <a:spLocks noChangeArrowheads="1"/>
            </p:cNvSpPr>
            <p:nvPr/>
          </p:nvSpPr>
          <p:spPr bwMode="auto">
            <a:xfrm>
              <a:off x="8762598" y="1841708"/>
              <a:ext cx="11416"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lnTo>
                    <a:pt x="0" y="0"/>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1" name="Freeform 359">
              <a:extLst>
                <a:ext uri="{FF2B5EF4-FFF2-40B4-BE49-F238E27FC236}">
                  <a16:creationId xmlns:a16="http://schemas.microsoft.com/office/drawing/2014/main" id="{D2FDB7AB-883C-4556-8EC0-32632A1D2121}"/>
                </a:ext>
              </a:extLst>
            </p:cNvPr>
            <p:cNvSpPr>
              <a:spLocks noChangeArrowheads="1"/>
            </p:cNvSpPr>
            <p:nvPr/>
          </p:nvSpPr>
          <p:spPr bwMode="auto">
            <a:xfrm>
              <a:off x="8774014" y="1851418"/>
              <a:ext cx="11415"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cubicBezTo>
                    <a:pt x="0" y="0"/>
                    <a:pt x="0" y="0"/>
                    <a:pt x="0" y="0"/>
                  </a:cubicBez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2" name="Freeform 360">
              <a:extLst>
                <a:ext uri="{FF2B5EF4-FFF2-40B4-BE49-F238E27FC236}">
                  <a16:creationId xmlns:a16="http://schemas.microsoft.com/office/drawing/2014/main" id="{9A1E7FEE-FD81-43D9-9153-F2A71C16F091}"/>
                </a:ext>
              </a:extLst>
            </p:cNvPr>
            <p:cNvSpPr>
              <a:spLocks noChangeArrowheads="1"/>
            </p:cNvSpPr>
            <p:nvPr/>
          </p:nvSpPr>
          <p:spPr bwMode="auto">
            <a:xfrm>
              <a:off x="8741397" y="1830380"/>
              <a:ext cx="11415" cy="1618"/>
            </a:xfrm>
            <a:custGeom>
              <a:avLst/>
              <a:gdLst>
                <a:gd name="T0" fmla="*/ 30 w 31"/>
                <a:gd name="T1" fmla="*/ 0 h 1"/>
                <a:gd name="T2" fmla="*/ 30 w 31"/>
                <a:gd name="T3" fmla="*/ 0 h 1"/>
                <a:gd name="T4" fmla="*/ 0 w 31"/>
                <a:gd name="T5" fmla="*/ 0 h 1"/>
                <a:gd name="T6" fmla="*/ 30 w 31"/>
                <a:gd name="T7" fmla="*/ 0 h 1"/>
              </a:gdLst>
              <a:ahLst/>
              <a:cxnLst>
                <a:cxn ang="0">
                  <a:pos x="T0" y="T1"/>
                </a:cxn>
                <a:cxn ang="0">
                  <a:pos x="T2" y="T3"/>
                </a:cxn>
                <a:cxn ang="0">
                  <a:pos x="T4" y="T5"/>
                </a:cxn>
                <a:cxn ang="0">
                  <a:pos x="T6" y="T7"/>
                </a:cxn>
              </a:cxnLst>
              <a:rect l="0" t="0" r="r" b="b"/>
              <a:pathLst>
                <a:path w="31" h="1">
                  <a:moveTo>
                    <a:pt x="30" y="0"/>
                  </a:moveTo>
                  <a:lnTo>
                    <a:pt x="30" y="0"/>
                  </a:lnTo>
                  <a:cubicBezTo>
                    <a:pt x="30" y="0"/>
                    <a:pt x="30" y="0"/>
                    <a:pt x="0" y="0"/>
                  </a:cubicBezTo>
                  <a:cubicBezTo>
                    <a:pt x="30" y="0"/>
                    <a:pt x="3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3" name="Freeform 361">
              <a:extLst>
                <a:ext uri="{FF2B5EF4-FFF2-40B4-BE49-F238E27FC236}">
                  <a16:creationId xmlns:a16="http://schemas.microsoft.com/office/drawing/2014/main" id="{4727647F-A13E-4E06-B75F-FE28D4EE08B2}"/>
                </a:ext>
              </a:extLst>
            </p:cNvPr>
            <p:cNvSpPr>
              <a:spLocks noChangeArrowheads="1"/>
            </p:cNvSpPr>
            <p:nvPr/>
          </p:nvSpPr>
          <p:spPr bwMode="auto">
            <a:xfrm>
              <a:off x="8729981" y="1830380"/>
              <a:ext cx="11416" cy="1618"/>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29" y="0"/>
                    <a:pt x="29" y="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4" name="Freeform 362">
              <a:extLst>
                <a:ext uri="{FF2B5EF4-FFF2-40B4-BE49-F238E27FC236}">
                  <a16:creationId xmlns:a16="http://schemas.microsoft.com/office/drawing/2014/main" id="{6B255844-1AF2-43DE-BCC6-0FE491E02321}"/>
                </a:ext>
              </a:extLst>
            </p:cNvPr>
            <p:cNvSpPr>
              <a:spLocks noChangeArrowheads="1"/>
            </p:cNvSpPr>
            <p:nvPr/>
          </p:nvSpPr>
          <p:spPr bwMode="auto">
            <a:xfrm>
              <a:off x="8783799" y="1851418"/>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5" name="Freeform 363">
              <a:extLst>
                <a:ext uri="{FF2B5EF4-FFF2-40B4-BE49-F238E27FC236}">
                  <a16:creationId xmlns:a16="http://schemas.microsoft.com/office/drawing/2014/main" id="{681D7B56-A3F5-4D10-9F91-C589D505F8F2}"/>
                </a:ext>
              </a:extLst>
            </p:cNvPr>
            <p:cNvSpPr>
              <a:spLocks noChangeArrowheads="1"/>
            </p:cNvSpPr>
            <p:nvPr/>
          </p:nvSpPr>
          <p:spPr bwMode="auto">
            <a:xfrm>
              <a:off x="8752813" y="1841708"/>
              <a:ext cx="11416"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cubicBezTo>
                    <a:pt x="29" y="0"/>
                    <a:pt x="29" y="0"/>
                    <a:pt x="0" y="0"/>
                  </a:cubicBezTo>
                  <a:cubicBezTo>
                    <a:pt x="29"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6" name="Freeform 364">
              <a:extLst>
                <a:ext uri="{FF2B5EF4-FFF2-40B4-BE49-F238E27FC236}">
                  <a16:creationId xmlns:a16="http://schemas.microsoft.com/office/drawing/2014/main" id="{D324DB5D-F1FC-43CB-974E-D5FC78DB95BA}"/>
                </a:ext>
              </a:extLst>
            </p:cNvPr>
            <p:cNvSpPr>
              <a:spLocks noChangeArrowheads="1"/>
            </p:cNvSpPr>
            <p:nvPr/>
          </p:nvSpPr>
          <p:spPr bwMode="auto">
            <a:xfrm>
              <a:off x="9064305" y="1798014"/>
              <a:ext cx="32617" cy="21038"/>
            </a:xfrm>
            <a:custGeom>
              <a:avLst/>
              <a:gdLst>
                <a:gd name="T0" fmla="*/ 57 w 88"/>
                <a:gd name="T1" fmla="*/ 29 h 59"/>
                <a:gd name="T2" fmla="*/ 57 w 88"/>
                <a:gd name="T3" fmla="*/ 29 h 59"/>
                <a:gd name="T4" fmla="*/ 87 w 88"/>
                <a:gd name="T5" fmla="*/ 0 h 59"/>
                <a:gd name="T6" fmla="*/ 57 w 88"/>
                <a:gd name="T7" fmla="*/ 29 h 59"/>
                <a:gd name="T8" fmla="*/ 28 w 88"/>
                <a:gd name="T9" fmla="*/ 58 h 59"/>
                <a:gd name="T10" fmla="*/ 0 w 88"/>
                <a:gd name="T11" fmla="*/ 58 h 59"/>
                <a:gd name="T12" fmla="*/ 28 w 88"/>
                <a:gd name="T13" fmla="*/ 58 h 59"/>
                <a:gd name="T14" fmla="*/ 57 w 88"/>
                <a:gd name="T15" fmla="*/ 2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59">
                  <a:moveTo>
                    <a:pt x="57" y="29"/>
                  </a:moveTo>
                  <a:lnTo>
                    <a:pt x="57" y="29"/>
                  </a:lnTo>
                  <a:lnTo>
                    <a:pt x="87" y="0"/>
                  </a:lnTo>
                  <a:lnTo>
                    <a:pt x="57" y="29"/>
                  </a:lnTo>
                  <a:cubicBezTo>
                    <a:pt x="57" y="29"/>
                    <a:pt x="28" y="29"/>
                    <a:pt x="28" y="58"/>
                  </a:cubicBezTo>
                  <a:lnTo>
                    <a:pt x="0" y="58"/>
                  </a:lnTo>
                  <a:lnTo>
                    <a:pt x="28" y="58"/>
                  </a:lnTo>
                  <a:cubicBezTo>
                    <a:pt x="28" y="29"/>
                    <a:pt x="57" y="29"/>
                    <a:pt x="57"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7" name="Freeform 365">
              <a:extLst>
                <a:ext uri="{FF2B5EF4-FFF2-40B4-BE49-F238E27FC236}">
                  <a16:creationId xmlns:a16="http://schemas.microsoft.com/office/drawing/2014/main" id="{37A977F3-2256-4A91-9586-2F43D886E51D}"/>
                </a:ext>
              </a:extLst>
            </p:cNvPr>
            <p:cNvSpPr>
              <a:spLocks noChangeArrowheads="1"/>
            </p:cNvSpPr>
            <p:nvPr/>
          </p:nvSpPr>
          <p:spPr bwMode="auto">
            <a:xfrm>
              <a:off x="8720196" y="1830380"/>
              <a:ext cx="11416" cy="1618"/>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8" name="Freeform 366">
              <a:extLst>
                <a:ext uri="{FF2B5EF4-FFF2-40B4-BE49-F238E27FC236}">
                  <a16:creationId xmlns:a16="http://schemas.microsoft.com/office/drawing/2014/main" id="{8CC24313-717B-4B33-A813-8864A39FAD45}"/>
                </a:ext>
              </a:extLst>
            </p:cNvPr>
            <p:cNvSpPr>
              <a:spLocks noChangeArrowheads="1"/>
            </p:cNvSpPr>
            <p:nvPr/>
          </p:nvSpPr>
          <p:spPr bwMode="auto">
            <a:xfrm>
              <a:off x="9398628" y="2270563"/>
              <a:ext cx="1631"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9" name="Freeform 367">
              <a:extLst>
                <a:ext uri="{FF2B5EF4-FFF2-40B4-BE49-F238E27FC236}">
                  <a16:creationId xmlns:a16="http://schemas.microsoft.com/office/drawing/2014/main" id="{683CE1B0-C183-4F5A-BAB2-714247DCB7D1}"/>
                </a:ext>
              </a:extLst>
            </p:cNvPr>
            <p:cNvSpPr>
              <a:spLocks noChangeArrowheads="1"/>
            </p:cNvSpPr>
            <p:nvPr/>
          </p:nvSpPr>
          <p:spPr bwMode="auto">
            <a:xfrm>
              <a:off x="4201124" y="3767509"/>
              <a:ext cx="11415" cy="11329"/>
            </a:xfrm>
            <a:custGeom>
              <a:avLst/>
              <a:gdLst>
                <a:gd name="T0" fmla="*/ 0 w 30"/>
                <a:gd name="T1" fmla="*/ 0 h 30"/>
                <a:gd name="T2" fmla="*/ 0 w 30"/>
                <a:gd name="T3" fmla="*/ 0 h 30"/>
                <a:gd name="T4" fmla="*/ 29 w 30"/>
                <a:gd name="T5" fmla="*/ 29 h 30"/>
                <a:gd name="T6" fmla="*/ 0 w 30"/>
                <a:gd name="T7" fmla="*/ 0 h 30"/>
              </a:gdLst>
              <a:ahLst/>
              <a:cxnLst>
                <a:cxn ang="0">
                  <a:pos x="T0" y="T1"/>
                </a:cxn>
                <a:cxn ang="0">
                  <a:pos x="T2" y="T3"/>
                </a:cxn>
                <a:cxn ang="0">
                  <a:pos x="T4" y="T5"/>
                </a:cxn>
                <a:cxn ang="0">
                  <a:pos x="T6" y="T7"/>
                </a:cxn>
              </a:cxnLst>
              <a:rect l="0" t="0" r="r" b="b"/>
              <a:pathLst>
                <a:path w="30" h="30">
                  <a:moveTo>
                    <a:pt x="0" y="0"/>
                  </a:moveTo>
                  <a:lnTo>
                    <a:pt x="0" y="0"/>
                  </a:lnTo>
                  <a:cubicBezTo>
                    <a:pt x="29" y="0"/>
                    <a:pt x="29" y="29"/>
                    <a:pt x="29" y="29"/>
                  </a:cubicBezTo>
                  <a:cubicBezTo>
                    <a:pt x="29" y="29"/>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90" name="Freeform 368">
              <a:extLst>
                <a:ext uri="{FF2B5EF4-FFF2-40B4-BE49-F238E27FC236}">
                  <a16:creationId xmlns:a16="http://schemas.microsoft.com/office/drawing/2014/main" id="{7A3CED35-385B-436B-BD54-569417D6AD21}"/>
                </a:ext>
              </a:extLst>
            </p:cNvPr>
            <p:cNvSpPr>
              <a:spLocks noChangeArrowheads="1"/>
            </p:cNvSpPr>
            <p:nvPr/>
          </p:nvSpPr>
          <p:spPr bwMode="auto">
            <a:xfrm>
              <a:off x="8989286" y="1990593"/>
              <a:ext cx="593628" cy="760610"/>
            </a:xfrm>
            <a:custGeom>
              <a:avLst/>
              <a:gdLst>
                <a:gd name="T0" fmla="*/ 962 w 1605"/>
                <a:gd name="T1" fmla="*/ 175 h 2071"/>
                <a:gd name="T2" fmla="*/ 905 w 1605"/>
                <a:gd name="T3" fmla="*/ 146 h 2071"/>
                <a:gd name="T4" fmla="*/ 788 w 1605"/>
                <a:gd name="T5" fmla="*/ 117 h 2071"/>
                <a:gd name="T6" fmla="*/ 642 w 1605"/>
                <a:gd name="T7" fmla="*/ 59 h 2071"/>
                <a:gd name="T8" fmla="*/ 526 w 1605"/>
                <a:gd name="T9" fmla="*/ 30 h 2071"/>
                <a:gd name="T10" fmla="*/ 496 w 1605"/>
                <a:gd name="T11" fmla="*/ 88 h 2071"/>
                <a:gd name="T12" fmla="*/ 526 w 1605"/>
                <a:gd name="T13" fmla="*/ 175 h 2071"/>
                <a:gd name="T14" fmla="*/ 409 w 1605"/>
                <a:gd name="T15" fmla="*/ 292 h 2071"/>
                <a:gd name="T16" fmla="*/ 438 w 1605"/>
                <a:gd name="T17" fmla="*/ 380 h 2071"/>
                <a:gd name="T18" fmla="*/ 350 w 1605"/>
                <a:gd name="T19" fmla="*/ 554 h 2071"/>
                <a:gd name="T20" fmla="*/ 321 w 1605"/>
                <a:gd name="T21" fmla="*/ 525 h 2071"/>
                <a:gd name="T22" fmla="*/ 262 w 1605"/>
                <a:gd name="T23" fmla="*/ 496 h 2071"/>
                <a:gd name="T24" fmla="*/ 262 w 1605"/>
                <a:gd name="T25" fmla="*/ 409 h 2071"/>
                <a:gd name="T26" fmla="*/ 205 w 1605"/>
                <a:gd name="T27" fmla="*/ 467 h 2071"/>
                <a:gd name="T28" fmla="*/ 88 w 1605"/>
                <a:gd name="T29" fmla="*/ 583 h 2071"/>
                <a:gd name="T30" fmla="*/ 59 w 1605"/>
                <a:gd name="T31" fmla="*/ 700 h 2071"/>
                <a:gd name="T32" fmla="*/ 29 w 1605"/>
                <a:gd name="T33" fmla="*/ 903 h 2071"/>
                <a:gd name="T34" fmla="*/ 29 w 1605"/>
                <a:gd name="T35" fmla="*/ 1020 h 2071"/>
                <a:gd name="T36" fmla="*/ 29 w 1605"/>
                <a:gd name="T37" fmla="*/ 1079 h 2071"/>
                <a:gd name="T38" fmla="*/ 117 w 1605"/>
                <a:gd name="T39" fmla="*/ 1282 h 2071"/>
                <a:gd name="T40" fmla="*/ 176 w 1605"/>
                <a:gd name="T41" fmla="*/ 1399 h 2071"/>
                <a:gd name="T42" fmla="*/ 176 w 1605"/>
                <a:gd name="T43" fmla="*/ 1545 h 2071"/>
                <a:gd name="T44" fmla="*/ 29 w 1605"/>
                <a:gd name="T45" fmla="*/ 2012 h 2071"/>
                <a:gd name="T46" fmla="*/ 759 w 1605"/>
                <a:gd name="T47" fmla="*/ 2012 h 2071"/>
                <a:gd name="T48" fmla="*/ 846 w 1605"/>
                <a:gd name="T49" fmla="*/ 2012 h 2071"/>
                <a:gd name="T50" fmla="*/ 1400 w 1605"/>
                <a:gd name="T51" fmla="*/ 1924 h 2071"/>
                <a:gd name="T52" fmla="*/ 1459 w 1605"/>
                <a:gd name="T53" fmla="*/ 1837 h 2071"/>
                <a:gd name="T54" fmla="*/ 1488 w 1605"/>
                <a:gd name="T55" fmla="*/ 1720 h 2071"/>
                <a:gd name="T56" fmla="*/ 1488 w 1605"/>
                <a:gd name="T57" fmla="*/ 1603 h 2071"/>
                <a:gd name="T58" fmla="*/ 1517 w 1605"/>
                <a:gd name="T59" fmla="*/ 1516 h 2071"/>
                <a:gd name="T60" fmla="*/ 1576 w 1605"/>
                <a:gd name="T61" fmla="*/ 1516 h 2071"/>
                <a:gd name="T62" fmla="*/ 1576 w 1605"/>
                <a:gd name="T63" fmla="*/ 1341 h 2071"/>
                <a:gd name="T64" fmla="*/ 1546 w 1605"/>
                <a:gd name="T65" fmla="*/ 1282 h 2071"/>
                <a:gd name="T66" fmla="*/ 1546 w 1605"/>
                <a:gd name="T67" fmla="*/ 1224 h 2071"/>
                <a:gd name="T68" fmla="*/ 1342 w 1605"/>
                <a:gd name="T69" fmla="*/ 817 h 2071"/>
                <a:gd name="T70" fmla="*/ 1254 w 1605"/>
                <a:gd name="T71" fmla="*/ 903 h 2071"/>
                <a:gd name="T72" fmla="*/ 1196 w 1605"/>
                <a:gd name="T73" fmla="*/ 874 h 2071"/>
                <a:gd name="T74" fmla="*/ 1138 w 1605"/>
                <a:gd name="T75" fmla="*/ 1020 h 2071"/>
                <a:gd name="T76" fmla="*/ 1079 w 1605"/>
                <a:gd name="T77" fmla="*/ 1079 h 2071"/>
                <a:gd name="T78" fmla="*/ 933 w 1605"/>
                <a:gd name="T79" fmla="*/ 903 h 2071"/>
                <a:gd name="T80" fmla="*/ 1021 w 1605"/>
                <a:gd name="T81" fmla="*/ 817 h 2071"/>
                <a:gd name="T82" fmla="*/ 1050 w 1605"/>
                <a:gd name="T83" fmla="*/ 788 h 2071"/>
                <a:gd name="T84" fmla="*/ 1079 w 1605"/>
                <a:gd name="T85" fmla="*/ 671 h 2071"/>
                <a:gd name="T86" fmla="*/ 1079 w 1605"/>
                <a:gd name="T87" fmla="*/ 438 h 2071"/>
                <a:gd name="T88" fmla="*/ 1050 w 1605"/>
                <a:gd name="T89" fmla="*/ 292 h 2071"/>
                <a:gd name="T90" fmla="*/ 1050 w 1605"/>
                <a:gd name="T91" fmla="*/ 263 h 2071"/>
                <a:gd name="T92" fmla="*/ 1079 w 1605"/>
                <a:gd name="T93" fmla="*/ 263 h 2071"/>
                <a:gd name="T94" fmla="*/ 962 w 1605"/>
                <a:gd name="T95" fmla="*/ 175 h 2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05" h="2071">
                  <a:moveTo>
                    <a:pt x="962" y="175"/>
                  </a:moveTo>
                  <a:lnTo>
                    <a:pt x="962" y="175"/>
                  </a:lnTo>
                  <a:lnTo>
                    <a:pt x="962" y="175"/>
                  </a:lnTo>
                  <a:cubicBezTo>
                    <a:pt x="933" y="175"/>
                    <a:pt x="905" y="175"/>
                    <a:pt x="905" y="146"/>
                  </a:cubicBezTo>
                  <a:cubicBezTo>
                    <a:pt x="876" y="146"/>
                    <a:pt x="876" y="146"/>
                    <a:pt x="846" y="117"/>
                  </a:cubicBezTo>
                  <a:cubicBezTo>
                    <a:pt x="846" y="117"/>
                    <a:pt x="817" y="117"/>
                    <a:pt x="788" y="117"/>
                  </a:cubicBezTo>
                  <a:cubicBezTo>
                    <a:pt x="759" y="117"/>
                    <a:pt x="729" y="117"/>
                    <a:pt x="700" y="117"/>
                  </a:cubicBezTo>
                  <a:cubicBezTo>
                    <a:pt x="671" y="88"/>
                    <a:pt x="671" y="59"/>
                    <a:pt x="642" y="59"/>
                  </a:cubicBezTo>
                  <a:cubicBezTo>
                    <a:pt x="642" y="30"/>
                    <a:pt x="612" y="30"/>
                    <a:pt x="583" y="0"/>
                  </a:cubicBezTo>
                  <a:cubicBezTo>
                    <a:pt x="583" y="30"/>
                    <a:pt x="555" y="30"/>
                    <a:pt x="526" y="30"/>
                  </a:cubicBezTo>
                  <a:lnTo>
                    <a:pt x="526" y="59"/>
                  </a:lnTo>
                  <a:cubicBezTo>
                    <a:pt x="496" y="88"/>
                    <a:pt x="496" y="88"/>
                    <a:pt x="496" y="88"/>
                  </a:cubicBezTo>
                  <a:cubicBezTo>
                    <a:pt x="496" y="117"/>
                    <a:pt x="496" y="117"/>
                    <a:pt x="526" y="117"/>
                  </a:cubicBezTo>
                  <a:cubicBezTo>
                    <a:pt x="526" y="146"/>
                    <a:pt x="526" y="146"/>
                    <a:pt x="526" y="175"/>
                  </a:cubicBezTo>
                  <a:cubicBezTo>
                    <a:pt x="526" y="204"/>
                    <a:pt x="496" y="233"/>
                    <a:pt x="467" y="233"/>
                  </a:cubicBezTo>
                  <a:cubicBezTo>
                    <a:pt x="438" y="263"/>
                    <a:pt x="409" y="263"/>
                    <a:pt x="409" y="292"/>
                  </a:cubicBezTo>
                  <a:cubicBezTo>
                    <a:pt x="409" y="292"/>
                    <a:pt x="409" y="321"/>
                    <a:pt x="409" y="350"/>
                  </a:cubicBezTo>
                  <a:lnTo>
                    <a:pt x="438" y="380"/>
                  </a:lnTo>
                  <a:cubicBezTo>
                    <a:pt x="438" y="467"/>
                    <a:pt x="409" y="496"/>
                    <a:pt x="350" y="525"/>
                  </a:cubicBezTo>
                  <a:cubicBezTo>
                    <a:pt x="350" y="554"/>
                    <a:pt x="350" y="554"/>
                    <a:pt x="350" y="554"/>
                  </a:cubicBezTo>
                  <a:cubicBezTo>
                    <a:pt x="321" y="525"/>
                    <a:pt x="321" y="525"/>
                    <a:pt x="321" y="525"/>
                  </a:cubicBezTo>
                  <a:lnTo>
                    <a:pt x="321" y="525"/>
                  </a:lnTo>
                  <a:cubicBezTo>
                    <a:pt x="292" y="525"/>
                    <a:pt x="292" y="496"/>
                    <a:pt x="262" y="496"/>
                  </a:cubicBezTo>
                  <a:lnTo>
                    <a:pt x="262" y="496"/>
                  </a:lnTo>
                  <a:lnTo>
                    <a:pt x="262" y="496"/>
                  </a:lnTo>
                  <a:cubicBezTo>
                    <a:pt x="262" y="467"/>
                    <a:pt x="262" y="438"/>
                    <a:pt x="262" y="409"/>
                  </a:cubicBezTo>
                  <a:lnTo>
                    <a:pt x="262" y="409"/>
                  </a:lnTo>
                  <a:cubicBezTo>
                    <a:pt x="233" y="438"/>
                    <a:pt x="233" y="438"/>
                    <a:pt x="205" y="467"/>
                  </a:cubicBezTo>
                  <a:cubicBezTo>
                    <a:pt x="205" y="496"/>
                    <a:pt x="176" y="525"/>
                    <a:pt x="146" y="554"/>
                  </a:cubicBezTo>
                  <a:cubicBezTo>
                    <a:pt x="117" y="583"/>
                    <a:pt x="117" y="583"/>
                    <a:pt x="88" y="583"/>
                  </a:cubicBezTo>
                  <a:cubicBezTo>
                    <a:pt x="88" y="583"/>
                    <a:pt x="29" y="613"/>
                    <a:pt x="29" y="642"/>
                  </a:cubicBezTo>
                  <a:cubicBezTo>
                    <a:pt x="29" y="642"/>
                    <a:pt x="29" y="671"/>
                    <a:pt x="59" y="700"/>
                  </a:cubicBezTo>
                  <a:lnTo>
                    <a:pt x="59" y="730"/>
                  </a:lnTo>
                  <a:cubicBezTo>
                    <a:pt x="88" y="817"/>
                    <a:pt x="59" y="874"/>
                    <a:pt x="29" y="903"/>
                  </a:cubicBezTo>
                  <a:cubicBezTo>
                    <a:pt x="29" y="932"/>
                    <a:pt x="29" y="962"/>
                    <a:pt x="29" y="991"/>
                  </a:cubicBezTo>
                  <a:lnTo>
                    <a:pt x="29" y="1020"/>
                  </a:lnTo>
                  <a:lnTo>
                    <a:pt x="29" y="1049"/>
                  </a:lnTo>
                  <a:cubicBezTo>
                    <a:pt x="29" y="1079"/>
                    <a:pt x="29" y="1079"/>
                    <a:pt x="29" y="1079"/>
                  </a:cubicBezTo>
                  <a:cubicBezTo>
                    <a:pt x="29" y="1108"/>
                    <a:pt x="29" y="1108"/>
                    <a:pt x="29" y="1108"/>
                  </a:cubicBezTo>
                  <a:cubicBezTo>
                    <a:pt x="29" y="1195"/>
                    <a:pt x="88" y="1224"/>
                    <a:pt x="117" y="1282"/>
                  </a:cubicBezTo>
                  <a:cubicBezTo>
                    <a:pt x="146" y="1312"/>
                    <a:pt x="176" y="1341"/>
                    <a:pt x="176" y="1399"/>
                  </a:cubicBezTo>
                  <a:lnTo>
                    <a:pt x="176" y="1399"/>
                  </a:lnTo>
                  <a:lnTo>
                    <a:pt x="176" y="1399"/>
                  </a:lnTo>
                  <a:cubicBezTo>
                    <a:pt x="176" y="1458"/>
                    <a:pt x="176" y="1487"/>
                    <a:pt x="176" y="1545"/>
                  </a:cubicBezTo>
                  <a:cubicBezTo>
                    <a:pt x="176" y="1662"/>
                    <a:pt x="176" y="1779"/>
                    <a:pt x="117" y="1895"/>
                  </a:cubicBezTo>
                  <a:cubicBezTo>
                    <a:pt x="117" y="1953"/>
                    <a:pt x="59" y="1982"/>
                    <a:pt x="29" y="2012"/>
                  </a:cubicBezTo>
                  <a:cubicBezTo>
                    <a:pt x="29" y="2041"/>
                    <a:pt x="0" y="2041"/>
                    <a:pt x="0" y="2070"/>
                  </a:cubicBezTo>
                  <a:cubicBezTo>
                    <a:pt x="233" y="2041"/>
                    <a:pt x="496" y="2012"/>
                    <a:pt x="759" y="2012"/>
                  </a:cubicBezTo>
                  <a:cubicBezTo>
                    <a:pt x="759" y="2012"/>
                    <a:pt x="788" y="2012"/>
                    <a:pt x="788" y="2041"/>
                  </a:cubicBezTo>
                  <a:cubicBezTo>
                    <a:pt x="846" y="2012"/>
                    <a:pt x="846" y="2012"/>
                    <a:pt x="846" y="2012"/>
                  </a:cubicBezTo>
                  <a:cubicBezTo>
                    <a:pt x="1021" y="2012"/>
                    <a:pt x="1196" y="1982"/>
                    <a:pt x="1371" y="1982"/>
                  </a:cubicBezTo>
                  <a:cubicBezTo>
                    <a:pt x="1371" y="1953"/>
                    <a:pt x="1400" y="1924"/>
                    <a:pt x="1400" y="1924"/>
                  </a:cubicBezTo>
                  <a:cubicBezTo>
                    <a:pt x="1429" y="1895"/>
                    <a:pt x="1429" y="1865"/>
                    <a:pt x="1429" y="1865"/>
                  </a:cubicBezTo>
                  <a:cubicBezTo>
                    <a:pt x="1459" y="1837"/>
                    <a:pt x="1459" y="1837"/>
                    <a:pt x="1459" y="1837"/>
                  </a:cubicBezTo>
                  <a:cubicBezTo>
                    <a:pt x="1459" y="1808"/>
                    <a:pt x="1459" y="1808"/>
                    <a:pt x="1459" y="1779"/>
                  </a:cubicBezTo>
                  <a:cubicBezTo>
                    <a:pt x="1459" y="1779"/>
                    <a:pt x="1459" y="1749"/>
                    <a:pt x="1488" y="1720"/>
                  </a:cubicBezTo>
                  <a:cubicBezTo>
                    <a:pt x="1488" y="1691"/>
                    <a:pt x="1488" y="1662"/>
                    <a:pt x="1488" y="1632"/>
                  </a:cubicBezTo>
                  <a:cubicBezTo>
                    <a:pt x="1488" y="1632"/>
                    <a:pt x="1488" y="1632"/>
                    <a:pt x="1488" y="1603"/>
                  </a:cubicBezTo>
                  <a:cubicBezTo>
                    <a:pt x="1459" y="1574"/>
                    <a:pt x="1459" y="1545"/>
                    <a:pt x="1517" y="1516"/>
                  </a:cubicBezTo>
                  <a:lnTo>
                    <a:pt x="1517" y="1516"/>
                  </a:lnTo>
                  <a:cubicBezTo>
                    <a:pt x="1546" y="1516"/>
                    <a:pt x="1546" y="1516"/>
                    <a:pt x="1546" y="1516"/>
                  </a:cubicBezTo>
                  <a:cubicBezTo>
                    <a:pt x="1546" y="1516"/>
                    <a:pt x="1546" y="1516"/>
                    <a:pt x="1576" y="1516"/>
                  </a:cubicBezTo>
                  <a:lnTo>
                    <a:pt x="1576" y="1516"/>
                  </a:lnTo>
                  <a:cubicBezTo>
                    <a:pt x="1576" y="1458"/>
                    <a:pt x="1604" y="1399"/>
                    <a:pt x="1576" y="1341"/>
                  </a:cubicBezTo>
                  <a:lnTo>
                    <a:pt x="1576" y="1341"/>
                  </a:lnTo>
                  <a:cubicBezTo>
                    <a:pt x="1546" y="1312"/>
                    <a:pt x="1546" y="1312"/>
                    <a:pt x="1546" y="1282"/>
                  </a:cubicBezTo>
                  <a:lnTo>
                    <a:pt x="1546" y="1253"/>
                  </a:lnTo>
                  <a:cubicBezTo>
                    <a:pt x="1546" y="1253"/>
                    <a:pt x="1546" y="1253"/>
                    <a:pt x="1546" y="1224"/>
                  </a:cubicBezTo>
                  <a:cubicBezTo>
                    <a:pt x="1546" y="1137"/>
                    <a:pt x="1459" y="903"/>
                    <a:pt x="1400" y="845"/>
                  </a:cubicBezTo>
                  <a:cubicBezTo>
                    <a:pt x="1371" y="845"/>
                    <a:pt x="1342" y="817"/>
                    <a:pt x="1342" y="817"/>
                  </a:cubicBezTo>
                  <a:cubicBezTo>
                    <a:pt x="1312" y="817"/>
                    <a:pt x="1312" y="845"/>
                    <a:pt x="1283" y="845"/>
                  </a:cubicBezTo>
                  <a:cubicBezTo>
                    <a:pt x="1283" y="874"/>
                    <a:pt x="1254" y="874"/>
                    <a:pt x="1254" y="903"/>
                  </a:cubicBezTo>
                  <a:cubicBezTo>
                    <a:pt x="1226" y="903"/>
                    <a:pt x="1226" y="903"/>
                    <a:pt x="1226" y="903"/>
                  </a:cubicBezTo>
                  <a:cubicBezTo>
                    <a:pt x="1196" y="903"/>
                    <a:pt x="1196" y="874"/>
                    <a:pt x="1196" y="874"/>
                  </a:cubicBezTo>
                  <a:cubicBezTo>
                    <a:pt x="1226" y="932"/>
                    <a:pt x="1196" y="962"/>
                    <a:pt x="1167" y="991"/>
                  </a:cubicBezTo>
                  <a:cubicBezTo>
                    <a:pt x="1138" y="1020"/>
                    <a:pt x="1138" y="1020"/>
                    <a:pt x="1138" y="1020"/>
                  </a:cubicBezTo>
                  <a:cubicBezTo>
                    <a:pt x="1138" y="1020"/>
                    <a:pt x="1138" y="1049"/>
                    <a:pt x="1109" y="1049"/>
                  </a:cubicBezTo>
                  <a:cubicBezTo>
                    <a:pt x="1109" y="1049"/>
                    <a:pt x="1109" y="1079"/>
                    <a:pt x="1079" y="1079"/>
                  </a:cubicBezTo>
                  <a:cubicBezTo>
                    <a:pt x="1050" y="1108"/>
                    <a:pt x="962" y="1049"/>
                    <a:pt x="962" y="1020"/>
                  </a:cubicBezTo>
                  <a:cubicBezTo>
                    <a:pt x="933" y="991"/>
                    <a:pt x="933" y="962"/>
                    <a:pt x="933" y="903"/>
                  </a:cubicBezTo>
                  <a:cubicBezTo>
                    <a:pt x="933" y="874"/>
                    <a:pt x="962" y="845"/>
                    <a:pt x="1021" y="817"/>
                  </a:cubicBezTo>
                  <a:lnTo>
                    <a:pt x="1021" y="817"/>
                  </a:lnTo>
                  <a:cubicBezTo>
                    <a:pt x="1050" y="817"/>
                    <a:pt x="1050" y="817"/>
                    <a:pt x="1050" y="817"/>
                  </a:cubicBezTo>
                  <a:lnTo>
                    <a:pt x="1050" y="788"/>
                  </a:lnTo>
                  <a:cubicBezTo>
                    <a:pt x="1050" y="759"/>
                    <a:pt x="1050" y="759"/>
                    <a:pt x="1079" y="759"/>
                  </a:cubicBezTo>
                  <a:cubicBezTo>
                    <a:pt x="1079" y="730"/>
                    <a:pt x="1079" y="700"/>
                    <a:pt x="1079" y="671"/>
                  </a:cubicBezTo>
                  <a:cubicBezTo>
                    <a:pt x="1109" y="642"/>
                    <a:pt x="1109" y="613"/>
                    <a:pt x="1109" y="583"/>
                  </a:cubicBezTo>
                  <a:cubicBezTo>
                    <a:pt x="1109" y="554"/>
                    <a:pt x="1079" y="467"/>
                    <a:pt x="1079" y="438"/>
                  </a:cubicBezTo>
                  <a:cubicBezTo>
                    <a:pt x="1079" y="438"/>
                    <a:pt x="1079" y="409"/>
                    <a:pt x="1050" y="409"/>
                  </a:cubicBezTo>
                  <a:cubicBezTo>
                    <a:pt x="1050" y="380"/>
                    <a:pt x="1021" y="321"/>
                    <a:pt x="1050" y="292"/>
                  </a:cubicBezTo>
                  <a:cubicBezTo>
                    <a:pt x="1050" y="263"/>
                    <a:pt x="1050" y="263"/>
                    <a:pt x="1050" y="263"/>
                  </a:cubicBezTo>
                  <a:lnTo>
                    <a:pt x="1050" y="263"/>
                  </a:lnTo>
                  <a:lnTo>
                    <a:pt x="1050" y="263"/>
                  </a:lnTo>
                  <a:cubicBezTo>
                    <a:pt x="1079" y="263"/>
                    <a:pt x="1079" y="263"/>
                    <a:pt x="1079" y="263"/>
                  </a:cubicBezTo>
                  <a:cubicBezTo>
                    <a:pt x="1050" y="233"/>
                    <a:pt x="1050" y="175"/>
                    <a:pt x="992" y="175"/>
                  </a:cubicBezTo>
                  <a:cubicBezTo>
                    <a:pt x="992" y="175"/>
                    <a:pt x="992" y="175"/>
                    <a:pt x="962" y="17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91" name="Freeform 369">
              <a:extLst>
                <a:ext uri="{FF2B5EF4-FFF2-40B4-BE49-F238E27FC236}">
                  <a16:creationId xmlns:a16="http://schemas.microsoft.com/office/drawing/2014/main" id="{26CACAF1-06F8-4B4F-AF54-9E2D2B30C15F}"/>
                </a:ext>
              </a:extLst>
            </p:cNvPr>
            <p:cNvSpPr>
              <a:spLocks noChangeArrowheads="1"/>
            </p:cNvSpPr>
            <p:nvPr/>
          </p:nvSpPr>
          <p:spPr bwMode="auto">
            <a:xfrm>
              <a:off x="10726136" y="2997188"/>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92" name="Freeform 370">
              <a:extLst>
                <a:ext uri="{FF2B5EF4-FFF2-40B4-BE49-F238E27FC236}">
                  <a16:creationId xmlns:a16="http://schemas.microsoft.com/office/drawing/2014/main" id="{F5877DBC-9084-4A08-BF2B-803A141C2F3F}"/>
                </a:ext>
              </a:extLst>
            </p:cNvPr>
            <p:cNvSpPr>
              <a:spLocks noChangeArrowheads="1"/>
            </p:cNvSpPr>
            <p:nvPr/>
          </p:nvSpPr>
          <p:spPr bwMode="auto">
            <a:xfrm>
              <a:off x="9129539" y="1809341"/>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93" name="Freeform 371">
              <a:extLst>
                <a:ext uri="{FF2B5EF4-FFF2-40B4-BE49-F238E27FC236}">
                  <a16:creationId xmlns:a16="http://schemas.microsoft.com/office/drawing/2014/main" id="{0E5BDC1B-E94D-4199-892E-8012A52FE866}"/>
                </a:ext>
              </a:extLst>
            </p:cNvPr>
            <p:cNvSpPr>
              <a:spLocks noChangeArrowheads="1"/>
            </p:cNvSpPr>
            <p:nvPr/>
          </p:nvSpPr>
          <p:spPr bwMode="auto">
            <a:xfrm>
              <a:off x="8147770" y="1574685"/>
              <a:ext cx="11415" cy="21038"/>
            </a:xfrm>
            <a:custGeom>
              <a:avLst/>
              <a:gdLst>
                <a:gd name="T0" fmla="*/ 0 w 31"/>
                <a:gd name="T1" fmla="*/ 58 h 59"/>
                <a:gd name="T2" fmla="*/ 0 w 31"/>
                <a:gd name="T3" fmla="*/ 58 h 59"/>
                <a:gd name="T4" fmla="*/ 0 w 31"/>
                <a:gd name="T5" fmla="*/ 58 h 59"/>
                <a:gd name="T6" fmla="*/ 0 w 31"/>
                <a:gd name="T7" fmla="*/ 58 h 59"/>
                <a:gd name="T8" fmla="*/ 30 w 31"/>
                <a:gd name="T9" fmla="*/ 0 h 59"/>
                <a:gd name="T10" fmla="*/ 30 w 31"/>
                <a:gd name="T11" fmla="*/ 0 h 59"/>
                <a:gd name="T12" fmla="*/ 0 w 31"/>
                <a:gd name="T13" fmla="*/ 58 h 59"/>
              </a:gdLst>
              <a:ahLst/>
              <a:cxnLst>
                <a:cxn ang="0">
                  <a:pos x="T0" y="T1"/>
                </a:cxn>
                <a:cxn ang="0">
                  <a:pos x="T2" y="T3"/>
                </a:cxn>
                <a:cxn ang="0">
                  <a:pos x="T4" y="T5"/>
                </a:cxn>
                <a:cxn ang="0">
                  <a:pos x="T6" y="T7"/>
                </a:cxn>
                <a:cxn ang="0">
                  <a:pos x="T8" y="T9"/>
                </a:cxn>
                <a:cxn ang="0">
                  <a:pos x="T10" y="T11"/>
                </a:cxn>
                <a:cxn ang="0">
                  <a:pos x="T12" y="T13"/>
                </a:cxn>
              </a:cxnLst>
              <a:rect l="0" t="0" r="r" b="b"/>
              <a:pathLst>
                <a:path w="31" h="59">
                  <a:moveTo>
                    <a:pt x="0" y="58"/>
                  </a:moveTo>
                  <a:lnTo>
                    <a:pt x="0" y="58"/>
                  </a:lnTo>
                  <a:lnTo>
                    <a:pt x="0" y="58"/>
                  </a:lnTo>
                  <a:lnTo>
                    <a:pt x="0" y="58"/>
                  </a:lnTo>
                  <a:cubicBezTo>
                    <a:pt x="30" y="29"/>
                    <a:pt x="30" y="29"/>
                    <a:pt x="30" y="0"/>
                  </a:cubicBezTo>
                  <a:lnTo>
                    <a:pt x="30" y="0"/>
                  </a:lnTo>
                  <a:cubicBezTo>
                    <a:pt x="30" y="29"/>
                    <a:pt x="30" y="29"/>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94" name="Freeform 372">
              <a:extLst>
                <a:ext uri="{FF2B5EF4-FFF2-40B4-BE49-F238E27FC236}">
                  <a16:creationId xmlns:a16="http://schemas.microsoft.com/office/drawing/2014/main" id="{915EFF16-4148-4678-93E6-0DD0CEF3B808}"/>
                </a:ext>
              </a:extLst>
            </p:cNvPr>
            <p:cNvSpPr>
              <a:spLocks noChangeArrowheads="1"/>
            </p:cNvSpPr>
            <p:nvPr/>
          </p:nvSpPr>
          <p:spPr bwMode="auto">
            <a:xfrm>
              <a:off x="6681639" y="1424181"/>
              <a:ext cx="960568" cy="589068"/>
            </a:xfrm>
            <a:custGeom>
              <a:avLst/>
              <a:gdLst>
                <a:gd name="T0" fmla="*/ 2391 w 2597"/>
                <a:gd name="T1" fmla="*/ 146 h 1606"/>
                <a:gd name="T2" fmla="*/ 2391 w 2597"/>
                <a:gd name="T3" fmla="*/ 146 h 1606"/>
                <a:gd name="T4" fmla="*/ 1546 w 2597"/>
                <a:gd name="T5" fmla="*/ 88 h 1606"/>
                <a:gd name="T6" fmla="*/ 175 w 2597"/>
                <a:gd name="T7" fmla="*/ 0 h 1606"/>
                <a:gd name="T8" fmla="*/ 0 w 2597"/>
                <a:gd name="T9" fmla="*/ 1459 h 1606"/>
                <a:gd name="T10" fmla="*/ 2567 w 2597"/>
                <a:gd name="T11" fmla="*/ 1605 h 1606"/>
                <a:gd name="T12" fmla="*/ 2567 w 2597"/>
                <a:gd name="T13" fmla="*/ 1400 h 1606"/>
                <a:gd name="T14" fmla="*/ 2567 w 2597"/>
                <a:gd name="T15" fmla="*/ 1255 h 1606"/>
                <a:gd name="T16" fmla="*/ 2567 w 2597"/>
                <a:gd name="T17" fmla="*/ 1167 h 1606"/>
                <a:gd name="T18" fmla="*/ 2537 w 2597"/>
                <a:gd name="T19" fmla="*/ 1021 h 1606"/>
                <a:gd name="T20" fmla="*/ 2537 w 2597"/>
                <a:gd name="T21" fmla="*/ 934 h 1606"/>
                <a:gd name="T22" fmla="*/ 2508 w 2597"/>
                <a:gd name="T23" fmla="*/ 729 h 1606"/>
                <a:gd name="T24" fmla="*/ 2479 w 2597"/>
                <a:gd name="T25" fmla="*/ 700 h 1606"/>
                <a:gd name="T26" fmla="*/ 2479 w 2597"/>
                <a:gd name="T27" fmla="*/ 642 h 1606"/>
                <a:gd name="T28" fmla="*/ 2450 w 2597"/>
                <a:gd name="T29" fmla="*/ 613 h 1606"/>
                <a:gd name="T30" fmla="*/ 2450 w 2597"/>
                <a:gd name="T31" fmla="*/ 584 h 1606"/>
                <a:gd name="T32" fmla="*/ 2420 w 2597"/>
                <a:gd name="T33" fmla="*/ 555 h 1606"/>
                <a:gd name="T34" fmla="*/ 2420 w 2597"/>
                <a:gd name="T35" fmla="*/ 496 h 1606"/>
                <a:gd name="T36" fmla="*/ 2391 w 2597"/>
                <a:gd name="T37" fmla="*/ 496 h 1606"/>
                <a:gd name="T38" fmla="*/ 2420 w 2597"/>
                <a:gd name="T39" fmla="*/ 496 h 1606"/>
                <a:gd name="T40" fmla="*/ 2420 w 2597"/>
                <a:gd name="T41" fmla="*/ 438 h 1606"/>
                <a:gd name="T42" fmla="*/ 2420 w 2597"/>
                <a:gd name="T43" fmla="*/ 409 h 1606"/>
                <a:gd name="T44" fmla="*/ 2420 w 2597"/>
                <a:gd name="T45" fmla="*/ 409 h 1606"/>
                <a:gd name="T46" fmla="*/ 2391 w 2597"/>
                <a:gd name="T47" fmla="*/ 350 h 1606"/>
                <a:gd name="T48" fmla="*/ 2391 w 2597"/>
                <a:gd name="T49" fmla="*/ 321 h 1606"/>
                <a:gd name="T50" fmla="*/ 2391 w 2597"/>
                <a:gd name="T51" fmla="*/ 292 h 1606"/>
                <a:gd name="T52" fmla="*/ 2363 w 2597"/>
                <a:gd name="T53" fmla="*/ 263 h 1606"/>
                <a:gd name="T54" fmla="*/ 2363 w 2597"/>
                <a:gd name="T55" fmla="*/ 234 h 1606"/>
                <a:gd name="T56" fmla="*/ 2391 w 2597"/>
                <a:gd name="T57" fmla="*/ 176 h 1606"/>
                <a:gd name="T58" fmla="*/ 2391 w 2597"/>
                <a:gd name="T59" fmla="*/ 146 h 1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97" h="1606">
                  <a:moveTo>
                    <a:pt x="2391" y="146"/>
                  </a:moveTo>
                  <a:lnTo>
                    <a:pt x="2391" y="146"/>
                  </a:lnTo>
                  <a:cubicBezTo>
                    <a:pt x="2129" y="117"/>
                    <a:pt x="1837" y="117"/>
                    <a:pt x="1546" y="88"/>
                  </a:cubicBezTo>
                  <a:cubicBezTo>
                    <a:pt x="1079" y="59"/>
                    <a:pt x="613" y="29"/>
                    <a:pt x="175" y="0"/>
                  </a:cubicBezTo>
                  <a:cubicBezTo>
                    <a:pt x="117" y="496"/>
                    <a:pt x="58" y="1021"/>
                    <a:pt x="0" y="1459"/>
                  </a:cubicBezTo>
                  <a:cubicBezTo>
                    <a:pt x="817" y="1517"/>
                    <a:pt x="1720" y="1576"/>
                    <a:pt x="2567" y="1605"/>
                  </a:cubicBezTo>
                  <a:cubicBezTo>
                    <a:pt x="2567" y="1546"/>
                    <a:pt x="2567" y="1459"/>
                    <a:pt x="2567" y="1400"/>
                  </a:cubicBezTo>
                  <a:cubicBezTo>
                    <a:pt x="2567" y="1342"/>
                    <a:pt x="2596" y="1284"/>
                    <a:pt x="2567" y="1255"/>
                  </a:cubicBezTo>
                  <a:cubicBezTo>
                    <a:pt x="2567" y="1226"/>
                    <a:pt x="2567" y="1196"/>
                    <a:pt x="2567" y="1167"/>
                  </a:cubicBezTo>
                  <a:cubicBezTo>
                    <a:pt x="2537" y="1109"/>
                    <a:pt x="2537" y="1050"/>
                    <a:pt x="2537" y="1021"/>
                  </a:cubicBezTo>
                  <a:cubicBezTo>
                    <a:pt x="2537" y="992"/>
                    <a:pt x="2537" y="963"/>
                    <a:pt x="2537" y="934"/>
                  </a:cubicBezTo>
                  <a:cubicBezTo>
                    <a:pt x="2508" y="876"/>
                    <a:pt x="2508" y="817"/>
                    <a:pt x="2508" y="729"/>
                  </a:cubicBezTo>
                  <a:cubicBezTo>
                    <a:pt x="2508" y="729"/>
                    <a:pt x="2479" y="729"/>
                    <a:pt x="2479" y="700"/>
                  </a:cubicBezTo>
                  <a:cubicBezTo>
                    <a:pt x="2479" y="700"/>
                    <a:pt x="2479" y="671"/>
                    <a:pt x="2479" y="642"/>
                  </a:cubicBezTo>
                  <a:cubicBezTo>
                    <a:pt x="2450" y="642"/>
                    <a:pt x="2450" y="642"/>
                    <a:pt x="2450" y="613"/>
                  </a:cubicBezTo>
                  <a:cubicBezTo>
                    <a:pt x="2450" y="613"/>
                    <a:pt x="2450" y="613"/>
                    <a:pt x="2450" y="584"/>
                  </a:cubicBezTo>
                  <a:cubicBezTo>
                    <a:pt x="2450" y="584"/>
                    <a:pt x="2450" y="555"/>
                    <a:pt x="2420" y="555"/>
                  </a:cubicBezTo>
                  <a:cubicBezTo>
                    <a:pt x="2420" y="526"/>
                    <a:pt x="2420" y="526"/>
                    <a:pt x="2420" y="496"/>
                  </a:cubicBezTo>
                  <a:cubicBezTo>
                    <a:pt x="2391" y="496"/>
                    <a:pt x="2391" y="496"/>
                    <a:pt x="2391" y="496"/>
                  </a:cubicBezTo>
                  <a:cubicBezTo>
                    <a:pt x="2420" y="496"/>
                    <a:pt x="2420" y="496"/>
                    <a:pt x="2420" y="496"/>
                  </a:cubicBezTo>
                  <a:cubicBezTo>
                    <a:pt x="2420" y="467"/>
                    <a:pt x="2420" y="467"/>
                    <a:pt x="2420" y="438"/>
                  </a:cubicBezTo>
                  <a:cubicBezTo>
                    <a:pt x="2420" y="438"/>
                    <a:pt x="2420" y="438"/>
                    <a:pt x="2420" y="409"/>
                  </a:cubicBezTo>
                  <a:lnTo>
                    <a:pt x="2420" y="409"/>
                  </a:lnTo>
                  <a:cubicBezTo>
                    <a:pt x="2391" y="379"/>
                    <a:pt x="2391" y="379"/>
                    <a:pt x="2391" y="350"/>
                  </a:cubicBezTo>
                  <a:cubicBezTo>
                    <a:pt x="2363" y="321"/>
                    <a:pt x="2391" y="321"/>
                    <a:pt x="2391" y="321"/>
                  </a:cubicBezTo>
                  <a:cubicBezTo>
                    <a:pt x="2391" y="292"/>
                    <a:pt x="2391" y="292"/>
                    <a:pt x="2391" y="292"/>
                  </a:cubicBezTo>
                  <a:cubicBezTo>
                    <a:pt x="2391" y="292"/>
                    <a:pt x="2391" y="292"/>
                    <a:pt x="2363" y="263"/>
                  </a:cubicBezTo>
                  <a:cubicBezTo>
                    <a:pt x="2363" y="263"/>
                    <a:pt x="2363" y="263"/>
                    <a:pt x="2363" y="234"/>
                  </a:cubicBezTo>
                  <a:cubicBezTo>
                    <a:pt x="2363" y="205"/>
                    <a:pt x="2391" y="205"/>
                    <a:pt x="2391" y="176"/>
                  </a:cubicBezTo>
                  <a:lnTo>
                    <a:pt x="2391" y="14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95" name="Freeform 373">
              <a:extLst>
                <a:ext uri="{FF2B5EF4-FFF2-40B4-BE49-F238E27FC236}">
                  <a16:creationId xmlns:a16="http://schemas.microsoft.com/office/drawing/2014/main" id="{B7E44DA4-B86F-44EE-B35F-A8F887C1CB71}"/>
                </a:ext>
              </a:extLst>
            </p:cNvPr>
            <p:cNvSpPr>
              <a:spLocks noChangeArrowheads="1"/>
            </p:cNvSpPr>
            <p:nvPr/>
          </p:nvSpPr>
          <p:spPr bwMode="auto">
            <a:xfrm>
              <a:off x="7576974" y="1466257"/>
              <a:ext cx="939367" cy="1006595"/>
            </a:xfrm>
            <a:custGeom>
              <a:avLst/>
              <a:gdLst>
                <a:gd name="T0" fmla="*/ 0 w 2538"/>
                <a:gd name="T1" fmla="*/ 117 h 2742"/>
                <a:gd name="T2" fmla="*/ 0 w 2538"/>
                <a:gd name="T3" fmla="*/ 233 h 2742"/>
                <a:gd name="T4" fmla="*/ 59 w 2538"/>
                <a:gd name="T5" fmla="*/ 292 h 2742"/>
                <a:gd name="T6" fmla="*/ 59 w 2538"/>
                <a:gd name="T7" fmla="*/ 379 h 2742"/>
                <a:gd name="T8" fmla="*/ 88 w 2538"/>
                <a:gd name="T9" fmla="*/ 438 h 2742"/>
                <a:gd name="T10" fmla="*/ 88 w 2538"/>
                <a:gd name="T11" fmla="*/ 438 h 2742"/>
                <a:gd name="T12" fmla="*/ 117 w 2538"/>
                <a:gd name="T13" fmla="*/ 612 h 2742"/>
                <a:gd name="T14" fmla="*/ 176 w 2538"/>
                <a:gd name="T15" fmla="*/ 992 h 2742"/>
                <a:gd name="T16" fmla="*/ 205 w 2538"/>
                <a:gd name="T17" fmla="*/ 1138 h 2742"/>
                <a:gd name="T18" fmla="*/ 205 w 2538"/>
                <a:gd name="T19" fmla="*/ 1400 h 2742"/>
                <a:gd name="T20" fmla="*/ 205 w 2538"/>
                <a:gd name="T21" fmla="*/ 1604 h 2742"/>
                <a:gd name="T22" fmla="*/ 205 w 2538"/>
                <a:gd name="T23" fmla="*/ 1721 h 2742"/>
                <a:gd name="T24" fmla="*/ 234 w 2538"/>
                <a:gd name="T25" fmla="*/ 1838 h 2742"/>
                <a:gd name="T26" fmla="*/ 234 w 2538"/>
                <a:gd name="T27" fmla="*/ 2042 h 2742"/>
                <a:gd name="T28" fmla="*/ 234 w 2538"/>
                <a:gd name="T29" fmla="*/ 2741 h 2742"/>
                <a:gd name="T30" fmla="*/ 1487 w 2538"/>
                <a:gd name="T31" fmla="*/ 2741 h 2742"/>
                <a:gd name="T32" fmla="*/ 2070 w 2538"/>
                <a:gd name="T33" fmla="*/ 2741 h 2742"/>
                <a:gd name="T34" fmla="*/ 2041 w 2538"/>
                <a:gd name="T35" fmla="*/ 2624 h 2742"/>
                <a:gd name="T36" fmla="*/ 1983 w 2538"/>
                <a:gd name="T37" fmla="*/ 2566 h 2742"/>
                <a:gd name="T38" fmla="*/ 1983 w 2538"/>
                <a:gd name="T39" fmla="*/ 2508 h 2742"/>
                <a:gd name="T40" fmla="*/ 1837 w 2538"/>
                <a:gd name="T41" fmla="*/ 2449 h 2742"/>
                <a:gd name="T42" fmla="*/ 1720 w 2538"/>
                <a:gd name="T43" fmla="*/ 2303 h 2742"/>
                <a:gd name="T44" fmla="*/ 1662 w 2538"/>
                <a:gd name="T45" fmla="*/ 2303 h 2742"/>
                <a:gd name="T46" fmla="*/ 1575 w 2538"/>
                <a:gd name="T47" fmla="*/ 2188 h 2742"/>
                <a:gd name="T48" fmla="*/ 1487 w 2538"/>
                <a:gd name="T49" fmla="*/ 2129 h 2742"/>
                <a:gd name="T50" fmla="*/ 1516 w 2538"/>
                <a:gd name="T51" fmla="*/ 1925 h 2742"/>
                <a:gd name="T52" fmla="*/ 1516 w 2538"/>
                <a:gd name="T53" fmla="*/ 1838 h 2742"/>
                <a:gd name="T54" fmla="*/ 1516 w 2538"/>
                <a:gd name="T55" fmla="*/ 1721 h 2742"/>
                <a:gd name="T56" fmla="*/ 1487 w 2538"/>
                <a:gd name="T57" fmla="*/ 1575 h 2742"/>
                <a:gd name="T58" fmla="*/ 1545 w 2538"/>
                <a:gd name="T59" fmla="*/ 1575 h 2742"/>
                <a:gd name="T60" fmla="*/ 1691 w 2538"/>
                <a:gd name="T61" fmla="*/ 1342 h 2742"/>
                <a:gd name="T62" fmla="*/ 1691 w 2538"/>
                <a:gd name="T63" fmla="*/ 1167 h 2742"/>
                <a:gd name="T64" fmla="*/ 1749 w 2538"/>
                <a:gd name="T65" fmla="*/ 1079 h 2742"/>
                <a:gd name="T66" fmla="*/ 1866 w 2538"/>
                <a:gd name="T67" fmla="*/ 933 h 2742"/>
                <a:gd name="T68" fmla="*/ 1983 w 2538"/>
                <a:gd name="T69" fmla="*/ 817 h 2742"/>
                <a:gd name="T70" fmla="*/ 2129 w 2538"/>
                <a:gd name="T71" fmla="*/ 671 h 2742"/>
                <a:gd name="T72" fmla="*/ 2449 w 2538"/>
                <a:gd name="T73" fmla="*/ 496 h 2742"/>
                <a:gd name="T74" fmla="*/ 2537 w 2538"/>
                <a:gd name="T75" fmla="*/ 438 h 2742"/>
                <a:gd name="T76" fmla="*/ 2216 w 2538"/>
                <a:gd name="T77" fmla="*/ 438 h 2742"/>
                <a:gd name="T78" fmla="*/ 1925 w 2538"/>
                <a:gd name="T79" fmla="*/ 467 h 2742"/>
                <a:gd name="T80" fmla="*/ 1896 w 2538"/>
                <a:gd name="T81" fmla="*/ 467 h 2742"/>
                <a:gd name="T82" fmla="*/ 1808 w 2538"/>
                <a:gd name="T83" fmla="*/ 438 h 2742"/>
                <a:gd name="T84" fmla="*/ 1691 w 2538"/>
                <a:gd name="T85" fmla="*/ 409 h 2742"/>
                <a:gd name="T86" fmla="*/ 1662 w 2538"/>
                <a:gd name="T87" fmla="*/ 438 h 2742"/>
                <a:gd name="T88" fmla="*/ 1604 w 2538"/>
                <a:gd name="T89" fmla="*/ 409 h 2742"/>
                <a:gd name="T90" fmla="*/ 1604 w 2538"/>
                <a:gd name="T91" fmla="*/ 379 h 2742"/>
                <a:gd name="T92" fmla="*/ 1516 w 2538"/>
                <a:gd name="T93" fmla="*/ 350 h 2742"/>
                <a:gd name="T94" fmla="*/ 1545 w 2538"/>
                <a:gd name="T95" fmla="*/ 292 h 2742"/>
                <a:gd name="T96" fmla="*/ 1516 w 2538"/>
                <a:gd name="T97" fmla="*/ 262 h 2742"/>
                <a:gd name="T98" fmla="*/ 1487 w 2538"/>
                <a:gd name="T99" fmla="*/ 292 h 2742"/>
                <a:gd name="T100" fmla="*/ 1399 w 2538"/>
                <a:gd name="T101" fmla="*/ 321 h 2742"/>
                <a:gd name="T102" fmla="*/ 1399 w 2538"/>
                <a:gd name="T103" fmla="*/ 292 h 2742"/>
                <a:gd name="T104" fmla="*/ 1138 w 2538"/>
                <a:gd name="T105" fmla="*/ 233 h 2742"/>
                <a:gd name="T106" fmla="*/ 1050 w 2538"/>
                <a:gd name="T107" fmla="*/ 204 h 2742"/>
                <a:gd name="T108" fmla="*/ 905 w 2538"/>
                <a:gd name="T109" fmla="*/ 204 h 2742"/>
                <a:gd name="T110" fmla="*/ 730 w 2538"/>
                <a:gd name="T111" fmla="*/ 88 h 2742"/>
                <a:gd name="T112" fmla="*/ 730 w 2538"/>
                <a:gd name="T113" fmla="*/ 59 h 2742"/>
                <a:gd name="T114" fmla="*/ 700 w 2538"/>
                <a:gd name="T115" fmla="*/ 117 h 2742"/>
                <a:gd name="T116" fmla="*/ 642 w 2538"/>
                <a:gd name="T117" fmla="*/ 59 h 2742"/>
                <a:gd name="T118" fmla="*/ 526 w 2538"/>
                <a:gd name="T119" fmla="*/ 0 h 2742"/>
                <a:gd name="T120" fmla="*/ 321 w 2538"/>
                <a:gd name="T121" fmla="*/ 29 h 2742"/>
                <a:gd name="T122" fmla="*/ 205 w 2538"/>
                <a:gd name="T123" fmla="*/ 29 h 2742"/>
                <a:gd name="T124" fmla="*/ 0 w 2538"/>
                <a:gd name="T125" fmla="*/ 117 h 2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38" h="2742">
                  <a:moveTo>
                    <a:pt x="0" y="117"/>
                  </a:moveTo>
                  <a:lnTo>
                    <a:pt x="0" y="117"/>
                  </a:lnTo>
                  <a:cubicBezTo>
                    <a:pt x="0" y="146"/>
                    <a:pt x="0" y="175"/>
                    <a:pt x="0" y="175"/>
                  </a:cubicBezTo>
                  <a:cubicBezTo>
                    <a:pt x="0" y="204"/>
                    <a:pt x="0" y="204"/>
                    <a:pt x="0" y="233"/>
                  </a:cubicBezTo>
                  <a:lnTo>
                    <a:pt x="30" y="233"/>
                  </a:lnTo>
                  <a:cubicBezTo>
                    <a:pt x="30" y="262"/>
                    <a:pt x="59" y="262"/>
                    <a:pt x="59" y="292"/>
                  </a:cubicBezTo>
                  <a:cubicBezTo>
                    <a:pt x="59" y="321"/>
                    <a:pt x="59" y="350"/>
                    <a:pt x="59" y="350"/>
                  </a:cubicBezTo>
                  <a:cubicBezTo>
                    <a:pt x="59" y="379"/>
                    <a:pt x="59" y="379"/>
                    <a:pt x="59" y="379"/>
                  </a:cubicBezTo>
                  <a:cubicBezTo>
                    <a:pt x="59" y="379"/>
                    <a:pt x="59" y="409"/>
                    <a:pt x="88" y="409"/>
                  </a:cubicBezTo>
                  <a:cubicBezTo>
                    <a:pt x="88" y="438"/>
                    <a:pt x="88" y="438"/>
                    <a:pt x="88" y="438"/>
                  </a:cubicBezTo>
                  <a:lnTo>
                    <a:pt x="88" y="438"/>
                  </a:lnTo>
                  <a:lnTo>
                    <a:pt x="88" y="438"/>
                  </a:lnTo>
                  <a:cubicBezTo>
                    <a:pt x="88" y="496"/>
                    <a:pt x="117" y="525"/>
                    <a:pt x="117" y="554"/>
                  </a:cubicBezTo>
                  <a:cubicBezTo>
                    <a:pt x="117" y="583"/>
                    <a:pt x="117" y="583"/>
                    <a:pt x="117" y="612"/>
                  </a:cubicBezTo>
                  <a:cubicBezTo>
                    <a:pt x="147" y="671"/>
                    <a:pt x="147" y="759"/>
                    <a:pt x="147" y="846"/>
                  </a:cubicBezTo>
                  <a:cubicBezTo>
                    <a:pt x="176" y="904"/>
                    <a:pt x="176" y="962"/>
                    <a:pt x="176" y="992"/>
                  </a:cubicBezTo>
                  <a:cubicBezTo>
                    <a:pt x="176" y="1021"/>
                    <a:pt x="176" y="1050"/>
                    <a:pt x="176" y="1050"/>
                  </a:cubicBezTo>
                  <a:cubicBezTo>
                    <a:pt x="205" y="1079"/>
                    <a:pt x="205" y="1109"/>
                    <a:pt x="205" y="1138"/>
                  </a:cubicBezTo>
                  <a:cubicBezTo>
                    <a:pt x="205" y="1167"/>
                    <a:pt x="205" y="1225"/>
                    <a:pt x="205" y="1254"/>
                  </a:cubicBezTo>
                  <a:cubicBezTo>
                    <a:pt x="205" y="1312"/>
                    <a:pt x="205" y="1342"/>
                    <a:pt x="205" y="1400"/>
                  </a:cubicBezTo>
                  <a:cubicBezTo>
                    <a:pt x="205" y="1429"/>
                    <a:pt x="205" y="1459"/>
                    <a:pt x="205" y="1488"/>
                  </a:cubicBezTo>
                  <a:cubicBezTo>
                    <a:pt x="205" y="1517"/>
                    <a:pt x="205" y="1575"/>
                    <a:pt x="205" y="1604"/>
                  </a:cubicBezTo>
                  <a:cubicBezTo>
                    <a:pt x="205" y="1633"/>
                    <a:pt x="205" y="1633"/>
                    <a:pt x="205" y="1662"/>
                  </a:cubicBezTo>
                  <a:cubicBezTo>
                    <a:pt x="205" y="1662"/>
                    <a:pt x="205" y="1692"/>
                    <a:pt x="205" y="1721"/>
                  </a:cubicBezTo>
                  <a:cubicBezTo>
                    <a:pt x="205" y="1721"/>
                    <a:pt x="205" y="1750"/>
                    <a:pt x="205" y="1779"/>
                  </a:cubicBezTo>
                  <a:cubicBezTo>
                    <a:pt x="234" y="1779"/>
                    <a:pt x="234" y="1809"/>
                    <a:pt x="234" y="1838"/>
                  </a:cubicBezTo>
                  <a:cubicBezTo>
                    <a:pt x="234" y="1867"/>
                    <a:pt x="234" y="1925"/>
                    <a:pt x="234" y="1954"/>
                  </a:cubicBezTo>
                  <a:cubicBezTo>
                    <a:pt x="234" y="1983"/>
                    <a:pt x="234" y="2012"/>
                    <a:pt x="234" y="2042"/>
                  </a:cubicBezTo>
                  <a:cubicBezTo>
                    <a:pt x="234" y="2246"/>
                    <a:pt x="234" y="2449"/>
                    <a:pt x="234" y="2653"/>
                  </a:cubicBezTo>
                  <a:cubicBezTo>
                    <a:pt x="234" y="2741"/>
                    <a:pt x="234" y="2741"/>
                    <a:pt x="234" y="2741"/>
                  </a:cubicBezTo>
                  <a:cubicBezTo>
                    <a:pt x="350" y="2741"/>
                    <a:pt x="350" y="2741"/>
                    <a:pt x="350" y="2741"/>
                  </a:cubicBezTo>
                  <a:cubicBezTo>
                    <a:pt x="730" y="2741"/>
                    <a:pt x="1109" y="2741"/>
                    <a:pt x="1487" y="2741"/>
                  </a:cubicBezTo>
                  <a:cubicBezTo>
                    <a:pt x="1691" y="2741"/>
                    <a:pt x="1896" y="2741"/>
                    <a:pt x="2070" y="2741"/>
                  </a:cubicBezTo>
                  <a:lnTo>
                    <a:pt x="2070" y="2741"/>
                  </a:lnTo>
                  <a:cubicBezTo>
                    <a:pt x="2070" y="2711"/>
                    <a:pt x="2041" y="2682"/>
                    <a:pt x="2070" y="2624"/>
                  </a:cubicBezTo>
                  <a:lnTo>
                    <a:pt x="2041" y="2624"/>
                  </a:lnTo>
                  <a:cubicBezTo>
                    <a:pt x="2012" y="2595"/>
                    <a:pt x="1983" y="2595"/>
                    <a:pt x="1983" y="2566"/>
                  </a:cubicBezTo>
                  <a:lnTo>
                    <a:pt x="1983" y="2566"/>
                  </a:lnTo>
                  <a:cubicBezTo>
                    <a:pt x="1983" y="2537"/>
                    <a:pt x="1983" y="2537"/>
                    <a:pt x="1983" y="2537"/>
                  </a:cubicBezTo>
                  <a:lnTo>
                    <a:pt x="1983" y="2508"/>
                  </a:lnTo>
                  <a:cubicBezTo>
                    <a:pt x="1983" y="2508"/>
                    <a:pt x="1954" y="2478"/>
                    <a:pt x="1925" y="2478"/>
                  </a:cubicBezTo>
                  <a:cubicBezTo>
                    <a:pt x="1896" y="2478"/>
                    <a:pt x="1866" y="2478"/>
                    <a:pt x="1837" y="2449"/>
                  </a:cubicBezTo>
                  <a:cubicBezTo>
                    <a:pt x="1837" y="2420"/>
                    <a:pt x="1808" y="2420"/>
                    <a:pt x="1808" y="2391"/>
                  </a:cubicBezTo>
                  <a:cubicBezTo>
                    <a:pt x="1779" y="2332"/>
                    <a:pt x="1779" y="2303"/>
                    <a:pt x="1720" y="2303"/>
                  </a:cubicBezTo>
                  <a:lnTo>
                    <a:pt x="1720" y="2303"/>
                  </a:lnTo>
                  <a:cubicBezTo>
                    <a:pt x="1691" y="2303"/>
                    <a:pt x="1691" y="2303"/>
                    <a:pt x="1662" y="2303"/>
                  </a:cubicBezTo>
                  <a:cubicBezTo>
                    <a:pt x="1633" y="2303"/>
                    <a:pt x="1604" y="2274"/>
                    <a:pt x="1575" y="2217"/>
                  </a:cubicBezTo>
                  <a:cubicBezTo>
                    <a:pt x="1575" y="2217"/>
                    <a:pt x="1575" y="2217"/>
                    <a:pt x="1575" y="2188"/>
                  </a:cubicBezTo>
                  <a:lnTo>
                    <a:pt x="1545" y="2188"/>
                  </a:lnTo>
                  <a:cubicBezTo>
                    <a:pt x="1516" y="2159"/>
                    <a:pt x="1516" y="2159"/>
                    <a:pt x="1487" y="2129"/>
                  </a:cubicBezTo>
                  <a:cubicBezTo>
                    <a:pt x="1487" y="2100"/>
                    <a:pt x="1487" y="2042"/>
                    <a:pt x="1487" y="2012"/>
                  </a:cubicBezTo>
                  <a:cubicBezTo>
                    <a:pt x="1487" y="1983"/>
                    <a:pt x="1487" y="1954"/>
                    <a:pt x="1516" y="1925"/>
                  </a:cubicBezTo>
                  <a:cubicBezTo>
                    <a:pt x="1516" y="1925"/>
                    <a:pt x="1545" y="1896"/>
                    <a:pt x="1545" y="1867"/>
                  </a:cubicBezTo>
                  <a:cubicBezTo>
                    <a:pt x="1545" y="1867"/>
                    <a:pt x="1545" y="1838"/>
                    <a:pt x="1516" y="1838"/>
                  </a:cubicBezTo>
                  <a:lnTo>
                    <a:pt x="1516" y="1809"/>
                  </a:lnTo>
                  <a:cubicBezTo>
                    <a:pt x="1516" y="1779"/>
                    <a:pt x="1516" y="1750"/>
                    <a:pt x="1516" y="1721"/>
                  </a:cubicBezTo>
                  <a:cubicBezTo>
                    <a:pt x="1516" y="1662"/>
                    <a:pt x="1487" y="1633"/>
                    <a:pt x="1487" y="1604"/>
                  </a:cubicBezTo>
                  <a:cubicBezTo>
                    <a:pt x="1487" y="1575"/>
                    <a:pt x="1487" y="1575"/>
                    <a:pt x="1487" y="1575"/>
                  </a:cubicBezTo>
                  <a:cubicBezTo>
                    <a:pt x="1516" y="1575"/>
                    <a:pt x="1516" y="1575"/>
                    <a:pt x="1516" y="1575"/>
                  </a:cubicBezTo>
                  <a:cubicBezTo>
                    <a:pt x="1516" y="1575"/>
                    <a:pt x="1516" y="1575"/>
                    <a:pt x="1545" y="1575"/>
                  </a:cubicBezTo>
                  <a:cubicBezTo>
                    <a:pt x="1604" y="1575"/>
                    <a:pt x="1662" y="1517"/>
                    <a:pt x="1691" y="1488"/>
                  </a:cubicBezTo>
                  <a:cubicBezTo>
                    <a:pt x="1691" y="1429"/>
                    <a:pt x="1691" y="1371"/>
                    <a:pt x="1691" y="1342"/>
                  </a:cubicBezTo>
                  <a:cubicBezTo>
                    <a:pt x="1691" y="1283"/>
                    <a:pt x="1691" y="1225"/>
                    <a:pt x="1691" y="1167"/>
                  </a:cubicBezTo>
                  <a:lnTo>
                    <a:pt x="1691" y="1167"/>
                  </a:lnTo>
                  <a:lnTo>
                    <a:pt x="1691" y="1167"/>
                  </a:lnTo>
                  <a:cubicBezTo>
                    <a:pt x="1720" y="1138"/>
                    <a:pt x="1720" y="1109"/>
                    <a:pt x="1749" y="1079"/>
                  </a:cubicBezTo>
                  <a:cubicBezTo>
                    <a:pt x="1749" y="1050"/>
                    <a:pt x="1749" y="1021"/>
                    <a:pt x="1779" y="992"/>
                  </a:cubicBezTo>
                  <a:cubicBezTo>
                    <a:pt x="1808" y="962"/>
                    <a:pt x="1837" y="962"/>
                    <a:pt x="1866" y="933"/>
                  </a:cubicBezTo>
                  <a:cubicBezTo>
                    <a:pt x="1896" y="933"/>
                    <a:pt x="1896" y="933"/>
                    <a:pt x="1925" y="904"/>
                  </a:cubicBezTo>
                  <a:cubicBezTo>
                    <a:pt x="1954" y="904"/>
                    <a:pt x="1983" y="846"/>
                    <a:pt x="1983" y="817"/>
                  </a:cubicBezTo>
                  <a:cubicBezTo>
                    <a:pt x="2012" y="788"/>
                    <a:pt x="2012" y="759"/>
                    <a:pt x="2041" y="729"/>
                  </a:cubicBezTo>
                  <a:cubicBezTo>
                    <a:pt x="2070" y="700"/>
                    <a:pt x="2099" y="671"/>
                    <a:pt x="2129" y="671"/>
                  </a:cubicBezTo>
                  <a:cubicBezTo>
                    <a:pt x="2158" y="642"/>
                    <a:pt x="2158" y="642"/>
                    <a:pt x="2158" y="642"/>
                  </a:cubicBezTo>
                  <a:cubicBezTo>
                    <a:pt x="2246" y="583"/>
                    <a:pt x="2333" y="525"/>
                    <a:pt x="2449" y="496"/>
                  </a:cubicBezTo>
                  <a:cubicBezTo>
                    <a:pt x="2449" y="496"/>
                    <a:pt x="2449" y="496"/>
                    <a:pt x="2479" y="496"/>
                  </a:cubicBezTo>
                  <a:cubicBezTo>
                    <a:pt x="2508" y="467"/>
                    <a:pt x="2537" y="467"/>
                    <a:pt x="2537" y="438"/>
                  </a:cubicBezTo>
                  <a:cubicBezTo>
                    <a:pt x="2508" y="438"/>
                    <a:pt x="2479" y="409"/>
                    <a:pt x="2420" y="409"/>
                  </a:cubicBezTo>
                  <a:cubicBezTo>
                    <a:pt x="2362" y="409"/>
                    <a:pt x="2304" y="438"/>
                    <a:pt x="2216" y="438"/>
                  </a:cubicBezTo>
                  <a:cubicBezTo>
                    <a:pt x="2158" y="467"/>
                    <a:pt x="2099" y="467"/>
                    <a:pt x="2041" y="467"/>
                  </a:cubicBezTo>
                  <a:cubicBezTo>
                    <a:pt x="1983" y="467"/>
                    <a:pt x="1954" y="467"/>
                    <a:pt x="1925" y="467"/>
                  </a:cubicBezTo>
                  <a:lnTo>
                    <a:pt x="1925" y="467"/>
                  </a:lnTo>
                  <a:cubicBezTo>
                    <a:pt x="1925" y="467"/>
                    <a:pt x="1925" y="467"/>
                    <a:pt x="1896" y="467"/>
                  </a:cubicBezTo>
                  <a:lnTo>
                    <a:pt x="1896" y="467"/>
                  </a:lnTo>
                  <a:cubicBezTo>
                    <a:pt x="1866" y="467"/>
                    <a:pt x="1837" y="438"/>
                    <a:pt x="1808" y="438"/>
                  </a:cubicBezTo>
                  <a:cubicBezTo>
                    <a:pt x="1779" y="409"/>
                    <a:pt x="1749" y="379"/>
                    <a:pt x="1720" y="409"/>
                  </a:cubicBezTo>
                  <a:cubicBezTo>
                    <a:pt x="1691" y="409"/>
                    <a:pt x="1691" y="409"/>
                    <a:pt x="1691" y="409"/>
                  </a:cubicBezTo>
                  <a:cubicBezTo>
                    <a:pt x="1691" y="409"/>
                    <a:pt x="1691" y="438"/>
                    <a:pt x="1662" y="438"/>
                  </a:cubicBezTo>
                  <a:lnTo>
                    <a:pt x="1662" y="438"/>
                  </a:lnTo>
                  <a:cubicBezTo>
                    <a:pt x="1633" y="438"/>
                    <a:pt x="1633" y="438"/>
                    <a:pt x="1633" y="438"/>
                  </a:cubicBezTo>
                  <a:lnTo>
                    <a:pt x="1604" y="409"/>
                  </a:lnTo>
                  <a:cubicBezTo>
                    <a:pt x="1604" y="379"/>
                    <a:pt x="1604" y="379"/>
                    <a:pt x="1604" y="379"/>
                  </a:cubicBezTo>
                  <a:lnTo>
                    <a:pt x="1604" y="379"/>
                  </a:lnTo>
                  <a:cubicBezTo>
                    <a:pt x="1575" y="379"/>
                    <a:pt x="1575" y="409"/>
                    <a:pt x="1545" y="409"/>
                  </a:cubicBezTo>
                  <a:cubicBezTo>
                    <a:pt x="1545" y="409"/>
                    <a:pt x="1516" y="379"/>
                    <a:pt x="1516" y="350"/>
                  </a:cubicBezTo>
                  <a:cubicBezTo>
                    <a:pt x="1487" y="321"/>
                    <a:pt x="1516" y="321"/>
                    <a:pt x="1516" y="321"/>
                  </a:cubicBezTo>
                  <a:cubicBezTo>
                    <a:pt x="1545" y="292"/>
                    <a:pt x="1545" y="292"/>
                    <a:pt x="1545" y="292"/>
                  </a:cubicBezTo>
                  <a:cubicBezTo>
                    <a:pt x="1545" y="262"/>
                    <a:pt x="1545" y="262"/>
                    <a:pt x="1516" y="262"/>
                  </a:cubicBezTo>
                  <a:lnTo>
                    <a:pt x="1516" y="262"/>
                  </a:lnTo>
                  <a:cubicBezTo>
                    <a:pt x="1516" y="292"/>
                    <a:pt x="1516" y="292"/>
                    <a:pt x="1516" y="292"/>
                  </a:cubicBezTo>
                  <a:cubicBezTo>
                    <a:pt x="1487" y="292"/>
                    <a:pt x="1487" y="292"/>
                    <a:pt x="1487" y="292"/>
                  </a:cubicBezTo>
                  <a:cubicBezTo>
                    <a:pt x="1487" y="292"/>
                    <a:pt x="1487" y="292"/>
                    <a:pt x="1458" y="292"/>
                  </a:cubicBezTo>
                  <a:cubicBezTo>
                    <a:pt x="1458" y="292"/>
                    <a:pt x="1428" y="321"/>
                    <a:pt x="1399" y="321"/>
                  </a:cubicBezTo>
                  <a:lnTo>
                    <a:pt x="1399" y="321"/>
                  </a:lnTo>
                  <a:cubicBezTo>
                    <a:pt x="1399" y="292"/>
                    <a:pt x="1399" y="292"/>
                    <a:pt x="1399" y="292"/>
                  </a:cubicBezTo>
                  <a:cubicBezTo>
                    <a:pt x="1370" y="262"/>
                    <a:pt x="1283" y="262"/>
                    <a:pt x="1225" y="233"/>
                  </a:cubicBezTo>
                  <a:cubicBezTo>
                    <a:pt x="1196" y="233"/>
                    <a:pt x="1166" y="233"/>
                    <a:pt x="1138" y="233"/>
                  </a:cubicBezTo>
                  <a:cubicBezTo>
                    <a:pt x="1109" y="233"/>
                    <a:pt x="1109" y="233"/>
                    <a:pt x="1080" y="204"/>
                  </a:cubicBezTo>
                  <a:cubicBezTo>
                    <a:pt x="1080" y="204"/>
                    <a:pt x="1080" y="204"/>
                    <a:pt x="1050" y="204"/>
                  </a:cubicBezTo>
                  <a:cubicBezTo>
                    <a:pt x="1050" y="204"/>
                    <a:pt x="1021" y="204"/>
                    <a:pt x="992" y="204"/>
                  </a:cubicBezTo>
                  <a:cubicBezTo>
                    <a:pt x="964" y="204"/>
                    <a:pt x="934" y="204"/>
                    <a:pt x="905" y="204"/>
                  </a:cubicBezTo>
                  <a:cubicBezTo>
                    <a:pt x="847" y="175"/>
                    <a:pt x="817" y="146"/>
                    <a:pt x="788" y="117"/>
                  </a:cubicBezTo>
                  <a:cubicBezTo>
                    <a:pt x="759" y="117"/>
                    <a:pt x="730" y="88"/>
                    <a:pt x="730" y="88"/>
                  </a:cubicBezTo>
                  <a:cubicBezTo>
                    <a:pt x="730" y="59"/>
                    <a:pt x="730" y="59"/>
                    <a:pt x="730" y="59"/>
                  </a:cubicBezTo>
                  <a:lnTo>
                    <a:pt x="730" y="59"/>
                  </a:lnTo>
                  <a:cubicBezTo>
                    <a:pt x="730" y="88"/>
                    <a:pt x="730" y="88"/>
                    <a:pt x="700" y="117"/>
                  </a:cubicBezTo>
                  <a:lnTo>
                    <a:pt x="700" y="117"/>
                  </a:lnTo>
                  <a:cubicBezTo>
                    <a:pt x="671" y="88"/>
                    <a:pt x="671" y="88"/>
                    <a:pt x="671" y="88"/>
                  </a:cubicBezTo>
                  <a:cubicBezTo>
                    <a:pt x="671" y="88"/>
                    <a:pt x="642" y="88"/>
                    <a:pt x="642" y="59"/>
                  </a:cubicBezTo>
                  <a:cubicBezTo>
                    <a:pt x="642" y="29"/>
                    <a:pt x="614" y="29"/>
                    <a:pt x="614" y="29"/>
                  </a:cubicBezTo>
                  <a:cubicBezTo>
                    <a:pt x="584" y="0"/>
                    <a:pt x="555" y="0"/>
                    <a:pt x="526" y="0"/>
                  </a:cubicBezTo>
                  <a:cubicBezTo>
                    <a:pt x="497" y="0"/>
                    <a:pt x="467" y="0"/>
                    <a:pt x="438" y="0"/>
                  </a:cubicBezTo>
                  <a:cubicBezTo>
                    <a:pt x="380" y="29"/>
                    <a:pt x="350" y="29"/>
                    <a:pt x="321" y="29"/>
                  </a:cubicBezTo>
                  <a:cubicBezTo>
                    <a:pt x="292" y="29"/>
                    <a:pt x="292" y="29"/>
                    <a:pt x="292" y="29"/>
                  </a:cubicBezTo>
                  <a:cubicBezTo>
                    <a:pt x="205" y="29"/>
                    <a:pt x="205" y="29"/>
                    <a:pt x="205" y="29"/>
                  </a:cubicBezTo>
                  <a:cubicBezTo>
                    <a:pt x="147" y="29"/>
                    <a:pt x="88" y="29"/>
                    <a:pt x="30" y="29"/>
                  </a:cubicBezTo>
                  <a:cubicBezTo>
                    <a:pt x="30" y="59"/>
                    <a:pt x="30" y="88"/>
                    <a:pt x="0"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96" name="Freeform 374">
              <a:extLst>
                <a:ext uri="{FF2B5EF4-FFF2-40B4-BE49-F238E27FC236}">
                  <a16:creationId xmlns:a16="http://schemas.microsoft.com/office/drawing/2014/main" id="{E852D666-29B5-4FB3-B669-371A17E4921E}"/>
                </a:ext>
              </a:extLst>
            </p:cNvPr>
            <p:cNvSpPr>
              <a:spLocks noChangeArrowheads="1"/>
            </p:cNvSpPr>
            <p:nvPr/>
          </p:nvSpPr>
          <p:spPr bwMode="auto">
            <a:xfrm>
              <a:off x="4297343" y="1060060"/>
              <a:ext cx="11416" cy="1618"/>
            </a:xfrm>
            <a:custGeom>
              <a:avLst/>
              <a:gdLst>
                <a:gd name="T0" fmla="*/ 0 w 31"/>
                <a:gd name="T1" fmla="*/ 0 h 1"/>
                <a:gd name="T2" fmla="*/ 0 w 31"/>
                <a:gd name="T3" fmla="*/ 0 h 1"/>
                <a:gd name="T4" fmla="*/ 30 w 31"/>
                <a:gd name="T5" fmla="*/ 0 h 1"/>
                <a:gd name="T6" fmla="*/ 0 w 31"/>
                <a:gd name="T7" fmla="*/ 0 h 1"/>
              </a:gdLst>
              <a:ahLst/>
              <a:cxnLst>
                <a:cxn ang="0">
                  <a:pos x="T0" y="T1"/>
                </a:cxn>
                <a:cxn ang="0">
                  <a:pos x="T2" y="T3"/>
                </a:cxn>
                <a:cxn ang="0">
                  <a:pos x="T4" y="T5"/>
                </a:cxn>
                <a:cxn ang="0">
                  <a:pos x="T6" y="T7"/>
                </a:cxn>
              </a:cxnLst>
              <a:rect l="0" t="0" r="r" b="b"/>
              <a:pathLst>
                <a:path w="31" h="1">
                  <a:moveTo>
                    <a:pt x="0" y="0"/>
                  </a:moveTo>
                  <a:lnTo>
                    <a:pt x="0" y="0"/>
                  </a:lnTo>
                  <a:cubicBezTo>
                    <a:pt x="30" y="0"/>
                    <a:pt x="30" y="0"/>
                    <a:pt x="30" y="0"/>
                  </a:cubicBezTo>
                  <a:cubicBezTo>
                    <a:pt x="30" y="0"/>
                    <a:pt x="3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97" name="Freeform 375">
              <a:extLst>
                <a:ext uri="{FF2B5EF4-FFF2-40B4-BE49-F238E27FC236}">
                  <a16:creationId xmlns:a16="http://schemas.microsoft.com/office/drawing/2014/main" id="{1B3EDB10-1429-46C4-8968-C09CBBF56838}"/>
                </a:ext>
              </a:extLst>
            </p:cNvPr>
            <p:cNvSpPr>
              <a:spLocks noChangeArrowheads="1"/>
            </p:cNvSpPr>
            <p:nvPr/>
          </p:nvSpPr>
          <p:spPr bwMode="auto">
            <a:xfrm>
              <a:off x="4276143" y="1039021"/>
              <a:ext cx="11415" cy="1619"/>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29" y="0"/>
                    <a:pt x="29" y="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98" name="Freeform 376">
              <a:extLst>
                <a:ext uri="{FF2B5EF4-FFF2-40B4-BE49-F238E27FC236}">
                  <a16:creationId xmlns:a16="http://schemas.microsoft.com/office/drawing/2014/main" id="{0CDF70C6-0C6C-4E8C-BF3E-2724CB1A9E9A}"/>
                </a:ext>
              </a:extLst>
            </p:cNvPr>
            <p:cNvSpPr>
              <a:spLocks noChangeArrowheads="1"/>
            </p:cNvSpPr>
            <p:nvPr/>
          </p:nvSpPr>
          <p:spPr bwMode="auto">
            <a:xfrm>
              <a:off x="8147770" y="1595723"/>
              <a:ext cx="11415" cy="1619"/>
            </a:xfrm>
            <a:custGeom>
              <a:avLst/>
              <a:gdLst>
                <a:gd name="T0" fmla="*/ 0 w 31"/>
                <a:gd name="T1" fmla="*/ 0 h 1"/>
                <a:gd name="T2" fmla="*/ 0 w 31"/>
                <a:gd name="T3" fmla="*/ 0 h 1"/>
                <a:gd name="T4" fmla="*/ 30 w 31"/>
                <a:gd name="T5" fmla="*/ 0 h 1"/>
                <a:gd name="T6" fmla="*/ 0 w 31"/>
                <a:gd name="T7" fmla="*/ 0 h 1"/>
              </a:gdLst>
              <a:ahLst/>
              <a:cxnLst>
                <a:cxn ang="0">
                  <a:pos x="T0" y="T1"/>
                </a:cxn>
                <a:cxn ang="0">
                  <a:pos x="T2" y="T3"/>
                </a:cxn>
                <a:cxn ang="0">
                  <a:pos x="T4" y="T5"/>
                </a:cxn>
                <a:cxn ang="0">
                  <a:pos x="T6" y="T7"/>
                </a:cxn>
              </a:cxnLst>
              <a:rect l="0" t="0" r="r" b="b"/>
              <a:pathLst>
                <a:path w="31" h="1">
                  <a:moveTo>
                    <a:pt x="0" y="0"/>
                  </a:moveTo>
                  <a:lnTo>
                    <a:pt x="0" y="0"/>
                  </a:lnTo>
                  <a:cubicBezTo>
                    <a:pt x="0" y="0"/>
                    <a:pt x="0" y="0"/>
                    <a:pt x="30"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99" name="Freeform 377">
              <a:extLst>
                <a:ext uri="{FF2B5EF4-FFF2-40B4-BE49-F238E27FC236}">
                  <a16:creationId xmlns:a16="http://schemas.microsoft.com/office/drawing/2014/main" id="{BEABA71D-7D3D-4FF6-B4F2-B3E1104D62DA}"/>
                </a:ext>
              </a:extLst>
            </p:cNvPr>
            <p:cNvSpPr>
              <a:spLocks noChangeArrowheads="1"/>
            </p:cNvSpPr>
            <p:nvPr/>
          </p:nvSpPr>
          <p:spPr bwMode="auto">
            <a:xfrm>
              <a:off x="4254941" y="1027693"/>
              <a:ext cx="21202" cy="11328"/>
            </a:xfrm>
            <a:custGeom>
              <a:avLst/>
              <a:gdLst>
                <a:gd name="T0" fmla="*/ 30 w 59"/>
                <a:gd name="T1" fmla="*/ 29 h 30"/>
                <a:gd name="T2" fmla="*/ 30 w 59"/>
                <a:gd name="T3" fmla="*/ 29 h 30"/>
                <a:gd name="T4" fmla="*/ 58 w 59"/>
                <a:gd name="T5" fmla="*/ 29 h 30"/>
                <a:gd name="T6" fmla="*/ 30 w 59"/>
                <a:gd name="T7" fmla="*/ 29 h 30"/>
                <a:gd name="T8" fmla="*/ 0 w 59"/>
                <a:gd name="T9" fmla="*/ 0 h 30"/>
                <a:gd name="T10" fmla="*/ 30 w 59"/>
                <a:gd name="T11" fmla="*/ 29 h 30"/>
              </a:gdLst>
              <a:ahLst/>
              <a:cxnLst>
                <a:cxn ang="0">
                  <a:pos x="T0" y="T1"/>
                </a:cxn>
                <a:cxn ang="0">
                  <a:pos x="T2" y="T3"/>
                </a:cxn>
                <a:cxn ang="0">
                  <a:pos x="T4" y="T5"/>
                </a:cxn>
                <a:cxn ang="0">
                  <a:pos x="T6" y="T7"/>
                </a:cxn>
                <a:cxn ang="0">
                  <a:pos x="T8" y="T9"/>
                </a:cxn>
                <a:cxn ang="0">
                  <a:pos x="T10" y="T11"/>
                </a:cxn>
              </a:cxnLst>
              <a:rect l="0" t="0" r="r" b="b"/>
              <a:pathLst>
                <a:path w="59" h="30">
                  <a:moveTo>
                    <a:pt x="30" y="29"/>
                  </a:moveTo>
                  <a:lnTo>
                    <a:pt x="30" y="29"/>
                  </a:lnTo>
                  <a:cubicBezTo>
                    <a:pt x="58" y="29"/>
                    <a:pt x="58" y="29"/>
                    <a:pt x="58" y="29"/>
                  </a:cubicBezTo>
                  <a:cubicBezTo>
                    <a:pt x="58" y="29"/>
                    <a:pt x="58" y="29"/>
                    <a:pt x="30" y="29"/>
                  </a:cubicBezTo>
                  <a:cubicBezTo>
                    <a:pt x="30" y="29"/>
                    <a:pt x="30" y="29"/>
                    <a:pt x="0" y="0"/>
                  </a:cubicBezTo>
                  <a:cubicBezTo>
                    <a:pt x="30" y="29"/>
                    <a:pt x="30" y="29"/>
                    <a:pt x="3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00" name="Freeform 378">
              <a:extLst>
                <a:ext uri="{FF2B5EF4-FFF2-40B4-BE49-F238E27FC236}">
                  <a16:creationId xmlns:a16="http://schemas.microsoft.com/office/drawing/2014/main" id="{791DC6F6-3C0B-4CAC-9233-B5EC49CDBA7C}"/>
                </a:ext>
              </a:extLst>
            </p:cNvPr>
            <p:cNvSpPr>
              <a:spLocks noChangeArrowheads="1"/>
            </p:cNvSpPr>
            <p:nvPr/>
          </p:nvSpPr>
          <p:spPr bwMode="auto">
            <a:xfrm>
              <a:off x="8610930" y="1798014"/>
              <a:ext cx="1630" cy="11328"/>
            </a:xfrm>
            <a:custGeom>
              <a:avLst/>
              <a:gdLst>
                <a:gd name="T0" fmla="*/ 0 w 1"/>
                <a:gd name="T1" fmla="*/ 0 h 30"/>
                <a:gd name="T2" fmla="*/ 0 w 1"/>
                <a:gd name="T3" fmla="*/ 0 h 30"/>
                <a:gd name="T4" fmla="*/ 0 w 1"/>
                <a:gd name="T5" fmla="*/ 0 h 30"/>
                <a:gd name="T6" fmla="*/ 0 w 1"/>
                <a:gd name="T7" fmla="*/ 0 h 30"/>
                <a:gd name="T8" fmla="*/ 0 w 1"/>
                <a:gd name="T9" fmla="*/ 29 h 30"/>
                <a:gd name="T10" fmla="*/ 0 w 1"/>
                <a:gd name="T11" fmla="*/ 0 h 30"/>
              </a:gdLst>
              <a:ahLst/>
              <a:cxnLst>
                <a:cxn ang="0">
                  <a:pos x="T0" y="T1"/>
                </a:cxn>
                <a:cxn ang="0">
                  <a:pos x="T2" y="T3"/>
                </a:cxn>
                <a:cxn ang="0">
                  <a:pos x="T4" y="T5"/>
                </a:cxn>
                <a:cxn ang="0">
                  <a:pos x="T6" y="T7"/>
                </a:cxn>
                <a:cxn ang="0">
                  <a:pos x="T8" y="T9"/>
                </a:cxn>
                <a:cxn ang="0">
                  <a:pos x="T10" y="T11"/>
                </a:cxn>
              </a:cxnLst>
              <a:rect l="0" t="0" r="r" b="b"/>
              <a:pathLst>
                <a:path w="1" h="30">
                  <a:moveTo>
                    <a:pt x="0" y="0"/>
                  </a:moveTo>
                  <a:lnTo>
                    <a:pt x="0" y="0"/>
                  </a:lnTo>
                  <a:lnTo>
                    <a:pt x="0" y="0"/>
                  </a:lnTo>
                  <a:lnTo>
                    <a:pt x="0" y="0"/>
                  </a:lnTo>
                  <a:cubicBezTo>
                    <a:pt x="0" y="0"/>
                    <a:pt x="0" y="0"/>
                    <a:pt x="0" y="29"/>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01" name="Freeform 379">
              <a:extLst>
                <a:ext uri="{FF2B5EF4-FFF2-40B4-BE49-F238E27FC236}">
                  <a16:creationId xmlns:a16="http://schemas.microsoft.com/office/drawing/2014/main" id="{FA50C1EC-4DD8-4E72-9200-7E9257BFB267}"/>
                </a:ext>
              </a:extLst>
            </p:cNvPr>
            <p:cNvSpPr>
              <a:spLocks noChangeArrowheads="1"/>
            </p:cNvSpPr>
            <p:nvPr/>
          </p:nvSpPr>
          <p:spPr bwMode="auto">
            <a:xfrm>
              <a:off x="8676164" y="1841708"/>
              <a:ext cx="21200" cy="21039"/>
            </a:xfrm>
            <a:custGeom>
              <a:avLst/>
              <a:gdLst>
                <a:gd name="T0" fmla="*/ 0 w 59"/>
                <a:gd name="T1" fmla="*/ 58 h 59"/>
                <a:gd name="T2" fmla="*/ 0 w 59"/>
                <a:gd name="T3" fmla="*/ 58 h 59"/>
                <a:gd name="T4" fmla="*/ 0 w 59"/>
                <a:gd name="T5" fmla="*/ 58 h 59"/>
                <a:gd name="T6" fmla="*/ 29 w 59"/>
                <a:gd name="T7" fmla="*/ 29 h 59"/>
                <a:gd name="T8" fmla="*/ 58 w 59"/>
                <a:gd name="T9" fmla="*/ 0 h 59"/>
                <a:gd name="T10" fmla="*/ 58 w 59"/>
                <a:gd name="T11" fmla="*/ 0 h 59"/>
                <a:gd name="T12" fmla="*/ 29 w 59"/>
                <a:gd name="T13" fmla="*/ 29 h 59"/>
                <a:gd name="T14" fmla="*/ 0 w 59"/>
                <a:gd name="T15" fmla="*/ 58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59">
                  <a:moveTo>
                    <a:pt x="0" y="58"/>
                  </a:moveTo>
                  <a:lnTo>
                    <a:pt x="0" y="58"/>
                  </a:lnTo>
                  <a:lnTo>
                    <a:pt x="0" y="58"/>
                  </a:lnTo>
                  <a:cubicBezTo>
                    <a:pt x="29" y="29"/>
                    <a:pt x="29" y="29"/>
                    <a:pt x="29" y="29"/>
                  </a:cubicBezTo>
                  <a:cubicBezTo>
                    <a:pt x="58" y="29"/>
                    <a:pt x="58" y="0"/>
                    <a:pt x="58" y="0"/>
                  </a:cubicBezTo>
                  <a:lnTo>
                    <a:pt x="58" y="0"/>
                  </a:lnTo>
                  <a:cubicBezTo>
                    <a:pt x="58" y="0"/>
                    <a:pt x="58" y="29"/>
                    <a:pt x="29" y="29"/>
                  </a:cubicBezTo>
                  <a:cubicBezTo>
                    <a:pt x="29" y="29"/>
                    <a:pt x="0" y="29"/>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02" name="Freeform 380">
              <a:extLst>
                <a:ext uri="{FF2B5EF4-FFF2-40B4-BE49-F238E27FC236}">
                  <a16:creationId xmlns:a16="http://schemas.microsoft.com/office/drawing/2014/main" id="{501EFE9D-4D55-483E-ADF2-F8AA0913DDAB}"/>
                </a:ext>
              </a:extLst>
            </p:cNvPr>
            <p:cNvSpPr>
              <a:spLocks noChangeArrowheads="1"/>
            </p:cNvSpPr>
            <p:nvPr/>
          </p:nvSpPr>
          <p:spPr bwMode="auto">
            <a:xfrm>
              <a:off x="8687579" y="1713861"/>
              <a:ext cx="32617" cy="11328"/>
            </a:xfrm>
            <a:custGeom>
              <a:avLst/>
              <a:gdLst>
                <a:gd name="T0" fmla="*/ 0 w 88"/>
                <a:gd name="T1" fmla="*/ 29 h 30"/>
                <a:gd name="T2" fmla="*/ 0 w 88"/>
                <a:gd name="T3" fmla="*/ 29 h 30"/>
                <a:gd name="T4" fmla="*/ 87 w 88"/>
                <a:gd name="T5" fmla="*/ 0 h 30"/>
                <a:gd name="T6" fmla="*/ 0 w 88"/>
                <a:gd name="T7" fmla="*/ 29 h 30"/>
              </a:gdLst>
              <a:ahLst/>
              <a:cxnLst>
                <a:cxn ang="0">
                  <a:pos x="T0" y="T1"/>
                </a:cxn>
                <a:cxn ang="0">
                  <a:pos x="T2" y="T3"/>
                </a:cxn>
                <a:cxn ang="0">
                  <a:pos x="T4" y="T5"/>
                </a:cxn>
                <a:cxn ang="0">
                  <a:pos x="T6" y="T7"/>
                </a:cxn>
              </a:cxnLst>
              <a:rect l="0" t="0" r="r" b="b"/>
              <a:pathLst>
                <a:path w="88" h="30">
                  <a:moveTo>
                    <a:pt x="0" y="29"/>
                  </a:moveTo>
                  <a:lnTo>
                    <a:pt x="0" y="29"/>
                  </a:lnTo>
                  <a:cubicBezTo>
                    <a:pt x="29" y="29"/>
                    <a:pt x="58" y="0"/>
                    <a:pt x="87" y="0"/>
                  </a:cubicBezTo>
                  <a:cubicBezTo>
                    <a:pt x="58" y="0"/>
                    <a:pt x="29"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03" name="Freeform 381">
              <a:extLst>
                <a:ext uri="{FF2B5EF4-FFF2-40B4-BE49-F238E27FC236}">
                  <a16:creationId xmlns:a16="http://schemas.microsoft.com/office/drawing/2014/main" id="{FB512F9E-420D-47C5-B65A-ABB060842D99}"/>
                </a:ext>
              </a:extLst>
            </p:cNvPr>
            <p:cNvSpPr>
              <a:spLocks noChangeArrowheads="1"/>
            </p:cNvSpPr>
            <p:nvPr/>
          </p:nvSpPr>
          <p:spPr bwMode="auto">
            <a:xfrm>
              <a:off x="8460892" y="1713861"/>
              <a:ext cx="808899" cy="438564"/>
            </a:xfrm>
            <a:custGeom>
              <a:avLst/>
              <a:gdLst>
                <a:gd name="T0" fmla="*/ 205 w 2189"/>
                <a:gd name="T1" fmla="*/ 350 h 1197"/>
                <a:gd name="T2" fmla="*/ 117 w 2189"/>
                <a:gd name="T3" fmla="*/ 408 h 1197"/>
                <a:gd name="T4" fmla="*/ 29 w 2189"/>
                <a:gd name="T5" fmla="*/ 438 h 1197"/>
                <a:gd name="T6" fmla="*/ 0 w 2189"/>
                <a:gd name="T7" fmla="*/ 525 h 1197"/>
                <a:gd name="T8" fmla="*/ 88 w 2189"/>
                <a:gd name="T9" fmla="*/ 583 h 1197"/>
                <a:gd name="T10" fmla="*/ 175 w 2189"/>
                <a:gd name="T11" fmla="*/ 641 h 1197"/>
                <a:gd name="T12" fmla="*/ 321 w 2189"/>
                <a:gd name="T13" fmla="*/ 641 h 1197"/>
                <a:gd name="T14" fmla="*/ 350 w 2189"/>
                <a:gd name="T15" fmla="*/ 641 h 1197"/>
                <a:gd name="T16" fmla="*/ 408 w 2189"/>
                <a:gd name="T17" fmla="*/ 671 h 1197"/>
                <a:gd name="T18" fmla="*/ 467 w 2189"/>
                <a:gd name="T19" fmla="*/ 700 h 1197"/>
                <a:gd name="T20" fmla="*/ 555 w 2189"/>
                <a:gd name="T21" fmla="*/ 729 h 1197"/>
                <a:gd name="T22" fmla="*/ 671 w 2189"/>
                <a:gd name="T23" fmla="*/ 788 h 1197"/>
                <a:gd name="T24" fmla="*/ 817 w 2189"/>
                <a:gd name="T25" fmla="*/ 875 h 1197"/>
                <a:gd name="T26" fmla="*/ 846 w 2189"/>
                <a:gd name="T27" fmla="*/ 933 h 1197"/>
                <a:gd name="T28" fmla="*/ 905 w 2189"/>
                <a:gd name="T29" fmla="*/ 1079 h 1197"/>
                <a:gd name="T30" fmla="*/ 963 w 2189"/>
                <a:gd name="T31" fmla="*/ 1138 h 1197"/>
                <a:gd name="T32" fmla="*/ 1225 w 2189"/>
                <a:gd name="T33" fmla="*/ 729 h 1197"/>
                <a:gd name="T34" fmla="*/ 1313 w 2189"/>
                <a:gd name="T35" fmla="*/ 846 h 1197"/>
                <a:gd name="T36" fmla="*/ 1341 w 2189"/>
                <a:gd name="T37" fmla="*/ 729 h 1197"/>
                <a:gd name="T38" fmla="*/ 1371 w 2189"/>
                <a:gd name="T39" fmla="*/ 700 h 1197"/>
                <a:gd name="T40" fmla="*/ 1575 w 2189"/>
                <a:gd name="T41" fmla="*/ 612 h 1197"/>
                <a:gd name="T42" fmla="*/ 1896 w 2189"/>
                <a:gd name="T43" fmla="*/ 671 h 1197"/>
                <a:gd name="T44" fmla="*/ 1955 w 2189"/>
                <a:gd name="T45" fmla="*/ 612 h 1197"/>
                <a:gd name="T46" fmla="*/ 2012 w 2189"/>
                <a:gd name="T47" fmla="*/ 612 h 1197"/>
                <a:gd name="T48" fmla="*/ 2041 w 2189"/>
                <a:gd name="T49" fmla="*/ 583 h 1197"/>
                <a:gd name="T50" fmla="*/ 2071 w 2189"/>
                <a:gd name="T51" fmla="*/ 583 h 1197"/>
                <a:gd name="T52" fmla="*/ 2188 w 2189"/>
                <a:gd name="T53" fmla="*/ 612 h 1197"/>
                <a:gd name="T54" fmla="*/ 2041 w 2189"/>
                <a:gd name="T55" fmla="*/ 496 h 1197"/>
                <a:gd name="T56" fmla="*/ 2041 w 2189"/>
                <a:gd name="T57" fmla="*/ 496 h 1197"/>
                <a:gd name="T58" fmla="*/ 1867 w 2189"/>
                <a:gd name="T59" fmla="*/ 467 h 1197"/>
                <a:gd name="T60" fmla="*/ 1750 w 2189"/>
                <a:gd name="T61" fmla="*/ 350 h 1197"/>
                <a:gd name="T62" fmla="*/ 1779 w 2189"/>
                <a:gd name="T63" fmla="*/ 291 h 1197"/>
                <a:gd name="T64" fmla="*/ 1750 w 2189"/>
                <a:gd name="T65" fmla="*/ 262 h 1197"/>
                <a:gd name="T66" fmla="*/ 1691 w 2189"/>
                <a:gd name="T67" fmla="*/ 321 h 1197"/>
                <a:gd name="T68" fmla="*/ 1400 w 2189"/>
                <a:gd name="T69" fmla="*/ 379 h 1197"/>
                <a:gd name="T70" fmla="*/ 1284 w 2189"/>
                <a:gd name="T71" fmla="*/ 467 h 1197"/>
                <a:gd name="T72" fmla="*/ 1284 w 2189"/>
                <a:gd name="T73" fmla="*/ 525 h 1197"/>
                <a:gd name="T74" fmla="*/ 1284 w 2189"/>
                <a:gd name="T75" fmla="*/ 525 h 1197"/>
                <a:gd name="T76" fmla="*/ 1167 w 2189"/>
                <a:gd name="T77" fmla="*/ 525 h 1197"/>
                <a:gd name="T78" fmla="*/ 1050 w 2189"/>
                <a:gd name="T79" fmla="*/ 496 h 1197"/>
                <a:gd name="T80" fmla="*/ 934 w 2189"/>
                <a:gd name="T81" fmla="*/ 467 h 1197"/>
                <a:gd name="T82" fmla="*/ 700 w 2189"/>
                <a:gd name="T83" fmla="*/ 350 h 1197"/>
                <a:gd name="T84" fmla="*/ 700 w 2189"/>
                <a:gd name="T85" fmla="*/ 379 h 1197"/>
                <a:gd name="T86" fmla="*/ 700 w 2189"/>
                <a:gd name="T87" fmla="*/ 379 h 1197"/>
                <a:gd name="T88" fmla="*/ 642 w 2189"/>
                <a:gd name="T89" fmla="*/ 408 h 1197"/>
                <a:gd name="T90" fmla="*/ 555 w 2189"/>
                <a:gd name="T91" fmla="*/ 438 h 1197"/>
                <a:gd name="T92" fmla="*/ 555 w 2189"/>
                <a:gd name="T93" fmla="*/ 321 h 1197"/>
                <a:gd name="T94" fmla="*/ 613 w 2189"/>
                <a:gd name="T95" fmla="*/ 146 h 1197"/>
                <a:gd name="T96" fmla="*/ 700 w 2189"/>
                <a:gd name="T97" fmla="*/ 88 h 1197"/>
                <a:gd name="T98" fmla="*/ 758 w 2189"/>
                <a:gd name="T99" fmla="*/ 58 h 1197"/>
                <a:gd name="T100" fmla="*/ 758 w 2189"/>
                <a:gd name="T101" fmla="*/ 29 h 1197"/>
                <a:gd name="T102" fmla="*/ 700 w 2189"/>
                <a:gd name="T103" fmla="*/ 29 h 1197"/>
                <a:gd name="T104" fmla="*/ 438 w 2189"/>
                <a:gd name="T105" fmla="*/ 175 h 1197"/>
                <a:gd name="T106" fmla="*/ 467 w 2189"/>
                <a:gd name="T107" fmla="*/ 262 h 1197"/>
                <a:gd name="T108" fmla="*/ 438 w 2189"/>
                <a:gd name="T109" fmla="*/ 262 h 1197"/>
                <a:gd name="T110" fmla="*/ 205 w 2189"/>
                <a:gd name="T111" fmla="*/ 350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89" h="1197">
                  <a:moveTo>
                    <a:pt x="205" y="350"/>
                  </a:moveTo>
                  <a:lnTo>
                    <a:pt x="205" y="350"/>
                  </a:lnTo>
                  <a:cubicBezTo>
                    <a:pt x="205" y="350"/>
                    <a:pt x="205" y="379"/>
                    <a:pt x="175" y="379"/>
                  </a:cubicBezTo>
                  <a:cubicBezTo>
                    <a:pt x="175" y="379"/>
                    <a:pt x="146" y="408"/>
                    <a:pt x="117" y="408"/>
                  </a:cubicBezTo>
                  <a:cubicBezTo>
                    <a:pt x="117" y="438"/>
                    <a:pt x="88" y="438"/>
                    <a:pt x="88" y="438"/>
                  </a:cubicBezTo>
                  <a:cubicBezTo>
                    <a:pt x="58" y="438"/>
                    <a:pt x="58" y="438"/>
                    <a:pt x="29" y="438"/>
                  </a:cubicBezTo>
                  <a:cubicBezTo>
                    <a:pt x="29" y="438"/>
                    <a:pt x="29" y="438"/>
                    <a:pt x="29" y="467"/>
                  </a:cubicBezTo>
                  <a:cubicBezTo>
                    <a:pt x="0" y="496"/>
                    <a:pt x="0" y="496"/>
                    <a:pt x="0" y="525"/>
                  </a:cubicBezTo>
                  <a:cubicBezTo>
                    <a:pt x="0" y="525"/>
                    <a:pt x="29" y="554"/>
                    <a:pt x="58" y="554"/>
                  </a:cubicBezTo>
                  <a:lnTo>
                    <a:pt x="88" y="583"/>
                  </a:lnTo>
                  <a:cubicBezTo>
                    <a:pt x="88" y="583"/>
                    <a:pt x="117" y="583"/>
                    <a:pt x="117" y="612"/>
                  </a:cubicBezTo>
                  <a:cubicBezTo>
                    <a:pt x="146" y="612"/>
                    <a:pt x="175" y="641"/>
                    <a:pt x="175" y="641"/>
                  </a:cubicBezTo>
                  <a:cubicBezTo>
                    <a:pt x="205" y="641"/>
                    <a:pt x="234" y="641"/>
                    <a:pt x="234" y="641"/>
                  </a:cubicBezTo>
                  <a:cubicBezTo>
                    <a:pt x="263" y="641"/>
                    <a:pt x="292" y="641"/>
                    <a:pt x="321" y="641"/>
                  </a:cubicBezTo>
                  <a:lnTo>
                    <a:pt x="321" y="641"/>
                  </a:lnTo>
                  <a:cubicBezTo>
                    <a:pt x="350" y="641"/>
                    <a:pt x="350" y="641"/>
                    <a:pt x="350" y="641"/>
                  </a:cubicBezTo>
                  <a:lnTo>
                    <a:pt x="350" y="641"/>
                  </a:lnTo>
                  <a:cubicBezTo>
                    <a:pt x="379" y="641"/>
                    <a:pt x="408" y="671"/>
                    <a:pt x="408" y="671"/>
                  </a:cubicBezTo>
                  <a:lnTo>
                    <a:pt x="438" y="671"/>
                  </a:lnTo>
                  <a:cubicBezTo>
                    <a:pt x="438" y="700"/>
                    <a:pt x="467" y="700"/>
                    <a:pt x="467" y="700"/>
                  </a:cubicBezTo>
                  <a:cubicBezTo>
                    <a:pt x="496" y="700"/>
                    <a:pt x="496" y="700"/>
                    <a:pt x="525" y="729"/>
                  </a:cubicBezTo>
                  <a:lnTo>
                    <a:pt x="555" y="729"/>
                  </a:lnTo>
                  <a:cubicBezTo>
                    <a:pt x="584" y="758"/>
                    <a:pt x="584" y="758"/>
                    <a:pt x="613" y="758"/>
                  </a:cubicBezTo>
                  <a:cubicBezTo>
                    <a:pt x="613" y="788"/>
                    <a:pt x="642" y="788"/>
                    <a:pt x="671" y="788"/>
                  </a:cubicBezTo>
                  <a:cubicBezTo>
                    <a:pt x="729" y="817"/>
                    <a:pt x="758" y="817"/>
                    <a:pt x="788" y="846"/>
                  </a:cubicBezTo>
                  <a:cubicBezTo>
                    <a:pt x="788" y="846"/>
                    <a:pt x="788" y="875"/>
                    <a:pt x="817" y="875"/>
                  </a:cubicBezTo>
                  <a:lnTo>
                    <a:pt x="817" y="904"/>
                  </a:lnTo>
                  <a:lnTo>
                    <a:pt x="846" y="933"/>
                  </a:lnTo>
                  <a:cubicBezTo>
                    <a:pt x="875" y="933"/>
                    <a:pt x="875" y="962"/>
                    <a:pt x="875" y="962"/>
                  </a:cubicBezTo>
                  <a:cubicBezTo>
                    <a:pt x="905" y="991"/>
                    <a:pt x="905" y="1050"/>
                    <a:pt x="905" y="1079"/>
                  </a:cubicBezTo>
                  <a:cubicBezTo>
                    <a:pt x="934" y="1138"/>
                    <a:pt x="934" y="1167"/>
                    <a:pt x="934" y="1196"/>
                  </a:cubicBezTo>
                  <a:cubicBezTo>
                    <a:pt x="934" y="1167"/>
                    <a:pt x="963" y="1138"/>
                    <a:pt x="963" y="1138"/>
                  </a:cubicBezTo>
                  <a:cubicBezTo>
                    <a:pt x="963" y="1050"/>
                    <a:pt x="991" y="962"/>
                    <a:pt x="1021" y="933"/>
                  </a:cubicBezTo>
                  <a:cubicBezTo>
                    <a:pt x="1050" y="904"/>
                    <a:pt x="1138" y="729"/>
                    <a:pt x="1225" y="729"/>
                  </a:cubicBezTo>
                  <a:cubicBezTo>
                    <a:pt x="1255" y="729"/>
                    <a:pt x="1255" y="758"/>
                    <a:pt x="1255" y="758"/>
                  </a:cubicBezTo>
                  <a:cubicBezTo>
                    <a:pt x="1313" y="758"/>
                    <a:pt x="1313" y="817"/>
                    <a:pt x="1313" y="846"/>
                  </a:cubicBezTo>
                  <a:cubicBezTo>
                    <a:pt x="1284" y="846"/>
                    <a:pt x="1284" y="846"/>
                    <a:pt x="1284" y="846"/>
                  </a:cubicBezTo>
                  <a:cubicBezTo>
                    <a:pt x="1313" y="817"/>
                    <a:pt x="1313" y="788"/>
                    <a:pt x="1341" y="729"/>
                  </a:cubicBezTo>
                  <a:cubicBezTo>
                    <a:pt x="1341" y="700"/>
                    <a:pt x="1341" y="700"/>
                    <a:pt x="1341" y="700"/>
                  </a:cubicBezTo>
                  <a:cubicBezTo>
                    <a:pt x="1371" y="700"/>
                    <a:pt x="1371" y="700"/>
                    <a:pt x="1371" y="700"/>
                  </a:cubicBezTo>
                  <a:cubicBezTo>
                    <a:pt x="1429" y="700"/>
                    <a:pt x="1488" y="700"/>
                    <a:pt x="1546" y="671"/>
                  </a:cubicBezTo>
                  <a:cubicBezTo>
                    <a:pt x="1546" y="641"/>
                    <a:pt x="1575" y="641"/>
                    <a:pt x="1575" y="612"/>
                  </a:cubicBezTo>
                  <a:cubicBezTo>
                    <a:pt x="1605" y="612"/>
                    <a:pt x="1634" y="583"/>
                    <a:pt x="1691" y="583"/>
                  </a:cubicBezTo>
                  <a:cubicBezTo>
                    <a:pt x="1779" y="583"/>
                    <a:pt x="1867" y="612"/>
                    <a:pt x="1896" y="671"/>
                  </a:cubicBezTo>
                  <a:cubicBezTo>
                    <a:pt x="1925" y="671"/>
                    <a:pt x="1925" y="671"/>
                    <a:pt x="1925" y="671"/>
                  </a:cubicBezTo>
                  <a:cubicBezTo>
                    <a:pt x="1925" y="641"/>
                    <a:pt x="1925" y="612"/>
                    <a:pt x="1955" y="612"/>
                  </a:cubicBezTo>
                  <a:cubicBezTo>
                    <a:pt x="1955" y="612"/>
                    <a:pt x="1984" y="612"/>
                    <a:pt x="2012" y="612"/>
                  </a:cubicBezTo>
                  <a:lnTo>
                    <a:pt x="2012" y="612"/>
                  </a:lnTo>
                  <a:cubicBezTo>
                    <a:pt x="2041" y="612"/>
                    <a:pt x="2041" y="612"/>
                    <a:pt x="2041" y="612"/>
                  </a:cubicBezTo>
                  <a:cubicBezTo>
                    <a:pt x="2041" y="583"/>
                    <a:pt x="2041" y="583"/>
                    <a:pt x="2041" y="583"/>
                  </a:cubicBezTo>
                  <a:cubicBezTo>
                    <a:pt x="2071" y="583"/>
                    <a:pt x="2071" y="583"/>
                    <a:pt x="2071" y="583"/>
                  </a:cubicBezTo>
                  <a:lnTo>
                    <a:pt x="2071" y="583"/>
                  </a:lnTo>
                  <a:cubicBezTo>
                    <a:pt x="2100" y="583"/>
                    <a:pt x="2100" y="612"/>
                    <a:pt x="2129" y="612"/>
                  </a:cubicBezTo>
                  <a:cubicBezTo>
                    <a:pt x="2158" y="612"/>
                    <a:pt x="2158" y="612"/>
                    <a:pt x="2188" y="612"/>
                  </a:cubicBezTo>
                  <a:cubicBezTo>
                    <a:pt x="2158" y="583"/>
                    <a:pt x="2129" y="554"/>
                    <a:pt x="2100" y="554"/>
                  </a:cubicBezTo>
                  <a:cubicBezTo>
                    <a:pt x="2071" y="525"/>
                    <a:pt x="2071" y="525"/>
                    <a:pt x="2041" y="496"/>
                  </a:cubicBezTo>
                  <a:lnTo>
                    <a:pt x="2041" y="496"/>
                  </a:lnTo>
                  <a:lnTo>
                    <a:pt x="2041" y="496"/>
                  </a:lnTo>
                  <a:cubicBezTo>
                    <a:pt x="2041" y="467"/>
                    <a:pt x="2041" y="438"/>
                    <a:pt x="1984" y="408"/>
                  </a:cubicBezTo>
                  <a:cubicBezTo>
                    <a:pt x="1955" y="438"/>
                    <a:pt x="1896" y="467"/>
                    <a:pt x="1867" y="467"/>
                  </a:cubicBezTo>
                  <a:cubicBezTo>
                    <a:pt x="1808" y="467"/>
                    <a:pt x="1750" y="408"/>
                    <a:pt x="1750" y="350"/>
                  </a:cubicBezTo>
                  <a:lnTo>
                    <a:pt x="1750" y="350"/>
                  </a:lnTo>
                  <a:lnTo>
                    <a:pt x="1750" y="350"/>
                  </a:lnTo>
                  <a:cubicBezTo>
                    <a:pt x="1750" y="321"/>
                    <a:pt x="1779" y="291"/>
                    <a:pt x="1779" y="291"/>
                  </a:cubicBezTo>
                  <a:cubicBezTo>
                    <a:pt x="1750" y="291"/>
                    <a:pt x="1750" y="291"/>
                    <a:pt x="1750" y="262"/>
                  </a:cubicBezTo>
                  <a:lnTo>
                    <a:pt x="1750" y="262"/>
                  </a:lnTo>
                  <a:cubicBezTo>
                    <a:pt x="1721" y="262"/>
                    <a:pt x="1721" y="291"/>
                    <a:pt x="1721" y="291"/>
                  </a:cubicBezTo>
                  <a:lnTo>
                    <a:pt x="1691" y="321"/>
                  </a:lnTo>
                  <a:lnTo>
                    <a:pt x="1691" y="321"/>
                  </a:lnTo>
                  <a:cubicBezTo>
                    <a:pt x="1605" y="350"/>
                    <a:pt x="1517" y="379"/>
                    <a:pt x="1400" y="379"/>
                  </a:cubicBezTo>
                  <a:cubicBezTo>
                    <a:pt x="1371" y="408"/>
                    <a:pt x="1341" y="408"/>
                    <a:pt x="1313" y="438"/>
                  </a:cubicBezTo>
                  <a:lnTo>
                    <a:pt x="1284" y="467"/>
                  </a:lnTo>
                  <a:lnTo>
                    <a:pt x="1284" y="496"/>
                  </a:lnTo>
                  <a:cubicBezTo>
                    <a:pt x="1284" y="496"/>
                    <a:pt x="1284" y="496"/>
                    <a:pt x="1284" y="525"/>
                  </a:cubicBezTo>
                  <a:lnTo>
                    <a:pt x="1284" y="525"/>
                  </a:lnTo>
                  <a:lnTo>
                    <a:pt x="1284" y="525"/>
                  </a:lnTo>
                  <a:cubicBezTo>
                    <a:pt x="1255" y="554"/>
                    <a:pt x="1255" y="554"/>
                    <a:pt x="1225" y="554"/>
                  </a:cubicBezTo>
                  <a:cubicBezTo>
                    <a:pt x="1196" y="554"/>
                    <a:pt x="1167" y="554"/>
                    <a:pt x="1167" y="525"/>
                  </a:cubicBezTo>
                  <a:cubicBezTo>
                    <a:pt x="1138" y="525"/>
                    <a:pt x="1108" y="496"/>
                    <a:pt x="1108" y="496"/>
                  </a:cubicBezTo>
                  <a:cubicBezTo>
                    <a:pt x="1079" y="496"/>
                    <a:pt x="1079" y="496"/>
                    <a:pt x="1050" y="496"/>
                  </a:cubicBezTo>
                  <a:cubicBezTo>
                    <a:pt x="1021" y="525"/>
                    <a:pt x="991" y="525"/>
                    <a:pt x="991" y="525"/>
                  </a:cubicBezTo>
                  <a:cubicBezTo>
                    <a:pt x="963" y="496"/>
                    <a:pt x="934" y="496"/>
                    <a:pt x="934" y="467"/>
                  </a:cubicBezTo>
                  <a:cubicBezTo>
                    <a:pt x="905" y="467"/>
                    <a:pt x="905" y="438"/>
                    <a:pt x="875" y="438"/>
                  </a:cubicBezTo>
                  <a:cubicBezTo>
                    <a:pt x="817" y="379"/>
                    <a:pt x="758" y="350"/>
                    <a:pt x="700" y="350"/>
                  </a:cubicBezTo>
                  <a:lnTo>
                    <a:pt x="700" y="350"/>
                  </a:lnTo>
                  <a:cubicBezTo>
                    <a:pt x="700" y="379"/>
                    <a:pt x="700" y="379"/>
                    <a:pt x="700" y="379"/>
                  </a:cubicBezTo>
                  <a:lnTo>
                    <a:pt x="700" y="379"/>
                  </a:lnTo>
                  <a:lnTo>
                    <a:pt x="700" y="379"/>
                  </a:lnTo>
                  <a:lnTo>
                    <a:pt x="700" y="379"/>
                  </a:lnTo>
                  <a:cubicBezTo>
                    <a:pt x="671" y="379"/>
                    <a:pt x="671" y="408"/>
                    <a:pt x="642" y="408"/>
                  </a:cubicBezTo>
                  <a:cubicBezTo>
                    <a:pt x="613" y="408"/>
                    <a:pt x="613" y="438"/>
                    <a:pt x="555" y="438"/>
                  </a:cubicBezTo>
                  <a:lnTo>
                    <a:pt x="555" y="438"/>
                  </a:lnTo>
                  <a:cubicBezTo>
                    <a:pt x="555" y="408"/>
                    <a:pt x="555" y="408"/>
                    <a:pt x="555" y="408"/>
                  </a:cubicBezTo>
                  <a:cubicBezTo>
                    <a:pt x="555" y="379"/>
                    <a:pt x="555" y="350"/>
                    <a:pt x="555" y="321"/>
                  </a:cubicBezTo>
                  <a:cubicBezTo>
                    <a:pt x="555" y="262"/>
                    <a:pt x="555" y="204"/>
                    <a:pt x="584" y="175"/>
                  </a:cubicBezTo>
                  <a:cubicBezTo>
                    <a:pt x="613" y="146"/>
                    <a:pt x="613" y="146"/>
                    <a:pt x="613" y="146"/>
                  </a:cubicBezTo>
                  <a:cubicBezTo>
                    <a:pt x="642" y="146"/>
                    <a:pt x="642" y="146"/>
                    <a:pt x="642" y="146"/>
                  </a:cubicBezTo>
                  <a:cubicBezTo>
                    <a:pt x="671" y="117"/>
                    <a:pt x="671" y="117"/>
                    <a:pt x="700" y="88"/>
                  </a:cubicBezTo>
                  <a:lnTo>
                    <a:pt x="729" y="58"/>
                  </a:lnTo>
                  <a:cubicBezTo>
                    <a:pt x="758" y="58"/>
                    <a:pt x="758" y="58"/>
                    <a:pt x="758" y="58"/>
                  </a:cubicBezTo>
                  <a:cubicBezTo>
                    <a:pt x="788" y="58"/>
                    <a:pt x="788" y="58"/>
                    <a:pt x="788" y="29"/>
                  </a:cubicBezTo>
                  <a:cubicBezTo>
                    <a:pt x="788" y="29"/>
                    <a:pt x="788" y="29"/>
                    <a:pt x="758" y="29"/>
                  </a:cubicBezTo>
                  <a:cubicBezTo>
                    <a:pt x="758" y="0"/>
                    <a:pt x="758" y="0"/>
                    <a:pt x="758" y="0"/>
                  </a:cubicBezTo>
                  <a:cubicBezTo>
                    <a:pt x="729" y="0"/>
                    <a:pt x="729" y="29"/>
                    <a:pt x="700" y="29"/>
                  </a:cubicBezTo>
                  <a:cubicBezTo>
                    <a:pt x="671" y="29"/>
                    <a:pt x="642" y="58"/>
                    <a:pt x="613" y="58"/>
                  </a:cubicBezTo>
                  <a:cubicBezTo>
                    <a:pt x="584" y="117"/>
                    <a:pt x="525" y="146"/>
                    <a:pt x="438" y="175"/>
                  </a:cubicBezTo>
                  <a:lnTo>
                    <a:pt x="467" y="204"/>
                  </a:lnTo>
                  <a:cubicBezTo>
                    <a:pt x="467" y="204"/>
                    <a:pt x="467" y="233"/>
                    <a:pt x="467" y="262"/>
                  </a:cubicBezTo>
                  <a:lnTo>
                    <a:pt x="467" y="262"/>
                  </a:lnTo>
                  <a:cubicBezTo>
                    <a:pt x="438" y="262"/>
                    <a:pt x="438" y="262"/>
                    <a:pt x="438" y="262"/>
                  </a:cubicBezTo>
                  <a:cubicBezTo>
                    <a:pt x="408" y="321"/>
                    <a:pt x="350" y="321"/>
                    <a:pt x="292" y="321"/>
                  </a:cubicBezTo>
                  <a:cubicBezTo>
                    <a:pt x="263" y="350"/>
                    <a:pt x="234" y="350"/>
                    <a:pt x="205" y="35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04" name="Freeform 382">
              <a:extLst>
                <a:ext uri="{FF2B5EF4-FFF2-40B4-BE49-F238E27FC236}">
                  <a16:creationId xmlns:a16="http://schemas.microsoft.com/office/drawing/2014/main" id="{47509493-D3C1-4AE3-BF8D-066A88472286}"/>
                </a:ext>
              </a:extLst>
            </p:cNvPr>
            <p:cNvSpPr>
              <a:spLocks noChangeArrowheads="1"/>
            </p:cNvSpPr>
            <p:nvPr/>
          </p:nvSpPr>
          <p:spPr bwMode="auto">
            <a:xfrm>
              <a:off x="8278237" y="1616762"/>
              <a:ext cx="1630" cy="11328"/>
            </a:xfrm>
            <a:custGeom>
              <a:avLst/>
              <a:gdLst>
                <a:gd name="T0" fmla="*/ 0 w 1"/>
                <a:gd name="T1" fmla="*/ 29 h 30"/>
                <a:gd name="T2" fmla="*/ 0 w 1"/>
                <a:gd name="T3" fmla="*/ 29 h 30"/>
                <a:gd name="T4" fmla="*/ 0 w 1"/>
                <a:gd name="T5" fmla="*/ 29 h 30"/>
                <a:gd name="T6" fmla="*/ 0 w 1"/>
                <a:gd name="T7" fmla="*/ 0 h 30"/>
                <a:gd name="T8" fmla="*/ 0 w 1"/>
                <a:gd name="T9" fmla="*/ 29 h 30"/>
              </a:gdLst>
              <a:ahLst/>
              <a:cxnLst>
                <a:cxn ang="0">
                  <a:pos x="T0" y="T1"/>
                </a:cxn>
                <a:cxn ang="0">
                  <a:pos x="T2" y="T3"/>
                </a:cxn>
                <a:cxn ang="0">
                  <a:pos x="T4" y="T5"/>
                </a:cxn>
                <a:cxn ang="0">
                  <a:pos x="T6" y="T7"/>
                </a:cxn>
                <a:cxn ang="0">
                  <a:pos x="T8" y="T9"/>
                </a:cxn>
              </a:cxnLst>
              <a:rect l="0" t="0" r="r" b="b"/>
              <a:pathLst>
                <a:path w="1" h="30">
                  <a:moveTo>
                    <a:pt x="0" y="29"/>
                  </a:moveTo>
                  <a:lnTo>
                    <a:pt x="0" y="29"/>
                  </a:lnTo>
                  <a:lnTo>
                    <a:pt x="0" y="29"/>
                  </a:lnTo>
                  <a:cubicBezTo>
                    <a:pt x="0" y="29"/>
                    <a:pt x="0" y="29"/>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05" name="Freeform 383">
              <a:extLst>
                <a:ext uri="{FF2B5EF4-FFF2-40B4-BE49-F238E27FC236}">
                  <a16:creationId xmlns:a16="http://schemas.microsoft.com/office/drawing/2014/main" id="{EB1F9CE1-27E9-41DB-9CB5-3CD0DB07BAD4}"/>
                </a:ext>
              </a:extLst>
            </p:cNvPr>
            <p:cNvSpPr>
              <a:spLocks noChangeArrowheads="1"/>
            </p:cNvSpPr>
            <p:nvPr/>
          </p:nvSpPr>
          <p:spPr bwMode="auto">
            <a:xfrm>
              <a:off x="8687579" y="1776975"/>
              <a:ext cx="11416" cy="11329"/>
            </a:xfrm>
            <a:custGeom>
              <a:avLst/>
              <a:gdLst>
                <a:gd name="T0" fmla="*/ 29 w 30"/>
                <a:gd name="T1" fmla="*/ 0 h 30"/>
                <a:gd name="T2" fmla="*/ 29 w 30"/>
                <a:gd name="T3" fmla="*/ 0 h 30"/>
                <a:gd name="T4" fmla="*/ 0 w 30"/>
                <a:gd name="T5" fmla="*/ 29 h 30"/>
                <a:gd name="T6" fmla="*/ 29 w 30"/>
                <a:gd name="T7" fmla="*/ 0 h 30"/>
              </a:gdLst>
              <a:ahLst/>
              <a:cxnLst>
                <a:cxn ang="0">
                  <a:pos x="T0" y="T1"/>
                </a:cxn>
                <a:cxn ang="0">
                  <a:pos x="T2" y="T3"/>
                </a:cxn>
                <a:cxn ang="0">
                  <a:pos x="T4" y="T5"/>
                </a:cxn>
                <a:cxn ang="0">
                  <a:pos x="T6" y="T7"/>
                </a:cxn>
              </a:cxnLst>
              <a:rect l="0" t="0" r="r" b="b"/>
              <a:pathLst>
                <a:path w="30" h="30">
                  <a:moveTo>
                    <a:pt x="29" y="0"/>
                  </a:moveTo>
                  <a:lnTo>
                    <a:pt x="29" y="0"/>
                  </a:lnTo>
                  <a:cubicBezTo>
                    <a:pt x="0" y="0"/>
                    <a:pt x="0" y="29"/>
                    <a:pt x="0" y="29"/>
                  </a:cubicBezTo>
                  <a:cubicBezTo>
                    <a:pt x="0" y="29"/>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06" name="Freeform 384">
              <a:extLst>
                <a:ext uri="{FF2B5EF4-FFF2-40B4-BE49-F238E27FC236}">
                  <a16:creationId xmlns:a16="http://schemas.microsoft.com/office/drawing/2014/main" id="{6F7F3F8F-C9F5-4DBB-B842-7AF01CB39FF9}"/>
                </a:ext>
              </a:extLst>
            </p:cNvPr>
            <p:cNvSpPr>
              <a:spLocks noChangeArrowheads="1"/>
            </p:cNvSpPr>
            <p:nvPr/>
          </p:nvSpPr>
          <p:spPr bwMode="auto">
            <a:xfrm>
              <a:off x="3780366" y="2879051"/>
              <a:ext cx="44032" cy="32366"/>
            </a:xfrm>
            <a:custGeom>
              <a:avLst/>
              <a:gdLst>
                <a:gd name="T0" fmla="*/ 30 w 118"/>
                <a:gd name="T1" fmla="*/ 88 h 89"/>
                <a:gd name="T2" fmla="*/ 30 w 118"/>
                <a:gd name="T3" fmla="*/ 88 h 89"/>
                <a:gd name="T4" fmla="*/ 0 w 118"/>
                <a:gd name="T5" fmla="*/ 59 h 89"/>
                <a:gd name="T6" fmla="*/ 30 w 118"/>
                <a:gd name="T7" fmla="*/ 88 h 89"/>
                <a:gd name="T8" fmla="*/ 117 w 118"/>
                <a:gd name="T9" fmla="*/ 0 h 89"/>
                <a:gd name="T10" fmla="*/ 30 w 118"/>
                <a:gd name="T11" fmla="*/ 88 h 89"/>
              </a:gdLst>
              <a:ahLst/>
              <a:cxnLst>
                <a:cxn ang="0">
                  <a:pos x="T0" y="T1"/>
                </a:cxn>
                <a:cxn ang="0">
                  <a:pos x="T2" y="T3"/>
                </a:cxn>
                <a:cxn ang="0">
                  <a:pos x="T4" y="T5"/>
                </a:cxn>
                <a:cxn ang="0">
                  <a:pos x="T6" y="T7"/>
                </a:cxn>
                <a:cxn ang="0">
                  <a:pos x="T8" y="T9"/>
                </a:cxn>
                <a:cxn ang="0">
                  <a:pos x="T10" y="T11"/>
                </a:cxn>
              </a:cxnLst>
              <a:rect l="0" t="0" r="r" b="b"/>
              <a:pathLst>
                <a:path w="118" h="89">
                  <a:moveTo>
                    <a:pt x="30" y="88"/>
                  </a:moveTo>
                  <a:lnTo>
                    <a:pt x="30" y="88"/>
                  </a:lnTo>
                  <a:lnTo>
                    <a:pt x="0" y="59"/>
                  </a:lnTo>
                  <a:lnTo>
                    <a:pt x="30" y="88"/>
                  </a:lnTo>
                  <a:cubicBezTo>
                    <a:pt x="88" y="88"/>
                    <a:pt x="88" y="29"/>
                    <a:pt x="117" y="0"/>
                  </a:cubicBezTo>
                  <a:cubicBezTo>
                    <a:pt x="88" y="29"/>
                    <a:pt x="88" y="88"/>
                    <a:pt x="30"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07" name="Freeform 385">
              <a:extLst>
                <a:ext uri="{FF2B5EF4-FFF2-40B4-BE49-F238E27FC236}">
                  <a16:creationId xmlns:a16="http://schemas.microsoft.com/office/drawing/2014/main" id="{CAD8EA2F-426F-4AF6-A428-59785E1F4611}"/>
                </a:ext>
              </a:extLst>
            </p:cNvPr>
            <p:cNvSpPr>
              <a:spLocks noChangeArrowheads="1"/>
            </p:cNvSpPr>
            <p:nvPr/>
          </p:nvSpPr>
          <p:spPr bwMode="auto">
            <a:xfrm>
              <a:off x="7371487" y="5469981"/>
              <a:ext cx="32617" cy="21039"/>
            </a:xfrm>
            <a:custGeom>
              <a:avLst/>
              <a:gdLst>
                <a:gd name="T0" fmla="*/ 29 w 88"/>
                <a:gd name="T1" fmla="*/ 29 h 59"/>
                <a:gd name="T2" fmla="*/ 29 w 88"/>
                <a:gd name="T3" fmla="*/ 29 h 59"/>
                <a:gd name="T4" fmla="*/ 87 w 88"/>
                <a:gd name="T5" fmla="*/ 58 h 59"/>
                <a:gd name="T6" fmla="*/ 29 w 88"/>
                <a:gd name="T7" fmla="*/ 29 h 59"/>
                <a:gd name="T8" fmla="*/ 0 w 88"/>
                <a:gd name="T9" fmla="*/ 0 h 59"/>
                <a:gd name="T10" fmla="*/ 0 w 88"/>
                <a:gd name="T11" fmla="*/ 0 h 59"/>
                <a:gd name="T12" fmla="*/ 29 w 88"/>
                <a:gd name="T13" fmla="*/ 29 h 59"/>
              </a:gdLst>
              <a:ahLst/>
              <a:cxnLst>
                <a:cxn ang="0">
                  <a:pos x="T0" y="T1"/>
                </a:cxn>
                <a:cxn ang="0">
                  <a:pos x="T2" y="T3"/>
                </a:cxn>
                <a:cxn ang="0">
                  <a:pos x="T4" y="T5"/>
                </a:cxn>
                <a:cxn ang="0">
                  <a:pos x="T6" y="T7"/>
                </a:cxn>
                <a:cxn ang="0">
                  <a:pos x="T8" y="T9"/>
                </a:cxn>
                <a:cxn ang="0">
                  <a:pos x="T10" y="T11"/>
                </a:cxn>
                <a:cxn ang="0">
                  <a:pos x="T12" y="T13"/>
                </a:cxn>
              </a:cxnLst>
              <a:rect l="0" t="0" r="r" b="b"/>
              <a:pathLst>
                <a:path w="88" h="59">
                  <a:moveTo>
                    <a:pt x="29" y="29"/>
                  </a:moveTo>
                  <a:lnTo>
                    <a:pt x="29" y="29"/>
                  </a:lnTo>
                  <a:cubicBezTo>
                    <a:pt x="58" y="29"/>
                    <a:pt x="87" y="58"/>
                    <a:pt x="87" y="58"/>
                  </a:cubicBezTo>
                  <a:cubicBezTo>
                    <a:pt x="87" y="58"/>
                    <a:pt x="58" y="29"/>
                    <a:pt x="29" y="29"/>
                  </a:cubicBezTo>
                  <a:lnTo>
                    <a:pt x="0" y="0"/>
                  </a:lnTo>
                  <a:lnTo>
                    <a:pt x="0" y="0"/>
                  </a:lnTo>
                  <a:lnTo>
                    <a:pt x="2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08" name="Freeform 386">
              <a:extLst>
                <a:ext uri="{FF2B5EF4-FFF2-40B4-BE49-F238E27FC236}">
                  <a16:creationId xmlns:a16="http://schemas.microsoft.com/office/drawing/2014/main" id="{D5375A71-DE9D-438A-8B5F-0C0832948BE6}"/>
                </a:ext>
              </a:extLst>
            </p:cNvPr>
            <p:cNvSpPr>
              <a:spLocks noChangeArrowheads="1"/>
            </p:cNvSpPr>
            <p:nvPr/>
          </p:nvSpPr>
          <p:spPr bwMode="auto">
            <a:xfrm>
              <a:off x="7598174" y="5256363"/>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09" name="Freeform 387">
              <a:extLst>
                <a:ext uri="{FF2B5EF4-FFF2-40B4-BE49-F238E27FC236}">
                  <a16:creationId xmlns:a16="http://schemas.microsoft.com/office/drawing/2014/main" id="{8712C3D3-80DB-4336-8BD3-C44503D13F2B}"/>
                </a:ext>
              </a:extLst>
            </p:cNvPr>
            <p:cNvSpPr>
              <a:spLocks noChangeArrowheads="1"/>
            </p:cNvSpPr>
            <p:nvPr/>
          </p:nvSpPr>
          <p:spPr bwMode="auto">
            <a:xfrm>
              <a:off x="7555772" y="5266073"/>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10" name="Freeform 388">
              <a:extLst>
                <a:ext uri="{FF2B5EF4-FFF2-40B4-BE49-F238E27FC236}">
                  <a16:creationId xmlns:a16="http://schemas.microsoft.com/office/drawing/2014/main" id="{6DEEF4BE-C323-4CCF-9873-57D40EDF6C6F}"/>
                </a:ext>
              </a:extLst>
            </p:cNvPr>
            <p:cNvSpPr>
              <a:spLocks noChangeArrowheads="1"/>
            </p:cNvSpPr>
            <p:nvPr/>
          </p:nvSpPr>
          <p:spPr bwMode="auto">
            <a:xfrm>
              <a:off x="7382903" y="5458653"/>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11" name="Freeform 389">
              <a:extLst>
                <a:ext uri="{FF2B5EF4-FFF2-40B4-BE49-F238E27FC236}">
                  <a16:creationId xmlns:a16="http://schemas.microsoft.com/office/drawing/2014/main" id="{E2790494-79EF-4F4D-9ADA-AA4F632EA560}"/>
                </a:ext>
              </a:extLst>
            </p:cNvPr>
            <p:cNvSpPr>
              <a:spLocks noChangeArrowheads="1"/>
            </p:cNvSpPr>
            <p:nvPr/>
          </p:nvSpPr>
          <p:spPr bwMode="auto">
            <a:xfrm>
              <a:off x="7382903" y="5458653"/>
              <a:ext cx="11416" cy="11328"/>
            </a:xfrm>
            <a:custGeom>
              <a:avLst/>
              <a:gdLst>
                <a:gd name="T0" fmla="*/ 29 w 30"/>
                <a:gd name="T1" fmla="*/ 0 h 31"/>
                <a:gd name="T2" fmla="*/ 29 w 30"/>
                <a:gd name="T3" fmla="*/ 0 h 31"/>
                <a:gd name="T4" fmla="*/ 29 w 30"/>
                <a:gd name="T5" fmla="*/ 30 h 31"/>
                <a:gd name="T6" fmla="*/ 0 w 30"/>
                <a:gd name="T7" fmla="*/ 30 h 31"/>
                <a:gd name="T8" fmla="*/ 0 w 30"/>
                <a:gd name="T9" fmla="*/ 30 h 31"/>
                <a:gd name="T10" fmla="*/ 29 w 30"/>
                <a:gd name="T11" fmla="*/ 30 h 31"/>
                <a:gd name="T12" fmla="*/ 29 w 30"/>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30" h="31">
                  <a:moveTo>
                    <a:pt x="29" y="0"/>
                  </a:moveTo>
                  <a:lnTo>
                    <a:pt x="29" y="0"/>
                  </a:lnTo>
                  <a:lnTo>
                    <a:pt x="29" y="30"/>
                  </a:lnTo>
                  <a:cubicBezTo>
                    <a:pt x="0" y="30"/>
                    <a:pt x="0" y="30"/>
                    <a:pt x="0" y="30"/>
                  </a:cubicBezTo>
                  <a:lnTo>
                    <a:pt x="0" y="30"/>
                  </a:lnTo>
                  <a:cubicBezTo>
                    <a:pt x="29" y="30"/>
                    <a:pt x="29" y="30"/>
                    <a:pt x="29" y="30"/>
                  </a:cubicBez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12" name="Freeform 390">
              <a:extLst>
                <a:ext uri="{FF2B5EF4-FFF2-40B4-BE49-F238E27FC236}">
                  <a16:creationId xmlns:a16="http://schemas.microsoft.com/office/drawing/2014/main" id="{BE51671C-BA82-4E50-9596-EF446000C5D1}"/>
                </a:ext>
              </a:extLst>
            </p:cNvPr>
            <p:cNvSpPr>
              <a:spLocks noChangeArrowheads="1"/>
            </p:cNvSpPr>
            <p:nvPr/>
          </p:nvSpPr>
          <p:spPr bwMode="auto">
            <a:xfrm>
              <a:off x="7555772" y="5266073"/>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13" name="Freeform 391">
              <a:extLst>
                <a:ext uri="{FF2B5EF4-FFF2-40B4-BE49-F238E27FC236}">
                  <a16:creationId xmlns:a16="http://schemas.microsoft.com/office/drawing/2014/main" id="{40DF7162-90C9-4E41-96AA-2566BA9B9FBD}"/>
                </a:ext>
              </a:extLst>
            </p:cNvPr>
            <p:cNvSpPr>
              <a:spLocks noChangeArrowheads="1"/>
            </p:cNvSpPr>
            <p:nvPr/>
          </p:nvSpPr>
          <p:spPr bwMode="auto">
            <a:xfrm>
              <a:off x="7446506" y="5641523"/>
              <a:ext cx="11415" cy="53405"/>
            </a:xfrm>
            <a:custGeom>
              <a:avLst/>
              <a:gdLst>
                <a:gd name="T0" fmla="*/ 30 w 31"/>
                <a:gd name="T1" fmla="*/ 146 h 147"/>
                <a:gd name="T2" fmla="*/ 30 w 31"/>
                <a:gd name="T3" fmla="*/ 146 h 147"/>
                <a:gd name="T4" fmla="*/ 30 w 31"/>
                <a:gd name="T5" fmla="*/ 29 h 147"/>
                <a:gd name="T6" fmla="*/ 0 w 31"/>
                <a:gd name="T7" fmla="*/ 0 h 147"/>
                <a:gd name="T8" fmla="*/ 30 w 31"/>
                <a:gd name="T9" fmla="*/ 29 h 147"/>
                <a:gd name="T10" fmla="*/ 30 w 31"/>
                <a:gd name="T11" fmla="*/ 146 h 147"/>
              </a:gdLst>
              <a:ahLst/>
              <a:cxnLst>
                <a:cxn ang="0">
                  <a:pos x="T0" y="T1"/>
                </a:cxn>
                <a:cxn ang="0">
                  <a:pos x="T2" y="T3"/>
                </a:cxn>
                <a:cxn ang="0">
                  <a:pos x="T4" y="T5"/>
                </a:cxn>
                <a:cxn ang="0">
                  <a:pos x="T6" y="T7"/>
                </a:cxn>
                <a:cxn ang="0">
                  <a:pos x="T8" y="T9"/>
                </a:cxn>
                <a:cxn ang="0">
                  <a:pos x="T10" y="T11"/>
                </a:cxn>
              </a:cxnLst>
              <a:rect l="0" t="0" r="r" b="b"/>
              <a:pathLst>
                <a:path w="31" h="147">
                  <a:moveTo>
                    <a:pt x="30" y="146"/>
                  </a:moveTo>
                  <a:lnTo>
                    <a:pt x="30" y="146"/>
                  </a:lnTo>
                  <a:cubicBezTo>
                    <a:pt x="30" y="117"/>
                    <a:pt x="30" y="58"/>
                    <a:pt x="30" y="29"/>
                  </a:cubicBezTo>
                  <a:cubicBezTo>
                    <a:pt x="30" y="29"/>
                    <a:pt x="0" y="29"/>
                    <a:pt x="0" y="0"/>
                  </a:cubicBezTo>
                  <a:cubicBezTo>
                    <a:pt x="0" y="29"/>
                    <a:pt x="30" y="29"/>
                    <a:pt x="30" y="29"/>
                  </a:cubicBezTo>
                  <a:cubicBezTo>
                    <a:pt x="30" y="58"/>
                    <a:pt x="30" y="117"/>
                    <a:pt x="30" y="14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14" name="Freeform 392">
              <a:extLst>
                <a:ext uri="{FF2B5EF4-FFF2-40B4-BE49-F238E27FC236}">
                  <a16:creationId xmlns:a16="http://schemas.microsoft.com/office/drawing/2014/main" id="{4D0DD462-0251-4AC6-B5E9-14F3AEA2FFBC}"/>
                </a:ext>
              </a:extLst>
            </p:cNvPr>
            <p:cNvSpPr>
              <a:spLocks noChangeArrowheads="1"/>
            </p:cNvSpPr>
            <p:nvPr/>
          </p:nvSpPr>
          <p:spPr bwMode="auto">
            <a:xfrm>
              <a:off x="7544357" y="5256363"/>
              <a:ext cx="11415" cy="1619"/>
            </a:xfrm>
            <a:custGeom>
              <a:avLst/>
              <a:gdLst>
                <a:gd name="T0" fmla="*/ 0 w 30"/>
                <a:gd name="T1" fmla="*/ 0 h 1"/>
                <a:gd name="T2" fmla="*/ 0 w 30"/>
                <a:gd name="T3" fmla="*/ 0 h 1"/>
                <a:gd name="T4" fmla="*/ 29 w 30"/>
                <a:gd name="T5" fmla="*/ 0 h 1"/>
                <a:gd name="T6" fmla="*/ 29 w 30"/>
                <a:gd name="T7" fmla="*/ 0 h 1"/>
                <a:gd name="T8" fmla="*/ 0 w 30"/>
                <a:gd name="T9" fmla="*/ 0 h 1"/>
              </a:gdLst>
              <a:ahLst/>
              <a:cxnLst>
                <a:cxn ang="0">
                  <a:pos x="T0" y="T1"/>
                </a:cxn>
                <a:cxn ang="0">
                  <a:pos x="T2" y="T3"/>
                </a:cxn>
                <a:cxn ang="0">
                  <a:pos x="T4" y="T5"/>
                </a:cxn>
                <a:cxn ang="0">
                  <a:pos x="T6" y="T7"/>
                </a:cxn>
                <a:cxn ang="0">
                  <a:pos x="T8" y="T9"/>
                </a:cxn>
              </a:cxnLst>
              <a:rect l="0" t="0" r="r" b="b"/>
              <a:pathLst>
                <a:path w="30" h="1">
                  <a:moveTo>
                    <a:pt x="0" y="0"/>
                  </a:moveTo>
                  <a:lnTo>
                    <a:pt x="0" y="0"/>
                  </a:lnTo>
                  <a:lnTo>
                    <a:pt x="29" y="0"/>
                  </a:ln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15" name="Freeform 393">
              <a:extLst>
                <a:ext uri="{FF2B5EF4-FFF2-40B4-BE49-F238E27FC236}">
                  <a16:creationId xmlns:a16="http://schemas.microsoft.com/office/drawing/2014/main" id="{DB25F1FD-DEDF-45AA-885B-815B0E671E6E}"/>
                </a:ext>
              </a:extLst>
            </p:cNvPr>
            <p:cNvSpPr>
              <a:spLocks noChangeArrowheads="1"/>
            </p:cNvSpPr>
            <p:nvPr/>
          </p:nvSpPr>
          <p:spPr bwMode="auto">
            <a:xfrm>
              <a:off x="7544357" y="5256363"/>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16" name="Freeform 394">
              <a:extLst>
                <a:ext uri="{FF2B5EF4-FFF2-40B4-BE49-F238E27FC236}">
                  <a16:creationId xmlns:a16="http://schemas.microsoft.com/office/drawing/2014/main" id="{C5BFE06A-FCBC-43E9-A257-FC7D03B069EE}"/>
                </a:ext>
              </a:extLst>
            </p:cNvPr>
            <p:cNvSpPr>
              <a:spLocks noChangeArrowheads="1"/>
            </p:cNvSpPr>
            <p:nvPr/>
          </p:nvSpPr>
          <p:spPr bwMode="auto">
            <a:xfrm>
              <a:off x="7490538" y="5298439"/>
              <a:ext cx="22832" cy="53405"/>
            </a:xfrm>
            <a:custGeom>
              <a:avLst/>
              <a:gdLst>
                <a:gd name="T0" fmla="*/ 0 w 60"/>
                <a:gd name="T1" fmla="*/ 145 h 146"/>
                <a:gd name="T2" fmla="*/ 0 w 60"/>
                <a:gd name="T3" fmla="*/ 145 h 146"/>
                <a:gd name="T4" fmla="*/ 59 w 60"/>
                <a:gd name="T5" fmla="*/ 58 h 146"/>
                <a:gd name="T6" fmla="*/ 59 w 60"/>
                <a:gd name="T7" fmla="*/ 0 h 146"/>
                <a:gd name="T8" fmla="*/ 59 w 60"/>
                <a:gd name="T9" fmla="*/ 58 h 146"/>
                <a:gd name="T10" fmla="*/ 0 w 60"/>
                <a:gd name="T11" fmla="*/ 145 h 146"/>
              </a:gdLst>
              <a:ahLst/>
              <a:cxnLst>
                <a:cxn ang="0">
                  <a:pos x="T0" y="T1"/>
                </a:cxn>
                <a:cxn ang="0">
                  <a:pos x="T2" y="T3"/>
                </a:cxn>
                <a:cxn ang="0">
                  <a:pos x="T4" y="T5"/>
                </a:cxn>
                <a:cxn ang="0">
                  <a:pos x="T6" y="T7"/>
                </a:cxn>
                <a:cxn ang="0">
                  <a:pos x="T8" y="T9"/>
                </a:cxn>
                <a:cxn ang="0">
                  <a:pos x="T10" y="T11"/>
                </a:cxn>
              </a:cxnLst>
              <a:rect l="0" t="0" r="r" b="b"/>
              <a:pathLst>
                <a:path w="60" h="146">
                  <a:moveTo>
                    <a:pt x="0" y="145"/>
                  </a:moveTo>
                  <a:lnTo>
                    <a:pt x="0" y="145"/>
                  </a:lnTo>
                  <a:cubicBezTo>
                    <a:pt x="30" y="116"/>
                    <a:pt x="30" y="86"/>
                    <a:pt x="59" y="58"/>
                  </a:cubicBezTo>
                  <a:cubicBezTo>
                    <a:pt x="59" y="29"/>
                    <a:pt x="59" y="0"/>
                    <a:pt x="59" y="0"/>
                  </a:cubicBezTo>
                  <a:cubicBezTo>
                    <a:pt x="59" y="0"/>
                    <a:pt x="59" y="29"/>
                    <a:pt x="59" y="58"/>
                  </a:cubicBezTo>
                  <a:cubicBezTo>
                    <a:pt x="30" y="86"/>
                    <a:pt x="30" y="116"/>
                    <a:pt x="0" y="14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17" name="Freeform 395">
              <a:extLst>
                <a:ext uri="{FF2B5EF4-FFF2-40B4-BE49-F238E27FC236}">
                  <a16:creationId xmlns:a16="http://schemas.microsoft.com/office/drawing/2014/main" id="{1680F039-2F85-4234-A03C-0FA4868FC9C3}"/>
                </a:ext>
              </a:extLst>
            </p:cNvPr>
            <p:cNvSpPr>
              <a:spLocks noChangeArrowheads="1"/>
            </p:cNvSpPr>
            <p:nvPr/>
          </p:nvSpPr>
          <p:spPr bwMode="auto">
            <a:xfrm>
              <a:off x="7576974" y="5233706"/>
              <a:ext cx="11415" cy="11329"/>
            </a:xfrm>
            <a:custGeom>
              <a:avLst/>
              <a:gdLst>
                <a:gd name="T0" fmla="*/ 30 w 31"/>
                <a:gd name="T1" fmla="*/ 29 h 30"/>
                <a:gd name="T2" fmla="*/ 30 w 31"/>
                <a:gd name="T3" fmla="*/ 29 h 30"/>
                <a:gd name="T4" fmla="*/ 30 w 31"/>
                <a:gd name="T5" fmla="*/ 0 h 30"/>
                <a:gd name="T6" fmla="*/ 0 w 31"/>
                <a:gd name="T7" fmla="*/ 0 h 30"/>
                <a:gd name="T8" fmla="*/ 30 w 31"/>
                <a:gd name="T9" fmla="*/ 0 h 30"/>
                <a:gd name="T10" fmla="*/ 30 w 31"/>
                <a:gd name="T11" fmla="*/ 29 h 30"/>
              </a:gdLst>
              <a:ahLst/>
              <a:cxnLst>
                <a:cxn ang="0">
                  <a:pos x="T0" y="T1"/>
                </a:cxn>
                <a:cxn ang="0">
                  <a:pos x="T2" y="T3"/>
                </a:cxn>
                <a:cxn ang="0">
                  <a:pos x="T4" y="T5"/>
                </a:cxn>
                <a:cxn ang="0">
                  <a:pos x="T6" y="T7"/>
                </a:cxn>
                <a:cxn ang="0">
                  <a:pos x="T8" y="T9"/>
                </a:cxn>
                <a:cxn ang="0">
                  <a:pos x="T10" y="T11"/>
                </a:cxn>
              </a:cxnLst>
              <a:rect l="0" t="0" r="r" b="b"/>
              <a:pathLst>
                <a:path w="31" h="30">
                  <a:moveTo>
                    <a:pt x="30" y="29"/>
                  </a:moveTo>
                  <a:lnTo>
                    <a:pt x="30" y="29"/>
                  </a:lnTo>
                  <a:lnTo>
                    <a:pt x="30" y="0"/>
                  </a:lnTo>
                  <a:lnTo>
                    <a:pt x="0" y="0"/>
                  </a:lnTo>
                  <a:lnTo>
                    <a:pt x="30" y="0"/>
                  </a:lnTo>
                  <a:lnTo>
                    <a:pt x="3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18" name="Freeform 396">
              <a:extLst>
                <a:ext uri="{FF2B5EF4-FFF2-40B4-BE49-F238E27FC236}">
                  <a16:creationId xmlns:a16="http://schemas.microsoft.com/office/drawing/2014/main" id="{2B247BA3-A043-4CAF-8E56-A817F1848E24}"/>
                </a:ext>
              </a:extLst>
            </p:cNvPr>
            <p:cNvSpPr>
              <a:spLocks noChangeArrowheads="1"/>
            </p:cNvSpPr>
            <p:nvPr/>
          </p:nvSpPr>
          <p:spPr bwMode="auto">
            <a:xfrm>
              <a:off x="7555772" y="5266073"/>
              <a:ext cx="11416" cy="21039"/>
            </a:xfrm>
            <a:custGeom>
              <a:avLst/>
              <a:gdLst>
                <a:gd name="T0" fmla="*/ 0 w 29"/>
                <a:gd name="T1" fmla="*/ 0 h 59"/>
                <a:gd name="T2" fmla="*/ 0 w 29"/>
                <a:gd name="T3" fmla="*/ 0 h 59"/>
                <a:gd name="T4" fmla="*/ 0 w 29"/>
                <a:gd name="T5" fmla="*/ 29 h 59"/>
                <a:gd name="T6" fmla="*/ 28 w 29"/>
                <a:gd name="T7" fmla="*/ 29 h 59"/>
                <a:gd name="T8" fmla="*/ 0 w 29"/>
                <a:gd name="T9" fmla="*/ 58 h 59"/>
                <a:gd name="T10" fmla="*/ 28 w 29"/>
                <a:gd name="T11" fmla="*/ 29 h 59"/>
                <a:gd name="T12" fmla="*/ 0 w 29"/>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29" h="59">
                  <a:moveTo>
                    <a:pt x="0" y="0"/>
                  </a:moveTo>
                  <a:lnTo>
                    <a:pt x="0" y="0"/>
                  </a:lnTo>
                  <a:cubicBezTo>
                    <a:pt x="0" y="29"/>
                    <a:pt x="0" y="29"/>
                    <a:pt x="0" y="29"/>
                  </a:cubicBezTo>
                  <a:cubicBezTo>
                    <a:pt x="0" y="29"/>
                    <a:pt x="0" y="29"/>
                    <a:pt x="28" y="29"/>
                  </a:cubicBezTo>
                  <a:cubicBezTo>
                    <a:pt x="0" y="29"/>
                    <a:pt x="0" y="29"/>
                    <a:pt x="0" y="58"/>
                  </a:cubicBezTo>
                  <a:cubicBezTo>
                    <a:pt x="0" y="29"/>
                    <a:pt x="0" y="29"/>
                    <a:pt x="28" y="29"/>
                  </a:cubicBez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19" name="Freeform 397">
              <a:extLst>
                <a:ext uri="{FF2B5EF4-FFF2-40B4-BE49-F238E27FC236}">
                  <a16:creationId xmlns:a16="http://schemas.microsoft.com/office/drawing/2014/main" id="{EA6C631E-84CA-409E-B93E-5D76CADE04A2}"/>
                </a:ext>
              </a:extLst>
            </p:cNvPr>
            <p:cNvSpPr>
              <a:spLocks noChangeArrowheads="1"/>
            </p:cNvSpPr>
            <p:nvPr/>
          </p:nvSpPr>
          <p:spPr bwMode="auto">
            <a:xfrm>
              <a:off x="7544357" y="5287112"/>
              <a:ext cx="11415" cy="1618"/>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0" y="0"/>
                    <a:pt x="0" y="0"/>
                    <a:pt x="29"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0" name="Freeform 398">
              <a:extLst>
                <a:ext uri="{FF2B5EF4-FFF2-40B4-BE49-F238E27FC236}">
                  <a16:creationId xmlns:a16="http://schemas.microsoft.com/office/drawing/2014/main" id="{CA9369AE-A586-465B-9B46-FD305D2A9640}"/>
                </a:ext>
              </a:extLst>
            </p:cNvPr>
            <p:cNvSpPr>
              <a:spLocks noChangeArrowheads="1"/>
            </p:cNvSpPr>
            <p:nvPr/>
          </p:nvSpPr>
          <p:spPr bwMode="auto">
            <a:xfrm>
              <a:off x="7404104" y="5523386"/>
              <a:ext cx="11415" cy="11328"/>
            </a:xfrm>
            <a:custGeom>
              <a:avLst/>
              <a:gdLst>
                <a:gd name="T0" fmla="*/ 0 w 31"/>
                <a:gd name="T1" fmla="*/ 0 h 30"/>
                <a:gd name="T2" fmla="*/ 0 w 31"/>
                <a:gd name="T3" fmla="*/ 0 h 30"/>
                <a:gd name="T4" fmla="*/ 30 w 31"/>
                <a:gd name="T5" fmla="*/ 29 h 30"/>
                <a:gd name="T6" fmla="*/ 0 w 31"/>
                <a:gd name="T7" fmla="*/ 0 h 30"/>
              </a:gdLst>
              <a:ahLst/>
              <a:cxnLst>
                <a:cxn ang="0">
                  <a:pos x="T0" y="T1"/>
                </a:cxn>
                <a:cxn ang="0">
                  <a:pos x="T2" y="T3"/>
                </a:cxn>
                <a:cxn ang="0">
                  <a:pos x="T4" y="T5"/>
                </a:cxn>
                <a:cxn ang="0">
                  <a:pos x="T6" y="T7"/>
                </a:cxn>
              </a:cxnLst>
              <a:rect l="0" t="0" r="r" b="b"/>
              <a:pathLst>
                <a:path w="31" h="30">
                  <a:moveTo>
                    <a:pt x="0" y="0"/>
                  </a:moveTo>
                  <a:lnTo>
                    <a:pt x="0" y="0"/>
                  </a:lnTo>
                  <a:lnTo>
                    <a:pt x="3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1" name="Freeform 399">
              <a:extLst>
                <a:ext uri="{FF2B5EF4-FFF2-40B4-BE49-F238E27FC236}">
                  <a16:creationId xmlns:a16="http://schemas.microsoft.com/office/drawing/2014/main" id="{08755607-0AFC-4F49-A031-41885B694976}"/>
                </a:ext>
              </a:extLst>
            </p:cNvPr>
            <p:cNvSpPr>
              <a:spLocks noChangeArrowheads="1"/>
            </p:cNvSpPr>
            <p:nvPr/>
          </p:nvSpPr>
          <p:spPr bwMode="auto">
            <a:xfrm>
              <a:off x="7878680" y="5052455"/>
              <a:ext cx="22832" cy="21039"/>
            </a:xfrm>
            <a:custGeom>
              <a:avLst/>
              <a:gdLst>
                <a:gd name="T0" fmla="*/ 30 w 60"/>
                <a:gd name="T1" fmla="*/ 29 h 59"/>
                <a:gd name="T2" fmla="*/ 30 w 60"/>
                <a:gd name="T3" fmla="*/ 29 h 59"/>
                <a:gd name="T4" fmla="*/ 0 w 60"/>
                <a:gd name="T5" fmla="*/ 0 h 59"/>
                <a:gd name="T6" fmla="*/ 30 w 60"/>
                <a:gd name="T7" fmla="*/ 29 h 59"/>
                <a:gd name="T8" fmla="*/ 59 w 60"/>
                <a:gd name="T9" fmla="*/ 58 h 59"/>
                <a:gd name="T10" fmla="*/ 59 w 60"/>
                <a:gd name="T11" fmla="*/ 58 h 59"/>
                <a:gd name="T12" fmla="*/ 59 w 60"/>
                <a:gd name="T13" fmla="*/ 58 h 59"/>
                <a:gd name="T14" fmla="*/ 59 w 60"/>
                <a:gd name="T15" fmla="*/ 58 h 59"/>
                <a:gd name="T16" fmla="*/ 30 w 60"/>
                <a:gd name="T17" fmla="*/ 2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59">
                  <a:moveTo>
                    <a:pt x="30" y="29"/>
                  </a:moveTo>
                  <a:lnTo>
                    <a:pt x="30" y="29"/>
                  </a:lnTo>
                  <a:lnTo>
                    <a:pt x="0" y="0"/>
                  </a:lnTo>
                  <a:lnTo>
                    <a:pt x="30" y="29"/>
                  </a:lnTo>
                  <a:cubicBezTo>
                    <a:pt x="59" y="58"/>
                    <a:pt x="59" y="58"/>
                    <a:pt x="59" y="58"/>
                  </a:cubicBezTo>
                  <a:lnTo>
                    <a:pt x="59" y="58"/>
                  </a:lnTo>
                  <a:lnTo>
                    <a:pt x="59" y="58"/>
                  </a:lnTo>
                  <a:lnTo>
                    <a:pt x="59" y="58"/>
                  </a:lnTo>
                  <a:lnTo>
                    <a:pt x="3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2" name="Freeform 400">
              <a:extLst>
                <a:ext uri="{FF2B5EF4-FFF2-40B4-BE49-F238E27FC236}">
                  <a16:creationId xmlns:a16="http://schemas.microsoft.com/office/drawing/2014/main" id="{B92C5BD9-5441-48ED-8BCE-1102B24A6368}"/>
                </a:ext>
              </a:extLst>
            </p:cNvPr>
            <p:cNvSpPr>
              <a:spLocks noChangeArrowheads="1"/>
            </p:cNvSpPr>
            <p:nvPr/>
          </p:nvSpPr>
          <p:spPr bwMode="auto">
            <a:xfrm>
              <a:off x="7857479" y="5115570"/>
              <a:ext cx="11415" cy="22656"/>
            </a:xfrm>
            <a:custGeom>
              <a:avLst/>
              <a:gdLst>
                <a:gd name="T0" fmla="*/ 0 w 30"/>
                <a:gd name="T1" fmla="*/ 59 h 60"/>
                <a:gd name="T2" fmla="*/ 0 w 30"/>
                <a:gd name="T3" fmla="*/ 59 h 60"/>
                <a:gd name="T4" fmla="*/ 0 w 30"/>
                <a:gd name="T5" fmla="*/ 59 h 60"/>
                <a:gd name="T6" fmla="*/ 0 w 30"/>
                <a:gd name="T7" fmla="*/ 59 h 60"/>
                <a:gd name="T8" fmla="*/ 0 w 30"/>
                <a:gd name="T9" fmla="*/ 59 h 60"/>
                <a:gd name="T10" fmla="*/ 29 w 30"/>
                <a:gd name="T11" fmla="*/ 0 h 60"/>
                <a:gd name="T12" fmla="*/ 0 w 30"/>
                <a:gd name="T13" fmla="*/ 30 h 60"/>
                <a:gd name="T14" fmla="*/ 0 w 30"/>
                <a:gd name="T15" fmla="*/ 59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60">
                  <a:moveTo>
                    <a:pt x="0" y="59"/>
                  </a:moveTo>
                  <a:lnTo>
                    <a:pt x="0" y="59"/>
                  </a:lnTo>
                  <a:lnTo>
                    <a:pt x="0" y="59"/>
                  </a:lnTo>
                  <a:lnTo>
                    <a:pt x="0" y="59"/>
                  </a:lnTo>
                  <a:lnTo>
                    <a:pt x="0" y="59"/>
                  </a:lnTo>
                  <a:cubicBezTo>
                    <a:pt x="0" y="59"/>
                    <a:pt x="29" y="30"/>
                    <a:pt x="29" y="0"/>
                  </a:cubicBezTo>
                  <a:cubicBezTo>
                    <a:pt x="29" y="30"/>
                    <a:pt x="0" y="30"/>
                    <a:pt x="0" y="30"/>
                  </a:cubicBezTo>
                  <a:cubicBezTo>
                    <a:pt x="0" y="59"/>
                    <a:pt x="0" y="59"/>
                    <a:pt x="0"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3" name="Freeform 401">
              <a:extLst>
                <a:ext uri="{FF2B5EF4-FFF2-40B4-BE49-F238E27FC236}">
                  <a16:creationId xmlns:a16="http://schemas.microsoft.com/office/drawing/2014/main" id="{87736600-C36A-4D08-8EAA-9D65658B9B95}"/>
                </a:ext>
              </a:extLst>
            </p:cNvPr>
            <p:cNvSpPr>
              <a:spLocks noChangeArrowheads="1"/>
            </p:cNvSpPr>
            <p:nvPr/>
          </p:nvSpPr>
          <p:spPr bwMode="auto">
            <a:xfrm>
              <a:off x="7867264" y="5073493"/>
              <a:ext cx="32617" cy="21038"/>
            </a:xfrm>
            <a:custGeom>
              <a:avLst/>
              <a:gdLst>
                <a:gd name="T0" fmla="*/ 29 w 89"/>
                <a:gd name="T1" fmla="*/ 29 h 59"/>
                <a:gd name="T2" fmla="*/ 29 w 89"/>
                <a:gd name="T3" fmla="*/ 29 h 59"/>
                <a:gd name="T4" fmla="*/ 0 w 89"/>
                <a:gd name="T5" fmla="*/ 58 h 59"/>
                <a:gd name="T6" fmla="*/ 0 w 89"/>
                <a:gd name="T7" fmla="*/ 58 h 59"/>
                <a:gd name="T8" fmla="*/ 29 w 89"/>
                <a:gd name="T9" fmla="*/ 29 h 59"/>
                <a:gd name="T10" fmla="*/ 88 w 89"/>
                <a:gd name="T11" fmla="*/ 0 h 59"/>
                <a:gd name="T12" fmla="*/ 88 w 89"/>
                <a:gd name="T13" fmla="*/ 0 h 59"/>
                <a:gd name="T14" fmla="*/ 29 w 89"/>
                <a:gd name="T15" fmla="*/ 2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59">
                  <a:moveTo>
                    <a:pt x="29" y="29"/>
                  </a:moveTo>
                  <a:lnTo>
                    <a:pt x="29" y="29"/>
                  </a:lnTo>
                  <a:cubicBezTo>
                    <a:pt x="0" y="58"/>
                    <a:pt x="0" y="58"/>
                    <a:pt x="0" y="58"/>
                  </a:cubicBezTo>
                  <a:lnTo>
                    <a:pt x="0" y="58"/>
                  </a:lnTo>
                  <a:cubicBezTo>
                    <a:pt x="29" y="29"/>
                    <a:pt x="29" y="29"/>
                    <a:pt x="29" y="29"/>
                  </a:cubicBezTo>
                  <a:cubicBezTo>
                    <a:pt x="29" y="0"/>
                    <a:pt x="59" y="0"/>
                    <a:pt x="88" y="0"/>
                  </a:cubicBezTo>
                  <a:lnTo>
                    <a:pt x="88" y="0"/>
                  </a:lnTo>
                  <a:cubicBezTo>
                    <a:pt x="59" y="0"/>
                    <a:pt x="29" y="0"/>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4" name="Freeform 402">
              <a:extLst>
                <a:ext uri="{FF2B5EF4-FFF2-40B4-BE49-F238E27FC236}">
                  <a16:creationId xmlns:a16="http://schemas.microsoft.com/office/drawing/2014/main" id="{2CB478DD-4A15-448E-8C3A-C565719318C0}"/>
                </a:ext>
              </a:extLst>
            </p:cNvPr>
            <p:cNvSpPr>
              <a:spLocks noChangeArrowheads="1"/>
            </p:cNvSpPr>
            <p:nvPr/>
          </p:nvSpPr>
          <p:spPr bwMode="auto">
            <a:xfrm>
              <a:off x="7415520" y="5491020"/>
              <a:ext cx="11416" cy="11328"/>
            </a:xfrm>
            <a:custGeom>
              <a:avLst/>
              <a:gdLst>
                <a:gd name="T0" fmla="*/ 29 w 30"/>
                <a:gd name="T1" fmla="*/ 29 h 30"/>
                <a:gd name="T2" fmla="*/ 0 w 30"/>
                <a:gd name="T3" fmla="*/ 0 h 30"/>
                <a:gd name="T4" fmla="*/ 29 w 30"/>
                <a:gd name="T5" fmla="*/ 29 h 30"/>
                <a:gd name="T6" fmla="*/ 29 w 30"/>
                <a:gd name="T7" fmla="*/ 0 h 30"/>
                <a:gd name="T8" fmla="*/ 29 w 30"/>
                <a:gd name="T9" fmla="*/ 29 h 30"/>
              </a:gdLst>
              <a:ahLst/>
              <a:cxnLst>
                <a:cxn ang="0">
                  <a:pos x="T0" y="T1"/>
                </a:cxn>
                <a:cxn ang="0">
                  <a:pos x="T2" y="T3"/>
                </a:cxn>
                <a:cxn ang="0">
                  <a:pos x="T4" y="T5"/>
                </a:cxn>
                <a:cxn ang="0">
                  <a:pos x="T6" y="T7"/>
                </a:cxn>
                <a:cxn ang="0">
                  <a:pos x="T8" y="T9"/>
                </a:cxn>
              </a:cxnLst>
              <a:rect l="0" t="0" r="r" b="b"/>
              <a:pathLst>
                <a:path w="30" h="30">
                  <a:moveTo>
                    <a:pt x="29" y="29"/>
                  </a:moveTo>
                  <a:lnTo>
                    <a:pt x="0" y="0"/>
                  </a:lnTo>
                  <a:lnTo>
                    <a:pt x="29" y="29"/>
                  </a:lnTo>
                  <a:lnTo>
                    <a:pt x="29" y="0"/>
                  </a:lnTo>
                  <a:lnTo>
                    <a:pt x="2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5" name="Freeform 403">
              <a:extLst>
                <a:ext uri="{FF2B5EF4-FFF2-40B4-BE49-F238E27FC236}">
                  <a16:creationId xmlns:a16="http://schemas.microsoft.com/office/drawing/2014/main" id="{2546125A-8C63-4E82-8D18-7A830905E8FA}"/>
                </a:ext>
              </a:extLst>
            </p:cNvPr>
            <p:cNvSpPr>
              <a:spLocks noChangeArrowheads="1"/>
            </p:cNvSpPr>
            <p:nvPr/>
          </p:nvSpPr>
          <p:spPr bwMode="auto">
            <a:xfrm>
              <a:off x="7857479" y="5105860"/>
              <a:ext cx="21200" cy="11328"/>
            </a:xfrm>
            <a:custGeom>
              <a:avLst/>
              <a:gdLst>
                <a:gd name="T0" fmla="*/ 0 w 59"/>
                <a:gd name="T1" fmla="*/ 29 h 30"/>
                <a:gd name="T2" fmla="*/ 0 w 59"/>
                <a:gd name="T3" fmla="*/ 29 h 30"/>
                <a:gd name="T4" fmla="*/ 0 w 59"/>
                <a:gd name="T5" fmla="*/ 29 h 30"/>
                <a:gd name="T6" fmla="*/ 0 w 59"/>
                <a:gd name="T7" fmla="*/ 29 h 30"/>
                <a:gd name="T8" fmla="*/ 58 w 59"/>
                <a:gd name="T9" fmla="*/ 0 h 30"/>
                <a:gd name="T10" fmla="*/ 0 w 59"/>
                <a:gd name="T11" fmla="*/ 29 h 30"/>
              </a:gdLst>
              <a:ahLst/>
              <a:cxnLst>
                <a:cxn ang="0">
                  <a:pos x="T0" y="T1"/>
                </a:cxn>
                <a:cxn ang="0">
                  <a:pos x="T2" y="T3"/>
                </a:cxn>
                <a:cxn ang="0">
                  <a:pos x="T4" y="T5"/>
                </a:cxn>
                <a:cxn ang="0">
                  <a:pos x="T6" y="T7"/>
                </a:cxn>
                <a:cxn ang="0">
                  <a:pos x="T8" y="T9"/>
                </a:cxn>
                <a:cxn ang="0">
                  <a:pos x="T10" y="T11"/>
                </a:cxn>
              </a:cxnLst>
              <a:rect l="0" t="0" r="r" b="b"/>
              <a:pathLst>
                <a:path w="59" h="30">
                  <a:moveTo>
                    <a:pt x="0" y="29"/>
                  </a:moveTo>
                  <a:lnTo>
                    <a:pt x="0" y="29"/>
                  </a:lnTo>
                  <a:lnTo>
                    <a:pt x="0" y="29"/>
                  </a:lnTo>
                  <a:lnTo>
                    <a:pt x="0" y="29"/>
                  </a:lnTo>
                  <a:cubicBezTo>
                    <a:pt x="0" y="0"/>
                    <a:pt x="29" y="0"/>
                    <a:pt x="58" y="0"/>
                  </a:cubicBezTo>
                  <a:cubicBezTo>
                    <a:pt x="29" y="0"/>
                    <a:pt x="0"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6" name="Freeform 404">
              <a:extLst>
                <a:ext uri="{FF2B5EF4-FFF2-40B4-BE49-F238E27FC236}">
                  <a16:creationId xmlns:a16="http://schemas.microsoft.com/office/drawing/2014/main" id="{70F8E5D1-5280-45F1-A680-9FD29A666D4C}"/>
                </a:ext>
              </a:extLst>
            </p:cNvPr>
            <p:cNvSpPr>
              <a:spLocks noChangeArrowheads="1"/>
            </p:cNvSpPr>
            <p:nvPr/>
          </p:nvSpPr>
          <p:spPr bwMode="auto">
            <a:xfrm>
              <a:off x="7834647" y="5041127"/>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7" name="Freeform 405">
              <a:extLst>
                <a:ext uri="{FF2B5EF4-FFF2-40B4-BE49-F238E27FC236}">
                  <a16:creationId xmlns:a16="http://schemas.microsoft.com/office/drawing/2014/main" id="{3A0AEEDE-07CC-4B85-8DFF-27EE68ABABA3}"/>
                </a:ext>
              </a:extLst>
            </p:cNvPr>
            <p:cNvSpPr>
              <a:spLocks noChangeArrowheads="1"/>
            </p:cNvSpPr>
            <p:nvPr/>
          </p:nvSpPr>
          <p:spPr bwMode="auto">
            <a:xfrm>
              <a:off x="8018932" y="5052455"/>
              <a:ext cx="11416" cy="1619"/>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0" y="0"/>
                    <a:pt x="0" y="0"/>
                    <a:pt x="29"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8" name="Freeform 406">
              <a:extLst>
                <a:ext uri="{FF2B5EF4-FFF2-40B4-BE49-F238E27FC236}">
                  <a16:creationId xmlns:a16="http://schemas.microsoft.com/office/drawing/2014/main" id="{EF87B63D-E69D-40EF-A3E3-FAB3F78A812C}"/>
                </a:ext>
              </a:extLst>
            </p:cNvPr>
            <p:cNvSpPr>
              <a:spLocks noChangeArrowheads="1"/>
            </p:cNvSpPr>
            <p:nvPr/>
          </p:nvSpPr>
          <p:spPr bwMode="auto">
            <a:xfrm>
              <a:off x="4210909" y="3778837"/>
              <a:ext cx="1630" cy="11328"/>
            </a:xfrm>
            <a:custGeom>
              <a:avLst/>
              <a:gdLst>
                <a:gd name="T0" fmla="*/ 0 w 1"/>
                <a:gd name="T1" fmla="*/ 0 h 30"/>
                <a:gd name="T2" fmla="*/ 0 w 1"/>
                <a:gd name="T3" fmla="*/ 0 h 30"/>
                <a:gd name="T4" fmla="*/ 0 w 1"/>
                <a:gd name="T5" fmla="*/ 29 h 30"/>
                <a:gd name="T6" fmla="*/ 0 w 1"/>
                <a:gd name="T7" fmla="*/ 29 h 30"/>
                <a:gd name="T8" fmla="*/ 0 w 1"/>
                <a:gd name="T9" fmla="*/ 0 h 30"/>
              </a:gdLst>
              <a:ahLst/>
              <a:cxnLst>
                <a:cxn ang="0">
                  <a:pos x="T0" y="T1"/>
                </a:cxn>
                <a:cxn ang="0">
                  <a:pos x="T2" y="T3"/>
                </a:cxn>
                <a:cxn ang="0">
                  <a:pos x="T4" y="T5"/>
                </a:cxn>
                <a:cxn ang="0">
                  <a:pos x="T6" y="T7"/>
                </a:cxn>
                <a:cxn ang="0">
                  <a:pos x="T8" y="T9"/>
                </a:cxn>
              </a:cxnLst>
              <a:rect l="0" t="0" r="r" b="b"/>
              <a:pathLst>
                <a:path w="1" h="30">
                  <a:moveTo>
                    <a:pt x="0" y="0"/>
                  </a:moveTo>
                  <a:lnTo>
                    <a:pt x="0" y="0"/>
                  </a:lnTo>
                  <a:cubicBezTo>
                    <a:pt x="0" y="0"/>
                    <a:pt x="0" y="0"/>
                    <a:pt x="0" y="29"/>
                  </a:cubicBezTo>
                  <a:lnTo>
                    <a:pt x="0" y="29"/>
                  </a:ln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9" name="Freeform 407">
              <a:extLst>
                <a:ext uri="{FF2B5EF4-FFF2-40B4-BE49-F238E27FC236}">
                  <a16:creationId xmlns:a16="http://schemas.microsoft.com/office/drawing/2014/main" id="{195F080D-2F76-4CBA-B4F2-ED5E3A170D09}"/>
                </a:ext>
              </a:extLst>
            </p:cNvPr>
            <p:cNvSpPr>
              <a:spLocks noChangeArrowheads="1"/>
            </p:cNvSpPr>
            <p:nvPr/>
          </p:nvSpPr>
          <p:spPr bwMode="auto">
            <a:xfrm>
              <a:off x="7425305" y="5351844"/>
              <a:ext cx="21202" cy="11328"/>
            </a:xfrm>
            <a:custGeom>
              <a:avLst/>
              <a:gdLst>
                <a:gd name="T0" fmla="*/ 57 w 58"/>
                <a:gd name="T1" fmla="*/ 0 h 30"/>
                <a:gd name="T2" fmla="*/ 57 w 58"/>
                <a:gd name="T3" fmla="*/ 0 h 30"/>
                <a:gd name="T4" fmla="*/ 57 w 58"/>
                <a:gd name="T5" fmla="*/ 0 h 30"/>
                <a:gd name="T6" fmla="*/ 0 w 58"/>
                <a:gd name="T7" fmla="*/ 29 h 30"/>
                <a:gd name="T8" fmla="*/ 0 w 58"/>
                <a:gd name="T9" fmla="*/ 29 h 30"/>
                <a:gd name="T10" fmla="*/ 0 w 58"/>
                <a:gd name="T11" fmla="*/ 29 h 30"/>
                <a:gd name="T12" fmla="*/ 57 w 58"/>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58" h="30">
                  <a:moveTo>
                    <a:pt x="57" y="0"/>
                  </a:moveTo>
                  <a:lnTo>
                    <a:pt x="57" y="0"/>
                  </a:lnTo>
                  <a:lnTo>
                    <a:pt x="57" y="0"/>
                  </a:lnTo>
                  <a:cubicBezTo>
                    <a:pt x="57" y="0"/>
                    <a:pt x="28" y="29"/>
                    <a:pt x="0" y="29"/>
                  </a:cubicBezTo>
                  <a:lnTo>
                    <a:pt x="0" y="29"/>
                  </a:lnTo>
                  <a:lnTo>
                    <a:pt x="0" y="29"/>
                  </a:lnTo>
                  <a:cubicBezTo>
                    <a:pt x="28" y="29"/>
                    <a:pt x="57" y="0"/>
                    <a:pt x="5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30" name="Freeform 408">
              <a:extLst>
                <a:ext uri="{FF2B5EF4-FFF2-40B4-BE49-F238E27FC236}">
                  <a16:creationId xmlns:a16="http://schemas.microsoft.com/office/drawing/2014/main" id="{537C6C18-3E79-4811-A452-66B2574EF49B}"/>
                </a:ext>
              </a:extLst>
            </p:cNvPr>
            <p:cNvSpPr>
              <a:spLocks noChangeArrowheads="1"/>
            </p:cNvSpPr>
            <p:nvPr/>
          </p:nvSpPr>
          <p:spPr bwMode="auto">
            <a:xfrm>
              <a:off x="7878680" y="5020088"/>
              <a:ext cx="11416" cy="1619"/>
            </a:xfrm>
            <a:custGeom>
              <a:avLst/>
              <a:gdLst>
                <a:gd name="T0" fmla="*/ 30 w 31"/>
                <a:gd name="T1" fmla="*/ 0 h 1"/>
                <a:gd name="T2" fmla="*/ 30 w 31"/>
                <a:gd name="T3" fmla="*/ 0 h 1"/>
                <a:gd name="T4" fmla="*/ 0 w 31"/>
                <a:gd name="T5" fmla="*/ 0 h 1"/>
                <a:gd name="T6" fmla="*/ 30 w 31"/>
                <a:gd name="T7" fmla="*/ 0 h 1"/>
              </a:gdLst>
              <a:ahLst/>
              <a:cxnLst>
                <a:cxn ang="0">
                  <a:pos x="T0" y="T1"/>
                </a:cxn>
                <a:cxn ang="0">
                  <a:pos x="T2" y="T3"/>
                </a:cxn>
                <a:cxn ang="0">
                  <a:pos x="T4" y="T5"/>
                </a:cxn>
                <a:cxn ang="0">
                  <a:pos x="T6" y="T7"/>
                </a:cxn>
              </a:cxnLst>
              <a:rect l="0" t="0" r="r" b="b"/>
              <a:pathLst>
                <a:path w="31" h="1">
                  <a:moveTo>
                    <a:pt x="30" y="0"/>
                  </a:moveTo>
                  <a:lnTo>
                    <a:pt x="30" y="0"/>
                  </a:lnTo>
                  <a:cubicBezTo>
                    <a:pt x="0" y="0"/>
                    <a:pt x="0" y="0"/>
                    <a:pt x="0" y="0"/>
                  </a:cubicBezTo>
                  <a:cubicBezTo>
                    <a:pt x="0" y="0"/>
                    <a:pt x="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31" name="Freeform 409">
              <a:extLst>
                <a:ext uri="{FF2B5EF4-FFF2-40B4-BE49-F238E27FC236}">
                  <a16:creationId xmlns:a16="http://schemas.microsoft.com/office/drawing/2014/main" id="{FA4D7B34-BFC5-46A8-8098-5FB660E719F2}"/>
                </a:ext>
              </a:extLst>
            </p:cNvPr>
            <p:cNvSpPr>
              <a:spLocks noChangeArrowheads="1"/>
            </p:cNvSpPr>
            <p:nvPr/>
          </p:nvSpPr>
          <p:spPr bwMode="auto">
            <a:xfrm>
              <a:off x="7846063" y="5094531"/>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32" name="Freeform 410">
              <a:extLst>
                <a:ext uri="{FF2B5EF4-FFF2-40B4-BE49-F238E27FC236}">
                  <a16:creationId xmlns:a16="http://schemas.microsoft.com/office/drawing/2014/main" id="{91A87314-50B1-4A99-BEA8-C2924FCB8C70}"/>
                </a:ext>
              </a:extLst>
            </p:cNvPr>
            <p:cNvSpPr>
              <a:spLocks noChangeArrowheads="1"/>
            </p:cNvSpPr>
            <p:nvPr/>
          </p:nvSpPr>
          <p:spPr bwMode="auto">
            <a:xfrm>
              <a:off x="7857479" y="5105860"/>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33" name="Freeform 411">
              <a:extLst>
                <a:ext uri="{FF2B5EF4-FFF2-40B4-BE49-F238E27FC236}">
                  <a16:creationId xmlns:a16="http://schemas.microsoft.com/office/drawing/2014/main" id="{83DA780E-55AE-46CC-85D0-52DEAC628220}"/>
                </a:ext>
              </a:extLst>
            </p:cNvPr>
            <p:cNvSpPr>
              <a:spLocks noChangeArrowheads="1"/>
            </p:cNvSpPr>
            <p:nvPr/>
          </p:nvSpPr>
          <p:spPr bwMode="auto">
            <a:xfrm>
              <a:off x="7425305" y="5363172"/>
              <a:ext cx="44033" cy="85771"/>
            </a:xfrm>
            <a:custGeom>
              <a:avLst/>
              <a:gdLst>
                <a:gd name="T0" fmla="*/ 57 w 117"/>
                <a:gd name="T1" fmla="*/ 234 h 235"/>
                <a:gd name="T2" fmla="*/ 57 w 117"/>
                <a:gd name="T3" fmla="*/ 234 h 235"/>
                <a:gd name="T4" fmla="*/ 57 w 117"/>
                <a:gd name="T5" fmla="*/ 205 h 235"/>
                <a:gd name="T6" fmla="*/ 57 w 117"/>
                <a:gd name="T7" fmla="*/ 29 h 235"/>
                <a:gd name="T8" fmla="*/ 57 w 117"/>
                <a:gd name="T9" fmla="*/ 29 h 235"/>
                <a:gd name="T10" fmla="*/ 57 w 117"/>
                <a:gd name="T11" fmla="*/ 29 h 235"/>
                <a:gd name="T12" fmla="*/ 0 w 117"/>
                <a:gd name="T13" fmla="*/ 0 h 235"/>
                <a:gd name="T14" fmla="*/ 0 w 117"/>
                <a:gd name="T15" fmla="*/ 0 h 235"/>
                <a:gd name="T16" fmla="*/ 0 w 117"/>
                <a:gd name="T17" fmla="*/ 0 h 235"/>
                <a:gd name="T18" fmla="*/ 57 w 117"/>
                <a:gd name="T19" fmla="*/ 29 h 235"/>
                <a:gd name="T20" fmla="*/ 57 w 117"/>
                <a:gd name="T21" fmla="*/ 29 h 235"/>
                <a:gd name="T22" fmla="*/ 57 w 117"/>
                <a:gd name="T23" fmla="*/ 29 h 235"/>
                <a:gd name="T24" fmla="*/ 57 w 117"/>
                <a:gd name="T25" fmla="*/ 205 h 235"/>
                <a:gd name="T26" fmla="*/ 57 w 117"/>
                <a:gd name="T27" fmla="*/ 23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235">
                  <a:moveTo>
                    <a:pt x="57" y="234"/>
                  </a:moveTo>
                  <a:lnTo>
                    <a:pt x="57" y="234"/>
                  </a:lnTo>
                  <a:cubicBezTo>
                    <a:pt x="57" y="205"/>
                    <a:pt x="57" y="205"/>
                    <a:pt x="57" y="205"/>
                  </a:cubicBezTo>
                  <a:cubicBezTo>
                    <a:pt x="87" y="146"/>
                    <a:pt x="116" y="88"/>
                    <a:pt x="57" y="29"/>
                  </a:cubicBezTo>
                  <a:lnTo>
                    <a:pt x="57" y="29"/>
                  </a:lnTo>
                  <a:lnTo>
                    <a:pt x="57" y="29"/>
                  </a:lnTo>
                  <a:cubicBezTo>
                    <a:pt x="28" y="0"/>
                    <a:pt x="28" y="0"/>
                    <a:pt x="0" y="0"/>
                  </a:cubicBezTo>
                  <a:lnTo>
                    <a:pt x="0" y="0"/>
                  </a:lnTo>
                  <a:lnTo>
                    <a:pt x="0" y="0"/>
                  </a:lnTo>
                  <a:cubicBezTo>
                    <a:pt x="28" y="0"/>
                    <a:pt x="28" y="0"/>
                    <a:pt x="57" y="29"/>
                  </a:cubicBezTo>
                  <a:lnTo>
                    <a:pt x="57" y="29"/>
                  </a:lnTo>
                  <a:lnTo>
                    <a:pt x="57" y="29"/>
                  </a:lnTo>
                  <a:cubicBezTo>
                    <a:pt x="116" y="88"/>
                    <a:pt x="87" y="146"/>
                    <a:pt x="57" y="205"/>
                  </a:cubicBezTo>
                  <a:cubicBezTo>
                    <a:pt x="57" y="205"/>
                    <a:pt x="57" y="205"/>
                    <a:pt x="57" y="23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34" name="Freeform 412">
              <a:extLst>
                <a:ext uri="{FF2B5EF4-FFF2-40B4-BE49-F238E27FC236}">
                  <a16:creationId xmlns:a16="http://schemas.microsoft.com/office/drawing/2014/main" id="{14D4A753-E973-4D44-987A-2CA41122BCEE}"/>
                </a:ext>
              </a:extLst>
            </p:cNvPr>
            <p:cNvSpPr>
              <a:spLocks noChangeArrowheads="1"/>
            </p:cNvSpPr>
            <p:nvPr/>
          </p:nvSpPr>
          <p:spPr bwMode="auto">
            <a:xfrm>
              <a:off x="4297343" y="3853280"/>
              <a:ext cx="1631"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0"/>
                    <a:pt x="0" y="0"/>
                    <a:pt x="0" y="0"/>
                  </a:cubicBezTo>
                  <a:cubicBezTo>
                    <a:pt x="0" y="0"/>
                    <a:pt x="0"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35" name="Freeform 413">
              <a:extLst>
                <a:ext uri="{FF2B5EF4-FFF2-40B4-BE49-F238E27FC236}">
                  <a16:creationId xmlns:a16="http://schemas.microsoft.com/office/drawing/2014/main" id="{152BA6FB-A2BB-4E91-BAC2-F00AC299B712}"/>
                </a:ext>
              </a:extLst>
            </p:cNvPr>
            <p:cNvSpPr>
              <a:spLocks noChangeArrowheads="1"/>
            </p:cNvSpPr>
            <p:nvPr/>
          </p:nvSpPr>
          <p:spPr bwMode="auto">
            <a:xfrm>
              <a:off x="4329960" y="4045860"/>
              <a:ext cx="11416" cy="11329"/>
            </a:xfrm>
            <a:custGeom>
              <a:avLst/>
              <a:gdLst>
                <a:gd name="T0" fmla="*/ 29 w 30"/>
                <a:gd name="T1" fmla="*/ 0 h 31"/>
                <a:gd name="T2" fmla="*/ 29 w 30"/>
                <a:gd name="T3" fmla="*/ 0 h 31"/>
                <a:gd name="T4" fmla="*/ 29 w 30"/>
                <a:gd name="T5" fmla="*/ 0 h 31"/>
                <a:gd name="T6" fmla="*/ 0 w 30"/>
                <a:gd name="T7" fmla="*/ 30 h 31"/>
                <a:gd name="T8" fmla="*/ 0 w 30"/>
                <a:gd name="T9" fmla="*/ 30 h 31"/>
                <a:gd name="T10" fmla="*/ 29 w 30"/>
                <a:gd name="T11" fmla="*/ 0 h 31"/>
              </a:gdLst>
              <a:ahLst/>
              <a:cxnLst>
                <a:cxn ang="0">
                  <a:pos x="T0" y="T1"/>
                </a:cxn>
                <a:cxn ang="0">
                  <a:pos x="T2" y="T3"/>
                </a:cxn>
                <a:cxn ang="0">
                  <a:pos x="T4" y="T5"/>
                </a:cxn>
                <a:cxn ang="0">
                  <a:pos x="T6" y="T7"/>
                </a:cxn>
                <a:cxn ang="0">
                  <a:pos x="T8" y="T9"/>
                </a:cxn>
                <a:cxn ang="0">
                  <a:pos x="T10" y="T11"/>
                </a:cxn>
              </a:cxnLst>
              <a:rect l="0" t="0" r="r" b="b"/>
              <a:pathLst>
                <a:path w="30" h="31">
                  <a:moveTo>
                    <a:pt x="29" y="0"/>
                  </a:moveTo>
                  <a:lnTo>
                    <a:pt x="29" y="0"/>
                  </a:lnTo>
                  <a:lnTo>
                    <a:pt x="29" y="0"/>
                  </a:lnTo>
                  <a:cubicBezTo>
                    <a:pt x="29" y="0"/>
                    <a:pt x="0" y="0"/>
                    <a:pt x="0" y="30"/>
                  </a:cubicBezTo>
                  <a:lnTo>
                    <a:pt x="0" y="30"/>
                  </a:lnTo>
                  <a:cubicBezTo>
                    <a:pt x="0"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36" name="Freeform 414">
              <a:extLst>
                <a:ext uri="{FF2B5EF4-FFF2-40B4-BE49-F238E27FC236}">
                  <a16:creationId xmlns:a16="http://schemas.microsoft.com/office/drawing/2014/main" id="{80035F7E-E827-49FF-BA7C-A3521C9B9CC9}"/>
                </a:ext>
              </a:extLst>
            </p:cNvPr>
            <p:cNvSpPr>
              <a:spLocks noChangeArrowheads="1"/>
            </p:cNvSpPr>
            <p:nvPr/>
          </p:nvSpPr>
          <p:spPr bwMode="auto">
            <a:xfrm>
              <a:off x="4352792" y="3981127"/>
              <a:ext cx="11416" cy="1619"/>
            </a:xfrm>
            <a:custGeom>
              <a:avLst/>
              <a:gdLst>
                <a:gd name="T0" fmla="*/ 0 w 30"/>
                <a:gd name="T1" fmla="*/ 0 h 1"/>
                <a:gd name="T2" fmla="*/ 0 w 30"/>
                <a:gd name="T3" fmla="*/ 0 h 1"/>
                <a:gd name="T4" fmla="*/ 29 w 30"/>
                <a:gd name="T5" fmla="*/ 0 h 1"/>
                <a:gd name="T6" fmla="*/ 29 w 30"/>
                <a:gd name="T7" fmla="*/ 0 h 1"/>
                <a:gd name="T8" fmla="*/ 0 w 30"/>
                <a:gd name="T9" fmla="*/ 0 h 1"/>
              </a:gdLst>
              <a:ahLst/>
              <a:cxnLst>
                <a:cxn ang="0">
                  <a:pos x="T0" y="T1"/>
                </a:cxn>
                <a:cxn ang="0">
                  <a:pos x="T2" y="T3"/>
                </a:cxn>
                <a:cxn ang="0">
                  <a:pos x="T4" y="T5"/>
                </a:cxn>
                <a:cxn ang="0">
                  <a:pos x="T6" y="T7"/>
                </a:cxn>
                <a:cxn ang="0">
                  <a:pos x="T8" y="T9"/>
                </a:cxn>
              </a:cxnLst>
              <a:rect l="0" t="0" r="r" b="b"/>
              <a:pathLst>
                <a:path w="30" h="1">
                  <a:moveTo>
                    <a:pt x="0" y="0"/>
                  </a:moveTo>
                  <a:lnTo>
                    <a:pt x="0" y="0"/>
                  </a:lnTo>
                  <a:lnTo>
                    <a:pt x="29" y="0"/>
                  </a:ln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37" name="Freeform 415">
              <a:extLst>
                <a:ext uri="{FF2B5EF4-FFF2-40B4-BE49-F238E27FC236}">
                  <a16:creationId xmlns:a16="http://schemas.microsoft.com/office/drawing/2014/main" id="{28924AF0-8F82-4E0F-843D-A2445950EFA7}"/>
                </a:ext>
              </a:extLst>
            </p:cNvPr>
            <p:cNvSpPr>
              <a:spLocks noChangeArrowheads="1"/>
            </p:cNvSpPr>
            <p:nvPr/>
          </p:nvSpPr>
          <p:spPr bwMode="auto">
            <a:xfrm>
              <a:off x="4287558" y="3885646"/>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38" name="Freeform 416">
              <a:extLst>
                <a:ext uri="{FF2B5EF4-FFF2-40B4-BE49-F238E27FC236}">
                  <a16:creationId xmlns:a16="http://schemas.microsoft.com/office/drawing/2014/main" id="{95FD5100-0D48-4D81-8005-C07F0A0C7CF3}"/>
                </a:ext>
              </a:extLst>
            </p:cNvPr>
            <p:cNvSpPr>
              <a:spLocks noChangeArrowheads="1"/>
            </p:cNvSpPr>
            <p:nvPr/>
          </p:nvSpPr>
          <p:spPr bwMode="auto">
            <a:xfrm>
              <a:off x="4320175" y="4045860"/>
              <a:ext cx="1631" cy="11329"/>
            </a:xfrm>
            <a:custGeom>
              <a:avLst/>
              <a:gdLst>
                <a:gd name="T0" fmla="*/ 0 w 1"/>
                <a:gd name="T1" fmla="*/ 30 h 31"/>
                <a:gd name="T2" fmla="*/ 0 w 1"/>
                <a:gd name="T3" fmla="*/ 30 h 31"/>
                <a:gd name="T4" fmla="*/ 0 w 1"/>
                <a:gd name="T5" fmla="*/ 30 h 31"/>
                <a:gd name="T6" fmla="*/ 0 w 1"/>
                <a:gd name="T7" fmla="*/ 0 h 31"/>
                <a:gd name="T8" fmla="*/ 0 w 1"/>
                <a:gd name="T9" fmla="*/ 30 h 31"/>
              </a:gdLst>
              <a:ahLst/>
              <a:cxnLst>
                <a:cxn ang="0">
                  <a:pos x="T0" y="T1"/>
                </a:cxn>
                <a:cxn ang="0">
                  <a:pos x="T2" y="T3"/>
                </a:cxn>
                <a:cxn ang="0">
                  <a:pos x="T4" y="T5"/>
                </a:cxn>
                <a:cxn ang="0">
                  <a:pos x="T6" y="T7"/>
                </a:cxn>
                <a:cxn ang="0">
                  <a:pos x="T8" y="T9"/>
                </a:cxn>
              </a:cxnLst>
              <a:rect l="0" t="0" r="r" b="b"/>
              <a:pathLst>
                <a:path w="1" h="31">
                  <a:moveTo>
                    <a:pt x="0" y="30"/>
                  </a:moveTo>
                  <a:lnTo>
                    <a:pt x="0" y="30"/>
                  </a:lnTo>
                  <a:lnTo>
                    <a:pt x="0" y="30"/>
                  </a:lnTo>
                  <a:cubicBezTo>
                    <a:pt x="0" y="30"/>
                    <a:pt x="0" y="30"/>
                    <a:pt x="0" y="0"/>
                  </a:cubicBezTo>
                  <a:cubicBezTo>
                    <a:pt x="0" y="30"/>
                    <a:pt x="0" y="30"/>
                    <a:pt x="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39" name="Freeform 417">
              <a:extLst>
                <a:ext uri="{FF2B5EF4-FFF2-40B4-BE49-F238E27FC236}">
                  <a16:creationId xmlns:a16="http://schemas.microsoft.com/office/drawing/2014/main" id="{244519A5-B925-4047-BECB-6222B6C2AAAC}"/>
                </a:ext>
              </a:extLst>
            </p:cNvPr>
            <p:cNvSpPr>
              <a:spLocks noChangeArrowheads="1"/>
            </p:cNvSpPr>
            <p:nvPr/>
          </p:nvSpPr>
          <p:spPr bwMode="auto">
            <a:xfrm>
              <a:off x="7598174" y="5201340"/>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40" name="Freeform 418">
              <a:extLst>
                <a:ext uri="{FF2B5EF4-FFF2-40B4-BE49-F238E27FC236}">
                  <a16:creationId xmlns:a16="http://schemas.microsoft.com/office/drawing/2014/main" id="{DE498800-107E-4594-A1F4-DFFE20AA621D}"/>
                </a:ext>
              </a:extLst>
            </p:cNvPr>
            <p:cNvSpPr>
              <a:spLocks noChangeArrowheads="1"/>
            </p:cNvSpPr>
            <p:nvPr/>
          </p:nvSpPr>
          <p:spPr bwMode="auto">
            <a:xfrm>
              <a:off x="4329960" y="3939050"/>
              <a:ext cx="22832" cy="21039"/>
            </a:xfrm>
            <a:custGeom>
              <a:avLst/>
              <a:gdLst>
                <a:gd name="T0" fmla="*/ 0 w 60"/>
                <a:gd name="T1" fmla="*/ 29 h 59"/>
                <a:gd name="T2" fmla="*/ 0 w 60"/>
                <a:gd name="T3" fmla="*/ 29 h 59"/>
                <a:gd name="T4" fmla="*/ 0 w 60"/>
                <a:gd name="T5" fmla="*/ 0 h 59"/>
                <a:gd name="T6" fmla="*/ 0 w 60"/>
                <a:gd name="T7" fmla="*/ 29 h 59"/>
                <a:gd name="T8" fmla="*/ 29 w 60"/>
                <a:gd name="T9" fmla="*/ 58 h 59"/>
                <a:gd name="T10" fmla="*/ 59 w 60"/>
                <a:gd name="T11" fmla="*/ 58 h 59"/>
                <a:gd name="T12" fmla="*/ 29 w 60"/>
                <a:gd name="T13" fmla="*/ 58 h 59"/>
                <a:gd name="T14" fmla="*/ 0 w 60"/>
                <a:gd name="T15" fmla="*/ 2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9">
                  <a:moveTo>
                    <a:pt x="0" y="29"/>
                  </a:moveTo>
                  <a:lnTo>
                    <a:pt x="0" y="29"/>
                  </a:lnTo>
                  <a:cubicBezTo>
                    <a:pt x="0" y="0"/>
                    <a:pt x="0" y="0"/>
                    <a:pt x="0" y="0"/>
                  </a:cubicBezTo>
                  <a:cubicBezTo>
                    <a:pt x="0" y="0"/>
                    <a:pt x="0" y="0"/>
                    <a:pt x="0" y="29"/>
                  </a:cubicBezTo>
                  <a:cubicBezTo>
                    <a:pt x="29" y="29"/>
                    <a:pt x="29" y="29"/>
                    <a:pt x="29" y="58"/>
                  </a:cubicBezTo>
                  <a:cubicBezTo>
                    <a:pt x="59" y="58"/>
                    <a:pt x="59" y="58"/>
                    <a:pt x="59" y="58"/>
                  </a:cubicBezTo>
                  <a:cubicBezTo>
                    <a:pt x="59" y="58"/>
                    <a:pt x="59" y="58"/>
                    <a:pt x="29" y="58"/>
                  </a:cubicBezTo>
                  <a:cubicBezTo>
                    <a:pt x="29" y="29"/>
                    <a:pt x="29"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41" name="Freeform 419">
              <a:extLst>
                <a:ext uri="{FF2B5EF4-FFF2-40B4-BE49-F238E27FC236}">
                  <a16:creationId xmlns:a16="http://schemas.microsoft.com/office/drawing/2014/main" id="{E58E46BC-B277-41EA-8126-DFE8EA216378}"/>
                </a:ext>
              </a:extLst>
            </p:cNvPr>
            <p:cNvSpPr>
              <a:spLocks noChangeArrowheads="1"/>
            </p:cNvSpPr>
            <p:nvPr/>
          </p:nvSpPr>
          <p:spPr bwMode="auto">
            <a:xfrm>
              <a:off x="4362577" y="4057188"/>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42" name="Freeform 420">
              <a:extLst>
                <a:ext uri="{FF2B5EF4-FFF2-40B4-BE49-F238E27FC236}">
                  <a16:creationId xmlns:a16="http://schemas.microsoft.com/office/drawing/2014/main" id="{98C3D90C-67F6-4496-9B1E-E5F51C5FBDBC}"/>
                </a:ext>
              </a:extLst>
            </p:cNvPr>
            <p:cNvSpPr>
              <a:spLocks noChangeArrowheads="1"/>
            </p:cNvSpPr>
            <p:nvPr/>
          </p:nvSpPr>
          <p:spPr bwMode="auto">
            <a:xfrm>
              <a:off x="5236710" y="4474715"/>
              <a:ext cx="44033" cy="22656"/>
            </a:xfrm>
            <a:custGeom>
              <a:avLst/>
              <a:gdLst>
                <a:gd name="T0" fmla="*/ 117 w 118"/>
                <a:gd name="T1" fmla="*/ 59 h 60"/>
                <a:gd name="T2" fmla="*/ 117 w 118"/>
                <a:gd name="T3" fmla="*/ 59 h 60"/>
                <a:gd name="T4" fmla="*/ 0 w 118"/>
                <a:gd name="T5" fmla="*/ 0 h 60"/>
                <a:gd name="T6" fmla="*/ 117 w 118"/>
                <a:gd name="T7" fmla="*/ 59 h 60"/>
              </a:gdLst>
              <a:ahLst/>
              <a:cxnLst>
                <a:cxn ang="0">
                  <a:pos x="T0" y="T1"/>
                </a:cxn>
                <a:cxn ang="0">
                  <a:pos x="T2" y="T3"/>
                </a:cxn>
                <a:cxn ang="0">
                  <a:pos x="T4" y="T5"/>
                </a:cxn>
                <a:cxn ang="0">
                  <a:pos x="T6" y="T7"/>
                </a:cxn>
              </a:cxnLst>
              <a:rect l="0" t="0" r="r" b="b"/>
              <a:pathLst>
                <a:path w="118" h="60">
                  <a:moveTo>
                    <a:pt x="117" y="59"/>
                  </a:moveTo>
                  <a:lnTo>
                    <a:pt x="117" y="59"/>
                  </a:lnTo>
                  <a:cubicBezTo>
                    <a:pt x="88" y="59"/>
                    <a:pt x="29" y="30"/>
                    <a:pt x="0" y="0"/>
                  </a:cubicBezTo>
                  <a:cubicBezTo>
                    <a:pt x="29" y="30"/>
                    <a:pt x="88" y="59"/>
                    <a:pt x="117"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43" name="Freeform 421">
              <a:extLst>
                <a:ext uri="{FF2B5EF4-FFF2-40B4-BE49-F238E27FC236}">
                  <a16:creationId xmlns:a16="http://schemas.microsoft.com/office/drawing/2014/main" id="{54A0B013-0F49-4785-BF9F-0941F232591B}"/>
                </a:ext>
              </a:extLst>
            </p:cNvPr>
            <p:cNvSpPr>
              <a:spLocks noChangeArrowheads="1"/>
            </p:cNvSpPr>
            <p:nvPr/>
          </p:nvSpPr>
          <p:spPr bwMode="auto">
            <a:xfrm>
              <a:off x="4329960" y="3939050"/>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44" name="Freeform 422">
              <a:extLst>
                <a:ext uri="{FF2B5EF4-FFF2-40B4-BE49-F238E27FC236}">
                  <a16:creationId xmlns:a16="http://schemas.microsoft.com/office/drawing/2014/main" id="{510A6FC3-FF86-490C-A034-CC29037EDFEE}"/>
                </a:ext>
              </a:extLst>
            </p:cNvPr>
            <p:cNvSpPr>
              <a:spLocks noChangeArrowheads="1"/>
            </p:cNvSpPr>
            <p:nvPr/>
          </p:nvSpPr>
          <p:spPr bwMode="auto">
            <a:xfrm>
              <a:off x="3661313" y="2108731"/>
              <a:ext cx="1208457" cy="2011571"/>
            </a:xfrm>
            <a:custGeom>
              <a:avLst/>
              <a:gdLst>
                <a:gd name="T0" fmla="*/ 2362 w 3268"/>
                <a:gd name="T1" fmla="*/ 5424 h 5483"/>
                <a:gd name="T2" fmla="*/ 3004 w 3268"/>
                <a:gd name="T3" fmla="*/ 5482 h 5483"/>
                <a:gd name="T4" fmla="*/ 3004 w 3268"/>
                <a:gd name="T5" fmla="*/ 5394 h 5483"/>
                <a:gd name="T6" fmla="*/ 3033 w 3268"/>
                <a:gd name="T7" fmla="*/ 5015 h 5483"/>
                <a:gd name="T8" fmla="*/ 3091 w 3268"/>
                <a:gd name="T9" fmla="*/ 4986 h 5483"/>
                <a:gd name="T10" fmla="*/ 3237 w 3268"/>
                <a:gd name="T11" fmla="*/ 4811 h 5483"/>
                <a:gd name="T12" fmla="*/ 3208 w 3268"/>
                <a:gd name="T13" fmla="*/ 4665 h 5483"/>
                <a:gd name="T14" fmla="*/ 3179 w 3268"/>
                <a:gd name="T15" fmla="*/ 4549 h 5483"/>
                <a:gd name="T16" fmla="*/ 3120 w 3268"/>
                <a:gd name="T17" fmla="*/ 4403 h 5483"/>
                <a:gd name="T18" fmla="*/ 1984 w 3268"/>
                <a:gd name="T19" fmla="*/ 2653 h 5483"/>
                <a:gd name="T20" fmla="*/ 1517 w 3268"/>
                <a:gd name="T21" fmla="*/ 1924 h 5483"/>
                <a:gd name="T22" fmla="*/ 1575 w 3268"/>
                <a:gd name="T23" fmla="*/ 1574 h 5483"/>
                <a:gd name="T24" fmla="*/ 1925 w 3268"/>
                <a:gd name="T25" fmla="*/ 467 h 5483"/>
                <a:gd name="T26" fmla="*/ 350 w 3268"/>
                <a:gd name="T27" fmla="*/ 0 h 5483"/>
                <a:gd name="T28" fmla="*/ 408 w 3268"/>
                <a:gd name="T29" fmla="*/ 117 h 5483"/>
                <a:gd name="T30" fmla="*/ 263 w 3268"/>
                <a:gd name="T31" fmla="*/ 524 h 5483"/>
                <a:gd name="T32" fmla="*/ 87 w 3268"/>
                <a:gd name="T33" fmla="*/ 758 h 5483"/>
                <a:gd name="T34" fmla="*/ 146 w 3268"/>
                <a:gd name="T35" fmla="*/ 903 h 5483"/>
                <a:gd name="T36" fmla="*/ 175 w 3268"/>
                <a:gd name="T37" fmla="*/ 961 h 5483"/>
                <a:gd name="T38" fmla="*/ 117 w 3268"/>
                <a:gd name="T39" fmla="*/ 1399 h 5483"/>
                <a:gd name="T40" fmla="*/ 87 w 3268"/>
                <a:gd name="T41" fmla="*/ 1428 h 5483"/>
                <a:gd name="T42" fmla="*/ 0 w 3268"/>
                <a:gd name="T43" fmla="*/ 1516 h 5483"/>
                <a:gd name="T44" fmla="*/ 117 w 3268"/>
                <a:gd name="T45" fmla="*/ 1516 h 5483"/>
                <a:gd name="T46" fmla="*/ 175 w 3268"/>
                <a:gd name="T47" fmla="*/ 1691 h 5483"/>
                <a:gd name="T48" fmla="*/ 263 w 3268"/>
                <a:gd name="T49" fmla="*/ 1808 h 5483"/>
                <a:gd name="T50" fmla="*/ 350 w 3268"/>
                <a:gd name="T51" fmla="*/ 1982 h 5483"/>
                <a:gd name="T52" fmla="*/ 204 w 3268"/>
                <a:gd name="T53" fmla="*/ 2041 h 5483"/>
                <a:gd name="T54" fmla="*/ 263 w 3268"/>
                <a:gd name="T55" fmla="*/ 2011 h 5483"/>
                <a:gd name="T56" fmla="*/ 350 w 3268"/>
                <a:gd name="T57" fmla="*/ 2128 h 5483"/>
                <a:gd name="T58" fmla="*/ 525 w 3268"/>
                <a:gd name="T59" fmla="*/ 2011 h 5483"/>
                <a:gd name="T60" fmla="*/ 787 w 3268"/>
                <a:gd name="T61" fmla="*/ 2011 h 5483"/>
                <a:gd name="T62" fmla="*/ 817 w 3268"/>
                <a:gd name="T63" fmla="*/ 2099 h 5483"/>
                <a:gd name="T64" fmla="*/ 613 w 3268"/>
                <a:gd name="T65" fmla="*/ 2128 h 5483"/>
                <a:gd name="T66" fmla="*/ 496 w 3268"/>
                <a:gd name="T67" fmla="*/ 2128 h 5483"/>
                <a:gd name="T68" fmla="*/ 496 w 3268"/>
                <a:gd name="T69" fmla="*/ 2244 h 5483"/>
                <a:gd name="T70" fmla="*/ 554 w 3268"/>
                <a:gd name="T71" fmla="*/ 2391 h 5483"/>
                <a:gd name="T72" fmla="*/ 496 w 3268"/>
                <a:gd name="T73" fmla="*/ 2507 h 5483"/>
                <a:gd name="T74" fmla="*/ 408 w 3268"/>
                <a:gd name="T75" fmla="*/ 2391 h 5483"/>
                <a:gd name="T76" fmla="*/ 350 w 3268"/>
                <a:gd name="T77" fmla="*/ 2274 h 5483"/>
                <a:gd name="T78" fmla="*/ 291 w 3268"/>
                <a:gd name="T79" fmla="*/ 2711 h 5483"/>
                <a:gd name="T80" fmla="*/ 408 w 3268"/>
                <a:gd name="T81" fmla="*/ 2887 h 5483"/>
                <a:gd name="T82" fmla="*/ 437 w 3268"/>
                <a:gd name="T83" fmla="*/ 2974 h 5483"/>
                <a:gd name="T84" fmla="*/ 584 w 3268"/>
                <a:gd name="T85" fmla="*/ 3324 h 5483"/>
                <a:gd name="T86" fmla="*/ 613 w 3268"/>
                <a:gd name="T87" fmla="*/ 3353 h 5483"/>
                <a:gd name="T88" fmla="*/ 729 w 3268"/>
                <a:gd name="T89" fmla="*/ 3528 h 5483"/>
                <a:gd name="T90" fmla="*/ 700 w 3268"/>
                <a:gd name="T91" fmla="*/ 3587 h 5483"/>
                <a:gd name="T92" fmla="*/ 700 w 3268"/>
                <a:gd name="T93" fmla="*/ 3937 h 5483"/>
                <a:gd name="T94" fmla="*/ 670 w 3268"/>
                <a:gd name="T95" fmla="*/ 3965 h 5483"/>
                <a:gd name="T96" fmla="*/ 787 w 3268"/>
                <a:gd name="T97" fmla="*/ 4082 h 5483"/>
                <a:gd name="T98" fmla="*/ 991 w 3268"/>
                <a:gd name="T99" fmla="*/ 4141 h 5483"/>
                <a:gd name="T100" fmla="*/ 1137 w 3268"/>
                <a:gd name="T101" fmla="*/ 4228 h 5483"/>
                <a:gd name="T102" fmla="*/ 1341 w 3268"/>
                <a:gd name="T103" fmla="*/ 4403 h 5483"/>
                <a:gd name="T104" fmla="*/ 1341 w 3268"/>
                <a:gd name="T105" fmla="*/ 4432 h 5483"/>
                <a:gd name="T106" fmla="*/ 1400 w 3268"/>
                <a:gd name="T107" fmla="*/ 4403 h 5483"/>
                <a:gd name="T108" fmla="*/ 1487 w 3268"/>
                <a:gd name="T109" fmla="*/ 4694 h 5483"/>
                <a:gd name="T110" fmla="*/ 1575 w 3268"/>
                <a:gd name="T111" fmla="*/ 4694 h 5483"/>
                <a:gd name="T112" fmla="*/ 1662 w 3268"/>
                <a:gd name="T113" fmla="*/ 4724 h 5483"/>
                <a:gd name="T114" fmla="*/ 1750 w 3268"/>
                <a:gd name="T115" fmla="*/ 4841 h 5483"/>
                <a:gd name="T116" fmla="*/ 1896 w 3268"/>
                <a:gd name="T117" fmla="*/ 5015 h 5483"/>
                <a:gd name="T118" fmla="*/ 1925 w 3268"/>
                <a:gd name="T119" fmla="*/ 5103 h 5483"/>
                <a:gd name="T120" fmla="*/ 1867 w 3268"/>
                <a:gd name="T121" fmla="*/ 5249 h 5483"/>
                <a:gd name="T122" fmla="*/ 1984 w 3268"/>
                <a:gd name="T123" fmla="*/ 5394 h 5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68" h="5483">
                  <a:moveTo>
                    <a:pt x="1984" y="5394"/>
                  </a:moveTo>
                  <a:lnTo>
                    <a:pt x="1984" y="5394"/>
                  </a:lnTo>
                  <a:cubicBezTo>
                    <a:pt x="2100" y="5394"/>
                    <a:pt x="2246" y="5424"/>
                    <a:pt x="2362" y="5424"/>
                  </a:cubicBezTo>
                  <a:cubicBezTo>
                    <a:pt x="2450" y="5424"/>
                    <a:pt x="2537" y="5424"/>
                    <a:pt x="2654" y="5453"/>
                  </a:cubicBezTo>
                  <a:cubicBezTo>
                    <a:pt x="2683" y="5453"/>
                    <a:pt x="2683" y="5453"/>
                    <a:pt x="2712" y="5453"/>
                  </a:cubicBezTo>
                  <a:cubicBezTo>
                    <a:pt x="2829" y="5453"/>
                    <a:pt x="2917" y="5453"/>
                    <a:pt x="3004" y="5482"/>
                  </a:cubicBezTo>
                  <a:lnTo>
                    <a:pt x="3033" y="5482"/>
                  </a:lnTo>
                  <a:lnTo>
                    <a:pt x="3033" y="5482"/>
                  </a:lnTo>
                  <a:cubicBezTo>
                    <a:pt x="3033" y="5453"/>
                    <a:pt x="3004" y="5424"/>
                    <a:pt x="3004" y="5394"/>
                  </a:cubicBezTo>
                  <a:cubicBezTo>
                    <a:pt x="2975" y="5365"/>
                    <a:pt x="2946" y="5308"/>
                    <a:pt x="2946" y="5249"/>
                  </a:cubicBezTo>
                  <a:cubicBezTo>
                    <a:pt x="2946" y="5191"/>
                    <a:pt x="2975" y="5161"/>
                    <a:pt x="3004" y="5132"/>
                  </a:cubicBezTo>
                  <a:cubicBezTo>
                    <a:pt x="3033" y="5074"/>
                    <a:pt x="3033" y="5044"/>
                    <a:pt x="3033" y="5015"/>
                  </a:cubicBezTo>
                  <a:cubicBezTo>
                    <a:pt x="3033" y="4986"/>
                    <a:pt x="3033" y="4986"/>
                    <a:pt x="3033" y="4986"/>
                  </a:cubicBezTo>
                  <a:cubicBezTo>
                    <a:pt x="3062" y="4986"/>
                    <a:pt x="3062" y="4986"/>
                    <a:pt x="3062" y="4986"/>
                  </a:cubicBezTo>
                  <a:cubicBezTo>
                    <a:pt x="3091" y="4986"/>
                    <a:pt x="3091" y="4986"/>
                    <a:pt x="3091" y="4986"/>
                  </a:cubicBezTo>
                  <a:cubicBezTo>
                    <a:pt x="3120" y="4928"/>
                    <a:pt x="3150" y="4870"/>
                    <a:pt x="3179" y="4841"/>
                  </a:cubicBezTo>
                  <a:cubicBezTo>
                    <a:pt x="3208" y="4841"/>
                    <a:pt x="3208" y="4841"/>
                    <a:pt x="3208" y="4841"/>
                  </a:cubicBezTo>
                  <a:cubicBezTo>
                    <a:pt x="3208" y="4811"/>
                    <a:pt x="3208" y="4811"/>
                    <a:pt x="3237" y="4811"/>
                  </a:cubicBezTo>
                  <a:cubicBezTo>
                    <a:pt x="3237" y="4782"/>
                    <a:pt x="3267" y="4753"/>
                    <a:pt x="3267" y="4753"/>
                  </a:cubicBezTo>
                  <a:cubicBezTo>
                    <a:pt x="3267" y="4724"/>
                    <a:pt x="3267" y="4724"/>
                    <a:pt x="3237" y="4694"/>
                  </a:cubicBezTo>
                  <a:lnTo>
                    <a:pt x="3208" y="4665"/>
                  </a:lnTo>
                  <a:cubicBezTo>
                    <a:pt x="3208" y="4636"/>
                    <a:pt x="3208" y="4636"/>
                    <a:pt x="3208" y="4636"/>
                  </a:cubicBezTo>
                  <a:cubicBezTo>
                    <a:pt x="3208" y="4608"/>
                    <a:pt x="3208" y="4608"/>
                    <a:pt x="3208" y="4608"/>
                  </a:cubicBezTo>
                  <a:cubicBezTo>
                    <a:pt x="3208" y="4578"/>
                    <a:pt x="3208" y="4578"/>
                    <a:pt x="3179" y="4549"/>
                  </a:cubicBezTo>
                  <a:cubicBezTo>
                    <a:pt x="3179" y="4549"/>
                    <a:pt x="3179" y="4520"/>
                    <a:pt x="3150" y="4520"/>
                  </a:cubicBezTo>
                  <a:cubicBezTo>
                    <a:pt x="3150" y="4490"/>
                    <a:pt x="3150" y="4490"/>
                    <a:pt x="3150" y="4461"/>
                  </a:cubicBezTo>
                  <a:cubicBezTo>
                    <a:pt x="3150" y="4432"/>
                    <a:pt x="3150" y="4432"/>
                    <a:pt x="3120" y="4403"/>
                  </a:cubicBezTo>
                  <a:lnTo>
                    <a:pt x="3120" y="4403"/>
                  </a:lnTo>
                  <a:lnTo>
                    <a:pt x="3120" y="4403"/>
                  </a:lnTo>
                  <a:cubicBezTo>
                    <a:pt x="2741" y="3820"/>
                    <a:pt x="2362" y="3208"/>
                    <a:pt x="1984" y="2653"/>
                  </a:cubicBezTo>
                  <a:cubicBezTo>
                    <a:pt x="1808" y="2420"/>
                    <a:pt x="1662" y="2158"/>
                    <a:pt x="1517" y="1924"/>
                  </a:cubicBezTo>
                  <a:lnTo>
                    <a:pt x="1517" y="1924"/>
                  </a:lnTo>
                  <a:lnTo>
                    <a:pt x="1517" y="1924"/>
                  </a:lnTo>
                  <a:cubicBezTo>
                    <a:pt x="1517" y="1837"/>
                    <a:pt x="1546" y="1778"/>
                    <a:pt x="1575" y="1720"/>
                  </a:cubicBezTo>
                  <a:lnTo>
                    <a:pt x="1575" y="1720"/>
                  </a:lnTo>
                  <a:cubicBezTo>
                    <a:pt x="1546" y="1661"/>
                    <a:pt x="1575" y="1632"/>
                    <a:pt x="1575" y="1574"/>
                  </a:cubicBezTo>
                  <a:cubicBezTo>
                    <a:pt x="1604" y="1544"/>
                    <a:pt x="1604" y="1544"/>
                    <a:pt x="1604" y="1516"/>
                  </a:cubicBezTo>
                  <a:cubicBezTo>
                    <a:pt x="1662" y="1311"/>
                    <a:pt x="1750" y="1078"/>
                    <a:pt x="1808" y="845"/>
                  </a:cubicBezTo>
                  <a:cubicBezTo>
                    <a:pt x="1837" y="699"/>
                    <a:pt x="1896" y="582"/>
                    <a:pt x="1925" y="467"/>
                  </a:cubicBezTo>
                  <a:cubicBezTo>
                    <a:pt x="1575" y="350"/>
                    <a:pt x="1225" y="233"/>
                    <a:pt x="875" y="146"/>
                  </a:cubicBezTo>
                  <a:cubicBezTo>
                    <a:pt x="729" y="88"/>
                    <a:pt x="584" y="59"/>
                    <a:pt x="408" y="0"/>
                  </a:cubicBezTo>
                  <a:cubicBezTo>
                    <a:pt x="408" y="0"/>
                    <a:pt x="379" y="0"/>
                    <a:pt x="350" y="0"/>
                  </a:cubicBezTo>
                  <a:lnTo>
                    <a:pt x="350" y="0"/>
                  </a:lnTo>
                  <a:cubicBezTo>
                    <a:pt x="350" y="29"/>
                    <a:pt x="350" y="29"/>
                    <a:pt x="379" y="29"/>
                  </a:cubicBezTo>
                  <a:cubicBezTo>
                    <a:pt x="379" y="59"/>
                    <a:pt x="408" y="88"/>
                    <a:pt x="408" y="117"/>
                  </a:cubicBezTo>
                  <a:cubicBezTo>
                    <a:pt x="408" y="175"/>
                    <a:pt x="350" y="350"/>
                    <a:pt x="291" y="379"/>
                  </a:cubicBezTo>
                  <a:cubicBezTo>
                    <a:pt x="291" y="438"/>
                    <a:pt x="291" y="467"/>
                    <a:pt x="291" y="524"/>
                  </a:cubicBezTo>
                  <a:cubicBezTo>
                    <a:pt x="263" y="524"/>
                    <a:pt x="263" y="524"/>
                    <a:pt x="263" y="524"/>
                  </a:cubicBezTo>
                  <a:lnTo>
                    <a:pt x="263" y="524"/>
                  </a:lnTo>
                  <a:cubicBezTo>
                    <a:pt x="263" y="524"/>
                    <a:pt x="234" y="553"/>
                    <a:pt x="204" y="582"/>
                  </a:cubicBezTo>
                  <a:cubicBezTo>
                    <a:pt x="146" y="641"/>
                    <a:pt x="87" y="670"/>
                    <a:pt x="87" y="758"/>
                  </a:cubicBezTo>
                  <a:cubicBezTo>
                    <a:pt x="87" y="787"/>
                    <a:pt x="117" y="816"/>
                    <a:pt x="117" y="845"/>
                  </a:cubicBezTo>
                  <a:cubicBezTo>
                    <a:pt x="146" y="874"/>
                    <a:pt x="146" y="874"/>
                    <a:pt x="146" y="903"/>
                  </a:cubicBezTo>
                  <a:lnTo>
                    <a:pt x="146" y="903"/>
                  </a:lnTo>
                  <a:cubicBezTo>
                    <a:pt x="146" y="932"/>
                    <a:pt x="146" y="932"/>
                    <a:pt x="146" y="932"/>
                  </a:cubicBezTo>
                  <a:lnTo>
                    <a:pt x="146" y="932"/>
                  </a:lnTo>
                  <a:cubicBezTo>
                    <a:pt x="175" y="961"/>
                    <a:pt x="175" y="961"/>
                    <a:pt x="175" y="961"/>
                  </a:cubicBezTo>
                  <a:cubicBezTo>
                    <a:pt x="204" y="1078"/>
                    <a:pt x="175" y="1224"/>
                    <a:pt x="117" y="1311"/>
                  </a:cubicBezTo>
                  <a:lnTo>
                    <a:pt x="117" y="1311"/>
                  </a:lnTo>
                  <a:cubicBezTo>
                    <a:pt x="117" y="1341"/>
                    <a:pt x="146" y="1370"/>
                    <a:pt x="117" y="1399"/>
                  </a:cubicBezTo>
                  <a:lnTo>
                    <a:pt x="117" y="1399"/>
                  </a:lnTo>
                  <a:lnTo>
                    <a:pt x="117" y="1399"/>
                  </a:lnTo>
                  <a:cubicBezTo>
                    <a:pt x="117" y="1428"/>
                    <a:pt x="87" y="1428"/>
                    <a:pt x="87" y="1428"/>
                  </a:cubicBezTo>
                  <a:lnTo>
                    <a:pt x="87" y="1428"/>
                  </a:lnTo>
                  <a:cubicBezTo>
                    <a:pt x="87" y="1458"/>
                    <a:pt x="58" y="1487"/>
                    <a:pt x="29" y="1487"/>
                  </a:cubicBezTo>
                  <a:lnTo>
                    <a:pt x="0" y="1516"/>
                  </a:lnTo>
                  <a:cubicBezTo>
                    <a:pt x="29" y="1516"/>
                    <a:pt x="58" y="1516"/>
                    <a:pt x="87" y="1516"/>
                  </a:cubicBezTo>
                  <a:lnTo>
                    <a:pt x="87" y="1516"/>
                  </a:lnTo>
                  <a:cubicBezTo>
                    <a:pt x="117" y="1516"/>
                    <a:pt x="117" y="1516"/>
                    <a:pt x="117" y="1516"/>
                  </a:cubicBezTo>
                  <a:cubicBezTo>
                    <a:pt x="146" y="1544"/>
                    <a:pt x="146" y="1574"/>
                    <a:pt x="146" y="1603"/>
                  </a:cubicBezTo>
                  <a:lnTo>
                    <a:pt x="146" y="1632"/>
                  </a:lnTo>
                  <a:cubicBezTo>
                    <a:pt x="146" y="1661"/>
                    <a:pt x="175" y="1661"/>
                    <a:pt x="175" y="1691"/>
                  </a:cubicBezTo>
                  <a:cubicBezTo>
                    <a:pt x="204" y="1720"/>
                    <a:pt x="234" y="1749"/>
                    <a:pt x="234" y="1778"/>
                  </a:cubicBezTo>
                  <a:cubicBezTo>
                    <a:pt x="263" y="1778"/>
                    <a:pt x="263" y="1778"/>
                    <a:pt x="263" y="1808"/>
                  </a:cubicBezTo>
                  <a:lnTo>
                    <a:pt x="263" y="1808"/>
                  </a:lnTo>
                  <a:cubicBezTo>
                    <a:pt x="291" y="1808"/>
                    <a:pt x="291" y="1837"/>
                    <a:pt x="291" y="1866"/>
                  </a:cubicBezTo>
                  <a:cubicBezTo>
                    <a:pt x="291" y="1894"/>
                    <a:pt x="320" y="1924"/>
                    <a:pt x="320" y="1924"/>
                  </a:cubicBezTo>
                  <a:cubicBezTo>
                    <a:pt x="350" y="1982"/>
                    <a:pt x="350" y="1982"/>
                    <a:pt x="350" y="1982"/>
                  </a:cubicBezTo>
                  <a:cubicBezTo>
                    <a:pt x="291" y="1953"/>
                    <a:pt x="291" y="1953"/>
                    <a:pt x="291" y="1953"/>
                  </a:cubicBezTo>
                  <a:cubicBezTo>
                    <a:pt x="263" y="1953"/>
                    <a:pt x="234" y="1953"/>
                    <a:pt x="204" y="1953"/>
                  </a:cubicBezTo>
                  <a:cubicBezTo>
                    <a:pt x="204" y="1982"/>
                    <a:pt x="204" y="2011"/>
                    <a:pt x="204" y="2041"/>
                  </a:cubicBezTo>
                  <a:cubicBezTo>
                    <a:pt x="204" y="2041"/>
                    <a:pt x="204" y="2041"/>
                    <a:pt x="234" y="2041"/>
                  </a:cubicBezTo>
                  <a:lnTo>
                    <a:pt x="234" y="2041"/>
                  </a:lnTo>
                  <a:cubicBezTo>
                    <a:pt x="234" y="2041"/>
                    <a:pt x="234" y="2011"/>
                    <a:pt x="263" y="2011"/>
                  </a:cubicBezTo>
                  <a:cubicBezTo>
                    <a:pt x="320" y="2011"/>
                    <a:pt x="320" y="2070"/>
                    <a:pt x="320" y="2070"/>
                  </a:cubicBezTo>
                  <a:cubicBezTo>
                    <a:pt x="320" y="2099"/>
                    <a:pt x="320" y="2128"/>
                    <a:pt x="350" y="2128"/>
                  </a:cubicBezTo>
                  <a:lnTo>
                    <a:pt x="350" y="2128"/>
                  </a:lnTo>
                  <a:cubicBezTo>
                    <a:pt x="379" y="2128"/>
                    <a:pt x="379" y="2099"/>
                    <a:pt x="408" y="2070"/>
                  </a:cubicBezTo>
                  <a:cubicBezTo>
                    <a:pt x="408" y="2041"/>
                    <a:pt x="437" y="2011"/>
                    <a:pt x="467" y="2011"/>
                  </a:cubicBezTo>
                  <a:cubicBezTo>
                    <a:pt x="496" y="1982"/>
                    <a:pt x="496" y="2011"/>
                    <a:pt x="525" y="2011"/>
                  </a:cubicBezTo>
                  <a:cubicBezTo>
                    <a:pt x="525" y="2011"/>
                    <a:pt x="525" y="2041"/>
                    <a:pt x="554" y="2041"/>
                  </a:cubicBezTo>
                  <a:cubicBezTo>
                    <a:pt x="584" y="2041"/>
                    <a:pt x="641" y="2041"/>
                    <a:pt x="670" y="2011"/>
                  </a:cubicBezTo>
                  <a:cubicBezTo>
                    <a:pt x="729" y="2011"/>
                    <a:pt x="758" y="2011"/>
                    <a:pt x="787" y="2011"/>
                  </a:cubicBezTo>
                  <a:cubicBezTo>
                    <a:pt x="817" y="2011"/>
                    <a:pt x="817" y="2011"/>
                    <a:pt x="817" y="2011"/>
                  </a:cubicBezTo>
                  <a:lnTo>
                    <a:pt x="817" y="2011"/>
                  </a:lnTo>
                  <a:cubicBezTo>
                    <a:pt x="846" y="2041"/>
                    <a:pt x="846" y="2070"/>
                    <a:pt x="817" y="2099"/>
                  </a:cubicBezTo>
                  <a:cubicBezTo>
                    <a:pt x="817" y="2128"/>
                    <a:pt x="787" y="2158"/>
                    <a:pt x="729" y="2187"/>
                  </a:cubicBezTo>
                  <a:cubicBezTo>
                    <a:pt x="700" y="2187"/>
                    <a:pt x="670" y="2158"/>
                    <a:pt x="670" y="2158"/>
                  </a:cubicBezTo>
                  <a:cubicBezTo>
                    <a:pt x="641" y="2128"/>
                    <a:pt x="641" y="2128"/>
                    <a:pt x="613" y="2128"/>
                  </a:cubicBezTo>
                  <a:cubicBezTo>
                    <a:pt x="584" y="2099"/>
                    <a:pt x="554" y="2099"/>
                    <a:pt x="496" y="2099"/>
                  </a:cubicBezTo>
                  <a:lnTo>
                    <a:pt x="496" y="2099"/>
                  </a:lnTo>
                  <a:cubicBezTo>
                    <a:pt x="496" y="2128"/>
                    <a:pt x="496" y="2128"/>
                    <a:pt x="496" y="2128"/>
                  </a:cubicBezTo>
                  <a:lnTo>
                    <a:pt x="525" y="2158"/>
                  </a:lnTo>
                  <a:cubicBezTo>
                    <a:pt x="525" y="2187"/>
                    <a:pt x="525" y="2187"/>
                    <a:pt x="525" y="2216"/>
                  </a:cubicBezTo>
                  <a:cubicBezTo>
                    <a:pt x="496" y="2216"/>
                    <a:pt x="496" y="2216"/>
                    <a:pt x="496" y="2244"/>
                  </a:cubicBezTo>
                  <a:cubicBezTo>
                    <a:pt x="496" y="2244"/>
                    <a:pt x="525" y="2244"/>
                    <a:pt x="525" y="2274"/>
                  </a:cubicBezTo>
                  <a:lnTo>
                    <a:pt x="525" y="2303"/>
                  </a:lnTo>
                  <a:cubicBezTo>
                    <a:pt x="525" y="2332"/>
                    <a:pt x="525" y="2361"/>
                    <a:pt x="554" y="2391"/>
                  </a:cubicBezTo>
                  <a:cubicBezTo>
                    <a:pt x="554" y="2420"/>
                    <a:pt x="584" y="2449"/>
                    <a:pt x="554" y="2478"/>
                  </a:cubicBezTo>
                  <a:cubicBezTo>
                    <a:pt x="554" y="2507"/>
                    <a:pt x="525" y="2507"/>
                    <a:pt x="496" y="2507"/>
                  </a:cubicBezTo>
                  <a:lnTo>
                    <a:pt x="496" y="2507"/>
                  </a:lnTo>
                  <a:cubicBezTo>
                    <a:pt x="467" y="2507"/>
                    <a:pt x="467" y="2507"/>
                    <a:pt x="467" y="2507"/>
                  </a:cubicBezTo>
                  <a:cubicBezTo>
                    <a:pt x="467" y="2478"/>
                    <a:pt x="467" y="2478"/>
                    <a:pt x="467" y="2478"/>
                  </a:cubicBezTo>
                  <a:cubicBezTo>
                    <a:pt x="437" y="2449"/>
                    <a:pt x="437" y="2420"/>
                    <a:pt x="408" y="2391"/>
                  </a:cubicBezTo>
                  <a:cubicBezTo>
                    <a:pt x="408" y="2391"/>
                    <a:pt x="408" y="2361"/>
                    <a:pt x="408" y="2332"/>
                  </a:cubicBezTo>
                  <a:cubicBezTo>
                    <a:pt x="437" y="2303"/>
                    <a:pt x="437" y="2274"/>
                    <a:pt x="408" y="2244"/>
                  </a:cubicBezTo>
                  <a:cubicBezTo>
                    <a:pt x="408" y="2244"/>
                    <a:pt x="379" y="2274"/>
                    <a:pt x="350" y="2274"/>
                  </a:cubicBezTo>
                  <a:cubicBezTo>
                    <a:pt x="350" y="2303"/>
                    <a:pt x="350" y="2332"/>
                    <a:pt x="350" y="2361"/>
                  </a:cubicBezTo>
                  <a:cubicBezTo>
                    <a:pt x="350" y="2420"/>
                    <a:pt x="350" y="2478"/>
                    <a:pt x="320" y="2507"/>
                  </a:cubicBezTo>
                  <a:cubicBezTo>
                    <a:pt x="350" y="2566"/>
                    <a:pt x="320" y="2653"/>
                    <a:pt x="291" y="2711"/>
                  </a:cubicBezTo>
                  <a:lnTo>
                    <a:pt x="291" y="2711"/>
                  </a:lnTo>
                  <a:cubicBezTo>
                    <a:pt x="379" y="2741"/>
                    <a:pt x="408" y="2799"/>
                    <a:pt x="408" y="2887"/>
                  </a:cubicBezTo>
                  <a:lnTo>
                    <a:pt x="408" y="2887"/>
                  </a:lnTo>
                  <a:lnTo>
                    <a:pt x="408" y="2887"/>
                  </a:lnTo>
                  <a:cubicBezTo>
                    <a:pt x="379" y="2887"/>
                    <a:pt x="379" y="2915"/>
                    <a:pt x="379" y="2915"/>
                  </a:cubicBezTo>
                  <a:cubicBezTo>
                    <a:pt x="379" y="2915"/>
                    <a:pt x="408" y="2974"/>
                    <a:pt x="437" y="2974"/>
                  </a:cubicBezTo>
                  <a:cubicBezTo>
                    <a:pt x="437" y="3003"/>
                    <a:pt x="437" y="3003"/>
                    <a:pt x="467" y="3032"/>
                  </a:cubicBezTo>
                  <a:cubicBezTo>
                    <a:pt x="525" y="3120"/>
                    <a:pt x="554" y="3208"/>
                    <a:pt x="554" y="3324"/>
                  </a:cubicBezTo>
                  <a:cubicBezTo>
                    <a:pt x="554" y="3324"/>
                    <a:pt x="554" y="3324"/>
                    <a:pt x="584" y="3324"/>
                  </a:cubicBezTo>
                  <a:cubicBezTo>
                    <a:pt x="584" y="3324"/>
                    <a:pt x="584" y="3324"/>
                    <a:pt x="613" y="3353"/>
                  </a:cubicBezTo>
                  <a:lnTo>
                    <a:pt x="613" y="3353"/>
                  </a:lnTo>
                  <a:lnTo>
                    <a:pt x="613" y="3353"/>
                  </a:lnTo>
                  <a:cubicBezTo>
                    <a:pt x="613" y="3382"/>
                    <a:pt x="641" y="3411"/>
                    <a:pt x="613" y="3441"/>
                  </a:cubicBezTo>
                  <a:cubicBezTo>
                    <a:pt x="641" y="3441"/>
                    <a:pt x="641" y="3470"/>
                    <a:pt x="641" y="3470"/>
                  </a:cubicBezTo>
                  <a:cubicBezTo>
                    <a:pt x="670" y="3499"/>
                    <a:pt x="700" y="3499"/>
                    <a:pt x="729" y="3528"/>
                  </a:cubicBezTo>
                  <a:lnTo>
                    <a:pt x="729" y="3528"/>
                  </a:lnTo>
                  <a:cubicBezTo>
                    <a:pt x="729" y="3558"/>
                    <a:pt x="729" y="3558"/>
                    <a:pt x="729" y="3558"/>
                  </a:cubicBezTo>
                  <a:lnTo>
                    <a:pt x="700" y="3587"/>
                  </a:lnTo>
                  <a:cubicBezTo>
                    <a:pt x="700" y="3615"/>
                    <a:pt x="700" y="3615"/>
                    <a:pt x="670" y="3644"/>
                  </a:cubicBezTo>
                  <a:cubicBezTo>
                    <a:pt x="758" y="3674"/>
                    <a:pt x="729" y="3732"/>
                    <a:pt x="729" y="3790"/>
                  </a:cubicBezTo>
                  <a:cubicBezTo>
                    <a:pt x="700" y="3849"/>
                    <a:pt x="700" y="3878"/>
                    <a:pt x="700" y="3937"/>
                  </a:cubicBezTo>
                  <a:cubicBezTo>
                    <a:pt x="729" y="3965"/>
                    <a:pt x="729" y="3965"/>
                    <a:pt x="729" y="3965"/>
                  </a:cubicBezTo>
                  <a:cubicBezTo>
                    <a:pt x="700" y="3965"/>
                    <a:pt x="700" y="3965"/>
                    <a:pt x="700" y="3965"/>
                  </a:cubicBezTo>
                  <a:cubicBezTo>
                    <a:pt x="670" y="3965"/>
                    <a:pt x="670" y="3965"/>
                    <a:pt x="670" y="3965"/>
                  </a:cubicBezTo>
                  <a:cubicBezTo>
                    <a:pt x="670" y="3994"/>
                    <a:pt x="700" y="4053"/>
                    <a:pt x="700" y="4053"/>
                  </a:cubicBezTo>
                  <a:cubicBezTo>
                    <a:pt x="729" y="4053"/>
                    <a:pt x="729" y="4082"/>
                    <a:pt x="758" y="4082"/>
                  </a:cubicBezTo>
                  <a:lnTo>
                    <a:pt x="787" y="4082"/>
                  </a:lnTo>
                  <a:cubicBezTo>
                    <a:pt x="817" y="4082"/>
                    <a:pt x="846" y="4111"/>
                    <a:pt x="875" y="4111"/>
                  </a:cubicBezTo>
                  <a:cubicBezTo>
                    <a:pt x="904" y="4141"/>
                    <a:pt x="934" y="4141"/>
                    <a:pt x="963" y="4170"/>
                  </a:cubicBezTo>
                  <a:cubicBezTo>
                    <a:pt x="963" y="4170"/>
                    <a:pt x="991" y="4170"/>
                    <a:pt x="991" y="4141"/>
                  </a:cubicBezTo>
                  <a:cubicBezTo>
                    <a:pt x="1020" y="4141"/>
                    <a:pt x="1020" y="4141"/>
                    <a:pt x="1050" y="4170"/>
                  </a:cubicBezTo>
                  <a:cubicBezTo>
                    <a:pt x="1079" y="4170"/>
                    <a:pt x="1079" y="4199"/>
                    <a:pt x="1108" y="4199"/>
                  </a:cubicBezTo>
                  <a:cubicBezTo>
                    <a:pt x="1108" y="4228"/>
                    <a:pt x="1108" y="4228"/>
                    <a:pt x="1137" y="4228"/>
                  </a:cubicBezTo>
                  <a:cubicBezTo>
                    <a:pt x="1167" y="4228"/>
                    <a:pt x="1196" y="4286"/>
                    <a:pt x="1225" y="4315"/>
                  </a:cubicBezTo>
                  <a:cubicBezTo>
                    <a:pt x="1254" y="4344"/>
                    <a:pt x="1284" y="4374"/>
                    <a:pt x="1312" y="4374"/>
                  </a:cubicBezTo>
                  <a:cubicBezTo>
                    <a:pt x="1341" y="4403"/>
                    <a:pt x="1341" y="4403"/>
                    <a:pt x="1341" y="4403"/>
                  </a:cubicBezTo>
                  <a:cubicBezTo>
                    <a:pt x="1312" y="4403"/>
                    <a:pt x="1312" y="4403"/>
                    <a:pt x="1312" y="4403"/>
                  </a:cubicBezTo>
                  <a:lnTo>
                    <a:pt x="1312" y="4403"/>
                  </a:lnTo>
                  <a:cubicBezTo>
                    <a:pt x="1341" y="4432"/>
                    <a:pt x="1341" y="4432"/>
                    <a:pt x="1341" y="4432"/>
                  </a:cubicBezTo>
                  <a:lnTo>
                    <a:pt x="1341" y="4432"/>
                  </a:lnTo>
                  <a:lnTo>
                    <a:pt x="1370" y="4403"/>
                  </a:lnTo>
                  <a:cubicBezTo>
                    <a:pt x="1400" y="4403"/>
                    <a:pt x="1400" y="4403"/>
                    <a:pt x="1400" y="4403"/>
                  </a:cubicBezTo>
                  <a:cubicBezTo>
                    <a:pt x="1429" y="4432"/>
                    <a:pt x="1546" y="4490"/>
                    <a:pt x="1546" y="4578"/>
                  </a:cubicBezTo>
                  <a:cubicBezTo>
                    <a:pt x="1546" y="4578"/>
                    <a:pt x="1546" y="4608"/>
                    <a:pt x="1487" y="4636"/>
                  </a:cubicBezTo>
                  <a:cubicBezTo>
                    <a:pt x="1487" y="4665"/>
                    <a:pt x="1487" y="4665"/>
                    <a:pt x="1487" y="4694"/>
                  </a:cubicBezTo>
                  <a:lnTo>
                    <a:pt x="1487" y="4694"/>
                  </a:lnTo>
                  <a:lnTo>
                    <a:pt x="1517" y="4694"/>
                  </a:lnTo>
                  <a:cubicBezTo>
                    <a:pt x="1546" y="4694"/>
                    <a:pt x="1546" y="4694"/>
                    <a:pt x="1575" y="4694"/>
                  </a:cubicBezTo>
                  <a:cubicBezTo>
                    <a:pt x="1604" y="4694"/>
                    <a:pt x="1604" y="4694"/>
                    <a:pt x="1604" y="4694"/>
                  </a:cubicBezTo>
                  <a:cubicBezTo>
                    <a:pt x="1634" y="4694"/>
                    <a:pt x="1634" y="4694"/>
                    <a:pt x="1634" y="4694"/>
                  </a:cubicBezTo>
                  <a:cubicBezTo>
                    <a:pt x="1662" y="4694"/>
                    <a:pt x="1662" y="4694"/>
                    <a:pt x="1662" y="4724"/>
                  </a:cubicBezTo>
                  <a:cubicBezTo>
                    <a:pt x="1720" y="4724"/>
                    <a:pt x="1750" y="4724"/>
                    <a:pt x="1750" y="4753"/>
                  </a:cubicBezTo>
                  <a:cubicBezTo>
                    <a:pt x="1750" y="4782"/>
                    <a:pt x="1750" y="4811"/>
                    <a:pt x="1750" y="4811"/>
                  </a:cubicBezTo>
                  <a:cubicBezTo>
                    <a:pt x="1750" y="4841"/>
                    <a:pt x="1720" y="4841"/>
                    <a:pt x="1750" y="4841"/>
                  </a:cubicBezTo>
                  <a:cubicBezTo>
                    <a:pt x="1750" y="4899"/>
                    <a:pt x="1808" y="4928"/>
                    <a:pt x="1837" y="4986"/>
                  </a:cubicBezTo>
                  <a:cubicBezTo>
                    <a:pt x="1867" y="4986"/>
                    <a:pt x="1867" y="4986"/>
                    <a:pt x="1896" y="5015"/>
                  </a:cubicBezTo>
                  <a:lnTo>
                    <a:pt x="1896" y="5015"/>
                  </a:lnTo>
                  <a:lnTo>
                    <a:pt x="1896" y="5015"/>
                  </a:lnTo>
                  <a:cubicBezTo>
                    <a:pt x="1896" y="5044"/>
                    <a:pt x="1896" y="5044"/>
                    <a:pt x="1896" y="5074"/>
                  </a:cubicBezTo>
                  <a:cubicBezTo>
                    <a:pt x="1925" y="5074"/>
                    <a:pt x="1925" y="5103"/>
                    <a:pt x="1925" y="5103"/>
                  </a:cubicBezTo>
                  <a:cubicBezTo>
                    <a:pt x="1925" y="5161"/>
                    <a:pt x="1896" y="5220"/>
                    <a:pt x="1867" y="5249"/>
                  </a:cubicBezTo>
                  <a:lnTo>
                    <a:pt x="1867" y="5249"/>
                  </a:lnTo>
                  <a:lnTo>
                    <a:pt x="1867" y="5249"/>
                  </a:lnTo>
                  <a:cubicBezTo>
                    <a:pt x="1896" y="5249"/>
                    <a:pt x="1925" y="5278"/>
                    <a:pt x="1925" y="5308"/>
                  </a:cubicBezTo>
                  <a:cubicBezTo>
                    <a:pt x="1925" y="5336"/>
                    <a:pt x="1896" y="5365"/>
                    <a:pt x="1896" y="5394"/>
                  </a:cubicBezTo>
                  <a:cubicBezTo>
                    <a:pt x="1925" y="5394"/>
                    <a:pt x="1954" y="5394"/>
                    <a:pt x="1984" y="539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45" name="Freeform 423">
              <a:extLst>
                <a:ext uri="{FF2B5EF4-FFF2-40B4-BE49-F238E27FC236}">
                  <a16:creationId xmlns:a16="http://schemas.microsoft.com/office/drawing/2014/main" id="{B3C6C05C-41BC-4C28-9432-68D8026276BA}"/>
                </a:ext>
              </a:extLst>
            </p:cNvPr>
            <p:cNvSpPr>
              <a:spLocks noChangeArrowheads="1"/>
            </p:cNvSpPr>
            <p:nvPr/>
          </p:nvSpPr>
          <p:spPr bwMode="auto">
            <a:xfrm>
              <a:off x="4320175" y="4036150"/>
              <a:ext cx="11416" cy="11329"/>
            </a:xfrm>
            <a:custGeom>
              <a:avLst/>
              <a:gdLst>
                <a:gd name="T0" fmla="*/ 0 w 30"/>
                <a:gd name="T1" fmla="*/ 29 h 30"/>
                <a:gd name="T2" fmla="*/ 0 w 30"/>
                <a:gd name="T3" fmla="*/ 29 h 30"/>
                <a:gd name="T4" fmla="*/ 29 w 30"/>
                <a:gd name="T5" fmla="*/ 0 h 30"/>
                <a:gd name="T6" fmla="*/ 0 w 30"/>
                <a:gd name="T7" fmla="*/ 29 h 30"/>
              </a:gdLst>
              <a:ahLst/>
              <a:cxnLst>
                <a:cxn ang="0">
                  <a:pos x="T0" y="T1"/>
                </a:cxn>
                <a:cxn ang="0">
                  <a:pos x="T2" y="T3"/>
                </a:cxn>
                <a:cxn ang="0">
                  <a:pos x="T4" y="T5"/>
                </a:cxn>
                <a:cxn ang="0">
                  <a:pos x="T6" y="T7"/>
                </a:cxn>
              </a:cxnLst>
              <a:rect l="0" t="0" r="r" b="b"/>
              <a:pathLst>
                <a:path w="30" h="30">
                  <a:moveTo>
                    <a:pt x="0" y="29"/>
                  </a:moveTo>
                  <a:lnTo>
                    <a:pt x="0" y="29"/>
                  </a:lnTo>
                  <a:lnTo>
                    <a:pt x="29"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46" name="Freeform 424">
              <a:extLst>
                <a:ext uri="{FF2B5EF4-FFF2-40B4-BE49-F238E27FC236}">
                  <a16:creationId xmlns:a16="http://schemas.microsoft.com/office/drawing/2014/main" id="{2AEA6D3B-B1BF-46C8-B8AC-7A908FB516C1}"/>
                </a:ext>
              </a:extLst>
            </p:cNvPr>
            <p:cNvSpPr>
              <a:spLocks noChangeArrowheads="1"/>
            </p:cNvSpPr>
            <p:nvPr/>
          </p:nvSpPr>
          <p:spPr bwMode="auto">
            <a:xfrm>
              <a:off x="4352792" y="3971417"/>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47" name="Freeform 425">
              <a:extLst>
                <a:ext uri="{FF2B5EF4-FFF2-40B4-BE49-F238E27FC236}">
                  <a16:creationId xmlns:a16="http://schemas.microsoft.com/office/drawing/2014/main" id="{F083303C-AFA2-4FD6-97CF-DDC6FBFCEF8A}"/>
                </a:ext>
              </a:extLst>
            </p:cNvPr>
            <p:cNvSpPr>
              <a:spLocks noChangeArrowheads="1"/>
            </p:cNvSpPr>
            <p:nvPr/>
          </p:nvSpPr>
          <p:spPr bwMode="auto">
            <a:xfrm>
              <a:off x="4708316" y="4173707"/>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48" name="Freeform 426">
              <a:extLst>
                <a:ext uri="{FF2B5EF4-FFF2-40B4-BE49-F238E27FC236}">
                  <a16:creationId xmlns:a16="http://schemas.microsoft.com/office/drawing/2014/main" id="{BFADA114-090A-4928-8FF8-D829CFD2A457}"/>
                </a:ext>
              </a:extLst>
            </p:cNvPr>
            <p:cNvSpPr>
              <a:spLocks noChangeArrowheads="1"/>
            </p:cNvSpPr>
            <p:nvPr/>
          </p:nvSpPr>
          <p:spPr bwMode="auto">
            <a:xfrm>
              <a:off x="7630791" y="5201340"/>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49" name="Freeform 427">
              <a:extLst>
                <a:ext uri="{FF2B5EF4-FFF2-40B4-BE49-F238E27FC236}">
                  <a16:creationId xmlns:a16="http://schemas.microsoft.com/office/drawing/2014/main" id="{D6E639E4-7832-4DCE-A303-6D41B3A2A1DF}"/>
                </a:ext>
              </a:extLst>
            </p:cNvPr>
            <p:cNvSpPr>
              <a:spLocks noChangeArrowheads="1"/>
            </p:cNvSpPr>
            <p:nvPr/>
          </p:nvSpPr>
          <p:spPr bwMode="auto">
            <a:xfrm>
              <a:off x="7156216" y="5597829"/>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50" name="Freeform 428">
              <a:extLst>
                <a:ext uri="{FF2B5EF4-FFF2-40B4-BE49-F238E27FC236}">
                  <a16:creationId xmlns:a16="http://schemas.microsoft.com/office/drawing/2014/main" id="{093583DC-51F0-42D6-B7D7-42C38215212B}"/>
                </a:ext>
              </a:extLst>
            </p:cNvPr>
            <p:cNvSpPr>
              <a:spLocks noChangeArrowheads="1"/>
            </p:cNvSpPr>
            <p:nvPr/>
          </p:nvSpPr>
          <p:spPr bwMode="auto">
            <a:xfrm>
              <a:off x="7609591" y="5201340"/>
              <a:ext cx="22832" cy="11329"/>
            </a:xfrm>
            <a:custGeom>
              <a:avLst/>
              <a:gdLst>
                <a:gd name="T0" fmla="*/ 59 w 60"/>
                <a:gd name="T1" fmla="*/ 0 h 30"/>
                <a:gd name="T2" fmla="*/ 59 w 60"/>
                <a:gd name="T3" fmla="*/ 0 h 30"/>
                <a:gd name="T4" fmla="*/ 29 w 60"/>
                <a:gd name="T5" fmla="*/ 29 h 30"/>
                <a:gd name="T6" fmla="*/ 0 w 60"/>
                <a:gd name="T7" fmla="*/ 29 h 30"/>
                <a:gd name="T8" fmla="*/ 29 w 60"/>
                <a:gd name="T9" fmla="*/ 29 h 30"/>
                <a:gd name="T10" fmla="*/ 59 w 60"/>
                <a:gd name="T11" fmla="*/ 0 h 30"/>
              </a:gdLst>
              <a:ahLst/>
              <a:cxnLst>
                <a:cxn ang="0">
                  <a:pos x="T0" y="T1"/>
                </a:cxn>
                <a:cxn ang="0">
                  <a:pos x="T2" y="T3"/>
                </a:cxn>
                <a:cxn ang="0">
                  <a:pos x="T4" y="T5"/>
                </a:cxn>
                <a:cxn ang="0">
                  <a:pos x="T6" y="T7"/>
                </a:cxn>
                <a:cxn ang="0">
                  <a:pos x="T8" y="T9"/>
                </a:cxn>
                <a:cxn ang="0">
                  <a:pos x="T10" y="T11"/>
                </a:cxn>
              </a:cxnLst>
              <a:rect l="0" t="0" r="r" b="b"/>
              <a:pathLst>
                <a:path w="60" h="30">
                  <a:moveTo>
                    <a:pt x="59" y="0"/>
                  </a:moveTo>
                  <a:lnTo>
                    <a:pt x="59" y="0"/>
                  </a:lnTo>
                  <a:cubicBezTo>
                    <a:pt x="29" y="0"/>
                    <a:pt x="29" y="29"/>
                    <a:pt x="29" y="29"/>
                  </a:cubicBezTo>
                  <a:cubicBezTo>
                    <a:pt x="0" y="29"/>
                    <a:pt x="0" y="29"/>
                    <a:pt x="0" y="29"/>
                  </a:cubicBezTo>
                  <a:cubicBezTo>
                    <a:pt x="29" y="29"/>
                    <a:pt x="29" y="29"/>
                    <a:pt x="29" y="29"/>
                  </a:cubicBezTo>
                  <a:cubicBezTo>
                    <a:pt x="29" y="29"/>
                    <a:pt x="29" y="0"/>
                    <a:pt x="5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51" name="Freeform 429">
              <a:extLst>
                <a:ext uri="{FF2B5EF4-FFF2-40B4-BE49-F238E27FC236}">
                  <a16:creationId xmlns:a16="http://schemas.microsoft.com/office/drawing/2014/main" id="{7CBC2785-9905-4D3E-A0D4-291D77378DDB}"/>
                </a:ext>
              </a:extLst>
            </p:cNvPr>
            <p:cNvSpPr>
              <a:spLocks noChangeArrowheads="1"/>
            </p:cNvSpPr>
            <p:nvPr/>
          </p:nvSpPr>
          <p:spPr bwMode="auto">
            <a:xfrm>
              <a:off x="7598174" y="5212669"/>
              <a:ext cx="32617" cy="43694"/>
            </a:xfrm>
            <a:custGeom>
              <a:avLst/>
              <a:gdLst>
                <a:gd name="T0" fmla="*/ 58 w 89"/>
                <a:gd name="T1" fmla="*/ 58 h 118"/>
                <a:gd name="T2" fmla="*/ 58 w 89"/>
                <a:gd name="T3" fmla="*/ 58 h 118"/>
                <a:gd name="T4" fmla="*/ 58 w 89"/>
                <a:gd name="T5" fmla="*/ 58 h 118"/>
                <a:gd name="T6" fmla="*/ 88 w 89"/>
                <a:gd name="T7" fmla="*/ 0 h 118"/>
                <a:gd name="T8" fmla="*/ 58 w 89"/>
                <a:gd name="T9" fmla="*/ 58 h 118"/>
                <a:gd name="T10" fmla="*/ 58 w 89"/>
                <a:gd name="T11" fmla="*/ 58 h 118"/>
                <a:gd name="T12" fmla="*/ 0 w 89"/>
                <a:gd name="T13" fmla="*/ 117 h 118"/>
                <a:gd name="T14" fmla="*/ 58 w 89"/>
                <a:gd name="T15" fmla="*/ 58 h 1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18">
                  <a:moveTo>
                    <a:pt x="58" y="58"/>
                  </a:moveTo>
                  <a:lnTo>
                    <a:pt x="58" y="58"/>
                  </a:lnTo>
                  <a:lnTo>
                    <a:pt x="58" y="58"/>
                  </a:lnTo>
                  <a:cubicBezTo>
                    <a:pt x="58" y="29"/>
                    <a:pt x="58" y="29"/>
                    <a:pt x="88" y="0"/>
                  </a:cubicBezTo>
                  <a:cubicBezTo>
                    <a:pt x="58" y="29"/>
                    <a:pt x="58" y="29"/>
                    <a:pt x="58" y="58"/>
                  </a:cubicBezTo>
                  <a:lnTo>
                    <a:pt x="58" y="58"/>
                  </a:lnTo>
                  <a:cubicBezTo>
                    <a:pt x="29" y="87"/>
                    <a:pt x="29" y="87"/>
                    <a:pt x="0" y="117"/>
                  </a:cubicBezTo>
                  <a:cubicBezTo>
                    <a:pt x="29" y="87"/>
                    <a:pt x="29" y="87"/>
                    <a:pt x="58"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52" name="Freeform 430">
              <a:extLst>
                <a:ext uri="{FF2B5EF4-FFF2-40B4-BE49-F238E27FC236}">
                  <a16:creationId xmlns:a16="http://schemas.microsoft.com/office/drawing/2014/main" id="{A6125EE5-4F09-4103-9BFC-DBE36B0D0583}"/>
                </a:ext>
              </a:extLst>
            </p:cNvPr>
            <p:cNvSpPr>
              <a:spLocks noChangeArrowheads="1"/>
            </p:cNvSpPr>
            <p:nvPr/>
          </p:nvSpPr>
          <p:spPr bwMode="auto">
            <a:xfrm>
              <a:off x="7609591" y="5201340"/>
              <a:ext cx="1630" cy="11329"/>
            </a:xfrm>
            <a:custGeom>
              <a:avLst/>
              <a:gdLst>
                <a:gd name="T0" fmla="*/ 0 w 1"/>
                <a:gd name="T1" fmla="*/ 0 h 30"/>
                <a:gd name="T2" fmla="*/ 0 w 1"/>
                <a:gd name="T3" fmla="*/ 0 h 30"/>
                <a:gd name="T4" fmla="*/ 0 w 1"/>
                <a:gd name="T5" fmla="*/ 0 h 30"/>
                <a:gd name="T6" fmla="*/ 0 w 1"/>
                <a:gd name="T7" fmla="*/ 0 h 30"/>
                <a:gd name="T8" fmla="*/ 0 w 1"/>
                <a:gd name="T9" fmla="*/ 29 h 30"/>
                <a:gd name="T10" fmla="*/ 0 w 1"/>
                <a:gd name="T11" fmla="*/ 0 h 30"/>
              </a:gdLst>
              <a:ahLst/>
              <a:cxnLst>
                <a:cxn ang="0">
                  <a:pos x="T0" y="T1"/>
                </a:cxn>
                <a:cxn ang="0">
                  <a:pos x="T2" y="T3"/>
                </a:cxn>
                <a:cxn ang="0">
                  <a:pos x="T4" y="T5"/>
                </a:cxn>
                <a:cxn ang="0">
                  <a:pos x="T6" y="T7"/>
                </a:cxn>
                <a:cxn ang="0">
                  <a:pos x="T8" y="T9"/>
                </a:cxn>
                <a:cxn ang="0">
                  <a:pos x="T10" y="T11"/>
                </a:cxn>
              </a:cxnLst>
              <a:rect l="0" t="0" r="r" b="b"/>
              <a:pathLst>
                <a:path w="1" h="30">
                  <a:moveTo>
                    <a:pt x="0" y="0"/>
                  </a:moveTo>
                  <a:lnTo>
                    <a:pt x="0" y="0"/>
                  </a:lnTo>
                  <a:lnTo>
                    <a:pt x="0" y="0"/>
                  </a:lnTo>
                  <a:lnTo>
                    <a:pt x="0" y="0"/>
                  </a:lnTo>
                  <a:cubicBezTo>
                    <a:pt x="0" y="29"/>
                    <a:pt x="0" y="29"/>
                    <a:pt x="0" y="29"/>
                  </a:cubicBez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53" name="Freeform 431">
              <a:extLst>
                <a:ext uri="{FF2B5EF4-FFF2-40B4-BE49-F238E27FC236}">
                  <a16:creationId xmlns:a16="http://schemas.microsoft.com/office/drawing/2014/main" id="{78479ACB-A794-4E27-854D-F7C16632B6E0}"/>
                </a:ext>
              </a:extLst>
            </p:cNvPr>
            <p:cNvSpPr>
              <a:spLocks noChangeArrowheads="1"/>
            </p:cNvSpPr>
            <p:nvPr/>
          </p:nvSpPr>
          <p:spPr bwMode="auto">
            <a:xfrm>
              <a:off x="7102397" y="5500730"/>
              <a:ext cx="1631" cy="11328"/>
            </a:xfrm>
            <a:custGeom>
              <a:avLst/>
              <a:gdLst>
                <a:gd name="T0" fmla="*/ 0 w 1"/>
                <a:gd name="T1" fmla="*/ 0 h 31"/>
                <a:gd name="T2" fmla="*/ 0 w 1"/>
                <a:gd name="T3" fmla="*/ 0 h 31"/>
                <a:gd name="T4" fmla="*/ 0 w 1"/>
                <a:gd name="T5" fmla="*/ 30 h 31"/>
                <a:gd name="T6" fmla="*/ 0 w 1"/>
                <a:gd name="T7" fmla="*/ 0 h 31"/>
              </a:gdLst>
              <a:ahLst/>
              <a:cxnLst>
                <a:cxn ang="0">
                  <a:pos x="T0" y="T1"/>
                </a:cxn>
                <a:cxn ang="0">
                  <a:pos x="T2" y="T3"/>
                </a:cxn>
                <a:cxn ang="0">
                  <a:pos x="T4" y="T5"/>
                </a:cxn>
                <a:cxn ang="0">
                  <a:pos x="T6" y="T7"/>
                </a:cxn>
              </a:cxnLst>
              <a:rect l="0" t="0" r="r" b="b"/>
              <a:pathLst>
                <a:path w="1" h="31">
                  <a:moveTo>
                    <a:pt x="0" y="0"/>
                  </a:moveTo>
                  <a:lnTo>
                    <a:pt x="0" y="0"/>
                  </a:lnTo>
                  <a:lnTo>
                    <a:pt x="0" y="3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54" name="Freeform 432">
              <a:extLst>
                <a:ext uri="{FF2B5EF4-FFF2-40B4-BE49-F238E27FC236}">
                  <a16:creationId xmlns:a16="http://schemas.microsoft.com/office/drawing/2014/main" id="{41172342-B263-4F09-B7EF-2230B726455D}"/>
                </a:ext>
              </a:extLst>
            </p:cNvPr>
            <p:cNvSpPr>
              <a:spLocks noChangeArrowheads="1"/>
            </p:cNvSpPr>
            <p:nvPr/>
          </p:nvSpPr>
          <p:spPr bwMode="auto">
            <a:xfrm>
              <a:off x="5624851" y="3521524"/>
              <a:ext cx="993185" cy="1038961"/>
            </a:xfrm>
            <a:custGeom>
              <a:avLst/>
              <a:gdLst>
                <a:gd name="T0" fmla="*/ 1604 w 2684"/>
                <a:gd name="T1" fmla="*/ 2683 h 2830"/>
                <a:gd name="T2" fmla="*/ 1604 w 2684"/>
                <a:gd name="T3" fmla="*/ 2683 h 2830"/>
                <a:gd name="T4" fmla="*/ 2508 w 2684"/>
                <a:gd name="T5" fmla="*/ 2771 h 2830"/>
                <a:gd name="T6" fmla="*/ 2683 w 2684"/>
                <a:gd name="T7" fmla="*/ 321 h 2830"/>
                <a:gd name="T8" fmla="*/ 2071 w 2684"/>
                <a:gd name="T9" fmla="*/ 233 h 2830"/>
                <a:gd name="T10" fmla="*/ 379 w 2684"/>
                <a:gd name="T11" fmla="*/ 0 h 2830"/>
                <a:gd name="T12" fmla="*/ 0 w 2684"/>
                <a:gd name="T13" fmla="*/ 2771 h 2830"/>
                <a:gd name="T14" fmla="*/ 262 w 2684"/>
                <a:gd name="T15" fmla="*/ 2829 h 2830"/>
                <a:gd name="T16" fmla="*/ 292 w 2684"/>
                <a:gd name="T17" fmla="*/ 2625 h 2830"/>
                <a:gd name="T18" fmla="*/ 292 w 2684"/>
                <a:gd name="T19" fmla="*/ 2595 h 2830"/>
                <a:gd name="T20" fmla="*/ 409 w 2684"/>
                <a:gd name="T21" fmla="*/ 2625 h 2830"/>
                <a:gd name="T22" fmla="*/ 1021 w 2684"/>
                <a:gd name="T23" fmla="*/ 2712 h 2830"/>
                <a:gd name="T24" fmla="*/ 1021 w 2684"/>
                <a:gd name="T25" fmla="*/ 2712 h 2830"/>
                <a:gd name="T26" fmla="*/ 1050 w 2684"/>
                <a:gd name="T27" fmla="*/ 2625 h 2830"/>
                <a:gd name="T28" fmla="*/ 1050 w 2684"/>
                <a:gd name="T29" fmla="*/ 2625 h 2830"/>
                <a:gd name="T30" fmla="*/ 1050 w 2684"/>
                <a:gd name="T31" fmla="*/ 2625 h 2830"/>
                <a:gd name="T32" fmla="*/ 1604 w 2684"/>
                <a:gd name="T33" fmla="*/ 2683 h 2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84" h="2830">
                  <a:moveTo>
                    <a:pt x="1604" y="2683"/>
                  </a:moveTo>
                  <a:lnTo>
                    <a:pt x="1604" y="2683"/>
                  </a:lnTo>
                  <a:cubicBezTo>
                    <a:pt x="1895" y="2712"/>
                    <a:pt x="2187" y="2742"/>
                    <a:pt x="2508" y="2771"/>
                  </a:cubicBezTo>
                  <a:cubicBezTo>
                    <a:pt x="2566" y="2042"/>
                    <a:pt x="2625" y="1225"/>
                    <a:pt x="2683" y="321"/>
                  </a:cubicBezTo>
                  <a:cubicBezTo>
                    <a:pt x="2508" y="292"/>
                    <a:pt x="2275" y="262"/>
                    <a:pt x="2071" y="233"/>
                  </a:cubicBezTo>
                  <a:cubicBezTo>
                    <a:pt x="1516" y="175"/>
                    <a:pt x="933" y="88"/>
                    <a:pt x="379" y="0"/>
                  </a:cubicBezTo>
                  <a:cubicBezTo>
                    <a:pt x="292" y="759"/>
                    <a:pt x="145" y="1750"/>
                    <a:pt x="0" y="2771"/>
                  </a:cubicBezTo>
                  <a:cubicBezTo>
                    <a:pt x="88" y="2800"/>
                    <a:pt x="175" y="2800"/>
                    <a:pt x="262" y="2829"/>
                  </a:cubicBezTo>
                  <a:cubicBezTo>
                    <a:pt x="262" y="2742"/>
                    <a:pt x="262" y="2683"/>
                    <a:pt x="292" y="2625"/>
                  </a:cubicBezTo>
                  <a:cubicBezTo>
                    <a:pt x="292" y="2595"/>
                    <a:pt x="292" y="2595"/>
                    <a:pt x="292" y="2595"/>
                  </a:cubicBezTo>
                  <a:cubicBezTo>
                    <a:pt x="409" y="2625"/>
                    <a:pt x="409" y="2625"/>
                    <a:pt x="409" y="2625"/>
                  </a:cubicBezTo>
                  <a:cubicBezTo>
                    <a:pt x="612" y="2654"/>
                    <a:pt x="816" y="2683"/>
                    <a:pt x="1021" y="2712"/>
                  </a:cubicBezTo>
                  <a:lnTo>
                    <a:pt x="1021" y="2712"/>
                  </a:lnTo>
                  <a:cubicBezTo>
                    <a:pt x="1021" y="2683"/>
                    <a:pt x="1021" y="2654"/>
                    <a:pt x="1050" y="2625"/>
                  </a:cubicBezTo>
                  <a:lnTo>
                    <a:pt x="1050" y="2625"/>
                  </a:lnTo>
                  <a:lnTo>
                    <a:pt x="1050" y="2625"/>
                  </a:lnTo>
                  <a:cubicBezTo>
                    <a:pt x="1254" y="2625"/>
                    <a:pt x="1429" y="2654"/>
                    <a:pt x="1604" y="268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55" name="Freeform 433">
              <a:extLst>
                <a:ext uri="{FF2B5EF4-FFF2-40B4-BE49-F238E27FC236}">
                  <a16:creationId xmlns:a16="http://schemas.microsoft.com/office/drawing/2014/main" id="{1E7494C5-992C-47DC-AA5C-906F91319587}"/>
                </a:ext>
              </a:extLst>
            </p:cNvPr>
            <p:cNvSpPr>
              <a:spLocks noChangeArrowheads="1"/>
            </p:cNvSpPr>
            <p:nvPr/>
          </p:nvSpPr>
          <p:spPr bwMode="auto">
            <a:xfrm>
              <a:off x="5494384" y="4537829"/>
              <a:ext cx="107636" cy="11329"/>
            </a:xfrm>
            <a:custGeom>
              <a:avLst/>
              <a:gdLst>
                <a:gd name="T0" fmla="*/ 292 w 293"/>
                <a:gd name="T1" fmla="*/ 29 h 30"/>
                <a:gd name="T2" fmla="*/ 292 w 293"/>
                <a:gd name="T3" fmla="*/ 29 h 30"/>
                <a:gd name="T4" fmla="*/ 0 w 293"/>
                <a:gd name="T5" fmla="*/ 0 h 30"/>
                <a:gd name="T6" fmla="*/ 292 w 293"/>
                <a:gd name="T7" fmla="*/ 29 h 30"/>
              </a:gdLst>
              <a:ahLst/>
              <a:cxnLst>
                <a:cxn ang="0">
                  <a:pos x="T0" y="T1"/>
                </a:cxn>
                <a:cxn ang="0">
                  <a:pos x="T2" y="T3"/>
                </a:cxn>
                <a:cxn ang="0">
                  <a:pos x="T4" y="T5"/>
                </a:cxn>
                <a:cxn ang="0">
                  <a:pos x="T6" y="T7"/>
                </a:cxn>
              </a:cxnLst>
              <a:rect l="0" t="0" r="r" b="b"/>
              <a:pathLst>
                <a:path w="293" h="30">
                  <a:moveTo>
                    <a:pt x="292" y="29"/>
                  </a:moveTo>
                  <a:lnTo>
                    <a:pt x="292" y="29"/>
                  </a:lnTo>
                  <a:cubicBezTo>
                    <a:pt x="204" y="29"/>
                    <a:pt x="88" y="0"/>
                    <a:pt x="0" y="0"/>
                  </a:cubicBezTo>
                  <a:cubicBezTo>
                    <a:pt x="88" y="0"/>
                    <a:pt x="204" y="29"/>
                    <a:pt x="292"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56" name="Freeform 434">
              <a:extLst>
                <a:ext uri="{FF2B5EF4-FFF2-40B4-BE49-F238E27FC236}">
                  <a16:creationId xmlns:a16="http://schemas.microsoft.com/office/drawing/2014/main" id="{6EBD915A-81EB-40AC-A5F6-2284FD06F20D}"/>
                </a:ext>
              </a:extLst>
            </p:cNvPr>
            <p:cNvSpPr>
              <a:spLocks noChangeArrowheads="1"/>
            </p:cNvSpPr>
            <p:nvPr/>
          </p:nvSpPr>
          <p:spPr bwMode="auto">
            <a:xfrm>
              <a:off x="4729518" y="3393677"/>
              <a:ext cx="1014386" cy="1145771"/>
            </a:xfrm>
            <a:custGeom>
              <a:avLst/>
              <a:gdLst>
                <a:gd name="T0" fmla="*/ 2742 w 2743"/>
                <a:gd name="T1" fmla="*/ 350 h 3122"/>
                <a:gd name="T2" fmla="*/ 2742 w 2743"/>
                <a:gd name="T3" fmla="*/ 350 h 3122"/>
                <a:gd name="T4" fmla="*/ 788 w 2743"/>
                <a:gd name="T5" fmla="*/ 0 h 3122"/>
                <a:gd name="T6" fmla="*/ 671 w 2743"/>
                <a:gd name="T7" fmla="*/ 409 h 3122"/>
                <a:gd name="T8" fmla="*/ 671 w 2743"/>
                <a:gd name="T9" fmla="*/ 438 h 3122"/>
                <a:gd name="T10" fmla="*/ 642 w 2743"/>
                <a:gd name="T11" fmla="*/ 438 h 3122"/>
                <a:gd name="T12" fmla="*/ 554 w 2743"/>
                <a:gd name="T13" fmla="*/ 321 h 3122"/>
                <a:gd name="T14" fmla="*/ 496 w 2743"/>
                <a:gd name="T15" fmla="*/ 291 h 3122"/>
                <a:gd name="T16" fmla="*/ 409 w 2743"/>
                <a:gd name="T17" fmla="*/ 291 h 3122"/>
                <a:gd name="T18" fmla="*/ 380 w 2743"/>
                <a:gd name="T19" fmla="*/ 379 h 3122"/>
                <a:gd name="T20" fmla="*/ 380 w 2743"/>
                <a:gd name="T21" fmla="*/ 466 h 3122"/>
                <a:gd name="T22" fmla="*/ 350 w 2743"/>
                <a:gd name="T23" fmla="*/ 525 h 3122"/>
                <a:gd name="T24" fmla="*/ 321 w 2743"/>
                <a:gd name="T25" fmla="*/ 612 h 3122"/>
                <a:gd name="T26" fmla="*/ 350 w 2743"/>
                <a:gd name="T27" fmla="*/ 700 h 3122"/>
                <a:gd name="T28" fmla="*/ 350 w 2743"/>
                <a:gd name="T29" fmla="*/ 845 h 3122"/>
                <a:gd name="T30" fmla="*/ 321 w 2743"/>
                <a:gd name="T31" fmla="*/ 904 h 3122"/>
                <a:gd name="T32" fmla="*/ 321 w 2743"/>
                <a:gd name="T33" fmla="*/ 904 h 3122"/>
                <a:gd name="T34" fmla="*/ 321 w 2743"/>
                <a:gd name="T35" fmla="*/ 962 h 3122"/>
                <a:gd name="T36" fmla="*/ 321 w 2743"/>
                <a:gd name="T37" fmla="*/ 991 h 3122"/>
                <a:gd name="T38" fmla="*/ 350 w 2743"/>
                <a:gd name="T39" fmla="*/ 1021 h 3122"/>
                <a:gd name="T40" fmla="*/ 380 w 2743"/>
                <a:gd name="T41" fmla="*/ 1079 h 3122"/>
                <a:gd name="T42" fmla="*/ 380 w 2743"/>
                <a:gd name="T43" fmla="*/ 1109 h 3122"/>
                <a:gd name="T44" fmla="*/ 380 w 2743"/>
                <a:gd name="T45" fmla="*/ 1137 h 3122"/>
                <a:gd name="T46" fmla="*/ 409 w 2743"/>
                <a:gd name="T47" fmla="*/ 1166 h 3122"/>
                <a:gd name="T48" fmla="*/ 438 w 2743"/>
                <a:gd name="T49" fmla="*/ 1254 h 3122"/>
                <a:gd name="T50" fmla="*/ 380 w 2743"/>
                <a:gd name="T51" fmla="*/ 1312 h 3122"/>
                <a:gd name="T52" fmla="*/ 350 w 2743"/>
                <a:gd name="T53" fmla="*/ 1342 h 3122"/>
                <a:gd name="T54" fmla="*/ 321 w 2743"/>
                <a:gd name="T55" fmla="*/ 1400 h 3122"/>
                <a:gd name="T56" fmla="*/ 321 w 2743"/>
                <a:gd name="T57" fmla="*/ 1429 h 3122"/>
                <a:gd name="T58" fmla="*/ 292 w 2743"/>
                <a:gd name="T59" fmla="*/ 1459 h 3122"/>
                <a:gd name="T60" fmla="*/ 204 w 2743"/>
                <a:gd name="T61" fmla="*/ 1545 h 3122"/>
                <a:gd name="T62" fmla="*/ 146 w 2743"/>
                <a:gd name="T63" fmla="*/ 1662 h 3122"/>
                <a:gd name="T64" fmla="*/ 117 w 2743"/>
                <a:gd name="T65" fmla="*/ 1779 h 3122"/>
                <a:gd name="T66" fmla="*/ 146 w 2743"/>
                <a:gd name="T67" fmla="*/ 1866 h 3122"/>
                <a:gd name="T68" fmla="*/ 175 w 2743"/>
                <a:gd name="T69" fmla="*/ 1895 h 3122"/>
                <a:gd name="T70" fmla="*/ 175 w 2743"/>
                <a:gd name="T71" fmla="*/ 1925 h 3122"/>
                <a:gd name="T72" fmla="*/ 204 w 2743"/>
                <a:gd name="T73" fmla="*/ 2012 h 3122"/>
                <a:gd name="T74" fmla="*/ 204 w 2743"/>
                <a:gd name="T75" fmla="*/ 2012 h 3122"/>
                <a:gd name="T76" fmla="*/ 204 w 2743"/>
                <a:gd name="T77" fmla="*/ 2012 h 3122"/>
                <a:gd name="T78" fmla="*/ 59 w 2743"/>
                <a:gd name="T79" fmla="*/ 2042 h 3122"/>
                <a:gd name="T80" fmla="*/ 59 w 2743"/>
                <a:gd name="T81" fmla="*/ 2042 h 3122"/>
                <a:gd name="T82" fmla="*/ 0 w 2743"/>
                <a:gd name="T83" fmla="*/ 2129 h 3122"/>
                <a:gd name="T84" fmla="*/ 788 w 2743"/>
                <a:gd name="T85" fmla="*/ 2566 h 3122"/>
                <a:gd name="T86" fmla="*/ 1342 w 2743"/>
                <a:gd name="T87" fmla="*/ 2887 h 3122"/>
                <a:gd name="T88" fmla="*/ 1400 w 2743"/>
                <a:gd name="T89" fmla="*/ 2916 h 3122"/>
                <a:gd name="T90" fmla="*/ 1516 w 2743"/>
                <a:gd name="T91" fmla="*/ 2975 h 3122"/>
                <a:gd name="T92" fmla="*/ 1663 w 2743"/>
                <a:gd name="T93" fmla="*/ 3004 h 3122"/>
                <a:gd name="T94" fmla="*/ 1721 w 2743"/>
                <a:gd name="T95" fmla="*/ 3004 h 3122"/>
                <a:gd name="T96" fmla="*/ 1954 w 2743"/>
                <a:gd name="T97" fmla="*/ 3062 h 3122"/>
                <a:gd name="T98" fmla="*/ 2363 w 2743"/>
                <a:gd name="T99" fmla="*/ 3121 h 3122"/>
                <a:gd name="T100" fmla="*/ 2537 w 2743"/>
                <a:gd name="T101" fmla="*/ 1837 h 3122"/>
                <a:gd name="T102" fmla="*/ 2742 w 2743"/>
                <a:gd name="T103" fmla="*/ 350 h 3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43" h="3122">
                  <a:moveTo>
                    <a:pt x="2742" y="350"/>
                  </a:moveTo>
                  <a:lnTo>
                    <a:pt x="2742" y="350"/>
                  </a:lnTo>
                  <a:cubicBezTo>
                    <a:pt x="2012" y="233"/>
                    <a:pt x="1400" y="116"/>
                    <a:pt x="788" y="0"/>
                  </a:cubicBezTo>
                  <a:cubicBezTo>
                    <a:pt x="730" y="145"/>
                    <a:pt x="700" y="291"/>
                    <a:pt x="671" y="409"/>
                  </a:cubicBezTo>
                  <a:cubicBezTo>
                    <a:pt x="671" y="438"/>
                    <a:pt x="671" y="438"/>
                    <a:pt x="671" y="438"/>
                  </a:cubicBezTo>
                  <a:cubicBezTo>
                    <a:pt x="642" y="438"/>
                    <a:pt x="642" y="438"/>
                    <a:pt x="642" y="438"/>
                  </a:cubicBezTo>
                  <a:cubicBezTo>
                    <a:pt x="613" y="409"/>
                    <a:pt x="583" y="350"/>
                    <a:pt x="554" y="321"/>
                  </a:cubicBezTo>
                  <a:cubicBezTo>
                    <a:pt x="525" y="321"/>
                    <a:pt x="525" y="291"/>
                    <a:pt x="496" y="291"/>
                  </a:cubicBezTo>
                  <a:cubicBezTo>
                    <a:pt x="467" y="291"/>
                    <a:pt x="438" y="291"/>
                    <a:pt x="409" y="291"/>
                  </a:cubicBezTo>
                  <a:cubicBezTo>
                    <a:pt x="380" y="321"/>
                    <a:pt x="380" y="350"/>
                    <a:pt x="380" y="379"/>
                  </a:cubicBezTo>
                  <a:cubicBezTo>
                    <a:pt x="380" y="409"/>
                    <a:pt x="380" y="438"/>
                    <a:pt x="380" y="466"/>
                  </a:cubicBezTo>
                  <a:cubicBezTo>
                    <a:pt x="380" y="495"/>
                    <a:pt x="350" y="525"/>
                    <a:pt x="350" y="525"/>
                  </a:cubicBezTo>
                  <a:cubicBezTo>
                    <a:pt x="321" y="554"/>
                    <a:pt x="321" y="583"/>
                    <a:pt x="321" y="612"/>
                  </a:cubicBezTo>
                  <a:cubicBezTo>
                    <a:pt x="321" y="642"/>
                    <a:pt x="321" y="671"/>
                    <a:pt x="350" y="700"/>
                  </a:cubicBezTo>
                  <a:cubicBezTo>
                    <a:pt x="350" y="759"/>
                    <a:pt x="350" y="787"/>
                    <a:pt x="350" y="845"/>
                  </a:cubicBezTo>
                  <a:cubicBezTo>
                    <a:pt x="350" y="875"/>
                    <a:pt x="321" y="875"/>
                    <a:pt x="321" y="904"/>
                  </a:cubicBezTo>
                  <a:lnTo>
                    <a:pt x="321" y="904"/>
                  </a:lnTo>
                  <a:cubicBezTo>
                    <a:pt x="321" y="933"/>
                    <a:pt x="321" y="933"/>
                    <a:pt x="321" y="962"/>
                  </a:cubicBezTo>
                  <a:lnTo>
                    <a:pt x="321" y="991"/>
                  </a:lnTo>
                  <a:lnTo>
                    <a:pt x="350" y="1021"/>
                  </a:lnTo>
                  <a:cubicBezTo>
                    <a:pt x="350" y="1050"/>
                    <a:pt x="380" y="1079"/>
                    <a:pt x="380" y="1079"/>
                  </a:cubicBezTo>
                  <a:cubicBezTo>
                    <a:pt x="380" y="1109"/>
                    <a:pt x="380" y="1109"/>
                    <a:pt x="380" y="1109"/>
                  </a:cubicBezTo>
                  <a:cubicBezTo>
                    <a:pt x="380" y="1137"/>
                    <a:pt x="380" y="1137"/>
                    <a:pt x="380" y="1137"/>
                  </a:cubicBezTo>
                  <a:cubicBezTo>
                    <a:pt x="380" y="1137"/>
                    <a:pt x="380" y="1166"/>
                    <a:pt x="409" y="1166"/>
                  </a:cubicBezTo>
                  <a:cubicBezTo>
                    <a:pt x="409" y="1195"/>
                    <a:pt x="438" y="1195"/>
                    <a:pt x="438" y="1254"/>
                  </a:cubicBezTo>
                  <a:cubicBezTo>
                    <a:pt x="438" y="1283"/>
                    <a:pt x="409" y="1312"/>
                    <a:pt x="380" y="1312"/>
                  </a:cubicBezTo>
                  <a:cubicBezTo>
                    <a:pt x="380" y="1342"/>
                    <a:pt x="380" y="1342"/>
                    <a:pt x="350" y="1342"/>
                  </a:cubicBezTo>
                  <a:cubicBezTo>
                    <a:pt x="350" y="1371"/>
                    <a:pt x="350" y="1371"/>
                    <a:pt x="321" y="1400"/>
                  </a:cubicBezTo>
                  <a:lnTo>
                    <a:pt x="321" y="1429"/>
                  </a:lnTo>
                  <a:cubicBezTo>
                    <a:pt x="292" y="1429"/>
                    <a:pt x="292" y="1459"/>
                    <a:pt x="292" y="1459"/>
                  </a:cubicBezTo>
                  <a:cubicBezTo>
                    <a:pt x="263" y="1487"/>
                    <a:pt x="263" y="1545"/>
                    <a:pt x="204" y="1545"/>
                  </a:cubicBezTo>
                  <a:cubicBezTo>
                    <a:pt x="204" y="1604"/>
                    <a:pt x="175" y="1633"/>
                    <a:pt x="146" y="1662"/>
                  </a:cubicBezTo>
                  <a:cubicBezTo>
                    <a:pt x="117" y="1692"/>
                    <a:pt x="117" y="1750"/>
                    <a:pt x="117" y="1779"/>
                  </a:cubicBezTo>
                  <a:cubicBezTo>
                    <a:pt x="117" y="1809"/>
                    <a:pt x="117" y="1837"/>
                    <a:pt x="146" y="1866"/>
                  </a:cubicBezTo>
                  <a:cubicBezTo>
                    <a:pt x="146" y="1866"/>
                    <a:pt x="146" y="1866"/>
                    <a:pt x="175" y="1895"/>
                  </a:cubicBezTo>
                  <a:cubicBezTo>
                    <a:pt x="175" y="1895"/>
                    <a:pt x="175" y="1895"/>
                    <a:pt x="175" y="1925"/>
                  </a:cubicBezTo>
                  <a:cubicBezTo>
                    <a:pt x="204" y="1925"/>
                    <a:pt x="204" y="1954"/>
                    <a:pt x="204" y="2012"/>
                  </a:cubicBezTo>
                  <a:lnTo>
                    <a:pt x="204" y="2012"/>
                  </a:lnTo>
                  <a:lnTo>
                    <a:pt x="204" y="2012"/>
                  </a:lnTo>
                  <a:cubicBezTo>
                    <a:pt x="175" y="2042"/>
                    <a:pt x="117" y="2042"/>
                    <a:pt x="59" y="2042"/>
                  </a:cubicBezTo>
                  <a:lnTo>
                    <a:pt x="59" y="2042"/>
                  </a:lnTo>
                  <a:cubicBezTo>
                    <a:pt x="30" y="2071"/>
                    <a:pt x="0" y="2100"/>
                    <a:pt x="0" y="2129"/>
                  </a:cubicBezTo>
                  <a:cubicBezTo>
                    <a:pt x="263" y="2275"/>
                    <a:pt x="525" y="2421"/>
                    <a:pt x="788" y="2566"/>
                  </a:cubicBezTo>
                  <a:cubicBezTo>
                    <a:pt x="963" y="2654"/>
                    <a:pt x="1138" y="2771"/>
                    <a:pt x="1342" y="2887"/>
                  </a:cubicBezTo>
                  <a:cubicBezTo>
                    <a:pt x="1342" y="2887"/>
                    <a:pt x="1371" y="2887"/>
                    <a:pt x="1400" y="2916"/>
                  </a:cubicBezTo>
                  <a:cubicBezTo>
                    <a:pt x="1430" y="2945"/>
                    <a:pt x="1488" y="2975"/>
                    <a:pt x="1516" y="2975"/>
                  </a:cubicBezTo>
                  <a:cubicBezTo>
                    <a:pt x="1546" y="3004"/>
                    <a:pt x="1604" y="3004"/>
                    <a:pt x="1663" y="3004"/>
                  </a:cubicBezTo>
                  <a:cubicBezTo>
                    <a:pt x="1692" y="3004"/>
                    <a:pt x="1721" y="3004"/>
                    <a:pt x="1721" y="3004"/>
                  </a:cubicBezTo>
                  <a:cubicBezTo>
                    <a:pt x="1809" y="3033"/>
                    <a:pt x="1866" y="3033"/>
                    <a:pt x="1954" y="3062"/>
                  </a:cubicBezTo>
                  <a:cubicBezTo>
                    <a:pt x="2071" y="3062"/>
                    <a:pt x="2216" y="3092"/>
                    <a:pt x="2363" y="3121"/>
                  </a:cubicBezTo>
                  <a:cubicBezTo>
                    <a:pt x="2421" y="2683"/>
                    <a:pt x="2480" y="2275"/>
                    <a:pt x="2537" y="1837"/>
                  </a:cubicBezTo>
                  <a:cubicBezTo>
                    <a:pt x="2625" y="1342"/>
                    <a:pt x="2683" y="845"/>
                    <a:pt x="2742" y="35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57" name="Freeform 435">
              <a:extLst>
                <a:ext uri="{FF2B5EF4-FFF2-40B4-BE49-F238E27FC236}">
                  <a16:creationId xmlns:a16="http://schemas.microsoft.com/office/drawing/2014/main" id="{0D0FD4B8-4330-481A-B818-9377C158CF81}"/>
                </a:ext>
              </a:extLst>
            </p:cNvPr>
            <p:cNvSpPr>
              <a:spLocks noChangeArrowheads="1"/>
            </p:cNvSpPr>
            <p:nvPr/>
          </p:nvSpPr>
          <p:spPr bwMode="auto">
            <a:xfrm>
              <a:off x="7081197" y="5426287"/>
              <a:ext cx="1630"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58" name="Freeform 436">
              <a:extLst>
                <a:ext uri="{FF2B5EF4-FFF2-40B4-BE49-F238E27FC236}">
                  <a16:creationId xmlns:a16="http://schemas.microsoft.com/office/drawing/2014/main" id="{F6AD0953-ED24-488B-A56D-6E7A77E897E0}"/>
                </a:ext>
              </a:extLst>
            </p:cNvPr>
            <p:cNvSpPr>
              <a:spLocks noChangeArrowheads="1"/>
            </p:cNvSpPr>
            <p:nvPr/>
          </p:nvSpPr>
          <p:spPr bwMode="auto">
            <a:xfrm>
              <a:off x="6012992" y="4549158"/>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59" name="Freeform 437">
              <a:extLst>
                <a:ext uri="{FF2B5EF4-FFF2-40B4-BE49-F238E27FC236}">
                  <a16:creationId xmlns:a16="http://schemas.microsoft.com/office/drawing/2014/main" id="{67ABC229-A5C4-4A04-94DE-2D4FC1B2F8B6}"/>
                </a:ext>
              </a:extLst>
            </p:cNvPr>
            <p:cNvSpPr>
              <a:spLocks noChangeArrowheads="1"/>
            </p:cNvSpPr>
            <p:nvPr/>
          </p:nvSpPr>
          <p:spPr bwMode="auto">
            <a:xfrm>
              <a:off x="7081197" y="5416577"/>
              <a:ext cx="1630" cy="11328"/>
            </a:xfrm>
            <a:custGeom>
              <a:avLst/>
              <a:gdLst>
                <a:gd name="T0" fmla="*/ 0 w 1"/>
                <a:gd name="T1" fmla="*/ 0 h 31"/>
                <a:gd name="T2" fmla="*/ 0 w 1"/>
                <a:gd name="T3" fmla="*/ 0 h 31"/>
                <a:gd name="T4" fmla="*/ 0 w 1"/>
                <a:gd name="T5" fmla="*/ 30 h 31"/>
                <a:gd name="T6" fmla="*/ 0 w 1"/>
                <a:gd name="T7" fmla="*/ 0 h 31"/>
              </a:gdLst>
              <a:ahLst/>
              <a:cxnLst>
                <a:cxn ang="0">
                  <a:pos x="T0" y="T1"/>
                </a:cxn>
                <a:cxn ang="0">
                  <a:pos x="T2" y="T3"/>
                </a:cxn>
                <a:cxn ang="0">
                  <a:pos x="T4" y="T5"/>
                </a:cxn>
                <a:cxn ang="0">
                  <a:pos x="T6" y="T7"/>
                </a:cxn>
              </a:cxnLst>
              <a:rect l="0" t="0" r="r" b="b"/>
              <a:pathLst>
                <a:path w="1" h="31">
                  <a:moveTo>
                    <a:pt x="0" y="0"/>
                  </a:moveTo>
                  <a:lnTo>
                    <a:pt x="0" y="0"/>
                  </a:lnTo>
                  <a:cubicBezTo>
                    <a:pt x="0" y="30"/>
                    <a:pt x="0" y="30"/>
                    <a:pt x="0" y="30"/>
                  </a:cubicBezTo>
                  <a:cubicBezTo>
                    <a:pt x="0" y="30"/>
                    <a:pt x="0" y="3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60" name="Freeform 438">
              <a:extLst>
                <a:ext uri="{FF2B5EF4-FFF2-40B4-BE49-F238E27FC236}">
                  <a16:creationId xmlns:a16="http://schemas.microsoft.com/office/drawing/2014/main" id="{F36D9E89-8452-4AD2-B355-DACC7CBD30FC}"/>
                </a:ext>
              </a:extLst>
            </p:cNvPr>
            <p:cNvSpPr>
              <a:spLocks noChangeArrowheads="1"/>
            </p:cNvSpPr>
            <p:nvPr/>
          </p:nvSpPr>
          <p:spPr bwMode="auto">
            <a:xfrm>
              <a:off x="11373582" y="1584395"/>
              <a:ext cx="32617" cy="1618"/>
            </a:xfrm>
            <a:custGeom>
              <a:avLst/>
              <a:gdLst>
                <a:gd name="T0" fmla="*/ 88 w 89"/>
                <a:gd name="T1" fmla="*/ 0 h 1"/>
                <a:gd name="T2" fmla="*/ 88 w 89"/>
                <a:gd name="T3" fmla="*/ 0 h 1"/>
                <a:gd name="T4" fmla="*/ 88 w 89"/>
                <a:gd name="T5" fmla="*/ 0 h 1"/>
                <a:gd name="T6" fmla="*/ 88 w 89"/>
                <a:gd name="T7" fmla="*/ 0 h 1"/>
                <a:gd name="T8" fmla="*/ 88 w 89"/>
                <a:gd name="T9" fmla="*/ 0 h 1"/>
                <a:gd name="T10" fmla="*/ 0 w 89"/>
                <a:gd name="T11" fmla="*/ 0 h 1"/>
                <a:gd name="T12" fmla="*/ 88 w 89"/>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89" h="1">
                  <a:moveTo>
                    <a:pt x="88" y="0"/>
                  </a:moveTo>
                  <a:lnTo>
                    <a:pt x="88" y="0"/>
                  </a:lnTo>
                  <a:lnTo>
                    <a:pt x="88" y="0"/>
                  </a:lnTo>
                  <a:lnTo>
                    <a:pt x="88" y="0"/>
                  </a:lnTo>
                  <a:lnTo>
                    <a:pt x="88" y="0"/>
                  </a:lnTo>
                  <a:cubicBezTo>
                    <a:pt x="59" y="0"/>
                    <a:pt x="30" y="0"/>
                    <a:pt x="0" y="0"/>
                  </a:cubicBezTo>
                  <a:cubicBezTo>
                    <a:pt x="30" y="0"/>
                    <a:pt x="59" y="0"/>
                    <a:pt x="8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61" name="Freeform 439">
              <a:extLst>
                <a:ext uri="{FF2B5EF4-FFF2-40B4-BE49-F238E27FC236}">
                  <a16:creationId xmlns:a16="http://schemas.microsoft.com/office/drawing/2014/main" id="{06BDA0B1-536F-466F-85D5-5F1EE7FB1C82}"/>
                </a:ext>
              </a:extLst>
            </p:cNvPr>
            <p:cNvSpPr>
              <a:spLocks noChangeArrowheads="1"/>
            </p:cNvSpPr>
            <p:nvPr/>
          </p:nvSpPr>
          <p:spPr bwMode="auto">
            <a:xfrm>
              <a:off x="6401134" y="5052455"/>
              <a:ext cx="1631" cy="11329"/>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62" name="Freeform 440">
              <a:extLst>
                <a:ext uri="{FF2B5EF4-FFF2-40B4-BE49-F238E27FC236}">
                  <a16:creationId xmlns:a16="http://schemas.microsoft.com/office/drawing/2014/main" id="{8C9AF4C7-2E67-4B70-98B3-BC62F1028CD2}"/>
                </a:ext>
              </a:extLst>
            </p:cNvPr>
            <p:cNvSpPr>
              <a:spLocks noChangeArrowheads="1"/>
            </p:cNvSpPr>
            <p:nvPr/>
          </p:nvSpPr>
          <p:spPr bwMode="auto">
            <a:xfrm>
              <a:off x="6303283" y="5008761"/>
              <a:ext cx="53818" cy="21038"/>
            </a:xfrm>
            <a:custGeom>
              <a:avLst/>
              <a:gdLst>
                <a:gd name="T0" fmla="*/ 88 w 147"/>
                <a:gd name="T1" fmla="*/ 58 h 59"/>
                <a:gd name="T2" fmla="*/ 88 w 147"/>
                <a:gd name="T3" fmla="*/ 58 h 59"/>
                <a:gd name="T4" fmla="*/ 0 w 147"/>
                <a:gd name="T5" fmla="*/ 0 h 59"/>
                <a:gd name="T6" fmla="*/ 88 w 147"/>
                <a:gd name="T7" fmla="*/ 58 h 59"/>
                <a:gd name="T8" fmla="*/ 88 w 147"/>
                <a:gd name="T9" fmla="*/ 58 h 59"/>
                <a:gd name="T10" fmla="*/ 146 w 147"/>
                <a:gd name="T11" fmla="*/ 58 h 59"/>
                <a:gd name="T12" fmla="*/ 88 w 147"/>
                <a:gd name="T13" fmla="*/ 58 h 59"/>
              </a:gdLst>
              <a:ahLst/>
              <a:cxnLst>
                <a:cxn ang="0">
                  <a:pos x="T0" y="T1"/>
                </a:cxn>
                <a:cxn ang="0">
                  <a:pos x="T2" y="T3"/>
                </a:cxn>
                <a:cxn ang="0">
                  <a:pos x="T4" y="T5"/>
                </a:cxn>
                <a:cxn ang="0">
                  <a:pos x="T6" y="T7"/>
                </a:cxn>
                <a:cxn ang="0">
                  <a:pos x="T8" y="T9"/>
                </a:cxn>
                <a:cxn ang="0">
                  <a:pos x="T10" y="T11"/>
                </a:cxn>
                <a:cxn ang="0">
                  <a:pos x="T12" y="T13"/>
                </a:cxn>
              </a:cxnLst>
              <a:rect l="0" t="0" r="r" b="b"/>
              <a:pathLst>
                <a:path w="147" h="59">
                  <a:moveTo>
                    <a:pt x="88" y="58"/>
                  </a:moveTo>
                  <a:lnTo>
                    <a:pt x="88" y="58"/>
                  </a:lnTo>
                  <a:cubicBezTo>
                    <a:pt x="58" y="58"/>
                    <a:pt x="29" y="29"/>
                    <a:pt x="0" y="0"/>
                  </a:cubicBezTo>
                  <a:cubicBezTo>
                    <a:pt x="29" y="29"/>
                    <a:pt x="58" y="58"/>
                    <a:pt x="88" y="58"/>
                  </a:cubicBezTo>
                  <a:lnTo>
                    <a:pt x="88" y="58"/>
                  </a:lnTo>
                  <a:cubicBezTo>
                    <a:pt x="146" y="58"/>
                    <a:pt x="146" y="58"/>
                    <a:pt x="146" y="58"/>
                  </a:cubicBezTo>
                  <a:cubicBezTo>
                    <a:pt x="88" y="58"/>
                    <a:pt x="88" y="58"/>
                    <a:pt x="88"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63" name="Freeform 441">
              <a:extLst>
                <a:ext uri="{FF2B5EF4-FFF2-40B4-BE49-F238E27FC236}">
                  <a16:creationId xmlns:a16="http://schemas.microsoft.com/office/drawing/2014/main" id="{97780578-543F-4B92-BCA5-7D285C92D569}"/>
                </a:ext>
              </a:extLst>
            </p:cNvPr>
            <p:cNvSpPr>
              <a:spLocks noChangeArrowheads="1"/>
            </p:cNvSpPr>
            <p:nvPr/>
          </p:nvSpPr>
          <p:spPr bwMode="auto">
            <a:xfrm>
              <a:off x="6358732" y="5031417"/>
              <a:ext cx="22832" cy="22656"/>
            </a:xfrm>
            <a:custGeom>
              <a:avLst/>
              <a:gdLst>
                <a:gd name="T0" fmla="*/ 0 w 60"/>
                <a:gd name="T1" fmla="*/ 0 h 60"/>
                <a:gd name="T2" fmla="*/ 0 w 60"/>
                <a:gd name="T3" fmla="*/ 0 h 60"/>
                <a:gd name="T4" fmla="*/ 0 w 60"/>
                <a:gd name="T5" fmla="*/ 30 h 60"/>
                <a:gd name="T6" fmla="*/ 59 w 60"/>
                <a:gd name="T7" fmla="*/ 59 h 60"/>
                <a:gd name="T8" fmla="*/ 0 w 60"/>
                <a:gd name="T9" fmla="*/ 30 h 60"/>
                <a:gd name="T10" fmla="*/ 0 w 60"/>
                <a:gd name="T11" fmla="*/ 0 h 60"/>
              </a:gdLst>
              <a:ahLst/>
              <a:cxnLst>
                <a:cxn ang="0">
                  <a:pos x="T0" y="T1"/>
                </a:cxn>
                <a:cxn ang="0">
                  <a:pos x="T2" y="T3"/>
                </a:cxn>
                <a:cxn ang="0">
                  <a:pos x="T4" y="T5"/>
                </a:cxn>
                <a:cxn ang="0">
                  <a:pos x="T6" y="T7"/>
                </a:cxn>
                <a:cxn ang="0">
                  <a:pos x="T8" y="T9"/>
                </a:cxn>
                <a:cxn ang="0">
                  <a:pos x="T10" y="T11"/>
                </a:cxn>
              </a:cxnLst>
              <a:rect l="0" t="0" r="r" b="b"/>
              <a:pathLst>
                <a:path w="60" h="60">
                  <a:moveTo>
                    <a:pt x="0" y="0"/>
                  </a:moveTo>
                  <a:lnTo>
                    <a:pt x="0" y="0"/>
                  </a:lnTo>
                  <a:cubicBezTo>
                    <a:pt x="0" y="30"/>
                    <a:pt x="0" y="30"/>
                    <a:pt x="0" y="30"/>
                  </a:cubicBezTo>
                  <a:cubicBezTo>
                    <a:pt x="29" y="30"/>
                    <a:pt x="59" y="59"/>
                    <a:pt x="59" y="59"/>
                  </a:cubicBezTo>
                  <a:cubicBezTo>
                    <a:pt x="59" y="59"/>
                    <a:pt x="29" y="30"/>
                    <a:pt x="0" y="30"/>
                  </a:cubicBezTo>
                  <a:cubicBezTo>
                    <a:pt x="0" y="30"/>
                    <a:pt x="0" y="3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64" name="Freeform 442">
              <a:extLst>
                <a:ext uri="{FF2B5EF4-FFF2-40B4-BE49-F238E27FC236}">
                  <a16:creationId xmlns:a16="http://schemas.microsoft.com/office/drawing/2014/main" id="{AD7A86CC-4806-47CF-923C-FB18971AC37A}"/>
                </a:ext>
              </a:extLst>
            </p:cNvPr>
            <p:cNvSpPr>
              <a:spLocks noChangeArrowheads="1"/>
            </p:cNvSpPr>
            <p:nvPr/>
          </p:nvSpPr>
          <p:spPr bwMode="auto">
            <a:xfrm>
              <a:off x="6251096" y="4880913"/>
              <a:ext cx="53818" cy="118138"/>
            </a:xfrm>
            <a:custGeom>
              <a:avLst/>
              <a:gdLst>
                <a:gd name="T0" fmla="*/ 58 w 146"/>
                <a:gd name="T1" fmla="*/ 204 h 322"/>
                <a:gd name="T2" fmla="*/ 58 w 146"/>
                <a:gd name="T3" fmla="*/ 204 h 322"/>
                <a:gd name="T4" fmla="*/ 58 w 146"/>
                <a:gd name="T5" fmla="*/ 204 h 322"/>
                <a:gd name="T6" fmla="*/ 29 w 146"/>
                <a:gd name="T7" fmla="*/ 58 h 322"/>
                <a:gd name="T8" fmla="*/ 0 w 146"/>
                <a:gd name="T9" fmla="*/ 0 h 322"/>
                <a:gd name="T10" fmla="*/ 29 w 146"/>
                <a:gd name="T11" fmla="*/ 58 h 322"/>
                <a:gd name="T12" fmla="*/ 58 w 146"/>
                <a:gd name="T13" fmla="*/ 204 h 322"/>
                <a:gd name="T14" fmla="*/ 58 w 146"/>
                <a:gd name="T15" fmla="*/ 204 h 322"/>
                <a:gd name="T16" fmla="*/ 145 w 146"/>
                <a:gd name="T17" fmla="*/ 321 h 322"/>
                <a:gd name="T18" fmla="*/ 58 w 146"/>
                <a:gd name="T19" fmla="*/ 204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322">
                  <a:moveTo>
                    <a:pt x="58" y="204"/>
                  </a:moveTo>
                  <a:lnTo>
                    <a:pt x="58" y="204"/>
                  </a:lnTo>
                  <a:lnTo>
                    <a:pt x="58" y="204"/>
                  </a:lnTo>
                  <a:cubicBezTo>
                    <a:pt x="58" y="146"/>
                    <a:pt x="29" y="117"/>
                    <a:pt x="29" y="58"/>
                  </a:cubicBezTo>
                  <a:cubicBezTo>
                    <a:pt x="0" y="29"/>
                    <a:pt x="0" y="29"/>
                    <a:pt x="0" y="0"/>
                  </a:cubicBezTo>
                  <a:cubicBezTo>
                    <a:pt x="0" y="29"/>
                    <a:pt x="0" y="29"/>
                    <a:pt x="29" y="58"/>
                  </a:cubicBezTo>
                  <a:cubicBezTo>
                    <a:pt x="29" y="117"/>
                    <a:pt x="58" y="146"/>
                    <a:pt x="58" y="204"/>
                  </a:cubicBezTo>
                  <a:lnTo>
                    <a:pt x="58" y="204"/>
                  </a:lnTo>
                  <a:cubicBezTo>
                    <a:pt x="87" y="262"/>
                    <a:pt x="116" y="291"/>
                    <a:pt x="145" y="321"/>
                  </a:cubicBezTo>
                  <a:cubicBezTo>
                    <a:pt x="116" y="291"/>
                    <a:pt x="87" y="262"/>
                    <a:pt x="58" y="2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65" name="Freeform 443">
              <a:extLst>
                <a:ext uri="{FF2B5EF4-FFF2-40B4-BE49-F238E27FC236}">
                  <a16:creationId xmlns:a16="http://schemas.microsoft.com/office/drawing/2014/main" id="{652CCE65-B836-4F9B-BC01-9F130C95C83B}"/>
                </a:ext>
              </a:extLst>
            </p:cNvPr>
            <p:cNvSpPr>
              <a:spLocks noChangeArrowheads="1"/>
            </p:cNvSpPr>
            <p:nvPr/>
          </p:nvSpPr>
          <p:spPr bwMode="auto">
            <a:xfrm>
              <a:off x="6228264" y="4785432"/>
              <a:ext cx="22832" cy="97099"/>
            </a:xfrm>
            <a:custGeom>
              <a:avLst/>
              <a:gdLst>
                <a:gd name="T0" fmla="*/ 0 w 60"/>
                <a:gd name="T1" fmla="*/ 29 h 263"/>
                <a:gd name="T2" fmla="*/ 0 w 60"/>
                <a:gd name="T3" fmla="*/ 29 h 263"/>
                <a:gd name="T4" fmla="*/ 0 w 60"/>
                <a:gd name="T5" fmla="*/ 0 h 263"/>
                <a:gd name="T6" fmla="*/ 0 w 60"/>
                <a:gd name="T7" fmla="*/ 29 h 263"/>
                <a:gd name="T8" fmla="*/ 29 w 60"/>
                <a:gd name="T9" fmla="*/ 145 h 263"/>
                <a:gd name="T10" fmla="*/ 59 w 60"/>
                <a:gd name="T11" fmla="*/ 262 h 263"/>
                <a:gd name="T12" fmla="*/ 29 w 60"/>
                <a:gd name="T13" fmla="*/ 145 h 263"/>
                <a:gd name="T14" fmla="*/ 0 w 60"/>
                <a:gd name="T15" fmla="*/ 29 h 2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263">
                  <a:moveTo>
                    <a:pt x="0" y="29"/>
                  </a:moveTo>
                  <a:lnTo>
                    <a:pt x="0" y="29"/>
                  </a:lnTo>
                  <a:lnTo>
                    <a:pt x="0" y="0"/>
                  </a:lnTo>
                  <a:lnTo>
                    <a:pt x="0" y="29"/>
                  </a:lnTo>
                  <a:cubicBezTo>
                    <a:pt x="29" y="58"/>
                    <a:pt x="29" y="87"/>
                    <a:pt x="29" y="145"/>
                  </a:cubicBezTo>
                  <a:cubicBezTo>
                    <a:pt x="29" y="174"/>
                    <a:pt x="59" y="203"/>
                    <a:pt x="59" y="262"/>
                  </a:cubicBezTo>
                  <a:cubicBezTo>
                    <a:pt x="59" y="203"/>
                    <a:pt x="29" y="174"/>
                    <a:pt x="29" y="145"/>
                  </a:cubicBezTo>
                  <a:cubicBezTo>
                    <a:pt x="29" y="87"/>
                    <a:pt x="29" y="58"/>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66" name="Freeform 444">
              <a:extLst>
                <a:ext uri="{FF2B5EF4-FFF2-40B4-BE49-F238E27FC236}">
                  <a16:creationId xmlns:a16="http://schemas.microsoft.com/office/drawing/2014/main" id="{E87182DA-AE93-476B-9D2A-F587815B8852}"/>
                </a:ext>
              </a:extLst>
            </p:cNvPr>
            <p:cNvSpPr>
              <a:spLocks noChangeArrowheads="1"/>
            </p:cNvSpPr>
            <p:nvPr/>
          </p:nvSpPr>
          <p:spPr bwMode="auto">
            <a:xfrm>
              <a:off x="6109213" y="4667294"/>
              <a:ext cx="44032" cy="53405"/>
            </a:xfrm>
            <a:custGeom>
              <a:avLst/>
              <a:gdLst>
                <a:gd name="T0" fmla="*/ 88 w 118"/>
                <a:gd name="T1" fmla="*/ 116 h 146"/>
                <a:gd name="T2" fmla="*/ 88 w 118"/>
                <a:gd name="T3" fmla="*/ 116 h 146"/>
                <a:gd name="T4" fmla="*/ 30 w 118"/>
                <a:gd name="T5" fmla="*/ 29 h 146"/>
                <a:gd name="T6" fmla="*/ 0 w 118"/>
                <a:gd name="T7" fmla="*/ 0 h 146"/>
                <a:gd name="T8" fmla="*/ 30 w 118"/>
                <a:gd name="T9" fmla="*/ 29 h 146"/>
                <a:gd name="T10" fmla="*/ 88 w 118"/>
                <a:gd name="T11" fmla="*/ 116 h 146"/>
                <a:gd name="T12" fmla="*/ 117 w 118"/>
                <a:gd name="T13" fmla="*/ 145 h 146"/>
                <a:gd name="T14" fmla="*/ 88 w 118"/>
                <a:gd name="T15" fmla="*/ 116 h 1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146">
                  <a:moveTo>
                    <a:pt x="88" y="116"/>
                  </a:moveTo>
                  <a:lnTo>
                    <a:pt x="88" y="116"/>
                  </a:lnTo>
                  <a:cubicBezTo>
                    <a:pt x="59" y="87"/>
                    <a:pt x="30" y="58"/>
                    <a:pt x="30" y="29"/>
                  </a:cubicBezTo>
                  <a:cubicBezTo>
                    <a:pt x="30" y="29"/>
                    <a:pt x="30" y="29"/>
                    <a:pt x="0" y="0"/>
                  </a:cubicBezTo>
                  <a:cubicBezTo>
                    <a:pt x="30" y="29"/>
                    <a:pt x="30" y="29"/>
                    <a:pt x="30" y="29"/>
                  </a:cubicBezTo>
                  <a:cubicBezTo>
                    <a:pt x="30" y="58"/>
                    <a:pt x="59" y="87"/>
                    <a:pt x="88" y="116"/>
                  </a:cubicBezTo>
                  <a:cubicBezTo>
                    <a:pt x="88" y="116"/>
                    <a:pt x="117" y="116"/>
                    <a:pt x="117" y="145"/>
                  </a:cubicBezTo>
                  <a:cubicBezTo>
                    <a:pt x="117" y="116"/>
                    <a:pt x="88" y="116"/>
                    <a:pt x="88" y="11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67" name="Freeform 445">
              <a:extLst>
                <a:ext uri="{FF2B5EF4-FFF2-40B4-BE49-F238E27FC236}">
                  <a16:creationId xmlns:a16="http://schemas.microsoft.com/office/drawing/2014/main" id="{89C9D304-F6E0-498A-BDD4-805B8686F980}"/>
                </a:ext>
              </a:extLst>
            </p:cNvPr>
            <p:cNvSpPr>
              <a:spLocks noChangeArrowheads="1"/>
            </p:cNvSpPr>
            <p:nvPr/>
          </p:nvSpPr>
          <p:spPr bwMode="auto">
            <a:xfrm>
              <a:off x="6702841" y="4976394"/>
              <a:ext cx="44032" cy="22656"/>
            </a:xfrm>
            <a:custGeom>
              <a:avLst/>
              <a:gdLst>
                <a:gd name="T0" fmla="*/ 88 w 118"/>
                <a:gd name="T1" fmla="*/ 59 h 60"/>
                <a:gd name="T2" fmla="*/ 88 w 118"/>
                <a:gd name="T3" fmla="*/ 59 h 60"/>
                <a:gd name="T4" fmla="*/ 88 w 118"/>
                <a:gd name="T5" fmla="*/ 29 h 60"/>
                <a:gd name="T6" fmla="*/ 0 w 118"/>
                <a:gd name="T7" fmla="*/ 0 h 60"/>
                <a:gd name="T8" fmla="*/ 0 w 118"/>
                <a:gd name="T9" fmla="*/ 0 h 60"/>
                <a:gd name="T10" fmla="*/ 0 w 118"/>
                <a:gd name="T11" fmla="*/ 0 h 60"/>
                <a:gd name="T12" fmla="*/ 88 w 118"/>
                <a:gd name="T13" fmla="*/ 29 h 60"/>
                <a:gd name="T14" fmla="*/ 88 w 118"/>
                <a:gd name="T15" fmla="*/ 59 h 60"/>
                <a:gd name="T16" fmla="*/ 117 w 118"/>
                <a:gd name="T17" fmla="*/ 59 h 60"/>
                <a:gd name="T18" fmla="*/ 117 w 118"/>
                <a:gd name="T19" fmla="*/ 59 h 60"/>
                <a:gd name="T20" fmla="*/ 88 w 118"/>
                <a:gd name="T21" fmla="*/ 5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60">
                  <a:moveTo>
                    <a:pt x="88" y="59"/>
                  </a:moveTo>
                  <a:lnTo>
                    <a:pt x="88" y="59"/>
                  </a:lnTo>
                  <a:cubicBezTo>
                    <a:pt x="88" y="29"/>
                    <a:pt x="88" y="29"/>
                    <a:pt x="88" y="29"/>
                  </a:cubicBezTo>
                  <a:cubicBezTo>
                    <a:pt x="59" y="29"/>
                    <a:pt x="29" y="29"/>
                    <a:pt x="0" y="0"/>
                  </a:cubicBezTo>
                  <a:lnTo>
                    <a:pt x="0" y="0"/>
                  </a:lnTo>
                  <a:lnTo>
                    <a:pt x="0" y="0"/>
                  </a:lnTo>
                  <a:cubicBezTo>
                    <a:pt x="29" y="29"/>
                    <a:pt x="59" y="29"/>
                    <a:pt x="88" y="29"/>
                  </a:cubicBezTo>
                  <a:cubicBezTo>
                    <a:pt x="88" y="59"/>
                    <a:pt x="88" y="59"/>
                    <a:pt x="88" y="59"/>
                  </a:cubicBezTo>
                  <a:cubicBezTo>
                    <a:pt x="117" y="59"/>
                    <a:pt x="117" y="59"/>
                    <a:pt x="117" y="59"/>
                  </a:cubicBezTo>
                  <a:lnTo>
                    <a:pt x="117" y="59"/>
                  </a:lnTo>
                  <a:lnTo>
                    <a:pt x="88" y="5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68" name="Freeform 446">
              <a:extLst>
                <a:ext uri="{FF2B5EF4-FFF2-40B4-BE49-F238E27FC236}">
                  <a16:creationId xmlns:a16="http://schemas.microsoft.com/office/drawing/2014/main" id="{7D8984B1-F65E-44F6-BCC4-74FCA3461947}"/>
                </a:ext>
              </a:extLst>
            </p:cNvPr>
            <p:cNvSpPr>
              <a:spLocks noChangeArrowheads="1"/>
            </p:cNvSpPr>
            <p:nvPr/>
          </p:nvSpPr>
          <p:spPr bwMode="auto">
            <a:xfrm>
              <a:off x="6639237" y="4966684"/>
              <a:ext cx="11416" cy="1618"/>
            </a:xfrm>
            <a:custGeom>
              <a:avLst/>
              <a:gdLst>
                <a:gd name="T0" fmla="*/ 0 w 30"/>
                <a:gd name="T1" fmla="*/ 0 h 1"/>
                <a:gd name="T2" fmla="*/ 0 w 30"/>
                <a:gd name="T3" fmla="*/ 0 h 1"/>
                <a:gd name="T4" fmla="*/ 0 w 30"/>
                <a:gd name="T5" fmla="*/ 0 h 1"/>
                <a:gd name="T6" fmla="*/ 0 w 30"/>
                <a:gd name="T7" fmla="*/ 0 h 1"/>
                <a:gd name="T8" fmla="*/ 0 w 30"/>
                <a:gd name="T9" fmla="*/ 0 h 1"/>
                <a:gd name="T10" fmla="*/ 0 w 30"/>
                <a:gd name="T11" fmla="*/ 0 h 1"/>
                <a:gd name="T12" fmla="*/ 29 w 30"/>
                <a:gd name="T13" fmla="*/ 0 h 1"/>
                <a:gd name="T14" fmla="*/ 0 w 30"/>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
                  <a:moveTo>
                    <a:pt x="0" y="0"/>
                  </a:moveTo>
                  <a:lnTo>
                    <a:pt x="0" y="0"/>
                  </a:lnTo>
                  <a:lnTo>
                    <a:pt x="0" y="0"/>
                  </a:lnTo>
                  <a:lnTo>
                    <a:pt x="0" y="0"/>
                  </a:lnTo>
                  <a:lnTo>
                    <a:pt x="0" y="0"/>
                  </a:lnTo>
                  <a:lnTo>
                    <a:pt x="0" y="0"/>
                  </a:lnTo>
                  <a:cubicBezTo>
                    <a:pt x="29" y="0"/>
                    <a:pt x="29" y="0"/>
                    <a:pt x="29" y="0"/>
                  </a:cubicBez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69" name="Freeform 447">
              <a:extLst>
                <a:ext uri="{FF2B5EF4-FFF2-40B4-BE49-F238E27FC236}">
                  <a16:creationId xmlns:a16="http://schemas.microsoft.com/office/drawing/2014/main" id="{C3D708CE-AFEA-47A6-9347-AEE0ED9514D5}"/>
                </a:ext>
              </a:extLst>
            </p:cNvPr>
            <p:cNvSpPr>
              <a:spLocks noChangeArrowheads="1"/>
            </p:cNvSpPr>
            <p:nvPr/>
          </p:nvSpPr>
          <p:spPr bwMode="auto">
            <a:xfrm>
              <a:off x="6487569" y="5115570"/>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70" name="Freeform 448">
              <a:extLst>
                <a:ext uri="{FF2B5EF4-FFF2-40B4-BE49-F238E27FC236}">
                  <a16:creationId xmlns:a16="http://schemas.microsoft.com/office/drawing/2014/main" id="{DE30B253-E021-4643-83E0-C8160785181F}"/>
                </a:ext>
              </a:extLst>
            </p:cNvPr>
            <p:cNvSpPr>
              <a:spLocks noChangeArrowheads="1"/>
            </p:cNvSpPr>
            <p:nvPr/>
          </p:nvSpPr>
          <p:spPr bwMode="auto">
            <a:xfrm>
              <a:off x="6649022" y="4966684"/>
              <a:ext cx="11416" cy="1618"/>
            </a:xfrm>
            <a:custGeom>
              <a:avLst/>
              <a:gdLst>
                <a:gd name="T0" fmla="*/ 29 w 30"/>
                <a:gd name="T1" fmla="*/ 0 h 1"/>
                <a:gd name="T2" fmla="*/ 29 w 30"/>
                <a:gd name="T3" fmla="*/ 0 h 1"/>
                <a:gd name="T4" fmla="*/ 0 w 30"/>
                <a:gd name="T5" fmla="*/ 0 h 1"/>
                <a:gd name="T6" fmla="*/ 0 w 30"/>
                <a:gd name="T7" fmla="*/ 0 h 1"/>
                <a:gd name="T8" fmla="*/ 29 w 30"/>
                <a:gd name="T9" fmla="*/ 0 h 1"/>
              </a:gdLst>
              <a:ahLst/>
              <a:cxnLst>
                <a:cxn ang="0">
                  <a:pos x="T0" y="T1"/>
                </a:cxn>
                <a:cxn ang="0">
                  <a:pos x="T2" y="T3"/>
                </a:cxn>
                <a:cxn ang="0">
                  <a:pos x="T4" y="T5"/>
                </a:cxn>
                <a:cxn ang="0">
                  <a:pos x="T6" y="T7"/>
                </a:cxn>
                <a:cxn ang="0">
                  <a:pos x="T8" y="T9"/>
                </a:cxn>
              </a:cxnLst>
              <a:rect l="0" t="0" r="r" b="b"/>
              <a:pathLst>
                <a:path w="30" h="1">
                  <a:moveTo>
                    <a:pt x="29" y="0"/>
                  </a:moveTo>
                  <a:lnTo>
                    <a:pt x="29" y="0"/>
                  </a:lnTo>
                  <a:lnTo>
                    <a:pt x="0" y="0"/>
                  </a:lnTo>
                  <a:lnTo>
                    <a:pt x="0" y="0"/>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71" name="Freeform 449">
              <a:extLst>
                <a:ext uri="{FF2B5EF4-FFF2-40B4-BE49-F238E27FC236}">
                  <a16:creationId xmlns:a16="http://schemas.microsoft.com/office/drawing/2014/main" id="{8A04BEFA-98C5-400A-981A-4FC82123BA62}"/>
                </a:ext>
              </a:extLst>
            </p:cNvPr>
            <p:cNvSpPr>
              <a:spLocks noChangeArrowheads="1"/>
            </p:cNvSpPr>
            <p:nvPr/>
          </p:nvSpPr>
          <p:spPr bwMode="auto">
            <a:xfrm>
              <a:off x="6595205" y="4955355"/>
              <a:ext cx="11415" cy="11329"/>
            </a:xfrm>
            <a:custGeom>
              <a:avLst/>
              <a:gdLst>
                <a:gd name="T0" fmla="*/ 29 w 30"/>
                <a:gd name="T1" fmla="*/ 0 h 30"/>
                <a:gd name="T2" fmla="*/ 29 w 30"/>
                <a:gd name="T3" fmla="*/ 0 h 30"/>
                <a:gd name="T4" fmla="*/ 0 w 30"/>
                <a:gd name="T5" fmla="*/ 29 h 30"/>
                <a:gd name="T6" fmla="*/ 29 w 30"/>
                <a:gd name="T7" fmla="*/ 0 h 30"/>
              </a:gdLst>
              <a:ahLst/>
              <a:cxnLst>
                <a:cxn ang="0">
                  <a:pos x="T0" y="T1"/>
                </a:cxn>
                <a:cxn ang="0">
                  <a:pos x="T2" y="T3"/>
                </a:cxn>
                <a:cxn ang="0">
                  <a:pos x="T4" y="T5"/>
                </a:cxn>
                <a:cxn ang="0">
                  <a:pos x="T6" y="T7"/>
                </a:cxn>
              </a:cxnLst>
              <a:rect l="0" t="0" r="r" b="b"/>
              <a:pathLst>
                <a:path w="30" h="30">
                  <a:moveTo>
                    <a:pt x="29" y="0"/>
                  </a:moveTo>
                  <a:lnTo>
                    <a:pt x="29" y="0"/>
                  </a:lnTo>
                  <a:cubicBezTo>
                    <a:pt x="29" y="0"/>
                    <a:pt x="0" y="0"/>
                    <a:pt x="0" y="29"/>
                  </a:cubicBezTo>
                  <a:cubicBezTo>
                    <a:pt x="0"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72" name="Freeform 450">
              <a:extLst>
                <a:ext uri="{FF2B5EF4-FFF2-40B4-BE49-F238E27FC236}">
                  <a16:creationId xmlns:a16="http://schemas.microsoft.com/office/drawing/2014/main" id="{9F198748-4436-499C-B4F7-2751D01F1CD6}"/>
                </a:ext>
              </a:extLst>
            </p:cNvPr>
            <p:cNvSpPr>
              <a:spLocks noChangeArrowheads="1"/>
            </p:cNvSpPr>
            <p:nvPr/>
          </p:nvSpPr>
          <p:spPr bwMode="auto">
            <a:xfrm>
              <a:off x="6529971" y="4987722"/>
              <a:ext cx="44032" cy="85771"/>
            </a:xfrm>
            <a:custGeom>
              <a:avLst/>
              <a:gdLst>
                <a:gd name="T0" fmla="*/ 58 w 117"/>
                <a:gd name="T1" fmla="*/ 30 h 235"/>
                <a:gd name="T2" fmla="*/ 58 w 117"/>
                <a:gd name="T3" fmla="*/ 30 h 235"/>
                <a:gd name="T4" fmla="*/ 0 w 117"/>
                <a:gd name="T5" fmla="*/ 234 h 235"/>
                <a:gd name="T6" fmla="*/ 58 w 117"/>
                <a:gd name="T7" fmla="*/ 30 h 235"/>
                <a:gd name="T8" fmla="*/ 87 w 117"/>
                <a:gd name="T9" fmla="*/ 30 h 235"/>
                <a:gd name="T10" fmla="*/ 116 w 117"/>
                <a:gd name="T11" fmla="*/ 0 h 235"/>
                <a:gd name="T12" fmla="*/ 87 w 117"/>
                <a:gd name="T13" fmla="*/ 30 h 235"/>
                <a:gd name="T14" fmla="*/ 58 w 117"/>
                <a:gd name="T15" fmla="*/ 30 h 2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235">
                  <a:moveTo>
                    <a:pt x="58" y="30"/>
                  </a:moveTo>
                  <a:lnTo>
                    <a:pt x="58" y="30"/>
                  </a:lnTo>
                  <a:cubicBezTo>
                    <a:pt x="58" y="117"/>
                    <a:pt x="29" y="176"/>
                    <a:pt x="0" y="234"/>
                  </a:cubicBezTo>
                  <a:cubicBezTo>
                    <a:pt x="29" y="176"/>
                    <a:pt x="58" y="117"/>
                    <a:pt x="58" y="30"/>
                  </a:cubicBezTo>
                  <a:lnTo>
                    <a:pt x="87" y="30"/>
                  </a:lnTo>
                  <a:cubicBezTo>
                    <a:pt x="87" y="30"/>
                    <a:pt x="116" y="30"/>
                    <a:pt x="116" y="0"/>
                  </a:cubicBezTo>
                  <a:cubicBezTo>
                    <a:pt x="116" y="30"/>
                    <a:pt x="87" y="30"/>
                    <a:pt x="87" y="30"/>
                  </a:cubicBezTo>
                  <a:lnTo>
                    <a:pt x="58" y="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73" name="Freeform 451">
              <a:extLst>
                <a:ext uri="{FF2B5EF4-FFF2-40B4-BE49-F238E27FC236}">
                  <a16:creationId xmlns:a16="http://schemas.microsoft.com/office/drawing/2014/main" id="{86F7A9E8-FD34-4CB5-9C1C-AF80A86FAD69}"/>
                </a:ext>
              </a:extLst>
            </p:cNvPr>
            <p:cNvSpPr>
              <a:spLocks noChangeArrowheads="1"/>
            </p:cNvSpPr>
            <p:nvPr/>
          </p:nvSpPr>
          <p:spPr bwMode="auto">
            <a:xfrm>
              <a:off x="6497354" y="5094531"/>
              <a:ext cx="22832" cy="21039"/>
            </a:xfrm>
            <a:custGeom>
              <a:avLst/>
              <a:gdLst>
                <a:gd name="T0" fmla="*/ 0 w 60"/>
                <a:gd name="T1" fmla="*/ 58 h 59"/>
                <a:gd name="T2" fmla="*/ 0 w 60"/>
                <a:gd name="T3" fmla="*/ 58 h 59"/>
                <a:gd name="T4" fmla="*/ 59 w 60"/>
                <a:gd name="T5" fmla="*/ 0 h 59"/>
                <a:gd name="T6" fmla="*/ 0 w 60"/>
                <a:gd name="T7" fmla="*/ 58 h 59"/>
              </a:gdLst>
              <a:ahLst/>
              <a:cxnLst>
                <a:cxn ang="0">
                  <a:pos x="T0" y="T1"/>
                </a:cxn>
                <a:cxn ang="0">
                  <a:pos x="T2" y="T3"/>
                </a:cxn>
                <a:cxn ang="0">
                  <a:pos x="T4" y="T5"/>
                </a:cxn>
                <a:cxn ang="0">
                  <a:pos x="T6" y="T7"/>
                </a:cxn>
              </a:cxnLst>
              <a:rect l="0" t="0" r="r" b="b"/>
              <a:pathLst>
                <a:path w="60" h="59">
                  <a:moveTo>
                    <a:pt x="0" y="58"/>
                  </a:moveTo>
                  <a:lnTo>
                    <a:pt x="0" y="58"/>
                  </a:lnTo>
                  <a:cubicBezTo>
                    <a:pt x="30" y="58"/>
                    <a:pt x="30" y="29"/>
                    <a:pt x="59" y="0"/>
                  </a:cubicBezTo>
                  <a:cubicBezTo>
                    <a:pt x="30" y="29"/>
                    <a:pt x="30" y="58"/>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74" name="Freeform 452">
              <a:extLst>
                <a:ext uri="{FF2B5EF4-FFF2-40B4-BE49-F238E27FC236}">
                  <a16:creationId xmlns:a16="http://schemas.microsoft.com/office/drawing/2014/main" id="{81A193A1-C1C0-499C-BFF1-DC0254D53B2F}"/>
                </a:ext>
              </a:extLst>
            </p:cNvPr>
            <p:cNvSpPr>
              <a:spLocks noChangeArrowheads="1"/>
            </p:cNvSpPr>
            <p:nvPr/>
          </p:nvSpPr>
          <p:spPr bwMode="auto">
            <a:xfrm>
              <a:off x="6164662" y="4730409"/>
              <a:ext cx="11415" cy="1618"/>
            </a:xfrm>
            <a:custGeom>
              <a:avLst/>
              <a:gdLst>
                <a:gd name="T0" fmla="*/ 0 w 29"/>
                <a:gd name="T1" fmla="*/ 0 h 1"/>
                <a:gd name="T2" fmla="*/ 0 w 29"/>
                <a:gd name="T3" fmla="*/ 0 h 1"/>
                <a:gd name="T4" fmla="*/ 0 w 29"/>
                <a:gd name="T5" fmla="*/ 0 h 1"/>
                <a:gd name="T6" fmla="*/ 28 w 29"/>
                <a:gd name="T7" fmla="*/ 0 h 1"/>
                <a:gd name="T8" fmla="*/ 28 w 29"/>
                <a:gd name="T9" fmla="*/ 0 h 1"/>
                <a:gd name="T10" fmla="*/ 0 w 29"/>
                <a:gd name="T11" fmla="*/ 0 h 1"/>
              </a:gdLst>
              <a:ahLst/>
              <a:cxnLst>
                <a:cxn ang="0">
                  <a:pos x="T0" y="T1"/>
                </a:cxn>
                <a:cxn ang="0">
                  <a:pos x="T2" y="T3"/>
                </a:cxn>
                <a:cxn ang="0">
                  <a:pos x="T4" y="T5"/>
                </a:cxn>
                <a:cxn ang="0">
                  <a:pos x="T6" y="T7"/>
                </a:cxn>
                <a:cxn ang="0">
                  <a:pos x="T8" y="T9"/>
                </a:cxn>
                <a:cxn ang="0">
                  <a:pos x="T10" y="T11"/>
                </a:cxn>
              </a:cxnLst>
              <a:rect l="0" t="0" r="r" b="b"/>
              <a:pathLst>
                <a:path w="29" h="1">
                  <a:moveTo>
                    <a:pt x="0" y="0"/>
                  </a:moveTo>
                  <a:lnTo>
                    <a:pt x="0" y="0"/>
                  </a:lnTo>
                  <a:lnTo>
                    <a:pt x="0" y="0"/>
                  </a:lnTo>
                  <a:cubicBezTo>
                    <a:pt x="28" y="0"/>
                    <a:pt x="28" y="0"/>
                    <a:pt x="28" y="0"/>
                  </a:cubicBezTo>
                  <a:lnTo>
                    <a:pt x="28"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75" name="Freeform 453">
              <a:extLst>
                <a:ext uri="{FF2B5EF4-FFF2-40B4-BE49-F238E27FC236}">
                  <a16:creationId xmlns:a16="http://schemas.microsoft.com/office/drawing/2014/main" id="{24313F6F-87AB-4230-A5A7-2CBF54779ED1}"/>
                </a:ext>
              </a:extLst>
            </p:cNvPr>
            <p:cNvSpPr>
              <a:spLocks noChangeArrowheads="1"/>
            </p:cNvSpPr>
            <p:nvPr/>
          </p:nvSpPr>
          <p:spPr bwMode="auto">
            <a:xfrm>
              <a:off x="4060871" y="3660699"/>
              <a:ext cx="11415" cy="11329"/>
            </a:xfrm>
            <a:custGeom>
              <a:avLst/>
              <a:gdLst>
                <a:gd name="T0" fmla="*/ 0 w 30"/>
                <a:gd name="T1" fmla="*/ 0 h 31"/>
                <a:gd name="T2" fmla="*/ 0 w 30"/>
                <a:gd name="T3" fmla="*/ 0 h 31"/>
                <a:gd name="T4" fmla="*/ 29 w 30"/>
                <a:gd name="T5" fmla="*/ 30 h 31"/>
                <a:gd name="T6" fmla="*/ 0 w 30"/>
                <a:gd name="T7" fmla="*/ 0 h 31"/>
              </a:gdLst>
              <a:ahLst/>
              <a:cxnLst>
                <a:cxn ang="0">
                  <a:pos x="T0" y="T1"/>
                </a:cxn>
                <a:cxn ang="0">
                  <a:pos x="T2" y="T3"/>
                </a:cxn>
                <a:cxn ang="0">
                  <a:pos x="T4" y="T5"/>
                </a:cxn>
                <a:cxn ang="0">
                  <a:pos x="T6" y="T7"/>
                </a:cxn>
              </a:cxnLst>
              <a:rect l="0" t="0" r="r" b="b"/>
              <a:pathLst>
                <a:path w="30" h="31">
                  <a:moveTo>
                    <a:pt x="0" y="0"/>
                  </a:moveTo>
                  <a:lnTo>
                    <a:pt x="0" y="0"/>
                  </a:lnTo>
                  <a:cubicBezTo>
                    <a:pt x="0" y="0"/>
                    <a:pt x="0" y="30"/>
                    <a:pt x="29" y="30"/>
                  </a:cubicBezTo>
                  <a:cubicBezTo>
                    <a:pt x="0" y="3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76" name="Freeform 454">
              <a:extLst>
                <a:ext uri="{FF2B5EF4-FFF2-40B4-BE49-F238E27FC236}">
                  <a16:creationId xmlns:a16="http://schemas.microsoft.com/office/drawing/2014/main" id="{49157CE5-B13A-4B97-BF7F-53F9CD67E1FB}"/>
                </a:ext>
              </a:extLst>
            </p:cNvPr>
            <p:cNvSpPr>
              <a:spLocks noChangeArrowheads="1"/>
            </p:cNvSpPr>
            <p:nvPr/>
          </p:nvSpPr>
          <p:spPr bwMode="auto">
            <a:xfrm>
              <a:off x="4135890" y="3735142"/>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77" name="Freeform 455">
              <a:extLst>
                <a:ext uri="{FF2B5EF4-FFF2-40B4-BE49-F238E27FC236}">
                  <a16:creationId xmlns:a16="http://schemas.microsoft.com/office/drawing/2014/main" id="{D92564CB-8CF5-4E1D-8084-D0A54BB29321}"/>
                </a:ext>
              </a:extLst>
            </p:cNvPr>
            <p:cNvSpPr>
              <a:spLocks noChangeArrowheads="1"/>
            </p:cNvSpPr>
            <p:nvPr/>
          </p:nvSpPr>
          <p:spPr bwMode="auto">
            <a:xfrm>
              <a:off x="4038039" y="3649372"/>
              <a:ext cx="11415" cy="11328"/>
            </a:xfrm>
            <a:custGeom>
              <a:avLst/>
              <a:gdLst>
                <a:gd name="T0" fmla="*/ 0 w 31"/>
                <a:gd name="T1" fmla="*/ 0 h 30"/>
                <a:gd name="T2" fmla="*/ 0 w 31"/>
                <a:gd name="T3" fmla="*/ 0 h 30"/>
                <a:gd name="T4" fmla="*/ 0 w 31"/>
                <a:gd name="T5" fmla="*/ 0 h 30"/>
                <a:gd name="T6" fmla="*/ 0 w 31"/>
                <a:gd name="T7" fmla="*/ 0 h 30"/>
                <a:gd name="T8" fmla="*/ 30 w 31"/>
                <a:gd name="T9" fmla="*/ 29 h 30"/>
                <a:gd name="T10" fmla="*/ 0 w 31"/>
                <a:gd name="T11" fmla="*/ 0 h 30"/>
              </a:gdLst>
              <a:ahLst/>
              <a:cxnLst>
                <a:cxn ang="0">
                  <a:pos x="T0" y="T1"/>
                </a:cxn>
                <a:cxn ang="0">
                  <a:pos x="T2" y="T3"/>
                </a:cxn>
                <a:cxn ang="0">
                  <a:pos x="T4" y="T5"/>
                </a:cxn>
                <a:cxn ang="0">
                  <a:pos x="T6" y="T7"/>
                </a:cxn>
                <a:cxn ang="0">
                  <a:pos x="T8" y="T9"/>
                </a:cxn>
                <a:cxn ang="0">
                  <a:pos x="T10" y="T11"/>
                </a:cxn>
              </a:cxnLst>
              <a:rect l="0" t="0" r="r" b="b"/>
              <a:pathLst>
                <a:path w="31" h="30">
                  <a:moveTo>
                    <a:pt x="0" y="0"/>
                  </a:moveTo>
                  <a:lnTo>
                    <a:pt x="0" y="0"/>
                  </a:lnTo>
                  <a:lnTo>
                    <a:pt x="0" y="0"/>
                  </a:lnTo>
                  <a:lnTo>
                    <a:pt x="0" y="0"/>
                  </a:lnTo>
                  <a:cubicBezTo>
                    <a:pt x="30" y="0"/>
                    <a:pt x="30" y="0"/>
                    <a:pt x="30" y="29"/>
                  </a:cubicBezTo>
                  <a:cubicBezTo>
                    <a:pt x="30" y="0"/>
                    <a:pt x="3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78" name="Freeform 456">
              <a:extLst>
                <a:ext uri="{FF2B5EF4-FFF2-40B4-BE49-F238E27FC236}">
                  <a16:creationId xmlns:a16="http://schemas.microsoft.com/office/drawing/2014/main" id="{7D41447C-547F-4EAE-82B0-7EE9D67E8670}"/>
                </a:ext>
              </a:extLst>
            </p:cNvPr>
            <p:cNvSpPr>
              <a:spLocks noChangeArrowheads="1"/>
            </p:cNvSpPr>
            <p:nvPr/>
          </p:nvSpPr>
          <p:spPr bwMode="auto">
            <a:xfrm>
              <a:off x="4201124" y="3841951"/>
              <a:ext cx="11415" cy="1619"/>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79" name="Freeform 457">
              <a:extLst>
                <a:ext uri="{FF2B5EF4-FFF2-40B4-BE49-F238E27FC236}">
                  <a16:creationId xmlns:a16="http://schemas.microsoft.com/office/drawing/2014/main" id="{55BC4DFE-6872-4F04-9E0B-2C214C3F2FBE}"/>
                </a:ext>
              </a:extLst>
            </p:cNvPr>
            <p:cNvSpPr>
              <a:spLocks noChangeArrowheads="1"/>
            </p:cNvSpPr>
            <p:nvPr/>
          </p:nvSpPr>
          <p:spPr bwMode="auto">
            <a:xfrm>
              <a:off x="6109213" y="4655967"/>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80" name="Freeform 458">
              <a:extLst>
                <a:ext uri="{FF2B5EF4-FFF2-40B4-BE49-F238E27FC236}">
                  <a16:creationId xmlns:a16="http://schemas.microsoft.com/office/drawing/2014/main" id="{4D07C1D6-6D4B-49FF-B6B3-E0AED3F6E440}"/>
                </a:ext>
              </a:extLst>
            </p:cNvPr>
            <p:cNvSpPr>
              <a:spLocks noChangeArrowheads="1"/>
            </p:cNvSpPr>
            <p:nvPr/>
          </p:nvSpPr>
          <p:spPr bwMode="auto">
            <a:xfrm>
              <a:off x="3909202" y="3607295"/>
              <a:ext cx="44033" cy="11328"/>
            </a:xfrm>
            <a:custGeom>
              <a:avLst/>
              <a:gdLst>
                <a:gd name="T0" fmla="*/ 88 w 118"/>
                <a:gd name="T1" fmla="*/ 29 h 30"/>
                <a:gd name="T2" fmla="*/ 88 w 118"/>
                <a:gd name="T3" fmla="*/ 29 h 30"/>
                <a:gd name="T4" fmla="*/ 30 w 118"/>
                <a:gd name="T5" fmla="*/ 0 h 30"/>
                <a:gd name="T6" fmla="*/ 0 w 118"/>
                <a:gd name="T7" fmla="*/ 0 h 30"/>
                <a:gd name="T8" fmla="*/ 30 w 118"/>
                <a:gd name="T9" fmla="*/ 0 h 30"/>
                <a:gd name="T10" fmla="*/ 88 w 118"/>
                <a:gd name="T11" fmla="*/ 29 h 30"/>
                <a:gd name="T12" fmla="*/ 117 w 118"/>
                <a:gd name="T13" fmla="*/ 29 h 30"/>
                <a:gd name="T14" fmla="*/ 88 w 118"/>
                <a:gd name="T15" fmla="*/ 29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30">
                  <a:moveTo>
                    <a:pt x="88" y="29"/>
                  </a:moveTo>
                  <a:lnTo>
                    <a:pt x="88" y="29"/>
                  </a:lnTo>
                  <a:cubicBezTo>
                    <a:pt x="59" y="29"/>
                    <a:pt x="30" y="29"/>
                    <a:pt x="30" y="0"/>
                  </a:cubicBezTo>
                  <a:lnTo>
                    <a:pt x="0" y="0"/>
                  </a:lnTo>
                  <a:lnTo>
                    <a:pt x="30" y="0"/>
                  </a:lnTo>
                  <a:cubicBezTo>
                    <a:pt x="30" y="29"/>
                    <a:pt x="59" y="29"/>
                    <a:pt x="88" y="29"/>
                  </a:cubicBezTo>
                  <a:cubicBezTo>
                    <a:pt x="88" y="29"/>
                    <a:pt x="88" y="29"/>
                    <a:pt x="117" y="29"/>
                  </a:cubicBezTo>
                  <a:cubicBezTo>
                    <a:pt x="88" y="29"/>
                    <a:pt x="88" y="29"/>
                    <a:pt x="8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81" name="Freeform 459">
              <a:extLst>
                <a:ext uri="{FF2B5EF4-FFF2-40B4-BE49-F238E27FC236}">
                  <a16:creationId xmlns:a16="http://schemas.microsoft.com/office/drawing/2014/main" id="{AF5F3777-0B55-4316-8760-D28748764D9E}"/>
                </a:ext>
              </a:extLst>
            </p:cNvPr>
            <p:cNvSpPr>
              <a:spLocks noChangeArrowheads="1"/>
            </p:cNvSpPr>
            <p:nvPr/>
          </p:nvSpPr>
          <p:spPr bwMode="auto">
            <a:xfrm>
              <a:off x="4018469" y="3649372"/>
              <a:ext cx="11415" cy="1618"/>
            </a:xfrm>
            <a:custGeom>
              <a:avLst/>
              <a:gdLst>
                <a:gd name="T0" fmla="*/ 0 w 29"/>
                <a:gd name="T1" fmla="*/ 0 h 1"/>
                <a:gd name="T2" fmla="*/ 0 w 29"/>
                <a:gd name="T3" fmla="*/ 0 h 1"/>
                <a:gd name="T4" fmla="*/ 28 w 29"/>
                <a:gd name="T5" fmla="*/ 0 h 1"/>
                <a:gd name="T6" fmla="*/ 0 w 29"/>
                <a:gd name="T7" fmla="*/ 0 h 1"/>
              </a:gdLst>
              <a:ahLst/>
              <a:cxnLst>
                <a:cxn ang="0">
                  <a:pos x="T0" y="T1"/>
                </a:cxn>
                <a:cxn ang="0">
                  <a:pos x="T2" y="T3"/>
                </a:cxn>
                <a:cxn ang="0">
                  <a:pos x="T4" y="T5"/>
                </a:cxn>
                <a:cxn ang="0">
                  <a:pos x="T6" y="T7"/>
                </a:cxn>
              </a:cxnLst>
              <a:rect l="0" t="0" r="r" b="b"/>
              <a:pathLst>
                <a:path w="29" h="1">
                  <a:moveTo>
                    <a:pt x="0" y="0"/>
                  </a:moveTo>
                  <a:lnTo>
                    <a:pt x="0" y="0"/>
                  </a:lnTo>
                  <a:lnTo>
                    <a:pt x="28"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82" name="Freeform 460">
              <a:extLst>
                <a:ext uri="{FF2B5EF4-FFF2-40B4-BE49-F238E27FC236}">
                  <a16:creationId xmlns:a16="http://schemas.microsoft.com/office/drawing/2014/main" id="{E81AB3AA-E7F7-4354-891B-F3342BE3812A}"/>
                </a:ext>
              </a:extLst>
            </p:cNvPr>
            <p:cNvSpPr>
              <a:spLocks noChangeArrowheads="1"/>
            </p:cNvSpPr>
            <p:nvPr/>
          </p:nvSpPr>
          <p:spPr bwMode="auto">
            <a:xfrm>
              <a:off x="5861324" y="4505462"/>
              <a:ext cx="151668" cy="22656"/>
            </a:xfrm>
            <a:custGeom>
              <a:avLst/>
              <a:gdLst>
                <a:gd name="T0" fmla="*/ 0 w 409"/>
                <a:gd name="T1" fmla="*/ 0 h 60"/>
                <a:gd name="T2" fmla="*/ 0 w 409"/>
                <a:gd name="T3" fmla="*/ 0 h 60"/>
                <a:gd name="T4" fmla="*/ 408 w 409"/>
                <a:gd name="T5" fmla="*/ 59 h 60"/>
                <a:gd name="T6" fmla="*/ 408 w 409"/>
                <a:gd name="T7" fmla="*/ 59 h 60"/>
                <a:gd name="T8" fmla="*/ 408 w 409"/>
                <a:gd name="T9" fmla="*/ 59 h 60"/>
                <a:gd name="T10" fmla="*/ 0 w 409"/>
                <a:gd name="T11" fmla="*/ 0 h 60"/>
              </a:gdLst>
              <a:ahLst/>
              <a:cxnLst>
                <a:cxn ang="0">
                  <a:pos x="T0" y="T1"/>
                </a:cxn>
                <a:cxn ang="0">
                  <a:pos x="T2" y="T3"/>
                </a:cxn>
                <a:cxn ang="0">
                  <a:pos x="T4" y="T5"/>
                </a:cxn>
                <a:cxn ang="0">
                  <a:pos x="T6" y="T7"/>
                </a:cxn>
                <a:cxn ang="0">
                  <a:pos x="T8" y="T9"/>
                </a:cxn>
                <a:cxn ang="0">
                  <a:pos x="T10" y="T11"/>
                </a:cxn>
              </a:cxnLst>
              <a:rect l="0" t="0" r="r" b="b"/>
              <a:pathLst>
                <a:path w="409" h="60">
                  <a:moveTo>
                    <a:pt x="0" y="0"/>
                  </a:moveTo>
                  <a:lnTo>
                    <a:pt x="0" y="0"/>
                  </a:lnTo>
                  <a:cubicBezTo>
                    <a:pt x="145" y="29"/>
                    <a:pt x="262" y="59"/>
                    <a:pt x="408" y="59"/>
                  </a:cubicBezTo>
                  <a:lnTo>
                    <a:pt x="408" y="59"/>
                  </a:lnTo>
                  <a:lnTo>
                    <a:pt x="408" y="59"/>
                  </a:lnTo>
                  <a:cubicBezTo>
                    <a:pt x="262" y="59"/>
                    <a:pt x="145"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83" name="Freeform 461">
              <a:extLst>
                <a:ext uri="{FF2B5EF4-FFF2-40B4-BE49-F238E27FC236}">
                  <a16:creationId xmlns:a16="http://schemas.microsoft.com/office/drawing/2014/main" id="{B9043208-FE1C-4ECC-B448-5C9EFE6C2021}"/>
                </a:ext>
              </a:extLst>
            </p:cNvPr>
            <p:cNvSpPr>
              <a:spLocks noChangeArrowheads="1"/>
            </p:cNvSpPr>
            <p:nvPr/>
          </p:nvSpPr>
          <p:spPr bwMode="auto">
            <a:xfrm>
              <a:off x="6012992" y="4560485"/>
              <a:ext cx="86435" cy="85771"/>
            </a:xfrm>
            <a:custGeom>
              <a:avLst/>
              <a:gdLst>
                <a:gd name="T0" fmla="*/ 233 w 234"/>
                <a:gd name="T1" fmla="*/ 204 h 234"/>
                <a:gd name="T2" fmla="*/ 233 w 234"/>
                <a:gd name="T3" fmla="*/ 204 h 234"/>
                <a:gd name="T4" fmla="*/ 145 w 234"/>
                <a:gd name="T5" fmla="*/ 146 h 234"/>
                <a:gd name="T6" fmla="*/ 0 w 234"/>
                <a:gd name="T7" fmla="*/ 0 h 234"/>
                <a:gd name="T8" fmla="*/ 145 w 234"/>
                <a:gd name="T9" fmla="*/ 146 h 234"/>
                <a:gd name="T10" fmla="*/ 233 w 234"/>
                <a:gd name="T11" fmla="*/ 204 h 234"/>
                <a:gd name="T12" fmla="*/ 233 w 234"/>
                <a:gd name="T13" fmla="*/ 233 h 234"/>
                <a:gd name="T14" fmla="*/ 233 w 234"/>
                <a:gd name="T15" fmla="*/ 204 h 2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4" h="234">
                  <a:moveTo>
                    <a:pt x="233" y="204"/>
                  </a:moveTo>
                  <a:lnTo>
                    <a:pt x="233" y="204"/>
                  </a:lnTo>
                  <a:cubicBezTo>
                    <a:pt x="204" y="204"/>
                    <a:pt x="175" y="175"/>
                    <a:pt x="145" y="146"/>
                  </a:cubicBezTo>
                  <a:cubicBezTo>
                    <a:pt x="87" y="87"/>
                    <a:pt x="29" y="58"/>
                    <a:pt x="0" y="0"/>
                  </a:cubicBezTo>
                  <a:cubicBezTo>
                    <a:pt x="29" y="58"/>
                    <a:pt x="87" y="87"/>
                    <a:pt x="145" y="146"/>
                  </a:cubicBezTo>
                  <a:cubicBezTo>
                    <a:pt x="175" y="175"/>
                    <a:pt x="204" y="204"/>
                    <a:pt x="233" y="204"/>
                  </a:cubicBezTo>
                  <a:cubicBezTo>
                    <a:pt x="233" y="233"/>
                    <a:pt x="233" y="233"/>
                    <a:pt x="233" y="233"/>
                  </a:cubicBezTo>
                  <a:cubicBezTo>
                    <a:pt x="233" y="233"/>
                    <a:pt x="233" y="233"/>
                    <a:pt x="233" y="2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84" name="Freeform 462">
              <a:extLst>
                <a:ext uri="{FF2B5EF4-FFF2-40B4-BE49-F238E27FC236}">
                  <a16:creationId xmlns:a16="http://schemas.microsoft.com/office/drawing/2014/main" id="{98B5AE4E-FC6F-4539-9C5A-0719CA03021C}"/>
                </a:ext>
              </a:extLst>
            </p:cNvPr>
            <p:cNvSpPr>
              <a:spLocks noChangeArrowheads="1"/>
            </p:cNvSpPr>
            <p:nvPr/>
          </p:nvSpPr>
          <p:spPr bwMode="auto">
            <a:xfrm>
              <a:off x="5215510" y="4463386"/>
              <a:ext cx="21200" cy="11329"/>
            </a:xfrm>
            <a:custGeom>
              <a:avLst/>
              <a:gdLst>
                <a:gd name="T0" fmla="*/ 0 w 59"/>
                <a:gd name="T1" fmla="*/ 0 h 30"/>
                <a:gd name="T2" fmla="*/ 0 w 59"/>
                <a:gd name="T3" fmla="*/ 0 h 30"/>
                <a:gd name="T4" fmla="*/ 58 w 59"/>
                <a:gd name="T5" fmla="*/ 29 h 30"/>
                <a:gd name="T6" fmla="*/ 0 w 59"/>
                <a:gd name="T7" fmla="*/ 0 h 30"/>
              </a:gdLst>
              <a:ahLst/>
              <a:cxnLst>
                <a:cxn ang="0">
                  <a:pos x="T0" y="T1"/>
                </a:cxn>
                <a:cxn ang="0">
                  <a:pos x="T2" y="T3"/>
                </a:cxn>
                <a:cxn ang="0">
                  <a:pos x="T4" y="T5"/>
                </a:cxn>
                <a:cxn ang="0">
                  <a:pos x="T6" y="T7"/>
                </a:cxn>
              </a:cxnLst>
              <a:rect l="0" t="0" r="r" b="b"/>
              <a:pathLst>
                <a:path w="59" h="30">
                  <a:moveTo>
                    <a:pt x="0" y="0"/>
                  </a:moveTo>
                  <a:lnTo>
                    <a:pt x="0" y="0"/>
                  </a:lnTo>
                  <a:cubicBezTo>
                    <a:pt x="0" y="0"/>
                    <a:pt x="29" y="0"/>
                    <a:pt x="58" y="29"/>
                  </a:cubicBezTo>
                  <a:cubicBezTo>
                    <a:pt x="29"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85" name="Freeform 463">
              <a:extLst>
                <a:ext uri="{FF2B5EF4-FFF2-40B4-BE49-F238E27FC236}">
                  <a16:creationId xmlns:a16="http://schemas.microsoft.com/office/drawing/2014/main" id="{C0A6D708-17A5-4A85-A03F-0A8B59F5F98C}"/>
                </a:ext>
              </a:extLst>
            </p:cNvPr>
            <p:cNvSpPr>
              <a:spLocks noChangeArrowheads="1"/>
            </p:cNvSpPr>
            <p:nvPr/>
          </p:nvSpPr>
          <p:spPr bwMode="auto">
            <a:xfrm>
              <a:off x="4243526" y="3841951"/>
              <a:ext cx="22832" cy="11329"/>
            </a:xfrm>
            <a:custGeom>
              <a:avLst/>
              <a:gdLst>
                <a:gd name="T0" fmla="*/ 59 w 60"/>
                <a:gd name="T1" fmla="*/ 29 h 30"/>
                <a:gd name="T2" fmla="*/ 59 w 60"/>
                <a:gd name="T3" fmla="*/ 29 h 30"/>
                <a:gd name="T4" fmla="*/ 29 w 60"/>
                <a:gd name="T5" fmla="*/ 0 h 30"/>
                <a:gd name="T6" fmla="*/ 0 w 60"/>
                <a:gd name="T7" fmla="*/ 0 h 30"/>
                <a:gd name="T8" fmla="*/ 29 w 60"/>
                <a:gd name="T9" fmla="*/ 0 h 30"/>
                <a:gd name="T10" fmla="*/ 59 w 60"/>
                <a:gd name="T11" fmla="*/ 29 h 30"/>
              </a:gdLst>
              <a:ahLst/>
              <a:cxnLst>
                <a:cxn ang="0">
                  <a:pos x="T0" y="T1"/>
                </a:cxn>
                <a:cxn ang="0">
                  <a:pos x="T2" y="T3"/>
                </a:cxn>
                <a:cxn ang="0">
                  <a:pos x="T4" y="T5"/>
                </a:cxn>
                <a:cxn ang="0">
                  <a:pos x="T6" y="T7"/>
                </a:cxn>
                <a:cxn ang="0">
                  <a:pos x="T8" y="T9"/>
                </a:cxn>
                <a:cxn ang="0">
                  <a:pos x="T10" y="T11"/>
                </a:cxn>
              </a:cxnLst>
              <a:rect l="0" t="0" r="r" b="b"/>
              <a:pathLst>
                <a:path w="60" h="30">
                  <a:moveTo>
                    <a:pt x="59" y="29"/>
                  </a:moveTo>
                  <a:lnTo>
                    <a:pt x="59" y="29"/>
                  </a:lnTo>
                  <a:lnTo>
                    <a:pt x="29" y="0"/>
                  </a:lnTo>
                  <a:lnTo>
                    <a:pt x="0" y="0"/>
                  </a:lnTo>
                  <a:lnTo>
                    <a:pt x="29" y="0"/>
                  </a:lnTo>
                  <a:lnTo>
                    <a:pt x="5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86" name="Freeform 464">
              <a:extLst>
                <a:ext uri="{FF2B5EF4-FFF2-40B4-BE49-F238E27FC236}">
                  <a16:creationId xmlns:a16="http://schemas.microsoft.com/office/drawing/2014/main" id="{72DCF6EA-76B5-42ED-83E2-EF84177611B8}"/>
                </a:ext>
              </a:extLst>
            </p:cNvPr>
            <p:cNvSpPr>
              <a:spLocks noChangeArrowheads="1"/>
            </p:cNvSpPr>
            <p:nvPr/>
          </p:nvSpPr>
          <p:spPr bwMode="auto">
            <a:xfrm>
              <a:off x="3878216" y="3372638"/>
              <a:ext cx="11415" cy="11329"/>
            </a:xfrm>
            <a:custGeom>
              <a:avLst/>
              <a:gdLst>
                <a:gd name="T0" fmla="*/ 0 w 30"/>
                <a:gd name="T1" fmla="*/ 29 h 30"/>
                <a:gd name="T2" fmla="*/ 0 w 30"/>
                <a:gd name="T3" fmla="*/ 29 h 30"/>
                <a:gd name="T4" fmla="*/ 0 w 30"/>
                <a:gd name="T5" fmla="*/ 0 h 30"/>
                <a:gd name="T6" fmla="*/ 0 w 30"/>
                <a:gd name="T7" fmla="*/ 0 h 30"/>
                <a:gd name="T8" fmla="*/ 0 w 30"/>
                <a:gd name="T9" fmla="*/ 29 h 30"/>
                <a:gd name="T10" fmla="*/ 29 w 30"/>
                <a:gd name="T11" fmla="*/ 29 h 30"/>
                <a:gd name="T12" fmla="*/ 0 w 30"/>
                <a:gd name="T13" fmla="*/ 29 h 30"/>
              </a:gdLst>
              <a:ahLst/>
              <a:cxnLst>
                <a:cxn ang="0">
                  <a:pos x="T0" y="T1"/>
                </a:cxn>
                <a:cxn ang="0">
                  <a:pos x="T2" y="T3"/>
                </a:cxn>
                <a:cxn ang="0">
                  <a:pos x="T4" y="T5"/>
                </a:cxn>
                <a:cxn ang="0">
                  <a:pos x="T6" y="T7"/>
                </a:cxn>
                <a:cxn ang="0">
                  <a:pos x="T8" y="T9"/>
                </a:cxn>
                <a:cxn ang="0">
                  <a:pos x="T10" y="T11"/>
                </a:cxn>
                <a:cxn ang="0">
                  <a:pos x="T12" y="T13"/>
                </a:cxn>
              </a:cxnLst>
              <a:rect l="0" t="0" r="r" b="b"/>
              <a:pathLst>
                <a:path w="30" h="30">
                  <a:moveTo>
                    <a:pt x="0" y="29"/>
                  </a:moveTo>
                  <a:lnTo>
                    <a:pt x="0" y="29"/>
                  </a:lnTo>
                  <a:cubicBezTo>
                    <a:pt x="0" y="0"/>
                    <a:pt x="0" y="0"/>
                    <a:pt x="0" y="0"/>
                  </a:cubicBezTo>
                  <a:lnTo>
                    <a:pt x="0" y="0"/>
                  </a:lnTo>
                  <a:cubicBezTo>
                    <a:pt x="0" y="29"/>
                    <a:pt x="0" y="29"/>
                    <a:pt x="0" y="29"/>
                  </a:cubicBezTo>
                  <a:lnTo>
                    <a:pt x="29" y="29"/>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87" name="Freeform 465">
              <a:extLst>
                <a:ext uri="{FF2B5EF4-FFF2-40B4-BE49-F238E27FC236}">
                  <a16:creationId xmlns:a16="http://schemas.microsoft.com/office/drawing/2014/main" id="{1BBDAE40-8D26-4578-BBAF-994D98A34C71}"/>
                </a:ext>
              </a:extLst>
            </p:cNvPr>
            <p:cNvSpPr>
              <a:spLocks noChangeArrowheads="1"/>
            </p:cNvSpPr>
            <p:nvPr/>
          </p:nvSpPr>
          <p:spPr bwMode="auto">
            <a:xfrm>
              <a:off x="4341376" y="4066898"/>
              <a:ext cx="11415" cy="21038"/>
            </a:xfrm>
            <a:custGeom>
              <a:avLst/>
              <a:gdLst>
                <a:gd name="T0" fmla="*/ 30 w 31"/>
                <a:gd name="T1" fmla="*/ 0 h 59"/>
                <a:gd name="T2" fmla="*/ 30 w 31"/>
                <a:gd name="T3" fmla="*/ 0 h 59"/>
                <a:gd name="T4" fmla="*/ 0 w 31"/>
                <a:gd name="T5" fmla="*/ 29 h 59"/>
                <a:gd name="T6" fmla="*/ 0 w 31"/>
                <a:gd name="T7" fmla="*/ 58 h 59"/>
                <a:gd name="T8" fmla="*/ 0 w 31"/>
                <a:gd name="T9" fmla="*/ 29 h 59"/>
                <a:gd name="T10" fmla="*/ 30 w 31"/>
                <a:gd name="T11" fmla="*/ 0 h 59"/>
              </a:gdLst>
              <a:ahLst/>
              <a:cxnLst>
                <a:cxn ang="0">
                  <a:pos x="T0" y="T1"/>
                </a:cxn>
                <a:cxn ang="0">
                  <a:pos x="T2" y="T3"/>
                </a:cxn>
                <a:cxn ang="0">
                  <a:pos x="T4" y="T5"/>
                </a:cxn>
                <a:cxn ang="0">
                  <a:pos x="T6" y="T7"/>
                </a:cxn>
                <a:cxn ang="0">
                  <a:pos x="T8" y="T9"/>
                </a:cxn>
                <a:cxn ang="0">
                  <a:pos x="T10" y="T11"/>
                </a:cxn>
              </a:cxnLst>
              <a:rect l="0" t="0" r="r" b="b"/>
              <a:pathLst>
                <a:path w="31" h="59">
                  <a:moveTo>
                    <a:pt x="30" y="0"/>
                  </a:moveTo>
                  <a:lnTo>
                    <a:pt x="30" y="0"/>
                  </a:lnTo>
                  <a:cubicBezTo>
                    <a:pt x="30" y="29"/>
                    <a:pt x="30" y="29"/>
                    <a:pt x="0" y="29"/>
                  </a:cubicBezTo>
                  <a:cubicBezTo>
                    <a:pt x="0" y="58"/>
                    <a:pt x="0" y="58"/>
                    <a:pt x="0" y="58"/>
                  </a:cubicBezTo>
                  <a:cubicBezTo>
                    <a:pt x="0" y="29"/>
                    <a:pt x="0" y="29"/>
                    <a:pt x="0" y="29"/>
                  </a:cubicBezTo>
                  <a:cubicBezTo>
                    <a:pt x="30" y="29"/>
                    <a:pt x="30" y="29"/>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88" name="Freeform 466">
              <a:extLst>
                <a:ext uri="{FF2B5EF4-FFF2-40B4-BE49-F238E27FC236}">
                  <a16:creationId xmlns:a16="http://schemas.microsoft.com/office/drawing/2014/main" id="{16A9F783-92C8-41F4-AD61-30FEC2CAE5F3}"/>
                </a:ext>
              </a:extLst>
            </p:cNvPr>
            <p:cNvSpPr>
              <a:spLocks noChangeArrowheads="1"/>
            </p:cNvSpPr>
            <p:nvPr/>
          </p:nvSpPr>
          <p:spPr bwMode="auto">
            <a:xfrm>
              <a:off x="4502830" y="4110592"/>
              <a:ext cx="86435" cy="11329"/>
            </a:xfrm>
            <a:custGeom>
              <a:avLst/>
              <a:gdLst>
                <a:gd name="T0" fmla="*/ 87 w 234"/>
                <a:gd name="T1" fmla="*/ 0 h 30"/>
                <a:gd name="T2" fmla="*/ 87 w 234"/>
                <a:gd name="T3" fmla="*/ 0 h 30"/>
                <a:gd name="T4" fmla="*/ 0 w 234"/>
                <a:gd name="T5" fmla="*/ 0 h 30"/>
                <a:gd name="T6" fmla="*/ 87 w 234"/>
                <a:gd name="T7" fmla="*/ 0 h 30"/>
                <a:gd name="T8" fmla="*/ 233 w 234"/>
                <a:gd name="T9" fmla="*/ 29 h 30"/>
                <a:gd name="T10" fmla="*/ 87 w 234"/>
                <a:gd name="T11" fmla="*/ 0 h 30"/>
              </a:gdLst>
              <a:ahLst/>
              <a:cxnLst>
                <a:cxn ang="0">
                  <a:pos x="T0" y="T1"/>
                </a:cxn>
                <a:cxn ang="0">
                  <a:pos x="T2" y="T3"/>
                </a:cxn>
                <a:cxn ang="0">
                  <a:pos x="T4" y="T5"/>
                </a:cxn>
                <a:cxn ang="0">
                  <a:pos x="T6" y="T7"/>
                </a:cxn>
                <a:cxn ang="0">
                  <a:pos x="T8" y="T9"/>
                </a:cxn>
                <a:cxn ang="0">
                  <a:pos x="T10" y="T11"/>
                </a:cxn>
              </a:cxnLst>
              <a:rect l="0" t="0" r="r" b="b"/>
              <a:pathLst>
                <a:path w="234" h="30">
                  <a:moveTo>
                    <a:pt x="87" y="0"/>
                  </a:moveTo>
                  <a:lnTo>
                    <a:pt x="87" y="0"/>
                  </a:lnTo>
                  <a:cubicBezTo>
                    <a:pt x="58" y="0"/>
                    <a:pt x="29" y="0"/>
                    <a:pt x="0" y="0"/>
                  </a:cubicBezTo>
                  <a:cubicBezTo>
                    <a:pt x="29" y="0"/>
                    <a:pt x="58" y="0"/>
                    <a:pt x="87" y="0"/>
                  </a:cubicBezTo>
                  <a:cubicBezTo>
                    <a:pt x="145" y="0"/>
                    <a:pt x="175" y="29"/>
                    <a:pt x="233" y="29"/>
                  </a:cubicBezTo>
                  <a:cubicBezTo>
                    <a:pt x="175" y="29"/>
                    <a:pt x="116" y="0"/>
                    <a:pt x="8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89" name="Freeform 467">
              <a:extLst>
                <a:ext uri="{FF2B5EF4-FFF2-40B4-BE49-F238E27FC236}">
                  <a16:creationId xmlns:a16="http://schemas.microsoft.com/office/drawing/2014/main" id="{6627A456-680E-441A-88A6-048411BBA678}"/>
                </a:ext>
              </a:extLst>
            </p:cNvPr>
            <p:cNvSpPr>
              <a:spLocks noChangeArrowheads="1"/>
            </p:cNvSpPr>
            <p:nvPr/>
          </p:nvSpPr>
          <p:spPr bwMode="auto">
            <a:xfrm>
              <a:off x="7436721" y="5725676"/>
              <a:ext cx="32617" cy="11329"/>
            </a:xfrm>
            <a:custGeom>
              <a:avLst/>
              <a:gdLst>
                <a:gd name="T0" fmla="*/ 88 w 89"/>
                <a:gd name="T1" fmla="*/ 0 h 30"/>
                <a:gd name="T2" fmla="*/ 88 w 89"/>
                <a:gd name="T3" fmla="*/ 0 h 30"/>
                <a:gd name="T4" fmla="*/ 59 w 89"/>
                <a:gd name="T5" fmla="*/ 0 h 30"/>
                <a:gd name="T6" fmla="*/ 0 w 89"/>
                <a:gd name="T7" fmla="*/ 29 h 30"/>
                <a:gd name="T8" fmla="*/ 0 w 89"/>
                <a:gd name="T9" fmla="*/ 29 h 30"/>
                <a:gd name="T10" fmla="*/ 59 w 89"/>
                <a:gd name="T11" fmla="*/ 0 h 30"/>
                <a:gd name="T12" fmla="*/ 88 w 89"/>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89" h="30">
                  <a:moveTo>
                    <a:pt x="88" y="0"/>
                  </a:moveTo>
                  <a:lnTo>
                    <a:pt x="88" y="0"/>
                  </a:lnTo>
                  <a:cubicBezTo>
                    <a:pt x="59" y="0"/>
                    <a:pt x="59" y="0"/>
                    <a:pt x="59" y="0"/>
                  </a:cubicBezTo>
                  <a:cubicBezTo>
                    <a:pt x="59" y="29"/>
                    <a:pt x="29" y="29"/>
                    <a:pt x="0" y="29"/>
                  </a:cubicBezTo>
                  <a:lnTo>
                    <a:pt x="0" y="29"/>
                  </a:lnTo>
                  <a:cubicBezTo>
                    <a:pt x="29" y="29"/>
                    <a:pt x="59" y="29"/>
                    <a:pt x="59" y="0"/>
                  </a:cubicBezTo>
                  <a:cubicBezTo>
                    <a:pt x="88" y="0"/>
                    <a:pt x="88" y="0"/>
                    <a:pt x="8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90" name="Freeform 468">
              <a:extLst>
                <a:ext uri="{FF2B5EF4-FFF2-40B4-BE49-F238E27FC236}">
                  <a16:creationId xmlns:a16="http://schemas.microsoft.com/office/drawing/2014/main" id="{C196482E-27A4-40C9-96DD-0741401118E6}"/>
                </a:ext>
              </a:extLst>
            </p:cNvPr>
            <p:cNvSpPr>
              <a:spLocks noChangeArrowheads="1"/>
            </p:cNvSpPr>
            <p:nvPr/>
          </p:nvSpPr>
          <p:spPr bwMode="auto">
            <a:xfrm>
              <a:off x="7598174" y="5266073"/>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91" name="Freeform 469">
              <a:extLst>
                <a:ext uri="{FF2B5EF4-FFF2-40B4-BE49-F238E27FC236}">
                  <a16:creationId xmlns:a16="http://schemas.microsoft.com/office/drawing/2014/main" id="{5D9F0239-69DC-441A-8C3E-B976AC07BFEA}"/>
                </a:ext>
              </a:extLst>
            </p:cNvPr>
            <p:cNvSpPr>
              <a:spLocks noChangeArrowheads="1"/>
            </p:cNvSpPr>
            <p:nvPr/>
          </p:nvSpPr>
          <p:spPr bwMode="auto">
            <a:xfrm>
              <a:off x="7663408" y="5233706"/>
              <a:ext cx="11416" cy="1619"/>
            </a:xfrm>
            <a:custGeom>
              <a:avLst/>
              <a:gdLst>
                <a:gd name="T0" fmla="*/ 30 w 31"/>
                <a:gd name="T1" fmla="*/ 0 h 1"/>
                <a:gd name="T2" fmla="*/ 30 w 31"/>
                <a:gd name="T3" fmla="*/ 0 h 1"/>
                <a:gd name="T4" fmla="*/ 0 w 31"/>
                <a:gd name="T5" fmla="*/ 0 h 1"/>
                <a:gd name="T6" fmla="*/ 0 w 31"/>
                <a:gd name="T7" fmla="*/ 0 h 1"/>
                <a:gd name="T8" fmla="*/ 0 w 31"/>
                <a:gd name="T9" fmla="*/ 0 h 1"/>
                <a:gd name="T10" fmla="*/ 0 w 31"/>
                <a:gd name="T11" fmla="*/ 0 h 1"/>
                <a:gd name="T12" fmla="*/ 30 w 3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1" h="1">
                  <a:moveTo>
                    <a:pt x="30" y="0"/>
                  </a:moveTo>
                  <a:lnTo>
                    <a:pt x="30" y="0"/>
                  </a:lnTo>
                  <a:cubicBezTo>
                    <a:pt x="30" y="0"/>
                    <a:pt x="30" y="0"/>
                    <a:pt x="0" y="0"/>
                  </a:cubicBezTo>
                  <a:lnTo>
                    <a:pt x="0" y="0"/>
                  </a:lnTo>
                  <a:lnTo>
                    <a:pt x="0" y="0"/>
                  </a:lnTo>
                  <a:lnTo>
                    <a:pt x="0" y="0"/>
                  </a:lnTo>
                  <a:cubicBezTo>
                    <a:pt x="30" y="0"/>
                    <a:pt x="3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92" name="Freeform 470">
              <a:extLst>
                <a:ext uri="{FF2B5EF4-FFF2-40B4-BE49-F238E27FC236}">
                  <a16:creationId xmlns:a16="http://schemas.microsoft.com/office/drawing/2014/main" id="{AE0F4BC3-68AE-475B-8D06-578C3484FA90}"/>
                </a:ext>
              </a:extLst>
            </p:cNvPr>
            <p:cNvSpPr>
              <a:spLocks noChangeArrowheads="1"/>
            </p:cNvSpPr>
            <p:nvPr/>
          </p:nvSpPr>
          <p:spPr bwMode="auto">
            <a:xfrm>
              <a:off x="7598174" y="5233706"/>
              <a:ext cx="65234" cy="43695"/>
            </a:xfrm>
            <a:custGeom>
              <a:avLst/>
              <a:gdLst>
                <a:gd name="T0" fmla="*/ 175 w 176"/>
                <a:gd name="T1" fmla="*/ 29 h 118"/>
                <a:gd name="T2" fmla="*/ 175 w 176"/>
                <a:gd name="T3" fmla="*/ 29 h 118"/>
                <a:gd name="T4" fmla="*/ 117 w 176"/>
                <a:gd name="T5" fmla="*/ 59 h 118"/>
                <a:gd name="T6" fmla="*/ 29 w 176"/>
                <a:gd name="T7" fmla="*/ 88 h 118"/>
                <a:gd name="T8" fmla="*/ 0 w 176"/>
                <a:gd name="T9" fmla="*/ 117 h 118"/>
                <a:gd name="T10" fmla="*/ 0 w 176"/>
                <a:gd name="T11" fmla="*/ 117 h 118"/>
                <a:gd name="T12" fmla="*/ 29 w 176"/>
                <a:gd name="T13" fmla="*/ 88 h 118"/>
                <a:gd name="T14" fmla="*/ 117 w 176"/>
                <a:gd name="T15" fmla="*/ 59 h 118"/>
                <a:gd name="T16" fmla="*/ 175 w 176"/>
                <a:gd name="T17" fmla="*/ 29 h 118"/>
                <a:gd name="T18" fmla="*/ 175 w 176"/>
                <a:gd name="T19" fmla="*/ 29 h 118"/>
                <a:gd name="T20" fmla="*/ 175 w 176"/>
                <a:gd name="T21" fmla="*/ 0 h 118"/>
                <a:gd name="T22" fmla="*/ 175 w 176"/>
                <a:gd name="T23" fmla="*/ 2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6" h="118">
                  <a:moveTo>
                    <a:pt x="175" y="29"/>
                  </a:moveTo>
                  <a:lnTo>
                    <a:pt x="175" y="29"/>
                  </a:lnTo>
                  <a:cubicBezTo>
                    <a:pt x="146" y="29"/>
                    <a:pt x="146" y="29"/>
                    <a:pt x="117" y="59"/>
                  </a:cubicBezTo>
                  <a:cubicBezTo>
                    <a:pt x="88" y="59"/>
                    <a:pt x="58" y="88"/>
                    <a:pt x="29" y="88"/>
                  </a:cubicBezTo>
                  <a:cubicBezTo>
                    <a:pt x="0" y="117"/>
                    <a:pt x="0" y="117"/>
                    <a:pt x="0" y="117"/>
                  </a:cubicBezTo>
                  <a:lnTo>
                    <a:pt x="0" y="117"/>
                  </a:lnTo>
                  <a:cubicBezTo>
                    <a:pt x="29" y="88"/>
                    <a:pt x="29" y="88"/>
                    <a:pt x="29" y="88"/>
                  </a:cubicBezTo>
                  <a:cubicBezTo>
                    <a:pt x="58" y="88"/>
                    <a:pt x="88" y="59"/>
                    <a:pt x="117" y="59"/>
                  </a:cubicBezTo>
                  <a:cubicBezTo>
                    <a:pt x="146" y="29"/>
                    <a:pt x="146" y="29"/>
                    <a:pt x="175" y="29"/>
                  </a:cubicBezTo>
                  <a:lnTo>
                    <a:pt x="175" y="29"/>
                  </a:lnTo>
                  <a:cubicBezTo>
                    <a:pt x="175" y="0"/>
                    <a:pt x="175" y="0"/>
                    <a:pt x="175" y="0"/>
                  </a:cubicBezTo>
                  <a:cubicBezTo>
                    <a:pt x="175" y="29"/>
                    <a:pt x="175" y="29"/>
                    <a:pt x="175"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93" name="Freeform 471">
              <a:extLst>
                <a:ext uri="{FF2B5EF4-FFF2-40B4-BE49-F238E27FC236}">
                  <a16:creationId xmlns:a16="http://schemas.microsoft.com/office/drawing/2014/main" id="{888994D1-6F8B-4B73-A1D9-B7780F624864}"/>
                </a:ext>
              </a:extLst>
            </p:cNvPr>
            <p:cNvSpPr>
              <a:spLocks noChangeArrowheads="1"/>
            </p:cNvSpPr>
            <p:nvPr/>
          </p:nvSpPr>
          <p:spPr bwMode="auto">
            <a:xfrm>
              <a:off x="7501955" y="5363172"/>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94" name="Freeform 472">
              <a:extLst>
                <a:ext uri="{FF2B5EF4-FFF2-40B4-BE49-F238E27FC236}">
                  <a16:creationId xmlns:a16="http://schemas.microsoft.com/office/drawing/2014/main" id="{F39FBAFA-9B98-4482-8584-8AEC6190F5B5}"/>
                </a:ext>
              </a:extLst>
            </p:cNvPr>
            <p:cNvSpPr>
              <a:spLocks noChangeArrowheads="1"/>
            </p:cNvSpPr>
            <p:nvPr/>
          </p:nvSpPr>
          <p:spPr bwMode="auto">
            <a:xfrm>
              <a:off x="7588389" y="5277402"/>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95" name="Freeform 473">
              <a:extLst>
                <a:ext uri="{FF2B5EF4-FFF2-40B4-BE49-F238E27FC236}">
                  <a16:creationId xmlns:a16="http://schemas.microsoft.com/office/drawing/2014/main" id="{9159B7D1-01BC-49D0-B8FB-5AA5C2C7B936}"/>
                </a:ext>
              </a:extLst>
            </p:cNvPr>
            <p:cNvSpPr>
              <a:spLocks noChangeArrowheads="1"/>
            </p:cNvSpPr>
            <p:nvPr/>
          </p:nvSpPr>
          <p:spPr bwMode="auto">
            <a:xfrm>
              <a:off x="7674824" y="5223997"/>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96" name="Freeform 474">
              <a:extLst>
                <a:ext uri="{FF2B5EF4-FFF2-40B4-BE49-F238E27FC236}">
                  <a16:creationId xmlns:a16="http://schemas.microsoft.com/office/drawing/2014/main" id="{763AD2AD-F3B7-49D6-B977-82CC471E3BA5}"/>
                </a:ext>
              </a:extLst>
            </p:cNvPr>
            <p:cNvSpPr>
              <a:spLocks noChangeArrowheads="1"/>
            </p:cNvSpPr>
            <p:nvPr/>
          </p:nvSpPr>
          <p:spPr bwMode="auto">
            <a:xfrm>
              <a:off x="7738427" y="5191630"/>
              <a:ext cx="11416" cy="1619"/>
            </a:xfrm>
            <a:custGeom>
              <a:avLst/>
              <a:gdLst>
                <a:gd name="T0" fmla="*/ 29 w 30"/>
                <a:gd name="T1" fmla="*/ 0 h 1"/>
                <a:gd name="T2" fmla="*/ 29 w 30"/>
                <a:gd name="T3" fmla="*/ 0 h 1"/>
                <a:gd name="T4" fmla="*/ 0 w 30"/>
                <a:gd name="T5" fmla="*/ 0 h 1"/>
                <a:gd name="T6" fmla="*/ 0 w 30"/>
                <a:gd name="T7" fmla="*/ 0 h 1"/>
                <a:gd name="T8" fmla="*/ 29 w 30"/>
                <a:gd name="T9" fmla="*/ 0 h 1"/>
              </a:gdLst>
              <a:ahLst/>
              <a:cxnLst>
                <a:cxn ang="0">
                  <a:pos x="T0" y="T1"/>
                </a:cxn>
                <a:cxn ang="0">
                  <a:pos x="T2" y="T3"/>
                </a:cxn>
                <a:cxn ang="0">
                  <a:pos x="T4" y="T5"/>
                </a:cxn>
                <a:cxn ang="0">
                  <a:pos x="T6" y="T7"/>
                </a:cxn>
                <a:cxn ang="0">
                  <a:pos x="T8" y="T9"/>
                </a:cxn>
              </a:cxnLst>
              <a:rect l="0" t="0" r="r" b="b"/>
              <a:pathLst>
                <a:path w="30" h="1">
                  <a:moveTo>
                    <a:pt x="29" y="0"/>
                  </a:moveTo>
                  <a:lnTo>
                    <a:pt x="29" y="0"/>
                  </a:lnTo>
                  <a:cubicBezTo>
                    <a:pt x="29" y="0"/>
                    <a:pt x="29" y="0"/>
                    <a:pt x="0" y="0"/>
                  </a:cubicBezTo>
                  <a:lnTo>
                    <a:pt x="0" y="0"/>
                  </a:lnTo>
                  <a:cubicBezTo>
                    <a:pt x="29"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97" name="Freeform 475">
              <a:extLst>
                <a:ext uri="{FF2B5EF4-FFF2-40B4-BE49-F238E27FC236}">
                  <a16:creationId xmlns:a16="http://schemas.microsoft.com/office/drawing/2014/main" id="{2E7C5BEA-4DEF-4E72-A272-6CBCF9BBA50C}"/>
                </a:ext>
              </a:extLst>
            </p:cNvPr>
            <p:cNvSpPr>
              <a:spLocks noChangeArrowheads="1"/>
            </p:cNvSpPr>
            <p:nvPr/>
          </p:nvSpPr>
          <p:spPr bwMode="auto">
            <a:xfrm>
              <a:off x="7878680" y="5105860"/>
              <a:ext cx="11416" cy="22656"/>
            </a:xfrm>
            <a:custGeom>
              <a:avLst/>
              <a:gdLst>
                <a:gd name="T0" fmla="*/ 30 w 31"/>
                <a:gd name="T1" fmla="*/ 29 h 60"/>
                <a:gd name="T2" fmla="*/ 30 w 31"/>
                <a:gd name="T3" fmla="*/ 29 h 60"/>
                <a:gd name="T4" fmla="*/ 0 w 31"/>
                <a:gd name="T5" fmla="*/ 59 h 60"/>
                <a:gd name="T6" fmla="*/ 30 w 31"/>
                <a:gd name="T7" fmla="*/ 29 h 60"/>
                <a:gd name="T8" fmla="*/ 30 w 31"/>
                <a:gd name="T9" fmla="*/ 0 h 60"/>
                <a:gd name="T10" fmla="*/ 30 w 31"/>
                <a:gd name="T11" fmla="*/ 0 h 60"/>
                <a:gd name="T12" fmla="*/ 30 w 31"/>
                <a:gd name="T13" fmla="*/ 29 h 60"/>
              </a:gdLst>
              <a:ahLst/>
              <a:cxnLst>
                <a:cxn ang="0">
                  <a:pos x="T0" y="T1"/>
                </a:cxn>
                <a:cxn ang="0">
                  <a:pos x="T2" y="T3"/>
                </a:cxn>
                <a:cxn ang="0">
                  <a:pos x="T4" y="T5"/>
                </a:cxn>
                <a:cxn ang="0">
                  <a:pos x="T6" y="T7"/>
                </a:cxn>
                <a:cxn ang="0">
                  <a:pos x="T8" y="T9"/>
                </a:cxn>
                <a:cxn ang="0">
                  <a:pos x="T10" y="T11"/>
                </a:cxn>
                <a:cxn ang="0">
                  <a:pos x="T12" y="T13"/>
                </a:cxn>
              </a:cxnLst>
              <a:rect l="0" t="0" r="r" b="b"/>
              <a:pathLst>
                <a:path w="31" h="60">
                  <a:moveTo>
                    <a:pt x="30" y="29"/>
                  </a:moveTo>
                  <a:lnTo>
                    <a:pt x="30" y="29"/>
                  </a:lnTo>
                  <a:cubicBezTo>
                    <a:pt x="30" y="29"/>
                    <a:pt x="30" y="29"/>
                    <a:pt x="0" y="59"/>
                  </a:cubicBezTo>
                  <a:cubicBezTo>
                    <a:pt x="30" y="29"/>
                    <a:pt x="30" y="29"/>
                    <a:pt x="30" y="29"/>
                  </a:cubicBezTo>
                  <a:cubicBezTo>
                    <a:pt x="30" y="0"/>
                    <a:pt x="30" y="0"/>
                    <a:pt x="30" y="0"/>
                  </a:cubicBezTo>
                  <a:lnTo>
                    <a:pt x="30" y="0"/>
                  </a:lnTo>
                  <a:lnTo>
                    <a:pt x="3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98" name="Freeform 476">
              <a:extLst>
                <a:ext uri="{FF2B5EF4-FFF2-40B4-BE49-F238E27FC236}">
                  <a16:creationId xmlns:a16="http://schemas.microsoft.com/office/drawing/2014/main" id="{2C79C6AF-98F3-4BE8-893F-30171A57344C}"/>
                </a:ext>
              </a:extLst>
            </p:cNvPr>
            <p:cNvSpPr>
              <a:spLocks noChangeArrowheads="1"/>
            </p:cNvSpPr>
            <p:nvPr/>
          </p:nvSpPr>
          <p:spPr bwMode="auto">
            <a:xfrm>
              <a:off x="7824862" y="5147936"/>
              <a:ext cx="1630"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29"/>
                    <a:pt x="0" y="29"/>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99" name="Freeform 477">
              <a:extLst>
                <a:ext uri="{FF2B5EF4-FFF2-40B4-BE49-F238E27FC236}">
                  <a16:creationId xmlns:a16="http://schemas.microsoft.com/office/drawing/2014/main" id="{5C8618EA-A265-482A-AB40-D659CE5ACD82}"/>
                </a:ext>
              </a:extLst>
            </p:cNvPr>
            <p:cNvSpPr>
              <a:spLocks noChangeArrowheads="1"/>
            </p:cNvSpPr>
            <p:nvPr/>
          </p:nvSpPr>
          <p:spPr bwMode="auto">
            <a:xfrm>
              <a:off x="7953699" y="5041127"/>
              <a:ext cx="32617" cy="21038"/>
            </a:xfrm>
            <a:custGeom>
              <a:avLst/>
              <a:gdLst>
                <a:gd name="T0" fmla="*/ 59 w 89"/>
                <a:gd name="T1" fmla="*/ 29 h 59"/>
                <a:gd name="T2" fmla="*/ 59 w 89"/>
                <a:gd name="T3" fmla="*/ 29 h 59"/>
                <a:gd name="T4" fmla="*/ 0 w 89"/>
                <a:gd name="T5" fmla="*/ 58 h 59"/>
                <a:gd name="T6" fmla="*/ 59 w 89"/>
                <a:gd name="T7" fmla="*/ 29 h 59"/>
                <a:gd name="T8" fmla="*/ 88 w 89"/>
                <a:gd name="T9" fmla="*/ 29 h 59"/>
                <a:gd name="T10" fmla="*/ 59 w 89"/>
                <a:gd name="T11" fmla="*/ 29 h 59"/>
              </a:gdLst>
              <a:ahLst/>
              <a:cxnLst>
                <a:cxn ang="0">
                  <a:pos x="T0" y="T1"/>
                </a:cxn>
                <a:cxn ang="0">
                  <a:pos x="T2" y="T3"/>
                </a:cxn>
                <a:cxn ang="0">
                  <a:pos x="T4" y="T5"/>
                </a:cxn>
                <a:cxn ang="0">
                  <a:pos x="T6" y="T7"/>
                </a:cxn>
                <a:cxn ang="0">
                  <a:pos x="T8" y="T9"/>
                </a:cxn>
                <a:cxn ang="0">
                  <a:pos x="T10" y="T11"/>
                </a:cxn>
              </a:cxnLst>
              <a:rect l="0" t="0" r="r" b="b"/>
              <a:pathLst>
                <a:path w="89" h="59">
                  <a:moveTo>
                    <a:pt x="59" y="29"/>
                  </a:moveTo>
                  <a:lnTo>
                    <a:pt x="59" y="29"/>
                  </a:lnTo>
                  <a:cubicBezTo>
                    <a:pt x="29" y="29"/>
                    <a:pt x="29" y="29"/>
                    <a:pt x="0" y="58"/>
                  </a:cubicBezTo>
                  <a:cubicBezTo>
                    <a:pt x="29" y="29"/>
                    <a:pt x="29" y="29"/>
                    <a:pt x="59" y="29"/>
                  </a:cubicBezTo>
                  <a:cubicBezTo>
                    <a:pt x="88" y="0"/>
                    <a:pt x="88" y="29"/>
                    <a:pt x="88" y="29"/>
                  </a:cubicBezTo>
                  <a:cubicBezTo>
                    <a:pt x="88" y="29"/>
                    <a:pt x="88" y="0"/>
                    <a:pt x="5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00" name="Freeform 478">
              <a:extLst>
                <a:ext uri="{FF2B5EF4-FFF2-40B4-BE49-F238E27FC236}">
                  <a16:creationId xmlns:a16="http://schemas.microsoft.com/office/drawing/2014/main" id="{4390D3CD-AF1F-49C1-8293-029CDE838203}"/>
                </a:ext>
              </a:extLst>
            </p:cNvPr>
            <p:cNvSpPr>
              <a:spLocks noChangeArrowheads="1"/>
            </p:cNvSpPr>
            <p:nvPr/>
          </p:nvSpPr>
          <p:spPr bwMode="auto">
            <a:xfrm>
              <a:off x="7782460" y="5180302"/>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01" name="Freeform 479">
              <a:extLst>
                <a:ext uri="{FF2B5EF4-FFF2-40B4-BE49-F238E27FC236}">
                  <a16:creationId xmlns:a16="http://schemas.microsoft.com/office/drawing/2014/main" id="{F32329B0-7ECB-4FB7-9648-10A3294F1B5B}"/>
                </a:ext>
              </a:extLst>
            </p:cNvPr>
            <p:cNvSpPr>
              <a:spLocks noChangeArrowheads="1"/>
            </p:cNvSpPr>
            <p:nvPr/>
          </p:nvSpPr>
          <p:spPr bwMode="auto">
            <a:xfrm>
              <a:off x="7792245" y="5159264"/>
              <a:ext cx="32617" cy="22656"/>
            </a:xfrm>
            <a:custGeom>
              <a:avLst/>
              <a:gdLst>
                <a:gd name="T0" fmla="*/ 0 w 88"/>
                <a:gd name="T1" fmla="*/ 59 h 60"/>
                <a:gd name="T2" fmla="*/ 0 w 88"/>
                <a:gd name="T3" fmla="*/ 59 h 60"/>
                <a:gd name="T4" fmla="*/ 87 w 88"/>
                <a:gd name="T5" fmla="*/ 0 h 60"/>
                <a:gd name="T6" fmla="*/ 0 w 88"/>
                <a:gd name="T7" fmla="*/ 59 h 60"/>
              </a:gdLst>
              <a:ahLst/>
              <a:cxnLst>
                <a:cxn ang="0">
                  <a:pos x="T0" y="T1"/>
                </a:cxn>
                <a:cxn ang="0">
                  <a:pos x="T2" y="T3"/>
                </a:cxn>
                <a:cxn ang="0">
                  <a:pos x="T4" y="T5"/>
                </a:cxn>
                <a:cxn ang="0">
                  <a:pos x="T6" y="T7"/>
                </a:cxn>
              </a:cxnLst>
              <a:rect l="0" t="0" r="r" b="b"/>
              <a:pathLst>
                <a:path w="88" h="60">
                  <a:moveTo>
                    <a:pt x="0" y="59"/>
                  </a:moveTo>
                  <a:lnTo>
                    <a:pt x="0" y="59"/>
                  </a:lnTo>
                  <a:cubicBezTo>
                    <a:pt x="30" y="30"/>
                    <a:pt x="58" y="30"/>
                    <a:pt x="87" y="0"/>
                  </a:cubicBezTo>
                  <a:cubicBezTo>
                    <a:pt x="58" y="30"/>
                    <a:pt x="30" y="30"/>
                    <a:pt x="0"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02" name="Freeform 480">
              <a:extLst>
                <a:ext uri="{FF2B5EF4-FFF2-40B4-BE49-F238E27FC236}">
                  <a16:creationId xmlns:a16="http://schemas.microsoft.com/office/drawing/2014/main" id="{C20B78C2-2ADB-4B88-A7C9-E3B45F3350D7}"/>
                </a:ext>
              </a:extLst>
            </p:cNvPr>
            <p:cNvSpPr>
              <a:spLocks noChangeArrowheads="1"/>
            </p:cNvSpPr>
            <p:nvPr/>
          </p:nvSpPr>
          <p:spPr bwMode="auto">
            <a:xfrm>
              <a:off x="6746873" y="4987722"/>
              <a:ext cx="1631" cy="11329"/>
            </a:xfrm>
            <a:custGeom>
              <a:avLst/>
              <a:gdLst>
                <a:gd name="T0" fmla="*/ 0 w 1"/>
                <a:gd name="T1" fmla="*/ 30 h 31"/>
                <a:gd name="T2" fmla="*/ 0 w 1"/>
                <a:gd name="T3" fmla="*/ 30 h 31"/>
                <a:gd name="T4" fmla="*/ 0 w 1"/>
                <a:gd name="T5" fmla="*/ 0 h 31"/>
                <a:gd name="T6" fmla="*/ 0 w 1"/>
                <a:gd name="T7" fmla="*/ 30 h 31"/>
              </a:gdLst>
              <a:ahLst/>
              <a:cxnLst>
                <a:cxn ang="0">
                  <a:pos x="T0" y="T1"/>
                </a:cxn>
                <a:cxn ang="0">
                  <a:pos x="T2" y="T3"/>
                </a:cxn>
                <a:cxn ang="0">
                  <a:pos x="T4" y="T5"/>
                </a:cxn>
                <a:cxn ang="0">
                  <a:pos x="T6" y="T7"/>
                </a:cxn>
              </a:cxnLst>
              <a:rect l="0" t="0" r="r" b="b"/>
              <a:pathLst>
                <a:path w="1" h="31">
                  <a:moveTo>
                    <a:pt x="0" y="30"/>
                  </a:moveTo>
                  <a:lnTo>
                    <a:pt x="0" y="30"/>
                  </a:lnTo>
                  <a:lnTo>
                    <a:pt x="0" y="0"/>
                  </a:lnTo>
                  <a:lnTo>
                    <a:pt x="0" y="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03" name="Freeform 481">
              <a:extLst>
                <a:ext uri="{FF2B5EF4-FFF2-40B4-BE49-F238E27FC236}">
                  <a16:creationId xmlns:a16="http://schemas.microsoft.com/office/drawing/2014/main" id="{FE90E40A-C4AB-4BB5-B377-C0F0A249E0B2}"/>
                </a:ext>
              </a:extLst>
            </p:cNvPr>
            <p:cNvSpPr>
              <a:spLocks noChangeArrowheads="1"/>
            </p:cNvSpPr>
            <p:nvPr/>
          </p:nvSpPr>
          <p:spPr bwMode="auto">
            <a:xfrm>
              <a:off x="6929528" y="5170593"/>
              <a:ext cx="44033" cy="85770"/>
            </a:xfrm>
            <a:custGeom>
              <a:avLst/>
              <a:gdLst>
                <a:gd name="T0" fmla="*/ 59 w 118"/>
                <a:gd name="T1" fmla="*/ 116 h 234"/>
                <a:gd name="T2" fmla="*/ 59 w 118"/>
                <a:gd name="T3" fmla="*/ 116 h 234"/>
                <a:gd name="T4" fmla="*/ 0 w 118"/>
                <a:gd name="T5" fmla="*/ 0 h 234"/>
                <a:gd name="T6" fmla="*/ 59 w 118"/>
                <a:gd name="T7" fmla="*/ 116 h 234"/>
                <a:gd name="T8" fmla="*/ 117 w 118"/>
                <a:gd name="T9" fmla="*/ 233 h 234"/>
                <a:gd name="T10" fmla="*/ 59 w 118"/>
                <a:gd name="T11" fmla="*/ 116 h 234"/>
              </a:gdLst>
              <a:ahLst/>
              <a:cxnLst>
                <a:cxn ang="0">
                  <a:pos x="T0" y="T1"/>
                </a:cxn>
                <a:cxn ang="0">
                  <a:pos x="T2" y="T3"/>
                </a:cxn>
                <a:cxn ang="0">
                  <a:pos x="T4" y="T5"/>
                </a:cxn>
                <a:cxn ang="0">
                  <a:pos x="T6" y="T7"/>
                </a:cxn>
                <a:cxn ang="0">
                  <a:pos x="T8" y="T9"/>
                </a:cxn>
                <a:cxn ang="0">
                  <a:pos x="T10" y="T11"/>
                </a:cxn>
              </a:cxnLst>
              <a:rect l="0" t="0" r="r" b="b"/>
              <a:pathLst>
                <a:path w="118" h="234">
                  <a:moveTo>
                    <a:pt x="59" y="116"/>
                  </a:moveTo>
                  <a:lnTo>
                    <a:pt x="59" y="116"/>
                  </a:lnTo>
                  <a:cubicBezTo>
                    <a:pt x="30" y="87"/>
                    <a:pt x="30" y="29"/>
                    <a:pt x="0" y="0"/>
                  </a:cubicBezTo>
                  <a:cubicBezTo>
                    <a:pt x="30" y="29"/>
                    <a:pt x="30" y="87"/>
                    <a:pt x="59" y="116"/>
                  </a:cubicBezTo>
                  <a:cubicBezTo>
                    <a:pt x="88" y="145"/>
                    <a:pt x="88" y="203"/>
                    <a:pt x="117" y="233"/>
                  </a:cubicBezTo>
                  <a:cubicBezTo>
                    <a:pt x="88" y="203"/>
                    <a:pt x="88" y="145"/>
                    <a:pt x="59" y="11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04" name="Freeform 482">
              <a:extLst>
                <a:ext uri="{FF2B5EF4-FFF2-40B4-BE49-F238E27FC236}">
                  <a16:creationId xmlns:a16="http://schemas.microsoft.com/office/drawing/2014/main" id="{21191C0F-2EA5-4AB5-A35D-826BAB759D3C}"/>
                </a:ext>
              </a:extLst>
            </p:cNvPr>
            <p:cNvSpPr>
              <a:spLocks noChangeArrowheads="1"/>
            </p:cNvSpPr>
            <p:nvPr/>
          </p:nvSpPr>
          <p:spPr bwMode="auto">
            <a:xfrm>
              <a:off x="6919743" y="5138226"/>
              <a:ext cx="11416" cy="32366"/>
            </a:xfrm>
            <a:custGeom>
              <a:avLst/>
              <a:gdLst>
                <a:gd name="T0" fmla="*/ 28 w 29"/>
                <a:gd name="T1" fmla="*/ 88 h 89"/>
                <a:gd name="T2" fmla="*/ 28 w 29"/>
                <a:gd name="T3" fmla="*/ 88 h 89"/>
                <a:gd name="T4" fmla="*/ 28 w 29"/>
                <a:gd name="T5" fmla="*/ 88 h 89"/>
                <a:gd name="T6" fmla="*/ 0 w 29"/>
                <a:gd name="T7" fmla="*/ 0 h 89"/>
                <a:gd name="T8" fmla="*/ 28 w 29"/>
                <a:gd name="T9" fmla="*/ 88 h 89"/>
              </a:gdLst>
              <a:ahLst/>
              <a:cxnLst>
                <a:cxn ang="0">
                  <a:pos x="T0" y="T1"/>
                </a:cxn>
                <a:cxn ang="0">
                  <a:pos x="T2" y="T3"/>
                </a:cxn>
                <a:cxn ang="0">
                  <a:pos x="T4" y="T5"/>
                </a:cxn>
                <a:cxn ang="0">
                  <a:pos x="T6" y="T7"/>
                </a:cxn>
                <a:cxn ang="0">
                  <a:pos x="T8" y="T9"/>
                </a:cxn>
              </a:cxnLst>
              <a:rect l="0" t="0" r="r" b="b"/>
              <a:pathLst>
                <a:path w="29" h="89">
                  <a:moveTo>
                    <a:pt x="28" y="88"/>
                  </a:moveTo>
                  <a:lnTo>
                    <a:pt x="28" y="88"/>
                  </a:lnTo>
                  <a:lnTo>
                    <a:pt x="28" y="88"/>
                  </a:lnTo>
                  <a:cubicBezTo>
                    <a:pt x="28" y="58"/>
                    <a:pt x="28" y="29"/>
                    <a:pt x="0" y="0"/>
                  </a:cubicBezTo>
                  <a:cubicBezTo>
                    <a:pt x="28" y="29"/>
                    <a:pt x="28" y="58"/>
                    <a:pt x="28"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05" name="Freeform 483">
              <a:extLst>
                <a:ext uri="{FF2B5EF4-FFF2-40B4-BE49-F238E27FC236}">
                  <a16:creationId xmlns:a16="http://schemas.microsoft.com/office/drawing/2014/main" id="{9ABF37C0-1648-48A9-9313-C197F98AE8D8}"/>
                </a:ext>
              </a:extLst>
            </p:cNvPr>
            <p:cNvSpPr>
              <a:spLocks noChangeArrowheads="1"/>
            </p:cNvSpPr>
            <p:nvPr/>
          </p:nvSpPr>
          <p:spPr bwMode="auto">
            <a:xfrm>
              <a:off x="7090982" y="5469981"/>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06" name="Freeform 484">
              <a:extLst>
                <a:ext uri="{FF2B5EF4-FFF2-40B4-BE49-F238E27FC236}">
                  <a16:creationId xmlns:a16="http://schemas.microsoft.com/office/drawing/2014/main" id="{608CA272-611B-4C76-85AF-87992CBB542B}"/>
                </a:ext>
              </a:extLst>
            </p:cNvPr>
            <p:cNvSpPr>
              <a:spLocks noChangeArrowheads="1"/>
            </p:cNvSpPr>
            <p:nvPr/>
          </p:nvSpPr>
          <p:spPr bwMode="auto">
            <a:xfrm>
              <a:off x="7090982" y="5469981"/>
              <a:ext cx="1630" cy="11329"/>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0"/>
                    <a:pt x="0" y="0"/>
                    <a:pt x="0" y="0"/>
                  </a:cubicBezTo>
                  <a:cubicBezTo>
                    <a:pt x="0" y="0"/>
                    <a:pt x="0"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07" name="Freeform 485">
              <a:extLst>
                <a:ext uri="{FF2B5EF4-FFF2-40B4-BE49-F238E27FC236}">
                  <a16:creationId xmlns:a16="http://schemas.microsoft.com/office/drawing/2014/main" id="{6A0F96BE-8283-4EE6-8227-A36BDDF6C3FB}"/>
                </a:ext>
              </a:extLst>
            </p:cNvPr>
            <p:cNvSpPr>
              <a:spLocks noChangeArrowheads="1"/>
            </p:cNvSpPr>
            <p:nvPr/>
          </p:nvSpPr>
          <p:spPr bwMode="auto">
            <a:xfrm>
              <a:off x="6887126" y="5094531"/>
              <a:ext cx="11416" cy="11329"/>
            </a:xfrm>
            <a:custGeom>
              <a:avLst/>
              <a:gdLst>
                <a:gd name="T0" fmla="*/ 30 w 31"/>
                <a:gd name="T1" fmla="*/ 0 h 30"/>
                <a:gd name="T2" fmla="*/ 30 w 31"/>
                <a:gd name="T3" fmla="*/ 0 h 30"/>
                <a:gd name="T4" fmla="*/ 0 w 31"/>
                <a:gd name="T5" fmla="*/ 29 h 30"/>
                <a:gd name="T6" fmla="*/ 0 w 31"/>
                <a:gd name="T7" fmla="*/ 29 h 30"/>
                <a:gd name="T8" fmla="*/ 0 w 31"/>
                <a:gd name="T9" fmla="*/ 29 h 30"/>
                <a:gd name="T10" fmla="*/ 30 w 31"/>
                <a:gd name="T11" fmla="*/ 0 h 30"/>
              </a:gdLst>
              <a:ahLst/>
              <a:cxnLst>
                <a:cxn ang="0">
                  <a:pos x="T0" y="T1"/>
                </a:cxn>
                <a:cxn ang="0">
                  <a:pos x="T2" y="T3"/>
                </a:cxn>
                <a:cxn ang="0">
                  <a:pos x="T4" y="T5"/>
                </a:cxn>
                <a:cxn ang="0">
                  <a:pos x="T6" y="T7"/>
                </a:cxn>
                <a:cxn ang="0">
                  <a:pos x="T8" y="T9"/>
                </a:cxn>
                <a:cxn ang="0">
                  <a:pos x="T10" y="T11"/>
                </a:cxn>
              </a:cxnLst>
              <a:rect l="0" t="0" r="r" b="b"/>
              <a:pathLst>
                <a:path w="31" h="30">
                  <a:moveTo>
                    <a:pt x="30" y="0"/>
                  </a:moveTo>
                  <a:lnTo>
                    <a:pt x="30" y="0"/>
                  </a:lnTo>
                  <a:cubicBezTo>
                    <a:pt x="0" y="0"/>
                    <a:pt x="0" y="29"/>
                    <a:pt x="0" y="29"/>
                  </a:cubicBezTo>
                  <a:lnTo>
                    <a:pt x="0" y="29"/>
                  </a:lnTo>
                  <a:lnTo>
                    <a:pt x="0" y="29"/>
                  </a:lnTo>
                  <a:cubicBezTo>
                    <a:pt x="0" y="29"/>
                    <a:pt x="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08" name="Freeform 486">
              <a:extLst>
                <a:ext uri="{FF2B5EF4-FFF2-40B4-BE49-F238E27FC236}">
                  <a16:creationId xmlns:a16="http://schemas.microsoft.com/office/drawing/2014/main" id="{47C4782D-9ACD-4DB8-A0D3-BAEDBBBA0A61}"/>
                </a:ext>
              </a:extLst>
            </p:cNvPr>
            <p:cNvSpPr>
              <a:spLocks noChangeArrowheads="1"/>
            </p:cNvSpPr>
            <p:nvPr/>
          </p:nvSpPr>
          <p:spPr bwMode="auto">
            <a:xfrm>
              <a:off x="6746873" y="4999051"/>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09" name="Freeform 487">
              <a:extLst>
                <a:ext uri="{FF2B5EF4-FFF2-40B4-BE49-F238E27FC236}">
                  <a16:creationId xmlns:a16="http://schemas.microsoft.com/office/drawing/2014/main" id="{50238895-7325-4602-98AB-37115FCC5715}"/>
                </a:ext>
              </a:extLst>
            </p:cNvPr>
            <p:cNvSpPr>
              <a:spLocks noChangeArrowheads="1"/>
            </p:cNvSpPr>
            <p:nvPr/>
          </p:nvSpPr>
          <p:spPr bwMode="auto">
            <a:xfrm>
              <a:off x="7123599" y="5555753"/>
              <a:ext cx="32617" cy="21038"/>
            </a:xfrm>
            <a:custGeom>
              <a:avLst/>
              <a:gdLst>
                <a:gd name="T0" fmla="*/ 58 w 89"/>
                <a:gd name="T1" fmla="*/ 29 h 59"/>
                <a:gd name="T2" fmla="*/ 58 w 89"/>
                <a:gd name="T3" fmla="*/ 29 h 59"/>
                <a:gd name="T4" fmla="*/ 0 w 89"/>
                <a:gd name="T5" fmla="*/ 29 h 59"/>
                <a:gd name="T6" fmla="*/ 0 w 89"/>
                <a:gd name="T7" fmla="*/ 0 h 59"/>
                <a:gd name="T8" fmla="*/ 0 w 89"/>
                <a:gd name="T9" fmla="*/ 29 h 59"/>
                <a:gd name="T10" fmla="*/ 58 w 89"/>
                <a:gd name="T11" fmla="*/ 29 h 59"/>
                <a:gd name="T12" fmla="*/ 88 w 89"/>
                <a:gd name="T13" fmla="*/ 58 h 59"/>
                <a:gd name="T14" fmla="*/ 58 w 89"/>
                <a:gd name="T15" fmla="*/ 2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59">
                  <a:moveTo>
                    <a:pt x="58" y="29"/>
                  </a:moveTo>
                  <a:lnTo>
                    <a:pt x="58" y="29"/>
                  </a:lnTo>
                  <a:cubicBezTo>
                    <a:pt x="29" y="29"/>
                    <a:pt x="29" y="29"/>
                    <a:pt x="0" y="29"/>
                  </a:cubicBezTo>
                  <a:cubicBezTo>
                    <a:pt x="0" y="0"/>
                    <a:pt x="0" y="0"/>
                    <a:pt x="0" y="0"/>
                  </a:cubicBezTo>
                  <a:cubicBezTo>
                    <a:pt x="0" y="0"/>
                    <a:pt x="0" y="0"/>
                    <a:pt x="0" y="29"/>
                  </a:cubicBezTo>
                  <a:cubicBezTo>
                    <a:pt x="29" y="29"/>
                    <a:pt x="29" y="29"/>
                    <a:pt x="58" y="29"/>
                  </a:cubicBezTo>
                  <a:cubicBezTo>
                    <a:pt x="58" y="58"/>
                    <a:pt x="88" y="58"/>
                    <a:pt x="88" y="58"/>
                  </a:cubicBezTo>
                  <a:cubicBezTo>
                    <a:pt x="88" y="58"/>
                    <a:pt x="58" y="58"/>
                    <a:pt x="5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0" name="Freeform 488">
              <a:extLst>
                <a:ext uri="{FF2B5EF4-FFF2-40B4-BE49-F238E27FC236}">
                  <a16:creationId xmlns:a16="http://schemas.microsoft.com/office/drawing/2014/main" id="{26F4FBC1-7336-4D79-8748-0781411B9542}"/>
                </a:ext>
              </a:extLst>
            </p:cNvPr>
            <p:cNvSpPr>
              <a:spLocks noChangeArrowheads="1"/>
            </p:cNvSpPr>
            <p:nvPr/>
          </p:nvSpPr>
          <p:spPr bwMode="auto">
            <a:xfrm>
              <a:off x="7296468" y="5694928"/>
              <a:ext cx="53817" cy="1618"/>
            </a:xfrm>
            <a:custGeom>
              <a:avLst/>
              <a:gdLst>
                <a:gd name="T0" fmla="*/ 145 w 146"/>
                <a:gd name="T1" fmla="*/ 0 h 1"/>
                <a:gd name="T2" fmla="*/ 145 w 146"/>
                <a:gd name="T3" fmla="*/ 0 h 1"/>
                <a:gd name="T4" fmla="*/ 57 w 146"/>
                <a:gd name="T5" fmla="*/ 0 h 1"/>
                <a:gd name="T6" fmla="*/ 0 w 146"/>
                <a:gd name="T7" fmla="*/ 0 h 1"/>
                <a:gd name="T8" fmla="*/ 57 w 146"/>
                <a:gd name="T9" fmla="*/ 0 h 1"/>
                <a:gd name="T10" fmla="*/ 145 w 146"/>
                <a:gd name="T11" fmla="*/ 0 h 1"/>
              </a:gdLst>
              <a:ahLst/>
              <a:cxnLst>
                <a:cxn ang="0">
                  <a:pos x="T0" y="T1"/>
                </a:cxn>
                <a:cxn ang="0">
                  <a:pos x="T2" y="T3"/>
                </a:cxn>
                <a:cxn ang="0">
                  <a:pos x="T4" y="T5"/>
                </a:cxn>
                <a:cxn ang="0">
                  <a:pos x="T6" y="T7"/>
                </a:cxn>
                <a:cxn ang="0">
                  <a:pos x="T8" y="T9"/>
                </a:cxn>
                <a:cxn ang="0">
                  <a:pos x="T10" y="T11"/>
                </a:cxn>
              </a:cxnLst>
              <a:rect l="0" t="0" r="r" b="b"/>
              <a:pathLst>
                <a:path w="146" h="1">
                  <a:moveTo>
                    <a:pt x="145" y="0"/>
                  </a:moveTo>
                  <a:lnTo>
                    <a:pt x="145" y="0"/>
                  </a:lnTo>
                  <a:cubicBezTo>
                    <a:pt x="116" y="0"/>
                    <a:pt x="87" y="0"/>
                    <a:pt x="57" y="0"/>
                  </a:cubicBezTo>
                  <a:cubicBezTo>
                    <a:pt x="28" y="0"/>
                    <a:pt x="28" y="0"/>
                    <a:pt x="0" y="0"/>
                  </a:cubicBezTo>
                  <a:cubicBezTo>
                    <a:pt x="28" y="0"/>
                    <a:pt x="28" y="0"/>
                    <a:pt x="57" y="0"/>
                  </a:cubicBezTo>
                  <a:cubicBezTo>
                    <a:pt x="87" y="0"/>
                    <a:pt x="116" y="0"/>
                    <a:pt x="14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1" name="Freeform 489">
              <a:extLst>
                <a:ext uri="{FF2B5EF4-FFF2-40B4-BE49-F238E27FC236}">
                  <a16:creationId xmlns:a16="http://schemas.microsoft.com/office/drawing/2014/main" id="{DECD2790-D658-4416-88A8-68E8B8F91158}"/>
                </a:ext>
              </a:extLst>
            </p:cNvPr>
            <p:cNvSpPr>
              <a:spLocks noChangeArrowheads="1"/>
            </p:cNvSpPr>
            <p:nvPr/>
          </p:nvSpPr>
          <p:spPr bwMode="auto">
            <a:xfrm>
              <a:off x="7242650" y="5672272"/>
              <a:ext cx="21202" cy="11328"/>
            </a:xfrm>
            <a:custGeom>
              <a:avLst/>
              <a:gdLst>
                <a:gd name="T0" fmla="*/ 0 w 59"/>
                <a:gd name="T1" fmla="*/ 0 h 31"/>
                <a:gd name="T2" fmla="*/ 0 w 59"/>
                <a:gd name="T3" fmla="*/ 0 h 31"/>
                <a:gd name="T4" fmla="*/ 58 w 59"/>
                <a:gd name="T5" fmla="*/ 30 h 31"/>
                <a:gd name="T6" fmla="*/ 0 w 59"/>
                <a:gd name="T7" fmla="*/ 0 h 31"/>
              </a:gdLst>
              <a:ahLst/>
              <a:cxnLst>
                <a:cxn ang="0">
                  <a:pos x="T0" y="T1"/>
                </a:cxn>
                <a:cxn ang="0">
                  <a:pos x="T2" y="T3"/>
                </a:cxn>
                <a:cxn ang="0">
                  <a:pos x="T4" y="T5"/>
                </a:cxn>
                <a:cxn ang="0">
                  <a:pos x="T6" y="T7"/>
                </a:cxn>
              </a:cxnLst>
              <a:rect l="0" t="0" r="r" b="b"/>
              <a:pathLst>
                <a:path w="59" h="31">
                  <a:moveTo>
                    <a:pt x="0" y="0"/>
                  </a:moveTo>
                  <a:lnTo>
                    <a:pt x="0" y="0"/>
                  </a:lnTo>
                  <a:cubicBezTo>
                    <a:pt x="0" y="0"/>
                    <a:pt x="29" y="30"/>
                    <a:pt x="58" y="30"/>
                  </a:cubicBezTo>
                  <a:cubicBezTo>
                    <a:pt x="29" y="3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2" name="Freeform 490">
              <a:extLst>
                <a:ext uri="{FF2B5EF4-FFF2-40B4-BE49-F238E27FC236}">
                  <a16:creationId xmlns:a16="http://schemas.microsoft.com/office/drawing/2014/main" id="{F74049B1-12E4-468C-8CEE-F7F79FED788F}"/>
                </a:ext>
              </a:extLst>
            </p:cNvPr>
            <p:cNvSpPr>
              <a:spLocks noChangeArrowheads="1"/>
            </p:cNvSpPr>
            <p:nvPr/>
          </p:nvSpPr>
          <p:spPr bwMode="auto">
            <a:xfrm>
              <a:off x="7231235" y="5672272"/>
              <a:ext cx="11415" cy="1618"/>
            </a:xfrm>
            <a:custGeom>
              <a:avLst/>
              <a:gdLst>
                <a:gd name="T0" fmla="*/ 30 w 31"/>
                <a:gd name="T1" fmla="*/ 0 h 1"/>
                <a:gd name="T2" fmla="*/ 30 w 31"/>
                <a:gd name="T3" fmla="*/ 0 h 1"/>
                <a:gd name="T4" fmla="*/ 0 w 31"/>
                <a:gd name="T5" fmla="*/ 0 h 1"/>
                <a:gd name="T6" fmla="*/ 30 w 31"/>
                <a:gd name="T7" fmla="*/ 0 h 1"/>
              </a:gdLst>
              <a:ahLst/>
              <a:cxnLst>
                <a:cxn ang="0">
                  <a:pos x="T0" y="T1"/>
                </a:cxn>
                <a:cxn ang="0">
                  <a:pos x="T2" y="T3"/>
                </a:cxn>
                <a:cxn ang="0">
                  <a:pos x="T4" y="T5"/>
                </a:cxn>
                <a:cxn ang="0">
                  <a:pos x="T6" y="T7"/>
                </a:cxn>
              </a:cxnLst>
              <a:rect l="0" t="0" r="r" b="b"/>
              <a:pathLst>
                <a:path w="31" h="1">
                  <a:moveTo>
                    <a:pt x="30" y="0"/>
                  </a:moveTo>
                  <a:lnTo>
                    <a:pt x="30" y="0"/>
                  </a:lnTo>
                  <a:cubicBezTo>
                    <a:pt x="0" y="0"/>
                    <a:pt x="0" y="0"/>
                    <a:pt x="0" y="0"/>
                  </a:cubicBezTo>
                  <a:cubicBezTo>
                    <a:pt x="0" y="0"/>
                    <a:pt x="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3" name="Freeform 491">
              <a:extLst>
                <a:ext uri="{FF2B5EF4-FFF2-40B4-BE49-F238E27FC236}">
                  <a16:creationId xmlns:a16="http://schemas.microsoft.com/office/drawing/2014/main" id="{4133399D-02AF-4D09-A657-6480ED9FD8BA}"/>
                </a:ext>
              </a:extLst>
            </p:cNvPr>
            <p:cNvSpPr>
              <a:spLocks noChangeArrowheads="1"/>
            </p:cNvSpPr>
            <p:nvPr/>
          </p:nvSpPr>
          <p:spPr bwMode="auto">
            <a:xfrm>
              <a:off x="7221449" y="5672272"/>
              <a:ext cx="1630" cy="11328"/>
            </a:xfrm>
            <a:custGeom>
              <a:avLst/>
              <a:gdLst>
                <a:gd name="T0" fmla="*/ 0 w 1"/>
                <a:gd name="T1" fmla="*/ 0 h 31"/>
                <a:gd name="T2" fmla="*/ 0 w 1"/>
                <a:gd name="T3" fmla="*/ 0 h 31"/>
                <a:gd name="T4" fmla="*/ 0 w 1"/>
                <a:gd name="T5" fmla="*/ 0 h 31"/>
                <a:gd name="T6" fmla="*/ 0 w 1"/>
                <a:gd name="T7" fmla="*/ 0 h 31"/>
                <a:gd name="T8" fmla="*/ 0 w 1"/>
                <a:gd name="T9" fmla="*/ 30 h 31"/>
                <a:gd name="T10" fmla="*/ 0 w 1"/>
                <a:gd name="T11" fmla="*/ 30 h 31"/>
                <a:gd name="T12" fmla="*/ 0 w 1"/>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1" h="31">
                  <a:moveTo>
                    <a:pt x="0" y="0"/>
                  </a:moveTo>
                  <a:lnTo>
                    <a:pt x="0" y="0"/>
                  </a:lnTo>
                  <a:lnTo>
                    <a:pt x="0" y="0"/>
                  </a:lnTo>
                  <a:lnTo>
                    <a:pt x="0" y="0"/>
                  </a:lnTo>
                  <a:cubicBezTo>
                    <a:pt x="0" y="30"/>
                    <a:pt x="0" y="30"/>
                    <a:pt x="0" y="30"/>
                  </a:cubicBezTo>
                  <a:lnTo>
                    <a:pt x="0" y="3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4" name="Freeform 492">
              <a:extLst>
                <a:ext uri="{FF2B5EF4-FFF2-40B4-BE49-F238E27FC236}">
                  <a16:creationId xmlns:a16="http://schemas.microsoft.com/office/drawing/2014/main" id="{E85F105A-1675-4890-A8AD-A61604E4778A}"/>
                </a:ext>
              </a:extLst>
            </p:cNvPr>
            <p:cNvSpPr>
              <a:spLocks noChangeArrowheads="1"/>
            </p:cNvSpPr>
            <p:nvPr/>
          </p:nvSpPr>
          <p:spPr bwMode="auto">
            <a:xfrm>
              <a:off x="7156216" y="5609157"/>
              <a:ext cx="53817" cy="43695"/>
            </a:xfrm>
            <a:custGeom>
              <a:avLst/>
              <a:gdLst>
                <a:gd name="T0" fmla="*/ 145 w 146"/>
                <a:gd name="T1" fmla="*/ 117 h 118"/>
                <a:gd name="T2" fmla="*/ 145 w 146"/>
                <a:gd name="T3" fmla="*/ 117 h 118"/>
                <a:gd name="T4" fmla="*/ 116 w 146"/>
                <a:gd name="T5" fmla="*/ 88 h 118"/>
                <a:gd name="T6" fmla="*/ 0 w 146"/>
                <a:gd name="T7" fmla="*/ 0 h 118"/>
                <a:gd name="T8" fmla="*/ 116 w 146"/>
                <a:gd name="T9" fmla="*/ 88 h 118"/>
                <a:gd name="T10" fmla="*/ 145 w 146"/>
                <a:gd name="T11" fmla="*/ 117 h 118"/>
              </a:gdLst>
              <a:ahLst/>
              <a:cxnLst>
                <a:cxn ang="0">
                  <a:pos x="T0" y="T1"/>
                </a:cxn>
                <a:cxn ang="0">
                  <a:pos x="T2" y="T3"/>
                </a:cxn>
                <a:cxn ang="0">
                  <a:pos x="T4" y="T5"/>
                </a:cxn>
                <a:cxn ang="0">
                  <a:pos x="T6" y="T7"/>
                </a:cxn>
                <a:cxn ang="0">
                  <a:pos x="T8" y="T9"/>
                </a:cxn>
                <a:cxn ang="0">
                  <a:pos x="T10" y="T11"/>
                </a:cxn>
              </a:cxnLst>
              <a:rect l="0" t="0" r="r" b="b"/>
              <a:pathLst>
                <a:path w="146" h="118">
                  <a:moveTo>
                    <a:pt x="145" y="117"/>
                  </a:moveTo>
                  <a:lnTo>
                    <a:pt x="145" y="117"/>
                  </a:lnTo>
                  <a:cubicBezTo>
                    <a:pt x="145" y="117"/>
                    <a:pt x="116" y="117"/>
                    <a:pt x="116" y="88"/>
                  </a:cubicBezTo>
                  <a:cubicBezTo>
                    <a:pt x="58" y="88"/>
                    <a:pt x="29" y="58"/>
                    <a:pt x="0" y="0"/>
                  </a:cubicBezTo>
                  <a:cubicBezTo>
                    <a:pt x="29" y="58"/>
                    <a:pt x="58" y="88"/>
                    <a:pt x="116" y="88"/>
                  </a:cubicBezTo>
                  <a:cubicBezTo>
                    <a:pt x="116" y="117"/>
                    <a:pt x="145" y="117"/>
                    <a:pt x="145"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5" name="Freeform 493">
              <a:extLst>
                <a:ext uri="{FF2B5EF4-FFF2-40B4-BE49-F238E27FC236}">
                  <a16:creationId xmlns:a16="http://schemas.microsoft.com/office/drawing/2014/main" id="{79189D47-FCEE-4D46-B4A8-55DF1CEA51BC}"/>
                </a:ext>
              </a:extLst>
            </p:cNvPr>
            <p:cNvSpPr>
              <a:spLocks noChangeArrowheads="1"/>
            </p:cNvSpPr>
            <p:nvPr/>
          </p:nvSpPr>
          <p:spPr bwMode="auto">
            <a:xfrm>
              <a:off x="7846063" y="5138226"/>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6" name="Freeform 494">
              <a:extLst>
                <a:ext uri="{FF2B5EF4-FFF2-40B4-BE49-F238E27FC236}">
                  <a16:creationId xmlns:a16="http://schemas.microsoft.com/office/drawing/2014/main" id="{7DA6D278-530D-4D87-94AA-9BC8B8F46D83}"/>
                </a:ext>
              </a:extLst>
            </p:cNvPr>
            <p:cNvSpPr>
              <a:spLocks noChangeArrowheads="1"/>
            </p:cNvSpPr>
            <p:nvPr/>
          </p:nvSpPr>
          <p:spPr bwMode="auto">
            <a:xfrm>
              <a:off x="8752813" y="1713861"/>
              <a:ext cx="11416" cy="21038"/>
            </a:xfrm>
            <a:custGeom>
              <a:avLst/>
              <a:gdLst>
                <a:gd name="T0" fmla="*/ 0 w 30"/>
                <a:gd name="T1" fmla="*/ 0 h 59"/>
                <a:gd name="T2" fmla="*/ 0 w 30"/>
                <a:gd name="T3" fmla="*/ 0 h 59"/>
                <a:gd name="T4" fmla="*/ 29 w 30"/>
                <a:gd name="T5" fmla="*/ 58 h 59"/>
                <a:gd name="T6" fmla="*/ 0 w 30"/>
                <a:gd name="T7" fmla="*/ 0 h 59"/>
              </a:gdLst>
              <a:ahLst/>
              <a:cxnLst>
                <a:cxn ang="0">
                  <a:pos x="T0" y="T1"/>
                </a:cxn>
                <a:cxn ang="0">
                  <a:pos x="T2" y="T3"/>
                </a:cxn>
                <a:cxn ang="0">
                  <a:pos x="T4" y="T5"/>
                </a:cxn>
                <a:cxn ang="0">
                  <a:pos x="T6" y="T7"/>
                </a:cxn>
              </a:cxnLst>
              <a:rect l="0" t="0" r="r" b="b"/>
              <a:pathLst>
                <a:path w="30" h="59">
                  <a:moveTo>
                    <a:pt x="0" y="0"/>
                  </a:moveTo>
                  <a:lnTo>
                    <a:pt x="0" y="0"/>
                  </a:lnTo>
                  <a:cubicBezTo>
                    <a:pt x="29" y="0"/>
                    <a:pt x="29" y="29"/>
                    <a:pt x="29" y="58"/>
                  </a:cubicBezTo>
                  <a:cubicBezTo>
                    <a:pt x="29" y="29"/>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7" name="Freeform 495">
              <a:extLst>
                <a:ext uri="{FF2B5EF4-FFF2-40B4-BE49-F238E27FC236}">
                  <a16:creationId xmlns:a16="http://schemas.microsoft.com/office/drawing/2014/main" id="{FF5C90FB-CEE6-4E9A-82DA-F180EE612BF3}"/>
                </a:ext>
              </a:extLst>
            </p:cNvPr>
            <p:cNvSpPr>
              <a:spLocks noChangeArrowheads="1"/>
            </p:cNvSpPr>
            <p:nvPr/>
          </p:nvSpPr>
          <p:spPr bwMode="auto">
            <a:xfrm>
              <a:off x="7867264" y="1488914"/>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8" name="Freeform 496">
              <a:extLst>
                <a:ext uri="{FF2B5EF4-FFF2-40B4-BE49-F238E27FC236}">
                  <a16:creationId xmlns:a16="http://schemas.microsoft.com/office/drawing/2014/main" id="{078CA8A1-CDF0-43E2-9997-3556E8337003}"/>
                </a:ext>
              </a:extLst>
            </p:cNvPr>
            <p:cNvSpPr>
              <a:spLocks noChangeArrowheads="1"/>
            </p:cNvSpPr>
            <p:nvPr/>
          </p:nvSpPr>
          <p:spPr bwMode="auto">
            <a:xfrm>
              <a:off x="8526126" y="1820670"/>
              <a:ext cx="53817" cy="22656"/>
            </a:xfrm>
            <a:custGeom>
              <a:avLst/>
              <a:gdLst>
                <a:gd name="T0" fmla="*/ 0 w 147"/>
                <a:gd name="T1" fmla="*/ 59 h 60"/>
                <a:gd name="T2" fmla="*/ 0 w 147"/>
                <a:gd name="T3" fmla="*/ 59 h 60"/>
                <a:gd name="T4" fmla="*/ 30 w 147"/>
                <a:gd name="T5" fmla="*/ 30 h 60"/>
                <a:gd name="T6" fmla="*/ 117 w 147"/>
                <a:gd name="T7" fmla="*/ 0 h 60"/>
                <a:gd name="T8" fmla="*/ 146 w 147"/>
                <a:gd name="T9" fmla="*/ 0 h 60"/>
                <a:gd name="T10" fmla="*/ 117 w 147"/>
                <a:gd name="T11" fmla="*/ 0 h 60"/>
                <a:gd name="T12" fmla="*/ 30 w 147"/>
                <a:gd name="T13" fmla="*/ 30 h 60"/>
                <a:gd name="T14" fmla="*/ 0 w 147"/>
                <a:gd name="T15" fmla="*/ 59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60">
                  <a:moveTo>
                    <a:pt x="0" y="59"/>
                  </a:moveTo>
                  <a:lnTo>
                    <a:pt x="0" y="59"/>
                  </a:lnTo>
                  <a:cubicBezTo>
                    <a:pt x="0" y="30"/>
                    <a:pt x="0" y="30"/>
                    <a:pt x="30" y="30"/>
                  </a:cubicBezTo>
                  <a:cubicBezTo>
                    <a:pt x="59" y="0"/>
                    <a:pt x="88" y="0"/>
                    <a:pt x="117" y="0"/>
                  </a:cubicBezTo>
                  <a:lnTo>
                    <a:pt x="146" y="0"/>
                  </a:lnTo>
                  <a:lnTo>
                    <a:pt x="117" y="0"/>
                  </a:lnTo>
                  <a:cubicBezTo>
                    <a:pt x="88" y="0"/>
                    <a:pt x="59" y="0"/>
                    <a:pt x="30" y="30"/>
                  </a:cubicBezTo>
                  <a:cubicBezTo>
                    <a:pt x="0" y="30"/>
                    <a:pt x="0" y="30"/>
                    <a:pt x="0"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9" name="Freeform 497">
              <a:extLst>
                <a:ext uri="{FF2B5EF4-FFF2-40B4-BE49-F238E27FC236}">
                  <a16:creationId xmlns:a16="http://schemas.microsoft.com/office/drawing/2014/main" id="{04B8BE98-EB00-425B-B598-AF9417EC6146}"/>
                </a:ext>
              </a:extLst>
            </p:cNvPr>
            <p:cNvSpPr>
              <a:spLocks noChangeArrowheads="1"/>
            </p:cNvSpPr>
            <p:nvPr/>
          </p:nvSpPr>
          <p:spPr bwMode="auto">
            <a:xfrm>
              <a:off x="8610930" y="1723571"/>
              <a:ext cx="65234" cy="64733"/>
            </a:xfrm>
            <a:custGeom>
              <a:avLst/>
              <a:gdLst>
                <a:gd name="T0" fmla="*/ 0 w 177"/>
                <a:gd name="T1" fmla="*/ 117 h 176"/>
                <a:gd name="T2" fmla="*/ 0 w 177"/>
                <a:gd name="T3" fmla="*/ 117 h 176"/>
                <a:gd name="T4" fmla="*/ 0 w 177"/>
                <a:gd name="T5" fmla="*/ 117 h 176"/>
                <a:gd name="T6" fmla="*/ 30 w 177"/>
                <a:gd name="T7" fmla="*/ 117 h 176"/>
                <a:gd name="T8" fmla="*/ 176 w 177"/>
                <a:gd name="T9" fmla="*/ 0 h 176"/>
                <a:gd name="T10" fmla="*/ 176 w 177"/>
                <a:gd name="T11" fmla="*/ 0 h 176"/>
                <a:gd name="T12" fmla="*/ 176 w 177"/>
                <a:gd name="T13" fmla="*/ 0 h 176"/>
                <a:gd name="T14" fmla="*/ 176 w 177"/>
                <a:gd name="T15" fmla="*/ 0 h 176"/>
                <a:gd name="T16" fmla="*/ 30 w 177"/>
                <a:gd name="T17" fmla="*/ 117 h 176"/>
                <a:gd name="T18" fmla="*/ 0 w 177"/>
                <a:gd name="T19" fmla="*/ 117 h 176"/>
                <a:gd name="T20" fmla="*/ 0 w 177"/>
                <a:gd name="T21" fmla="*/ 117 h 176"/>
                <a:gd name="T22" fmla="*/ 0 w 177"/>
                <a:gd name="T23" fmla="*/ 175 h 176"/>
                <a:gd name="T24" fmla="*/ 0 w 177"/>
                <a:gd name="T25" fmla="*/ 1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6">
                  <a:moveTo>
                    <a:pt x="0" y="117"/>
                  </a:moveTo>
                  <a:lnTo>
                    <a:pt x="0" y="117"/>
                  </a:lnTo>
                  <a:lnTo>
                    <a:pt x="0" y="117"/>
                  </a:lnTo>
                  <a:cubicBezTo>
                    <a:pt x="30" y="117"/>
                    <a:pt x="30" y="117"/>
                    <a:pt x="30" y="117"/>
                  </a:cubicBezTo>
                  <a:cubicBezTo>
                    <a:pt x="88" y="88"/>
                    <a:pt x="147" y="59"/>
                    <a:pt x="176" y="0"/>
                  </a:cubicBezTo>
                  <a:lnTo>
                    <a:pt x="176" y="0"/>
                  </a:lnTo>
                  <a:lnTo>
                    <a:pt x="176" y="0"/>
                  </a:lnTo>
                  <a:lnTo>
                    <a:pt x="176" y="0"/>
                  </a:lnTo>
                  <a:cubicBezTo>
                    <a:pt x="147" y="59"/>
                    <a:pt x="88" y="88"/>
                    <a:pt x="30" y="117"/>
                  </a:cubicBezTo>
                  <a:cubicBezTo>
                    <a:pt x="0" y="117"/>
                    <a:pt x="0" y="117"/>
                    <a:pt x="0" y="117"/>
                  </a:cubicBezTo>
                  <a:lnTo>
                    <a:pt x="0" y="117"/>
                  </a:lnTo>
                  <a:cubicBezTo>
                    <a:pt x="0" y="146"/>
                    <a:pt x="0" y="146"/>
                    <a:pt x="0" y="175"/>
                  </a:cubicBezTo>
                  <a:cubicBezTo>
                    <a:pt x="0" y="146"/>
                    <a:pt x="0" y="146"/>
                    <a:pt x="0"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20" name="Freeform 498">
              <a:extLst>
                <a:ext uri="{FF2B5EF4-FFF2-40B4-BE49-F238E27FC236}">
                  <a16:creationId xmlns:a16="http://schemas.microsoft.com/office/drawing/2014/main" id="{1A90C08E-B858-4BFC-AC09-547442C521FE}"/>
                </a:ext>
              </a:extLst>
            </p:cNvPr>
            <p:cNvSpPr>
              <a:spLocks noChangeArrowheads="1"/>
            </p:cNvSpPr>
            <p:nvPr/>
          </p:nvSpPr>
          <p:spPr bwMode="auto">
            <a:xfrm>
              <a:off x="8222789" y="1595723"/>
              <a:ext cx="55449" cy="32366"/>
            </a:xfrm>
            <a:custGeom>
              <a:avLst/>
              <a:gdLst>
                <a:gd name="T0" fmla="*/ 147 w 148"/>
                <a:gd name="T1" fmla="*/ 88 h 89"/>
                <a:gd name="T2" fmla="*/ 147 w 148"/>
                <a:gd name="T3" fmla="*/ 88 h 89"/>
                <a:gd name="T4" fmla="*/ 88 w 148"/>
                <a:gd name="T5" fmla="*/ 59 h 89"/>
                <a:gd name="T6" fmla="*/ 0 w 148"/>
                <a:gd name="T7" fmla="*/ 0 h 89"/>
                <a:gd name="T8" fmla="*/ 88 w 148"/>
                <a:gd name="T9" fmla="*/ 59 h 89"/>
                <a:gd name="T10" fmla="*/ 147 w 148"/>
                <a:gd name="T11" fmla="*/ 88 h 89"/>
              </a:gdLst>
              <a:ahLst/>
              <a:cxnLst>
                <a:cxn ang="0">
                  <a:pos x="T0" y="T1"/>
                </a:cxn>
                <a:cxn ang="0">
                  <a:pos x="T2" y="T3"/>
                </a:cxn>
                <a:cxn ang="0">
                  <a:pos x="T4" y="T5"/>
                </a:cxn>
                <a:cxn ang="0">
                  <a:pos x="T6" y="T7"/>
                </a:cxn>
                <a:cxn ang="0">
                  <a:pos x="T8" y="T9"/>
                </a:cxn>
                <a:cxn ang="0">
                  <a:pos x="T10" y="T11"/>
                </a:cxn>
              </a:cxnLst>
              <a:rect l="0" t="0" r="r" b="b"/>
              <a:pathLst>
                <a:path w="148" h="89">
                  <a:moveTo>
                    <a:pt x="147" y="88"/>
                  </a:moveTo>
                  <a:lnTo>
                    <a:pt x="147" y="88"/>
                  </a:lnTo>
                  <a:cubicBezTo>
                    <a:pt x="117" y="88"/>
                    <a:pt x="88" y="59"/>
                    <a:pt x="88" y="59"/>
                  </a:cubicBezTo>
                  <a:cubicBezTo>
                    <a:pt x="59" y="29"/>
                    <a:pt x="30" y="0"/>
                    <a:pt x="0" y="0"/>
                  </a:cubicBezTo>
                  <a:cubicBezTo>
                    <a:pt x="30" y="0"/>
                    <a:pt x="59" y="29"/>
                    <a:pt x="88" y="59"/>
                  </a:cubicBezTo>
                  <a:cubicBezTo>
                    <a:pt x="88" y="59"/>
                    <a:pt x="117" y="88"/>
                    <a:pt x="147"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21" name="Freeform 499">
              <a:extLst>
                <a:ext uri="{FF2B5EF4-FFF2-40B4-BE49-F238E27FC236}">
                  <a16:creationId xmlns:a16="http://schemas.microsoft.com/office/drawing/2014/main" id="{D275F8BD-7F30-4712-8AD8-3192007C8A47}"/>
                </a:ext>
              </a:extLst>
            </p:cNvPr>
            <p:cNvSpPr>
              <a:spLocks noChangeArrowheads="1"/>
            </p:cNvSpPr>
            <p:nvPr/>
          </p:nvSpPr>
          <p:spPr bwMode="auto">
            <a:xfrm>
              <a:off x="8720196" y="1702532"/>
              <a:ext cx="11416"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cubicBezTo>
                    <a:pt x="29" y="0"/>
                    <a:pt x="29" y="0"/>
                    <a:pt x="0" y="0"/>
                  </a:cubicBezTo>
                  <a:cubicBezTo>
                    <a:pt x="29"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22" name="Freeform 500">
              <a:extLst>
                <a:ext uri="{FF2B5EF4-FFF2-40B4-BE49-F238E27FC236}">
                  <a16:creationId xmlns:a16="http://schemas.microsoft.com/office/drawing/2014/main" id="{4F303105-FD22-465C-96A8-215C46D0D49D}"/>
                </a:ext>
              </a:extLst>
            </p:cNvPr>
            <p:cNvSpPr>
              <a:spLocks noChangeArrowheads="1"/>
            </p:cNvSpPr>
            <p:nvPr/>
          </p:nvSpPr>
          <p:spPr bwMode="auto">
            <a:xfrm>
              <a:off x="8288022" y="1616762"/>
              <a:ext cx="107636" cy="11328"/>
            </a:xfrm>
            <a:custGeom>
              <a:avLst/>
              <a:gdLst>
                <a:gd name="T0" fmla="*/ 0 w 292"/>
                <a:gd name="T1" fmla="*/ 0 h 30"/>
                <a:gd name="T2" fmla="*/ 0 w 292"/>
                <a:gd name="T3" fmla="*/ 0 h 30"/>
                <a:gd name="T4" fmla="*/ 116 w 292"/>
                <a:gd name="T5" fmla="*/ 29 h 30"/>
                <a:gd name="T6" fmla="*/ 291 w 292"/>
                <a:gd name="T7" fmla="*/ 0 h 30"/>
                <a:gd name="T8" fmla="*/ 116 w 292"/>
                <a:gd name="T9" fmla="*/ 29 h 30"/>
                <a:gd name="T10" fmla="*/ 0 w 292"/>
                <a:gd name="T11" fmla="*/ 0 h 30"/>
              </a:gdLst>
              <a:ahLst/>
              <a:cxnLst>
                <a:cxn ang="0">
                  <a:pos x="T0" y="T1"/>
                </a:cxn>
                <a:cxn ang="0">
                  <a:pos x="T2" y="T3"/>
                </a:cxn>
                <a:cxn ang="0">
                  <a:pos x="T4" y="T5"/>
                </a:cxn>
                <a:cxn ang="0">
                  <a:pos x="T6" y="T7"/>
                </a:cxn>
                <a:cxn ang="0">
                  <a:pos x="T8" y="T9"/>
                </a:cxn>
                <a:cxn ang="0">
                  <a:pos x="T10" y="T11"/>
                </a:cxn>
              </a:cxnLst>
              <a:rect l="0" t="0" r="r" b="b"/>
              <a:pathLst>
                <a:path w="292" h="30">
                  <a:moveTo>
                    <a:pt x="0" y="0"/>
                  </a:moveTo>
                  <a:lnTo>
                    <a:pt x="0" y="0"/>
                  </a:lnTo>
                  <a:cubicBezTo>
                    <a:pt x="29" y="29"/>
                    <a:pt x="58" y="29"/>
                    <a:pt x="116" y="29"/>
                  </a:cubicBezTo>
                  <a:cubicBezTo>
                    <a:pt x="174" y="29"/>
                    <a:pt x="233" y="0"/>
                    <a:pt x="291" y="0"/>
                  </a:cubicBezTo>
                  <a:cubicBezTo>
                    <a:pt x="233" y="0"/>
                    <a:pt x="174" y="29"/>
                    <a:pt x="116" y="29"/>
                  </a:cubicBezTo>
                  <a:cubicBezTo>
                    <a:pt x="58" y="29"/>
                    <a:pt x="29"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23" name="Freeform 501">
              <a:extLst>
                <a:ext uri="{FF2B5EF4-FFF2-40B4-BE49-F238E27FC236}">
                  <a16:creationId xmlns:a16="http://schemas.microsoft.com/office/drawing/2014/main" id="{1681A66D-E10D-494A-9607-61CCC4FD0F37}"/>
                </a:ext>
              </a:extLst>
            </p:cNvPr>
            <p:cNvSpPr>
              <a:spLocks noChangeArrowheads="1"/>
            </p:cNvSpPr>
            <p:nvPr/>
          </p:nvSpPr>
          <p:spPr bwMode="auto">
            <a:xfrm>
              <a:off x="8159185" y="1595723"/>
              <a:ext cx="11416" cy="1619"/>
            </a:xfrm>
            <a:custGeom>
              <a:avLst/>
              <a:gdLst>
                <a:gd name="T0" fmla="*/ 0 w 30"/>
                <a:gd name="T1" fmla="*/ 0 h 1"/>
                <a:gd name="T2" fmla="*/ 0 w 30"/>
                <a:gd name="T3" fmla="*/ 0 h 1"/>
                <a:gd name="T4" fmla="*/ 0 w 30"/>
                <a:gd name="T5" fmla="*/ 0 h 1"/>
                <a:gd name="T6" fmla="*/ 29 w 30"/>
                <a:gd name="T7" fmla="*/ 0 h 1"/>
                <a:gd name="T8" fmla="*/ 0 w 30"/>
                <a:gd name="T9" fmla="*/ 0 h 1"/>
              </a:gdLst>
              <a:ahLst/>
              <a:cxnLst>
                <a:cxn ang="0">
                  <a:pos x="T0" y="T1"/>
                </a:cxn>
                <a:cxn ang="0">
                  <a:pos x="T2" y="T3"/>
                </a:cxn>
                <a:cxn ang="0">
                  <a:pos x="T4" y="T5"/>
                </a:cxn>
                <a:cxn ang="0">
                  <a:pos x="T6" y="T7"/>
                </a:cxn>
                <a:cxn ang="0">
                  <a:pos x="T8" y="T9"/>
                </a:cxn>
              </a:cxnLst>
              <a:rect l="0" t="0" r="r" b="b"/>
              <a:pathLst>
                <a:path w="30" h="1">
                  <a:moveTo>
                    <a:pt x="0" y="0"/>
                  </a:moveTo>
                  <a:lnTo>
                    <a:pt x="0" y="0"/>
                  </a:lnTo>
                  <a:lnTo>
                    <a:pt x="0" y="0"/>
                  </a:lnTo>
                  <a:cubicBezTo>
                    <a:pt x="29" y="0"/>
                    <a:pt x="29" y="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24" name="Freeform 502">
              <a:extLst>
                <a:ext uri="{FF2B5EF4-FFF2-40B4-BE49-F238E27FC236}">
                  <a16:creationId xmlns:a16="http://schemas.microsoft.com/office/drawing/2014/main" id="{E5752D1F-794C-4D8B-A0CC-C65CFA34D4FF}"/>
                </a:ext>
              </a:extLst>
            </p:cNvPr>
            <p:cNvSpPr>
              <a:spLocks noChangeArrowheads="1"/>
            </p:cNvSpPr>
            <p:nvPr/>
          </p:nvSpPr>
          <p:spPr bwMode="auto">
            <a:xfrm>
              <a:off x="7997732" y="1542319"/>
              <a:ext cx="21200" cy="1618"/>
            </a:xfrm>
            <a:custGeom>
              <a:avLst/>
              <a:gdLst>
                <a:gd name="T0" fmla="*/ 0 w 59"/>
                <a:gd name="T1" fmla="*/ 0 h 1"/>
                <a:gd name="T2" fmla="*/ 0 w 59"/>
                <a:gd name="T3" fmla="*/ 0 h 1"/>
                <a:gd name="T4" fmla="*/ 58 w 59"/>
                <a:gd name="T5" fmla="*/ 0 h 1"/>
                <a:gd name="T6" fmla="*/ 0 w 59"/>
                <a:gd name="T7" fmla="*/ 0 h 1"/>
              </a:gdLst>
              <a:ahLst/>
              <a:cxnLst>
                <a:cxn ang="0">
                  <a:pos x="T0" y="T1"/>
                </a:cxn>
                <a:cxn ang="0">
                  <a:pos x="T2" y="T3"/>
                </a:cxn>
                <a:cxn ang="0">
                  <a:pos x="T4" y="T5"/>
                </a:cxn>
                <a:cxn ang="0">
                  <a:pos x="T6" y="T7"/>
                </a:cxn>
              </a:cxnLst>
              <a:rect l="0" t="0" r="r" b="b"/>
              <a:pathLst>
                <a:path w="59" h="1">
                  <a:moveTo>
                    <a:pt x="0" y="0"/>
                  </a:moveTo>
                  <a:lnTo>
                    <a:pt x="0" y="0"/>
                  </a:lnTo>
                  <a:cubicBezTo>
                    <a:pt x="28" y="0"/>
                    <a:pt x="28" y="0"/>
                    <a:pt x="58" y="0"/>
                  </a:cubicBezTo>
                  <a:cubicBezTo>
                    <a:pt x="28" y="0"/>
                    <a:pt x="28"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25" name="Freeform 503">
              <a:extLst>
                <a:ext uri="{FF2B5EF4-FFF2-40B4-BE49-F238E27FC236}">
                  <a16:creationId xmlns:a16="http://schemas.microsoft.com/office/drawing/2014/main" id="{D0B85FE0-0C4C-457C-88CB-FDE1FC3439F1}"/>
                </a:ext>
              </a:extLst>
            </p:cNvPr>
            <p:cNvSpPr>
              <a:spLocks noChangeArrowheads="1"/>
            </p:cNvSpPr>
            <p:nvPr/>
          </p:nvSpPr>
          <p:spPr bwMode="auto">
            <a:xfrm>
              <a:off x="8201587" y="1595723"/>
              <a:ext cx="1631" cy="11329"/>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26" name="Freeform 504">
              <a:extLst>
                <a:ext uri="{FF2B5EF4-FFF2-40B4-BE49-F238E27FC236}">
                  <a16:creationId xmlns:a16="http://schemas.microsoft.com/office/drawing/2014/main" id="{AE8171E8-5DD9-4033-AAAA-F0959AD5DEA0}"/>
                </a:ext>
              </a:extLst>
            </p:cNvPr>
            <p:cNvSpPr>
              <a:spLocks noChangeArrowheads="1"/>
            </p:cNvSpPr>
            <p:nvPr/>
          </p:nvSpPr>
          <p:spPr bwMode="auto">
            <a:xfrm>
              <a:off x="7922713" y="1519663"/>
              <a:ext cx="32617" cy="1618"/>
            </a:xfrm>
            <a:custGeom>
              <a:avLst/>
              <a:gdLst>
                <a:gd name="T0" fmla="*/ 58 w 88"/>
                <a:gd name="T1" fmla="*/ 0 h 1"/>
                <a:gd name="T2" fmla="*/ 58 w 88"/>
                <a:gd name="T3" fmla="*/ 0 h 1"/>
                <a:gd name="T4" fmla="*/ 87 w 88"/>
                <a:gd name="T5" fmla="*/ 0 h 1"/>
                <a:gd name="T6" fmla="*/ 58 w 88"/>
                <a:gd name="T7" fmla="*/ 0 h 1"/>
                <a:gd name="T8" fmla="*/ 0 w 88"/>
                <a:gd name="T9" fmla="*/ 0 h 1"/>
                <a:gd name="T10" fmla="*/ 58 w 88"/>
                <a:gd name="T11" fmla="*/ 0 h 1"/>
              </a:gdLst>
              <a:ahLst/>
              <a:cxnLst>
                <a:cxn ang="0">
                  <a:pos x="T0" y="T1"/>
                </a:cxn>
                <a:cxn ang="0">
                  <a:pos x="T2" y="T3"/>
                </a:cxn>
                <a:cxn ang="0">
                  <a:pos x="T4" y="T5"/>
                </a:cxn>
                <a:cxn ang="0">
                  <a:pos x="T6" y="T7"/>
                </a:cxn>
                <a:cxn ang="0">
                  <a:pos x="T8" y="T9"/>
                </a:cxn>
                <a:cxn ang="0">
                  <a:pos x="T10" y="T11"/>
                </a:cxn>
              </a:cxnLst>
              <a:rect l="0" t="0" r="r" b="b"/>
              <a:pathLst>
                <a:path w="88" h="1">
                  <a:moveTo>
                    <a:pt x="58" y="0"/>
                  </a:moveTo>
                  <a:lnTo>
                    <a:pt x="58" y="0"/>
                  </a:lnTo>
                  <a:lnTo>
                    <a:pt x="87" y="0"/>
                  </a:lnTo>
                  <a:lnTo>
                    <a:pt x="58" y="0"/>
                  </a:lnTo>
                  <a:cubicBezTo>
                    <a:pt x="30" y="0"/>
                    <a:pt x="30" y="0"/>
                    <a:pt x="0" y="0"/>
                  </a:cubicBezTo>
                  <a:cubicBezTo>
                    <a:pt x="30" y="0"/>
                    <a:pt x="30" y="0"/>
                    <a:pt x="5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27" name="Freeform 505">
              <a:extLst>
                <a:ext uri="{FF2B5EF4-FFF2-40B4-BE49-F238E27FC236}">
                  <a16:creationId xmlns:a16="http://schemas.microsoft.com/office/drawing/2014/main" id="{F2F73B59-5385-40A0-99BA-4A32C353BD2C}"/>
                </a:ext>
              </a:extLst>
            </p:cNvPr>
            <p:cNvSpPr>
              <a:spLocks noChangeArrowheads="1"/>
            </p:cNvSpPr>
            <p:nvPr/>
          </p:nvSpPr>
          <p:spPr bwMode="auto">
            <a:xfrm>
              <a:off x="8191802" y="1605433"/>
              <a:ext cx="1631" cy="11329"/>
            </a:xfrm>
            <a:custGeom>
              <a:avLst/>
              <a:gdLst>
                <a:gd name="T0" fmla="*/ 0 w 1"/>
                <a:gd name="T1" fmla="*/ 30 h 31"/>
                <a:gd name="T2" fmla="*/ 0 w 1"/>
                <a:gd name="T3" fmla="*/ 30 h 31"/>
                <a:gd name="T4" fmla="*/ 0 w 1"/>
                <a:gd name="T5" fmla="*/ 0 h 31"/>
                <a:gd name="T6" fmla="*/ 0 w 1"/>
                <a:gd name="T7" fmla="*/ 30 h 31"/>
                <a:gd name="T8" fmla="*/ 0 w 1"/>
                <a:gd name="T9" fmla="*/ 0 h 31"/>
                <a:gd name="T10" fmla="*/ 0 w 1"/>
                <a:gd name="T11" fmla="*/ 30 h 31"/>
              </a:gdLst>
              <a:ahLst/>
              <a:cxnLst>
                <a:cxn ang="0">
                  <a:pos x="T0" y="T1"/>
                </a:cxn>
                <a:cxn ang="0">
                  <a:pos x="T2" y="T3"/>
                </a:cxn>
                <a:cxn ang="0">
                  <a:pos x="T4" y="T5"/>
                </a:cxn>
                <a:cxn ang="0">
                  <a:pos x="T6" y="T7"/>
                </a:cxn>
                <a:cxn ang="0">
                  <a:pos x="T8" y="T9"/>
                </a:cxn>
                <a:cxn ang="0">
                  <a:pos x="T10" y="T11"/>
                </a:cxn>
              </a:cxnLst>
              <a:rect l="0" t="0" r="r" b="b"/>
              <a:pathLst>
                <a:path w="1" h="31">
                  <a:moveTo>
                    <a:pt x="0" y="30"/>
                  </a:moveTo>
                  <a:lnTo>
                    <a:pt x="0" y="30"/>
                  </a:lnTo>
                  <a:cubicBezTo>
                    <a:pt x="0" y="0"/>
                    <a:pt x="0" y="0"/>
                    <a:pt x="0" y="0"/>
                  </a:cubicBezTo>
                  <a:cubicBezTo>
                    <a:pt x="0" y="0"/>
                    <a:pt x="0" y="0"/>
                    <a:pt x="0" y="30"/>
                  </a:cubicBezTo>
                  <a:cubicBezTo>
                    <a:pt x="0" y="0"/>
                    <a:pt x="0" y="0"/>
                    <a:pt x="0" y="0"/>
                  </a:cubicBezTo>
                  <a:cubicBezTo>
                    <a:pt x="0" y="0"/>
                    <a:pt x="0" y="0"/>
                    <a:pt x="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28" name="Freeform 506">
              <a:extLst>
                <a:ext uri="{FF2B5EF4-FFF2-40B4-BE49-F238E27FC236}">
                  <a16:creationId xmlns:a16="http://schemas.microsoft.com/office/drawing/2014/main" id="{CE4E771D-97AE-49A4-AD2E-210DE8C33DDC}"/>
                </a:ext>
              </a:extLst>
            </p:cNvPr>
            <p:cNvSpPr>
              <a:spLocks noChangeArrowheads="1"/>
            </p:cNvSpPr>
            <p:nvPr/>
          </p:nvSpPr>
          <p:spPr bwMode="auto">
            <a:xfrm>
              <a:off x="8180387" y="1595723"/>
              <a:ext cx="11415" cy="11329"/>
            </a:xfrm>
            <a:custGeom>
              <a:avLst/>
              <a:gdLst>
                <a:gd name="T0" fmla="*/ 29 w 30"/>
                <a:gd name="T1" fmla="*/ 29 h 30"/>
                <a:gd name="T2" fmla="*/ 29 w 30"/>
                <a:gd name="T3" fmla="*/ 29 h 30"/>
                <a:gd name="T4" fmla="*/ 0 w 30"/>
                <a:gd name="T5" fmla="*/ 29 h 30"/>
                <a:gd name="T6" fmla="*/ 0 w 30"/>
                <a:gd name="T7" fmla="*/ 0 h 30"/>
                <a:gd name="T8" fmla="*/ 0 w 30"/>
                <a:gd name="T9" fmla="*/ 29 h 30"/>
                <a:gd name="T10" fmla="*/ 29 w 30"/>
                <a:gd name="T11" fmla="*/ 29 h 30"/>
              </a:gdLst>
              <a:ahLst/>
              <a:cxnLst>
                <a:cxn ang="0">
                  <a:pos x="T0" y="T1"/>
                </a:cxn>
                <a:cxn ang="0">
                  <a:pos x="T2" y="T3"/>
                </a:cxn>
                <a:cxn ang="0">
                  <a:pos x="T4" y="T5"/>
                </a:cxn>
                <a:cxn ang="0">
                  <a:pos x="T6" y="T7"/>
                </a:cxn>
                <a:cxn ang="0">
                  <a:pos x="T8" y="T9"/>
                </a:cxn>
                <a:cxn ang="0">
                  <a:pos x="T10" y="T11"/>
                </a:cxn>
              </a:cxnLst>
              <a:rect l="0" t="0" r="r" b="b"/>
              <a:pathLst>
                <a:path w="30" h="30">
                  <a:moveTo>
                    <a:pt x="29" y="29"/>
                  </a:moveTo>
                  <a:lnTo>
                    <a:pt x="29" y="29"/>
                  </a:lnTo>
                  <a:cubicBezTo>
                    <a:pt x="0" y="29"/>
                    <a:pt x="0" y="29"/>
                    <a:pt x="0" y="29"/>
                  </a:cubicBezTo>
                  <a:lnTo>
                    <a:pt x="0" y="0"/>
                  </a:lnTo>
                  <a:lnTo>
                    <a:pt x="0" y="29"/>
                  </a:lnTo>
                  <a:cubicBezTo>
                    <a:pt x="0" y="29"/>
                    <a:pt x="0"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29" name="Freeform 507">
              <a:extLst>
                <a:ext uri="{FF2B5EF4-FFF2-40B4-BE49-F238E27FC236}">
                  <a16:creationId xmlns:a16="http://schemas.microsoft.com/office/drawing/2014/main" id="{3DE4367C-B632-44B3-9789-953AED835432}"/>
                </a:ext>
              </a:extLst>
            </p:cNvPr>
            <p:cNvSpPr>
              <a:spLocks noChangeArrowheads="1"/>
            </p:cNvSpPr>
            <p:nvPr/>
          </p:nvSpPr>
          <p:spPr bwMode="auto">
            <a:xfrm>
              <a:off x="8288022" y="1616762"/>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30" name="Freeform 508">
              <a:extLst>
                <a:ext uri="{FF2B5EF4-FFF2-40B4-BE49-F238E27FC236}">
                  <a16:creationId xmlns:a16="http://schemas.microsoft.com/office/drawing/2014/main" id="{D2C64267-F09E-42C9-8CC8-1C8461C091FD}"/>
                </a:ext>
              </a:extLst>
            </p:cNvPr>
            <p:cNvSpPr>
              <a:spLocks noChangeArrowheads="1"/>
            </p:cNvSpPr>
            <p:nvPr/>
          </p:nvSpPr>
          <p:spPr bwMode="auto">
            <a:xfrm>
              <a:off x="8795215" y="1862746"/>
              <a:ext cx="11416" cy="11328"/>
            </a:xfrm>
            <a:custGeom>
              <a:avLst/>
              <a:gdLst>
                <a:gd name="T0" fmla="*/ 29 w 30"/>
                <a:gd name="T1" fmla="*/ 30 h 31"/>
                <a:gd name="T2" fmla="*/ 29 w 30"/>
                <a:gd name="T3" fmla="*/ 30 h 31"/>
                <a:gd name="T4" fmla="*/ 0 w 30"/>
                <a:gd name="T5" fmla="*/ 0 h 31"/>
                <a:gd name="T6" fmla="*/ 29 w 30"/>
                <a:gd name="T7" fmla="*/ 30 h 31"/>
              </a:gdLst>
              <a:ahLst/>
              <a:cxnLst>
                <a:cxn ang="0">
                  <a:pos x="T0" y="T1"/>
                </a:cxn>
                <a:cxn ang="0">
                  <a:pos x="T2" y="T3"/>
                </a:cxn>
                <a:cxn ang="0">
                  <a:pos x="T4" y="T5"/>
                </a:cxn>
                <a:cxn ang="0">
                  <a:pos x="T6" y="T7"/>
                </a:cxn>
              </a:cxnLst>
              <a:rect l="0" t="0" r="r" b="b"/>
              <a:pathLst>
                <a:path w="30" h="31">
                  <a:moveTo>
                    <a:pt x="29" y="30"/>
                  </a:moveTo>
                  <a:lnTo>
                    <a:pt x="29" y="30"/>
                  </a:lnTo>
                  <a:cubicBezTo>
                    <a:pt x="29" y="30"/>
                    <a:pt x="29" y="0"/>
                    <a:pt x="0" y="0"/>
                  </a:cubicBezTo>
                  <a:cubicBezTo>
                    <a:pt x="29" y="0"/>
                    <a:pt x="29" y="30"/>
                    <a:pt x="29"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31" name="Freeform 509">
              <a:extLst>
                <a:ext uri="{FF2B5EF4-FFF2-40B4-BE49-F238E27FC236}">
                  <a16:creationId xmlns:a16="http://schemas.microsoft.com/office/drawing/2014/main" id="{4226D7F7-F4F2-4548-B2F4-E9D3CD92D83F}"/>
                </a:ext>
              </a:extLst>
            </p:cNvPr>
            <p:cNvSpPr>
              <a:spLocks noChangeArrowheads="1"/>
            </p:cNvSpPr>
            <p:nvPr/>
          </p:nvSpPr>
          <p:spPr bwMode="auto">
            <a:xfrm>
              <a:off x="8946884" y="1841708"/>
              <a:ext cx="21200" cy="21039"/>
            </a:xfrm>
            <a:custGeom>
              <a:avLst/>
              <a:gdLst>
                <a:gd name="T0" fmla="*/ 58 w 59"/>
                <a:gd name="T1" fmla="*/ 0 h 59"/>
                <a:gd name="T2" fmla="*/ 58 w 59"/>
                <a:gd name="T3" fmla="*/ 0 h 59"/>
                <a:gd name="T4" fmla="*/ 0 w 59"/>
                <a:gd name="T5" fmla="*/ 58 h 59"/>
                <a:gd name="T6" fmla="*/ 58 w 59"/>
                <a:gd name="T7" fmla="*/ 0 h 59"/>
              </a:gdLst>
              <a:ahLst/>
              <a:cxnLst>
                <a:cxn ang="0">
                  <a:pos x="T0" y="T1"/>
                </a:cxn>
                <a:cxn ang="0">
                  <a:pos x="T2" y="T3"/>
                </a:cxn>
                <a:cxn ang="0">
                  <a:pos x="T4" y="T5"/>
                </a:cxn>
                <a:cxn ang="0">
                  <a:pos x="T6" y="T7"/>
                </a:cxn>
              </a:cxnLst>
              <a:rect l="0" t="0" r="r" b="b"/>
              <a:pathLst>
                <a:path w="59" h="59">
                  <a:moveTo>
                    <a:pt x="58" y="0"/>
                  </a:moveTo>
                  <a:lnTo>
                    <a:pt x="58" y="0"/>
                  </a:lnTo>
                  <a:cubicBezTo>
                    <a:pt x="28" y="29"/>
                    <a:pt x="28" y="29"/>
                    <a:pt x="0" y="58"/>
                  </a:cubicBezTo>
                  <a:cubicBezTo>
                    <a:pt x="28" y="29"/>
                    <a:pt x="28" y="29"/>
                    <a:pt x="5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32" name="Freeform 510">
              <a:extLst>
                <a:ext uri="{FF2B5EF4-FFF2-40B4-BE49-F238E27FC236}">
                  <a16:creationId xmlns:a16="http://schemas.microsoft.com/office/drawing/2014/main" id="{CF11CBD5-B957-4C4D-8104-82FFD7B6F6F7}"/>
                </a:ext>
              </a:extLst>
            </p:cNvPr>
            <p:cNvSpPr>
              <a:spLocks noChangeArrowheads="1"/>
            </p:cNvSpPr>
            <p:nvPr/>
          </p:nvSpPr>
          <p:spPr bwMode="auto">
            <a:xfrm>
              <a:off x="9118122" y="1841708"/>
              <a:ext cx="22832" cy="21039"/>
            </a:xfrm>
            <a:custGeom>
              <a:avLst/>
              <a:gdLst>
                <a:gd name="T0" fmla="*/ 0 w 60"/>
                <a:gd name="T1" fmla="*/ 0 h 59"/>
                <a:gd name="T2" fmla="*/ 0 w 60"/>
                <a:gd name="T3" fmla="*/ 0 h 59"/>
                <a:gd name="T4" fmla="*/ 59 w 60"/>
                <a:gd name="T5" fmla="*/ 58 h 59"/>
                <a:gd name="T6" fmla="*/ 0 w 60"/>
                <a:gd name="T7" fmla="*/ 0 h 59"/>
              </a:gdLst>
              <a:ahLst/>
              <a:cxnLst>
                <a:cxn ang="0">
                  <a:pos x="T0" y="T1"/>
                </a:cxn>
                <a:cxn ang="0">
                  <a:pos x="T2" y="T3"/>
                </a:cxn>
                <a:cxn ang="0">
                  <a:pos x="T4" y="T5"/>
                </a:cxn>
                <a:cxn ang="0">
                  <a:pos x="T6" y="T7"/>
                </a:cxn>
              </a:cxnLst>
              <a:rect l="0" t="0" r="r" b="b"/>
              <a:pathLst>
                <a:path w="60" h="59">
                  <a:moveTo>
                    <a:pt x="0" y="0"/>
                  </a:moveTo>
                  <a:lnTo>
                    <a:pt x="0" y="0"/>
                  </a:lnTo>
                  <a:cubicBezTo>
                    <a:pt x="29" y="29"/>
                    <a:pt x="29" y="58"/>
                    <a:pt x="59" y="58"/>
                  </a:cubicBezTo>
                  <a:cubicBezTo>
                    <a:pt x="29" y="58"/>
                    <a:pt x="29"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33" name="Freeform 511">
              <a:extLst>
                <a:ext uri="{FF2B5EF4-FFF2-40B4-BE49-F238E27FC236}">
                  <a16:creationId xmlns:a16="http://schemas.microsoft.com/office/drawing/2014/main" id="{9E869F04-0C3B-430F-A183-00A880ED0F70}"/>
                </a:ext>
              </a:extLst>
            </p:cNvPr>
            <p:cNvSpPr>
              <a:spLocks noChangeArrowheads="1"/>
            </p:cNvSpPr>
            <p:nvPr/>
          </p:nvSpPr>
          <p:spPr bwMode="auto">
            <a:xfrm>
              <a:off x="9335025" y="1916150"/>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34" name="Freeform 512">
              <a:extLst>
                <a:ext uri="{FF2B5EF4-FFF2-40B4-BE49-F238E27FC236}">
                  <a16:creationId xmlns:a16="http://schemas.microsoft.com/office/drawing/2014/main" id="{BD2AD029-0398-4DE4-B42C-FB679BFD363E}"/>
                </a:ext>
              </a:extLst>
            </p:cNvPr>
            <p:cNvSpPr>
              <a:spLocks noChangeArrowheads="1"/>
            </p:cNvSpPr>
            <p:nvPr/>
          </p:nvSpPr>
          <p:spPr bwMode="auto">
            <a:xfrm>
              <a:off x="9344810" y="1927479"/>
              <a:ext cx="1630"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29"/>
                    <a:pt x="0" y="29"/>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35" name="Freeform 513">
              <a:extLst>
                <a:ext uri="{FF2B5EF4-FFF2-40B4-BE49-F238E27FC236}">
                  <a16:creationId xmlns:a16="http://schemas.microsoft.com/office/drawing/2014/main" id="{C4EB44F1-87A5-49EC-A233-B8C0EBDD8C7E}"/>
                </a:ext>
              </a:extLst>
            </p:cNvPr>
            <p:cNvSpPr>
              <a:spLocks noChangeArrowheads="1"/>
            </p:cNvSpPr>
            <p:nvPr/>
          </p:nvSpPr>
          <p:spPr bwMode="auto">
            <a:xfrm>
              <a:off x="9335025" y="1916150"/>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36" name="Freeform 514">
              <a:extLst>
                <a:ext uri="{FF2B5EF4-FFF2-40B4-BE49-F238E27FC236}">
                  <a16:creationId xmlns:a16="http://schemas.microsoft.com/office/drawing/2014/main" id="{CF1C52AF-8652-4086-8E6C-9EC53F31AA02}"/>
                </a:ext>
              </a:extLst>
            </p:cNvPr>
            <p:cNvSpPr>
              <a:spLocks noChangeArrowheads="1"/>
            </p:cNvSpPr>
            <p:nvPr/>
          </p:nvSpPr>
          <p:spPr bwMode="auto">
            <a:xfrm>
              <a:off x="9302408" y="1916150"/>
              <a:ext cx="11415" cy="21039"/>
            </a:xfrm>
            <a:custGeom>
              <a:avLst/>
              <a:gdLst>
                <a:gd name="T0" fmla="*/ 30 w 31"/>
                <a:gd name="T1" fmla="*/ 0 h 59"/>
                <a:gd name="T2" fmla="*/ 30 w 31"/>
                <a:gd name="T3" fmla="*/ 0 h 59"/>
                <a:gd name="T4" fmla="*/ 0 w 31"/>
                <a:gd name="T5" fmla="*/ 58 h 59"/>
                <a:gd name="T6" fmla="*/ 30 w 31"/>
                <a:gd name="T7" fmla="*/ 0 h 59"/>
              </a:gdLst>
              <a:ahLst/>
              <a:cxnLst>
                <a:cxn ang="0">
                  <a:pos x="T0" y="T1"/>
                </a:cxn>
                <a:cxn ang="0">
                  <a:pos x="T2" y="T3"/>
                </a:cxn>
                <a:cxn ang="0">
                  <a:pos x="T4" y="T5"/>
                </a:cxn>
                <a:cxn ang="0">
                  <a:pos x="T6" y="T7"/>
                </a:cxn>
              </a:cxnLst>
              <a:rect l="0" t="0" r="r" b="b"/>
              <a:pathLst>
                <a:path w="31" h="59">
                  <a:moveTo>
                    <a:pt x="30" y="0"/>
                  </a:moveTo>
                  <a:lnTo>
                    <a:pt x="30" y="0"/>
                  </a:lnTo>
                  <a:cubicBezTo>
                    <a:pt x="0" y="0"/>
                    <a:pt x="0" y="29"/>
                    <a:pt x="0" y="58"/>
                  </a:cubicBezTo>
                  <a:cubicBezTo>
                    <a:pt x="0" y="29"/>
                    <a:pt x="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37" name="Freeform 515">
              <a:extLst>
                <a:ext uri="{FF2B5EF4-FFF2-40B4-BE49-F238E27FC236}">
                  <a16:creationId xmlns:a16="http://schemas.microsoft.com/office/drawing/2014/main" id="{F221FB15-9FCC-4A5D-A3AA-4C6031DB56A3}"/>
                </a:ext>
              </a:extLst>
            </p:cNvPr>
            <p:cNvSpPr>
              <a:spLocks noChangeArrowheads="1"/>
            </p:cNvSpPr>
            <p:nvPr/>
          </p:nvSpPr>
          <p:spPr bwMode="auto">
            <a:xfrm>
              <a:off x="8860449" y="1883784"/>
              <a:ext cx="11416"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cubicBezTo>
                    <a:pt x="0" y="0"/>
                    <a:pt x="0" y="0"/>
                    <a:pt x="0" y="0"/>
                  </a:cubicBez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38" name="Freeform 516">
              <a:extLst>
                <a:ext uri="{FF2B5EF4-FFF2-40B4-BE49-F238E27FC236}">
                  <a16:creationId xmlns:a16="http://schemas.microsoft.com/office/drawing/2014/main" id="{2AF6A21E-2642-482D-9564-002D666910D4}"/>
                </a:ext>
              </a:extLst>
            </p:cNvPr>
            <p:cNvSpPr>
              <a:spLocks noChangeArrowheads="1"/>
            </p:cNvSpPr>
            <p:nvPr/>
          </p:nvSpPr>
          <p:spPr bwMode="auto">
            <a:xfrm>
              <a:off x="8827832" y="1883784"/>
              <a:ext cx="32617" cy="1619"/>
            </a:xfrm>
            <a:custGeom>
              <a:avLst/>
              <a:gdLst>
                <a:gd name="T0" fmla="*/ 0 w 89"/>
                <a:gd name="T1" fmla="*/ 0 h 1"/>
                <a:gd name="T2" fmla="*/ 0 w 89"/>
                <a:gd name="T3" fmla="*/ 0 h 1"/>
                <a:gd name="T4" fmla="*/ 59 w 89"/>
                <a:gd name="T5" fmla="*/ 0 h 1"/>
                <a:gd name="T6" fmla="*/ 88 w 89"/>
                <a:gd name="T7" fmla="*/ 0 h 1"/>
                <a:gd name="T8" fmla="*/ 59 w 89"/>
                <a:gd name="T9" fmla="*/ 0 h 1"/>
                <a:gd name="T10" fmla="*/ 0 w 89"/>
                <a:gd name="T11" fmla="*/ 0 h 1"/>
              </a:gdLst>
              <a:ahLst/>
              <a:cxnLst>
                <a:cxn ang="0">
                  <a:pos x="T0" y="T1"/>
                </a:cxn>
                <a:cxn ang="0">
                  <a:pos x="T2" y="T3"/>
                </a:cxn>
                <a:cxn ang="0">
                  <a:pos x="T4" y="T5"/>
                </a:cxn>
                <a:cxn ang="0">
                  <a:pos x="T6" y="T7"/>
                </a:cxn>
                <a:cxn ang="0">
                  <a:pos x="T8" y="T9"/>
                </a:cxn>
                <a:cxn ang="0">
                  <a:pos x="T10" y="T11"/>
                </a:cxn>
              </a:cxnLst>
              <a:rect l="0" t="0" r="r" b="b"/>
              <a:pathLst>
                <a:path w="89" h="1">
                  <a:moveTo>
                    <a:pt x="0" y="0"/>
                  </a:moveTo>
                  <a:lnTo>
                    <a:pt x="0" y="0"/>
                  </a:lnTo>
                  <a:cubicBezTo>
                    <a:pt x="0" y="0"/>
                    <a:pt x="30" y="0"/>
                    <a:pt x="59" y="0"/>
                  </a:cubicBezTo>
                  <a:cubicBezTo>
                    <a:pt x="59" y="0"/>
                    <a:pt x="59" y="0"/>
                    <a:pt x="88" y="0"/>
                  </a:cubicBezTo>
                  <a:cubicBezTo>
                    <a:pt x="59" y="0"/>
                    <a:pt x="59" y="0"/>
                    <a:pt x="59" y="0"/>
                  </a:cubicBezTo>
                  <a:cubicBezTo>
                    <a:pt x="3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39" name="Freeform 517">
              <a:extLst>
                <a:ext uri="{FF2B5EF4-FFF2-40B4-BE49-F238E27FC236}">
                  <a16:creationId xmlns:a16="http://schemas.microsoft.com/office/drawing/2014/main" id="{B8F43689-8E13-4220-B7F6-F69704DA97A0}"/>
                </a:ext>
              </a:extLst>
            </p:cNvPr>
            <p:cNvSpPr>
              <a:spLocks noChangeArrowheads="1"/>
            </p:cNvSpPr>
            <p:nvPr/>
          </p:nvSpPr>
          <p:spPr bwMode="auto">
            <a:xfrm>
              <a:off x="8925682" y="1883784"/>
              <a:ext cx="1631" cy="11329"/>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cubicBezTo>
                    <a:pt x="0" y="0"/>
                    <a:pt x="0" y="0"/>
                    <a:pt x="0" y="29"/>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40" name="Freeform 518">
              <a:extLst>
                <a:ext uri="{FF2B5EF4-FFF2-40B4-BE49-F238E27FC236}">
                  <a16:creationId xmlns:a16="http://schemas.microsoft.com/office/drawing/2014/main" id="{53B3A318-E4B3-414E-B9BA-E7BD10C046F1}"/>
                </a:ext>
              </a:extLst>
            </p:cNvPr>
            <p:cNvSpPr>
              <a:spLocks noChangeArrowheads="1"/>
            </p:cNvSpPr>
            <p:nvPr/>
          </p:nvSpPr>
          <p:spPr bwMode="auto">
            <a:xfrm>
              <a:off x="8925682" y="1895113"/>
              <a:ext cx="1631" cy="11328"/>
            </a:xfrm>
            <a:custGeom>
              <a:avLst/>
              <a:gdLst>
                <a:gd name="T0" fmla="*/ 0 w 1"/>
                <a:gd name="T1" fmla="*/ 0 h 30"/>
                <a:gd name="T2" fmla="*/ 0 w 1"/>
                <a:gd name="T3" fmla="*/ 0 h 30"/>
                <a:gd name="T4" fmla="*/ 0 w 1"/>
                <a:gd name="T5" fmla="*/ 0 h 30"/>
                <a:gd name="T6" fmla="*/ 0 w 1"/>
                <a:gd name="T7" fmla="*/ 29 h 30"/>
                <a:gd name="T8" fmla="*/ 0 w 1"/>
                <a:gd name="T9" fmla="*/ 0 h 30"/>
              </a:gdLst>
              <a:ahLst/>
              <a:cxnLst>
                <a:cxn ang="0">
                  <a:pos x="T0" y="T1"/>
                </a:cxn>
                <a:cxn ang="0">
                  <a:pos x="T2" y="T3"/>
                </a:cxn>
                <a:cxn ang="0">
                  <a:pos x="T4" y="T5"/>
                </a:cxn>
                <a:cxn ang="0">
                  <a:pos x="T6" y="T7"/>
                </a:cxn>
                <a:cxn ang="0">
                  <a:pos x="T8" y="T9"/>
                </a:cxn>
              </a:cxnLst>
              <a:rect l="0" t="0" r="r" b="b"/>
              <a:pathLst>
                <a:path w="1" h="30">
                  <a:moveTo>
                    <a:pt x="0" y="0"/>
                  </a:moveTo>
                  <a:lnTo>
                    <a:pt x="0" y="0"/>
                  </a:lnTo>
                  <a:lnTo>
                    <a:pt x="0" y="0"/>
                  </a:lnTo>
                  <a:cubicBezTo>
                    <a:pt x="0" y="0"/>
                    <a:pt x="0" y="0"/>
                    <a:pt x="0" y="29"/>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41" name="Freeform 519">
              <a:extLst>
                <a:ext uri="{FF2B5EF4-FFF2-40B4-BE49-F238E27FC236}">
                  <a16:creationId xmlns:a16="http://schemas.microsoft.com/office/drawing/2014/main" id="{929E245E-2B12-4FFB-9DD1-456C989DBB3C}"/>
                </a:ext>
              </a:extLst>
            </p:cNvPr>
            <p:cNvSpPr>
              <a:spLocks noChangeArrowheads="1"/>
            </p:cNvSpPr>
            <p:nvPr/>
          </p:nvSpPr>
          <p:spPr bwMode="auto">
            <a:xfrm>
              <a:off x="8902851" y="1895113"/>
              <a:ext cx="22832" cy="11328"/>
            </a:xfrm>
            <a:custGeom>
              <a:avLst/>
              <a:gdLst>
                <a:gd name="T0" fmla="*/ 29 w 60"/>
                <a:gd name="T1" fmla="*/ 29 h 30"/>
                <a:gd name="T2" fmla="*/ 29 w 60"/>
                <a:gd name="T3" fmla="*/ 29 h 30"/>
                <a:gd name="T4" fmla="*/ 59 w 60"/>
                <a:gd name="T5" fmla="*/ 29 h 30"/>
                <a:gd name="T6" fmla="*/ 29 w 60"/>
                <a:gd name="T7" fmla="*/ 29 h 30"/>
                <a:gd name="T8" fmla="*/ 0 w 60"/>
                <a:gd name="T9" fmla="*/ 0 h 30"/>
                <a:gd name="T10" fmla="*/ 29 w 60"/>
                <a:gd name="T11" fmla="*/ 29 h 30"/>
              </a:gdLst>
              <a:ahLst/>
              <a:cxnLst>
                <a:cxn ang="0">
                  <a:pos x="T0" y="T1"/>
                </a:cxn>
                <a:cxn ang="0">
                  <a:pos x="T2" y="T3"/>
                </a:cxn>
                <a:cxn ang="0">
                  <a:pos x="T4" y="T5"/>
                </a:cxn>
                <a:cxn ang="0">
                  <a:pos x="T6" y="T7"/>
                </a:cxn>
                <a:cxn ang="0">
                  <a:pos x="T8" y="T9"/>
                </a:cxn>
                <a:cxn ang="0">
                  <a:pos x="T10" y="T11"/>
                </a:cxn>
              </a:cxnLst>
              <a:rect l="0" t="0" r="r" b="b"/>
              <a:pathLst>
                <a:path w="60" h="30">
                  <a:moveTo>
                    <a:pt x="29" y="29"/>
                  </a:moveTo>
                  <a:lnTo>
                    <a:pt x="29" y="29"/>
                  </a:lnTo>
                  <a:cubicBezTo>
                    <a:pt x="29" y="29"/>
                    <a:pt x="29" y="29"/>
                    <a:pt x="59" y="29"/>
                  </a:cubicBezTo>
                  <a:cubicBezTo>
                    <a:pt x="29" y="29"/>
                    <a:pt x="29" y="29"/>
                    <a:pt x="29" y="29"/>
                  </a:cubicBezTo>
                  <a:cubicBezTo>
                    <a:pt x="29" y="29"/>
                    <a:pt x="29" y="29"/>
                    <a:pt x="0" y="0"/>
                  </a:cubicBezTo>
                  <a:cubicBezTo>
                    <a:pt x="29" y="29"/>
                    <a:pt x="29"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42" name="Freeform 520">
              <a:extLst>
                <a:ext uri="{FF2B5EF4-FFF2-40B4-BE49-F238E27FC236}">
                  <a16:creationId xmlns:a16="http://schemas.microsoft.com/office/drawing/2014/main" id="{8E6EBAA0-8BB8-404C-B930-A6A6590285CA}"/>
                </a:ext>
              </a:extLst>
            </p:cNvPr>
            <p:cNvSpPr>
              <a:spLocks noChangeArrowheads="1"/>
            </p:cNvSpPr>
            <p:nvPr/>
          </p:nvSpPr>
          <p:spPr bwMode="auto">
            <a:xfrm>
              <a:off x="3649898" y="2675143"/>
              <a:ext cx="11415" cy="1618"/>
            </a:xfrm>
            <a:custGeom>
              <a:avLst/>
              <a:gdLst>
                <a:gd name="T0" fmla="*/ 0 w 31"/>
                <a:gd name="T1" fmla="*/ 0 h 1"/>
                <a:gd name="T2" fmla="*/ 0 w 31"/>
                <a:gd name="T3" fmla="*/ 0 h 1"/>
                <a:gd name="T4" fmla="*/ 30 w 31"/>
                <a:gd name="T5" fmla="*/ 0 h 1"/>
                <a:gd name="T6" fmla="*/ 0 w 31"/>
                <a:gd name="T7" fmla="*/ 0 h 1"/>
              </a:gdLst>
              <a:ahLst/>
              <a:cxnLst>
                <a:cxn ang="0">
                  <a:pos x="T0" y="T1"/>
                </a:cxn>
                <a:cxn ang="0">
                  <a:pos x="T2" y="T3"/>
                </a:cxn>
                <a:cxn ang="0">
                  <a:pos x="T4" y="T5"/>
                </a:cxn>
                <a:cxn ang="0">
                  <a:pos x="T6" y="T7"/>
                </a:cxn>
              </a:cxnLst>
              <a:rect l="0" t="0" r="r" b="b"/>
              <a:pathLst>
                <a:path w="31" h="1">
                  <a:moveTo>
                    <a:pt x="0" y="0"/>
                  </a:moveTo>
                  <a:lnTo>
                    <a:pt x="0" y="0"/>
                  </a:lnTo>
                  <a:lnTo>
                    <a:pt x="30"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43" name="Freeform 521">
              <a:extLst>
                <a:ext uri="{FF2B5EF4-FFF2-40B4-BE49-F238E27FC236}">
                  <a16:creationId xmlns:a16="http://schemas.microsoft.com/office/drawing/2014/main" id="{DDA190B9-CB7C-4A44-BC8A-CD5B702238ED}"/>
                </a:ext>
              </a:extLst>
            </p:cNvPr>
            <p:cNvSpPr>
              <a:spLocks noChangeArrowheads="1"/>
            </p:cNvSpPr>
            <p:nvPr/>
          </p:nvSpPr>
          <p:spPr bwMode="auto">
            <a:xfrm>
              <a:off x="3682515" y="2312639"/>
              <a:ext cx="44032" cy="76061"/>
            </a:xfrm>
            <a:custGeom>
              <a:avLst/>
              <a:gdLst>
                <a:gd name="T0" fmla="*/ 117 w 118"/>
                <a:gd name="T1" fmla="*/ 0 h 206"/>
                <a:gd name="T2" fmla="*/ 117 w 118"/>
                <a:gd name="T3" fmla="*/ 0 h 206"/>
                <a:gd name="T4" fmla="*/ 117 w 118"/>
                <a:gd name="T5" fmla="*/ 0 h 206"/>
                <a:gd name="T6" fmla="*/ 117 w 118"/>
                <a:gd name="T7" fmla="*/ 0 h 206"/>
                <a:gd name="T8" fmla="*/ 0 w 118"/>
                <a:gd name="T9" fmla="*/ 205 h 206"/>
                <a:gd name="T10" fmla="*/ 117 w 118"/>
                <a:gd name="T11" fmla="*/ 0 h 206"/>
              </a:gdLst>
              <a:ahLst/>
              <a:cxnLst>
                <a:cxn ang="0">
                  <a:pos x="T0" y="T1"/>
                </a:cxn>
                <a:cxn ang="0">
                  <a:pos x="T2" y="T3"/>
                </a:cxn>
                <a:cxn ang="0">
                  <a:pos x="T4" y="T5"/>
                </a:cxn>
                <a:cxn ang="0">
                  <a:pos x="T6" y="T7"/>
                </a:cxn>
                <a:cxn ang="0">
                  <a:pos x="T8" y="T9"/>
                </a:cxn>
                <a:cxn ang="0">
                  <a:pos x="T10" y="T11"/>
                </a:cxn>
              </a:cxnLst>
              <a:rect l="0" t="0" r="r" b="b"/>
              <a:pathLst>
                <a:path w="118" h="206">
                  <a:moveTo>
                    <a:pt x="117" y="0"/>
                  </a:moveTo>
                  <a:lnTo>
                    <a:pt x="117" y="0"/>
                  </a:lnTo>
                  <a:lnTo>
                    <a:pt x="117" y="0"/>
                  </a:lnTo>
                  <a:lnTo>
                    <a:pt x="117" y="0"/>
                  </a:lnTo>
                  <a:cubicBezTo>
                    <a:pt x="88" y="58"/>
                    <a:pt x="0" y="117"/>
                    <a:pt x="0" y="205"/>
                  </a:cubicBezTo>
                  <a:cubicBezTo>
                    <a:pt x="0" y="117"/>
                    <a:pt x="88" y="58"/>
                    <a:pt x="1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44" name="Freeform 522">
              <a:extLst>
                <a:ext uri="{FF2B5EF4-FFF2-40B4-BE49-F238E27FC236}">
                  <a16:creationId xmlns:a16="http://schemas.microsoft.com/office/drawing/2014/main" id="{192F4BCC-42DE-4C43-A4E4-B861D2274303}"/>
                </a:ext>
              </a:extLst>
            </p:cNvPr>
            <p:cNvSpPr>
              <a:spLocks noChangeArrowheads="1"/>
            </p:cNvSpPr>
            <p:nvPr/>
          </p:nvSpPr>
          <p:spPr bwMode="auto">
            <a:xfrm>
              <a:off x="3682515" y="2387082"/>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45" name="Freeform 523">
              <a:extLst>
                <a:ext uri="{FF2B5EF4-FFF2-40B4-BE49-F238E27FC236}">
                  <a16:creationId xmlns:a16="http://schemas.microsoft.com/office/drawing/2014/main" id="{19718E44-D3AF-4E1A-BB82-624CBC2C9636}"/>
                </a:ext>
              </a:extLst>
            </p:cNvPr>
            <p:cNvSpPr>
              <a:spLocks noChangeArrowheads="1"/>
            </p:cNvSpPr>
            <p:nvPr/>
          </p:nvSpPr>
          <p:spPr bwMode="auto">
            <a:xfrm>
              <a:off x="3780366" y="1916150"/>
              <a:ext cx="44032" cy="21039"/>
            </a:xfrm>
            <a:custGeom>
              <a:avLst/>
              <a:gdLst>
                <a:gd name="T0" fmla="*/ 0 w 118"/>
                <a:gd name="T1" fmla="*/ 29 h 59"/>
                <a:gd name="T2" fmla="*/ 0 w 118"/>
                <a:gd name="T3" fmla="*/ 29 h 59"/>
                <a:gd name="T4" fmla="*/ 0 w 118"/>
                <a:gd name="T5" fmla="*/ 29 h 59"/>
                <a:gd name="T6" fmla="*/ 0 w 118"/>
                <a:gd name="T7" fmla="*/ 29 h 59"/>
                <a:gd name="T8" fmla="*/ 59 w 118"/>
                <a:gd name="T9" fmla="*/ 0 h 59"/>
                <a:gd name="T10" fmla="*/ 117 w 118"/>
                <a:gd name="T11" fmla="*/ 0 h 59"/>
                <a:gd name="T12" fmla="*/ 59 w 118"/>
                <a:gd name="T13" fmla="*/ 0 h 59"/>
                <a:gd name="T14" fmla="*/ 0 w 118"/>
                <a:gd name="T15" fmla="*/ 29 h 59"/>
                <a:gd name="T16" fmla="*/ 0 w 118"/>
                <a:gd name="T17" fmla="*/ 29 h 59"/>
                <a:gd name="T18" fmla="*/ 0 w 118"/>
                <a:gd name="T19" fmla="*/ 29 h 59"/>
                <a:gd name="T20" fmla="*/ 0 w 118"/>
                <a:gd name="T21" fmla="*/ 58 h 59"/>
                <a:gd name="T22" fmla="*/ 0 w 118"/>
                <a:gd name="T23" fmla="*/ 2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59">
                  <a:moveTo>
                    <a:pt x="0" y="29"/>
                  </a:moveTo>
                  <a:lnTo>
                    <a:pt x="0" y="29"/>
                  </a:lnTo>
                  <a:lnTo>
                    <a:pt x="0" y="29"/>
                  </a:lnTo>
                  <a:lnTo>
                    <a:pt x="0" y="29"/>
                  </a:lnTo>
                  <a:cubicBezTo>
                    <a:pt x="30" y="0"/>
                    <a:pt x="59" y="0"/>
                    <a:pt x="59" y="0"/>
                  </a:cubicBezTo>
                  <a:cubicBezTo>
                    <a:pt x="88" y="0"/>
                    <a:pt x="88" y="0"/>
                    <a:pt x="117" y="0"/>
                  </a:cubicBezTo>
                  <a:cubicBezTo>
                    <a:pt x="88" y="0"/>
                    <a:pt x="88" y="0"/>
                    <a:pt x="59" y="0"/>
                  </a:cubicBezTo>
                  <a:cubicBezTo>
                    <a:pt x="59" y="0"/>
                    <a:pt x="30" y="0"/>
                    <a:pt x="0" y="29"/>
                  </a:cubicBezTo>
                  <a:lnTo>
                    <a:pt x="0" y="29"/>
                  </a:lnTo>
                  <a:lnTo>
                    <a:pt x="0" y="29"/>
                  </a:lnTo>
                  <a:lnTo>
                    <a:pt x="0" y="58"/>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46" name="Freeform 524">
              <a:extLst>
                <a:ext uri="{FF2B5EF4-FFF2-40B4-BE49-F238E27FC236}">
                  <a16:creationId xmlns:a16="http://schemas.microsoft.com/office/drawing/2014/main" id="{71116AD1-036E-4B14-AC06-572626723D17}"/>
                </a:ext>
              </a:extLst>
            </p:cNvPr>
            <p:cNvSpPr>
              <a:spLocks noChangeArrowheads="1"/>
            </p:cNvSpPr>
            <p:nvPr/>
          </p:nvSpPr>
          <p:spPr bwMode="auto">
            <a:xfrm>
              <a:off x="3866800" y="1883784"/>
              <a:ext cx="1631" cy="11329"/>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47" name="Freeform 525">
              <a:extLst>
                <a:ext uri="{FF2B5EF4-FFF2-40B4-BE49-F238E27FC236}">
                  <a16:creationId xmlns:a16="http://schemas.microsoft.com/office/drawing/2014/main" id="{96BBA25A-ABC8-448B-8A5E-7C11F3F26F49}"/>
                </a:ext>
              </a:extLst>
            </p:cNvPr>
            <p:cNvSpPr>
              <a:spLocks noChangeArrowheads="1"/>
            </p:cNvSpPr>
            <p:nvPr/>
          </p:nvSpPr>
          <p:spPr bwMode="auto">
            <a:xfrm>
              <a:off x="3682515" y="2398410"/>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48" name="Freeform 526">
              <a:extLst>
                <a:ext uri="{FF2B5EF4-FFF2-40B4-BE49-F238E27FC236}">
                  <a16:creationId xmlns:a16="http://schemas.microsoft.com/office/drawing/2014/main" id="{EA37CD4C-9AA1-49EF-99ED-A332541C35EE}"/>
                </a:ext>
              </a:extLst>
            </p:cNvPr>
            <p:cNvSpPr>
              <a:spLocks noChangeArrowheads="1"/>
            </p:cNvSpPr>
            <p:nvPr/>
          </p:nvSpPr>
          <p:spPr bwMode="auto">
            <a:xfrm>
              <a:off x="3822768" y="1895113"/>
              <a:ext cx="44032" cy="32366"/>
            </a:xfrm>
            <a:custGeom>
              <a:avLst/>
              <a:gdLst>
                <a:gd name="T0" fmla="*/ 59 w 118"/>
                <a:gd name="T1" fmla="*/ 58 h 88"/>
                <a:gd name="T2" fmla="*/ 59 w 118"/>
                <a:gd name="T3" fmla="*/ 58 h 88"/>
                <a:gd name="T4" fmla="*/ 117 w 118"/>
                <a:gd name="T5" fmla="*/ 0 h 88"/>
                <a:gd name="T6" fmla="*/ 59 w 118"/>
                <a:gd name="T7" fmla="*/ 58 h 88"/>
                <a:gd name="T8" fmla="*/ 0 w 118"/>
                <a:gd name="T9" fmla="*/ 58 h 88"/>
                <a:gd name="T10" fmla="*/ 59 w 118"/>
                <a:gd name="T11" fmla="*/ 58 h 88"/>
              </a:gdLst>
              <a:ahLst/>
              <a:cxnLst>
                <a:cxn ang="0">
                  <a:pos x="T0" y="T1"/>
                </a:cxn>
                <a:cxn ang="0">
                  <a:pos x="T2" y="T3"/>
                </a:cxn>
                <a:cxn ang="0">
                  <a:pos x="T4" y="T5"/>
                </a:cxn>
                <a:cxn ang="0">
                  <a:pos x="T6" y="T7"/>
                </a:cxn>
                <a:cxn ang="0">
                  <a:pos x="T8" y="T9"/>
                </a:cxn>
                <a:cxn ang="0">
                  <a:pos x="T10" y="T11"/>
                </a:cxn>
              </a:cxnLst>
              <a:rect l="0" t="0" r="r" b="b"/>
              <a:pathLst>
                <a:path w="118" h="88">
                  <a:moveTo>
                    <a:pt x="59" y="58"/>
                  </a:moveTo>
                  <a:lnTo>
                    <a:pt x="59" y="58"/>
                  </a:lnTo>
                  <a:cubicBezTo>
                    <a:pt x="59" y="58"/>
                    <a:pt x="88" y="29"/>
                    <a:pt x="117" y="0"/>
                  </a:cubicBezTo>
                  <a:cubicBezTo>
                    <a:pt x="88" y="29"/>
                    <a:pt x="59" y="58"/>
                    <a:pt x="59" y="58"/>
                  </a:cubicBezTo>
                  <a:cubicBezTo>
                    <a:pt x="59" y="87"/>
                    <a:pt x="30" y="87"/>
                    <a:pt x="0" y="58"/>
                  </a:cubicBezTo>
                  <a:cubicBezTo>
                    <a:pt x="30" y="87"/>
                    <a:pt x="59" y="87"/>
                    <a:pt x="59"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49" name="Freeform 527">
              <a:extLst>
                <a:ext uri="{FF2B5EF4-FFF2-40B4-BE49-F238E27FC236}">
                  <a16:creationId xmlns:a16="http://schemas.microsoft.com/office/drawing/2014/main" id="{AE2174F0-3613-4215-9F1C-FF7149205B36}"/>
                </a:ext>
              </a:extLst>
            </p:cNvPr>
            <p:cNvSpPr>
              <a:spLocks noChangeArrowheads="1"/>
            </p:cNvSpPr>
            <p:nvPr/>
          </p:nvSpPr>
          <p:spPr bwMode="auto">
            <a:xfrm>
              <a:off x="3759164" y="3060303"/>
              <a:ext cx="11416" cy="55023"/>
            </a:xfrm>
            <a:custGeom>
              <a:avLst/>
              <a:gdLst>
                <a:gd name="T0" fmla="*/ 28 w 29"/>
                <a:gd name="T1" fmla="*/ 0 h 148"/>
                <a:gd name="T2" fmla="*/ 28 w 29"/>
                <a:gd name="T3" fmla="*/ 0 h 148"/>
                <a:gd name="T4" fmla="*/ 0 w 29"/>
                <a:gd name="T5" fmla="*/ 117 h 148"/>
                <a:gd name="T6" fmla="*/ 0 w 29"/>
                <a:gd name="T7" fmla="*/ 147 h 148"/>
                <a:gd name="T8" fmla="*/ 0 w 29"/>
                <a:gd name="T9" fmla="*/ 117 h 148"/>
                <a:gd name="T10" fmla="*/ 28 w 29"/>
                <a:gd name="T11" fmla="*/ 0 h 148"/>
              </a:gdLst>
              <a:ahLst/>
              <a:cxnLst>
                <a:cxn ang="0">
                  <a:pos x="T0" y="T1"/>
                </a:cxn>
                <a:cxn ang="0">
                  <a:pos x="T2" y="T3"/>
                </a:cxn>
                <a:cxn ang="0">
                  <a:pos x="T4" y="T5"/>
                </a:cxn>
                <a:cxn ang="0">
                  <a:pos x="T6" y="T7"/>
                </a:cxn>
                <a:cxn ang="0">
                  <a:pos x="T8" y="T9"/>
                </a:cxn>
                <a:cxn ang="0">
                  <a:pos x="T10" y="T11"/>
                </a:cxn>
              </a:cxnLst>
              <a:rect l="0" t="0" r="r" b="b"/>
              <a:pathLst>
                <a:path w="29" h="148">
                  <a:moveTo>
                    <a:pt x="28" y="0"/>
                  </a:moveTo>
                  <a:lnTo>
                    <a:pt x="28" y="0"/>
                  </a:lnTo>
                  <a:cubicBezTo>
                    <a:pt x="28" y="30"/>
                    <a:pt x="28" y="88"/>
                    <a:pt x="0" y="117"/>
                  </a:cubicBezTo>
                  <a:cubicBezTo>
                    <a:pt x="0" y="147"/>
                    <a:pt x="0" y="147"/>
                    <a:pt x="0" y="147"/>
                  </a:cubicBezTo>
                  <a:cubicBezTo>
                    <a:pt x="0" y="117"/>
                    <a:pt x="0" y="117"/>
                    <a:pt x="0" y="117"/>
                  </a:cubicBezTo>
                  <a:cubicBezTo>
                    <a:pt x="28" y="88"/>
                    <a:pt x="28" y="30"/>
                    <a:pt x="2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50" name="Freeform 528">
              <a:extLst>
                <a:ext uri="{FF2B5EF4-FFF2-40B4-BE49-F238E27FC236}">
                  <a16:creationId xmlns:a16="http://schemas.microsoft.com/office/drawing/2014/main" id="{E67CC20E-3181-498D-ABA2-362367FA33BC}"/>
                </a:ext>
              </a:extLst>
            </p:cNvPr>
            <p:cNvSpPr>
              <a:spLocks noChangeArrowheads="1"/>
            </p:cNvSpPr>
            <p:nvPr/>
          </p:nvSpPr>
          <p:spPr bwMode="auto">
            <a:xfrm>
              <a:off x="3726547" y="2815936"/>
              <a:ext cx="1631" cy="32366"/>
            </a:xfrm>
            <a:custGeom>
              <a:avLst/>
              <a:gdLst>
                <a:gd name="T0" fmla="*/ 0 w 1"/>
                <a:gd name="T1" fmla="*/ 0 h 88"/>
                <a:gd name="T2" fmla="*/ 0 w 1"/>
                <a:gd name="T3" fmla="*/ 0 h 88"/>
                <a:gd name="T4" fmla="*/ 0 w 1"/>
                <a:gd name="T5" fmla="*/ 87 h 88"/>
                <a:gd name="T6" fmla="*/ 0 w 1"/>
                <a:gd name="T7" fmla="*/ 0 h 88"/>
              </a:gdLst>
              <a:ahLst/>
              <a:cxnLst>
                <a:cxn ang="0">
                  <a:pos x="T0" y="T1"/>
                </a:cxn>
                <a:cxn ang="0">
                  <a:pos x="T2" y="T3"/>
                </a:cxn>
                <a:cxn ang="0">
                  <a:pos x="T4" y="T5"/>
                </a:cxn>
                <a:cxn ang="0">
                  <a:pos x="T6" y="T7"/>
                </a:cxn>
              </a:cxnLst>
              <a:rect l="0" t="0" r="r" b="b"/>
              <a:pathLst>
                <a:path w="1" h="88">
                  <a:moveTo>
                    <a:pt x="0" y="0"/>
                  </a:moveTo>
                  <a:lnTo>
                    <a:pt x="0" y="0"/>
                  </a:lnTo>
                  <a:cubicBezTo>
                    <a:pt x="0" y="29"/>
                    <a:pt x="0" y="58"/>
                    <a:pt x="0" y="87"/>
                  </a:cubicBezTo>
                  <a:cubicBezTo>
                    <a:pt x="0" y="58"/>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51" name="Freeform 529">
              <a:extLst>
                <a:ext uri="{FF2B5EF4-FFF2-40B4-BE49-F238E27FC236}">
                  <a16:creationId xmlns:a16="http://schemas.microsoft.com/office/drawing/2014/main" id="{A6E1E8D1-1C25-4A25-9540-7434CBC4217B}"/>
                </a:ext>
              </a:extLst>
            </p:cNvPr>
            <p:cNvSpPr>
              <a:spLocks noChangeArrowheads="1"/>
            </p:cNvSpPr>
            <p:nvPr/>
          </p:nvSpPr>
          <p:spPr bwMode="auto">
            <a:xfrm>
              <a:off x="3705347" y="2718837"/>
              <a:ext cx="21200" cy="22656"/>
            </a:xfrm>
            <a:custGeom>
              <a:avLst/>
              <a:gdLst>
                <a:gd name="T0" fmla="*/ 29 w 59"/>
                <a:gd name="T1" fmla="*/ 59 h 60"/>
                <a:gd name="T2" fmla="*/ 29 w 59"/>
                <a:gd name="T3" fmla="*/ 59 h 60"/>
                <a:gd name="T4" fmla="*/ 0 w 59"/>
                <a:gd name="T5" fmla="*/ 0 h 60"/>
                <a:gd name="T6" fmla="*/ 29 w 59"/>
                <a:gd name="T7" fmla="*/ 59 h 60"/>
                <a:gd name="T8" fmla="*/ 58 w 59"/>
                <a:gd name="T9" fmla="*/ 59 h 60"/>
                <a:gd name="T10" fmla="*/ 29 w 59"/>
                <a:gd name="T11" fmla="*/ 59 h 60"/>
              </a:gdLst>
              <a:ahLst/>
              <a:cxnLst>
                <a:cxn ang="0">
                  <a:pos x="T0" y="T1"/>
                </a:cxn>
                <a:cxn ang="0">
                  <a:pos x="T2" y="T3"/>
                </a:cxn>
                <a:cxn ang="0">
                  <a:pos x="T4" y="T5"/>
                </a:cxn>
                <a:cxn ang="0">
                  <a:pos x="T6" y="T7"/>
                </a:cxn>
                <a:cxn ang="0">
                  <a:pos x="T8" y="T9"/>
                </a:cxn>
                <a:cxn ang="0">
                  <a:pos x="T10" y="T11"/>
                </a:cxn>
              </a:cxnLst>
              <a:rect l="0" t="0" r="r" b="b"/>
              <a:pathLst>
                <a:path w="59" h="60">
                  <a:moveTo>
                    <a:pt x="29" y="59"/>
                  </a:moveTo>
                  <a:lnTo>
                    <a:pt x="29" y="59"/>
                  </a:lnTo>
                  <a:cubicBezTo>
                    <a:pt x="29" y="30"/>
                    <a:pt x="0" y="30"/>
                    <a:pt x="0" y="0"/>
                  </a:cubicBezTo>
                  <a:cubicBezTo>
                    <a:pt x="0" y="30"/>
                    <a:pt x="29" y="30"/>
                    <a:pt x="29" y="59"/>
                  </a:cubicBezTo>
                  <a:cubicBezTo>
                    <a:pt x="58" y="59"/>
                    <a:pt x="58" y="59"/>
                    <a:pt x="58" y="59"/>
                  </a:cubicBezTo>
                  <a:cubicBezTo>
                    <a:pt x="58" y="59"/>
                    <a:pt x="58" y="59"/>
                    <a:pt x="29"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52" name="Freeform 530">
              <a:extLst>
                <a:ext uri="{FF2B5EF4-FFF2-40B4-BE49-F238E27FC236}">
                  <a16:creationId xmlns:a16="http://schemas.microsoft.com/office/drawing/2014/main" id="{892C373D-DD61-47B1-9968-DEB531AA3027}"/>
                </a:ext>
              </a:extLst>
            </p:cNvPr>
            <p:cNvSpPr>
              <a:spLocks noChangeArrowheads="1"/>
            </p:cNvSpPr>
            <p:nvPr/>
          </p:nvSpPr>
          <p:spPr bwMode="auto">
            <a:xfrm>
              <a:off x="3888001" y="1830380"/>
              <a:ext cx="1630" cy="11328"/>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53" name="Freeform 531">
              <a:extLst>
                <a:ext uri="{FF2B5EF4-FFF2-40B4-BE49-F238E27FC236}">
                  <a16:creationId xmlns:a16="http://schemas.microsoft.com/office/drawing/2014/main" id="{FED18F1D-0212-421C-9DE5-657F94D2C095}"/>
                </a:ext>
              </a:extLst>
            </p:cNvPr>
            <p:cNvSpPr>
              <a:spLocks noChangeArrowheads="1"/>
            </p:cNvSpPr>
            <p:nvPr/>
          </p:nvSpPr>
          <p:spPr bwMode="auto">
            <a:xfrm>
              <a:off x="3855385" y="3340272"/>
              <a:ext cx="11415" cy="11329"/>
            </a:xfrm>
            <a:custGeom>
              <a:avLst/>
              <a:gdLst>
                <a:gd name="T0" fmla="*/ 0 w 30"/>
                <a:gd name="T1" fmla="*/ 0 h 30"/>
                <a:gd name="T2" fmla="*/ 0 w 30"/>
                <a:gd name="T3" fmla="*/ 0 h 30"/>
                <a:gd name="T4" fmla="*/ 0 w 30"/>
                <a:gd name="T5" fmla="*/ 0 h 30"/>
                <a:gd name="T6" fmla="*/ 0 w 30"/>
                <a:gd name="T7" fmla="*/ 0 h 30"/>
                <a:gd name="T8" fmla="*/ 0 w 30"/>
                <a:gd name="T9" fmla="*/ 0 h 30"/>
                <a:gd name="T10" fmla="*/ 0 w 30"/>
                <a:gd name="T11" fmla="*/ 0 h 30"/>
                <a:gd name="T12" fmla="*/ 29 w 30"/>
                <a:gd name="T13" fmla="*/ 29 h 30"/>
                <a:gd name="T14" fmla="*/ 0 w 30"/>
                <a:gd name="T15" fmla="*/ 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0">
                  <a:moveTo>
                    <a:pt x="0" y="0"/>
                  </a:moveTo>
                  <a:lnTo>
                    <a:pt x="0" y="0"/>
                  </a:lnTo>
                  <a:lnTo>
                    <a:pt x="0" y="0"/>
                  </a:lnTo>
                  <a:lnTo>
                    <a:pt x="0" y="0"/>
                  </a:lnTo>
                  <a:lnTo>
                    <a:pt x="0" y="0"/>
                  </a:lnTo>
                  <a:lnTo>
                    <a:pt x="0" y="0"/>
                  </a:lnTo>
                  <a:cubicBezTo>
                    <a:pt x="29" y="0"/>
                    <a:pt x="29" y="0"/>
                    <a:pt x="29" y="29"/>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54" name="Freeform 532">
              <a:extLst>
                <a:ext uri="{FF2B5EF4-FFF2-40B4-BE49-F238E27FC236}">
                  <a16:creationId xmlns:a16="http://schemas.microsoft.com/office/drawing/2014/main" id="{984B7C15-83EF-4306-9215-6C04EA3F8515}"/>
                </a:ext>
              </a:extLst>
            </p:cNvPr>
            <p:cNvSpPr>
              <a:spLocks noChangeArrowheads="1"/>
            </p:cNvSpPr>
            <p:nvPr/>
          </p:nvSpPr>
          <p:spPr bwMode="auto">
            <a:xfrm>
              <a:off x="3672730" y="2621738"/>
              <a:ext cx="11415" cy="1619"/>
            </a:xfrm>
            <a:custGeom>
              <a:avLst/>
              <a:gdLst>
                <a:gd name="T0" fmla="*/ 0 w 30"/>
                <a:gd name="T1" fmla="*/ 0 h 1"/>
                <a:gd name="T2" fmla="*/ 0 w 30"/>
                <a:gd name="T3" fmla="*/ 0 h 1"/>
                <a:gd name="T4" fmla="*/ 29 w 30"/>
                <a:gd name="T5" fmla="*/ 0 h 1"/>
                <a:gd name="T6" fmla="*/ 29 w 30"/>
                <a:gd name="T7" fmla="*/ 0 h 1"/>
                <a:gd name="T8" fmla="*/ 29 w 30"/>
                <a:gd name="T9" fmla="*/ 0 h 1"/>
                <a:gd name="T10" fmla="*/ 0 w 30"/>
                <a:gd name="T11" fmla="*/ 0 h 1"/>
              </a:gdLst>
              <a:ahLst/>
              <a:cxnLst>
                <a:cxn ang="0">
                  <a:pos x="T0" y="T1"/>
                </a:cxn>
                <a:cxn ang="0">
                  <a:pos x="T2" y="T3"/>
                </a:cxn>
                <a:cxn ang="0">
                  <a:pos x="T4" y="T5"/>
                </a:cxn>
                <a:cxn ang="0">
                  <a:pos x="T6" y="T7"/>
                </a:cxn>
                <a:cxn ang="0">
                  <a:pos x="T8" y="T9"/>
                </a:cxn>
                <a:cxn ang="0">
                  <a:pos x="T10" y="T11"/>
                </a:cxn>
              </a:cxnLst>
              <a:rect l="0" t="0" r="r" b="b"/>
              <a:pathLst>
                <a:path w="30" h="1">
                  <a:moveTo>
                    <a:pt x="0" y="0"/>
                  </a:moveTo>
                  <a:lnTo>
                    <a:pt x="0" y="0"/>
                  </a:lnTo>
                  <a:cubicBezTo>
                    <a:pt x="29" y="0"/>
                    <a:pt x="29" y="0"/>
                    <a:pt x="29" y="0"/>
                  </a:cubicBezTo>
                  <a:lnTo>
                    <a:pt x="29" y="0"/>
                  </a:lnTo>
                  <a:lnTo>
                    <a:pt x="29" y="0"/>
                  </a:ln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55" name="Freeform 533">
              <a:extLst>
                <a:ext uri="{FF2B5EF4-FFF2-40B4-BE49-F238E27FC236}">
                  <a16:creationId xmlns:a16="http://schemas.microsoft.com/office/drawing/2014/main" id="{2EDCEE21-BD72-4430-95C3-DC6E8D5AFC1D}"/>
                </a:ext>
              </a:extLst>
            </p:cNvPr>
            <p:cNvSpPr>
              <a:spLocks noChangeArrowheads="1"/>
            </p:cNvSpPr>
            <p:nvPr/>
          </p:nvSpPr>
          <p:spPr bwMode="auto">
            <a:xfrm>
              <a:off x="3649898" y="2633067"/>
              <a:ext cx="22832" cy="32366"/>
            </a:xfrm>
            <a:custGeom>
              <a:avLst/>
              <a:gdLst>
                <a:gd name="T0" fmla="*/ 30 w 60"/>
                <a:gd name="T1" fmla="*/ 30 h 89"/>
                <a:gd name="T2" fmla="*/ 30 w 60"/>
                <a:gd name="T3" fmla="*/ 30 h 89"/>
                <a:gd name="T4" fmla="*/ 59 w 60"/>
                <a:gd name="T5" fmla="*/ 0 h 89"/>
                <a:gd name="T6" fmla="*/ 59 w 60"/>
                <a:gd name="T7" fmla="*/ 0 h 89"/>
                <a:gd name="T8" fmla="*/ 30 w 60"/>
                <a:gd name="T9" fmla="*/ 30 h 89"/>
                <a:gd name="T10" fmla="*/ 0 w 60"/>
                <a:gd name="T11" fmla="*/ 88 h 89"/>
                <a:gd name="T12" fmla="*/ 30 w 60"/>
                <a:gd name="T13" fmla="*/ 30 h 89"/>
              </a:gdLst>
              <a:ahLst/>
              <a:cxnLst>
                <a:cxn ang="0">
                  <a:pos x="T0" y="T1"/>
                </a:cxn>
                <a:cxn ang="0">
                  <a:pos x="T2" y="T3"/>
                </a:cxn>
                <a:cxn ang="0">
                  <a:pos x="T4" y="T5"/>
                </a:cxn>
                <a:cxn ang="0">
                  <a:pos x="T6" y="T7"/>
                </a:cxn>
                <a:cxn ang="0">
                  <a:pos x="T8" y="T9"/>
                </a:cxn>
                <a:cxn ang="0">
                  <a:pos x="T10" y="T11"/>
                </a:cxn>
                <a:cxn ang="0">
                  <a:pos x="T12" y="T13"/>
                </a:cxn>
              </a:cxnLst>
              <a:rect l="0" t="0" r="r" b="b"/>
              <a:pathLst>
                <a:path w="60" h="89">
                  <a:moveTo>
                    <a:pt x="30" y="30"/>
                  </a:moveTo>
                  <a:lnTo>
                    <a:pt x="30" y="30"/>
                  </a:lnTo>
                  <a:cubicBezTo>
                    <a:pt x="59" y="30"/>
                    <a:pt x="59" y="0"/>
                    <a:pt x="59" y="0"/>
                  </a:cubicBezTo>
                  <a:lnTo>
                    <a:pt x="59" y="0"/>
                  </a:lnTo>
                  <a:cubicBezTo>
                    <a:pt x="59" y="0"/>
                    <a:pt x="59" y="30"/>
                    <a:pt x="30" y="30"/>
                  </a:cubicBezTo>
                  <a:cubicBezTo>
                    <a:pt x="0" y="59"/>
                    <a:pt x="0" y="59"/>
                    <a:pt x="0" y="88"/>
                  </a:cubicBezTo>
                  <a:cubicBezTo>
                    <a:pt x="0" y="59"/>
                    <a:pt x="0" y="59"/>
                    <a:pt x="3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56" name="Freeform 534">
              <a:extLst>
                <a:ext uri="{FF2B5EF4-FFF2-40B4-BE49-F238E27FC236}">
                  <a16:creationId xmlns:a16="http://schemas.microsoft.com/office/drawing/2014/main" id="{71D28DB8-AD25-4A89-B48A-E2F5E188C525}"/>
                </a:ext>
              </a:extLst>
            </p:cNvPr>
            <p:cNvSpPr>
              <a:spLocks noChangeArrowheads="1"/>
            </p:cNvSpPr>
            <p:nvPr/>
          </p:nvSpPr>
          <p:spPr bwMode="auto">
            <a:xfrm>
              <a:off x="7771044" y="1456548"/>
              <a:ext cx="53818" cy="21039"/>
            </a:xfrm>
            <a:custGeom>
              <a:avLst/>
              <a:gdLst>
                <a:gd name="T0" fmla="*/ 88 w 146"/>
                <a:gd name="T1" fmla="*/ 0 h 59"/>
                <a:gd name="T2" fmla="*/ 88 w 146"/>
                <a:gd name="T3" fmla="*/ 0 h 59"/>
                <a:gd name="T4" fmla="*/ 145 w 146"/>
                <a:gd name="T5" fmla="*/ 58 h 59"/>
                <a:gd name="T6" fmla="*/ 88 w 146"/>
                <a:gd name="T7" fmla="*/ 0 h 59"/>
                <a:gd name="T8" fmla="*/ 0 w 146"/>
                <a:gd name="T9" fmla="*/ 0 h 59"/>
                <a:gd name="T10" fmla="*/ 0 w 146"/>
                <a:gd name="T11" fmla="*/ 0 h 59"/>
                <a:gd name="T12" fmla="*/ 88 w 14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146" h="59">
                  <a:moveTo>
                    <a:pt x="88" y="0"/>
                  </a:moveTo>
                  <a:lnTo>
                    <a:pt x="88" y="0"/>
                  </a:lnTo>
                  <a:cubicBezTo>
                    <a:pt x="116" y="29"/>
                    <a:pt x="145" y="58"/>
                    <a:pt x="145" y="58"/>
                  </a:cubicBezTo>
                  <a:cubicBezTo>
                    <a:pt x="145" y="58"/>
                    <a:pt x="116" y="29"/>
                    <a:pt x="88" y="0"/>
                  </a:cubicBezTo>
                  <a:cubicBezTo>
                    <a:pt x="58" y="0"/>
                    <a:pt x="29" y="0"/>
                    <a:pt x="0" y="0"/>
                  </a:cubicBezTo>
                  <a:lnTo>
                    <a:pt x="0" y="0"/>
                  </a:lnTo>
                  <a:cubicBezTo>
                    <a:pt x="29" y="0"/>
                    <a:pt x="58" y="0"/>
                    <a:pt x="8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57" name="Freeform 535">
              <a:extLst>
                <a:ext uri="{FF2B5EF4-FFF2-40B4-BE49-F238E27FC236}">
                  <a16:creationId xmlns:a16="http://schemas.microsoft.com/office/drawing/2014/main" id="{3C8049D2-A456-4237-831A-66879A95F8AC}"/>
                </a:ext>
              </a:extLst>
            </p:cNvPr>
            <p:cNvSpPr>
              <a:spLocks noChangeArrowheads="1"/>
            </p:cNvSpPr>
            <p:nvPr/>
          </p:nvSpPr>
          <p:spPr bwMode="auto">
            <a:xfrm>
              <a:off x="3888001" y="1809341"/>
              <a:ext cx="11415" cy="22656"/>
            </a:xfrm>
            <a:custGeom>
              <a:avLst/>
              <a:gdLst>
                <a:gd name="T0" fmla="*/ 28 w 29"/>
                <a:gd name="T1" fmla="*/ 29 h 60"/>
                <a:gd name="T2" fmla="*/ 28 w 29"/>
                <a:gd name="T3" fmla="*/ 29 h 60"/>
                <a:gd name="T4" fmla="*/ 28 w 29"/>
                <a:gd name="T5" fmla="*/ 0 h 60"/>
                <a:gd name="T6" fmla="*/ 28 w 29"/>
                <a:gd name="T7" fmla="*/ 0 h 60"/>
                <a:gd name="T8" fmla="*/ 28 w 29"/>
                <a:gd name="T9" fmla="*/ 0 h 60"/>
                <a:gd name="T10" fmla="*/ 28 w 29"/>
                <a:gd name="T11" fmla="*/ 29 h 60"/>
                <a:gd name="T12" fmla="*/ 0 w 29"/>
                <a:gd name="T13" fmla="*/ 59 h 60"/>
                <a:gd name="T14" fmla="*/ 28 w 29"/>
                <a:gd name="T15" fmla="*/ 29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60">
                  <a:moveTo>
                    <a:pt x="28" y="29"/>
                  </a:moveTo>
                  <a:lnTo>
                    <a:pt x="28" y="29"/>
                  </a:lnTo>
                  <a:cubicBezTo>
                    <a:pt x="28" y="0"/>
                    <a:pt x="28" y="0"/>
                    <a:pt x="28" y="0"/>
                  </a:cubicBezTo>
                  <a:lnTo>
                    <a:pt x="28" y="0"/>
                  </a:lnTo>
                  <a:lnTo>
                    <a:pt x="28" y="0"/>
                  </a:lnTo>
                  <a:cubicBezTo>
                    <a:pt x="28" y="29"/>
                    <a:pt x="28" y="29"/>
                    <a:pt x="28" y="29"/>
                  </a:cubicBezTo>
                  <a:cubicBezTo>
                    <a:pt x="0" y="29"/>
                    <a:pt x="0" y="29"/>
                    <a:pt x="0" y="59"/>
                  </a:cubicBezTo>
                  <a:cubicBezTo>
                    <a:pt x="0" y="29"/>
                    <a:pt x="0" y="29"/>
                    <a:pt x="2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58" name="Freeform 536">
              <a:extLst>
                <a:ext uri="{FF2B5EF4-FFF2-40B4-BE49-F238E27FC236}">
                  <a16:creationId xmlns:a16="http://schemas.microsoft.com/office/drawing/2014/main" id="{511CEC10-098D-4BCF-BC6F-3CA27352CE94}"/>
                </a:ext>
              </a:extLst>
            </p:cNvPr>
            <p:cNvSpPr>
              <a:spLocks noChangeArrowheads="1"/>
            </p:cNvSpPr>
            <p:nvPr/>
          </p:nvSpPr>
          <p:spPr bwMode="auto">
            <a:xfrm>
              <a:off x="6864294" y="1424181"/>
              <a:ext cx="712680" cy="43695"/>
            </a:xfrm>
            <a:custGeom>
              <a:avLst/>
              <a:gdLst>
                <a:gd name="T0" fmla="*/ 1050 w 1925"/>
                <a:gd name="T1" fmla="*/ 59 h 118"/>
                <a:gd name="T2" fmla="*/ 1050 w 1925"/>
                <a:gd name="T3" fmla="*/ 59 h 118"/>
                <a:gd name="T4" fmla="*/ 1924 w 1925"/>
                <a:gd name="T5" fmla="*/ 117 h 118"/>
                <a:gd name="T6" fmla="*/ 1924 w 1925"/>
                <a:gd name="T7" fmla="*/ 117 h 118"/>
                <a:gd name="T8" fmla="*/ 1050 w 1925"/>
                <a:gd name="T9" fmla="*/ 59 h 118"/>
                <a:gd name="T10" fmla="*/ 0 w 1925"/>
                <a:gd name="T11" fmla="*/ 0 h 118"/>
                <a:gd name="T12" fmla="*/ 1050 w 1925"/>
                <a:gd name="T13" fmla="*/ 59 h 118"/>
              </a:gdLst>
              <a:ahLst/>
              <a:cxnLst>
                <a:cxn ang="0">
                  <a:pos x="T0" y="T1"/>
                </a:cxn>
                <a:cxn ang="0">
                  <a:pos x="T2" y="T3"/>
                </a:cxn>
                <a:cxn ang="0">
                  <a:pos x="T4" y="T5"/>
                </a:cxn>
                <a:cxn ang="0">
                  <a:pos x="T6" y="T7"/>
                </a:cxn>
                <a:cxn ang="0">
                  <a:pos x="T8" y="T9"/>
                </a:cxn>
                <a:cxn ang="0">
                  <a:pos x="T10" y="T11"/>
                </a:cxn>
                <a:cxn ang="0">
                  <a:pos x="T12" y="T13"/>
                </a:cxn>
              </a:cxnLst>
              <a:rect l="0" t="0" r="r" b="b"/>
              <a:pathLst>
                <a:path w="1925" h="118">
                  <a:moveTo>
                    <a:pt x="1050" y="59"/>
                  </a:moveTo>
                  <a:lnTo>
                    <a:pt x="1050" y="59"/>
                  </a:lnTo>
                  <a:cubicBezTo>
                    <a:pt x="1341" y="59"/>
                    <a:pt x="1633" y="88"/>
                    <a:pt x="1924" y="117"/>
                  </a:cubicBezTo>
                  <a:lnTo>
                    <a:pt x="1924" y="117"/>
                  </a:lnTo>
                  <a:cubicBezTo>
                    <a:pt x="1633" y="88"/>
                    <a:pt x="1341" y="59"/>
                    <a:pt x="1050" y="59"/>
                  </a:cubicBezTo>
                  <a:cubicBezTo>
                    <a:pt x="700" y="29"/>
                    <a:pt x="350" y="29"/>
                    <a:pt x="0" y="0"/>
                  </a:cubicBezTo>
                  <a:cubicBezTo>
                    <a:pt x="350" y="29"/>
                    <a:pt x="700" y="29"/>
                    <a:pt x="1050"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59" name="Freeform 537">
              <a:extLst>
                <a:ext uri="{FF2B5EF4-FFF2-40B4-BE49-F238E27FC236}">
                  <a16:creationId xmlns:a16="http://schemas.microsoft.com/office/drawing/2014/main" id="{EDA9A5A6-68D4-4E4E-A6A4-951809EAE89E}"/>
                </a:ext>
              </a:extLst>
            </p:cNvPr>
            <p:cNvSpPr>
              <a:spLocks noChangeArrowheads="1"/>
            </p:cNvSpPr>
            <p:nvPr/>
          </p:nvSpPr>
          <p:spPr bwMode="auto">
            <a:xfrm>
              <a:off x="4179922" y="985617"/>
              <a:ext cx="1631" cy="21038"/>
            </a:xfrm>
            <a:custGeom>
              <a:avLst/>
              <a:gdLst>
                <a:gd name="T0" fmla="*/ 0 w 1"/>
                <a:gd name="T1" fmla="*/ 58 h 59"/>
                <a:gd name="T2" fmla="*/ 0 w 1"/>
                <a:gd name="T3" fmla="*/ 58 h 59"/>
                <a:gd name="T4" fmla="*/ 0 w 1"/>
                <a:gd name="T5" fmla="*/ 29 h 59"/>
                <a:gd name="T6" fmla="*/ 0 w 1"/>
                <a:gd name="T7" fmla="*/ 0 h 59"/>
                <a:gd name="T8" fmla="*/ 0 w 1"/>
                <a:gd name="T9" fmla="*/ 29 h 59"/>
                <a:gd name="T10" fmla="*/ 0 w 1"/>
                <a:gd name="T11" fmla="*/ 58 h 59"/>
              </a:gdLst>
              <a:ahLst/>
              <a:cxnLst>
                <a:cxn ang="0">
                  <a:pos x="T0" y="T1"/>
                </a:cxn>
                <a:cxn ang="0">
                  <a:pos x="T2" y="T3"/>
                </a:cxn>
                <a:cxn ang="0">
                  <a:pos x="T4" y="T5"/>
                </a:cxn>
                <a:cxn ang="0">
                  <a:pos x="T6" y="T7"/>
                </a:cxn>
                <a:cxn ang="0">
                  <a:pos x="T8" y="T9"/>
                </a:cxn>
                <a:cxn ang="0">
                  <a:pos x="T10" y="T11"/>
                </a:cxn>
              </a:cxnLst>
              <a:rect l="0" t="0" r="r" b="b"/>
              <a:pathLst>
                <a:path w="1" h="59">
                  <a:moveTo>
                    <a:pt x="0" y="58"/>
                  </a:moveTo>
                  <a:lnTo>
                    <a:pt x="0" y="58"/>
                  </a:lnTo>
                  <a:lnTo>
                    <a:pt x="0" y="29"/>
                  </a:lnTo>
                  <a:cubicBezTo>
                    <a:pt x="0" y="29"/>
                    <a:pt x="0" y="29"/>
                    <a:pt x="0" y="0"/>
                  </a:cubicBezTo>
                  <a:cubicBezTo>
                    <a:pt x="0" y="29"/>
                    <a:pt x="0" y="29"/>
                    <a:pt x="0" y="29"/>
                  </a:cubicBezTo>
                  <a:lnTo>
                    <a:pt x="0" y="5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60" name="Freeform 538">
              <a:extLst>
                <a:ext uri="{FF2B5EF4-FFF2-40B4-BE49-F238E27FC236}">
                  <a16:creationId xmlns:a16="http://schemas.microsoft.com/office/drawing/2014/main" id="{013F2407-51E6-4864-9E89-9495E38A3BE1}"/>
                </a:ext>
              </a:extLst>
            </p:cNvPr>
            <p:cNvSpPr>
              <a:spLocks noChangeArrowheads="1"/>
            </p:cNvSpPr>
            <p:nvPr/>
          </p:nvSpPr>
          <p:spPr bwMode="auto">
            <a:xfrm>
              <a:off x="4168507" y="1017983"/>
              <a:ext cx="11415" cy="11328"/>
            </a:xfrm>
            <a:custGeom>
              <a:avLst/>
              <a:gdLst>
                <a:gd name="T0" fmla="*/ 0 w 31"/>
                <a:gd name="T1" fmla="*/ 28 h 29"/>
                <a:gd name="T2" fmla="*/ 0 w 31"/>
                <a:gd name="T3" fmla="*/ 28 h 29"/>
                <a:gd name="T4" fmla="*/ 30 w 31"/>
                <a:gd name="T5" fmla="*/ 0 h 29"/>
                <a:gd name="T6" fmla="*/ 0 w 31"/>
                <a:gd name="T7" fmla="*/ 28 h 29"/>
              </a:gdLst>
              <a:ahLst/>
              <a:cxnLst>
                <a:cxn ang="0">
                  <a:pos x="T0" y="T1"/>
                </a:cxn>
                <a:cxn ang="0">
                  <a:pos x="T2" y="T3"/>
                </a:cxn>
                <a:cxn ang="0">
                  <a:pos x="T4" y="T5"/>
                </a:cxn>
                <a:cxn ang="0">
                  <a:pos x="T6" y="T7"/>
                </a:cxn>
              </a:cxnLst>
              <a:rect l="0" t="0" r="r" b="b"/>
              <a:pathLst>
                <a:path w="31" h="29">
                  <a:moveTo>
                    <a:pt x="0" y="28"/>
                  </a:moveTo>
                  <a:lnTo>
                    <a:pt x="0" y="28"/>
                  </a:lnTo>
                  <a:cubicBezTo>
                    <a:pt x="30" y="28"/>
                    <a:pt x="30" y="28"/>
                    <a:pt x="30" y="0"/>
                  </a:cubicBezTo>
                  <a:cubicBezTo>
                    <a:pt x="30" y="28"/>
                    <a:pt x="30" y="28"/>
                    <a:pt x="0" y="2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61" name="Freeform 539">
              <a:extLst>
                <a:ext uri="{FF2B5EF4-FFF2-40B4-BE49-F238E27FC236}">
                  <a16:creationId xmlns:a16="http://schemas.microsoft.com/office/drawing/2014/main" id="{83610EC8-0F13-4072-8335-68C16DDECDEE}"/>
                </a:ext>
              </a:extLst>
            </p:cNvPr>
            <p:cNvSpPr>
              <a:spLocks noChangeArrowheads="1"/>
            </p:cNvSpPr>
            <p:nvPr/>
          </p:nvSpPr>
          <p:spPr bwMode="auto">
            <a:xfrm>
              <a:off x="7696025" y="1456548"/>
              <a:ext cx="76650" cy="1619"/>
            </a:xfrm>
            <a:custGeom>
              <a:avLst/>
              <a:gdLst>
                <a:gd name="T0" fmla="*/ 205 w 206"/>
                <a:gd name="T1" fmla="*/ 0 h 1"/>
                <a:gd name="T2" fmla="*/ 205 w 206"/>
                <a:gd name="T3" fmla="*/ 0 h 1"/>
                <a:gd name="T4" fmla="*/ 117 w 206"/>
                <a:gd name="T5" fmla="*/ 0 h 1"/>
                <a:gd name="T6" fmla="*/ 0 w 206"/>
                <a:gd name="T7" fmla="*/ 0 h 1"/>
                <a:gd name="T8" fmla="*/ 117 w 206"/>
                <a:gd name="T9" fmla="*/ 0 h 1"/>
                <a:gd name="T10" fmla="*/ 205 w 206"/>
                <a:gd name="T11" fmla="*/ 0 h 1"/>
              </a:gdLst>
              <a:ahLst/>
              <a:cxnLst>
                <a:cxn ang="0">
                  <a:pos x="T0" y="T1"/>
                </a:cxn>
                <a:cxn ang="0">
                  <a:pos x="T2" y="T3"/>
                </a:cxn>
                <a:cxn ang="0">
                  <a:pos x="T4" y="T5"/>
                </a:cxn>
                <a:cxn ang="0">
                  <a:pos x="T6" y="T7"/>
                </a:cxn>
                <a:cxn ang="0">
                  <a:pos x="T8" y="T9"/>
                </a:cxn>
                <a:cxn ang="0">
                  <a:pos x="T10" y="T11"/>
                </a:cxn>
              </a:cxnLst>
              <a:rect l="0" t="0" r="r" b="b"/>
              <a:pathLst>
                <a:path w="206" h="1">
                  <a:moveTo>
                    <a:pt x="205" y="0"/>
                  </a:moveTo>
                  <a:lnTo>
                    <a:pt x="205" y="0"/>
                  </a:lnTo>
                  <a:cubicBezTo>
                    <a:pt x="176" y="0"/>
                    <a:pt x="146" y="0"/>
                    <a:pt x="117" y="0"/>
                  </a:cubicBezTo>
                  <a:cubicBezTo>
                    <a:pt x="59" y="0"/>
                    <a:pt x="29" y="0"/>
                    <a:pt x="0" y="0"/>
                  </a:cubicBezTo>
                  <a:cubicBezTo>
                    <a:pt x="29" y="0"/>
                    <a:pt x="59" y="0"/>
                    <a:pt x="117" y="0"/>
                  </a:cubicBezTo>
                  <a:cubicBezTo>
                    <a:pt x="146" y="0"/>
                    <a:pt x="176" y="0"/>
                    <a:pt x="20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62" name="Freeform 540">
              <a:extLst>
                <a:ext uri="{FF2B5EF4-FFF2-40B4-BE49-F238E27FC236}">
                  <a16:creationId xmlns:a16="http://schemas.microsoft.com/office/drawing/2014/main" id="{B713FBA4-0DE7-47D1-9F40-8D386F34EAEE}"/>
                </a:ext>
              </a:extLst>
            </p:cNvPr>
            <p:cNvSpPr>
              <a:spLocks noChangeArrowheads="1"/>
            </p:cNvSpPr>
            <p:nvPr/>
          </p:nvSpPr>
          <p:spPr bwMode="auto">
            <a:xfrm>
              <a:off x="7674824" y="1456548"/>
              <a:ext cx="21200" cy="1619"/>
            </a:xfrm>
            <a:custGeom>
              <a:avLst/>
              <a:gdLst>
                <a:gd name="T0" fmla="*/ 28 w 58"/>
                <a:gd name="T1" fmla="*/ 0 h 1"/>
                <a:gd name="T2" fmla="*/ 57 w 58"/>
                <a:gd name="T3" fmla="*/ 0 h 1"/>
                <a:gd name="T4" fmla="*/ 0 w 58"/>
                <a:gd name="T5" fmla="*/ 0 h 1"/>
                <a:gd name="T6" fmla="*/ 28 w 58"/>
                <a:gd name="T7" fmla="*/ 0 h 1"/>
              </a:gdLst>
              <a:ahLst/>
              <a:cxnLst>
                <a:cxn ang="0">
                  <a:pos x="T0" y="T1"/>
                </a:cxn>
                <a:cxn ang="0">
                  <a:pos x="T2" y="T3"/>
                </a:cxn>
                <a:cxn ang="0">
                  <a:pos x="T4" y="T5"/>
                </a:cxn>
                <a:cxn ang="0">
                  <a:pos x="T6" y="T7"/>
                </a:cxn>
              </a:cxnLst>
              <a:rect l="0" t="0" r="r" b="b"/>
              <a:pathLst>
                <a:path w="58" h="1">
                  <a:moveTo>
                    <a:pt x="28" y="0"/>
                  </a:moveTo>
                  <a:lnTo>
                    <a:pt x="57" y="0"/>
                  </a:lnTo>
                  <a:lnTo>
                    <a:pt x="0" y="0"/>
                  </a:lnTo>
                  <a:lnTo>
                    <a:pt x="2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63" name="Freeform 541">
              <a:extLst>
                <a:ext uri="{FF2B5EF4-FFF2-40B4-BE49-F238E27FC236}">
                  <a16:creationId xmlns:a16="http://schemas.microsoft.com/office/drawing/2014/main" id="{7ACFD2F6-AFAF-4D51-97BA-A7D845DBE760}"/>
                </a:ext>
              </a:extLst>
            </p:cNvPr>
            <p:cNvSpPr>
              <a:spLocks noChangeArrowheads="1"/>
            </p:cNvSpPr>
            <p:nvPr/>
          </p:nvSpPr>
          <p:spPr bwMode="auto">
            <a:xfrm>
              <a:off x="4341376" y="1060060"/>
              <a:ext cx="22832" cy="11328"/>
            </a:xfrm>
            <a:custGeom>
              <a:avLst/>
              <a:gdLst>
                <a:gd name="T0" fmla="*/ 59 w 60"/>
                <a:gd name="T1" fmla="*/ 0 h 30"/>
                <a:gd name="T2" fmla="*/ 59 w 60"/>
                <a:gd name="T3" fmla="*/ 0 h 30"/>
                <a:gd name="T4" fmla="*/ 0 w 60"/>
                <a:gd name="T5" fmla="*/ 0 h 30"/>
                <a:gd name="T6" fmla="*/ 59 w 60"/>
                <a:gd name="T7" fmla="*/ 0 h 30"/>
              </a:gdLst>
              <a:ahLst/>
              <a:cxnLst>
                <a:cxn ang="0">
                  <a:pos x="T0" y="T1"/>
                </a:cxn>
                <a:cxn ang="0">
                  <a:pos x="T2" y="T3"/>
                </a:cxn>
                <a:cxn ang="0">
                  <a:pos x="T4" y="T5"/>
                </a:cxn>
                <a:cxn ang="0">
                  <a:pos x="T6" y="T7"/>
                </a:cxn>
              </a:cxnLst>
              <a:rect l="0" t="0" r="r" b="b"/>
              <a:pathLst>
                <a:path w="60" h="30">
                  <a:moveTo>
                    <a:pt x="59" y="0"/>
                  </a:moveTo>
                  <a:lnTo>
                    <a:pt x="59" y="0"/>
                  </a:lnTo>
                  <a:cubicBezTo>
                    <a:pt x="30" y="29"/>
                    <a:pt x="30" y="0"/>
                    <a:pt x="0" y="0"/>
                  </a:cubicBezTo>
                  <a:cubicBezTo>
                    <a:pt x="30" y="0"/>
                    <a:pt x="30" y="29"/>
                    <a:pt x="5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64" name="Freeform 542">
              <a:extLst>
                <a:ext uri="{FF2B5EF4-FFF2-40B4-BE49-F238E27FC236}">
                  <a16:creationId xmlns:a16="http://schemas.microsoft.com/office/drawing/2014/main" id="{14A697A5-CF57-4E18-A8A3-1DB629532D44}"/>
                </a:ext>
              </a:extLst>
            </p:cNvPr>
            <p:cNvSpPr>
              <a:spLocks noChangeArrowheads="1"/>
            </p:cNvSpPr>
            <p:nvPr/>
          </p:nvSpPr>
          <p:spPr bwMode="auto">
            <a:xfrm>
              <a:off x="3953235" y="1713861"/>
              <a:ext cx="11415" cy="32366"/>
            </a:xfrm>
            <a:custGeom>
              <a:avLst/>
              <a:gdLst>
                <a:gd name="T0" fmla="*/ 30 w 31"/>
                <a:gd name="T1" fmla="*/ 0 h 89"/>
                <a:gd name="T2" fmla="*/ 30 w 31"/>
                <a:gd name="T3" fmla="*/ 0 h 89"/>
                <a:gd name="T4" fmla="*/ 0 w 31"/>
                <a:gd name="T5" fmla="*/ 88 h 89"/>
                <a:gd name="T6" fmla="*/ 30 w 31"/>
                <a:gd name="T7" fmla="*/ 0 h 89"/>
              </a:gdLst>
              <a:ahLst/>
              <a:cxnLst>
                <a:cxn ang="0">
                  <a:pos x="T0" y="T1"/>
                </a:cxn>
                <a:cxn ang="0">
                  <a:pos x="T2" y="T3"/>
                </a:cxn>
                <a:cxn ang="0">
                  <a:pos x="T4" y="T5"/>
                </a:cxn>
                <a:cxn ang="0">
                  <a:pos x="T6" y="T7"/>
                </a:cxn>
              </a:cxnLst>
              <a:rect l="0" t="0" r="r" b="b"/>
              <a:pathLst>
                <a:path w="31" h="89">
                  <a:moveTo>
                    <a:pt x="30" y="0"/>
                  </a:moveTo>
                  <a:lnTo>
                    <a:pt x="30" y="0"/>
                  </a:lnTo>
                  <a:cubicBezTo>
                    <a:pt x="30" y="29"/>
                    <a:pt x="0" y="58"/>
                    <a:pt x="0" y="88"/>
                  </a:cubicBezTo>
                  <a:cubicBezTo>
                    <a:pt x="0" y="58"/>
                    <a:pt x="30" y="29"/>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65" name="Freeform 543">
              <a:extLst>
                <a:ext uri="{FF2B5EF4-FFF2-40B4-BE49-F238E27FC236}">
                  <a16:creationId xmlns:a16="http://schemas.microsoft.com/office/drawing/2014/main" id="{94D958F3-EB18-4265-A653-7938E5B555EA}"/>
                </a:ext>
              </a:extLst>
            </p:cNvPr>
            <p:cNvSpPr>
              <a:spLocks noChangeArrowheads="1"/>
            </p:cNvSpPr>
            <p:nvPr/>
          </p:nvSpPr>
          <p:spPr bwMode="auto">
            <a:xfrm>
              <a:off x="4135890" y="1210563"/>
              <a:ext cx="32617" cy="32366"/>
            </a:xfrm>
            <a:custGeom>
              <a:avLst/>
              <a:gdLst>
                <a:gd name="T0" fmla="*/ 57 w 87"/>
                <a:gd name="T1" fmla="*/ 29 h 89"/>
                <a:gd name="T2" fmla="*/ 57 w 87"/>
                <a:gd name="T3" fmla="*/ 29 h 89"/>
                <a:gd name="T4" fmla="*/ 86 w 87"/>
                <a:gd name="T5" fmla="*/ 0 h 89"/>
                <a:gd name="T6" fmla="*/ 57 w 87"/>
                <a:gd name="T7" fmla="*/ 29 h 89"/>
                <a:gd name="T8" fmla="*/ 0 w 87"/>
                <a:gd name="T9" fmla="*/ 88 h 89"/>
                <a:gd name="T10" fmla="*/ 57 w 87"/>
                <a:gd name="T11" fmla="*/ 29 h 89"/>
              </a:gdLst>
              <a:ahLst/>
              <a:cxnLst>
                <a:cxn ang="0">
                  <a:pos x="T0" y="T1"/>
                </a:cxn>
                <a:cxn ang="0">
                  <a:pos x="T2" y="T3"/>
                </a:cxn>
                <a:cxn ang="0">
                  <a:pos x="T4" y="T5"/>
                </a:cxn>
                <a:cxn ang="0">
                  <a:pos x="T6" y="T7"/>
                </a:cxn>
                <a:cxn ang="0">
                  <a:pos x="T8" y="T9"/>
                </a:cxn>
                <a:cxn ang="0">
                  <a:pos x="T10" y="T11"/>
                </a:cxn>
              </a:cxnLst>
              <a:rect l="0" t="0" r="r" b="b"/>
              <a:pathLst>
                <a:path w="87" h="89">
                  <a:moveTo>
                    <a:pt x="57" y="29"/>
                  </a:moveTo>
                  <a:lnTo>
                    <a:pt x="57" y="29"/>
                  </a:lnTo>
                  <a:cubicBezTo>
                    <a:pt x="57" y="0"/>
                    <a:pt x="86" y="0"/>
                    <a:pt x="86" y="0"/>
                  </a:cubicBezTo>
                  <a:cubicBezTo>
                    <a:pt x="86" y="0"/>
                    <a:pt x="57" y="0"/>
                    <a:pt x="57" y="29"/>
                  </a:cubicBezTo>
                  <a:cubicBezTo>
                    <a:pt x="28" y="29"/>
                    <a:pt x="28" y="59"/>
                    <a:pt x="0" y="88"/>
                  </a:cubicBezTo>
                  <a:cubicBezTo>
                    <a:pt x="28" y="59"/>
                    <a:pt x="28" y="29"/>
                    <a:pt x="57"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66" name="Freeform 544">
              <a:extLst>
                <a:ext uri="{FF2B5EF4-FFF2-40B4-BE49-F238E27FC236}">
                  <a16:creationId xmlns:a16="http://schemas.microsoft.com/office/drawing/2014/main" id="{786875C6-D670-458D-8FF8-1AA970CC9C8D}"/>
                </a:ext>
              </a:extLst>
            </p:cNvPr>
            <p:cNvSpPr>
              <a:spLocks noChangeArrowheads="1"/>
            </p:cNvSpPr>
            <p:nvPr/>
          </p:nvSpPr>
          <p:spPr bwMode="auto">
            <a:xfrm>
              <a:off x="3920618" y="1744608"/>
              <a:ext cx="32617" cy="43695"/>
            </a:xfrm>
            <a:custGeom>
              <a:avLst/>
              <a:gdLst>
                <a:gd name="T0" fmla="*/ 87 w 88"/>
                <a:gd name="T1" fmla="*/ 0 h 117"/>
                <a:gd name="T2" fmla="*/ 87 w 88"/>
                <a:gd name="T3" fmla="*/ 0 h 117"/>
                <a:gd name="T4" fmla="*/ 0 w 88"/>
                <a:gd name="T5" fmla="*/ 116 h 117"/>
                <a:gd name="T6" fmla="*/ 87 w 88"/>
                <a:gd name="T7" fmla="*/ 0 h 117"/>
              </a:gdLst>
              <a:ahLst/>
              <a:cxnLst>
                <a:cxn ang="0">
                  <a:pos x="T0" y="T1"/>
                </a:cxn>
                <a:cxn ang="0">
                  <a:pos x="T2" y="T3"/>
                </a:cxn>
                <a:cxn ang="0">
                  <a:pos x="T4" y="T5"/>
                </a:cxn>
                <a:cxn ang="0">
                  <a:pos x="T6" y="T7"/>
                </a:cxn>
              </a:cxnLst>
              <a:rect l="0" t="0" r="r" b="b"/>
              <a:pathLst>
                <a:path w="88" h="117">
                  <a:moveTo>
                    <a:pt x="87" y="0"/>
                  </a:moveTo>
                  <a:lnTo>
                    <a:pt x="87" y="0"/>
                  </a:lnTo>
                  <a:cubicBezTo>
                    <a:pt x="29" y="29"/>
                    <a:pt x="0" y="58"/>
                    <a:pt x="0" y="116"/>
                  </a:cubicBezTo>
                  <a:cubicBezTo>
                    <a:pt x="0" y="58"/>
                    <a:pt x="29" y="29"/>
                    <a:pt x="8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67" name="Freeform 545">
              <a:extLst>
                <a:ext uri="{FF2B5EF4-FFF2-40B4-BE49-F238E27FC236}">
                  <a16:creationId xmlns:a16="http://schemas.microsoft.com/office/drawing/2014/main" id="{EF66725F-3BE6-4645-A4AD-CDD1DB3D78E2}"/>
                </a:ext>
              </a:extLst>
            </p:cNvPr>
            <p:cNvSpPr>
              <a:spLocks noChangeArrowheads="1"/>
            </p:cNvSpPr>
            <p:nvPr/>
          </p:nvSpPr>
          <p:spPr bwMode="auto">
            <a:xfrm>
              <a:off x="4049455" y="1519663"/>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68" name="Freeform 546">
              <a:extLst>
                <a:ext uri="{FF2B5EF4-FFF2-40B4-BE49-F238E27FC236}">
                  <a16:creationId xmlns:a16="http://schemas.microsoft.com/office/drawing/2014/main" id="{4779FCFA-4D74-4D93-9D3F-1B0FC1545224}"/>
                </a:ext>
              </a:extLst>
            </p:cNvPr>
            <p:cNvSpPr>
              <a:spLocks noChangeArrowheads="1"/>
            </p:cNvSpPr>
            <p:nvPr/>
          </p:nvSpPr>
          <p:spPr bwMode="auto">
            <a:xfrm>
              <a:off x="4018469" y="1530990"/>
              <a:ext cx="32617" cy="32366"/>
            </a:xfrm>
            <a:custGeom>
              <a:avLst/>
              <a:gdLst>
                <a:gd name="T0" fmla="*/ 87 w 88"/>
                <a:gd name="T1" fmla="*/ 0 h 88"/>
                <a:gd name="T2" fmla="*/ 87 w 88"/>
                <a:gd name="T3" fmla="*/ 0 h 88"/>
                <a:gd name="T4" fmla="*/ 0 w 88"/>
                <a:gd name="T5" fmla="*/ 87 h 88"/>
                <a:gd name="T6" fmla="*/ 87 w 88"/>
                <a:gd name="T7" fmla="*/ 0 h 88"/>
              </a:gdLst>
              <a:ahLst/>
              <a:cxnLst>
                <a:cxn ang="0">
                  <a:pos x="T0" y="T1"/>
                </a:cxn>
                <a:cxn ang="0">
                  <a:pos x="T2" y="T3"/>
                </a:cxn>
                <a:cxn ang="0">
                  <a:pos x="T4" y="T5"/>
                </a:cxn>
                <a:cxn ang="0">
                  <a:pos x="T6" y="T7"/>
                </a:cxn>
              </a:cxnLst>
              <a:rect l="0" t="0" r="r" b="b"/>
              <a:pathLst>
                <a:path w="88" h="88">
                  <a:moveTo>
                    <a:pt x="87" y="0"/>
                  </a:moveTo>
                  <a:lnTo>
                    <a:pt x="87" y="0"/>
                  </a:lnTo>
                  <a:cubicBezTo>
                    <a:pt x="57" y="29"/>
                    <a:pt x="28" y="58"/>
                    <a:pt x="0" y="87"/>
                  </a:cubicBezTo>
                  <a:cubicBezTo>
                    <a:pt x="28" y="58"/>
                    <a:pt x="57" y="29"/>
                    <a:pt x="8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69" name="Freeform 547">
              <a:extLst>
                <a:ext uri="{FF2B5EF4-FFF2-40B4-BE49-F238E27FC236}">
                  <a16:creationId xmlns:a16="http://schemas.microsoft.com/office/drawing/2014/main" id="{9E95C860-5751-4B04-980B-D7C250636DF4}"/>
                </a:ext>
              </a:extLst>
            </p:cNvPr>
            <p:cNvSpPr>
              <a:spLocks noChangeArrowheads="1"/>
            </p:cNvSpPr>
            <p:nvPr/>
          </p:nvSpPr>
          <p:spPr bwMode="auto">
            <a:xfrm>
              <a:off x="10013457" y="5523386"/>
              <a:ext cx="1630" cy="11328"/>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cubicBezTo>
                    <a:pt x="0" y="29"/>
                    <a:pt x="0" y="29"/>
                    <a:pt x="0" y="29"/>
                  </a:cubicBez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70" name="Freeform 548">
              <a:extLst>
                <a:ext uri="{FF2B5EF4-FFF2-40B4-BE49-F238E27FC236}">
                  <a16:creationId xmlns:a16="http://schemas.microsoft.com/office/drawing/2014/main" id="{4D037FE4-33A9-42C5-9D62-AE9FE25C8FF3}"/>
                </a:ext>
              </a:extLst>
            </p:cNvPr>
            <p:cNvSpPr>
              <a:spLocks noChangeArrowheads="1"/>
            </p:cNvSpPr>
            <p:nvPr/>
          </p:nvSpPr>
          <p:spPr bwMode="auto">
            <a:xfrm>
              <a:off x="10143924" y="5694928"/>
              <a:ext cx="11415" cy="1618"/>
            </a:xfrm>
            <a:custGeom>
              <a:avLst/>
              <a:gdLst>
                <a:gd name="T0" fmla="*/ 0 w 30"/>
                <a:gd name="T1" fmla="*/ 0 h 1"/>
                <a:gd name="T2" fmla="*/ 0 w 30"/>
                <a:gd name="T3" fmla="*/ 0 h 1"/>
                <a:gd name="T4" fmla="*/ 0 w 30"/>
                <a:gd name="T5" fmla="*/ 0 h 1"/>
                <a:gd name="T6" fmla="*/ 29 w 30"/>
                <a:gd name="T7" fmla="*/ 0 h 1"/>
                <a:gd name="T8" fmla="*/ 0 w 30"/>
                <a:gd name="T9" fmla="*/ 0 h 1"/>
              </a:gdLst>
              <a:ahLst/>
              <a:cxnLst>
                <a:cxn ang="0">
                  <a:pos x="T0" y="T1"/>
                </a:cxn>
                <a:cxn ang="0">
                  <a:pos x="T2" y="T3"/>
                </a:cxn>
                <a:cxn ang="0">
                  <a:pos x="T4" y="T5"/>
                </a:cxn>
                <a:cxn ang="0">
                  <a:pos x="T6" y="T7"/>
                </a:cxn>
                <a:cxn ang="0">
                  <a:pos x="T8" y="T9"/>
                </a:cxn>
              </a:cxnLst>
              <a:rect l="0" t="0" r="r" b="b"/>
              <a:pathLst>
                <a:path w="30" h="1">
                  <a:moveTo>
                    <a:pt x="0" y="0"/>
                  </a:moveTo>
                  <a:lnTo>
                    <a:pt x="0" y="0"/>
                  </a:lnTo>
                  <a:lnTo>
                    <a:pt x="0" y="0"/>
                  </a:lnTo>
                  <a:cubicBezTo>
                    <a:pt x="0" y="0"/>
                    <a:pt x="0" y="0"/>
                    <a:pt x="29"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71" name="Freeform 549">
              <a:extLst>
                <a:ext uri="{FF2B5EF4-FFF2-40B4-BE49-F238E27FC236}">
                  <a16:creationId xmlns:a16="http://schemas.microsoft.com/office/drawing/2014/main" id="{816EC6D4-E561-4043-8EA8-BF7136300627}"/>
                </a:ext>
              </a:extLst>
            </p:cNvPr>
            <p:cNvSpPr>
              <a:spLocks noChangeArrowheads="1"/>
            </p:cNvSpPr>
            <p:nvPr/>
          </p:nvSpPr>
          <p:spPr bwMode="auto">
            <a:xfrm>
              <a:off x="10078691" y="5609157"/>
              <a:ext cx="21200" cy="1619"/>
            </a:xfrm>
            <a:custGeom>
              <a:avLst/>
              <a:gdLst>
                <a:gd name="T0" fmla="*/ 0 w 59"/>
                <a:gd name="T1" fmla="*/ 0 h 1"/>
                <a:gd name="T2" fmla="*/ 0 w 59"/>
                <a:gd name="T3" fmla="*/ 0 h 1"/>
                <a:gd name="T4" fmla="*/ 0 w 59"/>
                <a:gd name="T5" fmla="*/ 0 h 1"/>
                <a:gd name="T6" fmla="*/ 0 w 59"/>
                <a:gd name="T7" fmla="*/ 0 h 1"/>
                <a:gd name="T8" fmla="*/ 0 w 59"/>
                <a:gd name="T9" fmla="*/ 0 h 1"/>
                <a:gd name="T10" fmla="*/ 0 w 59"/>
                <a:gd name="T11" fmla="*/ 0 h 1"/>
                <a:gd name="T12" fmla="*/ 58 w 59"/>
                <a:gd name="T13" fmla="*/ 0 h 1"/>
                <a:gd name="T14" fmla="*/ 58 w 59"/>
                <a:gd name="T15" fmla="*/ 0 h 1"/>
                <a:gd name="T16" fmla="*/ 58 w 59"/>
                <a:gd name="T17" fmla="*/ 0 h 1"/>
                <a:gd name="T18" fmla="*/ 0 w 59"/>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
                  <a:moveTo>
                    <a:pt x="0" y="0"/>
                  </a:moveTo>
                  <a:lnTo>
                    <a:pt x="0" y="0"/>
                  </a:lnTo>
                  <a:lnTo>
                    <a:pt x="0" y="0"/>
                  </a:lnTo>
                  <a:lnTo>
                    <a:pt x="0" y="0"/>
                  </a:lnTo>
                  <a:lnTo>
                    <a:pt x="0" y="0"/>
                  </a:lnTo>
                  <a:lnTo>
                    <a:pt x="0" y="0"/>
                  </a:lnTo>
                  <a:cubicBezTo>
                    <a:pt x="29" y="0"/>
                    <a:pt x="58" y="0"/>
                    <a:pt x="58" y="0"/>
                  </a:cubicBezTo>
                  <a:lnTo>
                    <a:pt x="58" y="0"/>
                  </a:lnTo>
                  <a:lnTo>
                    <a:pt x="58" y="0"/>
                  </a:lnTo>
                  <a:cubicBezTo>
                    <a:pt x="58"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72" name="Freeform 550">
              <a:extLst>
                <a:ext uri="{FF2B5EF4-FFF2-40B4-BE49-F238E27FC236}">
                  <a16:creationId xmlns:a16="http://schemas.microsoft.com/office/drawing/2014/main" id="{30A40556-9D3D-43B1-BE12-993CA47F7361}"/>
                </a:ext>
              </a:extLst>
            </p:cNvPr>
            <p:cNvSpPr>
              <a:spLocks noChangeArrowheads="1"/>
            </p:cNvSpPr>
            <p:nvPr/>
          </p:nvSpPr>
          <p:spPr bwMode="auto">
            <a:xfrm>
              <a:off x="10132508" y="5683599"/>
              <a:ext cx="1631" cy="11329"/>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0"/>
                    <a:pt x="0" y="0"/>
                    <a:pt x="0" y="0"/>
                  </a:cubicBezTo>
                  <a:cubicBezTo>
                    <a:pt x="0" y="0"/>
                    <a:pt x="0"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73" name="Freeform 551">
              <a:extLst>
                <a:ext uri="{FF2B5EF4-FFF2-40B4-BE49-F238E27FC236}">
                  <a16:creationId xmlns:a16="http://schemas.microsoft.com/office/drawing/2014/main" id="{A2906731-58D3-4E4C-AF3C-7ECF81A3DDD6}"/>
                </a:ext>
              </a:extLst>
            </p:cNvPr>
            <p:cNvSpPr>
              <a:spLocks noChangeArrowheads="1"/>
            </p:cNvSpPr>
            <p:nvPr/>
          </p:nvSpPr>
          <p:spPr bwMode="auto">
            <a:xfrm>
              <a:off x="10090106" y="5609157"/>
              <a:ext cx="21202" cy="21039"/>
            </a:xfrm>
            <a:custGeom>
              <a:avLst/>
              <a:gdLst>
                <a:gd name="T0" fmla="*/ 29 w 59"/>
                <a:gd name="T1" fmla="*/ 58 h 59"/>
                <a:gd name="T2" fmla="*/ 29 w 59"/>
                <a:gd name="T3" fmla="*/ 58 h 59"/>
                <a:gd name="T4" fmla="*/ 29 w 59"/>
                <a:gd name="T5" fmla="*/ 58 h 59"/>
                <a:gd name="T6" fmla="*/ 29 w 59"/>
                <a:gd name="T7" fmla="*/ 58 h 59"/>
                <a:gd name="T8" fmla="*/ 29 w 59"/>
                <a:gd name="T9" fmla="*/ 0 h 59"/>
                <a:gd name="T10" fmla="*/ 29 w 59"/>
                <a:gd name="T11" fmla="*/ 58 h 59"/>
                <a:gd name="T12" fmla="*/ 29 w 59"/>
                <a:gd name="T13" fmla="*/ 58 h 59"/>
                <a:gd name="T14" fmla="*/ 29 w 59"/>
                <a:gd name="T15" fmla="*/ 58 h 59"/>
                <a:gd name="T16" fmla="*/ 58 w 59"/>
                <a:gd name="T17" fmla="*/ 58 h 59"/>
                <a:gd name="T18" fmla="*/ 58 w 59"/>
                <a:gd name="T19" fmla="*/ 58 h 59"/>
                <a:gd name="T20" fmla="*/ 29 w 59"/>
                <a:gd name="T21" fmla="*/ 5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59">
                  <a:moveTo>
                    <a:pt x="29" y="58"/>
                  </a:moveTo>
                  <a:lnTo>
                    <a:pt x="29" y="58"/>
                  </a:lnTo>
                  <a:lnTo>
                    <a:pt x="29" y="58"/>
                  </a:lnTo>
                  <a:lnTo>
                    <a:pt x="29" y="58"/>
                  </a:lnTo>
                  <a:cubicBezTo>
                    <a:pt x="0" y="29"/>
                    <a:pt x="29" y="29"/>
                    <a:pt x="29" y="0"/>
                  </a:cubicBezTo>
                  <a:cubicBezTo>
                    <a:pt x="29" y="29"/>
                    <a:pt x="0" y="29"/>
                    <a:pt x="29" y="58"/>
                  </a:cubicBezTo>
                  <a:lnTo>
                    <a:pt x="29" y="58"/>
                  </a:lnTo>
                  <a:lnTo>
                    <a:pt x="29" y="58"/>
                  </a:lnTo>
                  <a:lnTo>
                    <a:pt x="58" y="58"/>
                  </a:lnTo>
                  <a:lnTo>
                    <a:pt x="58" y="58"/>
                  </a:lnTo>
                  <a:lnTo>
                    <a:pt x="29" y="5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74" name="Freeform 552">
              <a:extLst>
                <a:ext uri="{FF2B5EF4-FFF2-40B4-BE49-F238E27FC236}">
                  <a16:creationId xmlns:a16="http://schemas.microsoft.com/office/drawing/2014/main" id="{3A33439E-9BA9-4967-9D1B-018F73EEBAAC}"/>
                </a:ext>
              </a:extLst>
            </p:cNvPr>
            <p:cNvSpPr>
              <a:spLocks noChangeArrowheads="1"/>
            </p:cNvSpPr>
            <p:nvPr/>
          </p:nvSpPr>
          <p:spPr bwMode="auto">
            <a:xfrm>
              <a:off x="9344810" y="2034288"/>
              <a:ext cx="11415" cy="11328"/>
            </a:xfrm>
            <a:custGeom>
              <a:avLst/>
              <a:gdLst>
                <a:gd name="T0" fmla="*/ 0 w 31"/>
                <a:gd name="T1" fmla="*/ 29 h 30"/>
                <a:gd name="T2" fmla="*/ 0 w 31"/>
                <a:gd name="T3" fmla="*/ 29 h 30"/>
                <a:gd name="T4" fmla="*/ 30 w 31"/>
                <a:gd name="T5" fmla="*/ 0 h 30"/>
                <a:gd name="T6" fmla="*/ 0 w 31"/>
                <a:gd name="T7" fmla="*/ 29 h 30"/>
              </a:gdLst>
              <a:ahLst/>
              <a:cxnLst>
                <a:cxn ang="0">
                  <a:pos x="T0" y="T1"/>
                </a:cxn>
                <a:cxn ang="0">
                  <a:pos x="T2" y="T3"/>
                </a:cxn>
                <a:cxn ang="0">
                  <a:pos x="T4" y="T5"/>
                </a:cxn>
                <a:cxn ang="0">
                  <a:pos x="T6" y="T7"/>
                </a:cxn>
              </a:cxnLst>
              <a:rect l="0" t="0" r="r" b="b"/>
              <a:pathLst>
                <a:path w="31" h="30">
                  <a:moveTo>
                    <a:pt x="0" y="29"/>
                  </a:moveTo>
                  <a:lnTo>
                    <a:pt x="0" y="29"/>
                  </a:lnTo>
                  <a:lnTo>
                    <a:pt x="3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75" name="Freeform 553">
              <a:extLst>
                <a:ext uri="{FF2B5EF4-FFF2-40B4-BE49-F238E27FC236}">
                  <a16:creationId xmlns:a16="http://schemas.microsoft.com/office/drawing/2014/main" id="{9EB2E194-C0B4-4357-85A0-B6B538C9A387}"/>
                </a:ext>
              </a:extLst>
            </p:cNvPr>
            <p:cNvSpPr>
              <a:spLocks noChangeArrowheads="1"/>
            </p:cNvSpPr>
            <p:nvPr/>
          </p:nvSpPr>
          <p:spPr bwMode="auto">
            <a:xfrm>
              <a:off x="10078691" y="5609157"/>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76" name="Freeform 554">
              <a:extLst>
                <a:ext uri="{FF2B5EF4-FFF2-40B4-BE49-F238E27FC236}">
                  <a16:creationId xmlns:a16="http://schemas.microsoft.com/office/drawing/2014/main" id="{1E9CCA2A-62F2-478D-B5C9-2DBD1D31C23C}"/>
                </a:ext>
              </a:extLst>
            </p:cNvPr>
            <p:cNvSpPr>
              <a:spLocks noChangeArrowheads="1"/>
            </p:cNvSpPr>
            <p:nvPr/>
          </p:nvSpPr>
          <p:spPr bwMode="auto">
            <a:xfrm>
              <a:off x="10218943" y="5748332"/>
              <a:ext cx="21200" cy="11329"/>
            </a:xfrm>
            <a:custGeom>
              <a:avLst/>
              <a:gdLst>
                <a:gd name="T0" fmla="*/ 58 w 59"/>
                <a:gd name="T1" fmla="*/ 0 h 30"/>
                <a:gd name="T2" fmla="*/ 58 w 59"/>
                <a:gd name="T3" fmla="*/ 0 h 30"/>
                <a:gd name="T4" fmla="*/ 29 w 59"/>
                <a:gd name="T5" fmla="*/ 29 h 30"/>
                <a:gd name="T6" fmla="*/ 29 w 59"/>
                <a:gd name="T7" fmla="*/ 29 h 30"/>
                <a:gd name="T8" fmla="*/ 0 w 59"/>
                <a:gd name="T9" fmla="*/ 29 h 30"/>
                <a:gd name="T10" fmla="*/ 29 w 59"/>
                <a:gd name="T11" fmla="*/ 29 h 30"/>
                <a:gd name="T12" fmla="*/ 29 w 59"/>
                <a:gd name="T13" fmla="*/ 29 h 30"/>
                <a:gd name="T14" fmla="*/ 58 w 59"/>
                <a:gd name="T15" fmla="*/ 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0">
                  <a:moveTo>
                    <a:pt x="58" y="0"/>
                  </a:moveTo>
                  <a:lnTo>
                    <a:pt x="58" y="0"/>
                  </a:lnTo>
                  <a:cubicBezTo>
                    <a:pt x="29" y="29"/>
                    <a:pt x="29" y="29"/>
                    <a:pt x="29" y="29"/>
                  </a:cubicBezTo>
                  <a:lnTo>
                    <a:pt x="29" y="29"/>
                  </a:lnTo>
                  <a:lnTo>
                    <a:pt x="0" y="29"/>
                  </a:lnTo>
                  <a:lnTo>
                    <a:pt x="29" y="29"/>
                  </a:lnTo>
                  <a:lnTo>
                    <a:pt x="29" y="29"/>
                  </a:lnTo>
                  <a:cubicBezTo>
                    <a:pt x="58" y="0"/>
                    <a:pt x="58" y="0"/>
                    <a:pt x="5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77" name="Freeform 555">
              <a:extLst>
                <a:ext uri="{FF2B5EF4-FFF2-40B4-BE49-F238E27FC236}">
                  <a16:creationId xmlns:a16="http://schemas.microsoft.com/office/drawing/2014/main" id="{98CDF770-833A-4C5A-944B-C20BBCC1FD2F}"/>
                </a:ext>
              </a:extLst>
            </p:cNvPr>
            <p:cNvSpPr>
              <a:spLocks noChangeArrowheads="1"/>
            </p:cNvSpPr>
            <p:nvPr/>
          </p:nvSpPr>
          <p:spPr bwMode="auto">
            <a:xfrm>
              <a:off x="10207527" y="5704638"/>
              <a:ext cx="1631" cy="11328"/>
            </a:xfrm>
            <a:custGeom>
              <a:avLst/>
              <a:gdLst>
                <a:gd name="T0" fmla="*/ 0 w 1"/>
                <a:gd name="T1" fmla="*/ 0 h 29"/>
                <a:gd name="T2" fmla="*/ 0 w 1"/>
                <a:gd name="T3" fmla="*/ 0 h 29"/>
                <a:gd name="T4" fmla="*/ 0 w 1"/>
                <a:gd name="T5" fmla="*/ 28 h 29"/>
                <a:gd name="T6" fmla="*/ 0 w 1"/>
                <a:gd name="T7" fmla="*/ 0 h 29"/>
              </a:gdLst>
              <a:ahLst/>
              <a:cxnLst>
                <a:cxn ang="0">
                  <a:pos x="T0" y="T1"/>
                </a:cxn>
                <a:cxn ang="0">
                  <a:pos x="T2" y="T3"/>
                </a:cxn>
                <a:cxn ang="0">
                  <a:pos x="T4" y="T5"/>
                </a:cxn>
                <a:cxn ang="0">
                  <a:pos x="T6" y="T7"/>
                </a:cxn>
              </a:cxnLst>
              <a:rect l="0" t="0" r="r" b="b"/>
              <a:pathLst>
                <a:path w="1" h="29">
                  <a:moveTo>
                    <a:pt x="0" y="0"/>
                  </a:moveTo>
                  <a:lnTo>
                    <a:pt x="0" y="0"/>
                  </a:lnTo>
                  <a:lnTo>
                    <a:pt x="0" y="28"/>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78" name="Freeform 556">
              <a:extLst>
                <a:ext uri="{FF2B5EF4-FFF2-40B4-BE49-F238E27FC236}">
                  <a16:creationId xmlns:a16="http://schemas.microsoft.com/office/drawing/2014/main" id="{6B93800F-1EBE-45E6-8FB0-B8B3B87D2DA9}"/>
                </a:ext>
              </a:extLst>
            </p:cNvPr>
            <p:cNvSpPr>
              <a:spLocks noChangeArrowheads="1"/>
            </p:cNvSpPr>
            <p:nvPr/>
          </p:nvSpPr>
          <p:spPr bwMode="auto">
            <a:xfrm>
              <a:off x="10284177" y="5683599"/>
              <a:ext cx="22832" cy="32366"/>
            </a:xfrm>
            <a:custGeom>
              <a:avLst/>
              <a:gdLst>
                <a:gd name="T0" fmla="*/ 59 w 60"/>
                <a:gd name="T1" fmla="*/ 29 h 87"/>
                <a:gd name="T2" fmla="*/ 59 w 60"/>
                <a:gd name="T3" fmla="*/ 29 h 87"/>
                <a:gd name="T4" fmla="*/ 0 w 60"/>
                <a:gd name="T5" fmla="*/ 86 h 87"/>
                <a:gd name="T6" fmla="*/ 59 w 60"/>
                <a:gd name="T7" fmla="*/ 29 h 87"/>
                <a:gd name="T8" fmla="*/ 59 w 60"/>
                <a:gd name="T9" fmla="*/ 0 h 87"/>
                <a:gd name="T10" fmla="*/ 59 w 60"/>
                <a:gd name="T11" fmla="*/ 0 h 87"/>
                <a:gd name="T12" fmla="*/ 59 w 60"/>
                <a:gd name="T13" fmla="*/ 29 h 87"/>
              </a:gdLst>
              <a:ahLst/>
              <a:cxnLst>
                <a:cxn ang="0">
                  <a:pos x="T0" y="T1"/>
                </a:cxn>
                <a:cxn ang="0">
                  <a:pos x="T2" y="T3"/>
                </a:cxn>
                <a:cxn ang="0">
                  <a:pos x="T4" y="T5"/>
                </a:cxn>
                <a:cxn ang="0">
                  <a:pos x="T6" y="T7"/>
                </a:cxn>
                <a:cxn ang="0">
                  <a:pos x="T8" y="T9"/>
                </a:cxn>
                <a:cxn ang="0">
                  <a:pos x="T10" y="T11"/>
                </a:cxn>
                <a:cxn ang="0">
                  <a:pos x="T12" y="T13"/>
                </a:cxn>
              </a:cxnLst>
              <a:rect l="0" t="0" r="r" b="b"/>
              <a:pathLst>
                <a:path w="60" h="87">
                  <a:moveTo>
                    <a:pt x="59" y="29"/>
                  </a:moveTo>
                  <a:lnTo>
                    <a:pt x="59" y="29"/>
                  </a:lnTo>
                  <a:cubicBezTo>
                    <a:pt x="29" y="58"/>
                    <a:pt x="29" y="58"/>
                    <a:pt x="0" y="86"/>
                  </a:cubicBezTo>
                  <a:cubicBezTo>
                    <a:pt x="29" y="58"/>
                    <a:pt x="29" y="58"/>
                    <a:pt x="59" y="29"/>
                  </a:cubicBezTo>
                  <a:cubicBezTo>
                    <a:pt x="59" y="0"/>
                    <a:pt x="59" y="0"/>
                    <a:pt x="59" y="0"/>
                  </a:cubicBezTo>
                  <a:lnTo>
                    <a:pt x="59" y="0"/>
                  </a:lnTo>
                  <a:lnTo>
                    <a:pt x="5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79" name="Freeform 557">
              <a:extLst>
                <a:ext uri="{FF2B5EF4-FFF2-40B4-BE49-F238E27FC236}">
                  <a16:creationId xmlns:a16="http://schemas.microsoft.com/office/drawing/2014/main" id="{80F9B9A2-5182-499F-B71A-6D081232FF3E}"/>
                </a:ext>
              </a:extLst>
            </p:cNvPr>
            <p:cNvSpPr>
              <a:spLocks noChangeArrowheads="1"/>
            </p:cNvSpPr>
            <p:nvPr/>
          </p:nvSpPr>
          <p:spPr bwMode="auto">
            <a:xfrm>
              <a:off x="10326579" y="5533096"/>
              <a:ext cx="1630" cy="22656"/>
            </a:xfrm>
            <a:custGeom>
              <a:avLst/>
              <a:gdLst>
                <a:gd name="T0" fmla="*/ 0 w 1"/>
                <a:gd name="T1" fmla="*/ 59 h 60"/>
                <a:gd name="T2" fmla="*/ 0 w 1"/>
                <a:gd name="T3" fmla="*/ 59 h 60"/>
                <a:gd name="T4" fmla="*/ 0 w 1"/>
                <a:gd name="T5" fmla="*/ 0 h 60"/>
                <a:gd name="T6" fmla="*/ 0 w 1"/>
                <a:gd name="T7" fmla="*/ 59 h 60"/>
              </a:gdLst>
              <a:ahLst/>
              <a:cxnLst>
                <a:cxn ang="0">
                  <a:pos x="T0" y="T1"/>
                </a:cxn>
                <a:cxn ang="0">
                  <a:pos x="T2" y="T3"/>
                </a:cxn>
                <a:cxn ang="0">
                  <a:pos x="T4" y="T5"/>
                </a:cxn>
                <a:cxn ang="0">
                  <a:pos x="T6" y="T7"/>
                </a:cxn>
              </a:cxnLst>
              <a:rect l="0" t="0" r="r" b="b"/>
              <a:pathLst>
                <a:path w="1" h="60">
                  <a:moveTo>
                    <a:pt x="0" y="59"/>
                  </a:moveTo>
                  <a:lnTo>
                    <a:pt x="0" y="59"/>
                  </a:lnTo>
                  <a:cubicBezTo>
                    <a:pt x="0" y="59"/>
                    <a:pt x="0" y="29"/>
                    <a:pt x="0" y="0"/>
                  </a:cubicBezTo>
                  <a:cubicBezTo>
                    <a:pt x="0" y="29"/>
                    <a:pt x="0" y="59"/>
                    <a:pt x="0"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80" name="Freeform 558">
              <a:extLst>
                <a:ext uri="{FF2B5EF4-FFF2-40B4-BE49-F238E27FC236}">
                  <a16:creationId xmlns:a16="http://schemas.microsoft.com/office/drawing/2014/main" id="{FFCAAF3C-7A04-4680-9395-D5D4C47A0D68}"/>
                </a:ext>
              </a:extLst>
            </p:cNvPr>
            <p:cNvSpPr>
              <a:spLocks noChangeArrowheads="1"/>
            </p:cNvSpPr>
            <p:nvPr/>
          </p:nvSpPr>
          <p:spPr bwMode="auto">
            <a:xfrm>
              <a:off x="10240144" y="5725676"/>
              <a:ext cx="11416" cy="11329"/>
            </a:xfrm>
            <a:custGeom>
              <a:avLst/>
              <a:gdLst>
                <a:gd name="T0" fmla="*/ 0 w 30"/>
                <a:gd name="T1" fmla="*/ 29 h 30"/>
                <a:gd name="T2" fmla="*/ 0 w 30"/>
                <a:gd name="T3" fmla="*/ 29 h 30"/>
                <a:gd name="T4" fmla="*/ 0 w 30"/>
                <a:gd name="T5" fmla="*/ 29 h 30"/>
                <a:gd name="T6" fmla="*/ 0 w 30"/>
                <a:gd name="T7" fmla="*/ 29 h 30"/>
                <a:gd name="T8" fmla="*/ 29 w 30"/>
                <a:gd name="T9" fmla="*/ 0 h 30"/>
                <a:gd name="T10" fmla="*/ 0 w 30"/>
                <a:gd name="T11" fmla="*/ 29 h 30"/>
              </a:gdLst>
              <a:ahLst/>
              <a:cxnLst>
                <a:cxn ang="0">
                  <a:pos x="T0" y="T1"/>
                </a:cxn>
                <a:cxn ang="0">
                  <a:pos x="T2" y="T3"/>
                </a:cxn>
                <a:cxn ang="0">
                  <a:pos x="T4" y="T5"/>
                </a:cxn>
                <a:cxn ang="0">
                  <a:pos x="T6" y="T7"/>
                </a:cxn>
                <a:cxn ang="0">
                  <a:pos x="T8" y="T9"/>
                </a:cxn>
                <a:cxn ang="0">
                  <a:pos x="T10" y="T11"/>
                </a:cxn>
              </a:cxnLst>
              <a:rect l="0" t="0" r="r" b="b"/>
              <a:pathLst>
                <a:path w="30" h="30">
                  <a:moveTo>
                    <a:pt x="0" y="29"/>
                  </a:moveTo>
                  <a:lnTo>
                    <a:pt x="0" y="29"/>
                  </a:lnTo>
                  <a:lnTo>
                    <a:pt x="0" y="29"/>
                  </a:lnTo>
                  <a:lnTo>
                    <a:pt x="0" y="29"/>
                  </a:lnTo>
                  <a:cubicBezTo>
                    <a:pt x="0" y="29"/>
                    <a:pt x="0" y="29"/>
                    <a:pt x="29"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81" name="Freeform 559">
              <a:extLst>
                <a:ext uri="{FF2B5EF4-FFF2-40B4-BE49-F238E27FC236}">
                  <a16:creationId xmlns:a16="http://schemas.microsoft.com/office/drawing/2014/main" id="{81C734C7-3032-4DB5-A4C0-B05A5F8E6EE4}"/>
                </a:ext>
              </a:extLst>
            </p:cNvPr>
            <p:cNvSpPr>
              <a:spLocks noChangeArrowheads="1"/>
            </p:cNvSpPr>
            <p:nvPr/>
          </p:nvSpPr>
          <p:spPr bwMode="auto">
            <a:xfrm>
              <a:off x="10326579" y="4142959"/>
              <a:ext cx="11415" cy="32366"/>
            </a:xfrm>
            <a:custGeom>
              <a:avLst/>
              <a:gdLst>
                <a:gd name="T0" fmla="*/ 0 w 30"/>
                <a:gd name="T1" fmla="*/ 29 h 88"/>
                <a:gd name="T2" fmla="*/ 0 w 30"/>
                <a:gd name="T3" fmla="*/ 29 h 88"/>
                <a:gd name="T4" fmla="*/ 0 w 30"/>
                <a:gd name="T5" fmla="*/ 87 h 88"/>
                <a:gd name="T6" fmla="*/ 0 w 30"/>
                <a:gd name="T7" fmla="*/ 29 h 88"/>
                <a:gd name="T8" fmla="*/ 29 w 30"/>
                <a:gd name="T9" fmla="*/ 0 h 88"/>
                <a:gd name="T10" fmla="*/ 0 w 30"/>
                <a:gd name="T11" fmla="*/ 29 h 88"/>
              </a:gdLst>
              <a:ahLst/>
              <a:cxnLst>
                <a:cxn ang="0">
                  <a:pos x="T0" y="T1"/>
                </a:cxn>
                <a:cxn ang="0">
                  <a:pos x="T2" y="T3"/>
                </a:cxn>
                <a:cxn ang="0">
                  <a:pos x="T4" y="T5"/>
                </a:cxn>
                <a:cxn ang="0">
                  <a:pos x="T6" y="T7"/>
                </a:cxn>
                <a:cxn ang="0">
                  <a:pos x="T8" y="T9"/>
                </a:cxn>
                <a:cxn ang="0">
                  <a:pos x="T10" y="T11"/>
                </a:cxn>
              </a:cxnLst>
              <a:rect l="0" t="0" r="r" b="b"/>
              <a:pathLst>
                <a:path w="30" h="88">
                  <a:moveTo>
                    <a:pt x="0" y="29"/>
                  </a:moveTo>
                  <a:lnTo>
                    <a:pt x="0" y="29"/>
                  </a:lnTo>
                  <a:cubicBezTo>
                    <a:pt x="0" y="58"/>
                    <a:pt x="0" y="58"/>
                    <a:pt x="0" y="87"/>
                  </a:cubicBezTo>
                  <a:cubicBezTo>
                    <a:pt x="0" y="58"/>
                    <a:pt x="0" y="58"/>
                    <a:pt x="0" y="29"/>
                  </a:cubicBezTo>
                  <a:cubicBezTo>
                    <a:pt x="29" y="29"/>
                    <a:pt x="29" y="29"/>
                    <a:pt x="29" y="0"/>
                  </a:cubicBezTo>
                  <a:cubicBezTo>
                    <a:pt x="29" y="29"/>
                    <a:pt x="29"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82" name="Freeform 560">
              <a:extLst>
                <a:ext uri="{FF2B5EF4-FFF2-40B4-BE49-F238E27FC236}">
                  <a16:creationId xmlns:a16="http://schemas.microsoft.com/office/drawing/2014/main" id="{03BEFEEB-8746-441C-ABA1-8EB5194A4493}"/>
                </a:ext>
              </a:extLst>
            </p:cNvPr>
            <p:cNvSpPr>
              <a:spLocks noChangeArrowheads="1"/>
            </p:cNvSpPr>
            <p:nvPr/>
          </p:nvSpPr>
          <p:spPr bwMode="auto">
            <a:xfrm>
              <a:off x="10143924" y="5715966"/>
              <a:ext cx="65234" cy="43695"/>
            </a:xfrm>
            <a:custGeom>
              <a:avLst/>
              <a:gdLst>
                <a:gd name="T0" fmla="*/ 0 w 176"/>
                <a:gd name="T1" fmla="*/ 59 h 118"/>
                <a:gd name="T2" fmla="*/ 0 w 176"/>
                <a:gd name="T3" fmla="*/ 59 h 118"/>
                <a:gd name="T4" fmla="*/ 0 w 176"/>
                <a:gd name="T5" fmla="*/ 59 h 118"/>
                <a:gd name="T6" fmla="*/ 0 w 176"/>
                <a:gd name="T7" fmla="*/ 59 h 118"/>
                <a:gd name="T8" fmla="*/ 88 w 176"/>
                <a:gd name="T9" fmla="*/ 0 h 118"/>
                <a:gd name="T10" fmla="*/ 175 w 176"/>
                <a:gd name="T11" fmla="*/ 0 h 118"/>
                <a:gd name="T12" fmla="*/ 88 w 176"/>
                <a:gd name="T13" fmla="*/ 0 h 118"/>
                <a:gd name="T14" fmla="*/ 0 w 176"/>
                <a:gd name="T15" fmla="*/ 59 h 118"/>
                <a:gd name="T16" fmla="*/ 0 w 176"/>
                <a:gd name="T17" fmla="*/ 59 h 118"/>
                <a:gd name="T18" fmla="*/ 0 w 176"/>
                <a:gd name="T19" fmla="*/ 59 h 118"/>
                <a:gd name="T20" fmla="*/ 88 w 176"/>
                <a:gd name="T21" fmla="*/ 117 h 118"/>
                <a:gd name="T22" fmla="*/ 88 w 176"/>
                <a:gd name="T23" fmla="*/ 117 h 118"/>
                <a:gd name="T24" fmla="*/ 0 w 176"/>
                <a:gd name="T25" fmla="*/ 5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6" h="118">
                  <a:moveTo>
                    <a:pt x="0" y="59"/>
                  </a:moveTo>
                  <a:lnTo>
                    <a:pt x="0" y="59"/>
                  </a:lnTo>
                  <a:lnTo>
                    <a:pt x="0" y="59"/>
                  </a:lnTo>
                  <a:lnTo>
                    <a:pt x="0" y="59"/>
                  </a:lnTo>
                  <a:cubicBezTo>
                    <a:pt x="0" y="30"/>
                    <a:pt x="58" y="0"/>
                    <a:pt x="88" y="0"/>
                  </a:cubicBezTo>
                  <a:cubicBezTo>
                    <a:pt x="146" y="0"/>
                    <a:pt x="175" y="0"/>
                    <a:pt x="175" y="0"/>
                  </a:cubicBezTo>
                  <a:cubicBezTo>
                    <a:pt x="175" y="0"/>
                    <a:pt x="146" y="0"/>
                    <a:pt x="88" y="0"/>
                  </a:cubicBezTo>
                  <a:cubicBezTo>
                    <a:pt x="58" y="0"/>
                    <a:pt x="0" y="30"/>
                    <a:pt x="0" y="59"/>
                  </a:cubicBezTo>
                  <a:lnTo>
                    <a:pt x="0" y="59"/>
                  </a:lnTo>
                  <a:lnTo>
                    <a:pt x="0" y="59"/>
                  </a:lnTo>
                  <a:cubicBezTo>
                    <a:pt x="29" y="88"/>
                    <a:pt x="58" y="117"/>
                    <a:pt x="88" y="117"/>
                  </a:cubicBezTo>
                  <a:lnTo>
                    <a:pt x="88" y="117"/>
                  </a:lnTo>
                  <a:cubicBezTo>
                    <a:pt x="58" y="117"/>
                    <a:pt x="29" y="88"/>
                    <a:pt x="0"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83" name="Freeform 561">
              <a:extLst>
                <a:ext uri="{FF2B5EF4-FFF2-40B4-BE49-F238E27FC236}">
                  <a16:creationId xmlns:a16="http://schemas.microsoft.com/office/drawing/2014/main" id="{A6CDDF0E-3E3A-41A9-95BF-3E4413410D19}"/>
                </a:ext>
              </a:extLst>
            </p:cNvPr>
            <p:cNvSpPr>
              <a:spLocks noChangeArrowheads="1"/>
            </p:cNvSpPr>
            <p:nvPr/>
          </p:nvSpPr>
          <p:spPr bwMode="auto">
            <a:xfrm>
              <a:off x="10013457" y="5544424"/>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84" name="Freeform 562">
              <a:extLst>
                <a:ext uri="{FF2B5EF4-FFF2-40B4-BE49-F238E27FC236}">
                  <a16:creationId xmlns:a16="http://schemas.microsoft.com/office/drawing/2014/main" id="{DB548723-0DB4-4346-B234-A8C66A462CF2}"/>
                </a:ext>
              </a:extLst>
            </p:cNvPr>
            <p:cNvSpPr>
              <a:spLocks noChangeArrowheads="1"/>
            </p:cNvSpPr>
            <p:nvPr/>
          </p:nvSpPr>
          <p:spPr bwMode="auto">
            <a:xfrm>
              <a:off x="9819386" y="5277402"/>
              <a:ext cx="44033" cy="32366"/>
            </a:xfrm>
            <a:custGeom>
              <a:avLst/>
              <a:gdLst>
                <a:gd name="T0" fmla="*/ 116 w 117"/>
                <a:gd name="T1" fmla="*/ 88 h 89"/>
                <a:gd name="T2" fmla="*/ 116 w 117"/>
                <a:gd name="T3" fmla="*/ 88 h 89"/>
                <a:gd name="T4" fmla="*/ 87 w 117"/>
                <a:gd name="T5" fmla="*/ 59 h 89"/>
                <a:gd name="T6" fmla="*/ 29 w 117"/>
                <a:gd name="T7" fmla="*/ 0 h 89"/>
                <a:gd name="T8" fmla="*/ 0 w 117"/>
                <a:gd name="T9" fmla="*/ 0 h 89"/>
                <a:gd name="T10" fmla="*/ 29 w 117"/>
                <a:gd name="T11" fmla="*/ 0 h 89"/>
                <a:gd name="T12" fmla="*/ 87 w 117"/>
                <a:gd name="T13" fmla="*/ 59 h 89"/>
                <a:gd name="T14" fmla="*/ 116 w 117"/>
                <a:gd name="T15" fmla="*/ 88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89">
                  <a:moveTo>
                    <a:pt x="116" y="88"/>
                  </a:moveTo>
                  <a:lnTo>
                    <a:pt x="116" y="88"/>
                  </a:lnTo>
                  <a:lnTo>
                    <a:pt x="87" y="59"/>
                  </a:lnTo>
                  <a:cubicBezTo>
                    <a:pt x="87" y="29"/>
                    <a:pt x="58" y="0"/>
                    <a:pt x="29" y="0"/>
                  </a:cubicBezTo>
                  <a:cubicBezTo>
                    <a:pt x="0" y="0"/>
                    <a:pt x="0" y="0"/>
                    <a:pt x="0" y="0"/>
                  </a:cubicBezTo>
                  <a:cubicBezTo>
                    <a:pt x="29" y="0"/>
                    <a:pt x="29" y="0"/>
                    <a:pt x="29" y="0"/>
                  </a:cubicBezTo>
                  <a:cubicBezTo>
                    <a:pt x="58" y="0"/>
                    <a:pt x="87" y="29"/>
                    <a:pt x="87" y="59"/>
                  </a:cubicBezTo>
                  <a:lnTo>
                    <a:pt x="116" y="8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85" name="Freeform 563">
              <a:extLst>
                <a:ext uri="{FF2B5EF4-FFF2-40B4-BE49-F238E27FC236}">
                  <a16:creationId xmlns:a16="http://schemas.microsoft.com/office/drawing/2014/main" id="{5FBE46D0-98AC-4662-8F3E-E7F59C944636}"/>
                </a:ext>
              </a:extLst>
            </p:cNvPr>
            <p:cNvSpPr>
              <a:spLocks noChangeArrowheads="1"/>
            </p:cNvSpPr>
            <p:nvPr/>
          </p:nvSpPr>
          <p:spPr bwMode="auto">
            <a:xfrm>
              <a:off x="9819386" y="5256363"/>
              <a:ext cx="1631" cy="21039"/>
            </a:xfrm>
            <a:custGeom>
              <a:avLst/>
              <a:gdLst>
                <a:gd name="T0" fmla="*/ 0 w 1"/>
                <a:gd name="T1" fmla="*/ 58 h 59"/>
                <a:gd name="T2" fmla="*/ 0 w 1"/>
                <a:gd name="T3" fmla="*/ 58 h 59"/>
                <a:gd name="T4" fmla="*/ 0 w 1"/>
                <a:gd name="T5" fmla="*/ 0 h 59"/>
                <a:gd name="T6" fmla="*/ 0 w 1"/>
                <a:gd name="T7" fmla="*/ 58 h 59"/>
              </a:gdLst>
              <a:ahLst/>
              <a:cxnLst>
                <a:cxn ang="0">
                  <a:pos x="T0" y="T1"/>
                </a:cxn>
                <a:cxn ang="0">
                  <a:pos x="T2" y="T3"/>
                </a:cxn>
                <a:cxn ang="0">
                  <a:pos x="T4" y="T5"/>
                </a:cxn>
                <a:cxn ang="0">
                  <a:pos x="T6" y="T7"/>
                </a:cxn>
              </a:cxnLst>
              <a:rect l="0" t="0" r="r" b="b"/>
              <a:pathLst>
                <a:path w="1" h="59">
                  <a:moveTo>
                    <a:pt x="0" y="58"/>
                  </a:moveTo>
                  <a:lnTo>
                    <a:pt x="0" y="58"/>
                  </a:lnTo>
                  <a:cubicBezTo>
                    <a:pt x="0" y="29"/>
                    <a:pt x="0" y="29"/>
                    <a:pt x="0" y="0"/>
                  </a:cubicBezTo>
                  <a:cubicBezTo>
                    <a:pt x="0" y="29"/>
                    <a:pt x="0" y="29"/>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86" name="Freeform 564">
              <a:extLst>
                <a:ext uri="{FF2B5EF4-FFF2-40B4-BE49-F238E27FC236}">
                  <a16:creationId xmlns:a16="http://schemas.microsoft.com/office/drawing/2014/main" id="{914027B0-27A3-4285-9C78-DDDB6969242B}"/>
                </a:ext>
              </a:extLst>
            </p:cNvPr>
            <p:cNvSpPr>
              <a:spLocks noChangeArrowheads="1"/>
            </p:cNvSpPr>
            <p:nvPr/>
          </p:nvSpPr>
          <p:spPr bwMode="auto">
            <a:xfrm>
              <a:off x="9852003" y="5340516"/>
              <a:ext cx="22832" cy="21039"/>
            </a:xfrm>
            <a:custGeom>
              <a:avLst/>
              <a:gdLst>
                <a:gd name="T0" fmla="*/ 29 w 60"/>
                <a:gd name="T1" fmla="*/ 29 h 59"/>
                <a:gd name="T2" fmla="*/ 29 w 60"/>
                <a:gd name="T3" fmla="*/ 29 h 59"/>
                <a:gd name="T4" fmla="*/ 0 w 60"/>
                <a:gd name="T5" fmla="*/ 0 h 59"/>
                <a:gd name="T6" fmla="*/ 59 w 60"/>
                <a:gd name="T7" fmla="*/ 0 h 59"/>
                <a:gd name="T8" fmla="*/ 59 w 60"/>
                <a:gd name="T9" fmla="*/ 0 h 59"/>
                <a:gd name="T10" fmla="*/ 59 w 60"/>
                <a:gd name="T11" fmla="*/ 0 h 59"/>
                <a:gd name="T12" fmla="*/ 0 w 60"/>
                <a:gd name="T13" fmla="*/ 0 h 59"/>
                <a:gd name="T14" fmla="*/ 29 w 60"/>
                <a:gd name="T15" fmla="*/ 29 h 59"/>
                <a:gd name="T16" fmla="*/ 59 w 60"/>
                <a:gd name="T17" fmla="*/ 58 h 59"/>
                <a:gd name="T18" fmla="*/ 29 w 60"/>
                <a:gd name="T19" fmla="*/ 2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59">
                  <a:moveTo>
                    <a:pt x="29" y="29"/>
                  </a:moveTo>
                  <a:lnTo>
                    <a:pt x="29" y="29"/>
                  </a:lnTo>
                  <a:cubicBezTo>
                    <a:pt x="0" y="0"/>
                    <a:pt x="0" y="0"/>
                    <a:pt x="0" y="0"/>
                  </a:cubicBezTo>
                  <a:cubicBezTo>
                    <a:pt x="59" y="0"/>
                    <a:pt x="59" y="0"/>
                    <a:pt x="59" y="0"/>
                  </a:cubicBezTo>
                  <a:lnTo>
                    <a:pt x="59" y="0"/>
                  </a:lnTo>
                  <a:lnTo>
                    <a:pt x="59" y="0"/>
                  </a:lnTo>
                  <a:cubicBezTo>
                    <a:pt x="0" y="0"/>
                    <a:pt x="0" y="0"/>
                    <a:pt x="0" y="0"/>
                  </a:cubicBezTo>
                  <a:cubicBezTo>
                    <a:pt x="29" y="29"/>
                    <a:pt x="29" y="29"/>
                    <a:pt x="29" y="29"/>
                  </a:cubicBezTo>
                  <a:lnTo>
                    <a:pt x="59" y="58"/>
                  </a:lnTo>
                  <a:lnTo>
                    <a:pt x="2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87" name="Freeform 565">
              <a:extLst>
                <a:ext uri="{FF2B5EF4-FFF2-40B4-BE49-F238E27FC236}">
                  <a16:creationId xmlns:a16="http://schemas.microsoft.com/office/drawing/2014/main" id="{5E964B8F-2C0C-48A4-8426-5FC8A64AE963}"/>
                </a:ext>
              </a:extLst>
            </p:cNvPr>
            <p:cNvSpPr>
              <a:spLocks noChangeArrowheads="1"/>
            </p:cNvSpPr>
            <p:nvPr/>
          </p:nvSpPr>
          <p:spPr bwMode="auto">
            <a:xfrm>
              <a:off x="10726136" y="2997188"/>
              <a:ext cx="11416" cy="32366"/>
            </a:xfrm>
            <a:custGeom>
              <a:avLst/>
              <a:gdLst>
                <a:gd name="T0" fmla="*/ 30 w 31"/>
                <a:gd name="T1" fmla="*/ 87 h 88"/>
                <a:gd name="T2" fmla="*/ 30 w 31"/>
                <a:gd name="T3" fmla="*/ 87 h 88"/>
                <a:gd name="T4" fmla="*/ 30 w 31"/>
                <a:gd name="T5" fmla="*/ 87 h 88"/>
                <a:gd name="T6" fmla="*/ 0 w 31"/>
                <a:gd name="T7" fmla="*/ 0 h 88"/>
                <a:gd name="T8" fmla="*/ 30 w 31"/>
                <a:gd name="T9" fmla="*/ 87 h 88"/>
              </a:gdLst>
              <a:ahLst/>
              <a:cxnLst>
                <a:cxn ang="0">
                  <a:pos x="T0" y="T1"/>
                </a:cxn>
                <a:cxn ang="0">
                  <a:pos x="T2" y="T3"/>
                </a:cxn>
                <a:cxn ang="0">
                  <a:pos x="T4" y="T5"/>
                </a:cxn>
                <a:cxn ang="0">
                  <a:pos x="T6" y="T7"/>
                </a:cxn>
                <a:cxn ang="0">
                  <a:pos x="T8" y="T9"/>
                </a:cxn>
              </a:cxnLst>
              <a:rect l="0" t="0" r="r" b="b"/>
              <a:pathLst>
                <a:path w="31" h="88">
                  <a:moveTo>
                    <a:pt x="30" y="87"/>
                  </a:moveTo>
                  <a:lnTo>
                    <a:pt x="30" y="87"/>
                  </a:lnTo>
                  <a:lnTo>
                    <a:pt x="30" y="87"/>
                  </a:lnTo>
                  <a:cubicBezTo>
                    <a:pt x="30" y="58"/>
                    <a:pt x="30" y="29"/>
                    <a:pt x="0" y="0"/>
                  </a:cubicBezTo>
                  <a:cubicBezTo>
                    <a:pt x="30" y="29"/>
                    <a:pt x="30" y="58"/>
                    <a:pt x="30" y="8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88" name="Freeform 566">
              <a:extLst>
                <a:ext uri="{FF2B5EF4-FFF2-40B4-BE49-F238E27FC236}">
                  <a16:creationId xmlns:a16="http://schemas.microsoft.com/office/drawing/2014/main" id="{875543A1-BCC4-4AA5-BBE5-21B67D317181}"/>
                </a:ext>
              </a:extLst>
            </p:cNvPr>
            <p:cNvSpPr>
              <a:spLocks noChangeArrowheads="1"/>
            </p:cNvSpPr>
            <p:nvPr/>
          </p:nvSpPr>
          <p:spPr bwMode="auto">
            <a:xfrm>
              <a:off x="9873204" y="5363172"/>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89" name="Freeform 567">
              <a:extLst>
                <a:ext uri="{FF2B5EF4-FFF2-40B4-BE49-F238E27FC236}">
                  <a16:creationId xmlns:a16="http://schemas.microsoft.com/office/drawing/2014/main" id="{A5491B17-6E5F-4C6F-8B29-5127DE52A3D9}"/>
                </a:ext>
              </a:extLst>
            </p:cNvPr>
            <p:cNvSpPr>
              <a:spLocks noChangeArrowheads="1"/>
            </p:cNvSpPr>
            <p:nvPr/>
          </p:nvSpPr>
          <p:spPr bwMode="auto">
            <a:xfrm>
              <a:off x="9755783" y="4999051"/>
              <a:ext cx="11415" cy="32366"/>
            </a:xfrm>
            <a:custGeom>
              <a:avLst/>
              <a:gdLst>
                <a:gd name="T0" fmla="*/ 0 w 30"/>
                <a:gd name="T1" fmla="*/ 58 h 88"/>
                <a:gd name="T2" fmla="*/ 0 w 30"/>
                <a:gd name="T3" fmla="*/ 58 h 88"/>
                <a:gd name="T4" fmla="*/ 0 w 30"/>
                <a:gd name="T5" fmla="*/ 87 h 88"/>
                <a:gd name="T6" fmla="*/ 0 w 30"/>
                <a:gd name="T7" fmla="*/ 58 h 88"/>
                <a:gd name="T8" fmla="*/ 0 w 30"/>
                <a:gd name="T9" fmla="*/ 0 h 88"/>
                <a:gd name="T10" fmla="*/ 0 w 30"/>
                <a:gd name="T11" fmla="*/ 0 h 88"/>
                <a:gd name="T12" fmla="*/ 0 w 30"/>
                <a:gd name="T13" fmla="*/ 0 h 88"/>
                <a:gd name="T14" fmla="*/ 0 w 30"/>
                <a:gd name="T15" fmla="*/ 5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88">
                  <a:moveTo>
                    <a:pt x="0" y="58"/>
                  </a:moveTo>
                  <a:lnTo>
                    <a:pt x="0" y="58"/>
                  </a:lnTo>
                  <a:lnTo>
                    <a:pt x="0" y="87"/>
                  </a:lnTo>
                  <a:lnTo>
                    <a:pt x="0" y="58"/>
                  </a:lnTo>
                  <a:cubicBezTo>
                    <a:pt x="0" y="29"/>
                    <a:pt x="29" y="29"/>
                    <a:pt x="0" y="0"/>
                  </a:cubicBezTo>
                  <a:lnTo>
                    <a:pt x="0" y="0"/>
                  </a:lnTo>
                  <a:lnTo>
                    <a:pt x="0" y="0"/>
                  </a:lnTo>
                  <a:cubicBezTo>
                    <a:pt x="29" y="29"/>
                    <a:pt x="0" y="29"/>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90" name="Freeform 568">
              <a:extLst>
                <a:ext uri="{FF2B5EF4-FFF2-40B4-BE49-F238E27FC236}">
                  <a16:creationId xmlns:a16="http://schemas.microsoft.com/office/drawing/2014/main" id="{B2CDEB3A-0482-4787-8443-16358E401FBD}"/>
                </a:ext>
              </a:extLst>
            </p:cNvPr>
            <p:cNvSpPr>
              <a:spLocks noChangeArrowheads="1"/>
            </p:cNvSpPr>
            <p:nvPr/>
          </p:nvSpPr>
          <p:spPr bwMode="auto">
            <a:xfrm>
              <a:off x="9938438" y="5437615"/>
              <a:ext cx="1630" cy="11329"/>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cubicBezTo>
                    <a:pt x="0" y="29"/>
                    <a:pt x="0" y="29"/>
                    <a:pt x="0" y="29"/>
                  </a:cubicBez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91" name="Freeform 569">
              <a:extLst>
                <a:ext uri="{FF2B5EF4-FFF2-40B4-BE49-F238E27FC236}">
                  <a16:creationId xmlns:a16="http://schemas.microsoft.com/office/drawing/2014/main" id="{00ECE4F5-8012-489C-BE0A-5FA0D5FFA508}"/>
                </a:ext>
              </a:extLst>
            </p:cNvPr>
            <p:cNvSpPr>
              <a:spLocks noChangeArrowheads="1"/>
            </p:cNvSpPr>
            <p:nvPr/>
          </p:nvSpPr>
          <p:spPr bwMode="auto">
            <a:xfrm>
              <a:off x="9949853" y="5523386"/>
              <a:ext cx="1631" cy="11328"/>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92" name="Freeform 570">
              <a:extLst>
                <a:ext uri="{FF2B5EF4-FFF2-40B4-BE49-F238E27FC236}">
                  <a16:creationId xmlns:a16="http://schemas.microsoft.com/office/drawing/2014/main" id="{3A3A58D9-F241-459D-AAD7-E8A2369034D1}"/>
                </a:ext>
              </a:extLst>
            </p:cNvPr>
            <p:cNvSpPr>
              <a:spLocks noChangeArrowheads="1"/>
            </p:cNvSpPr>
            <p:nvPr/>
          </p:nvSpPr>
          <p:spPr bwMode="auto">
            <a:xfrm>
              <a:off x="9873204" y="5393921"/>
              <a:ext cx="21200" cy="21038"/>
            </a:xfrm>
            <a:custGeom>
              <a:avLst/>
              <a:gdLst>
                <a:gd name="T0" fmla="*/ 0 w 59"/>
                <a:gd name="T1" fmla="*/ 0 h 59"/>
                <a:gd name="T2" fmla="*/ 0 w 59"/>
                <a:gd name="T3" fmla="*/ 0 h 59"/>
                <a:gd name="T4" fmla="*/ 58 w 59"/>
                <a:gd name="T5" fmla="*/ 58 h 59"/>
                <a:gd name="T6" fmla="*/ 0 w 59"/>
                <a:gd name="T7" fmla="*/ 0 h 59"/>
              </a:gdLst>
              <a:ahLst/>
              <a:cxnLst>
                <a:cxn ang="0">
                  <a:pos x="T0" y="T1"/>
                </a:cxn>
                <a:cxn ang="0">
                  <a:pos x="T2" y="T3"/>
                </a:cxn>
                <a:cxn ang="0">
                  <a:pos x="T4" y="T5"/>
                </a:cxn>
                <a:cxn ang="0">
                  <a:pos x="T6" y="T7"/>
                </a:cxn>
              </a:cxnLst>
              <a:rect l="0" t="0" r="r" b="b"/>
              <a:pathLst>
                <a:path w="59" h="59">
                  <a:moveTo>
                    <a:pt x="0" y="0"/>
                  </a:moveTo>
                  <a:lnTo>
                    <a:pt x="0" y="0"/>
                  </a:lnTo>
                  <a:cubicBezTo>
                    <a:pt x="0" y="29"/>
                    <a:pt x="29" y="58"/>
                    <a:pt x="58" y="58"/>
                  </a:cubicBezTo>
                  <a:cubicBezTo>
                    <a:pt x="29" y="58"/>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93" name="Freeform 571">
              <a:extLst>
                <a:ext uri="{FF2B5EF4-FFF2-40B4-BE49-F238E27FC236}">
                  <a16:creationId xmlns:a16="http://schemas.microsoft.com/office/drawing/2014/main" id="{97D03E9A-091C-4E3E-8CAB-D816FB9AD524}"/>
                </a:ext>
              </a:extLst>
            </p:cNvPr>
            <p:cNvSpPr>
              <a:spLocks noChangeArrowheads="1"/>
            </p:cNvSpPr>
            <p:nvPr/>
          </p:nvSpPr>
          <p:spPr bwMode="auto">
            <a:xfrm>
              <a:off x="9949853" y="5500730"/>
              <a:ext cx="1631" cy="11328"/>
            </a:xfrm>
            <a:custGeom>
              <a:avLst/>
              <a:gdLst>
                <a:gd name="T0" fmla="*/ 0 w 1"/>
                <a:gd name="T1" fmla="*/ 30 h 31"/>
                <a:gd name="T2" fmla="*/ 0 w 1"/>
                <a:gd name="T3" fmla="*/ 30 h 31"/>
                <a:gd name="T4" fmla="*/ 0 w 1"/>
                <a:gd name="T5" fmla="*/ 0 h 31"/>
                <a:gd name="T6" fmla="*/ 0 w 1"/>
                <a:gd name="T7" fmla="*/ 0 h 31"/>
                <a:gd name="T8" fmla="*/ 0 w 1"/>
                <a:gd name="T9" fmla="*/ 0 h 31"/>
                <a:gd name="T10" fmla="*/ 0 w 1"/>
                <a:gd name="T11" fmla="*/ 30 h 31"/>
              </a:gdLst>
              <a:ahLst/>
              <a:cxnLst>
                <a:cxn ang="0">
                  <a:pos x="T0" y="T1"/>
                </a:cxn>
                <a:cxn ang="0">
                  <a:pos x="T2" y="T3"/>
                </a:cxn>
                <a:cxn ang="0">
                  <a:pos x="T4" y="T5"/>
                </a:cxn>
                <a:cxn ang="0">
                  <a:pos x="T6" y="T7"/>
                </a:cxn>
                <a:cxn ang="0">
                  <a:pos x="T8" y="T9"/>
                </a:cxn>
                <a:cxn ang="0">
                  <a:pos x="T10" y="T11"/>
                </a:cxn>
              </a:cxnLst>
              <a:rect l="0" t="0" r="r" b="b"/>
              <a:pathLst>
                <a:path w="1" h="31">
                  <a:moveTo>
                    <a:pt x="0" y="30"/>
                  </a:moveTo>
                  <a:lnTo>
                    <a:pt x="0" y="30"/>
                  </a:lnTo>
                  <a:lnTo>
                    <a:pt x="0" y="0"/>
                  </a:lnTo>
                  <a:lnTo>
                    <a:pt x="0" y="0"/>
                  </a:lnTo>
                  <a:lnTo>
                    <a:pt x="0" y="0"/>
                  </a:lnTo>
                  <a:lnTo>
                    <a:pt x="0" y="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94" name="Freeform 572">
              <a:extLst>
                <a:ext uri="{FF2B5EF4-FFF2-40B4-BE49-F238E27FC236}">
                  <a16:creationId xmlns:a16="http://schemas.microsoft.com/office/drawing/2014/main" id="{B15FE099-B6F3-46B9-967A-4D9C660D8D8A}"/>
                </a:ext>
              </a:extLst>
            </p:cNvPr>
            <p:cNvSpPr>
              <a:spLocks noChangeArrowheads="1"/>
            </p:cNvSpPr>
            <p:nvPr/>
          </p:nvSpPr>
          <p:spPr bwMode="auto">
            <a:xfrm>
              <a:off x="9959638" y="5533096"/>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95" name="Freeform 573">
              <a:extLst>
                <a:ext uri="{FF2B5EF4-FFF2-40B4-BE49-F238E27FC236}">
                  <a16:creationId xmlns:a16="http://schemas.microsoft.com/office/drawing/2014/main" id="{D566DFE7-21CE-4F8B-9D30-87DB25D5CD4D}"/>
                </a:ext>
              </a:extLst>
            </p:cNvPr>
            <p:cNvSpPr>
              <a:spLocks noChangeArrowheads="1"/>
            </p:cNvSpPr>
            <p:nvPr/>
          </p:nvSpPr>
          <p:spPr bwMode="auto">
            <a:xfrm>
              <a:off x="9959638" y="5533096"/>
              <a:ext cx="32617" cy="1618"/>
            </a:xfrm>
            <a:custGeom>
              <a:avLst/>
              <a:gdLst>
                <a:gd name="T0" fmla="*/ 29 w 88"/>
                <a:gd name="T1" fmla="*/ 0 h 1"/>
                <a:gd name="T2" fmla="*/ 29 w 88"/>
                <a:gd name="T3" fmla="*/ 0 h 1"/>
                <a:gd name="T4" fmla="*/ 29 w 88"/>
                <a:gd name="T5" fmla="*/ 0 h 1"/>
                <a:gd name="T6" fmla="*/ 0 w 88"/>
                <a:gd name="T7" fmla="*/ 0 h 1"/>
                <a:gd name="T8" fmla="*/ 29 w 88"/>
                <a:gd name="T9" fmla="*/ 0 h 1"/>
                <a:gd name="T10" fmla="*/ 58 w 88"/>
                <a:gd name="T11" fmla="*/ 0 h 1"/>
                <a:gd name="T12" fmla="*/ 87 w 88"/>
                <a:gd name="T13" fmla="*/ 0 h 1"/>
                <a:gd name="T14" fmla="*/ 58 w 88"/>
                <a:gd name="T15" fmla="*/ 0 h 1"/>
                <a:gd name="T16" fmla="*/ 29 w 88"/>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
                  <a:moveTo>
                    <a:pt x="29" y="0"/>
                  </a:moveTo>
                  <a:lnTo>
                    <a:pt x="29" y="0"/>
                  </a:lnTo>
                  <a:lnTo>
                    <a:pt x="29" y="0"/>
                  </a:lnTo>
                  <a:cubicBezTo>
                    <a:pt x="29" y="0"/>
                    <a:pt x="29" y="0"/>
                    <a:pt x="0" y="0"/>
                  </a:cubicBezTo>
                  <a:cubicBezTo>
                    <a:pt x="29" y="0"/>
                    <a:pt x="29" y="0"/>
                    <a:pt x="29" y="0"/>
                  </a:cubicBezTo>
                  <a:cubicBezTo>
                    <a:pt x="58" y="0"/>
                    <a:pt x="58" y="0"/>
                    <a:pt x="58" y="0"/>
                  </a:cubicBezTo>
                  <a:lnTo>
                    <a:pt x="87" y="0"/>
                  </a:lnTo>
                  <a:lnTo>
                    <a:pt x="58" y="0"/>
                  </a:lnTo>
                  <a:cubicBezTo>
                    <a:pt x="58" y="0"/>
                    <a:pt x="58"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96" name="Freeform 574">
              <a:extLst>
                <a:ext uri="{FF2B5EF4-FFF2-40B4-BE49-F238E27FC236}">
                  <a16:creationId xmlns:a16="http://schemas.microsoft.com/office/drawing/2014/main" id="{22C87561-3275-4E8B-9A89-7DA7343B6D39}"/>
                </a:ext>
              </a:extLst>
            </p:cNvPr>
            <p:cNvSpPr>
              <a:spLocks noChangeArrowheads="1"/>
            </p:cNvSpPr>
            <p:nvPr/>
          </p:nvSpPr>
          <p:spPr bwMode="auto">
            <a:xfrm>
              <a:off x="9905821" y="5426287"/>
              <a:ext cx="22832" cy="11328"/>
            </a:xfrm>
            <a:custGeom>
              <a:avLst/>
              <a:gdLst>
                <a:gd name="T0" fmla="*/ 30 w 60"/>
                <a:gd name="T1" fmla="*/ 29 h 30"/>
                <a:gd name="T2" fmla="*/ 30 w 60"/>
                <a:gd name="T3" fmla="*/ 29 h 30"/>
                <a:gd name="T4" fmla="*/ 30 w 60"/>
                <a:gd name="T5" fmla="*/ 29 h 30"/>
                <a:gd name="T6" fmla="*/ 0 w 60"/>
                <a:gd name="T7" fmla="*/ 29 h 30"/>
                <a:gd name="T8" fmla="*/ 0 w 60"/>
                <a:gd name="T9" fmla="*/ 0 h 30"/>
                <a:gd name="T10" fmla="*/ 0 w 60"/>
                <a:gd name="T11" fmla="*/ 29 h 30"/>
                <a:gd name="T12" fmla="*/ 30 w 60"/>
                <a:gd name="T13" fmla="*/ 29 h 30"/>
                <a:gd name="T14" fmla="*/ 30 w 60"/>
                <a:gd name="T15" fmla="*/ 29 h 30"/>
                <a:gd name="T16" fmla="*/ 59 w 60"/>
                <a:gd name="T17" fmla="*/ 29 h 30"/>
                <a:gd name="T18" fmla="*/ 30 w 60"/>
                <a:gd name="T19"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30">
                  <a:moveTo>
                    <a:pt x="30" y="29"/>
                  </a:moveTo>
                  <a:lnTo>
                    <a:pt x="30" y="29"/>
                  </a:lnTo>
                  <a:lnTo>
                    <a:pt x="30" y="29"/>
                  </a:lnTo>
                  <a:cubicBezTo>
                    <a:pt x="0" y="29"/>
                    <a:pt x="0" y="29"/>
                    <a:pt x="0" y="29"/>
                  </a:cubicBezTo>
                  <a:cubicBezTo>
                    <a:pt x="0" y="29"/>
                    <a:pt x="0" y="29"/>
                    <a:pt x="0" y="0"/>
                  </a:cubicBezTo>
                  <a:cubicBezTo>
                    <a:pt x="0" y="29"/>
                    <a:pt x="0" y="29"/>
                    <a:pt x="0" y="29"/>
                  </a:cubicBezTo>
                  <a:cubicBezTo>
                    <a:pt x="30" y="29"/>
                    <a:pt x="30" y="29"/>
                    <a:pt x="30" y="29"/>
                  </a:cubicBezTo>
                  <a:lnTo>
                    <a:pt x="30" y="29"/>
                  </a:lnTo>
                  <a:lnTo>
                    <a:pt x="59" y="29"/>
                  </a:lnTo>
                  <a:lnTo>
                    <a:pt x="3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97" name="Freeform 575">
              <a:extLst>
                <a:ext uri="{FF2B5EF4-FFF2-40B4-BE49-F238E27FC236}">
                  <a16:creationId xmlns:a16="http://schemas.microsoft.com/office/drawing/2014/main" id="{C471577C-CAE9-482D-A8F0-DF6444E6326A}"/>
                </a:ext>
              </a:extLst>
            </p:cNvPr>
            <p:cNvSpPr>
              <a:spLocks noChangeArrowheads="1"/>
            </p:cNvSpPr>
            <p:nvPr/>
          </p:nvSpPr>
          <p:spPr bwMode="auto">
            <a:xfrm>
              <a:off x="11481218" y="1767265"/>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98" name="Freeform 576">
              <a:extLst>
                <a:ext uri="{FF2B5EF4-FFF2-40B4-BE49-F238E27FC236}">
                  <a16:creationId xmlns:a16="http://schemas.microsoft.com/office/drawing/2014/main" id="{F27439E3-C2ED-4E23-B12D-FB483DF2C9E8}"/>
                </a:ext>
              </a:extLst>
            </p:cNvPr>
            <p:cNvSpPr>
              <a:spLocks noChangeArrowheads="1"/>
            </p:cNvSpPr>
            <p:nvPr/>
          </p:nvSpPr>
          <p:spPr bwMode="auto">
            <a:xfrm>
              <a:off x="10391813" y="4066898"/>
              <a:ext cx="11415" cy="21038"/>
            </a:xfrm>
            <a:custGeom>
              <a:avLst/>
              <a:gdLst>
                <a:gd name="T0" fmla="*/ 29 w 30"/>
                <a:gd name="T1" fmla="*/ 0 h 59"/>
                <a:gd name="T2" fmla="*/ 29 w 30"/>
                <a:gd name="T3" fmla="*/ 0 h 59"/>
                <a:gd name="T4" fmla="*/ 0 w 30"/>
                <a:gd name="T5" fmla="*/ 58 h 59"/>
                <a:gd name="T6" fmla="*/ 29 w 30"/>
                <a:gd name="T7" fmla="*/ 0 h 59"/>
              </a:gdLst>
              <a:ahLst/>
              <a:cxnLst>
                <a:cxn ang="0">
                  <a:pos x="T0" y="T1"/>
                </a:cxn>
                <a:cxn ang="0">
                  <a:pos x="T2" y="T3"/>
                </a:cxn>
                <a:cxn ang="0">
                  <a:pos x="T4" y="T5"/>
                </a:cxn>
                <a:cxn ang="0">
                  <a:pos x="T6" y="T7"/>
                </a:cxn>
              </a:cxnLst>
              <a:rect l="0" t="0" r="r" b="b"/>
              <a:pathLst>
                <a:path w="30" h="59">
                  <a:moveTo>
                    <a:pt x="29" y="0"/>
                  </a:moveTo>
                  <a:lnTo>
                    <a:pt x="29" y="0"/>
                  </a:lnTo>
                  <a:cubicBezTo>
                    <a:pt x="29" y="29"/>
                    <a:pt x="0" y="29"/>
                    <a:pt x="0" y="58"/>
                  </a:cubicBezTo>
                  <a:cubicBezTo>
                    <a:pt x="0" y="29"/>
                    <a:pt x="29" y="29"/>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99" name="Freeform 577">
              <a:extLst>
                <a:ext uri="{FF2B5EF4-FFF2-40B4-BE49-F238E27FC236}">
                  <a16:creationId xmlns:a16="http://schemas.microsoft.com/office/drawing/2014/main" id="{E2822AB5-209F-4BC0-A127-5BCCBBC630DD}"/>
                </a:ext>
              </a:extLst>
            </p:cNvPr>
            <p:cNvSpPr>
              <a:spLocks noChangeArrowheads="1"/>
            </p:cNvSpPr>
            <p:nvPr/>
          </p:nvSpPr>
          <p:spPr bwMode="auto">
            <a:xfrm>
              <a:off x="11221913" y="2375753"/>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00" name="Freeform 578">
              <a:extLst>
                <a:ext uri="{FF2B5EF4-FFF2-40B4-BE49-F238E27FC236}">
                  <a16:creationId xmlns:a16="http://schemas.microsoft.com/office/drawing/2014/main" id="{7D08B54E-C157-4B6E-94FB-1DDB9B09BA35}"/>
                </a:ext>
              </a:extLst>
            </p:cNvPr>
            <p:cNvSpPr>
              <a:spLocks noChangeArrowheads="1"/>
            </p:cNvSpPr>
            <p:nvPr/>
          </p:nvSpPr>
          <p:spPr bwMode="auto">
            <a:xfrm>
              <a:off x="11275731" y="2366043"/>
              <a:ext cx="32617" cy="22656"/>
            </a:xfrm>
            <a:custGeom>
              <a:avLst/>
              <a:gdLst>
                <a:gd name="T0" fmla="*/ 88 w 89"/>
                <a:gd name="T1" fmla="*/ 0 h 60"/>
                <a:gd name="T2" fmla="*/ 88 w 89"/>
                <a:gd name="T3" fmla="*/ 0 h 60"/>
                <a:gd name="T4" fmla="*/ 0 w 89"/>
                <a:gd name="T5" fmla="*/ 59 h 60"/>
                <a:gd name="T6" fmla="*/ 88 w 89"/>
                <a:gd name="T7" fmla="*/ 0 h 60"/>
              </a:gdLst>
              <a:ahLst/>
              <a:cxnLst>
                <a:cxn ang="0">
                  <a:pos x="T0" y="T1"/>
                </a:cxn>
                <a:cxn ang="0">
                  <a:pos x="T2" y="T3"/>
                </a:cxn>
                <a:cxn ang="0">
                  <a:pos x="T4" y="T5"/>
                </a:cxn>
                <a:cxn ang="0">
                  <a:pos x="T6" y="T7"/>
                </a:cxn>
              </a:cxnLst>
              <a:rect l="0" t="0" r="r" b="b"/>
              <a:pathLst>
                <a:path w="89" h="60">
                  <a:moveTo>
                    <a:pt x="88" y="0"/>
                  </a:moveTo>
                  <a:lnTo>
                    <a:pt x="88" y="0"/>
                  </a:lnTo>
                  <a:cubicBezTo>
                    <a:pt x="59" y="0"/>
                    <a:pt x="29" y="29"/>
                    <a:pt x="0" y="59"/>
                  </a:cubicBezTo>
                  <a:cubicBezTo>
                    <a:pt x="29" y="29"/>
                    <a:pt x="59" y="0"/>
                    <a:pt x="8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01" name="Freeform 579">
              <a:extLst>
                <a:ext uri="{FF2B5EF4-FFF2-40B4-BE49-F238E27FC236}">
                  <a16:creationId xmlns:a16="http://schemas.microsoft.com/office/drawing/2014/main" id="{369E9EB1-BE6B-4064-A0E1-9890A45C7155}"/>
                </a:ext>
              </a:extLst>
            </p:cNvPr>
            <p:cNvSpPr>
              <a:spLocks noChangeArrowheads="1"/>
            </p:cNvSpPr>
            <p:nvPr/>
          </p:nvSpPr>
          <p:spPr bwMode="auto">
            <a:xfrm>
              <a:off x="11233329" y="2387082"/>
              <a:ext cx="44032" cy="21038"/>
            </a:xfrm>
            <a:custGeom>
              <a:avLst/>
              <a:gdLst>
                <a:gd name="T0" fmla="*/ 117 w 118"/>
                <a:gd name="T1" fmla="*/ 0 h 59"/>
                <a:gd name="T2" fmla="*/ 117 w 118"/>
                <a:gd name="T3" fmla="*/ 0 h 59"/>
                <a:gd name="T4" fmla="*/ 0 w 118"/>
                <a:gd name="T5" fmla="*/ 58 h 59"/>
                <a:gd name="T6" fmla="*/ 117 w 118"/>
                <a:gd name="T7" fmla="*/ 0 h 59"/>
              </a:gdLst>
              <a:ahLst/>
              <a:cxnLst>
                <a:cxn ang="0">
                  <a:pos x="T0" y="T1"/>
                </a:cxn>
                <a:cxn ang="0">
                  <a:pos x="T2" y="T3"/>
                </a:cxn>
                <a:cxn ang="0">
                  <a:pos x="T4" y="T5"/>
                </a:cxn>
                <a:cxn ang="0">
                  <a:pos x="T6" y="T7"/>
                </a:cxn>
              </a:cxnLst>
              <a:rect l="0" t="0" r="r" b="b"/>
              <a:pathLst>
                <a:path w="118" h="59">
                  <a:moveTo>
                    <a:pt x="117" y="0"/>
                  </a:moveTo>
                  <a:lnTo>
                    <a:pt x="117" y="0"/>
                  </a:lnTo>
                  <a:cubicBezTo>
                    <a:pt x="88" y="29"/>
                    <a:pt x="59" y="58"/>
                    <a:pt x="0" y="58"/>
                  </a:cubicBezTo>
                  <a:cubicBezTo>
                    <a:pt x="59" y="58"/>
                    <a:pt x="88" y="29"/>
                    <a:pt x="1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02" name="Freeform 580">
              <a:extLst>
                <a:ext uri="{FF2B5EF4-FFF2-40B4-BE49-F238E27FC236}">
                  <a16:creationId xmlns:a16="http://schemas.microsoft.com/office/drawing/2014/main" id="{5A99E247-1CC6-49B1-AF6C-4DDC2A5A2A51}"/>
                </a:ext>
              </a:extLst>
            </p:cNvPr>
            <p:cNvSpPr>
              <a:spLocks noChangeArrowheads="1"/>
            </p:cNvSpPr>
            <p:nvPr/>
          </p:nvSpPr>
          <p:spPr bwMode="auto">
            <a:xfrm>
              <a:off x="11135478" y="2429158"/>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03" name="Freeform 581">
              <a:extLst>
                <a:ext uri="{FF2B5EF4-FFF2-40B4-BE49-F238E27FC236}">
                  <a16:creationId xmlns:a16="http://schemas.microsoft.com/office/drawing/2014/main" id="{BB4E6613-A0BA-4867-8D0E-98A72281C8D8}"/>
                </a:ext>
              </a:extLst>
            </p:cNvPr>
            <p:cNvSpPr>
              <a:spLocks noChangeArrowheads="1"/>
            </p:cNvSpPr>
            <p:nvPr/>
          </p:nvSpPr>
          <p:spPr bwMode="auto">
            <a:xfrm>
              <a:off x="11135478" y="2429158"/>
              <a:ext cx="32617" cy="32366"/>
            </a:xfrm>
            <a:custGeom>
              <a:avLst/>
              <a:gdLst>
                <a:gd name="T0" fmla="*/ 29 w 89"/>
                <a:gd name="T1" fmla="*/ 58 h 88"/>
                <a:gd name="T2" fmla="*/ 29 w 89"/>
                <a:gd name="T3" fmla="*/ 58 h 88"/>
                <a:gd name="T4" fmla="*/ 0 w 89"/>
                <a:gd name="T5" fmla="*/ 0 h 88"/>
                <a:gd name="T6" fmla="*/ 29 w 89"/>
                <a:gd name="T7" fmla="*/ 58 h 88"/>
                <a:gd name="T8" fmla="*/ 88 w 89"/>
                <a:gd name="T9" fmla="*/ 87 h 88"/>
                <a:gd name="T10" fmla="*/ 88 w 89"/>
                <a:gd name="T11" fmla="*/ 87 h 88"/>
                <a:gd name="T12" fmla="*/ 29 w 89"/>
                <a:gd name="T13" fmla="*/ 58 h 88"/>
              </a:gdLst>
              <a:ahLst/>
              <a:cxnLst>
                <a:cxn ang="0">
                  <a:pos x="T0" y="T1"/>
                </a:cxn>
                <a:cxn ang="0">
                  <a:pos x="T2" y="T3"/>
                </a:cxn>
                <a:cxn ang="0">
                  <a:pos x="T4" y="T5"/>
                </a:cxn>
                <a:cxn ang="0">
                  <a:pos x="T6" y="T7"/>
                </a:cxn>
                <a:cxn ang="0">
                  <a:pos x="T8" y="T9"/>
                </a:cxn>
                <a:cxn ang="0">
                  <a:pos x="T10" y="T11"/>
                </a:cxn>
                <a:cxn ang="0">
                  <a:pos x="T12" y="T13"/>
                </a:cxn>
              </a:cxnLst>
              <a:rect l="0" t="0" r="r" b="b"/>
              <a:pathLst>
                <a:path w="89" h="88">
                  <a:moveTo>
                    <a:pt x="29" y="58"/>
                  </a:moveTo>
                  <a:lnTo>
                    <a:pt x="29" y="58"/>
                  </a:lnTo>
                  <a:cubicBezTo>
                    <a:pt x="0" y="58"/>
                    <a:pt x="0" y="29"/>
                    <a:pt x="0" y="0"/>
                  </a:cubicBezTo>
                  <a:cubicBezTo>
                    <a:pt x="0" y="29"/>
                    <a:pt x="0" y="58"/>
                    <a:pt x="29" y="58"/>
                  </a:cubicBezTo>
                  <a:cubicBezTo>
                    <a:pt x="88" y="87"/>
                    <a:pt x="88" y="87"/>
                    <a:pt x="88" y="87"/>
                  </a:cubicBezTo>
                  <a:lnTo>
                    <a:pt x="88" y="87"/>
                  </a:lnTo>
                  <a:lnTo>
                    <a:pt x="29" y="5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04" name="Freeform 582">
              <a:extLst>
                <a:ext uri="{FF2B5EF4-FFF2-40B4-BE49-F238E27FC236}">
                  <a16:creationId xmlns:a16="http://schemas.microsoft.com/office/drawing/2014/main" id="{557A7F25-869A-433F-AEA6-89CDEDD4B89B}"/>
                </a:ext>
              </a:extLst>
            </p:cNvPr>
            <p:cNvSpPr>
              <a:spLocks noChangeArrowheads="1"/>
            </p:cNvSpPr>
            <p:nvPr/>
          </p:nvSpPr>
          <p:spPr bwMode="auto">
            <a:xfrm>
              <a:off x="11308348" y="2354716"/>
              <a:ext cx="11415" cy="1618"/>
            </a:xfrm>
            <a:custGeom>
              <a:avLst/>
              <a:gdLst>
                <a:gd name="T0" fmla="*/ 0 w 30"/>
                <a:gd name="T1" fmla="*/ 0 h 1"/>
                <a:gd name="T2" fmla="*/ 0 w 30"/>
                <a:gd name="T3" fmla="*/ 0 h 1"/>
                <a:gd name="T4" fmla="*/ 0 w 30"/>
                <a:gd name="T5" fmla="*/ 0 h 1"/>
                <a:gd name="T6" fmla="*/ 29 w 30"/>
                <a:gd name="T7" fmla="*/ 0 h 1"/>
                <a:gd name="T8" fmla="*/ 0 w 30"/>
                <a:gd name="T9" fmla="*/ 0 h 1"/>
              </a:gdLst>
              <a:ahLst/>
              <a:cxnLst>
                <a:cxn ang="0">
                  <a:pos x="T0" y="T1"/>
                </a:cxn>
                <a:cxn ang="0">
                  <a:pos x="T2" y="T3"/>
                </a:cxn>
                <a:cxn ang="0">
                  <a:pos x="T4" y="T5"/>
                </a:cxn>
                <a:cxn ang="0">
                  <a:pos x="T6" y="T7"/>
                </a:cxn>
                <a:cxn ang="0">
                  <a:pos x="T8" y="T9"/>
                </a:cxn>
              </a:cxnLst>
              <a:rect l="0" t="0" r="r" b="b"/>
              <a:pathLst>
                <a:path w="30" h="1">
                  <a:moveTo>
                    <a:pt x="0" y="0"/>
                  </a:moveTo>
                  <a:lnTo>
                    <a:pt x="0" y="0"/>
                  </a:lnTo>
                  <a:lnTo>
                    <a:pt x="0" y="0"/>
                  </a:lnTo>
                  <a:cubicBezTo>
                    <a:pt x="0" y="0"/>
                    <a:pt x="0" y="0"/>
                    <a:pt x="29" y="0"/>
                  </a:cubicBez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05" name="Freeform 583">
              <a:extLst>
                <a:ext uri="{FF2B5EF4-FFF2-40B4-BE49-F238E27FC236}">
                  <a16:creationId xmlns:a16="http://schemas.microsoft.com/office/drawing/2014/main" id="{88A3122B-F5A3-48A3-872D-060D72AB3731}"/>
                </a:ext>
              </a:extLst>
            </p:cNvPr>
            <p:cNvSpPr>
              <a:spLocks noChangeArrowheads="1"/>
            </p:cNvSpPr>
            <p:nvPr/>
          </p:nvSpPr>
          <p:spPr bwMode="auto">
            <a:xfrm>
              <a:off x="11469801" y="1776975"/>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06" name="Freeform 584">
              <a:extLst>
                <a:ext uri="{FF2B5EF4-FFF2-40B4-BE49-F238E27FC236}">
                  <a16:creationId xmlns:a16="http://schemas.microsoft.com/office/drawing/2014/main" id="{360B569A-2058-4F9F-A899-1B45CB3A0D64}"/>
                </a:ext>
              </a:extLst>
            </p:cNvPr>
            <p:cNvSpPr>
              <a:spLocks noChangeArrowheads="1"/>
            </p:cNvSpPr>
            <p:nvPr/>
          </p:nvSpPr>
          <p:spPr bwMode="auto">
            <a:xfrm>
              <a:off x="9711750" y="4976394"/>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07" name="Freeform 585">
              <a:extLst>
                <a:ext uri="{FF2B5EF4-FFF2-40B4-BE49-F238E27FC236}">
                  <a16:creationId xmlns:a16="http://schemas.microsoft.com/office/drawing/2014/main" id="{B96567FA-2F19-42A3-8055-EF356F1B6991}"/>
                </a:ext>
              </a:extLst>
            </p:cNvPr>
            <p:cNvSpPr>
              <a:spLocks noChangeArrowheads="1"/>
            </p:cNvSpPr>
            <p:nvPr/>
          </p:nvSpPr>
          <p:spPr bwMode="auto">
            <a:xfrm>
              <a:off x="11308348" y="2366043"/>
              <a:ext cx="1630" cy="11329"/>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cubicBezTo>
                    <a:pt x="0" y="29"/>
                    <a:pt x="0" y="29"/>
                    <a:pt x="0" y="29"/>
                  </a:cubicBez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08" name="Freeform 586">
              <a:extLst>
                <a:ext uri="{FF2B5EF4-FFF2-40B4-BE49-F238E27FC236}">
                  <a16:creationId xmlns:a16="http://schemas.microsoft.com/office/drawing/2014/main" id="{45B77EC3-C717-478F-8BBA-6A73D31671C0}"/>
                </a:ext>
              </a:extLst>
            </p:cNvPr>
            <p:cNvSpPr>
              <a:spLocks noChangeArrowheads="1"/>
            </p:cNvSpPr>
            <p:nvPr/>
          </p:nvSpPr>
          <p:spPr bwMode="auto">
            <a:xfrm>
              <a:off x="11394782" y="1841708"/>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09" name="Freeform 587">
              <a:extLst>
                <a:ext uri="{FF2B5EF4-FFF2-40B4-BE49-F238E27FC236}">
                  <a16:creationId xmlns:a16="http://schemas.microsoft.com/office/drawing/2014/main" id="{FC138FB3-86F4-439E-BF43-FD688A1B5DAB}"/>
                </a:ext>
              </a:extLst>
            </p:cNvPr>
            <p:cNvSpPr>
              <a:spLocks noChangeArrowheads="1"/>
            </p:cNvSpPr>
            <p:nvPr/>
          </p:nvSpPr>
          <p:spPr bwMode="auto">
            <a:xfrm>
              <a:off x="11275731" y="2280273"/>
              <a:ext cx="53817" cy="106809"/>
            </a:xfrm>
            <a:custGeom>
              <a:avLst/>
              <a:gdLst>
                <a:gd name="T0" fmla="*/ 29 w 147"/>
                <a:gd name="T1" fmla="*/ 29 h 292"/>
                <a:gd name="T2" fmla="*/ 29 w 147"/>
                <a:gd name="T3" fmla="*/ 29 h 292"/>
                <a:gd name="T4" fmla="*/ 0 w 147"/>
                <a:gd name="T5" fmla="*/ 0 h 292"/>
                <a:gd name="T6" fmla="*/ 29 w 147"/>
                <a:gd name="T7" fmla="*/ 29 h 292"/>
                <a:gd name="T8" fmla="*/ 146 w 147"/>
                <a:gd name="T9" fmla="*/ 261 h 292"/>
                <a:gd name="T10" fmla="*/ 146 w 147"/>
                <a:gd name="T11" fmla="*/ 291 h 292"/>
                <a:gd name="T12" fmla="*/ 146 w 147"/>
                <a:gd name="T13" fmla="*/ 291 h 292"/>
                <a:gd name="T14" fmla="*/ 146 w 147"/>
                <a:gd name="T15" fmla="*/ 261 h 292"/>
                <a:gd name="T16" fmla="*/ 29 w 147"/>
                <a:gd name="T17" fmla="*/ 2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292">
                  <a:moveTo>
                    <a:pt x="29" y="29"/>
                  </a:moveTo>
                  <a:lnTo>
                    <a:pt x="29" y="29"/>
                  </a:lnTo>
                  <a:cubicBezTo>
                    <a:pt x="29" y="29"/>
                    <a:pt x="29" y="0"/>
                    <a:pt x="0" y="0"/>
                  </a:cubicBezTo>
                  <a:cubicBezTo>
                    <a:pt x="29" y="0"/>
                    <a:pt x="29" y="29"/>
                    <a:pt x="29" y="29"/>
                  </a:cubicBezTo>
                  <a:cubicBezTo>
                    <a:pt x="117" y="57"/>
                    <a:pt x="146" y="232"/>
                    <a:pt x="146" y="261"/>
                  </a:cubicBezTo>
                  <a:cubicBezTo>
                    <a:pt x="146" y="291"/>
                    <a:pt x="146" y="291"/>
                    <a:pt x="146" y="291"/>
                  </a:cubicBezTo>
                  <a:lnTo>
                    <a:pt x="146" y="291"/>
                  </a:lnTo>
                  <a:cubicBezTo>
                    <a:pt x="146" y="261"/>
                    <a:pt x="146" y="261"/>
                    <a:pt x="146" y="261"/>
                  </a:cubicBezTo>
                  <a:cubicBezTo>
                    <a:pt x="146" y="232"/>
                    <a:pt x="117" y="57"/>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10" name="Freeform 588">
              <a:extLst>
                <a:ext uri="{FF2B5EF4-FFF2-40B4-BE49-F238E27FC236}">
                  <a16:creationId xmlns:a16="http://schemas.microsoft.com/office/drawing/2014/main" id="{9FB48DE0-9ED6-43F0-B263-701008CD8806}"/>
                </a:ext>
              </a:extLst>
            </p:cNvPr>
            <p:cNvSpPr>
              <a:spLocks noChangeArrowheads="1"/>
            </p:cNvSpPr>
            <p:nvPr/>
          </p:nvSpPr>
          <p:spPr bwMode="auto">
            <a:xfrm>
              <a:off x="11362165" y="1820670"/>
              <a:ext cx="11416" cy="11328"/>
            </a:xfrm>
            <a:custGeom>
              <a:avLst/>
              <a:gdLst>
                <a:gd name="T0" fmla="*/ 29 w 30"/>
                <a:gd name="T1" fmla="*/ 30 h 31"/>
                <a:gd name="T2" fmla="*/ 29 w 30"/>
                <a:gd name="T3" fmla="*/ 30 h 31"/>
                <a:gd name="T4" fmla="*/ 0 w 30"/>
                <a:gd name="T5" fmla="*/ 0 h 31"/>
                <a:gd name="T6" fmla="*/ 29 w 30"/>
                <a:gd name="T7" fmla="*/ 30 h 31"/>
              </a:gdLst>
              <a:ahLst/>
              <a:cxnLst>
                <a:cxn ang="0">
                  <a:pos x="T0" y="T1"/>
                </a:cxn>
                <a:cxn ang="0">
                  <a:pos x="T2" y="T3"/>
                </a:cxn>
                <a:cxn ang="0">
                  <a:pos x="T4" y="T5"/>
                </a:cxn>
                <a:cxn ang="0">
                  <a:pos x="T6" y="T7"/>
                </a:cxn>
              </a:cxnLst>
              <a:rect l="0" t="0" r="r" b="b"/>
              <a:pathLst>
                <a:path w="30" h="31">
                  <a:moveTo>
                    <a:pt x="29" y="30"/>
                  </a:moveTo>
                  <a:lnTo>
                    <a:pt x="29" y="30"/>
                  </a:lnTo>
                  <a:cubicBezTo>
                    <a:pt x="0" y="0"/>
                    <a:pt x="0" y="0"/>
                    <a:pt x="0" y="0"/>
                  </a:cubicBezTo>
                  <a:cubicBezTo>
                    <a:pt x="0" y="0"/>
                    <a:pt x="0" y="0"/>
                    <a:pt x="29"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11" name="Freeform 589">
              <a:extLst>
                <a:ext uri="{FF2B5EF4-FFF2-40B4-BE49-F238E27FC236}">
                  <a16:creationId xmlns:a16="http://schemas.microsoft.com/office/drawing/2014/main" id="{A0AB2996-635A-492B-9700-D10992884029}"/>
                </a:ext>
              </a:extLst>
            </p:cNvPr>
            <p:cNvSpPr>
              <a:spLocks noChangeArrowheads="1"/>
            </p:cNvSpPr>
            <p:nvPr/>
          </p:nvSpPr>
          <p:spPr bwMode="auto">
            <a:xfrm>
              <a:off x="10823986" y="3168730"/>
              <a:ext cx="1631" cy="53405"/>
            </a:xfrm>
            <a:custGeom>
              <a:avLst/>
              <a:gdLst>
                <a:gd name="T0" fmla="*/ 0 w 1"/>
                <a:gd name="T1" fmla="*/ 0 h 146"/>
                <a:gd name="T2" fmla="*/ 0 w 1"/>
                <a:gd name="T3" fmla="*/ 0 h 146"/>
                <a:gd name="T4" fmla="*/ 0 w 1"/>
                <a:gd name="T5" fmla="*/ 0 h 146"/>
                <a:gd name="T6" fmla="*/ 0 w 1"/>
                <a:gd name="T7" fmla="*/ 145 h 146"/>
                <a:gd name="T8" fmla="*/ 0 w 1"/>
                <a:gd name="T9" fmla="*/ 0 h 146"/>
              </a:gdLst>
              <a:ahLst/>
              <a:cxnLst>
                <a:cxn ang="0">
                  <a:pos x="T0" y="T1"/>
                </a:cxn>
                <a:cxn ang="0">
                  <a:pos x="T2" y="T3"/>
                </a:cxn>
                <a:cxn ang="0">
                  <a:pos x="T4" y="T5"/>
                </a:cxn>
                <a:cxn ang="0">
                  <a:pos x="T6" y="T7"/>
                </a:cxn>
                <a:cxn ang="0">
                  <a:pos x="T8" y="T9"/>
                </a:cxn>
              </a:cxnLst>
              <a:rect l="0" t="0" r="r" b="b"/>
              <a:pathLst>
                <a:path w="1" h="146">
                  <a:moveTo>
                    <a:pt x="0" y="0"/>
                  </a:moveTo>
                  <a:lnTo>
                    <a:pt x="0" y="0"/>
                  </a:lnTo>
                  <a:lnTo>
                    <a:pt x="0" y="0"/>
                  </a:lnTo>
                  <a:cubicBezTo>
                    <a:pt x="0" y="28"/>
                    <a:pt x="0" y="87"/>
                    <a:pt x="0" y="145"/>
                  </a:cubicBezTo>
                  <a:cubicBezTo>
                    <a:pt x="0" y="87"/>
                    <a:pt x="0" y="28"/>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12" name="Freeform 590">
              <a:extLst>
                <a:ext uri="{FF2B5EF4-FFF2-40B4-BE49-F238E27FC236}">
                  <a16:creationId xmlns:a16="http://schemas.microsoft.com/office/drawing/2014/main" id="{407278FE-5FFF-4FF7-8590-BFFB1F58156D}"/>
                </a:ext>
              </a:extLst>
            </p:cNvPr>
            <p:cNvSpPr>
              <a:spLocks noChangeArrowheads="1"/>
            </p:cNvSpPr>
            <p:nvPr/>
          </p:nvSpPr>
          <p:spPr bwMode="auto">
            <a:xfrm>
              <a:off x="10520649" y="3960089"/>
              <a:ext cx="21202" cy="32366"/>
            </a:xfrm>
            <a:custGeom>
              <a:avLst/>
              <a:gdLst>
                <a:gd name="T0" fmla="*/ 0 w 59"/>
                <a:gd name="T1" fmla="*/ 59 h 89"/>
                <a:gd name="T2" fmla="*/ 0 w 59"/>
                <a:gd name="T3" fmla="*/ 59 h 89"/>
                <a:gd name="T4" fmla="*/ 0 w 59"/>
                <a:gd name="T5" fmla="*/ 88 h 89"/>
                <a:gd name="T6" fmla="*/ 0 w 59"/>
                <a:gd name="T7" fmla="*/ 59 h 89"/>
                <a:gd name="T8" fmla="*/ 58 w 59"/>
                <a:gd name="T9" fmla="*/ 0 h 89"/>
                <a:gd name="T10" fmla="*/ 58 w 59"/>
                <a:gd name="T11" fmla="*/ 0 h 89"/>
                <a:gd name="T12" fmla="*/ 0 w 59"/>
                <a:gd name="T13" fmla="*/ 59 h 89"/>
              </a:gdLst>
              <a:ahLst/>
              <a:cxnLst>
                <a:cxn ang="0">
                  <a:pos x="T0" y="T1"/>
                </a:cxn>
                <a:cxn ang="0">
                  <a:pos x="T2" y="T3"/>
                </a:cxn>
                <a:cxn ang="0">
                  <a:pos x="T4" y="T5"/>
                </a:cxn>
                <a:cxn ang="0">
                  <a:pos x="T6" y="T7"/>
                </a:cxn>
                <a:cxn ang="0">
                  <a:pos x="T8" y="T9"/>
                </a:cxn>
                <a:cxn ang="0">
                  <a:pos x="T10" y="T11"/>
                </a:cxn>
                <a:cxn ang="0">
                  <a:pos x="T12" y="T13"/>
                </a:cxn>
              </a:cxnLst>
              <a:rect l="0" t="0" r="r" b="b"/>
              <a:pathLst>
                <a:path w="59" h="89">
                  <a:moveTo>
                    <a:pt x="0" y="59"/>
                  </a:moveTo>
                  <a:lnTo>
                    <a:pt x="0" y="59"/>
                  </a:lnTo>
                  <a:cubicBezTo>
                    <a:pt x="0" y="88"/>
                    <a:pt x="0" y="88"/>
                    <a:pt x="0" y="88"/>
                  </a:cubicBezTo>
                  <a:cubicBezTo>
                    <a:pt x="0" y="88"/>
                    <a:pt x="0" y="88"/>
                    <a:pt x="0" y="59"/>
                  </a:cubicBezTo>
                  <a:cubicBezTo>
                    <a:pt x="29" y="59"/>
                    <a:pt x="58" y="30"/>
                    <a:pt x="58" y="0"/>
                  </a:cubicBezTo>
                  <a:lnTo>
                    <a:pt x="58" y="0"/>
                  </a:lnTo>
                  <a:cubicBezTo>
                    <a:pt x="58" y="30"/>
                    <a:pt x="29" y="59"/>
                    <a:pt x="0"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13" name="Freeform 591">
              <a:extLst>
                <a:ext uri="{FF2B5EF4-FFF2-40B4-BE49-F238E27FC236}">
                  <a16:creationId xmlns:a16="http://schemas.microsoft.com/office/drawing/2014/main" id="{5A86687A-03AC-49D3-976A-7B029D1FA0AB}"/>
                </a:ext>
              </a:extLst>
            </p:cNvPr>
            <p:cNvSpPr>
              <a:spLocks noChangeArrowheads="1"/>
            </p:cNvSpPr>
            <p:nvPr/>
          </p:nvSpPr>
          <p:spPr bwMode="auto">
            <a:xfrm>
              <a:off x="10532066" y="3948760"/>
              <a:ext cx="11415" cy="11329"/>
            </a:xfrm>
            <a:custGeom>
              <a:avLst/>
              <a:gdLst>
                <a:gd name="T0" fmla="*/ 29 w 30"/>
                <a:gd name="T1" fmla="*/ 29 h 30"/>
                <a:gd name="T2" fmla="*/ 29 w 30"/>
                <a:gd name="T3" fmla="*/ 29 h 30"/>
                <a:gd name="T4" fmla="*/ 0 w 30"/>
                <a:gd name="T5" fmla="*/ 0 h 30"/>
                <a:gd name="T6" fmla="*/ 0 w 30"/>
                <a:gd name="T7" fmla="*/ 0 h 30"/>
                <a:gd name="T8" fmla="*/ 0 w 30"/>
                <a:gd name="T9" fmla="*/ 0 h 30"/>
                <a:gd name="T10" fmla="*/ 29 w 30"/>
                <a:gd name="T11" fmla="*/ 29 h 30"/>
              </a:gdLst>
              <a:ahLst/>
              <a:cxnLst>
                <a:cxn ang="0">
                  <a:pos x="T0" y="T1"/>
                </a:cxn>
                <a:cxn ang="0">
                  <a:pos x="T2" y="T3"/>
                </a:cxn>
                <a:cxn ang="0">
                  <a:pos x="T4" y="T5"/>
                </a:cxn>
                <a:cxn ang="0">
                  <a:pos x="T6" y="T7"/>
                </a:cxn>
                <a:cxn ang="0">
                  <a:pos x="T8" y="T9"/>
                </a:cxn>
                <a:cxn ang="0">
                  <a:pos x="T10" y="T11"/>
                </a:cxn>
              </a:cxnLst>
              <a:rect l="0" t="0" r="r" b="b"/>
              <a:pathLst>
                <a:path w="30" h="30">
                  <a:moveTo>
                    <a:pt x="29" y="29"/>
                  </a:moveTo>
                  <a:lnTo>
                    <a:pt x="29" y="29"/>
                  </a:lnTo>
                  <a:lnTo>
                    <a:pt x="0" y="0"/>
                  </a:lnTo>
                  <a:lnTo>
                    <a:pt x="0" y="0"/>
                  </a:lnTo>
                  <a:lnTo>
                    <a:pt x="0" y="0"/>
                  </a:lnTo>
                  <a:lnTo>
                    <a:pt x="2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14" name="Freeform 592">
              <a:extLst>
                <a:ext uri="{FF2B5EF4-FFF2-40B4-BE49-F238E27FC236}">
                  <a16:creationId xmlns:a16="http://schemas.microsoft.com/office/drawing/2014/main" id="{D4D7737D-A9A1-40FE-A438-A6BAA888617F}"/>
                </a:ext>
              </a:extLst>
            </p:cNvPr>
            <p:cNvSpPr>
              <a:spLocks noChangeArrowheads="1"/>
            </p:cNvSpPr>
            <p:nvPr/>
          </p:nvSpPr>
          <p:spPr bwMode="auto">
            <a:xfrm>
              <a:off x="10509234" y="4013493"/>
              <a:ext cx="22832" cy="32366"/>
            </a:xfrm>
            <a:custGeom>
              <a:avLst/>
              <a:gdLst>
                <a:gd name="T0" fmla="*/ 59 w 60"/>
                <a:gd name="T1" fmla="*/ 87 h 88"/>
                <a:gd name="T2" fmla="*/ 59 w 60"/>
                <a:gd name="T3" fmla="*/ 87 h 88"/>
                <a:gd name="T4" fmla="*/ 30 w 60"/>
                <a:gd name="T5" fmla="*/ 29 h 88"/>
                <a:gd name="T6" fmla="*/ 0 w 60"/>
                <a:gd name="T7" fmla="*/ 0 h 88"/>
                <a:gd name="T8" fmla="*/ 30 w 60"/>
                <a:gd name="T9" fmla="*/ 29 h 88"/>
                <a:gd name="T10" fmla="*/ 59 w 60"/>
                <a:gd name="T11" fmla="*/ 87 h 88"/>
              </a:gdLst>
              <a:ahLst/>
              <a:cxnLst>
                <a:cxn ang="0">
                  <a:pos x="T0" y="T1"/>
                </a:cxn>
                <a:cxn ang="0">
                  <a:pos x="T2" y="T3"/>
                </a:cxn>
                <a:cxn ang="0">
                  <a:pos x="T4" y="T5"/>
                </a:cxn>
                <a:cxn ang="0">
                  <a:pos x="T6" y="T7"/>
                </a:cxn>
                <a:cxn ang="0">
                  <a:pos x="T8" y="T9"/>
                </a:cxn>
                <a:cxn ang="0">
                  <a:pos x="T10" y="T11"/>
                </a:cxn>
              </a:cxnLst>
              <a:rect l="0" t="0" r="r" b="b"/>
              <a:pathLst>
                <a:path w="60" h="88">
                  <a:moveTo>
                    <a:pt x="59" y="87"/>
                  </a:moveTo>
                  <a:lnTo>
                    <a:pt x="59" y="87"/>
                  </a:lnTo>
                  <a:cubicBezTo>
                    <a:pt x="30" y="58"/>
                    <a:pt x="30" y="58"/>
                    <a:pt x="30" y="29"/>
                  </a:cubicBezTo>
                  <a:lnTo>
                    <a:pt x="0" y="0"/>
                  </a:lnTo>
                  <a:lnTo>
                    <a:pt x="30" y="29"/>
                  </a:lnTo>
                  <a:cubicBezTo>
                    <a:pt x="30" y="58"/>
                    <a:pt x="30" y="58"/>
                    <a:pt x="59" y="8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15" name="Freeform 593">
              <a:extLst>
                <a:ext uri="{FF2B5EF4-FFF2-40B4-BE49-F238E27FC236}">
                  <a16:creationId xmlns:a16="http://schemas.microsoft.com/office/drawing/2014/main" id="{4AC3745C-DCF4-4C61-8D10-906CFB3A8EA5}"/>
                </a:ext>
              </a:extLst>
            </p:cNvPr>
            <p:cNvSpPr>
              <a:spLocks noChangeArrowheads="1"/>
            </p:cNvSpPr>
            <p:nvPr/>
          </p:nvSpPr>
          <p:spPr bwMode="auto">
            <a:xfrm>
              <a:off x="10445630" y="4045860"/>
              <a:ext cx="32617" cy="11329"/>
            </a:xfrm>
            <a:custGeom>
              <a:avLst/>
              <a:gdLst>
                <a:gd name="T0" fmla="*/ 0 w 88"/>
                <a:gd name="T1" fmla="*/ 0 h 31"/>
                <a:gd name="T2" fmla="*/ 0 w 88"/>
                <a:gd name="T3" fmla="*/ 0 h 31"/>
                <a:gd name="T4" fmla="*/ 29 w 88"/>
                <a:gd name="T5" fmla="*/ 0 h 31"/>
                <a:gd name="T6" fmla="*/ 87 w 88"/>
                <a:gd name="T7" fmla="*/ 30 h 31"/>
                <a:gd name="T8" fmla="*/ 29 w 88"/>
                <a:gd name="T9" fmla="*/ 0 h 31"/>
                <a:gd name="T10" fmla="*/ 0 w 88"/>
                <a:gd name="T11" fmla="*/ 0 h 31"/>
              </a:gdLst>
              <a:ahLst/>
              <a:cxnLst>
                <a:cxn ang="0">
                  <a:pos x="T0" y="T1"/>
                </a:cxn>
                <a:cxn ang="0">
                  <a:pos x="T2" y="T3"/>
                </a:cxn>
                <a:cxn ang="0">
                  <a:pos x="T4" y="T5"/>
                </a:cxn>
                <a:cxn ang="0">
                  <a:pos x="T6" y="T7"/>
                </a:cxn>
                <a:cxn ang="0">
                  <a:pos x="T8" y="T9"/>
                </a:cxn>
                <a:cxn ang="0">
                  <a:pos x="T10" y="T11"/>
                </a:cxn>
              </a:cxnLst>
              <a:rect l="0" t="0" r="r" b="b"/>
              <a:pathLst>
                <a:path w="88" h="31">
                  <a:moveTo>
                    <a:pt x="0" y="0"/>
                  </a:moveTo>
                  <a:lnTo>
                    <a:pt x="0" y="0"/>
                  </a:lnTo>
                  <a:cubicBezTo>
                    <a:pt x="29" y="0"/>
                    <a:pt x="29" y="0"/>
                    <a:pt x="29" y="0"/>
                  </a:cubicBezTo>
                  <a:cubicBezTo>
                    <a:pt x="58" y="30"/>
                    <a:pt x="58" y="30"/>
                    <a:pt x="87" y="30"/>
                  </a:cubicBezTo>
                  <a:cubicBezTo>
                    <a:pt x="58" y="30"/>
                    <a:pt x="58" y="3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16" name="Freeform 594">
              <a:extLst>
                <a:ext uri="{FF2B5EF4-FFF2-40B4-BE49-F238E27FC236}">
                  <a16:creationId xmlns:a16="http://schemas.microsoft.com/office/drawing/2014/main" id="{30B3597E-3FB1-4CCD-80C0-30B181084B04}"/>
                </a:ext>
              </a:extLst>
            </p:cNvPr>
            <p:cNvSpPr>
              <a:spLocks noChangeArrowheads="1"/>
            </p:cNvSpPr>
            <p:nvPr/>
          </p:nvSpPr>
          <p:spPr bwMode="auto">
            <a:xfrm>
              <a:off x="10509234" y="4057188"/>
              <a:ext cx="22832" cy="21038"/>
            </a:xfrm>
            <a:custGeom>
              <a:avLst/>
              <a:gdLst>
                <a:gd name="T0" fmla="*/ 0 w 60"/>
                <a:gd name="T1" fmla="*/ 0 h 58"/>
                <a:gd name="T2" fmla="*/ 59 w 60"/>
                <a:gd name="T3" fmla="*/ 57 h 58"/>
                <a:gd name="T4" fmla="*/ 59 w 60"/>
                <a:gd name="T5" fmla="*/ 57 h 58"/>
                <a:gd name="T6" fmla="*/ 0 w 60"/>
                <a:gd name="T7" fmla="*/ 0 h 58"/>
              </a:gdLst>
              <a:ahLst/>
              <a:cxnLst>
                <a:cxn ang="0">
                  <a:pos x="T0" y="T1"/>
                </a:cxn>
                <a:cxn ang="0">
                  <a:pos x="T2" y="T3"/>
                </a:cxn>
                <a:cxn ang="0">
                  <a:pos x="T4" y="T5"/>
                </a:cxn>
                <a:cxn ang="0">
                  <a:pos x="T6" y="T7"/>
                </a:cxn>
              </a:cxnLst>
              <a:rect l="0" t="0" r="r" b="b"/>
              <a:pathLst>
                <a:path w="60" h="58">
                  <a:moveTo>
                    <a:pt x="0" y="0"/>
                  </a:moveTo>
                  <a:lnTo>
                    <a:pt x="59" y="57"/>
                  </a:lnTo>
                  <a:lnTo>
                    <a:pt x="59" y="57"/>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17" name="Freeform 595">
              <a:extLst>
                <a:ext uri="{FF2B5EF4-FFF2-40B4-BE49-F238E27FC236}">
                  <a16:creationId xmlns:a16="http://schemas.microsoft.com/office/drawing/2014/main" id="{8774A233-21D7-4950-B295-8C111D010EEC}"/>
                </a:ext>
              </a:extLst>
            </p:cNvPr>
            <p:cNvSpPr>
              <a:spLocks noChangeArrowheads="1"/>
            </p:cNvSpPr>
            <p:nvPr/>
          </p:nvSpPr>
          <p:spPr bwMode="auto">
            <a:xfrm>
              <a:off x="10532066" y="3929341"/>
              <a:ext cx="21200" cy="21039"/>
            </a:xfrm>
            <a:custGeom>
              <a:avLst/>
              <a:gdLst>
                <a:gd name="T0" fmla="*/ 0 w 59"/>
                <a:gd name="T1" fmla="*/ 57 h 58"/>
                <a:gd name="T2" fmla="*/ 0 w 59"/>
                <a:gd name="T3" fmla="*/ 57 h 58"/>
                <a:gd name="T4" fmla="*/ 58 w 59"/>
                <a:gd name="T5" fmla="*/ 0 h 58"/>
                <a:gd name="T6" fmla="*/ 0 w 59"/>
                <a:gd name="T7" fmla="*/ 57 h 58"/>
              </a:gdLst>
              <a:ahLst/>
              <a:cxnLst>
                <a:cxn ang="0">
                  <a:pos x="T0" y="T1"/>
                </a:cxn>
                <a:cxn ang="0">
                  <a:pos x="T2" y="T3"/>
                </a:cxn>
                <a:cxn ang="0">
                  <a:pos x="T4" y="T5"/>
                </a:cxn>
                <a:cxn ang="0">
                  <a:pos x="T6" y="T7"/>
                </a:cxn>
              </a:cxnLst>
              <a:rect l="0" t="0" r="r" b="b"/>
              <a:pathLst>
                <a:path w="59" h="58">
                  <a:moveTo>
                    <a:pt x="0" y="57"/>
                  </a:moveTo>
                  <a:lnTo>
                    <a:pt x="0" y="57"/>
                  </a:lnTo>
                  <a:cubicBezTo>
                    <a:pt x="29" y="57"/>
                    <a:pt x="58" y="28"/>
                    <a:pt x="58" y="0"/>
                  </a:cubicBezTo>
                  <a:cubicBezTo>
                    <a:pt x="58" y="28"/>
                    <a:pt x="29" y="57"/>
                    <a:pt x="0" y="5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18" name="Freeform 596">
              <a:extLst>
                <a:ext uri="{FF2B5EF4-FFF2-40B4-BE49-F238E27FC236}">
                  <a16:creationId xmlns:a16="http://schemas.microsoft.com/office/drawing/2014/main" id="{500FB027-7E51-4A8F-9CBA-777C1B541E9C}"/>
                </a:ext>
              </a:extLst>
            </p:cNvPr>
            <p:cNvSpPr>
              <a:spLocks noChangeArrowheads="1"/>
            </p:cNvSpPr>
            <p:nvPr/>
          </p:nvSpPr>
          <p:spPr bwMode="auto">
            <a:xfrm>
              <a:off x="10660902" y="3841951"/>
              <a:ext cx="44033" cy="11329"/>
            </a:xfrm>
            <a:custGeom>
              <a:avLst/>
              <a:gdLst>
                <a:gd name="T0" fmla="*/ 58 w 118"/>
                <a:gd name="T1" fmla="*/ 29 h 30"/>
                <a:gd name="T2" fmla="*/ 58 w 118"/>
                <a:gd name="T3" fmla="*/ 29 h 30"/>
                <a:gd name="T4" fmla="*/ 0 w 118"/>
                <a:gd name="T5" fmla="*/ 29 h 30"/>
                <a:gd name="T6" fmla="*/ 58 w 118"/>
                <a:gd name="T7" fmla="*/ 29 h 30"/>
                <a:gd name="T8" fmla="*/ 117 w 118"/>
                <a:gd name="T9" fmla="*/ 0 h 30"/>
                <a:gd name="T10" fmla="*/ 58 w 118"/>
                <a:gd name="T11" fmla="*/ 29 h 30"/>
              </a:gdLst>
              <a:ahLst/>
              <a:cxnLst>
                <a:cxn ang="0">
                  <a:pos x="T0" y="T1"/>
                </a:cxn>
                <a:cxn ang="0">
                  <a:pos x="T2" y="T3"/>
                </a:cxn>
                <a:cxn ang="0">
                  <a:pos x="T4" y="T5"/>
                </a:cxn>
                <a:cxn ang="0">
                  <a:pos x="T6" y="T7"/>
                </a:cxn>
                <a:cxn ang="0">
                  <a:pos x="T8" y="T9"/>
                </a:cxn>
                <a:cxn ang="0">
                  <a:pos x="T10" y="T11"/>
                </a:cxn>
              </a:cxnLst>
              <a:rect l="0" t="0" r="r" b="b"/>
              <a:pathLst>
                <a:path w="118" h="30">
                  <a:moveTo>
                    <a:pt x="58" y="29"/>
                  </a:moveTo>
                  <a:lnTo>
                    <a:pt x="58" y="29"/>
                  </a:lnTo>
                  <a:cubicBezTo>
                    <a:pt x="58" y="29"/>
                    <a:pt x="29" y="29"/>
                    <a:pt x="0" y="29"/>
                  </a:cubicBezTo>
                  <a:cubicBezTo>
                    <a:pt x="29" y="29"/>
                    <a:pt x="58" y="29"/>
                    <a:pt x="58" y="29"/>
                  </a:cubicBezTo>
                  <a:cubicBezTo>
                    <a:pt x="88" y="29"/>
                    <a:pt x="117" y="0"/>
                    <a:pt x="117" y="0"/>
                  </a:cubicBezTo>
                  <a:cubicBezTo>
                    <a:pt x="117" y="0"/>
                    <a:pt x="88" y="29"/>
                    <a:pt x="5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19" name="Freeform 597">
              <a:extLst>
                <a:ext uri="{FF2B5EF4-FFF2-40B4-BE49-F238E27FC236}">
                  <a16:creationId xmlns:a16="http://schemas.microsoft.com/office/drawing/2014/main" id="{ACEDDE3E-454D-443C-990B-A588FDBADBB9}"/>
                </a:ext>
              </a:extLst>
            </p:cNvPr>
            <p:cNvSpPr>
              <a:spLocks noChangeArrowheads="1"/>
            </p:cNvSpPr>
            <p:nvPr/>
          </p:nvSpPr>
          <p:spPr bwMode="auto">
            <a:xfrm>
              <a:off x="10768538" y="3617005"/>
              <a:ext cx="1631" cy="22656"/>
            </a:xfrm>
            <a:custGeom>
              <a:avLst/>
              <a:gdLst>
                <a:gd name="T0" fmla="*/ 0 w 1"/>
                <a:gd name="T1" fmla="*/ 59 h 60"/>
                <a:gd name="T2" fmla="*/ 0 w 1"/>
                <a:gd name="T3" fmla="*/ 59 h 60"/>
                <a:gd name="T4" fmla="*/ 0 w 1"/>
                <a:gd name="T5" fmla="*/ 0 h 60"/>
                <a:gd name="T6" fmla="*/ 0 w 1"/>
                <a:gd name="T7" fmla="*/ 59 h 60"/>
              </a:gdLst>
              <a:ahLst/>
              <a:cxnLst>
                <a:cxn ang="0">
                  <a:pos x="T0" y="T1"/>
                </a:cxn>
                <a:cxn ang="0">
                  <a:pos x="T2" y="T3"/>
                </a:cxn>
                <a:cxn ang="0">
                  <a:pos x="T4" y="T5"/>
                </a:cxn>
                <a:cxn ang="0">
                  <a:pos x="T6" y="T7"/>
                </a:cxn>
              </a:cxnLst>
              <a:rect l="0" t="0" r="r" b="b"/>
              <a:pathLst>
                <a:path w="1" h="60">
                  <a:moveTo>
                    <a:pt x="0" y="59"/>
                  </a:moveTo>
                  <a:lnTo>
                    <a:pt x="0" y="59"/>
                  </a:lnTo>
                  <a:cubicBezTo>
                    <a:pt x="0" y="30"/>
                    <a:pt x="0" y="30"/>
                    <a:pt x="0" y="0"/>
                  </a:cubicBezTo>
                  <a:cubicBezTo>
                    <a:pt x="0" y="30"/>
                    <a:pt x="0" y="30"/>
                    <a:pt x="0"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20" name="Freeform 598">
              <a:extLst>
                <a:ext uri="{FF2B5EF4-FFF2-40B4-BE49-F238E27FC236}">
                  <a16:creationId xmlns:a16="http://schemas.microsoft.com/office/drawing/2014/main" id="{D3413F3A-4A9B-4547-BC2D-60F7E99B1BFE}"/>
                </a:ext>
              </a:extLst>
            </p:cNvPr>
            <p:cNvSpPr>
              <a:spLocks noChangeArrowheads="1"/>
            </p:cNvSpPr>
            <p:nvPr/>
          </p:nvSpPr>
          <p:spPr bwMode="auto">
            <a:xfrm>
              <a:off x="10704935" y="3702776"/>
              <a:ext cx="44032" cy="53405"/>
            </a:xfrm>
            <a:custGeom>
              <a:avLst/>
              <a:gdLst>
                <a:gd name="T0" fmla="*/ 0 w 117"/>
                <a:gd name="T1" fmla="*/ 88 h 147"/>
                <a:gd name="T2" fmla="*/ 0 w 117"/>
                <a:gd name="T3" fmla="*/ 88 h 147"/>
                <a:gd name="T4" fmla="*/ 0 w 117"/>
                <a:gd name="T5" fmla="*/ 88 h 147"/>
                <a:gd name="T6" fmla="*/ 0 w 117"/>
                <a:gd name="T7" fmla="*/ 88 h 147"/>
                <a:gd name="T8" fmla="*/ 0 w 117"/>
                <a:gd name="T9" fmla="*/ 117 h 147"/>
                <a:gd name="T10" fmla="*/ 0 w 117"/>
                <a:gd name="T11" fmla="*/ 146 h 147"/>
                <a:gd name="T12" fmla="*/ 0 w 117"/>
                <a:gd name="T13" fmla="*/ 117 h 147"/>
                <a:gd name="T14" fmla="*/ 0 w 117"/>
                <a:gd name="T15" fmla="*/ 88 h 147"/>
                <a:gd name="T16" fmla="*/ 0 w 117"/>
                <a:gd name="T17" fmla="*/ 88 h 147"/>
                <a:gd name="T18" fmla="*/ 0 w 117"/>
                <a:gd name="T19" fmla="*/ 88 h 147"/>
                <a:gd name="T20" fmla="*/ 116 w 117"/>
                <a:gd name="T21" fmla="*/ 0 h 147"/>
                <a:gd name="T22" fmla="*/ 0 w 117"/>
                <a:gd name="T23" fmla="*/ 8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7" h="147">
                  <a:moveTo>
                    <a:pt x="0" y="88"/>
                  </a:moveTo>
                  <a:lnTo>
                    <a:pt x="0" y="88"/>
                  </a:lnTo>
                  <a:lnTo>
                    <a:pt x="0" y="88"/>
                  </a:lnTo>
                  <a:lnTo>
                    <a:pt x="0" y="88"/>
                  </a:lnTo>
                  <a:lnTo>
                    <a:pt x="0" y="117"/>
                  </a:lnTo>
                  <a:cubicBezTo>
                    <a:pt x="0" y="146"/>
                    <a:pt x="0" y="146"/>
                    <a:pt x="0" y="146"/>
                  </a:cubicBezTo>
                  <a:cubicBezTo>
                    <a:pt x="0" y="117"/>
                    <a:pt x="0" y="117"/>
                    <a:pt x="0" y="117"/>
                  </a:cubicBezTo>
                  <a:lnTo>
                    <a:pt x="0" y="88"/>
                  </a:lnTo>
                  <a:lnTo>
                    <a:pt x="0" y="88"/>
                  </a:lnTo>
                  <a:lnTo>
                    <a:pt x="0" y="88"/>
                  </a:lnTo>
                  <a:cubicBezTo>
                    <a:pt x="57" y="88"/>
                    <a:pt x="87" y="59"/>
                    <a:pt x="116" y="0"/>
                  </a:cubicBezTo>
                  <a:cubicBezTo>
                    <a:pt x="87" y="59"/>
                    <a:pt x="57" y="88"/>
                    <a:pt x="0"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21" name="Freeform 599">
              <a:extLst>
                <a:ext uri="{FF2B5EF4-FFF2-40B4-BE49-F238E27FC236}">
                  <a16:creationId xmlns:a16="http://schemas.microsoft.com/office/drawing/2014/main" id="{F9ED23FB-B193-4BB2-912A-58354D0E90E1}"/>
                </a:ext>
              </a:extLst>
            </p:cNvPr>
            <p:cNvSpPr>
              <a:spLocks noChangeArrowheads="1"/>
            </p:cNvSpPr>
            <p:nvPr/>
          </p:nvSpPr>
          <p:spPr bwMode="auto">
            <a:xfrm>
              <a:off x="10651117" y="3841951"/>
              <a:ext cx="11416" cy="11329"/>
            </a:xfrm>
            <a:custGeom>
              <a:avLst/>
              <a:gdLst>
                <a:gd name="T0" fmla="*/ 29 w 30"/>
                <a:gd name="T1" fmla="*/ 29 h 30"/>
                <a:gd name="T2" fmla="*/ 29 w 30"/>
                <a:gd name="T3" fmla="*/ 29 h 30"/>
                <a:gd name="T4" fmla="*/ 0 w 30"/>
                <a:gd name="T5" fmla="*/ 0 h 30"/>
                <a:gd name="T6" fmla="*/ 29 w 30"/>
                <a:gd name="T7" fmla="*/ 29 h 30"/>
              </a:gdLst>
              <a:ahLst/>
              <a:cxnLst>
                <a:cxn ang="0">
                  <a:pos x="T0" y="T1"/>
                </a:cxn>
                <a:cxn ang="0">
                  <a:pos x="T2" y="T3"/>
                </a:cxn>
                <a:cxn ang="0">
                  <a:pos x="T4" y="T5"/>
                </a:cxn>
                <a:cxn ang="0">
                  <a:pos x="T6" y="T7"/>
                </a:cxn>
              </a:cxnLst>
              <a:rect l="0" t="0" r="r" b="b"/>
              <a:pathLst>
                <a:path w="30" h="30">
                  <a:moveTo>
                    <a:pt x="29" y="29"/>
                  </a:moveTo>
                  <a:lnTo>
                    <a:pt x="29" y="29"/>
                  </a:lnTo>
                  <a:cubicBezTo>
                    <a:pt x="29" y="29"/>
                    <a:pt x="29" y="0"/>
                    <a:pt x="0" y="0"/>
                  </a:cubicBezTo>
                  <a:cubicBezTo>
                    <a:pt x="29" y="0"/>
                    <a:pt x="29"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22" name="Freeform 600">
              <a:extLst>
                <a:ext uri="{FF2B5EF4-FFF2-40B4-BE49-F238E27FC236}">
                  <a16:creationId xmlns:a16="http://schemas.microsoft.com/office/drawing/2014/main" id="{5F975551-8272-4C2C-A16D-554FE13CD105}"/>
                </a:ext>
              </a:extLst>
            </p:cNvPr>
            <p:cNvSpPr>
              <a:spLocks noChangeArrowheads="1"/>
            </p:cNvSpPr>
            <p:nvPr/>
          </p:nvSpPr>
          <p:spPr bwMode="auto">
            <a:xfrm>
              <a:off x="10595668" y="3864608"/>
              <a:ext cx="22832" cy="11329"/>
            </a:xfrm>
            <a:custGeom>
              <a:avLst/>
              <a:gdLst>
                <a:gd name="T0" fmla="*/ 30 w 60"/>
                <a:gd name="T1" fmla="*/ 29 h 30"/>
                <a:gd name="T2" fmla="*/ 30 w 60"/>
                <a:gd name="T3" fmla="*/ 29 h 30"/>
                <a:gd name="T4" fmla="*/ 30 w 60"/>
                <a:gd name="T5" fmla="*/ 29 h 30"/>
                <a:gd name="T6" fmla="*/ 0 w 60"/>
                <a:gd name="T7" fmla="*/ 29 h 30"/>
                <a:gd name="T8" fmla="*/ 0 w 60"/>
                <a:gd name="T9" fmla="*/ 29 h 30"/>
                <a:gd name="T10" fmla="*/ 30 w 60"/>
                <a:gd name="T11" fmla="*/ 29 h 30"/>
                <a:gd name="T12" fmla="*/ 30 w 60"/>
                <a:gd name="T13" fmla="*/ 29 h 30"/>
                <a:gd name="T14" fmla="*/ 59 w 60"/>
                <a:gd name="T15" fmla="*/ 0 h 30"/>
                <a:gd name="T16" fmla="*/ 30 w 60"/>
                <a:gd name="T1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30">
                  <a:moveTo>
                    <a:pt x="30" y="29"/>
                  </a:moveTo>
                  <a:lnTo>
                    <a:pt x="30" y="29"/>
                  </a:lnTo>
                  <a:lnTo>
                    <a:pt x="30" y="29"/>
                  </a:lnTo>
                  <a:cubicBezTo>
                    <a:pt x="0" y="29"/>
                    <a:pt x="0" y="29"/>
                    <a:pt x="0" y="29"/>
                  </a:cubicBezTo>
                  <a:lnTo>
                    <a:pt x="0" y="29"/>
                  </a:lnTo>
                  <a:cubicBezTo>
                    <a:pt x="30" y="29"/>
                    <a:pt x="30" y="29"/>
                    <a:pt x="30" y="29"/>
                  </a:cubicBezTo>
                  <a:lnTo>
                    <a:pt x="30" y="29"/>
                  </a:lnTo>
                  <a:cubicBezTo>
                    <a:pt x="59" y="29"/>
                    <a:pt x="59" y="29"/>
                    <a:pt x="59" y="0"/>
                  </a:cubicBezTo>
                  <a:cubicBezTo>
                    <a:pt x="59" y="29"/>
                    <a:pt x="59" y="29"/>
                    <a:pt x="3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23" name="Freeform 601">
              <a:extLst>
                <a:ext uri="{FF2B5EF4-FFF2-40B4-BE49-F238E27FC236}">
                  <a16:creationId xmlns:a16="http://schemas.microsoft.com/office/drawing/2014/main" id="{F6BDAAE2-EB42-4666-9A19-F8FE484AE2D0}"/>
                </a:ext>
              </a:extLst>
            </p:cNvPr>
            <p:cNvSpPr>
              <a:spLocks noChangeArrowheads="1"/>
            </p:cNvSpPr>
            <p:nvPr/>
          </p:nvSpPr>
          <p:spPr bwMode="auto">
            <a:xfrm>
              <a:off x="10553266" y="3929341"/>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24" name="Freeform 602">
              <a:extLst>
                <a:ext uri="{FF2B5EF4-FFF2-40B4-BE49-F238E27FC236}">
                  <a16:creationId xmlns:a16="http://schemas.microsoft.com/office/drawing/2014/main" id="{8D95D335-423D-42E0-9BD2-E84C14CF951C}"/>
                </a:ext>
              </a:extLst>
            </p:cNvPr>
            <p:cNvSpPr>
              <a:spLocks noChangeArrowheads="1"/>
            </p:cNvSpPr>
            <p:nvPr/>
          </p:nvSpPr>
          <p:spPr bwMode="auto">
            <a:xfrm>
              <a:off x="8428275" y="5105860"/>
              <a:ext cx="11415" cy="1618"/>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25" name="Freeform 603">
              <a:extLst>
                <a:ext uri="{FF2B5EF4-FFF2-40B4-BE49-F238E27FC236}">
                  <a16:creationId xmlns:a16="http://schemas.microsoft.com/office/drawing/2014/main" id="{44289F06-8F42-45F1-B858-33F361169ACE}"/>
                </a:ext>
              </a:extLst>
            </p:cNvPr>
            <p:cNvSpPr>
              <a:spLocks noChangeArrowheads="1"/>
            </p:cNvSpPr>
            <p:nvPr/>
          </p:nvSpPr>
          <p:spPr bwMode="auto">
            <a:xfrm>
              <a:off x="8503294" y="5126897"/>
              <a:ext cx="44032" cy="11329"/>
            </a:xfrm>
            <a:custGeom>
              <a:avLst/>
              <a:gdLst>
                <a:gd name="T0" fmla="*/ 58 w 118"/>
                <a:gd name="T1" fmla="*/ 29 h 30"/>
                <a:gd name="T2" fmla="*/ 58 w 118"/>
                <a:gd name="T3" fmla="*/ 29 h 30"/>
                <a:gd name="T4" fmla="*/ 0 w 118"/>
                <a:gd name="T5" fmla="*/ 0 h 30"/>
                <a:gd name="T6" fmla="*/ 58 w 118"/>
                <a:gd name="T7" fmla="*/ 29 h 30"/>
                <a:gd name="T8" fmla="*/ 117 w 118"/>
                <a:gd name="T9" fmla="*/ 29 h 30"/>
                <a:gd name="T10" fmla="*/ 58 w 118"/>
                <a:gd name="T11" fmla="*/ 29 h 30"/>
              </a:gdLst>
              <a:ahLst/>
              <a:cxnLst>
                <a:cxn ang="0">
                  <a:pos x="T0" y="T1"/>
                </a:cxn>
                <a:cxn ang="0">
                  <a:pos x="T2" y="T3"/>
                </a:cxn>
                <a:cxn ang="0">
                  <a:pos x="T4" y="T5"/>
                </a:cxn>
                <a:cxn ang="0">
                  <a:pos x="T6" y="T7"/>
                </a:cxn>
                <a:cxn ang="0">
                  <a:pos x="T8" y="T9"/>
                </a:cxn>
                <a:cxn ang="0">
                  <a:pos x="T10" y="T11"/>
                </a:cxn>
              </a:cxnLst>
              <a:rect l="0" t="0" r="r" b="b"/>
              <a:pathLst>
                <a:path w="118" h="30">
                  <a:moveTo>
                    <a:pt x="58" y="29"/>
                  </a:moveTo>
                  <a:lnTo>
                    <a:pt x="58" y="29"/>
                  </a:lnTo>
                  <a:cubicBezTo>
                    <a:pt x="29" y="0"/>
                    <a:pt x="29" y="0"/>
                    <a:pt x="0" y="0"/>
                  </a:cubicBezTo>
                  <a:cubicBezTo>
                    <a:pt x="29" y="0"/>
                    <a:pt x="29" y="0"/>
                    <a:pt x="58" y="29"/>
                  </a:cubicBezTo>
                  <a:cubicBezTo>
                    <a:pt x="58" y="29"/>
                    <a:pt x="88" y="29"/>
                    <a:pt x="117" y="29"/>
                  </a:cubicBezTo>
                  <a:cubicBezTo>
                    <a:pt x="88" y="29"/>
                    <a:pt x="58" y="29"/>
                    <a:pt x="5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26" name="Freeform 604">
              <a:extLst>
                <a:ext uri="{FF2B5EF4-FFF2-40B4-BE49-F238E27FC236}">
                  <a16:creationId xmlns:a16="http://schemas.microsoft.com/office/drawing/2014/main" id="{23C10C39-7A1D-4F03-99B0-CCD79F43E916}"/>
                </a:ext>
              </a:extLst>
            </p:cNvPr>
            <p:cNvSpPr>
              <a:spLocks noChangeArrowheads="1"/>
            </p:cNvSpPr>
            <p:nvPr/>
          </p:nvSpPr>
          <p:spPr bwMode="auto">
            <a:xfrm>
              <a:off x="7997732" y="5052455"/>
              <a:ext cx="11415" cy="1619"/>
            </a:xfrm>
            <a:custGeom>
              <a:avLst/>
              <a:gdLst>
                <a:gd name="T0" fmla="*/ 0 w 29"/>
                <a:gd name="T1" fmla="*/ 0 h 1"/>
                <a:gd name="T2" fmla="*/ 0 w 29"/>
                <a:gd name="T3" fmla="*/ 0 h 1"/>
                <a:gd name="T4" fmla="*/ 28 w 29"/>
                <a:gd name="T5" fmla="*/ 0 h 1"/>
                <a:gd name="T6" fmla="*/ 28 w 29"/>
                <a:gd name="T7" fmla="*/ 0 h 1"/>
                <a:gd name="T8" fmla="*/ 0 w 29"/>
                <a:gd name="T9" fmla="*/ 0 h 1"/>
              </a:gdLst>
              <a:ahLst/>
              <a:cxnLst>
                <a:cxn ang="0">
                  <a:pos x="T0" y="T1"/>
                </a:cxn>
                <a:cxn ang="0">
                  <a:pos x="T2" y="T3"/>
                </a:cxn>
                <a:cxn ang="0">
                  <a:pos x="T4" y="T5"/>
                </a:cxn>
                <a:cxn ang="0">
                  <a:pos x="T6" y="T7"/>
                </a:cxn>
                <a:cxn ang="0">
                  <a:pos x="T8" y="T9"/>
                </a:cxn>
              </a:cxnLst>
              <a:rect l="0" t="0" r="r" b="b"/>
              <a:pathLst>
                <a:path w="29" h="1">
                  <a:moveTo>
                    <a:pt x="0" y="0"/>
                  </a:moveTo>
                  <a:lnTo>
                    <a:pt x="0" y="0"/>
                  </a:lnTo>
                  <a:lnTo>
                    <a:pt x="28" y="0"/>
                  </a:lnTo>
                  <a:lnTo>
                    <a:pt x="28"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27" name="Freeform 605">
              <a:extLst>
                <a:ext uri="{FF2B5EF4-FFF2-40B4-BE49-F238E27FC236}">
                  <a16:creationId xmlns:a16="http://schemas.microsoft.com/office/drawing/2014/main" id="{65476ABF-5B02-43EF-BFFA-FD36130E9B05}"/>
                </a:ext>
              </a:extLst>
            </p:cNvPr>
            <p:cNvSpPr>
              <a:spLocks noChangeArrowheads="1"/>
            </p:cNvSpPr>
            <p:nvPr/>
          </p:nvSpPr>
          <p:spPr bwMode="auto">
            <a:xfrm>
              <a:off x="8439690" y="5094531"/>
              <a:ext cx="53818" cy="21039"/>
            </a:xfrm>
            <a:custGeom>
              <a:avLst/>
              <a:gdLst>
                <a:gd name="T0" fmla="*/ 0 w 147"/>
                <a:gd name="T1" fmla="*/ 29 h 59"/>
                <a:gd name="T2" fmla="*/ 0 w 147"/>
                <a:gd name="T3" fmla="*/ 29 h 59"/>
                <a:gd name="T4" fmla="*/ 87 w 147"/>
                <a:gd name="T5" fmla="*/ 29 h 59"/>
                <a:gd name="T6" fmla="*/ 146 w 147"/>
                <a:gd name="T7" fmla="*/ 0 h 59"/>
                <a:gd name="T8" fmla="*/ 87 w 147"/>
                <a:gd name="T9" fmla="*/ 29 h 59"/>
                <a:gd name="T10" fmla="*/ 0 w 147"/>
                <a:gd name="T11" fmla="*/ 29 h 59"/>
              </a:gdLst>
              <a:ahLst/>
              <a:cxnLst>
                <a:cxn ang="0">
                  <a:pos x="T0" y="T1"/>
                </a:cxn>
                <a:cxn ang="0">
                  <a:pos x="T2" y="T3"/>
                </a:cxn>
                <a:cxn ang="0">
                  <a:pos x="T4" y="T5"/>
                </a:cxn>
                <a:cxn ang="0">
                  <a:pos x="T6" y="T7"/>
                </a:cxn>
                <a:cxn ang="0">
                  <a:pos x="T8" y="T9"/>
                </a:cxn>
                <a:cxn ang="0">
                  <a:pos x="T10" y="T11"/>
                </a:cxn>
              </a:cxnLst>
              <a:rect l="0" t="0" r="r" b="b"/>
              <a:pathLst>
                <a:path w="147" h="59">
                  <a:moveTo>
                    <a:pt x="0" y="29"/>
                  </a:moveTo>
                  <a:lnTo>
                    <a:pt x="0" y="29"/>
                  </a:lnTo>
                  <a:cubicBezTo>
                    <a:pt x="29" y="58"/>
                    <a:pt x="58" y="29"/>
                    <a:pt x="87" y="29"/>
                  </a:cubicBezTo>
                  <a:cubicBezTo>
                    <a:pt x="116" y="29"/>
                    <a:pt x="116" y="0"/>
                    <a:pt x="146" y="0"/>
                  </a:cubicBezTo>
                  <a:cubicBezTo>
                    <a:pt x="116" y="0"/>
                    <a:pt x="116" y="29"/>
                    <a:pt x="87" y="29"/>
                  </a:cubicBezTo>
                  <a:cubicBezTo>
                    <a:pt x="58" y="29"/>
                    <a:pt x="29" y="58"/>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28" name="Freeform 606">
              <a:extLst>
                <a:ext uri="{FF2B5EF4-FFF2-40B4-BE49-F238E27FC236}">
                  <a16:creationId xmlns:a16="http://schemas.microsoft.com/office/drawing/2014/main" id="{E5448316-BCA9-4A9E-BF9C-949B3EF912DE}"/>
                </a:ext>
              </a:extLst>
            </p:cNvPr>
            <p:cNvSpPr>
              <a:spLocks noChangeArrowheads="1"/>
            </p:cNvSpPr>
            <p:nvPr/>
          </p:nvSpPr>
          <p:spPr bwMode="auto">
            <a:xfrm>
              <a:off x="8374457" y="5008761"/>
              <a:ext cx="11416" cy="11328"/>
            </a:xfrm>
            <a:custGeom>
              <a:avLst/>
              <a:gdLst>
                <a:gd name="T0" fmla="*/ 0 w 30"/>
                <a:gd name="T1" fmla="*/ 29 h 30"/>
                <a:gd name="T2" fmla="*/ 0 w 30"/>
                <a:gd name="T3" fmla="*/ 29 h 30"/>
                <a:gd name="T4" fmla="*/ 29 w 30"/>
                <a:gd name="T5" fmla="*/ 0 h 30"/>
                <a:gd name="T6" fmla="*/ 0 w 30"/>
                <a:gd name="T7" fmla="*/ 29 h 30"/>
              </a:gdLst>
              <a:ahLst/>
              <a:cxnLst>
                <a:cxn ang="0">
                  <a:pos x="T0" y="T1"/>
                </a:cxn>
                <a:cxn ang="0">
                  <a:pos x="T2" y="T3"/>
                </a:cxn>
                <a:cxn ang="0">
                  <a:pos x="T4" y="T5"/>
                </a:cxn>
                <a:cxn ang="0">
                  <a:pos x="T6" y="T7"/>
                </a:cxn>
              </a:cxnLst>
              <a:rect l="0" t="0" r="r" b="b"/>
              <a:pathLst>
                <a:path w="30" h="30">
                  <a:moveTo>
                    <a:pt x="0" y="29"/>
                  </a:moveTo>
                  <a:lnTo>
                    <a:pt x="0" y="29"/>
                  </a:lnTo>
                  <a:lnTo>
                    <a:pt x="29"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29" name="Freeform 607">
              <a:extLst>
                <a:ext uri="{FF2B5EF4-FFF2-40B4-BE49-F238E27FC236}">
                  <a16:creationId xmlns:a16="http://schemas.microsoft.com/office/drawing/2014/main" id="{A1589D3D-1E57-422D-A13F-440493DE3E54}"/>
                </a:ext>
              </a:extLst>
            </p:cNvPr>
            <p:cNvSpPr>
              <a:spLocks noChangeArrowheads="1"/>
            </p:cNvSpPr>
            <p:nvPr/>
          </p:nvSpPr>
          <p:spPr bwMode="auto">
            <a:xfrm>
              <a:off x="8407074" y="5052455"/>
              <a:ext cx="21202" cy="1619"/>
            </a:xfrm>
            <a:custGeom>
              <a:avLst/>
              <a:gdLst>
                <a:gd name="T0" fmla="*/ 58 w 59"/>
                <a:gd name="T1" fmla="*/ 0 h 1"/>
                <a:gd name="T2" fmla="*/ 58 w 59"/>
                <a:gd name="T3" fmla="*/ 0 h 1"/>
                <a:gd name="T4" fmla="*/ 58 w 59"/>
                <a:gd name="T5" fmla="*/ 0 h 1"/>
                <a:gd name="T6" fmla="*/ 29 w 59"/>
                <a:gd name="T7" fmla="*/ 0 h 1"/>
                <a:gd name="T8" fmla="*/ 0 w 59"/>
                <a:gd name="T9" fmla="*/ 0 h 1"/>
                <a:gd name="T10" fmla="*/ 29 w 59"/>
                <a:gd name="T11" fmla="*/ 0 h 1"/>
                <a:gd name="T12" fmla="*/ 58 w 59"/>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59" h="1">
                  <a:moveTo>
                    <a:pt x="58" y="0"/>
                  </a:moveTo>
                  <a:lnTo>
                    <a:pt x="58" y="0"/>
                  </a:lnTo>
                  <a:lnTo>
                    <a:pt x="58" y="0"/>
                  </a:lnTo>
                  <a:cubicBezTo>
                    <a:pt x="29" y="0"/>
                    <a:pt x="29" y="0"/>
                    <a:pt x="29" y="0"/>
                  </a:cubicBezTo>
                  <a:lnTo>
                    <a:pt x="0" y="0"/>
                  </a:lnTo>
                  <a:lnTo>
                    <a:pt x="29" y="0"/>
                  </a:lnTo>
                  <a:cubicBezTo>
                    <a:pt x="58" y="0"/>
                    <a:pt x="58" y="0"/>
                    <a:pt x="5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30" name="Freeform 608">
              <a:extLst>
                <a:ext uri="{FF2B5EF4-FFF2-40B4-BE49-F238E27FC236}">
                  <a16:creationId xmlns:a16="http://schemas.microsoft.com/office/drawing/2014/main" id="{7FD5C1FD-18C7-4514-91AD-2567CDE0454A}"/>
                </a:ext>
              </a:extLst>
            </p:cNvPr>
            <p:cNvSpPr>
              <a:spLocks noChangeArrowheads="1"/>
            </p:cNvSpPr>
            <p:nvPr/>
          </p:nvSpPr>
          <p:spPr bwMode="auto">
            <a:xfrm>
              <a:off x="8385873" y="4999051"/>
              <a:ext cx="11415" cy="53404"/>
            </a:xfrm>
            <a:custGeom>
              <a:avLst/>
              <a:gdLst>
                <a:gd name="T0" fmla="*/ 0 w 30"/>
                <a:gd name="T1" fmla="*/ 117 h 147"/>
                <a:gd name="T2" fmla="*/ 0 w 30"/>
                <a:gd name="T3" fmla="*/ 117 h 147"/>
                <a:gd name="T4" fmla="*/ 29 w 30"/>
                <a:gd name="T5" fmla="*/ 0 h 147"/>
                <a:gd name="T6" fmla="*/ 29 w 30"/>
                <a:gd name="T7" fmla="*/ 0 h 147"/>
                <a:gd name="T8" fmla="*/ 29 w 30"/>
                <a:gd name="T9" fmla="*/ 0 h 147"/>
                <a:gd name="T10" fmla="*/ 0 w 30"/>
                <a:gd name="T11" fmla="*/ 117 h 147"/>
                <a:gd name="T12" fmla="*/ 0 w 30"/>
                <a:gd name="T13" fmla="*/ 146 h 147"/>
                <a:gd name="T14" fmla="*/ 0 w 30"/>
                <a:gd name="T15" fmla="*/ 146 h 147"/>
                <a:gd name="T16" fmla="*/ 0 w 30"/>
                <a:gd name="T17" fmla="*/ 11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47">
                  <a:moveTo>
                    <a:pt x="0" y="117"/>
                  </a:moveTo>
                  <a:lnTo>
                    <a:pt x="0" y="117"/>
                  </a:lnTo>
                  <a:cubicBezTo>
                    <a:pt x="29" y="87"/>
                    <a:pt x="29" y="29"/>
                    <a:pt x="29" y="0"/>
                  </a:cubicBezTo>
                  <a:lnTo>
                    <a:pt x="29" y="0"/>
                  </a:lnTo>
                  <a:lnTo>
                    <a:pt x="29" y="0"/>
                  </a:lnTo>
                  <a:cubicBezTo>
                    <a:pt x="29" y="29"/>
                    <a:pt x="29" y="87"/>
                    <a:pt x="0" y="117"/>
                  </a:cubicBezTo>
                  <a:cubicBezTo>
                    <a:pt x="0" y="146"/>
                    <a:pt x="0" y="146"/>
                    <a:pt x="0" y="146"/>
                  </a:cubicBezTo>
                  <a:lnTo>
                    <a:pt x="0" y="146"/>
                  </a:lnTo>
                  <a:lnTo>
                    <a:pt x="0" y="11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31" name="Freeform 609">
              <a:extLst>
                <a:ext uri="{FF2B5EF4-FFF2-40B4-BE49-F238E27FC236}">
                  <a16:creationId xmlns:a16="http://schemas.microsoft.com/office/drawing/2014/main" id="{9066AAE4-171E-4086-8CC3-427814EEEF42}"/>
                </a:ext>
              </a:extLst>
            </p:cNvPr>
            <p:cNvSpPr>
              <a:spLocks noChangeArrowheads="1"/>
            </p:cNvSpPr>
            <p:nvPr/>
          </p:nvSpPr>
          <p:spPr bwMode="auto">
            <a:xfrm>
              <a:off x="8428275" y="5073493"/>
              <a:ext cx="21200" cy="32366"/>
            </a:xfrm>
            <a:custGeom>
              <a:avLst/>
              <a:gdLst>
                <a:gd name="T0" fmla="*/ 0 w 59"/>
                <a:gd name="T1" fmla="*/ 58 h 88"/>
                <a:gd name="T2" fmla="*/ 0 w 59"/>
                <a:gd name="T3" fmla="*/ 58 h 88"/>
                <a:gd name="T4" fmla="*/ 58 w 59"/>
                <a:gd name="T5" fmla="*/ 0 h 88"/>
                <a:gd name="T6" fmla="*/ 58 w 59"/>
                <a:gd name="T7" fmla="*/ 0 h 88"/>
                <a:gd name="T8" fmla="*/ 58 w 59"/>
                <a:gd name="T9" fmla="*/ 0 h 88"/>
                <a:gd name="T10" fmla="*/ 0 w 59"/>
                <a:gd name="T11" fmla="*/ 58 h 88"/>
                <a:gd name="T12" fmla="*/ 0 w 59"/>
                <a:gd name="T13" fmla="*/ 87 h 88"/>
                <a:gd name="T14" fmla="*/ 0 w 59"/>
                <a:gd name="T15" fmla="*/ 5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88">
                  <a:moveTo>
                    <a:pt x="0" y="58"/>
                  </a:moveTo>
                  <a:lnTo>
                    <a:pt x="0" y="58"/>
                  </a:lnTo>
                  <a:cubicBezTo>
                    <a:pt x="0" y="29"/>
                    <a:pt x="29" y="29"/>
                    <a:pt x="58" y="0"/>
                  </a:cubicBezTo>
                  <a:lnTo>
                    <a:pt x="58" y="0"/>
                  </a:lnTo>
                  <a:lnTo>
                    <a:pt x="58" y="0"/>
                  </a:lnTo>
                  <a:cubicBezTo>
                    <a:pt x="29" y="29"/>
                    <a:pt x="0" y="29"/>
                    <a:pt x="0" y="58"/>
                  </a:cubicBezTo>
                  <a:cubicBezTo>
                    <a:pt x="0" y="58"/>
                    <a:pt x="0" y="58"/>
                    <a:pt x="0" y="87"/>
                  </a:cubicBezTo>
                  <a:cubicBezTo>
                    <a:pt x="0" y="58"/>
                    <a:pt x="0" y="58"/>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32" name="Freeform 610">
              <a:extLst>
                <a:ext uri="{FF2B5EF4-FFF2-40B4-BE49-F238E27FC236}">
                  <a16:creationId xmlns:a16="http://schemas.microsoft.com/office/drawing/2014/main" id="{66DDED90-0D35-4A79-91F5-E295FB74EF0F}"/>
                </a:ext>
              </a:extLst>
            </p:cNvPr>
            <p:cNvSpPr>
              <a:spLocks noChangeArrowheads="1"/>
            </p:cNvSpPr>
            <p:nvPr/>
          </p:nvSpPr>
          <p:spPr bwMode="auto">
            <a:xfrm>
              <a:off x="8643547" y="5115570"/>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33" name="Freeform 611">
              <a:extLst>
                <a:ext uri="{FF2B5EF4-FFF2-40B4-BE49-F238E27FC236}">
                  <a16:creationId xmlns:a16="http://schemas.microsoft.com/office/drawing/2014/main" id="{9C0D2B34-30A4-4BCE-B799-3E1C67CE3395}"/>
                </a:ext>
              </a:extLst>
            </p:cNvPr>
            <p:cNvSpPr>
              <a:spLocks noChangeArrowheads="1"/>
            </p:cNvSpPr>
            <p:nvPr/>
          </p:nvSpPr>
          <p:spPr bwMode="auto">
            <a:xfrm>
              <a:off x="8558743" y="5138226"/>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34" name="Freeform 612">
              <a:extLst>
                <a:ext uri="{FF2B5EF4-FFF2-40B4-BE49-F238E27FC236}">
                  <a16:creationId xmlns:a16="http://schemas.microsoft.com/office/drawing/2014/main" id="{20030E4C-A032-4762-B43F-275E4944BF77}"/>
                </a:ext>
              </a:extLst>
            </p:cNvPr>
            <p:cNvSpPr>
              <a:spLocks noChangeArrowheads="1"/>
            </p:cNvSpPr>
            <p:nvPr/>
          </p:nvSpPr>
          <p:spPr bwMode="auto">
            <a:xfrm>
              <a:off x="8654962" y="5062165"/>
              <a:ext cx="32617" cy="21039"/>
            </a:xfrm>
            <a:custGeom>
              <a:avLst/>
              <a:gdLst>
                <a:gd name="T0" fmla="*/ 30 w 89"/>
                <a:gd name="T1" fmla="*/ 29 h 59"/>
                <a:gd name="T2" fmla="*/ 30 w 89"/>
                <a:gd name="T3" fmla="*/ 29 h 59"/>
                <a:gd name="T4" fmla="*/ 0 w 89"/>
                <a:gd name="T5" fmla="*/ 0 h 59"/>
                <a:gd name="T6" fmla="*/ 30 w 89"/>
                <a:gd name="T7" fmla="*/ 29 h 59"/>
                <a:gd name="T8" fmla="*/ 59 w 89"/>
                <a:gd name="T9" fmla="*/ 29 h 59"/>
                <a:gd name="T10" fmla="*/ 88 w 89"/>
                <a:gd name="T11" fmla="*/ 58 h 59"/>
                <a:gd name="T12" fmla="*/ 59 w 89"/>
                <a:gd name="T13" fmla="*/ 29 h 59"/>
                <a:gd name="T14" fmla="*/ 30 w 89"/>
                <a:gd name="T15" fmla="*/ 2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59">
                  <a:moveTo>
                    <a:pt x="30" y="29"/>
                  </a:moveTo>
                  <a:lnTo>
                    <a:pt x="30" y="29"/>
                  </a:lnTo>
                  <a:cubicBezTo>
                    <a:pt x="30" y="0"/>
                    <a:pt x="0" y="0"/>
                    <a:pt x="0" y="0"/>
                  </a:cubicBezTo>
                  <a:cubicBezTo>
                    <a:pt x="0" y="0"/>
                    <a:pt x="30" y="0"/>
                    <a:pt x="30" y="29"/>
                  </a:cubicBezTo>
                  <a:lnTo>
                    <a:pt x="59" y="29"/>
                  </a:lnTo>
                  <a:cubicBezTo>
                    <a:pt x="88" y="58"/>
                    <a:pt x="88" y="58"/>
                    <a:pt x="88" y="58"/>
                  </a:cubicBezTo>
                  <a:cubicBezTo>
                    <a:pt x="88" y="58"/>
                    <a:pt x="88" y="58"/>
                    <a:pt x="59" y="29"/>
                  </a:cubicBezTo>
                  <a:lnTo>
                    <a:pt x="3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35" name="Freeform 613">
              <a:extLst>
                <a:ext uri="{FF2B5EF4-FFF2-40B4-BE49-F238E27FC236}">
                  <a16:creationId xmlns:a16="http://schemas.microsoft.com/office/drawing/2014/main" id="{DA68BA8C-486E-4D6D-95E6-3BCDE4885A56}"/>
                </a:ext>
              </a:extLst>
            </p:cNvPr>
            <p:cNvSpPr>
              <a:spLocks noChangeArrowheads="1"/>
            </p:cNvSpPr>
            <p:nvPr/>
          </p:nvSpPr>
          <p:spPr bwMode="auto">
            <a:xfrm>
              <a:off x="8643547" y="5105860"/>
              <a:ext cx="11415" cy="11328"/>
            </a:xfrm>
            <a:custGeom>
              <a:avLst/>
              <a:gdLst>
                <a:gd name="T0" fmla="*/ 29 w 30"/>
                <a:gd name="T1" fmla="*/ 0 h 30"/>
                <a:gd name="T2" fmla="*/ 29 w 30"/>
                <a:gd name="T3" fmla="*/ 0 h 30"/>
                <a:gd name="T4" fmla="*/ 29 w 30"/>
                <a:gd name="T5" fmla="*/ 0 h 30"/>
                <a:gd name="T6" fmla="*/ 0 w 30"/>
                <a:gd name="T7" fmla="*/ 29 h 30"/>
                <a:gd name="T8" fmla="*/ 29 w 30"/>
                <a:gd name="T9" fmla="*/ 0 h 30"/>
              </a:gdLst>
              <a:ahLst/>
              <a:cxnLst>
                <a:cxn ang="0">
                  <a:pos x="T0" y="T1"/>
                </a:cxn>
                <a:cxn ang="0">
                  <a:pos x="T2" y="T3"/>
                </a:cxn>
                <a:cxn ang="0">
                  <a:pos x="T4" y="T5"/>
                </a:cxn>
                <a:cxn ang="0">
                  <a:pos x="T6" y="T7"/>
                </a:cxn>
                <a:cxn ang="0">
                  <a:pos x="T8" y="T9"/>
                </a:cxn>
              </a:cxnLst>
              <a:rect l="0" t="0" r="r" b="b"/>
              <a:pathLst>
                <a:path w="30" h="30">
                  <a:moveTo>
                    <a:pt x="29" y="0"/>
                  </a:moveTo>
                  <a:lnTo>
                    <a:pt x="29" y="0"/>
                  </a:lnTo>
                  <a:lnTo>
                    <a:pt x="29" y="0"/>
                  </a:lnTo>
                  <a:cubicBezTo>
                    <a:pt x="29" y="29"/>
                    <a:pt x="29" y="29"/>
                    <a:pt x="0" y="29"/>
                  </a:cubicBezTo>
                  <a:cubicBezTo>
                    <a:pt x="29" y="29"/>
                    <a:pt x="29" y="29"/>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36" name="Freeform 614">
              <a:extLst>
                <a:ext uri="{FF2B5EF4-FFF2-40B4-BE49-F238E27FC236}">
                  <a16:creationId xmlns:a16="http://schemas.microsoft.com/office/drawing/2014/main" id="{BFA34E47-AEF5-4094-A2B5-D5BBA8623575}"/>
                </a:ext>
              </a:extLst>
            </p:cNvPr>
            <p:cNvSpPr>
              <a:spLocks noChangeArrowheads="1"/>
            </p:cNvSpPr>
            <p:nvPr/>
          </p:nvSpPr>
          <p:spPr bwMode="auto">
            <a:xfrm>
              <a:off x="8687579" y="5084821"/>
              <a:ext cx="11416" cy="1619"/>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29" y="0"/>
                    <a:pt x="29" y="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37" name="Freeform 615">
              <a:extLst>
                <a:ext uri="{FF2B5EF4-FFF2-40B4-BE49-F238E27FC236}">
                  <a16:creationId xmlns:a16="http://schemas.microsoft.com/office/drawing/2014/main" id="{997F58E8-7744-4F3A-9083-2381041F7989}"/>
                </a:ext>
              </a:extLst>
            </p:cNvPr>
            <p:cNvSpPr>
              <a:spLocks noChangeArrowheads="1"/>
            </p:cNvSpPr>
            <p:nvPr/>
          </p:nvSpPr>
          <p:spPr bwMode="auto">
            <a:xfrm>
              <a:off x="8601145" y="5105860"/>
              <a:ext cx="22832" cy="22656"/>
            </a:xfrm>
            <a:custGeom>
              <a:avLst/>
              <a:gdLst>
                <a:gd name="T0" fmla="*/ 0 w 60"/>
                <a:gd name="T1" fmla="*/ 29 h 60"/>
                <a:gd name="T2" fmla="*/ 0 w 60"/>
                <a:gd name="T3" fmla="*/ 29 h 60"/>
                <a:gd name="T4" fmla="*/ 0 w 60"/>
                <a:gd name="T5" fmla="*/ 0 h 60"/>
                <a:gd name="T6" fmla="*/ 0 w 60"/>
                <a:gd name="T7" fmla="*/ 0 h 60"/>
                <a:gd name="T8" fmla="*/ 0 w 60"/>
                <a:gd name="T9" fmla="*/ 29 h 60"/>
                <a:gd name="T10" fmla="*/ 59 w 60"/>
                <a:gd name="T11" fmla="*/ 59 h 60"/>
                <a:gd name="T12" fmla="*/ 59 w 60"/>
                <a:gd name="T13" fmla="*/ 59 h 60"/>
                <a:gd name="T14" fmla="*/ 0 w 60"/>
                <a:gd name="T15" fmla="*/ 29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60">
                  <a:moveTo>
                    <a:pt x="0" y="29"/>
                  </a:moveTo>
                  <a:lnTo>
                    <a:pt x="0" y="29"/>
                  </a:lnTo>
                  <a:cubicBezTo>
                    <a:pt x="0" y="0"/>
                    <a:pt x="0" y="0"/>
                    <a:pt x="0" y="0"/>
                  </a:cubicBezTo>
                  <a:lnTo>
                    <a:pt x="0" y="0"/>
                  </a:lnTo>
                  <a:cubicBezTo>
                    <a:pt x="0" y="29"/>
                    <a:pt x="0" y="29"/>
                    <a:pt x="0" y="29"/>
                  </a:cubicBezTo>
                  <a:cubicBezTo>
                    <a:pt x="0" y="59"/>
                    <a:pt x="29" y="59"/>
                    <a:pt x="59" y="59"/>
                  </a:cubicBezTo>
                  <a:lnTo>
                    <a:pt x="59" y="59"/>
                  </a:lnTo>
                  <a:cubicBezTo>
                    <a:pt x="29" y="59"/>
                    <a:pt x="0" y="5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38" name="Freeform 616">
              <a:extLst>
                <a:ext uri="{FF2B5EF4-FFF2-40B4-BE49-F238E27FC236}">
                  <a16:creationId xmlns:a16="http://schemas.microsoft.com/office/drawing/2014/main" id="{40D06528-09E2-47F8-B421-E3193EA83364}"/>
                </a:ext>
              </a:extLst>
            </p:cNvPr>
            <p:cNvSpPr>
              <a:spLocks noChangeArrowheads="1"/>
            </p:cNvSpPr>
            <p:nvPr/>
          </p:nvSpPr>
          <p:spPr bwMode="auto">
            <a:xfrm>
              <a:off x="8579943" y="5094531"/>
              <a:ext cx="11416" cy="21039"/>
            </a:xfrm>
            <a:custGeom>
              <a:avLst/>
              <a:gdLst>
                <a:gd name="T0" fmla="*/ 0 w 30"/>
                <a:gd name="T1" fmla="*/ 0 h 59"/>
                <a:gd name="T2" fmla="*/ 0 w 30"/>
                <a:gd name="T3" fmla="*/ 0 h 59"/>
                <a:gd name="T4" fmla="*/ 29 w 30"/>
                <a:gd name="T5" fmla="*/ 58 h 59"/>
                <a:gd name="T6" fmla="*/ 29 w 30"/>
                <a:gd name="T7" fmla="*/ 58 h 59"/>
                <a:gd name="T8" fmla="*/ 0 w 30"/>
                <a:gd name="T9" fmla="*/ 0 h 59"/>
              </a:gdLst>
              <a:ahLst/>
              <a:cxnLst>
                <a:cxn ang="0">
                  <a:pos x="T0" y="T1"/>
                </a:cxn>
                <a:cxn ang="0">
                  <a:pos x="T2" y="T3"/>
                </a:cxn>
                <a:cxn ang="0">
                  <a:pos x="T4" y="T5"/>
                </a:cxn>
                <a:cxn ang="0">
                  <a:pos x="T6" y="T7"/>
                </a:cxn>
                <a:cxn ang="0">
                  <a:pos x="T8" y="T9"/>
                </a:cxn>
              </a:cxnLst>
              <a:rect l="0" t="0" r="r" b="b"/>
              <a:pathLst>
                <a:path w="30" h="59">
                  <a:moveTo>
                    <a:pt x="0" y="0"/>
                  </a:moveTo>
                  <a:lnTo>
                    <a:pt x="0" y="0"/>
                  </a:lnTo>
                  <a:cubicBezTo>
                    <a:pt x="0" y="0"/>
                    <a:pt x="29" y="29"/>
                    <a:pt x="29" y="58"/>
                  </a:cubicBezTo>
                  <a:lnTo>
                    <a:pt x="29" y="58"/>
                  </a:lnTo>
                  <a:cubicBezTo>
                    <a:pt x="29" y="29"/>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39" name="Freeform 617">
              <a:extLst>
                <a:ext uri="{FF2B5EF4-FFF2-40B4-BE49-F238E27FC236}">
                  <a16:creationId xmlns:a16="http://schemas.microsoft.com/office/drawing/2014/main" id="{3D5EA573-F238-46E0-84B6-B68F83480C0D}"/>
                </a:ext>
              </a:extLst>
            </p:cNvPr>
            <p:cNvSpPr>
              <a:spLocks noChangeArrowheads="1"/>
            </p:cNvSpPr>
            <p:nvPr/>
          </p:nvSpPr>
          <p:spPr bwMode="auto">
            <a:xfrm>
              <a:off x="8222789" y="5041127"/>
              <a:ext cx="44032" cy="11328"/>
            </a:xfrm>
            <a:custGeom>
              <a:avLst/>
              <a:gdLst>
                <a:gd name="T0" fmla="*/ 0 w 118"/>
                <a:gd name="T1" fmla="*/ 29 h 30"/>
                <a:gd name="T2" fmla="*/ 0 w 118"/>
                <a:gd name="T3" fmla="*/ 29 h 30"/>
                <a:gd name="T4" fmla="*/ 117 w 118"/>
                <a:gd name="T5" fmla="*/ 29 h 30"/>
                <a:gd name="T6" fmla="*/ 0 w 118"/>
                <a:gd name="T7" fmla="*/ 29 h 30"/>
              </a:gdLst>
              <a:ahLst/>
              <a:cxnLst>
                <a:cxn ang="0">
                  <a:pos x="T0" y="T1"/>
                </a:cxn>
                <a:cxn ang="0">
                  <a:pos x="T2" y="T3"/>
                </a:cxn>
                <a:cxn ang="0">
                  <a:pos x="T4" y="T5"/>
                </a:cxn>
                <a:cxn ang="0">
                  <a:pos x="T6" y="T7"/>
                </a:cxn>
              </a:cxnLst>
              <a:rect l="0" t="0" r="r" b="b"/>
              <a:pathLst>
                <a:path w="118" h="30">
                  <a:moveTo>
                    <a:pt x="0" y="29"/>
                  </a:moveTo>
                  <a:lnTo>
                    <a:pt x="0" y="29"/>
                  </a:lnTo>
                  <a:cubicBezTo>
                    <a:pt x="30" y="0"/>
                    <a:pt x="59" y="0"/>
                    <a:pt x="117" y="29"/>
                  </a:cubicBezTo>
                  <a:cubicBezTo>
                    <a:pt x="59" y="0"/>
                    <a:pt x="30"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40" name="Freeform 618">
              <a:extLst>
                <a:ext uri="{FF2B5EF4-FFF2-40B4-BE49-F238E27FC236}">
                  <a16:creationId xmlns:a16="http://schemas.microsoft.com/office/drawing/2014/main" id="{98050913-4BBB-4A94-A82D-269D94036A67}"/>
                </a:ext>
              </a:extLst>
            </p:cNvPr>
            <p:cNvSpPr>
              <a:spLocks noChangeArrowheads="1"/>
            </p:cNvSpPr>
            <p:nvPr/>
          </p:nvSpPr>
          <p:spPr bwMode="auto">
            <a:xfrm>
              <a:off x="8147770" y="5020088"/>
              <a:ext cx="65234" cy="32366"/>
            </a:xfrm>
            <a:custGeom>
              <a:avLst/>
              <a:gdLst>
                <a:gd name="T0" fmla="*/ 0 w 176"/>
                <a:gd name="T1" fmla="*/ 0 h 89"/>
                <a:gd name="T2" fmla="*/ 0 w 176"/>
                <a:gd name="T3" fmla="*/ 0 h 89"/>
                <a:gd name="T4" fmla="*/ 175 w 176"/>
                <a:gd name="T5" fmla="*/ 88 h 89"/>
                <a:gd name="T6" fmla="*/ 0 w 176"/>
                <a:gd name="T7" fmla="*/ 0 h 89"/>
              </a:gdLst>
              <a:ahLst/>
              <a:cxnLst>
                <a:cxn ang="0">
                  <a:pos x="T0" y="T1"/>
                </a:cxn>
                <a:cxn ang="0">
                  <a:pos x="T2" y="T3"/>
                </a:cxn>
                <a:cxn ang="0">
                  <a:pos x="T4" y="T5"/>
                </a:cxn>
                <a:cxn ang="0">
                  <a:pos x="T6" y="T7"/>
                </a:cxn>
              </a:cxnLst>
              <a:rect l="0" t="0" r="r" b="b"/>
              <a:pathLst>
                <a:path w="176" h="89">
                  <a:moveTo>
                    <a:pt x="0" y="0"/>
                  </a:moveTo>
                  <a:lnTo>
                    <a:pt x="0" y="0"/>
                  </a:lnTo>
                  <a:cubicBezTo>
                    <a:pt x="59" y="59"/>
                    <a:pt x="117" y="88"/>
                    <a:pt x="175" y="88"/>
                  </a:cubicBezTo>
                  <a:cubicBezTo>
                    <a:pt x="117" y="88"/>
                    <a:pt x="59" y="5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41" name="Freeform 619">
              <a:extLst>
                <a:ext uri="{FF2B5EF4-FFF2-40B4-BE49-F238E27FC236}">
                  <a16:creationId xmlns:a16="http://schemas.microsoft.com/office/drawing/2014/main" id="{B7686CFB-7824-4A33-B0C9-88CB18BF7649}"/>
                </a:ext>
              </a:extLst>
            </p:cNvPr>
            <p:cNvSpPr>
              <a:spLocks noChangeArrowheads="1"/>
            </p:cNvSpPr>
            <p:nvPr/>
          </p:nvSpPr>
          <p:spPr bwMode="auto">
            <a:xfrm>
              <a:off x="8072751" y="5020088"/>
              <a:ext cx="21200" cy="11329"/>
            </a:xfrm>
            <a:custGeom>
              <a:avLst/>
              <a:gdLst>
                <a:gd name="T0" fmla="*/ 0 w 59"/>
                <a:gd name="T1" fmla="*/ 29 h 30"/>
                <a:gd name="T2" fmla="*/ 0 w 59"/>
                <a:gd name="T3" fmla="*/ 29 h 30"/>
                <a:gd name="T4" fmla="*/ 58 w 59"/>
                <a:gd name="T5" fmla="*/ 0 h 30"/>
                <a:gd name="T6" fmla="*/ 0 w 59"/>
                <a:gd name="T7" fmla="*/ 29 h 30"/>
              </a:gdLst>
              <a:ahLst/>
              <a:cxnLst>
                <a:cxn ang="0">
                  <a:pos x="T0" y="T1"/>
                </a:cxn>
                <a:cxn ang="0">
                  <a:pos x="T2" y="T3"/>
                </a:cxn>
                <a:cxn ang="0">
                  <a:pos x="T4" y="T5"/>
                </a:cxn>
                <a:cxn ang="0">
                  <a:pos x="T6" y="T7"/>
                </a:cxn>
              </a:cxnLst>
              <a:rect l="0" t="0" r="r" b="b"/>
              <a:pathLst>
                <a:path w="59" h="30">
                  <a:moveTo>
                    <a:pt x="0" y="29"/>
                  </a:moveTo>
                  <a:lnTo>
                    <a:pt x="0" y="29"/>
                  </a:lnTo>
                  <a:cubicBezTo>
                    <a:pt x="29" y="29"/>
                    <a:pt x="29" y="0"/>
                    <a:pt x="58" y="0"/>
                  </a:cubicBezTo>
                  <a:cubicBezTo>
                    <a:pt x="29" y="0"/>
                    <a:pt x="29"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42" name="Freeform 620">
              <a:extLst>
                <a:ext uri="{FF2B5EF4-FFF2-40B4-BE49-F238E27FC236}">
                  <a16:creationId xmlns:a16="http://schemas.microsoft.com/office/drawing/2014/main" id="{EC4C4971-D1EA-4844-92A4-35799D525FA0}"/>
                </a:ext>
              </a:extLst>
            </p:cNvPr>
            <p:cNvSpPr>
              <a:spLocks noChangeArrowheads="1"/>
            </p:cNvSpPr>
            <p:nvPr/>
          </p:nvSpPr>
          <p:spPr bwMode="auto">
            <a:xfrm>
              <a:off x="8126568" y="5008761"/>
              <a:ext cx="21202" cy="11328"/>
            </a:xfrm>
            <a:custGeom>
              <a:avLst/>
              <a:gdLst>
                <a:gd name="T0" fmla="*/ 0 w 59"/>
                <a:gd name="T1" fmla="*/ 0 h 30"/>
                <a:gd name="T2" fmla="*/ 0 w 59"/>
                <a:gd name="T3" fmla="*/ 0 h 30"/>
                <a:gd name="T4" fmla="*/ 58 w 59"/>
                <a:gd name="T5" fmla="*/ 29 h 30"/>
                <a:gd name="T6" fmla="*/ 58 w 59"/>
                <a:gd name="T7" fmla="*/ 29 h 30"/>
                <a:gd name="T8" fmla="*/ 58 w 59"/>
                <a:gd name="T9" fmla="*/ 29 h 30"/>
                <a:gd name="T10" fmla="*/ 0 w 59"/>
                <a:gd name="T11" fmla="*/ 0 h 30"/>
              </a:gdLst>
              <a:ahLst/>
              <a:cxnLst>
                <a:cxn ang="0">
                  <a:pos x="T0" y="T1"/>
                </a:cxn>
                <a:cxn ang="0">
                  <a:pos x="T2" y="T3"/>
                </a:cxn>
                <a:cxn ang="0">
                  <a:pos x="T4" y="T5"/>
                </a:cxn>
                <a:cxn ang="0">
                  <a:pos x="T6" y="T7"/>
                </a:cxn>
                <a:cxn ang="0">
                  <a:pos x="T8" y="T9"/>
                </a:cxn>
                <a:cxn ang="0">
                  <a:pos x="T10" y="T11"/>
                </a:cxn>
              </a:cxnLst>
              <a:rect l="0" t="0" r="r" b="b"/>
              <a:pathLst>
                <a:path w="59" h="30">
                  <a:moveTo>
                    <a:pt x="0" y="0"/>
                  </a:moveTo>
                  <a:lnTo>
                    <a:pt x="0" y="0"/>
                  </a:lnTo>
                  <a:cubicBezTo>
                    <a:pt x="29" y="0"/>
                    <a:pt x="58" y="29"/>
                    <a:pt x="58" y="29"/>
                  </a:cubicBezTo>
                  <a:lnTo>
                    <a:pt x="58" y="29"/>
                  </a:lnTo>
                  <a:lnTo>
                    <a:pt x="58" y="29"/>
                  </a:lnTo>
                  <a:cubicBezTo>
                    <a:pt x="58" y="29"/>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43" name="Freeform 621">
              <a:extLst>
                <a:ext uri="{FF2B5EF4-FFF2-40B4-BE49-F238E27FC236}">
                  <a16:creationId xmlns:a16="http://schemas.microsoft.com/office/drawing/2014/main" id="{180D2704-4DDB-4521-B7D4-9F06CDA4D085}"/>
                </a:ext>
              </a:extLst>
            </p:cNvPr>
            <p:cNvSpPr>
              <a:spLocks noChangeArrowheads="1"/>
            </p:cNvSpPr>
            <p:nvPr/>
          </p:nvSpPr>
          <p:spPr bwMode="auto">
            <a:xfrm>
              <a:off x="8040134" y="5031417"/>
              <a:ext cx="32617" cy="11328"/>
            </a:xfrm>
            <a:custGeom>
              <a:avLst/>
              <a:gdLst>
                <a:gd name="T0" fmla="*/ 0 w 88"/>
                <a:gd name="T1" fmla="*/ 30 h 31"/>
                <a:gd name="T2" fmla="*/ 0 w 88"/>
                <a:gd name="T3" fmla="*/ 30 h 31"/>
                <a:gd name="T4" fmla="*/ 29 w 88"/>
                <a:gd name="T5" fmla="*/ 30 h 31"/>
                <a:gd name="T6" fmla="*/ 87 w 88"/>
                <a:gd name="T7" fmla="*/ 0 h 31"/>
                <a:gd name="T8" fmla="*/ 29 w 88"/>
                <a:gd name="T9" fmla="*/ 30 h 31"/>
                <a:gd name="T10" fmla="*/ 0 w 88"/>
                <a:gd name="T11" fmla="*/ 30 h 31"/>
              </a:gdLst>
              <a:ahLst/>
              <a:cxnLst>
                <a:cxn ang="0">
                  <a:pos x="T0" y="T1"/>
                </a:cxn>
                <a:cxn ang="0">
                  <a:pos x="T2" y="T3"/>
                </a:cxn>
                <a:cxn ang="0">
                  <a:pos x="T4" y="T5"/>
                </a:cxn>
                <a:cxn ang="0">
                  <a:pos x="T6" y="T7"/>
                </a:cxn>
                <a:cxn ang="0">
                  <a:pos x="T8" y="T9"/>
                </a:cxn>
                <a:cxn ang="0">
                  <a:pos x="T10" y="T11"/>
                </a:cxn>
              </a:cxnLst>
              <a:rect l="0" t="0" r="r" b="b"/>
              <a:pathLst>
                <a:path w="88" h="31">
                  <a:moveTo>
                    <a:pt x="0" y="30"/>
                  </a:moveTo>
                  <a:lnTo>
                    <a:pt x="0" y="30"/>
                  </a:lnTo>
                  <a:cubicBezTo>
                    <a:pt x="0" y="30"/>
                    <a:pt x="0" y="30"/>
                    <a:pt x="29" y="30"/>
                  </a:cubicBezTo>
                  <a:cubicBezTo>
                    <a:pt x="58" y="30"/>
                    <a:pt x="58" y="0"/>
                    <a:pt x="87" y="0"/>
                  </a:cubicBezTo>
                  <a:cubicBezTo>
                    <a:pt x="58" y="0"/>
                    <a:pt x="58" y="30"/>
                    <a:pt x="29" y="30"/>
                  </a:cubicBezTo>
                  <a:cubicBezTo>
                    <a:pt x="0" y="30"/>
                    <a:pt x="0" y="30"/>
                    <a:pt x="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44" name="Freeform 622">
              <a:extLst>
                <a:ext uri="{FF2B5EF4-FFF2-40B4-BE49-F238E27FC236}">
                  <a16:creationId xmlns:a16="http://schemas.microsoft.com/office/drawing/2014/main" id="{B33FAD49-D458-48CC-83B3-7402EA4E9B2C}"/>
                </a:ext>
              </a:extLst>
            </p:cNvPr>
            <p:cNvSpPr>
              <a:spLocks noChangeArrowheads="1"/>
            </p:cNvSpPr>
            <p:nvPr/>
          </p:nvSpPr>
          <p:spPr bwMode="auto">
            <a:xfrm>
              <a:off x="8040134" y="5031417"/>
              <a:ext cx="1630" cy="11328"/>
            </a:xfrm>
            <a:custGeom>
              <a:avLst/>
              <a:gdLst>
                <a:gd name="T0" fmla="*/ 0 w 1"/>
                <a:gd name="T1" fmla="*/ 0 h 31"/>
                <a:gd name="T2" fmla="*/ 0 w 1"/>
                <a:gd name="T3" fmla="*/ 0 h 31"/>
                <a:gd name="T4" fmla="*/ 0 w 1"/>
                <a:gd name="T5" fmla="*/ 30 h 31"/>
                <a:gd name="T6" fmla="*/ 0 w 1"/>
                <a:gd name="T7" fmla="*/ 30 h 31"/>
                <a:gd name="T8" fmla="*/ 0 w 1"/>
                <a:gd name="T9" fmla="*/ 0 h 31"/>
              </a:gdLst>
              <a:ahLst/>
              <a:cxnLst>
                <a:cxn ang="0">
                  <a:pos x="T0" y="T1"/>
                </a:cxn>
                <a:cxn ang="0">
                  <a:pos x="T2" y="T3"/>
                </a:cxn>
                <a:cxn ang="0">
                  <a:pos x="T4" y="T5"/>
                </a:cxn>
                <a:cxn ang="0">
                  <a:pos x="T6" y="T7"/>
                </a:cxn>
                <a:cxn ang="0">
                  <a:pos x="T8" y="T9"/>
                </a:cxn>
              </a:cxnLst>
              <a:rect l="0" t="0" r="r" b="b"/>
              <a:pathLst>
                <a:path w="1" h="31">
                  <a:moveTo>
                    <a:pt x="0" y="0"/>
                  </a:moveTo>
                  <a:lnTo>
                    <a:pt x="0" y="0"/>
                  </a:lnTo>
                  <a:cubicBezTo>
                    <a:pt x="0" y="30"/>
                    <a:pt x="0" y="30"/>
                    <a:pt x="0" y="30"/>
                  </a:cubicBezTo>
                  <a:lnTo>
                    <a:pt x="0" y="30"/>
                  </a:ln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45" name="Freeform 623">
              <a:extLst>
                <a:ext uri="{FF2B5EF4-FFF2-40B4-BE49-F238E27FC236}">
                  <a16:creationId xmlns:a16="http://schemas.microsoft.com/office/drawing/2014/main" id="{A281D1C9-FE2C-4232-AC2D-F9A1A7245E46}"/>
                </a:ext>
              </a:extLst>
            </p:cNvPr>
            <p:cNvSpPr>
              <a:spLocks noChangeArrowheads="1"/>
            </p:cNvSpPr>
            <p:nvPr/>
          </p:nvSpPr>
          <p:spPr bwMode="auto">
            <a:xfrm>
              <a:off x="8353256" y="5073493"/>
              <a:ext cx="22832" cy="11328"/>
            </a:xfrm>
            <a:custGeom>
              <a:avLst/>
              <a:gdLst>
                <a:gd name="T0" fmla="*/ 59 w 60"/>
                <a:gd name="T1" fmla="*/ 0 h 30"/>
                <a:gd name="T2" fmla="*/ 59 w 60"/>
                <a:gd name="T3" fmla="*/ 0 h 30"/>
                <a:gd name="T4" fmla="*/ 0 w 60"/>
                <a:gd name="T5" fmla="*/ 29 h 30"/>
                <a:gd name="T6" fmla="*/ 0 w 60"/>
                <a:gd name="T7" fmla="*/ 29 h 30"/>
                <a:gd name="T8" fmla="*/ 59 w 60"/>
                <a:gd name="T9" fmla="*/ 0 h 30"/>
              </a:gdLst>
              <a:ahLst/>
              <a:cxnLst>
                <a:cxn ang="0">
                  <a:pos x="T0" y="T1"/>
                </a:cxn>
                <a:cxn ang="0">
                  <a:pos x="T2" y="T3"/>
                </a:cxn>
                <a:cxn ang="0">
                  <a:pos x="T4" y="T5"/>
                </a:cxn>
                <a:cxn ang="0">
                  <a:pos x="T6" y="T7"/>
                </a:cxn>
                <a:cxn ang="0">
                  <a:pos x="T8" y="T9"/>
                </a:cxn>
              </a:cxnLst>
              <a:rect l="0" t="0" r="r" b="b"/>
              <a:pathLst>
                <a:path w="60" h="30">
                  <a:moveTo>
                    <a:pt x="59" y="0"/>
                  </a:moveTo>
                  <a:lnTo>
                    <a:pt x="59" y="0"/>
                  </a:lnTo>
                  <a:cubicBezTo>
                    <a:pt x="59" y="29"/>
                    <a:pt x="30" y="29"/>
                    <a:pt x="0" y="29"/>
                  </a:cubicBezTo>
                  <a:lnTo>
                    <a:pt x="0" y="29"/>
                  </a:lnTo>
                  <a:cubicBezTo>
                    <a:pt x="30" y="29"/>
                    <a:pt x="59" y="29"/>
                    <a:pt x="5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46" name="Freeform 624">
              <a:extLst>
                <a:ext uri="{FF2B5EF4-FFF2-40B4-BE49-F238E27FC236}">
                  <a16:creationId xmlns:a16="http://schemas.microsoft.com/office/drawing/2014/main" id="{ADE1D7F1-2ADE-4682-991C-86E0F253392A}"/>
                </a:ext>
              </a:extLst>
            </p:cNvPr>
            <p:cNvSpPr>
              <a:spLocks noChangeArrowheads="1"/>
            </p:cNvSpPr>
            <p:nvPr/>
          </p:nvSpPr>
          <p:spPr bwMode="auto">
            <a:xfrm>
              <a:off x="8278237" y="5052455"/>
              <a:ext cx="44032" cy="11329"/>
            </a:xfrm>
            <a:custGeom>
              <a:avLst/>
              <a:gdLst>
                <a:gd name="T0" fmla="*/ 58 w 117"/>
                <a:gd name="T1" fmla="*/ 29 h 30"/>
                <a:gd name="T2" fmla="*/ 58 w 117"/>
                <a:gd name="T3" fmla="*/ 29 h 30"/>
                <a:gd name="T4" fmla="*/ 0 w 117"/>
                <a:gd name="T5" fmla="*/ 29 h 30"/>
                <a:gd name="T6" fmla="*/ 58 w 117"/>
                <a:gd name="T7" fmla="*/ 29 h 30"/>
                <a:gd name="T8" fmla="*/ 58 w 117"/>
                <a:gd name="T9" fmla="*/ 29 h 30"/>
                <a:gd name="T10" fmla="*/ 116 w 117"/>
                <a:gd name="T11" fmla="*/ 0 h 30"/>
                <a:gd name="T12" fmla="*/ 58 w 117"/>
                <a:gd name="T13" fmla="*/ 29 h 30"/>
              </a:gdLst>
              <a:ahLst/>
              <a:cxnLst>
                <a:cxn ang="0">
                  <a:pos x="T0" y="T1"/>
                </a:cxn>
                <a:cxn ang="0">
                  <a:pos x="T2" y="T3"/>
                </a:cxn>
                <a:cxn ang="0">
                  <a:pos x="T4" y="T5"/>
                </a:cxn>
                <a:cxn ang="0">
                  <a:pos x="T6" y="T7"/>
                </a:cxn>
                <a:cxn ang="0">
                  <a:pos x="T8" y="T9"/>
                </a:cxn>
                <a:cxn ang="0">
                  <a:pos x="T10" y="T11"/>
                </a:cxn>
                <a:cxn ang="0">
                  <a:pos x="T12" y="T13"/>
                </a:cxn>
              </a:cxnLst>
              <a:rect l="0" t="0" r="r" b="b"/>
              <a:pathLst>
                <a:path w="117" h="30">
                  <a:moveTo>
                    <a:pt x="58" y="29"/>
                  </a:moveTo>
                  <a:lnTo>
                    <a:pt x="58" y="29"/>
                  </a:lnTo>
                  <a:cubicBezTo>
                    <a:pt x="58" y="29"/>
                    <a:pt x="29" y="29"/>
                    <a:pt x="0" y="29"/>
                  </a:cubicBezTo>
                  <a:cubicBezTo>
                    <a:pt x="29" y="29"/>
                    <a:pt x="58" y="29"/>
                    <a:pt x="58" y="29"/>
                  </a:cubicBezTo>
                  <a:lnTo>
                    <a:pt x="58" y="29"/>
                  </a:lnTo>
                  <a:cubicBezTo>
                    <a:pt x="87" y="29"/>
                    <a:pt x="87" y="29"/>
                    <a:pt x="116" y="0"/>
                  </a:cubicBezTo>
                  <a:cubicBezTo>
                    <a:pt x="87" y="29"/>
                    <a:pt x="87" y="29"/>
                    <a:pt x="5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47" name="Freeform 625">
              <a:extLst>
                <a:ext uri="{FF2B5EF4-FFF2-40B4-BE49-F238E27FC236}">
                  <a16:creationId xmlns:a16="http://schemas.microsoft.com/office/drawing/2014/main" id="{F86D541D-366B-49DB-9788-E8CACA65C54A}"/>
                </a:ext>
              </a:extLst>
            </p:cNvPr>
            <p:cNvSpPr>
              <a:spLocks noChangeArrowheads="1"/>
            </p:cNvSpPr>
            <p:nvPr/>
          </p:nvSpPr>
          <p:spPr bwMode="auto">
            <a:xfrm>
              <a:off x="8341840" y="5084821"/>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48" name="Freeform 626">
              <a:extLst>
                <a:ext uri="{FF2B5EF4-FFF2-40B4-BE49-F238E27FC236}">
                  <a16:creationId xmlns:a16="http://schemas.microsoft.com/office/drawing/2014/main" id="{F117EE7C-9DFB-482C-B4DA-C51C9D9F2D62}"/>
                </a:ext>
              </a:extLst>
            </p:cNvPr>
            <p:cNvSpPr>
              <a:spLocks noChangeArrowheads="1"/>
            </p:cNvSpPr>
            <p:nvPr/>
          </p:nvSpPr>
          <p:spPr bwMode="auto">
            <a:xfrm>
              <a:off x="8320639" y="5073493"/>
              <a:ext cx="21200" cy="11328"/>
            </a:xfrm>
            <a:custGeom>
              <a:avLst/>
              <a:gdLst>
                <a:gd name="T0" fmla="*/ 0 w 59"/>
                <a:gd name="T1" fmla="*/ 0 h 30"/>
                <a:gd name="T2" fmla="*/ 0 w 59"/>
                <a:gd name="T3" fmla="*/ 0 h 30"/>
                <a:gd name="T4" fmla="*/ 29 w 59"/>
                <a:gd name="T5" fmla="*/ 0 h 30"/>
                <a:gd name="T6" fmla="*/ 58 w 59"/>
                <a:gd name="T7" fmla="*/ 29 h 30"/>
                <a:gd name="T8" fmla="*/ 0 w 59"/>
                <a:gd name="T9" fmla="*/ 0 h 30"/>
              </a:gdLst>
              <a:ahLst/>
              <a:cxnLst>
                <a:cxn ang="0">
                  <a:pos x="T0" y="T1"/>
                </a:cxn>
                <a:cxn ang="0">
                  <a:pos x="T2" y="T3"/>
                </a:cxn>
                <a:cxn ang="0">
                  <a:pos x="T4" y="T5"/>
                </a:cxn>
                <a:cxn ang="0">
                  <a:pos x="T6" y="T7"/>
                </a:cxn>
                <a:cxn ang="0">
                  <a:pos x="T8" y="T9"/>
                </a:cxn>
              </a:cxnLst>
              <a:rect l="0" t="0" r="r" b="b"/>
              <a:pathLst>
                <a:path w="59" h="30">
                  <a:moveTo>
                    <a:pt x="0" y="0"/>
                  </a:moveTo>
                  <a:lnTo>
                    <a:pt x="0" y="0"/>
                  </a:lnTo>
                  <a:cubicBezTo>
                    <a:pt x="29" y="0"/>
                    <a:pt x="29" y="0"/>
                    <a:pt x="29" y="0"/>
                  </a:cubicBezTo>
                  <a:cubicBezTo>
                    <a:pt x="29" y="0"/>
                    <a:pt x="29" y="29"/>
                    <a:pt x="58" y="29"/>
                  </a:cubicBezTo>
                  <a:cubicBezTo>
                    <a:pt x="29" y="29"/>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49" name="Freeform 627">
              <a:extLst>
                <a:ext uri="{FF2B5EF4-FFF2-40B4-BE49-F238E27FC236}">
                  <a16:creationId xmlns:a16="http://schemas.microsoft.com/office/drawing/2014/main" id="{2BA17C83-1DA5-4164-A044-5FF36ADD670A}"/>
                </a:ext>
              </a:extLst>
            </p:cNvPr>
            <p:cNvSpPr>
              <a:spLocks noChangeArrowheads="1"/>
            </p:cNvSpPr>
            <p:nvPr/>
          </p:nvSpPr>
          <p:spPr bwMode="auto">
            <a:xfrm>
              <a:off x="8320639" y="5052455"/>
              <a:ext cx="11415"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cubicBezTo>
                    <a:pt x="0" y="0"/>
                    <a:pt x="0" y="0"/>
                    <a:pt x="0" y="0"/>
                  </a:cubicBez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50" name="Freeform 628">
              <a:extLst>
                <a:ext uri="{FF2B5EF4-FFF2-40B4-BE49-F238E27FC236}">
                  <a16:creationId xmlns:a16="http://schemas.microsoft.com/office/drawing/2014/main" id="{01966FF8-E9DC-4551-9C84-1E0488CA1BF1}"/>
                </a:ext>
              </a:extLst>
            </p:cNvPr>
            <p:cNvSpPr>
              <a:spLocks noChangeArrowheads="1"/>
            </p:cNvSpPr>
            <p:nvPr/>
          </p:nvSpPr>
          <p:spPr bwMode="auto">
            <a:xfrm>
              <a:off x="8320639" y="5073493"/>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51" name="Freeform 629">
              <a:extLst>
                <a:ext uri="{FF2B5EF4-FFF2-40B4-BE49-F238E27FC236}">
                  <a16:creationId xmlns:a16="http://schemas.microsoft.com/office/drawing/2014/main" id="{ABA27408-B215-461A-A2AB-5DAD5FC6C00E}"/>
                </a:ext>
              </a:extLst>
            </p:cNvPr>
            <p:cNvSpPr>
              <a:spLocks noChangeArrowheads="1"/>
            </p:cNvSpPr>
            <p:nvPr/>
          </p:nvSpPr>
          <p:spPr bwMode="auto">
            <a:xfrm>
              <a:off x="9204557" y="4869585"/>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52" name="Freeform 630">
              <a:extLst>
                <a:ext uri="{FF2B5EF4-FFF2-40B4-BE49-F238E27FC236}">
                  <a16:creationId xmlns:a16="http://schemas.microsoft.com/office/drawing/2014/main" id="{2CC14751-3804-4630-9DC3-24FE39B04E01}"/>
                </a:ext>
              </a:extLst>
            </p:cNvPr>
            <p:cNvSpPr>
              <a:spLocks noChangeArrowheads="1"/>
            </p:cNvSpPr>
            <p:nvPr/>
          </p:nvSpPr>
          <p:spPr bwMode="auto">
            <a:xfrm>
              <a:off x="9410044" y="4976394"/>
              <a:ext cx="11415" cy="1618"/>
            </a:xfrm>
            <a:custGeom>
              <a:avLst/>
              <a:gdLst>
                <a:gd name="T0" fmla="*/ 0 w 30"/>
                <a:gd name="T1" fmla="*/ 0 h 1"/>
                <a:gd name="T2" fmla="*/ 0 w 30"/>
                <a:gd name="T3" fmla="*/ 0 h 1"/>
                <a:gd name="T4" fmla="*/ 0 w 30"/>
                <a:gd name="T5" fmla="*/ 0 h 1"/>
                <a:gd name="T6" fmla="*/ 0 w 30"/>
                <a:gd name="T7" fmla="*/ 0 h 1"/>
                <a:gd name="T8" fmla="*/ 29 w 30"/>
                <a:gd name="T9" fmla="*/ 0 h 1"/>
                <a:gd name="T10" fmla="*/ 0 w 30"/>
                <a:gd name="T11" fmla="*/ 0 h 1"/>
              </a:gdLst>
              <a:ahLst/>
              <a:cxnLst>
                <a:cxn ang="0">
                  <a:pos x="T0" y="T1"/>
                </a:cxn>
                <a:cxn ang="0">
                  <a:pos x="T2" y="T3"/>
                </a:cxn>
                <a:cxn ang="0">
                  <a:pos x="T4" y="T5"/>
                </a:cxn>
                <a:cxn ang="0">
                  <a:pos x="T6" y="T7"/>
                </a:cxn>
                <a:cxn ang="0">
                  <a:pos x="T8" y="T9"/>
                </a:cxn>
                <a:cxn ang="0">
                  <a:pos x="T10" y="T11"/>
                </a:cxn>
              </a:cxnLst>
              <a:rect l="0" t="0" r="r" b="b"/>
              <a:pathLst>
                <a:path w="30" h="1">
                  <a:moveTo>
                    <a:pt x="0" y="0"/>
                  </a:moveTo>
                  <a:lnTo>
                    <a:pt x="0" y="0"/>
                  </a:lnTo>
                  <a:lnTo>
                    <a:pt x="0" y="0"/>
                  </a:lnTo>
                  <a:lnTo>
                    <a:pt x="0" y="0"/>
                  </a:ln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53" name="Freeform 631">
              <a:extLst>
                <a:ext uri="{FF2B5EF4-FFF2-40B4-BE49-F238E27FC236}">
                  <a16:creationId xmlns:a16="http://schemas.microsoft.com/office/drawing/2014/main" id="{05A69312-1E71-4D4C-AE4C-047CB7047469}"/>
                </a:ext>
              </a:extLst>
            </p:cNvPr>
            <p:cNvSpPr>
              <a:spLocks noChangeArrowheads="1"/>
            </p:cNvSpPr>
            <p:nvPr/>
          </p:nvSpPr>
          <p:spPr bwMode="auto">
            <a:xfrm>
              <a:off x="9356226" y="4913279"/>
              <a:ext cx="21202" cy="32366"/>
            </a:xfrm>
            <a:custGeom>
              <a:avLst/>
              <a:gdLst>
                <a:gd name="T0" fmla="*/ 0 w 59"/>
                <a:gd name="T1" fmla="*/ 29 h 88"/>
                <a:gd name="T2" fmla="*/ 0 w 59"/>
                <a:gd name="T3" fmla="*/ 29 h 88"/>
                <a:gd name="T4" fmla="*/ 0 w 59"/>
                <a:gd name="T5" fmla="*/ 0 h 88"/>
                <a:gd name="T6" fmla="*/ 0 w 59"/>
                <a:gd name="T7" fmla="*/ 29 h 88"/>
                <a:gd name="T8" fmla="*/ 58 w 59"/>
                <a:gd name="T9" fmla="*/ 87 h 88"/>
                <a:gd name="T10" fmla="*/ 0 w 59"/>
                <a:gd name="T11" fmla="*/ 29 h 88"/>
              </a:gdLst>
              <a:ahLst/>
              <a:cxnLst>
                <a:cxn ang="0">
                  <a:pos x="T0" y="T1"/>
                </a:cxn>
                <a:cxn ang="0">
                  <a:pos x="T2" y="T3"/>
                </a:cxn>
                <a:cxn ang="0">
                  <a:pos x="T4" y="T5"/>
                </a:cxn>
                <a:cxn ang="0">
                  <a:pos x="T6" y="T7"/>
                </a:cxn>
                <a:cxn ang="0">
                  <a:pos x="T8" y="T9"/>
                </a:cxn>
                <a:cxn ang="0">
                  <a:pos x="T10" y="T11"/>
                </a:cxn>
              </a:cxnLst>
              <a:rect l="0" t="0" r="r" b="b"/>
              <a:pathLst>
                <a:path w="59" h="88">
                  <a:moveTo>
                    <a:pt x="0" y="29"/>
                  </a:moveTo>
                  <a:lnTo>
                    <a:pt x="0" y="29"/>
                  </a:lnTo>
                  <a:cubicBezTo>
                    <a:pt x="0" y="29"/>
                    <a:pt x="0" y="29"/>
                    <a:pt x="0" y="0"/>
                  </a:cubicBezTo>
                  <a:cubicBezTo>
                    <a:pt x="0" y="29"/>
                    <a:pt x="0" y="29"/>
                    <a:pt x="0" y="29"/>
                  </a:cubicBezTo>
                  <a:cubicBezTo>
                    <a:pt x="29" y="58"/>
                    <a:pt x="58" y="58"/>
                    <a:pt x="58" y="87"/>
                  </a:cubicBezTo>
                  <a:cubicBezTo>
                    <a:pt x="58" y="58"/>
                    <a:pt x="29" y="58"/>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54" name="Freeform 632">
              <a:extLst>
                <a:ext uri="{FF2B5EF4-FFF2-40B4-BE49-F238E27FC236}">
                  <a16:creationId xmlns:a16="http://schemas.microsoft.com/office/drawing/2014/main" id="{05400655-616B-4378-9DA7-4DBC9EC304B2}"/>
                </a:ext>
              </a:extLst>
            </p:cNvPr>
            <p:cNvSpPr>
              <a:spLocks noChangeArrowheads="1"/>
            </p:cNvSpPr>
            <p:nvPr/>
          </p:nvSpPr>
          <p:spPr bwMode="auto">
            <a:xfrm>
              <a:off x="9463861" y="4966684"/>
              <a:ext cx="11416" cy="11328"/>
            </a:xfrm>
            <a:custGeom>
              <a:avLst/>
              <a:gdLst>
                <a:gd name="T0" fmla="*/ 29 w 30"/>
                <a:gd name="T1" fmla="*/ 0 h 30"/>
                <a:gd name="T2" fmla="*/ 29 w 30"/>
                <a:gd name="T3" fmla="*/ 0 h 30"/>
                <a:gd name="T4" fmla="*/ 0 w 30"/>
                <a:gd name="T5" fmla="*/ 29 h 30"/>
                <a:gd name="T6" fmla="*/ 29 w 30"/>
                <a:gd name="T7" fmla="*/ 0 h 30"/>
              </a:gdLst>
              <a:ahLst/>
              <a:cxnLst>
                <a:cxn ang="0">
                  <a:pos x="T0" y="T1"/>
                </a:cxn>
                <a:cxn ang="0">
                  <a:pos x="T2" y="T3"/>
                </a:cxn>
                <a:cxn ang="0">
                  <a:pos x="T4" y="T5"/>
                </a:cxn>
                <a:cxn ang="0">
                  <a:pos x="T6" y="T7"/>
                </a:cxn>
              </a:cxnLst>
              <a:rect l="0" t="0" r="r" b="b"/>
              <a:pathLst>
                <a:path w="30" h="30">
                  <a:moveTo>
                    <a:pt x="29" y="0"/>
                  </a:moveTo>
                  <a:lnTo>
                    <a:pt x="29" y="0"/>
                  </a:lnTo>
                  <a:cubicBezTo>
                    <a:pt x="0" y="0"/>
                    <a:pt x="0" y="29"/>
                    <a:pt x="0" y="29"/>
                  </a:cubicBezTo>
                  <a:cubicBezTo>
                    <a:pt x="0" y="29"/>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55" name="Freeform 633">
              <a:extLst>
                <a:ext uri="{FF2B5EF4-FFF2-40B4-BE49-F238E27FC236}">
                  <a16:creationId xmlns:a16="http://schemas.microsoft.com/office/drawing/2014/main" id="{6E8BF8DA-F511-4D50-AE00-A7907AFF941B}"/>
                </a:ext>
              </a:extLst>
            </p:cNvPr>
            <p:cNvSpPr>
              <a:spLocks noChangeArrowheads="1"/>
            </p:cNvSpPr>
            <p:nvPr/>
          </p:nvSpPr>
          <p:spPr bwMode="auto">
            <a:xfrm>
              <a:off x="9442661" y="4966684"/>
              <a:ext cx="21200" cy="1618"/>
            </a:xfrm>
            <a:custGeom>
              <a:avLst/>
              <a:gdLst>
                <a:gd name="T0" fmla="*/ 57 w 58"/>
                <a:gd name="T1" fmla="*/ 0 h 1"/>
                <a:gd name="T2" fmla="*/ 57 w 58"/>
                <a:gd name="T3" fmla="*/ 0 h 1"/>
                <a:gd name="T4" fmla="*/ 28 w 58"/>
                <a:gd name="T5" fmla="*/ 0 h 1"/>
                <a:gd name="T6" fmla="*/ 0 w 58"/>
                <a:gd name="T7" fmla="*/ 0 h 1"/>
                <a:gd name="T8" fmla="*/ 0 w 58"/>
                <a:gd name="T9" fmla="*/ 0 h 1"/>
                <a:gd name="T10" fmla="*/ 28 w 58"/>
                <a:gd name="T11" fmla="*/ 0 h 1"/>
                <a:gd name="T12" fmla="*/ 57 w 58"/>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58" h="1">
                  <a:moveTo>
                    <a:pt x="57" y="0"/>
                  </a:moveTo>
                  <a:lnTo>
                    <a:pt x="57" y="0"/>
                  </a:lnTo>
                  <a:cubicBezTo>
                    <a:pt x="28" y="0"/>
                    <a:pt x="28" y="0"/>
                    <a:pt x="28" y="0"/>
                  </a:cubicBezTo>
                  <a:cubicBezTo>
                    <a:pt x="0" y="0"/>
                    <a:pt x="0" y="0"/>
                    <a:pt x="0" y="0"/>
                  </a:cubicBezTo>
                  <a:lnTo>
                    <a:pt x="0" y="0"/>
                  </a:lnTo>
                  <a:cubicBezTo>
                    <a:pt x="0" y="0"/>
                    <a:pt x="0" y="0"/>
                    <a:pt x="28" y="0"/>
                  </a:cubicBezTo>
                  <a:cubicBezTo>
                    <a:pt x="28" y="0"/>
                    <a:pt x="28" y="0"/>
                    <a:pt x="5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56" name="Freeform 634">
              <a:extLst>
                <a:ext uri="{FF2B5EF4-FFF2-40B4-BE49-F238E27FC236}">
                  <a16:creationId xmlns:a16="http://schemas.microsoft.com/office/drawing/2014/main" id="{64DCBA7E-AA1B-4119-8113-41F73B7BDA12}"/>
                </a:ext>
              </a:extLst>
            </p:cNvPr>
            <p:cNvSpPr>
              <a:spLocks noChangeArrowheads="1"/>
            </p:cNvSpPr>
            <p:nvPr/>
          </p:nvSpPr>
          <p:spPr bwMode="auto">
            <a:xfrm>
              <a:off x="9711750" y="4976394"/>
              <a:ext cx="32617" cy="11328"/>
            </a:xfrm>
            <a:custGeom>
              <a:avLst/>
              <a:gdLst>
                <a:gd name="T0" fmla="*/ 58 w 89"/>
                <a:gd name="T1" fmla="*/ 29 h 30"/>
                <a:gd name="T2" fmla="*/ 58 w 89"/>
                <a:gd name="T3" fmla="*/ 29 h 30"/>
                <a:gd name="T4" fmla="*/ 0 w 89"/>
                <a:gd name="T5" fmla="*/ 0 h 30"/>
                <a:gd name="T6" fmla="*/ 58 w 89"/>
                <a:gd name="T7" fmla="*/ 29 h 30"/>
                <a:gd name="T8" fmla="*/ 88 w 89"/>
                <a:gd name="T9" fmla="*/ 29 h 30"/>
                <a:gd name="T10" fmla="*/ 58 w 89"/>
                <a:gd name="T11" fmla="*/ 29 h 30"/>
              </a:gdLst>
              <a:ahLst/>
              <a:cxnLst>
                <a:cxn ang="0">
                  <a:pos x="T0" y="T1"/>
                </a:cxn>
                <a:cxn ang="0">
                  <a:pos x="T2" y="T3"/>
                </a:cxn>
                <a:cxn ang="0">
                  <a:pos x="T4" y="T5"/>
                </a:cxn>
                <a:cxn ang="0">
                  <a:pos x="T6" y="T7"/>
                </a:cxn>
                <a:cxn ang="0">
                  <a:pos x="T8" y="T9"/>
                </a:cxn>
                <a:cxn ang="0">
                  <a:pos x="T10" y="T11"/>
                </a:cxn>
              </a:cxnLst>
              <a:rect l="0" t="0" r="r" b="b"/>
              <a:pathLst>
                <a:path w="89" h="30">
                  <a:moveTo>
                    <a:pt x="58" y="29"/>
                  </a:moveTo>
                  <a:lnTo>
                    <a:pt x="58" y="29"/>
                  </a:lnTo>
                  <a:cubicBezTo>
                    <a:pt x="29" y="29"/>
                    <a:pt x="0" y="29"/>
                    <a:pt x="0" y="0"/>
                  </a:cubicBezTo>
                  <a:cubicBezTo>
                    <a:pt x="0" y="29"/>
                    <a:pt x="29" y="29"/>
                    <a:pt x="58" y="29"/>
                  </a:cubicBezTo>
                  <a:lnTo>
                    <a:pt x="88" y="29"/>
                  </a:lnTo>
                  <a:lnTo>
                    <a:pt x="58"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57" name="Freeform 635">
              <a:extLst>
                <a:ext uri="{FF2B5EF4-FFF2-40B4-BE49-F238E27FC236}">
                  <a16:creationId xmlns:a16="http://schemas.microsoft.com/office/drawing/2014/main" id="{8D9CA800-310E-46C7-B790-6C6A8BA1B3A4}"/>
                </a:ext>
              </a:extLst>
            </p:cNvPr>
            <p:cNvSpPr>
              <a:spLocks noChangeArrowheads="1"/>
            </p:cNvSpPr>
            <p:nvPr/>
          </p:nvSpPr>
          <p:spPr bwMode="auto">
            <a:xfrm>
              <a:off x="9281207" y="4869585"/>
              <a:ext cx="44033" cy="32366"/>
            </a:xfrm>
            <a:custGeom>
              <a:avLst/>
              <a:gdLst>
                <a:gd name="T0" fmla="*/ 117 w 118"/>
                <a:gd name="T1" fmla="*/ 87 h 88"/>
                <a:gd name="T2" fmla="*/ 117 w 118"/>
                <a:gd name="T3" fmla="*/ 87 h 88"/>
                <a:gd name="T4" fmla="*/ 29 w 118"/>
                <a:gd name="T5" fmla="*/ 29 h 88"/>
                <a:gd name="T6" fmla="*/ 0 w 118"/>
                <a:gd name="T7" fmla="*/ 0 h 88"/>
                <a:gd name="T8" fmla="*/ 0 w 118"/>
                <a:gd name="T9" fmla="*/ 0 h 88"/>
                <a:gd name="T10" fmla="*/ 0 w 118"/>
                <a:gd name="T11" fmla="*/ 0 h 88"/>
                <a:gd name="T12" fmla="*/ 29 w 118"/>
                <a:gd name="T13" fmla="*/ 29 h 88"/>
                <a:gd name="T14" fmla="*/ 117 w 118"/>
                <a:gd name="T15" fmla="*/ 87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88">
                  <a:moveTo>
                    <a:pt x="117" y="87"/>
                  </a:moveTo>
                  <a:lnTo>
                    <a:pt x="117" y="87"/>
                  </a:lnTo>
                  <a:cubicBezTo>
                    <a:pt x="88" y="58"/>
                    <a:pt x="58" y="58"/>
                    <a:pt x="29" y="29"/>
                  </a:cubicBezTo>
                  <a:cubicBezTo>
                    <a:pt x="29" y="0"/>
                    <a:pt x="29" y="0"/>
                    <a:pt x="0" y="0"/>
                  </a:cubicBezTo>
                  <a:lnTo>
                    <a:pt x="0" y="0"/>
                  </a:lnTo>
                  <a:lnTo>
                    <a:pt x="0" y="0"/>
                  </a:lnTo>
                  <a:cubicBezTo>
                    <a:pt x="29" y="0"/>
                    <a:pt x="29" y="0"/>
                    <a:pt x="29" y="29"/>
                  </a:cubicBezTo>
                  <a:cubicBezTo>
                    <a:pt x="58" y="58"/>
                    <a:pt x="88" y="58"/>
                    <a:pt x="117" y="8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58" name="Freeform 636">
              <a:extLst>
                <a:ext uri="{FF2B5EF4-FFF2-40B4-BE49-F238E27FC236}">
                  <a16:creationId xmlns:a16="http://schemas.microsoft.com/office/drawing/2014/main" id="{6D0B4629-A808-4872-84F1-FCC1C3E1BE9D}"/>
                </a:ext>
              </a:extLst>
            </p:cNvPr>
            <p:cNvSpPr>
              <a:spLocks noChangeArrowheads="1"/>
            </p:cNvSpPr>
            <p:nvPr/>
          </p:nvSpPr>
          <p:spPr bwMode="auto">
            <a:xfrm>
              <a:off x="9183356" y="4837219"/>
              <a:ext cx="65234" cy="11328"/>
            </a:xfrm>
            <a:custGeom>
              <a:avLst/>
              <a:gdLst>
                <a:gd name="T0" fmla="*/ 174 w 175"/>
                <a:gd name="T1" fmla="*/ 29 h 30"/>
                <a:gd name="T2" fmla="*/ 174 w 175"/>
                <a:gd name="T3" fmla="*/ 29 h 30"/>
                <a:gd name="T4" fmla="*/ 174 w 175"/>
                <a:gd name="T5" fmla="*/ 29 h 30"/>
                <a:gd name="T6" fmla="*/ 174 w 175"/>
                <a:gd name="T7" fmla="*/ 29 h 30"/>
                <a:gd name="T8" fmla="*/ 174 w 175"/>
                <a:gd name="T9" fmla="*/ 29 h 30"/>
                <a:gd name="T10" fmla="*/ 86 w 175"/>
                <a:gd name="T11" fmla="*/ 0 h 30"/>
                <a:gd name="T12" fmla="*/ 29 w 175"/>
                <a:gd name="T13" fmla="*/ 29 h 30"/>
                <a:gd name="T14" fmla="*/ 0 w 175"/>
                <a:gd name="T15" fmla="*/ 29 h 30"/>
                <a:gd name="T16" fmla="*/ 0 w 175"/>
                <a:gd name="T17" fmla="*/ 29 h 30"/>
                <a:gd name="T18" fmla="*/ 0 w 175"/>
                <a:gd name="T19" fmla="*/ 29 h 30"/>
                <a:gd name="T20" fmla="*/ 29 w 175"/>
                <a:gd name="T21" fmla="*/ 29 h 30"/>
                <a:gd name="T22" fmla="*/ 86 w 175"/>
                <a:gd name="T23" fmla="*/ 0 h 30"/>
                <a:gd name="T24" fmla="*/ 174 w 175"/>
                <a:gd name="T25"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 h="30">
                  <a:moveTo>
                    <a:pt x="174" y="29"/>
                  </a:moveTo>
                  <a:lnTo>
                    <a:pt x="174" y="29"/>
                  </a:lnTo>
                  <a:lnTo>
                    <a:pt x="174" y="29"/>
                  </a:lnTo>
                  <a:lnTo>
                    <a:pt x="174" y="29"/>
                  </a:lnTo>
                  <a:lnTo>
                    <a:pt x="174" y="29"/>
                  </a:lnTo>
                  <a:cubicBezTo>
                    <a:pt x="145" y="0"/>
                    <a:pt x="116" y="0"/>
                    <a:pt x="86" y="0"/>
                  </a:cubicBezTo>
                  <a:cubicBezTo>
                    <a:pt x="57" y="0"/>
                    <a:pt x="29" y="0"/>
                    <a:pt x="29" y="29"/>
                  </a:cubicBezTo>
                  <a:lnTo>
                    <a:pt x="0" y="29"/>
                  </a:lnTo>
                  <a:lnTo>
                    <a:pt x="0" y="29"/>
                  </a:lnTo>
                  <a:lnTo>
                    <a:pt x="0" y="29"/>
                  </a:lnTo>
                  <a:lnTo>
                    <a:pt x="29" y="29"/>
                  </a:lnTo>
                  <a:cubicBezTo>
                    <a:pt x="29" y="0"/>
                    <a:pt x="57" y="0"/>
                    <a:pt x="86" y="0"/>
                  </a:cubicBezTo>
                  <a:cubicBezTo>
                    <a:pt x="116" y="0"/>
                    <a:pt x="145" y="0"/>
                    <a:pt x="174"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59" name="Freeform 637">
              <a:extLst>
                <a:ext uri="{FF2B5EF4-FFF2-40B4-BE49-F238E27FC236}">
                  <a16:creationId xmlns:a16="http://schemas.microsoft.com/office/drawing/2014/main" id="{6AAA5674-6EF7-4A55-87E1-6AD6470E5564}"/>
                </a:ext>
              </a:extLst>
            </p:cNvPr>
            <p:cNvSpPr>
              <a:spLocks noChangeArrowheads="1"/>
            </p:cNvSpPr>
            <p:nvPr/>
          </p:nvSpPr>
          <p:spPr bwMode="auto">
            <a:xfrm>
              <a:off x="9582914" y="4892241"/>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60" name="Freeform 638">
              <a:extLst>
                <a:ext uri="{FF2B5EF4-FFF2-40B4-BE49-F238E27FC236}">
                  <a16:creationId xmlns:a16="http://schemas.microsoft.com/office/drawing/2014/main" id="{A23F04DE-4CED-4912-B61D-F0161EF2E95F}"/>
                </a:ext>
              </a:extLst>
            </p:cNvPr>
            <p:cNvSpPr>
              <a:spLocks noChangeArrowheads="1"/>
            </p:cNvSpPr>
            <p:nvPr/>
          </p:nvSpPr>
          <p:spPr bwMode="auto">
            <a:xfrm>
              <a:off x="9582914" y="4892241"/>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61" name="Freeform 639">
              <a:extLst>
                <a:ext uri="{FF2B5EF4-FFF2-40B4-BE49-F238E27FC236}">
                  <a16:creationId xmlns:a16="http://schemas.microsoft.com/office/drawing/2014/main" id="{E9574200-7539-481C-B55D-6E25DE96E659}"/>
                </a:ext>
              </a:extLst>
            </p:cNvPr>
            <p:cNvSpPr>
              <a:spLocks noChangeArrowheads="1"/>
            </p:cNvSpPr>
            <p:nvPr/>
          </p:nvSpPr>
          <p:spPr bwMode="auto">
            <a:xfrm>
              <a:off x="9657933" y="4934318"/>
              <a:ext cx="21200" cy="1618"/>
            </a:xfrm>
            <a:custGeom>
              <a:avLst/>
              <a:gdLst>
                <a:gd name="T0" fmla="*/ 0 w 59"/>
                <a:gd name="T1" fmla="*/ 0 h 1"/>
                <a:gd name="T2" fmla="*/ 0 w 59"/>
                <a:gd name="T3" fmla="*/ 0 h 1"/>
                <a:gd name="T4" fmla="*/ 58 w 59"/>
                <a:gd name="T5" fmla="*/ 0 h 1"/>
                <a:gd name="T6" fmla="*/ 0 w 59"/>
                <a:gd name="T7" fmla="*/ 0 h 1"/>
              </a:gdLst>
              <a:ahLst/>
              <a:cxnLst>
                <a:cxn ang="0">
                  <a:pos x="T0" y="T1"/>
                </a:cxn>
                <a:cxn ang="0">
                  <a:pos x="T2" y="T3"/>
                </a:cxn>
                <a:cxn ang="0">
                  <a:pos x="T4" y="T5"/>
                </a:cxn>
                <a:cxn ang="0">
                  <a:pos x="T6" y="T7"/>
                </a:cxn>
              </a:cxnLst>
              <a:rect l="0" t="0" r="r" b="b"/>
              <a:pathLst>
                <a:path w="59" h="1">
                  <a:moveTo>
                    <a:pt x="0" y="0"/>
                  </a:moveTo>
                  <a:lnTo>
                    <a:pt x="0" y="0"/>
                  </a:lnTo>
                  <a:cubicBezTo>
                    <a:pt x="29" y="0"/>
                    <a:pt x="29" y="0"/>
                    <a:pt x="58"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62" name="Freeform 640">
              <a:extLst>
                <a:ext uri="{FF2B5EF4-FFF2-40B4-BE49-F238E27FC236}">
                  <a16:creationId xmlns:a16="http://schemas.microsoft.com/office/drawing/2014/main" id="{B51BECA5-C466-4C5D-A6F5-28EC97027709}"/>
                </a:ext>
              </a:extLst>
            </p:cNvPr>
            <p:cNvSpPr>
              <a:spLocks noChangeArrowheads="1"/>
            </p:cNvSpPr>
            <p:nvPr/>
          </p:nvSpPr>
          <p:spPr bwMode="auto">
            <a:xfrm>
              <a:off x="9582914" y="4892241"/>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63" name="Freeform 641">
              <a:extLst>
                <a:ext uri="{FF2B5EF4-FFF2-40B4-BE49-F238E27FC236}">
                  <a16:creationId xmlns:a16="http://schemas.microsoft.com/office/drawing/2014/main" id="{AE433989-92E0-4A0A-A65B-C06C7F52168E}"/>
                </a:ext>
              </a:extLst>
            </p:cNvPr>
            <p:cNvSpPr>
              <a:spLocks noChangeArrowheads="1"/>
            </p:cNvSpPr>
            <p:nvPr/>
          </p:nvSpPr>
          <p:spPr bwMode="auto">
            <a:xfrm>
              <a:off x="8687579" y="5084821"/>
              <a:ext cx="11416" cy="21039"/>
            </a:xfrm>
            <a:custGeom>
              <a:avLst/>
              <a:gdLst>
                <a:gd name="T0" fmla="*/ 0 w 30"/>
                <a:gd name="T1" fmla="*/ 58 h 59"/>
                <a:gd name="T2" fmla="*/ 0 w 30"/>
                <a:gd name="T3" fmla="*/ 58 h 59"/>
                <a:gd name="T4" fmla="*/ 29 w 30"/>
                <a:gd name="T5" fmla="*/ 0 h 59"/>
                <a:gd name="T6" fmla="*/ 29 w 30"/>
                <a:gd name="T7" fmla="*/ 0 h 59"/>
                <a:gd name="T8" fmla="*/ 0 w 30"/>
                <a:gd name="T9" fmla="*/ 58 h 59"/>
              </a:gdLst>
              <a:ahLst/>
              <a:cxnLst>
                <a:cxn ang="0">
                  <a:pos x="T0" y="T1"/>
                </a:cxn>
                <a:cxn ang="0">
                  <a:pos x="T2" y="T3"/>
                </a:cxn>
                <a:cxn ang="0">
                  <a:pos x="T4" y="T5"/>
                </a:cxn>
                <a:cxn ang="0">
                  <a:pos x="T6" y="T7"/>
                </a:cxn>
                <a:cxn ang="0">
                  <a:pos x="T8" y="T9"/>
                </a:cxn>
              </a:cxnLst>
              <a:rect l="0" t="0" r="r" b="b"/>
              <a:pathLst>
                <a:path w="30" h="59">
                  <a:moveTo>
                    <a:pt x="0" y="58"/>
                  </a:moveTo>
                  <a:lnTo>
                    <a:pt x="0" y="58"/>
                  </a:lnTo>
                  <a:cubicBezTo>
                    <a:pt x="0" y="29"/>
                    <a:pt x="29" y="0"/>
                    <a:pt x="29" y="0"/>
                  </a:cubicBezTo>
                  <a:lnTo>
                    <a:pt x="29" y="0"/>
                  </a:lnTo>
                  <a:cubicBezTo>
                    <a:pt x="29" y="0"/>
                    <a:pt x="0" y="29"/>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64" name="Freeform 642">
              <a:extLst>
                <a:ext uri="{FF2B5EF4-FFF2-40B4-BE49-F238E27FC236}">
                  <a16:creationId xmlns:a16="http://schemas.microsoft.com/office/drawing/2014/main" id="{2AC7EC8C-FC1E-4146-8BB6-174E7A43CDDF}"/>
                </a:ext>
              </a:extLst>
            </p:cNvPr>
            <p:cNvSpPr>
              <a:spLocks noChangeArrowheads="1"/>
            </p:cNvSpPr>
            <p:nvPr/>
          </p:nvSpPr>
          <p:spPr bwMode="auto">
            <a:xfrm>
              <a:off x="9475278" y="4966684"/>
              <a:ext cx="32617" cy="21038"/>
            </a:xfrm>
            <a:custGeom>
              <a:avLst/>
              <a:gdLst>
                <a:gd name="T0" fmla="*/ 0 w 89"/>
                <a:gd name="T1" fmla="*/ 58 h 59"/>
                <a:gd name="T2" fmla="*/ 0 w 89"/>
                <a:gd name="T3" fmla="*/ 58 h 59"/>
                <a:gd name="T4" fmla="*/ 88 w 89"/>
                <a:gd name="T5" fmla="*/ 0 h 59"/>
                <a:gd name="T6" fmla="*/ 0 w 89"/>
                <a:gd name="T7" fmla="*/ 58 h 59"/>
              </a:gdLst>
              <a:ahLst/>
              <a:cxnLst>
                <a:cxn ang="0">
                  <a:pos x="T0" y="T1"/>
                </a:cxn>
                <a:cxn ang="0">
                  <a:pos x="T2" y="T3"/>
                </a:cxn>
                <a:cxn ang="0">
                  <a:pos x="T4" y="T5"/>
                </a:cxn>
                <a:cxn ang="0">
                  <a:pos x="T6" y="T7"/>
                </a:cxn>
              </a:cxnLst>
              <a:rect l="0" t="0" r="r" b="b"/>
              <a:pathLst>
                <a:path w="89" h="59">
                  <a:moveTo>
                    <a:pt x="0" y="58"/>
                  </a:moveTo>
                  <a:lnTo>
                    <a:pt x="0" y="58"/>
                  </a:lnTo>
                  <a:cubicBezTo>
                    <a:pt x="59" y="58"/>
                    <a:pt x="88" y="29"/>
                    <a:pt x="88" y="0"/>
                  </a:cubicBezTo>
                  <a:cubicBezTo>
                    <a:pt x="88" y="29"/>
                    <a:pt x="59" y="58"/>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65" name="Freeform 643">
              <a:extLst>
                <a:ext uri="{FF2B5EF4-FFF2-40B4-BE49-F238E27FC236}">
                  <a16:creationId xmlns:a16="http://schemas.microsoft.com/office/drawing/2014/main" id="{6EA31D38-68B5-45A9-B00F-F7032D956E5D}"/>
                </a:ext>
              </a:extLst>
            </p:cNvPr>
            <p:cNvSpPr>
              <a:spLocks noChangeArrowheads="1"/>
            </p:cNvSpPr>
            <p:nvPr/>
          </p:nvSpPr>
          <p:spPr bwMode="auto">
            <a:xfrm>
              <a:off x="9571497" y="4892241"/>
              <a:ext cx="11416" cy="1618"/>
            </a:xfrm>
            <a:custGeom>
              <a:avLst/>
              <a:gdLst>
                <a:gd name="T0" fmla="*/ 0 w 29"/>
                <a:gd name="T1" fmla="*/ 0 h 1"/>
                <a:gd name="T2" fmla="*/ 0 w 29"/>
                <a:gd name="T3" fmla="*/ 0 h 1"/>
                <a:gd name="T4" fmla="*/ 0 w 29"/>
                <a:gd name="T5" fmla="*/ 0 h 1"/>
                <a:gd name="T6" fmla="*/ 0 w 29"/>
                <a:gd name="T7" fmla="*/ 0 h 1"/>
                <a:gd name="T8" fmla="*/ 28 w 29"/>
                <a:gd name="T9" fmla="*/ 0 h 1"/>
                <a:gd name="T10" fmla="*/ 28 w 29"/>
                <a:gd name="T11" fmla="*/ 0 h 1"/>
                <a:gd name="T12" fmla="*/ 0 w 29"/>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9" h="1">
                  <a:moveTo>
                    <a:pt x="0" y="0"/>
                  </a:moveTo>
                  <a:lnTo>
                    <a:pt x="0" y="0"/>
                  </a:lnTo>
                  <a:lnTo>
                    <a:pt x="0" y="0"/>
                  </a:lnTo>
                  <a:lnTo>
                    <a:pt x="0" y="0"/>
                  </a:lnTo>
                  <a:cubicBezTo>
                    <a:pt x="28" y="0"/>
                    <a:pt x="28" y="0"/>
                    <a:pt x="28" y="0"/>
                  </a:cubicBezTo>
                  <a:lnTo>
                    <a:pt x="28"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66" name="Freeform 644">
              <a:extLst>
                <a:ext uri="{FF2B5EF4-FFF2-40B4-BE49-F238E27FC236}">
                  <a16:creationId xmlns:a16="http://schemas.microsoft.com/office/drawing/2014/main" id="{9CC16B22-902B-44AD-AE12-E4AE5D663870}"/>
                </a:ext>
              </a:extLst>
            </p:cNvPr>
            <p:cNvSpPr>
              <a:spLocks noChangeArrowheads="1"/>
            </p:cNvSpPr>
            <p:nvPr/>
          </p:nvSpPr>
          <p:spPr bwMode="auto">
            <a:xfrm>
              <a:off x="8870234" y="4892241"/>
              <a:ext cx="11416" cy="11328"/>
            </a:xfrm>
            <a:custGeom>
              <a:avLst/>
              <a:gdLst>
                <a:gd name="T0" fmla="*/ 0 w 31"/>
                <a:gd name="T1" fmla="*/ 0 h 30"/>
                <a:gd name="T2" fmla="*/ 0 w 31"/>
                <a:gd name="T3" fmla="*/ 0 h 30"/>
                <a:gd name="T4" fmla="*/ 30 w 31"/>
                <a:gd name="T5" fmla="*/ 29 h 30"/>
                <a:gd name="T6" fmla="*/ 0 w 31"/>
                <a:gd name="T7" fmla="*/ 0 h 30"/>
              </a:gdLst>
              <a:ahLst/>
              <a:cxnLst>
                <a:cxn ang="0">
                  <a:pos x="T0" y="T1"/>
                </a:cxn>
                <a:cxn ang="0">
                  <a:pos x="T2" y="T3"/>
                </a:cxn>
                <a:cxn ang="0">
                  <a:pos x="T4" y="T5"/>
                </a:cxn>
                <a:cxn ang="0">
                  <a:pos x="T6" y="T7"/>
                </a:cxn>
              </a:cxnLst>
              <a:rect l="0" t="0" r="r" b="b"/>
              <a:pathLst>
                <a:path w="31" h="30">
                  <a:moveTo>
                    <a:pt x="0" y="0"/>
                  </a:moveTo>
                  <a:lnTo>
                    <a:pt x="0" y="0"/>
                  </a:lnTo>
                  <a:cubicBezTo>
                    <a:pt x="30" y="29"/>
                    <a:pt x="30" y="29"/>
                    <a:pt x="30" y="29"/>
                  </a:cubicBezTo>
                  <a:cubicBezTo>
                    <a:pt x="30" y="29"/>
                    <a:pt x="3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67" name="Freeform 645">
              <a:extLst>
                <a:ext uri="{FF2B5EF4-FFF2-40B4-BE49-F238E27FC236}">
                  <a16:creationId xmlns:a16="http://schemas.microsoft.com/office/drawing/2014/main" id="{553BAB31-087A-4F69-81C7-B499D42B7F91}"/>
                </a:ext>
              </a:extLst>
            </p:cNvPr>
            <p:cNvSpPr>
              <a:spLocks noChangeArrowheads="1"/>
            </p:cNvSpPr>
            <p:nvPr/>
          </p:nvSpPr>
          <p:spPr bwMode="auto">
            <a:xfrm>
              <a:off x="8902851" y="4901951"/>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68" name="Freeform 646">
              <a:extLst>
                <a:ext uri="{FF2B5EF4-FFF2-40B4-BE49-F238E27FC236}">
                  <a16:creationId xmlns:a16="http://schemas.microsoft.com/office/drawing/2014/main" id="{68BEC023-8AD7-44BC-8AF8-520379373B0B}"/>
                </a:ext>
              </a:extLst>
            </p:cNvPr>
            <p:cNvSpPr>
              <a:spLocks noChangeArrowheads="1"/>
            </p:cNvSpPr>
            <p:nvPr/>
          </p:nvSpPr>
          <p:spPr bwMode="auto">
            <a:xfrm>
              <a:off x="8762598" y="5115570"/>
              <a:ext cx="32617" cy="11328"/>
            </a:xfrm>
            <a:custGeom>
              <a:avLst/>
              <a:gdLst>
                <a:gd name="T0" fmla="*/ 58 w 89"/>
                <a:gd name="T1" fmla="*/ 0 h 31"/>
                <a:gd name="T2" fmla="*/ 58 w 89"/>
                <a:gd name="T3" fmla="*/ 0 h 31"/>
                <a:gd name="T4" fmla="*/ 0 w 89"/>
                <a:gd name="T5" fmla="*/ 0 h 31"/>
                <a:gd name="T6" fmla="*/ 0 w 89"/>
                <a:gd name="T7" fmla="*/ 0 h 31"/>
                <a:gd name="T8" fmla="*/ 58 w 89"/>
                <a:gd name="T9" fmla="*/ 0 h 31"/>
                <a:gd name="T10" fmla="*/ 88 w 89"/>
                <a:gd name="T11" fmla="*/ 0 h 31"/>
                <a:gd name="T12" fmla="*/ 88 w 89"/>
                <a:gd name="T13" fmla="*/ 30 h 31"/>
                <a:gd name="T14" fmla="*/ 88 w 89"/>
                <a:gd name="T15" fmla="*/ 30 h 31"/>
                <a:gd name="T16" fmla="*/ 88 w 89"/>
                <a:gd name="T17" fmla="*/ 0 h 31"/>
                <a:gd name="T18" fmla="*/ 58 w 89"/>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31">
                  <a:moveTo>
                    <a:pt x="58" y="0"/>
                  </a:moveTo>
                  <a:lnTo>
                    <a:pt x="58" y="0"/>
                  </a:lnTo>
                  <a:cubicBezTo>
                    <a:pt x="58" y="0"/>
                    <a:pt x="29" y="0"/>
                    <a:pt x="0" y="0"/>
                  </a:cubicBezTo>
                  <a:lnTo>
                    <a:pt x="0" y="0"/>
                  </a:lnTo>
                  <a:cubicBezTo>
                    <a:pt x="29" y="0"/>
                    <a:pt x="58" y="0"/>
                    <a:pt x="58" y="0"/>
                  </a:cubicBezTo>
                  <a:cubicBezTo>
                    <a:pt x="88" y="0"/>
                    <a:pt x="88" y="0"/>
                    <a:pt x="88" y="0"/>
                  </a:cubicBezTo>
                  <a:cubicBezTo>
                    <a:pt x="88" y="30"/>
                    <a:pt x="88" y="30"/>
                    <a:pt x="88" y="30"/>
                  </a:cubicBezTo>
                  <a:lnTo>
                    <a:pt x="88" y="30"/>
                  </a:lnTo>
                  <a:cubicBezTo>
                    <a:pt x="88" y="0"/>
                    <a:pt x="88" y="0"/>
                    <a:pt x="88" y="0"/>
                  </a:cubicBezTo>
                  <a:lnTo>
                    <a:pt x="5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69" name="Freeform 647">
              <a:extLst>
                <a:ext uri="{FF2B5EF4-FFF2-40B4-BE49-F238E27FC236}">
                  <a16:creationId xmlns:a16="http://schemas.microsoft.com/office/drawing/2014/main" id="{E369A10D-3953-4DD7-A546-7D060F10DC46}"/>
                </a:ext>
              </a:extLst>
            </p:cNvPr>
            <p:cNvSpPr>
              <a:spLocks noChangeArrowheads="1"/>
            </p:cNvSpPr>
            <p:nvPr/>
          </p:nvSpPr>
          <p:spPr bwMode="auto">
            <a:xfrm>
              <a:off x="8698995" y="5138226"/>
              <a:ext cx="32617" cy="21038"/>
            </a:xfrm>
            <a:custGeom>
              <a:avLst/>
              <a:gdLst>
                <a:gd name="T0" fmla="*/ 58 w 88"/>
                <a:gd name="T1" fmla="*/ 29 h 59"/>
                <a:gd name="T2" fmla="*/ 58 w 88"/>
                <a:gd name="T3" fmla="*/ 29 h 59"/>
                <a:gd name="T4" fmla="*/ 0 w 88"/>
                <a:gd name="T5" fmla="*/ 58 h 59"/>
                <a:gd name="T6" fmla="*/ 0 w 88"/>
                <a:gd name="T7" fmla="*/ 58 h 59"/>
                <a:gd name="T8" fmla="*/ 58 w 88"/>
                <a:gd name="T9" fmla="*/ 29 h 59"/>
                <a:gd name="T10" fmla="*/ 87 w 88"/>
                <a:gd name="T11" fmla="*/ 0 h 59"/>
                <a:gd name="T12" fmla="*/ 58 w 88"/>
                <a:gd name="T13" fmla="*/ 29 h 59"/>
              </a:gdLst>
              <a:ahLst/>
              <a:cxnLst>
                <a:cxn ang="0">
                  <a:pos x="T0" y="T1"/>
                </a:cxn>
                <a:cxn ang="0">
                  <a:pos x="T2" y="T3"/>
                </a:cxn>
                <a:cxn ang="0">
                  <a:pos x="T4" y="T5"/>
                </a:cxn>
                <a:cxn ang="0">
                  <a:pos x="T6" y="T7"/>
                </a:cxn>
                <a:cxn ang="0">
                  <a:pos x="T8" y="T9"/>
                </a:cxn>
                <a:cxn ang="0">
                  <a:pos x="T10" y="T11"/>
                </a:cxn>
                <a:cxn ang="0">
                  <a:pos x="T12" y="T13"/>
                </a:cxn>
              </a:cxnLst>
              <a:rect l="0" t="0" r="r" b="b"/>
              <a:pathLst>
                <a:path w="88" h="59">
                  <a:moveTo>
                    <a:pt x="58" y="29"/>
                  </a:moveTo>
                  <a:lnTo>
                    <a:pt x="58" y="29"/>
                  </a:lnTo>
                  <a:cubicBezTo>
                    <a:pt x="0" y="58"/>
                    <a:pt x="0" y="58"/>
                    <a:pt x="0" y="58"/>
                  </a:cubicBezTo>
                  <a:lnTo>
                    <a:pt x="0" y="58"/>
                  </a:lnTo>
                  <a:cubicBezTo>
                    <a:pt x="58" y="29"/>
                    <a:pt x="58" y="29"/>
                    <a:pt x="58" y="29"/>
                  </a:cubicBezTo>
                  <a:cubicBezTo>
                    <a:pt x="58" y="29"/>
                    <a:pt x="87" y="29"/>
                    <a:pt x="87" y="0"/>
                  </a:cubicBezTo>
                  <a:cubicBezTo>
                    <a:pt x="87" y="29"/>
                    <a:pt x="58" y="29"/>
                    <a:pt x="5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70" name="Freeform 648">
              <a:extLst>
                <a:ext uri="{FF2B5EF4-FFF2-40B4-BE49-F238E27FC236}">
                  <a16:creationId xmlns:a16="http://schemas.microsoft.com/office/drawing/2014/main" id="{AB34EDD0-03B5-4A5E-BAA8-1E582F559725}"/>
                </a:ext>
              </a:extLst>
            </p:cNvPr>
            <p:cNvSpPr>
              <a:spLocks noChangeArrowheads="1"/>
            </p:cNvSpPr>
            <p:nvPr/>
          </p:nvSpPr>
          <p:spPr bwMode="auto">
            <a:xfrm>
              <a:off x="8902851" y="4901951"/>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71" name="Freeform 649">
              <a:extLst>
                <a:ext uri="{FF2B5EF4-FFF2-40B4-BE49-F238E27FC236}">
                  <a16:creationId xmlns:a16="http://schemas.microsoft.com/office/drawing/2014/main" id="{B7F43D87-14F3-4649-83E9-FCD5C28CB786}"/>
                </a:ext>
              </a:extLst>
            </p:cNvPr>
            <p:cNvSpPr>
              <a:spLocks noChangeArrowheads="1"/>
            </p:cNvSpPr>
            <p:nvPr/>
          </p:nvSpPr>
          <p:spPr bwMode="auto">
            <a:xfrm>
              <a:off x="8762598" y="5147936"/>
              <a:ext cx="11416" cy="1618"/>
            </a:xfrm>
            <a:custGeom>
              <a:avLst/>
              <a:gdLst>
                <a:gd name="T0" fmla="*/ 29 w 30"/>
                <a:gd name="T1" fmla="*/ 0 h 1"/>
                <a:gd name="T2" fmla="*/ 29 w 30"/>
                <a:gd name="T3" fmla="*/ 0 h 1"/>
                <a:gd name="T4" fmla="*/ 0 w 30"/>
                <a:gd name="T5" fmla="*/ 0 h 1"/>
                <a:gd name="T6" fmla="*/ 0 w 30"/>
                <a:gd name="T7" fmla="*/ 0 h 1"/>
                <a:gd name="T8" fmla="*/ 0 w 30"/>
                <a:gd name="T9" fmla="*/ 0 h 1"/>
                <a:gd name="T10" fmla="*/ 0 w 30"/>
                <a:gd name="T11" fmla="*/ 0 h 1"/>
                <a:gd name="T12" fmla="*/ 0 w 30"/>
                <a:gd name="T13" fmla="*/ 0 h 1"/>
                <a:gd name="T14" fmla="*/ 0 w 30"/>
                <a:gd name="T15" fmla="*/ 0 h 1"/>
                <a:gd name="T16" fmla="*/ 29 w 30"/>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
                  <a:moveTo>
                    <a:pt x="29" y="0"/>
                  </a:moveTo>
                  <a:lnTo>
                    <a:pt x="29" y="0"/>
                  </a:lnTo>
                  <a:cubicBezTo>
                    <a:pt x="0" y="0"/>
                    <a:pt x="0" y="0"/>
                    <a:pt x="0" y="0"/>
                  </a:cubicBezTo>
                  <a:lnTo>
                    <a:pt x="0" y="0"/>
                  </a:lnTo>
                  <a:lnTo>
                    <a:pt x="0" y="0"/>
                  </a:lnTo>
                  <a:lnTo>
                    <a:pt x="0" y="0"/>
                  </a:lnTo>
                  <a:lnTo>
                    <a:pt x="0" y="0"/>
                  </a:lnTo>
                  <a:lnTo>
                    <a:pt x="0" y="0"/>
                  </a:ln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72" name="Freeform 650">
              <a:extLst>
                <a:ext uri="{FF2B5EF4-FFF2-40B4-BE49-F238E27FC236}">
                  <a16:creationId xmlns:a16="http://schemas.microsoft.com/office/drawing/2014/main" id="{A299F600-83A0-41CF-A2DA-2C0B2D49778C}"/>
                </a:ext>
              </a:extLst>
            </p:cNvPr>
            <p:cNvSpPr>
              <a:spLocks noChangeArrowheads="1"/>
            </p:cNvSpPr>
            <p:nvPr/>
          </p:nvSpPr>
          <p:spPr bwMode="auto">
            <a:xfrm>
              <a:off x="8925682" y="4892241"/>
              <a:ext cx="21202" cy="1618"/>
            </a:xfrm>
            <a:custGeom>
              <a:avLst/>
              <a:gdLst>
                <a:gd name="T0" fmla="*/ 58 w 59"/>
                <a:gd name="T1" fmla="*/ 0 h 1"/>
                <a:gd name="T2" fmla="*/ 58 w 59"/>
                <a:gd name="T3" fmla="*/ 0 h 1"/>
                <a:gd name="T4" fmla="*/ 58 w 59"/>
                <a:gd name="T5" fmla="*/ 0 h 1"/>
                <a:gd name="T6" fmla="*/ 0 w 59"/>
                <a:gd name="T7" fmla="*/ 0 h 1"/>
                <a:gd name="T8" fmla="*/ 58 w 59"/>
                <a:gd name="T9" fmla="*/ 0 h 1"/>
              </a:gdLst>
              <a:ahLst/>
              <a:cxnLst>
                <a:cxn ang="0">
                  <a:pos x="T0" y="T1"/>
                </a:cxn>
                <a:cxn ang="0">
                  <a:pos x="T2" y="T3"/>
                </a:cxn>
                <a:cxn ang="0">
                  <a:pos x="T4" y="T5"/>
                </a:cxn>
                <a:cxn ang="0">
                  <a:pos x="T6" y="T7"/>
                </a:cxn>
                <a:cxn ang="0">
                  <a:pos x="T8" y="T9"/>
                </a:cxn>
              </a:cxnLst>
              <a:rect l="0" t="0" r="r" b="b"/>
              <a:pathLst>
                <a:path w="59" h="1">
                  <a:moveTo>
                    <a:pt x="58" y="0"/>
                  </a:moveTo>
                  <a:lnTo>
                    <a:pt x="58" y="0"/>
                  </a:lnTo>
                  <a:lnTo>
                    <a:pt x="58" y="0"/>
                  </a:lnTo>
                  <a:cubicBezTo>
                    <a:pt x="29" y="0"/>
                    <a:pt x="0" y="0"/>
                    <a:pt x="0" y="0"/>
                  </a:cubicBezTo>
                  <a:cubicBezTo>
                    <a:pt x="0" y="0"/>
                    <a:pt x="29" y="0"/>
                    <a:pt x="5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73" name="Freeform 651">
              <a:extLst>
                <a:ext uri="{FF2B5EF4-FFF2-40B4-BE49-F238E27FC236}">
                  <a16:creationId xmlns:a16="http://schemas.microsoft.com/office/drawing/2014/main" id="{A0C700CD-FD9A-4E2E-98BF-E47459879B63}"/>
                </a:ext>
              </a:extLst>
            </p:cNvPr>
            <p:cNvSpPr>
              <a:spLocks noChangeArrowheads="1"/>
            </p:cNvSpPr>
            <p:nvPr/>
          </p:nvSpPr>
          <p:spPr bwMode="auto">
            <a:xfrm>
              <a:off x="9129539" y="4901951"/>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74" name="Freeform 652">
              <a:extLst>
                <a:ext uri="{FF2B5EF4-FFF2-40B4-BE49-F238E27FC236}">
                  <a16:creationId xmlns:a16="http://schemas.microsoft.com/office/drawing/2014/main" id="{9A2F447A-E71C-411A-AB35-B8C8F4FCBB9C}"/>
                </a:ext>
              </a:extLst>
            </p:cNvPr>
            <p:cNvSpPr>
              <a:spLocks noChangeArrowheads="1"/>
            </p:cNvSpPr>
            <p:nvPr/>
          </p:nvSpPr>
          <p:spPr bwMode="auto">
            <a:xfrm>
              <a:off x="9085505" y="4859875"/>
              <a:ext cx="1631" cy="11328"/>
            </a:xfrm>
            <a:custGeom>
              <a:avLst/>
              <a:gdLst>
                <a:gd name="T0" fmla="*/ 0 w 1"/>
                <a:gd name="T1" fmla="*/ 0 h 31"/>
                <a:gd name="T2" fmla="*/ 0 w 1"/>
                <a:gd name="T3" fmla="*/ 0 h 31"/>
                <a:gd name="T4" fmla="*/ 0 w 1"/>
                <a:gd name="T5" fmla="*/ 30 h 31"/>
                <a:gd name="T6" fmla="*/ 0 w 1"/>
                <a:gd name="T7" fmla="*/ 30 h 31"/>
                <a:gd name="T8" fmla="*/ 0 w 1"/>
                <a:gd name="T9" fmla="*/ 30 h 31"/>
                <a:gd name="T10" fmla="*/ 0 w 1"/>
                <a:gd name="T11" fmla="*/ 30 h 31"/>
                <a:gd name="T12" fmla="*/ 0 w 1"/>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1" h="31">
                  <a:moveTo>
                    <a:pt x="0" y="0"/>
                  </a:moveTo>
                  <a:lnTo>
                    <a:pt x="0" y="0"/>
                  </a:lnTo>
                  <a:lnTo>
                    <a:pt x="0" y="30"/>
                  </a:lnTo>
                  <a:lnTo>
                    <a:pt x="0" y="30"/>
                  </a:lnTo>
                  <a:lnTo>
                    <a:pt x="0" y="30"/>
                  </a:lnTo>
                  <a:lnTo>
                    <a:pt x="0" y="3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75" name="Freeform 653">
              <a:extLst>
                <a:ext uri="{FF2B5EF4-FFF2-40B4-BE49-F238E27FC236}">
                  <a16:creationId xmlns:a16="http://schemas.microsoft.com/office/drawing/2014/main" id="{3F640C4D-B056-4931-8835-4134A0F36035}"/>
                </a:ext>
              </a:extLst>
            </p:cNvPr>
            <p:cNvSpPr>
              <a:spLocks noChangeArrowheads="1"/>
            </p:cNvSpPr>
            <p:nvPr/>
          </p:nvSpPr>
          <p:spPr bwMode="auto">
            <a:xfrm>
              <a:off x="9085505" y="4848546"/>
              <a:ext cx="11416" cy="11329"/>
            </a:xfrm>
            <a:custGeom>
              <a:avLst/>
              <a:gdLst>
                <a:gd name="T0" fmla="*/ 0 w 31"/>
                <a:gd name="T1" fmla="*/ 0 h 30"/>
                <a:gd name="T2" fmla="*/ 0 w 31"/>
                <a:gd name="T3" fmla="*/ 0 h 30"/>
                <a:gd name="T4" fmla="*/ 0 w 31"/>
                <a:gd name="T5" fmla="*/ 0 h 30"/>
                <a:gd name="T6" fmla="*/ 30 w 31"/>
                <a:gd name="T7" fmla="*/ 29 h 30"/>
                <a:gd name="T8" fmla="*/ 0 w 31"/>
                <a:gd name="T9" fmla="*/ 0 h 30"/>
              </a:gdLst>
              <a:ahLst/>
              <a:cxnLst>
                <a:cxn ang="0">
                  <a:pos x="T0" y="T1"/>
                </a:cxn>
                <a:cxn ang="0">
                  <a:pos x="T2" y="T3"/>
                </a:cxn>
                <a:cxn ang="0">
                  <a:pos x="T4" y="T5"/>
                </a:cxn>
                <a:cxn ang="0">
                  <a:pos x="T6" y="T7"/>
                </a:cxn>
                <a:cxn ang="0">
                  <a:pos x="T8" y="T9"/>
                </a:cxn>
              </a:cxnLst>
              <a:rect l="0" t="0" r="r" b="b"/>
              <a:pathLst>
                <a:path w="31" h="30">
                  <a:moveTo>
                    <a:pt x="0" y="0"/>
                  </a:moveTo>
                  <a:lnTo>
                    <a:pt x="0" y="0"/>
                  </a:lnTo>
                  <a:lnTo>
                    <a:pt x="0" y="0"/>
                  </a:lnTo>
                  <a:cubicBezTo>
                    <a:pt x="0" y="0"/>
                    <a:pt x="0" y="29"/>
                    <a:pt x="30" y="29"/>
                  </a:cubicBezTo>
                  <a:cubicBezTo>
                    <a:pt x="0" y="29"/>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76" name="Freeform 654">
              <a:extLst>
                <a:ext uri="{FF2B5EF4-FFF2-40B4-BE49-F238E27FC236}">
                  <a16:creationId xmlns:a16="http://schemas.microsoft.com/office/drawing/2014/main" id="{CB513168-65B8-4818-82E9-449AC2C21301}"/>
                </a:ext>
              </a:extLst>
            </p:cNvPr>
            <p:cNvSpPr>
              <a:spLocks noChangeArrowheads="1"/>
            </p:cNvSpPr>
            <p:nvPr/>
          </p:nvSpPr>
          <p:spPr bwMode="auto">
            <a:xfrm>
              <a:off x="9054520" y="4880913"/>
              <a:ext cx="21200" cy="11329"/>
            </a:xfrm>
            <a:custGeom>
              <a:avLst/>
              <a:gdLst>
                <a:gd name="T0" fmla="*/ 0 w 58"/>
                <a:gd name="T1" fmla="*/ 29 h 30"/>
                <a:gd name="T2" fmla="*/ 0 w 58"/>
                <a:gd name="T3" fmla="*/ 29 h 30"/>
                <a:gd name="T4" fmla="*/ 57 w 58"/>
                <a:gd name="T5" fmla="*/ 0 h 30"/>
                <a:gd name="T6" fmla="*/ 0 w 58"/>
                <a:gd name="T7" fmla="*/ 29 h 30"/>
              </a:gdLst>
              <a:ahLst/>
              <a:cxnLst>
                <a:cxn ang="0">
                  <a:pos x="T0" y="T1"/>
                </a:cxn>
                <a:cxn ang="0">
                  <a:pos x="T2" y="T3"/>
                </a:cxn>
                <a:cxn ang="0">
                  <a:pos x="T4" y="T5"/>
                </a:cxn>
                <a:cxn ang="0">
                  <a:pos x="T6" y="T7"/>
                </a:cxn>
              </a:cxnLst>
              <a:rect l="0" t="0" r="r" b="b"/>
              <a:pathLst>
                <a:path w="58" h="30">
                  <a:moveTo>
                    <a:pt x="0" y="29"/>
                  </a:moveTo>
                  <a:lnTo>
                    <a:pt x="0" y="29"/>
                  </a:lnTo>
                  <a:cubicBezTo>
                    <a:pt x="0" y="29"/>
                    <a:pt x="29" y="29"/>
                    <a:pt x="57" y="0"/>
                  </a:cubicBezTo>
                  <a:cubicBezTo>
                    <a:pt x="29"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77" name="Freeform 655">
              <a:extLst>
                <a:ext uri="{FF2B5EF4-FFF2-40B4-BE49-F238E27FC236}">
                  <a16:creationId xmlns:a16="http://schemas.microsoft.com/office/drawing/2014/main" id="{2E6E5FBB-31D3-4AC8-A961-4935FC04AD05}"/>
                </a:ext>
              </a:extLst>
            </p:cNvPr>
            <p:cNvSpPr>
              <a:spLocks noChangeArrowheads="1"/>
            </p:cNvSpPr>
            <p:nvPr/>
          </p:nvSpPr>
          <p:spPr bwMode="auto">
            <a:xfrm>
              <a:off x="8946884" y="4892241"/>
              <a:ext cx="97851" cy="32366"/>
            </a:xfrm>
            <a:custGeom>
              <a:avLst/>
              <a:gdLst>
                <a:gd name="T0" fmla="*/ 0 w 263"/>
                <a:gd name="T1" fmla="*/ 88 h 89"/>
                <a:gd name="T2" fmla="*/ 0 w 263"/>
                <a:gd name="T3" fmla="*/ 88 h 89"/>
                <a:gd name="T4" fmla="*/ 58 w 263"/>
                <a:gd name="T5" fmla="*/ 88 h 89"/>
                <a:gd name="T6" fmla="*/ 262 w 263"/>
                <a:gd name="T7" fmla="*/ 0 h 89"/>
                <a:gd name="T8" fmla="*/ 58 w 263"/>
                <a:gd name="T9" fmla="*/ 88 h 89"/>
                <a:gd name="T10" fmla="*/ 0 w 263"/>
                <a:gd name="T11" fmla="*/ 88 h 89"/>
              </a:gdLst>
              <a:ahLst/>
              <a:cxnLst>
                <a:cxn ang="0">
                  <a:pos x="T0" y="T1"/>
                </a:cxn>
                <a:cxn ang="0">
                  <a:pos x="T2" y="T3"/>
                </a:cxn>
                <a:cxn ang="0">
                  <a:pos x="T4" y="T5"/>
                </a:cxn>
                <a:cxn ang="0">
                  <a:pos x="T6" y="T7"/>
                </a:cxn>
                <a:cxn ang="0">
                  <a:pos x="T8" y="T9"/>
                </a:cxn>
                <a:cxn ang="0">
                  <a:pos x="T10" y="T11"/>
                </a:cxn>
              </a:cxnLst>
              <a:rect l="0" t="0" r="r" b="b"/>
              <a:pathLst>
                <a:path w="263" h="89">
                  <a:moveTo>
                    <a:pt x="0" y="88"/>
                  </a:moveTo>
                  <a:lnTo>
                    <a:pt x="0" y="88"/>
                  </a:lnTo>
                  <a:cubicBezTo>
                    <a:pt x="58" y="88"/>
                    <a:pt x="58" y="88"/>
                    <a:pt x="58" y="88"/>
                  </a:cubicBezTo>
                  <a:cubicBezTo>
                    <a:pt x="116" y="59"/>
                    <a:pt x="204" y="59"/>
                    <a:pt x="262" y="0"/>
                  </a:cubicBezTo>
                  <a:cubicBezTo>
                    <a:pt x="204" y="59"/>
                    <a:pt x="116" y="59"/>
                    <a:pt x="58" y="88"/>
                  </a:cubicBezTo>
                  <a:lnTo>
                    <a:pt x="0" y="8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78" name="Freeform 656">
              <a:extLst>
                <a:ext uri="{FF2B5EF4-FFF2-40B4-BE49-F238E27FC236}">
                  <a16:creationId xmlns:a16="http://schemas.microsoft.com/office/drawing/2014/main" id="{E5EF4F51-6F6C-4390-88D6-4A8B83556EE6}"/>
                </a:ext>
              </a:extLst>
            </p:cNvPr>
            <p:cNvSpPr>
              <a:spLocks noChangeArrowheads="1"/>
            </p:cNvSpPr>
            <p:nvPr/>
          </p:nvSpPr>
          <p:spPr bwMode="auto">
            <a:xfrm>
              <a:off x="9765568" y="5052455"/>
              <a:ext cx="22832" cy="1619"/>
            </a:xfrm>
            <a:custGeom>
              <a:avLst/>
              <a:gdLst>
                <a:gd name="T0" fmla="*/ 0 w 60"/>
                <a:gd name="T1" fmla="*/ 0 h 1"/>
                <a:gd name="T2" fmla="*/ 0 w 60"/>
                <a:gd name="T3" fmla="*/ 0 h 1"/>
                <a:gd name="T4" fmla="*/ 59 w 60"/>
                <a:gd name="T5" fmla="*/ 0 h 1"/>
                <a:gd name="T6" fmla="*/ 0 w 60"/>
                <a:gd name="T7" fmla="*/ 0 h 1"/>
              </a:gdLst>
              <a:ahLst/>
              <a:cxnLst>
                <a:cxn ang="0">
                  <a:pos x="T0" y="T1"/>
                </a:cxn>
                <a:cxn ang="0">
                  <a:pos x="T2" y="T3"/>
                </a:cxn>
                <a:cxn ang="0">
                  <a:pos x="T4" y="T5"/>
                </a:cxn>
                <a:cxn ang="0">
                  <a:pos x="T6" y="T7"/>
                </a:cxn>
              </a:cxnLst>
              <a:rect l="0" t="0" r="r" b="b"/>
              <a:pathLst>
                <a:path w="60" h="1">
                  <a:moveTo>
                    <a:pt x="0" y="0"/>
                  </a:moveTo>
                  <a:lnTo>
                    <a:pt x="0" y="0"/>
                  </a:lnTo>
                  <a:cubicBezTo>
                    <a:pt x="29" y="0"/>
                    <a:pt x="29" y="0"/>
                    <a:pt x="5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79" name="Freeform 657">
              <a:extLst>
                <a:ext uri="{FF2B5EF4-FFF2-40B4-BE49-F238E27FC236}">
                  <a16:creationId xmlns:a16="http://schemas.microsoft.com/office/drawing/2014/main" id="{51892AC7-668E-4E2E-B652-62118845BFFF}"/>
                </a:ext>
              </a:extLst>
            </p:cNvPr>
            <p:cNvSpPr>
              <a:spLocks noChangeArrowheads="1"/>
            </p:cNvSpPr>
            <p:nvPr/>
          </p:nvSpPr>
          <p:spPr bwMode="auto">
            <a:xfrm>
              <a:off x="8720196" y="5031417"/>
              <a:ext cx="11416" cy="11328"/>
            </a:xfrm>
            <a:custGeom>
              <a:avLst/>
              <a:gdLst>
                <a:gd name="T0" fmla="*/ 29 w 30"/>
                <a:gd name="T1" fmla="*/ 0 h 31"/>
                <a:gd name="T2" fmla="*/ 29 w 30"/>
                <a:gd name="T3" fmla="*/ 0 h 31"/>
                <a:gd name="T4" fmla="*/ 0 w 30"/>
                <a:gd name="T5" fmla="*/ 30 h 31"/>
                <a:gd name="T6" fmla="*/ 29 w 30"/>
                <a:gd name="T7" fmla="*/ 0 h 31"/>
              </a:gdLst>
              <a:ahLst/>
              <a:cxnLst>
                <a:cxn ang="0">
                  <a:pos x="T0" y="T1"/>
                </a:cxn>
                <a:cxn ang="0">
                  <a:pos x="T2" y="T3"/>
                </a:cxn>
                <a:cxn ang="0">
                  <a:pos x="T4" y="T5"/>
                </a:cxn>
                <a:cxn ang="0">
                  <a:pos x="T6" y="T7"/>
                </a:cxn>
              </a:cxnLst>
              <a:rect l="0" t="0" r="r" b="b"/>
              <a:pathLst>
                <a:path w="30" h="31">
                  <a:moveTo>
                    <a:pt x="29" y="0"/>
                  </a:moveTo>
                  <a:lnTo>
                    <a:pt x="29" y="0"/>
                  </a:lnTo>
                  <a:cubicBezTo>
                    <a:pt x="29" y="0"/>
                    <a:pt x="29" y="30"/>
                    <a:pt x="0" y="30"/>
                  </a:cubicBezTo>
                  <a:cubicBezTo>
                    <a:pt x="29" y="3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80" name="Freeform 658">
              <a:extLst>
                <a:ext uri="{FF2B5EF4-FFF2-40B4-BE49-F238E27FC236}">
                  <a16:creationId xmlns:a16="http://schemas.microsoft.com/office/drawing/2014/main" id="{04B2481F-3029-4FC2-B8B7-BD30CE6DFFAA}"/>
                </a:ext>
              </a:extLst>
            </p:cNvPr>
            <p:cNvSpPr>
              <a:spLocks noChangeArrowheads="1"/>
            </p:cNvSpPr>
            <p:nvPr/>
          </p:nvSpPr>
          <p:spPr bwMode="auto">
            <a:xfrm>
              <a:off x="4126105" y="1275296"/>
              <a:ext cx="11415" cy="11329"/>
            </a:xfrm>
            <a:custGeom>
              <a:avLst/>
              <a:gdLst>
                <a:gd name="T0" fmla="*/ 30 w 31"/>
                <a:gd name="T1" fmla="*/ 28 h 29"/>
                <a:gd name="T2" fmla="*/ 30 w 31"/>
                <a:gd name="T3" fmla="*/ 28 h 29"/>
                <a:gd name="T4" fmla="*/ 30 w 31"/>
                <a:gd name="T5" fmla="*/ 28 h 29"/>
                <a:gd name="T6" fmla="*/ 0 w 31"/>
                <a:gd name="T7" fmla="*/ 0 h 29"/>
                <a:gd name="T8" fmla="*/ 0 w 31"/>
                <a:gd name="T9" fmla="*/ 28 h 29"/>
                <a:gd name="T10" fmla="*/ 0 w 31"/>
                <a:gd name="T11" fmla="*/ 28 h 29"/>
                <a:gd name="T12" fmla="*/ 30 w 31"/>
                <a:gd name="T13" fmla="*/ 28 h 29"/>
              </a:gdLst>
              <a:ahLst/>
              <a:cxnLst>
                <a:cxn ang="0">
                  <a:pos x="T0" y="T1"/>
                </a:cxn>
                <a:cxn ang="0">
                  <a:pos x="T2" y="T3"/>
                </a:cxn>
                <a:cxn ang="0">
                  <a:pos x="T4" y="T5"/>
                </a:cxn>
                <a:cxn ang="0">
                  <a:pos x="T6" y="T7"/>
                </a:cxn>
                <a:cxn ang="0">
                  <a:pos x="T8" y="T9"/>
                </a:cxn>
                <a:cxn ang="0">
                  <a:pos x="T10" y="T11"/>
                </a:cxn>
                <a:cxn ang="0">
                  <a:pos x="T12" y="T13"/>
                </a:cxn>
              </a:cxnLst>
              <a:rect l="0" t="0" r="r" b="b"/>
              <a:pathLst>
                <a:path w="31" h="29">
                  <a:moveTo>
                    <a:pt x="30" y="28"/>
                  </a:moveTo>
                  <a:lnTo>
                    <a:pt x="30" y="28"/>
                  </a:lnTo>
                  <a:lnTo>
                    <a:pt x="30" y="28"/>
                  </a:lnTo>
                  <a:cubicBezTo>
                    <a:pt x="30" y="0"/>
                    <a:pt x="0" y="0"/>
                    <a:pt x="0" y="0"/>
                  </a:cubicBezTo>
                  <a:cubicBezTo>
                    <a:pt x="0" y="28"/>
                    <a:pt x="0" y="28"/>
                    <a:pt x="0" y="28"/>
                  </a:cubicBezTo>
                  <a:lnTo>
                    <a:pt x="0" y="28"/>
                  </a:lnTo>
                  <a:cubicBezTo>
                    <a:pt x="0" y="28"/>
                    <a:pt x="0" y="28"/>
                    <a:pt x="30" y="2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81" name="Freeform 659">
              <a:extLst>
                <a:ext uri="{FF2B5EF4-FFF2-40B4-BE49-F238E27FC236}">
                  <a16:creationId xmlns:a16="http://schemas.microsoft.com/office/drawing/2014/main" id="{7035F4E3-B989-48C3-8A86-52216DD683D2}"/>
                </a:ext>
              </a:extLst>
            </p:cNvPr>
            <p:cNvSpPr>
              <a:spLocks noChangeArrowheads="1"/>
            </p:cNvSpPr>
            <p:nvPr/>
          </p:nvSpPr>
          <p:spPr bwMode="auto">
            <a:xfrm>
              <a:off x="3801566" y="2099021"/>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82" name="Freeform 660">
              <a:extLst>
                <a:ext uri="{FF2B5EF4-FFF2-40B4-BE49-F238E27FC236}">
                  <a16:creationId xmlns:a16="http://schemas.microsoft.com/office/drawing/2014/main" id="{1B8B795C-7D81-43DB-A206-D7D88CF44278}"/>
                </a:ext>
              </a:extLst>
            </p:cNvPr>
            <p:cNvSpPr>
              <a:spLocks noChangeArrowheads="1"/>
            </p:cNvSpPr>
            <p:nvPr/>
          </p:nvSpPr>
          <p:spPr bwMode="auto">
            <a:xfrm>
              <a:off x="8720196" y="4934318"/>
              <a:ext cx="11416" cy="1618"/>
            </a:xfrm>
            <a:custGeom>
              <a:avLst/>
              <a:gdLst>
                <a:gd name="T0" fmla="*/ 29 w 30"/>
                <a:gd name="T1" fmla="*/ 0 h 1"/>
                <a:gd name="T2" fmla="*/ 0 w 30"/>
                <a:gd name="T3" fmla="*/ 0 h 1"/>
                <a:gd name="T4" fmla="*/ 29 w 30"/>
                <a:gd name="T5" fmla="*/ 0 h 1"/>
              </a:gdLst>
              <a:ahLst/>
              <a:cxnLst>
                <a:cxn ang="0">
                  <a:pos x="T0" y="T1"/>
                </a:cxn>
                <a:cxn ang="0">
                  <a:pos x="T2" y="T3"/>
                </a:cxn>
                <a:cxn ang="0">
                  <a:pos x="T4" y="T5"/>
                </a:cxn>
              </a:cxnLst>
              <a:rect l="0" t="0" r="r" b="b"/>
              <a:pathLst>
                <a:path w="30" h="1">
                  <a:moveTo>
                    <a:pt x="29" y="0"/>
                  </a:moveTo>
                  <a:lnTo>
                    <a:pt x="0" y="0"/>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83" name="Freeform 661">
              <a:extLst>
                <a:ext uri="{FF2B5EF4-FFF2-40B4-BE49-F238E27FC236}">
                  <a16:creationId xmlns:a16="http://schemas.microsoft.com/office/drawing/2014/main" id="{9FD9D64D-B73C-4C97-A0AC-69C94D9AF760}"/>
                </a:ext>
              </a:extLst>
            </p:cNvPr>
            <p:cNvSpPr>
              <a:spLocks noChangeArrowheads="1"/>
            </p:cNvSpPr>
            <p:nvPr/>
          </p:nvSpPr>
          <p:spPr bwMode="auto">
            <a:xfrm>
              <a:off x="3812983" y="1980883"/>
              <a:ext cx="1630" cy="11329"/>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cubicBezTo>
                    <a:pt x="0" y="29"/>
                    <a:pt x="0" y="29"/>
                    <a:pt x="0" y="29"/>
                  </a:cubicBez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84" name="Freeform 662">
              <a:extLst>
                <a:ext uri="{FF2B5EF4-FFF2-40B4-BE49-F238E27FC236}">
                  <a16:creationId xmlns:a16="http://schemas.microsoft.com/office/drawing/2014/main" id="{3D180490-B258-49F7-932D-5F8E0873A005}"/>
                </a:ext>
              </a:extLst>
            </p:cNvPr>
            <p:cNvSpPr>
              <a:spLocks noChangeArrowheads="1"/>
            </p:cNvSpPr>
            <p:nvPr/>
          </p:nvSpPr>
          <p:spPr bwMode="auto">
            <a:xfrm>
              <a:off x="3780366" y="2152425"/>
              <a:ext cx="11415" cy="53405"/>
            </a:xfrm>
            <a:custGeom>
              <a:avLst/>
              <a:gdLst>
                <a:gd name="T0" fmla="*/ 30 w 31"/>
                <a:gd name="T1" fmla="*/ 0 h 146"/>
                <a:gd name="T2" fmla="*/ 30 w 31"/>
                <a:gd name="T3" fmla="*/ 0 h 146"/>
                <a:gd name="T4" fmla="*/ 0 w 31"/>
                <a:gd name="T5" fmla="*/ 145 h 146"/>
                <a:gd name="T6" fmla="*/ 30 w 31"/>
                <a:gd name="T7" fmla="*/ 0 h 146"/>
              </a:gdLst>
              <a:ahLst/>
              <a:cxnLst>
                <a:cxn ang="0">
                  <a:pos x="T0" y="T1"/>
                </a:cxn>
                <a:cxn ang="0">
                  <a:pos x="T2" y="T3"/>
                </a:cxn>
                <a:cxn ang="0">
                  <a:pos x="T4" y="T5"/>
                </a:cxn>
                <a:cxn ang="0">
                  <a:pos x="T6" y="T7"/>
                </a:cxn>
              </a:cxnLst>
              <a:rect l="0" t="0" r="r" b="b"/>
              <a:pathLst>
                <a:path w="31" h="146">
                  <a:moveTo>
                    <a:pt x="30" y="0"/>
                  </a:moveTo>
                  <a:lnTo>
                    <a:pt x="30" y="0"/>
                  </a:lnTo>
                  <a:cubicBezTo>
                    <a:pt x="30" y="58"/>
                    <a:pt x="30" y="87"/>
                    <a:pt x="0" y="145"/>
                  </a:cubicBezTo>
                  <a:cubicBezTo>
                    <a:pt x="30" y="87"/>
                    <a:pt x="30" y="58"/>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85" name="Freeform 663">
              <a:extLst>
                <a:ext uri="{FF2B5EF4-FFF2-40B4-BE49-F238E27FC236}">
                  <a16:creationId xmlns:a16="http://schemas.microsoft.com/office/drawing/2014/main" id="{A9C104A6-287C-4892-B209-E462CCF9B430}"/>
                </a:ext>
              </a:extLst>
            </p:cNvPr>
            <p:cNvSpPr>
              <a:spLocks noChangeArrowheads="1"/>
            </p:cNvSpPr>
            <p:nvPr/>
          </p:nvSpPr>
          <p:spPr bwMode="auto">
            <a:xfrm>
              <a:off x="8729981" y="5094531"/>
              <a:ext cx="11416" cy="1619"/>
            </a:xfrm>
            <a:custGeom>
              <a:avLst/>
              <a:gdLst>
                <a:gd name="T0" fmla="*/ 0 w 30"/>
                <a:gd name="T1" fmla="*/ 0 h 1"/>
                <a:gd name="T2" fmla="*/ 0 w 30"/>
                <a:gd name="T3" fmla="*/ 0 h 1"/>
                <a:gd name="T4" fmla="*/ 0 w 30"/>
                <a:gd name="T5" fmla="*/ 0 h 1"/>
                <a:gd name="T6" fmla="*/ 29 w 30"/>
                <a:gd name="T7" fmla="*/ 0 h 1"/>
                <a:gd name="T8" fmla="*/ 0 w 30"/>
                <a:gd name="T9" fmla="*/ 0 h 1"/>
              </a:gdLst>
              <a:ahLst/>
              <a:cxnLst>
                <a:cxn ang="0">
                  <a:pos x="T0" y="T1"/>
                </a:cxn>
                <a:cxn ang="0">
                  <a:pos x="T2" y="T3"/>
                </a:cxn>
                <a:cxn ang="0">
                  <a:pos x="T4" y="T5"/>
                </a:cxn>
                <a:cxn ang="0">
                  <a:pos x="T6" y="T7"/>
                </a:cxn>
                <a:cxn ang="0">
                  <a:pos x="T8" y="T9"/>
                </a:cxn>
              </a:cxnLst>
              <a:rect l="0" t="0" r="r" b="b"/>
              <a:pathLst>
                <a:path w="30" h="1">
                  <a:moveTo>
                    <a:pt x="0" y="0"/>
                  </a:moveTo>
                  <a:lnTo>
                    <a:pt x="0" y="0"/>
                  </a:lnTo>
                  <a:lnTo>
                    <a:pt x="0" y="0"/>
                  </a:lnTo>
                  <a:cubicBezTo>
                    <a:pt x="29" y="0"/>
                    <a:pt x="29" y="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86" name="Freeform 664">
              <a:extLst>
                <a:ext uri="{FF2B5EF4-FFF2-40B4-BE49-F238E27FC236}">
                  <a16:creationId xmlns:a16="http://schemas.microsoft.com/office/drawing/2014/main" id="{5B1685B7-9BCE-4758-AFEC-112FFB3C86D6}"/>
                </a:ext>
              </a:extLst>
            </p:cNvPr>
            <p:cNvSpPr>
              <a:spLocks noChangeArrowheads="1"/>
            </p:cNvSpPr>
            <p:nvPr/>
          </p:nvSpPr>
          <p:spPr bwMode="auto">
            <a:xfrm>
              <a:off x="8708780" y="5008761"/>
              <a:ext cx="32617" cy="11328"/>
            </a:xfrm>
            <a:custGeom>
              <a:avLst/>
              <a:gdLst>
                <a:gd name="T0" fmla="*/ 0 w 88"/>
                <a:gd name="T1" fmla="*/ 0 h 30"/>
                <a:gd name="T2" fmla="*/ 0 w 88"/>
                <a:gd name="T3" fmla="*/ 0 h 30"/>
                <a:gd name="T4" fmla="*/ 58 w 88"/>
                <a:gd name="T5" fmla="*/ 0 h 30"/>
                <a:gd name="T6" fmla="*/ 87 w 88"/>
                <a:gd name="T7" fmla="*/ 29 h 30"/>
                <a:gd name="T8" fmla="*/ 58 w 88"/>
                <a:gd name="T9" fmla="*/ 0 h 30"/>
                <a:gd name="T10" fmla="*/ 0 w 88"/>
                <a:gd name="T11" fmla="*/ 0 h 30"/>
              </a:gdLst>
              <a:ahLst/>
              <a:cxnLst>
                <a:cxn ang="0">
                  <a:pos x="T0" y="T1"/>
                </a:cxn>
                <a:cxn ang="0">
                  <a:pos x="T2" y="T3"/>
                </a:cxn>
                <a:cxn ang="0">
                  <a:pos x="T4" y="T5"/>
                </a:cxn>
                <a:cxn ang="0">
                  <a:pos x="T6" y="T7"/>
                </a:cxn>
                <a:cxn ang="0">
                  <a:pos x="T8" y="T9"/>
                </a:cxn>
                <a:cxn ang="0">
                  <a:pos x="T10" y="T11"/>
                </a:cxn>
              </a:cxnLst>
              <a:rect l="0" t="0" r="r" b="b"/>
              <a:pathLst>
                <a:path w="88" h="30">
                  <a:moveTo>
                    <a:pt x="0" y="0"/>
                  </a:moveTo>
                  <a:lnTo>
                    <a:pt x="0" y="0"/>
                  </a:lnTo>
                  <a:cubicBezTo>
                    <a:pt x="29" y="0"/>
                    <a:pt x="29" y="0"/>
                    <a:pt x="58" y="0"/>
                  </a:cubicBezTo>
                  <a:cubicBezTo>
                    <a:pt x="58" y="29"/>
                    <a:pt x="58" y="29"/>
                    <a:pt x="87" y="29"/>
                  </a:cubicBezTo>
                  <a:cubicBezTo>
                    <a:pt x="58" y="29"/>
                    <a:pt x="58" y="29"/>
                    <a:pt x="58"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87" name="Freeform 665">
              <a:extLst>
                <a:ext uri="{FF2B5EF4-FFF2-40B4-BE49-F238E27FC236}">
                  <a16:creationId xmlns:a16="http://schemas.microsoft.com/office/drawing/2014/main" id="{E16AF896-96AC-4545-99A7-96DB8EEE70AD}"/>
                </a:ext>
              </a:extLst>
            </p:cNvPr>
            <p:cNvSpPr>
              <a:spLocks noChangeArrowheads="1"/>
            </p:cNvSpPr>
            <p:nvPr/>
          </p:nvSpPr>
          <p:spPr bwMode="auto">
            <a:xfrm>
              <a:off x="8579943" y="4901951"/>
              <a:ext cx="32617" cy="1618"/>
            </a:xfrm>
            <a:custGeom>
              <a:avLst/>
              <a:gdLst>
                <a:gd name="T0" fmla="*/ 0 w 88"/>
                <a:gd name="T1" fmla="*/ 0 h 1"/>
                <a:gd name="T2" fmla="*/ 0 w 88"/>
                <a:gd name="T3" fmla="*/ 0 h 1"/>
                <a:gd name="T4" fmla="*/ 29 w 88"/>
                <a:gd name="T5" fmla="*/ 0 h 1"/>
                <a:gd name="T6" fmla="*/ 87 w 88"/>
                <a:gd name="T7" fmla="*/ 0 h 1"/>
                <a:gd name="T8" fmla="*/ 29 w 88"/>
                <a:gd name="T9" fmla="*/ 0 h 1"/>
                <a:gd name="T10" fmla="*/ 0 w 88"/>
                <a:gd name="T11" fmla="*/ 0 h 1"/>
              </a:gdLst>
              <a:ahLst/>
              <a:cxnLst>
                <a:cxn ang="0">
                  <a:pos x="T0" y="T1"/>
                </a:cxn>
                <a:cxn ang="0">
                  <a:pos x="T2" y="T3"/>
                </a:cxn>
                <a:cxn ang="0">
                  <a:pos x="T4" y="T5"/>
                </a:cxn>
                <a:cxn ang="0">
                  <a:pos x="T6" y="T7"/>
                </a:cxn>
                <a:cxn ang="0">
                  <a:pos x="T8" y="T9"/>
                </a:cxn>
                <a:cxn ang="0">
                  <a:pos x="T10" y="T11"/>
                </a:cxn>
              </a:cxnLst>
              <a:rect l="0" t="0" r="r" b="b"/>
              <a:pathLst>
                <a:path w="88" h="1">
                  <a:moveTo>
                    <a:pt x="0" y="0"/>
                  </a:moveTo>
                  <a:lnTo>
                    <a:pt x="0" y="0"/>
                  </a:lnTo>
                  <a:cubicBezTo>
                    <a:pt x="29" y="0"/>
                    <a:pt x="29" y="0"/>
                    <a:pt x="29" y="0"/>
                  </a:cubicBezTo>
                  <a:cubicBezTo>
                    <a:pt x="58" y="0"/>
                    <a:pt x="58" y="0"/>
                    <a:pt x="87" y="0"/>
                  </a:cubicBezTo>
                  <a:cubicBezTo>
                    <a:pt x="58" y="0"/>
                    <a:pt x="58" y="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88" name="Freeform 666">
              <a:extLst>
                <a:ext uri="{FF2B5EF4-FFF2-40B4-BE49-F238E27FC236}">
                  <a16:creationId xmlns:a16="http://schemas.microsoft.com/office/drawing/2014/main" id="{D527AB1B-C6DE-414A-BA49-DDA4B3772006}"/>
                </a:ext>
              </a:extLst>
            </p:cNvPr>
            <p:cNvSpPr>
              <a:spLocks noChangeArrowheads="1"/>
            </p:cNvSpPr>
            <p:nvPr/>
          </p:nvSpPr>
          <p:spPr bwMode="auto">
            <a:xfrm>
              <a:off x="8720196" y="4955355"/>
              <a:ext cx="21202" cy="43695"/>
            </a:xfrm>
            <a:custGeom>
              <a:avLst/>
              <a:gdLst>
                <a:gd name="T0" fmla="*/ 58 w 59"/>
                <a:gd name="T1" fmla="*/ 0 h 118"/>
                <a:gd name="T2" fmla="*/ 58 w 59"/>
                <a:gd name="T3" fmla="*/ 0 h 118"/>
                <a:gd name="T4" fmla="*/ 29 w 59"/>
                <a:gd name="T5" fmla="*/ 0 h 118"/>
                <a:gd name="T6" fmla="*/ 29 w 59"/>
                <a:gd name="T7" fmla="*/ 58 h 118"/>
                <a:gd name="T8" fmla="*/ 0 w 59"/>
                <a:gd name="T9" fmla="*/ 117 h 118"/>
                <a:gd name="T10" fmla="*/ 29 w 59"/>
                <a:gd name="T11" fmla="*/ 117 h 118"/>
                <a:gd name="T12" fmla="*/ 58 w 59"/>
                <a:gd name="T13" fmla="*/ 0 h 118"/>
              </a:gdLst>
              <a:ahLst/>
              <a:cxnLst>
                <a:cxn ang="0">
                  <a:pos x="T0" y="T1"/>
                </a:cxn>
                <a:cxn ang="0">
                  <a:pos x="T2" y="T3"/>
                </a:cxn>
                <a:cxn ang="0">
                  <a:pos x="T4" y="T5"/>
                </a:cxn>
                <a:cxn ang="0">
                  <a:pos x="T6" y="T7"/>
                </a:cxn>
                <a:cxn ang="0">
                  <a:pos x="T8" y="T9"/>
                </a:cxn>
                <a:cxn ang="0">
                  <a:pos x="T10" y="T11"/>
                </a:cxn>
                <a:cxn ang="0">
                  <a:pos x="T12" y="T13"/>
                </a:cxn>
              </a:cxnLst>
              <a:rect l="0" t="0" r="r" b="b"/>
              <a:pathLst>
                <a:path w="59" h="118">
                  <a:moveTo>
                    <a:pt x="58" y="0"/>
                  </a:moveTo>
                  <a:lnTo>
                    <a:pt x="58" y="0"/>
                  </a:lnTo>
                  <a:lnTo>
                    <a:pt x="29" y="0"/>
                  </a:lnTo>
                  <a:cubicBezTo>
                    <a:pt x="29" y="0"/>
                    <a:pt x="29" y="29"/>
                    <a:pt x="29" y="58"/>
                  </a:cubicBezTo>
                  <a:cubicBezTo>
                    <a:pt x="29" y="58"/>
                    <a:pt x="29" y="87"/>
                    <a:pt x="0" y="117"/>
                  </a:cubicBezTo>
                  <a:lnTo>
                    <a:pt x="29" y="117"/>
                  </a:lnTo>
                  <a:cubicBezTo>
                    <a:pt x="29" y="58"/>
                    <a:pt x="29" y="29"/>
                    <a:pt x="5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89" name="Freeform 667">
              <a:extLst>
                <a:ext uri="{FF2B5EF4-FFF2-40B4-BE49-F238E27FC236}">
                  <a16:creationId xmlns:a16="http://schemas.microsoft.com/office/drawing/2014/main" id="{47364029-C8E2-4C6E-9AF2-BBCA1E252941}"/>
                </a:ext>
              </a:extLst>
            </p:cNvPr>
            <p:cNvSpPr>
              <a:spLocks noChangeArrowheads="1"/>
            </p:cNvSpPr>
            <p:nvPr/>
          </p:nvSpPr>
          <p:spPr bwMode="auto">
            <a:xfrm>
              <a:off x="8633762" y="4934318"/>
              <a:ext cx="32617" cy="11328"/>
            </a:xfrm>
            <a:custGeom>
              <a:avLst/>
              <a:gdLst>
                <a:gd name="T0" fmla="*/ 88 w 89"/>
                <a:gd name="T1" fmla="*/ 0 h 30"/>
                <a:gd name="T2" fmla="*/ 88 w 89"/>
                <a:gd name="T3" fmla="*/ 0 h 30"/>
                <a:gd name="T4" fmla="*/ 88 w 89"/>
                <a:gd name="T5" fmla="*/ 0 h 30"/>
                <a:gd name="T6" fmla="*/ 0 w 89"/>
                <a:gd name="T7" fmla="*/ 29 h 30"/>
                <a:gd name="T8" fmla="*/ 88 w 89"/>
                <a:gd name="T9" fmla="*/ 0 h 30"/>
              </a:gdLst>
              <a:ahLst/>
              <a:cxnLst>
                <a:cxn ang="0">
                  <a:pos x="T0" y="T1"/>
                </a:cxn>
                <a:cxn ang="0">
                  <a:pos x="T2" y="T3"/>
                </a:cxn>
                <a:cxn ang="0">
                  <a:pos x="T4" y="T5"/>
                </a:cxn>
                <a:cxn ang="0">
                  <a:pos x="T6" y="T7"/>
                </a:cxn>
                <a:cxn ang="0">
                  <a:pos x="T8" y="T9"/>
                </a:cxn>
              </a:cxnLst>
              <a:rect l="0" t="0" r="r" b="b"/>
              <a:pathLst>
                <a:path w="89" h="30">
                  <a:moveTo>
                    <a:pt x="88" y="0"/>
                  </a:moveTo>
                  <a:lnTo>
                    <a:pt x="88" y="0"/>
                  </a:lnTo>
                  <a:lnTo>
                    <a:pt x="88" y="0"/>
                  </a:lnTo>
                  <a:cubicBezTo>
                    <a:pt x="58" y="0"/>
                    <a:pt x="29" y="0"/>
                    <a:pt x="0" y="29"/>
                  </a:cubicBezTo>
                  <a:cubicBezTo>
                    <a:pt x="29" y="0"/>
                    <a:pt x="58" y="0"/>
                    <a:pt x="8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90" name="Freeform 668">
              <a:extLst>
                <a:ext uri="{FF2B5EF4-FFF2-40B4-BE49-F238E27FC236}">
                  <a16:creationId xmlns:a16="http://schemas.microsoft.com/office/drawing/2014/main" id="{0517AA3C-34B3-4636-BDE3-3A26B66FEF34}"/>
                </a:ext>
              </a:extLst>
            </p:cNvPr>
            <p:cNvSpPr>
              <a:spLocks noChangeArrowheads="1"/>
            </p:cNvSpPr>
            <p:nvPr/>
          </p:nvSpPr>
          <p:spPr bwMode="auto">
            <a:xfrm>
              <a:off x="8535911" y="4934318"/>
              <a:ext cx="53817" cy="21038"/>
            </a:xfrm>
            <a:custGeom>
              <a:avLst/>
              <a:gdLst>
                <a:gd name="T0" fmla="*/ 29 w 146"/>
                <a:gd name="T1" fmla="*/ 29 h 59"/>
                <a:gd name="T2" fmla="*/ 29 w 146"/>
                <a:gd name="T3" fmla="*/ 29 h 59"/>
                <a:gd name="T4" fmla="*/ 58 w 146"/>
                <a:gd name="T5" fmla="*/ 0 h 59"/>
                <a:gd name="T6" fmla="*/ 145 w 146"/>
                <a:gd name="T7" fmla="*/ 58 h 59"/>
                <a:gd name="T8" fmla="*/ 58 w 146"/>
                <a:gd name="T9" fmla="*/ 0 h 59"/>
                <a:gd name="T10" fmla="*/ 29 w 146"/>
                <a:gd name="T11" fmla="*/ 29 h 59"/>
                <a:gd name="T12" fmla="*/ 0 w 146"/>
                <a:gd name="T13" fmla="*/ 29 h 59"/>
                <a:gd name="T14" fmla="*/ 0 w 146"/>
                <a:gd name="T15" fmla="*/ 29 h 59"/>
                <a:gd name="T16" fmla="*/ 29 w 146"/>
                <a:gd name="T17" fmla="*/ 2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59">
                  <a:moveTo>
                    <a:pt x="29" y="29"/>
                  </a:moveTo>
                  <a:lnTo>
                    <a:pt x="29" y="29"/>
                  </a:lnTo>
                  <a:cubicBezTo>
                    <a:pt x="58" y="0"/>
                    <a:pt x="58" y="0"/>
                    <a:pt x="58" y="0"/>
                  </a:cubicBezTo>
                  <a:cubicBezTo>
                    <a:pt x="116" y="0"/>
                    <a:pt x="116" y="29"/>
                    <a:pt x="145" y="58"/>
                  </a:cubicBezTo>
                  <a:cubicBezTo>
                    <a:pt x="116" y="29"/>
                    <a:pt x="116" y="0"/>
                    <a:pt x="58" y="0"/>
                  </a:cubicBezTo>
                  <a:cubicBezTo>
                    <a:pt x="58" y="0"/>
                    <a:pt x="58" y="0"/>
                    <a:pt x="29" y="29"/>
                  </a:cubicBezTo>
                  <a:lnTo>
                    <a:pt x="0" y="29"/>
                  </a:lnTo>
                  <a:lnTo>
                    <a:pt x="0" y="29"/>
                  </a:lnTo>
                  <a:lnTo>
                    <a:pt x="2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91" name="Freeform 669">
              <a:extLst>
                <a:ext uri="{FF2B5EF4-FFF2-40B4-BE49-F238E27FC236}">
                  <a16:creationId xmlns:a16="http://schemas.microsoft.com/office/drawing/2014/main" id="{01EB0E3B-99D1-4A75-9992-19A24ACF9961}"/>
                </a:ext>
              </a:extLst>
            </p:cNvPr>
            <p:cNvSpPr>
              <a:spLocks noChangeArrowheads="1"/>
            </p:cNvSpPr>
            <p:nvPr/>
          </p:nvSpPr>
          <p:spPr bwMode="auto">
            <a:xfrm>
              <a:off x="8589728" y="4955355"/>
              <a:ext cx="32617" cy="11329"/>
            </a:xfrm>
            <a:custGeom>
              <a:avLst/>
              <a:gdLst>
                <a:gd name="T0" fmla="*/ 29 w 89"/>
                <a:gd name="T1" fmla="*/ 29 h 30"/>
                <a:gd name="T2" fmla="*/ 29 w 89"/>
                <a:gd name="T3" fmla="*/ 29 h 30"/>
                <a:gd name="T4" fmla="*/ 88 w 89"/>
                <a:gd name="T5" fmla="*/ 0 h 30"/>
                <a:gd name="T6" fmla="*/ 29 w 89"/>
                <a:gd name="T7" fmla="*/ 29 h 30"/>
                <a:gd name="T8" fmla="*/ 0 w 89"/>
                <a:gd name="T9" fmla="*/ 0 h 30"/>
                <a:gd name="T10" fmla="*/ 29 w 89"/>
                <a:gd name="T11" fmla="*/ 29 h 30"/>
              </a:gdLst>
              <a:ahLst/>
              <a:cxnLst>
                <a:cxn ang="0">
                  <a:pos x="T0" y="T1"/>
                </a:cxn>
                <a:cxn ang="0">
                  <a:pos x="T2" y="T3"/>
                </a:cxn>
                <a:cxn ang="0">
                  <a:pos x="T4" y="T5"/>
                </a:cxn>
                <a:cxn ang="0">
                  <a:pos x="T6" y="T7"/>
                </a:cxn>
                <a:cxn ang="0">
                  <a:pos x="T8" y="T9"/>
                </a:cxn>
                <a:cxn ang="0">
                  <a:pos x="T10" y="T11"/>
                </a:cxn>
              </a:cxnLst>
              <a:rect l="0" t="0" r="r" b="b"/>
              <a:pathLst>
                <a:path w="89" h="30">
                  <a:moveTo>
                    <a:pt x="29" y="29"/>
                  </a:moveTo>
                  <a:lnTo>
                    <a:pt x="29" y="29"/>
                  </a:lnTo>
                  <a:cubicBezTo>
                    <a:pt x="58" y="29"/>
                    <a:pt x="58" y="0"/>
                    <a:pt x="88" y="0"/>
                  </a:cubicBezTo>
                  <a:cubicBezTo>
                    <a:pt x="58" y="0"/>
                    <a:pt x="58" y="29"/>
                    <a:pt x="29" y="29"/>
                  </a:cubicBezTo>
                  <a:cubicBezTo>
                    <a:pt x="29" y="29"/>
                    <a:pt x="29" y="29"/>
                    <a:pt x="0" y="0"/>
                  </a:cubicBezTo>
                  <a:cubicBezTo>
                    <a:pt x="29" y="29"/>
                    <a:pt x="29"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92" name="Freeform 670">
              <a:extLst>
                <a:ext uri="{FF2B5EF4-FFF2-40B4-BE49-F238E27FC236}">
                  <a16:creationId xmlns:a16="http://schemas.microsoft.com/office/drawing/2014/main" id="{65ADCB1C-3222-49A2-B98A-B58489140463}"/>
                </a:ext>
              </a:extLst>
            </p:cNvPr>
            <p:cNvSpPr>
              <a:spLocks noChangeArrowheads="1"/>
            </p:cNvSpPr>
            <p:nvPr/>
          </p:nvSpPr>
          <p:spPr bwMode="auto">
            <a:xfrm>
              <a:off x="4675699" y="4120302"/>
              <a:ext cx="65234" cy="22656"/>
            </a:xfrm>
            <a:custGeom>
              <a:avLst/>
              <a:gdLst>
                <a:gd name="T0" fmla="*/ 176 w 177"/>
                <a:gd name="T1" fmla="*/ 29 h 60"/>
                <a:gd name="T2" fmla="*/ 176 w 177"/>
                <a:gd name="T3" fmla="*/ 29 h 60"/>
                <a:gd name="T4" fmla="*/ 176 w 177"/>
                <a:gd name="T5" fmla="*/ 59 h 60"/>
                <a:gd name="T6" fmla="*/ 176 w 177"/>
                <a:gd name="T7" fmla="*/ 29 h 60"/>
                <a:gd name="T8" fmla="*/ 176 w 177"/>
                <a:gd name="T9" fmla="*/ 29 h 60"/>
                <a:gd name="T10" fmla="*/ 0 w 177"/>
                <a:gd name="T11" fmla="*/ 0 h 60"/>
                <a:gd name="T12" fmla="*/ 176 w 177"/>
                <a:gd name="T13" fmla="*/ 29 h 60"/>
              </a:gdLst>
              <a:ahLst/>
              <a:cxnLst>
                <a:cxn ang="0">
                  <a:pos x="T0" y="T1"/>
                </a:cxn>
                <a:cxn ang="0">
                  <a:pos x="T2" y="T3"/>
                </a:cxn>
                <a:cxn ang="0">
                  <a:pos x="T4" y="T5"/>
                </a:cxn>
                <a:cxn ang="0">
                  <a:pos x="T6" y="T7"/>
                </a:cxn>
                <a:cxn ang="0">
                  <a:pos x="T8" y="T9"/>
                </a:cxn>
                <a:cxn ang="0">
                  <a:pos x="T10" y="T11"/>
                </a:cxn>
                <a:cxn ang="0">
                  <a:pos x="T12" y="T13"/>
                </a:cxn>
              </a:cxnLst>
              <a:rect l="0" t="0" r="r" b="b"/>
              <a:pathLst>
                <a:path w="177" h="60">
                  <a:moveTo>
                    <a:pt x="176" y="29"/>
                  </a:moveTo>
                  <a:lnTo>
                    <a:pt x="176" y="29"/>
                  </a:lnTo>
                  <a:cubicBezTo>
                    <a:pt x="176" y="29"/>
                    <a:pt x="176" y="29"/>
                    <a:pt x="176" y="59"/>
                  </a:cubicBezTo>
                  <a:cubicBezTo>
                    <a:pt x="176" y="29"/>
                    <a:pt x="176" y="29"/>
                    <a:pt x="176" y="29"/>
                  </a:cubicBezTo>
                  <a:lnTo>
                    <a:pt x="176" y="29"/>
                  </a:lnTo>
                  <a:cubicBezTo>
                    <a:pt x="117" y="29"/>
                    <a:pt x="59" y="0"/>
                    <a:pt x="0" y="0"/>
                  </a:cubicBezTo>
                  <a:cubicBezTo>
                    <a:pt x="59" y="0"/>
                    <a:pt x="117" y="29"/>
                    <a:pt x="176"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93" name="Freeform 671">
              <a:extLst>
                <a:ext uri="{FF2B5EF4-FFF2-40B4-BE49-F238E27FC236}">
                  <a16:creationId xmlns:a16="http://schemas.microsoft.com/office/drawing/2014/main" id="{2402637E-E237-4BEA-860D-70B337B9163E}"/>
                </a:ext>
              </a:extLst>
            </p:cNvPr>
            <p:cNvSpPr>
              <a:spLocks noChangeArrowheads="1"/>
            </p:cNvSpPr>
            <p:nvPr/>
          </p:nvSpPr>
          <p:spPr bwMode="auto">
            <a:xfrm>
              <a:off x="4157090" y="1252639"/>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94" name="Freeform 672">
              <a:extLst>
                <a:ext uri="{FF2B5EF4-FFF2-40B4-BE49-F238E27FC236}">
                  <a16:creationId xmlns:a16="http://schemas.microsoft.com/office/drawing/2014/main" id="{4E08880F-F20B-4804-8790-3332303549CC}"/>
                </a:ext>
              </a:extLst>
            </p:cNvPr>
            <p:cNvSpPr>
              <a:spLocks noChangeArrowheads="1"/>
            </p:cNvSpPr>
            <p:nvPr/>
          </p:nvSpPr>
          <p:spPr bwMode="auto">
            <a:xfrm>
              <a:off x="4168507" y="1060060"/>
              <a:ext cx="11415" cy="11328"/>
            </a:xfrm>
            <a:custGeom>
              <a:avLst/>
              <a:gdLst>
                <a:gd name="T0" fmla="*/ 30 w 31"/>
                <a:gd name="T1" fmla="*/ 29 h 30"/>
                <a:gd name="T2" fmla="*/ 30 w 31"/>
                <a:gd name="T3" fmla="*/ 29 h 30"/>
                <a:gd name="T4" fmla="*/ 0 w 31"/>
                <a:gd name="T5" fmla="*/ 0 h 30"/>
                <a:gd name="T6" fmla="*/ 30 w 31"/>
                <a:gd name="T7" fmla="*/ 29 h 30"/>
              </a:gdLst>
              <a:ahLst/>
              <a:cxnLst>
                <a:cxn ang="0">
                  <a:pos x="T0" y="T1"/>
                </a:cxn>
                <a:cxn ang="0">
                  <a:pos x="T2" y="T3"/>
                </a:cxn>
                <a:cxn ang="0">
                  <a:pos x="T4" y="T5"/>
                </a:cxn>
                <a:cxn ang="0">
                  <a:pos x="T6" y="T7"/>
                </a:cxn>
              </a:cxnLst>
              <a:rect l="0" t="0" r="r" b="b"/>
              <a:pathLst>
                <a:path w="31" h="30">
                  <a:moveTo>
                    <a:pt x="30" y="29"/>
                  </a:moveTo>
                  <a:lnTo>
                    <a:pt x="30" y="29"/>
                  </a:lnTo>
                  <a:cubicBezTo>
                    <a:pt x="30" y="29"/>
                    <a:pt x="0" y="29"/>
                    <a:pt x="0" y="0"/>
                  </a:cubicBezTo>
                  <a:cubicBezTo>
                    <a:pt x="0" y="29"/>
                    <a:pt x="30" y="29"/>
                    <a:pt x="3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95" name="Freeform 673">
              <a:extLst>
                <a:ext uri="{FF2B5EF4-FFF2-40B4-BE49-F238E27FC236}">
                  <a16:creationId xmlns:a16="http://schemas.microsoft.com/office/drawing/2014/main" id="{2C75C3DC-CCD1-4EC1-9457-C87FE946FE47}"/>
                </a:ext>
              </a:extLst>
            </p:cNvPr>
            <p:cNvSpPr>
              <a:spLocks noChangeArrowheads="1"/>
            </p:cNvSpPr>
            <p:nvPr/>
          </p:nvSpPr>
          <p:spPr bwMode="auto">
            <a:xfrm>
              <a:off x="4114688" y="1294716"/>
              <a:ext cx="1631" cy="11329"/>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96" name="Freeform 674">
              <a:extLst>
                <a:ext uri="{FF2B5EF4-FFF2-40B4-BE49-F238E27FC236}">
                  <a16:creationId xmlns:a16="http://schemas.microsoft.com/office/drawing/2014/main" id="{FA962D6C-F216-4977-B6FF-9BD8D86DABE2}"/>
                </a:ext>
              </a:extLst>
            </p:cNvPr>
            <p:cNvSpPr>
              <a:spLocks noChangeArrowheads="1"/>
            </p:cNvSpPr>
            <p:nvPr/>
          </p:nvSpPr>
          <p:spPr bwMode="auto">
            <a:xfrm>
              <a:off x="4179922" y="1113464"/>
              <a:ext cx="1631" cy="21039"/>
            </a:xfrm>
            <a:custGeom>
              <a:avLst/>
              <a:gdLst>
                <a:gd name="T0" fmla="*/ 0 w 1"/>
                <a:gd name="T1" fmla="*/ 0 h 59"/>
                <a:gd name="T2" fmla="*/ 0 w 1"/>
                <a:gd name="T3" fmla="*/ 0 h 59"/>
                <a:gd name="T4" fmla="*/ 0 w 1"/>
                <a:gd name="T5" fmla="*/ 58 h 59"/>
                <a:gd name="T6" fmla="*/ 0 w 1"/>
                <a:gd name="T7" fmla="*/ 0 h 59"/>
              </a:gdLst>
              <a:ahLst/>
              <a:cxnLst>
                <a:cxn ang="0">
                  <a:pos x="T0" y="T1"/>
                </a:cxn>
                <a:cxn ang="0">
                  <a:pos x="T2" y="T3"/>
                </a:cxn>
                <a:cxn ang="0">
                  <a:pos x="T4" y="T5"/>
                </a:cxn>
                <a:cxn ang="0">
                  <a:pos x="T6" y="T7"/>
                </a:cxn>
              </a:cxnLst>
              <a:rect l="0" t="0" r="r" b="b"/>
              <a:pathLst>
                <a:path w="1" h="59">
                  <a:moveTo>
                    <a:pt x="0" y="0"/>
                  </a:moveTo>
                  <a:lnTo>
                    <a:pt x="0" y="0"/>
                  </a:lnTo>
                  <a:cubicBezTo>
                    <a:pt x="0" y="29"/>
                    <a:pt x="0" y="29"/>
                    <a:pt x="0" y="58"/>
                  </a:cubicBez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97" name="Freeform 675">
              <a:extLst>
                <a:ext uri="{FF2B5EF4-FFF2-40B4-BE49-F238E27FC236}">
                  <a16:creationId xmlns:a16="http://schemas.microsoft.com/office/drawing/2014/main" id="{E50CB819-1E4E-4A19-AC2B-0D179751E79A}"/>
                </a:ext>
              </a:extLst>
            </p:cNvPr>
            <p:cNvSpPr>
              <a:spLocks noChangeArrowheads="1"/>
            </p:cNvSpPr>
            <p:nvPr/>
          </p:nvSpPr>
          <p:spPr bwMode="auto">
            <a:xfrm>
              <a:off x="4103273" y="1370777"/>
              <a:ext cx="11415" cy="43694"/>
            </a:xfrm>
            <a:custGeom>
              <a:avLst/>
              <a:gdLst>
                <a:gd name="T0" fmla="*/ 0 w 30"/>
                <a:gd name="T1" fmla="*/ 116 h 117"/>
                <a:gd name="T2" fmla="*/ 0 w 30"/>
                <a:gd name="T3" fmla="*/ 116 h 117"/>
                <a:gd name="T4" fmla="*/ 0 w 30"/>
                <a:gd name="T5" fmla="*/ 116 h 117"/>
                <a:gd name="T6" fmla="*/ 29 w 30"/>
                <a:gd name="T7" fmla="*/ 0 h 117"/>
                <a:gd name="T8" fmla="*/ 29 w 30"/>
                <a:gd name="T9" fmla="*/ 0 h 117"/>
                <a:gd name="T10" fmla="*/ 29 w 30"/>
                <a:gd name="T11" fmla="*/ 0 h 117"/>
                <a:gd name="T12" fmla="*/ 0 w 30"/>
                <a:gd name="T13" fmla="*/ 116 h 117"/>
              </a:gdLst>
              <a:ahLst/>
              <a:cxnLst>
                <a:cxn ang="0">
                  <a:pos x="T0" y="T1"/>
                </a:cxn>
                <a:cxn ang="0">
                  <a:pos x="T2" y="T3"/>
                </a:cxn>
                <a:cxn ang="0">
                  <a:pos x="T4" y="T5"/>
                </a:cxn>
                <a:cxn ang="0">
                  <a:pos x="T6" y="T7"/>
                </a:cxn>
                <a:cxn ang="0">
                  <a:pos x="T8" y="T9"/>
                </a:cxn>
                <a:cxn ang="0">
                  <a:pos x="T10" y="T11"/>
                </a:cxn>
                <a:cxn ang="0">
                  <a:pos x="T12" y="T13"/>
                </a:cxn>
              </a:cxnLst>
              <a:rect l="0" t="0" r="r" b="b"/>
              <a:pathLst>
                <a:path w="30" h="117">
                  <a:moveTo>
                    <a:pt x="0" y="116"/>
                  </a:moveTo>
                  <a:lnTo>
                    <a:pt x="0" y="116"/>
                  </a:lnTo>
                  <a:lnTo>
                    <a:pt x="0" y="116"/>
                  </a:lnTo>
                  <a:cubicBezTo>
                    <a:pt x="0" y="88"/>
                    <a:pt x="0" y="29"/>
                    <a:pt x="29" y="0"/>
                  </a:cubicBezTo>
                  <a:lnTo>
                    <a:pt x="29" y="0"/>
                  </a:lnTo>
                  <a:lnTo>
                    <a:pt x="29" y="0"/>
                  </a:lnTo>
                  <a:cubicBezTo>
                    <a:pt x="0" y="29"/>
                    <a:pt x="0" y="88"/>
                    <a:pt x="0" y="11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98" name="Freeform 676">
              <a:extLst>
                <a:ext uri="{FF2B5EF4-FFF2-40B4-BE49-F238E27FC236}">
                  <a16:creationId xmlns:a16="http://schemas.microsoft.com/office/drawing/2014/main" id="{451FA0EE-1308-442B-9F4A-FF032E997BAB}"/>
                </a:ext>
              </a:extLst>
            </p:cNvPr>
            <p:cNvSpPr>
              <a:spLocks noChangeArrowheads="1"/>
            </p:cNvSpPr>
            <p:nvPr/>
          </p:nvSpPr>
          <p:spPr bwMode="auto">
            <a:xfrm>
              <a:off x="3812983" y="2001922"/>
              <a:ext cx="1630" cy="21038"/>
            </a:xfrm>
            <a:custGeom>
              <a:avLst/>
              <a:gdLst>
                <a:gd name="T0" fmla="*/ 0 w 1"/>
                <a:gd name="T1" fmla="*/ 58 h 59"/>
                <a:gd name="T2" fmla="*/ 0 w 1"/>
                <a:gd name="T3" fmla="*/ 58 h 59"/>
                <a:gd name="T4" fmla="*/ 0 w 1"/>
                <a:gd name="T5" fmla="*/ 0 h 59"/>
                <a:gd name="T6" fmla="*/ 0 w 1"/>
                <a:gd name="T7" fmla="*/ 58 h 59"/>
              </a:gdLst>
              <a:ahLst/>
              <a:cxnLst>
                <a:cxn ang="0">
                  <a:pos x="T0" y="T1"/>
                </a:cxn>
                <a:cxn ang="0">
                  <a:pos x="T2" y="T3"/>
                </a:cxn>
                <a:cxn ang="0">
                  <a:pos x="T4" y="T5"/>
                </a:cxn>
                <a:cxn ang="0">
                  <a:pos x="T6" y="T7"/>
                </a:cxn>
              </a:cxnLst>
              <a:rect l="0" t="0" r="r" b="b"/>
              <a:pathLst>
                <a:path w="1" h="59">
                  <a:moveTo>
                    <a:pt x="0" y="58"/>
                  </a:moveTo>
                  <a:lnTo>
                    <a:pt x="0" y="58"/>
                  </a:lnTo>
                  <a:cubicBezTo>
                    <a:pt x="0" y="58"/>
                    <a:pt x="0" y="29"/>
                    <a:pt x="0" y="0"/>
                  </a:cubicBezTo>
                  <a:cubicBezTo>
                    <a:pt x="0" y="29"/>
                    <a:pt x="0" y="58"/>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99" name="Freeform 677">
              <a:extLst>
                <a:ext uri="{FF2B5EF4-FFF2-40B4-BE49-F238E27FC236}">
                  <a16:creationId xmlns:a16="http://schemas.microsoft.com/office/drawing/2014/main" id="{6889BB8D-710C-439F-8712-9EA0B0305ADC}"/>
                </a:ext>
              </a:extLst>
            </p:cNvPr>
            <p:cNvSpPr>
              <a:spLocks noChangeArrowheads="1"/>
            </p:cNvSpPr>
            <p:nvPr/>
          </p:nvSpPr>
          <p:spPr bwMode="auto">
            <a:xfrm>
              <a:off x="4210909" y="1403143"/>
              <a:ext cx="55449" cy="32366"/>
            </a:xfrm>
            <a:custGeom>
              <a:avLst/>
              <a:gdLst>
                <a:gd name="T0" fmla="*/ 0 w 148"/>
                <a:gd name="T1" fmla="*/ 0 h 87"/>
                <a:gd name="T2" fmla="*/ 0 w 148"/>
                <a:gd name="T3" fmla="*/ 0 h 87"/>
                <a:gd name="T4" fmla="*/ 147 w 148"/>
                <a:gd name="T5" fmla="*/ 86 h 87"/>
                <a:gd name="T6" fmla="*/ 0 w 148"/>
                <a:gd name="T7" fmla="*/ 0 h 87"/>
              </a:gdLst>
              <a:ahLst/>
              <a:cxnLst>
                <a:cxn ang="0">
                  <a:pos x="T0" y="T1"/>
                </a:cxn>
                <a:cxn ang="0">
                  <a:pos x="T2" y="T3"/>
                </a:cxn>
                <a:cxn ang="0">
                  <a:pos x="T4" y="T5"/>
                </a:cxn>
                <a:cxn ang="0">
                  <a:pos x="T6" y="T7"/>
                </a:cxn>
              </a:cxnLst>
              <a:rect l="0" t="0" r="r" b="b"/>
              <a:pathLst>
                <a:path w="148" h="87">
                  <a:moveTo>
                    <a:pt x="0" y="0"/>
                  </a:moveTo>
                  <a:lnTo>
                    <a:pt x="0" y="0"/>
                  </a:lnTo>
                  <a:cubicBezTo>
                    <a:pt x="59" y="28"/>
                    <a:pt x="88" y="57"/>
                    <a:pt x="147" y="86"/>
                  </a:cubicBezTo>
                  <a:cubicBezTo>
                    <a:pt x="88" y="57"/>
                    <a:pt x="59" y="28"/>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00" name="Freeform 678">
              <a:extLst>
                <a:ext uri="{FF2B5EF4-FFF2-40B4-BE49-F238E27FC236}">
                  <a16:creationId xmlns:a16="http://schemas.microsoft.com/office/drawing/2014/main" id="{74E06635-C588-48FE-A28A-EFB8F989D6F1}"/>
                </a:ext>
              </a:extLst>
            </p:cNvPr>
            <p:cNvSpPr>
              <a:spLocks noChangeArrowheads="1"/>
            </p:cNvSpPr>
            <p:nvPr/>
          </p:nvSpPr>
          <p:spPr bwMode="auto">
            <a:xfrm>
              <a:off x="3801566" y="2099021"/>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01" name="Freeform 679">
              <a:extLst>
                <a:ext uri="{FF2B5EF4-FFF2-40B4-BE49-F238E27FC236}">
                  <a16:creationId xmlns:a16="http://schemas.microsoft.com/office/drawing/2014/main" id="{D684EA2E-81E2-47F0-BCC0-173F6962FEBD}"/>
                </a:ext>
              </a:extLst>
            </p:cNvPr>
            <p:cNvSpPr>
              <a:spLocks noChangeArrowheads="1"/>
            </p:cNvSpPr>
            <p:nvPr/>
          </p:nvSpPr>
          <p:spPr bwMode="auto">
            <a:xfrm>
              <a:off x="3801566" y="2022960"/>
              <a:ext cx="11416" cy="53405"/>
            </a:xfrm>
            <a:custGeom>
              <a:avLst/>
              <a:gdLst>
                <a:gd name="T0" fmla="*/ 0 w 30"/>
                <a:gd name="T1" fmla="*/ 145 h 146"/>
                <a:gd name="T2" fmla="*/ 0 w 30"/>
                <a:gd name="T3" fmla="*/ 145 h 146"/>
                <a:gd name="T4" fmla="*/ 29 w 30"/>
                <a:gd name="T5" fmla="*/ 0 h 146"/>
                <a:gd name="T6" fmla="*/ 0 w 30"/>
                <a:gd name="T7" fmla="*/ 145 h 146"/>
              </a:gdLst>
              <a:ahLst/>
              <a:cxnLst>
                <a:cxn ang="0">
                  <a:pos x="T0" y="T1"/>
                </a:cxn>
                <a:cxn ang="0">
                  <a:pos x="T2" y="T3"/>
                </a:cxn>
                <a:cxn ang="0">
                  <a:pos x="T4" y="T5"/>
                </a:cxn>
                <a:cxn ang="0">
                  <a:pos x="T6" y="T7"/>
                </a:cxn>
              </a:cxnLst>
              <a:rect l="0" t="0" r="r" b="b"/>
              <a:pathLst>
                <a:path w="30" h="146">
                  <a:moveTo>
                    <a:pt x="0" y="145"/>
                  </a:moveTo>
                  <a:lnTo>
                    <a:pt x="0" y="145"/>
                  </a:lnTo>
                  <a:cubicBezTo>
                    <a:pt x="0" y="87"/>
                    <a:pt x="0" y="29"/>
                    <a:pt x="29" y="0"/>
                  </a:cubicBezTo>
                  <a:cubicBezTo>
                    <a:pt x="0" y="29"/>
                    <a:pt x="0" y="87"/>
                    <a:pt x="0" y="14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02" name="Freeform 680">
              <a:extLst>
                <a:ext uri="{FF2B5EF4-FFF2-40B4-BE49-F238E27FC236}">
                  <a16:creationId xmlns:a16="http://schemas.microsoft.com/office/drawing/2014/main" id="{8BEDC0DC-954B-4B52-AD43-4FFFF2D9F684}"/>
                </a:ext>
              </a:extLst>
            </p:cNvPr>
            <p:cNvSpPr>
              <a:spLocks noChangeArrowheads="1"/>
            </p:cNvSpPr>
            <p:nvPr/>
          </p:nvSpPr>
          <p:spPr bwMode="auto">
            <a:xfrm>
              <a:off x="4114688" y="1370777"/>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03" name="Freeform 681">
              <a:extLst>
                <a:ext uri="{FF2B5EF4-FFF2-40B4-BE49-F238E27FC236}">
                  <a16:creationId xmlns:a16="http://schemas.microsoft.com/office/drawing/2014/main" id="{D1AADEEF-B1BF-456A-813F-9FD04424107A}"/>
                </a:ext>
              </a:extLst>
            </p:cNvPr>
            <p:cNvSpPr>
              <a:spLocks noChangeArrowheads="1"/>
            </p:cNvSpPr>
            <p:nvPr/>
          </p:nvSpPr>
          <p:spPr bwMode="auto">
            <a:xfrm>
              <a:off x="3812983" y="2099021"/>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04" name="Freeform 682">
              <a:extLst>
                <a:ext uri="{FF2B5EF4-FFF2-40B4-BE49-F238E27FC236}">
                  <a16:creationId xmlns:a16="http://schemas.microsoft.com/office/drawing/2014/main" id="{E80C2694-AC0F-4C96-8A30-F861FDE73BB8}"/>
                </a:ext>
              </a:extLst>
            </p:cNvPr>
            <p:cNvSpPr>
              <a:spLocks noChangeArrowheads="1"/>
            </p:cNvSpPr>
            <p:nvPr/>
          </p:nvSpPr>
          <p:spPr bwMode="auto">
            <a:xfrm>
              <a:off x="4103273" y="1433891"/>
              <a:ext cx="1630" cy="11329"/>
            </a:xfrm>
            <a:custGeom>
              <a:avLst/>
              <a:gdLst>
                <a:gd name="T0" fmla="*/ 0 w 1"/>
                <a:gd name="T1" fmla="*/ 30 h 31"/>
                <a:gd name="T2" fmla="*/ 0 w 1"/>
                <a:gd name="T3" fmla="*/ 30 h 31"/>
                <a:gd name="T4" fmla="*/ 0 w 1"/>
                <a:gd name="T5" fmla="*/ 0 h 31"/>
                <a:gd name="T6" fmla="*/ 0 w 1"/>
                <a:gd name="T7" fmla="*/ 30 h 31"/>
              </a:gdLst>
              <a:ahLst/>
              <a:cxnLst>
                <a:cxn ang="0">
                  <a:pos x="T0" y="T1"/>
                </a:cxn>
                <a:cxn ang="0">
                  <a:pos x="T2" y="T3"/>
                </a:cxn>
                <a:cxn ang="0">
                  <a:pos x="T4" y="T5"/>
                </a:cxn>
                <a:cxn ang="0">
                  <a:pos x="T6" y="T7"/>
                </a:cxn>
              </a:cxnLst>
              <a:rect l="0" t="0" r="r" b="b"/>
              <a:pathLst>
                <a:path w="1" h="31">
                  <a:moveTo>
                    <a:pt x="0" y="30"/>
                  </a:moveTo>
                  <a:lnTo>
                    <a:pt x="0" y="30"/>
                  </a:lnTo>
                  <a:cubicBezTo>
                    <a:pt x="0" y="0"/>
                    <a:pt x="0" y="0"/>
                    <a:pt x="0" y="0"/>
                  </a:cubicBezTo>
                  <a:cubicBezTo>
                    <a:pt x="0" y="0"/>
                    <a:pt x="0" y="0"/>
                    <a:pt x="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05" name="Freeform 683">
              <a:extLst>
                <a:ext uri="{FF2B5EF4-FFF2-40B4-BE49-F238E27FC236}">
                  <a16:creationId xmlns:a16="http://schemas.microsoft.com/office/drawing/2014/main" id="{CB73B881-D98B-4FFF-A6FB-2192DE3BB150}"/>
                </a:ext>
              </a:extLst>
            </p:cNvPr>
            <p:cNvSpPr>
              <a:spLocks noChangeArrowheads="1"/>
            </p:cNvSpPr>
            <p:nvPr/>
          </p:nvSpPr>
          <p:spPr bwMode="auto">
            <a:xfrm>
              <a:off x="4103273" y="1412853"/>
              <a:ext cx="1630" cy="11328"/>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cubicBezTo>
                    <a:pt x="0" y="29"/>
                    <a:pt x="0" y="29"/>
                    <a:pt x="0" y="29"/>
                  </a:cubicBez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06" name="Freeform 684">
              <a:extLst>
                <a:ext uri="{FF2B5EF4-FFF2-40B4-BE49-F238E27FC236}">
                  <a16:creationId xmlns:a16="http://schemas.microsoft.com/office/drawing/2014/main" id="{17707DAD-E459-4023-9102-9185B8EFE0BF}"/>
                </a:ext>
              </a:extLst>
            </p:cNvPr>
            <p:cNvSpPr>
              <a:spLocks noChangeArrowheads="1"/>
            </p:cNvSpPr>
            <p:nvPr/>
          </p:nvSpPr>
          <p:spPr bwMode="auto">
            <a:xfrm>
              <a:off x="9323609" y="2034288"/>
              <a:ext cx="21202" cy="11328"/>
            </a:xfrm>
            <a:custGeom>
              <a:avLst/>
              <a:gdLst>
                <a:gd name="T0" fmla="*/ 57 w 58"/>
                <a:gd name="T1" fmla="*/ 29 h 30"/>
                <a:gd name="T2" fmla="*/ 57 w 58"/>
                <a:gd name="T3" fmla="*/ 29 h 30"/>
                <a:gd name="T4" fmla="*/ 57 w 58"/>
                <a:gd name="T5" fmla="*/ 29 h 30"/>
                <a:gd name="T6" fmla="*/ 0 w 58"/>
                <a:gd name="T7" fmla="*/ 0 h 30"/>
                <a:gd name="T8" fmla="*/ 57 w 58"/>
                <a:gd name="T9" fmla="*/ 29 h 30"/>
              </a:gdLst>
              <a:ahLst/>
              <a:cxnLst>
                <a:cxn ang="0">
                  <a:pos x="T0" y="T1"/>
                </a:cxn>
                <a:cxn ang="0">
                  <a:pos x="T2" y="T3"/>
                </a:cxn>
                <a:cxn ang="0">
                  <a:pos x="T4" y="T5"/>
                </a:cxn>
                <a:cxn ang="0">
                  <a:pos x="T6" y="T7"/>
                </a:cxn>
                <a:cxn ang="0">
                  <a:pos x="T8" y="T9"/>
                </a:cxn>
              </a:cxnLst>
              <a:rect l="0" t="0" r="r" b="b"/>
              <a:pathLst>
                <a:path w="58" h="30">
                  <a:moveTo>
                    <a:pt x="57" y="29"/>
                  </a:moveTo>
                  <a:lnTo>
                    <a:pt x="57" y="29"/>
                  </a:lnTo>
                  <a:lnTo>
                    <a:pt x="57" y="29"/>
                  </a:lnTo>
                  <a:cubicBezTo>
                    <a:pt x="57" y="29"/>
                    <a:pt x="28" y="0"/>
                    <a:pt x="0" y="0"/>
                  </a:cubicBezTo>
                  <a:cubicBezTo>
                    <a:pt x="28" y="0"/>
                    <a:pt x="28" y="29"/>
                    <a:pt x="57"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07" name="Freeform 685">
              <a:extLst>
                <a:ext uri="{FF2B5EF4-FFF2-40B4-BE49-F238E27FC236}">
                  <a16:creationId xmlns:a16="http://schemas.microsoft.com/office/drawing/2014/main" id="{2E9888BD-921A-44DF-891F-2FC633CE5CDA}"/>
                </a:ext>
              </a:extLst>
            </p:cNvPr>
            <p:cNvSpPr>
              <a:spLocks noChangeArrowheads="1"/>
            </p:cNvSpPr>
            <p:nvPr/>
          </p:nvSpPr>
          <p:spPr bwMode="auto">
            <a:xfrm>
              <a:off x="10003672" y="4688333"/>
              <a:ext cx="21200" cy="32366"/>
            </a:xfrm>
            <a:custGeom>
              <a:avLst/>
              <a:gdLst>
                <a:gd name="T0" fmla="*/ 29 w 59"/>
                <a:gd name="T1" fmla="*/ 58 h 88"/>
                <a:gd name="T2" fmla="*/ 29 w 59"/>
                <a:gd name="T3" fmla="*/ 58 h 88"/>
                <a:gd name="T4" fmla="*/ 58 w 59"/>
                <a:gd name="T5" fmla="*/ 87 h 88"/>
                <a:gd name="T6" fmla="*/ 58 w 59"/>
                <a:gd name="T7" fmla="*/ 87 h 88"/>
                <a:gd name="T8" fmla="*/ 29 w 59"/>
                <a:gd name="T9" fmla="*/ 58 h 88"/>
                <a:gd name="T10" fmla="*/ 0 w 59"/>
                <a:gd name="T11" fmla="*/ 0 h 88"/>
                <a:gd name="T12" fmla="*/ 0 w 59"/>
                <a:gd name="T13" fmla="*/ 0 h 88"/>
                <a:gd name="T14" fmla="*/ 29 w 59"/>
                <a:gd name="T15" fmla="*/ 5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88">
                  <a:moveTo>
                    <a:pt x="29" y="58"/>
                  </a:moveTo>
                  <a:lnTo>
                    <a:pt x="29" y="58"/>
                  </a:lnTo>
                  <a:cubicBezTo>
                    <a:pt x="58" y="87"/>
                    <a:pt x="58" y="87"/>
                    <a:pt x="58" y="87"/>
                  </a:cubicBezTo>
                  <a:lnTo>
                    <a:pt x="58" y="87"/>
                  </a:lnTo>
                  <a:cubicBezTo>
                    <a:pt x="29" y="58"/>
                    <a:pt x="29" y="58"/>
                    <a:pt x="29" y="58"/>
                  </a:cubicBezTo>
                  <a:cubicBezTo>
                    <a:pt x="0" y="58"/>
                    <a:pt x="0" y="29"/>
                    <a:pt x="0" y="0"/>
                  </a:cubicBezTo>
                  <a:lnTo>
                    <a:pt x="0" y="0"/>
                  </a:lnTo>
                  <a:cubicBezTo>
                    <a:pt x="0" y="29"/>
                    <a:pt x="0" y="58"/>
                    <a:pt x="29"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08" name="Freeform 686">
              <a:extLst>
                <a:ext uri="{FF2B5EF4-FFF2-40B4-BE49-F238E27FC236}">
                  <a16:creationId xmlns:a16="http://schemas.microsoft.com/office/drawing/2014/main" id="{AB38840D-35F6-401C-967C-DEEE70D61B3C}"/>
                </a:ext>
              </a:extLst>
            </p:cNvPr>
            <p:cNvSpPr>
              <a:spLocks noChangeArrowheads="1"/>
            </p:cNvSpPr>
            <p:nvPr/>
          </p:nvSpPr>
          <p:spPr bwMode="auto">
            <a:xfrm>
              <a:off x="10013457" y="4634928"/>
              <a:ext cx="11415" cy="22656"/>
            </a:xfrm>
            <a:custGeom>
              <a:avLst/>
              <a:gdLst>
                <a:gd name="T0" fmla="*/ 29 w 30"/>
                <a:gd name="T1" fmla="*/ 0 h 60"/>
                <a:gd name="T2" fmla="*/ 29 w 30"/>
                <a:gd name="T3" fmla="*/ 0 h 60"/>
                <a:gd name="T4" fmla="*/ 29 w 30"/>
                <a:gd name="T5" fmla="*/ 0 h 60"/>
                <a:gd name="T6" fmla="*/ 0 w 30"/>
                <a:gd name="T7" fmla="*/ 29 h 60"/>
                <a:gd name="T8" fmla="*/ 0 w 30"/>
                <a:gd name="T9" fmla="*/ 59 h 60"/>
                <a:gd name="T10" fmla="*/ 0 w 30"/>
                <a:gd name="T11" fmla="*/ 29 h 60"/>
                <a:gd name="T12" fmla="*/ 29 w 30"/>
                <a:gd name="T13" fmla="*/ 0 h 60"/>
              </a:gdLst>
              <a:ahLst/>
              <a:cxnLst>
                <a:cxn ang="0">
                  <a:pos x="T0" y="T1"/>
                </a:cxn>
                <a:cxn ang="0">
                  <a:pos x="T2" y="T3"/>
                </a:cxn>
                <a:cxn ang="0">
                  <a:pos x="T4" y="T5"/>
                </a:cxn>
                <a:cxn ang="0">
                  <a:pos x="T6" y="T7"/>
                </a:cxn>
                <a:cxn ang="0">
                  <a:pos x="T8" y="T9"/>
                </a:cxn>
                <a:cxn ang="0">
                  <a:pos x="T10" y="T11"/>
                </a:cxn>
                <a:cxn ang="0">
                  <a:pos x="T12" y="T13"/>
                </a:cxn>
              </a:cxnLst>
              <a:rect l="0" t="0" r="r" b="b"/>
              <a:pathLst>
                <a:path w="30" h="60">
                  <a:moveTo>
                    <a:pt x="29" y="0"/>
                  </a:moveTo>
                  <a:lnTo>
                    <a:pt x="29" y="0"/>
                  </a:lnTo>
                  <a:lnTo>
                    <a:pt x="29" y="0"/>
                  </a:lnTo>
                  <a:cubicBezTo>
                    <a:pt x="0" y="29"/>
                    <a:pt x="0" y="29"/>
                    <a:pt x="0" y="29"/>
                  </a:cubicBezTo>
                  <a:lnTo>
                    <a:pt x="0" y="59"/>
                  </a:lnTo>
                  <a:lnTo>
                    <a:pt x="0" y="29"/>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09" name="Freeform 687">
              <a:extLst>
                <a:ext uri="{FF2B5EF4-FFF2-40B4-BE49-F238E27FC236}">
                  <a16:creationId xmlns:a16="http://schemas.microsoft.com/office/drawing/2014/main" id="{3D3CAF3E-D741-469D-B74C-BE8EA6A36CBC}"/>
                </a:ext>
              </a:extLst>
            </p:cNvPr>
            <p:cNvSpPr>
              <a:spLocks noChangeArrowheads="1"/>
            </p:cNvSpPr>
            <p:nvPr/>
          </p:nvSpPr>
          <p:spPr bwMode="auto">
            <a:xfrm>
              <a:off x="10024872" y="4560485"/>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10" name="Freeform 688">
              <a:extLst>
                <a:ext uri="{FF2B5EF4-FFF2-40B4-BE49-F238E27FC236}">
                  <a16:creationId xmlns:a16="http://schemas.microsoft.com/office/drawing/2014/main" id="{6CDF7036-F35E-4738-B12A-A00814266341}"/>
                </a:ext>
              </a:extLst>
            </p:cNvPr>
            <p:cNvSpPr>
              <a:spLocks noChangeArrowheads="1"/>
            </p:cNvSpPr>
            <p:nvPr/>
          </p:nvSpPr>
          <p:spPr bwMode="auto">
            <a:xfrm>
              <a:off x="10013457" y="4720700"/>
              <a:ext cx="11415" cy="11328"/>
            </a:xfrm>
            <a:custGeom>
              <a:avLst/>
              <a:gdLst>
                <a:gd name="T0" fmla="*/ 29 w 30"/>
                <a:gd name="T1" fmla="*/ 0 h 30"/>
                <a:gd name="T2" fmla="*/ 29 w 30"/>
                <a:gd name="T3" fmla="*/ 0 h 30"/>
                <a:gd name="T4" fmla="*/ 29 w 30"/>
                <a:gd name="T5" fmla="*/ 29 h 30"/>
                <a:gd name="T6" fmla="*/ 29 w 30"/>
                <a:gd name="T7" fmla="*/ 0 h 30"/>
                <a:gd name="T8" fmla="*/ 29 w 30"/>
                <a:gd name="T9" fmla="*/ 0 h 30"/>
                <a:gd name="T10" fmla="*/ 0 w 30"/>
                <a:gd name="T11" fmla="*/ 0 h 30"/>
                <a:gd name="T12" fmla="*/ 29 w 30"/>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0" h="30">
                  <a:moveTo>
                    <a:pt x="29" y="0"/>
                  </a:moveTo>
                  <a:lnTo>
                    <a:pt x="29" y="0"/>
                  </a:lnTo>
                  <a:cubicBezTo>
                    <a:pt x="29" y="29"/>
                    <a:pt x="29" y="29"/>
                    <a:pt x="29" y="29"/>
                  </a:cubicBezTo>
                  <a:cubicBezTo>
                    <a:pt x="29" y="29"/>
                    <a:pt x="29" y="29"/>
                    <a:pt x="29" y="0"/>
                  </a:cubicBezTo>
                  <a:lnTo>
                    <a:pt x="29" y="0"/>
                  </a:lnTo>
                  <a:cubicBezTo>
                    <a:pt x="0" y="0"/>
                    <a:pt x="0" y="0"/>
                    <a:pt x="0" y="0"/>
                  </a:cubicBez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11" name="Freeform 689">
              <a:extLst>
                <a:ext uri="{FF2B5EF4-FFF2-40B4-BE49-F238E27FC236}">
                  <a16:creationId xmlns:a16="http://schemas.microsoft.com/office/drawing/2014/main" id="{F73552D5-2FEB-4EC2-9778-D9268AE9C6A9}"/>
                </a:ext>
              </a:extLst>
            </p:cNvPr>
            <p:cNvSpPr>
              <a:spLocks noChangeArrowheads="1"/>
            </p:cNvSpPr>
            <p:nvPr/>
          </p:nvSpPr>
          <p:spPr bwMode="auto">
            <a:xfrm>
              <a:off x="10046074" y="4516791"/>
              <a:ext cx="11415" cy="11328"/>
            </a:xfrm>
            <a:custGeom>
              <a:avLst/>
              <a:gdLst>
                <a:gd name="T0" fmla="*/ 29 w 30"/>
                <a:gd name="T1" fmla="*/ 30 h 31"/>
                <a:gd name="T2" fmla="*/ 29 w 30"/>
                <a:gd name="T3" fmla="*/ 30 h 31"/>
                <a:gd name="T4" fmla="*/ 29 w 30"/>
                <a:gd name="T5" fmla="*/ 30 h 31"/>
                <a:gd name="T6" fmla="*/ 0 w 30"/>
                <a:gd name="T7" fmla="*/ 0 h 31"/>
                <a:gd name="T8" fmla="*/ 29 w 30"/>
                <a:gd name="T9" fmla="*/ 30 h 31"/>
              </a:gdLst>
              <a:ahLst/>
              <a:cxnLst>
                <a:cxn ang="0">
                  <a:pos x="T0" y="T1"/>
                </a:cxn>
                <a:cxn ang="0">
                  <a:pos x="T2" y="T3"/>
                </a:cxn>
                <a:cxn ang="0">
                  <a:pos x="T4" y="T5"/>
                </a:cxn>
                <a:cxn ang="0">
                  <a:pos x="T6" y="T7"/>
                </a:cxn>
                <a:cxn ang="0">
                  <a:pos x="T8" y="T9"/>
                </a:cxn>
              </a:cxnLst>
              <a:rect l="0" t="0" r="r" b="b"/>
              <a:pathLst>
                <a:path w="30" h="31">
                  <a:moveTo>
                    <a:pt x="29" y="30"/>
                  </a:moveTo>
                  <a:lnTo>
                    <a:pt x="29" y="30"/>
                  </a:lnTo>
                  <a:lnTo>
                    <a:pt x="29" y="30"/>
                  </a:lnTo>
                  <a:cubicBezTo>
                    <a:pt x="0" y="30"/>
                    <a:pt x="0" y="30"/>
                    <a:pt x="0" y="0"/>
                  </a:cubicBezTo>
                  <a:cubicBezTo>
                    <a:pt x="0" y="30"/>
                    <a:pt x="0" y="30"/>
                    <a:pt x="29"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12" name="Freeform 690">
              <a:extLst>
                <a:ext uri="{FF2B5EF4-FFF2-40B4-BE49-F238E27FC236}">
                  <a16:creationId xmlns:a16="http://schemas.microsoft.com/office/drawing/2014/main" id="{F04B8E83-3CD2-4F8C-9163-04397EC79287}"/>
                </a:ext>
              </a:extLst>
            </p:cNvPr>
            <p:cNvSpPr>
              <a:spLocks noChangeArrowheads="1"/>
            </p:cNvSpPr>
            <p:nvPr/>
          </p:nvSpPr>
          <p:spPr bwMode="auto">
            <a:xfrm>
              <a:off x="10013457" y="4570195"/>
              <a:ext cx="11415" cy="32366"/>
            </a:xfrm>
            <a:custGeom>
              <a:avLst/>
              <a:gdLst>
                <a:gd name="T0" fmla="*/ 29 w 30"/>
                <a:gd name="T1" fmla="*/ 87 h 88"/>
                <a:gd name="T2" fmla="*/ 29 w 30"/>
                <a:gd name="T3" fmla="*/ 87 h 88"/>
                <a:gd name="T4" fmla="*/ 29 w 30"/>
                <a:gd name="T5" fmla="*/ 87 h 88"/>
                <a:gd name="T6" fmla="*/ 29 w 30"/>
                <a:gd name="T7" fmla="*/ 87 h 88"/>
                <a:gd name="T8" fmla="*/ 29 w 30"/>
                <a:gd name="T9" fmla="*/ 87 h 88"/>
                <a:gd name="T10" fmla="*/ 0 w 30"/>
                <a:gd name="T11" fmla="*/ 0 h 88"/>
                <a:gd name="T12" fmla="*/ 29 w 30"/>
                <a:gd name="T13" fmla="*/ 87 h 88"/>
              </a:gdLst>
              <a:ahLst/>
              <a:cxnLst>
                <a:cxn ang="0">
                  <a:pos x="T0" y="T1"/>
                </a:cxn>
                <a:cxn ang="0">
                  <a:pos x="T2" y="T3"/>
                </a:cxn>
                <a:cxn ang="0">
                  <a:pos x="T4" y="T5"/>
                </a:cxn>
                <a:cxn ang="0">
                  <a:pos x="T6" y="T7"/>
                </a:cxn>
                <a:cxn ang="0">
                  <a:pos x="T8" y="T9"/>
                </a:cxn>
                <a:cxn ang="0">
                  <a:pos x="T10" y="T11"/>
                </a:cxn>
                <a:cxn ang="0">
                  <a:pos x="T12" y="T13"/>
                </a:cxn>
              </a:cxnLst>
              <a:rect l="0" t="0" r="r" b="b"/>
              <a:pathLst>
                <a:path w="30" h="88">
                  <a:moveTo>
                    <a:pt x="29" y="87"/>
                  </a:moveTo>
                  <a:lnTo>
                    <a:pt x="29" y="87"/>
                  </a:lnTo>
                  <a:lnTo>
                    <a:pt x="29" y="87"/>
                  </a:lnTo>
                  <a:lnTo>
                    <a:pt x="29" y="87"/>
                  </a:lnTo>
                  <a:lnTo>
                    <a:pt x="29" y="87"/>
                  </a:lnTo>
                  <a:cubicBezTo>
                    <a:pt x="29" y="58"/>
                    <a:pt x="0" y="29"/>
                    <a:pt x="0" y="0"/>
                  </a:cubicBezTo>
                  <a:cubicBezTo>
                    <a:pt x="0" y="29"/>
                    <a:pt x="29" y="58"/>
                    <a:pt x="29" y="8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13" name="Freeform 691">
              <a:extLst>
                <a:ext uri="{FF2B5EF4-FFF2-40B4-BE49-F238E27FC236}">
                  <a16:creationId xmlns:a16="http://schemas.microsoft.com/office/drawing/2014/main" id="{489AEE0B-E554-4696-85BC-766C66EF968C}"/>
                </a:ext>
              </a:extLst>
            </p:cNvPr>
            <p:cNvSpPr>
              <a:spLocks noChangeArrowheads="1"/>
            </p:cNvSpPr>
            <p:nvPr/>
          </p:nvSpPr>
          <p:spPr bwMode="auto">
            <a:xfrm>
              <a:off x="10099891" y="4999051"/>
              <a:ext cx="21202" cy="11328"/>
            </a:xfrm>
            <a:custGeom>
              <a:avLst/>
              <a:gdLst>
                <a:gd name="T0" fmla="*/ 29 w 59"/>
                <a:gd name="T1" fmla="*/ 29 h 30"/>
                <a:gd name="T2" fmla="*/ 29 w 59"/>
                <a:gd name="T3" fmla="*/ 29 h 30"/>
                <a:gd name="T4" fmla="*/ 58 w 59"/>
                <a:gd name="T5" fmla="*/ 29 h 30"/>
                <a:gd name="T6" fmla="*/ 58 w 59"/>
                <a:gd name="T7" fmla="*/ 29 h 30"/>
                <a:gd name="T8" fmla="*/ 29 w 59"/>
                <a:gd name="T9" fmla="*/ 29 h 30"/>
                <a:gd name="T10" fmla="*/ 0 w 59"/>
                <a:gd name="T11" fmla="*/ 0 h 30"/>
                <a:gd name="T12" fmla="*/ 29 w 59"/>
                <a:gd name="T13" fmla="*/ 29 h 30"/>
              </a:gdLst>
              <a:ahLst/>
              <a:cxnLst>
                <a:cxn ang="0">
                  <a:pos x="T0" y="T1"/>
                </a:cxn>
                <a:cxn ang="0">
                  <a:pos x="T2" y="T3"/>
                </a:cxn>
                <a:cxn ang="0">
                  <a:pos x="T4" y="T5"/>
                </a:cxn>
                <a:cxn ang="0">
                  <a:pos x="T6" y="T7"/>
                </a:cxn>
                <a:cxn ang="0">
                  <a:pos x="T8" y="T9"/>
                </a:cxn>
                <a:cxn ang="0">
                  <a:pos x="T10" y="T11"/>
                </a:cxn>
                <a:cxn ang="0">
                  <a:pos x="T12" y="T13"/>
                </a:cxn>
              </a:cxnLst>
              <a:rect l="0" t="0" r="r" b="b"/>
              <a:pathLst>
                <a:path w="59" h="30">
                  <a:moveTo>
                    <a:pt x="29" y="29"/>
                  </a:moveTo>
                  <a:lnTo>
                    <a:pt x="29" y="29"/>
                  </a:lnTo>
                  <a:cubicBezTo>
                    <a:pt x="58" y="29"/>
                    <a:pt x="58" y="29"/>
                    <a:pt x="58" y="29"/>
                  </a:cubicBezTo>
                  <a:lnTo>
                    <a:pt x="58" y="29"/>
                  </a:lnTo>
                  <a:cubicBezTo>
                    <a:pt x="29" y="29"/>
                    <a:pt x="29" y="29"/>
                    <a:pt x="29" y="29"/>
                  </a:cubicBezTo>
                  <a:cubicBezTo>
                    <a:pt x="0" y="29"/>
                    <a:pt x="0" y="29"/>
                    <a:pt x="0" y="0"/>
                  </a:cubicBezTo>
                  <a:cubicBezTo>
                    <a:pt x="0" y="29"/>
                    <a:pt x="0"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14" name="Freeform 692">
              <a:extLst>
                <a:ext uri="{FF2B5EF4-FFF2-40B4-BE49-F238E27FC236}">
                  <a16:creationId xmlns:a16="http://schemas.microsoft.com/office/drawing/2014/main" id="{3ABC272D-DC83-43FB-B713-5D555B08E85C}"/>
                </a:ext>
              </a:extLst>
            </p:cNvPr>
            <p:cNvSpPr>
              <a:spLocks noChangeArrowheads="1"/>
            </p:cNvSpPr>
            <p:nvPr/>
          </p:nvSpPr>
          <p:spPr bwMode="auto">
            <a:xfrm>
              <a:off x="10036289" y="4848546"/>
              <a:ext cx="11415" cy="1619"/>
            </a:xfrm>
            <a:custGeom>
              <a:avLst/>
              <a:gdLst>
                <a:gd name="T0" fmla="*/ 0 w 31"/>
                <a:gd name="T1" fmla="*/ 0 h 1"/>
                <a:gd name="T2" fmla="*/ 0 w 31"/>
                <a:gd name="T3" fmla="*/ 0 h 1"/>
                <a:gd name="T4" fmla="*/ 30 w 31"/>
                <a:gd name="T5" fmla="*/ 0 h 1"/>
                <a:gd name="T6" fmla="*/ 0 w 31"/>
                <a:gd name="T7" fmla="*/ 0 h 1"/>
              </a:gdLst>
              <a:ahLst/>
              <a:cxnLst>
                <a:cxn ang="0">
                  <a:pos x="T0" y="T1"/>
                </a:cxn>
                <a:cxn ang="0">
                  <a:pos x="T2" y="T3"/>
                </a:cxn>
                <a:cxn ang="0">
                  <a:pos x="T4" y="T5"/>
                </a:cxn>
                <a:cxn ang="0">
                  <a:pos x="T6" y="T7"/>
                </a:cxn>
              </a:cxnLst>
              <a:rect l="0" t="0" r="r" b="b"/>
              <a:pathLst>
                <a:path w="31" h="1">
                  <a:moveTo>
                    <a:pt x="0" y="0"/>
                  </a:moveTo>
                  <a:lnTo>
                    <a:pt x="0" y="0"/>
                  </a:lnTo>
                  <a:cubicBezTo>
                    <a:pt x="30" y="0"/>
                    <a:pt x="30" y="0"/>
                    <a:pt x="30" y="0"/>
                  </a:cubicBezTo>
                  <a:cubicBezTo>
                    <a:pt x="30" y="0"/>
                    <a:pt x="3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15" name="Freeform 693">
              <a:extLst>
                <a:ext uri="{FF2B5EF4-FFF2-40B4-BE49-F238E27FC236}">
                  <a16:creationId xmlns:a16="http://schemas.microsoft.com/office/drawing/2014/main" id="{594BCC52-D8EC-482F-A910-86E63BB40894}"/>
                </a:ext>
              </a:extLst>
            </p:cNvPr>
            <p:cNvSpPr>
              <a:spLocks noChangeArrowheads="1"/>
            </p:cNvSpPr>
            <p:nvPr/>
          </p:nvSpPr>
          <p:spPr bwMode="auto">
            <a:xfrm>
              <a:off x="10090106" y="5008761"/>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16" name="Freeform 694">
              <a:extLst>
                <a:ext uri="{FF2B5EF4-FFF2-40B4-BE49-F238E27FC236}">
                  <a16:creationId xmlns:a16="http://schemas.microsoft.com/office/drawing/2014/main" id="{677C8BCD-4046-472E-8187-EF08FB71BB8C}"/>
                </a:ext>
              </a:extLst>
            </p:cNvPr>
            <p:cNvSpPr>
              <a:spLocks noChangeArrowheads="1"/>
            </p:cNvSpPr>
            <p:nvPr/>
          </p:nvSpPr>
          <p:spPr bwMode="auto">
            <a:xfrm>
              <a:off x="8741397" y="5020088"/>
              <a:ext cx="11415" cy="1619"/>
            </a:xfrm>
            <a:custGeom>
              <a:avLst/>
              <a:gdLst>
                <a:gd name="T0" fmla="*/ 0 w 31"/>
                <a:gd name="T1" fmla="*/ 0 h 1"/>
                <a:gd name="T2" fmla="*/ 0 w 31"/>
                <a:gd name="T3" fmla="*/ 0 h 1"/>
                <a:gd name="T4" fmla="*/ 0 w 31"/>
                <a:gd name="T5" fmla="*/ 0 h 1"/>
                <a:gd name="T6" fmla="*/ 30 w 31"/>
                <a:gd name="T7" fmla="*/ 0 h 1"/>
                <a:gd name="T8" fmla="*/ 0 w 31"/>
                <a:gd name="T9" fmla="*/ 0 h 1"/>
              </a:gdLst>
              <a:ahLst/>
              <a:cxnLst>
                <a:cxn ang="0">
                  <a:pos x="T0" y="T1"/>
                </a:cxn>
                <a:cxn ang="0">
                  <a:pos x="T2" y="T3"/>
                </a:cxn>
                <a:cxn ang="0">
                  <a:pos x="T4" y="T5"/>
                </a:cxn>
                <a:cxn ang="0">
                  <a:pos x="T6" y="T7"/>
                </a:cxn>
                <a:cxn ang="0">
                  <a:pos x="T8" y="T9"/>
                </a:cxn>
              </a:cxnLst>
              <a:rect l="0" t="0" r="r" b="b"/>
              <a:pathLst>
                <a:path w="31" h="1">
                  <a:moveTo>
                    <a:pt x="0" y="0"/>
                  </a:moveTo>
                  <a:lnTo>
                    <a:pt x="0" y="0"/>
                  </a:lnTo>
                  <a:lnTo>
                    <a:pt x="0" y="0"/>
                  </a:lnTo>
                  <a:cubicBezTo>
                    <a:pt x="30" y="0"/>
                    <a:pt x="30" y="0"/>
                    <a:pt x="30" y="0"/>
                  </a:cubicBez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17" name="Freeform 695">
              <a:extLst>
                <a:ext uri="{FF2B5EF4-FFF2-40B4-BE49-F238E27FC236}">
                  <a16:creationId xmlns:a16="http://schemas.microsoft.com/office/drawing/2014/main" id="{70830212-BEB8-4DF3-8E06-58AEE0A9B6B8}"/>
                </a:ext>
              </a:extLst>
            </p:cNvPr>
            <p:cNvSpPr>
              <a:spLocks noChangeArrowheads="1"/>
            </p:cNvSpPr>
            <p:nvPr/>
          </p:nvSpPr>
          <p:spPr bwMode="auto">
            <a:xfrm>
              <a:off x="10090106" y="4999051"/>
              <a:ext cx="11416" cy="1618"/>
            </a:xfrm>
            <a:custGeom>
              <a:avLst/>
              <a:gdLst>
                <a:gd name="T0" fmla="*/ 0 w 30"/>
                <a:gd name="T1" fmla="*/ 0 h 1"/>
                <a:gd name="T2" fmla="*/ 0 w 30"/>
                <a:gd name="T3" fmla="*/ 0 h 1"/>
                <a:gd name="T4" fmla="*/ 0 w 30"/>
                <a:gd name="T5" fmla="*/ 0 h 1"/>
                <a:gd name="T6" fmla="*/ 29 w 30"/>
                <a:gd name="T7" fmla="*/ 0 h 1"/>
                <a:gd name="T8" fmla="*/ 0 w 30"/>
                <a:gd name="T9" fmla="*/ 0 h 1"/>
              </a:gdLst>
              <a:ahLst/>
              <a:cxnLst>
                <a:cxn ang="0">
                  <a:pos x="T0" y="T1"/>
                </a:cxn>
                <a:cxn ang="0">
                  <a:pos x="T2" y="T3"/>
                </a:cxn>
                <a:cxn ang="0">
                  <a:pos x="T4" y="T5"/>
                </a:cxn>
                <a:cxn ang="0">
                  <a:pos x="T6" y="T7"/>
                </a:cxn>
                <a:cxn ang="0">
                  <a:pos x="T8" y="T9"/>
                </a:cxn>
              </a:cxnLst>
              <a:rect l="0" t="0" r="r" b="b"/>
              <a:pathLst>
                <a:path w="30" h="1">
                  <a:moveTo>
                    <a:pt x="0" y="0"/>
                  </a:moveTo>
                  <a:lnTo>
                    <a:pt x="0" y="0"/>
                  </a:lnTo>
                  <a:lnTo>
                    <a:pt x="0" y="0"/>
                  </a:lnTo>
                  <a:cubicBezTo>
                    <a:pt x="0" y="0"/>
                    <a:pt x="0" y="0"/>
                    <a:pt x="29"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18" name="Freeform 696">
              <a:extLst>
                <a:ext uri="{FF2B5EF4-FFF2-40B4-BE49-F238E27FC236}">
                  <a16:creationId xmlns:a16="http://schemas.microsoft.com/office/drawing/2014/main" id="{BBC638A1-9DC0-4C9F-AEDB-6184D636C0BA}"/>
                </a:ext>
              </a:extLst>
            </p:cNvPr>
            <p:cNvSpPr>
              <a:spLocks noChangeArrowheads="1"/>
            </p:cNvSpPr>
            <p:nvPr/>
          </p:nvSpPr>
          <p:spPr bwMode="auto">
            <a:xfrm>
              <a:off x="10067274" y="4913279"/>
              <a:ext cx="32617" cy="64733"/>
            </a:xfrm>
            <a:custGeom>
              <a:avLst/>
              <a:gdLst>
                <a:gd name="T0" fmla="*/ 0 w 88"/>
                <a:gd name="T1" fmla="*/ 0 h 175"/>
                <a:gd name="T2" fmla="*/ 0 w 88"/>
                <a:gd name="T3" fmla="*/ 0 h 175"/>
                <a:gd name="T4" fmla="*/ 87 w 88"/>
                <a:gd name="T5" fmla="*/ 174 h 175"/>
                <a:gd name="T6" fmla="*/ 0 w 88"/>
                <a:gd name="T7" fmla="*/ 0 h 175"/>
              </a:gdLst>
              <a:ahLst/>
              <a:cxnLst>
                <a:cxn ang="0">
                  <a:pos x="T0" y="T1"/>
                </a:cxn>
                <a:cxn ang="0">
                  <a:pos x="T2" y="T3"/>
                </a:cxn>
                <a:cxn ang="0">
                  <a:pos x="T4" y="T5"/>
                </a:cxn>
                <a:cxn ang="0">
                  <a:pos x="T6" y="T7"/>
                </a:cxn>
              </a:cxnLst>
              <a:rect l="0" t="0" r="r" b="b"/>
              <a:pathLst>
                <a:path w="88" h="175">
                  <a:moveTo>
                    <a:pt x="0" y="0"/>
                  </a:moveTo>
                  <a:lnTo>
                    <a:pt x="0" y="0"/>
                  </a:lnTo>
                  <a:cubicBezTo>
                    <a:pt x="0" y="58"/>
                    <a:pt x="58" y="116"/>
                    <a:pt x="87" y="174"/>
                  </a:cubicBezTo>
                  <a:cubicBezTo>
                    <a:pt x="58" y="116"/>
                    <a:pt x="0" y="58"/>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19" name="Freeform 697">
              <a:extLst>
                <a:ext uri="{FF2B5EF4-FFF2-40B4-BE49-F238E27FC236}">
                  <a16:creationId xmlns:a16="http://schemas.microsoft.com/office/drawing/2014/main" id="{054CC858-236B-482D-AB73-C2C37BC5A510}"/>
                </a:ext>
              </a:extLst>
            </p:cNvPr>
            <p:cNvSpPr>
              <a:spLocks noChangeArrowheads="1"/>
            </p:cNvSpPr>
            <p:nvPr/>
          </p:nvSpPr>
          <p:spPr bwMode="auto">
            <a:xfrm>
              <a:off x="10046074" y="4859875"/>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20" name="Freeform 698">
              <a:extLst>
                <a:ext uri="{FF2B5EF4-FFF2-40B4-BE49-F238E27FC236}">
                  <a16:creationId xmlns:a16="http://schemas.microsoft.com/office/drawing/2014/main" id="{CC37A24E-FE4E-48B1-A5F1-6731B1FA7001}"/>
                </a:ext>
              </a:extLst>
            </p:cNvPr>
            <p:cNvSpPr>
              <a:spLocks noChangeArrowheads="1"/>
            </p:cNvSpPr>
            <p:nvPr/>
          </p:nvSpPr>
          <p:spPr bwMode="auto">
            <a:xfrm>
              <a:off x="9313824" y="3971417"/>
              <a:ext cx="755082" cy="814015"/>
            </a:xfrm>
            <a:custGeom>
              <a:avLst/>
              <a:gdLst>
                <a:gd name="T0" fmla="*/ 933 w 2042"/>
                <a:gd name="T1" fmla="*/ 0 h 2218"/>
                <a:gd name="T2" fmla="*/ 933 w 2042"/>
                <a:gd name="T3" fmla="*/ 0 h 2218"/>
                <a:gd name="T4" fmla="*/ 933 w 2042"/>
                <a:gd name="T5" fmla="*/ 0 h 2218"/>
                <a:gd name="T6" fmla="*/ 350 w 2042"/>
                <a:gd name="T7" fmla="*/ 58 h 2218"/>
                <a:gd name="T8" fmla="*/ 0 w 2042"/>
                <a:gd name="T9" fmla="*/ 87 h 2218"/>
                <a:gd name="T10" fmla="*/ 86 w 2042"/>
                <a:gd name="T11" fmla="*/ 584 h 2218"/>
                <a:gd name="T12" fmla="*/ 145 w 2042"/>
                <a:gd name="T13" fmla="*/ 817 h 2218"/>
                <a:gd name="T14" fmla="*/ 145 w 2042"/>
                <a:gd name="T15" fmla="*/ 904 h 2218"/>
                <a:gd name="T16" fmla="*/ 203 w 2042"/>
                <a:gd name="T17" fmla="*/ 1079 h 2218"/>
                <a:gd name="T18" fmla="*/ 262 w 2042"/>
                <a:gd name="T19" fmla="*/ 1167 h 2218"/>
                <a:gd name="T20" fmla="*/ 291 w 2042"/>
                <a:gd name="T21" fmla="*/ 1225 h 2218"/>
                <a:gd name="T22" fmla="*/ 291 w 2042"/>
                <a:gd name="T23" fmla="*/ 1254 h 2218"/>
                <a:gd name="T24" fmla="*/ 350 w 2042"/>
                <a:gd name="T25" fmla="*/ 1400 h 2218"/>
                <a:gd name="T26" fmla="*/ 320 w 2042"/>
                <a:gd name="T27" fmla="*/ 1458 h 2218"/>
                <a:gd name="T28" fmla="*/ 320 w 2042"/>
                <a:gd name="T29" fmla="*/ 1487 h 2218"/>
                <a:gd name="T30" fmla="*/ 291 w 2042"/>
                <a:gd name="T31" fmla="*/ 1633 h 2218"/>
                <a:gd name="T32" fmla="*/ 320 w 2042"/>
                <a:gd name="T33" fmla="*/ 1896 h 2218"/>
                <a:gd name="T34" fmla="*/ 350 w 2042"/>
                <a:gd name="T35" fmla="*/ 2070 h 2218"/>
                <a:gd name="T36" fmla="*/ 350 w 2042"/>
                <a:gd name="T37" fmla="*/ 2100 h 2218"/>
                <a:gd name="T38" fmla="*/ 407 w 2042"/>
                <a:gd name="T39" fmla="*/ 2187 h 2218"/>
                <a:gd name="T40" fmla="*/ 874 w 2042"/>
                <a:gd name="T41" fmla="*/ 2158 h 2218"/>
                <a:gd name="T42" fmla="*/ 1545 w 2042"/>
                <a:gd name="T43" fmla="*/ 2129 h 2218"/>
                <a:gd name="T44" fmla="*/ 1574 w 2042"/>
                <a:gd name="T45" fmla="*/ 2129 h 2218"/>
                <a:gd name="T46" fmla="*/ 1574 w 2042"/>
                <a:gd name="T47" fmla="*/ 2129 h 2218"/>
                <a:gd name="T48" fmla="*/ 1603 w 2042"/>
                <a:gd name="T49" fmla="*/ 2187 h 2218"/>
                <a:gd name="T50" fmla="*/ 1603 w 2042"/>
                <a:gd name="T51" fmla="*/ 2217 h 2218"/>
                <a:gd name="T52" fmla="*/ 1603 w 2042"/>
                <a:gd name="T53" fmla="*/ 2217 h 2218"/>
                <a:gd name="T54" fmla="*/ 1603 w 2042"/>
                <a:gd name="T55" fmla="*/ 2187 h 2218"/>
                <a:gd name="T56" fmla="*/ 1633 w 2042"/>
                <a:gd name="T57" fmla="*/ 2129 h 2218"/>
                <a:gd name="T58" fmla="*/ 1691 w 2042"/>
                <a:gd name="T59" fmla="*/ 2012 h 2218"/>
                <a:gd name="T60" fmla="*/ 1778 w 2042"/>
                <a:gd name="T61" fmla="*/ 2012 h 2218"/>
                <a:gd name="T62" fmla="*/ 1807 w 2042"/>
                <a:gd name="T63" fmla="*/ 2041 h 2218"/>
                <a:gd name="T64" fmla="*/ 1866 w 2042"/>
                <a:gd name="T65" fmla="*/ 2041 h 2218"/>
                <a:gd name="T66" fmla="*/ 1807 w 2042"/>
                <a:gd name="T67" fmla="*/ 1954 h 2218"/>
                <a:gd name="T68" fmla="*/ 1866 w 2042"/>
                <a:gd name="T69" fmla="*/ 1808 h 2218"/>
                <a:gd name="T70" fmla="*/ 1836 w 2042"/>
                <a:gd name="T71" fmla="*/ 1750 h 2218"/>
                <a:gd name="T72" fmla="*/ 1866 w 2042"/>
                <a:gd name="T73" fmla="*/ 1691 h 2218"/>
                <a:gd name="T74" fmla="*/ 1866 w 2042"/>
                <a:gd name="T75" fmla="*/ 1604 h 2218"/>
                <a:gd name="T76" fmla="*/ 1895 w 2042"/>
                <a:gd name="T77" fmla="*/ 1575 h 2218"/>
                <a:gd name="T78" fmla="*/ 1924 w 2042"/>
                <a:gd name="T79" fmla="*/ 1575 h 2218"/>
                <a:gd name="T80" fmla="*/ 1983 w 2042"/>
                <a:gd name="T81" fmla="*/ 1546 h 2218"/>
                <a:gd name="T82" fmla="*/ 1953 w 2042"/>
                <a:gd name="T83" fmla="*/ 1546 h 2218"/>
                <a:gd name="T84" fmla="*/ 1953 w 2042"/>
                <a:gd name="T85" fmla="*/ 1487 h 2218"/>
                <a:gd name="T86" fmla="*/ 2012 w 2042"/>
                <a:gd name="T87" fmla="*/ 1400 h 2218"/>
                <a:gd name="T88" fmla="*/ 2041 w 2042"/>
                <a:gd name="T89" fmla="*/ 1341 h 2218"/>
                <a:gd name="T90" fmla="*/ 1983 w 2042"/>
                <a:gd name="T91" fmla="*/ 1312 h 2218"/>
                <a:gd name="T92" fmla="*/ 1924 w 2042"/>
                <a:gd name="T93" fmla="*/ 1312 h 2218"/>
                <a:gd name="T94" fmla="*/ 1895 w 2042"/>
                <a:gd name="T95" fmla="*/ 1312 h 2218"/>
                <a:gd name="T96" fmla="*/ 1895 w 2042"/>
                <a:gd name="T97" fmla="*/ 1312 h 2218"/>
                <a:gd name="T98" fmla="*/ 1866 w 2042"/>
                <a:gd name="T99" fmla="*/ 1196 h 2218"/>
                <a:gd name="T100" fmla="*/ 1866 w 2042"/>
                <a:gd name="T101" fmla="*/ 1108 h 2218"/>
                <a:gd name="T102" fmla="*/ 1836 w 2042"/>
                <a:gd name="T103" fmla="*/ 1079 h 2218"/>
                <a:gd name="T104" fmla="*/ 1778 w 2042"/>
                <a:gd name="T105" fmla="*/ 1020 h 2218"/>
                <a:gd name="T106" fmla="*/ 1749 w 2042"/>
                <a:gd name="T107" fmla="*/ 991 h 2218"/>
                <a:gd name="T108" fmla="*/ 1720 w 2042"/>
                <a:gd name="T109" fmla="*/ 904 h 2218"/>
                <a:gd name="T110" fmla="*/ 1662 w 2042"/>
                <a:gd name="T111" fmla="*/ 875 h 2218"/>
                <a:gd name="T112" fmla="*/ 1603 w 2042"/>
                <a:gd name="T113" fmla="*/ 817 h 2218"/>
                <a:gd name="T114" fmla="*/ 1486 w 2042"/>
                <a:gd name="T115" fmla="*/ 700 h 2218"/>
                <a:gd name="T116" fmla="*/ 1224 w 2042"/>
                <a:gd name="T117" fmla="*/ 467 h 2218"/>
                <a:gd name="T118" fmla="*/ 1078 w 2042"/>
                <a:gd name="T119" fmla="*/ 291 h 2218"/>
                <a:gd name="T120" fmla="*/ 1050 w 2042"/>
                <a:gd name="T121" fmla="*/ 262 h 2218"/>
                <a:gd name="T122" fmla="*/ 874 w 2042"/>
                <a:gd name="T123" fmla="*/ 58 h 2218"/>
                <a:gd name="T124" fmla="*/ 933 w 2042"/>
                <a:gd name="T125" fmla="*/ 0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42" h="2218">
                  <a:moveTo>
                    <a:pt x="933" y="0"/>
                  </a:moveTo>
                  <a:lnTo>
                    <a:pt x="933" y="0"/>
                  </a:lnTo>
                  <a:lnTo>
                    <a:pt x="933" y="0"/>
                  </a:lnTo>
                  <a:cubicBezTo>
                    <a:pt x="728" y="29"/>
                    <a:pt x="553" y="29"/>
                    <a:pt x="350" y="58"/>
                  </a:cubicBezTo>
                  <a:cubicBezTo>
                    <a:pt x="233" y="58"/>
                    <a:pt x="116" y="87"/>
                    <a:pt x="0" y="87"/>
                  </a:cubicBezTo>
                  <a:cubicBezTo>
                    <a:pt x="29" y="262"/>
                    <a:pt x="57" y="437"/>
                    <a:pt x="86" y="584"/>
                  </a:cubicBezTo>
                  <a:cubicBezTo>
                    <a:pt x="116" y="670"/>
                    <a:pt x="116" y="758"/>
                    <a:pt x="145" y="817"/>
                  </a:cubicBezTo>
                  <a:cubicBezTo>
                    <a:pt x="145" y="846"/>
                    <a:pt x="145" y="875"/>
                    <a:pt x="145" y="904"/>
                  </a:cubicBezTo>
                  <a:cubicBezTo>
                    <a:pt x="174" y="962"/>
                    <a:pt x="174" y="1020"/>
                    <a:pt x="203" y="1079"/>
                  </a:cubicBezTo>
                  <a:cubicBezTo>
                    <a:pt x="203" y="1108"/>
                    <a:pt x="233" y="1137"/>
                    <a:pt x="262" y="1167"/>
                  </a:cubicBezTo>
                  <a:cubicBezTo>
                    <a:pt x="262" y="1196"/>
                    <a:pt x="262" y="1196"/>
                    <a:pt x="291" y="1225"/>
                  </a:cubicBezTo>
                  <a:lnTo>
                    <a:pt x="291" y="1254"/>
                  </a:lnTo>
                  <a:cubicBezTo>
                    <a:pt x="320" y="1312"/>
                    <a:pt x="350" y="1341"/>
                    <a:pt x="350" y="1400"/>
                  </a:cubicBezTo>
                  <a:cubicBezTo>
                    <a:pt x="350" y="1429"/>
                    <a:pt x="350" y="1429"/>
                    <a:pt x="320" y="1458"/>
                  </a:cubicBezTo>
                  <a:cubicBezTo>
                    <a:pt x="320" y="1458"/>
                    <a:pt x="320" y="1458"/>
                    <a:pt x="320" y="1487"/>
                  </a:cubicBezTo>
                  <a:cubicBezTo>
                    <a:pt x="291" y="1517"/>
                    <a:pt x="291" y="1575"/>
                    <a:pt x="291" y="1633"/>
                  </a:cubicBezTo>
                  <a:cubicBezTo>
                    <a:pt x="262" y="1720"/>
                    <a:pt x="291" y="1808"/>
                    <a:pt x="320" y="1896"/>
                  </a:cubicBezTo>
                  <a:cubicBezTo>
                    <a:pt x="320" y="1954"/>
                    <a:pt x="350" y="2012"/>
                    <a:pt x="350" y="2070"/>
                  </a:cubicBezTo>
                  <a:lnTo>
                    <a:pt x="350" y="2100"/>
                  </a:lnTo>
                  <a:cubicBezTo>
                    <a:pt x="378" y="2129"/>
                    <a:pt x="407" y="2158"/>
                    <a:pt x="407" y="2187"/>
                  </a:cubicBezTo>
                  <a:cubicBezTo>
                    <a:pt x="583" y="2158"/>
                    <a:pt x="728" y="2158"/>
                    <a:pt x="874" y="2158"/>
                  </a:cubicBezTo>
                  <a:cubicBezTo>
                    <a:pt x="1107" y="2129"/>
                    <a:pt x="1312" y="2129"/>
                    <a:pt x="1545" y="2129"/>
                  </a:cubicBezTo>
                  <a:cubicBezTo>
                    <a:pt x="1574" y="2129"/>
                    <a:pt x="1574" y="2129"/>
                    <a:pt x="1574" y="2129"/>
                  </a:cubicBezTo>
                  <a:lnTo>
                    <a:pt x="1574" y="2129"/>
                  </a:lnTo>
                  <a:cubicBezTo>
                    <a:pt x="1574" y="2158"/>
                    <a:pt x="1574" y="2187"/>
                    <a:pt x="1603" y="2187"/>
                  </a:cubicBezTo>
                  <a:cubicBezTo>
                    <a:pt x="1603" y="2217"/>
                    <a:pt x="1603" y="2217"/>
                    <a:pt x="1603" y="2217"/>
                  </a:cubicBezTo>
                  <a:lnTo>
                    <a:pt x="1603" y="2217"/>
                  </a:lnTo>
                  <a:cubicBezTo>
                    <a:pt x="1603" y="2187"/>
                    <a:pt x="1603" y="2187"/>
                    <a:pt x="1603" y="2187"/>
                  </a:cubicBezTo>
                  <a:cubicBezTo>
                    <a:pt x="1603" y="2187"/>
                    <a:pt x="1633" y="2158"/>
                    <a:pt x="1633" y="2129"/>
                  </a:cubicBezTo>
                  <a:cubicBezTo>
                    <a:pt x="1633" y="2070"/>
                    <a:pt x="1633" y="2012"/>
                    <a:pt x="1691" y="2012"/>
                  </a:cubicBezTo>
                  <a:cubicBezTo>
                    <a:pt x="1691" y="1983"/>
                    <a:pt x="1749" y="2012"/>
                    <a:pt x="1778" y="2012"/>
                  </a:cubicBezTo>
                  <a:cubicBezTo>
                    <a:pt x="1778" y="2041"/>
                    <a:pt x="1778" y="2041"/>
                    <a:pt x="1807" y="2041"/>
                  </a:cubicBezTo>
                  <a:cubicBezTo>
                    <a:pt x="1807" y="2041"/>
                    <a:pt x="1836" y="2041"/>
                    <a:pt x="1866" y="2041"/>
                  </a:cubicBezTo>
                  <a:cubicBezTo>
                    <a:pt x="1836" y="2012"/>
                    <a:pt x="1807" y="1983"/>
                    <a:pt x="1807" y="1954"/>
                  </a:cubicBezTo>
                  <a:cubicBezTo>
                    <a:pt x="1807" y="1925"/>
                    <a:pt x="1836" y="1867"/>
                    <a:pt x="1866" y="1808"/>
                  </a:cubicBezTo>
                  <a:cubicBezTo>
                    <a:pt x="1836" y="1808"/>
                    <a:pt x="1836" y="1779"/>
                    <a:pt x="1836" y="1750"/>
                  </a:cubicBezTo>
                  <a:cubicBezTo>
                    <a:pt x="1836" y="1720"/>
                    <a:pt x="1866" y="1720"/>
                    <a:pt x="1866" y="1691"/>
                  </a:cubicBezTo>
                  <a:cubicBezTo>
                    <a:pt x="1866" y="1691"/>
                    <a:pt x="1866" y="1633"/>
                    <a:pt x="1866" y="1604"/>
                  </a:cubicBezTo>
                  <a:cubicBezTo>
                    <a:pt x="1895" y="1575"/>
                    <a:pt x="1895" y="1575"/>
                    <a:pt x="1895" y="1575"/>
                  </a:cubicBezTo>
                  <a:lnTo>
                    <a:pt x="1924" y="1575"/>
                  </a:lnTo>
                  <a:cubicBezTo>
                    <a:pt x="1953" y="1575"/>
                    <a:pt x="1953" y="1546"/>
                    <a:pt x="1983" y="1546"/>
                  </a:cubicBezTo>
                  <a:cubicBezTo>
                    <a:pt x="1953" y="1546"/>
                    <a:pt x="1953" y="1546"/>
                    <a:pt x="1953" y="1546"/>
                  </a:cubicBezTo>
                  <a:cubicBezTo>
                    <a:pt x="1953" y="1517"/>
                    <a:pt x="1953" y="1487"/>
                    <a:pt x="1953" y="1487"/>
                  </a:cubicBezTo>
                  <a:cubicBezTo>
                    <a:pt x="1953" y="1458"/>
                    <a:pt x="1983" y="1429"/>
                    <a:pt x="2012" y="1400"/>
                  </a:cubicBezTo>
                  <a:cubicBezTo>
                    <a:pt x="2012" y="1370"/>
                    <a:pt x="2041" y="1370"/>
                    <a:pt x="2041" y="1341"/>
                  </a:cubicBezTo>
                  <a:cubicBezTo>
                    <a:pt x="2041" y="1312"/>
                    <a:pt x="2012" y="1312"/>
                    <a:pt x="1983" y="1312"/>
                  </a:cubicBezTo>
                  <a:cubicBezTo>
                    <a:pt x="1983" y="1312"/>
                    <a:pt x="1953" y="1312"/>
                    <a:pt x="1924" y="1312"/>
                  </a:cubicBezTo>
                  <a:cubicBezTo>
                    <a:pt x="1895" y="1312"/>
                    <a:pt x="1895" y="1312"/>
                    <a:pt x="1895" y="1312"/>
                  </a:cubicBezTo>
                  <a:lnTo>
                    <a:pt x="1895" y="1312"/>
                  </a:lnTo>
                  <a:cubicBezTo>
                    <a:pt x="1895" y="1283"/>
                    <a:pt x="1895" y="1225"/>
                    <a:pt x="1866" y="1196"/>
                  </a:cubicBezTo>
                  <a:cubicBezTo>
                    <a:pt x="1866" y="1167"/>
                    <a:pt x="1866" y="1137"/>
                    <a:pt x="1866" y="1108"/>
                  </a:cubicBezTo>
                  <a:cubicBezTo>
                    <a:pt x="1866" y="1079"/>
                    <a:pt x="1836" y="1079"/>
                    <a:pt x="1836" y="1079"/>
                  </a:cubicBezTo>
                  <a:cubicBezTo>
                    <a:pt x="1807" y="1050"/>
                    <a:pt x="1807" y="1050"/>
                    <a:pt x="1778" y="1020"/>
                  </a:cubicBezTo>
                  <a:cubicBezTo>
                    <a:pt x="1778" y="1020"/>
                    <a:pt x="1778" y="991"/>
                    <a:pt x="1749" y="991"/>
                  </a:cubicBezTo>
                  <a:cubicBezTo>
                    <a:pt x="1749" y="962"/>
                    <a:pt x="1720" y="933"/>
                    <a:pt x="1720" y="904"/>
                  </a:cubicBezTo>
                  <a:cubicBezTo>
                    <a:pt x="1691" y="904"/>
                    <a:pt x="1662" y="875"/>
                    <a:pt x="1662" y="875"/>
                  </a:cubicBezTo>
                  <a:cubicBezTo>
                    <a:pt x="1633" y="846"/>
                    <a:pt x="1603" y="846"/>
                    <a:pt x="1603" y="817"/>
                  </a:cubicBezTo>
                  <a:cubicBezTo>
                    <a:pt x="1545" y="787"/>
                    <a:pt x="1516" y="758"/>
                    <a:pt x="1486" y="700"/>
                  </a:cubicBezTo>
                  <a:cubicBezTo>
                    <a:pt x="1399" y="612"/>
                    <a:pt x="1312" y="554"/>
                    <a:pt x="1224" y="467"/>
                  </a:cubicBezTo>
                  <a:cubicBezTo>
                    <a:pt x="1195" y="408"/>
                    <a:pt x="1136" y="350"/>
                    <a:pt x="1078" y="291"/>
                  </a:cubicBezTo>
                  <a:cubicBezTo>
                    <a:pt x="1078" y="291"/>
                    <a:pt x="1050" y="291"/>
                    <a:pt x="1050" y="262"/>
                  </a:cubicBezTo>
                  <a:cubicBezTo>
                    <a:pt x="962" y="175"/>
                    <a:pt x="874" y="117"/>
                    <a:pt x="874" y="58"/>
                  </a:cubicBezTo>
                  <a:cubicBezTo>
                    <a:pt x="874" y="29"/>
                    <a:pt x="903" y="29"/>
                    <a:pt x="933"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21" name="Freeform 699">
              <a:extLst>
                <a:ext uri="{FF2B5EF4-FFF2-40B4-BE49-F238E27FC236}">
                  <a16:creationId xmlns:a16="http://schemas.microsoft.com/office/drawing/2014/main" id="{13D58651-4CE0-4FB8-9095-14074C709D7D}"/>
                </a:ext>
              </a:extLst>
            </p:cNvPr>
            <p:cNvSpPr>
              <a:spLocks noChangeArrowheads="1"/>
            </p:cNvSpPr>
            <p:nvPr/>
          </p:nvSpPr>
          <p:spPr bwMode="auto">
            <a:xfrm>
              <a:off x="8708780" y="5008761"/>
              <a:ext cx="21200" cy="11328"/>
            </a:xfrm>
            <a:custGeom>
              <a:avLst/>
              <a:gdLst>
                <a:gd name="T0" fmla="*/ 58 w 59"/>
                <a:gd name="T1" fmla="*/ 29 h 30"/>
                <a:gd name="T2" fmla="*/ 58 w 59"/>
                <a:gd name="T3" fmla="*/ 29 h 30"/>
                <a:gd name="T4" fmla="*/ 29 w 59"/>
                <a:gd name="T5" fmla="*/ 0 h 30"/>
                <a:gd name="T6" fmla="*/ 0 w 59"/>
                <a:gd name="T7" fmla="*/ 0 h 30"/>
                <a:gd name="T8" fmla="*/ 0 w 59"/>
                <a:gd name="T9" fmla="*/ 0 h 30"/>
                <a:gd name="T10" fmla="*/ 29 w 59"/>
                <a:gd name="T11" fmla="*/ 0 h 30"/>
                <a:gd name="T12" fmla="*/ 58 w 59"/>
                <a:gd name="T13" fmla="*/ 29 h 30"/>
              </a:gdLst>
              <a:ahLst/>
              <a:cxnLst>
                <a:cxn ang="0">
                  <a:pos x="T0" y="T1"/>
                </a:cxn>
                <a:cxn ang="0">
                  <a:pos x="T2" y="T3"/>
                </a:cxn>
                <a:cxn ang="0">
                  <a:pos x="T4" y="T5"/>
                </a:cxn>
                <a:cxn ang="0">
                  <a:pos x="T6" y="T7"/>
                </a:cxn>
                <a:cxn ang="0">
                  <a:pos x="T8" y="T9"/>
                </a:cxn>
                <a:cxn ang="0">
                  <a:pos x="T10" y="T11"/>
                </a:cxn>
                <a:cxn ang="0">
                  <a:pos x="T12" y="T13"/>
                </a:cxn>
              </a:cxnLst>
              <a:rect l="0" t="0" r="r" b="b"/>
              <a:pathLst>
                <a:path w="59" h="30">
                  <a:moveTo>
                    <a:pt x="58" y="29"/>
                  </a:moveTo>
                  <a:lnTo>
                    <a:pt x="58" y="29"/>
                  </a:lnTo>
                  <a:cubicBezTo>
                    <a:pt x="58" y="29"/>
                    <a:pt x="29" y="29"/>
                    <a:pt x="29" y="0"/>
                  </a:cubicBezTo>
                  <a:cubicBezTo>
                    <a:pt x="0" y="0"/>
                    <a:pt x="0" y="0"/>
                    <a:pt x="0" y="0"/>
                  </a:cubicBezTo>
                  <a:lnTo>
                    <a:pt x="0" y="0"/>
                  </a:lnTo>
                  <a:cubicBezTo>
                    <a:pt x="0" y="0"/>
                    <a:pt x="0" y="0"/>
                    <a:pt x="29" y="0"/>
                  </a:cubicBezTo>
                  <a:cubicBezTo>
                    <a:pt x="29" y="29"/>
                    <a:pt x="58" y="29"/>
                    <a:pt x="5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22" name="Freeform 700">
              <a:extLst>
                <a:ext uri="{FF2B5EF4-FFF2-40B4-BE49-F238E27FC236}">
                  <a16:creationId xmlns:a16="http://schemas.microsoft.com/office/drawing/2014/main" id="{05584666-E8A0-4C0E-B725-3F8698EC9173}"/>
                </a:ext>
              </a:extLst>
            </p:cNvPr>
            <p:cNvSpPr>
              <a:spLocks noChangeArrowheads="1"/>
            </p:cNvSpPr>
            <p:nvPr/>
          </p:nvSpPr>
          <p:spPr bwMode="auto">
            <a:xfrm>
              <a:off x="8666378" y="4976394"/>
              <a:ext cx="32617" cy="11328"/>
            </a:xfrm>
            <a:custGeom>
              <a:avLst/>
              <a:gdLst>
                <a:gd name="T0" fmla="*/ 29 w 88"/>
                <a:gd name="T1" fmla="*/ 29 h 30"/>
                <a:gd name="T2" fmla="*/ 29 w 88"/>
                <a:gd name="T3" fmla="*/ 29 h 30"/>
                <a:gd name="T4" fmla="*/ 58 w 88"/>
                <a:gd name="T5" fmla="*/ 0 h 30"/>
                <a:gd name="T6" fmla="*/ 58 w 88"/>
                <a:gd name="T7" fmla="*/ 0 h 30"/>
                <a:gd name="T8" fmla="*/ 87 w 88"/>
                <a:gd name="T9" fmla="*/ 0 h 30"/>
                <a:gd name="T10" fmla="*/ 87 w 88"/>
                <a:gd name="T11" fmla="*/ 0 h 30"/>
                <a:gd name="T12" fmla="*/ 87 w 88"/>
                <a:gd name="T13" fmla="*/ 0 h 30"/>
                <a:gd name="T14" fmla="*/ 58 w 88"/>
                <a:gd name="T15" fmla="*/ 0 h 30"/>
                <a:gd name="T16" fmla="*/ 58 w 88"/>
                <a:gd name="T17" fmla="*/ 0 h 30"/>
                <a:gd name="T18" fmla="*/ 29 w 88"/>
                <a:gd name="T19" fmla="*/ 29 h 30"/>
                <a:gd name="T20" fmla="*/ 0 w 88"/>
                <a:gd name="T21" fmla="*/ 29 h 30"/>
                <a:gd name="T22" fmla="*/ 0 w 88"/>
                <a:gd name="T23" fmla="*/ 0 h 30"/>
                <a:gd name="T24" fmla="*/ 0 w 88"/>
                <a:gd name="T25" fmla="*/ 29 h 30"/>
                <a:gd name="T26" fmla="*/ 29 w 88"/>
                <a:gd name="T2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30">
                  <a:moveTo>
                    <a:pt x="29" y="29"/>
                  </a:moveTo>
                  <a:lnTo>
                    <a:pt x="29" y="29"/>
                  </a:lnTo>
                  <a:cubicBezTo>
                    <a:pt x="58" y="29"/>
                    <a:pt x="58" y="29"/>
                    <a:pt x="58" y="0"/>
                  </a:cubicBezTo>
                  <a:lnTo>
                    <a:pt x="58" y="0"/>
                  </a:lnTo>
                  <a:cubicBezTo>
                    <a:pt x="87" y="0"/>
                    <a:pt x="87" y="0"/>
                    <a:pt x="87" y="0"/>
                  </a:cubicBezTo>
                  <a:lnTo>
                    <a:pt x="87" y="0"/>
                  </a:lnTo>
                  <a:lnTo>
                    <a:pt x="87" y="0"/>
                  </a:lnTo>
                  <a:cubicBezTo>
                    <a:pt x="58" y="0"/>
                    <a:pt x="58" y="0"/>
                    <a:pt x="58" y="0"/>
                  </a:cubicBezTo>
                  <a:lnTo>
                    <a:pt x="58" y="0"/>
                  </a:lnTo>
                  <a:cubicBezTo>
                    <a:pt x="58" y="29"/>
                    <a:pt x="58" y="29"/>
                    <a:pt x="29" y="29"/>
                  </a:cubicBezTo>
                  <a:lnTo>
                    <a:pt x="0" y="29"/>
                  </a:lnTo>
                  <a:cubicBezTo>
                    <a:pt x="0" y="0"/>
                    <a:pt x="0" y="0"/>
                    <a:pt x="0" y="0"/>
                  </a:cubicBezTo>
                  <a:cubicBezTo>
                    <a:pt x="0" y="0"/>
                    <a:pt x="0" y="0"/>
                    <a:pt x="0" y="29"/>
                  </a:cubicBezTo>
                  <a:lnTo>
                    <a:pt x="2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23" name="Freeform 701">
              <a:extLst>
                <a:ext uri="{FF2B5EF4-FFF2-40B4-BE49-F238E27FC236}">
                  <a16:creationId xmlns:a16="http://schemas.microsoft.com/office/drawing/2014/main" id="{75FE5E16-2537-431C-8A13-00245F4B2D28}"/>
                </a:ext>
              </a:extLst>
            </p:cNvPr>
            <p:cNvSpPr>
              <a:spLocks noChangeArrowheads="1"/>
            </p:cNvSpPr>
            <p:nvPr/>
          </p:nvSpPr>
          <p:spPr bwMode="auto">
            <a:xfrm>
              <a:off x="8666378" y="4913279"/>
              <a:ext cx="53817" cy="21039"/>
            </a:xfrm>
            <a:custGeom>
              <a:avLst/>
              <a:gdLst>
                <a:gd name="T0" fmla="*/ 0 w 146"/>
                <a:gd name="T1" fmla="*/ 0 h 59"/>
                <a:gd name="T2" fmla="*/ 0 w 146"/>
                <a:gd name="T3" fmla="*/ 0 h 59"/>
                <a:gd name="T4" fmla="*/ 0 w 146"/>
                <a:gd name="T5" fmla="*/ 0 h 59"/>
                <a:gd name="T6" fmla="*/ 145 w 146"/>
                <a:gd name="T7" fmla="*/ 58 h 59"/>
                <a:gd name="T8" fmla="*/ 116 w 146"/>
                <a:gd name="T9" fmla="*/ 58 h 59"/>
                <a:gd name="T10" fmla="*/ 116 w 146"/>
                <a:gd name="T11" fmla="*/ 58 h 59"/>
                <a:gd name="T12" fmla="*/ 116 w 146"/>
                <a:gd name="T13" fmla="*/ 58 h 59"/>
                <a:gd name="T14" fmla="*/ 145 w 146"/>
                <a:gd name="T15" fmla="*/ 58 h 59"/>
                <a:gd name="T16" fmla="*/ 0 w 146"/>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59">
                  <a:moveTo>
                    <a:pt x="0" y="0"/>
                  </a:moveTo>
                  <a:lnTo>
                    <a:pt x="0" y="0"/>
                  </a:lnTo>
                  <a:lnTo>
                    <a:pt x="0" y="0"/>
                  </a:lnTo>
                  <a:cubicBezTo>
                    <a:pt x="58" y="29"/>
                    <a:pt x="87" y="58"/>
                    <a:pt x="145" y="58"/>
                  </a:cubicBezTo>
                  <a:cubicBezTo>
                    <a:pt x="116" y="58"/>
                    <a:pt x="116" y="58"/>
                    <a:pt x="116" y="58"/>
                  </a:cubicBezTo>
                  <a:lnTo>
                    <a:pt x="116" y="58"/>
                  </a:lnTo>
                  <a:lnTo>
                    <a:pt x="116" y="58"/>
                  </a:lnTo>
                  <a:cubicBezTo>
                    <a:pt x="145" y="58"/>
                    <a:pt x="145" y="58"/>
                    <a:pt x="145" y="58"/>
                  </a:cubicBezTo>
                  <a:cubicBezTo>
                    <a:pt x="87" y="58"/>
                    <a:pt x="58"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24" name="Freeform 702">
              <a:extLst>
                <a:ext uri="{FF2B5EF4-FFF2-40B4-BE49-F238E27FC236}">
                  <a16:creationId xmlns:a16="http://schemas.microsoft.com/office/drawing/2014/main" id="{F6F646E0-2FB8-425E-882E-F866A9882D9F}"/>
                </a:ext>
              </a:extLst>
            </p:cNvPr>
            <p:cNvSpPr>
              <a:spLocks noChangeArrowheads="1"/>
            </p:cNvSpPr>
            <p:nvPr/>
          </p:nvSpPr>
          <p:spPr bwMode="auto">
            <a:xfrm>
              <a:off x="8687579" y="4934318"/>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25" name="Freeform 703">
              <a:extLst>
                <a:ext uri="{FF2B5EF4-FFF2-40B4-BE49-F238E27FC236}">
                  <a16:creationId xmlns:a16="http://schemas.microsoft.com/office/drawing/2014/main" id="{0CF77CFA-1D21-45EF-8375-89AC1F843524}"/>
                </a:ext>
              </a:extLst>
            </p:cNvPr>
            <p:cNvSpPr>
              <a:spLocks noChangeArrowheads="1"/>
            </p:cNvSpPr>
            <p:nvPr/>
          </p:nvSpPr>
          <p:spPr bwMode="auto">
            <a:xfrm>
              <a:off x="8708780" y="4945646"/>
              <a:ext cx="44032" cy="43695"/>
            </a:xfrm>
            <a:custGeom>
              <a:avLst/>
              <a:gdLst>
                <a:gd name="T0" fmla="*/ 0 w 118"/>
                <a:gd name="T1" fmla="*/ 58 h 117"/>
                <a:gd name="T2" fmla="*/ 0 w 118"/>
                <a:gd name="T3" fmla="*/ 58 h 117"/>
                <a:gd name="T4" fmla="*/ 0 w 118"/>
                <a:gd name="T5" fmla="*/ 116 h 117"/>
                <a:gd name="T6" fmla="*/ 0 w 118"/>
                <a:gd name="T7" fmla="*/ 116 h 117"/>
                <a:gd name="T8" fmla="*/ 0 w 118"/>
                <a:gd name="T9" fmla="*/ 58 h 117"/>
                <a:gd name="T10" fmla="*/ 58 w 118"/>
                <a:gd name="T11" fmla="*/ 0 h 117"/>
                <a:gd name="T12" fmla="*/ 58 w 118"/>
                <a:gd name="T13" fmla="*/ 0 h 117"/>
                <a:gd name="T14" fmla="*/ 58 w 118"/>
                <a:gd name="T15" fmla="*/ 0 h 117"/>
                <a:gd name="T16" fmla="*/ 117 w 118"/>
                <a:gd name="T17" fmla="*/ 0 h 117"/>
                <a:gd name="T18" fmla="*/ 58 w 118"/>
                <a:gd name="T19" fmla="*/ 0 h 117"/>
                <a:gd name="T20" fmla="*/ 58 w 118"/>
                <a:gd name="T21" fmla="*/ 0 h 117"/>
                <a:gd name="T22" fmla="*/ 58 w 118"/>
                <a:gd name="T23" fmla="*/ 0 h 117"/>
                <a:gd name="T24" fmla="*/ 0 w 118"/>
                <a:gd name="T25" fmla="*/ 58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117">
                  <a:moveTo>
                    <a:pt x="0" y="58"/>
                  </a:moveTo>
                  <a:lnTo>
                    <a:pt x="0" y="58"/>
                  </a:lnTo>
                  <a:cubicBezTo>
                    <a:pt x="0" y="87"/>
                    <a:pt x="0" y="87"/>
                    <a:pt x="0" y="116"/>
                  </a:cubicBezTo>
                  <a:lnTo>
                    <a:pt x="0" y="116"/>
                  </a:lnTo>
                  <a:cubicBezTo>
                    <a:pt x="0" y="87"/>
                    <a:pt x="0" y="87"/>
                    <a:pt x="0" y="58"/>
                  </a:cubicBezTo>
                  <a:cubicBezTo>
                    <a:pt x="29" y="29"/>
                    <a:pt x="29" y="0"/>
                    <a:pt x="58" y="0"/>
                  </a:cubicBezTo>
                  <a:lnTo>
                    <a:pt x="58" y="0"/>
                  </a:lnTo>
                  <a:lnTo>
                    <a:pt x="58" y="0"/>
                  </a:lnTo>
                  <a:cubicBezTo>
                    <a:pt x="87" y="0"/>
                    <a:pt x="117" y="0"/>
                    <a:pt x="117" y="0"/>
                  </a:cubicBezTo>
                  <a:cubicBezTo>
                    <a:pt x="117" y="0"/>
                    <a:pt x="87" y="0"/>
                    <a:pt x="58" y="0"/>
                  </a:cubicBezTo>
                  <a:lnTo>
                    <a:pt x="58" y="0"/>
                  </a:lnTo>
                  <a:lnTo>
                    <a:pt x="58" y="0"/>
                  </a:lnTo>
                  <a:cubicBezTo>
                    <a:pt x="29" y="0"/>
                    <a:pt x="29" y="29"/>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26" name="Freeform 704">
              <a:extLst>
                <a:ext uri="{FF2B5EF4-FFF2-40B4-BE49-F238E27FC236}">
                  <a16:creationId xmlns:a16="http://schemas.microsoft.com/office/drawing/2014/main" id="{2C017D25-9DF9-4C59-86A2-A1E448674727}"/>
                </a:ext>
              </a:extLst>
            </p:cNvPr>
            <p:cNvSpPr>
              <a:spLocks noChangeArrowheads="1"/>
            </p:cNvSpPr>
            <p:nvPr/>
          </p:nvSpPr>
          <p:spPr bwMode="auto">
            <a:xfrm>
              <a:off x="8610930" y="3649372"/>
              <a:ext cx="1229657" cy="364121"/>
            </a:xfrm>
            <a:custGeom>
              <a:avLst/>
              <a:gdLst>
                <a:gd name="T0" fmla="*/ 2100 w 3326"/>
                <a:gd name="T1" fmla="*/ 904 h 993"/>
                <a:gd name="T2" fmla="*/ 2100 w 3326"/>
                <a:gd name="T3" fmla="*/ 904 h 993"/>
                <a:gd name="T4" fmla="*/ 2188 w 3326"/>
                <a:gd name="T5" fmla="*/ 875 h 993"/>
                <a:gd name="T6" fmla="*/ 2217 w 3326"/>
                <a:gd name="T7" fmla="*/ 875 h 993"/>
                <a:gd name="T8" fmla="*/ 2247 w 3326"/>
                <a:gd name="T9" fmla="*/ 845 h 993"/>
                <a:gd name="T10" fmla="*/ 2247 w 3326"/>
                <a:gd name="T11" fmla="*/ 816 h 993"/>
                <a:gd name="T12" fmla="*/ 2275 w 3326"/>
                <a:gd name="T13" fmla="*/ 816 h 993"/>
                <a:gd name="T14" fmla="*/ 2275 w 3326"/>
                <a:gd name="T15" fmla="*/ 787 h 993"/>
                <a:gd name="T16" fmla="*/ 2333 w 3326"/>
                <a:gd name="T17" fmla="*/ 759 h 993"/>
                <a:gd name="T18" fmla="*/ 2363 w 3326"/>
                <a:gd name="T19" fmla="*/ 759 h 993"/>
                <a:gd name="T20" fmla="*/ 2392 w 3326"/>
                <a:gd name="T21" fmla="*/ 759 h 993"/>
                <a:gd name="T22" fmla="*/ 2421 w 3326"/>
                <a:gd name="T23" fmla="*/ 729 h 993"/>
                <a:gd name="T24" fmla="*/ 2450 w 3326"/>
                <a:gd name="T25" fmla="*/ 700 h 993"/>
                <a:gd name="T26" fmla="*/ 2538 w 3326"/>
                <a:gd name="T27" fmla="*/ 671 h 993"/>
                <a:gd name="T28" fmla="*/ 2597 w 3326"/>
                <a:gd name="T29" fmla="*/ 642 h 993"/>
                <a:gd name="T30" fmla="*/ 2771 w 3326"/>
                <a:gd name="T31" fmla="*/ 525 h 993"/>
                <a:gd name="T32" fmla="*/ 2947 w 3326"/>
                <a:gd name="T33" fmla="*/ 379 h 993"/>
                <a:gd name="T34" fmla="*/ 3121 w 3326"/>
                <a:gd name="T35" fmla="*/ 233 h 993"/>
                <a:gd name="T36" fmla="*/ 3150 w 3326"/>
                <a:gd name="T37" fmla="*/ 204 h 993"/>
                <a:gd name="T38" fmla="*/ 3238 w 3326"/>
                <a:gd name="T39" fmla="*/ 116 h 993"/>
                <a:gd name="T40" fmla="*/ 3296 w 3326"/>
                <a:gd name="T41" fmla="*/ 87 h 993"/>
                <a:gd name="T42" fmla="*/ 3325 w 3326"/>
                <a:gd name="T43" fmla="*/ 0 h 993"/>
                <a:gd name="T44" fmla="*/ 3325 w 3326"/>
                <a:gd name="T45" fmla="*/ 0 h 993"/>
                <a:gd name="T46" fmla="*/ 730 w 3326"/>
                <a:gd name="T47" fmla="*/ 204 h 993"/>
                <a:gd name="T48" fmla="*/ 730 w 3326"/>
                <a:gd name="T49" fmla="*/ 233 h 993"/>
                <a:gd name="T50" fmla="*/ 759 w 3326"/>
                <a:gd name="T51" fmla="*/ 262 h 993"/>
                <a:gd name="T52" fmla="*/ 759 w 3326"/>
                <a:gd name="T53" fmla="*/ 291 h 993"/>
                <a:gd name="T54" fmla="*/ 730 w 3326"/>
                <a:gd name="T55" fmla="*/ 291 h 993"/>
                <a:gd name="T56" fmla="*/ 467 w 3326"/>
                <a:gd name="T57" fmla="*/ 291 h 993"/>
                <a:gd name="T58" fmla="*/ 176 w 3326"/>
                <a:gd name="T59" fmla="*/ 321 h 993"/>
                <a:gd name="T60" fmla="*/ 176 w 3326"/>
                <a:gd name="T61" fmla="*/ 350 h 993"/>
                <a:gd name="T62" fmla="*/ 176 w 3326"/>
                <a:gd name="T63" fmla="*/ 409 h 993"/>
                <a:gd name="T64" fmla="*/ 147 w 3326"/>
                <a:gd name="T65" fmla="*/ 466 h 993"/>
                <a:gd name="T66" fmla="*/ 147 w 3326"/>
                <a:gd name="T67" fmla="*/ 525 h 993"/>
                <a:gd name="T68" fmla="*/ 147 w 3326"/>
                <a:gd name="T69" fmla="*/ 554 h 993"/>
                <a:gd name="T70" fmla="*/ 147 w 3326"/>
                <a:gd name="T71" fmla="*/ 612 h 993"/>
                <a:gd name="T72" fmla="*/ 117 w 3326"/>
                <a:gd name="T73" fmla="*/ 642 h 993"/>
                <a:gd name="T74" fmla="*/ 117 w 3326"/>
                <a:gd name="T75" fmla="*/ 671 h 993"/>
                <a:gd name="T76" fmla="*/ 88 w 3326"/>
                <a:gd name="T77" fmla="*/ 729 h 993"/>
                <a:gd name="T78" fmla="*/ 88 w 3326"/>
                <a:gd name="T79" fmla="*/ 729 h 993"/>
                <a:gd name="T80" fmla="*/ 30 w 3326"/>
                <a:gd name="T81" fmla="*/ 845 h 993"/>
                <a:gd name="T82" fmla="*/ 0 w 3326"/>
                <a:gd name="T83" fmla="*/ 904 h 993"/>
                <a:gd name="T84" fmla="*/ 0 w 3326"/>
                <a:gd name="T85" fmla="*/ 933 h 993"/>
                <a:gd name="T86" fmla="*/ 0 w 3326"/>
                <a:gd name="T87" fmla="*/ 992 h 993"/>
                <a:gd name="T88" fmla="*/ 380 w 3326"/>
                <a:gd name="T89" fmla="*/ 992 h 993"/>
                <a:gd name="T90" fmla="*/ 2042 w 3326"/>
                <a:gd name="T91" fmla="*/ 904 h 993"/>
                <a:gd name="T92" fmla="*/ 2100 w 3326"/>
                <a:gd name="T93" fmla="*/ 90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26" h="993">
                  <a:moveTo>
                    <a:pt x="2100" y="904"/>
                  </a:moveTo>
                  <a:lnTo>
                    <a:pt x="2100" y="904"/>
                  </a:lnTo>
                  <a:cubicBezTo>
                    <a:pt x="2130" y="904"/>
                    <a:pt x="2188" y="904"/>
                    <a:pt x="2188" y="875"/>
                  </a:cubicBezTo>
                  <a:cubicBezTo>
                    <a:pt x="2217" y="875"/>
                    <a:pt x="2217" y="875"/>
                    <a:pt x="2217" y="875"/>
                  </a:cubicBezTo>
                  <a:cubicBezTo>
                    <a:pt x="2217" y="845"/>
                    <a:pt x="2247" y="845"/>
                    <a:pt x="2247" y="845"/>
                  </a:cubicBezTo>
                  <a:cubicBezTo>
                    <a:pt x="2247" y="845"/>
                    <a:pt x="2247" y="845"/>
                    <a:pt x="2247" y="816"/>
                  </a:cubicBezTo>
                  <a:cubicBezTo>
                    <a:pt x="2275" y="816"/>
                    <a:pt x="2275" y="816"/>
                    <a:pt x="2275" y="816"/>
                  </a:cubicBezTo>
                  <a:cubicBezTo>
                    <a:pt x="2275" y="816"/>
                    <a:pt x="2275" y="816"/>
                    <a:pt x="2275" y="787"/>
                  </a:cubicBezTo>
                  <a:cubicBezTo>
                    <a:pt x="2304" y="787"/>
                    <a:pt x="2304" y="787"/>
                    <a:pt x="2333" y="759"/>
                  </a:cubicBezTo>
                  <a:lnTo>
                    <a:pt x="2363" y="759"/>
                  </a:lnTo>
                  <a:lnTo>
                    <a:pt x="2392" y="759"/>
                  </a:lnTo>
                  <a:cubicBezTo>
                    <a:pt x="2392" y="729"/>
                    <a:pt x="2392" y="729"/>
                    <a:pt x="2421" y="729"/>
                  </a:cubicBezTo>
                  <a:cubicBezTo>
                    <a:pt x="2421" y="700"/>
                    <a:pt x="2450" y="700"/>
                    <a:pt x="2450" y="700"/>
                  </a:cubicBezTo>
                  <a:cubicBezTo>
                    <a:pt x="2480" y="671"/>
                    <a:pt x="2509" y="671"/>
                    <a:pt x="2538" y="671"/>
                  </a:cubicBezTo>
                  <a:cubicBezTo>
                    <a:pt x="2567" y="642"/>
                    <a:pt x="2567" y="642"/>
                    <a:pt x="2597" y="642"/>
                  </a:cubicBezTo>
                  <a:cubicBezTo>
                    <a:pt x="2654" y="612"/>
                    <a:pt x="2713" y="554"/>
                    <a:pt x="2771" y="525"/>
                  </a:cubicBezTo>
                  <a:cubicBezTo>
                    <a:pt x="2830" y="466"/>
                    <a:pt x="2888" y="409"/>
                    <a:pt x="2947" y="379"/>
                  </a:cubicBezTo>
                  <a:cubicBezTo>
                    <a:pt x="3004" y="321"/>
                    <a:pt x="3063" y="291"/>
                    <a:pt x="3121" y="233"/>
                  </a:cubicBezTo>
                  <a:cubicBezTo>
                    <a:pt x="3121" y="233"/>
                    <a:pt x="3150" y="233"/>
                    <a:pt x="3150" y="204"/>
                  </a:cubicBezTo>
                  <a:cubicBezTo>
                    <a:pt x="3180" y="145"/>
                    <a:pt x="3209" y="145"/>
                    <a:pt x="3238" y="116"/>
                  </a:cubicBezTo>
                  <a:cubicBezTo>
                    <a:pt x="3267" y="116"/>
                    <a:pt x="3267" y="87"/>
                    <a:pt x="3296" y="87"/>
                  </a:cubicBezTo>
                  <a:cubicBezTo>
                    <a:pt x="3325" y="59"/>
                    <a:pt x="3325" y="29"/>
                    <a:pt x="3325" y="0"/>
                  </a:cubicBezTo>
                  <a:lnTo>
                    <a:pt x="3325" y="0"/>
                  </a:lnTo>
                  <a:cubicBezTo>
                    <a:pt x="2509" y="87"/>
                    <a:pt x="1692" y="145"/>
                    <a:pt x="730" y="204"/>
                  </a:cubicBezTo>
                  <a:lnTo>
                    <a:pt x="730" y="233"/>
                  </a:lnTo>
                  <a:cubicBezTo>
                    <a:pt x="759" y="233"/>
                    <a:pt x="759" y="262"/>
                    <a:pt x="759" y="262"/>
                  </a:cubicBezTo>
                  <a:cubicBezTo>
                    <a:pt x="759" y="291"/>
                    <a:pt x="759" y="291"/>
                    <a:pt x="759" y="291"/>
                  </a:cubicBezTo>
                  <a:cubicBezTo>
                    <a:pt x="730" y="291"/>
                    <a:pt x="730" y="291"/>
                    <a:pt x="730" y="291"/>
                  </a:cubicBezTo>
                  <a:cubicBezTo>
                    <a:pt x="642" y="291"/>
                    <a:pt x="555" y="291"/>
                    <a:pt x="467" y="291"/>
                  </a:cubicBezTo>
                  <a:cubicBezTo>
                    <a:pt x="350" y="291"/>
                    <a:pt x="263" y="321"/>
                    <a:pt x="176" y="321"/>
                  </a:cubicBezTo>
                  <a:lnTo>
                    <a:pt x="176" y="350"/>
                  </a:lnTo>
                  <a:cubicBezTo>
                    <a:pt x="176" y="379"/>
                    <a:pt x="176" y="409"/>
                    <a:pt x="176" y="409"/>
                  </a:cubicBezTo>
                  <a:cubicBezTo>
                    <a:pt x="176" y="437"/>
                    <a:pt x="147" y="437"/>
                    <a:pt x="147" y="466"/>
                  </a:cubicBezTo>
                  <a:cubicBezTo>
                    <a:pt x="147" y="495"/>
                    <a:pt x="147" y="495"/>
                    <a:pt x="147" y="525"/>
                  </a:cubicBezTo>
                  <a:lnTo>
                    <a:pt x="147" y="554"/>
                  </a:lnTo>
                  <a:cubicBezTo>
                    <a:pt x="147" y="583"/>
                    <a:pt x="147" y="583"/>
                    <a:pt x="147" y="612"/>
                  </a:cubicBezTo>
                  <a:cubicBezTo>
                    <a:pt x="147" y="642"/>
                    <a:pt x="117" y="642"/>
                    <a:pt x="117" y="642"/>
                  </a:cubicBezTo>
                  <a:lnTo>
                    <a:pt x="117" y="671"/>
                  </a:lnTo>
                  <a:cubicBezTo>
                    <a:pt x="117" y="700"/>
                    <a:pt x="117" y="700"/>
                    <a:pt x="88" y="729"/>
                  </a:cubicBezTo>
                  <a:lnTo>
                    <a:pt x="88" y="729"/>
                  </a:lnTo>
                  <a:cubicBezTo>
                    <a:pt x="88" y="787"/>
                    <a:pt x="59" y="816"/>
                    <a:pt x="30" y="845"/>
                  </a:cubicBezTo>
                  <a:cubicBezTo>
                    <a:pt x="30" y="845"/>
                    <a:pt x="0" y="875"/>
                    <a:pt x="0" y="904"/>
                  </a:cubicBezTo>
                  <a:lnTo>
                    <a:pt x="0" y="933"/>
                  </a:lnTo>
                  <a:cubicBezTo>
                    <a:pt x="0" y="962"/>
                    <a:pt x="0" y="962"/>
                    <a:pt x="0" y="992"/>
                  </a:cubicBezTo>
                  <a:cubicBezTo>
                    <a:pt x="117" y="992"/>
                    <a:pt x="263" y="992"/>
                    <a:pt x="380" y="992"/>
                  </a:cubicBezTo>
                  <a:cubicBezTo>
                    <a:pt x="992" y="992"/>
                    <a:pt x="1604" y="933"/>
                    <a:pt x="2042" y="904"/>
                  </a:cubicBezTo>
                  <a:cubicBezTo>
                    <a:pt x="2071" y="904"/>
                    <a:pt x="2071" y="904"/>
                    <a:pt x="2100" y="9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27" name="Freeform 705">
              <a:extLst>
                <a:ext uri="{FF2B5EF4-FFF2-40B4-BE49-F238E27FC236}">
                  <a16:creationId xmlns:a16="http://schemas.microsoft.com/office/drawing/2014/main" id="{2E088D7F-E37F-4794-A8B8-A89F61C19363}"/>
                </a:ext>
              </a:extLst>
            </p:cNvPr>
            <p:cNvSpPr>
              <a:spLocks noChangeArrowheads="1"/>
            </p:cNvSpPr>
            <p:nvPr/>
          </p:nvSpPr>
          <p:spPr bwMode="auto">
            <a:xfrm>
              <a:off x="8752813" y="4955355"/>
              <a:ext cx="11416" cy="1619"/>
            </a:xfrm>
            <a:custGeom>
              <a:avLst/>
              <a:gdLst>
                <a:gd name="T0" fmla="*/ 0 w 30"/>
                <a:gd name="T1" fmla="*/ 0 h 1"/>
                <a:gd name="T2" fmla="*/ 0 w 30"/>
                <a:gd name="T3" fmla="*/ 0 h 1"/>
                <a:gd name="T4" fmla="*/ 0 w 30"/>
                <a:gd name="T5" fmla="*/ 0 h 1"/>
                <a:gd name="T6" fmla="*/ 29 w 30"/>
                <a:gd name="T7" fmla="*/ 0 h 1"/>
                <a:gd name="T8" fmla="*/ 29 w 30"/>
                <a:gd name="T9" fmla="*/ 0 h 1"/>
                <a:gd name="T10" fmla="*/ 0 w 30"/>
                <a:gd name="T11" fmla="*/ 0 h 1"/>
              </a:gdLst>
              <a:ahLst/>
              <a:cxnLst>
                <a:cxn ang="0">
                  <a:pos x="T0" y="T1"/>
                </a:cxn>
                <a:cxn ang="0">
                  <a:pos x="T2" y="T3"/>
                </a:cxn>
                <a:cxn ang="0">
                  <a:pos x="T4" y="T5"/>
                </a:cxn>
                <a:cxn ang="0">
                  <a:pos x="T6" y="T7"/>
                </a:cxn>
                <a:cxn ang="0">
                  <a:pos x="T8" y="T9"/>
                </a:cxn>
                <a:cxn ang="0">
                  <a:pos x="T10" y="T11"/>
                </a:cxn>
              </a:cxnLst>
              <a:rect l="0" t="0" r="r" b="b"/>
              <a:pathLst>
                <a:path w="30" h="1">
                  <a:moveTo>
                    <a:pt x="0" y="0"/>
                  </a:moveTo>
                  <a:lnTo>
                    <a:pt x="0" y="0"/>
                  </a:lnTo>
                  <a:lnTo>
                    <a:pt x="0" y="0"/>
                  </a:lnTo>
                  <a:cubicBezTo>
                    <a:pt x="29" y="0"/>
                    <a:pt x="29" y="0"/>
                    <a:pt x="29" y="0"/>
                  </a:cubicBezTo>
                  <a:lnTo>
                    <a:pt x="29" y="0"/>
                  </a:ln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28" name="Freeform 706">
              <a:extLst>
                <a:ext uri="{FF2B5EF4-FFF2-40B4-BE49-F238E27FC236}">
                  <a16:creationId xmlns:a16="http://schemas.microsoft.com/office/drawing/2014/main" id="{2EAC2917-C4CE-4E41-B77B-7172BCFEA3FE}"/>
                </a:ext>
              </a:extLst>
            </p:cNvPr>
            <p:cNvSpPr>
              <a:spLocks noChangeArrowheads="1"/>
            </p:cNvSpPr>
            <p:nvPr/>
          </p:nvSpPr>
          <p:spPr bwMode="auto">
            <a:xfrm>
              <a:off x="8752813" y="5105860"/>
              <a:ext cx="11416" cy="11328"/>
            </a:xfrm>
            <a:custGeom>
              <a:avLst/>
              <a:gdLst>
                <a:gd name="T0" fmla="*/ 29 w 30"/>
                <a:gd name="T1" fmla="*/ 29 h 30"/>
                <a:gd name="T2" fmla="*/ 29 w 30"/>
                <a:gd name="T3" fmla="*/ 29 h 30"/>
                <a:gd name="T4" fmla="*/ 29 w 30"/>
                <a:gd name="T5" fmla="*/ 29 h 30"/>
                <a:gd name="T6" fmla="*/ 0 w 30"/>
                <a:gd name="T7" fmla="*/ 0 h 30"/>
                <a:gd name="T8" fmla="*/ 29 w 30"/>
                <a:gd name="T9" fmla="*/ 29 h 30"/>
              </a:gdLst>
              <a:ahLst/>
              <a:cxnLst>
                <a:cxn ang="0">
                  <a:pos x="T0" y="T1"/>
                </a:cxn>
                <a:cxn ang="0">
                  <a:pos x="T2" y="T3"/>
                </a:cxn>
                <a:cxn ang="0">
                  <a:pos x="T4" y="T5"/>
                </a:cxn>
                <a:cxn ang="0">
                  <a:pos x="T6" y="T7"/>
                </a:cxn>
                <a:cxn ang="0">
                  <a:pos x="T8" y="T9"/>
                </a:cxn>
              </a:cxnLst>
              <a:rect l="0" t="0" r="r" b="b"/>
              <a:pathLst>
                <a:path w="30" h="30">
                  <a:moveTo>
                    <a:pt x="29" y="29"/>
                  </a:moveTo>
                  <a:lnTo>
                    <a:pt x="29" y="29"/>
                  </a:lnTo>
                  <a:lnTo>
                    <a:pt x="29" y="29"/>
                  </a:lnTo>
                  <a:cubicBezTo>
                    <a:pt x="29" y="29"/>
                    <a:pt x="29" y="29"/>
                    <a:pt x="0" y="0"/>
                  </a:cubicBezTo>
                  <a:cubicBezTo>
                    <a:pt x="29" y="29"/>
                    <a:pt x="29"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29" name="Freeform 707">
              <a:extLst>
                <a:ext uri="{FF2B5EF4-FFF2-40B4-BE49-F238E27FC236}">
                  <a16:creationId xmlns:a16="http://schemas.microsoft.com/office/drawing/2014/main" id="{C1E36238-C541-4B24-8039-FC33F62EF253}"/>
                </a:ext>
              </a:extLst>
            </p:cNvPr>
            <p:cNvSpPr>
              <a:spLocks noChangeArrowheads="1"/>
            </p:cNvSpPr>
            <p:nvPr/>
          </p:nvSpPr>
          <p:spPr bwMode="auto">
            <a:xfrm>
              <a:off x="8774014" y="5084821"/>
              <a:ext cx="22832" cy="11329"/>
            </a:xfrm>
            <a:custGeom>
              <a:avLst/>
              <a:gdLst>
                <a:gd name="T0" fmla="*/ 0 w 60"/>
                <a:gd name="T1" fmla="*/ 0 h 30"/>
                <a:gd name="T2" fmla="*/ 0 w 60"/>
                <a:gd name="T3" fmla="*/ 0 h 30"/>
                <a:gd name="T4" fmla="*/ 59 w 60"/>
                <a:gd name="T5" fmla="*/ 29 h 30"/>
                <a:gd name="T6" fmla="*/ 0 w 60"/>
                <a:gd name="T7" fmla="*/ 0 h 30"/>
              </a:gdLst>
              <a:ahLst/>
              <a:cxnLst>
                <a:cxn ang="0">
                  <a:pos x="T0" y="T1"/>
                </a:cxn>
                <a:cxn ang="0">
                  <a:pos x="T2" y="T3"/>
                </a:cxn>
                <a:cxn ang="0">
                  <a:pos x="T4" y="T5"/>
                </a:cxn>
                <a:cxn ang="0">
                  <a:pos x="T6" y="T7"/>
                </a:cxn>
              </a:cxnLst>
              <a:rect l="0" t="0" r="r" b="b"/>
              <a:pathLst>
                <a:path w="60" h="30">
                  <a:moveTo>
                    <a:pt x="0" y="0"/>
                  </a:moveTo>
                  <a:lnTo>
                    <a:pt x="0" y="0"/>
                  </a:lnTo>
                  <a:cubicBezTo>
                    <a:pt x="29" y="0"/>
                    <a:pt x="59" y="0"/>
                    <a:pt x="59" y="29"/>
                  </a:cubicBezTo>
                  <a:cubicBezTo>
                    <a:pt x="5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30" name="Freeform 708">
              <a:extLst>
                <a:ext uri="{FF2B5EF4-FFF2-40B4-BE49-F238E27FC236}">
                  <a16:creationId xmlns:a16="http://schemas.microsoft.com/office/drawing/2014/main" id="{F96EFD77-0A41-4EF0-9166-767F03C768F0}"/>
                </a:ext>
              </a:extLst>
            </p:cNvPr>
            <p:cNvSpPr>
              <a:spLocks noChangeArrowheads="1"/>
            </p:cNvSpPr>
            <p:nvPr/>
          </p:nvSpPr>
          <p:spPr bwMode="auto">
            <a:xfrm>
              <a:off x="8729981" y="5138226"/>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31" name="Freeform 709">
              <a:extLst>
                <a:ext uri="{FF2B5EF4-FFF2-40B4-BE49-F238E27FC236}">
                  <a16:creationId xmlns:a16="http://schemas.microsoft.com/office/drawing/2014/main" id="{3B85F119-DD3C-40D4-A2C7-A002366FBB7E}"/>
                </a:ext>
              </a:extLst>
            </p:cNvPr>
            <p:cNvSpPr>
              <a:spLocks noChangeArrowheads="1"/>
            </p:cNvSpPr>
            <p:nvPr/>
          </p:nvSpPr>
          <p:spPr bwMode="auto">
            <a:xfrm>
              <a:off x="8752813" y="5126897"/>
              <a:ext cx="1631" cy="11329"/>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cubicBezTo>
                    <a:pt x="0" y="0"/>
                    <a:pt x="0" y="0"/>
                    <a:pt x="0" y="29"/>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32" name="Freeform 710">
              <a:extLst>
                <a:ext uri="{FF2B5EF4-FFF2-40B4-BE49-F238E27FC236}">
                  <a16:creationId xmlns:a16="http://schemas.microsoft.com/office/drawing/2014/main" id="{176ACD1D-2698-45F4-9AEB-66E47062CD82}"/>
                </a:ext>
              </a:extLst>
            </p:cNvPr>
            <p:cNvSpPr>
              <a:spLocks noChangeArrowheads="1"/>
            </p:cNvSpPr>
            <p:nvPr/>
          </p:nvSpPr>
          <p:spPr bwMode="auto">
            <a:xfrm>
              <a:off x="8741397" y="5105860"/>
              <a:ext cx="11415" cy="1618"/>
            </a:xfrm>
            <a:custGeom>
              <a:avLst/>
              <a:gdLst>
                <a:gd name="T0" fmla="*/ 30 w 31"/>
                <a:gd name="T1" fmla="*/ 0 h 1"/>
                <a:gd name="T2" fmla="*/ 30 w 31"/>
                <a:gd name="T3" fmla="*/ 0 h 1"/>
                <a:gd name="T4" fmla="*/ 0 w 31"/>
                <a:gd name="T5" fmla="*/ 0 h 1"/>
                <a:gd name="T6" fmla="*/ 30 w 31"/>
                <a:gd name="T7" fmla="*/ 0 h 1"/>
              </a:gdLst>
              <a:ahLst/>
              <a:cxnLst>
                <a:cxn ang="0">
                  <a:pos x="T0" y="T1"/>
                </a:cxn>
                <a:cxn ang="0">
                  <a:pos x="T2" y="T3"/>
                </a:cxn>
                <a:cxn ang="0">
                  <a:pos x="T4" y="T5"/>
                </a:cxn>
                <a:cxn ang="0">
                  <a:pos x="T6" y="T7"/>
                </a:cxn>
              </a:cxnLst>
              <a:rect l="0" t="0" r="r" b="b"/>
              <a:pathLst>
                <a:path w="31" h="1">
                  <a:moveTo>
                    <a:pt x="30" y="0"/>
                  </a:moveTo>
                  <a:lnTo>
                    <a:pt x="30" y="0"/>
                  </a:lnTo>
                  <a:cubicBezTo>
                    <a:pt x="30" y="0"/>
                    <a:pt x="30" y="0"/>
                    <a:pt x="0" y="0"/>
                  </a:cubicBezTo>
                  <a:cubicBezTo>
                    <a:pt x="30" y="0"/>
                    <a:pt x="3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33" name="Freeform 711">
              <a:extLst>
                <a:ext uri="{FF2B5EF4-FFF2-40B4-BE49-F238E27FC236}">
                  <a16:creationId xmlns:a16="http://schemas.microsoft.com/office/drawing/2014/main" id="{9427947D-A81D-47C2-900D-D702CCAB3544}"/>
                </a:ext>
              </a:extLst>
            </p:cNvPr>
            <p:cNvSpPr>
              <a:spLocks noChangeArrowheads="1"/>
            </p:cNvSpPr>
            <p:nvPr/>
          </p:nvSpPr>
          <p:spPr bwMode="auto">
            <a:xfrm>
              <a:off x="4481629" y="1027693"/>
              <a:ext cx="1630"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29"/>
                    <a:pt x="0" y="29"/>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34" name="Freeform 712">
              <a:extLst>
                <a:ext uri="{FF2B5EF4-FFF2-40B4-BE49-F238E27FC236}">
                  <a16:creationId xmlns:a16="http://schemas.microsoft.com/office/drawing/2014/main" id="{11C8AB05-D882-4532-A9D2-5D7A88FC7B92}"/>
                </a:ext>
              </a:extLst>
            </p:cNvPr>
            <p:cNvSpPr>
              <a:spLocks noChangeArrowheads="1"/>
            </p:cNvSpPr>
            <p:nvPr/>
          </p:nvSpPr>
          <p:spPr bwMode="auto">
            <a:xfrm>
              <a:off x="9204557" y="1948517"/>
              <a:ext cx="11415" cy="1619"/>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29" y="0"/>
                    <a:pt x="29" y="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35" name="Freeform 713">
              <a:extLst>
                <a:ext uri="{FF2B5EF4-FFF2-40B4-BE49-F238E27FC236}">
                  <a16:creationId xmlns:a16="http://schemas.microsoft.com/office/drawing/2014/main" id="{F22E85B9-CCF9-49E7-86BB-6097EBFA975E}"/>
                </a:ext>
              </a:extLst>
            </p:cNvPr>
            <p:cNvSpPr>
              <a:spLocks noChangeArrowheads="1"/>
            </p:cNvSpPr>
            <p:nvPr/>
          </p:nvSpPr>
          <p:spPr bwMode="auto">
            <a:xfrm>
              <a:off x="9204557" y="1980883"/>
              <a:ext cx="32617" cy="22656"/>
            </a:xfrm>
            <a:custGeom>
              <a:avLst/>
              <a:gdLst>
                <a:gd name="T0" fmla="*/ 29 w 89"/>
                <a:gd name="T1" fmla="*/ 0 h 60"/>
                <a:gd name="T2" fmla="*/ 29 w 89"/>
                <a:gd name="T3" fmla="*/ 0 h 60"/>
                <a:gd name="T4" fmla="*/ 88 w 89"/>
                <a:gd name="T5" fmla="*/ 59 h 60"/>
                <a:gd name="T6" fmla="*/ 88 w 89"/>
                <a:gd name="T7" fmla="*/ 59 h 60"/>
                <a:gd name="T8" fmla="*/ 88 w 89"/>
                <a:gd name="T9" fmla="*/ 59 h 60"/>
                <a:gd name="T10" fmla="*/ 29 w 89"/>
                <a:gd name="T11" fmla="*/ 0 h 60"/>
                <a:gd name="T12" fmla="*/ 29 w 89"/>
                <a:gd name="T13" fmla="*/ 0 h 60"/>
                <a:gd name="T14" fmla="*/ 0 w 89"/>
                <a:gd name="T15" fmla="*/ 0 h 60"/>
                <a:gd name="T16" fmla="*/ 29 w 89"/>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60">
                  <a:moveTo>
                    <a:pt x="29" y="0"/>
                  </a:moveTo>
                  <a:lnTo>
                    <a:pt x="29" y="0"/>
                  </a:lnTo>
                  <a:cubicBezTo>
                    <a:pt x="59" y="29"/>
                    <a:pt x="59" y="29"/>
                    <a:pt x="88" y="59"/>
                  </a:cubicBezTo>
                  <a:lnTo>
                    <a:pt x="88" y="59"/>
                  </a:lnTo>
                  <a:lnTo>
                    <a:pt x="88" y="59"/>
                  </a:lnTo>
                  <a:cubicBezTo>
                    <a:pt x="59" y="29"/>
                    <a:pt x="59" y="29"/>
                    <a:pt x="29" y="0"/>
                  </a:cubicBezTo>
                  <a:lnTo>
                    <a:pt x="29" y="0"/>
                  </a:lnTo>
                  <a:cubicBezTo>
                    <a:pt x="0" y="0"/>
                    <a:pt x="0" y="0"/>
                    <a:pt x="0" y="0"/>
                  </a:cubicBezTo>
                  <a:cubicBezTo>
                    <a:pt x="29"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36" name="Freeform 714">
              <a:extLst>
                <a:ext uri="{FF2B5EF4-FFF2-40B4-BE49-F238E27FC236}">
                  <a16:creationId xmlns:a16="http://schemas.microsoft.com/office/drawing/2014/main" id="{3DB1A726-300F-4483-943A-1239DD4EE57C}"/>
                </a:ext>
              </a:extLst>
            </p:cNvPr>
            <p:cNvSpPr>
              <a:spLocks noChangeArrowheads="1"/>
            </p:cNvSpPr>
            <p:nvPr/>
          </p:nvSpPr>
          <p:spPr bwMode="auto">
            <a:xfrm>
              <a:off x="9183356" y="1980883"/>
              <a:ext cx="21202" cy="11329"/>
            </a:xfrm>
            <a:custGeom>
              <a:avLst/>
              <a:gdLst>
                <a:gd name="T0" fmla="*/ 0 w 58"/>
                <a:gd name="T1" fmla="*/ 29 h 30"/>
                <a:gd name="T2" fmla="*/ 0 w 58"/>
                <a:gd name="T3" fmla="*/ 29 h 30"/>
                <a:gd name="T4" fmla="*/ 57 w 58"/>
                <a:gd name="T5" fmla="*/ 0 h 30"/>
                <a:gd name="T6" fmla="*/ 0 w 58"/>
                <a:gd name="T7" fmla="*/ 29 h 30"/>
              </a:gdLst>
              <a:ahLst/>
              <a:cxnLst>
                <a:cxn ang="0">
                  <a:pos x="T0" y="T1"/>
                </a:cxn>
                <a:cxn ang="0">
                  <a:pos x="T2" y="T3"/>
                </a:cxn>
                <a:cxn ang="0">
                  <a:pos x="T4" y="T5"/>
                </a:cxn>
                <a:cxn ang="0">
                  <a:pos x="T6" y="T7"/>
                </a:cxn>
              </a:cxnLst>
              <a:rect l="0" t="0" r="r" b="b"/>
              <a:pathLst>
                <a:path w="58" h="30">
                  <a:moveTo>
                    <a:pt x="0" y="29"/>
                  </a:moveTo>
                  <a:lnTo>
                    <a:pt x="0" y="29"/>
                  </a:lnTo>
                  <a:cubicBezTo>
                    <a:pt x="0" y="29"/>
                    <a:pt x="29" y="0"/>
                    <a:pt x="57" y="0"/>
                  </a:cubicBezTo>
                  <a:cubicBezTo>
                    <a:pt x="29" y="0"/>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37" name="Freeform 715">
              <a:extLst>
                <a:ext uri="{FF2B5EF4-FFF2-40B4-BE49-F238E27FC236}">
                  <a16:creationId xmlns:a16="http://schemas.microsoft.com/office/drawing/2014/main" id="{8CE87C9E-3425-4724-8F4B-4B9153427B1B}"/>
                </a:ext>
              </a:extLst>
            </p:cNvPr>
            <p:cNvSpPr>
              <a:spLocks noChangeArrowheads="1"/>
            </p:cNvSpPr>
            <p:nvPr/>
          </p:nvSpPr>
          <p:spPr bwMode="auto">
            <a:xfrm>
              <a:off x="9506263" y="2291601"/>
              <a:ext cx="11416" cy="1619"/>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38" name="Freeform 716">
              <a:extLst>
                <a:ext uri="{FF2B5EF4-FFF2-40B4-BE49-F238E27FC236}">
                  <a16:creationId xmlns:a16="http://schemas.microsoft.com/office/drawing/2014/main" id="{D5A5E940-CD4B-4A8D-8E96-A3B599148CEB}"/>
                </a:ext>
              </a:extLst>
            </p:cNvPr>
            <p:cNvSpPr>
              <a:spLocks noChangeArrowheads="1"/>
            </p:cNvSpPr>
            <p:nvPr/>
          </p:nvSpPr>
          <p:spPr bwMode="auto">
            <a:xfrm>
              <a:off x="9485063" y="2280273"/>
              <a:ext cx="11415" cy="1618"/>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cubicBezTo>
                    <a:pt x="29" y="0"/>
                    <a:pt x="29" y="0"/>
                    <a:pt x="0" y="0"/>
                  </a:cubicBezTo>
                  <a:cubicBezTo>
                    <a:pt x="29"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39" name="Freeform 717">
              <a:extLst>
                <a:ext uri="{FF2B5EF4-FFF2-40B4-BE49-F238E27FC236}">
                  <a16:creationId xmlns:a16="http://schemas.microsoft.com/office/drawing/2014/main" id="{DB6D54CC-F166-4EB1-B9B9-612A9D2CB1A1}"/>
                </a:ext>
              </a:extLst>
            </p:cNvPr>
            <p:cNvSpPr>
              <a:spLocks noChangeArrowheads="1"/>
            </p:cNvSpPr>
            <p:nvPr/>
          </p:nvSpPr>
          <p:spPr bwMode="auto">
            <a:xfrm>
              <a:off x="4126105" y="1349738"/>
              <a:ext cx="11415" cy="1619"/>
            </a:xfrm>
            <a:custGeom>
              <a:avLst/>
              <a:gdLst>
                <a:gd name="T0" fmla="*/ 0 w 31"/>
                <a:gd name="T1" fmla="*/ 0 h 1"/>
                <a:gd name="T2" fmla="*/ 0 w 31"/>
                <a:gd name="T3" fmla="*/ 0 h 1"/>
                <a:gd name="T4" fmla="*/ 0 w 31"/>
                <a:gd name="T5" fmla="*/ 0 h 1"/>
                <a:gd name="T6" fmla="*/ 0 w 31"/>
                <a:gd name="T7" fmla="*/ 0 h 1"/>
                <a:gd name="T8" fmla="*/ 30 w 31"/>
                <a:gd name="T9" fmla="*/ 0 h 1"/>
                <a:gd name="T10" fmla="*/ 0 w 31"/>
                <a:gd name="T11" fmla="*/ 0 h 1"/>
              </a:gdLst>
              <a:ahLst/>
              <a:cxnLst>
                <a:cxn ang="0">
                  <a:pos x="T0" y="T1"/>
                </a:cxn>
                <a:cxn ang="0">
                  <a:pos x="T2" y="T3"/>
                </a:cxn>
                <a:cxn ang="0">
                  <a:pos x="T4" y="T5"/>
                </a:cxn>
                <a:cxn ang="0">
                  <a:pos x="T6" y="T7"/>
                </a:cxn>
                <a:cxn ang="0">
                  <a:pos x="T8" y="T9"/>
                </a:cxn>
                <a:cxn ang="0">
                  <a:pos x="T10" y="T11"/>
                </a:cxn>
              </a:cxnLst>
              <a:rect l="0" t="0" r="r" b="b"/>
              <a:pathLst>
                <a:path w="31" h="1">
                  <a:moveTo>
                    <a:pt x="0" y="0"/>
                  </a:moveTo>
                  <a:lnTo>
                    <a:pt x="0" y="0"/>
                  </a:lnTo>
                  <a:lnTo>
                    <a:pt x="0" y="0"/>
                  </a:lnTo>
                  <a:lnTo>
                    <a:pt x="0" y="0"/>
                  </a:lnTo>
                  <a:cubicBezTo>
                    <a:pt x="0" y="0"/>
                    <a:pt x="0" y="0"/>
                    <a:pt x="30"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40" name="Freeform 718">
              <a:extLst>
                <a:ext uri="{FF2B5EF4-FFF2-40B4-BE49-F238E27FC236}">
                  <a16:creationId xmlns:a16="http://schemas.microsoft.com/office/drawing/2014/main" id="{0064F298-73C7-4A75-B58F-2B205F5E8CED}"/>
                </a:ext>
              </a:extLst>
            </p:cNvPr>
            <p:cNvSpPr>
              <a:spLocks noChangeArrowheads="1"/>
            </p:cNvSpPr>
            <p:nvPr/>
          </p:nvSpPr>
          <p:spPr bwMode="auto">
            <a:xfrm>
              <a:off x="8503294" y="1851418"/>
              <a:ext cx="11415"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lnTo>
                    <a:pt x="0" y="0"/>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41" name="Freeform 719">
              <a:extLst>
                <a:ext uri="{FF2B5EF4-FFF2-40B4-BE49-F238E27FC236}">
                  <a16:creationId xmlns:a16="http://schemas.microsoft.com/office/drawing/2014/main" id="{96C003C4-1D3C-43EB-A4F9-54EBE0D06454}"/>
                </a:ext>
              </a:extLst>
            </p:cNvPr>
            <p:cNvSpPr>
              <a:spLocks noChangeArrowheads="1"/>
            </p:cNvSpPr>
            <p:nvPr/>
          </p:nvSpPr>
          <p:spPr bwMode="auto">
            <a:xfrm>
              <a:off x="8472307" y="1851418"/>
              <a:ext cx="11416" cy="11329"/>
            </a:xfrm>
            <a:custGeom>
              <a:avLst/>
              <a:gdLst>
                <a:gd name="T0" fmla="*/ 0 w 30"/>
                <a:gd name="T1" fmla="*/ 29 h 30"/>
                <a:gd name="T2" fmla="*/ 0 w 30"/>
                <a:gd name="T3" fmla="*/ 29 h 30"/>
                <a:gd name="T4" fmla="*/ 0 w 30"/>
                <a:gd name="T5" fmla="*/ 29 h 30"/>
                <a:gd name="T6" fmla="*/ 0 w 30"/>
                <a:gd name="T7" fmla="*/ 29 h 30"/>
                <a:gd name="T8" fmla="*/ 29 w 30"/>
                <a:gd name="T9" fmla="*/ 0 h 30"/>
                <a:gd name="T10" fmla="*/ 0 w 30"/>
                <a:gd name="T11" fmla="*/ 29 h 30"/>
              </a:gdLst>
              <a:ahLst/>
              <a:cxnLst>
                <a:cxn ang="0">
                  <a:pos x="T0" y="T1"/>
                </a:cxn>
                <a:cxn ang="0">
                  <a:pos x="T2" y="T3"/>
                </a:cxn>
                <a:cxn ang="0">
                  <a:pos x="T4" y="T5"/>
                </a:cxn>
                <a:cxn ang="0">
                  <a:pos x="T6" y="T7"/>
                </a:cxn>
                <a:cxn ang="0">
                  <a:pos x="T8" y="T9"/>
                </a:cxn>
                <a:cxn ang="0">
                  <a:pos x="T10" y="T11"/>
                </a:cxn>
              </a:cxnLst>
              <a:rect l="0" t="0" r="r" b="b"/>
              <a:pathLst>
                <a:path w="30" h="30">
                  <a:moveTo>
                    <a:pt x="0" y="29"/>
                  </a:moveTo>
                  <a:lnTo>
                    <a:pt x="0" y="29"/>
                  </a:lnTo>
                  <a:lnTo>
                    <a:pt x="0" y="29"/>
                  </a:lnTo>
                  <a:lnTo>
                    <a:pt x="0" y="29"/>
                  </a:lnTo>
                  <a:cubicBezTo>
                    <a:pt x="0" y="0"/>
                    <a:pt x="29" y="0"/>
                    <a:pt x="29" y="0"/>
                  </a:cubicBezTo>
                  <a:cubicBezTo>
                    <a:pt x="29" y="0"/>
                    <a:pt x="0"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42" name="Freeform 720">
              <a:extLst>
                <a:ext uri="{FF2B5EF4-FFF2-40B4-BE49-F238E27FC236}">
                  <a16:creationId xmlns:a16="http://schemas.microsoft.com/office/drawing/2014/main" id="{D51F3CF5-7297-4872-A054-F857733E05F8}"/>
                </a:ext>
              </a:extLst>
            </p:cNvPr>
            <p:cNvSpPr>
              <a:spLocks noChangeArrowheads="1"/>
            </p:cNvSpPr>
            <p:nvPr/>
          </p:nvSpPr>
          <p:spPr bwMode="auto">
            <a:xfrm>
              <a:off x="9679133" y="2697799"/>
              <a:ext cx="22832" cy="11328"/>
            </a:xfrm>
            <a:custGeom>
              <a:avLst/>
              <a:gdLst>
                <a:gd name="T0" fmla="*/ 29 w 60"/>
                <a:gd name="T1" fmla="*/ 29 h 30"/>
                <a:gd name="T2" fmla="*/ 29 w 60"/>
                <a:gd name="T3" fmla="*/ 29 h 30"/>
                <a:gd name="T4" fmla="*/ 59 w 60"/>
                <a:gd name="T5" fmla="*/ 29 h 30"/>
                <a:gd name="T6" fmla="*/ 29 w 60"/>
                <a:gd name="T7" fmla="*/ 29 h 30"/>
                <a:gd name="T8" fmla="*/ 0 w 60"/>
                <a:gd name="T9" fmla="*/ 0 h 30"/>
                <a:gd name="T10" fmla="*/ 29 w 60"/>
                <a:gd name="T11" fmla="*/ 29 h 30"/>
              </a:gdLst>
              <a:ahLst/>
              <a:cxnLst>
                <a:cxn ang="0">
                  <a:pos x="T0" y="T1"/>
                </a:cxn>
                <a:cxn ang="0">
                  <a:pos x="T2" y="T3"/>
                </a:cxn>
                <a:cxn ang="0">
                  <a:pos x="T4" y="T5"/>
                </a:cxn>
                <a:cxn ang="0">
                  <a:pos x="T6" y="T7"/>
                </a:cxn>
                <a:cxn ang="0">
                  <a:pos x="T8" y="T9"/>
                </a:cxn>
                <a:cxn ang="0">
                  <a:pos x="T10" y="T11"/>
                </a:cxn>
              </a:cxnLst>
              <a:rect l="0" t="0" r="r" b="b"/>
              <a:pathLst>
                <a:path w="60" h="30">
                  <a:moveTo>
                    <a:pt x="29" y="29"/>
                  </a:moveTo>
                  <a:lnTo>
                    <a:pt x="29" y="29"/>
                  </a:lnTo>
                  <a:cubicBezTo>
                    <a:pt x="29" y="29"/>
                    <a:pt x="29" y="29"/>
                    <a:pt x="59" y="29"/>
                  </a:cubicBezTo>
                  <a:cubicBezTo>
                    <a:pt x="29" y="29"/>
                    <a:pt x="29" y="29"/>
                    <a:pt x="29" y="29"/>
                  </a:cubicBezTo>
                  <a:lnTo>
                    <a:pt x="0" y="0"/>
                  </a:lnTo>
                  <a:lnTo>
                    <a:pt x="2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43" name="Freeform 721">
              <a:extLst>
                <a:ext uri="{FF2B5EF4-FFF2-40B4-BE49-F238E27FC236}">
                  <a16:creationId xmlns:a16="http://schemas.microsoft.com/office/drawing/2014/main" id="{1E3CA856-CA0D-43C1-BD96-210C22BD0C2B}"/>
                </a:ext>
              </a:extLst>
            </p:cNvPr>
            <p:cNvSpPr>
              <a:spLocks noChangeArrowheads="1"/>
            </p:cNvSpPr>
            <p:nvPr/>
          </p:nvSpPr>
          <p:spPr bwMode="auto">
            <a:xfrm>
              <a:off x="9150739" y="1851418"/>
              <a:ext cx="44033" cy="11329"/>
            </a:xfrm>
            <a:custGeom>
              <a:avLst/>
              <a:gdLst>
                <a:gd name="T0" fmla="*/ 0 w 118"/>
                <a:gd name="T1" fmla="*/ 29 h 30"/>
                <a:gd name="T2" fmla="*/ 0 w 118"/>
                <a:gd name="T3" fmla="*/ 29 h 30"/>
                <a:gd name="T4" fmla="*/ 117 w 118"/>
                <a:gd name="T5" fmla="*/ 0 h 30"/>
                <a:gd name="T6" fmla="*/ 0 w 118"/>
                <a:gd name="T7" fmla="*/ 29 h 30"/>
              </a:gdLst>
              <a:ahLst/>
              <a:cxnLst>
                <a:cxn ang="0">
                  <a:pos x="T0" y="T1"/>
                </a:cxn>
                <a:cxn ang="0">
                  <a:pos x="T2" y="T3"/>
                </a:cxn>
                <a:cxn ang="0">
                  <a:pos x="T4" y="T5"/>
                </a:cxn>
                <a:cxn ang="0">
                  <a:pos x="T6" y="T7"/>
                </a:cxn>
              </a:cxnLst>
              <a:rect l="0" t="0" r="r" b="b"/>
              <a:pathLst>
                <a:path w="118" h="30">
                  <a:moveTo>
                    <a:pt x="0" y="29"/>
                  </a:moveTo>
                  <a:lnTo>
                    <a:pt x="0" y="29"/>
                  </a:lnTo>
                  <a:cubicBezTo>
                    <a:pt x="29" y="29"/>
                    <a:pt x="88" y="0"/>
                    <a:pt x="117" y="0"/>
                  </a:cubicBezTo>
                  <a:cubicBezTo>
                    <a:pt x="88" y="0"/>
                    <a:pt x="29"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44" name="Freeform 722">
              <a:extLst>
                <a:ext uri="{FF2B5EF4-FFF2-40B4-BE49-F238E27FC236}">
                  <a16:creationId xmlns:a16="http://schemas.microsoft.com/office/drawing/2014/main" id="{5BAE4473-79E8-495C-9B43-D53629A99622}"/>
                </a:ext>
              </a:extLst>
            </p:cNvPr>
            <p:cNvSpPr>
              <a:spLocks noChangeArrowheads="1"/>
            </p:cNvSpPr>
            <p:nvPr/>
          </p:nvSpPr>
          <p:spPr bwMode="auto">
            <a:xfrm>
              <a:off x="8418490" y="1628089"/>
              <a:ext cx="119051" cy="64733"/>
            </a:xfrm>
            <a:custGeom>
              <a:avLst/>
              <a:gdLst>
                <a:gd name="T0" fmla="*/ 321 w 322"/>
                <a:gd name="T1" fmla="*/ 0 h 175"/>
                <a:gd name="T2" fmla="*/ 321 w 322"/>
                <a:gd name="T3" fmla="*/ 0 h 175"/>
                <a:gd name="T4" fmla="*/ 204 w 322"/>
                <a:gd name="T5" fmla="*/ 87 h 175"/>
                <a:gd name="T6" fmla="*/ 174 w 322"/>
                <a:gd name="T7" fmla="*/ 87 h 175"/>
                <a:gd name="T8" fmla="*/ 0 w 322"/>
                <a:gd name="T9" fmla="*/ 174 h 175"/>
                <a:gd name="T10" fmla="*/ 174 w 322"/>
                <a:gd name="T11" fmla="*/ 87 h 175"/>
                <a:gd name="T12" fmla="*/ 204 w 322"/>
                <a:gd name="T13" fmla="*/ 87 h 175"/>
                <a:gd name="T14" fmla="*/ 321 w 322"/>
                <a:gd name="T15" fmla="*/ 0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 h="175">
                  <a:moveTo>
                    <a:pt x="321" y="0"/>
                  </a:moveTo>
                  <a:lnTo>
                    <a:pt x="321" y="0"/>
                  </a:lnTo>
                  <a:cubicBezTo>
                    <a:pt x="291" y="58"/>
                    <a:pt x="233" y="58"/>
                    <a:pt x="204" y="87"/>
                  </a:cubicBezTo>
                  <a:lnTo>
                    <a:pt x="174" y="87"/>
                  </a:lnTo>
                  <a:cubicBezTo>
                    <a:pt x="116" y="116"/>
                    <a:pt x="58" y="145"/>
                    <a:pt x="0" y="174"/>
                  </a:cubicBezTo>
                  <a:cubicBezTo>
                    <a:pt x="58" y="145"/>
                    <a:pt x="116" y="116"/>
                    <a:pt x="174" y="87"/>
                  </a:cubicBezTo>
                  <a:lnTo>
                    <a:pt x="204" y="87"/>
                  </a:lnTo>
                  <a:cubicBezTo>
                    <a:pt x="233" y="58"/>
                    <a:pt x="291" y="58"/>
                    <a:pt x="32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45" name="Freeform 723">
              <a:extLst>
                <a:ext uri="{FF2B5EF4-FFF2-40B4-BE49-F238E27FC236}">
                  <a16:creationId xmlns:a16="http://schemas.microsoft.com/office/drawing/2014/main" id="{89ED56B1-3DCD-4539-A97E-7780E1321BB6}"/>
                </a:ext>
              </a:extLst>
            </p:cNvPr>
            <p:cNvSpPr>
              <a:spLocks noChangeArrowheads="1"/>
            </p:cNvSpPr>
            <p:nvPr/>
          </p:nvSpPr>
          <p:spPr bwMode="auto">
            <a:xfrm>
              <a:off x="9183356" y="1969555"/>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46" name="Freeform 724">
              <a:extLst>
                <a:ext uri="{FF2B5EF4-FFF2-40B4-BE49-F238E27FC236}">
                  <a16:creationId xmlns:a16="http://schemas.microsoft.com/office/drawing/2014/main" id="{76C10B6A-339D-44A4-8F4D-76A3DC22B923}"/>
                </a:ext>
              </a:extLst>
            </p:cNvPr>
            <p:cNvSpPr>
              <a:spLocks noChangeArrowheads="1"/>
            </p:cNvSpPr>
            <p:nvPr/>
          </p:nvSpPr>
          <p:spPr bwMode="auto">
            <a:xfrm>
              <a:off x="9183356" y="1980883"/>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47" name="Freeform 725">
              <a:extLst>
                <a:ext uri="{FF2B5EF4-FFF2-40B4-BE49-F238E27FC236}">
                  <a16:creationId xmlns:a16="http://schemas.microsoft.com/office/drawing/2014/main" id="{C05249AF-45FE-4BA2-AF56-4185996CE2E1}"/>
                </a:ext>
              </a:extLst>
            </p:cNvPr>
            <p:cNvSpPr>
              <a:spLocks noChangeArrowheads="1"/>
            </p:cNvSpPr>
            <p:nvPr/>
          </p:nvSpPr>
          <p:spPr bwMode="auto">
            <a:xfrm>
              <a:off x="9183356" y="1980883"/>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48" name="Freeform 726">
              <a:extLst>
                <a:ext uri="{FF2B5EF4-FFF2-40B4-BE49-F238E27FC236}">
                  <a16:creationId xmlns:a16="http://schemas.microsoft.com/office/drawing/2014/main" id="{44DCC0BF-878E-4DE2-8CA2-3E6D0E7CF8C1}"/>
                </a:ext>
              </a:extLst>
            </p:cNvPr>
            <p:cNvSpPr>
              <a:spLocks noChangeArrowheads="1"/>
            </p:cNvSpPr>
            <p:nvPr/>
          </p:nvSpPr>
          <p:spPr bwMode="auto">
            <a:xfrm>
              <a:off x="10812571" y="3092670"/>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49" name="Freeform 727">
              <a:extLst>
                <a:ext uri="{FF2B5EF4-FFF2-40B4-BE49-F238E27FC236}">
                  <a16:creationId xmlns:a16="http://schemas.microsoft.com/office/drawing/2014/main" id="{4D714440-3235-41BD-8DDA-F956C5890A82}"/>
                </a:ext>
              </a:extLst>
            </p:cNvPr>
            <p:cNvSpPr>
              <a:spLocks noChangeArrowheads="1"/>
            </p:cNvSpPr>
            <p:nvPr/>
          </p:nvSpPr>
          <p:spPr bwMode="auto">
            <a:xfrm>
              <a:off x="10801155" y="3103997"/>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50" name="Freeform 728">
              <a:extLst>
                <a:ext uri="{FF2B5EF4-FFF2-40B4-BE49-F238E27FC236}">
                  <a16:creationId xmlns:a16="http://schemas.microsoft.com/office/drawing/2014/main" id="{0FAA4F48-C5F1-42CF-9D20-E7B6788D3AB4}"/>
                </a:ext>
              </a:extLst>
            </p:cNvPr>
            <p:cNvSpPr>
              <a:spLocks noChangeArrowheads="1"/>
            </p:cNvSpPr>
            <p:nvPr/>
          </p:nvSpPr>
          <p:spPr bwMode="auto">
            <a:xfrm>
              <a:off x="10801155" y="3103997"/>
              <a:ext cx="1631" cy="11329"/>
            </a:xfrm>
            <a:custGeom>
              <a:avLst/>
              <a:gdLst>
                <a:gd name="T0" fmla="*/ 0 w 1"/>
                <a:gd name="T1" fmla="*/ 30 h 31"/>
                <a:gd name="T2" fmla="*/ 0 w 1"/>
                <a:gd name="T3" fmla="*/ 30 h 31"/>
                <a:gd name="T4" fmla="*/ 0 w 1"/>
                <a:gd name="T5" fmla="*/ 30 h 31"/>
                <a:gd name="T6" fmla="*/ 0 w 1"/>
                <a:gd name="T7" fmla="*/ 0 h 31"/>
                <a:gd name="T8" fmla="*/ 0 w 1"/>
                <a:gd name="T9" fmla="*/ 30 h 31"/>
              </a:gdLst>
              <a:ahLst/>
              <a:cxnLst>
                <a:cxn ang="0">
                  <a:pos x="T0" y="T1"/>
                </a:cxn>
                <a:cxn ang="0">
                  <a:pos x="T2" y="T3"/>
                </a:cxn>
                <a:cxn ang="0">
                  <a:pos x="T4" y="T5"/>
                </a:cxn>
                <a:cxn ang="0">
                  <a:pos x="T6" y="T7"/>
                </a:cxn>
                <a:cxn ang="0">
                  <a:pos x="T8" y="T9"/>
                </a:cxn>
              </a:cxnLst>
              <a:rect l="0" t="0" r="r" b="b"/>
              <a:pathLst>
                <a:path w="1" h="31">
                  <a:moveTo>
                    <a:pt x="0" y="30"/>
                  </a:moveTo>
                  <a:lnTo>
                    <a:pt x="0" y="30"/>
                  </a:lnTo>
                  <a:lnTo>
                    <a:pt x="0" y="30"/>
                  </a:lnTo>
                  <a:lnTo>
                    <a:pt x="0" y="0"/>
                  </a:lnTo>
                  <a:lnTo>
                    <a:pt x="0" y="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51" name="Freeform 729">
              <a:extLst>
                <a:ext uri="{FF2B5EF4-FFF2-40B4-BE49-F238E27FC236}">
                  <a16:creationId xmlns:a16="http://schemas.microsoft.com/office/drawing/2014/main" id="{3076A57C-82EE-4426-9A68-11D8F3808CA7}"/>
                </a:ext>
              </a:extLst>
            </p:cNvPr>
            <p:cNvSpPr>
              <a:spLocks noChangeArrowheads="1"/>
            </p:cNvSpPr>
            <p:nvPr/>
          </p:nvSpPr>
          <p:spPr bwMode="auto">
            <a:xfrm>
              <a:off x="10801155" y="3103997"/>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52" name="Freeform 730">
              <a:extLst>
                <a:ext uri="{FF2B5EF4-FFF2-40B4-BE49-F238E27FC236}">
                  <a16:creationId xmlns:a16="http://schemas.microsoft.com/office/drawing/2014/main" id="{F9388922-8553-4F99-A7E1-5AC791202EB6}"/>
                </a:ext>
              </a:extLst>
            </p:cNvPr>
            <p:cNvSpPr>
              <a:spLocks noChangeArrowheads="1"/>
            </p:cNvSpPr>
            <p:nvPr/>
          </p:nvSpPr>
          <p:spPr bwMode="auto">
            <a:xfrm>
              <a:off x="10768538" y="3060303"/>
              <a:ext cx="32617" cy="22656"/>
            </a:xfrm>
            <a:custGeom>
              <a:avLst/>
              <a:gdLst>
                <a:gd name="T0" fmla="*/ 59 w 89"/>
                <a:gd name="T1" fmla="*/ 59 h 60"/>
                <a:gd name="T2" fmla="*/ 59 w 89"/>
                <a:gd name="T3" fmla="*/ 59 h 60"/>
                <a:gd name="T4" fmla="*/ 59 w 89"/>
                <a:gd name="T5" fmla="*/ 59 h 60"/>
                <a:gd name="T6" fmla="*/ 88 w 89"/>
                <a:gd name="T7" fmla="*/ 59 h 60"/>
                <a:gd name="T8" fmla="*/ 88 w 89"/>
                <a:gd name="T9" fmla="*/ 59 h 60"/>
                <a:gd name="T10" fmla="*/ 59 w 89"/>
                <a:gd name="T11" fmla="*/ 59 h 60"/>
                <a:gd name="T12" fmla="*/ 59 w 89"/>
                <a:gd name="T13" fmla="*/ 59 h 60"/>
                <a:gd name="T14" fmla="*/ 30 w 89"/>
                <a:gd name="T15" fmla="*/ 30 h 60"/>
                <a:gd name="T16" fmla="*/ 0 w 89"/>
                <a:gd name="T17" fmla="*/ 0 h 60"/>
                <a:gd name="T18" fmla="*/ 30 w 89"/>
                <a:gd name="T19" fmla="*/ 30 h 60"/>
                <a:gd name="T20" fmla="*/ 59 w 89"/>
                <a:gd name="T21" fmla="*/ 5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60">
                  <a:moveTo>
                    <a:pt x="59" y="59"/>
                  </a:moveTo>
                  <a:lnTo>
                    <a:pt x="59" y="59"/>
                  </a:lnTo>
                  <a:lnTo>
                    <a:pt x="59" y="59"/>
                  </a:lnTo>
                  <a:lnTo>
                    <a:pt x="88" y="59"/>
                  </a:lnTo>
                  <a:lnTo>
                    <a:pt x="88" y="59"/>
                  </a:lnTo>
                  <a:lnTo>
                    <a:pt x="59" y="59"/>
                  </a:lnTo>
                  <a:lnTo>
                    <a:pt x="59" y="59"/>
                  </a:lnTo>
                  <a:cubicBezTo>
                    <a:pt x="59" y="59"/>
                    <a:pt x="30" y="59"/>
                    <a:pt x="30" y="30"/>
                  </a:cubicBezTo>
                  <a:cubicBezTo>
                    <a:pt x="0" y="30"/>
                    <a:pt x="0" y="30"/>
                    <a:pt x="0" y="0"/>
                  </a:cubicBezTo>
                  <a:cubicBezTo>
                    <a:pt x="0" y="30"/>
                    <a:pt x="0" y="30"/>
                    <a:pt x="30" y="30"/>
                  </a:cubicBezTo>
                  <a:cubicBezTo>
                    <a:pt x="30" y="59"/>
                    <a:pt x="59" y="59"/>
                    <a:pt x="59"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53" name="Freeform 731">
              <a:extLst>
                <a:ext uri="{FF2B5EF4-FFF2-40B4-BE49-F238E27FC236}">
                  <a16:creationId xmlns:a16="http://schemas.microsoft.com/office/drawing/2014/main" id="{C0B71233-AFB1-43CB-A901-463F0553196C}"/>
                </a:ext>
              </a:extLst>
            </p:cNvPr>
            <p:cNvSpPr>
              <a:spLocks noChangeArrowheads="1"/>
            </p:cNvSpPr>
            <p:nvPr/>
          </p:nvSpPr>
          <p:spPr bwMode="auto">
            <a:xfrm>
              <a:off x="10758753" y="3050593"/>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54" name="Freeform 732">
              <a:extLst>
                <a:ext uri="{FF2B5EF4-FFF2-40B4-BE49-F238E27FC236}">
                  <a16:creationId xmlns:a16="http://schemas.microsoft.com/office/drawing/2014/main" id="{BE877FEB-BE4F-4037-BE36-4362EE9A0500}"/>
                </a:ext>
              </a:extLst>
            </p:cNvPr>
            <p:cNvSpPr>
              <a:spLocks noChangeArrowheads="1"/>
            </p:cNvSpPr>
            <p:nvPr/>
          </p:nvSpPr>
          <p:spPr bwMode="auto">
            <a:xfrm>
              <a:off x="10812571" y="2375753"/>
              <a:ext cx="259304" cy="236275"/>
            </a:xfrm>
            <a:custGeom>
              <a:avLst/>
              <a:gdLst>
                <a:gd name="T0" fmla="*/ 292 w 701"/>
                <a:gd name="T1" fmla="*/ 88 h 643"/>
                <a:gd name="T2" fmla="*/ 292 w 701"/>
                <a:gd name="T3" fmla="*/ 88 h 643"/>
                <a:gd name="T4" fmla="*/ 263 w 701"/>
                <a:gd name="T5" fmla="*/ 117 h 643"/>
                <a:gd name="T6" fmla="*/ 263 w 701"/>
                <a:gd name="T7" fmla="*/ 117 h 643"/>
                <a:gd name="T8" fmla="*/ 233 w 701"/>
                <a:gd name="T9" fmla="*/ 88 h 643"/>
                <a:gd name="T10" fmla="*/ 0 w 701"/>
                <a:gd name="T11" fmla="*/ 146 h 643"/>
                <a:gd name="T12" fmla="*/ 88 w 701"/>
                <a:gd name="T13" fmla="*/ 554 h 643"/>
                <a:gd name="T14" fmla="*/ 116 w 701"/>
                <a:gd name="T15" fmla="*/ 554 h 643"/>
                <a:gd name="T16" fmla="*/ 88 w 701"/>
                <a:gd name="T17" fmla="*/ 554 h 643"/>
                <a:gd name="T18" fmla="*/ 88 w 701"/>
                <a:gd name="T19" fmla="*/ 583 h 643"/>
                <a:gd name="T20" fmla="*/ 59 w 701"/>
                <a:gd name="T21" fmla="*/ 613 h 643"/>
                <a:gd name="T22" fmla="*/ 88 w 701"/>
                <a:gd name="T23" fmla="*/ 642 h 643"/>
                <a:gd name="T24" fmla="*/ 88 w 701"/>
                <a:gd name="T25" fmla="*/ 642 h 643"/>
                <a:gd name="T26" fmla="*/ 116 w 701"/>
                <a:gd name="T27" fmla="*/ 583 h 643"/>
                <a:gd name="T28" fmla="*/ 116 w 701"/>
                <a:gd name="T29" fmla="*/ 583 h 643"/>
                <a:gd name="T30" fmla="*/ 146 w 701"/>
                <a:gd name="T31" fmla="*/ 583 h 643"/>
                <a:gd name="T32" fmla="*/ 292 w 701"/>
                <a:gd name="T33" fmla="*/ 467 h 643"/>
                <a:gd name="T34" fmla="*/ 292 w 701"/>
                <a:gd name="T35" fmla="*/ 438 h 643"/>
                <a:gd name="T36" fmla="*/ 292 w 701"/>
                <a:gd name="T37" fmla="*/ 438 h 643"/>
                <a:gd name="T38" fmla="*/ 409 w 701"/>
                <a:gd name="T39" fmla="*/ 409 h 643"/>
                <a:gd name="T40" fmla="*/ 496 w 701"/>
                <a:gd name="T41" fmla="*/ 409 h 643"/>
                <a:gd name="T42" fmla="*/ 496 w 701"/>
                <a:gd name="T43" fmla="*/ 409 h 643"/>
                <a:gd name="T44" fmla="*/ 496 w 701"/>
                <a:gd name="T45" fmla="*/ 380 h 643"/>
                <a:gd name="T46" fmla="*/ 525 w 701"/>
                <a:gd name="T47" fmla="*/ 350 h 643"/>
                <a:gd name="T48" fmla="*/ 525 w 701"/>
                <a:gd name="T49" fmla="*/ 350 h 643"/>
                <a:gd name="T50" fmla="*/ 554 w 701"/>
                <a:gd name="T51" fmla="*/ 380 h 643"/>
                <a:gd name="T52" fmla="*/ 554 w 701"/>
                <a:gd name="T53" fmla="*/ 380 h 643"/>
                <a:gd name="T54" fmla="*/ 642 w 701"/>
                <a:gd name="T55" fmla="*/ 321 h 643"/>
                <a:gd name="T56" fmla="*/ 700 w 701"/>
                <a:gd name="T57" fmla="*/ 321 h 643"/>
                <a:gd name="T58" fmla="*/ 613 w 701"/>
                <a:gd name="T59" fmla="*/ 0 h 643"/>
                <a:gd name="T60" fmla="*/ 292 w 701"/>
                <a:gd name="T61" fmla="*/ 88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01" h="643">
                  <a:moveTo>
                    <a:pt x="292" y="88"/>
                  </a:moveTo>
                  <a:lnTo>
                    <a:pt x="292" y="88"/>
                  </a:lnTo>
                  <a:cubicBezTo>
                    <a:pt x="292" y="88"/>
                    <a:pt x="292" y="117"/>
                    <a:pt x="263" y="117"/>
                  </a:cubicBezTo>
                  <a:lnTo>
                    <a:pt x="263" y="117"/>
                  </a:lnTo>
                  <a:cubicBezTo>
                    <a:pt x="233" y="117"/>
                    <a:pt x="233" y="117"/>
                    <a:pt x="233" y="88"/>
                  </a:cubicBezTo>
                  <a:cubicBezTo>
                    <a:pt x="146" y="117"/>
                    <a:pt x="88" y="117"/>
                    <a:pt x="0" y="146"/>
                  </a:cubicBezTo>
                  <a:cubicBezTo>
                    <a:pt x="30" y="292"/>
                    <a:pt x="59" y="438"/>
                    <a:pt x="88" y="554"/>
                  </a:cubicBezTo>
                  <a:cubicBezTo>
                    <a:pt x="116" y="554"/>
                    <a:pt x="116" y="554"/>
                    <a:pt x="116" y="554"/>
                  </a:cubicBezTo>
                  <a:cubicBezTo>
                    <a:pt x="88" y="554"/>
                    <a:pt x="88" y="554"/>
                    <a:pt x="88" y="554"/>
                  </a:cubicBezTo>
                  <a:cubicBezTo>
                    <a:pt x="88" y="583"/>
                    <a:pt x="88" y="583"/>
                    <a:pt x="88" y="583"/>
                  </a:cubicBezTo>
                  <a:cubicBezTo>
                    <a:pt x="59" y="613"/>
                    <a:pt x="59" y="613"/>
                    <a:pt x="59" y="613"/>
                  </a:cubicBezTo>
                  <a:cubicBezTo>
                    <a:pt x="59" y="613"/>
                    <a:pt x="88" y="613"/>
                    <a:pt x="88" y="642"/>
                  </a:cubicBezTo>
                  <a:lnTo>
                    <a:pt x="88" y="642"/>
                  </a:lnTo>
                  <a:cubicBezTo>
                    <a:pt x="116" y="613"/>
                    <a:pt x="116" y="613"/>
                    <a:pt x="116" y="583"/>
                  </a:cubicBezTo>
                  <a:lnTo>
                    <a:pt x="116" y="583"/>
                  </a:lnTo>
                  <a:cubicBezTo>
                    <a:pt x="146" y="583"/>
                    <a:pt x="146" y="583"/>
                    <a:pt x="146" y="583"/>
                  </a:cubicBezTo>
                  <a:cubicBezTo>
                    <a:pt x="204" y="554"/>
                    <a:pt x="263" y="525"/>
                    <a:pt x="292" y="467"/>
                  </a:cubicBezTo>
                  <a:cubicBezTo>
                    <a:pt x="292" y="438"/>
                    <a:pt x="292" y="438"/>
                    <a:pt x="292" y="438"/>
                  </a:cubicBezTo>
                  <a:lnTo>
                    <a:pt x="292" y="438"/>
                  </a:lnTo>
                  <a:cubicBezTo>
                    <a:pt x="321" y="438"/>
                    <a:pt x="380" y="438"/>
                    <a:pt x="409" y="409"/>
                  </a:cubicBezTo>
                  <a:cubicBezTo>
                    <a:pt x="437" y="409"/>
                    <a:pt x="466" y="409"/>
                    <a:pt x="496" y="409"/>
                  </a:cubicBezTo>
                  <a:lnTo>
                    <a:pt x="496" y="409"/>
                  </a:lnTo>
                  <a:cubicBezTo>
                    <a:pt x="496" y="380"/>
                    <a:pt x="496" y="380"/>
                    <a:pt x="496" y="380"/>
                  </a:cubicBezTo>
                  <a:cubicBezTo>
                    <a:pt x="525" y="350"/>
                    <a:pt x="525" y="350"/>
                    <a:pt x="525" y="350"/>
                  </a:cubicBezTo>
                  <a:lnTo>
                    <a:pt x="525" y="350"/>
                  </a:lnTo>
                  <a:cubicBezTo>
                    <a:pt x="525" y="380"/>
                    <a:pt x="554" y="380"/>
                    <a:pt x="554" y="380"/>
                  </a:cubicBezTo>
                  <a:lnTo>
                    <a:pt x="554" y="380"/>
                  </a:lnTo>
                  <a:cubicBezTo>
                    <a:pt x="583" y="350"/>
                    <a:pt x="613" y="350"/>
                    <a:pt x="642" y="321"/>
                  </a:cubicBezTo>
                  <a:cubicBezTo>
                    <a:pt x="671" y="321"/>
                    <a:pt x="671" y="321"/>
                    <a:pt x="700" y="321"/>
                  </a:cubicBezTo>
                  <a:cubicBezTo>
                    <a:pt x="700" y="204"/>
                    <a:pt x="642" y="88"/>
                    <a:pt x="613" y="0"/>
                  </a:cubicBezTo>
                  <a:cubicBezTo>
                    <a:pt x="525" y="30"/>
                    <a:pt x="409" y="59"/>
                    <a:pt x="292"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55" name="Freeform 733">
              <a:extLst>
                <a:ext uri="{FF2B5EF4-FFF2-40B4-BE49-F238E27FC236}">
                  <a16:creationId xmlns:a16="http://schemas.microsoft.com/office/drawing/2014/main" id="{180C10F9-5CA2-49D7-AAEB-82E807BBBD59}"/>
                </a:ext>
              </a:extLst>
            </p:cNvPr>
            <p:cNvSpPr>
              <a:spLocks noChangeArrowheads="1"/>
            </p:cNvSpPr>
            <p:nvPr/>
          </p:nvSpPr>
          <p:spPr bwMode="auto">
            <a:xfrm>
              <a:off x="9744367" y="2665433"/>
              <a:ext cx="32617" cy="11328"/>
            </a:xfrm>
            <a:custGeom>
              <a:avLst/>
              <a:gdLst>
                <a:gd name="T0" fmla="*/ 87 w 88"/>
                <a:gd name="T1" fmla="*/ 0 h 29"/>
                <a:gd name="T2" fmla="*/ 87 w 88"/>
                <a:gd name="T3" fmla="*/ 0 h 29"/>
                <a:gd name="T4" fmla="*/ 29 w 88"/>
                <a:gd name="T5" fmla="*/ 28 h 29"/>
                <a:gd name="T6" fmla="*/ 0 w 88"/>
                <a:gd name="T7" fmla="*/ 28 h 29"/>
                <a:gd name="T8" fmla="*/ 29 w 88"/>
                <a:gd name="T9" fmla="*/ 28 h 29"/>
                <a:gd name="T10" fmla="*/ 87 w 88"/>
                <a:gd name="T11" fmla="*/ 0 h 29"/>
              </a:gdLst>
              <a:ahLst/>
              <a:cxnLst>
                <a:cxn ang="0">
                  <a:pos x="T0" y="T1"/>
                </a:cxn>
                <a:cxn ang="0">
                  <a:pos x="T2" y="T3"/>
                </a:cxn>
                <a:cxn ang="0">
                  <a:pos x="T4" y="T5"/>
                </a:cxn>
                <a:cxn ang="0">
                  <a:pos x="T6" y="T7"/>
                </a:cxn>
                <a:cxn ang="0">
                  <a:pos x="T8" y="T9"/>
                </a:cxn>
                <a:cxn ang="0">
                  <a:pos x="T10" y="T11"/>
                </a:cxn>
              </a:cxnLst>
              <a:rect l="0" t="0" r="r" b="b"/>
              <a:pathLst>
                <a:path w="88" h="29">
                  <a:moveTo>
                    <a:pt x="87" y="0"/>
                  </a:moveTo>
                  <a:lnTo>
                    <a:pt x="87" y="0"/>
                  </a:lnTo>
                  <a:cubicBezTo>
                    <a:pt x="58" y="0"/>
                    <a:pt x="58" y="28"/>
                    <a:pt x="29" y="28"/>
                  </a:cubicBezTo>
                  <a:lnTo>
                    <a:pt x="0" y="28"/>
                  </a:lnTo>
                  <a:lnTo>
                    <a:pt x="29" y="28"/>
                  </a:lnTo>
                  <a:cubicBezTo>
                    <a:pt x="58" y="28"/>
                    <a:pt x="58" y="0"/>
                    <a:pt x="8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56" name="Freeform 734">
              <a:extLst>
                <a:ext uri="{FF2B5EF4-FFF2-40B4-BE49-F238E27FC236}">
                  <a16:creationId xmlns:a16="http://schemas.microsoft.com/office/drawing/2014/main" id="{D47307AF-735F-4962-8971-CD656DEBE861}"/>
                </a:ext>
              </a:extLst>
            </p:cNvPr>
            <p:cNvSpPr>
              <a:spLocks noChangeArrowheads="1"/>
            </p:cNvSpPr>
            <p:nvPr/>
          </p:nvSpPr>
          <p:spPr bwMode="auto">
            <a:xfrm>
              <a:off x="9701965" y="2675143"/>
              <a:ext cx="44033" cy="32366"/>
            </a:xfrm>
            <a:custGeom>
              <a:avLst/>
              <a:gdLst>
                <a:gd name="T0" fmla="*/ 116 w 117"/>
                <a:gd name="T1" fmla="*/ 0 h 89"/>
                <a:gd name="T2" fmla="*/ 116 w 117"/>
                <a:gd name="T3" fmla="*/ 0 h 89"/>
                <a:gd name="T4" fmla="*/ 57 w 117"/>
                <a:gd name="T5" fmla="*/ 59 h 89"/>
                <a:gd name="T6" fmla="*/ 0 w 117"/>
                <a:gd name="T7" fmla="*/ 88 h 89"/>
                <a:gd name="T8" fmla="*/ 57 w 117"/>
                <a:gd name="T9" fmla="*/ 59 h 89"/>
                <a:gd name="T10" fmla="*/ 116 w 117"/>
                <a:gd name="T11" fmla="*/ 0 h 89"/>
              </a:gdLst>
              <a:ahLst/>
              <a:cxnLst>
                <a:cxn ang="0">
                  <a:pos x="T0" y="T1"/>
                </a:cxn>
                <a:cxn ang="0">
                  <a:pos x="T2" y="T3"/>
                </a:cxn>
                <a:cxn ang="0">
                  <a:pos x="T4" y="T5"/>
                </a:cxn>
                <a:cxn ang="0">
                  <a:pos x="T6" y="T7"/>
                </a:cxn>
                <a:cxn ang="0">
                  <a:pos x="T8" y="T9"/>
                </a:cxn>
                <a:cxn ang="0">
                  <a:pos x="T10" y="T11"/>
                </a:cxn>
              </a:cxnLst>
              <a:rect l="0" t="0" r="r" b="b"/>
              <a:pathLst>
                <a:path w="117" h="89">
                  <a:moveTo>
                    <a:pt x="116" y="0"/>
                  </a:moveTo>
                  <a:lnTo>
                    <a:pt x="116" y="0"/>
                  </a:lnTo>
                  <a:cubicBezTo>
                    <a:pt x="86" y="30"/>
                    <a:pt x="57" y="30"/>
                    <a:pt x="57" y="59"/>
                  </a:cubicBezTo>
                  <a:cubicBezTo>
                    <a:pt x="28" y="59"/>
                    <a:pt x="28" y="88"/>
                    <a:pt x="0" y="88"/>
                  </a:cubicBezTo>
                  <a:cubicBezTo>
                    <a:pt x="28" y="88"/>
                    <a:pt x="28" y="59"/>
                    <a:pt x="57" y="59"/>
                  </a:cubicBezTo>
                  <a:cubicBezTo>
                    <a:pt x="57" y="30"/>
                    <a:pt x="86" y="30"/>
                    <a:pt x="11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57" name="Freeform 735">
              <a:extLst>
                <a:ext uri="{FF2B5EF4-FFF2-40B4-BE49-F238E27FC236}">
                  <a16:creationId xmlns:a16="http://schemas.microsoft.com/office/drawing/2014/main" id="{525A5663-8D16-4AC8-8FA0-4310B3E8D492}"/>
                </a:ext>
              </a:extLst>
            </p:cNvPr>
            <p:cNvSpPr>
              <a:spLocks noChangeArrowheads="1"/>
            </p:cNvSpPr>
            <p:nvPr/>
          </p:nvSpPr>
          <p:spPr bwMode="auto">
            <a:xfrm>
              <a:off x="10812571" y="3092670"/>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58" name="Freeform 736">
              <a:extLst>
                <a:ext uri="{FF2B5EF4-FFF2-40B4-BE49-F238E27FC236}">
                  <a16:creationId xmlns:a16="http://schemas.microsoft.com/office/drawing/2014/main" id="{2A9DD6A6-4E12-4E0C-A250-622353622BE0}"/>
                </a:ext>
              </a:extLst>
            </p:cNvPr>
            <p:cNvSpPr>
              <a:spLocks noChangeArrowheads="1"/>
            </p:cNvSpPr>
            <p:nvPr/>
          </p:nvSpPr>
          <p:spPr bwMode="auto">
            <a:xfrm>
              <a:off x="10812571" y="2783570"/>
              <a:ext cx="1630" cy="21039"/>
            </a:xfrm>
            <a:custGeom>
              <a:avLst/>
              <a:gdLst>
                <a:gd name="T0" fmla="*/ 0 w 1"/>
                <a:gd name="T1" fmla="*/ 29 h 58"/>
                <a:gd name="T2" fmla="*/ 0 w 1"/>
                <a:gd name="T3" fmla="*/ 29 h 58"/>
                <a:gd name="T4" fmla="*/ 0 w 1"/>
                <a:gd name="T5" fmla="*/ 57 h 58"/>
                <a:gd name="T6" fmla="*/ 0 w 1"/>
                <a:gd name="T7" fmla="*/ 29 h 58"/>
                <a:gd name="T8" fmla="*/ 0 w 1"/>
                <a:gd name="T9" fmla="*/ 0 h 58"/>
                <a:gd name="T10" fmla="*/ 0 w 1"/>
                <a:gd name="T11" fmla="*/ 0 h 58"/>
                <a:gd name="T12" fmla="*/ 0 w 1"/>
                <a:gd name="T13" fmla="*/ 29 h 58"/>
              </a:gdLst>
              <a:ahLst/>
              <a:cxnLst>
                <a:cxn ang="0">
                  <a:pos x="T0" y="T1"/>
                </a:cxn>
                <a:cxn ang="0">
                  <a:pos x="T2" y="T3"/>
                </a:cxn>
                <a:cxn ang="0">
                  <a:pos x="T4" y="T5"/>
                </a:cxn>
                <a:cxn ang="0">
                  <a:pos x="T6" y="T7"/>
                </a:cxn>
                <a:cxn ang="0">
                  <a:pos x="T8" y="T9"/>
                </a:cxn>
                <a:cxn ang="0">
                  <a:pos x="T10" y="T11"/>
                </a:cxn>
                <a:cxn ang="0">
                  <a:pos x="T12" y="T13"/>
                </a:cxn>
              </a:cxnLst>
              <a:rect l="0" t="0" r="r" b="b"/>
              <a:pathLst>
                <a:path w="1" h="58">
                  <a:moveTo>
                    <a:pt x="0" y="29"/>
                  </a:moveTo>
                  <a:lnTo>
                    <a:pt x="0" y="29"/>
                  </a:lnTo>
                  <a:cubicBezTo>
                    <a:pt x="0" y="29"/>
                    <a:pt x="0" y="29"/>
                    <a:pt x="0" y="57"/>
                  </a:cubicBezTo>
                  <a:cubicBezTo>
                    <a:pt x="0" y="29"/>
                    <a:pt x="0" y="29"/>
                    <a:pt x="0" y="29"/>
                  </a:cubicBezTo>
                  <a:cubicBezTo>
                    <a:pt x="0" y="0"/>
                    <a:pt x="0" y="0"/>
                    <a:pt x="0" y="0"/>
                  </a:cubicBez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59" name="Freeform 737">
              <a:extLst>
                <a:ext uri="{FF2B5EF4-FFF2-40B4-BE49-F238E27FC236}">
                  <a16:creationId xmlns:a16="http://schemas.microsoft.com/office/drawing/2014/main" id="{3C703C19-74A8-447E-92E7-D3A0FD515AD6}"/>
                </a:ext>
              </a:extLst>
            </p:cNvPr>
            <p:cNvSpPr>
              <a:spLocks noChangeArrowheads="1"/>
            </p:cNvSpPr>
            <p:nvPr/>
          </p:nvSpPr>
          <p:spPr bwMode="auto">
            <a:xfrm>
              <a:off x="11039258" y="2505219"/>
              <a:ext cx="32617" cy="11329"/>
            </a:xfrm>
            <a:custGeom>
              <a:avLst/>
              <a:gdLst>
                <a:gd name="T0" fmla="*/ 29 w 88"/>
                <a:gd name="T1" fmla="*/ 30 h 31"/>
                <a:gd name="T2" fmla="*/ 29 w 88"/>
                <a:gd name="T3" fmla="*/ 30 h 31"/>
                <a:gd name="T4" fmla="*/ 0 w 88"/>
                <a:gd name="T5" fmla="*/ 30 h 31"/>
                <a:gd name="T6" fmla="*/ 29 w 88"/>
                <a:gd name="T7" fmla="*/ 30 h 31"/>
                <a:gd name="T8" fmla="*/ 87 w 88"/>
                <a:gd name="T9" fmla="*/ 0 h 31"/>
                <a:gd name="T10" fmla="*/ 29 w 88"/>
                <a:gd name="T11" fmla="*/ 30 h 31"/>
              </a:gdLst>
              <a:ahLst/>
              <a:cxnLst>
                <a:cxn ang="0">
                  <a:pos x="T0" y="T1"/>
                </a:cxn>
                <a:cxn ang="0">
                  <a:pos x="T2" y="T3"/>
                </a:cxn>
                <a:cxn ang="0">
                  <a:pos x="T4" y="T5"/>
                </a:cxn>
                <a:cxn ang="0">
                  <a:pos x="T6" y="T7"/>
                </a:cxn>
                <a:cxn ang="0">
                  <a:pos x="T8" y="T9"/>
                </a:cxn>
                <a:cxn ang="0">
                  <a:pos x="T10" y="T11"/>
                </a:cxn>
              </a:cxnLst>
              <a:rect l="0" t="0" r="r" b="b"/>
              <a:pathLst>
                <a:path w="88" h="31">
                  <a:moveTo>
                    <a:pt x="29" y="30"/>
                  </a:moveTo>
                  <a:lnTo>
                    <a:pt x="29" y="30"/>
                  </a:lnTo>
                  <a:cubicBezTo>
                    <a:pt x="29" y="30"/>
                    <a:pt x="29" y="30"/>
                    <a:pt x="0" y="30"/>
                  </a:cubicBezTo>
                  <a:cubicBezTo>
                    <a:pt x="29" y="30"/>
                    <a:pt x="29" y="30"/>
                    <a:pt x="29" y="30"/>
                  </a:cubicBezTo>
                  <a:cubicBezTo>
                    <a:pt x="58" y="30"/>
                    <a:pt x="58" y="0"/>
                    <a:pt x="87" y="0"/>
                  </a:cubicBezTo>
                  <a:cubicBezTo>
                    <a:pt x="58" y="0"/>
                    <a:pt x="58" y="30"/>
                    <a:pt x="29"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60" name="Freeform 738">
              <a:extLst>
                <a:ext uri="{FF2B5EF4-FFF2-40B4-BE49-F238E27FC236}">
                  <a16:creationId xmlns:a16="http://schemas.microsoft.com/office/drawing/2014/main" id="{3E8C7B53-C420-4F4C-89E1-6BEED7E74991}"/>
                </a:ext>
              </a:extLst>
            </p:cNvPr>
            <p:cNvSpPr>
              <a:spLocks noChangeArrowheads="1"/>
            </p:cNvSpPr>
            <p:nvPr/>
          </p:nvSpPr>
          <p:spPr bwMode="auto">
            <a:xfrm>
              <a:off x="9496478" y="2280273"/>
              <a:ext cx="11416" cy="11328"/>
            </a:xfrm>
            <a:custGeom>
              <a:avLst/>
              <a:gdLst>
                <a:gd name="T0" fmla="*/ 0 w 30"/>
                <a:gd name="T1" fmla="*/ 0 h 30"/>
                <a:gd name="T2" fmla="*/ 0 w 30"/>
                <a:gd name="T3" fmla="*/ 0 h 30"/>
                <a:gd name="T4" fmla="*/ 29 w 30"/>
                <a:gd name="T5" fmla="*/ 29 h 30"/>
                <a:gd name="T6" fmla="*/ 0 w 30"/>
                <a:gd name="T7" fmla="*/ 0 h 30"/>
              </a:gdLst>
              <a:ahLst/>
              <a:cxnLst>
                <a:cxn ang="0">
                  <a:pos x="T0" y="T1"/>
                </a:cxn>
                <a:cxn ang="0">
                  <a:pos x="T2" y="T3"/>
                </a:cxn>
                <a:cxn ang="0">
                  <a:pos x="T4" y="T5"/>
                </a:cxn>
                <a:cxn ang="0">
                  <a:pos x="T6" y="T7"/>
                </a:cxn>
              </a:cxnLst>
              <a:rect l="0" t="0" r="r" b="b"/>
              <a:pathLst>
                <a:path w="30" h="30">
                  <a:moveTo>
                    <a:pt x="0" y="0"/>
                  </a:moveTo>
                  <a:lnTo>
                    <a:pt x="0" y="0"/>
                  </a:lnTo>
                  <a:cubicBezTo>
                    <a:pt x="0" y="0"/>
                    <a:pt x="29" y="0"/>
                    <a:pt x="29" y="29"/>
                  </a:cubicBezTo>
                  <a:cubicBezTo>
                    <a:pt x="29"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61" name="Freeform 739">
              <a:extLst>
                <a:ext uri="{FF2B5EF4-FFF2-40B4-BE49-F238E27FC236}">
                  <a16:creationId xmlns:a16="http://schemas.microsoft.com/office/drawing/2014/main" id="{C990613E-189C-49E0-B004-F3F9C4CA560F}"/>
                </a:ext>
              </a:extLst>
            </p:cNvPr>
            <p:cNvSpPr>
              <a:spLocks noChangeArrowheads="1"/>
            </p:cNvSpPr>
            <p:nvPr/>
          </p:nvSpPr>
          <p:spPr bwMode="auto">
            <a:xfrm>
              <a:off x="4266358" y="1445220"/>
              <a:ext cx="1630" cy="11328"/>
            </a:xfrm>
            <a:custGeom>
              <a:avLst/>
              <a:gdLst>
                <a:gd name="T0" fmla="*/ 0 w 1"/>
                <a:gd name="T1" fmla="*/ 29 h 30"/>
                <a:gd name="T2" fmla="*/ 0 w 1"/>
                <a:gd name="T3" fmla="*/ 29 h 30"/>
                <a:gd name="T4" fmla="*/ 0 w 1"/>
                <a:gd name="T5" fmla="*/ 29 h 30"/>
                <a:gd name="T6" fmla="*/ 0 w 1"/>
                <a:gd name="T7" fmla="*/ 0 h 30"/>
                <a:gd name="T8" fmla="*/ 0 w 1"/>
                <a:gd name="T9" fmla="*/ 29 h 30"/>
              </a:gdLst>
              <a:ahLst/>
              <a:cxnLst>
                <a:cxn ang="0">
                  <a:pos x="T0" y="T1"/>
                </a:cxn>
                <a:cxn ang="0">
                  <a:pos x="T2" y="T3"/>
                </a:cxn>
                <a:cxn ang="0">
                  <a:pos x="T4" y="T5"/>
                </a:cxn>
                <a:cxn ang="0">
                  <a:pos x="T6" y="T7"/>
                </a:cxn>
                <a:cxn ang="0">
                  <a:pos x="T8" y="T9"/>
                </a:cxn>
              </a:cxnLst>
              <a:rect l="0" t="0" r="r" b="b"/>
              <a:pathLst>
                <a:path w="1" h="30">
                  <a:moveTo>
                    <a:pt x="0" y="29"/>
                  </a:moveTo>
                  <a:lnTo>
                    <a:pt x="0" y="29"/>
                  </a:lnTo>
                  <a:lnTo>
                    <a:pt x="0" y="29"/>
                  </a:lnTo>
                  <a:cubicBezTo>
                    <a:pt x="0" y="29"/>
                    <a:pt x="0" y="29"/>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62" name="Freeform 740">
              <a:extLst>
                <a:ext uri="{FF2B5EF4-FFF2-40B4-BE49-F238E27FC236}">
                  <a16:creationId xmlns:a16="http://schemas.microsoft.com/office/drawing/2014/main" id="{EDFAA1C2-20E3-4B81-AF76-C42074A7C1E4}"/>
                </a:ext>
              </a:extLst>
            </p:cNvPr>
            <p:cNvSpPr>
              <a:spLocks noChangeArrowheads="1"/>
            </p:cNvSpPr>
            <p:nvPr/>
          </p:nvSpPr>
          <p:spPr bwMode="auto">
            <a:xfrm>
              <a:off x="4266358" y="1433891"/>
              <a:ext cx="1630" cy="22656"/>
            </a:xfrm>
            <a:custGeom>
              <a:avLst/>
              <a:gdLst>
                <a:gd name="T0" fmla="*/ 0 w 1"/>
                <a:gd name="T1" fmla="*/ 0 h 60"/>
                <a:gd name="T2" fmla="*/ 0 w 1"/>
                <a:gd name="T3" fmla="*/ 0 h 60"/>
                <a:gd name="T4" fmla="*/ 0 w 1"/>
                <a:gd name="T5" fmla="*/ 59 h 60"/>
                <a:gd name="T6" fmla="*/ 0 w 1"/>
                <a:gd name="T7" fmla="*/ 0 h 60"/>
              </a:gdLst>
              <a:ahLst/>
              <a:cxnLst>
                <a:cxn ang="0">
                  <a:pos x="T0" y="T1"/>
                </a:cxn>
                <a:cxn ang="0">
                  <a:pos x="T2" y="T3"/>
                </a:cxn>
                <a:cxn ang="0">
                  <a:pos x="T4" y="T5"/>
                </a:cxn>
                <a:cxn ang="0">
                  <a:pos x="T6" y="T7"/>
                </a:cxn>
              </a:cxnLst>
              <a:rect l="0" t="0" r="r" b="b"/>
              <a:pathLst>
                <a:path w="1" h="60">
                  <a:moveTo>
                    <a:pt x="0" y="0"/>
                  </a:moveTo>
                  <a:lnTo>
                    <a:pt x="0" y="0"/>
                  </a:lnTo>
                  <a:cubicBezTo>
                    <a:pt x="0" y="30"/>
                    <a:pt x="0" y="30"/>
                    <a:pt x="0" y="59"/>
                  </a:cubicBezTo>
                  <a:cubicBezTo>
                    <a:pt x="0" y="30"/>
                    <a:pt x="0" y="3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63" name="Freeform 741">
              <a:extLst>
                <a:ext uri="{FF2B5EF4-FFF2-40B4-BE49-F238E27FC236}">
                  <a16:creationId xmlns:a16="http://schemas.microsoft.com/office/drawing/2014/main" id="{14889533-4FA6-475F-8C98-36167BC6F084}"/>
                </a:ext>
              </a:extLst>
            </p:cNvPr>
            <p:cNvSpPr>
              <a:spLocks noChangeArrowheads="1"/>
            </p:cNvSpPr>
            <p:nvPr/>
          </p:nvSpPr>
          <p:spPr bwMode="auto">
            <a:xfrm>
              <a:off x="4179922" y="1285006"/>
              <a:ext cx="1631" cy="11329"/>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64" name="Freeform 742">
              <a:extLst>
                <a:ext uri="{FF2B5EF4-FFF2-40B4-BE49-F238E27FC236}">
                  <a16:creationId xmlns:a16="http://schemas.microsoft.com/office/drawing/2014/main" id="{47AB04A9-0158-4A29-9293-69E97875511C}"/>
                </a:ext>
              </a:extLst>
            </p:cNvPr>
            <p:cNvSpPr>
              <a:spLocks noChangeArrowheads="1"/>
            </p:cNvSpPr>
            <p:nvPr/>
          </p:nvSpPr>
          <p:spPr bwMode="auto">
            <a:xfrm>
              <a:off x="4404979" y="1145830"/>
              <a:ext cx="11416" cy="32366"/>
            </a:xfrm>
            <a:custGeom>
              <a:avLst/>
              <a:gdLst>
                <a:gd name="T0" fmla="*/ 0 w 30"/>
                <a:gd name="T1" fmla="*/ 86 h 87"/>
                <a:gd name="T2" fmla="*/ 0 w 30"/>
                <a:gd name="T3" fmla="*/ 86 h 87"/>
                <a:gd name="T4" fmla="*/ 29 w 30"/>
                <a:gd name="T5" fmla="*/ 57 h 87"/>
                <a:gd name="T6" fmla="*/ 29 w 30"/>
                <a:gd name="T7" fmla="*/ 57 h 87"/>
                <a:gd name="T8" fmla="*/ 29 w 30"/>
                <a:gd name="T9" fmla="*/ 28 h 87"/>
                <a:gd name="T10" fmla="*/ 29 w 30"/>
                <a:gd name="T11" fmla="*/ 0 h 87"/>
                <a:gd name="T12" fmla="*/ 0 w 30"/>
                <a:gd name="T13" fmla="*/ 57 h 87"/>
                <a:gd name="T14" fmla="*/ 0 w 30"/>
                <a:gd name="T15" fmla="*/ 86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87">
                  <a:moveTo>
                    <a:pt x="0" y="86"/>
                  </a:moveTo>
                  <a:lnTo>
                    <a:pt x="0" y="86"/>
                  </a:lnTo>
                  <a:cubicBezTo>
                    <a:pt x="0" y="57"/>
                    <a:pt x="0" y="57"/>
                    <a:pt x="29" y="57"/>
                  </a:cubicBezTo>
                  <a:lnTo>
                    <a:pt x="29" y="57"/>
                  </a:lnTo>
                  <a:lnTo>
                    <a:pt x="29" y="28"/>
                  </a:lnTo>
                  <a:lnTo>
                    <a:pt x="29" y="0"/>
                  </a:lnTo>
                  <a:cubicBezTo>
                    <a:pt x="0" y="28"/>
                    <a:pt x="0" y="28"/>
                    <a:pt x="0" y="57"/>
                  </a:cubicBezTo>
                  <a:cubicBezTo>
                    <a:pt x="0" y="57"/>
                    <a:pt x="0" y="57"/>
                    <a:pt x="0" y="8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65" name="Freeform 743">
              <a:extLst>
                <a:ext uri="{FF2B5EF4-FFF2-40B4-BE49-F238E27FC236}">
                  <a16:creationId xmlns:a16="http://schemas.microsoft.com/office/drawing/2014/main" id="{A05025BA-8EB2-4557-A46F-01204E34BA43}"/>
                </a:ext>
              </a:extLst>
            </p:cNvPr>
            <p:cNvSpPr>
              <a:spLocks noChangeArrowheads="1"/>
            </p:cNvSpPr>
            <p:nvPr/>
          </p:nvSpPr>
          <p:spPr bwMode="auto">
            <a:xfrm>
              <a:off x="4404979" y="1231602"/>
              <a:ext cx="21202" cy="1618"/>
            </a:xfrm>
            <a:custGeom>
              <a:avLst/>
              <a:gdLst>
                <a:gd name="T0" fmla="*/ 58 w 59"/>
                <a:gd name="T1" fmla="*/ 0 h 1"/>
                <a:gd name="T2" fmla="*/ 58 w 59"/>
                <a:gd name="T3" fmla="*/ 0 h 1"/>
                <a:gd name="T4" fmla="*/ 0 w 59"/>
                <a:gd name="T5" fmla="*/ 0 h 1"/>
                <a:gd name="T6" fmla="*/ 0 w 59"/>
                <a:gd name="T7" fmla="*/ 0 h 1"/>
                <a:gd name="T8" fmla="*/ 0 w 59"/>
                <a:gd name="T9" fmla="*/ 0 h 1"/>
                <a:gd name="T10" fmla="*/ 0 w 59"/>
                <a:gd name="T11" fmla="*/ 0 h 1"/>
                <a:gd name="T12" fmla="*/ 58 w 59"/>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59" h="1">
                  <a:moveTo>
                    <a:pt x="58" y="0"/>
                  </a:moveTo>
                  <a:lnTo>
                    <a:pt x="58" y="0"/>
                  </a:lnTo>
                  <a:cubicBezTo>
                    <a:pt x="29" y="0"/>
                    <a:pt x="29" y="0"/>
                    <a:pt x="0" y="0"/>
                  </a:cubicBezTo>
                  <a:lnTo>
                    <a:pt x="0" y="0"/>
                  </a:lnTo>
                  <a:lnTo>
                    <a:pt x="0" y="0"/>
                  </a:lnTo>
                  <a:lnTo>
                    <a:pt x="0" y="0"/>
                  </a:lnTo>
                  <a:cubicBezTo>
                    <a:pt x="29" y="0"/>
                    <a:pt x="29" y="0"/>
                    <a:pt x="5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66" name="Freeform 744">
              <a:extLst>
                <a:ext uri="{FF2B5EF4-FFF2-40B4-BE49-F238E27FC236}">
                  <a16:creationId xmlns:a16="http://schemas.microsoft.com/office/drawing/2014/main" id="{8553A79E-5112-4E47-AB9E-C7A323ACB904}"/>
                </a:ext>
              </a:extLst>
            </p:cNvPr>
            <p:cNvSpPr>
              <a:spLocks noChangeArrowheads="1"/>
            </p:cNvSpPr>
            <p:nvPr/>
          </p:nvSpPr>
          <p:spPr bwMode="auto">
            <a:xfrm>
              <a:off x="4168507" y="1242929"/>
              <a:ext cx="11415" cy="1619"/>
            </a:xfrm>
            <a:custGeom>
              <a:avLst/>
              <a:gdLst>
                <a:gd name="T0" fmla="*/ 0 w 31"/>
                <a:gd name="T1" fmla="*/ 0 h 1"/>
                <a:gd name="T2" fmla="*/ 0 w 31"/>
                <a:gd name="T3" fmla="*/ 0 h 1"/>
                <a:gd name="T4" fmla="*/ 0 w 31"/>
                <a:gd name="T5" fmla="*/ 0 h 1"/>
                <a:gd name="T6" fmla="*/ 0 w 31"/>
                <a:gd name="T7" fmla="*/ 0 h 1"/>
                <a:gd name="T8" fmla="*/ 0 w 31"/>
                <a:gd name="T9" fmla="*/ 0 h 1"/>
                <a:gd name="T10" fmla="*/ 30 w 31"/>
                <a:gd name="T11" fmla="*/ 0 h 1"/>
                <a:gd name="T12" fmla="*/ 0 w 3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1" h="1">
                  <a:moveTo>
                    <a:pt x="0" y="0"/>
                  </a:moveTo>
                  <a:lnTo>
                    <a:pt x="0" y="0"/>
                  </a:lnTo>
                  <a:lnTo>
                    <a:pt x="0" y="0"/>
                  </a:lnTo>
                  <a:lnTo>
                    <a:pt x="0" y="0"/>
                  </a:lnTo>
                  <a:lnTo>
                    <a:pt x="0" y="0"/>
                  </a:lnTo>
                  <a:lnTo>
                    <a:pt x="30"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67" name="Freeform 745">
              <a:extLst>
                <a:ext uri="{FF2B5EF4-FFF2-40B4-BE49-F238E27FC236}">
                  <a16:creationId xmlns:a16="http://schemas.microsoft.com/office/drawing/2014/main" id="{16D5BEB1-5FF2-44FD-9790-923F1CAA8DF7}"/>
                </a:ext>
              </a:extLst>
            </p:cNvPr>
            <p:cNvSpPr>
              <a:spLocks noChangeArrowheads="1"/>
            </p:cNvSpPr>
            <p:nvPr/>
          </p:nvSpPr>
          <p:spPr bwMode="auto">
            <a:xfrm>
              <a:off x="4179922" y="1242929"/>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68" name="Freeform 746">
              <a:extLst>
                <a:ext uri="{FF2B5EF4-FFF2-40B4-BE49-F238E27FC236}">
                  <a16:creationId xmlns:a16="http://schemas.microsoft.com/office/drawing/2014/main" id="{650575AB-B028-4884-8E20-71B34D1BC35C}"/>
                </a:ext>
              </a:extLst>
            </p:cNvPr>
            <p:cNvSpPr>
              <a:spLocks noChangeArrowheads="1"/>
            </p:cNvSpPr>
            <p:nvPr/>
          </p:nvSpPr>
          <p:spPr bwMode="auto">
            <a:xfrm>
              <a:off x="4135890" y="1338411"/>
              <a:ext cx="11415" cy="11328"/>
            </a:xfrm>
            <a:custGeom>
              <a:avLst/>
              <a:gdLst>
                <a:gd name="T0" fmla="*/ 28 w 29"/>
                <a:gd name="T1" fmla="*/ 0 h 30"/>
                <a:gd name="T2" fmla="*/ 28 w 29"/>
                <a:gd name="T3" fmla="*/ 0 h 30"/>
                <a:gd name="T4" fmla="*/ 0 w 29"/>
                <a:gd name="T5" fmla="*/ 0 h 30"/>
                <a:gd name="T6" fmla="*/ 0 w 29"/>
                <a:gd name="T7" fmla="*/ 29 h 30"/>
                <a:gd name="T8" fmla="*/ 0 w 29"/>
                <a:gd name="T9" fmla="*/ 0 h 30"/>
                <a:gd name="T10" fmla="*/ 28 w 29"/>
                <a:gd name="T11" fmla="*/ 0 h 30"/>
              </a:gdLst>
              <a:ahLst/>
              <a:cxnLst>
                <a:cxn ang="0">
                  <a:pos x="T0" y="T1"/>
                </a:cxn>
                <a:cxn ang="0">
                  <a:pos x="T2" y="T3"/>
                </a:cxn>
                <a:cxn ang="0">
                  <a:pos x="T4" y="T5"/>
                </a:cxn>
                <a:cxn ang="0">
                  <a:pos x="T6" y="T7"/>
                </a:cxn>
                <a:cxn ang="0">
                  <a:pos x="T8" y="T9"/>
                </a:cxn>
                <a:cxn ang="0">
                  <a:pos x="T10" y="T11"/>
                </a:cxn>
              </a:cxnLst>
              <a:rect l="0" t="0" r="r" b="b"/>
              <a:pathLst>
                <a:path w="29" h="30">
                  <a:moveTo>
                    <a:pt x="28" y="0"/>
                  </a:moveTo>
                  <a:lnTo>
                    <a:pt x="28" y="0"/>
                  </a:lnTo>
                  <a:cubicBezTo>
                    <a:pt x="0" y="0"/>
                    <a:pt x="0" y="0"/>
                    <a:pt x="0" y="0"/>
                  </a:cubicBezTo>
                  <a:cubicBezTo>
                    <a:pt x="0" y="29"/>
                    <a:pt x="0" y="29"/>
                    <a:pt x="0" y="29"/>
                  </a:cubicBezTo>
                  <a:cubicBezTo>
                    <a:pt x="0" y="0"/>
                    <a:pt x="0" y="0"/>
                    <a:pt x="0" y="0"/>
                  </a:cubicBezTo>
                  <a:cubicBezTo>
                    <a:pt x="0" y="0"/>
                    <a:pt x="0" y="0"/>
                    <a:pt x="2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69" name="Freeform 747">
              <a:extLst>
                <a:ext uri="{FF2B5EF4-FFF2-40B4-BE49-F238E27FC236}">
                  <a16:creationId xmlns:a16="http://schemas.microsoft.com/office/drawing/2014/main" id="{85AEFFA1-DA84-427B-8116-2FC17FFEDD29}"/>
                </a:ext>
              </a:extLst>
            </p:cNvPr>
            <p:cNvSpPr>
              <a:spLocks noChangeArrowheads="1"/>
            </p:cNvSpPr>
            <p:nvPr/>
          </p:nvSpPr>
          <p:spPr bwMode="auto">
            <a:xfrm>
              <a:off x="4135890" y="1370777"/>
              <a:ext cx="11415" cy="1618"/>
            </a:xfrm>
            <a:custGeom>
              <a:avLst/>
              <a:gdLst>
                <a:gd name="T0" fmla="*/ 28 w 29"/>
                <a:gd name="T1" fmla="*/ 0 h 1"/>
                <a:gd name="T2" fmla="*/ 28 w 29"/>
                <a:gd name="T3" fmla="*/ 0 h 1"/>
                <a:gd name="T4" fmla="*/ 28 w 29"/>
                <a:gd name="T5" fmla="*/ 0 h 1"/>
                <a:gd name="T6" fmla="*/ 28 w 29"/>
                <a:gd name="T7" fmla="*/ 0 h 1"/>
                <a:gd name="T8" fmla="*/ 0 w 29"/>
                <a:gd name="T9" fmla="*/ 0 h 1"/>
                <a:gd name="T10" fmla="*/ 28 w 29"/>
                <a:gd name="T11" fmla="*/ 0 h 1"/>
              </a:gdLst>
              <a:ahLst/>
              <a:cxnLst>
                <a:cxn ang="0">
                  <a:pos x="T0" y="T1"/>
                </a:cxn>
                <a:cxn ang="0">
                  <a:pos x="T2" y="T3"/>
                </a:cxn>
                <a:cxn ang="0">
                  <a:pos x="T4" y="T5"/>
                </a:cxn>
                <a:cxn ang="0">
                  <a:pos x="T6" y="T7"/>
                </a:cxn>
                <a:cxn ang="0">
                  <a:pos x="T8" y="T9"/>
                </a:cxn>
                <a:cxn ang="0">
                  <a:pos x="T10" y="T11"/>
                </a:cxn>
              </a:cxnLst>
              <a:rect l="0" t="0" r="r" b="b"/>
              <a:pathLst>
                <a:path w="29" h="1">
                  <a:moveTo>
                    <a:pt x="28" y="0"/>
                  </a:moveTo>
                  <a:lnTo>
                    <a:pt x="28" y="0"/>
                  </a:lnTo>
                  <a:lnTo>
                    <a:pt x="28" y="0"/>
                  </a:lnTo>
                  <a:lnTo>
                    <a:pt x="28" y="0"/>
                  </a:lnTo>
                  <a:lnTo>
                    <a:pt x="0" y="0"/>
                  </a:lnTo>
                  <a:lnTo>
                    <a:pt x="2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70" name="Freeform 748">
              <a:extLst>
                <a:ext uri="{FF2B5EF4-FFF2-40B4-BE49-F238E27FC236}">
                  <a16:creationId xmlns:a16="http://schemas.microsoft.com/office/drawing/2014/main" id="{AF1334F3-D53A-4124-8C94-50C07A7FC827}"/>
                </a:ext>
              </a:extLst>
            </p:cNvPr>
            <p:cNvSpPr>
              <a:spLocks noChangeArrowheads="1"/>
            </p:cNvSpPr>
            <p:nvPr/>
          </p:nvSpPr>
          <p:spPr bwMode="auto">
            <a:xfrm>
              <a:off x="4416395" y="1178196"/>
              <a:ext cx="1630" cy="11329"/>
            </a:xfrm>
            <a:custGeom>
              <a:avLst/>
              <a:gdLst>
                <a:gd name="T0" fmla="*/ 0 w 1"/>
                <a:gd name="T1" fmla="*/ 30 h 31"/>
                <a:gd name="T2" fmla="*/ 0 w 1"/>
                <a:gd name="T3" fmla="*/ 30 h 31"/>
                <a:gd name="T4" fmla="*/ 0 w 1"/>
                <a:gd name="T5" fmla="*/ 30 h 31"/>
                <a:gd name="T6" fmla="*/ 0 w 1"/>
                <a:gd name="T7" fmla="*/ 0 h 31"/>
                <a:gd name="T8" fmla="*/ 0 w 1"/>
                <a:gd name="T9" fmla="*/ 30 h 31"/>
              </a:gdLst>
              <a:ahLst/>
              <a:cxnLst>
                <a:cxn ang="0">
                  <a:pos x="T0" y="T1"/>
                </a:cxn>
                <a:cxn ang="0">
                  <a:pos x="T2" y="T3"/>
                </a:cxn>
                <a:cxn ang="0">
                  <a:pos x="T4" y="T5"/>
                </a:cxn>
                <a:cxn ang="0">
                  <a:pos x="T6" y="T7"/>
                </a:cxn>
                <a:cxn ang="0">
                  <a:pos x="T8" y="T9"/>
                </a:cxn>
              </a:cxnLst>
              <a:rect l="0" t="0" r="r" b="b"/>
              <a:pathLst>
                <a:path w="1" h="31">
                  <a:moveTo>
                    <a:pt x="0" y="30"/>
                  </a:moveTo>
                  <a:lnTo>
                    <a:pt x="0" y="30"/>
                  </a:lnTo>
                  <a:lnTo>
                    <a:pt x="0" y="30"/>
                  </a:lnTo>
                  <a:cubicBezTo>
                    <a:pt x="0" y="30"/>
                    <a:pt x="0" y="30"/>
                    <a:pt x="0" y="0"/>
                  </a:cubicBezTo>
                  <a:cubicBezTo>
                    <a:pt x="0" y="30"/>
                    <a:pt x="0" y="30"/>
                    <a:pt x="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71" name="Freeform 749">
              <a:extLst>
                <a:ext uri="{FF2B5EF4-FFF2-40B4-BE49-F238E27FC236}">
                  <a16:creationId xmlns:a16="http://schemas.microsoft.com/office/drawing/2014/main" id="{AFB4E885-EC51-46F6-8457-C7769D362DF1}"/>
                </a:ext>
              </a:extLst>
            </p:cNvPr>
            <p:cNvSpPr>
              <a:spLocks noChangeArrowheads="1"/>
            </p:cNvSpPr>
            <p:nvPr/>
          </p:nvSpPr>
          <p:spPr bwMode="auto">
            <a:xfrm>
              <a:off x="4157090" y="1252639"/>
              <a:ext cx="11416" cy="32366"/>
            </a:xfrm>
            <a:custGeom>
              <a:avLst/>
              <a:gdLst>
                <a:gd name="T0" fmla="*/ 0 w 30"/>
                <a:gd name="T1" fmla="*/ 29 h 88"/>
                <a:gd name="T2" fmla="*/ 0 w 30"/>
                <a:gd name="T3" fmla="*/ 29 h 88"/>
                <a:gd name="T4" fmla="*/ 29 w 30"/>
                <a:gd name="T5" fmla="*/ 59 h 88"/>
                <a:gd name="T6" fmla="*/ 29 w 30"/>
                <a:gd name="T7" fmla="*/ 87 h 88"/>
                <a:gd name="T8" fmla="*/ 29 w 30"/>
                <a:gd name="T9" fmla="*/ 59 h 88"/>
                <a:gd name="T10" fmla="*/ 0 w 30"/>
                <a:gd name="T11" fmla="*/ 29 h 88"/>
                <a:gd name="T12" fmla="*/ 0 w 30"/>
                <a:gd name="T13" fmla="*/ 0 h 88"/>
                <a:gd name="T14" fmla="*/ 0 w 30"/>
                <a:gd name="T15" fmla="*/ 0 h 88"/>
                <a:gd name="T16" fmla="*/ 0 w 30"/>
                <a:gd name="T17" fmla="*/ 2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88">
                  <a:moveTo>
                    <a:pt x="0" y="29"/>
                  </a:moveTo>
                  <a:lnTo>
                    <a:pt x="0" y="29"/>
                  </a:lnTo>
                  <a:cubicBezTo>
                    <a:pt x="0" y="59"/>
                    <a:pt x="0" y="59"/>
                    <a:pt x="29" y="59"/>
                  </a:cubicBezTo>
                  <a:cubicBezTo>
                    <a:pt x="29" y="87"/>
                    <a:pt x="29" y="87"/>
                    <a:pt x="29" y="87"/>
                  </a:cubicBezTo>
                  <a:cubicBezTo>
                    <a:pt x="29" y="87"/>
                    <a:pt x="29" y="87"/>
                    <a:pt x="29" y="59"/>
                  </a:cubicBezTo>
                  <a:cubicBezTo>
                    <a:pt x="0" y="59"/>
                    <a:pt x="0" y="59"/>
                    <a:pt x="0" y="29"/>
                  </a:cubicBezTo>
                  <a:cubicBezTo>
                    <a:pt x="0" y="0"/>
                    <a:pt x="0" y="0"/>
                    <a:pt x="0" y="0"/>
                  </a:cubicBez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72" name="Freeform 750">
              <a:extLst>
                <a:ext uri="{FF2B5EF4-FFF2-40B4-BE49-F238E27FC236}">
                  <a16:creationId xmlns:a16="http://schemas.microsoft.com/office/drawing/2014/main" id="{B747F36A-F632-428A-89B1-69CD4334E4A3}"/>
                </a:ext>
              </a:extLst>
            </p:cNvPr>
            <p:cNvSpPr>
              <a:spLocks noChangeArrowheads="1"/>
            </p:cNvSpPr>
            <p:nvPr/>
          </p:nvSpPr>
          <p:spPr bwMode="auto">
            <a:xfrm>
              <a:off x="4179922" y="1242929"/>
              <a:ext cx="11416" cy="11329"/>
            </a:xfrm>
            <a:custGeom>
              <a:avLst/>
              <a:gdLst>
                <a:gd name="T0" fmla="*/ 0 w 30"/>
                <a:gd name="T1" fmla="*/ 0 h 30"/>
                <a:gd name="T2" fmla="*/ 0 w 30"/>
                <a:gd name="T3" fmla="*/ 0 h 30"/>
                <a:gd name="T4" fmla="*/ 29 w 30"/>
                <a:gd name="T5" fmla="*/ 29 h 30"/>
                <a:gd name="T6" fmla="*/ 0 w 30"/>
                <a:gd name="T7" fmla="*/ 0 h 30"/>
              </a:gdLst>
              <a:ahLst/>
              <a:cxnLst>
                <a:cxn ang="0">
                  <a:pos x="T0" y="T1"/>
                </a:cxn>
                <a:cxn ang="0">
                  <a:pos x="T2" y="T3"/>
                </a:cxn>
                <a:cxn ang="0">
                  <a:pos x="T4" y="T5"/>
                </a:cxn>
                <a:cxn ang="0">
                  <a:pos x="T6" y="T7"/>
                </a:cxn>
              </a:cxnLst>
              <a:rect l="0" t="0" r="r" b="b"/>
              <a:pathLst>
                <a:path w="30" h="30">
                  <a:moveTo>
                    <a:pt x="0" y="0"/>
                  </a:moveTo>
                  <a:lnTo>
                    <a:pt x="0" y="0"/>
                  </a:lnTo>
                  <a:cubicBezTo>
                    <a:pt x="29" y="29"/>
                    <a:pt x="29" y="29"/>
                    <a:pt x="29" y="29"/>
                  </a:cubicBezTo>
                  <a:cubicBezTo>
                    <a:pt x="29" y="29"/>
                    <a:pt x="29"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73" name="Freeform 751">
              <a:extLst>
                <a:ext uri="{FF2B5EF4-FFF2-40B4-BE49-F238E27FC236}">
                  <a16:creationId xmlns:a16="http://schemas.microsoft.com/office/drawing/2014/main" id="{B38FB23B-FB77-4F4E-8B4F-B32607551252}"/>
                </a:ext>
              </a:extLst>
            </p:cNvPr>
            <p:cNvSpPr>
              <a:spLocks noChangeArrowheads="1"/>
            </p:cNvSpPr>
            <p:nvPr/>
          </p:nvSpPr>
          <p:spPr bwMode="auto">
            <a:xfrm>
              <a:off x="4179922" y="1252639"/>
              <a:ext cx="11416" cy="1619"/>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29" y="0"/>
                    <a:pt x="29" y="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74" name="Freeform 752">
              <a:extLst>
                <a:ext uri="{FF2B5EF4-FFF2-40B4-BE49-F238E27FC236}">
                  <a16:creationId xmlns:a16="http://schemas.microsoft.com/office/drawing/2014/main" id="{DD83C46E-DA8B-4975-AD52-DD4F156A58C4}"/>
                </a:ext>
              </a:extLst>
            </p:cNvPr>
            <p:cNvSpPr>
              <a:spLocks noChangeArrowheads="1"/>
            </p:cNvSpPr>
            <p:nvPr/>
          </p:nvSpPr>
          <p:spPr bwMode="auto">
            <a:xfrm>
              <a:off x="4470213" y="1103754"/>
              <a:ext cx="1631" cy="21039"/>
            </a:xfrm>
            <a:custGeom>
              <a:avLst/>
              <a:gdLst>
                <a:gd name="T0" fmla="*/ 0 w 1"/>
                <a:gd name="T1" fmla="*/ 29 h 59"/>
                <a:gd name="T2" fmla="*/ 0 w 1"/>
                <a:gd name="T3" fmla="*/ 29 h 59"/>
                <a:gd name="T4" fmla="*/ 0 w 1"/>
                <a:gd name="T5" fmla="*/ 58 h 59"/>
                <a:gd name="T6" fmla="*/ 0 w 1"/>
                <a:gd name="T7" fmla="*/ 29 h 59"/>
                <a:gd name="T8" fmla="*/ 0 w 1"/>
                <a:gd name="T9" fmla="*/ 0 h 59"/>
                <a:gd name="T10" fmla="*/ 0 w 1"/>
                <a:gd name="T11" fmla="*/ 29 h 59"/>
              </a:gdLst>
              <a:ahLst/>
              <a:cxnLst>
                <a:cxn ang="0">
                  <a:pos x="T0" y="T1"/>
                </a:cxn>
                <a:cxn ang="0">
                  <a:pos x="T2" y="T3"/>
                </a:cxn>
                <a:cxn ang="0">
                  <a:pos x="T4" y="T5"/>
                </a:cxn>
                <a:cxn ang="0">
                  <a:pos x="T6" y="T7"/>
                </a:cxn>
                <a:cxn ang="0">
                  <a:pos x="T8" y="T9"/>
                </a:cxn>
                <a:cxn ang="0">
                  <a:pos x="T10" y="T11"/>
                </a:cxn>
              </a:cxnLst>
              <a:rect l="0" t="0" r="r" b="b"/>
              <a:pathLst>
                <a:path w="1" h="59">
                  <a:moveTo>
                    <a:pt x="0" y="29"/>
                  </a:moveTo>
                  <a:lnTo>
                    <a:pt x="0" y="29"/>
                  </a:lnTo>
                  <a:cubicBezTo>
                    <a:pt x="0" y="29"/>
                    <a:pt x="0" y="29"/>
                    <a:pt x="0" y="58"/>
                  </a:cubicBezTo>
                  <a:cubicBezTo>
                    <a:pt x="0" y="29"/>
                    <a:pt x="0" y="29"/>
                    <a:pt x="0" y="29"/>
                  </a:cubicBez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75" name="Freeform 753">
              <a:extLst>
                <a:ext uri="{FF2B5EF4-FFF2-40B4-BE49-F238E27FC236}">
                  <a16:creationId xmlns:a16="http://schemas.microsoft.com/office/drawing/2014/main" id="{84904E8C-89B2-4AA8-A676-4E2E5D6EABB4}"/>
                </a:ext>
              </a:extLst>
            </p:cNvPr>
            <p:cNvSpPr>
              <a:spLocks noChangeArrowheads="1"/>
            </p:cNvSpPr>
            <p:nvPr/>
          </p:nvSpPr>
          <p:spPr bwMode="auto">
            <a:xfrm>
              <a:off x="4491414" y="1166869"/>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76" name="Freeform 754">
              <a:extLst>
                <a:ext uri="{FF2B5EF4-FFF2-40B4-BE49-F238E27FC236}">
                  <a16:creationId xmlns:a16="http://schemas.microsoft.com/office/drawing/2014/main" id="{261FE8F2-184B-4201-BB80-363F5013CFD6}"/>
                </a:ext>
              </a:extLst>
            </p:cNvPr>
            <p:cNvSpPr>
              <a:spLocks noChangeArrowheads="1"/>
            </p:cNvSpPr>
            <p:nvPr/>
          </p:nvSpPr>
          <p:spPr bwMode="auto">
            <a:xfrm>
              <a:off x="4470213" y="953250"/>
              <a:ext cx="172870" cy="53404"/>
            </a:xfrm>
            <a:custGeom>
              <a:avLst/>
              <a:gdLst>
                <a:gd name="T0" fmla="*/ 467 w 468"/>
                <a:gd name="T1" fmla="*/ 146 h 147"/>
                <a:gd name="T2" fmla="*/ 467 w 468"/>
                <a:gd name="T3" fmla="*/ 146 h 147"/>
                <a:gd name="T4" fmla="*/ 0 w 468"/>
                <a:gd name="T5" fmla="*/ 0 h 147"/>
                <a:gd name="T6" fmla="*/ 467 w 468"/>
                <a:gd name="T7" fmla="*/ 146 h 147"/>
              </a:gdLst>
              <a:ahLst/>
              <a:cxnLst>
                <a:cxn ang="0">
                  <a:pos x="T0" y="T1"/>
                </a:cxn>
                <a:cxn ang="0">
                  <a:pos x="T2" y="T3"/>
                </a:cxn>
                <a:cxn ang="0">
                  <a:pos x="T4" y="T5"/>
                </a:cxn>
                <a:cxn ang="0">
                  <a:pos x="T6" y="T7"/>
                </a:cxn>
              </a:cxnLst>
              <a:rect l="0" t="0" r="r" b="b"/>
              <a:pathLst>
                <a:path w="468" h="147">
                  <a:moveTo>
                    <a:pt x="467" y="146"/>
                  </a:moveTo>
                  <a:lnTo>
                    <a:pt x="467" y="146"/>
                  </a:lnTo>
                  <a:cubicBezTo>
                    <a:pt x="321" y="88"/>
                    <a:pt x="146" y="59"/>
                    <a:pt x="0" y="0"/>
                  </a:cubicBezTo>
                  <a:cubicBezTo>
                    <a:pt x="146" y="59"/>
                    <a:pt x="321" y="88"/>
                    <a:pt x="467" y="14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77" name="Freeform 755">
              <a:extLst>
                <a:ext uri="{FF2B5EF4-FFF2-40B4-BE49-F238E27FC236}">
                  <a16:creationId xmlns:a16="http://schemas.microsoft.com/office/drawing/2014/main" id="{F29CCCEE-7B9B-44B3-89A4-1914F754B708}"/>
                </a:ext>
              </a:extLst>
            </p:cNvPr>
            <p:cNvSpPr>
              <a:spLocks noChangeArrowheads="1"/>
            </p:cNvSpPr>
            <p:nvPr/>
          </p:nvSpPr>
          <p:spPr bwMode="auto">
            <a:xfrm>
              <a:off x="4395194" y="1199235"/>
              <a:ext cx="21202" cy="43694"/>
            </a:xfrm>
            <a:custGeom>
              <a:avLst/>
              <a:gdLst>
                <a:gd name="T0" fmla="*/ 0 w 58"/>
                <a:gd name="T1" fmla="*/ 117 h 118"/>
                <a:gd name="T2" fmla="*/ 0 w 58"/>
                <a:gd name="T3" fmla="*/ 117 h 118"/>
                <a:gd name="T4" fmla="*/ 28 w 58"/>
                <a:gd name="T5" fmla="*/ 58 h 118"/>
                <a:gd name="T6" fmla="*/ 57 w 58"/>
                <a:gd name="T7" fmla="*/ 0 h 118"/>
                <a:gd name="T8" fmla="*/ 28 w 58"/>
                <a:gd name="T9" fmla="*/ 58 h 118"/>
                <a:gd name="T10" fmla="*/ 0 w 58"/>
                <a:gd name="T11" fmla="*/ 117 h 118"/>
              </a:gdLst>
              <a:ahLst/>
              <a:cxnLst>
                <a:cxn ang="0">
                  <a:pos x="T0" y="T1"/>
                </a:cxn>
                <a:cxn ang="0">
                  <a:pos x="T2" y="T3"/>
                </a:cxn>
                <a:cxn ang="0">
                  <a:pos x="T4" y="T5"/>
                </a:cxn>
                <a:cxn ang="0">
                  <a:pos x="T6" y="T7"/>
                </a:cxn>
                <a:cxn ang="0">
                  <a:pos x="T8" y="T9"/>
                </a:cxn>
                <a:cxn ang="0">
                  <a:pos x="T10" y="T11"/>
                </a:cxn>
              </a:cxnLst>
              <a:rect l="0" t="0" r="r" b="b"/>
              <a:pathLst>
                <a:path w="58" h="118">
                  <a:moveTo>
                    <a:pt x="0" y="117"/>
                  </a:moveTo>
                  <a:lnTo>
                    <a:pt x="0" y="117"/>
                  </a:lnTo>
                  <a:cubicBezTo>
                    <a:pt x="0" y="88"/>
                    <a:pt x="28" y="88"/>
                    <a:pt x="28" y="58"/>
                  </a:cubicBezTo>
                  <a:cubicBezTo>
                    <a:pt x="28" y="29"/>
                    <a:pt x="57" y="29"/>
                    <a:pt x="57" y="0"/>
                  </a:cubicBezTo>
                  <a:cubicBezTo>
                    <a:pt x="57" y="29"/>
                    <a:pt x="28" y="29"/>
                    <a:pt x="28" y="58"/>
                  </a:cubicBezTo>
                  <a:cubicBezTo>
                    <a:pt x="28" y="88"/>
                    <a:pt x="0" y="88"/>
                    <a:pt x="0"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78" name="Freeform 756">
              <a:extLst>
                <a:ext uri="{FF2B5EF4-FFF2-40B4-BE49-F238E27FC236}">
                  <a16:creationId xmlns:a16="http://schemas.microsoft.com/office/drawing/2014/main" id="{03596E53-B219-4740-9F20-05E1E4FFAB36}"/>
                </a:ext>
              </a:extLst>
            </p:cNvPr>
            <p:cNvSpPr>
              <a:spLocks noChangeArrowheads="1"/>
            </p:cNvSpPr>
            <p:nvPr/>
          </p:nvSpPr>
          <p:spPr bwMode="auto">
            <a:xfrm>
              <a:off x="4481629" y="1166869"/>
              <a:ext cx="11415" cy="11328"/>
            </a:xfrm>
            <a:custGeom>
              <a:avLst/>
              <a:gdLst>
                <a:gd name="T0" fmla="*/ 0 w 30"/>
                <a:gd name="T1" fmla="*/ 29 h 30"/>
                <a:gd name="T2" fmla="*/ 0 w 30"/>
                <a:gd name="T3" fmla="*/ 29 h 30"/>
                <a:gd name="T4" fmla="*/ 29 w 30"/>
                <a:gd name="T5" fmla="*/ 0 h 30"/>
                <a:gd name="T6" fmla="*/ 0 w 30"/>
                <a:gd name="T7" fmla="*/ 29 h 30"/>
              </a:gdLst>
              <a:ahLst/>
              <a:cxnLst>
                <a:cxn ang="0">
                  <a:pos x="T0" y="T1"/>
                </a:cxn>
                <a:cxn ang="0">
                  <a:pos x="T2" y="T3"/>
                </a:cxn>
                <a:cxn ang="0">
                  <a:pos x="T4" y="T5"/>
                </a:cxn>
                <a:cxn ang="0">
                  <a:pos x="T6" y="T7"/>
                </a:cxn>
              </a:cxnLst>
              <a:rect l="0" t="0" r="r" b="b"/>
              <a:pathLst>
                <a:path w="30" h="30">
                  <a:moveTo>
                    <a:pt x="0" y="29"/>
                  </a:moveTo>
                  <a:lnTo>
                    <a:pt x="0" y="29"/>
                  </a:lnTo>
                  <a:cubicBezTo>
                    <a:pt x="0" y="29"/>
                    <a:pt x="29" y="29"/>
                    <a:pt x="29" y="0"/>
                  </a:cubicBezTo>
                  <a:cubicBezTo>
                    <a:pt x="29"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79" name="Freeform 757">
              <a:extLst>
                <a:ext uri="{FF2B5EF4-FFF2-40B4-BE49-F238E27FC236}">
                  <a16:creationId xmlns:a16="http://schemas.microsoft.com/office/drawing/2014/main" id="{2796A243-EAA4-4E19-AE69-F0C750B73A66}"/>
                </a:ext>
              </a:extLst>
            </p:cNvPr>
            <p:cNvSpPr>
              <a:spLocks noChangeArrowheads="1"/>
            </p:cNvSpPr>
            <p:nvPr/>
          </p:nvSpPr>
          <p:spPr bwMode="auto">
            <a:xfrm>
              <a:off x="4965990" y="1081097"/>
              <a:ext cx="205487" cy="53405"/>
            </a:xfrm>
            <a:custGeom>
              <a:avLst/>
              <a:gdLst>
                <a:gd name="T0" fmla="*/ 554 w 555"/>
                <a:gd name="T1" fmla="*/ 146 h 147"/>
                <a:gd name="T2" fmla="*/ 554 w 555"/>
                <a:gd name="T3" fmla="*/ 146 h 147"/>
                <a:gd name="T4" fmla="*/ 554 w 555"/>
                <a:gd name="T5" fmla="*/ 117 h 147"/>
                <a:gd name="T6" fmla="*/ 554 w 555"/>
                <a:gd name="T7" fmla="*/ 146 h 147"/>
                <a:gd name="T8" fmla="*/ 554 w 555"/>
                <a:gd name="T9" fmla="*/ 146 h 147"/>
                <a:gd name="T10" fmla="*/ 0 w 555"/>
                <a:gd name="T11" fmla="*/ 0 h 147"/>
                <a:gd name="T12" fmla="*/ 554 w 555"/>
                <a:gd name="T13" fmla="*/ 146 h 147"/>
              </a:gdLst>
              <a:ahLst/>
              <a:cxnLst>
                <a:cxn ang="0">
                  <a:pos x="T0" y="T1"/>
                </a:cxn>
                <a:cxn ang="0">
                  <a:pos x="T2" y="T3"/>
                </a:cxn>
                <a:cxn ang="0">
                  <a:pos x="T4" y="T5"/>
                </a:cxn>
                <a:cxn ang="0">
                  <a:pos x="T6" y="T7"/>
                </a:cxn>
                <a:cxn ang="0">
                  <a:pos x="T8" y="T9"/>
                </a:cxn>
                <a:cxn ang="0">
                  <a:pos x="T10" y="T11"/>
                </a:cxn>
                <a:cxn ang="0">
                  <a:pos x="T12" y="T13"/>
                </a:cxn>
              </a:cxnLst>
              <a:rect l="0" t="0" r="r" b="b"/>
              <a:pathLst>
                <a:path w="555" h="147">
                  <a:moveTo>
                    <a:pt x="554" y="146"/>
                  </a:moveTo>
                  <a:lnTo>
                    <a:pt x="554" y="146"/>
                  </a:lnTo>
                  <a:cubicBezTo>
                    <a:pt x="554" y="117"/>
                    <a:pt x="554" y="117"/>
                    <a:pt x="554" y="117"/>
                  </a:cubicBezTo>
                  <a:cubicBezTo>
                    <a:pt x="554" y="146"/>
                    <a:pt x="554" y="146"/>
                    <a:pt x="554" y="146"/>
                  </a:cubicBezTo>
                  <a:lnTo>
                    <a:pt x="554" y="146"/>
                  </a:lnTo>
                  <a:cubicBezTo>
                    <a:pt x="350" y="88"/>
                    <a:pt x="175" y="29"/>
                    <a:pt x="0" y="0"/>
                  </a:cubicBezTo>
                  <a:cubicBezTo>
                    <a:pt x="175" y="29"/>
                    <a:pt x="350" y="88"/>
                    <a:pt x="554" y="14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80" name="Freeform 758">
              <a:extLst>
                <a:ext uri="{FF2B5EF4-FFF2-40B4-BE49-F238E27FC236}">
                  <a16:creationId xmlns:a16="http://schemas.microsoft.com/office/drawing/2014/main" id="{84FE0863-E8B0-431A-9BB4-8883CC75A370}"/>
                </a:ext>
              </a:extLst>
            </p:cNvPr>
            <p:cNvSpPr>
              <a:spLocks noChangeArrowheads="1"/>
            </p:cNvSpPr>
            <p:nvPr/>
          </p:nvSpPr>
          <p:spPr bwMode="auto">
            <a:xfrm>
              <a:off x="4675699" y="1006655"/>
              <a:ext cx="22832" cy="11329"/>
            </a:xfrm>
            <a:custGeom>
              <a:avLst/>
              <a:gdLst>
                <a:gd name="T0" fmla="*/ 59 w 60"/>
                <a:gd name="T1" fmla="*/ 30 h 31"/>
                <a:gd name="T2" fmla="*/ 59 w 60"/>
                <a:gd name="T3" fmla="*/ 30 h 31"/>
                <a:gd name="T4" fmla="*/ 0 w 60"/>
                <a:gd name="T5" fmla="*/ 0 h 31"/>
                <a:gd name="T6" fmla="*/ 59 w 60"/>
                <a:gd name="T7" fmla="*/ 30 h 31"/>
              </a:gdLst>
              <a:ahLst/>
              <a:cxnLst>
                <a:cxn ang="0">
                  <a:pos x="T0" y="T1"/>
                </a:cxn>
                <a:cxn ang="0">
                  <a:pos x="T2" y="T3"/>
                </a:cxn>
                <a:cxn ang="0">
                  <a:pos x="T4" y="T5"/>
                </a:cxn>
                <a:cxn ang="0">
                  <a:pos x="T6" y="T7"/>
                </a:cxn>
              </a:cxnLst>
              <a:rect l="0" t="0" r="r" b="b"/>
              <a:pathLst>
                <a:path w="60" h="31">
                  <a:moveTo>
                    <a:pt x="59" y="30"/>
                  </a:moveTo>
                  <a:lnTo>
                    <a:pt x="59" y="30"/>
                  </a:lnTo>
                  <a:cubicBezTo>
                    <a:pt x="59" y="30"/>
                    <a:pt x="29" y="0"/>
                    <a:pt x="0" y="0"/>
                  </a:cubicBezTo>
                  <a:cubicBezTo>
                    <a:pt x="29" y="0"/>
                    <a:pt x="59" y="30"/>
                    <a:pt x="59"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81" name="Freeform 759">
              <a:extLst>
                <a:ext uri="{FF2B5EF4-FFF2-40B4-BE49-F238E27FC236}">
                  <a16:creationId xmlns:a16="http://schemas.microsoft.com/office/drawing/2014/main" id="{01DE1D1C-F8A2-4AF0-9FEF-7CEFC7351104}"/>
                </a:ext>
              </a:extLst>
            </p:cNvPr>
            <p:cNvSpPr>
              <a:spLocks noChangeArrowheads="1"/>
            </p:cNvSpPr>
            <p:nvPr/>
          </p:nvSpPr>
          <p:spPr bwMode="auto">
            <a:xfrm>
              <a:off x="4481629" y="1166869"/>
              <a:ext cx="1630"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29"/>
                    <a:pt x="0" y="29"/>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82" name="Freeform 760">
              <a:extLst>
                <a:ext uri="{FF2B5EF4-FFF2-40B4-BE49-F238E27FC236}">
                  <a16:creationId xmlns:a16="http://schemas.microsoft.com/office/drawing/2014/main" id="{832568AE-0015-4982-B048-CE8EDECB37A6}"/>
                </a:ext>
              </a:extLst>
            </p:cNvPr>
            <p:cNvSpPr>
              <a:spLocks noChangeArrowheads="1"/>
            </p:cNvSpPr>
            <p:nvPr/>
          </p:nvSpPr>
          <p:spPr bwMode="auto">
            <a:xfrm>
              <a:off x="10121093" y="5041127"/>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83" name="Freeform 761">
              <a:extLst>
                <a:ext uri="{FF2B5EF4-FFF2-40B4-BE49-F238E27FC236}">
                  <a16:creationId xmlns:a16="http://schemas.microsoft.com/office/drawing/2014/main" id="{EBB5EE72-4BE9-461E-9A12-7651F3B10F13}"/>
                </a:ext>
              </a:extLst>
            </p:cNvPr>
            <p:cNvSpPr>
              <a:spLocks noChangeArrowheads="1"/>
            </p:cNvSpPr>
            <p:nvPr/>
          </p:nvSpPr>
          <p:spPr bwMode="auto">
            <a:xfrm>
              <a:off x="4470213" y="985617"/>
              <a:ext cx="11416" cy="1618"/>
            </a:xfrm>
            <a:custGeom>
              <a:avLst/>
              <a:gdLst>
                <a:gd name="T0" fmla="*/ 0 w 31"/>
                <a:gd name="T1" fmla="*/ 0 h 1"/>
                <a:gd name="T2" fmla="*/ 0 w 31"/>
                <a:gd name="T3" fmla="*/ 0 h 1"/>
                <a:gd name="T4" fmla="*/ 30 w 31"/>
                <a:gd name="T5" fmla="*/ 0 h 1"/>
                <a:gd name="T6" fmla="*/ 0 w 31"/>
                <a:gd name="T7" fmla="*/ 0 h 1"/>
              </a:gdLst>
              <a:ahLst/>
              <a:cxnLst>
                <a:cxn ang="0">
                  <a:pos x="T0" y="T1"/>
                </a:cxn>
                <a:cxn ang="0">
                  <a:pos x="T2" y="T3"/>
                </a:cxn>
                <a:cxn ang="0">
                  <a:pos x="T4" y="T5"/>
                </a:cxn>
                <a:cxn ang="0">
                  <a:pos x="T6" y="T7"/>
                </a:cxn>
              </a:cxnLst>
              <a:rect l="0" t="0" r="r" b="b"/>
              <a:pathLst>
                <a:path w="31" h="1">
                  <a:moveTo>
                    <a:pt x="0" y="0"/>
                  </a:moveTo>
                  <a:lnTo>
                    <a:pt x="0" y="0"/>
                  </a:lnTo>
                  <a:cubicBezTo>
                    <a:pt x="30" y="0"/>
                    <a:pt x="30" y="0"/>
                    <a:pt x="30" y="0"/>
                  </a:cubicBezTo>
                  <a:cubicBezTo>
                    <a:pt x="30" y="0"/>
                    <a:pt x="3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84" name="Freeform 762">
              <a:extLst>
                <a:ext uri="{FF2B5EF4-FFF2-40B4-BE49-F238E27FC236}">
                  <a16:creationId xmlns:a16="http://schemas.microsoft.com/office/drawing/2014/main" id="{EFC666EA-4781-4845-A7D9-1EAB1FC217EA}"/>
                </a:ext>
              </a:extLst>
            </p:cNvPr>
            <p:cNvSpPr>
              <a:spLocks noChangeArrowheads="1"/>
            </p:cNvSpPr>
            <p:nvPr/>
          </p:nvSpPr>
          <p:spPr bwMode="auto">
            <a:xfrm>
              <a:off x="4460428" y="1103754"/>
              <a:ext cx="11416" cy="11329"/>
            </a:xfrm>
            <a:custGeom>
              <a:avLst/>
              <a:gdLst>
                <a:gd name="T0" fmla="*/ 0 w 30"/>
                <a:gd name="T1" fmla="*/ 29 h 30"/>
                <a:gd name="T2" fmla="*/ 0 w 30"/>
                <a:gd name="T3" fmla="*/ 29 h 30"/>
                <a:gd name="T4" fmla="*/ 29 w 30"/>
                <a:gd name="T5" fmla="*/ 0 h 30"/>
                <a:gd name="T6" fmla="*/ 0 w 30"/>
                <a:gd name="T7" fmla="*/ 29 h 30"/>
              </a:gdLst>
              <a:ahLst/>
              <a:cxnLst>
                <a:cxn ang="0">
                  <a:pos x="T0" y="T1"/>
                </a:cxn>
                <a:cxn ang="0">
                  <a:pos x="T2" y="T3"/>
                </a:cxn>
                <a:cxn ang="0">
                  <a:pos x="T4" y="T5"/>
                </a:cxn>
                <a:cxn ang="0">
                  <a:pos x="T6" y="T7"/>
                </a:cxn>
              </a:cxnLst>
              <a:rect l="0" t="0" r="r" b="b"/>
              <a:pathLst>
                <a:path w="30" h="30">
                  <a:moveTo>
                    <a:pt x="0" y="29"/>
                  </a:moveTo>
                  <a:lnTo>
                    <a:pt x="0" y="29"/>
                  </a:lnTo>
                  <a:cubicBezTo>
                    <a:pt x="29" y="29"/>
                    <a:pt x="29" y="0"/>
                    <a:pt x="29" y="0"/>
                  </a:cubicBezTo>
                  <a:cubicBezTo>
                    <a:pt x="29" y="0"/>
                    <a:pt x="29"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85" name="Freeform 763">
              <a:extLst>
                <a:ext uri="{FF2B5EF4-FFF2-40B4-BE49-F238E27FC236}">
                  <a16:creationId xmlns:a16="http://schemas.microsoft.com/office/drawing/2014/main" id="{85653BB0-F313-4D70-A452-7307AF1E159F}"/>
                </a:ext>
              </a:extLst>
            </p:cNvPr>
            <p:cNvSpPr>
              <a:spLocks noChangeArrowheads="1"/>
            </p:cNvSpPr>
            <p:nvPr/>
          </p:nvSpPr>
          <p:spPr bwMode="auto">
            <a:xfrm>
              <a:off x="4460428" y="1145830"/>
              <a:ext cx="11416" cy="1619"/>
            </a:xfrm>
            <a:custGeom>
              <a:avLst/>
              <a:gdLst>
                <a:gd name="T0" fmla="*/ 29 w 30"/>
                <a:gd name="T1" fmla="*/ 0 h 1"/>
                <a:gd name="T2" fmla="*/ 29 w 30"/>
                <a:gd name="T3" fmla="*/ 0 h 1"/>
                <a:gd name="T4" fmla="*/ 0 w 30"/>
                <a:gd name="T5" fmla="*/ 0 h 1"/>
                <a:gd name="T6" fmla="*/ 0 w 30"/>
                <a:gd name="T7" fmla="*/ 0 h 1"/>
                <a:gd name="T8" fmla="*/ 0 w 30"/>
                <a:gd name="T9" fmla="*/ 0 h 1"/>
                <a:gd name="T10" fmla="*/ 0 w 30"/>
                <a:gd name="T11" fmla="*/ 0 h 1"/>
                <a:gd name="T12" fmla="*/ 29 w 30"/>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0" h="1">
                  <a:moveTo>
                    <a:pt x="29" y="0"/>
                  </a:moveTo>
                  <a:lnTo>
                    <a:pt x="29" y="0"/>
                  </a:lnTo>
                  <a:lnTo>
                    <a:pt x="0" y="0"/>
                  </a:lnTo>
                  <a:lnTo>
                    <a:pt x="0" y="0"/>
                  </a:lnTo>
                  <a:lnTo>
                    <a:pt x="0" y="0"/>
                  </a:lnTo>
                  <a:lnTo>
                    <a:pt x="0" y="0"/>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86" name="Freeform 764">
              <a:extLst>
                <a:ext uri="{FF2B5EF4-FFF2-40B4-BE49-F238E27FC236}">
                  <a16:creationId xmlns:a16="http://schemas.microsoft.com/office/drawing/2014/main" id="{27B72048-D320-4D87-8FDA-18D86ECEC77A}"/>
                </a:ext>
              </a:extLst>
            </p:cNvPr>
            <p:cNvSpPr>
              <a:spLocks noChangeArrowheads="1"/>
            </p:cNvSpPr>
            <p:nvPr/>
          </p:nvSpPr>
          <p:spPr bwMode="auto">
            <a:xfrm>
              <a:off x="5171476" y="1134502"/>
              <a:ext cx="107636" cy="21038"/>
            </a:xfrm>
            <a:custGeom>
              <a:avLst/>
              <a:gdLst>
                <a:gd name="T0" fmla="*/ 146 w 293"/>
                <a:gd name="T1" fmla="*/ 30 h 59"/>
                <a:gd name="T2" fmla="*/ 146 w 293"/>
                <a:gd name="T3" fmla="*/ 30 h 59"/>
                <a:gd name="T4" fmla="*/ 292 w 293"/>
                <a:gd name="T5" fmla="*/ 58 h 59"/>
                <a:gd name="T6" fmla="*/ 146 w 293"/>
                <a:gd name="T7" fmla="*/ 30 h 59"/>
                <a:gd name="T8" fmla="*/ 0 w 293"/>
                <a:gd name="T9" fmla="*/ 0 h 59"/>
                <a:gd name="T10" fmla="*/ 146 w 293"/>
                <a:gd name="T11" fmla="*/ 30 h 59"/>
              </a:gdLst>
              <a:ahLst/>
              <a:cxnLst>
                <a:cxn ang="0">
                  <a:pos x="T0" y="T1"/>
                </a:cxn>
                <a:cxn ang="0">
                  <a:pos x="T2" y="T3"/>
                </a:cxn>
                <a:cxn ang="0">
                  <a:pos x="T4" y="T5"/>
                </a:cxn>
                <a:cxn ang="0">
                  <a:pos x="T6" y="T7"/>
                </a:cxn>
                <a:cxn ang="0">
                  <a:pos x="T8" y="T9"/>
                </a:cxn>
                <a:cxn ang="0">
                  <a:pos x="T10" y="T11"/>
                </a:cxn>
              </a:cxnLst>
              <a:rect l="0" t="0" r="r" b="b"/>
              <a:pathLst>
                <a:path w="293" h="59">
                  <a:moveTo>
                    <a:pt x="146" y="30"/>
                  </a:moveTo>
                  <a:lnTo>
                    <a:pt x="146" y="30"/>
                  </a:lnTo>
                  <a:cubicBezTo>
                    <a:pt x="204" y="30"/>
                    <a:pt x="263" y="58"/>
                    <a:pt x="292" y="58"/>
                  </a:cubicBezTo>
                  <a:cubicBezTo>
                    <a:pt x="263" y="58"/>
                    <a:pt x="204" y="30"/>
                    <a:pt x="146" y="30"/>
                  </a:cubicBezTo>
                  <a:cubicBezTo>
                    <a:pt x="117" y="0"/>
                    <a:pt x="58" y="0"/>
                    <a:pt x="0" y="0"/>
                  </a:cubicBezTo>
                  <a:cubicBezTo>
                    <a:pt x="58" y="0"/>
                    <a:pt x="117" y="0"/>
                    <a:pt x="146"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87" name="Freeform 765">
              <a:extLst>
                <a:ext uri="{FF2B5EF4-FFF2-40B4-BE49-F238E27FC236}">
                  <a16:creationId xmlns:a16="http://schemas.microsoft.com/office/drawing/2014/main" id="{1CA06B9F-07EB-4DC1-8D7F-A524246033A1}"/>
                </a:ext>
              </a:extLst>
            </p:cNvPr>
            <p:cNvSpPr>
              <a:spLocks noChangeArrowheads="1"/>
            </p:cNvSpPr>
            <p:nvPr/>
          </p:nvSpPr>
          <p:spPr bwMode="auto">
            <a:xfrm>
              <a:off x="3747749" y="2247907"/>
              <a:ext cx="11415" cy="43694"/>
            </a:xfrm>
            <a:custGeom>
              <a:avLst/>
              <a:gdLst>
                <a:gd name="T0" fmla="*/ 0 w 30"/>
                <a:gd name="T1" fmla="*/ 117 h 118"/>
                <a:gd name="T2" fmla="*/ 0 w 30"/>
                <a:gd name="T3" fmla="*/ 117 h 118"/>
                <a:gd name="T4" fmla="*/ 0 w 30"/>
                <a:gd name="T5" fmla="*/ 117 h 118"/>
                <a:gd name="T6" fmla="*/ 29 w 30"/>
                <a:gd name="T7" fmla="*/ 0 h 118"/>
                <a:gd name="T8" fmla="*/ 0 w 30"/>
                <a:gd name="T9" fmla="*/ 117 h 118"/>
              </a:gdLst>
              <a:ahLst/>
              <a:cxnLst>
                <a:cxn ang="0">
                  <a:pos x="T0" y="T1"/>
                </a:cxn>
                <a:cxn ang="0">
                  <a:pos x="T2" y="T3"/>
                </a:cxn>
                <a:cxn ang="0">
                  <a:pos x="T4" y="T5"/>
                </a:cxn>
                <a:cxn ang="0">
                  <a:pos x="T6" y="T7"/>
                </a:cxn>
                <a:cxn ang="0">
                  <a:pos x="T8" y="T9"/>
                </a:cxn>
              </a:cxnLst>
              <a:rect l="0" t="0" r="r" b="b"/>
              <a:pathLst>
                <a:path w="30" h="118">
                  <a:moveTo>
                    <a:pt x="0" y="117"/>
                  </a:moveTo>
                  <a:lnTo>
                    <a:pt x="0" y="117"/>
                  </a:lnTo>
                  <a:lnTo>
                    <a:pt x="0" y="117"/>
                  </a:lnTo>
                  <a:cubicBezTo>
                    <a:pt x="0" y="88"/>
                    <a:pt x="29" y="30"/>
                    <a:pt x="29" y="0"/>
                  </a:cubicBezTo>
                  <a:cubicBezTo>
                    <a:pt x="29" y="30"/>
                    <a:pt x="0" y="88"/>
                    <a:pt x="0"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88" name="Freeform 766">
              <a:extLst>
                <a:ext uri="{FF2B5EF4-FFF2-40B4-BE49-F238E27FC236}">
                  <a16:creationId xmlns:a16="http://schemas.microsoft.com/office/drawing/2014/main" id="{E0538B7B-EFC9-4D5D-9C7A-41BE8B20AE46}"/>
                </a:ext>
              </a:extLst>
            </p:cNvPr>
            <p:cNvSpPr>
              <a:spLocks noChangeArrowheads="1"/>
            </p:cNvSpPr>
            <p:nvPr/>
          </p:nvSpPr>
          <p:spPr bwMode="auto">
            <a:xfrm>
              <a:off x="11265946" y="2366043"/>
              <a:ext cx="11415" cy="1619"/>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0" y="0"/>
                    <a:pt x="0" y="0"/>
                    <a:pt x="29"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89" name="Freeform 767">
              <a:extLst>
                <a:ext uri="{FF2B5EF4-FFF2-40B4-BE49-F238E27FC236}">
                  <a16:creationId xmlns:a16="http://schemas.microsoft.com/office/drawing/2014/main" id="{96C2B6FE-8058-43F2-AD41-38CFD19B65AA}"/>
                </a:ext>
              </a:extLst>
            </p:cNvPr>
            <p:cNvSpPr>
              <a:spLocks noChangeArrowheads="1"/>
            </p:cNvSpPr>
            <p:nvPr/>
          </p:nvSpPr>
          <p:spPr bwMode="auto">
            <a:xfrm>
              <a:off x="11275731" y="2301311"/>
              <a:ext cx="11415" cy="11329"/>
            </a:xfrm>
            <a:custGeom>
              <a:avLst/>
              <a:gdLst>
                <a:gd name="T0" fmla="*/ 0 w 30"/>
                <a:gd name="T1" fmla="*/ 29 h 30"/>
                <a:gd name="T2" fmla="*/ 0 w 30"/>
                <a:gd name="T3" fmla="*/ 29 h 30"/>
                <a:gd name="T4" fmla="*/ 0 w 30"/>
                <a:gd name="T5" fmla="*/ 0 h 30"/>
                <a:gd name="T6" fmla="*/ 29 w 30"/>
                <a:gd name="T7" fmla="*/ 29 h 30"/>
                <a:gd name="T8" fmla="*/ 0 w 30"/>
                <a:gd name="T9" fmla="*/ 0 h 30"/>
                <a:gd name="T10" fmla="*/ 0 w 30"/>
                <a:gd name="T11" fmla="*/ 29 h 30"/>
              </a:gdLst>
              <a:ahLst/>
              <a:cxnLst>
                <a:cxn ang="0">
                  <a:pos x="T0" y="T1"/>
                </a:cxn>
                <a:cxn ang="0">
                  <a:pos x="T2" y="T3"/>
                </a:cxn>
                <a:cxn ang="0">
                  <a:pos x="T4" y="T5"/>
                </a:cxn>
                <a:cxn ang="0">
                  <a:pos x="T6" y="T7"/>
                </a:cxn>
                <a:cxn ang="0">
                  <a:pos x="T8" y="T9"/>
                </a:cxn>
                <a:cxn ang="0">
                  <a:pos x="T10" y="T11"/>
                </a:cxn>
              </a:cxnLst>
              <a:rect l="0" t="0" r="r" b="b"/>
              <a:pathLst>
                <a:path w="30" h="30">
                  <a:moveTo>
                    <a:pt x="0" y="29"/>
                  </a:moveTo>
                  <a:lnTo>
                    <a:pt x="0" y="29"/>
                  </a:lnTo>
                  <a:lnTo>
                    <a:pt x="0" y="0"/>
                  </a:lnTo>
                  <a:cubicBezTo>
                    <a:pt x="0" y="29"/>
                    <a:pt x="29" y="29"/>
                    <a:pt x="29" y="29"/>
                  </a:cubicBezTo>
                  <a:cubicBezTo>
                    <a:pt x="29" y="29"/>
                    <a:pt x="0" y="29"/>
                    <a:pt x="0" y="0"/>
                  </a:cubicBez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90" name="Freeform 768">
              <a:extLst>
                <a:ext uri="{FF2B5EF4-FFF2-40B4-BE49-F238E27FC236}">
                  <a16:creationId xmlns:a16="http://schemas.microsoft.com/office/drawing/2014/main" id="{AF17A0E8-24A2-4AA7-B47B-BEAFBE9C4712}"/>
                </a:ext>
              </a:extLst>
            </p:cNvPr>
            <p:cNvSpPr>
              <a:spLocks noChangeArrowheads="1"/>
            </p:cNvSpPr>
            <p:nvPr/>
          </p:nvSpPr>
          <p:spPr bwMode="auto">
            <a:xfrm>
              <a:off x="11275731" y="2280273"/>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91" name="Freeform 769">
              <a:extLst>
                <a:ext uri="{FF2B5EF4-FFF2-40B4-BE49-F238E27FC236}">
                  <a16:creationId xmlns:a16="http://schemas.microsoft.com/office/drawing/2014/main" id="{E3476DD2-2F97-4A35-BE1D-F0AE100B0F8B}"/>
                </a:ext>
              </a:extLst>
            </p:cNvPr>
            <p:cNvSpPr>
              <a:spLocks noChangeArrowheads="1"/>
            </p:cNvSpPr>
            <p:nvPr/>
          </p:nvSpPr>
          <p:spPr bwMode="auto">
            <a:xfrm>
              <a:off x="11308348" y="1906440"/>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92" name="Freeform 770">
              <a:extLst>
                <a:ext uri="{FF2B5EF4-FFF2-40B4-BE49-F238E27FC236}">
                  <a16:creationId xmlns:a16="http://schemas.microsoft.com/office/drawing/2014/main" id="{7F137A3F-2D9C-4CC7-8923-46319A25C271}"/>
                </a:ext>
              </a:extLst>
            </p:cNvPr>
            <p:cNvSpPr>
              <a:spLocks noChangeArrowheads="1"/>
            </p:cNvSpPr>
            <p:nvPr/>
          </p:nvSpPr>
          <p:spPr bwMode="auto">
            <a:xfrm>
              <a:off x="11200712" y="2001922"/>
              <a:ext cx="11415" cy="11328"/>
            </a:xfrm>
            <a:custGeom>
              <a:avLst/>
              <a:gdLst>
                <a:gd name="T0" fmla="*/ 30 w 31"/>
                <a:gd name="T1" fmla="*/ 29 h 30"/>
                <a:gd name="T2" fmla="*/ 30 w 31"/>
                <a:gd name="T3" fmla="*/ 29 h 30"/>
                <a:gd name="T4" fmla="*/ 0 w 31"/>
                <a:gd name="T5" fmla="*/ 29 h 30"/>
                <a:gd name="T6" fmla="*/ 0 w 31"/>
                <a:gd name="T7" fmla="*/ 0 h 30"/>
                <a:gd name="T8" fmla="*/ 0 w 31"/>
                <a:gd name="T9" fmla="*/ 29 h 30"/>
                <a:gd name="T10" fmla="*/ 30 w 31"/>
                <a:gd name="T11" fmla="*/ 29 h 30"/>
              </a:gdLst>
              <a:ahLst/>
              <a:cxnLst>
                <a:cxn ang="0">
                  <a:pos x="T0" y="T1"/>
                </a:cxn>
                <a:cxn ang="0">
                  <a:pos x="T2" y="T3"/>
                </a:cxn>
                <a:cxn ang="0">
                  <a:pos x="T4" y="T5"/>
                </a:cxn>
                <a:cxn ang="0">
                  <a:pos x="T6" y="T7"/>
                </a:cxn>
                <a:cxn ang="0">
                  <a:pos x="T8" y="T9"/>
                </a:cxn>
                <a:cxn ang="0">
                  <a:pos x="T10" y="T11"/>
                </a:cxn>
              </a:cxnLst>
              <a:rect l="0" t="0" r="r" b="b"/>
              <a:pathLst>
                <a:path w="31" h="30">
                  <a:moveTo>
                    <a:pt x="30" y="29"/>
                  </a:moveTo>
                  <a:lnTo>
                    <a:pt x="30" y="29"/>
                  </a:lnTo>
                  <a:cubicBezTo>
                    <a:pt x="30" y="29"/>
                    <a:pt x="30" y="29"/>
                    <a:pt x="0" y="29"/>
                  </a:cubicBezTo>
                  <a:lnTo>
                    <a:pt x="0" y="0"/>
                  </a:lnTo>
                  <a:lnTo>
                    <a:pt x="0" y="29"/>
                  </a:lnTo>
                  <a:cubicBezTo>
                    <a:pt x="30" y="29"/>
                    <a:pt x="30" y="29"/>
                    <a:pt x="3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93" name="Freeform 771">
              <a:extLst>
                <a:ext uri="{FF2B5EF4-FFF2-40B4-BE49-F238E27FC236}">
                  <a16:creationId xmlns:a16="http://schemas.microsoft.com/office/drawing/2014/main" id="{E816E576-D391-40E7-81D6-0059962B0BAB}"/>
                </a:ext>
              </a:extLst>
            </p:cNvPr>
            <p:cNvSpPr>
              <a:spLocks noChangeArrowheads="1"/>
            </p:cNvSpPr>
            <p:nvPr/>
          </p:nvSpPr>
          <p:spPr bwMode="auto">
            <a:xfrm>
              <a:off x="11200712" y="2034288"/>
              <a:ext cx="21200" cy="11328"/>
            </a:xfrm>
            <a:custGeom>
              <a:avLst/>
              <a:gdLst>
                <a:gd name="T0" fmla="*/ 58 w 59"/>
                <a:gd name="T1" fmla="*/ 0 h 30"/>
                <a:gd name="T2" fmla="*/ 58 w 59"/>
                <a:gd name="T3" fmla="*/ 0 h 30"/>
                <a:gd name="T4" fmla="*/ 58 w 59"/>
                <a:gd name="T5" fmla="*/ 0 h 30"/>
                <a:gd name="T6" fmla="*/ 0 w 59"/>
                <a:gd name="T7" fmla="*/ 29 h 30"/>
                <a:gd name="T8" fmla="*/ 58 w 59"/>
                <a:gd name="T9" fmla="*/ 0 h 30"/>
              </a:gdLst>
              <a:ahLst/>
              <a:cxnLst>
                <a:cxn ang="0">
                  <a:pos x="T0" y="T1"/>
                </a:cxn>
                <a:cxn ang="0">
                  <a:pos x="T2" y="T3"/>
                </a:cxn>
                <a:cxn ang="0">
                  <a:pos x="T4" y="T5"/>
                </a:cxn>
                <a:cxn ang="0">
                  <a:pos x="T6" y="T7"/>
                </a:cxn>
                <a:cxn ang="0">
                  <a:pos x="T8" y="T9"/>
                </a:cxn>
              </a:cxnLst>
              <a:rect l="0" t="0" r="r" b="b"/>
              <a:pathLst>
                <a:path w="59" h="30">
                  <a:moveTo>
                    <a:pt x="58" y="0"/>
                  </a:moveTo>
                  <a:lnTo>
                    <a:pt x="58" y="0"/>
                  </a:lnTo>
                  <a:lnTo>
                    <a:pt x="58" y="0"/>
                  </a:lnTo>
                  <a:cubicBezTo>
                    <a:pt x="58" y="29"/>
                    <a:pt x="30" y="29"/>
                    <a:pt x="0" y="29"/>
                  </a:cubicBezTo>
                  <a:cubicBezTo>
                    <a:pt x="30" y="29"/>
                    <a:pt x="58" y="29"/>
                    <a:pt x="5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94" name="Freeform 772">
              <a:extLst>
                <a:ext uri="{FF2B5EF4-FFF2-40B4-BE49-F238E27FC236}">
                  <a16:creationId xmlns:a16="http://schemas.microsoft.com/office/drawing/2014/main" id="{F8BCF584-0D2B-4062-8AD9-6057837D5EA3}"/>
                </a:ext>
              </a:extLst>
            </p:cNvPr>
            <p:cNvSpPr>
              <a:spLocks noChangeArrowheads="1"/>
            </p:cNvSpPr>
            <p:nvPr/>
          </p:nvSpPr>
          <p:spPr bwMode="auto">
            <a:xfrm>
              <a:off x="11006641" y="1563357"/>
              <a:ext cx="21202" cy="64733"/>
            </a:xfrm>
            <a:custGeom>
              <a:avLst/>
              <a:gdLst>
                <a:gd name="T0" fmla="*/ 58 w 59"/>
                <a:gd name="T1" fmla="*/ 117 h 177"/>
                <a:gd name="T2" fmla="*/ 58 w 59"/>
                <a:gd name="T3" fmla="*/ 117 h 177"/>
                <a:gd name="T4" fmla="*/ 29 w 59"/>
                <a:gd name="T5" fmla="*/ 59 h 177"/>
                <a:gd name="T6" fmla="*/ 0 w 59"/>
                <a:gd name="T7" fmla="*/ 0 h 177"/>
                <a:gd name="T8" fmla="*/ 29 w 59"/>
                <a:gd name="T9" fmla="*/ 59 h 177"/>
                <a:gd name="T10" fmla="*/ 58 w 59"/>
                <a:gd name="T11" fmla="*/ 117 h 177"/>
                <a:gd name="T12" fmla="*/ 58 w 59"/>
                <a:gd name="T13" fmla="*/ 176 h 177"/>
                <a:gd name="T14" fmla="*/ 58 w 59"/>
                <a:gd name="T15" fmla="*/ 117 h 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177">
                  <a:moveTo>
                    <a:pt x="58" y="117"/>
                  </a:moveTo>
                  <a:lnTo>
                    <a:pt x="58" y="117"/>
                  </a:lnTo>
                  <a:cubicBezTo>
                    <a:pt x="58" y="117"/>
                    <a:pt x="29" y="88"/>
                    <a:pt x="29" y="59"/>
                  </a:cubicBezTo>
                  <a:cubicBezTo>
                    <a:pt x="29" y="30"/>
                    <a:pt x="29" y="30"/>
                    <a:pt x="0" y="0"/>
                  </a:cubicBezTo>
                  <a:cubicBezTo>
                    <a:pt x="29" y="30"/>
                    <a:pt x="29" y="30"/>
                    <a:pt x="29" y="59"/>
                  </a:cubicBezTo>
                  <a:cubicBezTo>
                    <a:pt x="29" y="88"/>
                    <a:pt x="58" y="117"/>
                    <a:pt x="58" y="117"/>
                  </a:cubicBezTo>
                  <a:cubicBezTo>
                    <a:pt x="58" y="147"/>
                    <a:pt x="58" y="147"/>
                    <a:pt x="58" y="176"/>
                  </a:cubicBezTo>
                  <a:cubicBezTo>
                    <a:pt x="58" y="147"/>
                    <a:pt x="58" y="147"/>
                    <a:pt x="58"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95" name="Freeform 773">
              <a:extLst>
                <a:ext uri="{FF2B5EF4-FFF2-40B4-BE49-F238E27FC236}">
                  <a16:creationId xmlns:a16="http://schemas.microsoft.com/office/drawing/2014/main" id="{249F5616-E867-4DC5-BEE3-0E9A54AB3ED4}"/>
                </a:ext>
              </a:extLst>
            </p:cNvPr>
            <p:cNvSpPr>
              <a:spLocks noChangeArrowheads="1"/>
            </p:cNvSpPr>
            <p:nvPr/>
          </p:nvSpPr>
          <p:spPr bwMode="auto">
            <a:xfrm>
              <a:off x="11491003" y="1628089"/>
              <a:ext cx="11415" cy="21039"/>
            </a:xfrm>
            <a:custGeom>
              <a:avLst/>
              <a:gdLst>
                <a:gd name="T0" fmla="*/ 29 w 30"/>
                <a:gd name="T1" fmla="*/ 58 h 59"/>
                <a:gd name="T2" fmla="*/ 29 w 30"/>
                <a:gd name="T3" fmla="*/ 58 h 59"/>
                <a:gd name="T4" fmla="*/ 0 w 30"/>
                <a:gd name="T5" fmla="*/ 0 h 59"/>
                <a:gd name="T6" fmla="*/ 29 w 30"/>
                <a:gd name="T7" fmla="*/ 58 h 59"/>
              </a:gdLst>
              <a:ahLst/>
              <a:cxnLst>
                <a:cxn ang="0">
                  <a:pos x="T0" y="T1"/>
                </a:cxn>
                <a:cxn ang="0">
                  <a:pos x="T2" y="T3"/>
                </a:cxn>
                <a:cxn ang="0">
                  <a:pos x="T4" y="T5"/>
                </a:cxn>
                <a:cxn ang="0">
                  <a:pos x="T6" y="T7"/>
                </a:cxn>
              </a:cxnLst>
              <a:rect l="0" t="0" r="r" b="b"/>
              <a:pathLst>
                <a:path w="30" h="59">
                  <a:moveTo>
                    <a:pt x="29" y="58"/>
                  </a:moveTo>
                  <a:lnTo>
                    <a:pt x="29" y="58"/>
                  </a:lnTo>
                  <a:cubicBezTo>
                    <a:pt x="29" y="29"/>
                    <a:pt x="0" y="29"/>
                    <a:pt x="0" y="0"/>
                  </a:cubicBezTo>
                  <a:cubicBezTo>
                    <a:pt x="0" y="29"/>
                    <a:pt x="29" y="29"/>
                    <a:pt x="29"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96" name="Freeform 774">
              <a:extLst>
                <a:ext uri="{FF2B5EF4-FFF2-40B4-BE49-F238E27FC236}">
                  <a16:creationId xmlns:a16="http://schemas.microsoft.com/office/drawing/2014/main" id="{00551E86-0224-4DB7-8C2F-527A79DF4585}"/>
                </a:ext>
              </a:extLst>
            </p:cNvPr>
            <p:cNvSpPr>
              <a:spLocks noChangeArrowheads="1"/>
            </p:cNvSpPr>
            <p:nvPr/>
          </p:nvSpPr>
          <p:spPr bwMode="auto">
            <a:xfrm>
              <a:off x="11502418" y="1658838"/>
              <a:ext cx="22832" cy="32366"/>
            </a:xfrm>
            <a:custGeom>
              <a:avLst/>
              <a:gdLst>
                <a:gd name="T0" fmla="*/ 59 w 60"/>
                <a:gd name="T1" fmla="*/ 87 h 88"/>
                <a:gd name="T2" fmla="*/ 59 w 60"/>
                <a:gd name="T3" fmla="*/ 87 h 88"/>
                <a:gd name="T4" fmla="*/ 0 w 60"/>
                <a:gd name="T5" fmla="*/ 0 h 88"/>
                <a:gd name="T6" fmla="*/ 59 w 60"/>
                <a:gd name="T7" fmla="*/ 87 h 88"/>
              </a:gdLst>
              <a:ahLst/>
              <a:cxnLst>
                <a:cxn ang="0">
                  <a:pos x="T0" y="T1"/>
                </a:cxn>
                <a:cxn ang="0">
                  <a:pos x="T2" y="T3"/>
                </a:cxn>
                <a:cxn ang="0">
                  <a:pos x="T4" y="T5"/>
                </a:cxn>
                <a:cxn ang="0">
                  <a:pos x="T6" y="T7"/>
                </a:cxn>
              </a:cxnLst>
              <a:rect l="0" t="0" r="r" b="b"/>
              <a:pathLst>
                <a:path w="60" h="88">
                  <a:moveTo>
                    <a:pt x="59" y="87"/>
                  </a:moveTo>
                  <a:lnTo>
                    <a:pt x="59" y="87"/>
                  </a:lnTo>
                  <a:cubicBezTo>
                    <a:pt x="30" y="58"/>
                    <a:pt x="0" y="58"/>
                    <a:pt x="0" y="0"/>
                  </a:cubicBezTo>
                  <a:cubicBezTo>
                    <a:pt x="0" y="58"/>
                    <a:pt x="30" y="58"/>
                    <a:pt x="59" y="8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97" name="Freeform 775">
              <a:extLst>
                <a:ext uri="{FF2B5EF4-FFF2-40B4-BE49-F238E27FC236}">
                  <a16:creationId xmlns:a16="http://schemas.microsoft.com/office/drawing/2014/main" id="{1B4CA9B8-1531-4964-81EB-6B02489A21FD}"/>
                </a:ext>
              </a:extLst>
            </p:cNvPr>
            <p:cNvSpPr>
              <a:spLocks noChangeArrowheads="1"/>
            </p:cNvSpPr>
            <p:nvPr/>
          </p:nvSpPr>
          <p:spPr bwMode="auto">
            <a:xfrm>
              <a:off x="11275731" y="1338411"/>
              <a:ext cx="75019" cy="182870"/>
            </a:xfrm>
            <a:custGeom>
              <a:avLst/>
              <a:gdLst>
                <a:gd name="T0" fmla="*/ 0 w 205"/>
                <a:gd name="T1" fmla="*/ 0 h 497"/>
                <a:gd name="T2" fmla="*/ 0 w 205"/>
                <a:gd name="T3" fmla="*/ 0 h 497"/>
                <a:gd name="T4" fmla="*/ 0 w 205"/>
                <a:gd name="T5" fmla="*/ 0 h 497"/>
                <a:gd name="T6" fmla="*/ 88 w 205"/>
                <a:gd name="T7" fmla="*/ 233 h 497"/>
                <a:gd name="T8" fmla="*/ 204 w 205"/>
                <a:gd name="T9" fmla="*/ 496 h 497"/>
                <a:gd name="T10" fmla="*/ 88 w 205"/>
                <a:gd name="T11" fmla="*/ 233 h 497"/>
                <a:gd name="T12" fmla="*/ 0 w 205"/>
                <a:gd name="T13" fmla="*/ 0 h 497"/>
              </a:gdLst>
              <a:ahLst/>
              <a:cxnLst>
                <a:cxn ang="0">
                  <a:pos x="T0" y="T1"/>
                </a:cxn>
                <a:cxn ang="0">
                  <a:pos x="T2" y="T3"/>
                </a:cxn>
                <a:cxn ang="0">
                  <a:pos x="T4" y="T5"/>
                </a:cxn>
                <a:cxn ang="0">
                  <a:pos x="T6" y="T7"/>
                </a:cxn>
                <a:cxn ang="0">
                  <a:pos x="T8" y="T9"/>
                </a:cxn>
                <a:cxn ang="0">
                  <a:pos x="T10" y="T11"/>
                </a:cxn>
                <a:cxn ang="0">
                  <a:pos x="T12" y="T13"/>
                </a:cxn>
              </a:cxnLst>
              <a:rect l="0" t="0" r="r" b="b"/>
              <a:pathLst>
                <a:path w="205" h="497">
                  <a:moveTo>
                    <a:pt x="0" y="0"/>
                  </a:moveTo>
                  <a:lnTo>
                    <a:pt x="0" y="0"/>
                  </a:lnTo>
                  <a:lnTo>
                    <a:pt x="0" y="0"/>
                  </a:lnTo>
                  <a:cubicBezTo>
                    <a:pt x="29" y="88"/>
                    <a:pt x="59" y="146"/>
                    <a:pt x="88" y="233"/>
                  </a:cubicBezTo>
                  <a:cubicBezTo>
                    <a:pt x="117" y="321"/>
                    <a:pt x="146" y="409"/>
                    <a:pt x="204" y="496"/>
                  </a:cubicBezTo>
                  <a:cubicBezTo>
                    <a:pt x="146" y="409"/>
                    <a:pt x="117" y="321"/>
                    <a:pt x="88" y="233"/>
                  </a:cubicBezTo>
                  <a:cubicBezTo>
                    <a:pt x="59" y="146"/>
                    <a:pt x="29" y="88"/>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98" name="Freeform 776">
              <a:extLst>
                <a:ext uri="{FF2B5EF4-FFF2-40B4-BE49-F238E27FC236}">
                  <a16:creationId xmlns:a16="http://schemas.microsoft.com/office/drawing/2014/main" id="{0C93DC0B-E3AC-44FF-B767-CFA7E2C8A9E1}"/>
                </a:ext>
              </a:extLst>
            </p:cNvPr>
            <p:cNvSpPr>
              <a:spLocks noChangeArrowheads="1"/>
            </p:cNvSpPr>
            <p:nvPr/>
          </p:nvSpPr>
          <p:spPr bwMode="auto">
            <a:xfrm>
              <a:off x="11298563" y="1948517"/>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99" name="Freeform 777">
              <a:extLst>
                <a:ext uri="{FF2B5EF4-FFF2-40B4-BE49-F238E27FC236}">
                  <a16:creationId xmlns:a16="http://schemas.microsoft.com/office/drawing/2014/main" id="{F83CDC4F-6860-4D07-92DE-7FE58AD297EC}"/>
                </a:ext>
              </a:extLst>
            </p:cNvPr>
            <p:cNvSpPr>
              <a:spLocks noChangeArrowheads="1"/>
            </p:cNvSpPr>
            <p:nvPr/>
          </p:nvSpPr>
          <p:spPr bwMode="auto">
            <a:xfrm>
              <a:off x="11243114" y="1990593"/>
              <a:ext cx="11415" cy="11329"/>
            </a:xfrm>
            <a:custGeom>
              <a:avLst/>
              <a:gdLst>
                <a:gd name="T0" fmla="*/ 0 w 31"/>
                <a:gd name="T1" fmla="*/ 0 h 31"/>
                <a:gd name="T2" fmla="*/ 0 w 31"/>
                <a:gd name="T3" fmla="*/ 0 h 31"/>
                <a:gd name="T4" fmla="*/ 30 w 31"/>
                <a:gd name="T5" fmla="*/ 30 h 31"/>
                <a:gd name="T6" fmla="*/ 30 w 31"/>
                <a:gd name="T7" fmla="*/ 30 h 31"/>
                <a:gd name="T8" fmla="*/ 0 w 31"/>
                <a:gd name="T9" fmla="*/ 0 h 31"/>
              </a:gdLst>
              <a:ahLst/>
              <a:cxnLst>
                <a:cxn ang="0">
                  <a:pos x="T0" y="T1"/>
                </a:cxn>
                <a:cxn ang="0">
                  <a:pos x="T2" y="T3"/>
                </a:cxn>
                <a:cxn ang="0">
                  <a:pos x="T4" y="T5"/>
                </a:cxn>
                <a:cxn ang="0">
                  <a:pos x="T6" y="T7"/>
                </a:cxn>
                <a:cxn ang="0">
                  <a:pos x="T8" y="T9"/>
                </a:cxn>
              </a:cxnLst>
              <a:rect l="0" t="0" r="r" b="b"/>
              <a:pathLst>
                <a:path w="31" h="31">
                  <a:moveTo>
                    <a:pt x="0" y="0"/>
                  </a:moveTo>
                  <a:lnTo>
                    <a:pt x="0" y="0"/>
                  </a:lnTo>
                  <a:cubicBezTo>
                    <a:pt x="0" y="30"/>
                    <a:pt x="0" y="30"/>
                    <a:pt x="30" y="30"/>
                  </a:cubicBezTo>
                  <a:lnTo>
                    <a:pt x="30" y="3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00" name="Freeform 778">
              <a:extLst>
                <a:ext uri="{FF2B5EF4-FFF2-40B4-BE49-F238E27FC236}">
                  <a16:creationId xmlns:a16="http://schemas.microsoft.com/office/drawing/2014/main" id="{A6FEEC40-CF57-432F-B56E-CB310AB936D5}"/>
                </a:ext>
              </a:extLst>
            </p:cNvPr>
            <p:cNvSpPr>
              <a:spLocks noChangeArrowheads="1"/>
            </p:cNvSpPr>
            <p:nvPr/>
          </p:nvSpPr>
          <p:spPr bwMode="auto">
            <a:xfrm>
              <a:off x="10995226" y="1649128"/>
              <a:ext cx="32617" cy="53404"/>
            </a:xfrm>
            <a:custGeom>
              <a:avLst/>
              <a:gdLst>
                <a:gd name="T0" fmla="*/ 0 w 88"/>
                <a:gd name="T1" fmla="*/ 146 h 147"/>
                <a:gd name="T2" fmla="*/ 0 w 88"/>
                <a:gd name="T3" fmla="*/ 146 h 147"/>
                <a:gd name="T4" fmla="*/ 0 w 88"/>
                <a:gd name="T5" fmla="*/ 146 h 147"/>
                <a:gd name="T6" fmla="*/ 58 w 88"/>
                <a:gd name="T7" fmla="*/ 87 h 147"/>
                <a:gd name="T8" fmla="*/ 87 w 88"/>
                <a:gd name="T9" fmla="*/ 58 h 147"/>
                <a:gd name="T10" fmla="*/ 58 w 88"/>
                <a:gd name="T11" fmla="*/ 29 h 147"/>
                <a:gd name="T12" fmla="*/ 58 w 88"/>
                <a:gd name="T13" fmla="*/ 0 h 147"/>
                <a:gd name="T14" fmla="*/ 58 w 88"/>
                <a:gd name="T15" fmla="*/ 0 h 147"/>
                <a:gd name="T16" fmla="*/ 58 w 88"/>
                <a:gd name="T17" fmla="*/ 29 h 147"/>
                <a:gd name="T18" fmla="*/ 87 w 88"/>
                <a:gd name="T19" fmla="*/ 58 h 147"/>
                <a:gd name="T20" fmla="*/ 58 w 88"/>
                <a:gd name="T21" fmla="*/ 87 h 147"/>
                <a:gd name="T22" fmla="*/ 0 w 88"/>
                <a:gd name="T23" fmla="*/ 14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 h="147">
                  <a:moveTo>
                    <a:pt x="0" y="146"/>
                  </a:moveTo>
                  <a:lnTo>
                    <a:pt x="0" y="146"/>
                  </a:lnTo>
                  <a:lnTo>
                    <a:pt x="0" y="146"/>
                  </a:lnTo>
                  <a:cubicBezTo>
                    <a:pt x="0" y="116"/>
                    <a:pt x="29" y="116"/>
                    <a:pt x="58" y="87"/>
                  </a:cubicBezTo>
                  <a:cubicBezTo>
                    <a:pt x="58" y="87"/>
                    <a:pt x="87" y="87"/>
                    <a:pt x="87" y="58"/>
                  </a:cubicBezTo>
                  <a:cubicBezTo>
                    <a:pt x="87" y="58"/>
                    <a:pt x="87" y="58"/>
                    <a:pt x="58" y="29"/>
                  </a:cubicBezTo>
                  <a:lnTo>
                    <a:pt x="58" y="0"/>
                  </a:lnTo>
                  <a:lnTo>
                    <a:pt x="58" y="0"/>
                  </a:lnTo>
                  <a:lnTo>
                    <a:pt x="58" y="29"/>
                  </a:lnTo>
                  <a:cubicBezTo>
                    <a:pt x="87" y="58"/>
                    <a:pt x="87" y="58"/>
                    <a:pt x="87" y="58"/>
                  </a:cubicBezTo>
                  <a:cubicBezTo>
                    <a:pt x="87" y="87"/>
                    <a:pt x="58" y="87"/>
                    <a:pt x="58" y="87"/>
                  </a:cubicBezTo>
                  <a:cubicBezTo>
                    <a:pt x="29" y="116"/>
                    <a:pt x="0" y="116"/>
                    <a:pt x="0" y="14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01" name="Freeform 779">
              <a:extLst>
                <a:ext uri="{FF2B5EF4-FFF2-40B4-BE49-F238E27FC236}">
                  <a16:creationId xmlns:a16="http://schemas.microsoft.com/office/drawing/2014/main" id="{C7B0A8A3-8495-4719-A85C-AC986C7A0782}"/>
                </a:ext>
              </a:extLst>
            </p:cNvPr>
            <p:cNvSpPr>
              <a:spLocks noChangeArrowheads="1"/>
            </p:cNvSpPr>
            <p:nvPr/>
          </p:nvSpPr>
          <p:spPr bwMode="auto">
            <a:xfrm>
              <a:off x="11135478" y="2270563"/>
              <a:ext cx="11415" cy="11328"/>
            </a:xfrm>
            <a:custGeom>
              <a:avLst/>
              <a:gdLst>
                <a:gd name="T0" fmla="*/ 29 w 30"/>
                <a:gd name="T1" fmla="*/ 29 h 30"/>
                <a:gd name="T2" fmla="*/ 29 w 30"/>
                <a:gd name="T3" fmla="*/ 29 h 30"/>
                <a:gd name="T4" fmla="*/ 29 w 30"/>
                <a:gd name="T5" fmla="*/ 0 h 30"/>
                <a:gd name="T6" fmla="*/ 29 w 30"/>
                <a:gd name="T7" fmla="*/ 29 h 30"/>
              </a:gdLst>
              <a:ahLst/>
              <a:cxnLst>
                <a:cxn ang="0">
                  <a:pos x="T0" y="T1"/>
                </a:cxn>
                <a:cxn ang="0">
                  <a:pos x="T2" y="T3"/>
                </a:cxn>
                <a:cxn ang="0">
                  <a:pos x="T4" y="T5"/>
                </a:cxn>
                <a:cxn ang="0">
                  <a:pos x="T6" y="T7"/>
                </a:cxn>
              </a:cxnLst>
              <a:rect l="0" t="0" r="r" b="b"/>
              <a:pathLst>
                <a:path w="30" h="30">
                  <a:moveTo>
                    <a:pt x="29" y="29"/>
                  </a:moveTo>
                  <a:lnTo>
                    <a:pt x="29" y="29"/>
                  </a:lnTo>
                  <a:cubicBezTo>
                    <a:pt x="29" y="29"/>
                    <a:pt x="0" y="29"/>
                    <a:pt x="29" y="0"/>
                  </a:cubicBezTo>
                  <a:cubicBezTo>
                    <a:pt x="0" y="29"/>
                    <a:pt x="29"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02" name="Freeform 780">
              <a:extLst>
                <a:ext uri="{FF2B5EF4-FFF2-40B4-BE49-F238E27FC236}">
                  <a16:creationId xmlns:a16="http://schemas.microsoft.com/office/drawing/2014/main" id="{E74BC26E-9AC8-4888-9E12-14F0796BEB3B}"/>
                </a:ext>
              </a:extLst>
            </p:cNvPr>
            <p:cNvSpPr>
              <a:spLocks noChangeArrowheads="1"/>
            </p:cNvSpPr>
            <p:nvPr/>
          </p:nvSpPr>
          <p:spPr bwMode="auto">
            <a:xfrm>
              <a:off x="11254530" y="1980883"/>
              <a:ext cx="1631" cy="11329"/>
            </a:xfrm>
            <a:custGeom>
              <a:avLst/>
              <a:gdLst>
                <a:gd name="T0" fmla="*/ 0 w 1"/>
                <a:gd name="T1" fmla="*/ 29 h 30"/>
                <a:gd name="T2" fmla="*/ 0 w 1"/>
                <a:gd name="T3" fmla="*/ 29 h 30"/>
                <a:gd name="T4" fmla="*/ 0 w 1"/>
                <a:gd name="T5" fmla="*/ 0 h 30"/>
                <a:gd name="T6" fmla="*/ 0 w 1"/>
                <a:gd name="T7" fmla="*/ 0 h 30"/>
                <a:gd name="T8" fmla="*/ 0 w 1"/>
                <a:gd name="T9" fmla="*/ 0 h 30"/>
                <a:gd name="T10" fmla="*/ 0 w 1"/>
                <a:gd name="T11" fmla="*/ 29 h 30"/>
              </a:gdLst>
              <a:ahLst/>
              <a:cxnLst>
                <a:cxn ang="0">
                  <a:pos x="T0" y="T1"/>
                </a:cxn>
                <a:cxn ang="0">
                  <a:pos x="T2" y="T3"/>
                </a:cxn>
                <a:cxn ang="0">
                  <a:pos x="T4" y="T5"/>
                </a:cxn>
                <a:cxn ang="0">
                  <a:pos x="T6" y="T7"/>
                </a:cxn>
                <a:cxn ang="0">
                  <a:pos x="T8" y="T9"/>
                </a:cxn>
                <a:cxn ang="0">
                  <a:pos x="T10" y="T11"/>
                </a:cxn>
              </a:cxnLst>
              <a:rect l="0" t="0" r="r" b="b"/>
              <a:pathLst>
                <a:path w="1" h="30">
                  <a:moveTo>
                    <a:pt x="0" y="29"/>
                  </a:moveTo>
                  <a:lnTo>
                    <a:pt x="0" y="29"/>
                  </a:lnTo>
                  <a:cubicBezTo>
                    <a:pt x="0" y="0"/>
                    <a:pt x="0" y="0"/>
                    <a:pt x="0" y="0"/>
                  </a:cubicBezTo>
                  <a:lnTo>
                    <a:pt x="0" y="0"/>
                  </a:lnTo>
                  <a:lnTo>
                    <a:pt x="0" y="0"/>
                  </a:lnTo>
                  <a:cubicBezTo>
                    <a:pt x="0" y="0"/>
                    <a:pt x="0"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03" name="Freeform 781">
              <a:extLst>
                <a:ext uri="{FF2B5EF4-FFF2-40B4-BE49-F238E27FC236}">
                  <a16:creationId xmlns:a16="http://schemas.microsoft.com/office/drawing/2014/main" id="{DAC8A797-C97C-444C-AA26-A910ADB4C3B9}"/>
                </a:ext>
              </a:extLst>
            </p:cNvPr>
            <p:cNvSpPr>
              <a:spLocks noChangeArrowheads="1"/>
            </p:cNvSpPr>
            <p:nvPr/>
          </p:nvSpPr>
          <p:spPr bwMode="auto">
            <a:xfrm>
              <a:off x="11168095" y="2205830"/>
              <a:ext cx="11415" cy="11328"/>
            </a:xfrm>
            <a:custGeom>
              <a:avLst/>
              <a:gdLst>
                <a:gd name="T0" fmla="*/ 29 w 30"/>
                <a:gd name="T1" fmla="*/ 0 h 31"/>
                <a:gd name="T2" fmla="*/ 0 w 30"/>
                <a:gd name="T3" fmla="*/ 30 h 31"/>
                <a:gd name="T4" fmla="*/ 29 w 30"/>
                <a:gd name="T5" fmla="*/ 0 h 31"/>
              </a:gdLst>
              <a:ahLst/>
              <a:cxnLst>
                <a:cxn ang="0">
                  <a:pos x="T0" y="T1"/>
                </a:cxn>
                <a:cxn ang="0">
                  <a:pos x="T2" y="T3"/>
                </a:cxn>
                <a:cxn ang="0">
                  <a:pos x="T4" y="T5"/>
                </a:cxn>
              </a:cxnLst>
              <a:rect l="0" t="0" r="r" b="b"/>
              <a:pathLst>
                <a:path w="30" h="31">
                  <a:moveTo>
                    <a:pt x="29" y="0"/>
                  </a:moveTo>
                  <a:lnTo>
                    <a:pt x="0" y="30"/>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04" name="Freeform 782">
              <a:extLst>
                <a:ext uri="{FF2B5EF4-FFF2-40B4-BE49-F238E27FC236}">
                  <a16:creationId xmlns:a16="http://schemas.microsoft.com/office/drawing/2014/main" id="{8A87E100-89F0-43BB-80FD-5F34DD091184}"/>
                </a:ext>
              </a:extLst>
            </p:cNvPr>
            <p:cNvSpPr>
              <a:spLocks noChangeArrowheads="1"/>
            </p:cNvSpPr>
            <p:nvPr/>
          </p:nvSpPr>
          <p:spPr bwMode="auto">
            <a:xfrm>
              <a:off x="11156679" y="2205830"/>
              <a:ext cx="11416" cy="1618"/>
            </a:xfrm>
            <a:custGeom>
              <a:avLst/>
              <a:gdLst>
                <a:gd name="T0" fmla="*/ 0 w 31"/>
                <a:gd name="T1" fmla="*/ 0 h 1"/>
                <a:gd name="T2" fmla="*/ 0 w 31"/>
                <a:gd name="T3" fmla="*/ 0 h 1"/>
                <a:gd name="T4" fmla="*/ 30 w 31"/>
                <a:gd name="T5" fmla="*/ 0 h 1"/>
                <a:gd name="T6" fmla="*/ 30 w 31"/>
                <a:gd name="T7" fmla="*/ 0 h 1"/>
                <a:gd name="T8" fmla="*/ 30 w 31"/>
                <a:gd name="T9" fmla="*/ 0 h 1"/>
                <a:gd name="T10" fmla="*/ 0 w 31"/>
                <a:gd name="T11" fmla="*/ 0 h 1"/>
              </a:gdLst>
              <a:ahLst/>
              <a:cxnLst>
                <a:cxn ang="0">
                  <a:pos x="T0" y="T1"/>
                </a:cxn>
                <a:cxn ang="0">
                  <a:pos x="T2" y="T3"/>
                </a:cxn>
                <a:cxn ang="0">
                  <a:pos x="T4" y="T5"/>
                </a:cxn>
                <a:cxn ang="0">
                  <a:pos x="T6" y="T7"/>
                </a:cxn>
                <a:cxn ang="0">
                  <a:pos x="T8" y="T9"/>
                </a:cxn>
                <a:cxn ang="0">
                  <a:pos x="T10" y="T11"/>
                </a:cxn>
              </a:cxnLst>
              <a:rect l="0" t="0" r="r" b="b"/>
              <a:pathLst>
                <a:path w="31" h="1">
                  <a:moveTo>
                    <a:pt x="0" y="0"/>
                  </a:moveTo>
                  <a:lnTo>
                    <a:pt x="0" y="0"/>
                  </a:lnTo>
                  <a:lnTo>
                    <a:pt x="30" y="0"/>
                  </a:lnTo>
                  <a:lnTo>
                    <a:pt x="30" y="0"/>
                  </a:lnTo>
                  <a:lnTo>
                    <a:pt x="30"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05" name="Freeform 783">
              <a:extLst>
                <a:ext uri="{FF2B5EF4-FFF2-40B4-BE49-F238E27FC236}">
                  <a16:creationId xmlns:a16="http://schemas.microsoft.com/office/drawing/2014/main" id="{0A5193CB-9B59-4DDD-9AAA-F383CD09EFC1}"/>
                </a:ext>
              </a:extLst>
            </p:cNvPr>
            <p:cNvSpPr>
              <a:spLocks noChangeArrowheads="1"/>
            </p:cNvSpPr>
            <p:nvPr/>
          </p:nvSpPr>
          <p:spPr bwMode="auto">
            <a:xfrm>
              <a:off x="11135478" y="2419448"/>
              <a:ext cx="1630"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0"/>
                    <a:pt x="0" y="0"/>
                    <a:pt x="0" y="0"/>
                  </a:cubicBezTo>
                  <a:cubicBezTo>
                    <a:pt x="0" y="0"/>
                    <a:pt x="0"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06" name="Freeform 784">
              <a:extLst>
                <a:ext uri="{FF2B5EF4-FFF2-40B4-BE49-F238E27FC236}">
                  <a16:creationId xmlns:a16="http://schemas.microsoft.com/office/drawing/2014/main" id="{5E9071A8-1682-4EB5-B942-C4F8AC468E3A}"/>
                </a:ext>
              </a:extLst>
            </p:cNvPr>
            <p:cNvSpPr>
              <a:spLocks noChangeArrowheads="1"/>
            </p:cNvSpPr>
            <p:nvPr/>
          </p:nvSpPr>
          <p:spPr bwMode="auto">
            <a:xfrm>
              <a:off x="11275731" y="1338411"/>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07" name="Freeform 785">
              <a:extLst>
                <a:ext uri="{FF2B5EF4-FFF2-40B4-BE49-F238E27FC236}">
                  <a16:creationId xmlns:a16="http://schemas.microsoft.com/office/drawing/2014/main" id="{05E5491E-C0BF-4FA7-B54A-6A331AA87B10}"/>
                </a:ext>
              </a:extLst>
            </p:cNvPr>
            <p:cNvSpPr>
              <a:spLocks noChangeArrowheads="1"/>
            </p:cNvSpPr>
            <p:nvPr/>
          </p:nvSpPr>
          <p:spPr bwMode="auto">
            <a:xfrm>
              <a:off x="11146894" y="2162135"/>
              <a:ext cx="1631" cy="11329"/>
            </a:xfrm>
            <a:custGeom>
              <a:avLst/>
              <a:gdLst>
                <a:gd name="T0" fmla="*/ 0 w 1"/>
                <a:gd name="T1" fmla="*/ 0 h 30"/>
                <a:gd name="T2" fmla="*/ 0 w 1"/>
                <a:gd name="T3" fmla="*/ 0 h 30"/>
                <a:gd name="T4" fmla="*/ 0 w 1"/>
                <a:gd name="T5" fmla="*/ 29 h 30"/>
                <a:gd name="T6" fmla="*/ 0 w 1"/>
                <a:gd name="T7" fmla="*/ 29 h 30"/>
                <a:gd name="T8" fmla="*/ 0 w 1"/>
                <a:gd name="T9" fmla="*/ 0 h 30"/>
              </a:gdLst>
              <a:ahLst/>
              <a:cxnLst>
                <a:cxn ang="0">
                  <a:pos x="T0" y="T1"/>
                </a:cxn>
                <a:cxn ang="0">
                  <a:pos x="T2" y="T3"/>
                </a:cxn>
                <a:cxn ang="0">
                  <a:pos x="T4" y="T5"/>
                </a:cxn>
                <a:cxn ang="0">
                  <a:pos x="T6" y="T7"/>
                </a:cxn>
                <a:cxn ang="0">
                  <a:pos x="T8" y="T9"/>
                </a:cxn>
              </a:cxnLst>
              <a:rect l="0" t="0" r="r" b="b"/>
              <a:pathLst>
                <a:path w="1" h="30">
                  <a:moveTo>
                    <a:pt x="0" y="0"/>
                  </a:moveTo>
                  <a:lnTo>
                    <a:pt x="0" y="0"/>
                  </a:lnTo>
                  <a:lnTo>
                    <a:pt x="0" y="29"/>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08" name="Freeform 786">
              <a:extLst>
                <a:ext uri="{FF2B5EF4-FFF2-40B4-BE49-F238E27FC236}">
                  <a16:creationId xmlns:a16="http://schemas.microsoft.com/office/drawing/2014/main" id="{3463A826-D2F6-4B5D-8850-36B8757AB7AC}"/>
                </a:ext>
              </a:extLst>
            </p:cNvPr>
            <p:cNvSpPr>
              <a:spLocks noChangeArrowheads="1"/>
            </p:cNvSpPr>
            <p:nvPr/>
          </p:nvSpPr>
          <p:spPr bwMode="auto">
            <a:xfrm>
              <a:off x="11200712" y="1980883"/>
              <a:ext cx="21200" cy="22656"/>
            </a:xfrm>
            <a:custGeom>
              <a:avLst/>
              <a:gdLst>
                <a:gd name="T0" fmla="*/ 58 w 59"/>
                <a:gd name="T1" fmla="*/ 0 h 60"/>
                <a:gd name="T2" fmla="*/ 58 w 59"/>
                <a:gd name="T3" fmla="*/ 0 h 60"/>
                <a:gd name="T4" fmla="*/ 0 w 59"/>
                <a:gd name="T5" fmla="*/ 59 h 60"/>
                <a:gd name="T6" fmla="*/ 0 w 59"/>
                <a:gd name="T7" fmla="*/ 59 h 60"/>
                <a:gd name="T8" fmla="*/ 58 w 59"/>
                <a:gd name="T9" fmla="*/ 0 h 60"/>
              </a:gdLst>
              <a:ahLst/>
              <a:cxnLst>
                <a:cxn ang="0">
                  <a:pos x="T0" y="T1"/>
                </a:cxn>
                <a:cxn ang="0">
                  <a:pos x="T2" y="T3"/>
                </a:cxn>
                <a:cxn ang="0">
                  <a:pos x="T4" y="T5"/>
                </a:cxn>
                <a:cxn ang="0">
                  <a:pos x="T6" y="T7"/>
                </a:cxn>
                <a:cxn ang="0">
                  <a:pos x="T8" y="T9"/>
                </a:cxn>
              </a:cxnLst>
              <a:rect l="0" t="0" r="r" b="b"/>
              <a:pathLst>
                <a:path w="59" h="60">
                  <a:moveTo>
                    <a:pt x="58" y="0"/>
                  </a:moveTo>
                  <a:lnTo>
                    <a:pt x="58" y="0"/>
                  </a:lnTo>
                  <a:cubicBezTo>
                    <a:pt x="30" y="0"/>
                    <a:pt x="0" y="29"/>
                    <a:pt x="0" y="59"/>
                  </a:cubicBezTo>
                  <a:lnTo>
                    <a:pt x="0" y="59"/>
                  </a:lnTo>
                  <a:cubicBezTo>
                    <a:pt x="0" y="29"/>
                    <a:pt x="30" y="0"/>
                    <a:pt x="5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09" name="Freeform 787">
              <a:extLst>
                <a:ext uri="{FF2B5EF4-FFF2-40B4-BE49-F238E27FC236}">
                  <a16:creationId xmlns:a16="http://schemas.microsoft.com/office/drawing/2014/main" id="{6938763E-6727-4D43-8502-EA2F3616D71B}"/>
                </a:ext>
              </a:extLst>
            </p:cNvPr>
            <p:cNvSpPr>
              <a:spLocks noChangeArrowheads="1"/>
            </p:cNvSpPr>
            <p:nvPr/>
          </p:nvSpPr>
          <p:spPr bwMode="auto">
            <a:xfrm>
              <a:off x="11156679" y="2291601"/>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10" name="Freeform 788">
              <a:extLst>
                <a:ext uri="{FF2B5EF4-FFF2-40B4-BE49-F238E27FC236}">
                  <a16:creationId xmlns:a16="http://schemas.microsoft.com/office/drawing/2014/main" id="{5641CE9A-5DBF-4CEC-988E-5D3CCB570EBC}"/>
                </a:ext>
              </a:extLst>
            </p:cNvPr>
            <p:cNvSpPr>
              <a:spLocks noChangeArrowheads="1"/>
            </p:cNvSpPr>
            <p:nvPr/>
          </p:nvSpPr>
          <p:spPr bwMode="auto">
            <a:xfrm>
              <a:off x="11254530" y="2013250"/>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11" name="Freeform 789">
              <a:extLst>
                <a:ext uri="{FF2B5EF4-FFF2-40B4-BE49-F238E27FC236}">
                  <a16:creationId xmlns:a16="http://schemas.microsoft.com/office/drawing/2014/main" id="{F0921D14-7113-43B9-9DC4-93B7C15F46D6}"/>
                </a:ext>
              </a:extLst>
            </p:cNvPr>
            <p:cNvSpPr>
              <a:spLocks noChangeArrowheads="1"/>
            </p:cNvSpPr>
            <p:nvPr/>
          </p:nvSpPr>
          <p:spPr bwMode="auto">
            <a:xfrm>
              <a:off x="11254530" y="2301311"/>
              <a:ext cx="21202" cy="11329"/>
            </a:xfrm>
            <a:custGeom>
              <a:avLst/>
              <a:gdLst>
                <a:gd name="T0" fmla="*/ 58 w 59"/>
                <a:gd name="T1" fmla="*/ 29 h 30"/>
                <a:gd name="T2" fmla="*/ 58 w 59"/>
                <a:gd name="T3" fmla="*/ 29 h 30"/>
                <a:gd name="T4" fmla="*/ 29 w 59"/>
                <a:gd name="T5" fmla="*/ 0 h 30"/>
                <a:gd name="T6" fmla="*/ 0 w 59"/>
                <a:gd name="T7" fmla="*/ 0 h 30"/>
                <a:gd name="T8" fmla="*/ 0 w 59"/>
                <a:gd name="T9" fmla="*/ 0 h 30"/>
                <a:gd name="T10" fmla="*/ 29 w 59"/>
                <a:gd name="T11" fmla="*/ 0 h 30"/>
                <a:gd name="T12" fmla="*/ 58 w 59"/>
                <a:gd name="T13" fmla="*/ 29 h 30"/>
              </a:gdLst>
              <a:ahLst/>
              <a:cxnLst>
                <a:cxn ang="0">
                  <a:pos x="T0" y="T1"/>
                </a:cxn>
                <a:cxn ang="0">
                  <a:pos x="T2" y="T3"/>
                </a:cxn>
                <a:cxn ang="0">
                  <a:pos x="T4" y="T5"/>
                </a:cxn>
                <a:cxn ang="0">
                  <a:pos x="T6" y="T7"/>
                </a:cxn>
                <a:cxn ang="0">
                  <a:pos x="T8" y="T9"/>
                </a:cxn>
                <a:cxn ang="0">
                  <a:pos x="T10" y="T11"/>
                </a:cxn>
                <a:cxn ang="0">
                  <a:pos x="T12" y="T13"/>
                </a:cxn>
              </a:cxnLst>
              <a:rect l="0" t="0" r="r" b="b"/>
              <a:pathLst>
                <a:path w="59" h="30">
                  <a:moveTo>
                    <a:pt x="58" y="29"/>
                  </a:moveTo>
                  <a:lnTo>
                    <a:pt x="58" y="29"/>
                  </a:lnTo>
                  <a:cubicBezTo>
                    <a:pt x="29" y="29"/>
                    <a:pt x="29" y="29"/>
                    <a:pt x="29" y="0"/>
                  </a:cubicBezTo>
                  <a:cubicBezTo>
                    <a:pt x="0" y="0"/>
                    <a:pt x="0" y="0"/>
                    <a:pt x="0" y="0"/>
                  </a:cubicBezTo>
                  <a:lnTo>
                    <a:pt x="0" y="0"/>
                  </a:lnTo>
                  <a:cubicBezTo>
                    <a:pt x="29" y="0"/>
                    <a:pt x="29" y="0"/>
                    <a:pt x="29" y="0"/>
                  </a:cubicBezTo>
                  <a:cubicBezTo>
                    <a:pt x="29" y="29"/>
                    <a:pt x="29" y="29"/>
                    <a:pt x="5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12" name="Freeform 790">
              <a:extLst>
                <a:ext uri="{FF2B5EF4-FFF2-40B4-BE49-F238E27FC236}">
                  <a16:creationId xmlns:a16="http://schemas.microsoft.com/office/drawing/2014/main" id="{95FBB591-3A4B-4F2A-B455-B8BC8C098E46}"/>
                </a:ext>
              </a:extLst>
            </p:cNvPr>
            <p:cNvSpPr>
              <a:spLocks noChangeArrowheads="1"/>
            </p:cNvSpPr>
            <p:nvPr/>
          </p:nvSpPr>
          <p:spPr bwMode="auto">
            <a:xfrm>
              <a:off x="11254530" y="2013250"/>
              <a:ext cx="11416" cy="1619"/>
            </a:xfrm>
            <a:custGeom>
              <a:avLst/>
              <a:gdLst>
                <a:gd name="T0" fmla="*/ 0 w 30"/>
                <a:gd name="T1" fmla="*/ 0 h 1"/>
                <a:gd name="T2" fmla="*/ 0 w 30"/>
                <a:gd name="T3" fmla="*/ 0 h 1"/>
                <a:gd name="T4" fmla="*/ 29 w 30"/>
                <a:gd name="T5" fmla="*/ 0 h 1"/>
                <a:gd name="T6" fmla="*/ 29 w 30"/>
                <a:gd name="T7" fmla="*/ 0 h 1"/>
                <a:gd name="T8" fmla="*/ 29 w 30"/>
                <a:gd name="T9" fmla="*/ 0 h 1"/>
                <a:gd name="T10" fmla="*/ 29 w 30"/>
                <a:gd name="T11" fmla="*/ 0 h 1"/>
                <a:gd name="T12" fmla="*/ 0 w 30"/>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0" h="1">
                  <a:moveTo>
                    <a:pt x="0" y="0"/>
                  </a:moveTo>
                  <a:lnTo>
                    <a:pt x="0" y="0"/>
                  </a:lnTo>
                  <a:cubicBezTo>
                    <a:pt x="29" y="0"/>
                    <a:pt x="29" y="0"/>
                    <a:pt x="29" y="0"/>
                  </a:cubicBezTo>
                  <a:lnTo>
                    <a:pt x="29" y="0"/>
                  </a:lnTo>
                  <a:lnTo>
                    <a:pt x="29" y="0"/>
                  </a:lnTo>
                  <a:lnTo>
                    <a:pt x="29" y="0"/>
                  </a:ln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13" name="Freeform 791">
              <a:extLst>
                <a:ext uri="{FF2B5EF4-FFF2-40B4-BE49-F238E27FC236}">
                  <a16:creationId xmlns:a16="http://schemas.microsoft.com/office/drawing/2014/main" id="{B7382344-F590-4F4F-85AA-21184048F3E3}"/>
                </a:ext>
              </a:extLst>
            </p:cNvPr>
            <p:cNvSpPr>
              <a:spLocks noChangeArrowheads="1"/>
            </p:cNvSpPr>
            <p:nvPr/>
          </p:nvSpPr>
          <p:spPr bwMode="auto">
            <a:xfrm>
              <a:off x="11212128" y="2322349"/>
              <a:ext cx="21202" cy="11328"/>
            </a:xfrm>
            <a:custGeom>
              <a:avLst/>
              <a:gdLst>
                <a:gd name="T0" fmla="*/ 28 w 58"/>
                <a:gd name="T1" fmla="*/ 29 h 30"/>
                <a:gd name="T2" fmla="*/ 28 w 58"/>
                <a:gd name="T3" fmla="*/ 29 h 30"/>
                <a:gd name="T4" fmla="*/ 28 w 58"/>
                <a:gd name="T5" fmla="*/ 0 h 30"/>
                <a:gd name="T6" fmla="*/ 57 w 58"/>
                <a:gd name="T7" fmla="*/ 29 h 30"/>
                <a:gd name="T8" fmla="*/ 28 w 58"/>
                <a:gd name="T9" fmla="*/ 0 h 30"/>
                <a:gd name="T10" fmla="*/ 28 w 58"/>
                <a:gd name="T11" fmla="*/ 29 h 30"/>
                <a:gd name="T12" fmla="*/ 0 w 58"/>
                <a:gd name="T13" fmla="*/ 0 h 30"/>
                <a:gd name="T14" fmla="*/ 28 w 58"/>
                <a:gd name="T15" fmla="*/ 29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30">
                  <a:moveTo>
                    <a:pt x="28" y="29"/>
                  </a:moveTo>
                  <a:lnTo>
                    <a:pt x="28" y="29"/>
                  </a:lnTo>
                  <a:cubicBezTo>
                    <a:pt x="28" y="0"/>
                    <a:pt x="28" y="0"/>
                    <a:pt x="28" y="0"/>
                  </a:cubicBezTo>
                  <a:cubicBezTo>
                    <a:pt x="57" y="29"/>
                    <a:pt x="57" y="29"/>
                    <a:pt x="57" y="29"/>
                  </a:cubicBezTo>
                  <a:cubicBezTo>
                    <a:pt x="28" y="0"/>
                    <a:pt x="28" y="0"/>
                    <a:pt x="28" y="0"/>
                  </a:cubicBezTo>
                  <a:cubicBezTo>
                    <a:pt x="28" y="29"/>
                    <a:pt x="28" y="29"/>
                    <a:pt x="28" y="29"/>
                  </a:cubicBezTo>
                  <a:cubicBezTo>
                    <a:pt x="0" y="29"/>
                    <a:pt x="0" y="29"/>
                    <a:pt x="0" y="0"/>
                  </a:cubicBezTo>
                  <a:cubicBezTo>
                    <a:pt x="0" y="29"/>
                    <a:pt x="0" y="29"/>
                    <a:pt x="2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14" name="Freeform 792">
              <a:extLst>
                <a:ext uri="{FF2B5EF4-FFF2-40B4-BE49-F238E27FC236}">
                  <a16:creationId xmlns:a16="http://schemas.microsoft.com/office/drawing/2014/main" id="{07B28938-6E5A-478E-A4B9-1E54BB14633C}"/>
                </a:ext>
              </a:extLst>
            </p:cNvPr>
            <p:cNvSpPr>
              <a:spLocks noChangeArrowheads="1"/>
            </p:cNvSpPr>
            <p:nvPr/>
          </p:nvSpPr>
          <p:spPr bwMode="auto">
            <a:xfrm>
              <a:off x="10121093" y="5031417"/>
              <a:ext cx="22832" cy="1618"/>
            </a:xfrm>
            <a:custGeom>
              <a:avLst/>
              <a:gdLst>
                <a:gd name="T0" fmla="*/ 59 w 60"/>
                <a:gd name="T1" fmla="*/ 0 h 1"/>
                <a:gd name="T2" fmla="*/ 59 w 60"/>
                <a:gd name="T3" fmla="*/ 0 h 1"/>
                <a:gd name="T4" fmla="*/ 59 w 60"/>
                <a:gd name="T5" fmla="*/ 0 h 1"/>
                <a:gd name="T6" fmla="*/ 30 w 60"/>
                <a:gd name="T7" fmla="*/ 0 h 1"/>
                <a:gd name="T8" fmla="*/ 0 w 60"/>
                <a:gd name="T9" fmla="*/ 0 h 1"/>
                <a:gd name="T10" fmla="*/ 0 w 60"/>
                <a:gd name="T11" fmla="*/ 0 h 1"/>
                <a:gd name="T12" fmla="*/ 30 w 60"/>
                <a:gd name="T13" fmla="*/ 0 h 1"/>
                <a:gd name="T14" fmla="*/ 59 w 60"/>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1">
                  <a:moveTo>
                    <a:pt x="59" y="0"/>
                  </a:moveTo>
                  <a:lnTo>
                    <a:pt x="59" y="0"/>
                  </a:lnTo>
                  <a:lnTo>
                    <a:pt x="59" y="0"/>
                  </a:lnTo>
                  <a:cubicBezTo>
                    <a:pt x="30" y="0"/>
                    <a:pt x="30" y="0"/>
                    <a:pt x="30" y="0"/>
                  </a:cubicBezTo>
                  <a:cubicBezTo>
                    <a:pt x="0" y="0"/>
                    <a:pt x="0" y="0"/>
                    <a:pt x="0" y="0"/>
                  </a:cubicBezTo>
                  <a:lnTo>
                    <a:pt x="0" y="0"/>
                  </a:lnTo>
                  <a:cubicBezTo>
                    <a:pt x="30" y="0"/>
                    <a:pt x="30" y="0"/>
                    <a:pt x="30" y="0"/>
                  </a:cubicBezTo>
                  <a:cubicBezTo>
                    <a:pt x="30" y="0"/>
                    <a:pt x="30" y="0"/>
                    <a:pt x="5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15" name="Freeform 793">
              <a:extLst>
                <a:ext uri="{FF2B5EF4-FFF2-40B4-BE49-F238E27FC236}">
                  <a16:creationId xmlns:a16="http://schemas.microsoft.com/office/drawing/2014/main" id="{2C45F072-D288-416A-A9DA-A9BA171FB5B6}"/>
                </a:ext>
              </a:extLst>
            </p:cNvPr>
            <p:cNvSpPr>
              <a:spLocks noChangeArrowheads="1"/>
            </p:cNvSpPr>
            <p:nvPr/>
          </p:nvSpPr>
          <p:spPr bwMode="auto">
            <a:xfrm>
              <a:off x="11189296" y="1317372"/>
              <a:ext cx="11416" cy="1619"/>
            </a:xfrm>
            <a:custGeom>
              <a:avLst/>
              <a:gdLst>
                <a:gd name="T0" fmla="*/ 29 w 30"/>
                <a:gd name="T1" fmla="*/ 0 h 1"/>
                <a:gd name="T2" fmla="*/ 29 w 30"/>
                <a:gd name="T3" fmla="*/ 0 h 1"/>
                <a:gd name="T4" fmla="*/ 29 w 30"/>
                <a:gd name="T5" fmla="*/ 0 h 1"/>
                <a:gd name="T6" fmla="*/ 29 w 30"/>
                <a:gd name="T7" fmla="*/ 0 h 1"/>
                <a:gd name="T8" fmla="*/ 0 w 30"/>
                <a:gd name="T9" fmla="*/ 0 h 1"/>
                <a:gd name="T10" fmla="*/ 29 w 30"/>
                <a:gd name="T11" fmla="*/ 0 h 1"/>
              </a:gdLst>
              <a:ahLst/>
              <a:cxnLst>
                <a:cxn ang="0">
                  <a:pos x="T0" y="T1"/>
                </a:cxn>
                <a:cxn ang="0">
                  <a:pos x="T2" y="T3"/>
                </a:cxn>
                <a:cxn ang="0">
                  <a:pos x="T4" y="T5"/>
                </a:cxn>
                <a:cxn ang="0">
                  <a:pos x="T6" y="T7"/>
                </a:cxn>
                <a:cxn ang="0">
                  <a:pos x="T8" y="T9"/>
                </a:cxn>
                <a:cxn ang="0">
                  <a:pos x="T10" y="T11"/>
                </a:cxn>
              </a:cxnLst>
              <a:rect l="0" t="0" r="r" b="b"/>
              <a:pathLst>
                <a:path w="30" h="1">
                  <a:moveTo>
                    <a:pt x="29" y="0"/>
                  </a:moveTo>
                  <a:lnTo>
                    <a:pt x="29" y="0"/>
                  </a:lnTo>
                  <a:lnTo>
                    <a:pt x="29" y="0"/>
                  </a:lnTo>
                  <a:lnTo>
                    <a:pt x="29" y="0"/>
                  </a:lnTo>
                  <a:lnTo>
                    <a:pt x="0" y="0"/>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16" name="Freeform 794">
              <a:extLst>
                <a:ext uri="{FF2B5EF4-FFF2-40B4-BE49-F238E27FC236}">
                  <a16:creationId xmlns:a16="http://schemas.microsoft.com/office/drawing/2014/main" id="{E00B1B3E-D11D-4F21-891C-0228E5D9EFD1}"/>
                </a:ext>
              </a:extLst>
            </p:cNvPr>
            <p:cNvSpPr>
              <a:spLocks noChangeArrowheads="1"/>
            </p:cNvSpPr>
            <p:nvPr/>
          </p:nvSpPr>
          <p:spPr bwMode="auto">
            <a:xfrm>
              <a:off x="10337995" y="2076365"/>
              <a:ext cx="44033" cy="64733"/>
            </a:xfrm>
            <a:custGeom>
              <a:avLst/>
              <a:gdLst>
                <a:gd name="T0" fmla="*/ 116 w 117"/>
                <a:gd name="T1" fmla="*/ 0 h 177"/>
                <a:gd name="T2" fmla="*/ 116 w 117"/>
                <a:gd name="T3" fmla="*/ 0 h 177"/>
                <a:gd name="T4" fmla="*/ 58 w 117"/>
                <a:gd name="T5" fmla="*/ 59 h 177"/>
                <a:gd name="T6" fmla="*/ 0 w 117"/>
                <a:gd name="T7" fmla="*/ 176 h 177"/>
                <a:gd name="T8" fmla="*/ 58 w 117"/>
                <a:gd name="T9" fmla="*/ 59 h 177"/>
                <a:gd name="T10" fmla="*/ 116 w 117"/>
                <a:gd name="T11" fmla="*/ 0 h 177"/>
              </a:gdLst>
              <a:ahLst/>
              <a:cxnLst>
                <a:cxn ang="0">
                  <a:pos x="T0" y="T1"/>
                </a:cxn>
                <a:cxn ang="0">
                  <a:pos x="T2" y="T3"/>
                </a:cxn>
                <a:cxn ang="0">
                  <a:pos x="T4" y="T5"/>
                </a:cxn>
                <a:cxn ang="0">
                  <a:pos x="T6" y="T7"/>
                </a:cxn>
                <a:cxn ang="0">
                  <a:pos x="T8" y="T9"/>
                </a:cxn>
                <a:cxn ang="0">
                  <a:pos x="T10" y="T11"/>
                </a:cxn>
              </a:cxnLst>
              <a:rect l="0" t="0" r="r" b="b"/>
              <a:pathLst>
                <a:path w="117" h="177">
                  <a:moveTo>
                    <a:pt x="116" y="0"/>
                  </a:moveTo>
                  <a:lnTo>
                    <a:pt x="116" y="0"/>
                  </a:lnTo>
                  <a:cubicBezTo>
                    <a:pt x="116" y="30"/>
                    <a:pt x="87" y="59"/>
                    <a:pt x="58" y="59"/>
                  </a:cubicBezTo>
                  <a:cubicBezTo>
                    <a:pt x="29" y="88"/>
                    <a:pt x="0" y="117"/>
                    <a:pt x="0" y="176"/>
                  </a:cubicBezTo>
                  <a:cubicBezTo>
                    <a:pt x="0" y="117"/>
                    <a:pt x="29" y="88"/>
                    <a:pt x="58" y="59"/>
                  </a:cubicBezTo>
                  <a:cubicBezTo>
                    <a:pt x="87" y="59"/>
                    <a:pt x="116" y="30"/>
                    <a:pt x="11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17" name="Freeform 795">
              <a:extLst>
                <a:ext uri="{FF2B5EF4-FFF2-40B4-BE49-F238E27FC236}">
                  <a16:creationId xmlns:a16="http://schemas.microsoft.com/office/drawing/2014/main" id="{0783176E-C0DF-4BBA-9AF9-AB9E72C0AF1F}"/>
                </a:ext>
              </a:extLst>
            </p:cNvPr>
            <p:cNvSpPr>
              <a:spLocks noChangeArrowheads="1"/>
            </p:cNvSpPr>
            <p:nvPr/>
          </p:nvSpPr>
          <p:spPr bwMode="auto">
            <a:xfrm>
              <a:off x="10520649" y="1874074"/>
              <a:ext cx="161454" cy="53405"/>
            </a:xfrm>
            <a:custGeom>
              <a:avLst/>
              <a:gdLst>
                <a:gd name="T0" fmla="*/ 0 w 438"/>
                <a:gd name="T1" fmla="*/ 145 h 146"/>
                <a:gd name="T2" fmla="*/ 0 w 438"/>
                <a:gd name="T3" fmla="*/ 145 h 146"/>
                <a:gd name="T4" fmla="*/ 175 w 438"/>
                <a:gd name="T5" fmla="*/ 87 h 146"/>
                <a:gd name="T6" fmla="*/ 437 w 438"/>
                <a:gd name="T7" fmla="*/ 0 h 146"/>
                <a:gd name="T8" fmla="*/ 437 w 438"/>
                <a:gd name="T9" fmla="*/ 0 h 146"/>
                <a:gd name="T10" fmla="*/ 437 w 438"/>
                <a:gd name="T11" fmla="*/ 0 h 146"/>
                <a:gd name="T12" fmla="*/ 437 w 438"/>
                <a:gd name="T13" fmla="*/ 0 h 146"/>
                <a:gd name="T14" fmla="*/ 437 w 438"/>
                <a:gd name="T15" fmla="*/ 0 h 146"/>
                <a:gd name="T16" fmla="*/ 175 w 438"/>
                <a:gd name="T17" fmla="*/ 87 h 146"/>
                <a:gd name="T18" fmla="*/ 0 w 438"/>
                <a:gd name="T19" fmla="*/ 14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8" h="146">
                  <a:moveTo>
                    <a:pt x="0" y="145"/>
                  </a:moveTo>
                  <a:lnTo>
                    <a:pt x="0" y="145"/>
                  </a:lnTo>
                  <a:cubicBezTo>
                    <a:pt x="58" y="116"/>
                    <a:pt x="117" y="116"/>
                    <a:pt x="175" y="87"/>
                  </a:cubicBezTo>
                  <a:cubicBezTo>
                    <a:pt x="262" y="58"/>
                    <a:pt x="350" y="29"/>
                    <a:pt x="437" y="0"/>
                  </a:cubicBezTo>
                  <a:lnTo>
                    <a:pt x="437" y="0"/>
                  </a:lnTo>
                  <a:lnTo>
                    <a:pt x="437" y="0"/>
                  </a:lnTo>
                  <a:lnTo>
                    <a:pt x="437" y="0"/>
                  </a:lnTo>
                  <a:lnTo>
                    <a:pt x="437" y="0"/>
                  </a:lnTo>
                  <a:cubicBezTo>
                    <a:pt x="350" y="29"/>
                    <a:pt x="262" y="58"/>
                    <a:pt x="175" y="87"/>
                  </a:cubicBezTo>
                  <a:cubicBezTo>
                    <a:pt x="117" y="116"/>
                    <a:pt x="58" y="116"/>
                    <a:pt x="0" y="14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18" name="Freeform 796">
              <a:extLst>
                <a:ext uri="{FF2B5EF4-FFF2-40B4-BE49-F238E27FC236}">
                  <a16:creationId xmlns:a16="http://schemas.microsoft.com/office/drawing/2014/main" id="{2719DC67-78CC-4297-8225-5B4EEDF5C47E}"/>
                </a:ext>
              </a:extLst>
            </p:cNvPr>
            <p:cNvSpPr>
              <a:spLocks noChangeArrowheads="1"/>
            </p:cNvSpPr>
            <p:nvPr/>
          </p:nvSpPr>
          <p:spPr bwMode="auto">
            <a:xfrm>
              <a:off x="10207527" y="2322349"/>
              <a:ext cx="11416" cy="1618"/>
            </a:xfrm>
            <a:custGeom>
              <a:avLst/>
              <a:gdLst>
                <a:gd name="T0" fmla="*/ 0 w 30"/>
                <a:gd name="T1" fmla="*/ 0 h 1"/>
                <a:gd name="T2" fmla="*/ 0 w 30"/>
                <a:gd name="T3" fmla="*/ 0 h 1"/>
                <a:gd name="T4" fmla="*/ 29 w 30"/>
                <a:gd name="T5" fmla="*/ 0 h 1"/>
                <a:gd name="T6" fmla="*/ 29 w 30"/>
                <a:gd name="T7" fmla="*/ 0 h 1"/>
                <a:gd name="T8" fmla="*/ 29 w 30"/>
                <a:gd name="T9" fmla="*/ 0 h 1"/>
                <a:gd name="T10" fmla="*/ 0 w 30"/>
                <a:gd name="T11" fmla="*/ 0 h 1"/>
              </a:gdLst>
              <a:ahLst/>
              <a:cxnLst>
                <a:cxn ang="0">
                  <a:pos x="T0" y="T1"/>
                </a:cxn>
                <a:cxn ang="0">
                  <a:pos x="T2" y="T3"/>
                </a:cxn>
                <a:cxn ang="0">
                  <a:pos x="T4" y="T5"/>
                </a:cxn>
                <a:cxn ang="0">
                  <a:pos x="T6" y="T7"/>
                </a:cxn>
                <a:cxn ang="0">
                  <a:pos x="T8" y="T9"/>
                </a:cxn>
                <a:cxn ang="0">
                  <a:pos x="T10" y="T11"/>
                </a:cxn>
              </a:cxnLst>
              <a:rect l="0" t="0" r="r" b="b"/>
              <a:pathLst>
                <a:path w="30" h="1">
                  <a:moveTo>
                    <a:pt x="0" y="0"/>
                  </a:moveTo>
                  <a:lnTo>
                    <a:pt x="0" y="0"/>
                  </a:lnTo>
                  <a:cubicBezTo>
                    <a:pt x="0" y="0"/>
                    <a:pt x="0" y="0"/>
                    <a:pt x="29" y="0"/>
                  </a:cubicBezTo>
                  <a:lnTo>
                    <a:pt x="29" y="0"/>
                  </a:lnTo>
                  <a:lnTo>
                    <a:pt x="29" y="0"/>
                  </a:ln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19" name="Freeform 797">
              <a:extLst>
                <a:ext uri="{FF2B5EF4-FFF2-40B4-BE49-F238E27FC236}">
                  <a16:creationId xmlns:a16="http://schemas.microsoft.com/office/drawing/2014/main" id="{B6557362-C63A-4649-8195-82BCFD930F2D}"/>
                </a:ext>
              </a:extLst>
            </p:cNvPr>
            <p:cNvSpPr>
              <a:spLocks noChangeArrowheads="1"/>
            </p:cNvSpPr>
            <p:nvPr/>
          </p:nvSpPr>
          <p:spPr bwMode="auto">
            <a:xfrm>
              <a:off x="11265946" y="1327082"/>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20" name="Freeform 798">
              <a:extLst>
                <a:ext uri="{FF2B5EF4-FFF2-40B4-BE49-F238E27FC236}">
                  <a16:creationId xmlns:a16="http://schemas.microsoft.com/office/drawing/2014/main" id="{460C2CC2-00C1-4FD6-8B79-CD564EBFB55B}"/>
                </a:ext>
              </a:extLst>
            </p:cNvPr>
            <p:cNvSpPr>
              <a:spLocks noChangeArrowheads="1"/>
            </p:cNvSpPr>
            <p:nvPr/>
          </p:nvSpPr>
          <p:spPr bwMode="auto">
            <a:xfrm>
              <a:off x="10434215" y="1916150"/>
              <a:ext cx="65234" cy="64733"/>
            </a:xfrm>
            <a:custGeom>
              <a:avLst/>
              <a:gdLst>
                <a:gd name="T0" fmla="*/ 174 w 175"/>
                <a:gd name="T1" fmla="*/ 0 h 176"/>
                <a:gd name="T2" fmla="*/ 174 w 175"/>
                <a:gd name="T3" fmla="*/ 0 h 176"/>
                <a:gd name="T4" fmla="*/ 0 w 175"/>
                <a:gd name="T5" fmla="*/ 175 h 176"/>
                <a:gd name="T6" fmla="*/ 174 w 175"/>
                <a:gd name="T7" fmla="*/ 0 h 176"/>
              </a:gdLst>
              <a:ahLst/>
              <a:cxnLst>
                <a:cxn ang="0">
                  <a:pos x="T0" y="T1"/>
                </a:cxn>
                <a:cxn ang="0">
                  <a:pos x="T2" y="T3"/>
                </a:cxn>
                <a:cxn ang="0">
                  <a:pos x="T4" y="T5"/>
                </a:cxn>
                <a:cxn ang="0">
                  <a:pos x="T6" y="T7"/>
                </a:cxn>
              </a:cxnLst>
              <a:rect l="0" t="0" r="r" b="b"/>
              <a:pathLst>
                <a:path w="175" h="176">
                  <a:moveTo>
                    <a:pt x="174" y="0"/>
                  </a:moveTo>
                  <a:lnTo>
                    <a:pt x="174" y="0"/>
                  </a:lnTo>
                  <a:cubicBezTo>
                    <a:pt x="116" y="58"/>
                    <a:pt x="58" y="87"/>
                    <a:pt x="0" y="175"/>
                  </a:cubicBezTo>
                  <a:cubicBezTo>
                    <a:pt x="58" y="87"/>
                    <a:pt x="116" y="58"/>
                    <a:pt x="17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21" name="Freeform 799">
              <a:extLst>
                <a:ext uri="{FF2B5EF4-FFF2-40B4-BE49-F238E27FC236}">
                  <a16:creationId xmlns:a16="http://schemas.microsoft.com/office/drawing/2014/main" id="{092A42EC-882E-474D-8C59-E6A035BDB1A6}"/>
                </a:ext>
              </a:extLst>
            </p:cNvPr>
            <p:cNvSpPr>
              <a:spLocks noChangeArrowheads="1"/>
            </p:cNvSpPr>
            <p:nvPr/>
          </p:nvSpPr>
          <p:spPr bwMode="auto">
            <a:xfrm>
              <a:off x="10499449" y="1916150"/>
              <a:ext cx="11415"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cubicBezTo>
                    <a:pt x="29" y="0"/>
                    <a:pt x="29" y="0"/>
                    <a:pt x="0" y="0"/>
                  </a:cubicBezTo>
                  <a:cubicBezTo>
                    <a:pt x="29"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22" name="Freeform 800">
              <a:extLst>
                <a:ext uri="{FF2B5EF4-FFF2-40B4-BE49-F238E27FC236}">
                  <a16:creationId xmlns:a16="http://schemas.microsoft.com/office/drawing/2014/main" id="{3CB00A7F-DB07-421A-B2C4-AD7A09F32A41}"/>
                </a:ext>
              </a:extLst>
            </p:cNvPr>
            <p:cNvSpPr>
              <a:spLocks noChangeArrowheads="1"/>
            </p:cNvSpPr>
            <p:nvPr/>
          </p:nvSpPr>
          <p:spPr bwMode="auto">
            <a:xfrm>
              <a:off x="10413013" y="1980883"/>
              <a:ext cx="22832" cy="32366"/>
            </a:xfrm>
            <a:custGeom>
              <a:avLst/>
              <a:gdLst>
                <a:gd name="T0" fmla="*/ 59 w 60"/>
                <a:gd name="T1" fmla="*/ 0 h 89"/>
                <a:gd name="T2" fmla="*/ 59 w 60"/>
                <a:gd name="T3" fmla="*/ 0 h 89"/>
                <a:gd name="T4" fmla="*/ 29 w 60"/>
                <a:gd name="T5" fmla="*/ 29 h 89"/>
                <a:gd name="T6" fmla="*/ 0 w 60"/>
                <a:gd name="T7" fmla="*/ 88 h 89"/>
                <a:gd name="T8" fmla="*/ 29 w 60"/>
                <a:gd name="T9" fmla="*/ 29 h 89"/>
                <a:gd name="T10" fmla="*/ 59 w 60"/>
                <a:gd name="T11" fmla="*/ 0 h 89"/>
              </a:gdLst>
              <a:ahLst/>
              <a:cxnLst>
                <a:cxn ang="0">
                  <a:pos x="T0" y="T1"/>
                </a:cxn>
                <a:cxn ang="0">
                  <a:pos x="T2" y="T3"/>
                </a:cxn>
                <a:cxn ang="0">
                  <a:pos x="T4" y="T5"/>
                </a:cxn>
                <a:cxn ang="0">
                  <a:pos x="T6" y="T7"/>
                </a:cxn>
                <a:cxn ang="0">
                  <a:pos x="T8" y="T9"/>
                </a:cxn>
                <a:cxn ang="0">
                  <a:pos x="T10" y="T11"/>
                </a:cxn>
              </a:cxnLst>
              <a:rect l="0" t="0" r="r" b="b"/>
              <a:pathLst>
                <a:path w="60" h="89">
                  <a:moveTo>
                    <a:pt x="59" y="0"/>
                  </a:moveTo>
                  <a:lnTo>
                    <a:pt x="59" y="0"/>
                  </a:lnTo>
                  <a:cubicBezTo>
                    <a:pt x="29" y="0"/>
                    <a:pt x="29" y="29"/>
                    <a:pt x="29" y="29"/>
                  </a:cubicBezTo>
                  <a:cubicBezTo>
                    <a:pt x="0" y="59"/>
                    <a:pt x="0" y="59"/>
                    <a:pt x="0" y="88"/>
                  </a:cubicBezTo>
                  <a:cubicBezTo>
                    <a:pt x="0" y="59"/>
                    <a:pt x="0" y="59"/>
                    <a:pt x="29" y="29"/>
                  </a:cubicBezTo>
                  <a:cubicBezTo>
                    <a:pt x="29" y="29"/>
                    <a:pt x="29" y="0"/>
                    <a:pt x="5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23" name="Freeform 801">
              <a:extLst>
                <a:ext uri="{FF2B5EF4-FFF2-40B4-BE49-F238E27FC236}">
                  <a16:creationId xmlns:a16="http://schemas.microsoft.com/office/drawing/2014/main" id="{130CD5ED-5DD5-4017-8B0E-035728127297}"/>
                </a:ext>
              </a:extLst>
            </p:cNvPr>
            <p:cNvSpPr>
              <a:spLocks noChangeArrowheads="1"/>
            </p:cNvSpPr>
            <p:nvPr/>
          </p:nvSpPr>
          <p:spPr bwMode="auto">
            <a:xfrm>
              <a:off x="9398628" y="2066655"/>
              <a:ext cx="1631"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24" name="Freeform 802">
              <a:extLst>
                <a:ext uri="{FF2B5EF4-FFF2-40B4-BE49-F238E27FC236}">
                  <a16:creationId xmlns:a16="http://schemas.microsoft.com/office/drawing/2014/main" id="{45F5147C-6466-4170-BE8A-149791496246}"/>
                </a:ext>
              </a:extLst>
            </p:cNvPr>
            <p:cNvSpPr>
              <a:spLocks noChangeArrowheads="1"/>
            </p:cNvSpPr>
            <p:nvPr/>
          </p:nvSpPr>
          <p:spPr bwMode="auto">
            <a:xfrm>
              <a:off x="10230359" y="2259234"/>
              <a:ext cx="107636" cy="53405"/>
            </a:xfrm>
            <a:custGeom>
              <a:avLst/>
              <a:gdLst>
                <a:gd name="T0" fmla="*/ 175 w 293"/>
                <a:gd name="T1" fmla="*/ 115 h 145"/>
                <a:gd name="T2" fmla="*/ 175 w 293"/>
                <a:gd name="T3" fmla="*/ 115 h 145"/>
                <a:gd name="T4" fmla="*/ 117 w 293"/>
                <a:gd name="T5" fmla="*/ 115 h 145"/>
                <a:gd name="T6" fmla="*/ 0 w 293"/>
                <a:gd name="T7" fmla="*/ 144 h 145"/>
                <a:gd name="T8" fmla="*/ 117 w 293"/>
                <a:gd name="T9" fmla="*/ 115 h 145"/>
                <a:gd name="T10" fmla="*/ 175 w 293"/>
                <a:gd name="T11" fmla="*/ 115 h 145"/>
                <a:gd name="T12" fmla="*/ 234 w 293"/>
                <a:gd name="T13" fmla="*/ 58 h 145"/>
                <a:gd name="T14" fmla="*/ 292 w 293"/>
                <a:gd name="T15" fmla="*/ 0 h 145"/>
                <a:gd name="T16" fmla="*/ 292 w 293"/>
                <a:gd name="T17" fmla="*/ 0 h 145"/>
                <a:gd name="T18" fmla="*/ 292 w 293"/>
                <a:gd name="T19" fmla="*/ 0 h 145"/>
                <a:gd name="T20" fmla="*/ 234 w 293"/>
                <a:gd name="T21" fmla="*/ 58 h 145"/>
                <a:gd name="T22" fmla="*/ 175 w 293"/>
                <a:gd name="T23" fmla="*/ 11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 h="145">
                  <a:moveTo>
                    <a:pt x="175" y="115"/>
                  </a:moveTo>
                  <a:lnTo>
                    <a:pt x="175" y="115"/>
                  </a:lnTo>
                  <a:cubicBezTo>
                    <a:pt x="146" y="115"/>
                    <a:pt x="146" y="115"/>
                    <a:pt x="117" y="115"/>
                  </a:cubicBezTo>
                  <a:cubicBezTo>
                    <a:pt x="58" y="115"/>
                    <a:pt x="29" y="144"/>
                    <a:pt x="0" y="144"/>
                  </a:cubicBezTo>
                  <a:cubicBezTo>
                    <a:pt x="29" y="144"/>
                    <a:pt x="58" y="115"/>
                    <a:pt x="117" y="115"/>
                  </a:cubicBezTo>
                  <a:cubicBezTo>
                    <a:pt x="146" y="115"/>
                    <a:pt x="146" y="115"/>
                    <a:pt x="175" y="115"/>
                  </a:cubicBezTo>
                  <a:cubicBezTo>
                    <a:pt x="175" y="115"/>
                    <a:pt x="205" y="87"/>
                    <a:pt x="234" y="58"/>
                  </a:cubicBezTo>
                  <a:cubicBezTo>
                    <a:pt x="263" y="58"/>
                    <a:pt x="263" y="29"/>
                    <a:pt x="292" y="0"/>
                  </a:cubicBezTo>
                  <a:lnTo>
                    <a:pt x="292" y="0"/>
                  </a:lnTo>
                  <a:lnTo>
                    <a:pt x="292" y="0"/>
                  </a:lnTo>
                  <a:cubicBezTo>
                    <a:pt x="263" y="29"/>
                    <a:pt x="263" y="58"/>
                    <a:pt x="234" y="58"/>
                  </a:cubicBezTo>
                  <a:cubicBezTo>
                    <a:pt x="205" y="87"/>
                    <a:pt x="175" y="115"/>
                    <a:pt x="175" y="11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25" name="Freeform 803">
              <a:extLst>
                <a:ext uri="{FF2B5EF4-FFF2-40B4-BE49-F238E27FC236}">
                  <a16:creationId xmlns:a16="http://schemas.microsoft.com/office/drawing/2014/main" id="{D7E7DF63-301A-45DB-BE10-937C09E8ED14}"/>
                </a:ext>
              </a:extLst>
            </p:cNvPr>
            <p:cNvSpPr>
              <a:spLocks noChangeArrowheads="1"/>
            </p:cNvSpPr>
            <p:nvPr/>
          </p:nvSpPr>
          <p:spPr bwMode="auto">
            <a:xfrm>
              <a:off x="9356226" y="2034288"/>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26" name="Freeform 804">
              <a:extLst>
                <a:ext uri="{FF2B5EF4-FFF2-40B4-BE49-F238E27FC236}">
                  <a16:creationId xmlns:a16="http://schemas.microsoft.com/office/drawing/2014/main" id="{AF06508D-D6B1-4C09-9B94-966442B4237D}"/>
                </a:ext>
              </a:extLst>
            </p:cNvPr>
            <p:cNvSpPr>
              <a:spLocks noChangeArrowheads="1"/>
            </p:cNvSpPr>
            <p:nvPr/>
          </p:nvSpPr>
          <p:spPr bwMode="auto">
            <a:xfrm>
              <a:off x="9398628" y="2076365"/>
              <a:ext cx="11416" cy="32366"/>
            </a:xfrm>
            <a:custGeom>
              <a:avLst/>
              <a:gdLst>
                <a:gd name="T0" fmla="*/ 29 w 30"/>
                <a:gd name="T1" fmla="*/ 88 h 89"/>
                <a:gd name="T2" fmla="*/ 29 w 30"/>
                <a:gd name="T3" fmla="*/ 88 h 89"/>
                <a:gd name="T4" fmla="*/ 29 w 30"/>
                <a:gd name="T5" fmla="*/ 88 h 89"/>
                <a:gd name="T6" fmla="*/ 29 w 30"/>
                <a:gd name="T7" fmla="*/ 88 h 89"/>
                <a:gd name="T8" fmla="*/ 29 w 30"/>
                <a:gd name="T9" fmla="*/ 88 h 89"/>
                <a:gd name="T10" fmla="*/ 0 w 30"/>
                <a:gd name="T11" fmla="*/ 0 h 89"/>
                <a:gd name="T12" fmla="*/ 29 w 30"/>
                <a:gd name="T13" fmla="*/ 88 h 89"/>
              </a:gdLst>
              <a:ahLst/>
              <a:cxnLst>
                <a:cxn ang="0">
                  <a:pos x="T0" y="T1"/>
                </a:cxn>
                <a:cxn ang="0">
                  <a:pos x="T2" y="T3"/>
                </a:cxn>
                <a:cxn ang="0">
                  <a:pos x="T4" y="T5"/>
                </a:cxn>
                <a:cxn ang="0">
                  <a:pos x="T6" y="T7"/>
                </a:cxn>
                <a:cxn ang="0">
                  <a:pos x="T8" y="T9"/>
                </a:cxn>
                <a:cxn ang="0">
                  <a:pos x="T10" y="T11"/>
                </a:cxn>
                <a:cxn ang="0">
                  <a:pos x="T12" y="T13"/>
                </a:cxn>
              </a:cxnLst>
              <a:rect l="0" t="0" r="r" b="b"/>
              <a:pathLst>
                <a:path w="30" h="89">
                  <a:moveTo>
                    <a:pt x="29" y="88"/>
                  </a:moveTo>
                  <a:lnTo>
                    <a:pt x="29" y="88"/>
                  </a:lnTo>
                  <a:lnTo>
                    <a:pt x="29" y="88"/>
                  </a:lnTo>
                  <a:lnTo>
                    <a:pt x="29" y="88"/>
                  </a:lnTo>
                  <a:lnTo>
                    <a:pt x="29" y="88"/>
                  </a:lnTo>
                  <a:cubicBezTo>
                    <a:pt x="29" y="59"/>
                    <a:pt x="0" y="30"/>
                    <a:pt x="0" y="0"/>
                  </a:cubicBezTo>
                  <a:cubicBezTo>
                    <a:pt x="0" y="30"/>
                    <a:pt x="29" y="59"/>
                    <a:pt x="29"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27" name="Freeform 805">
              <a:extLst>
                <a:ext uri="{FF2B5EF4-FFF2-40B4-BE49-F238E27FC236}">
                  <a16:creationId xmlns:a16="http://schemas.microsoft.com/office/drawing/2014/main" id="{A2ADF17E-29E4-461F-90D1-EB0A0640D561}"/>
                </a:ext>
              </a:extLst>
            </p:cNvPr>
            <p:cNvSpPr>
              <a:spLocks noChangeArrowheads="1"/>
            </p:cNvSpPr>
            <p:nvPr/>
          </p:nvSpPr>
          <p:spPr bwMode="auto">
            <a:xfrm>
              <a:off x="9421459" y="2205830"/>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28" name="Freeform 806">
              <a:extLst>
                <a:ext uri="{FF2B5EF4-FFF2-40B4-BE49-F238E27FC236}">
                  <a16:creationId xmlns:a16="http://schemas.microsoft.com/office/drawing/2014/main" id="{2021C5DB-B789-4CDE-872E-75495003CF54}"/>
                </a:ext>
              </a:extLst>
            </p:cNvPr>
            <p:cNvSpPr>
              <a:spLocks noChangeArrowheads="1"/>
            </p:cNvSpPr>
            <p:nvPr/>
          </p:nvSpPr>
          <p:spPr bwMode="auto">
            <a:xfrm>
              <a:off x="9463861" y="2280273"/>
              <a:ext cx="22832" cy="11328"/>
            </a:xfrm>
            <a:custGeom>
              <a:avLst/>
              <a:gdLst>
                <a:gd name="T0" fmla="*/ 29 w 60"/>
                <a:gd name="T1" fmla="*/ 0 h 30"/>
                <a:gd name="T2" fmla="*/ 29 w 60"/>
                <a:gd name="T3" fmla="*/ 0 h 30"/>
                <a:gd name="T4" fmla="*/ 59 w 60"/>
                <a:gd name="T5" fmla="*/ 0 h 30"/>
                <a:gd name="T6" fmla="*/ 29 w 60"/>
                <a:gd name="T7" fmla="*/ 0 h 30"/>
                <a:gd name="T8" fmla="*/ 0 w 60"/>
                <a:gd name="T9" fmla="*/ 29 h 30"/>
                <a:gd name="T10" fmla="*/ 29 w 60"/>
                <a:gd name="T11" fmla="*/ 0 h 30"/>
              </a:gdLst>
              <a:ahLst/>
              <a:cxnLst>
                <a:cxn ang="0">
                  <a:pos x="T0" y="T1"/>
                </a:cxn>
                <a:cxn ang="0">
                  <a:pos x="T2" y="T3"/>
                </a:cxn>
                <a:cxn ang="0">
                  <a:pos x="T4" y="T5"/>
                </a:cxn>
                <a:cxn ang="0">
                  <a:pos x="T6" y="T7"/>
                </a:cxn>
                <a:cxn ang="0">
                  <a:pos x="T8" y="T9"/>
                </a:cxn>
                <a:cxn ang="0">
                  <a:pos x="T10" y="T11"/>
                </a:cxn>
              </a:cxnLst>
              <a:rect l="0" t="0" r="r" b="b"/>
              <a:pathLst>
                <a:path w="60" h="30">
                  <a:moveTo>
                    <a:pt x="29" y="0"/>
                  </a:moveTo>
                  <a:lnTo>
                    <a:pt x="29" y="0"/>
                  </a:lnTo>
                  <a:cubicBezTo>
                    <a:pt x="59" y="0"/>
                    <a:pt x="59" y="0"/>
                    <a:pt x="59" y="0"/>
                  </a:cubicBezTo>
                  <a:cubicBezTo>
                    <a:pt x="59" y="0"/>
                    <a:pt x="59" y="0"/>
                    <a:pt x="29" y="0"/>
                  </a:cubicBezTo>
                  <a:cubicBezTo>
                    <a:pt x="29" y="0"/>
                    <a:pt x="29" y="0"/>
                    <a:pt x="0" y="29"/>
                  </a:cubicBezTo>
                  <a:cubicBezTo>
                    <a:pt x="29"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29" name="Freeform 807">
              <a:extLst>
                <a:ext uri="{FF2B5EF4-FFF2-40B4-BE49-F238E27FC236}">
                  <a16:creationId xmlns:a16="http://schemas.microsoft.com/office/drawing/2014/main" id="{F6188D65-AAFB-481F-B994-62F03EA602E4}"/>
                </a:ext>
              </a:extLst>
            </p:cNvPr>
            <p:cNvSpPr>
              <a:spLocks noChangeArrowheads="1"/>
            </p:cNvSpPr>
            <p:nvPr/>
          </p:nvSpPr>
          <p:spPr bwMode="auto">
            <a:xfrm>
              <a:off x="10218943" y="2312639"/>
              <a:ext cx="11415" cy="11328"/>
            </a:xfrm>
            <a:custGeom>
              <a:avLst/>
              <a:gdLst>
                <a:gd name="T0" fmla="*/ 29 w 30"/>
                <a:gd name="T1" fmla="*/ 0 h 30"/>
                <a:gd name="T2" fmla="*/ 29 w 30"/>
                <a:gd name="T3" fmla="*/ 0 h 30"/>
                <a:gd name="T4" fmla="*/ 0 w 30"/>
                <a:gd name="T5" fmla="*/ 29 h 30"/>
                <a:gd name="T6" fmla="*/ 29 w 30"/>
                <a:gd name="T7" fmla="*/ 0 h 30"/>
              </a:gdLst>
              <a:ahLst/>
              <a:cxnLst>
                <a:cxn ang="0">
                  <a:pos x="T0" y="T1"/>
                </a:cxn>
                <a:cxn ang="0">
                  <a:pos x="T2" y="T3"/>
                </a:cxn>
                <a:cxn ang="0">
                  <a:pos x="T4" y="T5"/>
                </a:cxn>
                <a:cxn ang="0">
                  <a:pos x="T6" y="T7"/>
                </a:cxn>
              </a:cxnLst>
              <a:rect l="0" t="0" r="r" b="b"/>
              <a:pathLst>
                <a:path w="30" h="30">
                  <a:moveTo>
                    <a:pt x="29" y="0"/>
                  </a:moveTo>
                  <a:lnTo>
                    <a:pt x="29" y="0"/>
                  </a:lnTo>
                  <a:cubicBezTo>
                    <a:pt x="29" y="0"/>
                    <a:pt x="0" y="0"/>
                    <a:pt x="0" y="29"/>
                  </a:cubicBezTo>
                  <a:cubicBezTo>
                    <a:pt x="0"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30" name="Freeform 808">
              <a:extLst>
                <a:ext uri="{FF2B5EF4-FFF2-40B4-BE49-F238E27FC236}">
                  <a16:creationId xmlns:a16="http://schemas.microsoft.com/office/drawing/2014/main" id="{82F6072B-D061-408C-BF3F-5FB6DD6E1D60}"/>
                </a:ext>
              </a:extLst>
            </p:cNvPr>
            <p:cNvSpPr>
              <a:spLocks noChangeArrowheads="1"/>
            </p:cNvSpPr>
            <p:nvPr/>
          </p:nvSpPr>
          <p:spPr bwMode="auto">
            <a:xfrm>
              <a:off x="11265946" y="1327082"/>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31" name="Freeform 809">
              <a:extLst>
                <a:ext uri="{FF2B5EF4-FFF2-40B4-BE49-F238E27FC236}">
                  <a16:creationId xmlns:a16="http://schemas.microsoft.com/office/drawing/2014/main" id="{C0B703BF-14EA-4636-977A-CAA1EA349DBF}"/>
                </a:ext>
              </a:extLst>
            </p:cNvPr>
            <p:cNvSpPr>
              <a:spLocks noChangeArrowheads="1"/>
            </p:cNvSpPr>
            <p:nvPr/>
          </p:nvSpPr>
          <p:spPr bwMode="auto">
            <a:xfrm>
              <a:off x="11093076" y="1327082"/>
              <a:ext cx="11415" cy="11329"/>
            </a:xfrm>
            <a:custGeom>
              <a:avLst/>
              <a:gdLst>
                <a:gd name="T0" fmla="*/ 0 w 29"/>
                <a:gd name="T1" fmla="*/ 0 h 30"/>
                <a:gd name="T2" fmla="*/ 0 w 29"/>
                <a:gd name="T3" fmla="*/ 0 h 30"/>
                <a:gd name="T4" fmla="*/ 28 w 29"/>
                <a:gd name="T5" fmla="*/ 29 h 30"/>
                <a:gd name="T6" fmla="*/ 0 w 29"/>
                <a:gd name="T7" fmla="*/ 0 h 30"/>
              </a:gdLst>
              <a:ahLst/>
              <a:cxnLst>
                <a:cxn ang="0">
                  <a:pos x="T0" y="T1"/>
                </a:cxn>
                <a:cxn ang="0">
                  <a:pos x="T2" y="T3"/>
                </a:cxn>
                <a:cxn ang="0">
                  <a:pos x="T4" y="T5"/>
                </a:cxn>
                <a:cxn ang="0">
                  <a:pos x="T6" y="T7"/>
                </a:cxn>
              </a:cxnLst>
              <a:rect l="0" t="0" r="r" b="b"/>
              <a:pathLst>
                <a:path w="29" h="30">
                  <a:moveTo>
                    <a:pt x="0" y="0"/>
                  </a:moveTo>
                  <a:lnTo>
                    <a:pt x="0" y="0"/>
                  </a:lnTo>
                  <a:cubicBezTo>
                    <a:pt x="0" y="0"/>
                    <a:pt x="0" y="0"/>
                    <a:pt x="28" y="29"/>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32" name="Freeform 810">
              <a:extLst>
                <a:ext uri="{FF2B5EF4-FFF2-40B4-BE49-F238E27FC236}">
                  <a16:creationId xmlns:a16="http://schemas.microsoft.com/office/drawing/2014/main" id="{D723BBE7-B708-4FD6-A7EA-9CA760AC36B8}"/>
                </a:ext>
              </a:extLst>
            </p:cNvPr>
            <p:cNvSpPr>
              <a:spLocks noChangeArrowheads="1"/>
            </p:cNvSpPr>
            <p:nvPr/>
          </p:nvSpPr>
          <p:spPr bwMode="auto">
            <a:xfrm>
              <a:off x="11233329" y="1327082"/>
              <a:ext cx="11415"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lnTo>
                    <a:pt x="0" y="0"/>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33" name="Freeform 811">
              <a:extLst>
                <a:ext uri="{FF2B5EF4-FFF2-40B4-BE49-F238E27FC236}">
                  <a16:creationId xmlns:a16="http://schemas.microsoft.com/office/drawing/2014/main" id="{53635F47-5118-4070-82D5-CDB7F65168A8}"/>
                </a:ext>
              </a:extLst>
            </p:cNvPr>
            <p:cNvSpPr>
              <a:spLocks noChangeArrowheads="1"/>
            </p:cNvSpPr>
            <p:nvPr/>
          </p:nvSpPr>
          <p:spPr bwMode="auto">
            <a:xfrm>
              <a:off x="11060460" y="2366043"/>
              <a:ext cx="75019" cy="118138"/>
            </a:xfrm>
            <a:custGeom>
              <a:avLst/>
              <a:gdLst>
                <a:gd name="T0" fmla="*/ 116 w 205"/>
                <a:gd name="T1" fmla="*/ 292 h 322"/>
                <a:gd name="T2" fmla="*/ 116 w 205"/>
                <a:gd name="T3" fmla="*/ 292 h 322"/>
                <a:gd name="T4" fmla="*/ 175 w 205"/>
                <a:gd name="T5" fmla="*/ 262 h 322"/>
                <a:gd name="T6" fmla="*/ 145 w 205"/>
                <a:gd name="T7" fmla="*/ 204 h 322"/>
                <a:gd name="T8" fmla="*/ 145 w 205"/>
                <a:gd name="T9" fmla="*/ 117 h 322"/>
                <a:gd name="T10" fmla="*/ 175 w 205"/>
                <a:gd name="T11" fmla="*/ 117 h 322"/>
                <a:gd name="T12" fmla="*/ 204 w 205"/>
                <a:gd name="T13" fmla="*/ 117 h 322"/>
                <a:gd name="T14" fmla="*/ 116 w 205"/>
                <a:gd name="T15" fmla="*/ 29 h 322"/>
                <a:gd name="T16" fmla="*/ 116 w 205"/>
                <a:gd name="T17" fmla="*/ 0 h 322"/>
                <a:gd name="T18" fmla="*/ 29 w 205"/>
                <a:gd name="T19" fmla="*/ 29 h 322"/>
                <a:gd name="T20" fmla="*/ 0 w 205"/>
                <a:gd name="T21" fmla="*/ 29 h 322"/>
                <a:gd name="T22" fmla="*/ 29 w 205"/>
                <a:gd name="T23" fmla="*/ 88 h 322"/>
                <a:gd name="T24" fmla="*/ 88 w 205"/>
                <a:gd name="T25" fmla="*/ 321 h 322"/>
                <a:gd name="T26" fmla="*/ 116 w 205"/>
                <a:gd name="T27" fmla="*/ 2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5" h="322">
                  <a:moveTo>
                    <a:pt x="116" y="292"/>
                  </a:moveTo>
                  <a:lnTo>
                    <a:pt x="116" y="292"/>
                  </a:lnTo>
                  <a:cubicBezTo>
                    <a:pt x="145" y="262"/>
                    <a:pt x="145" y="262"/>
                    <a:pt x="175" y="262"/>
                  </a:cubicBezTo>
                  <a:cubicBezTo>
                    <a:pt x="175" y="233"/>
                    <a:pt x="145" y="233"/>
                    <a:pt x="145" y="204"/>
                  </a:cubicBezTo>
                  <a:cubicBezTo>
                    <a:pt x="145" y="175"/>
                    <a:pt x="145" y="146"/>
                    <a:pt x="145" y="117"/>
                  </a:cubicBezTo>
                  <a:lnTo>
                    <a:pt x="175" y="117"/>
                  </a:lnTo>
                  <a:cubicBezTo>
                    <a:pt x="204" y="117"/>
                    <a:pt x="204" y="117"/>
                    <a:pt x="204" y="117"/>
                  </a:cubicBezTo>
                  <a:cubicBezTo>
                    <a:pt x="145" y="88"/>
                    <a:pt x="145" y="59"/>
                    <a:pt x="116" y="29"/>
                  </a:cubicBezTo>
                  <a:cubicBezTo>
                    <a:pt x="116" y="0"/>
                    <a:pt x="116" y="0"/>
                    <a:pt x="116" y="0"/>
                  </a:cubicBezTo>
                  <a:cubicBezTo>
                    <a:pt x="88" y="0"/>
                    <a:pt x="59" y="0"/>
                    <a:pt x="29" y="29"/>
                  </a:cubicBezTo>
                  <a:lnTo>
                    <a:pt x="0" y="29"/>
                  </a:lnTo>
                  <a:cubicBezTo>
                    <a:pt x="0" y="29"/>
                    <a:pt x="29" y="59"/>
                    <a:pt x="29" y="88"/>
                  </a:cubicBezTo>
                  <a:cubicBezTo>
                    <a:pt x="59" y="146"/>
                    <a:pt x="88" y="233"/>
                    <a:pt x="88" y="321"/>
                  </a:cubicBezTo>
                  <a:cubicBezTo>
                    <a:pt x="88" y="292"/>
                    <a:pt x="116" y="292"/>
                    <a:pt x="116" y="2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34" name="Freeform 812">
              <a:extLst>
                <a:ext uri="{FF2B5EF4-FFF2-40B4-BE49-F238E27FC236}">
                  <a16:creationId xmlns:a16="http://schemas.microsoft.com/office/drawing/2014/main" id="{A48C0120-4981-4ABB-A70B-DE4114799D36}"/>
                </a:ext>
              </a:extLst>
            </p:cNvPr>
            <p:cNvSpPr>
              <a:spLocks noChangeArrowheads="1"/>
            </p:cNvSpPr>
            <p:nvPr/>
          </p:nvSpPr>
          <p:spPr bwMode="auto">
            <a:xfrm>
              <a:off x="11275731" y="1327082"/>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35" name="Freeform 813">
              <a:extLst>
                <a:ext uri="{FF2B5EF4-FFF2-40B4-BE49-F238E27FC236}">
                  <a16:creationId xmlns:a16="http://schemas.microsoft.com/office/drawing/2014/main" id="{2594A23F-BC7A-48BE-956D-7E0D42F47214}"/>
                </a:ext>
              </a:extLst>
            </p:cNvPr>
            <p:cNvSpPr>
              <a:spLocks noChangeArrowheads="1"/>
            </p:cNvSpPr>
            <p:nvPr/>
          </p:nvSpPr>
          <p:spPr bwMode="auto">
            <a:xfrm>
              <a:off x="11243114" y="1327082"/>
              <a:ext cx="22832" cy="1619"/>
            </a:xfrm>
            <a:custGeom>
              <a:avLst/>
              <a:gdLst>
                <a:gd name="T0" fmla="*/ 59 w 60"/>
                <a:gd name="T1" fmla="*/ 0 h 1"/>
                <a:gd name="T2" fmla="*/ 59 w 60"/>
                <a:gd name="T3" fmla="*/ 0 h 1"/>
                <a:gd name="T4" fmla="*/ 30 w 60"/>
                <a:gd name="T5" fmla="*/ 0 h 1"/>
                <a:gd name="T6" fmla="*/ 0 w 60"/>
                <a:gd name="T7" fmla="*/ 0 h 1"/>
                <a:gd name="T8" fmla="*/ 30 w 60"/>
                <a:gd name="T9" fmla="*/ 0 h 1"/>
                <a:gd name="T10" fmla="*/ 59 w 60"/>
                <a:gd name="T11" fmla="*/ 0 h 1"/>
              </a:gdLst>
              <a:ahLst/>
              <a:cxnLst>
                <a:cxn ang="0">
                  <a:pos x="T0" y="T1"/>
                </a:cxn>
                <a:cxn ang="0">
                  <a:pos x="T2" y="T3"/>
                </a:cxn>
                <a:cxn ang="0">
                  <a:pos x="T4" y="T5"/>
                </a:cxn>
                <a:cxn ang="0">
                  <a:pos x="T6" y="T7"/>
                </a:cxn>
                <a:cxn ang="0">
                  <a:pos x="T8" y="T9"/>
                </a:cxn>
                <a:cxn ang="0">
                  <a:pos x="T10" y="T11"/>
                </a:cxn>
              </a:cxnLst>
              <a:rect l="0" t="0" r="r" b="b"/>
              <a:pathLst>
                <a:path w="60" h="1">
                  <a:moveTo>
                    <a:pt x="59" y="0"/>
                  </a:moveTo>
                  <a:lnTo>
                    <a:pt x="59" y="0"/>
                  </a:lnTo>
                  <a:cubicBezTo>
                    <a:pt x="30" y="0"/>
                    <a:pt x="30" y="0"/>
                    <a:pt x="30" y="0"/>
                  </a:cubicBezTo>
                  <a:cubicBezTo>
                    <a:pt x="0" y="0"/>
                    <a:pt x="0" y="0"/>
                    <a:pt x="0" y="0"/>
                  </a:cubicBezTo>
                  <a:cubicBezTo>
                    <a:pt x="0" y="0"/>
                    <a:pt x="0" y="0"/>
                    <a:pt x="30" y="0"/>
                  </a:cubicBezTo>
                  <a:cubicBezTo>
                    <a:pt x="30" y="0"/>
                    <a:pt x="30" y="0"/>
                    <a:pt x="5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36" name="Freeform 814">
              <a:extLst>
                <a:ext uri="{FF2B5EF4-FFF2-40B4-BE49-F238E27FC236}">
                  <a16:creationId xmlns:a16="http://schemas.microsoft.com/office/drawing/2014/main" id="{B46C2BE5-6D5C-4A72-8A8E-7B5FB938C380}"/>
                </a:ext>
              </a:extLst>
            </p:cNvPr>
            <p:cNvSpPr>
              <a:spLocks noChangeArrowheads="1"/>
            </p:cNvSpPr>
            <p:nvPr/>
          </p:nvSpPr>
          <p:spPr bwMode="auto">
            <a:xfrm>
              <a:off x="10682103" y="1798014"/>
              <a:ext cx="247889" cy="76061"/>
            </a:xfrm>
            <a:custGeom>
              <a:avLst/>
              <a:gdLst>
                <a:gd name="T0" fmla="*/ 175 w 672"/>
                <a:gd name="T1" fmla="*/ 175 h 206"/>
                <a:gd name="T2" fmla="*/ 175 w 672"/>
                <a:gd name="T3" fmla="*/ 175 h 206"/>
                <a:gd name="T4" fmla="*/ 642 w 672"/>
                <a:gd name="T5" fmla="*/ 29 h 206"/>
                <a:gd name="T6" fmla="*/ 671 w 672"/>
                <a:gd name="T7" fmla="*/ 29 h 206"/>
                <a:gd name="T8" fmla="*/ 671 w 672"/>
                <a:gd name="T9" fmla="*/ 29 h 206"/>
                <a:gd name="T10" fmla="*/ 671 w 672"/>
                <a:gd name="T11" fmla="*/ 0 h 206"/>
                <a:gd name="T12" fmla="*/ 671 w 672"/>
                <a:gd name="T13" fmla="*/ 29 h 206"/>
                <a:gd name="T14" fmla="*/ 671 w 672"/>
                <a:gd name="T15" fmla="*/ 29 h 206"/>
                <a:gd name="T16" fmla="*/ 642 w 672"/>
                <a:gd name="T17" fmla="*/ 29 h 206"/>
                <a:gd name="T18" fmla="*/ 146 w 672"/>
                <a:gd name="T19" fmla="*/ 175 h 206"/>
                <a:gd name="T20" fmla="*/ 30 w 672"/>
                <a:gd name="T21" fmla="*/ 205 h 206"/>
                <a:gd name="T22" fmla="*/ 0 w 672"/>
                <a:gd name="T23" fmla="*/ 205 h 206"/>
                <a:gd name="T24" fmla="*/ 30 w 672"/>
                <a:gd name="T25" fmla="*/ 205 h 206"/>
                <a:gd name="T26" fmla="*/ 175 w 672"/>
                <a:gd name="T27" fmla="*/ 175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2" h="206">
                  <a:moveTo>
                    <a:pt x="175" y="175"/>
                  </a:moveTo>
                  <a:lnTo>
                    <a:pt x="175" y="175"/>
                  </a:lnTo>
                  <a:cubicBezTo>
                    <a:pt x="321" y="117"/>
                    <a:pt x="496" y="58"/>
                    <a:pt x="642" y="29"/>
                  </a:cubicBezTo>
                  <a:cubicBezTo>
                    <a:pt x="671" y="29"/>
                    <a:pt x="671" y="29"/>
                    <a:pt x="671" y="29"/>
                  </a:cubicBezTo>
                  <a:lnTo>
                    <a:pt x="671" y="29"/>
                  </a:lnTo>
                  <a:cubicBezTo>
                    <a:pt x="671" y="29"/>
                    <a:pt x="671" y="29"/>
                    <a:pt x="671" y="0"/>
                  </a:cubicBezTo>
                  <a:cubicBezTo>
                    <a:pt x="671" y="29"/>
                    <a:pt x="671" y="29"/>
                    <a:pt x="671" y="29"/>
                  </a:cubicBezTo>
                  <a:lnTo>
                    <a:pt x="671" y="29"/>
                  </a:lnTo>
                  <a:cubicBezTo>
                    <a:pt x="642" y="29"/>
                    <a:pt x="642" y="29"/>
                    <a:pt x="642" y="29"/>
                  </a:cubicBezTo>
                  <a:cubicBezTo>
                    <a:pt x="496" y="58"/>
                    <a:pt x="321" y="117"/>
                    <a:pt x="146" y="175"/>
                  </a:cubicBezTo>
                  <a:cubicBezTo>
                    <a:pt x="116" y="175"/>
                    <a:pt x="59" y="205"/>
                    <a:pt x="30" y="205"/>
                  </a:cubicBezTo>
                  <a:cubicBezTo>
                    <a:pt x="0" y="205"/>
                    <a:pt x="0" y="205"/>
                    <a:pt x="0" y="205"/>
                  </a:cubicBezTo>
                  <a:cubicBezTo>
                    <a:pt x="30" y="205"/>
                    <a:pt x="30" y="205"/>
                    <a:pt x="30" y="205"/>
                  </a:cubicBezTo>
                  <a:cubicBezTo>
                    <a:pt x="59" y="205"/>
                    <a:pt x="116" y="175"/>
                    <a:pt x="175" y="17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37" name="Freeform 815">
              <a:extLst>
                <a:ext uri="{FF2B5EF4-FFF2-40B4-BE49-F238E27FC236}">
                  <a16:creationId xmlns:a16="http://schemas.microsoft.com/office/drawing/2014/main" id="{6276FB0A-1299-4BC8-9373-D4873CD79842}"/>
                </a:ext>
              </a:extLst>
            </p:cNvPr>
            <p:cNvSpPr>
              <a:spLocks noChangeArrowheads="1"/>
            </p:cNvSpPr>
            <p:nvPr/>
          </p:nvSpPr>
          <p:spPr bwMode="auto">
            <a:xfrm>
              <a:off x="10995226" y="1702532"/>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38" name="Freeform 816">
              <a:extLst>
                <a:ext uri="{FF2B5EF4-FFF2-40B4-BE49-F238E27FC236}">
                  <a16:creationId xmlns:a16="http://schemas.microsoft.com/office/drawing/2014/main" id="{7C4B90B7-8DF2-48F4-8150-E578876BF8F6}"/>
                </a:ext>
              </a:extLst>
            </p:cNvPr>
            <p:cNvSpPr>
              <a:spLocks noChangeArrowheads="1"/>
            </p:cNvSpPr>
            <p:nvPr/>
          </p:nvSpPr>
          <p:spPr bwMode="auto">
            <a:xfrm>
              <a:off x="10964239" y="1702532"/>
              <a:ext cx="44033" cy="53405"/>
            </a:xfrm>
            <a:custGeom>
              <a:avLst/>
              <a:gdLst>
                <a:gd name="T0" fmla="*/ 28 w 117"/>
                <a:gd name="T1" fmla="*/ 146 h 147"/>
                <a:gd name="T2" fmla="*/ 28 w 117"/>
                <a:gd name="T3" fmla="*/ 146 h 147"/>
                <a:gd name="T4" fmla="*/ 28 w 117"/>
                <a:gd name="T5" fmla="*/ 146 h 147"/>
                <a:gd name="T6" fmla="*/ 87 w 117"/>
                <a:gd name="T7" fmla="*/ 117 h 147"/>
                <a:gd name="T8" fmla="*/ 87 w 117"/>
                <a:gd name="T9" fmla="*/ 0 h 147"/>
                <a:gd name="T10" fmla="*/ 87 w 117"/>
                <a:gd name="T11" fmla="*/ 117 h 147"/>
                <a:gd name="T12" fmla="*/ 28 w 117"/>
                <a:gd name="T13" fmla="*/ 146 h 147"/>
                <a:gd name="T14" fmla="*/ 28 w 117"/>
                <a:gd name="T15" fmla="*/ 146 h 147"/>
                <a:gd name="T16" fmla="*/ 0 w 117"/>
                <a:gd name="T17" fmla="*/ 146 h 147"/>
                <a:gd name="T18" fmla="*/ 0 w 117"/>
                <a:gd name="T19" fmla="*/ 146 h 147"/>
                <a:gd name="T20" fmla="*/ 28 w 117"/>
                <a:gd name="T21" fmla="*/ 14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 h="147">
                  <a:moveTo>
                    <a:pt x="28" y="146"/>
                  </a:moveTo>
                  <a:lnTo>
                    <a:pt x="28" y="146"/>
                  </a:lnTo>
                  <a:lnTo>
                    <a:pt x="28" y="146"/>
                  </a:lnTo>
                  <a:cubicBezTo>
                    <a:pt x="57" y="146"/>
                    <a:pt x="87" y="117"/>
                    <a:pt x="87" y="117"/>
                  </a:cubicBezTo>
                  <a:cubicBezTo>
                    <a:pt x="116" y="87"/>
                    <a:pt x="116" y="29"/>
                    <a:pt x="87" y="0"/>
                  </a:cubicBezTo>
                  <a:cubicBezTo>
                    <a:pt x="116" y="29"/>
                    <a:pt x="116" y="87"/>
                    <a:pt x="87" y="117"/>
                  </a:cubicBezTo>
                  <a:cubicBezTo>
                    <a:pt x="87" y="117"/>
                    <a:pt x="57" y="146"/>
                    <a:pt x="28" y="146"/>
                  </a:cubicBezTo>
                  <a:lnTo>
                    <a:pt x="28" y="146"/>
                  </a:lnTo>
                  <a:cubicBezTo>
                    <a:pt x="0" y="146"/>
                    <a:pt x="0" y="146"/>
                    <a:pt x="0" y="146"/>
                  </a:cubicBezTo>
                  <a:lnTo>
                    <a:pt x="0" y="146"/>
                  </a:lnTo>
                  <a:lnTo>
                    <a:pt x="28" y="14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39" name="Freeform 817">
              <a:extLst>
                <a:ext uri="{FF2B5EF4-FFF2-40B4-BE49-F238E27FC236}">
                  <a16:creationId xmlns:a16="http://schemas.microsoft.com/office/drawing/2014/main" id="{149454AF-5348-439E-8A82-04DD65A8FC0C}"/>
                </a:ext>
              </a:extLst>
            </p:cNvPr>
            <p:cNvSpPr>
              <a:spLocks noChangeArrowheads="1"/>
            </p:cNvSpPr>
            <p:nvPr/>
          </p:nvSpPr>
          <p:spPr bwMode="auto">
            <a:xfrm>
              <a:off x="10995226" y="1488914"/>
              <a:ext cx="1630" cy="53405"/>
            </a:xfrm>
            <a:custGeom>
              <a:avLst/>
              <a:gdLst>
                <a:gd name="T0" fmla="*/ 0 w 1"/>
                <a:gd name="T1" fmla="*/ 29 h 146"/>
                <a:gd name="T2" fmla="*/ 0 w 1"/>
                <a:gd name="T3" fmla="*/ 29 h 146"/>
                <a:gd name="T4" fmla="*/ 0 w 1"/>
                <a:gd name="T5" fmla="*/ 0 h 146"/>
                <a:gd name="T6" fmla="*/ 0 w 1"/>
                <a:gd name="T7" fmla="*/ 29 h 146"/>
                <a:gd name="T8" fmla="*/ 0 w 1"/>
                <a:gd name="T9" fmla="*/ 145 h 146"/>
                <a:gd name="T10" fmla="*/ 0 w 1"/>
                <a:gd name="T11" fmla="*/ 29 h 146"/>
              </a:gdLst>
              <a:ahLst/>
              <a:cxnLst>
                <a:cxn ang="0">
                  <a:pos x="T0" y="T1"/>
                </a:cxn>
                <a:cxn ang="0">
                  <a:pos x="T2" y="T3"/>
                </a:cxn>
                <a:cxn ang="0">
                  <a:pos x="T4" y="T5"/>
                </a:cxn>
                <a:cxn ang="0">
                  <a:pos x="T6" y="T7"/>
                </a:cxn>
                <a:cxn ang="0">
                  <a:pos x="T8" y="T9"/>
                </a:cxn>
                <a:cxn ang="0">
                  <a:pos x="T10" y="T11"/>
                </a:cxn>
              </a:cxnLst>
              <a:rect l="0" t="0" r="r" b="b"/>
              <a:pathLst>
                <a:path w="1" h="146">
                  <a:moveTo>
                    <a:pt x="0" y="29"/>
                  </a:moveTo>
                  <a:lnTo>
                    <a:pt x="0" y="29"/>
                  </a:lnTo>
                  <a:lnTo>
                    <a:pt x="0" y="0"/>
                  </a:lnTo>
                  <a:lnTo>
                    <a:pt x="0" y="29"/>
                  </a:lnTo>
                  <a:cubicBezTo>
                    <a:pt x="0" y="87"/>
                    <a:pt x="0" y="116"/>
                    <a:pt x="0" y="145"/>
                  </a:cubicBezTo>
                  <a:cubicBezTo>
                    <a:pt x="0" y="116"/>
                    <a:pt x="0" y="87"/>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40" name="Freeform 818">
              <a:extLst>
                <a:ext uri="{FF2B5EF4-FFF2-40B4-BE49-F238E27FC236}">
                  <a16:creationId xmlns:a16="http://schemas.microsoft.com/office/drawing/2014/main" id="{64972895-1924-47D6-99EB-C065F6635E7D}"/>
                </a:ext>
              </a:extLst>
            </p:cNvPr>
            <p:cNvSpPr>
              <a:spLocks noChangeArrowheads="1"/>
            </p:cNvSpPr>
            <p:nvPr/>
          </p:nvSpPr>
          <p:spPr bwMode="auto">
            <a:xfrm>
              <a:off x="11006641" y="1306044"/>
              <a:ext cx="53818" cy="161832"/>
            </a:xfrm>
            <a:custGeom>
              <a:avLst/>
              <a:gdLst>
                <a:gd name="T0" fmla="*/ 29 w 147"/>
                <a:gd name="T1" fmla="*/ 409 h 439"/>
                <a:gd name="T2" fmla="*/ 29 w 147"/>
                <a:gd name="T3" fmla="*/ 409 h 439"/>
                <a:gd name="T4" fmla="*/ 58 w 147"/>
                <a:gd name="T5" fmla="*/ 292 h 439"/>
                <a:gd name="T6" fmla="*/ 146 w 147"/>
                <a:gd name="T7" fmla="*/ 0 h 439"/>
                <a:gd name="T8" fmla="*/ 58 w 147"/>
                <a:gd name="T9" fmla="*/ 292 h 439"/>
                <a:gd name="T10" fmla="*/ 29 w 147"/>
                <a:gd name="T11" fmla="*/ 409 h 439"/>
                <a:gd name="T12" fmla="*/ 0 w 147"/>
                <a:gd name="T13" fmla="*/ 438 h 439"/>
                <a:gd name="T14" fmla="*/ 29 w 147"/>
                <a:gd name="T15" fmla="*/ 409 h 4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439">
                  <a:moveTo>
                    <a:pt x="29" y="409"/>
                  </a:moveTo>
                  <a:lnTo>
                    <a:pt x="29" y="409"/>
                  </a:lnTo>
                  <a:cubicBezTo>
                    <a:pt x="29" y="350"/>
                    <a:pt x="58" y="321"/>
                    <a:pt x="58" y="292"/>
                  </a:cubicBezTo>
                  <a:cubicBezTo>
                    <a:pt x="88" y="205"/>
                    <a:pt x="117" y="117"/>
                    <a:pt x="146" y="0"/>
                  </a:cubicBezTo>
                  <a:cubicBezTo>
                    <a:pt x="117" y="117"/>
                    <a:pt x="88" y="205"/>
                    <a:pt x="58" y="292"/>
                  </a:cubicBezTo>
                  <a:cubicBezTo>
                    <a:pt x="58" y="321"/>
                    <a:pt x="29" y="350"/>
                    <a:pt x="29" y="409"/>
                  </a:cubicBezTo>
                  <a:lnTo>
                    <a:pt x="0" y="438"/>
                  </a:lnTo>
                  <a:lnTo>
                    <a:pt x="29" y="40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41" name="Freeform 819">
              <a:extLst>
                <a:ext uri="{FF2B5EF4-FFF2-40B4-BE49-F238E27FC236}">
                  <a16:creationId xmlns:a16="http://schemas.microsoft.com/office/drawing/2014/main" id="{6A68F3B9-012F-45EB-A287-5332BDDA9728}"/>
                </a:ext>
              </a:extLst>
            </p:cNvPr>
            <p:cNvSpPr>
              <a:spLocks noChangeArrowheads="1"/>
            </p:cNvSpPr>
            <p:nvPr/>
          </p:nvSpPr>
          <p:spPr bwMode="auto">
            <a:xfrm>
              <a:off x="11071875" y="1306044"/>
              <a:ext cx="22832" cy="22656"/>
            </a:xfrm>
            <a:custGeom>
              <a:avLst/>
              <a:gdLst>
                <a:gd name="T0" fmla="*/ 59 w 60"/>
                <a:gd name="T1" fmla="*/ 59 h 60"/>
                <a:gd name="T2" fmla="*/ 59 w 60"/>
                <a:gd name="T3" fmla="*/ 59 h 60"/>
                <a:gd name="T4" fmla="*/ 0 w 60"/>
                <a:gd name="T5" fmla="*/ 0 h 60"/>
                <a:gd name="T6" fmla="*/ 59 w 60"/>
                <a:gd name="T7" fmla="*/ 59 h 60"/>
              </a:gdLst>
              <a:ahLst/>
              <a:cxnLst>
                <a:cxn ang="0">
                  <a:pos x="T0" y="T1"/>
                </a:cxn>
                <a:cxn ang="0">
                  <a:pos x="T2" y="T3"/>
                </a:cxn>
                <a:cxn ang="0">
                  <a:pos x="T4" y="T5"/>
                </a:cxn>
                <a:cxn ang="0">
                  <a:pos x="T6" y="T7"/>
                </a:cxn>
              </a:cxnLst>
              <a:rect l="0" t="0" r="r" b="b"/>
              <a:pathLst>
                <a:path w="60" h="60">
                  <a:moveTo>
                    <a:pt x="59" y="59"/>
                  </a:moveTo>
                  <a:lnTo>
                    <a:pt x="59" y="59"/>
                  </a:lnTo>
                  <a:cubicBezTo>
                    <a:pt x="59" y="30"/>
                    <a:pt x="30" y="0"/>
                    <a:pt x="0" y="0"/>
                  </a:cubicBezTo>
                  <a:cubicBezTo>
                    <a:pt x="30" y="0"/>
                    <a:pt x="59" y="30"/>
                    <a:pt x="59"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42" name="Freeform 820">
              <a:extLst>
                <a:ext uri="{FF2B5EF4-FFF2-40B4-BE49-F238E27FC236}">
                  <a16:creationId xmlns:a16="http://schemas.microsoft.com/office/drawing/2014/main" id="{F2B3643B-E49C-4CB9-A055-6B2E07D485E7}"/>
                </a:ext>
              </a:extLst>
            </p:cNvPr>
            <p:cNvSpPr>
              <a:spLocks noChangeArrowheads="1"/>
            </p:cNvSpPr>
            <p:nvPr/>
          </p:nvSpPr>
          <p:spPr bwMode="auto">
            <a:xfrm>
              <a:off x="11200712" y="2301311"/>
              <a:ext cx="21200" cy="11329"/>
            </a:xfrm>
            <a:custGeom>
              <a:avLst/>
              <a:gdLst>
                <a:gd name="T0" fmla="*/ 30 w 59"/>
                <a:gd name="T1" fmla="*/ 29 h 30"/>
                <a:gd name="T2" fmla="*/ 30 w 59"/>
                <a:gd name="T3" fmla="*/ 29 h 30"/>
                <a:gd name="T4" fmla="*/ 58 w 59"/>
                <a:gd name="T5" fmla="*/ 29 h 30"/>
                <a:gd name="T6" fmla="*/ 58 w 59"/>
                <a:gd name="T7" fmla="*/ 29 h 30"/>
                <a:gd name="T8" fmla="*/ 58 w 59"/>
                <a:gd name="T9" fmla="*/ 29 h 30"/>
                <a:gd name="T10" fmla="*/ 58 w 59"/>
                <a:gd name="T11" fmla="*/ 29 h 30"/>
                <a:gd name="T12" fmla="*/ 30 w 59"/>
                <a:gd name="T13" fmla="*/ 29 h 30"/>
                <a:gd name="T14" fmla="*/ 0 w 59"/>
                <a:gd name="T15" fmla="*/ 0 h 30"/>
                <a:gd name="T16" fmla="*/ 30 w 59"/>
                <a:gd name="T1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30">
                  <a:moveTo>
                    <a:pt x="30" y="29"/>
                  </a:moveTo>
                  <a:lnTo>
                    <a:pt x="30" y="29"/>
                  </a:lnTo>
                  <a:cubicBezTo>
                    <a:pt x="58" y="29"/>
                    <a:pt x="58" y="29"/>
                    <a:pt x="58" y="29"/>
                  </a:cubicBezTo>
                  <a:lnTo>
                    <a:pt x="58" y="29"/>
                  </a:lnTo>
                  <a:lnTo>
                    <a:pt x="58" y="29"/>
                  </a:lnTo>
                  <a:lnTo>
                    <a:pt x="58" y="29"/>
                  </a:lnTo>
                  <a:cubicBezTo>
                    <a:pt x="30" y="29"/>
                    <a:pt x="30" y="29"/>
                    <a:pt x="30" y="29"/>
                  </a:cubicBezTo>
                  <a:cubicBezTo>
                    <a:pt x="30" y="29"/>
                    <a:pt x="30" y="0"/>
                    <a:pt x="0" y="0"/>
                  </a:cubicBezTo>
                  <a:cubicBezTo>
                    <a:pt x="30" y="0"/>
                    <a:pt x="30" y="29"/>
                    <a:pt x="3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43" name="Freeform 821">
              <a:extLst>
                <a:ext uri="{FF2B5EF4-FFF2-40B4-BE49-F238E27FC236}">
                  <a16:creationId xmlns:a16="http://schemas.microsoft.com/office/drawing/2014/main" id="{3AF17624-4A28-4C31-888F-F15270A46A99}"/>
                </a:ext>
              </a:extLst>
            </p:cNvPr>
            <p:cNvSpPr>
              <a:spLocks noChangeArrowheads="1"/>
            </p:cNvSpPr>
            <p:nvPr/>
          </p:nvSpPr>
          <p:spPr bwMode="auto">
            <a:xfrm>
              <a:off x="10262976" y="5309768"/>
              <a:ext cx="32617" cy="85770"/>
            </a:xfrm>
            <a:custGeom>
              <a:avLst/>
              <a:gdLst>
                <a:gd name="T0" fmla="*/ 58 w 88"/>
                <a:gd name="T1" fmla="*/ 145 h 234"/>
                <a:gd name="T2" fmla="*/ 58 w 88"/>
                <a:gd name="T3" fmla="*/ 145 h 234"/>
                <a:gd name="T4" fmla="*/ 29 w 88"/>
                <a:gd name="T5" fmla="*/ 116 h 234"/>
                <a:gd name="T6" fmla="*/ 0 w 88"/>
                <a:gd name="T7" fmla="*/ 29 h 234"/>
                <a:gd name="T8" fmla="*/ 0 w 88"/>
                <a:gd name="T9" fmla="*/ 0 h 234"/>
                <a:gd name="T10" fmla="*/ 0 w 88"/>
                <a:gd name="T11" fmla="*/ 29 h 234"/>
                <a:gd name="T12" fmla="*/ 29 w 88"/>
                <a:gd name="T13" fmla="*/ 116 h 234"/>
                <a:gd name="T14" fmla="*/ 58 w 88"/>
                <a:gd name="T15" fmla="*/ 145 h 234"/>
                <a:gd name="T16" fmla="*/ 87 w 88"/>
                <a:gd name="T17" fmla="*/ 233 h 234"/>
                <a:gd name="T18" fmla="*/ 58 w 88"/>
                <a:gd name="T19" fmla="*/ 14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234">
                  <a:moveTo>
                    <a:pt x="58" y="145"/>
                  </a:moveTo>
                  <a:lnTo>
                    <a:pt x="58" y="145"/>
                  </a:lnTo>
                  <a:cubicBezTo>
                    <a:pt x="58" y="116"/>
                    <a:pt x="58" y="116"/>
                    <a:pt x="29" y="116"/>
                  </a:cubicBezTo>
                  <a:cubicBezTo>
                    <a:pt x="29" y="87"/>
                    <a:pt x="0" y="57"/>
                    <a:pt x="0" y="29"/>
                  </a:cubicBezTo>
                  <a:lnTo>
                    <a:pt x="0" y="0"/>
                  </a:lnTo>
                  <a:lnTo>
                    <a:pt x="0" y="29"/>
                  </a:lnTo>
                  <a:cubicBezTo>
                    <a:pt x="0" y="57"/>
                    <a:pt x="29" y="87"/>
                    <a:pt x="29" y="116"/>
                  </a:cubicBezTo>
                  <a:cubicBezTo>
                    <a:pt x="58" y="116"/>
                    <a:pt x="58" y="116"/>
                    <a:pt x="58" y="145"/>
                  </a:cubicBezTo>
                  <a:cubicBezTo>
                    <a:pt x="58" y="174"/>
                    <a:pt x="58" y="204"/>
                    <a:pt x="87" y="233"/>
                  </a:cubicBezTo>
                  <a:cubicBezTo>
                    <a:pt x="58" y="204"/>
                    <a:pt x="58" y="174"/>
                    <a:pt x="58" y="14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44" name="Freeform 822">
              <a:extLst>
                <a:ext uri="{FF2B5EF4-FFF2-40B4-BE49-F238E27FC236}">
                  <a16:creationId xmlns:a16="http://schemas.microsoft.com/office/drawing/2014/main" id="{1B261E60-D4D8-4399-8A94-B9B591827050}"/>
                </a:ext>
              </a:extLst>
            </p:cNvPr>
            <p:cNvSpPr>
              <a:spLocks noChangeArrowheads="1"/>
            </p:cNvSpPr>
            <p:nvPr/>
          </p:nvSpPr>
          <p:spPr bwMode="auto">
            <a:xfrm>
              <a:off x="10251560" y="5309768"/>
              <a:ext cx="11415" cy="21038"/>
            </a:xfrm>
            <a:custGeom>
              <a:avLst/>
              <a:gdLst>
                <a:gd name="T0" fmla="*/ 0 w 31"/>
                <a:gd name="T1" fmla="*/ 0 h 58"/>
                <a:gd name="T2" fmla="*/ 0 w 31"/>
                <a:gd name="T3" fmla="*/ 0 h 58"/>
                <a:gd name="T4" fmla="*/ 0 w 31"/>
                <a:gd name="T5" fmla="*/ 0 h 58"/>
                <a:gd name="T6" fmla="*/ 30 w 31"/>
                <a:gd name="T7" fmla="*/ 57 h 58"/>
                <a:gd name="T8" fmla="*/ 0 w 31"/>
                <a:gd name="T9" fmla="*/ 0 h 58"/>
              </a:gdLst>
              <a:ahLst/>
              <a:cxnLst>
                <a:cxn ang="0">
                  <a:pos x="T0" y="T1"/>
                </a:cxn>
                <a:cxn ang="0">
                  <a:pos x="T2" y="T3"/>
                </a:cxn>
                <a:cxn ang="0">
                  <a:pos x="T4" y="T5"/>
                </a:cxn>
                <a:cxn ang="0">
                  <a:pos x="T6" y="T7"/>
                </a:cxn>
                <a:cxn ang="0">
                  <a:pos x="T8" y="T9"/>
                </a:cxn>
              </a:cxnLst>
              <a:rect l="0" t="0" r="r" b="b"/>
              <a:pathLst>
                <a:path w="31" h="58">
                  <a:moveTo>
                    <a:pt x="0" y="0"/>
                  </a:moveTo>
                  <a:lnTo>
                    <a:pt x="0" y="0"/>
                  </a:lnTo>
                  <a:lnTo>
                    <a:pt x="0" y="0"/>
                  </a:lnTo>
                  <a:cubicBezTo>
                    <a:pt x="0" y="29"/>
                    <a:pt x="30" y="57"/>
                    <a:pt x="30" y="57"/>
                  </a:cubicBezTo>
                  <a:cubicBezTo>
                    <a:pt x="30" y="57"/>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45" name="Freeform 823">
              <a:extLst>
                <a:ext uri="{FF2B5EF4-FFF2-40B4-BE49-F238E27FC236}">
                  <a16:creationId xmlns:a16="http://schemas.microsoft.com/office/drawing/2014/main" id="{C472085E-E079-49A4-A24F-AAAECD630C85}"/>
                </a:ext>
              </a:extLst>
            </p:cNvPr>
            <p:cNvSpPr>
              <a:spLocks noChangeArrowheads="1"/>
            </p:cNvSpPr>
            <p:nvPr/>
          </p:nvSpPr>
          <p:spPr bwMode="auto">
            <a:xfrm>
              <a:off x="10218943" y="5212669"/>
              <a:ext cx="11415" cy="1618"/>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46" name="Freeform 824">
              <a:extLst>
                <a:ext uri="{FF2B5EF4-FFF2-40B4-BE49-F238E27FC236}">
                  <a16:creationId xmlns:a16="http://schemas.microsoft.com/office/drawing/2014/main" id="{DB9C51D9-823E-4956-9873-628108388A9A}"/>
                </a:ext>
              </a:extLst>
            </p:cNvPr>
            <p:cNvSpPr>
              <a:spLocks noChangeArrowheads="1"/>
            </p:cNvSpPr>
            <p:nvPr/>
          </p:nvSpPr>
          <p:spPr bwMode="auto">
            <a:xfrm>
              <a:off x="10262976" y="5330806"/>
              <a:ext cx="1631" cy="11329"/>
            </a:xfrm>
            <a:custGeom>
              <a:avLst/>
              <a:gdLst>
                <a:gd name="T0" fmla="*/ 0 w 1"/>
                <a:gd name="T1" fmla="*/ 0 h 31"/>
                <a:gd name="T2" fmla="*/ 0 w 1"/>
                <a:gd name="T3" fmla="*/ 0 h 31"/>
                <a:gd name="T4" fmla="*/ 0 w 1"/>
                <a:gd name="T5" fmla="*/ 30 h 31"/>
                <a:gd name="T6" fmla="*/ 0 w 1"/>
                <a:gd name="T7" fmla="*/ 0 h 31"/>
              </a:gdLst>
              <a:ahLst/>
              <a:cxnLst>
                <a:cxn ang="0">
                  <a:pos x="T0" y="T1"/>
                </a:cxn>
                <a:cxn ang="0">
                  <a:pos x="T2" y="T3"/>
                </a:cxn>
                <a:cxn ang="0">
                  <a:pos x="T4" y="T5"/>
                </a:cxn>
                <a:cxn ang="0">
                  <a:pos x="T6" y="T7"/>
                </a:cxn>
              </a:cxnLst>
              <a:rect l="0" t="0" r="r" b="b"/>
              <a:pathLst>
                <a:path w="1" h="31">
                  <a:moveTo>
                    <a:pt x="0" y="0"/>
                  </a:moveTo>
                  <a:lnTo>
                    <a:pt x="0" y="0"/>
                  </a:lnTo>
                  <a:lnTo>
                    <a:pt x="0" y="3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47" name="Freeform 825">
              <a:extLst>
                <a:ext uri="{FF2B5EF4-FFF2-40B4-BE49-F238E27FC236}">
                  <a16:creationId xmlns:a16="http://schemas.microsoft.com/office/drawing/2014/main" id="{A1E3538F-CEBC-477F-BDCD-C50E682A1CAF}"/>
                </a:ext>
              </a:extLst>
            </p:cNvPr>
            <p:cNvSpPr>
              <a:spLocks noChangeArrowheads="1"/>
            </p:cNvSpPr>
            <p:nvPr/>
          </p:nvSpPr>
          <p:spPr bwMode="auto">
            <a:xfrm>
              <a:off x="10218943" y="5212669"/>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48" name="Freeform 826">
              <a:extLst>
                <a:ext uri="{FF2B5EF4-FFF2-40B4-BE49-F238E27FC236}">
                  <a16:creationId xmlns:a16="http://schemas.microsoft.com/office/drawing/2014/main" id="{556A5552-F1AD-4886-B144-87C0CA1D7317}"/>
                </a:ext>
              </a:extLst>
            </p:cNvPr>
            <p:cNvSpPr>
              <a:spLocks noChangeArrowheads="1"/>
            </p:cNvSpPr>
            <p:nvPr/>
          </p:nvSpPr>
          <p:spPr bwMode="auto">
            <a:xfrm>
              <a:off x="10230359" y="5256363"/>
              <a:ext cx="1631" cy="11329"/>
            </a:xfrm>
            <a:custGeom>
              <a:avLst/>
              <a:gdLst>
                <a:gd name="T0" fmla="*/ 0 w 1"/>
                <a:gd name="T1" fmla="*/ 0 h 30"/>
                <a:gd name="T2" fmla="*/ 0 w 1"/>
                <a:gd name="T3" fmla="*/ 0 h 30"/>
                <a:gd name="T4" fmla="*/ 0 w 1"/>
                <a:gd name="T5" fmla="*/ 29 h 30"/>
                <a:gd name="T6" fmla="*/ 0 w 1"/>
                <a:gd name="T7" fmla="*/ 29 h 30"/>
                <a:gd name="T8" fmla="*/ 0 w 1"/>
                <a:gd name="T9" fmla="*/ 0 h 30"/>
              </a:gdLst>
              <a:ahLst/>
              <a:cxnLst>
                <a:cxn ang="0">
                  <a:pos x="T0" y="T1"/>
                </a:cxn>
                <a:cxn ang="0">
                  <a:pos x="T2" y="T3"/>
                </a:cxn>
                <a:cxn ang="0">
                  <a:pos x="T4" y="T5"/>
                </a:cxn>
                <a:cxn ang="0">
                  <a:pos x="T6" y="T7"/>
                </a:cxn>
                <a:cxn ang="0">
                  <a:pos x="T8" y="T9"/>
                </a:cxn>
              </a:cxnLst>
              <a:rect l="0" t="0" r="r" b="b"/>
              <a:pathLst>
                <a:path w="1" h="30">
                  <a:moveTo>
                    <a:pt x="0" y="0"/>
                  </a:moveTo>
                  <a:lnTo>
                    <a:pt x="0" y="0"/>
                  </a:lnTo>
                  <a:lnTo>
                    <a:pt x="0" y="29"/>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49" name="Freeform 827">
              <a:extLst>
                <a:ext uri="{FF2B5EF4-FFF2-40B4-BE49-F238E27FC236}">
                  <a16:creationId xmlns:a16="http://schemas.microsoft.com/office/drawing/2014/main" id="{43EF3325-50C0-4DA1-B055-D1EBDF394DEB}"/>
                </a:ext>
              </a:extLst>
            </p:cNvPr>
            <p:cNvSpPr>
              <a:spLocks noChangeArrowheads="1"/>
            </p:cNvSpPr>
            <p:nvPr/>
          </p:nvSpPr>
          <p:spPr bwMode="auto">
            <a:xfrm>
              <a:off x="10293962" y="5416577"/>
              <a:ext cx="11415" cy="11328"/>
            </a:xfrm>
            <a:custGeom>
              <a:avLst/>
              <a:gdLst>
                <a:gd name="T0" fmla="*/ 0 w 31"/>
                <a:gd name="T1" fmla="*/ 30 h 31"/>
                <a:gd name="T2" fmla="*/ 0 w 31"/>
                <a:gd name="T3" fmla="*/ 30 h 31"/>
                <a:gd name="T4" fmla="*/ 30 w 31"/>
                <a:gd name="T5" fmla="*/ 0 h 31"/>
                <a:gd name="T6" fmla="*/ 0 w 31"/>
                <a:gd name="T7" fmla="*/ 30 h 31"/>
              </a:gdLst>
              <a:ahLst/>
              <a:cxnLst>
                <a:cxn ang="0">
                  <a:pos x="T0" y="T1"/>
                </a:cxn>
                <a:cxn ang="0">
                  <a:pos x="T2" y="T3"/>
                </a:cxn>
                <a:cxn ang="0">
                  <a:pos x="T4" y="T5"/>
                </a:cxn>
                <a:cxn ang="0">
                  <a:pos x="T6" y="T7"/>
                </a:cxn>
              </a:cxnLst>
              <a:rect l="0" t="0" r="r" b="b"/>
              <a:pathLst>
                <a:path w="31" h="31">
                  <a:moveTo>
                    <a:pt x="0" y="30"/>
                  </a:moveTo>
                  <a:lnTo>
                    <a:pt x="0" y="30"/>
                  </a:lnTo>
                  <a:cubicBezTo>
                    <a:pt x="0" y="0"/>
                    <a:pt x="0" y="0"/>
                    <a:pt x="30" y="0"/>
                  </a:cubicBezTo>
                  <a:cubicBezTo>
                    <a:pt x="0" y="0"/>
                    <a:pt x="0" y="0"/>
                    <a:pt x="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50" name="Freeform 828">
              <a:extLst>
                <a:ext uri="{FF2B5EF4-FFF2-40B4-BE49-F238E27FC236}">
                  <a16:creationId xmlns:a16="http://schemas.microsoft.com/office/drawing/2014/main" id="{E1C3CF83-6990-453F-A3A0-2A203F179058}"/>
                </a:ext>
              </a:extLst>
            </p:cNvPr>
            <p:cNvSpPr>
              <a:spLocks noChangeArrowheads="1"/>
            </p:cNvSpPr>
            <p:nvPr/>
          </p:nvSpPr>
          <p:spPr bwMode="auto">
            <a:xfrm>
              <a:off x="10305378" y="5469981"/>
              <a:ext cx="11416" cy="1619"/>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29" y="0"/>
                    <a:pt x="29" y="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51" name="Freeform 829">
              <a:extLst>
                <a:ext uri="{FF2B5EF4-FFF2-40B4-BE49-F238E27FC236}">
                  <a16:creationId xmlns:a16="http://schemas.microsoft.com/office/drawing/2014/main" id="{35AEB7F3-E950-4BAF-81B3-82156AFB0A4F}"/>
                </a:ext>
              </a:extLst>
            </p:cNvPr>
            <p:cNvSpPr>
              <a:spLocks noChangeArrowheads="1"/>
            </p:cNvSpPr>
            <p:nvPr/>
          </p:nvSpPr>
          <p:spPr bwMode="auto">
            <a:xfrm>
              <a:off x="10305378" y="5416577"/>
              <a:ext cx="11416" cy="11328"/>
            </a:xfrm>
            <a:custGeom>
              <a:avLst/>
              <a:gdLst>
                <a:gd name="T0" fmla="*/ 0 w 30"/>
                <a:gd name="T1" fmla="*/ 0 h 31"/>
                <a:gd name="T2" fmla="*/ 29 w 30"/>
                <a:gd name="T3" fmla="*/ 0 h 31"/>
                <a:gd name="T4" fmla="*/ 29 w 30"/>
                <a:gd name="T5" fmla="*/ 30 h 31"/>
                <a:gd name="T6" fmla="*/ 29 w 30"/>
                <a:gd name="T7" fmla="*/ 0 h 31"/>
                <a:gd name="T8" fmla="*/ 0 w 30"/>
                <a:gd name="T9" fmla="*/ 0 h 31"/>
              </a:gdLst>
              <a:ahLst/>
              <a:cxnLst>
                <a:cxn ang="0">
                  <a:pos x="T0" y="T1"/>
                </a:cxn>
                <a:cxn ang="0">
                  <a:pos x="T2" y="T3"/>
                </a:cxn>
                <a:cxn ang="0">
                  <a:pos x="T4" y="T5"/>
                </a:cxn>
                <a:cxn ang="0">
                  <a:pos x="T6" y="T7"/>
                </a:cxn>
                <a:cxn ang="0">
                  <a:pos x="T8" y="T9"/>
                </a:cxn>
              </a:cxnLst>
              <a:rect l="0" t="0" r="r" b="b"/>
              <a:pathLst>
                <a:path w="30" h="31">
                  <a:moveTo>
                    <a:pt x="0" y="0"/>
                  </a:moveTo>
                  <a:lnTo>
                    <a:pt x="29" y="0"/>
                  </a:lnTo>
                  <a:lnTo>
                    <a:pt x="29" y="30"/>
                  </a:ln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52" name="Freeform 830">
              <a:extLst>
                <a:ext uri="{FF2B5EF4-FFF2-40B4-BE49-F238E27FC236}">
                  <a16:creationId xmlns:a16="http://schemas.microsoft.com/office/drawing/2014/main" id="{59ECA391-E3E1-4E10-A2F8-E3F340530258}"/>
                </a:ext>
              </a:extLst>
            </p:cNvPr>
            <p:cNvSpPr>
              <a:spLocks noChangeArrowheads="1"/>
            </p:cNvSpPr>
            <p:nvPr/>
          </p:nvSpPr>
          <p:spPr bwMode="auto">
            <a:xfrm>
              <a:off x="10316794" y="5426287"/>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53" name="Freeform 831">
              <a:extLst>
                <a:ext uri="{FF2B5EF4-FFF2-40B4-BE49-F238E27FC236}">
                  <a16:creationId xmlns:a16="http://schemas.microsoft.com/office/drawing/2014/main" id="{70E2958D-2C33-4A70-9EFA-2715A62A378D}"/>
                </a:ext>
              </a:extLst>
            </p:cNvPr>
            <p:cNvSpPr>
              <a:spLocks noChangeArrowheads="1"/>
            </p:cNvSpPr>
            <p:nvPr/>
          </p:nvSpPr>
          <p:spPr bwMode="auto">
            <a:xfrm>
              <a:off x="10186326" y="5147936"/>
              <a:ext cx="21200" cy="11328"/>
            </a:xfrm>
            <a:custGeom>
              <a:avLst/>
              <a:gdLst>
                <a:gd name="T0" fmla="*/ 58 w 59"/>
                <a:gd name="T1" fmla="*/ 29 h 30"/>
                <a:gd name="T2" fmla="*/ 58 w 59"/>
                <a:gd name="T3" fmla="*/ 29 h 30"/>
                <a:gd name="T4" fmla="*/ 29 w 59"/>
                <a:gd name="T5" fmla="*/ 29 h 30"/>
                <a:gd name="T6" fmla="*/ 0 w 59"/>
                <a:gd name="T7" fmla="*/ 0 h 30"/>
                <a:gd name="T8" fmla="*/ 0 w 59"/>
                <a:gd name="T9" fmla="*/ 0 h 30"/>
                <a:gd name="T10" fmla="*/ 29 w 59"/>
                <a:gd name="T11" fmla="*/ 29 h 30"/>
                <a:gd name="T12" fmla="*/ 58 w 59"/>
                <a:gd name="T13" fmla="*/ 29 h 30"/>
              </a:gdLst>
              <a:ahLst/>
              <a:cxnLst>
                <a:cxn ang="0">
                  <a:pos x="T0" y="T1"/>
                </a:cxn>
                <a:cxn ang="0">
                  <a:pos x="T2" y="T3"/>
                </a:cxn>
                <a:cxn ang="0">
                  <a:pos x="T4" y="T5"/>
                </a:cxn>
                <a:cxn ang="0">
                  <a:pos x="T6" y="T7"/>
                </a:cxn>
                <a:cxn ang="0">
                  <a:pos x="T8" y="T9"/>
                </a:cxn>
                <a:cxn ang="0">
                  <a:pos x="T10" y="T11"/>
                </a:cxn>
                <a:cxn ang="0">
                  <a:pos x="T12" y="T13"/>
                </a:cxn>
              </a:cxnLst>
              <a:rect l="0" t="0" r="r" b="b"/>
              <a:pathLst>
                <a:path w="59" h="30">
                  <a:moveTo>
                    <a:pt x="58" y="29"/>
                  </a:moveTo>
                  <a:lnTo>
                    <a:pt x="58" y="29"/>
                  </a:lnTo>
                  <a:cubicBezTo>
                    <a:pt x="29" y="29"/>
                    <a:pt x="29" y="29"/>
                    <a:pt x="29" y="29"/>
                  </a:cubicBezTo>
                  <a:cubicBezTo>
                    <a:pt x="0" y="0"/>
                    <a:pt x="0" y="0"/>
                    <a:pt x="0" y="0"/>
                  </a:cubicBezTo>
                  <a:lnTo>
                    <a:pt x="0" y="0"/>
                  </a:lnTo>
                  <a:cubicBezTo>
                    <a:pt x="29" y="29"/>
                    <a:pt x="29" y="29"/>
                    <a:pt x="29" y="29"/>
                  </a:cubicBezTo>
                  <a:cubicBezTo>
                    <a:pt x="29" y="29"/>
                    <a:pt x="29" y="29"/>
                    <a:pt x="5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54" name="Freeform 832">
              <a:extLst>
                <a:ext uri="{FF2B5EF4-FFF2-40B4-BE49-F238E27FC236}">
                  <a16:creationId xmlns:a16="http://schemas.microsoft.com/office/drawing/2014/main" id="{43297FC9-FFAF-491D-B7F5-0AF4E83DF339}"/>
                </a:ext>
              </a:extLst>
            </p:cNvPr>
            <p:cNvSpPr>
              <a:spLocks noChangeArrowheads="1"/>
            </p:cNvSpPr>
            <p:nvPr/>
          </p:nvSpPr>
          <p:spPr bwMode="auto">
            <a:xfrm>
              <a:off x="10293962" y="5426287"/>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55" name="Freeform 833">
              <a:extLst>
                <a:ext uri="{FF2B5EF4-FFF2-40B4-BE49-F238E27FC236}">
                  <a16:creationId xmlns:a16="http://schemas.microsoft.com/office/drawing/2014/main" id="{A803068C-4F5A-41D4-839C-7B1A9E747B5A}"/>
                </a:ext>
              </a:extLst>
            </p:cNvPr>
            <p:cNvSpPr>
              <a:spLocks noChangeArrowheads="1"/>
            </p:cNvSpPr>
            <p:nvPr/>
          </p:nvSpPr>
          <p:spPr bwMode="auto">
            <a:xfrm>
              <a:off x="10305378" y="5437615"/>
              <a:ext cx="11416" cy="11329"/>
            </a:xfrm>
            <a:custGeom>
              <a:avLst/>
              <a:gdLst>
                <a:gd name="T0" fmla="*/ 29 w 30"/>
                <a:gd name="T1" fmla="*/ 0 h 30"/>
                <a:gd name="T2" fmla="*/ 29 w 30"/>
                <a:gd name="T3" fmla="*/ 0 h 30"/>
                <a:gd name="T4" fmla="*/ 0 w 30"/>
                <a:gd name="T5" fmla="*/ 29 h 30"/>
                <a:gd name="T6" fmla="*/ 29 w 30"/>
                <a:gd name="T7" fmla="*/ 0 h 30"/>
              </a:gdLst>
              <a:ahLst/>
              <a:cxnLst>
                <a:cxn ang="0">
                  <a:pos x="T0" y="T1"/>
                </a:cxn>
                <a:cxn ang="0">
                  <a:pos x="T2" y="T3"/>
                </a:cxn>
                <a:cxn ang="0">
                  <a:pos x="T4" y="T5"/>
                </a:cxn>
                <a:cxn ang="0">
                  <a:pos x="T6" y="T7"/>
                </a:cxn>
              </a:cxnLst>
              <a:rect l="0" t="0" r="r" b="b"/>
              <a:pathLst>
                <a:path w="30" h="30">
                  <a:moveTo>
                    <a:pt x="29" y="0"/>
                  </a:moveTo>
                  <a:lnTo>
                    <a:pt x="29" y="0"/>
                  </a:lnTo>
                  <a:cubicBezTo>
                    <a:pt x="29" y="29"/>
                    <a:pt x="29" y="29"/>
                    <a:pt x="0" y="29"/>
                  </a:cubicBezTo>
                  <a:cubicBezTo>
                    <a:pt x="29" y="29"/>
                    <a:pt x="29" y="29"/>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56" name="Freeform 834">
              <a:extLst>
                <a:ext uri="{FF2B5EF4-FFF2-40B4-BE49-F238E27FC236}">
                  <a16:creationId xmlns:a16="http://schemas.microsoft.com/office/drawing/2014/main" id="{7A64F5E5-F8D3-4A76-BDA1-B58C8EF57A06}"/>
                </a:ext>
              </a:extLst>
            </p:cNvPr>
            <p:cNvSpPr>
              <a:spLocks noChangeArrowheads="1"/>
            </p:cNvSpPr>
            <p:nvPr/>
          </p:nvSpPr>
          <p:spPr bwMode="auto">
            <a:xfrm>
              <a:off x="10186326" y="5094531"/>
              <a:ext cx="1630" cy="11329"/>
            </a:xfrm>
            <a:custGeom>
              <a:avLst/>
              <a:gdLst>
                <a:gd name="T0" fmla="*/ 0 w 1"/>
                <a:gd name="T1" fmla="*/ 0 h 30"/>
                <a:gd name="T2" fmla="*/ 0 w 1"/>
                <a:gd name="T3" fmla="*/ 0 h 30"/>
                <a:gd name="T4" fmla="*/ 0 w 1"/>
                <a:gd name="T5" fmla="*/ 29 h 30"/>
                <a:gd name="T6" fmla="*/ 0 w 1"/>
                <a:gd name="T7" fmla="*/ 29 h 30"/>
                <a:gd name="T8" fmla="*/ 0 w 1"/>
                <a:gd name="T9" fmla="*/ 29 h 30"/>
                <a:gd name="T10" fmla="*/ 0 w 1"/>
                <a:gd name="T11" fmla="*/ 29 h 30"/>
                <a:gd name="T12" fmla="*/ 0 w 1"/>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1" h="30">
                  <a:moveTo>
                    <a:pt x="0" y="0"/>
                  </a:moveTo>
                  <a:lnTo>
                    <a:pt x="0" y="0"/>
                  </a:lnTo>
                  <a:cubicBezTo>
                    <a:pt x="0" y="29"/>
                    <a:pt x="0" y="29"/>
                    <a:pt x="0" y="29"/>
                  </a:cubicBezTo>
                  <a:lnTo>
                    <a:pt x="0" y="29"/>
                  </a:lnTo>
                  <a:lnTo>
                    <a:pt x="0" y="29"/>
                  </a:lnTo>
                  <a:lnTo>
                    <a:pt x="0" y="29"/>
                  </a:ln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57" name="Freeform 835">
              <a:extLst>
                <a:ext uri="{FF2B5EF4-FFF2-40B4-BE49-F238E27FC236}">
                  <a16:creationId xmlns:a16="http://schemas.microsoft.com/office/drawing/2014/main" id="{262812FC-9664-4E11-BB02-6C1176B0551E}"/>
                </a:ext>
              </a:extLst>
            </p:cNvPr>
            <p:cNvSpPr>
              <a:spLocks noChangeArrowheads="1"/>
            </p:cNvSpPr>
            <p:nvPr/>
          </p:nvSpPr>
          <p:spPr bwMode="auto">
            <a:xfrm>
              <a:off x="10186326" y="5180302"/>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58" name="Freeform 836">
              <a:extLst>
                <a:ext uri="{FF2B5EF4-FFF2-40B4-BE49-F238E27FC236}">
                  <a16:creationId xmlns:a16="http://schemas.microsoft.com/office/drawing/2014/main" id="{7E5D406E-EAEC-43E4-822F-2DB8CC4EEBC2}"/>
                </a:ext>
              </a:extLst>
            </p:cNvPr>
            <p:cNvSpPr>
              <a:spLocks noChangeArrowheads="1"/>
            </p:cNvSpPr>
            <p:nvPr/>
          </p:nvSpPr>
          <p:spPr bwMode="auto">
            <a:xfrm>
              <a:off x="10823986" y="3136364"/>
              <a:ext cx="1631" cy="11329"/>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29"/>
                    <a:pt x="0" y="29"/>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59" name="Freeform 837">
              <a:extLst>
                <a:ext uri="{FF2B5EF4-FFF2-40B4-BE49-F238E27FC236}">
                  <a16:creationId xmlns:a16="http://schemas.microsoft.com/office/drawing/2014/main" id="{D610A5AB-CE19-4A75-A93A-910807B4F31E}"/>
                </a:ext>
              </a:extLst>
            </p:cNvPr>
            <p:cNvSpPr>
              <a:spLocks noChangeArrowheads="1"/>
            </p:cNvSpPr>
            <p:nvPr/>
          </p:nvSpPr>
          <p:spPr bwMode="auto">
            <a:xfrm>
              <a:off x="10272761" y="5298439"/>
              <a:ext cx="32617" cy="53405"/>
            </a:xfrm>
            <a:custGeom>
              <a:avLst/>
              <a:gdLst>
                <a:gd name="T0" fmla="*/ 0 w 89"/>
                <a:gd name="T1" fmla="*/ 0 h 146"/>
                <a:gd name="T2" fmla="*/ 0 w 89"/>
                <a:gd name="T3" fmla="*/ 0 h 146"/>
                <a:gd name="T4" fmla="*/ 29 w 89"/>
                <a:gd name="T5" fmla="*/ 29 h 146"/>
                <a:gd name="T6" fmla="*/ 88 w 89"/>
                <a:gd name="T7" fmla="*/ 145 h 146"/>
                <a:gd name="T8" fmla="*/ 29 w 89"/>
                <a:gd name="T9" fmla="*/ 29 h 146"/>
                <a:gd name="T10" fmla="*/ 0 w 89"/>
                <a:gd name="T11" fmla="*/ 0 h 146"/>
              </a:gdLst>
              <a:ahLst/>
              <a:cxnLst>
                <a:cxn ang="0">
                  <a:pos x="T0" y="T1"/>
                </a:cxn>
                <a:cxn ang="0">
                  <a:pos x="T2" y="T3"/>
                </a:cxn>
                <a:cxn ang="0">
                  <a:pos x="T4" y="T5"/>
                </a:cxn>
                <a:cxn ang="0">
                  <a:pos x="T6" y="T7"/>
                </a:cxn>
                <a:cxn ang="0">
                  <a:pos x="T8" y="T9"/>
                </a:cxn>
                <a:cxn ang="0">
                  <a:pos x="T10" y="T11"/>
                </a:cxn>
              </a:cxnLst>
              <a:rect l="0" t="0" r="r" b="b"/>
              <a:pathLst>
                <a:path w="89" h="146">
                  <a:moveTo>
                    <a:pt x="0" y="0"/>
                  </a:moveTo>
                  <a:lnTo>
                    <a:pt x="0" y="0"/>
                  </a:lnTo>
                  <a:lnTo>
                    <a:pt x="29" y="29"/>
                  </a:lnTo>
                  <a:cubicBezTo>
                    <a:pt x="58" y="58"/>
                    <a:pt x="58" y="116"/>
                    <a:pt x="88" y="145"/>
                  </a:cubicBezTo>
                  <a:cubicBezTo>
                    <a:pt x="58" y="116"/>
                    <a:pt x="58" y="58"/>
                    <a:pt x="29" y="29"/>
                  </a:cubicBez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60" name="Freeform 838">
              <a:extLst>
                <a:ext uri="{FF2B5EF4-FFF2-40B4-BE49-F238E27FC236}">
                  <a16:creationId xmlns:a16="http://schemas.microsoft.com/office/drawing/2014/main" id="{B689BA8C-7729-40C8-AD24-8CAE1831C0D0}"/>
                </a:ext>
              </a:extLst>
            </p:cNvPr>
            <p:cNvSpPr>
              <a:spLocks noChangeArrowheads="1"/>
            </p:cNvSpPr>
            <p:nvPr/>
          </p:nvSpPr>
          <p:spPr bwMode="auto">
            <a:xfrm>
              <a:off x="10165125" y="5105860"/>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61" name="Freeform 839">
              <a:extLst>
                <a:ext uri="{FF2B5EF4-FFF2-40B4-BE49-F238E27FC236}">
                  <a16:creationId xmlns:a16="http://schemas.microsoft.com/office/drawing/2014/main" id="{D799E4B6-372C-4314-9B4A-7ECBAACEEAC3}"/>
                </a:ext>
              </a:extLst>
            </p:cNvPr>
            <p:cNvSpPr>
              <a:spLocks noChangeArrowheads="1"/>
            </p:cNvSpPr>
            <p:nvPr/>
          </p:nvSpPr>
          <p:spPr bwMode="auto">
            <a:xfrm>
              <a:off x="10186326" y="5180302"/>
              <a:ext cx="11415" cy="11328"/>
            </a:xfrm>
            <a:custGeom>
              <a:avLst/>
              <a:gdLst>
                <a:gd name="T0" fmla="*/ 29 w 30"/>
                <a:gd name="T1" fmla="*/ 29 h 30"/>
                <a:gd name="T2" fmla="*/ 29 w 30"/>
                <a:gd name="T3" fmla="*/ 29 h 30"/>
                <a:gd name="T4" fmla="*/ 29 w 30"/>
                <a:gd name="T5" fmla="*/ 29 h 30"/>
                <a:gd name="T6" fmla="*/ 0 w 30"/>
                <a:gd name="T7" fmla="*/ 0 h 30"/>
                <a:gd name="T8" fmla="*/ 29 w 30"/>
                <a:gd name="T9" fmla="*/ 29 h 30"/>
              </a:gdLst>
              <a:ahLst/>
              <a:cxnLst>
                <a:cxn ang="0">
                  <a:pos x="T0" y="T1"/>
                </a:cxn>
                <a:cxn ang="0">
                  <a:pos x="T2" y="T3"/>
                </a:cxn>
                <a:cxn ang="0">
                  <a:pos x="T4" y="T5"/>
                </a:cxn>
                <a:cxn ang="0">
                  <a:pos x="T6" y="T7"/>
                </a:cxn>
                <a:cxn ang="0">
                  <a:pos x="T8" y="T9"/>
                </a:cxn>
              </a:cxnLst>
              <a:rect l="0" t="0" r="r" b="b"/>
              <a:pathLst>
                <a:path w="30" h="30">
                  <a:moveTo>
                    <a:pt x="29" y="29"/>
                  </a:moveTo>
                  <a:lnTo>
                    <a:pt x="29" y="29"/>
                  </a:lnTo>
                  <a:lnTo>
                    <a:pt x="29" y="29"/>
                  </a:lnTo>
                  <a:cubicBezTo>
                    <a:pt x="0" y="29"/>
                    <a:pt x="0" y="29"/>
                    <a:pt x="0" y="0"/>
                  </a:cubicBezTo>
                  <a:cubicBezTo>
                    <a:pt x="0" y="29"/>
                    <a:pt x="0"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62" name="Freeform 840">
              <a:extLst>
                <a:ext uri="{FF2B5EF4-FFF2-40B4-BE49-F238E27FC236}">
                  <a16:creationId xmlns:a16="http://schemas.microsoft.com/office/drawing/2014/main" id="{2EE343C5-35C4-4C3A-A426-498F54261763}"/>
                </a:ext>
              </a:extLst>
            </p:cNvPr>
            <p:cNvSpPr>
              <a:spLocks noChangeArrowheads="1"/>
            </p:cNvSpPr>
            <p:nvPr/>
          </p:nvSpPr>
          <p:spPr bwMode="auto">
            <a:xfrm>
              <a:off x="10143924" y="5084821"/>
              <a:ext cx="21200" cy="11329"/>
            </a:xfrm>
            <a:custGeom>
              <a:avLst/>
              <a:gdLst>
                <a:gd name="T0" fmla="*/ 29 w 59"/>
                <a:gd name="T1" fmla="*/ 29 h 30"/>
                <a:gd name="T2" fmla="*/ 29 w 59"/>
                <a:gd name="T3" fmla="*/ 29 h 30"/>
                <a:gd name="T4" fmla="*/ 58 w 59"/>
                <a:gd name="T5" fmla="*/ 29 h 30"/>
                <a:gd name="T6" fmla="*/ 58 w 59"/>
                <a:gd name="T7" fmla="*/ 29 h 30"/>
                <a:gd name="T8" fmla="*/ 29 w 59"/>
                <a:gd name="T9" fmla="*/ 29 h 30"/>
                <a:gd name="T10" fmla="*/ 0 w 59"/>
                <a:gd name="T11" fmla="*/ 0 h 30"/>
                <a:gd name="T12" fmla="*/ 29 w 59"/>
                <a:gd name="T13" fmla="*/ 29 h 30"/>
              </a:gdLst>
              <a:ahLst/>
              <a:cxnLst>
                <a:cxn ang="0">
                  <a:pos x="T0" y="T1"/>
                </a:cxn>
                <a:cxn ang="0">
                  <a:pos x="T2" y="T3"/>
                </a:cxn>
                <a:cxn ang="0">
                  <a:pos x="T4" y="T5"/>
                </a:cxn>
                <a:cxn ang="0">
                  <a:pos x="T6" y="T7"/>
                </a:cxn>
                <a:cxn ang="0">
                  <a:pos x="T8" y="T9"/>
                </a:cxn>
                <a:cxn ang="0">
                  <a:pos x="T10" y="T11"/>
                </a:cxn>
                <a:cxn ang="0">
                  <a:pos x="T12" y="T13"/>
                </a:cxn>
              </a:cxnLst>
              <a:rect l="0" t="0" r="r" b="b"/>
              <a:pathLst>
                <a:path w="59" h="30">
                  <a:moveTo>
                    <a:pt x="29" y="29"/>
                  </a:moveTo>
                  <a:lnTo>
                    <a:pt x="29" y="29"/>
                  </a:lnTo>
                  <a:cubicBezTo>
                    <a:pt x="58" y="29"/>
                    <a:pt x="58" y="29"/>
                    <a:pt x="58" y="29"/>
                  </a:cubicBezTo>
                  <a:lnTo>
                    <a:pt x="58" y="29"/>
                  </a:lnTo>
                  <a:cubicBezTo>
                    <a:pt x="29" y="29"/>
                    <a:pt x="29" y="29"/>
                    <a:pt x="29" y="29"/>
                  </a:cubicBezTo>
                  <a:cubicBezTo>
                    <a:pt x="0" y="29"/>
                    <a:pt x="0" y="29"/>
                    <a:pt x="0" y="0"/>
                  </a:cubicBezTo>
                  <a:cubicBezTo>
                    <a:pt x="0" y="29"/>
                    <a:pt x="0"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63" name="Freeform 841">
              <a:extLst>
                <a:ext uri="{FF2B5EF4-FFF2-40B4-BE49-F238E27FC236}">
                  <a16:creationId xmlns:a16="http://schemas.microsoft.com/office/drawing/2014/main" id="{7C971411-158F-4F36-AAA3-9B2180C61867}"/>
                </a:ext>
              </a:extLst>
            </p:cNvPr>
            <p:cNvSpPr>
              <a:spLocks noChangeArrowheads="1"/>
            </p:cNvSpPr>
            <p:nvPr/>
          </p:nvSpPr>
          <p:spPr bwMode="auto">
            <a:xfrm>
              <a:off x="10165125" y="5094531"/>
              <a:ext cx="1631" cy="11329"/>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64" name="Freeform 842">
              <a:extLst>
                <a:ext uri="{FF2B5EF4-FFF2-40B4-BE49-F238E27FC236}">
                  <a16:creationId xmlns:a16="http://schemas.microsoft.com/office/drawing/2014/main" id="{1136B92F-52AF-4019-8447-F018CFB8E3ED}"/>
                </a:ext>
              </a:extLst>
            </p:cNvPr>
            <p:cNvSpPr>
              <a:spLocks noChangeArrowheads="1"/>
            </p:cNvSpPr>
            <p:nvPr/>
          </p:nvSpPr>
          <p:spPr bwMode="auto">
            <a:xfrm>
              <a:off x="10165125" y="5147936"/>
              <a:ext cx="11416" cy="22656"/>
            </a:xfrm>
            <a:custGeom>
              <a:avLst/>
              <a:gdLst>
                <a:gd name="T0" fmla="*/ 30 w 31"/>
                <a:gd name="T1" fmla="*/ 59 h 60"/>
                <a:gd name="T2" fmla="*/ 30 w 31"/>
                <a:gd name="T3" fmla="*/ 59 h 60"/>
                <a:gd name="T4" fmla="*/ 30 w 31"/>
                <a:gd name="T5" fmla="*/ 29 h 60"/>
                <a:gd name="T6" fmla="*/ 0 w 31"/>
                <a:gd name="T7" fmla="*/ 0 h 60"/>
                <a:gd name="T8" fmla="*/ 30 w 31"/>
                <a:gd name="T9" fmla="*/ 29 h 60"/>
                <a:gd name="T10" fmla="*/ 30 w 31"/>
                <a:gd name="T11" fmla="*/ 59 h 60"/>
              </a:gdLst>
              <a:ahLst/>
              <a:cxnLst>
                <a:cxn ang="0">
                  <a:pos x="T0" y="T1"/>
                </a:cxn>
                <a:cxn ang="0">
                  <a:pos x="T2" y="T3"/>
                </a:cxn>
                <a:cxn ang="0">
                  <a:pos x="T4" y="T5"/>
                </a:cxn>
                <a:cxn ang="0">
                  <a:pos x="T6" y="T7"/>
                </a:cxn>
                <a:cxn ang="0">
                  <a:pos x="T8" y="T9"/>
                </a:cxn>
                <a:cxn ang="0">
                  <a:pos x="T10" y="T11"/>
                </a:cxn>
              </a:cxnLst>
              <a:rect l="0" t="0" r="r" b="b"/>
              <a:pathLst>
                <a:path w="31" h="60">
                  <a:moveTo>
                    <a:pt x="30" y="59"/>
                  </a:moveTo>
                  <a:lnTo>
                    <a:pt x="30" y="59"/>
                  </a:lnTo>
                  <a:lnTo>
                    <a:pt x="30" y="29"/>
                  </a:lnTo>
                  <a:cubicBezTo>
                    <a:pt x="0" y="29"/>
                    <a:pt x="0" y="0"/>
                    <a:pt x="0" y="0"/>
                  </a:cubicBezTo>
                  <a:cubicBezTo>
                    <a:pt x="0" y="0"/>
                    <a:pt x="0" y="29"/>
                    <a:pt x="30" y="29"/>
                  </a:cubicBezTo>
                  <a:lnTo>
                    <a:pt x="30" y="5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65" name="Freeform 843">
              <a:extLst>
                <a:ext uri="{FF2B5EF4-FFF2-40B4-BE49-F238E27FC236}">
                  <a16:creationId xmlns:a16="http://schemas.microsoft.com/office/drawing/2014/main" id="{3F9212EA-2573-43CD-80A9-E1013E43D979}"/>
                </a:ext>
              </a:extLst>
            </p:cNvPr>
            <p:cNvSpPr>
              <a:spLocks noChangeArrowheads="1"/>
            </p:cNvSpPr>
            <p:nvPr/>
          </p:nvSpPr>
          <p:spPr bwMode="auto">
            <a:xfrm>
              <a:off x="10143924" y="5115570"/>
              <a:ext cx="21200" cy="32366"/>
            </a:xfrm>
            <a:custGeom>
              <a:avLst/>
              <a:gdLst>
                <a:gd name="T0" fmla="*/ 29 w 59"/>
                <a:gd name="T1" fmla="*/ 30 h 89"/>
                <a:gd name="T2" fmla="*/ 29 w 59"/>
                <a:gd name="T3" fmla="*/ 30 h 89"/>
                <a:gd name="T4" fmla="*/ 58 w 59"/>
                <a:gd name="T5" fmla="*/ 88 h 89"/>
                <a:gd name="T6" fmla="*/ 29 w 59"/>
                <a:gd name="T7" fmla="*/ 30 h 89"/>
                <a:gd name="T8" fmla="*/ 0 w 59"/>
                <a:gd name="T9" fmla="*/ 0 h 89"/>
                <a:gd name="T10" fmla="*/ 0 w 59"/>
                <a:gd name="T11" fmla="*/ 0 h 89"/>
                <a:gd name="T12" fmla="*/ 0 w 59"/>
                <a:gd name="T13" fmla="*/ 0 h 89"/>
                <a:gd name="T14" fmla="*/ 29 w 59"/>
                <a:gd name="T15" fmla="*/ 30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89">
                  <a:moveTo>
                    <a:pt x="29" y="30"/>
                  </a:moveTo>
                  <a:lnTo>
                    <a:pt x="29" y="30"/>
                  </a:lnTo>
                  <a:cubicBezTo>
                    <a:pt x="29" y="30"/>
                    <a:pt x="29" y="59"/>
                    <a:pt x="58" y="88"/>
                  </a:cubicBezTo>
                  <a:cubicBezTo>
                    <a:pt x="29" y="59"/>
                    <a:pt x="29" y="30"/>
                    <a:pt x="29" y="30"/>
                  </a:cubicBezTo>
                  <a:cubicBezTo>
                    <a:pt x="29" y="30"/>
                    <a:pt x="29" y="0"/>
                    <a:pt x="0" y="0"/>
                  </a:cubicBezTo>
                  <a:lnTo>
                    <a:pt x="0" y="0"/>
                  </a:lnTo>
                  <a:lnTo>
                    <a:pt x="0" y="0"/>
                  </a:lnTo>
                  <a:cubicBezTo>
                    <a:pt x="29" y="0"/>
                    <a:pt x="29" y="30"/>
                    <a:pt x="29"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66" name="Freeform 844">
              <a:extLst>
                <a:ext uri="{FF2B5EF4-FFF2-40B4-BE49-F238E27FC236}">
                  <a16:creationId xmlns:a16="http://schemas.microsoft.com/office/drawing/2014/main" id="{45159C92-E436-4B00-9958-94E052A26A60}"/>
                </a:ext>
              </a:extLst>
            </p:cNvPr>
            <p:cNvSpPr>
              <a:spLocks noChangeArrowheads="1"/>
            </p:cNvSpPr>
            <p:nvPr/>
          </p:nvSpPr>
          <p:spPr bwMode="auto">
            <a:xfrm>
              <a:off x="10176541" y="5073493"/>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67" name="Freeform 845">
              <a:extLst>
                <a:ext uri="{FF2B5EF4-FFF2-40B4-BE49-F238E27FC236}">
                  <a16:creationId xmlns:a16="http://schemas.microsoft.com/office/drawing/2014/main" id="{6C974336-A1AB-4A29-B597-6B5282BE2074}"/>
                </a:ext>
              </a:extLst>
            </p:cNvPr>
            <p:cNvSpPr>
              <a:spLocks noChangeArrowheads="1"/>
            </p:cNvSpPr>
            <p:nvPr/>
          </p:nvSpPr>
          <p:spPr bwMode="auto">
            <a:xfrm>
              <a:off x="10176541" y="5073493"/>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68" name="Freeform 846">
              <a:extLst>
                <a:ext uri="{FF2B5EF4-FFF2-40B4-BE49-F238E27FC236}">
                  <a16:creationId xmlns:a16="http://schemas.microsoft.com/office/drawing/2014/main" id="{215343A2-ACFF-4D29-8F40-20EF2F1FA2BD}"/>
                </a:ext>
              </a:extLst>
            </p:cNvPr>
            <p:cNvSpPr>
              <a:spLocks noChangeArrowheads="1"/>
            </p:cNvSpPr>
            <p:nvPr/>
          </p:nvSpPr>
          <p:spPr bwMode="auto">
            <a:xfrm>
              <a:off x="10165125" y="5062165"/>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69" name="Freeform 847">
              <a:extLst>
                <a:ext uri="{FF2B5EF4-FFF2-40B4-BE49-F238E27FC236}">
                  <a16:creationId xmlns:a16="http://schemas.microsoft.com/office/drawing/2014/main" id="{2481E6E6-E83C-42F2-B307-63E8D95493BB}"/>
                </a:ext>
              </a:extLst>
            </p:cNvPr>
            <p:cNvSpPr>
              <a:spLocks noChangeArrowheads="1"/>
            </p:cNvSpPr>
            <p:nvPr/>
          </p:nvSpPr>
          <p:spPr bwMode="auto">
            <a:xfrm>
              <a:off x="10186326" y="5094531"/>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70" name="Freeform 848">
              <a:extLst>
                <a:ext uri="{FF2B5EF4-FFF2-40B4-BE49-F238E27FC236}">
                  <a16:creationId xmlns:a16="http://schemas.microsoft.com/office/drawing/2014/main" id="{1A867C5E-FD79-499B-AFEB-AF9C6F04D9F1}"/>
                </a:ext>
              </a:extLst>
            </p:cNvPr>
            <p:cNvSpPr>
              <a:spLocks noChangeArrowheads="1"/>
            </p:cNvSpPr>
            <p:nvPr/>
          </p:nvSpPr>
          <p:spPr bwMode="auto">
            <a:xfrm>
              <a:off x="10714720" y="3681738"/>
              <a:ext cx="11415" cy="1618"/>
            </a:xfrm>
            <a:custGeom>
              <a:avLst/>
              <a:gdLst>
                <a:gd name="T0" fmla="*/ 0 w 29"/>
                <a:gd name="T1" fmla="*/ 0 h 1"/>
                <a:gd name="T2" fmla="*/ 0 w 29"/>
                <a:gd name="T3" fmla="*/ 0 h 1"/>
                <a:gd name="T4" fmla="*/ 28 w 29"/>
                <a:gd name="T5" fmla="*/ 0 h 1"/>
                <a:gd name="T6" fmla="*/ 28 w 29"/>
                <a:gd name="T7" fmla="*/ 0 h 1"/>
                <a:gd name="T8" fmla="*/ 28 w 29"/>
                <a:gd name="T9" fmla="*/ 0 h 1"/>
                <a:gd name="T10" fmla="*/ 0 w 29"/>
                <a:gd name="T11" fmla="*/ 0 h 1"/>
              </a:gdLst>
              <a:ahLst/>
              <a:cxnLst>
                <a:cxn ang="0">
                  <a:pos x="T0" y="T1"/>
                </a:cxn>
                <a:cxn ang="0">
                  <a:pos x="T2" y="T3"/>
                </a:cxn>
                <a:cxn ang="0">
                  <a:pos x="T4" y="T5"/>
                </a:cxn>
                <a:cxn ang="0">
                  <a:pos x="T6" y="T7"/>
                </a:cxn>
                <a:cxn ang="0">
                  <a:pos x="T8" y="T9"/>
                </a:cxn>
                <a:cxn ang="0">
                  <a:pos x="T10" y="T11"/>
                </a:cxn>
              </a:cxnLst>
              <a:rect l="0" t="0" r="r" b="b"/>
              <a:pathLst>
                <a:path w="29" h="1">
                  <a:moveTo>
                    <a:pt x="0" y="0"/>
                  </a:moveTo>
                  <a:lnTo>
                    <a:pt x="0" y="0"/>
                  </a:lnTo>
                  <a:cubicBezTo>
                    <a:pt x="28" y="0"/>
                    <a:pt x="28" y="0"/>
                    <a:pt x="28" y="0"/>
                  </a:cubicBezTo>
                  <a:lnTo>
                    <a:pt x="28" y="0"/>
                  </a:lnTo>
                  <a:lnTo>
                    <a:pt x="28" y="0"/>
                  </a:lnTo>
                  <a:cubicBezTo>
                    <a:pt x="28" y="0"/>
                    <a:pt x="28"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71" name="Freeform 849">
              <a:extLst>
                <a:ext uri="{FF2B5EF4-FFF2-40B4-BE49-F238E27FC236}">
                  <a16:creationId xmlns:a16="http://schemas.microsoft.com/office/drawing/2014/main" id="{D21E6A28-A894-4875-9D46-5AE0BFDEDDC0}"/>
                </a:ext>
              </a:extLst>
            </p:cNvPr>
            <p:cNvSpPr>
              <a:spLocks noChangeArrowheads="1"/>
            </p:cNvSpPr>
            <p:nvPr/>
          </p:nvSpPr>
          <p:spPr bwMode="auto">
            <a:xfrm>
              <a:off x="10737552" y="3693066"/>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72" name="Freeform 850">
              <a:extLst>
                <a:ext uri="{FF2B5EF4-FFF2-40B4-BE49-F238E27FC236}">
                  <a16:creationId xmlns:a16="http://schemas.microsoft.com/office/drawing/2014/main" id="{C22853F1-F825-4AC4-AD8C-ABFB5E8F7C9B}"/>
                </a:ext>
              </a:extLst>
            </p:cNvPr>
            <p:cNvSpPr>
              <a:spLocks noChangeArrowheads="1"/>
            </p:cNvSpPr>
            <p:nvPr/>
          </p:nvSpPr>
          <p:spPr bwMode="auto">
            <a:xfrm>
              <a:off x="10682103" y="3681738"/>
              <a:ext cx="22832" cy="11328"/>
            </a:xfrm>
            <a:custGeom>
              <a:avLst/>
              <a:gdLst>
                <a:gd name="T0" fmla="*/ 59 w 60"/>
                <a:gd name="T1" fmla="*/ 0 h 30"/>
                <a:gd name="T2" fmla="*/ 59 w 60"/>
                <a:gd name="T3" fmla="*/ 0 h 30"/>
                <a:gd name="T4" fmla="*/ 0 w 60"/>
                <a:gd name="T5" fmla="*/ 29 h 30"/>
                <a:gd name="T6" fmla="*/ 59 w 60"/>
                <a:gd name="T7" fmla="*/ 0 h 30"/>
              </a:gdLst>
              <a:ahLst/>
              <a:cxnLst>
                <a:cxn ang="0">
                  <a:pos x="T0" y="T1"/>
                </a:cxn>
                <a:cxn ang="0">
                  <a:pos x="T2" y="T3"/>
                </a:cxn>
                <a:cxn ang="0">
                  <a:pos x="T4" y="T5"/>
                </a:cxn>
                <a:cxn ang="0">
                  <a:pos x="T6" y="T7"/>
                </a:cxn>
              </a:cxnLst>
              <a:rect l="0" t="0" r="r" b="b"/>
              <a:pathLst>
                <a:path w="60" h="30">
                  <a:moveTo>
                    <a:pt x="59" y="0"/>
                  </a:moveTo>
                  <a:lnTo>
                    <a:pt x="59" y="0"/>
                  </a:lnTo>
                  <a:cubicBezTo>
                    <a:pt x="30" y="0"/>
                    <a:pt x="30" y="0"/>
                    <a:pt x="0" y="29"/>
                  </a:cubicBezTo>
                  <a:cubicBezTo>
                    <a:pt x="30" y="0"/>
                    <a:pt x="30" y="0"/>
                    <a:pt x="5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73" name="Freeform 851">
              <a:extLst>
                <a:ext uri="{FF2B5EF4-FFF2-40B4-BE49-F238E27FC236}">
                  <a16:creationId xmlns:a16="http://schemas.microsoft.com/office/drawing/2014/main" id="{AAA322BA-8F97-48A7-AE52-6782CE9E1ED8}"/>
                </a:ext>
              </a:extLst>
            </p:cNvPr>
            <p:cNvSpPr>
              <a:spLocks noChangeArrowheads="1"/>
            </p:cNvSpPr>
            <p:nvPr/>
          </p:nvSpPr>
          <p:spPr bwMode="auto">
            <a:xfrm>
              <a:off x="10682103" y="3693066"/>
              <a:ext cx="44032" cy="1619"/>
            </a:xfrm>
            <a:custGeom>
              <a:avLst/>
              <a:gdLst>
                <a:gd name="T0" fmla="*/ 88 w 117"/>
                <a:gd name="T1" fmla="*/ 0 h 1"/>
                <a:gd name="T2" fmla="*/ 88 w 117"/>
                <a:gd name="T3" fmla="*/ 0 h 1"/>
                <a:gd name="T4" fmla="*/ 30 w 117"/>
                <a:gd name="T5" fmla="*/ 0 h 1"/>
                <a:gd name="T6" fmla="*/ 0 w 117"/>
                <a:gd name="T7" fmla="*/ 0 h 1"/>
                <a:gd name="T8" fmla="*/ 30 w 117"/>
                <a:gd name="T9" fmla="*/ 0 h 1"/>
                <a:gd name="T10" fmla="*/ 88 w 117"/>
                <a:gd name="T11" fmla="*/ 0 h 1"/>
                <a:gd name="T12" fmla="*/ 116 w 117"/>
                <a:gd name="T13" fmla="*/ 0 h 1"/>
                <a:gd name="T14" fmla="*/ 88 w 117"/>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1">
                  <a:moveTo>
                    <a:pt x="88" y="0"/>
                  </a:moveTo>
                  <a:lnTo>
                    <a:pt x="88" y="0"/>
                  </a:lnTo>
                  <a:cubicBezTo>
                    <a:pt x="59" y="0"/>
                    <a:pt x="59" y="0"/>
                    <a:pt x="30" y="0"/>
                  </a:cubicBezTo>
                  <a:cubicBezTo>
                    <a:pt x="30" y="0"/>
                    <a:pt x="30" y="0"/>
                    <a:pt x="0" y="0"/>
                  </a:cubicBezTo>
                  <a:cubicBezTo>
                    <a:pt x="30" y="0"/>
                    <a:pt x="30" y="0"/>
                    <a:pt x="30" y="0"/>
                  </a:cubicBezTo>
                  <a:cubicBezTo>
                    <a:pt x="59" y="0"/>
                    <a:pt x="59" y="0"/>
                    <a:pt x="88" y="0"/>
                  </a:cubicBezTo>
                  <a:lnTo>
                    <a:pt x="116" y="0"/>
                  </a:lnTo>
                  <a:lnTo>
                    <a:pt x="8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74" name="Freeform 852">
              <a:extLst>
                <a:ext uri="{FF2B5EF4-FFF2-40B4-BE49-F238E27FC236}">
                  <a16:creationId xmlns:a16="http://schemas.microsoft.com/office/drawing/2014/main" id="{985CCE5A-1BEE-4D9F-B3B5-FB8790FE43E7}"/>
                </a:ext>
              </a:extLst>
            </p:cNvPr>
            <p:cNvSpPr>
              <a:spLocks noChangeArrowheads="1"/>
            </p:cNvSpPr>
            <p:nvPr/>
          </p:nvSpPr>
          <p:spPr bwMode="auto">
            <a:xfrm>
              <a:off x="10316794" y="4173707"/>
              <a:ext cx="11415" cy="11328"/>
            </a:xfrm>
            <a:custGeom>
              <a:avLst/>
              <a:gdLst>
                <a:gd name="T0" fmla="*/ 0 w 30"/>
                <a:gd name="T1" fmla="*/ 30 h 31"/>
                <a:gd name="T2" fmla="*/ 0 w 30"/>
                <a:gd name="T3" fmla="*/ 30 h 31"/>
                <a:gd name="T4" fmla="*/ 29 w 30"/>
                <a:gd name="T5" fmla="*/ 0 h 31"/>
                <a:gd name="T6" fmla="*/ 0 w 30"/>
                <a:gd name="T7" fmla="*/ 30 h 31"/>
              </a:gdLst>
              <a:ahLst/>
              <a:cxnLst>
                <a:cxn ang="0">
                  <a:pos x="T0" y="T1"/>
                </a:cxn>
                <a:cxn ang="0">
                  <a:pos x="T2" y="T3"/>
                </a:cxn>
                <a:cxn ang="0">
                  <a:pos x="T4" y="T5"/>
                </a:cxn>
                <a:cxn ang="0">
                  <a:pos x="T6" y="T7"/>
                </a:cxn>
              </a:cxnLst>
              <a:rect l="0" t="0" r="r" b="b"/>
              <a:pathLst>
                <a:path w="30" h="31">
                  <a:moveTo>
                    <a:pt x="0" y="30"/>
                  </a:moveTo>
                  <a:lnTo>
                    <a:pt x="0" y="30"/>
                  </a:lnTo>
                  <a:cubicBezTo>
                    <a:pt x="0" y="30"/>
                    <a:pt x="0" y="30"/>
                    <a:pt x="29" y="0"/>
                  </a:cubicBezTo>
                  <a:cubicBezTo>
                    <a:pt x="0" y="30"/>
                    <a:pt x="0" y="30"/>
                    <a:pt x="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75" name="Freeform 853">
              <a:extLst>
                <a:ext uri="{FF2B5EF4-FFF2-40B4-BE49-F238E27FC236}">
                  <a16:creationId xmlns:a16="http://schemas.microsoft.com/office/drawing/2014/main" id="{906726B4-94A0-4BFC-ABDE-A245A0F36B7F}"/>
                </a:ext>
              </a:extLst>
            </p:cNvPr>
            <p:cNvSpPr>
              <a:spLocks noChangeArrowheads="1"/>
            </p:cNvSpPr>
            <p:nvPr/>
          </p:nvSpPr>
          <p:spPr bwMode="auto">
            <a:xfrm>
              <a:off x="9657933" y="3906684"/>
              <a:ext cx="733880" cy="514626"/>
            </a:xfrm>
            <a:custGeom>
              <a:avLst/>
              <a:gdLst>
                <a:gd name="T0" fmla="*/ 1837 w 1984"/>
                <a:gd name="T1" fmla="*/ 583 h 1401"/>
                <a:gd name="T2" fmla="*/ 1924 w 1984"/>
                <a:gd name="T3" fmla="*/ 495 h 1401"/>
                <a:gd name="T4" fmla="*/ 1750 w 1984"/>
                <a:gd name="T5" fmla="*/ 262 h 1401"/>
                <a:gd name="T6" fmla="*/ 1253 w 1984"/>
                <a:gd name="T7" fmla="*/ 87 h 1401"/>
                <a:gd name="T8" fmla="*/ 1050 w 1984"/>
                <a:gd name="T9" fmla="*/ 116 h 1401"/>
                <a:gd name="T10" fmla="*/ 903 w 1984"/>
                <a:gd name="T11" fmla="*/ 29 h 1401"/>
                <a:gd name="T12" fmla="*/ 641 w 1984"/>
                <a:gd name="T13" fmla="*/ 0 h 1401"/>
                <a:gd name="T14" fmla="*/ 466 w 1984"/>
                <a:gd name="T15" fmla="*/ 0 h 1401"/>
                <a:gd name="T16" fmla="*/ 233 w 1984"/>
                <a:gd name="T17" fmla="*/ 59 h 1401"/>
                <a:gd name="T18" fmla="*/ 87 w 1984"/>
                <a:gd name="T19" fmla="*/ 145 h 1401"/>
                <a:gd name="T20" fmla="*/ 58 w 1984"/>
                <a:gd name="T21" fmla="*/ 204 h 1401"/>
                <a:gd name="T22" fmla="*/ 58 w 1984"/>
                <a:gd name="T23" fmla="*/ 204 h 1401"/>
                <a:gd name="T24" fmla="*/ 0 w 1984"/>
                <a:gd name="T25" fmla="*/ 262 h 1401"/>
                <a:gd name="T26" fmla="*/ 117 w 1984"/>
                <a:gd name="T27" fmla="*/ 350 h 1401"/>
                <a:gd name="T28" fmla="*/ 466 w 1984"/>
                <a:gd name="T29" fmla="*/ 700 h 1401"/>
                <a:gd name="T30" fmla="*/ 670 w 1984"/>
                <a:gd name="T31" fmla="*/ 933 h 1401"/>
                <a:gd name="T32" fmla="*/ 874 w 1984"/>
                <a:gd name="T33" fmla="*/ 1108 h 1401"/>
                <a:gd name="T34" fmla="*/ 903 w 1984"/>
                <a:gd name="T35" fmla="*/ 1195 h 1401"/>
                <a:gd name="T36" fmla="*/ 962 w 1984"/>
                <a:gd name="T37" fmla="*/ 1225 h 1401"/>
                <a:gd name="T38" fmla="*/ 991 w 1984"/>
                <a:gd name="T39" fmla="*/ 1254 h 1401"/>
                <a:gd name="T40" fmla="*/ 1020 w 1984"/>
                <a:gd name="T41" fmla="*/ 1312 h 1401"/>
                <a:gd name="T42" fmla="*/ 1050 w 1984"/>
                <a:gd name="T43" fmla="*/ 1371 h 1401"/>
                <a:gd name="T44" fmla="*/ 1108 w 1984"/>
                <a:gd name="T45" fmla="*/ 1400 h 1401"/>
                <a:gd name="T46" fmla="*/ 1137 w 1984"/>
                <a:gd name="T47" fmla="*/ 1371 h 1401"/>
                <a:gd name="T48" fmla="*/ 1195 w 1984"/>
                <a:gd name="T49" fmla="*/ 1371 h 1401"/>
                <a:gd name="T50" fmla="*/ 1224 w 1984"/>
                <a:gd name="T51" fmla="*/ 1342 h 1401"/>
                <a:gd name="T52" fmla="*/ 1195 w 1984"/>
                <a:gd name="T53" fmla="*/ 1342 h 1401"/>
                <a:gd name="T54" fmla="*/ 1137 w 1984"/>
                <a:gd name="T55" fmla="*/ 1254 h 1401"/>
                <a:gd name="T56" fmla="*/ 1253 w 1984"/>
                <a:gd name="T57" fmla="*/ 1225 h 1401"/>
                <a:gd name="T58" fmla="*/ 1312 w 1984"/>
                <a:gd name="T59" fmla="*/ 1195 h 1401"/>
                <a:gd name="T60" fmla="*/ 1341 w 1984"/>
                <a:gd name="T61" fmla="*/ 1225 h 1401"/>
                <a:gd name="T62" fmla="*/ 1458 w 1984"/>
                <a:gd name="T63" fmla="*/ 1166 h 1401"/>
                <a:gd name="T64" fmla="*/ 1545 w 1984"/>
                <a:gd name="T65" fmla="*/ 1079 h 1401"/>
                <a:gd name="T66" fmla="*/ 1574 w 1984"/>
                <a:gd name="T67" fmla="*/ 992 h 1401"/>
                <a:gd name="T68" fmla="*/ 1633 w 1984"/>
                <a:gd name="T69" fmla="*/ 875 h 1401"/>
                <a:gd name="T70" fmla="*/ 1750 w 1984"/>
                <a:gd name="T71" fmla="*/ 787 h 1401"/>
                <a:gd name="T72" fmla="*/ 1779 w 1984"/>
                <a:gd name="T73" fmla="*/ 700 h 1401"/>
                <a:gd name="T74" fmla="*/ 1779 w 1984"/>
                <a:gd name="T75" fmla="*/ 642 h 1401"/>
                <a:gd name="T76" fmla="*/ 1837 w 1984"/>
                <a:gd name="T77" fmla="*/ 583 h 1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84" h="1401">
                  <a:moveTo>
                    <a:pt x="1837" y="583"/>
                  </a:moveTo>
                  <a:lnTo>
                    <a:pt x="1837" y="583"/>
                  </a:lnTo>
                  <a:cubicBezTo>
                    <a:pt x="1866" y="554"/>
                    <a:pt x="1866" y="525"/>
                    <a:pt x="1895" y="525"/>
                  </a:cubicBezTo>
                  <a:cubicBezTo>
                    <a:pt x="1895" y="495"/>
                    <a:pt x="1924" y="495"/>
                    <a:pt x="1924" y="495"/>
                  </a:cubicBezTo>
                  <a:cubicBezTo>
                    <a:pt x="1953" y="466"/>
                    <a:pt x="1953" y="466"/>
                    <a:pt x="1983" y="437"/>
                  </a:cubicBezTo>
                  <a:cubicBezTo>
                    <a:pt x="1895" y="379"/>
                    <a:pt x="1808" y="321"/>
                    <a:pt x="1750" y="262"/>
                  </a:cubicBezTo>
                  <a:cubicBezTo>
                    <a:pt x="1633" y="204"/>
                    <a:pt x="1545" y="116"/>
                    <a:pt x="1429" y="59"/>
                  </a:cubicBezTo>
                  <a:cubicBezTo>
                    <a:pt x="1370" y="59"/>
                    <a:pt x="1312" y="87"/>
                    <a:pt x="1253" y="87"/>
                  </a:cubicBezTo>
                  <a:cubicBezTo>
                    <a:pt x="1195" y="87"/>
                    <a:pt x="1108" y="116"/>
                    <a:pt x="1050" y="116"/>
                  </a:cubicBezTo>
                  <a:lnTo>
                    <a:pt x="1050" y="116"/>
                  </a:lnTo>
                  <a:lnTo>
                    <a:pt x="1050" y="116"/>
                  </a:lnTo>
                  <a:cubicBezTo>
                    <a:pt x="1020" y="87"/>
                    <a:pt x="962" y="59"/>
                    <a:pt x="903" y="29"/>
                  </a:cubicBezTo>
                  <a:cubicBezTo>
                    <a:pt x="874" y="29"/>
                    <a:pt x="845" y="0"/>
                    <a:pt x="816" y="0"/>
                  </a:cubicBezTo>
                  <a:cubicBezTo>
                    <a:pt x="758" y="0"/>
                    <a:pt x="700" y="0"/>
                    <a:pt x="641" y="0"/>
                  </a:cubicBezTo>
                  <a:cubicBezTo>
                    <a:pt x="612" y="0"/>
                    <a:pt x="583" y="0"/>
                    <a:pt x="553" y="0"/>
                  </a:cubicBezTo>
                  <a:cubicBezTo>
                    <a:pt x="524" y="0"/>
                    <a:pt x="495" y="0"/>
                    <a:pt x="466" y="0"/>
                  </a:cubicBezTo>
                  <a:cubicBezTo>
                    <a:pt x="408" y="29"/>
                    <a:pt x="350" y="29"/>
                    <a:pt x="291" y="29"/>
                  </a:cubicBezTo>
                  <a:cubicBezTo>
                    <a:pt x="291" y="29"/>
                    <a:pt x="262" y="59"/>
                    <a:pt x="233" y="59"/>
                  </a:cubicBezTo>
                  <a:cubicBezTo>
                    <a:pt x="233" y="87"/>
                    <a:pt x="203" y="87"/>
                    <a:pt x="203" y="87"/>
                  </a:cubicBezTo>
                  <a:cubicBezTo>
                    <a:pt x="145" y="116"/>
                    <a:pt x="117" y="145"/>
                    <a:pt x="87" y="145"/>
                  </a:cubicBezTo>
                  <a:cubicBezTo>
                    <a:pt x="58" y="175"/>
                    <a:pt x="58" y="175"/>
                    <a:pt x="58" y="204"/>
                  </a:cubicBezTo>
                  <a:lnTo>
                    <a:pt x="58" y="204"/>
                  </a:lnTo>
                  <a:lnTo>
                    <a:pt x="58" y="204"/>
                  </a:lnTo>
                  <a:lnTo>
                    <a:pt x="58" y="204"/>
                  </a:lnTo>
                  <a:cubicBezTo>
                    <a:pt x="29" y="204"/>
                    <a:pt x="29" y="204"/>
                    <a:pt x="29" y="233"/>
                  </a:cubicBezTo>
                  <a:cubicBezTo>
                    <a:pt x="0" y="233"/>
                    <a:pt x="0" y="233"/>
                    <a:pt x="0" y="262"/>
                  </a:cubicBezTo>
                  <a:cubicBezTo>
                    <a:pt x="0" y="262"/>
                    <a:pt x="58" y="292"/>
                    <a:pt x="87" y="321"/>
                  </a:cubicBezTo>
                  <a:lnTo>
                    <a:pt x="117" y="350"/>
                  </a:lnTo>
                  <a:cubicBezTo>
                    <a:pt x="174" y="409"/>
                    <a:pt x="203" y="466"/>
                    <a:pt x="262" y="525"/>
                  </a:cubicBezTo>
                  <a:cubicBezTo>
                    <a:pt x="320" y="583"/>
                    <a:pt x="379" y="642"/>
                    <a:pt x="466" y="700"/>
                  </a:cubicBezTo>
                  <a:cubicBezTo>
                    <a:pt x="495" y="729"/>
                    <a:pt x="524" y="787"/>
                    <a:pt x="553" y="816"/>
                  </a:cubicBezTo>
                  <a:cubicBezTo>
                    <a:pt x="583" y="845"/>
                    <a:pt x="641" y="904"/>
                    <a:pt x="670" y="933"/>
                  </a:cubicBezTo>
                  <a:cubicBezTo>
                    <a:pt x="700" y="962"/>
                    <a:pt x="729" y="992"/>
                    <a:pt x="758" y="992"/>
                  </a:cubicBezTo>
                  <a:cubicBezTo>
                    <a:pt x="787" y="1021"/>
                    <a:pt x="845" y="1050"/>
                    <a:pt x="874" y="1108"/>
                  </a:cubicBezTo>
                  <a:lnTo>
                    <a:pt x="874" y="1137"/>
                  </a:lnTo>
                  <a:cubicBezTo>
                    <a:pt x="874" y="1166"/>
                    <a:pt x="903" y="1166"/>
                    <a:pt x="903" y="1195"/>
                  </a:cubicBezTo>
                  <a:cubicBezTo>
                    <a:pt x="903" y="1195"/>
                    <a:pt x="903" y="1195"/>
                    <a:pt x="933" y="1195"/>
                  </a:cubicBezTo>
                  <a:cubicBezTo>
                    <a:pt x="933" y="1225"/>
                    <a:pt x="962" y="1225"/>
                    <a:pt x="962" y="1225"/>
                  </a:cubicBezTo>
                  <a:lnTo>
                    <a:pt x="962" y="1254"/>
                  </a:lnTo>
                  <a:lnTo>
                    <a:pt x="991" y="1254"/>
                  </a:lnTo>
                  <a:cubicBezTo>
                    <a:pt x="991" y="1283"/>
                    <a:pt x="991" y="1283"/>
                    <a:pt x="991" y="1283"/>
                  </a:cubicBezTo>
                  <a:cubicBezTo>
                    <a:pt x="1020" y="1283"/>
                    <a:pt x="1020" y="1283"/>
                    <a:pt x="1020" y="1312"/>
                  </a:cubicBezTo>
                  <a:lnTo>
                    <a:pt x="1050" y="1342"/>
                  </a:lnTo>
                  <a:cubicBezTo>
                    <a:pt x="1050" y="1371"/>
                    <a:pt x="1050" y="1371"/>
                    <a:pt x="1050" y="1371"/>
                  </a:cubicBezTo>
                  <a:cubicBezTo>
                    <a:pt x="1050" y="1371"/>
                    <a:pt x="1079" y="1400"/>
                    <a:pt x="1108" y="1400"/>
                  </a:cubicBezTo>
                  <a:lnTo>
                    <a:pt x="1108" y="1400"/>
                  </a:lnTo>
                  <a:cubicBezTo>
                    <a:pt x="1108" y="1342"/>
                    <a:pt x="1108" y="1342"/>
                    <a:pt x="1108" y="1342"/>
                  </a:cubicBezTo>
                  <a:cubicBezTo>
                    <a:pt x="1137" y="1371"/>
                    <a:pt x="1137" y="1371"/>
                    <a:pt x="1137" y="1371"/>
                  </a:cubicBezTo>
                  <a:cubicBezTo>
                    <a:pt x="1166" y="1371"/>
                    <a:pt x="1166" y="1371"/>
                    <a:pt x="1166" y="1400"/>
                  </a:cubicBezTo>
                  <a:cubicBezTo>
                    <a:pt x="1166" y="1371"/>
                    <a:pt x="1166" y="1371"/>
                    <a:pt x="1195" y="1371"/>
                  </a:cubicBezTo>
                  <a:lnTo>
                    <a:pt x="1195" y="1371"/>
                  </a:lnTo>
                  <a:cubicBezTo>
                    <a:pt x="1195" y="1371"/>
                    <a:pt x="1224" y="1371"/>
                    <a:pt x="1224" y="1342"/>
                  </a:cubicBezTo>
                  <a:cubicBezTo>
                    <a:pt x="1253" y="1342"/>
                    <a:pt x="1253" y="1342"/>
                    <a:pt x="1253" y="1342"/>
                  </a:cubicBezTo>
                  <a:cubicBezTo>
                    <a:pt x="1253" y="1342"/>
                    <a:pt x="1224" y="1342"/>
                    <a:pt x="1195" y="1342"/>
                  </a:cubicBezTo>
                  <a:cubicBezTo>
                    <a:pt x="1166" y="1342"/>
                    <a:pt x="1137" y="1342"/>
                    <a:pt x="1137" y="1283"/>
                  </a:cubicBezTo>
                  <a:cubicBezTo>
                    <a:pt x="1108" y="1283"/>
                    <a:pt x="1137" y="1254"/>
                    <a:pt x="1137" y="1254"/>
                  </a:cubicBezTo>
                  <a:cubicBezTo>
                    <a:pt x="1137" y="1225"/>
                    <a:pt x="1166" y="1225"/>
                    <a:pt x="1195" y="1225"/>
                  </a:cubicBezTo>
                  <a:cubicBezTo>
                    <a:pt x="1224" y="1225"/>
                    <a:pt x="1224" y="1225"/>
                    <a:pt x="1253" y="1225"/>
                  </a:cubicBezTo>
                  <a:cubicBezTo>
                    <a:pt x="1253" y="1225"/>
                    <a:pt x="1283" y="1195"/>
                    <a:pt x="1312" y="1195"/>
                  </a:cubicBezTo>
                  <a:lnTo>
                    <a:pt x="1312" y="1195"/>
                  </a:lnTo>
                  <a:lnTo>
                    <a:pt x="1312" y="1195"/>
                  </a:lnTo>
                  <a:lnTo>
                    <a:pt x="1341" y="1225"/>
                  </a:lnTo>
                  <a:lnTo>
                    <a:pt x="1341" y="1225"/>
                  </a:lnTo>
                  <a:cubicBezTo>
                    <a:pt x="1400" y="1225"/>
                    <a:pt x="1429" y="1195"/>
                    <a:pt x="1458" y="1166"/>
                  </a:cubicBezTo>
                  <a:cubicBezTo>
                    <a:pt x="1458" y="1137"/>
                    <a:pt x="1487" y="1108"/>
                    <a:pt x="1487" y="1108"/>
                  </a:cubicBezTo>
                  <a:cubicBezTo>
                    <a:pt x="1516" y="1079"/>
                    <a:pt x="1516" y="1079"/>
                    <a:pt x="1545" y="1079"/>
                  </a:cubicBezTo>
                  <a:cubicBezTo>
                    <a:pt x="1545" y="1050"/>
                    <a:pt x="1574" y="1050"/>
                    <a:pt x="1574" y="1050"/>
                  </a:cubicBezTo>
                  <a:cubicBezTo>
                    <a:pt x="1574" y="1050"/>
                    <a:pt x="1574" y="1021"/>
                    <a:pt x="1574" y="992"/>
                  </a:cubicBezTo>
                  <a:cubicBezTo>
                    <a:pt x="1574" y="933"/>
                    <a:pt x="1603" y="875"/>
                    <a:pt x="1633" y="875"/>
                  </a:cubicBezTo>
                  <a:lnTo>
                    <a:pt x="1633" y="875"/>
                  </a:lnTo>
                  <a:cubicBezTo>
                    <a:pt x="1662" y="875"/>
                    <a:pt x="1662" y="875"/>
                    <a:pt x="1691" y="904"/>
                  </a:cubicBezTo>
                  <a:cubicBezTo>
                    <a:pt x="1691" y="845"/>
                    <a:pt x="1720" y="816"/>
                    <a:pt x="1750" y="787"/>
                  </a:cubicBezTo>
                  <a:lnTo>
                    <a:pt x="1750" y="787"/>
                  </a:lnTo>
                  <a:cubicBezTo>
                    <a:pt x="1750" y="759"/>
                    <a:pt x="1750" y="729"/>
                    <a:pt x="1779" y="700"/>
                  </a:cubicBezTo>
                  <a:lnTo>
                    <a:pt x="1779" y="671"/>
                  </a:lnTo>
                  <a:cubicBezTo>
                    <a:pt x="1779" y="642"/>
                    <a:pt x="1779" y="642"/>
                    <a:pt x="1779" y="642"/>
                  </a:cubicBezTo>
                  <a:lnTo>
                    <a:pt x="1779" y="642"/>
                  </a:lnTo>
                  <a:cubicBezTo>
                    <a:pt x="1808" y="642"/>
                    <a:pt x="1837" y="612"/>
                    <a:pt x="1837" y="58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76" name="Freeform 854">
              <a:extLst>
                <a:ext uri="{FF2B5EF4-FFF2-40B4-BE49-F238E27FC236}">
                  <a16:creationId xmlns:a16="http://schemas.microsoft.com/office/drawing/2014/main" id="{9C22B0F9-189E-4AF5-82EC-6EB63CB2B0B2}"/>
                </a:ext>
              </a:extLst>
            </p:cNvPr>
            <p:cNvSpPr>
              <a:spLocks noChangeArrowheads="1"/>
            </p:cNvSpPr>
            <p:nvPr/>
          </p:nvSpPr>
          <p:spPr bwMode="auto">
            <a:xfrm>
              <a:off x="10370611" y="4099265"/>
              <a:ext cx="1631" cy="11328"/>
            </a:xfrm>
            <a:custGeom>
              <a:avLst/>
              <a:gdLst>
                <a:gd name="T0" fmla="*/ 0 w 1"/>
                <a:gd name="T1" fmla="*/ 29 h 30"/>
                <a:gd name="T2" fmla="*/ 0 w 1"/>
                <a:gd name="T3" fmla="*/ 29 h 30"/>
                <a:gd name="T4" fmla="*/ 0 w 1"/>
                <a:gd name="T5" fmla="*/ 29 h 30"/>
                <a:gd name="T6" fmla="*/ 0 w 1"/>
                <a:gd name="T7" fmla="*/ 0 h 30"/>
                <a:gd name="T8" fmla="*/ 0 w 1"/>
                <a:gd name="T9" fmla="*/ 29 h 30"/>
              </a:gdLst>
              <a:ahLst/>
              <a:cxnLst>
                <a:cxn ang="0">
                  <a:pos x="T0" y="T1"/>
                </a:cxn>
                <a:cxn ang="0">
                  <a:pos x="T2" y="T3"/>
                </a:cxn>
                <a:cxn ang="0">
                  <a:pos x="T4" y="T5"/>
                </a:cxn>
                <a:cxn ang="0">
                  <a:pos x="T6" y="T7"/>
                </a:cxn>
                <a:cxn ang="0">
                  <a:pos x="T8" y="T9"/>
                </a:cxn>
              </a:cxnLst>
              <a:rect l="0" t="0" r="r" b="b"/>
              <a:pathLst>
                <a:path w="1" h="30">
                  <a:moveTo>
                    <a:pt x="0" y="29"/>
                  </a:moveTo>
                  <a:lnTo>
                    <a:pt x="0" y="29"/>
                  </a:lnTo>
                  <a:lnTo>
                    <a:pt x="0" y="29"/>
                  </a:lnTo>
                  <a:cubicBezTo>
                    <a:pt x="0" y="29"/>
                    <a:pt x="0" y="29"/>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77" name="Freeform 855">
              <a:extLst>
                <a:ext uri="{FF2B5EF4-FFF2-40B4-BE49-F238E27FC236}">
                  <a16:creationId xmlns:a16="http://schemas.microsoft.com/office/drawing/2014/main" id="{85456FDE-F114-454F-AB98-51F2114CD093}"/>
                </a:ext>
              </a:extLst>
            </p:cNvPr>
            <p:cNvSpPr>
              <a:spLocks noChangeArrowheads="1"/>
            </p:cNvSpPr>
            <p:nvPr/>
          </p:nvSpPr>
          <p:spPr bwMode="auto">
            <a:xfrm>
              <a:off x="10660902" y="2953494"/>
              <a:ext cx="151669" cy="203908"/>
            </a:xfrm>
            <a:custGeom>
              <a:avLst/>
              <a:gdLst>
                <a:gd name="T0" fmla="*/ 321 w 409"/>
                <a:gd name="T1" fmla="*/ 496 h 556"/>
                <a:gd name="T2" fmla="*/ 321 w 409"/>
                <a:gd name="T3" fmla="*/ 496 h 556"/>
                <a:gd name="T4" fmla="*/ 291 w 409"/>
                <a:gd name="T5" fmla="*/ 467 h 556"/>
                <a:gd name="T6" fmla="*/ 350 w 409"/>
                <a:gd name="T7" fmla="*/ 438 h 556"/>
                <a:gd name="T8" fmla="*/ 321 w 409"/>
                <a:gd name="T9" fmla="*/ 379 h 556"/>
                <a:gd name="T10" fmla="*/ 321 w 409"/>
                <a:gd name="T11" fmla="*/ 379 h 556"/>
                <a:gd name="T12" fmla="*/ 291 w 409"/>
                <a:gd name="T13" fmla="*/ 350 h 556"/>
                <a:gd name="T14" fmla="*/ 233 w 409"/>
                <a:gd name="T15" fmla="*/ 321 h 556"/>
                <a:gd name="T16" fmla="*/ 233 w 409"/>
                <a:gd name="T17" fmla="*/ 321 h 556"/>
                <a:gd name="T18" fmla="*/ 233 w 409"/>
                <a:gd name="T19" fmla="*/ 291 h 556"/>
                <a:gd name="T20" fmla="*/ 174 w 409"/>
                <a:gd name="T21" fmla="*/ 204 h 556"/>
                <a:gd name="T22" fmla="*/ 146 w 409"/>
                <a:gd name="T23" fmla="*/ 146 h 556"/>
                <a:gd name="T24" fmla="*/ 146 w 409"/>
                <a:gd name="T25" fmla="*/ 146 h 556"/>
                <a:gd name="T26" fmla="*/ 146 w 409"/>
                <a:gd name="T27" fmla="*/ 117 h 556"/>
                <a:gd name="T28" fmla="*/ 146 w 409"/>
                <a:gd name="T29" fmla="*/ 117 h 556"/>
                <a:gd name="T30" fmla="*/ 88 w 409"/>
                <a:gd name="T31" fmla="*/ 58 h 556"/>
                <a:gd name="T32" fmla="*/ 58 w 409"/>
                <a:gd name="T33" fmla="*/ 29 h 556"/>
                <a:gd name="T34" fmla="*/ 29 w 409"/>
                <a:gd name="T35" fmla="*/ 29 h 556"/>
                <a:gd name="T36" fmla="*/ 58 w 409"/>
                <a:gd name="T37" fmla="*/ 0 h 556"/>
                <a:gd name="T38" fmla="*/ 58 w 409"/>
                <a:gd name="T39" fmla="*/ 0 h 556"/>
                <a:gd name="T40" fmla="*/ 58 w 409"/>
                <a:gd name="T41" fmla="*/ 0 h 556"/>
                <a:gd name="T42" fmla="*/ 0 w 409"/>
                <a:gd name="T43" fmla="*/ 0 h 556"/>
                <a:gd name="T44" fmla="*/ 29 w 409"/>
                <a:gd name="T45" fmla="*/ 0 h 556"/>
                <a:gd name="T46" fmla="*/ 29 w 409"/>
                <a:gd name="T47" fmla="*/ 58 h 556"/>
                <a:gd name="T48" fmla="*/ 174 w 409"/>
                <a:gd name="T49" fmla="*/ 555 h 556"/>
                <a:gd name="T50" fmla="*/ 233 w 409"/>
                <a:gd name="T51" fmla="*/ 555 h 556"/>
                <a:gd name="T52" fmla="*/ 291 w 409"/>
                <a:gd name="T53" fmla="*/ 525 h 556"/>
                <a:gd name="T54" fmla="*/ 350 w 409"/>
                <a:gd name="T55" fmla="*/ 525 h 556"/>
                <a:gd name="T56" fmla="*/ 408 w 409"/>
                <a:gd name="T57" fmla="*/ 525 h 556"/>
                <a:gd name="T58" fmla="*/ 408 w 409"/>
                <a:gd name="T59" fmla="*/ 525 h 556"/>
                <a:gd name="T60" fmla="*/ 379 w 409"/>
                <a:gd name="T61" fmla="*/ 525 h 556"/>
                <a:gd name="T62" fmla="*/ 321 w 409"/>
                <a:gd name="T63" fmla="*/ 496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9" h="556">
                  <a:moveTo>
                    <a:pt x="321" y="496"/>
                  </a:moveTo>
                  <a:lnTo>
                    <a:pt x="321" y="496"/>
                  </a:lnTo>
                  <a:cubicBezTo>
                    <a:pt x="291" y="496"/>
                    <a:pt x="291" y="496"/>
                    <a:pt x="291" y="467"/>
                  </a:cubicBezTo>
                  <a:cubicBezTo>
                    <a:pt x="321" y="438"/>
                    <a:pt x="321" y="438"/>
                    <a:pt x="350" y="438"/>
                  </a:cubicBezTo>
                  <a:cubicBezTo>
                    <a:pt x="321" y="438"/>
                    <a:pt x="321" y="408"/>
                    <a:pt x="321" y="379"/>
                  </a:cubicBezTo>
                  <a:lnTo>
                    <a:pt x="321" y="379"/>
                  </a:lnTo>
                  <a:cubicBezTo>
                    <a:pt x="321" y="379"/>
                    <a:pt x="321" y="379"/>
                    <a:pt x="291" y="350"/>
                  </a:cubicBezTo>
                  <a:cubicBezTo>
                    <a:pt x="291" y="350"/>
                    <a:pt x="262" y="350"/>
                    <a:pt x="233" y="321"/>
                  </a:cubicBezTo>
                  <a:lnTo>
                    <a:pt x="233" y="321"/>
                  </a:lnTo>
                  <a:cubicBezTo>
                    <a:pt x="233" y="291"/>
                    <a:pt x="233" y="291"/>
                    <a:pt x="233" y="291"/>
                  </a:cubicBezTo>
                  <a:cubicBezTo>
                    <a:pt x="204" y="263"/>
                    <a:pt x="174" y="234"/>
                    <a:pt x="174" y="204"/>
                  </a:cubicBezTo>
                  <a:cubicBezTo>
                    <a:pt x="174" y="175"/>
                    <a:pt x="174" y="146"/>
                    <a:pt x="146" y="146"/>
                  </a:cubicBezTo>
                  <a:lnTo>
                    <a:pt x="146" y="146"/>
                  </a:lnTo>
                  <a:cubicBezTo>
                    <a:pt x="146" y="117"/>
                    <a:pt x="146" y="117"/>
                    <a:pt x="146" y="117"/>
                  </a:cubicBezTo>
                  <a:lnTo>
                    <a:pt x="146" y="117"/>
                  </a:lnTo>
                  <a:cubicBezTo>
                    <a:pt x="117" y="117"/>
                    <a:pt x="88" y="88"/>
                    <a:pt x="88" y="58"/>
                  </a:cubicBezTo>
                  <a:cubicBezTo>
                    <a:pt x="58" y="58"/>
                    <a:pt x="58" y="58"/>
                    <a:pt x="58" y="29"/>
                  </a:cubicBezTo>
                  <a:cubicBezTo>
                    <a:pt x="29" y="29"/>
                    <a:pt x="29" y="29"/>
                    <a:pt x="29" y="29"/>
                  </a:cubicBezTo>
                  <a:cubicBezTo>
                    <a:pt x="58" y="0"/>
                    <a:pt x="58" y="0"/>
                    <a:pt x="58" y="0"/>
                  </a:cubicBezTo>
                  <a:lnTo>
                    <a:pt x="58" y="0"/>
                  </a:lnTo>
                  <a:lnTo>
                    <a:pt x="58" y="0"/>
                  </a:lnTo>
                  <a:cubicBezTo>
                    <a:pt x="29" y="0"/>
                    <a:pt x="29" y="0"/>
                    <a:pt x="0" y="0"/>
                  </a:cubicBezTo>
                  <a:lnTo>
                    <a:pt x="29" y="0"/>
                  </a:lnTo>
                  <a:cubicBezTo>
                    <a:pt x="29" y="29"/>
                    <a:pt x="29" y="29"/>
                    <a:pt x="29" y="58"/>
                  </a:cubicBezTo>
                  <a:cubicBezTo>
                    <a:pt x="88" y="234"/>
                    <a:pt x="117" y="408"/>
                    <a:pt x="174" y="555"/>
                  </a:cubicBezTo>
                  <a:cubicBezTo>
                    <a:pt x="204" y="555"/>
                    <a:pt x="233" y="555"/>
                    <a:pt x="233" y="555"/>
                  </a:cubicBezTo>
                  <a:cubicBezTo>
                    <a:pt x="262" y="555"/>
                    <a:pt x="291" y="525"/>
                    <a:pt x="291" y="525"/>
                  </a:cubicBezTo>
                  <a:cubicBezTo>
                    <a:pt x="321" y="525"/>
                    <a:pt x="321" y="525"/>
                    <a:pt x="350" y="525"/>
                  </a:cubicBezTo>
                  <a:cubicBezTo>
                    <a:pt x="350" y="525"/>
                    <a:pt x="379" y="525"/>
                    <a:pt x="408" y="525"/>
                  </a:cubicBezTo>
                  <a:lnTo>
                    <a:pt x="408" y="525"/>
                  </a:lnTo>
                  <a:lnTo>
                    <a:pt x="379" y="525"/>
                  </a:lnTo>
                  <a:cubicBezTo>
                    <a:pt x="350" y="525"/>
                    <a:pt x="321" y="525"/>
                    <a:pt x="321" y="49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78" name="Freeform 856">
              <a:extLst>
                <a:ext uri="{FF2B5EF4-FFF2-40B4-BE49-F238E27FC236}">
                  <a16:creationId xmlns:a16="http://schemas.microsoft.com/office/drawing/2014/main" id="{C5B5205D-510B-41F3-8DE7-15B780E5B7EC}"/>
                </a:ext>
              </a:extLst>
            </p:cNvPr>
            <p:cNvSpPr>
              <a:spLocks noChangeArrowheads="1"/>
            </p:cNvSpPr>
            <p:nvPr/>
          </p:nvSpPr>
          <p:spPr bwMode="auto">
            <a:xfrm>
              <a:off x="10791370" y="3125036"/>
              <a:ext cx="1631" cy="11328"/>
            </a:xfrm>
            <a:custGeom>
              <a:avLst/>
              <a:gdLst>
                <a:gd name="T0" fmla="*/ 0 w 1"/>
                <a:gd name="T1" fmla="*/ 0 h 30"/>
                <a:gd name="T2" fmla="*/ 0 w 1"/>
                <a:gd name="T3" fmla="*/ 0 h 30"/>
                <a:gd name="T4" fmla="*/ 0 w 1"/>
                <a:gd name="T5" fmla="*/ 29 h 30"/>
                <a:gd name="T6" fmla="*/ 0 w 1"/>
                <a:gd name="T7" fmla="*/ 29 h 30"/>
                <a:gd name="T8" fmla="*/ 0 w 1"/>
                <a:gd name="T9" fmla="*/ 0 h 30"/>
              </a:gdLst>
              <a:ahLst/>
              <a:cxnLst>
                <a:cxn ang="0">
                  <a:pos x="T0" y="T1"/>
                </a:cxn>
                <a:cxn ang="0">
                  <a:pos x="T2" y="T3"/>
                </a:cxn>
                <a:cxn ang="0">
                  <a:pos x="T4" y="T5"/>
                </a:cxn>
                <a:cxn ang="0">
                  <a:pos x="T6" y="T7"/>
                </a:cxn>
                <a:cxn ang="0">
                  <a:pos x="T8" y="T9"/>
                </a:cxn>
              </a:cxnLst>
              <a:rect l="0" t="0" r="r" b="b"/>
              <a:pathLst>
                <a:path w="1" h="30">
                  <a:moveTo>
                    <a:pt x="0" y="0"/>
                  </a:moveTo>
                  <a:lnTo>
                    <a:pt x="0" y="0"/>
                  </a:lnTo>
                  <a:lnTo>
                    <a:pt x="0" y="29"/>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79" name="Freeform 857">
              <a:extLst>
                <a:ext uri="{FF2B5EF4-FFF2-40B4-BE49-F238E27FC236}">
                  <a16:creationId xmlns:a16="http://schemas.microsoft.com/office/drawing/2014/main" id="{EE1937D2-0FB6-49E8-AEE5-2044D553E02D}"/>
                </a:ext>
              </a:extLst>
            </p:cNvPr>
            <p:cNvSpPr>
              <a:spLocks noChangeArrowheads="1"/>
            </p:cNvSpPr>
            <p:nvPr/>
          </p:nvSpPr>
          <p:spPr bwMode="auto">
            <a:xfrm>
              <a:off x="10791370" y="3125036"/>
              <a:ext cx="11416" cy="11328"/>
            </a:xfrm>
            <a:custGeom>
              <a:avLst/>
              <a:gdLst>
                <a:gd name="T0" fmla="*/ 0 w 30"/>
                <a:gd name="T1" fmla="*/ 29 h 30"/>
                <a:gd name="T2" fmla="*/ 0 w 30"/>
                <a:gd name="T3" fmla="*/ 29 h 30"/>
                <a:gd name="T4" fmla="*/ 29 w 30"/>
                <a:gd name="T5" fmla="*/ 0 h 30"/>
                <a:gd name="T6" fmla="*/ 29 w 30"/>
                <a:gd name="T7" fmla="*/ 0 h 30"/>
                <a:gd name="T8" fmla="*/ 29 w 30"/>
                <a:gd name="T9" fmla="*/ 0 h 30"/>
                <a:gd name="T10" fmla="*/ 0 w 30"/>
                <a:gd name="T11" fmla="*/ 29 h 30"/>
              </a:gdLst>
              <a:ahLst/>
              <a:cxnLst>
                <a:cxn ang="0">
                  <a:pos x="T0" y="T1"/>
                </a:cxn>
                <a:cxn ang="0">
                  <a:pos x="T2" y="T3"/>
                </a:cxn>
                <a:cxn ang="0">
                  <a:pos x="T4" y="T5"/>
                </a:cxn>
                <a:cxn ang="0">
                  <a:pos x="T6" y="T7"/>
                </a:cxn>
                <a:cxn ang="0">
                  <a:pos x="T8" y="T9"/>
                </a:cxn>
                <a:cxn ang="0">
                  <a:pos x="T10" y="T11"/>
                </a:cxn>
              </a:cxnLst>
              <a:rect l="0" t="0" r="r" b="b"/>
              <a:pathLst>
                <a:path w="30" h="30">
                  <a:moveTo>
                    <a:pt x="0" y="29"/>
                  </a:moveTo>
                  <a:lnTo>
                    <a:pt x="0" y="29"/>
                  </a:lnTo>
                  <a:cubicBezTo>
                    <a:pt x="0" y="29"/>
                    <a:pt x="0" y="29"/>
                    <a:pt x="29" y="0"/>
                  </a:cubicBezTo>
                  <a:lnTo>
                    <a:pt x="29" y="0"/>
                  </a:lnTo>
                  <a:lnTo>
                    <a:pt x="29" y="0"/>
                  </a:ln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80" name="Freeform 858">
              <a:extLst>
                <a:ext uri="{FF2B5EF4-FFF2-40B4-BE49-F238E27FC236}">
                  <a16:creationId xmlns:a16="http://schemas.microsoft.com/office/drawing/2014/main" id="{639FC7C1-9986-4C7D-BF62-77AECB1DB86E}"/>
                </a:ext>
              </a:extLst>
            </p:cNvPr>
            <p:cNvSpPr>
              <a:spLocks noChangeArrowheads="1"/>
            </p:cNvSpPr>
            <p:nvPr/>
          </p:nvSpPr>
          <p:spPr bwMode="auto">
            <a:xfrm>
              <a:off x="10768538" y="3574929"/>
              <a:ext cx="22832" cy="32366"/>
            </a:xfrm>
            <a:custGeom>
              <a:avLst/>
              <a:gdLst>
                <a:gd name="T0" fmla="*/ 0 w 60"/>
                <a:gd name="T1" fmla="*/ 0 h 89"/>
                <a:gd name="T2" fmla="*/ 0 w 60"/>
                <a:gd name="T3" fmla="*/ 0 h 89"/>
                <a:gd name="T4" fmla="*/ 30 w 60"/>
                <a:gd name="T5" fmla="*/ 59 h 89"/>
                <a:gd name="T6" fmla="*/ 59 w 60"/>
                <a:gd name="T7" fmla="*/ 88 h 89"/>
                <a:gd name="T8" fmla="*/ 30 w 60"/>
                <a:gd name="T9" fmla="*/ 59 h 89"/>
                <a:gd name="T10" fmla="*/ 0 w 60"/>
                <a:gd name="T11" fmla="*/ 0 h 89"/>
              </a:gdLst>
              <a:ahLst/>
              <a:cxnLst>
                <a:cxn ang="0">
                  <a:pos x="T0" y="T1"/>
                </a:cxn>
                <a:cxn ang="0">
                  <a:pos x="T2" y="T3"/>
                </a:cxn>
                <a:cxn ang="0">
                  <a:pos x="T4" y="T5"/>
                </a:cxn>
                <a:cxn ang="0">
                  <a:pos x="T6" y="T7"/>
                </a:cxn>
                <a:cxn ang="0">
                  <a:pos x="T8" y="T9"/>
                </a:cxn>
                <a:cxn ang="0">
                  <a:pos x="T10" y="T11"/>
                </a:cxn>
              </a:cxnLst>
              <a:rect l="0" t="0" r="r" b="b"/>
              <a:pathLst>
                <a:path w="60" h="89">
                  <a:moveTo>
                    <a:pt x="0" y="0"/>
                  </a:moveTo>
                  <a:lnTo>
                    <a:pt x="0" y="0"/>
                  </a:lnTo>
                  <a:cubicBezTo>
                    <a:pt x="30" y="30"/>
                    <a:pt x="30" y="59"/>
                    <a:pt x="30" y="59"/>
                  </a:cubicBezTo>
                  <a:cubicBezTo>
                    <a:pt x="30" y="88"/>
                    <a:pt x="59" y="88"/>
                    <a:pt x="59" y="88"/>
                  </a:cubicBezTo>
                  <a:cubicBezTo>
                    <a:pt x="59" y="88"/>
                    <a:pt x="30" y="88"/>
                    <a:pt x="30" y="59"/>
                  </a:cubicBezTo>
                  <a:cubicBezTo>
                    <a:pt x="30" y="30"/>
                    <a:pt x="30" y="3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81" name="Freeform 859">
              <a:extLst>
                <a:ext uri="{FF2B5EF4-FFF2-40B4-BE49-F238E27FC236}">
                  <a16:creationId xmlns:a16="http://schemas.microsoft.com/office/drawing/2014/main" id="{DE1BE323-7C2E-47C1-B4A6-5597B3B31DDC}"/>
                </a:ext>
              </a:extLst>
            </p:cNvPr>
            <p:cNvSpPr>
              <a:spLocks noChangeArrowheads="1"/>
            </p:cNvSpPr>
            <p:nvPr/>
          </p:nvSpPr>
          <p:spPr bwMode="auto">
            <a:xfrm>
              <a:off x="10607085" y="2976151"/>
              <a:ext cx="205487" cy="289679"/>
            </a:xfrm>
            <a:custGeom>
              <a:avLst/>
              <a:gdLst>
                <a:gd name="T0" fmla="*/ 525 w 555"/>
                <a:gd name="T1" fmla="*/ 526 h 789"/>
                <a:gd name="T2" fmla="*/ 408 w 555"/>
                <a:gd name="T3" fmla="*/ 554 h 789"/>
                <a:gd name="T4" fmla="*/ 292 w 555"/>
                <a:gd name="T5" fmla="*/ 554 h 789"/>
                <a:gd name="T6" fmla="*/ 175 w 555"/>
                <a:gd name="T7" fmla="*/ 205 h 789"/>
                <a:gd name="T8" fmla="*/ 117 w 555"/>
                <a:gd name="T9" fmla="*/ 0 h 789"/>
                <a:gd name="T10" fmla="*/ 117 w 555"/>
                <a:gd name="T11" fmla="*/ 30 h 789"/>
                <a:gd name="T12" fmla="*/ 87 w 555"/>
                <a:gd name="T13" fmla="*/ 88 h 789"/>
                <a:gd name="T14" fmla="*/ 29 w 555"/>
                <a:gd name="T15" fmla="*/ 176 h 789"/>
                <a:gd name="T16" fmla="*/ 58 w 555"/>
                <a:gd name="T17" fmla="*/ 176 h 789"/>
                <a:gd name="T18" fmla="*/ 58 w 555"/>
                <a:gd name="T19" fmla="*/ 292 h 789"/>
                <a:gd name="T20" fmla="*/ 87 w 555"/>
                <a:gd name="T21" fmla="*/ 321 h 789"/>
                <a:gd name="T22" fmla="*/ 117 w 555"/>
                <a:gd name="T23" fmla="*/ 409 h 789"/>
                <a:gd name="T24" fmla="*/ 117 w 555"/>
                <a:gd name="T25" fmla="*/ 409 h 789"/>
                <a:gd name="T26" fmla="*/ 117 w 555"/>
                <a:gd name="T27" fmla="*/ 438 h 789"/>
                <a:gd name="T28" fmla="*/ 146 w 555"/>
                <a:gd name="T29" fmla="*/ 497 h 789"/>
                <a:gd name="T30" fmla="*/ 117 w 555"/>
                <a:gd name="T31" fmla="*/ 526 h 789"/>
                <a:gd name="T32" fmla="*/ 87 w 555"/>
                <a:gd name="T33" fmla="*/ 554 h 789"/>
                <a:gd name="T34" fmla="*/ 58 w 555"/>
                <a:gd name="T35" fmla="*/ 583 h 789"/>
                <a:gd name="T36" fmla="*/ 175 w 555"/>
                <a:gd name="T37" fmla="*/ 613 h 789"/>
                <a:gd name="T38" fmla="*/ 175 w 555"/>
                <a:gd name="T39" fmla="*/ 613 h 789"/>
                <a:gd name="T40" fmla="*/ 234 w 555"/>
                <a:gd name="T41" fmla="*/ 583 h 789"/>
                <a:gd name="T42" fmla="*/ 234 w 555"/>
                <a:gd name="T43" fmla="*/ 613 h 789"/>
                <a:gd name="T44" fmla="*/ 292 w 555"/>
                <a:gd name="T45" fmla="*/ 671 h 789"/>
                <a:gd name="T46" fmla="*/ 292 w 555"/>
                <a:gd name="T47" fmla="*/ 700 h 789"/>
                <a:gd name="T48" fmla="*/ 320 w 555"/>
                <a:gd name="T49" fmla="*/ 730 h 789"/>
                <a:gd name="T50" fmla="*/ 320 w 555"/>
                <a:gd name="T51" fmla="*/ 759 h 789"/>
                <a:gd name="T52" fmla="*/ 320 w 555"/>
                <a:gd name="T53" fmla="*/ 788 h 789"/>
                <a:gd name="T54" fmla="*/ 320 w 555"/>
                <a:gd name="T55" fmla="*/ 788 h 789"/>
                <a:gd name="T56" fmla="*/ 408 w 555"/>
                <a:gd name="T57" fmla="*/ 759 h 789"/>
                <a:gd name="T58" fmla="*/ 467 w 555"/>
                <a:gd name="T59" fmla="*/ 671 h 789"/>
                <a:gd name="T60" fmla="*/ 525 w 555"/>
                <a:gd name="T61" fmla="*/ 583 h 789"/>
                <a:gd name="T62" fmla="*/ 554 w 555"/>
                <a:gd name="T63" fmla="*/ 613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5" h="789">
                  <a:moveTo>
                    <a:pt x="525" y="526"/>
                  </a:moveTo>
                  <a:lnTo>
                    <a:pt x="525" y="526"/>
                  </a:lnTo>
                  <a:lnTo>
                    <a:pt x="525" y="526"/>
                  </a:lnTo>
                  <a:cubicBezTo>
                    <a:pt x="496" y="526"/>
                    <a:pt x="467" y="526"/>
                    <a:pt x="408" y="554"/>
                  </a:cubicBezTo>
                  <a:cubicBezTo>
                    <a:pt x="379" y="554"/>
                    <a:pt x="320" y="554"/>
                    <a:pt x="292" y="554"/>
                  </a:cubicBezTo>
                  <a:lnTo>
                    <a:pt x="292" y="554"/>
                  </a:lnTo>
                  <a:cubicBezTo>
                    <a:pt x="263" y="554"/>
                    <a:pt x="263" y="554"/>
                    <a:pt x="263" y="554"/>
                  </a:cubicBezTo>
                  <a:cubicBezTo>
                    <a:pt x="234" y="438"/>
                    <a:pt x="204" y="321"/>
                    <a:pt x="175" y="205"/>
                  </a:cubicBezTo>
                  <a:cubicBezTo>
                    <a:pt x="175" y="146"/>
                    <a:pt x="146" y="88"/>
                    <a:pt x="117" y="0"/>
                  </a:cubicBezTo>
                  <a:lnTo>
                    <a:pt x="117" y="0"/>
                  </a:lnTo>
                  <a:lnTo>
                    <a:pt x="117" y="30"/>
                  </a:lnTo>
                  <a:lnTo>
                    <a:pt x="117" y="30"/>
                  </a:lnTo>
                  <a:cubicBezTo>
                    <a:pt x="117" y="59"/>
                    <a:pt x="117" y="88"/>
                    <a:pt x="87" y="88"/>
                  </a:cubicBezTo>
                  <a:lnTo>
                    <a:pt x="87" y="88"/>
                  </a:lnTo>
                  <a:cubicBezTo>
                    <a:pt x="58" y="88"/>
                    <a:pt x="58" y="88"/>
                    <a:pt x="58" y="88"/>
                  </a:cubicBezTo>
                  <a:cubicBezTo>
                    <a:pt x="29" y="117"/>
                    <a:pt x="0" y="146"/>
                    <a:pt x="29" y="176"/>
                  </a:cubicBezTo>
                  <a:cubicBezTo>
                    <a:pt x="29" y="176"/>
                    <a:pt x="29" y="176"/>
                    <a:pt x="58" y="176"/>
                  </a:cubicBezTo>
                  <a:lnTo>
                    <a:pt x="58" y="176"/>
                  </a:lnTo>
                  <a:cubicBezTo>
                    <a:pt x="58" y="205"/>
                    <a:pt x="58" y="205"/>
                    <a:pt x="58" y="205"/>
                  </a:cubicBezTo>
                  <a:cubicBezTo>
                    <a:pt x="87" y="233"/>
                    <a:pt x="58" y="263"/>
                    <a:pt x="58" y="292"/>
                  </a:cubicBezTo>
                  <a:lnTo>
                    <a:pt x="58" y="321"/>
                  </a:lnTo>
                  <a:cubicBezTo>
                    <a:pt x="58" y="321"/>
                    <a:pt x="58" y="321"/>
                    <a:pt x="87" y="321"/>
                  </a:cubicBezTo>
                  <a:cubicBezTo>
                    <a:pt x="87" y="350"/>
                    <a:pt x="87" y="350"/>
                    <a:pt x="87" y="380"/>
                  </a:cubicBezTo>
                  <a:cubicBezTo>
                    <a:pt x="87" y="409"/>
                    <a:pt x="87" y="409"/>
                    <a:pt x="117" y="409"/>
                  </a:cubicBezTo>
                  <a:lnTo>
                    <a:pt x="117" y="409"/>
                  </a:lnTo>
                  <a:lnTo>
                    <a:pt x="117" y="409"/>
                  </a:lnTo>
                  <a:lnTo>
                    <a:pt x="117" y="438"/>
                  </a:lnTo>
                  <a:lnTo>
                    <a:pt x="117" y="438"/>
                  </a:lnTo>
                  <a:cubicBezTo>
                    <a:pt x="146" y="467"/>
                    <a:pt x="146" y="467"/>
                    <a:pt x="146" y="497"/>
                  </a:cubicBezTo>
                  <a:lnTo>
                    <a:pt x="146" y="497"/>
                  </a:lnTo>
                  <a:lnTo>
                    <a:pt x="146" y="497"/>
                  </a:lnTo>
                  <a:cubicBezTo>
                    <a:pt x="146" y="526"/>
                    <a:pt x="146" y="526"/>
                    <a:pt x="117" y="526"/>
                  </a:cubicBezTo>
                  <a:cubicBezTo>
                    <a:pt x="117" y="526"/>
                    <a:pt x="117" y="526"/>
                    <a:pt x="87" y="526"/>
                  </a:cubicBezTo>
                  <a:cubicBezTo>
                    <a:pt x="87" y="554"/>
                    <a:pt x="87" y="554"/>
                    <a:pt x="87" y="554"/>
                  </a:cubicBezTo>
                  <a:lnTo>
                    <a:pt x="87" y="554"/>
                  </a:lnTo>
                  <a:lnTo>
                    <a:pt x="58" y="583"/>
                  </a:lnTo>
                  <a:cubicBezTo>
                    <a:pt x="87" y="613"/>
                    <a:pt x="117" y="613"/>
                    <a:pt x="146" y="642"/>
                  </a:cubicBezTo>
                  <a:cubicBezTo>
                    <a:pt x="146" y="613"/>
                    <a:pt x="146" y="613"/>
                    <a:pt x="175" y="613"/>
                  </a:cubicBezTo>
                  <a:lnTo>
                    <a:pt x="175" y="613"/>
                  </a:lnTo>
                  <a:lnTo>
                    <a:pt x="175" y="613"/>
                  </a:lnTo>
                  <a:cubicBezTo>
                    <a:pt x="175" y="613"/>
                    <a:pt x="175" y="613"/>
                    <a:pt x="204" y="613"/>
                  </a:cubicBezTo>
                  <a:cubicBezTo>
                    <a:pt x="204" y="613"/>
                    <a:pt x="204" y="613"/>
                    <a:pt x="234" y="583"/>
                  </a:cubicBezTo>
                  <a:lnTo>
                    <a:pt x="234" y="583"/>
                  </a:lnTo>
                  <a:cubicBezTo>
                    <a:pt x="234" y="613"/>
                    <a:pt x="234" y="613"/>
                    <a:pt x="234" y="613"/>
                  </a:cubicBezTo>
                  <a:lnTo>
                    <a:pt x="263" y="642"/>
                  </a:lnTo>
                  <a:cubicBezTo>
                    <a:pt x="263" y="642"/>
                    <a:pt x="263" y="671"/>
                    <a:pt x="292" y="671"/>
                  </a:cubicBezTo>
                  <a:cubicBezTo>
                    <a:pt x="292" y="671"/>
                    <a:pt x="292" y="671"/>
                    <a:pt x="292" y="700"/>
                  </a:cubicBezTo>
                  <a:lnTo>
                    <a:pt x="292" y="700"/>
                  </a:lnTo>
                  <a:lnTo>
                    <a:pt x="320" y="700"/>
                  </a:lnTo>
                  <a:lnTo>
                    <a:pt x="320" y="730"/>
                  </a:lnTo>
                  <a:lnTo>
                    <a:pt x="320" y="759"/>
                  </a:lnTo>
                  <a:lnTo>
                    <a:pt x="320" y="759"/>
                  </a:lnTo>
                  <a:cubicBezTo>
                    <a:pt x="320" y="788"/>
                    <a:pt x="320" y="788"/>
                    <a:pt x="320" y="788"/>
                  </a:cubicBezTo>
                  <a:lnTo>
                    <a:pt x="320" y="788"/>
                  </a:lnTo>
                  <a:lnTo>
                    <a:pt x="320" y="788"/>
                  </a:lnTo>
                  <a:lnTo>
                    <a:pt x="320" y="788"/>
                  </a:lnTo>
                  <a:cubicBezTo>
                    <a:pt x="350" y="788"/>
                    <a:pt x="350" y="788"/>
                    <a:pt x="350" y="788"/>
                  </a:cubicBezTo>
                  <a:cubicBezTo>
                    <a:pt x="379" y="759"/>
                    <a:pt x="379" y="759"/>
                    <a:pt x="408" y="759"/>
                  </a:cubicBezTo>
                  <a:cubicBezTo>
                    <a:pt x="437" y="759"/>
                    <a:pt x="437" y="759"/>
                    <a:pt x="467" y="730"/>
                  </a:cubicBezTo>
                  <a:cubicBezTo>
                    <a:pt x="467" y="730"/>
                    <a:pt x="467" y="700"/>
                    <a:pt x="467" y="671"/>
                  </a:cubicBezTo>
                  <a:cubicBezTo>
                    <a:pt x="467" y="642"/>
                    <a:pt x="496" y="613"/>
                    <a:pt x="525" y="583"/>
                  </a:cubicBezTo>
                  <a:lnTo>
                    <a:pt x="525" y="583"/>
                  </a:lnTo>
                  <a:lnTo>
                    <a:pt x="525" y="583"/>
                  </a:lnTo>
                  <a:cubicBezTo>
                    <a:pt x="554" y="583"/>
                    <a:pt x="554" y="583"/>
                    <a:pt x="554" y="613"/>
                  </a:cubicBezTo>
                  <a:cubicBezTo>
                    <a:pt x="554" y="583"/>
                    <a:pt x="525" y="554"/>
                    <a:pt x="525" y="52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82" name="Freeform 860">
              <a:extLst>
                <a:ext uri="{FF2B5EF4-FFF2-40B4-BE49-F238E27FC236}">
                  <a16:creationId xmlns:a16="http://schemas.microsoft.com/office/drawing/2014/main" id="{F1A38453-FDFD-482E-AC70-29D7B16D6BFE}"/>
                </a:ext>
              </a:extLst>
            </p:cNvPr>
            <p:cNvSpPr>
              <a:spLocks noChangeArrowheads="1"/>
            </p:cNvSpPr>
            <p:nvPr/>
          </p:nvSpPr>
          <p:spPr bwMode="auto">
            <a:xfrm>
              <a:off x="10801155" y="3210806"/>
              <a:ext cx="1631" cy="11329"/>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cubicBezTo>
                    <a:pt x="0" y="29"/>
                    <a:pt x="0" y="29"/>
                    <a:pt x="0" y="29"/>
                  </a:cubicBez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83" name="Freeform 861">
              <a:extLst>
                <a:ext uri="{FF2B5EF4-FFF2-40B4-BE49-F238E27FC236}">
                  <a16:creationId xmlns:a16="http://schemas.microsoft.com/office/drawing/2014/main" id="{CF0A7DD7-B3F1-42D9-805C-1A9BA96F2E40}"/>
                </a:ext>
              </a:extLst>
            </p:cNvPr>
            <p:cNvSpPr>
              <a:spLocks noChangeArrowheads="1"/>
            </p:cNvSpPr>
            <p:nvPr/>
          </p:nvSpPr>
          <p:spPr bwMode="auto">
            <a:xfrm>
              <a:off x="10316794" y="5479691"/>
              <a:ext cx="11415" cy="21039"/>
            </a:xfrm>
            <a:custGeom>
              <a:avLst/>
              <a:gdLst>
                <a:gd name="T0" fmla="*/ 29 w 30"/>
                <a:gd name="T1" fmla="*/ 0 h 59"/>
                <a:gd name="T2" fmla="*/ 29 w 30"/>
                <a:gd name="T3" fmla="*/ 0 h 59"/>
                <a:gd name="T4" fmla="*/ 29 w 30"/>
                <a:gd name="T5" fmla="*/ 0 h 59"/>
                <a:gd name="T6" fmla="*/ 0 w 30"/>
                <a:gd name="T7" fmla="*/ 58 h 59"/>
                <a:gd name="T8" fmla="*/ 29 w 30"/>
                <a:gd name="T9" fmla="*/ 0 h 59"/>
              </a:gdLst>
              <a:ahLst/>
              <a:cxnLst>
                <a:cxn ang="0">
                  <a:pos x="T0" y="T1"/>
                </a:cxn>
                <a:cxn ang="0">
                  <a:pos x="T2" y="T3"/>
                </a:cxn>
                <a:cxn ang="0">
                  <a:pos x="T4" y="T5"/>
                </a:cxn>
                <a:cxn ang="0">
                  <a:pos x="T6" y="T7"/>
                </a:cxn>
                <a:cxn ang="0">
                  <a:pos x="T8" y="T9"/>
                </a:cxn>
              </a:cxnLst>
              <a:rect l="0" t="0" r="r" b="b"/>
              <a:pathLst>
                <a:path w="30" h="59">
                  <a:moveTo>
                    <a:pt x="29" y="0"/>
                  </a:moveTo>
                  <a:lnTo>
                    <a:pt x="29" y="0"/>
                  </a:lnTo>
                  <a:lnTo>
                    <a:pt x="29" y="0"/>
                  </a:lnTo>
                  <a:cubicBezTo>
                    <a:pt x="0" y="29"/>
                    <a:pt x="0" y="29"/>
                    <a:pt x="0" y="58"/>
                  </a:cubicBezTo>
                  <a:cubicBezTo>
                    <a:pt x="0" y="29"/>
                    <a:pt x="0" y="29"/>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84" name="Freeform 862">
              <a:extLst>
                <a:ext uri="{FF2B5EF4-FFF2-40B4-BE49-F238E27FC236}">
                  <a16:creationId xmlns:a16="http://schemas.microsoft.com/office/drawing/2014/main" id="{91314450-A71E-4567-908A-39CD69563A1C}"/>
                </a:ext>
              </a:extLst>
            </p:cNvPr>
            <p:cNvSpPr>
              <a:spLocks noChangeArrowheads="1"/>
            </p:cNvSpPr>
            <p:nvPr/>
          </p:nvSpPr>
          <p:spPr bwMode="auto">
            <a:xfrm>
              <a:off x="10284177" y="4196364"/>
              <a:ext cx="44032" cy="53404"/>
            </a:xfrm>
            <a:custGeom>
              <a:avLst/>
              <a:gdLst>
                <a:gd name="T0" fmla="*/ 117 w 118"/>
                <a:gd name="T1" fmla="*/ 0 h 147"/>
                <a:gd name="T2" fmla="*/ 117 w 118"/>
                <a:gd name="T3" fmla="*/ 0 h 147"/>
                <a:gd name="T4" fmla="*/ 88 w 118"/>
                <a:gd name="T5" fmla="*/ 29 h 147"/>
                <a:gd name="T6" fmla="*/ 29 w 118"/>
                <a:gd name="T7" fmla="*/ 146 h 147"/>
                <a:gd name="T8" fmla="*/ 29 w 118"/>
                <a:gd name="T9" fmla="*/ 146 h 147"/>
                <a:gd name="T10" fmla="*/ 0 w 118"/>
                <a:gd name="T11" fmla="*/ 146 h 147"/>
                <a:gd name="T12" fmla="*/ 0 w 118"/>
                <a:gd name="T13" fmla="*/ 146 h 147"/>
                <a:gd name="T14" fmla="*/ 29 w 118"/>
                <a:gd name="T15" fmla="*/ 146 h 147"/>
                <a:gd name="T16" fmla="*/ 29 w 118"/>
                <a:gd name="T17" fmla="*/ 146 h 147"/>
                <a:gd name="T18" fmla="*/ 88 w 118"/>
                <a:gd name="T19" fmla="*/ 29 h 147"/>
                <a:gd name="T20" fmla="*/ 117 w 118"/>
                <a:gd name="T21"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47">
                  <a:moveTo>
                    <a:pt x="117" y="0"/>
                  </a:moveTo>
                  <a:lnTo>
                    <a:pt x="117" y="0"/>
                  </a:lnTo>
                  <a:cubicBezTo>
                    <a:pt x="88" y="29"/>
                    <a:pt x="88" y="29"/>
                    <a:pt x="88" y="29"/>
                  </a:cubicBezTo>
                  <a:cubicBezTo>
                    <a:pt x="59" y="58"/>
                    <a:pt x="29" y="88"/>
                    <a:pt x="29" y="146"/>
                  </a:cubicBezTo>
                  <a:lnTo>
                    <a:pt x="29" y="146"/>
                  </a:lnTo>
                  <a:cubicBezTo>
                    <a:pt x="0" y="146"/>
                    <a:pt x="0" y="146"/>
                    <a:pt x="0" y="146"/>
                  </a:cubicBezTo>
                  <a:lnTo>
                    <a:pt x="0" y="146"/>
                  </a:lnTo>
                  <a:cubicBezTo>
                    <a:pt x="29" y="146"/>
                    <a:pt x="29" y="146"/>
                    <a:pt x="29" y="146"/>
                  </a:cubicBezTo>
                  <a:lnTo>
                    <a:pt x="29" y="146"/>
                  </a:lnTo>
                  <a:cubicBezTo>
                    <a:pt x="29" y="88"/>
                    <a:pt x="59" y="58"/>
                    <a:pt x="88" y="29"/>
                  </a:cubicBezTo>
                  <a:cubicBezTo>
                    <a:pt x="117" y="0"/>
                    <a:pt x="117" y="0"/>
                    <a:pt x="1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85" name="Freeform 863">
              <a:extLst>
                <a:ext uri="{FF2B5EF4-FFF2-40B4-BE49-F238E27FC236}">
                  <a16:creationId xmlns:a16="http://schemas.microsoft.com/office/drawing/2014/main" id="{CFE38A81-7F4F-4898-A0DC-A702A8EB92AB}"/>
                </a:ext>
              </a:extLst>
            </p:cNvPr>
            <p:cNvSpPr>
              <a:spLocks noChangeArrowheads="1"/>
            </p:cNvSpPr>
            <p:nvPr/>
          </p:nvSpPr>
          <p:spPr bwMode="auto">
            <a:xfrm>
              <a:off x="10046074" y="4431020"/>
              <a:ext cx="11415"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cubicBezTo>
                    <a:pt x="0" y="0"/>
                    <a:pt x="0" y="0"/>
                    <a:pt x="0" y="0"/>
                  </a:cubicBez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86" name="Freeform 864">
              <a:extLst>
                <a:ext uri="{FF2B5EF4-FFF2-40B4-BE49-F238E27FC236}">
                  <a16:creationId xmlns:a16="http://schemas.microsoft.com/office/drawing/2014/main" id="{6CDF6B03-4B6D-4936-91C9-927590860942}"/>
                </a:ext>
              </a:extLst>
            </p:cNvPr>
            <p:cNvSpPr>
              <a:spLocks noChangeArrowheads="1"/>
            </p:cNvSpPr>
            <p:nvPr/>
          </p:nvSpPr>
          <p:spPr bwMode="auto">
            <a:xfrm>
              <a:off x="10057489" y="4431020"/>
              <a:ext cx="11416"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lnTo>
                    <a:pt x="0" y="0"/>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87" name="Freeform 865">
              <a:extLst>
                <a:ext uri="{FF2B5EF4-FFF2-40B4-BE49-F238E27FC236}">
                  <a16:creationId xmlns:a16="http://schemas.microsoft.com/office/drawing/2014/main" id="{8C1636E0-0270-4A23-96D5-3E72742C96DD}"/>
                </a:ext>
              </a:extLst>
            </p:cNvPr>
            <p:cNvSpPr>
              <a:spLocks noChangeArrowheads="1"/>
            </p:cNvSpPr>
            <p:nvPr/>
          </p:nvSpPr>
          <p:spPr bwMode="auto">
            <a:xfrm>
              <a:off x="10024872" y="4409982"/>
              <a:ext cx="22832" cy="32366"/>
            </a:xfrm>
            <a:custGeom>
              <a:avLst/>
              <a:gdLst>
                <a:gd name="T0" fmla="*/ 59 w 60"/>
                <a:gd name="T1" fmla="*/ 58 h 88"/>
                <a:gd name="T2" fmla="*/ 59 w 60"/>
                <a:gd name="T3" fmla="*/ 58 h 88"/>
                <a:gd name="T4" fmla="*/ 59 w 60"/>
                <a:gd name="T5" fmla="*/ 58 h 88"/>
                <a:gd name="T6" fmla="*/ 0 w 60"/>
                <a:gd name="T7" fmla="*/ 87 h 88"/>
                <a:gd name="T8" fmla="*/ 0 w 60"/>
                <a:gd name="T9" fmla="*/ 0 h 88"/>
                <a:gd name="T10" fmla="*/ 0 w 60"/>
                <a:gd name="T11" fmla="*/ 87 h 88"/>
                <a:gd name="T12" fmla="*/ 59 w 60"/>
                <a:gd name="T13" fmla="*/ 58 h 88"/>
              </a:gdLst>
              <a:ahLst/>
              <a:cxnLst>
                <a:cxn ang="0">
                  <a:pos x="T0" y="T1"/>
                </a:cxn>
                <a:cxn ang="0">
                  <a:pos x="T2" y="T3"/>
                </a:cxn>
                <a:cxn ang="0">
                  <a:pos x="T4" y="T5"/>
                </a:cxn>
                <a:cxn ang="0">
                  <a:pos x="T6" y="T7"/>
                </a:cxn>
                <a:cxn ang="0">
                  <a:pos x="T8" y="T9"/>
                </a:cxn>
                <a:cxn ang="0">
                  <a:pos x="T10" y="T11"/>
                </a:cxn>
                <a:cxn ang="0">
                  <a:pos x="T12" y="T13"/>
                </a:cxn>
              </a:cxnLst>
              <a:rect l="0" t="0" r="r" b="b"/>
              <a:pathLst>
                <a:path w="60" h="88">
                  <a:moveTo>
                    <a:pt x="59" y="58"/>
                  </a:moveTo>
                  <a:lnTo>
                    <a:pt x="59" y="58"/>
                  </a:lnTo>
                  <a:lnTo>
                    <a:pt x="59" y="58"/>
                  </a:lnTo>
                  <a:cubicBezTo>
                    <a:pt x="59" y="58"/>
                    <a:pt x="29" y="58"/>
                    <a:pt x="0" y="87"/>
                  </a:cubicBezTo>
                  <a:cubicBezTo>
                    <a:pt x="0" y="58"/>
                    <a:pt x="0" y="29"/>
                    <a:pt x="0" y="0"/>
                  </a:cubicBezTo>
                  <a:cubicBezTo>
                    <a:pt x="0" y="29"/>
                    <a:pt x="0" y="58"/>
                    <a:pt x="0" y="87"/>
                  </a:cubicBezTo>
                  <a:cubicBezTo>
                    <a:pt x="29" y="58"/>
                    <a:pt x="59" y="58"/>
                    <a:pt x="59"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88" name="Freeform 866">
              <a:extLst>
                <a:ext uri="{FF2B5EF4-FFF2-40B4-BE49-F238E27FC236}">
                  <a16:creationId xmlns:a16="http://schemas.microsoft.com/office/drawing/2014/main" id="{4C9C7CD7-C477-4D84-9B9E-85C88A5AD339}"/>
                </a:ext>
              </a:extLst>
            </p:cNvPr>
            <p:cNvSpPr>
              <a:spLocks noChangeArrowheads="1"/>
            </p:cNvSpPr>
            <p:nvPr/>
          </p:nvSpPr>
          <p:spPr bwMode="auto">
            <a:xfrm>
              <a:off x="10090106" y="4377616"/>
              <a:ext cx="11416" cy="1618"/>
            </a:xfrm>
            <a:custGeom>
              <a:avLst/>
              <a:gdLst>
                <a:gd name="T0" fmla="*/ 29 w 30"/>
                <a:gd name="T1" fmla="*/ 0 h 1"/>
                <a:gd name="T2" fmla="*/ 29 w 30"/>
                <a:gd name="T3" fmla="*/ 0 h 1"/>
                <a:gd name="T4" fmla="*/ 0 w 30"/>
                <a:gd name="T5" fmla="*/ 0 h 1"/>
                <a:gd name="T6" fmla="*/ 0 w 30"/>
                <a:gd name="T7" fmla="*/ 0 h 1"/>
                <a:gd name="T8" fmla="*/ 0 w 30"/>
                <a:gd name="T9" fmla="*/ 0 h 1"/>
                <a:gd name="T10" fmla="*/ 29 w 30"/>
                <a:gd name="T11" fmla="*/ 0 h 1"/>
              </a:gdLst>
              <a:ahLst/>
              <a:cxnLst>
                <a:cxn ang="0">
                  <a:pos x="T0" y="T1"/>
                </a:cxn>
                <a:cxn ang="0">
                  <a:pos x="T2" y="T3"/>
                </a:cxn>
                <a:cxn ang="0">
                  <a:pos x="T4" y="T5"/>
                </a:cxn>
                <a:cxn ang="0">
                  <a:pos x="T6" y="T7"/>
                </a:cxn>
                <a:cxn ang="0">
                  <a:pos x="T8" y="T9"/>
                </a:cxn>
                <a:cxn ang="0">
                  <a:pos x="T10" y="T11"/>
                </a:cxn>
              </a:cxnLst>
              <a:rect l="0" t="0" r="r" b="b"/>
              <a:pathLst>
                <a:path w="30" h="1">
                  <a:moveTo>
                    <a:pt x="29" y="0"/>
                  </a:moveTo>
                  <a:lnTo>
                    <a:pt x="29" y="0"/>
                  </a:lnTo>
                  <a:cubicBezTo>
                    <a:pt x="0" y="0"/>
                    <a:pt x="0" y="0"/>
                    <a:pt x="0" y="0"/>
                  </a:cubicBezTo>
                  <a:lnTo>
                    <a:pt x="0" y="0"/>
                  </a:lnTo>
                  <a:lnTo>
                    <a:pt x="0" y="0"/>
                  </a:ln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89" name="Freeform 867">
              <a:extLst>
                <a:ext uri="{FF2B5EF4-FFF2-40B4-BE49-F238E27FC236}">
                  <a16:creationId xmlns:a16="http://schemas.microsoft.com/office/drawing/2014/main" id="{74F442E5-75E9-4718-8AFE-E8D169A12350}"/>
                </a:ext>
              </a:extLst>
            </p:cNvPr>
            <p:cNvSpPr>
              <a:spLocks noChangeArrowheads="1"/>
            </p:cNvSpPr>
            <p:nvPr/>
          </p:nvSpPr>
          <p:spPr bwMode="auto">
            <a:xfrm>
              <a:off x="10132508" y="4409982"/>
              <a:ext cx="11416" cy="1618"/>
            </a:xfrm>
            <a:custGeom>
              <a:avLst/>
              <a:gdLst>
                <a:gd name="T0" fmla="*/ 0 w 30"/>
                <a:gd name="T1" fmla="*/ 0 h 1"/>
                <a:gd name="T2" fmla="*/ 0 w 30"/>
                <a:gd name="T3" fmla="*/ 0 h 1"/>
                <a:gd name="T4" fmla="*/ 29 w 30"/>
                <a:gd name="T5" fmla="*/ 0 h 1"/>
                <a:gd name="T6" fmla="*/ 29 w 30"/>
                <a:gd name="T7" fmla="*/ 0 h 1"/>
                <a:gd name="T8" fmla="*/ 0 w 30"/>
                <a:gd name="T9" fmla="*/ 0 h 1"/>
              </a:gdLst>
              <a:ahLst/>
              <a:cxnLst>
                <a:cxn ang="0">
                  <a:pos x="T0" y="T1"/>
                </a:cxn>
                <a:cxn ang="0">
                  <a:pos x="T2" y="T3"/>
                </a:cxn>
                <a:cxn ang="0">
                  <a:pos x="T4" y="T5"/>
                </a:cxn>
                <a:cxn ang="0">
                  <a:pos x="T6" y="T7"/>
                </a:cxn>
                <a:cxn ang="0">
                  <a:pos x="T8" y="T9"/>
                </a:cxn>
              </a:cxnLst>
              <a:rect l="0" t="0" r="r" b="b"/>
              <a:pathLst>
                <a:path w="30" h="1">
                  <a:moveTo>
                    <a:pt x="0" y="0"/>
                  </a:moveTo>
                  <a:lnTo>
                    <a:pt x="0" y="0"/>
                  </a:lnTo>
                  <a:cubicBezTo>
                    <a:pt x="29" y="0"/>
                    <a:pt x="29" y="0"/>
                    <a:pt x="29" y="0"/>
                  </a:cubicBezTo>
                  <a:lnTo>
                    <a:pt x="29" y="0"/>
                  </a:ln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90" name="Freeform 868">
              <a:extLst>
                <a:ext uri="{FF2B5EF4-FFF2-40B4-BE49-F238E27FC236}">
                  <a16:creationId xmlns:a16="http://schemas.microsoft.com/office/drawing/2014/main" id="{D5C7580D-D02F-40F8-AE0E-02A19A145AE8}"/>
                </a:ext>
              </a:extLst>
            </p:cNvPr>
            <p:cNvSpPr>
              <a:spLocks noChangeArrowheads="1"/>
            </p:cNvSpPr>
            <p:nvPr/>
          </p:nvSpPr>
          <p:spPr bwMode="auto">
            <a:xfrm>
              <a:off x="10099891" y="4431020"/>
              <a:ext cx="11416" cy="11329"/>
            </a:xfrm>
            <a:custGeom>
              <a:avLst/>
              <a:gdLst>
                <a:gd name="T0" fmla="*/ 0 w 30"/>
                <a:gd name="T1" fmla="*/ 0 h 30"/>
                <a:gd name="T2" fmla="*/ 0 w 30"/>
                <a:gd name="T3" fmla="*/ 0 h 30"/>
                <a:gd name="T4" fmla="*/ 0 w 30"/>
                <a:gd name="T5" fmla="*/ 29 h 30"/>
                <a:gd name="T6" fmla="*/ 29 w 30"/>
                <a:gd name="T7" fmla="*/ 29 h 30"/>
                <a:gd name="T8" fmla="*/ 29 w 30"/>
                <a:gd name="T9" fmla="*/ 29 h 30"/>
                <a:gd name="T10" fmla="*/ 0 w 30"/>
                <a:gd name="T11" fmla="*/ 29 h 30"/>
                <a:gd name="T12" fmla="*/ 0 w 30"/>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0" h="30">
                  <a:moveTo>
                    <a:pt x="0" y="0"/>
                  </a:moveTo>
                  <a:lnTo>
                    <a:pt x="0" y="0"/>
                  </a:lnTo>
                  <a:cubicBezTo>
                    <a:pt x="0" y="0"/>
                    <a:pt x="0" y="0"/>
                    <a:pt x="0" y="29"/>
                  </a:cubicBezTo>
                  <a:cubicBezTo>
                    <a:pt x="29" y="29"/>
                    <a:pt x="29" y="29"/>
                    <a:pt x="29" y="29"/>
                  </a:cubicBezTo>
                  <a:lnTo>
                    <a:pt x="29" y="29"/>
                  </a:lnTo>
                  <a:cubicBezTo>
                    <a:pt x="0" y="29"/>
                    <a:pt x="0" y="29"/>
                    <a:pt x="0" y="29"/>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91" name="Freeform 869">
              <a:extLst>
                <a:ext uri="{FF2B5EF4-FFF2-40B4-BE49-F238E27FC236}">
                  <a16:creationId xmlns:a16="http://schemas.microsoft.com/office/drawing/2014/main" id="{F79EC8F8-C1F7-455E-A5A8-57B9B145C901}"/>
                </a:ext>
              </a:extLst>
            </p:cNvPr>
            <p:cNvSpPr>
              <a:spLocks noChangeArrowheads="1"/>
            </p:cNvSpPr>
            <p:nvPr/>
          </p:nvSpPr>
          <p:spPr bwMode="auto">
            <a:xfrm>
              <a:off x="10316794" y="5469981"/>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92" name="Freeform 870">
              <a:extLst>
                <a:ext uri="{FF2B5EF4-FFF2-40B4-BE49-F238E27FC236}">
                  <a16:creationId xmlns:a16="http://schemas.microsoft.com/office/drawing/2014/main" id="{CEC844A3-482E-4ED6-97C3-34397C090925}"/>
                </a:ext>
              </a:extLst>
            </p:cNvPr>
            <p:cNvSpPr>
              <a:spLocks noChangeArrowheads="1"/>
            </p:cNvSpPr>
            <p:nvPr/>
          </p:nvSpPr>
          <p:spPr bwMode="auto">
            <a:xfrm>
              <a:off x="10024872" y="4388943"/>
              <a:ext cx="1631" cy="22656"/>
            </a:xfrm>
            <a:custGeom>
              <a:avLst/>
              <a:gdLst>
                <a:gd name="T0" fmla="*/ 0 w 1"/>
                <a:gd name="T1" fmla="*/ 59 h 60"/>
                <a:gd name="T2" fmla="*/ 0 w 1"/>
                <a:gd name="T3" fmla="*/ 59 h 60"/>
                <a:gd name="T4" fmla="*/ 0 w 1"/>
                <a:gd name="T5" fmla="*/ 0 h 60"/>
                <a:gd name="T6" fmla="*/ 0 w 1"/>
                <a:gd name="T7" fmla="*/ 0 h 60"/>
                <a:gd name="T8" fmla="*/ 0 w 1"/>
                <a:gd name="T9" fmla="*/ 59 h 60"/>
              </a:gdLst>
              <a:ahLst/>
              <a:cxnLst>
                <a:cxn ang="0">
                  <a:pos x="T0" y="T1"/>
                </a:cxn>
                <a:cxn ang="0">
                  <a:pos x="T2" y="T3"/>
                </a:cxn>
                <a:cxn ang="0">
                  <a:pos x="T4" y="T5"/>
                </a:cxn>
                <a:cxn ang="0">
                  <a:pos x="T6" y="T7"/>
                </a:cxn>
                <a:cxn ang="0">
                  <a:pos x="T8" y="T9"/>
                </a:cxn>
              </a:cxnLst>
              <a:rect l="0" t="0" r="r" b="b"/>
              <a:pathLst>
                <a:path w="1" h="60">
                  <a:moveTo>
                    <a:pt x="0" y="59"/>
                  </a:moveTo>
                  <a:lnTo>
                    <a:pt x="0" y="59"/>
                  </a:lnTo>
                  <a:cubicBezTo>
                    <a:pt x="0" y="30"/>
                    <a:pt x="0" y="30"/>
                    <a:pt x="0" y="0"/>
                  </a:cubicBezTo>
                  <a:lnTo>
                    <a:pt x="0" y="0"/>
                  </a:lnTo>
                  <a:cubicBezTo>
                    <a:pt x="0" y="30"/>
                    <a:pt x="0" y="30"/>
                    <a:pt x="0"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93" name="Freeform 871">
              <a:extLst>
                <a:ext uri="{FF2B5EF4-FFF2-40B4-BE49-F238E27FC236}">
                  <a16:creationId xmlns:a16="http://schemas.microsoft.com/office/drawing/2014/main" id="{67264412-16D3-4B06-81FF-1A8959A01DD2}"/>
                </a:ext>
              </a:extLst>
            </p:cNvPr>
            <p:cNvSpPr>
              <a:spLocks noChangeArrowheads="1"/>
            </p:cNvSpPr>
            <p:nvPr/>
          </p:nvSpPr>
          <p:spPr bwMode="auto">
            <a:xfrm>
              <a:off x="10121093" y="4367906"/>
              <a:ext cx="11415" cy="11328"/>
            </a:xfrm>
            <a:custGeom>
              <a:avLst/>
              <a:gdLst>
                <a:gd name="T0" fmla="*/ 0 w 31"/>
                <a:gd name="T1" fmla="*/ 29 h 30"/>
                <a:gd name="T2" fmla="*/ 0 w 31"/>
                <a:gd name="T3" fmla="*/ 29 h 30"/>
                <a:gd name="T4" fmla="*/ 0 w 31"/>
                <a:gd name="T5" fmla="*/ 29 h 30"/>
                <a:gd name="T6" fmla="*/ 0 w 31"/>
                <a:gd name="T7" fmla="*/ 29 h 30"/>
                <a:gd name="T8" fmla="*/ 30 w 31"/>
                <a:gd name="T9" fmla="*/ 29 h 30"/>
                <a:gd name="T10" fmla="*/ 30 w 31"/>
                <a:gd name="T11" fmla="*/ 0 h 30"/>
                <a:gd name="T12" fmla="*/ 30 w 31"/>
                <a:gd name="T13" fmla="*/ 29 h 30"/>
                <a:gd name="T14" fmla="*/ 0 w 31"/>
                <a:gd name="T15" fmla="*/ 29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0">
                  <a:moveTo>
                    <a:pt x="0" y="29"/>
                  </a:moveTo>
                  <a:lnTo>
                    <a:pt x="0" y="29"/>
                  </a:lnTo>
                  <a:lnTo>
                    <a:pt x="0" y="29"/>
                  </a:lnTo>
                  <a:lnTo>
                    <a:pt x="0" y="29"/>
                  </a:lnTo>
                  <a:cubicBezTo>
                    <a:pt x="30" y="29"/>
                    <a:pt x="30" y="29"/>
                    <a:pt x="30" y="29"/>
                  </a:cubicBezTo>
                  <a:cubicBezTo>
                    <a:pt x="30" y="0"/>
                    <a:pt x="30" y="0"/>
                    <a:pt x="30" y="0"/>
                  </a:cubicBezTo>
                  <a:cubicBezTo>
                    <a:pt x="30" y="0"/>
                    <a:pt x="30" y="0"/>
                    <a:pt x="30" y="29"/>
                  </a:cubicBez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94" name="Freeform 872">
              <a:extLst>
                <a:ext uri="{FF2B5EF4-FFF2-40B4-BE49-F238E27FC236}">
                  <a16:creationId xmlns:a16="http://schemas.microsoft.com/office/drawing/2014/main" id="{6B92215E-D657-4AAA-B47E-A56DD0DBFC29}"/>
                </a:ext>
              </a:extLst>
            </p:cNvPr>
            <p:cNvSpPr>
              <a:spLocks noChangeArrowheads="1"/>
            </p:cNvSpPr>
            <p:nvPr/>
          </p:nvSpPr>
          <p:spPr bwMode="auto">
            <a:xfrm>
              <a:off x="10284177" y="5576790"/>
              <a:ext cx="32617" cy="74443"/>
            </a:xfrm>
            <a:custGeom>
              <a:avLst/>
              <a:gdLst>
                <a:gd name="T0" fmla="*/ 88 w 89"/>
                <a:gd name="T1" fmla="*/ 0 h 205"/>
                <a:gd name="T2" fmla="*/ 88 w 89"/>
                <a:gd name="T3" fmla="*/ 0 h 205"/>
                <a:gd name="T4" fmla="*/ 0 w 89"/>
                <a:gd name="T5" fmla="*/ 204 h 205"/>
                <a:gd name="T6" fmla="*/ 88 w 89"/>
                <a:gd name="T7" fmla="*/ 0 h 205"/>
              </a:gdLst>
              <a:ahLst/>
              <a:cxnLst>
                <a:cxn ang="0">
                  <a:pos x="T0" y="T1"/>
                </a:cxn>
                <a:cxn ang="0">
                  <a:pos x="T2" y="T3"/>
                </a:cxn>
                <a:cxn ang="0">
                  <a:pos x="T4" y="T5"/>
                </a:cxn>
                <a:cxn ang="0">
                  <a:pos x="T6" y="T7"/>
                </a:cxn>
              </a:cxnLst>
              <a:rect l="0" t="0" r="r" b="b"/>
              <a:pathLst>
                <a:path w="89" h="205">
                  <a:moveTo>
                    <a:pt x="88" y="0"/>
                  </a:moveTo>
                  <a:lnTo>
                    <a:pt x="88" y="0"/>
                  </a:lnTo>
                  <a:cubicBezTo>
                    <a:pt x="29" y="28"/>
                    <a:pt x="0" y="116"/>
                    <a:pt x="0" y="204"/>
                  </a:cubicBezTo>
                  <a:cubicBezTo>
                    <a:pt x="0" y="116"/>
                    <a:pt x="29" y="28"/>
                    <a:pt x="8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95" name="Freeform 873">
              <a:extLst>
                <a:ext uri="{FF2B5EF4-FFF2-40B4-BE49-F238E27FC236}">
                  <a16:creationId xmlns:a16="http://schemas.microsoft.com/office/drawing/2014/main" id="{E1CE347A-33C3-44C2-BBFF-20D76518E34E}"/>
                </a:ext>
              </a:extLst>
            </p:cNvPr>
            <p:cNvSpPr>
              <a:spLocks noChangeArrowheads="1"/>
            </p:cNvSpPr>
            <p:nvPr/>
          </p:nvSpPr>
          <p:spPr bwMode="auto">
            <a:xfrm>
              <a:off x="10036289" y="4421310"/>
              <a:ext cx="11415" cy="1619"/>
            </a:xfrm>
            <a:custGeom>
              <a:avLst/>
              <a:gdLst>
                <a:gd name="T0" fmla="*/ 30 w 31"/>
                <a:gd name="T1" fmla="*/ 0 h 1"/>
                <a:gd name="T2" fmla="*/ 30 w 31"/>
                <a:gd name="T3" fmla="*/ 0 h 1"/>
                <a:gd name="T4" fmla="*/ 0 w 31"/>
                <a:gd name="T5" fmla="*/ 0 h 1"/>
                <a:gd name="T6" fmla="*/ 30 w 31"/>
                <a:gd name="T7" fmla="*/ 0 h 1"/>
              </a:gdLst>
              <a:ahLst/>
              <a:cxnLst>
                <a:cxn ang="0">
                  <a:pos x="T0" y="T1"/>
                </a:cxn>
                <a:cxn ang="0">
                  <a:pos x="T2" y="T3"/>
                </a:cxn>
                <a:cxn ang="0">
                  <a:pos x="T4" y="T5"/>
                </a:cxn>
                <a:cxn ang="0">
                  <a:pos x="T6" y="T7"/>
                </a:cxn>
              </a:cxnLst>
              <a:rect l="0" t="0" r="r" b="b"/>
              <a:pathLst>
                <a:path w="31" h="1">
                  <a:moveTo>
                    <a:pt x="30" y="0"/>
                  </a:moveTo>
                  <a:lnTo>
                    <a:pt x="30" y="0"/>
                  </a:lnTo>
                  <a:cubicBezTo>
                    <a:pt x="0" y="0"/>
                    <a:pt x="0" y="0"/>
                    <a:pt x="0" y="0"/>
                  </a:cubicBezTo>
                  <a:cubicBezTo>
                    <a:pt x="0" y="0"/>
                    <a:pt x="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 name="Footer Placeholder 4">
            <a:extLst>
              <a:ext uri="{FF2B5EF4-FFF2-40B4-BE49-F238E27FC236}">
                <a16:creationId xmlns:a16="http://schemas.microsoft.com/office/drawing/2014/main" id="{623D6067-60BA-4B5D-8F44-4BD5C26E114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259621B-F850-4EC4-89B2-4871A6F5DE29}"/>
              </a:ext>
            </a:extLst>
          </p:cNvPr>
          <p:cNvSpPr>
            <a:spLocks noGrp="1"/>
          </p:cNvSpPr>
          <p:nvPr>
            <p:ph type="sldNum" sz="quarter" idx="10"/>
          </p:nvPr>
        </p:nvSpPr>
        <p:spPr/>
        <p:txBody>
          <a:bodyPr/>
          <a:lstStyle/>
          <a:p>
            <a:fld id="{1F90F471-3972-4120-B8B3-0237DE626C35}" type="slidenum">
              <a:rPr lang="en-US" smtClean="0"/>
              <a:pPr/>
              <a:t>356</a:t>
            </a:fld>
            <a:endParaRPr lang="en-US" dirty="0"/>
          </a:p>
        </p:txBody>
      </p:sp>
    </p:spTree>
    <p:extLst>
      <p:ext uri="{BB962C8B-B14F-4D97-AF65-F5344CB8AC3E}">
        <p14:creationId xmlns:p14="http://schemas.microsoft.com/office/powerpoint/2010/main" val="137541873"/>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South America</a:t>
            </a:r>
            <a:endParaRPr lang="de-DE" dirty="0"/>
          </a:p>
        </p:txBody>
      </p:sp>
      <p:sp>
        <p:nvSpPr>
          <p:cNvPr id="3" name="TextBox 2">
            <a:extLst>
              <a:ext uri="{FF2B5EF4-FFF2-40B4-BE49-F238E27FC236}">
                <a16:creationId xmlns:a16="http://schemas.microsoft.com/office/drawing/2014/main" id="{E0E6D8AE-B5FD-46B5-824D-78A44F4CB866}"/>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shade one or more countries</a:t>
            </a:r>
          </a:p>
        </p:txBody>
      </p:sp>
      <p:grpSp>
        <p:nvGrpSpPr>
          <p:cNvPr id="258" name="Group 257" descr="Describe map here">
            <a:extLst>
              <a:ext uri="{FF2B5EF4-FFF2-40B4-BE49-F238E27FC236}">
                <a16:creationId xmlns:a16="http://schemas.microsoft.com/office/drawing/2014/main" id="{B3FC18C9-1F8E-46A7-9E22-55713045CC6D}"/>
              </a:ext>
            </a:extLst>
          </p:cNvPr>
          <p:cNvGrpSpPr/>
          <p:nvPr/>
        </p:nvGrpSpPr>
        <p:grpSpPr>
          <a:xfrm>
            <a:off x="5680219" y="0"/>
            <a:ext cx="6445566" cy="6386400"/>
            <a:chOff x="5118971" y="0"/>
            <a:chExt cx="6921535" cy="6858000"/>
          </a:xfrm>
          <a:solidFill>
            <a:srgbClr val="96968C">
              <a:lumMod val="40000"/>
              <a:lumOff val="60000"/>
            </a:srgbClr>
          </a:solidFill>
        </p:grpSpPr>
        <p:sp>
          <p:nvSpPr>
            <p:cNvPr id="259" name="Freeform 5">
              <a:extLst>
                <a:ext uri="{FF2B5EF4-FFF2-40B4-BE49-F238E27FC236}">
                  <a16:creationId xmlns:a16="http://schemas.microsoft.com/office/drawing/2014/main" id="{B4C8C130-13BC-4CD8-B8B8-5F706967F147}"/>
                </a:ext>
              </a:extLst>
            </p:cNvPr>
            <p:cNvSpPr>
              <a:spLocks/>
            </p:cNvSpPr>
            <p:nvPr/>
          </p:nvSpPr>
          <p:spPr bwMode="auto">
            <a:xfrm>
              <a:off x="7531128" y="0"/>
              <a:ext cx="56491" cy="16947"/>
            </a:xfrm>
            <a:custGeom>
              <a:avLst/>
              <a:gdLst>
                <a:gd name="T0" fmla="*/ 17 w 17"/>
                <a:gd name="T1" fmla="*/ 0 h 5"/>
                <a:gd name="T2" fmla="*/ 3 w 17"/>
                <a:gd name="T3" fmla="*/ 0 h 5"/>
                <a:gd name="T4" fmla="*/ 4 w 17"/>
                <a:gd name="T5" fmla="*/ 3 h 5"/>
                <a:gd name="T6" fmla="*/ 4 w 17"/>
                <a:gd name="T7" fmla="*/ 3 h 5"/>
                <a:gd name="T8" fmla="*/ 1 w 17"/>
                <a:gd name="T9" fmla="*/ 1 h 5"/>
                <a:gd name="T10" fmla="*/ 1 w 17"/>
                <a:gd name="T11" fmla="*/ 5 h 5"/>
                <a:gd name="T12" fmla="*/ 4 w 17"/>
                <a:gd name="T13" fmla="*/ 5 h 5"/>
                <a:gd name="T14" fmla="*/ 6 w 17"/>
                <a:gd name="T15" fmla="*/ 4 h 5"/>
                <a:gd name="T16" fmla="*/ 6 w 17"/>
                <a:gd name="T17" fmla="*/ 4 h 5"/>
                <a:gd name="T18" fmla="*/ 8 w 17"/>
                <a:gd name="T19" fmla="*/ 4 h 5"/>
                <a:gd name="T20" fmla="*/ 8 w 17"/>
                <a:gd name="T21" fmla="*/ 4 h 5"/>
                <a:gd name="T22" fmla="*/ 11 w 17"/>
                <a:gd name="T23" fmla="*/ 3 h 5"/>
                <a:gd name="T24" fmla="*/ 13 w 17"/>
                <a:gd name="T25" fmla="*/ 3 h 5"/>
                <a:gd name="T26" fmla="*/ 15 w 17"/>
                <a:gd name="T27" fmla="*/ 4 h 5"/>
                <a:gd name="T28" fmla="*/ 14 w 17"/>
                <a:gd name="T29" fmla="*/ 3 h 5"/>
                <a:gd name="T30" fmla="*/ 17 w 17"/>
                <a:gd name="T31" fmla="*/ 4 h 5"/>
                <a:gd name="T32" fmla="*/ 16 w 17"/>
                <a:gd name="T33" fmla="*/ 1 h 5"/>
                <a:gd name="T34" fmla="*/ 17 w 17"/>
                <a:gd name="T3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5">
                  <a:moveTo>
                    <a:pt x="17" y="0"/>
                  </a:moveTo>
                  <a:cubicBezTo>
                    <a:pt x="3" y="0"/>
                    <a:pt x="3" y="0"/>
                    <a:pt x="3" y="0"/>
                  </a:cubicBezTo>
                  <a:cubicBezTo>
                    <a:pt x="4" y="1"/>
                    <a:pt x="5" y="3"/>
                    <a:pt x="4" y="3"/>
                  </a:cubicBezTo>
                  <a:cubicBezTo>
                    <a:pt x="4" y="3"/>
                    <a:pt x="4" y="3"/>
                    <a:pt x="4" y="3"/>
                  </a:cubicBezTo>
                  <a:cubicBezTo>
                    <a:pt x="3" y="3"/>
                    <a:pt x="1" y="1"/>
                    <a:pt x="1" y="1"/>
                  </a:cubicBezTo>
                  <a:cubicBezTo>
                    <a:pt x="0" y="2"/>
                    <a:pt x="0" y="4"/>
                    <a:pt x="1" y="5"/>
                  </a:cubicBezTo>
                  <a:cubicBezTo>
                    <a:pt x="2" y="5"/>
                    <a:pt x="3" y="5"/>
                    <a:pt x="4" y="5"/>
                  </a:cubicBezTo>
                  <a:cubicBezTo>
                    <a:pt x="5" y="5"/>
                    <a:pt x="5" y="4"/>
                    <a:pt x="6" y="4"/>
                  </a:cubicBezTo>
                  <a:cubicBezTo>
                    <a:pt x="6" y="4"/>
                    <a:pt x="6" y="4"/>
                    <a:pt x="6" y="4"/>
                  </a:cubicBezTo>
                  <a:cubicBezTo>
                    <a:pt x="6" y="4"/>
                    <a:pt x="7" y="4"/>
                    <a:pt x="8" y="4"/>
                  </a:cubicBezTo>
                  <a:cubicBezTo>
                    <a:pt x="8" y="4"/>
                    <a:pt x="8" y="4"/>
                    <a:pt x="8" y="4"/>
                  </a:cubicBezTo>
                  <a:cubicBezTo>
                    <a:pt x="10" y="4"/>
                    <a:pt x="10" y="4"/>
                    <a:pt x="11" y="3"/>
                  </a:cubicBezTo>
                  <a:cubicBezTo>
                    <a:pt x="12" y="3"/>
                    <a:pt x="12" y="3"/>
                    <a:pt x="13" y="3"/>
                  </a:cubicBezTo>
                  <a:cubicBezTo>
                    <a:pt x="13" y="3"/>
                    <a:pt x="14" y="3"/>
                    <a:pt x="15" y="4"/>
                  </a:cubicBezTo>
                  <a:cubicBezTo>
                    <a:pt x="14" y="3"/>
                    <a:pt x="14" y="3"/>
                    <a:pt x="14" y="3"/>
                  </a:cubicBezTo>
                  <a:cubicBezTo>
                    <a:pt x="15" y="3"/>
                    <a:pt x="16" y="3"/>
                    <a:pt x="17" y="4"/>
                  </a:cubicBezTo>
                  <a:cubicBezTo>
                    <a:pt x="16" y="3"/>
                    <a:pt x="16" y="2"/>
                    <a:pt x="16" y="1"/>
                  </a:cubicBezTo>
                  <a:cubicBezTo>
                    <a:pt x="17" y="1"/>
                    <a:pt x="17"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0" name="Freeform 6">
              <a:extLst>
                <a:ext uri="{FF2B5EF4-FFF2-40B4-BE49-F238E27FC236}">
                  <a16:creationId xmlns:a16="http://schemas.microsoft.com/office/drawing/2014/main" id="{39BEC48F-78AE-4294-9B3E-E2F81BDFE150}"/>
                </a:ext>
              </a:extLst>
            </p:cNvPr>
            <p:cNvSpPr>
              <a:spLocks noEditPoints="1"/>
            </p:cNvSpPr>
            <p:nvPr/>
          </p:nvSpPr>
          <p:spPr bwMode="auto">
            <a:xfrm>
              <a:off x="12030620" y="687777"/>
              <a:ext cx="5649" cy="19772"/>
            </a:xfrm>
            <a:custGeom>
              <a:avLst/>
              <a:gdLst>
                <a:gd name="T0" fmla="*/ 2 w 2"/>
                <a:gd name="T1" fmla="*/ 5 h 6"/>
                <a:gd name="T2" fmla="*/ 2 w 2"/>
                <a:gd name="T3" fmla="*/ 6 h 6"/>
                <a:gd name="T4" fmla="*/ 2 w 2"/>
                <a:gd name="T5" fmla="*/ 5 h 6"/>
                <a:gd name="T6" fmla="*/ 2 w 2"/>
                <a:gd name="T7" fmla="*/ 0 h 6"/>
                <a:gd name="T8" fmla="*/ 1 w 2"/>
                <a:gd name="T9" fmla="*/ 3 h 6"/>
                <a:gd name="T10" fmla="*/ 2 w 2"/>
                <a:gd name="T11" fmla="*/ 5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5"/>
                  </a:moveTo>
                  <a:cubicBezTo>
                    <a:pt x="2" y="5"/>
                    <a:pt x="2" y="6"/>
                    <a:pt x="2" y="6"/>
                  </a:cubicBezTo>
                  <a:cubicBezTo>
                    <a:pt x="2" y="6"/>
                    <a:pt x="2" y="5"/>
                    <a:pt x="2" y="5"/>
                  </a:cubicBezTo>
                  <a:moveTo>
                    <a:pt x="2" y="0"/>
                  </a:moveTo>
                  <a:cubicBezTo>
                    <a:pt x="0" y="0"/>
                    <a:pt x="1" y="2"/>
                    <a:pt x="1" y="3"/>
                  </a:cubicBezTo>
                  <a:cubicBezTo>
                    <a:pt x="2" y="3"/>
                    <a:pt x="2" y="4"/>
                    <a:pt x="2" y="5"/>
                  </a:cubicBezTo>
                  <a:cubicBezTo>
                    <a:pt x="2" y="3"/>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1" name="Freeform 7">
              <a:extLst>
                <a:ext uri="{FF2B5EF4-FFF2-40B4-BE49-F238E27FC236}">
                  <a16:creationId xmlns:a16="http://schemas.microsoft.com/office/drawing/2014/main" id="{437D4C90-F9EA-41AA-8BDC-8B99C3E3096D}"/>
                </a:ext>
              </a:extLst>
            </p:cNvPr>
            <p:cNvSpPr>
              <a:spLocks/>
            </p:cNvSpPr>
            <p:nvPr/>
          </p:nvSpPr>
          <p:spPr bwMode="auto">
            <a:xfrm>
              <a:off x="12033445" y="737207"/>
              <a:ext cx="7061" cy="16947"/>
            </a:xfrm>
            <a:custGeom>
              <a:avLst/>
              <a:gdLst>
                <a:gd name="T0" fmla="*/ 2 w 2"/>
                <a:gd name="T1" fmla="*/ 0 h 5"/>
                <a:gd name="T2" fmla="*/ 1 w 2"/>
                <a:gd name="T3" fmla="*/ 0 h 5"/>
                <a:gd name="T4" fmla="*/ 0 w 2"/>
                <a:gd name="T5" fmla="*/ 4 h 5"/>
                <a:gd name="T6" fmla="*/ 2 w 2"/>
                <a:gd name="T7" fmla="*/ 5 h 5"/>
                <a:gd name="T8" fmla="*/ 2 w 2"/>
                <a:gd name="T9" fmla="*/ 0 h 5"/>
              </a:gdLst>
              <a:ahLst/>
              <a:cxnLst>
                <a:cxn ang="0">
                  <a:pos x="T0" y="T1"/>
                </a:cxn>
                <a:cxn ang="0">
                  <a:pos x="T2" y="T3"/>
                </a:cxn>
                <a:cxn ang="0">
                  <a:pos x="T4" y="T5"/>
                </a:cxn>
                <a:cxn ang="0">
                  <a:pos x="T6" y="T7"/>
                </a:cxn>
                <a:cxn ang="0">
                  <a:pos x="T8" y="T9"/>
                </a:cxn>
              </a:cxnLst>
              <a:rect l="0" t="0" r="r" b="b"/>
              <a:pathLst>
                <a:path w="2" h="5">
                  <a:moveTo>
                    <a:pt x="2" y="0"/>
                  </a:moveTo>
                  <a:cubicBezTo>
                    <a:pt x="1" y="0"/>
                    <a:pt x="1" y="0"/>
                    <a:pt x="1" y="0"/>
                  </a:cubicBezTo>
                  <a:cubicBezTo>
                    <a:pt x="0" y="4"/>
                    <a:pt x="0" y="4"/>
                    <a:pt x="0" y="4"/>
                  </a:cubicBezTo>
                  <a:cubicBezTo>
                    <a:pt x="0" y="4"/>
                    <a:pt x="1" y="5"/>
                    <a:pt x="2" y="5"/>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2" name="Freeform 8">
              <a:extLst>
                <a:ext uri="{FF2B5EF4-FFF2-40B4-BE49-F238E27FC236}">
                  <a16:creationId xmlns:a16="http://schemas.microsoft.com/office/drawing/2014/main" id="{C4372C21-408D-4E93-B7B7-CABA8E0746C0}"/>
                </a:ext>
              </a:extLst>
            </p:cNvPr>
            <p:cNvSpPr>
              <a:spLocks/>
            </p:cNvSpPr>
            <p:nvPr/>
          </p:nvSpPr>
          <p:spPr bwMode="auto">
            <a:xfrm>
              <a:off x="7754267" y="134166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3" name="Freeform 9">
              <a:extLst>
                <a:ext uri="{FF2B5EF4-FFF2-40B4-BE49-F238E27FC236}">
                  <a16:creationId xmlns:a16="http://schemas.microsoft.com/office/drawing/2014/main" id="{2B29B2C3-5B63-442A-8A69-C8979FDBE6DC}"/>
                </a:ext>
              </a:extLst>
            </p:cNvPr>
            <p:cNvSpPr>
              <a:spLocks/>
            </p:cNvSpPr>
            <p:nvPr/>
          </p:nvSpPr>
          <p:spPr bwMode="auto">
            <a:xfrm>
              <a:off x="9006950" y="1234327"/>
              <a:ext cx="2825" cy="0"/>
            </a:xfrm>
            <a:custGeom>
              <a:avLst/>
              <a:gdLst>
                <a:gd name="T0" fmla="*/ 0 w 1"/>
                <a:gd name="T1" fmla="*/ 0 w 1"/>
                <a:gd name="T2" fmla="*/ 0 w 1"/>
                <a:gd name="T3" fmla="*/ 0 w 1"/>
                <a:gd name="T4" fmla="*/ 0 w 1"/>
                <a:gd name="T5" fmla="*/ 0 w 1"/>
                <a:gd name="T6" fmla="*/ 1 w 1"/>
                <a:gd name="T7" fmla="*/ 1 w 1"/>
                <a:gd name="T8" fmla="*/ 0 w 1"/>
                <a:gd name="T9"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1">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1" y="0"/>
                    <a:pt x="1" y="0"/>
                    <a:pt x="1" y="0"/>
                  </a:cubicBezTo>
                  <a:cubicBezTo>
                    <a:pt x="1" y="0"/>
                    <a:pt x="1" y="0"/>
                    <a:pt x="1" y="0"/>
                  </a:cubicBezTo>
                  <a:cubicBezTo>
                    <a:pt x="1" y="0"/>
                    <a:pt x="1"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4" name="Freeform 10">
              <a:extLst>
                <a:ext uri="{FF2B5EF4-FFF2-40B4-BE49-F238E27FC236}">
                  <a16:creationId xmlns:a16="http://schemas.microsoft.com/office/drawing/2014/main" id="{1D313F5B-3073-49B6-B416-BF4E58526CD3}"/>
                </a:ext>
              </a:extLst>
            </p:cNvPr>
            <p:cNvSpPr>
              <a:spLocks/>
            </p:cNvSpPr>
            <p:nvPr/>
          </p:nvSpPr>
          <p:spPr bwMode="auto">
            <a:xfrm>
              <a:off x="10037907" y="4009444"/>
              <a:ext cx="7061" cy="7061"/>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1" y="1"/>
                    <a:pt x="1" y="1"/>
                    <a:pt x="2" y="2"/>
                  </a:cubicBezTo>
                  <a:cubicBezTo>
                    <a:pt x="1"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5" name="Freeform 11">
              <a:extLst>
                <a:ext uri="{FF2B5EF4-FFF2-40B4-BE49-F238E27FC236}">
                  <a16:creationId xmlns:a16="http://schemas.microsoft.com/office/drawing/2014/main" id="{46F3E435-260C-46E8-8781-2DD8BEFF76D6}"/>
                </a:ext>
              </a:extLst>
            </p:cNvPr>
            <p:cNvSpPr>
              <a:spLocks/>
            </p:cNvSpPr>
            <p:nvPr/>
          </p:nvSpPr>
          <p:spPr bwMode="auto">
            <a:xfrm>
              <a:off x="10094398" y="3979787"/>
              <a:ext cx="2825" cy="2825"/>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0" y="1"/>
                  </a:cubicBezTo>
                  <a:cubicBezTo>
                    <a:pt x="0" y="0"/>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6" name="Rectangle 12">
              <a:extLst>
                <a:ext uri="{FF2B5EF4-FFF2-40B4-BE49-F238E27FC236}">
                  <a16:creationId xmlns:a16="http://schemas.microsoft.com/office/drawing/2014/main" id="{4B25D78B-C0B5-4FCB-99EF-BB0777C00A6A}"/>
                </a:ext>
              </a:extLst>
            </p:cNvPr>
            <p:cNvSpPr>
              <a:spLocks noChangeArrowheads="1"/>
            </p:cNvSpPr>
            <p:nvPr/>
          </p:nvSpPr>
          <p:spPr bwMode="auto">
            <a:xfrm>
              <a:off x="10094398" y="3982611"/>
              <a:ext cx="1412" cy="14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7" name="Freeform 13">
              <a:extLst>
                <a:ext uri="{FF2B5EF4-FFF2-40B4-BE49-F238E27FC236}">
                  <a16:creationId xmlns:a16="http://schemas.microsoft.com/office/drawing/2014/main" id="{39100456-2A8F-423C-86BD-E3FD307E9525}"/>
                </a:ext>
              </a:extLst>
            </p:cNvPr>
            <p:cNvSpPr>
              <a:spLocks/>
            </p:cNvSpPr>
            <p:nvPr/>
          </p:nvSpPr>
          <p:spPr bwMode="auto">
            <a:xfrm>
              <a:off x="10094398" y="3982611"/>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8" name="Rectangle 14">
              <a:extLst>
                <a:ext uri="{FF2B5EF4-FFF2-40B4-BE49-F238E27FC236}">
                  <a16:creationId xmlns:a16="http://schemas.microsoft.com/office/drawing/2014/main" id="{ED3B7BA4-33C7-4BCD-8599-CEF34A2A95CF}"/>
                </a:ext>
              </a:extLst>
            </p:cNvPr>
            <p:cNvSpPr>
              <a:spLocks noChangeArrowheads="1"/>
            </p:cNvSpPr>
            <p:nvPr/>
          </p:nvSpPr>
          <p:spPr bwMode="auto">
            <a:xfrm>
              <a:off x="9883970" y="2136770"/>
              <a:ext cx="1412" cy="14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9" name="Freeform 15">
              <a:extLst>
                <a:ext uri="{FF2B5EF4-FFF2-40B4-BE49-F238E27FC236}">
                  <a16:creationId xmlns:a16="http://schemas.microsoft.com/office/drawing/2014/main" id="{044E3583-B5FD-441F-AB7C-1DAB8620915A}"/>
                </a:ext>
              </a:extLst>
            </p:cNvPr>
            <p:cNvSpPr>
              <a:spLocks/>
            </p:cNvSpPr>
            <p:nvPr/>
          </p:nvSpPr>
          <p:spPr bwMode="auto">
            <a:xfrm>
              <a:off x="9883970" y="213677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0" name="Freeform 16">
              <a:extLst>
                <a:ext uri="{FF2B5EF4-FFF2-40B4-BE49-F238E27FC236}">
                  <a16:creationId xmlns:a16="http://schemas.microsoft.com/office/drawing/2014/main" id="{1E212B12-3357-442B-AC1E-CE70E7E9D68B}"/>
                </a:ext>
              </a:extLst>
            </p:cNvPr>
            <p:cNvSpPr>
              <a:spLocks/>
            </p:cNvSpPr>
            <p:nvPr/>
          </p:nvSpPr>
          <p:spPr bwMode="auto">
            <a:xfrm>
              <a:off x="9783699" y="1659421"/>
              <a:ext cx="7061" cy="9886"/>
            </a:xfrm>
            <a:custGeom>
              <a:avLst/>
              <a:gdLst>
                <a:gd name="T0" fmla="*/ 2 w 2"/>
                <a:gd name="T1" fmla="*/ 0 h 3"/>
                <a:gd name="T2" fmla="*/ 2 w 2"/>
                <a:gd name="T3" fmla="*/ 0 h 3"/>
                <a:gd name="T4" fmla="*/ 2 w 2"/>
                <a:gd name="T5" fmla="*/ 0 h 3"/>
                <a:gd name="T6" fmla="*/ 0 w 2"/>
                <a:gd name="T7" fmla="*/ 2 h 3"/>
                <a:gd name="T8" fmla="*/ 0 w 2"/>
                <a:gd name="T9" fmla="*/ 3 h 3"/>
                <a:gd name="T10" fmla="*/ 0 w 2"/>
                <a:gd name="T11" fmla="*/ 2 h 3"/>
                <a:gd name="T12" fmla="*/ 2 w 2"/>
                <a:gd name="T13" fmla="*/ 0 h 3"/>
                <a:gd name="T14" fmla="*/ 2 w 2"/>
                <a:gd name="T15" fmla="*/ 0 h 3"/>
                <a:gd name="T16" fmla="*/ 2 w 2"/>
                <a:gd name="T17" fmla="*/ 0 h 3"/>
                <a:gd name="T18" fmla="*/ 2 w 2"/>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2" y="0"/>
                  </a:moveTo>
                  <a:cubicBezTo>
                    <a:pt x="2" y="0"/>
                    <a:pt x="2" y="0"/>
                    <a:pt x="2" y="0"/>
                  </a:cubicBezTo>
                  <a:cubicBezTo>
                    <a:pt x="2" y="0"/>
                    <a:pt x="2" y="0"/>
                    <a:pt x="2" y="0"/>
                  </a:cubicBezTo>
                  <a:cubicBezTo>
                    <a:pt x="1" y="1"/>
                    <a:pt x="0" y="2"/>
                    <a:pt x="0" y="2"/>
                  </a:cubicBezTo>
                  <a:cubicBezTo>
                    <a:pt x="0" y="2"/>
                    <a:pt x="0" y="2"/>
                    <a:pt x="0" y="3"/>
                  </a:cubicBezTo>
                  <a:cubicBezTo>
                    <a:pt x="0" y="2"/>
                    <a:pt x="0" y="2"/>
                    <a:pt x="0" y="2"/>
                  </a:cubicBezTo>
                  <a:cubicBezTo>
                    <a:pt x="1" y="2"/>
                    <a:pt x="2" y="1"/>
                    <a:pt x="2" y="0"/>
                  </a:cubicBezTo>
                  <a:cubicBezTo>
                    <a:pt x="2" y="0"/>
                    <a:pt x="2" y="0"/>
                    <a:pt x="2" y="0"/>
                  </a:cubicBezTo>
                  <a:cubicBezTo>
                    <a:pt x="2" y="0"/>
                    <a:pt x="2"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1" name="Freeform 28">
              <a:extLst>
                <a:ext uri="{FF2B5EF4-FFF2-40B4-BE49-F238E27FC236}">
                  <a16:creationId xmlns:a16="http://schemas.microsoft.com/office/drawing/2014/main" id="{34BAFF96-B653-4F1E-86A1-5C3A09F66385}"/>
                </a:ext>
              </a:extLst>
            </p:cNvPr>
            <p:cNvSpPr>
              <a:spLocks/>
            </p:cNvSpPr>
            <p:nvPr/>
          </p:nvSpPr>
          <p:spPr bwMode="auto">
            <a:xfrm>
              <a:off x="8235851" y="279630"/>
              <a:ext cx="12710" cy="7061"/>
            </a:xfrm>
            <a:custGeom>
              <a:avLst/>
              <a:gdLst>
                <a:gd name="T0" fmla="*/ 0 w 4"/>
                <a:gd name="T1" fmla="*/ 0 h 2"/>
                <a:gd name="T2" fmla="*/ 3 w 4"/>
                <a:gd name="T3" fmla="*/ 2 h 2"/>
                <a:gd name="T4" fmla="*/ 4 w 4"/>
                <a:gd name="T5" fmla="*/ 2 h 2"/>
                <a:gd name="T6" fmla="*/ 0 w 4"/>
                <a:gd name="T7" fmla="*/ 0 h 2"/>
              </a:gdLst>
              <a:ahLst/>
              <a:cxnLst>
                <a:cxn ang="0">
                  <a:pos x="T0" y="T1"/>
                </a:cxn>
                <a:cxn ang="0">
                  <a:pos x="T2" y="T3"/>
                </a:cxn>
                <a:cxn ang="0">
                  <a:pos x="T4" y="T5"/>
                </a:cxn>
                <a:cxn ang="0">
                  <a:pos x="T6" y="T7"/>
                </a:cxn>
              </a:cxnLst>
              <a:rect l="0" t="0" r="r" b="b"/>
              <a:pathLst>
                <a:path w="4" h="2">
                  <a:moveTo>
                    <a:pt x="0" y="0"/>
                  </a:moveTo>
                  <a:cubicBezTo>
                    <a:pt x="1" y="1"/>
                    <a:pt x="2" y="2"/>
                    <a:pt x="3" y="2"/>
                  </a:cubicBezTo>
                  <a:cubicBezTo>
                    <a:pt x="3" y="2"/>
                    <a:pt x="3" y="2"/>
                    <a:pt x="4"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2" name="Freeform 29">
              <a:extLst>
                <a:ext uri="{FF2B5EF4-FFF2-40B4-BE49-F238E27FC236}">
                  <a16:creationId xmlns:a16="http://schemas.microsoft.com/office/drawing/2014/main" id="{8325E4B2-FF95-4F41-ACAB-02E2C02C0DCF}"/>
                </a:ext>
              </a:extLst>
            </p:cNvPr>
            <p:cNvSpPr>
              <a:spLocks/>
            </p:cNvSpPr>
            <p:nvPr/>
          </p:nvSpPr>
          <p:spPr bwMode="auto">
            <a:xfrm>
              <a:off x="8248561" y="286692"/>
              <a:ext cx="16947" cy="2825"/>
            </a:xfrm>
            <a:custGeom>
              <a:avLst/>
              <a:gdLst>
                <a:gd name="T0" fmla="*/ 3 w 5"/>
                <a:gd name="T1" fmla="*/ 0 h 1"/>
                <a:gd name="T2" fmla="*/ 0 w 5"/>
                <a:gd name="T3" fmla="*/ 1 h 1"/>
                <a:gd name="T4" fmla="*/ 5 w 5"/>
                <a:gd name="T5" fmla="*/ 1 h 1"/>
                <a:gd name="T6" fmla="*/ 3 w 5"/>
                <a:gd name="T7" fmla="*/ 0 h 1"/>
              </a:gdLst>
              <a:ahLst/>
              <a:cxnLst>
                <a:cxn ang="0">
                  <a:pos x="T0" y="T1"/>
                </a:cxn>
                <a:cxn ang="0">
                  <a:pos x="T2" y="T3"/>
                </a:cxn>
                <a:cxn ang="0">
                  <a:pos x="T4" y="T5"/>
                </a:cxn>
                <a:cxn ang="0">
                  <a:pos x="T6" y="T7"/>
                </a:cxn>
              </a:cxnLst>
              <a:rect l="0" t="0" r="r" b="b"/>
              <a:pathLst>
                <a:path w="5" h="1">
                  <a:moveTo>
                    <a:pt x="3" y="0"/>
                  </a:moveTo>
                  <a:cubicBezTo>
                    <a:pt x="2" y="0"/>
                    <a:pt x="1" y="0"/>
                    <a:pt x="0" y="1"/>
                  </a:cubicBezTo>
                  <a:cubicBezTo>
                    <a:pt x="2" y="1"/>
                    <a:pt x="3" y="1"/>
                    <a:pt x="5"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3" name="Freeform 30">
              <a:extLst>
                <a:ext uri="{FF2B5EF4-FFF2-40B4-BE49-F238E27FC236}">
                  <a16:creationId xmlns:a16="http://schemas.microsoft.com/office/drawing/2014/main" id="{2D888100-C49C-4572-A0ED-3D71ECF37C6B}"/>
                </a:ext>
              </a:extLst>
            </p:cNvPr>
            <p:cNvSpPr>
              <a:spLocks noEditPoints="1"/>
            </p:cNvSpPr>
            <p:nvPr/>
          </p:nvSpPr>
          <p:spPr bwMode="auto">
            <a:xfrm>
              <a:off x="8209018" y="286692"/>
              <a:ext cx="16947" cy="2825"/>
            </a:xfrm>
            <a:custGeom>
              <a:avLst/>
              <a:gdLst>
                <a:gd name="T0" fmla="*/ 1 w 5"/>
                <a:gd name="T1" fmla="*/ 1 h 1"/>
                <a:gd name="T2" fmla="*/ 0 w 5"/>
                <a:gd name="T3" fmla="*/ 1 h 1"/>
                <a:gd name="T4" fmla="*/ 1 w 5"/>
                <a:gd name="T5" fmla="*/ 1 h 1"/>
                <a:gd name="T6" fmla="*/ 5 w 5"/>
                <a:gd name="T7" fmla="*/ 0 h 1"/>
                <a:gd name="T8" fmla="*/ 1 w 5"/>
                <a:gd name="T9" fmla="*/ 1 h 1"/>
                <a:gd name="T10" fmla="*/ 2 w 5"/>
                <a:gd name="T11" fmla="*/ 1 h 1"/>
                <a:gd name="T12" fmla="*/ 3 w 5"/>
                <a:gd name="T13" fmla="*/ 1 h 1"/>
                <a:gd name="T14" fmla="*/ 3 w 5"/>
                <a:gd name="T15" fmla="*/ 1 h 1"/>
                <a:gd name="T16" fmla="*/ 4 w 5"/>
                <a:gd name="T17" fmla="*/ 1 h 1"/>
                <a:gd name="T18" fmla="*/ 5 w 5"/>
                <a:gd name="T19" fmla="*/ 1 h 1"/>
                <a:gd name="T20" fmla="*/ 5 w 5"/>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1">
                  <a:moveTo>
                    <a:pt x="1" y="1"/>
                  </a:moveTo>
                  <a:cubicBezTo>
                    <a:pt x="1" y="1"/>
                    <a:pt x="1" y="1"/>
                    <a:pt x="0" y="1"/>
                  </a:cubicBezTo>
                  <a:cubicBezTo>
                    <a:pt x="1" y="1"/>
                    <a:pt x="1" y="1"/>
                    <a:pt x="1" y="1"/>
                  </a:cubicBezTo>
                  <a:moveTo>
                    <a:pt x="5" y="0"/>
                  </a:moveTo>
                  <a:cubicBezTo>
                    <a:pt x="4" y="1"/>
                    <a:pt x="3" y="1"/>
                    <a:pt x="1" y="1"/>
                  </a:cubicBezTo>
                  <a:cubicBezTo>
                    <a:pt x="1" y="1"/>
                    <a:pt x="1" y="1"/>
                    <a:pt x="2" y="1"/>
                  </a:cubicBezTo>
                  <a:cubicBezTo>
                    <a:pt x="2" y="1"/>
                    <a:pt x="2" y="1"/>
                    <a:pt x="3" y="1"/>
                  </a:cubicBezTo>
                  <a:cubicBezTo>
                    <a:pt x="3" y="1"/>
                    <a:pt x="3" y="1"/>
                    <a:pt x="3" y="1"/>
                  </a:cubicBezTo>
                  <a:cubicBezTo>
                    <a:pt x="4" y="1"/>
                    <a:pt x="4" y="1"/>
                    <a:pt x="4" y="1"/>
                  </a:cubicBezTo>
                  <a:cubicBezTo>
                    <a:pt x="5" y="1"/>
                    <a:pt x="5" y="1"/>
                    <a:pt x="5"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4" name="Freeform 31">
              <a:extLst>
                <a:ext uri="{FF2B5EF4-FFF2-40B4-BE49-F238E27FC236}">
                  <a16:creationId xmlns:a16="http://schemas.microsoft.com/office/drawing/2014/main" id="{FDB8261C-0711-4900-B9F4-A115262A6FE7}"/>
                </a:ext>
              </a:extLst>
            </p:cNvPr>
            <p:cNvSpPr>
              <a:spLocks/>
            </p:cNvSpPr>
            <p:nvPr/>
          </p:nvSpPr>
          <p:spPr bwMode="auto">
            <a:xfrm>
              <a:off x="9100160" y="1121345"/>
              <a:ext cx="26833" cy="14123"/>
            </a:xfrm>
            <a:custGeom>
              <a:avLst/>
              <a:gdLst>
                <a:gd name="T0" fmla="*/ 8 w 8"/>
                <a:gd name="T1" fmla="*/ 0 h 4"/>
                <a:gd name="T2" fmla="*/ 0 w 8"/>
                <a:gd name="T3" fmla="*/ 4 h 4"/>
                <a:gd name="T4" fmla="*/ 1 w 8"/>
                <a:gd name="T5" fmla="*/ 4 h 4"/>
                <a:gd name="T6" fmla="*/ 5 w 8"/>
                <a:gd name="T7" fmla="*/ 4 h 4"/>
                <a:gd name="T8" fmla="*/ 8 w 8"/>
                <a:gd name="T9" fmla="*/ 0 h 4"/>
              </a:gdLst>
              <a:ahLst/>
              <a:cxnLst>
                <a:cxn ang="0">
                  <a:pos x="T0" y="T1"/>
                </a:cxn>
                <a:cxn ang="0">
                  <a:pos x="T2" y="T3"/>
                </a:cxn>
                <a:cxn ang="0">
                  <a:pos x="T4" y="T5"/>
                </a:cxn>
                <a:cxn ang="0">
                  <a:pos x="T6" y="T7"/>
                </a:cxn>
                <a:cxn ang="0">
                  <a:pos x="T8" y="T9"/>
                </a:cxn>
              </a:cxnLst>
              <a:rect l="0" t="0" r="r" b="b"/>
              <a:pathLst>
                <a:path w="8" h="4">
                  <a:moveTo>
                    <a:pt x="8" y="0"/>
                  </a:moveTo>
                  <a:cubicBezTo>
                    <a:pt x="5" y="1"/>
                    <a:pt x="3" y="3"/>
                    <a:pt x="0" y="4"/>
                  </a:cubicBezTo>
                  <a:cubicBezTo>
                    <a:pt x="1" y="4"/>
                    <a:pt x="1" y="4"/>
                    <a:pt x="1" y="4"/>
                  </a:cubicBezTo>
                  <a:cubicBezTo>
                    <a:pt x="2" y="4"/>
                    <a:pt x="4" y="4"/>
                    <a:pt x="5" y="4"/>
                  </a:cubicBezTo>
                  <a:cubicBezTo>
                    <a:pt x="7" y="3"/>
                    <a:pt x="8" y="2"/>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5" name="Freeform 32">
              <a:extLst>
                <a:ext uri="{FF2B5EF4-FFF2-40B4-BE49-F238E27FC236}">
                  <a16:creationId xmlns:a16="http://schemas.microsoft.com/office/drawing/2014/main" id="{A33495FF-8368-4E3F-8017-A60C4505C76E}"/>
                </a:ext>
              </a:extLst>
            </p:cNvPr>
            <p:cNvSpPr>
              <a:spLocks/>
            </p:cNvSpPr>
            <p:nvPr/>
          </p:nvSpPr>
          <p:spPr bwMode="auto">
            <a:xfrm>
              <a:off x="9083213" y="903855"/>
              <a:ext cx="16947" cy="31070"/>
            </a:xfrm>
            <a:custGeom>
              <a:avLst/>
              <a:gdLst>
                <a:gd name="T0" fmla="*/ 3 w 5"/>
                <a:gd name="T1" fmla="*/ 0 h 9"/>
                <a:gd name="T2" fmla="*/ 0 w 5"/>
                <a:gd name="T3" fmla="*/ 6 h 9"/>
                <a:gd name="T4" fmla="*/ 3 w 5"/>
                <a:gd name="T5" fmla="*/ 9 h 9"/>
                <a:gd name="T6" fmla="*/ 4 w 5"/>
                <a:gd name="T7" fmla="*/ 5 h 9"/>
                <a:gd name="T8" fmla="*/ 3 w 5"/>
                <a:gd name="T9" fmla="*/ 0 h 9"/>
              </a:gdLst>
              <a:ahLst/>
              <a:cxnLst>
                <a:cxn ang="0">
                  <a:pos x="T0" y="T1"/>
                </a:cxn>
                <a:cxn ang="0">
                  <a:pos x="T2" y="T3"/>
                </a:cxn>
                <a:cxn ang="0">
                  <a:pos x="T4" y="T5"/>
                </a:cxn>
                <a:cxn ang="0">
                  <a:pos x="T6" y="T7"/>
                </a:cxn>
                <a:cxn ang="0">
                  <a:pos x="T8" y="T9"/>
                </a:cxn>
              </a:cxnLst>
              <a:rect l="0" t="0" r="r" b="b"/>
              <a:pathLst>
                <a:path w="5" h="9">
                  <a:moveTo>
                    <a:pt x="3" y="0"/>
                  </a:moveTo>
                  <a:cubicBezTo>
                    <a:pt x="2" y="1"/>
                    <a:pt x="0" y="4"/>
                    <a:pt x="0" y="6"/>
                  </a:cubicBezTo>
                  <a:cubicBezTo>
                    <a:pt x="0" y="8"/>
                    <a:pt x="2" y="8"/>
                    <a:pt x="3" y="9"/>
                  </a:cubicBezTo>
                  <a:cubicBezTo>
                    <a:pt x="3" y="8"/>
                    <a:pt x="4" y="6"/>
                    <a:pt x="4" y="5"/>
                  </a:cubicBezTo>
                  <a:cubicBezTo>
                    <a:pt x="5" y="3"/>
                    <a:pt x="4"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6" name="Freeform 33">
              <a:extLst>
                <a:ext uri="{FF2B5EF4-FFF2-40B4-BE49-F238E27FC236}">
                  <a16:creationId xmlns:a16="http://schemas.microsoft.com/office/drawing/2014/main" id="{3918DC7F-1759-4665-8CB1-E02D4BA0FA6C}"/>
                </a:ext>
              </a:extLst>
            </p:cNvPr>
            <p:cNvSpPr>
              <a:spLocks/>
            </p:cNvSpPr>
            <p:nvPr/>
          </p:nvSpPr>
          <p:spPr bwMode="auto">
            <a:xfrm>
              <a:off x="8943398" y="643997"/>
              <a:ext cx="16947" cy="9886"/>
            </a:xfrm>
            <a:custGeom>
              <a:avLst/>
              <a:gdLst>
                <a:gd name="T0" fmla="*/ 0 w 5"/>
                <a:gd name="T1" fmla="*/ 0 h 3"/>
                <a:gd name="T2" fmla="*/ 5 w 5"/>
                <a:gd name="T3" fmla="*/ 3 h 3"/>
                <a:gd name="T4" fmla="*/ 0 w 5"/>
                <a:gd name="T5" fmla="*/ 0 h 3"/>
              </a:gdLst>
              <a:ahLst/>
              <a:cxnLst>
                <a:cxn ang="0">
                  <a:pos x="T0" y="T1"/>
                </a:cxn>
                <a:cxn ang="0">
                  <a:pos x="T2" y="T3"/>
                </a:cxn>
                <a:cxn ang="0">
                  <a:pos x="T4" y="T5"/>
                </a:cxn>
              </a:cxnLst>
              <a:rect l="0" t="0" r="r" b="b"/>
              <a:pathLst>
                <a:path w="5" h="3">
                  <a:moveTo>
                    <a:pt x="0" y="0"/>
                  </a:moveTo>
                  <a:cubicBezTo>
                    <a:pt x="1" y="2"/>
                    <a:pt x="3" y="3"/>
                    <a:pt x="5" y="3"/>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7" name="Freeform 34">
              <a:extLst>
                <a:ext uri="{FF2B5EF4-FFF2-40B4-BE49-F238E27FC236}">
                  <a16:creationId xmlns:a16="http://schemas.microsoft.com/office/drawing/2014/main" id="{AAB8DD5C-86EA-4224-97CA-3F7407E81F1A}"/>
                </a:ext>
              </a:extLst>
            </p:cNvPr>
            <p:cNvSpPr>
              <a:spLocks/>
            </p:cNvSpPr>
            <p:nvPr/>
          </p:nvSpPr>
          <p:spPr bwMode="auto">
            <a:xfrm>
              <a:off x="8605866" y="553611"/>
              <a:ext cx="129929" cy="46605"/>
            </a:xfrm>
            <a:custGeom>
              <a:avLst/>
              <a:gdLst>
                <a:gd name="T0" fmla="*/ 3 w 39"/>
                <a:gd name="T1" fmla="*/ 0 h 14"/>
                <a:gd name="T2" fmla="*/ 0 w 39"/>
                <a:gd name="T3" fmla="*/ 5 h 14"/>
                <a:gd name="T4" fmla="*/ 1 w 39"/>
                <a:gd name="T5" fmla="*/ 9 h 14"/>
                <a:gd name="T6" fmla="*/ 5 w 39"/>
                <a:gd name="T7" fmla="*/ 13 h 14"/>
                <a:gd name="T8" fmla="*/ 5 w 39"/>
                <a:gd name="T9" fmla="*/ 13 h 14"/>
                <a:gd name="T10" fmla="*/ 10 w 39"/>
                <a:gd name="T11" fmla="*/ 13 h 14"/>
                <a:gd name="T12" fmla="*/ 14 w 39"/>
                <a:gd name="T13" fmla="*/ 12 h 14"/>
                <a:gd name="T14" fmla="*/ 22 w 39"/>
                <a:gd name="T15" fmla="*/ 13 h 14"/>
                <a:gd name="T16" fmla="*/ 25 w 39"/>
                <a:gd name="T17" fmla="*/ 14 h 14"/>
                <a:gd name="T18" fmla="*/ 33 w 39"/>
                <a:gd name="T19" fmla="*/ 11 h 14"/>
                <a:gd name="T20" fmla="*/ 34 w 39"/>
                <a:gd name="T21" fmla="*/ 3 h 14"/>
                <a:gd name="T22" fmla="*/ 28 w 39"/>
                <a:gd name="T23" fmla="*/ 1 h 14"/>
                <a:gd name="T24" fmla="*/ 28 w 39"/>
                <a:gd name="T25" fmla="*/ 1 h 14"/>
                <a:gd name="T26" fmla="*/ 27 w 39"/>
                <a:gd name="T27" fmla="*/ 2 h 14"/>
                <a:gd name="T28" fmla="*/ 26 w 39"/>
                <a:gd name="T29" fmla="*/ 2 h 14"/>
                <a:gd name="T30" fmla="*/ 26 w 39"/>
                <a:gd name="T31" fmla="*/ 2 h 14"/>
                <a:gd name="T32" fmla="*/ 25 w 39"/>
                <a:gd name="T33" fmla="*/ 1 h 14"/>
                <a:gd name="T34" fmla="*/ 20 w 39"/>
                <a:gd name="T35" fmla="*/ 1 h 14"/>
                <a:gd name="T36" fmla="*/ 3 w 39"/>
                <a:gd name="T3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14">
                  <a:moveTo>
                    <a:pt x="3" y="0"/>
                  </a:moveTo>
                  <a:cubicBezTo>
                    <a:pt x="2" y="2"/>
                    <a:pt x="0" y="2"/>
                    <a:pt x="0" y="5"/>
                  </a:cubicBezTo>
                  <a:cubicBezTo>
                    <a:pt x="0" y="6"/>
                    <a:pt x="1" y="8"/>
                    <a:pt x="1" y="9"/>
                  </a:cubicBezTo>
                  <a:cubicBezTo>
                    <a:pt x="2" y="12"/>
                    <a:pt x="2" y="13"/>
                    <a:pt x="5" y="13"/>
                  </a:cubicBezTo>
                  <a:cubicBezTo>
                    <a:pt x="5" y="13"/>
                    <a:pt x="5" y="13"/>
                    <a:pt x="5" y="13"/>
                  </a:cubicBezTo>
                  <a:cubicBezTo>
                    <a:pt x="7" y="13"/>
                    <a:pt x="9" y="13"/>
                    <a:pt x="10" y="13"/>
                  </a:cubicBezTo>
                  <a:cubicBezTo>
                    <a:pt x="11" y="12"/>
                    <a:pt x="12" y="12"/>
                    <a:pt x="14" y="12"/>
                  </a:cubicBezTo>
                  <a:cubicBezTo>
                    <a:pt x="17" y="12"/>
                    <a:pt x="21" y="13"/>
                    <a:pt x="22" y="13"/>
                  </a:cubicBezTo>
                  <a:cubicBezTo>
                    <a:pt x="23" y="14"/>
                    <a:pt x="24" y="14"/>
                    <a:pt x="25" y="14"/>
                  </a:cubicBezTo>
                  <a:cubicBezTo>
                    <a:pt x="28" y="14"/>
                    <a:pt x="32" y="12"/>
                    <a:pt x="33" y="11"/>
                  </a:cubicBezTo>
                  <a:cubicBezTo>
                    <a:pt x="36" y="7"/>
                    <a:pt x="39" y="5"/>
                    <a:pt x="34" y="3"/>
                  </a:cubicBezTo>
                  <a:cubicBezTo>
                    <a:pt x="32" y="2"/>
                    <a:pt x="30" y="2"/>
                    <a:pt x="28" y="1"/>
                  </a:cubicBezTo>
                  <a:cubicBezTo>
                    <a:pt x="28" y="1"/>
                    <a:pt x="28" y="1"/>
                    <a:pt x="28" y="1"/>
                  </a:cubicBezTo>
                  <a:cubicBezTo>
                    <a:pt x="28" y="1"/>
                    <a:pt x="28" y="1"/>
                    <a:pt x="27" y="2"/>
                  </a:cubicBezTo>
                  <a:cubicBezTo>
                    <a:pt x="27" y="2"/>
                    <a:pt x="27" y="2"/>
                    <a:pt x="26" y="2"/>
                  </a:cubicBezTo>
                  <a:cubicBezTo>
                    <a:pt x="26" y="2"/>
                    <a:pt x="26" y="2"/>
                    <a:pt x="26" y="2"/>
                  </a:cubicBezTo>
                  <a:cubicBezTo>
                    <a:pt x="26" y="1"/>
                    <a:pt x="26" y="1"/>
                    <a:pt x="25" y="1"/>
                  </a:cubicBezTo>
                  <a:cubicBezTo>
                    <a:pt x="23" y="1"/>
                    <a:pt x="22" y="1"/>
                    <a:pt x="20" y="1"/>
                  </a:cubicBezTo>
                  <a:cubicBezTo>
                    <a:pt x="14" y="1"/>
                    <a:pt x="9"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8" name="Freeform 35">
              <a:extLst>
                <a:ext uri="{FF2B5EF4-FFF2-40B4-BE49-F238E27FC236}">
                  <a16:creationId xmlns:a16="http://schemas.microsoft.com/office/drawing/2014/main" id="{8D098FAF-BA4E-41CC-831C-DCBAC6EC7333}"/>
                </a:ext>
              </a:extLst>
            </p:cNvPr>
            <p:cNvSpPr>
              <a:spLocks/>
            </p:cNvSpPr>
            <p:nvPr/>
          </p:nvSpPr>
          <p:spPr bwMode="auto">
            <a:xfrm>
              <a:off x="8732970" y="583269"/>
              <a:ext cx="16947" cy="4237"/>
            </a:xfrm>
            <a:custGeom>
              <a:avLst/>
              <a:gdLst>
                <a:gd name="T0" fmla="*/ 5 w 5"/>
                <a:gd name="T1" fmla="*/ 0 h 1"/>
                <a:gd name="T2" fmla="*/ 0 w 5"/>
                <a:gd name="T3" fmla="*/ 1 h 1"/>
                <a:gd name="T4" fmla="*/ 3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4" y="0"/>
                    <a:pt x="2" y="0"/>
                    <a:pt x="0" y="1"/>
                  </a:cubicBezTo>
                  <a:cubicBezTo>
                    <a:pt x="2" y="1"/>
                    <a:pt x="2" y="1"/>
                    <a:pt x="3" y="1"/>
                  </a:cubicBezTo>
                  <a:cubicBezTo>
                    <a:pt x="4" y="1"/>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9" name="Freeform 36">
              <a:extLst>
                <a:ext uri="{FF2B5EF4-FFF2-40B4-BE49-F238E27FC236}">
                  <a16:creationId xmlns:a16="http://schemas.microsoft.com/office/drawing/2014/main" id="{BAAC5BDC-C830-4030-BBB7-EB0618EE31BC}"/>
                </a:ext>
              </a:extLst>
            </p:cNvPr>
            <p:cNvSpPr>
              <a:spLocks/>
            </p:cNvSpPr>
            <p:nvPr/>
          </p:nvSpPr>
          <p:spPr bwMode="auto">
            <a:xfrm>
              <a:off x="8997064" y="690602"/>
              <a:ext cx="2825" cy="9886"/>
            </a:xfrm>
            <a:custGeom>
              <a:avLst/>
              <a:gdLst>
                <a:gd name="T0" fmla="*/ 0 w 1"/>
                <a:gd name="T1" fmla="*/ 0 h 3"/>
                <a:gd name="T2" fmla="*/ 0 w 1"/>
                <a:gd name="T3" fmla="*/ 3 h 3"/>
                <a:gd name="T4" fmla="*/ 0 w 1"/>
                <a:gd name="T5" fmla="*/ 0 h 3"/>
              </a:gdLst>
              <a:ahLst/>
              <a:cxnLst>
                <a:cxn ang="0">
                  <a:pos x="T0" y="T1"/>
                </a:cxn>
                <a:cxn ang="0">
                  <a:pos x="T2" y="T3"/>
                </a:cxn>
                <a:cxn ang="0">
                  <a:pos x="T4" y="T5"/>
                </a:cxn>
              </a:cxnLst>
              <a:rect l="0" t="0" r="r" b="b"/>
              <a:pathLst>
                <a:path w="1" h="3">
                  <a:moveTo>
                    <a:pt x="0" y="0"/>
                  </a:moveTo>
                  <a:cubicBezTo>
                    <a:pt x="0" y="1"/>
                    <a:pt x="0" y="2"/>
                    <a:pt x="0" y="3"/>
                  </a:cubicBezTo>
                  <a:cubicBezTo>
                    <a:pt x="0"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0" name="Freeform 37">
              <a:extLst>
                <a:ext uri="{FF2B5EF4-FFF2-40B4-BE49-F238E27FC236}">
                  <a16:creationId xmlns:a16="http://schemas.microsoft.com/office/drawing/2014/main" id="{5F7C23B2-5E7F-4A4A-86C2-14D0FF2BEEAA}"/>
                </a:ext>
              </a:extLst>
            </p:cNvPr>
            <p:cNvSpPr>
              <a:spLocks/>
            </p:cNvSpPr>
            <p:nvPr/>
          </p:nvSpPr>
          <p:spPr bwMode="auto">
            <a:xfrm>
              <a:off x="9066266" y="844540"/>
              <a:ext cx="36719" cy="33895"/>
            </a:xfrm>
            <a:custGeom>
              <a:avLst/>
              <a:gdLst>
                <a:gd name="T0" fmla="*/ 3 w 11"/>
                <a:gd name="T1" fmla="*/ 0 h 10"/>
                <a:gd name="T2" fmla="*/ 3 w 11"/>
                <a:gd name="T3" fmla="*/ 5 h 10"/>
                <a:gd name="T4" fmla="*/ 6 w 11"/>
                <a:gd name="T5" fmla="*/ 8 h 10"/>
                <a:gd name="T6" fmla="*/ 5 w 11"/>
                <a:gd name="T7" fmla="*/ 8 h 10"/>
                <a:gd name="T8" fmla="*/ 5 w 11"/>
                <a:gd name="T9" fmla="*/ 10 h 10"/>
                <a:gd name="T10" fmla="*/ 7 w 11"/>
                <a:gd name="T11" fmla="*/ 9 h 10"/>
                <a:gd name="T12" fmla="*/ 8 w 11"/>
                <a:gd name="T13" fmla="*/ 9 h 10"/>
                <a:gd name="T14" fmla="*/ 9 w 11"/>
                <a:gd name="T15" fmla="*/ 9 h 10"/>
                <a:gd name="T16" fmla="*/ 11 w 11"/>
                <a:gd name="T17" fmla="*/ 9 h 10"/>
                <a:gd name="T18" fmla="*/ 4 w 11"/>
                <a:gd name="T19" fmla="*/ 0 h 10"/>
                <a:gd name="T20" fmla="*/ 3 w 11"/>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0">
                  <a:moveTo>
                    <a:pt x="3" y="0"/>
                  </a:moveTo>
                  <a:cubicBezTo>
                    <a:pt x="0" y="0"/>
                    <a:pt x="2" y="4"/>
                    <a:pt x="3" y="5"/>
                  </a:cubicBezTo>
                  <a:cubicBezTo>
                    <a:pt x="4" y="6"/>
                    <a:pt x="8" y="8"/>
                    <a:pt x="6" y="8"/>
                  </a:cubicBezTo>
                  <a:cubicBezTo>
                    <a:pt x="6" y="8"/>
                    <a:pt x="5" y="8"/>
                    <a:pt x="5" y="8"/>
                  </a:cubicBezTo>
                  <a:cubicBezTo>
                    <a:pt x="5" y="8"/>
                    <a:pt x="5" y="9"/>
                    <a:pt x="5" y="10"/>
                  </a:cubicBezTo>
                  <a:cubicBezTo>
                    <a:pt x="6" y="9"/>
                    <a:pt x="7" y="9"/>
                    <a:pt x="7" y="9"/>
                  </a:cubicBezTo>
                  <a:cubicBezTo>
                    <a:pt x="8" y="9"/>
                    <a:pt x="8" y="9"/>
                    <a:pt x="8" y="9"/>
                  </a:cubicBezTo>
                  <a:cubicBezTo>
                    <a:pt x="9" y="9"/>
                    <a:pt x="9" y="9"/>
                    <a:pt x="9" y="9"/>
                  </a:cubicBezTo>
                  <a:cubicBezTo>
                    <a:pt x="10" y="9"/>
                    <a:pt x="10" y="9"/>
                    <a:pt x="11" y="9"/>
                  </a:cubicBezTo>
                  <a:cubicBezTo>
                    <a:pt x="10" y="5"/>
                    <a:pt x="7" y="1"/>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1" name="Freeform 39">
              <a:extLst>
                <a:ext uri="{FF2B5EF4-FFF2-40B4-BE49-F238E27FC236}">
                  <a16:creationId xmlns:a16="http://schemas.microsoft.com/office/drawing/2014/main" id="{99EAF9E8-64FF-43E0-A3D1-FBEFC4E58395}"/>
                </a:ext>
              </a:extLst>
            </p:cNvPr>
            <p:cNvSpPr>
              <a:spLocks/>
            </p:cNvSpPr>
            <p:nvPr/>
          </p:nvSpPr>
          <p:spPr bwMode="auto">
            <a:xfrm>
              <a:off x="7744381" y="553611"/>
              <a:ext cx="168060" cy="63552"/>
            </a:xfrm>
            <a:custGeom>
              <a:avLst/>
              <a:gdLst>
                <a:gd name="T0" fmla="*/ 14 w 50"/>
                <a:gd name="T1" fmla="*/ 0 h 19"/>
                <a:gd name="T2" fmla="*/ 0 w 50"/>
                <a:gd name="T3" fmla="*/ 5 h 19"/>
                <a:gd name="T4" fmla="*/ 22 w 50"/>
                <a:gd name="T5" fmla="*/ 16 h 19"/>
                <a:gd name="T6" fmla="*/ 28 w 50"/>
                <a:gd name="T7" fmla="*/ 19 h 19"/>
                <a:gd name="T8" fmla="*/ 28 w 50"/>
                <a:gd name="T9" fmla="*/ 19 h 19"/>
                <a:gd name="T10" fmla="*/ 27 w 50"/>
                <a:gd name="T11" fmla="*/ 18 h 19"/>
                <a:gd name="T12" fmla="*/ 28 w 50"/>
                <a:gd name="T13" fmla="*/ 15 h 19"/>
                <a:gd name="T14" fmla="*/ 33 w 50"/>
                <a:gd name="T15" fmla="*/ 14 h 19"/>
                <a:gd name="T16" fmla="*/ 36 w 50"/>
                <a:gd name="T17" fmla="*/ 13 h 19"/>
                <a:gd name="T18" fmla="*/ 40 w 50"/>
                <a:gd name="T19" fmla="*/ 14 h 19"/>
                <a:gd name="T20" fmla="*/ 46 w 50"/>
                <a:gd name="T21" fmla="*/ 15 h 19"/>
                <a:gd name="T22" fmla="*/ 50 w 50"/>
                <a:gd name="T23" fmla="*/ 15 h 19"/>
                <a:gd name="T24" fmla="*/ 33 w 50"/>
                <a:gd name="T25" fmla="*/ 4 h 19"/>
                <a:gd name="T26" fmla="*/ 14 w 50"/>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19">
                  <a:moveTo>
                    <a:pt x="14" y="0"/>
                  </a:moveTo>
                  <a:cubicBezTo>
                    <a:pt x="9" y="1"/>
                    <a:pt x="5" y="3"/>
                    <a:pt x="0" y="5"/>
                  </a:cubicBezTo>
                  <a:cubicBezTo>
                    <a:pt x="7" y="9"/>
                    <a:pt x="14" y="15"/>
                    <a:pt x="22" y="16"/>
                  </a:cubicBezTo>
                  <a:cubicBezTo>
                    <a:pt x="24" y="16"/>
                    <a:pt x="26" y="19"/>
                    <a:pt x="28" y="19"/>
                  </a:cubicBezTo>
                  <a:cubicBezTo>
                    <a:pt x="28" y="19"/>
                    <a:pt x="28" y="19"/>
                    <a:pt x="28" y="19"/>
                  </a:cubicBezTo>
                  <a:cubicBezTo>
                    <a:pt x="27" y="18"/>
                    <a:pt x="27" y="18"/>
                    <a:pt x="27" y="18"/>
                  </a:cubicBezTo>
                  <a:cubicBezTo>
                    <a:pt x="27" y="17"/>
                    <a:pt x="28" y="16"/>
                    <a:pt x="28" y="15"/>
                  </a:cubicBezTo>
                  <a:cubicBezTo>
                    <a:pt x="29" y="14"/>
                    <a:pt x="32" y="14"/>
                    <a:pt x="33" y="14"/>
                  </a:cubicBezTo>
                  <a:cubicBezTo>
                    <a:pt x="34" y="13"/>
                    <a:pt x="35" y="13"/>
                    <a:pt x="36" y="13"/>
                  </a:cubicBezTo>
                  <a:cubicBezTo>
                    <a:pt x="37" y="13"/>
                    <a:pt x="38" y="14"/>
                    <a:pt x="40" y="14"/>
                  </a:cubicBezTo>
                  <a:cubicBezTo>
                    <a:pt x="43" y="15"/>
                    <a:pt x="45" y="15"/>
                    <a:pt x="46" y="15"/>
                  </a:cubicBezTo>
                  <a:cubicBezTo>
                    <a:pt x="48" y="15"/>
                    <a:pt x="49" y="15"/>
                    <a:pt x="50" y="15"/>
                  </a:cubicBezTo>
                  <a:cubicBezTo>
                    <a:pt x="48" y="9"/>
                    <a:pt x="39" y="6"/>
                    <a:pt x="33" y="4"/>
                  </a:cubicBezTo>
                  <a:cubicBezTo>
                    <a:pt x="27" y="1"/>
                    <a:pt x="21" y="1"/>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2" name="Freeform 40">
              <a:extLst>
                <a:ext uri="{FF2B5EF4-FFF2-40B4-BE49-F238E27FC236}">
                  <a16:creationId xmlns:a16="http://schemas.microsoft.com/office/drawing/2014/main" id="{925320E8-B1EE-4116-90B3-44991B474EFF}"/>
                </a:ext>
              </a:extLst>
            </p:cNvPr>
            <p:cNvSpPr>
              <a:spLocks/>
            </p:cNvSpPr>
            <p:nvPr/>
          </p:nvSpPr>
          <p:spPr bwMode="auto">
            <a:xfrm>
              <a:off x="7156877" y="714610"/>
              <a:ext cx="7061" cy="5649"/>
            </a:xfrm>
            <a:custGeom>
              <a:avLst/>
              <a:gdLst>
                <a:gd name="T0" fmla="*/ 2 w 2"/>
                <a:gd name="T1" fmla="*/ 0 h 2"/>
                <a:gd name="T2" fmla="*/ 0 w 2"/>
                <a:gd name="T3" fmla="*/ 2 h 2"/>
                <a:gd name="T4" fmla="*/ 2 w 2"/>
                <a:gd name="T5" fmla="*/ 0 h 2"/>
                <a:gd name="T6" fmla="*/ 2 w 2"/>
                <a:gd name="T7" fmla="*/ 0 h 2"/>
              </a:gdLst>
              <a:ahLst/>
              <a:cxnLst>
                <a:cxn ang="0">
                  <a:pos x="T0" y="T1"/>
                </a:cxn>
                <a:cxn ang="0">
                  <a:pos x="T2" y="T3"/>
                </a:cxn>
                <a:cxn ang="0">
                  <a:pos x="T4" y="T5"/>
                </a:cxn>
                <a:cxn ang="0">
                  <a:pos x="T6" y="T7"/>
                </a:cxn>
              </a:cxnLst>
              <a:rect l="0" t="0" r="r" b="b"/>
              <a:pathLst>
                <a:path w="2" h="2">
                  <a:moveTo>
                    <a:pt x="2" y="0"/>
                  </a:moveTo>
                  <a:cubicBezTo>
                    <a:pt x="1" y="0"/>
                    <a:pt x="0" y="1"/>
                    <a:pt x="0" y="2"/>
                  </a:cubicBezTo>
                  <a:cubicBezTo>
                    <a:pt x="0" y="2"/>
                    <a:pt x="1" y="1"/>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3" name="Freeform 41">
              <a:extLst>
                <a:ext uri="{FF2B5EF4-FFF2-40B4-BE49-F238E27FC236}">
                  <a16:creationId xmlns:a16="http://schemas.microsoft.com/office/drawing/2014/main" id="{23905BA3-79A4-4BA9-BAA5-F35FF76146CE}"/>
                </a:ext>
              </a:extLst>
            </p:cNvPr>
            <p:cNvSpPr>
              <a:spLocks/>
            </p:cNvSpPr>
            <p:nvPr/>
          </p:nvSpPr>
          <p:spPr bwMode="auto">
            <a:xfrm>
              <a:off x="8135580" y="521129"/>
              <a:ext cx="43780" cy="15535"/>
            </a:xfrm>
            <a:custGeom>
              <a:avLst/>
              <a:gdLst>
                <a:gd name="T0" fmla="*/ 1 w 13"/>
                <a:gd name="T1" fmla="*/ 0 h 5"/>
                <a:gd name="T2" fmla="*/ 0 w 13"/>
                <a:gd name="T3" fmla="*/ 0 h 5"/>
                <a:gd name="T4" fmla="*/ 8 w 13"/>
                <a:gd name="T5" fmla="*/ 4 h 5"/>
                <a:gd name="T6" fmla="*/ 12 w 13"/>
                <a:gd name="T7" fmla="*/ 5 h 5"/>
                <a:gd name="T8" fmla="*/ 1 w 13"/>
                <a:gd name="T9" fmla="*/ 0 h 5"/>
              </a:gdLst>
              <a:ahLst/>
              <a:cxnLst>
                <a:cxn ang="0">
                  <a:pos x="T0" y="T1"/>
                </a:cxn>
                <a:cxn ang="0">
                  <a:pos x="T2" y="T3"/>
                </a:cxn>
                <a:cxn ang="0">
                  <a:pos x="T4" y="T5"/>
                </a:cxn>
                <a:cxn ang="0">
                  <a:pos x="T6" y="T7"/>
                </a:cxn>
                <a:cxn ang="0">
                  <a:pos x="T8" y="T9"/>
                </a:cxn>
              </a:cxnLst>
              <a:rect l="0" t="0" r="r" b="b"/>
              <a:pathLst>
                <a:path w="13" h="5">
                  <a:moveTo>
                    <a:pt x="1" y="0"/>
                  </a:moveTo>
                  <a:cubicBezTo>
                    <a:pt x="1" y="0"/>
                    <a:pt x="1" y="0"/>
                    <a:pt x="0" y="0"/>
                  </a:cubicBezTo>
                  <a:cubicBezTo>
                    <a:pt x="2" y="2"/>
                    <a:pt x="6" y="4"/>
                    <a:pt x="8" y="4"/>
                  </a:cubicBezTo>
                  <a:cubicBezTo>
                    <a:pt x="9" y="5"/>
                    <a:pt x="11" y="5"/>
                    <a:pt x="12" y="5"/>
                  </a:cubicBezTo>
                  <a:cubicBezTo>
                    <a:pt x="13" y="1"/>
                    <a:pt x="5"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4" name="Freeform 42">
              <a:extLst>
                <a:ext uri="{FF2B5EF4-FFF2-40B4-BE49-F238E27FC236}">
                  <a16:creationId xmlns:a16="http://schemas.microsoft.com/office/drawing/2014/main" id="{134234CC-C645-4FF3-AB38-22D83F33861B}"/>
                </a:ext>
              </a:extLst>
            </p:cNvPr>
            <p:cNvSpPr>
              <a:spLocks/>
            </p:cNvSpPr>
            <p:nvPr/>
          </p:nvSpPr>
          <p:spPr bwMode="auto">
            <a:xfrm>
              <a:off x="8162413" y="430743"/>
              <a:ext cx="26833" cy="2825"/>
            </a:xfrm>
            <a:custGeom>
              <a:avLst/>
              <a:gdLst>
                <a:gd name="T0" fmla="*/ 0 w 8"/>
                <a:gd name="T1" fmla="*/ 0 h 1"/>
                <a:gd name="T2" fmla="*/ 2 w 8"/>
                <a:gd name="T3" fmla="*/ 0 h 1"/>
                <a:gd name="T4" fmla="*/ 8 w 8"/>
                <a:gd name="T5" fmla="*/ 1 h 1"/>
                <a:gd name="T6" fmla="*/ 8 w 8"/>
                <a:gd name="T7" fmla="*/ 1 h 1"/>
                <a:gd name="T8" fmla="*/ 8 w 8"/>
                <a:gd name="T9" fmla="*/ 1 h 1"/>
                <a:gd name="T10" fmla="*/ 8 w 8"/>
                <a:gd name="T11" fmla="*/ 1 h 1"/>
                <a:gd name="T12" fmla="*/ 8 w 8"/>
                <a:gd name="T13" fmla="*/ 1 h 1"/>
                <a:gd name="T14" fmla="*/ 7 w 8"/>
                <a:gd name="T15" fmla="*/ 1 h 1"/>
                <a:gd name="T16" fmla="*/ 5 w 8"/>
                <a:gd name="T17" fmla="*/ 1 h 1"/>
                <a:gd name="T18" fmla="*/ 0 w 8"/>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
                  <a:moveTo>
                    <a:pt x="0" y="0"/>
                  </a:moveTo>
                  <a:cubicBezTo>
                    <a:pt x="1" y="0"/>
                    <a:pt x="1" y="0"/>
                    <a:pt x="2" y="0"/>
                  </a:cubicBezTo>
                  <a:cubicBezTo>
                    <a:pt x="4" y="1"/>
                    <a:pt x="6"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6" y="1"/>
                    <a:pt x="6" y="1"/>
                    <a:pt x="5" y="1"/>
                  </a:cubicBezTo>
                  <a:cubicBezTo>
                    <a:pt x="4"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5" name="Freeform 43">
              <a:extLst>
                <a:ext uri="{FF2B5EF4-FFF2-40B4-BE49-F238E27FC236}">
                  <a16:creationId xmlns:a16="http://schemas.microsoft.com/office/drawing/2014/main" id="{CF627D3F-7ADA-4FC6-BC01-33461F19EFF4}"/>
                </a:ext>
              </a:extLst>
            </p:cNvPr>
            <p:cNvSpPr>
              <a:spLocks/>
            </p:cNvSpPr>
            <p:nvPr/>
          </p:nvSpPr>
          <p:spPr bwMode="auto">
            <a:xfrm>
              <a:off x="9039432" y="717435"/>
              <a:ext cx="33894" cy="19772"/>
            </a:xfrm>
            <a:custGeom>
              <a:avLst/>
              <a:gdLst>
                <a:gd name="T0" fmla="*/ 5 w 10"/>
                <a:gd name="T1" fmla="*/ 0 h 6"/>
                <a:gd name="T2" fmla="*/ 4 w 10"/>
                <a:gd name="T3" fmla="*/ 6 h 6"/>
                <a:gd name="T4" fmla="*/ 4 w 10"/>
                <a:gd name="T5" fmla="*/ 6 h 6"/>
                <a:gd name="T6" fmla="*/ 7 w 10"/>
                <a:gd name="T7" fmla="*/ 5 h 6"/>
                <a:gd name="T8" fmla="*/ 10 w 10"/>
                <a:gd name="T9" fmla="*/ 5 h 6"/>
                <a:gd name="T10" fmla="*/ 10 w 10"/>
                <a:gd name="T11" fmla="*/ 5 h 6"/>
                <a:gd name="T12" fmla="*/ 5 w 10"/>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5" y="0"/>
                  </a:moveTo>
                  <a:cubicBezTo>
                    <a:pt x="3" y="1"/>
                    <a:pt x="0" y="5"/>
                    <a:pt x="4" y="6"/>
                  </a:cubicBezTo>
                  <a:cubicBezTo>
                    <a:pt x="4" y="6"/>
                    <a:pt x="4" y="6"/>
                    <a:pt x="4" y="6"/>
                  </a:cubicBezTo>
                  <a:cubicBezTo>
                    <a:pt x="5" y="6"/>
                    <a:pt x="6" y="6"/>
                    <a:pt x="7" y="5"/>
                  </a:cubicBezTo>
                  <a:cubicBezTo>
                    <a:pt x="8" y="5"/>
                    <a:pt x="9" y="5"/>
                    <a:pt x="10" y="5"/>
                  </a:cubicBezTo>
                  <a:cubicBezTo>
                    <a:pt x="10" y="5"/>
                    <a:pt x="10" y="5"/>
                    <a:pt x="10" y="5"/>
                  </a:cubicBezTo>
                  <a:cubicBezTo>
                    <a:pt x="9" y="4"/>
                    <a:pt x="5" y="3"/>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6" name="Freeform 44">
              <a:extLst>
                <a:ext uri="{FF2B5EF4-FFF2-40B4-BE49-F238E27FC236}">
                  <a16:creationId xmlns:a16="http://schemas.microsoft.com/office/drawing/2014/main" id="{4B16FD90-B470-4C17-A415-C01C3978D2BA}"/>
                </a:ext>
              </a:extLst>
            </p:cNvPr>
            <p:cNvSpPr>
              <a:spLocks/>
            </p:cNvSpPr>
            <p:nvPr/>
          </p:nvSpPr>
          <p:spPr bwMode="auto">
            <a:xfrm>
              <a:off x="9063441" y="756979"/>
              <a:ext cx="9886" cy="7061"/>
            </a:xfrm>
            <a:custGeom>
              <a:avLst/>
              <a:gdLst>
                <a:gd name="T0" fmla="*/ 2 w 3"/>
                <a:gd name="T1" fmla="*/ 0 h 2"/>
                <a:gd name="T2" fmla="*/ 0 w 3"/>
                <a:gd name="T3" fmla="*/ 0 h 2"/>
                <a:gd name="T4" fmla="*/ 2 w 3"/>
                <a:gd name="T5" fmla="*/ 2 h 2"/>
                <a:gd name="T6" fmla="*/ 3 w 3"/>
                <a:gd name="T7" fmla="*/ 0 h 2"/>
                <a:gd name="T8" fmla="*/ 2 w 3"/>
                <a:gd name="T9" fmla="*/ 0 h 2"/>
              </a:gdLst>
              <a:ahLst/>
              <a:cxnLst>
                <a:cxn ang="0">
                  <a:pos x="T0" y="T1"/>
                </a:cxn>
                <a:cxn ang="0">
                  <a:pos x="T2" y="T3"/>
                </a:cxn>
                <a:cxn ang="0">
                  <a:pos x="T4" y="T5"/>
                </a:cxn>
                <a:cxn ang="0">
                  <a:pos x="T6" y="T7"/>
                </a:cxn>
                <a:cxn ang="0">
                  <a:pos x="T8" y="T9"/>
                </a:cxn>
              </a:cxnLst>
              <a:rect l="0" t="0" r="r" b="b"/>
              <a:pathLst>
                <a:path w="3" h="2">
                  <a:moveTo>
                    <a:pt x="2" y="0"/>
                  </a:moveTo>
                  <a:cubicBezTo>
                    <a:pt x="2" y="0"/>
                    <a:pt x="1" y="0"/>
                    <a:pt x="0" y="0"/>
                  </a:cubicBezTo>
                  <a:cubicBezTo>
                    <a:pt x="1" y="1"/>
                    <a:pt x="1" y="1"/>
                    <a:pt x="2" y="2"/>
                  </a:cubicBezTo>
                  <a:cubicBezTo>
                    <a:pt x="2" y="1"/>
                    <a:pt x="2" y="0"/>
                    <a:pt x="3"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7" name="Freeform 45">
              <a:extLst>
                <a:ext uri="{FF2B5EF4-FFF2-40B4-BE49-F238E27FC236}">
                  <a16:creationId xmlns:a16="http://schemas.microsoft.com/office/drawing/2014/main" id="{3D6515AE-4719-4A0A-90BD-D22ECEFACBF8}"/>
                </a:ext>
              </a:extLst>
            </p:cNvPr>
            <p:cNvSpPr>
              <a:spLocks/>
            </p:cNvSpPr>
            <p:nvPr/>
          </p:nvSpPr>
          <p:spPr bwMode="auto">
            <a:xfrm>
              <a:off x="9026722" y="730145"/>
              <a:ext cx="22596" cy="24009"/>
            </a:xfrm>
            <a:custGeom>
              <a:avLst/>
              <a:gdLst>
                <a:gd name="T0" fmla="*/ 4 w 7"/>
                <a:gd name="T1" fmla="*/ 0 h 7"/>
                <a:gd name="T2" fmla="*/ 0 w 7"/>
                <a:gd name="T3" fmla="*/ 1 h 7"/>
                <a:gd name="T4" fmla="*/ 3 w 7"/>
                <a:gd name="T5" fmla="*/ 7 h 7"/>
                <a:gd name="T6" fmla="*/ 4 w 7"/>
                <a:gd name="T7" fmla="*/ 7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0"/>
                    <a:pt x="1" y="0"/>
                    <a:pt x="0" y="1"/>
                  </a:cubicBezTo>
                  <a:cubicBezTo>
                    <a:pt x="1" y="3"/>
                    <a:pt x="1" y="7"/>
                    <a:pt x="3" y="7"/>
                  </a:cubicBezTo>
                  <a:cubicBezTo>
                    <a:pt x="3" y="7"/>
                    <a:pt x="4" y="7"/>
                    <a:pt x="4" y="7"/>
                  </a:cubicBezTo>
                  <a:cubicBezTo>
                    <a:pt x="7" y="7"/>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8" name="Freeform 46">
              <a:extLst>
                <a:ext uri="{FF2B5EF4-FFF2-40B4-BE49-F238E27FC236}">
                  <a16:creationId xmlns:a16="http://schemas.microsoft.com/office/drawing/2014/main" id="{6D3F82D1-895F-40D9-B5DF-B0A3693452F0}"/>
                </a:ext>
              </a:extLst>
            </p:cNvPr>
            <p:cNvSpPr>
              <a:spLocks/>
            </p:cNvSpPr>
            <p:nvPr/>
          </p:nvSpPr>
          <p:spPr bwMode="auto">
            <a:xfrm>
              <a:off x="9026722" y="1050731"/>
              <a:ext cx="12710" cy="16947"/>
            </a:xfrm>
            <a:custGeom>
              <a:avLst/>
              <a:gdLst>
                <a:gd name="T0" fmla="*/ 3 w 4"/>
                <a:gd name="T1" fmla="*/ 0 h 5"/>
                <a:gd name="T2" fmla="*/ 0 w 4"/>
                <a:gd name="T3" fmla="*/ 5 h 5"/>
                <a:gd name="T4" fmla="*/ 4 w 4"/>
                <a:gd name="T5" fmla="*/ 2 h 5"/>
                <a:gd name="T6" fmla="*/ 3 w 4"/>
                <a:gd name="T7" fmla="*/ 0 h 5"/>
              </a:gdLst>
              <a:ahLst/>
              <a:cxnLst>
                <a:cxn ang="0">
                  <a:pos x="T0" y="T1"/>
                </a:cxn>
                <a:cxn ang="0">
                  <a:pos x="T2" y="T3"/>
                </a:cxn>
                <a:cxn ang="0">
                  <a:pos x="T4" y="T5"/>
                </a:cxn>
                <a:cxn ang="0">
                  <a:pos x="T6" y="T7"/>
                </a:cxn>
              </a:cxnLst>
              <a:rect l="0" t="0" r="r" b="b"/>
              <a:pathLst>
                <a:path w="4" h="5">
                  <a:moveTo>
                    <a:pt x="3" y="0"/>
                  </a:moveTo>
                  <a:cubicBezTo>
                    <a:pt x="2" y="0"/>
                    <a:pt x="1" y="5"/>
                    <a:pt x="0" y="5"/>
                  </a:cubicBezTo>
                  <a:cubicBezTo>
                    <a:pt x="2" y="4"/>
                    <a:pt x="3" y="3"/>
                    <a:pt x="4"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9" name="Freeform 58">
              <a:extLst>
                <a:ext uri="{FF2B5EF4-FFF2-40B4-BE49-F238E27FC236}">
                  <a16:creationId xmlns:a16="http://schemas.microsoft.com/office/drawing/2014/main" id="{DD009105-3F75-44B2-9DE6-175B422C440E}"/>
                </a:ext>
              </a:extLst>
            </p:cNvPr>
            <p:cNvSpPr>
              <a:spLocks/>
            </p:cNvSpPr>
            <p:nvPr/>
          </p:nvSpPr>
          <p:spPr bwMode="auto">
            <a:xfrm>
              <a:off x="6800985" y="1972946"/>
              <a:ext cx="9886" cy="2825"/>
            </a:xfrm>
            <a:custGeom>
              <a:avLst/>
              <a:gdLst>
                <a:gd name="T0" fmla="*/ 1 w 3"/>
                <a:gd name="T1" fmla="*/ 0 h 1"/>
                <a:gd name="T2" fmla="*/ 0 w 3"/>
                <a:gd name="T3" fmla="*/ 1 h 1"/>
                <a:gd name="T4" fmla="*/ 3 w 3"/>
                <a:gd name="T5" fmla="*/ 1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1" y="1"/>
                    <a:pt x="0" y="1"/>
                  </a:cubicBezTo>
                  <a:cubicBezTo>
                    <a:pt x="1" y="1"/>
                    <a:pt x="2" y="1"/>
                    <a:pt x="3" y="1"/>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0" name="Freeform 59">
              <a:extLst>
                <a:ext uri="{FF2B5EF4-FFF2-40B4-BE49-F238E27FC236}">
                  <a16:creationId xmlns:a16="http://schemas.microsoft.com/office/drawing/2014/main" id="{3AB74544-FEBE-41F4-B05D-3BB4D3B116E0}"/>
                </a:ext>
              </a:extLst>
            </p:cNvPr>
            <p:cNvSpPr>
              <a:spLocks/>
            </p:cNvSpPr>
            <p:nvPr/>
          </p:nvSpPr>
          <p:spPr bwMode="auto">
            <a:xfrm>
              <a:off x="6713424" y="2026612"/>
              <a:ext cx="24009" cy="16947"/>
            </a:xfrm>
            <a:custGeom>
              <a:avLst/>
              <a:gdLst>
                <a:gd name="T0" fmla="*/ 4 w 7"/>
                <a:gd name="T1" fmla="*/ 0 h 5"/>
                <a:gd name="T2" fmla="*/ 0 w 7"/>
                <a:gd name="T3" fmla="*/ 0 h 5"/>
                <a:gd name="T4" fmla="*/ 3 w 7"/>
                <a:gd name="T5" fmla="*/ 5 h 5"/>
                <a:gd name="T6" fmla="*/ 4 w 7"/>
                <a:gd name="T7" fmla="*/ 5 h 5"/>
                <a:gd name="T8" fmla="*/ 7 w 7"/>
                <a:gd name="T9" fmla="*/ 2 h 5"/>
                <a:gd name="T10" fmla="*/ 4 w 7"/>
                <a:gd name="T11" fmla="*/ 0 h 5"/>
              </a:gdLst>
              <a:ahLst/>
              <a:cxnLst>
                <a:cxn ang="0">
                  <a:pos x="T0" y="T1"/>
                </a:cxn>
                <a:cxn ang="0">
                  <a:pos x="T2" y="T3"/>
                </a:cxn>
                <a:cxn ang="0">
                  <a:pos x="T4" y="T5"/>
                </a:cxn>
                <a:cxn ang="0">
                  <a:pos x="T6" y="T7"/>
                </a:cxn>
                <a:cxn ang="0">
                  <a:pos x="T8" y="T9"/>
                </a:cxn>
                <a:cxn ang="0">
                  <a:pos x="T10" y="T11"/>
                </a:cxn>
              </a:cxnLst>
              <a:rect l="0" t="0" r="r" b="b"/>
              <a:pathLst>
                <a:path w="7" h="5">
                  <a:moveTo>
                    <a:pt x="4" y="0"/>
                  </a:moveTo>
                  <a:cubicBezTo>
                    <a:pt x="3" y="0"/>
                    <a:pt x="2" y="0"/>
                    <a:pt x="0" y="0"/>
                  </a:cubicBezTo>
                  <a:cubicBezTo>
                    <a:pt x="1" y="2"/>
                    <a:pt x="2" y="3"/>
                    <a:pt x="3" y="5"/>
                  </a:cubicBezTo>
                  <a:cubicBezTo>
                    <a:pt x="4" y="5"/>
                    <a:pt x="4" y="5"/>
                    <a:pt x="4" y="5"/>
                  </a:cubicBezTo>
                  <a:cubicBezTo>
                    <a:pt x="6" y="5"/>
                    <a:pt x="7" y="4"/>
                    <a:pt x="7" y="2"/>
                  </a:cubicBezTo>
                  <a:cubicBezTo>
                    <a:pt x="7" y="0"/>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1" name="Freeform 60">
              <a:extLst>
                <a:ext uri="{FF2B5EF4-FFF2-40B4-BE49-F238E27FC236}">
                  <a16:creationId xmlns:a16="http://schemas.microsoft.com/office/drawing/2014/main" id="{80F55444-F567-4AAD-B790-7CAD0C6E1060}"/>
                </a:ext>
              </a:extLst>
            </p:cNvPr>
            <p:cNvSpPr>
              <a:spLocks/>
            </p:cNvSpPr>
            <p:nvPr/>
          </p:nvSpPr>
          <p:spPr bwMode="auto">
            <a:xfrm>
              <a:off x="6867361" y="2056270"/>
              <a:ext cx="36719" cy="19772"/>
            </a:xfrm>
            <a:custGeom>
              <a:avLst/>
              <a:gdLst>
                <a:gd name="T0" fmla="*/ 10 w 11"/>
                <a:gd name="T1" fmla="*/ 0 h 6"/>
                <a:gd name="T2" fmla="*/ 4 w 11"/>
                <a:gd name="T3" fmla="*/ 6 h 6"/>
                <a:gd name="T4" fmla="*/ 9 w 11"/>
                <a:gd name="T5" fmla="*/ 2 h 6"/>
                <a:gd name="T6" fmla="*/ 10 w 11"/>
                <a:gd name="T7" fmla="*/ 1 h 6"/>
                <a:gd name="T8" fmla="*/ 10 w 11"/>
                <a:gd name="T9" fmla="*/ 0 h 6"/>
              </a:gdLst>
              <a:ahLst/>
              <a:cxnLst>
                <a:cxn ang="0">
                  <a:pos x="T0" y="T1"/>
                </a:cxn>
                <a:cxn ang="0">
                  <a:pos x="T2" y="T3"/>
                </a:cxn>
                <a:cxn ang="0">
                  <a:pos x="T4" y="T5"/>
                </a:cxn>
                <a:cxn ang="0">
                  <a:pos x="T6" y="T7"/>
                </a:cxn>
                <a:cxn ang="0">
                  <a:pos x="T8" y="T9"/>
                </a:cxn>
              </a:cxnLst>
              <a:rect l="0" t="0" r="r" b="b"/>
              <a:pathLst>
                <a:path w="11" h="6">
                  <a:moveTo>
                    <a:pt x="10" y="0"/>
                  </a:moveTo>
                  <a:cubicBezTo>
                    <a:pt x="7" y="0"/>
                    <a:pt x="0" y="4"/>
                    <a:pt x="4" y="6"/>
                  </a:cubicBezTo>
                  <a:cubicBezTo>
                    <a:pt x="6" y="6"/>
                    <a:pt x="8" y="4"/>
                    <a:pt x="9" y="2"/>
                  </a:cubicBezTo>
                  <a:cubicBezTo>
                    <a:pt x="9" y="2"/>
                    <a:pt x="11" y="1"/>
                    <a:pt x="10" y="1"/>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2" name="Freeform 61">
              <a:extLst>
                <a:ext uri="{FF2B5EF4-FFF2-40B4-BE49-F238E27FC236}">
                  <a16:creationId xmlns:a16="http://schemas.microsoft.com/office/drawing/2014/main" id="{228B8E32-6A82-4824-9DC0-06CC6F85D643}"/>
                </a:ext>
              </a:extLst>
            </p:cNvPr>
            <p:cNvSpPr>
              <a:spLocks/>
            </p:cNvSpPr>
            <p:nvPr/>
          </p:nvSpPr>
          <p:spPr bwMode="auto">
            <a:xfrm>
              <a:off x="6806634" y="2100051"/>
              <a:ext cx="7061" cy="9886"/>
            </a:xfrm>
            <a:custGeom>
              <a:avLst/>
              <a:gdLst>
                <a:gd name="T0" fmla="*/ 1 w 2"/>
                <a:gd name="T1" fmla="*/ 0 h 3"/>
                <a:gd name="T2" fmla="*/ 0 w 2"/>
                <a:gd name="T3" fmla="*/ 2 h 3"/>
                <a:gd name="T4" fmla="*/ 1 w 2"/>
                <a:gd name="T5" fmla="*/ 3 h 3"/>
                <a:gd name="T6" fmla="*/ 1 w 2"/>
                <a:gd name="T7" fmla="*/ 0 h 3"/>
              </a:gdLst>
              <a:ahLst/>
              <a:cxnLst>
                <a:cxn ang="0">
                  <a:pos x="T0" y="T1"/>
                </a:cxn>
                <a:cxn ang="0">
                  <a:pos x="T2" y="T3"/>
                </a:cxn>
                <a:cxn ang="0">
                  <a:pos x="T4" y="T5"/>
                </a:cxn>
                <a:cxn ang="0">
                  <a:pos x="T6" y="T7"/>
                </a:cxn>
              </a:cxnLst>
              <a:rect l="0" t="0" r="r" b="b"/>
              <a:pathLst>
                <a:path w="2" h="3">
                  <a:moveTo>
                    <a:pt x="1" y="0"/>
                  </a:moveTo>
                  <a:cubicBezTo>
                    <a:pt x="1" y="1"/>
                    <a:pt x="0" y="1"/>
                    <a:pt x="0" y="2"/>
                  </a:cubicBezTo>
                  <a:cubicBezTo>
                    <a:pt x="0" y="2"/>
                    <a:pt x="0" y="3"/>
                    <a:pt x="1" y="3"/>
                  </a:cubicBezTo>
                  <a:cubicBezTo>
                    <a:pt x="2"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3" name="Freeform 62">
              <a:extLst>
                <a:ext uri="{FF2B5EF4-FFF2-40B4-BE49-F238E27FC236}">
                  <a16:creationId xmlns:a16="http://schemas.microsoft.com/office/drawing/2014/main" id="{0559EE95-B8BD-46B7-BF55-374F6BD938C5}"/>
                </a:ext>
              </a:extLst>
            </p:cNvPr>
            <p:cNvSpPr>
              <a:spLocks/>
            </p:cNvSpPr>
            <p:nvPr/>
          </p:nvSpPr>
          <p:spPr bwMode="auto">
            <a:xfrm>
              <a:off x="6760029" y="2016727"/>
              <a:ext cx="40956" cy="12710"/>
            </a:xfrm>
            <a:custGeom>
              <a:avLst/>
              <a:gdLst>
                <a:gd name="T0" fmla="*/ 7 w 12"/>
                <a:gd name="T1" fmla="*/ 0 h 4"/>
                <a:gd name="T2" fmla="*/ 6 w 12"/>
                <a:gd name="T3" fmla="*/ 0 h 4"/>
                <a:gd name="T4" fmla="*/ 11 w 12"/>
                <a:gd name="T5" fmla="*/ 4 h 4"/>
                <a:gd name="T6" fmla="*/ 9 w 12"/>
                <a:gd name="T7" fmla="*/ 0 h 4"/>
                <a:gd name="T8" fmla="*/ 7 w 12"/>
                <a:gd name="T9" fmla="*/ 0 h 4"/>
              </a:gdLst>
              <a:ahLst/>
              <a:cxnLst>
                <a:cxn ang="0">
                  <a:pos x="T0" y="T1"/>
                </a:cxn>
                <a:cxn ang="0">
                  <a:pos x="T2" y="T3"/>
                </a:cxn>
                <a:cxn ang="0">
                  <a:pos x="T4" y="T5"/>
                </a:cxn>
                <a:cxn ang="0">
                  <a:pos x="T6" y="T7"/>
                </a:cxn>
                <a:cxn ang="0">
                  <a:pos x="T8" y="T9"/>
                </a:cxn>
              </a:cxnLst>
              <a:rect l="0" t="0" r="r" b="b"/>
              <a:pathLst>
                <a:path w="12" h="4">
                  <a:moveTo>
                    <a:pt x="7" y="0"/>
                  </a:moveTo>
                  <a:cubicBezTo>
                    <a:pt x="6" y="0"/>
                    <a:pt x="6" y="0"/>
                    <a:pt x="6" y="0"/>
                  </a:cubicBezTo>
                  <a:cubicBezTo>
                    <a:pt x="0" y="3"/>
                    <a:pt x="11" y="4"/>
                    <a:pt x="11" y="4"/>
                  </a:cubicBezTo>
                  <a:cubicBezTo>
                    <a:pt x="12" y="2"/>
                    <a:pt x="10" y="1"/>
                    <a:pt x="9"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4" name="Freeform 63">
              <a:extLst>
                <a:ext uri="{FF2B5EF4-FFF2-40B4-BE49-F238E27FC236}">
                  <a16:creationId xmlns:a16="http://schemas.microsoft.com/office/drawing/2014/main" id="{CB9EC3BB-B88C-4B1C-AC49-80D686FF2350}"/>
                </a:ext>
              </a:extLst>
            </p:cNvPr>
            <p:cNvSpPr>
              <a:spLocks/>
            </p:cNvSpPr>
            <p:nvPr/>
          </p:nvSpPr>
          <p:spPr bwMode="auto">
            <a:xfrm>
              <a:off x="6717661" y="1989893"/>
              <a:ext cx="66377" cy="96035"/>
            </a:xfrm>
            <a:custGeom>
              <a:avLst/>
              <a:gdLst>
                <a:gd name="T0" fmla="*/ 6 w 20"/>
                <a:gd name="T1" fmla="*/ 0 h 29"/>
                <a:gd name="T2" fmla="*/ 3 w 20"/>
                <a:gd name="T3" fmla="*/ 3 h 29"/>
                <a:gd name="T4" fmla="*/ 1 w 20"/>
                <a:gd name="T5" fmla="*/ 4 h 29"/>
                <a:gd name="T6" fmla="*/ 2 w 20"/>
                <a:gd name="T7" fmla="*/ 5 h 29"/>
                <a:gd name="T8" fmla="*/ 3 w 20"/>
                <a:gd name="T9" fmla="*/ 5 h 29"/>
                <a:gd name="T10" fmla="*/ 4 w 20"/>
                <a:gd name="T11" fmla="*/ 4 h 29"/>
                <a:gd name="T12" fmla="*/ 4 w 20"/>
                <a:gd name="T13" fmla="*/ 5 h 29"/>
                <a:gd name="T14" fmla="*/ 6 w 20"/>
                <a:gd name="T15" fmla="*/ 8 h 29"/>
                <a:gd name="T16" fmla="*/ 8 w 20"/>
                <a:gd name="T17" fmla="*/ 13 h 29"/>
                <a:gd name="T18" fmla="*/ 12 w 20"/>
                <a:gd name="T19" fmla="*/ 19 h 29"/>
                <a:gd name="T20" fmla="*/ 5 w 20"/>
                <a:gd name="T21" fmla="*/ 22 h 29"/>
                <a:gd name="T22" fmla="*/ 11 w 20"/>
                <a:gd name="T23" fmla="*/ 29 h 29"/>
                <a:gd name="T24" fmla="*/ 20 w 20"/>
                <a:gd name="T25" fmla="*/ 21 h 29"/>
                <a:gd name="T26" fmla="*/ 17 w 20"/>
                <a:gd name="T27" fmla="*/ 19 h 29"/>
                <a:gd name="T28" fmla="*/ 17 w 20"/>
                <a:gd name="T29" fmla="*/ 19 h 29"/>
                <a:gd name="T30" fmla="*/ 15 w 20"/>
                <a:gd name="T31" fmla="*/ 13 h 29"/>
                <a:gd name="T32" fmla="*/ 12 w 20"/>
                <a:gd name="T33" fmla="*/ 11 h 29"/>
                <a:gd name="T34" fmla="*/ 6 w 20"/>
                <a:gd name="T35" fmla="*/ 0 h 29"/>
                <a:gd name="T36" fmla="*/ 6 w 20"/>
                <a:gd name="T3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9">
                  <a:moveTo>
                    <a:pt x="6" y="0"/>
                  </a:moveTo>
                  <a:cubicBezTo>
                    <a:pt x="6" y="0"/>
                    <a:pt x="4" y="2"/>
                    <a:pt x="3" y="3"/>
                  </a:cubicBezTo>
                  <a:cubicBezTo>
                    <a:pt x="1" y="4"/>
                    <a:pt x="1" y="4"/>
                    <a:pt x="1" y="4"/>
                  </a:cubicBezTo>
                  <a:cubicBezTo>
                    <a:pt x="1" y="5"/>
                    <a:pt x="1" y="5"/>
                    <a:pt x="2" y="5"/>
                  </a:cubicBezTo>
                  <a:cubicBezTo>
                    <a:pt x="2" y="5"/>
                    <a:pt x="2" y="5"/>
                    <a:pt x="3" y="5"/>
                  </a:cubicBezTo>
                  <a:cubicBezTo>
                    <a:pt x="3" y="5"/>
                    <a:pt x="4" y="4"/>
                    <a:pt x="4" y="4"/>
                  </a:cubicBezTo>
                  <a:cubicBezTo>
                    <a:pt x="4" y="4"/>
                    <a:pt x="4" y="5"/>
                    <a:pt x="4" y="5"/>
                  </a:cubicBezTo>
                  <a:cubicBezTo>
                    <a:pt x="6" y="5"/>
                    <a:pt x="5" y="7"/>
                    <a:pt x="6" y="8"/>
                  </a:cubicBezTo>
                  <a:cubicBezTo>
                    <a:pt x="6" y="11"/>
                    <a:pt x="7" y="11"/>
                    <a:pt x="8" y="13"/>
                  </a:cubicBezTo>
                  <a:cubicBezTo>
                    <a:pt x="10" y="14"/>
                    <a:pt x="13" y="17"/>
                    <a:pt x="12" y="19"/>
                  </a:cubicBezTo>
                  <a:cubicBezTo>
                    <a:pt x="10" y="21"/>
                    <a:pt x="7" y="20"/>
                    <a:pt x="5" y="22"/>
                  </a:cubicBezTo>
                  <a:cubicBezTo>
                    <a:pt x="0" y="27"/>
                    <a:pt x="7" y="27"/>
                    <a:pt x="11" y="29"/>
                  </a:cubicBezTo>
                  <a:cubicBezTo>
                    <a:pt x="14" y="26"/>
                    <a:pt x="17" y="24"/>
                    <a:pt x="20" y="21"/>
                  </a:cubicBezTo>
                  <a:cubicBezTo>
                    <a:pt x="18" y="21"/>
                    <a:pt x="18" y="19"/>
                    <a:pt x="17" y="19"/>
                  </a:cubicBezTo>
                  <a:cubicBezTo>
                    <a:pt x="17" y="19"/>
                    <a:pt x="17" y="19"/>
                    <a:pt x="17" y="19"/>
                  </a:cubicBezTo>
                  <a:cubicBezTo>
                    <a:pt x="16" y="16"/>
                    <a:pt x="16" y="15"/>
                    <a:pt x="15" y="13"/>
                  </a:cubicBezTo>
                  <a:cubicBezTo>
                    <a:pt x="14" y="12"/>
                    <a:pt x="13" y="12"/>
                    <a:pt x="12" y="11"/>
                  </a:cubicBezTo>
                  <a:cubicBezTo>
                    <a:pt x="10" y="8"/>
                    <a:pt x="10" y="1"/>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5" name="Freeform 64">
              <a:extLst>
                <a:ext uri="{FF2B5EF4-FFF2-40B4-BE49-F238E27FC236}">
                  <a16:creationId xmlns:a16="http://schemas.microsoft.com/office/drawing/2014/main" id="{B7A0A2F2-D79B-4E2B-BC15-CAB97004D8C2}"/>
                </a:ext>
              </a:extLst>
            </p:cNvPr>
            <p:cNvSpPr>
              <a:spLocks/>
            </p:cNvSpPr>
            <p:nvPr/>
          </p:nvSpPr>
          <p:spPr bwMode="auto">
            <a:xfrm>
              <a:off x="6796748" y="2043560"/>
              <a:ext cx="36719" cy="15535"/>
            </a:xfrm>
            <a:custGeom>
              <a:avLst/>
              <a:gdLst>
                <a:gd name="T0" fmla="*/ 6 w 11"/>
                <a:gd name="T1" fmla="*/ 0 h 5"/>
                <a:gd name="T2" fmla="*/ 5 w 11"/>
                <a:gd name="T3" fmla="*/ 0 h 5"/>
                <a:gd name="T4" fmla="*/ 6 w 11"/>
                <a:gd name="T5" fmla="*/ 5 h 5"/>
                <a:gd name="T6" fmla="*/ 9 w 11"/>
                <a:gd name="T7" fmla="*/ 5 h 5"/>
                <a:gd name="T8" fmla="*/ 6 w 11"/>
                <a:gd name="T9" fmla="*/ 0 h 5"/>
              </a:gdLst>
              <a:ahLst/>
              <a:cxnLst>
                <a:cxn ang="0">
                  <a:pos x="T0" y="T1"/>
                </a:cxn>
                <a:cxn ang="0">
                  <a:pos x="T2" y="T3"/>
                </a:cxn>
                <a:cxn ang="0">
                  <a:pos x="T4" y="T5"/>
                </a:cxn>
                <a:cxn ang="0">
                  <a:pos x="T6" y="T7"/>
                </a:cxn>
                <a:cxn ang="0">
                  <a:pos x="T8" y="T9"/>
                </a:cxn>
              </a:cxnLst>
              <a:rect l="0" t="0" r="r" b="b"/>
              <a:pathLst>
                <a:path w="11" h="5">
                  <a:moveTo>
                    <a:pt x="6" y="0"/>
                  </a:moveTo>
                  <a:cubicBezTo>
                    <a:pt x="6" y="0"/>
                    <a:pt x="5" y="0"/>
                    <a:pt x="5" y="0"/>
                  </a:cubicBezTo>
                  <a:cubicBezTo>
                    <a:pt x="0" y="1"/>
                    <a:pt x="1" y="5"/>
                    <a:pt x="6" y="5"/>
                  </a:cubicBezTo>
                  <a:cubicBezTo>
                    <a:pt x="7" y="5"/>
                    <a:pt x="8" y="5"/>
                    <a:pt x="9" y="5"/>
                  </a:cubicBezTo>
                  <a:cubicBezTo>
                    <a:pt x="11" y="1"/>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6" name="Freeform 65">
              <a:extLst>
                <a:ext uri="{FF2B5EF4-FFF2-40B4-BE49-F238E27FC236}">
                  <a16:creationId xmlns:a16="http://schemas.microsoft.com/office/drawing/2014/main" id="{093CA723-AD82-4B43-9CFD-BC71AE05B050}"/>
                </a:ext>
              </a:extLst>
            </p:cNvPr>
            <p:cNvSpPr>
              <a:spLocks/>
            </p:cNvSpPr>
            <p:nvPr/>
          </p:nvSpPr>
          <p:spPr bwMode="auto">
            <a:xfrm>
              <a:off x="8485823" y="580444"/>
              <a:ext cx="16947" cy="2825"/>
            </a:xfrm>
            <a:custGeom>
              <a:avLst/>
              <a:gdLst>
                <a:gd name="T0" fmla="*/ 2 w 5"/>
                <a:gd name="T1" fmla="*/ 0 h 1"/>
                <a:gd name="T2" fmla="*/ 0 w 5"/>
                <a:gd name="T3" fmla="*/ 0 h 1"/>
                <a:gd name="T4" fmla="*/ 4 w 5"/>
                <a:gd name="T5" fmla="*/ 1 h 1"/>
                <a:gd name="T6" fmla="*/ 5 w 5"/>
                <a:gd name="T7" fmla="*/ 1 h 1"/>
                <a:gd name="T8" fmla="*/ 5 w 5"/>
                <a:gd name="T9" fmla="*/ 1 h 1"/>
                <a:gd name="T10" fmla="*/ 5 w 5"/>
                <a:gd name="T11" fmla="*/ 1 h 1"/>
                <a:gd name="T12" fmla="*/ 4 w 5"/>
                <a:gd name="T13" fmla="*/ 1 h 1"/>
                <a:gd name="T14" fmla="*/ 4 w 5"/>
                <a:gd name="T15" fmla="*/ 1 h 1"/>
                <a:gd name="T16" fmla="*/ 3 w 5"/>
                <a:gd name="T17" fmla="*/ 0 h 1"/>
                <a:gd name="T18" fmla="*/ 2 w 5"/>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
                  <a:moveTo>
                    <a:pt x="2" y="0"/>
                  </a:moveTo>
                  <a:cubicBezTo>
                    <a:pt x="1" y="0"/>
                    <a:pt x="1" y="0"/>
                    <a:pt x="0" y="0"/>
                  </a:cubicBezTo>
                  <a:cubicBezTo>
                    <a:pt x="1" y="1"/>
                    <a:pt x="3" y="1"/>
                    <a:pt x="4" y="1"/>
                  </a:cubicBezTo>
                  <a:cubicBezTo>
                    <a:pt x="5" y="1"/>
                    <a:pt x="5" y="1"/>
                    <a:pt x="5" y="1"/>
                  </a:cubicBezTo>
                  <a:cubicBezTo>
                    <a:pt x="5" y="1"/>
                    <a:pt x="5" y="1"/>
                    <a:pt x="5" y="1"/>
                  </a:cubicBezTo>
                  <a:cubicBezTo>
                    <a:pt x="5" y="1"/>
                    <a:pt x="5" y="1"/>
                    <a:pt x="5" y="1"/>
                  </a:cubicBezTo>
                  <a:cubicBezTo>
                    <a:pt x="4" y="1"/>
                    <a:pt x="4" y="1"/>
                    <a:pt x="4" y="1"/>
                  </a:cubicBezTo>
                  <a:cubicBezTo>
                    <a:pt x="4" y="1"/>
                    <a:pt x="4" y="1"/>
                    <a:pt x="4" y="1"/>
                  </a:cubicBezTo>
                  <a:cubicBezTo>
                    <a:pt x="3" y="0"/>
                    <a:pt x="3" y="0"/>
                    <a:pt x="3"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7" name="Freeform 66">
              <a:extLst>
                <a:ext uri="{FF2B5EF4-FFF2-40B4-BE49-F238E27FC236}">
                  <a16:creationId xmlns:a16="http://schemas.microsoft.com/office/drawing/2014/main" id="{ABB36966-3829-498D-8C0A-2A17F302099E}"/>
                </a:ext>
              </a:extLst>
            </p:cNvPr>
            <p:cNvSpPr>
              <a:spLocks/>
            </p:cNvSpPr>
            <p:nvPr/>
          </p:nvSpPr>
          <p:spPr bwMode="auto">
            <a:xfrm>
              <a:off x="9049318" y="783812"/>
              <a:ext cx="24009" cy="33895"/>
            </a:xfrm>
            <a:custGeom>
              <a:avLst/>
              <a:gdLst>
                <a:gd name="T0" fmla="*/ 1 w 7"/>
                <a:gd name="T1" fmla="*/ 0 h 10"/>
                <a:gd name="T2" fmla="*/ 4 w 7"/>
                <a:gd name="T3" fmla="*/ 10 h 10"/>
                <a:gd name="T4" fmla="*/ 1 w 7"/>
                <a:gd name="T5" fmla="*/ 0 h 10"/>
              </a:gdLst>
              <a:ahLst/>
              <a:cxnLst>
                <a:cxn ang="0">
                  <a:pos x="T0" y="T1"/>
                </a:cxn>
                <a:cxn ang="0">
                  <a:pos x="T2" y="T3"/>
                </a:cxn>
                <a:cxn ang="0">
                  <a:pos x="T4" y="T5"/>
                </a:cxn>
              </a:cxnLst>
              <a:rect l="0" t="0" r="r" b="b"/>
              <a:pathLst>
                <a:path w="7" h="10">
                  <a:moveTo>
                    <a:pt x="1" y="0"/>
                  </a:moveTo>
                  <a:cubicBezTo>
                    <a:pt x="0" y="2"/>
                    <a:pt x="1" y="8"/>
                    <a:pt x="4" y="10"/>
                  </a:cubicBezTo>
                  <a:cubicBezTo>
                    <a:pt x="7" y="5"/>
                    <a:pt x="6"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8" name="Freeform 67">
              <a:extLst>
                <a:ext uri="{FF2B5EF4-FFF2-40B4-BE49-F238E27FC236}">
                  <a16:creationId xmlns:a16="http://schemas.microsoft.com/office/drawing/2014/main" id="{F648C27D-E92A-46E7-A9E3-F11045AA2C76}"/>
                </a:ext>
              </a:extLst>
            </p:cNvPr>
            <p:cNvSpPr>
              <a:spLocks/>
            </p:cNvSpPr>
            <p:nvPr/>
          </p:nvSpPr>
          <p:spPr bwMode="auto">
            <a:xfrm>
              <a:off x="7805108" y="279630"/>
              <a:ext cx="7061" cy="7061"/>
            </a:xfrm>
            <a:custGeom>
              <a:avLst/>
              <a:gdLst>
                <a:gd name="T0" fmla="*/ 0 w 2"/>
                <a:gd name="T1" fmla="*/ 0 h 2"/>
                <a:gd name="T2" fmla="*/ 2 w 2"/>
                <a:gd name="T3" fmla="*/ 2 h 2"/>
                <a:gd name="T4" fmla="*/ 1 w 2"/>
                <a:gd name="T5" fmla="*/ 1 h 2"/>
                <a:gd name="T6" fmla="*/ 0 w 2"/>
                <a:gd name="T7" fmla="*/ 0 h 2"/>
              </a:gdLst>
              <a:ahLst/>
              <a:cxnLst>
                <a:cxn ang="0">
                  <a:pos x="T0" y="T1"/>
                </a:cxn>
                <a:cxn ang="0">
                  <a:pos x="T2" y="T3"/>
                </a:cxn>
                <a:cxn ang="0">
                  <a:pos x="T4" y="T5"/>
                </a:cxn>
                <a:cxn ang="0">
                  <a:pos x="T6" y="T7"/>
                </a:cxn>
              </a:cxnLst>
              <a:rect l="0" t="0" r="r" b="b"/>
              <a:pathLst>
                <a:path w="2" h="2">
                  <a:moveTo>
                    <a:pt x="0" y="0"/>
                  </a:moveTo>
                  <a:cubicBezTo>
                    <a:pt x="0" y="1"/>
                    <a:pt x="1" y="2"/>
                    <a:pt x="2" y="2"/>
                  </a:cubicBezTo>
                  <a:cubicBezTo>
                    <a:pt x="2" y="2"/>
                    <a:pt x="2" y="1"/>
                    <a:pt x="1" y="1"/>
                  </a:cubicBezTo>
                  <a:cubicBezTo>
                    <a:pt x="1"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9" name="Freeform 68">
              <a:extLst>
                <a:ext uri="{FF2B5EF4-FFF2-40B4-BE49-F238E27FC236}">
                  <a16:creationId xmlns:a16="http://schemas.microsoft.com/office/drawing/2014/main" id="{A763FBA9-ED85-4362-B3C5-7BE6E1E321EF}"/>
                </a:ext>
              </a:extLst>
            </p:cNvPr>
            <p:cNvSpPr>
              <a:spLocks/>
            </p:cNvSpPr>
            <p:nvPr/>
          </p:nvSpPr>
          <p:spPr bwMode="auto">
            <a:xfrm>
              <a:off x="7717548" y="225964"/>
              <a:ext cx="26833" cy="11298"/>
            </a:xfrm>
            <a:custGeom>
              <a:avLst/>
              <a:gdLst>
                <a:gd name="T0" fmla="*/ 0 w 8"/>
                <a:gd name="T1" fmla="*/ 0 h 3"/>
                <a:gd name="T2" fmla="*/ 8 w 8"/>
                <a:gd name="T3" fmla="*/ 3 h 3"/>
                <a:gd name="T4" fmla="*/ 7 w 8"/>
                <a:gd name="T5" fmla="*/ 0 h 3"/>
                <a:gd name="T6" fmla="*/ 6 w 8"/>
                <a:gd name="T7" fmla="*/ 1 h 3"/>
                <a:gd name="T8" fmla="*/ 4 w 8"/>
                <a:gd name="T9" fmla="*/ 1 h 3"/>
                <a:gd name="T10" fmla="*/ 3 w 8"/>
                <a:gd name="T11" fmla="*/ 1 h 3"/>
                <a:gd name="T12" fmla="*/ 0 w 8"/>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8" h="3">
                  <a:moveTo>
                    <a:pt x="0" y="0"/>
                  </a:moveTo>
                  <a:cubicBezTo>
                    <a:pt x="3" y="2"/>
                    <a:pt x="6" y="2"/>
                    <a:pt x="8" y="3"/>
                  </a:cubicBezTo>
                  <a:cubicBezTo>
                    <a:pt x="8" y="1"/>
                    <a:pt x="8" y="0"/>
                    <a:pt x="7" y="0"/>
                  </a:cubicBezTo>
                  <a:cubicBezTo>
                    <a:pt x="7" y="0"/>
                    <a:pt x="6" y="1"/>
                    <a:pt x="6" y="1"/>
                  </a:cubicBezTo>
                  <a:cubicBezTo>
                    <a:pt x="5" y="1"/>
                    <a:pt x="5" y="1"/>
                    <a:pt x="4" y="1"/>
                  </a:cubicBezTo>
                  <a:cubicBezTo>
                    <a:pt x="4" y="1"/>
                    <a:pt x="4" y="1"/>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0" name="Freeform 69">
              <a:extLst>
                <a:ext uri="{FF2B5EF4-FFF2-40B4-BE49-F238E27FC236}">
                  <a16:creationId xmlns:a16="http://schemas.microsoft.com/office/drawing/2014/main" id="{C539DE63-DB84-4FFB-99F7-B9AC3FF324E7}"/>
                </a:ext>
              </a:extLst>
            </p:cNvPr>
            <p:cNvSpPr>
              <a:spLocks/>
            </p:cNvSpPr>
            <p:nvPr/>
          </p:nvSpPr>
          <p:spPr bwMode="auto">
            <a:xfrm>
              <a:off x="7508532" y="484410"/>
              <a:ext cx="22596" cy="9886"/>
            </a:xfrm>
            <a:custGeom>
              <a:avLst/>
              <a:gdLst>
                <a:gd name="T0" fmla="*/ 0 w 7"/>
                <a:gd name="T1" fmla="*/ 0 h 3"/>
                <a:gd name="T2" fmla="*/ 2 w 7"/>
                <a:gd name="T3" fmla="*/ 3 h 3"/>
                <a:gd name="T4" fmla="*/ 3 w 7"/>
                <a:gd name="T5" fmla="*/ 3 h 3"/>
                <a:gd name="T6" fmla="*/ 7 w 7"/>
                <a:gd name="T7" fmla="*/ 1 h 3"/>
                <a:gd name="T8" fmla="*/ 7 w 7"/>
                <a:gd name="T9" fmla="*/ 1 h 3"/>
                <a:gd name="T10" fmla="*/ 0 w 7"/>
                <a:gd name="T11" fmla="*/ 0 h 3"/>
              </a:gdLst>
              <a:ahLst/>
              <a:cxnLst>
                <a:cxn ang="0">
                  <a:pos x="T0" y="T1"/>
                </a:cxn>
                <a:cxn ang="0">
                  <a:pos x="T2" y="T3"/>
                </a:cxn>
                <a:cxn ang="0">
                  <a:pos x="T4" y="T5"/>
                </a:cxn>
                <a:cxn ang="0">
                  <a:pos x="T6" y="T7"/>
                </a:cxn>
                <a:cxn ang="0">
                  <a:pos x="T8" y="T9"/>
                </a:cxn>
                <a:cxn ang="0">
                  <a:pos x="T10" y="T11"/>
                </a:cxn>
              </a:cxnLst>
              <a:rect l="0" t="0" r="r" b="b"/>
              <a:pathLst>
                <a:path w="7" h="3">
                  <a:moveTo>
                    <a:pt x="0" y="0"/>
                  </a:moveTo>
                  <a:cubicBezTo>
                    <a:pt x="1" y="1"/>
                    <a:pt x="0" y="3"/>
                    <a:pt x="2" y="3"/>
                  </a:cubicBezTo>
                  <a:cubicBezTo>
                    <a:pt x="2" y="3"/>
                    <a:pt x="2" y="3"/>
                    <a:pt x="3" y="3"/>
                  </a:cubicBezTo>
                  <a:cubicBezTo>
                    <a:pt x="4" y="2"/>
                    <a:pt x="6" y="2"/>
                    <a:pt x="7" y="1"/>
                  </a:cubicBezTo>
                  <a:cubicBezTo>
                    <a:pt x="7" y="1"/>
                    <a:pt x="7" y="1"/>
                    <a:pt x="7" y="1"/>
                  </a:cubicBezTo>
                  <a:cubicBezTo>
                    <a:pt x="4"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1" name="Freeform 70">
              <a:extLst>
                <a:ext uri="{FF2B5EF4-FFF2-40B4-BE49-F238E27FC236}">
                  <a16:creationId xmlns:a16="http://schemas.microsoft.com/office/drawing/2014/main" id="{10BCFAEA-08D6-4A7F-85CE-BD41CC73A7D8}"/>
                </a:ext>
              </a:extLst>
            </p:cNvPr>
            <p:cNvSpPr>
              <a:spLocks noEditPoints="1"/>
            </p:cNvSpPr>
            <p:nvPr/>
          </p:nvSpPr>
          <p:spPr bwMode="auto">
            <a:xfrm>
              <a:off x="7230315" y="176534"/>
              <a:ext cx="841713" cy="271157"/>
            </a:xfrm>
            <a:custGeom>
              <a:avLst/>
              <a:gdLst>
                <a:gd name="T0" fmla="*/ 11 w 252"/>
                <a:gd name="T1" fmla="*/ 34 h 81"/>
                <a:gd name="T2" fmla="*/ 11 w 252"/>
                <a:gd name="T3" fmla="*/ 34 h 81"/>
                <a:gd name="T4" fmla="*/ 47 w 252"/>
                <a:gd name="T5" fmla="*/ 5 h 81"/>
                <a:gd name="T6" fmla="*/ 15 w 252"/>
                <a:gd name="T7" fmla="*/ 19 h 81"/>
                <a:gd name="T8" fmla="*/ 13 w 252"/>
                <a:gd name="T9" fmla="*/ 29 h 81"/>
                <a:gd name="T10" fmla="*/ 11 w 252"/>
                <a:gd name="T11" fmla="*/ 29 h 81"/>
                <a:gd name="T12" fmla="*/ 5 w 252"/>
                <a:gd name="T13" fmla="*/ 31 h 81"/>
                <a:gd name="T14" fmla="*/ 5 w 252"/>
                <a:gd name="T15" fmla="*/ 33 h 81"/>
                <a:gd name="T16" fmla="*/ 9 w 252"/>
                <a:gd name="T17" fmla="*/ 33 h 81"/>
                <a:gd name="T18" fmla="*/ 11 w 252"/>
                <a:gd name="T19" fmla="*/ 34 h 81"/>
                <a:gd name="T20" fmla="*/ 19 w 252"/>
                <a:gd name="T21" fmla="*/ 31 h 81"/>
                <a:gd name="T22" fmla="*/ 26 w 252"/>
                <a:gd name="T23" fmla="*/ 25 h 81"/>
                <a:gd name="T24" fmla="*/ 32 w 252"/>
                <a:gd name="T25" fmla="*/ 23 h 81"/>
                <a:gd name="T26" fmla="*/ 39 w 252"/>
                <a:gd name="T27" fmla="*/ 22 h 81"/>
                <a:gd name="T28" fmla="*/ 54 w 252"/>
                <a:gd name="T29" fmla="*/ 12 h 81"/>
                <a:gd name="T30" fmla="*/ 64 w 252"/>
                <a:gd name="T31" fmla="*/ 12 h 81"/>
                <a:gd name="T32" fmla="*/ 67 w 252"/>
                <a:gd name="T33" fmla="*/ 12 h 81"/>
                <a:gd name="T34" fmla="*/ 73 w 252"/>
                <a:gd name="T35" fmla="*/ 12 h 81"/>
                <a:gd name="T36" fmla="*/ 73 w 252"/>
                <a:gd name="T37" fmla="*/ 18 h 81"/>
                <a:gd name="T38" fmla="*/ 72 w 252"/>
                <a:gd name="T39" fmla="*/ 18 h 81"/>
                <a:gd name="T40" fmla="*/ 71 w 252"/>
                <a:gd name="T41" fmla="*/ 18 h 81"/>
                <a:gd name="T42" fmla="*/ 69 w 252"/>
                <a:gd name="T43" fmla="*/ 18 h 81"/>
                <a:gd name="T44" fmla="*/ 74 w 252"/>
                <a:gd name="T45" fmla="*/ 24 h 81"/>
                <a:gd name="T46" fmla="*/ 88 w 252"/>
                <a:gd name="T47" fmla="*/ 22 h 81"/>
                <a:gd name="T48" fmla="*/ 95 w 252"/>
                <a:gd name="T49" fmla="*/ 27 h 81"/>
                <a:gd name="T50" fmla="*/ 98 w 252"/>
                <a:gd name="T51" fmla="*/ 27 h 81"/>
                <a:gd name="T52" fmla="*/ 114 w 252"/>
                <a:gd name="T53" fmla="*/ 33 h 81"/>
                <a:gd name="T54" fmla="*/ 145 w 252"/>
                <a:gd name="T55" fmla="*/ 39 h 81"/>
                <a:gd name="T56" fmla="*/ 151 w 252"/>
                <a:gd name="T57" fmla="*/ 52 h 81"/>
                <a:gd name="T58" fmla="*/ 174 w 252"/>
                <a:gd name="T59" fmla="*/ 61 h 81"/>
                <a:gd name="T60" fmla="*/ 176 w 252"/>
                <a:gd name="T61" fmla="*/ 60 h 81"/>
                <a:gd name="T62" fmla="*/ 177 w 252"/>
                <a:gd name="T63" fmla="*/ 60 h 81"/>
                <a:gd name="T64" fmla="*/ 180 w 252"/>
                <a:gd name="T65" fmla="*/ 70 h 81"/>
                <a:gd name="T66" fmla="*/ 168 w 252"/>
                <a:gd name="T67" fmla="*/ 80 h 81"/>
                <a:gd name="T68" fmla="*/ 201 w 252"/>
                <a:gd name="T69" fmla="*/ 79 h 81"/>
                <a:gd name="T70" fmla="*/ 219 w 252"/>
                <a:gd name="T71" fmla="*/ 79 h 81"/>
                <a:gd name="T72" fmla="*/ 227 w 252"/>
                <a:gd name="T73" fmla="*/ 80 h 81"/>
                <a:gd name="T74" fmla="*/ 230 w 252"/>
                <a:gd name="T75" fmla="*/ 80 h 81"/>
                <a:gd name="T76" fmla="*/ 241 w 252"/>
                <a:gd name="T77" fmla="*/ 76 h 81"/>
                <a:gd name="T78" fmla="*/ 245 w 252"/>
                <a:gd name="T79" fmla="*/ 76 h 81"/>
                <a:gd name="T80" fmla="*/ 251 w 252"/>
                <a:gd name="T81" fmla="*/ 73 h 81"/>
                <a:gd name="T82" fmla="*/ 227 w 252"/>
                <a:gd name="T83" fmla="*/ 60 h 81"/>
                <a:gd name="T84" fmla="*/ 213 w 252"/>
                <a:gd name="T85" fmla="*/ 50 h 81"/>
                <a:gd name="T86" fmla="*/ 208 w 252"/>
                <a:gd name="T87" fmla="*/ 50 h 81"/>
                <a:gd name="T88" fmla="*/ 194 w 252"/>
                <a:gd name="T89" fmla="*/ 45 h 81"/>
                <a:gd name="T90" fmla="*/ 182 w 252"/>
                <a:gd name="T91" fmla="*/ 37 h 81"/>
                <a:gd name="T92" fmla="*/ 176 w 252"/>
                <a:gd name="T93" fmla="*/ 34 h 81"/>
                <a:gd name="T94" fmla="*/ 163 w 252"/>
                <a:gd name="T95" fmla="*/ 29 h 81"/>
                <a:gd name="T96" fmla="*/ 136 w 252"/>
                <a:gd name="T97" fmla="*/ 18 h 81"/>
                <a:gd name="T98" fmla="*/ 110 w 252"/>
                <a:gd name="T99" fmla="*/ 7 h 81"/>
                <a:gd name="T100" fmla="*/ 100 w 252"/>
                <a:gd name="T101" fmla="*/ 2 h 81"/>
                <a:gd name="T102" fmla="*/ 93 w 252"/>
                <a:gd name="T103" fmla="*/ 3 h 81"/>
                <a:gd name="T104" fmla="*/ 86 w 252"/>
                <a:gd name="T105" fmla="*/ 2 h 81"/>
                <a:gd name="T106" fmla="*/ 82 w 252"/>
                <a:gd name="T107" fmla="*/ 2 h 81"/>
                <a:gd name="T108" fmla="*/ 67 w 252"/>
                <a:gd name="T109"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2" h="81">
                  <a:moveTo>
                    <a:pt x="11" y="34"/>
                  </a:moveTo>
                  <a:cubicBezTo>
                    <a:pt x="11" y="34"/>
                    <a:pt x="11" y="34"/>
                    <a:pt x="11" y="34"/>
                  </a:cubicBezTo>
                  <a:cubicBezTo>
                    <a:pt x="11" y="34"/>
                    <a:pt x="11" y="34"/>
                    <a:pt x="11" y="34"/>
                  </a:cubicBezTo>
                  <a:cubicBezTo>
                    <a:pt x="11" y="34"/>
                    <a:pt x="11" y="34"/>
                    <a:pt x="11" y="34"/>
                  </a:cubicBezTo>
                  <a:moveTo>
                    <a:pt x="67" y="0"/>
                  </a:moveTo>
                  <a:cubicBezTo>
                    <a:pt x="61" y="2"/>
                    <a:pt x="54" y="3"/>
                    <a:pt x="47" y="5"/>
                  </a:cubicBezTo>
                  <a:cubicBezTo>
                    <a:pt x="41" y="6"/>
                    <a:pt x="35" y="8"/>
                    <a:pt x="28" y="10"/>
                  </a:cubicBezTo>
                  <a:cubicBezTo>
                    <a:pt x="24" y="11"/>
                    <a:pt x="18" y="15"/>
                    <a:pt x="15" y="19"/>
                  </a:cubicBezTo>
                  <a:cubicBezTo>
                    <a:pt x="13" y="22"/>
                    <a:pt x="15" y="25"/>
                    <a:pt x="16" y="28"/>
                  </a:cubicBezTo>
                  <a:cubicBezTo>
                    <a:pt x="15" y="29"/>
                    <a:pt x="14" y="29"/>
                    <a:pt x="13" y="29"/>
                  </a:cubicBezTo>
                  <a:cubicBezTo>
                    <a:pt x="13" y="29"/>
                    <a:pt x="13" y="29"/>
                    <a:pt x="12" y="29"/>
                  </a:cubicBezTo>
                  <a:cubicBezTo>
                    <a:pt x="12" y="29"/>
                    <a:pt x="11" y="29"/>
                    <a:pt x="11" y="29"/>
                  </a:cubicBezTo>
                  <a:cubicBezTo>
                    <a:pt x="10" y="29"/>
                    <a:pt x="9" y="29"/>
                    <a:pt x="8" y="29"/>
                  </a:cubicBezTo>
                  <a:cubicBezTo>
                    <a:pt x="7" y="29"/>
                    <a:pt x="6" y="30"/>
                    <a:pt x="5" y="31"/>
                  </a:cubicBezTo>
                  <a:cubicBezTo>
                    <a:pt x="3" y="31"/>
                    <a:pt x="0" y="31"/>
                    <a:pt x="2" y="33"/>
                  </a:cubicBezTo>
                  <a:cubicBezTo>
                    <a:pt x="3" y="33"/>
                    <a:pt x="4" y="33"/>
                    <a:pt x="5" y="33"/>
                  </a:cubicBezTo>
                  <a:cubicBezTo>
                    <a:pt x="6" y="33"/>
                    <a:pt x="6" y="33"/>
                    <a:pt x="7" y="33"/>
                  </a:cubicBezTo>
                  <a:cubicBezTo>
                    <a:pt x="8" y="33"/>
                    <a:pt x="8" y="33"/>
                    <a:pt x="9" y="33"/>
                  </a:cubicBezTo>
                  <a:cubicBezTo>
                    <a:pt x="9" y="33"/>
                    <a:pt x="9" y="33"/>
                    <a:pt x="9" y="33"/>
                  </a:cubicBezTo>
                  <a:cubicBezTo>
                    <a:pt x="9" y="33"/>
                    <a:pt x="11" y="34"/>
                    <a:pt x="11" y="34"/>
                  </a:cubicBezTo>
                  <a:cubicBezTo>
                    <a:pt x="11" y="34"/>
                    <a:pt x="11" y="34"/>
                    <a:pt x="11" y="34"/>
                  </a:cubicBezTo>
                  <a:cubicBezTo>
                    <a:pt x="13" y="34"/>
                    <a:pt x="17" y="32"/>
                    <a:pt x="19" y="31"/>
                  </a:cubicBezTo>
                  <a:cubicBezTo>
                    <a:pt x="21" y="31"/>
                    <a:pt x="22" y="31"/>
                    <a:pt x="22" y="30"/>
                  </a:cubicBezTo>
                  <a:cubicBezTo>
                    <a:pt x="24" y="28"/>
                    <a:pt x="23" y="25"/>
                    <a:pt x="26" y="25"/>
                  </a:cubicBezTo>
                  <a:cubicBezTo>
                    <a:pt x="28" y="24"/>
                    <a:pt x="30" y="23"/>
                    <a:pt x="32" y="23"/>
                  </a:cubicBezTo>
                  <a:cubicBezTo>
                    <a:pt x="32" y="23"/>
                    <a:pt x="32" y="23"/>
                    <a:pt x="32" y="23"/>
                  </a:cubicBezTo>
                  <a:cubicBezTo>
                    <a:pt x="34" y="23"/>
                    <a:pt x="35" y="24"/>
                    <a:pt x="36" y="24"/>
                  </a:cubicBezTo>
                  <a:cubicBezTo>
                    <a:pt x="36" y="24"/>
                    <a:pt x="37" y="23"/>
                    <a:pt x="39" y="22"/>
                  </a:cubicBezTo>
                  <a:cubicBezTo>
                    <a:pt x="41" y="19"/>
                    <a:pt x="44" y="17"/>
                    <a:pt x="47" y="16"/>
                  </a:cubicBezTo>
                  <a:cubicBezTo>
                    <a:pt x="49" y="15"/>
                    <a:pt x="52" y="12"/>
                    <a:pt x="54" y="12"/>
                  </a:cubicBezTo>
                  <a:cubicBezTo>
                    <a:pt x="54" y="12"/>
                    <a:pt x="54" y="12"/>
                    <a:pt x="54" y="12"/>
                  </a:cubicBezTo>
                  <a:cubicBezTo>
                    <a:pt x="58" y="12"/>
                    <a:pt x="61" y="12"/>
                    <a:pt x="64" y="12"/>
                  </a:cubicBezTo>
                  <a:cubicBezTo>
                    <a:pt x="65" y="12"/>
                    <a:pt x="65" y="12"/>
                    <a:pt x="65" y="12"/>
                  </a:cubicBezTo>
                  <a:cubicBezTo>
                    <a:pt x="65" y="12"/>
                    <a:pt x="66" y="12"/>
                    <a:pt x="67" y="12"/>
                  </a:cubicBezTo>
                  <a:cubicBezTo>
                    <a:pt x="68" y="12"/>
                    <a:pt x="68" y="12"/>
                    <a:pt x="69" y="12"/>
                  </a:cubicBezTo>
                  <a:cubicBezTo>
                    <a:pt x="71" y="12"/>
                    <a:pt x="72" y="12"/>
                    <a:pt x="73" y="12"/>
                  </a:cubicBezTo>
                  <a:cubicBezTo>
                    <a:pt x="76" y="14"/>
                    <a:pt x="79" y="16"/>
                    <a:pt x="75" y="18"/>
                  </a:cubicBezTo>
                  <a:cubicBezTo>
                    <a:pt x="74" y="18"/>
                    <a:pt x="74" y="18"/>
                    <a:pt x="73" y="18"/>
                  </a:cubicBezTo>
                  <a:cubicBezTo>
                    <a:pt x="73" y="18"/>
                    <a:pt x="73" y="18"/>
                    <a:pt x="73" y="18"/>
                  </a:cubicBezTo>
                  <a:cubicBezTo>
                    <a:pt x="73" y="18"/>
                    <a:pt x="72" y="18"/>
                    <a:pt x="72" y="18"/>
                  </a:cubicBezTo>
                  <a:cubicBezTo>
                    <a:pt x="72" y="18"/>
                    <a:pt x="72" y="18"/>
                    <a:pt x="72" y="18"/>
                  </a:cubicBezTo>
                  <a:cubicBezTo>
                    <a:pt x="72" y="18"/>
                    <a:pt x="71" y="18"/>
                    <a:pt x="71" y="18"/>
                  </a:cubicBezTo>
                  <a:cubicBezTo>
                    <a:pt x="71" y="18"/>
                    <a:pt x="71" y="18"/>
                    <a:pt x="70" y="18"/>
                  </a:cubicBezTo>
                  <a:cubicBezTo>
                    <a:pt x="70" y="18"/>
                    <a:pt x="69" y="18"/>
                    <a:pt x="69" y="18"/>
                  </a:cubicBezTo>
                  <a:cubicBezTo>
                    <a:pt x="67" y="18"/>
                    <a:pt x="66" y="18"/>
                    <a:pt x="66" y="19"/>
                  </a:cubicBezTo>
                  <a:cubicBezTo>
                    <a:pt x="66" y="21"/>
                    <a:pt x="72" y="24"/>
                    <a:pt x="74" y="24"/>
                  </a:cubicBezTo>
                  <a:cubicBezTo>
                    <a:pt x="74" y="24"/>
                    <a:pt x="75" y="24"/>
                    <a:pt x="76" y="24"/>
                  </a:cubicBezTo>
                  <a:cubicBezTo>
                    <a:pt x="80" y="24"/>
                    <a:pt x="87" y="23"/>
                    <a:pt x="88" y="22"/>
                  </a:cubicBezTo>
                  <a:cubicBezTo>
                    <a:pt x="90" y="25"/>
                    <a:pt x="89" y="27"/>
                    <a:pt x="93" y="27"/>
                  </a:cubicBezTo>
                  <a:cubicBezTo>
                    <a:pt x="94" y="27"/>
                    <a:pt x="94" y="27"/>
                    <a:pt x="95" y="27"/>
                  </a:cubicBezTo>
                  <a:cubicBezTo>
                    <a:pt x="95" y="27"/>
                    <a:pt x="96" y="27"/>
                    <a:pt x="97" y="27"/>
                  </a:cubicBezTo>
                  <a:cubicBezTo>
                    <a:pt x="97" y="27"/>
                    <a:pt x="98" y="27"/>
                    <a:pt x="98" y="27"/>
                  </a:cubicBezTo>
                  <a:cubicBezTo>
                    <a:pt x="101" y="27"/>
                    <a:pt x="103" y="27"/>
                    <a:pt x="105" y="28"/>
                  </a:cubicBezTo>
                  <a:cubicBezTo>
                    <a:pt x="109" y="29"/>
                    <a:pt x="111" y="32"/>
                    <a:pt x="114" y="33"/>
                  </a:cubicBezTo>
                  <a:cubicBezTo>
                    <a:pt x="121" y="36"/>
                    <a:pt x="127" y="37"/>
                    <a:pt x="135" y="38"/>
                  </a:cubicBezTo>
                  <a:cubicBezTo>
                    <a:pt x="138" y="38"/>
                    <a:pt x="141" y="39"/>
                    <a:pt x="145" y="39"/>
                  </a:cubicBezTo>
                  <a:cubicBezTo>
                    <a:pt x="148" y="40"/>
                    <a:pt x="149" y="43"/>
                    <a:pt x="150" y="46"/>
                  </a:cubicBezTo>
                  <a:cubicBezTo>
                    <a:pt x="151" y="48"/>
                    <a:pt x="150" y="50"/>
                    <a:pt x="151" y="52"/>
                  </a:cubicBezTo>
                  <a:cubicBezTo>
                    <a:pt x="151" y="53"/>
                    <a:pt x="153" y="54"/>
                    <a:pt x="154" y="55"/>
                  </a:cubicBezTo>
                  <a:cubicBezTo>
                    <a:pt x="160" y="59"/>
                    <a:pt x="167" y="60"/>
                    <a:pt x="174" y="61"/>
                  </a:cubicBezTo>
                  <a:cubicBezTo>
                    <a:pt x="174" y="61"/>
                    <a:pt x="174" y="61"/>
                    <a:pt x="174" y="61"/>
                  </a:cubicBezTo>
                  <a:cubicBezTo>
                    <a:pt x="175" y="61"/>
                    <a:pt x="175" y="60"/>
                    <a:pt x="176" y="60"/>
                  </a:cubicBezTo>
                  <a:cubicBezTo>
                    <a:pt x="176" y="60"/>
                    <a:pt x="177" y="60"/>
                    <a:pt x="177" y="60"/>
                  </a:cubicBezTo>
                  <a:cubicBezTo>
                    <a:pt x="177" y="60"/>
                    <a:pt x="177" y="60"/>
                    <a:pt x="177" y="60"/>
                  </a:cubicBezTo>
                  <a:cubicBezTo>
                    <a:pt x="178" y="60"/>
                    <a:pt x="180" y="63"/>
                    <a:pt x="181" y="63"/>
                  </a:cubicBezTo>
                  <a:cubicBezTo>
                    <a:pt x="184" y="66"/>
                    <a:pt x="183" y="67"/>
                    <a:pt x="180" y="70"/>
                  </a:cubicBezTo>
                  <a:cubicBezTo>
                    <a:pt x="178" y="72"/>
                    <a:pt x="174" y="74"/>
                    <a:pt x="171" y="77"/>
                  </a:cubicBezTo>
                  <a:cubicBezTo>
                    <a:pt x="170" y="78"/>
                    <a:pt x="169" y="79"/>
                    <a:pt x="168" y="80"/>
                  </a:cubicBezTo>
                  <a:cubicBezTo>
                    <a:pt x="171" y="81"/>
                    <a:pt x="173" y="81"/>
                    <a:pt x="176" y="81"/>
                  </a:cubicBezTo>
                  <a:cubicBezTo>
                    <a:pt x="185" y="81"/>
                    <a:pt x="194" y="79"/>
                    <a:pt x="201" y="79"/>
                  </a:cubicBezTo>
                  <a:cubicBezTo>
                    <a:pt x="204" y="78"/>
                    <a:pt x="206" y="78"/>
                    <a:pt x="208" y="78"/>
                  </a:cubicBezTo>
                  <a:cubicBezTo>
                    <a:pt x="212" y="78"/>
                    <a:pt x="215" y="79"/>
                    <a:pt x="219" y="79"/>
                  </a:cubicBezTo>
                  <a:cubicBezTo>
                    <a:pt x="220" y="79"/>
                    <a:pt x="222" y="80"/>
                    <a:pt x="224" y="80"/>
                  </a:cubicBezTo>
                  <a:cubicBezTo>
                    <a:pt x="225" y="80"/>
                    <a:pt x="226" y="80"/>
                    <a:pt x="227" y="80"/>
                  </a:cubicBezTo>
                  <a:cubicBezTo>
                    <a:pt x="227" y="80"/>
                    <a:pt x="228" y="78"/>
                    <a:pt x="229" y="78"/>
                  </a:cubicBezTo>
                  <a:cubicBezTo>
                    <a:pt x="229" y="78"/>
                    <a:pt x="230" y="78"/>
                    <a:pt x="230" y="80"/>
                  </a:cubicBezTo>
                  <a:cubicBezTo>
                    <a:pt x="233" y="78"/>
                    <a:pt x="236" y="76"/>
                    <a:pt x="239" y="76"/>
                  </a:cubicBezTo>
                  <a:cubicBezTo>
                    <a:pt x="240" y="76"/>
                    <a:pt x="240" y="76"/>
                    <a:pt x="241" y="76"/>
                  </a:cubicBezTo>
                  <a:cubicBezTo>
                    <a:pt x="242" y="76"/>
                    <a:pt x="242" y="76"/>
                    <a:pt x="243" y="76"/>
                  </a:cubicBezTo>
                  <a:cubicBezTo>
                    <a:pt x="244" y="76"/>
                    <a:pt x="244" y="76"/>
                    <a:pt x="245" y="76"/>
                  </a:cubicBezTo>
                  <a:cubicBezTo>
                    <a:pt x="246" y="76"/>
                    <a:pt x="247" y="76"/>
                    <a:pt x="248" y="75"/>
                  </a:cubicBezTo>
                  <a:cubicBezTo>
                    <a:pt x="248" y="75"/>
                    <a:pt x="252" y="73"/>
                    <a:pt x="251" y="73"/>
                  </a:cubicBezTo>
                  <a:cubicBezTo>
                    <a:pt x="248" y="68"/>
                    <a:pt x="241" y="65"/>
                    <a:pt x="236" y="62"/>
                  </a:cubicBezTo>
                  <a:cubicBezTo>
                    <a:pt x="233" y="61"/>
                    <a:pt x="231" y="60"/>
                    <a:pt x="227" y="60"/>
                  </a:cubicBezTo>
                  <a:cubicBezTo>
                    <a:pt x="222" y="59"/>
                    <a:pt x="221" y="60"/>
                    <a:pt x="220" y="56"/>
                  </a:cubicBezTo>
                  <a:cubicBezTo>
                    <a:pt x="218" y="52"/>
                    <a:pt x="217" y="50"/>
                    <a:pt x="213" y="50"/>
                  </a:cubicBezTo>
                  <a:cubicBezTo>
                    <a:pt x="212" y="50"/>
                    <a:pt x="212" y="50"/>
                    <a:pt x="211" y="50"/>
                  </a:cubicBezTo>
                  <a:cubicBezTo>
                    <a:pt x="210" y="50"/>
                    <a:pt x="209" y="50"/>
                    <a:pt x="208" y="50"/>
                  </a:cubicBezTo>
                  <a:cubicBezTo>
                    <a:pt x="206" y="50"/>
                    <a:pt x="205" y="50"/>
                    <a:pt x="202" y="47"/>
                  </a:cubicBezTo>
                  <a:cubicBezTo>
                    <a:pt x="200" y="46"/>
                    <a:pt x="196" y="46"/>
                    <a:pt x="194" y="45"/>
                  </a:cubicBezTo>
                  <a:cubicBezTo>
                    <a:pt x="191" y="44"/>
                    <a:pt x="188" y="43"/>
                    <a:pt x="186" y="41"/>
                  </a:cubicBezTo>
                  <a:cubicBezTo>
                    <a:pt x="185" y="40"/>
                    <a:pt x="183" y="38"/>
                    <a:pt x="182" y="37"/>
                  </a:cubicBezTo>
                  <a:cubicBezTo>
                    <a:pt x="181" y="36"/>
                    <a:pt x="179" y="35"/>
                    <a:pt x="178" y="35"/>
                  </a:cubicBezTo>
                  <a:cubicBezTo>
                    <a:pt x="177" y="34"/>
                    <a:pt x="176" y="34"/>
                    <a:pt x="176" y="34"/>
                  </a:cubicBezTo>
                  <a:cubicBezTo>
                    <a:pt x="175" y="34"/>
                    <a:pt x="176" y="35"/>
                    <a:pt x="176" y="37"/>
                  </a:cubicBezTo>
                  <a:cubicBezTo>
                    <a:pt x="171" y="34"/>
                    <a:pt x="167" y="33"/>
                    <a:pt x="163" y="29"/>
                  </a:cubicBezTo>
                  <a:cubicBezTo>
                    <a:pt x="159" y="26"/>
                    <a:pt x="155" y="24"/>
                    <a:pt x="150" y="23"/>
                  </a:cubicBezTo>
                  <a:cubicBezTo>
                    <a:pt x="146" y="21"/>
                    <a:pt x="141" y="19"/>
                    <a:pt x="136" y="18"/>
                  </a:cubicBezTo>
                  <a:cubicBezTo>
                    <a:pt x="129" y="17"/>
                    <a:pt x="128" y="16"/>
                    <a:pt x="124" y="11"/>
                  </a:cubicBezTo>
                  <a:cubicBezTo>
                    <a:pt x="122" y="7"/>
                    <a:pt x="113" y="8"/>
                    <a:pt x="110" y="7"/>
                  </a:cubicBezTo>
                  <a:cubicBezTo>
                    <a:pt x="107" y="6"/>
                    <a:pt x="105" y="4"/>
                    <a:pt x="103" y="3"/>
                  </a:cubicBezTo>
                  <a:cubicBezTo>
                    <a:pt x="102" y="3"/>
                    <a:pt x="101" y="2"/>
                    <a:pt x="100" y="2"/>
                  </a:cubicBezTo>
                  <a:cubicBezTo>
                    <a:pt x="99" y="2"/>
                    <a:pt x="97" y="3"/>
                    <a:pt x="96" y="3"/>
                  </a:cubicBezTo>
                  <a:cubicBezTo>
                    <a:pt x="95" y="3"/>
                    <a:pt x="94" y="3"/>
                    <a:pt x="93" y="3"/>
                  </a:cubicBezTo>
                  <a:cubicBezTo>
                    <a:pt x="91" y="3"/>
                    <a:pt x="90" y="3"/>
                    <a:pt x="88" y="2"/>
                  </a:cubicBezTo>
                  <a:cubicBezTo>
                    <a:pt x="87" y="2"/>
                    <a:pt x="87" y="2"/>
                    <a:pt x="86" y="2"/>
                  </a:cubicBezTo>
                  <a:cubicBezTo>
                    <a:pt x="85" y="2"/>
                    <a:pt x="85" y="2"/>
                    <a:pt x="84" y="2"/>
                  </a:cubicBezTo>
                  <a:cubicBezTo>
                    <a:pt x="84" y="2"/>
                    <a:pt x="83" y="2"/>
                    <a:pt x="82" y="2"/>
                  </a:cubicBezTo>
                  <a:cubicBezTo>
                    <a:pt x="82" y="2"/>
                    <a:pt x="82" y="2"/>
                    <a:pt x="82" y="2"/>
                  </a:cubicBezTo>
                  <a:cubicBezTo>
                    <a:pt x="77" y="2"/>
                    <a:pt x="72"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2" name="Freeform 71">
              <a:extLst>
                <a:ext uri="{FF2B5EF4-FFF2-40B4-BE49-F238E27FC236}">
                  <a16:creationId xmlns:a16="http://schemas.microsoft.com/office/drawing/2014/main" id="{2B346753-CC76-44EE-A7C8-71AB356579EB}"/>
                </a:ext>
              </a:extLst>
            </p:cNvPr>
            <p:cNvSpPr>
              <a:spLocks/>
            </p:cNvSpPr>
            <p:nvPr/>
          </p:nvSpPr>
          <p:spPr bwMode="auto">
            <a:xfrm>
              <a:off x="7655408" y="210429"/>
              <a:ext cx="5649" cy="5649"/>
            </a:xfrm>
            <a:custGeom>
              <a:avLst/>
              <a:gdLst>
                <a:gd name="T0" fmla="*/ 0 w 2"/>
                <a:gd name="T1" fmla="*/ 0 h 2"/>
                <a:gd name="T2" fmla="*/ 2 w 2"/>
                <a:gd name="T3" fmla="*/ 2 h 2"/>
                <a:gd name="T4" fmla="*/ 2 w 2"/>
                <a:gd name="T5" fmla="*/ 2 h 2"/>
                <a:gd name="T6" fmla="*/ 0 w 2"/>
                <a:gd name="T7" fmla="*/ 0 h 2"/>
              </a:gdLst>
              <a:ahLst/>
              <a:cxnLst>
                <a:cxn ang="0">
                  <a:pos x="T0" y="T1"/>
                </a:cxn>
                <a:cxn ang="0">
                  <a:pos x="T2" y="T3"/>
                </a:cxn>
                <a:cxn ang="0">
                  <a:pos x="T4" y="T5"/>
                </a:cxn>
                <a:cxn ang="0">
                  <a:pos x="T6" y="T7"/>
                </a:cxn>
              </a:cxnLst>
              <a:rect l="0" t="0" r="r" b="b"/>
              <a:pathLst>
                <a:path w="2" h="2">
                  <a:moveTo>
                    <a:pt x="0" y="0"/>
                  </a:moveTo>
                  <a:cubicBezTo>
                    <a:pt x="0" y="1"/>
                    <a:pt x="1" y="2"/>
                    <a:pt x="2" y="2"/>
                  </a:cubicBezTo>
                  <a:cubicBezTo>
                    <a:pt x="2" y="2"/>
                    <a:pt x="2" y="2"/>
                    <a:pt x="2" y="2"/>
                  </a:cubicBezTo>
                  <a:cubicBezTo>
                    <a:pt x="1"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3" name="Freeform 72">
              <a:extLst>
                <a:ext uri="{FF2B5EF4-FFF2-40B4-BE49-F238E27FC236}">
                  <a16:creationId xmlns:a16="http://schemas.microsoft.com/office/drawing/2014/main" id="{3024B3AF-6782-4EB8-BC62-CD07A8AD4E6D}"/>
                </a:ext>
              </a:extLst>
            </p:cNvPr>
            <p:cNvSpPr>
              <a:spLocks/>
            </p:cNvSpPr>
            <p:nvPr/>
          </p:nvSpPr>
          <p:spPr bwMode="auto">
            <a:xfrm>
              <a:off x="7648347" y="206192"/>
              <a:ext cx="2825" cy="4237"/>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1"/>
                    <a:pt x="1" y="1"/>
                    <a:pt x="1"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4" name="Freeform 73">
              <a:extLst>
                <a:ext uri="{FF2B5EF4-FFF2-40B4-BE49-F238E27FC236}">
                  <a16:creationId xmlns:a16="http://schemas.microsoft.com/office/drawing/2014/main" id="{5F0D5D1B-1E42-4B1E-8633-D5962BD37E73}"/>
                </a:ext>
              </a:extLst>
            </p:cNvPr>
            <p:cNvSpPr>
              <a:spLocks noEditPoints="1"/>
            </p:cNvSpPr>
            <p:nvPr/>
          </p:nvSpPr>
          <p:spPr bwMode="auto">
            <a:xfrm>
              <a:off x="7661057" y="216078"/>
              <a:ext cx="9886" cy="7061"/>
            </a:xfrm>
            <a:custGeom>
              <a:avLst/>
              <a:gdLst>
                <a:gd name="T0" fmla="*/ 2 w 3"/>
                <a:gd name="T1" fmla="*/ 1 h 2"/>
                <a:gd name="T2" fmla="*/ 3 w 3"/>
                <a:gd name="T3" fmla="*/ 2 h 2"/>
                <a:gd name="T4" fmla="*/ 2 w 3"/>
                <a:gd name="T5" fmla="*/ 1 h 2"/>
                <a:gd name="T6" fmla="*/ 0 w 3"/>
                <a:gd name="T7" fmla="*/ 0 h 2"/>
                <a:gd name="T8" fmla="*/ 2 w 3"/>
                <a:gd name="T9" fmla="*/ 1 h 2"/>
                <a:gd name="T10" fmla="*/ 0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2" y="1"/>
                  </a:moveTo>
                  <a:cubicBezTo>
                    <a:pt x="2" y="2"/>
                    <a:pt x="3" y="2"/>
                    <a:pt x="3" y="2"/>
                  </a:cubicBezTo>
                  <a:cubicBezTo>
                    <a:pt x="3" y="2"/>
                    <a:pt x="2" y="2"/>
                    <a:pt x="2" y="1"/>
                  </a:cubicBezTo>
                  <a:moveTo>
                    <a:pt x="0" y="0"/>
                  </a:moveTo>
                  <a:cubicBezTo>
                    <a:pt x="1" y="0"/>
                    <a:pt x="2" y="1"/>
                    <a:pt x="2"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5" name="Freeform 74">
              <a:extLst>
                <a:ext uri="{FF2B5EF4-FFF2-40B4-BE49-F238E27FC236}">
                  <a16:creationId xmlns:a16="http://schemas.microsoft.com/office/drawing/2014/main" id="{E16EAB08-9C1A-4095-8E9F-64EE046CE45E}"/>
                </a:ext>
              </a:extLst>
            </p:cNvPr>
            <p:cNvSpPr>
              <a:spLocks/>
            </p:cNvSpPr>
            <p:nvPr/>
          </p:nvSpPr>
          <p:spPr bwMode="auto">
            <a:xfrm>
              <a:off x="7754267" y="249972"/>
              <a:ext cx="48017" cy="29658"/>
            </a:xfrm>
            <a:custGeom>
              <a:avLst/>
              <a:gdLst>
                <a:gd name="T0" fmla="*/ 6 w 14"/>
                <a:gd name="T1" fmla="*/ 0 h 9"/>
                <a:gd name="T2" fmla="*/ 12 w 14"/>
                <a:gd name="T3" fmla="*/ 9 h 9"/>
                <a:gd name="T4" fmla="*/ 14 w 14"/>
                <a:gd name="T5" fmla="*/ 6 h 9"/>
                <a:gd name="T6" fmla="*/ 11 w 14"/>
                <a:gd name="T7" fmla="*/ 4 h 9"/>
                <a:gd name="T8" fmla="*/ 10 w 14"/>
                <a:gd name="T9" fmla="*/ 6 h 9"/>
                <a:gd name="T10" fmla="*/ 9 w 14"/>
                <a:gd name="T11" fmla="*/ 4 h 9"/>
                <a:gd name="T12" fmla="*/ 9 w 14"/>
                <a:gd name="T13" fmla="*/ 4 h 9"/>
                <a:gd name="T14" fmla="*/ 8 w 14"/>
                <a:gd name="T15" fmla="*/ 1 h 9"/>
                <a:gd name="T16" fmla="*/ 7 w 14"/>
                <a:gd name="T17" fmla="*/ 2 h 9"/>
                <a:gd name="T18" fmla="*/ 7 w 14"/>
                <a:gd name="T19" fmla="*/ 1 h 9"/>
                <a:gd name="T20" fmla="*/ 6 w 14"/>
                <a:gd name="T21" fmla="*/ 1 h 9"/>
                <a:gd name="T22" fmla="*/ 6 w 14"/>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9">
                  <a:moveTo>
                    <a:pt x="6" y="0"/>
                  </a:moveTo>
                  <a:cubicBezTo>
                    <a:pt x="0" y="2"/>
                    <a:pt x="11" y="8"/>
                    <a:pt x="12" y="9"/>
                  </a:cubicBezTo>
                  <a:cubicBezTo>
                    <a:pt x="13" y="8"/>
                    <a:pt x="13" y="7"/>
                    <a:pt x="14" y="6"/>
                  </a:cubicBezTo>
                  <a:cubicBezTo>
                    <a:pt x="13" y="5"/>
                    <a:pt x="12" y="5"/>
                    <a:pt x="11" y="4"/>
                  </a:cubicBezTo>
                  <a:cubicBezTo>
                    <a:pt x="11" y="5"/>
                    <a:pt x="10" y="5"/>
                    <a:pt x="10" y="6"/>
                  </a:cubicBezTo>
                  <a:cubicBezTo>
                    <a:pt x="10" y="5"/>
                    <a:pt x="10" y="4"/>
                    <a:pt x="9" y="4"/>
                  </a:cubicBezTo>
                  <a:cubicBezTo>
                    <a:pt x="9" y="4"/>
                    <a:pt x="9" y="4"/>
                    <a:pt x="9" y="4"/>
                  </a:cubicBezTo>
                  <a:cubicBezTo>
                    <a:pt x="10" y="2"/>
                    <a:pt x="8" y="3"/>
                    <a:pt x="8" y="1"/>
                  </a:cubicBezTo>
                  <a:cubicBezTo>
                    <a:pt x="7" y="2"/>
                    <a:pt x="7" y="2"/>
                    <a:pt x="7" y="2"/>
                  </a:cubicBezTo>
                  <a:cubicBezTo>
                    <a:pt x="7" y="1"/>
                    <a:pt x="7" y="1"/>
                    <a:pt x="7" y="1"/>
                  </a:cubicBezTo>
                  <a:cubicBezTo>
                    <a:pt x="6" y="1"/>
                    <a:pt x="6" y="1"/>
                    <a:pt x="6" y="1"/>
                  </a:cubicBezTo>
                  <a:cubicBezTo>
                    <a:pt x="6" y="1"/>
                    <a:pt x="6"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6" name="Freeform 75">
              <a:extLst>
                <a:ext uri="{FF2B5EF4-FFF2-40B4-BE49-F238E27FC236}">
                  <a16:creationId xmlns:a16="http://schemas.microsoft.com/office/drawing/2014/main" id="{A8CC88ED-1A80-481A-9182-7A91712A6170}"/>
                </a:ext>
              </a:extLst>
            </p:cNvPr>
            <p:cNvSpPr>
              <a:spLocks/>
            </p:cNvSpPr>
            <p:nvPr/>
          </p:nvSpPr>
          <p:spPr bwMode="auto">
            <a:xfrm>
              <a:off x="7734495" y="384138"/>
              <a:ext cx="14123" cy="5649"/>
            </a:xfrm>
            <a:custGeom>
              <a:avLst/>
              <a:gdLst>
                <a:gd name="T0" fmla="*/ 1 w 4"/>
                <a:gd name="T1" fmla="*/ 0 h 2"/>
                <a:gd name="T2" fmla="*/ 0 w 4"/>
                <a:gd name="T3" fmla="*/ 0 h 2"/>
                <a:gd name="T4" fmla="*/ 4 w 4"/>
                <a:gd name="T5" fmla="*/ 2 h 2"/>
                <a:gd name="T6" fmla="*/ 1 w 4"/>
                <a:gd name="T7" fmla="*/ 0 h 2"/>
              </a:gdLst>
              <a:ahLst/>
              <a:cxnLst>
                <a:cxn ang="0">
                  <a:pos x="T0" y="T1"/>
                </a:cxn>
                <a:cxn ang="0">
                  <a:pos x="T2" y="T3"/>
                </a:cxn>
                <a:cxn ang="0">
                  <a:pos x="T4" y="T5"/>
                </a:cxn>
                <a:cxn ang="0">
                  <a:pos x="T6" y="T7"/>
                </a:cxn>
              </a:cxnLst>
              <a:rect l="0" t="0" r="r" b="b"/>
              <a:pathLst>
                <a:path w="4" h="2">
                  <a:moveTo>
                    <a:pt x="1" y="0"/>
                  </a:moveTo>
                  <a:cubicBezTo>
                    <a:pt x="0" y="0"/>
                    <a:pt x="0" y="0"/>
                    <a:pt x="0" y="0"/>
                  </a:cubicBezTo>
                  <a:cubicBezTo>
                    <a:pt x="1" y="1"/>
                    <a:pt x="2" y="1"/>
                    <a:pt x="4"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7" name="Freeform 76">
              <a:extLst>
                <a:ext uri="{FF2B5EF4-FFF2-40B4-BE49-F238E27FC236}">
                  <a16:creationId xmlns:a16="http://schemas.microsoft.com/office/drawing/2014/main" id="{8C2647DC-8983-4408-ABE2-AC12BB1A8729}"/>
                </a:ext>
              </a:extLst>
            </p:cNvPr>
            <p:cNvSpPr>
              <a:spLocks/>
            </p:cNvSpPr>
            <p:nvPr/>
          </p:nvSpPr>
          <p:spPr bwMode="auto">
            <a:xfrm>
              <a:off x="7374366" y="276806"/>
              <a:ext cx="50842" cy="39544"/>
            </a:xfrm>
            <a:custGeom>
              <a:avLst/>
              <a:gdLst>
                <a:gd name="T0" fmla="*/ 5 w 15"/>
                <a:gd name="T1" fmla="*/ 0 h 12"/>
                <a:gd name="T2" fmla="*/ 2 w 15"/>
                <a:gd name="T3" fmla="*/ 10 h 12"/>
                <a:gd name="T4" fmla="*/ 7 w 15"/>
                <a:gd name="T5" fmla="*/ 12 h 12"/>
                <a:gd name="T6" fmla="*/ 11 w 15"/>
                <a:gd name="T7" fmla="*/ 11 h 12"/>
                <a:gd name="T8" fmla="*/ 14 w 15"/>
                <a:gd name="T9" fmla="*/ 9 h 12"/>
                <a:gd name="T10" fmla="*/ 10 w 15"/>
                <a:gd name="T11" fmla="*/ 3 h 12"/>
                <a:gd name="T12" fmla="*/ 6 w 15"/>
                <a:gd name="T13" fmla="*/ 0 h 12"/>
                <a:gd name="T14" fmla="*/ 5 w 15"/>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2">
                  <a:moveTo>
                    <a:pt x="5" y="0"/>
                  </a:moveTo>
                  <a:cubicBezTo>
                    <a:pt x="0" y="0"/>
                    <a:pt x="2" y="6"/>
                    <a:pt x="2" y="10"/>
                  </a:cubicBezTo>
                  <a:cubicBezTo>
                    <a:pt x="4" y="11"/>
                    <a:pt x="5" y="12"/>
                    <a:pt x="7" y="12"/>
                  </a:cubicBezTo>
                  <a:cubicBezTo>
                    <a:pt x="8" y="12"/>
                    <a:pt x="9" y="11"/>
                    <a:pt x="11" y="11"/>
                  </a:cubicBezTo>
                  <a:cubicBezTo>
                    <a:pt x="12" y="10"/>
                    <a:pt x="13" y="10"/>
                    <a:pt x="14" y="9"/>
                  </a:cubicBezTo>
                  <a:cubicBezTo>
                    <a:pt x="15" y="7"/>
                    <a:pt x="12" y="4"/>
                    <a:pt x="10" y="3"/>
                  </a:cubicBezTo>
                  <a:cubicBezTo>
                    <a:pt x="12" y="1"/>
                    <a:pt x="8" y="0"/>
                    <a:pt x="6" y="0"/>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8" name="Freeform 77">
              <a:extLst>
                <a:ext uri="{FF2B5EF4-FFF2-40B4-BE49-F238E27FC236}">
                  <a16:creationId xmlns:a16="http://schemas.microsoft.com/office/drawing/2014/main" id="{D9A713DA-0AF3-4B51-9362-B6C7667DD212}"/>
                </a:ext>
              </a:extLst>
            </p:cNvPr>
            <p:cNvSpPr>
              <a:spLocks/>
            </p:cNvSpPr>
            <p:nvPr/>
          </p:nvSpPr>
          <p:spPr bwMode="auto">
            <a:xfrm>
              <a:off x="7678004" y="353068"/>
              <a:ext cx="9886" cy="7061"/>
            </a:xfrm>
            <a:custGeom>
              <a:avLst/>
              <a:gdLst>
                <a:gd name="T0" fmla="*/ 0 w 3"/>
                <a:gd name="T1" fmla="*/ 0 h 2"/>
                <a:gd name="T2" fmla="*/ 3 w 3"/>
                <a:gd name="T3" fmla="*/ 2 h 2"/>
                <a:gd name="T4" fmla="*/ 0 w 3"/>
                <a:gd name="T5" fmla="*/ 0 h 2"/>
              </a:gdLst>
              <a:ahLst/>
              <a:cxnLst>
                <a:cxn ang="0">
                  <a:pos x="T0" y="T1"/>
                </a:cxn>
                <a:cxn ang="0">
                  <a:pos x="T2" y="T3"/>
                </a:cxn>
                <a:cxn ang="0">
                  <a:pos x="T4" y="T5"/>
                </a:cxn>
              </a:cxnLst>
              <a:rect l="0" t="0" r="r" b="b"/>
              <a:pathLst>
                <a:path w="3" h="2">
                  <a:moveTo>
                    <a:pt x="0" y="0"/>
                  </a:moveTo>
                  <a:cubicBezTo>
                    <a:pt x="1" y="0"/>
                    <a:pt x="2" y="1"/>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9" name="Freeform 78">
              <a:extLst>
                <a:ext uri="{FF2B5EF4-FFF2-40B4-BE49-F238E27FC236}">
                  <a16:creationId xmlns:a16="http://schemas.microsoft.com/office/drawing/2014/main" id="{10626189-BCEE-4FC7-B572-1EEA4AF05F38}"/>
                </a:ext>
              </a:extLst>
            </p:cNvPr>
            <p:cNvSpPr>
              <a:spLocks/>
            </p:cNvSpPr>
            <p:nvPr/>
          </p:nvSpPr>
          <p:spPr bwMode="auto">
            <a:xfrm>
              <a:off x="7748618" y="237262"/>
              <a:ext cx="22596" cy="12710"/>
            </a:xfrm>
            <a:custGeom>
              <a:avLst/>
              <a:gdLst>
                <a:gd name="T0" fmla="*/ 2 w 7"/>
                <a:gd name="T1" fmla="*/ 0 h 4"/>
                <a:gd name="T2" fmla="*/ 0 w 7"/>
                <a:gd name="T3" fmla="*/ 0 h 4"/>
                <a:gd name="T4" fmla="*/ 7 w 7"/>
                <a:gd name="T5" fmla="*/ 4 h 4"/>
                <a:gd name="T6" fmla="*/ 2 w 7"/>
                <a:gd name="T7" fmla="*/ 0 h 4"/>
              </a:gdLst>
              <a:ahLst/>
              <a:cxnLst>
                <a:cxn ang="0">
                  <a:pos x="T0" y="T1"/>
                </a:cxn>
                <a:cxn ang="0">
                  <a:pos x="T2" y="T3"/>
                </a:cxn>
                <a:cxn ang="0">
                  <a:pos x="T4" y="T5"/>
                </a:cxn>
                <a:cxn ang="0">
                  <a:pos x="T6" y="T7"/>
                </a:cxn>
              </a:cxnLst>
              <a:rect l="0" t="0" r="r" b="b"/>
              <a:pathLst>
                <a:path w="7" h="4">
                  <a:moveTo>
                    <a:pt x="2" y="0"/>
                  </a:moveTo>
                  <a:cubicBezTo>
                    <a:pt x="1" y="0"/>
                    <a:pt x="1" y="0"/>
                    <a:pt x="0" y="0"/>
                  </a:cubicBezTo>
                  <a:cubicBezTo>
                    <a:pt x="2" y="2"/>
                    <a:pt x="5" y="3"/>
                    <a:pt x="7" y="4"/>
                  </a:cubicBezTo>
                  <a:cubicBezTo>
                    <a:pt x="5" y="2"/>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0" name="Freeform 79">
              <a:extLst>
                <a:ext uri="{FF2B5EF4-FFF2-40B4-BE49-F238E27FC236}">
                  <a16:creationId xmlns:a16="http://schemas.microsoft.com/office/drawing/2014/main" id="{C73039D6-3B22-42D9-9515-FD26776B3D4D}"/>
                </a:ext>
              </a:extLst>
            </p:cNvPr>
            <p:cNvSpPr>
              <a:spLocks/>
            </p:cNvSpPr>
            <p:nvPr/>
          </p:nvSpPr>
          <p:spPr bwMode="auto">
            <a:xfrm>
              <a:off x="8011300" y="132754"/>
              <a:ext cx="11298" cy="4237"/>
            </a:xfrm>
            <a:custGeom>
              <a:avLst/>
              <a:gdLst>
                <a:gd name="T0" fmla="*/ 2 w 3"/>
                <a:gd name="T1" fmla="*/ 0 h 1"/>
                <a:gd name="T2" fmla="*/ 0 w 3"/>
                <a:gd name="T3" fmla="*/ 1 h 1"/>
                <a:gd name="T4" fmla="*/ 3 w 3"/>
                <a:gd name="T5" fmla="*/ 0 h 1"/>
                <a:gd name="T6" fmla="*/ 2 w 3"/>
                <a:gd name="T7" fmla="*/ 0 h 1"/>
              </a:gdLst>
              <a:ahLst/>
              <a:cxnLst>
                <a:cxn ang="0">
                  <a:pos x="T0" y="T1"/>
                </a:cxn>
                <a:cxn ang="0">
                  <a:pos x="T2" y="T3"/>
                </a:cxn>
                <a:cxn ang="0">
                  <a:pos x="T4" y="T5"/>
                </a:cxn>
                <a:cxn ang="0">
                  <a:pos x="T6" y="T7"/>
                </a:cxn>
              </a:cxnLst>
              <a:rect l="0" t="0" r="r" b="b"/>
              <a:pathLst>
                <a:path w="3" h="1">
                  <a:moveTo>
                    <a:pt x="2" y="0"/>
                  </a:moveTo>
                  <a:cubicBezTo>
                    <a:pt x="2" y="0"/>
                    <a:pt x="1" y="0"/>
                    <a:pt x="0" y="1"/>
                  </a:cubicBezTo>
                  <a:cubicBezTo>
                    <a:pt x="1" y="1"/>
                    <a:pt x="2" y="0"/>
                    <a:pt x="3"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1" name="Freeform 80">
              <a:extLst>
                <a:ext uri="{FF2B5EF4-FFF2-40B4-BE49-F238E27FC236}">
                  <a16:creationId xmlns:a16="http://schemas.microsoft.com/office/drawing/2014/main" id="{B890AAB9-5E93-401E-80C7-77634EC35EC3}"/>
                </a:ext>
              </a:extLst>
            </p:cNvPr>
            <p:cNvSpPr>
              <a:spLocks noEditPoints="1"/>
            </p:cNvSpPr>
            <p:nvPr/>
          </p:nvSpPr>
          <p:spPr bwMode="auto">
            <a:xfrm>
              <a:off x="7932213" y="142640"/>
              <a:ext cx="22596" cy="14123"/>
            </a:xfrm>
            <a:custGeom>
              <a:avLst/>
              <a:gdLst>
                <a:gd name="T0" fmla="*/ 0 w 7"/>
                <a:gd name="T1" fmla="*/ 0 h 4"/>
                <a:gd name="T2" fmla="*/ 3 w 7"/>
                <a:gd name="T3" fmla="*/ 3 h 4"/>
                <a:gd name="T4" fmla="*/ 7 w 7"/>
                <a:gd name="T5" fmla="*/ 4 h 4"/>
                <a:gd name="T6" fmla="*/ 0 w 7"/>
                <a:gd name="T7" fmla="*/ 0 h 4"/>
                <a:gd name="T8" fmla="*/ 0 w 7"/>
                <a:gd name="T9" fmla="*/ 0 h 4"/>
                <a:gd name="T10" fmla="*/ 0 w 7"/>
                <a:gd name="T11" fmla="*/ 0 h 4"/>
                <a:gd name="T12" fmla="*/ 0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0" y="0"/>
                  </a:moveTo>
                  <a:cubicBezTo>
                    <a:pt x="2" y="1"/>
                    <a:pt x="2" y="2"/>
                    <a:pt x="3" y="3"/>
                  </a:cubicBezTo>
                  <a:cubicBezTo>
                    <a:pt x="4" y="3"/>
                    <a:pt x="5" y="3"/>
                    <a:pt x="7" y="4"/>
                  </a:cubicBezTo>
                  <a:cubicBezTo>
                    <a:pt x="5" y="2"/>
                    <a:pt x="2" y="1"/>
                    <a:pt x="0" y="0"/>
                  </a:cubicBezTo>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2" name="Freeform 81">
              <a:extLst>
                <a:ext uri="{FF2B5EF4-FFF2-40B4-BE49-F238E27FC236}">
                  <a16:creationId xmlns:a16="http://schemas.microsoft.com/office/drawing/2014/main" id="{7D59261D-5A91-41A5-AD0A-790932BFF436}"/>
                </a:ext>
              </a:extLst>
            </p:cNvPr>
            <p:cNvSpPr>
              <a:spLocks/>
            </p:cNvSpPr>
            <p:nvPr/>
          </p:nvSpPr>
          <p:spPr bwMode="auto">
            <a:xfrm>
              <a:off x="7981642" y="163824"/>
              <a:ext cx="29658" cy="25421"/>
            </a:xfrm>
            <a:custGeom>
              <a:avLst/>
              <a:gdLst>
                <a:gd name="T0" fmla="*/ 4 w 9"/>
                <a:gd name="T1" fmla="*/ 0 h 8"/>
                <a:gd name="T2" fmla="*/ 3 w 9"/>
                <a:gd name="T3" fmla="*/ 5 h 8"/>
                <a:gd name="T4" fmla="*/ 9 w 9"/>
                <a:gd name="T5" fmla="*/ 8 h 8"/>
                <a:gd name="T6" fmla="*/ 4 w 9"/>
                <a:gd name="T7" fmla="*/ 0 h 8"/>
              </a:gdLst>
              <a:ahLst/>
              <a:cxnLst>
                <a:cxn ang="0">
                  <a:pos x="T0" y="T1"/>
                </a:cxn>
                <a:cxn ang="0">
                  <a:pos x="T2" y="T3"/>
                </a:cxn>
                <a:cxn ang="0">
                  <a:pos x="T4" y="T5"/>
                </a:cxn>
                <a:cxn ang="0">
                  <a:pos x="T6" y="T7"/>
                </a:cxn>
              </a:cxnLst>
              <a:rect l="0" t="0" r="r" b="b"/>
              <a:pathLst>
                <a:path w="9" h="8">
                  <a:moveTo>
                    <a:pt x="4" y="0"/>
                  </a:moveTo>
                  <a:cubicBezTo>
                    <a:pt x="5" y="3"/>
                    <a:pt x="0" y="3"/>
                    <a:pt x="3" y="5"/>
                  </a:cubicBezTo>
                  <a:cubicBezTo>
                    <a:pt x="5" y="7"/>
                    <a:pt x="7" y="6"/>
                    <a:pt x="9" y="8"/>
                  </a:cubicBezTo>
                  <a:cubicBezTo>
                    <a:pt x="7" y="6"/>
                    <a:pt x="6"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3" name="Freeform 82">
              <a:extLst>
                <a:ext uri="{FF2B5EF4-FFF2-40B4-BE49-F238E27FC236}">
                  <a16:creationId xmlns:a16="http://schemas.microsoft.com/office/drawing/2014/main" id="{32A3CAF8-1571-4BC3-94D0-CB12971D1A62}"/>
                </a:ext>
              </a:extLst>
            </p:cNvPr>
            <p:cNvSpPr>
              <a:spLocks noEditPoints="1"/>
            </p:cNvSpPr>
            <p:nvPr/>
          </p:nvSpPr>
          <p:spPr bwMode="auto">
            <a:xfrm>
              <a:off x="7778275" y="86149"/>
              <a:ext cx="29658" cy="46605"/>
            </a:xfrm>
            <a:custGeom>
              <a:avLst/>
              <a:gdLst>
                <a:gd name="T0" fmla="*/ 0 w 9"/>
                <a:gd name="T1" fmla="*/ 5 h 14"/>
                <a:gd name="T2" fmla="*/ 0 w 9"/>
                <a:gd name="T3" fmla="*/ 5 h 14"/>
                <a:gd name="T4" fmla="*/ 0 w 9"/>
                <a:gd name="T5" fmla="*/ 5 h 14"/>
                <a:gd name="T6" fmla="*/ 4 w 9"/>
                <a:gd name="T7" fmla="*/ 0 h 14"/>
                <a:gd name="T8" fmla="*/ 0 w 9"/>
                <a:gd name="T9" fmla="*/ 5 h 14"/>
                <a:gd name="T10" fmla="*/ 0 w 9"/>
                <a:gd name="T11" fmla="*/ 5 h 14"/>
                <a:gd name="T12" fmla="*/ 1 w 9"/>
                <a:gd name="T13" fmla="*/ 6 h 14"/>
                <a:gd name="T14" fmla="*/ 3 w 9"/>
                <a:gd name="T15" fmla="*/ 7 h 14"/>
                <a:gd name="T16" fmla="*/ 3 w 9"/>
                <a:gd name="T17" fmla="*/ 7 h 14"/>
                <a:gd name="T18" fmla="*/ 4 w 9"/>
                <a:gd name="T19" fmla="*/ 11 h 14"/>
                <a:gd name="T20" fmla="*/ 6 w 9"/>
                <a:gd name="T21" fmla="*/ 14 h 14"/>
                <a:gd name="T22" fmla="*/ 8 w 9"/>
                <a:gd name="T23" fmla="*/ 12 h 14"/>
                <a:gd name="T24" fmla="*/ 9 w 9"/>
                <a:gd name="T25" fmla="*/ 12 h 14"/>
                <a:gd name="T26" fmla="*/ 7 w 9"/>
                <a:gd name="T27" fmla="*/ 2 h 14"/>
                <a:gd name="T28" fmla="*/ 7 w 9"/>
                <a:gd name="T29" fmla="*/ 2 h 14"/>
                <a:gd name="T30" fmla="*/ 6 w 9"/>
                <a:gd name="T31" fmla="*/ 2 h 14"/>
                <a:gd name="T32" fmla="*/ 4 w 9"/>
                <a:gd name="T33" fmla="*/ 3 h 14"/>
                <a:gd name="T34" fmla="*/ 4 w 9"/>
                <a:gd name="T35" fmla="*/ 3 h 14"/>
                <a:gd name="T36" fmla="*/ 4 w 9"/>
                <a:gd name="T3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14">
                  <a:moveTo>
                    <a:pt x="0" y="5"/>
                  </a:moveTo>
                  <a:cubicBezTo>
                    <a:pt x="0" y="5"/>
                    <a:pt x="0" y="5"/>
                    <a:pt x="0" y="5"/>
                  </a:cubicBezTo>
                  <a:cubicBezTo>
                    <a:pt x="0" y="5"/>
                    <a:pt x="0" y="5"/>
                    <a:pt x="0" y="5"/>
                  </a:cubicBezTo>
                  <a:moveTo>
                    <a:pt x="4" y="0"/>
                  </a:moveTo>
                  <a:cubicBezTo>
                    <a:pt x="3" y="0"/>
                    <a:pt x="0" y="3"/>
                    <a:pt x="0" y="5"/>
                  </a:cubicBezTo>
                  <a:cubicBezTo>
                    <a:pt x="0" y="5"/>
                    <a:pt x="0" y="5"/>
                    <a:pt x="0" y="5"/>
                  </a:cubicBezTo>
                  <a:cubicBezTo>
                    <a:pt x="0" y="5"/>
                    <a:pt x="1" y="5"/>
                    <a:pt x="1" y="6"/>
                  </a:cubicBezTo>
                  <a:cubicBezTo>
                    <a:pt x="2" y="7"/>
                    <a:pt x="3" y="7"/>
                    <a:pt x="3" y="7"/>
                  </a:cubicBezTo>
                  <a:cubicBezTo>
                    <a:pt x="3" y="7"/>
                    <a:pt x="3" y="7"/>
                    <a:pt x="3" y="7"/>
                  </a:cubicBezTo>
                  <a:cubicBezTo>
                    <a:pt x="2" y="9"/>
                    <a:pt x="2" y="11"/>
                    <a:pt x="4" y="11"/>
                  </a:cubicBezTo>
                  <a:cubicBezTo>
                    <a:pt x="3" y="14"/>
                    <a:pt x="5" y="13"/>
                    <a:pt x="6" y="14"/>
                  </a:cubicBezTo>
                  <a:cubicBezTo>
                    <a:pt x="6" y="13"/>
                    <a:pt x="7" y="12"/>
                    <a:pt x="8" y="12"/>
                  </a:cubicBezTo>
                  <a:cubicBezTo>
                    <a:pt x="8" y="12"/>
                    <a:pt x="9" y="12"/>
                    <a:pt x="9" y="12"/>
                  </a:cubicBezTo>
                  <a:cubicBezTo>
                    <a:pt x="9" y="11"/>
                    <a:pt x="9" y="2"/>
                    <a:pt x="7" y="2"/>
                  </a:cubicBezTo>
                  <a:cubicBezTo>
                    <a:pt x="7" y="2"/>
                    <a:pt x="7" y="2"/>
                    <a:pt x="7" y="2"/>
                  </a:cubicBezTo>
                  <a:cubicBezTo>
                    <a:pt x="7" y="2"/>
                    <a:pt x="7" y="2"/>
                    <a:pt x="6" y="2"/>
                  </a:cubicBezTo>
                  <a:cubicBezTo>
                    <a:pt x="6" y="3"/>
                    <a:pt x="5" y="3"/>
                    <a:pt x="4" y="3"/>
                  </a:cubicBezTo>
                  <a:cubicBezTo>
                    <a:pt x="4" y="3"/>
                    <a:pt x="4" y="3"/>
                    <a:pt x="4" y="3"/>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4" name="Freeform 83">
              <a:extLst>
                <a:ext uri="{FF2B5EF4-FFF2-40B4-BE49-F238E27FC236}">
                  <a16:creationId xmlns:a16="http://schemas.microsoft.com/office/drawing/2014/main" id="{EE6FCC6D-7587-400D-8C88-BA3356DF3639}"/>
                </a:ext>
              </a:extLst>
            </p:cNvPr>
            <p:cNvSpPr>
              <a:spLocks/>
            </p:cNvSpPr>
            <p:nvPr/>
          </p:nvSpPr>
          <p:spPr bwMode="auto">
            <a:xfrm>
              <a:off x="8069203" y="210429"/>
              <a:ext cx="5649" cy="2825"/>
            </a:xfrm>
            <a:custGeom>
              <a:avLst/>
              <a:gdLst>
                <a:gd name="T0" fmla="*/ 0 w 2"/>
                <a:gd name="T1" fmla="*/ 0 h 1"/>
                <a:gd name="T2" fmla="*/ 1 w 2"/>
                <a:gd name="T3" fmla="*/ 1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1" y="1"/>
                    <a:pt x="1" y="1"/>
                    <a:pt x="1" y="1"/>
                  </a:cubicBezTo>
                  <a:cubicBezTo>
                    <a:pt x="2" y="1"/>
                    <a:pt x="2" y="1"/>
                    <a:pt x="2" y="1"/>
                  </a:cubicBezTo>
                  <a:cubicBezTo>
                    <a:pt x="1"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5" name="Freeform 84">
              <a:extLst>
                <a:ext uri="{FF2B5EF4-FFF2-40B4-BE49-F238E27FC236}">
                  <a16:creationId xmlns:a16="http://schemas.microsoft.com/office/drawing/2014/main" id="{25C67D29-D6C7-4F03-BACE-71E5F41E3E59}"/>
                </a:ext>
              </a:extLst>
            </p:cNvPr>
            <p:cNvSpPr>
              <a:spLocks/>
            </p:cNvSpPr>
            <p:nvPr/>
          </p:nvSpPr>
          <p:spPr bwMode="auto">
            <a:xfrm>
              <a:off x="8074852" y="213253"/>
              <a:ext cx="4237" cy="0"/>
            </a:xfrm>
            <a:custGeom>
              <a:avLst/>
              <a:gdLst>
                <a:gd name="T0" fmla="*/ 0 w 1"/>
                <a:gd name="T1" fmla="*/ 0 w 1"/>
                <a:gd name="T2" fmla="*/ 0 w 1"/>
                <a:gd name="T3" fmla="*/ 0 w 1"/>
                <a:gd name="T4" fmla="*/ 1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cubicBezTo>
                    <a:pt x="0" y="0"/>
                    <a:pt x="0" y="0"/>
                    <a:pt x="0" y="0"/>
                  </a:cubicBezTo>
                  <a:cubicBezTo>
                    <a:pt x="0" y="0"/>
                    <a:pt x="0" y="0"/>
                    <a:pt x="0" y="0"/>
                  </a:cubicBezTo>
                  <a:cubicBezTo>
                    <a:pt x="0" y="0"/>
                    <a:pt x="0" y="0"/>
                    <a:pt x="0" y="0"/>
                  </a:cubicBezTo>
                  <a:cubicBezTo>
                    <a:pt x="0" y="0"/>
                    <a:pt x="1" y="0"/>
                    <a:pt x="1" y="0"/>
                  </a:cubicBezTo>
                  <a:cubicBezTo>
                    <a:pt x="1"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6" name="Freeform 85">
              <a:extLst>
                <a:ext uri="{FF2B5EF4-FFF2-40B4-BE49-F238E27FC236}">
                  <a16:creationId xmlns:a16="http://schemas.microsoft.com/office/drawing/2014/main" id="{32F1FA93-809D-4BC7-B5B8-8F76F8752DA8}"/>
                </a:ext>
              </a:extLst>
            </p:cNvPr>
            <p:cNvSpPr>
              <a:spLocks/>
            </p:cNvSpPr>
            <p:nvPr/>
          </p:nvSpPr>
          <p:spPr bwMode="auto">
            <a:xfrm>
              <a:off x="8059317" y="210429"/>
              <a:ext cx="9886" cy="0"/>
            </a:xfrm>
            <a:custGeom>
              <a:avLst/>
              <a:gdLst>
                <a:gd name="T0" fmla="*/ 1 w 3"/>
                <a:gd name="T1" fmla="*/ 0 w 3"/>
                <a:gd name="T2" fmla="*/ 3 w 3"/>
                <a:gd name="T3" fmla="*/ 1 w 3"/>
              </a:gdLst>
              <a:ahLst/>
              <a:cxnLst>
                <a:cxn ang="0">
                  <a:pos x="T0" y="0"/>
                </a:cxn>
                <a:cxn ang="0">
                  <a:pos x="T1" y="0"/>
                </a:cxn>
                <a:cxn ang="0">
                  <a:pos x="T2" y="0"/>
                </a:cxn>
                <a:cxn ang="0">
                  <a:pos x="T3" y="0"/>
                </a:cxn>
              </a:cxnLst>
              <a:rect l="0" t="0" r="r" b="b"/>
              <a:pathLst>
                <a:path w="3">
                  <a:moveTo>
                    <a:pt x="1" y="0"/>
                  </a:moveTo>
                  <a:cubicBezTo>
                    <a:pt x="1" y="0"/>
                    <a:pt x="0" y="0"/>
                    <a:pt x="0" y="0"/>
                  </a:cubicBezTo>
                  <a:cubicBezTo>
                    <a:pt x="1" y="0"/>
                    <a:pt x="2" y="0"/>
                    <a:pt x="3" y="0"/>
                  </a:cubicBezTo>
                  <a:cubicBezTo>
                    <a:pt x="3"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7" name="Freeform 86">
              <a:extLst>
                <a:ext uri="{FF2B5EF4-FFF2-40B4-BE49-F238E27FC236}">
                  <a16:creationId xmlns:a16="http://schemas.microsoft.com/office/drawing/2014/main" id="{BD3C7C26-D873-4821-BB3E-FAFA72F26EB8}"/>
                </a:ext>
              </a:extLst>
            </p:cNvPr>
            <p:cNvSpPr>
              <a:spLocks/>
            </p:cNvSpPr>
            <p:nvPr/>
          </p:nvSpPr>
          <p:spPr bwMode="auto">
            <a:xfrm>
              <a:off x="8101685" y="326235"/>
              <a:ext cx="60728" cy="31070"/>
            </a:xfrm>
            <a:custGeom>
              <a:avLst/>
              <a:gdLst>
                <a:gd name="T0" fmla="*/ 16 w 18"/>
                <a:gd name="T1" fmla="*/ 0 h 9"/>
                <a:gd name="T2" fmla="*/ 16 w 18"/>
                <a:gd name="T3" fmla="*/ 0 h 9"/>
                <a:gd name="T4" fmla="*/ 13 w 18"/>
                <a:gd name="T5" fmla="*/ 4 h 9"/>
                <a:gd name="T6" fmla="*/ 11 w 18"/>
                <a:gd name="T7" fmla="*/ 4 h 9"/>
                <a:gd name="T8" fmla="*/ 8 w 18"/>
                <a:gd name="T9" fmla="*/ 2 h 9"/>
                <a:gd name="T10" fmla="*/ 5 w 18"/>
                <a:gd name="T11" fmla="*/ 4 h 9"/>
                <a:gd name="T12" fmla="*/ 1 w 18"/>
                <a:gd name="T13" fmla="*/ 5 h 9"/>
                <a:gd name="T14" fmla="*/ 3 w 18"/>
                <a:gd name="T15" fmla="*/ 9 h 9"/>
                <a:gd name="T16" fmla="*/ 4 w 18"/>
                <a:gd name="T17" fmla="*/ 9 h 9"/>
                <a:gd name="T18" fmla="*/ 5 w 18"/>
                <a:gd name="T19" fmla="*/ 9 h 9"/>
                <a:gd name="T20" fmla="*/ 7 w 18"/>
                <a:gd name="T21" fmla="*/ 9 h 9"/>
                <a:gd name="T22" fmla="*/ 15 w 18"/>
                <a:gd name="T23" fmla="*/ 6 h 9"/>
                <a:gd name="T24" fmla="*/ 16 w 18"/>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9">
                  <a:moveTo>
                    <a:pt x="16" y="0"/>
                  </a:moveTo>
                  <a:cubicBezTo>
                    <a:pt x="16" y="0"/>
                    <a:pt x="16" y="0"/>
                    <a:pt x="16" y="0"/>
                  </a:cubicBezTo>
                  <a:cubicBezTo>
                    <a:pt x="15" y="1"/>
                    <a:pt x="14" y="3"/>
                    <a:pt x="13" y="4"/>
                  </a:cubicBezTo>
                  <a:cubicBezTo>
                    <a:pt x="12" y="4"/>
                    <a:pt x="12" y="4"/>
                    <a:pt x="11" y="4"/>
                  </a:cubicBezTo>
                  <a:cubicBezTo>
                    <a:pt x="10" y="4"/>
                    <a:pt x="9" y="4"/>
                    <a:pt x="8" y="2"/>
                  </a:cubicBezTo>
                  <a:cubicBezTo>
                    <a:pt x="7" y="4"/>
                    <a:pt x="6" y="3"/>
                    <a:pt x="5" y="4"/>
                  </a:cubicBezTo>
                  <a:cubicBezTo>
                    <a:pt x="4" y="4"/>
                    <a:pt x="3" y="5"/>
                    <a:pt x="1" y="5"/>
                  </a:cubicBezTo>
                  <a:cubicBezTo>
                    <a:pt x="2" y="7"/>
                    <a:pt x="0" y="8"/>
                    <a:pt x="3" y="9"/>
                  </a:cubicBezTo>
                  <a:cubicBezTo>
                    <a:pt x="3" y="9"/>
                    <a:pt x="4" y="9"/>
                    <a:pt x="4" y="9"/>
                  </a:cubicBezTo>
                  <a:cubicBezTo>
                    <a:pt x="5" y="9"/>
                    <a:pt x="5" y="9"/>
                    <a:pt x="5" y="9"/>
                  </a:cubicBezTo>
                  <a:cubicBezTo>
                    <a:pt x="6" y="9"/>
                    <a:pt x="6" y="9"/>
                    <a:pt x="7" y="9"/>
                  </a:cubicBezTo>
                  <a:cubicBezTo>
                    <a:pt x="10" y="9"/>
                    <a:pt x="14" y="9"/>
                    <a:pt x="15" y="6"/>
                  </a:cubicBezTo>
                  <a:cubicBezTo>
                    <a:pt x="15" y="5"/>
                    <a:pt x="18"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8" name="Freeform 87">
              <a:extLst>
                <a:ext uri="{FF2B5EF4-FFF2-40B4-BE49-F238E27FC236}">
                  <a16:creationId xmlns:a16="http://schemas.microsoft.com/office/drawing/2014/main" id="{8E79ACBF-0E77-4FB2-9DC9-6C61FEC845A7}"/>
                </a:ext>
              </a:extLst>
            </p:cNvPr>
            <p:cNvSpPr>
              <a:spLocks/>
            </p:cNvSpPr>
            <p:nvPr/>
          </p:nvSpPr>
          <p:spPr bwMode="auto">
            <a:xfrm>
              <a:off x="8062142" y="213253"/>
              <a:ext cx="33894" cy="39544"/>
            </a:xfrm>
            <a:custGeom>
              <a:avLst/>
              <a:gdLst>
                <a:gd name="T0" fmla="*/ 9 w 10"/>
                <a:gd name="T1" fmla="*/ 0 h 12"/>
                <a:gd name="T2" fmla="*/ 7 w 10"/>
                <a:gd name="T3" fmla="*/ 0 h 12"/>
                <a:gd name="T4" fmla="*/ 7 w 10"/>
                <a:gd name="T5" fmla="*/ 0 h 12"/>
                <a:gd name="T6" fmla="*/ 6 w 10"/>
                <a:gd name="T7" fmla="*/ 1 h 12"/>
                <a:gd name="T8" fmla="*/ 6 w 10"/>
                <a:gd name="T9" fmla="*/ 1 h 12"/>
                <a:gd name="T10" fmla="*/ 5 w 10"/>
                <a:gd name="T11" fmla="*/ 2 h 12"/>
                <a:gd name="T12" fmla="*/ 6 w 10"/>
                <a:gd name="T13" fmla="*/ 7 h 12"/>
                <a:gd name="T14" fmla="*/ 0 w 10"/>
                <a:gd name="T15" fmla="*/ 12 h 12"/>
                <a:gd name="T16" fmla="*/ 9 w 10"/>
                <a:gd name="T17" fmla="*/ 5 h 12"/>
                <a:gd name="T18" fmla="*/ 9 w 10"/>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2">
                  <a:moveTo>
                    <a:pt x="9" y="0"/>
                  </a:moveTo>
                  <a:cubicBezTo>
                    <a:pt x="8" y="0"/>
                    <a:pt x="8" y="0"/>
                    <a:pt x="7" y="0"/>
                  </a:cubicBezTo>
                  <a:cubicBezTo>
                    <a:pt x="7" y="0"/>
                    <a:pt x="7" y="0"/>
                    <a:pt x="7" y="0"/>
                  </a:cubicBezTo>
                  <a:cubicBezTo>
                    <a:pt x="7" y="1"/>
                    <a:pt x="7" y="1"/>
                    <a:pt x="6" y="1"/>
                  </a:cubicBezTo>
                  <a:cubicBezTo>
                    <a:pt x="6" y="1"/>
                    <a:pt x="6" y="1"/>
                    <a:pt x="6" y="1"/>
                  </a:cubicBezTo>
                  <a:cubicBezTo>
                    <a:pt x="6" y="1"/>
                    <a:pt x="5" y="2"/>
                    <a:pt x="5" y="2"/>
                  </a:cubicBezTo>
                  <a:cubicBezTo>
                    <a:pt x="10" y="4"/>
                    <a:pt x="9" y="5"/>
                    <a:pt x="6" y="7"/>
                  </a:cubicBezTo>
                  <a:cubicBezTo>
                    <a:pt x="4" y="8"/>
                    <a:pt x="2" y="9"/>
                    <a:pt x="0" y="12"/>
                  </a:cubicBezTo>
                  <a:cubicBezTo>
                    <a:pt x="3" y="10"/>
                    <a:pt x="7" y="8"/>
                    <a:pt x="9" y="5"/>
                  </a:cubicBezTo>
                  <a:cubicBezTo>
                    <a:pt x="10" y="4"/>
                    <a:pt x="10"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9" name="Freeform 88">
              <a:extLst>
                <a:ext uri="{FF2B5EF4-FFF2-40B4-BE49-F238E27FC236}">
                  <a16:creationId xmlns:a16="http://schemas.microsoft.com/office/drawing/2014/main" id="{F53D7F4D-F1AC-4868-9A1C-7D996F7138E4}"/>
                </a:ext>
              </a:extLst>
            </p:cNvPr>
            <p:cNvSpPr>
              <a:spLocks/>
            </p:cNvSpPr>
            <p:nvPr/>
          </p:nvSpPr>
          <p:spPr bwMode="auto">
            <a:xfrm>
              <a:off x="8145466" y="237262"/>
              <a:ext cx="36719" cy="9886"/>
            </a:xfrm>
            <a:custGeom>
              <a:avLst/>
              <a:gdLst>
                <a:gd name="T0" fmla="*/ 2 w 11"/>
                <a:gd name="T1" fmla="*/ 0 h 3"/>
                <a:gd name="T2" fmla="*/ 1 w 11"/>
                <a:gd name="T3" fmla="*/ 1 h 3"/>
                <a:gd name="T4" fmla="*/ 3 w 11"/>
                <a:gd name="T5" fmla="*/ 2 h 3"/>
                <a:gd name="T6" fmla="*/ 10 w 11"/>
                <a:gd name="T7" fmla="*/ 3 h 3"/>
                <a:gd name="T8" fmla="*/ 11 w 11"/>
                <a:gd name="T9" fmla="*/ 2 h 3"/>
                <a:gd name="T10" fmla="*/ 7 w 11"/>
                <a:gd name="T11" fmla="*/ 1 h 3"/>
                <a:gd name="T12" fmla="*/ 6 w 11"/>
                <a:gd name="T13" fmla="*/ 1 h 3"/>
                <a:gd name="T14" fmla="*/ 6 w 11"/>
                <a:gd name="T15" fmla="*/ 1 h 3"/>
                <a:gd name="T16" fmla="*/ 6 w 11"/>
                <a:gd name="T17" fmla="*/ 1 h 3"/>
                <a:gd name="T18" fmla="*/ 5 w 11"/>
                <a:gd name="T19" fmla="*/ 1 h 3"/>
                <a:gd name="T20" fmla="*/ 2 w 11"/>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3">
                  <a:moveTo>
                    <a:pt x="2" y="0"/>
                  </a:moveTo>
                  <a:cubicBezTo>
                    <a:pt x="1" y="0"/>
                    <a:pt x="1" y="0"/>
                    <a:pt x="1" y="1"/>
                  </a:cubicBezTo>
                  <a:cubicBezTo>
                    <a:pt x="0" y="2"/>
                    <a:pt x="2" y="2"/>
                    <a:pt x="3" y="2"/>
                  </a:cubicBezTo>
                  <a:cubicBezTo>
                    <a:pt x="5" y="2"/>
                    <a:pt x="7" y="3"/>
                    <a:pt x="10" y="3"/>
                  </a:cubicBezTo>
                  <a:cubicBezTo>
                    <a:pt x="10" y="3"/>
                    <a:pt x="10" y="3"/>
                    <a:pt x="11" y="2"/>
                  </a:cubicBezTo>
                  <a:cubicBezTo>
                    <a:pt x="9" y="2"/>
                    <a:pt x="9" y="1"/>
                    <a:pt x="7" y="1"/>
                  </a:cubicBezTo>
                  <a:cubicBezTo>
                    <a:pt x="7" y="1"/>
                    <a:pt x="7" y="1"/>
                    <a:pt x="6" y="1"/>
                  </a:cubicBezTo>
                  <a:cubicBezTo>
                    <a:pt x="6" y="1"/>
                    <a:pt x="6" y="1"/>
                    <a:pt x="6" y="1"/>
                  </a:cubicBezTo>
                  <a:cubicBezTo>
                    <a:pt x="6" y="1"/>
                    <a:pt x="6" y="1"/>
                    <a:pt x="6" y="1"/>
                  </a:cubicBezTo>
                  <a:cubicBezTo>
                    <a:pt x="5" y="1"/>
                    <a:pt x="5" y="1"/>
                    <a:pt x="5" y="1"/>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0" name="Freeform 89">
              <a:extLst>
                <a:ext uri="{FF2B5EF4-FFF2-40B4-BE49-F238E27FC236}">
                  <a16:creationId xmlns:a16="http://schemas.microsoft.com/office/drawing/2014/main" id="{D15893DB-915D-4240-A0C0-46AE07300BA1}"/>
                </a:ext>
              </a:extLst>
            </p:cNvPr>
            <p:cNvSpPr>
              <a:spLocks/>
            </p:cNvSpPr>
            <p:nvPr/>
          </p:nvSpPr>
          <p:spPr bwMode="auto">
            <a:xfrm>
              <a:off x="8038133" y="96035"/>
              <a:ext cx="7061" cy="14123"/>
            </a:xfrm>
            <a:custGeom>
              <a:avLst/>
              <a:gdLst>
                <a:gd name="T0" fmla="*/ 2 w 2"/>
                <a:gd name="T1" fmla="*/ 0 h 4"/>
                <a:gd name="T2" fmla="*/ 1 w 2"/>
                <a:gd name="T3" fmla="*/ 4 h 4"/>
                <a:gd name="T4" fmla="*/ 2 w 2"/>
                <a:gd name="T5" fmla="*/ 0 h 4"/>
              </a:gdLst>
              <a:ahLst/>
              <a:cxnLst>
                <a:cxn ang="0">
                  <a:pos x="T0" y="T1"/>
                </a:cxn>
                <a:cxn ang="0">
                  <a:pos x="T2" y="T3"/>
                </a:cxn>
                <a:cxn ang="0">
                  <a:pos x="T4" y="T5"/>
                </a:cxn>
              </a:cxnLst>
              <a:rect l="0" t="0" r="r" b="b"/>
              <a:pathLst>
                <a:path w="2" h="4">
                  <a:moveTo>
                    <a:pt x="2" y="0"/>
                  </a:moveTo>
                  <a:cubicBezTo>
                    <a:pt x="1" y="1"/>
                    <a:pt x="0" y="2"/>
                    <a:pt x="1" y="4"/>
                  </a:cubicBezTo>
                  <a:cubicBezTo>
                    <a:pt x="1"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1" name="Freeform 90">
              <a:extLst>
                <a:ext uri="{FF2B5EF4-FFF2-40B4-BE49-F238E27FC236}">
                  <a16:creationId xmlns:a16="http://schemas.microsoft.com/office/drawing/2014/main" id="{CA738904-7780-465E-AA17-51921AA35875}"/>
                </a:ext>
              </a:extLst>
            </p:cNvPr>
            <p:cNvSpPr>
              <a:spLocks/>
            </p:cNvSpPr>
            <p:nvPr/>
          </p:nvSpPr>
          <p:spPr bwMode="auto">
            <a:xfrm>
              <a:off x="8152527" y="310700"/>
              <a:ext cx="9886" cy="9886"/>
            </a:xfrm>
            <a:custGeom>
              <a:avLst/>
              <a:gdLst>
                <a:gd name="T0" fmla="*/ 3 w 3"/>
                <a:gd name="T1" fmla="*/ 0 h 3"/>
                <a:gd name="T2" fmla="*/ 1 w 3"/>
                <a:gd name="T3" fmla="*/ 3 h 3"/>
                <a:gd name="T4" fmla="*/ 3 w 3"/>
                <a:gd name="T5" fmla="*/ 0 h 3"/>
              </a:gdLst>
              <a:ahLst/>
              <a:cxnLst>
                <a:cxn ang="0">
                  <a:pos x="T0" y="T1"/>
                </a:cxn>
                <a:cxn ang="0">
                  <a:pos x="T2" y="T3"/>
                </a:cxn>
                <a:cxn ang="0">
                  <a:pos x="T4" y="T5"/>
                </a:cxn>
              </a:cxnLst>
              <a:rect l="0" t="0" r="r" b="b"/>
              <a:pathLst>
                <a:path w="3" h="3">
                  <a:moveTo>
                    <a:pt x="3" y="0"/>
                  </a:moveTo>
                  <a:cubicBezTo>
                    <a:pt x="1" y="0"/>
                    <a:pt x="0" y="1"/>
                    <a:pt x="1" y="3"/>
                  </a:cubicBezTo>
                  <a:cubicBezTo>
                    <a:pt x="2"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2" name="Freeform 91">
              <a:extLst>
                <a:ext uri="{FF2B5EF4-FFF2-40B4-BE49-F238E27FC236}">
                  <a16:creationId xmlns:a16="http://schemas.microsoft.com/office/drawing/2014/main" id="{1B525891-0618-49FF-A3F8-DD2D7F24B3E1}"/>
                </a:ext>
              </a:extLst>
            </p:cNvPr>
            <p:cNvSpPr>
              <a:spLocks/>
            </p:cNvSpPr>
            <p:nvPr/>
          </p:nvSpPr>
          <p:spPr bwMode="auto">
            <a:xfrm>
              <a:off x="9190545" y="967407"/>
              <a:ext cx="25421" cy="16947"/>
            </a:xfrm>
            <a:custGeom>
              <a:avLst/>
              <a:gdLst>
                <a:gd name="T0" fmla="*/ 3 w 8"/>
                <a:gd name="T1" fmla="*/ 0 h 5"/>
                <a:gd name="T2" fmla="*/ 3 w 8"/>
                <a:gd name="T3" fmla="*/ 5 h 5"/>
                <a:gd name="T4" fmla="*/ 3 w 8"/>
                <a:gd name="T5" fmla="*/ 5 h 5"/>
                <a:gd name="T6" fmla="*/ 3 w 8"/>
                <a:gd name="T7" fmla="*/ 0 h 5"/>
              </a:gdLst>
              <a:ahLst/>
              <a:cxnLst>
                <a:cxn ang="0">
                  <a:pos x="T0" y="T1"/>
                </a:cxn>
                <a:cxn ang="0">
                  <a:pos x="T2" y="T3"/>
                </a:cxn>
                <a:cxn ang="0">
                  <a:pos x="T4" y="T5"/>
                </a:cxn>
                <a:cxn ang="0">
                  <a:pos x="T6" y="T7"/>
                </a:cxn>
              </a:cxnLst>
              <a:rect l="0" t="0" r="r" b="b"/>
              <a:pathLst>
                <a:path w="8" h="5">
                  <a:moveTo>
                    <a:pt x="3" y="0"/>
                  </a:moveTo>
                  <a:cubicBezTo>
                    <a:pt x="0" y="0"/>
                    <a:pt x="1" y="5"/>
                    <a:pt x="3" y="5"/>
                  </a:cubicBezTo>
                  <a:cubicBezTo>
                    <a:pt x="3" y="5"/>
                    <a:pt x="3" y="5"/>
                    <a:pt x="3" y="5"/>
                  </a:cubicBezTo>
                  <a:cubicBezTo>
                    <a:pt x="8" y="5"/>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3" name="Freeform 92">
              <a:extLst>
                <a:ext uri="{FF2B5EF4-FFF2-40B4-BE49-F238E27FC236}">
                  <a16:creationId xmlns:a16="http://schemas.microsoft.com/office/drawing/2014/main" id="{D5105343-9DE7-4D11-9708-4ECE9C665425}"/>
                </a:ext>
              </a:extLst>
            </p:cNvPr>
            <p:cNvSpPr>
              <a:spLocks/>
            </p:cNvSpPr>
            <p:nvPr/>
          </p:nvSpPr>
          <p:spPr bwMode="auto">
            <a:xfrm>
              <a:off x="8919389" y="573383"/>
              <a:ext cx="16947" cy="7061"/>
            </a:xfrm>
            <a:custGeom>
              <a:avLst/>
              <a:gdLst>
                <a:gd name="T0" fmla="*/ 5 w 5"/>
                <a:gd name="T1" fmla="*/ 0 h 2"/>
                <a:gd name="T2" fmla="*/ 0 w 5"/>
                <a:gd name="T3" fmla="*/ 2 h 2"/>
                <a:gd name="T4" fmla="*/ 5 w 5"/>
                <a:gd name="T5" fmla="*/ 0 h 2"/>
              </a:gdLst>
              <a:ahLst/>
              <a:cxnLst>
                <a:cxn ang="0">
                  <a:pos x="T0" y="T1"/>
                </a:cxn>
                <a:cxn ang="0">
                  <a:pos x="T2" y="T3"/>
                </a:cxn>
                <a:cxn ang="0">
                  <a:pos x="T4" y="T5"/>
                </a:cxn>
              </a:cxnLst>
              <a:rect l="0" t="0" r="r" b="b"/>
              <a:pathLst>
                <a:path w="5" h="2">
                  <a:moveTo>
                    <a:pt x="5" y="0"/>
                  </a:moveTo>
                  <a:cubicBezTo>
                    <a:pt x="3" y="0"/>
                    <a:pt x="2" y="1"/>
                    <a:pt x="0" y="2"/>
                  </a:cubicBezTo>
                  <a:cubicBezTo>
                    <a:pt x="2" y="2"/>
                    <a:pt x="4"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4" name="Freeform 93">
              <a:extLst>
                <a:ext uri="{FF2B5EF4-FFF2-40B4-BE49-F238E27FC236}">
                  <a16:creationId xmlns:a16="http://schemas.microsoft.com/office/drawing/2014/main" id="{B393DF39-D497-418A-AB10-B29101299B9A}"/>
                </a:ext>
              </a:extLst>
            </p:cNvPr>
            <p:cNvSpPr>
              <a:spLocks/>
            </p:cNvSpPr>
            <p:nvPr/>
          </p:nvSpPr>
          <p:spPr bwMode="auto">
            <a:xfrm>
              <a:off x="9019661" y="660944"/>
              <a:ext cx="16947" cy="12710"/>
            </a:xfrm>
            <a:custGeom>
              <a:avLst/>
              <a:gdLst>
                <a:gd name="T0" fmla="*/ 2 w 5"/>
                <a:gd name="T1" fmla="*/ 0 h 4"/>
                <a:gd name="T2" fmla="*/ 0 w 5"/>
                <a:gd name="T3" fmla="*/ 3 h 4"/>
                <a:gd name="T4" fmla="*/ 2 w 5"/>
                <a:gd name="T5" fmla="*/ 4 h 4"/>
                <a:gd name="T6" fmla="*/ 3 w 5"/>
                <a:gd name="T7" fmla="*/ 4 h 4"/>
                <a:gd name="T8" fmla="*/ 3 w 5"/>
                <a:gd name="T9" fmla="*/ 4 h 4"/>
                <a:gd name="T10" fmla="*/ 5 w 5"/>
                <a:gd name="T11" fmla="*/ 3 h 4"/>
                <a:gd name="T12" fmla="*/ 3 w 5"/>
                <a:gd name="T13" fmla="*/ 0 h 4"/>
                <a:gd name="T14" fmla="*/ 2 w 5"/>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2" y="0"/>
                  </a:moveTo>
                  <a:cubicBezTo>
                    <a:pt x="1" y="0"/>
                    <a:pt x="1" y="2"/>
                    <a:pt x="0" y="3"/>
                  </a:cubicBezTo>
                  <a:cubicBezTo>
                    <a:pt x="0" y="4"/>
                    <a:pt x="1" y="4"/>
                    <a:pt x="2" y="4"/>
                  </a:cubicBezTo>
                  <a:cubicBezTo>
                    <a:pt x="2" y="4"/>
                    <a:pt x="2" y="4"/>
                    <a:pt x="3" y="4"/>
                  </a:cubicBezTo>
                  <a:cubicBezTo>
                    <a:pt x="3" y="4"/>
                    <a:pt x="3" y="4"/>
                    <a:pt x="3" y="4"/>
                  </a:cubicBezTo>
                  <a:cubicBezTo>
                    <a:pt x="4" y="4"/>
                    <a:pt x="4" y="3"/>
                    <a:pt x="5" y="3"/>
                  </a:cubicBezTo>
                  <a:cubicBezTo>
                    <a:pt x="4" y="2"/>
                    <a:pt x="3" y="1"/>
                    <a:pt x="3"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5" name="Freeform 94">
              <a:extLst>
                <a:ext uri="{FF2B5EF4-FFF2-40B4-BE49-F238E27FC236}">
                  <a16:creationId xmlns:a16="http://schemas.microsoft.com/office/drawing/2014/main" id="{074D7C34-9054-4031-A65E-40443D79C467}"/>
                </a:ext>
              </a:extLst>
            </p:cNvPr>
            <p:cNvSpPr>
              <a:spLocks/>
            </p:cNvSpPr>
            <p:nvPr/>
          </p:nvSpPr>
          <p:spPr bwMode="auto">
            <a:xfrm>
              <a:off x="9016836" y="617164"/>
              <a:ext cx="5649" cy="9886"/>
            </a:xfrm>
            <a:custGeom>
              <a:avLst/>
              <a:gdLst>
                <a:gd name="T0" fmla="*/ 2 w 2"/>
                <a:gd name="T1" fmla="*/ 0 h 3"/>
                <a:gd name="T2" fmla="*/ 2 w 2"/>
                <a:gd name="T3" fmla="*/ 3 h 3"/>
                <a:gd name="T4" fmla="*/ 2 w 2"/>
                <a:gd name="T5" fmla="*/ 0 h 3"/>
              </a:gdLst>
              <a:ahLst/>
              <a:cxnLst>
                <a:cxn ang="0">
                  <a:pos x="T0" y="T1"/>
                </a:cxn>
                <a:cxn ang="0">
                  <a:pos x="T2" y="T3"/>
                </a:cxn>
                <a:cxn ang="0">
                  <a:pos x="T4" y="T5"/>
                </a:cxn>
              </a:cxnLst>
              <a:rect l="0" t="0" r="r" b="b"/>
              <a:pathLst>
                <a:path w="2" h="3">
                  <a:moveTo>
                    <a:pt x="2" y="0"/>
                  </a:moveTo>
                  <a:cubicBezTo>
                    <a:pt x="0" y="1"/>
                    <a:pt x="2" y="2"/>
                    <a:pt x="2" y="3"/>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6" name="Freeform 95">
              <a:extLst>
                <a:ext uri="{FF2B5EF4-FFF2-40B4-BE49-F238E27FC236}">
                  <a16:creationId xmlns:a16="http://schemas.microsoft.com/office/drawing/2014/main" id="{2386D6EE-C1B8-4FE6-962C-F21CEE0EB87D}"/>
                </a:ext>
              </a:extLst>
            </p:cNvPr>
            <p:cNvSpPr>
              <a:spLocks/>
            </p:cNvSpPr>
            <p:nvPr/>
          </p:nvSpPr>
          <p:spPr bwMode="auto">
            <a:xfrm>
              <a:off x="7694951" y="4707107"/>
              <a:ext cx="16947" cy="7061"/>
            </a:xfrm>
            <a:custGeom>
              <a:avLst/>
              <a:gdLst>
                <a:gd name="T0" fmla="*/ 2 w 5"/>
                <a:gd name="T1" fmla="*/ 0 h 2"/>
                <a:gd name="T2" fmla="*/ 0 w 5"/>
                <a:gd name="T3" fmla="*/ 2 h 2"/>
                <a:gd name="T4" fmla="*/ 5 w 5"/>
                <a:gd name="T5" fmla="*/ 1 h 2"/>
                <a:gd name="T6" fmla="*/ 2 w 5"/>
                <a:gd name="T7" fmla="*/ 0 h 2"/>
              </a:gdLst>
              <a:ahLst/>
              <a:cxnLst>
                <a:cxn ang="0">
                  <a:pos x="T0" y="T1"/>
                </a:cxn>
                <a:cxn ang="0">
                  <a:pos x="T2" y="T3"/>
                </a:cxn>
                <a:cxn ang="0">
                  <a:pos x="T4" y="T5"/>
                </a:cxn>
                <a:cxn ang="0">
                  <a:pos x="T6" y="T7"/>
                </a:cxn>
              </a:cxnLst>
              <a:rect l="0" t="0" r="r" b="b"/>
              <a:pathLst>
                <a:path w="5" h="2">
                  <a:moveTo>
                    <a:pt x="2" y="0"/>
                  </a:moveTo>
                  <a:cubicBezTo>
                    <a:pt x="2" y="0"/>
                    <a:pt x="1" y="1"/>
                    <a:pt x="0" y="2"/>
                  </a:cubicBezTo>
                  <a:cubicBezTo>
                    <a:pt x="2" y="2"/>
                    <a:pt x="4" y="2"/>
                    <a:pt x="5" y="1"/>
                  </a:cubicBezTo>
                  <a:cubicBezTo>
                    <a:pt x="5"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7" name="Freeform 97">
              <a:extLst>
                <a:ext uri="{FF2B5EF4-FFF2-40B4-BE49-F238E27FC236}">
                  <a16:creationId xmlns:a16="http://schemas.microsoft.com/office/drawing/2014/main" id="{74803D68-B755-4366-BC96-1078CA70F0DD}"/>
                </a:ext>
              </a:extLst>
            </p:cNvPr>
            <p:cNvSpPr>
              <a:spLocks/>
            </p:cNvSpPr>
            <p:nvPr/>
          </p:nvSpPr>
          <p:spPr bwMode="auto">
            <a:xfrm>
              <a:off x="8786636" y="614339"/>
              <a:ext cx="26833" cy="5649"/>
            </a:xfrm>
            <a:custGeom>
              <a:avLst/>
              <a:gdLst>
                <a:gd name="T0" fmla="*/ 8 w 8"/>
                <a:gd name="T1" fmla="*/ 0 h 2"/>
                <a:gd name="T2" fmla="*/ 0 w 8"/>
                <a:gd name="T3" fmla="*/ 2 h 2"/>
                <a:gd name="T4" fmla="*/ 8 w 8"/>
                <a:gd name="T5" fmla="*/ 0 h 2"/>
              </a:gdLst>
              <a:ahLst/>
              <a:cxnLst>
                <a:cxn ang="0">
                  <a:pos x="T0" y="T1"/>
                </a:cxn>
                <a:cxn ang="0">
                  <a:pos x="T2" y="T3"/>
                </a:cxn>
                <a:cxn ang="0">
                  <a:pos x="T4" y="T5"/>
                </a:cxn>
              </a:cxnLst>
              <a:rect l="0" t="0" r="r" b="b"/>
              <a:pathLst>
                <a:path w="8" h="2">
                  <a:moveTo>
                    <a:pt x="8" y="0"/>
                  </a:moveTo>
                  <a:cubicBezTo>
                    <a:pt x="5" y="0"/>
                    <a:pt x="3" y="1"/>
                    <a:pt x="0" y="2"/>
                  </a:cubicBezTo>
                  <a:cubicBezTo>
                    <a:pt x="3" y="1"/>
                    <a:pt x="5"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8" name="Freeform 98">
              <a:extLst>
                <a:ext uri="{FF2B5EF4-FFF2-40B4-BE49-F238E27FC236}">
                  <a16:creationId xmlns:a16="http://schemas.microsoft.com/office/drawing/2014/main" id="{26A45845-9B2A-4493-B2EA-7F168AFA00C0}"/>
                </a:ext>
              </a:extLst>
            </p:cNvPr>
            <p:cNvSpPr>
              <a:spLocks/>
            </p:cNvSpPr>
            <p:nvPr/>
          </p:nvSpPr>
          <p:spPr bwMode="auto">
            <a:xfrm>
              <a:off x="8776750" y="563497"/>
              <a:ext cx="15535" cy="7061"/>
            </a:xfrm>
            <a:custGeom>
              <a:avLst/>
              <a:gdLst>
                <a:gd name="T0" fmla="*/ 0 w 5"/>
                <a:gd name="T1" fmla="*/ 0 h 2"/>
                <a:gd name="T2" fmla="*/ 4 w 5"/>
                <a:gd name="T3" fmla="*/ 2 h 2"/>
                <a:gd name="T4" fmla="*/ 5 w 5"/>
                <a:gd name="T5" fmla="*/ 1 h 2"/>
                <a:gd name="T6" fmla="*/ 0 w 5"/>
                <a:gd name="T7" fmla="*/ 0 h 2"/>
              </a:gdLst>
              <a:ahLst/>
              <a:cxnLst>
                <a:cxn ang="0">
                  <a:pos x="T0" y="T1"/>
                </a:cxn>
                <a:cxn ang="0">
                  <a:pos x="T2" y="T3"/>
                </a:cxn>
                <a:cxn ang="0">
                  <a:pos x="T4" y="T5"/>
                </a:cxn>
                <a:cxn ang="0">
                  <a:pos x="T6" y="T7"/>
                </a:cxn>
              </a:cxnLst>
              <a:rect l="0" t="0" r="r" b="b"/>
              <a:pathLst>
                <a:path w="5" h="2">
                  <a:moveTo>
                    <a:pt x="0" y="0"/>
                  </a:moveTo>
                  <a:cubicBezTo>
                    <a:pt x="2" y="1"/>
                    <a:pt x="3" y="2"/>
                    <a:pt x="4" y="2"/>
                  </a:cubicBezTo>
                  <a:cubicBezTo>
                    <a:pt x="4" y="2"/>
                    <a:pt x="4" y="2"/>
                    <a:pt x="5" y="1"/>
                  </a:cubicBezTo>
                  <a:cubicBezTo>
                    <a:pt x="3"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9" name="Freeform 99">
              <a:extLst>
                <a:ext uri="{FF2B5EF4-FFF2-40B4-BE49-F238E27FC236}">
                  <a16:creationId xmlns:a16="http://schemas.microsoft.com/office/drawing/2014/main" id="{1F216E48-CC31-49A9-9750-74FAECBD4316}"/>
                </a:ext>
              </a:extLst>
            </p:cNvPr>
            <p:cNvSpPr>
              <a:spLocks/>
            </p:cNvSpPr>
            <p:nvPr/>
          </p:nvSpPr>
          <p:spPr bwMode="auto">
            <a:xfrm>
              <a:off x="8802171" y="553611"/>
              <a:ext cx="14123" cy="9886"/>
            </a:xfrm>
            <a:custGeom>
              <a:avLst/>
              <a:gdLst>
                <a:gd name="T0" fmla="*/ 4 w 4"/>
                <a:gd name="T1" fmla="*/ 0 h 3"/>
                <a:gd name="T2" fmla="*/ 0 w 4"/>
                <a:gd name="T3" fmla="*/ 3 h 3"/>
                <a:gd name="T4" fmla="*/ 4 w 4"/>
                <a:gd name="T5" fmla="*/ 0 h 3"/>
              </a:gdLst>
              <a:ahLst/>
              <a:cxnLst>
                <a:cxn ang="0">
                  <a:pos x="T0" y="T1"/>
                </a:cxn>
                <a:cxn ang="0">
                  <a:pos x="T2" y="T3"/>
                </a:cxn>
                <a:cxn ang="0">
                  <a:pos x="T4" y="T5"/>
                </a:cxn>
              </a:cxnLst>
              <a:rect l="0" t="0" r="r" b="b"/>
              <a:pathLst>
                <a:path w="4" h="3">
                  <a:moveTo>
                    <a:pt x="4" y="0"/>
                  </a:moveTo>
                  <a:cubicBezTo>
                    <a:pt x="3" y="1"/>
                    <a:pt x="2" y="2"/>
                    <a:pt x="0" y="3"/>
                  </a:cubicBezTo>
                  <a:cubicBezTo>
                    <a:pt x="2" y="3"/>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0" name="Freeform 100">
              <a:extLst>
                <a:ext uri="{FF2B5EF4-FFF2-40B4-BE49-F238E27FC236}">
                  <a16:creationId xmlns:a16="http://schemas.microsoft.com/office/drawing/2014/main" id="{68B710E0-FEE0-4958-8A19-CA94DD54D369}"/>
                </a:ext>
              </a:extLst>
            </p:cNvPr>
            <p:cNvSpPr>
              <a:spLocks/>
            </p:cNvSpPr>
            <p:nvPr/>
          </p:nvSpPr>
          <p:spPr bwMode="auto">
            <a:xfrm>
              <a:off x="9066266" y="961758"/>
              <a:ext cx="14123" cy="19772"/>
            </a:xfrm>
            <a:custGeom>
              <a:avLst/>
              <a:gdLst>
                <a:gd name="T0" fmla="*/ 3 w 4"/>
                <a:gd name="T1" fmla="*/ 0 h 6"/>
                <a:gd name="T2" fmla="*/ 0 w 4"/>
                <a:gd name="T3" fmla="*/ 3 h 6"/>
                <a:gd name="T4" fmla="*/ 0 w 4"/>
                <a:gd name="T5" fmla="*/ 4 h 6"/>
                <a:gd name="T6" fmla="*/ 2 w 4"/>
                <a:gd name="T7" fmla="*/ 6 h 6"/>
                <a:gd name="T8" fmla="*/ 4 w 4"/>
                <a:gd name="T9" fmla="*/ 3 h 6"/>
                <a:gd name="T10" fmla="*/ 3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3" y="0"/>
                  </a:moveTo>
                  <a:cubicBezTo>
                    <a:pt x="2" y="0"/>
                    <a:pt x="1" y="1"/>
                    <a:pt x="0" y="3"/>
                  </a:cubicBezTo>
                  <a:cubicBezTo>
                    <a:pt x="0" y="3"/>
                    <a:pt x="0" y="4"/>
                    <a:pt x="0" y="4"/>
                  </a:cubicBezTo>
                  <a:cubicBezTo>
                    <a:pt x="1" y="5"/>
                    <a:pt x="2" y="6"/>
                    <a:pt x="2" y="6"/>
                  </a:cubicBezTo>
                  <a:cubicBezTo>
                    <a:pt x="3" y="6"/>
                    <a:pt x="3" y="4"/>
                    <a:pt x="4" y="3"/>
                  </a:cubicBezTo>
                  <a:cubicBezTo>
                    <a:pt x="4"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1" name="Freeform 101">
              <a:extLst>
                <a:ext uri="{FF2B5EF4-FFF2-40B4-BE49-F238E27FC236}">
                  <a16:creationId xmlns:a16="http://schemas.microsoft.com/office/drawing/2014/main" id="{687AFA5D-9205-49A1-A13D-2FC18BF8B5B6}"/>
                </a:ext>
              </a:extLst>
            </p:cNvPr>
            <p:cNvSpPr>
              <a:spLocks noEditPoints="1"/>
            </p:cNvSpPr>
            <p:nvPr/>
          </p:nvSpPr>
          <p:spPr bwMode="auto">
            <a:xfrm>
              <a:off x="7508532" y="46605"/>
              <a:ext cx="5649" cy="9886"/>
            </a:xfrm>
            <a:custGeom>
              <a:avLst/>
              <a:gdLst>
                <a:gd name="T0" fmla="*/ 0 w 2"/>
                <a:gd name="T1" fmla="*/ 1 h 3"/>
                <a:gd name="T2" fmla="*/ 1 w 2"/>
                <a:gd name="T3" fmla="*/ 2 h 3"/>
                <a:gd name="T4" fmla="*/ 1 w 2"/>
                <a:gd name="T5" fmla="*/ 3 h 3"/>
                <a:gd name="T6" fmla="*/ 2 w 2"/>
                <a:gd name="T7" fmla="*/ 3 h 3"/>
                <a:gd name="T8" fmla="*/ 2 w 2"/>
                <a:gd name="T9" fmla="*/ 3 h 3"/>
                <a:gd name="T10" fmla="*/ 1 w 2"/>
                <a:gd name="T11" fmla="*/ 3 h 3"/>
                <a:gd name="T12" fmla="*/ 0 w 2"/>
                <a:gd name="T13" fmla="*/ 1 h 3"/>
                <a:gd name="T14" fmla="*/ 0 w 2"/>
                <a:gd name="T15" fmla="*/ 0 h 3"/>
                <a:gd name="T16" fmla="*/ 0 w 2"/>
                <a:gd name="T17" fmla="*/ 1 h 3"/>
                <a:gd name="T18" fmla="*/ 0 w 2"/>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1"/>
                  </a:moveTo>
                  <a:cubicBezTo>
                    <a:pt x="0" y="1"/>
                    <a:pt x="1" y="1"/>
                    <a:pt x="1" y="2"/>
                  </a:cubicBezTo>
                  <a:cubicBezTo>
                    <a:pt x="1" y="2"/>
                    <a:pt x="1" y="3"/>
                    <a:pt x="1" y="3"/>
                  </a:cubicBezTo>
                  <a:cubicBezTo>
                    <a:pt x="2" y="3"/>
                    <a:pt x="2" y="3"/>
                    <a:pt x="2" y="3"/>
                  </a:cubicBezTo>
                  <a:cubicBezTo>
                    <a:pt x="2" y="3"/>
                    <a:pt x="2" y="3"/>
                    <a:pt x="2" y="3"/>
                  </a:cubicBezTo>
                  <a:cubicBezTo>
                    <a:pt x="1" y="3"/>
                    <a:pt x="1" y="3"/>
                    <a:pt x="1" y="3"/>
                  </a:cubicBezTo>
                  <a:cubicBezTo>
                    <a:pt x="1" y="2"/>
                    <a:pt x="1" y="1"/>
                    <a:pt x="0" y="1"/>
                  </a:cubicBezTo>
                  <a:moveTo>
                    <a:pt x="0" y="0"/>
                  </a:moveTo>
                  <a:cubicBezTo>
                    <a:pt x="0" y="0"/>
                    <a:pt x="0" y="0"/>
                    <a:pt x="0"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2" name="Freeform 102">
              <a:extLst>
                <a:ext uri="{FF2B5EF4-FFF2-40B4-BE49-F238E27FC236}">
                  <a16:creationId xmlns:a16="http://schemas.microsoft.com/office/drawing/2014/main" id="{766040BE-2ADD-4C90-9DFB-9936A18EB4B8}"/>
                </a:ext>
              </a:extLst>
            </p:cNvPr>
            <p:cNvSpPr>
              <a:spLocks/>
            </p:cNvSpPr>
            <p:nvPr/>
          </p:nvSpPr>
          <p:spPr bwMode="auto">
            <a:xfrm>
              <a:off x="9016836" y="1160889"/>
              <a:ext cx="76263" cy="60728"/>
            </a:xfrm>
            <a:custGeom>
              <a:avLst/>
              <a:gdLst>
                <a:gd name="T0" fmla="*/ 22 w 23"/>
                <a:gd name="T1" fmla="*/ 0 h 18"/>
                <a:gd name="T2" fmla="*/ 18 w 23"/>
                <a:gd name="T3" fmla="*/ 1 h 18"/>
                <a:gd name="T4" fmla="*/ 6 w 23"/>
                <a:gd name="T5" fmla="*/ 3 h 18"/>
                <a:gd name="T6" fmla="*/ 11 w 23"/>
                <a:gd name="T7" fmla="*/ 8 h 18"/>
                <a:gd name="T8" fmla="*/ 10 w 23"/>
                <a:gd name="T9" fmla="*/ 14 h 18"/>
                <a:gd name="T10" fmla="*/ 6 w 23"/>
                <a:gd name="T11" fmla="*/ 15 h 18"/>
                <a:gd name="T12" fmla="*/ 0 w 23"/>
                <a:gd name="T13" fmla="*/ 18 h 18"/>
                <a:gd name="T14" fmla="*/ 3 w 23"/>
                <a:gd name="T15" fmla="*/ 18 h 18"/>
                <a:gd name="T16" fmla="*/ 5 w 23"/>
                <a:gd name="T17" fmla="*/ 18 h 18"/>
                <a:gd name="T18" fmla="*/ 8 w 23"/>
                <a:gd name="T19" fmla="*/ 18 h 18"/>
                <a:gd name="T20" fmla="*/ 10 w 23"/>
                <a:gd name="T21" fmla="*/ 18 h 18"/>
                <a:gd name="T22" fmla="*/ 13 w 23"/>
                <a:gd name="T23" fmla="*/ 18 h 18"/>
                <a:gd name="T24" fmla="*/ 19 w 23"/>
                <a:gd name="T25" fmla="*/ 17 h 18"/>
                <a:gd name="T26" fmla="*/ 21 w 23"/>
                <a:gd name="T27" fmla="*/ 8 h 18"/>
                <a:gd name="T28" fmla="*/ 23 w 23"/>
                <a:gd name="T29" fmla="*/ 0 h 18"/>
                <a:gd name="T30" fmla="*/ 22 w 23"/>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18">
                  <a:moveTo>
                    <a:pt x="22" y="0"/>
                  </a:moveTo>
                  <a:cubicBezTo>
                    <a:pt x="21" y="0"/>
                    <a:pt x="19" y="0"/>
                    <a:pt x="18" y="1"/>
                  </a:cubicBezTo>
                  <a:cubicBezTo>
                    <a:pt x="14" y="1"/>
                    <a:pt x="10" y="2"/>
                    <a:pt x="6" y="3"/>
                  </a:cubicBezTo>
                  <a:cubicBezTo>
                    <a:pt x="10" y="4"/>
                    <a:pt x="10" y="5"/>
                    <a:pt x="11" y="8"/>
                  </a:cubicBezTo>
                  <a:cubicBezTo>
                    <a:pt x="11" y="10"/>
                    <a:pt x="11" y="12"/>
                    <a:pt x="10" y="14"/>
                  </a:cubicBezTo>
                  <a:cubicBezTo>
                    <a:pt x="10" y="14"/>
                    <a:pt x="7" y="14"/>
                    <a:pt x="6" y="15"/>
                  </a:cubicBezTo>
                  <a:cubicBezTo>
                    <a:pt x="5" y="16"/>
                    <a:pt x="2" y="17"/>
                    <a:pt x="0" y="18"/>
                  </a:cubicBezTo>
                  <a:cubicBezTo>
                    <a:pt x="1" y="18"/>
                    <a:pt x="2" y="18"/>
                    <a:pt x="3" y="18"/>
                  </a:cubicBezTo>
                  <a:cubicBezTo>
                    <a:pt x="4" y="18"/>
                    <a:pt x="4" y="18"/>
                    <a:pt x="5" y="18"/>
                  </a:cubicBezTo>
                  <a:cubicBezTo>
                    <a:pt x="6" y="18"/>
                    <a:pt x="7" y="18"/>
                    <a:pt x="8" y="18"/>
                  </a:cubicBezTo>
                  <a:cubicBezTo>
                    <a:pt x="9" y="18"/>
                    <a:pt x="9" y="18"/>
                    <a:pt x="10" y="18"/>
                  </a:cubicBezTo>
                  <a:cubicBezTo>
                    <a:pt x="11" y="18"/>
                    <a:pt x="12" y="18"/>
                    <a:pt x="13" y="18"/>
                  </a:cubicBezTo>
                  <a:cubicBezTo>
                    <a:pt x="15" y="18"/>
                    <a:pt x="17" y="18"/>
                    <a:pt x="19" y="17"/>
                  </a:cubicBezTo>
                  <a:cubicBezTo>
                    <a:pt x="23" y="15"/>
                    <a:pt x="21" y="11"/>
                    <a:pt x="21" y="8"/>
                  </a:cubicBezTo>
                  <a:cubicBezTo>
                    <a:pt x="20" y="5"/>
                    <a:pt x="22" y="3"/>
                    <a:pt x="23" y="0"/>
                  </a:cubicBezTo>
                  <a:cubicBezTo>
                    <a:pt x="23" y="0"/>
                    <a:pt x="22"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3" name="Freeform 103">
              <a:extLst>
                <a:ext uri="{FF2B5EF4-FFF2-40B4-BE49-F238E27FC236}">
                  <a16:creationId xmlns:a16="http://schemas.microsoft.com/office/drawing/2014/main" id="{09A128D0-C872-4EE4-A2CE-DB82EC13DE72}"/>
                </a:ext>
              </a:extLst>
            </p:cNvPr>
            <p:cNvSpPr>
              <a:spLocks/>
            </p:cNvSpPr>
            <p:nvPr/>
          </p:nvSpPr>
          <p:spPr bwMode="auto">
            <a:xfrm>
              <a:off x="7471813" y="1412273"/>
              <a:ext cx="22596" cy="22596"/>
            </a:xfrm>
            <a:custGeom>
              <a:avLst/>
              <a:gdLst>
                <a:gd name="T0" fmla="*/ 3 w 7"/>
                <a:gd name="T1" fmla="*/ 0 h 7"/>
                <a:gd name="T2" fmla="*/ 0 w 7"/>
                <a:gd name="T3" fmla="*/ 3 h 7"/>
                <a:gd name="T4" fmla="*/ 6 w 7"/>
                <a:gd name="T5" fmla="*/ 7 h 7"/>
                <a:gd name="T6" fmla="*/ 7 w 7"/>
                <a:gd name="T7" fmla="*/ 7 h 7"/>
                <a:gd name="T8" fmla="*/ 3 w 7"/>
                <a:gd name="T9" fmla="*/ 0 h 7"/>
              </a:gdLst>
              <a:ahLst/>
              <a:cxnLst>
                <a:cxn ang="0">
                  <a:pos x="T0" y="T1"/>
                </a:cxn>
                <a:cxn ang="0">
                  <a:pos x="T2" y="T3"/>
                </a:cxn>
                <a:cxn ang="0">
                  <a:pos x="T4" y="T5"/>
                </a:cxn>
                <a:cxn ang="0">
                  <a:pos x="T6" y="T7"/>
                </a:cxn>
                <a:cxn ang="0">
                  <a:pos x="T8" y="T9"/>
                </a:cxn>
              </a:cxnLst>
              <a:rect l="0" t="0" r="r" b="b"/>
              <a:pathLst>
                <a:path w="7" h="7">
                  <a:moveTo>
                    <a:pt x="3" y="0"/>
                  </a:moveTo>
                  <a:cubicBezTo>
                    <a:pt x="2" y="0"/>
                    <a:pt x="1" y="2"/>
                    <a:pt x="0" y="3"/>
                  </a:cubicBezTo>
                  <a:cubicBezTo>
                    <a:pt x="1" y="5"/>
                    <a:pt x="4" y="7"/>
                    <a:pt x="6" y="7"/>
                  </a:cubicBezTo>
                  <a:cubicBezTo>
                    <a:pt x="6" y="7"/>
                    <a:pt x="7" y="7"/>
                    <a:pt x="7" y="7"/>
                  </a:cubicBezTo>
                  <a:cubicBezTo>
                    <a:pt x="6" y="4"/>
                    <a:pt x="5"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4" name="Freeform 104">
              <a:extLst>
                <a:ext uri="{FF2B5EF4-FFF2-40B4-BE49-F238E27FC236}">
                  <a16:creationId xmlns:a16="http://schemas.microsoft.com/office/drawing/2014/main" id="{F296F99E-F176-4133-B93E-10F7D69C344A}"/>
                </a:ext>
              </a:extLst>
            </p:cNvPr>
            <p:cNvSpPr>
              <a:spLocks/>
            </p:cNvSpPr>
            <p:nvPr/>
          </p:nvSpPr>
          <p:spPr bwMode="auto">
            <a:xfrm>
              <a:off x="7531128" y="1415098"/>
              <a:ext cx="7061" cy="4237"/>
            </a:xfrm>
            <a:custGeom>
              <a:avLst/>
              <a:gdLst>
                <a:gd name="T0" fmla="*/ 2 w 2"/>
                <a:gd name="T1" fmla="*/ 0 h 1"/>
                <a:gd name="T2" fmla="*/ 0 w 2"/>
                <a:gd name="T3" fmla="*/ 1 h 1"/>
                <a:gd name="T4" fmla="*/ 0 w 2"/>
                <a:gd name="T5" fmla="*/ 1 h 1"/>
                <a:gd name="T6" fmla="*/ 1 w 2"/>
                <a:gd name="T7" fmla="*/ 1 h 1"/>
                <a:gd name="T8" fmla="*/ 1 w 2"/>
                <a:gd name="T9" fmla="*/ 1 h 1"/>
                <a:gd name="T10" fmla="*/ 2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2" y="0"/>
                  </a:moveTo>
                  <a:cubicBezTo>
                    <a:pt x="1" y="1"/>
                    <a:pt x="1" y="1"/>
                    <a:pt x="0" y="1"/>
                  </a:cubicBezTo>
                  <a:cubicBezTo>
                    <a:pt x="0" y="1"/>
                    <a:pt x="0" y="1"/>
                    <a:pt x="0" y="1"/>
                  </a:cubicBezTo>
                  <a:cubicBezTo>
                    <a:pt x="1" y="1"/>
                    <a:pt x="1" y="1"/>
                    <a:pt x="1" y="1"/>
                  </a:cubicBezTo>
                  <a:cubicBezTo>
                    <a:pt x="1" y="1"/>
                    <a:pt x="1" y="1"/>
                    <a:pt x="1" y="1"/>
                  </a:cubicBezTo>
                  <a:cubicBezTo>
                    <a:pt x="1" y="1"/>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5" name="Freeform 105">
              <a:extLst>
                <a:ext uri="{FF2B5EF4-FFF2-40B4-BE49-F238E27FC236}">
                  <a16:creationId xmlns:a16="http://schemas.microsoft.com/office/drawing/2014/main" id="{75957BED-351A-496C-BD2F-658D962787BB}"/>
                </a:ext>
              </a:extLst>
            </p:cNvPr>
            <p:cNvSpPr>
              <a:spLocks/>
            </p:cNvSpPr>
            <p:nvPr/>
          </p:nvSpPr>
          <p:spPr bwMode="auto">
            <a:xfrm>
              <a:off x="7528304" y="1419335"/>
              <a:ext cx="2825"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1" y="0"/>
                    <a:pt x="1" y="0"/>
                    <a:pt x="0"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6" name="Freeform 106">
              <a:extLst>
                <a:ext uri="{FF2B5EF4-FFF2-40B4-BE49-F238E27FC236}">
                  <a16:creationId xmlns:a16="http://schemas.microsoft.com/office/drawing/2014/main" id="{FDA692E7-5457-435B-A84A-424EDE332120}"/>
                </a:ext>
              </a:extLst>
            </p:cNvPr>
            <p:cNvSpPr>
              <a:spLocks/>
            </p:cNvSpPr>
            <p:nvPr/>
          </p:nvSpPr>
          <p:spPr bwMode="auto">
            <a:xfrm>
              <a:off x="7447804" y="1278107"/>
              <a:ext cx="9886" cy="7061"/>
            </a:xfrm>
            <a:custGeom>
              <a:avLst/>
              <a:gdLst>
                <a:gd name="T0" fmla="*/ 0 w 3"/>
                <a:gd name="T1" fmla="*/ 0 h 2"/>
                <a:gd name="T2" fmla="*/ 1 w 3"/>
                <a:gd name="T3" fmla="*/ 2 h 2"/>
                <a:gd name="T4" fmla="*/ 3 w 3"/>
                <a:gd name="T5" fmla="*/ 1 h 2"/>
                <a:gd name="T6" fmla="*/ 0 w 3"/>
                <a:gd name="T7" fmla="*/ 0 h 2"/>
              </a:gdLst>
              <a:ahLst/>
              <a:cxnLst>
                <a:cxn ang="0">
                  <a:pos x="T0" y="T1"/>
                </a:cxn>
                <a:cxn ang="0">
                  <a:pos x="T2" y="T3"/>
                </a:cxn>
                <a:cxn ang="0">
                  <a:pos x="T4" y="T5"/>
                </a:cxn>
                <a:cxn ang="0">
                  <a:pos x="T6" y="T7"/>
                </a:cxn>
              </a:cxnLst>
              <a:rect l="0" t="0" r="r" b="b"/>
              <a:pathLst>
                <a:path w="3" h="2">
                  <a:moveTo>
                    <a:pt x="0" y="0"/>
                  </a:moveTo>
                  <a:cubicBezTo>
                    <a:pt x="0" y="1"/>
                    <a:pt x="1" y="2"/>
                    <a:pt x="1" y="2"/>
                  </a:cubicBezTo>
                  <a:cubicBezTo>
                    <a:pt x="2" y="2"/>
                    <a:pt x="2" y="2"/>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7" name="Freeform 107">
              <a:extLst>
                <a:ext uri="{FF2B5EF4-FFF2-40B4-BE49-F238E27FC236}">
                  <a16:creationId xmlns:a16="http://schemas.microsoft.com/office/drawing/2014/main" id="{D630C8D2-BCA7-4CD5-B9C1-BC6EC63946C8}"/>
                </a:ext>
              </a:extLst>
            </p:cNvPr>
            <p:cNvSpPr>
              <a:spLocks/>
            </p:cNvSpPr>
            <p:nvPr/>
          </p:nvSpPr>
          <p:spPr bwMode="auto">
            <a:xfrm>
              <a:off x="7694951" y="1348721"/>
              <a:ext cx="9886" cy="16947"/>
            </a:xfrm>
            <a:custGeom>
              <a:avLst/>
              <a:gdLst>
                <a:gd name="T0" fmla="*/ 3 w 3"/>
                <a:gd name="T1" fmla="*/ 0 h 5"/>
                <a:gd name="T2" fmla="*/ 2 w 3"/>
                <a:gd name="T3" fmla="*/ 5 h 5"/>
                <a:gd name="T4" fmla="*/ 3 w 3"/>
                <a:gd name="T5" fmla="*/ 0 h 5"/>
              </a:gdLst>
              <a:ahLst/>
              <a:cxnLst>
                <a:cxn ang="0">
                  <a:pos x="T0" y="T1"/>
                </a:cxn>
                <a:cxn ang="0">
                  <a:pos x="T2" y="T3"/>
                </a:cxn>
                <a:cxn ang="0">
                  <a:pos x="T4" y="T5"/>
                </a:cxn>
              </a:cxnLst>
              <a:rect l="0" t="0" r="r" b="b"/>
              <a:pathLst>
                <a:path w="3" h="5">
                  <a:moveTo>
                    <a:pt x="3" y="0"/>
                  </a:moveTo>
                  <a:cubicBezTo>
                    <a:pt x="0" y="0"/>
                    <a:pt x="1" y="4"/>
                    <a:pt x="2" y="5"/>
                  </a:cubicBezTo>
                  <a:cubicBezTo>
                    <a:pt x="3" y="3"/>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8" name="Freeform 108">
              <a:extLst>
                <a:ext uri="{FF2B5EF4-FFF2-40B4-BE49-F238E27FC236}">
                  <a16:creationId xmlns:a16="http://schemas.microsoft.com/office/drawing/2014/main" id="{93B8B8F5-DA51-489F-AEDD-7FFB06FF2D74}"/>
                </a:ext>
              </a:extLst>
            </p:cNvPr>
            <p:cNvSpPr>
              <a:spLocks/>
            </p:cNvSpPr>
            <p:nvPr/>
          </p:nvSpPr>
          <p:spPr bwMode="auto">
            <a:xfrm>
              <a:off x="8466051" y="1045082"/>
              <a:ext cx="9886" cy="9886"/>
            </a:xfrm>
            <a:custGeom>
              <a:avLst/>
              <a:gdLst>
                <a:gd name="T0" fmla="*/ 0 w 3"/>
                <a:gd name="T1" fmla="*/ 0 h 3"/>
                <a:gd name="T2" fmla="*/ 3 w 3"/>
                <a:gd name="T3" fmla="*/ 3 h 3"/>
                <a:gd name="T4" fmla="*/ 0 w 3"/>
                <a:gd name="T5" fmla="*/ 0 h 3"/>
              </a:gdLst>
              <a:ahLst/>
              <a:cxnLst>
                <a:cxn ang="0">
                  <a:pos x="T0" y="T1"/>
                </a:cxn>
                <a:cxn ang="0">
                  <a:pos x="T2" y="T3"/>
                </a:cxn>
                <a:cxn ang="0">
                  <a:pos x="T4" y="T5"/>
                </a:cxn>
              </a:cxnLst>
              <a:rect l="0" t="0" r="r" b="b"/>
              <a:pathLst>
                <a:path w="3" h="3">
                  <a:moveTo>
                    <a:pt x="0" y="0"/>
                  </a:moveTo>
                  <a:cubicBezTo>
                    <a:pt x="0" y="2"/>
                    <a:pt x="1"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9" name="Freeform 109">
              <a:extLst>
                <a:ext uri="{FF2B5EF4-FFF2-40B4-BE49-F238E27FC236}">
                  <a16:creationId xmlns:a16="http://schemas.microsoft.com/office/drawing/2014/main" id="{4D345DEC-A9EB-46ED-A581-B8B7355D5174}"/>
                </a:ext>
              </a:extLst>
            </p:cNvPr>
            <p:cNvSpPr>
              <a:spLocks/>
            </p:cNvSpPr>
            <p:nvPr/>
          </p:nvSpPr>
          <p:spPr bwMode="auto">
            <a:xfrm>
              <a:off x="8475937" y="1054968"/>
              <a:ext cx="12710" cy="12710"/>
            </a:xfrm>
            <a:custGeom>
              <a:avLst/>
              <a:gdLst>
                <a:gd name="T0" fmla="*/ 0 w 4"/>
                <a:gd name="T1" fmla="*/ 0 h 4"/>
                <a:gd name="T2" fmla="*/ 0 w 4"/>
                <a:gd name="T3" fmla="*/ 0 h 4"/>
                <a:gd name="T4" fmla="*/ 4 w 4"/>
                <a:gd name="T5" fmla="*/ 4 h 4"/>
                <a:gd name="T6" fmla="*/ 0 w 4"/>
                <a:gd name="T7" fmla="*/ 0 h 4"/>
              </a:gdLst>
              <a:ahLst/>
              <a:cxnLst>
                <a:cxn ang="0">
                  <a:pos x="T0" y="T1"/>
                </a:cxn>
                <a:cxn ang="0">
                  <a:pos x="T2" y="T3"/>
                </a:cxn>
                <a:cxn ang="0">
                  <a:pos x="T4" y="T5"/>
                </a:cxn>
                <a:cxn ang="0">
                  <a:pos x="T6" y="T7"/>
                </a:cxn>
              </a:cxnLst>
              <a:rect l="0" t="0" r="r" b="b"/>
              <a:pathLst>
                <a:path w="4" h="4">
                  <a:moveTo>
                    <a:pt x="0" y="0"/>
                  </a:moveTo>
                  <a:cubicBezTo>
                    <a:pt x="0" y="0"/>
                    <a:pt x="0" y="0"/>
                    <a:pt x="0" y="0"/>
                  </a:cubicBezTo>
                  <a:cubicBezTo>
                    <a:pt x="1" y="1"/>
                    <a:pt x="3" y="2"/>
                    <a:pt x="4" y="4"/>
                  </a:cubicBezTo>
                  <a:cubicBezTo>
                    <a:pt x="3"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0" name="Freeform 110">
              <a:extLst>
                <a:ext uri="{FF2B5EF4-FFF2-40B4-BE49-F238E27FC236}">
                  <a16:creationId xmlns:a16="http://schemas.microsoft.com/office/drawing/2014/main" id="{8EFC8981-FF98-46A0-BF09-A89F7CFEA266}"/>
                </a:ext>
              </a:extLst>
            </p:cNvPr>
            <p:cNvSpPr>
              <a:spLocks/>
            </p:cNvSpPr>
            <p:nvPr/>
          </p:nvSpPr>
          <p:spPr bwMode="auto">
            <a:xfrm>
              <a:off x="8456165" y="1038021"/>
              <a:ext cx="9886" cy="7061"/>
            </a:xfrm>
            <a:custGeom>
              <a:avLst/>
              <a:gdLst>
                <a:gd name="T0" fmla="*/ 0 w 3"/>
                <a:gd name="T1" fmla="*/ 0 h 2"/>
                <a:gd name="T2" fmla="*/ 3 w 3"/>
                <a:gd name="T3" fmla="*/ 2 h 2"/>
                <a:gd name="T4" fmla="*/ 0 w 3"/>
                <a:gd name="T5" fmla="*/ 0 h 2"/>
              </a:gdLst>
              <a:ahLst/>
              <a:cxnLst>
                <a:cxn ang="0">
                  <a:pos x="T0" y="T1"/>
                </a:cxn>
                <a:cxn ang="0">
                  <a:pos x="T2" y="T3"/>
                </a:cxn>
                <a:cxn ang="0">
                  <a:pos x="T4" y="T5"/>
                </a:cxn>
              </a:cxnLst>
              <a:rect l="0" t="0" r="r" b="b"/>
              <a:pathLst>
                <a:path w="3" h="2">
                  <a:moveTo>
                    <a:pt x="0" y="0"/>
                  </a:moveTo>
                  <a:cubicBezTo>
                    <a:pt x="1" y="1"/>
                    <a:pt x="2" y="2"/>
                    <a:pt x="3" y="2"/>
                  </a:cubicBezTo>
                  <a:cubicBezTo>
                    <a:pt x="2"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1" name="Freeform 111">
              <a:extLst>
                <a:ext uri="{FF2B5EF4-FFF2-40B4-BE49-F238E27FC236}">
                  <a16:creationId xmlns:a16="http://schemas.microsoft.com/office/drawing/2014/main" id="{65FEFB12-37EF-4447-A159-B3965133B445}"/>
                </a:ext>
              </a:extLst>
            </p:cNvPr>
            <p:cNvSpPr>
              <a:spLocks/>
            </p:cNvSpPr>
            <p:nvPr/>
          </p:nvSpPr>
          <p:spPr bwMode="auto">
            <a:xfrm>
              <a:off x="8515480" y="1045082"/>
              <a:ext cx="19772" cy="22596"/>
            </a:xfrm>
            <a:custGeom>
              <a:avLst/>
              <a:gdLst>
                <a:gd name="T0" fmla="*/ 0 w 6"/>
                <a:gd name="T1" fmla="*/ 0 h 7"/>
                <a:gd name="T2" fmla="*/ 3 w 6"/>
                <a:gd name="T3" fmla="*/ 7 h 7"/>
                <a:gd name="T4" fmla="*/ 0 w 6"/>
                <a:gd name="T5" fmla="*/ 0 h 7"/>
              </a:gdLst>
              <a:ahLst/>
              <a:cxnLst>
                <a:cxn ang="0">
                  <a:pos x="T0" y="T1"/>
                </a:cxn>
                <a:cxn ang="0">
                  <a:pos x="T2" y="T3"/>
                </a:cxn>
                <a:cxn ang="0">
                  <a:pos x="T4" y="T5"/>
                </a:cxn>
              </a:cxnLst>
              <a:rect l="0" t="0" r="r" b="b"/>
              <a:pathLst>
                <a:path w="6" h="7">
                  <a:moveTo>
                    <a:pt x="0" y="0"/>
                  </a:moveTo>
                  <a:cubicBezTo>
                    <a:pt x="1" y="3"/>
                    <a:pt x="2" y="5"/>
                    <a:pt x="3" y="7"/>
                  </a:cubicBezTo>
                  <a:cubicBezTo>
                    <a:pt x="6" y="2"/>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2" name="Freeform 112">
              <a:extLst>
                <a:ext uri="{FF2B5EF4-FFF2-40B4-BE49-F238E27FC236}">
                  <a16:creationId xmlns:a16="http://schemas.microsoft.com/office/drawing/2014/main" id="{B6FD6D34-02C9-4F3D-A073-60CF31067C70}"/>
                </a:ext>
              </a:extLst>
            </p:cNvPr>
            <p:cNvSpPr>
              <a:spLocks/>
            </p:cNvSpPr>
            <p:nvPr/>
          </p:nvSpPr>
          <p:spPr bwMode="auto">
            <a:xfrm>
              <a:off x="5552538" y="296577"/>
              <a:ext cx="9886" cy="14123"/>
            </a:xfrm>
            <a:custGeom>
              <a:avLst/>
              <a:gdLst>
                <a:gd name="T0" fmla="*/ 0 w 3"/>
                <a:gd name="T1" fmla="*/ 0 h 4"/>
                <a:gd name="T2" fmla="*/ 3 w 3"/>
                <a:gd name="T3" fmla="*/ 4 h 4"/>
                <a:gd name="T4" fmla="*/ 0 w 3"/>
                <a:gd name="T5" fmla="*/ 0 h 4"/>
              </a:gdLst>
              <a:ahLst/>
              <a:cxnLst>
                <a:cxn ang="0">
                  <a:pos x="T0" y="T1"/>
                </a:cxn>
                <a:cxn ang="0">
                  <a:pos x="T2" y="T3"/>
                </a:cxn>
                <a:cxn ang="0">
                  <a:pos x="T4" y="T5"/>
                </a:cxn>
              </a:cxnLst>
              <a:rect l="0" t="0" r="r" b="b"/>
              <a:pathLst>
                <a:path w="3" h="4">
                  <a:moveTo>
                    <a:pt x="0" y="0"/>
                  </a:moveTo>
                  <a:cubicBezTo>
                    <a:pt x="1" y="2"/>
                    <a:pt x="2" y="3"/>
                    <a:pt x="3" y="4"/>
                  </a:cubicBezTo>
                  <a:cubicBezTo>
                    <a:pt x="2"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3" name="Freeform 113">
              <a:extLst>
                <a:ext uri="{FF2B5EF4-FFF2-40B4-BE49-F238E27FC236}">
                  <a16:creationId xmlns:a16="http://schemas.microsoft.com/office/drawing/2014/main" id="{217BD5EF-4DCF-47CB-AD15-297563FFAB62}"/>
                </a:ext>
              </a:extLst>
            </p:cNvPr>
            <p:cNvSpPr>
              <a:spLocks/>
            </p:cNvSpPr>
            <p:nvPr/>
          </p:nvSpPr>
          <p:spPr bwMode="auto">
            <a:xfrm>
              <a:off x="6710599" y="536664"/>
              <a:ext cx="7061" cy="4237"/>
            </a:xfrm>
            <a:custGeom>
              <a:avLst/>
              <a:gdLst>
                <a:gd name="T0" fmla="*/ 2 w 2"/>
                <a:gd name="T1" fmla="*/ 0 h 1"/>
                <a:gd name="T2" fmla="*/ 2 w 2"/>
                <a:gd name="T3" fmla="*/ 0 h 1"/>
                <a:gd name="T4" fmla="*/ 1 w 2"/>
                <a:gd name="T5" fmla="*/ 0 h 1"/>
                <a:gd name="T6" fmla="*/ 0 w 2"/>
                <a:gd name="T7" fmla="*/ 1 h 1"/>
                <a:gd name="T8" fmla="*/ 1 w 2"/>
                <a:gd name="T9" fmla="*/ 1 h 1"/>
                <a:gd name="T10" fmla="*/ 1 w 2"/>
                <a:gd name="T11" fmla="*/ 1 h 1"/>
                <a:gd name="T12" fmla="*/ 2 w 2"/>
                <a:gd name="T13" fmla="*/ 0 h 1"/>
                <a:gd name="T14" fmla="*/ 2 w 2"/>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2" y="0"/>
                  </a:moveTo>
                  <a:cubicBezTo>
                    <a:pt x="2" y="0"/>
                    <a:pt x="2" y="0"/>
                    <a:pt x="2" y="0"/>
                  </a:cubicBezTo>
                  <a:cubicBezTo>
                    <a:pt x="1" y="0"/>
                    <a:pt x="1" y="0"/>
                    <a:pt x="1" y="0"/>
                  </a:cubicBezTo>
                  <a:cubicBezTo>
                    <a:pt x="0" y="1"/>
                    <a:pt x="0" y="1"/>
                    <a:pt x="0" y="1"/>
                  </a:cubicBezTo>
                  <a:cubicBezTo>
                    <a:pt x="0" y="1"/>
                    <a:pt x="1" y="1"/>
                    <a:pt x="1" y="1"/>
                  </a:cubicBezTo>
                  <a:cubicBezTo>
                    <a:pt x="1" y="1"/>
                    <a:pt x="1" y="1"/>
                    <a:pt x="1" y="1"/>
                  </a:cubicBezTo>
                  <a:cubicBezTo>
                    <a:pt x="2" y="0"/>
                    <a:pt x="2"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4" name="Freeform 114">
              <a:extLst>
                <a:ext uri="{FF2B5EF4-FFF2-40B4-BE49-F238E27FC236}">
                  <a16:creationId xmlns:a16="http://schemas.microsoft.com/office/drawing/2014/main" id="{76DAE6D8-2FC4-4337-B39B-1DE0BBBE3DC0}"/>
                </a:ext>
              </a:extLst>
            </p:cNvPr>
            <p:cNvSpPr>
              <a:spLocks/>
            </p:cNvSpPr>
            <p:nvPr/>
          </p:nvSpPr>
          <p:spPr bwMode="auto">
            <a:xfrm>
              <a:off x="7104623" y="720259"/>
              <a:ext cx="29658" cy="9886"/>
            </a:xfrm>
            <a:custGeom>
              <a:avLst/>
              <a:gdLst>
                <a:gd name="T0" fmla="*/ 9 w 9"/>
                <a:gd name="T1" fmla="*/ 0 h 3"/>
                <a:gd name="T2" fmla="*/ 0 w 9"/>
                <a:gd name="T3" fmla="*/ 3 h 3"/>
                <a:gd name="T4" fmla="*/ 9 w 9"/>
                <a:gd name="T5" fmla="*/ 0 h 3"/>
                <a:gd name="T6" fmla="*/ 9 w 9"/>
                <a:gd name="T7" fmla="*/ 0 h 3"/>
              </a:gdLst>
              <a:ahLst/>
              <a:cxnLst>
                <a:cxn ang="0">
                  <a:pos x="T0" y="T1"/>
                </a:cxn>
                <a:cxn ang="0">
                  <a:pos x="T2" y="T3"/>
                </a:cxn>
                <a:cxn ang="0">
                  <a:pos x="T4" y="T5"/>
                </a:cxn>
                <a:cxn ang="0">
                  <a:pos x="T6" y="T7"/>
                </a:cxn>
              </a:cxnLst>
              <a:rect l="0" t="0" r="r" b="b"/>
              <a:pathLst>
                <a:path w="9" h="3">
                  <a:moveTo>
                    <a:pt x="9" y="0"/>
                  </a:moveTo>
                  <a:cubicBezTo>
                    <a:pt x="6" y="0"/>
                    <a:pt x="2" y="2"/>
                    <a:pt x="0" y="3"/>
                  </a:cubicBezTo>
                  <a:cubicBezTo>
                    <a:pt x="3" y="2"/>
                    <a:pt x="6" y="1"/>
                    <a:pt x="9"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5" name="Freeform 115">
              <a:extLst>
                <a:ext uri="{FF2B5EF4-FFF2-40B4-BE49-F238E27FC236}">
                  <a16:creationId xmlns:a16="http://schemas.microsoft.com/office/drawing/2014/main" id="{AF776E9D-9F45-4600-8E0F-852EA93CD7A5}"/>
                </a:ext>
              </a:extLst>
            </p:cNvPr>
            <p:cNvSpPr>
              <a:spLocks/>
            </p:cNvSpPr>
            <p:nvPr/>
          </p:nvSpPr>
          <p:spPr bwMode="auto">
            <a:xfrm>
              <a:off x="7738732" y="9886"/>
              <a:ext cx="59315" cy="76263"/>
            </a:xfrm>
            <a:custGeom>
              <a:avLst/>
              <a:gdLst>
                <a:gd name="T0" fmla="*/ 5 w 18"/>
                <a:gd name="T1" fmla="*/ 0 h 23"/>
                <a:gd name="T2" fmla="*/ 5 w 18"/>
                <a:gd name="T3" fmla="*/ 9 h 23"/>
                <a:gd name="T4" fmla="*/ 4 w 18"/>
                <a:gd name="T5" fmla="*/ 12 h 23"/>
                <a:gd name="T6" fmla="*/ 5 w 18"/>
                <a:gd name="T7" fmla="*/ 16 h 23"/>
                <a:gd name="T8" fmla="*/ 2 w 18"/>
                <a:gd name="T9" fmla="*/ 13 h 23"/>
                <a:gd name="T10" fmla="*/ 0 w 18"/>
                <a:gd name="T11" fmla="*/ 14 h 23"/>
                <a:gd name="T12" fmla="*/ 5 w 18"/>
                <a:gd name="T13" fmla="*/ 18 h 23"/>
                <a:gd name="T14" fmla="*/ 8 w 18"/>
                <a:gd name="T15" fmla="*/ 20 h 23"/>
                <a:gd name="T16" fmla="*/ 10 w 18"/>
                <a:gd name="T17" fmla="*/ 23 h 23"/>
                <a:gd name="T18" fmla="*/ 10 w 18"/>
                <a:gd name="T19" fmla="*/ 23 h 23"/>
                <a:gd name="T20" fmla="*/ 14 w 18"/>
                <a:gd name="T21" fmla="*/ 19 h 23"/>
                <a:gd name="T22" fmla="*/ 17 w 18"/>
                <a:gd name="T23" fmla="*/ 18 h 23"/>
                <a:gd name="T24" fmla="*/ 15 w 18"/>
                <a:gd name="T25" fmla="*/ 10 h 23"/>
                <a:gd name="T26" fmla="*/ 5 w 18"/>
                <a:gd name="T2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23">
                  <a:moveTo>
                    <a:pt x="5" y="0"/>
                  </a:moveTo>
                  <a:cubicBezTo>
                    <a:pt x="6" y="4"/>
                    <a:pt x="7" y="6"/>
                    <a:pt x="5" y="9"/>
                  </a:cubicBezTo>
                  <a:cubicBezTo>
                    <a:pt x="4" y="10"/>
                    <a:pt x="3" y="11"/>
                    <a:pt x="4" y="12"/>
                  </a:cubicBezTo>
                  <a:cubicBezTo>
                    <a:pt x="4" y="14"/>
                    <a:pt x="7" y="14"/>
                    <a:pt x="5" y="16"/>
                  </a:cubicBezTo>
                  <a:cubicBezTo>
                    <a:pt x="4" y="15"/>
                    <a:pt x="3" y="14"/>
                    <a:pt x="2" y="13"/>
                  </a:cubicBezTo>
                  <a:cubicBezTo>
                    <a:pt x="2" y="13"/>
                    <a:pt x="0" y="14"/>
                    <a:pt x="0" y="14"/>
                  </a:cubicBezTo>
                  <a:cubicBezTo>
                    <a:pt x="0" y="16"/>
                    <a:pt x="4" y="17"/>
                    <a:pt x="5" y="18"/>
                  </a:cubicBezTo>
                  <a:cubicBezTo>
                    <a:pt x="6" y="19"/>
                    <a:pt x="7" y="19"/>
                    <a:pt x="8" y="20"/>
                  </a:cubicBezTo>
                  <a:cubicBezTo>
                    <a:pt x="9" y="21"/>
                    <a:pt x="9" y="23"/>
                    <a:pt x="10" y="23"/>
                  </a:cubicBezTo>
                  <a:cubicBezTo>
                    <a:pt x="10" y="23"/>
                    <a:pt x="10" y="23"/>
                    <a:pt x="10" y="23"/>
                  </a:cubicBezTo>
                  <a:cubicBezTo>
                    <a:pt x="12" y="22"/>
                    <a:pt x="13" y="20"/>
                    <a:pt x="14" y="19"/>
                  </a:cubicBezTo>
                  <a:cubicBezTo>
                    <a:pt x="14" y="19"/>
                    <a:pt x="16" y="19"/>
                    <a:pt x="17" y="18"/>
                  </a:cubicBezTo>
                  <a:cubicBezTo>
                    <a:pt x="18" y="16"/>
                    <a:pt x="16" y="11"/>
                    <a:pt x="15" y="10"/>
                  </a:cubicBezTo>
                  <a:cubicBezTo>
                    <a:pt x="12" y="4"/>
                    <a:pt x="12"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6" name="Freeform 116">
              <a:extLst>
                <a:ext uri="{FF2B5EF4-FFF2-40B4-BE49-F238E27FC236}">
                  <a16:creationId xmlns:a16="http://schemas.microsoft.com/office/drawing/2014/main" id="{ADF352FA-3A25-4F0E-A1A4-DC421A3CA43D}"/>
                </a:ext>
              </a:extLst>
            </p:cNvPr>
            <p:cNvSpPr>
              <a:spLocks/>
            </p:cNvSpPr>
            <p:nvPr/>
          </p:nvSpPr>
          <p:spPr bwMode="auto">
            <a:xfrm>
              <a:off x="7814994" y="22596"/>
              <a:ext cx="12710" cy="4237"/>
            </a:xfrm>
            <a:custGeom>
              <a:avLst/>
              <a:gdLst>
                <a:gd name="T0" fmla="*/ 4 w 4"/>
                <a:gd name="T1" fmla="*/ 0 h 1"/>
                <a:gd name="T2" fmla="*/ 0 w 4"/>
                <a:gd name="T3" fmla="*/ 1 h 1"/>
                <a:gd name="T4" fmla="*/ 0 w 4"/>
                <a:gd name="T5" fmla="*/ 1 h 1"/>
                <a:gd name="T6" fmla="*/ 4 w 4"/>
                <a:gd name="T7" fmla="*/ 0 h 1"/>
              </a:gdLst>
              <a:ahLst/>
              <a:cxnLst>
                <a:cxn ang="0">
                  <a:pos x="T0" y="T1"/>
                </a:cxn>
                <a:cxn ang="0">
                  <a:pos x="T2" y="T3"/>
                </a:cxn>
                <a:cxn ang="0">
                  <a:pos x="T4" y="T5"/>
                </a:cxn>
                <a:cxn ang="0">
                  <a:pos x="T6" y="T7"/>
                </a:cxn>
              </a:cxnLst>
              <a:rect l="0" t="0" r="r" b="b"/>
              <a:pathLst>
                <a:path w="4" h="1">
                  <a:moveTo>
                    <a:pt x="4" y="0"/>
                  </a:moveTo>
                  <a:cubicBezTo>
                    <a:pt x="2" y="0"/>
                    <a:pt x="1" y="1"/>
                    <a:pt x="0" y="1"/>
                  </a:cubicBezTo>
                  <a:cubicBezTo>
                    <a:pt x="0" y="1"/>
                    <a:pt x="0" y="1"/>
                    <a:pt x="0" y="1"/>
                  </a:cubicBezTo>
                  <a:cubicBezTo>
                    <a:pt x="1"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7" name="Freeform 117">
              <a:extLst>
                <a:ext uri="{FF2B5EF4-FFF2-40B4-BE49-F238E27FC236}">
                  <a16:creationId xmlns:a16="http://schemas.microsoft.com/office/drawing/2014/main" id="{762F26EE-A1D2-4938-8B07-C31D8E5E6FB8}"/>
                </a:ext>
              </a:extLst>
            </p:cNvPr>
            <p:cNvSpPr>
              <a:spLocks/>
            </p:cNvSpPr>
            <p:nvPr/>
          </p:nvSpPr>
          <p:spPr bwMode="auto">
            <a:xfrm>
              <a:off x="7901143" y="5649"/>
              <a:ext cx="16947" cy="50842"/>
            </a:xfrm>
            <a:custGeom>
              <a:avLst/>
              <a:gdLst>
                <a:gd name="T0" fmla="*/ 1 w 5"/>
                <a:gd name="T1" fmla="*/ 0 h 15"/>
                <a:gd name="T2" fmla="*/ 4 w 5"/>
                <a:gd name="T3" fmla="*/ 3 h 15"/>
                <a:gd name="T4" fmla="*/ 3 w 5"/>
                <a:gd name="T5" fmla="*/ 9 h 15"/>
                <a:gd name="T6" fmla="*/ 4 w 5"/>
                <a:gd name="T7" fmla="*/ 9 h 15"/>
                <a:gd name="T8" fmla="*/ 1 w 5"/>
                <a:gd name="T9" fmla="*/ 11 h 15"/>
                <a:gd name="T10" fmla="*/ 0 w 5"/>
                <a:gd name="T11" fmla="*/ 11 h 15"/>
                <a:gd name="T12" fmla="*/ 4 w 5"/>
                <a:gd name="T13" fmla="*/ 15 h 15"/>
                <a:gd name="T14" fmla="*/ 4 w 5"/>
                <a:gd name="T15" fmla="*/ 7 h 15"/>
                <a:gd name="T16" fmla="*/ 1 w 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5">
                  <a:moveTo>
                    <a:pt x="1" y="0"/>
                  </a:moveTo>
                  <a:cubicBezTo>
                    <a:pt x="1" y="2"/>
                    <a:pt x="3" y="2"/>
                    <a:pt x="4" y="3"/>
                  </a:cubicBezTo>
                  <a:cubicBezTo>
                    <a:pt x="5" y="6"/>
                    <a:pt x="2" y="7"/>
                    <a:pt x="3" y="9"/>
                  </a:cubicBezTo>
                  <a:cubicBezTo>
                    <a:pt x="4" y="9"/>
                    <a:pt x="4" y="9"/>
                    <a:pt x="4" y="9"/>
                  </a:cubicBezTo>
                  <a:cubicBezTo>
                    <a:pt x="3" y="10"/>
                    <a:pt x="2" y="11"/>
                    <a:pt x="1" y="11"/>
                  </a:cubicBezTo>
                  <a:cubicBezTo>
                    <a:pt x="1" y="11"/>
                    <a:pt x="1" y="11"/>
                    <a:pt x="0" y="11"/>
                  </a:cubicBezTo>
                  <a:cubicBezTo>
                    <a:pt x="2" y="12"/>
                    <a:pt x="2" y="14"/>
                    <a:pt x="4" y="15"/>
                  </a:cubicBezTo>
                  <a:cubicBezTo>
                    <a:pt x="5" y="12"/>
                    <a:pt x="4" y="9"/>
                    <a:pt x="4" y="7"/>
                  </a:cubicBezTo>
                  <a:cubicBezTo>
                    <a:pt x="5" y="3"/>
                    <a:pt x="5"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8" name="Freeform 118">
              <a:extLst>
                <a:ext uri="{FF2B5EF4-FFF2-40B4-BE49-F238E27FC236}">
                  <a16:creationId xmlns:a16="http://schemas.microsoft.com/office/drawing/2014/main" id="{E4D9AF1A-1DB5-4C85-8B49-21BECDBE757C}"/>
                </a:ext>
              </a:extLst>
            </p:cNvPr>
            <p:cNvSpPr>
              <a:spLocks/>
            </p:cNvSpPr>
            <p:nvPr/>
          </p:nvSpPr>
          <p:spPr bwMode="auto">
            <a:xfrm>
              <a:off x="7944923" y="53666"/>
              <a:ext cx="36719" cy="46605"/>
            </a:xfrm>
            <a:custGeom>
              <a:avLst/>
              <a:gdLst>
                <a:gd name="T0" fmla="*/ 1 w 11"/>
                <a:gd name="T1" fmla="*/ 0 h 14"/>
                <a:gd name="T2" fmla="*/ 5 w 11"/>
                <a:gd name="T3" fmla="*/ 5 h 14"/>
                <a:gd name="T4" fmla="*/ 7 w 11"/>
                <a:gd name="T5" fmla="*/ 14 h 14"/>
                <a:gd name="T6" fmla="*/ 8 w 11"/>
                <a:gd name="T7" fmla="*/ 9 h 14"/>
                <a:gd name="T8" fmla="*/ 1 w 11"/>
                <a:gd name="T9" fmla="*/ 0 h 14"/>
              </a:gdLst>
              <a:ahLst/>
              <a:cxnLst>
                <a:cxn ang="0">
                  <a:pos x="T0" y="T1"/>
                </a:cxn>
                <a:cxn ang="0">
                  <a:pos x="T2" y="T3"/>
                </a:cxn>
                <a:cxn ang="0">
                  <a:pos x="T4" y="T5"/>
                </a:cxn>
                <a:cxn ang="0">
                  <a:pos x="T6" y="T7"/>
                </a:cxn>
                <a:cxn ang="0">
                  <a:pos x="T8" y="T9"/>
                </a:cxn>
              </a:cxnLst>
              <a:rect l="0" t="0" r="r" b="b"/>
              <a:pathLst>
                <a:path w="11" h="14">
                  <a:moveTo>
                    <a:pt x="1" y="0"/>
                  </a:moveTo>
                  <a:cubicBezTo>
                    <a:pt x="0" y="1"/>
                    <a:pt x="4" y="4"/>
                    <a:pt x="5" y="5"/>
                  </a:cubicBezTo>
                  <a:cubicBezTo>
                    <a:pt x="7" y="8"/>
                    <a:pt x="9" y="10"/>
                    <a:pt x="7" y="14"/>
                  </a:cubicBezTo>
                  <a:cubicBezTo>
                    <a:pt x="10" y="12"/>
                    <a:pt x="11" y="12"/>
                    <a:pt x="8" y="9"/>
                  </a:cubicBezTo>
                  <a:cubicBezTo>
                    <a:pt x="6" y="6"/>
                    <a:pt x="3"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9" name="Freeform 119">
              <a:extLst>
                <a:ext uri="{FF2B5EF4-FFF2-40B4-BE49-F238E27FC236}">
                  <a16:creationId xmlns:a16="http://schemas.microsoft.com/office/drawing/2014/main" id="{D8CD7C31-13E9-4CD4-8CA8-9DFB81566C07}"/>
                </a:ext>
              </a:extLst>
            </p:cNvPr>
            <p:cNvSpPr>
              <a:spLocks/>
            </p:cNvSpPr>
            <p:nvPr/>
          </p:nvSpPr>
          <p:spPr bwMode="auto">
            <a:xfrm>
              <a:off x="8388376" y="1021074"/>
              <a:ext cx="14123" cy="16947"/>
            </a:xfrm>
            <a:custGeom>
              <a:avLst/>
              <a:gdLst>
                <a:gd name="T0" fmla="*/ 0 w 4"/>
                <a:gd name="T1" fmla="*/ 0 h 5"/>
                <a:gd name="T2" fmla="*/ 1 w 4"/>
                <a:gd name="T3" fmla="*/ 3 h 5"/>
                <a:gd name="T4" fmla="*/ 4 w 4"/>
                <a:gd name="T5" fmla="*/ 5 h 5"/>
                <a:gd name="T6" fmla="*/ 0 w 4"/>
                <a:gd name="T7" fmla="*/ 0 h 5"/>
              </a:gdLst>
              <a:ahLst/>
              <a:cxnLst>
                <a:cxn ang="0">
                  <a:pos x="T0" y="T1"/>
                </a:cxn>
                <a:cxn ang="0">
                  <a:pos x="T2" y="T3"/>
                </a:cxn>
                <a:cxn ang="0">
                  <a:pos x="T4" y="T5"/>
                </a:cxn>
                <a:cxn ang="0">
                  <a:pos x="T6" y="T7"/>
                </a:cxn>
              </a:cxnLst>
              <a:rect l="0" t="0" r="r" b="b"/>
              <a:pathLst>
                <a:path w="4" h="5">
                  <a:moveTo>
                    <a:pt x="0" y="0"/>
                  </a:moveTo>
                  <a:cubicBezTo>
                    <a:pt x="0" y="1"/>
                    <a:pt x="0" y="2"/>
                    <a:pt x="1" y="3"/>
                  </a:cubicBezTo>
                  <a:cubicBezTo>
                    <a:pt x="2" y="4"/>
                    <a:pt x="2" y="5"/>
                    <a:pt x="4" y="5"/>
                  </a:cubicBezTo>
                  <a:cubicBezTo>
                    <a:pt x="2"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0" name="Freeform 120">
              <a:extLst>
                <a:ext uri="{FF2B5EF4-FFF2-40B4-BE49-F238E27FC236}">
                  <a16:creationId xmlns:a16="http://schemas.microsoft.com/office/drawing/2014/main" id="{347726AE-BAC0-4E2C-9FD7-EC5FAFB27C51}"/>
                </a:ext>
              </a:extLst>
            </p:cNvPr>
            <p:cNvSpPr>
              <a:spLocks/>
            </p:cNvSpPr>
            <p:nvPr/>
          </p:nvSpPr>
          <p:spPr bwMode="auto">
            <a:xfrm>
              <a:off x="8855837" y="1165126"/>
              <a:ext cx="7061" cy="2825"/>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1" y="0"/>
                    <a:pt x="1" y="1"/>
                    <a:pt x="2"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1" name="Freeform 121">
              <a:extLst>
                <a:ext uri="{FF2B5EF4-FFF2-40B4-BE49-F238E27FC236}">
                  <a16:creationId xmlns:a16="http://schemas.microsoft.com/office/drawing/2014/main" id="{06D8202A-4FC0-46F3-9960-ECA4A0553B50}"/>
                </a:ext>
              </a:extLst>
            </p:cNvPr>
            <p:cNvSpPr>
              <a:spLocks/>
            </p:cNvSpPr>
            <p:nvPr/>
          </p:nvSpPr>
          <p:spPr bwMode="auto">
            <a:xfrm>
              <a:off x="8745680" y="1151003"/>
              <a:ext cx="14123" cy="7061"/>
            </a:xfrm>
            <a:custGeom>
              <a:avLst/>
              <a:gdLst>
                <a:gd name="T0" fmla="*/ 2 w 4"/>
                <a:gd name="T1" fmla="*/ 0 h 2"/>
                <a:gd name="T2" fmla="*/ 0 w 4"/>
                <a:gd name="T3" fmla="*/ 1 h 2"/>
                <a:gd name="T4" fmla="*/ 3 w 4"/>
                <a:gd name="T5" fmla="*/ 2 h 2"/>
                <a:gd name="T6" fmla="*/ 4 w 4"/>
                <a:gd name="T7" fmla="*/ 0 h 2"/>
                <a:gd name="T8" fmla="*/ 2 w 4"/>
                <a:gd name="T9" fmla="*/ 0 h 2"/>
              </a:gdLst>
              <a:ahLst/>
              <a:cxnLst>
                <a:cxn ang="0">
                  <a:pos x="T0" y="T1"/>
                </a:cxn>
                <a:cxn ang="0">
                  <a:pos x="T2" y="T3"/>
                </a:cxn>
                <a:cxn ang="0">
                  <a:pos x="T4" y="T5"/>
                </a:cxn>
                <a:cxn ang="0">
                  <a:pos x="T6" y="T7"/>
                </a:cxn>
                <a:cxn ang="0">
                  <a:pos x="T8" y="T9"/>
                </a:cxn>
              </a:cxnLst>
              <a:rect l="0" t="0" r="r" b="b"/>
              <a:pathLst>
                <a:path w="4" h="2">
                  <a:moveTo>
                    <a:pt x="2" y="0"/>
                  </a:moveTo>
                  <a:cubicBezTo>
                    <a:pt x="2" y="0"/>
                    <a:pt x="1" y="0"/>
                    <a:pt x="0" y="1"/>
                  </a:cubicBezTo>
                  <a:cubicBezTo>
                    <a:pt x="1" y="1"/>
                    <a:pt x="2" y="2"/>
                    <a:pt x="3" y="2"/>
                  </a:cubicBezTo>
                  <a:cubicBezTo>
                    <a:pt x="4" y="1"/>
                    <a:pt x="4" y="1"/>
                    <a:pt x="4" y="0"/>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2" name="Freeform 122">
              <a:extLst>
                <a:ext uri="{FF2B5EF4-FFF2-40B4-BE49-F238E27FC236}">
                  <a16:creationId xmlns:a16="http://schemas.microsoft.com/office/drawing/2014/main" id="{23A8FDC5-4BD1-46B7-A6B5-BD9F79A5B7FA}"/>
                </a:ext>
              </a:extLst>
            </p:cNvPr>
            <p:cNvSpPr>
              <a:spLocks/>
            </p:cNvSpPr>
            <p:nvPr/>
          </p:nvSpPr>
          <p:spPr bwMode="auto">
            <a:xfrm>
              <a:off x="8826180" y="1135468"/>
              <a:ext cx="46605" cy="22596"/>
            </a:xfrm>
            <a:custGeom>
              <a:avLst/>
              <a:gdLst>
                <a:gd name="T0" fmla="*/ 12 w 14"/>
                <a:gd name="T1" fmla="*/ 0 h 7"/>
                <a:gd name="T2" fmla="*/ 6 w 14"/>
                <a:gd name="T3" fmla="*/ 4 h 7"/>
                <a:gd name="T4" fmla="*/ 6 w 14"/>
                <a:gd name="T5" fmla="*/ 4 h 7"/>
                <a:gd name="T6" fmla="*/ 4 w 14"/>
                <a:gd name="T7" fmla="*/ 3 h 7"/>
                <a:gd name="T8" fmla="*/ 3 w 14"/>
                <a:gd name="T9" fmla="*/ 2 h 7"/>
                <a:gd name="T10" fmla="*/ 0 w 14"/>
                <a:gd name="T11" fmla="*/ 3 h 7"/>
                <a:gd name="T12" fmla="*/ 8 w 14"/>
                <a:gd name="T13" fmla="*/ 7 h 7"/>
                <a:gd name="T14" fmla="*/ 13 w 14"/>
                <a:gd name="T15" fmla="*/ 5 h 7"/>
                <a:gd name="T16" fmla="*/ 12 w 1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7">
                  <a:moveTo>
                    <a:pt x="12" y="0"/>
                  </a:moveTo>
                  <a:cubicBezTo>
                    <a:pt x="10" y="1"/>
                    <a:pt x="8" y="4"/>
                    <a:pt x="6" y="4"/>
                  </a:cubicBezTo>
                  <a:cubicBezTo>
                    <a:pt x="6" y="4"/>
                    <a:pt x="6" y="4"/>
                    <a:pt x="6" y="4"/>
                  </a:cubicBezTo>
                  <a:cubicBezTo>
                    <a:pt x="5" y="4"/>
                    <a:pt x="5" y="3"/>
                    <a:pt x="4" y="3"/>
                  </a:cubicBezTo>
                  <a:cubicBezTo>
                    <a:pt x="4" y="2"/>
                    <a:pt x="3" y="2"/>
                    <a:pt x="3" y="2"/>
                  </a:cubicBezTo>
                  <a:cubicBezTo>
                    <a:pt x="2" y="2"/>
                    <a:pt x="1" y="2"/>
                    <a:pt x="0" y="3"/>
                  </a:cubicBezTo>
                  <a:cubicBezTo>
                    <a:pt x="3" y="4"/>
                    <a:pt x="5" y="6"/>
                    <a:pt x="8" y="7"/>
                  </a:cubicBezTo>
                  <a:cubicBezTo>
                    <a:pt x="10" y="6"/>
                    <a:pt x="12" y="7"/>
                    <a:pt x="13" y="5"/>
                  </a:cubicBezTo>
                  <a:cubicBezTo>
                    <a:pt x="14" y="4"/>
                    <a:pt x="13" y="2"/>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3" name="Freeform 123">
              <a:extLst>
                <a:ext uri="{FF2B5EF4-FFF2-40B4-BE49-F238E27FC236}">
                  <a16:creationId xmlns:a16="http://schemas.microsoft.com/office/drawing/2014/main" id="{814B1ECE-D96F-4F25-BD04-52733E3A088F}"/>
                </a:ext>
              </a:extLst>
            </p:cNvPr>
            <p:cNvSpPr>
              <a:spLocks/>
            </p:cNvSpPr>
            <p:nvPr/>
          </p:nvSpPr>
          <p:spPr bwMode="auto">
            <a:xfrm>
              <a:off x="10865497" y="6654633"/>
              <a:ext cx="173709" cy="96035"/>
            </a:xfrm>
            <a:custGeom>
              <a:avLst/>
              <a:gdLst>
                <a:gd name="T0" fmla="*/ 7 w 52"/>
                <a:gd name="T1" fmla="*/ 0 h 29"/>
                <a:gd name="T2" fmla="*/ 5 w 52"/>
                <a:gd name="T3" fmla="*/ 1 h 29"/>
                <a:gd name="T4" fmla="*/ 4 w 52"/>
                <a:gd name="T5" fmla="*/ 0 h 29"/>
                <a:gd name="T6" fmla="*/ 0 w 52"/>
                <a:gd name="T7" fmla="*/ 1 h 29"/>
                <a:gd name="T8" fmla="*/ 8 w 52"/>
                <a:gd name="T9" fmla="*/ 6 h 29"/>
                <a:gd name="T10" fmla="*/ 14 w 52"/>
                <a:gd name="T11" fmla="*/ 5 h 29"/>
                <a:gd name="T12" fmla="*/ 15 w 52"/>
                <a:gd name="T13" fmla="*/ 6 h 29"/>
                <a:gd name="T14" fmla="*/ 14 w 52"/>
                <a:gd name="T15" fmla="*/ 9 h 29"/>
                <a:gd name="T16" fmla="*/ 45 w 52"/>
                <a:gd name="T17" fmla="*/ 29 h 29"/>
                <a:gd name="T18" fmla="*/ 45 w 52"/>
                <a:gd name="T19" fmla="*/ 25 h 29"/>
                <a:gd name="T20" fmla="*/ 52 w 52"/>
                <a:gd name="T21" fmla="*/ 25 h 29"/>
                <a:gd name="T22" fmla="*/ 49 w 52"/>
                <a:gd name="T23" fmla="*/ 18 h 29"/>
                <a:gd name="T24" fmla="*/ 48 w 52"/>
                <a:gd name="T25" fmla="*/ 18 h 29"/>
                <a:gd name="T26" fmla="*/ 43 w 52"/>
                <a:gd name="T27" fmla="*/ 14 h 29"/>
                <a:gd name="T28" fmla="*/ 42 w 52"/>
                <a:gd name="T29" fmla="*/ 12 h 29"/>
                <a:gd name="T30" fmla="*/ 40 w 52"/>
                <a:gd name="T31" fmla="*/ 9 h 29"/>
                <a:gd name="T32" fmla="*/ 36 w 52"/>
                <a:gd name="T33" fmla="*/ 11 h 29"/>
                <a:gd name="T34" fmla="*/ 35 w 52"/>
                <a:gd name="T35" fmla="*/ 8 h 29"/>
                <a:gd name="T36" fmla="*/ 33 w 52"/>
                <a:gd name="T37" fmla="*/ 9 h 29"/>
                <a:gd name="T38" fmla="*/ 36 w 52"/>
                <a:gd name="T39" fmla="*/ 7 h 29"/>
                <a:gd name="T40" fmla="*/ 34 w 52"/>
                <a:gd name="T41" fmla="*/ 6 h 29"/>
                <a:gd name="T42" fmla="*/ 32 w 52"/>
                <a:gd name="T43" fmla="*/ 6 h 29"/>
                <a:gd name="T44" fmla="*/ 30 w 52"/>
                <a:gd name="T45" fmla="*/ 4 h 29"/>
                <a:gd name="T46" fmla="*/ 27 w 52"/>
                <a:gd name="T47" fmla="*/ 3 h 29"/>
                <a:gd name="T48" fmla="*/ 24 w 52"/>
                <a:gd name="T49" fmla="*/ 2 h 29"/>
                <a:gd name="T50" fmla="*/ 21 w 52"/>
                <a:gd name="T51" fmla="*/ 4 h 29"/>
                <a:gd name="T52" fmla="*/ 20 w 52"/>
                <a:gd name="T53" fmla="*/ 2 h 29"/>
                <a:gd name="T54" fmla="*/ 19 w 52"/>
                <a:gd name="T55" fmla="*/ 2 h 29"/>
                <a:gd name="T56" fmla="*/ 19 w 52"/>
                <a:gd name="T57" fmla="*/ 2 h 29"/>
                <a:gd name="T58" fmla="*/ 16 w 52"/>
                <a:gd name="T59" fmla="*/ 2 h 29"/>
                <a:gd name="T60" fmla="*/ 11 w 52"/>
                <a:gd name="T61" fmla="*/ 1 h 29"/>
                <a:gd name="T62" fmla="*/ 7 w 52"/>
                <a:gd name="T6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29">
                  <a:moveTo>
                    <a:pt x="7" y="0"/>
                  </a:moveTo>
                  <a:cubicBezTo>
                    <a:pt x="7" y="0"/>
                    <a:pt x="7" y="0"/>
                    <a:pt x="7" y="0"/>
                  </a:cubicBezTo>
                  <a:cubicBezTo>
                    <a:pt x="6" y="0"/>
                    <a:pt x="6" y="1"/>
                    <a:pt x="5" y="1"/>
                  </a:cubicBezTo>
                  <a:cubicBezTo>
                    <a:pt x="5" y="1"/>
                    <a:pt x="5" y="1"/>
                    <a:pt x="5" y="1"/>
                  </a:cubicBezTo>
                  <a:cubicBezTo>
                    <a:pt x="5" y="1"/>
                    <a:pt x="5" y="1"/>
                    <a:pt x="4" y="1"/>
                  </a:cubicBezTo>
                  <a:cubicBezTo>
                    <a:pt x="4" y="0"/>
                    <a:pt x="4" y="0"/>
                    <a:pt x="4" y="0"/>
                  </a:cubicBezTo>
                  <a:cubicBezTo>
                    <a:pt x="4" y="0"/>
                    <a:pt x="4" y="0"/>
                    <a:pt x="4" y="0"/>
                  </a:cubicBezTo>
                  <a:cubicBezTo>
                    <a:pt x="2" y="0"/>
                    <a:pt x="1" y="1"/>
                    <a:pt x="0" y="1"/>
                  </a:cubicBezTo>
                  <a:cubicBezTo>
                    <a:pt x="1" y="1"/>
                    <a:pt x="9" y="1"/>
                    <a:pt x="9" y="2"/>
                  </a:cubicBezTo>
                  <a:cubicBezTo>
                    <a:pt x="10" y="4"/>
                    <a:pt x="6" y="5"/>
                    <a:pt x="8" y="6"/>
                  </a:cubicBezTo>
                  <a:cubicBezTo>
                    <a:pt x="8" y="6"/>
                    <a:pt x="9" y="6"/>
                    <a:pt x="9" y="6"/>
                  </a:cubicBezTo>
                  <a:cubicBezTo>
                    <a:pt x="10" y="6"/>
                    <a:pt x="13" y="5"/>
                    <a:pt x="14" y="5"/>
                  </a:cubicBezTo>
                  <a:cubicBezTo>
                    <a:pt x="15" y="5"/>
                    <a:pt x="17" y="5"/>
                    <a:pt x="18" y="5"/>
                  </a:cubicBezTo>
                  <a:cubicBezTo>
                    <a:pt x="17" y="6"/>
                    <a:pt x="16" y="6"/>
                    <a:pt x="15" y="6"/>
                  </a:cubicBezTo>
                  <a:cubicBezTo>
                    <a:pt x="14" y="7"/>
                    <a:pt x="15" y="7"/>
                    <a:pt x="15" y="7"/>
                  </a:cubicBezTo>
                  <a:cubicBezTo>
                    <a:pt x="15" y="7"/>
                    <a:pt x="16" y="8"/>
                    <a:pt x="14" y="9"/>
                  </a:cubicBezTo>
                  <a:cubicBezTo>
                    <a:pt x="19" y="9"/>
                    <a:pt x="23" y="9"/>
                    <a:pt x="27" y="12"/>
                  </a:cubicBezTo>
                  <a:cubicBezTo>
                    <a:pt x="35" y="16"/>
                    <a:pt x="40" y="22"/>
                    <a:pt x="45" y="29"/>
                  </a:cubicBezTo>
                  <a:cubicBezTo>
                    <a:pt x="46" y="29"/>
                    <a:pt x="48" y="28"/>
                    <a:pt x="48" y="28"/>
                  </a:cubicBezTo>
                  <a:cubicBezTo>
                    <a:pt x="47" y="27"/>
                    <a:pt x="46" y="26"/>
                    <a:pt x="45" y="25"/>
                  </a:cubicBezTo>
                  <a:cubicBezTo>
                    <a:pt x="47" y="26"/>
                    <a:pt x="48" y="26"/>
                    <a:pt x="49" y="26"/>
                  </a:cubicBezTo>
                  <a:cubicBezTo>
                    <a:pt x="50" y="26"/>
                    <a:pt x="50" y="26"/>
                    <a:pt x="52" y="25"/>
                  </a:cubicBezTo>
                  <a:cubicBezTo>
                    <a:pt x="49" y="23"/>
                    <a:pt x="48" y="22"/>
                    <a:pt x="50" y="18"/>
                  </a:cubicBezTo>
                  <a:cubicBezTo>
                    <a:pt x="50" y="18"/>
                    <a:pt x="49" y="18"/>
                    <a:pt x="49" y="18"/>
                  </a:cubicBezTo>
                  <a:cubicBezTo>
                    <a:pt x="49" y="18"/>
                    <a:pt x="49" y="18"/>
                    <a:pt x="49" y="18"/>
                  </a:cubicBezTo>
                  <a:cubicBezTo>
                    <a:pt x="48" y="18"/>
                    <a:pt x="48" y="18"/>
                    <a:pt x="48" y="18"/>
                  </a:cubicBezTo>
                  <a:cubicBezTo>
                    <a:pt x="46" y="18"/>
                    <a:pt x="43" y="18"/>
                    <a:pt x="47" y="16"/>
                  </a:cubicBezTo>
                  <a:cubicBezTo>
                    <a:pt x="46" y="15"/>
                    <a:pt x="44" y="15"/>
                    <a:pt x="43" y="14"/>
                  </a:cubicBezTo>
                  <a:cubicBezTo>
                    <a:pt x="43" y="14"/>
                    <a:pt x="44" y="13"/>
                    <a:pt x="43" y="13"/>
                  </a:cubicBezTo>
                  <a:cubicBezTo>
                    <a:pt x="42" y="12"/>
                    <a:pt x="42" y="12"/>
                    <a:pt x="42" y="12"/>
                  </a:cubicBezTo>
                  <a:cubicBezTo>
                    <a:pt x="42" y="12"/>
                    <a:pt x="41" y="13"/>
                    <a:pt x="42" y="11"/>
                  </a:cubicBezTo>
                  <a:cubicBezTo>
                    <a:pt x="41" y="11"/>
                    <a:pt x="41" y="9"/>
                    <a:pt x="40" y="9"/>
                  </a:cubicBezTo>
                  <a:cubicBezTo>
                    <a:pt x="40" y="9"/>
                    <a:pt x="39" y="9"/>
                    <a:pt x="39" y="9"/>
                  </a:cubicBezTo>
                  <a:cubicBezTo>
                    <a:pt x="38" y="9"/>
                    <a:pt x="37" y="10"/>
                    <a:pt x="36" y="11"/>
                  </a:cubicBezTo>
                  <a:cubicBezTo>
                    <a:pt x="35" y="10"/>
                    <a:pt x="36" y="8"/>
                    <a:pt x="36" y="8"/>
                  </a:cubicBezTo>
                  <a:cubicBezTo>
                    <a:pt x="35" y="8"/>
                    <a:pt x="35" y="8"/>
                    <a:pt x="35" y="8"/>
                  </a:cubicBezTo>
                  <a:cubicBezTo>
                    <a:pt x="34" y="8"/>
                    <a:pt x="34" y="9"/>
                    <a:pt x="33" y="9"/>
                  </a:cubicBezTo>
                  <a:cubicBezTo>
                    <a:pt x="33" y="9"/>
                    <a:pt x="33" y="9"/>
                    <a:pt x="33" y="9"/>
                  </a:cubicBezTo>
                  <a:cubicBezTo>
                    <a:pt x="31" y="9"/>
                    <a:pt x="31" y="8"/>
                    <a:pt x="32" y="8"/>
                  </a:cubicBezTo>
                  <a:cubicBezTo>
                    <a:pt x="33" y="7"/>
                    <a:pt x="35" y="7"/>
                    <a:pt x="36" y="7"/>
                  </a:cubicBezTo>
                  <a:cubicBezTo>
                    <a:pt x="36" y="7"/>
                    <a:pt x="36" y="7"/>
                    <a:pt x="36" y="7"/>
                  </a:cubicBezTo>
                  <a:cubicBezTo>
                    <a:pt x="35" y="6"/>
                    <a:pt x="34" y="6"/>
                    <a:pt x="34" y="6"/>
                  </a:cubicBezTo>
                  <a:cubicBezTo>
                    <a:pt x="33" y="6"/>
                    <a:pt x="33" y="6"/>
                    <a:pt x="33" y="6"/>
                  </a:cubicBezTo>
                  <a:cubicBezTo>
                    <a:pt x="32" y="6"/>
                    <a:pt x="32" y="6"/>
                    <a:pt x="32" y="6"/>
                  </a:cubicBezTo>
                  <a:cubicBezTo>
                    <a:pt x="31" y="6"/>
                    <a:pt x="30" y="6"/>
                    <a:pt x="32" y="4"/>
                  </a:cubicBezTo>
                  <a:cubicBezTo>
                    <a:pt x="31" y="4"/>
                    <a:pt x="31" y="4"/>
                    <a:pt x="30" y="4"/>
                  </a:cubicBezTo>
                  <a:cubicBezTo>
                    <a:pt x="30" y="4"/>
                    <a:pt x="29" y="4"/>
                    <a:pt x="28" y="5"/>
                  </a:cubicBezTo>
                  <a:cubicBezTo>
                    <a:pt x="28" y="3"/>
                    <a:pt x="28" y="3"/>
                    <a:pt x="27" y="3"/>
                  </a:cubicBezTo>
                  <a:cubicBezTo>
                    <a:pt x="26" y="3"/>
                    <a:pt x="24" y="4"/>
                    <a:pt x="23" y="4"/>
                  </a:cubicBezTo>
                  <a:cubicBezTo>
                    <a:pt x="24" y="4"/>
                    <a:pt x="24" y="3"/>
                    <a:pt x="24" y="2"/>
                  </a:cubicBezTo>
                  <a:cubicBezTo>
                    <a:pt x="22" y="2"/>
                    <a:pt x="22" y="4"/>
                    <a:pt x="21" y="4"/>
                  </a:cubicBezTo>
                  <a:cubicBezTo>
                    <a:pt x="21" y="4"/>
                    <a:pt x="21" y="4"/>
                    <a:pt x="21" y="4"/>
                  </a:cubicBezTo>
                  <a:cubicBezTo>
                    <a:pt x="21" y="4"/>
                    <a:pt x="21" y="2"/>
                    <a:pt x="21" y="2"/>
                  </a:cubicBezTo>
                  <a:cubicBezTo>
                    <a:pt x="20" y="2"/>
                    <a:pt x="20" y="2"/>
                    <a:pt x="20" y="2"/>
                  </a:cubicBezTo>
                  <a:cubicBezTo>
                    <a:pt x="20" y="2"/>
                    <a:pt x="20" y="2"/>
                    <a:pt x="20" y="2"/>
                  </a:cubicBezTo>
                  <a:cubicBezTo>
                    <a:pt x="19" y="2"/>
                    <a:pt x="19" y="2"/>
                    <a:pt x="19" y="2"/>
                  </a:cubicBezTo>
                  <a:cubicBezTo>
                    <a:pt x="19" y="2"/>
                    <a:pt x="19" y="2"/>
                    <a:pt x="19" y="2"/>
                  </a:cubicBezTo>
                  <a:cubicBezTo>
                    <a:pt x="19" y="2"/>
                    <a:pt x="19" y="2"/>
                    <a:pt x="19" y="2"/>
                  </a:cubicBezTo>
                  <a:cubicBezTo>
                    <a:pt x="18" y="2"/>
                    <a:pt x="18" y="2"/>
                    <a:pt x="17" y="2"/>
                  </a:cubicBezTo>
                  <a:cubicBezTo>
                    <a:pt x="17" y="2"/>
                    <a:pt x="17" y="2"/>
                    <a:pt x="16" y="2"/>
                  </a:cubicBezTo>
                  <a:cubicBezTo>
                    <a:pt x="15" y="2"/>
                    <a:pt x="13" y="2"/>
                    <a:pt x="13" y="0"/>
                  </a:cubicBezTo>
                  <a:cubicBezTo>
                    <a:pt x="13" y="1"/>
                    <a:pt x="12" y="1"/>
                    <a:pt x="11" y="1"/>
                  </a:cubicBezTo>
                  <a:cubicBezTo>
                    <a:pt x="11" y="1"/>
                    <a:pt x="10" y="1"/>
                    <a:pt x="10" y="1"/>
                  </a:cubicBezTo>
                  <a:cubicBezTo>
                    <a:pt x="9"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4" name="Freeform 124">
              <a:extLst>
                <a:ext uri="{FF2B5EF4-FFF2-40B4-BE49-F238E27FC236}">
                  <a16:creationId xmlns:a16="http://schemas.microsoft.com/office/drawing/2014/main" id="{26032835-85DB-4E21-B4C6-CB1B3540E7EC}"/>
                </a:ext>
              </a:extLst>
            </p:cNvPr>
            <p:cNvSpPr>
              <a:spLocks/>
            </p:cNvSpPr>
            <p:nvPr/>
          </p:nvSpPr>
          <p:spPr bwMode="auto">
            <a:xfrm>
              <a:off x="8038133" y="5788909"/>
              <a:ext cx="26833" cy="26833"/>
            </a:xfrm>
            <a:custGeom>
              <a:avLst/>
              <a:gdLst>
                <a:gd name="T0" fmla="*/ 5 w 8"/>
                <a:gd name="T1" fmla="*/ 0 h 8"/>
                <a:gd name="T2" fmla="*/ 4 w 8"/>
                <a:gd name="T3" fmla="*/ 8 h 8"/>
                <a:gd name="T4" fmla="*/ 8 w 8"/>
                <a:gd name="T5" fmla="*/ 5 h 8"/>
                <a:gd name="T6" fmla="*/ 7 w 8"/>
                <a:gd name="T7" fmla="*/ 1 h 8"/>
                <a:gd name="T8" fmla="*/ 5 w 8"/>
                <a:gd name="T9" fmla="*/ 0 h 8"/>
              </a:gdLst>
              <a:ahLst/>
              <a:cxnLst>
                <a:cxn ang="0">
                  <a:pos x="T0" y="T1"/>
                </a:cxn>
                <a:cxn ang="0">
                  <a:pos x="T2" y="T3"/>
                </a:cxn>
                <a:cxn ang="0">
                  <a:pos x="T4" y="T5"/>
                </a:cxn>
                <a:cxn ang="0">
                  <a:pos x="T6" y="T7"/>
                </a:cxn>
                <a:cxn ang="0">
                  <a:pos x="T8" y="T9"/>
                </a:cxn>
              </a:cxnLst>
              <a:rect l="0" t="0" r="r" b="b"/>
              <a:pathLst>
                <a:path w="8" h="8">
                  <a:moveTo>
                    <a:pt x="5" y="0"/>
                  </a:moveTo>
                  <a:cubicBezTo>
                    <a:pt x="2" y="0"/>
                    <a:pt x="0" y="8"/>
                    <a:pt x="4" y="8"/>
                  </a:cubicBezTo>
                  <a:cubicBezTo>
                    <a:pt x="5" y="6"/>
                    <a:pt x="7" y="7"/>
                    <a:pt x="8" y="5"/>
                  </a:cubicBezTo>
                  <a:cubicBezTo>
                    <a:pt x="8" y="4"/>
                    <a:pt x="7" y="2"/>
                    <a:pt x="7" y="1"/>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5" name="Freeform 125">
              <a:extLst>
                <a:ext uri="{FF2B5EF4-FFF2-40B4-BE49-F238E27FC236}">
                  <a16:creationId xmlns:a16="http://schemas.microsoft.com/office/drawing/2014/main" id="{C8A891A1-F479-4941-AFEB-CF7CE0A5BC7F}"/>
                </a:ext>
              </a:extLst>
            </p:cNvPr>
            <p:cNvSpPr>
              <a:spLocks/>
            </p:cNvSpPr>
            <p:nvPr/>
          </p:nvSpPr>
          <p:spPr bwMode="auto">
            <a:xfrm>
              <a:off x="8011300" y="6461151"/>
              <a:ext cx="24009" cy="12710"/>
            </a:xfrm>
            <a:custGeom>
              <a:avLst/>
              <a:gdLst>
                <a:gd name="T0" fmla="*/ 0 w 7"/>
                <a:gd name="T1" fmla="*/ 0 h 4"/>
                <a:gd name="T2" fmla="*/ 4 w 7"/>
                <a:gd name="T3" fmla="*/ 4 h 4"/>
                <a:gd name="T4" fmla="*/ 7 w 7"/>
                <a:gd name="T5" fmla="*/ 1 h 4"/>
                <a:gd name="T6" fmla="*/ 5 w 7"/>
                <a:gd name="T7" fmla="*/ 1 h 4"/>
                <a:gd name="T8" fmla="*/ 4 w 7"/>
                <a:gd name="T9" fmla="*/ 1 h 4"/>
                <a:gd name="T10" fmla="*/ 3 w 7"/>
                <a:gd name="T11" fmla="*/ 1 h 4"/>
                <a:gd name="T12" fmla="*/ 0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0" y="0"/>
                  </a:moveTo>
                  <a:cubicBezTo>
                    <a:pt x="1" y="2"/>
                    <a:pt x="2" y="3"/>
                    <a:pt x="4" y="4"/>
                  </a:cubicBezTo>
                  <a:cubicBezTo>
                    <a:pt x="5" y="3"/>
                    <a:pt x="6" y="2"/>
                    <a:pt x="7" y="1"/>
                  </a:cubicBezTo>
                  <a:cubicBezTo>
                    <a:pt x="6" y="1"/>
                    <a:pt x="6" y="1"/>
                    <a:pt x="5" y="1"/>
                  </a:cubicBezTo>
                  <a:cubicBezTo>
                    <a:pt x="5" y="1"/>
                    <a:pt x="5" y="1"/>
                    <a:pt x="4" y="1"/>
                  </a:cubicBezTo>
                  <a:cubicBezTo>
                    <a:pt x="4" y="1"/>
                    <a:pt x="4" y="1"/>
                    <a:pt x="3" y="1"/>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6" name="Freeform 126">
              <a:extLst>
                <a:ext uri="{FF2B5EF4-FFF2-40B4-BE49-F238E27FC236}">
                  <a16:creationId xmlns:a16="http://schemas.microsoft.com/office/drawing/2014/main" id="{98C28A17-AC99-4781-9179-570827B4C47D}"/>
                </a:ext>
              </a:extLst>
            </p:cNvPr>
            <p:cNvSpPr>
              <a:spLocks/>
            </p:cNvSpPr>
            <p:nvPr/>
          </p:nvSpPr>
          <p:spPr bwMode="auto">
            <a:xfrm>
              <a:off x="7985879" y="6140565"/>
              <a:ext cx="29658" cy="22596"/>
            </a:xfrm>
            <a:custGeom>
              <a:avLst/>
              <a:gdLst>
                <a:gd name="T0" fmla="*/ 7 w 9"/>
                <a:gd name="T1" fmla="*/ 0 h 7"/>
                <a:gd name="T2" fmla="*/ 6 w 9"/>
                <a:gd name="T3" fmla="*/ 0 h 7"/>
                <a:gd name="T4" fmla="*/ 5 w 9"/>
                <a:gd name="T5" fmla="*/ 0 h 7"/>
                <a:gd name="T6" fmla="*/ 4 w 9"/>
                <a:gd name="T7" fmla="*/ 0 h 7"/>
                <a:gd name="T8" fmla="*/ 3 w 9"/>
                <a:gd name="T9" fmla="*/ 0 h 7"/>
                <a:gd name="T10" fmla="*/ 2 w 9"/>
                <a:gd name="T11" fmla="*/ 1 h 7"/>
                <a:gd name="T12" fmla="*/ 4 w 9"/>
                <a:gd name="T13" fmla="*/ 5 h 7"/>
                <a:gd name="T14" fmla="*/ 8 w 9"/>
                <a:gd name="T15" fmla="*/ 7 h 7"/>
                <a:gd name="T16" fmla="*/ 7 w 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7" y="0"/>
                  </a:moveTo>
                  <a:cubicBezTo>
                    <a:pt x="6" y="0"/>
                    <a:pt x="6" y="0"/>
                    <a:pt x="6" y="0"/>
                  </a:cubicBezTo>
                  <a:cubicBezTo>
                    <a:pt x="5" y="0"/>
                    <a:pt x="5" y="0"/>
                    <a:pt x="5" y="0"/>
                  </a:cubicBezTo>
                  <a:cubicBezTo>
                    <a:pt x="4" y="0"/>
                    <a:pt x="4" y="0"/>
                    <a:pt x="4" y="0"/>
                  </a:cubicBezTo>
                  <a:cubicBezTo>
                    <a:pt x="4" y="0"/>
                    <a:pt x="3" y="0"/>
                    <a:pt x="3" y="0"/>
                  </a:cubicBezTo>
                  <a:cubicBezTo>
                    <a:pt x="3" y="0"/>
                    <a:pt x="2" y="0"/>
                    <a:pt x="2" y="1"/>
                  </a:cubicBezTo>
                  <a:cubicBezTo>
                    <a:pt x="0" y="3"/>
                    <a:pt x="2" y="4"/>
                    <a:pt x="4" y="5"/>
                  </a:cubicBezTo>
                  <a:cubicBezTo>
                    <a:pt x="5" y="6"/>
                    <a:pt x="6" y="7"/>
                    <a:pt x="8" y="7"/>
                  </a:cubicBezTo>
                  <a:cubicBezTo>
                    <a:pt x="8" y="6"/>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7" name="Freeform 127">
              <a:extLst>
                <a:ext uri="{FF2B5EF4-FFF2-40B4-BE49-F238E27FC236}">
                  <a16:creationId xmlns:a16="http://schemas.microsoft.com/office/drawing/2014/main" id="{BBAD5823-D40F-4A44-A627-46E8510FE03E}"/>
                </a:ext>
              </a:extLst>
            </p:cNvPr>
            <p:cNvSpPr>
              <a:spLocks/>
            </p:cNvSpPr>
            <p:nvPr/>
          </p:nvSpPr>
          <p:spPr bwMode="auto">
            <a:xfrm>
              <a:off x="8028247" y="5803032"/>
              <a:ext cx="14123" cy="12710"/>
            </a:xfrm>
            <a:custGeom>
              <a:avLst/>
              <a:gdLst>
                <a:gd name="T0" fmla="*/ 4 w 4"/>
                <a:gd name="T1" fmla="*/ 0 h 4"/>
                <a:gd name="T2" fmla="*/ 0 w 4"/>
                <a:gd name="T3" fmla="*/ 4 h 4"/>
                <a:gd name="T4" fmla="*/ 2 w 4"/>
                <a:gd name="T5" fmla="*/ 4 h 4"/>
                <a:gd name="T6" fmla="*/ 4 w 4"/>
                <a:gd name="T7" fmla="*/ 0 h 4"/>
              </a:gdLst>
              <a:ahLst/>
              <a:cxnLst>
                <a:cxn ang="0">
                  <a:pos x="T0" y="T1"/>
                </a:cxn>
                <a:cxn ang="0">
                  <a:pos x="T2" y="T3"/>
                </a:cxn>
                <a:cxn ang="0">
                  <a:pos x="T4" y="T5"/>
                </a:cxn>
                <a:cxn ang="0">
                  <a:pos x="T6" y="T7"/>
                </a:cxn>
              </a:cxnLst>
              <a:rect l="0" t="0" r="r" b="b"/>
              <a:pathLst>
                <a:path w="4" h="4">
                  <a:moveTo>
                    <a:pt x="4" y="0"/>
                  </a:moveTo>
                  <a:cubicBezTo>
                    <a:pt x="2" y="1"/>
                    <a:pt x="1" y="2"/>
                    <a:pt x="0" y="4"/>
                  </a:cubicBezTo>
                  <a:cubicBezTo>
                    <a:pt x="1" y="4"/>
                    <a:pt x="1" y="4"/>
                    <a:pt x="2" y="4"/>
                  </a:cubicBezTo>
                  <a:cubicBezTo>
                    <a:pt x="3" y="4"/>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8" name="Freeform 128">
              <a:extLst>
                <a:ext uri="{FF2B5EF4-FFF2-40B4-BE49-F238E27FC236}">
                  <a16:creationId xmlns:a16="http://schemas.microsoft.com/office/drawing/2014/main" id="{9029D5A7-7F6F-4BFE-816C-01E6C68FFC21}"/>
                </a:ext>
              </a:extLst>
            </p:cNvPr>
            <p:cNvSpPr>
              <a:spLocks/>
            </p:cNvSpPr>
            <p:nvPr/>
          </p:nvSpPr>
          <p:spPr bwMode="auto">
            <a:xfrm>
              <a:off x="7954809" y="6079837"/>
              <a:ext cx="31070" cy="26833"/>
            </a:xfrm>
            <a:custGeom>
              <a:avLst/>
              <a:gdLst>
                <a:gd name="T0" fmla="*/ 6 w 9"/>
                <a:gd name="T1" fmla="*/ 0 h 8"/>
                <a:gd name="T2" fmla="*/ 4 w 9"/>
                <a:gd name="T3" fmla="*/ 1 h 8"/>
                <a:gd name="T4" fmla="*/ 3 w 9"/>
                <a:gd name="T5" fmla="*/ 1 h 8"/>
                <a:gd name="T6" fmla="*/ 2 w 9"/>
                <a:gd name="T7" fmla="*/ 1 h 8"/>
                <a:gd name="T8" fmla="*/ 2 w 9"/>
                <a:gd name="T9" fmla="*/ 1 h 8"/>
                <a:gd name="T10" fmla="*/ 2 w 9"/>
                <a:gd name="T11" fmla="*/ 1 h 8"/>
                <a:gd name="T12" fmla="*/ 2 w 9"/>
                <a:gd name="T13" fmla="*/ 1 h 8"/>
                <a:gd name="T14" fmla="*/ 1 w 9"/>
                <a:gd name="T15" fmla="*/ 0 h 8"/>
                <a:gd name="T16" fmla="*/ 0 w 9"/>
                <a:gd name="T17" fmla="*/ 0 h 8"/>
                <a:gd name="T18" fmla="*/ 0 w 9"/>
                <a:gd name="T19" fmla="*/ 1 h 8"/>
                <a:gd name="T20" fmla="*/ 4 w 9"/>
                <a:gd name="T21" fmla="*/ 5 h 8"/>
                <a:gd name="T22" fmla="*/ 2 w 9"/>
                <a:gd name="T23" fmla="*/ 8 h 8"/>
                <a:gd name="T24" fmla="*/ 7 w 9"/>
                <a:gd name="T25" fmla="*/ 1 h 8"/>
                <a:gd name="T26" fmla="*/ 6 w 9"/>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8">
                  <a:moveTo>
                    <a:pt x="6" y="0"/>
                  </a:moveTo>
                  <a:cubicBezTo>
                    <a:pt x="5" y="0"/>
                    <a:pt x="5" y="0"/>
                    <a:pt x="4" y="1"/>
                  </a:cubicBezTo>
                  <a:cubicBezTo>
                    <a:pt x="4" y="1"/>
                    <a:pt x="4" y="1"/>
                    <a:pt x="3" y="1"/>
                  </a:cubicBezTo>
                  <a:cubicBezTo>
                    <a:pt x="3" y="1"/>
                    <a:pt x="3" y="1"/>
                    <a:pt x="2" y="1"/>
                  </a:cubicBezTo>
                  <a:cubicBezTo>
                    <a:pt x="2" y="1"/>
                    <a:pt x="2" y="1"/>
                    <a:pt x="2" y="1"/>
                  </a:cubicBezTo>
                  <a:cubicBezTo>
                    <a:pt x="2" y="1"/>
                    <a:pt x="2" y="1"/>
                    <a:pt x="2" y="1"/>
                  </a:cubicBezTo>
                  <a:cubicBezTo>
                    <a:pt x="2" y="1"/>
                    <a:pt x="2" y="1"/>
                    <a:pt x="2" y="1"/>
                  </a:cubicBezTo>
                  <a:cubicBezTo>
                    <a:pt x="2" y="1"/>
                    <a:pt x="1" y="0"/>
                    <a:pt x="1" y="0"/>
                  </a:cubicBezTo>
                  <a:cubicBezTo>
                    <a:pt x="1" y="0"/>
                    <a:pt x="1" y="0"/>
                    <a:pt x="0" y="0"/>
                  </a:cubicBezTo>
                  <a:cubicBezTo>
                    <a:pt x="0" y="0"/>
                    <a:pt x="0" y="1"/>
                    <a:pt x="0" y="1"/>
                  </a:cubicBezTo>
                  <a:cubicBezTo>
                    <a:pt x="1" y="3"/>
                    <a:pt x="3" y="5"/>
                    <a:pt x="4" y="5"/>
                  </a:cubicBezTo>
                  <a:cubicBezTo>
                    <a:pt x="4" y="6"/>
                    <a:pt x="3" y="7"/>
                    <a:pt x="2" y="8"/>
                  </a:cubicBezTo>
                  <a:cubicBezTo>
                    <a:pt x="5" y="7"/>
                    <a:pt x="9" y="5"/>
                    <a:pt x="7" y="1"/>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9" name="Freeform 129">
              <a:extLst>
                <a:ext uri="{FF2B5EF4-FFF2-40B4-BE49-F238E27FC236}">
                  <a16:creationId xmlns:a16="http://schemas.microsoft.com/office/drawing/2014/main" id="{07E385ED-02A6-4C24-8684-F913DE6F03EF}"/>
                </a:ext>
              </a:extLst>
            </p:cNvPr>
            <p:cNvSpPr>
              <a:spLocks/>
            </p:cNvSpPr>
            <p:nvPr/>
          </p:nvSpPr>
          <p:spPr bwMode="auto">
            <a:xfrm>
              <a:off x="7954809" y="6036057"/>
              <a:ext cx="46605" cy="70614"/>
            </a:xfrm>
            <a:custGeom>
              <a:avLst/>
              <a:gdLst>
                <a:gd name="T0" fmla="*/ 6 w 14"/>
                <a:gd name="T1" fmla="*/ 0 h 21"/>
                <a:gd name="T2" fmla="*/ 3 w 14"/>
                <a:gd name="T3" fmla="*/ 1 h 21"/>
                <a:gd name="T4" fmla="*/ 2 w 14"/>
                <a:gd name="T5" fmla="*/ 9 h 21"/>
                <a:gd name="T6" fmla="*/ 3 w 14"/>
                <a:gd name="T7" fmla="*/ 9 h 21"/>
                <a:gd name="T8" fmla="*/ 4 w 14"/>
                <a:gd name="T9" fmla="*/ 9 h 21"/>
                <a:gd name="T10" fmla="*/ 6 w 14"/>
                <a:gd name="T11" fmla="*/ 9 h 21"/>
                <a:gd name="T12" fmla="*/ 7 w 14"/>
                <a:gd name="T13" fmla="*/ 9 h 21"/>
                <a:gd name="T14" fmla="*/ 2 w 14"/>
                <a:gd name="T15" fmla="*/ 12 h 21"/>
                <a:gd name="T16" fmla="*/ 4 w 14"/>
                <a:gd name="T17" fmla="*/ 12 h 21"/>
                <a:gd name="T18" fmla="*/ 7 w 14"/>
                <a:gd name="T19" fmla="*/ 10 h 21"/>
                <a:gd name="T20" fmla="*/ 9 w 14"/>
                <a:gd name="T21" fmla="*/ 21 h 21"/>
                <a:gd name="T22" fmla="*/ 12 w 14"/>
                <a:gd name="T23" fmla="*/ 14 h 21"/>
                <a:gd name="T24" fmla="*/ 9 w 14"/>
                <a:gd name="T25" fmla="*/ 8 h 21"/>
                <a:gd name="T26" fmla="*/ 7 w 14"/>
                <a:gd name="T27" fmla="*/ 2 h 21"/>
                <a:gd name="T28" fmla="*/ 6 w 14"/>
                <a:gd name="T29" fmla="*/ 0 h 21"/>
                <a:gd name="T30" fmla="*/ 6 w 14"/>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21">
                  <a:moveTo>
                    <a:pt x="6" y="0"/>
                  </a:moveTo>
                  <a:cubicBezTo>
                    <a:pt x="5" y="0"/>
                    <a:pt x="3" y="1"/>
                    <a:pt x="3" y="1"/>
                  </a:cubicBezTo>
                  <a:cubicBezTo>
                    <a:pt x="0" y="4"/>
                    <a:pt x="5" y="6"/>
                    <a:pt x="2" y="9"/>
                  </a:cubicBezTo>
                  <a:cubicBezTo>
                    <a:pt x="2" y="9"/>
                    <a:pt x="3" y="9"/>
                    <a:pt x="3" y="9"/>
                  </a:cubicBezTo>
                  <a:cubicBezTo>
                    <a:pt x="4" y="9"/>
                    <a:pt x="4" y="9"/>
                    <a:pt x="4" y="9"/>
                  </a:cubicBezTo>
                  <a:cubicBezTo>
                    <a:pt x="5" y="9"/>
                    <a:pt x="5" y="9"/>
                    <a:pt x="6" y="9"/>
                  </a:cubicBezTo>
                  <a:cubicBezTo>
                    <a:pt x="6" y="9"/>
                    <a:pt x="6" y="9"/>
                    <a:pt x="7" y="9"/>
                  </a:cubicBezTo>
                  <a:cubicBezTo>
                    <a:pt x="5" y="11"/>
                    <a:pt x="3" y="10"/>
                    <a:pt x="2" y="12"/>
                  </a:cubicBezTo>
                  <a:cubicBezTo>
                    <a:pt x="3" y="12"/>
                    <a:pt x="3" y="12"/>
                    <a:pt x="4" y="12"/>
                  </a:cubicBezTo>
                  <a:cubicBezTo>
                    <a:pt x="5" y="12"/>
                    <a:pt x="7" y="12"/>
                    <a:pt x="7" y="10"/>
                  </a:cubicBezTo>
                  <a:cubicBezTo>
                    <a:pt x="8" y="14"/>
                    <a:pt x="9" y="18"/>
                    <a:pt x="9" y="21"/>
                  </a:cubicBezTo>
                  <a:cubicBezTo>
                    <a:pt x="13" y="18"/>
                    <a:pt x="14" y="17"/>
                    <a:pt x="12" y="14"/>
                  </a:cubicBezTo>
                  <a:cubicBezTo>
                    <a:pt x="11" y="11"/>
                    <a:pt x="10" y="10"/>
                    <a:pt x="9" y="8"/>
                  </a:cubicBezTo>
                  <a:cubicBezTo>
                    <a:pt x="8" y="6"/>
                    <a:pt x="8" y="3"/>
                    <a:pt x="7" y="2"/>
                  </a:cubicBezTo>
                  <a:cubicBezTo>
                    <a:pt x="6" y="1"/>
                    <a:pt x="8" y="1"/>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0" name="Freeform 130">
              <a:extLst>
                <a:ext uri="{FF2B5EF4-FFF2-40B4-BE49-F238E27FC236}">
                  <a16:creationId xmlns:a16="http://schemas.microsoft.com/office/drawing/2014/main" id="{18CA4A14-9985-46AC-86DF-EF6D77A39A35}"/>
                </a:ext>
              </a:extLst>
            </p:cNvPr>
            <p:cNvSpPr>
              <a:spLocks noEditPoints="1"/>
            </p:cNvSpPr>
            <p:nvPr/>
          </p:nvSpPr>
          <p:spPr bwMode="auto">
            <a:xfrm>
              <a:off x="7971756" y="6236600"/>
              <a:ext cx="50842" cy="43780"/>
            </a:xfrm>
            <a:custGeom>
              <a:avLst/>
              <a:gdLst>
                <a:gd name="T0" fmla="*/ 3 w 15"/>
                <a:gd name="T1" fmla="*/ 0 h 13"/>
                <a:gd name="T2" fmla="*/ 1 w 15"/>
                <a:gd name="T3" fmla="*/ 1 h 13"/>
                <a:gd name="T4" fmla="*/ 6 w 15"/>
                <a:gd name="T5" fmla="*/ 5 h 13"/>
                <a:gd name="T6" fmla="*/ 7 w 15"/>
                <a:gd name="T7" fmla="*/ 4 h 13"/>
                <a:gd name="T8" fmla="*/ 4 w 15"/>
                <a:gd name="T9" fmla="*/ 7 h 13"/>
                <a:gd name="T10" fmla="*/ 3 w 15"/>
                <a:gd name="T11" fmla="*/ 7 h 13"/>
                <a:gd name="T12" fmla="*/ 2 w 15"/>
                <a:gd name="T13" fmla="*/ 5 h 13"/>
                <a:gd name="T14" fmla="*/ 2 w 15"/>
                <a:gd name="T15" fmla="*/ 5 h 13"/>
                <a:gd name="T16" fmla="*/ 1 w 15"/>
                <a:gd name="T17" fmla="*/ 5 h 13"/>
                <a:gd name="T18" fmla="*/ 1 w 15"/>
                <a:gd name="T19" fmla="*/ 7 h 13"/>
                <a:gd name="T20" fmla="*/ 5 w 15"/>
                <a:gd name="T21" fmla="*/ 9 h 13"/>
                <a:gd name="T22" fmla="*/ 5 w 15"/>
                <a:gd name="T23" fmla="*/ 9 h 13"/>
                <a:gd name="T24" fmla="*/ 4 w 15"/>
                <a:gd name="T25" fmla="*/ 13 h 13"/>
                <a:gd name="T26" fmla="*/ 11 w 15"/>
                <a:gd name="T27" fmla="*/ 7 h 13"/>
                <a:gd name="T28" fmla="*/ 14 w 15"/>
                <a:gd name="T29" fmla="*/ 6 h 13"/>
                <a:gd name="T30" fmla="*/ 14 w 15"/>
                <a:gd name="T31" fmla="*/ 4 h 13"/>
                <a:gd name="T32" fmla="*/ 8 w 15"/>
                <a:gd name="T33" fmla="*/ 6 h 13"/>
                <a:gd name="T34" fmla="*/ 11 w 15"/>
                <a:gd name="T35" fmla="*/ 2 h 13"/>
                <a:gd name="T36" fmla="*/ 8 w 15"/>
                <a:gd name="T37" fmla="*/ 3 h 13"/>
                <a:gd name="T38" fmla="*/ 7 w 15"/>
                <a:gd name="T39" fmla="*/ 3 h 13"/>
                <a:gd name="T40" fmla="*/ 7 w 15"/>
                <a:gd name="T41" fmla="*/ 1 h 13"/>
                <a:gd name="T42" fmla="*/ 6 w 15"/>
                <a:gd name="T43" fmla="*/ 1 h 13"/>
                <a:gd name="T44" fmla="*/ 6 w 15"/>
                <a:gd name="T45" fmla="*/ 1 h 13"/>
                <a:gd name="T46" fmla="*/ 5 w 15"/>
                <a:gd name="T47" fmla="*/ 1 h 13"/>
                <a:gd name="T48" fmla="*/ 4 w 15"/>
                <a:gd name="T49" fmla="*/ 1 h 13"/>
                <a:gd name="T50" fmla="*/ 5 w 15"/>
                <a:gd name="T51" fmla="*/ 1 h 13"/>
                <a:gd name="T52" fmla="*/ 3 w 15"/>
                <a:gd name="T53" fmla="*/ 0 h 13"/>
                <a:gd name="T54" fmla="*/ 3 w 15"/>
                <a:gd name="T55" fmla="*/ 0 h 13"/>
                <a:gd name="T56" fmla="*/ 3 w 15"/>
                <a:gd name="T57" fmla="*/ 0 h 13"/>
                <a:gd name="T58" fmla="*/ 3 w 15"/>
                <a:gd name="T5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 h="13">
                  <a:moveTo>
                    <a:pt x="3" y="0"/>
                  </a:moveTo>
                  <a:cubicBezTo>
                    <a:pt x="3" y="0"/>
                    <a:pt x="0" y="0"/>
                    <a:pt x="1" y="1"/>
                  </a:cubicBezTo>
                  <a:cubicBezTo>
                    <a:pt x="2" y="2"/>
                    <a:pt x="4" y="5"/>
                    <a:pt x="6" y="5"/>
                  </a:cubicBezTo>
                  <a:cubicBezTo>
                    <a:pt x="6" y="5"/>
                    <a:pt x="7" y="5"/>
                    <a:pt x="7" y="4"/>
                  </a:cubicBezTo>
                  <a:cubicBezTo>
                    <a:pt x="6" y="6"/>
                    <a:pt x="5" y="7"/>
                    <a:pt x="4" y="7"/>
                  </a:cubicBezTo>
                  <a:cubicBezTo>
                    <a:pt x="3" y="7"/>
                    <a:pt x="3" y="7"/>
                    <a:pt x="3" y="7"/>
                  </a:cubicBezTo>
                  <a:cubicBezTo>
                    <a:pt x="3" y="6"/>
                    <a:pt x="1" y="5"/>
                    <a:pt x="2" y="5"/>
                  </a:cubicBezTo>
                  <a:cubicBezTo>
                    <a:pt x="2" y="5"/>
                    <a:pt x="2" y="5"/>
                    <a:pt x="2" y="5"/>
                  </a:cubicBezTo>
                  <a:cubicBezTo>
                    <a:pt x="2" y="5"/>
                    <a:pt x="2" y="5"/>
                    <a:pt x="1" y="5"/>
                  </a:cubicBezTo>
                  <a:cubicBezTo>
                    <a:pt x="0" y="5"/>
                    <a:pt x="0" y="6"/>
                    <a:pt x="1" y="7"/>
                  </a:cubicBezTo>
                  <a:cubicBezTo>
                    <a:pt x="1" y="8"/>
                    <a:pt x="3" y="9"/>
                    <a:pt x="5" y="9"/>
                  </a:cubicBezTo>
                  <a:cubicBezTo>
                    <a:pt x="5" y="9"/>
                    <a:pt x="5" y="9"/>
                    <a:pt x="5" y="9"/>
                  </a:cubicBezTo>
                  <a:cubicBezTo>
                    <a:pt x="5" y="10"/>
                    <a:pt x="5" y="12"/>
                    <a:pt x="4" y="13"/>
                  </a:cubicBezTo>
                  <a:cubicBezTo>
                    <a:pt x="6" y="11"/>
                    <a:pt x="9" y="8"/>
                    <a:pt x="11" y="7"/>
                  </a:cubicBezTo>
                  <a:cubicBezTo>
                    <a:pt x="12" y="6"/>
                    <a:pt x="13" y="7"/>
                    <a:pt x="14" y="6"/>
                  </a:cubicBezTo>
                  <a:cubicBezTo>
                    <a:pt x="15" y="5"/>
                    <a:pt x="15" y="4"/>
                    <a:pt x="14" y="4"/>
                  </a:cubicBezTo>
                  <a:cubicBezTo>
                    <a:pt x="12" y="4"/>
                    <a:pt x="9" y="5"/>
                    <a:pt x="8" y="6"/>
                  </a:cubicBezTo>
                  <a:cubicBezTo>
                    <a:pt x="9" y="4"/>
                    <a:pt x="10" y="4"/>
                    <a:pt x="11" y="2"/>
                  </a:cubicBezTo>
                  <a:cubicBezTo>
                    <a:pt x="10" y="3"/>
                    <a:pt x="9" y="3"/>
                    <a:pt x="8" y="3"/>
                  </a:cubicBezTo>
                  <a:cubicBezTo>
                    <a:pt x="8" y="3"/>
                    <a:pt x="8" y="3"/>
                    <a:pt x="7" y="3"/>
                  </a:cubicBezTo>
                  <a:cubicBezTo>
                    <a:pt x="7" y="2"/>
                    <a:pt x="8" y="1"/>
                    <a:pt x="7" y="1"/>
                  </a:cubicBezTo>
                  <a:cubicBezTo>
                    <a:pt x="7" y="1"/>
                    <a:pt x="6" y="1"/>
                    <a:pt x="6" y="1"/>
                  </a:cubicBezTo>
                  <a:cubicBezTo>
                    <a:pt x="6" y="1"/>
                    <a:pt x="6" y="1"/>
                    <a:pt x="6" y="1"/>
                  </a:cubicBezTo>
                  <a:cubicBezTo>
                    <a:pt x="5" y="1"/>
                    <a:pt x="5" y="1"/>
                    <a:pt x="5" y="1"/>
                  </a:cubicBezTo>
                  <a:cubicBezTo>
                    <a:pt x="5" y="1"/>
                    <a:pt x="5" y="1"/>
                    <a:pt x="4" y="1"/>
                  </a:cubicBezTo>
                  <a:cubicBezTo>
                    <a:pt x="4" y="1"/>
                    <a:pt x="5" y="1"/>
                    <a:pt x="5" y="1"/>
                  </a:cubicBezTo>
                  <a:cubicBezTo>
                    <a:pt x="4" y="1"/>
                    <a:pt x="2" y="0"/>
                    <a:pt x="3" y="0"/>
                  </a:cubicBezTo>
                  <a:moveTo>
                    <a:pt x="3" y="0"/>
                  </a:moveTo>
                  <a:cubicBezTo>
                    <a:pt x="3" y="0"/>
                    <a:pt x="3" y="0"/>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1" name="Freeform 131">
              <a:extLst>
                <a:ext uri="{FF2B5EF4-FFF2-40B4-BE49-F238E27FC236}">
                  <a16:creationId xmlns:a16="http://schemas.microsoft.com/office/drawing/2014/main" id="{9BCA2C29-4D5B-43EF-90ED-3506C17D6DCA}"/>
                </a:ext>
              </a:extLst>
            </p:cNvPr>
            <p:cNvSpPr>
              <a:spLocks/>
            </p:cNvSpPr>
            <p:nvPr/>
          </p:nvSpPr>
          <p:spPr bwMode="auto">
            <a:xfrm>
              <a:off x="7951985" y="6119381"/>
              <a:ext cx="33894" cy="16947"/>
            </a:xfrm>
            <a:custGeom>
              <a:avLst/>
              <a:gdLst>
                <a:gd name="T0" fmla="*/ 7 w 10"/>
                <a:gd name="T1" fmla="*/ 0 h 5"/>
                <a:gd name="T2" fmla="*/ 4 w 10"/>
                <a:gd name="T3" fmla="*/ 2 h 5"/>
                <a:gd name="T4" fmla="*/ 3 w 10"/>
                <a:gd name="T5" fmla="*/ 0 h 5"/>
                <a:gd name="T6" fmla="*/ 3 w 10"/>
                <a:gd name="T7" fmla="*/ 0 h 5"/>
                <a:gd name="T8" fmla="*/ 1 w 10"/>
                <a:gd name="T9" fmla="*/ 1 h 5"/>
                <a:gd name="T10" fmla="*/ 10 w 10"/>
                <a:gd name="T11" fmla="*/ 5 h 5"/>
                <a:gd name="T12" fmla="*/ 8 w 10"/>
                <a:gd name="T13" fmla="*/ 0 h 5"/>
                <a:gd name="T14" fmla="*/ 6 w 10"/>
                <a:gd name="T15" fmla="*/ 1 h 5"/>
                <a:gd name="T16" fmla="*/ 7 w 10"/>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
                  <a:moveTo>
                    <a:pt x="7" y="0"/>
                  </a:moveTo>
                  <a:cubicBezTo>
                    <a:pt x="6" y="0"/>
                    <a:pt x="5" y="2"/>
                    <a:pt x="4" y="2"/>
                  </a:cubicBezTo>
                  <a:cubicBezTo>
                    <a:pt x="4" y="2"/>
                    <a:pt x="4" y="0"/>
                    <a:pt x="3" y="0"/>
                  </a:cubicBezTo>
                  <a:cubicBezTo>
                    <a:pt x="3" y="0"/>
                    <a:pt x="3" y="0"/>
                    <a:pt x="3" y="0"/>
                  </a:cubicBezTo>
                  <a:cubicBezTo>
                    <a:pt x="3" y="0"/>
                    <a:pt x="1" y="1"/>
                    <a:pt x="1" y="1"/>
                  </a:cubicBezTo>
                  <a:cubicBezTo>
                    <a:pt x="0" y="3"/>
                    <a:pt x="8" y="4"/>
                    <a:pt x="10" y="5"/>
                  </a:cubicBezTo>
                  <a:cubicBezTo>
                    <a:pt x="10" y="4"/>
                    <a:pt x="9" y="0"/>
                    <a:pt x="8" y="0"/>
                  </a:cubicBezTo>
                  <a:cubicBezTo>
                    <a:pt x="7" y="0"/>
                    <a:pt x="7" y="1"/>
                    <a:pt x="6" y="1"/>
                  </a:cubicBezTo>
                  <a:cubicBezTo>
                    <a:pt x="6" y="1"/>
                    <a:pt x="6"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2" name="Freeform 132">
              <a:extLst>
                <a:ext uri="{FF2B5EF4-FFF2-40B4-BE49-F238E27FC236}">
                  <a16:creationId xmlns:a16="http://schemas.microsoft.com/office/drawing/2014/main" id="{878457B2-3475-4805-BE62-39D2A27AF1DB}"/>
                </a:ext>
              </a:extLst>
            </p:cNvPr>
            <p:cNvSpPr>
              <a:spLocks/>
            </p:cNvSpPr>
            <p:nvPr/>
          </p:nvSpPr>
          <p:spPr bwMode="auto">
            <a:xfrm>
              <a:off x="8052256" y="5441490"/>
              <a:ext cx="83324" cy="151113"/>
            </a:xfrm>
            <a:custGeom>
              <a:avLst/>
              <a:gdLst>
                <a:gd name="T0" fmla="*/ 10 w 25"/>
                <a:gd name="T1" fmla="*/ 0 h 45"/>
                <a:gd name="T2" fmla="*/ 8 w 25"/>
                <a:gd name="T3" fmla="*/ 2 h 45"/>
                <a:gd name="T4" fmla="*/ 6 w 25"/>
                <a:gd name="T5" fmla="*/ 11 h 45"/>
                <a:gd name="T6" fmla="*/ 4 w 25"/>
                <a:gd name="T7" fmla="*/ 19 h 45"/>
                <a:gd name="T8" fmla="*/ 3 w 25"/>
                <a:gd name="T9" fmla="*/ 34 h 45"/>
                <a:gd name="T10" fmla="*/ 0 w 25"/>
                <a:gd name="T11" fmla="*/ 40 h 45"/>
                <a:gd name="T12" fmla="*/ 12 w 25"/>
                <a:gd name="T13" fmla="*/ 45 h 45"/>
                <a:gd name="T14" fmla="*/ 16 w 25"/>
                <a:gd name="T15" fmla="*/ 41 h 45"/>
                <a:gd name="T16" fmla="*/ 14 w 25"/>
                <a:gd name="T17" fmla="*/ 37 h 45"/>
                <a:gd name="T18" fmla="*/ 15 w 25"/>
                <a:gd name="T19" fmla="*/ 37 h 45"/>
                <a:gd name="T20" fmla="*/ 16 w 25"/>
                <a:gd name="T21" fmla="*/ 37 h 45"/>
                <a:gd name="T22" fmla="*/ 16 w 25"/>
                <a:gd name="T23" fmla="*/ 37 h 45"/>
                <a:gd name="T24" fmla="*/ 19 w 25"/>
                <a:gd name="T25" fmla="*/ 35 h 45"/>
                <a:gd name="T26" fmla="*/ 20 w 25"/>
                <a:gd name="T27" fmla="*/ 35 h 45"/>
                <a:gd name="T28" fmla="*/ 16 w 25"/>
                <a:gd name="T29" fmla="*/ 30 h 45"/>
                <a:gd name="T30" fmla="*/ 19 w 25"/>
                <a:gd name="T31" fmla="*/ 31 h 45"/>
                <a:gd name="T32" fmla="*/ 21 w 25"/>
                <a:gd name="T33" fmla="*/ 29 h 45"/>
                <a:gd name="T34" fmla="*/ 16 w 25"/>
                <a:gd name="T35" fmla="*/ 24 h 45"/>
                <a:gd name="T36" fmla="*/ 13 w 25"/>
                <a:gd name="T37" fmla="*/ 21 h 45"/>
                <a:gd name="T38" fmla="*/ 14 w 25"/>
                <a:gd name="T39" fmla="*/ 19 h 45"/>
                <a:gd name="T40" fmla="*/ 18 w 25"/>
                <a:gd name="T41" fmla="*/ 20 h 45"/>
                <a:gd name="T42" fmla="*/ 19 w 25"/>
                <a:gd name="T43" fmla="*/ 15 h 45"/>
                <a:gd name="T44" fmla="*/ 23 w 25"/>
                <a:gd name="T45" fmla="*/ 11 h 45"/>
                <a:gd name="T46" fmla="*/ 21 w 25"/>
                <a:gd name="T47" fmla="*/ 9 h 45"/>
                <a:gd name="T48" fmla="*/ 22 w 25"/>
                <a:gd name="T49" fmla="*/ 8 h 45"/>
                <a:gd name="T50" fmla="*/ 20 w 25"/>
                <a:gd name="T51" fmla="*/ 6 h 45"/>
                <a:gd name="T52" fmla="*/ 21 w 25"/>
                <a:gd name="T53" fmla="*/ 1 h 45"/>
                <a:gd name="T54" fmla="*/ 18 w 25"/>
                <a:gd name="T55" fmla="*/ 0 h 45"/>
                <a:gd name="T56" fmla="*/ 13 w 25"/>
                <a:gd name="T57" fmla="*/ 2 h 45"/>
                <a:gd name="T58" fmla="*/ 11 w 25"/>
                <a:gd name="T59" fmla="*/ 3 h 45"/>
                <a:gd name="T60" fmla="*/ 9 w 25"/>
                <a:gd name="T61" fmla="*/ 2 h 45"/>
                <a:gd name="T62" fmla="*/ 10 w 25"/>
                <a:gd name="T63" fmla="*/ 2 h 45"/>
                <a:gd name="T64" fmla="*/ 11 w 25"/>
                <a:gd name="T65" fmla="*/ 1 h 45"/>
                <a:gd name="T66" fmla="*/ 10 w 25"/>
                <a:gd name="T6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 h="45">
                  <a:moveTo>
                    <a:pt x="10" y="0"/>
                  </a:moveTo>
                  <a:cubicBezTo>
                    <a:pt x="10" y="0"/>
                    <a:pt x="9" y="1"/>
                    <a:pt x="8" y="2"/>
                  </a:cubicBezTo>
                  <a:cubicBezTo>
                    <a:pt x="7" y="5"/>
                    <a:pt x="7" y="9"/>
                    <a:pt x="6" y="11"/>
                  </a:cubicBezTo>
                  <a:cubicBezTo>
                    <a:pt x="5" y="14"/>
                    <a:pt x="4" y="17"/>
                    <a:pt x="4" y="19"/>
                  </a:cubicBezTo>
                  <a:cubicBezTo>
                    <a:pt x="3" y="25"/>
                    <a:pt x="5" y="29"/>
                    <a:pt x="3" y="34"/>
                  </a:cubicBezTo>
                  <a:cubicBezTo>
                    <a:pt x="2" y="36"/>
                    <a:pt x="1" y="38"/>
                    <a:pt x="0" y="40"/>
                  </a:cubicBezTo>
                  <a:cubicBezTo>
                    <a:pt x="4" y="42"/>
                    <a:pt x="8" y="44"/>
                    <a:pt x="12" y="45"/>
                  </a:cubicBezTo>
                  <a:cubicBezTo>
                    <a:pt x="14" y="44"/>
                    <a:pt x="17" y="44"/>
                    <a:pt x="16" y="41"/>
                  </a:cubicBezTo>
                  <a:cubicBezTo>
                    <a:pt x="16" y="41"/>
                    <a:pt x="13" y="38"/>
                    <a:pt x="14" y="37"/>
                  </a:cubicBezTo>
                  <a:cubicBezTo>
                    <a:pt x="14" y="37"/>
                    <a:pt x="15" y="37"/>
                    <a:pt x="15" y="37"/>
                  </a:cubicBezTo>
                  <a:cubicBezTo>
                    <a:pt x="15" y="37"/>
                    <a:pt x="15" y="37"/>
                    <a:pt x="16" y="37"/>
                  </a:cubicBezTo>
                  <a:cubicBezTo>
                    <a:pt x="16" y="37"/>
                    <a:pt x="16" y="37"/>
                    <a:pt x="16" y="37"/>
                  </a:cubicBezTo>
                  <a:cubicBezTo>
                    <a:pt x="19" y="37"/>
                    <a:pt x="24" y="37"/>
                    <a:pt x="19" y="35"/>
                  </a:cubicBezTo>
                  <a:cubicBezTo>
                    <a:pt x="20" y="35"/>
                    <a:pt x="20" y="35"/>
                    <a:pt x="20" y="35"/>
                  </a:cubicBezTo>
                  <a:cubicBezTo>
                    <a:pt x="19" y="33"/>
                    <a:pt x="18" y="31"/>
                    <a:pt x="16" y="30"/>
                  </a:cubicBezTo>
                  <a:cubicBezTo>
                    <a:pt x="17" y="30"/>
                    <a:pt x="18" y="31"/>
                    <a:pt x="19" y="31"/>
                  </a:cubicBezTo>
                  <a:cubicBezTo>
                    <a:pt x="20" y="31"/>
                    <a:pt x="21" y="30"/>
                    <a:pt x="21" y="29"/>
                  </a:cubicBezTo>
                  <a:cubicBezTo>
                    <a:pt x="21" y="27"/>
                    <a:pt x="17" y="25"/>
                    <a:pt x="16" y="24"/>
                  </a:cubicBezTo>
                  <a:cubicBezTo>
                    <a:pt x="14" y="23"/>
                    <a:pt x="13" y="23"/>
                    <a:pt x="13" y="21"/>
                  </a:cubicBezTo>
                  <a:cubicBezTo>
                    <a:pt x="14" y="20"/>
                    <a:pt x="14" y="19"/>
                    <a:pt x="14" y="19"/>
                  </a:cubicBezTo>
                  <a:cubicBezTo>
                    <a:pt x="15" y="19"/>
                    <a:pt x="16" y="20"/>
                    <a:pt x="18" y="20"/>
                  </a:cubicBezTo>
                  <a:cubicBezTo>
                    <a:pt x="15" y="18"/>
                    <a:pt x="17" y="16"/>
                    <a:pt x="19" y="15"/>
                  </a:cubicBezTo>
                  <a:cubicBezTo>
                    <a:pt x="21" y="14"/>
                    <a:pt x="25" y="15"/>
                    <a:pt x="23" y="11"/>
                  </a:cubicBezTo>
                  <a:cubicBezTo>
                    <a:pt x="23" y="10"/>
                    <a:pt x="21" y="10"/>
                    <a:pt x="21" y="9"/>
                  </a:cubicBezTo>
                  <a:cubicBezTo>
                    <a:pt x="20" y="9"/>
                    <a:pt x="22" y="9"/>
                    <a:pt x="22" y="8"/>
                  </a:cubicBezTo>
                  <a:cubicBezTo>
                    <a:pt x="21" y="7"/>
                    <a:pt x="21" y="7"/>
                    <a:pt x="20" y="6"/>
                  </a:cubicBezTo>
                  <a:cubicBezTo>
                    <a:pt x="20" y="4"/>
                    <a:pt x="18" y="3"/>
                    <a:pt x="21" y="1"/>
                  </a:cubicBezTo>
                  <a:cubicBezTo>
                    <a:pt x="20" y="1"/>
                    <a:pt x="19" y="0"/>
                    <a:pt x="18" y="0"/>
                  </a:cubicBezTo>
                  <a:cubicBezTo>
                    <a:pt x="16" y="0"/>
                    <a:pt x="15" y="2"/>
                    <a:pt x="13" y="2"/>
                  </a:cubicBezTo>
                  <a:cubicBezTo>
                    <a:pt x="13" y="2"/>
                    <a:pt x="12" y="3"/>
                    <a:pt x="11" y="3"/>
                  </a:cubicBezTo>
                  <a:cubicBezTo>
                    <a:pt x="11" y="3"/>
                    <a:pt x="10" y="2"/>
                    <a:pt x="9" y="2"/>
                  </a:cubicBezTo>
                  <a:cubicBezTo>
                    <a:pt x="9" y="2"/>
                    <a:pt x="9" y="2"/>
                    <a:pt x="10" y="2"/>
                  </a:cubicBezTo>
                  <a:cubicBezTo>
                    <a:pt x="11" y="2"/>
                    <a:pt x="11" y="1"/>
                    <a:pt x="11" y="1"/>
                  </a:cubicBezTo>
                  <a:cubicBezTo>
                    <a:pt x="11" y="1"/>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3" name="Freeform 133">
              <a:extLst>
                <a:ext uri="{FF2B5EF4-FFF2-40B4-BE49-F238E27FC236}">
                  <a16:creationId xmlns:a16="http://schemas.microsoft.com/office/drawing/2014/main" id="{3EA6DABB-0C06-4336-ACE7-5E25AEBE47D4}"/>
                </a:ext>
              </a:extLst>
            </p:cNvPr>
            <p:cNvSpPr>
              <a:spLocks/>
            </p:cNvSpPr>
            <p:nvPr/>
          </p:nvSpPr>
          <p:spPr bwMode="auto">
            <a:xfrm>
              <a:off x="8018361" y="5702760"/>
              <a:ext cx="9886" cy="12710"/>
            </a:xfrm>
            <a:custGeom>
              <a:avLst/>
              <a:gdLst>
                <a:gd name="T0" fmla="*/ 1 w 3"/>
                <a:gd name="T1" fmla="*/ 0 h 4"/>
                <a:gd name="T2" fmla="*/ 1 w 3"/>
                <a:gd name="T3" fmla="*/ 4 h 4"/>
                <a:gd name="T4" fmla="*/ 1 w 3"/>
                <a:gd name="T5" fmla="*/ 0 h 4"/>
              </a:gdLst>
              <a:ahLst/>
              <a:cxnLst>
                <a:cxn ang="0">
                  <a:pos x="T0" y="T1"/>
                </a:cxn>
                <a:cxn ang="0">
                  <a:pos x="T2" y="T3"/>
                </a:cxn>
                <a:cxn ang="0">
                  <a:pos x="T4" y="T5"/>
                </a:cxn>
              </a:cxnLst>
              <a:rect l="0" t="0" r="r" b="b"/>
              <a:pathLst>
                <a:path w="3" h="4">
                  <a:moveTo>
                    <a:pt x="1" y="0"/>
                  </a:moveTo>
                  <a:cubicBezTo>
                    <a:pt x="0" y="1"/>
                    <a:pt x="1" y="2"/>
                    <a:pt x="1" y="4"/>
                  </a:cubicBezTo>
                  <a:cubicBezTo>
                    <a:pt x="2"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4" name="Freeform 134">
              <a:extLst>
                <a:ext uri="{FF2B5EF4-FFF2-40B4-BE49-F238E27FC236}">
                  <a16:creationId xmlns:a16="http://schemas.microsoft.com/office/drawing/2014/main" id="{C55D51A9-8913-43B1-AE5F-5DA3412BC709}"/>
                </a:ext>
              </a:extLst>
            </p:cNvPr>
            <p:cNvSpPr>
              <a:spLocks/>
            </p:cNvSpPr>
            <p:nvPr/>
          </p:nvSpPr>
          <p:spPr bwMode="auto">
            <a:xfrm>
              <a:off x="8072027" y="5629322"/>
              <a:ext cx="26833" cy="12710"/>
            </a:xfrm>
            <a:custGeom>
              <a:avLst/>
              <a:gdLst>
                <a:gd name="T0" fmla="*/ 6 w 8"/>
                <a:gd name="T1" fmla="*/ 0 h 4"/>
                <a:gd name="T2" fmla="*/ 4 w 8"/>
                <a:gd name="T3" fmla="*/ 0 h 4"/>
                <a:gd name="T4" fmla="*/ 2 w 8"/>
                <a:gd name="T5" fmla="*/ 1 h 4"/>
                <a:gd name="T6" fmla="*/ 0 w 8"/>
                <a:gd name="T7" fmla="*/ 1 h 4"/>
                <a:gd name="T8" fmla="*/ 3 w 8"/>
                <a:gd name="T9" fmla="*/ 4 h 4"/>
                <a:gd name="T10" fmla="*/ 5 w 8"/>
                <a:gd name="T11" fmla="*/ 2 h 4"/>
                <a:gd name="T12" fmla="*/ 6 w 8"/>
                <a:gd name="T13" fmla="*/ 2 h 4"/>
                <a:gd name="T14" fmla="*/ 8 w 8"/>
                <a:gd name="T15" fmla="*/ 3 h 4"/>
                <a:gd name="T16" fmla="*/ 8 w 8"/>
                <a:gd name="T17" fmla="*/ 3 h 4"/>
                <a:gd name="T18" fmla="*/ 6 w 8"/>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4">
                  <a:moveTo>
                    <a:pt x="6" y="0"/>
                  </a:moveTo>
                  <a:cubicBezTo>
                    <a:pt x="5" y="0"/>
                    <a:pt x="5" y="0"/>
                    <a:pt x="4" y="0"/>
                  </a:cubicBezTo>
                  <a:cubicBezTo>
                    <a:pt x="3" y="1"/>
                    <a:pt x="3" y="1"/>
                    <a:pt x="2" y="1"/>
                  </a:cubicBezTo>
                  <a:cubicBezTo>
                    <a:pt x="1" y="1"/>
                    <a:pt x="1" y="1"/>
                    <a:pt x="0" y="1"/>
                  </a:cubicBezTo>
                  <a:cubicBezTo>
                    <a:pt x="1" y="2"/>
                    <a:pt x="2" y="3"/>
                    <a:pt x="3" y="4"/>
                  </a:cubicBezTo>
                  <a:cubicBezTo>
                    <a:pt x="4" y="2"/>
                    <a:pt x="4" y="2"/>
                    <a:pt x="5" y="2"/>
                  </a:cubicBezTo>
                  <a:cubicBezTo>
                    <a:pt x="5" y="2"/>
                    <a:pt x="6" y="2"/>
                    <a:pt x="6" y="2"/>
                  </a:cubicBezTo>
                  <a:cubicBezTo>
                    <a:pt x="7" y="3"/>
                    <a:pt x="7" y="3"/>
                    <a:pt x="8" y="3"/>
                  </a:cubicBezTo>
                  <a:cubicBezTo>
                    <a:pt x="8" y="3"/>
                    <a:pt x="8" y="3"/>
                    <a:pt x="8" y="3"/>
                  </a:cubicBezTo>
                  <a:cubicBezTo>
                    <a:pt x="7"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5" name="Freeform 135">
              <a:extLst>
                <a:ext uri="{FF2B5EF4-FFF2-40B4-BE49-F238E27FC236}">
                  <a16:creationId xmlns:a16="http://schemas.microsoft.com/office/drawing/2014/main" id="{32C80FE9-DF3E-49B9-8914-41EF06822F49}"/>
                </a:ext>
              </a:extLst>
            </p:cNvPr>
            <p:cNvSpPr>
              <a:spLocks/>
            </p:cNvSpPr>
            <p:nvPr/>
          </p:nvSpPr>
          <p:spPr bwMode="auto">
            <a:xfrm>
              <a:off x="8052256" y="5705585"/>
              <a:ext cx="39544" cy="19772"/>
            </a:xfrm>
            <a:custGeom>
              <a:avLst/>
              <a:gdLst>
                <a:gd name="T0" fmla="*/ 6 w 12"/>
                <a:gd name="T1" fmla="*/ 0 h 6"/>
                <a:gd name="T2" fmla="*/ 0 w 12"/>
                <a:gd name="T3" fmla="*/ 1 h 6"/>
                <a:gd name="T4" fmla="*/ 3 w 12"/>
                <a:gd name="T5" fmla="*/ 6 h 6"/>
                <a:gd name="T6" fmla="*/ 12 w 12"/>
                <a:gd name="T7" fmla="*/ 3 h 6"/>
                <a:gd name="T8" fmla="*/ 6 w 12"/>
                <a:gd name="T9" fmla="*/ 0 h 6"/>
              </a:gdLst>
              <a:ahLst/>
              <a:cxnLst>
                <a:cxn ang="0">
                  <a:pos x="T0" y="T1"/>
                </a:cxn>
                <a:cxn ang="0">
                  <a:pos x="T2" y="T3"/>
                </a:cxn>
                <a:cxn ang="0">
                  <a:pos x="T4" y="T5"/>
                </a:cxn>
                <a:cxn ang="0">
                  <a:pos x="T6" y="T7"/>
                </a:cxn>
                <a:cxn ang="0">
                  <a:pos x="T8" y="T9"/>
                </a:cxn>
              </a:cxnLst>
              <a:rect l="0" t="0" r="r" b="b"/>
              <a:pathLst>
                <a:path w="12" h="6">
                  <a:moveTo>
                    <a:pt x="6" y="0"/>
                  </a:moveTo>
                  <a:cubicBezTo>
                    <a:pt x="4" y="0"/>
                    <a:pt x="2" y="1"/>
                    <a:pt x="0" y="1"/>
                  </a:cubicBezTo>
                  <a:cubicBezTo>
                    <a:pt x="1" y="3"/>
                    <a:pt x="2" y="4"/>
                    <a:pt x="3" y="6"/>
                  </a:cubicBezTo>
                  <a:cubicBezTo>
                    <a:pt x="6" y="5"/>
                    <a:pt x="9" y="3"/>
                    <a:pt x="12" y="3"/>
                  </a:cubicBezTo>
                  <a:cubicBezTo>
                    <a:pt x="10" y="1"/>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6" name="Freeform 136">
              <a:extLst>
                <a:ext uri="{FF2B5EF4-FFF2-40B4-BE49-F238E27FC236}">
                  <a16:creationId xmlns:a16="http://schemas.microsoft.com/office/drawing/2014/main" id="{6BE98CCD-653C-4F0E-A1D6-99AEA1308181}"/>
                </a:ext>
              </a:extLst>
            </p:cNvPr>
            <p:cNvSpPr>
              <a:spLocks/>
            </p:cNvSpPr>
            <p:nvPr/>
          </p:nvSpPr>
          <p:spPr bwMode="auto">
            <a:xfrm>
              <a:off x="7998589" y="6050180"/>
              <a:ext cx="46605" cy="56491"/>
            </a:xfrm>
            <a:custGeom>
              <a:avLst/>
              <a:gdLst>
                <a:gd name="T0" fmla="*/ 8 w 14"/>
                <a:gd name="T1" fmla="*/ 0 h 17"/>
                <a:gd name="T2" fmla="*/ 7 w 14"/>
                <a:gd name="T3" fmla="*/ 11 h 17"/>
                <a:gd name="T4" fmla="*/ 5 w 14"/>
                <a:gd name="T5" fmla="*/ 8 h 17"/>
                <a:gd name="T6" fmla="*/ 3 w 14"/>
                <a:gd name="T7" fmla="*/ 9 h 17"/>
                <a:gd name="T8" fmla="*/ 2 w 14"/>
                <a:gd name="T9" fmla="*/ 14 h 17"/>
                <a:gd name="T10" fmla="*/ 9 w 14"/>
                <a:gd name="T11" fmla="*/ 16 h 17"/>
                <a:gd name="T12" fmla="*/ 11 w 14"/>
                <a:gd name="T13" fmla="*/ 17 h 17"/>
                <a:gd name="T14" fmla="*/ 11 w 14"/>
                <a:gd name="T15" fmla="*/ 17 h 17"/>
                <a:gd name="T16" fmla="*/ 10 w 14"/>
                <a:gd name="T17" fmla="*/ 9 h 17"/>
                <a:gd name="T18" fmla="*/ 9 w 14"/>
                <a:gd name="T19" fmla="*/ 3 h 17"/>
                <a:gd name="T20" fmla="*/ 8 w 14"/>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7">
                  <a:moveTo>
                    <a:pt x="8" y="0"/>
                  </a:moveTo>
                  <a:cubicBezTo>
                    <a:pt x="5" y="4"/>
                    <a:pt x="7" y="6"/>
                    <a:pt x="7" y="11"/>
                  </a:cubicBezTo>
                  <a:cubicBezTo>
                    <a:pt x="6" y="9"/>
                    <a:pt x="6" y="8"/>
                    <a:pt x="5" y="8"/>
                  </a:cubicBezTo>
                  <a:cubicBezTo>
                    <a:pt x="4" y="8"/>
                    <a:pt x="4" y="8"/>
                    <a:pt x="3" y="9"/>
                  </a:cubicBezTo>
                  <a:cubicBezTo>
                    <a:pt x="2" y="10"/>
                    <a:pt x="0" y="12"/>
                    <a:pt x="2" y="14"/>
                  </a:cubicBezTo>
                  <a:cubicBezTo>
                    <a:pt x="4" y="15"/>
                    <a:pt x="7" y="15"/>
                    <a:pt x="9" y="16"/>
                  </a:cubicBezTo>
                  <a:cubicBezTo>
                    <a:pt x="10" y="16"/>
                    <a:pt x="10" y="17"/>
                    <a:pt x="11" y="17"/>
                  </a:cubicBezTo>
                  <a:cubicBezTo>
                    <a:pt x="11" y="17"/>
                    <a:pt x="11" y="17"/>
                    <a:pt x="11" y="17"/>
                  </a:cubicBezTo>
                  <a:cubicBezTo>
                    <a:pt x="14" y="16"/>
                    <a:pt x="10" y="10"/>
                    <a:pt x="10" y="9"/>
                  </a:cubicBezTo>
                  <a:cubicBezTo>
                    <a:pt x="11" y="6"/>
                    <a:pt x="9" y="5"/>
                    <a:pt x="9" y="3"/>
                  </a:cubicBezTo>
                  <a:cubicBezTo>
                    <a:pt x="9" y="2"/>
                    <a:pt x="9"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7" name="Freeform 137">
              <a:extLst>
                <a:ext uri="{FF2B5EF4-FFF2-40B4-BE49-F238E27FC236}">
                  <a16:creationId xmlns:a16="http://schemas.microsoft.com/office/drawing/2014/main" id="{F70CF37A-AF27-4851-B352-4DA57C9259AD}"/>
                </a:ext>
              </a:extLst>
            </p:cNvPr>
            <p:cNvSpPr>
              <a:spLocks/>
            </p:cNvSpPr>
            <p:nvPr/>
          </p:nvSpPr>
          <p:spPr bwMode="auto">
            <a:xfrm>
              <a:off x="8052256" y="6451265"/>
              <a:ext cx="36719" cy="32482"/>
            </a:xfrm>
            <a:custGeom>
              <a:avLst/>
              <a:gdLst>
                <a:gd name="T0" fmla="*/ 2 w 11"/>
                <a:gd name="T1" fmla="*/ 0 h 10"/>
                <a:gd name="T2" fmla="*/ 0 w 11"/>
                <a:gd name="T3" fmla="*/ 1 h 10"/>
                <a:gd name="T4" fmla="*/ 5 w 11"/>
                <a:gd name="T5" fmla="*/ 3 h 10"/>
                <a:gd name="T6" fmla="*/ 6 w 11"/>
                <a:gd name="T7" fmla="*/ 10 h 10"/>
                <a:gd name="T8" fmla="*/ 10 w 11"/>
                <a:gd name="T9" fmla="*/ 8 h 10"/>
                <a:gd name="T10" fmla="*/ 10 w 11"/>
                <a:gd name="T11" fmla="*/ 8 h 10"/>
                <a:gd name="T12" fmla="*/ 7 w 11"/>
                <a:gd name="T13" fmla="*/ 3 h 10"/>
                <a:gd name="T14" fmla="*/ 2 w 11"/>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0">
                  <a:moveTo>
                    <a:pt x="2" y="0"/>
                  </a:moveTo>
                  <a:cubicBezTo>
                    <a:pt x="1" y="0"/>
                    <a:pt x="0" y="0"/>
                    <a:pt x="0" y="1"/>
                  </a:cubicBezTo>
                  <a:cubicBezTo>
                    <a:pt x="1" y="2"/>
                    <a:pt x="5" y="2"/>
                    <a:pt x="5" y="3"/>
                  </a:cubicBezTo>
                  <a:cubicBezTo>
                    <a:pt x="7" y="6"/>
                    <a:pt x="2" y="6"/>
                    <a:pt x="6" y="10"/>
                  </a:cubicBezTo>
                  <a:cubicBezTo>
                    <a:pt x="6" y="9"/>
                    <a:pt x="10" y="8"/>
                    <a:pt x="10" y="8"/>
                  </a:cubicBezTo>
                  <a:cubicBezTo>
                    <a:pt x="10" y="8"/>
                    <a:pt x="10" y="8"/>
                    <a:pt x="10" y="8"/>
                  </a:cubicBezTo>
                  <a:cubicBezTo>
                    <a:pt x="11" y="7"/>
                    <a:pt x="8" y="4"/>
                    <a:pt x="7" y="3"/>
                  </a:cubicBezTo>
                  <a:cubicBezTo>
                    <a:pt x="5" y="2"/>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8" name="Freeform 138">
              <a:extLst>
                <a:ext uri="{FF2B5EF4-FFF2-40B4-BE49-F238E27FC236}">
                  <a16:creationId xmlns:a16="http://schemas.microsoft.com/office/drawing/2014/main" id="{0CC5A30D-EF8C-4337-88E7-AA2387105786}"/>
                </a:ext>
              </a:extLst>
            </p:cNvPr>
            <p:cNvSpPr>
              <a:spLocks/>
            </p:cNvSpPr>
            <p:nvPr/>
          </p:nvSpPr>
          <p:spPr bwMode="auto">
            <a:xfrm>
              <a:off x="7981642" y="6366529"/>
              <a:ext cx="26833" cy="36719"/>
            </a:xfrm>
            <a:custGeom>
              <a:avLst/>
              <a:gdLst>
                <a:gd name="T0" fmla="*/ 3 w 8"/>
                <a:gd name="T1" fmla="*/ 0 h 11"/>
                <a:gd name="T2" fmla="*/ 0 w 8"/>
                <a:gd name="T3" fmla="*/ 11 h 11"/>
                <a:gd name="T4" fmla="*/ 2 w 8"/>
                <a:gd name="T5" fmla="*/ 8 h 11"/>
                <a:gd name="T6" fmla="*/ 3 w 8"/>
                <a:gd name="T7" fmla="*/ 9 h 11"/>
                <a:gd name="T8" fmla="*/ 3 w 8"/>
                <a:gd name="T9" fmla="*/ 5 h 11"/>
                <a:gd name="T10" fmla="*/ 4 w 8"/>
                <a:gd name="T11" fmla="*/ 5 h 11"/>
                <a:gd name="T12" fmla="*/ 7 w 8"/>
                <a:gd name="T13" fmla="*/ 2 h 11"/>
                <a:gd name="T14" fmla="*/ 7 w 8"/>
                <a:gd name="T15" fmla="*/ 2 h 11"/>
                <a:gd name="T16" fmla="*/ 3 w 8"/>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
                  <a:moveTo>
                    <a:pt x="3" y="0"/>
                  </a:moveTo>
                  <a:cubicBezTo>
                    <a:pt x="1" y="0"/>
                    <a:pt x="0" y="9"/>
                    <a:pt x="0" y="11"/>
                  </a:cubicBezTo>
                  <a:cubicBezTo>
                    <a:pt x="1" y="11"/>
                    <a:pt x="2" y="10"/>
                    <a:pt x="2" y="8"/>
                  </a:cubicBezTo>
                  <a:cubicBezTo>
                    <a:pt x="2" y="9"/>
                    <a:pt x="3" y="9"/>
                    <a:pt x="3" y="9"/>
                  </a:cubicBezTo>
                  <a:cubicBezTo>
                    <a:pt x="4" y="9"/>
                    <a:pt x="3" y="6"/>
                    <a:pt x="3" y="5"/>
                  </a:cubicBezTo>
                  <a:cubicBezTo>
                    <a:pt x="3" y="5"/>
                    <a:pt x="4" y="5"/>
                    <a:pt x="4" y="5"/>
                  </a:cubicBezTo>
                  <a:cubicBezTo>
                    <a:pt x="5" y="5"/>
                    <a:pt x="8" y="3"/>
                    <a:pt x="7" y="2"/>
                  </a:cubicBezTo>
                  <a:cubicBezTo>
                    <a:pt x="7" y="2"/>
                    <a:pt x="7" y="2"/>
                    <a:pt x="7" y="2"/>
                  </a:cubicBezTo>
                  <a:cubicBezTo>
                    <a:pt x="7" y="2"/>
                    <a:pt x="2"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9" name="Freeform 139">
              <a:extLst>
                <a:ext uri="{FF2B5EF4-FFF2-40B4-BE49-F238E27FC236}">
                  <a16:creationId xmlns:a16="http://schemas.microsoft.com/office/drawing/2014/main" id="{779C3E45-CE12-48CB-B2EE-F270BD0D7531}"/>
                </a:ext>
              </a:extLst>
            </p:cNvPr>
            <p:cNvSpPr>
              <a:spLocks/>
            </p:cNvSpPr>
            <p:nvPr/>
          </p:nvSpPr>
          <p:spPr bwMode="auto">
            <a:xfrm>
              <a:off x="8038133" y="5773374"/>
              <a:ext cx="14123" cy="9886"/>
            </a:xfrm>
            <a:custGeom>
              <a:avLst/>
              <a:gdLst>
                <a:gd name="T0" fmla="*/ 3 w 4"/>
                <a:gd name="T1" fmla="*/ 0 h 3"/>
                <a:gd name="T2" fmla="*/ 2 w 4"/>
                <a:gd name="T3" fmla="*/ 0 h 3"/>
                <a:gd name="T4" fmla="*/ 4 w 4"/>
                <a:gd name="T5" fmla="*/ 3 h 3"/>
                <a:gd name="T6" fmla="*/ 3 w 4"/>
                <a:gd name="T7" fmla="*/ 0 h 3"/>
              </a:gdLst>
              <a:ahLst/>
              <a:cxnLst>
                <a:cxn ang="0">
                  <a:pos x="T0" y="T1"/>
                </a:cxn>
                <a:cxn ang="0">
                  <a:pos x="T2" y="T3"/>
                </a:cxn>
                <a:cxn ang="0">
                  <a:pos x="T4" y="T5"/>
                </a:cxn>
                <a:cxn ang="0">
                  <a:pos x="T6" y="T7"/>
                </a:cxn>
              </a:cxnLst>
              <a:rect l="0" t="0" r="r" b="b"/>
              <a:pathLst>
                <a:path w="4" h="3">
                  <a:moveTo>
                    <a:pt x="3" y="0"/>
                  </a:moveTo>
                  <a:cubicBezTo>
                    <a:pt x="3" y="0"/>
                    <a:pt x="2" y="0"/>
                    <a:pt x="2" y="0"/>
                  </a:cubicBezTo>
                  <a:cubicBezTo>
                    <a:pt x="0" y="0"/>
                    <a:pt x="3" y="2"/>
                    <a:pt x="4" y="3"/>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0" name="Freeform 140">
              <a:extLst>
                <a:ext uri="{FF2B5EF4-FFF2-40B4-BE49-F238E27FC236}">
                  <a16:creationId xmlns:a16="http://schemas.microsoft.com/office/drawing/2014/main" id="{90C58CB3-5522-4D71-96F1-BA0799FFF2BD}"/>
                </a:ext>
              </a:extLst>
            </p:cNvPr>
            <p:cNvSpPr>
              <a:spLocks/>
            </p:cNvSpPr>
            <p:nvPr/>
          </p:nvSpPr>
          <p:spPr bwMode="auto">
            <a:xfrm>
              <a:off x="8074852" y="6434318"/>
              <a:ext cx="31070" cy="22596"/>
            </a:xfrm>
            <a:custGeom>
              <a:avLst/>
              <a:gdLst>
                <a:gd name="T0" fmla="*/ 1 w 9"/>
                <a:gd name="T1" fmla="*/ 0 h 7"/>
                <a:gd name="T2" fmla="*/ 0 w 9"/>
                <a:gd name="T3" fmla="*/ 0 h 7"/>
                <a:gd name="T4" fmla="*/ 9 w 9"/>
                <a:gd name="T5" fmla="*/ 7 h 7"/>
                <a:gd name="T6" fmla="*/ 1 w 9"/>
                <a:gd name="T7" fmla="*/ 0 h 7"/>
              </a:gdLst>
              <a:ahLst/>
              <a:cxnLst>
                <a:cxn ang="0">
                  <a:pos x="T0" y="T1"/>
                </a:cxn>
                <a:cxn ang="0">
                  <a:pos x="T2" y="T3"/>
                </a:cxn>
                <a:cxn ang="0">
                  <a:pos x="T4" y="T5"/>
                </a:cxn>
                <a:cxn ang="0">
                  <a:pos x="T6" y="T7"/>
                </a:cxn>
              </a:cxnLst>
              <a:rect l="0" t="0" r="r" b="b"/>
              <a:pathLst>
                <a:path w="9" h="7">
                  <a:moveTo>
                    <a:pt x="1" y="0"/>
                  </a:moveTo>
                  <a:cubicBezTo>
                    <a:pt x="0" y="0"/>
                    <a:pt x="0" y="0"/>
                    <a:pt x="0" y="0"/>
                  </a:cubicBezTo>
                  <a:cubicBezTo>
                    <a:pt x="3" y="3"/>
                    <a:pt x="6" y="5"/>
                    <a:pt x="9" y="7"/>
                  </a:cubicBezTo>
                  <a:cubicBezTo>
                    <a:pt x="8" y="5"/>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1" name="Freeform 141">
              <a:extLst>
                <a:ext uri="{FF2B5EF4-FFF2-40B4-BE49-F238E27FC236}">
                  <a16:creationId xmlns:a16="http://schemas.microsoft.com/office/drawing/2014/main" id="{18F52477-AE8A-45CD-A74A-FD6267F5AEA6}"/>
                </a:ext>
              </a:extLst>
            </p:cNvPr>
            <p:cNvSpPr>
              <a:spLocks/>
            </p:cNvSpPr>
            <p:nvPr/>
          </p:nvSpPr>
          <p:spPr bwMode="auto">
            <a:xfrm>
              <a:off x="8045194" y="6020522"/>
              <a:ext cx="53666" cy="12710"/>
            </a:xfrm>
            <a:custGeom>
              <a:avLst/>
              <a:gdLst>
                <a:gd name="T0" fmla="*/ 6 w 16"/>
                <a:gd name="T1" fmla="*/ 0 h 4"/>
                <a:gd name="T2" fmla="*/ 0 w 16"/>
                <a:gd name="T3" fmla="*/ 2 h 4"/>
                <a:gd name="T4" fmla="*/ 4 w 16"/>
                <a:gd name="T5" fmla="*/ 4 h 4"/>
                <a:gd name="T6" fmla="*/ 10 w 16"/>
                <a:gd name="T7" fmla="*/ 3 h 4"/>
                <a:gd name="T8" fmla="*/ 11 w 16"/>
                <a:gd name="T9" fmla="*/ 4 h 4"/>
                <a:gd name="T10" fmla="*/ 11 w 16"/>
                <a:gd name="T11" fmla="*/ 4 h 4"/>
                <a:gd name="T12" fmla="*/ 12 w 16"/>
                <a:gd name="T13" fmla="*/ 3 h 4"/>
                <a:gd name="T14" fmla="*/ 12 w 16"/>
                <a:gd name="T15" fmla="*/ 3 h 4"/>
                <a:gd name="T16" fmla="*/ 13 w 16"/>
                <a:gd name="T17" fmla="*/ 3 h 4"/>
                <a:gd name="T18" fmla="*/ 13 w 16"/>
                <a:gd name="T19" fmla="*/ 4 h 4"/>
                <a:gd name="T20" fmla="*/ 13 w 16"/>
                <a:gd name="T21" fmla="*/ 4 h 4"/>
                <a:gd name="T22" fmla="*/ 16 w 16"/>
                <a:gd name="T23" fmla="*/ 2 h 4"/>
                <a:gd name="T24" fmla="*/ 6 w 16"/>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
                  <a:moveTo>
                    <a:pt x="6" y="0"/>
                  </a:moveTo>
                  <a:cubicBezTo>
                    <a:pt x="4" y="0"/>
                    <a:pt x="2" y="0"/>
                    <a:pt x="0" y="2"/>
                  </a:cubicBezTo>
                  <a:cubicBezTo>
                    <a:pt x="1" y="3"/>
                    <a:pt x="2" y="4"/>
                    <a:pt x="4" y="4"/>
                  </a:cubicBezTo>
                  <a:cubicBezTo>
                    <a:pt x="6" y="4"/>
                    <a:pt x="8" y="3"/>
                    <a:pt x="10" y="3"/>
                  </a:cubicBezTo>
                  <a:cubicBezTo>
                    <a:pt x="10" y="3"/>
                    <a:pt x="11" y="3"/>
                    <a:pt x="11" y="4"/>
                  </a:cubicBezTo>
                  <a:cubicBezTo>
                    <a:pt x="11" y="4"/>
                    <a:pt x="11" y="4"/>
                    <a:pt x="11" y="4"/>
                  </a:cubicBezTo>
                  <a:cubicBezTo>
                    <a:pt x="11" y="4"/>
                    <a:pt x="12" y="3"/>
                    <a:pt x="12" y="3"/>
                  </a:cubicBezTo>
                  <a:cubicBezTo>
                    <a:pt x="12" y="3"/>
                    <a:pt x="12" y="3"/>
                    <a:pt x="12" y="3"/>
                  </a:cubicBezTo>
                  <a:cubicBezTo>
                    <a:pt x="13" y="3"/>
                    <a:pt x="13" y="3"/>
                    <a:pt x="13" y="3"/>
                  </a:cubicBezTo>
                  <a:cubicBezTo>
                    <a:pt x="13" y="3"/>
                    <a:pt x="13" y="4"/>
                    <a:pt x="13" y="4"/>
                  </a:cubicBezTo>
                  <a:cubicBezTo>
                    <a:pt x="13" y="4"/>
                    <a:pt x="13" y="4"/>
                    <a:pt x="13" y="4"/>
                  </a:cubicBezTo>
                  <a:cubicBezTo>
                    <a:pt x="15" y="3"/>
                    <a:pt x="15" y="4"/>
                    <a:pt x="16" y="2"/>
                  </a:cubicBezTo>
                  <a:cubicBezTo>
                    <a:pt x="13" y="1"/>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2" name="Freeform 142">
              <a:extLst>
                <a:ext uri="{FF2B5EF4-FFF2-40B4-BE49-F238E27FC236}">
                  <a16:creationId xmlns:a16="http://schemas.microsoft.com/office/drawing/2014/main" id="{6C0D3ABC-1524-456C-A499-6F683AEE0C21}"/>
                </a:ext>
              </a:extLst>
            </p:cNvPr>
            <p:cNvSpPr>
              <a:spLocks/>
            </p:cNvSpPr>
            <p:nvPr/>
          </p:nvSpPr>
          <p:spPr bwMode="auto">
            <a:xfrm>
              <a:off x="8201956" y="6667343"/>
              <a:ext cx="16947" cy="9886"/>
            </a:xfrm>
            <a:custGeom>
              <a:avLst/>
              <a:gdLst>
                <a:gd name="T0" fmla="*/ 5 w 5"/>
                <a:gd name="T1" fmla="*/ 0 h 3"/>
                <a:gd name="T2" fmla="*/ 0 w 5"/>
                <a:gd name="T3" fmla="*/ 1 h 3"/>
                <a:gd name="T4" fmla="*/ 3 w 5"/>
                <a:gd name="T5" fmla="*/ 3 h 3"/>
                <a:gd name="T6" fmla="*/ 5 w 5"/>
                <a:gd name="T7" fmla="*/ 0 h 3"/>
              </a:gdLst>
              <a:ahLst/>
              <a:cxnLst>
                <a:cxn ang="0">
                  <a:pos x="T0" y="T1"/>
                </a:cxn>
                <a:cxn ang="0">
                  <a:pos x="T2" y="T3"/>
                </a:cxn>
                <a:cxn ang="0">
                  <a:pos x="T4" y="T5"/>
                </a:cxn>
                <a:cxn ang="0">
                  <a:pos x="T6" y="T7"/>
                </a:cxn>
              </a:cxnLst>
              <a:rect l="0" t="0" r="r" b="b"/>
              <a:pathLst>
                <a:path w="5" h="3">
                  <a:moveTo>
                    <a:pt x="5" y="0"/>
                  </a:moveTo>
                  <a:cubicBezTo>
                    <a:pt x="4" y="0"/>
                    <a:pt x="2" y="0"/>
                    <a:pt x="0" y="1"/>
                  </a:cubicBezTo>
                  <a:cubicBezTo>
                    <a:pt x="1" y="2"/>
                    <a:pt x="2" y="3"/>
                    <a:pt x="3" y="3"/>
                  </a:cubicBezTo>
                  <a:cubicBezTo>
                    <a:pt x="4" y="3"/>
                    <a:pt x="4"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3" name="Freeform 143">
              <a:extLst>
                <a:ext uri="{FF2B5EF4-FFF2-40B4-BE49-F238E27FC236}">
                  <a16:creationId xmlns:a16="http://schemas.microsoft.com/office/drawing/2014/main" id="{8B97EAE0-D576-4182-8487-5B58031BA33C}"/>
                </a:ext>
              </a:extLst>
            </p:cNvPr>
            <p:cNvSpPr>
              <a:spLocks/>
            </p:cNvSpPr>
            <p:nvPr/>
          </p:nvSpPr>
          <p:spPr bwMode="auto">
            <a:xfrm>
              <a:off x="8081913" y="5658980"/>
              <a:ext cx="9886" cy="9886"/>
            </a:xfrm>
            <a:custGeom>
              <a:avLst/>
              <a:gdLst>
                <a:gd name="T0" fmla="*/ 1 w 3"/>
                <a:gd name="T1" fmla="*/ 0 h 3"/>
                <a:gd name="T2" fmla="*/ 0 w 3"/>
                <a:gd name="T3" fmla="*/ 1 h 3"/>
                <a:gd name="T4" fmla="*/ 3 w 3"/>
                <a:gd name="T5" fmla="*/ 3 h 3"/>
                <a:gd name="T6" fmla="*/ 1 w 3"/>
                <a:gd name="T7" fmla="*/ 0 h 3"/>
              </a:gdLst>
              <a:ahLst/>
              <a:cxnLst>
                <a:cxn ang="0">
                  <a:pos x="T0" y="T1"/>
                </a:cxn>
                <a:cxn ang="0">
                  <a:pos x="T2" y="T3"/>
                </a:cxn>
                <a:cxn ang="0">
                  <a:pos x="T4" y="T5"/>
                </a:cxn>
                <a:cxn ang="0">
                  <a:pos x="T6" y="T7"/>
                </a:cxn>
              </a:cxnLst>
              <a:rect l="0" t="0" r="r" b="b"/>
              <a:pathLst>
                <a:path w="3" h="3">
                  <a:moveTo>
                    <a:pt x="1" y="0"/>
                  </a:moveTo>
                  <a:cubicBezTo>
                    <a:pt x="1" y="0"/>
                    <a:pt x="0" y="0"/>
                    <a:pt x="0" y="1"/>
                  </a:cubicBezTo>
                  <a:cubicBezTo>
                    <a:pt x="1" y="2"/>
                    <a:pt x="2" y="2"/>
                    <a:pt x="3" y="3"/>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4" name="Freeform 144">
              <a:extLst>
                <a:ext uri="{FF2B5EF4-FFF2-40B4-BE49-F238E27FC236}">
                  <a16:creationId xmlns:a16="http://schemas.microsoft.com/office/drawing/2014/main" id="{F218218C-7F70-45D4-A902-161989FD58C5}"/>
                </a:ext>
              </a:extLst>
            </p:cNvPr>
            <p:cNvSpPr>
              <a:spLocks/>
            </p:cNvSpPr>
            <p:nvPr/>
          </p:nvSpPr>
          <p:spPr bwMode="auto">
            <a:xfrm>
              <a:off x="8022598" y="5605313"/>
              <a:ext cx="9886" cy="9886"/>
            </a:xfrm>
            <a:custGeom>
              <a:avLst/>
              <a:gdLst>
                <a:gd name="T0" fmla="*/ 1 w 3"/>
                <a:gd name="T1" fmla="*/ 0 h 3"/>
                <a:gd name="T2" fmla="*/ 0 w 3"/>
                <a:gd name="T3" fmla="*/ 3 h 3"/>
                <a:gd name="T4" fmla="*/ 3 w 3"/>
                <a:gd name="T5" fmla="*/ 2 h 3"/>
                <a:gd name="T6" fmla="*/ 1 w 3"/>
                <a:gd name="T7" fmla="*/ 0 h 3"/>
              </a:gdLst>
              <a:ahLst/>
              <a:cxnLst>
                <a:cxn ang="0">
                  <a:pos x="T0" y="T1"/>
                </a:cxn>
                <a:cxn ang="0">
                  <a:pos x="T2" y="T3"/>
                </a:cxn>
                <a:cxn ang="0">
                  <a:pos x="T4" y="T5"/>
                </a:cxn>
                <a:cxn ang="0">
                  <a:pos x="T6" y="T7"/>
                </a:cxn>
              </a:cxnLst>
              <a:rect l="0" t="0" r="r" b="b"/>
              <a:pathLst>
                <a:path w="3" h="3">
                  <a:moveTo>
                    <a:pt x="1" y="0"/>
                  </a:moveTo>
                  <a:cubicBezTo>
                    <a:pt x="0" y="0"/>
                    <a:pt x="0" y="1"/>
                    <a:pt x="0" y="3"/>
                  </a:cubicBezTo>
                  <a:cubicBezTo>
                    <a:pt x="1" y="3"/>
                    <a:pt x="2" y="2"/>
                    <a:pt x="3" y="2"/>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5" name="Freeform 145">
              <a:extLst>
                <a:ext uri="{FF2B5EF4-FFF2-40B4-BE49-F238E27FC236}">
                  <a16:creationId xmlns:a16="http://schemas.microsoft.com/office/drawing/2014/main" id="{EAE41854-D06A-4162-96A8-57D31E889153}"/>
                </a:ext>
              </a:extLst>
            </p:cNvPr>
            <p:cNvSpPr>
              <a:spLocks/>
            </p:cNvSpPr>
            <p:nvPr/>
          </p:nvSpPr>
          <p:spPr bwMode="auto">
            <a:xfrm>
              <a:off x="8011300" y="6310038"/>
              <a:ext cx="43780" cy="36719"/>
            </a:xfrm>
            <a:custGeom>
              <a:avLst/>
              <a:gdLst>
                <a:gd name="T0" fmla="*/ 5 w 13"/>
                <a:gd name="T1" fmla="*/ 0 h 11"/>
                <a:gd name="T2" fmla="*/ 8 w 13"/>
                <a:gd name="T3" fmla="*/ 3 h 11"/>
                <a:gd name="T4" fmla="*/ 5 w 13"/>
                <a:gd name="T5" fmla="*/ 5 h 11"/>
                <a:gd name="T6" fmla="*/ 3 w 13"/>
                <a:gd name="T7" fmla="*/ 5 h 11"/>
                <a:gd name="T8" fmla="*/ 0 w 13"/>
                <a:gd name="T9" fmla="*/ 5 h 11"/>
                <a:gd name="T10" fmla="*/ 3 w 13"/>
                <a:gd name="T11" fmla="*/ 9 h 11"/>
                <a:gd name="T12" fmla="*/ 4 w 13"/>
                <a:gd name="T13" fmla="*/ 11 h 11"/>
                <a:gd name="T14" fmla="*/ 6 w 13"/>
                <a:gd name="T15" fmla="*/ 11 h 11"/>
                <a:gd name="T16" fmla="*/ 7 w 13"/>
                <a:gd name="T17" fmla="*/ 10 h 11"/>
                <a:gd name="T18" fmla="*/ 8 w 13"/>
                <a:gd name="T19" fmla="*/ 9 h 11"/>
                <a:gd name="T20" fmla="*/ 10 w 13"/>
                <a:gd name="T21" fmla="*/ 9 h 11"/>
                <a:gd name="T22" fmla="*/ 12 w 13"/>
                <a:gd name="T23" fmla="*/ 11 h 11"/>
                <a:gd name="T24" fmla="*/ 11 w 13"/>
                <a:gd name="T25" fmla="*/ 7 h 11"/>
                <a:gd name="T26" fmla="*/ 12 w 13"/>
                <a:gd name="T27" fmla="*/ 4 h 11"/>
                <a:gd name="T28" fmla="*/ 5 w 13"/>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1">
                  <a:moveTo>
                    <a:pt x="5" y="0"/>
                  </a:moveTo>
                  <a:cubicBezTo>
                    <a:pt x="6" y="1"/>
                    <a:pt x="7" y="2"/>
                    <a:pt x="8" y="3"/>
                  </a:cubicBezTo>
                  <a:cubicBezTo>
                    <a:pt x="7" y="4"/>
                    <a:pt x="6" y="4"/>
                    <a:pt x="5" y="5"/>
                  </a:cubicBezTo>
                  <a:cubicBezTo>
                    <a:pt x="4" y="5"/>
                    <a:pt x="4" y="5"/>
                    <a:pt x="3" y="5"/>
                  </a:cubicBezTo>
                  <a:cubicBezTo>
                    <a:pt x="2" y="5"/>
                    <a:pt x="1" y="5"/>
                    <a:pt x="0" y="5"/>
                  </a:cubicBezTo>
                  <a:cubicBezTo>
                    <a:pt x="0" y="6"/>
                    <a:pt x="2" y="8"/>
                    <a:pt x="3" y="9"/>
                  </a:cubicBezTo>
                  <a:cubicBezTo>
                    <a:pt x="4" y="11"/>
                    <a:pt x="4" y="11"/>
                    <a:pt x="4" y="11"/>
                  </a:cubicBezTo>
                  <a:cubicBezTo>
                    <a:pt x="5" y="11"/>
                    <a:pt x="5" y="11"/>
                    <a:pt x="6" y="11"/>
                  </a:cubicBezTo>
                  <a:cubicBezTo>
                    <a:pt x="7" y="10"/>
                    <a:pt x="7" y="10"/>
                    <a:pt x="7" y="10"/>
                  </a:cubicBezTo>
                  <a:cubicBezTo>
                    <a:pt x="8" y="9"/>
                    <a:pt x="8" y="9"/>
                    <a:pt x="8" y="9"/>
                  </a:cubicBezTo>
                  <a:cubicBezTo>
                    <a:pt x="9" y="9"/>
                    <a:pt x="9" y="9"/>
                    <a:pt x="10" y="9"/>
                  </a:cubicBezTo>
                  <a:cubicBezTo>
                    <a:pt x="11" y="9"/>
                    <a:pt x="11" y="9"/>
                    <a:pt x="12" y="11"/>
                  </a:cubicBezTo>
                  <a:cubicBezTo>
                    <a:pt x="13" y="9"/>
                    <a:pt x="12" y="9"/>
                    <a:pt x="11" y="7"/>
                  </a:cubicBezTo>
                  <a:cubicBezTo>
                    <a:pt x="11" y="6"/>
                    <a:pt x="12" y="5"/>
                    <a:pt x="12" y="4"/>
                  </a:cubicBezTo>
                  <a:cubicBezTo>
                    <a:pt x="11" y="2"/>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6" name="Freeform 146">
              <a:extLst>
                <a:ext uri="{FF2B5EF4-FFF2-40B4-BE49-F238E27FC236}">
                  <a16:creationId xmlns:a16="http://schemas.microsoft.com/office/drawing/2014/main" id="{83472BF8-6FF4-4E11-A823-D7B9C442F2A1}"/>
                </a:ext>
              </a:extLst>
            </p:cNvPr>
            <p:cNvSpPr>
              <a:spLocks/>
            </p:cNvSpPr>
            <p:nvPr/>
          </p:nvSpPr>
          <p:spPr bwMode="auto">
            <a:xfrm>
              <a:off x="8064966" y="6571308"/>
              <a:ext cx="14123" cy="5649"/>
            </a:xfrm>
            <a:custGeom>
              <a:avLst/>
              <a:gdLst>
                <a:gd name="T0" fmla="*/ 3 w 4"/>
                <a:gd name="T1" fmla="*/ 0 h 2"/>
                <a:gd name="T2" fmla="*/ 0 w 4"/>
                <a:gd name="T3" fmla="*/ 2 h 2"/>
                <a:gd name="T4" fmla="*/ 4 w 4"/>
                <a:gd name="T5" fmla="*/ 0 h 2"/>
                <a:gd name="T6" fmla="*/ 3 w 4"/>
                <a:gd name="T7" fmla="*/ 0 h 2"/>
              </a:gdLst>
              <a:ahLst/>
              <a:cxnLst>
                <a:cxn ang="0">
                  <a:pos x="T0" y="T1"/>
                </a:cxn>
                <a:cxn ang="0">
                  <a:pos x="T2" y="T3"/>
                </a:cxn>
                <a:cxn ang="0">
                  <a:pos x="T4" y="T5"/>
                </a:cxn>
                <a:cxn ang="0">
                  <a:pos x="T6" y="T7"/>
                </a:cxn>
              </a:cxnLst>
              <a:rect l="0" t="0" r="r" b="b"/>
              <a:pathLst>
                <a:path w="4" h="2">
                  <a:moveTo>
                    <a:pt x="3" y="0"/>
                  </a:moveTo>
                  <a:cubicBezTo>
                    <a:pt x="1" y="0"/>
                    <a:pt x="0" y="1"/>
                    <a:pt x="0" y="2"/>
                  </a:cubicBezTo>
                  <a:cubicBezTo>
                    <a:pt x="1" y="1"/>
                    <a:pt x="2" y="1"/>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7" name="Freeform 147">
              <a:extLst>
                <a:ext uri="{FF2B5EF4-FFF2-40B4-BE49-F238E27FC236}">
                  <a16:creationId xmlns:a16="http://schemas.microsoft.com/office/drawing/2014/main" id="{DDD1B14B-A611-4B73-B376-EF77D3E7EF19}"/>
                </a:ext>
              </a:extLst>
            </p:cNvPr>
            <p:cNvSpPr>
              <a:spLocks noEditPoints="1"/>
            </p:cNvSpPr>
            <p:nvPr/>
          </p:nvSpPr>
          <p:spPr bwMode="auto">
            <a:xfrm>
              <a:off x="8022598" y="6517642"/>
              <a:ext cx="125692" cy="66377"/>
            </a:xfrm>
            <a:custGeom>
              <a:avLst/>
              <a:gdLst>
                <a:gd name="T0" fmla="*/ 28 w 38"/>
                <a:gd name="T1" fmla="*/ 12 h 20"/>
                <a:gd name="T2" fmla="*/ 28 w 38"/>
                <a:gd name="T3" fmla="*/ 12 h 20"/>
                <a:gd name="T4" fmla="*/ 28 w 38"/>
                <a:gd name="T5" fmla="*/ 12 h 20"/>
                <a:gd name="T6" fmla="*/ 2 w 38"/>
                <a:gd name="T7" fmla="*/ 0 h 20"/>
                <a:gd name="T8" fmla="*/ 1 w 38"/>
                <a:gd name="T9" fmla="*/ 0 h 20"/>
                <a:gd name="T10" fmla="*/ 6 w 38"/>
                <a:gd name="T11" fmla="*/ 7 h 20"/>
                <a:gd name="T12" fmla="*/ 11 w 38"/>
                <a:gd name="T13" fmla="*/ 11 h 20"/>
                <a:gd name="T14" fmla="*/ 13 w 38"/>
                <a:gd name="T15" fmla="*/ 11 h 20"/>
                <a:gd name="T16" fmla="*/ 21 w 38"/>
                <a:gd name="T17" fmla="*/ 10 h 20"/>
                <a:gd name="T18" fmla="*/ 27 w 38"/>
                <a:gd name="T19" fmla="*/ 18 h 20"/>
                <a:gd name="T20" fmla="*/ 38 w 38"/>
                <a:gd name="T21" fmla="*/ 20 h 20"/>
                <a:gd name="T22" fmla="*/ 34 w 38"/>
                <a:gd name="T23" fmla="*/ 17 h 20"/>
                <a:gd name="T24" fmla="*/ 34 w 38"/>
                <a:gd name="T25" fmla="*/ 17 h 20"/>
                <a:gd name="T26" fmla="*/ 34 w 38"/>
                <a:gd name="T27" fmla="*/ 17 h 20"/>
                <a:gd name="T28" fmla="*/ 33 w 38"/>
                <a:gd name="T29" fmla="*/ 17 h 20"/>
                <a:gd name="T30" fmla="*/ 33 w 38"/>
                <a:gd name="T31" fmla="*/ 17 h 20"/>
                <a:gd name="T32" fmla="*/ 33 w 38"/>
                <a:gd name="T33" fmla="*/ 15 h 20"/>
                <a:gd name="T34" fmla="*/ 31 w 38"/>
                <a:gd name="T35" fmla="*/ 13 h 20"/>
                <a:gd name="T36" fmla="*/ 31 w 38"/>
                <a:gd name="T37" fmla="*/ 13 h 20"/>
                <a:gd name="T38" fmla="*/ 29 w 38"/>
                <a:gd name="T39" fmla="*/ 16 h 20"/>
                <a:gd name="T40" fmla="*/ 28 w 38"/>
                <a:gd name="T41" fmla="*/ 12 h 20"/>
                <a:gd name="T42" fmla="*/ 28 w 38"/>
                <a:gd name="T43" fmla="*/ 12 h 20"/>
                <a:gd name="T44" fmla="*/ 28 w 38"/>
                <a:gd name="T45" fmla="*/ 11 h 20"/>
                <a:gd name="T46" fmla="*/ 27 w 38"/>
                <a:gd name="T47" fmla="*/ 11 h 20"/>
                <a:gd name="T48" fmla="*/ 27 w 38"/>
                <a:gd name="T49" fmla="*/ 11 h 20"/>
                <a:gd name="T50" fmla="*/ 27 w 38"/>
                <a:gd name="T51" fmla="*/ 10 h 20"/>
                <a:gd name="T52" fmla="*/ 26 w 38"/>
                <a:gd name="T53" fmla="*/ 11 h 20"/>
                <a:gd name="T54" fmla="*/ 25 w 38"/>
                <a:gd name="T55" fmla="*/ 11 h 20"/>
                <a:gd name="T56" fmla="*/ 25 w 38"/>
                <a:gd name="T57" fmla="*/ 11 h 20"/>
                <a:gd name="T58" fmla="*/ 22 w 38"/>
                <a:gd name="T59" fmla="*/ 10 h 20"/>
                <a:gd name="T60" fmla="*/ 20 w 38"/>
                <a:gd name="T61" fmla="*/ 9 h 20"/>
                <a:gd name="T62" fmla="*/ 19 w 38"/>
                <a:gd name="T63" fmla="*/ 9 h 20"/>
                <a:gd name="T64" fmla="*/ 19 w 38"/>
                <a:gd name="T65" fmla="*/ 9 h 20"/>
                <a:gd name="T66" fmla="*/ 18 w 38"/>
                <a:gd name="T67" fmla="*/ 8 h 20"/>
                <a:gd name="T68" fmla="*/ 16 w 38"/>
                <a:gd name="T69" fmla="*/ 7 h 20"/>
                <a:gd name="T70" fmla="*/ 14 w 38"/>
                <a:gd name="T71" fmla="*/ 7 h 20"/>
                <a:gd name="T72" fmla="*/ 9 w 38"/>
                <a:gd name="T73" fmla="*/ 6 h 20"/>
                <a:gd name="T74" fmla="*/ 8 w 38"/>
                <a:gd name="T75" fmla="*/ 4 h 20"/>
                <a:gd name="T76" fmla="*/ 7 w 38"/>
                <a:gd name="T77" fmla="*/ 3 h 20"/>
                <a:gd name="T78" fmla="*/ 4 w 38"/>
                <a:gd name="T79" fmla="*/ 1 h 20"/>
                <a:gd name="T80" fmla="*/ 2 w 38"/>
                <a:gd name="T8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 h="20">
                  <a:moveTo>
                    <a:pt x="28" y="12"/>
                  </a:moveTo>
                  <a:cubicBezTo>
                    <a:pt x="28" y="12"/>
                    <a:pt x="28" y="12"/>
                    <a:pt x="28" y="12"/>
                  </a:cubicBezTo>
                  <a:cubicBezTo>
                    <a:pt x="28" y="12"/>
                    <a:pt x="28" y="12"/>
                    <a:pt x="28" y="12"/>
                  </a:cubicBezTo>
                  <a:moveTo>
                    <a:pt x="2" y="0"/>
                  </a:moveTo>
                  <a:cubicBezTo>
                    <a:pt x="2" y="0"/>
                    <a:pt x="2" y="0"/>
                    <a:pt x="1" y="0"/>
                  </a:cubicBezTo>
                  <a:cubicBezTo>
                    <a:pt x="0" y="1"/>
                    <a:pt x="5" y="6"/>
                    <a:pt x="6" y="7"/>
                  </a:cubicBezTo>
                  <a:cubicBezTo>
                    <a:pt x="8" y="8"/>
                    <a:pt x="9" y="11"/>
                    <a:pt x="11" y="11"/>
                  </a:cubicBezTo>
                  <a:cubicBezTo>
                    <a:pt x="11" y="11"/>
                    <a:pt x="12" y="11"/>
                    <a:pt x="13" y="11"/>
                  </a:cubicBezTo>
                  <a:cubicBezTo>
                    <a:pt x="15" y="11"/>
                    <a:pt x="20" y="11"/>
                    <a:pt x="21" y="10"/>
                  </a:cubicBezTo>
                  <a:cubicBezTo>
                    <a:pt x="23" y="12"/>
                    <a:pt x="25" y="16"/>
                    <a:pt x="27" y="18"/>
                  </a:cubicBezTo>
                  <a:cubicBezTo>
                    <a:pt x="30" y="20"/>
                    <a:pt x="35" y="20"/>
                    <a:pt x="38" y="20"/>
                  </a:cubicBezTo>
                  <a:cubicBezTo>
                    <a:pt x="37" y="19"/>
                    <a:pt x="36" y="18"/>
                    <a:pt x="34" y="17"/>
                  </a:cubicBezTo>
                  <a:cubicBezTo>
                    <a:pt x="34" y="17"/>
                    <a:pt x="34" y="17"/>
                    <a:pt x="34" y="17"/>
                  </a:cubicBezTo>
                  <a:cubicBezTo>
                    <a:pt x="34" y="17"/>
                    <a:pt x="34" y="17"/>
                    <a:pt x="34" y="17"/>
                  </a:cubicBezTo>
                  <a:cubicBezTo>
                    <a:pt x="33" y="17"/>
                    <a:pt x="33" y="17"/>
                    <a:pt x="33" y="17"/>
                  </a:cubicBezTo>
                  <a:cubicBezTo>
                    <a:pt x="33" y="17"/>
                    <a:pt x="33" y="17"/>
                    <a:pt x="33" y="17"/>
                  </a:cubicBezTo>
                  <a:cubicBezTo>
                    <a:pt x="32" y="17"/>
                    <a:pt x="33" y="16"/>
                    <a:pt x="33" y="15"/>
                  </a:cubicBezTo>
                  <a:cubicBezTo>
                    <a:pt x="31" y="13"/>
                    <a:pt x="31" y="13"/>
                    <a:pt x="31" y="13"/>
                  </a:cubicBezTo>
                  <a:cubicBezTo>
                    <a:pt x="31" y="13"/>
                    <a:pt x="31" y="13"/>
                    <a:pt x="31" y="13"/>
                  </a:cubicBezTo>
                  <a:cubicBezTo>
                    <a:pt x="29" y="13"/>
                    <a:pt x="30" y="15"/>
                    <a:pt x="29" y="16"/>
                  </a:cubicBezTo>
                  <a:cubicBezTo>
                    <a:pt x="28" y="15"/>
                    <a:pt x="29" y="14"/>
                    <a:pt x="28" y="12"/>
                  </a:cubicBezTo>
                  <a:cubicBezTo>
                    <a:pt x="28" y="12"/>
                    <a:pt x="28" y="12"/>
                    <a:pt x="28" y="12"/>
                  </a:cubicBezTo>
                  <a:cubicBezTo>
                    <a:pt x="28" y="12"/>
                    <a:pt x="28" y="12"/>
                    <a:pt x="28" y="11"/>
                  </a:cubicBezTo>
                  <a:cubicBezTo>
                    <a:pt x="27" y="11"/>
                    <a:pt x="27" y="11"/>
                    <a:pt x="27" y="11"/>
                  </a:cubicBezTo>
                  <a:cubicBezTo>
                    <a:pt x="27" y="11"/>
                    <a:pt x="27" y="11"/>
                    <a:pt x="27" y="11"/>
                  </a:cubicBezTo>
                  <a:cubicBezTo>
                    <a:pt x="27" y="10"/>
                    <a:pt x="27" y="10"/>
                    <a:pt x="27" y="10"/>
                  </a:cubicBezTo>
                  <a:cubicBezTo>
                    <a:pt x="26" y="10"/>
                    <a:pt x="26" y="11"/>
                    <a:pt x="26" y="11"/>
                  </a:cubicBezTo>
                  <a:cubicBezTo>
                    <a:pt x="25" y="11"/>
                    <a:pt x="25" y="11"/>
                    <a:pt x="25" y="11"/>
                  </a:cubicBezTo>
                  <a:cubicBezTo>
                    <a:pt x="25" y="11"/>
                    <a:pt x="25" y="11"/>
                    <a:pt x="25" y="11"/>
                  </a:cubicBezTo>
                  <a:cubicBezTo>
                    <a:pt x="24" y="11"/>
                    <a:pt x="23" y="10"/>
                    <a:pt x="22" y="10"/>
                  </a:cubicBezTo>
                  <a:cubicBezTo>
                    <a:pt x="22" y="10"/>
                    <a:pt x="21" y="9"/>
                    <a:pt x="20" y="9"/>
                  </a:cubicBezTo>
                  <a:cubicBezTo>
                    <a:pt x="21" y="9"/>
                    <a:pt x="20" y="9"/>
                    <a:pt x="19" y="9"/>
                  </a:cubicBezTo>
                  <a:cubicBezTo>
                    <a:pt x="19" y="9"/>
                    <a:pt x="19" y="9"/>
                    <a:pt x="19" y="9"/>
                  </a:cubicBezTo>
                  <a:cubicBezTo>
                    <a:pt x="18" y="9"/>
                    <a:pt x="19" y="8"/>
                    <a:pt x="18" y="8"/>
                  </a:cubicBezTo>
                  <a:cubicBezTo>
                    <a:pt x="18" y="7"/>
                    <a:pt x="17" y="7"/>
                    <a:pt x="16" y="7"/>
                  </a:cubicBezTo>
                  <a:cubicBezTo>
                    <a:pt x="15" y="7"/>
                    <a:pt x="15" y="7"/>
                    <a:pt x="14" y="7"/>
                  </a:cubicBezTo>
                  <a:cubicBezTo>
                    <a:pt x="14" y="6"/>
                    <a:pt x="10" y="7"/>
                    <a:pt x="9" y="6"/>
                  </a:cubicBezTo>
                  <a:cubicBezTo>
                    <a:pt x="9" y="6"/>
                    <a:pt x="8" y="4"/>
                    <a:pt x="8" y="4"/>
                  </a:cubicBezTo>
                  <a:cubicBezTo>
                    <a:pt x="7" y="3"/>
                    <a:pt x="7" y="3"/>
                    <a:pt x="7" y="3"/>
                  </a:cubicBezTo>
                  <a:cubicBezTo>
                    <a:pt x="6" y="3"/>
                    <a:pt x="6" y="2"/>
                    <a:pt x="4" y="1"/>
                  </a:cubicBezTo>
                  <a:cubicBezTo>
                    <a:pt x="3"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8" name="Freeform 148">
              <a:extLst>
                <a:ext uri="{FF2B5EF4-FFF2-40B4-BE49-F238E27FC236}">
                  <a16:creationId xmlns:a16="http://schemas.microsoft.com/office/drawing/2014/main" id="{EA3E30B2-2D8E-4848-8884-986B8B039006}"/>
                </a:ext>
              </a:extLst>
            </p:cNvPr>
            <p:cNvSpPr>
              <a:spLocks/>
            </p:cNvSpPr>
            <p:nvPr/>
          </p:nvSpPr>
          <p:spPr bwMode="auto">
            <a:xfrm>
              <a:off x="8072027" y="5695699"/>
              <a:ext cx="9886" cy="7061"/>
            </a:xfrm>
            <a:custGeom>
              <a:avLst/>
              <a:gdLst>
                <a:gd name="T0" fmla="*/ 0 w 3"/>
                <a:gd name="T1" fmla="*/ 0 h 2"/>
                <a:gd name="T2" fmla="*/ 3 w 3"/>
                <a:gd name="T3" fmla="*/ 2 h 2"/>
                <a:gd name="T4" fmla="*/ 0 w 3"/>
                <a:gd name="T5" fmla="*/ 0 h 2"/>
              </a:gdLst>
              <a:ahLst/>
              <a:cxnLst>
                <a:cxn ang="0">
                  <a:pos x="T0" y="T1"/>
                </a:cxn>
                <a:cxn ang="0">
                  <a:pos x="T2" y="T3"/>
                </a:cxn>
                <a:cxn ang="0">
                  <a:pos x="T4" y="T5"/>
                </a:cxn>
              </a:cxnLst>
              <a:rect l="0" t="0" r="r" b="b"/>
              <a:pathLst>
                <a:path w="3" h="2">
                  <a:moveTo>
                    <a:pt x="0" y="0"/>
                  </a:moveTo>
                  <a:cubicBezTo>
                    <a:pt x="0" y="1"/>
                    <a:pt x="1" y="2"/>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9" name="Freeform 149">
              <a:extLst>
                <a:ext uri="{FF2B5EF4-FFF2-40B4-BE49-F238E27FC236}">
                  <a16:creationId xmlns:a16="http://schemas.microsoft.com/office/drawing/2014/main" id="{27CD294C-4DEE-4E5B-AAA3-2CDFC2C3159F}"/>
                </a:ext>
              </a:extLst>
            </p:cNvPr>
            <p:cNvSpPr>
              <a:spLocks/>
            </p:cNvSpPr>
            <p:nvPr/>
          </p:nvSpPr>
          <p:spPr bwMode="auto">
            <a:xfrm>
              <a:off x="8105922" y="6584019"/>
              <a:ext cx="120043" cy="80500"/>
            </a:xfrm>
            <a:custGeom>
              <a:avLst/>
              <a:gdLst>
                <a:gd name="T0" fmla="*/ 15 w 36"/>
                <a:gd name="T1" fmla="*/ 0 h 24"/>
                <a:gd name="T2" fmla="*/ 11 w 36"/>
                <a:gd name="T3" fmla="*/ 4 h 24"/>
                <a:gd name="T4" fmla="*/ 10 w 36"/>
                <a:gd name="T5" fmla="*/ 4 h 24"/>
                <a:gd name="T6" fmla="*/ 7 w 36"/>
                <a:gd name="T7" fmla="*/ 3 h 24"/>
                <a:gd name="T8" fmla="*/ 14 w 36"/>
                <a:gd name="T9" fmla="*/ 8 h 24"/>
                <a:gd name="T10" fmla="*/ 15 w 36"/>
                <a:gd name="T11" fmla="*/ 7 h 24"/>
                <a:gd name="T12" fmla="*/ 15 w 36"/>
                <a:gd name="T13" fmla="*/ 7 h 24"/>
                <a:gd name="T14" fmla="*/ 16 w 36"/>
                <a:gd name="T15" fmla="*/ 9 h 24"/>
                <a:gd name="T16" fmla="*/ 14 w 36"/>
                <a:gd name="T17" fmla="*/ 10 h 24"/>
                <a:gd name="T18" fmla="*/ 9 w 36"/>
                <a:gd name="T19" fmla="*/ 8 h 24"/>
                <a:gd name="T20" fmla="*/ 6 w 36"/>
                <a:gd name="T21" fmla="*/ 6 h 24"/>
                <a:gd name="T22" fmla="*/ 3 w 36"/>
                <a:gd name="T23" fmla="*/ 7 h 24"/>
                <a:gd name="T24" fmla="*/ 5 w 36"/>
                <a:gd name="T25" fmla="*/ 12 h 24"/>
                <a:gd name="T26" fmla="*/ 6 w 36"/>
                <a:gd name="T27" fmla="*/ 11 h 24"/>
                <a:gd name="T28" fmla="*/ 10 w 36"/>
                <a:gd name="T29" fmla="*/ 11 h 24"/>
                <a:gd name="T30" fmla="*/ 9 w 36"/>
                <a:gd name="T31" fmla="*/ 16 h 24"/>
                <a:gd name="T32" fmla="*/ 9 w 36"/>
                <a:gd name="T33" fmla="*/ 19 h 24"/>
                <a:gd name="T34" fmla="*/ 14 w 36"/>
                <a:gd name="T35" fmla="*/ 16 h 24"/>
                <a:gd name="T36" fmla="*/ 15 w 36"/>
                <a:gd name="T37" fmla="*/ 15 h 24"/>
                <a:gd name="T38" fmla="*/ 17 w 36"/>
                <a:gd name="T39" fmla="*/ 15 h 24"/>
                <a:gd name="T40" fmla="*/ 19 w 36"/>
                <a:gd name="T41" fmla="*/ 16 h 24"/>
                <a:gd name="T42" fmla="*/ 20 w 36"/>
                <a:gd name="T43" fmla="*/ 15 h 24"/>
                <a:gd name="T44" fmla="*/ 20 w 36"/>
                <a:gd name="T45" fmla="*/ 15 h 24"/>
                <a:gd name="T46" fmla="*/ 24 w 36"/>
                <a:gd name="T47" fmla="*/ 16 h 24"/>
                <a:gd name="T48" fmla="*/ 20 w 36"/>
                <a:gd name="T49" fmla="*/ 18 h 24"/>
                <a:gd name="T50" fmla="*/ 18 w 36"/>
                <a:gd name="T51" fmla="*/ 21 h 24"/>
                <a:gd name="T52" fmla="*/ 16 w 36"/>
                <a:gd name="T53" fmla="*/ 22 h 24"/>
                <a:gd name="T54" fmla="*/ 20 w 36"/>
                <a:gd name="T55" fmla="*/ 24 h 24"/>
                <a:gd name="T56" fmla="*/ 25 w 36"/>
                <a:gd name="T57" fmla="*/ 21 h 24"/>
                <a:gd name="T58" fmla="*/ 26 w 36"/>
                <a:gd name="T59" fmla="*/ 23 h 24"/>
                <a:gd name="T60" fmla="*/ 28 w 36"/>
                <a:gd name="T61" fmla="*/ 20 h 24"/>
                <a:gd name="T62" fmla="*/ 31 w 36"/>
                <a:gd name="T63" fmla="*/ 21 h 24"/>
                <a:gd name="T64" fmla="*/ 31 w 36"/>
                <a:gd name="T65" fmla="*/ 21 h 24"/>
                <a:gd name="T66" fmla="*/ 30 w 36"/>
                <a:gd name="T67" fmla="*/ 17 h 24"/>
                <a:gd name="T68" fmla="*/ 31 w 36"/>
                <a:gd name="T69" fmla="*/ 17 h 24"/>
                <a:gd name="T70" fmla="*/ 31 w 36"/>
                <a:gd name="T71" fmla="*/ 15 h 24"/>
                <a:gd name="T72" fmla="*/ 31 w 36"/>
                <a:gd name="T73" fmla="*/ 15 h 24"/>
                <a:gd name="T74" fmla="*/ 32 w 36"/>
                <a:gd name="T75" fmla="*/ 15 h 24"/>
                <a:gd name="T76" fmla="*/ 32 w 36"/>
                <a:gd name="T77" fmla="*/ 16 h 24"/>
                <a:gd name="T78" fmla="*/ 34 w 36"/>
                <a:gd name="T79" fmla="*/ 15 h 24"/>
                <a:gd name="T80" fmla="*/ 36 w 36"/>
                <a:gd name="T81" fmla="*/ 14 h 24"/>
                <a:gd name="T82" fmla="*/ 31 w 36"/>
                <a:gd name="T83" fmla="*/ 10 h 24"/>
                <a:gd name="T84" fmla="*/ 30 w 36"/>
                <a:gd name="T85" fmla="*/ 11 h 24"/>
                <a:gd name="T86" fmla="*/ 29 w 36"/>
                <a:gd name="T87" fmla="*/ 11 h 24"/>
                <a:gd name="T88" fmla="*/ 29 w 36"/>
                <a:gd name="T89" fmla="*/ 7 h 24"/>
                <a:gd name="T90" fmla="*/ 26 w 36"/>
                <a:gd name="T91" fmla="*/ 6 h 24"/>
                <a:gd name="T92" fmla="*/ 22 w 36"/>
                <a:gd name="T93" fmla="*/ 6 h 24"/>
                <a:gd name="T94" fmla="*/ 20 w 36"/>
                <a:gd name="T95" fmla="*/ 3 h 24"/>
                <a:gd name="T96" fmla="*/ 18 w 36"/>
                <a:gd name="T97" fmla="*/ 3 h 24"/>
                <a:gd name="T98" fmla="*/ 16 w 36"/>
                <a:gd name="T99" fmla="*/ 1 h 24"/>
                <a:gd name="T100" fmla="*/ 16 w 36"/>
                <a:gd name="T101" fmla="*/ 1 h 24"/>
                <a:gd name="T102" fmla="*/ 15 w 36"/>
                <a:gd name="T10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 h="24">
                  <a:moveTo>
                    <a:pt x="15" y="0"/>
                  </a:moveTo>
                  <a:cubicBezTo>
                    <a:pt x="14" y="0"/>
                    <a:pt x="11" y="4"/>
                    <a:pt x="11" y="4"/>
                  </a:cubicBezTo>
                  <a:cubicBezTo>
                    <a:pt x="11" y="4"/>
                    <a:pt x="10" y="4"/>
                    <a:pt x="10" y="4"/>
                  </a:cubicBezTo>
                  <a:cubicBezTo>
                    <a:pt x="9" y="4"/>
                    <a:pt x="8" y="3"/>
                    <a:pt x="7" y="3"/>
                  </a:cubicBezTo>
                  <a:cubicBezTo>
                    <a:pt x="9" y="5"/>
                    <a:pt x="12" y="8"/>
                    <a:pt x="14" y="8"/>
                  </a:cubicBezTo>
                  <a:cubicBezTo>
                    <a:pt x="14" y="8"/>
                    <a:pt x="15" y="7"/>
                    <a:pt x="15" y="7"/>
                  </a:cubicBezTo>
                  <a:cubicBezTo>
                    <a:pt x="15" y="7"/>
                    <a:pt x="15" y="7"/>
                    <a:pt x="15" y="7"/>
                  </a:cubicBezTo>
                  <a:cubicBezTo>
                    <a:pt x="17" y="7"/>
                    <a:pt x="17" y="8"/>
                    <a:pt x="16" y="9"/>
                  </a:cubicBezTo>
                  <a:cubicBezTo>
                    <a:pt x="15" y="10"/>
                    <a:pt x="14" y="10"/>
                    <a:pt x="14" y="10"/>
                  </a:cubicBezTo>
                  <a:cubicBezTo>
                    <a:pt x="12" y="10"/>
                    <a:pt x="10" y="9"/>
                    <a:pt x="9" y="8"/>
                  </a:cubicBezTo>
                  <a:cubicBezTo>
                    <a:pt x="8" y="7"/>
                    <a:pt x="7" y="6"/>
                    <a:pt x="6" y="6"/>
                  </a:cubicBezTo>
                  <a:cubicBezTo>
                    <a:pt x="3" y="7"/>
                    <a:pt x="3" y="7"/>
                    <a:pt x="3" y="7"/>
                  </a:cubicBezTo>
                  <a:cubicBezTo>
                    <a:pt x="0" y="9"/>
                    <a:pt x="3" y="12"/>
                    <a:pt x="5" y="12"/>
                  </a:cubicBezTo>
                  <a:cubicBezTo>
                    <a:pt x="5" y="12"/>
                    <a:pt x="6" y="12"/>
                    <a:pt x="6" y="11"/>
                  </a:cubicBezTo>
                  <a:cubicBezTo>
                    <a:pt x="7" y="11"/>
                    <a:pt x="9" y="11"/>
                    <a:pt x="10" y="11"/>
                  </a:cubicBezTo>
                  <a:cubicBezTo>
                    <a:pt x="10" y="12"/>
                    <a:pt x="10" y="14"/>
                    <a:pt x="9" y="16"/>
                  </a:cubicBezTo>
                  <a:cubicBezTo>
                    <a:pt x="9" y="17"/>
                    <a:pt x="11" y="18"/>
                    <a:pt x="9" y="19"/>
                  </a:cubicBezTo>
                  <a:cubicBezTo>
                    <a:pt x="11" y="18"/>
                    <a:pt x="13" y="18"/>
                    <a:pt x="14" y="16"/>
                  </a:cubicBezTo>
                  <a:cubicBezTo>
                    <a:pt x="15" y="15"/>
                    <a:pt x="15" y="15"/>
                    <a:pt x="15" y="15"/>
                  </a:cubicBezTo>
                  <a:cubicBezTo>
                    <a:pt x="15" y="15"/>
                    <a:pt x="16" y="15"/>
                    <a:pt x="17" y="15"/>
                  </a:cubicBezTo>
                  <a:cubicBezTo>
                    <a:pt x="17" y="15"/>
                    <a:pt x="18" y="16"/>
                    <a:pt x="19" y="16"/>
                  </a:cubicBezTo>
                  <a:cubicBezTo>
                    <a:pt x="19" y="16"/>
                    <a:pt x="20" y="15"/>
                    <a:pt x="20" y="15"/>
                  </a:cubicBezTo>
                  <a:cubicBezTo>
                    <a:pt x="20" y="15"/>
                    <a:pt x="20" y="15"/>
                    <a:pt x="20" y="15"/>
                  </a:cubicBezTo>
                  <a:cubicBezTo>
                    <a:pt x="22" y="15"/>
                    <a:pt x="22" y="15"/>
                    <a:pt x="24" y="16"/>
                  </a:cubicBezTo>
                  <a:cubicBezTo>
                    <a:pt x="23" y="17"/>
                    <a:pt x="21" y="17"/>
                    <a:pt x="20" y="18"/>
                  </a:cubicBezTo>
                  <a:cubicBezTo>
                    <a:pt x="20" y="19"/>
                    <a:pt x="19" y="20"/>
                    <a:pt x="18" y="21"/>
                  </a:cubicBezTo>
                  <a:cubicBezTo>
                    <a:pt x="18" y="22"/>
                    <a:pt x="17" y="22"/>
                    <a:pt x="16" y="22"/>
                  </a:cubicBezTo>
                  <a:cubicBezTo>
                    <a:pt x="17" y="23"/>
                    <a:pt x="19" y="24"/>
                    <a:pt x="20" y="24"/>
                  </a:cubicBezTo>
                  <a:cubicBezTo>
                    <a:pt x="23" y="23"/>
                    <a:pt x="23" y="23"/>
                    <a:pt x="25" y="21"/>
                  </a:cubicBezTo>
                  <a:cubicBezTo>
                    <a:pt x="25" y="22"/>
                    <a:pt x="26" y="23"/>
                    <a:pt x="26" y="23"/>
                  </a:cubicBezTo>
                  <a:cubicBezTo>
                    <a:pt x="27" y="23"/>
                    <a:pt x="27" y="21"/>
                    <a:pt x="28" y="20"/>
                  </a:cubicBezTo>
                  <a:cubicBezTo>
                    <a:pt x="29" y="20"/>
                    <a:pt x="29" y="21"/>
                    <a:pt x="31" y="21"/>
                  </a:cubicBezTo>
                  <a:cubicBezTo>
                    <a:pt x="31" y="21"/>
                    <a:pt x="31" y="21"/>
                    <a:pt x="31" y="21"/>
                  </a:cubicBezTo>
                  <a:cubicBezTo>
                    <a:pt x="34" y="21"/>
                    <a:pt x="30" y="18"/>
                    <a:pt x="30" y="17"/>
                  </a:cubicBezTo>
                  <a:cubicBezTo>
                    <a:pt x="30" y="17"/>
                    <a:pt x="31" y="17"/>
                    <a:pt x="31" y="17"/>
                  </a:cubicBezTo>
                  <a:cubicBezTo>
                    <a:pt x="32" y="17"/>
                    <a:pt x="31" y="16"/>
                    <a:pt x="31" y="15"/>
                  </a:cubicBezTo>
                  <a:cubicBezTo>
                    <a:pt x="31" y="15"/>
                    <a:pt x="31" y="15"/>
                    <a:pt x="31" y="15"/>
                  </a:cubicBezTo>
                  <a:cubicBezTo>
                    <a:pt x="31" y="15"/>
                    <a:pt x="32" y="15"/>
                    <a:pt x="32" y="15"/>
                  </a:cubicBezTo>
                  <a:cubicBezTo>
                    <a:pt x="32" y="16"/>
                    <a:pt x="32" y="16"/>
                    <a:pt x="32" y="16"/>
                  </a:cubicBezTo>
                  <a:cubicBezTo>
                    <a:pt x="33" y="16"/>
                    <a:pt x="34" y="16"/>
                    <a:pt x="34" y="15"/>
                  </a:cubicBezTo>
                  <a:cubicBezTo>
                    <a:pt x="35" y="15"/>
                    <a:pt x="35" y="14"/>
                    <a:pt x="36" y="14"/>
                  </a:cubicBezTo>
                  <a:cubicBezTo>
                    <a:pt x="34" y="13"/>
                    <a:pt x="33" y="10"/>
                    <a:pt x="31" y="10"/>
                  </a:cubicBezTo>
                  <a:cubicBezTo>
                    <a:pt x="31" y="10"/>
                    <a:pt x="30" y="11"/>
                    <a:pt x="30" y="11"/>
                  </a:cubicBezTo>
                  <a:cubicBezTo>
                    <a:pt x="29" y="11"/>
                    <a:pt x="29" y="11"/>
                    <a:pt x="29" y="11"/>
                  </a:cubicBezTo>
                  <a:cubicBezTo>
                    <a:pt x="28" y="11"/>
                    <a:pt x="30" y="8"/>
                    <a:pt x="29" y="7"/>
                  </a:cubicBezTo>
                  <a:cubicBezTo>
                    <a:pt x="29" y="6"/>
                    <a:pt x="26" y="6"/>
                    <a:pt x="26" y="6"/>
                  </a:cubicBezTo>
                  <a:cubicBezTo>
                    <a:pt x="25" y="6"/>
                    <a:pt x="22" y="6"/>
                    <a:pt x="22" y="6"/>
                  </a:cubicBezTo>
                  <a:cubicBezTo>
                    <a:pt x="21" y="5"/>
                    <a:pt x="21" y="3"/>
                    <a:pt x="20" y="3"/>
                  </a:cubicBezTo>
                  <a:cubicBezTo>
                    <a:pt x="19" y="3"/>
                    <a:pt x="19" y="3"/>
                    <a:pt x="18" y="3"/>
                  </a:cubicBezTo>
                  <a:cubicBezTo>
                    <a:pt x="19" y="2"/>
                    <a:pt x="17" y="1"/>
                    <a:pt x="16" y="1"/>
                  </a:cubicBezTo>
                  <a:cubicBezTo>
                    <a:pt x="16" y="1"/>
                    <a:pt x="16" y="1"/>
                    <a:pt x="16" y="1"/>
                  </a:cubicBezTo>
                  <a:cubicBezTo>
                    <a:pt x="16" y="1"/>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0" name="Freeform 150">
              <a:extLst>
                <a:ext uri="{FF2B5EF4-FFF2-40B4-BE49-F238E27FC236}">
                  <a16:creationId xmlns:a16="http://schemas.microsoft.com/office/drawing/2014/main" id="{E8364CA4-02CF-45A7-937F-5E20634130D0}"/>
                </a:ext>
              </a:extLst>
            </p:cNvPr>
            <p:cNvSpPr>
              <a:spLocks/>
            </p:cNvSpPr>
            <p:nvPr/>
          </p:nvSpPr>
          <p:spPr bwMode="auto">
            <a:xfrm>
              <a:off x="8069203" y="5766313"/>
              <a:ext cx="29658" cy="12710"/>
            </a:xfrm>
            <a:custGeom>
              <a:avLst/>
              <a:gdLst>
                <a:gd name="T0" fmla="*/ 3 w 9"/>
                <a:gd name="T1" fmla="*/ 0 h 4"/>
                <a:gd name="T2" fmla="*/ 1 w 9"/>
                <a:gd name="T3" fmla="*/ 2 h 4"/>
                <a:gd name="T4" fmla="*/ 4 w 9"/>
                <a:gd name="T5" fmla="*/ 4 h 4"/>
                <a:gd name="T6" fmla="*/ 9 w 9"/>
                <a:gd name="T7" fmla="*/ 3 h 4"/>
                <a:gd name="T8" fmla="*/ 3 w 9"/>
                <a:gd name="T9" fmla="*/ 0 h 4"/>
              </a:gdLst>
              <a:ahLst/>
              <a:cxnLst>
                <a:cxn ang="0">
                  <a:pos x="T0" y="T1"/>
                </a:cxn>
                <a:cxn ang="0">
                  <a:pos x="T2" y="T3"/>
                </a:cxn>
                <a:cxn ang="0">
                  <a:pos x="T4" y="T5"/>
                </a:cxn>
                <a:cxn ang="0">
                  <a:pos x="T6" y="T7"/>
                </a:cxn>
                <a:cxn ang="0">
                  <a:pos x="T8" y="T9"/>
                </a:cxn>
              </a:cxnLst>
              <a:rect l="0" t="0" r="r" b="b"/>
              <a:pathLst>
                <a:path w="9" h="4">
                  <a:moveTo>
                    <a:pt x="3" y="0"/>
                  </a:moveTo>
                  <a:cubicBezTo>
                    <a:pt x="2" y="0"/>
                    <a:pt x="2" y="0"/>
                    <a:pt x="1" y="2"/>
                  </a:cubicBezTo>
                  <a:cubicBezTo>
                    <a:pt x="0" y="3"/>
                    <a:pt x="3" y="4"/>
                    <a:pt x="4" y="4"/>
                  </a:cubicBezTo>
                  <a:cubicBezTo>
                    <a:pt x="6" y="4"/>
                    <a:pt x="8" y="4"/>
                    <a:pt x="9" y="3"/>
                  </a:cubicBezTo>
                  <a:cubicBezTo>
                    <a:pt x="8" y="3"/>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1" name="Freeform 151">
              <a:extLst>
                <a:ext uri="{FF2B5EF4-FFF2-40B4-BE49-F238E27FC236}">
                  <a16:creationId xmlns:a16="http://schemas.microsoft.com/office/drawing/2014/main" id="{D4E51D54-746F-417B-805F-B2BE76CEF297}"/>
                </a:ext>
              </a:extLst>
            </p:cNvPr>
            <p:cNvSpPr>
              <a:spLocks/>
            </p:cNvSpPr>
            <p:nvPr/>
          </p:nvSpPr>
          <p:spPr bwMode="auto">
            <a:xfrm>
              <a:off x="8321999" y="6603791"/>
              <a:ext cx="43780" cy="70614"/>
            </a:xfrm>
            <a:custGeom>
              <a:avLst/>
              <a:gdLst>
                <a:gd name="T0" fmla="*/ 10 w 13"/>
                <a:gd name="T1" fmla="*/ 0 h 21"/>
                <a:gd name="T2" fmla="*/ 5 w 13"/>
                <a:gd name="T3" fmla="*/ 4 h 21"/>
                <a:gd name="T4" fmla="*/ 4 w 13"/>
                <a:gd name="T5" fmla="*/ 8 h 21"/>
                <a:gd name="T6" fmla="*/ 3 w 13"/>
                <a:gd name="T7" fmla="*/ 9 h 21"/>
                <a:gd name="T8" fmla="*/ 3 w 13"/>
                <a:gd name="T9" fmla="*/ 9 h 21"/>
                <a:gd name="T10" fmla="*/ 3 w 13"/>
                <a:gd name="T11" fmla="*/ 9 h 21"/>
                <a:gd name="T12" fmla="*/ 2 w 13"/>
                <a:gd name="T13" fmla="*/ 9 h 21"/>
                <a:gd name="T14" fmla="*/ 0 w 13"/>
                <a:gd name="T15" fmla="*/ 14 h 21"/>
                <a:gd name="T16" fmla="*/ 9 w 13"/>
                <a:gd name="T17" fmla="*/ 21 h 21"/>
                <a:gd name="T18" fmla="*/ 7 w 13"/>
                <a:gd name="T19" fmla="*/ 15 h 21"/>
                <a:gd name="T20" fmla="*/ 5 w 13"/>
                <a:gd name="T21" fmla="*/ 12 h 21"/>
                <a:gd name="T22" fmla="*/ 11 w 13"/>
                <a:gd name="T23" fmla="*/ 15 h 21"/>
                <a:gd name="T24" fmla="*/ 12 w 13"/>
                <a:gd name="T25" fmla="*/ 15 h 21"/>
                <a:gd name="T26" fmla="*/ 10 w 13"/>
                <a:gd name="T27" fmla="*/ 9 h 21"/>
                <a:gd name="T28" fmla="*/ 10 w 13"/>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21">
                  <a:moveTo>
                    <a:pt x="10" y="0"/>
                  </a:moveTo>
                  <a:cubicBezTo>
                    <a:pt x="9" y="1"/>
                    <a:pt x="6" y="3"/>
                    <a:pt x="5" y="4"/>
                  </a:cubicBezTo>
                  <a:cubicBezTo>
                    <a:pt x="4" y="5"/>
                    <a:pt x="4" y="7"/>
                    <a:pt x="4" y="8"/>
                  </a:cubicBezTo>
                  <a:cubicBezTo>
                    <a:pt x="4" y="9"/>
                    <a:pt x="4" y="9"/>
                    <a:pt x="3" y="9"/>
                  </a:cubicBezTo>
                  <a:cubicBezTo>
                    <a:pt x="3" y="9"/>
                    <a:pt x="3" y="9"/>
                    <a:pt x="3" y="9"/>
                  </a:cubicBezTo>
                  <a:cubicBezTo>
                    <a:pt x="3" y="9"/>
                    <a:pt x="3" y="9"/>
                    <a:pt x="3" y="9"/>
                  </a:cubicBezTo>
                  <a:cubicBezTo>
                    <a:pt x="3" y="9"/>
                    <a:pt x="3" y="9"/>
                    <a:pt x="2" y="9"/>
                  </a:cubicBezTo>
                  <a:cubicBezTo>
                    <a:pt x="0" y="11"/>
                    <a:pt x="0" y="10"/>
                    <a:pt x="0" y="14"/>
                  </a:cubicBezTo>
                  <a:cubicBezTo>
                    <a:pt x="1" y="18"/>
                    <a:pt x="6" y="20"/>
                    <a:pt x="9" y="21"/>
                  </a:cubicBezTo>
                  <a:cubicBezTo>
                    <a:pt x="9" y="19"/>
                    <a:pt x="8" y="17"/>
                    <a:pt x="7" y="15"/>
                  </a:cubicBezTo>
                  <a:cubicBezTo>
                    <a:pt x="6" y="14"/>
                    <a:pt x="5" y="13"/>
                    <a:pt x="5" y="12"/>
                  </a:cubicBezTo>
                  <a:cubicBezTo>
                    <a:pt x="6" y="12"/>
                    <a:pt x="9" y="15"/>
                    <a:pt x="11" y="15"/>
                  </a:cubicBezTo>
                  <a:cubicBezTo>
                    <a:pt x="12" y="15"/>
                    <a:pt x="12" y="15"/>
                    <a:pt x="12" y="15"/>
                  </a:cubicBezTo>
                  <a:cubicBezTo>
                    <a:pt x="13" y="14"/>
                    <a:pt x="11" y="10"/>
                    <a:pt x="10" y="9"/>
                  </a:cubicBezTo>
                  <a:cubicBezTo>
                    <a:pt x="10" y="6"/>
                    <a:pt x="10" y="3"/>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2" name="Freeform 152">
              <a:extLst>
                <a:ext uri="{FF2B5EF4-FFF2-40B4-BE49-F238E27FC236}">
                  <a16:creationId xmlns:a16="http://schemas.microsoft.com/office/drawing/2014/main" id="{39A27DEB-AFF4-4FBB-8DE8-2C14674B8E48}"/>
                </a:ext>
              </a:extLst>
            </p:cNvPr>
            <p:cNvSpPr>
              <a:spLocks/>
            </p:cNvSpPr>
            <p:nvPr/>
          </p:nvSpPr>
          <p:spPr bwMode="auto">
            <a:xfrm>
              <a:off x="7964695" y="6106671"/>
              <a:ext cx="90385" cy="134166"/>
            </a:xfrm>
            <a:custGeom>
              <a:avLst/>
              <a:gdLst>
                <a:gd name="T0" fmla="*/ 18 w 27"/>
                <a:gd name="T1" fmla="*/ 0 h 40"/>
                <a:gd name="T2" fmla="*/ 15 w 27"/>
                <a:gd name="T3" fmla="*/ 0 h 40"/>
                <a:gd name="T4" fmla="*/ 12 w 27"/>
                <a:gd name="T5" fmla="*/ 4 h 40"/>
                <a:gd name="T6" fmla="*/ 15 w 27"/>
                <a:gd name="T7" fmla="*/ 4 h 40"/>
                <a:gd name="T8" fmla="*/ 11 w 27"/>
                <a:gd name="T9" fmla="*/ 6 h 40"/>
                <a:gd name="T10" fmla="*/ 14 w 27"/>
                <a:gd name="T11" fmla="*/ 7 h 40"/>
                <a:gd name="T12" fmla="*/ 16 w 27"/>
                <a:gd name="T13" fmla="*/ 7 h 40"/>
                <a:gd name="T14" fmla="*/ 13 w 27"/>
                <a:gd name="T15" fmla="*/ 9 h 40"/>
                <a:gd name="T16" fmla="*/ 16 w 27"/>
                <a:gd name="T17" fmla="*/ 12 h 40"/>
                <a:gd name="T18" fmla="*/ 14 w 27"/>
                <a:gd name="T19" fmla="*/ 20 h 40"/>
                <a:gd name="T20" fmla="*/ 10 w 27"/>
                <a:gd name="T21" fmla="*/ 15 h 40"/>
                <a:gd name="T22" fmla="*/ 9 w 27"/>
                <a:gd name="T23" fmla="*/ 18 h 40"/>
                <a:gd name="T24" fmla="*/ 8 w 27"/>
                <a:gd name="T25" fmla="*/ 18 h 40"/>
                <a:gd name="T26" fmla="*/ 7 w 27"/>
                <a:gd name="T27" fmla="*/ 19 h 40"/>
                <a:gd name="T28" fmla="*/ 5 w 27"/>
                <a:gd name="T29" fmla="*/ 17 h 40"/>
                <a:gd name="T30" fmla="*/ 4 w 27"/>
                <a:gd name="T31" fmla="*/ 19 h 40"/>
                <a:gd name="T32" fmla="*/ 2 w 27"/>
                <a:gd name="T33" fmla="*/ 17 h 40"/>
                <a:gd name="T34" fmla="*/ 2 w 27"/>
                <a:gd name="T35" fmla="*/ 17 h 40"/>
                <a:gd name="T36" fmla="*/ 3 w 27"/>
                <a:gd name="T37" fmla="*/ 23 h 40"/>
                <a:gd name="T38" fmla="*/ 8 w 27"/>
                <a:gd name="T39" fmla="*/ 33 h 40"/>
                <a:gd name="T40" fmla="*/ 9 w 27"/>
                <a:gd name="T41" fmla="*/ 34 h 40"/>
                <a:gd name="T42" fmla="*/ 11 w 27"/>
                <a:gd name="T43" fmla="*/ 33 h 40"/>
                <a:gd name="T44" fmla="*/ 12 w 27"/>
                <a:gd name="T45" fmla="*/ 31 h 40"/>
                <a:gd name="T46" fmla="*/ 13 w 27"/>
                <a:gd name="T47" fmla="*/ 29 h 40"/>
                <a:gd name="T48" fmla="*/ 12 w 27"/>
                <a:gd name="T49" fmla="*/ 23 h 40"/>
                <a:gd name="T50" fmla="*/ 14 w 27"/>
                <a:gd name="T51" fmla="*/ 24 h 40"/>
                <a:gd name="T52" fmla="*/ 17 w 27"/>
                <a:gd name="T53" fmla="*/ 21 h 40"/>
                <a:gd name="T54" fmla="*/ 20 w 27"/>
                <a:gd name="T55" fmla="*/ 19 h 40"/>
                <a:gd name="T56" fmla="*/ 15 w 27"/>
                <a:gd name="T57" fmla="*/ 25 h 40"/>
                <a:gd name="T58" fmla="*/ 18 w 27"/>
                <a:gd name="T59" fmla="*/ 28 h 40"/>
                <a:gd name="T60" fmla="*/ 18 w 27"/>
                <a:gd name="T61" fmla="*/ 28 h 40"/>
                <a:gd name="T62" fmla="*/ 16 w 27"/>
                <a:gd name="T63" fmla="*/ 28 h 40"/>
                <a:gd name="T64" fmla="*/ 15 w 27"/>
                <a:gd name="T65" fmla="*/ 27 h 40"/>
                <a:gd name="T66" fmla="*/ 14 w 27"/>
                <a:gd name="T67" fmla="*/ 28 h 40"/>
                <a:gd name="T68" fmla="*/ 16 w 27"/>
                <a:gd name="T69" fmla="*/ 35 h 40"/>
                <a:gd name="T70" fmla="*/ 14 w 27"/>
                <a:gd name="T71" fmla="*/ 36 h 40"/>
                <a:gd name="T72" fmla="*/ 16 w 27"/>
                <a:gd name="T73" fmla="*/ 36 h 40"/>
                <a:gd name="T74" fmla="*/ 18 w 27"/>
                <a:gd name="T75" fmla="*/ 36 h 40"/>
                <a:gd name="T76" fmla="*/ 19 w 27"/>
                <a:gd name="T77" fmla="*/ 37 h 40"/>
                <a:gd name="T78" fmla="*/ 16 w 27"/>
                <a:gd name="T79" fmla="*/ 39 h 40"/>
                <a:gd name="T80" fmla="*/ 19 w 27"/>
                <a:gd name="T81" fmla="*/ 40 h 40"/>
                <a:gd name="T82" fmla="*/ 21 w 27"/>
                <a:gd name="T83" fmla="*/ 40 h 40"/>
                <a:gd name="T84" fmla="*/ 24 w 27"/>
                <a:gd name="T85" fmla="*/ 34 h 40"/>
                <a:gd name="T86" fmla="*/ 25 w 27"/>
                <a:gd name="T87" fmla="*/ 35 h 40"/>
                <a:gd name="T88" fmla="*/ 24 w 27"/>
                <a:gd name="T89" fmla="*/ 31 h 40"/>
                <a:gd name="T90" fmla="*/ 25 w 27"/>
                <a:gd name="T91" fmla="*/ 31 h 40"/>
                <a:gd name="T92" fmla="*/ 23 w 27"/>
                <a:gd name="T93" fmla="*/ 25 h 40"/>
                <a:gd name="T94" fmla="*/ 25 w 27"/>
                <a:gd name="T95" fmla="*/ 18 h 40"/>
                <a:gd name="T96" fmla="*/ 24 w 27"/>
                <a:gd name="T97" fmla="*/ 10 h 40"/>
                <a:gd name="T98" fmla="*/ 24 w 27"/>
                <a:gd name="T99" fmla="*/ 9 h 40"/>
                <a:gd name="T100" fmla="*/ 24 w 27"/>
                <a:gd name="T101" fmla="*/ 8 h 40"/>
                <a:gd name="T102" fmla="*/ 23 w 27"/>
                <a:gd name="T103" fmla="*/ 4 h 40"/>
                <a:gd name="T104" fmla="*/ 23 w 27"/>
                <a:gd name="T105" fmla="*/ 1 h 40"/>
                <a:gd name="T106" fmla="*/ 22 w 27"/>
                <a:gd name="T107" fmla="*/ 0 h 40"/>
                <a:gd name="T108" fmla="*/ 22 w 27"/>
                <a:gd name="T109" fmla="*/ 1 h 40"/>
                <a:gd name="T110" fmla="*/ 21 w 27"/>
                <a:gd name="T111" fmla="*/ 1 h 40"/>
                <a:gd name="T112" fmla="*/ 20 w 27"/>
                <a:gd name="T113" fmla="*/ 1 h 40"/>
                <a:gd name="T114" fmla="*/ 18 w 27"/>
                <a:gd name="T11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 h="40">
                  <a:moveTo>
                    <a:pt x="18" y="0"/>
                  </a:moveTo>
                  <a:cubicBezTo>
                    <a:pt x="17" y="0"/>
                    <a:pt x="16" y="0"/>
                    <a:pt x="15" y="0"/>
                  </a:cubicBezTo>
                  <a:cubicBezTo>
                    <a:pt x="12" y="2"/>
                    <a:pt x="10" y="4"/>
                    <a:pt x="12" y="4"/>
                  </a:cubicBezTo>
                  <a:cubicBezTo>
                    <a:pt x="13" y="4"/>
                    <a:pt x="14" y="4"/>
                    <a:pt x="15" y="4"/>
                  </a:cubicBezTo>
                  <a:cubicBezTo>
                    <a:pt x="14" y="5"/>
                    <a:pt x="12" y="5"/>
                    <a:pt x="11" y="6"/>
                  </a:cubicBezTo>
                  <a:cubicBezTo>
                    <a:pt x="12" y="7"/>
                    <a:pt x="13" y="7"/>
                    <a:pt x="14" y="7"/>
                  </a:cubicBezTo>
                  <a:cubicBezTo>
                    <a:pt x="15" y="7"/>
                    <a:pt x="15" y="7"/>
                    <a:pt x="16" y="7"/>
                  </a:cubicBezTo>
                  <a:cubicBezTo>
                    <a:pt x="15" y="8"/>
                    <a:pt x="14" y="8"/>
                    <a:pt x="13" y="9"/>
                  </a:cubicBezTo>
                  <a:cubicBezTo>
                    <a:pt x="14" y="10"/>
                    <a:pt x="16" y="11"/>
                    <a:pt x="16" y="12"/>
                  </a:cubicBezTo>
                  <a:cubicBezTo>
                    <a:pt x="16" y="15"/>
                    <a:pt x="15" y="17"/>
                    <a:pt x="14" y="20"/>
                  </a:cubicBezTo>
                  <a:cubicBezTo>
                    <a:pt x="14" y="18"/>
                    <a:pt x="12" y="17"/>
                    <a:pt x="10" y="15"/>
                  </a:cubicBezTo>
                  <a:cubicBezTo>
                    <a:pt x="9" y="15"/>
                    <a:pt x="9" y="17"/>
                    <a:pt x="9" y="18"/>
                  </a:cubicBezTo>
                  <a:cubicBezTo>
                    <a:pt x="8" y="18"/>
                    <a:pt x="8" y="18"/>
                    <a:pt x="8" y="18"/>
                  </a:cubicBezTo>
                  <a:cubicBezTo>
                    <a:pt x="8" y="18"/>
                    <a:pt x="8" y="18"/>
                    <a:pt x="7" y="19"/>
                  </a:cubicBezTo>
                  <a:cubicBezTo>
                    <a:pt x="7" y="18"/>
                    <a:pt x="6" y="17"/>
                    <a:pt x="5" y="17"/>
                  </a:cubicBezTo>
                  <a:cubicBezTo>
                    <a:pt x="4" y="17"/>
                    <a:pt x="4" y="17"/>
                    <a:pt x="4" y="19"/>
                  </a:cubicBezTo>
                  <a:cubicBezTo>
                    <a:pt x="4" y="18"/>
                    <a:pt x="3" y="17"/>
                    <a:pt x="2" y="17"/>
                  </a:cubicBezTo>
                  <a:cubicBezTo>
                    <a:pt x="2" y="17"/>
                    <a:pt x="2" y="17"/>
                    <a:pt x="2" y="17"/>
                  </a:cubicBezTo>
                  <a:cubicBezTo>
                    <a:pt x="0" y="18"/>
                    <a:pt x="2" y="21"/>
                    <a:pt x="3" y="23"/>
                  </a:cubicBezTo>
                  <a:cubicBezTo>
                    <a:pt x="4" y="26"/>
                    <a:pt x="5" y="30"/>
                    <a:pt x="8" y="33"/>
                  </a:cubicBezTo>
                  <a:cubicBezTo>
                    <a:pt x="8" y="34"/>
                    <a:pt x="9" y="34"/>
                    <a:pt x="9" y="34"/>
                  </a:cubicBezTo>
                  <a:cubicBezTo>
                    <a:pt x="10" y="34"/>
                    <a:pt x="10" y="34"/>
                    <a:pt x="11" y="33"/>
                  </a:cubicBezTo>
                  <a:cubicBezTo>
                    <a:pt x="13" y="33"/>
                    <a:pt x="12" y="32"/>
                    <a:pt x="12" y="31"/>
                  </a:cubicBezTo>
                  <a:cubicBezTo>
                    <a:pt x="13" y="29"/>
                    <a:pt x="13" y="29"/>
                    <a:pt x="13" y="29"/>
                  </a:cubicBezTo>
                  <a:cubicBezTo>
                    <a:pt x="13" y="26"/>
                    <a:pt x="11" y="25"/>
                    <a:pt x="12" y="23"/>
                  </a:cubicBezTo>
                  <a:cubicBezTo>
                    <a:pt x="13" y="24"/>
                    <a:pt x="14" y="24"/>
                    <a:pt x="14" y="24"/>
                  </a:cubicBezTo>
                  <a:cubicBezTo>
                    <a:pt x="14" y="23"/>
                    <a:pt x="18" y="23"/>
                    <a:pt x="17" y="21"/>
                  </a:cubicBezTo>
                  <a:cubicBezTo>
                    <a:pt x="18" y="20"/>
                    <a:pt x="19" y="20"/>
                    <a:pt x="20" y="19"/>
                  </a:cubicBezTo>
                  <a:cubicBezTo>
                    <a:pt x="19" y="22"/>
                    <a:pt x="17" y="23"/>
                    <a:pt x="15" y="25"/>
                  </a:cubicBezTo>
                  <a:cubicBezTo>
                    <a:pt x="16" y="26"/>
                    <a:pt x="17" y="26"/>
                    <a:pt x="18" y="28"/>
                  </a:cubicBezTo>
                  <a:cubicBezTo>
                    <a:pt x="18" y="28"/>
                    <a:pt x="18" y="28"/>
                    <a:pt x="18" y="28"/>
                  </a:cubicBezTo>
                  <a:cubicBezTo>
                    <a:pt x="17" y="28"/>
                    <a:pt x="17" y="28"/>
                    <a:pt x="16" y="28"/>
                  </a:cubicBezTo>
                  <a:cubicBezTo>
                    <a:pt x="16" y="27"/>
                    <a:pt x="16" y="27"/>
                    <a:pt x="15" y="27"/>
                  </a:cubicBezTo>
                  <a:cubicBezTo>
                    <a:pt x="15" y="27"/>
                    <a:pt x="14" y="28"/>
                    <a:pt x="14" y="28"/>
                  </a:cubicBezTo>
                  <a:cubicBezTo>
                    <a:pt x="13" y="31"/>
                    <a:pt x="19" y="31"/>
                    <a:pt x="16" y="35"/>
                  </a:cubicBezTo>
                  <a:cubicBezTo>
                    <a:pt x="16" y="35"/>
                    <a:pt x="12" y="36"/>
                    <a:pt x="14" y="36"/>
                  </a:cubicBezTo>
                  <a:cubicBezTo>
                    <a:pt x="15" y="36"/>
                    <a:pt x="15" y="36"/>
                    <a:pt x="16" y="36"/>
                  </a:cubicBezTo>
                  <a:cubicBezTo>
                    <a:pt x="16" y="36"/>
                    <a:pt x="17" y="36"/>
                    <a:pt x="18" y="36"/>
                  </a:cubicBezTo>
                  <a:cubicBezTo>
                    <a:pt x="18" y="36"/>
                    <a:pt x="19" y="36"/>
                    <a:pt x="19" y="37"/>
                  </a:cubicBezTo>
                  <a:cubicBezTo>
                    <a:pt x="19" y="37"/>
                    <a:pt x="13" y="38"/>
                    <a:pt x="16" y="39"/>
                  </a:cubicBezTo>
                  <a:cubicBezTo>
                    <a:pt x="17" y="40"/>
                    <a:pt x="18" y="40"/>
                    <a:pt x="19" y="40"/>
                  </a:cubicBezTo>
                  <a:cubicBezTo>
                    <a:pt x="19" y="40"/>
                    <a:pt x="20" y="40"/>
                    <a:pt x="21" y="40"/>
                  </a:cubicBezTo>
                  <a:cubicBezTo>
                    <a:pt x="23" y="39"/>
                    <a:pt x="24" y="37"/>
                    <a:pt x="24" y="34"/>
                  </a:cubicBezTo>
                  <a:cubicBezTo>
                    <a:pt x="25" y="35"/>
                    <a:pt x="25" y="35"/>
                    <a:pt x="25" y="35"/>
                  </a:cubicBezTo>
                  <a:cubicBezTo>
                    <a:pt x="25" y="34"/>
                    <a:pt x="25" y="32"/>
                    <a:pt x="24" y="31"/>
                  </a:cubicBezTo>
                  <a:cubicBezTo>
                    <a:pt x="24" y="31"/>
                    <a:pt x="25" y="31"/>
                    <a:pt x="25" y="31"/>
                  </a:cubicBezTo>
                  <a:cubicBezTo>
                    <a:pt x="27" y="31"/>
                    <a:pt x="23" y="25"/>
                    <a:pt x="23" y="25"/>
                  </a:cubicBezTo>
                  <a:cubicBezTo>
                    <a:pt x="23" y="23"/>
                    <a:pt x="25" y="20"/>
                    <a:pt x="25" y="18"/>
                  </a:cubicBezTo>
                  <a:cubicBezTo>
                    <a:pt x="25" y="15"/>
                    <a:pt x="24" y="13"/>
                    <a:pt x="24" y="10"/>
                  </a:cubicBezTo>
                  <a:cubicBezTo>
                    <a:pt x="24" y="10"/>
                    <a:pt x="24" y="9"/>
                    <a:pt x="24" y="9"/>
                  </a:cubicBezTo>
                  <a:cubicBezTo>
                    <a:pt x="24" y="9"/>
                    <a:pt x="24" y="8"/>
                    <a:pt x="24" y="8"/>
                  </a:cubicBezTo>
                  <a:cubicBezTo>
                    <a:pt x="24" y="6"/>
                    <a:pt x="23" y="5"/>
                    <a:pt x="23" y="4"/>
                  </a:cubicBezTo>
                  <a:cubicBezTo>
                    <a:pt x="23" y="3"/>
                    <a:pt x="23" y="2"/>
                    <a:pt x="23" y="1"/>
                  </a:cubicBezTo>
                  <a:cubicBezTo>
                    <a:pt x="23" y="1"/>
                    <a:pt x="22" y="0"/>
                    <a:pt x="22" y="0"/>
                  </a:cubicBezTo>
                  <a:cubicBezTo>
                    <a:pt x="22" y="0"/>
                    <a:pt x="22" y="0"/>
                    <a:pt x="22" y="1"/>
                  </a:cubicBezTo>
                  <a:cubicBezTo>
                    <a:pt x="22" y="1"/>
                    <a:pt x="21" y="1"/>
                    <a:pt x="21" y="1"/>
                  </a:cubicBezTo>
                  <a:cubicBezTo>
                    <a:pt x="21" y="1"/>
                    <a:pt x="21" y="1"/>
                    <a:pt x="20" y="1"/>
                  </a:cubicBezTo>
                  <a:cubicBezTo>
                    <a:pt x="19" y="0"/>
                    <a:pt x="19"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3" name="Freeform 153">
              <a:extLst>
                <a:ext uri="{FF2B5EF4-FFF2-40B4-BE49-F238E27FC236}">
                  <a16:creationId xmlns:a16="http://schemas.microsoft.com/office/drawing/2014/main" id="{CE5E43E5-1614-4178-8369-CE593DEF7198}"/>
                </a:ext>
              </a:extLst>
            </p:cNvPr>
            <p:cNvSpPr>
              <a:spLocks/>
            </p:cNvSpPr>
            <p:nvPr/>
          </p:nvSpPr>
          <p:spPr bwMode="auto">
            <a:xfrm>
              <a:off x="8064966" y="5742304"/>
              <a:ext cx="40956" cy="31070"/>
            </a:xfrm>
            <a:custGeom>
              <a:avLst/>
              <a:gdLst>
                <a:gd name="T0" fmla="*/ 7 w 12"/>
                <a:gd name="T1" fmla="*/ 0 h 9"/>
                <a:gd name="T2" fmla="*/ 0 w 12"/>
                <a:gd name="T3" fmla="*/ 3 h 9"/>
                <a:gd name="T4" fmla="*/ 11 w 12"/>
                <a:gd name="T5" fmla="*/ 9 h 9"/>
                <a:gd name="T6" fmla="*/ 8 w 12"/>
                <a:gd name="T7" fmla="*/ 0 h 9"/>
                <a:gd name="T8" fmla="*/ 7 w 12"/>
                <a:gd name="T9" fmla="*/ 0 h 9"/>
              </a:gdLst>
              <a:ahLst/>
              <a:cxnLst>
                <a:cxn ang="0">
                  <a:pos x="T0" y="T1"/>
                </a:cxn>
                <a:cxn ang="0">
                  <a:pos x="T2" y="T3"/>
                </a:cxn>
                <a:cxn ang="0">
                  <a:pos x="T4" y="T5"/>
                </a:cxn>
                <a:cxn ang="0">
                  <a:pos x="T6" y="T7"/>
                </a:cxn>
                <a:cxn ang="0">
                  <a:pos x="T8" y="T9"/>
                </a:cxn>
              </a:cxnLst>
              <a:rect l="0" t="0" r="r" b="b"/>
              <a:pathLst>
                <a:path w="12" h="9">
                  <a:moveTo>
                    <a:pt x="7" y="0"/>
                  </a:moveTo>
                  <a:cubicBezTo>
                    <a:pt x="5" y="0"/>
                    <a:pt x="0" y="1"/>
                    <a:pt x="0" y="3"/>
                  </a:cubicBezTo>
                  <a:cubicBezTo>
                    <a:pt x="3" y="5"/>
                    <a:pt x="7" y="7"/>
                    <a:pt x="11" y="9"/>
                  </a:cubicBezTo>
                  <a:cubicBezTo>
                    <a:pt x="12" y="6"/>
                    <a:pt x="12" y="1"/>
                    <a:pt x="8" y="0"/>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4" name="Freeform 154">
              <a:extLst>
                <a:ext uri="{FF2B5EF4-FFF2-40B4-BE49-F238E27FC236}">
                  <a16:creationId xmlns:a16="http://schemas.microsoft.com/office/drawing/2014/main" id="{365F340E-A92A-48DE-8C20-78182D04AE7F}"/>
                </a:ext>
              </a:extLst>
            </p:cNvPr>
            <p:cNvSpPr>
              <a:spLocks/>
            </p:cNvSpPr>
            <p:nvPr/>
          </p:nvSpPr>
          <p:spPr bwMode="auto">
            <a:xfrm>
              <a:off x="8052256" y="5759251"/>
              <a:ext cx="9886" cy="14123"/>
            </a:xfrm>
            <a:custGeom>
              <a:avLst/>
              <a:gdLst>
                <a:gd name="T0" fmla="*/ 0 w 3"/>
                <a:gd name="T1" fmla="*/ 0 h 4"/>
                <a:gd name="T2" fmla="*/ 1 w 3"/>
                <a:gd name="T3" fmla="*/ 4 h 4"/>
                <a:gd name="T4" fmla="*/ 0 w 3"/>
                <a:gd name="T5" fmla="*/ 0 h 4"/>
              </a:gdLst>
              <a:ahLst/>
              <a:cxnLst>
                <a:cxn ang="0">
                  <a:pos x="T0" y="T1"/>
                </a:cxn>
                <a:cxn ang="0">
                  <a:pos x="T2" y="T3"/>
                </a:cxn>
                <a:cxn ang="0">
                  <a:pos x="T4" y="T5"/>
                </a:cxn>
              </a:cxnLst>
              <a:rect l="0" t="0" r="r" b="b"/>
              <a:pathLst>
                <a:path w="3" h="4">
                  <a:moveTo>
                    <a:pt x="0" y="0"/>
                  </a:moveTo>
                  <a:cubicBezTo>
                    <a:pt x="0" y="1"/>
                    <a:pt x="1" y="3"/>
                    <a:pt x="1" y="4"/>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5" name="Freeform 155">
              <a:extLst>
                <a:ext uri="{FF2B5EF4-FFF2-40B4-BE49-F238E27FC236}">
                  <a16:creationId xmlns:a16="http://schemas.microsoft.com/office/drawing/2014/main" id="{A5A1D335-547C-4CB7-A41D-D92B255C3D1E}"/>
                </a:ext>
              </a:extLst>
            </p:cNvPr>
            <p:cNvSpPr>
              <a:spLocks/>
            </p:cNvSpPr>
            <p:nvPr/>
          </p:nvSpPr>
          <p:spPr bwMode="auto">
            <a:xfrm>
              <a:off x="8619988" y="6781737"/>
              <a:ext cx="12710" cy="5649"/>
            </a:xfrm>
            <a:custGeom>
              <a:avLst/>
              <a:gdLst>
                <a:gd name="T0" fmla="*/ 3 w 4"/>
                <a:gd name="T1" fmla="*/ 0 h 2"/>
                <a:gd name="T2" fmla="*/ 0 w 4"/>
                <a:gd name="T3" fmla="*/ 2 h 2"/>
                <a:gd name="T4" fmla="*/ 1 w 4"/>
                <a:gd name="T5" fmla="*/ 2 h 2"/>
                <a:gd name="T6" fmla="*/ 4 w 4"/>
                <a:gd name="T7" fmla="*/ 1 h 2"/>
                <a:gd name="T8" fmla="*/ 3 w 4"/>
                <a:gd name="T9" fmla="*/ 0 h 2"/>
              </a:gdLst>
              <a:ahLst/>
              <a:cxnLst>
                <a:cxn ang="0">
                  <a:pos x="T0" y="T1"/>
                </a:cxn>
                <a:cxn ang="0">
                  <a:pos x="T2" y="T3"/>
                </a:cxn>
                <a:cxn ang="0">
                  <a:pos x="T4" y="T5"/>
                </a:cxn>
                <a:cxn ang="0">
                  <a:pos x="T6" y="T7"/>
                </a:cxn>
                <a:cxn ang="0">
                  <a:pos x="T8" y="T9"/>
                </a:cxn>
              </a:cxnLst>
              <a:rect l="0" t="0" r="r" b="b"/>
              <a:pathLst>
                <a:path w="4" h="2">
                  <a:moveTo>
                    <a:pt x="3" y="0"/>
                  </a:moveTo>
                  <a:cubicBezTo>
                    <a:pt x="2" y="0"/>
                    <a:pt x="0" y="1"/>
                    <a:pt x="0" y="2"/>
                  </a:cubicBezTo>
                  <a:cubicBezTo>
                    <a:pt x="0" y="2"/>
                    <a:pt x="0" y="2"/>
                    <a:pt x="1" y="2"/>
                  </a:cubicBezTo>
                  <a:cubicBezTo>
                    <a:pt x="2" y="2"/>
                    <a:pt x="3" y="1"/>
                    <a:pt x="4"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6" name="Freeform 156">
              <a:extLst>
                <a:ext uri="{FF2B5EF4-FFF2-40B4-BE49-F238E27FC236}">
                  <a16:creationId xmlns:a16="http://schemas.microsoft.com/office/drawing/2014/main" id="{8F9FEB30-BC6B-4052-A467-3EA48CC95BD0}"/>
                </a:ext>
              </a:extLst>
            </p:cNvPr>
            <p:cNvSpPr>
              <a:spLocks noEditPoints="1"/>
            </p:cNvSpPr>
            <p:nvPr/>
          </p:nvSpPr>
          <p:spPr bwMode="auto">
            <a:xfrm>
              <a:off x="8388376" y="6750667"/>
              <a:ext cx="160999" cy="83324"/>
            </a:xfrm>
            <a:custGeom>
              <a:avLst/>
              <a:gdLst>
                <a:gd name="T0" fmla="*/ 23 w 48"/>
                <a:gd name="T1" fmla="*/ 4 h 25"/>
                <a:gd name="T2" fmla="*/ 35 w 48"/>
                <a:gd name="T3" fmla="*/ 0 h 25"/>
                <a:gd name="T4" fmla="*/ 24 w 48"/>
                <a:gd name="T5" fmla="*/ 1 h 25"/>
                <a:gd name="T6" fmla="*/ 22 w 48"/>
                <a:gd name="T7" fmla="*/ 1 h 25"/>
                <a:gd name="T8" fmla="*/ 17 w 48"/>
                <a:gd name="T9" fmla="*/ 2 h 25"/>
                <a:gd name="T10" fmla="*/ 15 w 48"/>
                <a:gd name="T11" fmla="*/ 3 h 25"/>
                <a:gd name="T12" fmla="*/ 14 w 48"/>
                <a:gd name="T13" fmla="*/ 3 h 25"/>
                <a:gd name="T14" fmla="*/ 13 w 48"/>
                <a:gd name="T15" fmla="*/ 3 h 25"/>
                <a:gd name="T16" fmla="*/ 12 w 48"/>
                <a:gd name="T17" fmla="*/ 3 h 25"/>
                <a:gd name="T18" fmla="*/ 11 w 48"/>
                <a:gd name="T19" fmla="*/ 7 h 25"/>
                <a:gd name="T20" fmla="*/ 9 w 48"/>
                <a:gd name="T21" fmla="*/ 3 h 25"/>
                <a:gd name="T22" fmla="*/ 0 w 48"/>
                <a:gd name="T23" fmla="*/ 7 h 25"/>
                <a:gd name="T24" fmla="*/ 12 w 48"/>
                <a:gd name="T25" fmla="*/ 8 h 25"/>
                <a:gd name="T26" fmla="*/ 6 w 48"/>
                <a:gd name="T27" fmla="*/ 12 h 25"/>
                <a:gd name="T28" fmla="*/ 15 w 48"/>
                <a:gd name="T29" fmla="*/ 15 h 25"/>
                <a:gd name="T30" fmla="*/ 17 w 48"/>
                <a:gd name="T31" fmla="*/ 15 h 25"/>
                <a:gd name="T32" fmla="*/ 18 w 48"/>
                <a:gd name="T33" fmla="*/ 15 h 25"/>
                <a:gd name="T34" fmla="*/ 13 w 48"/>
                <a:gd name="T35" fmla="*/ 10 h 25"/>
                <a:gd name="T36" fmla="*/ 16 w 48"/>
                <a:gd name="T37" fmla="*/ 7 h 25"/>
                <a:gd name="T38" fmla="*/ 22 w 48"/>
                <a:gd name="T39" fmla="*/ 8 h 25"/>
                <a:gd name="T40" fmla="*/ 28 w 48"/>
                <a:gd name="T41" fmla="*/ 8 h 25"/>
                <a:gd name="T42" fmla="*/ 29 w 48"/>
                <a:gd name="T43" fmla="*/ 13 h 25"/>
                <a:gd name="T44" fmla="*/ 27 w 48"/>
                <a:gd name="T45" fmla="*/ 17 h 25"/>
                <a:gd name="T46" fmla="*/ 33 w 48"/>
                <a:gd name="T47" fmla="*/ 16 h 25"/>
                <a:gd name="T48" fmla="*/ 45 w 48"/>
                <a:gd name="T49" fmla="*/ 25 h 25"/>
                <a:gd name="T50" fmla="*/ 45 w 48"/>
                <a:gd name="T51" fmla="*/ 20 h 25"/>
                <a:gd name="T52" fmla="*/ 43 w 48"/>
                <a:gd name="T53" fmla="*/ 17 h 25"/>
                <a:gd name="T54" fmla="*/ 37 w 48"/>
                <a:gd name="T55" fmla="*/ 13 h 25"/>
                <a:gd name="T56" fmla="*/ 33 w 48"/>
                <a:gd name="T57" fmla="*/ 14 h 25"/>
                <a:gd name="T58" fmla="*/ 39 w 48"/>
                <a:gd name="T59" fmla="*/ 12 h 25"/>
                <a:gd name="T60" fmla="*/ 35 w 48"/>
                <a:gd name="T61" fmla="*/ 8 h 25"/>
                <a:gd name="T62" fmla="*/ 24 w 48"/>
                <a:gd name="T63" fmla="*/ 4 h 25"/>
                <a:gd name="T64" fmla="*/ 33 w 48"/>
                <a:gd name="T65" fmla="*/ 5 h 25"/>
                <a:gd name="T66" fmla="*/ 37 w 48"/>
                <a:gd name="T67" fmla="*/ 4 h 25"/>
                <a:gd name="T68" fmla="*/ 39 w 48"/>
                <a:gd name="T69"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 h="25">
                  <a:moveTo>
                    <a:pt x="23" y="4"/>
                  </a:moveTo>
                  <a:cubicBezTo>
                    <a:pt x="23" y="4"/>
                    <a:pt x="23" y="4"/>
                    <a:pt x="23" y="4"/>
                  </a:cubicBezTo>
                  <a:cubicBezTo>
                    <a:pt x="23" y="4"/>
                    <a:pt x="23" y="4"/>
                    <a:pt x="23" y="4"/>
                  </a:cubicBezTo>
                  <a:moveTo>
                    <a:pt x="35" y="0"/>
                  </a:moveTo>
                  <a:cubicBezTo>
                    <a:pt x="34" y="0"/>
                    <a:pt x="33" y="0"/>
                    <a:pt x="33" y="0"/>
                  </a:cubicBezTo>
                  <a:cubicBezTo>
                    <a:pt x="30" y="0"/>
                    <a:pt x="27" y="1"/>
                    <a:pt x="24" y="1"/>
                  </a:cubicBezTo>
                  <a:cubicBezTo>
                    <a:pt x="24" y="1"/>
                    <a:pt x="23" y="1"/>
                    <a:pt x="23" y="1"/>
                  </a:cubicBezTo>
                  <a:cubicBezTo>
                    <a:pt x="23" y="1"/>
                    <a:pt x="22" y="1"/>
                    <a:pt x="22" y="1"/>
                  </a:cubicBezTo>
                  <a:cubicBezTo>
                    <a:pt x="22" y="1"/>
                    <a:pt x="21" y="1"/>
                    <a:pt x="21" y="1"/>
                  </a:cubicBezTo>
                  <a:cubicBezTo>
                    <a:pt x="19" y="1"/>
                    <a:pt x="18" y="1"/>
                    <a:pt x="17" y="2"/>
                  </a:cubicBezTo>
                  <a:cubicBezTo>
                    <a:pt x="16" y="2"/>
                    <a:pt x="16" y="3"/>
                    <a:pt x="15" y="3"/>
                  </a:cubicBezTo>
                  <a:cubicBezTo>
                    <a:pt x="15" y="3"/>
                    <a:pt x="15" y="3"/>
                    <a:pt x="15" y="3"/>
                  </a:cubicBezTo>
                  <a:cubicBezTo>
                    <a:pt x="15" y="3"/>
                    <a:pt x="15" y="3"/>
                    <a:pt x="14" y="3"/>
                  </a:cubicBezTo>
                  <a:cubicBezTo>
                    <a:pt x="14" y="3"/>
                    <a:pt x="14" y="3"/>
                    <a:pt x="14" y="3"/>
                  </a:cubicBezTo>
                  <a:cubicBezTo>
                    <a:pt x="14" y="3"/>
                    <a:pt x="14" y="3"/>
                    <a:pt x="14" y="3"/>
                  </a:cubicBezTo>
                  <a:cubicBezTo>
                    <a:pt x="14" y="3"/>
                    <a:pt x="14" y="3"/>
                    <a:pt x="13" y="3"/>
                  </a:cubicBezTo>
                  <a:cubicBezTo>
                    <a:pt x="13" y="3"/>
                    <a:pt x="13" y="3"/>
                    <a:pt x="13" y="3"/>
                  </a:cubicBezTo>
                  <a:cubicBezTo>
                    <a:pt x="13" y="3"/>
                    <a:pt x="13" y="3"/>
                    <a:pt x="12" y="3"/>
                  </a:cubicBezTo>
                  <a:cubicBezTo>
                    <a:pt x="12" y="3"/>
                    <a:pt x="12" y="3"/>
                    <a:pt x="12" y="3"/>
                  </a:cubicBezTo>
                  <a:cubicBezTo>
                    <a:pt x="11" y="4"/>
                    <a:pt x="11" y="6"/>
                    <a:pt x="11" y="7"/>
                  </a:cubicBezTo>
                  <a:cubicBezTo>
                    <a:pt x="11" y="5"/>
                    <a:pt x="11" y="4"/>
                    <a:pt x="10" y="3"/>
                  </a:cubicBezTo>
                  <a:cubicBezTo>
                    <a:pt x="10" y="3"/>
                    <a:pt x="9" y="3"/>
                    <a:pt x="9" y="3"/>
                  </a:cubicBezTo>
                  <a:cubicBezTo>
                    <a:pt x="9" y="3"/>
                    <a:pt x="6" y="4"/>
                    <a:pt x="6" y="4"/>
                  </a:cubicBezTo>
                  <a:cubicBezTo>
                    <a:pt x="3" y="4"/>
                    <a:pt x="2" y="6"/>
                    <a:pt x="0" y="7"/>
                  </a:cubicBezTo>
                  <a:cubicBezTo>
                    <a:pt x="3" y="7"/>
                    <a:pt x="6" y="8"/>
                    <a:pt x="9" y="8"/>
                  </a:cubicBezTo>
                  <a:cubicBezTo>
                    <a:pt x="10" y="8"/>
                    <a:pt x="11" y="8"/>
                    <a:pt x="12" y="8"/>
                  </a:cubicBezTo>
                  <a:cubicBezTo>
                    <a:pt x="11" y="9"/>
                    <a:pt x="8" y="9"/>
                    <a:pt x="9" y="11"/>
                  </a:cubicBezTo>
                  <a:cubicBezTo>
                    <a:pt x="8" y="11"/>
                    <a:pt x="7" y="11"/>
                    <a:pt x="6" y="12"/>
                  </a:cubicBezTo>
                  <a:cubicBezTo>
                    <a:pt x="8" y="13"/>
                    <a:pt x="14" y="15"/>
                    <a:pt x="14" y="18"/>
                  </a:cubicBezTo>
                  <a:cubicBezTo>
                    <a:pt x="14" y="17"/>
                    <a:pt x="15" y="15"/>
                    <a:pt x="15" y="15"/>
                  </a:cubicBezTo>
                  <a:cubicBezTo>
                    <a:pt x="15" y="15"/>
                    <a:pt x="15" y="15"/>
                    <a:pt x="16" y="15"/>
                  </a:cubicBezTo>
                  <a:cubicBezTo>
                    <a:pt x="16" y="15"/>
                    <a:pt x="16" y="15"/>
                    <a:pt x="17" y="15"/>
                  </a:cubicBezTo>
                  <a:cubicBezTo>
                    <a:pt x="17" y="15"/>
                    <a:pt x="17" y="15"/>
                    <a:pt x="17" y="15"/>
                  </a:cubicBezTo>
                  <a:cubicBezTo>
                    <a:pt x="18" y="15"/>
                    <a:pt x="18" y="15"/>
                    <a:pt x="18" y="15"/>
                  </a:cubicBezTo>
                  <a:cubicBezTo>
                    <a:pt x="19" y="13"/>
                    <a:pt x="16" y="14"/>
                    <a:pt x="17" y="13"/>
                  </a:cubicBezTo>
                  <a:cubicBezTo>
                    <a:pt x="16" y="12"/>
                    <a:pt x="13" y="11"/>
                    <a:pt x="13" y="10"/>
                  </a:cubicBezTo>
                  <a:cubicBezTo>
                    <a:pt x="15" y="10"/>
                    <a:pt x="16" y="10"/>
                    <a:pt x="18" y="9"/>
                  </a:cubicBezTo>
                  <a:cubicBezTo>
                    <a:pt x="18" y="8"/>
                    <a:pt x="17" y="7"/>
                    <a:pt x="16" y="7"/>
                  </a:cubicBezTo>
                  <a:cubicBezTo>
                    <a:pt x="17" y="7"/>
                    <a:pt x="17" y="7"/>
                    <a:pt x="18" y="7"/>
                  </a:cubicBezTo>
                  <a:cubicBezTo>
                    <a:pt x="19" y="7"/>
                    <a:pt x="21" y="7"/>
                    <a:pt x="22" y="8"/>
                  </a:cubicBezTo>
                  <a:cubicBezTo>
                    <a:pt x="24" y="8"/>
                    <a:pt x="25" y="9"/>
                    <a:pt x="26" y="9"/>
                  </a:cubicBezTo>
                  <a:cubicBezTo>
                    <a:pt x="27" y="9"/>
                    <a:pt x="28" y="9"/>
                    <a:pt x="28" y="8"/>
                  </a:cubicBezTo>
                  <a:cubicBezTo>
                    <a:pt x="28" y="10"/>
                    <a:pt x="26" y="13"/>
                    <a:pt x="25" y="14"/>
                  </a:cubicBezTo>
                  <a:cubicBezTo>
                    <a:pt x="26" y="14"/>
                    <a:pt x="28" y="13"/>
                    <a:pt x="29" y="13"/>
                  </a:cubicBezTo>
                  <a:cubicBezTo>
                    <a:pt x="29" y="13"/>
                    <a:pt x="25" y="15"/>
                    <a:pt x="25" y="15"/>
                  </a:cubicBezTo>
                  <a:cubicBezTo>
                    <a:pt x="25" y="17"/>
                    <a:pt x="26" y="17"/>
                    <a:pt x="27" y="17"/>
                  </a:cubicBezTo>
                  <a:cubicBezTo>
                    <a:pt x="28" y="17"/>
                    <a:pt x="29" y="17"/>
                    <a:pt x="30" y="17"/>
                  </a:cubicBezTo>
                  <a:cubicBezTo>
                    <a:pt x="32" y="17"/>
                    <a:pt x="33" y="16"/>
                    <a:pt x="33" y="16"/>
                  </a:cubicBezTo>
                  <a:cubicBezTo>
                    <a:pt x="34" y="16"/>
                    <a:pt x="35" y="16"/>
                    <a:pt x="36" y="17"/>
                  </a:cubicBezTo>
                  <a:cubicBezTo>
                    <a:pt x="39" y="19"/>
                    <a:pt x="42" y="23"/>
                    <a:pt x="45" y="25"/>
                  </a:cubicBezTo>
                  <a:cubicBezTo>
                    <a:pt x="47" y="25"/>
                    <a:pt x="48" y="24"/>
                    <a:pt x="47" y="22"/>
                  </a:cubicBezTo>
                  <a:cubicBezTo>
                    <a:pt x="47" y="21"/>
                    <a:pt x="46" y="21"/>
                    <a:pt x="45" y="20"/>
                  </a:cubicBezTo>
                  <a:cubicBezTo>
                    <a:pt x="45" y="18"/>
                    <a:pt x="46" y="17"/>
                    <a:pt x="45" y="17"/>
                  </a:cubicBezTo>
                  <a:cubicBezTo>
                    <a:pt x="44" y="17"/>
                    <a:pt x="44" y="17"/>
                    <a:pt x="43" y="17"/>
                  </a:cubicBezTo>
                  <a:cubicBezTo>
                    <a:pt x="45" y="14"/>
                    <a:pt x="40" y="15"/>
                    <a:pt x="39" y="14"/>
                  </a:cubicBezTo>
                  <a:cubicBezTo>
                    <a:pt x="39" y="14"/>
                    <a:pt x="38" y="13"/>
                    <a:pt x="37" y="13"/>
                  </a:cubicBezTo>
                  <a:cubicBezTo>
                    <a:pt x="37" y="13"/>
                    <a:pt x="37" y="13"/>
                    <a:pt x="37" y="13"/>
                  </a:cubicBezTo>
                  <a:cubicBezTo>
                    <a:pt x="36" y="13"/>
                    <a:pt x="34" y="13"/>
                    <a:pt x="33" y="14"/>
                  </a:cubicBezTo>
                  <a:cubicBezTo>
                    <a:pt x="33" y="12"/>
                    <a:pt x="32" y="13"/>
                    <a:pt x="32" y="11"/>
                  </a:cubicBezTo>
                  <a:cubicBezTo>
                    <a:pt x="33" y="11"/>
                    <a:pt x="36" y="12"/>
                    <a:pt x="39" y="12"/>
                  </a:cubicBezTo>
                  <a:cubicBezTo>
                    <a:pt x="40" y="12"/>
                    <a:pt x="41" y="12"/>
                    <a:pt x="42" y="11"/>
                  </a:cubicBezTo>
                  <a:cubicBezTo>
                    <a:pt x="43" y="10"/>
                    <a:pt x="37" y="8"/>
                    <a:pt x="35" y="8"/>
                  </a:cubicBezTo>
                  <a:cubicBezTo>
                    <a:pt x="33" y="8"/>
                    <a:pt x="30" y="8"/>
                    <a:pt x="28" y="7"/>
                  </a:cubicBezTo>
                  <a:cubicBezTo>
                    <a:pt x="26" y="6"/>
                    <a:pt x="25" y="5"/>
                    <a:pt x="24" y="4"/>
                  </a:cubicBezTo>
                  <a:cubicBezTo>
                    <a:pt x="26" y="5"/>
                    <a:pt x="31" y="7"/>
                    <a:pt x="33" y="7"/>
                  </a:cubicBezTo>
                  <a:cubicBezTo>
                    <a:pt x="34" y="7"/>
                    <a:pt x="35" y="6"/>
                    <a:pt x="33" y="5"/>
                  </a:cubicBezTo>
                  <a:cubicBezTo>
                    <a:pt x="34" y="5"/>
                    <a:pt x="35" y="5"/>
                    <a:pt x="36" y="5"/>
                  </a:cubicBezTo>
                  <a:cubicBezTo>
                    <a:pt x="37" y="5"/>
                    <a:pt x="37" y="5"/>
                    <a:pt x="37" y="4"/>
                  </a:cubicBezTo>
                  <a:cubicBezTo>
                    <a:pt x="38" y="4"/>
                    <a:pt x="38" y="4"/>
                    <a:pt x="39" y="4"/>
                  </a:cubicBezTo>
                  <a:cubicBezTo>
                    <a:pt x="39" y="4"/>
                    <a:pt x="40" y="4"/>
                    <a:pt x="39" y="2"/>
                  </a:cubicBezTo>
                  <a:cubicBezTo>
                    <a:pt x="39" y="0"/>
                    <a:pt x="36" y="0"/>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7" name="Freeform 157">
              <a:extLst>
                <a:ext uri="{FF2B5EF4-FFF2-40B4-BE49-F238E27FC236}">
                  <a16:creationId xmlns:a16="http://schemas.microsoft.com/office/drawing/2014/main" id="{B1C46567-4476-48EE-89E5-F3153C8F36DC}"/>
                </a:ext>
              </a:extLst>
            </p:cNvPr>
            <p:cNvSpPr>
              <a:spLocks/>
            </p:cNvSpPr>
            <p:nvPr/>
          </p:nvSpPr>
          <p:spPr bwMode="auto">
            <a:xfrm>
              <a:off x="7964695" y="6283205"/>
              <a:ext cx="33894" cy="33895"/>
            </a:xfrm>
            <a:custGeom>
              <a:avLst/>
              <a:gdLst>
                <a:gd name="T0" fmla="*/ 4 w 10"/>
                <a:gd name="T1" fmla="*/ 0 h 10"/>
                <a:gd name="T2" fmla="*/ 3 w 10"/>
                <a:gd name="T3" fmla="*/ 0 h 10"/>
                <a:gd name="T4" fmla="*/ 1 w 10"/>
                <a:gd name="T5" fmla="*/ 3 h 10"/>
                <a:gd name="T6" fmla="*/ 4 w 10"/>
                <a:gd name="T7" fmla="*/ 10 h 10"/>
                <a:gd name="T8" fmla="*/ 5 w 10"/>
                <a:gd name="T9" fmla="*/ 6 h 10"/>
                <a:gd name="T10" fmla="*/ 4 w 10"/>
                <a:gd name="T11" fmla="*/ 3 h 10"/>
                <a:gd name="T12" fmla="*/ 7 w 10"/>
                <a:gd name="T13" fmla="*/ 4 h 10"/>
                <a:gd name="T14" fmla="*/ 7 w 10"/>
                <a:gd name="T15" fmla="*/ 3 h 10"/>
                <a:gd name="T16" fmla="*/ 7 w 10"/>
                <a:gd name="T17" fmla="*/ 3 h 10"/>
                <a:gd name="T18" fmla="*/ 10 w 10"/>
                <a:gd name="T19" fmla="*/ 1 h 10"/>
                <a:gd name="T20" fmla="*/ 4 w 10"/>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0">
                  <a:moveTo>
                    <a:pt x="4" y="0"/>
                  </a:moveTo>
                  <a:cubicBezTo>
                    <a:pt x="4" y="0"/>
                    <a:pt x="3" y="0"/>
                    <a:pt x="3" y="0"/>
                  </a:cubicBezTo>
                  <a:cubicBezTo>
                    <a:pt x="2" y="0"/>
                    <a:pt x="1" y="0"/>
                    <a:pt x="1" y="3"/>
                  </a:cubicBezTo>
                  <a:cubicBezTo>
                    <a:pt x="0" y="7"/>
                    <a:pt x="1" y="7"/>
                    <a:pt x="4" y="10"/>
                  </a:cubicBezTo>
                  <a:cubicBezTo>
                    <a:pt x="5" y="8"/>
                    <a:pt x="6" y="6"/>
                    <a:pt x="5" y="6"/>
                  </a:cubicBezTo>
                  <a:cubicBezTo>
                    <a:pt x="7" y="5"/>
                    <a:pt x="3" y="3"/>
                    <a:pt x="4" y="3"/>
                  </a:cubicBezTo>
                  <a:cubicBezTo>
                    <a:pt x="4" y="3"/>
                    <a:pt x="5" y="3"/>
                    <a:pt x="7" y="4"/>
                  </a:cubicBezTo>
                  <a:cubicBezTo>
                    <a:pt x="7" y="3"/>
                    <a:pt x="7" y="3"/>
                    <a:pt x="7" y="3"/>
                  </a:cubicBezTo>
                  <a:cubicBezTo>
                    <a:pt x="7" y="3"/>
                    <a:pt x="7" y="3"/>
                    <a:pt x="7" y="3"/>
                  </a:cubicBezTo>
                  <a:cubicBezTo>
                    <a:pt x="8" y="3"/>
                    <a:pt x="9" y="2"/>
                    <a:pt x="10" y="1"/>
                  </a:cubicBezTo>
                  <a:cubicBezTo>
                    <a:pt x="7"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8" name="Freeform 158">
              <a:extLst>
                <a:ext uri="{FF2B5EF4-FFF2-40B4-BE49-F238E27FC236}">
                  <a16:creationId xmlns:a16="http://schemas.microsoft.com/office/drawing/2014/main" id="{C1F783BB-71F4-432B-B53F-A6345AACB124}"/>
                </a:ext>
              </a:extLst>
            </p:cNvPr>
            <p:cNvSpPr>
              <a:spLocks/>
            </p:cNvSpPr>
            <p:nvPr/>
          </p:nvSpPr>
          <p:spPr bwMode="auto">
            <a:xfrm>
              <a:off x="7998589" y="5722532"/>
              <a:ext cx="2825" cy="14123"/>
            </a:xfrm>
            <a:custGeom>
              <a:avLst/>
              <a:gdLst>
                <a:gd name="T0" fmla="*/ 0 w 1"/>
                <a:gd name="T1" fmla="*/ 0 h 4"/>
                <a:gd name="T2" fmla="*/ 0 w 1"/>
                <a:gd name="T3" fmla="*/ 4 h 4"/>
                <a:gd name="T4" fmla="*/ 0 w 1"/>
                <a:gd name="T5" fmla="*/ 0 h 4"/>
              </a:gdLst>
              <a:ahLst/>
              <a:cxnLst>
                <a:cxn ang="0">
                  <a:pos x="T0" y="T1"/>
                </a:cxn>
                <a:cxn ang="0">
                  <a:pos x="T2" y="T3"/>
                </a:cxn>
                <a:cxn ang="0">
                  <a:pos x="T4" y="T5"/>
                </a:cxn>
              </a:cxnLst>
              <a:rect l="0" t="0" r="r" b="b"/>
              <a:pathLst>
                <a:path w="1" h="4">
                  <a:moveTo>
                    <a:pt x="0" y="0"/>
                  </a:moveTo>
                  <a:cubicBezTo>
                    <a:pt x="0" y="2"/>
                    <a:pt x="0" y="3"/>
                    <a:pt x="0" y="4"/>
                  </a:cubicBezTo>
                  <a:cubicBezTo>
                    <a:pt x="1"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9" name="Freeform 159">
              <a:extLst>
                <a:ext uri="{FF2B5EF4-FFF2-40B4-BE49-F238E27FC236}">
                  <a16:creationId xmlns:a16="http://schemas.microsoft.com/office/drawing/2014/main" id="{6341918C-E62E-4637-A996-E71DE683CC3C}"/>
                </a:ext>
              </a:extLst>
            </p:cNvPr>
            <p:cNvSpPr>
              <a:spLocks/>
            </p:cNvSpPr>
            <p:nvPr/>
          </p:nvSpPr>
          <p:spPr bwMode="auto">
            <a:xfrm>
              <a:off x="8118632" y="5685813"/>
              <a:ext cx="63552" cy="53666"/>
            </a:xfrm>
            <a:custGeom>
              <a:avLst/>
              <a:gdLst>
                <a:gd name="T0" fmla="*/ 12 w 19"/>
                <a:gd name="T1" fmla="*/ 0 h 16"/>
                <a:gd name="T2" fmla="*/ 8 w 19"/>
                <a:gd name="T3" fmla="*/ 1 h 16"/>
                <a:gd name="T4" fmla="*/ 8 w 19"/>
                <a:gd name="T5" fmla="*/ 1 h 16"/>
                <a:gd name="T6" fmla="*/ 8 w 19"/>
                <a:gd name="T7" fmla="*/ 1 h 16"/>
                <a:gd name="T8" fmla="*/ 7 w 19"/>
                <a:gd name="T9" fmla="*/ 1 h 16"/>
                <a:gd name="T10" fmla="*/ 7 w 19"/>
                <a:gd name="T11" fmla="*/ 1 h 16"/>
                <a:gd name="T12" fmla="*/ 9 w 19"/>
                <a:gd name="T13" fmla="*/ 5 h 16"/>
                <a:gd name="T14" fmla="*/ 8 w 19"/>
                <a:gd name="T15" fmla="*/ 4 h 16"/>
                <a:gd name="T16" fmla="*/ 5 w 19"/>
                <a:gd name="T17" fmla="*/ 6 h 16"/>
                <a:gd name="T18" fmla="*/ 3 w 19"/>
                <a:gd name="T19" fmla="*/ 6 h 16"/>
                <a:gd name="T20" fmla="*/ 3 w 19"/>
                <a:gd name="T21" fmla="*/ 6 h 16"/>
                <a:gd name="T22" fmla="*/ 7 w 19"/>
                <a:gd name="T23" fmla="*/ 12 h 16"/>
                <a:gd name="T24" fmla="*/ 6 w 19"/>
                <a:gd name="T25" fmla="*/ 12 h 16"/>
                <a:gd name="T26" fmla="*/ 3 w 19"/>
                <a:gd name="T27" fmla="*/ 12 h 16"/>
                <a:gd name="T28" fmla="*/ 6 w 19"/>
                <a:gd name="T29" fmla="*/ 16 h 16"/>
                <a:gd name="T30" fmla="*/ 13 w 19"/>
                <a:gd name="T31" fmla="*/ 12 h 16"/>
                <a:gd name="T32" fmla="*/ 15 w 19"/>
                <a:gd name="T33" fmla="*/ 10 h 16"/>
                <a:gd name="T34" fmla="*/ 13 w 19"/>
                <a:gd name="T35" fmla="*/ 7 h 16"/>
                <a:gd name="T36" fmla="*/ 16 w 19"/>
                <a:gd name="T37" fmla="*/ 7 h 16"/>
                <a:gd name="T38" fmla="*/ 18 w 19"/>
                <a:gd name="T39" fmla="*/ 5 h 16"/>
                <a:gd name="T40" fmla="*/ 16 w 19"/>
                <a:gd name="T41" fmla="*/ 2 h 16"/>
                <a:gd name="T42" fmla="*/ 13 w 19"/>
                <a:gd name="T43" fmla="*/ 3 h 16"/>
                <a:gd name="T44" fmla="*/ 12 w 19"/>
                <a:gd name="T45" fmla="*/ 0 h 16"/>
                <a:gd name="T46" fmla="*/ 12 w 19"/>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16">
                  <a:moveTo>
                    <a:pt x="12" y="0"/>
                  </a:moveTo>
                  <a:cubicBezTo>
                    <a:pt x="11" y="0"/>
                    <a:pt x="8" y="1"/>
                    <a:pt x="8" y="1"/>
                  </a:cubicBezTo>
                  <a:cubicBezTo>
                    <a:pt x="8" y="1"/>
                    <a:pt x="8" y="1"/>
                    <a:pt x="8" y="1"/>
                  </a:cubicBezTo>
                  <a:cubicBezTo>
                    <a:pt x="8" y="1"/>
                    <a:pt x="8" y="1"/>
                    <a:pt x="8" y="1"/>
                  </a:cubicBezTo>
                  <a:cubicBezTo>
                    <a:pt x="8" y="1"/>
                    <a:pt x="8" y="1"/>
                    <a:pt x="7" y="1"/>
                  </a:cubicBezTo>
                  <a:cubicBezTo>
                    <a:pt x="7" y="1"/>
                    <a:pt x="7" y="1"/>
                    <a:pt x="7" y="1"/>
                  </a:cubicBezTo>
                  <a:cubicBezTo>
                    <a:pt x="7" y="2"/>
                    <a:pt x="9" y="4"/>
                    <a:pt x="9" y="5"/>
                  </a:cubicBezTo>
                  <a:cubicBezTo>
                    <a:pt x="8" y="4"/>
                    <a:pt x="8" y="4"/>
                    <a:pt x="8" y="4"/>
                  </a:cubicBezTo>
                  <a:cubicBezTo>
                    <a:pt x="6" y="4"/>
                    <a:pt x="7" y="5"/>
                    <a:pt x="5" y="6"/>
                  </a:cubicBezTo>
                  <a:cubicBezTo>
                    <a:pt x="5" y="6"/>
                    <a:pt x="4" y="6"/>
                    <a:pt x="3" y="6"/>
                  </a:cubicBezTo>
                  <a:cubicBezTo>
                    <a:pt x="3" y="6"/>
                    <a:pt x="3" y="6"/>
                    <a:pt x="3" y="6"/>
                  </a:cubicBezTo>
                  <a:cubicBezTo>
                    <a:pt x="0" y="8"/>
                    <a:pt x="5" y="10"/>
                    <a:pt x="7" y="12"/>
                  </a:cubicBezTo>
                  <a:cubicBezTo>
                    <a:pt x="7" y="12"/>
                    <a:pt x="7" y="12"/>
                    <a:pt x="6" y="12"/>
                  </a:cubicBezTo>
                  <a:cubicBezTo>
                    <a:pt x="5" y="12"/>
                    <a:pt x="4" y="12"/>
                    <a:pt x="3" y="12"/>
                  </a:cubicBezTo>
                  <a:cubicBezTo>
                    <a:pt x="4" y="14"/>
                    <a:pt x="5" y="15"/>
                    <a:pt x="6" y="16"/>
                  </a:cubicBezTo>
                  <a:cubicBezTo>
                    <a:pt x="9" y="15"/>
                    <a:pt x="10" y="14"/>
                    <a:pt x="13" y="12"/>
                  </a:cubicBezTo>
                  <a:cubicBezTo>
                    <a:pt x="13" y="11"/>
                    <a:pt x="15" y="11"/>
                    <a:pt x="15" y="10"/>
                  </a:cubicBezTo>
                  <a:cubicBezTo>
                    <a:pt x="17" y="8"/>
                    <a:pt x="14" y="8"/>
                    <a:pt x="13" y="7"/>
                  </a:cubicBezTo>
                  <a:cubicBezTo>
                    <a:pt x="14" y="7"/>
                    <a:pt x="15" y="7"/>
                    <a:pt x="16" y="7"/>
                  </a:cubicBezTo>
                  <a:cubicBezTo>
                    <a:pt x="17" y="7"/>
                    <a:pt x="17" y="7"/>
                    <a:pt x="18" y="5"/>
                  </a:cubicBezTo>
                  <a:cubicBezTo>
                    <a:pt x="19" y="3"/>
                    <a:pt x="17" y="2"/>
                    <a:pt x="16" y="2"/>
                  </a:cubicBezTo>
                  <a:cubicBezTo>
                    <a:pt x="15" y="2"/>
                    <a:pt x="14" y="2"/>
                    <a:pt x="13" y="3"/>
                  </a:cubicBezTo>
                  <a:cubicBezTo>
                    <a:pt x="14" y="2"/>
                    <a:pt x="14" y="0"/>
                    <a:pt x="12" y="0"/>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0" name="Freeform 160">
              <a:extLst>
                <a:ext uri="{FF2B5EF4-FFF2-40B4-BE49-F238E27FC236}">
                  <a16:creationId xmlns:a16="http://schemas.microsoft.com/office/drawing/2014/main" id="{56DEE36F-85E5-445D-86C7-C213C5AA86AF}"/>
                </a:ext>
              </a:extLst>
            </p:cNvPr>
            <p:cNvSpPr>
              <a:spLocks/>
            </p:cNvSpPr>
            <p:nvPr/>
          </p:nvSpPr>
          <p:spPr bwMode="auto">
            <a:xfrm>
              <a:off x="7998589" y="6403248"/>
              <a:ext cx="24009" cy="50842"/>
            </a:xfrm>
            <a:custGeom>
              <a:avLst/>
              <a:gdLst>
                <a:gd name="T0" fmla="*/ 5 w 7"/>
                <a:gd name="T1" fmla="*/ 0 h 15"/>
                <a:gd name="T2" fmla="*/ 4 w 7"/>
                <a:gd name="T3" fmla="*/ 0 h 15"/>
                <a:gd name="T4" fmla="*/ 5 w 7"/>
                <a:gd name="T5" fmla="*/ 6 h 15"/>
                <a:gd name="T6" fmla="*/ 3 w 7"/>
                <a:gd name="T7" fmla="*/ 5 h 15"/>
                <a:gd name="T8" fmla="*/ 1 w 7"/>
                <a:gd name="T9" fmla="*/ 8 h 15"/>
                <a:gd name="T10" fmla="*/ 3 w 7"/>
                <a:gd name="T11" fmla="*/ 15 h 15"/>
                <a:gd name="T12" fmla="*/ 7 w 7"/>
                <a:gd name="T13" fmla="*/ 5 h 15"/>
                <a:gd name="T14" fmla="*/ 7 w 7"/>
                <a:gd name="T15" fmla="*/ 1 h 15"/>
                <a:gd name="T16" fmla="*/ 5 w 7"/>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5">
                  <a:moveTo>
                    <a:pt x="5" y="0"/>
                  </a:moveTo>
                  <a:cubicBezTo>
                    <a:pt x="5" y="0"/>
                    <a:pt x="5" y="0"/>
                    <a:pt x="4" y="0"/>
                  </a:cubicBezTo>
                  <a:cubicBezTo>
                    <a:pt x="3" y="0"/>
                    <a:pt x="5" y="5"/>
                    <a:pt x="5" y="6"/>
                  </a:cubicBezTo>
                  <a:cubicBezTo>
                    <a:pt x="4" y="6"/>
                    <a:pt x="4" y="5"/>
                    <a:pt x="3" y="5"/>
                  </a:cubicBezTo>
                  <a:cubicBezTo>
                    <a:pt x="2" y="5"/>
                    <a:pt x="2" y="7"/>
                    <a:pt x="1" y="8"/>
                  </a:cubicBezTo>
                  <a:cubicBezTo>
                    <a:pt x="0" y="11"/>
                    <a:pt x="1" y="12"/>
                    <a:pt x="3" y="15"/>
                  </a:cubicBezTo>
                  <a:cubicBezTo>
                    <a:pt x="5" y="13"/>
                    <a:pt x="6" y="8"/>
                    <a:pt x="7" y="5"/>
                  </a:cubicBezTo>
                  <a:cubicBezTo>
                    <a:pt x="7" y="4"/>
                    <a:pt x="7" y="2"/>
                    <a:pt x="7" y="1"/>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1" name="Freeform 161">
              <a:extLst>
                <a:ext uri="{FF2B5EF4-FFF2-40B4-BE49-F238E27FC236}">
                  <a16:creationId xmlns:a16="http://schemas.microsoft.com/office/drawing/2014/main" id="{72C58762-4A5A-4A2E-82F7-0464D05CCC76}"/>
                </a:ext>
              </a:extLst>
            </p:cNvPr>
            <p:cNvSpPr>
              <a:spLocks noEditPoints="1"/>
            </p:cNvSpPr>
            <p:nvPr/>
          </p:nvSpPr>
          <p:spPr bwMode="auto">
            <a:xfrm>
              <a:off x="8218904" y="6634861"/>
              <a:ext cx="96034" cy="56491"/>
            </a:xfrm>
            <a:custGeom>
              <a:avLst/>
              <a:gdLst>
                <a:gd name="T0" fmla="*/ 20 w 29"/>
                <a:gd name="T1" fmla="*/ 4 h 17"/>
                <a:gd name="T2" fmla="*/ 20 w 29"/>
                <a:gd name="T3" fmla="*/ 4 h 17"/>
                <a:gd name="T4" fmla="*/ 20 w 29"/>
                <a:gd name="T5" fmla="*/ 4 h 17"/>
                <a:gd name="T6" fmla="*/ 7 w 29"/>
                <a:gd name="T7" fmla="*/ 0 h 17"/>
                <a:gd name="T8" fmla="*/ 7 w 29"/>
                <a:gd name="T9" fmla="*/ 0 h 17"/>
                <a:gd name="T10" fmla="*/ 3 w 29"/>
                <a:gd name="T11" fmla="*/ 4 h 17"/>
                <a:gd name="T12" fmla="*/ 0 w 29"/>
                <a:gd name="T13" fmla="*/ 3 h 17"/>
                <a:gd name="T14" fmla="*/ 0 w 29"/>
                <a:gd name="T15" fmla="*/ 3 h 17"/>
                <a:gd name="T16" fmla="*/ 9 w 29"/>
                <a:gd name="T17" fmla="*/ 16 h 17"/>
                <a:gd name="T18" fmla="*/ 8 w 29"/>
                <a:gd name="T19" fmla="*/ 10 h 17"/>
                <a:gd name="T20" fmla="*/ 7 w 29"/>
                <a:gd name="T21" fmla="*/ 5 h 17"/>
                <a:gd name="T22" fmla="*/ 12 w 29"/>
                <a:gd name="T23" fmla="*/ 10 h 17"/>
                <a:gd name="T24" fmla="*/ 13 w 29"/>
                <a:gd name="T25" fmla="*/ 10 h 17"/>
                <a:gd name="T26" fmla="*/ 13 w 29"/>
                <a:gd name="T27" fmla="*/ 12 h 17"/>
                <a:gd name="T28" fmla="*/ 14 w 29"/>
                <a:gd name="T29" fmla="*/ 12 h 17"/>
                <a:gd name="T30" fmla="*/ 19 w 29"/>
                <a:gd name="T31" fmla="*/ 9 h 17"/>
                <a:gd name="T32" fmla="*/ 26 w 29"/>
                <a:gd name="T33" fmla="*/ 17 h 17"/>
                <a:gd name="T34" fmla="*/ 29 w 29"/>
                <a:gd name="T35" fmla="*/ 10 h 17"/>
                <a:gd name="T36" fmla="*/ 26 w 29"/>
                <a:gd name="T37" fmla="*/ 8 h 17"/>
                <a:gd name="T38" fmla="*/ 23 w 29"/>
                <a:gd name="T39" fmla="*/ 11 h 17"/>
                <a:gd name="T40" fmla="*/ 22 w 29"/>
                <a:gd name="T41" fmla="*/ 8 h 17"/>
                <a:gd name="T42" fmla="*/ 20 w 29"/>
                <a:gd name="T43" fmla="*/ 4 h 17"/>
                <a:gd name="T44" fmla="*/ 20 w 29"/>
                <a:gd name="T45" fmla="*/ 4 h 17"/>
                <a:gd name="T46" fmla="*/ 18 w 29"/>
                <a:gd name="T47" fmla="*/ 4 h 17"/>
                <a:gd name="T48" fmla="*/ 18 w 29"/>
                <a:gd name="T49" fmla="*/ 4 h 17"/>
                <a:gd name="T50" fmla="*/ 18 w 29"/>
                <a:gd name="T51" fmla="*/ 4 h 17"/>
                <a:gd name="T52" fmla="*/ 18 w 29"/>
                <a:gd name="T53" fmla="*/ 4 h 17"/>
                <a:gd name="T54" fmla="*/ 18 w 29"/>
                <a:gd name="T55" fmla="*/ 4 h 17"/>
                <a:gd name="T56" fmla="*/ 17 w 29"/>
                <a:gd name="T57" fmla="*/ 4 h 17"/>
                <a:gd name="T58" fmla="*/ 17 w 29"/>
                <a:gd name="T59" fmla="*/ 4 h 17"/>
                <a:gd name="T60" fmla="*/ 15 w 29"/>
                <a:gd name="T61" fmla="*/ 3 h 17"/>
                <a:gd name="T62" fmla="*/ 14 w 29"/>
                <a:gd name="T63" fmla="*/ 3 h 17"/>
                <a:gd name="T64" fmla="*/ 13 w 29"/>
                <a:gd name="T65" fmla="*/ 7 h 17"/>
                <a:gd name="T66" fmla="*/ 12 w 29"/>
                <a:gd name="T67" fmla="*/ 6 h 17"/>
                <a:gd name="T68" fmla="*/ 13 w 29"/>
                <a:gd name="T69" fmla="*/ 5 h 17"/>
                <a:gd name="T70" fmla="*/ 13 w 29"/>
                <a:gd name="T71" fmla="*/ 3 h 17"/>
                <a:gd name="T72" fmla="*/ 11 w 29"/>
                <a:gd name="T73" fmla="*/ 2 h 17"/>
                <a:gd name="T74" fmla="*/ 9 w 29"/>
                <a:gd name="T75" fmla="*/ 4 h 17"/>
                <a:gd name="T76" fmla="*/ 7 w 29"/>
                <a:gd name="T7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17">
                  <a:moveTo>
                    <a:pt x="20" y="4"/>
                  </a:moveTo>
                  <a:cubicBezTo>
                    <a:pt x="20" y="4"/>
                    <a:pt x="20" y="4"/>
                    <a:pt x="20" y="4"/>
                  </a:cubicBezTo>
                  <a:cubicBezTo>
                    <a:pt x="20" y="4"/>
                    <a:pt x="20" y="4"/>
                    <a:pt x="20" y="4"/>
                  </a:cubicBezTo>
                  <a:moveTo>
                    <a:pt x="7" y="0"/>
                  </a:moveTo>
                  <a:cubicBezTo>
                    <a:pt x="7" y="0"/>
                    <a:pt x="7" y="0"/>
                    <a:pt x="7" y="0"/>
                  </a:cubicBezTo>
                  <a:cubicBezTo>
                    <a:pt x="6" y="0"/>
                    <a:pt x="4" y="4"/>
                    <a:pt x="3" y="4"/>
                  </a:cubicBezTo>
                  <a:cubicBezTo>
                    <a:pt x="3" y="3"/>
                    <a:pt x="2" y="3"/>
                    <a:pt x="0" y="3"/>
                  </a:cubicBezTo>
                  <a:cubicBezTo>
                    <a:pt x="0" y="3"/>
                    <a:pt x="0" y="3"/>
                    <a:pt x="0" y="3"/>
                  </a:cubicBezTo>
                  <a:cubicBezTo>
                    <a:pt x="2" y="7"/>
                    <a:pt x="6" y="12"/>
                    <a:pt x="9" y="16"/>
                  </a:cubicBezTo>
                  <a:cubicBezTo>
                    <a:pt x="11" y="12"/>
                    <a:pt x="11" y="13"/>
                    <a:pt x="8" y="10"/>
                  </a:cubicBezTo>
                  <a:cubicBezTo>
                    <a:pt x="7" y="9"/>
                    <a:pt x="7" y="7"/>
                    <a:pt x="7" y="5"/>
                  </a:cubicBezTo>
                  <a:cubicBezTo>
                    <a:pt x="8" y="6"/>
                    <a:pt x="10" y="10"/>
                    <a:pt x="12" y="10"/>
                  </a:cubicBezTo>
                  <a:cubicBezTo>
                    <a:pt x="12" y="10"/>
                    <a:pt x="12" y="10"/>
                    <a:pt x="13" y="10"/>
                  </a:cubicBezTo>
                  <a:cubicBezTo>
                    <a:pt x="13" y="11"/>
                    <a:pt x="13" y="11"/>
                    <a:pt x="13" y="12"/>
                  </a:cubicBezTo>
                  <a:cubicBezTo>
                    <a:pt x="13" y="12"/>
                    <a:pt x="14" y="12"/>
                    <a:pt x="14" y="12"/>
                  </a:cubicBezTo>
                  <a:cubicBezTo>
                    <a:pt x="16" y="12"/>
                    <a:pt x="18" y="9"/>
                    <a:pt x="19" y="9"/>
                  </a:cubicBezTo>
                  <a:cubicBezTo>
                    <a:pt x="22" y="11"/>
                    <a:pt x="24" y="15"/>
                    <a:pt x="26" y="17"/>
                  </a:cubicBezTo>
                  <a:cubicBezTo>
                    <a:pt x="28" y="15"/>
                    <a:pt x="29" y="13"/>
                    <a:pt x="29" y="10"/>
                  </a:cubicBezTo>
                  <a:cubicBezTo>
                    <a:pt x="28" y="8"/>
                    <a:pt x="27" y="8"/>
                    <a:pt x="26" y="8"/>
                  </a:cubicBezTo>
                  <a:cubicBezTo>
                    <a:pt x="25" y="8"/>
                    <a:pt x="24" y="9"/>
                    <a:pt x="23" y="11"/>
                  </a:cubicBezTo>
                  <a:cubicBezTo>
                    <a:pt x="23" y="10"/>
                    <a:pt x="23" y="9"/>
                    <a:pt x="22" y="8"/>
                  </a:cubicBezTo>
                  <a:cubicBezTo>
                    <a:pt x="24" y="6"/>
                    <a:pt x="21" y="5"/>
                    <a:pt x="20" y="4"/>
                  </a:cubicBezTo>
                  <a:cubicBezTo>
                    <a:pt x="20" y="4"/>
                    <a:pt x="20" y="4"/>
                    <a:pt x="20" y="4"/>
                  </a:cubicBezTo>
                  <a:cubicBezTo>
                    <a:pt x="19" y="4"/>
                    <a:pt x="19" y="4"/>
                    <a:pt x="18" y="4"/>
                  </a:cubicBezTo>
                  <a:cubicBezTo>
                    <a:pt x="18" y="4"/>
                    <a:pt x="18" y="4"/>
                    <a:pt x="18" y="4"/>
                  </a:cubicBezTo>
                  <a:cubicBezTo>
                    <a:pt x="18" y="4"/>
                    <a:pt x="18" y="4"/>
                    <a:pt x="18" y="4"/>
                  </a:cubicBezTo>
                  <a:cubicBezTo>
                    <a:pt x="18" y="4"/>
                    <a:pt x="18" y="4"/>
                    <a:pt x="18" y="4"/>
                  </a:cubicBezTo>
                  <a:cubicBezTo>
                    <a:pt x="18" y="4"/>
                    <a:pt x="18" y="4"/>
                    <a:pt x="18" y="4"/>
                  </a:cubicBezTo>
                  <a:cubicBezTo>
                    <a:pt x="17" y="4"/>
                    <a:pt x="17" y="4"/>
                    <a:pt x="17" y="4"/>
                  </a:cubicBezTo>
                  <a:cubicBezTo>
                    <a:pt x="17" y="4"/>
                    <a:pt x="17" y="4"/>
                    <a:pt x="17" y="4"/>
                  </a:cubicBezTo>
                  <a:cubicBezTo>
                    <a:pt x="17" y="4"/>
                    <a:pt x="16" y="3"/>
                    <a:pt x="15" y="3"/>
                  </a:cubicBezTo>
                  <a:cubicBezTo>
                    <a:pt x="15" y="3"/>
                    <a:pt x="14" y="3"/>
                    <a:pt x="14" y="3"/>
                  </a:cubicBezTo>
                  <a:cubicBezTo>
                    <a:pt x="14" y="4"/>
                    <a:pt x="13" y="6"/>
                    <a:pt x="13" y="7"/>
                  </a:cubicBezTo>
                  <a:cubicBezTo>
                    <a:pt x="12" y="7"/>
                    <a:pt x="12" y="7"/>
                    <a:pt x="12" y="6"/>
                  </a:cubicBezTo>
                  <a:cubicBezTo>
                    <a:pt x="12" y="6"/>
                    <a:pt x="13" y="5"/>
                    <a:pt x="13" y="5"/>
                  </a:cubicBezTo>
                  <a:cubicBezTo>
                    <a:pt x="13" y="4"/>
                    <a:pt x="12" y="4"/>
                    <a:pt x="13" y="3"/>
                  </a:cubicBezTo>
                  <a:cubicBezTo>
                    <a:pt x="12" y="2"/>
                    <a:pt x="11" y="2"/>
                    <a:pt x="11" y="2"/>
                  </a:cubicBezTo>
                  <a:cubicBezTo>
                    <a:pt x="10" y="2"/>
                    <a:pt x="10" y="3"/>
                    <a:pt x="9" y="4"/>
                  </a:cubicBezTo>
                  <a:cubicBezTo>
                    <a:pt x="9" y="3"/>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2" name="Freeform 162">
              <a:extLst>
                <a:ext uri="{FF2B5EF4-FFF2-40B4-BE49-F238E27FC236}">
                  <a16:creationId xmlns:a16="http://schemas.microsoft.com/office/drawing/2014/main" id="{54CF680D-F2DC-4FA2-913B-672A5DA0DC65}"/>
                </a:ext>
              </a:extLst>
            </p:cNvPr>
            <p:cNvSpPr>
              <a:spLocks/>
            </p:cNvSpPr>
            <p:nvPr/>
          </p:nvSpPr>
          <p:spPr bwMode="auto">
            <a:xfrm>
              <a:off x="7954809" y="6197056"/>
              <a:ext cx="36719" cy="29658"/>
            </a:xfrm>
            <a:custGeom>
              <a:avLst/>
              <a:gdLst>
                <a:gd name="T0" fmla="*/ 3 w 11"/>
                <a:gd name="T1" fmla="*/ 0 h 9"/>
                <a:gd name="T2" fmla="*/ 1 w 11"/>
                <a:gd name="T3" fmla="*/ 2 h 9"/>
                <a:gd name="T4" fmla="*/ 2 w 11"/>
                <a:gd name="T5" fmla="*/ 6 h 9"/>
                <a:gd name="T6" fmla="*/ 7 w 11"/>
                <a:gd name="T7" fmla="*/ 5 h 9"/>
                <a:gd name="T8" fmla="*/ 11 w 11"/>
                <a:gd name="T9" fmla="*/ 9 h 9"/>
                <a:gd name="T10" fmla="*/ 6 w 11"/>
                <a:gd name="T11" fmla="*/ 1 h 9"/>
                <a:gd name="T12" fmla="*/ 3 w 11"/>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0"/>
                  </a:moveTo>
                  <a:cubicBezTo>
                    <a:pt x="2" y="0"/>
                    <a:pt x="1" y="1"/>
                    <a:pt x="1" y="2"/>
                  </a:cubicBezTo>
                  <a:cubicBezTo>
                    <a:pt x="0" y="5"/>
                    <a:pt x="1" y="6"/>
                    <a:pt x="2" y="6"/>
                  </a:cubicBezTo>
                  <a:cubicBezTo>
                    <a:pt x="3" y="6"/>
                    <a:pt x="5" y="5"/>
                    <a:pt x="7" y="5"/>
                  </a:cubicBezTo>
                  <a:cubicBezTo>
                    <a:pt x="5" y="9"/>
                    <a:pt x="9" y="8"/>
                    <a:pt x="11" y="9"/>
                  </a:cubicBezTo>
                  <a:cubicBezTo>
                    <a:pt x="9" y="6"/>
                    <a:pt x="7" y="4"/>
                    <a:pt x="6" y="1"/>
                  </a:cubicBezTo>
                  <a:cubicBezTo>
                    <a:pt x="5"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3" name="Freeform 163">
              <a:extLst>
                <a:ext uri="{FF2B5EF4-FFF2-40B4-BE49-F238E27FC236}">
                  <a16:creationId xmlns:a16="http://schemas.microsoft.com/office/drawing/2014/main" id="{C9B11BBB-86A4-4E74-9A8C-82AE4B1F11A8}"/>
                </a:ext>
              </a:extLst>
            </p:cNvPr>
            <p:cNvSpPr>
              <a:spLocks/>
            </p:cNvSpPr>
            <p:nvPr/>
          </p:nvSpPr>
          <p:spPr bwMode="auto">
            <a:xfrm>
              <a:off x="8519717" y="6747843"/>
              <a:ext cx="103096" cy="43780"/>
            </a:xfrm>
            <a:custGeom>
              <a:avLst/>
              <a:gdLst>
                <a:gd name="T0" fmla="*/ 6 w 31"/>
                <a:gd name="T1" fmla="*/ 0 h 13"/>
                <a:gd name="T2" fmla="*/ 0 w 31"/>
                <a:gd name="T3" fmla="*/ 1 h 13"/>
                <a:gd name="T4" fmla="*/ 4 w 31"/>
                <a:gd name="T5" fmla="*/ 4 h 13"/>
                <a:gd name="T6" fmla="*/ 4 w 31"/>
                <a:gd name="T7" fmla="*/ 6 h 13"/>
                <a:gd name="T8" fmla="*/ 5 w 31"/>
                <a:gd name="T9" fmla="*/ 9 h 13"/>
                <a:gd name="T10" fmla="*/ 14 w 31"/>
                <a:gd name="T11" fmla="*/ 11 h 13"/>
                <a:gd name="T12" fmla="*/ 11 w 31"/>
                <a:gd name="T13" fmla="*/ 11 h 13"/>
                <a:gd name="T14" fmla="*/ 14 w 31"/>
                <a:gd name="T15" fmla="*/ 12 h 13"/>
                <a:gd name="T16" fmla="*/ 16 w 31"/>
                <a:gd name="T17" fmla="*/ 11 h 13"/>
                <a:gd name="T18" fmla="*/ 20 w 31"/>
                <a:gd name="T19" fmla="*/ 9 h 13"/>
                <a:gd name="T20" fmla="*/ 21 w 31"/>
                <a:gd name="T21" fmla="*/ 9 h 13"/>
                <a:gd name="T22" fmla="*/ 23 w 31"/>
                <a:gd name="T23" fmla="*/ 13 h 13"/>
                <a:gd name="T24" fmla="*/ 24 w 31"/>
                <a:gd name="T25" fmla="*/ 13 h 13"/>
                <a:gd name="T26" fmla="*/ 30 w 31"/>
                <a:gd name="T27" fmla="*/ 8 h 13"/>
                <a:gd name="T28" fmla="*/ 17 w 31"/>
                <a:gd name="T29" fmla="*/ 1 h 13"/>
                <a:gd name="T30" fmla="*/ 15 w 31"/>
                <a:gd name="T31" fmla="*/ 1 h 13"/>
                <a:gd name="T32" fmla="*/ 8 w 31"/>
                <a:gd name="T33" fmla="*/ 0 h 13"/>
                <a:gd name="T34" fmla="*/ 6 w 31"/>
                <a:gd name="T3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 h="13">
                  <a:moveTo>
                    <a:pt x="6" y="0"/>
                  </a:moveTo>
                  <a:cubicBezTo>
                    <a:pt x="4" y="0"/>
                    <a:pt x="2" y="0"/>
                    <a:pt x="0" y="1"/>
                  </a:cubicBezTo>
                  <a:cubicBezTo>
                    <a:pt x="1" y="2"/>
                    <a:pt x="3" y="3"/>
                    <a:pt x="4" y="4"/>
                  </a:cubicBezTo>
                  <a:cubicBezTo>
                    <a:pt x="4" y="5"/>
                    <a:pt x="4" y="5"/>
                    <a:pt x="4" y="6"/>
                  </a:cubicBezTo>
                  <a:cubicBezTo>
                    <a:pt x="4" y="7"/>
                    <a:pt x="4" y="8"/>
                    <a:pt x="5" y="9"/>
                  </a:cubicBezTo>
                  <a:cubicBezTo>
                    <a:pt x="2" y="11"/>
                    <a:pt x="13" y="10"/>
                    <a:pt x="14" y="11"/>
                  </a:cubicBezTo>
                  <a:cubicBezTo>
                    <a:pt x="13" y="11"/>
                    <a:pt x="12" y="11"/>
                    <a:pt x="11" y="11"/>
                  </a:cubicBezTo>
                  <a:cubicBezTo>
                    <a:pt x="12" y="11"/>
                    <a:pt x="13" y="12"/>
                    <a:pt x="14" y="12"/>
                  </a:cubicBezTo>
                  <a:cubicBezTo>
                    <a:pt x="15" y="12"/>
                    <a:pt x="16" y="12"/>
                    <a:pt x="16" y="11"/>
                  </a:cubicBezTo>
                  <a:cubicBezTo>
                    <a:pt x="17" y="10"/>
                    <a:pt x="18" y="9"/>
                    <a:pt x="20" y="9"/>
                  </a:cubicBezTo>
                  <a:cubicBezTo>
                    <a:pt x="20" y="9"/>
                    <a:pt x="20" y="9"/>
                    <a:pt x="21" y="9"/>
                  </a:cubicBezTo>
                  <a:cubicBezTo>
                    <a:pt x="22" y="10"/>
                    <a:pt x="21" y="13"/>
                    <a:pt x="23" y="13"/>
                  </a:cubicBezTo>
                  <a:cubicBezTo>
                    <a:pt x="24" y="13"/>
                    <a:pt x="24" y="13"/>
                    <a:pt x="24" y="13"/>
                  </a:cubicBezTo>
                  <a:cubicBezTo>
                    <a:pt x="26" y="13"/>
                    <a:pt x="29" y="10"/>
                    <a:pt x="30" y="8"/>
                  </a:cubicBezTo>
                  <a:cubicBezTo>
                    <a:pt x="31" y="3"/>
                    <a:pt x="21" y="2"/>
                    <a:pt x="17" y="1"/>
                  </a:cubicBezTo>
                  <a:cubicBezTo>
                    <a:pt x="17" y="1"/>
                    <a:pt x="16" y="1"/>
                    <a:pt x="15" y="1"/>
                  </a:cubicBezTo>
                  <a:cubicBezTo>
                    <a:pt x="13" y="1"/>
                    <a:pt x="10" y="0"/>
                    <a:pt x="8" y="0"/>
                  </a:cubicBezTo>
                  <a:cubicBezTo>
                    <a:pt x="7"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4" name="Freeform 164">
              <a:extLst>
                <a:ext uri="{FF2B5EF4-FFF2-40B4-BE49-F238E27FC236}">
                  <a16:creationId xmlns:a16="http://schemas.microsoft.com/office/drawing/2014/main" id="{8F63631F-8B54-4247-A17A-0A47B9E61D68}"/>
                </a:ext>
              </a:extLst>
            </p:cNvPr>
            <p:cNvSpPr>
              <a:spLocks/>
            </p:cNvSpPr>
            <p:nvPr/>
          </p:nvSpPr>
          <p:spPr bwMode="auto">
            <a:xfrm>
              <a:off x="8096036" y="5786084"/>
              <a:ext cx="12710" cy="29658"/>
            </a:xfrm>
            <a:custGeom>
              <a:avLst/>
              <a:gdLst>
                <a:gd name="T0" fmla="*/ 4 w 4"/>
                <a:gd name="T1" fmla="*/ 0 h 9"/>
                <a:gd name="T2" fmla="*/ 1 w 4"/>
                <a:gd name="T3" fmla="*/ 5 h 9"/>
                <a:gd name="T4" fmla="*/ 2 w 4"/>
                <a:gd name="T5" fmla="*/ 8 h 9"/>
                <a:gd name="T6" fmla="*/ 4 w 4"/>
                <a:gd name="T7" fmla="*/ 9 h 9"/>
                <a:gd name="T8" fmla="*/ 4 w 4"/>
                <a:gd name="T9" fmla="*/ 0 h 9"/>
              </a:gdLst>
              <a:ahLst/>
              <a:cxnLst>
                <a:cxn ang="0">
                  <a:pos x="T0" y="T1"/>
                </a:cxn>
                <a:cxn ang="0">
                  <a:pos x="T2" y="T3"/>
                </a:cxn>
                <a:cxn ang="0">
                  <a:pos x="T4" y="T5"/>
                </a:cxn>
                <a:cxn ang="0">
                  <a:pos x="T6" y="T7"/>
                </a:cxn>
                <a:cxn ang="0">
                  <a:pos x="T8" y="T9"/>
                </a:cxn>
              </a:cxnLst>
              <a:rect l="0" t="0" r="r" b="b"/>
              <a:pathLst>
                <a:path w="4" h="9">
                  <a:moveTo>
                    <a:pt x="4" y="0"/>
                  </a:moveTo>
                  <a:cubicBezTo>
                    <a:pt x="1" y="2"/>
                    <a:pt x="1" y="3"/>
                    <a:pt x="1" y="5"/>
                  </a:cubicBezTo>
                  <a:cubicBezTo>
                    <a:pt x="1" y="7"/>
                    <a:pt x="0" y="6"/>
                    <a:pt x="2" y="8"/>
                  </a:cubicBezTo>
                  <a:cubicBezTo>
                    <a:pt x="3" y="8"/>
                    <a:pt x="3" y="9"/>
                    <a:pt x="4" y="9"/>
                  </a:cubicBezTo>
                  <a:cubicBezTo>
                    <a:pt x="4" y="6"/>
                    <a:pt x="4"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5" name="Freeform 165">
              <a:extLst>
                <a:ext uri="{FF2B5EF4-FFF2-40B4-BE49-F238E27FC236}">
                  <a16:creationId xmlns:a16="http://schemas.microsoft.com/office/drawing/2014/main" id="{CD239805-898E-40D3-8CB4-D0E0EE40C6A9}"/>
                </a:ext>
              </a:extLst>
            </p:cNvPr>
            <p:cNvSpPr>
              <a:spLocks/>
            </p:cNvSpPr>
            <p:nvPr/>
          </p:nvSpPr>
          <p:spPr bwMode="auto">
            <a:xfrm>
              <a:off x="8079089" y="5663217"/>
              <a:ext cx="12710" cy="15535"/>
            </a:xfrm>
            <a:custGeom>
              <a:avLst/>
              <a:gdLst>
                <a:gd name="T0" fmla="*/ 0 w 4"/>
                <a:gd name="T1" fmla="*/ 0 h 5"/>
                <a:gd name="T2" fmla="*/ 1 w 4"/>
                <a:gd name="T3" fmla="*/ 5 h 5"/>
                <a:gd name="T4" fmla="*/ 3 w 4"/>
                <a:gd name="T5" fmla="*/ 3 h 5"/>
                <a:gd name="T6" fmla="*/ 4 w 4"/>
                <a:gd name="T7" fmla="*/ 3 h 5"/>
                <a:gd name="T8" fmla="*/ 0 w 4"/>
                <a:gd name="T9" fmla="*/ 0 h 5"/>
              </a:gdLst>
              <a:ahLst/>
              <a:cxnLst>
                <a:cxn ang="0">
                  <a:pos x="T0" y="T1"/>
                </a:cxn>
                <a:cxn ang="0">
                  <a:pos x="T2" y="T3"/>
                </a:cxn>
                <a:cxn ang="0">
                  <a:pos x="T4" y="T5"/>
                </a:cxn>
                <a:cxn ang="0">
                  <a:pos x="T6" y="T7"/>
                </a:cxn>
                <a:cxn ang="0">
                  <a:pos x="T8" y="T9"/>
                </a:cxn>
              </a:cxnLst>
              <a:rect l="0" t="0" r="r" b="b"/>
              <a:pathLst>
                <a:path w="4" h="5">
                  <a:moveTo>
                    <a:pt x="0" y="0"/>
                  </a:moveTo>
                  <a:cubicBezTo>
                    <a:pt x="0" y="2"/>
                    <a:pt x="0" y="4"/>
                    <a:pt x="1" y="5"/>
                  </a:cubicBezTo>
                  <a:cubicBezTo>
                    <a:pt x="1" y="4"/>
                    <a:pt x="2" y="3"/>
                    <a:pt x="3" y="3"/>
                  </a:cubicBezTo>
                  <a:cubicBezTo>
                    <a:pt x="3" y="3"/>
                    <a:pt x="3" y="3"/>
                    <a:pt x="4" y="3"/>
                  </a:cubicBezTo>
                  <a:cubicBezTo>
                    <a:pt x="2" y="2"/>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6" name="Freeform 166">
              <a:extLst>
                <a:ext uri="{FF2B5EF4-FFF2-40B4-BE49-F238E27FC236}">
                  <a16:creationId xmlns:a16="http://schemas.microsoft.com/office/drawing/2014/main" id="{834B7BC1-D670-4B7E-B8FD-CA71E2FDD660}"/>
                </a:ext>
              </a:extLst>
            </p:cNvPr>
            <p:cNvSpPr>
              <a:spLocks/>
            </p:cNvSpPr>
            <p:nvPr/>
          </p:nvSpPr>
          <p:spPr bwMode="auto">
            <a:xfrm>
              <a:off x="8069203" y="5798795"/>
              <a:ext cx="22596" cy="14123"/>
            </a:xfrm>
            <a:custGeom>
              <a:avLst/>
              <a:gdLst>
                <a:gd name="T0" fmla="*/ 4 w 7"/>
                <a:gd name="T1" fmla="*/ 0 h 4"/>
                <a:gd name="T2" fmla="*/ 6 w 7"/>
                <a:gd name="T3" fmla="*/ 4 h 4"/>
                <a:gd name="T4" fmla="*/ 5 w 7"/>
                <a:gd name="T5" fmla="*/ 0 h 4"/>
                <a:gd name="T6" fmla="*/ 4 w 7"/>
                <a:gd name="T7" fmla="*/ 0 h 4"/>
              </a:gdLst>
              <a:ahLst/>
              <a:cxnLst>
                <a:cxn ang="0">
                  <a:pos x="T0" y="T1"/>
                </a:cxn>
                <a:cxn ang="0">
                  <a:pos x="T2" y="T3"/>
                </a:cxn>
                <a:cxn ang="0">
                  <a:pos x="T4" y="T5"/>
                </a:cxn>
                <a:cxn ang="0">
                  <a:pos x="T6" y="T7"/>
                </a:cxn>
              </a:cxnLst>
              <a:rect l="0" t="0" r="r" b="b"/>
              <a:pathLst>
                <a:path w="7" h="4">
                  <a:moveTo>
                    <a:pt x="4" y="0"/>
                  </a:moveTo>
                  <a:cubicBezTo>
                    <a:pt x="0" y="0"/>
                    <a:pt x="3" y="2"/>
                    <a:pt x="6" y="4"/>
                  </a:cubicBezTo>
                  <a:cubicBezTo>
                    <a:pt x="6" y="2"/>
                    <a:pt x="7" y="1"/>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7" name="Freeform 167">
              <a:extLst>
                <a:ext uri="{FF2B5EF4-FFF2-40B4-BE49-F238E27FC236}">
                  <a16:creationId xmlns:a16="http://schemas.microsoft.com/office/drawing/2014/main" id="{A40CB48E-9D96-4C35-8E1D-C450DDB72135}"/>
                </a:ext>
              </a:extLst>
            </p:cNvPr>
            <p:cNvSpPr>
              <a:spLocks/>
            </p:cNvSpPr>
            <p:nvPr/>
          </p:nvSpPr>
          <p:spPr bwMode="auto">
            <a:xfrm>
              <a:off x="8579032" y="6821281"/>
              <a:ext cx="26833" cy="22596"/>
            </a:xfrm>
            <a:custGeom>
              <a:avLst/>
              <a:gdLst>
                <a:gd name="T0" fmla="*/ 4 w 8"/>
                <a:gd name="T1" fmla="*/ 0 h 7"/>
                <a:gd name="T2" fmla="*/ 4 w 8"/>
                <a:gd name="T3" fmla="*/ 4 h 7"/>
                <a:gd name="T4" fmla="*/ 1 w 8"/>
                <a:gd name="T5" fmla="*/ 3 h 7"/>
                <a:gd name="T6" fmla="*/ 0 w 8"/>
                <a:gd name="T7" fmla="*/ 4 h 7"/>
                <a:gd name="T8" fmla="*/ 5 w 8"/>
                <a:gd name="T9" fmla="*/ 6 h 7"/>
                <a:gd name="T10" fmla="*/ 6 w 8"/>
                <a:gd name="T11" fmla="*/ 6 h 7"/>
                <a:gd name="T12" fmla="*/ 7 w 8"/>
                <a:gd name="T13" fmla="*/ 7 h 7"/>
                <a:gd name="T14" fmla="*/ 7 w 8"/>
                <a:gd name="T15" fmla="*/ 6 h 7"/>
                <a:gd name="T16" fmla="*/ 4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4" y="0"/>
                  </a:moveTo>
                  <a:cubicBezTo>
                    <a:pt x="4" y="1"/>
                    <a:pt x="4" y="3"/>
                    <a:pt x="4" y="4"/>
                  </a:cubicBezTo>
                  <a:cubicBezTo>
                    <a:pt x="3" y="3"/>
                    <a:pt x="2" y="3"/>
                    <a:pt x="1" y="3"/>
                  </a:cubicBezTo>
                  <a:cubicBezTo>
                    <a:pt x="1" y="3"/>
                    <a:pt x="1" y="3"/>
                    <a:pt x="0" y="4"/>
                  </a:cubicBezTo>
                  <a:cubicBezTo>
                    <a:pt x="1" y="5"/>
                    <a:pt x="4" y="6"/>
                    <a:pt x="5" y="6"/>
                  </a:cubicBezTo>
                  <a:cubicBezTo>
                    <a:pt x="5" y="6"/>
                    <a:pt x="6" y="6"/>
                    <a:pt x="6" y="6"/>
                  </a:cubicBezTo>
                  <a:cubicBezTo>
                    <a:pt x="5" y="6"/>
                    <a:pt x="6" y="7"/>
                    <a:pt x="7" y="7"/>
                  </a:cubicBezTo>
                  <a:cubicBezTo>
                    <a:pt x="7" y="7"/>
                    <a:pt x="7" y="7"/>
                    <a:pt x="7" y="6"/>
                  </a:cubicBezTo>
                  <a:cubicBezTo>
                    <a:pt x="8" y="5"/>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8" name="Freeform 168">
              <a:extLst>
                <a:ext uri="{FF2B5EF4-FFF2-40B4-BE49-F238E27FC236}">
                  <a16:creationId xmlns:a16="http://schemas.microsoft.com/office/drawing/2014/main" id="{CBD726BD-6B7A-47AC-A44D-D9BC06E5A0D3}"/>
                </a:ext>
              </a:extLst>
            </p:cNvPr>
            <p:cNvSpPr>
              <a:spLocks/>
            </p:cNvSpPr>
            <p:nvPr/>
          </p:nvSpPr>
          <p:spPr bwMode="auto">
            <a:xfrm>
              <a:off x="8062142" y="5732418"/>
              <a:ext cx="26833" cy="14123"/>
            </a:xfrm>
            <a:custGeom>
              <a:avLst/>
              <a:gdLst>
                <a:gd name="T0" fmla="*/ 4 w 8"/>
                <a:gd name="T1" fmla="*/ 0 h 4"/>
                <a:gd name="T2" fmla="*/ 0 w 8"/>
                <a:gd name="T3" fmla="*/ 4 h 4"/>
                <a:gd name="T4" fmla="*/ 8 w 8"/>
                <a:gd name="T5" fmla="*/ 2 h 4"/>
                <a:gd name="T6" fmla="*/ 4 w 8"/>
                <a:gd name="T7" fmla="*/ 0 h 4"/>
              </a:gdLst>
              <a:ahLst/>
              <a:cxnLst>
                <a:cxn ang="0">
                  <a:pos x="T0" y="T1"/>
                </a:cxn>
                <a:cxn ang="0">
                  <a:pos x="T2" y="T3"/>
                </a:cxn>
                <a:cxn ang="0">
                  <a:pos x="T4" y="T5"/>
                </a:cxn>
                <a:cxn ang="0">
                  <a:pos x="T6" y="T7"/>
                </a:cxn>
              </a:cxnLst>
              <a:rect l="0" t="0" r="r" b="b"/>
              <a:pathLst>
                <a:path w="8" h="4">
                  <a:moveTo>
                    <a:pt x="4" y="0"/>
                  </a:moveTo>
                  <a:cubicBezTo>
                    <a:pt x="2" y="0"/>
                    <a:pt x="1" y="2"/>
                    <a:pt x="0" y="4"/>
                  </a:cubicBezTo>
                  <a:cubicBezTo>
                    <a:pt x="2" y="3"/>
                    <a:pt x="5" y="4"/>
                    <a:pt x="8" y="2"/>
                  </a:cubicBezTo>
                  <a:cubicBezTo>
                    <a:pt x="6"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9" name="Freeform 169">
              <a:extLst>
                <a:ext uri="{FF2B5EF4-FFF2-40B4-BE49-F238E27FC236}">
                  <a16:creationId xmlns:a16="http://schemas.microsoft.com/office/drawing/2014/main" id="{1A78DA5E-D421-4A93-916F-D99498DCD6B6}"/>
                </a:ext>
              </a:extLst>
            </p:cNvPr>
            <p:cNvSpPr>
              <a:spLocks/>
            </p:cNvSpPr>
            <p:nvPr/>
          </p:nvSpPr>
          <p:spPr bwMode="auto">
            <a:xfrm>
              <a:off x="7985879" y="6043118"/>
              <a:ext cx="32482" cy="36719"/>
            </a:xfrm>
            <a:custGeom>
              <a:avLst/>
              <a:gdLst>
                <a:gd name="T0" fmla="*/ 0 w 10"/>
                <a:gd name="T1" fmla="*/ 0 h 11"/>
                <a:gd name="T2" fmla="*/ 0 w 10"/>
                <a:gd name="T3" fmla="*/ 0 h 11"/>
                <a:gd name="T4" fmla="*/ 5 w 10"/>
                <a:gd name="T5" fmla="*/ 11 h 11"/>
                <a:gd name="T6" fmla="*/ 10 w 10"/>
                <a:gd name="T7" fmla="*/ 4 h 11"/>
                <a:gd name="T8" fmla="*/ 8 w 10"/>
                <a:gd name="T9" fmla="*/ 5 h 11"/>
                <a:gd name="T10" fmla="*/ 5 w 10"/>
                <a:gd name="T11" fmla="*/ 1 h 11"/>
                <a:gd name="T12" fmla="*/ 0 w 10"/>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0" h="11">
                  <a:moveTo>
                    <a:pt x="0" y="0"/>
                  </a:moveTo>
                  <a:cubicBezTo>
                    <a:pt x="0" y="0"/>
                    <a:pt x="0" y="0"/>
                    <a:pt x="0" y="0"/>
                  </a:cubicBezTo>
                  <a:cubicBezTo>
                    <a:pt x="1" y="5"/>
                    <a:pt x="3" y="7"/>
                    <a:pt x="5" y="11"/>
                  </a:cubicBezTo>
                  <a:cubicBezTo>
                    <a:pt x="7" y="9"/>
                    <a:pt x="9" y="6"/>
                    <a:pt x="10" y="4"/>
                  </a:cubicBezTo>
                  <a:cubicBezTo>
                    <a:pt x="10" y="4"/>
                    <a:pt x="9" y="5"/>
                    <a:pt x="8" y="5"/>
                  </a:cubicBezTo>
                  <a:cubicBezTo>
                    <a:pt x="8" y="3"/>
                    <a:pt x="7" y="2"/>
                    <a:pt x="5" y="1"/>
                  </a:cubicBezTo>
                  <a:cubicBezTo>
                    <a:pt x="4"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0" name="Freeform 170">
              <a:extLst>
                <a:ext uri="{FF2B5EF4-FFF2-40B4-BE49-F238E27FC236}">
                  <a16:creationId xmlns:a16="http://schemas.microsoft.com/office/drawing/2014/main" id="{3E519E26-701A-4554-B4D7-8F98BEFBA598}"/>
                </a:ext>
              </a:extLst>
            </p:cNvPr>
            <p:cNvSpPr>
              <a:spLocks/>
            </p:cNvSpPr>
            <p:nvPr/>
          </p:nvSpPr>
          <p:spPr bwMode="auto">
            <a:xfrm>
              <a:off x="7954809" y="6136328"/>
              <a:ext cx="31070" cy="26833"/>
            </a:xfrm>
            <a:custGeom>
              <a:avLst/>
              <a:gdLst>
                <a:gd name="T0" fmla="*/ 7 w 9"/>
                <a:gd name="T1" fmla="*/ 0 h 8"/>
                <a:gd name="T2" fmla="*/ 1 w 9"/>
                <a:gd name="T3" fmla="*/ 4 h 8"/>
                <a:gd name="T4" fmla="*/ 3 w 9"/>
                <a:gd name="T5" fmla="*/ 8 h 8"/>
                <a:gd name="T6" fmla="*/ 5 w 9"/>
                <a:gd name="T7" fmla="*/ 4 h 8"/>
                <a:gd name="T8" fmla="*/ 5 w 9"/>
                <a:gd name="T9" fmla="*/ 4 h 8"/>
                <a:gd name="T10" fmla="*/ 6 w 9"/>
                <a:gd name="T11" fmla="*/ 4 h 8"/>
                <a:gd name="T12" fmla="*/ 7 w 9"/>
                <a:gd name="T13" fmla="*/ 4 h 8"/>
                <a:gd name="T14" fmla="*/ 7 w 9"/>
                <a:gd name="T15" fmla="*/ 4 h 8"/>
                <a:gd name="T16" fmla="*/ 7 w 9"/>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7" y="0"/>
                  </a:moveTo>
                  <a:cubicBezTo>
                    <a:pt x="5" y="1"/>
                    <a:pt x="3" y="2"/>
                    <a:pt x="1" y="4"/>
                  </a:cubicBezTo>
                  <a:cubicBezTo>
                    <a:pt x="0" y="6"/>
                    <a:pt x="0" y="6"/>
                    <a:pt x="3" y="8"/>
                  </a:cubicBezTo>
                  <a:cubicBezTo>
                    <a:pt x="3" y="7"/>
                    <a:pt x="4" y="5"/>
                    <a:pt x="5" y="4"/>
                  </a:cubicBezTo>
                  <a:cubicBezTo>
                    <a:pt x="5" y="4"/>
                    <a:pt x="5" y="4"/>
                    <a:pt x="5" y="4"/>
                  </a:cubicBezTo>
                  <a:cubicBezTo>
                    <a:pt x="6" y="4"/>
                    <a:pt x="6" y="4"/>
                    <a:pt x="6" y="4"/>
                  </a:cubicBezTo>
                  <a:cubicBezTo>
                    <a:pt x="6" y="4"/>
                    <a:pt x="6" y="4"/>
                    <a:pt x="7" y="4"/>
                  </a:cubicBezTo>
                  <a:cubicBezTo>
                    <a:pt x="7" y="4"/>
                    <a:pt x="7" y="4"/>
                    <a:pt x="7" y="4"/>
                  </a:cubicBezTo>
                  <a:cubicBezTo>
                    <a:pt x="9" y="2"/>
                    <a:pt x="7"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1" name="Freeform 171">
              <a:extLst>
                <a:ext uri="{FF2B5EF4-FFF2-40B4-BE49-F238E27FC236}">
                  <a16:creationId xmlns:a16="http://schemas.microsoft.com/office/drawing/2014/main" id="{550C2843-48EC-49C0-91BD-72B493A66646}"/>
                </a:ext>
              </a:extLst>
            </p:cNvPr>
            <p:cNvSpPr>
              <a:spLocks/>
            </p:cNvSpPr>
            <p:nvPr/>
          </p:nvSpPr>
          <p:spPr bwMode="auto">
            <a:xfrm>
              <a:off x="8042370" y="5715471"/>
              <a:ext cx="9886" cy="16947"/>
            </a:xfrm>
            <a:custGeom>
              <a:avLst/>
              <a:gdLst>
                <a:gd name="T0" fmla="*/ 1 w 3"/>
                <a:gd name="T1" fmla="*/ 0 h 5"/>
                <a:gd name="T2" fmla="*/ 0 w 3"/>
                <a:gd name="T3" fmla="*/ 1 h 5"/>
                <a:gd name="T4" fmla="*/ 3 w 3"/>
                <a:gd name="T5" fmla="*/ 5 h 5"/>
                <a:gd name="T6" fmla="*/ 1 w 3"/>
                <a:gd name="T7" fmla="*/ 0 h 5"/>
              </a:gdLst>
              <a:ahLst/>
              <a:cxnLst>
                <a:cxn ang="0">
                  <a:pos x="T0" y="T1"/>
                </a:cxn>
                <a:cxn ang="0">
                  <a:pos x="T2" y="T3"/>
                </a:cxn>
                <a:cxn ang="0">
                  <a:pos x="T4" y="T5"/>
                </a:cxn>
                <a:cxn ang="0">
                  <a:pos x="T6" y="T7"/>
                </a:cxn>
              </a:cxnLst>
              <a:rect l="0" t="0" r="r" b="b"/>
              <a:pathLst>
                <a:path w="3" h="5">
                  <a:moveTo>
                    <a:pt x="1" y="0"/>
                  </a:moveTo>
                  <a:cubicBezTo>
                    <a:pt x="1" y="0"/>
                    <a:pt x="1" y="1"/>
                    <a:pt x="0" y="1"/>
                  </a:cubicBezTo>
                  <a:cubicBezTo>
                    <a:pt x="1" y="2"/>
                    <a:pt x="2" y="3"/>
                    <a:pt x="3" y="5"/>
                  </a:cubicBezTo>
                  <a:cubicBezTo>
                    <a:pt x="3" y="3"/>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2" name="Freeform 172">
              <a:extLst>
                <a:ext uri="{FF2B5EF4-FFF2-40B4-BE49-F238E27FC236}">
                  <a16:creationId xmlns:a16="http://schemas.microsoft.com/office/drawing/2014/main" id="{B506AD6F-5F4C-4116-B11D-86E2CFDAB640}"/>
                </a:ext>
              </a:extLst>
            </p:cNvPr>
            <p:cNvSpPr>
              <a:spLocks/>
            </p:cNvSpPr>
            <p:nvPr/>
          </p:nvSpPr>
          <p:spPr bwMode="auto">
            <a:xfrm>
              <a:off x="8399674" y="6745018"/>
              <a:ext cx="56491" cy="15535"/>
            </a:xfrm>
            <a:custGeom>
              <a:avLst/>
              <a:gdLst>
                <a:gd name="T0" fmla="*/ 5 w 17"/>
                <a:gd name="T1" fmla="*/ 0 h 5"/>
                <a:gd name="T2" fmla="*/ 0 w 17"/>
                <a:gd name="T3" fmla="*/ 5 h 5"/>
                <a:gd name="T4" fmla="*/ 10 w 17"/>
                <a:gd name="T5" fmla="*/ 4 h 5"/>
                <a:gd name="T6" fmla="*/ 17 w 17"/>
                <a:gd name="T7" fmla="*/ 3 h 5"/>
                <a:gd name="T8" fmla="*/ 6 w 17"/>
                <a:gd name="T9" fmla="*/ 0 h 5"/>
                <a:gd name="T10" fmla="*/ 5 w 17"/>
                <a:gd name="T11" fmla="*/ 0 h 5"/>
              </a:gdLst>
              <a:ahLst/>
              <a:cxnLst>
                <a:cxn ang="0">
                  <a:pos x="T0" y="T1"/>
                </a:cxn>
                <a:cxn ang="0">
                  <a:pos x="T2" y="T3"/>
                </a:cxn>
                <a:cxn ang="0">
                  <a:pos x="T4" y="T5"/>
                </a:cxn>
                <a:cxn ang="0">
                  <a:pos x="T6" y="T7"/>
                </a:cxn>
                <a:cxn ang="0">
                  <a:pos x="T8" y="T9"/>
                </a:cxn>
                <a:cxn ang="0">
                  <a:pos x="T10" y="T11"/>
                </a:cxn>
              </a:cxnLst>
              <a:rect l="0" t="0" r="r" b="b"/>
              <a:pathLst>
                <a:path w="17" h="5">
                  <a:moveTo>
                    <a:pt x="5" y="0"/>
                  </a:moveTo>
                  <a:cubicBezTo>
                    <a:pt x="2" y="0"/>
                    <a:pt x="1" y="2"/>
                    <a:pt x="0" y="5"/>
                  </a:cubicBezTo>
                  <a:cubicBezTo>
                    <a:pt x="2" y="4"/>
                    <a:pt x="7" y="5"/>
                    <a:pt x="10" y="4"/>
                  </a:cubicBezTo>
                  <a:cubicBezTo>
                    <a:pt x="11" y="4"/>
                    <a:pt x="14" y="3"/>
                    <a:pt x="17" y="3"/>
                  </a:cubicBezTo>
                  <a:cubicBezTo>
                    <a:pt x="14" y="2"/>
                    <a:pt x="10" y="1"/>
                    <a:pt x="6" y="0"/>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3" name="Freeform 173">
              <a:extLst>
                <a:ext uri="{FF2B5EF4-FFF2-40B4-BE49-F238E27FC236}">
                  <a16:creationId xmlns:a16="http://schemas.microsoft.com/office/drawing/2014/main" id="{3B277ECA-ED50-4BE8-9345-8993B338D66C}"/>
                </a:ext>
              </a:extLst>
            </p:cNvPr>
            <p:cNvSpPr>
              <a:spLocks/>
            </p:cNvSpPr>
            <p:nvPr/>
          </p:nvSpPr>
          <p:spPr bwMode="auto">
            <a:xfrm>
              <a:off x="7995765" y="6413134"/>
              <a:ext cx="12710" cy="16947"/>
            </a:xfrm>
            <a:custGeom>
              <a:avLst/>
              <a:gdLst>
                <a:gd name="T0" fmla="*/ 4 w 4"/>
                <a:gd name="T1" fmla="*/ 0 h 5"/>
                <a:gd name="T2" fmla="*/ 0 w 4"/>
                <a:gd name="T3" fmla="*/ 5 h 5"/>
                <a:gd name="T4" fmla="*/ 4 w 4"/>
                <a:gd name="T5" fmla="*/ 0 h 5"/>
              </a:gdLst>
              <a:ahLst/>
              <a:cxnLst>
                <a:cxn ang="0">
                  <a:pos x="T0" y="T1"/>
                </a:cxn>
                <a:cxn ang="0">
                  <a:pos x="T2" y="T3"/>
                </a:cxn>
                <a:cxn ang="0">
                  <a:pos x="T4" y="T5"/>
                </a:cxn>
              </a:cxnLst>
              <a:rect l="0" t="0" r="r" b="b"/>
              <a:pathLst>
                <a:path w="4" h="5">
                  <a:moveTo>
                    <a:pt x="4" y="0"/>
                  </a:moveTo>
                  <a:cubicBezTo>
                    <a:pt x="2" y="1"/>
                    <a:pt x="1" y="3"/>
                    <a:pt x="0" y="5"/>
                  </a:cubicBezTo>
                  <a:cubicBezTo>
                    <a:pt x="3" y="4"/>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4" name="Freeform 174">
              <a:extLst>
                <a:ext uri="{FF2B5EF4-FFF2-40B4-BE49-F238E27FC236}">
                  <a16:creationId xmlns:a16="http://schemas.microsoft.com/office/drawing/2014/main" id="{8682CFD3-6B07-4A66-96E4-9CB59963ECF5}"/>
                </a:ext>
              </a:extLst>
            </p:cNvPr>
            <p:cNvSpPr>
              <a:spLocks/>
            </p:cNvSpPr>
            <p:nvPr/>
          </p:nvSpPr>
          <p:spPr bwMode="auto">
            <a:xfrm>
              <a:off x="8231614" y="6718185"/>
              <a:ext cx="7061" cy="12710"/>
            </a:xfrm>
            <a:custGeom>
              <a:avLst/>
              <a:gdLst>
                <a:gd name="T0" fmla="*/ 0 w 2"/>
                <a:gd name="T1" fmla="*/ 0 h 4"/>
                <a:gd name="T2" fmla="*/ 2 w 2"/>
                <a:gd name="T3" fmla="*/ 4 h 4"/>
                <a:gd name="T4" fmla="*/ 0 w 2"/>
                <a:gd name="T5" fmla="*/ 0 h 4"/>
              </a:gdLst>
              <a:ahLst/>
              <a:cxnLst>
                <a:cxn ang="0">
                  <a:pos x="T0" y="T1"/>
                </a:cxn>
                <a:cxn ang="0">
                  <a:pos x="T2" y="T3"/>
                </a:cxn>
                <a:cxn ang="0">
                  <a:pos x="T4" y="T5"/>
                </a:cxn>
              </a:cxnLst>
              <a:rect l="0" t="0" r="r" b="b"/>
              <a:pathLst>
                <a:path w="2" h="4">
                  <a:moveTo>
                    <a:pt x="0" y="0"/>
                  </a:moveTo>
                  <a:cubicBezTo>
                    <a:pt x="0" y="0"/>
                    <a:pt x="0" y="2"/>
                    <a:pt x="2" y="4"/>
                  </a:cubicBezTo>
                  <a:cubicBezTo>
                    <a:pt x="1"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5" name="Freeform 175">
              <a:extLst>
                <a:ext uri="{FF2B5EF4-FFF2-40B4-BE49-F238E27FC236}">
                  <a16:creationId xmlns:a16="http://schemas.microsoft.com/office/drawing/2014/main" id="{8D22B7A5-FE00-4977-9FC1-BBFCCBDF31A5}"/>
                </a:ext>
              </a:extLst>
            </p:cNvPr>
            <p:cNvSpPr>
              <a:spLocks/>
            </p:cNvSpPr>
            <p:nvPr/>
          </p:nvSpPr>
          <p:spPr bwMode="auto">
            <a:xfrm>
              <a:off x="8125694" y="6654633"/>
              <a:ext cx="16947" cy="9886"/>
            </a:xfrm>
            <a:custGeom>
              <a:avLst/>
              <a:gdLst>
                <a:gd name="T0" fmla="*/ 2 w 5"/>
                <a:gd name="T1" fmla="*/ 0 h 3"/>
                <a:gd name="T2" fmla="*/ 0 w 5"/>
                <a:gd name="T3" fmla="*/ 1 h 3"/>
                <a:gd name="T4" fmla="*/ 5 w 5"/>
                <a:gd name="T5" fmla="*/ 3 h 3"/>
                <a:gd name="T6" fmla="*/ 2 w 5"/>
                <a:gd name="T7" fmla="*/ 0 h 3"/>
              </a:gdLst>
              <a:ahLst/>
              <a:cxnLst>
                <a:cxn ang="0">
                  <a:pos x="T0" y="T1"/>
                </a:cxn>
                <a:cxn ang="0">
                  <a:pos x="T2" y="T3"/>
                </a:cxn>
                <a:cxn ang="0">
                  <a:pos x="T4" y="T5"/>
                </a:cxn>
                <a:cxn ang="0">
                  <a:pos x="T6" y="T7"/>
                </a:cxn>
              </a:cxnLst>
              <a:rect l="0" t="0" r="r" b="b"/>
              <a:pathLst>
                <a:path w="5" h="3">
                  <a:moveTo>
                    <a:pt x="2" y="0"/>
                  </a:moveTo>
                  <a:cubicBezTo>
                    <a:pt x="1" y="0"/>
                    <a:pt x="1" y="0"/>
                    <a:pt x="0" y="1"/>
                  </a:cubicBezTo>
                  <a:cubicBezTo>
                    <a:pt x="1" y="2"/>
                    <a:pt x="3" y="2"/>
                    <a:pt x="5" y="3"/>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6" name="Freeform 176">
              <a:extLst>
                <a:ext uri="{FF2B5EF4-FFF2-40B4-BE49-F238E27FC236}">
                  <a16:creationId xmlns:a16="http://schemas.microsoft.com/office/drawing/2014/main" id="{DBD64366-DE03-4950-A8EE-1A1A0CC3B471}"/>
                </a:ext>
              </a:extLst>
            </p:cNvPr>
            <p:cNvSpPr>
              <a:spLocks/>
            </p:cNvSpPr>
            <p:nvPr/>
          </p:nvSpPr>
          <p:spPr bwMode="auto">
            <a:xfrm>
              <a:off x="8005651" y="6302977"/>
              <a:ext cx="22596" cy="24009"/>
            </a:xfrm>
            <a:custGeom>
              <a:avLst/>
              <a:gdLst>
                <a:gd name="T0" fmla="*/ 3 w 7"/>
                <a:gd name="T1" fmla="*/ 0 h 7"/>
                <a:gd name="T2" fmla="*/ 2 w 7"/>
                <a:gd name="T3" fmla="*/ 1 h 7"/>
                <a:gd name="T4" fmla="*/ 7 w 7"/>
                <a:gd name="T5" fmla="*/ 7 h 7"/>
                <a:gd name="T6" fmla="*/ 6 w 7"/>
                <a:gd name="T7" fmla="*/ 3 h 7"/>
                <a:gd name="T8" fmla="*/ 5 w 7"/>
                <a:gd name="T9" fmla="*/ 1 h 7"/>
                <a:gd name="T10" fmla="*/ 3 w 7"/>
                <a:gd name="T11" fmla="*/ 0 h 7"/>
              </a:gdLst>
              <a:ahLst/>
              <a:cxnLst>
                <a:cxn ang="0">
                  <a:pos x="T0" y="T1"/>
                </a:cxn>
                <a:cxn ang="0">
                  <a:pos x="T2" y="T3"/>
                </a:cxn>
                <a:cxn ang="0">
                  <a:pos x="T4" y="T5"/>
                </a:cxn>
                <a:cxn ang="0">
                  <a:pos x="T6" y="T7"/>
                </a:cxn>
                <a:cxn ang="0">
                  <a:pos x="T8" y="T9"/>
                </a:cxn>
                <a:cxn ang="0">
                  <a:pos x="T10" y="T11"/>
                </a:cxn>
              </a:cxnLst>
              <a:rect l="0" t="0" r="r" b="b"/>
              <a:pathLst>
                <a:path w="7" h="7">
                  <a:moveTo>
                    <a:pt x="3" y="0"/>
                  </a:moveTo>
                  <a:cubicBezTo>
                    <a:pt x="3" y="0"/>
                    <a:pt x="2" y="0"/>
                    <a:pt x="2" y="1"/>
                  </a:cubicBezTo>
                  <a:cubicBezTo>
                    <a:pt x="0" y="3"/>
                    <a:pt x="5" y="6"/>
                    <a:pt x="7" y="7"/>
                  </a:cubicBezTo>
                  <a:cubicBezTo>
                    <a:pt x="5" y="4"/>
                    <a:pt x="6" y="5"/>
                    <a:pt x="6" y="3"/>
                  </a:cubicBezTo>
                  <a:cubicBezTo>
                    <a:pt x="5" y="1"/>
                    <a:pt x="6" y="1"/>
                    <a:pt x="5"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7" name="Freeform 177">
              <a:extLst>
                <a:ext uri="{FF2B5EF4-FFF2-40B4-BE49-F238E27FC236}">
                  <a16:creationId xmlns:a16="http://schemas.microsoft.com/office/drawing/2014/main" id="{6D607092-FF97-4B42-B831-61D5E3FABCB8}"/>
                </a:ext>
              </a:extLst>
            </p:cNvPr>
            <p:cNvSpPr>
              <a:spLocks/>
            </p:cNvSpPr>
            <p:nvPr/>
          </p:nvSpPr>
          <p:spPr bwMode="auto">
            <a:xfrm>
              <a:off x="8069203" y="5786084"/>
              <a:ext cx="32482" cy="12710"/>
            </a:xfrm>
            <a:custGeom>
              <a:avLst/>
              <a:gdLst>
                <a:gd name="T0" fmla="*/ 3 w 10"/>
                <a:gd name="T1" fmla="*/ 0 h 4"/>
                <a:gd name="T2" fmla="*/ 2 w 10"/>
                <a:gd name="T3" fmla="*/ 1 h 4"/>
                <a:gd name="T4" fmla="*/ 2 w 10"/>
                <a:gd name="T5" fmla="*/ 4 h 4"/>
                <a:gd name="T6" fmla="*/ 2 w 10"/>
                <a:gd name="T7" fmla="*/ 4 h 4"/>
                <a:gd name="T8" fmla="*/ 4 w 10"/>
                <a:gd name="T9" fmla="*/ 3 h 4"/>
                <a:gd name="T10" fmla="*/ 5 w 10"/>
                <a:gd name="T11" fmla="*/ 3 h 4"/>
                <a:gd name="T12" fmla="*/ 6 w 10"/>
                <a:gd name="T13" fmla="*/ 3 h 4"/>
                <a:gd name="T14" fmla="*/ 7 w 10"/>
                <a:gd name="T15" fmla="*/ 3 h 4"/>
                <a:gd name="T16" fmla="*/ 4 w 10"/>
                <a:gd name="T17" fmla="*/ 0 h 4"/>
                <a:gd name="T18" fmla="*/ 4 w 10"/>
                <a:gd name="T19" fmla="*/ 0 h 4"/>
                <a:gd name="T20" fmla="*/ 4 w 10"/>
                <a:gd name="T21" fmla="*/ 0 h 4"/>
                <a:gd name="T22" fmla="*/ 4 w 10"/>
                <a:gd name="T23" fmla="*/ 0 h 4"/>
                <a:gd name="T24" fmla="*/ 3 w 10"/>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4">
                  <a:moveTo>
                    <a:pt x="3" y="0"/>
                  </a:moveTo>
                  <a:cubicBezTo>
                    <a:pt x="3" y="0"/>
                    <a:pt x="2" y="0"/>
                    <a:pt x="2" y="1"/>
                  </a:cubicBezTo>
                  <a:cubicBezTo>
                    <a:pt x="1" y="2"/>
                    <a:pt x="0" y="4"/>
                    <a:pt x="2" y="4"/>
                  </a:cubicBezTo>
                  <a:cubicBezTo>
                    <a:pt x="2" y="4"/>
                    <a:pt x="2" y="4"/>
                    <a:pt x="2" y="4"/>
                  </a:cubicBezTo>
                  <a:cubicBezTo>
                    <a:pt x="3" y="3"/>
                    <a:pt x="3" y="3"/>
                    <a:pt x="4" y="3"/>
                  </a:cubicBezTo>
                  <a:cubicBezTo>
                    <a:pt x="4" y="3"/>
                    <a:pt x="5" y="3"/>
                    <a:pt x="5" y="3"/>
                  </a:cubicBezTo>
                  <a:cubicBezTo>
                    <a:pt x="5" y="3"/>
                    <a:pt x="6" y="3"/>
                    <a:pt x="6" y="3"/>
                  </a:cubicBezTo>
                  <a:cubicBezTo>
                    <a:pt x="6" y="3"/>
                    <a:pt x="7" y="3"/>
                    <a:pt x="7" y="3"/>
                  </a:cubicBezTo>
                  <a:cubicBezTo>
                    <a:pt x="10" y="3"/>
                    <a:pt x="6" y="0"/>
                    <a:pt x="4" y="0"/>
                  </a:cubicBezTo>
                  <a:cubicBezTo>
                    <a:pt x="4" y="0"/>
                    <a:pt x="4" y="0"/>
                    <a:pt x="4" y="0"/>
                  </a:cubicBezTo>
                  <a:cubicBezTo>
                    <a:pt x="4" y="0"/>
                    <a:pt x="4" y="0"/>
                    <a:pt x="4" y="0"/>
                  </a:cubicBezTo>
                  <a:cubicBezTo>
                    <a:pt x="4" y="0"/>
                    <a:pt x="4" y="0"/>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8" name="Freeform 178">
              <a:extLst>
                <a:ext uri="{FF2B5EF4-FFF2-40B4-BE49-F238E27FC236}">
                  <a16:creationId xmlns:a16="http://schemas.microsoft.com/office/drawing/2014/main" id="{44318001-B8BC-4AC6-BCC7-BF3A16EDFE9D}"/>
                </a:ext>
              </a:extLst>
            </p:cNvPr>
            <p:cNvSpPr>
              <a:spLocks/>
            </p:cNvSpPr>
            <p:nvPr/>
          </p:nvSpPr>
          <p:spPr bwMode="auto">
            <a:xfrm>
              <a:off x="8615751" y="6843877"/>
              <a:ext cx="0" cy="14123"/>
            </a:xfrm>
            <a:custGeom>
              <a:avLst/>
              <a:gdLst>
                <a:gd name="T0" fmla="*/ 0 h 4"/>
                <a:gd name="T1" fmla="*/ 4 h 4"/>
                <a:gd name="T2" fmla="*/ 0 h 4"/>
              </a:gdLst>
              <a:ahLst/>
              <a:cxnLst>
                <a:cxn ang="0">
                  <a:pos x="0" y="T0"/>
                </a:cxn>
                <a:cxn ang="0">
                  <a:pos x="0" y="T1"/>
                </a:cxn>
                <a:cxn ang="0">
                  <a:pos x="0" y="T2"/>
                </a:cxn>
              </a:cxnLst>
              <a:rect l="0" t="0" r="r" b="b"/>
              <a:pathLst>
                <a:path h="4">
                  <a:moveTo>
                    <a:pt x="0" y="0"/>
                  </a:moveTo>
                  <a:cubicBezTo>
                    <a:pt x="0" y="1"/>
                    <a:pt x="0" y="3"/>
                    <a:pt x="0" y="4"/>
                  </a:cubicBezTo>
                  <a:cubicBezTo>
                    <a:pt x="0" y="3"/>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9" name="Freeform 179">
              <a:extLst>
                <a:ext uri="{FF2B5EF4-FFF2-40B4-BE49-F238E27FC236}">
                  <a16:creationId xmlns:a16="http://schemas.microsoft.com/office/drawing/2014/main" id="{EF6F35F4-CFD0-4EDA-9D1D-5908A62CFF48}"/>
                </a:ext>
              </a:extLst>
            </p:cNvPr>
            <p:cNvSpPr>
              <a:spLocks/>
            </p:cNvSpPr>
            <p:nvPr/>
          </p:nvSpPr>
          <p:spPr bwMode="auto">
            <a:xfrm>
              <a:off x="8032484" y="5709822"/>
              <a:ext cx="12710" cy="5649"/>
            </a:xfrm>
            <a:custGeom>
              <a:avLst/>
              <a:gdLst>
                <a:gd name="T0" fmla="*/ 1 w 4"/>
                <a:gd name="T1" fmla="*/ 0 h 2"/>
                <a:gd name="T2" fmla="*/ 0 w 4"/>
                <a:gd name="T3" fmla="*/ 1 h 2"/>
                <a:gd name="T4" fmla="*/ 4 w 4"/>
                <a:gd name="T5" fmla="*/ 2 h 2"/>
                <a:gd name="T6" fmla="*/ 1 w 4"/>
                <a:gd name="T7" fmla="*/ 0 h 2"/>
              </a:gdLst>
              <a:ahLst/>
              <a:cxnLst>
                <a:cxn ang="0">
                  <a:pos x="T0" y="T1"/>
                </a:cxn>
                <a:cxn ang="0">
                  <a:pos x="T2" y="T3"/>
                </a:cxn>
                <a:cxn ang="0">
                  <a:pos x="T4" y="T5"/>
                </a:cxn>
                <a:cxn ang="0">
                  <a:pos x="T6" y="T7"/>
                </a:cxn>
              </a:cxnLst>
              <a:rect l="0" t="0" r="r" b="b"/>
              <a:pathLst>
                <a:path w="4" h="2">
                  <a:moveTo>
                    <a:pt x="1" y="0"/>
                  </a:moveTo>
                  <a:cubicBezTo>
                    <a:pt x="1" y="0"/>
                    <a:pt x="0" y="0"/>
                    <a:pt x="0" y="1"/>
                  </a:cubicBezTo>
                  <a:cubicBezTo>
                    <a:pt x="1" y="2"/>
                    <a:pt x="3" y="2"/>
                    <a:pt x="4"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10" name="Freeform 180">
              <a:extLst>
                <a:ext uri="{FF2B5EF4-FFF2-40B4-BE49-F238E27FC236}">
                  <a16:creationId xmlns:a16="http://schemas.microsoft.com/office/drawing/2014/main" id="{905E1623-7A93-4F7D-A3B1-976D7331320A}"/>
                </a:ext>
              </a:extLst>
            </p:cNvPr>
            <p:cNvSpPr>
              <a:spLocks/>
            </p:cNvSpPr>
            <p:nvPr/>
          </p:nvSpPr>
          <p:spPr bwMode="auto">
            <a:xfrm>
              <a:off x="8045194" y="6410309"/>
              <a:ext cx="36719" cy="26833"/>
            </a:xfrm>
            <a:custGeom>
              <a:avLst/>
              <a:gdLst>
                <a:gd name="T0" fmla="*/ 0 w 11"/>
                <a:gd name="T1" fmla="*/ 0 h 8"/>
                <a:gd name="T2" fmla="*/ 7 w 11"/>
                <a:gd name="T3" fmla="*/ 8 h 8"/>
                <a:gd name="T4" fmla="*/ 4 w 11"/>
                <a:gd name="T5" fmla="*/ 3 h 8"/>
                <a:gd name="T6" fmla="*/ 0 w 11"/>
                <a:gd name="T7" fmla="*/ 0 h 8"/>
              </a:gdLst>
              <a:ahLst/>
              <a:cxnLst>
                <a:cxn ang="0">
                  <a:pos x="T0" y="T1"/>
                </a:cxn>
                <a:cxn ang="0">
                  <a:pos x="T2" y="T3"/>
                </a:cxn>
                <a:cxn ang="0">
                  <a:pos x="T4" y="T5"/>
                </a:cxn>
                <a:cxn ang="0">
                  <a:pos x="T6" y="T7"/>
                </a:cxn>
              </a:cxnLst>
              <a:rect l="0" t="0" r="r" b="b"/>
              <a:pathLst>
                <a:path w="11" h="8">
                  <a:moveTo>
                    <a:pt x="0" y="0"/>
                  </a:moveTo>
                  <a:cubicBezTo>
                    <a:pt x="2" y="3"/>
                    <a:pt x="5" y="5"/>
                    <a:pt x="7" y="8"/>
                  </a:cubicBezTo>
                  <a:cubicBezTo>
                    <a:pt x="11" y="5"/>
                    <a:pt x="5" y="4"/>
                    <a:pt x="4" y="3"/>
                  </a:cubicBezTo>
                  <a:cubicBezTo>
                    <a:pt x="2"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11" name="Freeform 181">
              <a:extLst>
                <a:ext uri="{FF2B5EF4-FFF2-40B4-BE49-F238E27FC236}">
                  <a16:creationId xmlns:a16="http://schemas.microsoft.com/office/drawing/2014/main" id="{541FABD0-F8A2-4C72-8193-E86A6180E093}"/>
                </a:ext>
              </a:extLst>
            </p:cNvPr>
            <p:cNvSpPr>
              <a:spLocks/>
            </p:cNvSpPr>
            <p:nvPr/>
          </p:nvSpPr>
          <p:spPr bwMode="auto">
            <a:xfrm>
              <a:off x="8559261" y="6848114"/>
              <a:ext cx="19772" cy="0"/>
            </a:xfrm>
            <a:custGeom>
              <a:avLst/>
              <a:gdLst>
                <a:gd name="T0" fmla="*/ 2 w 6"/>
                <a:gd name="T1" fmla="*/ 0 w 6"/>
                <a:gd name="T2" fmla="*/ 1 w 6"/>
                <a:gd name="T3" fmla="*/ 6 w 6"/>
                <a:gd name="T4" fmla="*/ 2 w 6"/>
              </a:gdLst>
              <a:ahLst/>
              <a:cxnLst>
                <a:cxn ang="0">
                  <a:pos x="T0" y="0"/>
                </a:cxn>
                <a:cxn ang="0">
                  <a:pos x="T1" y="0"/>
                </a:cxn>
                <a:cxn ang="0">
                  <a:pos x="T2" y="0"/>
                </a:cxn>
                <a:cxn ang="0">
                  <a:pos x="T3" y="0"/>
                </a:cxn>
                <a:cxn ang="0">
                  <a:pos x="T4" y="0"/>
                </a:cxn>
              </a:cxnLst>
              <a:rect l="0" t="0" r="r" b="b"/>
              <a:pathLst>
                <a:path w="6">
                  <a:moveTo>
                    <a:pt x="2" y="0"/>
                  </a:moveTo>
                  <a:cubicBezTo>
                    <a:pt x="1" y="0"/>
                    <a:pt x="0" y="0"/>
                    <a:pt x="0" y="0"/>
                  </a:cubicBezTo>
                  <a:cubicBezTo>
                    <a:pt x="0" y="0"/>
                    <a:pt x="1" y="0"/>
                    <a:pt x="1" y="0"/>
                  </a:cubicBezTo>
                  <a:cubicBezTo>
                    <a:pt x="3" y="0"/>
                    <a:pt x="4" y="0"/>
                    <a:pt x="6" y="0"/>
                  </a:cubicBezTo>
                  <a:cubicBezTo>
                    <a:pt x="5"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12" name="Freeform 182">
              <a:extLst>
                <a:ext uri="{FF2B5EF4-FFF2-40B4-BE49-F238E27FC236}">
                  <a16:creationId xmlns:a16="http://schemas.microsoft.com/office/drawing/2014/main" id="{DA7825C2-2F8B-4C74-A2C5-C7EBE001CAAC}"/>
                </a:ext>
              </a:extLst>
            </p:cNvPr>
            <p:cNvSpPr>
              <a:spLocks/>
            </p:cNvSpPr>
            <p:nvPr/>
          </p:nvSpPr>
          <p:spPr bwMode="auto">
            <a:xfrm>
              <a:off x="8194895" y="6687115"/>
              <a:ext cx="21184" cy="9886"/>
            </a:xfrm>
            <a:custGeom>
              <a:avLst/>
              <a:gdLst>
                <a:gd name="T0" fmla="*/ 2 w 6"/>
                <a:gd name="T1" fmla="*/ 0 h 3"/>
                <a:gd name="T2" fmla="*/ 2 w 6"/>
                <a:gd name="T3" fmla="*/ 3 h 3"/>
                <a:gd name="T4" fmla="*/ 4 w 6"/>
                <a:gd name="T5" fmla="*/ 0 h 3"/>
                <a:gd name="T6" fmla="*/ 5 w 6"/>
                <a:gd name="T7" fmla="*/ 0 h 3"/>
                <a:gd name="T8" fmla="*/ 5 w 6"/>
                <a:gd name="T9" fmla="*/ 0 h 3"/>
                <a:gd name="T10" fmla="*/ 2 w 6"/>
                <a:gd name="T11" fmla="*/ 0 h 3"/>
              </a:gdLst>
              <a:ahLst/>
              <a:cxnLst>
                <a:cxn ang="0">
                  <a:pos x="T0" y="T1"/>
                </a:cxn>
                <a:cxn ang="0">
                  <a:pos x="T2" y="T3"/>
                </a:cxn>
                <a:cxn ang="0">
                  <a:pos x="T4" y="T5"/>
                </a:cxn>
                <a:cxn ang="0">
                  <a:pos x="T6" y="T7"/>
                </a:cxn>
                <a:cxn ang="0">
                  <a:pos x="T8" y="T9"/>
                </a:cxn>
                <a:cxn ang="0">
                  <a:pos x="T10" y="T11"/>
                </a:cxn>
              </a:cxnLst>
              <a:rect l="0" t="0" r="r" b="b"/>
              <a:pathLst>
                <a:path w="6" h="3">
                  <a:moveTo>
                    <a:pt x="2" y="0"/>
                  </a:moveTo>
                  <a:cubicBezTo>
                    <a:pt x="1" y="0"/>
                    <a:pt x="0" y="0"/>
                    <a:pt x="2" y="3"/>
                  </a:cubicBezTo>
                  <a:cubicBezTo>
                    <a:pt x="3" y="2"/>
                    <a:pt x="4" y="1"/>
                    <a:pt x="4" y="0"/>
                  </a:cubicBezTo>
                  <a:cubicBezTo>
                    <a:pt x="4" y="0"/>
                    <a:pt x="5" y="0"/>
                    <a:pt x="5" y="0"/>
                  </a:cubicBezTo>
                  <a:cubicBezTo>
                    <a:pt x="6" y="0"/>
                    <a:pt x="6" y="0"/>
                    <a:pt x="5" y="0"/>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13" name="Freeform 183">
              <a:extLst>
                <a:ext uri="{FF2B5EF4-FFF2-40B4-BE49-F238E27FC236}">
                  <a16:creationId xmlns:a16="http://schemas.microsoft.com/office/drawing/2014/main" id="{0E940457-F7D9-465A-AD71-044C30D346FD}"/>
                </a:ext>
              </a:extLst>
            </p:cNvPr>
            <p:cNvSpPr>
              <a:spLocks noEditPoints="1"/>
            </p:cNvSpPr>
            <p:nvPr/>
          </p:nvSpPr>
          <p:spPr bwMode="auto">
            <a:xfrm>
              <a:off x="8655295" y="6781737"/>
              <a:ext cx="11298" cy="5649"/>
            </a:xfrm>
            <a:custGeom>
              <a:avLst/>
              <a:gdLst>
                <a:gd name="T0" fmla="*/ 1 w 3"/>
                <a:gd name="T1" fmla="*/ 2 h 2"/>
                <a:gd name="T2" fmla="*/ 0 w 3"/>
                <a:gd name="T3" fmla="*/ 2 h 2"/>
                <a:gd name="T4" fmla="*/ 1 w 3"/>
                <a:gd name="T5" fmla="*/ 2 h 2"/>
                <a:gd name="T6" fmla="*/ 3 w 3"/>
                <a:gd name="T7" fmla="*/ 0 h 2"/>
                <a:gd name="T8" fmla="*/ 1 w 3"/>
                <a:gd name="T9" fmla="*/ 2 h 2"/>
                <a:gd name="T10" fmla="*/ 3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1" y="2"/>
                  </a:moveTo>
                  <a:cubicBezTo>
                    <a:pt x="1" y="2"/>
                    <a:pt x="0" y="2"/>
                    <a:pt x="0" y="2"/>
                  </a:cubicBezTo>
                  <a:cubicBezTo>
                    <a:pt x="0" y="2"/>
                    <a:pt x="1" y="2"/>
                    <a:pt x="1" y="2"/>
                  </a:cubicBezTo>
                  <a:moveTo>
                    <a:pt x="3" y="0"/>
                  </a:moveTo>
                  <a:cubicBezTo>
                    <a:pt x="2" y="1"/>
                    <a:pt x="1" y="1"/>
                    <a:pt x="1" y="2"/>
                  </a:cubicBezTo>
                  <a:cubicBezTo>
                    <a:pt x="1" y="1"/>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14" name="Freeform 184">
              <a:extLst>
                <a:ext uri="{FF2B5EF4-FFF2-40B4-BE49-F238E27FC236}">
                  <a16:creationId xmlns:a16="http://schemas.microsoft.com/office/drawing/2014/main" id="{50E6E5CE-1A79-4D25-BA4A-BF814A8DAD2F}"/>
                </a:ext>
              </a:extLst>
            </p:cNvPr>
            <p:cNvSpPr>
              <a:spLocks/>
            </p:cNvSpPr>
            <p:nvPr/>
          </p:nvSpPr>
          <p:spPr bwMode="auto">
            <a:xfrm>
              <a:off x="8091799" y="6593905"/>
              <a:ext cx="16947" cy="14123"/>
            </a:xfrm>
            <a:custGeom>
              <a:avLst/>
              <a:gdLst>
                <a:gd name="T0" fmla="*/ 1 w 5"/>
                <a:gd name="T1" fmla="*/ 0 h 4"/>
                <a:gd name="T2" fmla="*/ 1 w 5"/>
                <a:gd name="T3" fmla="*/ 4 h 4"/>
                <a:gd name="T4" fmla="*/ 1 w 5"/>
                <a:gd name="T5" fmla="*/ 0 h 4"/>
              </a:gdLst>
              <a:ahLst/>
              <a:cxnLst>
                <a:cxn ang="0">
                  <a:pos x="T0" y="T1"/>
                </a:cxn>
                <a:cxn ang="0">
                  <a:pos x="T2" y="T3"/>
                </a:cxn>
                <a:cxn ang="0">
                  <a:pos x="T4" y="T5"/>
                </a:cxn>
              </a:cxnLst>
              <a:rect l="0" t="0" r="r" b="b"/>
              <a:pathLst>
                <a:path w="5" h="4">
                  <a:moveTo>
                    <a:pt x="1" y="0"/>
                  </a:moveTo>
                  <a:cubicBezTo>
                    <a:pt x="0" y="1"/>
                    <a:pt x="1" y="3"/>
                    <a:pt x="1" y="4"/>
                  </a:cubicBezTo>
                  <a:cubicBezTo>
                    <a:pt x="4" y="1"/>
                    <a:pt x="5"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15" name="Freeform 185">
              <a:extLst>
                <a:ext uri="{FF2B5EF4-FFF2-40B4-BE49-F238E27FC236}">
                  <a16:creationId xmlns:a16="http://schemas.microsoft.com/office/drawing/2014/main" id="{16F7E8BB-A24C-4999-9334-90AD8D16085C}"/>
                </a:ext>
              </a:extLst>
            </p:cNvPr>
            <p:cNvSpPr>
              <a:spLocks/>
            </p:cNvSpPr>
            <p:nvPr/>
          </p:nvSpPr>
          <p:spPr bwMode="auto">
            <a:xfrm>
              <a:off x="8045194" y="5945671"/>
              <a:ext cx="14123" cy="7061"/>
            </a:xfrm>
            <a:custGeom>
              <a:avLst/>
              <a:gdLst>
                <a:gd name="T0" fmla="*/ 4 w 4"/>
                <a:gd name="T1" fmla="*/ 0 h 2"/>
                <a:gd name="T2" fmla="*/ 0 w 4"/>
                <a:gd name="T3" fmla="*/ 2 h 2"/>
                <a:gd name="T4" fmla="*/ 4 w 4"/>
                <a:gd name="T5" fmla="*/ 0 h 2"/>
              </a:gdLst>
              <a:ahLst/>
              <a:cxnLst>
                <a:cxn ang="0">
                  <a:pos x="T0" y="T1"/>
                </a:cxn>
                <a:cxn ang="0">
                  <a:pos x="T2" y="T3"/>
                </a:cxn>
                <a:cxn ang="0">
                  <a:pos x="T4" y="T5"/>
                </a:cxn>
              </a:cxnLst>
              <a:rect l="0" t="0" r="r" b="b"/>
              <a:pathLst>
                <a:path w="4" h="2">
                  <a:moveTo>
                    <a:pt x="4" y="0"/>
                  </a:moveTo>
                  <a:cubicBezTo>
                    <a:pt x="2" y="0"/>
                    <a:pt x="1" y="1"/>
                    <a:pt x="0" y="2"/>
                  </a:cubicBezTo>
                  <a:cubicBezTo>
                    <a:pt x="2"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16" name="Freeform 186">
              <a:extLst>
                <a:ext uri="{FF2B5EF4-FFF2-40B4-BE49-F238E27FC236}">
                  <a16:creationId xmlns:a16="http://schemas.microsoft.com/office/drawing/2014/main" id="{61059990-4428-4A39-99D6-788AD3DA1EBD}"/>
                </a:ext>
              </a:extLst>
            </p:cNvPr>
            <p:cNvSpPr>
              <a:spLocks/>
            </p:cNvSpPr>
            <p:nvPr/>
          </p:nvSpPr>
          <p:spPr bwMode="auto">
            <a:xfrm>
              <a:off x="8038133" y="5685813"/>
              <a:ext cx="26833" cy="9886"/>
            </a:xfrm>
            <a:custGeom>
              <a:avLst/>
              <a:gdLst>
                <a:gd name="T0" fmla="*/ 6 w 8"/>
                <a:gd name="T1" fmla="*/ 0 h 3"/>
                <a:gd name="T2" fmla="*/ 4 w 8"/>
                <a:gd name="T3" fmla="*/ 2 h 3"/>
                <a:gd name="T4" fmla="*/ 3 w 8"/>
                <a:gd name="T5" fmla="*/ 2 h 3"/>
                <a:gd name="T6" fmla="*/ 3 w 8"/>
                <a:gd name="T7" fmla="*/ 2 h 3"/>
                <a:gd name="T8" fmla="*/ 2 w 8"/>
                <a:gd name="T9" fmla="*/ 2 h 3"/>
                <a:gd name="T10" fmla="*/ 0 w 8"/>
                <a:gd name="T11" fmla="*/ 2 h 3"/>
                <a:gd name="T12" fmla="*/ 4 w 8"/>
                <a:gd name="T13" fmla="*/ 3 h 3"/>
                <a:gd name="T14" fmla="*/ 6 w 8"/>
                <a:gd name="T15" fmla="*/ 3 h 3"/>
                <a:gd name="T16" fmla="*/ 8 w 8"/>
                <a:gd name="T17" fmla="*/ 3 h 3"/>
                <a:gd name="T18" fmla="*/ 8 w 8"/>
                <a:gd name="T19" fmla="*/ 3 h 3"/>
                <a:gd name="T20" fmla="*/ 6 w 8"/>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3">
                  <a:moveTo>
                    <a:pt x="6" y="0"/>
                  </a:moveTo>
                  <a:cubicBezTo>
                    <a:pt x="5" y="0"/>
                    <a:pt x="5" y="2"/>
                    <a:pt x="4" y="2"/>
                  </a:cubicBezTo>
                  <a:cubicBezTo>
                    <a:pt x="4" y="2"/>
                    <a:pt x="4" y="2"/>
                    <a:pt x="3" y="2"/>
                  </a:cubicBezTo>
                  <a:cubicBezTo>
                    <a:pt x="3" y="2"/>
                    <a:pt x="3" y="2"/>
                    <a:pt x="3" y="2"/>
                  </a:cubicBezTo>
                  <a:cubicBezTo>
                    <a:pt x="2" y="2"/>
                    <a:pt x="2" y="2"/>
                    <a:pt x="2" y="2"/>
                  </a:cubicBezTo>
                  <a:cubicBezTo>
                    <a:pt x="1" y="2"/>
                    <a:pt x="1" y="2"/>
                    <a:pt x="0" y="2"/>
                  </a:cubicBezTo>
                  <a:cubicBezTo>
                    <a:pt x="2" y="3"/>
                    <a:pt x="3" y="3"/>
                    <a:pt x="4" y="3"/>
                  </a:cubicBezTo>
                  <a:cubicBezTo>
                    <a:pt x="5" y="3"/>
                    <a:pt x="5" y="3"/>
                    <a:pt x="6" y="3"/>
                  </a:cubicBezTo>
                  <a:cubicBezTo>
                    <a:pt x="7" y="3"/>
                    <a:pt x="7" y="3"/>
                    <a:pt x="8" y="3"/>
                  </a:cubicBezTo>
                  <a:cubicBezTo>
                    <a:pt x="8" y="3"/>
                    <a:pt x="8" y="3"/>
                    <a:pt x="8" y="3"/>
                  </a:cubicBezTo>
                  <a:cubicBezTo>
                    <a:pt x="7" y="1"/>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17" name="Freeform 187">
              <a:extLst>
                <a:ext uri="{FF2B5EF4-FFF2-40B4-BE49-F238E27FC236}">
                  <a16:creationId xmlns:a16="http://schemas.microsoft.com/office/drawing/2014/main" id="{FE69A2DF-9E88-4651-BFB5-81936214462C}"/>
                </a:ext>
              </a:extLst>
            </p:cNvPr>
            <p:cNvSpPr>
              <a:spLocks/>
            </p:cNvSpPr>
            <p:nvPr/>
          </p:nvSpPr>
          <p:spPr bwMode="auto">
            <a:xfrm>
              <a:off x="8096036" y="5699936"/>
              <a:ext cx="12710" cy="15535"/>
            </a:xfrm>
            <a:custGeom>
              <a:avLst/>
              <a:gdLst>
                <a:gd name="T0" fmla="*/ 3 w 4"/>
                <a:gd name="T1" fmla="*/ 0 h 5"/>
                <a:gd name="T2" fmla="*/ 1 w 4"/>
                <a:gd name="T3" fmla="*/ 1 h 5"/>
                <a:gd name="T4" fmla="*/ 2 w 4"/>
                <a:gd name="T5" fmla="*/ 5 h 5"/>
                <a:gd name="T6" fmla="*/ 4 w 4"/>
                <a:gd name="T7" fmla="*/ 4 h 5"/>
                <a:gd name="T8" fmla="*/ 3 w 4"/>
                <a:gd name="T9" fmla="*/ 0 h 5"/>
              </a:gdLst>
              <a:ahLst/>
              <a:cxnLst>
                <a:cxn ang="0">
                  <a:pos x="T0" y="T1"/>
                </a:cxn>
                <a:cxn ang="0">
                  <a:pos x="T2" y="T3"/>
                </a:cxn>
                <a:cxn ang="0">
                  <a:pos x="T4" y="T5"/>
                </a:cxn>
                <a:cxn ang="0">
                  <a:pos x="T6" y="T7"/>
                </a:cxn>
                <a:cxn ang="0">
                  <a:pos x="T8" y="T9"/>
                </a:cxn>
              </a:cxnLst>
              <a:rect l="0" t="0" r="r" b="b"/>
              <a:pathLst>
                <a:path w="4" h="5">
                  <a:moveTo>
                    <a:pt x="3" y="0"/>
                  </a:moveTo>
                  <a:cubicBezTo>
                    <a:pt x="2" y="0"/>
                    <a:pt x="2" y="1"/>
                    <a:pt x="1" y="1"/>
                  </a:cubicBezTo>
                  <a:cubicBezTo>
                    <a:pt x="0" y="2"/>
                    <a:pt x="0" y="5"/>
                    <a:pt x="2" y="5"/>
                  </a:cubicBezTo>
                  <a:cubicBezTo>
                    <a:pt x="3" y="5"/>
                    <a:pt x="3" y="5"/>
                    <a:pt x="4" y="4"/>
                  </a:cubicBezTo>
                  <a:cubicBezTo>
                    <a:pt x="4" y="3"/>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18" name="Freeform 188">
              <a:extLst>
                <a:ext uri="{FF2B5EF4-FFF2-40B4-BE49-F238E27FC236}">
                  <a16:creationId xmlns:a16="http://schemas.microsoft.com/office/drawing/2014/main" id="{D621FF15-CEAB-44A8-8435-712247DCD519}"/>
                </a:ext>
              </a:extLst>
            </p:cNvPr>
            <p:cNvSpPr>
              <a:spLocks/>
            </p:cNvSpPr>
            <p:nvPr/>
          </p:nvSpPr>
          <p:spPr bwMode="auto">
            <a:xfrm>
              <a:off x="8005651" y="6356643"/>
              <a:ext cx="36719" cy="31070"/>
            </a:xfrm>
            <a:custGeom>
              <a:avLst/>
              <a:gdLst>
                <a:gd name="T0" fmla="*/ 8 w 11"/>
                <a:gd name="T1" fmla="*/ 0 h 9"/>
                <a:gd name="T2" fmla="*/ 0 w 11"/>
                <a:gd name="T3" fmla="*/ 9 h 9"/>
                <a:gd name="T4" fmla="*/ 6 w 11"/>
                <a:gd name="T5" fmla="*/ 4 h 9"/>
                <a:gd name="T6" fmla="*/ 7 w 11"/>
                <a:gd name="T7" fmla="*/ 3 h 9"/>
                <a:gd name="T8" fmla="*/ 9 w 11"/>
                <a:gd name="T9" fmla="*/ 7 h 9"/>
                <a:gd name="T10" fmla="*/ 9 w 11"/>
                <a:gd name="T11" fmla="*/ 7 h 9"/>
                <a:gd name="T12" fmla="*/ 9 w 11"/>
                <a:gd name="T13" fmla="*/ 3 h 9"/>
                <a:gd name="T14" fmla="*/ 10 w 11"/>
                <a:gd name="T15" fmla="*/ 3 h 9"/>
                <a:gd name="T16" fmla="*/ 8 w 11"/>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9">
                  <a:moveTo>
                    <a:pt x="8" y="0"/>
                  </a:moveTo>
                  <a:cubicBezTo>
                    <a:pt x="5" y="0"/>
                    <a:pt x="1" y="7"/>
                    <a:pt x="0" y="9"/>
                  </a:cubicBezTo>
                  <a:cubicBezTo>
                    <a:pt x="3" y="8"/>
                    <a:pt x="7" y="7"/>
                    <a:pt x="6" y="4"/>
                  </a:cubicBezTo>
                  <a:cubicBezTo>
                    <a:pt x="6" y="4"/>
                    <a:pt x="7" y="3"/>
                    <a:pt x="7" y="3"/>
                  </a:cubicBezTo>
                  <a:cubicBezTo>
                    <a:pt x="7" y="4"/>
                    <a:pt x="8" y="7"/>
                    <a:pt x="9" y="7"/>
                  </a:cubicBezTo>
                  <a:cubicBezTo>
                    <a:pt x="9" y="7"/>
                    <a:pt x="9" y="7"/>
                    <a:pt x="9" y="7"/>
                  </a:cubicBezTo>
                  <a:cubicBezTo>
                    <a:pt x="11" y="6"/>
                    <a:pt x="9" y="4"/>
                    <a:pt x="9" y="3"/>
                  </a:cubicBezTo>
                  <a:cubicBezTo>
                    <a:pt x="9" y="3"/>
                    <a:pt x="10" y="3"/>
                    <a:pt x="10" y="3"/>
                  </a:cubicBezTo>
                  <a:cubicBezTo>
                    <a:pt x="10" y="1"/>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19" name="Freeform 189">
              <a:extLst>
                <a:ext uri="{FF2B5EF4-FFF2-40B4-BE49-F238E27FC236}">
                  <a16:creationId xmlns:a16="http://schemas.microsoft.com/office/drawing/2014/main" id="{AC8C0161-DF76-47A4-8D84-61E19654B373}"/>
                </a:ext>
              </a:extLst>
            </p:cNvPr>
            <p:cNvSpPr>
              <a:spLocks/>
            </p:cNvSpPr>
            <p:nvPr/>
          </p:nvSpPr>
          <p:spPr bwMode="auto">
            <a:xfrm>
              <a:off x="7985879" y="6020522"/>
              <a:ext cx="36719" cy="22596"/>
            </a:xfrm>
            <a:custGeom>
              <a:avLst/>
              <a:gdLst>
                <a:gd name="T0" fmla="*/ 8 w 11"/>
                <a:gd name="T1" fmla="*/ 0 h 7"/>
                <a:gd name="T2" fmla="*/ 7 w 11"/>
                <a:gd name="T3" fmla="*/ 5 h 7"/>
                <a:gd name="T4" fmla="*/ 3 w 11"/>
                <a:gd name="T5" fmla="*/ 3 h 7"/>
                <a:gd name="T6" fmla="*/ 0 w 11"/>
                <a:gd name="T7" fmla="*/ 6 h 7"/>
                <a:gd name="T8" fmla="*/ 7 w 11"/>
                <a:gd name="T9" fmla="*/ 7 h 7"/>
                <a:gd name="T10" fmla="*/ 8 w 11"/>
                <a:gd name="T11" fmla="*/ 0 h 7"/>
              </a:gdLst>
              <a:ahLst/>
              <a:cxnLst>
                <a:cxn ang="0">
                  <a:pos x="T0" y="T1"/>
                </a:cxn>
                <a:cxn ang="0">
                  <a:pos x="T2" y="T3"/>
                </a:cxn>
                <a:cxn ang="0">
                  <a:pos x="T4" y="T5"/>
                </a:cxn>
                <a:cxn ang="0">
                  <a:pos x="T6" y="T7"/>
                </a:cxn>
                <a:cxn ang="0">
                  <a:pos x="T8" y="T9"/>
                </a:cxn>
                <a:cxn ang="0">
                  <a:pos x="T10" y="T11"/>
                </a:cxn>
              </a:cxnLst>
              <a:rect l="0" t="0" r="r" b="b"/>
              <a:pathLst>
                <a:path w="11" h="7">
                  <a:moveTo>
                    <a:pt x="8" y="0"/>
                  </a:moveTo>
                  <a:cubicBezTo>
                    <a:pt x="7" y="2"/>
                    <a:pt x="6" y="4"/>
                    <a:pt x="7" y="5"/>
                  </a:cubicBezTo>
                  <a:cubicBezTo>
                    <a:pt x="6" y="4"/>
                    <a:pt x="4" y="3"/>
                    <a:pt x="3" y="3"/>
                  </a:cubicBezTo>
                  <a:cubicBezTo>
                    <a:pt x="1" y="3"/>
                    <a:pt x="0" y="4"/>
                    <a:pt x="0" y="6"/>
                  </a:cubicBezTo>
                  <a:cubicBezTo>
                    <a:pt x="2" y="6"/>
                    <a:pt x="5" y="7"/>
                    <a:pt x="7" y="7"/>
                  </a:cubicBezTo>
                  <a:cubicBezTo>
                    <a:pt x="11" y="7"/>
                    <a:pt x="9" y="4"/>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20" name="Freeform 190">
              <a:extLst>
                <a:ext uri="{FF2B5EF4-FFF2-40B4-BE49-F238E27FC236}">
                  <a16:creationId xmlns:a16="http://schemas.microsoft.com/office/drawing/2014/main" id="{1C066E0A-3147-40D7-95A2-D13893D450D7}"/>
                </a:ext>
              </a:extLst>
            </p:cNvPr>
            <p:cNvSpPr>
              <a:spLocks/>
            </p:cNvSpPr>
            <p:nvPr/>
          </p:nvSpPr>
          <p:spPr bwMode="auto">
            <a:xfrm>
              <a:off x="8062142" y="6397599"/>
              <a:ext cx="26833" cy="22596"/>
            </a:xfrm>
            <a:custGeom>
              <a:avLst/>
              <a:gdLst>
                <a:gd name="T0" fmla="*/ 5 w 8"/>
                <a:gd name="T1" fmla="*/ 0 h 7"/>
                <a:gd name="T2" fmla="*/ 3 w 8"/>
                <a:gd name="T3" fmla="*/ 3 h 7"/>
                <a:gd name="T4" fmla="*/ 1 w 8"/>
                <a:gd name="T5" fmla="*/ 3 h 7"/>
                <a:gd name="T6" fmla="*/ 1 w 8"/>
                <a:gd name="T7" fmla="*/ 4 h 7"/>
                <a:gd name="T8" fmla="*/ 4 w 8"/>
                <a:gd name="T9" fmla="*/ 6 h 7"/>
                <a:gd name="T10" fmla="*/ 6 w 8"/>
                <a:gd name="T11" fmla="*/ 7 h 7"/>
                <a:gd name="T12" fmla="*/ 5 w 8"/>
                <a:gd name="T13" fmla="*/ 0 h 7"/>
                <a:gd name="T14" fmla="*/ 5 w 8"/>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7">
                  <a:moveTo>
                    <a:pt x="5" y="0"/>
                  </a:moveTo>
                  <a:cubicBezTo>
                    <a:pt x="2" y="0"/>
                    <a:pt x="4" y="2"/>
                    <a:pt x="3" y="3"/>
                  </a:cubicBezTo>
                  <a:cubicBezTo>
                    <a:pt x="1" y="3"/>
                    <a:pt x="1" y="3"/>
                    <a:pt x="1" y="3"/>
                  </a:cubicBezTo>
                  <a:cubicBezTo>
                    <a:pt x="1" y="3"/>
                    <a:pt x="0" y="3"/>
                    <a:pt x="1" y="4"/>
                  </a:cubicBezTo>
                  <a:cubicBezTo>
                    <a:pt x="2" y="5"/>
                    <a:pt x="3" y="6"/>
                    <a:pt x="4" y="6"/>
                  </a:cubicBezTo>
                  <a:cubicBezTo>
                    <a:pt x="5" y="7"/>
                    <a:pt x="5" y="7"/>
                    <a:pt x="6" y="7"/>
                  </a:cubicBezTo>
                  <a:cubicBezTo>
                    <a:pt x="8" y="7"/>
                    <a:pt x="6" y="3"/>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21" name="Freeform 191">
              <a:extLst>
                <a:ext uri="{FF2B5EF4-FFF2-40B4-BE49-F238E27FC236}">
                  <a16:creationId xmlns:a16="http://schemas.microsoft.com/office/drawing/2014/main" id="{69AF61BA-F363-40C1-8DD2-1F5D2D38BB4C}"/>
                </a:ext>
              </a:extLst>
            </p:cNvPr>
            <p:cNvSpPr>
              <a:spLocks/>
            </p:cNvSpPr>
            <p:nvPr/>
          </p:nvSpPr>
          <p:spPr bwMode="auto">
            <a:xfrm>
              <a:off x="7978818" y="6006399"/>
              <a:ext cx="26833" cy="16947"/>
            </a:xfrm>
            <a:custGeom>
              <a:avLst/>
              <a:gdLst>
                <a:gd name="T0" fmla="*/ 4 w 8"/>
                <a:gd name="T1" fmla="*/ 0 h 5"/>
                <a:gd name="T2" fmla="*/ 2 w 8"/>
                <a:gd name="T3" fmla="*/ 2 h 5"/>
                <a:gd name="T4" fmla="*/ 3 w 8"/>
                <a:gd name="T5" fmla="*/ 5 h 5"/>
                <a:gd name="T6" fmla="*/ 5 w 8"/>
                <a:gd name="T7" fmla="*/ 1 h 5"/>
                <a:gd name="T8" fmla="*/ 4 w 8"/>
                <a:gd name="T9" fmla="*/ 0 h 5"/>
              </a:gdLst>
              <a:ahLst/>
              <a:cxnLst>
                <a:cxn ang="0">
                  <a:pos x="T0" y="T1"/>
                </a:cxn>
                <a:cxn ang="0">
                  <a:pos x="T2" y="T3"/>
                </a:cxn>
                <a:cxn ang="0">
                  <a:pos x="T4" y="T5"/>
                </a:cxn>
                <a:cxn ang="0">
                  <a:pos x="T6" y="T7"/>
                </a:cxn>
                <a:cxn ang="0">
                  <a:pos x="T8" y="T9"/>
                </a:cxn>
              </a:cxnLst>
              <a:rect l="0" t="0" r="r" b="b"/>
              <a:pathLst>
                <a:path w="8" h="5">
                  <a:moveTo>
                    <a:pt x="4" y="0"/>
                  </a:moveTo>
                  <a:cubicBezTo>
                    <a:pt x="4" y="0"/>
                    <a:pt x="3" y="1"/>
                    <a:pt x="2" y="2"/>
                  </a:cubicBezTo>
                  <a:cubicBezTo>
                    <a:pt x="0" y="3"/>
                    <a:pt x="2" y="4"/>
                    <a:pt x="3" y="5"/>
                  </a:cubicBezTo>
                  <a:cubicBezTo>
                    <a:pt x="5" y="5"/>
                    <a:pt x="8" y="3"/>
                    <a:pt x="5" y="1"/>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22" name="Freeform 192">
              <a:extLst>
                <a:ext uri="{FF2B5EF4-FFF2-40B4-BE49-F238E27FC236}">
                  <a16:creationId xmlns:a16="http://schemas.microsoft.com/office/drawing/2014/main" id="{84578A04-B62D-4588-86B7-1D3589C1C169}"/>
                </a:ext>
              </a:extLst>
            </p:cNvPr>
            <p:cNvSpPr>
              <a:spLocks/>
            </p:cNvSpPr>
            <p:nvPr/>
          </p:nvSpPr>
          <p:spPr bwMode="auto">
            <a:xfrm>
              <a:off x="8079089" y="6487984"/>
              <a:ext cx="29658" cy="29658"/>
            </a:xfrm>
            <a:custGeom>
              <a:avLst/>
              <a:gdLst>
                <a:gd name="T0" fmla="*/ 7 w 9"/>
                <a:gd name="T1" fmla="*/ 0 h 9"/>
                <a:gd name="T2" fmla="*/ 0 w 9"/>
                <a:gd name="T3" fmla="*/ 4 h 9"/>
                <a:gd name="T4" fmla="*/ 1 w 9"/>
                <a:gd name="T5" fmla="*/ 4 h 9"/>
                <a:gd name="T6" fmla="*/ 4 w 9"/>
                <a:gd name="T7" fmla="*/ 3 h 9"/>
                <a:gd name="T8" fmla="*/ 3 w 9"/>
                <a:gd name="T9" fmla="*/ 9 h 9"/>
                <a:gd name="T10" fmla="*/ 7 w 9"/>
                <a:gd name="T11" fmla="*/ 5 h 9"/>
                <a:gd name="T12" fmla="*/ 7 w 9"/>
                <a:gd name="T13" fmla="*/ 2 h 9"/>
                <a:gd name="T14" fmla="*/ 9 w 9"/>
                <a:gd name="T15" fmla="*/ 1 h 9"/>
                <a:gd name="T16" fmla="*/ 7 w 9"/>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7" y="0"/>
                  </a:moveTo>
                  <a:cubicBezTo>
                    <a:pt x="5" y="0"/>
                    <a:pt x="1" y="2"/>
                    <a:pt x="0" y="4"/>
                  </a:cubicBezTo>
                  <a:cubicBezTo>
                    <a:pt x="0" y="4"/>
                    <a:pt x="1" y="4"/>
                    <a:pt x="1" y="4"/>
                  </a:cubicBezTo>
                  <a:cubicBezTo>
                    <a:pt x="2" y="4"/>
                    <a:pt x="3" y="4"/>
                    <a:pt x="4" y="3"/>
                  </a:cubicBezTo>
                  <a:cubicBezTo>
                    <a:pt x="4" y="5"/>
                    <a:pt x="3" y="7"/>
                    <a:pt x="3" y="9"/>
                  </a:cubicBezTo>
                  <a:cubicBezTo>
                    <a:pt x="5" y="8"/>
                    <a:pt x="7" y="7"/>
                    <a:pt x="7" y="5"/>
                  </a:cubicBezTo>
                  <a:cubicBezTo>
                    <a:pt x="7" y="5"/>
                    <a:pt x="7" y="3"/>
                    <a:pt x="7" y="2"/>
                  </a:cubicBezTo>
                  <a:cubicBezTo>
                    <a:pt x="8" y="2"/>
                    <a:pt x="9" y="2"/>
                    <a:pt x="9" y="1"/>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23" name="Freeform 193">
              <a:extLst>
                <a:ext uri="{FF2B5EF4-FFF2-40B4-BE49-F238E27FC236}">
                  <a16:creationId xmlns:a16="http://schemas.microsoft.com/office/drawing/2014/main" id="{6821F531-1AE5-4E46-BDFB-1DD49859B483}"/>
                </a:ext>
              </a:extLst>
            </p:cNvPr>
            <p:cNvSpPr>
              <a:spLocks/>
            </p:cNvSpPr>
            <p:nvPr/>
          </p:nvSpPr>
          <p:spPr bwMode="auto">
            <a:xfrm>
              <a:off x="8088975" y="5722532"/>
              <a:ext cx="9886" cy="19772"/>
            </a:xfrm>
            <a:custGeom>
              <a:avLst/>
              <a:gdLst>
                <a:gd name="T0" fmla="*/ 1 w 3"/>
                <a:gd name="T1" fmla="*/ 0 h 6"/>
                <a:gd name="T2" fmla="*/ 2 w 3"/>
                <a:gd name="T3" fmla="*/ 6 h 6"/>
                <a:gd name="T4" fmla="*/ 2 w 3"/>
                <a:gd name="T5" fmla="*/ 0 h 6"/>
                <a:gd name="T6" fmla="*/ 1 w 3"/>
                <a:gd name="T7" fmla="*/ 0 h 6"/>
              </a:gdLst>
              <a:ahLst/>
              <a:cxnLst>
                <a:cxn ang="0">
                  <a:pos x="T0" y="T1"/>
                </a:cxn>
                <a:cxn ang="0">
                  <a:pos x="T2" y="T3"/>
                </a:cxn>
                <a:cxn ang="0">
                  <a:pos x="T4" y="T5"/>
                </a:cxn>
                <a:cxn ang="0">
                  <a:pos x="T6" y="T7"/>
                </a:cxn>
              </a:cxnLst>
              <a:rect l="0" t="0" r="r" b="b"/>
              <a:pathLst>
                <a:path w="3" h="6">
                  <a:moveTo>
                    <a:pt x="1" y="0"/>
                  </a:moveTo>
                  <a:cubicBezTo>
                    <a:pt x="0" y="0"/>
                    <a:pt x="2" y="5"/>
                    <a:pt x="2" y="6"/>
                  </a:cubicBezTo>
                  <a:cubicBezTo>
                    <a:pt x="3" y="4"/>
                    <a:pt x="3" y="2"/>
                    <a:pt x="2"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24" name="Freeform 194">
              <a:extLst>
                <a:ext uri="{FF2B5EF4-FFF2-40B4-BE49-F238E27FC236}">
                  <a16:creationId xmlns:a16="http://schemas.microsoft.com/office/drawing/2014/main" id="{CF0A9F06-4D26-45E4-AAD4-9460E2A0ECD6}"/>
                </a:ext>
              </a:extLst>
            </p:cNvPr>
            <p:cNvSpPr>
              <a:spLocks/>
            </p:cNvSpPr>
            <p:nvPr/>
          </p:nvSpPr>
          <p:spPr bwMode="auto">
            <a:xfrm>
              <a:off x="8312113" y="6747843"/>
              <a:ext cx="63552" cy="26833"/>
            </a:xfrm>
            <a:custGeom>
              <a:avLst/>
              <a:gdLst>
                <a:gd name="T0" fmla="*/ 15 w 19"/>
                <a:gd name="T1" fmla="*/ 0 h 8"/>
                <a:gd name="T2" fmla="*/ 7 w 19"/>
                <a:gd name="T3" fmla="*/ 2 h 8"/>
                <a:gd name="T4" fmla="*/ 7 w 19"/>
                <a:gd name="T5" fmla="*/ 2 h 8"/>
                <a:gd name="T6" fmla="*/ 6 w 19"/>
                <a:gd name="T7" fmla="*/ 1 h 8"/>
                <a:gd name="T8" fmla="*/ 6 w 19"/>
                <a:gd name="T9" fmla="*/ 1 h 8"/>
                <a:gd name="T10" fmla="*/ 5 w 19"/>
                <a:gd name="T11" fmla="*/ 2 h 8"/>
                <a:gd name="T12" fmla="*/ 4 w 19"/>
                <a:gd name="T13" fmla="*/ 2 h 8"/>
                <a:gd name="T14" fmla="*/ 4 w 19"/>
                <a:gd name="T15" fmla="*/ 1 h 8"/>
                <a:gd name="T16" fmla="*/ 3 w 19"/>
                <a:gd name="T17" fmla="*/ 1 h 8"/>
                <a:gd name="T18" fmla="*/ 0 w 19"/>
                <a:gd name="T19" fmla="*/ 2 h 8"/>
                <a:gd name="T20" fmla="*/ 15 w 19"/>
                <a:gd name="T21" fmla="*/ 8 h 8"/>
                <a:gd name="T22" fmla="*/ 17 w 19"/>
                <a:gd name="T23" fmla="*/ 4 h 8"/>
                <a:gd name="T24" fmla="*/ 16 w 19"/>
                <a:gd name="T25" fmla="*/ 4 h 8"/>
                <a:gd name="T26" fmla="*/ 14 w 19"/>
                <a:gd name="T27" fmla="*/ 4 h 8"/>
                <a:gd name="T28" fmla="*/ 12 w 19"/>
                <a:gd name="T29" fmla="*/ 4 h 8"/>
                <a:gd name="T30" fmla="*/ 12 w 19"/>
                <a:gd name="T31" fmla="*/ 4 h 8"/>
                <a:gd name="T32" fmla="*/ 7 w 19"/>
                <a:gd name="T33" fmla="*/ 4 h 8"/>
                <a:gd name="T34" fmla="*/ 12 w 19"/>
                <a:gd name="T35" fmla="*/ 3 h 8"/>
                <a:gd name="T36" fmla="*/ 13 w 19"/>
                <a:gd name="T37" fmla="*/ 1 h 8"/>
                <a:gd name="T38" fmla="*/ 16 w 19"/>
                <a:gd name="T39" fmla="*/ 0 h 8"/>
                <a:gd name="T40" fmla="*/ 15 w 19"/>
                <a:gd name="T4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8">
                  <a:moveTo>
                    <a:pt x="15" y="0"/>
                  </a:moveTo>
                  <a:cubicBezTo>
                    <a:pt x="12" y="0"/>
                    <a:pt x="9" y="1"/>
                    <a:pt x="7" y="2"/>
                  </a:cubicBezTo>
                  <a:cubicBezTo>
                    <a:pt x="7" y="2"/>
                    <a:pt x="7" y="2"/>
                    <a:pt x="7" y="2"/>
                  </a:cubicBezTo>
                  <a:cubicBezTo>
                    <a:pt x="7" y="2"/>
                    <a:pt x="6" y="2"/>
                    <a:pt x="6" y="1"/>
                  </a:cubicBezTo>
                  <a:cubicBezTo>
                    <a:pt x="6" y="1"/>
                    <a:pt x="6" y="1"/>
                    <a:pt x="6" y="1"/>
                  </a:cubicBezTo>
                  <a:cubicBezTo>
                    <a:pt x="5" y="1"/>
                    <a:pt x="5" y="1"/>
                    <a:pt x="5" y="2"/>
                  </a:cubicBezTo>
                  <a:cubicBezTo>
                    <a:pt x="5" y="2"/>
                    <a:pt x="5" y="2"/>
                    <a:pt x="4" y="2"/>
                  </a:cubicBezTo>
                  <a:cubicBezTo>
                    <a:pt x="4" y="2"/>
                    <a:pt x="4" y="2"/>
                    <a:pt x="4" y="1"/>
                  </a:cubicBezTo>
                  <a:cubicBezTo>
                    <a:pt x="4" y="1"/>
                    <a:pt x="4" y="1"/>
                    <a:pt x="3" y="1"/>
                  </a:cubicBezTo>
                  <a:cubicBezTo>
                    <a:pt x="3" y="1"/>
                    <a:pt x="1" y="2"/>
                    <a:pt x="0" y="2"/>
                  </a:cubicBezTo>
                  <a:cubicBezTo>
                    <a:pt x="5" y="4"/>
                    <a:pt x="10" y="6"/>
                    <a:pt x="15" y="8"/>
                  </a:cubicBezTo>
                  <a:cubicBezTo>
                    <a:pt x="16" y="8"/>
                    <a:pt x="19" y="6"/>
                    <a:pt x="17" y="4"/>
                  </a:cubicBezTo>
                  <a:cubicBezTo>
                    <a:pt x="17" y="4"/>
                    <a:pt x="16" y="4"/>
                    <a:pt x="16" y="4"/>
                  </a:cubicBezTo>
                  <a:cubicBezTo>
                    <a:pt x="15" y="4"/>
                    <a:pt x="14" y="4"/>
                    <a:pt x="14" y="4"/>
                  </a:cubicBezTo>
                  <a:cubicBezTo>
                    <a:pt x="13" y="4"/>
                    <a:pt x="13" y="4"/>
                    <a:pt x="12" y="4"/>
                  </a:cubicBezTo>
                  <a:cubicBezTo>
                    <a:pt x="12" y="4"/>
                    <a:pt x="12" y="4"/>
                    <a:pt x="12" y="4"/>
                  </a:cubicBezTo>
                  <a:cubicBezTo>
                    <a:pt x="11" y="4"/>
                    <a:pt x="9" y="4"/>
                    <a:pt x="7" y="4"/>
                  </a:cubicBezTo>
                  <a:cubicBezTo>
                    <a:pt x="9" y="3"/>
                    <a:pt x="10" y="3"/>
                    <a:pt x="12" y="3"/>
                  </a:cubicBezTo>
                  <a:cubicBezTo>
                    <a:pt x="12" y="3"/>
                    <a:pt x="12" y="1"/>
                    <a:pt x="13" y="1"/>
                  </a:cubicBezTo>
                  <a:cubicBezTo>
                    <a:pt x="14" y="1"/>
                    <a:pt x="15" y="1"/>
                    <a:pt x="16" y="0"/>
                  </a:cubicBezTo>
                  <a:cubicBezTo>
                    <a:pt x="16" y="0"/>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25" name="Freeform 195">
              <a:extLst>
                <a:ext uri="{FF2B5EF4-FFF2-40B4-BE49-F238E27FC236}">
                  <a16:creationId xmlns:a16="http://schemas.microsoft.com/office/drawing/2014/main" id="{D719781B-4A5F-4F87-B542-D2CCEB64BC1A}"/>
                </a:ext>
              </a:extLst>
            </p:cNvPr>
            <p:cNvSpPr>
              <a:spLocks/>
            </p:cNvSpPr>
            <p:nvPr/>
          </p:nvSpPr>
          <p:spPr bwMode="auto">
            <a:xfrm>
              <a:off x="8282456" y="6740781"/>
              <a:ext cx="36719" cy="14123"/>
            </a:xfrm>
            <a:custGeom>
              <a:avLst/>
              <a:gdLst>
                <a:gd name="T0" fmla="*/ 3 w 11"/>
                <a:gd name="T1" fmla="*/ 0 h 4"/>
                <a:gd name="T2" fmla="*/ 2 w 11"/>
                <a:gd name="T3" fmla="*/ 4 h 4"/>
                <a:gd name="T4" fmla="*/ 5 w 11"/>
                <a:gd name="T5" fmla="*/ 1 h 4"/>
                <a:gd name="T6" fmla="*/ 7 w 11"/>
                <a:gd name="T7" fmla="*/ 2 h 4"/>
                <a:gd name="T8" fmla="*/ 7 w 11"/>
                <a:gd name="T9" fmla="*/ 2 h 4"/>
                <a:gd name="T10" fmla="*/ 8 w 11"/>
                <a:gd name="T11" fmla="*/ 4 h 4"/>
                <a:gd name="T12" fmla="*/ 8 w 11"/>
                <a:gd name="T13" fmla="*/ 4 h 4"/>
                <a:gd name="T14" fmla="*/ 9 w 11"/>
                <a:gd name="T15" fmla="*/ 3 h 4"/>
                <a:gd name="T16" fmla="*/ 9 w 11"/>
                <a:gd name="T17" fmla="*/ 3 h 4"/>
                <a:gd name="T18" fmla="*/ 10 w 11"/>
                <a:gd name="T19" fmla="*/ 3 h 4"/>
                <a:gd name="T20" fmla="*/ 11 w 11"/>
                <a:gd name="T21" fmla="*/ 3 h 4"/>
                <a:gd name="T22" fmla="*/ 11 w 11"/>
                <a:gd name="T23" fmla="*/ 3 h 4"/>
                <a:gd name="T24" fmla="*/ 4 w 11"/>
                <a:gd name="T25" fmla="*/ 0 h 4"/>
                <a:gd name="T26" fmla="*/ 3 w 11"/>
                <a:gd name="T2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4">
                  <a:moveTo>
                    <a:pt x="3" y="0"/>
                  </a:moveTo>
                  <a:cubicBezTo>
                    <a:pt x="0" y="0"/>
                    <a:pt x="1" y="0"/>
                    <a:pt x="2" y="4"/>
                  </a:cubicBezTo>
                  <a:cubicBezTo>
                    <a:pt x="3" y="2"/>
                    <a:pt x="3" y="1"/>
                    <a:pt x="5" y="1"/>
                  </a:cubicBezTo>
                  <a:cubicBezTo>
                    <a:pt x="4" y="1"/>
                    <a:pt x="7" y="2"/>
                    <a:pt x="7" y="2"/>
                  </a:cubicBezTo>
                  <a:cubicBezTo>
                    <a:pt x="7" y="2"/>
                    <a:pt x="7" y="2"/>
                    <a:pt x="7" y="2"/>
                  </a:cubicBezTo>
                  <a:cubicBezTo>
                    <a:pt x="8" y="2"/>
                    <a:pt x="7" y="3"/>
                    <a:pt x="8" y="4"/>
                  </a:cubicBezTo>
                  <a:cubicBezTo>
                    <a:pt x="8" y="4"/>
                    <a:pt x="8" y="4"/>
                    <a:pt x="8" y="4"/>
                  </a:cubicBezTo>
                  <a:cubicBezTo>
                    <a:pt x="9" y="4"/>
                    <a:pt x="9" y="3"/>
                    <a:pt x="9" y="3"/>
                  </a:cubicBezTo>
                  <a:cubicBezTo>
                    <a:pt x="9" y="3"/>
                    <a:pt x="9" y="3"/>
                    <a:pt x="9" y="3"/>
                  </a:cubicBezTo>
                  <a:cubicBezTo>
                    <a:pt x="9" y="3"/>
                    <a:pt x="10" y="3"/>
                    <a:pt x="10" y="3"/>
                  </a:cubicBezTo>
                  <a:cubicBezTo>
                    <a:pt x="10" y="3"/>
                    <a:pt x="10" y="3"/>
                    <a:pt x="11" y="3"/>
                  </a:cubicBezTo>
                  <a:cubicBezTo>
                    <a:pt x="11" y="3"/>
                    <a:pt x="11" y="3"/>
                    <a:pt x="11" y="3"/>
                  </a:cubicBezTo>
                  <a:cubicBezTo>
                    <a:pt x="9" y="1"/>
                    <a:pt x="6" y="0"/>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26" name="Freeform 196">
              <a:extLst>
                <a:ext uri="{FF2B5EF4-FFF2-40B4-BE49-F238E27FC236}">
                  <a16:creationId xmlns:a16="http://schemas.microsoft.com/office/drawing/2014/main" id="{ECA9EC36-9FAD-4B99-B977-3C02C6577315}"/>
                </a:ext>
              </a:extLst>
            </p:cNvPr>
            <p:cNvSpPr>
              <a:spLocks noEditPoints="1"/>
            </p:cNvSpPr>
            <p:nvPr/>
          </p:nvSpPr>
          <p:spPr bwMode="auto">
            <a:xfrm>
              <a:off x="8032484" y="6280380"/>
              <a:ext cx="39544" cy="43780"/>
            </a:xfrm>
            <a:custGeom>
              <a:avLst/>
              <a:gdLst>
                <a:gd name="T0" fmla="*/ 10 w 12"/>
                <a:gd name="T1" fmla="*/ 13 h 13"/>
                <a:gd name="T2" fmla="*/ 10 w 12"/>
                <a:gd name="T3" fmla="*/ 13 h 13"/>
                <a:gd name="T4" fmla="*/ 10 w 12"/>
                <a:gd name="T5" fmla="*/ 13 h 13"/>
                <a:gd name="T6" fmla="*/ 1 w 12"/>
                <a:gd name="T7" fmla="*/ 0 h 13"/>
                <a:gd name="T8" fmla="*/ 0 w 12"/>
                <a:gd name="T9" fmla="*/ 1 h 13"/>
                <a:gd name="T10" fmla="*/ 6 w 12"/>
                <a:gd name="T11" fmla="*/ 12 h 13"/>
                <a:gd name="T12" fmla="*/ 9 w 12"/>
                <a:gd name="T13" fmla="*/ 12 h 13"/>
                <a:gd name="T14" fmla="*/ 10 w 12"/>
                <a:gd name="T15" fmla="*/ 13 h 13"/>
                <a:gd name="T16" fmla="*/ 7 w 12"/>
                <a:gd name="T17" fmla="*/ 7 h 13"/>
                <a:gd name="T18" fmla="*/ 9 w 12"/>
                <a:gd name="T19" fmla="*/ 8 h 13"/>
                <a:gd name="T20" fmla="*/ 7 w 12"/>
                <a:gd name="T21" fmla="*/ 3 h 13"/>
                <a:gd name="T22" fmla="*/ 6 w 12"/>
                <a:gd name="T23" fmla="*/ 1 h 13"/>
                <a:gd name="T24" fmla="*/ 4 w 12"/>
                <a:gd name="T25" fmla="*/ 1 h 13"/>
                <a:gd name="T26" fmla="*/ 1 w 12"/>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3">
                  <a:moveTo>
                    <a:pt x="10" y="13"/>
                  </a:moveTo>
                  <a:cubicBezTo>
                    <a:pt x="10" y="13"/>
                    <a:pt x="10" y="13"/>
                    <a:pt x="10" y="13"/>
                  </a:cubicBezTo>
                  <a:cubicBezTo>
                    <a:pt x="10" y="13"/>
                    <a:pt x="10" y="13"/>
                    <a:pt x="10" y="13"/>
                  </a:cubicBezTo>
                  <a:moveTo>
                    <a:pt x="1" y="0"/>
                  </a:moveTo>
                  <a:cubicBezTo>
                    <a:pt x="0" y="0"/>
                    <a:pt x="0" y="0"/>
                    <a:pt x="0" y="1"/>
                  </a:cubicBezTo>
                  <a:cubicBezTo>
                    <a:pt x="0" y="4"/>
                    <a:pt x="3" y="11"/>
                    <a:pt x="6" y="12"/>
                  </a:cubicBezTo>
                  <a:cubicBezTo>
                    <a:pt x="6" y="12"/>
                    <a:pt x="8" y="12"/>
                    <a:pt x="9" y="12"/>
                  </a:cubicBezTo>
                  <a:cubicBezTo>
                    <a:pt x="10" y="12"/>
                    <a:pt x="11" y="12"/>
                    <a:pt x="10" y="13"/>
                  </a:cubicBezTo>
                  <a:cubicBezTo>
                    <a:pt x="12" y="11"/>
                    <a:pt x="8" y="9"/>
                    <a:pt x="7" y="7"/>
                  </a:cubicBezTo>
                  <a:cubicBezTo>
                    <a:pt x="8" y="8"/>
                    <a:pt x="8" y="8"/>
                    <a:pt x="9" y="8"/>
                  </a:cubicBezTo>
                  <a:cubicBezTo>
                    <a:pt x="9" y="7"/>
                    <a:pt x="8" y="4"/>
                    <a:pt x="7" y="3"/>
                  </a:cubicBezTo>
                  <a:cubicBezTo>
                    <a:pt x="6" y="1"/>
                    <a:pt x="6" y="1"/>
                    <a:pt x="6" y="1"/>
                  </a:cubicBezTo>
                  <a:cubicBezTo>
                    <a:pt x="6" y="1"/>
                    <a:pt x="5" y="1"/>
                    <a:pt x="4" y="1"/>
                  </a:cubicBezTo>
                  <a:cubicBezTo>
                    <a:pt x="4"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27" name="Freeform 197">
              <a:extLst>
                <a:ext uri="{FF2B5EF4-FFF2-40B4-BE49-F238E27FC236}">
                  <a16:creationId xmlns:a16="http://schemas.microsoft.com/office/drawing/2014/main" id="{1542AA8C-A99D-4573-98EC-8036101AC81B}"/>
                </a:ext>
              </a:extLst>
            </p:cNvPr>
            <p:cNvSpPr>
              <a:spLocks/>
            </p:cNvSpPr>
            <p:nvPr/>
          </p:nvSpPr>
          <p:spPr bwMode="auto">
            <a:xfrm>
              <a:off x="9903742" y="1835956"/>
              <a:ext cx="4237" cy="2825"/>
            </a:xfrm>
            <a:custGeom>
              <a:avLst/>
              <a:gdLst>
                <a:gd name="T0" fmla="*/ 1 w 1"/>
                <a:gd name="T1" fmla="*/ 0 h 1"/>
                <a:gd name="T2" fmla="*/ 0 w 1"/>
                <a:gd name="T3" fmla="*/ 0 h 1"/>
                <a:gd name="T4" fmla="*/ 0 w 1"/>
                <a:gd name="T5" fmla="*/ 1 h 1"/>
                <a:gd name="T6" fmla="*/ 1 w 1"/>
                <a:gd name="T7" fmla="*/ 0 h 1"/>
                <a:gd name="T8" fmla="*/ 1 w 1"/>
                <a:gd name="T9" fmla="*/ 0 h 1"/>
                <a:gd name="T10" fmla="*/ 1 w 1"/>
                <a:gd name="T11" fmla="*/ 0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0"/>
                    <a:pt x="1" y="0"/>
                    <a:pt x="0" y="0"/>
                  </a:cubicBezTo>
                  <a:cubicBezTo>
                    <a:pt x="0" y="1"/>
                    <a:pt x="0" y="1"/>
                    <a:pt x="0" y="1"/>
                  </a:cubicBezTo>
                  <a:cubicBezTo>
                    <a:pt x="0" y="1"/>
                    <a:pt x="0" y="0"/>
                    <a:pt x="1" y="0"/>
                  </a:cubicBezTo>
                  <a:cubicBezTo>
                    <a:pt x="1" y="0"/>
                    <a:pt x="1" y="0"/>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28" name="Freeform 198">
              <a:extLst>
                <a:ext uri="{FF2B5EF4-FFF2-40B4-BE49-F238E27FC236}">
                  <a16:creationId xmlns:a16="http://schemas.microsoft.com/office/drawing/2014/main" id="{E0354E18-A9D5-4400-BE38-328D07C5399F}"/>
                </a:ext>
              </a:extLst>
            </p:cNvPr>
            <p:cNvSpPr>
              <a:spLocks/>
            </p:cNvSpPr>
            <p:nvPr/>
          </p:nvSpPr>
          <p:spPr bwMode="auto">
            <a:xfrm>
              <a:off x="9861373" y="2006841"/>
              <a:ext cx="36719" cy="19772"/>
            </a:xfrm>
            <a:custGeom>
              <a:avLst/>
              <a:gdLst>
                <a:gd name="T0" fmla="*/ 8 w 11"/>
                <a:gd name="T1" fmla="*/ 0 h 6"/>
                <a:gd name="T2" fmla="*/ 7 w 11"/>
                <a:gd name="T3" fmla="*/ 0 h 6"/>
                <a:gd name="T4" fmla="*/ 4 w 11"/>
                <a:gd name="T5" fmla="*/ 1 h 6"/>
                <a:gd name="T6" fmla="*/ 1 w 11"/>
                <a:gd name="T7" fmla="*/ 3 h 6"/>
                <a:gd name="T8" fmla="*/ 3 w 11"/>
                <a:gd name="T9" fmla="*/ 5 h 6"/>
                <a:gd name="T10" fmla="*/ 3 w 11"/>
                <a:gd name="T11" fmla="*/ 5 h 6"/>
                <a:gd name="T12" fmla="*/ 4 w 11"/>
                <a:gd name="T13" fmla="*/ 6 h 6"/>
                <a:gd name="T14" fmla="*/ 5 w 11"/>
                <a:gd name="T15" fmla="*/ 5 h 6"/>
                <a:gd name="T16" fmla="*/ 6 w 11"/>
                <a:gd name="T17" fmla="*/ 4 h 6"/>
                <a:gd name="T18" fmla="*/ 6 w 11"/>
                <a:gd name="T19" fmla="*/ 4 h 6"/>
                <a:gd name="T20" fmla="*/ 11 w 11"/>
                <a:gd name="T21" fmla="*/ 1 h 6"/>
                <a:gd name="T22" fmla="*/ 8 w 11"/>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6">
                  <a:moveTo>
                    <a:pt x="8" y="0"/>
                  </a:moveTo>
                  <a:cubicBezTo>
                    <a:pt x="8" y="0"/>
                    <a:pt x="8" y="0"/>
                    <a:pt x="7" y="0"/>
                  </a:cubicBezTo>
                  <a:cubicBezTo>
                    <a:pt x="6" y="0"/>
                    <a:pt x="5" y="0"/>
                    <a:pt x="4" y="1"/>
                  </a:cubicBezTo>
                  <a:cubicBezTo>
                    <a:pt x="2" y="1"/>
                    <a:pt x="1" y="1"/>
                    <a:pt x="1" y="3"/>
                  </a:cubicBezTo>
                  <a:cubicBezTo>
                    <a:pt x="0" y="4"/>
                    <a:pt x="1" y="5"/>
                    <a:pt x="3" y="5"/>
                  </a:cubicBezTo>
                  <a:cubicBezTo>
                    <a:pt x="3" y="5"/>
                    <a:pt x="3" y="5"/>
                    <a:pt x="3" y="5"/>
                  </a:cubicBezTo>
                  <a:cubicBezTo>
                    <a:pt x="4" y="6"/>
                    <a:pt x="4" y="6"/>
                    <a:pt x="4" y="6"/>
                  </a:cubicBezTo>
                  <a:cubicBezTo>
                    <a:pt x="5" y="5"/>
                    <a:pt x="5" y="5"/>
                    <a:pt x="5" y="5"/>
                  </a:cubicBezTo>
                  <a:cubicBezTo>
                    <a:pt x="6" y="4"/>
                    <a:pt x="6" y="4"/>
                    <a:pt x="6" y="4"/>
                  </a:cubicBezTo>
                  <a:cubicBezTo>
                    <a:pt x="6" y="4"/>
                    <a:pt x="6" y="4"/>
                    <a:pt x="6" y="4"/>
                  </a:cubicBezTo>
                  <a:cubicBezTo>
                    <a:pt x="8" y="3"/>
                    <a:pt x="9" y="2"/>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29" name="Freeform 199">
              <a:extLst>
                <a:ext uri="{FF2B5EF4-FFF2-40B4-BE49-F238E27FC236}">
                  <a16:creationId xmlns:a16="http://schemas.microsoft.com/office/drawing/2014/main" id="{F3A308AE-EA12-4969-BDCF-B82DD9AA33CF}"/>
                </a:ext>
              </a:extLst>
            </p:cNvPr>
            <p:cNvSpPr>
              <a:spLocks/>
            </p:cNvSpPr>
            <p:nvPr/>
          </p:nvSpPr>
          <p:spPr bwMode="auto">
            <a:xfrm>
              <a:off x="9907978" y="1980007"/>
              <a:ext cx="63552" cy="22596"/>
            </a:xfrm>
            <a:custGeom>
              <a:avLst/>
              <a:gdLst>
                <a:gd name="T0" fmla="*/ 16 w 19"/>
                <a:gd name="T1" fmla="*/ 0 h 7"/>
                <a:gd name="T2" fmla="*/ 11 w 19"/>
                <a:gd name="T3" fmla="*/ 0 h 7"/>
                <a:gd name="T4" fmla="*/ 10 w 19"/>
                <a:gd name="T5" fmla="*/ 0 h 7"/>
                <a:gd name="T6" fmla="*/ 8 w 19"/>
                <a:gd name="T7" fmla="*/ 1 h 7"/>
                <a:gd name="T8" fmla="*/ 4 w 19"/>
                <a:gd name="T9" fmla="*/ 2 h 7"/>
                <a:gd name="T10" fmla="*/ 3 w 19"/>
                <a:gd name="T11" fmla="*/ 2 h 7"/>
                <a:gd name="T12" fmla="*/ 1 w 19"/>
                <a:gd name="T13" fmla="*/ 3 h 7"/>
                <a:gd name="T14" fmla="*/ 2 w 19"/>
                <a:gd name="T15" fmla="*/ 6 h 7"/>
                <a:gd name="T16" fmla="*/ 8 w 19"/>
                <a:gd name="T17" fmla="*/ 7 h 7"/>
                <a:gd name="T18" fmla="*/ 10 w 19"/>
                <a:gd name="T19" fmla="*/ 7 h 7"/>
                <a:gd name="T20" fmla="*/ 11 w 19"/>
                <a:gd name="T21" fmla="*/ 7 h 7"/>
                <a:gd name="T22" fmla="*/ 12 w 19"/>
                <a:gd name="T23" fmla="*/ 7 h 7"/>
                <a:gd name="T24" fmla="*/ 13 w 19"/>
                <a:gd name="T25" fmla="*/ 5 h 7"/>
                <a:gd name="T26" fmla="*/ 14 w 19"/>
                <a:gd name="T27" fmla="*/ 5 h 7"/>
                <a:gd name="T28" fmla="*/ 16 w 19"/>
                <a:gd name="T29" fmla="*/ 3 h 7"/>
                <a:gd name="T30" fmla="*/ 18 w 19"/>
                <a:gd name="T31" fmla="*/ 2 h 7"/>
                <a:gd name="T32" fmla="*/ 16 w 19"/>
                <a:gd name="T3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7">
                  <a:moveTo>
                    <a:pt x="16" y="0"/>
                  </a:moveTo>
                  <a:cubicBezTo>
                    <a:pt x="14" y="0"/>
                    <a:pt x="11" y="0"/>
                    <a:pt x="11" y="0"/>
                  </a:cubicBezTo>
                  <a:cubicBezTo>
                    <a:pt x="10" y="0"/>
                    <a:pt x="10" y="0"/>
                    <a:pt x="10" y="0"/>
                  </a:cubicBezTo>
                  <a:cubicBezTo>
                    <a:pt x="10" y="1"/>
                    <a:pt x="9" y="1"/>
                    <a:pt x="8" y="1"/>
                  </a:cubicBezTo>
                  <a:cubicBezTo>
                    <a:pt x="7" y="1"/>
                    <a:pt x="5" y="2"/>
                    <a:pt x="4" y="2"/>
                  </a:cubicBezTo>
                  <a:cubicBezTo>
                    <a:pt x="3" y="2"/>
                    <a:pt x="3" y="2"/>
                    <a:pt x="3" y="2"/>
                  </a:cubicBezTo>
                  <a:cubicBezTo>
                    <a:pt x="2" y="2"/>
                    <a:pt x="2" y="2"/>
                    <a:pt x="1" y="3"/>
                  </a:cubicBezTo>
                  <a:cubicBezTo>
                    <a:pt x="0" y="4"/>
                    <a:pt x="1" y="5"/>
                    <a:pt x="2" y="6"/>
                  </a:cubicBezTo>
                  <a:cubicBezTo>
                    <a:pt x="3" y="7"/>
                    <a:pt x="6" y="7"/>
                    <a:pt x="8" y="7"/>
                  </a:cubicBezTo>
                  <a:cubicBezTo>
                    <a:pt x="9" y="7"/>
                    <a:pt x="9" y="7"/>
                    <a:pt x="10" y="7"/>
                  </a:cubicBezTo>
                  <a:cubicBezTo>
                    <a:pt x="11" y="7"/>
                    <a:pt x="11" y="7"/>
                    <a:pt x="11" y="7"/>
                  </a:cubicBezTo>
                  <a:cubicBezTo>
                    <a:pt x="12" y="7"/>
                    <a:pt x="12" y="7"/>
                    <a:pt x="12" y="7"/>
                  </a:cubicBezTo>
                  <a:cubicBezTo>
                    <a:pt x="13" y="7"/>
                    <a:pt x="13" y="6"/>
                    <a:pt x="13" y="5"/>
                  </a:cubicBezTo>
                  <a:cubicBezTo>
                    <a:pt x="14" y="5"/>
                    <a:pt x="14" y="5"/>
                    <a:pt x="14" y="5"/>
                  </a:cubicBezTo>
                  <a:cubicBezTo>
                    <a:pt x="15" y="4"/>
                    <a:pt x="16" y="4"/>
                    <a:pt x="16" y="3"/>
                  </a:cubicBezTo>
                  <a:cubicBezTo>
                    <a:pt x="17" y="3"/>
                    <a:pt x="18" y="3"/>
                    <a:pt x="18" y="2"/>
                  </a:cubicBezTo>
                  <a:cubicBezTo>
                    <a:pt x="19" y="0"/>
                    <a:pt x="17"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30" name="Freeform 200">
              <a:extLst>
                <a:ext uri="{FF2B5EF4-FFF2-40B4-BE49-F238E27FC236}">
                  <a16:creationId xmlns:a16="http://schemas.microsoft.com/office/drawing/2014/main" id="{92F1CA93-3BB4-4BBD-9BC9-C0EDD0773330}"/>
                </a:ext>
              </a:extLst>
            </p:cNvPr>
            <p:cNvSpPr>
              <a:spLocks/>
            </p:cNvSpPr>
            <p:nvPr/>
          </p:nvSpPr>
          <p:spPr bwMode="auto">
            <a:xfrm>
              <a:off x="8789461" y="6728071"/>
              <a:ext cx="80499" cy="19772"/>
            </a:xfrm>
            <a:custGeom>
              <a:avLst/>
              <a:gdLst>
                <a:gd name="T0" fmla="*/ 15 w 24"/>
                <a:gd name="T1" fmla="*/ 0 h 6"/>
                <a:gd name="T2" fmla="*/ 4 w 24"/>
                <a:gd name="T3" fmla="*/ 6 h 6"/>
                <a:gd name="T4" fmla="*/ 24 w 24"/>
                <a:gd name="T5" fmla="*/ 0 h 6"/>
                <a:gd name="T6" fmla="*/ 15 w 24"/>
                <a:gd name="T7" fmla="*/ 0 h 6"/>
              </a:gdLst>
              <a:ahLst/>
              <a:cxnLst>
                <a:cxn ang="0">
                  <a:pos x="T0" y="T1"/>
                </a:cxn>
                <a:cxn ang="0">
                  <a:pos x="T2" y="T3"/>
                </a:cxn>
                <a:cxn ang="0">
                  <a:pos x="T4" y="T5"/>
                </a:cxn>
                <a:cxn ang="0">
                  <a:pos x="T6" y="T7"/>
                </a:cxn>
              </a:cxnLst>
              <a:rect l="0" t="0" r="r" b="b"/>
              <a:pathLst>
                <a:path w="24" h="6">
                  <a:moveTo>
                    <a:pt x="15" y="0"/>
                  </a:moveTo>
                  <a:cubicBezTo>
                    <a:pt x="8" y="0"/>
                    <a:pt x="0" y="1"/>
                    <a:pt x="4" y="6"/>
                  </a:cubicBezTo>
                  <a:cubicBezTo>
                    <a:pt x="11" y="4"/>
                    <a:pt x="18" y="2"/>
                    <a:pt x="24" y="0"/>
                  </a:cubicBezTo>
                  <a:cubicBezTo>
                    <a:pt x="23" y="0"/>
                    <a:pt x="19"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31" name="Freeform 201">
              <a:extLst>
                <a:ext uri="{FF2B5EF4-FFF2-40B4-BE49-F238E27FC236}">
                  <a16:creationId xmlns:a16="http://schemas.microsoft.com/office/drawing/2014/main" id="{234A576E-D423-4877-B26D-DD1F90751519}"/>
                </a:ext>
              </a:extLst>
            </p:cNvPr>
            <p:cNvSpPr>
              <a:spLocks/>
            </p:cNvSpPr>
            <p:nvPr/>
          </p:nvSpPr>
          <p:spPr bwMode="auto">
            <a:xfrm>
              <a:off x="9002713" y="5195754"/>
              <a:ext cx="19772" cy="12710"/>
            </a:xfrm>
            <a:custGeom>
              <a:avLst/>
              <a:gdLst>
                <a:gd name="T0" fmla="*/ 0 w 6"/>
                <a:gd name="T1" fmla="*/ 0 h 4"/>
                <a:gd name="T2" fmla="*/ 5 w 6"/>
                <a:gd name="T3" fmla="*/ 4 h 4"/>
                <a:gd name="T4" fmla="*/ 0 w 6"/>
                <a:gd name="T5" fmla="*/ 0 h 4"/>
              </a:gdLst>
              <a:ahLst/>
              <a:cxnLst>
                <a:cxn ang="0">
                  <a:pos x="T0" y="T1"/>
                </a:cxn>
                <a:cxn ang="0">
                  <a:pos x="T2" y="T3"/>
                </a:cxn>
                <a:cxn ang="0">
                  <a:pos x="T4" y="T5"/>
                </a:cxn>
              </a:cxnLst>
              <a:rect l="0" t="0" r="r" b="b"/>
              <a:pathLst>
                <a:path w="6" h="4">
                  <a:moveTo>
                    <a:pt x="0" y="0"/>
                  </a:moveTo>
                  <a:cubicBezTo>
                    <a:pt x="2" y="1"/>
                    <a:pt x="3" y="3"/>
                    <a:pt x="5" y="4"/>
                  </a:cubicBezTo>
                  <a:cubicBezTo>
                    <a:pt x="6" y="0"/>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32" name="Freeform 202">
              <a:extLst>
                <a:ext uri="{FF2B5EF4-FFF2-40B4-BE49-F238E27FC236}">
                  <a16:creationId xmlns:a16="http://schemas.microsoft.com/office/drawing/2014/main" id="{498183A7-53A8-475A-B592-10DC5C9EC037}"/>
                </a:ext>
              </a:extLst>
            </p:cNvPr>
            <p:cNvSpPr>
              <a:spLocks noEditPoints="1"/>
            </p:cNvSpPr>
            <p:nvPr/>
          </p:nvSpPr>
          <p:spPr bwMode="auto">
            <a:xfrm>
              <a:off x="9186308" y="6363704"/>
              <a:ext cx="156762" cy="112982"/>
            </a:xfrm>
            <a:custGeom>
              <a:avLst/>
              <a:gdLst>
                <a:gd name="T0" fmla="*/ 30 w 47"/>
                <a:gd name="T1" fmla="*/ 7 h 34"/>
                <a:gd name="T2" fmla="*/ 30 w 47"/>
                <a:gd name="T3" fmla="*/ 7 h 34"/>
                <a:gd name="T4" fmla="*/ 15 w 47"/>
                <a:gd name="T5" fmla="*/ 5 h 34"/>
                <a:gd name="T6" fmla="*/ 15 w 47"/>
                <a:gd name="T7" fmla="*/ 8 h 34"/>
                <a:gd name="T8" fmla="*/ 17 w 47"/>
                <a:gd name="T9" fmla="*/ 17 h 34"/>
                <a:gd name="T10" fmla="*/ 13 w 47"/>
                <a:gd name="T11" fmla="*/ 14 h 34"/>
                <a:gd name="T12" fmla="*/ 3 w 47"/>
                <a:gd name="T13" fmla="*/ 29 h 34"/>
                <a:gd name="T14" fmla="*/ 3 w 47"/>
                <a:gd name="T15" fmla="*/ 29 h 34"/>
                <a:gd name="T16" fmla="*/ 4 w 47"/>
                <a:gd name="T17" fmla="*/ 29 h 34"/>
                <a:gd name="T18" fmla="*/ 5 w 47"/>
                <a:gd name="T19" fmla="*/ 31 h 34"/>
                <a:gd name="T20" fmla="*/ 7 w 47"/>
                <a:gd name="T21" fmla="*/ 27 h 34"/>
                <a:gd name="T22" fmla="*/ 10 w 47"/>
                <a:gd name="T23" fmla="*/ 28 h 34"/>
                <a:gd name="T24" fmla="*/ 15 w 47"/>
                <a:gd name="T25" fmla="*/ 30 h 34"/>
                <a:gd name="T26" fmla="*/ 13 w 47"/>
                <a:gd name="T27" fmla="*/ 23 h 34"/>
                <a:gd name="T28" fmla="*/ 19 w 47"/>
                <a:gd name="T29" fmla="*/ 26 h 34"/>
                <a:gd name="T30" fmla="*/ 22 w 47"/>
                <a:gd name="T31" fmla="*/ 25 h 34"/>
                <a:gd name="T32" fmla="*/ 25 w 47"/>
                <a:gd name="T33" fmla="*/ 27 h 34"/>
                <a:gd name="T34" fmla="*/ 26 w 47"/>
                <a:gd name="T35" fmla="*/ 23 h 34"/>
                <a:gd name="T36" fmla="*/ 18 w 47"/>
                <a:gd name="T37" fmla="*/ 17 h 34"/>
                <a:gd name="T38" fmla="*/ 22 w 47"/>
                <a:gd name="T39" fmla="*/ 20 h 34"/>
                <a:gd name="T40" fmla="*/ 24 w 47"/>
                <a:gd name="T41" fmla="*/ 20 h 34"/>
                <a:gd name="T42" fmla="*/ 25 w 47"/>
                <a:gd name="T43" fmla="*/ 20 h 34"/>
                <a:gd name="T44" fmla="*/ 29 w 47"/>
                <a:gd name="T45" fmla="*/ 20 h 34"/>
                <a:gd name="T46" fmla="*/ 37 w 47"/>
                <a:gd name="T47" fmla="*/ 16 h 34"/>
                <a:gd name="T48" fmla="*/ 37 w 47"/>
                <a:gd name="T49" fmla="*/ 10 h 34"/>
                <a:gd name="T50" fmla="*/ 41 w 47"/>
                <a:gd name="T51" fmla="*/ 9 h 34"/>
                <a:gd name="T52" fmla="*/ 43 w 47"/>
                <a:gd name="T53" fmla="*/ 5 h 34"/>
                <a:gd name="T54" fmla="*/ 36 w 47"/>
                <a:gd name="T55" fmla="*/ 4 h 34"/>
                <a:gd name="T56" fmla="*/ 33 w 47"/>
                <a:gd name="T57" fmla="*/ 10 h 34"/>
                <a:gd name="T58" fmla="*/ 32 w 47"/>
                <a:gd name="T59" fmla="*/ 10 h 34"/>
                <a:gd name="T60" fmla="*/ 32 w 47"/>
                <a:gd name="T61" fmla="*/ 10 h 34"/>
                <a:gd name="T62" fmla="*/ 30 w 47"/>
                <a:gd name="T63" fmla="*/ 8 h 34"/>
                <a:gd name="T64" fmla="*/ 30 w 47"/>
                <a:gd name="T65" fmla="*/ 7 h 34"/>
                <a:gd name="T66" fmla="*/ 29 w 47"/>
                <a:gd name="T67" fmla="*/ 7 h 34"/>
                <a:gd name="T68" fmla="*/ 28 w 47"/>
                <a:gd name="T69" fmla="*/ 7 h 34"/>
                <a:gd name="T70" fmla="*/ 29 w 47"/>
                <a:gd name="T71" fmla="*/ 5 h 34"/>
                <a:gd name="T72" fmla="*/ 32 w 47"/>
                <a:gd name="T73" fmla="*/ 6 h 34"/>
                <a:gd name="T74" fmla="*/ 28 w 47"/>
                <a:gd name="T75" fmla="*/ 2 h 34"/>
                <a:gd name="T76" fmla="*/ 23 w 47"/>
                <a:gd name="T77"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 h="34">
                  <a:moveTo>
                    <a:pt x="30" y="7"/>
                  </a:moveTo>
                  <a:cubicBezTo>
                    <a:pt x="30" y="7"/>
                    <a:pt x="30" y="7"/>
                    <a:pt x="30" y="7"/>
                  </a:cubicBezTo>
                  <a:cubicBezTo>
                    <a:pt x="30" y="7"/>
                    <a:pt x="30" y="7"/>
                    <a:pt x="30" y="7"/>
                  </a:cubicBezTo>
                  <a:cubicBezTo>
                    <a:pt x="30" y="7"/>
                    <a:pt x="30" y="7"/>
                    <a:pt x="30" y="7"/>
                  </a:cubicBezTo>
                  <a:moveTo>
                    <a:pt x="19" y="0"/>
                  </a:moveTo>
                  <a:cubicBezTo>
                    <a:pt x="20" y="4"/>
                    <a:pt x="20" y="4"/>
                    <a:pt x="15" y="5"/>
                  </a:cubicBezTo>
                  <a:cubicBezTo>
                    <a:pt x="16" y="7"/>
                    <a:pt x="18" y="7"/>
                    <a:pt x="17" y="10"/>
                  </a:cubicBezTo>
                  <a:cubicBezTo>
                    <a:pt x="16" y="9"/>
                    <a:pt x="15" y="9"/>
                    <a:pt x="15" y="8"/>
                  </a:cubicBezTo>
                  <a:cubicBezTo>
                    <a:pt x="14" y="12"/>
                    <a:pt x="16" y="11"/>
                    <a:pt x="17" y="13"/>
                  </a:cubicBezTo>
                  <a:cubicBezTo>
                    <a:pt x="18" y="13"/>
                    <a:pt x="17" y="15"/>
                    <a:pt x="17" y="17"/>
                  </a:cubicBezTo>
                  <a:cubicBezTo>
                    <a:pt x="16" y="15"/>
                    <a:pt x="16" y="14"/>
                    <a:pt x="15" y="14"/>
                  </a:cubicBezTo>
                  <a:cubicBezTo>
                    <a:pt x="14" y="14"/>
                    <a:pt x="14" y="14"/>
                    <a:pt x="13" y="14"/>
                  </a:cubicBezTo>
                  <a:cubicBezTo>
                    <a:pt x="8" y="16"/>
                    <a:pt x="4" y="23"/>
                    <a:pt x="0" y="27"/>
                  </a:cubicBezTo>
                  <a:cubicBezTo>
                    <a:pt x="2" y="27"/>
                    <a:pt x="2" y="28"/>
                    <a:pt x="3" y="29"/>
                  </a:cubicBezTo>
                  <a:cubicBezTo>
                    <a:pt x="3" y="29"/>
                    <a:pt x="3" y="29"/>
                    <a:pt x="3" y="29"/>
                  </a:cubicBezTo>
                  <a:cubicBezTo>
                    <a:pt x="3" y="29"/>
                    <a:pt x="3" y="29"/>
                    <a:pt x="3" y="29"/>
                  </a:cubicBezTo>
                  <a:cubicBezTo>
                    <a:pt x="3" y="29"/>
                    <a:pt x="3" y="29"/>
                    <a:pt x="4" y="29"/>
                  </a:cubicBezTo>
                  <a:cubicBezTo>
                    <a:pt x="4" y="29"/>
                    <a:pt x="4" y="29"/>
                    <a:pt x="4" y="29"/>
                  </a:cubicBezTo>
                  <a:cubicBezTo>
                    <a:pt x="4" y="30"/>
                    <a:pt x="4" y="30"/>
                    <a:pt x="4" y="31"/>
                  </a:cubicBezTo>
                  <a:cubicBezTo>
                    <a:pt x="5" y="31"/>
                    <a:pt x="5" y="31"/>
                    <a:pt x="5" y="31"/>
                  </a:cubicBezTo>
                  <a:cubicBezTo>
                    <a:pt x="7" y="32"/>
                    <a:pt x="8" y="33"/>
                    <a:pt x="9" y="34"/>
                  </a:cubicBezTo>
                  <a:cubicBezTo>
                    <a:pt x="9" y="32"/>
                    <a:pt x="7" y="30"/>
                    <a:pt x="7" y="27"/>
                  </a:cubicBezTo>
                  <a:cubicBezTo>
                    <a:pt x="7" y="27"/>
                    <a:pt x="8" y="27"/>
                    <a:pt x="8" y="27"/>
                  </a:cubicBezTo>
                  <a:cubicBezTo>
                    <a:pt x="9" y="27"/>
                    <a:pt x="9" y="27"/>
                    <a:pt x="10" y="28"/>
                  </a:cubicBezTo>
                  <a:cubicBezTo>
                    <a:pt x="12" y="29"/>
                    <a:pt x="11" y="29"/>
                    <a:pt x="13" y="30"/>
                  </a:cubicBezTo>
                  <a:cubicBezTo>
                    <a:pt x="14" y="30"/>
                    <a:pt x="14" y="30"/>
                    <a:pt x="15" y="30"/>
                  </a:cubicBezTo>
                  <a:cubicBezTo>
                    <a:pt x="18" y="30"/>
                    <a:pt x="13" y="24"/>
                    <a:pt x="10" y="23"/>
                  </a:cubicBezTo>
                  <a:cubicBezTo>
                    <a:pt x="11" y="23"/>
                    <a:pt x="12" y="23"/>
                    <a:pt x="13" y="23"/>
                  </a:cubicBezTo>
                  <a:cubicBezTo>
                    <a:pt x="14" y="23"/>
                    <a:pt x="16" y="23"/>
                    <a:pt x="17" y="24"/>
                  </a:cubicBezTo>
                  <a:cubicBezTo>
                    <a:pt x="18" y="25"/>
                    <a:pt x="18" y="26"/>
                    <a:pt x="19" y="26"/>
                  </a:cubicBezTo>
                  <a:cubicBezTo>
                    <a:pt x="19" y="26"/>
                    <a:pt x="20" y="26"/>
                    <a:pt x="20" y="26"/>
                  </a:cubicBezTo>
                  <a:cubicBezTo>
                    <a:pt x="21" y="25"/>
                    <a:pt x="21" y="25"/>
                    <a:pt x="22" y="25"/>
                  </a:cubicBezTo>
                  <a:cubicBezTo>
                    <a:pt x="22" y="25"/>
                    <a:pt x="23" y="25"/>
                    <a:pt x="24" y="25"/>
                  </a:cubicBezTo>
                  <a:cubicBezTo>
                    <a:pt x="24" y="25"/>
                    <a:pt x="25" y="27"/>
                    <a:pt x="25" y="27"/>
                  </a:cubicBezTo>
                  <a:cubicBezTo>
                    <a:pt x="25" y="27"/>
                    <a:pt x="25" y="27"/>
                    <a:pt x="25" y="27"/>
                  </a:cubicBezTo>
                  <a:cubicBezTo>
                    <a:pt x="26" y="27"/>
                    <a:pt x="26" y="24"/>
                    <a:pt x="26" y="23"/>
                  </a:cubicBezTo>
                  <a:cubicBezTo>
                    <a:pt x="24" y="22"/>
                    <a:pt x="21" y="21"/>
                    <a:pt x="19" y="20"/>
                  </a:cubicBezTo>
                  <a:cubicBezTo>
                    <a:pt x="18" y="19"/>
                    <a:pt x="17" y="17"/>
                    <a:pt x="18" y="17"/>
                  </a:cubicBezTo>
                  <a:cubicBezTo>
                    <a:pt x="19" y="17"/>
                    <a:pt x="19" y="17"/>
                    <a:pt x="19" y="18"/>
                  </a:cubicBezTo>
                  <a:cubicBezTo>
                    <a:pt x="20" y="18"/>
                    <a:pt x="21" y="19"/>
                    <a:pt x="22" y="20"/>
                  </a:cubicBezTo>
                  <a:cubicBezTo>
                    <a:pt x="23" y="20"/>
                    <a:pt x="23" y="20"/>
                    <a:pt x="23" y="20"/>
                  </a:cubicBezTo>
                  <a:cubicBezTo>
                    <a:pt x="23" y="20"/>
                    <a:pt x="24" y="20"/>
                    <a:pt x="24" y="20"/>
                  </a:cubicBezTo>
                  <a:cubicBezTo>
                    <a:pt x="24" y="20"/>
                    <a:pt x="25" y="20"/>
                    <a:pt x="25" y="20"/>
                  </a:cubicBezTo>
                  <a:cubicBezTo>
                    <a:pt x="25" y="20"/>
                    <a:pt x="25" y="20"/>
                    <a:pt x="25" y="20"/>
                  </a:cubicBezTo>
                  <a:cubicBezTo>
                    <a:pt x="26" y="20"/>
                    <a:pt x="26" y="20"/>
                    <a:pt x="27" y="20"/>
                  </a:cubicBezTo>
                  <a:cubicBezTo>
                    <a:pt x="28" y="20"/>
                    <a:pt x="29" y="20"/>
                    <a:pt x="29" y="20"/>
                  </a:cubicBezTo>
                  <a:cubicBezTo>
                    <a:pt x="31" y="19"/>
                    <a:pt x="32" y="20"/>
                    <a:pt x="33" y="19"/>
                  </a:cubicBezTo>
                  <a:cubicBezTo>
                    <a:pt x="35" y="18"/>
                    <a:pt x="36" y="16"/>
                    <a:pt x="37" y="16"/>
                  </a:cubicBezTo>
                  <a:cubicBezTo>
                    <a:pt x="40" y="15"/>
                    <a:pt x="43" y="15"/>
                    <a:pt x="46" y="14"/>
                  </a:cubicBezTo>
                  <a:cubicBezTo>
                    <a:pt x="45" y="10"/>
                    <a:pt x="38" y="12"/>
                    <a:pt x="37" y="10"/>
                  </a:cubicBezTo>
                  <a:cubicBezTo>
                    <a:pt x="37" y="9"/>
                    <a:pt x="38" y="8"/>
                    <a:pt x="39" y="8"/>
                  </a:cubicBezTo>
                  <a:cubicBezTo>
                    <a:pt x="39" y="8"/>
                    <a:pt x="40" y="9"/>
                    <a:pt x="41" y="9"/>
                  </a:cubicBezTo>
                  <a:cubicBezTo>
                    <a:pt x="42" y="9"/>
                    <a:pt x="43" y="9"/>
                    <a:pt x="44" y="9"/>
                  </a:cubicBezTo>
                  <a:cubicBezTo>
                    <a:pt x="46" y="9"/>
                    <a:pt x="47" y="8"/>
                    <a:pt x="43" y="5"/>
                  </a:cubicBezTo>
                  <a:cubicBezTo>
                    <a:pt x="42" y="4"/>
                    <a:pt x="40" y="4"/>
                    <a:pt x="39" y="4"/>
                  </a:cubicBezTo>
                  <a:cubicBezTo>
                    <a:pt x="37" y="4"/>
                    <a:pt x="36" y="4"/>
                    <a:pt x="36" y="4"/>
                  </a:cubicBezTo>
                  <a:cubicBezTo>
                    <a:pt x="31" y="7"/>
                    <a:pt x="38" y="10"/>
                    <a:pt x="35" y="12"/>
                  </a:cubicBezTo>
                  <a:cubicBezTo>
                    <a:pt x="35" y="11"/>
                    <a:pt x="34" y="10"/>
                    <a:pt x="33" y="10"/>
                  </a:cubicBezTo>
                  <a:cubicBezTo>
                    <a:pt x="33" y="10"/>
                    <a:pt x="33" y="9"/>
                    <a:pt x="33" y="9"/>
                  </a:cubicBezTo>
                  <a:cubicBezTo>
                    <a:pt x="33" y="9"/>
                    <a:pt x="33" y="10"/>
                    <a:pt x="32" y="10"/>
                  </a:cubicBezTo>
                  <a:cubicBezTo>
                    <a:pt x="32" y="10"/>
                    <a:pt x="32" y="10"/>
                    <a:pt x="32" y="10"/>
                  </a:cubicBezTo>
                  <a:cubicBezTo>
                    <a:pt x="32" y="10"/>
                    <a:pt x="32" y="10"/>
                    <a:pt x="32" y="10"/>
                  </a:cubicBezTo>
                  <a:cubicBezTo>
                    <a:pt x="30" y="8"/>
                    <a:pt x="30" y="8"/>
                    <a:pt x="30" y="8"/>
                  </a:cubicBezTo>
                  <a:cubicBezTo>
                    <a:pt x="30" y="8"/>
                    <a:pt x="30" y="8"/>
                    <a:pt x="30" y="8"/>
                  </a:cubicBezTo>
                  <a:cubicBezTo>
                    <a:pt x="31" y="8"/>
                    <a:pt x="30" y="8"/>
                    <a:pt x="30" y="8"/>
                  </a:cubicBezTo>
                  <a:cubicBezTo>
                    <a:pt x="30" y="7"/>
                    <a:pt x="30" y="7"/>
                    <a:pt x="30" y="7"/>
                  </a:cubicBezTo>
                  <a:cubicBezTo>
                    <a:pt x="30" y="7"/>
                    <a:pt x="30" y="7"/>
                    <a:pt x="30" y="7"/>
                  </a:cubicBezTo>
                  <a:cubicBezTo>
                    <a:pt x="30" y="7"/>
                    <a:pt x="29" y="7"/>
                    <a:pt x="29" y="7"/>
                  </a:cubicBezTo>
                  <a:cubicBezTo>
                    <a:pt x="29" y="7"/>
                    <a:pt x="29" y="7"/>
                    <a:pt x="29" y="7"/>
                  </a:cubicBezTo>
                  <a:cubicBezTo>
                    <a:pt x="28" y="7"/>
                    <a:pt x="28" y="7"/>
                    <a:pt x="28" y="7"/>
                  </a:cubicBezTo>
                  <a:cubicBezTo>
                    <a:pt x="28" y="7"/>
                    <a:pt x="28" y="6"/>
                    <a:pt x="28" y="6"/>
                  </a:cubicBezTo>
                  <a:cubicBezTo>
                    <a:pt x="28" y="5"/>
                    <a:pt x="28" y="5"/>
                    <a:pt x="29" y="5"/>
                  </a:cubicBezTo>
                  <a:cubicBezTo>
                    <a:pt x="29" y="5"/>
                    <a:pt x="30" y="5"/>
                    <a:pt x="30" y="5"/>
                  </a:cubicBezTo>
                  <a:cubicBezTo>
                    <a:pt x="31" y="5"/>
                    <a:pt x="31" y="6"/>
                    <a:pt x="32" y="6"/>
                  </a:cubicBezTo>
                  <a:cubicBezTo>
                    <a:pt x="32" y="6"/>
                    <a:pt x="33" y="5"/>
                    <a:pt x="32" y="4"/>
                  </a:cubicBezTo>
                  <a:cubicBezTo>
                    <a:pt x="31" y="2"/>
                    <a:pt x="30" y="2"/>
                    <a:pt x="28" y="2"/>
                  </a:cubicBezTo>
                  <a:cubicBezTo>
                    <a:pt x="28" y="2"/>
                    <a:pt x="28" y="2"/>
                    <a:pt x="28" y="2"/>
                  </a:cubicBezTo>
                  <a:cubicBezTo>
                    <a:pt x="26" y="2"/>
                    <a:pt x="25" y="2"/>
                    <a:pt x="23" y="2"/>
                  </a:cubicBezTo>
                  <a:cubicBezTo>
                    <a:pt x="22" y="2"/>
                    <a:pt x="20" y="2"/>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33" name="Freeform 203">
              <a:extLst>
                <a:ext uri="{FF2B5EF4-FFF2-40B4-BE49-F238E27FC236}">
                  <a16:creationId xmlns:a16="http://schemas.microsoft.com/office/drawing/2014/main" id="{30FFCFDE-3619-4D41-A513-C162F93C6ECE}"/>
                </a:ext>
              </a:extLst>
            </p:cNvPr>
            <p:cNvSpPr>
              <a:spLocks/>
            </p:cNvSpPr>
            <p:nvPr/>
          </p:nvSpPr>
          <p:spPr bwMode="auto">
            <a:xfrm>
              <a:off x="9076151" y="6417371"/>
              <a:ext cx="24009" cy="19772"/>
            </a:xfrm>
            <a:custGeom>
              <a:avLst/>
              <a:gdLst>
                <a:gd name="T0" fmla="*/ 6 w 7"/>
                <a:gd name="T1" fmla="*/ 0 h 6"/>
                <a:gd name="T2" fmla="*/ 5 w 7"/>
                <a:gd name="T3" fmla="*/ 0 h 6"/>
                <a:gd name="T4" fmla="*/ 2 w 7"/>
                <a:gd name="T5" fmla="*/ 2 h 6"/>
                <a:gd name="T6" fmla="*/ 1 w 7"/>
                <a:gd name="T7" fmla="*/ 2 h 6"/>
                <a:gd name="T8" fmla="*/ 1 w 7"/>
                <a:gd name="T9" fmla="*/ 2 h 6"/>
                <a:gd name="T10" fmla="*/ 1 w 7"/>
                <a:gd name="T11" fmla="*/ 2 h 6"/>
                <a:gd name="T12" fmla="*/ 1 w 7"/>
                <a:gd name="T13" fmla="*/ 2 h 6"/>
                <a:gd name="T14" fmla="*/ 4 w 7"/>
                <a:gd name="T15" fmla="*/ 6 h 6"/>
                <a:gd name="T16" fmla="*/ 6 w 7"/>
                <a:gd name="T17" fmla="*/ 2 h 6"/>
                <a:gd name="T18" fmla="*/ 6 w 7"/>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6" y="0"/>
                  </a:moveTo>
                  <a:cubicBezTo>
                    <a:pt x="6" y="0"/>
                    <a:pt x="5" y="0"/>
                    <a:pt x="5" y="0"/>
                  </a:cubicBezTo>
                  <a:cubicBezTo>
                    <a:pt x="4" y="0"/>
                    <a:pt x="2" y="1"/>
                    <a:pt x="2" y="2"/>
                  </a:cubicBezTo>
                  <a:cubicBezTo>
                    <a:pt x="2" y="2"/>
                    <a:pt x="1" y="2"/>
                    <a:pt x="1" y="2"/>
                  </a:cubicBezTo>
                  <a:cubicBezTo>
                    <a:pt x="1" y="2"/>
                    <a:pt x="1" y="2"/>
                    <a:pt x="1" y="2"/>
                  </a:cubicBezTo>
                  <a:cubicBezTo>
                    <a:pt x="1" y="2"/>
                    <a:pt x="1" y="2"/>
                    <a:pt x="1" y="2"/>
                  </a:cubicBezTo>
                  <a:cubicBezTo>
                    <a:pt x="1" y="2"/>
                    <a:pt x="0" y="2"/>
                    <a:pt x="1" y="2"/>
                  </a:cubicBezTo>
                  <a:cubicBezTo>
                    <a:pt x="1" y="4"/>
                    <a:pt x="3" y="5"/>
                    <a:pt x="4" y="6"/>
                  </a:cubicBezTo>
                  <a:cubicBezTo>
                    <a:pt x="7" y="6"/>
                    <a:pt x="6" y="5"/>
                    <a:pt x="6" y="2"/>
                  </a:cubicBezTo>
                  <a:cubicBezTo>
                    <a:pt x="7"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34" name="Freeform 204">
              <a:extLst>
                <a:ext uri="{FF2B5EF4-FFF2-40B4-BE49-F238E27FC236}">
                  <a16:creationId xmlns:a16="http://schemas.microsoft.com/office/drawing/2014/main" id="{9C0516E4-7B77-4DAF-AF9C-BC26BF211011}"/>
                </a:ext>
              </a:extLst>
            </p:cNvPr>
            <p:cNvSpPr>
              <a:spLocks/>
            </p:cNvSpPr>
            <p:nvPr/>
          </p:nvSpPr>
          <p:spPr bwMode="auto">
            <a:xfrm>
              <a:off x="9086037" y="6373590"/>
              <a:ext cx="141227" cy="93210"/>
            </a:xfrm>
            <a:custGeom>
              <a:avLst/>
              <a:gdLst>
                <a:gd name="T0" fmla="*/ 38 w 42"/>
                <a:gd name="T1" fmla="*/ 0 h 28"/>
                <a:gd name="T2" fmla="*/ 36 w 42"/>
                <a:gd name="T3" fmla="*/ 1 h 28"/>
                <a:gd name="T4" fmla="*/ 31 w 42"/>
                <a:gd name="T5" fmla="*/ 3 h 28"/>
                <a:gd name="T6" fmla="*/ 30 w 42"/>
                <a:gd name="T7" fmla="*/ 3 h 28"/>
                <a:gd name="T8" fmla="*/ 28 w 42"/>
                <a:gd name="T9" fmla="*/ 2 h 28"/>
                <a:gd name="T10" fmla="*/ 26 w 42"/>
                <a:gd name="T11" fmla="*/ 1 h 28"/>
                <a:gd name="T12" fmla="*/ 25 w 42"/>
                <a:gd name="T13" fmla="*/ 2 h 28"/>
                <a:gd name="T14" fmla="*/ 18 w 42"/>
                <a:gd name="T15" fmla="*/ 4 h 28"/>
                <a:gd name="T16" fmla="*/ 16 w 42"/>
                <a:gd name="T17" fmla="*/ 3 h 28"/>
                <a:gd name="T18" fmla="*/ 9 w 42"/>
                <a:gd name="T19" fmla="*/ 0 h 28"/>
                <a:gd name="T20" fmla="*/ 15 w 42"/>
                <a:gd name="T21" fmla="*/ 4 h 28"/>
                <a:gd name="T22" fmla="*/ 15 w 42"/>
                <a:gd name="T23" fmla="*/ 4 h 28"/>
                <a:gd name="T24" fmla="*/ 12 w 42"/>
                <a:gd name="T25" fmla="*/ 4 h 28"/>
                <a:gd name="T26" fmla="*/ 22 w 42"/>
                <a:gd name="T27" fmla="*/ 10 h 28"/>
                <a:gd name="T28" fmla="*/ 17 w 42"/>
                <a:gd name="T29" fmla="*/ 10 h 28"/>
                <a:gd name="T30" fmla="*/ 15 w 42"/>
                <a:gd name="T31" fmla="*/ 10 h 28"/>
                <a:gd name="T32" fmla="*/ 12 w 42"/>
                <a:gd name="T33" fmla="*/ 11 h 28"/>
                <a:gd name="T34" fmla="*/ 9 w 42"/>
                <a:gd name="T35" fmla="*/ 10 h 28"/>
                <a:gd name="T36" fmla="*/ 12 w 42"/>
                <a:gd name="T37" fmla="*/ 13 h 28"/>
                <a:gd name="T38" fmla="*/ 19 w 42"/>
                <a:gd name="T39" fmla="*/ 11 h 28"/>
                <a:gd name="T40" fmla="*/ 19 w 42"/>
                <a:gd name="T41" fmla="*/ 11 h 28"/>
                <a:gd name="T42" fmla="*/ 15 w 42"/>
                <a:gd name="T43" fmla="*/ 14 h 28"/>
                <a:gd name="T44" fmla="*/ 15 w 42"/>
                <a:gd name="T45" fmla="*/ 13 h 28"/>
                <a:gd name="T46" fmla="*/ 10 w 42"/>
                <a:gd name="T47" fmla="*/ 18 h 28"/>
                <a:gd name="T48" fmla="*/ 12 w 42"/>
                <a:gd name="T49" fmla="*/ 18 h 28"/>
                <a:gd name="T50" fmla="*/ 14 w 42"/>
                <a:gd name="T51" fmla="*/ 17 h 28"/>
                <a:gd name="T52" fmla="*/ 10 w 42"/>
                <a:gd name="T53" fmla="*/ 19 h 28"/>
                <a:gd name="T54" fmla="*/ 9 w 42"/>
                <a:gd name="T55" fmla="*/ 19 h 28"/>
                <a:gd name="T56" fmla="*/ 7 w 42"/>
                <a:gd name="T57" fmla="*/ 19 h 28"/>
                <a:gd name="T58" fmla="*/ 7 w 42"/>
                <a:gd name="T59" fmla="*/ 19 h 28"/>
                <a:gd name="T60" fmla="*/ 3 w 42"/>
                <a:gd name="T61" fmla="*/ 21 h 28"/>
                <a:gd name="T62" fmla="*/ 2 w 42"/>
                <a:gd name="T63" fmla="*/ 21 h 28"/>
                <a:gd name="T64" fmla="*/ 0 w 42"/>
                <a:gd name="T65" fmla="*/ 20 h 28"/>
                <a:gd name="T66" fmla="*/ 9 w 42"/>
                <a:gd name="T67" fmla="*/ 28 h 28"/>
                <a:gd name="T68" fmla="*/ 11 w 42"/>
                <a:gd name="T69" fmla="*/ 24 h 28"/>
                <a:gd name="T70" fmla="*/ 14 w 42"/>
                <a:gd name="T71" fmla="*/ 25 h 28"/>
                <a:gd name="T72" fmla="*/ 17 w 42"/>
                <a:gd name="T73" fmla="*/ 24 h 28"/>
                <a:gd name="T74" fmla="*/ 19 w 42"/>
                <a:gd name="T75" fmla="*/ 19 h 28"/>
                <a:gd name="T76" fmla="*/ 19 w 42"/>
                <a:gd name="T77" fmla="*/ 19 h 28"/>
                <a:gd name="T78" fmla="*/ 20 w 42"/>
                <a:gd name="T79" fmla="*/ 20 h 28"/>
                <a:gd name="T80" fmla="*/ 21 w 42"/>
                <a:gd name="T81" fmla="*/ 20 h 28"/>
                <a:gd name="T82" fmla="*/ 21 w 42"/>
                <a:gd name="T83" fmla="*/ 20 h 28"/>
                <a:gd name="T84" fmla="*/ 22 w 42"/>
                <a:gd name="T85" fmla="*/ 19 h 28"/>
                <a:gd name="T86" fmla="*/ 22 w 42"/>
                <a:gd name="T87" fmla="*/ 19 h 28"/>
                <a:gd name="T88" fmla="*/ 23 w 42"/>
                <a:gd name="T89" fmla="*/ 19 h 28"/>
                <a:gd name="T90" fmla="*/ 25 w 42"/>
                <a:gd name="T91" fmla="*/ 19 h 28"/>
                <a:gd name="T92" fmla="*/ 26 w 42"/>
                <a:gd name="T93" fmla="*/ 19 h 28"/>
                <a:gd name="T94" fmla="*/ 32 w 42"/>
                <a:gd name="T95" fmla="*/ 13 h 28"/>
                <a:gd name="T96" fmla="*/ 34 w 42"/>
                <a:gd name="T97" fmla="*/ 10 h 28"/>
                <a:gd name="T98" fmla="*/ 36 w 42"/>
                <a:gd name="T99" fmla="*/ 8 h 28"/>
                <a:gd name="T100" fmla="*/ 36 w 42"/>
                <a:gd name="T101" fmla="*/ 8 h 28"/>
                <a:gd name="T102" fmla="*/ 37 w 42"/>
                <a:gd name="T103" fmla="*/ 8 h 28"/>
                <a:gd name="T104" fmla="*/ 37 w 42"/>
                <a:gd name="T105" fmla="*/ 8 h 28"/>
                <a:gd name="T106" fmla="*/ 37 w 42"/>
                <a:gd name="T107" fmla="*/ 8 h 28"/>
                <a:gd name="T108" fmla="*/ 39 w 42"/>
                <a:gd name="T109" fmla="*/ 4 h 28"/>
                <a:gd name="T110" fmla="*/ 42 w 42"/>
                <a:gd name="T111" fmla="*/ 2 h 28"/>
                <a:gd name="T112" fmla="*/ 38 w 42"/>
                <a:gd name="T11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 h="28">
                  <a:moveTo>
                    <a:pt x="38" y="0"/>
                  </a:moveTo>
                  <a:cubicBezTo>
                    <a:pt x="37" y="0"/>
                    <a:pt x="37" y="0"/>
                    <a:pt x="36" y="1"/>
                  </a:cubicBezTo>
                  <a:cubicBezTo>
                    <a:pt x="34" y="2"/>
                    <a:pt x="33" y="3"/>
                    <a:pt x="31" y="3"/>
                  </a:cubicBezTo>
                  <a:cubicBezTo>
                    <a:pt x="31" y="3"/>
                    <a:pt x="30" y="3"/>
                    <a:pt x="30" y="3"/>
                  </a:cubicBezTo>
                  <a:cubicBezTo>
                    <a:pt x="29" y="3"/>
                    <a:pt x="29" y="2"/>
                    <a:pt x="28" y="2"/>
                  </a:cubicBezTo>
                  <a:cubicBezTo>
                    <a:pt x="27" y="1"/>
                    <a:pt x="27" y="1"/>
                    <a:pt x="26" y="1"/>
                  </a:cubicBezTo>
                  <a:cubicBezTo>
                    <a:pt x="26" y="1"/>
                    <a:pt x="26" y="2"/>
                    <a:pt x="25" y="2"/>
                  </a:cubicBezTo>
                  <a:cubicBezTo>
                    <a:pt x="22" y="2"/>
                    <a:pt x="21" y="4"/>
                    <a:pt x="18" y="4"/>
                  </a:cubicBezTo>
                  <a:cubicBezTo>
                    <a:pt x="17" y="4"/>
                    <a:pt x="17" y="4"/>
                    <a:pt x="16" y="3"/>
                  </a:cubicBezTo>
                  <a:cubicBezTo>
                    <a:pt x="14" y="2"/>
                    <a:pt x="12" y="1"/>
                    <a:pt x="9" y="0"/>
                  </a:cubicBezTo>
                  <a:cubicBezTo>
                    <a:pt x="11" y="3"/>
                    <a:pt x="13" y="2"/>
                    <a:pt x="15" y="4"/>
                  </a:cubicBezTo>
                  <a:cubicBezTo>
                    <a:pt x="15" y="4"/>
                    <a:pt x="15" y="4"/>
                    <a:pt x="15" y="4"/>
                  </a:cubicBezTo>
                  <a:cubicBezTo>
                    <a:pt x="14" y="4"/>
                    <a:pt x="13" y="4"/>
                    <a:pt x="12" y="4"/>
                  </a:cubicBezTo>
                  <a:cubicBezTo>
                    <a:pt x="15" y="7"/>
                    <a:pt x="19" y="9"/>
                    <a:pt x="22" y="10"/>
                  </a:cubicBezTo>
                  <a:cubicBezTo>
                    <a:pt x="20" y="10"/>
                    <a:pt x="19" y="10"/>
                    <a:pt x="17" y="10"/>
                  </a:cubicBezTo>
                  <a:cubicBezTo>
                    <a:pt x="16" y="10"/>
                    <a:pt x="16" y="10"/>
                    <a:pt x="15" y="10"/>
                  </a:cubicBezTo>
                  <a:cubicBezTo>
                    <a:pt x="14" y="10"/>
                    <a:pt x="13" y="11"/>
                    <a:pt x="12" y="11"/>
                  </a:cubicBezTo>
                  <a:cubicBezTo>
                    <a:pt x="11" y="11"/>
                    <a:pt x="10" y="10"/>
                    <a:pt x="9" y="10"/>
                  </a:cubicBezTo>
                  <a:cubicBezTo>
                    <a:pt x="10" y="11"/>
                    <a:pt x="11" y="13"/>
                    <a:pt x="12" y="13"/>
                  </a:cubicBezTo>
                  <a:cubicBezTo>
                    <a:pt x="13" y="12"/>
                    <a:pt x="16" y="11"/>
                    <a:pt x="19" y="11"/>
                  </a:cubicBezTo>
                  <a:cubicBezTo>
                    <a:pt x="19" y="11"/>
                    <a:pt x="19" y="11"/>
                    <a:pt x="19" y="11"/>
                  </a:cubicBezTo>
                  <a:cubicBezTo>
                    <a:pt x="18" y="12"/>
                    <a:pt x="16" y="13"/>
                    <a:pt x="15" y="14"/>
                  </a:cubicBezTo>
                  <a:cubicBezTo>
                    <a:pt x="15" y="13"/>
                    <a:pt x="15" y="13"/>
                    <a:pt x="15" y="13"/>
                  </a:cubicBezTo>
                  <a:cubicBezTo>
                    <a:pt x="13" y="13"/>
                    <a:pt x="12" y="16"/>
                    <a:pt x="10" y="18"/>
                  </a:cubicBezTo>
                  <a:cubicBezTo>
                    <a:pt x="11" y="18"/>
                    <a:pt x="11" y="18"/>
                    <a:pt x="12" y="18"/>
                  </a:cubicBezTo>
                  <a:cubicBezTo>
                    <a:pt x="13" y="18"/>
                    <a:pt x="14" y="18"/>
                    <a:pt x="14" y="17"/>
                  </a:cubicBezTo>
                  <a:cubicBezTo>
                    <a:pt x="13" y="19"/>
                    <a:pt x="11" y="19"/>
                    <a:pt x="10" y="19"/>
                  </a:cubicBezTo>
                  <a:cubicBezTo>
                    <a:pt x="10" y="19"/>
                    <a:pt x="9" y="19"/>
                    <a:pt x="9" y="19"/>
                  </a:cubicBezTo>
                  <a:cubicBezTo>
                    <a:pt x="8" y="19"/>
                    <a:pt x="7" y="19"/>
                    <a:pt x="7" y="19"/>
                  </a:cubicBezTo>
                  <a:cubicBezTo>
                    <a:pt x="7" y="19"/>
                    <a:pt x="7" y="19"/>
                    <a:pt x="7" y="19"/>
                  </a:cubicBezTo>
                  <a:cubicBezTo>
                    <a:pt x="4" y="19"/>
                    <a:pt x="5" y="19"/>
                    <a:pt x="3" y="21"/>
                  </a:cubicBezTo>
                  <a:cubicBezTo>
                    <a:pt x="2" y="21"/>
                    <a:pt x="2" y="21"/>
                    <a:pt x="2" y="21"/>
                  </a:cubicBezTo>
                  <a:cubicBezTo>
                    <a:pt x="1" y="21"/>
                    <a:pt x="1" y="21"/>
                    <a:pt x="0" y="20"/>
                  </a:cubicBezTo>
                  <a:cubicBezTo>
                    <a:pt x="3" y="23"/>
                    <a:pt x="6" y="25"/>
                    <a:pt x="9" y="28"/>
                  </a:cubicBezTo>
                  <a:cubicBezTo>
                    <a:pt x="12" y="27"/>
                    <a:pt x="13" y="26"/>
                    <a:pt x="11" y="24"/>
                  </a:cubicBezTo>
                  <a:cubicBezTo>
                    <a:pt x="12" y="25"/>
                    <a:pt x="13" y="25"/>
                    <a:pt x="14" y="25"/>
                  </a:cubicBezTo>
                  <a:cubicBezTo>
                    <a:pt x="15" y="25"/>
                    <a:pt x="16" y="25"/>
                    <a:pt x="17" y="24"/>
                  </a:cubicBezTo>
                  <a:cubicBezTo>
                    <a:pt x="19" y="22"/>
                    <a:pt x="16" y="20"/>
                    <a:pt x="19" y="19"/>
                  </a:cubicBezTo>
                  <a:cubicBezTo>
                    <a:pt x="19" y="19"/>
                    <a:pt x="19" y="19"/>
                    <a:pt x="19" y="19"/>
                  </a:cubicBezTo>
                  <a:cubicBezTo>
                    <a:pt x="19" y="19"/>
                    <a:pt x="20" y="20"/>
                    <a:pt x="20" y="20"/>
                  </a:cubicBezTo>
                  <a:cubicBezTo>
                    <a:pt x="21" y="20"/>
                    <a:pt x="21" y="20"/>
                    <a:pt x="21" y="20"/>
                  </a:cubicBezTo>
                  <a:cubicBezTo>
                    <a:pt x="21" y="20"/>
                    <a:pt x="21" y="20"/>
                    <a:pt x="21" y="20"/>
                  </a:cubicBezTo>
                  <a:cubicBezTo>
                    <a:pt x="22" y="20"/>
                    <a:pt x="22" y="19"/>
                    <a:pt x="22" y="19"/>
                  </a:cubicBezTo>
                  <a:cubicBezTo>
                    <a:pt x="22" y="19"/>
                    <a:pt x="22" y="19"/>
                    <a:pt x="22" y="19"/>
                  </a:cubicBezTo>
                  <a:cubicBezTo>
                    <a:pt x="23" y="19"/>
                    <a:pt x="23" y="19"/>
                    <a:pt x="23" y="19"/>
                  </a:cubicBezTo>
                  <a:cubicBezTo>
                    <a:pt x="24" y="19"/>
                    <a:pt x="24" y="19"/>
                    <a:pt x="25" y="19"/>
                  </a:cubicBezTo>
                  <a:cubicBezTo>
                    <a:pt x="25" y="19"/>
                    <a:pt x="26" y="19"/>
                    <a:pt x="26" y="19"/>
                  </a:cubicBezTo>
                  <a:cubicBezTo>
                    <a:pt x="28" y="18"/>
                    <a:pt x="30" y="14"/>
                    <a:pt x="32" y="13"/>
                  </a:cubicBezTo>
                  <a:cubicBezTo>
                    <a:pt x="32" y="12"/>
                    <a:pt x="33" y="11"/>
                    <a:pt x="34" y="10"/>
                  </a:cubicBezTo>
                  <a:cubicBezTo>
                    <a:pt x="35" y="9"/>
                    <a:pt x="35" y="9"/>
                    <a:pt x="36" y="8"/>
                  </a:cubicBezTo>
                  <a:cubicBezTo>
                    <a:pt x="36" y="8"/>
                    <a:pt x="36" y="8"/>
                    <a:pt x="36" y="8"/>
                  </a:cubicBezTo>
                  <a:cubicBezTo>
                    <a:pt x="36" y="8"/>
                    <a:pt x="36" y="8"/>
                    <a:pt x="37" y="8"/>
                  </a:cubicBezTo>
                  <a:cubicBezTo>
                    <a:pt x="37" y="8"/>
                    <a:pt x="37" y="8"/>
                    <a:pt x="37" y="8"/>
                  </a:cubicBezTo>
                  <a:cubicBezTo>
                    <a:pt x="37" y="8"/>
                    <a:pt x="37" y="8"/>
                    <a:pt x="37" y="8"/>
                  </a:cubicBezTo>
                  <a:cubicBezTo>
                    <a:pt x="38" y="7"/>
                    <a:pt x="38" y="5"/>
                    <a:pt x="39" y="4"/>
                  </a:cubicBezTo>
                  <a:cubicBezTo>
                    <a:pt x="39" y="4"/>
                    <a:pt x="41" y="3"/>
                    <a:pt x="42" y="2"/>
                  </a:cubicBezTo>
                  <a:cubicBezTo>
                    <a:pt x="41" y="1"/>
                    <a:pt x="39" y="0"/>
                    <a:pt x="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35" name="Freeform 206">
              <a:extLst>
                <a:ext uri="{FF2B5EF4-FFF2-40B4-BE49-F238E27FC236}">
                  <a16:creationId xmlns:a16="http://schemas.microsoft.com/office/drawing/2014/main" id="{B0CCE3EE-B3AB-481B-9F79-5921DC1DD76B}"/>
                </a:ext>
              </a:extLst>
            </p:cNvPr>
            <p:cNvSpPr>
              <a:spLocks/>
            </p:cNvSpPr>
            <p:nvPr/>
          </p:nvSpPr>
          <p:spPr bwMode="auto">
            <a:xfrm>
              <a:off x="6997290" y="580444"/>
              <a:ext cx="14123" cy="24009"/>
            </a:xfrm>
            <a:custGeom>
              <a:avLst/>
              <a:gdLst>
                <a:gd name="T0" fmla="*/ 4 w 4"/>
                <a:gd name="T1" fmla="*/ 0 h 7"/>
                <a:gd name="T2" fmla="*/ 0 w 4"/>
                <a:gd name="T3" fmla="*/ 7 h 7"/>
                <a:gd name="T4" fmla="*/ 1 w 4"/>
                <a:gd name="T5" fmla="*/ 6 h 7"/>
                <a:gd name="T6" fmla="*/ 2 w 4"/>
                <a:gd name="T7" fmla="*/ 5 h 7"/>
                <a:gd name="T8" fmla="*/ 2 w 4"/>
                <a:gd name="T9" fmla="*/ 4 h 7"/>
                <a:gd name="T10" fmla="*/ 4 w 4"/>
                <a:gd name="T11" fmla="*/ 1 h 7"/>
                <a:gd name="T12" fmla="*/ 4 w 4"/>
                <a:gd name="T13" fmla="*/ 1 h 7"/>
                <a:gd name="T14" fmla="*/ 4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4" y="0"/>
                  </a:moveTo>
                  <a:cubicBezTo>
                    <a:pt x="2" y="2"/>
                    <a:pt x="1" y="5"/>
                    <a:pt x="0" y="7"/>
                  </a:cubicBezTo>
                  <a:cubicBezTo>
                    <a:pt x="1" y="6"/>
                    <a:pt x="1" y="6"/>
                    <a:pt x="1" y="6"/>
                  </a:cubicBezTo>
                  <a:cubicBezTo>
                    <a:pt x="2" y="5"/>
                    <a:pt x="2" y="5"/>
                    <a:pt x="2" y="5"/>
                  </a:cubicBezTo>
                  <a:cubicBezTo>
                    <a:pt x="2" y="5"/>
                    <a:pt x="2" y="5"/>
                    <a:pt x="2" y="4"/>
                  </a:cubicBezTo>
                  <a:cubicBezTo>
                    <a:pt x="3" y="3"/>
                    <a:pt x="4" y="2"/>
                    <a:pt x="4" y="1"/>
                  </a:cubicBezTo>
                  <a:cubicBezTo>
                    <a:pt x="4" y="1"/>
                    <a:pt x="4" y="1"/>
                    <a:pt x="4" y="1"/>
                  </a:cubicBezTo>
                  <a:cubicBezTo>
                    <a:pt x="4" y="1"/>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36" name="Freeform 207">
              <a:extLst>
                <a:ext uri="{FF2B5EF4-FFF2-40B4-BE49-F238E27FC236}">
                  <a16:creationId xmlns:a16="http://schemas.microsoft.com/office/drawing/2014/main" id="{15D8766C-653E-4831-94EC-4127BB262BCA}"/>
                </a:ext>
              </a:extLst>
            </p:cNvPr>
            <p:cNvSpPr>
              <a:spLocks/>
            </p:cNvSpPr>
            <p:nvPr/>
          </p:nvSpPr>
          <p:spPr bwMode="auto">
            <a:xfrm>
              <a:off x="10294940" y="3876691"/>
              <a:ext cx="16947" cy="19772"/>
            </a:xfrm>
            <a:custGeom>
              <a:avLst/>
              <a:gdLst>
                <a:gd name="T0" fmla="*/ 3 w 5"/>
                <a:gd name="T1" fmla="*/ 0 h 6"/>
                <a:gd name="T2" fmla="*/ 3 w 5"/>
                <a:gd name="T3" fmla="*/ 0 h 6"/>
                <a:gd name="T4" fmla="*/ 3 w 5"/>
                <a:gd name="T5" fmla="*/ 0 h 6"/>
                <a:gd name="T6" fmla="*/ 0 w 5"/>
                <a:gd name="T7" fmla="*/ 3 h 6"/>
                <a:gd name="T8" fmla="*/ 0 w 5"/>
                <a:gd name="T9" fmla="*/ 4 h 6"/>
                <a:gd name="T10" fmla="*/ 2 w 5"/>
                <a:gd name="T11" fmla="*/ 5 h 6"/>
                <a:gd name="T12" fmla="*/ 4 w 5"/>
                <a:gd name="T13" fmla="*/ 6 h 6"/>
                <a:gd name="T14" fmla="*/ 4 w 5"/>
                <a:gd name="T15" fmla="*/ 6 h 6"/>
                <a:gd name="T16" fmla="*/ 4 w 5"/>
                <a:gd name="T17" fmla="*/ 2 h 6"/>
                <a:gd name="T18" fmla="*/ 5 w 5"/>
                <a:gd name="T19" fmla="*/ 1 h 6"/>
                <a:gd name="T20" fmla="*/ 4 w 5"/>
                <a:gd name="T21" fmla="*/ 1 h 6"/>
                <a:gd name="T22" fmla="*/ 4 w 5"/>
                <a:gd name="T23" fmla="*/ 0 h 6"/>
                <a:gd name="T24" fmla="*/ 3 w 5"/>
                <a:gd name="T25" fmla="*/ 0 h 6"/>
                <a:gd name="T26" fmla="*/ 3 w 5"/>
                <a:gd name="T2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6">
                  <a:moveTo>
                    <a:pt x="3" y="0"/>
                  </a:moveTo>
                  <a:cubicBezTo>
                    <a:pt x="3" y="0"/>
                    <a:pt x="3" y="0"/>
                    <a:pt x="3" y="0"/>
                  </a:cubicBezTo>
                  <a:cubicBezTo>
                    <a:pt x="3" y="0"/>
                    <a:pt x="3" y="0"/>
                    <a:pt x="3" y="0"/>
                  </a:cubicBezTo>
                  <a:cubicBezTo>
                    <a:pt x="2" y="1"/>
                    <a:pt x="0" y="3"/>
                    <a:pt x="0" y="3"/>
                  </a:cubicBezTo>
                  <a:cubicBezTo>
                    <a:pt x="0" y="4"/>
                    <a:pt x="0" y="4"/>
                    <a:pt x="0" y="4"/>
                  </a:cubicBezTo>
                  <a:cubicBezTo>
                    <a:pt x="0" y="5"/>
                    <a:pt x="0" y="5"/>
                    <a:pt x="2" y="5"/>
                  </a:cubicBezTo>
                  <a:cubicBezTo>
                    <a:pt x="2" y="5"/>
                    <a:pt x="3" y="6"/>
                    <a:pt x="4" y="6"/>
                  </a:cubicBezTo>
                  <a:cubicBezTo>
                    <a:pt x="4" y="6"/>
                    <a:pt x="4" y="6"/>
                    <a:pt x="4" y="6"/>
                  </a:cubicBezTo>
                  <a:cubicBezTo>
                    <a:pt x="3" y="5"/>
                    <a:pt x="4" y="3"/>
                    <a:pt x="4" y="2"/>
                  </a:cubicBezTo>
                  <a:cubicBezTo>
                    <a:pt x="5" y="1"/>
                    <a:pt x="5" y="1"/>
                    <a:pt x="5" y="1"/>
                  </a:cubicBezTo>
                  <a:cubicBezTo>
                    <a:pt x="4" y="1"/>
                    <a:pt x="4" y="1"/>
                    <a:pt x="4" y="1"/>
                  </a:cubicBezTo>
                  <a:cubicBezTo>
                    <a:pt x="4" y="0"/>
                    <a:pt x="4" y="0"/>
                    <a:pt x="4" y="0"/>
                  </a:cubicBezTo>
                  <a:cubicBezTo>
                    <a:pt x="3" y="0"/>
                    <a:pt x="3" y="0"/>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37" name="Freeform 208">
              <a:extLst>
                <a:ext uri="{FF2B5EF4-FFF2-40B4-BE49-F238E27FC236}">
                  <a16:creationId xmlns:a16="http://schemas.microsoft.com/office/drawing/2014/main" id="{67B41212-8416-42BA-9B80-FA4FECF96024}"/>
                </a:ext>
              </a:extLst>
            </p:cNvPr>
            <p:cNvSpPr>
              <a:spLocks/>
            </p:cNvSpPr>
            <p:nvPr/>
          </p:nvSpPr>
          <p:spPr bwMode="auto">
            <a:xfrm>
              <a:off x="9920689" y="1933402"/>
              <a:ext cx="19772" cy="12710"/>
            </a:xfrm>
            <a:custGeom>
              <a:avLst/>
              <a:gdLst>
                <a:gd name="T0" fmla="*/ 6 w 6"/>
                <a:gd name="T1" fmla="*/ 0 h 4"/>
                <a:gd name="T2" fmla="*/ 0 w 6"/>
                <a:gd name="T3" fmla="*/ 4 h 4"/>
                <a:gd name="T4" fmla="*/ 3 w 6"/>
                <a:gd name="T5" fmla="*/ 4 h 4"/>
                <a:gd name="T6" fmla="*/ 5 w 6"/>
                <a:gd name="T7" fmla="*/ 2 h 4"/>
                <a:gd name="T8" fmla="*/ 5 w 6"/>
                <a:gd name="T9" fmla="*/ 2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cubicBezTo>
                    <a:pt x="4" y="1"/>
                    <a:pt x="2" y="3"/>
                    <a:pt x="0" y="4"/>
                  </a:cubicBezTo>
                  <a:cubicBezTo>
                    <a:pt x="1" y="4"/>
                    <a:pt x="2" y="4"/>
                    <a:pt x="3" y="4"/>
                  </a:cubicBezTo>
                  <a:cubicBezTo>
                    <a:pt x="4" y="3"/>
                    <a:pt x="4" y="3"/>
                    <a:pt x="5" y="2"/>
                  </a:cubicBezTo>
                  <a:cubicBezTo>
                    <a:pt x="5" y="2"/>
                    <a:pt x="5" y="2"/>
                    <a:pt x="5" y="2"/>
                  </a:cubicBezTo>
                  <a:cubicBezTo>
                    <a:pt x="5" y="1"/>
                    <a:pt x="5"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38" name="Freeform 209">
              <a:extLst>
                <a:ext uri="{FF2B5EF4-FFF2-40B4-BE49-F238E27FC236}">
                  <a16:creationId xmlns:a16="http://schemas.microsoft.com/office/drawing/2014/main" id="{248432DA-FBA9-4D65-A2BF-B0AAF035EEC9}"/>
                </a:ext>
              </a:extLst>
            </p:cNvPr>
            <p:cNvSpPr>
              <a:spLocks/>
            </p:cNvSpPr>
            <p:nvPr/>
          </p:nvSpPr>
          <p:spPr bwMode="auto">
            <a:xfrm>
              <a:off x="9917864" y="1955999"/>
              <a:ext cx="19772" cy="19772"/>
            </a:xfrm>
            <a:custGeom>
              <a:avLst/>
              <a:gdLst>
                <a:gd name="T0" fmla="*/ 4 w 6"/>
                <a:gd name="T1" fmla="*/ 0 h 6"/>
                <a:gd name="T2" fmla="*/ 1 w 6"/>
                <a:gd name="T3" fmla="*/ 1 h 6"/>
                <a:gd name="T4" fmla="*/ 1 w 6"/>
                <a:gd name="T5" fmla="*/ 1 h 6"/>
                <a:gd name="T6" fmla="*/ 0 w 6"/>
                <a:gd name="T7" fmla="*/ 2 h 6"/>
                <a:gd name="T8" fmla="*/ 1 w 6"/>
                <a:gd name="T9" fmla="*/ 6 h 6"/>
                <a:gd name="T10" fmla="*/ 6 w 6"/>
                <a:gd name="T11" fmla="*/ 2 h 6"/>
                <a:gd name="T12" fmla="*/ 6 w 6"/>
                <a:gd name="T13" fmla="*/ 1 h 6"/>
                <a:gd name="T14" fmla="*/ 6 w 6"/>
                <a:gd name="T15" fmla="*/ 1 h 6"/>
                <a:gd name="T16" fmla="*/ 6 w 6"/>
                <a:gd name="T17" fmla="*/ 1 h 6"/>
                <a:gd name="T18" fmla="*/ 6 w 6"/>
                <a:gd name="T19" fmla="*/ 0 h 6"/>
                <a:gd name="T20" fmla="*/ 5 w 6"/>
                <a:gd name="T21" fmla="*/ 0 h 6"/>
                <a:gd name="T22" fmla="*/ 5 w 6"/>
                <a:gd name="T23" fmla="*/ 0 h 6"/>
                <a:gd name="T24" fmla="*/ 5 w 6"/>
                <a:gd name="T25" fmla="*/ 0 h 6"/>
                <a:gd name="T26" fmla="*/ 4 w 6"/>
                <a:gd name="T2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6">
                  <a:moveTo>
                    <a:pt x="4" y="0"/>
                  </a:moveTo>
                  <a:cubicBezTo>
                    <a:pt x="3" y="0"/>
                    <a:pt x="2" y="0"/>
                    <a:pt x="1" y="1"/>
                  </a:cubicBezTo>
                  <a:cubicBezTo>
                    <a:pt x="1" y="1"/>
                    <a:pt x="1" y="1"/>
                    <a:pt x="1" y="1"/>
                  </a:cubicBezTo>
                  <a:cubicBezTo>
                    <a:pt x="0" y="2"/>
                    <a:pt x="0" y="2"/>
                    <a:pt x="0" y="2"/>
                  </a:cubicBezTo>
                  <a:cubicBezTo>
                    <a:pt x="0" y="4"/>
                    <a:pt x="1" y="5"/>
                    <a:pt x="1" y="6"/>
                  </a:cubicBezTo>
                  <a:cubicBezTo>
                    <a:pt x="2" y="6"/>
                    <a:pt x="6" y="3"/>
                    <a:pt x="6" y="2"/>
                  </a:cubicBezTo>
                  <a:cubicBezTo>
                    <a:pt x="6" y="1"/>
                    <a:pt x="6" y="1"/>
                    <a:pt x="6" y="1"/>
                  </a:cubicBezTo>
                  <a:cubicBezTo>
                    <a:pt x="6" y="1"/>
                    <a:pt x="6" y="1"/>
                    <a:pt x="6" y="1"/>
                  </a:cubicBezTo>
                  <a:cubicBezTo>
                    <a:pt x="6" y="1"/>
                    <a:pt x="6" y="1"/>
                    <a:pt x="6" y="1"/>
                  </a:cubicBezTo>
                  <a:cubicBezTo>
                    <a:pt x="6" y="0"/>
                    <a:pt x="6" y="0"/>
                    <a:pt x="6" y="0"/>
                  </a:cubicBezTo>
                  <a:cubicBezTo>
                    <a:pt x="6" y="0"/>
                    <a:pt x="5" y="0"/>
                    <a:pt x="5" y="0"/>
                  </a:cubicBezTo>
                  <a:cubicBezTo>
                    <a:pt x="5" y="0"/>
                    <a:pt x="5" y="0"/>
                    <a:pt x="5" y="0"/>
                  </a:cubicBezTo>
                  <a:cubicBezTo>
                    <a:pt x="5" y="0"/>
                    <a:pt x="5" y="0"/>
                    <a:pt x="5"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39" name="Freeform 210">
              <a:extLst>
                <a:ext uri="{FF2B5EF4-FFF2-40B4-BE49-F238E27FC236}">
                  <a16:creationId xmlns:a16="http://schemas.microsoft.com/office/drawing/2014/main" id="{AC5EE4C1-0CC0-4B7A-A379-4496CA05E840}"/>
                </a:ext>
              </a:extLst>
            </p:cNvPr>
            <p:cNvSpPr>
              <a:spLocks/>
            </p:cNvSpPr>
            <p:nvPr/>
          </p:nvSpPr>
          <p:spPr bwMode="auto">
            <a:xfrm>
              <a:off x="9893856" y="1989893"/>
              <a:ext cx="14123" cy="12710"/>
            </a:xfrm>
            <a:custGeom>
              <a:avLst/>
              <a:gdLst>
                <a:gd name="T0" fmla="*/ 1 w 4"/>
                <a:gd name="T1" fmla="*/ 0 h 4"/>
                <a:gd name="T2" fmla="*/ 1 w 4"/>
                <a:gd name="T3" fmla="*/ 3 h 4"/>
                <a:gd name="T4" fmla="*/ 1 w 4"/>
                <a:gd name="T5" fmla="*/ 4 h 4"/>
                <a:gd name="T6" fmla="*/ 4 w 4"/>
                <a:gd name="T7" fmla="*/ 4 h 4"/>
                <a:gd name="T8" fmla="*/ 2 w 4"/>
                <a:gd name="T9" fmla="*/ 1 h 4"/>
                <a:gd name="T10" fmla="*/ 1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1" y="0"/>
                  </a:moveTo>
                  <a:cubicBezTo>
                    <a:pt x="0" y="1"/>
                    <a:pt x="0" y="3"/>
                    <a:pt x="1" y="3"/>
                  </a:cubicBezTo>
                  <a:cubicBezTo>
                    <a:pt x="1" y="4"/>
                    <a:pt x="1" y="4"/>
                    <a:pt x="1" y="4"/>
                  </a:cubicBezTo>
                  <a:cubicBezTo>
                    <a:pt x="2" y="4"/>
                    <a:pt x="3" y="4"/>
                    <a:pt x="4" y="4"/>
                  </a:cubicBezTo>
                  <a:cubicBezTo>
                    <a:pt x="4" y="3"/>
                    <a:pt x="4" y="1"/>
                    <a:pt x="2" y="1"/>
                  </a:cubicBezTo>
                  <a:cubicBezTo>
                    <a:pt x="2"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40" name="Freeform 211">
              <a:extLst>
                <a:ext uri="{FF2B5EF4-FFF2-40B4-BE49-F238E27FC236}">
                  <a16:creationId xmlns:a16="http://schemas.microsoft.com/office/drawing/2014/main" id="{FEBB9D54-DE35-4484-B435-4A1C403DF541}"/>
                </a:ext>
              </a:extLst>
            </p:cNvPr>
            <p:cNvSpPr>
              <a:spLocks/>
            </p:cNvSpPr>
            <p:nvPr/>
          </p:nvSpPr>
          <p:spPr bwMode="auto">
            <a:xfrm>
              <a:off x="9903742" y="1955999"/>
              <a:ext cx="9886" cy="33895"/>
            </a:xfrm>
            <a:custGeom>
              <a:avLst/>
              <a:gdLst>
                <a:gd name="T0" fmla="*/ 2 w 3"/>
                <a:gd name="T1" fmla="*/ 0 h 10"/>
                <a:gd name="T2" fmla="*/ 2 w 3"/>
                <a:gd name="T3" fmla="*/ 0 h 10"/>
                <a:gd name="T4" fmla="*/ 2 w 3"/>
                <a:gd name="T5" fmla="*/ 2 h 10"/>
                <a:gd name="T6" fmla="*/ 1 w 3"/>
                <a:gd name="T7" fmla="*/ 3 h 10"/>
                <a:gd name="T8" fmla="*/ 0 w 3"/>
                <a:gd name="T9" fmla="*/ 5 h 10"/>
                <a:gd name="T10" fmla="*/ 1 w 3"/>
                <a:gd name="T11" fmla="*/ 10 h 10"/>
                <a:gd name="T12" fmla="*/ 3 w 3"/>
                <a:gd name="T13" fmla="*/ 8 h 10"/>
                <a:gd name="T14" fmla="*/ 3 w 3"/>
                <a:gd name="T15" fmla="*/ 8 h 10"/>
                <a:gd name="T16" fmla="*/ 3 w 3"/>
                <a:gd name="T17" fmla="*/ 7 h 10"/>
                <a:gd name="T18" fmla="*/ 3 w 3"/>
                <a:gd name="T19" fmla="*/ 6 h 10"/>
                <a:gd name="T20" fmla="*/ 3 w 3"/>
                <a:gd name="T21" fmla="*/ 5 h 10"/>
                <a:gd name="T22" fmla="*/ 3 w 3"/>
                <a:gd name="T23" fmla="*/ 1 h 10"/>
                <a:gd name="T24" fmla="*/ 2 w 3"/>
                <a:gd name="T25" fmla="*/ 1 h 10"/>
                <a:gd name="T26" fmla="*/ 2 w 3"/>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10">
                  <a:moveTo>
                    <a:pt x="2" y="0"/>
                  </a:moveTo>
                  <a:cubicBezTo>
                    <a:pt x="2" y="0"/>
                    <a:pt x="2" y="0"/>
                    <a:pt x="2" y="0"/>
                  </a:cubicBezTo>
                  <a:cubicBezTo>
                    <a:pt x="2" y="1"/>
                    <a:pt x="2" y="1"/>
                    <a:pt x="2" y="2"/>
                  </a:cubicBezTo>
                  <a:cubicBezTo>
                    <a:pt x="1" y="2"/>
                    <a:pt x="1" y="3"/>
                    <a:pt x="1" y="3"/>
                  </a:cubicBezTo>
                  <a:cubicBezTo>
                    <a:pt x="1" y="4"/>
                    <a:pt x="1" y="5"/>
                    <a:pt x="0" y="5"/>
                  </a:cubicBezTo>
                  <a:cubicBezTo>
                    <a:pt x="0" y="7"/>
                    <a:pt x="0" y="8"/>
                    <a:pt x="1" y="10"/>
                  </a:cubicBezTo>
                  <a:cubicBezTo>
                    <a:pt x="2" y="9"/>
                    <a:pt x="2" y="8"/>
                    <a:pt x="3" y="8"/>
                  </a:cubicBezTo>
                  <a:cubicBezTo>
                    <a:pt x="3" y="8"/>
                    <a:pt x="3" y="8"/>
                    <a:pt x="3" y="8"/>
                  </a:cubicBezTo>
                  <a:cubicBezTo>
                    <a:pt x="3" y="7"/>
                    <a:pt x="3" y="7"/>
                    <a:pt x="3" y="7"/>
                  </a:cubicBezTo>
                  <a:cubicBezTo>
                    <a:pt x="3" y="7"/>
                    <a:pt x="3" y="7"/>
                    <a:pt x="3" y="6"/>
                  </a:cubicBezTo>
                  <a:cubicBezTo>
                    <a:pt x="3" y="5"/>
                    <a:pt x="3" y="5"/>
                    <a:pt x="3" y="5"/>
                  </a:cubicBezTo>
                  <a:cubicBezTo>
                    <a:pt x="3" y="4"/>
                    <a:pt x="3" y="2"/>
                    <a:pt x="3" y="1"/>
                  </a:cubicBezTo>
                  <a:cubicBezTo>
                    <a:pt x="2" y="1"/>
                    <a:pt x="2" y="1"/>
                    <a:pt x="2" y="1"/>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41" name="Freeform 212">
              <a:extLst>
                <a:ext uri="{FF2B5EF4-FFF2-40B4-BE49-F238E27FC236}">
                  <a16:creationId xmlns:a16="http://schemas.microsoft.com/office/drawing/2014/main" id="{9117C71C-B12F-43A7-8EB6-FEA8F5FF63F8}"/>
                </a:ext>
              </a:extLst>
            </p:cNvPr>
            <p:cNvSpPr>
              <a:spLocks/>
            </p:cNvSpPr>
            <p:nvPr/>
          </p:nvSpPr>
          <p:spPr bwMode="auto">
            <a:xfrm>
              <a:off x="9793585" y="2043560"/>
              <a:ext cx="60728" cy="73438"/>
            </a:xfrm>
            <a:custGeom>
              <a:avLst/>
              <a:gdLst>
                <a:gd name="T0" fmla="*/ 14 w 18"/>
                <a:gd name="T1" fmla="*/ 0 h 22"/>
                <a:gd name="T2" fmla="*/ 11 w 18"/>
                <a:gd name="T3" fmla="*/ 1 h 22"/>
                <a:gd name="T4" fmla="*/ 0 w 18"/>
                <a:gd name="T5" fmla="*/ 22 h 22"/>
                <a:gd name="T6" fmla="*/ 3 w 18"/>
                <a:gd name="T7" fmla="*/ 21 h 22"/>
                <a:gd name="T8" fmla="*/ 4 w 18"/>
                <a:gd name="T9" fmla="*/ 21 h 22"/>
                <a:gd name="T10" fmla="*/ 5 w 18"/>
                <a:gd name="T11" fmla="*/ 20 h 22"/>
                <a:gd name="T12" fmla="*/ 5 w 18"/>
                <a:gd name="T13" fmla="*/ 20 h 22"/>
                <a:gd name="T14" fmla="*/ 10 w 18"/>
                <a:gd name="T15" fmla="*/ 16 h 22"/>
                <a:gd name="T16" fmla="*/ 14 w 18"/>
                <a:gd name="T17" fmla="*/ 11 h 22"/>
                <a:gd name="T18" fmla="*/ 16 w 18"/>
                <a:gd name="T19" fmla="*/ 2 h 22"/>
                <a:gd name="T20" fmla="*/ 15 w 18"/>
                <a:gd name="T21" fmla="*/ 1 h 22"/>
                <a:gd name="T22" fmla="*/ 14 w 18"/>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2">
                  <a:moveTo>
                    <a:pt x="14" y="0"/>
                  </a:moveTo>
                  <a:cubicBezTo>
                    <a:pt x="13" y="0"/>
                    <a:pt x="13" y="1"/>
                    <a:pt x="11" y="1"/>
                  </a:cubicBezTo>
                  <a:cubicBezTo>
                    <a:pt x="4" y="4"/>
                    <a:pt x="2" y="16"/>
                    <a:pt x="0" y="22"/>
                  </a:cubicBezTo>
                  <a:cubicBezTo>
                    <a:pt x="1" y="22"/>
                    <a:pt x="2" y="22"/>
                    <a:pt x="3" y="21"/>
                  </a:cubicBezTo>
                  <a:cubicBezTo>
                    <a:pt x="3" y="21"/>
                    <a:pt x="4" y="21"/>
                    <a:pt x="4" y="21"/>
                  </a:cubicBezTo>
                  <a:cubicBezTo>
                    <a:pt x="4" y="21"/>
                    <a:pt x="5" y="21"/>
                    <a:pt x="5" y="20"/>
                  </a:cubicBezTo>
                  <a:cubicBezTo>
                    <a:pt x="5" y="20"/>
                    <a:pt x="5" y="20"/>
                    <a:pt x="5" y="20"/>
                  </a:cubicBezTo>
                  <a:cubicBezTo>
                    <a:pt x="7" y="19"/>
                    <a:pt x="9" y="17"/>
                    <a:pt x="10" y="16"/>
                  </a:cubicBezTo>
                  <a:cubicBezTo>
                    <a:pt x="12" y="14"/>
                    <a:pt x="13" y="13"/>
                    <a:pt x="14" y="11"/>
                  </a:cubicBezTo>
                  <a:cubicBezTo>
                    <a:pt x="16" y="8"/>
                    <a:pt x="18" y="4"/>
                    <a:pt x="16" y="2"/>
                  </a:cubicBezTo>
                  <a:cubicBezTo>
                    <a:pt x="16" y="1"/>
                    <a:pt x="16" y="1"/>
                    <a:pt x="15" y="1"/>
                  </a:cubicBezTo>
                  <a:cubicBezTo>
                    <a:pt x="15" y="0"/>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42" name="Freeform 213">
              <a:extLst>
                <a:ext uri="{FF2B5EF4-FFF2-40B4-BE49-F238E27FC236}">
                  <a16:creationId xmlns:a16="http://schemas.microsoft.com/office/drawing/2014/main" id="{6C2B6421-B5BE-498C-A87B-E50E718064B1}"/>
                </a:ext>
              </a:extLst>
            </p:cNvPr>
            <p:cNvSpPr>
              <a:spLocks/>
            </p:cNvSpPr>
            <p:nvPr/>
          </p:nvSpPr>
          <p:spPr bwMode="auto">
            <a:xfrm>
              <a:off x="10050618" y="4180329"/>
              <a:ext cx="14123" cy="36719"/>
            </a:xfrm>
            <a:custGeom>
              <a:avLst/>
              <a:gdLst>
                <a:gd name="T0" fmla="*/ 4 w 4"/>
                <a:gd name="T1" fmla="*/ 0 h 11"/>
                <a:gd name="T2" fmla="*/ 0 w 4"/>
                <a:gd name="T3" fmla="*/ 11 h 11"/>
                <a:gd name="T4" fmla="*/ 2 w 4"/>
                <a:gd name="T5" fmla="*/ 9 h 11"/>
                <a:gd name="T6" fmla="*/ 2 w 4"/>
                <a:gd name="T7" fmla="*/ 8 h 11"/>
                <a:gd name="T8" fmla="*/ 4 w 4"/>
                <a:gd name="T9" fmla="*/ 3 h 11"/>
                <a:gd name="T10" fmla="*/ 4 w 4"/>
                <a:gd name="T11" fmla="*/ 3 h 11"/>
                <a:gd name="T12" fmla="*/ 4 w 4"/>
                <a:gd name="T13" fmla="*/ 2 h 11"/>
                <a:gd name="T14" fmla="*/ 4 w 4"/>
                <a:gd name="T15" fmla="*/ 1 h 11"/>
                <a:gd name="T16" fmla="*/ 4 w 4"/>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1">
                  <a:moveTo>
                    <a:pt x="4" y="0"/>
                  </a:moveTo>
                  <a:cubicBezTo>
                    <a:pt x="2" y="3"/>
                    <a:pt x="1" y="7"/>
                    <a:pt x="0" y="11"/>
                  </a:cubicBezTo>
                  <a:cubicBezTo>
                    <a:pt x="1" y="10"/>
                    <a:pt x="1" y="9"/>
                    <a:pt x="2" y="9"/>
                  </a:cubicBezTo>
                  <a:cubicBezTo>
                    <a:pt x="2" y="8"/>
                    <a:pt x="2" y="8"/>
                    <a:pt x="2" y="8"/>
                  </a:cubicBezTo>
                  <a:cubicBezTo>
                    <a:pt x="3" y="7"/>
                    <a:pt x="4" y="5"/>
                    <a:pt x="4" y="3"/>
                  </a:cubicBezTo>
                  <a:cubicBezTo>
                    <a:pt x="4" y="3"/>
                    <a:pt x="4" y="3"/>
                    <a:pt x="4" y="3"/>
                  </a:cubicBezTo>
                  <a:cubicBezTo>
                    <a:pt x="4" y="2"/>
                    <a:pt x="4" y="2"/>
                    <a:pt x="4" y="2"/>
                  </a:cubicBezTo>
                  <a:cubicBezTo>
                    <a:pt x="4" y="1"/>
                    <a:pt x="4" y="1"/>
                    <a:pt x="4" y="1"/>
                  </a:cubicBezTo>
                  <a:cubicBezTo>
                    <a:pt x="4" y="1"/>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43" name="Freeform 214">
              <a:extLst>
                <a:ext uri="{FF2B5EF4-FFF2-40B4-BE49-F238E27FC236}">
                  <a16:creationId xmlns:a16="http://schemas.microsoft.com/office/drawing/2014/main" id="{CA41726C-AE66-4CFF-8C64-F52C8BAFDD71}"/>
                </a:ext>
              </a:extLst>
            </p:cNvPr>
            <p:cNvSpPr>
              <a:spLocks/>
            </p:cNvSpPr>
            <p:nvPr/>
          </p:nvSpPr>
          <p:spPr bwMode="auto">
            <a:xfrm>
              <a:off x="9850075" y="2049209"/>
              <a:ext cx="26833" cy="31070"/>
            </a:xfrm>
            <a:custGeom>
              <a:avLst/>
              <a:gdLst>
                <a:gd name="T0" fmla="*/ 8 w 8"/>
                <a:gd name="T1" fmla="*/ 0 h 9"/>
                <a:gd name="T2" fmla="*/ 1 w 8"/>
                <a:gd name="T3" fmla="*/ 5 h 9"/>
                <a:gd name="T4" fmla="*/ 0 w 8"/>
                <a:gd name="T5" fmla="*/ 9 h 9"/>
                <a:gd name="T6" fmla="*/ 4 w 8"/>
                <a:gd name="T7" fmla="*/ 6 h 9"/>
                <a:gd name="T8" fmla="*/ 5 w 8"/>
                <a:gd name="T9" fmla="*/ 4 h 9"/>
                <a:gd name="T10" fmla="*/ 5 w 8"/>
                <a:gd name="T11" fmla="*/ 3 h 9"/>
                <a:gd name="T12" fmla="*/ 7 w 8"/>
                <a:gd name="T13" fmla="*/ 2 h 9"/>
                <a:gd name="T14" fmla="*/ 8 w 8"/>
                <a:gd name="T15" fmla="*/ 0 h 9"/>
                <a:gd name="T16" fmla="*/ 8 w 8"/>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0"/>
                  </a:moveTo>
                  <a:cubicBezTo>
                    <a:pt x="4" y="1"/>
                    <a:pt x="2" y="2"/>
                    <a:pt x="1" y="5"/>
                  </a:cubicBezTo>
                  <a:cubicBezTo>
                    <a:pt x="1" y="6"/>
                    <a:pt x="1" y="7"/>
                    <a:pt x="0" y="9"/>
                  </a:cubicBezTo>
                  <a:cubicBezTo>
                    <a:pt x="1" y="8"/>
                    <a:pt x="3" y="7"/>
                    <a:pt x="4" y="6"/>
                  </a:cubicBezTo>
                  <a:cubicBezTo>
                    <a:pt x="4" y="5"/>
                    <a:pt x="4" y="4"/>
                    <a:pt x="5" y="4"/>
                  </a:cubicBezTo>
                  <a:cubicBezTo>
                    <a:pt x="5" y="3"/>
                    <a:pt x="5" y="3"/>
                    <a:pt x="5" y="3"/>
                  </a:cubicBezTo>
                  <a:cubicBezTo>
                    <a:pt x="6" y="3"/>
                    <a:pt x="7" y="2"/>
                    <a:pt x="7" y="2"/>
                  </a:cubicBezTo>
                  <a:cubicBezTo>
                    <a:pt x="8" y="2"/>
                    <a:pt x="8" y="1"/>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44" name="Freeform 215">
              <a:extLst>
                <a:ext uri="{FF2B5EF4-FFF2-40B4-BE49-F238E27FC236}">
                  <a16:creationId xmlns:a16="http://schemas.microsoft.com/office/drawing/2014/main" id="{A244AF94-51D8-4647-AF9C-C3C31696A95F}"/>
                </a:ext>
              </a:extLst>
            </p:cNvPr>
            <p:cNvSpPr>
              <a:spLocks/>
            </p:cNvSpPr>
            <p:nvPr/>
          </p:nvSpPr>
          <p:spPr bwMode="auto">
            <a:xfrm>
              <a:off x="9834540" y="2012490"/>
              <a:ext cx="22596" cy="26833"/>
            </a:xfrm>
            <a:custGeom>
              <a:avLst/>
              <a:gdLst>
                <a:gd name="T0" fmla="*/ 6 w 7"/>
                <a:gd name="T1" fmla="*/ 0 h 8"/>
                <a:gd name="T2" fmla="*/ 0 w 7"/>
                <a:gd name="T3" fmla="*/ 8 h 8"/>
                <a:gd name="T4" fmla="*/ 5 w 7"/>
                <a:gd name="T5" fmla="*/ 4 h 8"/>
                <a:gd name="T6" fmla="*/ 5 w 7"/>
                <a:gd name="T7" fmla="*/ 4 h 8"/>
                <a:gd name="T8" fmla="*/ 6 w 7"/>
                <a:gd name="T9" fmla="*/ 2 h 8"/>
                <a:gd name="T10" fmla="*/ 6 w 7"/>
                <a:gd name="T11" fmla="*/ 0 h 8"/>
              </a:gdLst>
              <a:ahLst/>
              <a:cxnLst>
                <a:cxn ang="0">
                  <a:pos x="T0" y="T1"/>
                </a:cxn>
                <a:cxn ang="0">
                  <a:pos x="T2" y="T3"/>
                </a:cxn>
                <a:cxn ang="0">
                  <a:pos x="T4" y="T5"/>
                </a:cxn>
                <a:cxn ang="0">
                  <a:pos x="T6" y="T7"/>
                </a:cxn>
                <a:cxn ang="0">
                  <a:pos x="T8" y="T9"/>
                </a:cxn>
                <a:cxn ang="0">
                  <a:pos x="T10" y="T11"/>
                </a:cxn>
              </a:cxnLst>
              <a:rect l="0" t="0" r="r" b="b"/>
              <a:pathLst>
                <a:path w="7" h="8">
                  <a:moveTo>
                    <a:pt x="6" y="0"/>
                  </a:moveTo>
                  <a:cubicBezTo>
                    <a:pt x="4" y="3"/>
                    <a:pt x="2" y="6"/>
                    <a:pt x="0" y="8"/>
                  </a:cubicBezTo>
                  <a:cubicBezTo>
                    <a:pt x="1" y="7"/>
                    <a:pt x="4" y="6"/>
                    <a:pt x="5" y="4"/>
                  </a:cubicBezTo>
                  <a:cubicBezTo>
                    <a:pt x="5" y="4"/>
                    <a:pt x="5" y="4"/>
                    <a:pt x="5" y="4"/>
                  </a:cubicBezTo>
                  <a:cubicBezTo>
                    <a:pt x="7" y="3"/>
                    <a:pt x="6" y="3"/>
                    <a:pt x="6" y="2"/>
                  </a:cubicBezTo>
                  <a:cubicBezTo>
                    <a:pt x="6" y="2"/>
                    <a:pt x="6"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45" name="Freeform 216">
              <a:extLst>
                <a:ext uri="{FF2B5EF4-FFF2-40B4-BE49-F238E27FC236}">
                  <a16:creationId xmlns:a16="http://schemas.microsoft.com/office/drawing/2014/main" id="{594AE03D-6E76-47B4-BE83-5937FA14B07A}"/>
                </a:ext>
              </a:extLst>
            </p:cNvPr>
            <p:cNvSpPr>
              <a:spLocks/>
            </p:cNvSpPr>
            <p:nvPr/>
          </p:nvSpPr>
          <p:spPr bwMode="auto">
            <a:xfrm>
              <a:off x="9954583" y="2002604"/>
              <a:ext cx="32482" cy="14123"/>
            </a:xfrm>
            <a:custGeom>
              <a:avLst/>
              <a:gdLst>
                <a:gd name="T0" fmla="*/ 5 w 10"/>
                <a:gd name="T1" fmla="*/ 0 h 4"/>
                <a:gd name="T2" fmla="*/ 2 w 10"/>
                <a:gd name="T3" fmla="*/ 0 h 4"/>
                <a:gd name="T4" fmla="*/ 1 w 10"/>
                <a:gd name="T5" fmla="*/ 0 h 4"/>
                <a:gd name="T6" fmla="*/ 0 w 10"/>
                <a:gd name="T7" fmla="*/ 2 h 4"/>
                <a:gd name="T8" fmla="*/ 0 w 10"/>
                <a:gd name="T9" fmla="*/ 2 h 4"/>
                <a:gd name="T10" fmla="*/ 0 w 10"/>
                <a:gd name="T11" fmla="*/ 2 h 4"/>
                <a:gd name="T12" fmla="*/ 2 w 10"/>
                <a:gd name="T13" fmla="*/ 3 h 4"/>
                <a:gd name="T14" fmla="*/ 3 w 10"/>
                <a:gd name="T15" fmla="*/ 4 h 4"/>
                <a:gd name="T16" fmla="*/ 10 w 10"/>
                <a:gd name="T17" fmla="*/ 0 h 4"/>
                <a:gd name="T18" fmla="*/ 5 w 10"/>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4">
                  <a:moveTo>
                    <a:pt x="5" y="0"/>
                  </a:moveTo>
                  <a:cubicBezTo>
                    <a:pt x="4" y="0"/>
                    <a:pt x="3" y="0"/>
                    <a:pt x="2" y="0"/>
                  </a:cubicBezTo>
                  <a:cubicBezTo>
                    <a:pt x="1" y="0"/>
                    <a:pt x="1" y="0"/>
                    <a:pt x="1" y="0"/>
                  </a:cubicBezTo>
                  <a:cubicBezTo>
                    <a:pt x="1" y="1"/>
                    <a:pt x="0" y="1"/>
                    <a:pt x="0" y="2"/>
                  </a:cubicBezTo>
                  <a:cubicBezTo>
                    <a:pt x="0" y="2"/>
                    <a:pt x="0" y="2"/>
                    <a:pt x="0" y="2"/>
                  </a:cubicBezTo>
                  <a:cubicBezTo>
                    <a:pt x="0" y="2"/>
                    <a:pt x="0" y="2"/>
                    <a:pt x="0" y="2"/>
                  </a:cubicBezTo>
                  <a:cubicBezTo>
                    <a:pt x="1" y="3"/>
                    <a:pt x="1" y="3"/>
                    <a:pt x="2" y="3"/>
                  </a:cubicBezTo>
                  <a:cubicBezTo>
                    <a:pt x="2" y="4"/>
                    <a:pt x="2" y="4"/>
                    <a:pt x="3" y="4"/>
                  </a:cubicBezTo>
                  <a:cubicBezTo>
                    <a:pt x="5" y="4"/>
                    <a:pt x="8" y="1"/>
                    <a:pt x="10" y="0"/>
                  </a:cubicBezTo>
                  <a:cubicBezTo>
                    <a:pt x="9" y="0"/>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46" name="Freeform 217">
              <a:extLst>
                <a:ext uri="{FF2B5EF4-FFF2-40B4-BE49-F238E27FC236}">
                  <a16:creationId xmlns:a16="http://schemas.microsoft.com/office/drawing/2014/main" id="{4E9A7A95-5D00-43CB-8CB2-94381CFC6B36}"/>
                </a:ext>
              </a:extLst>
            </p:cNvPr>
            <p:cNvSpPr>
              <a:spLocks/>
            </p:cNvSpPr>
            <p:nvPr/>
          </p:nvSpPr>
          <p:spPr bwMode="auto">
            <a:xfrm>
              <a:off x="10378264" y="3823024"/>
              <a:ext cx="19772" cy="12710"/>
            </a:xfrm>
            <a:custGeom>
              <a:avLst/>
              <a:gdLst>
                <a:gd name="T0" fmla="*/ 3 w 6"/>
                <a:gd name="T1" fmla="*/ 0 h 4"/>
                <a:gd name="T2" fmla="*/ 3 w 6"/>
                <a:gd name="T3" fmla="*/ 1 h 4"/>
                <a:gd name="T4" fmla="*/ 0 w 6"/>
                <a:gd name="T5" fmla="*/ 4 h 4"/>
                <a:gd name="T6" fmla="*/ 5 w 6"/>
                <a:gd name="T7" fmla="*/ 2 h 4"/>
                <a:gd name="T8" fmla="*/ 6 w 6"/>
                <a:gd name="T9" fmla="*/ 2 h 4"/>
                <a:gd name="T10" fmla="*/ 5 w 6"/>
                <a:gd name="T11" fmla="*/ 2 h 4"/>
                <a:gd name="T12" fmla="*/ 5 w 6"/>
                <a:gd name="T13" fmla="*/ 2 h 4"/>
                <a:gd name="T14" fmla="*/ 3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3" y="0"/>
                  </a:moveTo>
                  <a:cubicBezTo>
                    <a:pt x="3" y="0"/>
                    <a:pt x="3" y="1"/>
                    <a:pt x="3" y="1"/>
                  </a:cubicBezTo>
                  <a:cubicBezTo>
                    <a:pt x="2" y="1"/>
                    <a:pt x="2" y="2"/>
                    <a:pt x="0" y="4"/>
                  </a:cubicBezTo>
                  <a:cubicBezTo>
                    <a:pt x="2" y="3"/>
                    <a:pt x="4" y="2"/>
                    <a:pt x="5" y="2"/>
                  </a:cubicBezTo>
                  <a:cubicBezTo>
                    <a:pt x="5" y="2"/>
                    <a:pt x="6" y="2"/>
                    <a:pt x="6" y="2"/>
                  </a:cubicBezTo>
                  <a:cubicBezTo>
                    <a:pt x="5" y="2"/>
                    <a:pt x="5" y="2"/>
                    <a:pt x="5" y="2"/>
                  </a:cubicBezTo>
                  <a:cubicBezTo>
                    <a:pt x="5" y="2"/>
                    <a:pt x="5" y="2"/>
                    <a:pt x="5"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47" name="Freeform 218">
              <a:extLst>
                <a:ext uri="{FF2B5EF4-FFF2-40B4-BE49-F238E27FC236}">
                  <a16:creationId xmlns:a16="http://schemas.microsoft.com/office/drawing/2014/main" id="{AA95A6AC-F47D-4A34-8733-3976AC2AB90A}"/>
                </a:ext>
              </a:extLst>
            </p:cNvPr>
            <p:cNvSpPr>
              <a:spLocks/>
            </p:cNvSpPr>
            <p:nvPr/>
          </p:nvSpPr>
          <p:spPr bwMode="auto">
            <a:xfrm>
              <a:off x="7572084" y="0"/>
              <a:ext cx="25421" cy="29658"/>
            </a:xfrm>
            <a:custGeom>
              <a:avLst/>
              <a:gdLst>
                <a:gd name="T0" fmla="*/ 8 w 8"/>
                <a:gd name="T1" fmla="*/ 0 h 9"/>
                <a:gd name="T2" fmla="*/ 2 w 8"/>
                <a:gd name="T3" fmla="*/ 7 h 9"/>
                <a:gd name="T4" fmla="*/ 1 w 8"/>
                <a:gd name="T5" fmla="*/ 9 h 9"/>
                <a:gd name="T6" fmla="*/ 0 w 8"/>
                <a:gd name="T7" fmla="*/ 9 h 9"/>
                <a:gd name="T8" fmla="*/ 8 w 8"/>
                <a:gd name="T9" fmla="*/ 0 h 9"/>
              </a:gdLst>
              <a:ahLst/>
              <a:cxnLst>
                <a:cxn ang="0">
                  <a:pos x="T0" y="T1"/>
                </a:cxn>
                <a:cxn ang="0">
                  <a:pos x="T2" y="T3"/>
                </a:cxn>
                <a:cxn ang="0">
                  <a:pos x="T4" y="T5"/>
                </a:cxn>
                <a:cxn ang="0">
                  <a:pos x="T6" y="T7"/>
                </a:cxn>
                <a:cxn ang="0">
                  <a:pos x="T8" y="T9"/>
                </a:cxn>
              </a:cxnLst>
              <a:rect l="0" t="0" r="r" b="b"/>
              <a:pathLst>
                <a:path w="8" h="9">
                  <a:moveTo>
                    <a:pt x="8" y="0"/>
                  </a:moveTo>
                  <a:cubicBezTo>
                    <a:pt x="6" y="2"/>
                    <a:pt x="4" y="4"/>
                    <a:pt x="2" y="7"/>
                  </a:cubicBezTo>
                  <a:cubicBezTo>
                    <a:pt x="2" y="7"/>
                    <a:pt x="1" y="8"/>
                    <a:pt x="1" y="9"/>
                  </a:cubicBezTo>
                  <a:cubicBezTo>
                    <a:pt x="0" y="9"/>
                    <a:pt x="0" y="9"/>
                    <a:pt x="0" y="9"/>
                  </a:cubicBezTo>
                  <a:cubicBezTo>
                    <a:pt x="3" y="7"/>
                    <a:pt x="6" y="4"/>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48" name="Freeform 219">
              <a:extLst>
                <a:ext uri="{FF2B5EF4-FFF2-40B4-BE49-F238E27FC236}">
                  <a16:creationId xmlns:a16="http://schemas.microsoft.com/office/drawing/2014/main" id="{8C393866-C737-4808-A4C4-8823CCF37B94}"/>
                </a:ext>
              </a:extLst>
            </p:cNvPr>
            <p:cNvSpPr>
              <a:spLocks/>
            </p:cNvSpPr>
            <p:nvPr/>
          </p:nvSpPr>
          <p:spPr bwMode="auto">
            <a:xfrm>
              <a:off x="5239014" y="16947"/>
              <a:ext cx="12710" cy="19772"/>
            </a:xfrm>
            <a:custGeom>
              <a:avLst/>
              <a:gdLst>
                <a:gd name="T0" fmla="*/ 0 w 4"/>
                <a:gd name="T1" fmla="*/ 0 h 6"/>
                <a:gd name="T2" fmla="*/ 3 w 4"/>
                <a:gd name="T3" fmla="*/ 5 h 6"/>
                <a:gd name="T4" fmla="*/ 3 w 4"/>
                <a:gd name="T5" fmla="*/ 6 h 6"/>
                <a:gd name="T6" fmla="*/ 3 w 4"/>
                <a:gd name="T7" fmla="*/ 6 h 6"/>
                <a:gd name="T8" fmla="*/ 3 w 4"/>
                <a:gd name="T9" fmla="*/ 6 h 6"/>
                <a:gd name="T10" fmla="*/ 4 w 4"/>
                <a:gd name="T11" fmla="*/ 6 h 6"/>
                <a:gd name="T12" fmla="*/ 0 w 4"/>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0"/>
                  </a:moveTo>
                  <a:cubicBezTo>
                    <a:pt x="1" y="3"/>
                    <a:pt x="1" y="4"/>
                    <a:pt x="3" y="5"/>
                  </a:cubicBezTo>
                  <a:cubicBezTo>
                    <a:pt x="3" y="6"/>
                    <a:pt x="3" y="6"/>
                    <a:pt x="3" y="6"/>
                  </a:cubicBezTo>
                  <a:cubicBezTo>
                    <a:pt x="3" y="6"/>
                    <a:pt x="3" y="6"/>
                    <a:pt x="3" y="6"/>
                  </a:cubicBezTo>
                  <a:cubicBezTo>
                    <a:pt x="3" y="6"/>
                    <a:pt x="3" y="6"/>
                    <a:pt x="3" y="6"/>
                  </a:cubicBezTo>
                  <a:cubicBezTo>
                    <a:pt x="3" y="6"/>
                    <a:pt x="4" y="6"/>
                    <a:pt x="4" y="6"/>
                  </a:cubicBezTo>
                  <a:cubicBezTo>
                    <a:pt x="3" y="4"/>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49" name="Freeform 220">
              <a:extLst>
                <a:ext uri="{FF2B5EF4-FFF2-40B4-BE49-F238E27FC236}">
                  <a16:creationId xmlns:a16="http://schemas.microsoft.com/office/drawing/2014/main" id="{D9F1AE3B-3656-49EE-B77F-8736F7C293EF}"/>
                </a:ext>
              </a:extLst>
            </p:cNvPr>
            <p:cNvSpPr>
              <a:spLocks/>
            </p:cNvSpPr>
            <p:nvPr/>
          </p:nvSpPr>
          <p:spPr bwMode="auto">
            <a:xfrm>
              <a:off x="5302566" y="79087"/>
              <a:ext cx="9886" cy="16947"/>
            </a:xfrm>
            <a:custGeom>
              <a:avLst/>
              <a:gdLst>
                <a:gd name="T0" fmla="*/ 0 w 3"/>
                <a:gd name="T1" fmla="*/ 0 h 5"/>
                <a:gd name="T2" fmla="*/ 3 w 3"/>
                <a:gd name="T3" fmla="*/ 5 h 5"/>
                <a:gd name="T4" fmla="*/ 0 w 3"/>
                <a:gd name="T5" fmla="*/ 0 h 5"/>
              </a:gdLst>
              <a:ahLst/>
              <a:cxnLst>
                <a:cxn ang="0">
                  <a:pos x="T0" y="T1"/>
                </a:cxn>
                <a:cxn ang="0">
                  <a:pos x="T2" y="T3"/>
                </a:cxn>
                <a:cxn ang="0">
                  <a:pos x="T4" y="T5"/>
                </a:cxn>
              </a:cxnLst>
              <a:rect l="0" t="0" r="r" b="b"/>
              <a:pathLst>
                <a:path w="3" h="5">
                  <a:moveTo>
                    <a:pt x="0" y="0"/>
                  </a:moveTo>
                  <a:cubicBezTo>
                    <a:pt x="1" y="2"/>
                    <a:pt x="2" y="4"/>
                    <a:pt x="3" y="5"/>
                  </a:cubicBezTo>
                  <a:cubicBezTo>
                    <a:pt x="2" y="4"/>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50" name="Freeform 221">
              <a:extLst>
                <a:ext uri="{FF2B5EF4-FFF2-40B4-BE49-F238E27FC236}">
                  <a16:creationId xmlns:a16="http://schemas.microsoft.com/office/drawing/2014/main" id="{31221BA3-4293-4154-9486-D7E04E2DE1EC}"/>
                </a:ext>
              </a:extLst>
            </p:cNvPr>
            <p:cNvSpPr>
              <a:spLocks/>
            </p:cNvSpPr>
            <p:nvPr/>
          </p:nvSpPr>
          <p:spPr bwMode="auto">
            <a:xfrm>
              <a:off x="7073553" y="386963"/>
              <a:ext cx="21184" cy="26833"/>
            </a:xfrm>
            <a:custGeom>
              <a:avLst/>
              <a:gdLst>
                <a:gd name="T0" fmla="*/ 6 w 6"/>
                <a:gd name="T1" fmla="*/ 0 h 8"/>
                <a:gd name="T2" fmla="*/ 5 w 6"/>
                <a:gd name="T3" fmla="*/ 0 h 8"/>
                <a:gd name="T4" fmla="*/ 5 w 6"/>
                <a:gd name="T5" fmla="*/ 1 h 8"/>
                <a:gd name="T6" fmla="*/ 3 w 6"/>
                <a:gd name="T7" fmla="*/ 1 h 8"/>
                <a:gd name="T8" fmla="*/ 2 w 6"/>
                <a:gd name="T9" fmla="*/ 1 h 8"/>
                <a:gd name="T10" fmla="*/ 1 w 6"/>
                <a:gd name="T11" fmla="*/ 8 h 8"/>
                <a:gd name="T12" fmla="*/ 6 w 6"/>
                <a:gd name="T13" fmla="*/ 1 h 8"/>
                <a:gd name="T14" fmla="*/ 6 w 6"/>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6" y="0"/>
                  </a:moveTo>
                  <a:cubicBezTo>
                    <a:pt x="5" y="0"/>
                    <a:pt x="5" y="0"/>
                    <a:pt x="5" y="0"/>
                  </a:cubicBezTo>
                  <a:cubicBezTo>
                    <a:pt x="5" y="1"/>
                    <a:pt x="5" y="1"/>
                    <a:pt x="5" y="1"/>
                  </a:cubicBezTo>
                  <a:cubicBezTo>
                    <a:pt x="4" y="1"/>
                    <a:pt x="4" y="1"/>
                    <a:pt x="3" y="1"/>
                  </a:cubicBezTo>
                  <a:cubicBezTo>
                    <a:pt x="2" y="1"/>
                    <a:pt x="2" y="1"/>
                    <a:pt x="2" y="1"/>
                  </a:cubicBezTo>
                  <a:cubicBezTo>
                    <a:pt x="0" y="3"/>
                    <a:pt x="0" y="6"/>
                    <a:pt x="1" y="8"/>
                  </a:cubicBezTo>
                  <a:cubicBezTo>
                    <a:pt x="2" y="6"/>
                    <a:pt x="5" y="3"/>
                    <a:pt x="6" y="1"/>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51" name="Freeform 222">
              <a:extLst>
                <a:ext uri="{FF2B5EF4-FFF2-40B4-BE49-F238E27FC236}">
                  <a16:creationId xmlns:a16="http://schemas.microsoft.com/office/drawing/2014/main" id="{C2F9925F-F9D6-4D5C-A018-EEC34647306F}"/>
                </a:ext>
              </a:extLst>
            </p:cNvPr>
            <p:cNvSpPr>
              <a:spLocks/>
            </p:cNvSpPr>
            <p:nvPr/>
          </p:nvSpPr>
          <p:spPr bwMode="auto">
            <a:xfrm>
              <a:off x="5265847" y="66377"/>
              <a:ext cx="5649" cy="9886"/>
            </a:xfrm>
            <a:custGeom>
              <a:avLst/>
              <a:gdLst>
                <a:gd name="T0" fmla="*/ 1 w 2"/>
                <a:gd name="T1" fmla="*/ 0 h 3"/>
                <a:gd name="T2" fmla="*/ 1 w 2"/>
                <a:gd name="T3" fmla="*/ 0 h 3"/>
                <a:gd name="T4" fmla="*/ 1 w 2"/>
                <a:gd name="T5" fmla="*/ 3 h 3"/>
                <a:gd name="T6" fmla="*/ 1 w 2"/>
                <a:gd name="T7" fmla="*/ 0 h 3"/>
                <a:gd name="T8" fmla="*/ 1 w 2"/>
                <a:gd name="T9" fmla="*/ 0 h 3"/>
                <a:gd name="T10" fmla="*/ 1 w 2"/>
                <a:gd name="T11" fmla="*/ 0 h 3"/>
                <a:gd name="T12" fmla="*/ 1 w 2"/>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1" y="0"/>
                  </a:moveTo>
                  <a:cubicBezTo>
                    <a:pt x="1" y="0"/>
                    <a:pt x="1" y="0"/>
                    <a:pt x="1" y="0"/>
                  </a:cubicBezTo>
                  <a:cubicBezTo>
                    <a:pt x="0" y="0"/>
                    <a:pt x="1" y="2"/>
                    <a:pt x="1" y="3"/>
                  </a:cubicBezTo>
                  <a:cubicBezTo>
                    <a:pt x="2" y="2"/>
                    <a:pt x="2" y="1"/>
                    <a:pt x="1" y="0"/>
                  </a:cubicBezTo>
                  <a:cubicBezTo>
                    <a:pt x="1" y="0"/>
                    <a:pt x="1" y="0"/>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52" name="Freeform 223">
              <a:extLst>
                <a:ext uri="{FF2B5EF4-FFF2-40B4-BE49-F238E27FC236}">
                  <a16:creationId xmlns:a16="http://schemas.microsoft.com/office/drawing/2014/main" id="{C366BDB5-2BAD-4F12-866C-0DDD12DB9CA0}"/>
                </a:ext>
              </a:extLst>
            </p:cNvPr>
            <p:cNvSpPr>
              <a:spLocks/>
            </p:cNvSpPr>
            <p:nvPr/>
          </p:nvSpPr>
          <p:spPr bwMode="auto">
            <a:xfrm>
              <a:off x="5118971" y="2825"/>
              <a:ext cx="12710" cy="60728"/>
            </a:xfrm>
            <a:custGeom>
              <a:avLst/>
              <a:gdLst>
                <a:gd name="T0" fmla="*/ 3 w 4"/>
                <a:gd name="T1" fmla="*/ 0 h 18"/>
                <a:gd name="T2" fmla="*/ 2 w 4"/>
                <a:gd name="T3" fmla="*/ 5 h 18"/>
                <a:gd name="T4" fmla="*/ 0 w 4"/>
                <a:gd name="T5" fmla="*/ 11 h 18"/>
                <a:gd name="T6" fmla="*/ 3 w 4"/>
                <a:gd name="T7" fmla="*/ 15 h 18"/>
                <a:gd name="T8" fmla="*/ 3 w 4"/>
                <a:gd name="T9" fmla="*/ 16 h 18"/>
                <a:gd name="T10" fmla="*/ 4 w 4"/>
                <a:gd name="T11" fmla="*/ 18 h 18"/>
                <a:gd name="T12" fmla="*/ 2 w 4"/>
                <a:gd name="T13" fmla="*/ 11 h 18"/>
                <a:gd name="T14" fmla="*/ 2 w 4"/>
                <a:gd name="T15" fmla="*/ 6 h 18"/>
                <a:gd name="T16" fmla="*/ 2 w 4"/>
                <a:gd name="T17" fmla="*/ 6 h 18"/>
                <a:gd name="T18" fmla="*/ 3 w 4"/>
                <a:gd name="T19" fmla="*/ 2 h 18"/>
                <a:gd name="T20" fmla="*/ 3 w 4"/>
                <a:gd name="T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8">
                  <a:moveTo>
                    <a:pt x="3" y="0"/>
                  </a:moveTo>
                  <a:cubicBezTo>
                    <a:pt x="3" y="2"/>
                    <a:pt x="2" y="3"/>
                    <a:pt x="2" y="5"/>
                  </a:cubicBezTo>
                  <a:cubicBezTo>
                    <a:pt x="1" y="7"/>
                    <a:pt x="1" y="9"/>
                    <a:pt x="0" y="11"/>
                  </a:cubicBezTo>
                  <a:cubicBezTo>
                    <a:pt x="2" y="12"/>
                    <a:pt x="2" y="13"/>
                    <a:pt x="3" y="15"/>
                  </a:cubicBezTo>
                  <a:cubicBezTo>
                    <a:pt x="3" y="15"/>
                    <a:pt x="2" y="15"/>
                    <a:pt x="3" y="16"/>
                  </a:cubicBezTo>
                  <a:cubicBezTo>
                    <a:pt x="3" y="17"/>
                    <a:pt x="4" y="18"/>
                    <a:pt x="4" y="18"/>
                  </a:cubicBezTo>
                  <a:cubicBezTo>
                    <a:pt x="4" y="16"/>
                    <a:pt x="3" y="12"/>
                    <a:pt x="2" y="11"/>
                  </a:cubicBezTo>
                  <a:cubicBezTo>
                    <a:pt x="2" y="9"/>
                    <a:pt x="2" y="8"/>
                    <a:pt x="2" y="6"/>
                  </a:cubicBezTo>
                  <a:cubicBezTo>
                    <a:pt x="2" y="6"/>
                    <a:pt x="2" y="6"/>
                    <a:pt x="2" y="6"/>
                  </a:cubicBezTo>
                  <a:cubicBezTo>
                    <a:pt x="3" y="4"/>
                    <a:pt x="3" y="3"/>
                    <a:pt x="3" y="2"/>
                  </a:cubicBezTo>
                  <a:cubicBezTo>
                    <a:pt x="3" y="1"/>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53" name="Freeform 224">
              <a:extLst>
                <a:ext uri="{FF2B5EF4-FFF2-40B4-BE49-F238E27FC236}">
                  <a16:creationId xmlns:a16="http://schemas.microsoft.com/office/drawing/2014/main" id="{68736725-FB9A-4087-98EE-CCE6E9B73A35}"/>
                </a:ext>
              </a:extLst>
            </p:cNvPr>
            <p:cNvSpPr>
              <a:spLocks/>
            </p:cNvSpPr>
            <p:nvPr/>
          </p:nvSpPr>
          <p:spPr bwMode="auto">
            <a:xfrm>
              <a:off x="5215005" y="523953"/>
              <a:ext cx="7061" cy="12710"/>
            </a:xfrm>
            <a:custGeom>
              <a:avLst/>
              <a:gdLst>
                <a:gd name="T0" fmla="*/ 1 w 2"/>
                <a:gd name="T1" fmla="*/ 0 h 4"/>
                <a:gd name="T2" fmla="*/ 0 w 2"/>
                <a:gd name="T3" fmla="*/ 1 h 4"/>
                <a:gd name="T4" fmla="*/ 0 w 2"/>
                <a:gd name="T5" fmla="*/ 1 h 4"/>
                <a:gd name="T6" fmla="*/ 0 w 2"/>
                <a:gd name="T7" fmla="*/ 2 h 4"/>
                <a:gd name="T8" fmla="*/ 0 w 2"/>
                <a:gd name="T9" fmla="*/ 2 h 4"/>
                <a:gd name="T10" fmla="*/ 0 w 2"/>
                <a:gd name="T11" fmla="*/ 3 h 4"/>
                <a:gd name="T12" fmla="*/ 2 w 2"/>
                <a:gd name="T13" fmla="*/ 4 h 4"/>
                <a:gd name="T14" fmla="*/ 2 w 2"/>
                <a:gd name="T15" fmla="*/ 3 h 4"/>
                <a:gd name="T16" fmla="*/ 2 w 2"/>
                <a:gd name="T17" fmla="*/ 3 h 4"/>
                <a:gd name="T18" fmla="*/ 1 w 2"/>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1" y="0"/>
                  </a:moveTo>
                  <a:cubicBezTo>
                    <a:pt x="0" y="0"/>
                    <a:pt x="0" y="1"/>
                    <a:pt x="0" y="1"/>
                  </a:cubicBezTo>
                  <a:cubicBezTo>
                    <a:pt x="0" y="1"/>
                    <a:pt x="0" y="1"/>
                    <a:pt x="0" y="1"/>
                  </a:cubicBezTo>
                  <a:cubicBezTo>
                    <a:pt x="0" y="2"/>
                    <a:pt x="0" y="2"/>
                    <a:pt x="0" y="2"/>
                  </a:cubicBezTo>
                  <a:cubicBezTo>
                    <a:pt x="0" y="2"/>
                    <a:pt x="0" y="2"/>
                    <a:pt x="0" y="2"/>
                  </a:cubicBezTo>
                  <a:cubicBezTo>
                    <a:pt x="0" y="3"/>
                    <a:pt x="0" y="3"/>
                    <a:pt x="0" y="3"/>
                  </a:cubicBezTo>
                  <a:cubicBezTo>
                    <a:pt x="1" y="3"/>
                    <a:pt x="1" y="3"/>
                    <a:pt x="2" y="4"/>
                  </a:cubicBezTo>
                  <a:cubicBezTo>
                    <a:pt x="2" y="3"/>
                    <a:pt x="2" y="3"/>
                    <a:pt x="2" y="3"/>
                  </a:cubicBezTo>
                  <a:cubicBezTo>
                    <a:pt x="2" y="3"/>
                    <a:pt x="2" y="3"/>
                    <a:pt x="2"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54" name="Freeform 225">
              <a:extLst>
                <a:ext uri="{FF2B5EF4-FFF2-40B4-BE49-F238E27FC236}">
                  <a16:creationId xmlns:a16="http://schemas.microsoft.com/office/drawing/2014/main" id="{25CAAD01-7FBF-41B3-AEA1-E3FB54322EC7}"/>
                </a:ext>
              </a:extLst>
            </p:cNvPr>
            <p:cNvSpPr>
              <a:spLocks/>
            </p:cNvSpPr>
            <p:nvPr/>
          </p:nvSpPr>
          <p:spPr bwMode="auto">
            <a:xfrm>
              <a:off x="7011413" y="641172"/>
              <a:ext cx="0" cy="9886"/>
            </a:xfrm>
            <a:custGeom>
              <a:avLst/>
              <a:gdLst>
                <a:gd name="T0" fmla="*/ 0 h 3"/>
                <a:gd name="T1" fmla="*/ 2 h 3"/>
                <a:gd name="T2" fmla="*/ 2 h 3"/>
                <a:gd name="T3" fmla="*/ 2 h 3"/>
                <a:gd name="T4" fmla="*/ 3 h 3"/>
                <a:gd name="T5" fmla="*/ 2 h 3"/>
                <a:gd name="T6" fmla="*/ 0 h 3"/>
              </a:gdLst>
              <a:ahLst/>
              <a:cxnLst>
                <a:cxn ang="0">
                  <a:pos x="0" y="T0"/>
                </a:cxn>
                <a:cxn ang="0">
                  <a:pos x="0" y="T1"/>
                </a:cxn>
                <a:cxn ang="0">
                  <a:pos x="0" y="T2"/>
                </a:cxn>
                <a:cxn ang="0">
                  <a:pos x="0" y="T3"/>
                </a:cxn>
                <a:cxn ang="0">
                  <a:pos x="0" y="T4"/>
                </a:cxn>
                <a:cxn ang="0">
                  <a:pos x="0" y="T5"/>
                </a:cxn>
                <a:cxn ang="0">
                  <a:pos x="0" y="T6"/>
                </a:cxn>
              </a:cxnLst>
              <a:rect l="0" t="0" r="r" b="b"/>
              <a:pathLst>
                <a:path h="3">
                  <a:moveTo>
                    <a:pt x="0" y="0"/>
                  </a:moveTo>
                  <a:cubicBezTo>
                    <a:pt x="0" y="1"/>
                    <a:pt x="0" y="1"/>
                    <a:pt x="0" y="2"/>
                  </a:cubicBezTo>
                  <a:cubicBezTo>
                    <a:pt x="0" y="2"/>
                    <a:pt x="0" y="2"/>
                    <a:pt x="0" y="2"/>
                  </a:cubicBezTo>
                  <a:cubicBezTo>
                    <a:pt x="0" y="2"/>
                    <a:pt x="0" y="2"/>
                    <a:pt x="0" y="2"/>
                  </a:cubicBezTo>
                  <a:cubicBezTo>
                    <a:pt x="0" y="3"/>
                    <a:pt x="0" y="3"/>
                    <a:pt x="0" y="3"/>
                  </a:cubicBezTo>
                  <a:cubicBezTo>
                    <a:pt x="0" y="2"/>
                    <a:pt x="0" y="2"/>
                    <a:pt x="0" y="2"/>
                  </a:cubicBezTo>
                  <a:cubicBezTo>
                    <a:pt x="0"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55" name="Freeform 226">
              <a:extLst>
                <a:ext uri="{FF2B5EF4-FFF2-40B4-BE49-F238E27FC236}">
                  <a16:creationId xmlns:a16="http://schemas.microsoft.com/office/drawing/2014/main" id="{9EEA59C0-4A07-4484-AE07-3561F90744B3}"/>
                </a:ext>
              </a:extLst>
            </p:cNvPr>
            <p:cNvSpPr>
              <a:spLocks/>
            </p:cNvSpPr>
            <p:nvPr/>
          </p:nvSpPr>
          <p:spPr bwMode="auto">
            <a:xfrm>
              <a:off x="7000115" y="636935"/>
              <a:ext cx="14123" cy="16947"/>
            </a:xfrm>
            <a:custGeom>
              <a:avLst/>
              <a:gdLst>
                <a:gd name="T0" fmla="*/ 2 w 4"/>
                <a:gd name="T1" fmla="*/ 0 h 5"/>
                <a:gd name="T2" fmla="*/ 2 w 4"/>
                <a:gd name="T3" fmla="*/ 1 h 5"/>
                <a:gd name="T4" fmla="*/ 1 w 4"/>
                <a:gd name="T5" fmla="*/ 2 h 5"/>
                <a:gd name="T6" fmla="*/ 0 w 4"/>
                <a:gd name="T7" fmla="*/ 5 h 5"/>
                <a:gd name="T8" fmla="*/ 4 w 4"/>
                <a:gd name="T9" fmla="*/ 0 h 5"/>
                <a:gd name="T10" fmla="*/ 2 w 4"/>
                <a:gd name="T11" fmla="*/ 0 h 5"/>
                <a:gd name="T12" fmla="*/ 2 w 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2" y="0"/>
                  </a:moveTo>
                  <a:cubicBezTo>
                    <a:pt x="2" y="1"/>
                    <a:pt x="2" y="1"/>
                    <a:pt x="2" y="1"/>
                  </a:cubicBezTo>
                  <a:cubicBezTo>
                    <a:pt x="2" y="1"/>
                    <a:pt x="1" y="1"/>
                    <a:pt x="1" y="2"/>
                  </a:cubicBezTo>
                  <a:cubicBezTo>
                    <a:pt x="1" y="3"/>
                    <a:pt x="1" y="4"/>
                    <a:pt x="0" y="5"/>
                  </a:cubicBezTo>
                  <a:cubicBezTo>
                    <a:pt x="2" y="3"/>
                    <a:pt x="3" y="2"/>
                    <a:pt x="4" y="0"/>
                  </a:cubicBezTo>
                  <a:cubicBezTo>
                    <a:pt x="3" y="0"/>
                    <a:pt x="3"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56" name="Freeform 227">
              <a:extLst>
                <a:ext uri="{FF2B5EF4-FFF2-40B4-BE49-F238E27FC236}">
                  <a16:creationId xmlns:a16="http://schemas.microsoft.com/office/drawing/2014/main" id="{2FE78ABE-0B01-4FB6-B68B-DD1A5546BD19}"/>
                </a:ext>
              </a:extLst>
            </p:cNvPr>
            <p:cNvSpPr>
              <a:spLocks/>
            </p:cNvSpPr>
            <p:nvPr/>
          </p:nvSpPr>
          <p:spPr bwMode="auto">
            <a:xfrm>
              <a:off x="7594680" y="2210208"/>
              <a:ext cx="33894" cy="26833"/>
            </a:xfrm>
            <a:custGeom>
              <a:avLst/>
              <a:gdLst>
                <a:gd name="T0" fmla="*/ 7 w 10"/>
                <a:gd name="T1" fmla="*/ 0 h 8"/>
                <a:gd name="T2" fmla="*/ 1 w 10"/>
                <a:gd name="T3" fmla="*/ 4 h 8"/>
                <a:gd name="T4" fmla="*/ 2 w 10"/>
                <a:gd name="T5" fmla="*/ 8 h 8"/>
                <a:gd name="T6" fmla="*/ 7 w 10"/>
                <a:gd name="T7" fmla="*/ 0 h 8"/>
              </a:gdLst>
              <a:ahLst/>
              <a:cxnLst>
                <a:cxn ang="0">
                  <a:pos x="T0" y="T1"/>
                </a:cxn>
                <a:cxn ang="0">
                  <a:pos x="T2" y="T3"/>
                </a:cxn>
                <a:cxn ang="0">
                  <a:pos x="T4" y="T5"/>
                </a:cxn>
                <a:cxn ang="0">
                  <a:pos x="T6" y="T7"/>
                </a:cxn>
              </a:cxnLst>
              <a:rect l="0" t="0" r="r" b="b"/>
              <a:pathLst>
                <a:path w="10" h="8">
                  <a:moveTo>
                    <a:pt x="7" y="0"/>
                  </a:moveTo>
                  <a:cubicBezTo>
                    <a:pt x="4" y="0"/>
                    <a:pt x="1" y="1"/>
                    <a:pt x="1" y="4"/>
                  </a:cubicBezTo>
                  <a:cubicBezTo>
                    <a:pt x="0" y="7"/>
                    <a:pt x="1" y="8"/>
                    <a:pt x="2" y="8"/>
                  </a:cubicBezTo>
                  <a:cubicBezTo>
                    <a:pt x="5" y="8"/>
                    <a:pt x="10"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57" name="Freeform 228">
              <a:extLst>
                <a:ext uri="{FF2B5EF4-FFF2-40B4-BE49-F238E27FC236}">
                  <a16:creationId xmlns:a16="http://schemas.microsoft.com/office/drawing/2014/main" id="{8EA3948C-8A98-4BEB-B040-E15BC3F4E83B}"/>
                </a:ext>
              </a:extLst>
            </p:cNvPr>
            <p:cNvSpPr>
              <a:spLocks/>
            </p:cNvSpPr>
            <p:nvPr/>
          </p:nvSpPr>
          <p:spPr bwMode="auto">
            <a:xfrm>
              <a:off x="11842788" y="660944"/>
              <a:ext cx="43780" cy="19772"/>
            </a:xfrm>
            <a:custGeom>
              <a:avLst/>
              <a:gdLst>
                <a:gd name="T0" fmla="*/ 7 w 13"/>
                <a:gd name="T1" fmla="*/ 0 h 6"/>
                <a:gd name="T2" fmla="*/ 5 w 13"/>
                <a:gd name="T3" fmla="*/ 0 h 6"/>
                <a:gd name="T4" fmla="*/ 3 w 13"/>
                <a:gd name="T5" fmla="*/ 6 h 6"/>
                <a:gd name="T6" fmla="*/ 8 w 13"/>
                <a:gd name="T7" fmla="*/ 0 h 6"/>
                <a:gd name="T8" fmla="*/ 7 w 13"/>
                <a:gd name="T9" fmla="*/ 0 h 6"/>
              </a:gdLst>
              <a:ahLst/>
              <a:cxnLst>
                <a:cxn ang="0">
                  <a:pos x="T0" y="T1"/>
                </a:cxn>
                <a:cxn ang="0">
                  <a:pos x="T2" y="T3"/>
                </a:cxn>
                <a:cxn ang="0">
                  <a:pos x="T4" y="T5"/>
                </a:cxn>
                <a:cxn ang="0">
                  <a:pos x="T6" y="T7"/>
                </a:cxn>
                <a:cxn ang="0">
                  <a:pos x="T8" y="T9"/>
                </a:cxn>
              </a:cxnLst>
              <a:rect l="0" t="0" r="r" b="b"/>
              <a:pathLst>
                <a:path w="13" h="6">
                  <a:moveTo>
                    <a:pt x="7" y="0"/>
                  </a:moveTo>
                  <a:cubicBezTo>
                    <a:pt x="7" y="0"/>
                    <a:pt x="6" y="0"/>
                    <a:pt x="5" y="0"/>
                  </a:cubicBezTo>
                  <a:cubicBezTo>
                    <a:pt x="0" y="2"/>
                    <a:pt x="3" y="3"/>
                    <a:pt x="3" y="6"/>
                  </a:cubicBezTo>
                  <a:cubicBezTo>
                    <a:pt x="5" y="5"/>
                    <a:pt x="13" y="1"/>
                    <a:pt x="8" y="0"/>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58" name="Freeform 229">
              <a:extLst>
                <a:ext uri="{FF2B5EF4-FFF2-40B4-BE49-F238E27FC236}">
                  <a16:creationId xmlns:a16="http://schemas.microsoft.com/office/drawing/2014/main" id="{550C004F-0409-4A77-8154-79E674CDFF3E}"/>
                </a:ext>
              </a:extLst>
            </p:cNvPr>
            <p:cNvSpPr>
              <a:spLocks/>
            </p:cNvSpPr>
            <p:nvPr/>
          </p:nvSpPr>
          <p:spPr bwMode="auto">
            <a:xfrm>
              <a:off x="11862560" y="680716"/>
              <a:ext cx="16947" cy="9886"/>
            </a:xfrm>
            <a:custGeom>
              <a:avLst/>
              <a:gdLst>
                <a:gd name="T0" fmla="*/ 5 w 5"/>
                <a:gd name="T1" fmla="*/ 0 h 3"/>
                <a:gd name="T2" fmla="*/ 4 w 5"/>
                <a:gd name="T3" fmla="*/ 3 h 3"/>
                <a:gd name="T4" fmla="*/ 5 w 5"/>
                <a:gd name="T5" fmla="*/ 0 h 3"/>
              </a:gdLst>
              <a:ahLst/>
              <a:cxnLst>
                <a:cxn ang="0">
                  <a:pos x="T0" y="T1"/>
                </a:cxn>
                <a:cxn ang="0">
                  <a:pos x="T2" y="T3"/>
                </a:cxn>
                <a:cxn ang="0">
                  <a:pos x="T4" y="T5"/>
                </a:cxn>
              </a:cxnLst>
              <a:rect l="0" t="0" r="r" b="b"/>
              <a:pathLst>
                <a:path w="5" h="3">
                  <a:moveTo>
                    <a:pt x="5" y="0"/>
                  </a:moveTo>
                  <a:cubicBezTo>
                    <a:pt x="3" y="0"/>
                    <a:pt x="0" y="2"/>
                    <a:pt x="4" y="3"/>
                  </a:cubicBezTo>
                  <a:cubicBezTo>
                    <a:pt x="4" y="2"/>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59" name="Freeform 230">
              <a:extLst>
                <a:ext uri="{FF2B5EF4-FFF2-40B4-BE49-F238E27FC236}">
                  <a16:creationId xmlns:a16="http://schemas.microsoft.com/office/drawing/2014/main" id="{0DDB85C1-65D3-45A0-A3D9-AA180D3FE122}"/>
                </a:ext>
              </a:extLst>
            </p:cNvPr>
            <p:cNvSpPr>
              <a:spLocks/>
            </p:cNvSpPr>
            <p:nvPr/>
          </p:nvSpPr>
          <p:spPr bwMode="auto">
            <a:xfrm>
              <a:off x="11916226" y="700488"/>
              <a:ext cx="33894" cy="14123"/>
            </a:xfrm>
            <a:custGeom>
              <a:avLst/>
              <a:gdLst>
                <a:gd name="T0" fmla="*/ 3 w 10"/>
                <a:gd name="T1" fmla="*/ 0 h 4"/>
                <a:gd name="T2" fmla="*/ 4 w 10"/>
                <a:gd name="T3" fmla="*/ 4 h 4"/>
                <a:gd name="T4" fmla="*/ 10 w 10"/>
                <a:gd name="T5" fmla="*/ 2 h 4"/>
                <a:gd name="T6" fmla="*/ 6 w 10"/>
                <a:gd name="T7" fmla="*/ 1 h 4"/>
                <a:gd name="T8" fmla="*/ 3 w 10"/>
                <a:gd name="T9" fmla="*/ 0 h 4"/>
              </a:gdLst>
              <a:ahLst/>
              <a:cxnLst>
                <a:cxn ang="0">
                  <a:pos x="T0" y="T1"/>
                </a:cxn>
                <a:cxn ang="0">
                  <a:pos x="T2" y="T3"/>
                </a:cxn>
                <a:cxn ang="0">
                  <a:pos x="T4" y="T5"/>
                </a:cxn>
                <a:cxn ang="0">
                  <a:pos x="T6" y="T7"/>
                </a:cxn>
                <a:cxn ang="0">
                  <a:pos x="T8" y="T9"/>
                </a:cxn>
              </a:cxnLst>
              <a:rect l="0" t="0" r="r" b="b"/>
              <a:pathLst>
                <a:path w="10" h="4">
                  <a:moveTo>
                    <a:pt x="3" y="0"/>
                  </a:moveTo>
                  <a:cubicBezTo>
                    <a:pt x="0" y="0"/>
                    <a:pt x="3" y="1"/>
                    <a:pt x="4" y="4"/>
                  </a:cubicBezTo>
                  <a:cubicBezTo>
                    <a:pt x="6" y="4"/>
                    <a:pt x="8" y="3"/>
                    <a:pt x="10" y="2"/>
                  </a:cubicBezTo>
                  <a:cubicBezTo>
                    <a:pt x="9" y="1"/>
                    <a:pt x="7" y="1"/>
                    <a:pt x="6" y="1"/>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60" name="Freeform 231">
              <a:extLst>
                <a:ext uri="{FF2B5EF4-FFF2-40B4-BE49-F238E27FC236}">
                  <a16:creationId xmlns:a16="http://schemas.microsoft.com/office/drawing/2014/main" id="{DF0172AD-1061-478C-8206-29986F0E01A6}"/>
                </a:ext>
              </a:extLst>
            </p:cNvPr>
            <p:cNvSpPr>
              <a:spLocks/>
            </p:cNvSpPr>
            <p:nvPr/>
          </p:nvSpPr>
          <p:spPr bwMode="auto">
            <a:xfrm>
              <a:off x="12009436" y="807820"/>
              <a:ext cx="7061" cy="16947"/>
            </a:xfrm>
            <a:custGeom>
              <a:avLst/>
              <a:gdLst>
                <a:gd name="T0" fmla="*/ 2 w 2"/>
                <a:gd name="T1" fmla="*/ 0 h 5"/>
                <a:gd name="T2" fmla="*/ 2 w 2"/>
                <a:gd name="T3" fmla="*/ 5 h 5"/>
                <a:gd name="T4" fmla="*/ 2 w 2"/>
                <a:gd name="T5" fmla="*/ 0 h 5"/>
              </a:gdLst>
              <a:ahLst/>
              <a:cxnLst>
                <a:cxn ang="0">
                  <a:pos x="T0" y="T1"/>
                </a:cxn>
                <a:cxn ang="0">
                  <a:pos x="T2" y="T3"/>
                </a:cxn>
                <a:cxn ang="0">
                  <a:pos x="T4" y="T5"/>
                </a:cxn>
              </a:cxnLst>
              <a:rect l="0" t="0" r="r" b="b"/>
              <a:pathLst>
                <a:path w="2" h="5">
                  <a:moveTo>
                    <a:pt x="2" y="0"/>
                  </a:moveTo>
                  <a:cubicBezTo>
                    <a:pt x="0" y="1"/>
                    <a:pt x="0" y="4"/>
                    <a:pt x="2" y="5"/>
                  </a:cubicBezTo>
                  <a:cubicBezTo>
                    <a:pt x="2"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61" name="Freeform 232">
              <a:extLst>
                <a:ext uri="{FF2B5EF4-FFF2-40B4-BE49-F238E27FC236}">
                  <a16:creationId xmlns:a16="http://schemas.microsoft.com/office/drawing/2014/main" id="{24D6B2BB-EC62-4C33-AF2A-ED7C470727C3}"/>
                </a:ext>
              </a:extLst>
            </p:cNvPr>
            <p:cNvSpPr>
              <a:spLocks/>
            </p:cNvSpPr>
            <p:nvPr/>
          </p:nvSpPr>
          <p:spPr bwMode="auto">
            <a:xfrm>
              <a:off x="11967068" y="807820"/>
              <a:ext cx="29658" cy="33895"/>
            </a:xfrm>
            <a:custGeom>
              <a:avLst/>
              <a:gdLst>
                <a:gd name="T0" fmla="*/ 1 w 9"/>
                <a:gd name="T1" fmla="*/ 0 h 10"/>
                <a:gd name="T2" fmla="*/ 7 w 9"/>
                <a:gd name="T3" fmla="*/ 10 h 10"/>
                <a:gd name="T4" fmla="*/ 1 w 9"/>
                <a:gd name="T5" fmla="*/ 0 h 10"/>
              </a:gdLst>
              <a:ahLst/>
              <a:cxnLst>
                <a:cxn ang="0">
                  <a:pos x="T0" y="T1"/>
                </a:cxn>
                <a:cxn ang="0">
                  <a:pos x="T2" y="T3"/>
                </a:cxn>
                <a:cxn ang="0">
                  <a:pos x="T4" y="T5"/>
                </a:cxn>
              </a:cxnLst>
              <a:rect l="0" t="0" r="r" b="b"/>
              <a:pathLst>
                <a:path w="9" h="10">
                  <a:moveTo>
                    <a:pt x="1" y="0"/>
                  </a:moveTo>
                  <a:cubicBezTo>
                    <a:pt x="2" y="4"/>
                    <a:pt x="0" y="9"/>
                    <a:pt x="7" y="10"/>
                  </a:cubicBezTo>
                  <a:cubicBezTo>
                    <a:pt x="9" y="5"/>
                    <a:pt x="6"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62" name="Freeform 233">
              <a:extLst>
                <a:ext uri="{FF2B5EF4-FFF2-40B4-BE49-F238E27FC236}">
                  <a16:creationId xmlns:a16="http://schemas.microsoft.com/office/drawing/2014/main" id="{521C74B0-4D1E-4811-9854-455AE2A94FAC}"/>
                </a:ext>
              </a:extLst>
            </p:cNvPr>
            <p:cNvSpPr>
              <a:spLocks/>
            </p:cNvSpPr>
            <p:nvPr/>
          </p:nvSpPr>
          <p:spPr bwMode="auto">
            <a:xfrm>
              <a:off x="11909165" y="830417"/>
              <a:ext cx="14123" cy="16947"/>
            </a:xfrm>
            <a:custGeom>
              <a:avLst/>
              <a:gdLst>
                <a:gd name="T0" fmla="*/ 4 w 4"/>
                <a:gd name="T1" fmla="*/ 0 h 5"/>
                <a:gd name="T2" fmla="*/ 4 w 4"/>
                <a:gd name="T3" fmla="*/ 5 h 5"/>
                <a:gd name="T4" fmla="*/ 4 w 4"/>
                <a:gd name="T5" fmla="*/ 0 h 5"/>
              </a:gdLst>
              <a:ahLst/>
              <a:cxnLst>
                <a:cxn ang="0">
                  <a:pos x="T0" y="T1"/>
                </a:cxn>
                <a:cxn ang="0">
                  <a:pos x="T2" y="T3"/>
                </a:cxn>
                <a:cxn ang="0">
                  <a:pos x="T4" y="T5"/>
                </a:cxn>
              </a:cxnLst>
              <a:rect l="0" t="0" r="r" b="b"/>
              <a:pathLst>
                <a:path w="4" h="5">
                  <a:moveTo>
                    <a:pt x="4" y="0"/>
                  </a:moveTo>
                  <a:cubicBezTo>
                    <a:pt x="0" y="1"/>
                    <a:pt x="0" y="4"/>
                    <a:pt x="4" y="5"/>
                  </a:cubicBezTo>
                  <a:cubicBezTo>
                    <a:pt x="4" y="3"/>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63" name="Freeform 234">
              <a:extLst>
                <a:ext uri="{FF2B5EF4-FFF2-40B4-BE49-F238E27FC236}">
                  <a16:creationId xmlns:a16="http://schemas.microsoft.com/office/drawing/2014/main" id="{9DB3F4E9-D513-463B-9E95-C0E6FE68D790}"/>
                </a:ext>
              </a:extLst>
            </p:cNvPr>
            <p:cNvSpPr>
              <a:spLocks/>
            </p:cNvSpPr>
            <p:nvPr/>
          </p:nvSpPr>
          <p:spPr bwMode="auto">
            <a:xfrm>
              <a:off x="8262684" y="49712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64" name="Freeform 235">
              <a:extLst>
                <a:ext uri="{FF2B5EF4-FFF2-40B4-BE49-F238E27FC236}">
                  <a16:creationId xmlns:a16="http://schemas.microsoft.com/office/drawing/2014/main" id="{73BD8880-FD2C-4AAC-995D-9FD890813F5F}"/>
                </a:ext>
              </a:extLst>
            </p:cNvPr>
            <p:cNvSpPr>
              <a:spLocks/>
            </p:cNvSpPr>
            <p:nvPr/>
          </p:nvSpPr>
          <p:spPr bwMode="auto">
            <a:xfrm>
              <a:off x="7183710" y="1101573"/>
              <a:ext cx="14123" cy="12710"/>
            </a:xfrm>
            <a:custGeom>
              <a:avLst/>
              <a:gdLst>
                <a:gd name="T0" fmla="*/ 0 w 4"/>
                <a:gd name="T1" fmla="*/ 0 h 4"/>
                <a:gd name="T2" fmla="*/ 4 w 4"/>
                <a:gd name="T3" fmla="*/ 4 h 4"/>
                <a:gd name="T4" fmla="*/ 0 w 4"/>
                <a:gd name="T5" fmla="*/ 0 h 4"/>
              </a:gdLst>
              <a:ahLst/>
              <a:cxnLst>
                <a:cxn ang="0">
                  <a:pos x="T0" y="T1"/>
                </a:cxn>
                <a:cxn ang="0">
                  <a:pos x="T2" y="T3"/>
                </a:cxn>
                <a:cxn ang="0">
                  <a:pos x="T4" y="T5"/>
                </a:cxn>
              </a:cxnLst>
              <a:rect l="0" t="0" r="r" b="b"/>
              <a:pathLst>
                <a:path w="4" h="4">
                  <a:moveTo>
                    <a:pt x="0" y="0"/>
                  </a:moveTo>
                  <a:cubicBezTo>
                    <a:pt x="0" y="2"/>
                    <a:pt x="3" y="4"/>
                    <a:pt x="4" y="4"/>
                  </a:cubicBezTo>
                  <a:cubicBezTo>
                    <a:pt x="4" y="4"/>
                    <a:pt x="4"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65" name="Rectangle 236">
              <a:extLst>
                <a:ext uri="{FF2B5EF4-FFF2-40B4-BE49-F238E27FC236}">
                  <a16:creationId xmlns:a16="http://schemas.microsoft.com/office/drawing/2014/main" id="{707A4363-3F84-473E-9D64-00498F8261C5}"/>
                </a:ext>
              </a:extLst>
            </p:cNvPr>
            <p:cNvSpPr>
              <a:spLocks noChangeArrowheads="1"/>
            </p:cNvSpPr>
            <p:nvPr/>
          </p:nvSpPr>
          <p:spPr bwMode="auto">
            <a:xfrm>
              <a:off x="9252685" y="1916455"/>
              <a:ext cx="1412" cy="14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66" name="Freeform 237">
              <a:extLst>
                <a:ext uri="{FF2B5EF4-FFF2-40B4-BE49-F238E27FC236}">
                  <a16:creationId xmlns:a16="http://schemas.microsoft.com/office/drawing/2014/main" id="{BF4F6612-75F4-4F1C-A759-A4071F1F5959}"/>
                </a:ext>
              </a:extLst>
            </p:cNvPr>
            <p:cNvSpPr>
              <a:spLocks/>
            </p:cNvSpPr>
            <p:nvPr/>
          </p:nvSpPr>
          <p:spPr bwMode="auto">
            <a:xfrm>
              <a:off x="9252685" y="1916455"/>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67" name="Rectangle 238">
              <a:extLst>
                <a:ext uri="{FF2B5EF4-FFF2-40B4-BE49-F238E27FC236}">
                  <a16:creationId xmlns:a16="http://schemas.microsoft.com/office/drawing/2014/main" id="{D4CBDE95-3DE2-4187-9747-A6E6889DCBE5}"/>
                </a:ext>
              </a:extLst>
            </p:cNvPr>
            <p:cNvSpPr>
              <a:spLocks noChangeArrowheads="1"/>
            </p:cNvSpPr>
            <p:nvPr/>
          </p:nvSpPr>
          <p:spPr bwMode="auto">
            <a:xfrm>
              <a:off x="9480061" y="1862789"/>
              <a:ext cx="1412" cy="14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68" name="Freeform 239">
              <a:extLst>
                <a:ext uri="{FF2B5EF4-FFF2-40B4-BE49-F238E27FC236}">
                  <a16:creationId xmlns:a16="http://schemas.microsoft.com/office/drawing/2014/main" id="{C84DB906-928E-4557-8D7C-B0A61247C1EC}"/>
                </a:ext>
              </a:extLst>
            </p:cNvPr>
            <p:cNvSpPr>
              <a:spLocks/>
            </p:cNvSpPr>
            <p:nvPr/>
          </p:nvSpPr>
          <p:spPr bwMode="auto">
            <a:xfrm>
              <a:off x="9480061" y="186278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69" name="Rectangle 240">
              <a:extLst>
                <a:ext uri="{FF2B5EF4-FFF2-40B4-BE49-F238E27FC236}">
                  <a16:creationId xmlns:a16="http://schemas.microsoft.com/office/drawing/2014/main" id="{AE97BA39-A89E-4F8E-A318-100DE1D016BC}"/>
                </a:ext>
              </a:extLst>
            </p:cNvPr>
            <p:cNvSpPr>
              <a:spLocks noChangeArrowheads="1"/>
            </p:cNvSpPr>
            <p:nvPr/>
          </p:nvSpPr>
          <p:spPr bwMode="auto">
            <a:xfrm>
              <a:off x="9279518" y="4163382"/>
              <a:ext cx="1412" cy="14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70" name="Freeform 241">
              <a:extLst>
                <a:ext uri="{FF2B5EF4-FFF2-40B4-BE49-F238E27FC236}">
                  <a16:creationId xmlns:a16="http://schemas.microsoft.com/office/drawing/2014/main" id="{8E1B36AD-389B-4458-AE47-E37BAF07F18C}"/>
                </a:ext>
              </a:extLst>
            </p:cNvPr>
            <p:cNvSpPr>
              <a:spLocks/>
            </p:cNvSpPr>
            <p:nvPr/>
          </p:nvSpPr>
          <p:spPr bwMode="auto">
            <a:xfrm>
              <a:off x="9279518" y="4163382"/>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71" name="Freeform 242">
              <a:extLst>
                <a:ext uri="{FF2B5EF4-FFF2-40B4-BE49-F238E27FC236}">
                  <a16:creationId xmlns:a16="http://schemas.microsoft.com/office/drawing/2014/main" id="{F44069A6-D0ED-4327-AC2C-0CA4C5EB3E7D}"/>
                </a:ext>
              </a:extLst>
            </p:cNvPr>
            <p:cNvSpPr>
              <a:spLocks noEditPoints="1"/>
            </p:cNvSpPr>
            <p:nvPr/>
          </p:nvSpPr>
          <p:spPr bwMode="auto">
            <a:xfrm>
              <a:off x="8098861" y="1605755"/>
              <a:ext cx="3019433" cy="3108414"/>
            </a:xfrm>
            <a:custGeom>
              <a:avLst/>
              <a:gdLst>
                <a:gd name="T0" fmla="*/ 296 w 905"/>
                <a:gd name="T1" fmla="*/ 16 h 931"/>
                <a:gd name="T2" fmla="*/ 240 w 905"/>
                <a:gd name="T3" fmla="*/ 33 h 931"/>
                <a:gd name="T4" fmla="*/ 229 w 905"/>
                <a:gd name="T5" fmla="*/ 59 h 931"/>
                <a:gd name="T6" fmla="*/ 218 w 905"/>
                <a:gd name="T7" fmla="*/ 89 h 931"/>
                <a:gd name="T8" fmla="*/ 162 w 905"/>
                <a:gd name="T9" fmla="*/ 95 h 931"/>
                <a:gd name="T10" fmla="*/ 99 w 905"/>
                <a:gd name="T11" fmla="*/ 81 h 931"/>
                <a:gd name="T12" fmla="*/ 88 w 905"/>
                <a:gd name="T13" fmla="*/ 118 h 931"/>
                <a:gd name="T14" fmla="*/ 82 w 905"/>
                <a:gd name="T15" fmla="*/ 221 h 931"/>
                <a:gd name="T16" fmla="*/ 24 w 905"/>
                <a:gd name="T17" fmla="*/ 240 h 931"/>
                <a:gd name="T18" fmla="*/ 4 w 905"/>
                <a:gd name="T19" fmla="*/ 291 h 931"/>
                <a:gd name="T20" fmla="*/ 51 w 905"/>
                <a:gd name="T21" fmla="*/ 350 h 931"/>
                <a:gd name="T22" fmla="*/ 86 w 905"/>
                <a:gd name="T23" fmla="*/ 372 h 931"/>
                <a:gd name="T24" fmla="*/ 122 w 905"/>
                <a:gd name="T25" fmla="*/ 374 h 931"/>
                <a:gd name="T26" fmla="*/ 184 w 905"/>
                <a:gd name="T27" fmla="*/ 343 h 931"/>
                <a:gd name="T28" fmla="*/ 198 w 905"/>
                <a:gd name="T29" fmla="*/ 356 h 931"/>
                <a:gd name="T30" fmla="*/ 222 w 905"/>
                <a:gd name="T31" fmla="*/ 408 h 931"/>
                <a:gd name="T32" fmla="*/ 252 w 905"/>
                <a:gd name="T33" fmla="*/ 416 h 931"/>
                <a:gd name="T34" fmla="*/ 297 w 905"/>
                <a:gd name="T35" fmla="*/ 432 h 931"/>
                <a:gd name="T36" fmla="*/ 315 w 905"/>
                <a:gd name="T37" fmla="*/ 473 h 931"/>
                <a:gd name="T38" fmla="*/ 361 w 905"/>
                <a:gd name="T39" fmla="*/ 501 h 931"/>
                <a:gd name="T40" fmla="*/ 376 w 905"/>
                <a:gd name="T41" fmla="*/ 562 h 931"/>
                <a:gd name="T42" fmla="*/ 360 w 905"/>
                <a:gd name="T43" fmla="*/ 588 h 931"/>
                <a:gd name="T44" fmla="*/ 271 w 905"/>
                <a:gd name="T45" fmla="*/ 603 h 931"/>
                <a:gd name="T46" fmla="*/ 275 w 905"/>
                <a:gd name="T47" fmla="*/ 657 h 931"/>
                <a:gd name="T48" fmla="*/ 361 w 905"/>
                <a:gd name="T49" fmla="*/ 709 h 931"/>
                <a:gd name="T50" fmla="*/ 402 w 905"/>
                <a:gd name="T51" fmla="*/ 771 h 931"/>
                <a:gd name="T52" fmla="*/ 442 w 905"/>
                <a:gd name="T53" fmla="*/ 727 h 931"/>
                <a:gd name="T54" fmla="*/ 467 w 905"/>
                <a:gd name="T55" fmla="*/ 761 h 931"/>
                <a:gd name="T56" fmla="*/ 421 w 905"/>
                <a:gd name="T57" fmla="*/ 793 h 931"/>
                <a:gd name="T58" fmla="*/ 417 w 905"/>
                <a:gd name="T59" fmla="*/ 860 h 931"/>
                <a:gd name="T60" fmla="*/ 465 w 905"/>
                <a:gd name="T61" fmla="*/ 887 h 931"/>
                <a:gd name="T62" fmla="*/ 502 w 905"/>
                <a:gd name="T63" fmla="*/ 889 h 931"/>
                <a:gd name="T64" fmla="*/ 535 w 905"/>
                <a:gd name="T65" fmla="*/ 846 h 931"/>
                <a:gd name="T66" fmla="*/ 577 w 905"/>
                <a:gd name="T67" fmla="*/ 804 h 931"/>
                <a:gd name="T68" fmla="*/ 585 w 905"/>
                <a:gd name="T69" fmla="*/ 735 h 931"/>
                <a:gd name="T70" fmla="*/ 589 w 905"/>
                <a:gd name="T71" fmla="*/ 718 h 931"/>
                <a:gd name="T72" fmla="*/ 636 w 905"/>
                <a:gd name="T73" fmla="*/ 683 h 931"/>
                <a:gd name="T74" fmla="*/ 694 w 905"/>
                <a:gd name="T75" fmla="*/ 660 h 931"/>
                <a:gd name="T76" fmla="*/ 762 w 905"/>
                <a:gd name="T77" fmla="*/ 636 h 931"/>
                <a:gd name="T78" fmla="*/ 804 w 905"/>
                <a:gd name="T79" fmla="*/ 439 h 931"/>
                <a:gd name="T80" fmla="*/ 847 w 905"/>
                <a:gd name="T81" fmla="*/ 380 h 931"/>
                <a:gd name="T82" fmla="*/ 878 w 905"/>
                <a:gd name="T83" fmla="*/ 236 h 931"/>
                <a:gd name="T84" fmla="*/ 726 w 905"/>
                <a:gd name="T85" fmla="*/ 181 h 931"/>
                <a:gd name="T86" fmla="*/ 682 w 905"/>
                <a:gd name="T87" fmla="*/ 169 h 931"/>
                <a:gd name="T88" fmla="*/ 669 w 905"/>
                <a:gd name="T89" fmla="*/ 155 h 931"/>
                <a:gd name="T90" fmla="*/ 648 w 905"/>
                <a:gd name="T91" fmla="*/ 145 h 931"/>
                <a:gd name="T92" fmla="*/ 628 w 905"/>
                <a:gd name="T93" fmla="*/ 139 h 931"/>
                <a:gd name="T94" fmla="*/ 588 w 905"/>
                <a:gd name="T95" fmla="*/ 156 h 931"/>
                <a:gd name="T96" fmla="*/ 560 w 905"/>
                <a:gd name="T97" fmla="*/ 159 h 931"/>
                <a:gd name="T98" fmla="*/ 567 w 905"/>
                <a:gd name="T99" fmla="*/ 157 h 931"/>
                <a:gd name="T100" fmla="*/ 587 w 905"/>
                <a:gd name="T101" fmla="*/ 136 h 931"/>
                <a:gd name="T102" fmla="*/ 541 w 905"/>
                <a:gd name="T103" fmla="*/ 122 h 931"/>
                <a:gd name="T104" fmla="*/ 535 w 905"/>
                <a:gd name="T105" fmla="*/ 143 h 931"/>
                <a:gd name="T106" fmla="*/ 533 w 905"/>
                <a:gd name="T107" fmla="*/ 148 h 931"/>
                <a:gd name="T108" fmla="*/ 549 w 905"/>
                <a:gd name="T109" fmla="*/ 96 h 931"/>
                <a:gd name="T110" fmla="*/ 534 w 905"/>
                <a:gd name="T111" fmla="*/ 68 h 931"/>
                <a:gd name="T112" fmla="*/ 497 w 905"/>
                <a:gd name="T113" fmla="*/ 57 h 931"/>
                <a:gd name="T114" fmla="*/ 455 w 905"/>
                <a:gd name="T115" fmla="*/ 72 h 931"/>
                <a:gd name="T116" fmla="*/ 417 w 905"/>
                <a:gd name="T117" fmla="*/ 73 h 931"/>
                <a:gd name="T118" fmla="*/ 392 w 905"/>
                <a:gd name="T119" fmla="*/ 77 h 931"/>
                <a:gd name="T120" fmla="*/ 321 w 905"/>
                <a:gd name="T121" fmla="*/ 66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5" h="931">
                  <a:moveTo>
                    <a:pt x="198" y="381"/>
                  </a:moveTo>
                  <a:cubicBezTo>
                    <a:pt x="198" y="381"/>
                    <a:pt x="198" y="381"/>
                    <a:pt x="198" y="381"/>
                  </a:cubicBezTo>
                  <a:cubicBezTo>
                    <a:pt x="198" y="381"/>
                    <a:pt x="198" y="381"/>
                    <a:pt x="198" y="381"/>
                  </a:cubicBezTo>
                  <a:moveTo>
                    <a:pt x="311" y="0"/>
                  </a:moveTo>
                  <a:cubicBezTo>
                    <a:pt x="311" y="0"/>
                    <a:pt x="310" y="0"/>
                    <a:pt x="309" y="0"/>
                  </a:cubicBezTo>
                  <a:cubicBezTo>
                    <a:pt x="309" y="0"/>
                    <a:pt x="308" y="0"/>
                    <a:pt x="308" y="1"/>
                  </a:cubicBezTo>
                  <a:cubicBezTo>
                    <a:pt x="308" y="1"/>
                    <a:pt x="308" y="1"/>
                    <a:pt x="308" y="2"/>
                  </a:cubicBezTo>
                  <a:cubicBezTo>
                    <a:pt x="308" y="2"/>
                    <a:pt x="308" y="3"/>
                    <a:pt x="308" y="4"/>
                  </a:cubicBezTo>
                  <a:cubicBezTo>
                    <a:pt x="308" y="4"/>
                    <a:pt x="308" y="4"/>
                    <a:pt x="308" y="4"/>
                  </a:cubicBezTo>
                  <a:cubicBezTo>
                    <a:pt x="308" y="5"/>
                    <a:pt x="308" y="6"/>
                    <a:pt x="307" y="6"/>
                  </a:cubicBezTo>
                  <a:cubicBezTo>
                    <a:pt x="312" y="10"/>
                    <a:pt x="312" y="10"/>
                    <a:pt x="312" y="10"/>
                  </a:cubicBezTo>
                  <a:cubicBezTo>
                    <a:pt x="307" y="8"/>
                    <a:pt x="307" y="8"/>
                    <a:pt x="307" y="8"/>
                  </a:cubicBezTo>
                  <a:cubicBezTo>
                    <a:pt x="306" y="8"/>
                    <a:pt x="306" y="8"/>
                    <a:pt x="306" y="8"/>
                  </a:cubicBezTo>
                  <a:cubicBezTo>
                    <a:pt x="306" y="8"/>
                    <a:pt x="306" y="8"/>
                    <a:pt x="306" y="8"/>
                  </a:cubicBezTo>
                  <a:cubicBezTo>
                    <a:pt x="305" y="9"/>
                    <a:pt x="305" y="9"/>
                    <a:pt x="305" y="9"/>
                  </a:cubicBezTo>
                  <a:cubicBezTo>
                    <a:pt x="304" y="10"/>
                    <a:pt x="302" y="12"/>
                    <a:pt x="301" y="13"/>
                  </a:cubicBezTo>
                  <a:cubicBezTo>
                    <a:pt x="304" y="16"/>
                    <a:pt x="304" y="16"/>
                    <a:pt x="304" y="16"/>
                  </a:cubicBezTo>
                  <a:cubicBezTo>
                    <a:pt x="300" y="14"/>
                    <a:pt x="300" y="14"/>
                    <a:pt x="300" y="14"/>
                  </a:cubicBezTo>
                  <a:cubicBezTo>
                    <a:pt x="299" y="14"/>
                    <a:pt x="299" y="14"/>
                    <a:pt x="299" y="14"/>
                  </a:cubicBezTo>
                  <a:cubicBezTo>
                    <a:pt x="299" y="15"/>
                    <a:pt x="298" y="16"/>
                    <a:pt x="296" y="16"/>
                  </a:cubicBezTo>
                  <a:cubicBezTo>
                    <a:pt x="296" y="16"/>
                    <a:pt x="295" y="16"/>
                    <a:pt x="294" y="17"/>
                  </a:cubicBezTo>
                  <a:cubicBezTo>
                    <a:pt x="293" y="17"/>
                    <a:pt x="293" y="17"/>
                    <a:pt x="293" y="17"/>
                  </a:cubicBezTo>
                  <a:cubicBezTo>
                    <a:pt x="293" y="17"/>
                    <a:pt x="293" y="17"/>
                    <a:pt x="293" y="17"/>
                  </a:cubicBezTo>
                  <a:cubicBezTo>
                    <a:pt x="292" y="17"/>
                    <a:pt x="291" y="17"/>
                    <a:pt x="290" y="18"/>
                  </a:cubicBezTo>
                  <a:cubicBezTo>
                    <a:pt x="289" y="18"/>
                    <a:pt x="289" y="19"/>
                    <a:pt x="288" y="19"/>
                  </a:cubicBezTo>
                  <a:cubicBezTo>
                    <a:pt x="287" y="21"/>
                    <a:pt x="285" y="22"/>
                    <a:pt x="282" y="22"/>
                  </a:cubicBezTo>
                  <a:cubicBezTo>
                    <a:pt x="278" y="23"/>
                    <a:pt x="278" y="23"/>
                    <a:pt x="278" y="23"/>
                  </a:cubicBezTo>
                  <a:cubicBezTo>
                    <a:pt x="272" y="24"/>
                    <a:pt x="267" y="25"/>
                    <a:pt x="262" y="26"/>
                  </a:cubicBezTo>
                  <a:cubicBezTo>
                    <a:pt x="261" y="26"/>
                    <a:pt x="260" y="27"/>
                    <a:pt x="260" y="27"/>
                  </a:cubicBezTo>
                  <a:cubicBezTo>
                    <a:pt x="259" y="27"/>
                    <a:pt x="258" y="27"/>
                    <a:pt x="258" y="27"/>
                  </a:cubicBezTo>
                  <a:cubicBezTo>
                    <a:pt x="258" y="27"/>
                    <a:pt x="258" y="27"/>
                    <a:pt x="258" y="27"/>
                  </a:cubicBezTo>
                  <a:cubicBezTo>
                    <a:pt x="258" y="28"/>
                    <a:pt x="258" y="28"/>
                    <a:pt x="258" y="28"/>
                  </a:cubicBezTo>
                  <a:cubicBezTo>
                    <a:pt x="258" y="28"/>
                    <a:pt x="258" y="28"/>
                    <a:pt x="258" y="28"/>
                  </a:cubicBezTo>
                  <a:cubicBezTo>
                    <a:pt x="258" y="29"/>
                    <a:pt x="258" y="30"/>
                    <a:pt x="258" y="32"/>
                  </a:cubicBezTo>
                  <a:cubicBezTo>
                    <a:pt x="258" y="32"/>
                    <a:pt x="258" y="32"/>
                    <a:pt x="258" y="32"/>
                  </a:cubicBezTo>
                  <a:cubicBezTo>
                    <a:pt x="257" y="36"/>
                    <a:pt x="255" y="38"/>
                    <a:pt x="252" y="38"/>
                  </a:cubicBezTo>
                  <a:cubicBezTo>
                    <a:pt x="249" y="38"/>
                    <a:pt x="247" y="36"/>
                    <a:pt x="245" y="33"/>
                  </a:cubicBezTo>
                  <a:cubicBezTo>
                    <a:pt x="244" y="32"/>
                    <a:pt x="243" y="31"/>
                    <a:pt x="243" y="30"/>
                  </a:cubicBezTo>
                  <a:cubicBezTo>
                    <a:pt x="242" y="30"/>
                    <a:pt x="242" y="30"/>
                    <a:pt x="241" y="30"/>
                  </a:cubicBezTo>
                  <a:cubicBezTo>
                    <a:pt x="240" y="33"/>
                    <a:pt x="240" y="33"/>
                    <a:pt x="240" y="33"/>
                  </a:cubicBezTo>
                  <a:cubicBezTo>
                    <a:pt x="237" y="31"/>
                    <a:pt x="237" y="31"/>
                    <a:pt x="237" y="31"/>
                  </a:cubicBezTo>
                  <a:cubicBezTo>
                    <a:pt x="236" y="30"/>
                    <a:pt x="235" y="30"/>
                    <a:pt x="234" y="30"/>
                  </a:cubicBezTo>
                  <a:cubicBezTo>
                    <a:pt x="233" y="30"/>
                    <a:pt x="232" y="30"/>
                    <a:pt x="231" y="30"/>
                  </a:cubicBezTo>
                  <a:cubicBezTo>
                    <a:pt x="230" y="30"/>
                    <a:pt x="229" y="30"/>
                    <a:pt x="229" y="31"/>
                  </a:cubicBezTo>
                  <a:cubicBezTo>
                    <a:pt x="228" y="31"/>
                    <a:pt x="228" y="31"/>
                    <a:pt x="227" y="31"/>
                  </a:cubicBezTo>
                  <a:cubicBezTo>
                    <a:pt x="226" y="31"/>
                    <a:pt x="225" y="30"/>
                    <a:pt x="224" y="30"/>
                  </a:cubicBezTo>
                  <a:cubicBezTo>
                    <a:pt x="224" y="30"/>
                    <a:pt x="224" y="30"/>
                    <a:pt x="224" y="30"/>
                  </a:cubicBezTo>
                  <a:cubicBezTo>
                    <a:pt x="223" y="29"/>
                    <a:pt x="222" y="28"/>
                    <a:pt x="220" y="27"/>
                  </a:cubicBezTo>
                  <a:cubicBezTo>
                    <a:pt x="218" y="26"/>
                    <a:pt x="217" y="25"/>
                    <a:pt x="215" y="24"/>
                  </a:cubicBezTo>
                  <a:cubicBezTo>
                    <a:pt x="216" y="26"/>
                    <a:pt x="217" y="27"/>
                    <a:pt x="217" y="27"/>
                  </a:cubicBezTo>
                  <a:cubicBezTo>
                    <a:pt x="218" y="28"/>
                    <a:pt x="219" y="28"/>
                    <a:pt x="219" y="29"/>
                  </a:cubicBezTo>
                  <a:cubicBezTo>
                    <a:pt x="221" y="30"/>
                    <a:pt x="222" y="31"/>
                    <a:pt x="224" y="32"/>
                  </a:cubicBezTo>
                  <a:cubicBezTo>
                    <a:pt x="224" y="33"/>
                    <a:pt x="225" y="34"/>
                    <a:pt x="225" y="36"/>
                  </a:cubicBezTo>
                  <a:cubicBezTo>
                    <a:pt x="226" y="37"/>
                    <a:pt x="225" y="38"/>
                    <a:pt x="225" y="38"/>
                  </a:cubicBezTo>
                  <a:cubicBezTo>
                    <a:pt x="225" y="39"/>
                    <a:pt x="225" y="39"/>
                    <a:pt x="225" y="39"/>
                  </a:cubicBezTo>
                  <a:cubicBezTo>
                    <a:pt x="225" y="41"/>
                    <a:pt x="226" y="43"/>
                    <a:pt x="227" y="46"/>
                  </a:cubicBezTo>
                  <a:cubicBezTo>
                    <a:pt x="228" y="48"/>
                    <a:pt x="229" y="51"/>
                    <a:pt x="230" y="53"/>
                  </a:cubicBezTo>
                  <a:cubicBezTo>
                    <a:pt x="230" y="55"/>
                    <a:pt x="229" y="56"/>
                    <a:pt x="229" y="58"/>
                  </a:cubicBezTo>
                  <a:cubicBezTo>
                    <a:pt x="229" y="58"/>
                    <a:pt x="229" y="58"/>
                    <a:pt x="229" y="58"/>
                  </a:cubicBezTo>
                  <a:cubicBezTo>
                    <a:pt x="229" y="59"/>
                    <a:pt x="229" y="59"/>
                    <a:pt x="229" y="59"/>
                  </a:cubicBezTo>
                  <a:cubicBezTo>
                    <a:pt x="230" y="59"/>
                    <a:pt x="233" y="60"/>
                    <a:pt x="240" y="60"/>
                  </a:cubicBezTo>
                  <a:cubicBezTo>
                    <a:pt x="241" y="60"/>
                    <a:pt x="241" y="60"/>
                    <a:pt x="241" y="60"/>
                  </a:cubicBezTo>
                  <a:cubicBezTo>
                    <a:pt x="241" y="60"/>
                    <a:pt x="242" y="60"/>
                    <a:pt x="242" y="60"/>
                  </a:cubicBezTo>
                  <a:cubicBezTo>
                    <a:pt x="245" y="60"/>
                    <a:pt x="245" y="60"/>
                    <a:pt x="245" y="60"/>
                  </a:cubicBezTo>
                  <a:cubicBezTo>
                    <a:pt x="244" y="64"/>
                    <a:pt x="244" y="64"/>
                    <a:pt x="244" y="64"/>
                  </a:cubicBezTo>
                  <a:cubicBezTo>
                    <a:pt x="244" y="64"/>
                    <a:pt x="244" y="65"/>
                    <a:pt x="244" y="65"/>
                  </a:cubicBezTo>
                  <a:cubicBezTo>
                    <a:pt x="244" y="68"/>
                    <a:pt x="242" y="69"/>
                    <a:pt x="240" y="70"/>
                  </a:cubicBezTo>
                  <a:cubicBezTo>
                    <a:pt x="242" y="76"/>
                    <a:pt x="242" y="76"/>
                    <a:pt x="242" y="76"/>
                  </a:cubicBezTo>
                  <a:cubicBezTo>
                    <a:pt x="239" y="71"/>
                    <a:pt x="239" y="71"/>
                    <a:pt x="239" y="71"/>
                  </a:cubicBezTo>
                  <a:cubicBezTo>
                    <a:pt x="235" y="72"/>
                    <a:pt x="235" y="72"/>
                    <a:pt x="235" y="72"/>
                  </a:cubicBezTo>
                  <a:cubicBezTo>
                    <a:pt x="233" y="73"/>
                    <a:pt x="231" y="74"/>
                    <a:pt x="229" y="75"/>
                  </a:cubicBezTo>
                  <a:cubicBezTo>
                    <a:pt x="229" y="76"/>
                    <a:pt x="229" y="77"/>
                    <a:pt x="228" y="77"/>
                  </a:cubicBezTo>
                  <a:cubicBezTo>
                    <a:pt x="228" y="78"/>
                    <a:pt x="228" y="78"/>
                    <a:pt x="228" y="79"/>
                  </a:cubicBezTo>
                  <a:cubicBezTo>
                    <a:pt x="227" y="81"/>
                    <a:pt x="224" y="86"/>
                    <a:pt x="222" y="88"/>
                  </a:cubicBezTo>
                  <a:cubicBezTo>
                    <a:pt x="221" y="88"/>
                    <a:pt x="221" y="88"/>
                    <a:pt x="221" y="88"/>
                  </a:cubicBezTo>
                  <a:cubicBezTo>
                    <a:pt x="220" y="89"/>
                    <a:pt x="220" y="89"/>
                    <a:pt x="220" y="89"/>
                  </a:cubicBezTo>
                  <a:cubicBezTo>
                    <a:pt x="220" y="89"/>
                    <a:pt x="220" y="89"/>
                    <a:pt x="219" y="89"/>
                  </a:cubicBezTo>
                  <a:cubicBezTo>
                    <a:pt x="219" y="90"/>
                    <a:pt x="219" y="90"/>
                    <a:pt x="219" y="90"/>
                  </a:cubicBezTo>
                  <a:cubicBezTo>
                    <a:pt x="218" y="89"/>
                    <a:pt x="218" y="89"/>
                    <a:pt x="218" y="89"/>
                  </a:cubicBezTo>
                  <a:cubicBezTo>
                    <a:pt x="218" y="89"/>
                    <a:pt x="218" y="89"/>
                    <a:pt x="218" y="89"/>
                  </a:cubicBezTo>
                  <a:cubicBezTo>
                    <a:pt x="217" y="89"/>
                    <a:pt x="217" y="89"/>
                    <a:pt x="216" y="89"/>
                  </a:cubicBezTo>
                  <a:cubicBezTo>
                    <a:pt x="216" y="89"/>
                    <a:pt x="216" y="89"/>
                    <a:pt x="216" y="89"/>
                  </a:cubicBezTo>
                  <a:cubicBezTo>
                    <a:pt x="214" y="90"/>
                    <a:pt x="211" y="92"/>
                    <a:pt x="209" y="93"/>
                  </a:cubicBezTo>
                  <a:cubicBezTo>
                    <a:pt x="208" y="93"/>
                    <a:pt x="208" y="93"/>
                    <a:pt x="208" y="93"/>
                  </a:cubicBezTo>
                  <a:cubicBezTo>
                    <a:pt x="204" y="94"/>
                    <a:pt x="203" y="94"/>
                    <a:pt x="201" y="96"/>
                  </a:cubicBezTo>
                  <a:cubicBezTo>
                    <a:pt x="201" y="98"/>
                    <a:pt x="200" y="98"/>
                    <a:pt x="199" y="99"/>
                  </a:cubicBezTo>
                  <a:cubicBezTo>
                    <a:pt x="199" y="99"/>
                    <a:pt x="199" y="99"/>
                    <a:pt x="199" y="99"/>
                  </a:cubicBezTo>
                  <a:cubicBezTo>
                    <a:pt x="199" y="100"/>
                    <a:pt x="199" y="100"/>
                    <a:pt x="199" y="100"/>
                  </a:cubicBezTo>
                  <a:cubicBezTo>
                    <a:pt x="198" y="100"/>
                    <a:pt x="198" y="101"/>
                    <a:pt x="197" y="102"/>
                  </a:cubicBezTo>
                  <a:cubicBezTo>
                    <a:pt x="197" y="102"/>
                    <a:pt x="197" y="102"/>
                    <a:pt x="197" y="102"/>
                  </a:cubicBezTo>
                  <a:cubicBezTo>
                    <a:pt x="193" y="105"/>
                    <a:pt x="192" y="106"/>
                    <a:pt x="191" y="106"/>
                  </a:cubicBezTo>
                  <a:cubicBezTo>
                    <a:pt x="190" y="106"/>
                    <a:pt x="189" y="105"/>
                    <a:pt x="188" y="104"/>
                  </a:cubicBezTo>
                  <a:cubicBezTo>
                    <a:pt x="187" y="103"/>
                    <a:pt x="187" y="102"/>
                    <a:pt x="187" y="100"/>
                  </a:cubicBezTo>
                  <a:cubicBezTo>
                    <a:pt x="186" y="101"/>
                    <a:pt x="185" y="101"/>
                    <a:pt x="184" y="102"/>
                  </a:cubicBezTo>
                  <a:cubicBezTo>
                    <a:pt x="184" y="102"/>
                    <a:pt x="184" y="102"/>
                    <a:pt x="184" y="102"/>
                  </a:cubicBezTo>
                  <a:cubicBezTo>
                    <a:pt x="181" y="103"/>
                    <a:pt x="179" y="104"/>
                    <a:pt x="177" y="104"/>
                  </a:cubicBezTo>
                  <a:cubicBezTo>
                    <a:pt x="177" y="104"/>
                    <a:pt x="177" y="104"/>
                    <a:pt x="177" y="104"/>
                  </a:cubicBezTo>
                  <a:cubicBezTo>
                    <a:pt x="173" y="104"/>
                    <a:pt x="170" y="102"/>
                    <a:pt x="167" y="100"/>
                  </a:cubicBezTo>
                  <a:cubicBezTo>
                    <a:pt x="166" y="99"/>
                    <a:pt x="165" y="98"/>
                    <a:pt x="164" y="97"/>
                  </a:cubicBezTo>
                  <a:cubicBezTo>
                    <a:pt x="162" y="95"/>
                    <a:pt x="162" y="95"/>
                    <a:pt x="162" y="95"/>
                  </a:cubicBezTo>
                  <a:cubicBezTo>
                    <a:pt x="161" y="95"/>
                    <a:pt x="161" y="95"/>
                    <a:pt x="161" y="95"/>
                  </a:cubicBezTo>
                  <a:cubicBezTo>
                    <a:pt x="161" y="95"/>
                    <a:pt x="161" y="95"/>
                    <a:pt x="161" y="95"/>
                  </a:cubicBezTo>
                  <a:cubicBezTo>
                    <a:pt x="160" y="94"/>
                    <a:pt x="160" y="94"/>
                    <a:pt x="159" y="93"/>
                  </a:cubicBezTo>
                  <a:cubicBezTo>
                    <a:pt x="159" y="93"/>
                    <a:pt x="159" y="93"/>
                    <a:pt x="159" y="93"/>
                  </a:cubicBezTo>
                  <a:cubicBezTo>
                    <a:pt x="159" y="93"/>
                    <a:pt x="159" y="93"/>
                    <a:pt x="159" y="93"/>
                  </a:cubicBezTo>
                  <a:cubicBezTo>
                    <a:pt x="158" y="93"/>
                    <a:pt x="158" y="93"/>
                    <a:pt x="157" y="93"/>
                  </a:cubicBezTo>
                  <a:cubicBezTo>
                    <a:pt x="157" y="93"/>
                    <a:pt x="157" y="93"/>
                    <a:pt x="157" y="93"/>
                  </a:cubicBezTo>
                  <a:cubicBezTo>
                    <a:pt x="157" y="93"/>
                    <a:pt x="157" y="93"/>
                    <a:pt x="157" y="93"/>
                  </a:cubicBezTo>
                  <a:cubicBezTo>
                    <a:pt x="156" y="93"/>
                    <a:pt x="155" y="93"/>
                    <a:pt x="154" y="92"/>
                  </a:cubicBezTo>
                  <a:cubicBezTo>
                    <a:pt x="152" y="90"/>
                    <a:pt x="152" y="86"/>
                    <a:pt x="153" y="83"/>
                  </a:cubicBezTo>
                  <a:cubicBezTo>
                    <a:pt x="153" y="81"/>
                    <a:pt x="150" y="76"/>
                    <a:pt x="148" y="73"/>
                  </a:cubicBezTo>
                  <a:cubicBezTo>
                    <a:pt x="147" y="73"/>
                    <a:pt x="146" y="74"/>
                    <a:pt x="143" y="76"/>
                  </a:cubicBezTo>
                  <a:cubicBezTo>
                    <a:pt x="142" y="77"/>
                    <a:pt x="141" y="78"/>
                    <a:pt x="141" y="78"/>
                  </a:cubicBezTo>
                  <a:cubicBezTo>
                    <a:pt x="139" y="79"/>
                    <a:pt x="138" y="80"/>
                    <a:pt x="137" y="80"/>
                  </a:cubicBezTo>
                  <a:cubicBezTo>
                    <a:pt x="139" y="81"/>
                    <a:pt x="139" y="81"/>
                    <a:pt x="139" y="81"/>
                  </a:cubicBezTo>
                  <a:cubicBezTo>
                    <a:pt x="130" y="81"/>
                    <a:pt x="130" y="81"/>
                    <a:pt x="130" y="81"/>
                  </a:cubicBezTo>
                  <a:cubicBezTo>
                    <a:pt x="128" y="81"/>
                    <a:pt x="125" y="81"/>
                    <a:pt x="121" y="81"/>
                  </a:cubicBezTo>
                  <a:cubicBezTo>
                    <a:pt x="114" y="81"/>
                    <a:pt x="107" y="81"/>
                    <a:pt x="102" y="81"/>
                  </a:cubicBezTo>
                  <a:cubicBezTo>
                    <a:pt x="101" y="81"/>
                    <a:pt x="101" y="81"/>
                    <a:pt x="100" y="81"/>
                  </a:cubicBezTo>
                  <a:cubicBezTo>
                    <a:pt x="100" y="81"/>
                    <a:pt x="99" y="81"/>
                    <a:pt x="99" y="81"/>
                  </a:cubicBezTo>
                  <a:cubicBezTo>
                    <a:pt x="97" y="81"/>
                    <a:pt x="95" y="81"/>
                    <a:pt x="94" y="81"/>
                  </a:cubicBezTo>
                  <a:cubicBezTo>
                    <a:pt x="94" y="82"/>
                    <a:pt x="94" y="82"/>
                    <a:pt x="94" y="82"/>
                  </a:cubicBezTo>
                  <a:cubicBezTo>
                    <a:pt x="94" y="85"/>
                    <a:pt x="94" y="87"/>
                    <a:pt x="94" y="90"/>
                  </a:cubicBezTo>
                  <a:cubicBezTo>
                    <a:pt x="94" y="90"/>
                    <a:pt x="95" y="90"/>
                    <a:pt x="95" y="90"/>
                  </a:cubicBezTo>
                  <a:cubicBezTo>
                    <a:pt x="97" y="90"/>
                    <a:pt x="99" y="91"/>
                    <a:pt x="101" y="91"/>
                  </a:cubicBezTo>
                  <a:cubicBezTo>
                    <a:pt x="101" y="91"/>
                    <a:pt x="102" y="91"/>
                    <a:pt x="103" y="91"/>
                  </a:cubicBezTo>
                  <a:cubicBezTo>
                    <a:pt x="103" y="91"/>
                    <a:pt x="103" y="91"/>
                    <a:pt x="103" y="91"/>
                  </a:cubicBezTo>
                  <a:cubicBezTo>
                    <a:pt x="106" y="91"/>
                    <a:pt x="108" y="94"/>
                    <a:pt x="109" y="96"/>
                  </a:cubicBezTo>
                  <a:cubicBezTo>
                    <a:pt x="109" y="97"/>
                    <a:pt x="110" y="100"/>
                    <a:pt x="111" y="103"/>
                  </a:cubicBezTo>
                  <a:cubicBezTo>
                    <a:pt x="111" y="106"/>
                    <a:pt x="111" y="106"/>
                    <a:pt x="111" y="106"/>
                  </a:cubicBezTo>
                  <a:cubicBezTo>
                    <a:pt x="108" y="106"/>
                    <a:pt x="108" y="106"/>
                    <a:pt x="108" y="106"/>
                  </a:cubicBezTo>
                  <a:cubicBezTo>
                    <a:pt x="108" y="106"/>
                    <a:pt x="108" y="106"/>
                    <a:pt x="107" y="106"/>
                  </a:cubicBezTo>
                  <a:cubicBezTo>
                    <a:pt x="106" y="106"/>
                    <a:pt x="103" y="106"/>
                    <a:pt x="101" y="105"/>
                  </a:cubicBezTo>
                  <a:cubicBezTo>
                    <a:pt x="100" y="104"/>
                    <a:pt x="99" y="104"/>
                    <a:pt x="99" y="104"/>
                  </a:cubicBezTo>
                  <a:cubicBezTo>
                    <a:pt x="98" y="104"/>
                    <a:pt x="98" y="105"/>
                    <a:pt x="97" y="105"/>
                  </a:cubicBezTo>
                  <a:cubicBezTo>
                    <a:pt x="96" y="105"/>
                    <a:pt x="95" y="105"/>
                    <a:pt x="95" y="105"/>
                  </a:cubicBezTo>
                  <a:cubicBezTo>
                    <a:pt x="94" y="106"/>
                    <a:pt x="94" y="106"/>
                    <a:pt x="94" y="106"/>
                  </a:cubicBezTo>
                  <a:cubicBezTo>
                    <a:pt x="90" y="106"/>
                    <a:pt x="89" y="107"/>
                    <a:pt x="89" y="107"/>
                  </a:cubicBezTo>
                  <a:cubicBezTo>
                    <a:pt x="89" y="110"/>
                    <a:pt x="89" y="112"/>
                    <a:pt x="89" y="115"/>
                  </a:cubicBezTo>
                  <a:cubicBezTo>
                    <a:pt x="89" y="116"/>
                    <a:pt x="89" y="117"/>
                    <a:pt x="88" y="118"/>
                  </a:cubicBezTo>
                  <a:cubicBezTo>
                    <a:pt x="88" y="121"/>
                    <a:pt x="92" y="125"/>
                    <a:pt x="96" y="127"/>
                  </a:cubicBezTo>
                  <a:cubicBezTo>
                    <a:pt x="100" y="129"/>
                    <a:pt x="101" y="133"/>
                    <a:pt x="101" y="137"/>
                  </a:cubicBezTo>
                  <a:cubicBezTo>
                    <a:pt x="102" y="138"/>
                    <a:pt x="102" y="139"/>
                    <a:pt x="102" y="140"/>
                  </a:cubicBezTo>
                  <a:cubicBezTo>
                    <a:pt x="104" y="145"/>
                    <a:pt x="103" y="152"/>
                    <a:pt x="101" y="165"/>
                  </a:cubicBezTo>
                  <a:cubicBezTo>
                    <a:pt x="100" y="171"/>
                    <a:pt x="100" y="171"/>
                    <a:pt x="100" y="171"/>
                  </a:cubicBezTo>
                  <a:cubicBezTo>
                    <a:pt x="100" y="172"/>
                    <a:pt x="100" y="172"/>
                    <a:pt x="100" y="172"/>
                  </a:cubicBezTo>
                  <a:cubicBezTo>
                    <a:pt x="99" y="175"/>
                    <a:pt x="99" y="175"/>
                    <a:pt x="99" y="175"/>
                  </a:cubicBezTo>
                  <a:cubicBezTo>
                    <a:pt x="99" y="176"/>
                    <a:pt x="99" y="176"/>
                    <a:pt x="99" y="176"/>
                  </a:cubicBezTo>
                  <a:cubicBezTo>
                    <a:pt x="98" y="179"/>
                    <a:pt x="98" y="179"/>
                    <a:pt x="98" y="179"/>
                  </a:cubicBezTo>
                  <a:cubicBezTo>
                    <a:pt x="98" y="180"/>
                    <a:pt x="98" y="180"/>
                    <a:pt x="98" y="181"/>
                  </a:cubicBezTo>
                  <a:cubicBezTo>
                    <a:pt x="98" y="183"/>
                    <a:pt x="98" y="183"/>
                    <a:pt x="98" y="183"/>
                  </a:cubicBezTo>
                  <a:cubicBezTo>
                    <a:pt x="98" y="184"/>
                    <a:pt x="97" y="184"/>
                    <a:pt x="97" y="185"/>
                  </a:cubicBezTo>
                  <a:cubicBezTo>
                    <a:pt x="97" y="186"/>
                    <a:pt x="97" y="186"/>
                    <a:pt x="97" y="186"/>
                  </a:cubicBezTo>
                  <a:cubicBezTo>
                    <a:pt x="97" y="187"/>
                    <a:pt x="97" y="189"/>
                    <a:pt x="96" y="190"/>
                  </a:cubicBezTo>
                  <a:cubicBezTo>
                    <a:pt x="96" y="190"/>
                    <a:pt x="96" y="190"/>
                    <a:pt x="96" y="190"/>
                  </a:cubicBezTo>
                  <a:cubicBezTo>
                    <a:pt x="94" y="201"/>
                    <a:pt x="92" y="212"/>
                    <a:pt x="91" y="216"/>
                  </a:cubicBezTo>
                  <a:cubicBezTo>
                    <a:pt x="92" y="218"/>
                    <a:pt x="92" y="220"/>
                    <a:pt x="90" y="222"/>
                  </a:cubicBezTo>
                  <a:cubicBezTo>
                    <a:pt x="88" y="223"/>
                    <a:pt x="88" y="223"/>
                    <a:pt x="88" y="223"/>
                  </a:cubicBezTo>
                  <a:cubicBezTo>
                    <a:pt x="87" y="222"/>
                    <a:pt x="87" y="222"/>
                    <a:pt x="87" y="222"/>
                  </a:cubicBezTo>
                  <a:cubicBezTo>
                    <a:pt x="85" y="222"/>
                    <a:pt x="84" y="221"/>
                    <a:pt x="82" y="221"/>
                  </a:cubicBezTo>
                  <a:cubicBezTo>
                    <a:pt x="81" y="221"/>
                    <a:pt x="78" y="221"/>
                    <a:pt x="78" y="218"/>
                  </a:cubicBezTo>
                  <a:cubicBezTo>
                    <a:pt x="77" y="218"/>
                    <a:pt x="77" y="218"/>
                    <a:pt x="77" y="218"/>
                  </a:cubicBezTo>
                  <a:cubicBezTo>
                    <a:pt x="77" y="218"/>
                    <a:pt x="77" y="217"/>
                    <a:pt x="76" y="217"/>
                  </a:cubicBezTo>
                  <a:cubicBezTo>
                    <a:pt x="76" y="217"/>
                    <a:pt x="75" y="217"/>
                    <a:pt x="75" y="218"/>
                  </a:cubicBezTo>
                  <a:cubicBezTo>
                    <a:pt x="74" y="218"/>
                    <a:pt x="74" y="218"/>
                    <a:pt x="73" y="219"/>
                  </a:cubicBezTo>
                  <a:cubicBezTo>
                    <a:pt x="72" y="219"/>
                    <a:pt x="72" y="219"/>
                    <a:pt x="71" y="220"/>
                  </a:cubicBezTo>
                  <a:cubicBezTo>
                    <a:pt x="71" y="220"/>
                    <a:pt x="71" y="220"/>
                    <a:pt x="71" y="220"/>
                  </a:cubicBezTo>
                  <a:cubicBezTo>
                    <a:pt x="70" y="221"/>
                    <a:pt x="69" y="222"/>
                    <a:pt x="67" y="223"/>
                  </a:cubicBezTo>
                  <a:cubicBezTo>
                    <a:pt x="66" y="224"/>
                    <a:pt x="65" y="224"/>
                    <a:pt x="64" y="224"/>
                  </a:cubicBezTo>
                  <a:cubicBezTo>
                    <a:pt x="63" y="224"/>
                    <a:pt x="62" y="224"/>
                    <a:pt x="61" y="224"/>
                  </a:cubicBezTo>
                  <a:cubicBezTo>
                    <a:pt x="60" y="224"/>
                    <a:pt x="60" y="224"/>
                    <a:pt x="60" y="224"/>
                  </a:cubicBezTo>
                  <a:cubicBezTo>
                    <a:pt x="58" y="224"/>
                    <a:pt x="56" y="224"/>
                    <a:pt x="54" y="225"/>
                  </a:cubicBezTo>
                  <a:cubicBezTo>
                    <a:pt x="53" y="225"/>
                    <a:pt x="53" y="225"/>
                    <a:pt x="53" y="225"/>
                  </a:cubicBezTo>
                  <a:cubicBezTo>
                    <a:pt x="52" y="226"/>
                    <a:pt x="51" y="226"/>
                    <a:pt x="50" y="226"/>
                  </a:cubicBezTo>
                  <a:cubicBezTo>
                    <a:pt x="50" y="226"/>
                    <a:pt x="50" y="226"/>
                    <a:pt x="50" y="226"/>
                  </a:cubicBezTo>
                  <a:cubicBezTo>
                    <a:pt x="46" y="227"/>
                    <a:pt x="42" y="228"/>
                    <a:pt x="38" y="231"/>
                  </a:cubicBezTo>
                  <a:cubicBezTo>
                    <a:pt x="36" y="232"/>
                    <a:pt x="35" y="233"/>
                    <a:pt x="33" y="234"/>
                  </a:cubicBezTo>
                  <a:cubicBezTo>
                    <a:pt x="33" y="234"/>
                    <a:pt x="33" y="234"/>
                    <a:pt x="33" y="234"/>
                  </a:cubicBezTo>
                  <a:cubicBezTo>
                    <a:pt x="31" y="236"/>
                    <a:pt x="29" y="237"/>
                    <a:pt x="27" y="238"/>
                  </a:cubicBezTo>
                  <a:cubicBezTo>
                    <a:pt x="24" y="240"/>
                    <a:pt x="24" y="240"/>
                    <a:pt x="24" y="240"/>
                  </a:cubicBezTo>
                  <a:cubicBezTo>
                    <a:pt x="24" y="240"/>
                    <a:pt x="24" y="240"/>
                    <a:pt x="24" y="240"/>
                  </a:cubicBezTo>
                  <a:cubicBezTo>
                    <a:pt x="24" y="241"/>
                    <a:pt x="24" y="241"/>
                    <a:pt x="24" y="241"/>
                  </a:cubicBezTo>
                  <a:cubicBezTo>
                    <a:pt x="23" y="244"/>
                    <a:pt x="23" y="247"/>
                    <a:pt x="22" y="250"/>
                  </a:cubicBezTo>
                  <a:cubicBezTo>
                    <a:pt x="22" y="250"/>
                    <a:pt x="22" y="250"/>
                    <a:pt x="22" y="250"/>
                  </a:cubicBezTo>
                  <a:cubicBezTo>
                    <a:pt x="22" y="251"/>
                    <a:pt x="21" y="252"/>
                    <a:pt x="21" y="253"/>
                  </a:cubicBezTo>
                  <a:cubicBezTo>
                    <a:pt x="21" y="254"/>
                    <a:pt x="20" y="256"/>
                    <a:pt x="19" y="257"/>
                  </a:cubicBezTo>
                  <a:cubicBezTo>
                    <a:pt x="19" y="258"/>
                    <a:pt x="18" y="260"/>
                    <a:pt x="18" y="261"/>
                  </a:cubicBezTo>
                  <a:cubicBezTo>
                    <a:pt x="17" y="261"/>
                    <a:pt x="17" y="261"/>
                    <a:pt x="17" y="261"/>
                  </a:cubicBezTo>
                  <a:cubicBezTo>
                    <a:pt x="17" y="262"/>
                    <a:pt x="17" y="262"/>
                    <a:pt x="17" y="262"/>
                  </a:cubicBezTo>
                  <a:cubicBezTo>
                    <a:pt x="17" y="262"/>
                    <a:pt x="17" y="262"/>
                    <a:pt x="17" y="262"/>
                  </a:cubicBezTo>
                  <a:cubicBezTo>
                    <a:pt x="17" y="263"/>
                    <a:pt x="17" y="263"/>
                    <a:pt x="17" y="264"/>
                  </a:cubicBezTo>
                  <a:cubicBezTo>
                    <a:pt x="17" y="264"/>
                    <a:pt x="17" y="264"/>
                    <a:pt x="17" y="264"/>
                  </a:cubicBezTo>
                  <a:cubicBezTo>
                    <a:pt x="18" y="265"/>
                    <a:pt x="18" y="265"/>
                    <a:pt x="18" y="266"/>
                  </a:cubicBezTo>
                  <a:cubicBezTo>
                    <a:pt x="18" y="266"/>
                    <a:pt x="18" y="266"/>
                    <a:pt x="18" y="266"/>
                  </a:cubicBezTo>
                  <a:cubicBezTo>
                    <a:pt x="18" y="268"/>
                    <a:pt x="18" y="270"/>
                    <a:pt x="16" y="271"/>
                  </a:cubicBezTo>
                  <a:cubicBezTo>
                    <a:pt x="15" y="273"/>
                    <a:pt x="14" y="274"/>
                    <a:pt x="12" y="275"/>
                  </a:cubicBezTo>
                  <a:cubicBezTo>
                    <a:pt x="11" y="275"/>
                    <a:pt x="10" y="275"/>
                    <a:pt x="10" y="276"/>
                  </a:cubicBezTo>
                  <a:cubicBezTo>
                    <a:pt x="7" y="278"/>
                    <a:pt x="5" y="279"/>
                    <a:pt x="3" y="282"/>
                  </a:cubicBezTo>
                  <a:cubicBezTo>
                    <a:pt x="3" y="284"/>
                    <a:pt x="3" y="284"/>
                    <a:pt x="3" y="286"/>
                  </a:cubicBezTo>
                  <a:cubicBezTo>
                    <a:pt x="4" y="286"/>
                    <a:pt x="5" y="288"/>
                    <a:pt x="4" y="291"/>
                  </a:cubicBezTo>
                  <a:cubicBezTo>
                    <a:pt x="4" y="292"/>
                    <a:pt x="4" y="292"/>
                    <a:pt x="4" y="292"/>
                  </a:cubicBezTo>
                  <a:cubicBezTo>
                    <a:pt x="3" y="292"/>
                    <a:pt x="3" y="292"/>
                    <a:pt x="3" y="292"/>
                  </a:cubicBezTo>
                  <a:cubicBezTo>
                    <a:pt x="2" y="293"/>
                    <a:pt x="1" y="293"/>
                    <a:pt x="0" y="294"/>
                  </a:cubicBezTo>
                  <a:cubicBezTo>
                    <a:pt x="2" y="296"/>
                    <a:pt x="4" y="297"/>
                    <a:pt x="5" y="300"/>
                  </a:cubicBezTo>
                  <a:cubicBezTo>
                    <a:pt x="6" y="302"/>
                    <a:pt x="6" y="304"/>
                    <a:pt x="7" y="305"/>
                  </a:cubicBezTo>
                  <a:cubicBezTo>
                    <a:pt x="7" y="307"/>
                    <a:pt x="7" y="309"/>
                    <a:pt x="8" y="310"/>
                  </a:cubicBezTo>
                  <a:cubicBezTo>
                    <a:pt x="10" y="314"/>
                    <a:pt x="13" y="318"/>
                    <a:pt x="16" y="321"/>
                  </a:cubicBezTo>
                  <a:cubicBezTo>
                    <a:pt x="17" y="322"/>
                    <a:pt x="17" y="322"/>
                    <a:pt x="17" y="322"/>
                  </a:cubicBezTo>
                  <a:cubicBezTo>
                    <a:pt x="18" y="322"/>
                    <a:pt x="18" y="323"/>
                    <a:pt x="18" y="323"/>
                  </a:cubicBezTo>
                  <a:cubicBezTo>
                    <a:pt x="20" y="325"/>
                    <a:pt x="22" y="327"/>
                    <a:pt x="22" y="329"/>
                  </a:cubicBezTo>
                  <a:cubicBezTo>
                    <a:pt x="22" y="332"/>
                    <a:pt x="21" y="334"/>
                    <a:pt x="20" y="336"/>
                  </a:cubicBezTo>
                  <a:cubicBezTo>
                    <a:pt x="27" y="336"/>
                    <a:pt x="36" y="337"/>
                    <a:pt x="38" y="343"/>
                  </a:cubicBezTo>
                  <a:cubicBezTo>
                    <a:pt x="38" y="343"/>
                    <a:pt x="38" y="344"/>
                    <a:pt x="38" y="344"/>
                  </a:cubicBezTo>
                  <a:cubicBezTo>
                    <a:pt x="38" y="344"/>
                    <a:pt x="38" y="344"/>
                    <a:pt x="38" y="344"/>
                  </a:cubicBezTo>
                  <a:cubicBezTo>
                    <a:pt x="39" y="345"/>
                    <a:pt x="39" y="345"/>
                    <a:pt x="39" y="346"/>
                  </a:cubicBezTo>
                  <a:cubicBezTo>
                    <a:pt x="40" y="347"/>
                    <a:pt x="40" y="348"/>
                    <a:pt x="41" y="349"/>
                  </a:cubicBezTo>
                  <a:cubicBezTo>
                    <a:pt x="41" y="349"/>
                    <a:pt x="42" y="349"/>
                    <a:pt x="43" y="349"/>
                  </a:cubicBezTo>
                  <a:cubicBezTo>
                    <a:pt x="45" y="350"/>
                    <a:pt x="45" y="350"/>
                    <a:pt x="45" y="350"/>
                  </a:cubicBezTo>
                  <a:cubicBezTo>
                    <a:pt x="46" y="350"/>
                    <a:pt x="48" y="350"/>
                    <a:pt x="49" y="350"/>
                  </a:cubicBezTo>
                  <a:cubicBezTo>
                    <a:pt x="50" y="350"/>
                    <a:pt x="50" y="350"/>
                    <a:pt x="51" y="350"/>
                  </a:cubicBezTo>
                  <a:cubicBezTo>
                    <a:pt x="54" y="350"/>
                    <a:pt x="56" y="349"/>
                    <a:pt x="57" y="349"/>
                  </a:cubicBezTo>
                  <a:cubicBezTo>
                    <a:pt x="58" y="349"/>
                    <a:pt x="58" y="348"/>
                    <a:pt x="58" y="348"/>
                  </a:cubicBezTo>
                  <a:cubicBezTo>
                    <a:pt x="59" y="348"/>
                    <a:pt x="59" y="348"/>
                    <a:pt x="59" y="347"/>
                  </a:cubicBezTo>
                  <a:cubicBezTo>
                    <a:pt x="60" y="347"/>
                    <a:pt x="60" y="347"/>
                    <a:pt x="61" y="346"/>
                  </a:cubicBezTo>
                  <a:cubicBezTo>
                    <a:pt x="61" y="346"/>
                    <a:pt x="61" y="346"/>
                    <a:pt x="61" y="346"/>
                  </a:cubicBezTo>
                  <a:cubicBezTo>
                    <a:pt x="62" y="346"/>
                    <a:pt x="62" y="346"/>
                    <a:pt x="63" y="345"/>
                  </a:cubicBezTo>
                  <a:cubicBezTo>
                    <a:pt x="64" y="344"/>
                    <a:pt x="64" y="344"/>
                    <a:pt x="64" y="344"/>
                  </a:cubicBezTo>
                  <a:cubicBezTo>
                    <a:pt x="65" y="343"/>
                    <a:pt x="65" y="343"/>
                    <a:pt x="65" y="343"/>
                  </a:cubicBezTo>
                  <a:cubicBezTo>
                    <a:pt x="68" y="340"/>
                    <a:pt x="72" y="338"/>
                    <a:pt x="74" y="336"/>
                  </a:cubicBezTo>
                  <a:cubicBezTo>
                    <a:pt x="82" y="332"/>
                    <a:pt x="82" y="332"/>
                    <a:pt x="82" y="332"/>
                  </a:cubicBezTo>
                  <a:cubicBezTo>
                    <a:pt x="78" y="340"/>
                    <a:pt x="78" y="340"/>
                    <a:pt x="78" y="340"/>
                  </a:cubicBezTo>
                  <a:cubicBezTo>
                    <a:pt x="78" y="341"/>
                    <a:pt x="78" y="342"/>
                    <a:pt x="77" y="342"/>
                  </a:cubicBezTo>
                  <a:cubicBezTo>
                    <a:pt x="78" y="343"/>
                    <a:pt x="78" y="343"/>
                    <a:pt x="78" y="344"/>
                  </a:cubicBezTo>
                  <a:cubicBezTo>
                    <a:pt x="78" y="345"/>
                    <a:pt x="78" y="347"/>
                    <a:pt x="77" y="348"/>
                  </a:cubicBezTo>
                  <a:cubicBezTo>
                    <a:pt x="75" y="353"/>
                    <a:pt x="75" y="360"/>
                    <a:pt x="76" y="367"/>
                  </a:cubicBezTo>
                  <a:cubicBezTo>
                    <a:pt x="76" y="369"/>
                    <a:pt x="76" y="371"/>
                    <a:pt x="76" y="372"/>
                  </a:cubicBezTo>
                  <a:cubicBezTo>
                    <a:pt x="77" y="372"/>
                    <a:pt x="78" y="373"/>
                    <a:pt x="79" y="373"/>
                  </a:cubicBezTo>
                  <a:cubicBezTo>
                    <a:pt x="80" y="374"/>
                    <a:pt x="81" y="374"/>
                    <a:pt x="81" y="374"/>
                  </a:cubicBezTo>
                  <a:cubicBezTo>
                    <a:pt x="82" y="374"/>
                    <a:pt x="83" y="373"/>
                    <a:pt x="85" y="373"/>
                  </a:cubicBezTo>
                  <a:cubicBezTo>
                    <a:pt x="86" y="372"/>
                    <a:pt x="86" y="372"/>
                    <a:pt x="86" y="372"/>
                  </a:cubicBezTo>
                  <a:cubicBezTo>
                    <a:pt x="88" y="371"/>
                    <a:pt x="89" y="371"/>
                    <a:pt x="90" y="371"/>
                  </a:cubicBezTo>
                  <a:cubicBezTo>
                    <a:pt x="90" y="371"/>
                    <a:pt x="91" y="371"/>
                    <a:pt x="91" y="371"/>
                  </a:cubicBezTo>
                  <a:cubicBezTo>
                    <a:pt x="91" y="371"/>
                    <a:pt x="92" y="371"/>
                    <a:pt x="92" y="371"/>
                  </a:cubicBezTo>
                  <a:cubicBezTo>
                    <a:pt x="92" y="371"/>
                    <a:pt x="92" y="371"/>
                    <a:pt x="92" y="371"/>
                  </a:cubicBezTo>
                  <a:cubicBezTo>
                    <a:pt x="93" y="371"/>
                    <a:pt x="93" y="371"/>
                    <a:pt x="93" y="371"/>
                  </a:cubicBezTo>
                  <a:cubicBezTo>
                    <a:pt x="90" y="368"/>
                    <a:pt x="90" y="368"/>
                    <a:pt x="90" y="368"/>
                  </a:cubicBezTo>
                  <a:cubicBezTo>
                    <a:pt x="99" y="372"/>
                    <a:pt x="99" y="372"/>
                    <a:pt x="99" y="372"/>
                  </a:cubicBezTo>
                  <a:cubicBezTo>
                    <a:pt x="105" y="373"/>
                    <a:pt x="105" y="373"/>
                    <a:pt x="105" y="373"/>
                  </a:cubicBezTo>
                  <a:cubicBezTo>
                    <a:pt x="106" y="373"/>
                    <a:pt x="107" y="373"/>
                    <a:pt x="108" y="374"/>
                  </a:cubicBezTo>
                  <a:cubicBezTo>
                    <a:pt x="108" y="375"/>
                    <a:pt x="108" y="375"/>
                    <a:pt x="108" y="375"/>
                  </a:cubicBezTo>
                  <a:cubicBezTo>
                    <a:pt x="108" y="375"/>
                    <a:pt x="108" y="375"/>
                    <a:pt x="108" y="375"/>
                  </a:cubicBezTo>
                  <a:cubicBezTo>
                    <a:pt x="108" y="374"/>
                    <a:pt x="108" y="374"/>
                    <a:pt x="108" y="374"/>
                  </a:cubicBezTo>
                  <a:cubicBezTo>
                    <a:pt x="109" y="374"/>
                    <a:pt x="110" y="374"/>
                    <a:pt x="111" y="374"/>
                  </a:cubicBezTo>
                  <a:cubicBezTo>
                    <a:pt x="112" y="374"/>
                    <a:pt x="112" y="374"/>
                    <a:pt x="112" y="374"/>
                  </a:cubicBezTo>
                  <a:cubicBezTo>
                    <a:pt x="112" y="374"/>
                    <a:pt x="113" y="375"/>
                    <a:pt x="114" y="375"/>
                  </a:cubicBezTo>
                  <a:cubicBezTo>
                    <a:pt x="114" y="375"/>
                    <a:pt x="115" y="375"/>
                    <a:pt x="115" y="375"/>
                  </a:cubicBezTo>
                  <a:cubicBezTo>
                    <a:pt x="116" y="375"/>
                    <a:pt x="116" y="375"/>
                    <a:pt x="117" y="375"/>
                  </a:cubicBezTo>
                  <a:cubicBezTo>
                    <a:pt x="118" y="375"/>
                    <a:pt x="118" y="375"/>
                    <a:pt x="118" y="375"/>
                  </a:cubicBezTo>
                  <a:cubicBezTo>
                    <a:pt x="119" y="375"/>
                    <a:pt x="120" y="375"/>
                    <a:pt x="122" y="374"/>
                  </a:cubicBezTo>
                  <a:cubicBezTo>
                    <a:pt x="122" y="374"/>
                    <a:pt x="122" y="374"/>
                    <a:pt x="122" y="374"/>
                  </a:cubicBezTo>
                  <a:cubicBezTo>
                    <a:pt x="123" y="374"/>
                    <a:pt x="124" y="374"/>
                    <a:pt x="125" y="373"/>
                  </a:cubicBezTo>
                  <a:cubicBezTo>
                    <a:pt x="126" y="373"/>
                    <a:pt x="126" y="372"/>
                    <a:pt x="127" y="372"/>
                  </a:cubicBezTo>
                  <a:cubicBezTo>
                    <a:pt x="128" y="370"/>
                    <a:pt x="129" y="369"/>
                    <a:pt x="132" y="368"/>
                  </a:cubicBezTo>
                  <a:cubicBezTo>
                    <a:pt x="133" y="368"/>
                    <a:pt x="133" y="368"/>
                    <a:pt x="134" y="367"/>
                  </a:cubicBezTo>
                  <a:cubicBezTo>
                    <a:pt x="135" y="367"/>
                    <a:pt x="135" y="367"/>
                    <a:pt x="135" y="367"/>
                  </a:cubicBezTo>
                  <a:cubicBezTo>
                    <a:pt x="137" y="367"/>
                    <a:pt x="138" y="367"/>
                    <a:pt x="139" y="366"/>
                  </a:cubicBezTo>
                  <a:cubicBezTo>
                    <a:pt x="139" y="366"/>
                    <a:pt x="139" y="366"/>
                    <a:pt x="140" y="365"/>
                  </a:cubicBezTo>
                  <a:cubicBezTo>
                    <a:pt x="140" y="364"/>
                    <a:pt x="140" y="364"/>
                    <a:pt x="140" y="364"/>
                  </a:cubicBezTo>
                  <a:cubicBezTo>
                    <a:pt x="141" y="363"/>
                    <a:pt x="142" y="362"/>
                    <a:pt x="143" y="362"/>
                  </a:cubicBezTo>
                  <a:cubicBezTo>
                    <a:pt x="145" y="361"/>
                    <a:pt x="147" y="360"/>
                    <a:pt x="148" y="359"/>
                  </a:cubicBezTo>
                  <a:cubicBezTo>
                    <a:pt x="150" y="358"/>
                    <a:pt x="151" y="358"/>
                    <a:pt x="152" y="357"/>
                  </a:cubicBezTo>
                  <a:cubicBezTo>
                    <a:pt x="154" y="356"/>
                    <a:pt x="156" y="354"/>
                    <a:pt x="158" y="353"/>
                  </a:cubicBezTo>
                  <a:cubicBezTo>
                    <a:pt x="158" y="353"/>
                    <a:pt x="158" y="353"/>
                    <a:pt x="158" y="353"/>
                  </a:cubicBezTo>
                  <a:cubicBezTo>
                    <a:pt x="159" y="352"/>
                    <a:pt x="160" y="351"/>
                    <a:pt x="161" y="350"/>
                  </a:cubicBezTo>
                  <a:cubicBezTo>
                    <a:pt x="163" y="348"/>
                    <a:pt x="166" y="347"/>
                    <a:pt x="168" y="347"/>
                  </a:cubicBezTo>
                  <a:cubicBezTo>
                    <a:pt x="171" y="346"/>
                    <a:pt x="171" y="346"/>
                    <a:pt x="171" y="346"/>
                  </a:cubicBezTo>
                  <a:cubicBezTo>
                    <a:pt x="181" y="344"/>
                    <a:pt x="181" y="344"/>
                    <a:pt x="181" y="344"/>
                  </a:cubicBezTo>
                  <a:cubicBezTo>
                    <a:pt x="182" y="344"/>
                    <a:pt x="182" y="344"/>
                    <a:pt x="183" y="344"/>
                  </a:cubicBezTo>
                  <a:cubicBezTo>
                    <a:pt x="183" y="344"/>
                    <a:pt x="183" y="344"/>
                    <a:pt x="183" y="344"/>
                  </a:cubicBezTo>
                  <a:cubicBezTo>
                    <a:pt x="183" y="343"/>
                    <a:pt x="184" y="343"/>
                    <a:pt x="184" y="343"/>
                  </a:cubicBezTo>
                  <a:cubicBezTo>
                    <a:pt x="184" y="343"/>
                    <a:pt x="185" y="344"/>
                    <a:pt x="185" y="344"/>
                  </a:cubicBezTo>
                  <a:cubicBezTo>
                    <a:pt x="186" y="344"/>
                    <a:pt x="186" y="344"/>
                    <a:pt x="186" y="344"/>
                  </a:cubicBezTo>
                  <a:cubicBezTo>
                    <a:pt x="186" y="344"/>
                    <a:pt x="187" y="344"/>
                    <a:pt x="187" y="344"/>
                  </a:cubicBezTo>
                  <a:cubicBezTo>
                    <a:pt x="188" y="344"/>
                    <a:pt x="189" y="345"/>
                    <a:pt x="189" y="345"/>
                  </a:cubicBezTo>
                  <a:cubicBezTo>
                    <a:pt x="190" y="345"/>
                    <a:pt x="190" y="345"/>
                    <a:pt x="190" y="345"/>
                  </a:cubicBezTo>
                  <a:cubicBezTo>
                    <a:pt x="190" y="345"/>
                    <a:pt x="190" y="345"/>
                    <a:pt x="190" y="345"/>
                  </a:cubicBezTo>
                  <a:cubicBezTo>
                    <a:pt x="190" y="344"/>
                    <a:pt x="190" y="344"/>
                    <a:pt x="190" y="344"/>
                  </a:cubicBezTo>
                  <a:cubicBezTo>
                    <a:pt x="190" y="344"/>
                    <a:pt x="191" y="343"/>
                    <a:pt x="191" y="343"/>
                  </a:cubicBezTo>
                  <a:cubicBezTo>
                    <a:pt x="193" y="342"/>
                    <a:pt x="193" y="342"/>
                    <a:pt x="193" y="342"/>
                  </a:cubicBezTo>
                  <a:cubicBezTo>
                    <a:pt x="194" y="342"/>
                    <a:pt x="194" y="342"/>
                    <a:pt x="194" y="342"/>
                  </a:cubicBezTo>
                  <a:cubicBezTo>
                    <a:pt x="194" y="342"/>
                    <a:pt x="194" y="342"/>
                    <a:pt x="194" y="342"/>
                  </a:cubicBezTo>
                  <a:cubicBezTo>
                    <a:pt x="194" y="342"/>
                    <a:pt x="195" y="342"/>
                    <a:pt x="195" y="342"/>
                  </a:cubicBezTo>
                  <a:cubicBezTo>
                    <a:pt x="195" y="342"/>
                    <a:pt x="195" y="342"/>
                    <a:pt x="196" y="343"/>
                  </a:cubicBezTo>
                  <a:cubicBezTo>
                    <a:pt x="197" y="343"/>
                    <a:pt x="197" y="343"/>
                    <a:pt x="197" y="343"/>
                  </a:cubicBezTo>
                  <a:cubicBezTo>
                    <a:pt x="197" y="344"/>
                    <a:pt x="197" y="344"/>
                    <a:pt x="197" y="344"/>
                  </a:cubicBezTo>
                  <a:cubicBezTo>
                    <a:pt x="197" y="344"/>
                    <a:pt x="197" y="344"/>
                    <a:pt x="197" y="344"/>
                  </a:cubicBezTo>
                  <a:cubicBezTo>
                    <a:pt x="198" y="344"/>
                    <a:pt x="198" y="344"/>
                    <a:pt x="198" y="344"/>
                  </a:cubicBezTo>
                  <a:cubicBezTo>
                    <a:pt x="198" y="345"/>
                    <a:pt x="199" y="345"/>
                    <a:pt x="199" y="346"/>
                  </a:cubicBezTo>
                  <a:cubicBezTo>
                    <a:pt x="199" y="348"/>
                    <a:pt x="199" y="350"/>
                    <a:pt x="199" y="353"/>
                  </a:cubicBezTo>
                  <a:cubicBezTo>
                    <a:pt x="198" y="356"/>
                    <a:pt x="198" y="356"/>
                    <a:pt x="198" y="356"/>
                  </a:cubicBezTo>
                  <a:cubicBezTo>
                    <a:pt x="198" y="357"/>
                    <a:pt x="198" y="358"/>
                    <a:pt x="198" y="360"/>
                  </a:cubicBezTo>
                  <a:cubicBezTo>
                    <a:pt x="198" y="361"/>
                    <a:pt x="198" y="361"/>
                    <a:pt x="197" y="361"/>
                  </a:cubicBezTo>
                  <a:cubicBezTo>
                    <a:pt x="197" y="362"/>
                    <a:pt x="197" y="362"/>
                    <a:pt x="197" y="362"/>
                  </a:cubicBezTo>
                  <a:cubicBezTo>
                    <a:pt x="197" y="364"/>
                    <a:pt x="197" y="367"/>
                    <a:pt x="197" y="369"/>
                  </a:cubicBezTo>
                  <a:cubicBezTo>
                    <a:pt x="197" y="370"/>
                    <a:pt x="197" y="370"/>
                    <a:pt x="197" y="370"/>
                  </a:cubicBezTo>
                  <a:cubicBezTo>
                    <a:pt x="197" y="370"/>
                    <a:pt x="197" y="370"/>
                    <a:pt x="197" y="371"/>
                  </a:cubicBezTo>
                  <a:cubicBezTo>
                    <a:pt x="197" y="371"/>
                    <a:pt x="197" y="371"/>
                    <a:pt x="197" y="371"/>
                  </a:cubicBezTo>
                  <a:cubicBezTo>
                    <a:pt x="198" y="372"/>
                    <a:pt x="198" y="372"/>
                    <a:pt x="198" y="373"/>
                  </a:cubicBezTo>
                  <a:cubicBezTo>
                    <a:pt x="198" y="375"/>
                    <a:pt x="199" y="377"/>
                    <a:pt x="198" y="378"/>
                  </a:cubicBezTo>
                  <a:cubicBezTo>
                    <a:pt x="198" y="379"/>
                    <a:pt x="198" y="380"/>
                    <a:pt x="197" y="380"/>
                  </a:cubicBezTo>
                  <a:cubicBezTo>
                    <a:pt x="197" y="380"/>
                    <a:pt x="197" y="380"/>
                    <a:pt x="197" y="380"/>
                  </a:cubicBezTo>
                  <a:cubicBezTo>
                    <a:pt x="198" y="381"/>
                    <a:pt x="198" y="381"/>
                    <a:pt x="198" y="381"/>
                  </a:cubicBezTo>
                  <a:cubicBezTo>
                    <a:pt x="198" y="381"/>
                    <a:pt x="198" y="381"/>
                    <a:pt x="198" y="381"/>
                  </a:cubicBezTo>
                  <a:cubicBezTo>
                    <a:pt x="198" y="381"/>
                    <a:pt x="198" y="382"/>
                    <a:pt x="198" y="382"/>
                  </a:cubicBezTo>
                  <a:cubicBezTo>
                    <a:pt x="199" y="384"/>
                    <a:pt x="200" y="386"/>
                    <a:pt x="201" y="387"/>
                  </a:cubicBezTo>
                  <a:cubicBezTo>
                    <a:pt x="202" y="389"/>
                    <a:pt x="202" y="389"/>
                    <a:pt x="202" y="389"/>
                  </a:cubicBezTo>
                  <a:cubicBezTo>
                    <a:pt x="203" y="391"/>
                    <a:pt x="204" y="393"/>
                    <a:pt x="206" y="394"/>
                  </a:cubicBezTo>
                  <a:cubicBezTo>
                    <a:pt x="215" y="402"/>
                    <a:pt x="215" y="402"/>
                    <a:pt x="215" y="402"/>
                  </a:cubicBezTo>
                  <a:cubicBezTo>
                    <a:pt x="215" y="403"/>
                    <a:pt x="216" y="403"/>
                    <a:pt x="217" y="404"/>
                  </a:cubicBezTo>
                  <a:cubicBezTo>
                    <a:pt x="218" y="406"/>
                    <a:pt x="220" y="408"/>
                    <a:pt x="222" y="408"/>
                  </a:cubicBezTo>
                  <a:cubicBezTo>
                    <a:pt x="222" y="408"/>
                    <a:pt x="223" y="408"/>
                    <a:pt x="224" y="408"/>
                  </a:cubicBezTo>
                  <a:cubicBezTo>
                    <a:pt x="224" y="409"/>
                    <a:pt x="224" y="409"/>
                    <a:pt x="224" y="409"/>
                  </a:cubicBezTo>
                  <a:cubicBezTo>
                    <a:pt x="225" y="409"/>
                    <a:pt x="226" y="409"/>
                    <a:pt x="226" y="409"/>
                  </a:cubicBezTo>
                  <a:cubicBezTo>
                    <a:pt x="227" y="409"/>
                    <a:pt x="228" y="409"/>
                    <a:pt x="229" y="408"/>
                  </a:cubicBezTo>
                  <a:cubicBezTo>
                    <a:pt x="230" y="408"/>
                    <a:pt x="230" y="408"/>
                    <a:pt x="230" y="408"/>
                  </a:cubicBezTo>
                  <a:cubicBezTo>
                    <a:pt x="231" y="407"/>
                    <a:pt x="232" y="407"/>
                    <a:pt x="232" y="407"/>
                  </a:cubicBezTo>
                  <a:cubicBezTo>
                    <a:pt x="233" y="408"/>
                    <a:pt x="233" y="408"/>
                    <a:pt x="233" y="408"/>
                  </a:cubicBezTo>
                  <a:cubicBezTo>
                    <a:pt x="233" y="407"/>
                    <a:pt x="233" y="407"/>
                    <a:pt x="233" y="407"/>
                  </a:cubicBezTo>
                  <a:cubicBezTo>
                    <a:pt x="233" y="407"/>
                    <a:pt x="233" y="407"/>
                    <a:pt x="233" y="407"/>
                  </a:cubicBezTo>
                  <a:cubicBezTo>
                    <a:pt x="233" y="407"/>
                    <a:pt x="234" y="407"/>
                    <a:pt x="235" y="408"/>
                  </a:cubicBezTo>
                  <a:cubicBezTo>
                    <a:pt x="235" y="408"/>
                    <a:pt x="235" y="408"/>
                    <a:pt x="235" y="408"/>
                  </a:cubicBezTo>
                  <a:cubicBezTo>
                    <a:pt x="236" y="408"/>
                    <a:pt x="236" y="408"/>
                    <a:pt x="236" y="408"/>
                  </a:cubicBezTo>
                  <a:cubicBezTo>
                    <a:pt x="237" y="408"/>
                    <a:pt x="237" y="408"/>
                    <a:pt x="237" y="408"/>
                  </a:cubicBezTo>
                  <a:cubicBezTo>
                    <a:pt x="237" y="408"/>
                    <a:pt x="238" y="408"/>
                    <a:pt x="239" y="409"/>
                  </a:cubicBezTo>
                  <a:cubicBezTo>
                    <a:pt x="241" y="409"/>
                    <a:pt x="242" y="410"/>
                    <a:pt x="244" y="411"/>
                  </a:cubicBezTo>
                  <a:cubicBezTo>
                    <a:pt x="244" y="411"/>
                    <a:pt x="244" y="411"/>
                    <a:pt x="244" y="411"/>
                  </a:cubicBezTo>
                  <a:cubicBezTo>
                    <a:pt x="245" y="411"/>
                    <a:pt x="245" y="411"/>
                    <a:pt x="245" y="411"/>
                  </a:cubicBezTo>
                  <a:cubicBezTo>
                    <a:pt x="247" y="411"/>
                    <a:pt x="248" y="411"/>
                    <a:pt x="249" y="412"/>
                  </a:cubicBezTo>
                  <a:cubicBezTo>
                    <a:pt x="250" y="413"/>
                    <a:pt x="251" y="414"/>
                    <a:pt x="252" y="415"/>
                  </a:cubicBezTo>
                  <a:cubicBezTo>
                    <a:pt x="252" y="416"/>
                    <a:pt x="252" y="416"/>
                    <a:pt x="252" y="416"/>
                  </a:cubicBezTo>
                  <a:cubicBezTo>
                    <a:pt x="253" y="417"/>
                    <a:pt x="253" y="417"/>
                    <a:pt x="253" y="417"/>
                  </a:cubicBezTo>
                  <a:cubicBezTo>
                    <a:pt x="253" y="417"/>
                    <a:pt x="254" y="418"/>
                    <a:pt x="254" y="418"/>
                  </a:cubicBezTo>
                  <a:cubicBezTo>
                    <a:pt x="255" y="418"/>
                    <a:pt x="255" y="418"/>
                    <a:pt x="255" y="418"/>
                  </a:cubicBezTo>
                  <a:cubicBezTo>
                    <a:pt x="255" y="419"/>
                    <a:pt x="256" y="419"/>
                    <a:pt x="256" y="420"/>
                  </a:cubicBezTo>
                  <a:cubicBezTo>
                    <a:pt x="258" y="421"/>
                    <a:pt x="260" y="421"/>
                    <a:pt x="263" y="421"/>
                  </a:cubicBezTo>
                  <a:cubicBezTo>
                    <a:pt x="263" y="421"/>
                    <a:pt x="263" y="421"/>
                    <a:pt x="263" y="421"/>
                  </a:cubicBezTo>
                  <a:cubicBezTo>
                    <a:pt x="265" y="422"/>
                    <a:pt x="267" y="422"/>
                    <a:pt x="269" y="423"/>
                  </a:cubicBezTo>
                  <a:cubicBezTo>
                    <a:pt x="272" y="424"/>
                    <a:pt x="273" y="425"/>
                    <a:pt x="274" y="427"/>
                  </a:cubicBezTo>
                  <a:cubicBezTo>
                    <a:pt x="275" y="428"/>
                    <a:pt x="275" y="429"/>
                    <a:pt x="276" y="429"/>
                  </a:cubicBezTo>
                  <a:cubicBezTo>
                    <a:pt x="277" y="430"/>
                    <a:pt x="277" y="431"/>
                    <a:pt x="278" y="431"/>
                  </a:cubicBezTo>
                  <a:cubicBezTo>
                    <a:pt x="278" y="432"/>
                    <a:pt x="278" y="432"/>
                    <a:pt x="278" y="432"/>
                  </a:cubicBezTo>
                  <a:cubicBezTo>
                    <a:pt x="279" y="432"/>
                    <a:pt x="279" y="432"/>
                    <a:pt x="279" y="432"/>
                  </a:cubicBezTo>
                  <a:cubicBezTo>
                    <a:pt x="279" y="432"/>
                    <a:pt x="279" y="432"/>
                    <a:pt x="279" y="432"/>
                  </a:cubicBezTo>
                  <a:cubicBezTo>
                    <a:pt x="280" y="432"/>
                    <a:pt x="280" y="432"/>
                    <a:pt x="280" y="432"/>
                  </a:cubicBezTo>
                  <a:cubicBezTo>
                    <a:pt x="281" y="432"/>
                    <a:pt x="281" y="432"/>
                    <a:pt x="281" y="432"/>
                  </a:cubicBezTo>
                  <a:cubicBezTo>
                    <a:pt x="282" y="432"/>
                    <a:pt x="283" y="432"/>
                    <a:pt x="284" y="432"/>
                  </a:cubicBezTo>
                  <a:cubicBezTo>
                    <a:pt x="285" y="431"/>
                    <a:pt x="285" y="431"/>
                    <a:pt x="285" y="431"/>
                  </a:cubicBezTo>
                  <a:cubicBezTo>
                    <a:pt x="285" y="431"/>
                    <a:pt x="285" y="431"/>
                    <a:pt x="285" y="431"/>
                  </a:cubicBezTo>
                  <a:cubicBezTo>
                    <a:pt x="288" y="431"/>
                    <a:pt x="290" y="431"/>
                    <a:pt x="292" y="431"/>
                  </a:cubicBezTo>
                  <a:cubicBezTo>
                    <a:pt x="294" y="431"/>
                    <a:pt x="295" y="431"/>
                    <a:pt x="297" y="432"/>
                  </a:cubicBezTo>
                  <a:cubicBezTo>
                    <a:pt x="297" y="432"/>
                    <a:pt x="298" y="432"/>
                    <a:pt x="298" y="433"/>
                  </a:cubicBezTo>
                  <a:cubicBezTo>
                    <a:pt x="299" y="433"/>
                    <a:pt x="299" y="433"/>
                    <a:pt x="299" y="433"/>
                  </a:cubicBezTo>
                  <a:cubicBezTo>
                    <a:pt x="300" y="434"/>
                    <a:pt x="300" y="434"/>
                    <a:pt x="300" y="434"/>
                  </a:cubicBezTo>
                  <a:cubicBezTo>
                    <a:pt x="300" y="434"/>
                    <a:pt x="301" y="434"/>
                    <a:pt x="301" y="434"/>
                  </a:cubicBezTo>
                  <a:cubicBezTo>
                    <a:pt x="303" y="436"/>
                    <a:pt x="305" y="437"/>
                    <a:pt x="306" y="438"/>
                  </a:cubicBezTo>
                  <a:cubicBezTo>
                    <a:pt x="310" y="441"/>
                    <a:pt x="310" y="441"/>
                    <a:pt x="310" y="441"/>
                  </a:cubicBezTo>
                  <a:cubicBezTo>
                    <a:pt x="311" y="442"/>
                    <a:pt x="311" y="442"/>
                    <a:pt x="312" y="443"/>
                  </a:cubicBezTo>
                  <a:cubicBezTo>
                    <a:pt x="313" y="444"/>
                    <a:pt x="313" y="446"/>
                    <a:pt x="313" y="447"/>
                  </a:cubicBezTo>
                  <a:cubicBezTo>
                    <a:pt x="313" y="448"/>
                    <a:pt x="313" y="448"/>
                    <a:pt x="313" y="448"/>
                  </a:cubicBezTo>
                  <a:cubicBezTo>
                    <a:pt x="313" y="448"/>
                    <a:pt x="313" y="448"/>
                    <a:pt x="313" y="448"/>
                  </a:cubicBezTo>
                  <a:cubicBezTo>
                    <a:pt x="313" y="449"/>
                    <a:pt x="313" y="449"/>
                    <a:pt x="313" y="449"/>
                  </a:cubicBezTo>
                  <a:cubicBezTo>
                    <a:pt x="313" y="452"/>
                    <a:pt x="314" y="454"/>
                    <a:pt x="315" y="457"/>
                  </a:cubicBezTo>
                  <a:cubicBezTo>
                    <a:pt x="315" y="460"/>
                    <a:pt x="316" y="464"/>
                    <a:pt x="316" y="467"/>
                  </a:cubicBezTo>
                  <a:cubicBezTo>
                    <a:pt x="317" y="468"/>
                    <a:pt x="317" y="468"/>
                    <a:pt x="317" y="468"/>
                  </a:cubicBezTo>
                  <a:cubicBezTo>
                    <a:pt x="317" y="469"/>
                    <a:pt x="317" y="469"/>
                    <a:pt x="317" y="469"/>
                  </a:cubicBezTo>
                  <a:cubicBezTo>
                    <a:pt x="317" y="470"/>
                    <a:pt x="317" y="470"/>
                    <a:pt x="317" y="470"/>
                  </a:cubicBezTo>
                  <a:cubicBezTo>
                    <a:pt x="317" y="470"/>
                    <a:pt x="317" y="470"/>
                    <a:pt x="317" y="470"/>
                  </a:cubicBezTo>
                  <a:cubicBezTo>
                    <a:pt x="317" y="470"/>
                    <a:pt x="317" y="470"/>
                    <a:pt x="317" y="470"/>
                  </a:cubicBezTo>
                  <a:cubicBezTo>
                    <a:pt x="316" y="471"/>
                    <a:pt x="316" y="471"/>
                    <a:pt x="316" y="471"/>
                  </a:cubicBezTo>
                  <a:cubicBezTo>
                    <a:pt x="316" y="472"/>
                    <a:pt x="316" y="472"/>
                    <a:pt x="315" y="473"/>
                  </a:cubicBezTo>
                  <a:cubicBezTo>
                    <a:pt x="315" y="473"/>
                    <a:pt x="315" y="473"/>
                    <a:pt x="315" y="473"/>
                  </a:cubicBezTo>
                  <a:cubicBezTo>
                    <a:pt x="314" y="474"/>
                    <a:pt x="314" y="474"/>
                    <a:pt x="314" y="474"/>
                  </a:cubicBezTo>
                  <a:cubicBezTo>
                    <a:pt x="314" y="474"/>
                    <a:pt x="314" y="474"/>
                    <a:pt x="314" y="474"/>
                  </a:cubicBezTo>
                  <a:cubicBezTo>
                    <a:pt x="313" y="474"/>
                    <a:pt x="313" y="475"/>
                    <a:pt x="313" y="475"/>
                  </a:cubicBezTo>
                  <a:cubicBezTo>
                    <a:pt x="315" y="477"/>
                    <a:pt x="315" y="477"/>
                    <a:pt x="315" y="477"/>
                  </a:cubicBezTo>
                  <a:cubicBezTo>
                    <a:pt x="318" y="481"/>
                    <a:pt x="318" y="486"/>
                    <a:pt x="318" y="491"/>
                  </a:cubicBezTo>
                  <a:cubicBezTo>
                    <a:pt x="318" y="492"/>
                    <a:pt x="318" y="493"/>
                    <a:pt x="319" y="494"/>
                  </a:cubicBezTo>
                  <a:cubicBezTo>
                    <a:pt x="319" y="495"/>
                    <a:pt x="319" y="495"/>
                    <a:pt x="319" y="496"/>
                  </a:cubicBezTo>
                  <a:cubicBezTo>
                    <a:pt x="319" y="497"/>
                    <a:pt x="319" y="497"/>
                    <a:pt x="319" y="497"/>
                  </a:cubicBezTo>
                  <a:cubicBezTo>
                    <a:pt x="319" y="497"/>
                    <a:pt x="319" y="497"/>
                    <a:pt x="319" y="497"/>
                  </a:cubicBezTo>
                  <a:cubicBezTo>
                    <a:pt x="320" y="497"/>
                    <a:pt x="321" y="497"/>
                    <a:pt x="321" y="497"/>
                  </a:cubicBezTo>
                  <a:cubicBezTo>
                    <a:pt x="329" y="497"/>
                    <a:pt x="329" y="497"/>
                    <a:pt x="329" y="497"/>
                  </a:cubicBezTo>
                  <a:cubicBezTo>
                    <a:pt x="331" y="498"/>
                    <a:pt x="333" y="498"/>
                    <a:pt x="335" y="498"/>
                  </a:cubicBezTo>
                  <a:cubicBezTo>
                    <a:pt x="337" y="498"/>
                    <a:pt x="339" y="498"/>
                    <a:pt x="342" y="498"/>
                  </a:cubicBezTo>
                  <a:cubicBezTo>
                    <a:pt x="359" y="497"/>
                    <a:pt x="359" y="497"/>
                    <a:pt x="359" y="497"/>
                  </a:cubicBezTo>
                  <a:cubicBezTo>
                    <a:pt x="359" y="498"/>
                    <a:pt x="359" y="498"/>
                    <a:pt x="359" y="498"/>
                  </a:cubicBezTo>
                  <a:cubicBezTo>
                    <a:pt x="360" y="498"/>
                    <a:pt x="360" y="498"/>
                    <a:pt x="361" y="498"/>
                  </a:cubicBezTo>
                  <a:cubicBezTo>
                    <a:pt x="361" y="499"/>
                    <a:pt x="361" y="499"/>
                    <a:pt x="361" y="499"/>
                  </a:cubicBezTo>
                  <a:cubicBezTo>
                    <a:pt x="362" y="501"/>
                    <a:pt x="362" y="501"/>
                    <a:pt x="362" y="501"/>
                  </a:cubicBezTo>
                  <a:cubicBezTo>
                    <a:pt x="361" y="501"/>
                    <a:pt x="361" y="501"/>
                    <a:pt x="361" y="501"/>
                  </a:cubicBezTo>
                  <a:cubicBezTo>
                    <a:pt x="362" y="502"/>
                    <a:pt x="362" y="503"/>
                    <a:pt x="361" y="504"/>
                  </a:cubicBezTo>
                  <a:cubicBezTo>
                    <a:pt x="361" y="505"/>
                    <a:pt x="360" y="506"/>
                    <a:pt x="360" y="507"/>
                  </a:cubicBezTo>
                  <a:cubicBezTo>
                    <a:pt x="359" y="508"/>
                    <a:pt x="359" y="508"/>
                    <a:pt x="359" y="508"/>
                  </a:cubicBezTo>
                  <a:cubicBezTo>
                    <a:pt x="359" y="508"/>
                    <a:pt x="359" y="508"/>
                    <a:pt x="359" y="508"/>
                  </a:cubicBezTo>
                  <a:cubicBezTo>
                    <a:pt x="358" y="511"/>
                    <a:pt x="358" y="512"/>
                    <a:pt x="359" y="515"/>
                  </a:cubicBezTo>
                  <a:cubicBezTo>
                    <a:pt x="359" y="520"/>
                    <a:pt x="360" y="522"/>
                    <a:pt x="364" y="524"/>
                  </a:cubicBezTo>
                  <a:cubicBezTo>
                    <a:pt x="365" y="526"/>
                    <a:pt x="367" y="526"/>
                    <a:pt x="369" y="527"/>
                  </a:cubicBezTo>
                  <a:cubicBezTo>
                    <a:pt x="373" y="528"/>
                    <a:pt x="374" y="531"/>
                    <a:pt x="375" y="534"/>
                  </a:cubicBezTo>
                  <a:cubicBezTo>
                    <a:pt x="376" y="535"/>
                    <a:pt x="376" y="536"/>
                    <a:pt x="376" y="537"/>
                  </a:cubicBezTo>
                  <a:cubicBezTo>
                    <a:pt x="377" y="538"/>
                    <a:pt x="377" y="539"/>
                    <a:pt x="377" y="540"/>
                  </a:cubicBezTo>
                  <a:cubicBezTo>
                    <a:pt x="378" y="541"/>
                    <a:pt x="378" y="541"/>
                    <a:pt x="378" y="541"/>
                  </a:cubicBezTo>
                  <a:cubicBezTo>
                    <a:pt x="378" y="541"/>
                    <a:pt x="378" y="541"/>
                    <a:pt x="378" y="541"/>
                  </a:cubicBezTo>
                  <a:cubicBezTo>
                    <a:pt x="379" y="543"/>
                    <a:pt x="380" y="544"/>
                    <a:pt x="381" y="546"/>
                  </a:cubicBezTo>
                  <a:cubicBezTo>
                    <a:pt x="382" y="551"/>
                    <a:pt x="382" y="551"/>
                    <a:pt x="382" y="551"/>
                  </a:cubicBezTo>
                  <a:cubicBezTo>
                    <a:pt x="379" y="550"/>
                    <a:pt x="379" y="550"/>
                    <a:pt x="379" y="550"/>
                  </a:cubicBezTo>
                  <a:cubicBezTo>
                    <a:pt x="378" y="552"/>
                    <a:pt x="378" y="554"/>
                    <a:pt x="377" y="556"/>
                  </a:cubicBezTo>
                  <a:cubicBezTo>
                    <a:pt x="377" y="557"/>
                    <a:pt x="377" y="557"/>
                    <a:pt x="377" y="557"/>
                  </a:cubicBezTo>
                  <a:cubicBezTo>
                    <a:pt x="377" y="558"/>
                    <a:pt x="377" y="559"/>
                    <a:pt x="377" y="560"/>
                  </a:cubicBezTo>
                  <a:cubicBezTo>
                    <a:pt x="376" y="560"/>
                    <a:pt x="376" y="560"/>
                    <a:pt x="376" y="560"/>
                  </a:cubicBezTo>
                  <a:cubicBezTo>
                    <a:pt x="376" y="561"/>
                    <a:pt x="376" y="561"/>
                    <a:pt x="376" y="562"/>
                  </a:cubicBezTo>
                  <a:cubicBezTo>
                    <a:pt x="376" y="563"/>
                    <a:pt x="375" y="564"/>
                    <a:pt x="375" y="565"/>
                  </a:cubicBezTo>
                  <a:cubicBezTo>
                    <a:pt x="374" y="567"/>
                    <a:pt x="374" y="568"/>
                    <a:pt x="373" y="570"/>
                  </a:cubicBezTo>
                  <a:cubicBezTo>
                    <a:pt x="371" y="573"/>
                    <a:pt x="371" y="573"/>
                    <a:pt x="371" y="573"/>
                  </a:cubicBezTo>
                  <a:cubicBezTo>
                    <a:pt x="371" y="574"/>
                    <a:pt x="370" y="575"/>
                    <a:pt x="370" y="576"/>
                  </a:cubicBezTo>
                  <a:cubicBezTo>
                    <a:pt x="369" y="578"/>
                    <a:pt x="369" y="578"/>
                    <a:pt x="369" y="578"/>
                  </a:cubicBezTo>
                  <a:cubicBezTo>
                    <a:pt x="369" y="579"/>
                    <a:pt x="368" y="580"/>
                    <a:pt x="368" y="582"/>
                  </a:cubicBezTo>
                  <a:cubicBezTo>
                    <a:pt x="373" y="583"/>
                    <a:pt x="373" y="583"/>
                    <a:pt x="373" y="583"/>
                  </a:cubicBezTo>
                  <a:cubicBezTo>
                    <a:pt x="367" y="583"/>
                    <a:pt x="367" y="583"/>
                    <a:pt x="367" y="583"/>
                  </a:cubicBezTo>
                  <a:cubicBezTo>
                    <a:pt x="368" y="584"/>
                    <a:pt x="368" y="584"/>
                    <a:pt x="368" y="584"/>
                  </a:cubicBezTo>
                  <a:cubicBezTo>
                    <a:pt x="369" y="584"/>
                    <a:pt x="369" y="584"/>
                    <a:pt x="369" y="584"/>
                  </a:cubicBezTo>
                  <a:cubicBezTo>
                    <a:pt x="371" y="586"/>
                    <a:pt x="372" y="588"/>
                    <a:pt x="372" y="590"/>
                  </a:cubicBezTo>
                  <a:cubicBezTo>
                    <a:pt x="372" y="592"/>
                    <a:pt x="370" y="592"/>
                    <a:pt x="369" y="593"/>
                  </a:cubicBezTo>
                  <a:cubicBezTo>
                    <a:pt x="368" y="593"/>
                    <a:pt x="368" y="593"/>
                    <a:pt x="368" y="593"/>
                  </a:cubicBezTo>
                  <a:cubicBezTo>
                    <a:pt x="367" y="593"/>
                    <a:pt x="367" y="593"/>
                    <a:pt x="367" y="593"/>
                  </a:cubicBezTo>
                  <a:cubicBezTo>
                    <a:pt x="367" y="594"/>
                    <a:pt x="366" y="594"/>
                    <a:pt x="365" y="595"/>
                  </a:cubicBezTo>
                  <a:cubicBezTo>
                    <a:pt x="365" y="595"/>
                    <a:pt x="365" y="595"/>
                    <a:pt x="365" y="595"/>
                  </a:cubicBezTo>
                  <a:cubicBezTo>
                    <a:pt x="351" y="610"/>
                    <a:pt x="351" y="610"/>
                    <a:pt x="351" y="610"/>
                  </a:cubicBezTo>
                  <a:cubicBezTo>
                    <a:pt x="360" y="593"/>
                    <a:pt x="360" y="593"/>
                    <a:pt x="360" y="593"/>
                  </a:cubicBezTo>
                  <a:cubicBezTo>
                    <a:pt x="360" y="592"/>
                    <a:pt x="360" y="592"/>
                    <a:pt x="360" y="592"/>
                  </a:cubicBezTo>
                  <a:cubicBezTo>
                    <a:pt x="360" y="590"/>
                    <a:pt x="360" y="590"/>
                    <a:pt x="360" y="588"/>
                  </a:cubicBezTo>
                  <a:cubicBezTo>
                    <a:pt x="360" y="588"/>
                    <a:pt x="360" y="588"/>
                    <a:pt x="360" y="588"/>
                  </a:cubicBezTo>
                  <a:cubicBezTo>
                    <a:pt x="360" y="587"/>
                    <a:pt x="360" y="587"/>
                    <a:pt x="360" y="587"/>
                  </a:cubicBezTo>
                  <a:cubicBezTo>
                    <a:pt x="360" y="587"/>
                    <a:pt x="360" y="587"/>
                    <a:pt x="360" y="587"/>
                  </a:cubicBezTo>
                  <a:cubicBezTo>
                    <a:pt x="341" y="575"/>
                    <a:pt x="341" y="575"/>
                    <a:pt x="341" y="575"/>
                  </a:cubicBezTo>
                  <a:cubicBezTo>
                    <a:pt x="340" y="575"/>
                    <a:pt x="338" y="575"/>
                    <a:pt x="337" y="575"/>
                  </a:cubicBezTo>
                  <a:cubicBezTo>
                    <a:pt x="334" y="575"/>
                    <a:pt x="334" y="575"/>
                    <a:pt x="334" y="575"/>
                  </a:cubicBezTo>
                  <a:cubicBezTo>
                    <a:pt x="334" y="575"/>
                    <a:pt x="333" y="575"/>
                    <a:pt x="333" y="575"/>
                  </a:cubicBezTo>
                  <a:cubicBezTo>
                    <a:pt x="331" y="575"/>
                    <a:pt x="329" y="575"/>
                    <a:pt x="327" y="575"/>
                  </a:cubicBezTo>
                  <a:cubicBezTo>
                    <a:pt x="326" y="575"/>
                    <a:pt x="326" y="575"/>
                    <a:pt x="326" y="575"/>
                  </a:cubicBezTo>
                  <a:cubicBezTo>
                    <a:pt x="323" y="575"/>
                    <a:pt x="319" y="576"/>
                    <a:pt x="315" y="577"/>
                  </a:cubicBezTo>
                  <a:cubicBezTo>
                    <a:pt x="313" y="577"/>
                    <a:pt x="313" y="577"/>
                    <a:pt x="313" y="577"/>
                  </a:cubicBezTo>
                  <a:cubicBezTo>
                    <a:pt x="310" y="578"/>
                    <a:pt x="307" y="579"/>
                    <a:pt x="304" y="579"/>
                  </a:cubicBezTo>
                  <a:cubicBezTo>
                    <a:pt x="300" y="580"/>
                    <a:pt x="295" y="581"/>
                    <a:pt x="291" y="582"/>
                  </a:cubicBezTo>
                  <a:cubicBezTo>
                    <a:pt x="283" y="583"/>
                    <a:pt x="283" y="583"/>
                    <a:pt x="283" y="583"/>
                  </a:cubicBezTo>
                  <a:cubicBezTo>
                    <a:pt x="282" y="583"/>
                    <a:pt x="281" y="584"/>
                    <a:pt x="281" y="585"/>
                  </a:cubicBezTo>
                  <a:cubicBezTo>
                    <a:pt x="280" y="587"/>
                    <a:pt x="280" y="587"/>
                    <a:pt x="280" y="587"/>
                  </a:cubicBezTo>
                  <a:cubicBezTo>
                    <a:pt x="280" y="589"/>
                    <a:pt x="279" y="592"/>
                    <a:pt x="277" y="594"/>
                  </a:cubicBezTo>
                  <a:cubicBezTo>
                    <a:pt x="277" y="595"/>
                    <a:pt x="276" y="595"/>
                    <a:pt x="275" y="596"/>
                  </a:cubicBezTo>
                  <a:cubicBezTo>
                    <a:pt x="275" y="597"/>
                    <a:pt x="274" y="599"/>
                    <a:pt x="272" y="601"/>
                  </a:cubicBezTo>
                  <a:cubicBezTo>
                    <a:pt x="272" y="601"/>
                    <a:pt x="272" y="602"/>
                    <a:pt x="271" y="603"/>
                  </a:cubicBezTo>
                  <a:cubicBezTo>
                    <a:pt x="271" y="604"/>
                    <a:pt x="271" y="605"/>
                    <a:pt x="271" y="606"/>
                  </a:cubicBezTo>
                  <a:cubicBezTo>
                    <a:pt x="271" y="610"/>
                    <a:pt x="271" y="610"/>
                    <a:pt x="271" y="610"/>
                  </a:cubicBezTo>
                  <a:cubicBezTo>
                    <a:pt x="270" y="611"/>
                    <a:pt x="270" y="612"/>
                    <a:pt x="270" y="614"/>
                  </a:cubicBezTo>
                  <a:cubicBezTo>
                    <a:pt x="270" y="617"/>
                    <a:pt x="269" y="620"/>
                    <a:pt x="267" y="624"/>
                  </a:cubicBezTo>
                  <a:cubicBezTo>
                    <a:pt x="267" y="625"/>
                    <a:pt x="267" y="625"/>
                    <a:pt x="267" y="625"/>
                  </a:cubicBezTo>
                  <a:cubicBezTo>
                    <a:pt x="267" y="626"/>
                    <a:pt x="266" y="627"/>
                    <a:pt x="266" y="628"/>
                  </a:cubicBezTo>
                  <a:cubicBezTo>
                    <a:pt x="265" y="633"/>
                    <a:pt x="265" y="633"/>
                    <a:pt x="265" y="633"/>
                  </a:cubicBezTo>
                  <a:cubicBezTo>
                    <a:pt x="264" y="634"/>
                    <a:pt x="263" y="637"/>
                    <a:pt x="263" y="639"/>
                  </a:cubicBezTo>
                  <a:cubicBezTo>
                    <a:pt x="262" y="640"/>
                    <a:pt x="262" y="641"/>
                    <a:pt x="262" y="642"/>
                  </a:cubicBezTo>
                  <a:cubicBezTo>
                    <a:pt x="262" y="643"/>
                    <a:pt x="262" y="643"/>
                    <a:pt x="262" y="643"/>
                  </a:cubicBezTo>
                  <a:cubicBezTo>
                    <a:pt x="262" y="643"/>
                    <a:pt x="263" y="644"/>
                    <a:pt x="266" y="646"/>
                  </a:cubicBezTo>
                  <a:cubicBezTo>
                    <a:pt x="266" y="646"/>
                    <a:pt x="267" y="647"/>
                    <a:pt x="267" y="647"/>
                  </a:cubicBezTo>
                  <a:cubicBezTo>
                    <a:pt x="268" y="648"/>
                    <a:pt x="268" y="648"/>
                    <a:pt x="269" y="649"/>
                  </a:cubicBezTo>
                  <a:cubicBezTo>
                    <a:pt x="270" y="650"/>
                    <a:pt x="271" y="651"/>
                    <a:pt x="272" y="653"/>
                  </a:cubicBezTo>
                  <a:cubicBezTo>
                    <a:pt x="272" y="653"/>
                    <a:pt x="272" y="653"/>
                    <a:pt x="272" y="653"/>
                  </a:cubicBezTo>
                  <a:cubicBezTo>
                    <a:pt x="272" y="654"/>
                    <a:pt x="272" y="654"/>
                    <a:pt x="272" y="654"/>
                  </a:cubicBezTo>
                  <a:cubicBezTo>
                    <a:pt x="275" y="652"/>
                    <a:pt x="275" y="652"/>
                    <a:pt x="275" y="652"/>
                  </a:cubicBezTo>
                  <a:cubicBezTo>
                    <a:pt x="273" y="655"/>
                    <a:pt x="273" y="655"/>
                    <a:pt x="273" y="655"/>
                  </a:cubicBezTo>
                  <a:cubicBezTo>
                    <a:pt x="274" y="656"/>
                    <a:pt x="274" y="656"/>
                    <a:pt x="274" y="656"/>
                  </a:cubicBezTo>
                  <a:cubicBezTo>
                    <a:pt x="274" y="656"/>
                    <a:pt x="274" y="657"/>
                    <a:pt x="275" y="657"/>
                  </a:cubicBezTo>
                  <a:cubicBezTo>
                    <a:pt x="276" y="659"/>
                    <a:pt x="276" y="659"/>
                    <a:pt x="276" y="659"/>
                  </a:cubicBezTo>
                  <a:cubicBezTo>
                    <a:pt x="277" y="659"/>
                    <a:pt x="277" y="660"/>
                    <a:pt x="278" y="661"/>
                  </a:cubicBezTo>
                  <a:cubicBezTo>
                    <a:pt x="281" y="664"/>
                    <a:pt x="281" y="664"/>
                    <a:pt x="281" y="664"/>
                  </a:cubicBezTo>
                  <a:cubicBezTo>
                    <a:pt x="281" y="665"/>
                    <a:pt x="282" y="665"/>
                    <a:pt x="282" y="666"/>
                  </a:cubicBezTo>
                  <a:cubicBezTo>
                    <a:pt x="284" y="667"/>
                    <a:pt x="284" y="667"/>
                    <a:pt x="284" y="667"/>
                  </a:cubicBezTo>
                  <a:cubicBezTo>
                    <a:pt x="285" y="668"/>
                    <a:pt x="285" y="668"/>
                    <a:pt x="285" y="668"/>
                  </a:cubicBezTo>
                  <a:cubicBezTo>
                    <a:pt x="287" y="669"/>
                    <a:pt x="288" y="671"/>
                    <a:pt x="289" y="672"/>
                  </a:cubicBezTo>
                  <a:cubicBezTo>
                    <a:pt x="290" y="672"/>
                    <a:pt x="290" y="672"/>
                    <a:pt x="290" y="672"/>
                  </a:cubicBezTo>
                  <a:cubicBezTo>
                    <a:pt x="291" y="674"/>
                    <a:pt x="292" y="675"/>
                    <a:pt x="294" y="676"/>
                  </a:cubicBezTo>
                  <a:cubicBezTo>
                    <a:pt x="297" y="678"/>
                    <a:pt x="299" y="680"/>
                    <a:pt x="302" y="681"/>
                  </a:cubicBezTo>
                  <a:cubicBezTo>
                    <a:pt x="302" y="681"/>
                    <a:pt x="302" y="681"/>
                    <a:pt x="302" y="681"/>
                  </a:cubicBezTo>
                  <a:cubicBezTo>
                    <a:pt x="303" y="681"/>
                    <a:pt x="303" y="681"/>
                    <a:pt x="303" y="681"/>
                  </a:cubicBezTo>
                  <a:cubicBezTo>
                    <a:pt x="303" y="681"/>
                    <a:pt x="303" y="681"/>
                    <a:pt x="303" y="681"/>
                  </a:cubicBezTo>
                  <a:cubicBezTo>
                    <a:pt x="305" y="682"/>
                    <a:pt x="308" y="682"/>
                    <a:pt x="310" y="682"/>
                  </a:cubicBezTo>
                  <a:cubicBezTo>
                    <a:pt x="311" y="682"/>
                    <a:pt x="312" y="683"/>
                    <a:pt x="313" y="683"/>
                  </a:cubicBezTo>
                  <a:cubicBezTo>
                    <a:pt x="316" y="683"/>
                    <a:pt x="318" y="684"/>
                    <a:pt x="321" y="685"/>
                  </a:cubicBezTo>
                  <a:cubicBezTo>
                    <a:pt x="324" y="686"/>
                    <a:pt x="326" y="688"/>
                    <a:pt x="329" y="690"/>
                  </a:cubicBezTo>
                  <a:cubicBezTo>
                    <a:pt x="331" y="691"/>
                    <a:pt x="331" y="691"/>
                    <a:pt x="331" y="691"/>
                  </a:cubicBezTo>
                  <a:cubicBezTo>
                    <a:pt x="333" y="693"/>
                    <a:pt x="334" y="694"/>
                    <a:pt x="336" y="695"/>
                  </a:cubicBezTo>
                  <a:cubicBezTo>
                    <a:pt x="344" y="700"/>
                    <a:pt x="353" y="705"/>
                    <a:pt x="361" y="709"/>
                  </a:cubicBezTo>
                  <a:cubicBezTo>
                    <a:pt x="365" y="711"/>
                    <a:pt x="370" y="713"/>
                    <a:pt x="374" y="715"/>
                  </a:cubicBezTo>
                  <a:cubicBezTo>
                    <a:pt x="376" y="716"/>
                    <a:pt x="377" y="718"/>
                    <a:pt x="378" y="721"/>
                  </a:cubicBezTo>
                  <a:cubicBezTo>
                    <a:pt x="379" y="723"/>
                    <a:pt x="378" y="726"/>
                    <a:pt x="377" y="728"/>
                  </a:cubicBezTo>
                  <a:cubicBezTo>
                    <a:pt x="376" y="731"/>
                    <a:pt x="374" y="733"/>
                    <a:pt x="372" y="736"/>
                  </a:cubicBezTo>
                  <a:cubicBezTo>
                    <a:pt x="371" y="738"/>
                    <a:pt x="369" y="739"/>
                    <a:pt x="368" y="741"/>
                  </a:cubicBezTo>
                  <a:cubicBezTo>
                    <a:pt x="365" y="746"/>
                    <a:pt x="363" y="751"/>
                    <a:pt x="361" y="757"/>
                  </a:cubicBezTo>
                  <a:cubicBezTo>
                    <a:pt x="361" y="759"/>
                    <a:pt x="361" y="759"/>
                    <a:pt x="361" y="759"/>
                  </a:cubicBezTo>
                  <a:cubicBezTo>
                    <a:pt x="360" y="761"/>
                    <a:pt x="358" y="763"/>
                    <a:pt x="356" y="764"/>
                  </a:cubicBezTo>
                  <a:cubicBezTo>
                    <a:pt x="355" y="765"/>
                    <a:pt x="355" y="765"/>
                    <a:pt x="354" y="766"/>
                  </a:cubicBezTo>
                  <a:cubicBezTo>
                    <a:pt x="354" y="766"/>
                    <a:pt x="354" y="766"/>
                    <a:pt x="354" y="766"/>
                  </a:cubicBezTo>
                  <a:cubicBezTo>
                    <a:pt x="358" y="765"/>
                    <a:pt x="360" y="765"/>
                    <a:pt x="363" y="765"/>
                  </a:cubicBezTo>
                  <a:cubicBezTo>
                    <a:pt x="366" y="765"/>
                    <a:pt x="369" y="766"/>
                    <a:pt x="372" y="766"/>
                  </a:cubicBezTo>
                  <a:cubicBezTo>
                    <a:pt x="372" y="766"/>
                    <a:pt x="372" y="766"/>
                    <a:pt x="372" y="766"/>
                  </a:cubicBezTo>
                  <a:cubicBezTo>
                    <a:pt x="374" y="766"/>
                    <a:pt x="376" y="767"/>
                    <a:pt x="378" y="768"/>
                  </a:cubicBezTo>
                  <a:cubicBezTo>
                    <a:pt x="380" y="768"/>
                    <a:pt x="382" y="769"/>
                    <a:pt x="385" y="769"/>
                  </a:cubicBezTo>
                  <a:cubicBezTo>
                    <a:pt x="386" y="769"/>
                    <a:pt x="386" y="769"/>
                    <a:pt x="387" y="769"/>
                  </a:cubicBezTo>
                  <a:cubicBezTo>
                    <a:pt x="389" y="769"/>
                    <a:pt x="389" y="769"/>
                    <a:pt x="389" y="769"/>
                  </a:cubicBezTo>
                  <a:cubicBezTo>
                    <a:pt x="390" y="769"/>
                    <a:pt x="391" y="769"/>
                    <a:pt x="392" y="769"/>
                  </a:cubicBezTo>
                  <a:cubicBezTo>
                    <a:pt x="394" y="769"/>
                    <a:pt x="397" y="769"/>
                    <a:pt x="399" y="770"/>
                  </a:cubicBezTo>
                  <a:cubicBezTo>
                    <a:pt x="400" y="770"/>
                    <a:pt x="401" y="771"/>
                    <a:pt x="402" y="771"/>
                  </a:cubicBezTo>
                  <a:cubicBezTo>
                    <a:pt x="403" y="772"/>
                    <a:pt x="403" y="772"/>
                    <a:pt x="403" y="772"/>
                  </a:cubicBezTo>
                  <a:cubicBezTo>
                    <a:pt x="403" y="772"/>
                    <a:pt x="403" y="772"/>
                    <a:pt x="403" y="772"/>
                  </a:cubicBezTo>
                  <a:cubicBezTo>
                    <a:pt x="404" y="771"/>
                    <a:pt x="404" y="771"/>
                    <a:pt x="405" y="771"/>
                  </a:cubicBezTo>
                  <a:cubicBezTo>
                    <a:pt x="406" y="770"/>
                    <a:pt x="406" y="770"/>
                    <a:pt x="406" y="770"/>
                  </a:cubicBezTo>
                  <a:cubicBezTo>
                    <a:pt x="407" y="769"/>
                    <a:pt x="409" y="768"/>
                    <a:pt x="411" y="767"/>
                  </a:cubicBezTo>
                  <a:cubicBezTo>
                    <a:pt x="412" y="767"/>
                    <a:pt x="412" y="767"/>
                    <a:pt x="412" y="767"/>
                  </a:cubicBezTo>
                  <a:cubicBezTo>
                    <a:pt x="412" y="767"/>
                    <a:pt x="413" y="766"/>
                    <a:pt x="413" y="766"/>
                  </a:cubicBezTo>
                  <a:cubicBezTo>
                    <a:pt x="414" y="767"/>
                    <a:pt x="415" y="767"/>
                    <a:pt x="416" y="768"/>
                  </a:cubicBezTo>
                  <a:cubicBezTo>
                    <a:pt x="417" y="768"/>
                    <a:pt x="417" y="768"/>
                    <a:pt x="417" y="768"/>
                  </a:cubicBezTo>
                  <a:cubicBezTo>
                    <a:pt x="417" y="768"/>
                    <a:pt x="417" y="768"/>
                    <a:pt x="417" y="768"/>
                  </a:cubicBezTo>
                  <a:cubicBezTo>
                    <a:pt x="417" y="768"/>
                    <a:pt x="417" y="768"/>
                    <a:pt x="418" y="768"/>
                  </a:cubicBezTo>
                  <a:cubicBezTo>
                    <a:pt x="418" y="767"/>
                    <a:pt x="418" y="767"/>
                    <a:pt x="418" y="767"/>
                  </a:cubicBezTo>
                  <a:cubicBezTo>
                    <a:pt x="418" y="767"/>
                    <a:pt x="419" y="767"/>
                    <a:pt x="419" y="767"/>
                  </a:cubicBezTo>
                  <a:cubicBezTo>
                    <a:pt x="419" y="767"/>
                    <a:pt x="419" y="767"/>
                    <a:pt x="419" y="767"/>
                  </a:cubicBezTo>
                  <a:cubicBezTo>
                    <a:pt x="419" y="763"/>
                    <a:pt x="422" y="761"/>
                    <a:pt x="423" y="761"/>
                  </a:cubicBezTo>
                  <a:cubicBezTo>
                    <a:pt x="423" y="760"/>
                    <a:pt x="425" y="760"/>
                    <a:pt x="426" y="759"/>
                  </a:cubicBezTo>
                  <a:cubicBezTo>
                    <a:pt x="428" y="758"/>
                    <a:pt x="429" y="757"/>
                    <a:pt x="431" y="755"/>
                  </a:cubicBezTo>
                  <a:cubicBezTo>
                    <a:pt x="432" y="754"/>
                    <a:pt x="434" y="752"/>
                    <a:pt x="436" y="751"/>
                  </a:cubicBezTo>
                  <a:cubicBezTo>
                    <a:pt x="438" y="749"/>
                    <a:pt x="439" y="748"/>
                    <a:pt x="439" y="747"/>
                  </a:cubicBezTo>
                  <a:cubicBezTo>
                    <a:pt x="441" y="741"/>
                    <a:pt x="441" y="734"/>
                    <a:pt x="442" y="727"/>
                  </a:cubicBezTo>
                  <a:cubicBezTo>
                    <a:pt x="443" y="720"/>
                    <a:pt x="443" y="720"/>
                    <a:pt x="443" y="720"/>
                  </a:cubicBezTo>
                  <a:cubicBezTo>
                    <a:pt x="448" y="724"/>
                    <a:pt x="448" y="724"/>
                    <a:pt x="448" y="724"/>
                  </a:cubicBezTo>
                  <a:cubicBezTo>
                    <a:pt x="448" y="724"/>
                    <a:pt x="448" y="724"/>
                    <a:pt x="448" y="724"/>
                  </a:cubicBezTo>
                  <a:cubicBezTo>
                    <a:pt x="451" y="720"/>
                    <a:pt x="451" y="720"/>
                    <a:pt x="451" y="720"/>
                  </a:cubicBezTo>
                  <a:cubicBezTo>
                    <a:pt x="450" y="725"/>
                    <a:pt x="450" y="725"/>
                    <a:pt x="450" y="725"/>
                  </a:cubicBezTo>
                  <a:cubicBezTo>
                    <a:pt x="450" y="725"/>
                    <a:pt x="451" y="725"/>
                    <a:pt x="451" y="724"/>
                  </a:cubicBezTo>
                  <a:cubicBezTo>
                    <a:pt x="452" y="724"/>
                    <a:pt x="452" y="724"/>
                    <a:pt x="453" y="723"/>
                  </a:cubicBezTo>
                  <a:cubicBezTo>
                    <a:pt x="453" y="723"/>
                    <a:pt x="454" y="723"/>
                    <a:pt x="455" y="723"/>
                  </a:cubicBezTo>
                  <a:cubicBezTo>
                    <a:pt x="456" y="723"/>
                    <a:pt x="456" y="723"/>
                    <a:pt x="457" y="723"/>
                  </a:cubicBezTo>
                  <a:cubicBezTo>
                    <a:pt x="458" y="723"/>
                    <a:pt x="458" y="723"/>
                    <a:pt x="458" y="723"/>
                  </a:cubicBezTo>
                  <a:cubicBezTo>
                    <a:pt x="459" y="723"/>
                    <a:pt x="461" y="724"/>
                    <a:pt x="462" y="725"/>
                  </a:cubicBezTo>
                  <a:cubicBezTo>
                    <a:pt x="462" y="726"/>
                    <a:pt x="462" y="726"/>
                    <a:pt x="462" y="726"/>
                  </a:cubicBezTo>
                  <a:cubicBezTo>
                    <a:pt x="463" y="726"/>
                    <a:pt x="463" y="726"/>
                    <a:pt x="463" y="727"/>
                  </a:cubicBezTo>
                  <a:cubicBezTo>
                    <a:pt x="469" y="739"/>
                    <a:pt x="469" y="739"/>
                    <a:pt x="469" y="739"/>
                  </a:cubicBezTo>
                  <a:cubicBezTo>
                    <a:pt x="471" y="743"/>
                    <a:pt x="470" y="748"/>
                    <a:pt x="469" y="752"/>
                  </a:cubicBezTo>
                  <a:cubicBezTo>
                    <a:pt x="469" y="753"/>
                    <a:pt x="469" y="753"/>
                    <a:pt x="469" y="753"/>
                  </a:cubicBezTo>
                  <a:cubicBezTo>
                    <a:pt x="469" y="754"/>
                    <a:pt x="469" y="755"/>
                    <a:pt x="468" y="756"/>
                  </a:cubicBezTo>
                  <a:cubicBezTo>
                    <a:pt x="468" y="756"/>
                    <a:pt x="468" y="757"/>
                    <a:pt x="468" y="757"/>
                  </a:cubicBezTo>
                  <a:cubicBezTo>
                    <a:pt x="468" y="759"/>
                    <a:pt x="468" y="759"/>
                    <a:pt x="468" y="759"/>
                  </a:cubicBezTo>
                  <a:cubicBezTo>
                    <a:pt x="467" y="760"/>
                    <a:pt x="467" y="760"/>
                    <a:pt x="467" y="761"/>
                  </a:cubicBezTo>
                  <a:cubicBezTo>
                    <a:pt x="467" y="763"/>
                    <a:pt x="467" y="763"/>
                    <a:pt x="467" y="763"/>
                  </a:cubicBezTo>
                  <a:cubicBezTo>
                    <a:pt x="466" y="763"/>
                    <a:pt x="466" y="763"/>
                    <a:pt x="466" y="764"/>
                  </a:cubicBezTo>
                  <a:cubicBezTo>
                    <a:pt x="466" y="765"/>
                    <a:pt x="465" y="766"/>
                    <a:pt x="465" y="767"/>
                  </a:cubicBezTo>
                  <a:cubicBezTo>
                    <a:pt x="464" y="768"/>
                    <a:pt x="463" y="768"/>
                    <a:pt x="462" y="769"/>
                  </a:cubicBezTo>
                  <a:cubicBezTo>
                    <a:pt x="461" y="769"/>
                    <a:pt x="461" y="769"/>
                    <a:pt x="461" y="769"/>
                  </a:cubicBezTo>
                  <a:cubicBezTo>
                    <a:pt x="461" y="770"/>
                    <a:pt x="460" y="770"/>
                    <a:pt x="460" y="770"/>
                  </a:cubicBezTo>
                  <a:cubicBezTo>
                    <a:pt x="454" y="773"/>
                    <a:pt x="449" y="775"/>
                    <a:pt x="443" y="777"/>
                  </a:cubicBezTo>
                  <a:cubicBezTo>
                    <a:pt x="441" y="777"/>
                    <a:pt x="440" y="779"/>
                    <a:pt x="438" y="780"/>
                  </a:cubicBezTo>
                  <a:cubicBezTo>
                    <a:pt x="437" y="781"/>
                    <a:pt x="436" y="782"/>
                    <a:pt x="436" y="783"/>
                  </a:cubicBezTo>
                  <a:cubicBezTo>
                    <a:pt x="435" y="783"/>
                    <a:pt x="434" y="784"/>
                    <a:pt x="433" y="785"/>
                  </a:cubicBezTo>
                  <a:cubicBezTo>
                    <a:pt x="432" y="785"/>
                    <a:pt x="432" y="785"/>
                    <a:pt x="432" y="785"/>
                  </a:cubicBezTo>
                  <a:cubicBezTo>
                    <a:pt x="432" y="786"/>
                    <a:pt x="431" y="787"/>
                    <a:pt x="430" y="787"/>
                  </a:cubicBezTo>
                  <a:cubicBezTo>
                    <a:pt x="430" y="787"/>
                    <a:pt x="430" y="788"/>
                    <a:pt x="429" y="788"/>
                  </a:cubicBezTo>
                  <a:cubicBezTo>
                    <a:pt x="429" y="789"/>
                    <a:pt x="428" y="789"/>
                    <a:pt x="428" y="790"/>
                  </a:cubicBezTo>
                  <a:cubicBezTo>
                    <a:pt x="427" y="790"/>
                    <a:pt x="427" y="790"/>
                    <a:pt x="427" y="790"/>
                  </a:cubicBezTo>
                  <a:cubicBezTo>
                    <a:pt x="427" y="790"/>
                    <a:pt x="427" y="791"/>
                    <a:pt x="426" y="791"/>
                  </a:cubicBezTo>
                  <a:cubicBezTo>
                    <a:pt x="426" y="791"/>
                    <a:pt x="426" y="791"/>
                    <a:pt x="426" y="791"/>
                  </a:cubicBezTo>
                  <a:cubicBezTo>
                    <a:pt x="425" y="791"/>
                    <a:pt x="425" y="791"/>
                    <a:pt x="424" y="791"/>
                  </a:cubicBezTo>
                  <a:cubicBezTo>
                    <a:pt x="423" y="792"/>
                    <a:pt x="423" y="792"/>
                    <a:pt x="423" y="792"/>
                  </a:cubicBezTo>
                  <a:cubicBezTo>
                    <a:pt x="422" y="792"/>
                    <a:pt x="421" y="793"/>
                    <a:pt x="421" y="793"/>
                  </a:cubicBezTo>
                  <a:cubicBezTo>
                    <a:pt x="421" y="793"/>
                    <a:pt x="421" y="793"/>
                    <a:pt x="421" y="793"/>
                  </a:cubicBezTo>
                  <a:cubicBezTo>
                    <a:pt x="422" y="794"/>
                    <a:pt x="422" y="795"/>
                    <a:pt x="422" y="796"/>
                  </a:cubicBezTo>
                  <a:cubicBezTo>
                    <a:pt x="423" y="799"/>
                    <a:pt x="423" y="799"/>
                    <a:pt x="423" y="799"/>
                  </a:cubicBezTo>
                  <a:cubicBezTo>
                    <a:pt x="420" y="799"/>
                    <a:pt x="420" y="799"/>
                    <a:pt x="420" y="799"/>
                  </a:cubicBezTo>
                  <a:cubicBezTo>
                    <a:pt x="419" y="799"/>
                    <a:pt x="419" y="799"/>
                    <a:pt x="419" y="799"/>
                  </a:cubicBezTo>
                  <a:cubicBezTo>
                    <a:pt x="416" y="801"/>
                    <a:pt x="412" y="805"/>
                    <a:pt x="410" y="807"/>
                  </a:cubicBezTo>
                  <a:cubicBezTo>
                    <a:pt x="407" y="810"/>
                    <a:pt x="405" y="812"/>
                    <a:pt x="403" y="815"/>
                  </a:cubicBezTo>
                  <a:cubicBezTo>
                    <a:pt x="402" y="817"/>
                    <a:pt x="401" y="818"/>
                    <a:pt x="400" y="819"/>
                  </a:cubicBezTo>
                  <a:cubicBezTo>
                    <a:pt x="394" y="827"/>
                    <a:pt x="387" y="833"/>
                    <a:pt x="381" y="840"/>
                  </a:cubicBezTo>
                  <a:cubicBezTo>
                    <a:pt x="381" y="840"/>
                    <a:pt x="381" y="840"/>
                    <a:pt x="381" y="840"/>
                  </a:cubicBezTo>
                  <a:cubicBezTo>
                    <a:pt x="381" y="840"/>
                    <a:pt x="383" y="841"/>
                    <a:pt x="383" y="841"/>
                  </a:cubicBezTo>
                  <a:cubicBezTo>
                    <a:pt x="383" y="841"/>
                    <a:pt x="383" y="841"/>
                    <a:pt x="383" y="841"/>
                  </a:cubicBezTo>
                  <a:cubicBezTo>
                    <a:pt x="384" y="840"/>
                    <a:pt x="384" y="839"/>
                    <a:pt x="385" y="838"/>
                  </a:cubicBezTo>
                  <a:cubicBezTo>
                    <a:pt x="386" y="837"/>
                    <a:pt x="388" y="836"/>
                    <a:pt x="390" y="836"/>
                  </a:cubicBezTo>
                  <a:cubicBezTo>
                    <a:pt x="393" y="836"/>
                    <a:pt x="396" y="837"/>
                    <a:pt x="398" y="839"/>
                  </a:cubicBezTo>
                  <a:cubicBezTo>
                    <a:pt x="400" y="840"/>
                    <a:pt x="401" y="842"/>
                    <a:pt x="403" y="844"/>
                  </a:cubicBezTo>
                  <a:cubicBezTo>
                    <a:pt x="405" y="845"/>
                    <a:pt x="407" y="847"/>
                    <a:pt x="409" y="848"/>
                  </a:cubicBezTo>
                  <a:cubicBezTo>
                    <a:pt x="414" y="853"/>
                    <a:pt x="414" y="853"/>
                    <a:pt x="414" y="853"/>
                  </a:cubicBezTo>
                  <a:cubicBezTo>
                    <a:pt x="414" y="854"/>
                    <a:pt x="416" y="857"/>
                    <a:pt x="416" y="860"/>
                  </a:cubicBezTo>
                  <a:cubicBezTo>
                    <a:pt x="417" y="860"/>
                    <a:pt x="417" y="860"/>
                    <a:pt x="417" y="860"/>
                  </a:cubicBezTo>
                  <a:cubicBezTo>
                    <a:pt x="417" y="860"/>
                    <a:pt x="417" y="860"/>
                    <a:pt x="417" y="860"/>
                  </a:cubicBezTo>
                  <a:cubicBezTo>
                    <a:pt x="417" y="859"/>
                    <a:pt x="418" y="859"/>
                    <a:pt x="418" y="859"/>
                  </a:cubicBezTo>
                  <a:cubicBezTo>
                    <a:pt x="418" y="858"/>
                    <a:pt x="418" y="858"/>
                    <a:pt x="418" y="858"/>
                  </a:cubicBezTo>
                  <a:cubicBezTo>
                    <a:pt x="418" y="857"/>
                    <a:pt x="418" y="857"/>
                    <a:pt x="418" y="857"/>
                  </a:cubicBezTo>
                  <a:cubicBezTo>
                    <a:pt x="418" y="858"/>
                    <a:pt x="418" y="858"/>
                    <a:pt x="418" y="858"/>
                  </a:cubicBezTo>
                  <a:cubicBezTo>
                    <a:pt x="419" y="857"/>
                    <a:pt x="419" y="856"/>
                    <a:pt x="421" y="855"/>
                  </a:cubicBezTo>
                  <a:cubicBezTo>
                    <a:pt x="421" y="855"/>
                    <a:pt x="422" y="855"/>
                    <a:pt x="422" y="855"/>
                  </a:cubicBezTo>
                  <a:cubicBezTo>
                    <a:pt x="425" y="855"/>
                    <a:pt x="427" y="859"/>
                    <a:pt x="430" y="863"/>
                  </a:cubicBezTo>
                  <a:cubicBezTo>
                    <a:pt x="430" y="863"/>
                    <a:pt x="430" y="863"/>
                    <a:pt x="430" y="863"/>
                  </a:cubicBezTo>
                  <a:cubicBezTo>
                    <a:pt x="431" y="864"/>
                    <a:pt x="432" y="866"/>
                    <a:pt x="432" y="866"/>
                  </a:cubicBezTo>
                  <a:cubicBezTo>
                    <a:pt x="433" y="867"/>
                    <a:pt x="436" y="868"/>
                    <a:pt x="438" y="868"/>
                  </a:cubicBezTo>
                  <a:cubicBezTo>
                    <a:pt x="441" y="869"/>
                    <a:pt x="444" y="870"/>
                    <a:pt x="446" y="871"/>
                  </a:cubicBezTo>
                  <a:cubicBezTo>
                    <a:pt x="448" y="873"/>
                    <a:pt x="449" y="874"/>
                    <a:pt x="450" y="876"/>
                  </a:cubicBezTo>
                  <a:cubicBezTo>
                    <a:pt x="450" y="876"/>
                    <a:pt x="450" y="876"/>
                    <a:pt x="450" y="876"/>
                  </a:cubicBezTo>
                  <a:cubicBezTo>
                    <a:pt x="451" y="878"/>
                    <a:pt x="452" y="878"/>
                    <a:pt x="454" y="879"/>
                  </a:cubicBezTo>
                  <a:cubicBezTo>
                    <a:pt x="455" y="880"/>
                    <a:pt x="455" y="880"/>
                    <a:pt x="455" y="880"/>
                  </a:cubicBezTo>
                  <a:cubicBezTo>
                    <a:pt x="455" y="880"/>
                    <a:pt x="456" y="880"/>
                    <a:pt x="456" y="880"/>
                  </a:cubicBezTo>
                  <a:cubicBezTo>
                    <a:pt x="457" y="881"/>
                    <a:pt x="457" y="881"/>
                    <a:pt x="458" y="881"/>
                  </a:cubicBezTo>
                  <a:cubicBezTo>
                    <a:pt x="460" y="882"/>
                    <a:pt x="462" y="883"/>
                    <a:pt x="464" y="885"/>
                  </a:cubicBezTo>
                  <a:cubicBezTo>
                    <a:pt x="465" y="887"/>
                    <a:pt x="465" y="887"/>
                    <a:pt x="465" y="887"/>
                  </a:cubicBezTo>
                  <a:cubicBezTo>
                    <a:pt x="466" y="889"/>
                    <a:pt x="467" y="890"/>
                    <a:pt x="468" y="892"/>
                  </a:cubicBezTo>
                  <a:cubicBezTo>
                    <a:pt x="469" y="894"/>
                    <a:pt x="469" y="894"/>
                    <a:pt x="469" y="894"/>
                  </a:cubicBezTo>
                  <a:cubicBezTo>
                    <a:pt x="471" y="897"/>
                    <a:pt x="474" y="899"/>
                    <a:pt x="478" y="901"/>
                  </a:cubicBezTo>
                  <a:cubicBezTo>
                    <a:pt x="482" y="903"/>
                    <a:pt x="482" y="903"/>
                    <a:pt x="482" y="903"/>
                  </a:cubicBezTo>
                  <a:cubicBezTo>
                    <a:pt x="481" y="906"/>
                    <a:pt x="481" y="906"/>
                    <a:pt x="481" y="906"/>
                  </a:cubicBezTo>
                  <a:cubicBezTo>
                    <a:pt x="480" y="908"/>
                    <a:pt x="479" y="909"/>
                    <a:pt x="477" y="911"/>
                  </a:cubicBezTo>
                  <a:cubicBezTo>
                    <a:pt x="476" y="913"/>
                    <a:pt x="474" y="915"/>
                    <a:pt x="473" y="917"/>
                  </a:cubicBezTo>
                  <a:cubicBezTo>
                    <a:pt x="472" y="919"/>
                    <a:pt x="472" y="926"/>
                    <a:pt x="473" y="927"/>
                  </a:cubicBezTo>
                  <a:cubicBezTo>
                    <a:pt x="473" y="928"/>
                    <a:pt x="473" y="928"/>
                    <a:pt x="473" y="928"/>
                  </a:cubicBezTo>
                  <a:cubicBezTo>
                    <a:pt x="474" y="929"/>
                    <a:pt x="474" y="929"/>
                    <a:pt x="474" y="929"/>
                  </a:cubicBezTo>
                  <a:cubicBezTo>
                    <a:pt x="474" y="930"/>
                    <a:pt x="474" y="930"/>
                    <a:pt x="474" y="930"/>
                  </a:cubicBezTo>
                  <a:cubicBezTo>
                    <a:pt x="474" y="930"/>
                    <a:pt x="474" y="930"/>
                    <a:pt x="474" y="930"/>
                  </a:cubicBezTo>
                  <a:cubicBezTo>
                    <a:pt x="477" y="928"/>
                    <a:pt x="477" y="928"/>
                    <a:pt x="477" y="928"/>
                  </a:cubicBezTo>
                  <a:cubicBezTo>
                    <a:pt x="476" y="931"/>
                    <a:pt x="476" y="931"/>
                    <a:pt x="476" y="931"/>
                  </a:cubicBezTo>
                  <a:cubicBezTo>
                    <a:pt x="478" y="929"/>
                    <a:pt x="481" y="927"/>
                    <a:pt x="483" y="924"/>
                  </a:cubicBezTo>
                  <a:cubicBezTo>
                    <a:pt x="486" y="922"/>
                    <a:pt x="489" y="919"/>
                    <a:pt x="491" y="915"/>
                  </a:cubicBezTo>
                  <a:cubicBezTo>
                    <a:pt x="493" y="911"/>
                    <a:pt x="494" y="906"/>
                    <a:pt x="497" y="902"/>
                  </a:cubicBezTo>
                  <a:cubicBezTo>
                    <a:pt x="499" y="899"/>
                    <a:pt x="503" y="895"/>
                    <a:pt x="503" y="890"/>
                  </a:cubicBezTo>
                  <a:cubicBezTo>
                    <a:pt x="504" y="889"/>
                    <a:pt x="503" y="888"/>
                    <a:pt x="503" y="888"/>
                  </a:cubicBezTo>
                  <a:cubicBezTo>
                    <a:pt x="503" y="888"/>
                    <a:pt x="502" y="889"/>
                    <a:pt x="502" y="889"/>
                  </a:cubicBezTo>
                  <a:cubicBezTo>
                    <a:pt x="502" y="888"/>
                    <a:pt x="502" y="887"/>
                    <a:pt x="502" y="886"/>
                  </a:cubicBezTo>
                  <a:cubicBezTo>
                    <a:pt x="502" y="884"/>
                    <a:pt x="500" y="883"/>
                    <a:pt x="500" y="882"/>
                  </a:cubicBezTo>
                  <a:cubicBezTo>
                    <a:pt x="500" y="880"/>
                    <a:pt x="502" y="877"/>
                    <a:pt x="504" y="877"/>
                  </a:cubicBezTo>
                  <a:cubicBezTo>
                    <a:pt x="504" y="877"/>
                    <a:pt x="505" y="877"/>
                    <a:pt x="505" y="878"/>
                  </a:cubicBezTo>
                  <a:cubicBezTo>
                    <a:pt x="506" y="875"/>
                    <a:pt x="506" y="872"/>
                    <a:pt x="508" y="870"/>
                  </a:cubicBezTo>
                  <a:cubicBezTo>
                    <a:pt x="510" y="868"/>
                    <a:pt x="515" y="866"/>
                    <a:pt x="518" y="864"/>
                  </a:cubicBezTo>
                  <a:cubicBezTo>
                    <a:pt x="518" y="862"/>
                    <a:pt x="520" y="859"/>
                    <a:pt x="520" y="856"/>
                  </a:cubicBezTo>
                  <a:cubicBezTo>
                    <a:pt x="520" y="854"/>
                    <a:pt x="520" y="853"/>
                    <a:pt x="520" y="853"/>
                  </a:cubicBezTo>
                  <a:cubicBezTo>
                    <a:pt x="521" y="853"/>
                    <a:pt x="522" y="855"/>
                    <a:pt x="522" y="856"/>
                  </a:cubicBezTo>
                  <a:cubicBezTo>
                    <a:pt x="522" y="855"/>
                    <a:pt x="522" y="854"/>
                    <a:pt x="522" y="853"/>
                  </a:cubicBezTo>
                  <a:cubicBezTo>
                    <a:pt x="522" y="852"/>
                    <a:pt x="522" y="850"/>
                    <a:pt x="523" y="849"/>
                  </a:cubicBezTo>
                  <a:cubicBezTo>
                    <a:pt x="524" y="847"/>
                    <a:pt x="526" y="846"/>
                    <a:pt x="527" y="845"/>
                  </a:cubicBezTo>
                  <a:cubicBezTo>
                    <a:pt x="526" y="845"/>
                    <a:pt x="526" y="845"/>
                    <a:pt x="525" y="846"/>
                  </a:cubicBezTo>
                  <a:cubicBezTo>
                    <a:pt x="524" y="842"/>
                    <a:pt x="523" y="840"/>
                    <a:pt x="523" y="837"/>
                  </a:cubicBezTo>
                  <a:cubicBezTo>
                    <a:pt x="524" y="838"/>
                    <a:pt x="523" y="841"/>
                    <a:pt x="525" y="842"/>
                  </a:cubicBezTo>
                  <a:cubicBezTo>
                    <a:pt x="526" y="843"/>
                    <a:pt x="528" y="843"/>
                    <a:pt x="531" y="843"/>
                  </a:cubicBezTo>
                  <a:cubicBezTo>
                    <a:pt x="534" y="843"/>
                    <a:pt x="537" y="843"/>
                    <a:pt x="539" y="843"/>
                  </a:cubicBezTo>
                  <a:cubicBezTo>
                    <a:pt x="539" y="844"/>
                    <a:pt x="539" y="845"/>
                    <a:pt x="539" y="846"/>
                  </a:cubicBezTo>
                  <a:cubicBezTo>
                    <a:pt x="538" y="846"/>
                    <a:pt x="537" y="846"/>
                    <a:pt x="536" y="846"/>
                  </a:cubicBezTo>
                  <a:cubicBezTo>
                    <a:pt x="535" y="846"/>
                    <a:pt x="535" y="846"/>
                    <a:pt x="535" y="846"/>
                  </a:cubicBezTo>
                  <a:cubicBezTo>
                    <a:pt x="537" y="849"/>
                    <a:pt x="536" y="857"/>
                    <a:pt x="533" y="858"/>
                  </a:cubicBezTo>
                  <a:cubicBezTo>
                    <a:pt x="527" y="860"/>
                    <a:pt x="532" y="860"/>
                    <a:pt x="529" y="865"/>
                  </a:cubicBezTo>
                  <a:cubicBezTo>
                    <a:pt x="529" y="865"/>
                    <a:pt x="529" y="865"/>
                    <a:pt x="529" y="865"/>
                  </a:cubicBezTo>
                  <a:cubicBezTo>
                    <a:pt x="528" y="865"/>
                    <a:pt x="529" y="864"/>
                    <a:pt x="529" y="864"/>
                  </a:cubicBezTo>
                  <a:cubicBezTo>
                    <a:pt x="528" y="864"/>
                    <a:pt x="528" y="864"/>
                    <a:pt x="528" y="864"/>
                  </a:cubicBezTo>
                  <a:cubicBezTo>
                    <a:pt x="522" y="864"/>
                    <a:pt x="525" y="871"/>
                    <a:pt x="521" y="875"/>
                  </a:cubicBezTo>
                  <a:cubicBezTo>
                    <a:pt x="520" y="877"/>
                    <a:pt x="518" y="877"/>
                    <a:pt x="516" y="879"/>
                  </a:cubicBezTo>
                  <a:cubicBezTo>
                    <a:pt x="515" y="880"/>
                    <a:pt x="514" y="881"/>
                    <a:pt x="512" y="882"/>
                  </a:cubicBezTo>
                  <a:cubicBezTo>
                    <a:pt x="510" y="884"/>
                    <a:pt x="509" y="884"/>
                    <a:pt x="508" y="884"/>
                  </a:cubicBezTo>
                  <a:cubicBezTo>
                    <a:pt x="507" y="884"/>
                    <a:pt x="506" y="883"/>
                    <a:pt x="504" y="883"/>
                  </a:cubicBezTo>
                  <a:cubicBezTo>
                    <a:pt x="504" y="883"/>
                    <a:pt x="504" y="883"/>
                    <a:pt x="504" y="883"/>
                  </a:cubicBezTo>
                  <a:cubicBezTo>
                    <a:pt x="502" y="883"/>
                    <a:pt x="504" y="885"/>
                    <a:pt x="504" y="885"/>
                  </a:cubicBezTo>
                  <a:cubicBezTo>
                    <a:pt x="505" y="887"/>
                    <a:pt x="504" y="890"/>
                    <a:pt x="504" y="892"/>
                  </a:cubicBezTo>
                  <a:cubicBezTo>
                    <a:pt x="505" y="888"/>
                    <a:pt x="509" y="885"/>
                    <a:pt x="513" y="883"/>
                  </a:cubicBezTo>
                  <a:cubicBezTo>
                    <a:pt x="517" y="881"/>
                    <a:pt x="520" y="879"/>
                    <a:pt x="523" y="876"/>
                  </a:cubicBezTo>
                  <a:cubicBezTo>
                    <a:pt x="530" y="870"/>
                    <a:pt x="535" y="864"/>
                    <a:pt x="539" y="857"/>
                  </a:cubicBezTo>
                  <a:cubicBezTo>
                    <a:pt x="542" y="853"/>
                    <a:pt x="544" y="850"/>
                    <a:pt x="546" y="846"/>
                  </a:cubicBezTo>
                  <a:cubicBezTo>
                    <a:pt x="549" y="840"/>
                    <a:pt x="552" y="834"/>
                    <a:pt x="555" y="828"/>
                  </a:cubicBezTo>
                  <a:cubicBezTo>
                    <a:pt x="556" y="824"/>
                    <a:pt x="558" y="820"/>
                    <a:pt x="561" y="818"/>
                  </a:cubicBezTo>
                  <a:cubicBezTo>
                    <a:pt x="566" y="813"/>
                    <a:pt x="571" y="808"/>
                    <a:pt x="577" y="804"/>
                  </a:cubicBezTo>
                  <a:cubicBezTo>
                    <a:pt x="578" y="802"/>
                    <a:pt x="580" y="801"/>
                    <a:pt x="581" y="799"/>
                  </a:cubicBezTo>
                  <a:cubicBezTo>
                    <a:pt x="581" y="799"/>
                    <a:pt x="580" y="799"/>
                    <a:pt x="580" y="799"/>
                  </a:cubicBezTo>
                  <a:cubicBezTo>
                    <a:pt x="578" y="799"/>
                    <a:pt x="578" y="796"/>
                    <a:pt x="579" y="794"/>
                  </a:cubicBezTo>
                  <a:cubicBezTo>
                    <a:pt x="580" y="795"/>
                    <a:pt x="580" y="796"/>
                    <a:pt x="581" y="798"/>
                  </a:cubicBezTo>
                  <a:cubicBezTo>
                    <a:pt x="581" y="794"/>
                    <a:pt x="584" y="791"/>
                    <a:pt x="584" y="786"/>
                  </a:cubicBezTo>
                  <a:cubicBezTo>
                    <a:pt x="584" y="781"/>
                    <a:pt x="584" y="776"/>
                    <a:pt x="584" y="770"/>
                  </a:cubicBezTo>
                  <a:cubicBezTo>
                    <a:pt x="584" y="766"/>
                    <a:pt x="584" y="767"/>
                    <a:pt x="587" y="765"/>
                  </a:cubicBezTo>
                  <a:cubicBezTo>
                    <a:pt x="587" y="765"/>
                    <a:pt x="587" y="765"/>
                    <a:pt x="587" y="765"/>
                  </a:cubicBezTo>
                  <a:cubicBezTo>
                    <a:pt x="583" y="765"/>
                    <a:pt x="583" y="758"/>
                    <a:pt x="583" y="754"/>
                  </a:cubicBezTo>
                  <a:cubicBezTo>
                    <a:pt x="582" y="752"/>
                    <a:pt x="585" y="748"/>
                    <a:pt x="584" y="746"/>
                  </a:cubicBezTo>
                  <a:cubicBezTo>
                    <a:pt x="583" y="745"/>
                    <a:pt x="583" y="745"/>
                    <a:pt x="583" y="745"/>
                  </a:cubicBezTo>
                  <a:cubicBezTo>
                    <a:pt x="584" y="746"/>
                    <a:pt x="584" y="746"/>
                    <a:pt x="585" y="747"/>
                  </a:cubicBezTo>
                  <a:cubicBezTo>
                    <a:pt x="585" y="746"/>
                    <a:pt x="587" y="742"/>
                    <a:pt x="587" y="742"/>
                  </a:cubicBezTo>
                  <a:cubicBezTo>
                    <a:pt x="587" y="741"/>
                    <a:pt x="586" y="741"/>
                    <a:pt x="586" y="741"/>
                  </a:cubicBezTo>
                  <a:cubicBezTo>
                    <a:pt x="586" y="741"/>
                    <a:pt x="585" y="741"/>
                    <a:pt x="585" y="741"/>
                  </a:cubicBezTo>
                  <a:cubicBezTo>
                    <a:pt x="584" y="741"/>
                    <a:pt x="583" y="742"/>
                    <a:pt x="583" y="743"/>
                  </a:cubicBezTo>
                  <a:cubicBezTo>
                    <a:pt x="582" y="743"/>
                    <a:pt x="582" y="743"/>
                    <a:pt x="582" y="743"/>
                  </a:cubicBezTo>
                  <a:cubicBezTo>
                    <a:pt x="581" y="742"/>
                    <a:pt x="581" y="740"/>
                    <a:pt x="580" y="737"/>
                  </a:cubicBezTo>
                  <a:cubicBezTo>
                    <a:pt x="580" y="739"/>
                    <a:pt x="581" y="740"/>
                    <a:pt x="581" y="741"/>
                  </a:cubicBezTo>
                  <a:cubicBezTo>
                    <a:pt x="583" y="740"/>
                    <a:pt x="585" y="737"/>
                    <a:pt x="585" y="735"/>
                  </a:cubicBezTo>
                  <a:cubicBezTo>
                    <a:pt x="585" y="733"/>
                    <a:pt x="585" y="732"/>
                    <a:pt x="583" y="732"/>
                  </a:cubicBezTo>
                  <a:cubicBezTo>
                    <a:pt x="583" y="732"/>
                    <a:pt x="583" y="732"/>
                    <a:pt x="583" y="732"/>
                  </a:cubicBezTo>
                  <a:cubicBezTo>
                    <a:pt x="583" y="732"/>
                    <a:pt x="583" y="732"/>
                    <a:pt x="583" y="732"/>
                  </a:cubicBezTo>
                  <a:cubicBezTo>
                    <a:pt x="582" y="732"/>
                    <a:pt x="582" y="732"/>
                    <a:pt x="581" y="732"/>
                  </a:cubicBezTo>
                  <a:cubicBezTo>
                    <a:pt x="581" y="732"/>
                    <a:pt x="581" y="732"/>
                    <a:pt x="581" y="732"/>
                  </a:cubicBezTo>
                  <a:cubicBezTo>
                    <a:pt x="583" y="732"/>
                    <a:pt x="583" y="732"/>
                    <a:pt x="584" y="731"/>
                  </a:cubicBezTo>
                  <a:cubicBezTo>
                    <a:pt x="585" y="730"/>
                    <a:pt x="590" y="726"/>
                    <a:pt x="590" y="725"/>
                  </a:cubicBezTo>
                  <a:cubicBezTo>
                    <a:pt x="590" y="725"/>
                    <a:pt x="590" y="725"/>
                    <a:pt x="590" y="725"/>
                  </a:cubicBezTo>
                  <a:cubicBezTo>
                    <a:pt x="589" y="725"/>
                    <a:pt x="589" y="725"/>
                    <a:pt x="589" y="725"/>
                  </a:cubicBezTo>
                  <a:cubicBezTo>
                    <a:pt x="589" y="725"/>
                    <a:pt x="589" y="725"/>
                    <a:pt x="589" y="725"/>
                  </a:cubicBezTo>
                  <a:cubicBezTo>
                    <a:pt x="589" y="725"/>
                    <a:pt x="589" y="725"/>
                    <a:pt x="589" y="725"/>
                  </a:cubicBezTo>
                  <a:cubicBezTo>
                    <a:pt x="588" y="725"/>
                    <a:pt x="586" y="724"/>
                    <a:pt x="586" y="724"/>
                  </a:cubicBezTo>
                  <a:cubicBezTo>
                    <a:pt x="585" y="724"/>
                    <a:pt x="584" y="723"/>
                    <a:pt x="583" y="722"/>
                  </a:cubicBezTo>
                  <a:cubicBezTo>
                    <a:pt x="583" y="722"/>
                    <a:pt x="583" y="722"/>
                    <a:pt x="583" y="722"/>
                  </a:cubicBezTo>
                  <a:cubicBezTo>
                    <a:pt x="582" y="721"/>
                    <a:pt x="582" y="721"/>
                    <a:pt x="581" y="720"/>
                  </a:cubicBezTo>
                  <a:cubicBezTo>
                    <a:pt x="581" y="720"/>
                    <a:pt x="581" y="720"/>
                    <a:pt x="581" y="720"/>
                  </a:cubicBezTo>
                  <a:cubicBezTo>
                    <a:pt x="582" y="721"/>
                    <a:pt x="582" y="721"/>
                    <a:pt x="583" y="722"/>
                  </a:cubicBezTo>
                  <a:cubicBezTo>
                    <a:pt x="583" y="722"/>
                    <a:pt x="583" y="722"/>
                    <a:pt x="584" y="722"/>
                  </a:cubicBezTo>
                  <a:cubicBezTo>
                    <a:pt x="584" y="722"/>
                    <a:pt x="585" y="722"/>
                    <a:pt x="585" y="721"/>
                  </a:cubicBezTo>
                  <a:cubicBezTo>
                    <a:pt x="587" y="720"/>
                    <a:pt x="588" y="718"/>
                    <a:pt x="589" y="718"/>
                  </a:cubicBezTo>
                  <a:cubicBezTo>
                    <a:pt x="589" y="718"/>
                    <a:pt x="589" y="718"/>
                    <a:pt x="589" y="718"/>
                  </a:cubicBezTo>
                  <a:cubicBezTo>
                    <a:pt x="590" y="718"/>
                    <a:pt x="590" y="718"/>
                    <a:pt x="591" y="717"/>
                  </a:cubicBezTo>
                  <a:cubicBezTo>
                    <a:pt x="591" y="718"/>
                    <a:pt x="591" y="719"/>
                    <a:pt x="591" y="720"/>
                  </a:cubicBezTo>
                  <a:cubicBezTo>
                    <a:pt x="592" y="719"/>
                    <a:pt x="593" y="719"/>
                    <a:pt x="594" y="719"/>
                  </a:cubicBezTo>
                  <a:cubicBezTo>
                    <a:pt x="594" y="719"/>
                    <a:pt x="595" y="719"/>
                    <a:pt x="596" y="719"/>
                  </a:cubicBezTo>
                  <a:cubicBezTo>
                    <a:pt x="596" y="719"/>
                    <a:pt x="596" y="719"/>
                    <a:pt x="596" y="719"/>
                  </a:cubicBezTo>
                  <a:cubicBezTo>
                    <a:pt x="597" y="719"/>
                    <a:pt x="601" y="714"/>
                    <a:pt x="601" y="713"/>
                  </a:cubicBezTo>
                  <a:cubicBezTo>
                    <a:pt x="601" y="713"/>
                    <a:pt x="599" y="712"/>
                    <a:pt x="598" y="712"/>
                  </a:cubicBezTo>
                  <a:cubicBezTo>
                    <a:pt x="598" y="712"/>
                    <a:pt x="598" y="712"/>
                    <a:pt x="598" y="712"/>
                  </a:cubicBezTo>
                  <a:cubicBezTo>
                    <a:pt x="598" y="712"/>
                    <a:pt x="598" y="712"/>
                    <a:pt x="598" y="712"/>
                  </a:cubicBezTo>
                  <a:cubicBezTo>
                    <a:pt x="598" y="712"/>
                    <a:pt x="598" y="712"/>
                    <a:pt x="598" y="712"/>
                  </a:cubicBezTo>
                  <a:cubicBezTo>
                    <a:pt x="598" y="712"/>
                    <a:pt x="598" y="712"/>
                    <a:pt x="598" y="712"/>
                  </a:cubicBezTo>
                  <a:cubicBezTo>
                    <a:pt x="598" y="712"/>
                    <a:pt x="598" y="712"/>
                    <a:pt x="598" y="712"/>
                  </a:cubicBezTo>
                  <a:cubicBezTo>
                    <a:pt x="598" y="711"/>
                    <a:pt x="598" y="711"/>
                    <a:pt x="598" y="711"/>
                  </a:cubicBezTo>
                  <a:cubicBezTo>
                    <a:pt x="599" y="712"/>
                    <a:pt x="598" y="711"/>
                    <a:pt x="598" y="712"/>
                  </a:cubicBezTo>
                  <a:cubicBezTo>
                    <a:pt x="598" y="712"/>
                    <a:pt x="598" y="712"/>
                    <a:pt x="598" y="712"/>
                  </a:cubicBezTo>
                  <a:cubicBezTo>
                    <a:pt x="602" y="709"/>
                    <a:pt x="605" y="706"/>
                    <a:pt x="609" y="704"/>
                  </a:cubicBezTo>
                  <a:cubicBezTo>
                    <a:pt x="615" y="700"/>
                    <a:pt x="621" y="697"/>
                    <a:pt x="627" y="693"/>
                  </a:cubicBezTo>
                  <a:cubicBezTo>
                    <a:pt x="630" y="691"/>
                    <a:pt x="633" y="689"/>
                    <a:pt x="636" y="687"/>
                  </a:cubicBezTo>
                  <a:cubicBezTo>
                    <a:pt x="637" y="687"/>
                    <a:pt x="636" y="684"/>
                    <a:pt x="636" y="683"/>
                  </a:cubicBezTo>
                  <a:cubicBezTo>
                    <a:pt x="636" y="684"/>
                    <a:pt x="637" y="684"/>
                    <a:pt x="638" y="684"/>
                  </a:cubicBezTo>
                  <a:cubicBezTo>
                    <a:pt x="639" y="684"/>
                    <a:pt x="641" y="683"/>
                    <a:pt x="642" y="683"/>
                  </a:cubicBezTo>
                  <a:cubicBezTo>
                    <a:pt x="645" y="682"/>
                    <a:pt x="647" y="681"/>
                    <a:pt x="650" y="681"/>
                  </a:cubicBezTo>
                  <a:cubicBezTo>
                    <a:pt x="651" y="681"/>
                    <a:pt x="651" y="681"/>
                    <a:pt x="652" y="681"/>
                  </a:cubicBezTo>
                  <a:cubicBezTo>
                    <a:pt x="653" y="681"/>
                    <a:pt x="656" y="682"/>
                    <a:pt x="657" y="682"/>
                  </a:cubicBezTo>
                  <a:cubicBezTo>
                    <a:pt x="658" y="682"/>
                    <a:pt x="658" y="682"/>
                    <a:pt x="659" y="682"/>
                  </a:cubicBezTo>
                  <a:cubicBezTo>
                    <a:pt x="659" y="682"/>
                    <a:pt x="658" y="681"/>
                    <a:pt x="659" y="680"/>
                  </a:cubicBezTo>
                  <a:cubicBezTo>
                    <a:pt x="660" y="679"/>
                    <a:pt x="661" y="678"/>
                    <a:pt x="663" y="677"/>
                  </a:cubicBezTo>
                  <a:cubicBezTo>
                    <a:pt x="668" y="674"/>
                    <a:pt x="674" y="672"/>
                    <a:pt x="680" y="669"/>
                  </a:cubicBezTo>
                  <a:cubicBezTo>
                    <a:pt x="679" y="668"/>
                    <a:pt x="678" y="668"/>
                    <a:pt x="678" y="668"/>
                  </a:cubicBezTo>
                  <a:cubicBezTo>
                    <a:pt x="677" y="667"/>
                    <a:pt x="676" y="665"/>
                    <a:pt x="676" y="664"/>
                  </a:cubicBezTo>
                  <a:cubicBezTo>
                    <a:pt x="676" y="663"/>
                    <a:pt x="676" y="663"/>
                    <a:pt x="676" y="663"/>
                  </a:cubicBezTo>
                  <a:cubicBezTo>
                    <a:pt x="676" y="663"/>
                    <a:pt x="676" y="663"/>
                    <a:pt x="676" y="663"/>
                  </a:cubicBezTo>
                  <a:cubicBezTo>
                    <a:pt x="676" y="663"/>
                    <a:pt x="676" y="663"/>
                    <a:pt x="676" y="663"/>
                  </a:cubicBezTo>
                  <a:cubicBezTo>
                    <a:pt x="677" y="663"/>
                    <a:pt x="677" y="663"/>
                    <a:pt x="677" y="663"/>
                  </a:cubicBezTo>
                  <a:cubicBezTo>
                    <a:pt x="677" y="662"/>
                    <a:pt x="682" y="660"/>
                    <a:pt x="683" y="660"/>
                  </a:cubicBezTo>
                  <a:cubicBezTo>
                    <a:pt x="683" y="660"/>
                    <a:pt x="684" y="660"/>
                    <a:pt x="684" y="660"/>
                  </a:cubicBezTo>
                  <a:cubicBezTo>
                    <a:pt x="685" y="660"/>
                    <a:pt x="683" y="662"/>
                    <a:pt x="683" y="662"/>
                  </a:cubicBezTo>
                  <a:cubicBezTo>
                    <a:pt x="688" y="663"/>
                    <a:pt x="688" y="663"/>
                    <a:pt x="688" y="663"/>
                  </a:cubicBezTo>
                  <a:cubicBezTo>
                    <a:pt x="690" y="663"/>
                    <a:pt x="692" y="660"/>
                    <a:pt x="694" y="660"/>
                  </a:cubicBezTo>
                  <a:cubicBezTo>
                    <a:pt x="694" y="660"/>
                    <a:pt x="695" y="660"/>
                    <a:pt x="695" y="660"/>
                  </a:cubicBezTo>
                  <a:cubicBezTo>
                    <a:pt x="699" y="660"/>
                    <a:pt x="703" y="661"/>
                    <a:pt x="706" y="661"/>
                  </a:cubicBezTo>
                  <a:cubicBezTo>
                    <a:pt x="707" y="661"/>
                    <a:pt x="708" y="662"/>
                    <a:pt x="709" y="662"/>
                  </a:cubicBezTo>
                  <a:cubicBezTo>
                    <a:pt x="710" y="662"/>
                    <a:pt x="711" y="661"/>
                    <a:pt x="711" y="660"/>
                  </a:cubicBezTo>
                  <a:cubicBezTo>
                    <a:pt x="711" y="659"/>
                    <a:pt x="710" y="659"/>
                    <a:pt x="709" y="659"/>
                  </a:cubicBezTo>
                  <a:cubicBezTo>
                    <a:pt x="709" y="659"/>
                    <a:pt x="709" y="658"/>
                    <a:pt x="709" y="658"/>
                  </a:cubicBezTo>
                  <a:cubicBezTo>
                    <a:pt x="710" y="657"/>
                    <a:pt x="712" y="654"/>
                    <a:pt x="713" y="654"/>
                  </a:cubicBezTo>
                  <a:cubicBezTo>
                    <a:pt x="714" y="654"/>
                    <a:pt x="714" y="654"/>
                    <a:pt x="714" y="654"/>
                  </a:cubicBezTo>
                  <a:cubicBezTo>
                    <a:pt x="715" y="655"/>
                    <a:pt x="713" y="656"/>
                    <a:pt x="713" y="656"/>
                  </a:cubicBezTo>
                  <a:cubicBezTo>
                    <a:pt x="713" y="657"/>
                    <a:pt x="713" y="658"/>
                    <a:pt x="712" y="659"/>
                  </a:cubicBezTo>
                  <a:cubicBezTo>
                    <a:pt x="716" y="660"/>
                    <a:pt x="720" y="661"/>
                    <a:pt x="724" y="661"/>
                  </a:cubicBezTo>
                  <a:cubicBezTo>
                    <a:pt x="726" y="661"/>
                    <a:pt x="730" y="662"/>
                    <a:pt x="734" y="662"/>
                  </a:cubicBezTo>
                  <a:cubicBezTo>
                    <a:pt x="736" y="662"/>
                    <a:pt x="737" y="662"/>
                    <a:pt x="738" y="661"/>
                  </a:cubicBezTo>
                  <a:cubicBezTo>
                    <a:pt x="738" y="661"/>
                    <a:pt x="738" y="661"/>
                    <a:pt x="738" y="661"/>
                  </a:cubicBezTo>
                  <a:cubicBezTo>
                    <a:pt x="737" y="661"/>
                    <a:pt x="737" y="659"/>
                    <a:pt x="738" y="659"/>
                  </a:cubicBezTo>
                  <a:cubicBezTo>
                    <a:pt x="738" y="658"/>
                    <a:pt x="740" y="657"/>
                    <a:pt x="741" y="656"/>
                  </a:cubicBezTo>
                  <a:cubicBezTo>
                    <a:pt x="740" y="656"/>
                    <a:pt x="740" y="656"/>
                    <a:pt x="740" y="656"/>
                  </a:cubicBezTo>
                  <a:cubicBezTo>
                    <a:pt x="739" y="656"/>
                    <a:pt x="738" y="655"/>
                    <a:pt x="738" y="654"/>
                  </a:cubicBezTo>
                  <a:cubicBezTo>
                    <a:pt x="738" y="648"/>
                    <a:pt x="747" y="645"/>
                    <a:pt x="752" y="642"/>
                  </a:cubicBezTo>
                  <a:cubicBezTo>
                    <a:pt x="754" y="641"/>
                    <a:pt x="761" y="639"/>
                    <a:pt x="762" y="636"/>
                  </a:cubicBezTo>
                  <a:cubicBezTo>
                    <a:pt x="762" y="635"/>
                    <a:pt x="761" y="634"/>
                    <a:pt x="761" y="633"/>
                  </a:cubicBezTo>
                  <a:cubicBezTo>
                    <a:pt x="760" y="631"/>
                    <a:pt x="760" y="627"/>
                    <a:pt x="760" y="626"/>
                  </a:cubicBezTo>
                  <a:cubicBezTo>
                    <a:pt x="761" y="621"/>
                    <a:pt x="764" y="614"/>
                    <a:pt x="767" y="610"/>
                  </a:cubicBezTo>
                  <a:cubicBezTo>
                    <a:pt x="769" y="607"/>
                    <a:pt x="772" y="605"/>
                    <a:pt x="775" y="603"/>
                  </a:cubicBezTo>
                  <a:cubicBezTo>
                    <a:pt x="777" y="601"/>
                    <a:pt x="776" y="597"/>
                    <a:pt x="776" y="595"/>
                  </a:cubicBezTo>
                  <a:cubicBezTo>
                    <a:pt x="777" y="595"/>
                    <a:pt x="778" y="596"/>
                    <a:pt x="778" y="596"/>
                  </a:cubicBezTo>
                  <a:cubicBezTo>
                    <a:pt x="780" y="596"/>
                    <a:pt x="779" y="591"/>
                    <a:pt x="781" y="589"/>
                  </a:cubicBezTo>
                  <a:cubicBezTo>
                    <a:pt x="784" y="585"/>
                    <a:pt x="790" y="579"/>
                    <a:pt x="791" y="574"/>
                  </a:cubicBezTo>
                  <a:cubicBezTo>
                    <a:pt x="792" y="572"/>
                    <a:pt x="791" y="569"/>
                    <a:pt x="791" y="567"/>
                  </a:cubicBezTo>
                  <a:cubicBezTo>
                    <a:pt x="790" y="566"/>
                    <a:pt x="790" y="565"/>
                    <a:pt x="790" y="563"/>
                  </a:cubicBezTo>
                  <a:cubicBezTo>
                    <a:pt x="790" y="559"/>
                    <a:pt x="790" y="551"/>
                    <a:pt x="793" y="547"/>
                  </a:cubicBezTo>
                  <a:cubicBezTo>
                    <a:pt x="796" y="544"/>
                    <a:pt x="804" y="537"/>
                    <a:pt x="804" y="533"/>
                  </a:cubicBezTo>
                  <a:cubicBezTo>
                    <a:pt x="804" y="532"/>
                    <a:pt x="803" y="530"/>
                    <a:pt x="803" y="530"/>
                  </a:cubicBezTo>
                  <a:cubicBezTo>
                    <a:pt x="801" y="519"/>
                    <a:pt x="806" y="506"/>
                    <a:pt x="809" y="496"/>
                  </a:cubicBezTo>
                  <a:cubicBezTo>
                    <a:pt x="809" y="492"/>
                    <a:pt x="808" y="487"/>
                    <a:pt x="808" y="483"/>
                  </a:cubicBezTo>
                  <a:cubicBezTo>
                    <a:pt x="808" y="475"/>
                    <a:pt x="808" y="467"/>
                    <a:pt x="808" y="459"/>
                  </a:cubicBezTo>
                  <a:cubicBezTo>
                    <a:pt x="808" y="455"/>
                    <a:pt x="808" y="451"/>
                    <a:pt x="809" y="447"/>
                  </a:cubicBezTo>
                  <a:cubicBezTo>
                    <a:pt x="809" y="445"/>
                    <a:pt x="809" y="443"/>
                    <a:pt x="809" y="443"/>
                  </a:cubicBezTo>
                  <a:cubicBezTo>
                    <a:pt x="809" y="443"/>
                    <a:pt x="809" y="444"/>
                    <a:pt x="808" y="444"/>
                  </a:cubicBezTo>
                  <a:cubicBezTo>
                    <a:pt x="808" y="443"/>
                    <a:pt x="804" y="440"/>
                    <a:pt x="804" y="439"/>
                  </a:cubicBezTo>
                  <a:cubicBezTo>
                    <a:pt x="804" y="439"/>
                    <a:pt x="804" y="439"/>
                    <a:pt x="804" y="439"/>
                  </a:cubicBezTo>
                  <a:cubicBezTo>
                    <a:pt x="805" y="439"/>
                    <a:pt x="805" y="439"/>
                    <a:pt x="805" y="439"/>
                  </a:cubicBezTo>
                  <a:cubicBezTo>
                    <a:pt x="808" y="438"/>
                    <a:pt x="808" y="434"/>
                    <a:pt x="807" y="434"/>
                  </a:cubicBezTo>
                  <a:cubicBezTo>
                    <a:pt x="806" y="434"/>
                    <a:pt x="806" y="435"/>
                    <a:pt x="805" y="436"/>
                  </a:cubicBezTo>
                  <a:cubicBezTo>
                    <a:pt x="806" y="434"/>
                    <a:pt x="806" y="432"/>
                    <a:pt x="806" y="430"/>
                  </a:cubicBezTo>
                  <a:cubicBezTo>
                    <a:pt x="807" y="431"/>
                    <a:pt x="807" y="431"/>
                    <a:pt x="807" y="431"/>
                  </a:cubicBezTo>
                  <a:cubicBezTo>
                    <a:pt x="810" y="428"/>
                    <a:pt x="812" y="423"/>
                    <a:pt x="814" y="419"/>
                  </a:cubicBezTo>
                  <a:cubicBezTo>
                    <a:pt x="814" y="419"/>
                    <a:pt x="814" y="419"/>
                    <a:pt x="813" y="419"/>
                  </a:cubicBezTo>
                  <a:cubicBezTo>
                    <a:pt x="812" y="419"/>
                    <a:pt x="809" y="416"/>
                    <a:pt x="810" y="414"/>
                  </a:cubicBezTo>
                  <a:cubicBezTo>
                    <a:pt x="810" y="415"/>
                    <a:pt x="810" y="416"/>
                    <a:pt x="810" y="417"/>
                  </a:cubicBezTo>
                  <a:cubicBezTo>
                    <a:pt x="812" y="415"/>
                    <a:pt x="813" y="413"/>
                    <a:pt x="815" y="413"/>
                  </a:cubicBezTo>
                  <a:cubicBezTo>
                    <a:pt x="815" y="413"/>
                    <a:pt x="816" y="413"/>
                    <a:pt x="816" y="414"/>
                  </a:cubicBezTo>
                  <a:cubicBezTo>
                    <a:pt x="819" y="416"/>
                    <a:pt x="819" y="419"/>
                    <a:pt x="820" y="422"/>
                  </a:cubicBezTo>
                  <a:cubicBezTo>
                    <a:pt x="823" y="420"/>
                    <a:pt x="825" y="418"/>
                    <a:pt x="828" y="415"/>
                  </a:cubicBezTo>
                  <a:cubicBezTo>
                    <a:pt x="829" y="414"/>
                    <a:pt x="830" y="413"/>
                    <a:pt x="831" y="411"/>
                  </a:cubicBezTo>
                  <a:cubicBezTo>
                    <a:pt x="833" y="408"/>
                    <a:pt x="835" y="405"/>
                    <a:pt x="837" y="401"/>
                  </a:cubicBezTo>
                  <a:cubicBezTo>
                    <a:pt x="839" y="397"/>
                    <a:pt x="844" y="391"/>
                    <a:pt x="845" y="386"/>
                  </a:cubicBezTo>
                  <a:cubicBezTo>
                    <a:pt x="844" y="386"/>
                    <a:pt x="843" y="387"/>
                    <a:pt x="843" y="387"/>
                  </a:cubicBezTo>
                  <a:cubicBezTo>
                    <a:pt x="843" y="385"/>
                    <a:pt x="844" y="382"/>
                    <a:pt x="845" y="380"/>
                  </a:cubicBezTo>
                  <a:cubicBezTo>
                    <a:pt x="846" y="380"/>
                    <a:pt x="846" y="380"/>
                    <a:pt x="847" y="380"/>
                  </a:cubicBezTo>
                  <a:cubicBezTo>
                    <a:pt x="847" y="380"/>
                    <a:pt x="847" y="380"/>
                    <a:pt x="847" y="380"/>
                  </a:cubicBezTo>
                  <a:cubicBezTo>
                    <a:pt x="848" y="380"/>
                    <a:pt x="848" y="380"/>
                    <a:pt x="848" y="380"/>
                  </a:cubicBezTo>
                  <a:cubicBezTo>
                    <a:pt x="848" y="380"/>
                    <a:pt x="849" y="380"/>
                    <a:pt x="849" y="379"/>
                  </a:cubicBezTo>
                  <a:cubicBezTo>
                    <a:pt x="852" y="378"/>
                    <a:pt x="848" y="377"/>
                    <a:pt x="848" y="375"/>
                  </a:cubicBezTo>
                  <a:cubicBezTo>
                    <a:pt x="850" y="375"/>
                    <a:pt x="855" y="373"/>
                    <a:pt x="851" y="371"/>
                  </a:cubicBezTo>
                  <a:cubicBezTo>
                    <a:pt x="851" y="370"/>
                    <a:pt x="852" y="369"/>
                    <a:pt x="852" y="369"/>
                  </a:cubicBezTo>
                  <a:cubicBezTo>
                    <a:pt x="853" y="370"/>
                    <a:pt x="853" y="372"/>
                    <a:pt x="854" y="373"/>
                  </a:cubicBezTo>
                  <a:cubicBezTo>
                    <a:pt x="855" y="371"/>
                    <a:pt x="858" y="369"/>
                    <a:pt x="860" y="367"/>
                  </a:cubicBezTo>
                  <a:cubicBezTo>
                    <a:pt x="861" y="366"/>
                    <a:pt x="863" y="365"/>
                    <a:pt x="865" y="364"/>
                  </a:cubicBezTo>
                  <a:cubicBezTo>
                    <a:pt x="868" y="363"/>
                    <a:pt x="868" y="362"/>
                    <a:pt x="870" y="359"/>
                  </a:cubicBezTo>
                  <a:cubicBezTo>
                    <a:pt x="872" y="355"/>
                    <a:pt x="876" y="352"/>
                    <a:pt x="879" y="348"/>
                  </a:cubicBezTo>
                  <a:cubicBezTo>
                    <a:pt x="882" y="345"/>
                    <a:pt x="880" y="344"/>
                    <a:pt x="879" y="342"/>
                  </a:cubicBezTo>
                  <a:cubicBezTo>
                    <a:pt x="879" y="342"/>
                    <a:pt x="879" y="343"/>
                    <a:pt x="880" y="343"/>
                  </a:cubicBezTo>
                  <a:cubicBezTo>
                    <a:pt x="882" y="343"/>
                    <a:pt x="887" y="340"/>
                    <a:pt x="887" y="339"/>
                  </a:cubicBezTo>
                  <a:cubicBezTo>
                    <a:pt x="891" y="334"/>
                    <a:pt x="896" y="328"/>
                    <a:pt x="898" y="322"/>
                  </a:cubicBezTo>
                  <a:cubicBezTo>
                    <a:pt x="900" y="316"/>
                    <a:pt x="903" y="309"/>
                    <a:pt x="904" y="302"/>
                  </a:cubicBezTo>
                  <a:cubicBezTo>
                    <a:pt x="904" y="299"/>
                    <a:pt x="902" y="296"/>
                    <a:pt x="903" y="293"/>
                  </a:cubicBezTo>
                  <a:cubicBezTo>
                    <a:pt x="904" y="290"/>
                    <a:pt x="905" y="287"/>
                    <a:pt x="905" y="284"/>
                  </a:cubicBezTo>
                  <a:cubicBezTo>
                    <a:pt x="904" y="271"/>
                    <a:pt x="897" y="256"/>
                    <a:pt x="893" y="244"/>
                  </a:cubicBezTo>
                  <a:cubicBezTo>
                    <a:pt x="890" y="237"/>
                    <a:pt x="884" y="236"/>
                    <a:pt x="878" y="236"/>
                  </a:cubicBezTo>
                  <a:cubicBezTo>
                    <a:pt x="876" y="236"/>
                    <a:pt x="873" y="236"/>
                    <a:pt x="871" y="236"/>
                  </a:cubicBezTo>
                  <a:cubicBezTo>
                    <a:pt x="868" y="237"/>
                    <a:pt x="866" y="237"/>
                    <a:pt x="864" y="237"/>
                  </a:cubicBezTo>
                  <a:cubicBezTo>
                    <a:pt x="864" y="237"/>
                    <a:pt x="864" y="237"/>
                    <a:pt x="864" y="237"/>
                  </a:cubicBezTo>
                  <a:cubicBezTo>
                    <a:pt x="858" y="237"/>
                    <a:pt x="851" y="233"/>
                    <a:pt x="847" y="230"/>
                  </a:cubicBezTo>
                  <a:cubicBezTo>
                    <a:pt x="842" y="225"/>
                    <a:pt x="836" y="221"/>
                    <a:pt x="831" y="217"/>
                  </a:cubicBezTo>
                  <a:cubicBezTo>
                    <a:pt x="821" y="207"/>
                    <a:pt x="810" y="200"/>
                    <a:pt x="797" y="193"/>
                  </a:cubicBezTo>
                  <a:cubicBezTo>
                    <a:pt x="790" y="189"/>
                    <a:pt x="784" y="187"/>
                    <a:pt x="776" y="184"/>
                  </a:cubicBezTo>
                  <a:cubicBezTo>
                    <a:pt x="775" y="184"/>
                    <a:pt x="774" y="184"/>
                    <a:pt x="774" y="184"/>
                  </a:cubicBezTo>
                  <a:cubicBezTo>
                    <a:pt x="772" y="184"/>
                    <a:pt x="772" y="184"/>
                    <a:pt x="770" y="184"/>
                  </a:cubicBezTo>
                  <a:cubicBezTo>
                    <a:pt x="767" y="184"/>
                    <a:pt x="765" y="185"/>
                    <a:pt x="763" y="185"/>
                  </a:cubicBezTo>
                  <a:cubicBezTo>
                    <a:pt x="762" y="185"/>
                    <a:pt x="762" y="185"/>
                    <a:pt x="762" y="185"/>
                  </a:cubicBezTo>
                  <a:cubicBezTo>
                    <a:pt x="761" y="185"/>
                    <a:pt x="760" y="185"/>
                    <a:pt x="760" y="185"/>
                  </a:cubicBezTo>
                  <a:cubicBezTo>
                    <a:pt x="759" y="185"/>
                    <a:pt x="758" y="185"/>
                    <a:pt x="758" y="185"/>
                  </a:cubicBezTo>
                  <a:cubicBezTo>
                    <a:pt x="756" y="185"/>
                    <a:pt x="755" y="185"/>
                    <a:pt x="754" y="186"/>
                  </a:cubicBezTo>
                  <a:cubicBezTo>
                    <a:pt x="755" y="186"/>
                    <a:pt x="755" y="188"/>
                    <a:pt x="755" y="189"/>
                  </a:cubicBezTo>
                  <a:cubicBezTo>
                    <a:pt x="752" y="187"/>
                    <a:pt x="745" y="183"/>
                    <a:pt x="742" y="183"/>
                  </a:cubicBezTo>
                  <a:cubicBezTo>
                    <a:pt x="741" y="183"/>
                    <a:pt x="741" y="183"/>
                    <a:pt x="741" y="183"/>
                  </a:cubicBezTo>
                  <a:cubicBezTo>
                    <a:pt x="738" y="183"/>
                    <a:pt x="735" y="184"/>
                    <a:pt x="733" y="184"/>
                  </a:cubicBezTo>
                  <a:cubicBezTo>
                    <a:pt x="733" y="184"/>
                    <a:pt x="732" y="184"/>
                    <a:pt x="732" y="184"/>
                  </a:cubicBezTo>
                  <a:cubicBezTo>
                    <a:pt x="730" y="184"/>
                    <a:pt x="728" y="182"/>
                    <a:pt x="726" y="181"/>
                  </a:cubicBezTo>
                  <a:cubicBezTo>
                    <a:pt x="720" y="179"/>
                    <a:pt x="714" y="177"/>
                    <a:pt x="709" y="175"/>
                  </a:cubicBezTo>
                  <a:cubicBezTo>
                    <a:pt x="708" y="175"/>
                    <a:pt x="705" y="174"/>
                    <a:pt x="704" y="174"/>
                  </a:cubicBezTo>
                  <a:cubicBezTo>
                    <a:pt x="704" y="174"/>
                    <a:pt x="703" y="174"/>
                    <a:pt x="704" y="175"/>
                  </a:cubicBezTo>
                  <a:cubicBezTo>
                    <a:pt x="700" y="176"/>
                    <a:pt x="696" y="176"/>
                    <a:pt x="693" y="178"/>
                  </a:cubicBezTo>
                  <a:cubicBezTo>
                    <a:pt x="692" y="178"/>
                    <a:pt x="691" y="179"/>
                    <a:pt x="691" y="180"/>
                  </a:cubicBezTo>
                  <a:cubicBezTo>
                    <a:pt x="689" y="182"/>
                    <a:pt x="688" y="183"/>
                    <a:pt x="686" y="183"/>
                  </a:cubicBezTo>
                  <a:cubicBezTo>
                    <a:pt x="685" y="183"/>
                    <a:pt x="685" y="183"/>
                    <a:pt x="683" y="183"/>
                  </a:cubicBezTo>
                  <a:cubicBezTo>
                    <a:pt x="687" y="181"/>
                    <a:pt x="689" y="177"/>
                    <a:pt x="690" y="174"/>
                  </a:cubicBezTo>
                  <a:cubicBezTo>
                    <a:pt x="690" y="174"/>
                    <a:pt x="690" y="174"/>
                    <a:pt x="690" y="174"/>
                  </a:cubicBezTo>
                  <a:cubicBezTo>
                    <a:pt x="688" y="174"/>
                    <a:pt x="684" y="176"/>
                    <a:pt x="683" y="177"/>
                  </a:cubicBezTo>
                  <a:cubicBezTo>
                    <a:pt x="682" y="178"/>
                    <a:pt x="682" y="182"/>
                    <a:pt x="682" y="183"/>
                  </a:cubicBezTo>
                  <a:cubicBezTo>
                    <a:pt x="681" y="188"/>
                    <a:pt x="678" y="190"/>
                    <a:pt x="675" y="194"/>
                  </a:cubicBezTo>
                  <a:cubicBezTo>
                    <a:pt x="674" y="194"/>
                    <a:pt x="674" y="194"/>
                    <a:pt x="674" y="194"/>
                  </a:cubicBezTo>
                  <a:cubicBezTo>
                    <a:pt x="673" y="194"/>
                    <a:pt x="674" y="193"/>
                    <a:pt x="674" y="193"/>
                  </a:cubicBezTo>
                  <a:cubicBezTo>
                    <a:pt x="674" y="193"/>
                    <a:pt x="674" y="193"/>
                    <a:pt x="674" y="193"/>
                  </a:cubicBezTo>
                  <a:cubicBezTo>
                    <a:pt x="674" y="193"/>
                    <a:pt x="675" y="192"/>
                    <a:pt x="675" y="192"/>
                  </a:cubicBezTo>
                  <a:cubicBezTo>
                    <a:pt x="676" y="187"/>
                    <a:pt x="676" y="183"/>
                    <a:pt x="678" y="178"/>
                  </a:cubicBezTo>
                  <a:cubicBezTo>
                    <a:pt x="678" y="177"/>
                    <a:pt x="678" y="177"/>
                    <a:pt x="678" y="177"/>
                  </a:cubicBezTo>
                  <a:cubicBezTo>
                    <a:pt x="678" y="178"/>
                    <a:pt x="677" y="178"/>
                    <a:pt x="676" y="179"/>
                  </a:cubicBezTo>
                  <a:cubicBezTo>
                    <a:pt x="682" y="169"/>
                    <a:pt x="682" y="169"/>
                    <a:pt x="682" y="169"/>
                  </a:cubicBezTo>
                  <a:cubicBezTo>
                    <a:pt x="682" y="168"/>
                    <a:pt x="681" y="168"/>
                    <a:pt x="681" y="168"/>
                  </a:cubicBezTo>
                  <a:cubicBezTo>
                    <a:pt x="680" y="168"/>
                    <a:pt x="679" y="169"/>
                    <a:pt x="679" y="169"/>
                  </a:cubicBezTo>
                  <a:cubicBezTo>
                    <a:pt x="678" y="169"/>
                    <a:pt x="677" y="171"/>
                    <a:pt x="677" y="171"/>
                  </a:cubicBezTo>
                  <a:cubicBezTo>
                    <a:pt x="676" y="171"/>
                    <a:pt x="676" y="171"/>
                    <a:pt x="676" y="171"/>
                  </a:cubicBezTo>
                  <a:cubicBezTo>
                    <a:pt x="676" y="171"/>
                    <a:pt x="675" y="171"/>
                    <a:pt x="675" y="171"/>
                  </a:cubicBezTo>
                  <a:cubicBezTo>
                    <a:pt x="674" y="171"/>
                    <a:pt x="674" y="171"/>
                    <a:pt x="673" y="171"/>
                  </a:cubicBezTo>
                  <a:cubicBezTo>
                    <a:pt x="673" y="171"/>
                    <a:pt x="673" y="171"/>
                    <a:pt x="672" y="171"/>
                  </a:cubicBezTo>
                  <a:cubicBezTo>
                    <a:pt x="674" y="171"/>
                    <a:pt x="675" y="171"/>
                    <a:pt x="676" y="170"/>
                  </a:cubicBezTo>
                  <a:cubicBezTo>
                    <a:pt x="677" y="169"/>
                    <a:pt x="679" y="162"/>
                    <a:pt x="679" y="161"/>
                  </a:cubicBezTo>
                  <a:cubicBezTo>
                    <a:pt x="678" y="160"/>
                    <a:pt x="677" y="159"/>
                    <a:pt x="676" y="158"/>
                  </a:cubicBezTo>
                  <a:cubicBezTo>
                    <a:pt x="676" y="160"/>
                    <a:pt x="675" y="160"/>
                    <a:pt x="674" y="160"/>
                  </a:cubicBezTo>
                  <a:cubicBezTo>
                    <a:pt x="674" y="160"/>
                    <a:pt x="673" y="160"/>
                    <a:pt x="673" y="160"/>
                  </a:cubicBezTo>
                  <a:cubicBezTo>
                    <a:pt x="673" y="160"/>
                    <a:pt x="674" y="159"/>
                    <a:pt x="675" y="158"/>
                  </a:cubicBezTo>
                  <a:cubicBezTo>
                    <a:pt x="675" y="158"/>
                    <a:pt x="675" y="158"/>
                    <a:pt x="675" y="158"/>
                  </a:cubicBezTo>
                  <a:cubicBezTo>
                    <a:pt x="673" y="158"/>
                    <a:pt x="673" y="157"/>
                    <a:pt x="673" y="156"/>
                  </a:cubicBezTo>
                  <a:cubicBezTo>
                    <a:pt x="673" y="156"/>
                    <a:pt x="673" y="156"/>
                    <a:pt x="673" y="156"/>
                  </a:cubicBezTo>
                  <a:cubicBezTo>
                    <a:pt x="672" y="155"/>
                    <a:pt x="672" y="155"/>
                    <a:pt x="672" y="155"/>
                  </a:cubicBezTo>
                  <a:cubicBezTo>
                    <a:pt x="672" y="155"/>
                    <a:pt x="672" y="155"/>
                    <a:pt x="672" y="156"/>
                  </a:cubicBezTo>
                  <a:cubicBezTo>
                    <a:pt x="671" y="156"/>
                    <a:pt x="671" y="156"/>
                    <a:pt x="671" y="156"/>
                  </a:cubicBezTo>
                  <a:cubicBezTo>
                    <a:pt x="670" y="156"/>
                    <a:pt x="670" y="156"/>
                    <a:pt x="669" y="155"/>
                  </a:cubicBezTo>
                  <a:cubicBezTo>
                    <a:pt x="670" y="155"/>
                    <a:pt x="671" y="153"/>
                    <a:pt x="671" y="151"/>
                  </a:cubicBezTo>
                  <a:cubicBezTo>
                    <a:pt x="670" y="153"/>
                    <a:pt x="669" y="153"/>
                    <a:pt x="669" y="154"/>
                  </a:cubicBezTo>
                  <a:cubicBezTo>
                    <a:pt x="668" y="153"/>
                    <a:pt x="667" y="153"/>
                    <a:pt x="666" y="152"/>
                  </a:cubicBezTo>
                  <a:cubicBezTo>
                    <a:pt x="666" y="153"/>
                    <a:pt x="666" y="153"/>
                    <a:pt x="666" y="153"/>
                  </a:cubicBezTo>
                  <a:cubicBezTo>
                    <a:pt x="666" y="153"/>
                    <a:pt x="666" y="153"/>
                    <a:pt x="665" y="153"/>
                  </a:cubicBezTo>
                  <a:cubicBezTo>
                    <a:pt x="665" y="153"/>
                    <a:pt x="665" y="153"/>
                    <a:pt x="665" y="153"/>
                  </a:cubicBezTo>
                  <a:cubicBezTo>
                    <a:pt x="663" y="153"/>
                    <a:pt x="662" y="157"/>
                    <a:pt x="661" y="159"/>
                  </a:cubicBezTo>
                  <a:cubicBezTo>
                    <a:pt x="661" y="155"/>
                    <a:pt x="661" y="152"/>
                    <a:pt x="660" y="149"/>
                  </a:cubicBezTo>
                  <a:cubicBezTo>
                    <a:pt x="659" y="151"/>
                    <a:pt x="659" y="151"/>
                    <a:pt x="656" y="153"/>
                  </a:cubicBezTo>
                  <a:cubicBezTo>
                    <a:pt x="657" y="152"/>
                    <a:pt x="657" y="150"/>
                    <a:pt x="658" y="148"/>
                  </a:cubicBezTo>
                  <a:cubicBezTo>
                    <a:pt x="658" y="149"/>
                    <a:pt x="658" y="149"/>
                    <a:pt x="657" y="149"/>
                  </a:cubicBezTo>
                  <a:cubicBezTo>
                    <a:pt x="657" y="149"/>
                    <a:pt x="656" y="149"/>
                    <a:pt x="656" y="148"/>
                  </a:cubicBezTo>
                  <a:cubicBezTo>
                    <a:pt x="655" y="148"/>
                    <a:pt x="655" y="148"/>
                    <a:pt x="654" y="148"/>
                  </a:cubicBezTo>
                  <a:cubicBezTo>
                    <a:pt x="654" y="148"/>
                    <a:pt x="654" y="148"/>
                    <a:pt x="654" y="148"/>
                  </a:cubicBezTo>
                  <a:cubicBezTo>
                    <a:pt x="653" y="148"/>
                    <a:pt x="653" y="150"/>
                    <a:pt x="652" y="150"/>
                  </a:cubicBezTo>
                  <a:cubicBezTo>
                    <a:pt x="652" y="150"/>
                    <a:pt x="652" y="150"/>
                    <a:pt x="652" y="150"/>
                  </a:cubicBezTo>
                  <a:cubicBezTo>
                    <a:pt x="651" y="150"/>
                    <a:pt x="651" y="145"/>
                    <a:pt x="651" y="145"/>
                  </a:cubicBezTo>
                  <a:cubicBezTo>
                    <a:pt x="651" y="145"/>
                    <a:pt x="651" y="147"/>
                    <a:pt x="650" y="147"/>
                  </a:cubicBezTo>
                  <a:cubicBezTo>
                    <a:pt x="650" y="147"/>
                    <a:pt x="650" y="147"/>
                    <a:pt x="650" y="147"/>
                  </a:cubicBezTo>
                  <a:cubicBezTo>
                    <a:pt x="649" y="146"/>
                    <a:pt x="648" y="145"/>
                    <a:pt x="648" y="145"/>
                  </a:cubicBezTo>
                  <a:cubicBezTo>
                    <a:pt x="647" y="146"/>
                    <a:pt x="647" y="146"/>
                    <a:pt x="647" y="146"/>
                  </a:cubicBezTo>
                  <a:cubicBezTo>
                    <a:pt x="647" y="146"/>
                    <a:pt x="647" y="146"/>
                    <a:pt x="647" y="146"/>
                  </a:cubicBezTo>
                  <a:cubicBezTo>
                    <a:pt x="647" y="146"/>
                    <a:pt x="646" y="146"/>
                    <a:pt x="646" y="146"/>
                  </a:cubicBezTo>
                  <a:cubicBezTo>
                    <a:pt x="646" y="146"/>
                    <a:pt x="646" y="146"/>
                    <a:pt x="645" y="146"/>
                  </a:cubicBezTo>
                  <a:cubicBezTo>
                    <a:pt x="645" y="146"/>
                    <a:pt x="645" y="146"/>
                    <a:pt x="645" y="146"/>
                  </a:cubicBezTo>
                  <a:cubicBezTo>
                    <a:pt x="645" y="145"/>
                    <a:pt x="645" y="144"/>
                    <a:pt x="645" y="143"/>
                  </a:cubicBezTo>
                  <a:cubicBezTo>
                    <a:pt x="644" y="144"/>
                    <a:pt x="644" y="145"/>
                    <a:pt x="643" y="146"/>
                  </a:cubicBezTo>
                  <a:cubicBezTo>
                    <a:pt x="643" y="144"/>
                    <a:pt x="643" y="144"/>
                    <a:pt x="642" y="144"/>
                  </a:cubicBezTo>
                  <a:cubicBezTo>
                    <a:pt x="642" y="144"/>
                    <a:pt x="640" y="145"/>
                    <a:pt x="639" y="145"/>
                  </a:cubicBezTo>
                  <a:cubicBezTo>
                    <a:pt x="640" y="144"/>
                    <a:pt x="640" y="142"/>
                    <a:pt x="640" y="140"/>
                  </a:cubicBezTo>
                  <a:cubicBezTo>
                    <a:pt x="640" y="140"/>
                    <a:pt x="640" y="139"/>
                    <a:pt x="640" y="139"/>
                  </a:cubicBezTo>
                  <a:cubicBezTo>
                    <a:pt x="640" y="139"/>
                    <a:pt x="640" y="140"/>
                    <a:pt x="640" y="140"/>
                  </a:cubicBezTo>
                  <a:cubicBezTo>
                    <a:pt x="639" y="140"/>
                    <a:pt x="639" y="141"/>
                    <a:pt x="639" y="141"/>
                  </a:cubicBezTo>
                  <a:cubicBezTo>
                    <a:pt x="639" y="141"/>
                    <a:pt x="639" y="141"/>
                    <a:pt x="639" y="141"/>
                  </a:cubicBezTo>
                  <a:cubicBezTo>
                    <a:pt x="639" y="141"/>
                    <a:pt x="638" y="143"/>
                    <a:pt x="637" y="143"/>
                  </a:cubicBezTo>
                  <a:cubicBezTo>
                    <a:pt x="636" y="143"/>
                    <a:pt x="636" y="143"/>
                    <a:pt x="636" y="143"/>
                  </a:cubicBezTo>
                  <a:cubicBezTo>
                    <a:pt x="633" y="143"/>
                    <a:pt x="630" y="143"/>
                    <a:pt x="627" y="142"/>
                  </a:cubicBezTo>
                  <a:cubicBezTo>
                    <a:pt x="629" y="141"/>
                    <a:pt x="632" y="138"/>
                    <a:pt x="629" y="138"/>
                  </a:cubicBezTo>
                  <a:cubicBezTo>
                    <a:pt x="629" y="138"/>
                    <a:pt x="629" y="138"/>
                    <a:pt x="629" y="138"/>
                  </a:cubicBezTo>
                  <a:cubicBezTo>
                    <a:pt x="629" y="138"/>
                    <a:pt x="628" y="138"/>
                    <a:pt x="628" y="139"/>
                  </a:cubicBezTo>
                  <a:cubicBezTo>
                    <a:pt x="628" y="139"/>
                    <a:pt x="628" y="140"/>
                    <a:pt x="627" y="140"/>
                  </a:cubicBezTo>
                  <a:cubicBezTo>
                    <a:pt x="627" y="140"/>
                    <a:pt x="627" y="139"/>
                    <a:pt x="627" y="139"/>
                  </a:cubicBezTo>
                  <a:cubicBezTo>
                    <a:pt x="626" y="138"/>
                    <a:pt x="626" y="136"/>
                    <a:pt x="626" y="135"/>
                  </a:cubicBezTo>
                  <a:cubicBezTo>
                    <a:pt x="625" y="137"/>
                    <a:pt x="624" y="137"/>
                    <a:pt x="623" y="139"/>
                  </a:cubicBezTo>
                  <a:cubicBezTo>
                    <a:pt x="622" y="138"/>
                    <a:pt x="622" y="137"/>
                    <a:pt x="622" y="136"/>
                  </a:cubicBezTo>
                  <a:cubicBezTo>
                    <a:pt x="621" y="137"/>
                    <a:pt x="621" y="138"/>
                    <a:pt x="620" y="138"/>
                  </a:cubicBezTo>
                  <a:cubicBezTo>
                    <a:pt x="618" y="138"/>
                    <a:pt x="615" y="134"/>
                    <a:pt x="614" y="133"/>
                  </a:cubicBezTo>
                  <a:cubicBezTo>
                    <a:pt x="613" y="133"/>
                    <a:pt x="612" y="133"/>
                    <a:pt x="611" y="133"/>
                  </a:cubicBezTo>
                  <a:cubicBezTo>
                    <a:pt x="609" y="133"/>
                    <a:pt x="607" y="133"/>
                    <a:pt x="605" y="134"/>
                  </a:cubicBezTo>
                  <a:cubicBezTo>
                    <a:pt x="600" y="134"/>
                    <a:pt x="596" y="135"/>
                    <a:pt x="593" y="139"/>
                  </a:cubicBezTo>
                  <a:cubicBezTo>
                    <a:pt x="592" y="140"/>
                    <a:pt x="591" y="141"/>
                    <a:pt x="591" y="142"/>
                  </a:cubicBezTo>
                  <a:cubicBezTo>
                    <a:pt x="591" y="142"/>
                    <a:pt x="592" y="143"/>
                    <a:pt x="592" y="144"/>
                  </a:cubicBezTo>
                  <a:cubicBezTo>
                    <a:pt x="592" y="144"/>
                    <a:pt x="593" y="145"/>
                    <a:pt x="592" y="146"/>
                  </a:cubicBezTo>
                  <a:cubicBezTo>
                    <a:pt x="591" y="146"/>
                    <a:pt x="589" y="147"/>
                    <a:pt x="588" y="148"/>
                  </a:cubicBezTo>
                  <a:cubicBezTo>
                    <a:pt x="587" y="149"/>
                    <a:pt x="586" y="151"/>
                    <a:pt x="587" y="152"/>
                  </a:cubicBezTo>
                  <a:cubicBezTo>
                    <a:pt x="587" y="153"/>
                    <a:pt x="588" y="153"/>
                    <a:pt x="589" y="153"/>
                  </a:cubicBezTo>
                  <a:cubicBezTo>
                    <a:pt x="589" y="153"/>
                    <a:pt x="590" y="153"/>
                    <a:pt x="591" y="153"/>
                  </a:cubicBezTo>
                  <a:cubicBezTo>
                    <a:pt x="592" y="152"/>
                    <a:pt x="593" y="152"/>
                    <a:pt x="593" y="152"/>
                  </a:cubicBezTo>
                  <a:cubicBezTo>
                    <a:pt x="593" y="152"/>
                    <a:pt x="594" y="152"/>
                    <a:pt x="594" y="152"/>
                  </a:cubicBezTo>
                  <a:cubicBezTo>
                    <a:pt x="590" y="153"/>
                    <a:pt x="586" y="152"/>
                    <a:pt x="588" y="156"/>
                  </a:cubicBezTo>
                  <a:cubicBezTo>
                    <a:pt x="586" y="156"/>
                    <a:pt x="585" y="154"/>
                    <a:pt x="584" y="154"/>
                  </a:cubicBezTo>
                  <a:cubicBezTo>
                    <a:pt x="583" y="154"/>
                    <a:pt x="583" y="154"/>
                    <a:pt x="582" y="155"/>
                  </a:cubicBezTo>
                  <a:cubicBezTo>
                    <a:pt x="578" y="157"/>
                    <a:pt x="573" y="160"/>
                    <a:pt x="570" y="163"/>
                  </a:cubicBezTo>
                  <a:cubicBezTo>
                    <a:pt x="567" y="167"/>
                    <a:pt x="566" y="174"/>
                    <a:pt x="564" y="178"/>
                  </a:cubicBezTo>
                  <a:cubicBezTo>
                    <a:pt x="563" y="176"/>
                    <a:pt x="565" y="170"/>
                    <a:pt x="566" y="168"/>
                  </a:cubicBezTo>
                  <a:cubicBezTo>
                    <a:pt x="567" y="165"/>
                    <a:pt x="568" y="162"/>
                    <a:pt x="568" y="158"/>
                  </a:cubicBezTo>
                  <a:cubicBezTo>
                    <a:pt x="565" y="159"/>
                    <a:pt x="564" y="160"/>
                    <a:pt x="561" y="161"/>
                  </a:cubicBezTo>
                  <a:cubicBezTo>
                    <a:pt x="560" y="162"/>
                    <a:pt x="559" y="162"/>
                    <a:pt x="557" y="162"/>
                  </a:cubicBezTo>
                  <a:cubicBezTo>
                    <a:pt x="556" y="163"/>
                    <a:pt x="556" y="163"/>
                    <a:pt x="555" y="165"/>
                  </a:cubicBezTo>
                  <a:cubicBezTo>
                    <a:pt x="555" y="162"/>
                    <a:pt x="552" y="161"/>
                    <a:pt x="550" y="161"/>
                  </a:cubicBezTo>
                  <a:cubicBezTo>
                    <a:pt x="549" y="161"/>
                    <a:pt x="548" y="161"/>
                    <a:pt x="548" y="163"/>
                  </a:cubicBezTo>
                  <a:cubicBezTo>
                    <a:pt x="546" y="162"/>
                    <a:pt x="544" y="162"/>
                    <a:pt x="543" y="161"/>
                  </a:cubicBezTo>
                  <a:cubicBezTo>
                    <a:pt x="546" y="161"/>
                    <a:pt x="548" y="160"/>
                    <a:pt x="550" y="160"/>
                  </a:cubicBezTo>
                  <a:cubicBezTo>
                    <a:pt x="551" y="160"/>
                    <a:pt x="553" y="160"/>
                    <a:pt x="555" y="161"/>
                  </a:cubicBezTo>
                  <a:cubicBezTo>
                    <a:pt x="555" y="161"/>
                    <a:pt x="555" y="161"/>
                    <a:pt x="555" y="161"/>
                  </a:cubicBezTo>
                  <a:cubicBezTo>
                    <a:pt x="556" y="161"/>
                    <a:pt x="556" y="160"/>
                    <a:pt x="557" y="160"/>
                  </a:cubicBezTo>
                  <a:cubicBezTo>
                    <a:pt x="557" y="160"/>
                    <a:pt x="558" y="159"/>
                    <a:pt x="558" y="159"/>
                  </a:cubicBezTo>
                  <a:cubicBezTo>
                    <a:pt x="559" y="159"/>
                    <a:pt x="559" y="159"/>
                    <a:pt x="559" y="159"/>
                  </a:cubicBezTo>
                  <a:cubicBezTo>
                    <a:pt x="559" y="159"/>
                    <a:pt x="559" y="159"/>
                    <a:pt x="560" y="159"/>
                  </a:cubicBezTo>
                  <a:cubicBezTo>
                    <a:pt x="560" y="159"/>
                    <a:pt x="560" y="159"/>
                    <a:pt x="560" y="159"/>
                  </a:cubicBezTo>
                  <a:cubicBezTo>
                    <a:pt x="561" y="159"/>
                    <a:pt x="561" y="159"/>
                    <a:pt x="561" y="159"/>
                  </a:cubicBezTo>
                  <a:cubicBezTo>
                    <a:pt x="561" y="159"/>
                    <a:pt x="561" y="159"/>
                    <a:pt x="561" y="159"/>
                  </a:cubicBezTo>
                  <a:cubicBezTo>
                    <a:pt x="561" y="159"/>
                    <a:pt x="561" y="159"/>
                    <a:pt x="561" y="159"/>
                  </a:cubicBezTo>
                  <a:cubicBezTo>
                    <a:pt x="562" y="159"/>
                    <a:pt x="562" y="159"/>
                    <a:pt x="562" y="159"/>
                  </a:cubicBezTo>
                  <a:cubicBezTo>
                    <a:pt x="562" y="158"/>
                    <a:pt x="562" y="158"/>
                    <a:pt x="562" y="158"/>
                  </a:cubicBezTo>
                  <a:cubicBezTo>
                    <a:pt x="563" y="157"/>
                    <a:pt x="563" y="157"/>
                    <a:pt x="563" y="157"/>
                  </a:cubicBezTo>
                  <a:cubicBezTo>
                    <a:pt x="563" y="157"/>
                    <a:pt x="563" y="157"/>
                    <a:pt x="563" y="157"/>
                  </a:cubicBezTo>
                  <a:cubicBezTo>
                    <a:pt x="563" y="156"/>
                    <a:pt x="563" y="156"/>
                    <a:pt x="563" y="156"/>
                  </a:cubicBezTo>
                  <a:cubicBezTo>
                    <a:pt x="563" y="155"/>
                    <a:pt x="563" y="155"/>
                    <a:pt x="563" y="155"/>
                  </a:cubicBezTo>
                  <a:cubicBezTo>
                    <a:pt x="563" y="155"/>
                    <a:pt x="563" y="154"/>
                    <a:pt x="563" y="154"/>
                  </a:cubicBezTo>
                  <a:cubicBezTo>
                    <a:pt x="564" y="155"/>
                    <a:pt x="564" y="155"/>
                    <a:pt x="564" y="155"/>
                  </a:cubicBezTo>
                  <a:cubicBezTo>
                    <a:pt x="564" y="156"/>
                    <a:pt x="565" y="156"/>
                    <a:pt x="565" y="157"/>
                  </a:cubicBezTo>
                  <a:cubicBezTo>
                    <a:pt x="565" y="157"/>
                    <a:pt x="565" y="157"/>
                    <a:pt x="565" y="157"/>
                  </a:cubicBezTo>
                  <a:cubicBezTo>
                    <a:pt x="565" y="157"/>
                    <a:pt x="565" y="157"/>
                    <a:pt x="565" y="157"/>
                  </a:cubicBezTo>
                  <a:cubicBezTo>
                    <a:pt x="565" y="157"/>
                    <a:pt x="565" y="157"/>
                    <a:pt x="565" y="157"/>
                  </a:cubicBezTo>
                  <a:cubicBezTo>
                    <a:pt x="566" y="157"/>
                    <a:pt x="566" y="157"/>
                    <a:pt x="566" y="157"/>
                  </a:cubicBezTo>
                  <a:cubicBezTo>
                    <a:pt x="566" y="157"/>
                    <a:pt x="566" y="157"/>
                    <a:pt x="566" y="157"/>
                  </a:cubicBezTo>
                  <a:cubicBezTo>
                    <a:pt x="566" y="157"/>
                    <a:pt x="566" y="157"/>
                    <a:pt x="566" y="157"/>
                  </a:cubicBezTo>
                  <a:cubicBezTo>
                    <a:pt x="566" y="157"/>
                    <a:pt x="566" y="157"/>
                    <a:pt x="566" y="157"/>
                  </a:cubicBezTo>
                  <a:cubicBezTo>
                    <a:pt x="567" y="157"/>
                    <a:pt x="567" y="157"/>
                    <a:pt x="567" y="157"/>
                  </a:cubicBezTo>
                  <a:cubicBezTo>
                    <a:pt x="567" y="157"/>
                    <a:pt x="567" y="157"/>
                    <a:pt x="567" y="157"/>
                  </a:cubicBezTo>
                  <a:cubicBezTo>
                    <a:pt x="567" y="157"/>
                    <a:pt x="567" y="157"/>
                    <a:pt x="567" y="157"/>
                  </a:cubicBezTo>
                  <a:cubicBezTo>
                    <a:pt x="568" y="157"/>
                    <a:pt x="569" y="157"/>
                    <a:pt x="570" y="157"/>
                  </a:cubicBezTo>
                  <a:cubicBezTo>
                    <a:pt x="570" y="157"/>
                    <a:pt x="571" y="157"/>
                    <a:pt x="571" y="157"/>
                  </a:cubicBezTo>
                  <a:cubicBezTo>
                    <a:pt x="573" y="156"/>
                    <a:pt x="577" y="155"/>
                    <a:pt x="579" y="153"/>
                  </a:cubicBezTo>
                  <a:cubicBezTo>
                    <a:pt x="580" y="152"/>
                    <a:pt x="581" y="148"/>
                    <a:pt x="582" y="146"/>
                  </a:cubicBezTo>
                  <a:cubicBezTo>
                    <a:pt x="582" y="145"/>
                    <a:pt x="582" y="145"/>
                    <a:pt x="582" y="145"/>
                  </a:cubicBezTo>
                  <a:cubicBezTo>
                    <a:pt x="582" y="145"/>
                    <a:pt x="582" y="145"/>
                    <a:pt x="582" y="145"/>
                  </a:cubicBezTo>
                  <a:cubicBezTo>
                    <a:pt x="583" y="145"/>
                    <a:pt x="583" y="144"/>
                    <a:pt x="584" y="144"/>
                  </a:cubicBezTo>
                  <a:cubicBezTo>
                    <a:pt x="584" y="143"/>
                    <a:pt x="584" y="142"/>
                    <a:pt x="584" y="142"/>
                  </a:cubicBezTo>
                  <a:cubicBezTo>
                    <a:pt x="584" y="141"/>
                    <a:pt x="584" y="141"/>
                    <a:pt x="584" y="141"/>
                  </a:cubicBezTo>
                  <a:cubicBezTo>
                    <a:pt x="585" y="140"/>
                    <a:pt x="585" y="140"/>
                    <a:pt x="585" y="140"/>
                  </a:cubicBezTo>
                  <a:cubicBezTo>
                    <a:pt x="585" y="140"/>
                    <a:pt x="586" y="140"/>
                    <a:pt x="586" y="139"/>
                  </a:cubicBezTo>
                  <a:cubicBezTo>
                    <a:pt x="586" y="139"/>
                    <a:pt x="586" y="139"/>
                    <a:pt x="586" y="139"/>
                  </a:cubicBezTo>
                  <a:cubicBezTo>
                    <a:pt x="586" y="139"/>
                    <a:pt x="586" y="139"/>
                    <a:pt x="586" y="139"/>
                  </a:cubicBezTo>
                  <a:cubicBezTo>
                    <a:pt x="586" y="139"/>
                    <a:pt x="586" y="138"/>
                    <a:pt x="586" y="138"/>
                  </a:cubicBezTo>
                  <a:cubicBezTo>
                    <a:pt x="586" y="138"/>
                    <a:pt x="586" y="138"/>
                    <a:pt x="586" y="138"/>
                  </a:cubicBezTo>
                  <a:cubicBezTo>
                    <a:pt x="586" y="137"/>
                    <a:pt x="586" y="137"/>
                    <a:pt x="586" y="136"/>
                  </a:cubicBezTo>
                  <a:cubicBezTo>
                    <a:pt x="587" y="136"/>
                    <a:pt x="587" y="136"/>
                    <a:pt x="587" y="136"/>
                  </a:cubicBezTo>
                  <a:cubicBezTo>
                    <a:pt x="587" y="136"/>
                    <a:pt x="587" y="136"/>
                    <a:pt x="587" y="136"/>
                  </a:cubicBezTo>
                  <a:cubicBezTo>
                    <a:pt x="587" y="135"/>
                    <a:pt x="587" y="134"/>
                    <a:pt x="587" y="133"/>
                  </a:cubicBezTo>
                  <a:cubicBezTo>
                    <a:pt x="588" y="132"/>
                    <a:pt x="588" y="131"/>
                    <a:pt x="589" y="130"/>
                  </a:cubicBezTo>
                  <a:cubicBezTo>
                    <a:pt x="589" y="129"/>
                    <a:pt x="589" y="129"/>
                    <a:pt x="589" y="128"/>
                  </a:cubicBezTo>
                  <a:cubicBezTo>
                    <a:pt x="589" y="128"/>
                    <a:pt x="589" y="128"/>
                    <a:pt x="589" y="128"/>
                  </a:cubicBezTo>
                  <a:cubicBezTo>
                    <a:pt x="589" y="127"/>
                    <a:pt x="589" y="127"/>
                    <a:pt x="589" y="126"/>
                  </a:cubicBezTo>
                  <a:cubicBezTo>
                    <a:pt x="588" y="126"/>
                    <a:pt x="588" y="126"/>
                    <a:pt x="586" y="126"/>
                  </a:cubicBezTo>
                  <a:cubicBezTo>
                    <a:pt x="583" y="125"/>
                    <a:pt x="580" y="124"/>
                    <a:pt x="577" y="124"/>
                  </a:cubicBezTo>
                  <a:cubicBezTo>
                    <a:pt x="576" y="123"/>
                    <a:pt x="574" y="123"/>
                    <a:pt x="572" y="123"/>
                  </a:cubicBezTo>
                  <a:cubicBezTo>
                    <a:pt x="571" y="123"/>
                    <a:pt x="571" y="123"/>
                    <a:pt x="571" y="123"/>
                  </a:cubicBezTo>
                  <a:cubicBezTo>
                    <a:pt x="571" y="123"/>
                    <a:pt x="571" y="123"/>
                    <a:pt x="571" y="123"/>
                  </a:cubicBezTo>
                  <a:cubicBezTo>
                    <a:pt x="569" y="123"/>
                    <a:pt x="567" y="123"/>
                    <a:pt x="567" y="124"/>
                  </a:cubicBezTo>
                  <a:cubicBezTo>
                    <a:pt x="566" y="125"/>
                    <a:pt x="566" y="125"/>
                    <a:pt x="566" y="125"/>
                  </a:cubicBezTo>
                  <a:cubicBezTo>
                    <a:pt x="566" y="125"/>
                    <a:pt x="566" y="125"/>
                    <a:pt x="566" y="125"/>
                  </a:cubicBezTo>
                  <a:cubicBezTo>
                    <a:pt x="565" y="125"/>
                    <a:pt x="565" y="125"/>
                    <a:pt x="565" y="125"/>
                  </a:cubicBezTo>
                  <a:cubicBezTo>
                    <a:pt x="559" y="124"/>
                    <a:pt x="553" y="123"/>
                    <a:pt x="548" y="123"/>
                  </a:cubicBezTo>
                  <a:cubicBezTo>
                    <a:pt x="548" y="123"/>
                    <a:pt x="548" y="123"/>
                    <a:pt x="548" y="123"/>
                  </a:cubicBezTo>
                  <a:cubicBezTo>
                    <a:pt x="548" y="123"/>
                    <a:pt x="548" y="123"/>
                    <a:pt x="548" y="123"/>
                  </a:cubicBezTo>
                  <a:cubicBezTo>
                    <a:pt x="547" y="122"/>
                    <a:pt x="546" y="122"/>
                    <a:pt x="545" y="122"/>
                  </a:cubicBezTo>
                  <a:cubicBezTo>
                    <a:pt x="544" y="122"/>
                    <a:pt x="543" y="122"/>
                    <a:pt x="542" y="122"/>
                  </a:cubicBezTo>
                  <a:cubicBezTo>
                    <a:pt x="542" y="122"/>
                    <a:pt x="542" y="122"/>
                    <a:pt x="541" y="122"/>
                  </a:cubicBezTo>
                  <a:cubicBezTo>
                    <a:pt x="540" y="123"/>
                    <a:pt x="539" y="123"/>
                    <a:pt x="538" y="124"/>
                  </a:cubicBezTo>
                  <a:cubicBezTo>
                    <a:pt x="536" y="126"/>
                    <a:pt x="535" y="128"/>
                    <a:pt x="536" y="131"/>
                  </a:cubicBezTo>
                  <a:cubicBezTo>
                    <a:pt x="536" y="132"/>
                    <a:pt x="536" y="132"/>
                    <a:pt x="536" y="132"/>
                  </a:cubicBezTo>
                  <a:cubicBezTo>
                    <a:pt x="537" y="133"/>
                    <a:pt x="537" y="133"/>
                    <a:pt x="537" y="133"/>
                  </a:cubicBezTo>
                  <a:cubicBezTo>
                    <a:pt x="537" y="133"/>
                    <a:pt x="537" y="133"/>
                    <a:pt x="537" y="133"/>
                  </a:cubicBezTo>
                  <a:cubicBezTo>
                    <a:pt x="538" y="134"/>
                    <a:pt x="538" y="134"/>
                    <a:pt x="539" y="135"/>
                  </a:cubicBezTo>
                  <a:cubicBezTo>
                    <a:pt x="537" y="135"/>
                    <a:pt x="535" y="134"/>
                    <a:pt x="535" y="132"/>
                  </a:cubicBezTo>
                  <a:cubicBezTo>
                    <a:pt x="535" y="133"/>
                    <a:pt x="534" y="133"/>
                    <a:pt x="534" y="134"/>
                  </a:cubicBezTo>
                  <a:cubicBezTo>
                    <a:pt x="534" y="135"/>
                    <a:pt x="534" y="135"/>
                    <a:pt x="534" y="135"/>
                  </a:cubicBezTo>
                  <a:cubicBezTo>
                    <a:pt x="534" y="135"/>
                    <a:pt x="533" y="136"/>
                    <a:pt x="533" y="136"/>
                  </a:cubicBezTo>
                  <a:cubicBezTo>
                    <a:pt x="533" y="137"/>
                    <a:pt x="533" y="137"/>
                    <a:pt x="533" y="137"/>
                  </a:cubicBezTo>
                  <a:cubicBezTo>
                    <a:pt x="533" y="138"/>
                    <a:pt x="533" y="138"/>
                    <a:pt x="533" y="139"/>
                  </a:cubicBezTo>
                  <a:cubicBezTo>
                    <a:pt x="533" y="139"/>
                    <a:pt x="533" y="139"/>
                    <a:pt x="533" y="139"/>
                  </a:cubicBezTo>
                  <a:cubicBezTo>
                    <a:pt x="534" y="140"/>
                    <a:pt x="534" y="140"/>
                    <a:pt x="534" y="140"/>
                  </a:cubicBezTo>
                  <a:cubicBezTo>
                    <a:pt x="534" y="141"/>
                    <a:pt x="534" y="141"/>
                    <a:pt x="534" y="141"/>
                  </a:cubicBezTo>
                  <a:cubicBezTo>
                    <a:pt x="534" y="141"/>
                    <a:pt x="534" y="141"/>
                    <a:pt x="534" y="141"/>
                  </a:cubicBezTo>
                  <a:cubicBezTo>
                    <a:pt x="534" y="141"/>
                    <a:pt x="534" y="141"/>
                    <a:pt x="534" y="141"/>
                  </a:cubicBezTo>
                  <a:cubicBezTo>
                    <a:pt x="534" y="142"/>
                    <a:pt x="534" y="142"/>
                    <a:pt x="534" y="142"/>
                  </a:cubicBezTo>
                  <a:cubicBezTo>
                    <a:pt x="535" y="142"/>
                    <a:pt x="535" y="142"/>
                    <a:pt x="535" y="142"/>
                  </a:cubicBezTo>
                  <a:cubicBezTo>
                    <a:pt x="535" y="143"/>
                    <a:pt x="535" y="143"/>
                    <a:pt x="535" y="143"/>
                  </a:cubicBezTo>
                  <a:cubicBezTo>
                    <a:pt x="536" y="143"/>
                    <a:pt x="536" y="144"/>
                    <a:pt x="537" y="144"/>
                  </a:cubicBezTo>
                  <a:cubicBezTo>
                    <a:pt x="538" y="144"/>
                    <a:pt x="539" y="143"/>
                    <a:pt x="540" y="143"/>
                  </a:cubicBezTo>
                  <a:cubicBezTo>
                    <a:pt x="540" y="143"/>
                    <a:pt x="540" y="143"/>
                    <a:pt x="540" y="143"/>
                  </a:cubicBezTo>
                  <a:cubicBezTo>
                    <a:pt x="540" y="144"/>
                    <a:pt x="540" y="144"/>
                    <a:pt x="540" y="144"/>
                  </a:cubicBezTo>
                  <a:cubicBezTo>
                    <a:pt x="539" y="144"/>
                    <a:pt x="539" y="144"/>
                    <a:pt x="539" y="144"/>
                  </a:cubicBezTo>
                  <a:cubicBezTo>
                    <a:pt x="538" y="145"/>
                    <a:pt x="537" y="146"/>
                    <a:pt x="536" y="146"/>
                  </a:cubicBezTo>
                  <a:cubicBezTo>
                    <a:pt x="536" y="146"/>
                    <a:pt x="535" y="145"/>
                    <a:pt x="534" y="145"/>
                  </a:cubicBezTo>
                  <a:cubicBezTo>
                    <a:pt x="534" y="145"/>
                    <a:pt x="534" y="145"/>
                    <a:pt x="534" y="145"/>
                  </a:cubicBezTo>
                  <a:cubicBezTo>
                    <a:pt x="534" y="145"/>
                    <a:pt x="534" y="145"/>
                    <a:pt x="534" y="145"/>
                  </a:cubicBezTo>
                  <a:cubicBezTo>
                    <a:pt x="534" y="145"/>
                    <a:pt x="534" y="145"/>
                    <a:pt x="534" y="145"/>
                  </a:cubicBezTo>
                  <a:cubicBezTo>
                    <a:pt x="533" y="145"/>
                    <a:pt x="533" y="145"/>
                    <a:pt x="533" y="145"/>
                  </a:cubicBezTo>
                  <a:cubicBezTo>
                    <a:pt x="533" y="145"/>
                    <a:pt x="533" y="148"/>
                    <a:pt x="534" y="150"/>
                  </a:cubicBezTo>
                  <a:cubicBezTo>
                    <a:pt x="535" y="151"/>
                    <a:pt x="535" y="152"/>
                    <a:pt x="535" y="152"/>
                  </a:cubicBezTo>
                  <a:cubicBezTo>
                    <a:pt x="536" y="154"/>
                    <a:pt x="538" y="157"/>
                    <a:pt x="539" y="159"/>
                  </a:cubicBezTo>
                  <a:cubicBezTo>
                    <a:pt x="540" y="160"/>
                    <a:pt x="540" y="160"/>
                    <a:pt x="540" y="161"/>
                  </a:cubicBezTo>
                  <a:cubicBezTo>
                    <a:pt x="539" y="160"/>
                    <a:pt x="537" y="160"/>
                    <a:pt x="535" y="159"/>
                  </a:cubicBezTo>
                  <a:cubicBezTo>
                    <a:pt x="535" y="159"/>
                    <a:pt x="535" y="159"/>
                    <a:pt x="535" y="159"/>
                  </a:cubicBezTo>
                  <a:cubicBezTo>
                    <a:pt x="535" y="159"/>
                    <a:pt x="535" y="159"/>
                    <a:pt x="535" y="159"/>
                  </a:cubicBezTo>
                  <a:cubicBezTo>
                    <a:pt x="535" y="159"/>
                    <a:pt x="535" y="159"/>
                    <a:pt x="535" y="159"/>
                  </a:cubicBezTo>
                  <a:cubicBezTo>
                    <a:pt x="535" y="155"/>
                    <a:pt x="533" y="152"/>
                    <a:pt x="533" y="148"/>
                  </a:cubicBezTo>
                  <a:cubicBezTo>
                    <a:pt x="533" y="145"/>
                    <a:pt x="532" y="140"/>
                    <a:pt x="530" y="140"/>
                  </a:cubicBezTo>
                  <a:cubicBezTo>
                    <a:pt x="530" y="140"/>
                    <a:pt x="529" y="140"/>
                    <a:pt x="529" y="141"/>
                  </a:cubicBezTo>
                  <a:cubicBezTo>
                    <a:pt x="528" y="141"/>
                    <a:pt x="527" y="143"/>
                    <a:pt x="526" y="144"/>
                  </a:cubicBezTo>
                  <a:cubicBezTo>
                    <a:pt x="524" y="145"/>
                    <a:pt x="523" y="146"/>
                    <a:pt x="522" y="147"/>
                  </a:cubicBezTo>
                  <a:cubicBezTo>
                    <a:pt x="519" y="149"/>
                    <a:pt x="516" y="150"/>
                    <a:pt x="513" y="151"/>
                  </a:cubicBezTo>
                  <a:cubicBezTo>
                    <a:pt x="513" y="152"/>
                    <a:pt x="512" y="152"/>
                    <a:pt x="512" y="152"/>
                  </a:cubicBezTo>
                  <a:cubicBezTo>
                    <a:pt x="512" y="152"/>
                    <a:pt x="511" y="152"/>
                    <a:pt x="511" y="152"/>
                  </a:cubicBezTo>
                  <a:cubicBezTo>
                    <a:pt x="508" y="154"/>
                    <a:pt x="503" y="158"/>
                    <a:pt x="500" y="158"/>
                  </a:cubicBezTo>
                  <a:cubicBezTo>
                    <a:pt x="500" y="158"/>
                    <a:pt x="499" y="158"/>
                    <a:pt x="499" y="157"/>
                  </a:cubicBezTo>
                  <a:cubicBezTo>
                    <a:pt x="499" y="156"/>
                    <a:pt x="499" y="155"/>
                    <a:pt x="498" y="154"/>
                  </a:cubicBezTo>
                  <a:cubicBezTo>
                    <a:pt x="498" y="154"/>
                    <a:pt x="497" y="154"/>
                    <a:pt x="497" y="154"/>
                  </a:cubicBezTo>
                  <a:cubicBezTo>
                    <a:pt x="494" y="154"/>
                    <a:pt x="490" y="155"/>
                    <a:pt x="489" y="156"/>
                  </a:cubicBezTo>
                  <a:cubicBezTo>
                    <a:pt x="489" y="153"/>
                    <a:pt x="497" y="151"/>
                    <a:pt x="499" y="150"/>
                  </a:cubicBezTo>
                  <a:cubicBezTo>
                    <a:pt x="501" y="150"/>
                    <a:pt x="502" y="150"/>
                    <a:pt x="503" y="150"/>
                  </a:cubicBezTo>
                  <a:cubicBezTo>
                    <a:pt x="503" y="150"/>
                    <a:pt x="503" y="150"/>
                    <a:pt x="503" y="150"/>
                  </a:cubicBezTo>
                  <a:cubicBezTo>
                    <a:pt x="504" y="151"/>
                    <a:pt x="504" y="151"/>
                    <a:pt x="505" y="151"/>
                  </a:cubicBezTo>
                  <a:cubicBezTo>
                    <a:pt x="508" y="151"/>
                    <a:pt x="508" y="145"/>
                    <a:pt x="509" y="143"/>
                  </a:cubicBezTo>
                  <a:cubicBezTo>
                    <a:pt x="513" y="137"/>
                    <a:pt x="516" y="132"/>
                    <a:pt x="520" y="127"/>
                  </a:cubicBezTo>
                  <a:cubicBezTo>
                    <a:pt x="522" y="123"/>
                    <a:pt x="524" y="121"/>
                    <a:pt x="527" y="118"/>
                  </a:cubicBezTo>
                  <a:cubicBezTo>
                    <a:pt x="535" y="111"/>
                    <a:pt x="542" y="103"/>
                    <a:pt x="549" y="96"/>
                  </a:cubicBezTo>
                  <a:cubicBezTo>
                    <a:pt x="550" y="95"/>
                    <a:pt x="555" y="92"/>
                    <a:pt x="554" y="90"/>
                  </a:cubicBezTo>
                  <a:cubicBezTo>
                    <a:pt x="554" y="90"/>
                    <a:pt x="553" y="89"/>
                    <a:pt x="553" y="89"/>
                  </a:cubicBezTo>
                  <a:cubicBezTo>
                    <a:pt x="552" y="89"/>
                    <a:pt x="550" y="90"/>
                    <a:pt x="549" y="90"/>
                  </a:cubicBezTo>
                  <a:cubicBezTo>
                    <a:pt x="554" y="88"/>
                    <a:pt x="555" y="87"/>
                    <a:pt x="555" y="83"/>
                  </a:cubicBezTo>
                  <a:cubicBezTo>
                    <a:pt x="554" y="79"/>
                    <a:pt x="553" y="78"/>
                    <a:pt x="549" y="77"/>
                  </a:cubicBezTo>
                  <a:cubicBezTo>
                    <a:pt x="548" y="76"/>
                    <a:pt x="544" y="77"/>
                    <a:pt x="543" y="76"/>
                  </a:cubicBezTo>
                  <a:cubicBezTo>
                    <a:pt x="543" y="75"/>
                    <a:pt x="543" y="75"/>
                    <a:pt x="543" y="75"/>
                  </a:cubicBezTo>
                  <a:cubicBezTo>
                    <a:pt x="543" y="75"/>
                    <a:pt x="543" y="75"/>
                    <a:pt x="543" y="75"/>
                  </a:cubicBezTo>
                  <a:cubicBezTo>
                    <a:pt x="544" y="75"/>
                    <a:pt x="545" y="74"/>
                    <a:pt x="545" y="73"/>
                  </a:cubicBezTo>
                  <a:cubicBezTo>
                    <a:pt x="545" y="72"/>
                    <a:pt x="545" y="71"/>
                    <a:pt x="544" y="71"/>
                  </a:cubicBezTo>
                  <a:cubicBezTo>
                    <a:pt x="543" y="70"/>
                    <a:pt x="543" y="70"/>
                    <a:pt x="542" y="70"/>
                  </a:cubicBezTo>
                  <a:cubicBezTo>
                    <a:pt x="542" y="70"/>
                    <a:pt x="541" y="70"/>
                    <a:pt x="541" y="70"/>
                  </a:cubicBezTo>
                  <a:cubicBezTo>
                    <a:pt x="540" y="71"/>
                    <a:pt x="540" y="71"/>
                    <a:pt x="540" y="71"/>
                  </a:cubicBezTo>
                  <a:cubicBezTo>
                    <a:pt x="540" y="71"/>
                    <a:pt x="540" y="71"/>
                    <a:pt x="540" y="71"/>
                  </a:cubicBezTo>
                  <a:cubicBezTo>
                    <a:pt x="540" y="71"/>
                    <a:pt x="540" y="72"/>
                    <a:pt x="540" y="72"/>
                  </a:cubicBezTo>
                  <a:cubicBezTo>
                    <a:pt x="539" y="71"/>
                    <a:pt x="538" y="69"/>
                    <a:pt x="537" y="69"/>
                  </a:cubicBezTo>
                  <a:cubicBezTo>
                    <a:pt x="537" y="69"/>
                    <a:pt x="537" y="69"/>
                    <a:pt x="537" y="69"/>
                  </a:cubicBezTo>
                  <a:cubicBezTo>
                    <a:pt x="536" y="69"/>
                    <a:pt x="536" y="69"/>
                    <a:pt x="535" y="69"/>
                  </a:cubicBezTo>
                  <a:cubicBezTo>
                    <a:pt x="535" y="70"/>
                    <a:pt x="535" y="70"/>
                    <a:pt x="534" y="70"/>
                  </a:cubicBezTo>
                  <a:cubicBezTo>
                    <a:pt x="534" y="70"/>
                    <a:pt x="534" y="69"/>
                    <a:pt x="534" y="68"/>
                  </a:cubicBezTo>
                  <a:cubicBezTo>
                    <a:pt x="535" y="69"/>
                    <a:pt x="535" y="69"/>
                    <a:pt x="535" y="69"/>
                  </a:cubicBezTo>
                  <a:cubicBezTo>
                    <a:pt x="534" y="61"/>
                    <a:pt x="530" y="52"/>
                    <a:pt x="528" y="44"/>
                  </a:cubicBezTo>
                  <a:cubicBezTo>
                    <a:pt x="527" y="39"/>
                    <a:pt x="528" y="33"/>
                    <a:pt x="526" y="27"/>
                  </a:cubicBezTo>
                  <a:cubicBezTo>
                    <a:pt x="525" y="29"/>
                    <a:pt x="525" y="31"/>
                    <a:pt x="524" y="33"/>
                  </a:cubicBezTo>
                  <a:cubicBezTo>
                    <a:pt x="525" y="27"/>
                    <a:pt x="524" y="23"/>
                    <a:pt x="520" y="19"/>
                  </a:cubicBezTo>
                  <a:cubicBezTo>
                    <a:pt x="519" y="19"/>
                    <a:pt x="516" y="16"/>
                    <a:pt x="516" y="16"/>
                  </a:cubicBezTo>
                  <a:cubicBezTo>
                    <a:pt x="516" y="16"/>
                    <a:pt x="516" y="16"/>
                    <a:pt x="516" y="16"/>
                  </a:cubicBezTo>
                  <a:cubicBezTo>
                    <a:pt x="515" y="17"/>
                    <a:pt x="516" y="21"/>
                    <a:pt x="517" y="22"/>
                  </a:cubicBezTo>
                  <a:cubicBezTo>
                    <a:pt x="516" y="21"/>
                    <a:pt x="516" y="21"/>
                    <a:pt x="515" y="20"/>
                  </a:cubicBezTo>
                  <a:cubicBezTo>
                    <a:pt x="515" y="21"/>
                    <a:pt x="515" y="21"/>
                    <a:pt x="515" y="22"/>
                  </a:cubicBezTo>
                  <a:cubicBezTo>
                    <a:pt x="517" y="23"/>
                    <a:pt x="517" y="23"/>
                    <a:pt x="517" y="23"/>
                  </a:cubicBezTo>
                  <a:cubicBezTo>
                    <a:pt x="515" y="28"/>
                    <a:pt x="515" y="28"/>
                    <a:pt x="515" y="28"/>
                  </a:cubicBezTo>
                  <a:cubicBezTo>
                    <a:pt x="511" y="33"/>
                    <a:pt x="511" y="33"/>
                    <a:pt x="511" y="33"/>
                  </a:cubicBezTo>
                  <a:cubicBezTo>
                    <a:pt x="510" y="35"/>
                    <a:pt x="509" y="36"/>
                    <a:pt x="508" y="38"/>
                  </a:cubicBezTo>
                  <a:cubicBezTo>
                    <a:pt x="505" y="41"/>
                    <a:pt x="503" y="43"/>
                    <a:pt x="502" y="46"/>
                  </a:cubicBezTo>
                  <a:cubicBezTo>
                    <a:pt x="501" y="48"/>
                    <a:pt x="501" y="48"/>
                    <a:pt x="501" y="48"/>
                  </a:cubicBezTo>
                  <a:cubicBezTo>
                    <a:pt x="500" y="48"/>
                    <a:pt x="500" y="49"/>
                    <a:pt x="500" y="50"/>
                  </a:cubicBezTo>
                  <a:cubicBezTo>
                    <a:pt x="499" y="51"/>
                    <a:pt x="499" y="51"/>
                    <a:pt x="499" y="51"/>
                  </a:cubicBezTo>
                  <a:cubicBezTo>
                    <a:pt x="499" y="53"/>
                    <a:pt x="498" y="54"/>
                    <a:pt x="497" y="56"/>
                  </a:cubicBezTo>
                  <a:cubicBezTo>
                    <a:pt x="497" y="57"/>
                    <a:pt x="497" y="57"/>
                    <a:pt x="497" y="57"/>
                  </a:cubicBezTo>
                  <a:cubicBezTo>
                    <a:pt x="496" y="57"/>
                    <a:pt x="496" y="58"/>
                    <a:pt x="496" y="59"/>
                  </a:cubicBezTo>
                  <a:cubicBezTo>
                    <a:pt x="495" y="60"/>
                    <a:pt x="495" y="62"/>
                    <a:pt x="494" y="63"/>
                  </a:cubicBezTo>
                  <a:cubicBezTo>
                    <a:pt x="494" y="63"/>
                    <a:pt x="494" y="64"/>
                    <a:pt x="494" y="64"/>
                  </a:cubicBezTo>
                  <a:cubicBezTo>
                    <a:pt x="493" y="64"/>
                    <a:pt x="493" y="64"/>
                    <a:pt x="493" y="64"/>
                  </a:cubicBezTo>
                  <a:cubicBezTo>
                    <a:pt x="492" y="66"/>
                    <a:pt x="490" y="67"/>
                    <a:pt x="489" y="69"/>
                  </a:cubicBezTo>
                  <a:cubicBezTo>
                    <a:pt x="488" y="69"/>
                    <a:pt x="488" y="69"/>
                    <a:pt x="488" y="69"/>
                  </a:cubicBezTo>
                  <a:cubicBezTo>
                    <a:pt x="488" y="70"/>
                    <a:pt x="487" y="70"/>
                    <a:pt x="486" y="70"/>
                  </a:cubicBezTo>
                  <a:cubicBezTo>
                    <a:pt x="485" y="71"/>
                    <a:pt x="484" y="71"/>
                    <a:pt x="484" y="71"/>
                  </a:cubicBezTo>
                  <a:cubicBezTo>
                    <a:pt x="483" y="72"/>
                    <a:pt x="482" y="72"/>
                    <a:pt x="482" y="72"/>
                  </a:cubicBezTo>
                  <a:cubicBezTo>
                    <a:pt x="476" y="71"/>
                    <a:pt x="476" y="71"/>
                    <a:pt x="476" y="71"/>
                  </a:cubicBezTo>
                  <a:cubicBezTo>
                    <a:pt x="475" y="71"/>
                    <a:pt x="474" y="70"/>
                    <a:pt x="473" y="69"/>
                  </a:cubicBezTo>
                  <a:cubicBezTo>
                    <a:pt x="473" y="68"/>
                    <a:pt x="473" y="68"/>
                    <a:pt x="473" y="68"/>
                  </a:cubicBezTo>
                  <a:cubicBezTo>
                    <a:pt x="473" y="68"/>
                    <a:pt x="473" y="68"/>
                    <a:pt x="473" y="68"/>
                  </a:cubicBezTo>
                  <a:cubicBezTo>
                    <a:pt x="472" y="68"/>
                    <a:pt x="471" y="69"/>
                    <a:pt x="470" y="69"/>
                  </a:cubicBezTo>
                  <a:cubicBezTo>
                    <a:pt x="466" y="69"/>
                    <a:pt x="463" y="70"/>
                    <a:pt x="460" y="71"/>
                  </a:cubicBezTo>
                  <a:cubicBezTo>
                    <a:pt x="459" y="72"/>
                    <a:pt x="459" y="72"/>
                    <a:pt x="459" y="72"/>
                  </a:cubicBezTo>
                  <a:cubicBezTo>
                    <a:pt x="459" y="72"/>
                    <a:pt x="458" y="73"/>
                    <a:pt x="457" y="73"/>
                  </a:cubicBezTo>
                  <a:cubicBezTo>
                    <a:pt x="457" y="73"/>
                    <a:pt x="457" y="73"/>
                    <a:pt x="457" y="73"/>
                  </a:cubicBezTo>
                  <a:cubicBezTo>
                    <a:pt x="456" y="73"/>
                    <a:pt x="456" y="73"/>
                    <a:pt x="455" y="73"/>
                  </a:cubicBezTo>
                  <a:cubicBezTo>
                    <a:pt x="455" y="72"/>
                    <a:pt x="455" y="72"/>
                    <a:pt x="455" y="72"/>
                  </a:cubicBezTo>
                  <a:cubicBezTo>
                    <a:pt x="455" y="73"/>
                    <a:pt x="455" y="73"/>
                    <a:pt x="455" y="73"/>
                  </a:cubicBezTo>
                  <a:cubicBezTo>
                    <a:pt x="455" y="73"/>
                    <a:pt x="455" y="73"/>
                    <a:pt x="455" y="73"/>
                  </a:cubicBezTo>
                  <a:cubicBezTo>
                    <a:pt x="454" y="72"/>
                    <a:pt x="453" y="72"/>
                    <a:pt x="453" y="72"/>
                  </a:cubicBezTo>
                  <a:cubicBezTo>
                    <a:pt x="452" y="72"/>
                    <a:pt x="452" y="72"/>
                    <a:pt x="452" y="72"/>
                  </a:cubicBezTo>
                  <a:cubicBezTo>
                    <a:pt x="450" y="71"/>
                    <a:pt x="448" y="70"/>
                    <a:pt x="446" y="69"/>
                  </a:cubicBezTo>
                  <a:cubicBezTo>
                    <a:pt x="443" y="67"/>
                    <a:pt x="443" y="67"/>
                    <a:pt x="443" y="67"/>
                  </a:cubicBezTo>
                  <a:cubicBezTo>
                    <a:pt x="441" y="66"/>
                    <a:pt x="441" y="66"/>
                    <a:pt x="441" y="66"/>
                  </a:cubicBezTo>
                  <a:cubicBezTo>
                    <a:pt x="441" y="66"/>
                    <a:pt x="441" y="66"/>
                    <a:pt x="441" y="66"/>
                  </a:cubicBezTo>
                  <a:cubicBezTo>
                    <a:pt x="439" y="65"/>
                    <a:pt x="439" y="65"/>
                    <a:pt x="439" y="65"/>
                  </a:cubicBezTo>
                  <a:cubicBezTo>
                    <a:pt x="435" y="62"/>
                    <a:pt x="435" y="62"/>
                    <a:pt x="435" y="62"/>
                  </a:cubicBezTo>
                  <a:cubicBezTo>
                    <a:pt x="434" y="62"/>
                    <a:pt x="433" y="63"/>
                    <a:pt x="432" y="63"/>
                  </a:cubicBezTo>
                  <a:cubicBezTo>
                    <a:pt x="430" y="64"/>
                    <a:pt x="428" y="65"/>
                    <a:pt x="425" y="65"/>
                  </a:cubicBezTo>
                  <a:cubicBezTo>
                    <a:pt x="425" y="65"/>
                    <a:pt x="425" y="65"/>
                    <a:pt x="425" y="65"/>
                  </a:cubicBezTo>
                  <a:cubicBezTo>
                    <a:pt x="424" y="65"/>
                    <a:pt x="424" y="65"/>
                    <a:pt x="424" y="65"/>
                  </a:cubicBezTo>
                  <a:cubicBezTo>
                    <a:pt x="423" y="65"/>
                    <a:pt x="423" y="65"/>
                    <a:pt x="422" y="65"/>
                  </a:cubicBezTo>
                  <a:cubicBezTo>
                    <a:pt x="420" y="65"/>
                    <a:pt x="417" y="65"/>
                    <a:pt x="415" y="64"/>
                  </a:cubicBezTo>
                  <a:cubicBezTo>
                    <a:pt x="414" y="65"/>
                    <a:pt x="414" y="66"/>
                    <a:pt x="414" y="66"/>
                  </a:cubicBezTo>
                  <a:cubicBezTo>
                    <a:pt x="415" y="67"/>
                    <a:pt x="415" y="67"/>
                    <a:pt x="415" y="67"/>
                  </a:cubicBezTo>
                  <a:cubicBezTo>
                    <a:pt x="415" y="68"/>
                    <a:pt x="416" y="69"/>
                    <a:pt x="417" y="70"/>
                  </a:cubicBezTo>
                  <a:cubicBezTo>
                    <a:pt x="418" y="71"/>
                    <a:pt x="418" y="72"/>
                    <a:pt x="417" y="73"/>
                  </a:cubicBezTo>
                  <a:cubicBezTo>
                    <a:pt x="417" y="75"/>
                    <a:pt x="417" y="77"/>
                    <a:pt x="416" y="78"/>
                  </a:cubicBezTo>
                  <a:cubicBezTo>
                    <a:pt x="415" y="78"/>
                    <a:pt x="415" y="78"/>
                    <a:pt x="414" y="78"/>
                  </a:cubicBezTo>
                  <a:cubicBezTo>
                    <a:pt x="414" y="78"/>
                    <a:pt x="414" y="78"/>
                    <a:pt x="414" y="78"/>
                  </a:cubicBezTo>
                  <a:cubicBezTo>
                    <a:pt x="413" y="79"/>
                    <a:pt x="413" y="79"/>
                    <a:pt x="413" y="79"/>
                  </a:cubicBezTo>
                  <a:cubicBezTo>
                    <a:pt x="413" y="79"/>
                    <a:pt x="413" y="79"/>
                    <a:pt x="413" y="79"/>
                  </a:cubicBezTo>
                  <a:cubicBezTo>
                    <a:pt x="412" y="79"/>
                    <a:pt x="412" y="79"/>
                    <a:pt x="412" y="79"/>
                  </a:cubicBezTo>
                  <a:cubicBezTo>
                    <a:pt x="412" y="79"/>
                    <a:pt x="412" y="79"/>
                    <a:pt x="412" y="79"/>
                  </a:cubicBezTo>
                  <a:cubicBezTo>
                    <a:pt x="412" y="79"/>
                    <a:pt x="411" y="78"/>
                    <a:pt x="410" y="78"/>
                  </a:cubicBezTo>
                  <a:cubicBezTo>
                    <a:pt x="407" y="78"/>
                    <a:pt x="407" y="78"/>
                    <a:pt x="407" y="78"/>
                  </a:cubicBezTo>
                  <a:cubicBezTo>
                    <a:pt x="405" y="78"/>
                    <a:pt x="402" y="77"/>
                    <a:pt x="400" y="76"/>
                  </a:cubicBezTo>
                  <a:cubicBezTo>
                    <a:pt x="400" y="76"/>
                    <a:pt x="400" y="76"/>
                    <a:pt x="400" y="76"/>
                  </a:cubicBezTo>
                  <a:cubicBezTo>
                    <a:pt x="399" y="77"/>
                    <a:pt x="399" y="77"/>
                    <a:pt x="399" y="77"/>
                  </a:cubicBezTo>
                  <a:cubicBezTo>
                    <a:pt x="399" y="77"/>
                    <a:pt x="399" y="77"/>
                    <a:pt x="399" y="77"/>
                  </a:cubicBezTo>
                  <a:cubicBezTo>
                    <a:pt x="398" y="77"/>
                    <a:pt x="398" y="77"/>
                    <a:pt x="398" y="77"/>
                  </a:cubicBezTo>
                  <a:cubicBezTo>
                    <a:pt x="397" y="77"/>
                    <a:pt x="397" y="77"/>
                    <a:pt x="397" y="77"/>
                  </a:cubicBezTo>
                  <a:cubicBezTo>
                    <a:pt x="397" y="77"/>
                    <a:pt x="396" y="77"/>
                    <a:pt x="395" y="77"/>
                  </a:cubicBezTo>
                  <a:cubicBezTo>
                    <a:pt x="395" y="77"/>
                    <a:pt x="395" y="77"/>
                    <a:pt x="395" y="77"/>
                  </a:cubicBezTo>
                  <a:cubicBezTo>
                    <a:pt x="395" y="77"/>
                    <a:pt x="394" y="77"/>
                    <a:pt x="394" y="77"/>
                  </a:cubicBezTo>
                  <a:cubicBezTo>
                    <a:pt x="393" y="77"/>
                    <a:pt x="393" y="77"/>
                    <a:pt x="392" y="77"/>
                  </a:cubicBezTo>
                  <a:cubicBezTo>
                    <a:pt x="392" y="77"/>
                    <a:pt x="392" y="77"/>
                    <a:pt x="392" y="77"/>
                  </a:cubicBezTo>
                  <a:cubicBezTo>
                    <a:pt x="391" y="77"/>
                    <a:pt x="391" y="77"/>
                    <a:pt x="391" y="77"/>
                  </a:cubicBezTo>
                  <a:cubicBezTo>
                    <a:pt x="389" y="77"/>
                    <a:pt x="388" y="77"/>
                    <a:pt x="387" y="76"/>
                  </a:cubicBezTo>
                  <a:cubicBezTo>
                    <a:pt x="385" y="76"/>
                    <a:pt x="385" y="76"/>
                    <a:pt x="385" y="76"/>
                  </a:cubicBezTo>
                  <a:cubicBezTo>
                    <a:pt x="384" y="76"/>
                    <a:pt x="383" y="76"/>
                    <a:pt x="383" y="77"/>
                  </a:cubicBezTo>
                  <a:cubicBezTo>
                    <a:pt x="379" y="82"/>
                    <a:pt x="375" y="83"/>
                    <a:pt x="375" y="83"/>
                  </a:cubicBezTo>
                  <a:cubicBezTo>
                    <a:pt x="375" y="83"/>
                    <a:pt x="375" y="83"/>
                    <a:pt x="374" y="83"/>
                  </a:cubicBezTo>
                  <a:cubicBezTo>
                    <a:pt x="373" y="84"/>
                    <a:pt x="368" y="85"/>
                    <a:pt x="358" y="87"/>
                  </a:cubicBezTo>
                  <a:cubicBezTo>
                    <a:pt x="358" y="88"/>
                    <a:pt x="358" y="89"/>
                    <a:pt x="358" y="89"/>
                  </a:cubicBezTo>
                  <a:cubicBezTo>
                    <a:pt x="357" y="91"/>
                    <a:pt x="355" y="92"/>
                    <a:pt x="351" y="94"/>
                  </a:cubicBezTo>
                  <a:cubicBezTo>
                    <a:pt x="350" y="94"/>
                    <a:pt x="349" y="94"/>
                    <a:pt x="348" y="94"/>
                  </a:cubicBezTo>
                  <a:cubicBezTo>
                    <a:pt x="347" y="94"/>
                    <a:pt x="347" y="94"/>
                    <a:pt x="346" y="94"/>
                  </a:cubicBezTo>
                  <a:cubicBezTo>
                    <a:pt x="346" y="94"/>
                    <a:pt x="346" y="94"/>
                    <a:pt x="346" y="94"/>
                  </a:cubicBezTo>
                  <a:cubicBezTo>
                    <a:pt x="345" y="93"/>
                    <a:pt x="345" y="93"/>
                    <a:pt x="344" y="93"/>
                  </a:cubicBezTo>
                  <a:cubicBezTo>
                    <a:pt x="344" y="93"/>
                    <a:pt x="344" y="93"/>
                    <a:pt x="344" y="93"/>
                  </a:cubicBezTo>
                  <a:cubicBezTo>
                    <a:pt x="344" y="92"/>
                    <a:pt x="343" y="92"/>
                    <a:pt x="343" y="92"/>
                  </a:cubicBezTo>
                  <a:cubicBezTo>
                    <a:pt x="342" y="91"/>
                    <a:pt x="342" y="91"/>
                    <a:pt x="341" y="91"/>
                  </a:cubicBezTo>
                  <a:cubicBezTo>
                    <a:pt x="336" y="90"/>
                    <a:pt x="333" y="87"/>
                    <a:pt x="332" y="85"/>
                  </a:cubicBezTo>
                  <a:cubicBezTo>
                    <a:pt x="331" y="85"/>
                    <a:pt x="331" y="85"/>
                    <a:pt x="331" y="85"/>
                  </a:cubicBezTo>
                  <a:cubicBezTo>
                    <a:pt x="330" y="84"/>
                    <a:pt x="325" y="80"/>
                    <a:pt x="324" y="74"/>
                  </a:cubicBezTo>
                  <a:cubicBezTo>
                    <a:pt x="324" y="68"/>
                    <a:pt x="321" y="66"/>
                    <a:pt x="321" y="66"/>
                  </a:cubicBezTo>
                  <a:cubicBezTo>
                    <a:pt x="321" y="66"/>
                    <a:pt x="321" y="66"/>
                    <a:pt x="321" y="66"/>
                  </a:cubicBezTo>
                  <a:cubicBezTo>
                    <a:pt x="320" y="65"/>
                    <a:pt x="319" y="64"/>
                    <a:pt x="319" y="61"/>
                  </a:cubicBezTo>
                  <a:cubicBezTo>
                    <a:pt x="317" y="58"/>
                    <a:pt x="317" y="52"/>
                    <a:pt x="320" y="43"/>
                  </a:cubicBezTo>
                  <a:cubicBezTo>
                    <a:pt x="320" y="43"/>
                    <a:pt x="324" y="32"/>
                    <a:pt x="326" y="30"/>
                  </a:cubicBezTo>
                  <a:cubicBezTo>
                    <a:pt x="327" y="30"/>
                    <a:pt x="327" y="29"/>
                    <a:pt x="328" y="29"/>
                  </a:cubicBezTo>
                  <a:cubicBezTo>
                    <a:pt x="324" y="25"/>
                    <a:pt x="323" y="22"/>
                    <a:pt x="324" y="18"/>
                  </a:cubicBezTo>
                  <a:cubicBezTo>
                    <a:pt x="322" y="18"/>
                    <a:pt x="320" y="17"/>
                    <a:pt x="317" y="17"/>
                  </a:cubicBezTo>
                  <a:cubicBezTo>
                    <a:pt x="312" y="17"/>
                    <a:pt x="312" y="17"/>
                    <a:pt x="312" y="17"/>
                  </a:cubicBezTo>
                  <a:cubicBezTo>
                    <a:pt x="314" y="13"/>
                    <a:pt x="314" y="13"/>
                    <a:pt x="314" y="13"/>
                  </a:cubicBezTo>
                  <a:cubicBezTo>
                    <a:pt x="317" y="7"/>
                    <a:pt x="318" y="3"/>
                    <a:pt x="316" y="2"/>
                  </a:cubicBezTo>
                  <a:cubicBezTo>
                    <a:pt x="316" y="1"/>
                    <a:pt x="316" y="1"/>
                    <a:pt x="315" y="1"/>
                  </a:cubicBezTo>
                  <a:cubicBezTo>
                    <a:pt x="315" y="1"/>
                    <a:pt x="315" y="1"/>
                    <a:pt x="315" y="1"/>
                  </a:cubicBezTo>
                  <a:cubicBezTo>
                    <a:pt x="314" y="0"/>
                    <a:pt x="313" y="0"/>
                    <a:pt x="313" y="0"/>
                  </a:cubicBezTo>
                  <a:cubicBezTo>
                    <a:pt x="312" y="0"/>
                    <a:pt x="312" y="0"/>
                    <a:pt x="312" y="0"/>
                  </a:cubicBezTo>
                  <a:cubicBezTo>
                    <a:pt x="312" y="0"/>
                    <a:pt x="312" y="0"/>
                    <a:pt x="3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72" name="Freeform 243">
              <a:extLst>
                <a:ext uri="{FF2B5EF4-FFF2-40B4-BE49-F238E27FC236}">
                  <a16:creationId xmlns:a16="http://schemas.microsoft.com/office/drawing/2014/main" id="{436B8FEC-4EB2-4FBA-90F7-5CCFB13C483F}"/>
                </a:ext>
              </a:extLst>
            </p:cNvPr>
            <p:cNvSpPr>
              <a:spLocks/>
            </p:cNvSpPr>
            <p:nvPr/>
          </p:nvSpPr>
          <p:spPr bwMode="auto">
            <a:xfrm>
              <a:off x="8429332" y="2770881"/>
              <a:ext cx="917975" cy="1022486"/>
            </a:xfrm>
            <a:custGeom>
              <a:avLst/>
              <a:gdLst>
                <a:gd name="T0" fmla="*/ 85 w 275"/>
                <a:gd name="T1" fmla="*/ 0 h 306"/>
                <a:gd name="T2" fmla="*/ 56 w 275"/>
                <a:gd name="T3" fmla="*/ 13 h 306"/>
                <a:gd name="T4" fmla="*/ 37 w 275"/>
                <a:gd name="T5" fmla="*/ 24 h 306"/>
                <a:gd name="T6" fmla="*/ 25 w 275"/>
                <a:gd name="T7" fmla="*/ 31 h 306"/>
                <a:gd name="T8" fmla="*/ 14 w 275"/>
                <a:gd name="T9" fmla="*/ 31 h 306"/>
                <a:gd name="T10" fmla="*/ 5 w 275"/>
                <a:gd name="T11" fmla="*/ 29 h 306"/>
                <a:gd name="T12" fmla="*/ 18 w 275"/>
                <a:gd name="T13" fmla="*/ 71 h 306"/>
                <a:gd name="T14" fmla="*/ 13 w 275"/>
                <a:gd name="T15" fmla="*/ 86 h 306"/>
                <a:gd name="T16" fmla="*/ 16 w 275"/>
                <a:gd name="T17" fmla="*/ 96 h 306"/>
                <a:gd name="T18" fmla="*/ 16 w 275"/>
                <a:gd name="T19" fmla="*/ 105 h 306"/>
                <a:gd name="T20" fmla="*/ 8 w 275"/>
                <a:gd name="T21" fmla="*/ 120 h 306"/>
                <a:gd name="T22" fmla="*/ 13 w 275"/>
                <a:gd name="T23" fmla="*/ 148 h 306"/>
                <a:gd name="T24" fmla="*/ 13 w 275"/>
                <a:gd name="T25" fmla="*/ 161 h 306"/>
                <a:gd name="T26" fmla="*/ 0 w 275"/>
                <a:gd name="T27" fmla="*/ 175 h 306"/>
                <a:gd name="T28" fmla="*/ 3 w 275"/>
                <a:gd name="T29" fmla="*/ 179 h 306"/>
                <a:gd name="T30" fmla="*/ 5 w 275"/>
                <a:gd name="T31" fmla="*/ 184 h 306"/>
                <a:gd name="T32" fmla="*/ 10 w 275"/>
                <a:gd name="T33" fmla="*/ 190 h 306"/>
                <a:gd name="T34" fmla="*/ 21 w 275"/>
                <a:gd name="T35" fmla="*/ 219 h 306"/>
                <a:gd name="T36" fmla="*/ 23 w 275"/>
                <a:gd name="T37" fmla="*/ 233 h 306"/>
                <a:gd name="T38" fmla="*/ 25 w 275"/>
                <a:gd name="T39" fmla="*/ 253 h 306"/>
                <a:gd name="T40" fmla="*/ 29 w 275"/>
                <a:gd name="T41" fmla="*/ 263 h 306"/>
                <a:gd name="T42" fmla="*/ 34 w 275"/>
                <a:gd name="T43" fmla="*/ 273 h 306"/>
                <a:gd name="T44" fmla="*/ 36 w 275"/>
                <a:gd name="T45" fmla="*/ 284 h 306"/>
                <a:gd name="T46" fmla="*/ 40 w 275"/>
                <a:gd name="T47" fmla="*/ 298 h 306"/>
                <a:gd name="T48" fmla="*/ 53 w 275"/>
                <a:gd name="T49" fmla="*/ 306 h 306"/>
                <a:gd name="T50" fmla="*/ 72 w 275"/>
                <a:gd name="T51" fmla="*/ 289 h 306"/>
                <a:gd name="T52" fmla="*/ 74 w 275"/>
                <a:gd name="T53" fmla="*/ 280 h 306"/>
                <a:gd name="T54" fmla="*/ 102 w 275"/>
                <a:gd name="T55" fmla="*/ 289 h 306"/>
                <a:gd name="T56" fmla="*/ 126 w 275"/>
                <a:gd name="T57" fmla="*/ 289 h 306"/>
                <a:gd name="T58" fmla="*/ 137 w 275"/>
                <a:gd name="T59" fmla="*/ 286 h 306"/>
                <a:gd name="T60" fmla="*/ 154 w 275"/>
                <a:gd name="T61" fmla="*/ 286 h 306"/>
                <a:gd name="T62" fmla="*/ 159 w 275"/>
                <a:gd name="T63" fmla="*/ 286 h 306"/>
                <a:gd name="T64" fmla="*/ 166 w 275"/>
                <a:gd name="T65" fmla="*/ 260 h 306"/>
                <a:gd name="T66" fmla="*/ 172 w 275"/>
                <a:gd name="T67" fmla="*/ 243 h 306"/>
                <a:gd name="T68" fmla="*/ 204 w 275"/>
                <a:gd name="T69" fmla="*/ 225 h 306"/>
                <a:gd name="T70" fmla="*/ 235 w 275"/>
                <a:gd name="T71" fmla="*/ 220 h 306"/>
                <a:gd name="T72" fmla="*/ 263 w 275"/>
                <a:gd name="T73" fmla="*/ 232 h 306"/>
                <a:gd name="T74" fmla="*/ 271 w 275"/>
                <a:gd name="T75" fmla="*/ 214 h 306"/>
                <a:gd name="T76" fmla="*/ 275 w 275"/>
                <a:gd name="T77" fmla="*/ 197 h 306"/>
                <a:gd name="T78" fmla="*/ 271 w 275"/>
                <a:gd name="T79" fmla="*/ 187 h 306"/>
                <a:gd name="T80" fmla="*/ 257 w 275"/>
                <a:gd name="T81" fmla="*/ 154 h 306"/>
                <a:gd name="T82" fmla="*/ 214 w 275"/>
                <a:gd name="T83" fmla="*/ 147 h 306"/>
                <a:gd name="T84" fmla="*/ 207 w 275"/>
                <a:gd name="T85" fmla="*/ 121 h 306"/>
                <a:gd name="T86" fmla="*/ 210 w 275"/>
                <a:gd name="T87" fmla="*/ 110 h 306"/>
                <a:gd name="T88" fmla="*/ 207 w 275"/>
                <a:gd name="T89" fmla="*/ 96 h 306"/>
                <a:gd name="T90" fmla="*/ 196 w 275"/>
                <a:gd name="T91" fmla="*/ 88 h 306"/>
                <a:gd name="T92" fmla="*/ 183 w 275"/>
                <a:gd name="T93" fmla="*/ 89 h 306"/>
                <a:gd name="T94" fmla="*/ 170 w 275"/>
                <a:gd name="T95" fmla="*/ 81 h 306"/>
                <a:gd name="T96" fmla="*/ 151 w 275"/>
                <a:gd name="T97" fmla="*/ 73 h 306"/>
                <a:gd name="T98" fmla="*/ 147 w 275"/>
                <a:gd name="T99" fmla="*/ 68 h 306"/>
                <a:gd name="T100" fmla="*/ 133 w 275"/>
                <a:gd name="T101" fmla="*/ 64 h 306"/>
                <a:gd name="T102" fmla="*/ 126 w 275"/>
                <a:gd name="T103" fmla="*/ 65 h 306"/>
                <a:gd name="T104" fmla="*/ 112 w 275"/>
                <a:gd name="T105" fmla="*/ 57 h 306"/>
                <a:gd name="T106" fmla="*/ 93 w 275"/>
                <a:gd name="T107" fmla="*/ 32 h 306"/>
                <a:gd name="T108" fmla="*/ 93 w 275"/>
                <a:gd name="T109" fmla="*/ 22 h 306"/>
                <a:gd name="T110" fmla="*/ 94 w 275"/>
                <a:gd name="T111" fmla="*/ 5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5" h="306">
                  <a:moveTo>
                    <a:pt x="95" y="0"/>
                  </a:moveTo>
                  <a:cubicBezTo>
                    <a:pt x="94" y="1"/>
                    <a:pt x="93" y="1"/>
                    <a:pt x="91" y="1"/>
                  </a:cubicBezTo>
                  <a:cubicBezTo>
                    <a:pt x="91" y="1"/>
                    <a:pt x="90" y="1"/>
                    <a:pt x="90" y="1"/>
                  </a:cubicBezTo>
                  <a:cubicBezTo>
                    <a:pt x="88" y="1"/>
                    <a:pt x="87" y="1"/>
                    <a:pt x="87" y="1"/>
                  </a:cubicBezTo>
                  <a:cubicBezTo>
                    <a:pt x="86" y="0"/>
                    <a:pt x="85" y="0"/>
                    <a:pt x="85" y="0"/>
                  </a:cubicBezTo>
                  <a:cubicBezTo>
                    <a:pt x="85" y="0"/>
                    <a:pt x="85" y="0"/>
                    <a:pt x="85" y="0"/>
                  </a:cubicBezTo>
                  <a:cubicBezTo>
                    <a:pt x="84" y="0"/>
                    <a:pt x="84" y="0"/>
                    <a:pt x="84" y="0"/>
                  </a:cubicBezTo>
                  <a:cubicBezTo>
                    <a:pt x="83" y="0"/>
                    <a:pt x="83" y="0"/>
                    <a:pt x="83" y="0"/>
                  </a:cubicBezTo>
                  <a:cubicBezTo>
                    <a:pt x="71" y="3"/>
                    <a:pt x="71" y="3"/>
                    <a:pt x="71" y="3"/>
                  </a:cubicBezTo>
                  <a:cubicBezTo>
                    <a:pt x="69" y="4"/>
                    <a:pt x="67" y="4"/>
                    <a:pt x="66" y="6"/>
                  </a:cubicBezTo>
                  <a:cubicBezTo>
                    <a:pt x="65" y="6"/>
                    <a:pt x="64" y="7"/>
                    <a:pt x="63" y="8"/>
                  </a:cubicBezTo>
                  <a:cubicBezTo>
                    <a:pt x="60" y="10"/>
                    <a:pt x="58" y="12"/>
                    <a:pt x="56" y="13"/>
                  </a:cubicBezTo>
                  <a:cubicBezTo>
                    <a:pt x="54" y="14"/>
                    <a:pt x="53" y="15"/>
                    <a:pt x="51" y="15"/>
                  </a:cubicBezTo>
                  <a:cubicBezTo>
                    <a:pt x="50" y="16"/>
                    <a:pt x="49" y="17"/>
                    <a:pt x="47" y="17"/>
                  </a:cubicBezTo>
                  <a:cubicBezTo>
                    <a:pt x="47" y="18"/>
                    <a:pt x="46" y="18"/>
                    <a:pt x="46" y="19"/>
                  </a:cubicBezTo>
                  <a:cubicBezTo>
                    <a:pt x="45" y="19"/>
                    <a:pt x="45" y="19"/>
                    <a:pt x="45" y="19"/>
                  </a:cubicBezTo>
                  <a:cubicBezTo>
                    <a:pt x="45" y="20"/>
                    <a:pt x="44" y="21"/>
                    <a:pt x="43" y="22"/>
                  </a:cubicBezTo>
                  <a:cubicBezTo>
                    <a:pt x="41" y="23"/>
                    <a:pt x="39" y="24"/>
                    <a:pt x="37" y="24"/>
                  </a:cubicBezTo>
                  <a:cubicBezTo>
                    <a:pt x="37" y="24"/>
                    <a:pt x="37" y="24"/>
                    <a:pt x="37" y="24"/>
                  </a:cubicBezTo>
                  <a:cubicBezTo>
                    <a:pt x="36" y="24"/>
                    <a:pt x="35" y="24"/>
                    <a:pt x="34" y="25"/>
                  </a:cubicBezTo>
                  <a:cubicBezTo>
                    <a:pt x="33" y="25"/>
                    <a:pt x="33" y="25"/>
                    <a:pt x="32" y="26"/>
                  </a:cubicBezTo>
                  <a:cubicBezTo>
                    <a:pt x="31" y="27"/>
                    <a:pt x="31" y="28"/>
                    <a:pt x="29" y="29"/>
                  </a:cubicBezTo>
                  <a:cubicBezTo>
                    <a:pt x="28" y="30"/>
                    <a:pt x="26" y="30"/>
                    <a:pt x="25" y="31"/>
                  </a:cubicBezTo>
                  <a:cubicBezTo>
                    <a:pt x="25" y="31"/>
                    <a:pt x="25" y="31"/>
                    <a:pt x="25" y="31"/>
                  </a:cubicBezTo>
                  <a:cubicBezTo>
                    <a:pt x="24" y="31"/>
                    <a:pt x="24" y="31"/>
                    <a:pt x="24" y="31"/>
                  </a:cubicBezTo>
                  <a:cubicBezTo>
                    <a:pt x="23" y="31"/>
                    <a:pt x="21" y="32"/>
                    <a:pt x="19" y="32"/>
                  </a:cubicBezTo>
                  <a:cubicBezTo>
                    <a:pt x="19" y="32"/>
                    <a:pt x="19" y="32"/>
                    <a:pt x="18" y="32"/>
                  </a:cubicBezTo>
                  <a:cubicBezTo>
                    <a:pt x="18" y="32"/>
                    <a:pt x="18" y="32"/>
                    <a:pt x="17" y="32"/>
                  </a:cubicBezTo>
                  <a:cubicBezTo>
                    <a:pt x="17" y="32"/>
                    <a:pt x="17" y="32"/>
                    <a:pt x="16" y="32"/>
                  </a:cubicBezTo>
                  <a:cubicBezTo>
                    <a:pt x="15" y="31"/>
                    <a:pt x="15" y="31"/>
                    <a:pt x="14" y="31"/>
                  </a:cubicBezTo>
                  <a:cubicBezTo>
                    <a:pt x="14" y="31"/>
                    <a:pt x="13" y="31"/>
                    <a:pt x="13" y="31"/>
                  </a:cubicBezTo>
                  <a:cubicBezTo>
                    <a:pt x="12" y="31"/>
                    <a:pt x="12" y="31"/>
                    <a:pt x="12" y="31"/>
                  </a:cubicBezTo>
                  <a:cubicBezTo>
                    <a:pt x="12" y="31"/>
                    <a:pt x="11" y="31"/>
                    <a:pt x="11" y="31"/>
                  </a:cubicBezTo>
                  <a:cubicBezTo>
                    <a:pt x="10" y="31"/>
                    <a:pt x="9" y="30"/>
                    <a:pt x="8" y="30"/>
                  </a:cubicBezTo>
                  <a:cubicBezTo>
                    <a:pt x="7" y="30"/>
                    <a:pt x="7" y="30"/>
                    <a:pt x="7" y="30"/>
                  </a:cubicBezTo>
                  <a:cubicBezTo>
                    <a:pt x="7" y="30"/>
                    <a:pt x="6" y="30"/>
                    <a:pt x="5" y="29"/>
                  </a:cubicBezTo>
                  <a:cubicBezTo>
                    <a:pt x="5" y="30"/>
                    <a:pt x="5" y="30"/>
                    <a:pt x="5" y="30"/>
                  </a:cubicBezTo>
                  <a:cubicBezTo>
                    <a:pt x="8" y="34"/>
                    <a:pt x="10" y="38"/>
                    <a:pt x="12" y="42"/>
                  </a:cubicBezTo>
                  <a:cubicBezTo>
                    <a:pt x="15" y="47"/>
                    <a:pt x="18" y="52"/>
                    <a:pt x="20" y="57"/>
                  </a:cubicBezTo>
                  <a:cubicBezTo>
                    <a:pt x="22" y="60"/>
                    <a:pt x="22" y="60"/>
                    <a:pt x="22" y="60"/>
                  </a:cubicBezTo>
                  <a:cubicBezTo>
                    <a:pt x="22" y="61"/>
                    <a:pt x="23" y="62"/>
                    <a:pt x="22" y="63"/>
                  </a:cubicBezTo>
                  <a:cubicBezTo>
                    <a:pt x="22" y="65"/>
                    <a:pt x="20" y="68"/>
                    <a:pt x="18" y="71"/>
                  </a:cubicBezTo>
                  <a:cubicBezTo>
                    <a:pt x="17" y="72"/>
                    <a:pt x="17" y="72"/>
                    <a:pt x="17" y="72"/>
                  </a:cubicBezTo>
                  <a:cubicBezTo>
                    <a:pt x="17" y="73"/>
                    <a:pt x="16" y="74"/>
                    <a:pt x="16" y="75"/>
                  </a:cubicBezTo>
                  <a:cubicBezTo>
                    <a:pt x="15" y="76"/>
                    <a:pt x="15" y="78"/>
                    <a:pt x="15" y="80"/>
                  </a:cubicBezTo>
                  <a:cubicBezTo>
                    <a:pt x="15" y="81"/>
                    <a:pt x="14" y="82"/>
                    <a:pt x="14" y="83"/>
                  </a:cubicBezTo>
                  <a:cubicBezTo>
                    <a:pt x="14" y="84"/>
                    <a:pt x="13" y="85"/>
                    <a:pt x="13" y="86"/>
                  </a:cubicBezTo>
                  <a:cubicBezTo>
                    <a:pt x="13" y="86"/>
                    <a:pt x="13" y="86"/>
                    <a:pt x="13" y="86"/>
                  </a:cubicBezTo>
                  <a:cubicBezTo>
                    <a:pt x="13" y="87"/>
                    <a:pt x="13" y="87"/>
                    <a:pt x="13" y="88"/>
                  </a:cubicBezTo>
                  <a:cubicBezTo>
                    <a:pt x="13" y="89"/>
                    <a:pt x="13" y="89"/>
                    <a:pt x="13" y="89"/>
                  </a:cubicBezTo>
                  <a:cubicBezTo>
                    <a:pt x="14" y="90"/>
                    <a:pt x="14" y="90"/>
                    <a:pt x="14" y="90"/>
                  </a:cubicBezTo>
                  <a:cubicBezTo>
                    <a:pt x="14" y="91"/>
                    <a:pt x="14" y="92"/>
                    <a:pt x="15" y="93"/>
                  </a:cubicBezTo>
                  <a:cubicBezTo>
                    <a:pt x="15" y="94"/>
                    <a:pt x="15" y="94"/>
                    <a:pt x="15" y="94"/>
                  </a:cubicBezTo>
                  <a:cubicBezTo>
                    <a:pt x="16" y="96"/>
                    <a:pt x="16" y="96"/>
                    <a:pt x="16" y="96"/>
                  </a:cubicBezTo>
                  <a:cubicBezTo>
                    <a:pt x="16" y="97"/>
                    <a:pt x="17" y="98"/>
                    <a:pt x="17" y="99"/>
                  </a:cubicBezTo>
                  <a:cubicBezTo>
                    <a:pt x="18" y="100"/>
                    <a:pt x="18" y="100"/>
                    <a:pt x="18" y="100"/>
                  </a:cubicBezTo>
                  <a:cubicBezTo>
                    <a:pt x="18" y="102"/>
                    <a:pt x="18" y="102"/>
                    <a:pt x="18" y="102"/>
                  </a:cubicBezTo>
                  <a:cubicBezTo>
                    <a:pt x="18" y="103"/>
                    <a:pt x="18" y="103"/>
                    <a:pt x="18" y="103"/>
                  </a:cubicBezTo>
                  <a:cubicBezTo>
                    <a:pt x="17" y="104"/>
                    <a:pt x="17" y="104"/>
                    <a:pt x="16" y="105"/>
                  </a:cubicBezTo>
                  <a:cubicBezTo>
                    <a:pt x="16" y="105"/>
                    <a:pt x="16" y="105"/>
                    <a:pt x="16" y="105"/>
                  </a:cubicBezTo>
                  <a:cubicBezTo>
                    <a:pt x="16" y="105"/>
                    <a:pt x="15" y="106"/>
                    <a:pt x="15" y="106"/>
                  </a:cubicBezTo>
                  <a:cubicBezTo>
                    <a:pt x="15" y="107"/>
                    <a:pt x="15" y="107"/>
                    <a:pt x="15" y="108"/>
                  </a:cubicBezTo>
                  <a:cubicBezTo>
                    <a:pt x="14" y="109"/>
                    <a:pt x="12" y="110"/>
                    <a:pt x="11" y="111"/>
                  </a:cubicBezTo>
                  <a:cubicBezTo>
                    <a:pt x="11" y="111"/>
                    <a:pt x="11" y="111"/>
                    <a:pt x="11" y="111"/>
                  </a:cubicBezTo>
                  <a:cubicBezTo>
                    <a:pt x="10" y="112"/>
                    <a:pt x="10" y="112"/>
                    <a:pt x="9" y="113"/>
                  </a:cubicBezTo>
                  <a:cubicBezTo>
                    <a:pt x="7" y="116"/>
                    <a:pt x="7" y="116"/>
                    <a:pt x="8" y="120"/>
                  </a:cubicBezTo>
                  <a:cubicBezTo>
                    <a:pt x="8" y="120"/>
                    <a:pt x="8" y="121"/>
                    <a:pt x="9" y="123"/>
                  </a:cubicBezTo>
                  <a:cubicBezTo>
                    <a:pt x="11" y="125"/>
                    <a:pt x="12" y="127"/>
                    <a:pt x="11" y="128"/>
                  </a:cubicBezTo>
                  <a:cubicBezTo>
                    <a:pt x="6" y="135"/>
                    <a:pt x="6" y="135"/>
                    <a:pt x="6" y="135"/>
                  </a:cubicBezTo>
                  <a:cubicBezTo>
                    <a:pt x="6" y="137"/>
                    <a:pt x="6" y="137"/>
                    <a:pt x="6" y="137"/>
                  </a:cubicBezTo>
                  <a:cubicBezTo>
                    <a:pt x="6" y="138"/>
                    <a:pt x="7" y="139"/>
                    <a:pt x="7" y="141"/>
                  </a:cubicBezTo>
                  <a:cubicBezTo>
                    <a:pt x="8" y="145"/>
                    <a:pt x="9" y="147"/>
                    <a:pt x="13" y="148"/>
                  </a:cubicBezTo>
                  <a:cubicBezTo>
                    <a:pt x="13" y="148"/>
                    <a:pt x="13" y="148"/>
                    <a:pt x="13" y="148"/>
                  </a:cubicBezTo>
                  <a:cubicBezTo>
                    <a:pt x="16" y="148"/>
                    <a:pt x="17" y="148"/>
                    <a:pt x="18" y="149"/>
                  </a:cubicBezTo>
                  <a:cubicBezTo>
                    <a:pt x="19" y="151"/>
                    <a:pt x="18" y="153"/>
                    <a:pt x="18" y="153"/>
                  </a:cubicBezTo>
                  <a:cubicBezTo>
                    <a:pt x="18" y="154"/>
                    <a:pt x="18" y="154"/>
                    <a:pt x="18" y="154"/>
                  </a:cubicBezTo>
                  <a:cubicBezTo>
                    <a:pt x="14" y="160"/>
                    <a:pt x="14" y="160"/>
                    <a:pt x="14" y="160"/>
                  </a:cubicBezTo>
                  <a:cubicBezTo>
                    <a:pt x="13" y="160"/>
                    <a:pt x="13" y="160"/>
                    <a:pt x="13" y="161"/>
                  </a:cubicBezTo>
                  <a:cubicBezTo>
                    <a:pt x="12" y="161"/>
                    <a:pt x="12" y="162"/>
                    <a:pt x="11" y="163"/>
                  </a:cubicBezTo>
                  <a:cubicBezTo>
                    <a:pt x="11" y="164"/>
                    <a:pt x="11" y="164"/>
                    <a:pt x="11" y="164"/>
                  </a:cubicBezTo>
                  <a:cubicBezTo>
                    <a:pt x="9" y="166"/>
                    <a:pt x="8" y="168"/>
                    <a:pt x="6" y="170"/>
                  </a:cubicBezTo>
                  <a:cubicBezTo>
                    <a:pt x="6" y="170"/>
                    <a:pt x="5" y="170"/>
                    <a:pt x="4" y="171"/>
                  </a:cubicBezTo>
                  <a:cubicBezTo>
                    <a:pt x="4" y="171"/>
                    <a:pt x="4" y="171"/>
                    <a:pt x="4" y="171"/>
                  </a:cubicBezTo>
                  <a:cubicBezTo>
                    <a:pt x="2" y="173"/>
                    <a:pt x="1" y="174"/>
                    <a:pt x="0" y="175"/>
                  </a:cubicBezTo>
                  <a:cubicBezTo>
                    <a:pt x="0" y="175"/>
                    <a:pt x="0" y="175"/>
                    <a:pt x="0" y="175"/>
                  </a:cubicBezTo>
                  <a:cubicBezTo>
                    <a:pt x="1" y="175"/>
                    <a:pt x="1" y="176"/>
                    <a:pt x="2" y="177"/>
                  </a:cubicBezTo>
                  <a:cubicBezTo>
                    <a:pt x="2" y="177"/>
                    <a:pt x="2" y="177"/>
                    <a:pt x="2" y="177"/>
                  </a:cubicBezTo>
                  <a:cubicBezTo>
                    <a:pt x="3" y="178"/>
                    <a:pt x="3" y="178"/>
                    <a:pt x="3" y="178"/>
                  </a:cubicBezTo>
                  <a:cubicBezTo>
                    <a:pt x="3" y="178"/>
                    <a:pt x="3" y="178"/>
                    <a:pt x="3" y="179"/>
                  </a:cubicBezTo>
                  <a:cubicBezTo>
                    <a:pt x="3" y="179"/>
                    <a:pt x="3" y="179"/>
                    <a:pt x="3" y="179"/>
                  </a:cubicBezTo>
                  <a:cubicBezTo>
                    <a:pt x="3" y="180"/>
                    <a:pt x="3" y="180"/>
                    <a:pt x="3" y="180"/>
                  </a:cubicBezTo>
                  <a:cubicBezTo>
                    <a:pt x="4" y="182"/>
                    <a:pt x="4" y="182"/>
                    <a:pt x="4" y="182"/>
                  </a:cubicBezTo>
                  <a:cubicBezTo>
                    <a:pt x="4" y="182"/>
                    <a:pt x="4" y="182"/>
                    <a:pt x="4" y="182"/>
                  </a:cubicBezTo>
                  <a:cubicBezTo>
                    <a:pt x="4" y="182"/>
                    <a:pt x="5" y="183"/>
                    <a:pt x="5" y="183"/>
                  </a:cubicBezTo>
                  <a:cubicBezTo>
                    <a:pt x="4" y="184"/>
                    <a:pt x="4" y="184"/>
                    <a:pt x="4" y="184"/>
                  </a:cubicBezTo>
                  <a:cubicBezTo>
                    <a:pt x="5" y="184"/>
                    <a:pt x="5" y="184"/>
                    <a:pt x="5" y="184"/>
                  </a:cubicBezTo>
                  <a:cubicBezTo>
                    <a:pt x="5" y="184"/>
                    <a:pt x="5" y="184"/>
                    <a:pt x="5" y="184"/>
                  </a:cubicBezTo>
                  <a:cubicBezTo>
                    <a:pt x="5" y="185"/>
                    <a:pt x="6" y="186"/>
                    <a:pt x="6" y="187"/>
                  </a:cubicBezTo>
                  <a:cubicBezTo>
                    <a:pt x="7" y="189"/>
                    <a:pt x="7" y="189"/>
                    <a:pt x="8" y="189"/>
                  </a:cubicBezTo>
                  <a:cubicBezTo>
                    <a:pt x="9" y="190"/>
                    <a:pt x="9" y="190"/>
                    <a:pt x="9" y="190"/>
                  </a:cubicBezTo>
                  <a:cubicBezTo>
                    <a:pt x="10" y="190"/>
                    <a:pt x="10" y="190"/>
                    <a:pt x="10" y="190"/>
                  </a:cubicBezTo>
                  <a:cubicBezTo>
                    <a:pt x="10" y="190"/>
                    <a:pt x="10" y="190"/>
                    <a:pt x="10" y="190"/>
                  </a:cubicBezTo>
                  <a:cubicBezTo>
                    <a:pt x="10" y="190"/>
                    <a:pt x="11" y="190"/>
                    <a:pt x="11" y="190"/>
                  </a:cubicBezTo>
                  <a:cubicBezTo>
                    <a:pt x="13" y="191"/>
                    <a:pt x="14" y="194"/>
                    <a:pt x="14" y="196"/>
                  </a:cubicBezTo>
                  <a:cubicBezTo>
                    <a:pt x="14" y="198"/>
                    <a:pt x="14" y="201"/>
                    <a:pt x="14" y="203"/>
                  </a:cubicBezTo>
                  <a:cubicBezTo>
                    <a:pt x="14" y="204"/>
                    <a:pt x="14" y="205"/>
                    <a:pt x="14" y="206"/>
                  </a:cubicBezTo>
                  <a:cubicBezTo>
                    <a:pt x="15" y="211"/>
                    <a:pt x="15" y="213"/>
                    <a:pt x="18" y="216"/>
                  </a:cubicBezTo>
                  <a:cubicBezTo>
                    <a:pt x="19" y="217"/>
                    <a:pt x="20" y="218"/>
                    <a:pt x="21" y="219"/>
                  </a:cubicBezTo>
                  <a:cubicBezTo>
                    <a:pt x="21" y="219"/>
                    <a:pt x="21" y="219"/>
                    <a:pt x="21" y="219"/>
                  </a:cubicBezTo>
                  <a:cubicBezTo>
                    <a:pt x="23" y="221"/>
                    <a:pt x="25" y="223"/>
                    <a:pt x="27" y="225"/>
                  </a:cubicBezTo>
                  <a:cubicBezTo>
                    <a:pt x="30" y="228"/>
                    <a:pt x="30" y="228"/>
                    <a:pt x="30" y="228"/>
                  </a:cubicBezTo>
                  <a:cubicBezTo>
                    <a:pt x="26" y="229"/>
                    <a:pt x="26" y="229"/>
                    <a:pt x="26" y="229"/>
                  </a:cubicBezTo>
                  <a:cubicBezTo>
                    <a:pt x="25" y="230"/>
                    <a:pt x="25" y="230"/>
                    <a:pt x="25" y="230"/>
                  </a:cubicBezTo>
                  <a:cubicBezTo>
                    <a:pt x="24" y="231"/>
                    <a:pt x="24" y="232"/>
                    <a:pt x="23" y="233"/>
                  </a:cubicBezTo>
                  <a:cubicBezTo>
                    <a:pt x="24" y="233"/>
                    <a:pt x="24" y="234"/>
                    <a:pt x="24" y="235"/>
                  </a:cubicBezTo>
                  <a:cubicBezTo>
                    <a:pt x="26" y="238"/>
                    <a:pt x="25" y="241"/>
                    <a:pt x="23" y="243"/>
                  </a:cubicBezTo>
                  <a:cubicBezTo>
                    <a:pt x="22" y="244"/>
                    <a:pt x="21" y="244"/>
                    <a:pt x="20" y="244"/>
                  </a:cubicBezTo>
                  <a:cubicBezTo>
                    <a:pt x="20" y="244"/>
                    <a:pt x="20" y="244"/>
                    <a:pt x="20" y="244"/>
                  </a:cubicBezTo>
                  <a:cubicBezTo>
                    <a:pt x="20" y="248"/>
                    <a:pt x="21" y="249"/>
                    <a:pt x="22" y="250"/>
                  </a:cubicBezTo>
                  <a:cubicBezTo>
                    <a:pt x="24" y="251"/>
                    <a:pt x="25" y="252"/>
                    <a:pt x="25" y="253"/>
                  </a:cubicBezTo>
                  <a:cubicBezTo>
                    <a:pt x="27" y="255"/>
                    <a:pt x="27" y="257"/>
                    <a:pt x="27" y="259"/>
                  </a:cubicBezTo>
                  <a:cubicBezTo>
                    <a:pt x="27" y="260"/>
                    <a:pt x="27" y="260"/>
                    <a:pt x="27" y="260"/>
                  </a:cubicBezTo>
                  <a:cubicBezTo>
                    <a:pt x="26" y="260"/>
                    <a:pt x="26" y="261"/>
                    <a:pt x="26" y="261"/>
                  </a:cubicBezTo>
                  <a:cubicBezTo>
                    <a:pt x="27" y="261"/>
                    <a:pt x="27" y="261"/>
                    <a:pt x="27" y="261"/>
                  </a:cubicBezTo>
                  <a:cubicBezTo>
                    <a:pt x="27" y="261"/>
                    <a:pt x="27" y="262"/>
                    <a:pt x="28" y="263"/>
                  </a:cubicBezTo>
                  <a:cubicBezTo>
                    <a:pt x="29" y="263"/>
                    <a:pt x="29" y="263"/>
                    <a:pt x="29" y="263"/>
                  </a:cubicBezTo>
                  <a:cubicBezTo>
                    <a:pt x="30" y="264"/>
                    <a:pt x="30" y="265"/>
                    <a:pt x="30" y="265"/>
                  </a:cubicBezTo>
                  <a:cubicBezTo>
                    <a:pt x="31" y="266"/>
                    <a:pt x="32" y="267"/>
                    <a:pt x="32" y="269"/>
                  </a:cubicBezTo>
                  <a:cubicBezTo>
                    <a:pt x="33" y="269"/>
                    <a:pt x="33" y="269"/>
                    <a:pt x="33" y="269"/>
                  </a:cubicBezTo>
                  <a:cubicBezTo>
                    <a:pt x="33" y="270"/>
                    <a:pt x="33" y="271"/>
                    <a:pt x="34" y="272"/>
                  </a:cubicBezTo>
                  <a:cubicBezTo>
                    <a:pt x="34" y="272"/>
                    <a:pt x="34" y="273"/>
                    <a:pt x="34" y="273"/>
                  </a:cubicBezTo>
                  <a:cubicBezTo>
                    <a:pt x="34" y="273"/>
                    <a:pt x="34" y="273"/>
                    <a:pt x="34" y="273"/>
                  </a:cubicBezTo>
                  <a:cubicBezTo>
                    <a:pt x="34" y="274"/>
                    <a:pt x="34" y="274"/>
                    <a:pt x="35" y="274"/>
                  </a:cubicBezTo>
                  <a:cubicBezTo>
                    <a:pt x="35" y="275"/>
                    <a:pt x="35" y="276"/>
                    <a:pt x="35" y="276"/>
                  </a:cubicBezTo>
                  <a:cubicBezTo>
                    <a:pt x="35" y="277"/>
                    <a:pt x="35" y="277"/>
                    <a:pt x="35" y="277"/>
                  </a:cubicBezTo>
                  <a:cubicBezTo>
                    <a:pt x="35" y="278"/>
                    <a:pt x="35" y="279"/>
                    <a:pt x="35" y="280"/>
                  </a:cubicBezTo>
                  <a:cubicBezTo>
                    <a:pt x="35" y="281"/>
                    <a:pt x="35" y="281"/>
                    <a:pt x="35" y="281"/>
                  </a:cubicBezTo>
                  <a:cubicBezTo>
                    <a:pt x="36" y="282"/>
                    <a:pt x="36" y="283"/>
                    <a:pt x="36" y="284"/>
                  </a:cubicBezTo>
                  <a:cubicBezTo>
                    <a:pt x="36" y="285"/>
                    <a:pt x="36" y="287"/>
                    <a:pt x="37" y="288"/>
                  </a:cubicBezTo>
                  <a:cubicBezTo>
                    <a:pt x="37" y="288"/>
                    <a:pt x="37" y="288"/>
                    <a:pt x="37" y="288"/>
                  </a:cubicBezTo>
                  <a:cubicBezTo>
                    <a:pt x="37" y="289"/>
                    <a:pt x="37" y="289"/>
                    <a:pt x="37" y="289"/>
                  </a:cubicBezTo>
                  <a:cubicBezTo>
                    <a:pt x="38" y="290"/>
                    <a:pt x="40" y="292"/>
                    <a:pt x="40" y="294"/>
                  </a:cubicBezTo>
                  <a:cubicBezTo>
                    <a:pt x="40" y="295"/>
                    <a:pt x="40" y="296"/>
                    <a:pt x="40" y="296"/>
                  </a:cubicBezTo>
                  <a:cubicBezTo>
                    <a:pt x="40" y="297"/>
                    <a:pt x="40" y="297"/>
                    <a:pt x="40" y="298"/>
                  </a:cubicBezTo>
                  <a:cubicBezTo>
                    <a:pt x="40" y="298"/>
                    <a:pt x="40" y="298"/>
                    <a:pt x="40" y="298"/>
                  </a:cubicBezTo>
                  <a:cubicBezTo>
                    <a:pt x="41" y="300"/>
                    <a:pt x="41" y="301"/>
                    <a:pt x="41" y="303"/>
                  </a:cubicBezTo>
                  <a:cubicBezTo>
                    <a:pt x="41" y="304"/>
                    <a:pt x="41" y="305"/>
                    <a:pt x="41" y="306"/>
                  </a:cubicBezTo>
                  <a:cubicBezTo>
                    <a:pt x="41" y="306"/>
                    <a:pt x="41" y="306"/>
                    <a:pt x="41" y="306"/>
                  </a:cubicBezTo>
                  <a:cubicBezTo>
                    <a:pt x="52" y="306"/>
                    <a:pt x="52" y="306"/>
                    <a:pt x="52" y="306"/>
                  </a:cubicBezTo>
                  <a:cubicBezTo>
                    <a:pt x="53" y="306"/>
                    <a:pt x="53" y="306"/>
                    <a:pt x="53" y="306"/>
                  </a:cubicBezTo>
                  <a:cubicBezTo>
                    <a:pt x="53" y="306"/>
                    <a:pt x="53" y="306"/>
                    <a:pt x="53" y="306"/>
                  </a:cubicBezTo>
                  <a:cubicBezTo>
                    <a:pt x="54" y="305"/>
                    <a:pt x="56" y="303"/>
                    <a:pt x="56" y="302"/>
                  </a:cubicBezTo>
                  <a:cubicBezTo>
                    <a:pt x="57" y="301"/>
                    <a:pt x="57" y="301"/>
                    <a:pt x="58" y="300"/>
                  </a:cubicBezTo>
                  <a:cubicBezTo>
                    <a:pt x="60" y="298"/>
                    <a:pt x="62" y="296"/>
                    <a:pt x="64" y="293"/>
                  </a:cubicBezTo>
                  <a:cubicBezTo>
                    <a:pt x="66" y="292"/>
                    <a:pt x="67" y="291"/>
                    <a:pt x="70" y="290"/>
                  </a:cubicBezTo>
                  <a:cubicBezTo>
                    <a:pt x="71" y="289"/>
                    <a:pt x="72" y="289"/>
                    <a:pt x="72" y="289"/>
                  </a:cubicBezTo>
                  <a:cubicBezTo>
                    <a:pt x="72" y="289"/>
                    <a:pt x="72" y="289"/>
                    <a:pt x="72" y="289"/>
                  </a:cubicBezTo>
                  <a:cubicBezTo>
                    <a:pt x="72" y="288"/>
                    <a:pt x="72" y="288"/>
                    <a:pt x="72" y="288"/>
                  </a:cubicBezTo>
                  <a:cubicBezTo>
                    <a:pt x="73" y="287"/>
                    <a:pt x="73" y="286"/>
                    <a:pt x="73" y="285"/>
                  </a:cubicBezTo>
                  <a:cubicBezTo>
                    <a:pt x="74" y="283"/>
                    <a:pt x="74" y="283"/>
                    <a:pt x="74" y="283"/>
                  </a:cubicBezTo>
                  <a:cubicBezTo>
                    <a:pt x="74" y="283"/>
                    <a:pt x="74" y="283"/>
                    <a:pt x="74" y="283"/>
                  </a:cubicBezTo>
                  <a:cubicBezTo>
                    <a:pt x="74" y="280"/>
                    <a:pt x="74" y="280"/>
                    <a:pt x="74" y="280"/>
                  </a:cubicBezTo>
                  <a:cubicBezTo>
                    <a:pt x="77" y="281"/>
                    <a:pt x="77" y="281"/>
                    <a:pt x="77" y="281"/>
                  </a:cubicBezTo>
                  <a:cubicBezTo>
                    <a:pt x="80" y="281"/>
                    <a:pt x="83" y="284"/>
                    <a:pt x="85" y="285"/>
                  </a:cubicBezTo>
                  <a:cubicBezTo>
                    <a:pt x="87" y="287"/>
                    <a:pt x="89" y="289"/>
                    <a:pt x="91" y="289"/>
                  </a:cubicBezTo>
                  <a:cubicBezTo>
                    <a:pt x="94" y="289"/>
                    <a:pt x="94" y="289"/>
                    <a:pt x="94" y="289"/>
                  </a:cubicBezTo>
                  <a:cubicBezTo>
                    <a:pt x="95" y="289"/>
                    <a:pt x="95" y="289"/>
                    <a:pt x="96" y="289"/>
                  </a:cubicBezTo>
                  <a:cubicBezTo>
                    <a:pt x="98" y="289"/>
                    <a:pt x="100" y="289"/>
                    <a:pt x="102" y="289"/>
                  </a:cubicBezTo>
                  <a:cubicBezTo>
                    <a:pt x="103" y="289"/>
                    <a:pt x="105" y="289"/>
                    <a:pt x="106" y="289"/>
                  </a:cubicBezTo>
                  <a:cubicBezTo>
                    <a:pt x="107" y="289"/>
                    <a:pt x="107" y="289"/>
                    <a:pt x="107" y="289"/>
                  </a:cubicBezTo>
                  <a:cubicBezTo>
                    <a:pt x="108" y="290"/>
                    <a:pt x="110" y="290"/>
                    <a:pt x="112" y="290"/>
                  </a:cubicBezTo>
                  <a:cubicBezTo>
                    <a:pt x="115" y="291"/>
                    <a:pt x="116" y="292"/>
                    <a:pt x="118" y="295"/>
                  </a:cubicBezTo>
                  <a:cubicBezTo>
                    <a:pt x="119" y="296"/>
                    <a:pt x="120" y="299"/>
                    <a:pt x="121" y="301"/>
                  </a:cubicBezTo>
                  <a:cubicBezTo>
                    <a:pt x="123" y="297"/>
                    <a:pt x="124" y="293"/>
                    <a:pt x="126" y="289"/>
                  </a:cubicBezTo>
                  <a:cubicBezTo>
                    <a:pt x="127" y="288"/>
                    <a:pt x="127" y="288"/>
                    <a:pt x="127" y="288"/>
                  </a:cubicBezTo>
                  <a:cubicBezTo>
                    <a:pt x="127" y="288"/>
                    <a:pt x="127" y="288"/>
                    <a:pt x="127" y="288"/>
                  </a:cubicBezTo>
                  <a:cubicBezTo>
                    <a:pt x="129" y="287"/>
                    <a:pt x="131" y="286"/>
                    <a:pt x="133" y="286"/>
                  </a:cubicBezTo>
                  <a:cubicBezTo>
                    <a:pt x="133" y="286"/>
                    <a:pt x="133" y="286"/>
                    <a:pt x="133" y="286"/>
                  </a:cubicBezTo>
                  <a:cubicBezTo>
                    <a:pt x="134" y="286"/>
                    <a:pt x="135" y="286"/>
                    <a:pt x="136" y="286"/>
                  </a:cubicBezTo>
                  <a:cubicBezTo>
                    <a:pt x="136" y="286"/>
                    <a:pt x="137" y="286"/>
                    <a:pt x="137" y="286"/>
                  </a:cubicBezTo>
                  <a:cubicBezTo>
                    <a:pt x="150" y="286"/>
                    <a:pt x="150" y="286"/>
                    <a:pt x="150" y="286"/>
                  </a:cubicBezTo>
                  <a:cubicBezTo>
                    <a:pt x="150" y="286"/>
                    <a:pt x="151" y="286"/>
                    <a:pt x="151" y="286"/>
                  </a:cubicBezTo>
                  <a:cubicBezTo>
                    <a:pt x="151" y="286"/>
                    <a:pt x="151" y="286"/>
                    <a:pt x="151" y="286"/>
                  </a:cubicBezTo>
                  <a:cubicBezTo>
                    <a:pt x="152" y="286"/>
                    <a:pt x="153" y="286"/>
                    <a:pt x="153" y="286"/>
                  </a:cubicBezTo>
                  <a:cubicBezTo>
                    <a:pt x="154" y="286"/>
                    <a:pt x="154" y="286"/>
                    <a:pt x="154" y="286"/>
                  </a:cubicBezTo>
                  <a:cubicBezTo>
                    <a:pt x="154" y="286"/>
                    <a:pt x="154" y="286"/>
                    <a:pt x="154" y="286"/>
                  </a:cubicBezTo>
                  <a:cubicBezTo>
                    <a:pt x="154" y="286"/>
                    <a:pt x="154" y="286"/>
                    <a:pt x="154" y="286"/>
                  </a:cubicBezTo>
                  <a:cubicBezTo>
                    <a:pt x="155" y="286"/>
                    <a:pt x="155" y="286"/>
                    <a:pt x="155" y="286"/>
                  </a:cubicBezTo>
                  <a:cubicBezTo>
                    <a:pt x="156" y="286"/>
                    <a:pt x="156" y="286"/>
                    <a:pt x="156" y="286"/>
                  </a:cubicBezTo>
                  <a:cubicBezTo>
                    <a:pt x="156" y="286"/>
                    <a:pt x="157" y="286"/>
                    <a:pt x="157" y="286"/>
                  </a:cubicBezTo>
                  <a:cubicBezTo>
                    <a:pt x="158" y="287"/>
                    <a:pt x="158" y="287"/>
                    <a:pt x="158" y="288"/>
                  </a:cubicBezTo>
                  <a:cubicBezTo>
                    <a:pt x="159" y="286"/>
                    <a:pt x="159" y="286"/>
                    <a:pt x="159" y="286"/>
                  </a:cubicBezTo>
                  <a:cubicBezTo>
                    <a:pt x="159" y="285"/>
                    <a:pt x="160" y="283"/>
                    <a:pt x="160" y="282"/>
                  </a:cubicBezTo>
                  <a:cubicBezTo>
                    <a:pt x="162" y="278"/>
                    <a:pt x="162" y="278"/>
                    <a:pt x="162" y="278"/>
                  </a:cubicBezTo>
                  <a:cubicBezTo>
                    <a:pt x="162" y="276"/>
                    <a:pt x="162" y="275"/>
                    <a:pt x="163" y="274"/>
                  </a:cubicBezTo>
                  <a:cubicBezTo>
                    <a:pt x="163" y="273"/>
                    <a:pt x="163" y="273"/>
                    <a:pt x="163" y="273"/>
                  </a:cubicBezTo>
                  <a:cubicBezTo>
                    <a:pt x="164" y="270"/>
                    <a:pt x="165" y="267"/>
                    <a:pt x="166" y="264"/>
                  </a:cubicBezTo>
                  <a:cubicBezTo>
                    <a:pt x="166" y="263"/>
                    <a:pt x="166" y="262"/>
                    <a:pt x="166" y="260"/>
                  </a:cubicBezTo>
                  <a:cubicBezTo>
                    <a:pt x="166" y="260"/>
                    <a:pt x="166" y="259"/>
                    <a:pt x="166" y="258"/>
                  </a:cubicBezTo>
                  <a:cubicBezTo>
                    <a:pt x="166" y="256"/>
                    <a:pt x="166" y="256"/>
                    <a:pt x="166" y="256"/>
                  </a:cubicBezTo>
                  <a:cubicBezTo>
                    <a:pt x="166" y="255"/>
                    <a:pt x="167" y="254"/>
                    <a:pt x="167" y="253"/>
                  </a:cubicBezTo>
                  <a:cubicBezTo>
                    <a:pt x="167" y="251"/>
                    <a:pt x="168" y="250"/>
                    <a:pt x="169" y="248"/>
                  </a:cubicBezTo>
                  <a:cubicBezTo>
                    <a:pt x="170" y="247"/>
                    <a:pt x="171" y="245"/>
                    <a:pt x="172" y="244"/>
                  </a:cubicBezTo>
                  <a:cubicBezTo>
                    <a:pt x="172" y="243"/>
                    <a:pt x="172" y="243"/>
                    <a:pt x="172" y="243"/>
                  </a:cubicBezTo>
                  <a:cubicBezTo>
                    <a:pt x="173" y="242"/>
                    <a:pt x="173" y="242"/>
                    <a:pt x="173" y="242"/>
                  </a:cubicBezTo>
                  <a:cubicBezTo>
                    <a:pt x="175" y="240"/>
                    <a:pt x="175" y="238"/>
                    <a:pt x="176" y="236"/>
                  </a:cubicBezTo>
                  <a:cubicBezTo>
                    <a:pt x="177" y="234"/>
                    <a:pt x="177" y="234"/>
                    <a:pt x="177" y="234"/>
                  </a:cubicBezTo>
                  <a:cubicBezTo>
                    <a:pt x="178" y="231"/>
                    <a:pt x="180" y="230"/>
                    <a:pt x="183" y="229"/>
                  </a:cubicBezTo>
                  <a:cubicBezTo>
                    <a:pt x="192" y="227"/>
                    <a:pt x="192" y="227"/>
                    <a:pt x="192" y="227"/>
                  </a:cubicBezTo>
                  <a:cubicBezTo>
                    <a:pt x="196" y="226"/>
                    <a:pt x="200" y="226"/>
                    <a:pt x="204" y="225"/>
                  </a:cubicBezTo>
                  <a:cubicBezTo>
                    <a:pt x="207" y="224"/>
                    <a:pt x="210" y="224"/>
                    <a:pt x="212" y="223"/>
                  </a:cubicBezTo>
                  <a:cubicBezTo>
                    <a:pt x="215" y="222"/>
                    <a:pt x="215" y="222"/>
                    <a:pt x="215" y="222"/>
                  </a:cubicBezTo>
                  <a:cubicBezTo>
                    <a:pt x="219" y="221"/>
                    <a:pt x="223" y="221"/>
                    <a:pt x="226" y="221"/>
                  </a:cubicBezTo>
                  <a:cubicBezTo>
                    <a:pt x="228" y="221"/>
                    <a:pt x="228" y="221"/>
                    <a:pt x="228" y="221"/>
                  </a:cubicBezTo>
                  <a:cubicBezTo>
                    <a:pt x="230" y="221"/>
                    <a:pt x="232" y="220"/>
                    <a:pt x="234" y="220"/>
                  </a:cubicBezTo>
                  <a:cubicBezTo>
                    <a:pt x="234" y="220"/>
                    <a:pt x="234" y="220"/>
                    <a:pt x="235" y="220"/>
                  </a:cubicBezTo>
                  <a:cubicBezTo>
                    <a:pt x="235" y="220"/>
                    <a:pt x="235" y="220"/>
                    <a:pt x="235" y="220"/>
                  </a:cubicBezTo>
                  <a:cubicBezTo>
                    <a:pt x="236" y="220"/>
                    <a:pt x="237" y="220"/>
                    <a:pt x="238" y="220"/>
                  </a:cubicBezTo>
                  <a:cubicBezTo>
                    <a:pt x="239" y="220"/>
                    <a:pt x="241" y="220"/>
                    <a:pt x="242" y="220"/>
                  </a:cubicBezTo>
                  <a:cubicBezTo>
                    <a:pt x="243" y="220"/>
                    <a:pt x="243" y="220"/>
                    <a:pt x="243" y="220"/>
                  </a:cubicBezTo>
                  <a:cubicBezTo>
                    <a:pt x="243" y="220"/>
                    <a:pt x="244" y="221"/>
                    <a:pt x="244" y="221"/>
                  </a:cubicBezTo>
                  <a:cubicBezTo>
                    <a:pt x="263" y="232"/>
                    <a:pt x="263" y="232"/>
                    <a:pt x="263" y="232"/>
                  </a:cubicBezTo>
                  <a:cubicBezTo>
                    <a:pt x="263" y="232"/>
                    <a:pt x="263" y="232"/>
                    <a:pt x="263" y="232"/>
                  </a:cubicBezTo>
                  <a:cubicBezTo>
                    <a:pt x="263" y="230"/>
                    <a:pt x="264" y="228"/>
                    <a:pt x="265" y="226"/>
                  </a:cubicBezTo>
                  <a:cubicBezTo>
                    <a:pt x="266" y="225"/>
                    <a:pt x="266" y="225"/>
                    <a:pt x="266" y="225"/>
                  </a:cubicBezTo>
                  <a:cubicBezTo>
                    <a:pt x="266" y="224"/>
                    <a:pt x="267" y="223"/>
                    <a:pt x="267" y="222"/>
                  </a:cubicBezTo>
                  <a:cubicBezTo>
                    <a:pt x="269" y="218"/>
                    <a:pt x="269" y="218"/>
                    <a:pt x="269" y="218"/>
                  </a:cubicBezTo>
                  <a:cubicBezTo>
                    <a:pt x="269" y="217"/>
                    <a:pt x="270" y="215"/>
                    <a:pt x="271" y="214"/>
                  </a:cubicBezTo>
                  <a:cubicBezTo>
                    <a:pt x="271" y="213"/>
                    <a:pt x="271" y="212"/>
                    <a:pt x="271" y="211"/>
                  </a:cubicBezTo>
                  <a:cubicBezTo>
                    <a:pt x="272" y="211"/>
                    <a:pt x="272" y="210"/>
                    <a:pt x="272" y="210"/>
                  </a:cubicBezTo>
                  <a:cubicBezTo>
                    <a:pt x="272" y="209"/>
                    <a:pt x="272" y="208"/>
                    <a:pt x="273" y="207"/>
                  </a:cubicBezTo>
                  <a:cubicBezTo>
                    <a:pt x="273" y="206"/>
                    <a:pt x="273" y="206"/>
                    <a:pt x="273" y="206"/>
                  </a:cubicBezTo>
                  <a:cubicBezTo>
                    <a:pt x="273" y="204"/>
                    <a:pt x="273" y="201"/>
                    <a:pt x="274" y="199"/>
                  </a:cubicBezTo>
                  <a:cubicBezTo>
                    <a:pt x="274" y="198"/>
                    <a:pt x="275" y="197"/>
                    <a:pt x="275" y="197"/>
                  </a:cubicBezTo>
                  <a:cubicBezTo>
                    <a:pt x="275" y="196"/>
                    <a:pt x="275" y="196"/>
                    <a:pt x="275" y="196"/>
                  </a:cubicBezTo>
                  <a:cubicBezTo>
                    <a:pt x="274" y="195"/>
                    <a:pt x="274" y="195"/>
                    <a:pt x="274" y="195"/>
                  </a:cubicBezTo>
                  <a:cubicBezTo>
                    <a:pt x="273" y="194"/>
                    <a:pt x="273" y="194"/>
                    <a:pt x="273" y="194"/>
                  </a:cubicBezTo>
                  <a:cubicBezTo>
                    <a:pt x="272" y="192"/>
                    <a:pt x="272" y="190"/>
                    <a:pt x="272" y="189"/>
                  </a:cubicBezTo>
                  <a:cubicBezTo>
                    <a:pt x="272" y="189"/>
                    <a:pt x="272" y="189"/>
                    <a:pt x="272" y="189"/>
                  </a:cubicBezTo>
                  <a:cubicBezTo>
                    <a:pt x="271" y="188"/>
                    <a:pt x="271" y="187"/>
                    <a:pt x="271" y="187"/>
                  </a:cubicBezTo>
                  <a:cubicBezTo>
                    <a:pt x="270" y="184"/>
                    <a:pt x="270" y="183"/>
                    <a:pt x="268" y="183"/>
                  </a:cubicBezTo>
                  <a:cubicBezTo>
                    <a:pt x="266" y="182"/>
                    <a:pt x="264" y="182"/>
                    <a:pt x="262" y="180"/>
                  </a:cubicBezTo>
                  <a:cubicBezTo>
                    <a:pt x="256" y="177"/>
                    <a:pt x="255" y="173"/>
                    <a:pt x="254" y="167"/>
                  </a:cubicBezTo>
                  <a:cubicBezTo>
                    <a:pt x="253" y="164"/>
                    <a:pt x="253" y="160"/>
                    <a:pt x="255" y="157"/>
                  </a:cubicBezTo>
                  <a:cubicBezTo>
                    <a:pt x="255" y="156"/>
                    <a:pt x="256" y="156"/>
                    <a:pt x="256" y="156"/>
                  </a:cubicBezTo>
                  <a:cubicBezTo>
                    <a:pt x="256" y="155"/>
                    <a:pt x="257" y="154"/>
                    <a:pt x="257" y="154"/>
                  </a:cubicBezTo>
                  <a:cubicBezTo>
                    <a:pt x="244" y="154"/>
                    <a:pt x="244" y="154"/>
                    <a:pt x="244" y="154"/>
                  </a:cubicBezTo>
                  <a:cubicBezTo>
                    <a:pt x="241" y="154"/>
                    <a:pt x="239" y="154"/>
                    <a:pt x="236" y="154"/>
                  </a:cubicBezTo>
                  <a:cubicBezTo>
                    <a:pt x="234" y="154"/>
                    <a:pt x="232" y="154"/>
                    <a:pt x="229" y="154"/>
                  </a:cubicBezTo>
                  <a:cubicBezTo>
                    <a:pt x="222" y="154"/>
                    <a:pt x="222" y="154"/>
                    <a:pt x="222" y="154"/>
                  </a:cubicBezTo>
                  <a:cubicBezTo>
                    <a:pt x="221" y="154"/>
                    <a:pt x="220" y="154"/>
                    <a:pt x="220" y="154"/>
                  </a:cubicBezTo>
                  <a:cubicBezTo>
                    <a:pt x="215" y="153"/>
                    <a:pt x="214" y="151"/>
                    <a:pt x="214" y="147"/>
                  </a:cubicBezTo>
                  <a:cubicBezTo>
                    <a:pt x="214" y="147"/>
                    <a:pt x="214" y="146"/>
                    <a:pt x="214" y="146"/>
                  </a:cubicBezTo>
                  <a:cubicBezTo>
                    <a:pt x="214" y="144"/>
                    <a:pt x="214" y="143"/>
                    <a:pt x="214" y="142"/>
                  </a:cubicBezTo>
                  <a:cubicBezTo>
                    <a:pt x="214" y="138"/>
                    <a:pt x="213" y="134"/>
                    <a:pt x="211" y="132"/>
                  </a:cubicBezTo>
                  <a:cubicBezTo>
                    <a:pt x="210" y="130"/>
                    <a:pt x="208" y="127"/>
                    <a:pt x="206" y="125"/>
                  </a:cubicBezTo>
                  <a:cubicBezTo>
                    <a:pt x="203" y="122"/>
                    <a:pt x="203" y="122"/>
                    <a:pt x="203" y="122"/>
                  </a:cubicBezTo>
                  <a:cubicBezTo>
                    <a:pt x="207" y="121"/>
                    <a:pt x="207" y="121"/>
                    <a:pt x="207" y="121"/>
                  </a:cubicBezTo>
                  <a:cubicBezTo>
                    <a:pt x="208" y="120"/>
                    <a:pt x="209" y="120"/>
                    <a:pt x="210" y="120"/>
                  </a:cubicBezTo>
                  <a:cubicBezTo>
                    <a:pt x="211" y="120"/>
                    <a:pt x="211" y="120"/>
                    <a:pt x="211" y="120"/>
                  </a:cubicBezTo>
                  <a:cubicBezTo>
                    <a:pt x="207" y="119"/>
                    <a:pt x="207" y="119"/>
                    <a:pt x="207" y="119"/>
                  </a:cubicBezTo>
                  <a:cubicBezTo>
                    <a:pt x="212" y="119"/>
                    <a:pt x="212" y="119"/>
                    <a:pt x="212" y="119"/>
                  </a:cubicBezTo>
                  <a:cubicBezTo>
                    <a:pt x="212" y="118"/>
                    <a:pt x="212" y="118"/>
                    <a:pt x="212" y="118"/>
                  </a:cubicBezTo>
                  <a:cubicBezTo>
                    <a:pt x="212" y="116"/>
                    <a:pt x="211" y="113"/>
                    <a:pt x="210" y="110"/>
                  </a:cubicBezTo>
                  <a:cubicBezTo>
                    <a:pt x="210" y="110"/>
                    <a:pt x="210" y="110"/>
                    <a:pt x="210" y="110"/>
                  </a:cubicBezTo>
                  <a:cubicBezTo>
                    <a:pt x="209" y="107"/>
                    <a:pt x="208" y="103"/>
                    <a:pt x="208" y="100"/>
                  </a:cubicBezTo>
                  <a:cubicBezTo>
                    <a:pt x="208" y="100"/>
                    <a:pt x="208" y="100"/>
                    <a:pt x="208" y="100"/>
                  </a:cubicBezTo>
                  <a:cubicBezTo>
                    <a:pt x="208" y="99"/>
                    <a:pt x="208" y="99"/>
                    <a:pt x="208" y="99"/>
                  </a:cubicBezTo>
                  <a:cubicBezTo>
                    <a:pt x="208" y="98"/>
                    <a:pt x="208" y="98"/>
                    <a:pt x="208" y="98"/>
                  </a:cubicBezTo>
                  <a:cubicBezTo>
                    <a:pt x="208" y="97"/>
                    <a:pt x="208" y="97"/>
                    <a:pt x="207" y="96"/>
                  </a:cubicBezTo>
                  <a:cubicBezTo>
                    <a:pt x="207" y="96"/>
                    <a:pt x="207" y="96"/>
                    <a:pt x="207" y="96"/>
                  </a:cubicBezTo>
                  <a:cubicBezTo>
                    <a:pt x="206" y="95"/>
                    <a:pt x="205" y="94"/>
                    <a:pt x="204" y="93"/>
                  </a:cubicBezTo>
                  <a:cubicBezTo>
                    <a:pt x="202" y="92"/>
                    <a:pt x="201" y="91"/>
                    <a:pt x="199" y="90"/>
                  </a:cubicBezTo>
                  <a:cubicBezTo>
                    <a:pt x="199" y="90"/>
                    <a:pt x="198" y="89"/>
                    <a:pt x="197" y="89"/>
                  </a:cubicBezTo>
                  <a:cubicBezTo>
                    <a:pt x="196" y="88"/>
                    <a:pt x="196" y="88"/>
                    <a:pt x="196" y="88"/>
                  </a:cubicBezTo>
                  <a:cubicBezTo>
                    <a:pt x="196" y="88"/>
                    <a:pt x="196" y="88"/>
                    <a:pt x="196" y="88"/>
                  </a:cubicBezTo>
                  <a:cubicBezTo>
                    <a:pt x="195" y="88"/>
                    <a:pt x="194" y="88"/>
                    <a:pt x="193" y="88"/>
                  </a:cubicBezTo>
                  <a:cubicBezTo>
                    <a:pt x="191" y="88"/>
                    <a:pt x="190" y="88"/>
                    <a:pt x="187" y="88"/>
                  </a:cubicBezTo>
                  <a:cubicBezTo>
                    <a:pt x="187" y="88"/>
                    <a:pt x="187" y="88"/>
                    <a:pt x="187" y="88"/>
                  </a:cubicBezTo>
                  <a:cubicBezTo>
                    <a:pt x="186" y="88"/>
                    <a:pt x="186" y="88"/>
                    <a:pt x="185" y="88"/>
                  </a:cubicBezTo>
                  <a:cubicBezTo>
                    <a:pt x="185" y="88"/>
                    <a:pt x="184" y="88"/>
                    <a:pt x="184" y="88"/>
                  </a:cubicBezTo>
                  <a:cubicBezTo>
                    <a:pt x="183" y="89"/>
                    <a:pt x="183" y="89"/>
                    <a:pt x="183" y="89"/>
                  </a:cubicBezTo>
                  <a:cubicBezTo>
                    <a:pt x="182" y="89"/>
                    <a:pt x="181" y="89"/>
                    <a:pt x="180" y="89"/>
                  </a:cubicBezTo>
                  <a:cubicBezTo>
                    <a:pt x="178" y="89"/>
                    <a:pt x="177" y="89"/>
                    <a:pt x="176" y="88"/>
                  </a:cubicBezTo>
                  <a:cubicBezTo>
                    <a:pt x="176" y="88"/>
                    <a:pt x="175" y="87"/>
                    <a:pt x="175" y="86"/>
                  </a:cubicBezTo>
                  <a:cubicBezTo>
                    <a:pt x="174" y="86"/>
                    <a:pt x="174" y="86"/>
                    <a:pt x="174" y="86"/>
                  </a:cubicBezTo>
                  <a:cubicBezTo>
                    <a:pt x="174" y="85"/>
                    <a:pt x="174" y="85"/>
                    <a:pt x="173" y="85"/>
                  </a:cubicBezTo>
                  <a:cubicBezTo>
                    <a:pt x="172" y="84"/>
                    <a:pt x="171" y="82"/>
                    <a:pt x="170" y="81"/>
                  </a:cubicBezTo>
                  <a:cubicBezTo>
                    <a:pt x="169" y="80"/>
                    <a:pt x="169" y="79"/>
                    <a:pt x="168" y="79"/>
                  </a:cubicBezTo>
                  <a:cubicBezTo>
                    <a:pt x="167" y="78"/>
                    <a:pt x="165" y="78"/>
                    <a:pt x="163" y="78"/>
                  </a:cubicBezTo>
                  <a:cubicBezTo>
                    <a:pt x="161" y="78"/>
                    <a:pt x="158" y="78"/>
                    <a:pt x="156" y="77"/>
                  </a:cubicBezTo>
                  <a:cubicBezTo>
                    <a:pt x="155" y="76"/>
                    <a:pt x="155" y="76"/>
                    <a:pt x="154" y="76"/>
                  </a:cubicBezTo>
                  <a:cubicBezTo>
                    <a:pt x="153" y="75"/>
                    <a:pt x="152" y="74"/>
                    <a:pt x="152" y="74"/>
                  </a:cubicBezTo>
                  <a:cubicBezTo>
                    <a:pt x="151" y="73"/>
                    <a:pt x="151" y="73"/>
                    <a:pt x="151" y="73"/>
                  </a:cubicBezTo>
                  <a:cubicBezTo>
                    <a:pt x="151" y="73"/>
                    <a:pt x="151" y="73"/>
                    <a:pt x="150" y="72"/>
                  </a:cubicBezTo>
                  <a:cubicBezTo>
                    <a:pt x="150" y="72"/>
                    <a:pt x="150" y="72"/>
                    <a:pt x="150" y="72"/>
                  </a:cubicBezTo>
                  <a:cubicBezTo>
                    <a:pt x="149" y="71"/>
                    <a:pt x="149" y="71"/>
                    <a:pt x="149" y="71"/>
                  </a:cubicBezTo>
                  <a:cubicBezTo>
                    <a:pt x="149" y="71"/>
                    <a:pt x="149" y="71"/>
                    <a:pt x="149" y="71"/>
                  </a:cubicBezTo>
                  <a:cubicBezTo>
                    <a:pt x="148" y="70"/>
                    <a:pt x="148" y="69"/>
                    <a:pt x="147" y="69"/>
                  </a:cubicBezTo>
                  <a:cubicBezTo>
                    <a:pt x="147" y="68"/>
                    <a:pt x="147" y="68"/>
                    <a:pt x="147" y="68"/>
                  </a:cubicBezTo>
                  <a:cubicBezTo>
                    <a:pt x="147" y="68"/>
                    <a:pt x="146" y="67"/>
                    <a:pt x="145" y="67"/>
                  </a:cubicBezTo>
                  <a:cubicBezTo>
                    <a:pt x="145" y="67"/>
                    <a:pt x="145" y="67"/>
                    <a:pt x="145" y="67"/>
                  </a:cubicBezTo>
                  <a:cubicBezTo>
                    <a:pt x="144" y="67"/>
                    <a:pt x="144" y="67"/>
                    <a:pt x="143" y="67"/>
                  </a:cubicBezTo>
                  <a:cubicBezTo>
                    <a:pt x="142" y="66"/>
                    <a:pt x="141" y="66"/>
                    <a:pt x="139" y="65"/>
                  </a:cubicBezTo>
                  <a:cubicBezTo>
                    <a:pt x="138" y="65"/>
                    <a:pt x="138" y="65"/>
                    <a:pt x="138" y="65"/>
                  </a:cubicBezTo>
                  <a:cubicBezTo>
                    <a:pt x="136" y="64"/>
                    <a:pt x="135" y="64"/>
                    <a:pt x="133" y="64"/>
                  </a:cubicBezTo>
                  <a:cubicBezTo>
                    <a:pt x="133" y="64"/>
                    <a:pt x="133" y="64"/>
                    <a:pt x="133" y="64"/>
                  </a:cubicBezTo>
                  <a:cubicBezTo>
                    <a:pt x="132" y="64"/>
                    <a:pt x="132" y="65"/>
                    <a:pt x="131" y="65"/>
                  </a:cubicBezTo>
                  <a:cubicBezTo>
                    <a:pt x="130" y="65"/>
                    <a:pt x="129" y="65"/>
                    <a:pt x="128" y="65"/>
                  </a:cubicBezTo>
                  <a:cubicBezTo>
                    <a:pt x="128" y="65"/>
                    <a:pt x="128" y="65"/>
                    <a:pt x="128" y="65"/>
                  </a:cubicBezTo>
                  <a:cubicBezTo>
                    <a:pt x="127" y="65"/>
                    <a:pt x="127" y="65"/>
                    <a:pt x="126" y="65"/>
                  </a:cubicBezTo>
                  <a:cubicBezTo>
                    <a:pt x="126" y="65"/>
                    <a:pt x="126" y="65"/>
                    <a:pt x="126" y="65"/>
                  </a:cubicBezTo>
                  <a:cubicBezTo>
                    <a:pt x="125" y="65"/>
                    <a:pt x="125" y="65"/>
                    <a:pt x="125" y="65"/>
                  </a:cubicBezTo>
                  <a:cubicBezTo>
                    <a:pt x="125" y="65"/>
                    <a:pt x="125" y="65"/>
                    <a:pt x="124" y="65"/>
                  </a:cubicBezTo>
                  <a:cubicBezTo>
                    <a:pt x="124" y="65"/>
                    <a:pt x="124" y="65"/>
                    <a:pt x="123" y="65"/>
                  </a:cubicBezTo>
                  <a:cubicBezTo>
                    <a:pt x="122" y="65"/>
                    <a:pt x="121" y="65"/>
                    <a:pt x="121" y="64"/>
                  </a:cubicBezTo>
                  <a:cubicBezTo>
                    <a:pt x="118" y="63"/>
                    <a:pt x="116" y="61"/>
                    <a:pt x="114" y="59"/>
                  </a:cubicBezTo>
                  <a:cubicBezTo>
                    <a:pt x="113" y="59"/>
                    <a:pt x="113" y="58"/>
                    <a:pt x="112" y="57"/>
                  </a:cubicBezTo>
                  <a:cubicBezTo>
                    <a:pt x="103" y="50"/>
                    <a:pt x="103" y="50"/>
                    <a:pt x="103" y="50"/>
                  </a:cubicBezTo>
                  <a:cubicBezTo>
                    <a:pt x="101" y="48"/>
                    <a:pt x="99" y="45"/>
                    <a:pt x="98" y="43"/>
                  </a:cubicBezTo>
                  <a:cubicBezTo>
                    <a:pt x="97" y="41"/>
                    <a:pt x="97" y="41"/>
                    <a:pt x="97" y="41"/>
                  </a:cubicBezTo>
                  <a:cubicBezTo>
                    <a:pt x="96" y="40"/>
                    <a:pt x="95" y="38"/>
                    <a:pt x="94" y="36"/>
                  </a:cubicBezTo>
                  <a:cubicBezTo>
                    <a:pt x="93" y="35"/>
                    <a:pt x="93" y="34"/>
                    <a:pt x="93" y="33"/>
                  </a:cubicBezTo>
                  <a:cubicBezTo>
                    <a:pt x="93" y="33"/>
                    <a:pt x="93" y="32"/>
                    <a:pt x="93" y="32"/>
                  </a:cubicBezTo>
                  <a:cubicBezTo>
                    <a:pt x="93" y="31"/>
                    <a:pt x="93" y="31"/>
                    <a:pt x="93" y="30"/>
                  </a:cubicBezTo>
                  <a:cubicBezTo>
                    <a:pt x="93" y="29"/>
                    <a:pt x="93" y="28"/>
                    <a:pt x="94" y="28"/>
                  </a:cubicBezTo>
                  <a:cubicBezTo>
                    <a:pt x="94" y="27"/>
                    <a:pt x="94" y="26"/>
                    <a:pt x="93" y="26"/>
                  </a:cubicBezTo>
                  <a:cubicBezTo>
                    <a:pt x="93" y="25"/>
                    <a:pt x="93" y="25"/>
                    <a:pt x="93" y="25"/>
                  </a:cubicBezTo>
                  <a:cubicBezTo>
                    <a:pt x="93" y="24"/>
                    <a:pt x="93" y="24"/>
                    <a:pt x="93" y="23"/>
                  </a:cubicBezTo>
                  <a:cubicBezTo>
                    <a:pt x="93" y="23"/>
                    <a:pt x="93" y="22"/>
                    <a:pt x="93" y="22"/>
                  </a:cubicBezTo>
                  <a:cubicBezTo>
                    <a:pt x="93" y="21"/>
                    <a:pt x="93" y="21"/>
                    <a:pt x="93" y="21"/>
                  </a:cubicBezTo>
                  <a:cubicBezTo>
                    <a:pt x="93" y="21"/>
                    <a:pt x="93" y="21"/>
                    <a:pt x="93" y="21"/>
                  </a:cubicBezTo>
                  <a:cubicBezTo>
                    <a:pt x="93" y="20"/>
                    <a:pt x="93" y="20"/>
                    <a:pt x="93" y="20"/>
                  </a:cubicBezTo>
                  <a:cubicBezTo>
                    <a:pt x="92" y="18"/>
                    <a:pt x="92" y="15"/>
                    <a:pt x="93" y="12"/>
                  </a:cubicBezTo>
                  <a:cubicBezTo>
                    <a:pt x="93" y="11"/>
                    <a:pt x="93" y="11"/>
                    <a:pt x="93" y="10"/>
                  </a:cubicBezTo>
                  <a:cubicBezTo>
                    <a:pt x="93" y="8"/>
                    <a:pt x="94" y="7"/>
                    <a:pt x="94" y="5"/>
                  </a:cubicBezTo>
                  <a:cubicBezTo>
                    <a:pt x="94" y="3"/>
                    <a:pt x="94" y="3"/>
                    <a:pt x="94" y="3"/>
                  </a:cubicBezTo>
                  <a:cubicBezTo>
                    <a:pt x="94" y="2"/>
                    <a:pt x="95" y="1"/>
                    <a:pt x="9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73" name="Freeform 244">
              <a:extLst>
                <a:ext uri="{FF2B5EF4-FFF2-40B4-BE49-F238E27FC236}">
                  <a16:creationId xmlns:a16="http://schemas.microsoft.com/office/drawing/2014/main" id="{DE597F22-FF88-4E5E-A5A5-679B90C21B24}"/>
                </a:ext>
              </a:extLst>
            </p:cNvPr>
            <p:cNvSpPr>
              <a:spLocks/>
            </p:cNvSpPr>
            <p:nvPr/>
          </p:nvSpPr>
          <p:spPr bwMode="auto">
            <a:xfrm>
              <a:off x="8348832" y="2306243"/>
              <a:ext cx="29658" cy="21184"/>
            </a:xfrm>
            <a:custGeom>
              <a:avLst/>
              <a:gdLst>
                <a:gd name="T0" fmla="*/ 5 w 9"/>
                <a:gd name="T1" fmla="*/ 0 h 6"/>
                <a:gd name="T2" fmla="*/ 4 w 9"/>
                <a:gd name="T3" fmla="*/ 1 h 6"/>
                <a:gd name="T4" fmla="*/ 3 w 9"/>
                <a:gd name="T5" fmla="*/ 1 h 6"/>
                <a:gd name="T6" fmla="*/ 3 w 9"/>
                <a:gd name="T7" fmla="*/ 1 h 6"/>
                <a:gd name="T8" fmla="*/ 3 w 9"/>
                <a:gd name="T9" fmla="*/ 1 h 6"/>
                <a:gd name="T10" fmla="*/ 2 w 9"/>
                <a:gd name="T11" fmla="*/ 1 h 6"/>
                <a:gd name="T12" fmla="*/ 0 w 9"/>
                <a:gd name="T13" fmla="*/ 1 h 6"/>
                <a:gd name="T14" fmla="*/ 0 w 9"/>
                <a:gd name="T15" fmla="*/ 1 h 6"/>
                <a:gd name="T16" fmla="*/ 0 w 9"/>
                <a:gd name="T17" fmla="*/ 2 h 6"/>
                <a:gd name="T18" fmla="*/ 1 w 9"/>
                <a:gd name="T19" fmla="*/ 2 h 6"/>
                <a:gd name="T20" fmla="*/ 5 w 9"/>
                <a:gd name="T21" fmla="*/ 3 h 6"/>
                <a:gd name="T22" fmla="*/ 8 w 9"/>
                <a:gd name="T23" fmla="*/ 6 h 6"/>
                <a:gd name="T24" fmla="*/ 9 w 9"/>
                <a:gd name="T25" fmla="*/ 6 h 6"/>
                <a:gd name="T26" fmla="*/ 6 w 9"/>
                <a:gd name="T27" fmla="*/ 2 h 6"/>
                <a:gd name="T28" fmla="*/ 5 w 9"/>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6">
                  <a:moveTo>
                    <a:pt x="5" y="0"/>
                  </a:moveTo>
                  <a:cubicBezTo>
                    <a:pt x="4" y="1"/>
                    <a:pt x="4" y="1"/>
                    <a:pt x="4" y="1"/>
                  </a:cubicBezTo>
                  <a:cubicBezTo>
                    <a:pt x="3" y="1"/>
                    <a:pt x="3" y="1"/>
                    <a:pt x="3" y="1"/>
                  </a:cubicBezTo>
                  <a:cubicBezTo>
                    <a:pt x="3" y="1"/>
                    <a:pt x="3" y="1"/>
                    <a:pt x="3" y="1"/>
                  </a:cubicBezTo>
                  <a:cubicBezTo>
                    <a:pt x="3" y="1"/>
                    <a:pt x="3" y="1"/>
                    <a:pt x="3" y="1"/>
                  </a:cubicBezTo>
                  <a:cubicBezTo>
                    <a:pt x="2" y="1"/>
                    <a:pt x="2" y="1"/>
                    <a:pt x="2" y="1"/>
                  </a:cubicBezTo>
                  <a:cubicBezTo>
                    <a:pt x="1" y="1"/>
                    <a:pt x="1" y="1"/>
                    <a:pt x="0" y="1"/>
                  </a:cubicBezTo>
                  <a:cubicBezTo>
                    <a:pt x="0" y="1"/>
                    <a:pt x="0" y="1"/>
                    <a:pt x="0" y="1"/>
                  </a:cubicBezTo>
                  <a:cubicBezTo>
                    <a:pt x="0" y="2"/>
                    <a:pt x="0" y="2"/>
                    <a:pt x="0" y="2"/>
                  </a:cubicBezTo>
                  <a:cubicBezTo>
                    <a:pt x="0" y="2"/>
                    <a:pt x="1" y="2"/>
                    <a:pt x="1" y="2"/>
                  </a:cubicBezTo>
                  <a:cubicBezTo>
                    <a:pt x="3" y="2"/>
                    <a:pt x="5" y="2"/>
                    <a:pt x="5" y="3"/>
                  </a:cubicBezTo>
                  <a:cubicBezTo>
                    <a:pt x="6" y="4"/>
                    <a:pt x="7" y="4"/>
                    <a:pt x="8" y="6"/>
                  </a:cubicBezTo>
                  <a:cubicBezTo>
                    <a:pt x="9" y="6"/>
                    <a:pt x="9" y="6"/>
                    <a:pt x="9" y="6"/>
                  </a:cubicBezTo>
                  <a:cubicBezTo>
                    <a:pt x="6" y="2"/>
                    <a:pt x="6" y="2"/>
                    <a:pt x="6" y="2"/>
                  </a:cubicBezTo>
                  <a:cubicBezTo>
                    <a:pt x="5" y="1"/>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74" name="Freeform 245">
              <a:extLst>
                <a:ext uri="{FF2B5EF4-FFF2-40B4-BE49-F238E27FC236}">
                  <a16:creationId xmlns:a16="http://schemas.microsoft.com/office/drawing/2014/main" id="{E1914DD4-0F03-4EE2-BDC7-FB193B6E7461}"/>
                </a:ext>
              </a:extLst>
            </p:cNvPr>
            <p:cNvSpPr>
              <a:spLocks/>
            </p:cNvSpPr>
            <p:nvPr/>
          </p:nvSpPr>
          <p:spPr bwMode="auto">
            <a:xfrm>
              <a:off x="7514181" y="2022376"/>
              <a:ext cx="971642" cy="1413686"/>
            </a:xfrm>
            <a:custGeom>
              <a:avLst/>
              <a:gdLst>
                <a:gd name="T0" fmla="*/ 139 w 291"/>
                <a:gd name="T1" fmla="*/ 2 h 423"/>
                <a:gd name="T2" fmla="*/ 144 w 291"/>
                <a:gd name="T3" fmla="*/ 17 h 423"/>
                <a:gd name="T4" fmla="*/ 135 w 291"/>
                <a:gd name="T5" fmla="*/ 33 h 423"/>
                <a:gd name="T6" fmla="*/ 96 w 291"/>
                <a:gd name="T7" fmla="*/ 61 h 423"/>
                <a:gd name="T8" fmla="*/ 77 w 291"/>
                <a:gd name="T9" fmla="*/ 73 h 423"/>
                <a:gd name="T10" fmla="*/ 63 w 291"/>
                <a:gd name="T11" fmla="*/ 102 h 423"/>
                <a:gd name="T12" fmla="*/ 54 w 291"/>
                <a:gd name="T13" fmla="*/ 112 h 423"/>
                <a:gd name="T14" fmla="*/ 39 w 291"/>
                <a:gd name="T15" fmla="*/ 103 h 423"/>
                <a:gd name="T16" fmla="*/ 31 w 291"/>
                <a:gd name="T17" fmla="*/ 98 h 423"/>
                <a:gd name="T18" fmla="*/ 21 w 291"/>
                <a:gd name="T19" fmla="*/ 100 h 423"/>
                <a:gd name="T20" fmla="*/ 18 w 291"/>
                <a:gd name="T21" fmla="*/ 94 h 423"/>
                <a:gd name="T22" fmla="*/ 23 w 291"/>
                <a:gd name="T23" fmla="*/ 83 h 423"/>
                <a:gd name="T24" fmla="*/ 1 w 291"/>
                <a:gd name="T25" fmla="*/ 104 h 423"/>
                <a:gd name="T26" fmla="*/ 48 w 291"/>
                <a:gd name="T27" fmla="*/ 180 h 423"/>
                <a:gd name="T28" fmla="*/ 85 w 291"/>
                <a:gd name="T29" fmla="*/ 256 h 423"/>
                <a:gd name="T30" fmla="*/ 105 w 291"/>
                <a:gd name="T31" fmla="*/ 286 h 423"/>
                <a:gd name="T32" fmla="*/ 117 w 291"/>
                <a:gd name="T33" fmla="*/ 325 h 423"/>
                <a:gd name="T34" fmla="*/ 154 w 291"/>
                <a:gd name="T35" fmla="*/ 360 h 423"/>
                <a:gd name="T36" fmla="*/ 251 w 291"/>
                <a:gd name="T37" fmla="*/ 423 h 423"/>
                <a:gd name="T38" fmla="*/ 269 w 291"/>
                <a:gd name="T39" fmla="*/ 403 h 423"/>
                <a:gd name="T40" fmla="*/ 268 w 291"/>
                <a:gd name="T41" fmla="*/ 399 h 423"/>
                <a:gd name="T42" fmla="*/ 282 w 291"/>
                <a:gd name="T43" fmla="*/ 381 h 423"/>
                <a:gd name="T44" fmla="*/ 275 w 291"/>
                <a:gd name="T45" fmla="*/ 363 h 423"/>
                <a:gd name="T46" fmla="*/ 281 w 291"/>
                <a:gd name="T47" fmla="*/ 331 h 423"/>
                <a:gd name="T48" fmla="*/ 285 w 291"/>
                <a:gd name="T49" fmla="*/ 322 h 423"/>
                <a:gd name="T50" fmla="*/ 282 w 291"/>
                <a:gd name="T51" fmla="*/ 310 h 423"/>
                <a:gd name="T52" fmla="*/ 286 w 291"/>
                <a:gd name="T53" fmla="*/ 294 h 423"/>
                <a:gd name="T54" fmla="*/ 271 w 291"/>
                <a:gd name="T55" fmla="*/ 252 h 423"/>
                <a:gd name="T56" fmla="*/ 267 w 291"/>
                <a:gd name="T57" fmla="*/ 252 h 423"/>
                <a:gd name="T58" fmla="*/ 256 w 291"/>
                <a:gd name="T59" fmla="*/ 255 h 423"/>
                <a:gd name="T60" fmla="*/ 245 w 291"/>
                <a:gd name="T61" fmla="*/ 243 h 423"/>
                <a:gd name="T62" fmla="*/ 241 w 291"/>
                <a:gd name="T63" fmla="*/ 225 h 423"/>
                <a:gd name="T64" fmla="*/ 226 w 291"/>
                <a:gd name="T65" fmla="*/ 230 h 423"/>
                <a:gd name="T66" fmla="*/ 209 w 291"/>
                <a:gd name="T67" fmla="*/ 224 h 423"/>
                <a:gd name="T68" fmla="*/ 182 w 291"/>
                <a:gd name="T69" fmla="*/ 215 h 423"/>
                <a:gd name="T70" fmla="*/ 178 w 291"/>
                <a:gd name="T71" fmla="*/ 188 h 423"/>
                <a:gd name="T72" fmla="*/ 168 w 291"/>
                <a:gd name="T73" fmla="*/ 167 h 423"/>
                <a:gd name="T74" fmla="*/ 183 w 291"/>
                <a:gd name="T75" fmla="*/ 145 h 423"/>
                <a:gd name="T76" fmla="*/ 187 w 291"/>
                <a:gd name="T77" fmla="*/ 137 h 423"/>
                <a:gd name="T78" fmla="*/ 191 w 291"/>
                <a:gd name="T79" fmla="*/ 126 h 423"/>
                <a:gd name="T80" fmla="*/ 196 w 291"/>
                <a:gd name="T81" fmla="*/ 110 h 423"/>
                <a:gd name="T82" fmla="*/ 224 w 291"/>
                <a:gd name="T83" fmla="*/ 95 h 423"/>
                <a:gd name="T84" fmla="*/ 240 w 291"/>
                <a:gd name="T85" fmla="*/ 93 h 423"/>
                <a:gd name="T86" fmla="*/ 249 w 291"/>
                <a:gd name="T87" fmla="*/ 87 h 423"/>
                <a:gd name="T88" fmla="*/ 251 w 291"/>
                <a:gd name="T89" fmla="*/ 69 h 423"/>
                <a:gd name="T90" fmla="*/ 255 w 291"/>
                <a:gd name="T91" fmla="*/ 55 h 423"/>
                <a:gd name="T92" fmla="*/ 242 w 291"/>
                <a:gd name="T93" fmla="*/ 50 h 423"/>
                <a:gd name="T94" fmla="*/ 238 w 291"/>
                <a:gd name="T95" fmla="*/ 50 h 423"/>
                <a:gd name="T96" fmla="*/ 225 w 291"/>
                <a:gd name="T97" fmla="*/ 50 h 423"/>
                <a:gd name="T98" fmla="*/ 216 w 291"/>
                <a:gd name="T99" fmla="*/ 54 h 423"/>
                <a:gd name="T100" fmla="*/ 208 w 291"/>
                <a:gd name="T101" fmla="*/ 55 h 423"/>
                <a:gd name="T102" fmla="*/ 202 w 291"/>
                <a:gd name="T103" fmla="*/ 55 h 423"/>
                <a:gd name="T104" fmla="*/ 189 w 291"/>
                <a:gd name="T105" fmla="*/ 42 h 423"/>
                <a:gd name="T106" fmla="*/ 187 w 291"/>
                <a:gd name="T107" fmla="*/ 40 h 423"/>
                <a:gd name="T108" fmla="*/ 182 w 291"/>
                <a:gd name="T109" fmla="*/ 39 h 423"/>
                <a:gd name="T110" fmla="*/ 179 w 291"/>
                <a:gd name="T111" fmla="*/ 32 h 423"/>
                <a:gd name="T112" fmla="*/ 171 w 291"/>
                <a:gd name="T113" fmla="*/ 25 h 423"/>
                <a:gd name="T114" fmla="*/ 159 w 291"/>
                <a:gd name="T115" fmla="*/ 10 h 423"/>
                <a:gd name="T116" fmla="*/ 149 w 291"/>
                <a:gd name="T117" fmla="*/ 1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1" h="423">
                  <a:moveTo>
                    <a:pt x="147" y="0"/>
                  </a:moveTo>
                  <a:cubicBezTo>
                    <a:pt x="140" y="0"/>
                    <a:pt x="140" y="0"/>
                    <a:pt x="140" y="0"/>
                  </a:cubicBezTo>
                  <a:cubicBezTo>
                    <a:pt x="140" y="0"/>
                    <a:pt x="140" y="0"/>
                    <a:pt x="140" y="0"/>
                  </a:cubicBezTo>
                  <a:cubicBezTo>
                    <a:pt x="139" y="0"/>
                    <a:pt x="139" y="0"/>
                    <a:pt x="139" y="0"/>
                  </a:cubicBezTo>
                  <a:cubicBezTo>
                    <a:pt x="139" y="0"/>
                    <a:pt x="139" y="1"/>
                    <a:pt x="139" y="1"/>
                  </a:cubicBezTo>
                  <a:cubicBezTo>
                    <a:pt x="139" y="2"/>
                    <a:pt x="139" y="2"/>
                    <a:pt x="139" y="2"/>
                  </a:cubicBezTo>
                  <a:cubicBezTo>
                    <a:pt x="140" y="2"/>
                    <a:pt x="140" y="2"/>
                    <a:pt x="140" y="2"/>
                  </a:cubicBezTo>
                  <a:cubicBezTo>
                    <a:pt x="140" y="3"/>
                    <a:pt x="140" y="3"/>
                    <a:pt x="140" y="3"/>
                  </a:cubicBezTo>
                  <a:cubicBezTo>
                    <a:pt x="140" y="4"/>
                    <a:pt x="141" y="4"/>
                    <a:pt x="141" y="5"/>
                  </a:cubicBezTo>
                  <a:cubicBezTo>
                    <a:pt x="142" y="6"/>
                    <a:pt x="142" y="7"/>
                    <a:pt x="143" y="8"/>
                  </a:cubicBezTo>
                  <a:cubicBezTo>
                    <a:pt x="143" y="9"/>
                    <a:pt x="144" y="10"/>
                    <a:pt x="144" y="11"/>
                  </a:cubicBezTo>
                  <a:cubicBezTo>
                    <a:pt x="145" y="13"/>
                    <a:pt x="145" y="15"/>
                    <a:pt x="144" y="17"/>
                  </a:cubicBezTo>
                  <a:cubicBezTo>
                    <a:pt x="144" y="18"/>
                    <a:pt x="143" y="20"/>
                    <a:pt x="141" y="22"/>
                  </a:cubicBezTo>
                  <a:cubicBezTo>
                    <a:pt x="141" y="22"/>
                    <a:pt x="141" y="23"/>
                    <a:pt x="140" y="23"/>
                  </a:cubicBezTo>
                  <a:cubicBezTo>
                    <a:pt x="140" y="24"/>
                    <a:pt x="140" y="24"/>
                    <a:pt x="140" y="24"/>
                  </a:cubicBezTo>
                  <a:cubicBezTo>
                    <a:pt x="139" y="25"/>
                    <a:pt x="139" y="25"/>
                    <a:pt x="139" y="25"/>
                  </a:cubicBezTo>
                  <a:cubicBezTo>
                    <a:pt x="139" y="26"/>
                    <a:pt x="139" y="26"/>
                    <a:pt x="139" y="26"/>
                  </a:cubicBezTo>
                  <a:cubicBezTo>
                    <a:pt x="138" y="28"/>
                    <a:pt x="137" y="31"/>
                    <a:pt x="135" y="33"/>
                  </a:cubicBezTo>
                  <a:cubicBezTo>
                    <a:pt x="135" y="33"/>
                    <a:pt x="135" y="33"/>
                    <a:pt x="135" y="33"/>
                  </a:cubicBezTo>
                  <a:cubicBezTo>
                    <a:pt x="134" y="34"/>
                    <a:pt x="134" y="34"/>
                    <a:pt x="134" y="34"/>
                  </a:cubicBezTo>
                  <a:cubicBezTo>
                    <a:pt x="132" y="36"/>
                    <a:pt x="130" y="38"/>
                    <a:pt x="128" y="40"/>
                  </a:cubicBezTo>
                  <a:cubicBezTo>
                    <a:pt x="127" y="42"/>
                    <a:pt x="125" y="43"/>
                    <a:pt x="123" y="45"/>
                  </a:cubicBezTo>
                  <a:cubicBezTo>
                    <a:pt x="120" y="48"/>
                    <a:pt x="116" y="52"/>
                    <a:pt x="112" y="55"/>
                  </a:cubicBezTo>
                  <a:cubicBezTo>
                    <a:pt x="107" y="58"/>
                    <a:pt x="102" y="60"/>
                    <a:pt x="96" y="61"/>
                  </a:cubicBezTo>
                  <a:cubicBezTo>
                    <a:pt x="95" y="62"/>
                    <a:pt x="95" y="62"/>
                    <a:pt x="95" y="62"/>
                  </a:cubicBezTo>
                  <a:cubicBezTo>
                    <a:pt x="94" y="62"/>
                    <a:pt x="92" y="63"/>
                    <a:pt x="90" y="63"/>
                  </a:cubicBezTo>
                  <a:cubicBezTo>
                    <a:pt x="86" y="64"/>
                    <a:pt x="83" y="66"/>
                    <a:pt x="80" y="68"/>
                  </a:cubicBezTo>
                  <a:cubicBezTo>
                    <a:pt x="80" y="69"/>
                    <a:pt x="80" y="69"/>
                    <a:pt x="79" y="69"/>
                  </a:cubicBezTo>
                  <a:cubicBezTo>
                    <a:pt x="79" y="70"/>
                    <a:pt x="79" y="70"/>
                    <a:pt x="79" y="70"/>
                  </a:cubicBezTo>
                  <a:cubicBezTo>
                    <a:pt x="78" y="71"/>
                    <a:pt x="77" y="72"/>
                    <a:pt x="77" y="73"/>
                  </a:cubicBezTo>
                  <a:cubicBezTo>
                    <a:pt x="77" y="73"/>
                    <a:pt x="77" y="73"/>
                    <a:pt x="77" y="73"/>
                  </a:cubicBezTo>
                  <a:cubicBezTo>
                    <a:pt x="77" y="75"/>
                    <a:pt x="76" y="77"/>
                    <a:pt x="74" y="78"/>
                  </a:cubicBezTo>
                  <a:cubicBezTo>
                    <a:pt x="73" y="78"/>
                    <a:pt x="72" y="79"/>
                    <a:pt x="71" y="79"/>
                  </a:cubicBezTo>
                  <a:cubicBezTo>
                    <a:pt x="71" y="79"/>
                    <a:pt x="71" y="80"/>
                    <a:pt x="71" y="81"/>
                  </a:cubicBezTo>
                  <a:cubicBezTo>
                    <a:pt x="71" y="81"/>
                    <a:pt x="71" y="81"/>
                    <a:pt x="71" y="82"/>
                  </a:cubicBezTo>
                  <a:cubicBezTo>
                    <a:pt x="69" y="88"/>
                    <a:pt x="67" y="96"/>
                    <a:pt x="63" y="102"/>
                  </a:cubicBezTo>
                  <a:cubicBezTo>
                    <a:pt x="62" y="104"/>
                    <a:pt x="61" y="106"/>
                    <a:pt x="59" y="108"/>
                  </a:cubicBezTo>
                  <a:cubicBezTo>
                    <a:pt x="59" y="108"/>
                    <a:pt x="59" y="108"/>
                    <a:pt x="59" y="108"/>
                  </a:cubicBezTo>
                  <a:cubicBezTo>
                    <a:pt x="58" y="109"/>
                    <a:pt x="57" y="109"/>
                    <a:pt x="57" y="110"/>
                  </a:cubicBezTo>
                  <a:cubicBezTo>
                    <a:pt x="56" y="111"/>
                    <a:pt x="56" y="111"/>
                    <a:pt x="55" y="111"/>
                  </a:cubicBezTo>
                  <a:cubicBezTo>
                    <a:pt x="55" y="112"/>
                    <a:pt x="55" y="112"/>
                    <a:pt x="54" y="112"/>
                  </a:cubicBezTo>
                  <a:cubicBezTo>
                    <a:pt x="54" y="112"/>
                    <a:pt x="54" y="112"/>
                    <a:pt x="54" y="112"/>
                  </a:cubicBezTo>
                  <a:cubicBezTo>
                    <a:pt x="53" y="113"/>
                    <a:pt x="53" y="113"/>
                    <a:pt x="52" y="113"/>
                  </a:cubicBezTo>
                  <a:cubicBezTo>
                    <a:pt x="51" y="113"/>
                    <a:pt x="50" y="113"/>
                    <a:pt x="49" y="112"/>
                  </a:cubicBezTo>
                  <a:cubicBezTo>
                    <a:pt x="49" y="112"/>
                    <a:pt x="49" y="112"/>
                    <a:pt x="49" y="112"/>
                  </a:cubicBezTo>
                  <a:cubicBezTo>
                    <a:pt x="46" y="112"/>
                    <a:pt x="44" y="110"/>
                    <a:pt x="42" y="108"/>
                  </a:cubicBezTo>
                  <a:cubicBezTo>
                    <a:pt x="41" y="107"/>
                    <a:pt x="41" y="107"/>
                    <a:pt x="41" y="107"/>
                  </a:cubicBezTo>
                  <a:cubicBezTo>
                    <a:pt x="41" y="106"/>
                    <a:pt x="40" y="104"/>
                    <a:pt x="39" y="103"/>
                  </a:cubicBezTo>
                  <a:cubicBezTo>
                    <a:pt x="39" y="102"/>
                    <a:pt x="39" y="101"/>
                    <a:pt x="38" y="100"/>
                  </a:cubicBezTo>
                  <a:cubicBezTo>
                    <a:pt x="37" y="100"/>
                    <a:pt x="37" y="100"/>
                    <a:pt x="37" y="100"/>
                  </a:cubicBezTo>
                  <a:cubicBezTo>
                    <a:pt x="37" y="101"/>
                    <a:pt x="37" y="101"/>
                    <a:pt x="37" y="101"/>
                  </a:cubicBezTo>
                  <a:cubicBezTo>
                    <a:pt x="36" y="100"/>
                    <a:pt x="36" y="100"/>
                    <a:pt x="36" y="100"/>
                  </a:cubicBezTo>
                  <a:cubicBezTo>
                    <a:pt x="35" y="100"/>
                    <a:pt x="33" y="99"/>
                    <a:pt x="32" y="98"/>
                  </a:cubicBezTo>
                  <a:cubicBezTo>
                    <a:pt x="31" y="98"/>
                    <a:pt x="31" y="98"/>
                    <a:pt x="31" y="98"/>
                  </a:cubicBezTo>
                  <a:cubicBezTo>
                    <a:pt x="30" y="98"/>
                    <a:pt x="29" y="97"/>
                    <a:pt x="28" y="97"/>
                  </a:cubicBezTo>
                  <a:cubicBezTo>
                    <a:pt x="27" y="97"/>
                    <a:pt x="27" y="97"/>
                    <a:pt x="27" y="97"/>
                  </a:cubicBezTo>
                  <a:cubicBezTo>
                    <a:pt x="27" y="98"/>
                    <a:pt x="27" y="98"/>
                    <a:pt x="26" y="98"/>
                  </a:cubicBezTo>
                  <a:cubicBezTo>
                    <a:pt x="25" y="99"/>
                    <a:pt x="24" y="99"/>
                    <a:pt x="23" y="99"/>
                  </a:cubicBezTo>
                  <a:cubicBezTo>
                    <a:pt x="22" y="99"/>
                    <a:pt x="22" y="99"/>
                    <a:pt x="22" y="99"/>
                  </a:cubicBezTo>
                  <a:cubicBezTo>
                    <a:pt x="22" y="100"/>
                    <a:pt x="21" y="100"/>
                    <a:pt x="21" y="100"/>
                  </a:cubicBezTo>
                  <a:cubicBezTo>
                    <a:pt x="21" y="100"/>
                    <a:pt x="21" y="100"/>
                    <a:pt x="20" y="100"/>
                  </a:cubicBezTo>
                  <a:cubicBezTo>
                    <a:pt x="20" y="100"/>
                    <a:pt x="20" y="100"/>
                    <a:pt x="20" y="100"/>
                  </a:cubicBezTo>
                  <a:cubicBezTo>
                    <a:pt x="20" y="100"/>
                    <a:pt x="18" y="99"/>
                    <a:pt x="18" y="98"/>
                  </a:cubicBezTo>
                  <a:cubicBezTo>
                    <a:pt x="17" y="97"/>
                    <a:pt x="17" y="96"/>
                    <a:pt x="17" y="95"/>
                  </a:cubicBezTo>
                  <a:cubicBezTo>
                    <a:pt x="17" y="95"/>
                    <a:pt x="17" y="95"/>
                    <a:pt x="17" y="95"/>
                  </a:cubicBezTo>
                  <a:cubicBezTo>
                    <a:pt x="18" y="94"/>
                    <a:pt x="18" y="94"/>
                    <a:pt x="18" y="94"/>
                  </a:cubicBezTo>
                  <a:cubicBezTo>
                    <a:pt x="17" y="94"/>
                    <a:pt x="17" y="94"/>
                    <a:pt x="17" y="94"/>
                  </a:cubicBezTo>
                  <a:cubicBezTo>
                    <a:pt x="17" y="93"/>
                    <a:pt x="17" y="93"/>
                    <a:pt x="17" y="93"/>
                  </a:cubicBezTo>
                  <a:cubicBezTo>
                    <a:pt x="17" y="91"/>
                    <a:pt x="15" y="87"/>
                    <a:pt x="19" y="85"/>
                  </a:cubicBezTo>
                  <a:cubicBezTo>
                    <a:pt x="19" y="85"/>
                    <a:pt x="19" y="85"/>
                    <a:pt x="19" y="85"/>
                  </a:cubicBezTo>
                  <a:cubicBezTo>
                    <a:pt x="20" y="84"/>
                    <a:pt x="20" y="84"/>
                    <a:pt x="20" y="84"/>
                  </a:cubicBezTo>
                  <a:cubicBezTo>
                    <a:pt x="21" y="84"/>
                    <a:pt x="22" y="83"/>
                    <a:pt x="23" y="83"/>
                  </a:cubicBezTo>
                  <a:cubicBezTo>
                    <a:pt x="24" y="83"/>
                    <a:pt x="24" y="83"/>
                    <a:pt x="24" y="83"/>
                  </a:cubicBezTo>
                  <a:cubicBezTo>
                    <a:pt x="24" y="83"/>
                    <a:pt x="23" y="82"/>
                    <a:pt x="23" y="82"/>
                  </a:cubicBezTo>
                  <a:cubicBezTo>
                    <a:pt x="22" y="80"/>
                    <a:pt x="21" y="78"/>
                    <a:pt x="21" y="76"/>
                  </a:cubicBezTo>
                  <a:cubicBezTo>
                    <a:pt x="19" y="77"/>
                    <a:pt x="16" y="79"/>
                    <a:pt x="15" y="80"/>
                  </a:cubicBezTo>
                  <a:cubicBezTo>
                    <a:pt x="12" y="83"/>
                    <a:pt x="9" y="87"/>
                    <a:pt x="6" y="90"/>
                  </a:cubicBezTo>
                  <a:cubicBezTo>
                    <a:pt x="0" y="95"/>
                    <a:pt x="0" y="97"/>
                    <a:pt x="1" y="104"/>
                  </a:cubicBezTo>
                  <a:cubicBezTo>
                    <a:pt x="1" y="112"/>
                    <a:pt x="10" y="119"/>
                    <a:pt x="10" y="127"/>
                  </a:cubicBezTo>
                  <a:cubicBezTo>
                    <a:pt x="10" y="130"/>
                    <a:pt x="9" y="129"/>
                    <a:pt x="8" y="131"/>
                  </a:cubicBezTo>
                  <a:cubicBezTo>
                    <a:pt x="6" y="132"/>
                    <a:pt x="4" y="134"/>
                    <a:pt x="4" y="136"/>
                  </a:cubicBezTo>
                  <a:cubicBezTo>
                    <a:pt x="7" y="137"/>
                    <a:pt x="10" y="139"/>
                    <a:pt x="14" y="141"/>
                  </a:cubicBezTo>
                  <a:cubicBezTo>
                    <a:pt x="21" y="144"/>
                    <a:pt x="30" y="149"/>
                    <a:pt x="34" y="156"/>
                  </a:cubicBezTo>
                  <a:cubicBezTo>
                    <a:pt x="39" y="164"/>
                    <a:pt x="43" y="172"/>
                    <a:pt x="48" y="180"/>
                  </a:cubicBezTo>
                  <a:cubicBezTo>
                    <a:pt x="51" y="183"/>
                    <a:pt x="54" y="185"/>
                    <a:pt x="56" y="189"/>
                  </a:cubicBezTo>
                  <a:cubicBezTo>
                    <a:pt x="58" y="194"/>
                    <a:pt x="60" y="198"/>
                    <a:pt x="62" y="203"/>
                  </a:cubicBezTo>
                  <a:cubicBezTo>
                    <a:pt x="64" y="209"/>
                    <a:pt x="68" y="214"/>
                    <a:pt x="71" y="221"/>
                  </a:cubicBezTo>
                  <a:cubicBezTo>
                    <a:pt x="73" y="227"/>
                    <a:pt x="76" y="234"/>
                    <a:pt x="79" y="240"/>
                  </a:cubicBezTo>
                  <a:cubicBezTo>
                    <a:pt x="81" y="243"/>
                    <a:pt x="83" y="245"/>
                    <a:pt x="84" y="248"/>
                  </a:cubicBezTo>
                  <a:cubicBezTo>
                    <a:pt x="85" y="250"/>
                    <a:pt x="84" y="254"/>
                    <a:pt x="85" y="256"/>
                  </a:cubicBezTo>
                  <a:cubicBezTo>
                    <a:pt x="86" y="259"/>
                    <a:pt x="90" y="261"/>
                    <a:pt x="92" y="262"/>
                  </a:cubicBezTo>
                  <a:cubicBezTo>
                    <a:pt x="95" y="265"/>
                    <a:pt x="96" y="266"/>
                    <a:pt x="96" y="270"/>
                  </a:cubicBezTo>
                  <a:cubicBezTo>
                    <a:pt x="97" y="269"/>
                    <a:pt x="98" y="269"/>
                    <a:pt x="99" y="269"/>
                  </a:cubicBezTo>
                  <a:cubicBezTo>
                    <a:pt x="103" y="269"/>
                    <a:pt x="106" y="272"/>
                    <a:pt x="106" y="275"/>
                  </a:cubicBezTo>
                  <a:cubicBezTo>
                    <a:pt x="106" y="278"/>
                    <a:pt x="104" y="280"/>
                    <a:pt x="101" y="281"/>
                  </a:cubicBezTo>
                  <a:cubicBezTo>
                    <a:pt x="103" y="283"/>
                    <a:pt x="104" y="284"/>
                    <a:pt x="105" y="286"/>
                  </a:cubicBezTo>
                  <a:cubicBezTo>
                    <a:pt x="109" y="292"/>
                    <a:pt x="113" y="298"/>
                    <a:pt x="117" y="305"/>
                  </a:cubicBezTo>
                  <a:cubicBezTo>
                    <a:pt x="118" y="306"/>
                    <a:pt x="120" y="311"/>
                    <a:pt x="119" y="312"/>
                  </a:cubicBezTo>
                  <a:cubicBezTo>
                    <a:pt x="117" y="314"/>
                    <a:pt x="115" y="317"/>
                    <a:pt x="115" y="319"/>
                  </a:cubicBezTo>
                  <a:cubicBezTo>
                    <a:pt x="115" y="319"/>
                    <a:pt x="115" y="319"/>
                    <a:pt x="115" y="319"/>
                  </a:cubicBezTo>
                  <a:cubicBezTo>
                    <a:pt x="115" y="319"/>
                    <a:pt x="116" y="321"/>
                    <a:pt x="116" y="322"/>
                  </a:cubicBezTo>
                  <a:cubicBezTo>
                    <a:pt x="116" y="323"/>
                    <a:pt x="117" y="324"/>
                    <a:pt x="117" y="325"/>
                  </a:cubicBezTo>
                  <a:cubicBezTo>
                    <a:pt x="117" y="325"/>
                    <a:pt x="118" y="325"/>
                    <a:pt x="118" y="325"/>
                  </a:cubicBezTo>
                  <a:cubicBezTo>
                    <a:pt x="119" y="325"/>
                    <a:pt x="121" y="329"/>
                    <a:pt x="122" y="330"/>
                  </a:cubicBezTo>
                  <a:cubicBezTo>
                    <a:pt x="123" y="332"/>
                    <a:pt x="124" y="335"/>
                    <a:pt x="125" y="337"/>
                  </a:cubicBezTo>
                  <a:cubicBezTo>
                    <a:pt x="127" y="339"/>
                    <a:pt x="130" y="340"/>
                    <a:pt x="133" y="341"/>
                  </a:cubicBezTo>
                  <a:cubicBezTo>
                    <a:pt x="137" y="345"/>
                    <a:pt x="141" y="350"/>
                    <a:pt x="144" y="354"/>
                  </a:cubicBezTo>
                  <a:cubicBezTo>
                    <a:pt x="146" y="357"/>
                    <a:pt x="151" y="359"/>
                    <a:pt x="154" y="360"/>
                  </a:cubicBezTo>
                  <a:cubicBezTo>
                    <a:pt x="165" y="366"/>
                    <a:pt x="175" y="373"/>
                    <a:pt x="187" y="378"/>
                  </a:cubicBezTo>
                  <a:cubicBezTo>
                    <a:pt x="197" y="382"/>
                    <a:pt x="207" y="386"/>
                    <a:pt x="216" y="392"/>
                  </a:cubicBezTo>
                  <a:cubicBezTo>
                    <a:pt x="220" y="394"/>
                    <a:pt x="223" y="397"/>
                    <a:pt x="227" y="399"/>
                  </a:cubicBezTo>
                  <a:cubicBezTo>
                    <a:pt x="229" y="401"/>
                    <a:pt x="229" y="404"/>
                    <a:pt x="230" y="407"/>
                  </a:cubicBezTo>
                  <a:cubicBezTo>
                    <a:pt x="231" y="411"/>
                    <a:pt x="238" y="412"/>
                    <a:pt x="242" y="415"/>
                  </a:cubicBezTo>
                  <a:cubicBezTo>
                    <a:pt x="245" y="418"/>
                    <a:pt x="248" y="420"/>
                    <a:pt x="251" y="423"/>
                  </a:cubicBezTo>
                  <a:cubicBezTo>
                    <a:pt x="264" y="418"/>
                    <a:pt x="264" y="418"/>
                    <a:pt x="264" y="418"/>
                  </a:cubicBezTo>
                  <a:cubicBezTo>
                    <a:pt x="264" y="418"/>
                    <a:pt x="264" y="418"/>
                    <a:pt x="264" y="418"/>
                  </a:cubicBezTo>
                  <a:cubicBezTo>
                    <a:pt x="264" y="417"/>
                    <a:pt x="264" y="417"/>
                    <a:pt x="264" y="417"/>
                  </a:cubicBezTo>
                  <a:cubicBezTo>
                    <a:pt x="265" y="416"/>
                    <a:pt x="264" y="413"/>
                    <a:pt x="264" y="412"/>
                  </a:cubicBezTo>
                  <a:cubicBezTo>
                    <a:pt x="262" y="409"/>
                    <a:pt x="266" y="406"/>
                    <a:pt x="267" y="405"/>
                  </a:cubicBezTo>
                  <a:cubicBezTo>
                    <a:pt x="268" y="404"/>
                    <a:pt x="269" y="404"/>
                    <a:pt x="269" y="403"/>
                  </a:cubicBezTo>
                  <a:cubicBezTo>
                    <a:pt x="270" y="403"/>
                    <a:pt x="270" y="403"/>
                    <a:pt x="270" y="403"/>
                  </a:cubicBezTo>
                  <a:cubicBezTo>
                    <a:pt x="270" y="403"/>
                    <a:pt x="270" y="403"/>
                    <a:pt x="270" y="403"/>
                  </a:cubicBezTo>
                  <a:cubicBezTo>
                    <a:pt x="270" y="402"/>
                    <a:pt x="270" y="402"/>
                    <a:pt x="270" y="402"/>
                  </a:cubicBezTo>
                  <a:cubicBezTo>
                    <a:pt x="269" y="402"/>
                    <a:pt x="269" y="402"/>
                    <a:pt x="269" y="401"/>
                  </a:cubicBezTo>
                  <a:cubicBezTo>
                    <a:pt x="268" y="401"/>
                    <a:pt x="268" y="401"/>
                    <a:pt x="268" y="401"/>
                  </a:cubicBezTo>
                  <a:cubicBezTo>
                    <a:pt x="268" y="399"/>
                    <a:pt x="268" y="399"/>
                    <a:pt x="268" y="399"/>
                  </a:cubicBezTo>
                  <a:cubicBezTo>
                    <a:pt x="268" y="397"/>
                    <a:pt x="269" y="396"/>
                    <a:pt x="274" y="391"/>
                  </a:cubicBezTo>
                  <a:cubicBezTo>
                    <a:pt x="275" y="390"/>
                    <a:pt x="275" y="390"/>
                    <a:pt x="275" y="390"/>
                  </a:cubicBezTo>
                  <a:cubicBezTo>
                    <a:pt x="276" y="390"/>
                    <a:pt x="276" y="390"/>
                    <a:pt x="276" y="389"/>
                  </a:cubicBezTo>
                  <a:cubicBezTo>
                    <a:pt x="278" y="388"/>
                    <a:pt x="279" y="386"/>
                    <a:pt x="280" y="384"/>
                  </a:cubicBezTo>
                  <a:cubicBezTo>
                    <a:pt x="281" y="383"/>
                    <a:pt x="281" y="383"/>
                    <a:pt x="281" y="383"/>
                  </a:cubicBezTo>
                  <a:cubicBezTo>
                    <a:pt x="281" y="383"/>
                    <a:pt x="282" y="382"/>
                    <a:pt x="282" y="381"/>
                  </a:cubicBezTo>
                  <a:cubicBezTo>
                    <a:pt x="282" y="381"/>
                    <a:pt x="283" y="381"/>
                    <a:pt x="283" y="380"/>
                  </a:cubicBezTo>
                  <a:cubicBezTo>
                    <a:pt x="285" y="379"/>
                    <a:pt x="285" y="379"/>
                    <a:pt x="285" y="379"/>
                  </a:cubicBezTo>
                  <a:cubicBezTo>
                    <a:pt x="286" y="377"/>
                    <a:pt x="286" y="377"/>
                    <a:pt x="286" y="377"/>
                  </a:cubicBezTo>
                  <a:cubicBezTo>
                    <a:pt x="278" y="376"/>
                    <a:pt x="277" y="371"/>
                    <a:pt x="276" y="366"/>
                  </a:cubicBezTo>
                  <a:cubicBezTo>
                    <a:pt x="275" y="365"/>
                    <a:pt x="275" y="364"/>
                    <a:pt x="275" y="363"/>
                  </a:cubicBezTo>
                  <a:cubicBezTo>
                    <a:pt x="275" y="363"/>
                    <a:pt x="275" y="363"/>
                    <a:pt x="275" y="363"/>
                  </a:cubicBezTo>
                  <a:cubicBezTo>
                    <a:pt x="274" y="361"/>
                    <a:pt x="273" y="358"/>
                    <a:pt x="275" y="356"/>
                  </a:cubicBezTo>
                  <a:cubicBezTo>
                    <a:pt x="279" y="350"/>
                    <a:pt x="279" y="350"/>
                    <a:pt x="279" y="350"/>
                  </a:cubicBezTo>
                  <a:cubicBezTo>
                    <a:pt x="279" y="350"/>
                    <a:pt x="279" y="350"/>
                    <a:pt x="279" y="350"/>
                  </a:cubicBezTo>
                  <a:cubicBezTo>
                    <a:pt x="277" y="348"/>
                    <a:pt x="276" y="347"/>
                    <a:pt x="276" y="345"/>
                  </a:cubicBezTo>
                  <a:cubicBezTo>
                    <a:pt x="275" y="339"/>
                    <a:pt x="276" y="338"/>
                    <a:pt x="279" y="334"/>
                  </a:cubicBezTo>
                  <a:cubicBezTo>
                    <a:pt x="279" y="333"/>
                    <a:pt x="280" y="332"/>
                    <a:pt x="281" y="331"/>
                  </a:cubicBezTo>
                  <a:cubicBezTo>
                    <a:pt x="282" y="330"/>
                    <a:pt x="282" y="330"/>
                    <a:pt x="282" y="330"/>
                  </a:cubicBezTo>
                  <a:cubicBezTo>
                    <a:pt x="283" y="330"/>
                    <a:pt x="283" y="329"/>
                    <a:pt x="284" y="329"/>
                  </a:cubicBezTo>
                  <a:cubicBezTo>
                    <a:pt x="284" y="328"/>
                    <a:pt x="284" y="328"/>
                    <a:pt x="284" y="328"/>
                  </a:cubicBezTo>
                  <a:cubicBezTo>
                    <a:pt x="284" y="327"/>
                    <a:pt x="285" y="325"/>
                    <a:pt x="285" y="325"/>
                  </a:cubicBezTo>
                  <a:cubicBezTo>
                    <a:pt x="286" y="325"/>
                    <a:pt x="286" y="325"/>
                    <a:pt x="286" y="325"/>
                  </a:cubicBezTo>
                  <a:cubicBezTo>
                    <a:pt x="285" y="324"/>
                    <a:pt x="285" y="323"/>
                    <a:pt x="285" y="322"/>
                  </a:cubicBezTo>
                  <a:cubicBezTo>
                    <a:pt x="283" y="317"/>
                    <a:pt x="283" y="317"/>
                    <a:pt x="283" y="317"/>
                  </a:cubicBezTo>
                  <a:cubicBezTo>
                    <a:pt x="283" y="316"/>
                    <a:pt x="283" y="316"/>
                    <a:pt x="283" y="316"/>
                  </a:cubicBezTo>
                  <a:cubicBezTo>
                    <a:pt x="282" y="316"/>
                    <a:pt x="282" y="316"/>
                    <a:pt x="282" y="316"/>
                  </a:cubicBezTo>
                  <a:cubicBezTo>
                    <a:pt x="282" y="315"/>
                    <a:pt x="282" y="315"/>
                    <a:pt x="282" y="315"/>
                  </a:cubicBezTo>
                  <a:cubicBezTo>
                    <a:pt x="282" y="314"/>
                    <a:pt x="281" y="313"/>
                    <a:pt x="281" y="312"/>
                  </a:cubicBezTo>
                  <a:cubicBezTo>
                    <a:pt x="281" y="311"/>
                    <a:pt x="281" y="310"/>
                    <a:pt x="282" y="310"/>
                  </a:cubicBezTo>
                  <a:cubicBezTo>
                    <a:pt x="282" y="309"/>
                    <a:pt x="282" y="309"/>
                    <a:pt x="282" y="309"/>
                  </a:cubicBezTo>
                  <a:cubicBezTo>
                    <a:pt x="282" y="308"/>
                    <a:pt x="282" y="307"/>
                    <a:pt x="282" y="306"/>
                  </a:cubicBezTo>
                  <a:cubicBezTo>
                    <a:pt x="282" y="305"/>
                    <a:pt x="282" y="305"/>
                    <a:pt x="282" y="305"/>
                  </a:cubicBezTo>
                  <a:cubicBezTo>
                    <a:pt x="283" y="304"/>
                    <a:pt x="283" y="303"/>
                    <a:pt x="283" y="303"/>
                  </a:cubicBezTo>
                  <a:cubicBezTo>
                    <a:pt x="283" y="301"/>
                    <a:pt x="284" y="299"/>
                    <a:pt x="284" y="297"/>
                  </a:cubicBezTo>
                  <a:cubicBezTo>
                    <a:pt x="285" y="296"/>
                    <a:pt x="286" y="295"/>
                    <a:pt x="286" y="294"/>
                  </a:cubicBezTo>
                  <a:cubicBezTo>
                    <a:pt x="287" y="292"/>
                    <a:pt x="287" y="292"/>
                    <a:pt x="287" y="292"/>
                  </a:cubicBezTo>
                  <a:cubicBezTo>
                    <a:pt x="288" y="291"/>
                    <a:pt x="290" y="288"/>
                    <a:pt x="291" y="286"/>
                  </a:cubicBezTo>
                  <a:cubicBezTo>
                    <a:pt x="289" y="283"/>
                    <a:pt x="289" y="283"/>
                    <a:pt x="289" y="283"/>
                  </a:cubicBezTo>
                  <a:cubicBezTo>
                    <a:pt x="287" y="279"/>
                    <a:pt x="284" y="274"/>
                    <a:pt x="281" y="269"/>
                  </a:cubicBezTo>
                  <a:cubicBezTo>
                    <a:pt x="279" y="265"/>
                    <a:pt x="279" y="265"/>
                    <a:pt x="279" y="265"/>
                  </a:cubicBezTo>
                  <a:cubicBezTo>
                    <a:pt x="276" y="261"/>
                    <a:pt x="274" y="257"/>
                    <a:pt x="271" y="252"/>
                  </a:cubicBezTo>
                  <a:cubicBezTo>
                    <a:pt x="271" y="252"/>
                    <a:pt x="271" y="252"/>
                    <a:pt x="271" y="252"/>
                  </a:cubicBezTo>
                  <a:cubicBezTo>
                    <a:pt x="271" y="252"/>
                    <a:pt x="271" y="252"/>
                    <a:pt x="271" y="252"/>
                  </a:cubicBezTo>
                  <a:cubicBezTo>
                    <a:pt x="270" y="252"/>
                    <a:pt x="270" y="252"/>
                    <a:pt x="270" y="252"/>
                  </a:cubicBezTo>
                  <a:cubicBezTo>
                    <a:pt x="270" y="252"/>
                    <a:pt x="270" y="252"/>
                    <a:pt x="269" y="252"/>
                  </a:cubicBezTo>
                  <a:cubicBezTo>
                    <a:pt x="269" y="252"/>
                    <a:pt x="269" y="252"/>
                    <a:pt x="268" y="252"/>
                  </a:cubicBezTo>
                  <a:cubicBezTo>
                    <a:pt x="268" y="252"/>
                    <a:pt x="267" y="252"/>
                    <a:pt x="267" y="252"/>
                  </a:cubicBezTo>
                  <a:cubicBezTo>
                    <a:pt x="266" y="252"/>
                    <a:pt x="266" y="252"/>
                    <a:pt x="266" y="252"/>
                  </a:cubicBezTo>
                  <a:cubicBezTo>
                    <a:pt x="266" y="252"/>
                    <a:pt x="266" y="252"/>
                    <a:pt x="265" y="252"/>
                  </a:cubicBezTo>
                  <a:cubicBezTo>
                    <a:pt x="265" y="252"/>
                    <a:pt x="265" y="252"/>
                    <a:pt x="263" y="252"/>
                  </a:cubicBezTo>
                  <a:cubicBezTo>
                    <a:pt x="262" y="253"/>
                    <a:pt x="262" y="253"/>
                    <a:pt x="262" y="253"/>
                  </a:cubicBezTo>
                  <a:cubicBezTo>
                    <a:pt x="261" y="254"/>
                    <a:pt x="259" y="254"/>
                    <a:pt x="257" y="255"/>
                  </a:cubicBezTo>
                  <a:cubicBezTo>
                    <a:pt x="257" y="255"/>
                    <a:pt x="256" y="255"/>
                    <a:pt x="256" y="255"/>
                  </a:cubicBezTo>
                  <a:cubicBezTo>
                    <a:pt x="256" y="255"/>
                    <a:pt x="256" y="255"/>
                    <a:pt x="255" y="255"/>
                  </a:cubicBezTo>
                  <a:cubicBezTo>
                    <a:pt x="254" y="254"/>
                    <a:pt x="253" y="254"/>
                    <a:pt x="251" y="253"/>
                  </a:cubicBezTo>
                  <a:cubicBezTo>
                    <a:pt x="251" y="253"/>
                    <a:pt x="250" y="253"/>
                    <a:pt x="250" y="253"/>
                  </a:cubicBezTo>
                  <a:cubicBezTo>
                    <a:pt x="245" y="259"/>
                    <a:pt x="245" y="259"/>
                    <a:pt x="245" y="259"/>
                  </a:cubicBezTo>
                  <a:cubicBezTo>
                    <a:pt x="245" y="251"/>
                    <a:pt x="245" y="251"/>
                    <a:pt x="245" y="251"/>
                  </a:cubicBezTo>
                  <a:cubicBezTo>
                    <a:pt x="245" y="248"/>
                    <a:pt x="245" y="246"/>
                    <a:pt x="245" y="243"/>
                  </a:cubicBezTo>
                  <a:cubicBezTo>
                    <a:pt x="245" y="235"/>
                    <a:pt x="244" y="227"/>
                    <a:pt x="246" y="221"/>
                  </a:cubicBezTo>
                  <a:cubicBezTo>
                    <a:pt x="247" y="220"/>
                    <a:pt x="247" y="220"/>
                    <a:pt x="247" y="220"/>
                  </a:cubicBezTo>
                  <a:cubicBezTo>
                    <a:pt x="247" y="220"/>
                    <a:pt x="247" y="220"/>
                    <a:pt x="247" y="220"/>
                  </a:cubicBezTo>
                  <a:cubicBezTo>
                    <a:pt x="246" y="220"/>
                    <a:pt x="245" y="221"/>
                    <a:pt x="244" y="222"/>
                  </a:cubicBezTo>
                  <a:cubicBezTo>
                    <a:pt x="243" y="223"/>
                    <a:pt x="243" y="223"/>
                    <a:pt x="243" y="223"/>
                  </a:cubicBezTo>
                  <a:cubicBezTo>
                    <a:pt x="242" y="224"/>
                    <a:pt x="242" y="225"/>
                    <a:pt x="241" y="225"/>
                  </a:cubicBezTo>
                  <a:cubicBezTo>
                    <a:pt x="240" y="226"/>
                    <a:pt x="240" y="226"/>
                    <a:pt x="239" y="226"/>
                  </a:cubicBezTo>
                  <a:cubicBezTo>
                    <a:pt x="238" y="227"/>
                    <a:pt x="238" y="227"/>
                    <a:pt x="238" y="227"/>
                  </a:cubicBezTo>
                  <a:cubicBezTo>
                    <a:pt x="238" y="227"/>
                    <a:pt x="238" y="227"/>
                    <a:pt x="237" y="227"/>
                  </a:cubicBezTo>
                  <a:cubicBezTo>
                    <a:pt x="237" y="228"/>
                    <a:pt x="237" y="228"/>
                    <a:pt x="237" y="228"/>
                  </a:cubicBezTo>
                  <a:cubicBezTo>
                    <a:pt x="236" y="228"/>
                    <a:pt x="235" y="229"/>
                    <a:pt x="234" y="229"/>
                  </a:cubicBezTo>
                  <a:cubicBezTo>
                    <a:pt x="232" y="230"/>
                    <a:pt x="229" y="230"/>
                    <a:pt x="226" y="230"/>
                  </a:cubicBezTo>
                  <a:cubicBezTo>
                    <a:pt x="223" y="230"/>
                    <a:pt x="221" y="230"/>
                    <a:pt x="218" y="230"/>
                  </a:cubicBezTo>
                  <a:cubicBezTo>
                    <a:pt x="216" y="230"/>
                    <a:pt x="216" y="230"/>
                    <a:pt x="216" y="230"/>
                  </a:cubicBezTo>
                  <a:cubicBezTo>
                    <a:pt x="215" y="230"/>
                    <a:pt x="213" y="230"/>
                    <a:pt x="212" y="230"/>
                  </a:cubicBezTo>
                  <a:cubicBezTo>
                    <a:pt x="208" y="230"/>
                    <a:pt x="208" y="230"/>
                    <a:pt x="208" y="230"/>
                  </a:cubicBezTo>
                  <a:cubicBezTo>
                    <a:pt x="209" y="226"/>
                    <a:pt x="209" y="226"/>
                    <a:pt x="209" y="226"/>
                  </a:cubicBezTo>
                  <a:cubicBezTo>
                    <a:pt x="210" y="225"/>
                    <a:pt x="210" y="225"/>
                    <a:pt x="209" y="224"/>
                  </a:cubicBezTo>
                  <a:cubicBezTo>
                    <a:pt x="209" y="223"/>
                    <a:pt x="209" y="223"/>
                    <a:pt x="209" y="223"/>
                  </a:cubicBezTo>
                  <a:cubicBezTo>
                    <a:pt x="208" y="222"/>
                    <a:pt x="208" y="222"/>
                    <a:pt x="208" y="221"/>
                  </a:cubicBezTo>
                  <a:cubicBezTo>
                    <a:pt x="207" y="221"/>
                    <a:pt x="207" y="220"/>
                    <a:pt x="207" y="219"/>
                  </a:cubicBezTo>
                  <a:cubicBezTo>
                    <a:pt x="206" y="217"/>
                    <a:pt x="197" y="216"/>
                    <a:pt x="193" y="216"/>
                  </a:cubicBezTo>
                  <a:cubicBezTo>
                    <a:pt x="191" y="216"/>
                    <a:pt x="189" y="216"/>
                    <a:pt x="188" y="216"/>
                  </a:cubicBezTo>
                  <a:cubicBezTo>
                    <a:pt x="182" y="215"/>
                    <a:pt x="182" y="215"/>
                    <a:pt x="182" y="215"/>
                  </a:cubicBezTo>
                  <a:cubicBezTo>
                    <a:pt x="186" y="211"/>
                    <a:pt x="186" y="211"/>
                    <a:pt x="186" y="211"/>
                  </a:cubicBezTo>
                  <a:cubicBezTo>
                    <a:pt x="191" y="207"/>
                    <a:pt x="192" y="205"/>
                    <a:pt x="191" y="205"/>
                  </a:cubicBezTo>
                  <a:cubicBezTo>
                    <a:pt x="191" y="204"/>
                    <a:pt x="190" y="203"/>
                    <a:pt x="189" y="202"/>
                  </a:cubicBezTo>
                  <a:cubicBezTo>
                    <a:pt x="189" y="202"/>
                    <a:pt x="188" y="201"/>
                    <a:pt x="188" y="201"/>
                  </a:cubicBezTo>
                  <a:cubicBezTo>
                    <a:pt x="187" y="200"/>
                    <a:pt x="187" y="200"/>
                    <a:pt x="187" y="200"/>
                  </a:cubicBezTo>
                  <a:cubicBezTo>
                    <a:pt x="184" y="196"/>
                    <a:pt x="181" y="193"/>
                    <a:pt x="178" y="188"/>
                  </a:cubicBezTo>
                  <a:cubicBezTo>
                    <a:pt x="177" y="186"/>
                    <a:pt x="176" y="184"/>
                    <a:pt x="176" y="182"/>
                  </a:cubicBezTo>
                  <a:cubicBezTo>
                    <a:pt x="176" y="180"/>
                    <a:pt x="175" y="178"/>
                    <a:pt x="175" y="177"/>
                  </a:cubicBezTo>
                  <a:cubicBezTo>
                    <a:pt x="174" y="176"/>
                    <a:pt x="172" y="174"/>
                    <a:pt x="171" y="173"/>
                  </a:cubicBezTo>
                  <a:cubicBezTo>
                    <a:pt x="170" y="172"/>
                    <a:pt x="169" y="172"/>
                    <a:pt x="168" y="171"/>
                  </a:cubicBezTo>
                  <a:cubicBezTo>
                    <a:pt x="166" y="169"/>
                    <a:pt x="166" y="169"/>
                    <a:pt x="166" y="169"/>
                  </a:cubicBezTo>
                  <a:cubicBezTo>
                    <a:pt x="168" y="167"/>
                    <a:pt x="168" y="167"/>
                    <a:pt x="168" y="167"/>
                  </a:cubicBezTo>
                  <a:cubicBezTo>
                    <a:pt x="169" y="167"/>
                    <a:pt x="170" y="166"/>
                    <a:pt x="171" y="165"/>
                  </a:cubicBezTo>
                  <a:cubicBezTo>
                    <a:pt x="172" y="164"/>
                    <a:pt x="173" y="164"/>
                    <a:pt x="173" y="163"/>
                  </a:cubicBezTo>
                  <a:cubicBezTo>
                    <a:pt x="173" y="163"/>
                    <a:pt x="173" y="163"/>
                    <a:pt x="173" y="163"/>
                  </a:cubicBezTo>
                  <a:cubicBezTo>
                    <a:pt x="172" y="160"/>
                    <a:pt x="172" y="158"/>
                    <a:pt x="173" y="155"/>
                  </a:cubicBezTo>
                  <a:cubicBezTo>
                    <a:pt x="175" y="150"/>
                    <a:pt x="178" y="148"/>
                    <a:pt x="182" y="146"/>
                  </a:cubicBezTo>
                  <a:cubicBezTo>
                    <a:pt x="182" y="146"/>
                    <a:pt x="183" y="145"/>
                    <a:pt x="183" y="145"/>
                  </a:cubicBezTo>
                  <a:cubicBezTo>
                    <a:pt x="184" y="145"/>
                    <a:pt x="184" y="145"/>
                    <a:pt x="184" y="145"/>
                  </a:cubicBezTo>
                  <a:cubicBezTo>
                    <a:pt x="185" y="144"/>
                    <a:pt x="186" y="143"/>
                    <a:pt x="187" y="143"/>
                  </a:cubicBezTo>
                  <a:cubicBezTo>
                    <a:pt x="187" y="142"/>
                    <a:pt x="187" y="142"/>
                    <a:pt x="187" y="142"/>
                  </a:cubicBezTo>
                  <a:cubicBezTo>
                    <a:pt x="187" y="141"/>
                    <a:pt x="187" y="141"/>
                    <a:pt x="187" y="141"/>
                  </a:cubicBezTo>
                  <a:cubicBezTo>
                    <a:pt x="187" y="141"/>
                    <a:pt x="187" y="141"/>
                    <a:pt x="187" y="140"/>
                  </a:cubicBezTo>
                  <a:cubicBezTo>
                    <a:pt x="187" y="139"/>
                    <a:pt x="187" y="138"/>
                    <a:pt x="187" y="137"/>
                  </a:cubicBezTo>
                  <a:cubicBezTo>
                    <a:pt x="186" y="137"/>
                    <a:pt x="187" y="136"/>
                    <a:pt x="187" y="136"/>
                  </a:cubicBezTo>
                  <a:cubicBezTo>
                    <a:pt x="187" y="135"/>
                    <a:pt x="187" y="135"/>
                    <a:pt x="187" y="135"/>
                  </a:cubicBezTo>
                  <a:cubicBezTo>
                    <a:pt x="187" y="134"/>
                    <a:pt x="187" y="134"/>
                    <a:pt x="187" y="134"/>
                  </a:cubicBezTo>
                  <a:cubicBezTo>
                    <a:pt x="188" y="132"/>
                    <a:pt x="188" y="131"/>
                    <a:pt x="189" y="130"/>
                  </a:cubicBezTo>
                  <a:cubicBezTo>
                    <a:pt x="189" y="129"/>
                    <a:pt x="189" y="129"/>
                    <a:pt x="189" y="129"/>
                  </a:cubicBezTo>
                  <a:cubicBezTo>
                    <a:pt x="190" y="128"/>
                    <a:pt x="190" y="127"/>
                    <a:pt x="191" y="126"/>
                  </a:cubicBezTo>
                  <a:cubicBezTo>
                    <a:pt x="191" y="126"/>
                    <a:pt x="191" y="125"/>
                    <a:pt x="191" y="125"/>
                  </a:cubicBezTo>
                  <a:cubicBezTo>
                    <a:pt x="191" y="124"/>
                    <a:pt x="191" y="124"/>
                    <a:pt x="191" y="124"/>
                  </a:cubicBezTo>
                  <a:cubicBezTo>
                    <a:pt x="191" y="123"/>
                    <a:pt x="191" y="123"/>
                    <a:pt x="191" y="123"/>
                  </a:cubicBezTo>
                  <a:cubicBezTo>
                    <a:pt x="192" y="120"/>
                    <a:pt x="193" y="118"/>
                    <a:pt x="193" y="115"/>
                  </a:cubicBezTo>
                  <a:cubicBezTo>
                    <a:pt x="193" y="114"/>
                    <a:pt x="193" y="114"/>
                    <a:pt x="193" y="114"/>
                  </a:cubicBezTo>
                  <a:cubicBezTo>
                    <a:pt x="194" y="112"/>
                    <a:pt x="195" y="111"/>
                    <a:pt x="196" y="110"/>
                  </a:cubicBezTo>
                  <a:cubicBezTo>
                    <a:pt x="198" y="109"/>
                    <a:pt x="198" y="109"/>
                    <a:pt x="198" y="109"/>
                  </a:cubicBezTo>
                  <a:cubicBezTo>
                    <a:pt x="198" y="109"/>
                    <a:pt x="199" y="108"/>
                    <a:pt x="199" y="108"/>
                  </a:cubicBezTo>
                  <a:cubicBezTo>
                    <a:pt x="201" y="107"/>
                    <a:pt x="203" y="106"/>
                    <a:pt x="205" y="104"/>
                  </a:cubicBezTo>
                  <a:cubicBezTo>
                    <a:pt x="206" y="103"/>
                    <a:pt x="208" y="102"/>
                    <a:pt x="210" y="101"/>
                  </a:cubicBezTo>
                  <a:cubicBezTo>
                    <a:pt x="215" y="98"/>
                    <a:pt x="220" y="96"/>
                    <a:pt x="224" y="95"/>
                  </a:cubicBezTo>
                  <a:cubicBezTo>
                    <a:pt x="224" y="95"/>
                    <a:pt x="224" y="95"/>
                    <a:pt x="224" y="95"/>
                  </a:cubicBezTo>
                  <a:cubicBezTo>
                    <a:pt x="225" y="95"/>
                    <a:pt x="226" y="95"/>
                    <a:pt x="226" y="95"/>
                  </a:cubicBezTo>
                  <a:cubicBezTo>
                    <a:pt x="227" y="95"/>
                    <a:pt x="227" y="95"/>
                    <a:pt x="227" y="95"/>
                  </a:cubicBezTo>
                  <a:cubicBezTo>
                    <a:pt x="230" y="94"/>
                    <a:pt x="233" y="93"/>
                    <a:pt x="235" y="93"/>
                  </a:cubicBezTo>
                  <a:cubicBezTo>
                    <a:pt x="237" y="93"/>
                    <a:pt x="237" y="93"/>
                    <a:pt x="237" y="93"/>
                  </a:cubicBezTo>
                  <a:cubicBezTo>
                    <a:pt x="238" y="93"/>
                    <a:pt x="239" y="93"/>
                    <a:pt x="239" y="93"/>
                  </a:cubicBezTo>
                  <a:cubicBezTo>
                    <a:pt x="239" y="93"/>
                    <a:pt x="240" y="93"/>
                    <a:pt x="240" y="93"/>
                  </a:cubicBezTo>
                  <a:cubicBezTo>
                    <a:pt x="240" y="93"/>
                    <a:pt x="241" y="92"/>
                    <a:pt x="241" y="92"/>
                  </a:cubicBezTo>
                  <a:cubicBezTo>
                    <a:pt x="242" y="91"/>
                    <a:pt x="242" y="91"/>
                    <a:pt x="242" y="91"/>
                  </a:cubicBezTo>
                  <a:cubicBezTo>
                    <a:pt x="243" y="89"/>
                    <a:pt x="245" y="89"/>
                    <a:pt x="246" y="88"/>
                  </a:cubicBezTo>
                  <a:cubicBezTo>
                    <a:pt x="246" y="88"/>
                    <a:pt x="246" y="88"/>
                    <a:pt x="246" y="88"/>
                  </a:cubicBezTo>
                  <a:cubicBezTo>
                    <a:pt x="247" y="88"/>
                    <a:pt x="247" y="88"/>
                    <a:pt x="247" y="88"/>
                  </a:cubicBezTo>
                  <a:cubicBezTo>
                    <a:pt x="248" y="87"/>
                    <a:pt x="248" y="87"/>
                    <a:pt x="249" y="87"/>
                  </a:cubicBezTo>
                  <a:cubicBezTo>
                    <a:pt x="249" y="86"/>
                    <a:pt x="249" y="86"/>
                    <a:pt x="249" y="86"/>
                  </a:cubicBezTo>
                  <a:cubicBezTo>
                    <a:pt x="248" y="86"/>
                    <a:pt x="248" y="86"/>
                    <a:pt x="248" y="86"/>
                  </a:cubicBezTo>
                  <a:cubicBezTo>
                    <a:pt x="246" y="85"/>
                    <a:pt x="245" y="84"/>
                    <a:pt x="245" y="83"/>
                  </a:cubicBezTo>
                  <a:cubicBezTo>
                    <a:pt x="245" y="81"/>
                    <a:pt x="245" y="79"/>
                    <a:pt x="246" y="77"/>
                  </a:cubicBezTo>
                  <a:cubicBezTo>
                    <a:pt x="247" y="75"/>
                    <a:pt x="247" y="75"/>
                    <a:pt x="247" y="75"/>
                  </a:cubicBezTo>
                  <a:cubicBezTo>
                    <a:pt x="249" y="73"/>
                    <a:pt x="250" y="71"/>
                    <a:pt x="251" y="69"/>
                  </a:cubicBezTo>
                  <a:cubicBezTo>
                    <a:pt x="252" y="68"/>
                    <a:pt x="252" y="68"/>
                    <a:pt x="252" y="68"/>
                  </a:cubicBezTo>
                  <a:cubicBezTo>
                    <a:pt x="254" y="65"/>
                    <a:pt x="256" y="62"/>
                    <a:pt x="258" y="59"/>
                  </a:cubicBezTo>
                  <a:cubicBezTo>
                    <a:pt x="258" y="58"/>
                    <a:pt x="258" y="57"/>
                    <a:pt x="258" y="57"/>
                  </a:cubicBezTo>
                  <a:cubicBezTo>
                    <a:pt x="258" y="57"/>
                    <a:pt x="258" y="57"/>
                    <a:pt x="258" y="57"/>
                  </a:cubicBezTo>
                  <a:cubicBezTo>
                    <a:pt x="258" y="57"/>
                    <a:pt x="257" y="56"/>
                    <a:pt x="257" y="56"/>
                  </a:cubicBezTo>
                  <a:cubicBezTo>
                    <a:pt x="255" y="55"/>
                    <a:pt x="255" y="55"/>
                    <a:pt x="255" y="55"/>
                  </a:cubicBezTo>
                  <a:cubicBezTo>
                    <a:pt x="254" y="55"/>
                    <a:pt x="254" y="55"/>
                    <a:pt x="254" y="55"/>
                  </a:cubicBezTo>
                  <a:cubicBezTo>
                    <a:pt x="253" y="55"/>
                    <a:pt x="253" y="55"/>
                    <a:pt x="252" y="54"/>
                  </a:cubicBezTo>
                  <a:cubicBezTo>
                    <a:pt x="252" y="54"/>
                    <a:pt x="252" y="54"/>
                    <a:pt x="252" y="54"/>
                  </a:cubicBezTo>
                  <a:cubicBezTo>
                    <a:pt x="249" y="53"/>
                    <a:pt x="247" y="53"/>
                    <a:pt x="246" y="52"/>
                  </a:cubicBezTo>
                  <a:cubicBezTo>
                    <a:pt x="245" y="51"/>
                    <a:pt x="245" y="51"/>
                    <a:pt x="244" y="51"/>
                  </a:cubicBezTo>
                  <a:cubicBezTo>
                    <a:pt x="243" y="50"/>
                    <a:pt x="243" y="50"/>
                    <a:pt x="242" y="50"/>
                  </a:cubicBezTo>
                  <a:cubicBezTo>
                    <a:pt x="242" y="50"/>
                    <a:pt x="242" y="50"/>
                    <a:pt x="242" y="50"/>
                  </a:cubicBezTo>
                  <a:cubicBezTo>
                    <a:pt x="242" y="50"/>
                    <a:pt x="242" y="50"/>
                    <a:pt x="242" y="50"/>
                  </a:cubicBezTo>
                  <a:cubicBezTo>
                    <a:pt x="241" y="50"/>
                    <a:pt x="240" y="50"/>
                    <a:pt x="240" y="50"/>
                  </a:cubicBezTo>
                  <a:cubicBezTo>
                    <a:pt x="239" y="51"/>
                    <a:pt x="239" y="51"/>
                    <a:pt x="239" y="51"/>
                  </a:cubicBezTo>
                  <a:cubicBezTo>
                    <a:pt x="239" y="50"/>
                    <a:pt x="239" y="50"/>
                    <a:pt x="239" y="50"/>
                  </a:cubicBezTo>
                  <a:cubicBezTo>
                    <a:pt x="238" y="50"/>
                    <a:pt x="238" y="50"/>
                    <a:pt x="238" y="50"/>
                  </a:cubicBezTo>
                  <a:cubicBezTo>
                    <a:pt x="238" y="51"/>
                    <a:pt x="238" y="51"/>
                    <a:pt x="238" y="51"/>
                  </a:cubicBezTo>
                  <a:cubicBezTo>
                    <a:pt x="237" y="51"/>
                    <a:pt x="237" y="51"/>
                    <a:pt x="236" y="52"/>
                  </a:cubicBezTo>
                  <a:cubicBezTo>
                    <a:pt x="235" y="52"/>
                    <a:pt x="234" y="52"/>
                    <a:pt x="233" y="52"/>
                  </a:cubicBezTo>
                  <a:cubicBezTo>
                    <a:pt x="232" y="52"/>
                    <a:pt x="232" y="52"/>
                    <a:pt x="232" y="52"/>
                  </a:cubicBezTo>
                  <a:cubicBezTo>
                    <a:pt x="231" y="52"/>
                    <a:pt x="231" y="52"/>
                    <a:pt x="231" y="52"/>
                  </a:cubicBezTo>
                  <a:cubicBezTo>
                    <a:pt x="228" y="52"/>
                    <a:pt x="226" y="51"/>
                    <a:pt x="225" y="50"/>
                  </a:cubicBezTo>
                  <a:cubicBezTo>
                    <a:pt x="224" y="50"/>
                    <a:pt x="224" y="50"/>
                    <a:pt x="224" y="50"/>
                  </a:cubicBezTo>
                  <a:cubicBezTo>
                    <a:pt x="223" y="50"/>
                    <a:pt x="223" y="49"/>
                    <a:pt x="223" y="49"/>
                  </a:cubicBezTo>
                  <a:cubicBezTo>
                    <a:pt x="222" y="50"/>
                    <a:pt x="222" y="50"/>
                    <a:pt x="222" y="50"/>
                  </a:cubicBezTo>
                  <a:cubicBezTo>
                    <a:pt x="220" y="52"/>
                    <a:pt x="219" y="52"/>
                    <a:pt x="218" y="52"/>
                  </a:cubicBezTo>
                  <a:cubicBezTo>
                    <a:pt x="217" y="52"/>
                    <a:pt x="217" y="52"/>
                    <a:pt x="217" y="52"/>
                  </a:cubicBezTo>
                  <a:cubicBezTo>
                    <a:pt x="217" y="53"/>
                    <a:pt x="216" y="53"/>
                    <a:pt x="216" y="54"/>
                  </a:cubicBezTo>
                  <a:cubicBezTo>
                    <a:pt x="215" y="54"/>
                    <a:pt x="214" y="54"/>
                    <a:pt x="214" y="54"/>
                  </a:cubicBezTo>
                  <a:cubicBezTo>
                    <a:pt x="213" y="54"/>
                    <a:pt x="213" y="54"/>
                    <a:pt x="213" y="54"/>
                  </a:cubicBezTo>
                  <a:cubicBezTo>
                    <a:pt x="213" y="54"/>
                    <a:pt x="213" y="54"/>
                    <a:pt x="213" y="54"/>
                  </a:cubicBezTo>
                  <a:cubicBezTo>
                    <a:pt x="212" y="55"/>
                    <a:pt x="211" y="55"/>
                    <a:pt x="210" y="55"/>
                  </a:cubicBezTo>
                  <a:cubicBezTo>
                    <a:pt x="210" y="55"/>
                    <a:pt x="210" y="55"/>
                    <a:pt x="210" y="55"/>
                  </a:cubicBezTo>
                  <a:cubicBezTo>
                    <a:pt x="210" y="55"/>
                    <a:pt x="209" y="55"/>
                    <a:pt x="208" y="55"/>
                  </a:cubicBezTo>
                  <a:cubicBezTo>
                    <a:pt x="208" y="54"/>
                    <a:pt x="208" y="54"/>
                    <a:pt x="208" y="54"/>
                  </a:cubicBezTo>
                  <a:cubicBezTo>
                    <a:pt x="207" y="54"/>
                    <a:pt x="207" y="54"/>
                    <a:pt x="207" y="54"/>
                  </a:cubicBezTo>
                  <a:cubicBezTo>
                    <a:pt x="206" y="54"/>
                    <a:pt x="206" y="54"/>
                    <a:pt x="206" y="54"/>
                  </a:cubicBezTo>
                  <a:cubicBezTo>
                    <a:pt x="205" y="54"/>
                    <a:pt x="205" y="53"/>
                    <a:pt x="204" y="53"/>
                  </a:cubicBezTo>
                  <a:cubicBezTo>
                    <a:pt x="204" y="53"/>
                    <a:pt x="204" y="53"/>
                    <a:pt x="204" y="53"/>
                  </a:cubicBezTo>
                  <a:cubicBezTo>
                    <a:pt x="204" y="54"/>
                    <a:pt x="203" y="54"/>
                    <a:pt x="202" y="55"/>
                  </a:cubicBezTo>
                  <a:cubicBezTo>
                    <a:pt x="201" y="55"/>
                    <a:pt x="201" y="55"/>
                    <a:pt x="199" y="55"/>
                  </a:cubicBezTo>
                  <a:cubicBezTo>
                    <a:pt x="198" y="55"/>
                    <a:pt x="197" y="55"/>
                    <a:pt x="197" y="55"/>
                  </a:cubicBezTo>
                  <a:cubicBezTo>
                    <a:pt x="191" y="54"/>
                    <a:pt x="190" y="49"/>
                    <a:pt x="189" y="45"/>
                  </a:cubicBezTo>
                  <a:cubicBezTo>
                    <a:pt x="189" y="44"/>
                    <a:pt x="189" y="44"/>
                    <a:pt x="189" y="44"/>
                  </a:cubicBezTo>
                  <a:cubicBezTo>
                    <a:pt x="189" y="44"/>
                    <a:pt x="189" y="43"/>
                    <a:pt x="189" y="43"/>
                  </a:cubicBezTo>
                  <a:cubicBezTo>
                    <a:pt x="189" y="42"/>
                    <a:pt x="189" y="42"/>
                    <a:pt x="189" y="42"/>
                  </a:cubicBezTo>
                  <a:cubicBezTo>
                    <a:pt x="189" y="41"/>
                    <a:pt x="189" y="41"/>
                    <a:pt x="189" y="41"/>
                  </a:cubicBezTo>
                  <a:cubicBezTo>
                    <a:pt x="189" y="41"/>
                    <a:pt x="189" y="41"/>
                    <a:pt x="189" y="41"/>
                  </a:cubicBezTo>
                  <a:cubicBezTo>
                    <a:pt x="188" y="40"/>
                    <a:pt x="188" y="40"/>
                    <a:pt x="188" y="40"/>
                  </a:cubicBezTo>
                  <a:cubicBezTo>
                    <a:pt x="188" y="40"/>
                    <a:pt x="188" y="40"/>
                    <a:pt x="188" y="40"/>
                  </a:cubicBezTo>
                  <a:cubicBezTo>
                    <a:pt x="188" y="40"/>
                    <a:pt x="188" y="40"/>
                    <a:pt x="188" y="40"/>
                  </a:cubicBezTo>
                  <a:cubicBezTo>
                    <a:pt x="187" y="40"/>
                    <a:pt x="187" y="40"/>
                    <a:pt x="187" y="40"/>
                  </a:cubicBezTo>
                  <a:cubicBezTo>
                    <a:pt x="186" y="40"/>
                    <a:pt x="186" y="40"/>
                    <a:pt x="186" y="40"/>
                  </a:cubicBezTo>
                  <a:cubicBezTo>
                    <a:pt x="185" y="40"/>
                    <a:pt x="185" y="40"/>
                    <a:pt x="185" y="40"/>
                  </a:cubicBezTo>
                  <a:cubicBezTo>
                    <a:pt x="185" y="40"/>
                    <a:pt x="185" y="40"/>
                    <a:pt x="185" y="40"/>
                  </a:cubicBezTo>
                  <a:cubicBezTo>
                    <a:pt x="183" y="46"/>
                    <a:pt x="183" y="46"/>
                    <a:pt x="183" y="46"/>
                  </a:cubicBezTo>
                  <a:cubicBezTo>
                    <a:pt x="183" y="40"/>
                    <a:pt x="183" y="40"/>
                    <a:pt x="183" y="40"/>
                  </a:cubicBezTo>
                  <a:cubicBezTo>
                    <a:pt x="182" y="39"/>
                    <a:pt x="182" y="39"/>
                    <a:pt x="182" y="39"/>
                  </a:cubicBezTo>
                  <a:cubicBezTo>
                    <a:pt x="182" y="39"/>
                    <a:pt x="182" y="39"/>
                    <a:pt x="182" y="39"/>
                  </a:cubicBezTo>
                  <a:cubicBezTo>
                    <a:pt x="182" y="39"/>
                    <a:pt x="181" y="39"/>
                    <a:pt x="181" y="38"/>
                  </a:cubicBezTo>
                  <a:cubicBezTo>
                    <a:pt x="180" y="37"/>
                    <a:pt x="180" y="37"/>
                    <a:pt x="180" y="37"/>
                  </a:cubicBezTo>
                  <a:cubicBezTo>
                    <a:pt x="180" y="37"/>
                    <a:pt x="180" y="37"/>
                    <a:pt x="180" y="37"/>
                  </a:cubicBezTo>
                  <a:cubicBezTo>
                    <a:pt x="179" y="35"/>
                    <a:pt x="179" y="33"/>
                    <a:pt x="179" y="32"/>
                  </a:cubicBezTo>
                  <a:cubicBezTo>
                    <a:pt x="179" y="32"/>
                    <a:pt x="179" y="32"/>
                    <a:pt x="179" y="32"/>
                  </a:cubicBezTo>
                  <a:cubicBezTo>
                    <a:pt x="180" y="31"/>
                    <a:pt x="180" y="31"/>
                    <a:pt x="180" y="31"/>
                  </a:cubicBezTo>
                  <a:cubicBezTo>
                    <a:pt x="179" y="30"/>
                    <a:pt x="179" y="30"/>
                    <a:pt x="179" y="30"/>
                  </a:cubicBezTo>
                  <a:cubicBezTo>
                    <a:pt x="179" y="29"/>
                    <a:pt x="178" y="29"/>
                    <a:pt x="178" y="29"/>
                  </a:cubicBezTo>
                  <a:cubicBezTo>
                    <a:pt x="178" y="28"/>
                    <a:pt x="178" y="28"/>
                    <a:pt x="178" y="28"/>
                  </a:cubicBezTo>
                  <a:cubicBezTo>
                    <a:pt x="177" y="28"/>
                    <a:pt x="176" y="27"/>
                    <a:pt x="175" y="27"/>
                  </a:cubicBezTo>
                  <a:cubicBezTo>
                    <a:pt x="174" y="26"/>
                    <a:pt x="172" y="26"/>
                    <a:pt x="171" y="25"/>
                  </a:cubicBezTo>
                  <a:cubicBezTo>
                    <a:pt x="171" y="25"/>
                    <a:pt x="170" y="24"/>
                    <a:pt x="169" y="23"/>
                  </a:cubicBezTo>
                  <a:cubicBezTo>
                    <a:pt x="168" y="23"/>
                    <a:pt x="168" y="22"/>
                    <a:pt x="167" y="22"/>
                  </a:cubicBezTo>
                  <a:cubicBezTo>
                    <a:pt x="166" y="22"/>
                    <a:pt x="166" y="22"/>
                    <a:pt x="166" y="22"/>
                  </a:cubicBezTo>
                  <a:cubicBezTo>
                    <a:pt x="165" y="21"/>
                    <a:pt x="164" y="21"/>
                    <a:pt x="163" y="20"/>
                  </a:cubicBezTo>
                  <a:cubicBezTo>
                    <a:pt x="161" y="19"/>
                    <a:pt x="160" y="15"/>
                    <a:pt x="159" y="12"/>
                  </a:cubicBezTo>
                  <a:cubicBezTo>
                    <a:pt x="159" y="12"/>
                    <a:pt x="159" y="11"/>
                    <a:pt x="159" y="10"/>
                  </a:cubicBezTo>
                  <a:cubicBezTo>
                    <a:pt x="159" y="9"/>
                    <a:pt x="159" y="9"/>
                    <a:pt x="159" y="9"/>
                  </a:cubicBezTo>
                  <a:cubicBezTo>
                    <a:pt x="158" y="9"/>
                    <a:pt x="157" y="7"/>
                    <a:pt x="154" y="4"/>
                  </a:cubicBezTo>
                  <a:cubicBezTo>
                    <a:pt x="153" y="3"/>
                    <a:pt x="153" y="3"/>
                    <a:pt x="153" y="3"/>
                  </a:cubicBezTo>
                  <a:cubicBezTo>
                    <a:pt x="152" y="2"/>
                    <a:pt x="150" y="2"/>
                    <a:pt x="150" y="1"/>
                  </a:cubicBezTo>
                  <a:cubicBezTo>
                    <a:pt x="149" y="1"/>
                    <a:pt x="149" y="1"/>
                    <a:pt x="149" y="1"/>
                  </a:cubicBezTo>
                  <a:cubicBezTo>
                    <a:pt x="149" y="1"/>
                    <a:pt x="149" y="1"/>
                    <a:pt x="149" y="1"/>
                  </a:cubicBezTo>
                  <a:cubicBezTo>
                    <a:pt x="149" y="1"/>
                    <a:pt x="149" y="1"/>
                    <a:pt x="149" y="1"/>
                  </a:cubicBezTo>
                  <a:cubicBezTo>
                    <a:pt x="148" y="0"/>
                    <a:pt x="148" y="0"/>
                    <a:pt x="148" y="0"/>
                  </a:cubicBezTo>
                  <a:cubicBezTo>
                    <a:pt x="148" y="0"/>
                    <a:pt x="147" y="0"/>
                    <a:pt x="1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75" name="Freeform 246">
              <a:extLst>
                <a:ext uri="{FF2B5EF4-FFF2-40B4-BE49-F238E27FC236}">
                  <a16:creationId xmlns:a16="http://schemas.microsoft.com/office/drawing/2014/main" id="{4A47096A-0276-44B1-84DF-E9777CABFA10}"/>
                </a:ext>
              </a:extLst>
            </p:cNvPr>
            <p:cNvSpPr>
              <a:spLocks noEditPoints="1"/>
            </p:cNvSpPr>
            <p:nvPr/>
          </p:nvSpPr>
          <p:spPr bwMode="auto">
            <a:xfrm>
              <a:off x="7944923" y="3385220"/>
              <a:ext cx="668004" cy="3252466"/>
            </a:xfrm>
            <a:custGeom>
              <a:avLst/>
              <a:gdLst>
                <a:gd name="T0" fmla="*/ 76 w 200"/>
                <a:gd name="T1" fmla="*/ 913 h 974"/>
                <a:gd name="T2" fmla="*/ 58 w 200"/>
                <a:gd name="T3" fmla="*/ 920 h 974"/>
                <a:gd name="T4" fmla="*/ 64 w 200"/>
                <a:gd name="T5" fmla="*/ 907 h 974"/>
                <a:gd name="T6" fmla="*/ 125 w 200"/>
                <a:gd name="T7" fmla="*/ 21 h 974"/>
                <a:gd name="T8" fmla="*/ 114 w 200"/>
                <a:gd name="T9" fmla="*/ 226 h 974"/>
                <a:gd name="T10" fmla="*/ 98 w 200"/>
                <a:gd name="T11" fmla="*/ 360 h 974"/>
                <a:gd name="T12" fmla="*/ 53 w 200"/>
                <a:gd name="T13" fmla="*/ 491 h 974"/>
                <a:gd name="T14" fmla="*/ 47 w 200"/>
                <a:gd name="T15" fmla="*/ 615 h 974"/>
                <a:gd name="T16" fmla="*/ 76 w 200"/>
                <a:gd name="T17" fmla="*/ 631 h 974"/>
                <a:gd name="T18" fmla="*/ 68 w 200"/>
                <a:gd name="T19" fmla="*/ 673 h 974"/>
                <a:gd name="T20" fmla="*/ 55 w 200"/>
                <a:gd name="T21" fmla="*/ 715 h 974"/>
                <a:gd name="T22" fmla="*/ 52 w 200"/>
                <a:gd name="T23" fmla="*/ 730 h 974"/>
                <a:gd name="T24" fmla="*/ 41 w 200"/>
                <a:gd name="T25" fmla="*/ 744 h 974"/>
                <a:gd name="T26" fmla="*/ 34 w 200"/>
                <a:gd name="T27" fmla="*/ 730 h 974"/>
                <a:gd name="T28" fmla="*/ 24 w 200"/>
                <a:gd name="T29" fmla="*/ 733 h 974"/>
                <a:gd name="T30" fmla="*/ 1 w 200"/>
                <a:gd name="T31" fmla="*/ 758 h 974"/>
                <a:gd name="T32" fmla="*/ 21 w 200"/>
                <a:gd name="T33" fmla="*/ 759 h 974"/>
                <a:gd name="T34" fmla="*/ 42 w 200"/>
                <a:gd name="T35" fmla="*/ 772 h 974"/>
                <a:gd name="T36" fmla="*/ 37 w 200"/>
                <a:gd name="T37" fmla="*/ 783 h 974"/>
                <a:gd name="T38" fmla="*/ 30 w 200"/>
                <a:gd name="T39" fmla="*/ 787 h 974"/>
                <a:gd name="T40" fmla="*/ 53 w 200"/>
                <a:gd name="T41" fmla="*/ 799 h 974"/>
                <a:gd name="T42" fmla="*/ 35 w 200"/>
                <a:gd name="T43" fmla="*/ 804 h 974"/>
                <a:gd name="T44" fmla="*/ 36 w 200"/>
                <a:gd name="T45" fmla="*/ 815 h 974"/>
                <a:gd name="T46" fmla="*/ 40 w 200"/>
                <a:gd name="T47" fmla="*/ 828 h 974"/>
                <a:gd name="T48" fmla="*/ 35 w 200"/>
                <a:gd name="T49" fmla="*/ 846 h 974"/>
                <a:gd name="T50" fmla="*/ 34 w 200"/>
                <a:gd name="T51" fmla="*/ 855 h 974"/>
                <a:gd name="T52" fmla="*/ 25 w 200"/>
                <a:gd name="T53" fmla="*/ 860 h 974"/>
                <a:gd name="T54" fmla="*/ 53 w 200"/>
                <a:gd name="T55" fmla="*/ 874 h 974"/>
                <a:gd name="T56" fmla="*/ 47 w 200"/>
                <a:gd name="T57" fmla="*/ 890 h 974"/>
                <a:gd name="T58" fmla="*/ 50 w 200"/>
                <a:gd name="T59" fmla="*/ 906 h 974"/>
                <a:gd name="T60" fmla="*/ 50 w 200"/>
                <a:gd name="T61" fmla="*/ 935 h 974"/>
                <a:gd name="T62" fmla="*/ 61 w 200"/>
                <a:gd name="T63" fmla="*/ 950 h 974"/>
                <a:gd name="T64" fmla="*/ 78 w 200"/>
                <a:gd name="T65" fmla="*/ 941 h 974"/>
                <a:gd name="T66" fmla="*/ 66 w 200"/>
                <a:gd name="T67" fmla="*/ 958 h 974"/>
                <a:gd name="T68" fmla="*/ 78 w 200"/>
                <a:gd name="T69" fmla="*/ 949 h 974"/>
                <a:gd name="T70" fmla="*/ 88 w 200"/>
                <a:gd name="T71" fmla="*/ 964 h 974"/>
                <a:gd name="T72" fmla="*/ 104 w 200"/>
                <a:gd name="T73" fmla="*/ 974 h 974"/>
                <a:gd name="T74" fmla="*/ 134 w 200"/>
                <a:gd name="T75" fmla="*/ 918 h 974"/>
                <a:gd name="T76" fmla="*/ 77 w 200"/>
                <a:gd name="T77" fmla="*/ 896 h 974"/>
                <a:gd name="T78" fmla="*/ 70 w 200"/>
                <a:gd name="T79" fmla="*/ 876 h 974"/>
                <a:gd name="T80" fmla="*/ 57 w 200"/>
                <a:gd name="T81" fmla="*/ 876 h 974"/>
                <a:gd name="T82" fmla="*/ 49 w 200"/>
                <a:gd name="T83" fmla="*/ 856 h 974"/>
                <a:gd name="T84" fmla="*/ 65 w 200"/>
                <a:gd name="T85" fmla="*/ 822 h 974"/>
                <a:gd name="T86" fmla="*/ 74 w 200"/>
                <a:gd name="T87" fmla="*/ 795 h 974"/>
                <a:gd name="T88" fmla="*/ 91 w 200"/>
                <a:gd name="T89" fmla="*/ 752 h 974"/>
                <a:gd name="T90" fmla="*/ 95 w 200"/>
                <a:gd name="T91" fmla="*/ 720 h 974"/>
                <a:gd name="T92" fmla="*/ 89 w 200"/>
                <a:gd name="T93" fmla="*/ 708 h 974"/>
                <a:gd name="T94" fmla="*/ 98 w 200"/>
                <a:gd name="T95" fmla="*/ 692 h 974"/>
                <a:gd name="T96" fmla="*/ 89 w 200"/>
                <a:gd name="T97" fmla="*/ 657 h 974"/>
                <a:gd name="T98" fmla="*/ 89 w 200"/>
                <a:gd name="T99" fmla="*/ 620 h 974"/>
                <a:gd name="T100" fmla="*/ 93 w 200"/>
                <a:gd name="T101" fmla="*/ 566 h 974"/>
                <a:gd name="T102" fmla="*/ 110 w 200"/>
                <a:gd name="T103" fmla="*/ 525 h 974"/>
                <a:gd name="T104" fmla="*/ 118 w 200"/>
                <a:gd name="T105" fmla="*/ 462 h 974"/>
                <a:gd name="T106" fmla="*/ 125 w 200"/>
                <a:gd name="T107" fmla="*/ 426 h 974"/>
                <a:gd name="T108" fmla="*/ 126 w 200"/>
                <a:gd name="T109" fmla="*/ 365 h 974"/>
                <a:gd name="T110" fmla="*/ 125 w 200"/>
                <a:gd name="T111" fmla="*/ 327 h 974"/>
                <a:gd name="T112" fmla="*/ 132 w 200"/>
                <a:gd name="T113" fmla="*/ 283 h 974"/>
                <a:gd name="T114" fmla="*/ 169 w 200"/>
                <a:gd name="T115" fmla="*/ 227 h 974"/>
                <a:gd name="T116" fmla="*/ 189 w 200"/>
                <a:gd name="T117" fmla="*/ 154 h 974"/>
                <a:gd name="T118" fmla="*/ 181 w 200"/>
                <a:gd name="T119" fmla="*/ 126 h 974"/>
                <a:gd name="T120" fmla="*/ 173 w 200"/>
                <a:gd name="T121" fmla="*/ 88 h 974"/>
                <a:gd name="T122" fmla="*/ 164 w 200"/>
                <a:gd name="T123" fmla="*/ 55 h 974"/>
                <a:gd name="T124" fmla="*/ 151 w 200"/>
                <a:gd name="T125" fmla="*/ 10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 h="974">
                  <a:moveTo>
                    <a:pt x="87" y="969"/>
                  </a:moveTo>
                  <a:cubicBezTo>
                    <a:pt x="87" y="969"/>
                    <a:pt x="87" y="969"/>
                    <a:pt x="87" y="969"/>
                  </a:cubicBezTo>
                  <a:cubicBezTo>
                    <a:pt x="87" y="969"/>
                    <a:pt x="87" y="969"/>
                    <a:pt x="87" y="969"/>
                  </a:cubicBezTo>
                  <a:moveTo>
                    <a:pt x="43" y="880"/>
                  </a:moveTo>
                  <a:cubicBezTo>
                    <a:pt x="43" y="880"/>
                    <a:pt x="43" y="880"/>
                    <a:pt x="43" y="880"/>
                  </a:cubicBezTo>
                  <a:cubicBezTo>
                    <a:pt x="43" y="880"/>
                    <a:pt x="43" y="880"/>
                    <a:pt x="43" y="880"/>
                  </a:cubicBezTo>
                  <a:moveTo>
                    <a:pt x="71" y="910"/>
                  </a:moveTo>
                  <a:cubicBezTo>
                    <a:pt x="73" y="910"/>
                    <a:pt x="75" y="908"/>
                    <a:pt x="74" y="907"/>
                  </a:cubicBezTo>
                  <a:cubicBezTo>
                    <a:pt x="73" y="906"/>
                    <a:pt x="72" y="906"/>
                    <a:pt x="71" y="906"/>
                  </a:cubicBezTo>
                  <a:cubicBezTo>
                    <a:pt x="71" y="905"/>
                    <a:pt x="71" y="904"/>
                    <a:pt x="70" y="904"/>
                  </a:cubicBezTo>
                  <a:cubicBezTo>
                    <a:pt x="69" y="903"/>
                    <a:pt x="68" y="903"/>
                    <a:pt x="67" y="902"/>
                  </a:cubicBezTo>
                  <a:cubicBezTo>
                    <a:pt x="63" y="901"/>
                    <a:pt x="62" y="900"/>
                    <a:pt x="58" y="899"/>
                  </a:cubicBezTo>
                  <a:cubicBezTo>
                    <a:pt x="59" y="898"/>
                    <a:pt x="60" y="898"/>
                    <a:pt x="61" y="898"/>
                  </a:cubicBezTo>
                  <a:cubicBezTo>
                    <a:pt x="62" y="898"/>
                    <a:pt x="63" y="899"/>
                    <a:pt x="65" y="900"/>
                  </a:cubicBezTo>
                  <a:cubicBezTo>
                    <a:pt x="68" y="902"/>
                    <a:pt x="71" y="902"/>
                    <a:pt x="74" y="906"/>
                  </a:cubicBezTo>
                  <a:cubicBezTo>
                    <a:pt x="76" y="908"/>
                    <a:pt x="78" y="911"/>
                    <a:pt x="76" y="913"/>
                  </a:cubicBezTo>
                  <a:cubicBezTo>
                    <a:pt x="75" y="915"/>
                    <a:pt x="74" y="913"/>
                    <a:pt x="72" y="916"/>
                  </a:cubicBezTo>
                  <a:cubicBezTo>
                    <a:pt x="72" y="918"/>
                    <a:pt x="77" y="920"/>
                    <a:pt x="76" y="923"/>
                  </a:cubicBezTo>
                  <a:cubicBezTo>
                    <a:pt x="76" y="927"/>
                    <a:pt x="69" y="928"/>
                    <a:pt x="66" y="929"/>
                  </a:cubicBezTo>
                  <a:cubicBezTo>
                    <a:pt x="69" y="928"/>
                    <a:pt x="76" y="925"/>
                    <a:pt x="75" y="921"/>
                  </a:cubicBezTo>
                  <a:cubicBezTo>
                    <a:pt x="74" y="918"/>
                    <a:pt x="72" y="918"/>
                    <a:pt x="72" y="916"/>
                  </a:cubicBezTo>
                  <a:cubicBezTo>
                    <a:pt x="71" y="914"/>
                    <a:pt x="70" y="913"/>
                    <a:pt x="69" y="913"/>
                  </a:cubicBezTo>
                  <a:cubicBezTo>
                    <a:pt x="67" y="913"/>
                    <a:pt x="65" y="918"/>
                    <a:pt x="66" y="921"/>
                  </a:cubicBezTo>
                  <a:cubicBezTo>
                    <a:pt x="67" y="920"/>
                    <a:pt x="68" y="918"/>
                    <a:pt x="70" y="917"/>
                  </a:cubicBezTo>
                  <a:cubicBezTo>
                    <a:pt x="70" y="918"/>
                    <a:pt x="69" y="921"/>
                    <a:pt x="68" y="922"/>
                  </a:cubicBezTo>
                  <a:cubicBezTo>
                    <a:pt x="68" y="922"/>
                    <a:pt x="67" y="923"/>
                    <a:pt x="67" y="923"/>
                  </a:cubicBezTo>
                  <a:cubicBezTo>
                    <a:pt x="67" y="923"/>
                    <a:pt x="66" y="922"/>
                    <a:pt x="66" y="922"/>
                  </a:cubicBezTo>
                  <a:cubicBezTo>
                    <a:pt x="65" y="922"/>
                    <a:pt x="65" y="922"/>
                    <a:pt x="64" y="922"/>
                  </a:cubicBezTo>
                  <a:cubicBezTo>
                    <a:pt x="64" y="922"/>
                    <a:pt x="63" y="922"/>
                    <a:pt x="62" y="922"/>
                  </a:cubicBezTo>
                  <a:cubicBezTo>
                    <a:pt x="63" y="920"/>
                    <a:pt x="64" y="919"/>
                    <a:pt x="64" y="917"/>
                  </a:cubicBezTo>
                  <a:cubicBezTo>
                    <a:pt x="62" y="917"/>
                    <a:pt x="59" y="919"/>
                    <a:pt x="59" y="920"/>
                  </a:cubicBezTo>
                  <a:cubicBezTo>
                    <a:pt x="59" y="920"/>
                    <a:pt x="58" y="920"/>
                    <a:pt x="58" y="920"/>
                  </a:cubicBezTo>
                  <a:cubicBezTo>
                    <a:pt x="58" y="919"/>
                    <a:pt x="57" y="916"/>
                    <a:pt x="57" y="914"/>
                  </a:cubicBezTo>
                  <a:cubicBezTo>
                    <a:pt x="58" y="916"/>
                    <a:pt x="58" y="918"/>
                    <a:pt x="59" y="918"/>
                  </a:cubicBezTo>
                  <a:cubicBezTo>
                    <a:pt x="59" y="918"/>
                    <a:pt x="60" y="917"/>
                    <a:pt x="60" y="917"/>
                  </a:cubicBezTo>
                  <a:cubicBezTo>
                    <a:pt x="61" y="915"/>
                    <a:pt x="60" y="914"/>
                    <a:pt x="62" y="913"/>
                  </a:cubicBezTo>
                  <a:cubicBezTo>
                    <a:pt x="62" y="912"/>
                    <a:pt x="68" y="910"/>
                    <a:pt x="65" y="910"/>
                  </a:cubicBezTo>
                  <a:cubicBezTo>
                    <a:pt x="65" y="910"/>
                    <a:pt x="65" y="910"/>
                    <a:pt x="65" y="910"/>
                  </a:cubicBezTo>
                  <a:cubicBezTo>
                    <a:pt x="64" y="910"/>
                    <a:pt x="64" y="911"/>
                    <a:pt x="63" y="911"/>
                  </a:cubicBezTo>
                  <a:cubicBezTo>
                    <a:pt x="62" y="911"/>
                    <a:pt x="61" y="911"/>
                    <a:pt x="60" y="911"/>
                  </a:cubicBezTo>
                  <a:cubicBezTo>
                    <a:pt x="60" y="911"/>
                    <a:pt x="60" y="911"/>
                    <a:pt x="60" y="911"/>
                  </a:cubicBezTo>
                  <a:cubicBezTo>
                    <a:pt x="62" y="911"/>
                    <a:pt x="60" y="910"/>
                    <a:pt x="61" y="909"/>
                  </a:cubicBezTo>
                  <a:cubicBezTo>
                    <a:pt x="62" y="908"/>
                    <a:pt x="62" y="908"/>
                    <a:pt x="62" y="908"/>
                  </a:cubicBezTo>
                  <a:cubicBezTo>
                    <a:pt x="63" y="908"/>
                    <a:pt x="63" y="908"/>
                    <a:pt x="64" y="908"/>
                  </a:cubicBezTo>
                  <a:cubicBezTo>
                    <a:pt x="63" y="907"/>
                    <a:pt x="62" y="906"/>
                    <a:pt x="61" y="906"/>
                  </a:cubicBezTo>
                  <a:cubicBezTo>
                    <a:pt x="61" y="906"/>
                    <a:pt x="61" y="906"/>
                    <a:pt x="62" y="906"/>
                  </a:cubicBezTo>
                  <a:cubicBezTo>
                    <a:pt x="62" y="906"/>
                    <a:pt x="62" y="906"/>
                    <a:pt x="62" y="906"/>
                  </a:cubicBezTo>
                  <a:cubicBezTo>
                    <a:pt x="63" y="906"/>
                    <a:pt x="63" y="906"/>
                    <a:pt x="64" y="907"/>
                  </a:cubicBezTo>
                  <a:cubicBezTo>
                    <a:pt x="64" y="908"/>
                    <a:pt x="65" y="908"/>
                    <a:pt x="65" y="908"/>
                  </a:cubicBezTo>
                  <a:cubicBezTo>
                    <a:pt x="65" y="908"/>
                    <a:pt x="65" y="908"/>
                    <a:pt x="65" y="908"/>
                  </a:cubicBezTo>
                  <a:cubicBezTo>
                    <a:pt x="66" y="908"/>
                    <a:pt x="66" y="908"/>
                    <a:pt x="66" y="908"/>
                  </a:cubicBezTo>
                  <a:cubicBezTo>
                    <a:pt x="66" y="908"/>
                    <a:pt x="66" y="908"/>
                    <a:pt x="66" y="908"/>
                  </a:cubicBezTo>
                  <a:cubicBezTo>
                    <a:pt x="67" y="908"/>
                    <a:pt x="68" y="908"/>
                    <a:pt x="68" y="908"/>
                  </a:cubicBezTo>
                  <a:cubicBezTo>
                    <a:pt x="69" y="908"/>
                    <a:pt x="70" y="910"/>
                    <a:pt x="71" y="910"/>
                  </a:cubicBezTo>
                  <a:cubicBezTo>
                    <a:pt x="71" y="910"/>
                    <a:pt x="71" y="910"/>
                    <a:pt x="71" y="910"/>
                  </a:cubicBezTo>
                  <a:moveTo>
                    <a:pt x="144" y="0"/>
                  </a:moveTo>
                  <a:cubicBezTo>
                    <a:pt x="144" y="0"/>
                    <a:pt x="144" y="0"/>
                    <a:pt x="144" y="0"/>
                  </a:cubicBezTo>
                  <a:cubicBezTo>
                    <a:pt x="143" y="1"/>
                    <a:pt x="143" y="1"/>
                    <a:pt x="143" y="1"/>
                  </a:cubicBezTo>
                  <a:cubicBezTo>
                    <a:pt x="142" y="1"/>
                    <a:pt x="142" y="1"/>
                    <a:pt x="141" y="1"/>
                  </a:cubicBezTo>
                  <a:cubicBezTo>
                    <a:pt x="141" y="2"/>
                    <a:pt x="141" y="2"/>
                    <a:pt x="140" y="2"/>
                  </a:cubicBezTo>
                  <a:cubicBezTo>
                    <a:pt x="141" y="4"/>
                    <a:pt x="141" y="8"/>
                    <a:pt x="140" y="11"/>
                  </a:cubicBezTo>
                  <a:cubicBezTo>
                    <a:pt x="140" y="14"/>
                    <a:pt x="138" y="15"/>
                    <a:pt x="137" y="15"/>
                  </a:cubicBezTo>
                  <a:cubicBezTo>
                    <a:pt x="125" y="20"/>
                    <a:pt x="125" y="20"/>
                    <a:pt x="125" y="20"/>
                  </a:cubicBezTo>
                  <a:cubicBezTo>
                    <a:pt x="125" y="20"/>
                    <a:pt x="125" y="20"/>
                    <a:pt x="125" y="21"/>
                  </a:cubicBezTo>
                  <a:cubicBezTo>
                    <a:pt x="126" y="25"/>
                    <a:pt x="126" y="29"/>
                    <a:pt x="127" y="34"/>
                  </a:cubicBezTo>
                  <a:cubicBezTo>
                    <a:pt x="129" y="48"/>
                    <a:pt x="130" y="63"/>
                    <a:pt x="131" y="78"/>
                  </a:cubicBezTo>
                  <a:cubicBezTo>
                    <a:pt x="132" y="82"/>
                    <a:pt x="133" y="88"/>
                    <a:pt x="132" y="92"/>
                  </a:cubicBezTo>
                  <a:cubicBezTo>
                    <a:pt x="131" y="100"/>
                    <a:pt x="130" y="109"/>
                    <a:pt x="128" y="117"/>
                  </a:cubicBezTo>
                  <a:cubicBezTo>
                    <a:pt x="127" y="123"/>
                    <a:pt x="128" y="131"/>
                    <a:pt x="121" y="131"/>
                  </a:cubicBezTo>
                  <a:cubicBezTo>
                    <a:pt x="121" y="131"/>
                    <a:pt x="121" y="131"/>
                    <a:pt x="121" y="131"/>
                  </a:cubicBezTo>
                  <a:cubicBezTo>
                    <a:pt x="121" y="135"/>
                    <a:pt x="120" y="138"/>
                    <a:pt x="119" y="141"/>
                  </a:cubicBezTo>
                  <a:cubicBezTo>
                    <a:pt x="120" y="142"/>
                    <a:pt x="120" y="142"/>
                    <a:pt x="121" y="142"/>
                  </a:cubicBezTo>
                  <a:cubicBezTo>
                    <a:pt x="121" y="142"/>
                    <a:pt x="122" y="141"/>
                    <a:pt x="122" y="140"/>
                  </a:cubicBezTo>
                  <a:cubicBezTo>
                    <a:pt x="122" y="149"/>
                    <a:pt x="121" y="158"/>
                    <a:pt x="120" y="167"/>
                  </a:cubicBezTo>
                  <a:cubicBezTo>
                    <a:pt x="120" y="169"/>
                    <a:pt x="120" y="172"/>
                    <a:pt x="121" y="174"/>
                  </a:cubicBezTo>
                  <a:cubicBezTo>
                    <a:pt x="123" y="178"/>
                    <a:pt x="124" y="182"/>
                    <a:pt x="123" y="186"/>
                  </a:cubicBezTo>
                  <a:cubicBezTo>
                    <a:pt x="123" y="188"/>
                    <a:pt x="122" y="189"/>
                    <a:pt x="121" y="191"/>
                  </a:cubicBezTo>
                  <a:cubicBezTo>
                    <a:pt x="119" y="193"/>
                    <a:pt x="117" y="197"/>
                    <a:pt x="117" y="199"/>
                  </a:cubicBezTo>
                  <a:cubicBezTo>
                    <a:pt x="117" y="201"/>
                    <a:pt x="119" y="203"/>
                    <a:pt x="119" y="205"/>
                  </a:cubicBezTo>
                  <a:cubicBezTo>
                    <a:pt x="118" y="213"/>
                    <a:pt x="117" y="219"/>
                    <a:pt x="114" y="226"/>
                  </a:cubicBezTo>
                  <a:cubicBezTo>
                    <a:pt x="112" y="232"/>
                    <a:pt x="112" y="234"/>
                    <a:pt x="112" y="239"/>
                  </a:cubicBezTo>
                  <a:cubicBezTo>
                    <a:pt x="112" y="242"/>
                    <a:pt x="113" y="243"/>
                    <a:pt x="111" y="245"/>
                  </a:cubicBezTo>
                  <a:cubicBezTo>
                    <a:pt x="110" y="248"/>
                    <a:pt x="107" y="250"/>
                    <a:pt x="107" y="253"/>
                  </a:cubicBezTo>
                  <a:cubicBezTo>
                    <a:pt x="107" y="260"/>
                    <a:pt x="106" y="264"/>
                    <a:pt x="104" y="270"/>
                  </a:cubicBezTo>
                  <a:cubicBezTo>
                    <a:pt x="102" y="273"/>
                    <a:pt x="98" y="274"/>
                    <a:pt x="99" y="278"/>
                  </a:cubicBezTo>
                  <a:cubicBezTo>
                    <a:pt x="99" y="283"/>
                    <a:pt x="100" y="284"/>
                    <a:pt x="103" y="288"/>
                  </a:cubicBezTo>
                  <a:cubicBezTo>
                    <a:pt x="104" y="289"/>
                    <a:pt x="103" y="291"/>
                    <a:pt x="104" y="293"/>
                  </a:cubicBezTo>
                  <a:cubicBezTo>
                    <a:pt x="104" y="295"/>
                    <a:pt x="104" y="299"/>
                    <a:pt x="104" y="302"/>
                  </a:cubicBezTo>
                  <a:cubicBezTo>
                    <a:pt x="104" y="302"/>
                    <a:pt x="103" y="303"/>
                    <a:pt x="102" y="304"/>
                  </a:cubicBezTo>
                  <a:cubicBezTo>
                    <a:pt x="102" y="305"/>
                    <a:pt x="102" y="308"/>
                    <a:pt x="101" y="308"/>
                  </a:cubicBezTo>
                  <a:cubicBezTo>
                    <a:pt x="101" y="308"/>
                    <a:pt x="101" y="308"/>
                    <a:pt x="100" y="308"/>
                  </a:cubicBezTo>
                  <a:cubicBezTo>
                    <a:pt x="99" y="309"/>
                    <a:pt x="99" y="310"/>
                    <a:pt x="98" y="311"/>
                  </a:cubicBezTo>
                  <a:cubicBezTo>
                    <a:pt x="95" y="312"/>
                    <a:pt x="95" y="313"/>
                    <a:pt x="95" y="316"/>
                  </a:cubicBezTo>
                  <a:cubicBezTo>
                    <a:pt x="95" y="321"/>
                    <a:pt x="95" y="325"/>
                    <a:pt x="96" y="330"/>
                  </a:cubicBezTo>
                  <a:cubicBezTo>
                    <a:pt x="96" y="336"/>
                    <a:pt x="97" y="343"/>
                    <a:pt x="97" y="350"/>
                  </a:cubicBezTo>
                  <a:cubicBezTo>
                    <a:pt x="97" y="353"/>
                    <a:pt x="97" y="357"/>
                    <a:pt x="98" y="360"/>
                  </a:cubicBezTo>
                  <a:cubicBezTo>
                    <a:pt x="99" y="361"/>
                    <a:pt x="102" y="363"/>
                    <a:pt x="101" y="365"/>
                  </a:cubicBezTo>
                  <a:cubicBezTo>
                    <a:pt x="100" y="368"/>
                    <a:pt x="100" y="372"/>
                    <a:pt x="99" y="374"/>
                  </a:cubicBezTo>
                  <a:cubicBezTo>
                    <a:pt x="97" y="376"/>
                    <a:pt x="94" y="380"/>
                    <a:pt x="94" y="382"/>
                  </a:cubicBezTo>
                  <a:cubicBezTo>
                    <a:pt x="93" y="385"/>
                    <a:pt x="95" y="388"/>
                    <a:pt x="95" y="391"/>
                  </a:cubicBezTo>
                  <a:cubicBezTo>
                    <a:pt x="95" y="396"/>
                    <a:pt x="96" y="398"/>
                    <a:pt x="92" y="402"/>
                  </a:cubicBezTo>
                  <a:cubicBezTo>
                    <a:pt x="88" y="408"/>
                    <a:pt x="87" y="417"/>
                    <a:pt x="86" y="424"/>
                  </a:cubicBezTo>
                  <a:cubicBezTo>
                    <a:pt x="84" y="429"/>
                    <a:pt x="83" y="433"/>
                    <a:pt x="80" y="438"/>
                  </a:cubicBezTo>
                  <a:cubicBezTo>
                    <a:pt x="78" y="441"/>
                    <a:pt x="75" y="445"/>
                    <a:pt x="73" y="449"/>
                  </a:cubicBezTo>
                  <a:cubicBezTo>
                    <a:pt x="72" y="450"/>
                    <a:pt x="74" y="453"/>
                    <a:pt x="73" y="454"/>
                  </a:cubicBezTo>
                  <a:cubicBezTo>
                    <a:pt x="72" y="456"/>
                    <a:pt x="69" y="459"/>
                    <a:pt x="69" y="461"/>
                  </a:cubicBezTo>
                  <a:cubicBezTo>
                    <a:pt x="68" y="464"/>
                    <a:pt x="67" y="468"/>
                    <a:pt x="66" y="471"/>
                  </a:cubicBezTo>
                  <a:cubicBezTo>
                    <a:pt x="65" y="478"/>
                    <a:pt x="65" y="477"/>
                    <a:pt x="60" y="480"/>
                  </a:cubicBezTo>
                  <a:cubicBezTo>
                    <a:pt x="61" y="481"/>
                    <a:pt x="60" y="485"/>
                    <a:pt x="60" y="487"/>
                  </a:cubicBezTo>
                  <a:cubicBezTo>
                    <a:pt x="60" y="489"/>
                    <a:pt x="60" y="489"/>
                    <a:pt x="58" y="490"/>
                  </a:cubicBezTo>
                  <a:cubicBezTo>
                    <a:pt x="57" y="490"/>
                    <a:pt x="55" y="491"/>
                    <a:pt x="54" y="491"/>
                  </a:cubicBezTo>
                  <a:cubicBezTo>
                    <a:pt x="54" y="491"/>
                    <a:pt x="54" y="491"/>
                    <a:pt x="53" y="491"/>
                  </a:cubicBezTo>
                  <a:cubicBezTo>
                    <a:pt x="52" y="490"/>
                    <a:pt x="52" y="490"/>
                    <a:pt x="51" y="490"/>
                  </a:cubicBezTo>
                  <a:cubicBezTo>
                    <a:pt x="51" y="490"/>
                    <a:pt x="50" y="490"/>
                    <a:pt x="50" y="490"/>
                  </a:cubicBezTo>
                  <a:cubicBezTo>
                    <a:pt x="48" y="492"/>
                    <a:pt x="49" y="495"/>
                    <a:pt x="49" y="496"/>
                  </a:cubicBezTo>
                  <a:cubicBezTo>
                    <a:pt x="50" y="501"/>
                    <a:pt x="48" y="503"/>
                    <a:pt x="50" y="507"/>
                  </a:cubicBezTo>
                  <a:cubicBezTo>
                    <a:pt x="54" y="513"/>
                    <a:pt x="51" y="519"/>
                    <a:pt x="52" y="525"/>
                  </a:cubicBezTo>
                  <a:cubicBezTo>
                    <a:pt x="53" y="533"/>
                    <a:pt x="56" y="540"/>
                    <a:pt x="58" y="547"/>
                  </a:cubicBezTo>
                  <a:cubicBezTo>
                    <a:pt x="59" y="553"/>
                    <a:pt x="57" y="559"/>
                    <a:pt x="55" y="564"/>
                  </a:cubicBezTo>
                  <a:cubicBezTo>
                    <a:pt x="55" y="563"/>
                    <a:pt x="54" y="562"/>
                    <a:pt x="54" y="562"/>
                  </a:cubicBezTo>
                  <a:cubicBezTo>
                    <a:pt x="52" y="562"/>
                    <a:pt x="50" y="564"/>
                    <a:pt x="49" y="565"/>
                  </a:cubicBezTo>
                  <a:cubicBezTo>
                    <a:pt x="47" y="568"/>
                    <a:pt x="47" y="572"/>
                    <a:pt x="47" y="575"/>
                  </a:cubicBezTo>
                  <a:cubicBezTo>
                    <a:pt x="45" y="581"/>
                    <a:pt x="43" y="587"/>
                    <a:pt x="41" y="592"/>
                  </a:cubicBezTo>
                  <a:cubicBezTo>
                    <a:pt x="40" y="596"/>
                    <a:pt x="43" y="602"/>
                    <a:pt x="44" y="605"/>
                  </a:cubicBezTo>
                  <a:cubicBezTo>
                    <a:pt x="45" y="607"/>
                    <a:pt x="45" y="609"/>
                    <a:pt x="47" y="610"/>
                  </a:cubicBezTo>
                  <a:cubicBezTo>
                    <a:pt x="48" y="610"/>
                    <a:pt x="48" y="611"/>
                    <a:pt x="49" y="611"/>
                  </a:cubicBezTo>
                  <a:cubicBezTo>
                    <a:pt x="51" y="611"/>
                    <a:pt x="52" y="610"/>
                    <a:pt x="53" y="609"/>
                  </a:cubicBezTo>
                  <a:cubicBezTo>
                    <a:pt x="51" y="613"/>
                    <a:pt x="48" y="610"/>
                    <a:pt x="47" y="615"/>
                  </a:cubicBezTo>
                  <a:cubicBezTo>
                    <a:pt x="47" y="615"/>
                    <a:pt x="47" y="615"/>
                    <a:pt x="47" y="615"/>
                  </a:cubicBezTo>
                  <a:cubicBezTo>
                    <a:pt x="49" y="615"/>
                    <a:pt x="50" y="615"/>
                    <a:pt x="51" y="616"/>
                  </a:cubicBezTo>
                  <a:cubicBezTo>
                    <a:pt x="52" y="616"/>
                    <a:pt x="53" y="616"/>
                    <a:pt x="54" y="616"/>
                  </a:cubicBezTo>
                  <a:cubicBezTo>
                    <a:pt x="54" y="616"/>
                    <a:pt x="54" y="616"/>
                    <a:pt x="55" y="616"/>
                  </a:cubicBezTo>
                  <a:cubicBezTo>
                    <a:pt x="55" y="615"/>
                    <a:pt x="60" y="616"/>
                    <a:pt x="61" y="615"/>
                  </a:cubicBezTo>
                  <a:cubicBezTo>
                    <a:pt x="63" y="613"/>
                    <a:pt x="61" y="610"/>
                    <a:pt x="63" y="610"/>
                  </a:cubicBezTo>
                  <a:cubicBezTo>
                    <a:pt x="63" y="610"/>
                    <a:pt x="63" y="610"/>
                    <a:pt x="64" y="610"/>
                  </a:cubicBezTo>
                  <a:cubicBezTo>
                    <a:pt x="66" y="611"/>
                    <a:pt x="71" y="614"/>
                    <a:pt x="74" y="614"/>
                  </a:cubicBezTo>
                  <a:cubicBezTo>
                    <a:pt x="75" y="614"/>
                    <a:pt x="75" y="614"/>
                    <a:pt x="76" y="613"/>
                  </a:cubicBezTo>
                  <a:cubicBezTo>
                    <a:pt x="72" y="615"/>
                    <a:pt x="69" y="617"/>
                    <a:pt x="67" y="620"/>
                  </a:cubicBezTo>
                  <a:cubicBezTo>
                    <a:pt x="67" y="620"/>
                    <a:pt x="70" y="622"/>
                    <a:pt x="71" y="622"/>
                  </a:cubicBezTo>
                  <a:cubicBezTo>
                    <a:pt x="71" y="623"/>
                    <a:pt x="72" y="623"/>
                    <a:pt x="72" y="623"/>
                  </a:cubicBezTo>
                  <a:cubicBezTo>
                    <a:pt x="74" y="623"/>
                    <a:pt x="75" y="622"/>
                    <a:pt x="77" y="621"/>
                  </a:cubicBezTo>
                  <a:cubicBezTo>
                    <a:pt x="76" y="623"/>
                    <a:pt x="79" y="634"/>
                    <a:pt x="78" y="635"/>
                  </a:cubicBezTo>
                  <a:cubicBezTo>
                    <a:pt x="77" y="635"/>
                    <a:pt x="77" y="635"/>
                    <a:pt x="77" y="635"/>
                  </a:cubicBezTo>
                  <a:cubicBezTo>
                    <a:pt x="77" y="635"/>
                    <a:pt x="76" y="632"/>
                    <a:pt x="76" y="631"/>
                  </a:cubicBezTo>
                  <a:cubicBezTo>
                    <a:pt x="75" y="630"/>
                    <a:pt x="75" y="628"/>
                    <a:pt x="74" y="627"/>
                  </a:cubicBezTo>
                  <a:cubicBezTo>
                    <a:pt x="74" y="627"/>
                    <a:pt x="73" y="627"/>
                    <a:pt x="73" y="627"/>
                  </a:cubicBezTo>
                  <a:cubicBezTo>
                    <a:pt x="72" y="627"/>
                    <a:pt x="69" y="629"/>
                    <a:pt x="68" y="630"/>
                  </a:cubicBezTo>
                  <a:cubicBezTo>
                    <a:pt x="69" y="631"/>
                    <a:pt x="70" y="633"/>
                    <a:pt x="71" y="634"/>
                  </a:cubicBezTo>
                  <a:cubicBezTo>
                    <a:pt x="72" y="636"/>
                    <a:pt x="73" y="636"/>
                    <a:pt x="75" y="638"/>
                  </a:cubicBezTo>
                  <a:cubicBezTo>
                    <a:pt x="73" y="637"/>
                    <a:pt x="72" y="636"/>
                    <a:pt x="71" y="636"/>
                  </a:cubicBezTo>
                  <a:cubicBezTo>
                    <a:pt x="70" y="636"/>
                    <a:pt x="69" y="636"/>
                    <a:pt x="68" y="638"/>
                  </a:cubicBezTo>
                  <a:cubicBezTo>
                    <a:pt x="65" y="642"/>
                    <a:pt x="69" y="648"/>
                    <a:pt x="70" y="652"/>
                  </a:cubicBezTo>
                  <a:cubicBezTo>
                    <a:pt x="69" y="651"/>
                    <a:pt x="69" y="650"/>
                    <a:pt x="68" y="650"/>
                  </a:cubicBezTo>
                  <a:cubicBezTo>
                    <a:pt x="68" y="650"/>
                    <a:pt x="68" y="651"/>
                    <a:pt x="68" y="651"/>
                  </a:cubicBezTo>
                  <a:cubicBezTo>
                    <a:pt x="67" y="651"/>
                    <a:pt x="67" y="655"/>
                    <a:pt x="66" y="657"/>
                  </a:cubicBezTo>
                  <a:cubicBezTo>
                    <a:pt x="65" y="658"/>
                    <a:pt x="64" y="659"/>
                    <a:pt x="63" y="660"/>
                  </a:cubicBezTo>
                  <a:cubicBezTo>
                    <a:pt x="61" y="663"/>
                    <a:pt x="63" y="667"/>
                    <a:pt x="66" y="667"/>
                  </a:cubicBezTo>
                  <a:cubicBezTo>
                    <a:pt x="65" y="668"/>
                    <a:pt x="64" y="669"/>
                    <a:pt x="63" y="670"/>
                  </a:cubicBezTo>
                  <a:cubicBezTo>
                    <a:pt x="64" y="670"/>
                    <a:pt x="66" y="670"/>
                    <a:pt x="67" y="670"/>
                  </a:cubicBezTo>
                  <a:cubicBezTo>
                    <a:pt x="68" y="670"/>
                    <a:pt x="69" y="670"/>
                    <a:pt x="68" y="673"/>
                  </a:cubicBezTo>
                  <a:cubicBezTo>
                    <a:pt x="68" y="672"/>
                    <a:pt x="67" y="672"/>
                    <a:pt x="67" y="672"/>
                  </a:cubicBezTo>
                  <a:cubicBezTo>
                    <a:pt x="66" y="672"/>
                    <a:pt x="66" y="672"/>
                    <a:pt x="65" y="673"/>
                  </a:cubicBezTo>
                  <a:cubicBezTo>
                    <a:pt x="64" y="673"/>
                    <a:pt x="63" y="678"/>
                    <a:pt x="62" y="679"/>
                  </a:cubicBezTo>
                  <a:cubicBezTo>
                    <a:pt x="61" y="681"/>
                    <a:pt x="59" y="682"/>
                    <a:pt x="58" y="683"/>
                  </a:cubicBezTo>
                  <a:cubicBezTo>
                    <a:pt x="59" y="684"/>
                    <a:pt x="60" y="685"/>
                    <a:pt x="62" y="686"/>
                  </a:cubicBezTo>
                  <a:cubicBezTo>
                    <a:pt x="63" y="686"/>
                    <a:pt x="64" y="686"/>
                    <a:pt x="65" y="687"/>
                  </a:cubicBezTo>
                  <a:cubicBezTo>
                    <a:pt x="67" y="689"/>
                    <a:pt x="69" y="693"/>
                    <a:pt x="73" y="693"/>
                  </a:cubicBezTo>
                  <a:cubicBezTo>
                    <a:pt x="73" y="693"/>
                    <a:pt x="73" y="692"/>
                    <a:pt x="73" y="692"/>
                  </a:cubicBezTo>
                  <a:cubicBezTo>
                    <a:pt x="71" y="693"/>
                    <a:pt x="72" y="696"/>
                    <a:pt x="71" y="697"/>
                  </a:cubicBezTo>
                  <a:cubicBezTo>
                    <a:pt x="70" y="700"/>
                    <a:pt x="71" y="699"/>
                    <a:pt x="69" y="700"/>
                  </a:cubicBezTo>
                  <a:cubicBezTo>
                    <a:pt x="68" y="701"/>
                    <a:pt x="66" y="702"/>
                    <a:pt x="65" y="703"/>
                  </a:cubicBezTo>
                  <a:cubicBezTo>
                    <a:pt x="63" y="703"/>
                    <a:pt x="62" y="704"/>
                    <a:pt x="61" y="705"/>
                  </a:cubicBezTo>
                  <a:cubicBezTo>
                    <a:pt x="60" y="705"/>
                    <a:pt x="59" y="705"/>
                    <a:pt x="58" y="706"/>
                  </a:cubicBezTo>
                  <a:cubicBezTo>
                    <a:pt x="52" y="707"/>
                    <a:pt x="57" y="708"/>
                    <a:pt x="57" y="711"/>
                  </a:cubicBezTo>
                  <a:cubicBezTo>
                    <a:pt x="57" y="712"/>
                    <a:pt x="51" y="715"/>
                    <a:pt x="55" y="715"/>
                  </a:cubicBezTo>
                  <a:cubicBezTo>
                    <a:pt x="55" y="715"/>
                    <a:pt x="55" y="715"/>
                    <a:pt x="55" y="715"/>
                  </a:cubicBezTo>
                  <a:cubicBezTo>
                    <a:pt x="56" y="715"/>
                    <a:pt x="57" y="715"/>
                    <a:pt x="57" y="714"/>
                  </a:cubicBezTo>
                  <a:cubicBezTo>
                    <a:pt x="57" y="714"/>
                    <a:pt x="58" y="714"/>
                    <a:pt x="58" y="714"/>
                  </a:cubicBezTo>
                  <a:cubicBezTo>
                    <a:pt x="58" y="714"/>
                    <a:pt x="59" y="714"/>
                    <a:pt x="59" y="714"/>
                  </a:cubicBezTo>
                  <a:cubicBezTo>
                    <a:pt x="61" y="714"/>
                    <a:pt x="63" y="717"/>
                    <a:pt x="65" y="718"/>
                  </a:cubicBezTo>
                  <a:cubicBezTo>
                    <a:pt x="66" y="719"/>
                    <a:pt x="70" y="720"/>
                    <a:pt x="66" y="720"/>
                  </a:cubicBezTo>
                  <a:cubicBezTo>
                    <a:pt x="66" y="720"/>
                    <a:pt x="66" y="720"/>
                    <a:pt x="66" y="720"/>
                  </a:cubicBezTo>
                  <a:cubicBezTo>
                    <a:pt x="65" y="720"/>
                    <a:pt x="64" y="719"/>
                    <a:pt x="63" y="719"/>
                  </a:cubicBezTo>
                  <a:cubicBezTo>
                    <a:pt x="62" y="718"/>
                    <a:pt x="60" y="715"/>
                    <a:pt x="58" y="715"/>
                  </a:cubicBezTo>
                  <a:cubicBezTo>
                    <a:pt x="57" y="715"/>
                    <a:pt x="57" y="716"/>
                    <a:pt x="57" y="718"/>
                  </a:cubicBezTo>
                  <a:cubicBezTo>
                    <a:pt x="56" y="717"/>
                    <a:pt x="56" y="717"/>
                    <a:pt x="56" y="717"/>
                  </a:cubicBezTo>
                  <a:cubicBezTo>
                    <a:pt x="54" y="721"/>
                    <a:pt x="52" y="725"/>
                    <a:pt x="51" y="729"/>
                  </a:cubicBezTo>
                  <a:cubicBezTo>
                    <a:pt x="52" y="728"/>
                    <a:pt x="53" y="726"/>
                    <a:pt x="54" y="726"/>
                  </a:cubicBezTo>
                  <a:cubicBezTo>
                    <a:pt x="55" y="725"/>
                    <a:pt x="56" y="725"/>
                    <a:pt x="56" y="725"/>
                  </a:cubicBezTo>
                  <a:cubicBezTo>
                    <a:pt x="57" y="725"/>
                    <a:pt x="58" y="726"/>
                    <a:pt x="60" y="726"/>
                  </a:cubicBezTo>
                  <a:cubicBezTo>
                    <a:pt x="58" y="727"/>
                    <a:pt x="56" y="726"/>
                    <a:pt x="54" y="727"/>
                  </a:cubicBezTo>
                  <a:cubicBezTo>
                    <a:pt x="53" y="728"/>
                    <a:pt x="53" y="729"/>
                    <a:pt x="52" y="730"/>
                  </a:cubicBezTo>
                  <a:cubicBezTo>
                    <a:pt x="52" y="732"/>
                    <a:pt x="50" y="734"/>
                    <a:pt x="49" y="736"/>
                  </a:cubicBezTo>
                  <a:cubicBezTo>
                    <a:pt x="49" y="737"/>
                    <a:pt x="47" y="744"/>
                    <a:pt x="48" y="745"/>
                  </a:cubicBezTo>
                  <a:cubicBezTo>
                    <a:pt x="48" y="745"/>
                    <a:pt x="48" y="745"/>
                    <a:pt x="49" y="745"/>
                  </a:cubicBezTo>
                  <a:cubicBezTo>
                    <a:pt x="49" y="745"/>
                    <a:pt x="50" y="742"/>
                    <a:pt x="50" y="742"/>
                  </a:cubicBezTo>
                  <a:cubicBezTo>
                    <a:pt x="50" y="742"/>
                    <a:pt x="51" y="742"/>
                    <a:pt x="51" y="742"/>
                  </a:cubicBezTo>
                  <a:cubicBezTo>
                    <a:pt x="52" y="742"/>
                    <a:pt x="52" y="744"/>
                    <a:pt x="52" y="745"/>
                  </a:cubicBezTo>
                  <a:cubicBezTo>
                    <a:pt x="52" y="746"/>
                    <a:pt x="48" y="749"/>
                    <a:pt x="47" y="751"/>
                  </a:cubicBezTo>
                  <a:cubicBezTo>
                    <a:pt x="47" y="751"/>
                    <a:pt x="47" y="751"/>
                    <a:pt x="47" y="751"/>
                  </a:cubicBezTo>
                  <a:cubicBezTo>
                    <a:pt x="46" y="751"/>
                    <a:pt x="46" y="751"/>
                    <a:pt x="45" y="752"/>
                  </a:cubicBezTo>
                  <a:cubicBezTo>
                    <a:pt x="45" y="752"/>
                    <a:pt x="44" y="753"/>
                    <a:pt x="43" y="753"/>
                  </a:cubicBezTo>
                  <a:cubicBezTo>
                    <a:pt x="43" y="753"/>
                    <a:pt x="43" y="753"/>
                    <a:pt x="42" y="752"/>
                  </a:cubicBezTo>
                  <a:cubicBezTo>
                    <a:pt x="40" y="751"/>
                    <a:pt x="45" y="748"/>
                    <a:pt x="46" y="746"/>
                  </a:cubicBezTo>
                  <a:cubicBezTo>
                    <a:pt x="47" y="743"/>
                    <a:pt x="46" y="740"/>
                    <a:pt x="43" y="740"/>
                  </a:cubicBezTo>
                  <a:cubicBezTo>
                    <a:pt x="42" y="740"/>
                    <a:pt x="41" y="741"/>
                    <a:pt x="41" y="742"/>
                  </a:cubicBezTo>
                  <a:cubicBezTo>
                    <a:pt x="42" y="742"/>
                    <a:pt x="43" y="744"/>
                    <a:pt x="44" y="745"/>
                  </a:cubicBezTo>
                  <a:cubicBezTo>
                    <a:pt x="43" y="745"/>
                    <a:pt x="42" y="744"/>
                    <a:pt x="41" y="744"/>
                  </a:cubicBezTo>
                  <a:cubicBezTo>
                    <a:pt x="40" y="744"/>
                    <a:pt x="40" y="744"/>
                    <a:pt x="40" y="745"/>
                  </a:cubicBezTo>
                  <a:cubicBezTo>
                    <a:pt x="40" y="744"/>
                    <a:pt x="40" y="742"/>
                    <a:pt x="40" y="741"/>
                  </a:cubicBezTo>
                  <a:cubicBezTo>
                    <a:pt x="38" y="742"/>
                    <a:pt x="36" y="743"/>
                    <a:pt x="34" y="743"/>
                  </a:cubicBezTo>
                  <a:cubicBezTo>
                    <a:pt x="32" y="743"/>
                    <a:pt x="31" y="742"/>
                    <a:pt x="30" y="740"/>
                  </a:cubicBezTo>
                  <a:cubicBezTo>
                    <a:pt x="31" y="742"/>
                    <a:pt x="32" y="742"/>
                    <a:pt x="34" y="742"/>
                  </a:cubicBezTo>
                  <a:cubicBezTo>
                    <a:pt x="35" y="742"/>
                    <a:pt x="36" y="742"/>
                    <a:pt x="37" y="742"/>
                  </a:cubicBezTo>
                  <a:cubicBezTo>
                    <a:pt x="38" y="741"/>
                    <a:pt x="43" y="739"/>
                    <a:pt x="42" y="737"/>
                  </a:cubicBezTo>
                  <a:cubicBezTo>
                    <a:pt x="42" y="737"/>
                    <a:pt x="41" y="736"/>
                    <a:pt x="41" y="736"/>
                  </a:cubicBezTo>
                  <a:cubicBezTo>
                    <a:pt x="40" y="736"/>
                    <a:pt x="39" y="739"/>
                    <a:pt x="38" y="739"/>
                  </a:cubicBezTo>
                  <a:cubicBezTo>
                    <a:pt x="39" y="738"/>
                    <a:pt x="40" y="735"/>
                    <a:pt x="40" y="734"/>
                  </a:cubicBezTo>
                  <a:cubicBezTo>
                    <a:pt x="40" y="733"/>
                    <a:pt x="39" y="733"/>
                    <a:pt x="38" y="733"/>
                  </a:cubicBezTo>
                  <a:cubicBezTo>
                    <a:pt x="38" y="733"/>
                    <a:pt x="38" y="733"/>
                    <a:pt x="38" y="733"/>
                  </a:cubicBezTo>
                  <a:cubicBezTo>
                    <a:pt x="38" y="732"/>
                    <a:pt x="39" y="731"/>
                    <a:pt x="38" y="730"/>
                  </a:cubicBezTo>
                  <a:cubicBezTo>
                    <a:pt x="38" y="730"/>
                    <a:pt x="37" y="730"/>
                    <a:pt x="37" y="730"/>
                  </a:cubicBezTo>
                  <a:cubicBezTo>
                    <a:pt x="36" y="730"/>
                    <a:pt x="35" y="730"/>
                    <a:pt x="34" y="730"/>
                  </a:cubicBezTo>
                  <a:cubicBezTo>
                    <a:pt x="34" y="730"/>
                    <a:pt x="34" y="730"/>
                    <a:pt x="34" y="730"/>
                  </a:cubicBezTo>
                  <a:cubicBezTo>
                    <a:pt x="33" y="730"/>
                    <a:pt x="33" y="730"/>
                    <a:pt x="33" y="730"/>
                  </a:cubicBezTo>
                  <a:cubicBezTo>
                    <a:pt x="32" y="730"/>
                    <a:pt x="32" y="730"/>
                    <a:pt x="32" y="730"/>
                  </a:cubicBezTo>
                  <a:cubicBezTo>
                    <a:pt x="31" y="730"/>
                    <a:pt x="30" y="731"/>
                    <a:pt x="30" y="733"/>
                  </a:cubicBezTo>
                  <a:cubicBezTo>
                    <a:pt x="30" y="733"/>
                    <a:pt x="30" y="733"/>
                    <a:pt x="30" y="733"/>
                  </a:cubicBezTo>
                  <a:cubicBezTo>
                    <a:pt x="29" y="733"/>
                    <a:pt x="29" y="733"/>
                    <a:pt x="28" y="732"/>
                  </a:cubicBezTo>
                  <a:cubicBezTo>
                    <a:pt x="28" y="731"/>
                    <a:pt x="28" y="731"/>
                    <a:pt x="27" y="731"/>
                  </a:cubicBezTo>
                  <a:cubicBezTo>
                    <a:pt x="26" y="731"/>
                    <a:pt x="25" y="731"/>
                    <a:pt x="24" y="732"/>
                  </a:cubicBezTo>
                  <a:cubicBezTo>
                    <a:pt x="25" y="731"/>
                    <a:pt x="25" y="730"/>
                    <a:pt x="24" y="730"/>
                  </a:cubicBezTo>
                  <a:cubicBezTo>
                    <a:pt x="22" y="730"/>
                    <a:pt x="20" y="732"/>
                    <a:pt x="19" y="732"/>
                  </a:cubicBezTo>
                  <a:cubicBezTo>
                    <a:pt x="19" y="732"/>
                    <a:pt x="20" y="733"/>
                    <a:pt x="21" y="733"/>
                  </a:cubicBezTo>
                  <a:cubicBezTo>
                    <a:pt x="19" y="733"/>
                    <a:pt x="18" y="732"/>
                    <a:pt x="17" y="732"/>
                  </a:cubicBezTo>
                  <a:cubicBezTo>
                    <a:pt x="16" y="732"/>
                    <a:pt x="16" y="732"/>
                    <a:pt x="15" y="732"/>
                  </a:cubicBezTo>
                  <a:cubicBezTo>
                    <a:pt x="17" y="736"/>
                    <a:pt x="17" y="734"/>
                    <a:pt x="21" y="736"/>
                  </a:cubicBezTo>
                  <a:cubicBezTo>
                    <a:pt x="19" y="736"/>
                    <a:pt x="13" y="737"/>
                    <a:pt x="17" y="739"/>
                  </a:cubicBezTo>
                  <a:cubicBezTo>
                    <a:pt x="18" y="739"/>
                    <a:pt x="18" y="739"/>
                    <a:pt x="18" y="739"/>
                  </a:cubicBezTo>
                  <a:cubicBezTo>
                    <a:pt x="21" y="739"/>
                    <a:pt x="22" y="734"/>
                    <a:pt x="24" y="733"/>
                  </a:cubicBezTo>
                  <a:cubicBezTo>
                    <a:pt x="24" y="736"/>
                    <a:pt x="24" y="739"/>
                    <a:pt x="23" y="742"/>
                  </a:cubicBezTo>
                  <a:cubicBezTo>
                    <a:pt x="22" y="741"/>
                    <a:pt x="22" y="741"/>
                    <a:pt x="22" y="741"/>
                  </a:cubicBezTo>
                  <a:cubicBezTo>
                    <a:pt x="21" y="741"/>
                    <a:pt x="20" y="743"/>
                    <a:pt x="18" y="743"/>
                  </a:cubicBezTo>
                  <a:cubicBezTo>
                    <a:pt x="18" y="743"/>
                    <a:pt x="18" y="743"/>
                    <a:pt x="18" y="743"/>
                  </a:cubicBezTo>
                  <a:cubicBezTo>
                    <a:pt x="18" y="743"/>
                    <a:pt x="17" y="743"/>
                    <a:pt x="17" y="743"/>
                  </a:cubicBezTo>
                  <a:cubicBezTo>
                    <a:pt x="17" y="743"/>
                    <a:pt x="16" y="743"/>
                    <a:pt x="16" y="743"/>
                  </a:cubicBezTo>
                  <a:cubicBezTo>
                    <a:pt x="16" y="743"/>
                    <a:pt x="15" y="743"/>
                    <a:pt x="15" y="743"/>
                  </a:cubicBezTo>
                  <a:cubicBezTo>
                    <a:pt x="14" y="745"/>
                    <a:pt x="16" y="745"/>
                    <a:pt x="17" y="746"/>
                  </a:cubicBezTo>
                  <a:cubicBezTo>
                    <a:pt x="16" y="746"/>
                    <a:pt x="16" y="745"/>
                    <a:pt x="15" y="745"/>
                  </a:cubicBezTo>
                  <a:cubicBezTo>
                    <a:pt x="14" y="745"/>
                    <a:pt x="14" y="746"/>
                    <a:pt x="13" y="747"/>
                  </a:cubicBezTo>
                  <a:cubicBezTo>
                    <a:pt x="13" y="747"/>
                    <a:pt x="13" y="747"/>
                    <a:pt x="13" y="747"/>
                  </a:cubicBezTo>
                  <a:cubicBezTo>
                    <a:pt x="13" y="747"/>
                    <a:pt x="12" y="747"/>
                    <a:pt x="12" y="746"/>
                  </a:cubicBezTo>
                  <a:cubicBezTo>
                    <a:pt x="12" y="746"/>
                    <a:pt x="12" y="746"/>
                    <a:pt x="12" y="746"/>
                  </a:cubicBezTo>
                  <a:cubicBezTo>
                    <a:pt x="12" y="746"/>
                    <a:pt x="12" y="746"/>
                    <a:pt x="12" y="746"/>
                  </a:cubicBezTo>
                  <a:cubicBezTo>
                    <a:pt x="11" y="747"/>
                    <a:pt x="10" y="748"/>
                    <a:pt x="9" y="749"/>
                  </a:cubicBezTo>
                  <a:cubicBezTo>
                    <a:pt x="7" y="752"/>
                    <a:pt x="0" y="752"/>
                    <a:pt x="1" y="758"/>
                  </a:cubicBezTo>
                  <a:cubicBezTo>
                    <a:pt x="2" y="759"/>
                    <a:pt x="3" y="761"/>
                    <a:pt x="4" y="762"/>
                  </a:cubicBezTo>
                  <a:cubicBezTo>
                    <a:pt x="5" y="762"/>
                    <a:pt x="5" y="762"/>
                    <a:pt x="6" y="762"/>
                  </a:cubicBezTo>
                  <a:cubicBezTo>
                    <a:pt x="8" y="762"/>
                    <a:pt x="11" y="760"/>
                    <a:pt x="8" y="760"/>
                  </a:cubicBezTo>
                  <a:cubicBezTo>
                    <a:pt x="10" y="758"/>
                    <a:pt x="8" y="759"/>
                    <a:pt x="8" y="758"/>
                  </a:cubicBezTo>
                  <a:cubicBezTo>
                    <a:pt x="7" y="757"/>
                    <a:pt x="9" y="757"/>
                    <a:pt x="7" y="756"/>
                  </a:cubicBezTo>
                  <a:cubicBezTo>
                    <a:pt x="7" y="756"/>
                    <a:pt x="7" y="756"/>
                    <a:pt x="7" y="756"/>
                  </a:cubicBezTo>
                  <a:cubicBezTo>
                    <a:pt x="6" y="756"/>
                    <a:pt x="4" y="757"/>
                    <a:pt x="3" y="757"/>
                  </a:cubicBezTo>
                  <a:cubicBezTo>
                    <a:pt x="4" y="756"/>
                    <a:pt x="6" y="755"/>
                    <a:pt x="8" y="754"/>
                  </a:cubicBezTo>
                  <a:cubicBezTo>
                    <a:pt x="8" y="754"/>
                    <a:pt x="8" y="754"/>
                    <a:pt x="8" y="754"/>
                  </a:cubicBezTo>
                  <a:cubicBezTo>
                    <a:pt x="9" y="754"/>
                    <a:pt x="9" y="754"/>
                    <a:pt x="9" y="754"/>
                  </a:cubicBezTo>
                  <a:cubicBezTo>
                    <a:pt x="9" y="754"/>
                    <a:pt x="10" y="754"/>
                    <a:pt x="10" y="754"/>
                  </a:cubicBezTo>
                  <a:cubicBezTo>
                    <a:pt x="11" y="754"/>
                    <a:pt x="12" y="754"/>
                    <a:pt x="13" y="753"/>
                  </a:cubicBezTo>
                  <a:cubicBezTo>
                    <a:pt x="13" y="753"/>
                    <a:pt x="13" y="753"/>
                    <a:pt x="14" y="753"/>
                  </a:cubicBezTo>
                  <a:cubicBezTo>
                    <a:pt x="15" y="753"/>
                    <a:pt x="16" y="752"/>
                    <a:pt x="17" y="751"/>
                  </a:cubicBezTo>
                  <a:cubicBezTo>
                    <a:pt x="16" y="755"/>
                    <a:pt x="17" y="758"/>
                    <a:pt x="21" y="759"/>
                  </a:cubicBezTo>
                  <a:cubicBezTo>
                    <a:pt x="21" y="759"/>
                    <a:pt x="21" y="759"/>
                    <a:pt x="21" y="759"/>
                  </a:cubicBezTo>
                  <a:cubicBezTo>
                    <a:pt x="21" y="759"/>
                    <a:pt x="21" y="759"/>
                    <a:pt x="21" y="759"/>
                  </a:cubicBezTo>
                  <a:cubicBezTo>
                    <a:pt x="22" y="758"/>
                    <a:pt x="22" y="758"/>
                    <a:pt x="22" y="758"/>
                  </a:cubicBezTo>
                  <a:cubicBezTo>
                    <a:pt x="22" y="758"/>
                    <a:pt x="22" y="758"/>
                    <a:pt x="22" y="758"/>
                  </a:cubicBezTo>
                  <a:cubicBezTo>
                    <a:pt x="22" y="758"/>
                    <a:pt x="22" y="759"/>
                    <a:pt x="23" y="759"/>
                  </a:cubicBezTo>
                  <a:cubicBezTo>
                    <a:pt x="24" y="759"/>
                    <a:pt x="24" y="760"/>
                    <a:pt x="25" y="760"/>
                  </a:cubicBezTo>
                  <a:cubicBezTo>
                    <a:pt x="25" y="761"/>
                    <a:pt x="27" y="761"/>
                    <a:pt x="28" y="761"/>
                  </a:cubicBezTo>
                  <a:cubicBezTo>
                    <a:pt x="29" y="761"/>
                    <a:pt x="30" y="761"/>
                    <a:pt x="31" y="760"/>
                  </a:cubicBezTo>
                  <a:cubicBezTo>
                    <a:pt x="31" y="760"/>
                    <a:pt x="31" y="760"/>
                    <a:pt x="30" y="760"/>
                  </a:cubicBezTo>
                  <a:cubicBezTo>
                    <a:pt x="29" y="760"/>
                    <a:pt x="27" y="759"/>
                    <a:pt x="26" y="758"/>
                  </a:cubicBezTo>
                  <a:cubicBezTo>
                    <a:pt x="27" y="758"/>
                    <a:pt x="27" y="758"/>
                    <a:pt x="27" y="758"/>
                  </a:cubicBezTo>
                  <a:cubicBezTo>
                    <a:pt x="28" y="758"/>
                    <a:pt x="29" y="758"/>
                    <a:pt x="30" y="758"/>
                  </a:cubicBezTo>
                  <a:cubicBezTo>
                    <a:pt x="29" y="758"/>
                    <a:pt x="28" y="757"/>
                    <a:pt x="28" y="757"/>
                  </a:cubicBezTo>
                  <a:cubicBezTo>
                    <a:pt x="30" y="758"/>
                    <a:pt x="33" y="757"/>
                    <a:pt x="34" y="759"/>
                  </a:cubicBezTo>
                  <a:cubicBezTo>
                    <a:pt x="35" y="759"/>
                    <a:pt x="35" y="760"/>
                    <a:pt x="35" y="761"/>
                  </a:cubicBezTo>
                  <a:cubicBezTo>
                    <a:pt x="37" y="763"/>
                    <a:pt x="39" y="764"/>
                    <a:pt x="41" y="765"/>
                  </a:cubicBezTo>
                  <a:cubicBezTo>
                    <a:pt x="43" y="766"/>
                    <a:pt x="42" y="770"/>
                    <a:pt x="42" y="772"/>
                  </a:cubicBezTo>
                  <a:cubicBezTo>
                    <a:pt x="41" y="771"/>
                    <a:pt x="41" y="771"/>
                    <a:pt x="41" y="770"/>
                  </a:cubicBezTo>
                  <a:cubicBezTo>
                    <a:pt x="40" y="771"/>
                    <a:pt x="39" y="773"/>
                    <a:pt x="38" y="775"/>
                  </a:cubicBezTo>
                  <a:cubicBezTo>
                    <a:pt x="37" y="773"/>
                    <a:pt x="38" y="771"/>
                    <a:pt x="36" y="771"/>
                  </a:cubicBezTo>
                  <a:cubicBezTo>
                    <a:pt x="36" y="771"/>
                    <a:pt x="36" y="771"/>
                    <a:pt x="36" y="771"/>
                  </a:cubicBezTo>
                  <a:cubicBezTo>
                    <a:pt x="34" y="771"/>
                    <a:pt x="30" y="775"/>
                    <a:pt x="29" y="777"/>
                  </a:cubicBezTo>
                  <a:cubicBezTo>
                    <a:pt x="29" y="778"/>
                    <a:pt x="29" y="778"/>
                    <a:pt x="29" y="778"/>
                  </a:cubicBezTo>
                  <a:cubicBezTo>
                    <a:pt x="29" y="778"/>
                    <a:pt x="30" y="778"/>
                    <a:pt x="30" y="777"/>
                  </a:cubicBezTo>
                  <a:cubicBezTo>
                    <a:pt x="30" y="779"/>
                    <a:pt x="31" y="779"/>
                    <a:pt x="32" y="780"/>
                  </a:cubicBezTo>
                  <a:cubicBezTo>
                    <a:pt x="33" y="782"/>
                    <a:pt x="33" y="782"/>
                    <a:pt x="33" y="782"/>
                  </a:cubicBezTo>
                  <a:cubicBezTo>
                    <a:pt x="34" y="782"/>
                    <a:pt x="34" y="782"/>
                    <a:pt x="35" y="782"/>
                  </a:cubicBezTo>
                  <a:cubicBezTo>
                    <a:pt x="35" y="782"/>
                    <a:pt x="36" y="782"/>
                    <a:pt x="36" y="782"/>
                  </a:cubicBezTo>
                  <a:cubicBezTo>
                    <a:pt x="36" y="782"/>
                    <a:pt x="36" y="782"/>
                    <a:pt x="37" y="782"/>
                  </a:cubicBezTo>
                  <a:cubicBezTo>
                    <a:pt x="38" y="782"/>
                    <a:pt x="39" y="782"/>
                    <a:pt x="40" y="783"/>
                  </a:cubicBezTo>
                  <a:cubicBezTo>
                    <a:pt x="39" y="783"/>
                    <a:pt x="39" y="783"/>
                    <a:pt x="39" y="783"/>
                  </a:cubicBezTo>
                  <a:cubicBezTo>
                    <a:pt x="38" y="783"/>
                    <a:pt x="38" y="783"/>
                    <a:pt x="38" y="783"/>
                  </a:cubicBezTo>
                  <a:cubicBezTo>
                    <a:pt x="38" y="783"/>
                    <a:pt x="38" y="783"/>
                    <a:pt x="37" y="783"/>
                  </a:cubicBezTo>
                  <a:cubicBezTo>
                    <a:pt x="37" y="783"/>
                    <a:pt x="36" y="783"/>
                    <a:pt x="35" y="784"/>
                  </a:cubicBezTo>
                  <a:cubicBezTo>
                    <a:pt x="36" y="784"/>
                    <a:pt x="37" y="784"/>
                    <a:pt x="38" y="784"/>
                  </a:cubicBezTo>
                  <a:cubicBezTo>
                    <a:pt x="34" y="784"/>
                    <a:pt x="33" y="786"/>
                    <a:pt x="37" y="787"/>
                  </a:cubicBezTo>
                  <a:cubicBezTo>
                    <a:pt x="37" y="787"/>
                    <a:pt x="37" y="787"/>
                    <a:pt x="36" y="787"/>
                  </a:cubicBezTo>
                  <a:cubicBezTo>
                    <a:pt x="35" y="787"/>
                    <a:pt x="35" y="786"/>
                    <a:pt x="34" y="786"/>
                  </a:cubicBezTo>
                  <a:cubicBezTo>
                    <a:pt x="33" y="785"/>
                    <a:pt x="34" y="785"/>
                    <a:pt x="33" y="784"/>
                  </a:cubicBezTo>
                  <a:cubicBezTo>
                    <a:pt x="33" y="784"/>
                    <a:pt x="33" y="784"/>
                    <a:pt x="33" y="784"/>
                  </a:cubicBezTo>
                  <a:cubicBezTo>
                    <a:pt x="32" y="784"/>
                    <a:pt x="31" y="785"/>
                    <a:pt x="30" y="785"/>
                  </a:cubicBezTo>
                  <a:cubicBezTo>
                    <a:pt x="31" y="784"/>
                    <a:pt x="33" y="784"/>
                    <a:pt x="32" y="782"/>
                  </a:cubicBezTo>
                  <a:cubicBezTo>
                    <a:pt x="32" y="782"/>
                    <a:pt x="32" y="782"/>
                    <a:pt x="32" y="782"/>
                  </a:cubicBezTo>
                  <a:cubicBezTo>
                    <a:pt x="31" y="782"/>
                    <a:pt x="32" y="781"/>
                    <a:pt x="31" y="781"/>
                  </a:cubicBezTo>
                  <a:cubicBezTo>
                    <a:pt x="30" y="781"/>
                    <a:pt x="29" y="783"/>
                    <a:pt x="28" y="784"/>
                  </a:cubicBezTo>
                  <a:cubicBezTo>
                    <a:pt x="27" y="785"/>
                    <a:pt x="23" y="784"/>
                    <a:pt x="25" y="787"/>
                  </a:cubicBezTo>
                  <a:cubicBezTo>
                    <a:pt x="26" y="787"/>
                    <a:pt x="27" y="787"/>
                    <a:pt x="27" y="787"/>
                  </a:cubicBezTo>
                  <a:cubicBezTo>
                    <a:pt x="28" y="787"/>
                    <a:pt x="28" y="787"/>
                    <a:pt x="29" y="787"/>
                  </a:cubicBezTo>
                  <a:cubicBezTo>
                    <a:pt x="29" y="787"/>
                    <a:pt x="29" y="787"/>
                    <a:pt x="30" y="787"/>
                  </a:cubicBezTo>
                  <a:cubicBezTo>
                    <a:pt x="30" y="787"/>
                    <a:pt x="30" y="787"/>
                    <a:pt x="30" y="787"/>
                  </a:cubicBezTo>
                  <a:cubicBezTo>
                    <a:pt x="32" y="787"/>
                    <a:pt x="33" y="787"/>
                    <a:pt x="35" y="787"/>
                  </a:cubicBezTo>
                  <a:cubicBezTo>
                    <a:pt x="37" y="787"/>
                    <a:pt x="40" y="789"/>
                    <a:pt x="42" y="789"/>
                  </a:cubicBezTo>
                  <a:cubicBezTo>
                    <a:pt x="43" y="789"/>
                    <a:pt x="43" y="789"/>
                    <a:pt x="43" y="789"/>
                  </a:cubicBezTo>
                  <a:cubicBezTo>
                    <a:pt x="47" y="788"/>
                    <a:pt x="46" y="784"/>
                    <a:pt x="49" y="782"/>
                  </a:cubicBezTo>
                  <a:cubicBezTo>
                    <a:pt x="49" y="784"/>
                    <a:pt x="48" y="785"/>
                    <a:pt x="48" y="788"/>
                  </a:cubicBezTo>
                  <a:cubicBezTo>
                    <a:pt x="48" y="789"/>
                    <a:pt x="50" y="790"/>
                    <a:pt x="51" y="791"/>
                  </a:cubicBezTo>
                  <a:cubicBezTo>
                    <a:pt x="54" y="794"/>
                    <a:pt x="55" y="792"/>
                    <a:pt x="59" y="794"/>
                  </a:cubicBezTo>
                  <a:cubicBezTo>
                    <a:pt x="58" y="794"/>
                    <a:pt x="56" y="794"/>
                    <a:pt x="55" y="794"/>
                  </a:cubicBezTo>
                  <a:cubicBezTo>
                    <a:pt x="54" y="793"/>
                    <a:pt x="52" y="793"/>
                    <a:pt x="51" y="793"/>
                  </a:cubicBezTo>
                  <a:cubicBezTo>
                    <a:pt x="50" y="793"/>
                    <a:pt x="50" y="793"/>
                    <a:pt x="50" y="793"/>
                  </a:cubicBezTo>
                  <a:cubicBezTo>
                    <a:pt x="49" y="794"/>
                    <a:pt x="52" y="797"/>
                    <a:pt x="53" y="798"/>
                  </a:cubicBezTo>
                  <a:cubicBezTo>
                    <a:pt x="54" y="798"/>
                    <a:pt x="55" y="799"/>
                    <a:pt x="55" y="799"/>
                  </a:cubicBezTo>
                  <a:cubicBezTo>
                    <a:pt x="56" y="799"/>
                    <a:pt x="57" y="798"/>
                    <a:pt x="58" y="797"/>
                  </a:cubicBezTo>
                  <a:cubicBezTo>
                    <a:pt x="58" y="799"/>
                    <a:pt x="57" y="799"/>
                    <a:pt x="56" y="800"/>
                  </a:cubicBezTo>
                  <a:cubicBezTo>
                    <a:pt x="55" y="800"/>
                    <a:pt x="54" y="799"/>
                    <a:pt x="53" y="799"/>
                  </a:cubicBezTo>
                  <a:cubicBezTo>
                    <a:pt x="53" y="799"/>
                    <a:pt x="52" y="800"/>
                    <a:pt x="51" y="801"/>
                  </a:cubicBezTo>
                  <a:cubicBezTo>
                    <a:pt x="50" y="800"/>
                    <a:pt x="51" y="799"/>
                    <a:pt x="50" y="798"/>
                  </a:cubicBezTo>
                  <a:cubicBezTo>
                    <a:pt x="49" y="797"/>
                    <a:pt x="47" y="797"/>
                    <a:pt x="46" y="797"/>
                  </a:cubicBezTo>
                  <a:cubicBezTo>
                    <a:pt x="47" y="796"/>
                    <a:pt x="47" y="795"/>
                    <a:pt x="46" y="795"/>
                  </a:cubicBezTo>
                  <a:cubicBezTo>
                    <a:pt x="46" y="795"/>
                    <a:pt x="45" y="796"/>
                    <a:pt x="44" y="797"/>
                  </a:cubicBezTo>
                  <a:cubicBezTo>
                    <a:pt x="45" y="795"/>
                    <a:pt x="40" y="794"/>
                    <a:pt x="37" y="794"/>
                  </a:cubicBezTo>
                  <a:cubicBezTo>
                    <a:pt x="35" y="794"/>
                    <a:pt x="34" y="794"/>
                    <a:pt x="33" y="795"/>
                  </a:cubicBezTo>
                  <a:cubicBezTo>
                    <a:pt x="34" y="796"/>
                    <a:pt x="38" y="801"/>
                    <a:pt x="36" y="801"/>
                  </a:cubicBezTo>
                  <a:cubicBezTo>
                    <a:pt x="36" y="801"/>
                    <a:pt x="36" y="801"/>
                    <a:pt x="36" y="800"/>
                  </a:cubicBezTo>
                  <a:cubicBezTo>
                    <a:pt x="34" y="800"/>
                    <a:pt x="35" y="798"/>
                    <a:pt x="34" y="796"/>
                  </a:cubicBezTo>
                  <a:cubicBezTo>
                    <a:pt x="33" y="794"/>
                    <a:pt x="31" y="793"/>
                    <a:pt x="30" y="793"/>
                  </a:cubicBezTo>
                  <a:cubicBezTo>
                    <a:pt x="30" y="793"/>
                    <a:pt x="30" y="793"/>
                    <a:pt x="30" y="793"/>
                  </a:cubicBezTo>
                  <a:cubicBezTo>
                    <a:pt x="26" y="793"/>
                    <a:pt x="26" y="797"/>
                    <a:pt x="27" y="797"/>
                  </a:cubicBezTo>
                  <a:cubicBezTo>
                    <a:pt x="28" y="797"/>
                    <a:pt x="28" y="796"/>
                    <a:pt x="29" y="796"/>
                  </a:cubicBezTo>
                  <a:cubicBezTo>
                    <a:pt x="29" y="798"/>
                    <a:pt x="31" y="799"/>
                    <a:pt x="33" y="800"/>
                  </a:cubicBezTo>
                  <a:cubicBezTo>
                    <a:pt x="33" y="801"/>
                    <a:pt x="35" y="804"/>
                    <a:pt x="35" y="804"/>
                  </a:cubicBezTo>
                  <a:cubicBezTo>
                    <a:pt x="35" y="804"/>
                    <a:pt x="35" y="804"/>
                    <a:pt x="35" y="804"/>
                  </a:cubicBezTo>
                  <a:cubicBezTo>
                    <a:pt x="35" y="804"/>
                    <a:pt x="36" y="804"/>
                    <a:pt x="36" y="804"/>
                  </a:cubicBezTo>
                  <a:cubicBezTo>
                    <a:pt x="37" y="803"/>
                    <a:pt x="38" y="803"/>
                    <a:pt x="38" y="803"/>
                  </a:cubicBezTo>
                  <a:cubicBezTo>
                    <a:pt x="38" y="803"/>
                    <a:pt x="39" y="803"/>
                    <a:pt x="39" y="803"/>
                  </a:cubicBezTo>
                  <a:cubicBezTo>
                    <a:pt x="38" y="804"/>
                    <a:pt x="37" y="804"/>
                    <a:pt x="36" y="805"/>
                  </a:cubicBezTo>
                  <a:cubicBezTo>
                    <a:pt x="36" y="805"/>
                    <a:pt x="36" y="805"/>
                    <a:pt x="36" y="805"/>
                  </a:cubicBezTo>
                  <a:cubicBezTo>
                    <a:pt x="37" y="805"/>
                    <a:pt x="38" y="805"/>
                    <a:pt x="40" y="805"/>
                  </a:cubicBezTo>
                  <a:cubicBezTo>
                    <a:pt x="41" y="806"/>
                    <a:pt x="42" y="806"/>
                    <a:pt x="43" y="806"/>
                  </a:cubicBezTo>
                  <a:cubicBezTo>
                    <a:pt x="43" y="806"/>
                    <a:pt x="43" y="806"/>
                    <a:pt x="43" y="806"/>
                  </a:cubicBezTo>
                  <a:cubicBezTo>
                    <a:pt x="42" y="807"/>
                    <a:pt x="43" y="811"/>
                    <a:pt x="41" y="812"/>
                  </a:cubicBezTo>
                  <a:cubicBezTo>
                    <a:pt x="41" y="812"/>
                    <a:pt x="41" y="812"/>
                    <a:pt x="41" y="812"/>
                  </a:cubicBezTo>
                  <a:cubicBezTo>
                    <a:pt x="40" y="812"/>
                    <a:pt x="41" y="811"/>
                    <a:pt x="40" y="810"/>
                  </a:cubicBezTo>
                  <a:cubicBezTo>
                    <a:pt x="39" y="810"/>
                    <a:pt x="37" y="808"/>
                    <a:pt x="36" y="808"/>
                  </a:cubicBezTo>
                  <a:cubicBezTo>
                    <a:pt x="36" y="808"/>
                    <a:pt x="36" y="808"/>
                    <a:pt x="36" y="808"/>
                  </a:cubicBezTo>
                  <a:cubicBezTo>
                    <a:pt x="34" y="809"/>
                    <a:pt x="32" y="813"/>
                    <a:pt x="33" y="814"/>
                  </a:cubicBezTo>
                  <a:cubicBezTo>
                    <a:pt x="33" y="815"/>
                    <a:pt x="34" y="815"/>
                    <a:pt x="36" y="815"/>
                  </a:cubicBezTo>
                  <a:cubicBezTo>
                    <a:pt x="36" y="815"/>
                    <a:pt x="36" y="815"/>
                    <a:pt x="36" y="815"/>
                  </a:cubicBezTo>
                  <a:cubicBezTo>
                    <a:pt x="36" y="815"/>
                    <a:pt x="36" y="815"/>
                    <a:pt x="37" y="815"/>
                  </a:cubicBezTo>
                  <a:cubicBezTo>
                    <a:pt x="37" y="815"/>
                    <a:pt x="39" y="816"/>
                    <a:pt x="40" y="816"/>
                  </a:cubicBezTo>
                  <a:cubicBezTo>
                    <a:pt x="38" y="816"/>
                    <a:pt x="33" y="816"/>
                    <a:pt x="32" y="818"/>
                  </a:cubicBezTo>
                  <a:cubicBezTo>
                    <a:pt x="30" y="819"/>
                    <a:pt x="31" y="818"/>
                    <a:pt x="31" y="820"/>
                  </a:cubicBezTo>
                  <a:cubicBezTo>
                    <a:pt x="31" y="820"/>
                    <a:pt x="32" y="821"/>
                    <a:pt x="31" y="822"/>
                  </a:cubicBezTo>
                  <a:cubicBezTo>
                    <a:pt x="31" y="823"/>
                    <a:pt x="30" y="824"/>
                    <a:pt x="30" y="825"/>
                  </a:cubicBezTo>
                  <a:cubicBezTo>
                    <a:pt x="30" y="826"/>
                    <a:pt x="31" y="826"/>
                    <a:pt x="31" y="826"/>
                  </a:cubicBezTo>
                  <a:cubicBezTo>
                    <a:pt x="31" y="826"/>
                    <a:pt x="31" y="826"/>
                    <a:pt x="31" y="826"/>
                  </a:cubicBezTo>
                  <a:cubicBezTo>
                    <a:pt x="31" y="826"/>
                    <a:pt x="31" y="827"/>
                    <a:pt x="31" y="828"/>
                  </a:cubicBezTo>
                  <a:cubicBezTo>
                    <a:pt x="32" y="831"/>
                    <a:pt x="31" y="834"/>
                    <a:pt x="32" y="836"/>
                  </a:cubicBezTo>
                  <a:cubicBezTo>
                    <a:pt x="33" y="838"/>
                    <a:pt x="34" y="839"/>
                    <a:pt x="36" y="839"/>
                  </a:cubicBezTo>
                  <a:cubicBezTo>
                    <a:pt x="36" y="839"/>
                    <a:pt x="36" y="839"/>
                    <a:pt x="37" y="839"/>
                  </a:cubicBezTo>
                  <a:cubicBezTo>
                    <a:pt x="38" y="837"/>
                    <a:pt x="37" y="832"/>
                    <a:pt x="37" y="830"/>
                  </a:cubicBezTo>
                  <a:cubicBezTo>
                    <a:pt x="37" y="830"/>
                    <a:pt x="38" y="831"/>
                    <a:pt x="38" y="831"/>
                  </a:cubicBezTo>
                  <a:cubicBezTo>
                    <a:pt x="39" y="831"/>
                    <a:pt x="40" y="829"/>
                    <a:pt x="40" y="828"/>
                  </a:cubicBezTo>
                  <a:cubicBezTo>
                    <a:pt x="40" y="826"/>
                    <a:pt x="40" y="824"/>
                    <a:pt x="41" y="824"/>
                  </a:cubicBezTo>
                  <a:cubicBezTo>
                    <a:pt x="41" y="824"/>
                    <a:pt x="42" y="824"/>
                    <a:pt x="43" y="825"/>
                  </a:cubicBezTo>
                  <a:cubicBezTo>
                    <a:pt x="42" y="826"/>
                    <a:pt x="41" y="830"/>
                    <a:pt x="41" y="831"/>
                  </a:cubicBezTo>
                  <a:cubicBezTo>
                    <a:pt x="41" y="833"/>
                    <a:pt x="43" y="833"/>
                    <a:pt x="44" y="834"/>
                  </a:cubicBezTo>
                  <a:cubicBezTo>
                    <a:pt x="44" y="834"/>
                    <a:pt x="44" y="834"/>
                    <a:pt x="44" y="834"/>
                  </a:cubicBezTo>
                  <a:cubicBezTo>
                    <a:pt x="43" y="834"/>
                    <a:pt x="42" y="834"/>
                    <a:pt x="41" y="833"/>
                  </a:cubicBezTo>
                  <a:cubicBezTo>
                    <a:pt x="40" y="834"/>
                    <a:pt x="38" y="838"/>
                    <a:pt x="39" y="839"/>
                  </a:cubicBezTo>
                  <a:cubicBezTo>
                    <a:pt x="40" y="839"/>
                    <a:pt x="41" y="839"/>
                    <a:pt x="42" y="839"/>
                  </a:cubicBezTo>
                  <a:cubicBezTo>
                    <a:pt x="43" y="840"/>
                    <a:pt x="43" y="843"/>
                    <a:pt x="45" y="844"/>
                  </a:cubicBezTo>
                  <a:cubicBezTo>
                    <a:pt x="46" y="844"/>
                    <a:pt x="49" y="846"/>
                    <a:pt x="47" y="847"/>
                  </a:cubicBezTo>
                  <a:cubicBezTo>
                    <a:pt x="47" y="845"/>
                    <a:pt x="45" y="845"/>
                    <a:pt x="44" y="844"/>
                  </a:cubicBezTo>
                  <a:cubicBezTo>
                    <a:pt x="43" y="843"/>
                    <a:pt x="42" y="840"/>
                    <a:pt x="41" y="840"/>
                  </a:cubicBezTo>
                  <a:cubicBezTo>
                    <a:pt x="41" y="840"/>
                    <a:pt x="41" y="841"/>
                    <a:pt x="41" y="842"/>
                  </a:cubicBezTo>
                  <a:cubicBezTo>
                    <a:pt x="41" y="841"/>
                    <a:pt x="40" y="840"/>
                    <a:pt x="39" y="840"/>
                  </a:cubicBezTo>
                  <a:cubicBezTo>
                    <a:pt x="37" y="840"/>
                    <a:pt x="34" y="842"/>
                    <a:pt x="34" y="843"/>
                  </a:cubicBezTo>
                  <a:cubicBezTo>
                    <a:pt x="33" y="845"/>
                    <a:pt x="34" y="846"/>
                    <a:pt x="35" y="846"/>
                  </a:cubicBezTo>
                  <a:cubicBezTo>
                    <a:pt x="35" y="846"/>
                    <a:pt x="36" y="846"/>
                    <a:pt x="36" y="846"/>
                  </a:cubicBezTo>
                  <a:cubicBezTo>
                    <a:pt x="37" y="846"/>
                    <a:pt x="37" y="846"/>
                    <a:pt x="38" y="846"/>
                  </a:cubicBezTo>
                  <a:cubicBezTo>
                    <a:pt x="38" y="846"/>
                    <a:pt x="39" y="846"/>
                    <a:pt x="39" y="846"/>
                  </a:cubicBezTo>
                  <a:cubicBezTo>
                    <a:pt x="36" y="846"/>
                    <a:pt x="31" y="848"/>
                    <a:pt x="35" y="851"/>
                  </a:cubicBezTo>
                  <a:cubicBezTo>
                    <a:pt x="36" y="851"/>
                    <a:pt x="37" y="851"/>
                    <a:pt x="38" y="851"/>
                  </a:cubicBezTo>
                  <a:cubicBezTo>
                    <a:pt x="38" y="852"/>
                    <a:pt x="38" y="853"/>
                    <a:pt x="39" y="853"/>
                  </a:cubicBezTo>
                  <a:cubicBezTo>
                    <a:pt x="39" y="853"/>
                    <a:pt x="39" y="853"/>
                    <a:pt x="39" y="853"/>
                  </a:cubicBezTo>
                  <a:cubicBezTo>
                    <a:pt x="40" y="853"/>
                    <a:pt x="41" y="852"/>
                    <a:pt x="41" y="852"/>
                  </a:cubicBezTo>
                  <a:cubicBezTo>
                    <a:pt x="41" y="852"/>
                    <a:pt x="42" y="851"/>
                    <a:pt x="42" y="851"/>
                  </a:cubicBezTo>
                  <a:cubicBezTo>
                    <a:pt x="43" y="851"/>
                    <a:pt x="43" y="851"/>
                    <a:pt x="43" y="851"/>
                  </a:cubicBezTo>
                  <a:cubicBezTo>
                    <a:pt x="42" y="853"/>
                    <a:pt x="40" y="854"/>
                    <a:pt x="42" y="855"/>
                  </a:cubicBezTo>
                  <a:cubicBezTo>
                    <a:pt x="42" y="855"/>
                    <a:pt x="41" y="855"/>
                    <a:pt x="41" y="855"/>
                  </a:cubicBezTo>
                  <a:cubicBezTo>
                    <a:pt x="40" y="855"/>
                    <a:pt x="38" y="854"/>
                    <a:pt x="37" y="854"/>
                  </a:cubicBezTo>
                  <a:cubicBezTo>
                    <a:pt x="36" y="853"/>
                    <a:pt x="36" y="852"/>
                    <a:pt x="35" y="852"/>
                  </a:cubicBezTo>
                  <a:cubicBezTo>
                    <a:pt x="35" y="852"/>
                    <a:pt x="35" y="852"/>
                    <a:pt x="35" y="852"/>
                  </a:cubicBezTo>
                  <a:cubicBezTo>
                    <a:pt x="32" y="852"/>
                    <a:pt x="33" y="854"/>
                    <a:pt x="34" y="855"/>
                  </a:cubicBezTo>
                  <a:cubicBezTo>
                    <a:pt x="34" y="856"/>
                    <a:pt x="35" y="856"/>
                    <a:pt x="36" y="857"/>
                  </a:cubicBezTo>
                  <a:cubicBezTo>
                    <a:pt x="37" y="859"/>
                    <a:pt x="36" y="859"/>
                    <a:pt x="38" y="860"/>
                  </a:cubicBezTo>
                  <a:cubicBezTo>
                    <a:pt x="38" y="860"/>
                    <a:pt x="40" y="861"/>
                    <a:pt x="40" y="861"/>
                  </a:cubicBezTo>
                  <a:cubicBezTo>
                    <a:pt x="41" y="861"/>
                    <a:pt x="43" y="862"/>
                    <a:pt x="44" y="863"/>
                  </a:cubicBezTo>
                  <a:cubicBezTo>
                    <a:pt x="44" y="863"/>
                    <a:pt x="44" y="863"/>
                    <a:pt x="44" y="863"/>
                  </a:cubicBezTo>
                  <a:cubicBezTo>
                    <a:pt x="42" y="863"/>
                    <a:pt x="41" y="861"/>
                    <a:pt x="39" y="861"/>
                  </a:cubicBezTo>
                  <a:cubicBezTo>
                    <a:pt x="39" y="861"/>
                    <a:pt x="38" y="861"/>
                    <a:pt x="38" y="861"/>
                  </a:cubicBezTo>
                  <a:cubicBezTo>
                    <a:pt x="38" y="861"/>
                    <a:pt x="38" y="861"/>
                    <a:pt x="37" y="861"/>
                  </a:cubicBezTo>
                  <a:cubicBezTo>
                    <a:pt x="37" y="861"/>
                    <a:pt x="37" y="861"/>
                    <a:pt x="37" y="861"/>
                  </a:cubicBezTo>
                  <a:cubicBezTo>
                    <a:pt x="37" y="861"/>
                    <a:pt x="37" y="861"/>
                    <a:pt x="36" y="860"/>
                  </a:cubicBezTo>
                  <a:cubicBezTo>
                    <a:pt x="35" y="859"/>
                    <a:pt x="34" y="857"/>
                    <a:pt x="32" y="857"/>
                  </a:cubicBezTo>
                  <a:cubicBezTo>
                    <a:pt x="32" y="856"/>
                    <a:pt x="32" y="856"/>
                    <a:pt x="32" y="856"/>
                  </a:cubicBezTo>
                  <a:cubicBezTo>
                    <a:pt x="31" y="856"/>
                    <a:pt x="31" y="857"/>
                    <a:pt x="30" y="857"/>
                  </a:cubicBezTo>
                  <a:cubicBezTo>
                    <a:pt x="30" y="857"/>
                    <a:pt x="29" y="858"/>
                    <a:pt x="29" y="858"/>
                  </a:cubicBezTo>
                  <a:cubicBezTo>
                    <a:pt x="29" y="858"/>
                    <a:pt x="29" y="858"/>
                    <a:pt x="29" y="857"/>
                  </a:cubicBezTo>
                  <a:cubicBezTo>
                    <a:pt x="27" y="858"/>
                    <a:pt x="26" y="859"/>
                    <a:pt x="25" y="860"/>
                  </a:cubicBezTo>
                  <a:cubicBezTo>
                    <a:pt x="27" y="861"/>
                    <a:pt x="27" y="862"/>
                    <a:pt x="29" y="863"/>
                  </a:cubicBezTo>
                  <a:cubicBezTo>
                    <a:pt x="30" y="864"/>
                    <a:pt x="31" y="865"/>
                    <a:pt x="32" y="865"/>
                  </a:cubicBezTo>
                  <a:cubicBezTo>
                    <a:pt x="32" y="865"/>
                    <a:pt x="33" y="865"/>
                    <a:pt x="33" y="865"/>
                  </a:cubicBezTo>
                  <a:cubicBezTo>
                    <a:pt x="33" y="866"/>
                    <a:pt x="34" y="867"/>
                    <a:pt x="35" y="867"/>
                  </a:cubicBezTo>
                  <a:cubicBezTo>
                    <a:pt x="36" y="867"/>
                    <a:pt x="38" y="866"/>
                    <a:pt x="39" y="866"/>
                  </a:cubicBezTo>
                  <a:cubicBezTo>
                    <a:pt x="36" y="868"/>
                    <a:pt x="40" y="868"/>
                    <a:pt x="40" y="868"/>
                  </a:cubicBezTo>
                  <a:cubicBezTo>
                    <a:pt x="42" y="869"/>
                    <a:pt x="42" y="870"/>
                    <a:pt x="44" y="871"/>
                  </a:cubicBezTo>
                  <a:cubicBezTo>
                    <a:pt x="42" y="870"/>
                    <a:pt x="40" y="870"/>
                    <a:pt x="39" y="869"/>
                  </a:cubicBezTo>
                  <a:cubicBezTo>
                    <a:pt x="39" y="871"/>
                    <a:pt x="39" y="871"/>
                    <a:pt x="38" y="871"/>
                  </a:cubicBezTo>
                  <a:cubicBezTo>
                    <a:pt x="38" y="871"/>
                    <a:pt x="36" y="869"/>
                    <a:pt x="34" y="869"/>
                  </a:cubicBezTo>
                  <a:cubicBezTo>
                    <a:pt x="36" y="872"/>
                    <a:pt x="38" y="879"/>
                    <a:pt x="41" y="879"/>
                  </a:cubicBezTo>
                  <a:cubicBezTo>
                    <a:pt x="42" y="879"/>
                    <a:pt x="43" y="879"/>
                    <a:pt x="43" y="878"/>
                  </a:cubicBezTo>
                  <a:cubicBezTo>
                    <a:pt x="46" y="876"/>
                    <a:pt x="45" y="874"/>
                    <a:pt x="46" y="872"/>
                  </a:cubicBezTo>
                  <a:cubicBezTo>
                    <a:pt x="47" y="869"/>
                    <a:pt x="49" y="869"/>
                    <a:pt x="51" y="866"/>
                  </a:cubicBezTo>
                  <a:cubicBezTo>
                    <a:pt x="51" y="868"/>
                    <a:pt x="48" y="871"/>
                    <a:pt x="48" y="871"/>
                  </a:cubicBezTo>
                  <a:cubicBezTo>
                    <a:pt x="48" y="873"/>
                    <a:pt x="52" y="874"/>
                    <a:pt x="53" y="874"/>
                  </a:cubicBezTo>
                  <a:cubicBezTo>
                    <a:pt x="53" y="875"/>
                    <a:pt x="52" y="875"/>
                    <a:pt x="52" y="875"/>
                  </a:cubicBezTo>
                  <a:cubicBezTo>
                    <a:pt x="51" y="875"/>
                    <a:pt x="51" y="875"/>
                    <a:pt x="50" y="874"/>
                  </a:cubicBezTo>
                  <a:cubicBezTo>
                    <a:pt x="50" y="874"/>
                    <a:pt x="50" y="874"/>
                    <a:pt x="49" y="874"/>
                  </a:cubicBezTo>
                  <a:cubicBezTo>
                    <a:pt x="49" y="874"/>
                    <a:pt x="48" y="874"/>
                    <a:pt x="47" y="875"/>
                  </a:cubicBezTo>
                  <a:cubicBezTo>
                    <a:pt x="47" y="876"/>
                    <a:pt x="47" y="883"/>
                    <a:pt x="45" y="883"/>
                  </a:cubicBezTo>
                  <a:cubicBezTo>
                    <a:pt x="45" y="883"/>
                    <a:pt x="45" y="883"/>
                    <a:pt x="45" y="883"/>
                  </a:cubicBezTo>
                  <a:cubicBezTo>
                    <a:pt x="45" y="883"/>
                    <a:pt x="44" y="881"/>
                    <a:pt x="43" y="880"/>
                  </a:cubicBezTo>
                  <a:cubicBezTo>
                    <a:pt x="44" y="881"/>
                    <a:pt x="40" y="881"/>
                    <a:pt x="40" y="881"/>
                  </a:cubicBezTo>
                  <a:cubicBezTo>
                    <a:pt x="38" y="881"/>
                    <a:pt x="36" y="883"/>
                    <a:pt x="36" y="886"/>
                  </a:cubicBezTo>
                  <a:cubicBezTo>
                    <a:pt x="36" y="887"/>
                    <a:pt x="38" y="890"/>
                    <a:pt x="39" y="891"/>
                  </a:cubicBezTo>
                  <a:cubicBezTo>
                    <a:pt x="39" y="891"/>
                    <a:pt x="39" y="891"/>
                    <a:pt x="40" y="891"/>
                  </a:cubicBezTo>
                  <a:cubicBezTo>
                    <a:pt x="41" y="891"/>
                    <a:pt x="40" y="889"/>
                    <a:pt x="41" y="888"/>
                  </a:cubicBezTo>
                  <a:cubicBezTo>
                    <a:pt x="41" y="889"/>
                    <a:pt x="42" y="891"/>
                    <a:pt x="43" y="892"/>
                  </a:cubicBezTo>
                  <a:cubicBezTo>
                    <a:pt x="43" y="892"/>
                    <a:pt x="43" y="892"/>
                    <a:pt x="43" y="892"/>
                  </a:cubicBezTo>
                  <a:cubicBezTo>
                    <a:pt x="44" y="892"/>
                    <a:pt x="45" y="891"/>
                    <a:pt x="45" y="891"/>
                  </a:cubicBezTo>
                  <a:cubicBezTo>
                    <a:pt x="46" y="890"/>
                    <a:pt x="46" y="890"/>
                    <a:pt x="47" y="890"/>
                  </a:cubicBezTo>
                  <a:cubicBezTo>
                    <a:pt x="47" y="890"/>
                    <a:pt x="47" y="890"/>
                    <a:pt x="48" y="890"/>
                  </a:cubicBezTo>
                  <a:cubicBezTo>
                    <a:pt x="47" y="891"/>
                    <a:pt x="47" y="891"/>
                    <a:pt x="46" y="892"/>
                  </a:cubicBezTo>
                  <a:cubicBezTo>
                    <a:pt x="48" y="893"/>
                    <a:pt x="47" y="895"/>
                    <a:pt x="48" y="897"/>
                  </a:cubicBezTo>
                  <a:cubicBezTo>
                    <a:pt x="49" y="898"/>
                    <a:pt x="50" y="898"/>
                    <a:pt x="50" y="899"/>
                  </a:cubicBezTo>
                  <a:cubicBezTo>
                    <a:pt x="51" y="900"/>
                    <a:pt x="50" y="903"/>
                    <a:pt x="50" y="904"/>
                  </a:cubicBezTo>
                  <a:cubicBezTo>
                    <a:pt x="50" y="903"/>
                    <a:pt x="49" y="901"/>
                    <a:pt x="48" y="900"/>
                  </a:cubicBezTo>
                  <a:cubicBezTo>
                    <a:pt x="47" y="898"/>
                    <a:pt x="46" y="898"/>
                    <a:pt x="46" y="897"/>
                  </a:cubicBezTo>
                  <a:cubicBezTo>
                    <a:pt x="44" y="899"/>
                    <a:pt x="44" y="901"/>
                    <a:pt x="44" y="903"/>
                  </a:cubicBezTo>
                  <a:cubicBezTo>
                    <a:pt x="45" y="904"/>
                    <a:pt x="46" y="906"/>
                    <a:pt x="47" y="907"/>
                  </a:cubicBezTo>
                  <a:cubicBezTo>
                    <a:pt x="47" y="908"/>
                    <a:pt x="48" y="908"/>
                    <a:pt x="48" y="908"/>
                  </a:cubicBezTo>
                  <a:cubicBezTo>
                    <a:pt x="48" y="908"/>
                    <a:pt x="48" y="908"/>
                    <a:pt x="48" y="908"/>
                  </a:cubicBezTo>
                  <a:cubicBezTo>
                    <a:pt x="49" y="906"/>
                    <a:pt x="49" y="906"/>
                    <a:pt x="49" y="906"/>
                  </a:cubicBezTo>
                  <a:cubicBezTo>
                    <a:pt x="49" y="906"/>
                    <a:pt x="49" y="906"/>
                    <a:pt x="49" y="906"/>
                  </a:cubicBezTo>
                  <a:cubicBezTo>
                    <a:pt x="49" y="906"/>
                    <a:pt x="49" y="906"/>
                    <a:pt x="49" y="906"/>
                  </a:cubicBezTo>
                  <a:cubicBezTo>
                    <a:pt x="50" y="906"/>
                    <a:pt x="50" y="906"/>
                    <a:pt x="50" y="906"/>
                  </a:cubicBezTo>
                  <a:cubicBezTo>
                    <a:pt x="50" y="906"/>
                    <a:pt x="50" y="906"/>
                    <a:pt x="50" y="906"/>
                  </a:cubicBezTo>
                  <a:cubicBezTo>
                    <a:pt x="53" y="906"/>
                    <a:pt x="53" y="906"/>
                    <a:pt x="53" y="906"/>
                  </a:cubicBezTo>
                  <a:cubicBezTo>
                    <a:pt x="52" y="907"/>
                    <a:pt x="51" y="907"/>
                    <a:pt x="51" y="908"/>
                  </a:cubicBezTo>
                  <a:cubicBezTo>
                    <a:pt x="51" y="910"/>
                    <a:pt x="54" y="914"/>
                    <a:pt x="55" y="916"/>
                  </a:cubicBezTo>
                  <a:cubicBezTo>
                    <a:pt x="54" y="915"/>
                    <a:pt x="52" y="912"/>
                    <a:pt x="51" y="912"/>
                  </a:cubicBezTo>
                  <a:cubicBezTo>
                    <a:pt x="51" y="912"/>
                    <a:pt x="51" y="912"/>
                    <a:pt x="51" y="912"/>
                  </a:cubicBezTo>
                  <a:cubicBezTo>
                    <a:pt x="46" y="912"/>
                    <a:pt x="54" y="918"/>
                    <a:pt x="55" y="919"/>
                  </a:cubicBezTo>
                  <a:cubicBezTo>
                    <a:pt x="53" y="918"/>
                    <a:pt x="50" y="916"/>
                    <a:pt x="48" y="916"/>
                  </a:cubicBezTo>
                  <a:cubicBezTo>
                    <a:pt x="48" y="916"/>
                    <a:pt x="47" y="917"/>
                    <a:pt x="48" y="919"/>
                  </a:cubicBezTo>
                  <a:cubicBezTo>
                    <a:pt x="49" y="920"/>
                    <a:pt x="51" y="921"/>
                    <a:pt x="51" y="922"/>
                  </a:cubicBezTo>
                  <a:cubicBezTo>
                    <a:pt x="51" y="923"/>
                    <a:pt x="50" y="924"/>
                    <a:pt x="50" y="924"/>
                  </a:cubicBezTo>
                  <a:cubicBezTo>
                    <a:pt x="50" y="925"/>
                    <a:pt x="51" y="925"/>
                    <a:pt x="51" y="926"/>
                  </a:cubicBezTo>
                  <a:cubicBezTo>
                    <a:pt x="51" y="927"/>
                    <a:pt x="48" y="927"/>
                    <a:pt x="49" y="928"/>
                  </a:cubicBezTo>
                  <a:cubicBezTo>
                    <a:pt x="49" y="929"/>
                    <a:pt x="49" y="929"/>
                    <a:pt x="50" y="929"/>
                  </a:cubicBezTo>
                  <a:cubicBezTo>
                    <a:pt x="51" y="929"/>
                    <a:pt x="52" y="928"/>
                    <a:pt x="52" y="928"/>
                  </a:cubicBezTo>
                  <a:cubicBezTo>
                    <a:pt x="52" y="930"/>
                    <a:pt x="47" y="935"/>
                    <a:pt x="49" y="935"/>
                  </a:cubicBezTo>
                  <a:cubicBezTo>
                    <a:pt x="50" y="935"/>
                    <a:pt x="50" y="935"/>
                    <a:pt x="50" y="935"/>
                  </a:cubicBezTo>
                  <a:cubicBezTo>
                    <a:pt x="50" y="936"/>
                    <a:pt x="50" y="937"/>
                    <a:pt x="50" y="938"/>
                  </a:cubicBezTo>
                  <a:cubicBezTo>
                    <a:pt x="51" y="937"/>
                    <a:pt x="52" y="937"/>
                    <a:pt x="52" y="936"/>
                  </a:cubicBezTo>
                  <a:cubicBezTo>
                    <a:pt x="54" y="935"/>
                    <a:pt x="54" y="934"/>
                    <a:pt x="55" y="932"/>
                  </a:cubicBezTo>
                  <a:cubicBezTo>
                    <a:pt x="56" y="934"/>
                    <a:pt x="57" y="936"/>
                    <a:pt x="58" y="936"/>
                  </a:cubicBezTo>
                  <a:cubicBezTo>
                    <a:pt x="58" y="936"/>
                    <a:pt x="58" y="936"/>
                    <a:pt x="58" y="936"/>
                  </a:cubicBezTo>
                  <a:cubicBezTo>
                    <a:pt x="60" y="934"/>
                    <a:pt x="60" y="934"/>
                    <a:pt x="60" y="934"/>
                  </a:cubicBezTo>
                  <a:cubicBezTo>
                    <a:pt x="61" y="932"/>
                    <a:pt x="62" y="930"/>
                    <a:pt x="64" y="930"/>
                  </a:cubicBezTo>
                  <a:cubicBezTo>
                    <a:pt x="64" y="930"/>
                    <a:pt x="65" y="931"/>
                    <a:pt x="66" y="931"/>
                  </a:cubicBezTo>
                  <a:cubicBezTo>
                    <a:pt x="63" y="933"/>
                    <a:pt x="56" y="937"/>
                    <a:pt x="59" y="940"/>
                  </a:cubicBezTo>
                  <a:cubicBezTo>
                    <a:pt x="58" y="940"/>
                    <a:pt x="58" y="940"/>
                    <a:pt x="57" y="940"/>
                  </a:cubicBezTo>
                  <a:cubicBezTo>
                    <a:pt x="55" y="940"/>
                    <a:pt x="53" y="940"/>
                    <a:pt x="51" y="940"/>
                  </a:cubicBezTo>
                  <a:cubicBezTo>
                    <a:pt x="53" y="941"/>
                    <a:pt x="56" y="943"/>
                    <a:pt x="57" y="943"/>
                  </a:cubicBezTo>
                  <a:cubicBezTo>
                    <a:pt x="57" y="943"/>
                    <a:pt x="57" y="943"/>
                    <a:pt x="57" y="942"/>
                  </a:cubicBezTo>
                  <a:cubicBezTo>
                    <a:pt x="58" y="944"/>
                    <a:pt x="60" y="943"/>
                    <a:pt x="58" y="945"/>
                  </a:cubicBezTo>
                  <a:cubicBezTo>
                    <a:pt x="58" y="945"/>
                    <a:pt x="55" y="946"/>
                    <a:pt x="54" y="946"/>
                  </a:cubicBezTo>
                  <a:cubicBezTo>
                    <a:pt x="56" y="947"/>
                    <a:pt x="58" y="950"/>
                    <a:pt x="61" y="950"/>
                  </a:cubicBezTo>
                  <a:cubicBezTo>
                    <a:pt x="61" y="950"/>
                    <a:pt x="62" y="949"/>
                    <a:pt x="64" y="949"/>
                  </a:cubicBezTo>
                  <a:cubicBezTo>
                    <a:pt x="65" y="948"/>
                    <a:pt x="65" y="947"/>
                    <a:pt x="65" y="945"/>
                  </a:cubicBezTo>
                  <a:cubicBezTo>
                    <a:pt x="65" y="945"/>
                    <a:pt x="64" y="942"/>
                    <a:pt x="64" y="942"/>
                  </a:cubicBezTo>
                  <a:cubicBezTo>
                    <a:pt x="65" y="940"/>
                    <a:pt x="68" y="940"/>
                    <a:pt x="70" y="938"/>
                  </a:cubicBezTo>
                  <a:cubicBezTo>
                    <a:pt x="72" y="936"/>
                    <a:pt x="71" y="936"/>
                    <a:pt x="71" y="935"/>
                  </a:cubicBezTo>
                  <a:cubicBezTo>
                    <a:pt x="71" y="935"/>
                    <a:pt x="68" y="934"/>
                    <a:pt x="68" y="934"/>
                  </a:cubicBezTo>
                  <a:cubicBezTo>
                    <a:pt x="67" y="934"/>
                    <a:pt x="66" y="937"/>
                    <a:pt x="64" y="937"/>
                  </a:cubicBezTo>
                  <a:cubicBezTo>
                    <a:pt x="65" y="937"/>
                    <a:pt x="66" y="935"/>
                    <a:pt x="67" y="934"/>
                  </a:cubicBezTo>
                  <a:cubicBezTo>
                    <a:pt x="69" y="932"/>
                    <a:pt x="75" y="931"/>
                    <a:pt x="78" y="931"/>
                  </a:cubicBezTo>
                  <a:cubicBezTo>
                    <a:pt x="78" y="932"/>
                    <a:pt x="78" y="932"/>
                    <a:pt x="78" y="932"/>
                  </a:cubicBezTo>
                  <a:cubicBezTo>
                    <a:pt x="78" y="932"/>
                    <a:pt x="77" y="932"/>
                    <a:pt x="77" y="932"/>
                  </a:cubicBezTo>
                  <a:cubicBezTo>
                    <a:pt x="77" y="932"/>
                    <a:pt x="77" y="932"/>
                    <a:pt x="77" y="932"/>
                  </a:cubicBezTo>
                  <a:cubicBezTo>
                    <a:pt x="77" y="932"/>
                    <a:pt x="77" y="932"/>
                    <a:pt x="77" y="932"/>
                  </a:cubicBezTo>
                  <a:cubicBezTo>
                    <a:pt x="77" y="935"/>
                    <a:pt x="78" y="935"/>
                    <a:pt x="80" y="935"/>
                  </a:cubicBezTo>
                  <a:cubicBezTo>
                    <a:pt x="81" y="935"/>
                    <a:pt x="82" y="935"/>
                    <a:pt x="84" y="935"/>
                  </a:cubicBezTo>
                  <a:cubicBezTo>
                    <a:pt x="83" y="938"/>
                    <a:pt x="79" y="938"/>
                    <a:pt x="78" y="941"/>
                  </a:cubicBezTo>
                  <a:cubicBezTo>
                    <a:pt x="78" y="941"/>
                    <a:pt x="77" y="942"/>
                    <a:pt x="77" y="942"/>
                  </a:cubicBezTo>
                  <a:cubicBezTo>
                    <a:pt x="77" y="942"/>
                    <a:pt x="76" y="941"/>
                    <a:pt x="75" y="941"/>
                  </a:cubicBezTo>
                  <a:cubicBezTo>
                    <a:pt x="75" y="940"/>
                    <a:pt x="75" y="940"/>
                    <a:pt x="74" y="940"/>
                  </a:cubicBezTo>
                  <a:cubicBezTo>
                    <a:pt x="73" y="940"/>
                    <a:pt x="73" y="941"/>
                    <a:pt x="71" y="942"/>
                  </a:cubicBezTo>
                  <a:cubicBezTo>
                    <a:pt x="71" y="941"/>
                    <a:pt x="73" y="940"/>
                    <a:pt x="73" y="938"/>
                  </a:cubicBezTo>
                  <a:cubicBezTo>
                    <a:pt x="73" y="938"/>
                    <a:pt x="72" y="938"/>
                    <a:pt x="72" y="938"/>
                  </a:cubicBezTo>
                  <a:cubicBezTo>
                    <a:pt x="70" y="938"/>
                    <a:pt x="69" y="939"/>
                    <a:pt x="68" y="940"/>
                  </a:cubicBezTo>
                  <a:cubicBezTo>
                    <a:pt x="66" y="942"/>
                    <a:pt x="65" y="948"/>
                    <a:pt x="66" y="950"/>
                  </a:cubicBezTo>
                  <a:cubicBezTo>
                    <a:pt x="67" y="952"/>
                    <a:pt x="70" y="953"/>
                    <a:pt x="71" y="955"/>
                  </a:cubicBezTo>
                  <a:cubicBezTo>
                    <a:pt x="70" y="955"/>
                    <a:pt x="68" y="952"/>
                    <a:pt x="66" y="952"/>
                  </a:cubicBezTo>
                  <a:cubicBezTo>
                    <a:pt x="65" y="952"/>
                    <a:pt x="65" y="951"/>
                    <a:pt x="65" y="951"/>
                  </a:cubicBezTo>
                  <a:cubicBezTo>
                    <a:pt x="64" y="951"/>
                    <a:pt x="63" y="952"/>
                    <a:pt x="62" y="952"/>
                  </a:cubicBezTo>
                  <a:cubicBezTo>
                    <a:pt x="62" y="952"/>
                    <a:pt x="61" y="952"/>
                    <a:pt x="61" y="952"/>
                  </a:cubicBezTo>
                  <a:cubicBezTo>
                    <a:pt x="60" y="952"/>
                    <a:pt x="59" y="952"/>
                    <a:pt x="57" y="952"/>
                  </a:cubicBezTo>
                  <a:cubicBezTo>
                    <a:pt x="60" y="953"/>
                    <a:pt x="61" y="955"/>
                    <a:pt x="64" y="956"/>
                  </a:cubicBezTo>
                  <a:cubicBezTo>
                    <a:pt x="65" y="957"/>
                    <a:pt x="66" y="957"/>
                    <a:pt x="66" y="958"/>
                  </a:cubicBezTo>
                  <a:cubicBezTo>
                    <a:pt x="67" y="958"/>
                    <a:pt x="68" y="960"/>
                    <a:pt x="69" y="960"/>
                  </a:cubicBezTo>
                  <a:cubicBezTo>
                    <a:pt x="69" y="960"/>
                    <a:pt x="69" y="960"/>
                    <a:pt x="70" y="959"/>
                  </a:cubicBezTo>
                  <a:cubicBezTo>
                    <a:pt x="71" y="962"/>
                    <a:pt x="75" y="963"/>
                    <a:pt x="78" y="963"/>
                  </a:cubicBezTo>
                  <a:cubicBezTo>
                    <a:pt x="78" y="963"/>
                    <a:pt x="79" y="963"/>
                    <a:pt x="79" y="963"/>
                  </a:cubicBezTo>
                  <a:cubicBezTo>
                    <a:pt x="77" y="961"/>
                    <a:pt x="75" y="960"/>
                    <a:pt x="73" y="958"/>
                  </a:cubicBezTo>
                  <a:cubicBezTo>
                    <a:pt x="73" y="958"/>
                    <a:pt x="74" y="958"/>
                    <a:pt x="74" y="958"/>
                  </a:cubicBezTo>
                  <a:cubicBezTo>
                    <a:pt x="75" y="958"/>
                    <a:pt x="76" y="957"/>
                    <a:pt x="76" y="955"/>
                  </a:cubicBezTo>
                  <a:cubicBezTo>
                    <a:pt x="76" y="955"/>
                    <a:pt x="76" y="955"/>
                    <a:pt x="77" y="955"/>
                  </a:cubicBezTo>
                  <a:cubicBezTo>
                    <a:pt x="78" y="955"/>
                    <a:pt x="77" y="954"/>
                    <a:pt x="75" y="953"/>
                  </a:cubicBezTo>
                  <a:cubicBezTo>
                    <a:pt x="76" y="953"/>
                    <a:pt x="77" y="954"/>
                    <a:pt x="78" y="954"/>
                  </a:cubicBezTo>
                  <a:cubicBezTo>
                    <a:pt x="80" y="954"/>
                    <a:pt x="80" y="953"/>
                    <a:pt x="79" y="952"/>
                  </a:cubicBezTo>
                  <a:cubicBezTo>
                    <a:pt x="80" y="953"/>
                    <a:pt x="81" y="953"/>
                    <a:pt x="82" y="953"/>
                  </a:cubicBezTo>
                  <a:cubicBezTo>
                    <a:pt x="82" y="953"/>
                    <a:pt x="83" y="953"/>
                    <a:pt x="83" y="952"/>
                  </a:cubicBezTo>
                  <a:cubicBezTo>
                    <a:pt x="83" y="951"/>
                    <a:pt x="81" y="951"/>
                    <a:pt x="80" y="951"/>
                  </a:cubicBezTo>
                  <a:cubicBezTo>
                    <a:pt x="79" y="950"/>
                    <a:pt x="80" y="949"/>
                    <a:pt x="78" y="949"/>
                  </a:cubicBezTo>
                  <a:cubicBezTo>
                    <a:pt x="78" y="949"/>
                    <a:pt x="78" y="949"/>
                    <a:pt x="78" y="949"/>
                  </a:cubicBezTo>
                  <a:cubicBezTo>
                    <a:pt x="77" y="949"/>
                    <a:pt x="77" y="949"/>
                    <a:pt x="76" y="949"/>
                  </a:cubicBezTo>
                  <a:cubicBezTo>
                    <a:pt x="76" y="949"/>
                    <a:pt x="76" y="949"/>
                    <a:pt x="75" y="949"/>
                  </a:cubicBezTo>
                  <a:cubicBezTo>
                    <a:pt x="75" y="949"/>
                    <a:pt x="75" y="949"/>
                    <a:pt x="75" y="949"/>
                  </a:cubicBezTo>
                  <a:cubicBezTo>
                    <a:pt x="75" y="948"/>
                    <a:pt x="76" y="948"/>
                    <a:pt x="77" y="948"/>
                  </a:cubicBezTo>
                  <a:cubicBezTo>
                    <a:pt x="80" y="948"/>
                    <a:pt x="83" y="950"/>
                    <a:pt x="85" y="950"/>
                  </a:cubicBezTo>
                  <a:cubicBezTo>
                    <a:pt x="85" y="950"/>
                    <a:pt x="85" y="951"/>
                    <a:pt x="86" y="951"/>
                  </a:cubicBezTo>
                  <a:cubicBezTo>
                    <a:pt x="87" y="951"/>
                    <a:pt x="88" y="949"/>
                    <a:pt x="89" y="948"/>
                  </a:cubicBezTo>
                  <a:cubicBezTo>
                    <a:pt x="91" y="946"/>
                    <a:pt x="93" y="944"/>
                    <a:pt x="96" y="943"/>
                  </a:cubicBezTo>
                  <a:cubicBezTo>
                    <a:pt x="99" y="941"/>
                    <a:pt x="102" y="941"/>
                    <a:pt x="105" y="941"/>
                  </a:cubicBezTo>
                  <a:cubicBezTo>
                    <a:pt x="106" y="941"/>
                    <a:pt x="106" y="941"/>
                    <a:pt x="106" y="941"/>
                  </a:cubicBezTo>
                  <a:cubicBezTo>
                    <a:pt x="109" y="941"/>
                    <a:pt x="108" y="942"/>
                    <a:pt x="107" y="944"/>
                  </a:cubicBezTo>
                  <a:cubicBezTo>
                    <a:pt x="106" y="946"/>
                    <a:pt x="104" y="949"/>
                    <a:pt x="102" y="950"/>
                  </a:cubicBezTo>
                  <a:cubicBezTo>
                    <a:pt x="100" y="951"/>
                    <a:pt x="98" y="951"/>
                    <a:pt x="97" y="952"/>
                  </a:cubicBezTo>
                  <a:cubicBezTo>
                    <a:pt x="96" y="952"/>
                    <a:pt x="94" y="953"/>
                    <a:pt x="93" y="954"/>
                  </a:cubicBezTo>
                  <a:cubicBezTo>
                    <a:pt x="91" y="956"/>
                    <a:pt x="94" y="960"/>
                    <a:pt x="92" y="962"/>
                  </a:cubicBezTo>
                  <a:cubicBezTo>
                    <a:pt x="92" y="963"/>
                    <a:pt x="89" y="964"/>
                    <a:pt x="88" y="964"/>
                  </a:cubicBezTo>
                  <a:cubicBezTo>
                    <a:pt x="87" y="964"/>
                    <a:pt x="87" y="964"/>
                    <a:pt x="87" y="963"/>
                  </a:cubicBezTo>
                  <a:cubicBezTo>
                    <a:pt x="88" y="962"/>
                    <a:pt x="91" y="962"/>
                    <a:pt x="91" y="961"/>
                  </a:cubicBezTo>
                  <a:cubicBezTo>
                    <a:pt x="93" y="960"/>
                    <a:pt x="92" y="957"/>
                    <a:pt x="91" y="955"/>
                  </a:cubicBezTo>
                  <a:cubicBezTo>
                    <a:pt x="91" y="954"/>
                    <a:pt x="90" y="953"/>
                    <a:pt x="88" y="953"/>
                  </a:cubicBezTo>
                  <a:cubicBezTo>
                    <a:pt x="88" y="953"/>
                    <a:pt x="88" y="953"/>
                    <a:pt x="87" y="954"/>
                  </a:cubicBezTo>
                  <a:cubicBezTo>
                    <a:pt x="86" y="955"/>
                    <a:pt x="88" y="957"/>
                    <a:pt x="87" y="958"/>
                  </a:cubicBezTo>
                  <a:cubicBezTo>
                    <a:pt x="87" y="959"/>
                    <a:pt x="84" y="960"/>
                    <a:pt x="83" y="960"/>
                  </a:cubicBezTo>
                  <a:cubicBezTo>
                    <a:pt x="82" y="960"/>
                    <a:pt x="82" y="960"/>
                    <a:pt x="82" y="960"/>
                  </a:cubicBezTo>
                  <a:cubicBezTo>
                    <a:pt x="86" y="959"/>
                    <a:pt x="86" y="954"/>
                    <a:pt x="82" y="954"/>
                  </a:cubicBezTo>
                  <a:cubicBezTo>
                    <a:pt x="82" y="954"/>
                    <a:pt x="81" y="954"/>
                    <a:pt x="81" y="954"/>
                  </a:cubicBezTo>
                  <a:cubicBezTo>
                    <a:pt x="76" y="956"/>
                    <a:pt x="81" y="966"/>
                    <a:pt x="85" y="968"/>
                  </a:cubicBezTo>
                  <a:cubicBezTo>
                    <a:pt x="85" y="968"/>
                    <a:pt x="86" y="968"/>
                    <a:pt x="87" y="969"/>
                  </a:cubicBezTo>
                  <a:cubicBezTo>
                    <a:pt x="87" y="969"/>
                    <a:pt x="87" y="969"/>
                    <a:pt x="87" y="969"/>
                  </a:cubicBezTo>
                  <a:cubicBezTo>
                    <a:pt x="87" y="969"/>
                    <a:pt x="88" y="969"/>
                    <a:pt x="89" y="969"/>
                  </a:cubicBezTo>
                  <a:cubicBezTo>
                    <a:pt x="90" y="970"/>
                    <a:pt x="92" y="970"/>
                    <a:pt x="93" y="971"/>
                  </a:cubicBezTo>
                  <a:cubicBezTo>
                    <a:pt x="96" y="973"/>
                    <a:pt x="100" y="974"/>
                    <a:pt x="104" y="974"/>
                  </a:cubicBezTo>
                  <a:cubicBezTo>
                    <a:pt x="104" y="974"/>
                    <a:pt x="105" y="974"/>
                    <a:pt x="105" y="974"/>
                  </a:cubicBezTo>
                  <a:cubicBezTo>
                    <a:pt x="110" y="973"/>
                    <a:pt x="110" y="972"/>
                    <a:pt x="111" y="968"/>
                  </a:cubicBezTo>
                  <a:cubicBezTo>
                    <a:pt x="111" y="967"/>
                    <a:pt x="112" y="966"/>
                    <a:pt x="112" y="964"/>
                  </a:cubicBezTo>
                  <a:cubicBezTo>
                    <a:pt x="112" y="962"/>
                    <a:pt x="111" y="961"/>
                    <a:pt x="111" y="959"/>
                  </a:cubicBezTo>
                  <a:cubicBezTo>
                    <a:pt x="111" y="956"/>
                    <a:pt x="112" y="953"/>
                    <a:pt x="113" y="950"/>
                  </a:cubicBezTo>
                  <a:cubicBezTo>
                    <a:pt x="114" y="948"/>
                    <a:pt x="117" y="944"/>
                    <a:pt x="114" y="943"/>
                  </a:cubicBezTo>
                  <a:cubicBezTo>
                    <a:pt x="115" y="942"/>
                    <a:pt x="115" y="940"/>
                    <a:pt x="116" y="940"/>
                  </a:cubicBezTo>
                  <a:cubicBezTo>
                    <a:pt x="116" y="939"/>
                    <a:pt x="115" y="939"/>
                    <a:pt x="114" y="938"/>
                  </a:cubicBezTo>
                  <a:cubicBezTo>
                    <a:pt x="118" y="937"/>
                    <a:pt x="121" y="937"/>
                    <a:pt x="125" y="936"/>
                  </a:cubicBezTo>
                  <a:cubicBezTo>
                    <a:pt x="131" y="934"/>
                    <a:pt x="139" y="934"/>
                    <a:pt x="145" y="928"/>
                  </a:cubicBezTo>
                  <a:cubicBezTo>
                    <a:pt x="147" y="926"/>
                    <a:pt x="149" y="923"/>
                    <a:pt x="151" y="923"/>
                  </a:cubicBezTo>
                  <a:cubicBezTo>
                    <a:pt x="150" y="922"/>
                    <a:pt x="150" y="922"/>
                    <a:pt x="150" y="922"/>
                  </a:cubicBezTo>
                  <a:cubicBezTo>
                    <a:pt x="149" y="922"/>
                    <a:pt x="148" y="922"/>
                    <a:pt x="146" y="922"/>
                  </a:cubicBezTo>
                  <a:cubicBezTo>
                    <a:pt x="144" y="921"/>
                    <a:pt x="142" y="920"/>
                    <a:pt x="140" y="920"/>
                  </a:cubicBezTo>
                  <a:cubicBezTo>
                    <a:pt x="138" y="919"/>
                    <a:pt x="136" y="919"/>
                    <a:pt x="135" y="918"/>
                  </a:cubicBezTo>
                  <a:cubicBezTo>
                    <a:pt x="134" y="918"/>
                    <a:pt x="134" y="918"/>
                    <a:pt x="134" y="918"/>
                  </a:cubicBezTo>
                  <a:cubicBezTo>
                    <a:pt x="133" y="918"/>
                    <a:pt x="133" y="918"/>
                    <a:pt x="133" y="918"/>
                  </a:cubicBezTo>
                  <a:cubicBezTo>
                    <a:pt x="131" y="918"/>
                    <a:pt x="129" y="917"/>
                    <a:pt x="127" y="917"/>
                  </a:cubicBezTo>
                  <a:cubicBezTo>
                    <a:pt x="125" y="917"/>
                    <a:pt x="123" y="918"/>
                    <a:pt x="121" y="918"/>
                  </a:cubicBezTo>
                  <a:cubicBezTo>
                    <a:pt x="121" y="918"/>
                    <a:pt x="121" y="918"/>
                    <a:pt x="121" y="918"/>
                  </a:cubicBezTo>
                  <a:cubicBezTo>
                    <a:pt x="118" y="918"/>
                    <a:pt x="116" y="918"/>
                    <a:pt x="114" y="918"/>
                  </a:cubicBezTo>
                  <a:cubicBezTo>
                    <a:pt x="92" y="918"/>
                    <a:pt x="92" y="918"/>
                    <a:pt x="92" y="918"/>
                  </a:cubicBezTo>
                  <a:cubicBezTo>
                    <a:pt x="89" y="918"/>
                    <a:pt x="87" y="917"/>
                    <a:pt x="86" y="915"/>
                  </a:cubicBezTo>
                  <a:cubicBezTo>
                    <a:pt x="85" y="914"/>
                    <a:pt x="85" y="913"/>
                    <a:pt x="85" y="913"/>
                  </a:cubicBezTo>
                  <a:cubicBezTo>
                    <a:pt x="85" y="912"/>
                    <a:pt x="84" y="911"/>
                    <a:pt x="84" y="910"/>
                  </a:cubicBezTo>
                  <a:cubicBezTo>
                    <a:pt x="84" y="910"/>
                    <a:pt x="83" y="910"/>
                    <a:pt x="83" y="910"/>
                  </a:cubicBezTo>
                  <a:cubicBezTo>
                    <a:pt x="81" y="908"/>
                    <a:pt x="81" y="908"/>
                    <a:pt x="81" y="908"/>
                  </a:cubicBezTo>
                  <a:cubicBezTo>
                    <a:pt x="79" y="907"/>
                    <a:pt x="78" y="907"/>
                    <a:pt x="77" y="904"/>
                  </a:cubicBezTo>
                  <a:cubicBezTo>
                    <a:pt x="76" y="904"/>
                    <a:pt x="76" y="904"/>
                    <a:pt x="76" y="904"/>
                  </a:cubicBezTo>
                  <a:cubicBezTo>
                    <a:pt x="75" y="902"/>
                    <a:pt x="75" y="902"/>
                    <a:pt x="75" y="902"/>
                  </a:cubicBezTo>
                  <a:cubicBezTo>
                    <a:pt x="75" y="901"/>
                    <a:pt x="75" y="900"/>
                    <a:pt x="76" y="898"/>
                  </a:cubicBezTo>
                  <a:cubicBezTo>
                    <a:pt x="76" y="897"/>
                    <a:pt x="77" y="897"/>
                    <a:pt x="77" y="896"/>
                  </a:cubicBezTo>
                  <a:cubicBezTo>
                    <a:pt x="78" y="895"/>
                    <a:pt x="78" y="894"/>
                    <a:pt x="78" y="893"/>
                  </a:cubicBezTo>
                  <a:cubicBezTo>
                    <a:pt x="78" y="893"/>
                    <a:pt x="78" y="893"/>
                    <a:pt x="78" y="893"/>
                  </a:cubicBezTo>
                  <a:cubicBezTo>
                    <a:pt x="77" y="892"/>
                    <a:pt x="77" y="892"/>
                    <a:pt x="77" y="892"/>
                  </a:cubicBezTo>
                  <a:cubicBezTo>
                    <a:pt x="77" y="891"/>
                    <a:pt x="77" y="891"/>
                    <a:pt x="77" y="891"/>
                  </a:cubicBezTo>
                  <a:cubicBezTo>
                    <a:pt x="76" y="891"/>
                    <a:pt x="76" y="891"/>
                    <a:pt x="76" y="891"/>
                  </a:cubicBezTo>
                  <a:cubicBezTo>
                    <a:pt x="76" y="890"/>
                    <a:pt x="76" y="889"/>
                    <a:pt x="76" y="888"/>
                  </a:cubicBezTo>
                  <a:cubicBezTo>
                    <a:pt x="76" y="886"/>
                    <a:pt x="77" y="885"/>
                    <a:pt x="77" y="884"/>
                  </a:cubicBezTo>
                  <a:cubicBezTo>
                    <a:pt x="78" y="883"/>
                    <a:pt x="78" y="883"/>
                    <a:pt x="78" y="883"/>
                  </a:cubicBezTo>
                  <a:cubicBezTo>
                    <a:pt x="78" y="882"/>
                    <a:pt x="78" y="880"/>
                    <a:pt x="78" y="879"/>
                  </a:cubicBezTo>
                  <a:cubicBezTo>
                    <a:pt x="78" y="878"/>
                    <a:pt x="78" y="877"/>
                    <a:pt x="78" y="876"/>
                  </a:cubicBezTo>
                  <a:cubicBezTo>
                    <a:pt x="78" y="875"/>
                    <a:pt x="78" y="875"/>
                    <a:pt x="78" y="875"/>
                  </a:cubicBezTo>
                  <a:cubicBezTo>
                    <a:pt x="77" y="875"/>
                    <a:pt x="77" y="875"/>
                    <a:pt x="76" y="876"/>
                  </a:cubicBezTo>
                  <a:cubicBezTo>
                    <a:pt x="75" y="876"/>
                    <a:pt x="75" y="876"/>
                    <a:pt x="75" y="876"/>
                  </a:cubicBezTo>
                  <a:cubicBezTo>
                    <a:pt x="74" y="877"/>
                    <a:pt x="74" y="877"/>
                    <a:pt x="74" y="877"/>
                  </a:cubicBezTo>
                  <a:cubicBezTo>
                    <a:pt x="74" y="877"/>
                    <a:pt x="73" y="877"/>
                    <a:pt x="73" y="877"/>
                  </a:cubicBezTo>
                  <a:cubicBezTo>
                    <a:pt x="71" y="877"/>
                    <a:pt x="71" y="876"/>
                    <a:pt x="70" y="876"/>
                  </a:cubicBezTo>
                  <a:cubicBezTo>
                    <a:pt x="70" y="876"/>
                    <a:pt x="70" y="876"/>
                    <a:pt x="70" y="876"/>
                  </a:cubicBezTo>
                  <a:cubicBezTo>
                    <a:pt x="69" y="876"/>
                    <a:pt x="69" y="876"/>
                    <a:pt x="68" y="877"/>
                  </a:cubicBezTo>
                  <a:cubicBezTo>
                    <a:pt x="68" y="877"/>
                    <a:pt x="67" y="878"/>
                    <a:pt x="67" y="878"/>
                  </a:cubicBezTo>
                  <a:cubicBezTo>
                    <a:pt x="66" y="879"/>
                    <a:pt x="66" y="879"/>
                    <a:pt x="65" y="879"/>
                  </a:cubicBezTo>
                  <a:cubicBezTo>
                    <a:pt x="65" y="879"/>
                    <a:pt x="64" y="879"/>
                    <a:pt x="64" y="880"/>
                  </a:cubicBezTo>
                  <a:cubicBezTo>
                    <a:pt x="63" y="880"/>
                    <a:pt x="63" y="880"/>
                    <a:pt x="63" y="880"/>
                  </a:cubicBezTo>
                  <a:cubicBezTo>
                    <a:pt x="63" y="880"/>
                    <a:pt x="63" y="880"/>
                    <a:pt x="62" y="880"/>
                  </a:cubicBezTo>
                  <a:cubicBezTo>
                    <a:pt x="62" y="880"/>
                    <a:pt x="62" y="880"/>
                    <a:pt x="62" y="880"/>
                  </a:cubicBezTo>
                  <a:cubicBezTo>
                    <a:pt x="61" y="880"/>
                    <a:pt x="61" y="880"/>
                    <a:pt x="61" y="880"/>
                  </a:cubicBezTo>
                  <a:cubicBezTo>
                    <a:pt x="61" y="880"/>
                    <a:pt x="60" y="880"/>
                    <a:pt x="60" y="880"/>
                  </a:cubicBezTo>
                  <a:cubicBezTo>
                    <a:pt x="59" y="879"/>
                    <a:pt x="59" y="879"/>
                    <a:pt x="59" y="879"/>
                  </a:cubicBezTo>
                  <a:cubicBezTo>
                    <a:pt x="59" y="878"/>
                    <a:pt x="59" y="878"/>
                    <a:pt x="59" y="878"/>
                  </a:cubicBezTo>
                  <a:cubicBezTo>
                    <a:pt x="58" y="878"/>
                    <a:pt x="58" y="878"/>
                    <a:pt x="58" y="878"/>
                  </a:cubicBezTo>
                  <a:cubicBezTo>
                    <a:pt x="58" y="877"/>
                    <a:pt x="58" y="877"/>
                    <a:pt x="58" y="877"/>
                  </a:cubicBezTo>
                  <a:cubicBezTo>
                    <a:pt x="57" y="877"/>
                    <a:pt x="57" y="877"/>
                    <a:pt x="57" y="877"/>
                  </a:cubicBezTo>
                  <a:cubicBezTo>
                    <a:pt x="57" y="876"/>
                    <a:pt x="57" y="876"/>
                    <a:pt x="57" y="876"/>
                  </a:cubicBezTo>
                  <a:cubicBezTo>
                    <a:pt x="57" y="874"/>
                    <a:pt x="57" y="874"/>
                    <a:pt x="57" y="874"/>
                  </a:cubicBezTo>
                  <a:cubicBezTo>
                    <a:pt x="56" y="872"/>
                    <a:pt x="56" y="872"/>
                    <a:pt x="56" y="872"/>
                  </a:cubicBezTo>
                  <a:cubicBezTo>
                    <a:pt x="56" y="871"/>
                    <a:pt x="56" y="871"/>
                    <a:pt x="56" y="870"/>
                  </a:cubicBezTo>
                  <a:cubicBezTo>
                    <a:pt x="56" y="869"/>
                    <a:pt x="56" y="869"/>
                    <a:pt x="56" y="869"/>
                  </a:cubicBezTo>
                  <a:cubicBezTo>
                    <a:pt x="56" y="868"/>
                    <a:pt x="55" y="867"/>
                    <a:pt x="55" y="866"/>
                  </a:cubicBezTo>
                  <a:cubicBezTo>
                    <a:pt x="55" y="865"/>
                    <a:pt x="55" y="865"/>
                    <a:pt x="55" y="865"/>
                  </a:cubicBezTo>
                  <a:cubicBezTo>
                    <a:pt x="55" y="864"/>
                    <a:pt x="55" y="864"/>
                    <a:pt x="55" y="864"/>
                  </a:cubicBezTo>
                  <a:cubicBezTo>
                    <a:pt x="54" y="863"/>
                    <a:pt x="54" y="863"/>
                    <a:pt x="53" y="863"/>
                  </a:cubicBezTo>
                  <a:cubicBezTo>
                    <a:pt x="52" y="862"/>
                    <a:pt x="52" y="862"/>
                    <a:pt x="52" y="862"/>
                  </a:cubicBezTo>
                  <a:cubicBezTo>
                    <a:pt x="52" y="862"/>
                    <a:pt x="52" y="861"/>
                    <a:pt x="51" y="861"/>
                  </a:cubicBezTo>
                  <a:cubicBezTo>
                    <a:pt x="51" y="861"/>
                    <a:pt x="51" y="860"/>
                    <a:pt x="50" y="860"/>
                  </a:cubicBezTo>
                  <a:cubicBezTo>
                    <a:pt x="45" y="863"/>
                    <a:pt x="45" y="863"/>
                    <a:pt x="45" y="863"/>
                  </a:cubicBezTo>
                  <a:cubicBezTo>
                    <a:pt x="50" y="859"/>
                    <a:pt x="50" y="859"/>
                    <a:pt x="50" y="859"/>
                  </a:cubicBezTo>
                  <a:cubicBezTo>
                    <a:pt x="49" y="858"/>
                    <a:pt x="49" y="858"/>
                    <a:pt x="49" y="858"/>
                  </a:cubicBezTo>
                  <a:cubicBezTo>
                    <a:pt x="49" y="857"/>
                    <a:pt x="49" y="857"/>
                    <a:pt x="49" y="857"/>
                  </a:cubicBezTo>
                  <a:cubicBezTo>
                    <a:pt x="49" y="857"/>
                    <a:pt x="49" y="856"/>
                    <a:pt x="49" y="856"/>
                  </a:cubicBezTo>
                  <a:cubicBezTo>
                    <a:pt x="49" y="855"/>
                    <a:pt x="49" y="855"/>
                    <a:pt x="49" y="855"/>
                  </a:cubicBezTo>
                  <a:cubicBezTo>
                    <a:pt x="49" y="855"/>
                    <a:pt x="49" y="854"/>
                    <a:pt x="49" y="854"/>
                  </a:cubicBezTo>
                  <a:cubicBezTo>
                    <a:pt x="49" y="852"/>
                    <a:pt x="49" y="850"/>
                    <a:pt x="49" y="847"/>
                  </a:cubicBezTo>
                  <a:cubicBezTo>
                    <a:pt x="49" y="846"/>
                    <a:pt x="50" y="844"/>
                    <a:pt x="50" y="843"/>
                  </a:cubicBezTo>
                  <a:cubicBezTo>
                    <a:pt x="49" y="842"/>
                    <a:pt x="49" y="842"/>
                    <a:pt x="49" y="842"/>
                  </a:cubicBezTo>
                  <a:cubicBezTo>
                    <a:pt x="48" y="842"/>
                    <a:pt x="48" y="842"/>
                    <a:pt x="48" y="842"/>
                  </a:cubicBezTo>
                  <a:cubicBezTo>
                    <a:pt x="48" y="841"/>
                    <a:pt x="48" y="841"/>
                    <a:pt x="48" y="841"/>
                  </a:cubicBezTo>
                  <a:cubicBezTo>
                    <a:pt x="48" y="840"/>
                    <a:pt x="48" y="839"/>
                    <a:pt x="48" y="839"/>
                  </a:cubicBezTo>
                  <a:cubicBezTo>
                    <a:pt x="49" y="837"/>
                    <a:pt x="49" y="835"/>
                    <a:pt x="50" y="833"/>
                  </a:cubicBezTo>
                  <a:cubicBezTo>
                    <a:pt x="51" y="832"/>
                    <a:pt x="51" y="832"/>
                    <a:pt x="51" y="832"/>
                  </a:cubicBezTo>
                  <a:cubicBezTo>
                    <a:pt x="53" y="830"/>
                    <a:pt x="55" y="830"/>
                    <a:pt x="56" y="829"/>
                  </a:cubicBezTo>
                  <a:cubicBezTo>
                    <a:pt x="57" y="829"/>
                    <a:pt x="58" y="829"/>
                    <a:pt x="59" y="829"/>
                  </a:cubicBezTo>
                  <a:cubicBezTo>
                    <a:pt x="59" y="829"/>
                    <a:pt x="59" y="829"/>
                    <a:pt x="59" y="829"/>
                  </a:cubicBezTo>
                  <a:cubicBezTo>
                    <a:pt x="60" y="828"/>
                    <a:pt x="61" y="827"/>
                    <a:pt x="63" y="825"/>
                  </a:cubicBezTo>
                  <a:cubicBezTo>
                    <a:pt x="63" y="824"/>
                    <a:pt x="63" y="824"/>
                    <a:pt x="63" y="824"/>
                  </a:cubicBezTo>
                  <a:cubicBezTo>
                    <a:pt x="64" y="823"/>
                    <a:pt x="64" y="823"/>
                    <a:pt x="65" y="822"/>
                  </a:cubicBezTo>
                  <a:cubicBezTo>
                    <a:pt x="65" y="821"/>
                    <a:pt x="66" y="821"/>
                    <a:pt x="67" y="820"/>
                  </a:cubicBezTo>
                  <a:cubicBezTo>
                    <a:pt x="68" y="819"/>
                    <a:pt x="68" y="819"/>
                    <a:pt x="68" y="819"/>
                  </a:cubicBezTo>
                  <a:cubicBezTo>
                    <a:pt x="68" y="819"/>
                    <a:pt x="69" y="818"/>
                    <a:pt x="70" y="818"/>
                  </a:cubicBezTo>
                  <a:cubicBezTo>
                    <a:pt x="71" y="817"/>
                    <a:pt x="71" y="817"/>
                    <a:pt x="71" y="816"/>
                  </a:cubicBezTo>
                  <a:cubicBezTo>
                    <a:pt x="71" y="811"/>
                    <a:pt x="71" y="811"/>
                    <a:pt x="71" y="811"/>
                  </a:cubicBezTo>
                  <a:cubicBezTo>
                    <a:pt x="71" y="810"/>
                    <a:pt x="71" y="809"/>
                    <a:pt x="71" y="808"/>
                  </a:cubicBezTo>
                  <a:cubicBezTo>
                    <a:pt x="72" y="807"/>
                    <a:pt x="73" y="806"/>
                    <a:pt x="73" y="805"/>
                  </a:cubicBezTo>
                  <a:cubicBezTo>
                    <a:pt x="74" y="804"/>
                    <a:pt x="75" y="804"/>
                    <a:pt x="76" y="803"/>
                  </a:cubicBezTo>
                  <a:cubicBezTo>
                    <a:pt x="77" y="803"/>
                    <a:pt x="77" y="803"/>
                    <a:pt x="78" y="802"/>
                  </a:cubicBezTo>
                  <a:cubicBezTo>
                    <a:pt x="78" y="802"/>
                    <a:pt x="78" y="802"/>
                    <a:pt x="78" y="802"/>
                  </a:cubicBezTo>
                  <a:cubicBezTo>
                    <a:pt x="78" y="801"/>
                    <a:pt x="78" y="800"/>
                    <a:pt x="77" y="799"/>
                  </a:cubicBezTo>
                  <a:cubicBezTo>
                    <a:pt x="77" y="798"/>
                    <a:pt x="77" y="798"/>
                    <a:pt x="77" y="798"/>
                  </a:cubicBezTo>
                  <a:cubicBezTo>
                    <a:pt x="77" y="798"/>
                    <a:pt x="77" y="798"/>
                    <a:pt x="77" y="798"/>
                  </a:cubicBezTo>
                  <a:cubicBezTo>
                    <a:pt x="76" y="797"/>
                    <a:pt x="76" y="797"/>
                    <a:pt x="76" y="797"/>
                  </a:cubicBezTo>
                  <a:cubicBezTo>
                    <a:pt x="76" y="797"/>
                    <a:pt x="75" y="796"/>
                    <a:pt x="75" y="796"/>
                  </a:cubicBezTo>
                  <a:cubicBezTo>
                    <a:pt x="74" y="795"/>
                    <a:pt x="74" y="795"/>
                    <a:pt x="74" y="795"/>
                  </a:cubicBezTo>
                  <a:cubicBezTo>
                    <a:pt x="72" y="792"/>
                    <a:pt x="72" y="790"/>
                    <a:pt x="74" y="788"/>
                  </a:cubicBezTo>
                  <a:cubicBezTo>
                    <a:pt x="77" y="780"/>
                    <a:pt x="77" y="780"/>
                    <a:pt x="77" y="780"/>
                  </a:cubicBezTo>
                  <a:cubicBezTo>
                    <a:pt x="76" y="779"/>
                    <a:pt x="76" y="779"/>
                    <a:pt x="76" y="779"/>
                  </a:cubicBezTo>
                  <a:cubicBezTo>
                    <a:pt x="77" y="778"/>
                    <a:pt x="77" y="778"/>
                    <a:pt x="77" y="778"/>
                  </a:cubicBezTo>
                  <a:cubicBezTo>
                    <a:pt x="78" y="776"/>
                    <a:pt x="80" y="774"/>
                    <a:pt x="82" y="773"/>
                  </a:cubicBezTo>
                  <a:cubicBezTo>
                    <a:pt x="83" y="773"/>
                    <a:pt x="83" y="773"/>
                    <a:pt x="83" y="773"/>
                  </a:cubicBezTo>
                  <a:cubicBezTo>
                    <a:pt x="83" y="772"/>
                    <a:pt x="84" y="772"/>
                    <a:pt x="85" y="771"/>
                  </a:cubicBezTo>
                  <a:cubicBezTo>
                    <a:pt x="85" y="771"/>
                    <a:pt x="85" y="771"/>
                    <a:pt x="85" y="771"/>
                  </a:cubicBezTo>
                  <a:cubicBezTo>
                    <a:pt x="86" y="771"/>
                    <a:pt x="87" y="770"/>
                    <a:pt x="87" y="770"/>
                  </a:cubicBezTo>
                  <a:cubicBezTo>
                    <a:pt x="87" y="770"/>
                    <a:pt x="87" y="770"/>
                    <a:pt x="87" y="770"/>
                  </a:cubicBezTo>
                  <a:cubicBezTo>
                    <a:pt x="87" y="769"/>
                    <a:pt x="87" y="769"/>
                    <a:pt x="87" y="769"/>
                  </a:cubicBezTo>
                  <a:cubicBezTo>
                    <a:pt x="86" y="764"/>
                    <a:pt x="85" y="762"/>
                    <a:pt x="89" y="757"/>
                  </a:cubicBezTo>
                  <a:cubicBezTo>
                    <a:pt x="89" y="757"/>
                    <a:pt x="89" y="757"/>
                    <a:pt x="89" y="757"/>
                  </a:cubicBezTo>
                  <a:cubicBezTo>
                    <a:pt x="91" y="755"/>
                    <a:pt x="91" y="755"/>
                    <a:pt x="91" y="755"/>
                  </a:cubicBezTo>
                  <a:cubicBezTo>
                    <a:pt x="92" y="754"/>
                    <a:pt x="92" y="754"/>
                    <a:pt x="92" y="754"/>
                  </a:cubicBezTo>
                  <a:cubicBezTo>
                    <a:pt x="92" y="753"/>
                    <a:pt x="91" y="752"/>
                    <a:pt x="91" y="752"/>
                  </a:cubicBezTo>
                  <a:cubicBezTo>
                    <a:pt x="91" y="750"/>
                    <a:pt x="91" y="750"/>
                    <a:pt x="91" y="750"/>
                  </a:cubicBezTo>
                  <a:cubicBezTo>
                    <a:pt x="88" y="742"/>
                    <a:pt x="88" y="742"/>
                    <a:pt x="88" y="742"/>
                  </a:cubicBezTo>
                  <a:cubicBezTo>
                    <a:pt x="88" y="742"/>
                    <a:pt x="88" y="742"/>
                    <a:pt x="88" y="742"/>
                  </a:cubicBezTo>
                  <a:cubicBezTo>
                    <a:pt x="88" y="740"/>
                    <a:pt x="89" y="739"/>
                    <a:pt x="89" y="738"/>
                  </a:cubicBezTo>
                  <a:cubicBezTo>
                    <a:pt x="92" y="735"/>
                    <a:pt x="92" y="735"/>
                    <a:pt x="92" y="735"/>
                  </a:cubicBezTo>
                  <a:cubicBezTo>
                    <a:pt x="92" y="735"/>
                    <a:pt x="92" y="735"/>
                    <a:pt x="92" y="735"/>
                  </a:cubicBezTo>
                  <a:cubicBezTo>
                    <a:pt x="92" y="734"/>
                    <a:pt x="92" y="734"/>
                    <a:pt x="92" y="734"/>
                  </a:cubicBezTo>
                  <a:cubicBezTo>
                    <a:pt x="92" y="734"/>
                    <a:pt x="92" y="734"/>
                    <a:pt x="92" y="734"/>
                  </a:cubicBezTo>
                  <a:cubicBezTo>
                    <a:pt x="92" y="734"/>
                    <a:pt x="92" y="733"/>
                    <a:pt x="91" y="733"/>
                  </a:cubicBezTo>
                  <a:cubicBezTo>
                    <a:pt x="91" y="732"/>
                    <a:pt x="91" y="732"/>
                    <a:pt x="91" y="732"/>
                  </a:cubicBezTo>
                  <a:cubicBezTo>
                    <a:pt x="90" y="730"/>
                    <a:pt x="90" y="729"/>
                    <a:pt x="90" y="728"/>
                  </a:cubicBezTo>
                  <a:cubicBezTo>
                    <a:pt x="89" y="724"/>
                    <a:pt x="91" y="722"/>
                    <a:pt x="94" y="720"/>
                  </a:cubicBezTo>
                  <a:cubicBezTo>
                    <a:pt x="94" y="720"/>
                    <a:pt x="95" y="720"/>
                    <a:pt x="95" y="720"/>
                  </a:cubicBezTo>
                  <a:cubicBezTo>
                    <a:pt x="96" y="721"/>
                    <a:pt x="96" y="721"/>
                    <a:pt x="96" y="721"/>
                  </a:cubicBezTo>
                  <a:cubicBezTo>
                    <a:pt x="96" y="721"/>
                    <a:pt x="96" y="721"/>
                    <a:pt x="96" y="721"/>
                  </a:cubicBezTo>
                  <a:cubicBezTo>
                    <a:pt x="95" y="720"/>
                    <a:pt x="95" y="720"/>
                    <a:pt x="95" y="720"/>
                  </a:cubicBezTo>
                  <a:cubicBezTo>
                    <a:pt x="96" y="720"/>
                    <a:pt x="96" y="719"/>
                    <a:pt x="97" y="719"/>
                  </a:cubicBezTo>
                  <a:cubicBezTo>
                    <a:pt x="97" y="719"/>
                    <a:pt x="98" y="719"/>
                    <a:pt x="98" y="717"/>
                  </a:cubicBezTo>
                  <a:cubicBezTo>
                    <a:pt x="98" y="717"/>
                    <a:pt x="98" y="717"/>
                    <a:pt x="98" y="717"/>
                  </a:cubicBezTo>
                  <a:cubicBezTo>
                    <a:pt x="99" y="716"/>
                    <a:pt x="99" y="716"/>
                    <a:pt x="99" y="716"/>
                  </a:cubicBezTo>
                  <a:cubicBezTo>
                    <a:pt x="99" y="716"/>
                    <a:pt x="100" y="715"/>
                    <a:pt x="100" y="715"/>
                  </a:cubicBezTo>
                  <a:cubicBezTo>
                    <a:pt x="100" y="715"/>
                    <a:pt x="100" y="715"/>
                    <a:pt x="100" y="715"/>
                  </a:cubicBezTo>
                  <a:cubicBezTo>
                    <a:pt x="100" y="715"/>
                    <a:pt x="100" y="714"/>
                    <a:pt x="99" y="714"/>
                  </a:cubicBezTo>
                  <a:cubicBezTo>
                    <a:pt x="99" y="713"/>
                    <a:pt x="99" y="713"/>
                    <a:pt x="99" y="713"/>
                  </a:cubicBezTo>
                  <a:cubicBezTo>
                    <a:pt x="98" y="713"/>
                    <a:pt x="98" y="713"/>
                    <a:pt x="98" y="713"/>
                  </a:cubicBezTo>
                  <a:cubicBezTo>
                    <a:pt x="98" y="712"/>
                    <a:pt x="97" y="711"/>
                    <a:pt x="97" y="710"/>
                  </a:cubicBezTo>
                  <a:cubicBezTo>
                    <a:pt x="97" y="710"/>
                    <a:pt x="96" y="710"/>
                    <a:pt x="96" y="709"/>
                  </a:cubicBezTo>
                  <a:cubicBezTo>
                    <a:pt x="96" y="708"/>
                    <a:pt x="96" y="708"/>
                    <a:pt x="96" y="708"/>
                  </a:cubicBezTo>
                  <a:cubicBezTo>
                    <a:pt x="95" y="708"/>
                    <a:pt x="93" y="708"/>
                    <a:pt x="92" y="708"/>
                  </a:cubicBezTo>
                  <a:cubicBezTo>
                    <a:pt x="92" y="708"/>
                    <a:pt x="92" y="708"/>
                    <a:pt x="92" y="708"/>
                  </a:cubicBezTo>
                  <a:cubicBezTo>
                    <a:pt x="91" y="708"/>
                    <a:pt x="90" y="708"/>
                    <a:pt x="90" y="708"/>
                  </a:cubicBezTo>
                  <a:cubicBezTo>
                    <a:pt x="90" y="708"/>
                    <a:pt x="89" y="708"/>
                    <a:pt x="89" y="708"/>
                  </a:cubicBezTo>
                  <a:cubicBezTo>
                    <a:pt x="88" y="707"/>
                    <a:pt x="86" y="707"/>
                    <a:pt x="85" y="706"/>
                  </a:cubicBezTo>
                  <a:cubicBezTo>
                    <a:pt x="84" y="705"/>
                    <a:pt x="83" y="704"/>
                    <a:pt x="83" y="703"/>
                  </a:cubicBezTo>
                  <a:cubicBezTo>
                    <a:pt x="83" y="703"/>
                    <a:pt x="83" y="703"/>
                    <a:pt x="83" y="703"/>
                  </a:cubicBezTo>
                  <a:cubicBezTo>
                    <a:pt x="83" y="702"/>
                    <a:pt x="83" y="702"/>
                    <a:pt x="83" y="702"/>
                  </a:cubicBezTo>
                  <a:cubicBezTo>
                    <a:pt x="81" y="698"/>
                    <a:pt x="81" y="698"/>
                    <a:pt x="81" y="698"/>
                  </a:cubicBezTo>
                  <a:cubicBezTo>
                    <a:pt x="85" y="698"/>
                    <a:pt x="85" y="698"/>
                    <a:pt x="85" y="698"/>
                  </a:cubicBezTo>
                  <a:cubicBezTo>
                    <a:pt x="86" y="697"/>
                    <a:pt x="88" y="697"/>
                    <a:pt x="89" y="697"/>
                  </a:cubicBezTo>
                  <a:cubicBezTo>
                    <a:pt x="90" y="697"/>
                    <a:pt x="90" y="697"/>
                    <a:pt x="90" y="697"/>
                  </a:cubicBezTo>
                  <a:cubicBezTo>
                    <a:pt x="90" y="697"/>
                    <a:pt x="91" y="697"/>
                    <a:pt x="91" y="697"/>
                  </a:cubicBezTo>
                  <a:cubicBezTo>
                    <a:pt x="93" y="697"/>
                    <a:pt x="95" y="697"/>
                    <a:pt x="97" y="697"/>
                  </a:cubicBezTo>
                  <a:cubicBezTo>
                    <a:pt x="100" y="698"/>
                    <a:pt x="100" y="698"/>
                    <a:pt x="100" y="698"/>
                  </a:cubicBezTo>
                  <a:cubicBezTo>
                    <a:pt x="101" y="698"/>
                    <a:pt x="102" y="698"/>
                    <a:pt x="102" y="698"/>
                  </a:cubicBezTo>
                  <a:cubicBezTo>
                    <a:pt x="102" y="697"/>
                    <a:pt x="102" y="697"/>
                    <a:pt x="102" y="697"/>
                  </a:cubicBezTo>
                  <a:cubicBezTo>
                    <a:pt x="103" y="696"/>
                    <a:pt x="103" y="694"/>
                    <a:pt x="105" y="693"/>
                  </a:cubicBezTo>
                  <a:cubicBezTo>
                    <a:pt x="105" y="693"/>
                    <a:pt x="105" y="693"/>
                    <a:pt x="105" y="693"/>
                  </a:cubicBezTo>
                  <a:cubicBezTo>
                    <a:pt x="104" y="692"/>
                    <a:pt x="100" y="692"/>
                    <a:pt x="98" y="692"/>
                  </a:cubicBezTo>
                  <a:cubicBezTo>
                    <a:pt x="96" y="692"/>
                    <a:pt x="95" y="692"/>
                    <a:pt x="94" y="692"/>
                  </a:cubicBezTo>
                  <a:cubicBezTo>
                    <a:pt x="93" y="692"/>
                    <a:pt x="93" y="692"/>
                    <a:pt x="93" y="692"/>
                  </a:cubicBezTo>
                  <a:cubicBezTo>
                    <a:pt x="92" y="693"/>
                    <a:pt x="92" y="693"/>
                    <a:pt x="92" y="693"/>
                  </a:cubicBezTo>
                  <a:cubicBezTo>
                    <a:pt x="91" y="692"/>
                    <a:pt x="91" y="692"/>
                    <a:pt x="91" y="692"/>
                  </a:cubicBezTo>
                  <a:cubicBezTo>
                    <a:pt x="88" y="690"/>
                    <a:pt x="89" y="688"/>
                    <a:pt x="89" y="686"/>
                  </a:cubicBezTo>
                  <a:cubicBezTo>
                    <a:pt x="90" y="681"/>
                    <a:pt x="90" y="681"/>
                    <a:pt x="90" y="681"/>
                  </a:cubicBezTo>
                  <a:cubicBezTo>
                    <a:pt x="90" y="680"/>
                    <a:pt x="91" y="679"/>
                    <a:pt x="92" y="678"/>
                  </a:cubicBezTo>
                  <a:cubicBezTo>
                    <a:pt x="92" y="676"/>
                    <a:pt x="92" y="676"/>
                    <a:pt x="92" y="676"/>
                  </a:cubicBezTo>
                  <a:cubicBezTo>
                    <a:pt x="93" y="676"/>
                    <a:pt x="93" y="676"/>
                    <a:pt x="93" y="676"/>
                  </a:cubicBezTo>
                  <a:cubicBezTo>
                    <a:pt x="93" y="675"/>
                    <a:pt x="92" y="673"/>
                    <a:pt x="91" y="671"/>
                  </a:cubicBezTo>
                  <a:cubicBezTo>
                    <a:pt x="91" y="669"/>
                    <a:pt x="91" y="669"/>
                    <a:pt x="91" y="668"/>
                  </a:cubicBezTo>
                  <a:cubicBezTo>
                    <a:pt x="90" y="667"/>
                    <a:pt x="90" y="667"/>
                    <a:pt x="90" y="667"/>
                  </a:cubicBezTo>
                  <a:cubicBezTo>
                    <a:pt x="90" y="667"/>
                    <a:pt x="90" y="667"/>
                    <a:pt x="90" y="667"/>
                  </a:cubicBezTo>
                  <a:cubicBezTo>
                    <a:pt x="90" y="667"/>
                    <a:pt x="90" y="667"/>
                    <a:pt x="90" y="667"/>
                  </a:cubicBezTo>
                  <a:cubicBezTo>
                    <a:pt x="88" y="665"/>
                    <a:pt x="87" y="664"/>
                    <a:pt x="86" y="662"/>
                  </a:cubicBezTo>
                  <a:cubicBezTo>
                    <a:pt x="86" y="660"/>
                    <a:pt x="87" y="659"/>
                    <a:pt x="89" y="657"/>
                  </a:cubicBezTo>
                  <a:cubicBezTo>
                    <a:pt x="89" y="657"/>
                    <a:pt x="89" y="657"/>
                    <a:pt x="89" y="657"/>
                  </a:cubicBezTo>
                  <a:cubicBezTo>
                    <a:pt x="89" y="657"/>
                    <a:pt x="89" y="657"/>
                    <a:pt x="89" y="657"/>
                  </a:cubicBezTo>
                  <a:cubicBezTo>
                    <a:pt x="90" y="657"/>
                    <a:pt x="90" y="657"/>
                    <a:pt x="90" y="657"/>
                  </a:cubicBezTo>
                  <a:cubicBezTo>
                    <a:pt x="90" y="656"/>
                    <a:pt x="89" y="656"/>
                    <a:pt x="89" y="656"/>
                  </a:cubicBezTo>
                  <a:cubicBezTo>
                    <a:pt x="87" y="656"/>
                    <a:pt x="84" y="655"/>
                    <a:pt x="82" y="653"/>
                  </a:cubicBezTo>
                  <a:cubicBezTo>
                    <a:pt x="81" y="651"/>
                    <a:pt x="81" y="649"/>
                    <a:pt x="82" y="647"/>
                  </a:cubicBezTo>
                  <a:cubicBezTo>
                    <a:pt x="82" y="647"/>
                    <a:pt x="82" y="647"/>
                    <a:pt x="82" y="646"/>
                  </a:cubicBezTo>
                  <a:cubicBezTo>
                    <a:pt x="82" y="644"/>
                    <a:pt x="82" y="644"/>
                    <a:pt x="82" y="644"/>
                  </a:cubicBezTo>
                  <a:cubicBezTo>
                    <a:pt x="82" y="643"/>
                    <a:pt x="82" y="641"/>
                    <a:pt x="82" y="639"/>
                  </a:cubicBezTo>
                  <a:cubicBezTo>
                    <a:pt x="82" y="638"/>
                    <a:pt x="82" y="638"/>
                    <a:pt x="82" y="638"/>
                  </a:cubicBezTo>
                  <a:cubicBezTo>
                    <a:pt x="82" y="637"/>
                    <a:pt x="82" y="635"/>
                    <a:pt x="83" y="634"/>
                  </a:cubicBezTo>
                  <a:cubicBezTo>
                    <a:pt x="83" y="634"/>
                    <a:pt x="83" y="633"/>
                    <a:pt x="83" y="632"/>
                  </a:cubicBezTo>
                  <a:cubicBezTo>
                    <a:pt x="83" y="628"/>
                    <a:pt x="83" y="626"/>
                    <a:pt x="89" y="624"/>
                  </a:cubicBezTo>
                  <a:cubicBezTo>
                    <a:pt x="90" y="623"/>
                    <a:pt x="90" y="623"/>
                    <a:pt x="90" y="623"/>
                  </a:cubicBezTo>
                  <a:cubicBezTo>
                    <a:pt x="90" y="623"/>
                    <a:pt x="90" y="622"/>
                    <a:pt x="90" y="622"/>
                  </a:cubicBezTo>
                  <a:cubicBezTo>
                    <a:pt x="89" y="620"/>
                    <a:pt x="89" y="620"/>
                    <a:pt x="89" y="620"/>
                  </a:cubicBezTo>
                  <a:cubicBezTo>
                    <a:pt x="88" y="615"/>
                    <a:pt x="86" y="612"/>
                    <a:pt x="87" y="606"/>
                  </a:cubicBezTo>
                  <a:cubicBezTo>
                    <a:pt x="87" y="605"/>
                    <a:pt x="87" y="604"/>
                    <a:pt x="87" y="603"/>
                  </a:cubicBezTo>
                  <a:cubicBezTo>
                    <a:pt x="87" y="602"/>
                    <a:pt x="87" y="602"/>
                    <a:pt x="87" y="602"/>
                  </a:cubicBezTo>
                  <a:cubicBezTo>
                    <a:pt x="88" y="599"/>
                    <a:pt x="88" y="597"/>
                    <a:pt x="88" y="594"/>
                  </a:cubicBezTo>
                  <a:cubicBezTo>
                    <a:pt x="88" y="594"/>
                    <a:pt x="88" y="594"/>
                    <a:pt x="88" y="594"/>
                  </a:cubicBezTo>
                  <a:cubicBezTo>
                    <a:pt x="88" y="593"/>
                    <a:pt x="88" y="592"/>
                    <a:pt x="87" y="592"/>
                  </a:cubicBezTo>
                  <a:cubicBezTo>
                    <a:pt x="87" y="591"/>
                    <a:pt x="87" y="591"/>
                    <a:pt x="87" y="591"/>
                  </a:cubicBezTo>
                  <a:cubicBezTo>
                    <a:pt x="87" y="589"/>
                    <a:pt x="87" y="586"/>
                    <a:pt x="87" y="584"/>
                  </a:cubicBezTo>
                  <a:cubicBezTo>
                    <a:pt x="87" y="583"/>
                    <a:pt x="87" y="583"/>
                    <a:pt x="87" y="583"/>
                  </a:cubicBezTo>
                  <a:cubicBezTo>
                    <a:pt x="88" y="581"/>
                    <a:pt x="90" y="578"/>
                    <a:pt x="91" y="576"/>
                  </a:cubicBezTo>
                  <a:cubicBezTo>
                    <a:pt x="91" y="576"/>
                    <a:pt x="91" y="576"/>
                    <a:pt x="91" y="576"/>
                  </a:cubicBezTo>
                  <a:cubicBezTo>
                    <a:pt x="91" y="576"/>
                    <a:pt x="91" y="576"/>
                    <a:pt x="91" y="576"/>
                  </a:cubicBezTo>
                  <a:cubicBezTo>
                    <a:pt x="90" y="575"/>
                    <a:pt x="89" y="573"/>
                    <a:pt x="89" y="571"/>
                  </a:cubicBezTo>
                  <a:cubicBezTo>
                    <a:pt x="89" y="570"/>
                    <a:pt x="89" y="568"/>
                    <a:pt x="91" y="567"/>
                  </a:cubicBezTo>
                  <a:cubicBezTo>
                    <a:pt x="91" y="566"/>
                    <a:pt x="92" y="566"/>
                    <a:pt x="93" y="566"/>
                  </a:cubicBezTo>
                  <a:cubicBezTo>
                    <a:pt x="93" y="566"/>
                    <a:pt x="93" y="566"/>
                    <a:pt x="93" y="566"/>
                  </a:cubicBezTo>
                  <a:cubicBezTo>
                    <a:pt x="93" y="565"/>
                    <a:pt x="93" y="563"/>
                    <a:pt x="93" y="559"/>
                  </a:cubicBezTo>
                  <a:cubicBezTo>
                    <a:pt x="93" y="558"/>
                    <a:pt x="93" y="558"/>
                    <a:pt x="93" y="558"/>
                  </a:cubicBezTo>
                  <a:cubicBezTo>
                    <a:pt x="93" y="557"/>
                    <a:pt x="93" y="556"/>
                    <a:pt x="93" y="555"/>
                  </a:cubicBezTo>
                  <a:cubicBezTo>
                    <a:pt x="93" y="552"/>
                    <a:pt x="93" y="552"/>
                    <a:pt x="93" y="552"/>
                  </a:cubicBezTo>
                  <a:cubicBezTo>
                    <a:pt x="96" y="553"/>
                    <a:pt x="96" y="553"/>
                    <a:pt x="96" y="553"/>
                  </a:cubicBezTo>
                  <a:cubicBezTo>
                    <a:pt x="97" y="553"/>
                    <a:pt x="97" y="553"/>
                    <a:pt x="97" y="553"/>
                  </a:cubicBezTo>
                  <a:cubicBezTo>
                    <a:pt x="97" y="552"/>
                    <a:pt x="97" y="552"/>
                    <a:pt x="97" y="551"/>
                  </a:cubicBezTo>
                  <a:cubicBezTo>
                    <a:pt x="97" y="551"/>
                    <a:pt x="97" y="551"/>
                    <a:pt x="97" y="551"/>
                  </a:cubicBezTo>
                  <a:cubicBezTo>
                    <a:pt x="99" y="538"/>
                    <a:pt x="99" y="538"/>
                    <a:pt x="99" y="538"/>
                  </a:cubicBezTo>
                  <a:cubicBezTo>
                    <a:pt x="99" y="537"/>
                    <a:pt x="99" y="536"/>
                    <a:pt x="99" y="536"/>
                  </a:cubicBezTo>
                  <a:cubicBezTo>
                    <a:pt x="100" y="535"/>
                    <a:pt x="100" y="535"/>
                    <a:pt x="101" y="534"/>
                  </a:cubicBezTo>
                  <a:cubicBezTo>
                    <a:pt x="101" y="534"/>
                    <a:pt x="102" y="533"/>
                    <a:pt x="103" y="533"/>
                  </a:cubicBezTo>
                  <a:cubicBezTo>
                    <a:pt x="104" y="532"/>
                    <a:pt x="104" y="532"/>
                    <a:pt x="104" y="532"/>
                  </a:cubicBezTo>
                  <a:cubicBezTo>
                    <a:pt x="105" y="532"/>
                    <a:pt x="106" y="532"/>
                    <a:pt x="107" y="531"/>
                  </a:cubicBezTo>
                  <a:cubicBezTo>
                    <a:pt x="109" y="530"/>
                    <a:pt x="111" y="530"/>
                    <a:pt x="111" y="530"/>
                  </a:cubicBezTo>
                  <a:cubicBezTo>
                    <a:pt x="111" y="529"/>
                    <a:pt x="110" y="527"/>
                    <a:pt x="110" y="525"/>
                  </a:cubicBezTo>
                  <a:cubicBezTo>
                    <a:pt x="109" y="524"/>
                    <a:pt x="109" y="523"/>
                    <a:pt x="109" y="523"/>
                  </a:cubicBezTo>
                  <a:cubicBezTo>
                    <a:pt x="109" y="522"/>
                    <a:pt x="108" y="520"/>
                    <a:pt x="108" y="518"/>
                  </a:cubicBezTo>
                  <a:cubicBezTo>
                    <a:pt x="107" y="515"/>
                    <a:pt x="106" y="512"/>
                    <a:pt x="106" y="509"/>
                  </a:cubicBezTo>
                  <a:cubicBezTo>
                    <a:pt x="106" y="508"/>
                    <a:pt x="106" y="508"/>
                    <a:pt x="106" y="508"/>
                  </a:cubicBezTo>
                  <a:cubicBezTo>
                    <a:pt x="106" y="507"/>
                    <a:pt x="105" y="506"/>
                    <a:pt x="105" y="504"/>
                  </a:cubicBezTo>
                  <a:cubicBezTo>
                    <a:pt x="105" y="504"/>
                    <a:pt x="105" y="504"/>
                    <a:pt x="105" y="504"/>
                  </a:cubicBezTo>
                  <a:cubicBezTo>
                    <a:pt x="105" y="500"/>
                    <a:pt x="104" y="497"/>
                    <a:pt x="104" y="493"/>
                  </a:cubicBezTo>
                  <a:cubicBezTo>
                    <a:pt x="104" y="492"/>
                    <a:pt x="104" y="492"/>
                    <a:pt x="104" y="492"/>
                  </a:cubicBezTo>
                  <a:cubicBezTo>
                    <a:pt x="104" y="492"/>
                    <a:pt x="104" y="491"/>
                    <a:pt x="104" y="491"/>
                  </a:cubicBezTo>
                  <a:cubicBezTo>
                    <a:pt x="105" y="487"/>
                    <a:pt x="105" y="483"/>
                    <a:pt x="106" y="478"/>
                  </a:cubicBezTo>
                  <a:cubicBezTo>
                    <a:pt x="107" y="474"/>
                    <a:pt x="107" y="474"/>
                    <a:pt x="107" y="474"/>
                  </a:cubicBezTo>
                  <a:cubicBezTo>
                    <a:pt x="107" y="469"/>
                    <a:pt x="111" y="468"/>
                    <a:pt x="113" y="468"/>
                  </a:cubicBezTo>
                  <a:cubicBezTo>
                    <a:pt x="114" y="468"/>
                    <a:pt x="115" y="468"/>
                    <a:pt x="116" y="467"/>
                  </a:cubicBezTo>
                  <a:cubicBezTo>
                    <a:pt x="116" y="467"/>
                    <a:pt x="116" y="466"/>
                    <a:pt x="117" y="465"/>
                  </a:cubicBezTo>
                  <a:cubicBezTo>
                    <a:pt x="117" y="464"/>
                    <a:pt x="117" y="463"/>
                    <a:pt x="118" y="462"/>
                  </a:cubicBezTo>
                  <a:cubicBezTo>
                    <a:pt x="118" y="462"/>
                    <a:pt x="118" y="462"/>
                    <a:pt x="118" y="462"/>
                  </a:cubicBezTo>
                  <a:cubicBezTo>
                    <a:pt x="115" y="462"/>
                    <a:pt x="115" y="462"/>
                    <a:pt x="115" y="462"/>
                  </a:cubicBezTo>
                  <a:cubicBezTo>
                    <a:pt x="121" y="460"/>
                    <a:pt x="121" y="460"/>
                    <a:pt x="121" y="460"/>
                  </a:cubicBezTo>
                  <a:cubicBezTo>
                    <a:pt x="121" y="460"/>
                    <a:pt x="121" y="460"/>
                    <a:pt x="121" y="460"/>
                  </a:cubicBezTo>
                  <a:cubicBezTo>
                    <a:pt x="121" y="460"/>
                    <a:pt x="121" y="459"/>
                    <a:pt x="121" y="458"/>
                  </a:cubicBezTo>
                  <a:cubicBezTo>
                    <a:pt x="122" y="454"/>
                    <a:pt x="122" y="449"/>
                    <a:pt x="120" y="445"/>
                  </a:cubicBezTo>
                  <a:cubicBezTo>
                    <a:pt x="120" y="445"/>
                    <a:pt x="120" y="445"/>
                    <a:pt x="120" y="445"/>
                  </a:cubicBezTo>
                  <a:cubicBezTo>
                    <a:pt x="120" y="444"/>
                    <a:pt x="120" y="444"/>
                    <a:pt x="120" y="444"/>
                  </a:cubicBezTo>
                  <a:cubicBezTo>
                    <a:pt x="119" y="442"/>
                    <a:pt x="117" y="440"/>
                    <a:pt x="118" y="438"/>
                  </a:cubicBezTo>
                  <a:cubicBezTo>
                    <a:pt x="119" y="437"/>
                    <a:pt x="119" y="436"/>
                    <a:pt x="120" y="436"/>
                  </a:cubicBezTo>
                  <a:cubicBezTo>
                    <a:pt x="116" y="433"/>
                    <a:pt x="116" y="433"/>
                    <a:pt x="116" y="433"/>
                  </a:cubicBezTo>
                  <a:cubicBezTo>
                    <a:pt x="121" y="435"/>
                    <a:pt x="121" y="435"/>
                    <a:pt x="121" y="435"/>
                  </a:cubicBezTo>
                  <a:cubicBezTo>
                    <a:pt x="121" y="435"/>
                    <a:pt x="121" y="435"/>
                    <a:pt x="121" y="435"/>
                  </a:cubicBezTo>
                  <a:cubicBezTo>
                    <a:pt x="122" y="434"/>
                    <a:pt x="122" y="433"/>
                    <a:pt x="123" y="432"/>
                  </a:cubicBezTo>
                  <a:cubicBezTo>
                    <a:pt x="123" y="432"/>
                    <a:pt x="123" y="432"/>
                    <a:pt x="123" y="432"/>
                  </a:cubicBezTo>
                  <a:cubicBezTo>
                    <a:pt x="123" y="431"/>
                    <a:pt x="124" y="430"/>
                    <a:pt x="124" y="429"/>
                  </a:cubicBezTo>
                  <a:cubicBezTo>
                    <a:pt x="125" y="426"/>
                    <a:pt x="125" y="426"/>
                    <a:pt x="125" y="426"/>
                  </a:cubicBezTo>
                  <a:cubicBezTo>
                    <a:pt x="125" y="425"/>
                    <a:pt x="125" y="425"/>
                    <a:pt x="125" y="424"/>
                  </a:cubicBezTo>
                  <a:cubicBezTo>
                    <a:pt x="130" y="414"/>
                    <a:pt x="130" y="414"/>
                    <a:pt x="130" y="414"/>
                  </a:cubicBezTo>
                  <a:cubicBezTo>
                    <a:pt x="131" y="412"/>
                    <a:pt x="133" y="411"/>
                    <a:pt x="134" y="410"/>
                  </a:cubicBezTo>
                  <a:cubicBezTo>
                    <a:pt x="134" y="409"/>
                    <a:pt x="134" y="407"/>
                    <a:pt x="134" y="407"/>
                  </a:cubicBezTo>
                  <a:cubicBezTo>
                    <a:pt x="134" y="405"/>
                    <a:pt x="134" y="404"/>
                    <a:pt x="134" y="403"/>
                  </a:cubicBezTo>
                  <a:cubicBezTo>
                    <a:pt x="136" y="392"/>
                    <a:pt x="136" y="392"/>
                    <a:pt x="136" y="392"/>
                  </a:cubicBezTo>
                  <a:cubicBezTo>
                    <a:pt x="135" y="392"/>
                    <a:pt x="135" y="392"/>
                    <a:pt x="135" y="392"/>
                  </a:cubicBezTo>
                  <a:cubicBezTo>
                    <a:pt x="134" y="391"/>
                    <a:pt x="134" y="391"/>
                    <a:pt x="133" y="391"/>
                  </a:cubicBezTo>
                  <a:cubicBezTo>
                    <a:pt x="131" y="389"/>
                    <a:pt x="130" y="387"/>
                    <a:pt x="129" y="385"/>
                  </a:cubicBezTo>
                  <a:cubicBezTo>
                    <a:pt x="129" y="384"/>
                    <a:pt x="129" y="384"/>
                    <a:pt x="129" y="384"/>
                  </a:cubicBezTo>
                  <a:cubicBezTo>
                    <a:pt x="128" y="382"/>
                    <a:pt x="129" y="380"/>
                    <a:pt x="129" y="378"/>
                  </a:cubicBezTo>
                  <a:cubicBezTo>
                    <a:pt x="129" y="377"/>
                    <a:pt x="129" y="376"/>
                    <a:pt x="129" y="375"/>
                  </a:cubicBezTo>
                  <a:cubicBezTo>
                    <a:pt x="129" y="373"/>
                    <a:pt x="129" y="373"/>
                    <a:pt x="129" y="373"/>
                  </a:cubicBezTo>
                  <a:cubicBezTo>
                    <a:pt x="128" y="371"/>
                    <a:pt x="128" y="369"/>
                    <a:pt x="127" y="366"/>
                  </a:cubicBezTo>
                  <a:cubicBezTo>
                    <a:pt x="123" y="368"/>
                    <a:pt x="123" y="368"/>
                    <a:pt x="123" y="368"/>
                  </a:cubicBezTo>
                  <a:cubicBezTo>
                    <a:pt x="126" y="365"/>
                    <a:pt x="126" y="365"/>
                    <a:pt x="126" y="365"/>
                  </a:cubicBezTo>
                  <a:cubicBezTo>
                    <a:pt x="126" y="364"/>
                    <a:pt x="126" y="364"/>
                    <a:pt x="126" y="364"/>
                  </a:cubicBezTo>
                  <a:cubicBezTo>
                    <a:pt x="126" y="364"/>
                    <a:pt x="126" y="364"/>
                    <a:pt x="125" y="364"/>
                  </a:cubicBezTo>
                  <a:cubicBezTo>
                    <a:pt x="125" y="363"/>
                    <a:pt x="125" y="363"/>
                    <a:pt x="125" y="363"/>
                  </a:cubicBezTo>
                  <a:cubicBezTo>
                    <a:pt x="124" y="361"/>
                    <a:pt x="123" y="360"/>
                    <a:pt x="123" y="358"/>
                  </a:cubicBezTo>
                  <a:cubicBezTo>
                    <a:pt x="122" y="356"/>
                    <a:pt x="123" y="356"/>
                    <a:pt x="123" y="355"/>
                  </a:cubicBezTo>
                  <a:cubicBezTo>
                    <a:pt x="123" y="354"/>
                    <a:pt x="124" y="353"/>
                    <a:pt x="125" y="353"/>
                  </a:cubicBezTo>
                  <a:cubicBezTo>
                    <a:pt x="124" y="352"/>
                    <a:pt x="124" y="352"/>
                    <a:pt x="124" y="352"/>
                  </a:cubicBezTo>
                  <a:cubicBezTo>
                    <a:pt x="124" y="352"/>
                    <a:pt x="124" y="352"/>
                    <a:pt x="124" y="352"/>
                  </a:cubicBezTo>
                  <a:cubicBezTo>
                    <a:pt x="123" y="349"/>
                    <a:pt x="122" y="347"/>
                    <a:pt x="121" y="345"/>
                  </a:cubicBezTo>
                  <a:cubicBezTo>
                    <a:pt x="120" y="343"/>
                    <a:pt x="120" y="343"/>
                    <a:pt x="120" y="343"/>
                  </a:cubicBezTo>
                  <a:cubicBezTo>
                    <a:pt x="118" y="339"/>
                    <a:pt x="118" y="335"/>
                    <a:pt x="120" y="331"/>
                  </a:cubicBezTo>
                  <a:cubicBezTo>
                    <a:pt x="121" y="330"/>
                    <a:pt x="121" y="330"/>
                    <a:pt x="122" y="329"/>
                  </a:cubicBezTo>
                  <a:cubicBezTo>
                    <a:pt x="123" y="329"/>
                    <a:pt x="123" y="328"/>
                    <a:pt x="124" y="328"/>
                  </a:cubicBezTo>
                  <a:cubicBezTo>
                    <a:pt x="125" y="328"/>
                    <a:pt x="125" y="328"/>
                    <a:pt x="125" y="328"/>
                  </a:cubicBezTo>
                  <a:cubicBezTo>
                    <a:pt x="125" y="328"/>
                    <a:pt x="125" y="328"/>
                    <a:pt x="125" y="328"/>
                  </a:cubicBezTo>
                  <a:cubicBezTo>
                    <a:pt x="125" y="327"/>
                    <a:pt x="125" y="327"/>
                    <a:pt x="125" y="327"/>
                  </a:cubicBezTo>
                  <a:cubicBezTo>
                    <a:pt x="125" y="323"/>
                    <a:pt x="125" y="320"/>
                    <a:pt x="126" y="317"/>
                  </a:cubicBezTo>
                  <a:cubicBezTo>
                    <a:pt x="126" y="316"/>
                    <a:pt x="126" y="316"/>
                    <a:pt x="126" y="316"/>
                  </a:cubicBezTo>
                  <a:cubicBezTo>
                    <a:pt x="127" y="315"/>
                    <a:pt x="127" y="315"/>
                    <a:pt x="127" y="315"/>
                  </a:cubicBezTo>
                  <a:cubicBezTo>
                    <a:pt x="128" y="312"/>
                    <a:pt x="130" y="310"/>
                    <a:pt x="133" y="308"/>
                  </a:cubicBezTo>
                  <a:cubicBezTo>
                    <a:pt x="133" y="308"/>
                    <a:pt x="133" y="308"/>
                    <a:pt x="133" y="308"/>
                  </a:cubicBezTo>
                  <a:cubicBezTo>
                    <a:pt x="133" y="306"/>
                    <a:pt x="133" y="306"/>
                    <a:pt x="133" y="306"/>
                  </a:cubicBezTo>
                  <a:cubicBezTo>
                    <a:pt x="132" y="305"/>
                    <a:pt x="132" y="304"/>
                    <a:pt x="132" y="303"/>
                  </a:cubicBezTo>
                  <a:cubicBezTo>
                    <a:pt x="132" y="303"/>
                    <a:pt x="132" y="302"/>
                    <a:pt x="133" y="301"/>
                  </a:cubicBezTo>
                  <a:cubicBezTo>
                    <a:pt x="133" y="299"/>
                    <a:pt x="133" y="299"/>
                    <a:pt x="133" y="299"/>
                  </a:cubicBezTo>
                  <a:cubicBezTo>
                    <a:pt x="133" y="299"/>
                    <a:pt x="133" y="299"/>
                    <a:pt x="133" y="298"/>
                  </a:cubicBezTo>
                  <a:cubicBezTo>
                    <a:pt x="127" y="298"/>
                    <a:pt x="127" y="298"/>
                    <a:pt x="127" y="298"/>
                  </a:cubicBezTo>
                  <a:cubicBezTo>
                    <a:pt x="133" y="297"/>
                    <a:pt x="133" y="297"/>
                    <a:pt x="133" y="297"/>
                  </a:cubicBezTo>
                  <a:cubicBezTo>
                    <a:pt x="133" y="296"/>
                    <a:pt x="133" y="296"/>
                    <a:pt x="133" y="296"/>
                  </a:cubicBezTo>
                  <a:cubicBezTo>
                    <a:pt x="133" y="295"/>
                    <a:pt x="132" y="294"/>
                    <a:pt x="132" y="293"/>
                  </a:cubicBezTo>
                  <a:cubicBezTo>
                    <a:pt x="131" y="291"/>
                    <a:pt x="131" y="289"/>
                    <a:pt x="131" y="287"/>
                  </a:cubicBezTo>
                  <a:cubicBezTo>
                    <a:pt x="131" y="285"/>
                    <a:pt x="131" y="284"/>
                    <a:pt x="132" y="283"/>
                  </a:cubicBezTo>
                  <a:cubicBezTo>
                    <a:pt x="132" y="282"/>
                    <a:pt x="132" y="282"/>
                    <a:pt x="133" y="281"/>
                  </a:cubicBezTo>
                  <a:cubicBezTo>
                    <a:pt x="135" y="278"/>
                    <a:pt x="136" y="273"/>
                    <a:pt x="138" y="268"/>
                  </a:cubicBezTo>
                  <a:cubicBezTo>
                    <a:pt x="138" y="267"/>
                    <a:pt x="138" y="265"/>
                    <a:pt x="139" y="264"/>
                  </a:cubicBezTo>
                  <a:cubicBezTo>
                    <a:pt x="139" y="264"/>
                    <a:pt x="139" y="263"/>
                    <a:pt x="139" y="262"/>
                  </a:cubicBezTo>
                  <a:cubicBezTo>
                    <a:pt x="141" y="258"/>
                    <a:pt x="144" y="255"/>
                    <a:pt x="146" y="253"/>
                  </a:cubicBezTo>
                  <a:cubicBezTo>
                    <a:pt x="148" y="251"/>
                    <a:pt x="149" y="249"/>
                    <a:pt x="150" y="248"/>
                  </a:cubicBezTo>
                  <a:cubicBezTo>
                    <a:pt x="151" y="247"/>
                    <a:pt x="151" y="247"/>
                    <a:pt x="151" y="247"/>
                  </a:cubicBezTo>
                  <a:cubicBezTo>
                    <a:pt x="153" y="244"/>
                    <a:pt x="155" y="240"/>
                    <a:pt x="156" y="236"/>
                  </a:cubicBezTo>
                  <a:cubicBezTo>
                    <a:pt x="157" y="234"/>
                    <a:pt x="158" y="232"/>
                    <a:pt x="159" y="231"/>
                  </a:cubicBezTo>
                  <a:cubicBezTo>
                    <a:pt x="160" y="228"/>
                    <a:pt x="161" y="228"/>
                    <a:pt x="163" y="228"/>
                  </a:cubicBezTo>
                  <a:cubicBezTo>
                    <a:pt x="163" y="228"/>
                    <a:pt x="164" y="228"/>
                    <a:pt x="164" y="228"/>
                  </a:cubicBezTo>
                  <a:cubicBezTo>
                    <a:pt x="165" y="228"/>
                    <a:pt x="165" y="228"/>
                    <a:pt x="165" y="228"/>
                  </a:cubicBezTo>
                  <a:cubicBezTo>
                    <a:pt x="166" y="228"/>
                    <a:pt x="166" y="228"/>
                    <a:pt x="166" y="228"/>
                  </a:cubicBezTo>
                  <a:cubicBezTo>
                    <a:pt x="166" y="228"/>
                    <a:pt x="166" y="228"/>
                    <a:pt x="166" y="228"/>
                  </a:cubicBezTo>
                  <a:cubicBezTo>
                    <a:pt x="167" y="227"/>
                    <a:pt x="168" y="227"/>
                    <a:pt x="168" y="227"/>
                  </a:cubicBezTo>
                  <a:cubicBezTo>
                    <a:pt x="169" y="227"/>
                    <a:pt x="169" y="227"/>
                    <a:pt x="169" y="227"/>
                  </a:cubicBezTo>
                  <a:cubicBezTo>
                    <a:pt x="170" y="227"/>
                    <a:pt x="170" y="227"/>
                    <a:pt x="170" y="227"/>
                  </a:cubicBezTo>
                  <a:cubicBezTo>
                    <a:pt x="170" y="226"/>
                    <a:pt x="170" y="226"/>
                    <a:pt x="170" y="226"/>
                  </a:cubicBezTo>
                  <a:cubicBezTo>
                    <a:pt x="170" y="226"/>
                    <a:pt x="170" y="226"/>
                    <a:pt x="170" y="226"/>
                  </a:cubicBezTo>
                  <a:cubicBezTo>
                    <a:pt x="170" y="225"/>
                    <a:pt x="170" y="225"/>
                    <a:pt x="170" y="225"/>
                  </a:cubicBezTo>
                  <a:cubicBezTo>
                    <a:pt x="169" y="224"/>
                    <a:pt x="168" y="223"/>
                    <a:pt x="168" y="222"/>
                  </a:cubicBezTo>
                  <a:cubicBezTo>
                    <a:pt x="166" y="220"/>
                    <a:pt x="164" y="218"/>
                    <a:pt x="164" y="216"/>
                  </a:cubicBezTo>
                  <a:cubicBezTo>
                    <a:pt x="164" y="215"/>
                    <a:pt x="164" y="213"/>
                    <a:pt x="164" y="212"/>
                  </a:cubicBezTo>
                  <a:cubicBezTo>
                    <a:pt x="164" y="211"/>
                    <a:pt x="164" y="211"/>
                    <a:pt x="164" y="211"/>
                  </a:cubicBezTo>
                  <a:cubicBezTo>
                    <a:pt x="164" y="207"/>
                    <a:pt x="165" y="203"/>
                    <a:pt x="165" y="198"/>
                  </a:cubicBezTo>
                  <a:cubicBezTo>
                    <a:pt x="165" y="186"/>
                    <a:pt x="165" y="186"/>
                    <a:pt x="165" y="186"/>
                  </a:cubicBezTo>
                  <a:cubicBezTo>
                    <a:pt x="165" y="183"/>
                    <a:pt x="166" y="181"/>
                    <a:pt x="168" y="180"/>
                  </a:cubicBezTo>
                  <a:cubicBezTo>
                    <a:pt x="166" y="178"/>
                    <a:pt x="164" y="175"/>
                    <a:pt x="165" y="172"/>
                  </a:cubicBezTo>
                  <a:cubicBezTo>
                    <a:pt x="165" y="172"/>
                    <a:pt x="165" y="167"/>
                    <a:pt x="168" y="166"/>
                  </a:cubicBezTo>
                  <a:cubicBezTo>
                    <a:pt x="168" y="166"/>
                    <a:pt x="169" y="165"/>
                    <a:pt x="169" y="164"/>
                  </a:cubicBezTo>
                  <a:cubicBezTo>
                    <a:pt x="172" y="162"/>
                    <a:pt x="174" y="160"/>
                    <a:pt x="178" y="159"/>
                  </a:cubicBezTo>
                  <a:cubicBezTo>
                    <a:pt x="189" y="154"/>
                    <a:pt x="189" y="154"/>
                    <a:pt x="189" y="154"/>
                  </a:cubicBezTo>
                  <a:cubicBezTo>
                    <a:pt x="190" y="154"/>
                    <a:pt x="191" y="153"/>
                    <a:pt x="192" y="153"/>
                  </a:cubicBezTo>
                  <a:cubicBezTo>
                    <a:pt x="193" y="152"/>
                    <a:pt x="193" y="152"/>
                    <a:pt x="194" y="152"/>
                  </a:cubicBezTo>
                  <a:cubicBezTo>
                    <a:pt x="195" y="150"/>
                    <a:pt x="195" y="147"/>
                    <a:pt x="196" y="145"/>
                  </a:cubicBezTo>
                  <a:cubicBezTo>
                    <a:pt x="196" y="144"/>
                    <a:pt x="196" y="144"/>
                    <a:pt x="196" y="144"/>
                  </a:cubicBezTo>
                  <a:cubicBezTo>
                    <a:pt x="196" y="143"/>
                    <a:pt x="196" y="141"/>
                    <a:pt x="197" y="140"/>
                  </a:cubicBezTo>
                  <a:cubicBezTo>
                    <a:pt x="197" y="139"/>
                    <a:pt x="197" y="139"/>
                    <a:pt x="198" y="138"/>
                  </a:cubicBezTo>
                  <a:cubicBezTo>
                    <a:pt x="198" y="136"/>
                    <a:pt x="199" y="133"/>
                    <a:pt x="200" y="131"/>
                  </a:cubicBezTo>
                  <a:cubicBezTo>
                    <a:pt x="200" y="130"/>
                    <a:pt x="200" y="130"/>
                    <a:pt x="200" y="130"/>
                  </a:cubicBezTo>
                  <a:cubicBezTo>
                    <a:pt x="200" y="129"/>
                    <a:pt x="200" y="129"/>
                    <a:pt x="200" y="129"/>
                  </a:cubicBezTo>
                  <a:cubicBezTo>
                    <a:pt x="200" y="128"/>
                    <a:pt x="199" y="128"/>
                    <a:pt x="199" y="128"/>
                  </a:cubicBezTo>
                  <a:cubicBezTo>
                    <a:pt x="198" y="128"/>
                    <a:pt x="198" y="128"/>
                    <a:pt x="198" y="128"/>
                  </a:cubicBezTo>
                  <a:cubicBezTo>
                    <a:pt x="197" y="128"/>
                    <a:pt x="197" y="128"/>
                    <a:pt x="197" y="128"/>
                  </a:cubicBezTo>
                  <a:cubicBezTo>
                    <a:pt x="186" y="128"/>
                    <a:pt x="186" y="128"/>
                    <a:pt x="186" y="128"/>
                  </a:cubicBezTo>
                  <a:cubicBezTo>
                    <a:pt x="186" y="128"/>
                    <a:pt x="186" y="128"/>
                    <a:pt x="185" y="128"/>
                  </a:cubicBezTo>
                  <a:cubicBezTo>
                    <a:pt x="184" y="127"/>
                    <a:pt x="183" y="127"/>
                    <a:pt x="182" y="126"/>
                  </a:cubicBezTo>
                  <a:cubicBezTo>
                    <a:pt x="181" y="126"/>
                    <a:pt x="181" y="126"/>
                    <a:pt x="181" y="126"/>
                  </a:cubicBezTo>
                  <a:cubicBezTo>
                    <a:pt x="181" y="125"/>
                    <a:pt x="180" y="125"/>
                    <a:pt x="180" y="124"/>
                  </a:cubicBezTo>
                  <a:cubicBezTo>
                    <a:pt x="180" y="123"/>
                    <a:pt x="180" y="122"/>
                    <a:pt x="180" y="121"/>
                  </a:cubicBezTo>
                  <a:cubicBezTo>
                    <a:pt x="181" y="121"/>
                    <a:pt x="181" y="120"/>
                    <a:pt x="181" y="119"/>
                  </a:cubicBezTo>
                  <a:cubicBezTo>
                    <a:pt x="181" y="118"/>
                    <a:pt x="180" y="117"/>
                    <a:pt x="180" y="116"/>
                  </a:cubicBezTo>
                  <a:cubicBezTo>
                    <a:pt x="180" y="115"/>
                    <a:pt x="180" y="115"/>
                    <a:pt x="180" y="115"/>
                  </a:cubicBezTo>
                  <a:cubicBezTo>
                    <a:pt x="179" y="115"/>
                    <a:pt x="179" y="114"/>
                    <a:pt x="179" y="113"/>
                  </a:cubicBezTo>
                  <a:cubicBezTo>
                    <a:pt x="179" y="113"/>
                    <a:pt x="179" y="113"/>
                    <a:pt x="179" y="113"/>
                  </a:cubicBezTo>
                  <a:cubicBezTo>
                    <a:pt x="179" y="112"/>
                    <a:pt x="179" y="112"/>
                    <a:pt x="179" y="112"/>
                  </a:cubicBezTo>
                  <a:cubicBezTo>
                    <a:pt x="179" y="111"/>
                    <a:pt x="179" y="111"/>
                    <a:pt x="179" y="111"/>
                  </a:cubicBezTo>
                  <a:cubicBezTo>
                    <a:pt x="179" y="110"/>
                    <a:pt x="179" y="109"/>
                    <a:pt x="178" y="108"/>
                  </a:cubicBezTo>
                  <a:cubicBezTo>
                    <a:pt x="177" y="108"/>
                    <a:pt x="177" y="108"/>
                    <a:pt x="177" y="108"/>
                  </a:cubicBezTo>
                  <a:cubicBezTo>
                    <a:pt x="177" y="107"/>
                    <a:pt x="177" y="107"/>
                    <a:pt x="177" y="106"/>
                  </a:cubicBezTo>
                  <a:cubicBezTo>
                    <a:pt x="175" y="104"/>
                    <a:pt x="175" y="102"/>
                    <a:pt x="175" y="100"/>
                  </a:cubicBezTo>
                  <a:cubicBezTo>
                    <a:pt x="175" y="100"/>
                    <a:pt x="175" y="99"/>
                    <a:pt x="175" y="98"/>
                  </a:cubicBezTo>
                  <a:cubicBezTo>
                    <a:pt x="174" y="96"/>
                    <a:pt x="174" y="96"/>
                    <a:pt x="174" y="96"/>
                  </a:cubicBezTo>
                  <a:cubicBezTo>
                    <a:pt x="174" y="93"/>
                    <a:pt x="174" y="90"/>
                    <a:pt x="173" y="88"/>
                  </a:cubicBezTo>
                  <a:cubicBezTo>
                    <a:pt x="173" y="88"/>
                    <a:pt x="172" y="88"/>
                    <a:pt x="172" y="87"/>
                  </a:cubicBezTo>
                  <a:cubicBezTo>
                    <a:pt x="172" y="86"/>
                    <a:pt x="171" y="85"/>
                    <a:pt x="171" y="84"/>
                  </a:cubicBezTo>
                  <a:cubicBezTo>
                    <a:pt x="170" y="84"/>
                    <a:pt x="170" y="83"/>
                    <a:pt x="170" y="83"/>
                  </a:cubicBezTo>
                  <a:cubicBezTo>
                    <a:pt x="169" y="83"/>
                    <a:pt x="169" y="83"/>
                    <a:pt x="169" y="83"/>
                  </a:cubicBezTo>
                  <a:cubicBezTo>
                    <a:pt x="169" y="82"/>
                    <a:pt x="169" y="82"/>
                    <a:pt x="169" y="82"/>
                  </a:cubicBezTo>
                  <a:cubicBezTo>
                    <a:pt x="168" y="82"/>
                    <a:pt x="168" y="82"/>
                    <a:pt x="168" y="82"/>
                  </a:cubicBezTo>
                  <a:cubicBezTo>
                    <a:pt x="165" y="80"/>
                    <a:pt x="165" y="78"/>
                    <a:pt x="166" y="75"/>
                  </a:cubicBezTo>
                  <a:cubicBezTo>
                    <a:pt x="166" y="74"/>
                    <a:pt x="166" y="74"/>
                    <a:pt x="166" y="74"/>
                  </a:cubicBezTo>
                  <a:cubicBezTo>
                    <a:pt x="166" y="74"/>
                    <a:pt x="166" y="74"/>
                    <a:pt x="166" y="74"/>
                  </a:cubicBezTo>
                  <a:cubicBezTo>
                    <a:pt x="166" y="73"/>
                    <a:pt x="166" y="73"/>
                    <a:pt x="166" y="73"/>
                  </a:cubicBezTo>
                  <a:cubicBezTo>
                    <a:pt x="165" y="72"/>
                    <a:pt x="165" y="71"/>
                    <a:pt x="164" y="71"/>
                  </a:cubicBezTo>
                  <a:cubicBezTo>
                    <a:pt x="160" y="67"/>
                    <a:pt x="159" y="64"/>
                    <a:pt x="159" y="60"/>
                  </a:cubicBezTo>
                  <a:cubicBezTo>
                    <a:pt x="159" y="59"/>
                    <a:pt x="159" y="59"/>
                    <a:pt x="159" y="59"/>
                  </a:cubicBezTo>
                  <a:cubicBezTo>
                    <a:pt x="159" y="58"/>
                    <a:pt x="160" y="57"/>
                    <a:pt x="160" y="57"/>
                  </a:cubicBezTo>
                  <a:cubicBezTo>
                    <a:pt x="161" y="56"/>
                    <a:pt x="162" y="55"/>
                    <a:pt x="163" y="55"/>
                  </a:cubicBezTo>
                  <a:cubicBezTo>
                    <a:pt x="164" y="55"/>
                    <a:pt x="164" y="55"/>
                    <a:pt x="164" y="55"/>
                  </a:cubicBezTo>
                  <a:cubicBezTo>
                    <a:pt x="164" y="54"/>
                    <a:pt x="164" y="54"/>
                    <a:pt x="164" y="54"/>
                  </a:cubicBezTo>
                  <a:cubicBezTo>
                    <a:pt x="165" y="54"/>
                    <a:pt x="165" y="54"/>
                    <a:pt x="165" y="54"/>
                  </a:cubicBezTo>
                  <a:cubicBezTo>
                    <a:pt x="164" y="53"/>
                    <a:pt x="164" y="53"/>
                    <a:pt x="164" y="53"/>
                  </a:cubicBezTo>
                  <a:cubicBezTo>
                    <a:pt x="164" y="53"/>
                    <a:pt x="164" y="53"/>
                    <a:pt x="164" y="53"/>
                  </a:cubicBezTo>
                  <a:cubicBezTo>
                    <a:pt x="161" y="51"/>
                    <a:pt x="162" y="48"/>
                    <a:pt x="163" y="47"/>
                  </a:cubicBezTo>
                  <a:cubicBezTo>
                    <a:pt x="163" y="46"/>
                    <a:pt x="164" y="44"/>
                    <a:pt x="166" y="42"/>
                  </a:cubicBezTo>
                  <a:cubicBezTo>
                    <a:pt x="165" y="41"/>
                    <a:pt x="163" y="40"/>
                    <a:pt x="162" y="39"/>
                  </a:cubicBezTo>
                  <a:cubicBezTo>
                    <a:pt x="162" y="39"/>
                    <a:pt x="162" y="39"/>
                    <a:pt x="162" y="39"/>
                  </a:cubicBezTo>
                  <a:cubicBezTo>
                    <a:pt x="161" y="38"/>
                    <a:pt x="160" y="37"/>
                    <a:pt x="159" y="36"/>
                  </a:cubicBezTo>
                  <a:cubicBezTo>
                    <a:pt x="155" y="32"/>
                    <a:pt x="154" y="28"/>
                    <a:pt x="154" y="23"/>
                  </a:cubicBezTo>
                  <a:cubicBezTo>
                    <a:pt x="153" y="22"/>
                    <a:pt x="153" y="20"/>
                    <a:pt x="153" y="19"/>
                  </a:cubicBezTo>
                  <a:cubicBezTo>
                    <a:pt x="153" y="19"/>
                    <a:pt x="153" y="19"/>
                    <a:pt x="153" y="19"/>
                  </a:cubicBezTo>
                  <a:cubicBezTo>
                    <a:pt x="153" y="17"/>
                    <a:pt x="153" y="14"/>
                    <a:pt x="153" y="13"/>
                  </a:cubicBezTo>
                  <a:cubicBezTo>
                    <a:pt x="153" y="12"/>
                    <a:pt x="153" y="12"/>
                    <a:pt x="153" y="11"/>
                  </a:cubicBezTo>
                  <a:cubicBezTo>
                    <a:pt x="153" y="11"/>
                    <a:pt x="153" y="11"/>
                    <a:pt x="153" y="11"/>
                  </a:cubicBezTo>
                  <a:cubicBezTo>
                    <a:pt x="151" y="10"/>
                    <a:pt x="151" y="10"/>
                    <a:pt x="151" y="10"/>
                  </a:cubicBezTo>
                  <a:cubicBezTo>
                    <a:pt x="148" y="9"/>
                    <a:pt x="147" y="8"/>
                    <a:pt x="146" y="5"/>
                  </a:cubicBezTo>
                  <a:cubicBezTo>
                    <a:pt x="145" y="4"/>
                    <a:pt x="145" y="3"/>
                    <a:pt x="145" y="2"/>
                  </a:cubicBezTo>
                  <a:cubicBezTo>
                    <a:pt x="145" y="2"/>
                    <a:pt x="145" y="2"/>
                    <a:pt x="145" y="2"/>
                  </a:cubicBezTo>
                  <a:cubicBezTo>
                    <a:pt x="144" y="1"/>
                    <a:pt x="144" y="1"/>
                    <a:pt x="1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76" name="Freeform 247">
              <a:extLst>
                <a:ext uri="{FF2B5EF4-FFF2-40B4-BE49-F238E27FC236}">
                  <a16:creationId xmlns:a16="http://schemas.microsoft.com/office/drawing/2014/main" id="{2F99C580-DE03-4AE7-9E03-299929DE6E63}"/>
                </a:ext>
              </a:extLst>
            </p:cNvPr>
            <p:cNvSpPr>
              <a:spLocks/>
            </p:cNvSpPr>
            <p:nvPr/>
          </p:nvSpPr>
          <p:spPr bwMode="auto">
            <a:xfrm>
              <a:off x="8125694" y="3732639"/>
              <a:ext cx="1525252" cy="2734161"/>
            </a:xfrm>
            <a:custGeom>
              <a:avLst/>
              <a:gdLst>
                <a:gd name="T0" fmla="*/ 150 w 457"/>
                <a:gd name="T1" fmla="*/ 21 h 819"/>
                <a:gd name="T2" fmla="*/ 141 w 457"/>
                <a:gd name="T3" fmla="*/ 54 h 819"/>
                <a:gd name="T4" fmla="*/ 116 w 457"/>
                <a:gd name="T5" fmla="*/ 82 h 819"/>
                <a:gd name="T6" fmla="*/ 122 w 457"/>
                <a:gd name="T7" fmla="*/ 124 h 819"/>
                <a:gd name="T8" fmla="*/ 109 w 457"/>
                <a:gd name="T9" fmla="*/ 130 h 819"/>
                <a:gd name="T10" fmla="*/ 83 w 457"/>
                <a:gd name="T11" fmla="*/ 182 h 819"/>
                <a:gd name="T12" fmla="*/ 84 w 457"/>
                <a:gd name="T13" fmla="*/ 199 h 819"/>
                <a:gd name="T14" fmla="*/ 75 w 457"/>
                <a:gd name="T15" fmla="*/ 228 h 819"/>
                <a:gd name="T16" fmla="*/ 75 w 457"/>
                <a:gd name="T17" fmla="*/ 253 h 819"/>
                <a:gd name="T18" fmla="*/ 81 w 457"/>
                <a:gd name="T19" fmla="*/ 279 h 819"/>
                <a:gd name="T20" fmla="*/ 85 w 457"/>
                <a:gd name="T21" fmla="*/ 311 h 819"/>
                <a:gd name="T22" fmla="*/ 71 w 457"/>
                <a:gd name="T23" fmla="*/ 335 h 819"/>
                <a:gd name="T24" fmla="*/ 73 w 457"/>
                <a:gd name="T25" fmla="*/ 361 h 819"/>
                <a:gd name="T26" fmla="*/ 56 w 457"/>
                <a:gd name="T27" fmla="*/ 388 h 819"/>
                <a:gd name="T28" fmla="*/ 55 w 457"/>
                <a:gd name="T29" fmla="*/ 433 h 819"/>
                <a:gd name="T30" fmla="*/ 41 w 457"/>
                <a:gd name="T31" fmla="*/ 468 h 819"/>
                <a:gd name="T32" fmla="*/ 39 w 457"/>
                <a:gd name="T33" fmla="*/ 486 h 819"/>
                <a:gd name="T34" fmla="*/ 34 w 457"/>
                <a:gd name="T35" fmla="*/ 531 h 819"/>
                <a:gd name="T36" fmla="*/ 39 w 457"/>
                <a:gd name="T37" fmla="*/ 558 h 819"/>
                <a:gd name="T38" fmla="*/ 55 w 457"/>
                <a:gd name="T39" fmla="*/ 585 h 819"/>
                <a:gd name="T40" fmla="*/ 46 w 457"/>
                <a:gd name="T41" fmla="*/ 601 h 819"/>
                <a:gd name="T42" fmla="*/ 45 w 457"/>
                <a:gd name="T43" fmla="*/ 620 h 819"/>
                <a:gd name="T44" fmla="*/ 42 w 457"/>
                <a:gd name="T45" fmla="*/ 645 h 819"/>
                <a:gd name="T46" fmla="*/ 33 w 457"/>
                <a:gd name="T47" fmla="*/ 671 h 819"/>
                <a:gd name="T48" fmla="*/ 25 w 457"/>
                <a:gd name="T49" fmla="*/ 688 h 819"/>
                <a:gd name="T50" fmla="*/ 23 w 457"/>
                <a:gd name="T51" fmla="*/ 706 h 819"/>
                <a:gd name="T52" fmla="*/ 1 w 457"/>
                <a:gd name="T53" fmla="*/ 732 h 819"/>
                <a:gd name="T54" fmla="*/ 3 w 457"/>
                <a:gd name="T55" fmla="*/ 754 h 819"/>
                <a:gd name="T56" fmla="*/ 10 w 457"/>
                <a:gd name="T57" fmla="*/ 769 h 819"/>
                <a:gd name="T58" fmla="*/ 29 w 457"/>
                <a:gd name="T59" fmla="*/ 769 h 819"/>
                <a:gd name="T60" fmla="*/ 29 w 457"/>
                <a:gd name="T61" fmla="*/ 799 h 819"/>
                <a:gd name="T62" fmla="*/ 81 w 457"/>
                <a:gd name="T63" fmla="*/ 808 h 819"/>
                <a:gd name="T64" fmla="*/ 100 w 457"/>
                <a:gd name="T65" fmla="*/ 800 h 819"/>
                <a:gd name="T66" fmla="*/ 98 w 457"/>
                <a:gd name="T67" fmla="*/ 779 h 819"/>
                <a:gd name="T68" fmla="*/ 107 w 457"/>
                <a:gd name="T69" fmla="*/ 750 h 819"/>
                <a:gd name="T70" fmla="*/ 134 w 457"/>
                <a:gd name="T71" fmla="*/ 726 h 819"/>
                <a:gd name="T72" fmla="*/ 165 w 457"/>
                <a:gd name="T73" fmla="*/ 663 h 819"/>
                <a:gd name="T74" fmla="*/ 183 w 457"/>
                <a:gd name="T75" fmla="*/ 601 h 819"/>
                <a:gd name="T76" fmla="*/ 196 w 457"/>
                <a:gd name="T77" fmla="*/ 538 h 819"/>
                <a:gd name="T78" fmla="*/ 215 w 457"/>
                <a:gd name="T79" fmla="*/ 530 h 819"/>
                <a:gd name="T80" fmla="*/ 202 w 457"/>
                <a:gd name="T81" fmla="*/ 485 h 819"/>
                <a:gd name="T82" fmla="*/ 261 w 457"/>
                <a:gd name="T83" fmla="*/ 480 h 819"/>
                <a:gd name="T84" fmla="*/ 260 w 457"/>
                <a:gd name="T85" fmla="*/ 444 h 819"/>
                <a:gd name="T86" fmla="*/ 351 w 457"/>
                <a:gd name="T87" fmla="*/ 421 h 819"/>
                <a:gd name="T88" fmla="*/ 369 w 457"/>
                <a:gd name="T89" fmla="*/ 329 h 819"/>
                <a:gd name="T90" fmla="*/ 354 w 457"/>
                <a:gd name="T91" fmla="*/ 276 h 819"/>
                <a:gd name="T92" fmla="*/ 354 w 457"/>
                <a:gd name="T93" fmla="*/ 244 h 819"/>
                <a:gd name="T94" fmla="*/ 359 w 457"/>
                <a:gd name="T95" fmla="*/ 218 h 819"/>
                <a:gd name="T96" fmla="*/ 407 w 457"/>
                <a:gd name="T97" fmla="*/ 154 h 819"/>
                <a:gd name="T98" fmla="*/ 434 w 457"/>
                <a:gd name="T99" fmla="*/ 134 h 819"/>
                <a:gd name="T100" fmla="*/ 455 w 457"/>
                <a:gd name="T101" fmla="*/ 114 h 819"/>
                <a:gd name="T102" fmla="*/ 442 w 457"/>
                <a:gd name="T103" fmla="*/ 94 h 819"/>
                <a:gd name="T104" fmla="*/ 420 w 457"/>
                <a:gd name="T105" fmla="*/ 127 h 819"/>
                <a:gd name="T106" fmla="*/ 406 w 457"/>
                <a:gd name="T107" fmla="*/ 136 h 819"/>
                <a:gd name="T108" fmla="*/ 392 w 457"/>
                <a:gd name="T109" fmla="*/ 140 h 819"/>
                <a:gd name="T110" fmla="*/ 345 w 457"/>
                <a:gd name="T111" fmla="*/ 135 h 819"/>
                <a:gd name="T112" fmla="*/ 360 w 457"/>
                <a:gd name="T113" fmla="*/ 95 h 819"/>
                <a:gd name="T114" fmla="*/ 294 w 457"/>
                <a:gd name="T115" fmla="*/ 50 h 819"/>
                <a:gd name="T116" fmla="*/ 266 w 457"/>
                <a:gd name="T117" fmla="*/ 28 h 819"/>
                <a:gd name="T118" fmla="*/ 250 w 457"/>
                <a:gd name="T119" fmla="*/ 11 h 819"/>
                <a:gd name="T120" fmla="*/ 226 w 457"/>
                <a:gd name="T121" fmla="*/ 4 h 819"/>
                <a:gd name="T122" fmla="*/ 196 w 457"/>
                <a:gd name="T123" fmla="*/ 7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7" h="819">
                  <a:moveTo>
                    <a:pt x="170" y="0"/>
                  </a:moveTo>
                  <a:cubicBezTo>
                    <a:pt x="169" y="1"/>
                    <a:pt x="169" y="2"/>
                    <a:pt x="169" y="2"/>
                  </a:cubicBezTo>
                  <a:cubicBezTo>
                    <a:pt x="168" y="4"/>
                    <a:pt x="168" y="5"/>
                    <a:pt x="167" y="5"/>
                  </a:cubicBezTo>
                  <a:cubicBezTo>
                    <a:pt x="166" y="6"/>
                    <a:pt x="164" y="7"/>
                    <a:pt x="163" y="7"/>
                  </a:cubicBezTo>
                  <a:cubicBezTo>
                    <a:pt x="161" y="8"/>
                    <a:pt x="160" y="8"/>
                    <a:pt x="159" y="9"/>
                  </a:cubicBezTo>
                  <a:cubicBezTo>
                    <a:pt x="157" y="12"/>
                    <a:pt x="155" y="14"/>
                    <a:pt x="153" y="16"/>
                  </a:cubicBezTo>
                  <a:cubicBezTo>
                    <a:pt x="152" y="17"/>
                    <a:pt x="152" y="17"/>
                    <a:pt x="152" y="17"/>
                  </a:cubicBezTo>
                  <a:cubicBezTo>
                    <a:pt x="152" y="17"/>
                    <a:pt x="152" y="17"/>
                    <a:pt x="152" y="17"/>
                  </a:cubicBezTo>
                  <a:cubicBezTo>
                    <a:pt x="151" y="18"/>
                    <a:pt x="151" y="19"/>
                    <a:pt x="150" y="20"/>
                  </a:cubicBezTo>
                  <a:cubicBezTo>
                    <a:pt x="150" y="21"/>
                    <a:pt x="150" y="21"/>
                    <a:pt x="150" y="21"/>
                  </a:cubicBezTo>
                  <a:cubicBezTo>
                    <a:pt x="150" y="21"/>
                    <a:pt x="150" y="21"/>
                    <a:pt x="150" y="21"/>
                  </a:cubicBezTo>
                  <a:cubicBezTo>
                    <a:pt x="150" y="21"/>
                    <a:pt x="150" y="21"/>
                    <a:pt x="150" y="21"/>
                  </a:cubicBezTo>
                  <a:cubicBezTo>
                    <a:pt x="151" y="22"/>
                    <a:pt x="151" y="23"/>
                    <a:pt x="151" y="23"/>
                  </a:cubicBezTo>
                  <a:cubicBezTo>
                    <a:pt x="152" y="25"/>
                    <a:pt x="152" y="26"/>
                    <a:pt x="151" y="27"/>
                  </a:cubicBezTo>
                  <a:cubicBezTo>
                    <a:pt x="151" y="28"/>
                    <a:pt x="151" y="28"/>
                    <a:pt x="151" y="28"/>
                  </a:cubicBezTo>
                  <a:cubicBezTo>
                    <a:pt x="151" y="31"/>
                    <a:pt x="150" y="34"/>
                    <a:pt x="149" y="36"/>
                  </a:cubicBezTo>
                  <a:cubicBezTo>
                    <a:pt x="149" y="36"/>
                    <a:pt x="149" y="36"/>
                    <a:pt x="149" y="36"/>
                  </a:cubicBezTo>
                  <a:cubicBezTo>
                    <a:pt x="149" y="37"/>
                    <a:pt x="148" y="37"/>
                    <a:pt x="148" y="38"/>
                  </a:cubicBezTo>
                  <a:cubicBezTo>
                    <a:pt x="148" y="39"/>
                    <a:pt x="148" y="40"/>
                    <a:pt x="147" y="41"/>
                  </a:cubicBezTo>
                  <a:cubicBezTo>
                    <a:pt x="147" y="42"/>
                    <a:pt x="147" y="42"/>
                    <a:pt x="147" y="42"/>
                  </a:cubicBezTo>
                  <a:cubicBezTo>
                    <a:pt x="147" y="45"/>
                    <a:pt x="146" y="49"/>
                    <a:pt x="144" y="51"/>
                  </a:cubicBezTo>
                  <a:cubicBezTo>
                    <a:pt x="143" y="52"/>
                    <a:pt x="142" y="53"/>
                    <a:pt x="141" y="54"/>
                  </a:cubicBezTo>
                  <a:cubicBezTo>
                    <a:pt x="140" y="54"/>
                    <a:pt x="138" y="55"/>
                    <a:pt x="137" y="55"/>
                  </a:cubicBezTo>
                  <a:cubicBezTo>
                    <a:pt x="136" y="56"/>
                    <a:pt x="136" y="56"/>
                    <a:pt x="136" y="56"/>
                  </a:cubicBezTo>
                  <a:cubicBezTo>
                    <a:pt x="126" y="60"/>
                    <a:pt x="126" y="60"/>
                    <a:pt x="126" y="60"/>
                  </a:cubicBezTo>
                  <a:cubicBezTo>
                    <a:pt x="123" y="61"/>
                    <a:pt x="121" y="63"/>
                    <a:pt x="120" y="64"/>
                  </a:cubicBezTo>
                  <a:cubicBezTo>
                    <a:pt x="119" y="65"/>
                    <a:pt x="119" y="66"/>
                    <a:pt x="118" y="66"/>
                  </a:cubicBezTo>
                  <a:cubicBezTo>
                    <a:pt x="116" y="69"/>
                    <a:pt x="116" y="69"/>
                    <a:pt x="116" y="69"/>
                  </a:cubicBezTo>
                  <a:cubicBezTo>
                    <a:pt x="117" y="71"/>
                    <a:pt x="118" y="74"/>
                    <a:pt x="120" y="75"/>
                  </a:cubicBezTo>
                  <a:cubicBezTo>
                    <a:pt x="123" y="77"/>
                    <a:pt x="123" y="77"/>
                    <a:pt x="123" y="77"/>
                  </a:cubicBezTo>
                  <a:cubicBezTo>
                    <a:pt x="120" y="79"/>
                    <a:pt x="120" y="79"/>
                    <a:pt x="120" y="79"/>
                  </a:cubicBezTo>
                  <a:cubicBezTo>
                    <a:pt x="119" y="80"/>
                    <a:pt x="118" y="80"/>
                    <a:pt x="118" y="80"/>
                  </a:cubicBezTo>
                  <a:cubicBezTo>
                    <a:pt x="116" y="81"/>
                    <a:pt x="116" y="81"/>
                    <a:pt x="116" y="82"/>
                  </a:cubicBezTo>
                  <a:cubicBezTo>
                    <a:pt x="116" y="94"/>
                    <a:pt x="116" y="94"/>
                    <a:pt x="116" y="94"/>
                  </a:cubicBezTo>
                  <a:cubicBezTo>
                    <a:pt x="116" y="98"/>
                    <a:pt x="116" y="103"/>
                    <a:pt x="116" y="108"/>
                  </a:cubicBezTo>
                  <a:cubicBezTo>
                    <a:pt x="116" y="109"/>
                    <a:pt x="116" y="109"/>
                    <a:pt x="116" y="109"/>
                  </a:cubicBezTo>
                  <a:cubicBezTo>
                    <a:pt x="115" y="110"/>
                    <a:pt x="115" y="110"/>
                    <a:pt x="115" y="111"/>
                  </a:cubicBezTo>
                  <a:cubicBezTo>
                    <a:pt x="116" y="112"/>
                    <a:pt x="117" y="113"/>
                    <a:pt x="118" y="114"/>
                  </a:cubicBezTo>
                  <a:cubicBezTo>
                    <a:pt x="119" y="116"/>
                    <a:pt x="120" y="117"/>
                    <a:pt x="121" y="118"/>
                  </a:cubicBezTo>
                  <a:cubicBezTo>
                    <a:pt x="121" y="119"/>
                    <a:pt x="121" y="119"/>
                    <a:pt x="121" y="120"/>
                  </a:cubicBezTo>
                  <a:cubicBezTo>
                    <a:pt x="122" y="120"/>
                    <a:pt x="122" y="121"/>
                    <a:pt x="122" y="121"/>
                  </a:cubicBezTo>
                  <a:cubicBezTo>
                    <a:pt x="122" y="122"/>
                    <a:pt x="122" y="122"/>
                    <a:pt x="122" y="122"/>
                  </a:cubicBezTo>
                  <a:cubicBezTo>
                    <a:pt x="122" y="122"/>
                    <a:pt x="122" y="123"/>
                    <a:pt x="122" y="123"/>
                  </a:cubicBezTo>
                  <a:cubicBezTo>
                    <a:pt x="122" y="124"/>
                    <a:pt x="122" y="124"/>
                    <a:pt x="122" y="124"/>
                  </a:cubicBezTo>
                  <a:cubicBezTo>
                    <a:pt x="122" y="124"/>
                    <a:pt x="122" y="125"/>
                    <a:pt x="121" y="125"/>
                  </a:cubicBezTo>
                  <a:cubicBezTo>
                    <a:pt x="120" y="128"/>
                    <a:pt x="118" y="128"/>
                    <a:pt x="116" y="128"/>
                  </a:cubicBezTo>
                  <a:cubicBezTo>
                    <a:pt x="116" y="129"/>
                    <a:pt x="116" y="129"/>
                    <a:pt x="116" y="129"/>
                  </a:cubicBezTo>
                  <a:cubicBezTo>
                    <a:pt x="116" y="129"/>
                    <a:pt x="116" y="129"/>
                    <a:pt x="116" y="129"/>
                  </a:cubicBezTo>
                  <a:cubicBezTo>
                    <a:pt x="115" y="129"/>
                    <a:pt x="115" y="129"/>
                    <a:pt x="115" y="130"/>
                  </a:cubicBezTo>
                  <a:cubicBezTo>
                    <a:pt x="114" y="130"/>
                    <a:pt x="114" y="130"/>
                    <a:pt x="113" y="130"/>
                  </a:cubicBezTo>
                  <a:cubicBezTo>
                    <a:pt x="113" y="130"/>
                    <a:pt x="112" y="130"/>
                    <a:pt x="112" y="130"/>
                  </a:cubicBezTo>
                  <a:cubicBezTo>
                    <a:pt x="112" y="130"/>
                    <a:pt x="111" y="130"/>
                    <a:pt x="111" y="130"/>
                  </a:cubicBezTo>
                  <a:cubicBezTo>
                    <a:pt x="111" y="130"/>
                    <a:pt x="110" y="130"/>
                    <a:pt x="110" y="130"/>
                  </a:cubicBezTo>
                  <a:cubicBezTo>
                    <a:pt x="109" y="130"/>
                    <a:pt x="109" y="130"/>
                    <a:pt x="109" y="130"/>
                  </a:cubicBezTo>
                  <a:cubicBezTo>
                    <a:pt x="109" y="130"/>
                    <a:pt x="109" y="130"/>
                    <a:pt x="109" y="130"/>
                  </a:cubicBezTo>
                  <a:cubicBezTo>
                    <a:pt x="109" y="131"/>
                    <a:pt x="108" y="132"/>
                    <a:pt x="108" y="134"/>
                  </a:cubicBezTo>
                  <a:cubicBezTo>
                    <a:pt x="108" y="134"/>
                    <a:pt x="108" y="134"/>
                    <a:pt x="108" y="134"/>
                  </a:cubicBezTo>
                  <a:cubicBezTo>
                    <a:pt x="106" y="139"/>
                    <a:pt x="104" y="143"/>
                    <a:pt x="101" y="146"/>
                  </a:cubicBezTo>
                  <a:cubicBezTo>
                    <a:pt x="101" y="147"/>
                    <a:pt x="101" y="147"/>
                    <a:pt x="101" y="147"/>
                  </a:cubicBezTo>
                  <a:cubicBezTo>
                    <a:pt x="100" y="149"/>
                    <a:pt x="98" y="151"/>
                    <a:pt x="97" y="152"/>
                  </a:cubicBezTo>
                  <a:cubicBezTo>
                    <a:pt x="94" y="155"/>
                    <a:pt x="92" y="158"/>
                    <a:pt x="91" y="160"/>
                  </a:cubicBezTo>
                  <a:cubicBezTo>
                    <a:pt x="90" y="161"/>
                    <a:pt x="90" y="161"/>
                    <a:pt x="90" y="162"/>
                  </a:cubicBezTo>
                  <a:cubicBezTo>
                    <a:pt x="90" y="163"/>
                    <a:pt x="89" y="164"/>
                    <a:pt x="89" y="165"/>
                  </a:cubicBezTo>
                  <a:cubicBezTo>
                    <a:pt x="89" y="165"/>
                    <a:pt x="89" y="165"/>
                    <a:pt x="89" y="165"/>
                  </a:cubicBezTo>
                  <a:cubicBezTo>
                    <a:pt x="88" y="171"/>
                    <a:pt x="86" y="176"/>
                    <a:pt x="84" y="180"/>
                  </a:cubicBezTo>
                  <a:cubicBezTo>
                    <a:pt x="83" y="181"/>
                    <a:pt x="83" y="181"/>
                    <a:pt x="83" y="182"/>
                  </a:cubicBezTo>
                  <a:cubicBezTo>
                    <a:pt x="83" y="182"/>
                    <a:pt x="83" y="182"/>
                    <a:pt x="83" y="182"/>
                  </a:cubicBezTo>
                  <a:cubicBezTo>
                    <a:pt x="82" y="182"/>
                    <a:pt x="82" y="182"/>
                    <a:pt x="82" y="183"/>
                  </a:cubicBezTo>
                  <a:cubicBezTo>
                    <a:pt x="82" y="184"/>
                    <a:pt x="83" y="185"/>
                    <a:pt x="83" y="187"/>
                  </a:cubicBezTo>
                  <a:cubicBezTo>
                    <a:pt x="84" y="188"/>
                    <a:pt x="85" y="190"/>
                    <a:pt x="85" y="192"/>
                  </a:cubicBezTo>
                  <a:cubicBezTo>
                    <a:pt x="85" y="192"/>
                    <a:pt x="85" y="192"/>
                    <a:pt x="85" y="192"/>
                  </a:cubicBezTo>
                  <a:cubicBezTo>
                    <a:pt x="85" y="192"/>
                    <a:pt x="85" y="192"/>
                    <a:pt x="85" y="192"/>
                  </a:cubicBezTo>
                  <a:cubicBezTo>
                    <a:pt x="85" y="193"/>
                    <a:pt x="85" y="193"/>
                    <a:pt x="85" y="193"/>
                  </a:cubicBezTo>
                  <a:cubicBezTo>
                    <a:pt x="85" y="193"/>
                    <a:pt x="85" y="193"/>
                    <a:pt x="85" y="193"/>
                  </a:cubicBezTo>
                  <a:cubicBezTo>
                    <a:pt x="84" y="194"/>
                    <a:pt x="84" y="195"/>
                    <a:pt x="84" y="196"/>
                  </a:cubicBezTo>
                  <a:cubicBezTo>
                    <a:pt x="84" y="198"/>
                    <a:pt x="84" y="198"/>
                    <a:pt x="84" y="198"/>
                  </a:cubicBezTo>
                  <a:cubicBezTo>
                    <a:pt x="84" y="198"/>
                    <a:pt x="84" y="199"/>
                    <a:pt x="84" y="199"/>
                  </a:cubicBezTo>
                  <a:cubicBezTo>
                    <a:pt x="85" y="199"/>
                    <a:pt x="85" y="200"/>
                    <a:pt x="85" y="200"/>
                  </a:cubicBezTo>
                  <a:cubicBezTo>
                    <a:pt x="86" y="200"/>
                    <a:pt x="86" y="201"/>
                    <a:pt x="86" y="202"/>
                  </a:cubicBezTo>
                  <a:cubicBezTo>
                    <a:pt x="87" y="202"/>
                    <a:pt x="87" y="203"/>
                    <a:pt x="87" y="203"/>
                  </a:cubicBezTo>
                  <a:cubicBezTo>
                    <a:pt x="87" y="206"/>
                    <a:pt x="83" y="208"/>
                    <a:pt x="81" y="209"/>
                  </a:cubicBezTo>
                  <a:cubicBezTo>
                    <a:pt x="80" y="210"/>
                    <a:pt x="79" y="211"/>
                    <a:pt x="78" y="213"/>
                  </a:cubicBezTo>
                  <a:cubicBezTo>
                    <a:pt x="78" y="213"/>
                    <a:pt x="78" y="214"/>
                    <a:pt x="78" y="215"/>
                  </a:cubicBezTo>
                  <a:cubicBezTo>
                    <a:pt x="77" y="218"/>
                    <a:pt x="76" y="220"/>
                    <a:pt x="76" y="222"/>
                  </a:cubicBezTo>
                  <a:cubicBezTo>
                    <a:pt x="76" y="223"/>
                    <a:pt x="76" y="223"/>
                    <a:pt x="76" y="223"/>
                  </a:cubicBezTo>
                  <a:cubicBezTo>
                    <a:pt x="76" y="224"/>
                    <a:pt x="77" y="225"/>
                    <a:pt x="76" y="226"/>
                  </a:cubicBezTo>
                  <a:cubicBezTo>
                    <a:pt x="76" y="227"/>
                    <a:pt x="76" y="227"/>
                    <a:pt x="75" y="228"/>
                  </a:cubicBezTo>
                  <a:cubicBezTo>
                    <a:pt x="75" y="228"/>
                    <a:pt x="75" y="228"/>
                    <a:pt x="75" y="228"/>
                  </a:cubicBezTo>
                  <a:cubicBezTo>
                    <a:pt x="74" y="229"/>
                    <a:pt x="74" y="229"/>
                    <a:pt x="74" y="229"/>
                  </a:cubicBezTo>
                  <a:cubicBezTo>
                    <a:pt x="73" y="228"/>
                    <a:pt x="73" y="228"/>
                    <a:pt x="73" y="228"/>
                  </a:cubicBezTo>
                  <a:cubicBezTo>
                    <a:pt x="73" y="229"/>
                    <a:pt x="73" y="229"/>
                    <a:pt x="73" y="229"/>
                  </a:cubicBezTo>
                  <a:cubicBezTo>
                    <a:pt x="71" y="230"/>
                    <a:pt x="71" y="230"/>
                    <a:pt x="71" y="230"/>
                  </a:cubicBezTo>
                  <a:cubicBezTo>
                    <a:pt x="71" y="230"/>
                    <a:pt x="71" y="230"/>
                    <a:pt x="71" y="230"/>
                  </a:cubicBezTo>
                  <a:cubicBezTo>
                    <a:pt x="70" y="232"/>
                    <a:pt x="70" y="234"/>
                    <a:pt x="71" y="237"/>
                  </a:cubicBezTo>
                  <a:cubicBezTo>
                    <a:pt x="72" y="239"/>
                    <a:pt x="72" y="239"/>
                    <a:pt x="72" y="239"/>
                  </a:cubicBezTo>
                  <a:cubicBezTo>
                    <a:pt x="73" y="241"/>
                    <a:pt x="74" y="243"/>
                    <a:pt x="75" y="245"/>
                  </a:cubicBezTo>
                  <a:cubicBezTo>
                    <a:pt x="75" y="246"/>
                    <a:pt x="76" y="246"/>
                    <a:pt x="76" y="247"/>
                  </a:cubicBezTo>
                  <a:cubicBezTo>
                    <a:pt x="77" y="247"/>
                    <a:pt x="77" y="248"/>
                    <a:pt x="77" y="249"/>
                  </a:cubicBezTo>
                  <a:cubicBezTo>
                    <a:pt x="77" y="251"/>
                    <a:pt x="75" y="252"/>
                    <a:pt x="75" y="253"/>
                  </a:cubicBezTo>
                  <a:cubicBezTo>
                    <a:pt x="74" y="253"/>
                    <a:pt x="74" y="253"/>
                    <a:pt x="74" y="253"/>
                  </a:cubicBezTo>
                  <a:cubicBezTo>
                    <a:pt x="75" y="254"/>
                    <a:pt x="75" y="255"/>
                    <a:pt x="76" y="256"/>
                  </a:cubicBezTo>
                  <a:cubicBezTo>
                    <a:pt x="76" y="256"/>
                    <a:pt x="76" y="256"/>
                    <a:pt x="76" y="256"/>
                  </a:cubicBezTo>
                  <a:cubicBezTo>
                    <a:pt x="76" y="257"/>
                    <a:pt x="77" y="257"/>
                    <a:pt x="77" y="258"/>
                  </a:cubicBezTo>
                  <a:cubicBezTo>
                    <a:pt x="78" y="259"/>
                    <a:pt x="78" y="259"/>
                    <a:pt x="78" y="259"/>
                  </a:cubicBezTo>
                  <a:cubicBezTo>
                    <a:pt x="79" y="262"/>
                    <a:pt x="80" y="265"/>
                    <a:pt x="80" y="268"/>
                  </a:cubicBezTo>
                  <a:cubicBezTo>
                    <a:pt x="80" y="270"/>
                    <a:pt x="80" y="270"/>
                    <a:pt x="80" y="270"/>
                  </a:cubicBezTo>
                  <a:cubicBezTo>
                    <a:pt x="81" y="271"/>
                    <a:pt x="81" y="273"/>
                    <a:pt x="80" y="274"/>
                  </a:cubicBezTo>
                  <a:cubicBezTo>
                    <a:pt x="80" y="276"/>
                    <a:pt x="80" y="277"/>
                    <a:pt x="81" y="278"/>
                  </a:cubicBezTo>
                  <a:cubicBezTo>
                    <a:pt x="81" y="278"/>
                    <a:pt x="81" y="279"/>
                    <a:pt x="81" y="279"/>
                  </a:cubicBezTo>
                  <a:cubicBezTo>
                    <a:pt x="81" y="279"/>
                    <a:pt x="81" y="279"/>
                    <a:pt x="81" y="279"/>
                  </a:cubicBezTo>
                  <a:cubicBezTo>
                    <a:pt x="81" y="280"/>
                    <a:pt x="81" y="281"/>
                    <a:pt x="82" y="282"/>
                  </a:cubicBezTo>
                  <a:cubicBezTo>
                    <a:pt x="82" y="282"/>
                    <a:pt x="83" y="282"/>
                    <a:pt x="83" y="282"/>
                  </a:cubicBezTo>
                  <a:cubicBezTo>
                    <a:pt x="84" y="283"/>
                    <a:pt x="87" y="283"/>
                    <a:pt x="87" y="286"/>
                  </a:cubicBezTo>
                  <a:cubicBezTo>
                    <a:pt x="87" y="286"/>
                    <a:pt x="87" y="287"/>
                    <a:pt x="87" y="288"/>
                  </a:cubicBezTo>
                  <a:cubicBezTo>
                    <a:pt x="88" y="288"/>
                    <a:pt x="88" y="288"/>
                    <a:pt x="88" y="288"/>
                  </a:cubicBezTo>
                  <a:cubicBezTo>
                    <a:pt x="87" y="289"/>
                    <a:pt x="87" y="289"/>
                    <a:pt x="87" y="289"/>
                  </a:cubicBezTo>
                  <a:cubicBezTo>
                    <a:pt x="85" y="300"/>
                    <a:pt x="85" y="300"/>
                    <a:pt x="85" y="300"/>
                  </a:cubicBezTo>
                  <a:cubicBezTo>
                    <a:pt x="85" y="301"/>
                    <a:pt x="85" y="301"/>
                    <a:pt x="85" y="302"/>
                  </a:cubicBezTo>
                  <a:cubicBezTo>
                    <a:pt x="85" y="304"/>
                    <a:pt x="86" y="306"/>
                    <a:pt x="86" y="307"/>
                  </a:cubicBezTo>
                  <a:cubicBezTo>
                    <a:pt x="88" y="310"/>
                    <a:pt x="88" y="310"/>
                    <a:pt x="88" y="310"/>
                  </a:cubicBezTo>
                  <a:cubicBezTo>
                    <a:pt x="85" y="311"/>
                    <a:pt x="85" y="311"/>
                    <a:pt x="85" y="311"/>
                  </a:cubicBezTo>
                  <a:cubicBezTo>
                    <a:pt x="84" y="311"/>
                    <a:pt x="83" y="312"/>
                    <a:pt x="82" y="312"/>
                  </a:cubicBezTo>
                  <a:cubicBezTo>
                    <a:pt x="81" y="312"/>
                    <a:pt x="81" y="312"/>
                    <a:pt x="81" y="312"/>
                  </a:cubicBezTo>
                  <a:cubicBezTo>
                    <a:pt x="77" y="322"/>
                    <a:pt x="77" y="322"/>
                    <a:pt x="77" y="322"/>
                  </a:cubicBezTo>
                  <a:cubicBezTo>
                    <a:pt x="76" y="323"/>
                    <a:pt x="76" y="323"/>
                    <a:pt x="76" y="323"/>
                  </a:cubicBezTo>
                  <a:cubicBezTo>
                    <a:pt x="76" y="324"/>
                    <a:pt x="76" y="324"/>
                    <a:pt x="76" y="324"/>
                  </a:cubicBezTo>
                  <a:cubicBezTo>
                    <a:pt x="76" y="325"/>
                    <a:pt x="76" y="325"/>
                    <a:pt x="76" y="326"/>
                  </a:cubicBezTo>
                  <a:cubicBezTo>
                    <a:pt x="75" y="326"/>
                    <a:pt x="75" y="326"/>
                    <a:pt x="75" y="326"/>
                  </a:cubicBezTo>
                  <a:cubicBezTo>
                    <a:pt x="75" y="328"/>
                    <a:pt x="75" y="329"/>
                    <a:pt x="74" y="331"/>
                  </a:cubicBezTo>
                  <a:cubicBezTo>
                    <a:pt x="74" y="331"/>
                    <a:pt x="74" y="331"/>
                    <a:pt x="74" y="331"/>
                  </a:cubicBezTo>
                  <a:cubicBezTo>
                    <a:pt x="73" y="332"/>
                    <a:pt x="72" y="333"/>
                    <a:pt x="72" y="334"/>
                  </a:cubicBezTo>
                  <a:cubicBezTo>
                    <a:pt x="71" y="335"/>
                    <a:pt x="71" y="335"/>
                    <a:pt x="71" y="335"/>
                  </a:cubicBezTo>
                  <a:cubicBezTo>
                    <a:pt x="71" y="335"/>
                    <a:pt x="71" y="335"/>
                    <a:pt x="71" y="335"/>
                  </a:cubicBezTo>
                  <a:cubicBezTo>
                    <a:pt x="70" y="336"/>
                    <a:pt x="70" y="336"/>
                    <a:pt x="70" y="336"/>
                  </a:cubicBezTo>
                  <a:cubicBezTo>
                    <a:pt x="70" y="337"/>
                    <a:pt x="71" y="337"/>
                    <a:pt x="71" y="338"/>
                  </a:cubicBezTo>
                  <a:cubicBezTo>
                    <a:pt x="71" y="338"/>
                    <a:pt x="71" y="338"/>
                    <a:pt x="71" y="338"/>
                  </a:cubicBezTo>
                  <a:cubicBezTo>
                    <a:pt x="71" y="338"/>
                    <a:pt x="71" y="339"/>
                    <a:pt x="71" y="339"/>
                  </a:cubicBezTo>
                  <a:cubicBezTo>
                    <a:pt x="74" y="344"/>
                    <a:pt x="73" y="349"/>
                    <a:pt x="73" y="355"/>
                  </a:cubicBezTo>
                  <a:cubicBezTo>
                    <a:pt x="73" y="355"/>
                    <a:pt x="73" y="356"/>
                    <a:pt x="73" y="356"/>
                  </a:cubicBezTo>
                  <a:cubicBezTo>
                    <a:pt x="76" y="356"/>
                    <a:pt x="76" y="356"/>
                    <a:pt x="76" y="356"/>
                  </a:cubicBezTo>
                  <a:cubicBezTo>
                    <a:pt x="73" y="357"/>
                    <a:pt x="73" y="357"/>
                    <a:pt x="73" y="357"/>
                  </a:cubicBezTo>
                  <a:cubicBezTo>
                    <a:pt x="73" y="358"/>
                    <a:pt x="73" y="358"/>
                    <a:pt x="73" y="359"/>
                  </a:cubicBezTo>
                  <a:cubicBezTo>
                    <a:pt x="73" y="361"/>
                    <a:pt x="73" y="361"/>
                    <a:pt x="73" y="361"/>
                  </a:cubicBezTo>
                  <a:cubicBezTo>
                    <a:pt x="70" y="361"/>
                    <a:pt x="70" y="361"/>
                    <a:pt x="70" y="361"/>
                  </a:cubicBezTo>
                  <a:cubicBezTo>
                    <a:pt x="70" y="361"/>
                    <a:pt x="69" y="362"/>
                    <a:pt x="69" y="362"/>
                  </a:cubicBezTo>
                  <a:cubicBezTo>
                    <a:pt x="69" y="362"/>
                    <a:pt x="69" y="362"/>
                    <a:pt x="69" y="362"/>
                  </a:cubicBezTo>
                  <a:cubicBezTo>
                    <a:pt x="68" y="362"/>
                    <a:pt x="68" y="362"/>
                    <a:pt x="68" y="363"/>
                  </a:cubicBezTo>
                  <a:cubicBezTo>
                    <a:pt x="68" y="364"/>
                    <a:pt x="67" y="366"/>
                    <a:pt x="66" y="367"/>
                  </a:cubicBezTo>
                  <a:cubicBezTo>
                    <a:pt x="64" y="369"/>
                    <a:pt x="62" y="369"/>
                    <a:pt x="60" y="370"/>
                  </a:cubicBezTo>
                  <a:cubicBezTo>
                    <a:pt x="60" y="370"/>
                    <a:pt x="59" y="370"/>
                    <a:pt x="59" y="370"/>
                  </a:cubicBezTo>
                  <a:cubicBezTo>
                    <a:pt x="59" y="370"/>
                    <a:pt x="59" y="370"/>
                    <a:pt x="59" y="370"/>
                  </a:cubicBezTo>
                  <a:cubicBezTo>
                    <a:pt x="58" y="370"/>
                    <a:pt x="58" y="370"/>
                    <a:pt x="58" y="370"/>
                  </a:cubicBezTo>
                  <a:cubicBezTo>
                    <a:pt x="58" y="375"/>
                    <a:pt x="58" y="375"/>
                    <a:pt x="58" y="375"/>
                  </a:cubicBezTo>
                  <a:cubicBezTo>
                    <a:pt x="57" y="379"/>
                    <a:pt x="57" y="384"/>
                    <a:pt x="56" y="388"/>
                  </a:cubicBezTo>
                  <a:cubicBezTo>
                    <a:pt x="56" y="388"/>
                    <a:pt x="56" y="388"/>
                    <a:pt x="56" y="388"/>
                  </a:cubicBezTo>
                  <a:cubicBezTo>
                    <a:pt x="56" y="389"/>
                    <a:pt x="56" y="389"/>
                    <a:pt x="56" y="389"/>
                  </a:cubicBezTo>
                  <a:cubicBezTo>
                    <a:pt x="56" y="392"/>
                    <a:pt x="56" y="396"/>
                    <a:pt x="57" y="400"/>
                  </a:cubicBezTo>
                  <a:cubicBezTo>
                    <a:pt x="57" y="401"/>
                    <a:pt x="57" y="401"/>
                    <a:pt x="57" y="401"/>
                  </a:cubicBezTo>
                  <a:cubicBezTo>
                    <a:pt x="57" y="402"/>
                    <a:pt x="57" y="403"/>
                    <a:pt x="57" y="404"/>
                  </a:cubicBezTo>
                  <a:cubicBezTo>
                    <a:pt x="57" y="405"/>
                    <a:pt x="57" y="405"/>
                    <a:pt x="57" y="405"/>
                  </a:cubicBezTo>
                  <a:cubicBezTo>
                    <a:pt x="58" y="407"/>
                    <a:pt x="59" y="410"/>
                    <a:pt x="59" y="413"/>
                  </a:cubicBezTo>
                  <a:cubicBezTo>
                    <a:pt x="60" y="415"/>
                    <a:pt x="60" y="416"/>
                    <a:pt x="61" y="418"/>
                  </a:cubicBezTo>
                  <a:cubicBezTo>
                    <a:pt x="61" y="418"/>
                    <a:pt x="61" y="419"/>
                    <a:pt x="61" y="419"/>
                  </a:cubicBezTo>
                  <a:cubicBezTo>
                    <a:pt x="63" y="424"/>
                    <a:pt x="63" y="427"/>
                    <a:pt x="62" y="428"/>
                  </a:cubicBezTo>
                  <a:cubicBezTo>
                    <a:pt x="61" y="430"/>
                    <a:pt x="59" y="431"/>
                    <a:pt x="55" y="433"/>
                  </a:cubicBezTo>
                  <a:cubicBezTo>
                    <a:pt x="54" y="433"/>
                    <a:pt x="53" y="433"/>
                    <a:pt x="53" y="433"/>
                  </a:cubicBezTo>
                  <a:cubicBezTo>
                    <a:pt x="52" y="434"/>
                    <a:pt x="52" y="434"/>
                    <a:pt x="52" y="434"/>
                  </a:cubicBezTo>
                  <a:cubicBezTo>
                    <a:pt x="52" y="434"/>
                    <a:pt x="51" y="434"/>
                    <a:pt x="51" y="435"/>
                  </a:cubicBezTo>
                  <a:cubicBezTo>
                    <a:pt x="51" y="435"/>
                    <a:pt x="51" y="435"/>
                    <a:pt x="51" y="435"/>
                  </a:cubicBezTo>
                  <a:cubicBezTo>
                    <a:pt x="49" y="447"/>
                    <a:pt x="49" y="447"/>
                    <a:pt x="49" y="447"/>
                  </a:cubicBezTo>
                  <a:cubicBezTo>
                    <a:pt x="49" y="448"/>
                    <a:pt x="49" y="449"/>
                    <a:pt x="49" y="451"/>
                  </a:cubicBezTo>
                  <a:cubicBezTo>
                    <a:pt x="48" y="451"/>
                    <a:pt x="48" y="451"/>
                    <a:pt x="48" y="451"/>
                  </a:cubicBezTo>
                  <a:cubicBezTo>
                    <a:pt x="48" y="452"/>
                    <a:pt x="48" y="452"/>
                    <a:pt x="48" y="452"/>
                  </a:cubicBezTo>
                  <a:cubicBezTo>
                    <a:pt x="47" y="453"/>
                    <a:pt x="46" y="454"/>
                    <a:pt x="45" y="454"/>
                  </a:cubicBezTo>
                  <a:cubicBezTo>
                    <a:pt x="45" y="461"/>
                    <a:pt x="45" y="464"/>
                    <a:pt x="43" y="466"/>
                  </a:cubicBezTo>
                  <a:cubicBezTo>
                    <a:pt x="43" y="467"/>
                    <a:pt x="42" y="468"/>
                    <a:pt x="41" y="468"/>
                  </a:cubicBezTo>
                  <a:cubicBezTo>
                    <a:pt x="41" y="468"/>
                    <a:pt x="42" y="469"/>
                    <a:pt x="42" y="469"/>
                  </a:cubicBezTo>
                  <a:cubicBezTo>
                    <a:pt x="42" y="469"/>
                    <a:pt x="42" y="470"/>
                    <a:pt x="42" y="470"/>
                  </a:cubicBezTo>
                  <a:cubicBezTo>
                    <a:pt x="43" y="471"/>
                    <a:pt x="43" y="471"/>
                    <a:pt x="43" y="471"/>
                  </a:cubicBezTo>
                  <a:cubicBezTo>
                    <a:pt x="43" y="472"/>
                    <a:pt x="43" y="472"/>
                    <a:pt x="43" y="472"/>
                  </a:cubicBezTo>
                  <a:cubicBezTo>
                    <a:pt x="42" y="473"/>
                    <a:pt x="42" y="473"/>
                    <a:pt x="42" y="473"/>
                  </a:cubicBezTo>
                  <a:cubicBezTo>
                    <a:pt x="43" y="474"/>
                    <a:pt x="43" y="474"/>
                    <a:pt x="43" y="474"/>
                  </a:cubicBezTo>
                  <a:cubicBezTo>
                    <a:pt x="42" y="475"/>
                    <a:pt x="42" y="475"/>
                    <a:pt x="42" y="475"/>
                  </a:cubicBezTo>
                  <a:cubicBezTo>
                    <a:pt x="42" y="475"/>
                    <a:pt x="42" y="475"/>
                    <a:pt x="42" y="475"/>
                  </a:cubicBezTo>
                  <a:cubicBezTo>
                    <a:pt x="41" y="477"/>
                    <a:pt x="40" y="479"/>
                    <a:pt x="39" y="481"/>
                  </a:cubicBezTo>
                  <a:cubicBezTo>
                    <a:pt x="39" y="483"/>
                    <a:pt x="39" y="484"/>
                    <a:pt x="39" y="486"/>
                  </a:cubicBezTo>
                  <a:cubicBezTo>
                    <a:pt x="39" y="486"/>
                    <a:pt x="39" y="486"/>
                    <a:pt x="39" y="486"/>
                  </a:cubicBezTo>
                  <a:cubicBezTo>
                    <a:pt x="39" y="487"/>
                    <a:pt x="39" y="488"/>
                    <a:pt x="39" y="489"/>
                  </a:cubicBezTo>
                  <a:cubicBezTo>
                    <a:pt x="39" y="489"/>
                    <a:pt x="40" y="490"/>
                    <a:pt x="40" y="490"/>
                  </a:cubicBezTo>
                  <a:cubicBezTo>
                    <a:pt x="40" y="493"/>
                    <a:pt x="39" y="496"/>
                    <a:pt x="39" y="499"/>
                  </a:cubicBezTo>
                  <a:cubicBezTo>
                    <a:pt x="39" y="500"/>
                    <a:pt x="39" y="501"/>
                    <a:pt x="39" y="502"/>
                  </a:cubicBezTo>
                  <a:cubicBezTo>
                    <a:pt x="38" y="507"/>
                    <a:pt x="39" y="510"/>
                    <a:pt x="41" y="514"/>
                  </a:cubicBezTo>
                  <a:cubicBezTo>
                    <a:pt x="41" y="515"/>
                    <a:pt x="41" y="515"/>
                    <a:pt x="41" y="515"/>
                  </a:cubicBezTo>
                  <a:cubicBezTo>
                    <a:pt x="42" y="516"/>
                    <a:pt x="42" y="517"/>
                    <a:pt x="42" y="518"/>
                  </a:cubicBezTo>
                  <a:cubicBezTo>
                    <a:pt x="43" y="521"/>
                    <a:pt x="42" y="523"/>
                    <a:pt x="39" y="524"/>
                  </a:cubicBezTo>
                  <a:cubicBezTo>
                    <a:pt x="37" y="525"/>
                    <a:pt x="37" y="525"/>
                    <a:pt x="37" y="525"/>
                  </a:cubicBezTo>
                  <a:cubicBezTo>
                    <a:pt x="35" y="526"/>
                    <a:pt x="35" y="526"/>
                    <a:pt x="34" y="528"/>
                  </a:cubicBezTo>
                  <a:cubicBezTo>
                    <a:pt x="34" y="529"/>
                    <a:pt x="34" y="530"/>
                    <a:pt x="34" y="531"/>
                  </a:cubicBezTo>
                  <a:cubicBezTo>
                    <a:pt x="34" y="532"/>
                    <a:pt x="34" y="533"/>
                    <a:pt x="34" y="534"/>
                  </a:cubicBezTo>
                  <a:cubicBezTo>
                    <a:pt x="33" y="536"/>
                    <a:pt x="33" y="536"/>
                    <a:pt x="33" y="536"/>
                  </a:cubicBezTo>
                  <a:cubicBezTo>
                    <a:pt x="33" y="541"/>
                    <a:pt x="33" y="541"/>
                    <a:pt x="33" y="541"/>
                  </a:cubicBezTo>
                  <a:cubicBezTo>
                    <a:pt x="33" y="543"/>
                    <a:pt x="33" y="543"/>
                    <a:pt x="33" y="544"/>
                  </a:cubicBezTo>
                  <a:cubicBezTo>
                    <a:pt x="33" y="544"/>
                    <a:pt x="33" y="545"/>
                    <a:pt x="33" y="546"/>
                  </a:cubicBezTo>
                  <a:cubicBezTo>
                    <a:pt x="34" y="546"/>
                    <a:pt x="34" y="546"/>
                    <a:pt x="36" y="547"/>
                  </a:cubicBezTo>
                  <a:cubicBezTo>
                    <a:pt x="37" y="547"/>
                    <a:pt x="39" y="547"/>
                    <a:pt x="41" y="549"/>
                  </a:cubicBezTo>
                  <a:cubicBezTo>
                    <a:pt x="42" y="550"/>
                    <a:pt x="43" y="551"/>
                    <a:pt x="43" y="552"/>
                  </a:cubicBezTo>
                  <a:cubicBezTo>
                    <a:pt x="43" y="553"/>
                    <a:pt x="43" y="554"/>
                    <a:pt x="42" y="555"/>
                  </a:cubicBezTo>
                  <a:cubicBezTo>
                    <a:pt x="42" y="555"/>
                    <a:pt x="42" y="556"/>
                    <a:pt x="41" y="556"/>
                  </a:cubicBezTo>
                  <a:cubicBezTo>
                    <a:pt x="41" y="557"/>
                    <a:pt x="40" y="557"/>
                    <a:pt x="39" y="558"/>
                  </a:cubicBezTo>
                  <a:cubicBezTo>
                    <a:pt x="39" y="558"/>
                    <a:pt x="39" y="558"/>
                    <a:pt x="39" y="558"/>
                  </a:cubicBezTo>
                  <a:cubicBezTo>
                    <a:pt x="40" y="559"/>
                    <a:pt x="40" y="559"/>
                    <a:pt x="40" y="559"/>
                  </a:cubicBezTo>
                  <a:cubicBezTo>
                    <a:pt x="41" y="560"/>
                    <a:pt x="42" y="560"/>
                    <a:pt x="42" y="562"/>
                  </a:cubicBezTo>
                  <a:cubicBezTo>
                    <a:pt x="42" y="563"/>
                    <a:pt x="43" y="564"/>
                    <a:pt x="43" y="565"/>
                  </a:cubicBezTo>
                  <a:cubicBezTo>
                    <a:pt x="44" y="568"/>
                    <a:pt x="45" y="571"/>
                    <a:pt x="44" y="573"/>
                  </a:cubicBezTo>
                  <a:cubicBezTo>
                    <a:pt x="44" y="574"/>
                    <a:pt x="43" y="575"/>
                    <a:pt x="43" y="576"/>
                  </a:cubicBezTo>
                  <a:cubicBezTo>
                    <a:pt x="43" y="576"/>
                    <a:pt x="43" y="576"/>
                    <a:pt x="43" y="576"/>
                  </a:cubicBezTo>
                  <a:cubicBezTo>
                    <a:pt x="42" y="577"/>
                    <a:pt x="42" y="578"/>
                    <a:pt x="42" y="578"/>
                  </a:cubicBezTo>
                  <a:cubicBezTo>
                    <a:pt x="41" y="582"/>
                    <a:pt x="41" y="582"/>
                    <a:pt x="41" y="582"/>
                  </a:cubicBezTo>
                  <a:cubicBezTo>
                    <a:pt x="42" y="582"/>
                    <a:pt x="43" y="582"/>
                    <a:pt x="44" y="582"/>
                  </a:cubicBezTo>
                  <a:cubicBezTo>
                    <a:pt x="48" y="582"/>
                    <a:pt x="53" y="583"/>
                    <a:pt x="55" y="585"/>
                  </a:cubicBezTo>
                  <a:cubicBezTo>
                    <a:pt x="56" y="586"/>
                    <a:pt x="56" y="586"/>
                    <a:pt x="56" y="586"/>
                  </a:cubicBezTo>
                  <a:cubicBezTo>
                    <a:pt x="57" y="587"/>
                    <a:pt x="57" y="589"/>
                    <a:pt x="57" y="591"/>
                  </a:cubicBezTo>
                  <a:cubicBezTo>
                    <a:pt x="56" y="592"/>
                    <a:pt x="55" y="593"/>
                    <a:pt x="55" y="593"/>
                  </a:cubicBezTo>
                  <a:cubicBezTo>
                    <a:pt x="54" y="594"/>
                    <a:pt x="54" y="594"/>
                    <a:pt x="54" y="595"/>
                  </a:cubicBezTo>
                  <a:cubicBezTo>
                    <a:pt x="53" y="597"/>
                    <a:pt x="53" y="599"/>
                    <a:pt x="51" y="599"/>
                  </a:cubicBezTo>
                  <a:cubicBezTo>
                    <a:pt x="50" y="600"/>
                    <a:pt x="50" y="600"/>
                    <a:pt x="49" y="600"/>
                  </a:cubicBezTo>
                  <a:cubicBezTo>
                    <a:pt x="49" y="600"/>
                    <a:pt x="48" y="600"/>
                    <a:pt x="48" y="600"/>
                  </a:cubicBezTo>
                  <a:cubicBezTo>
                    <a:pt x="47" y="600"/>
                    <a:pt x="46" y="599"/>
                    <a:pt x="45" y="599"/>
                  </a:cubicBezTo>
                  <a:cubicBezTo>
                    <a:pt x="44" y="599"/>
                    <a:pt x="44" y="599"/>
                    <a:pt x="44" y="599"/>
                  </a:cubicBezTo>
                  <a:cubicBezTo>
                    <a:pt x="45" y="600"/>
                    <a:pt x="45" y="600"/>
                    <a:pt x="45" y="600"/>
                  </a:cubicBezTo>
                  <a:cubicBezTo>
                    <a:pt x="46" y="601"/>
                    <a:pt x="46" y="601"/>
                    <a:pt x="46" y="601"/>
                  </a:cubicBezTo>
                  <a:cubicBezTo>
                    <a:pt x="47" y="601"/>
                    <a:pt x="47" y="602"/>
                    <a:pt x="47" y="602"/>
                  </a:cubicBezTo>
                  <a:cubicBezTo>
                    <a:pt x="47" y="603"/>
                    <a:pt x="47" y="603"/>
                    <a:pt x="47" y="603"/>
                  </a:cubicBezTo>
                  <a:cubicBezTo>
                    <a:pt x="48" y="604"/>
                    <a:pt x="48" y="604"/>
                    <a:pt x="48" y="604"/>
                  </a:cubicBezTo>
                  <a:cubicBezTo>
                    <a:pt x="48" y="604"/>
                    <a:pt x="48" y="604"/>
                    <a:pt x="49" y="605"/>
                  </a:cubicBezTo>
                  <a:cubicBezTo>
                    <a:pt x="49" y="605"/>
                    <a:pt x="50" y="606"/>
                    <a:pt x="50" y="606"/>
                  </a:cubicBezTo>
                  <a:cubicBezTo>
                    <a:pt x="51" y="608"/>
                    <a:pt x="52" y="609"/>
                    <a:pt x="52" y="611"/>
                  </a:cubicBezTo>
                  <a:cubicBezTo>
                    <a:pt x="52" y="613"/>
                    <a:pt x="51" y="614"/>
                    <a:pt x="50" y="615"/>
                  </a:cubicBezTo>
                  <a:cubicBezTo>
                    <a:pt x="50" y="615"/>
                    <a:pt x="50" y="615"/>
                    <a:pt x="50" y="615"/>
                  </a:cubicBezTo>
                  <a:cubicBezTo>
                    <a:pt x="50" y="616"/>
                    <a:pt x="50" y="616"/>
                    <a:pt x="50" y="616"/>
                  </a:cubicBezTo>
                  <a:cubicBezTo>
                    <a:pt x="49" y="616"/>
                    <a:pt x="49" y="616"/>
                    <a:pt x="49" y="616"/>
                  </a:cubicBezTo>
                  <a:cubicBezTo>
                    <a:pt x="48" y="618"/>
                    <a:pt x="48" y="619"/>
                    <a:pt x="45" y="620"/>
                  </a:cubicBezTo>
                  <a:cubicBezTo>
                    <a:pt x="44" y="621"/>
                    <a:pt x="43" y="621"/>
                    <a:pt x="43" y="621"/>
                  </a:cubicBezTo>
                  <a:cubicBezTo>
                    <a:pt x="42" y="622"/>
                    <a:pt x="42" y="622"/>
                    <a:pt x="42" y="622"/>
                  </a:cubicBezTo>
                  <a:cubicBezTo>
                    <a:pt x="42" y="622"/>
                    <a:pt x="41" y="622"/>
                    <a:pt x="41" y="623"/>
                  </a:cubicBezTo>
                  <a:cubicBezTo>
                    <a:pt x="41" y="624"/>
                    <a:pt x="42" y="624"/>
                    <a:pt x="42" y="625"/>
                  </a:cubicBezTo>
                  <a:cubicBezTo>
                    <a:pt x="42" y="626"/>
                    <a:pt x="43" y="626"/>
                    <a:pt x="43" y="627"/>
                  </a:cubicBezTo>
                  <a:cubicBezTo>
                    <a:pt x="43" y="627"/>
                    <a:pt x="43" y="627"/>
                    <a:pt x="43" y="627"/>
                  </a:cubicBezTo>
                  <a:cubicBezTo>
                    <a:pt x="44" y="629"/>
                    <a:pt x="45" y="631"/>
                    <a:pt x="44" y="633"/>
                  </a:cubicBezTo>
                  <a:cubicBezTo>
                    <a:pt x="43" y="634"/>
                    <a:pt x="43" y="634"/>
                    <a:pt x="43" y="634"/>
                  </a:cubicBezTo>
                  <a:cubicBezTo>
                    <a:pt x="43" y="634"/>
                    <a:pt x="43" y="635"/>
                    <a:pt x="42" y="635"/>
                  </a:cubicBezTo>
                  <a:cubicBezTo>
                    <a:pt x="40" y="638"/>
                    <a:pt x="40" y="638"/>
                    <a:pt x="40" y="638"/>
                  </a:cubicBezTo>
                  <a:cubicBezTo>
                    <a:pt x="42" y="645"/>
                    <a:pt x="42" y="645"/>
                    <a:pt x="42" y="645"/>
                  </a:cubicBezTo>
                  <a:cubicBezTo>
                    <a:pt x="43" y="646"/>
                    <a:pt x="43" y="646"/>
                    <a:pt x="43" y="646"/>
                  </a:cubicBezTo>
                  <a:cubicBezTo>
                    <a:pt x="43" y="648"/>
                    <a:pt x="44" y="651"/>
                    <a:pt x="43" y="653"/>
                  </a:cubicBezTo>
                  <a:cubicBezTo>
                    <a:pt x="43" y="654"/>
                    <a:pt x="41" y="655"/>
                    <a:pt x="41" y="655"/>
                  </a:cubicBezTo>
                  <a:cubicBezTo>
                    <a:pt x="40" y="656"/>
                    <a:pt x="40" y="656"/>
                    <a:pt x="40" y="656"/>
                  </a:cubicBezTo>
                  <a:cubicBezTo>
                    <a:pt x="40" y="656"/>
                    <a:pt x="39" y="657"/>
                    <a:pt x="39" y="657"/>
                  </a:cubicBezTo>
                  <a:cubicBezTo>
                    <a:pt x="37" y="659"/>
                    <a:pt x="37" y="659"/>
                    <a:pt x="38" y="663"/>
                  </a:cubicBezTo>
                  <a:cubicBezTo>
                    <a:pt x="39" y="666"/>
                    <a:pt x="39" y="666"/>
                    <a:pt x="39" y="666"/>
                  </a:cubicBezTo>
                  <a:cubicBezTo>
                    <a:pt x="40" y="669"/>
                    <a:pt x="37" y="670"/>
                    <a:pt x="36" y="671"/>
                  </a:cubicBezTo>
                  <a:cubicBezTo>
                    <a:pt x="36" y="671"/>
                    <a:pt x="35" y="672"/>
                    <a:pt x="34" y="672"/>
                  </a:cubicBezTo>
                  <a:cubicBezTo>
                    <a:pt x="33" y="671"/>
                    <a:pt x="33" y="671"/>
                    <a:pt x="33" y="671"/>
                  </a:cubicBezTo>
                  <a:cubicBezTo>
                    <a:pt x="33" y="671"/>
                    <a:pt x="33" y="671"/>
                    <a:pt x="33" y="671"/>
                  </a:cubicBezTo>
                  <a:cubicBezTo>
                    <a:pt x="33" y="672"/>
                    <a:pt x="33" y="672"/>
                    <a:pt x="33" y="672"/>
                  </a:cubicBezTo>
                  <a:cubicBezTo>
                    <a:pt x="33" y="673"/>
                    <a:pt x="32" y="673"/>
                    <a:pt x="32" y="673"/>
                  </a:cubicBezTo>
                  <a:cubicBezTo>
                    <a:pt x="31" y="674"/>
                    <a:pt x="31" y="674"/>
                    <a:pt x="31" y="674"/>
                  </a:cubicBezTo>
                  <a:cubicBezTo>
                    <a:pt x="30" y="674"/>
                    <a:pt x="30" y="675"/>
                    <a:pt x="29" y="675"/>
                  </a:cubicBezTo>
                  <a:cubicBezTo>
                    <a:pt x="29" y="675"/>
                    <a:pt x="29" y="676"/>
                    <a:pt x="29" y="676"/>
                  </a:cubicBezTo>
                  <a:cubicBezTo>
                    <a:pt x="28" y="677"/>
                    <a:pt x="28" y="677"/>
                    <a:pt x="28" y="677"/>
                  </a:cubicBezTo>
                  <a:cubicBezTo>
                    <a:pt x="25" y="686"/>
                    <a:pt x="25" y="686"/>
                    <a:pt x="25" y="686"/>
                  </a:cubicBezTo>
                  <a:cubicBezTo>
                    <a:pt x="24" y="686"/>
                    <a:pt x="24" y="687"/>
                    <a:pt x="24" y="687"/>
                  </a:cubicBezTo>
                  <a:cubicBezTo>
                    <a:pt x="24" y="687"/>
                    <a:pt x="24" y="687"/>
                    <a:pt x="24" y="687"/>
                  </a:cubicBezTo>
                  <a:cubicBezTo>
                    <a:pt x="25" y="688"/>
                    <a:pt x="25" y="688"/>
                    <a:pt x="25" y="688"/>
                  </a:cubicBezTo>
                  <a:cubicBezTo>
                    <a:pt x="25" y="688"/>
                    <a:pt x="25" y="688"/>
                    <a:pt x="25" y="688"/>
                  </a:cubicBezTo>
                  <a:cubicBezTo>
                    <a:pt x="27" y="689"/>
                    <a:pt x="28" y="690"/>
                    <a:pt x="29" y="691"/>
                  </a:cubicBezTo>
                  <a:cubicBezTo>
                    <a:pt x="29" y="692"/>
                    <a:pt x="29" y="694"/>
                    <a:pt x="29" y="695"/>
                  </a:cubicBezTo>
                  <a:cubicBezTo>
                    <a:pt x="29" y="695"/>
                    <a:pt x="29" y="697"/>
                    <a:pt x="29" y="698"/>
                  </a:cubicBezTo>
                  <a:cubicBezTo>
                    <a:pt x="29" y="698"/>
                    <a:pt x="29" y="699"/>
                    <a:pt x="29" y="701"/>
                  </a:cubicBezTo>
                  <a:cubicBezTo>
                    <a:pt x="29" y="702"/>
                    <a:pt x="28" y="703"/>
                    <a:pt x="27" y="703"/>
                  </a:cubicBezTo>
                  <a:cubicBezTo>
                    <a:pt x="26" y="703"/>
                    <a:pt x="25" y="704"/>
                    <a:pt x="25" y="705"/>
                  </a:cubicBezTo>
                  <a:cubicBezTo>
                    <a:pt x="25" y="705"/>
                    <a:pt x="25" y="705"/>
                    <a:pt x="25" y="705"/>
                  </a:cubicBezTo>
                  <a:cubicBezTo>
                    <a:pt x="24" y="705"/>
                    <a:pt x="23" y="705"/>
                    <a:pt x="23" y="705"/>
                  </a:cubicBezTo>
                  <a:cubicBezTo>
                    <a:pt x="23" y="705"/>
                    <a:pt x="23" y="705"/>
                    <a:pt x="23" y="705"/>
                  </a:cubicBezTo>
                  <a:cubicBezTo>
                    <a:pt x="23" y="706"/>
                    <a:pt x="23" y="706"/>
                    <a:pt x="23" y="706"/>
                  </a:cubicBezTo>
                  <a:cubicBezTo>
                    <a:pt x="23" y="706"/>
                    <a:pt x="23" y="706"/>
                    <a:pt x="23" y="706"/>
                  </a:cubicBezTo>
                  <a:cubicBezTo>
                    <a:pt x="23" y="708"/>
                    <a:pt x="23" y="708"/>
                    <a:pt x="23" y="708"/>
                  </a:cubicBezTo>
                  <a:cubicBezTo>
                    <a:pt x="23" y="710"/>
                    <a:pt x="23" y="711"/>
                    <a:pt x="23" y="711"/>
                  </a:cubicBezTo>
                  <a:cubicBezTo>
                    <a:pt x="23" y="712"/>
                    <a:pt x="23" y="712"/>
                    <a:pt x="23" y="712"/>
                  </a:cubicBezTo>
                  <a:cubicBezTo>
                    <a:pt x="23" y="716"/>
                    <a:pt x="21" y="717"/>
                    <a:pt x="19" y="718"/>
                  </a:cubicBezTo>
                  <a:cubicBezTo>
                    <a:pt x="19" y="719"/>
                    <a:pt x="18" y="719"/>
                    <a:pt x="18" y="719"/>
                  </a:cubicBezTo>
                  <a:cubicBezTo>
                    <a:pt x="17" y="720"/>
                    <a:pt x="17" y="720"/>
                    <a:pt x="17" y="720"/>
                  </a:cubicBezTo>
                  <a:cubicBezTo>
                    <a:pt x="16" y="721"/>
                    <a:pt x="15" y="721"/>
                    <a:pt x="15" y="722"/>
                  </a:cubicBezTo>
                  <a:cubicBezTo>
                    <a:pt x="15" y="722"/>
                    <a:pt x="14" y="723"/>
                    <a:pt x="14" y="724"/>
                  </a:cubicBezTo>
                  <a:cubicBezTo>
                    <a:pt x="11" y="727"/>
                    <a:pt x="9" y="730"/>
                    <a:pt x="7" y="730"/>
                  </a:cubicBezTo>
                  <a:cubicBezTo>
                    <a:pt x="6" y="731"/>
                    <a:pt x="4" y="731"/>
                    <a:pt x="3" y="731"/>
                  </a:cubicBezTo>
                  <a:cubicBezTo>
                    <a:pt x="2" y="731"/>
                    <a:pt x="2" y="732"/>
                    <a:pt x="1" y="732"/>
                  </a:cubicBezTo>
                  <a:cubicBezTo>
                    <a:pt x="1" y="733"/>
                    <a:pt x="0" y="734"/>
                    <a:pt x="0" y="735"/>
                  </a:cubicBezTo>
                  <a:cubicBezTo>
                    <a:pt x="1" y="736"/>
                    <a:pt x="1" y="736"/>
                    <a:pt x="1" y="736"/>
                  </a:cubicBezTo>
                  <a:cubicBezTo>
                    <a:pt x="1" y="737"/>
                    <a:pt x="1" y="737"/>
                    <a:pt x="1" y="738"/>
                  </a:cubicBezTo>
                  <a:cubicBezTo>
                    <a:pt x="1" y="740"/>
                    <a:pt x="1" y="742"/>
                    <a:pt x="1" y="744"/>
                  </a:cubicBezTo>
                  <a:cubicBezTo>
                    <a:pt x="1" y="746"/>
                    <a:pt x="0" y="748"/>
                    <a:pt x="1" y="749"/>
                  </a:cubicBezTo>
                  <a:cubicBezTo>
                    <a:pt x="1" y="751"/>
                    <a:pt x="1" y="751"/>
                    <a:pt x="1" y="751"/>
                  </a:cubicBezTo>
                  <a:cubicBezTo>
                    <a:pt x="1" y="752"/>
                    <a:pt x="1" y="752"/>
                    <a:pt x="1" y="752"/>
                  </a:cubicBezTo>
                  <a:cubicBezTo>
                    <a:pt x="1" y="752"/>
                    <a:pt x="1" y="752"/>
                    <a:pt x="1" y="752"/>
                  </a:cubicBezTo>
                  <a:cubicBezTo>
                    <a:pt x="1" y="753"/>
                    <a:pt x="1" y="753"/>
                    <a:pt x="1" y="753"/>
                  </a:cubicBezTo>
                  <a:cubicBezTo>
                    <a:pt x="2" y="753"/>
                    <a:pt x="2" y="753"/>
                    <a:pt x="2" y="753"/>
                  </a:cubicBezTo>
                  <a:cubicBezTo>
                    <a:pt x="3" y="754"/>
                    <a:pt x="3" y="754"/>
                    <a:pt x="3" y="754"/>
                  </a:cubicBezTo>
                  <a:cubicBezTo>
                    <a:pt x="3" y="754"/>
                    <a:pt x="4" y="755"/>
                    <a:pt x="5" y="756"/>
                  </a:cubicBezTo>
                  <a:cubicBezTo>
                    <a:pt x="6" y="757"/>
                    <a:pt x="6" y="758"/>
                    <a:pt x="6" y="759"/>
                  </a:cubicBezTo>
                  <a:cubicBezTo>
                    <a:pt x="7" y="761"/>
                    <a:pt x="7" y="761"/>
                    <a:pt x="7" y="761"/>
                  </a:cubicBezTo>
                  <a:cubicBezTo>
                    <a:pt x="7" y="762"/>
                    <a:pt x="7" y="763"/>
                    <a:pt x="7" y="764"/>
                  </a:cubicBezTo>
                  <a:cubicBezTo>
                    <a:pt x="7" y="765"/>
                    <a:pt x="8" y="766"/>
                    <a:pt x="8" y="767"/>
                  </a:cubicBezTo>
                  <a:cubicBezTo>
                    <a:pt x="8" y="770"/>
                    <a:pt x="8" y="770"/>
                    <a:pt x="8" y="770"/>
                  </a:cubicBezTo>
                  <a:cubicBezTo>
                    <a:pt x="8" y="770"/>
                    <a:pt x="8" y="770"/>
                    <a:pt x="8" y="770"/>
                  </a:cubicBezTo>
                  <a:cubicBezTo>
                    <a:pt x="8" y="770"/>
                    <a:pt x="8" y="770"/>
                    <a:pt x="8" y="770"/>
                  </a:cubicBezTo>
                  <a:cubicBezTo>
                    <a:pt x="9" y="770"/>
                    <a:pt x="9" y="770"/>
                    <a:pt x="9" y="770"/>
                  </a:cubicBezTo>
                  <a:cubicBezTo>
                    <a:pt x="9" y="769"/>
                    <a:pt x="10" y="769"/>
                    <a:pt x="10" y="769"/>
                  </a:cubicBezTo>
                  <a:cubicBezTo>
                    <a:pt x="10" y="769"/>
                    <a:pt x="10" y="769"/>
                    <a:pt x="10" y="769"/>
                  </a:cubicBezTo>
                  <a:cubicBezTo>
                    <a:pt x="11" y="768"/>
                    <a:pt x="12" y="767"/>
                    <a:pt x="12" y="767"/>
                  </a:cubicBezTo>
                  <a:cubicBezTo>
                    <a:pt x="14" y="766"/>
                    <a:pt x="15" y="766"/>
                    <a:pt x="16" y="766"/>
                  </a:cubicBezTo>
                  <a:cubicBezTo>
                    <a:pt x="16" y="766"/>
                    <a:pt x="16" y="766"/>
                    <a:pt x="17" y="766"/>
                  </a:cubicBezTo>
                  <a:cubicBezTo>
                    <a:pt x="18" y="766"/>
                    <a:pt x="18" y="766"/>
                    <a:pt x="19" y="767"/>
                  </a:cubicBezTo>
                  <a:cubicBezTo>
                    <a:pt x="19" y="766"/>
                    <a:pt x="19" y="766"/>
                    <a:pt x="19" y="766"/>
                  </a:cubicBezTo>
                  <a:cubicBezTo>
                    <a:pt x="21" y="766"/>
                    <a:pt x="23" y="765"/>
                    <a:pt x="24" y="765"/>
                  </a:cubicBezTo>
                  <a:cubicBezTo>
                    <a:pt x="25" y="765"/>
                    <a:pt x="25" y="765"/>
                    <a:pt x="25" y="765"/>
                  </a:cubicBezTo>
                  <a:cubicBezTo>
                    <a:pt x="25" y="764"/>
                    <a:pt x="25" y="764"/>
                    <a:pt x="25" y="764"/>
                  </a:cubicBezTo>
                  <a:cubicBezTo>
                    <a:pt x="25" y="766"/>
                    <a:pt x="25" y="766"/>
                    <a:pt x="25" y="766"/>
                  </a:cubicBezTo>
                  <a:cubicBezTo>
                    <a:pt x="26" y="766"/>
                    <a:pt x="27" y="766"/>
                    <a:pt x="28" y="766"/>
                  </a:cubicBezTo>
                  <a:cubicBezTo>
                    <a:pt x="29" y="767"/>
                    <a:pt x="29" y="768"/>
                    <a:pt x="29" y="769"/>
                  </a:cubicBezTo>
                  <a:cubicBezTo>
                    <a:pt x="29" y="770"/>
                    <a:pt x="29" y="770"/>
                    <a:pt x="29" y="770"/>
                  </a:cubicBezTo>
                  <a:cubicBezTo>
                    <a:pt x="30" y="772"/>
                    <a:pt x="30" y="773"/>
                    <a:pt x="30" y="775"/>
                  </a:cubicBezTo>
                  <a:cubicBezTo>
                    <a:pt x="30" y="776"/>
                    <a:pt x="30" y="778"/>
                    <a:pt x="30" y="780"/>
                  </a:cubicBezTo>
                  <a:cubicBezTo>
                    <a:pt x="29" y="782"/>
                    <a:pt x="29" y="783"/>
                    <a:pt x="28" y="784"/>
                  </a:cubicBezTo>
                  <a:cubicBezTo>
                    <a:pt x="28" y="784"/>
                    <a:pt x="28" y="784"/>
                    <a:pt x="28" y="784"/>
                  </a:cubicBezTo>
                  <a:cubicBezTo>
                    <a:pt x="28" y="785"/>
                    <a:pt x="28" y="785"/>
                    <a:pt x="28" y="785"/>
                  </a:cubicBezTo>
                  <a:cubicBezTo>
                    <a:pt x="29" y="786"/>
                    <a:pt x="30" y="787"/>
                    <a:pt x="30" y="788"/>
                  </a:cubicBezTo>
                  <a:cubicBezTo>
                    <a:pt x="30" y="790"/>
                    <a:pt x="29" y="793"/>
                    <a:pt x="28" y="794"/>
                  </a:cubicBezTo>
                  <a:cubicBezTo>
                    <a:pt x="28" y="795"/>
                    <a:pt x="28" y="796"/>
                    <a:pt x="27" y="796"/>
                  </a:cubicBezTo>
                  <a:cubicBezTo>
                    <a:pt x="27" y="797"/>
                    <a:pt x="27" y="797"/>
                    <a:pt x="27" y="797"/>
                  </a:cubicBezTo>
                  <a:cubicBezTo>
                    <a:pt x="28" y="799"/>
                    <a:pt x="28" y="799"/>
                    <a:pt x="29" y="799"/>
                  </a:cubicBezTo>
                  <a:cubicBezTo>
                    <a:pt x="31" y="800"/>
                    <a:pt x="31" y="800"/>
                    <a:pt x="31" y="800"/>
                  </a:cubicBezTo>
                  <a:cubicBezTo>
                    <a:pt x="31" y="800"/>
                    <a:pt x="31" y="800"/>
                    <a:pt x="31" y="801"/>
                  </a:cubicBezTo>
                  <a:cubicBezTo>
                    <a:pt x="32" y="801"/>
                    <a:pt x="33" y="802"/>
                    <a:pt x="34" y="803"/>
                  </a:cubicBezTo>
                  <a:cubicBezTo>
                    <a:pt x="35" y="804"/>
                    <a:pt x="36" y="806"/>
                    <a:pt x="36" y="807"/>
                  </a:cubicBezTo>
                  <a:cubicBezTo>
                    <a:pt x="36" y="807"/>
                    <a:pt x="37" y="807"/>
                    <a:pt x="37" y="808"/>
                  </a:cubicBezTo>
                  <a:cubicBezTo>
                    <a:pt x="37" y="808"/>
                    <a:pt x="37" y="808"/>
                    <a:pt x="38" y="808"/>
                  </a:cubicBezTo>
                  <a:cubicBezTo>
                    <a:pt x="60" y="808"/>
                    <a:pt x="60" y="808"/>
                    <a:pt x="60" y="808"/>
                  </a:cubicBezTo>
                  <a:cubicBezTo>
                    <a:pt x="62" y="808"/>
                    <a:pt x="64" y="808"/>
                    <a:pt x="66" y="808"/>
                  </a:cubicBezTo>
                  <a:cubicBezTo>
                    <a:pt x="68" y="808"/>
                    <a:pt x="71" y="808"/>
                    <a:pt x="73" y="808"/>
                  </a:cubicBezTo>
                  <a:cubicBezTo>
                    <a:pt x="75" y="808"/>
                    <a:pt x="78" y="808"/>
                    <a:pt x="80" y="808"/>
                  </a:cubicBezTo>
                  <a:cubicBezTo>
                    <a:pt x="81" y="808"/>
                    <a:pt x="81" y="808"/>
                    <a:pt x="81" y="808"/>
                  </a:cubicBezTo>
                  <a:cubicBezTo>
                    <a:pt x="81" y="808"/>
                    <a:pt x="82" y="809"/>
                    <a:pt x="82" y="809"/>
                  </a:cubicBezTo>
                  <a:cubicBezTo>
                    <a:pt x="84" y="809"/>
                    <a:pt x="86" y="810"/>
                    <a:pt x="87" y="810"/>
                  </a:cubicBezTo>
                  <a:cubicBezTo>
                    <a:pt x="88" y="810"/>
                    <a:pt x="88" y="810"/>
                    <a:pt x="88" y="810"/>
                  </a:cubicBezTo>
                  <a:cubicBezTo>
                    <a:pt x="90" y="811"/>
                    <a:pt x="91" y="812"/>
                    <a:pt x="93" y="812"/>
                  </a:cubicBezTo>
                  <a:cubicBezTo>
                    <a:pt x="94" y="812"/>
                    <a:pt x="96" y="812"/>
                    <a:pt x="98" y="813"/>
                  </a:cubicBezTo>
                  <a:cubicBezTo>
                    <a:pt x="103" y="814"/>
                    <a:pt x="109" y="817"/>
                    <a:pt x="114" y="819"/>
                  </a:cubicBezTo>
                  <a:cubicBezTo>
                    <a:pt x="111" y="814"/>
                    <a:pt x="108" y="809"/>
                    <a:pt x="106" y="804"/>
                  </a:cubicBezTo>
                  <a:cubicBezTo>
                    <a:pt x="105" y="802"/>
                    <a:pt x="104" y="800"/>
                    <a:pt x="102" y="799"/>
                  </a:cubicBezTo>
                  <a:cubicBezTo>
                    <a:pt x="102" y="799"/>
                    <a:pt x="102" y="799"/>
                    <a:pt x="102" y="799"/>
                  </a:cubicBezTo>
                  <a:cubicBezTo>
                    <a:pt x="102" y="799"/>
                    <a:pt x="102" y="800"/>
                    <a:pt x="101" y="800"/>
                  </a:cubicBezTo>
                  <a:cubicBezTo>
                    <a:pt x="101" y="800"/>
                    <a:pt x="101" y="800"/>
                    <a:pt x="100" y="800"/>
                  </a:cubicBezTo>
                  <a:cubicBezTo>
                    <a:pt x="100" y="800"/>
                    <a:pt x="100" y="800"/>
                    <a:pt x="100" y="800"/>
                  </a:cubicBezTo>
                  <a:cubicBezTo>
                    <a:pt x="99" y="800"/>
                    <a:pt x="97" y="799"/>
                    <a:pt x="96" y="799"/>
                  </a:cubicBezTo>
                  <a:cubicBezTo>
                    <a:pt x="95" y="799"/>
                    <a:pt x="95" y="799"/>
                    <a:pt x="94" y="799"/>
                  </a:cubicBezTo>
                  <a:cubicBezTo>
                    <a:pt x="92" y="799"/>
                    <a:pt x="91" y="799"/>
                    <a:pt x="89" y="799"/>
                  </a:cubicBezTo>
                  <a:cubicBezTo>
                    <a:pt x="91" y="799"/>
                    <a:pt x="93" y="798"/>
                    <a:pt x="95" y="798"/>
                  </a:cubicBezTo>
                  <a:cubicBezTo>
                    <a:pt x="96" y="798"/>
                    <a:pt x="96" y="798"/>
                    <a:pt x="97" y="798"/>
                  </a:cubicBezTo>
                  <a:cubicBezTo>
                    <a:pt x="98" y="798"/>
                    <a:pt x="99" y="799"/>
                    <a:pt x="100" y="799"/>
                  </a:cubicBezTo>
                  <a:cubicBezTo>
                    <a:pt x="100" y="799"/>
                    <a:pt x="100" y="799"/>
                    <a:pt x="100" y="799"/>
                  </a:cubicBezTo>
                  <a:cubicBezTo>
                    <a:pt x="101" y="799"/>
                    <a:pt x="101" y="798"/>
                    <a:pt x="102" y="798"/>
                  </a:cubicBezTo>
                  <a:cubicBezTo>
                    <a:pt x="103" y="798"/>
                    <a:pt x="103" y="798"/>
                    <a:pt x="103" y="798"/>
                  </a:cubicBezTo>
                  <a:cubicBezTo>
                    <a:pt x="102" y="792"/>
                    <a:pt x="101" y="785"/>
                    <a:pt x="98" y="779"/>
                  </a:cubicBezTo>
                  <a:cubicBezTo>
                    <a:pt x="97" y="780"/>
                    <a:pt x="95" y="781"/>
                    <a:pt x="94" y="783"/>
                  </a:cubicBezTo>
                  <a:cubicBezTo>
                    <a:pt x="94" y="782"/>
                    <a:pt x="94" y="782"/>
                    <a:pt x="94" y="782"/>
                  </a:cubicBezTo>
                  <a:cubicBezTo>
                    <a:pt x="94" y="780"/>
                    <a:pt x="98" y="779"/>
                    <a:pt x="99" y="777"/>
                  </a:cubicBezTo>
                  <a:cubicBezTo>
                    <a:pt x="101" y="775"/>
                    <a:pt x="99" y="772"/>
                    <a:pt x="100" y="770"/>
                  </a:cubicBezTo>
                  <a:cubicBezTo>
                    <a:pt x="102" y="767"/>
                    <a:pt x="104" y="764"/>
                    <a:pt x="105" y="761"/>
                  </a:cubicBezTo>
                  <a:cubicBezTo>
                    <a:pt x="107" y="759"/>
                    <a:pt x="109" y="758"/>
                    <a:pt x="111" y="757"/>
                  </a:cubicBezTo>
                  <a:cubicBezTo>
                    <a:pt x="113" y="757"/>
                    <a:pt x="118" y="755"/>
                    <a:pt x="117" y="754"/>
                  </a:cubicBezTo>
                  <a:cubicBezTo>
                    <a:pt x="116" y="753"/>
                    <a:pt x="116" y="753"/>
                    <a:pt x="116" y="753"/>
                  </a:cubicBezTo>
                  <a:cubicBezTo>
                    <a:pt x="115" y="752"/>
                    <a:pt x="114" y="750"/>
                    <a:pt x="113" y="750"/>
                  </a:cubicBezTo>
                  <a:cubicBezTo>
                    <a:pt x="113" y="749"/>
                    <a:pt x="112" y="749"/>
                    <a:pt x="111" y="749"/>
                  </a:cubicBezTo>
                  <a:cubicBezTo>
                    <a:pt x="110" y="749"/>
                    <a:pt x="109" y="749"/>
                    <a:pt x="107" y="750"/>
                  </a:cubicBezTo>
                  <a:cubicBezTo>
                    <a:pt x="106" y="750"/>
                    <a:pt x="105" y="750"/>
                    <a:pt x="104" y="750"/>
                  </a:cubicBezTo>
                  <a:cubicBezTo>
                    <a:pt x="104" y="750"/>
                    <a:pt x="103" y="750"/>
                    <a:pt x="103" y="750"/>
                  </a:cubicBezTo>
                  <a:cubicBezTo>
                    <a:pt x="105" y="749"/>
                    <a:pt x="108" y="749"/>
                    <a:pt x="110" y="748"/>
                  </a:cubicBezTo>
                  <a:cubicBezTo>
                    <a:pt x="114" y="747"/>
                    <a:pt x="111" y="744"/>
                    <a:pt x="109" y="742"/>
                  </a:cubicBezTo>
                  <a:cubicBezTo>
                    <a:pt x="113" y="742"/>
                    <a:pt x="113" y="751"/>
                    <a:pt x="118" y="753"/>
                  </a:cubicBezTo>
                  <a:cubicBezTo>
                    <a:pt x="118" y="753"/>
                    <a:pt x="118" y="753"/>
                    <a:pt x="118" y="753"/>
                  </a:cubicBezTo>
                  <a:cubicBezTo>
                    <a:pt x="121" y="753"/>
                    <a:pt x="130" y="749"/>
                    <a:pt x="131" y="747"/>
                  </a:cubicBezTo>
                  <a:cubicBezTo>
                    <a:pt x="132" y="746"/>
                    <a:pt x="132" y="744"/>
                    <a:pt x="132" y="743"/>
                  </a:cubicBezTo>
                  <a:cubicBezTo>
                    <a:pt x="133" y="738"/>
                    <a:pt x="135" y="732"/>
                    <a:pt x="135" y="727"/>
                  </a:cubicBezTo>
                  <a:cubicBezTo>
                    <a:pt x="134" y="729"/>
                    <a:pt x="132" y="730"/>
                    <a:pt x="130" y="731"/>
                  </a:cubicBezTo>
                  <a:cubicBezTo>
                    <a:pt x="131" y="729"/>
                    <a:pt x="133" y="728"/>
                    <a:pt x="134" y="726"/>
                  </a:cubicBezTo>
                  <a:cubicBezTo>
                    <a:pt x="138" y="719"/>
                    <a:pt x="142" y="716"/>
                    <a:pt x="147" y="711"/>
                  </a:cubicBezTo>
                  <a:cubicBezTo>
                    <a:pt x="152" y="707"/>
                    <a:pt x="156" y="704"/>
                    <a:pt x="161" y="701"/>
                  </a:cubicBezTo>
                  <a:cubicBezTo>
                    <a:pt x="166" y="698"/>
                    <a:pt x="173" y="696"/>
                    <a:pt x="177" y="690"/>
                  </a:cubicBezTo>
                  <a:cubicBezTo>
                    <a:pt x="178" y="688"/>
                    <a:pt x="177" y="688"/>
                    <a:pt x="175" y="687"/>
                  </a:cubicBezTo>
                  <a:cubicBezTo>
                    <a:pt x="175" y="685"/>
                    <a:pt x="176" y="684"/>
                    <a:pt x="173" y="684"/>
                  </a:cubicBezTo>
                  <a:cubicBezTo>
                    <a:pt x="173" y="684"/>
                    <a:pt x="173" y="684"/>
                    <a:pt x="173" y="684"/>
                  </a:cubicBezTo>
                  <a:cubicBezTo>
                    <a:pt x="174" y="683"/>
                    <a:pt x="175" y="683"/>
                    <a:pt x="176" y="682"/>
                  </a:cubicBezTo>
                  <a:cubicBezTo>
                    <a:pt x="177" y="680"/>
                    <a:pt x="178" y="677"/>
                    <a:pt x="178" y="675"/>
                  </a:cubicBezTo>
                  <a:cubicBezTo>
                    <a:pt x="179" y="674"/>
                    <a:pt x="179" y="672"/>
                    <a:pt x="179" y="671"/>
                  </a:cubicBezTo>
                  <a:cubicBezTo>
                    <a:pt x="179" y="669"/>
                    <a:pt x="179" y="667"/>
                    <a:pt x="177" y="666"/>
                  </a:cubicBezTo>
                  <a:cubicBezTo>
                    <a:pt x="173" y="665"/>
                    <a:pt x="169" y="664"/>
                    <a:pt x="165" y="663"/>
                  </a:cubicBezTo>
                  <a:cubicBezTo>
                    <a:pt x="160" y="662"/>
                    <a:pt x="156" y="661"/>
                    <a:pt x="153" y="659"/>
                  </a:cubicBezTo>
                  <a:cubicBezTo>
                    <a:pt x="150" y="657"/>
                    <a:pt x="148" y="655"/>
                    <a:pt x="146" y="653"/>
                  </a:cubicBezTo>
                  <a:cubicBezTo>
                    <a:pt x="140" y="648"/>
                    <a:pt x="136" y="644"/>
                    <a:pt x="135" y="636"/>
                  </a:cubicBezTo>
                  <a:cubicBezTo>
                    <a:pt x="135" y="632"/>
                    <a:pt x="138" y="629"/>
                    <a:pt x="140" y="625"/>
                  </a:cubicBezTo>
                  <a:cubicBezTo>
                    <a:pt x="143" y="621"/>
                    <a:pt x="146" y="614"/>
                    <a:pt x="150" y="610"/>
                  </a:cubicBezTo>
                  <a:cubicBezTo>
                    <a:pt x="152" y="609"/>
                    <a:pt x="153" y="609"/>
                    <a:pt x="155" y="608"/>
                  </a:cubicBezTo>
                  <a:cubicBezTo>
                    <a:pt x="158" y="606"/>
                    <a:pt x="161" y="605"/>
                    <a:pt x="164" y="603"/>
                  </a:cubicBezTo>
                  <a:cubicBezTo>
                    <a:pt x="167" y="602"/>
                    <a:pt x="168" y="602"/>
                    <a:pt x="169" y="602"/>
                  </a:cubicBezTo>
                  <a:cubicBezTo>
                    <a:pt x="170" y="602"/>
                    <a:pt x="172" y="602"/>
                    <a:pt x="173" y="602"/>
                  </a:cubicBezTo>
                  <a:cubicBezTo>
                    <a:pt x="175" y="602"/>
                    <a:pt x="177" y="603"/>
                    <a:pt x="179" y="603"/>
                  </a:cubicBezTo>
                  <a:cubicBezTo>
                    <a:pt x="181" y="603"/>
                    <a:pt x="182" y="603"/>
                    <a:pt x="183" y="601"/>
                  </a:cubicBezTo>
                  <a:cubicBezTo>
                    <a:pt x="184" y="598"/>
                    <a:pt x="180" y="597"/>
                    <a:pt x="180" y="595"/>
                  </a:cubicBezTo>
                  <a:cubicBezTo>
                    <a:pt x="180" y="593"/>
                    <a:pt x="182" y="592"/>
                    <a:pt x="183" y="591"/>
                  </a:cubicBezTo>
                  <a:cubicBezTo>
                    <a:pt x="186" y="589"/>
                    <a:pt x="189" y="586"/>
                    <a:pt x="190" y="583"/>
                  </a:cubicBezTo>
                  <a:cubicBezTo>
                    <a:pt x="191" y="581"/>
                    <a:pt x="191" y="575"/>
                    <a:pt x="191" y="573"/>
                  </a:cubicBezTo>
                  <a:cubicBezTo>
                    <a:pt x="191" y="573"/>
                    <a:pt x="191" y="573"/>
                    <a:pt x="191" y="573"/>
                  </a:cubicBezTo>
                  <a:cubicBezTo>
                    <a:pt x="189" y="573"/>
                    <a:pt x="188" y="568"/>
                    <a:pt x="188" y="567"/>
                  </a:cubicBezTo>
                  <a:cubicBezTo>
                    <a:pt x="191" y="563"/>
                    <a:pt x="193" y="557"/>
                    <a:pt x="196" y="553"/>
                  </a:cubicBezTo>
                  <a:cubicBezTo>
                    <a:pt x="199" y="551"/>
                    <a:pt x="201" y="550"/>
                    <a:pt x="204" y="549"/>
                  </a:cubicBezTo>
                  <a:cubicBezTo>
                    <a:pt x="205" y="549"/>
                    <a:pt x="213" y="546"/>
                    <a:pt x="212" y="544"/>
                  </a:cubicBezTo>
                  <a:cubicBezTo>
                    <a:pt x="208" y="545"/>
                    <a:pt x="208" y="545"/>
                    <a:pt x="208" y="545"/>
                  </a:cubicBezTo>
                  <a:cubicBezTo>
                    <a:pt x="204" y="545"/>
                    <a:pt x="199" y="541"/>
                    <a:pt x="196" y="538"/>
                  </a:cubicBezTo>
                  <a:cubicBezTo>
                    <a:pt x="197" y="535"/>
                    <a:pt x="204" y="532"/>
                    <a:pt x="207" y="532"/>
                  </a:cubicBezTo>
                  <a:cubicBezTo>
                    <a:pt x="207" y="532"/>
                    <a:pt x="207" y="532"/>
                    <a:pt x="207" y="532"/>
                  </a:cubicBezTo>
                  <a:cubicBezTo>
                    <a:pt x="211" y="532"/>
                    <a:pt x="215" y="535"/>
                    <a:pt x="214" y="538"/>
                  </a:cubicBezTo>
                  <a:cubicBezTo>
                    <a:pt x="218" y="539"/>
                    <a:pt x="223" y="539"/>
                    <a:pt x="228" y="539"/>
                  </a:cubicBezTo>
                  <a:cubicBezTo>
                    <a:pt x="228" y="534"/>
                    <a:pt x="230" y="521"/>
                    <a:pt x="223" y="521"/>
                  </a:cubicBezTo>
                  <a:cubicBezTo>
                    <a:pt x="223" y="521"/>
                    <a:pt x="222" y="521"/>
                    <a:pt x="221" y="521"/>
                  </a:cubicBezTo>
                  <a:cubicBezTo>
                    <a:pt x="218" y="522"/>
                    <a:pt x="214" y="524"/>
                    <a:pt x="211" y="525"/>
                  </a:cubicBezTo>
                  <a:cubicBezTo>
                    <a:pt x="213" y="525"/>
                    <a:pt x="221" y="525"/>
                    <a:pt x="218" y="529"/>
                  </a:cubicBezTo>
                  <a:cubicBezTo>
                    <a:pt x="217" y="530"/>
                    <a:pt x="216" y="530"/>
                    <a:pt x="215" y="530"/>
                  </a:cubicBezTo>
                  <a:cubicBezTo>
                    <a:pt x="215" y="530"/>
                    <a:pt x="215" y="530"/>
                    <a:pt x="215" y="530"/>
                  </a:cubicBezTo>
                  <a:cubicBezTo>
                    <a:pt x="215" y="530"/>
                    <a:pt x="215" y="530"/>
                    <a:pt x="215" y="530"/>
                  </a:cubicBezTo>
                  <a:cubicBezTo>
                    <a:pt x="214" y="530"/>
                    <a:pt x="214" y="530"/>
                    <a:pt x="214" y="530"/>
                  </a:cubicBezTo>
                  <a:cubicBezTo>
                    <a:pt x="213" y="530"/>
                    <a:pt x="212" y="530"/>
                    <a:pt x="210" y="530"/>
                  </a:cubicBezTo>
                  <a:cubicBezTo>
                    <a:pt x="208" y="530"/>
                    <a:pt x="207" y="530"/>
                    <a:pt x="205" y="530"/>
                  </a:cubicBezTo>
                  <a:cubicBezTo>
                    <a:pt x="206" y="528"/>
                    <a:pt x="204" y="526"/>
                    <a:pt x="202" y="525"/>
                  </a:cubicBezTo>
                  <a:cubicBezTo>
                    <a:pt x="200" y="523"/>
                    <a:pt x="198" y="521"/>
                    <a:pt x="195" y="519"/>
                  </a:cubicBezTo>
                  <a:cubicBezTo>
                    <a:pt x="194" y="518"/>
                    <a:pt x="195" y="517"/>
                    <a:pt x="195" y="515"/>
                  </a:cubicBezTo>
                  <a:cubicBezTo>
                    <a:pt x="195" y="511"/>
                    <a:pt x="196" y="507"/>
                    <a:pt x="196" y="504"/>
                  </a:cubicBezTo>
                  <a:cubicBezTo>
                    <a:pt x="195" y="500"/>
                    <a:pt x="194" y="496"/>
                    <a:pt x="193" y="492"/>
                  </a:cubicBezTo>
                  <a:cubicBezTo>
                    <a:pt x="192" y="487"/>
                    <a:pt x="192" y="486"/>
                    <a:pt x="196" y="484"/>
                  </a:cubicBezTo>
                  <a:cubicBezTo>
                    <a:pt x="197" y="483"/>
                    <a:pt x="198" y="482"/>
                    <a:pt x="199" y="482"/>
                  </a:cubicBezTo>
                  <a:cubicBezTo>
                    <a:pt x="200" y="482"/>
                    <a:pt x="201" y="483"/>
                    <a:pt x="202" y="485"/>
                  </a:cubicBezTo>
                  <a:cubicBezTo>
                    <a:pt x="200" y="485"/>
                    <a:pt x="199" y="485"/>
                    <a:pt x="198" y="485"/>
                  </a:cubicBezTo>
                  <a:cubicBezTo>
                    <a:pt x="198" y="485"/>
                    <a:pt x="199" y="486"/>
                    <a:pt x="199" y="486"/>
                  </a:cubicBezTo>
                  <a:cubicBezTo>
                    <a:pt x="200" y="486"/>
                    <a:pt x="200" y="486"/>
                    <a:pt x="200" y="485"/>
                  </a:cubicBezTo>
                  <a:cubicBezTo>
                    <a:pt x="201" y="485"/>
                    <a:pt x="201" y="485"/>
                    <a:pt x="201" y="485"/>
                  </a:cubicBezTo>
                  <a:cubicBezTo>
                    <a:pt x="201" y="485"/>
                    <a:pt x="202" y="485"/>
                    <a:pt x="202" y="485"/>
                  </a:cubicBezTo>
                  <a:cubicBezTo>
                    <a:pt x="207" y="486"/>
                    <a:pt x="214" y="490"/>
                    <a:pt x="219" y="492"/>
                  </a:cubicBezTo>
                  <a:cubicBezTo>
                    <a:pt x="224" y="494"/>
                    <a:pt x="226" y="494"/>
                    <a:pt x="231" y="494"/>
                  </a:cubicBezTo>
                  <a:cubicBezTo>
                    <a:pt x="233" y="495"/>
                    <a:pt x="235" y="495"/>
                    <a:pt x="237" y="495"/>
                  </a:cubicBezTo>
                  <a:cubicBezTo>
                    <a:pt x="238" y="495"/>
                    <a:pt x="240" y="495"/>
                    <a:pt x="241" y="494"/>
                  </a:cubicBezTo>
                  <a:cubicBezTo>
                    <a:pt x="244" y="493"/>
                    <a:pt x="247" y="492"/>
                    <a:pt x="250" y="490"/>
                  </a:cubicBezTo>
                  <a:cubicBezTo>
                    <a:pt x="255" y="488"/>
                    <a:pt x="259" y="487"/>
                    <a:pt x="261" y="480"/>
                  </a:cubicBezTo>
                  <a:cubicBezTo>
                    <a:pt x="261" y="480"/>
                    <a:pt x="261" y="480"/>
                    <a:pt x="261" y="480"/>
                  </a:cubicBezTo>
                  <a:cubicBezTo>
                    <a:pt x="259" y="480"/>
                    <a:pt x="257" y="476"/>
                    <a:pt x="256" y="475"/>
                  </a:cubicBezTo>
                  <a:cubicBezTo>
                    <a:pt x="253" y="469"/>
                    <a:pt x="256" y="471"/>
                    <a:pt x="256" y="467"/>
                  </a:cubicBezTo>
                  <a:cubicBezTo>
                    <a:pt x="257" y="464"/>
                    <a:pt x="257" y="462"/>
                    <a:pt x="258" y="459"/>
                  </a:cubicBezTo>
                  <a:cubicBezTo>
                    <a:pt x="258" y="458"/>
                    <a:pt x="258" y="458"/>
                    <a:pt x="259" y="458"/>
                  </a:cubicBezTo>
                  <a:cubicBezTo>
                    <a:pt x="259" y="458"/>
                    <a:pt x="259" y="458"/>
                    <a:pt x="259" y="458"/>
                  </a:cubicBezTo>
                  <a:cubicBezTo>
                    <a:pt x="259" y="458"/>
                    <a:pt x="259" y="458"/>
                    <a:pt x="259" y="458"/>
                  </a:cubicBezTo>
                  <a:cubicBezTo>
                    <a:pt x="259" y="458"/>
                    <a:pt x="259" y="458"/>
                    <a:pt x="259" y="458"/>
                  </a:cubicBezTo>
                  <a:cubicBezTo>
                    <a:pt x="261" y="456"/>
                    <a:pt x="263" y="453"/>
                    <a:pt x="264" y="450"/>
                  </a:cubicBezTo>
                  <a:cubicBezTo>
                    <a:pt x="264" y="447"/>
                    <a:pt x="261" y="446"/>
                    <a:pt x="259" y="444"/>
                  </a:cubicBezTo>
                  <a:cubicBezTo>
                    <a:pt x="259" y="444"/>
                    <a:pt x="260" y="444"/>
                    <a:pt x="260" y="444"/>
                  </a:cubicBezTo>
                  <a:cubicBezTo>
                    <a:pt x="261" y="444"/>
                    <a:pt x="261" y="444"/>
                    <a:pt x="262" y="445"/>
                  </a:cubicBezTo>
                  <a:cubicBezTo>
                    <a:pt x="262" y="445"/>
                    <a:pt x="263" y="445"/>
                    <a:pt x="263" y="445"/>
                  </a:cubicBezTo>
                  <a:cubicBezTo>
                    <a:pt x="264" y="445"/>
                    <a:pt x="264" y="445"/>
                    <a:pt x="265" y="445"/>
                  </a:cubicBezTo>
                  <a:cubicBezTo>
                    <a:pt x="264" y="444"/>
                    <a:pt x="263" y="444"/>
                    <a:pt x="262" y="443"/>
                  </a:cubicBezTo>
                  <a:cubicBezTo>
                    <a:pt x="260" y="442"/>
                    <a:pt x="258" y="443"/>
                    <a:pt x="258" y="440"/>
                  </a:cubicBezTo>
                  <a:cubicBezTo>
                    <a:pt x="257" y="437"/>
                    <a:pt x="257" y="433"/>
                    <a:pt x="257" y="430"/>
                  </a:cubicBezTo>
                  <a:cubicBezTo>
                    <a:pt x="261" y="431"/>
                    <a:pt x="266" y="432"/>
                    <a:pt x="270" y="433"/>
                  </a:cubicBezTo>
                  <a:cubicBezTo>
                    <a:pt x="276" y="434"/>
                    <a:pt x="281" y="435"/>
                    <a:pt x="286" y="435"/>
                  </a:cubicBezTo>
                  <a:cubicBezTo>
                    <a:pt x="287" y="435"/>
                    <a:pt x="289" y="435"/>
                    <a:pt x="290" y="435"/>
                  </a:cubicBezTo>
                  <a:cubicBezTo>
                    <a:pt x="297" y="434"/>
                    <a:pt x="304" y="433"/>
                    <a:pt x="311" y="431"/>
                  </a:cubicBezTo>
                  <a:cubicBezTo>
                    <a:pt x="325" y="429"/>
                    <a:pt x="338" y="425"/>
                    <a:pt x="351" y="421"/>
                  </a:cubicBezTo>
                  <a:cubicBezTo>
                    <a:pt x="358" y="419"/>
                    <a:pt x="363" y="416"/>
                    <a:pt x="367" y="410"/>
                  </a:cubicBezTo>
                  <a:cubicBezTo>
                    <a:pt x="370" y="406"/>
                    <a:pt x="374" y="401"/>
                    <a:pt x="377" y="396"/>
                  </a:cubicBezTo>
                  <a:cubicBezTo>
                    <a:pt x="380" y="392"/>
                    <a:pt x="382" y="389"/>
                    <a:pt x="385" y="385"/>
                  </a:cubicBezTo>
                  <a:cubicBezTo>
                    <a:pt x="386" y="384"/>
                    <a:pt x="389" y="380"/>
                    <a:pt x="389" y="378"/>
                  </a:cubicBezTo>
                  <a:cubicBezTo>
                    <a:pt x="389" y="376"/>
                    <a:pt x="389" y="365"/>
                    <a:pt x="387" y="363"/>
                  </a:cubicBezTo>
                  <a:cubicBezTo>
                    <a:pt x="387" y="364"/>
                    <a:pt x="386" y="364"/>
                    <a:pt x="385" y="364"/>
                  </a:cubicBezTo>
                  <a:cubicBezTo>
                    <a:pt x="383" y="364"/>
                    <a:pt x="381" y="364"/>
                    <a:pt x="380" y="363"/>
                  </a:cubicBezTo>
                  <a:cubicBezTo>
                    <a:pt x="376" y="360"/>
                    <a:pt x="375" y="357"/>
                    <a:pt x="374" y="352"/>
                  </a:cubicBezTo>
                  <a:cubicBezTo>
                    <a:pt x="373" y="347"/>
                    <a:pt x="374" y="346"/>
                    <a:pt x="377" y="342"/>
                  </a:cubicBezTo>
                  <a:cubicBezTo>
                    <a:pt x="379" y="339"/>
                    <a:pt x="377" y="336"/>
                    <a:pt x="374" y="333"/>
                  </a:cubicBezTo>
                  <a:cubicBezTo>
                    <a:pt x="373" y="332"/>
                    <a:pt x="371" y="331"/>
                    <a:pt x="369" y="329"/>
                  </a:cubicBezTo>
                  <a:cubicBezTo>
                    <a:pt x="364" y="326"/>
                    <a:pt x="359" y="324"/>
                    <a:pt x="353" y="321"/>
                  </a:cubicBezTo>
                  <a:cubicBezTo>
                    <a:pt x="352" y="323"/>
                    <a:pt x="350" y="324"/>
                    <a:pt x="348" y="324"/>
                  </a:cubicBezTo>
                  <a:cubicBezTo>
                    <a:pt x="344" y="324"/>
                    <a:pt x="341" y="322"/>
                    <a:pt x="341" y="318"/>
                  </a:cubicBezTo>
                  <a:cubicBezTo>
                    <a:pt x="341" y="315"/>
                    <a:pt x="344" y="313"/>
                    <a:pt x="347" y="312"/>
                  </a:cubicBezTo>
                  <a:cubicBezTo>
                    <a:pt x="347" y="312"/>
                    <a:pt x="344" y="303"/>
                    <a:pt x="347" y="298"/>
                  </a:cubicBezTo>
                  <a:cubicBezTo>
                    <a:pt x="345" y="298"/>
                    <a:pt x="345" y="298"/>
                    <a:pt x="345" y="298"/>
                  </a:cubicBezTo>
                  <a:cubicBezTo>
                    <a:pt x="345" y="297"/>
                    <a:pt x="345" y="297"/>
                    <a:pt x="345" y="297"/>
                  </a:cubicBezTo>
                  <a:cubicBezTo>
                    <a:pt x="346" y="294"/>
                    <a:pt x="346" y="290"/>
                    <a:pt x="346" y="288"/>
                  </a:cubicBezTo>
                  <a:cubicBezTo>
                    <a:pt x="346" y="286"/>
                    <a:pt x="348" y="283"/>
                    <a:pt x="350" y="279"/>
                  </a:cubicBezTo>
                  <a:cubicBezTo>
                    <a:pt x="351" y="278"/>
                    <a:pt x="352" y="277"/>
                    <a:pt x="353" y="277"/>
                  </a:cubicBezTo>
                  <a:cubicBezTo>
                    <a:pt x="354" y="276"/>
                    <a:pt x="354" y="276"/>
                    <a:pt x="354" y="276"/>
                  </a:cubicBezTo>
                  <a:cubicBezTo>
                    <a:pt x="355" y="275"/>
                    <a:pt x="354" y="273"/>
                    <a:pt x="353" y="271"/>
                  </a:cubicBezTo>
                  <a:cubicBezTo>
                    <a:pt x="353" y="270"/>
                    <a:pt x="353" y="269"/>
                    <a:pt x="352" y="269"/>
                  </a:cubicBezTo>
                  <a:cubicBezTo>
                    <a:pt x="351" y="265"/>
                    <a:pt x="351" y="263"/>
                    <a:pt x="351" y="259"/>
                  </a:cubicBezTo>
                  <a:cubicBezTo>
                    <a:pt x="351" y="258"/>
                    <a:pt x="351" y="258"/>
                    <a:pt x="351" y="257"/>
                  </a:cubicBezTo>
                  <a:cubicBezTo>
                    <a:pt x="351" y="255"/>
                    <a:pt x="351" y="255"/>
                    <a:pt x="351" y="255"/>
                  </a:cubicBezTo>
                  <a:cubicBezTo>
                    <a:pt x="351" y="254"/>
                    <a:pt x="351" y="253"/>
                    <a:pt x="351" y="252"/>
                  </a:cubicBezTo>
                  <a:cubicBezTo>
                    <a:pt x="351" y="251"/>
                    <a:pt x="351" y="251"/>
                    <a:pt x="351" y="251"/>
                  </a:cubicBezTo>
                  <a:cubicBezTo>
                    <a:pt x="351" y="250"/>
                    <a:pt x="351" y="250"/>
                    <a:pt x="351" y="250"/>
                  </a:cubicBezTo>
                  <a:cubicBezTo>
                    <a:pt x="351" y="249"/>
                    <a:pt x="351" y="249"/>
                    <a:pt x="351" y="249"/>
                  </a:cubicBezTo>
                  <a:cubicBezTo>
                    <a:pt x="351" y="248"/>
                    <a:pt x="351" y="248"/>
                    <a:pt x="351" y="248"/>
                  </a:cubicBezTo>
                  <a:cubicBezTo>
                    <a:pt x="352" y="246"/>
                    <a:pt x="353" y="245"/>
                    <a:pt x="354" y="244"/>
                  </a:cubicBezTo>
                  <a:cubicBezTo>
                    <a:pt x="355" y="243"/>
                    <a:pt x="355" y="243"/>
                    <a:pt x="355" y="243"/>
                  </a:cubicBezTo>
                  <a:cubicBezTo>
                    <a:pt x="355" y="243"/>
                    <a:pt x="355" y="243"/>
                    <a:pt x="355" y="241"/>
                  </a:cubicBezTo>
                  <a:cubicBezTo>
                    <a:pt x="355" y="241"/>
                    <a:pt x="355" y="241"/>
                    <a:pt x="355" y="241"/>
                  </a:cubicBezTo>
                  <a:cubicBezTo>
                    <a:pt x="355" y="239"/>
                    <a:pt x="355" y="237"/>
                    <a:pt x="356" y="235"/>
                  </a:cubicBezTo>
                  <a:cubicBezTo>
                    <a:pt x="356" y="233"/>
                    <a:pt x="356" y="233"/>
                    <a:pt x="356" y="233"/>
                  </a:cubicBezTo>
                  <a:cubicBezTo>
                    <a:pt x="357" y="233"/>
                    <a:pt x="357" y="232"/>
                    <a:pt x="357" y="232"/>
                  </a:cubicBezTo>
                  <a:cubicBezTo>
                    <a:pt x="358" y="230"/>
                    <a:pt x="358" y="227"/>
                    <a:pt x="359" y="225"/>
                  </a:cubicBezTo>
                  <a:cubicBezTo>
                    <a:pt x="359" y="223"/>
                    <a:pt x="359" y="222"/>
                    <a:pt x="360" y="221"/>
                  </a:cubicBezTo>
                  <a:cubicBezTo>
                    <a:pt x="360" y="221"/>
                    <a:pt x="360" y="220"/>
                    <a:pt x="360" y="220"/>
                  </a:cubicBezTo>
                  <a:cubicBezTo>
                    <a:pt x="360" y="219"/>
                    <a:pt x="359" y="219"/>
                    <a:pt x="359" y="218"/>
                  </a:cubicBezTo>
                  <a:cubicBezTo>
                    <a:pt x="359" y="218"/>
                    <a:pt x="359" y="218"/>
                    <a:pt x="359" y="218"/>
                  </a:cubicBezTo>
                  <a:cubicBezTo>
                    <a:pt x="359" y="217"/>
                    <a:pt x="358" y="216"/>
                    <a:pt x="358" y="214"/>
                  </a:cubicBezTo>
                  <a:cubicBezTo>
                    <a:pt x="358" y="212"/>
                    <a:pt x="359" y="209"/>
                    <a:pt x="361" y="207"/>
                  </a:cubicBezTo>
                  <a:cubicBezTo>
                    <a:pt x="362" y="205"/>
                    <a:pt x="364" y="204"/>
                    <a:pt x="365" y="202"/>
                  </a:cubicBezTo>
                  <a:cubicBezTo>
                    <a:pt x="366" y="202"/>
                    <a:pt x="366" y="202"/>
                    <a:pt x="366" y="202"/>
                  </a:cubicBezTo>
                  <a:cubicBezTo>
                    <a:pt x="366" y="201"/>
                    <a:pt x="367" y="201"/>
                    <a:pt x="367" y="201"/>
                  </a:cubicBezTo>
                  <a:cubicBezTo>
                    <a:pt x="369" y="199"/>
                    <a:pt x="369" y="199"/>
                    <a:pt x="369" y="199"/>
                  </a:cubicBezTo>
                  <a:cubicBezTo>
                    <a:pt x="375" y="193"/>
                    <a:pt x="382" y="186"/>
                    <a:pt x="388" y="179"/>
                  </a:cubicBezTo>
                  <a:cubicBezTo>
                    <a:pt x="389" y="177"/>
                    <a:pt x="390" y="176"/>
                    <a:pt x="391" y="175"/>
                  </a:cubicBezTo>
                  <a:cubicBezTo>
                    <a:pt x="393" y="172"/>
                    <a:pt x="395" y="169"/>
                    <a:pt x="398" y="166"/>
                  </a:cubicBezTo>
                  <a:cubicBezTo>
                    <a:pt x="400" y="164"/>
                    <a:pt x="404" y="160"/>
                    <a:pt x="408" y="158"/>
                  </a:cubicBezTo>
                  <a:cubicBezTo>
                    <a:pt x="407" y="157"/>
                    <a:pt x="407" y="155"/>
                    <a:pt x="407" y="154"/>
                  </a:cubicBezTo>
                  <a:cubicBezTo>
                    <a:pt x="408" y="154"/>
                    <a:pt x="408" y="153"/>
                    <a:pt x="408" y="153"/>
                  </a:cubicBezTo>
                  <a:cubicBezTo>
                    <a:pt x="409" y="152"/>
                    <a:pt x="410" y="151"/>
                    <a:pt x="412" y="150"/>
                  </a:cubicBezTo>
                  <a:cubicBezTo>
                    <a:pt x="413" y="149"/>
                    <a:pt x="413" y="149"/>
                    <a:pt x="413" y="149"/>
                  </a:cubicBezTo>
                  <a:cubicBezTo>
                    <a:pt x="413" y="149"/>
                    <a:pt x="414" y="149"/>
                    <a:pt x="414" y="149"/>
                  </a:cubicBezTo>
                  <a:cubicBezTo>
                    <a:pt x="416" y="149"/>
                    <a:pt x="416" y="149"/>
                    <a:pt x="416" y="149"/>
                  </a:cubicBezTo>
                  <a:cubicBezTo>
                    <a:pt x="416" y="148"/>
                    <a:pt x="416" y="148"/>
                    <a:pt x="416" y="148"/>
                  </a:cubicBezTo>
                  <a:cubicBezTo>
                    <a:pt x="417" y="147"/>
                    <a:pt x="418" y="146"/>
                    <a:pt x="418" y="146"/>
                  </a:cubicBezTo>
                  <a:cubicBezTo>
                    <a:pt x="419" y="145"/>
                    <a:pt x="420" y="144"/>
                    <a:pt x="421" y="144"/>
                  </a:cubicBezTo>
                  <a:cubicBezTo>
                    <a:pt x="422" y="143"/>
                    <a:pt x="423" y="142"/>
                    <a:pt x="424" y="141"/>
                  </a:cubicBezTo>
                  <a:cubicBezTo>
                    <a:pt x="425" y="141"/>
                    <a:pt x="425" y="140"/>
                    <a:pt x="426" y="140"/>
                  </a:cubicBezTo>
                  <a:cubicBezTo>
                    <a:pt x="428" y="137"/>
                    <a:pt x="430" y="135"/>
                    <a:pt x="434" y="134"/>
                  </a:cubicBezTo>
                  <a:cubicBezTo>
                    <a:pt x="439" y="133"/>
                    <a:pt x="444" y="131"/>
                    <a:pt x="449" y="128"/>
                  </a:cubicBezTo>
                  <a:cubicBezTo>
                    <a:pt x="449" y="128"/>
                    <a:pt x="450" y="128"/>
                    <a:pt x="450" y="128"/>
                  </a:cubicBezTo>
                  <a:cubicBezTo>
                    <a:pt x="452" y="127"/>
                    <a:pt x="452" y="127"/>
                    <a:pt x="452" y="127"/>
                  </a:cubicBezTo>
                  <a:cubicBezTo>
                    <a:pt x="452" y="126"/>
                    <a:pt x="452" y="126"/>
                    <a:pt x="452" y="126"/>
                  </a:cubicBezTo>
                  <a:cubicBezTo>
                    <a:pt x="452" y="126"/>
                    <a:pt x="453" y="126"/>
                    <a:pt x="453" y="125"/>
                  </a:cubicBezTo>
                  <a:cubicBezTo>
                    <a:pt x="453" y="124"/>
                    <a:pt x="453" y="124"/>
                    <a:pt x="453" y="123"/>
                  </a:cubicBezTo>
                  <a:cubicBezTo>
                    <a:pt x="454" y="122"/>
                    <a:pt x="454" y="122"/>
                    <a:pt x="454" y="122"/>
                  </a:cubicBezTo>
                  <a:cubicBezTo>
                    <a:pt x="454" y="122"/>
                    <a:pt x="454" y="121"/>
                    <a:pt x="454" y="121"/>
                  </a:cubicBezTo>
                  <a:cubicBezTo>
                    <a:pt x="455" y="118"/>
                    <a:pt x="455" y="118"/>
                    <a:pt x="455" y="118"/>
                  </a:cubicBezTo>
                  <a:cubicBezTo>
                    <a:pt x="455" y="117"/>
                    <a:pt x="455" y="116"/>
                    <a:pt x="455" y="115"/>
                  </a:cubicBezTo>
                  <a:cubicBezTo>
                    <a:pt x="455" y="114"/>
                    <a:pt x="455" y="114"/>
                    <a:pt x="455" y="114"/>
                  </a:cubicBezTo>
                  <a:cubicBezTo>
                    <a:pt x="456" y="111"/>
                    <a:pt x="457" y="107"/>
                    <a:pt x="456" y="105"/>
                  </a:cubicBezTo>
                  <a:cubicBezTo>
                    <a:pt x="450" y="92"/>
                    <a:pt x="450" y="92"/>
                    <a:pt x="450" y="92"/>
                  </a:cubicBezTo>
                  <a:cubicBezTo>
                    <a:pt x="450" y="92"/>
                    <a:pt x="450" y="92"/>
                    <a:pt x="450" y="92"/>
                  </a:cubicBezTo>
                  <a:cubicBezTo>
                    <a:pt x="450" y="92"/>
                    <a:pt x="449" y="92"/>
                    <a:pt x="449" y="92"/>
                  </a:cubicBezTo>
                  <a:cubicBezTo>
                    <a:pt x="449" y="92"/>
                    <a:pt x="449" y="92"/>
                    <a:pt x="449" y="92"/>
                  </a:cubicBezTo>
                  <a:cubicBezTo>
                    <a:pt x="449" y="92"/>
                    <a:pt x="449" y="92"/>
                    <a:pt x="448" y="92"/>
                  </a:cubicBezTo>
                  <a:cubicBezTo>
                    <a:pt x="448" y="92"/>
                    <a:pt x="448" y="92"/>
                    <a:pt x="448" y="92"/>
                  </a:cubicBezTo>
                  <a:cubicBezTo>
                    <a:pt x="447" y="91"/>
                    <a:pt x="447" y="91"/>
                    <a:pt x="447" y="91"/>
                  </a:cubicBezTo>
                  <a:cubicBezTo>
                    <a:pt x="447" y="92"/>
                    <a:pt x="447" y="92"/>
                    <a:pt x="447" y="92"/>
                  </a:cubicBezTo>
                  <a:cubicBezTo>
                    <a:pt x="446" y="92"/>
                    <a:pt x="446" y="92"/>
                    <a:pt x="446" y="92"/>
                  </a:cubicBezTo>
                  <a:cubicBezTo>
                    <a:pt x="445" y="93"/>
                    <a:pt x="443" y="94"/>
                    <a:pt x="442" y="94"/>
                  </a:cubicBezTo>
                  <a:cubicBezTo>
                    <a:pt x="441" y="94"/>
                    <a:pt x="441" y="94"/>
                    <a:pt x="441" y="94"/>
                  </a:cubicBezTo>
                  <a:cubicBezTo>
                    <a:pt x="441" y="98"/>
                    <a:pt x="441" y="98"/>
                    <a:pt x="441" y="98"/>
                  </a:cubicBezTo>
                  <a:cubicBezTo>
                    <a:pt x="440" y="94"/>
                    <a:pt x="440" y="94"/>
                    <a:pt x="440" y="94"/>
                  </a:cubicBezTo>
                  <a:cubicBezTo>
                    <a:pt x="440" y="93"/>
                    <a:pt x="440" y="93"/>
                    <a:pt x="440" y="93"/>
                  </a:cubicBezTo>
                  <a:cubicBezTo>
                    <a:pt x="440" y="93"/>
                    <a:pt x="440" y="93"/>
                    <a:pt x="440" y="93"/>
                  </a:cubicBezTo>
                  <a:cubicBezTo>
                    <a:pt x="440" y="93"/>
                    <a:pt x="440" y="93"/>
                    <a:pt x="440" y="93"/>
                  </a:cubicBezTo>
                  <a:cubicBezTo>
                    <a:pt x="440" y="93"/>
                    <a:pt x="440" y="93"/>
                    <a:pt x="440" y="93"/>
                  </a:cubicBezTo>
                  <a:cubicBezTo>
                    <a:pt x="439" y="99"/>
                    <a:pt x="438" y="105"/>
                    <a:pt x="436" y="112"/>
                  </a:cubicBezTo>
                  <a:cubicBezTo>
                    <a:pt x="435" y="114"/>
                    <a:pt x="434" y="116"/>
                    <a:pt x="432" y="118"/>
                  </a:cubicBezTo>
                  <a:cubicBezTo>
                    <a:pt x="430" y="119"/>
                    <a:pt x="428" y="121"/>
                    <a:pt x="427" y="122"/>
                  </a:cubicBezTo>
                  <a:cubicBezTo>
                    <a:pt x="425" y="124"/>
                    <a:pt x="423" y="126"/>
                    <a:pt x="420" y="127"/>
                  </a:cubicBezTo>
                  <a:cubicBezTo>
                    <a:pt x="419" y="128"/>
                    <a:pt x="418" y="128"/>
                    <a:pt x="418" y="128"/>
                  </a:cubicBezTo>
                  <a:cubicBezTo>
                    <a:pt x="417" y="129"/>
                    <a:pt x="417" y="129"/>
                    <a:pt x="417" y="129"/>
                  </a:cubicBezTo>
                  <a:cubicBezTo>
                    <a:pt x="417" y="131"/>
                    <a:pt x="417" y="131"/>
                    <a:pt x="417" y="131"/>
                  </a:cubicBezTo>
                  <a:cubicBezTo>
                    <a:pt x="417" y="131"/>
                    <a:pt x="417" y="131"/>
                    <a:pt x="417" y="131"/>
                  </a:cubicBezTo>
                  <a:cubicBezTo>
                    <a:pt x="417" y="132"/>
                    <a:pt x="416" y="133"/>
                    <a:pt x="415" y="134"/>
                  </a:cubicBezTo>
                  <a:cubicBezTo>
                    <a:pt x="414" y="135"/>
                    <a:pt x="414" y="135"/>
                    <a:pt x="414" y="135"/>
                  </a:cubicBezTo>
                  <a:cubicBezTo>
                    <a:pt x="414" y="135"/>
                    <a:pt x="414" y="135"/>
                    <a:pt x="414" y="135"/>
                  </a:cubicBezTo>
                  <a:cubicBezTo>
                    <a:pt x="413" y="135"/>
                    <a:pt x="413" y="135"/>
                    <a:pt x="413" y="135"/>
                  </a:cubicBezTo>
                  <a:cubicBezTo>
                    <a:pt x="413" y="135"/>
                    <a:pt x="413" y="135"/>
                    <a:pt x="413" y="135"/>
                  </a:cubicBezTo>
                  <a:cubicBezTo>
                    <a:pt x="412" y="136"/>
                    <a:pt x="411" y="137"/>
                    <a:pt x="409" y="137"/>
                  </a:cubicBezTo>
                  <a:cubicBezTo>
                    <a:pt x="408" y="137"/>
                    <a:pt x="407" y="137"/>
                    <a:pt x="406" y="136"/>
                  </a:cubicBezTo>
                  <a:cubicBezTo>
                    <a:pt x="406" y="136"/>
                    <a:pt x="406" y="136"/>
                    <a:pt x="406" y="136"/>
                  </a:cubicBezTo>
                  <a:cubicBezTo>
                    <a:pt x="405" y="136"/>
                    <a:pt x="405" y="136"/>
                    <a:pt x="405" y="136"/>
                  </a:cubicBezTo>
                  <a:cubicBezTo>
                    <a:pt x="405" y="136"/>
                    <a:pt x="405" y="136"/>
                    <a:pt x="405" y="136"/>
                  </a:cubicBezTo>
                  <a:cubicBezTo>
                    <a:pt x="404" y="136"/>
                    <a:pt x="402" y="137"/>
                    <a:pt x="401" y="138"/>
                  </a:cubicBezTo>
                  <a:cubicBezTo>
                    <a:pt x="399" y="139"/>
                    <a:pt x="399" y="139"/>
                    <a:pt x="399" y="139"/>
                  </a:cubicBezTo>
                  <a:cubicBezTo>
                    <a:pt x="399" y="139"/>
                    <a:pt x="399" y="140"/>
                    <a:pt x="398" y="140"/>
                  </a:cubicBezTo>
                  <a:cubicBezTo>
                    <a:pt x="398" y="141"/>
                    <a:pt x="397" y="141"/>
                    <a:pt x="396" y="141"/>
                  </a:cubicBezTo>
                  <a:cubicBezTo>
                    <a:pt x="396" y="141"/>
                    <a:pt x="396" y="141"/>
                    <a:pt x="396" y="141"/>
                  </a:cubicBezTo>
                  <a:cubicBezTo>
                    <a:pt x="395" y="141"/>
                    <a:pt x="395" y="141"/>
                    <a:pt x="395" y="141"/>
                  </a:cubicBezTo>
                  <a:cubicBezTo>
                    <a:pt x="394" y="141"/>
                    <a:pt x="393" y="140"/>
                    <a:pt x="392" y="140"/>
                  </a:cubicBezTo>
                  <a:cubicBezTo>
                    <a:pt x="392" y="140"/>
                    <a:pt x="392" y="140"/>
                    <a:pt x="392" y="140"/>
                  </a:cubicBezTo>
                  <a:cubicBezTo>
                    <a:pt x="390" y="139"/>
                    <a:pt x="390" y="139"/>
                    <a:pt x="390" y="139"/>
                  </a:cubicBezTo>
                  <a:cubicBezTo>
                    <a:pt x="390" y="138"/>
                    <a:pt x="389" y="138"/>
                    <a:pt x="389" y="138"/>
                  </a:cubicBezTo>
                  <a:cubicBezTo>
                    <a:pt x="387" y="138"/>
                    <a:pt x="386" y="137"/>
                    <a:pt x="384" y="137"/>
                  </a:cubicBezTo>
                  <a:cubicBezTo>
                    <a:pt x="383" y="137"/>
                    <a:pt x="382" y="137"/>
                    <a:pt x="382" y="137"/>
                  </a:cubicBezTo>
                  <a:cubicBezTo>
                    <a:pt x="379" y="138"/>
                    <a:pt x="379" y="138"/>
                    <a:pt x="379" y="138"/>
                  </a:cubicBezTo>
                  <a:cubicBezTo>
                    <a:pt x="378" y="138"/>
                    <a:pt x="378" y="138"/>
                    <a:pt x="377" y="138"/>
                  </a:cubicBezTo>
                  <a:cubicBezTo>
                    <a:pt x="374" y="138"/>
                    <a:pt x="371" y="137"/>
                    <a:pt x="368" y="136"/>
                  </a:cubicBezTo>
                  <a:cubicBezTo>
                    <a:pt x="366" y="135"/>
                    <a:pt x="365" y="135"/>
                    <a:pt x="364" y="135"/>
                  </a:cubicBezTo>
                  <a:cubicBezTo>
                    <a:pt x="363" y="135"/>
                    <a:pt x="363" y="135"/>
                    <a:pt x="363" y="135"/>
                  </a:cubicBezTo>
                  <a:cubicBezTo>
                    <a:pt x="361" y="134"/>
                    <a:pt x="358" y="134"/>
                    <a:pt x="355" y="134"/>
                  </a:cubicBezTo>
                  <a:cubicBezTo>
                    <a:pt x="352" y="134"/>
                    <a:pt x="348" y="134"/>
                    <a:pt x="345" y="135"/>
                  </a:cubicBezTo>
                  <a:cubicBezTo>
                    <a:pt x="342" y="135"/>
                    <a:pt x="342" y="135"/>
                    <a:pt x="342" y="135"/>
                  </a:cubicBezTo>
                  <a:cubicBezTo>
                    <a:pt x="341" y="132"/>
                    <a:pt x="341" y="132"/>
                    <a:pt x="341" y="132"/>
                  </a:cubicBezTo>
                  <a:cubicBezTo>
                    <a:pt x="341" y="132"/>
                    <a:pt x="341" y="131"/>
                    <a:pt x="341" y="131"/>
                  </a:cubicBezTo>
                  <a:cubicBezTo>
                    <a:pt x="341" y="130"/>
                    <a:pt x="340" y="129"/>
                    <a:pt x="341" y="127"/>
                  </a:cubicBezTo>
                  <a:cubicBezTo>
                    <a:pt x="341" y="126"/>
                    <a:pt x="342" y="126"/>
                    <a:pt x="342" y="125"/>
                  </a:cubicBezTo>
                  <a:cubicBezTo>
                    <a:pt x="343" y="124"/>
                    <a:pt x="343" y="124"/>
                    <a:pt x="344" y="123"/>
                  </a:cubicBezTo>
                  <a:cubicBezTo>
                    <a:pt x="345" y="122"/>
                    <a:pt x="347" y="121"/>
                    <a:pt x="347" y="120"/>
                  </a:cubicBezTo>
                  <a:cubicBezTo>
                    <a:pt x="348" y="118"/>
                    <a:pt x="348" y="118"/>
                    <a:pt x="348" y="118"/>
                  </a:cubicBezTo>
                  <a:cubicBezTo>
                    <a:pt x="350" y="112"/>
                    <a:pt x="352" y="106"/>
                    <a:pt x="356" y="100"/>
                  </a:cubicBezTo>
                  <a:cubicBezTo>
                    <a:pt x="357" y="99"/>
                    <a:pt x="358" y="97"/>
                    <a:pt x="359" y="96"/>
                  </a:cubicBezTo>
                  <a:cubicBezTo>
                    <a:pt x="360" y="95"/>
                    <a:pt x="360" y="95"/>
                    <a:pt x="360" y="95"/>
                  </a:cubicBezTo>
                  <a:cubicBezTo>
                    <a:pt x="361" y="93"/>
                    <a:pt x="363" y="90"/>
                    <a:pt x="364" y="88"/>
                  </a:cubicBezTo>
                  <a:cubicBezTo>
                    <a:pt x="365" y="88"/>
                    <a:pt x="365" y="87"/>
                    <a:pt x="364" y="85"/>
                  </a:cubicBezTo>
                  <a:cubicBezTo>
                    <a:pt x="364" y="85"/>
                    <a:pt x="364" y="84"/>
                    <a:pt x="363" y="83"/>
                  </a:cubicBezTo>
                  <a:cubicBezTo>
                    <a:pt x="359" y="81"/>
                    <a:pt x="355" y="79"/>
                    <a:pt x="351" y="77"/>
                  </a:cubicBezTo>
                  <a:cubicBezTo>
                    <a:pt x="341" y="72"/>
                    <a:pt x="333" y="68"/>
                    <a:pt x="324" y="62"/>
                  </a:cubicBezTo>
                  <a:cubicBezTo>
                    <a:pt x="323" y="61"/>
                    <a:pt x="322" y="61"/>
                    <a:pt x="320" y="60"/>
                  </a:cubicBezTo>
                  <a:cubicBezTo>
                    <a:pt x="317" y="57"/>
                    <a:pt x="317" y="57"/>
                    <a:pt x="317" y="57"/>
                  </a:cubicBezTo>
                  <a:cubicBezTo>
                    <a:pt x="315" y="56"/>
                    <a:pt x="313" y="54"/>
                    <a:pt x="311" y="53"/>
                  </a:cubicBezTo>
                  <a:cubicBezTo>
                    <a:pt x="309" y="52"/>
                    <a:pt x="306" y="52"/>
                    <a:pt x="304" y="51"/>
                  </a:cubicBezTo>
                  <a:cubicBezTo>
                    <a:pt x="303" y="51"/>
                    <a:pt x="302" y="51"/>
                    <a:pt x="301" y="51"/>
                  </a:cubicBezTo>
                  <a:cubicBezTo>
                    <a:pt x="298" y="50"/>
                    <a:pt x="296" y="50"/>
                    <a:pt x="294" y="50"/>
                  </a:cubicBezTo>
                  <a:cubicBezTo>
                    <a:pt x="292" y="49"/>
                    <a:pt x="292" y="49"/>
                    <a:pt x="292" y="49"/>
                  </a:cubicBezTo>
                  <a:cubicBezTo>
                    <a:pt x="291" y="49"/>
                    <a:pt x="290" y="49"/>
                    <a:pt x="290" y="48"/>
                  </a:cubicBezTo>
                  <a:cubicBezTo>
                    <a:pt x="287" y="47"/>
                    <a:pt x="285" y="46"/>
                    <a:pt x="282" y="43"/>
                  </a:cubicBezTo>
                  <a:cubicBezTo>
                    <a:pt x="280" y="42"/>
                    <a:pt x="279" y="41"/>
                    <a:pt x="277" y="39"/>
                  </a:cubicBezTo>
                  <a:cubicBezTo>
                    <a:pt x="276" y="38"/>
                    <a:pt x="275" y="37"/>
                    <a:pt x="274" y="36"/>
                  </a:cubicBezTo>
                  <a:cubicBezTo>
                    <a:pt x="273" y="35"/>
                    <a:pt x="273" y="35"/>
                    <a:pt x="272" y="35"/>
                  </a:cubicBezTo>
                  <a:cubicBezTo>
                    <a:pt x="270" y="33"/>
                    <a:pt x="270" y="33"/>
                    <a:pt x="270" y="33"/>
                  </a:cubicBezTo>
                  <a:cubicBezTo>
                    <a:pt x="270" y="32"/>
                    <a:pt x="269" y="31"/>
                    <a:pt x="268" y="31"/>
                  </a:cubicBezTo>
                  <a:cubicBezTo>
                    <a:pt x="268" y="31"/>
                    <a:pt x="268" y="31"/>
                    <a:pt x="268" y="31"/>
                  </a:cubicBezTo>
                  <a:cubicBezTo>
                    <a:pt x="268" y="30"/>
                    <a:pt x="267" y="30"/>
                    <a:pt x="267" y="29"/>
                  </a:cubicBezTo>
                  <a:cubicBezTo>
                    <a:pt x="266" y="28"/>
                    <a:pt x="266" y="28"/>
                    <a:pt x="266" y="28"/>
                  </a:cubicBezTo>
                  <a:cubicBezTo>
                    <a:pt x="265" y="27"/>
                    <a:pt x="264" y="26"/>
                    <a:pt x="263" y="25"/>
                  </a:cubicBezTo>
                  <a:cubicBezTo>
                    <a:pt x="262" y="24"/>
                    <a:pt x="262" y="24"/>
                    <a:pt x="262" y="24"/>
                  </a:cubicBezTo>
                  <a:cubicBezTo>
                    <a:pt x="262" y="23"/>
                    <a:pt x="261" y="23"/>
                    <a:pt x="261" y="22"/>
                  </a:cubicBezTo>
                  <a:cubicBezTo>
                    <a:pt x="260" y="21"/>
                    <a:pt x="260" y="21"/>
                    <a:pt x="260" y="21"/>
                  </a:cubicBezTo>
                  <a:cubicBezTo>
                    <a:pt x="260" y="20"/>
                    <a:pt x="259" y="19"/>
                    <a:pt x="259" y="19"/>
                  </a:cubicBezTo>
                  <a:cubicBezTo>
                    <a:pt x="258" y="18"/>
                    <a:pt x="257" y="16"/>
                    <a:pt x="257" y="15"/>
                  </a:cubicBezTo>
                  <a:cubicBezTo>
                    <a:pt x="256" y="15"/>
                    <a:pt x="256" y="15"/>
                    <a:pt x="256" y="14"/>
                  </a:cubicBezTo>
                  <a:cubicBezTo>
                    <a:pt x="255" y="14"/>
                    <a:pt x="255" y="14"/>
                    <a:pt x="254" y="14"/>
                  </a:cubicBezTo>
                  <a:cubicBezTo>
                    <a:pt x="253" y="13"/>
                    <a:pt x="252" y="12"/>
                    <a:pt x="252" y="12"/>
                  </a:cubicBezTo>
                  <a:cubicBezTo>
                    <a:pt x="252" y="12"/>
                    <a:pt x="252" y="12"/>
                    <a:pt x="252" y="12"/>
                  </a:cubicBezTo>
                  <a:cubicBezTo>
                    <a:pt x="250" y="11"/>
                    <a:pt x="250" y="11"/>
                    <a:pt x="250" y="11"/>
                  </a:cubicBezTo>
                  <a:cubicBezTo>
                    <a:pt x="248" y="8"/>
                    <a:pt x="248" y="8"/>
                    <a:pt x="248" y="8"/>
                  </a:cubicBezTo>
                  <a:cubicBezTo>
                    <a:pt x="247" y="8"/>
                    <a:pt x="247" y="7"/>
                    <a:pt x="247" y="7"/>
                  </a:cubicBezTo>
                  <a:cubicBezTo>
                    <a:pt x="247" y="7"/>
                    <a:pt x="247" y="7"/>
                    <a:pt x="247" y="7"/>
                  </a:cubicBezTo>
                  <a:cubicBezTo>
                    <a:pt x="246" y="6"/>
                    <a:pt x="246" y="5"/>
                    <a:pt x="245" y="4"/>
                  </a:cubicBezTo>
                  <a:cubicBezTo>
                    <a:pt x="245" y="4"/>
                    <a:pt x="245" y="4"/>
                    <a:pt x="245" y="4"/>
                  </a:cubicBezTo>
                  <a:cubicBezTo>
                    <a:pt x="244" y="3"/>
                    <a:pt x="244" y="3"/>
                    <a:pt x="244" y="3"/>
                  </a:cubicBezTo>
                  <a:cubicBezTo>
                    <a:pt x="244" y="3"/>
                    <a:pt x="243" y="4"/>
                    <a:pt x="242" y="4"/>
                  </a:cubicBezTo>
                  <a:cubicBezTo>
                    <a:pt x="242" y="4"/>
                    <a:pt x="242" y="4"/>
                    <a:pt x="241" y="4"/>
                  </a:cubicBezTo>
                  <a:cubicBezTo>
                    <a:pt x="228" y="4"/>
                    <a:pt x="228" y="4"/>
                    <a:pt x="228" y="4"/>
                  </a:cubicBezTo>
                  <a:cubicBezTo>
                    <a:pt x="228" y="4"/>
                    <a:pt x="227" y="4"/>
                    <a:pt x="227" y="4"/>
                  </a:cubicBezTo>
                  <a:cubicBezTo>
                    <a:pt x="226" y="4"/>
                    <a:pt x="226" y="4"/>
                    <a:pt x="226" y="4"/>
                  </a:cubicBezTo>
                  <a:cubicBezTo>
                    <a:pt x="225" y="4"/>
                    <a:pt x="225" y="4"/>
                    <a:pt x="224" y="4"/>
                  </a:cubicBezTo>
                  <a:cubicBezTo>
                    <a:pt x="223" y="4"/>
                    <a:pt x="223" y="4"/>
                    <a:pt x="222" y="4"/>
                  </a:cubicBezTo>
                  <a:cubicBezTo>
                    <a:pt x="219" y="10"/>
                    <a:pt x="217" y="16"/>
                    <a:pt x="215" y="22"/>
                  </a:cubicBezTo>
                  <a:cubicBezTo>
                    <a:pt x="212" y="29"/>
                    <a:pt x="212" y="29"/>
                    <a:pt x="212" y="29"/>
                  </a:cubicBezTo>
                  <a:cubicBezTo>
                    <a:pt x="209" y="22"/>
                    <a:pt x="209" y="22"/>
                    <a:pt x="209" y="22"/>
                  </a:cubicBezTo>
                  <a:cubicBezTo>
                    <a:pt x="209" y="21"/>
                    <a:pt x="208" y="19"/>
                    <a:pt x="207" y="17"/>
                  </a:cubicBezTo>
                  <a:cubicBezTo>
                    <a:pt x="207" y="17"/>
                    <a:pt x="207" y="17"/>
                    <a:pt x="207" y="17"/>
                  </a:cubicBezTo>
                  <a:cubicBezTo>
                    <a:pt x="206" y="14"/>
                    <a:pt x="205" y="11"/>
                    <a:pt x="204" y="9"/>
                  </a:cubicBezTo>
                  <a:cubicBezTo>
                    <a:pt x="203" y="9"/>
                    <a:pt x="203" y="9"/>
                    <a:pt x="201" y="8"/>
                  </a:cubicBezTo>
                  <a:cubicBezTo>
                    <a:pt x="200" y="8"/>
                    <a:pt x="199" y="7"/>
                    <a:pt x="197" y="7"/>
                  </a:cubicBezTo>
                  <a:cubicBezTo>
                    <a:pt x="196" y="7"/>
                    <a:pt x="196" y="7"/>
                    <a:pt x="196" y="7"/>
                  </a:cubicBezTo>
                  <a:cubicBezTo>
                    <a:pt x="195" y="7"/>
                    <a:pt x="194" y="6"/>
                    <a:pt x="193" y="6"/>
                  </a:cubicBezTo>
                  <a:cubicBezTo>
                    <a:pt x="192" y="6"/>
                    <a:pt x="192" y="6"/>
                    <a:pt x="192" y="6"/>
                  </a:cubicBezTo>
                  <a:cubicBezTo>
                    <a:pt x="190" y="6"/>
                    <a:pt x="189" y="6"/>
                    <a:pt x="187" y="6"/>
                  </a:cubicBezTo>
                  <a:cubicBezTo>
                    <a:pt x="186" y="6"/>
                    <a:pt x="184" y="6"/>
                    <a:pt x="182" y="6"/>
                  </a:cubicBezTo>
                  <a:cubicBezTo>
                    <a:pt x="182" y="6"/>
                    <a:pt x="181" y="6"/>
                    <a:pt x="181" y="6"/>
                  </a:cubicBezTo>
                  <a:cubicBezTo>
                    <a:pt x="177" y="6"/>
                    <a:pt x="175" y="4"/>
                    <a:pt x="172" y="2"/>
                  </a:cubicBezTo>
                  <a:cubicBezTo>
                    <a:pt x="172" y="2"/>
                    <a:pt x="172" y="2"/>
                    <a:pt x="172" y="2"/>
                  </a:cubicBezTo>
                  <a:cubicBezTo>
                    <a:pt x="171" y="1"/>
                    <a:pt x="170" y="0"/>
                    <a:pt x="17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77" name="Freeform 248">
              <a:extLst>
                <a:ext uri="{FF2B5EF4-FFF2-40B4-BE49-F238E27FC236}">
                  <a16:creationId xmlns:a16="http://schemas.microsoft.com/office/drawing/2014/main" id="{9636445F-F25E-4A7E-8D5C-441E250CFC1A}"/>
                </a:ext>
              </a:extLst>
            </p:cNvPr>
            <p:cNvSpPr>
              <a:spLocks/>
            </p:cNvSpPr>
            <p:nvPr/>
          </p:nvSpPr>
          <p:spPr bwMode="auto">
            <a:xfrm>
              <a:off x="8282456" y="523812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78" name="Freeform 249">
              <a:extLst>
                <a:ext uri="{FF2B5EF4-FFF2-40B4-BE49-F238E27FC236}">
                  <a16:creationId xmlns:a16="http://schemas.microsoft.com/office/drawing/2014/main" id="{FA72806E-FE3E-4BD9-9136-6EA2293A108C}"/>
                </a:ext>
              </a:extLst>
            </p:cNvPr>
            <p:cNvSpPr>
              <a:spLocks/>
            </p:cNvSpPr>
            <p:nvPr/>
          </p:nvSpPr>
          <p:spPr bwMode="auto">
            <a:xfrm>
              <a:off x="8282456" y="5238122"/>
              <a:ext cx="0" cy="0"/>
            </a:xfrm>
            <a:custGeom>
              <a:avLst/>
              <a:gdLst/>
              <a:ahLst/>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79" name="Freeform 250">
              <a:extLst>
                <a:ext uri="{FF2B5EF4-FFF2-40B4-BE49-F238E27FC236}">
                  <a16:creationId xmlns:a16="http://schemas.microsoft.com/office/drawing/2014/main" id="{D439E576-491D-4527-9F37-4DDD2010AD30}"/>
                </a:ext>
              </a:extLst>
            </p:cNvPr>
            <p:cNvSpPr>
              <a:spLocks/>
            </p:cNvSpPr>
            <p:nvPr/>
          </p:nvSpPr>
          <p:spPr bwMode="auto">
            <a:xfrm>
              <a:off x="8505594" y="6520467"/>
              <a:ext cx="264094" cy="244323"/>
            </a:xfrm>
            <a:custGeom>
              <a:avLst/>
              <a:gdLst>
                <a:gd name="T0" fmla="*/ 0 w 79"/>
                <a:gd name="T1" fmla="*/ 0 h 73"/>
                <a:gd name="T2" fmla="*/ 0 w 79"/>
                <a:gd name="T3" fmla="*/ 67 h 73"/>
                <a:gd name="T4" fmla="*/ 28 w 79"/>
                <a:gd name="T5" fmla="*/ 68 h 73"/>
                <a:gd name="T6" fmla="*/ 25 w 79"/>
                <a:gd name="T7" fmla="*/ 67 h 73"/>
                <a:gd name="T8" fmla="*/ 25 w 79"/>
                <a:gd name="T9" fmla="*/ 67 h 73"/>
                <a:gd name="T10" fmla="*/ 44 w 79"/>
                <a:gd name="T11" fmla="*/ 72 h 73"/>
                <a:gd name="T12" fmla="*/ 48 w 79"/>
                <a:gd name="T13" fmla="*/ 73 h 73"/>
                <a:gd name="T14" fmla="*/ 50 w 79"/>
                <a:gd name="T15" fmla="*/ 72 h 73"/>
                <a:gd name="T16" fmla="*/ 74 w 79"/>
                <a:gd name="T17" fmla="*/ 69 h 73"/>
                <a:gd name="T18" fmla="*/ 79 w 79"/>
                <a:gd name="T19" fmla="*/ 60 h 73"/>
                <a:gd name="T20" fmla="*/ 75 w 79"/>
                <a:gd name="T21" fmla="*/ 60 h 73"/>
                <a:gd name="T22" fmla="*/ 67 w 79"/>
                <a:gd name="T23" fmla="*/ 60 h 73"/>
                <a:gd name="T24" fmla="*/ 67 w 79"/>
                <a:gd name="T25" fmla="*/ 60 h 73"/>
                <a:gd name="T26" fmla="*/ 45 w 79"/>
                <a:gd name="T27" fmla="*/ 51 h 73"/>
                <a:gd name="T28" fmla="*/ 25 w 79"/>
                <a:gd name="T29" fmla="*/ 38 h 73"/>
                <a:gd name="T30" fmla="*/ 14 w 79"/>
                <a:gd name="T31" fmla="*/ 28 h 73"/>
                <a:gd name="T32" fmla="*/ 8 w 79"/>
                <a:gd name="T33" fmla="*/ 19 h 73"/>
                <a:gd name="T34" fmla="*/ 2 w 79"/>
                <a:gd name="T35" fmla="*/ 16 h 73"/>
                <a:gd name="T36" fmla="*/ 0 w 79"/>
                <a:gd name="T37" fmla="*/ 14 h 73"/>
                <a:gd name="T38" fmla="*/ 0 w 79"/>
                <a:gd name="T39" fmla="*/ 14 h 73"/>
                <a:gd name="T40" fmla="*/ 0 w 79"/>
                <a:gd name="T41" fmla="*/ 13 h 73"/>
                <a:gd name="T42" fmla="*/ 5 w 79"/>
                <a:gd name="T43" fmla="*/ 7 h 73"/>
                <a:gd name="T44" fmla="*/ 0 w 79"/>
                <a:gd name="T4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 h="73">
                  <a:moveTo>
                    <a:pt x="0" y="0"/>
                  </a:moveTo>
                  <a:cubicBezTo>
                    <a:pt x="0" y="28"/>
                    <a:pt x="0" y="60"/>
                    <a:pt x="0" y="67"/>
                  </a:cubicBezTo>
                  <a:cubicBezTo>
                    <a:pt x="10" y="68"/>
                    <a:pt x="19" y="68"/>
                    <a:pt x="28" y="68"/>
                  </a:cubicBezTo>
                  <a:cubicBezTo>
                    <a:pt x="27" y="68"/>
                    <a:pt x="26" y="68"/>
                    <a:pt x="25" y="67"/>
                  </a:cubicBezTo>
                  <a:cubicBezTo>
                    <a:pt x="25" y="67"/>
                    <a:pt x="25" y="67"/>
                    <a:pt x="25" y="67"/>
                  </a:cubicBezTo>
                  <a:cubicBezTo>
                    <a:pt x="31" y="68"/>
                    <a:pt x="38" y="70"/>
                    <a:pt x="44" y="72"/>
                  </a:cubicBezTo>
                  <a:cubicBezTo>
                    <a:pt x="45" y="72"/>
                    <a:pt x="46" y="73"/>
                    <a:pt x="48" y="73"/>
                  </a:cubicBezTo>
                  <a:cubicBezTo>
                    <a:pt x="49" y="73"/>
                    <a:pt x="49" y="72"/>
                    <a:pt x="50" y="72"/>
                  </a:cubicBezTo>
                  <a:cubicBezTo>
                    <a:pt x="58" y="71"/>
                    <a:pt x="66" y="70"/>
                    <a:pt x="74" y="69"/>
                  </a:cubicBezTo>
                  <a:cubicBezTo>
                    <a:pt x="76" y="68"/>
                    <a:pt x="76" y="61"/>
                    <a:pt x="79" y="60"/>
                  </a:cubicBezTo>
                  <a:cubicBezTo>
                    <a:pt x="77" y="60"/>
                    <a:pt x="76" y="60"/>
                    <a:pt x="75" y="60"/>
                  </a:cubicBezTo>
                  <a:cubicBezTo>
                    <a:pt x="72" y="60"/>
                    <a:pt x="70" y="60"/>
                    <a:pt x="67" y="60"/>
                  </a:cubicBezTo>
                  <a:cubicBezTo>
                    <a:pt x="67" y="60"/>
                    <a:pt x="67" y="60"/>
                    <a:pt x="67" y="60"/>
                  </a:cubicBezTo>
                  <a:cubicBezTo>
                    <a:pt x="59" y="60"/>
                    <a:pt x="51" y="55"/>
                    <a:pt x="45" y="51"/>
                  </a:cubicBezTo>
                  <a:cubicBezTo>
                    <a:pt x="38" y="47"/>
                    <a:pt x="32" y="42"/>
                    <a:pt x="25" y="38"/>
                  </a:cubicBezTo>
                  <a:cubicBezTo>
                    <a:pt x="21" y="36"/>
                    <a:pt x="18" y="31"/>
                    <a:pt x="14" y="28"/>
                  </a:cubicBezTo>
                  <a:cubicBezTo>
                    <a:pt x="12" y="25"/>
                    <a:pt x="10" y="22"/>
                    <a:pt x="8" y="19"/>
                  </a:cubicBezTo>
                  <a:cubicBezTo>
                    <a:pt x="6" y="16"/>
                    <a:pt x="5" y="18"/>
                    <a:pt x="2" y="16"/>
                  </a:cubicBezTo>
                  <a:cubicBezTo>
                    <a:pt x="1" y="16"/>
                    <a:pt x="0" y="15"/>
                    <a:pt x="0" y="14"/>
                  </a:cubicBezTo>
                  <a:cubicBezTo>
                    <a:pt x="0" y="14"/>
                    <a:pt x="0" y="14"/>
                    <a:pt x="0" y="14"/>
                  </a:cubicBezTo>
                  <a:cubicBezTo>
                    <a:pt x="0" y="13"/>
                    <a:pt x="0" y="13"/>
                    <a:pt x="0" y="13"/>
                  </a:cubicBezTo>
                  <a:cubicBezTo>
                    <a:pt x="1" y="10"/>
                    <a:pt x="3" y="8"/>
                    <a:pt x="5" y="7"/>
                  </a:cubicBezTo>
                  <a:cubicBezTo>
                    <a:pt x="3" y="5"/>
                    <a:pt x="2"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80" name="Freeform 251">
              <a:extLst>
                <a:ext uri="{FF2B5EF4-FFF2-40B4-BE49-F238E27FC236}">
                  <a16:creationId xmlns:a16="http://schemas.microsoft.com/office/drawing/2014/main" id="{FC4ADD79-FCD9-4F7C-8392-7DC7A74BE304}"/>
                </a:ext>
              </a:extLst>
            </p:cNvPr>
            <p:cNvSpPr>
              <a:spLocks/>
            </p:cNvSpPr>
            <p:nvPr/>
          </p:nvSpPr>
          <p:spPr bwMode="auto">
            <a:xfrm>
              <a:off x="7538189" y="1902332"/>
              <a:ext cx="440628" cy="477348"/>
            </a:xfrm>
            <a:custGeom>
              <a:avLst/>
              <a:gdLst>
                <a:gd name="T0" fmla="*/ 47 w 132"/>
                <a:gd name="T1" fmla="*/ 3 h 143"/>
                <a:gd name="T2" fmla="*/ 29 w 132"/>
                <a:gd name="T3" fmla="*/ 9 h 143"/>
                <a:gd name="T4" fmla="*/ 23 w 132"/>
                <a:gd name="T5" fmla="*/ 19 h 143"/>
                <a:gd name="T6" fmla="*/ 13 w 132"/>
                <a:gd name="T7" fmla="*/ 40 h 143"/>
                <a:gd name="T8" fmla="*/ 9 w 132"/>
                <a:gd name="T9" fmla="*/ 51 h 143"/>
                <a:gd name="T10" fmla="*/ 2 w 132"/>
                <a:gd name="T11" fmla="*/ 81 h 143"/>
                <a:gd name="T12" fmla="*/ 15 w 132"/>
                <a:gd name="T13" fmla="*/ 92 h 143"/>
                <a:gd name="T14" fmla="*/ 17 w 132"/>
                <a:gd name="T15" fmla="*/ 91 h 143"/>
                <a:gd name="T16" fmla="*/ 18 w 132"/>
                <a:gd name="T17" fmla="*/ 91 h 143"/>
                <a:gd name="T18" fmla="*/ 23 w 132"/>
                <a:gd name="T19" fmla="*/ 90 h 143"/>
                <a:gd name="T20" fmla="*/ 30 w 132"/>
                <a:gd name="T21" fmla="*/ 88 h 143"/>
                <a:gd name="T22" fmla="*/ 19 w 132"/>
                <a:gd name="T23" fmla="*/ 108 h 143"/>
                <a:gd name="T24" fmla="*/ 21 w 132"/>
                <a:gd name="T25" fmla="*/ 116 h 143"/>
                <a:gd name="T26" fmla="*/ 22 w 132"/>
                <a:gd name="T27" fmla="*/ 121 h 143"/>
                <a:gd name="T28" fmla="*/ 18 w 132"/>
                <a:gd name="T29" fmla="*/ 124 h 143"/>
                <a:gd name="T30" fmla="*/ 15 w 132"/>
                <a:gd name="T31" fmla="*/ 126 h 143"/>
                <a:gd name="T32" fmla="*/ 17 w 132"/>
                <a:gd name="T33" fmla="*/ 129 h 143"/>
                <a:gd name="T34" fmla="*/ 23 w 132"/>
                <a:gd name="T35" fmla="*/ 127 h 143"/>
                <a:gd name="T36" fmla="*/ 32 w 132"/>
                <a:gd name="T37" fmla="*/ 130 h 143"/>
                <a:gd name="T38" fmla="*/ 34 w 132"/>
                <a:gd name="T39" fmla="*/ 131 h 143"/>
                <a:gd name="T40" fmla="*/ 39 w 132"/>
                <a:gd name="T41" fmla="*/ 140 h 143"/>
                <a:gd name="T42" fmla="*/ 44 w 132"/>
                <a:gd name="T43" fmla="*/ 143 h 143"/>
                <a:gd name="T44" fmla="*/ 45 w 132"/>
                <a:gd name="T45" fmla="*/ 143 h 143"/>
                <a:gd name="T46" fmla="*/ 51 w 132"/>
                <a:gd name="T47" fmla="*/ 135 h 143"/>
                <a:gd name="T48" fmla="*/ 63 w 132"/>
                <a:gd name="T49" fmla="*/ 109 h 143"/>
                <a:gd name="T50" fmla="*/ 65 w 132"/>
                <a:gd name="T51" fmla="*/ 105 h 143"/>
                <a:gd name="T52" fmla="*/ 69 w 132"/>
                <a:gd name="T53" fmla="*/ 100 h 143"/>
                <a:gd name="T54" fmla="*/ 101 w 132"/>
                <a:gd name="T55" fmla="*/ 86 h 143"/>
                <a:gd name="T56" fmla="*/ 123 w 132"/>
                <a:gd name="T57" fmla="*/ 66 h 143"/>
                <a:gd name="T58" fmla="*/ 127 w 132"/>
                <a:gd name="T59" fmla="*/ 60 h 143"/>
                <a:gd name="T60" fmla="*/ 129 w 132"/>
                <a:gd name="T61" fmla="*/ 56 h 143"/>
                <a:gd name="T62" fmla="*/ 132 w 132"/>
                <a:gd name="T63" fmla="*/ 49 h 143"/>
                <a:gd name="T64" fmla="*/ 128 w 132"/>
                <a:gd name="T65" fmla="*/ 41 h 143"/>
                <a:gd name="T66" fmla="*/ 127 w 132"/>
                <a:gd name="T67" fmla="*/ 38 h 143"/>
                <a:gd name="T68" fmla="*/ 125 w 132"/>
                <a:gd name="T69" fmla="*/ 37 h 143"/>
                <a:gd name="T70" fmla="*/ 122 w 132"/>
                <a:gd name="T71" fmla="*/ 34 h 143"/>
                <a:gd name="T72" fmla="*/ 124 w 132"/>
                <a:gd name="T73" fmla="*/ 31 h 143"/>
                <a:gd name="T74" fmla="*/ 114 w 132"/>
                <a:gd name="T75" fmla="*/ 25 h 143"/>
                <a:gd name="T76" fmla="*/ 109 w 132"/>
                <a:gd name="T77" fmla="*/ 25 h 143"/>
                <a:gd name="T78" fmla="*/ 94 w 132"/>
                <a:gd name="T79" fmla="*/ 25 h 143"/>
                <a:gd name="T80" fmla="*/ 87 w 132"/>
                <a:gd name="T81" fmla="*/ 25 h 143"/>
                <a:gd name="T82" fmla="*/ 81 w 132"/>
                <a:gd name="T83" fmla="*/ 22 h 143"/>
                <a:gd name="T84" fmla="*/ 79 w 132"/>
                <a:gd name="T85" fmla="*/ 16 h 143"/>
                <a:gd name="T86" fmla="*/ 50 w 132"/>
                <a:gd name="T87"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2" h="143">
                  <a:moveTo>
                    <a:pt x="50" y="0"/>
                  </a:moveTo>
                  <a:cubicBezTo>
                    <a:pt x="49" y="1"/>
                    <a:pt x="48" y="3"/>
                    <a:pt x="47" y="4"/>
                  </a:cubicBezTo>
                  <a:cubicBezTo>
                    <a:pt x="47" y="4"/>
                    <a:pt x="47" y="3"/>
                    <a:pt x="47" y="3"/>
                  </a:cubicBezTo>
                  <a:cubicBezTo>
                    <a:pt x="45" y="4"/>
                    <a:pt x="43" y="5"/>
                    <a:pt x="40" y="5"/>
                  </a:cubicBezTo>
                  <a:cubicBezTo>
                    <a:pt x="37" y="6"/>
                    <a:pt x="31" y="6"/>
                    <a:pt x="33" y="10"/>
                  </a:cubicBezTo>
                  <a:cubicBezTo>
                    <a:pt x="32" y="10"/>
                    <a:pt x="31" y="9"/>
                    <a:pt x="29" y="9"/>
                  </a:cubicBezTo>
                  <a:cubicBezTo>
                    <a:pt x="26" y="9"/>
                    <a:pt x="21" y="11"/>
                    <a:pt x="21" y="14"/>
                  </a:cubicBezTo>
                  <a:cubicBezTo>
                    <a:pt x="22" y="15"/>
                    <a:pt x="23" y="15"/>
                    <a:pt x="23" y="16"/>
                  </a:cubicBezTo>
                  <a:cubicBezTo>
                    <a:pt x="23" y="17"/>
                    <a:pt x="23" y="18"/>
                    <a:pt x="23" y="19"/>
                  </a:cubicBezTo>
                  <a:cubicBezTo>
                    <a:pt x="23" y="20"/>
                    <a:pt x="24" y="22"/>
                    <a:pt x="24" y="22"/>
                  </a:cubicBezTo>
                  <a:cubicBezTo>
                    <a:pt x="23" y="25"/>
                    <a:pt x="23" y="29"/>
                    <a:pt x="21" y="31"/>
                  </a:cubicBezTo>
                  <a:cubicBezTo>
                    <a:pt x="18" y="33"/>
                    <a:pt x="12" y="37"/>
                    <a:pt x="13" y="40"/>
                  </a:cubicBezTo>
                  <a:cubicBezTo>
                    <a:pt x="13" y="42"/>
                    <a:pt x="15" y="45"/>
                    <a:pt x="17" y="45"/>
                  </a:cubicBezTo>
                  <a:cubicBezTo>
                    <a:pt x="15" y="45"/>
                    <a:pt x="14" y="47"/>
                    <a:pt x="13" y="48"/>
                  </a:cubicBezTo>
                  <a:cubicBezTo>
                    <a:pt x="11" y="51"/>
                    <a:pt x="10" y="51"/>
                    <a:pt x="9" y="51"/>
                  </a:cubicBezTo>
                  <a:cubicBezTo>
                    <a:pt x="5" y="53"/>
                    <a:pt x="2" y="53"/>
                    <a:pt x="3" y="57"/>
                  </a:cubicBezTo>
                  <a:cubicBezTo>
                    <a:pt x="5" y="60"/>
                    <a:pt x="6" y="60"/>
                    <a:pt x="5" y="65"/>
                  </a:cubicBezTo>
                  <a:cubicBezTo>
                    <a:pt x="5" y="69"/>
                    <a:pt x="9" y="81"/>
                    <a:pt x="2" y="81"/>
                  </a:cubicBezTo>
                  <a:cubicBezTo>
                    <a:pt x="2" y="81"/>
                    <a:pt x="1" y="81"/>
                    <a:pt x="0" y="81"/>
                  </a:cubicBezTo>
                  <a:cubicBezTo>
                    <a:pt x="2" y="84"/>
                    <a:pt x="4" y="84"/>
                    <a:pt x="6" y="85"/>
                  </a:cubicBezTo>
                  <a:cubicBezTo>
                    <a:pt x="10" y="87"/>
                    <a:pt x="12" y="90"/>
                    <a:pt x="15" y="92"/>
                  </a:cubicBezTo>
                  <a:cubicBezTo>
                    <a:pt x="16" y="93"/>
                    <a:pt x="17" y="93"/>
                    <a:pt x="17" y="93"/>
                  </a:cubicBezTo>
                  <a:cubicBezTo>
                    <a:pt x="17" y="93"/>
                    <a:pt x="18" y="93"/>
                    <a:pt x="18" y="93"/>
                  </a:cubicBezTo>
                  <a:cubicBezTo>
                    <a:pt x="18" y="93"/>
                    <a:pt x="17" y="91"/>
                    <a:pt x="17" y="91"/>
                  </a:cubicBezTo>
                  <a:cubicBezTo>
                    <a:pt x="17" y="91"/>
                    <a:pt x="17" y="91"/>
                    <a:pt x="18" y="91"/>
                  </a:cubicBezTo>
                  <a:cubicBezTo>
                    <a:pt x="18" y="91"/>
                    <a:pt x="18" y="91"/>
                    <a:pt x="18" y="91"/>
                  </a:cubicBezTo>
                  <a:cubicBezTo>
                    <a:pt x="18" y="91"/>
                    <a:pt x="18" y="91"/>
                    <a:pt x="18" y="91"/>
                  </a:cubicBezTo>
                  <a:cubicBezTo>
                    <a:pt x="19" y="91"/>
                    <a:pt x="19" y="91"/>
                    <a:pt x="19" y="91"/>
                  </a:cubicBezTo>
                  <a:cubicBezTo>
                    <a:pt x="21" y="89"/>
                    <a:pt x="22" y="87"/>
                    <a:pt x="24" y="85"/>
                  </a:cubicBezTo>
                  <a:cubicBezTo>
                    <a:pt x="25" y="88"/>
                    <a:pt x="25" y="88"/>
                    <a:pt x="23" y="90"/>
                  </a:cubicBezTo>
                  <a:cubicBezTo>
                    <a:pt x="23" y="91"/>
                    <a:pt x="24" y="91"/>
                    <a:pt x="24" y="91"/>
                  </a:cubicBezTo>
                  <a:cubicBezTo>
                    <a:pt x="27" y="91"/>
                    <a:pt x="27" y="85"/>
                    <a:pt x="27" y="83"/>
                  </a:cubicBezTo>
                  <a:cubicBezTo>
                    <a:pt x="28" y="85"/>
                    <a:pt x="29" y="86"/>
                    <a:pt x="30" y="88"/>
                  </a:cubicBezTo>
                  <a:cubicBezTo>
                    <a:pt x="30" y="90"/>
                    <a:pt x="30" y="90"/>
                    <a:pt x="29" y="92"/>
                  </a:cubicBezTo>
                  <a:cubicBezTo>
                    <a:pt x="28" y="95"/>
                    <a:pt x="27" y="99"/>
                    <a:pt x="25" y="103"/>
                  </a:cubicBezTo>
                  <a:cubicBezTo>
                    <a:pt x="24" y="106"/>
                    <a:pt x="22" y="107"/>
                    <a:pt x="19" y="108"/>
                  </a:cubicBezTo>
                  <a:cubicBezTo>
                    <a:pt x="19" y="108"/>
                    <a:pt x="19" y="108"/>
                    <a:pt x="19" y="108"/>
                  </a:cubicBezTo>
                  <a:cubicBezTo>
                    <a:pt x="19" y="109"/>
                    <a:pt x="19" y="109"/>
                    <a:pt x="19" y="109"/>
                  </a:cubicBezTo>
                  <a:cubicBezTo>
                    <a:pt x="19" y="110"/>
                    <a:pt x="20" y="112"/>
                    <a:pt x="21" y="116"/>
                  </a:cubicBezTo>
                  <a:cubicBezTo>
                    <a:pt x="22" y="116"/>
                    <a:pt x="22" y="116"/>
                    <a:pt x="22" y="116"/>
                  </a:cubicBezTo>
                  <a:cubicBezTo>
                    <a:pt x="22" y="117"/>
                    <a:pt x="22" y="117"/>
                    <a:pt x="22" y="117"/>
                  </a:cubicBezTo>
                  <a:cubicBezTo>
                    <a:pt x="23" y="119"/>
                    <a:pt x="23" y="120"/>
                    <a:pt x="22" y="121"/>
                  </a:cubicBezTo>
                  <a:cubicBezTo>
                    <a:pt x="22" y="122"/>
                    <a:pt x="22" y="123"/>
                    <a:pt x="21" y="123"/>
                  </a:cubicBezTo>
                  <a:cubicBezTo>
                    <a:pt x="21" y="123"/>
                    <a:pt x="21" y="123"/>
                    <a:pt x="21" y="123"/>
                  </a:cubicBezTo>
                  <a:cubicBezTo>
                    <a:pt x="20" y="124"/>
                    <a:pt x="19" y="124"/>
                    <a:pt x="18" y="124"/>
                  </a:cubicBezTo>
                  <a:cubicBezTo>
                    <a:pt x="18" y="124"/>
                    <a:pt x="18" y="124"/>
                    <a:pt x="18" y="124"/>
                  </a:cubicBezTo>
                  <a:cubicBezTo>
                    <a:pt x="17" y="125"/>
                    <a:pt x="16" y="125"/>
                    <a:pt x="16" y="125"/>
                  </a:cubicBezTo>
                  <a:cubicBezTo>
                    <a:pt x="15" y="126"/>
                    <a:pt x="15" y="126"/>
                    <a:pt x="15" y="126"/>
                  </a:cubicBezTo>
                  <a:cubicBezTo>
                    <a:pt x="15" y="126"/>
                    <a:pt x="16" y="127"/>
                    <a:pt x="16" y="127"/>
                  </a:cubicBezTo>
                  <a:cubicBezTo>
                    <a:pt x="16" y="128"/>
                    <a:pt x="16" y="129"/>
                    <a:pt x="16" y="129"/>
                  </a:cubicBezTo>
                  <a:cubicBezTo>
                    <a:pt x="17" y="129"/>
                    <a:pt x="17" y="129"/>
                    <a:pt x="17" y="129"/>
                  </a:cubicBezTo>
                  <a:cubicBezTo>
                    <a:pt x="18" y="128"/>
                    <a:pt x="18" y="128"/>
                    <a:pt x="18" y="127"/>
                  </a:cubicBezTo>
                  <a:cubicBezTo>
                    <a:pt x="20" y="127"/>
                    <a:pt x="20" y="127"/>
                    <a:pt x="21" y="127"/>
                  </a:cubicBezTo>
                  <a:cubicBezTo>
                    <a:pt x="22" y="127"/>
                    <a:pt x="23" y="127"/>
                    <a:pt x="23" y="127"/>
                  </a:cubicBezTo>
                  <a:cubicBezTo>
                    <a:pt x="24" y="128"/>
                    <a:pt x="25" y="128"/>
                    <a:pt x="26" y="129"/>
                  </a:cubicBezTo>
                  <a:cubicBezTo>
                    <a:pt x="28" y="130"/>
                    <a:pt x="29" y="130"/>
                    <a:pt x="30" y="131"/>
                  </a:cubicBezTo>
                  <a:cubicBezTo>
                    <a:pt x="31" y="130"/>
                    <a:pt x="31" y="130"/>
                    <a:pt x="32" y="130"/>
                  </a:cubicBezTo>
                  <a:cubicBezTo>
                    <a:pt x="32" y="130"/>
                    <a:pt x="32" y="130"/>
                    <a:pt x="32" y="130"/>
                  </a:cubicBezTo>
                  <a:cubicBezTo>
                    <a:pt x="33" y="131"/>
                    <a:pt x="33" y="131"/>
                    <a:pt x="33" y="131"/>
                  </a:cubicBezTo>
                  <a:cubicBezTo>
                    <a:pt x="34" y="131"/>
                    <a:pt x="34" y="131"/>
                    <a:pt x="34" y="131"/>
                  </a:cubicBezTo>
                  <a:cubicBezTo>
                    <a:pt x="36" y="133"/>
                    <a:pt x="37" y="135"/>
                    <a:pt x="38" y="137"/>
                  </a:cubicBezTo>
                  <a:cubicBezTo>
                    <a:pt x="38" y="138"/>
                    <a:pt x="38" y="139"/>
                    <a:pt x="39" y="139"/>
                  </a:cubicBezTo>
                  <a:cubicBezTo>
                    <a:pt x="39" y="140"/>
                    <a:pt x="39" y="140"/>
                    <a:pt x="39" y="140"/>
                  </a:cubicBezTo>
                  <a:cubicBezTo>
                    <a:pt x="40" y="140"/>
                    <a:pt x="40" y="140"/>
                    <a:pt x="40" y="140"/>
                  </a:cubicBezTo>
                  <a:cubicBezTo>
                    <a:pt x="41" y="142"/>
                    <a:pt x="42" y="143"/>
                    <a:pt x="43" y="143"/>
                  </a:cubicBezTo>
                  <a:cubicBezTo>
                    <a:pt x="44" y="143"/>
                    <a:pt x="44" y="143"/>
                    <a:pt x="44" y="143"/>
                  </a:cubicBezTo>
                  <a:cubicBezTo>
                    <a:pt x="45" y="143"/>
                    <a:pt x="45" y="143"/>
                    <a:pt x="45" y="143"/>
                  </a:cubicBezTo>
                  <a:cubicBezTo>
                    <a:pt x="45" y="143"/>
                    <a:pt x="45" y="143"/>
                    <a:pt x="45" y="143"/>
                  </a:cubicBezTo>
                  <a:cubicBezTo>
                    <a:pt x="45" y="143"/>
                    <a:pt x="45" y="143"/>
                    <a:pt x="45" y="143"/>
                  </a:cubicBezTo>
                  <a:cubicBezTo>
                    <a:pt x="46" y="142"/>
                    <a:pt x="46" y="141"/>
                    <a:pt x="47" y="141"/>
                  </a:cubicBezTo>
                  <a:cubicBezTo>
                    <a:pt x="47" y="140"/>
                    <a:pt x="47" y="140"/>
                    <a:pt x="47" y="140"/>
                  </a:cubicBezTo>
                  <a:cubicBezTo>
                    <a:pt x="49" y="138"/>
                    <a:pt x="51" y="137"/>
                    <a:pt x="51" y="135"/>
                  </a:cubicBezTo>
                  <a:cubicBezTo>
                    <a:pt x="54" y="130"/>
                    <a:pt x="57" y="123"/>
                    <a:pt x="58" y="117"/>
                  </a:cubicBezTo>
                  <a:cubicBezTo>
                    <a:pt x="58" y="116"/>
                    <a:pt x="58" y="116"/>
                    <a:pt x="58" y="116"/>
                  </a:cubicBezTo>
                  <a:cubicBezTo>
                    <a:pt x="59" y="112"/>
                    <a:pt x="59" y="110"/>
                    <a:pt x="63" y="109"/>
                  </a:cubicBezTo>
                  <a:cubicBezTo>
                    <a:pt x="63" y="109"/>
                    <a:pt x="64" y="109"/>
                    <a:pt x="64" y="109"/>
                  </a:cubicBezTo>
                  <a:cubicBezTo>
                    <a:pt x="64" y="109"/>
                    <a:pt x="64" y="109"/>
                    <a:pt x="64" y="109"/>
                  </a:cubicBezTo>
                  <a:cubicBezTo>
                    <a:pt x="64" y="108"/>
                    <a:pt x="64" y="106"/>
                    <a:pt x="65" y="105"/>
                  </a:cubicBezTo>
                  <a:cubicBezTo>
                    <a:pt x="66" y="104"/>
                    <a:pt x="66" y="104"/>
                    <a:pt x="67" y="103"/>
                  </a:cubicBezTo>
                  <a:cubicBezTo>
                    <a:pt x="68" y="102"/>
                    <a:pt x="68" y="102"/>
                    <a:pt x="68" y="102"/>
                  </a:cubicBezTo>
                  <a:cubicBezTo>
                    <a:pt x="68" y="101"/>
                    <a:pt x="68" y="101"/>
                    <a:pt x="69" y="100"/>
                  </a:cubicBezTo>
                  <a:cubicBezTo>
                    <a:pt x="73" y="97"/>
                    <a:pt x="77" y="95"/>
                    <a:pt x="81" y="94"/>
                  </a:cubicBezTo>
                  <a:cubicBezTo>
                    <a:pt x="83" y="93"/>
                    <a:pt x="85" y="93"/>
                    <a:pt x="87" y="92"/>
                  </a:cubicBezTo>
                  <a:cubicBezTo>
                    <a:pt x="93" y="90"/>
                    <a:pt x="98" y="89"/>
                    <a:pt x="101" y="86"/>
                  </a:cubicBezTo>
                  <a:cubicBezTo>
                    <a:pt x="105" y="83"/>
                    <a:pt x="109" y="80"/>
                    <a:pt x="113" y="76"/>
                  </a:cubicBezTo>
                  <a:cubicBezTo>
                    <a:pt x="114" y="75"/>
                    <a:pt x="116" y="73"/>
                    <a:pt x="117" y="72"/>
                  </a:cubicBezTo>
                  <a:cubicBezTo>
                    <a:pt x="119" y="70"/>
                    <a:pt x="121" y="68"/>
                    <a:pt x="123" y="66"/>
                  </a:cubicBezTo>
                  <a:cubicBezTo>
                    <a:pt x="123" y="66"/>
                    <a:pt x="123" y="66"/>
                    <a:pt x="123" y="65"/>
                  </a:cubicBezTo>
                  <a:cubicBezTo>
                    <a:pt x="124" y="65"/>
                    <a:pt x="124" y="65"/>
                    <a:pt x="124" y="65"/>
                  </a:cubicBezTo>
                  <a:cubicBezTo>
                    <a:pt x="125" y="63"/>
                    <a:pt x="126" y="62"/>
                    <a:pt x="127" y="60"/>
                  </a:cubicBezTo>
                  <a:cubicBezTo>
                    <a:pt x="127" y="59"/>
                    <a:pt x="127" y="59"/>
                    <a:pt x="127" y="59"/>
                  </a:cubicBezTo>
                  <a:cubicBezTo>
                    <a:pt x="127" y="59"/>
                    <a:pt x="128" y="58"/>
                    <a:pt x="128" y="58"/>
                  </a:cubicBezTo>
                  <a:cubicBezTo>
                    <a:pt x="129" y="56"/>
                    <a:pt x="129" y="56"/>
                    <a:pt x="129" y="56"/>
                  </a:cubicBezTo>
                  <a:cubicBezTo>
                    <a:pt x="129" y="56"/>
                    <a:pt x="129" y="55"/>
                    <a:pt x="130" y="54"/>
                  </a:cubicBezTo>
                  <a:cubicBezTo>
                    <a:pt x="130" y="54"/>
                    <a:pt x="132" y="52"/>
                    <a:pt x="132" y="51"/>
                  </a:cubicBezTo>
                  <a:cubicBezTo>
                    <a:pt x="132" y="51"/>
                    <a:pt x="132" y="50"/>
                    <a:pt x="132" y="49"/>
                  </a:cubicBezTo>
                  <a:cubicBezTo>
                    <a:pt x="131" y="48"/>
                    <a:pt x="131" y="47"/>
                    <a:pt x="131" y="46"/>
                  </a:cubicBezTo>
                  <a:cubicBezTo>
                    <a:pt x="130" y="46"/>
                    <a:pt x="130" y="45"/>
                    <a:pt x="129" y="44"/>
                  </a:cubicBezTo>
                  <a:cubicBezTo>
                    <a:pt x="129" y="43"/>
                    <a:pt x="128" y="42"/>
                    <a:pt x="128" y="41"/>
                  </a:cubicBezTo>
                  <a:cubicBezTo>
                    <a:pt x="128" y="41"/>
                    <a:pt x="127" y="40"/>
                    <a:pt x="127" y="40"/>
                  </a:cubicBezTo>
                  <a:cubicBezTo>
                    <a:pt x="127" y="40"/>
                    <a:pt x="127" y="40"/>
                    <a:pt x="127" y="40"/>
                  </a:cubicBezTo>
                  <a:cubicBezTo>
                    <a:pt x="127" y="38"/>
                    <a:pt x="127" y="38"/>
                    <a:pt x="127" y="38"/>
                  </a:cubicBezTo>
                  <a:cubicBezTo>
                    <a:pt x="127" y="38"/>
                    <a:pt x="127" y="38"/>
                    <a:pt x="127" y="38"/>
                  </a:cubicBezTo>
                  <a:cubicBezTo>
                    <a:pt x="126" y="38"/>
                    <a:pt x="126" y="38"/>
                    <a:pt x="126" y="38"/>
                  </a:cubicBezTo>
                  <a:cubicBezTo>
                    <a:pt x="126" y="37"/>
                    <a:pt x="126" y="37"/>
                    <a:pt x="125" y="37"/>
                  </a:cubicBezTo>
                  <a:cubicBezTo>
                    <a:pt x="125" y="37"/>
                    <a:pt x="125" y="37"/>
                    <a:pt x="125" y="37"/>
                  </a:cubicBezTo>
                  <a:cubicBezTo>
                    <a:pt x="124" y="36"/>
                    <a:pt x="123" y="36"/>
                    <a:pt x="123" y="35"/>
                  </a:cubicBezTo>
                  <a:cubicBezTo>
                    <a:pt x="122" y="34"/>
                    <a:pt x="122" y="34"/>
                    <a:pt x="122" y="34"/>
                  </a:cubicBezTo>
                  <a:cubicBezTo>
                    <a:pt x="123" y="32"/>
                    <a:pt x="123" y="32"/>
                    <a:pt x="123" y="32"/>
                  </a:cubicBezTo>
                  <a:cubicBezTo>
                    <a:pt x="123" y="31"/>
                    <a:pt x="123" y="31"/>
                    <a:pt x="123" y="31"/>
                  </a:cubicBezTo>
                  <a:cubicBezTo>
                    <a:pt x="124" y="31"/>
                    <a:pt x="124" y="31"/>
                    <a:pt x="124" y="31"/>
                  </a:cubicBezTo>
                  <a:cubicBezTo>
                    <a:pt x="119" y="28"/>
                    <a:pt x="119" y="28"/>
                    <a:pt x="119" y="28"/>
                  </a:cubicBezTo>
                  <a:cubicBezTo>
                    <a:pt x="118" y="28"/>
                    <a:pt x="117" y="27"/>
                    <a:pt x="117" y="27"/>
                  </a:cubicBezTo>
                  <a:cubicBezTo>
                    <a:pt x="115" y="26"/>
                    <a:pt x="114" y="25"/>
                    <a:pt x="114" y="25"/>
                  </a:cubicBezTo>
                  <a:cubicBezTo>
                    <a:pt x="113" y="25"/>
                    <a:pt x="113" y="25"/>
                    <a:pt x="113" y="25"/>
                  </a:cubicBezTo>
                  <a:cubicBezTo>
                    <a:pt x="113" y="25"/>
                    <a:pt x="112" y="25"/>
                    <a:pt x="112" y="25"/>
                  </a:cubicBezTo>
                  <a:cubicBezTo>
                    <a:pt x="111" y="25"/>
                    <a:pt x="110" y="25"/>
                    <a:pt x="109" y="25"/>
                  </a:cubicBezTo>
                  <a:cubicBezTo>
                    <a:pt x="108" y="26"/>
                    <a:pt x="108" y="26"/>
                    <a:pt x="108" y="26"/>
                  </a:cubicBezTo>
                  <a:cubicBezTo>
                    <a:pt x="105" y="26"/>
                    <a:pt x="103" y="26"/>
                    <a:pt x="102" y="26"/>
                  </a:cubicBezTo>
                  <a:cubicBezTo>
                    <a:pt x="99" y="26"/>
                    <a:pt x="97" y="26"/>
                    <a:pt x="94" y="25"/>
                  </a:cubicBezTo>
                  <a:cubicBezTo>
                    <a:pt x="93" y="25"/>
                    <a:pt x="92" y="25"/>
                    <a:pt x="91" y="25"/>
                  </a:cubicBezTo>
                  <a:cubicBezTo>
                    <a:pt x="91" y="25"/>
                    <a:pt x="91" y="25"/>
                    <a:pt x="91" y="25"/>
                  </a:cubicBezTo>
                  <a:cubicBezTo>
                    <a:pt x="89" y="25"/>
                    <a:pt x="88" y="25"/>
                    <a:pt x="87" y="25"/>
                  </a:cubicBezTo>
                  <a:cubicBezTo>
                    <a:pt x="86" y="25"/>
                    <a:pt x="86" y="25"/>
                    <a:pt x="85" y="24"/>
                  </a:cubicBezTo>
                  <a:cubicBezTo>
                    <a:pt x="84" y="24"/>
                    <a:pt x="83" y="24"/>
                    <a:pt x="82" y="23"/>
                  </a:cubicBezTo>
                  <a:cubicBezTo>
                    <a:pt x="82" y="22"/>
                    <a:pt x="82" y="22"/>
                    <a:pt x="81" y="22"/>
                  </a:cubicBezTo>
                  <a:cubicBezTo>
                    <a:pt x="81" y="21"/>
                    <a:pt x="80" y="20"/>
                    <a:pt x="80" y="19"/>
                  </a:cubicBezTo>
                  <a:cubicBezTo>
                    <a:pt x="80" y="18"/>
                    <a:pt x="79" y="17"/>
                    <a:pt x="79" y="17"/>
                  </a:cubicBezTo>
                  <a:cubicBezTo>
                    <a:pt x="79" y="16"/>
                    <a:pt x="79" y="16"/>
                    <a:pt x="79" y="16"/>
                  </a:cubicBezTo>
                  <a:cubicBezTo>
                    <a:pt x="78" y="14"/>
                    <a:pt x="77" y="14"/>
                    <a:pt x="74" y="13"/>
                  </a:cubicBezTo>
                  <a:cubicBezTo>
                    <a:pt x="73" y="13"/>
                    <a:pt x="72" y="13"/>
                    <a:pt x="72" y="12"/>
                  </a:cubicBezTo>
                  <a:cubicBezTo>
                    <a:pt x="64" y="9"/>
                    <a:pt x="58" y="5"/>
                    <a:pt x="50" y="0"/>
                  </a:cubicBezTo>
                  <a:cubicBezTo>
                    <a:pt x="50" y="0"/>
                    <a:pt x="50" y="0"/>
                    <a:pt x="5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81" name="Freeform 252">
              <a:extLst>
                <a:ext uri="{FF2B5EF4-FFF2-40B4-BE49-F238E27FC236}">
                  <a16:creationId xmlns:a16="http://schemas.microsoft.com/office/drawing/2014/main" id="{C4CA7EFB-D5C7-477F-8393-36F2205EDB17}"/>
                </a:ext>
              </a:extLst>
            </p:cNvPr>
            <p:cNvSpPr>
              <a:spLocks noEditPoints="1"/>
            </p:cNvSpPr>
            <p:nvPr/>
          </p:nvSpPr>
          <p:spPr bwMode="auto">
            <a:xfrm>
              <a:off x="8152527" y="1054968"/>
              <a:ext cx="1016834" cy="878434"/>
            </a:xfrm>
            <a:custGeom>
              <a:avLst/>
              <a:gdLst>
                <a:gd name="T0" fmla="*/ 257 w 305"/>
                <a:gd name="T1" fmla="*/ 54 h 263"/>
                <a:gd name="T2" fmla="*/ 256 w 305"/>
                <a:gd name="T3" fmla="*/ 54 h 263"/>
                <a:gd name="T4" fmla="*/ 71 w 305"/>
                <a:gd name="T5" fmla="*/ 13 h 263"/>
                <a:gd name="T6" fmla="*/ 67 w 305"/>
                <a:gd name="T7" fmla="*/ 20 h 263"/>
                <a:gd name="T8" fmla="*/ 46 w 305"/>
                <a:gd name="T9" fmla="*/ 57 h 263"/>
                <a:gd name="T10" fmla="*/ 23 w 305"/>
                <a:gd name="T11" fmla="*/ 58 h 263"/>
                <a:gd name="T12" fmla="*/ 28 w 305"/>
                <a:gd name="T13" fmla="*/ 21 h 263"/>
                <a:gd name="T14" fmla="*/ 13 w 305"/>
                <a:gd name="T15" fmla="*/ 33 h 263"/>
                <a:gd name="T16" fmla="*/ 6 w 305"/>
                <a:gd name="T17" fmla="*/ 48 h 263"/>
                <a:gd name="T18" fmla="*/ 5 w 305"/>
                <a:gd name="T19" fmla="*/ 67 h 263"/>
                <a:gd name="T20" fmla="*/ 10 w 305"/>
                <a:gd name="T21" fmla="*/ 72 h 263"/>
                <a:gd name="T22" fmla="*/ 18 w 305"/>
                <a:gd name="T23" fmla="*/ 108 h 263"/>
                <a:gd name="T24" fmla="*/ 27 w 305"/>
                <a:gd name="T25" fmla="*/ 118 h 263"/>
                <a:gd name="T26" fmla="*/ 40 w 305"/>
                <a:gd name="T27" fmla="*/ 119 h 263"/>
                <a:gd name="T28" fmla="*/ 65 w 305"/>
                <a:gd name="T29" fmla="*/ 118 h 263"/>
                <a:gd name="T30" fmla="*/ 87 w 305"/>
                <a:gd name="T31" fmla="*/ 139 h 263"/>
                <a:gd name="T32" fmla="*/ 110 w 305"/>
                <a:gd name="T33" fmla="*/ 136 h 263"/>
                <a:gd name="T34" fmla="*/ 129 w 305"/>
                <a:gd name="T35" fmla="*/ 155 h 263"/>
                <a:gd name="T36" fmla="*/ 124 w 305"/>
                <a:gd name="T37" fmla="*/ 176 h 263"/>
                <a:gd name="T38" fmla="*/ 130 w 305"/>
                <a:gd name="T39" fmla="*/ 196 h 263"/>
                <a:gd name="T40" fmla="*/ 132 w 305"/>
                <a:gd name="T41" fmla="*/ 212 h 263"/>
                <a:gd name="T42" fmla="*/ 129 w 305"/>
                <a:gd name="T43" fmla="*/ 217 h 263"/>
                <a:gd name="T44" fmla="*/ 146 w 305"/>
                <a:gd name="T45" fmla="*/ 251 h 263"/>
                <a:gd name="T46" fmla="*/ 151 w 305"/>
                <a:gd name="T47" fmla="*/ 257 h 263"/>
                <a:gd name="T48" fmla="*/ 175 w 305"/>
                <a:gd name="T49" fmla="*/ 259 h 263"/>
                <a:gd name="T50" fmla="*/ 198 w 305"/>
                <a:gd name="T51" fmla="*/ 249 h 263"/>
                <a:gd name="T52" fmla="*/ 217 w 305"/>
                <a:gd name="T53" fmla="*/ 232 h 263"/>
                <a:gd name="T54" fmla="*/ 206 w 305"/>
                <a:gd name="T55" fmla="*/ 213 h 263"/>
                <a:gd name="T56" fmla="*/ 194 w 305"/>
                <a:gd name="T57" fmla="*/ 192 h 263"/>
                <a:gd name="T58" fmla="*/ 207 w 305"/>
                <a:gd name="T59" fmla="*/ 187 h 263"/>
                <a:gd name="T60" fmla="*/ 218 w 305"/>
                <a:gd name="T61" fmla="*/ 189 h 263"/>
                <a:gd name="T62" fmla="*/ 236 w 305"/>
                <a:gd name="T63" fmla="*/ 197 h 263"/>
                <a:gd name="T64" fmla="*/ 243 w 305"/>
                <a:gd name="T65" fmla="*/ 186 h 263"/>
                <a:gd name="T66" fmla="*/ 276 w 305"/>
                <a:gd name="T67" fmla="*/ 176 h 263"/>
                <a:gd name="T68" fmla="*/ 281 w 305"/>
                <a:gd name="T69" fmla="*/ 167 h 263"/>
                <a:gd name="T70" fmla="*/ 286 w 305"/>
                <a:gd name="T71" fmla="*/ 166 h 263"/>
                <a:gd name="T72" fmla="*/ 270 w 305"/>
                <a:gd name="T73" fmla="*/ 144 h 263"/>
                <a:gd name="T74" fmla="*/ 274 w 305"/>
                <a:gd name="T75" fmla="*/ 133 h 263"/>
                <a:gd name="T76" fmla="*/ 284 w 305"/>
                <a:gd name="T77" fmla="*/ 123 h 263"/>
                <a:gd name="T78" fmla="*/ 293 w 305"/>
                <a:gd name="T79" fmla="*/ 121 h 263"/>
                <a:gd name="T80" fmla="*/ 288 w 305"/>
                <a:gd name="T81" fmla="*/ 119 h 263"/>
                <a:gd name="T82" fmla="*/ 287 w 305"/>
                <a:gd name="T83" fmla="*/ 106 h 263"/>
                <a:gd name="T84" fmla="*/ 302 w 305"/>
                <a:gd name="T85" fmla="*/ 87 h 263"/>
                <a:gd name="T86" fmla="*/ 280 w 305"/>
                <a:gd name="T87" fmla="*/ 88 h 263"/>
                <a:gd name="T88" fmla="*/ 269 w 305"/>
                <a:gd name="T89" fmla="*/ 84 h 263"/>
                <a:gd name="T90" fmla="*/ 278 w 305"/>
                <a:gd name="T91" fmla="*/ 74 h 263"/>
                <a:gd name="T92" fmla="*/ 253 w 305"/>
                <a:gd name="T93" fmla="*/ 53 h 263"/>
                <a:gd name="T94" fmla="*/ 240 w 305"/>
                <a:gd name="T95" fmla="*/ 51 h 263"/>
                <a:gd name="T96" fmla="*/ 240 w 305"/>
                <a:gd name="T97" fmla="*/ 49 h 263"/>
                <a:gd name="T98" fmla="*/ 235 w 305"/>
                <a:gd name="T99" fmla="*/ 40 h 263"/>
                <a:gd name="T100" fmla="*/ 220 w 305"/>
                <a:gd name="T101" fmla="*/ 37 h 263"/>
                <a:gd name="T102" fmla="*/ 212 w 305"/>
                <a:gd name="T103" fmla="*/ 40 h 263"/>
                <a:gd name="T104" fmla="*/ 169 w 305"/>
                <a:gd name="T105" fmla="*/ 46 h 263"/>
                <a:gd name="T106" fmla="*/ 137 w 305"/>
                <a:gd name="T107" fmla="*/ 38 h 263"/>
                <a:gd name="T108" fmla="*/ 89 w 305"/>
                <a:gd name="T109" fmla="*/ 17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5" h="263">
                  <a:moveTo>
                    <a:pt x="205" y="36"/>
                  </a:moveTo>
                  <a:cubicBezTo>
                    <a:pt x="205" y="36"/>
                    <a:pt x="205" y="36"/>
                    <a:pt x="205" y="36"/>
                  </a:cubicBezTo>
                  <a:cubicBezTo>
                    <a:pt x="205" y="36"/>
                    <a:pt x="205" y="36"/>
                    <a:pt x="205" y="36"/>
                  </a:cubicBezTo>
                  <a:moveTo>
                    <a:pt x="256" y="54"/>
                  </a:moveTo>
                  <a:cubicBezTo>
                    <a:pt x="256" y="54"/>
                    <a:pt x="256" y="54"/>
                    <a:pt x="256" y="54"/>
                  </a:cubicBezTo>
                  <a:cubicBezTo>
                    <a:pt x="256" y="54"/>
                    <a:pt x="256" y="54"/>
                    <a:pt x="256" y="54"/>
                  </a:cubicBezTo>
                  <a:cubicBezTo>
                    <a:pt x="257" y="54"/>
                    <a:pt x="257" y="54"/>
                    <a:pt x="257" y="54"/>
                  </a:cubicBezTo>
                  <a:cubicBezTo>
                    <a:pt x="257" y="54"/>
                    <a:pt x="257" y="54"/>
                    <a:pt x="257" y="54"/>
                  </a:cubicBezTo>
                  <a:cubicBezTo>
                    <a:pt x="257" y="54"/>
                    <a:pt x="257" y="54"/>
                    <a:pt x="257" y="54"/>
                  </a:cubicBez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moveTo>
                    <a:pt x="71" y="0"/>
                  </a:moveTo>
                  <a:cubicBezTo>
                    <a:pt x="69" y="0"/>
                    <a:pt x="68" y="2"/>
                    <a:pt x="66" y="4"/>
                  </a:cubicBezTo>
                  <a:cubicBezTo>
                    <a:pt x="65" y="6"/>
                    <a:pt x="65" y="7"/>
                    <a:pt x="66" y="9"/>
                  </a:cubicBezTo>
                  <a:cubicBezTo>
                    <a:pt x="67" y="11"/>
                    <a:pt x="68" y="13"/>
                    <a:pt x="69" y="13"/>
                  </a:cubicBezTo>
                  <a:cubicBezTo>
                    <a:pt x="69" y="13"/>
                    <a:pt x="69" y="13"/>
                    <a:pt x="70" y="13"/>
                  </a:cubicBezTo>
                  <a:cubicBezTo>
                    <a:pt x="70" y="13"/>
                    <a:pt x="70" y="13"/>
                    <a:pt x="71" y="13"/>
                  </a:cubicBezTo>
                  <a:cubicBezTo>
                    <a:pt x="71" y="13"/>
                    <a:pt x="71" y="13"/>
                    <a:pt x="71" y="13"/>
                  </a:cubicBezTo>
                  <a:cubicBezTo>
                    <a:pt x="73" y="13"/>
                    <a:pt x="75" y="12"/>
                    <a:pt x="76" y="12"/>
                  </a:cubicBezTo>
                  <a:cubicBezTo>
                    <a:pt x="77" y="13"/>
                    <a:pt x="77" y="15"/>
                    <a:pt x="78" y="16"/>
                  </a:cubicBezTo>
                  <a:cubicBezTo>
                    <a:pt x="77" y="16"/>
                    <a:pt x="76" y="16"/>
                    <a:pt x="75" y="16"/>
                  </a:cubicBezTo>
                  <a:cubicBezTo>
                    <a:pt x="73" y="16"/>
                    <a:pt x="71" y="16"/>
                    <a:pt x="69" y="15"/>
                  </a:cubicBezTo>
                  <a:cubicBezTo>
                    <a:pt x="70" y="15"/>
                    <a:pt x="71" y="16"/>
                    <a:pt x="71" y="17"/>
                  </a:cubicBezTo>
                  <a:cubicBezTo>
                    <a:pt x="70" y="18"/>
                    <a:pt x="68" y="19"/>
                    <a:pt x="67" y="20"/>
                  </a:cubicBezTo>
                  <a:cubicBezTo>
                    <a:pt x="62" y="20"/>
                    <a:pt x="55" y="23"/>
                    <a:pt x="50" y="24"/>
                  </a:cubicBezTo>
                  <a:cubicBezTo>
                    <a:pt x="47" y="25"/>
                    <a:pt x="45" y="27"/>
                    <a:pt x="42" y="28"/>
                  </a:cubicBezTo>
                  <a:cubicBezTo>
                    <a:pt x="42" y="28"/>
                    <a:pt x="42" y="28"/>
                    <a:pt x="41" y="28"/>
                  </a:cubicBezTo>
                  <a:cubicBezTo>
                    <a:pt x="41" y="28"/>
                    <a:pt x="41" y="28"/>
                    <a:pt x="40" y="28"/>
                  </a:cubicBezTo>
                  <a:cubicBezTo>
                    <a:pt x="40" y="28"/>
                    <a:pt x="40" y="28"/>
                    <a:pt x="40" y="28"/>
                  </a:cubicBezTo>
                  <a:cubicBezTo>
                    <a:pt x="39" y="28"/>
                    <a:pt x="39" y="28"/>
                    <a:pt x="38" y="29"/>
                  </a:cubicBezTo>
                  <a:cubicBezTo>
                    <a:pt x="32" y="32"/>
                    <a:pt x="44" y="52"/>
                    <a:pt x="46" y="57"/>
                  </a:cubicBezTo>
                  <a:cubicBezTo>
                    <a:pt x="48" y="62"/>
                    <a:pt x="48" y="67"/>
                    <a:pt x="43" y="71"/>
                  </a:cubicBezTo>
                  <a:cubicBezTo>
                    <a:pt x="42" y="72"/>
                    <a:pt x="39" y="73"/>
                    <a:pt x="37" y="74"/>
                  </a:cubicBezTo>
                  <a:cubicBezTo>
                    <a:pt x="36" y="74"/>
                    <a:pt x="35" y="74"/>
                    <a:pt x="35" y="74"/>
                  </a:cubicBezTo>
                  <a:cubicBezTo>
                    <a:pt x="34" y="74"/>
                    <a:pt x="34" y="74"/>
                    <a:pt x="33" y="74"/>
                  </a:cubicBezTo>
                  <a:cubicBezTo>
                    <a:pt x="32" y="73"/>
                    <a:pt x="32" y="70"/>
                    <a:pt x="32" y="68"/>
                  </a:cubicBezTo>
                  <a:cubicBezTo>
                    <a:pt x="32" y="66"/>
                    <a:pt x="31" y="66"/>
                    <a:pt x="28" y="64"/>
                  </a:cubicBezTo>
                  <a:cubicBezTo>
                    <a:pt x="27" y="64"/>
                    <a:pt x="24" y="60"/>
                    <a:pt x="23" y="58"/>
                  </a:cubicBezTo>
                  <a:cubicBezTo>
                    <a:pt x="22" y="55"/>
                    <a:pt x="24" y="53"/>
                    <a:pt x="26" y="50"/>
                  </a:cubicBezTo>
                  <a:cubicBezTo>
                    <a:pt x="28" y="47"/>
                    <a:pt x="30" y="45"/>
                    <a:pt x="32" y="42"/>
                  </a:cubicBezTo>
                  <a:cubicBezTo>
                    <a:pt x="34" y="39"/>
                    <a:pt x="34" y="37"/>
                    <a:pt x="33" y="34"/>
                  </a:cubicBezTo>
                  <a:cubicBezTo>
                    <a:pt x="33" y="32"/>
                    <a:pt x="32" y="29"/>
                    <a:pt x="31" y="28"/>
                  </a:cubicBezTo>
                  <a:cubicBezTo>
                    <a:pt x="32" y="28"/>
                    <a:pt x="32" y="28"/>
                    <a:pt x="33" y="28"/>
                  </a:cubicBezTo>
                  <a:cubicBezTo>
                    <a:pt x="33" y="28"/>
                    <a:pt x="34" y="28"/>
                    <a:pt x="34" y="28"/>
                  </a:cubicBezTo>
                  <a:cubicBezTo>
                    <a:pt x="31" y="26"/>
                    <a:pt x="29" y="24"/>
                    <a:pt x="28" y="21"/>
                  </a:cubicBezTo>
                  <a:cubicBezTo>
                    <a:pt x="27" y="20"/>
                    <a:pt x="26" y="18"/>
                    <a:pt x="26" y="17"/>
                  </a:cubicBezTo>
                  <a:cubicBezTo>
                    <a:pt x="26" y="17"/>
                    <a:pt x="25" y="18"/>
                    <a:pt x="25" y="20"/>
                  </a:cubicBezTo>
                  <a:cubicBezTo>
                    <a:pt x="24" y="21"/>
                    <a:pt x="24" y="22"/>
                    <a:pt x="23" y="23"/>
                  </a:cubicBezTo>
                  <a:cubicBezTo>
                    <a:pt x="23" y="24"/>
                    <a:pt x="23" y="24"/>
                    <a:pt x="23" y="24"/>
                  </a:cubicBezTo>
                  <a:cubicBezTo>
                    <a:pt x="21" y="27"/>
                    <a:pt x="19" y="27"/>
                    <a:pt x="18" y="27"/>
                  </a:cubicBezTo>
                  <a:cubicBezTo>
                    <a:pt x="17" y="28"/>
                    <a:pt x="16" y="28"/>
                    <a:pt x="15" y="28"/>
                  </a:cubicBezTo>
                  <a:cubicBezTo>
                    <a:pt x="14" y="29"/>
                    <a:pt x="13" y="31"/>
                    <a:pt x="13" y="33"/>
                  </a:cubicBezTo>
                  <a:cubicBezTo>
                    <a:pt x="12" y="34"/>
                    <a:pt x="12" y="34"/>
                    <a:pt x="12" y="34"/>
                  </a:cubicBezTo>
                  <a:cubicBezTo>
                    <a:pt x="11" y="35"/>
                    <a:pt x="11" y="36"/>
                    <a:pt x="10" y="37"/>
                  </a:cubicBezTo>
                  <a:cubicBezTo>
                    <a:pt x="9" y="37"/>
                    <a:pt x="9" y="37"/>
                    <a:pt x="9" y="37"/>
                  </a:cubicBezTo>
                  <a:cubicBezTo>
                    <a:pt x="9" y="37"/>
                    <a:pt x="9" y="37"/>
                    <a:pt x="9" y="37"/>
                  </a:cubicBezTo>
                  <a:cubicBezTo>
                    <a:pt x="10" y="38"/>
                    <a:pt x="10" y="38"/>
                    <a:pt x="10" y="38"/>
                  </a:cubicBezTo>
                  <a:cubicBezTo>
                    <a:pt x="9" y="39"/>
                    <a:pt x="7" y="41"/>
                    <a:pt x="7" y="42"/>
                  </a:cubicBezTo>
                  <a:cubicBezTo>
                    <a:pt x="7" y="44"/>
                    <a:pt x="6" y="46"/>
                    <a:pt x="6" y="48"/>
                  </a:cubicBezTo>
                  <a:cubicBezTo>
                    <a:pt x="6" y="48"/>
                    <a:pt x="6" y="48"/>
                    <a:pt x="6" y="48"/>
                  </a:cubicBezTo>
                  <a:cubicBezTo>
                    <a:pt x="6" y="50"/>
                    <a:pt x="6" y="51"/>
                    <a:pt x="5" y="53"/>
                  </a:cubicBezTo>
                  <a:cubicBezTo>
                    <a:pt x="5" y="54"/>
                    <a:pt x="5" y="55"/>
                    <a:pt x="5" y="56"/>
                  </a:cubicBezTo>
                  <a:cubicBezTo>
                    <a:pt x="3" y="60"/>
                    <a:pt x="2" y="63"/>
                    <a:pt x="0" y="66"/>
                  </a:cubicBezTo>
                  <a:cubicBezTo>
                    <a:pt x="0" y="66"/>
                    <a:pt x="1" y="65"/>
                    <a:pt x="1" y="65"/>
                  </a:cubicBezTo>
                  <a:cubicBezTo>
                    <a:pt x="4" y="64"/>
                    <a:pt x="4" y="64"/>
                    <a:pt x="4" y="64"/>
                  </a:cubicBezTo>
                  <a:cubicBezTo>
                    <a:pt x="5" y="67"/>
                    <a:pt x="5" y="67"/>
                    <a:pt x="5" y="67"/>
                  </a:cubicBezTo>
                  <a:cubicBezTo>
                    <a:pt x="5" y="68"/>
                    <a:pt x="5" y="68"/>
                    <a:pt x="5" y="69"/>
                  </a:cubicBezTo>
                  <a:cubicBezTo>
                    <a:pt x="5" y="69"/>
                    <a:pt x="5" y="69"/>
                    <a:pt x="5" y="69"/>
                  </a:cubicBezTo>
                  <a:cubicBezTo>
                    <a:pt x="6" y="69"/>
                    <a:pt x="6" y="69"/>
                    <a:pt x="6" y="69"/>
                  </a:cubicBezTo>
                  <a:cubicBezTo>
                    <a:pt x="6" y="69"/>
                    <a:pt x="6" y="69"/>
                    <a:pt x="6" y="69"/>
                  </a:cubicBezTo>
                  <a:cubicBezTo>
                    <a:pt x="6" y="69"/>
                    <a:pt x="6" y="69"/>
                    <a:pt x="6" y="69"/>
                  </a:cubicBezTo>
                  <a:cubicBezTo>
                    <a:pt x="7" y="69"/>
                    <a:pt x="7" y="69"/>
                    <a:pt x="7" y="69"/>
                  </a:cubicBezTo>
                  <a:cubicBezTo>
                    <a:pt x="9" y="70"/>
                    <a:pt x="10" y="71"/>
                    <a:pt x="10" y="72"/>
                  </a:cubicBezTo>
                  <a:cubicBezTo>
                    <a:pt x="12" y="74"/>
                    <a:pt x="13" y="76"/>
                    <a:pt x="13" y="79"/>
                  </a:cubicBezTo>
                  <a:cubicBezTo>
                    <a:pt x="17" y="87"/>
                    <a:pt x="17" y="87"/>
                    <a:pt x="17" y="87"/>
                  </a:cubicBezTo>
                  <a:cubicBezTo>
                    <a:pt x="18" y="89"/>
                    <a:pt x="19" y="92"/>
                    <a:pt x="20" y="96"/>
                  </a:cubicBezTo>
                  <a:cubicBezTo>
                    <a:pt x="20" y="96"/>
                    <a:pt x="20" y="96"/>
                    <a:pt x="20" y="96"/>
                  </a:cubicBezTo>
                  <a:cubicBezTo>
                    <a:pt x="20" y="97"/>
                    <a:pt x="20" y="97"/>
                    <a:pt x="20" y="97"/>
                  </a:cubicBezTo>
                  <a:cubicBezTo>
                    <a:pt x="19" y="98"/>
                    <a:pt x="19" y="99"/>
                    <a:pt x="19" y="100"/>
                  </a:cubicBezTo>
                  <a:cubicBezTo>
                    <a:pt x="17" y="102"/>
                    <a:pt x="17" y="105"/>
                    <a:pt x="18" y="108"/>
                  </a:cubicBezTo>
                  <a:cubicBezTo>
                    <a:pt x="18" y="109"/>
                    <a:pt x="18" y="109"/>
                    <a:pt x="18" y="109"/>
                  </a:cubicBezTo>
                  <a:cubicBezTo>
                    <a:pt x="18" y="109"/>
                    <a:pt x="19" y="109"/>
                    <a:pt x="19" y="109"/>
                  </a:cubicBezTo>
                  <a:cubicBezTo>
                    <a:pt x="21" y="110"/>
                    <a:pt x="23" y="110"/>
                    <a:pt x="25" y="113"/>
                  </a:cubicBezTo>
                  <a:cubicBezTo>
                    <a:pt x="25" y="113"/>
                    <a:pt x="25" y="113"/>
                    <a:pt x="25" y="113"/>
                  </a:cubicBezTo>
                  <a:cubicBezTo>
                    <a:pt x="25" y="114"/>
                    <a:pt x="25" y="114"/>
                    <a:pt x="25" y="114"/>
                  </a:cubicBezTo>
                  <a:cubicBezTo>
                    <a:pt x="25" y="115"/>
                    <a:pt x="26" y="115"/>
                    <a:pt x="26" y="116"/>
                  </a:cubicBezTo>
                  <a:cubicBezTo>
                    <a:pt x="26" y="117"/>
                    <a:pt x="27" y="118"/>
                    <a:pt x="27" y="118"/>
                  </a:cubicBezTo>
                  <a:cubicBezTo>
                    <a:pt x="27" y="118"/>
                    <a:pt x="27" y="118"/>
                    <a:pt x="27" y="118"/>
                  </a:cubicBezTo>
                  <a:cubicBezTo>
                    <a:pt x="27" y="118"/>
                    <a:pt x="27" y="118"/>
                    <a:pt x="27" y="118"/>
                  </a:cubicBezTo>
                  <a:cubicBezTo>
                    <a:pt x="28" y="118"/>
                    <a:pt x="28" y="118"/>
                    <a:pt x="28" y="118"/>
                  </a:cubicBezTo>
                  <a:cubicBezTo>
                    <a:pt x="30" y="118"/>
                    <a:pt x="32" y="118"/>
                    <a:pt x="34" y="118"/>
                  </a:cubicBezTo>
                  <a:cubicBezTo>
                    <a:pt x="35" y="118"/>
                    <a:pt x="36" y="118"/>
                    <a:pt x="37" y="118"/>
                  </a:cubicBezTo>
                  <a:cubicBezTo>
                    <a:pt x="38" y="118"/>
                    <a:pt x="39" y="118"/>
                    <a:pt x="40" y="118"/>
                  </a:cubicBezTo>
                  <a:cubicBezTo>
                    <a:pt x="40" y="119"/>
                    <a:pt x="40" y="119"/>
                    <a:pt x="40" y="119"/>
                  </a:cubicBezTo>
                  <a:cubicBezTo>
                    <a:pt x="42" y="119"/>
                    <a:pt x="44" y="119"/>
                    <a:pt x="45" y="119"/>
                  </a:cubicBezTo>
                  <a:cubicBezTo>
                    <a:pt x="45" y="119"/>
                    <a:pt x="46" y="119"/>
                    <a:pt x="46" y="119"/>
                  </a:cubicBezTo>
                  <a:cubicBezTo>
                    <a:pt x="47" y="119"/>
                    <a:pt x="47" y="119"/>
                    <a:pt x="47" y="119"/>
                  </a:cubicBezTo>
                  <a:cubicBezTo>
                    <a:pt x="48" y="119"/>
                    <a:pt x="49" y="118"/>
                    <a:pt x="50" y="118"/>
                  </a:cubicBezTo>
                  <a:cubicBezTo>
                    <a:pt x="52" y="117"/>
                    <a:pt x="54" y="117"/>
                    <a:pt x="56" y="117"/>
                  </a:cubicBezTo>
                  <a:cubicBezTo>
                    <a:pt x="56" y="117"/>
                    <a:pt x="57" y="117"/>
                    <a:pt x="57" y="117"/>
                  </a:cubicBezTo>
                  <a:cubicBezTo>
                    <a:pt x="60" y="117"/>
                    <a:pt x="62" y="118"/>
                    <a:pt x="65" y="118"/>
                  </a:cubicBezTo>
                  <a:cubicBezTo>
                    <a:pt x="70" y="120"/>
                    <a:pt x="71" y="121"/>
                    <a:pt x="74" y="124"/>
                  </a:cubicBezTo>
                  <a:cubicBezTo>
                    <a:pt x="75" y="125"/>
                    <a:pt x="76" y="126"/>
                    <a:pt x="77" y="127"/>
                  </a:cubicBezTo>
                  <a:cubicBezTo>
                    <a:pt x="78" y="128"/>
                    <a:pt x="78" y="128"/>
                    <a:pt x="78" y="128"/>
                  </a:cubicBezTo>
                  <a:cubicBezTo>
                    <a:pt x="78" y="129"/>
                    <a:pt x="79" y="130"/>
                    <a:pt x="79" y="131"/>
                  </a:cubicBezTo>
                  <a:cubicBezTo>
                    <a:pt x="83" y="136"/>
                    <a:pt x="85" y="139"/>
                    <a:pt x="86" y="139"/>
                  </a:cubicBezTo>
                  <a:cubicBezTo>
                    <a:pt x="87" y="139"/>
                    <a:pt x="87" y="139"/>
                    <a:pt x="87" y="139"/>
                  </a:cubicBezTo>
                  <a:cubicBezTo>
                    <a:pt x="87" y="139"/>
                    <a:pt x="87" y="139"/>
                    <a:pt x="87" y="139"/>
                  </a:cubicBezTo>
                  <a:cubicBezTo>
                    <a:pt x="88" y="139"/>
                    <a:pt x="91" y="139"/>
                    <a:pt x="92" y="139"/>
                  </a:cubicBezTo>
                  <a:cubicBezTo>
                    <a:pt x="93" y="138"/>
                    <a:pt x="93" y="138"/>
                    <a:pt x="93" y="138"/>
                  </a:cubicBezTo>
                  <a:cubicBezTo>
                    <a:pt x="94" y="138"/>
                    <a:pt x="94" y="138"/>
                    <a:pt x="95" y="138"/>
                  </a:cubicBezTo>
                  <a:cubicBezTo>
                    <a:pt x="97" y="138"/>
                    <a:pt x="100" y="138"/>
                    <a:pt x="102" y="137"/>
                  </a:cubicBezTo>
                  <a:cubicBezTo>
                    <a:pt x="105" y="137"/>
                    <a:pt x="105" y="137"/>
                    <a:pt x="105" y="137"/>
                  </a:cubicBezTo>
                  <a:cubicBezTo>
                    <a:pt x="106" y="137"/>
                    <a:pt x="108" y="137"/>
                    <a:pt x="109" y="136"/>
                  </a:cubicBezTo>
                  <a:cubicBezTo>
                    <a:pt x="110" y="136"/>
                    <a:pt x="110" y="136"/>
                    <a:pt x="110" y="136"/>
                  </a:cubicBezTo>
                  <a:cubicBezTo>
                    <a:pt x="114" y="136"/>
                    <a:pt x="117" y="135"/>
                    <a:pt x="121" y="135"/>
                  </a:cubicBezTo>
                  <a:cubicBezTo>
                    <a:pt x="122" y="135"/>
                    <a:pt x="123" y="135"/>
                    <a:pt x="123" y="135"/>
                  </a:cubicBezTo>
                  <a:cubicBezTo>
                    <a:pt x="131" y="136"/>
                    <a:pt x="134" y="139"/>
                    <a:pt x="134" y="142"/>
                  </a:cubicBezTo>
                  <a:cubicBezTo>
                    <a:pt x="134" y="144"/>
                    <a:pt x="134" y="147"/>
                    <a:pt x="133" y="149"/>
                  </a:cubicBezTo>
                  <a:cubicBezTo>
                    <a:pt x="132" y="151"/>
                    <a:pt x="131" y="153"/>
                    <a:pt x="130" y="154"/>
                  </a:cubicBezTo>
                  <a:cubicBezTo>
                    <a:pt x="129" y="154"/>
                    <a:pt x="129" y="154"/>
                    <a:pt x="129" y="154"/>
                  </a:cubicBezTo>
                  <a:cubicBezTo>
                    <a:pt x="129" y="155"/>
                    <a:pt x="129" y="155"/>
                    <a:pt x="129" y="155"/>
                  </a:cubicBezTo>
                  <a:cubicBezTo>
                    <a:pt x="128" y="156"/>
                    <a:pt x="128" y="156"/>
                    <a:pt x="128" y="157"/>
                  </a:cubicBezTo>
                  <a:cubicBezTo>
                    <a:pt x="127" y="157"/>
                    <a:pt x="127" y="157"/>
                    <a:pt x="127" y="157"/>
                  </a:cubicBezTo>
                  <a:cubicBezTo>
                    <a:pt x="126" y="159"/>
                    <a:pt x="125" y="160"/>
                    <a:pt x="125" y="161"/>
                  </a:cubicBezTo>
                  <a:cubicBezTo>
                    <a:pt x="125" y="163"/>
                    <a:pt x="125" y="163"/>
                    <a:pt x="125" y="163"/>
                  </a:cubicBezTo>
                  <a:cubicBezTo>
                    <a:pt x="125" y="166"/>
                    <a:pt x="125" y="168"/>
                    <a:pt x="124" y="170"/>
                  </a:cubicBezTo>
                  <a:cubicBezTo>
                    <a:pt x="124" y="171"/>
                    <a:pt x="124" y="171"/>
                    <a:pt x="124" y="171"/>
                  </a:cubicBezTo>
                  <a:cubicBezTo>
                    <a:pt x="124" y="172"/>
                    <a:pt x="124" y="174"/>
                    <a:pt x="124" y="176"/>
                  </a:cubicBezTo>
                  <a:cubicBezTo>
                    <a:pt x="124" y="176"/>
                    <a:pt x="124" y="177"/>
                    <a:pt x="124" y="177"/>
                  </a:cubicBezTo>
                  <a:cubicBezTo>
                    <a:pt x="124" y="179"/>
                    <a:pt x="124" y="179"/>
                    <a:pt x="124" y="179"/>
                  </a:cubicBezTo>
                  <a:cubicBezTo>
                    <a:pt x="125" y="179"/>
                    <a:pt x="125" y="180"/>
                    <a:pt x="125" y="180"/>
                  </a:cubicBezTo>
                  <a:cubicBezTo>
                    <a:pt x="125" y="183"/>
                    <a:pt x="126" y="186"/>
                    <a:pt x="127" y="189"/>
                  </a:cubicBezTo>
                  <a:cubicBezTo>
                    <a:pt x="128" y="190"/>
                    <a:pt x="128" y="191"/>
                    <a:pt x="129" y="192"/>
                  </a:cubicBezTo>
                  <a:cubicBezTo>
                    <a:pt x="129" y="193"/>
                    <a:pt x="130" y="195"/>
                    <a:pt x="130" y="195"/>
                  </a:cubicBezTo>
                  <a:cubicBezTo>
                    <a:pt x="130" y="196"/>
                    <a:pt x="130" y="196"/>
                    <a:pt x="130" y="196"/>
                  </a:cubicBezTo>
                  <a:cubicBezTo>
                    <a:pt x="130" y="196"/>
                    <a:pt x="130" y="196"/>
                    <a:pt x="130" y="196"/>
                  </a:cubicBezTo>
                  <a:cubicBezTo>
                    <a:pt x="133" y="198"/>
                    <a:pt x="134" y="199"/>
                    <a:pt x="135" y="201"/>
                  </a:cubicBezTo>
                  <a:cubicBezTo>
                    <a:pt x="135" y="201"/>
                    <a:pt x="135" y="201"/>
                    <a:pt x="135" y="201"/>
                  </a:cubicBezTo>
                  <a:cubicBezTo>
                    <a:pt x="136" y="202"/>
                    <a:pt x="137" y="203"/>
                    <a:pt x="137" y="204"/>
                  </a:cubicBezTo>
                  <a:cubicBezTo>
                    <a:pt x="137" y="205"/>
                    <a:pt x="137" y="205"/>
                    <a:pt x="137" y="206"/>
                  </a:cubicBezTo>
                  <a:cubicBezTo>
                    <a:pt x="136" y="207"/>
                    <a:pt x="136" y="207"/>
                    <a:pt x="136" y="207"/>
                  </a:cubicBezTo>
                  <a:cubicBezTo>
                    <a:pt x="135" y="209"/>
                    <a:pt x="134" y="211"/>
                    <a:pt x="132" y="212"/>
                  </a:cubicBezTo>
                  <a:cubicBezTo>
                    <a:pt x="132" y="212"/>
                    <a:pt x="132" y="212"/>
                    <a:pt x="132" y="212"/>
                  </a:cubicBezTo>
                  <a:cubicBezTo>
                    <a:pt x="131" y="213"/>
                    <a:pt x="131" y="213"/>
                    <a:pt x="131" y="213"/>
                  </a:cubicBezTo>
                  <a:cubicBezTo>
                    <a:pt x="131" y="213"/>
                    <a:pt x="131" y="213"/>
                    <a:pt x="130" y="214"/>
                  </a:cubicBezTo>
                  <a:cubicBezTo>
                    <a:pt x="130" y="214"/>
                    <a:pt x="130" y="214"/>
                    <a:pt x="130" y="214"/>
                  </a:cubicBezTo>
                  <a:cubicBezTo>
                    <a:pt x="129" y="215"/>
                    <a:pt x="128" y="216"/>
                    <a:pt x="127" y="217"/>
                  </a:cubicBezTo>
                  <a:cubicBezTo>
                    <a:pt x="127" y="217"/>
                    <a:pt x="127" y="217"/>
                    <a:pt x="127" y="217"/>
                  </a:cubicBezTo>
                  <a:cubicBezTo>
                    <a:pt x="128" y="217"/>
                    <a:pt x="128" y="217"/>
                    <a:pt x="129" y="217"/>
                  </a:cubicBezTo>
                  <a:cubicBezTo>
                    <a:pt x="129" y="218"/>
                    <a:pt x="130" y="218"/>
                    <a:pt x="130" y="218"/>
                  </a:cubicBezTo>
                  <a:cubicBezTo>
                    <a:pt x="131" y="219"/>
                    <a:pt x="131" y="219"/>
                    <a:pt x="131" y="219"/>
                  </a:cubicBezTo>
                  <a:cubicBezTo>
                    <a:pt x="132" y="220"/>
                    <a:pt x="133" y="221"/>
                    <a:pt x="134" y="222"/>
                  </a:cubicBezTo>
                  <a:cubicBezTo>
                    <a:pt x="135" y="224"/>
                    <a:pt x="136" y="225"/>
                    <a:pt x="137" y="227"/>
                  </a:cubicBezTo>
                  <a:cubicBezTo>
                    <a:pt x="139" y="232"/>
                    <a:pt x="142" y="238"/>
                    <a:pt x="144" y="245"/>
                  </a:cubicBezTo>
                  <a:cubicBezTo>
                    <a:pt x="144" y="246"/>
                    <a:pt x="144" y="247"/>
                    <a:pt x="145" y="248"/>
                  </a:cubicBezTo>
                  <a:cubicBezTo>
                    <a:pt x="145" y="249"/>
                    <a:pt x="145" y="250"/>
                    <a:pt x="146" y="251"/>
                  </a:cubicBezTo>
                  <a:cubicBezTo>
                    <a:pt x="146" y="252"/>
                    <a:pt x="146" y="252"/>
                    <a:pt x="146" y="252"/>
                  </a:cubicBezTo>
                  <a:cubicBezTo>
                    <a:pt x="146" y="252"/>
                    <a:pt x="146" y="253"/>
                    <a:pt x="146" y="253"/>
                  </a:cubicBezTo>
                  <a:cubicBezTo>
                    <a:pt x="147" y="253"/>
                    <a:pt x="147" y="253"/>
                    <a:pt x="147" y="253"/>
                  </a:cubicBezTo>
                  <a:cubicBezTo>
                    <a:pt x="147" y="254"/>
                    <a:pt x="148" y="255"/>
                    <a:pt x="148" y="255"/>
                  </a:cubicBezTo>
                  <a:cubicBezTo>
                    <a:pt x="149" y="255"/>
                    <a:pt x="149" y="255"/>
                    <a:pt x="149" y="255"/>
                  </a:cubicBezTo>
                  <a:cubicBezTo>
                    <a:pt x="150" y="256"/>
                    <a:pt x="150" y="256"/>
                    <a:pt x="150" y="256"/>
                  </a:cubicBezTo>
                  <a:cubicBezTo>
                    <a:pt x="151" y="257"/>
                    <a:pt x="151" y="257"/>
                    <a:pt x="151" y="257"/>
                  </a:cubicBezTo>
                  <a:cubicBezTo>
                    <a:pt x="152" y="258"/>
                    <a:pt x="154" y="259"/>
                    <a:pt x="155" y="261"/>
                  </a:cubicBezTo>
                  <a:cubicBezTo>
                    <a:pt x="157" y="262"/>
                    <a:pt x="159" y="263"/>
                    <a:pt x="161" y="263"/>
                  </a:cubicBezTo>
                  <a:cubicBezTo>
                    <a:pt x="161" y="263"/>
                    <a:pt x="161" y="263"/>
                    <a:pt x="161" y="263"/>
                  </a:cubicBezTo>
                  <a:cubicBezTo>
                    <a:pt x="162" y="263"/>
                    <a:pt x="164" y="262"/>
                    <a:pt x="165" y="262"/>
                  </a:cubicBezTo>
                  <a:cubicBezTo>
                    <a:pt x="166" y="261"/>
                    <a:pt x="166" y="261"/>
                    <a:pt x="166" y="261"/>
                  </a:cubicBezTo>
                  <a:cubicBezTo>
                    <a:pt x="169" y="260"/>
                    <a:pt x="172" y="259"/>
                    <a:pt x="174" y="259"/>
                  </a:cubicBezTo>
                  <a:cubicBezTo>
                    <a:pt x="175" y="259"/>
                    <a:pt x="175" y="259"/>
                    <a:pt x="175" y="259"/>
                  </a:cubicBezTo>
                  <a:cubicBezTo>
                    <a:pt x="176" y="259"/>
                    <a:pt x="177" y="260"/>
                    <a:pt x="178" y="260"/>
                  </a:cubicBezTo>
                  <a:cubicBezTo>
                    <a:pt x="178" y="261"/>
                    <a:pt x="178" y="261"/>
                    <a:pt x="178" y="261"/>
                  </a:cubicBezTo>
                  <a:cubicBezTo>
                    <a:pt x="179" y="260"/>
                    <a:pt x="180" y="259"/>
                    <a:pt x="181" y="258"/>
                  </a:cubicBezTo>
                  <a:cubicBezTo>
                    <a:pt x="184" y="254"/>
                    <a:pt x="186" y="254"/>
                    <a:pt x="190" y="252"/>
                  </a:cubicBezTo>
                  <a:cubicBezTo>
                    <a:pt x="191" y="252"/>
                    <a:pt x="191" y="252"/>
                    <a:pt x="191" y="252"/>
                  </a:cubicBezTo>
                  <a:cubicBezTo>
                    <a:pt x="193" y="252"/>
                    <a:pt x="195" y="250"/>
                    <a:pt x="197" y="249"/>
                  </a:cubicBezTo>
                  <a:cubicBezTo>
                    <a:pt x="198" y="249"/>
                    <a:pt x="198" y="249"/>
                    <a:pt x="198" y="249"/>
                  </a:cubicBezTo>
                  <a:cubicBezTo>
                    <a:pt x="199" y="248"/>
                    <a:pt x="200" y="247"/>
                    <a:pt x="201" y="247"/>
                  </a:cubicBezTo>
                  <a:cubicBezTo>
                    <a:pt x="204" y="245"/>
                    <a:pt x="204" y="245"/>
                    <a:pt x="204" y="245"/>
                  </a:cubicBezTo>
                  <a:cubicBezTo>
                    <a:pt x="205" y="244"/>
                    <a:pt x="206" y="242"/>
                    <a:pt x="207" y="241"/>
                  </a:cubicBezTo>
                  <a:cubicBezTo>
                    <a:pt x="207" y="240"/>
                    <a:pt x="207" y="240"/>
                    <a:pt x="207" y="240"/>
                  </a:cubicBezTo>
                  <a:cubicBezTo>
                    <a:pt x="207" y="240"/>
                    <a:pt x="207" y="240"/>
                    <a:pt x="207" y="240"/>
                  </a:cubicBezTo>
                  <a:cubicBezTo>
                    <a:pt x="207" y="238"/>
                    <a:pt x="208" y="237"/>
                    <a:pt x="210" y="235"/>
                  </a:cubicBezTo>
                  <a:cubicBezTo>
                    <a:pt x="212" y="234"/>
                    <a:pt x="215" y="233"/>
                    <a:pt x="217" y="232"/>
                  </a:cubicBezTo>
                  <a:cubicBezTo>
                    <a:pt x="220" y="231"/>
                    <a:pt x="220" y="231"/>
                    <a:pt x="220" y="231"/>
                  </a:cubicBezTo>
                  <a:cubicBezTo>
                    <a:pt x="220" y="231"/>
                    <a:pt x="220" y="231"/>
                    <a:pt x="220" y="231"/>
                  </a:cubicBezTo>
                  <a:cubicBezTo>
                    <a:pt x="220" y="231"/>
                    <a:pt x="220" y="231"/>
                    <a:pt x="220" y="231"/>
                  </a:cubicBezTo>
                  <a:cubicBezTo>
                    <a:pt x="211" y="230"/>
                    <a:pt x="208" y="229"/>
                    <a:pt x="207" y="227"/>
                  </a:cubicBezTo>
                  <a:cubicBezTo>
                    <a:pt x="207" y="225"/>
                    <a:pt x="207" y="224"/>
                    <a:pt x="207" y="222"/>
                  </a:cubicBezTo>
                  <a:cubicBezTo>
                    <a:pt x="208" y="221"/>
                    <a:pt x="208" y="220"/>
                    <a:pt x="208" y="219"/>
                  </a:cubicBezTo>
                  <a:cubicBezTo>
                    <a:pt x="208" y="217"/>
                    <a:pt x="207" y="215"/>
                    <a:pt x="206" y="213"/>
                  </a:cubicBezTo>
                  <a:cubicBezTo>
                    <a:pt x="205" y="211"/>
                    <a:pt x="203" y="208"/>
                    <a:pt x="203" y="205"/>
                  </a:cubicBezTo>
                  <a:cubicBezTo>
                    <a:pt x="203" y="204"/>
                    <a:pt x="203" y="203"/>
                    <a:pt x="203" y="202"/>
                  </a:cubicBezTo>
                  <a:cubicBezTo>
                    <a:pt x="204" y="202"/>
                    <a:pt x="204" y="202"/>
                    <a:pt x="204" y="202"/>
                  </a:cubicBezTo>
                  <a:cubicBezTo>
                    <a:pt x="203" y="201"/>
                    <a:pt x="203" y="201"/>
                    <a:pt x="203" y="201"/>
                  </a:cubicBezTo>
                  <a:cubicBezTo>
                    <a:pt x="202" y="200"/>
                    <a:pt x="201" y="199"/>
                    <a:pt x="200" y="199"/>
                  </a:cubicBezTo>
                  <a:cubicBezTo>
                    <a:pt x="199" y="198"/>
                    <a:pt x="198" y="197"/>
                    <a:pt x="198" y="197"/>
                  </a:cubicBezTo>
                  <a:cubicBezTo>
                    <a:pt x="196" y="195"/>
                    <a:pt x="195" y="194"/>
                    <a:pt x="194" y="192"/>
                  </a:cubicBezTo>
                  <a:cubicBezTo>
                    <a:pt x="193" y="191"/>
                    <a:pt x="193" y="190"/>
                    <a:pt x="192" y="189"/>
                  </a:cubicBezTo>
                  <a:cubicBezTo>
                    <a:pt x="192" y="189"/>
                    <a:pt x="191" y="189"/>
                    <a:pt x="191" y="189"/>
                  </a:cubicBezTo>
                  <a:cubicBezTo>
                    <a:pt x="185" y="186"/>
                    <a:pt x="185" y="186"/>
                    <a:pt x="185" y="186"/>
                  </a:cubicBezTo>
                  <a:cubicBezTo>
                    <a:pt x="191" y="183"/>
                    <a:pt x="191" y="183"/>
                    <a:pt x="191" y="183"/>
                  </a:cubicBezTo>
                  <a:cubicBezTo>
                    <a:pt x="192" y="183"/>
                    <a:pt x="193" y="183"/>
                    <a:pt x="194" y="183"/>
                  </a:cubicBezTo>
                  <a:cubicBezTo>
                    <a:pt x="195" y="183"/>
                    <a:pt x="195" y="183"/>
                    <a:pt x="195" y="183"/>
                  </a:cubicBezTo>
                  <a:cubicBezTo>
                    <a:pt x="200" y="183"/>
                    <a:pt x="204" y="185"/>
                    <a:pt x="207" y="187"/>
                  </a:cubicBezTo>
                  <a:cubicBezTo>
                    <a:pt x="208" y="188"/>
                    <a:pt x="208" y="188"/>
                    <a:pt x="208" y="188"/>
                  </a:cubicBezTo>
                  <a:cubicBezTo>
                    <a:pt x="209" y="188"/>
                    <a:pt x="210" y="189"/>
                    <a:pt x="211" y="190"/>
                  </a:cubicBezTo>
                  <a:cubicBezTo>
                    <a:pt x="211" y="190"/>
                    <a:pt x="211" y="190"/>
                    <a:pt x="211" y="190"/>
                  </a:cubicBezTo>
                  <a:cubicBezTo>
                    <a:pt x="212" y="190"/>
                    <a:pt x="212" y="190"/>
                    <a:pt x="212" y="190"/>
                  </a:cubicBezTo>
                  <a:cubicBezTo>
                    <a:pt x="212" y="190"/>
                    <a:pt x="213" y="190"/>
                    <a:pt x="213" y="190"/>
                  </a:cubicBezTo>
                  <a:cubicBezTo>
                    <a:pt x="214" y="190"/>
                    <a:pt x="214" y="190"/>
                    <a:pt x="214" y="190"/>
                  </a:cubicBezTo>
                  <a:cubicBezTo>
                    <a:pt x="215" y="189"/>
                    <a:pt x="216" y="189"/>
                    <a:pt x="218" y="189"/>
                  </a:cubicBezTo>
                  <a:cubicBezTo>
                    <a:pt x="219" y="189"/>
                    <a:pt x="220" y="189"/>
                    <a:pt x="222" y="190"/>
                  </a:cubicBezTo>
                  <a:cubicBezTo>
                    <a:pt x="222" y="189"/>
                    <a:pt x="223" y="189"/>
                    <a:pt x="224" y="189"/>
                  </a:cubicBezTo>
                  <a:cubicBezTo>
                    <a:pt x="224" y="189"/>
                    <a:pt x="225" y="189"/>
                    <a:pt x="225" y="189"/>
                  </a:cubicBezTo>
                  <a:cubicBezTo>
                    <a:pt x="227" y="189"/>
                    <a:pt x="229" y="190"/>
                    <a:pt x="231" y="191"/>
                  </a:cubicBezTo>
                  <a:cubicBezTo>
                    <a:pt x="232" y="192"/>
                    <a:pt x="232" y="193"/>
                    <a:pt x="233" y="194"/>
                  </a:cubicBezTo>
                  <a:cubicBezTo>
                    <a:pt x="233" y="195"/>
                    <a:pt x="233" y="195"/>
                    <a:pt x="233" y="195"/>
                  </a:cubicBezTo>
                  <a:cubicBezTo>
                    <a:pt x="234" y="195"/>
                    <a:pt x="235" y="196"/>
                    <a:pt x="236" y="197"/>
                  </a:cubicBezTo>
                  <a:cubicBezTo>
                    <a:pt x="236" y="197"/>
                    <a:pt x="236" y="196"/>
                    <a:pt x="236" y="196"/>
                  </a:cubicBezTo>
                  <a:cubicBezTo>
                    <a:pt x="237" y="194"/>
                    <a:pt x="237" y="194"/>
                    <a:pt x="237" y="194"/>
                  </a:cubicBezTo>
                  <a:cubicBezTo>
                    <a:pt x="237" y="194"/>
                    <a:pt x="237" y="194"/>
                    <a:pt x="237" y="194"/>
                  </a:cubicBezTo>
                  <a:cubicBezTo>
                    <a:pt x="236" y="192"/>
                    <a:pt x="236" y="192"/>
                    <a:pt x="236" y="192"/>
                  </a:cubicBezTo>
                  <a:cubicBezTo>
                    <a:pt x="236" y="192"/>
                    <a:pt x="237" y="191"/>
                    <a:pt x="237" y="191"/>
                  </a:cubicBezTo>
                  <a:cubicBezTo>
                    <a:pt x="238" y="187"/>
                    <a:pt x="240" y="187"/>
                    <a:pt x="243" y="186"/>
                  </a:cubicBezTo>
                  <a:cubicBezTo>
                    <a:pt x="243" y="186"/>
                    <a:pt x="243" y="186"/>
                    <a:pt x="243" y="186"/>
                  </a:cubicBezTo>
                  <a:cubicBezTo>
                    <a:pt x="243" y="186"/>
                    <a:pt x="244" y="186"/>
                    <a:pt x="244" y="186"/>
                  </a:cubicBezTo>
                  <a:cubicBezTo>
                    <a:pt x="250" y="184"/>
                    <a:pt x="257" y="183"/>
                    <a:pt x="262" y="182"/>
                  </a:cubicBezTo>
                  <a:cubicBezTo>
                    <a:pt x="265" y="182"/>
                    <a:pt x="265" y="182"/>
                    <a:pt x="265" y="182"/>
                  </a:cubicBezTo>
                  <a:cubicBezTo>
                    <a:pt x="266" y="182"/>
                    <a:pt x="268" y="181"/>
                    <a:pt x="269" y="180"/>
                  </a:cubicBezTo>
                  <a:cubicBezTo>
                    <a:pt x="270" y="179"/>
                    <a:pt x="270" y="179"/>
                    <a:pt x="271" y="178"/>
                  </a:cubicBezTo>
                  <a:cubicBezTo>
                    <a:pt x="272" y="177"/>
                    <a:pt x="273" y="177"/>
                    <a:pt x="275" y="176"/>
                  </a:cubicBezTo>
                  <a:cubicBezTo>
                    <a:pt x="275" y="176"/>
                    <a:pt x="276" y="176"/>
                    <a:pt x="276" y="176"/>
                  </a:cubicBezTo>
                  <a:cubicBezTo>
                    <a:pt x="276" y="176"/>
                    <a:pt x="277" y="176"/>
                    <a:pt x="278" y="176"/>
                  </a:cubicBezTo>
                  <a:cubicBezTo>
                    <a:pt x="278" y="176"/>
                    <a:pt x="279" y="176"/>
                    <a:pt x="279" y="176"/>
                  </a:cubicBezTo>
                  <a:cubicBezTo>
                    <a:pt x="279" y="176"/>
                    <a:pt x="279" y="175"/>
                    <a:pt x="280" y="175"/>
                  </a:cubicBezTo>
                  <a:cubicBezTo>
                    <a:pt x="280" y="174"/>
                    <a:pt x="280" y="174"/>
                    <a:pt x="280" y="174"/>
                  </a:cubicBezTo>
                  <a:cubicBezTo>
                    <a:pt x="280" y="174"/>
                    <a:pt x="280" y="174"/>
                    <a:pt x="280" y="174"/>
                  </a:cubicBezTo>
                  <a:cubicBezTo>
                    <a:pt x="282" y="173"/>
                    <a:pt x="284" y="172"/>
                    <a:pt x="285" y="170"/>
                  </a:cubicBezTo>
                  <a:cubicBezTo>
                    <a:pt x="281" y="167"/>
                    <a:pt x="281" y="167"/>
                    <a:pt x="281" y="167"/>
                  </a:cubicBezTo>
                  <a:cubicBezTo>
                    <a:pt x="286" y="169"/>
                    <a:pt x="286" y="169"/>
                    <a:pt x="286" y="169"/>
                  </a:cubicBezTo>
                  <a:cubicBezTo>
                    <a:pt x="286" y="169"/>
                    <a:pt x="286" y="169"/>
                    <a:pt x="286" y="169"/>
                  </a:cubicBezTo>
                  <a:cubicBezTo>
                    <a:pt x="287" y="168"/>
                    <a:pt x="287" y="168"/>
                    <a:pt x="287" y="168"/>
                  </a:cubicBezTo>
                  <a:cubicBezTo>
                    <a:pt x="287" y="168"/>
                    <a:pt x="287" y="168"/>
                    <a:pt x="287" y="168"/>
                  </a:cubicBezTo>
                  <a:cubicBezTo>
                    <a:pt x="286" y="167"/>
                    <a:pt x="286" y="167"/>
                    <a:pt x="286" y="167"/>
                  </a:cubicBezTo>
                  <a:cubicBezTo>
                    <a:pt x="286" y="166"/>
                    <a:pt x="286" y="166"/>
                    <a:pt x="286" y="166"/>
                  </a:cubicBezTo>
                  <a:cubicBezTo>
                    <a:pt x="286" y="166"/>
                    <a:pt x="286" y="166"/>
                    <a:pt x="286" y="166"/>
                  </a:cubicBezTo>
                  <a:cubicBezTo>
                    <a:pt x="285" y="165"/>
                    <a:pt x="285" y="165"/>
                    <a:pt x="285" y="165"/>
                  </a:cubicBezTo>
                  <a:cubicBezTo>
                    <a:pt x="284" y="164"/>
                    <a:pt x="282" y="162"/>
                    <a:pt x="281" y="161"/>
                  </a:cubicBezTo>
                  <a:cubicBezTo>
                    <a:pt x="281" y="161"/>
                    <a:pt x="281" y="161"/>
                    <a:pt x="281" y="161"/>
                  </a:cubicBezTo>
                  <a:cubicBezTo>
                    <a:pt x="280" y="160"/>
                    <a:pt x="280" y="160"/>
                    <a:pt x="280" y="159"/>
                  </a:cubicBezTo>
                  <a:cubicBezTo>
                    <a:pt x="270" y="149"/>
                    <a:pt x="270" y="149"/>
                    <a:pt x="270" y="149"/>
                  </a:cubicBezTo>
                  <a:cubicBezTo>
                    <a:pt x="269" y="148"/>
                    <a:pt x="269" y="146"/>
                    <a:pt x="270" y="144"/>
                  </a:cubicBezTo>
                  <a:cubicBezTo>
                    <a:pt x="270" y="144"/>
                    <a:pt x="270" y="144"/>
                    <a:pt x="270" y="144"/>
                  </a:cubicBezTo>
                  <a:cubicBezTo>
                    <a:pt x="271" y="143"/>
                    <a:pt x="272" y="142"/>
                    <a:pt x="273" y="141"/>
                  </a:cubicBezTo>
                  <a:cubicBezTo>
                    <a:pt x="274" y="141"/>
                    <a:pt x="275" y="140"/>
                    <a:pt x="275" y="139"/>
                  </a:cubicBezTo>
                  <a:cubicBezTo>
                    <a:pt x="275" y="139"/>
                    <a:pt x="275" y="139"/>
                    <a:pt x="275" y="139"/>
                  </a:cubicBezTo>
                  <a:cubicBezTo>
                    <a:pt x="275" y="138"/>
                    <a:pt x="275" y="138"/>
                    <a:pt x="275" y="138"/>
                  </a:cubicBezTo>
                  <a:cubicBezTo>
                    <a:pt x="275" y="137"/>
                    <a:pt x="274" y="136"/>
                    <a:pt x="274" y="135"/>
                  </a:cubicBezTo>
                  <a:cubicBezTo>
                    <a:pt x="274" y="134"/>
                    <a:pt x="274" y="134"/>
                    <a:pt x="274" y="134"/>
                  </a:cubicBezTo>
                  <a:cubicBezTo>
                    <a:pt x="274" y="133"/>
                    <a:pt x="274" y="133"/>
                    <a:pt x="274" y="133"/>
                  </a:cubicBezTo>
                  <a:cubicBezTo>
                    <a:pt x="274" y="131"/>
                    <a:pt x="274" y="128"/>
                    <a:pt x="276" y="126"/>
                  </a:cubicBezTo>
                  <a:cubicBezTo>
                    <a:pt x="277" y="125"/>
                    <a:pt x="277" y="125"/>
                    <a:pt x="277" y="125"/>
                  </a:cubicBezTo>
                  <a:cubicBezTo>
                    <a:pt x="279" y="125"/>
                    <a:pt x="279" y="125"/>
                    <a:pt x="279" y="125"/>
                  </a:cubicBezTo>
                  <a:cubicBezTo>
                    <a:pt x="279" y="125"/>
                    <a:pt x="279" y="125"/>
                    <a:pt x="279" y="125"/>
                  </a:cubicBezTo>
                  <a:cubicBezTo>
                    <a:pt x="279" y="125"/>
                    <a:pt x="279" y="125"/>
                    <a:pt x="279" y="125"/>
                  </a:cubicBezTo>
                  <a:cubicBezTo>
                    <a:pt x="281" y="124"/>
                    <a:pt x="282" y="124"/>
                    <a:pt x="283" y="123"/>
                  </a:cubicBezTo>
                  <a:cubicBezTo>
                    <a:pt x="283" y="123"/>
                    <a:pt x="284" y="123"/>
                    <a:pt x="284" y="123"/>
                  </a:cubicBezTo>
                  <a:cubicBezTo>
                    <a:pt x="284" y="123"/>
                    <a:pt x="285" y="124"/>
                    <a:pt x="285" y="124"/>
                  </a:cubicBezTo>
                  <a:cubicBezTo>
                    <a:pt x="286" y="124"/>
                    <a:pt x="286" y="124"/>
                    <a:pt x="286" y="124"/>
                  </a:cubicBezTo>
                  <a:cubicBezTo>
                    <a:pt x="286" y="124"/>
                    <a:pt x="286" y="124"/>
                    <a:pt x="286" y="124"/>
                  </a:cubicBezTo>
                  <a:cubicBezTo>
                    <a:pt x="286" y="124"/>
                    <a:pt x="286" y="124"/>
                    <a:pt x="286" y="124"/>
                  </a:cubicBezTo>
                  <a:cubicBezTo>
                    <a:pt x="288" y="123"/>
                    <a:pt x="288" y="123"/>
                    <a:pt x="289" y="123"/>
                  </a:cubicBezTo>
                  <a:cubicBezTo>
                    <a:pt x="291" y="122"/>
                    <a:pt x="291" y="122"/>
                    <a:pt x="291" y="122"/>
                  </a:cubicBezTo>
                  <a:cubicBezTo>
                    <a:pt x="292" y="122"/>
                    <a:pt x="293" y="121"/>
                    <a:pt x="293" y="121"/>
                  </a:cubicBezTo>
                  <a:cubicBezTo>
                    <a:pt x="293" y="121"/>
                    <a:pt x="293" y="121"/>
                    <a:pt x="293" y="121"/>
                  </a:cubicBezTo>
                  <a:cubicBezTo>
                    <a:pt x="293" y="120"/>
                    <a:pt x="293" y="120"/>
                    <a:pt x="293" y="120"/>
                  </a:cubicBezTo>
                  <a:cubicBezTo>
                    <a:pt x="293" y="120"/>
                    <a:pt x="293" y="120"/>
                    <a:pt x="293" y="120"/>
                  </a:cubicBezTo>
                  <a:cubicBezTo>
                    <a:pt x="293" y="120"/>
                    <a:pt x="293" y="120"/>
                    <a:pt x="293" y="120"/>
                  </a:cubicBezTo>
                  <a:cubicBezTo>
                    <a:pt x="291" y="120"/>
                    <a:pt x="291" y="120"/>
                    <a:pt x="290" y="120"/>
                  </a:cubicBezTo>
                  <a:cubicBezTo>
                    <a:pt x="289" y="120"/>
                    <a:pt x="289" y="120"/>
                    <a:pt x="289" y="120"/>
                  </a:cubicBezTo>
                  <a:cubicBezTo>
                    <a:pt x="288" y="119"/>
                    <a:pt x="288" y="119"/>
                    <a:pt x="288" y="119"/>
                  </a:cubicBezTo>
                  <a:cubicBezTo>
                    <a:pt x="288" y="119"/>
                    <a:pt x="287" y="118"/>
                    <a:pt x="287" y="117"/>
                  </a:cubicBezTo>
                  <a:cubicBezTo>
                    <a:pt x="286" y="116"/>
                    <a:pt x="286" y="116"/>
                    <a:pt x="286" y="116"/>
                  </a:cubicBezTo>
                  <a:cubicBezTo>
                    <a:pt x="286" y="116"/>
                    <a:pt x="286" y="116"/>
                    <a:pt x="286" y="116"/>
                  </a:cubicBezTo>
                  <a:cubicBezTo>
                    <a:pt x="286" y="115"/>
                    <a:pt x="286" y="113"/>
                    <a:pt x="285" y="112"/>
                  </a:cubicBezTo>
                  <a:cubicBezTo>
                    <a:pt x="285" y="112"/>
                    <a:pt x="285" y="112"/>
                    <a:pt x="285" y="112"/>
                  </a:cubicBezTo>
                  <a:cubicBezTo>
                    <a:pt x="285" y="111"/>
                    <a:pt x="285" y="111"/>
                    <a:pt x="285" y="111"/>
                  </a:cubicBezTo>
                  <a:cubicBezTo>
                    <a:pt x="285" y="109"/>
                    <a:pt x="285" y="107"/>
                    <a:pt x="287" y="106"/>
                  </a:cubicBezTo>
                  <a:cubicBezTo>
                    <a:pt x="287" y="105"/>
                    <a:pt x="287" y="105"/>
                    <a:pt x="288" y="105"/>
                  </a:cubicBezTo>
                  <a:cubicBezTo>
                    <a:pt x="288" y="103"/>
                    <a:pt x="289" y="102"/>
                    <a:pt x="291" y="100"/>
                  </a:cubicBezTo>
                  <a:cubicBezTo>
                    <a:pt x="292" y="100"/>
                    <a:pt x="292" y="100"/>
                    <a:pt x="292" y="100"/>
                  </a:cubicBezTo>
                  <a:cubicBezTo>
                    <a:pt x="295" y="99"/>
                    <a:pt x="297" y="97"/>
                    <a:pt x="300" y="95"/>
                  </a:cubicBezTo>
                  <a:cubicBezTo>
                    <a:pt x="300" y="95"/>
                    <a:pt x="301" y="94"/>
                    <a:pt x="302" y="94"/>
                  </a:cubicBezTo>
                  <a:cubicBezTo>
                    <a:pt x="303" y="93"/>
                    <a:pt x="304" y="92"/>
                    <a:pt x="305" y="91"/>
                  </a:cubicBezTo>
                  <a:cubicBezTo>
                    <a:pt x="304" y="91"/>
                    <a:pt x="303" y="89"/>
                    <a:pt x="302" y="87"/>
                  </a:cubicBezTo>
                  <a:cubicBezTo>
                    <a:pt x="301" y="86"/>
                    <a:pt x="301" y="86"/>
                    <a:pt x="301" y="86"/>
                  </a:cubicBezTo>
                  <a:cubicBezTo>
                    <a:pt x="301" y="85"/>
                    <a:pt x="301" y="85"/>
                    <a:pt x="301" y="85"/>
                  </a:cubicBezTo>
                  <a:cubicBezTo>
                    <a:pt x="300" y="84"/>
                    <a:pt x="300" y="84"/>
                    <a:pt x="300" y="84"/>
                  </a:cubicBezTo>
                  <a:cubicBezTo>
                    <a:pt x="300" y="84"/>
                    <a:pt x="300" y="84"/>
                    <a:pt x="300" y="84"/>
                  </a:cubicBezTo>
                  <a:cubicBezTo>
                    <a:pt x="299" y="84"/>
                    <a:pt x="298" y="84"/>
                    <a:pt x="296" y="83"/>
                  </a:cubicBezTo>
                  <a:cubicBezTo>
                    <a:pt x="296" y="83"/>
                    <a:pt x="296" y="83"/>
                    <a:pt x="296" y="83"/>
                  </a:cubicBezTo>
                  <a:cubicBezTo>
                    <a:pt x="291" y="83"/>
                    <a:pt x="284" y="86"/>
                    <a:pt x="280" y="88"/>
                  </a:cubicBezTo>
                  <a:cubicBezTo>
                    <a:pt x="280" y="87"/>
                    <a:pt x="280" y="87"/>
                    <a:pt x="280" y="87"/>
                  </a:cubicBezTo>
                  <a:cubicBezTo>
                    <a:pt x="278" y="87"/>
                    <a:pt x="276" y="89"/>
                    <a:pt x="274" y="89"/>
                  </a:cubicBezTo>
                  <a:cubicBezTo>
                    <a:pt x="274" y="89"/>
                    <a:pt x="274" y="89"/>
                    <a:pt x="274" y="89"/>
                  </a:cubicBezTo>
                  <a:cubicBezTo>
                    <a:pt x="271" y="88"/>
                    <a:pt x="268" y="86"/>
                    <a:pt x="266" y="85"/>
                  </a:cubicBezTo>
                  <a:cubicBezTo>
                    <a:pt x="265" y="84"/>
                    <a:pt x="266" y="84"/>
                    <a:pt x="267" y="84"/>
                  </a:cubicBezTo>
                  <a:cubicBezTo>
                    <a:pt x="267" y="84"/>
                    <a:pt x="269" y="84"/>
                    <a:pt x="269" y="84"/>
                  </a:cubicBezTo>
                  <a:cubicBezTo>
                    <a:pt x="269" y="84"/>
                    <a:pt x="269" y="84"/>
                    <a:pt x="269" y="84"/>
                  </a:cubicBezTo>
                  <a:cubicBezTo>
                    <a:pt x="270" y="84"/>
                    <a:pt x="270" y="84"/>
                    <a:pt x="270" y="84"/>
                  </a:cubicBezTo>
                  <a:cubicBezTo>
                    <a:pt x="270" y="84"/>
                    <a:pt x="271" y="84"/>
                    <a:pt x="271" y="84"/>
                  </a:cubicBezTo>
                  <a:cubicBezTo>
                    <a:pt x="271" y="84"/>
                    <a:pt x="271" y="84"/>
                    <a:pt x="271" y="84"/>
                  </a:cubicBezTo>
                  <a:cubicBezTo>
                    <a:pt x="272" y="84"/>
                    <a:pt x="273" y="85"/>
                    <a:pt x="274" y="85"/>
                  </a:cubicBezTo>
                  <a:cubicBezTo>
                    <a:pt x="274" y="85"/>
                    <a:pt x="274" y="85"/>
                    <a:pt x="274" y="85"/>
                  </a:cubicBezTo>
                  <a:cubicBezTo>
                    <a:pt x="277" y="84"/>
                    <a:pt x="279" y="75"/>
                    <a:pt x="280" y="72"/>
                  </a:cubicBezTo>
                  <a:cubicBezTo>
                    <a:pt x="279" y="73"/>
                    <a:pt x="279" y="73"/>
                    <a:pt x="278" y="74"/>
                  </a:cubicBezTo>
                  <a:cubicBezTo>
                    <a:pt x="279" y="71"/>
                    <a:pt x="284" y="69"/>
                    <a:pt x="286" y="67"/>
                  </a:cubicBezTo>
                  <a:cubicBezTo>
                    <a:pt x="281" y="63"/>
                    <a:pt x="275" y="60"/>
                    <a:pt x="270" y="56"/>
                  </a:cubicBezTo>
                  <a:cubicBezTo>
                    <a:pt x="269" y="55"/>
                    <a:pt x="268" y="55"/>
                    <a:pt x="267" y="54"/>
                  </a:cubicBezTo>
                  <a:cubicBezTo>
                    <a:pt x="269" y="58"/>
                    <a:pt x="263" y="57"/>
                    <a:pt x="264" y="61"/>
                  </a:cubicBezTo>
                  <a:cubicBezTo>
                    <a:pt x="260" y="56"/>
                    <a:pt x="259" y="53"/>
                    <a:pt x="253" y="51"/>
                  </a:cubicBezTo>
                  <a:cubicBezTo>
                    <a:pt x="254" y="52"/>
                    <a:pt x="255" y="53"/>
                    <a:pt x="255" y="54"/>
                  </a:cubicBezTo>
                  <a:cubicBezTo>
                    <a:pt x="255" y="53"/>
                    <a:pt x="254" y="53"/>
                    <a:pt x="253" y="53"/>
                  </a:cubicBezTo>
                  <a:cubicBezTo>
                    <a:pt x="253" y="55"/>
                    <a:pt x="254" y="57"/>
                    <a:pt x="254" y="59"/>
                  </a:cubicBezTo>
                  <a:cubicBezTo>
                    <a:pt x="253" y="56"/>
                    <a:pt x="254" y="55"/>
                    <a:pt x="252" y="52"/>
                  </a:cubicBezTo>
                  <a:cubicBezTo>
                    <a:pt x="251" y="54"/>
                    <a:pt x="251" y="56"/>
                    <a:pt x="250" y="58"/>
                  </a:cubicBezTo>
                  <a:cubicBezTo>
                    <a:pt x="249" y="55"/>
                    <a:pt x="248" y="52"/>
                    <a:pt x="246" y="49"/>
                  </a:cubicBezTo>
                  <a:cubicBezTo>
                    <a:pt x="246" y="48"/>
                    <a:pt x="246" y="47"/>
                    <a:pt x="245" y="47"/>
                  </a:cubicBezTo>
                  <a:cubicBezTo>
                    <a:pt x="245" y="47"/>
                    <a:pt x="244" y="47"/>
                    <a:pt x="244" y="48"/>
                  </a:cubicBezTo>
                  <a:cubicBezTo>
                    <a:pt x="242" y="50"/>
                    <a:pt x="241" y="51"/>
                    <a:pt x="240" y="51"/>
                  </a:cubicBezTo>
                  <a:cubicBezTo>
                    <a:pt x="238" y="51"/>
                    <a:pt x="237" y="50"/>
                    <a:pt x="234" y="49"/>
                  </a:cubicBezTo>
                  <a:cubicBezTo>
                    <a:pt x="234" y="49"/>
                    <a:pt x="235" y="49"/>
                    <a:pt x="235" y="49"/>
                  </a:cubicBezTo>
                  <a:cubicBezTo>
                    <a:pt x="236" y="49"/>
                    <a:pt x="237" y="50"/>
                    <a:pt x="238" y="50"/>
                  </a:cubicBezTo>
                  <a:cubicBezTo>
                    <a:pt x="239" y="50"/>
                    <a:pt x="239" y="50"/>
                    <a:pt x="239" y="50"/>
                  </a:cubicBezTo>
                  <a:cubicBezTo>
                    <a:pt x="239" y="50"/>
                    <a:pt x="239" y="50"/>
                    <a:pt x="239" y="50"/>
                  </a:cubicBezTo>
                  <a:cubicBezTo>
                    <a:pt x="239" y="50"/>
                    <a:pt x="239" y="49"/>
                    <a:pt x="240" y="49"/>
                  </a:cubicBezTo>
                  <a:cubicBezTo>
                    <a:pt x="240" y="49"/>
                    <a:pt x="240" y="49"/>
                    <a:pt x="240" y="49"/>
                  </a:cubicBezTo>
                  <a:cubicBezTo>
                    <a:pt x="240" y="49"/>
                    <a:pt x="240" y="49"/>
                    <a:pt x="241" y="50"/>
                  </a:cubicBezTo>
                  <a:cubicBezTo>
                    <a:pt x="241" y="50"/>
                    <a:pt x="241" y="50"/>
                    <a:pt x="241" y="50"/>
                  </a:cubicBezTo>
                  <a:cubicBezTo>
                    <a:pt x="242" y="50"/>
                    <a:pt x="242" y="50"/>
                    <a:pt x="242" y="49"/>
                  </a:cubicBezTo>
                  <a:cubicBezTo>
                    <a:pt x="245" y="47"/>
                    <a:pt x="240" y="43"/>
                    <a:pt x="237" y="43"/>
                  </a:cubicBezTo>
                  <a:cubicBezTo>
                    <a:pt x="236" y="43"/>
                    <a:pt x="236" y="43"/>
                    <a:pt x="236" y="43"/>
                  </a:cubicBezTo>
                  <a:cubicBezTo>
                    <a:pt x="237" y="43"/>
                    <a:pt x="237" y="42"/>
                    <a:pt x="238" y="42"/>
                  </a:cubicBezTo>
                  <a:cubicBezTo>
                    <a:pt x="237" y="41"/>
                    <a:pt x="236" y="41"/>
                    <a:pt x="235" y="40"/>
                  </a:cubicBezTo>
                  <a:cubicBezTo>
                    <a:pt x="236" y="39"/>
                    <a:pt x="237" y="39"/>
                    <a:pt x="239" y="39"/>
                  </a:cubicBezTo>
                  <a:cubicBezTo>
                    <a:pt x="240" y="39"/>
                    <a:pt x="241" y="39"/>
                    <a:pt x="242" y="39"/>
                  </a:cubicBezTo>
                  <a:cubicBezTo>
                    <a:pt x="243" y="39"/>
                    <a:pt x="244" y="39"/>
                    <a:pt x="245" y="39"/>
                  </a:cubicBezTo>
                  <a:cubicBezTo>
                    <a:pt x="246" y="39"/>
                    <a:pt x="247" y="39"/>
                    <a:pt x="247" y="39"/>
                  </a:cubicBezTo>
                  <a:cubicBezTo>
                    <a:pt x="252" y="37"/>
                    <a:pt x="256" y="36"/>
                    <a:pt x="260" y="35"/>
                  </a:cubicBezTo>
                  <a:cubicBezTo>
                    <a:pt x="250" y="35"/>
                    <a:pt x="241" y="35"/>
                    <a:pt x="231" y="35"/>
                  </a:cubicBezTo>
                  <a:cubicBezTo>
                    <a:pt x="228" y="35"/>
                    <a:pt x="224" y="37"/>
                    <a:pt x="220" y="37"/>
                  </a:cubicBezTo>
                  <a:cubicBezTo>
                    <a:pt x="218" y="37"/>
                    <a:pt x="216" y="36"/>
                    <a:pt x="215" y="35"/>
                  </a:cubicBezTo>
                  <a:cubicBezTo>
                    <a:pt x="215" y="37"/>
                    <a:pt x="213" y="37"/>
                    <a:pt x="211" y="37"/>
                  </a:cubicBezTo>
                  <a:cubicBezTo>
                    <a:pt x="210" y="37"/>
                    <a:pt x="209" y="37"/>
                    <a:pt x="209" y="37"/>
                  </a:cubicBezTo>
                  <a:cubicBezTo>
                    <a:pt x="208" y="37"/>
                    <a:pt x="205" y="36"/>
                    <a:pt x="205" y="36"/>
                  </a:cubicBezTo>
                  <a:cubicBezTo>
                    <a:pt x="203" y="37"/>
                    <a:pt x="206" y="39"/>
                    <a:pt x="207" y="39"/>
                  </a:cubicBezTo>
                  <a:cubicBezTo>
                    <a:pt x="208" y="40"/>
                    <a:pt x="209" y="40"/>
                    <a:pt x="210" y="40"/>
                  </a:cubicBezTo>
                  <a:cubicBezTo>
                    <a:pt x="211" y="40"/>
                    <a:pt x="212" y="40"/>
                    <a:pt x="212" y="40"/>
                  </a:cubicBezTo>
                  <a:cubicBezTo>
                    <a:pt x="213" y="39"/>
                    <a:pt x="214" y="39"/>
                    <a:pt x="214" y="39"/>
                  </a:cubicBezTo>
                  <a:cubicBezTo>
                    <a:pt x="216" y="39"/>
                    <a:pt x="217" y="40"/>
                    <a:pt x="218" y="40"/>
                  </a:cubicBezTo>
                  <a:cubicBezTo>
                    <a:pt x="211" y="41"/>
                    <a:pt x="206" y="43"/>
                    <a:pt x="199" y="45"/>
                  </a:cubicBezTo>
                  <a:cubicBezTo>
                    <a:pt x="196" y="46"/>
                    <a:pt x="193" y="48"/>
                    <a:pt x="191" y="49"/>
                  </a:cubicBezTo>
                  <a:cubicBezTo>
                    <a:pt x="190" y="50"/>
                    <a:pt x="190" y="50"/>
                    <a:pt x="189" y="50"/>
                  </a:cubicBezTo>
                  <a:cubicBezTo>
                    <a:pt x="187" y="50"/>
                    <a:pt x="183" y="49"/>
                    <a:pt x="182" y="49"/>
                  </a:cubicBezTo>
                  <a:cubicBezTo>
                    <a:pt x="178" y="48"/>
                    <a:pt x="173" y="48"/>
                    <a:pt x="169" y="46"/>
                  </a:cubicBezTo>
                  <a:cubicBezTo>
                    <a:pt x="166" y="45"/>
                    <a:pt x="163" y="41"/>
                    <a:pt x="164" y="38"/>
                  </a:cubicBezTo>
                  <a:cubicBezTo>
                    <a:pt x="161" y="37"/>
                    <a:pt x="159" y="37"/>
                    <a:pt x="156" y="37"/>
                  </a:cubicBezTo>
                  <a:cubicBezTo>
                    <a:pt x="154" y="37"/>
                    <a:pt x="152" y="37"/>
                    <a:pt x="149" y="37"/>
                  </a:cubicBezTo>
                  <a:cubicBezTo>
                    <a:pt x="149" y="38"/>
                    <a:pt x="150" y="39"/>
                    <a:pt x="150" y="40"/>
                  </a:cubicBezTo>
                  <a:cubicBezTo>
                    <a:pt x="150" y="43"/>
                    <a:pt x="147" y="46"/>
                    <a:pt x="143" y="46"/>
                  </a:cubicBezTo>
                  <a:cubicBezTo>
                    <a:pt x="140" y="46"/>
                    <a:pt x="137" y="43"/>
                    <a:pt x="137" y="40"/>
                  </a:cubicBezTo>
                  <a:cubicBezTo>
                    <a:pt x="137" y="39"/>
                    <a:pt x="137" y="39"/>
                    <a:pt x="137" y="38"/>
                  </a:cubicBezTo>
                  <a:cubicBezTo>
                    <a:pt x="134" y="39"/>
                    <a:pt x="131" y="39"/>
                    <a:pt x="127" y="39"/>
                  </a:cubicBezTo>
                  <a:cubicBezTo>
                    <a:pt x="125" y="40"/>
                    <a:pt x="124" y="40"/>
                    <a:pt x="122" y="40"/>
                  </a:cubicBezTo>
                  <a:cubicBezTo>
                    <a:pt x="121" y="40"/>
                    <a:pt x="120" y="40"/>
                    <a:pt x="118" y="39"/>
                  </a:cubicBezTo>
                  <a:cubicBezTo>
                    <a:pt x="114" y="38"/>
                    <a:pt x="112" y="39"/>
                    <a:pt x="112" y="34"/>
                  </a:cubicBezTo>
                  <a:cubicBezTo>
                    <a:pt x="111" y="32"/>
                    <a:pt x="111" y="27"/>
                    <a:pt x="109" y="25"/>
                  </a:cubicBezTo>
                  <a:cubicBezTo>
                    <a:pt x="107" y="24"/>
                    <a:pt x="104" y="20"/>
                    <a:pt x="101" y="20"/>
                  </a:cubicBezTo>
                  <a:cubicBezTo>
                    <a:pt x="97" y="19"/>
                    <a:pt x="93" y="18"/>
                    <a:pt x="89" y="17"/>
                  </a:cubicBezTo>
                  <a:cubicBezTo>
                    <a:pt x="86" y="17"/>
                    <a:pt x="83" y="17"/>
                    <a:pt x="81" y="16"/>
                  </a:cubicBezTo>
                  <a:cubicBezTo>
                    <a:pt x="79" y="15"/>
                    <a:pt x="78" y="15"/>
                    <a:pt x="77" y="12"/>
                  </a:cubicBezTo>
                  <a:cubicBezTo>
                    <a:pt x="77" y="10"/>
                    <a:pt x="76" y="8"/>
                    <a:pt x="76" y="6"/>
                  </a:cubicBezTo>
                  <a:cubicBezTo>
                    <a:pt x="75" y="3"/>
                    <a:pt x="73"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82" name="Freeform 253">
              <a:extLst>
                <a:ext uri="{FF2B5EF4-FFF2-40B4-BE49-F238E27FC236}">
                  <a16:creationId xmlns:a16="http://schemas.microsoft.com/office/drawing/2014/main" id="{B38E290E-C151-4CCA-9C52-83DC5D9EDAD0}"/>
                </a:ext>
              </a:extLst>
            </p:cNvPr>
            <p:cNvSpPr>
              <a:spLocks/>
            </p:cNvSpPr>
            <p:nvPr/>
          </p:nvSpPr>
          <p:spPr bwMode="auto">
            <a:xfrm>
              <a:off x="9073327" y="1358607"/>
              <a:ext cx="333296" cy="543725"/>
            </a:xfrm>
            <a:custGeom>
              <a:avLst/>
              <a:gdLst>
                <a:gd name="T0" fmla="*/ 29 w 100"/>
                <a:gd name="T1" fmla="*/ 7 h 163"/>
                <a:gd name="T2" fmla="*/ 18 w 100"/>
                <a:gd name="T3" fmla="*/ 14 h 163"/>
                <a:gd name="T4" fmla="*/ 15 w 100"/>
                <a:gd name="T5" fmla="*/ 19 h 163"/>
                <a:gd name="T6" fmla="*/ 16 w 100"/>
                <a:gd name="T7" fmla="*/ 24 h 163"/>
                <a:gd name="T8" fmla="*/ 23 w 100"/>
                <a:gd name="T9" fmla="*/ 28 h 163"/>
                <a:gd name="T10" fmla="*/ 21 w 100"/>
                <a:gd name="T11" fmla="*/ 34 h 163"/>
                <a:gd name="T12" fmla="*/ 13 w 100"/>
                <a:gd name="T13" fmla="*/ 38 h 163"/>
                <a:gd name="T14" fmla="*/ 8 w 100"/>
                <a:gd name="T15" fmla="*/ 38 h 163"/>
                <a:gd name="T16" fmla="*/ 5 w 100"/>
                <a:gd name="T17" fmla="*/ 40 h 163"/>
                <a:gd name="T18" fmla="*/ 4 w 100"/>
                <a:gd name="T19" fmla="*/ 42 h 163"/>
                <a:gd name="T20" fmla="*/ 5 w 100"/>
                <a:gd name="T21" fmla="*/ 47 h 163"/>
                <a:gd name="T22" fmla="*/ 0 w 100"/>
                <a:gd name="T23" fmla="*/ 55 h 163"/>
                <a:gd name="T24" fmla="*/ 9 w 100"/>
                <a:gd name="T25" fmla="*/ 66 h 163"/>
                <a:gd name="T26" fmla="*/ 13 w 100"/>
                <a:gd name="T27" fmla="*/ 69 h 163"/>
                <a:gd name="T28" fmla="*/ 15 w 100"/>
                <a:gd name="T29" fmla="*/ 69 h 163"/>
                <a:gd name="T30" fmla="*/ 18 w 100"/>
                <a:gd name="T31" fmla="*/ 69 h 163"/>
                <a:gd name="T32" fmla="*/ 21 w 100"/>
                <a:gd name="T33" fmla="*/ 69 h 163"/>
                <a:gd name="T34" fmla="*/ 23 w 100"/>
                <a:gd name="T35" fmla="*/ 69 h 163"/>
                <a:gd name="T36" fmla="*/ 26 w 100"/>
                <a:gd name="T37" fmla="*/ 70 h 163"/>
                <a:gd name="T38" fmla="*/ 29 w 100"/>
                <a:gd name="T39" fmla="*/ 72 h 163"/>
                <a:gd name="T40" fmla="*/ 38 w 100"/>
                <a:gd name="T41" fmla="*/ 92 h 163"/>
                <a:gd name="T42" fmla="*/ 42 w 100"/>
                <a:gd name="T43" fmla="*/ 101 h 163"/>
                <a:gd name="T44" fmla="*/ 32 w 100"/>
                <a:gd name="T45" fmla="*/ 132 h 163"/>
                <a:gd name="T46" fmla="*/ 38 w 100"/>
                <a:gd name="T47" fmla="*/ 148 h 163"/>
                <a:gd name="T48" fmla="*/ 49 w 100"/>
                <a:gd name="T49" fmla="*/ 159 h 163"/>
                <a:gd name="T50" fmla="*/ 57 w 100"/>
                <a:gd name="T51" fmla="*/ 162 h 163"/>
                <a:gd name="T52" fmla="*/ 58 w 100"/>
                <a:gd name="T53" fmla="*/ 158 h 163"/>
                <a:gd name="T54" fmla="*/ 86 w 100"/>
                <a:gd name="T55" fmla="*/ 148 h 163"/>
                <a:gd name="T56" fmla="*/ 97 w 100"/>
                <a:gd name="T57" fmla="*/ 144 h 163"/>
                <a:gd name="T58" fmla="*/ 100 w 100"/>
                <a:gd name="T59" fmla="*/ 145 h 163"/>
                <a:gd name="T60" fmla="*/ 98 w 100"/>
                <a:gd name="T61" fmla="*/ 142 h 163"/>
                <a:gd name="T62" fmla="*/ 90 w 100"/>
                <a:gd name="T63" fmla="*/ 129 h 163"/>
                <a:gd name="T64" fmla="*/ 88 w 100"/>
                <a:gd name="T65" fmla="*/ 118 h 163"/>
                <a:gd name="T66" fmla="*/ 81 w 100"/>
                <a:gd name="T67" fmla="*/ 116 h 163"/>
                <a:gd name="T68" fmla="*/ 72 w 100"/>
                <a:gd name="T69" fmla="*/ 93 h 163"/>
                <a:gd name="T70" fmla="*/ 73 w 100"/>
                <a:gd name="T71" fmla="*/ 90 h 163"/>
                <a:gd name="T72" fmla="*/ 74 w 100"/>
                <a:gd name="T73" fmla="*/ 86 h 163"/>
                <a:gd name="T74" fmla="*/ 76 w 100"/>
                <a:gd name="T75" fmla="*/ 79 h 163"/>
                <a:gd name="T76" fmla="*/ 86 w 100"/>
                <a:gd name="T77" fmla="*/ 74 h 163"/>
                <a:gd name="T78" fmla="*/ 88 w 100"/>
                <a:gd name="T79" fmla="*/ 73 h 163"/>
                <a:gd name="T80" fmla="*/ 89 w 100"/>
                <a:gd name="T81" fmla="*/ 67 h 163"/>
                <a:gd name="T82" fmla="*/ 91 w 100"/>
                <a:gd name="T83" fmla="*/ 57 h 163"/>
                <a:gd name="T84" fmla="*/ 92 w 100"/>
                <a:gd name="T85" fmla="*/ 55 h 163"/>
                <a:gd name="T86" fmla="*/ 86 w 100"/>
                <a:gd name="T87" fmla="*/ 48 h 163"/>
                <a:gd name="T88" fmla="*/ 68 w 100"/>
                <a:gd name="T89" fmla="*/ 33 h 163"/>
                <a:gd name="T90" fmla="*/ 63 w 100"/>
                <a:gd name="T91" fmla="*/ 28 h 163"/>
                <a:gd name="T92" fmla="*/ 34 w 100"/>
                <a:gd name="T9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0" h="163">
                  <a:moveTo>
                    <a:pt x="34" y="0"/>
                  </a:moveTo>
                  <a:cubicBezTo>
                    <a:pt x="35" y="1"/>
                    <a:pt x="34" y="2"/>
                    <a:pt x="34" y="3"/>
                  </a:cubicBezTo>
                  <a:cubicBezTo>
                    <a:pt x="33" y="5"/>
                    <a:pt x="31" y="6"/>
                    <a:pt x="29" y="7"/>
                  </a:cubicBezTo>
                  <a:cubicBezTo>
                    <a:pt x="28" y="8"/>
                    <a:pt x="28" y="8"/>
                    <a:pt x="27" y="9"/>
                  </a:cubicBezTo>
                  <a:cubicBezTo>
                    <a:pt x="25" y="11"/>
                    <a:pt x="22" y="12"/>
                    <a:pt x="19" y="14"/>
                  </a:cubicBezTo>
                  <a:cubicBezTo>
                    <a:pt x="18" y="14"/>
                    <a:pt x="18" y="14"/>
                    <a:pt x="18" y="14"/>
                  </a:cubicBezTo>
                  <a:cubicBezTo>
                    <a:pt x="17" y="15"/>
                    <a:pt x="17" y="15"/>
                    <a:pt x="17" y="16"/>
                  </a:cubicBezTo>
                  <a:cubicBezTo>
                    <a:pt x="16" y="17"/>
                    <a:pt x="16" y="17"/>
                    <a:pt x="15" y="18"/>
                  </a:cubicBezTo>
                  <a:cubicBezTo>
                    <a:pt x="15" y="19"/>
                    <a:pt x="15" y="19"/>
                    <a:pt x="15" y="19"/>
                  </a:cubicBezTo>
                  <a:cubicBezTo>
                    <a:pt x="15" y="20"/>
                    <a:pt x="15" y="20"/>
                    <a:pt x="15" y="20"/>
                  </a:cubicBezTo>
                  <a:cubicBezTo>
                    <a:pt x="15" y="21"/>
                    <a:pt x="16" y="22"/>
                    <a:pt x="16" y="23"/>
                  </a:cubicBezTo>
                  <a:cubicBezTo>
                    <a:pt x="16" y="24"/>
                    <a:pt x="16" y="24"/>
                    <a:pt x="16" y="24"/>
                  </a:cubicBezTo>
                  <a:cubicBezTo>
                    <a:pt x="17" y="24"/>
                    <a:pt x="17" y="24"/>
                    <a:pt x="17" y="24"/>
                  </a:cubicBezTo>
                  <a:cubicBezTo>
                    <a:pt x="19" y="24"/>
                    <a:pt x="22" y="24"/>
                    <a:pt x="23" y="27"/>
                  </a:cubicBezTo>
                  <a:cubicBezTo>
                    <a:pt x="23" y="27"/>
                    <a:pt x="23" y="28"/>
                    <a:pt x="23" y="28"/>
                  </a:cubicBezTo>
                  <a:cubicBezTo>
                    <a:pt x="23" y="29"/>
                    <a:pt x="23" y="29"/>
                    <a:pt x="23" y="29"/>
                  </a:cubicBezTo>
                  <a:cubicBezTo>
                    <a:pt x="23" y="30"/>
                    <a:pt x="23" y="32"/>
                    <a:pt x="21" y="34"/>
                  </a:cubicBezTo>
                  <a:cubicBezTo>
                    <a:pt x="21" y="34"/>
                    <a:pt x="21" y="34"/>
                    <a:pt x="21" y="34"/>
                  </a:cubicBezTo>
                  <a:cubicBezTo>
                    <a:pt x="19" y="35"/>
                    <a:pt x="18" y="36"/>
                    <a:pt x="17" y="36"/>
                  </a:cubicBezTo>
                  <a:cubicBezTo>
                    <a:pt x="16" y="37"/>
                    <a:pt x="16" y="37"/>
                    <a:pt x="16" y="37"/>
                  </a:cubicBezTo>
                  <a:cubicBezTo>
                    <a:pt x="15" y="37"/>
                    <a:pt x="14" y="38"/>
                    <a:pt x="13" y="38"/>
                  </a:cubicBezTo>
                  <a:cubicBezTo>
                    <a:pt x="13" y="38"/>
                    <a:pt x="12" y="39"/>
                    <a:pt x="11" y="39"/>
                  </a:cubicBezTo>
                  <a:cubicBezTo>
                    <a:pt x="11" y="39"/>
                    <a:pt x="11" y="39"/>
                    <a:pt x="11" y="39"/>
                  </a:cubicBezTo>
                  <a:cubicBezTo>
                    <a:pt x="10" y="39"/>
                    <a:pt x="9" y="39"/>
                    <a:pt x="8" y="38"/>
                  </a:cubicBezTo>
                  <a:cubicBezTo>
                    <a:pt x="8" y="38"/>
                    <a:pt x="8" y="38"/>
                    <a:pt x="8" y="38"/>
                  </a:cubicBezTo>
                  <a:cubicBezTo>
                    <a:pt x="6" y="39"/>
                    <a:pt x="6" y="39"/>
                    <a:pt x="6" y="39"/>
                  </a:cubicBezTo>
                  <a:cubicBezTo>
                    <a:pt x="6" y="39"/>
                    <a:pt x="6" y="39"/>
                    <a:pt x="5" y="40"/>
                  </a:cubicBezTo>
                  <a:cubicBezTo>
                    <a:pt x="5" y="40"/>
                    <a:pt x="5" y="40"/>
                    <a:pt x="4" y="40"/>
                  </a:cubicBezTo>
                  <a:cubicBezTo>
                    <a:pt x="4" y="41"/>
                    <a:pt x="4" y="41"/>
                    <a:pt x="4" y="42"/>
                  </a:cubicBezTo>
                  <a:cubicBezTo>
                    <a:pt x="4" y="42"/>
                    <a:pt x="4" y="42"/>
                    <a:pt x="4" y="42"/>
                  </a:cubicBezTo>
                  <a:cubicBezTo>
                    <a:pt x="4" y="43"/>
                    <a:pt x="4" y="43"/>
                    <a:pt x="4" y="44"/>
                  </a:cubicBezTo>
                  <a:cubicBezTo>
                    <a:pt x="4" y="45"/>
                    <a:pt x="4" y="45"/>
                    <a:pt x="4" y="46"/>
                  </a:cubicBezTo>
                  <a:cubicBezTo>
                    <a:pt x="4" y="46"/>
                    <a:pt x="5" y="47"/>
                    <a:pt x="5" y="47"/>
                  </a:cubicBezTo>
                  <a:cubicBezTo>
                    <a:pt x="5" y="48"/>
                    <a:pt x="5" y="49"/>
                    <a:pt x="4" y="51"/>
                  </a:cubicBezTo>
                  <a:cubicBezTo>
                    <a:pt x="4" y="52"/>
                    <a:pt x="2" y="53"/>
                    <a:pt x="1" y="54"/>
                  </a:cubicBezTo>
                  <a:cubicBezTo>
                    <a:pt x="0" y="55"/>
                    <a:pt x="0" y="55"/>
                    <a:pt x="0" y="55"/>
                  </a:cubicBezTo>
                  <a:cubicBezTo>
                    <a:pt x="0" y="55"/>
                    <a:pt x="0" y="55"/>
                    <a:pt x="0" y="55"/>
                  </a:cubicBezTo>
                  <a:cubicBezTo>
                    <a:pt x="8" y="65"/>
                    <a:pt x="8" y="65"/>
                    <a:pt x="8" y="65"/>
                  </a:cubicBezTo>
                  <a:cubicBezTo>
                    <a:pt x="9" y="66"/>
                    <a:pt x="9" y="66"/>
                    <a:pt x="9" y="66"/>
                  </a:cubicBezTo>
                  <a:cubicBezTo>
                    <a:pt x="9" y="66"/>
                    <a:pt x="9" y="66"/>
                    <a:pt x="9" y="66"/>
                  </a:cubicBezTo>
                  <a:cubicBezTo>
                    <a:pt x="10" y="67"/>
                    <a:pt x="11" y="68"/>
                    <a:pt x="12" y="69"/>
                  </a:cubicBezTo>
                  <a:cubicBezTo>
                    <a:pt x="13" y="69"/>
                    <a:pt x="13" y="69"/>
                    <a:pt x="13" y="69"/>
                  </a:cubicBezTo>
                  <a:cubicBezTo>
                    <a:pt x="13" y="69"/>
                    <a:pt x="13" y="69"/>
                    <a:pt x="13" y="69"/>
                  </a:cubicBezTo>
                  <a:cubicBezTo>
                    <a:pt x="14" y="69"/>
                    <a:pt x="14" y="69"/>
                    <a:pt x="14" y="69"/>
                  </a:cubicBezTo>
                  <a:cubicBezTo>
                    <a:pt x="14" y="69"/>
                    <a:pt x="14" y="69"/>
                    <a:pt x="15" y="69"/>
                  </a:cubicBezTo>
                  <a:cubicBezTo>
                    <a:pt x="16" y="69"/>
                    <a:pt x="16" y="69"/>
                    <a:pt x="16" y="69"/>
                  </a:cubicBezTo>
                  <a:cubicBezTo>
                    <a:pt x="16" y="69"/>
                    <a:pt x="16" y="69"/>
                    <a:pt x="17" y="69"/>
                  </a:cubicBezTo>
                  <a:cubicBezTo>
                    <a:pt x="18" y="69"/>
                    <a:pt x="18" y="69"/>
                    <a:pt x="18" y="69"/>
                  </a:cubicBezTo>
                  <a:cubicBezTo>
                    <a:pt x="18" y="69"/>
                    <a:pt x="19" y="69"/>
                    <a:pt x="20" y="69"/>
                  </a:cubicBezTo>
                  <a:cubicBezTo>
                    <a:pt x="20" y="69"/>
                    <a:pt x="20" y="69"/>
                    <a:pt x="20" y="69"/>
                  </a:cubicBezTo>
                  <a:cubicBezTo>
                    <a:pt x="21" y="69"/>
                    <a:pt x="21" y="69"/>
                    <a:pt x="21" y="69"/>
                  </a:cubicBezTo>
                  <a:cubicBezTo>
                    <a:pt x="21" y="69"/>
                    <a:pt x="21" y="69"/>
                    <a:pt x="21" y="69"/>
                  </a:cubicBezTo>
                  <a:cubicBezTo>
                    <a:pt x="21" y="69"/>
                    <a:pt x="21" y="69"/>
                    <a:pt x="22" y="69"/>
                  </a:cubicBezTo>
                  <a:cubicBezTo>
                    <a:pt x="22" y="69"/>
                    <a:pt x="23" y="69"/>
                    <a:pt x="23" y="69"/>
                  </a:cubicBezTo>
                  <a:cubicBezTo>
                    <a:pt x="24" y="69"/>
                    <a:pt x="24" y="69"/>
                    <a:pt x="24" y="69"/>
                  </a:cubicBezTo>
                  <a:cubicBezTo>
                    <a:pt x="24" y="69"/>
                    <a:pt x="24" y="69"/>
                    <a:pt x="24" y="69"/>
                  </a:cubicBezTo>
                  <a:cubicBezTo>
                    <a:pt x="25" y="69"/>
                    <a:pt x="25" y="70"/>
                    <a:pt x="26" y="70"/>
                  </a:cubicBezTo>
                  <a:cubicBezTo>
                    <a:pt x="26" y="70"/>
                    <a:pt x="26" y="70"/>
                    <a:pt x="26" y="70"/>
                  </a:cubicBezTo>
                  <a:cubicBezTo>
                    <a:pt x="27" y="70"/>
                    <a:pt x="27" y="70"/>
                    <a:pt x="27" y="70"/>
                  </a:cubicBezTo>
                  <a:cubicBezTo>
                    <a:pt x="28" y="71"/>
                    <a:pt x="28" y="71"/>
                    <a:pt x="29" y="72"/>
                  </a:cubicBezTo>
                  <a:cubicBezTo>
                    <a:pt x="31" y="75"/>
                    <a:pt x="31" y="80"/>
                    <a:pt x="29" y="86"/>
                  </a:cubicBezTo>
                  <a:cubicBezTo>
                    <a:pt x="33" y="86"/>
                    <a:pt x="38" y="88"/>
                    <a:pt x="38" y="92"/>
                  </a:cubicBezTo>
                  <a:cubicBezTo>
                    <a:pt x="38" y="92"/>
                    <a:pt x="38" y="92"/>
                    <a:pt x="38" y="92"/>
                  </a:cubicBezTo>
                  <a:cubicBezTo>
                    <a:pt x="37" y="93"/>
                    <a:pt x="37" y="93"/>
                    <a:pt x="37" y="93"/>
                  </a:cubicBezTo>
                  <a:cubicBezTo>
                    <a:pt x="37" y="94"/>
                    <a:pt x="38" y="97"/>
                    <a:pt x="41" y="100"/>
                  </a:cubicBezTo>
                  <a:cubicBezTo>
                    <a:pt x="42" y="101"/>
                    <a:pt x="42" y="101"/>
                    <a:pt x="42" y="101"/>
                  </a:cubicBezTo>
                  <a:cubicBezTo>
                    <a:pt x="42" y="103"/>
                    <a:pt x="42" y="103"/>
                    <a:pt x="42" y="103"/>
                  </a:cubicBezTo>
                  <a:cubicBezTo>
                    <a:pt x="41" y="106"/>
                    <a:pt x="39" y="108"/>
                    <a:pt x="38" y="109"/>
                  </a:cubicBezTo>
                  <a:cubicBezTo>
                    <a:pt x="36" y="112"/>
                    <a:pt x="29" y="129"/>
                    <a:pt x="32" y="132"/>
                  </a:cubicBezTo>
                  <a:cubicBezTo>
                    <a:pt x="32" y="133"/>
                    <a:pt x="32" y="133"/>
                    <a:pt x="32" y="133"/>
                  </a:cubicBezTo>
                  <a:cubicBezTo>
                    <a:pt x="32" y="134"/>
                    <a:pt x="33" y="135"/>
                    <a:pt x="33" y="136"/>
                  </a:cubicBezTo>
                  <a:cubicBezTo>
                    <a:pt x="35" y="137"/>
                    <a:pt x="38" y="141"/>
                    <a:pt x="38" y="148"/>
                  </a:cubicBezTo>
                  <a:cubicBezTo>
                    <a:pt x="38" y="150"/>
                    <a:pt x="41" y="153"/>
                    <a:pt x="43" y="154"/>
                  </a:cubicBezTo>
                  <a:cubicBezTo>
                    <a:pt x="43" y="155"/>
                    <a:pt x="43" y="155"/>
                    <a:pt x="44" y="156"/>
                  </a:cubicBezTo>
                  <a:cubicBezTo>
                    <a:pt x="45" y="157"/>
                    <a:pt x="47" y="159"/>
                    <a:pt x="49" y="159"/>
                  </a:cubicBezTo>
                  <a:cubicBezTo>
                    <a:pt x="52" y="159"/>
                    <a:pt x="54" y="161"/>
                    <a:pt x="55" y="162"/>
                  </a:cubicBezTo>
                  <a:cubicBezTo>
                    <a:pt x="55" y="162"/>
                    <a:pt x="56" y="163"/>
                    <a:pt x="56" y="163"/>
                  </a:cubicBezTo>
                  <a:cubicBezTo>
                    <a:pt x="57" y="163"/>
                    <a:pt x="57" y="162"/>
                    <a:pt x="57" y="162"/>
                  </a:cubicBezTo>
                  <a:cubicBezTo>
                    <a:pt x="59" y="162"/>
                    <a:pt x="60" y="161"/>
                    <a:pt x="60" y="161"/>
                  </a:cubicBezTo>
                  <a:cubicBezTo>
                    <a:pt x="60" y="161"/>
                    <a:pt x="60" y="161"/>
                    <a:pt x="60" y="161"/>
                  </a:cubicBezTo>
                  <a:cubicBezTo>
                    <a:pt x="58" y="158"/>
                    <a:pt x="58" y="158"/>
                    <a:pt x="58" y="158"/>
                  </a:cubicBezTo>
                  <a:cubicBezTo>
                    <a:pt x="62" y="157"/>
                    <a:pt x="62" y="157"/>
                    <a:pt x="62" y="157"/>
                  </a:cubicBezTo>
                  <a:cubicBezTo>
                    <a:pt x="77" y="153"/>
                    <a:pt x="81" y="152"/>
                    <a:pt x="81" y="152"/>
                  </a:cubicBezTo>
                  <a:cubicBezTo>
                    <a:pt x="82" y="152"/>
                    <a:pt x="84" y="151"/>
                    <a:pt x="86" y="148"/>
                  </a:cubicBezTo>
                  <a:cubicBezTo>
                    <a:pt x="88" y="145"/>
                    <a:pt x="92" y="143"/>
                    <a:pt x="94" y="143"/>
                  </a:cubicBezTo>
                  <a:cubicBezTo>
                    <a:pt x="94" y="143"/>
                    <a:pt x="94" y="143"/>
                    <a:pt x="95" y="143"/>
                  </a:cubicBezTo>
                  <a:cubicBezTo>
                    <a:pt x="95" y="143"/>
                    <a:pt x="96" y="144"/>
                    <a:pt x="97" y="144"/>
                  </a:cubicBezTo>
                  <a:cubicBezTo>
                    <a:pt x="98" y="144"/>
                    <a:pt x="98" y="145"/>
                    <a:pt x="99" y="145"/>
                  </a:cubicBezTo>
                  <a:cubicBezTo>
                    <a:pt x="99" y="145"/>
                    <a:pt x="99" y="145"/>
                    <a:pt x="99" y="145"/>
                  </a:cubicBezTo>
                  <a:cubicBezTo>
                    <a:pt x="100" y="145"/>
                    <a:pt x="100" y="145"/>
                    <a:pt x="100" y="145"/>
                  </a:cubicBezTo>
                  <a:cubicBezTo>
                    <a:pt x="100" y="144"/>
                    <a:pt x="100" y="144"/>
                    <a:pt x="100" y="144"/>
                  </a:cubicBezTo>
                  <a:cubicBezTo>
                    <a:pt x="99" y="144"/>
                    <a:pt x="99" y="144"/>
                    <a:pt x="99" y="143"/>
                  </a:cubicBezTo>
                  <a:cubicBezTo>
                    <a:pt x="98" y="142"/>
                    <a:pt x="98" y="142"/>
                    <a:pt x="98" y="142"/>
                  </a:cubicBezTo>
                  <a:cubicBezTo>
                    <a:pt x="96" y="139"/>
                    <a:pt x="95" y="136"/>
                    <a:pt x="93" y="133"/>
                  </a:cubicBezTo>
                  <a:cubicBezTo>
                    <a:pt x="91" y="131"/>
                    <a:pt x="91" y="131"/>
                    <a:pt x="91" y="131"/>
                  </a:cubicBezTo>
                  <a:cubicBezTo>
                    <a:pt x="91" y="130"/>
                    <a:pt x="91" y="130"/>
                    <a:pt x="90" y="129"/>
                  </a:cubicBezTo>
                  <a:cubicBezTo>
                    <a:pt x="90" y="128"/>
                    <a:pt x="90" y="127"/>
                    <a:pt x="90" y="126"/>
                  </a:cubicBezTo>
                  <a:cubicBezTo>
                    <a:pt x="90" y="126"/>
                    <a:pt x="90" y="125"/>
                    <a:pt x="90" y="125"/>
                  </a:cubicBezTo>
                  <a:cubicBezTo>
                    <a:pt x="89" y="123"/>
                    <a:pt x="89" y="121"/>
                    <a:pt x="88" y="118"/>
                  </a:cubicBezTo>
                  <a:cubicBezTo>
                    <a:pt x="88" y="119"/>
                    <a:pt x="87" y="119"/>
                    <a:pt x="87" y="119"/>
                  </a:cubicBezTo>
                  <a:cubicBezTo>
                    <a:pt x="85" y="119"/>
                    <a:pt x="83" y="118"/>
                    <a:pt x="81" y="117"/>
                  </a:cubicBezTo>
                  <a:cubicBezTo>
                    <a:pt x="81" y="116"/>
                    <a:pt x="81" y="116"/>
                    <a:pt x="81" y="116"/>
                  </a:cubicBezTo>
                  <a:cubicBezTo>
                    <a:pt x="78" y="115"/>
                    <a:pt x="77" y="112"/>
                    <a:pt x="75" y="109"/>
                  </a:cubicBezTo>
                  <a:cubicBezTo>
                    <a:pt x="72" y="104"/>
                    <a:pt x="69" y="99"/>
                    <a:pt x="70" y="96"/>
                  </a:cubicBezTo>
                  <a:cubicBezTo>
                    <a:pt x="70" y="94"/>
                    <a:pt x="72" y="93"/>
                    <a:pt x="72" y="93"/>
                  </a:cubicBezTo>
                  <a:cubicBezTo>
                    <a:pt x="73" y="92"/>
                    <a:pt x="73" y="92"/>
                    <a:pt x="73" y="92"/>
                  </a:cubicBezTo>
                  <a:cubicBezTo>
                    <a:pt x="73" y="92"/>
                    <a:pt x="73" y="92"/>
                    <a:pt x="73" y="92"/>
                  </a:cubicBezTo>
                  <a:cubicBezTo>
                    <a:pt x="73" y="92"/>
                    <a:pt x="73" y="91"/>
                    <a:pt x="73" y="90"/>
                  </a:cubicBezTo>
                  <a:cubicBezTo>
                    <a:pt x="73" y="89"/>
                    <a:pt x="73" y="89"/>
                    <a:pt x="73" y="89"/>
                  </a:cubicBezTo>
                  <a:cubicBezTo>
                    <a:pt x="73" y="88"/>
                    <a:pt x="74" y="87"/>
                    <a:pt x="74" y="87"/>
                  </a:cubicBezTo>
                  <a:cubicBezTo>
                    <a:pt x="74" y="86"/>
                    <a:pt x="74" y="86"/>
                    <a:pt x="74" y="86"/>
                  </a:cubicBezTo>
                  <a:cubicBezTo>
                    <a:pt x="74" y="85"/>
                    <a:pt x="75" y="84"/>
                    <a:pt x="75" y="82"/>
                  </a:cubicBezTo>
                  <a:cubicBezTo>
                    <a:pt x="75" y="80"/>
                    <a:pt x="75" y="80"/>
                    <a:pt x="75" y="80"/>
                  </a:cubicBezTo>
                  <a:cubicBezTo>
                    <a:pt x="75" y="80"/>
                    <a:pt x="75" y="79"/>
                    <a:pt x="76" y="79"/>
                  </a:cubicBezTo>
                  <a:cubicBezTo>
                    <a:pt x="76" y="77"/>
                    <a:pt x="78" y="75"/>
                    <a:pt x="81" y="74"/>
                  </a:cubicBezTo>
                  <a:cubicBezTo>
                    <a:pt x="81" y="74"/>
                    <a:pt x="82" y="74"/>
                    <a:pt x="83" y="74"/>
                  </a:cubicBezTo>
                  <a:cubicBezTo>
                    <a:pt x="84" y="74"/>
                    <a:pt x="85" y="74"/>
                    <a:pt x="86" y="74"/>
                  </a:cubicBezTo>
                  <a:cubicBezTo>
                    <a:pt x="86" y="74"/>
                    <a:pt x="87" y="74"/>
                    <a:pt x="87" y="74"/>
                  </a:cubicBezTo>
                  <a:cubicBezTo>
                    <a:pt x="88" y="74"/>
                    <a:pt x="88" y="74"/>
                    <a:pt x="88" y="74"/>
                  </a:cubicBezTo>
                  <a:cubicBezTo>
                    <a:pt x="88" y="74"/>
                    <a:pt x="88" y="73"/>
                    <a:pt x="88" y="73"/>
                  </a:cubicBezTo>
                  <a:cubicBezTo>
                    <a:pt x="88" y="72"/>
                    <a:pt x="88" y="72"/>
                    <a:pt x="88" y="72"/>
                  </a:cubicBezTo>
                  <a:cubicBezTo>
                    <a:pt x="89" y="71"/>
                    <a:pt x="89" y="69"/>
                    <a:pt x="89" y="68"/>
                  </a:cubicBezTo>
                  <a:cubicBezTo>
                    <a:pt x="89" y="67"/>
                    <a:pt x="89" y="67"/>
                    <a:pt x="89" y="67"/>
                  </a:cubicBezTo>
                  <a:cubicBezTo>
                    <a:pt x="89" y="65"/>
                    <a:pt x="89" y="62"/>
                    <a:pt x="90" y="60"/>
                  </a:cubicBezTo>
                  <a:cubicBezTo>
                    <a:pt x="90" y="59"/>
                    <a:pt x="91" y="58"/>
                    <a:pt x="91" y="58"/>
                  </a:cubicBezTo>
                  <a:cubicBezTo>
                    <a:pt x="91" y="57"/>
                    <a:pt x="91" y="57"/>
                    <a:pt x="91" y="57"/>
                  </a:cubicBezTo>
                  <a:cubicBezTo>
                    <a:pt x="92" y="56"/>
                    <a:pt x="92" y="56"/>
                    <a:pt x="92" y="56"/>
                  </a:cubicBezTo>
                  <a:cubicBezTo>
                    <a:pt x="92" y="56"/>
                    <a:pt x="92" y="56"/>
                    <a:pt x="92" y="56"/>
                  </a:cubicBezTo>
                  <a:cubicBezTo>
                    <a:pt x="92" y="55"/>
                    <a:pt x="92" y="55"/>
                    <a:pt x="92" y="55"/>
                  </a:cubicBezTo>
                  <a:cubicBezTo>
                    <a:pt x="94" y="55"/>
                    <a:pt x="94" y="55"/>
                    <a:pt x="94" y="55"/>
                  </a:cubicBezTo>
                  <a:cubicBezTo>
                    <a:pt x="93" y="53"/>
                    <a:pt x="92" y="50"/>
                    <a:pt x="91" y="49"/>
                  </a:cubicBezTo>
                  <a:cubicBezTo>
                    <a:pt x="90" y="48"/>
                    <a:pt x="87" y="48"/>
                    <a:pt x="86" y="48"/>
                  </a:cubicBezTo>
                  <a:cubicBezTo>
                    <a:pt x="85" y="47"/>
                    <a:pt x="84" y="46"/>
                    <a:pt x="83" y="45"/>
                  </a:cubicBezTo>
                  <a:cubicBezTo>
                    <a:pt x="81" y="42"/>
                    <a:pt x="79" y="40"/>
                    <a:pt x="76" y="37"/>
                  </a:cubicBezTo>
                  <a:cubicBezTo>
                    <a:pt x="73" y="35"/>
                    <a:pt x="71" y="35"/>
                    <a:pt x="68" y="33"/>
                  </a:cubicBezTo>
                  <a:cubicBezTo>
                    <a:pt x="67" y="33"/>
                    <a:pt x="67" y="33"/>
                    <a:pt x="66" y="33"/>
                  </a:cubicBezTo>
                  <a:cubicBezTo>
                    <a:pt x="63" y="33"/>
                    <a:pt x="61" y="42"/>
                    <a:pt x="60" y="44"/>
                  </a:cubicBezTo>
                  <a:cubicBezTo>
                    <a:pt x="58" y="39"/>
                    <a:pt x="63" y="33"/>
                    <a:pt x="63" y="28"/>
                  </a:cubicBezTo>
                  <a:cubicBezTo>
                    <a:pt x="63" y="21"/>
                    <a:pt x="59" y="17"/>
                    <a:pt x="55" y="13"/>
                  </a:cubicBezTo>
                  <a:cubicBezTo>
                    <a:pt x="51" y="9"/>
                    <a:pt x="49" y="7"/>
                    <a:pt x="44" y="5"/>
                  </a:cubicBezTo>
                  <a:cubicBezTo>
                    <a:pt x="41" y="3"/>
                    <a:pt x="37" y="1"/>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83" name="Freeform 254">
              <a:extLst>
                <a:ext uri="{FF2B5EF4-FFF2-40B4-BE49-F238E27FC236}">
                  <a16:creationId xmlns:a16="http://schemas.microsoft.com/office/drawing/2014/main" id="{99301583-8B3F-4B1F-A392-79D8025D13CC}"/>
                </a:ext>
              </a:extLst>
            </p:cNvPr>
            <p:cNvSpPr>
              <a:spLocks/>
            </p:cNvSpPr>
            <p:nvPr/>
          </p:nvSpPr>
          <p:spPr bwMode="auto">
            <a:xfrm>
              <a:off x="9323299" y="1539378"/>
              <a:ext cx="296577" cy="310700"/>
            </a:xfrm>
            <a:custGeom>
              <a:avLst/>
              <a:gdLst>
                <a:gd name="T0" fmla="*/ 65 w 89"/>
                <a:gd name="T1" fmla="*/ 1 h 93"/>
                <a:gd name="T2" fmla="*/ 52 w 89"/>
                <a:gd name="T3" fmla="*/ 1 h 93"/>
                <a:gd name="T4" fmla="*/ 48 w 89"/>
                <a:gd name="T5" fmla="*/ 2 h 93"/>
                <a:gd name="T6" fmla="*/ 29 w 89"/>
                <a:gd name="T7" fmla="*/ 1 h 93"/>
                <a:gd name="T8" fmla="*/ 21 w 89"/>
                <a:gd name="T9" fmla="*/ 1 h 93"/>
                <a:gd name="T10" fmla="*/ 23 w 89"/>
                <a:gd name="T11" fmla="*/ 2 h 93"/>
                <a:gd name="T12" fmla="*/ 21 w 89"/>
                <a:gd name="T13" fmla="*/ 6 h 93"/>
                <a:gd name="T14" fmla="*/ 21 w 89"/>
                <a:gd name="T15" fmla="*/ 8 h 93"/>
                <a:gd name="T16" fmla="*/ 20 w 89"/>
                <a:gd name="T17" fmla="*/ 14 h 93"/>
                <a:gd name="T18" fmla="*/ 19 w 89"/>
                <a:gd name="T19" fmla="*/ 19 h 93"/>
                <a:gd name="T20" fmla="*/ 19 w 89"/>
                <a:gd name="T21" fmla="*/ 22 h 93"/>
                <a:gd name="T22" fmla="*/ 18 w 89"/>
                <a:gd name="T23" fmla="*/ 24 h 93"/>
                <a:gd name="T24" fmla="*/ 13 w 89"/>
                <a:gd name="T25" fmla="*/ 26 h 93"/>
                <a:gd name="T26" fmla="*/ 8 w 89"/>
                <a:gd name="T27" fmla="*/ 26 h 93"/>
                <a:gd name="T28" fmla="*/ 6 w 89"/>
                <a:gd name="T29" fmla="*/ 27 h 93"/>
                <a:gd name="T30" fmla="*/ 4 w 89"/>
                <a:gd name="T31" fmla="*/ 34 h 93"/>
                <a:gd name="T32" fmla="*/ 3 w 89"/>
                <a:gd name="T33" fmla="*/ 38 h 93"/>
                <a:gd name="T34" fmla="*/ 2 w 89"/>
                <a:gd name="T35" fmla="*/ 42 h 93"/>
                <a:gd name="T36" fmla="*/ 1 w 89"/>
                <a:gd name="T37" fmla="*/ 43 h 93"/>
                <a:gd name="T38" fmla="*/ 0 w 89"/>
                <a:gd name="T39" fmla="*/ 43 h 93"/>
                <a:gd name="T40" fmla="*/ 9 w 89"/>
                <a:gd name="T41" fmla="*/ 58 h 93"/>
                <a:gd name="T42" fmla="*/ 12 w 89"/>
                <a:gd name="T43" fmla="*/ 59 h 93"/>
                <a:gd name="T44" fmla="*/ 17 w 89"/>
                <a:gd name="T45" fmla="*/ 57 h 93"/>
                <a:gd name="T46" fmla="*/ 20 w 89"/>
                <a:gd name="T47" fmla="*/ 70 h 93"/>
                <a:gd name="T48" fmla="*/ 21 w 89"/>
                <a:gd name="T49" fmla="*/ 73 h 93"/>
                <a:gd name="T50" fmla="*/ 23 w 89"/>
                <a:gd name="T51" fmla="*/ 76 h 93"/>
                <a:gd name="T52" fmla="*/ 29 w 89"/>
                <a:gd name="T53" fmla="*/ 86 h 93"/>
                <a:gd name="T54" fmla="*/ 30 w 89"/>
                <a:gd name="T55" fmla="*/ 87 h 93"/>
                <a:gd name="T56" fmla="*/ 30 w 89"/>
                <a:gd name="T57" fmla="*/ 88 h 93"/>
                <a:gd name="T58" fmla="*/ 34 w 89"/>
                <a:gd name="T59" fmla="*/ 91 h 93"/>
                <a:gd name="T60" fmla="*/ 41 w 89"/>
                <a:gd name="T61" fmla="*/ 92 h 93"/>
                <a:gd name="T62" fmla="*/ 45 w 89"/>
                <a:gd name="T63" fmla="*/ 93 h 93"/>
                <a:gd name="T64" fmla="*/ 44 w 89"/>
                <a:gd name="T65" fmla="*/ 91 h 93"/>
                <a:gd name="T66" fmla="*/ 44 w 89"/>
                <a:gd name="T67" fmla="*/ 79 h 93"/>
                <a:gd name="T68" fmla="*/ 49 w 89"/>
                <a:gd name="T69" fmla="*/ 79 h 93"/>
                <a:gd name="T70" fmla="*/ 58 w 89"/>
                <a:gd name="T71" fmla="*/ 80 h 93"/>
                <a:gd name="T72" fmla="*/ 62 w 89"/>
                <a:gd name="T73" fmla="*/ 78 h 93"/>
                <a:gd name="T74" fmla="*/ 67 w 89"/>
                <a:gd name="T75" fmla="*/ 76 h 93"/>
                <a:gd name="T76" fmla="*/ 72 w 89"/>
                <a:gd name="T77" fmla="*/ 78 h 93"/>
                <a:gd name="T78" fmla="*/ 75 w 89"/>
                <a:gd name="T79" fmla="*/ 79 h 93"/>
                <a:gd name="T80" fmla="*/ 78 w 89"/>
                <a:gd name="T81" fmla="*/ 81 h 93"/>
                <a:gd name="T82" fmla="*/ 82 w 89"/>
                <a:gd name="T83" fmla="*/ 77 h 93"/>
                <a:gd name="T84" fmla="*/ 85 w 89"/>
                <a:gd name="T85" fmla="*/ 73 h 93"/>
                <a:gd name="T86" fmla="*/ 86 w 89"/>
                <a:gd name="T87" fmla="*/ 68 h 93"/>
                <a:gd name="T88" fmla="*/ 88 w 89"/>
                <a:gd name="T89" fmla="*/ 67 h 93"/>
                <a:gd name="T90" fmla="*/ 87 w 89"/>
                <a:gd name="T91" fmla="*/ 66 h 93"/>
                <a:gd name="T92" fmla="*/ 89 w 89"/>
                <a:gd name="T93" fmla="*/ 57 h 93"/>
                <a:gd name="T94" fmla="*/ 89 w 89"/>
                <a:gd name="T95" fmla="*/ 56 h 93"/>
                <a:gd name="T96" fmla="*/ 88 w 89"/>
                <a:gd name="T97" fmla="*/ 55 h 93"/>
                <a:gd name="T98" fmla="*/ 86 w 89"/>
                <a:gd name="T99" fmla="*/ 51 h 93"/>
                <a:gd name="T100" fmla="*/ 78 w 89"/>
                <a:gd name="T101" fmla="*/ 30 h 93"/>
                <a:gd name="T102" fmla="*/ 82 w 89"/>
                <a:gd name="T103" fmla="*/ 17 h 93"/>
                <a:gd name="T104" fmla="*/ 87 w 89"/>
                <a:gd name="T105" fmla="*/ 9 h 93"/>
                <a:gd name="T106" fmla="*/ 89 w 89"/>
                <a:gd name="T107" fmla="*/ 3 h 93"/>
                <a:gd name="T108" fmla="*/ 82 w 89"/>
                <a:gd name="T109" fmla="*/ 2 h 93"/>
                <a:gd name="T110" fmla="*/ 67 w 89"/>
                <a:gd name="T111"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 h="93">
                  <a:moveTo>
                    <a:pt x="67" y="0"/>
                  </a:moveTo>
                  <a:cubicBezTo>
                    <a:pt x="66" y="0"/>
                    <a:pt x="65" y="0"/>
                    <a:pt x="65" y="1"/>
                  </a:cubicBezTo>
                  <a:cubicBezTo>
                    <a:pt x="66" y="4"/>
                    <a:pt x="66" y="4"/>
                    <a:pt x="66" y="4"/>
                  </a:cubicBezTo>
                  <a:cubicBezTo>
                    <a:pt x="62" y="1"/>
                    <a:pt x="57" y="1"/>
                    <a:pt x="52" y="1"/>
                  </a:cubicBezTo>
                  <a:cubicBezTo>
                    <a:pt x="51" y="1"/>
                    <a:pt x="51" y="1"/>
                    <a:pt x="50" y="1"/>
                  </a:cubicBezTo>
                  <a:cubicBezTo>
                    <a:pt x="49" y="1"/>
                    <a:pt x="49" y="1"/>
                    <a:pt x="48" y="2"/>
                  </a:cubicBezTo>
                  <a:cubicBezTo>
                    <a:pt x="47" y="3"/>
                    <a:pt x="48" y="5"/>
                    <a:pt x="48" y="7"/>
                  </a:cubicBezTo>
                  <a:cubicBezTo>
                    <a:pt x="42" y="5"/>
                    <a:pt x="35" y="1"/>
                    <a:pt x="29" y="1"/>
                  </a:cubicBezTo>
                  <a:cubicBezTo>
                    <a:pt x="28" y="1"/>
                    <a:pt x="25" y="1"/>
                    <a:pt x="23" y="1"/>
                  </a:cubicBezTo>
                  <a:cubicBezTo>
                    <a:pt x="22" y="1"/>
                    <a:pt x="21" y="1"/>
                    <a:pt x="21" y="1"/>
                  </a:cubicBezTo>
                  <a:cubicBezTo>
                    <a:pt x="21" y="2"/>
                    <a:pt x="21" y="2"/>
                    <a:pt x="21" y="2"/>
                  </a:cubicBezTo>
                  <a:cubicBezTo>
                    <a:pt x="23" y="2"/>
                    <a:pt x="23" y="2"/>
                    <a:pt x="23" y="2"/>
                  </a:cubicBezTo>
                  <a:cubicBezTo>
                    <a:pt x="22" y="3"/>
                    <a:pt x="22" y="3"/>
                    <a:pt x="22" y="3"/>
                  </a:cubicBezTo>
                  <a:cubicBezTo>
                    <a:pt x="22" y="4"/>
                    <a:pt x="22" y="5"/>
                    <a:pt x="21" y="6"/>
                  </a:cubicBezTo>
                  <a:cubicBezTo>
                    <a:pt x="21" y="6"/>
                    <a:pt x="21" y="6"/>
                    <a:pt x="21" y="6"/>
                  </a:cubicBezTo>
                  <a:cubicBezTo>
                    <a:pt x="21" y="7"/>
                    <a:pt x="21" y="7"/>
                    <a:pt x="21" y="8"/>
                  </a:cubicBezTo>
                  <a:cubicBezTo>
                    <a:pt x="20" y="9"/>
                    <a:pt x="19" y="11"/>
                    <a:pt x="20" y="13"/>
                  </a:cubicBezTo>
                  <a:cubicBezTo>
                    <a:pt x="20" y="14"/>
                    <a:pt x="20" y="14"/>
                    <a:pt x="20" y="14"/>
                  </a:cubicBezTo>
                  <a:cubicBezTo>
                    <a:pt x="20" y="14"/>
                    <a:pt x="20" y="14"/>
                    <a:pt x="20" y="14"/>
                  </a:cubicBezTo>
                  <a:cubicBezTo>
                    <a:pt x="20" y="16"/>
                    <a:pt x="19" y="18"/>
                    <a:pt x="19" y="19"/>
                  </a:cubicBezTo>
                  <a:cubicBezTo>
                    <a:pt x="19" y="20"/>
                    <a:pt x="19" y="20"/>
                    <a:pt x="19" y="20"/>
                  </a:cubicBezTo>
                  <a:cubicBezTo>
                    <a:pt x="19" y="20"/>
                    <a:pt x="19" y="21"/>
                    <a:pt x="19" y="22"/>
                  </a:cubicBezTo>
                  <a:cubicBezTo>
                    <a:pt x="18" y="23"/>
                    <a:pt x="18" y="23"/>
                    <a:pt x="18" y="23"/>
                  </a:cubicBezTo>
                  <a:cubicBezTo>
                    <a:pt x="18" y="24"/>
                    <a:pt x="18" y="24"/>
                    <a:pt x="18" y="24"/>
                  </a:cubicBezTo>
                  <a:cubicBezTo>
                    <a:pt x="17" y="25"/>
                    <a:pt x="16" y="26"/>
                    <a:pt x="14" y="26"/>
                  </a:cubicBezTo>
                  <a:cubicBezTo>
                    <a:pt x="13" y="26"/>
                    <a:pt x="13" y="26"/>
                    <a:pt x="13" y="26"/>
                  </a:cubicBezTo>
                  <a:cubicBezTo>
                    <a:pt x="11" y="26"/>
                    <a:pt x="11" y="26"/>
                    <a:pt x="10" y="26"/>
                  </a:cubicBezTo>
                  <a:cubicBezTo>
                    <a:pt x="9" y="26"/>
                    <a:pt x="9" y="26"/>
                    <a:pt x="8" y="26"/>
                  </a:cubicBezTo>
                  <a:cubicBezTo>
                    <a:pt x="7" y="26"/>
                    <a:pt x="7" y="26"/>
                    <a:pt x="7" y="26"/>
                  </a:cubicBezTo>
                  <a:cubicBezTo>
                    <a:pt x="7" y="26"/>
                    <a:pt x="6" y="26"/>
                    <a:pt x="6" y="27"/>
                  </a:cubicBezTo>
                  <a:cubicBezTo>
                    <a:pt x="6" y="28"/>
                    <a:pt x="6" y="28"/>
                    <a:pt x="6" y="28"/>
                  </a:cubicBezTo>
                  <a:cubicBezTo>
                    <a:pt x="5" y="31"/>
                    <a:pt x="5" y="33"/>
                    <a:pt x="4" y="34"/>
                  </a:cubicBezTo>
                  <a:cubicBezTo>
                    <a:pt x="4" y="35"/>
                    <a:pt x="4" y="36"/>
                    <a:pt x="3" y="37"/>
                  </a:cubicBezTo>
                  <a:cubicBezTo>
                    <a:pt x="3" y="37"/>
                    <a:pt x="3" y="38"/>
                    <a:pt x="3" y="38"/>
                  </a:cubicBezTo>
                  <a:cubicBezTo>
                    <a:pt x="3" y="39"/>
                    <a:pt x="3" y="40"/>
                    <a:pt x="3" y="40"/>
                  </a:cubicBezTo>
                  <a:cubicBezTo>
                    <a:pt x="3" y="41"/>
                    <a:pt x="2" y="41"/>
                    <a:pt x="2" y="42"/>
                  </a:cubicBezTo>
                  <a:cubicBezTo>
                    <a:pt x="2" y="42"/>
                    <a:pt x="2" y="42"/>
                    <a:pt x="2" y="42"/>
                  </a:cubicBezTo>
                  <a:cubicBezTo>
                    <a:pt x="1" y="43"/>
                    <a:pt x="1" y="43"/>
                    <a:pt x="1" y="43"/>
                  </a:cubicBezTo>
                  <a:cubicBezTo>
                    <a:pt x="1" y="43"/>
                    <a:pt x="1" y="43"/>
                    <a:pt x="1" y="43"/>
                  </a:cubicBezTo>
                  <a:cubicBezTo>
                    <a:pt x="0" y="43"/>
                    <a:pt x="0" y="43"/>
                    <a:pt x="0" y="43"/>
                  </a:cubicBezTo>
                  <a:cubicBezTo>
                    <a:pt x="0" y="44"/>
                    <a:pt x="0" y="45"/>
                    <a:pt x="5" y="52"/>
                  </a:cubicBezTo>
                  <a:cubicBezTo>
                    <a:pt x="7" y="55"/>
                    <a:pt x="8" y="57"/>
                    <a:pt x="9" y="58"/>
                  </a:cubicBezTo>
                  <a:cubicBezTo>
                    <a:pt x="10" y="59"/>
                    <a:pt x="10" y="59"/>
                    <a:pt x="11" y="59"/>
                  </a:cubicBezTo>
                  <a:cubicBezTo>
                    <a:pt x="12" y="59"/>
                    <a:pt x="12" y="59"/>
                    <a:pt x="12" y="59"/>
                  </a:cubicBezTo>
                  <a:cubicBezTo>
                    <a:pt x="12" y="59"/>
                    <a:pt x="13" y="59"/>
                    <a:pt x="13" y="58"/>
                  </a:cubicBezTo>
                  <a:cubicBezTo>
                    <a:pt x="17" y="57"/>
                    <a:pt x="17" y="57"/>
                    <a:pt x="17" y="57"/>
                  </a:cubicBezTo>
                  <a:cubicBezTo>
                    <a:pt x="18" y="60"/>
                    <a:pt x="18" y="60"/>
                    <a:pt x="18" y="60"/>
                  </a:cubicBezTo>
                  <a:cubicBezTo>
                    <a:pt x="19" y="63"/>
                    <a:pt x="20" y="66"/>
                    <a:pt x="20" y="70"/>
                  </a:cubicBezTo>
                  <a:cubicBezTo>
                    <a:pt x="20" y="70"/>
                    <a:pt x="20" y="71"/>
                    <a:pt x="20" y="71"/>
                  </a:cubicBezTo>
                  <a:cubicBezTo>
                    <a:pt x="21" y="72"/>
                    <a:pt x="21" y="72"/>
                    <a:pt x="21" y="73"/>
                  </a:cubicBezTo>
                  <a:cubicBezTo>
                    <a:pt x="21" y="74"/>
                    <a:pt x="21" y="74"/>
                    <a:pt x="21" y="74"/>
                  </a:cubicBezTo>
                  <a:cubicBezTo>
                    <a:pt x="23" y="76"/>
                    <a:pt x="23" y="76"/>
                    <a:pt x="23" y="76"/>
                  </a:cubicBezTo>
                  <a:cubicBezTo>
                    <a:pt x="25" y="79"/>
                    <a:pt x="26" y="82"/>
                    <a:pt x="28" y="85"/>
                  </a:cubicBezTo>
                  <a:cubicBezTo>
                    <a:pt x="29" y="86"/>
                    <a:pt x="29" y="86"/>
                    <a:pt x="29" y="86"/>
                  </a:cubicBezTo>
                  <a:cubicBezTo>
                    <a:pt x="29" y="87"/>
                    <a:pt x="29" y="87"/>
                    <a:pt x="29" y="87"/>
                  </a:cubicBezTo>
                  <a:cubicBezTo>
                    <a:pt x="30" y="87"/>
                    <a:pt x="30" y="87"/>
                    <a:pt x="30" y="87"/>
                  </a:cubicBezTo>
                  <a:cubicBezTo>
                    <a:pt x="32" y="85"/>
                    <a:pt x="32" y="85"/>
                    <a:pt x="32" y="85"/>
                  </a:cubicBezTo>
                  <a:cubicBezTo>
                    <a:pt x="30" y="88"/>
                    <a:pt x="30" y="88"/>
                    <a:pt x="30" y="88"/>
                  </a:cubicBezTo>
                  <a:cubicBezTo>
                    <a:pt x="31" y="89"/>
                    <a:pt x="31" y="89"/>
                    <a:pt x="31" y="89"/>
                  </a:cubicBezTo>
                  <a:cubicBezTo>
                    <a:pt x="32" y="90"/>
                    <a:pt x="33" y="90"/>
                    <a:pt x="34" y="91"/>
                  </a:cubicBezTo>
                  <a:cubicBezTo>
                    <a:pt x="35" y="91"/>
                    <a:pt x="35" y="91"/>
                    <a:pt x="35" y="91"/>
                  </a:cubicBezTo>
                  <a:cubicBezTo>
                    <a:pt x="37" y="92"/>
                    <a:pt x="39" y="92"/>
                    <a:pt x="41" y="92"/>
                  </a:cubicBezTo>
                  <a:cubicBezTo>
                    <a:pt x="44" y="93"/>
                    <a:pt x="44" y="93"/>
                    <a:pt x="44" y="93"/>
                  </a:cubicBezTo>
                  <a:cubicBezTo>
                    <a:pt x="45" y="93"/>
                    <a:pt x="45" y="93"/>
                    <a:pt x="45" y="93"/>
                  </a:cubicBezTo>
                  <a:cubicBezTo>
                    <a:pt x="45" y="93"/>
                    <a:pt x="45" y="93"/>
                    <a:pt x="45" y="93"/>
                  </a:cubicBezTo>
                  <a:cubicBezTo>
                    <a:pt x="44" y="92"/>
                    <a:pt x="44" y="92"/>
                    <a:pt x="44" y="91"/>
                  </a:cubicBezTo>
                  <a:cubicBezTo>
                    <a:pt x="43" y="90"/>
                    <a:pt x="41" y="89"/>
                    <a:pt x="41" y="87"/>
                  </a:cubicBezTo>
                  <a:cubicBezTo>
                    <a:pt x="41" y="85"/>
                    <a:pt x="42" y="81"/>
                    <a:pt x="44" y="79"/>
                  </a:cubicBezTo>
                  <a:cubicBezTo>
                    <a:pt x="45" y="78"/>
                    <a:pt x="46" y="78"/>
                    <a:pt x="47" y="78"/>
                  </a:cubicBezTo>
                  <a:cubicBezTo>
                    <a:pt x="48" y="78"/>
                    <a:pt x="48" y="78"/>
                    <a:pt x="49" y="79"/>
                  </a:cubicBezTo>
                  <a:cubicBezTo>
                    <a:pt x="50" y="79"/>
                    <a:pt x="53" y="80"/>
                    <a:pt x="55" y="80"/>
                  </a:cubicBezTo>
                  <a:cubicBezTo>
                    <a:pt x="56" y="80"/>
                    <a:pt x="57" y="80"/>
                    <a:pt x="58" y="80"/>
                  </a:cubicBezTo>
                  <a:cubicBezTo>
                    <a:pt x="58" y="80"/>
                    <a:pt x="58" y="80"/>
                    <a:pt x="58" y="80"/>
                  </a:cubicBezTo>
                  <a:cubicBezTo>
                    <a:pt x="60" y="80"/>
                    <a:pt x="61" y="79"/>
                    <a:pt x="62" y="78"/>
                  </a:cubicBezTo>
                  <a:cubicBezTo>
                    <a:pt x="64" y="78"/>
                    <a:pt x="65" y="77"/>
                    <a:pt x="67" y="76"/>
                  </a:cubicBezTo>
                  <a:cubicBezTo>
                    <a:pt x="67" y="76"/>
                    <a:pt x="67" y="76"/>
                    <a:pt x="67" y="76"/>
                  </a:cubicBezTo>
                  <a:cubicBezTo>
                    <a:pt x="69" y="76"/>
                    <a:pt x="69" y="76"/>
                    <a:pt x="69" y="76"/>
                  </a:cubicBezTo>
                  <a:cubicBezTo>
                    <a:pt x="70" y="76"/>
                    <a:pt x="71" y="77"/>
                    <a:pt x="72" y="78"/>
                  </a:cubicBezTo>
                  <a:cubicBezTo>
                    <a:pt x="73" y="78"/>
                    <a:pt x="74" y="79"/>
                    <a:pt x="75" y="79"/>
                  </a:cubicBezTo>
                  <a:cubicBezTo>
                    <a:pt x="75" y="79"/>
                    <a:pt x="75" y="79"/>
                    <a:pt x="75" y="79"/>
                  </a:cubicBezTo>
                  <a:cubicBezTo>
                    <a:pt x="76" y="80"/>
                    <a:pt x="76" y="80"/>
                    <a:pt x="76" y="80"/>
                  </a:cubicBezTo>
                  <a:cubicBezTo>
                    <a:pt x="78" y="81"/>
                    <a:pt x="78" y="81"/>
                    <a:pt x="78" y="81"/>
                  </a:cubicBezTo>
                  <a:cubicBezTo>
                    <a:pt x="79" y="80"/>
                    <a:pt x="79" y="80"/>
                    <a:pt x="79" y="80"/>
                  </a:cubicBezTo>
                  <a:cubicBezTo>
                    <a:pt x="80" y="79"/>
                    <a:pt x="81" y="78"/>
                    <a:pt x="82" y="77"/>
                  </a:cubicBezTo>
                  <a:cubicBezTo>
                    <a:pt x="83" y="76"/>
                    <a:pt x="83" y="76"/>
                    <a:pt x="84" y="75"/>
                  </a:cubicBezTo>
                  <a:cubicBezTo>
                    <a:pt x="84" y="75"/>
                    <a:pt x="85" y="74"/>
                    <a:pt x="85" y="73"/>
                  </a:cubicBezTo>
                  <a:cubicBezTo>
                    <a:pt x="85" y="73"/>
                    <a:pt x="85" y="72"/>
                    <a:pt x="85" y="72"/>
                  </a:cubicBezTo>
                  <a:cubicBezTo>
                    <a:pt x="86" y="71"/>
                    <a:pt x="86" y="69"/>
                    <a:pt x="86" y="68"/>
                  </a:cubicBezTo>
                  <a:cubicBezTo>
                    <a:pt x="86" y="67"/>
                    <a:pt x="86" y="67"/>
                    <a:pt x="86" y="67"/>
                  </a:cubicBezTo>
                  <a:cubicBezTo>
                    <a:pt x="88" y="67"/>
                    <a:pt x="88" y="67"/>
                    <a:pt x="88" y="67"/>
                  </a:cubicBezTo>
                  <a:cubicBezTo>
                    <a:pt x="88" y="67"/>
                    <a:pt x="88" y="67"/>
                    <a:pt x="88" y="67"/>
                  </a:cubicBezTo>
                  <a:cubicBezTo>
                    <a:pt x="87" y="66"/>
                    <a:pt x="87" y="66"/>
                    <a:pt x="87" y="66"/>
                  </a:cubicBezTo>
                  <a:cubicBezTo>
                    <a:pt x="87" y="63"/>
                    <a:pt x="87" y="60"/>
                    <a:pt x="89" y="58"/>
                  </a:cubicBezTo>
                  <a:cubicBezTo>
                    <a:pt x="89" y="57"/>
                    <a:pt x="89" y="57"/>
                    <a:pt x="89" y="57"/>
                  </a:cubicBezTo>
                  <a:cubicBezTo>
                    <a:pt x="89" y="56"/>
                    <a:pt x="89" y="56"/>
                    <a:pt x="89" y="56"/>
                  </a:cubicBezTo>
                  <a:cubicBezTo>
                    <a:pt x="89" y="56"/>
                    <a:pt x="89" y="56"/>
                    <a:pt x="89" y="56"/>
                  </a:cubicBezTo>
                  <a:cubicBezTo>
                    <a:pt x="89" y="56"/>
                    <a:pt x="89" y="56"/>
                    <a:pt x="89" y="56"/>
                  </a:cubicBezTo>
                  <a:cubicBezTo>
                    <a:pt x="88" y="55"/>
                    <a:pt x="88" y="55"/>
                    <a:pt x="88" y="55"/>
                  </a:cubicBezTo>
                  <a:cubicBezTo>
                    <a:pt x="88" y="55"/>
                    <a:pt x="87" y="54"/>
                    <a:pt x="87" y="53"/>
                  </a:cubicBezTo>
                  <a:cubicBezTo>
                    <a:pt x="86" y="51"/>
                    <a:pt x="86" y="51"/>
                    <a:pt x="86" y="51"/>
                  </a:cubicBezTo>
                  <a:cubicBezTo>
                    <a:pt x="84" y="48"/>
                    <a:pt x="83" y="46"/>
                    <a:pt x="82" y="43"/>
                  </a:cubicBezTo>
                  <a:cubicBezTo>
                    <a:pt x="80" y="38"/>
                    <a:pt x="79" y="34"/>
                    <a:pt x="78" y="30"/>
                  </a:cubicBezTo>
                  <a:cubicBezTo>
                    <a:pt x="78" y="26"/>
                    <a:pt x="78" y="23"/>
                    <a:pt x="80" y="20"/>
                  </a:cubicBezTo>
                  <a:cubicBezTo>
                    <a:pt x="81" y="19"/>
                    <a:pt x="82" y="18"/>
                    <a:pt x="82" y="17"/>
                  </a:cubicBezTo>
                  <a:cubicBezTo>
                    <a:pt x="83" y="16"/>
                    <a:pt x="83" y="15"/>
                    <a:pt x="84" y="15"/>
                  </a:cubicBezTo>
                  <a:cubicBezTo>
                    <a:pt x="85" y="13"/>
                    <a:pt x="86" y="12"/>
                    <a:pt x="87" y="9"/>
                  </a:cubicBezTo>
                  <a:cubicBezTo>
                    <a:pt x="88" y="8"/>
                    <a:pt x="88" y="8"/>
                    <a:pt x="88" y="8"/>
                  </a:cubicBezTo>
                  <a:cubicBezTo>
                    <a:pt x="89" y="3"/>
                    <a:pt x="89" y="3"/>
                    <a:pt x="89" y="3"/>
                  </a:cubicBezTo>
                  <a:cubicBezTo>
                    <a:pt x="88" y="3"/>
                    <a:pt x="88" y="3"/>
                    <a:pt x="88" y="3"/>
                  </a:cubicBezTo>
                  <a:cubicBezTo>
                    <a:pt x="86" y="2"/>
                    <a:pt x="84" y="2"/>
                    <a:pt x="82" y="2"/>
                  </a:cubicBezTo>
                  <a:cubicBezTo>
                    <a:pt x="79" y="1"/>
                    <a:pt x="76" y="1"/>
                    <a:pt x="73" y="1"/>
                  </a:cubicBezTo>
                  <a:cubicBezTo>
                    <a:pt x="72" y="1"/>
                    <a:pt x="69"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84" name="Freeform 255">
              <a:extLst>
                <a:ext uri="{FF2B5EF4-FFF2-40B4-BE49-F238E27FC236}">
                  <a16:creationId xmlns:a16="http://schemas.microsoft.com/office/drawing/2014/main" id="{E56B9B08-1188-47B2-92DA-206C463648A2}"/>
                </a:ext>
              </a:extLst>
            </p:cNvPr>
            <p:cNvSpPr>
              <a:spLocks/>
            </p:cNvSpPr>
            <p:nvPr/>
          </p:nvSpPr>
          <p:spPr bwMode="auto">
            <a:xfrm>
              <a:off x="9600104" y="1554913"/>
              <a:ext cx="210428" cy="273981"/>
            </a:xfrm>
            <a:custGeom>
              <a:avLst/>
              <a:gdLst>
                <a:gd name="T0" fmla="*/ 10 w 63"/>
                <a:gd name="T1" fmla="*/ 4 h 82"/>
                <a:gd name="T2" fmla="*/ 5 w 63"/>
                <a:gd name="T3" fmla="*/ 14 h 82"/>
                <a:gd name="T4" fmla="*/ 2 w 63"/>
                <a:gd name="T5" fmla="*/ 18 h 82"/>
                <a:gd name="T6" fmla="*/ 4 w 63"/>
                <a:gd name="T7" fmla="*/ 36 h 82"/>
                <a:gd name="T8" fmla="*/ 9 w 63"/>
                <a:gd name="T9" fmla="*/ 46 h 82"/>
                <a:gd name="T10" fmla="*/ 10 w 63"/>
                <a:gd name="T11" fmla="*/ 47 h 82"/>
                <a:gd name="T12" fmla="*/ 12 w 63"/>
                <a:gd name="T13" fmla="*/ 51 h 82"/>
                <a:gd name="T14" fmla="*/ 9 w 63"/>
                <a:gd name="T15" fmla="*/ 62 h 82"/>
                <a:gd name="T16" fmla="*/ 9 w 63"/>
                <a:gd name="T17" fmla="*/ 64 h 82"/>
                <a:gd name="T18" fmla="*/ 7 w 63"/>
                <a:gd name="T19" fmla="*/ 70 h 82"/>
                <a:gd name="T20" fmla="*/ 3 w 63"/>
                <a:gd name="T21" fmla="*/ 76 h 82"/>
                <a:gd name="T22" fmla="*/ 0 w 63"/>
                <a:gd name="T23" fmla="*/ 79 h 82"/>
                <a:gd name="T24" fmla="*/ 5 w 63"/>
                <a:gd name="T25" fmla="*/ 82 h 82"/>
                <a:gd name="T26" fmla="*/ 6 w 63"/>
                <a:gd name="T27" fmla="*/ 82 h 82"/>
                <a:gd name="T28" fmla="*/ 19 w 63"/>
                <a:gd name="T29" fmla="*/ 78 h 82"/>
                <a:gd name="T30" fmla="*/ 24 w 63"/>
                <a:gd name="T31" fmla="*/ 78 h 82"/>
                <a:gd name="T32" fmla="*/ 25 w 63"/>
                <a:gd name="T33" fmla="*/ 78 h 82"/>
                <a:gd name="T34" fmla="*/ 32 w 63"/>
                <a:gd name="T35" fmla="*/ 81 h 82"/>
                <a:gd name="T36" fmla="*/ 33 w 63"/>
                <a:gd name="T37" fmla="*/ 80 h 82"/>
                <a:gd name="T38" fmla="*/ 35 w 63"/>
                <a:gd name="T39" fmla="*/ 79 h 82"/>
                <a:gd name="T40" fmla="*/ 39 w 63"/>
                <a:gd name="T41" fmla="*/ 75 h 82"/>
                <a:gd name="T42" fmla="*/ 40 w 63"/>
                <a:gd name="T43" fmla="*/ 72 h 82"/>
                <a:gd name="T44" fmla="*/ 37 w 63"/>
                <a:gd name="T45" fmla="*/ 68 h 82"/>
                <a:gd name="T46" fmla="*/ 42 w 63"/>
                <a:gd name="T47" fmla="*/ 68 h 82"/>
                <a:gd name="T48" fmla="*/ 44 w 63"/>
                <a:gd name="T49" fmla="*/ 63 h 82"/>
                <a:gd name="T50" fmla="*/ 47 w 63"/>
                <a:gd name="T51" fmla="*/ 58 h 82"/>
                <a:gd name="T52" fmla="*/ 60 w 63"/>
                <a:gd name="T53" fmla="*/ 40 h 82"/>
                <a:gd name="T54" fmla="*/ 63 w 63"/>
                <a:gd name="T55" fmla="*/ 36 h 82"/>
                <a:gd name="T56" fmla="*/ 57 w 63"/>
                <a:gd name="T57" fmla="*/ 27 h 82"/>
                <a:gd name="T58" fmla="*/ 57 w 63"/>
                <a:gd name="T59" fmla="*/ 31 h 82"/>
                <a:gd name="T60" fmla="*/ 55 w 63"/>
                <a:gd name="T61" fmla="*/ 33 h 82"/>
                <a:gd name="T62" fmla="*/ 55 w 63"/>
                <a:gd name="T63" fmla="*/ 34 h 82"/>
                <a:gd name="T64" fmla="*/ 57 w 63"/>
                <a:gd name="T65" fmla="*/ 31 h 82"/>
                <a:gd name="T66" fmla="*/ 55 w 63"/>
                <a:gd name="T67" fmla="*/ 27 h 82"/>
                <a:gd name="T68" fmla="*/ 47 w 63"/>
                <a:gd name="T69" fmla="*/ 24 h 82"/>
                <a:gd name="T70" fmla="*/ 47 w 63"/>
                <a:gd name="T71" fmla="*/ 21 h 82"/>
                <a:gd name="T72" fmla="*/ 11 w 63"/>
                <a:gd name="T7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 h="82">
                  <a:moveTo>
                    <a:pt x="11" y="0"/>
                  </a:moveTo>
                  <a:cubicBezTo>
                    <a:pt x="10" y="4"/>
                    <a:pt x="10" y="4"/>
                    <a:pt x="10" y="4"/>
                  </a:cubicBezTo>
                  <a:cubicBezTo>
                    <a:pt x="9" y="6"/>
                    <a:pt x="9" y="6"/>
                    <a:pt x="9" y="6"/>
                  </a:cubicBezTo>
                  <a:cubicBezTo>
                    <a:pt x="8" y="9"/>
                    <a:pt x="7" y="11"/>
                    <a:pt x="5" y="14"/>
                  </a:cubicBezTo>
                  <a:cubicBezTo>
                    <a:pt x="4" y="15"/>
                    <a:pt x="4" y="15"/>
                    <a:pt x="4" y="15"/>
                  </a:cubicBezTo>
                  <a:cubicBezTo>
                    <a:pt x="3" y="16"/>
                    <a:pt x="3" y="17"/>
                    <a:pt x="2" y="18"/>
                  </a:cubicBezTo>
                  <a:cubicBezTo>
                    <a:pt x="1" y="20"/>
                    <a:pt x="1" y="22"/>
                    <a:pt x="1" y="25"/>
                  </a:cubicBezTo>
                  <a:cubicBezTo>
                    <a:pt x="1" y="28"/>
                    <a:pt x="2" y="31"/>
                    <a:pt x="4" y="36"/>
                  </a:cubicBezTo>
                  <a:cubicBezTo>
                    <a:pt x="5" y="38"/>
                    <a:pt x="6" y="40"/>
                    <a:pt x="7" y="42"/>
                  </a:cubicBezTo>
                  <a:cubicBezTo>
                    <a:pt x="9" y="46"/>
                    <a:pt x="9" y="46"/>
                    <a:pt x="9" y="46"/>
                  </a:cubicBezTo>
                  <a:cubicBezTo>
                    <a:pt x="9" y="46"/>
                    <a:pt x="10" y="47"/>
                    <a:pt x="10" y="47"/>
                  </a:cubicBezTo>
                  <a:cubicBezTo>
                    <a:pt x="10" y="47"/>
                    <a:pt x="10" y="47"/>
                    <a:pt x="10" y="47"/>
                  </a:cubicBezTo>
                  <a:cubicBezTo>
                    <a:pt x="11" y="48"/>
                    <a:pt x="11" y="48"/>
                    <a:pt x="11" y="48"/>
                  </a:cubicBezTo>
                  <a:cubicBezTo>
                    <a:pt x="11" y="49"/>
                    <a:pt x="12" y="50"/>
                    <a:pt x="12" y="51"/>
                  </a:cubicBezTo>
                  <a:cubicBezTo>
                    <a:pt x="12" y="52"/>
                    <a:pt x="12" y="54"/>
                    <a:pt x="11" y="56"/>
                  </a:cubicBezTo>
                  <a:cubicBezTo>
                    <a:pt x="10" y="58"/>
                    <a:pt x="9" y="59"/>
                    <a:pt x="9" y="62"/>
                  </a:cubicBezTo>
                  <a:cubicBezTo>
                    <a:pt x="9" y="62"/>
                    <a:pt x="9" y="63"/>
                    <a:pt x="9" y="64"/>
                  </a:cubicBezTo>
                  <a:cubicBezTo>
                    <a:pt x="9" y="64"/>
                    <a:pt x="9" y="64"/>
                    <a:pt x="9" y="64"/>
                  </a:cubicBezTo>
                  <a:cubicBezTo>
                    <a:pt x="8" y="66"/>
                    <a:pt x="8" y="68"/>
                    <a:pt x="7" y="70"/>
                  </a:cubicBezTo>
                  <a:cubicBezTo>
                    <a:pt x="7" y="70"/>
                    <a:pt x="7" y="70"/>
                    <a:pt x="7" y="70"/>
                  </a:cubicBezTo>
                  <a:cubicBezTo>
                    <a:pt x="7" y="72"/>
                    <a:pt x="6" y="73"/>
                    <a:pt x="5" y="73"/>
                  </a:cubicBezTo>
                  <a:cubicBezTo>
                    <a:pt x="5" y="74"/>
                    <a:pt x="4" y="75"/>
                    <a:pt x="3" y="76"/>
                  </a:cubicBezTo>
                  <a:cubicBezTo>
                    <a:pt x="2" y="77"/>
                    <a:pt x="1" y="78"/>
                    <a:pt x="0" y="79"/>
                  </a:cubicBezTo>
                  <a:cubicBezTo>
                    <a:pt x="0" y="79"/>
                    <a:pt x="0" y="79"/>
                    <a:pt x="0" y="79"/>
                  </a:cubicBezTo>
                  <a:cubicBezTo>
                    <a:pt x="2" y="80"/>
                    <a:pt x="3" y="81"/>
                    <a:pt x="4" y="81"/>
                  </a:cubicBezTo>
                  <a:cubicBezTo>
                    <a:pt x="5" y="82"/>
                    <a:pt x="5" y="82"/>
                    <a:pt x="5" y="82"/>
                  </a:cubicBezTo>
                  <a:cubicBezTo>
                    <a:pt x="6" y="82"/>
                    <a:pt x="6" y="82"/>
                    <a:pt x="6" y="82"/>
                  </a:cubicBezTo>
                  <a:cubicBezTo>
                    <a:pt x="6" y="82"/>
                    <a:pt x="6" y="82"/>
                    <a:pt x="6" y="82"/>
                  </a:cubicBezTo>
                  <a:cubicBezTo>
                    <a:pt x="8" y="81"/>
                    <a:pt x="8" y="81"/>
                    <a:pt x="8" y="81"/>
                  </a:cubicBezTo>
                  <a:cubicBezTo>
                    <a:pt x="11" y="79"/>
                    <a:pt x="15" y="79"/>
                    <a:pt x="19" y="78"/>
                  </a:cubicBezTo>
                  <a:cubicBezTo>
                    <a:pt x="20" y="78"/>
                    <a:pt x="21" y="78"/>
                    <a:pt x="23" y="78"/>
                  </a:cubicBezTo>
                  <a:cubicBezTo>
                    <a:pt x="23" y="78"/>
                    <a:pt x="23" y="78"/>
                    <a:pt x="24" y="78"/>
                  </a:cubicBezTo>
                  <a:cubicBezTo>
                    <a:pt x="25" y="77"/>
                    <a:pt x="25" y="77"/>
                    <a:pt x="25" y="77"/>
                  </a:cubicBezTo>
                  <a:cubicBezTo>
                    <a:pt x="25" y="78"/>
                    <a:pt x="25" y="78"/>
                    <a:pt x="25" y="78"/>
                  </a:cubicBezTo>
                  <a:cubicBezTo>
                    <a:pt x="26" y="78"/>
                    <a:pt x="28" y="78"/>
                    <a:pt x="28" y="81"/>
                  </a:cubicBezTo>
                  <a:cubicBezTo>
                    <a:pt x="32" y="81"/>
                    <a:pt x="32" y="81"/>
                    <a:pt x="32" y="81"/>
                  </a:cubicBezTo>
                  <a:cubicBezTo>
                    <a:pt x="32" y="81"/>
                    <a:pt x="32" y="81"/>
                    <a:pt x="32" y="81"/>
                  </a:cubicBezTo>
                  <a:cubicBezTo>
                    <a:pt x="33" y="81"/>
                    <a:pt x="33" y="81"/>
                    <a:pt x="33" y="80"/>
                  </a:cubicBezTo>
                  <a:cubicBezTo>
                    <a:pt x="34" y="80"/>
                    <a:pt x="34" y="80"/>
                    <a:pt x="35" y="80"/>
                  </a:cubicBezTo>
                  <a:cubicBezTo>
                    <a:pt x="35" y="79"/>
                    <a:pt x="35" y="79"/>
                    <a:pt x="35" y="79"/>
                  </a:cubicBezTo>
                  <a:cubicBezTo>
                    <a:pt x="37" y="78"/>
                    <a:pt x="38" y="77"/>
                    <a:pt x="39" y="76"/>
                  </a:cubicBezTo>
                  <a:cubicBezTo>
                    <a:pt x="39" y="75"/>
                    <a:pt x="39" y="75"/>
                    <a:pt x="39" y="75"/>
                  </a:cubicBezTo>
                  <a:cubicBezTo>
                    <a:pt x="40" y="74"/>
                    <a:pt x="40" y="74"/>
                    <a:pt x="40" y="73"/>
                  </a:cubicBezTo>
                  <a:cubicBezTo>
                    <a:pt x="40" y="72"/>
                    <a:pt x="40" y="72"/>
                    <a:pt x="40" y="72"/>
                  </a:cubicBezTo>
                  <a:cubicBezTo>
                    <a:pt x="41" y="72"/>
                    <a:pt x="41" y="71"/>
                    <a:pt x="41" y="70"/>
                  </a:cubicBezTo>
                  <a:cubicBezTo>
                    <a:pt x="37" y="68"/>
                    <a:pt x="37" y="68"/>
                    <a:pt x="37" y="68"/>
                  </a:cubicBezTo>
                  <a:cubicBezTo>
                    <a:pt x="42" y="69"/>
                    <a:pt x="42" y="69"/>
                    <a:pt x="42" y="69"/>
                  </a:cubicBezTo>
                  <a:cubicBezTo>
                    <a:pt x="42" y="68"/>
                    <a:pt x="42" y="68"/>
                    <a:pt x="42" y="68"/>
                  </a:cubicBezTo>
                  <a:cubicBezTo>
                    <a:pt x="43" y="67"/>
                    <a:pt x="43" y="65"/>
                    <a:pt x="44" y="64"/>
                  </a:cubicBezTo>
                  <a:cubicBezTo>
                    <a:pt x="44" y="63"/>
                    <a:pt x="44" y="63"/>
                    <a:pt x="44" y="63"/>
                  </a:cubicBezTo>
                  <a:cubicBezTo>
                    <a:pt x="45" y="62"/>
                    <a:pt x="45" y="61"/>
                    <a:pt x="46" y="59"/>
                  </a:cubicBezTo>
                  <a:cubicBezTo>
                    <a:pt x="47" y="58"/>
                    <a:pt x="47" y="58"/>
                    <a:pt x="47" y="58"/>
                  </a:cubicBezTo>
                  <a:cubicBezTo>
                    <a:pt x="49" y="55"/>
                    <a:pt x="51" y="52"/>
                    <a:pt x="53" y="49"/>
                  </a:cubicBezTo>
                  <a:cubicBezTo>
                    <a:pt x="60" y="40"/>
                    <a:pt x="60" y="40"/>
                    <a:pt x="60" y="40"/>
                  </a:cubicBezTo>
                  <a:cubicBezTo>
                    <a:pt x="61" y="36"/>
                    <a:pt x="61" y="36"/>
                    <a:pt x="61" y="36"/>
                  </a:cubicBezTo>
                  <a:cubicBezTo>
                    <a:pt x="63" y="36"/>
                    <a:pt x="63" y="36"/>
                    <a:pt x="63" y="36"/>
                  </a:cubicBezTo>
                  <a:cubicBezTo>
                    <a:pt x="62" y="34"/>
                    <a:pt x="62" y="32"/>
                    <a:pt x="62" y="31"/>
                  </a:cubicBezTo>
                  <a:cubicBezTo>
                    <a:pt x="61" y="30"/>
                    <a:pt x="59" y="27"/>
                    <a:pt x="57" y="27"/>
                  </a:cubicBezTo>
                  <a:cubicBezTo>
                    <a:pt x="57" y="28"/>
                    <a:pt x="57" y="30"/>
                    <a:pt x="57" y="31"/>
                  </a:cubicBezTo>
                  <a:cubicBezTo>
                    <a:pt x="57" y="31"/>
                    <a:pt x="57" y="31"/>
                    <a:pt x="57" y="31"/>
                  </a:cubicBezTo>
                  <a:cubicBezTo>
                    <a:pt x="57" y="31"/>
                    <a:pt x="57" y="31"/>
                    <a:pt x="57" y="31"/>
                  </a:cubicBezTo>
                  <a:cubicBezTo>
                    <a:pt x="57" y="32"/>
                    <a:pt x="56" y="33"/>
                    <a:pt x="55" y="33"/>
                  </a:cubicBezTo>
                  <a:cubicBezTo>
                    <a:pt x="55" y="33"/>
                    <a:pt x="55" y="33"/>
                    <a:pt x="55" y="34"/>
                  </a:cubicBezTo>
                  <a:cubicBezTo>
                    <a:pt x="55" y="34"/>
                    <a:pt x="55" y="34"/>
                    <a:pt x="55" y="34"/>
                  </a:cubicBezTo>
                  <a:cubicBezTo>
                    <a:pt x="55" y="33"/>
                    <a:pt x="55" y="33"/>
                    <a:pt x="55" y="33"/>
                  </a:cubicBezTo>
                  <a:cubicBezTo>
                    <a:pt x="55" y="33"/>
                    <a:pt x="56" y="32"/>
                    <a:pt x="57" y="31"/>
                  </a:cubicBezTo>
                  <a:cubicBezTo>
                    <a:pt x="57" y="31"/>
                    <a:pt x="57" y="31"/>
                    <a:pt x="57" y="31"/>
                  </a:cubicBezTo>
                  <a:cubicBezTo>
                    <a:pt x="56" y="29"/>
                    <a:pt x="55" y="28"/>
                    <a:pt x="55" y="27"/>
                  </a:cubicBezTo>
                  <a:cubicBezTo>
                    <a:pt x="53" y="24"/>
                    <a:pt x="52" y="23"/>
                    <a:pt x="51" y="23"/>
                  </a:cubicBezTo>
                  <a:cubicBezTo>
                    <a:pt x="50" y="23"/>
                    <a:pt x="49" y="24"/>
                    <a:pt x="47" y="24"/>
                  </a:cubicBezTo>
                  <a:cubicBezTo>
                    <a:pt x="49" y="23"/>
                    <a:pt x="49" y="21"/>
                    <a:pt x="47" y="20"/>
                  </a:cubicBezTo>
                  <a:cubicBezTo>
                    <a:pt x="47" y="21"/>
                    <a:pt x="47" y="21"/>
                    <a:pt x="47" y="21"/>
                  </a:cubicBezTo>
                  <a:cubicBezTo>
                    <a:pt x="42" y="13"/>
                    <a:pt x="33" y="8"/>
                    <a:pt x="25" y="6"/>
                  </a:cubicBezTo>
                  <a:cubicBezTo>
                    <a:pt x="11"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85" name="Freeform 256">
              <a:extLst>
                <a:ext uri="{FF2B5EF4-FFF2-40B4-BE49-F238E27FC236}">
                  <a16:creationId xmlns:a16="http://schemas.microsoft.com/office/drawing/2014/main" id="{DDE296A1-1954-49FF-A291-80BB01AFE52D}"/>
                </a:ext>
              </a:extLst>
            </p:cNvPr>
            <p:cNvSpPr>
              <a:spLocks/>
            </p:cNvSpPr>
            <p:nvPr/>
          </p:nvSpPr>
          <p:spPr bwMode="auto">
            <a:xfrm>
              <a:off x="9286580" y="4417591"/>
              <a:ext cx="394023" cy="409559"/>
            </a:xfrm>
            <a:custGeom>
              <a:avLst/>
              <a:gdLst>
                <a:gd name="T0" fmla="*/ 33 w 118"/>
                <a:gd name="T1" fmla="*/ 0 h 123"/>
                <a:gd name="T2" fmla="*/ 31 w 118"/>
                <a:gd name="T3" fmla="*/ 4 h 123"/>
                <a:gd name="T4" fmla="*/ 21 w 118"/>
                <a:gd name="T5" fmla="*/ 3 h 123"/>
                <a:gd name="T6" fmla="*/ 20 w 118"/>
                <a:gd name="T7" fmla="*/ 3 h 123"/>
                <a:gd name="T8" fmla="*/ 18 w 118"/>
                <a:gd name="T9" fmla="*/ 5 h 123"/>
                <a:gd name="T10" fmla="*/ 16 w 118"/>
                <a:gd name="T11" fmla="*/ 11 h 123"/>
                <a:gd name="T12" fmla="*/ 17 w 118"/>
                <a:gd name="T13" fmla="*/ 17 h 123"/>
                <a:gd name="T14" fmla="*/ 14 w 118"/>
                <a:gd name="T15" fmla="*/ 29 h 123"/>
                <a:gd name="T16" fmla="*/ 13 w 118"/>
                <a:gd name="T17" fmla="*/ 32 h 123"/>
                <a:gd name="T18" fmla="*/ 12 w 118"/>
                <a:gd name="T19" fmla="*/ 41 h 123"/>
                <a:gd name="T20" fmla="*/ 9 w 118"/>
                <a:gd name="T21" fmla="*/ 44 h 123"/>
                <a:gd name="T22" fmla="*/ 9 w 118"/>
                <a:gd name="T23" fmla="*/ 47 h 123"/>
                <a:gd name="T24" fmla="*/ 9 w 118"/>
                <a:gd name="T25" fmla="*/ 52 h 123"/>
                <a:gd name="T26" fmla="*/ 10 w 118"/>
                <a:gd name="T27" fmla="*/ 62 h 123"/>
                <a:gd name="T28" fmla="*/ 10 w 118"/>
                <a:gd name="T29" fmla="*/ 64 h 123"/>
                <a:gd name="T30" fmla="*/ 8 w 118"/>
                <a:gd name="T31" fmla="*/ 77 h 123"/>
                <a:gd name="T32" fmla="*/ 4 w 118"/>
                <a:gd name="T33" fmla="*/ 84 h 123"/>
                <a:gd name="T34" fmla="*/ 3 w 118"/>
                <a:gd name="T35" fmla="*/ 94 h 123"/>
                <a:gd name="T36" fmla="*/ 1 w 118"/>
                <a:gd name="T37" fmla="*/ 94 h 123"/>
                <a:gd name="T38" fmla="*/ 14 w 118"/>
                <a:gd name="T39" fmla="*/ 110 h 123"/>
                <a:gd name="T40" fmla="*/ 19 w 118"/>
                <a:gd name="T41" fmla="*/ 110 h 123"/>
                <a:gd name="T42" fmla="*/ 22 w 118"/>
                <a:gd name="T43" fmla="*/ 109 h 123"/>
                <a:gd name="T44" fmla="*/ 24 w 118"/>
                <a:gd name="T45" fmla="*/ 109 h 123"/>
                <a:gd name="T46" fmla="*/ 31 w 118"/>
                <a:gd name="T47" fmla="*/ 110 h 123"/>
                <a:gd name="T48" fmla="*/ 57 w 118"/>
                <a:gd name="T49" fmla="*/ 120 h 123"/>
                <a:gd name="T50" fmla="*/ 70 w 118"/>
                <a:gd name="T51" fmla="*/ 118 h 123"/>
                <a:gd name="T52" fmla="*/ 81 w 118"/>
                <a:gd name="T53" fmla="*/ 123 h 123"/>
                <a:gd name="T54" fmla="*/ 91 w 118"/>
                <a:gd name="T55" fmla="*/ 119 h 123"/>
                <a:gd name="T56" fmla="*/ 96 w 118"/>
                <a:gd name="T57" fmla="*/ 112 h 123"/>
                <a:gd name="T58" fmla="*/ 108 w 118"/>
                <a:gd name="T59" fmla="*/ 107 h 123"/>
                <a:gd name="T60" fmla="*/ 114 w 118"/>
                <a:gd name="T61" fmla="*/ 98 h 123"/>
                <a:gd name="T62" fmla="*/ 116 w 118"/>
                <a:gd name="T63" fmla="*/ 93 h 123"/>
                <a:gd name="T64" fmla="*/ 112 w 118"/>
                <a:gd name="T65" fmla="*/ 89 h 123"/>
                <a:gd name="T66" fmla="*/ 112 w 118"/>
                <a:gd name="T67" fmla="*/ 73 h 123"/>
                <a:gd name="T68" fmla="*/ 118 w 118"/>
                <a:gd name="T69" fmla="*/ 63 h 123"/>
                <a:gd name="T70" fmla="*/ 107 w 118"/>
                <a:gd name="T71" fmla="*/ 53 h 123"/>
                <a:gd name="T72" fmla="*/ 103 w 118"/>
                <a:gd name="T73" fmla="*/ 47 h 123"/>
                <a:gd name="T74" fmla="*/ 97 w 118"/>
                <a:gd name="T75" fmla="*/ 43 h 123"/>
                <a:gd name="T76" fmla="*/ 89 w 118"/>
                <a:gd name="T77" fmla="*/ 37 h 123"/>
                <a:gd name="T78" fmla="*/ 87 w 118"/>
                <a:gd name="T79" fmla="*/ 34 h 123"/>
                <a:gd name="T80" fmla="*/ 72 w 118"/>
                <a:gd name="T81" fmla="*/ 28 h 123"/>
                <a:gd name="T82" fmla="*/ 67 w 118"/>
                <a:gd name="T83" fmla="*/ 20 h 123"/>
                <a:gd name="T84" fmla="*/ 67 w 118"/>
                <a:gd name="T85" fmla="*/ 21 h 123"/>
                <a:gd name="T86" fmla="*/ 66 w 118"/>
                <a:gd name="T87" fmla="*/ 21 h 123"/>
                <a:gd name="T88" fmla="*/ 66 w 118"/>
                <a:gd name="T89" fmla="*/ 21 h 123"/>
                <a:gd name="T90" fmla="*/ 65 w 118"/>
                <a:gd name="T91" fmla="*/ 22 h 123"/>
                <a:gd name="T92" fmla="*/ 64 w 118"/>
                <a:gd name="T93" fmla="*/ 23 h 123"/>
                <a:gd name="T94" fmla="*/ 62 w 118"/>
                <a:gd name="T95" fmla="*/ 24 h 123"/>
                <a:gd name="T96" fmla="*/ 57 w 118"/>
                <a:gd name="T97" fmla="*/ 25 h 123"/>
                <a:gd name="T98" fmla="*/ 54 w 118"/>
                <a:gd name="T99" fmla="*/ 21 h 123"/>
                <a:gd name="T100" fmla="*/ 53 w 118"/>
                <a:gd name="T101" fmla="*/ 14 h 123"/>
                <a:gd name="T102" fmla="*/ 43 w 118"/>
                <a:gd name="T103" fmla="*/ 6 h 123"/>
                <a:gd name="T104" fmla="*/ 34 w 118"/>
                <a:gd name="T105"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8" h="123">
                  <a:moveTo>
                    <a:pt x="34" y="0"/>
                  </a:moveTo>
                  <a:cubicBezTo>
                    <a:pt x="34" y="0"/>
                    <a:pt x="33" y="0"/>
                    <a:pt x="33" y="0"/>
                  </a:cubicBezTo>
                  <a:cubicBezTo>
                    <a:pt x="33" y="0"/>
                    <a:pt x="33" y="0"/>
                    <a:pt x="33" y="0"/>
                  </a:cubicBezTo>
                  <a:cubicBezTo>
                    <a:pt x="33" y="1"/>
                    <a:pt x="32" y="3"/>
                    <a:pt x="31" y="4"/>
                  </a:cubicBezTo>
                  <a:cubicBezTo>
                    <a:pt x="30" y="4"/>
                    <a:pt x="29" y="5"/>
                    <a:pt x="28" y="5"/>
                  </a:cubicBezTo>
                  <a:cubicBezTo>
                    <a:pt x="26" y="5"/>
                    <a:pt x="23" y="4"/>
                    <a:pt x="21" y="3"/>
                  </a:cubicBezTo>
                  <a:cubicBezTo>
                    <a:pt x="21" y="3"/>
                    <a:pt x="21" y="3"/>
                    <a:pt x="21" y="3"/>
                  </a:cubicBezTo>
                  <a:cubicBezTo>
                    <a:pt x="20" y="3"/>
                    <a:pt x="20" y="3"/>
                    <a:pt x="20" y="3"/>
                  </a:cubicBezTo>
                  <a:cubicBezTo>
                    <a:pt x="19" y="3"/>
                    <a:pt x="19" y="3"/>
                    <a:pt x="19" y="3"/>
                  </a:cubicBezTo>
                  <a:cubicBezTo>
                    <a:pt x="19" y="4"/>
                    <a:pt x="18" y="4"/>
                    <a:pt x="18" y="5"/>
                  </a:cubicBezTo>
                  <a:cubicBezTo>
                    <a:pt x="17" y="6"/>
                    <a:pt x="16" y="8"/>
                    <a:pt x="16" y="9"/>
                  </a:cubicBezTo>
                  <a:cubicBezTo>
                    <a:pt x="16" y="10"/>
                    <a:pt x="16" y="10"/>
                    <a:pt x="16" y="11"/>
                  </a:cubicBezTo>
                  <a:cubicBezTo>
                    <a:pt x="17" y="12"/>
                    <a:pt x="17" y="13"/>
                    <a:pt x="17" y="14"/>
                  </a:cubicBezTo>
                  <a:cubicBezTo>
                    <a:pt x="17" y="15"/>
                    <a:pt x="17" y="16"/>
                    <a:pt x="17" y="17"/>
                  </a:cubicBezTo>
                  <a:cubicBezTo>
                    <a:pt x="17" y="18"/>
                    <a:pt x="17" y="19"/>
                    <a:pt x="17" y="21"/>
                  </a:cubicBezTo>
                  <a:cubicBezTo>
                    <a:pt x="16" y="23"/>
                    <a:pt x="15" y="26"/>
                    <a:pt x="14" y="29"/>
                  </a:cubicBezTo>
                  <a:cubicBezTo>
                    <a:pt x="14" y="30"/>
                    <a:pt x="14" y="30"/>
                    <a:pt x="13" y="31"/>
                  </a:cubicBezTo>
                  <a:cubicBezTo>
                    <a:pt x="13" y="32"/>
                    <a:pt x="13" y="32"/>
                    <a:pt x="13" y="32"/>
                  </a:cubicBezTo>
                  <a:cubicBezTo>
                    <a:pt x="13" y="33"/>
                    <a:pt x="12" y="35"/>
                    <a:pt x="12" y="36"/>
                  </a:cubicBezTo>
                  <a:cubicBezTo>
                    <a:pt x="13" y="38"/>
                    <a:pt x="13" y="39"/>
                    <a:pt x="12" y="41"/>
                  </a:cubicBezTo>
                  <a:cubicBezTo>
                    <a:pt x="11" y="42"/>
                    <a:pt x="10" y="43"/>
                    <a:pt x="9" y="44"/>
                  </a:cubicBezTo>
                  <a:cubicBezTo>
                    <a:pt x="9" y="44"/>
                    <a:pt x="9" y="44"/>
                    <a:pt x="9" y="44"/>
                  </a:cubicBezTo>
                  <a:cubicBezTo>
                    <a:pt x="9" y="45"/>
                    <a:pt x="9" y="45"/>
                    <a:pt x="9" y="45"/>
                  </a:cubicBezTo>
                  <a:cubicBezTo>
                    <a:pt x="9" y="45"/>
                    <a:pt x="9" y="46"/>
                    <a:pt x="9" y="47"/>
                  </a:cubicBezTo>
                  <a:cubicBezTo>
                    <a:pt x="9" y="48"/>
                    <a:pt x="9" y="50"/>
                    <a:pt x="9" y="51"/>
                  </a:cubicBezTo>
                  <a:cubicBezTo>
                    <a:pt x="9" y="52"/>
                    <a:pt x="9" y="52"/>
                    <a:pt x="9" y="52"/>
                  </a:cubicBezTo>
                  <a:cubicBezTo>
                    <a:pt x="9" y="52"/>
                    <a:pt x="9" y="53"/>
                    <a:pt x="9" y="54"/>
                  </a:cubicBezTo>
                  <a:cubicBezTo>
                    <a:pt x="9" y="57"/>
                    <a:pt x="9" y="59"/>
                    <a:pt x="10" y="62"/>
                  </a:cubicBezTo>
                  <a:cubicBezTo>
                    <a:pt x="10" y="63"/>
                    <a:pt x="10" y="63"/>
                    <a:pt x="10" y="63"/>
                  </a:cubicBezTo>
                  <a:cubicBezTo>
                    <a:pt x="10" y="64"/>
                    <a:pt x="10" y="64"/>
                    <a:pt x="10" y="64"/>
                  </a:cubicBezTo>
                  <a:cubicBezTo>
                    <a:pt x="11" y="67"/>
                    <a:pt x="13" y="71"/>
                    <a:pt x="10" y="75"/>
                  </a:cubicBezTo>
                  <a:cubicBezTo>
                    <a:pt x="10" y="76"/>
                    <a:pt x="9" y="76"/>
                    <a:pt x="8" y="77"/>
                  </a:cubicBezTo>
                  <a:cubicBezTo>
                    <a:pt x="7" y="77"/>
                    <a:pt x="7" y="77"/>
                    <a:pt x="7" y="77"/>
                  </a:cubicBezTo>
                  <a:cubicBezTo>
                    <a:pt x="5" y="80"/>
                    <a:pt x="4" y="82"/>
                    <a:pt x="4" y="84"/>
                  </a:cubicBezTo>
                  <a:cubicBezTo>
                    <a:pt x="4" y="86"/>
                    <a:pt x="3" y="90"/>
                    <a:pt x="3" y="93"/>
                  </a:cubicBezTo>
                  <a:cubicBezTo>
                    <a:pt x="3" y="94"/>
                    <a:pt x="3" y="94"/>
                    <a:pt x="3" y="94"/>
                  </a:cubicBezTo>
                  <a:cubicBezTo>
                    <a:pt x="0" y="94"/>
                    <a:pt x="0" y="94"/>
                    <a:pt x="0" y="94"/>
                  </a:cubicBezTo>
                  <a:cubicBezTo>
                    <a:pt x="1" y="94"/>
                    <a:pt x="1" y="94"/>
                    <a:pt x="1" y="94"/>
                  </a:cubicBezTo>
                  <a:cubicBezTo>
                    <a:pt x="2" y="97"/>
                    <a:pt x="6" y="101"/>
                    <a:pt x="8" y="103"/>
                  </a:cubicBezTo>
                  <a:cubicBezTo>
                    <a:pt x="10" y="106"/>
                    <a:pt x="12" y="108"/>
                    <a:pt x="14" y="110"/>
                  </a:cubicBezTo>
                  <a:cubicBezTo>
                    <a:pt x="14" y="110"/>
                    <a:pt x="14" y="110"/>
                    <a:pt x="15" y="110"/>
                  </a:cubicBezTo>
                  <a:cubicBezTo>
                    <a:pt x="16" y="110"/>
                    <a:pt x="17" y="110"/>
                    <a:pt x="19" y="110"/>
                  </a:cubicBezTo>
                  <a:cubicBezTo>
                    <a:pt x="20" y="110"/>
                    <a:pt x="21" y="109"/>
                    <a:pt x="22" y="109"/>
                  </a:cubicBezTo>
                  <a:cubicBezTo>
                    <a:pt x="22" y="109"/>
                    <a:pt x="22" y="109"/>
                    <a:pt x="22" y="109"/>
                  </a:cubicBezTo>
                  <a:cubicBezTo>
                    <a:pt x="22" y="109"/>
                    <a:pt x="22" y="109"/>
                    <a:pt x="22" y="109"/>
                  </a:cubicBezTo>
                  <a:cubicBezTo>
                    <a:pt x="23" y="109"/>
                    <a:pt x="24" y="109"/>
                    <a:pt x="24" y="109"/>
                  </a:cubicBezTo>
                  <a:cubicBezTo>
                    <a:pt x="25" y="109"/>
                    <a:pt x="26" y="109"/>
                    <a:pt x="27" y="109"/>
                  </a:cubicBezTo>
                  <a:cubicBezTo>
                    <a:pt x="28" y="109"/>
                    <a:pt x="30" y="109"/>
                    <a:pt x="31" y="110"/>
                  </a:cubicBezTo>
                  <a:cubicBezTo>
                    <a:pt x="38" y="113"/>
                    <a:pt x="45" y="117"/>
                    <a:pt x="52" y="119"/>
                  </a:cubicBezTo>
                  <a:cubicBezTo>
                    <a:pt x="54" y="120"/>
                    <a:pt x="55" y="120"/>
                    <a:pt x="57" y="120"/>
                  </a:cubicBezTo>
                  <a:cubicBezTo>
                    <a:pt x="58" y="120"/>
                    <a:pt x="60" y="120"/>
                    <a:pt x="62" y="120"/>
                  </a:cubicBezTo>
                  <a:cubicBezTo>
                    <a:pt x="63" y="120"/>
                    <a:pt x="67" y="118"/>
                    <a:pt x="70" y="118"/>
                  </a:cubicBezTo>
                  <a:cubicBezTo>
                    <a:pt x="70" y="118"/>
                    <a:pt x="71" y="118"/>
                    <a:pt x="71" y="119"/>
                  </a:cubicBezTo>
                  <a:cubicBezTo>
                    <a:pt x="73" y="119"/>
                    <a:pt x="79" y="123"/>
                    <a:pt x="81" y="123"/>
                  </a:cubicBezTo>
                  <a:cubicBezTo>
                    <a:pt x="81" y="123"/>
                    <a:pt x="81" y="123"/>
                    <a:pt x="81" y="123"/>
                  </a:cubicBezTo>
                  <a:cubicBezTo>
                    <a:pt x="84" y="121"/>
                    <a:pt x="88" y="120"/>
                    <a:pt x="91" y="119"/>
                  </a:cubicBezTo>
                  <a:cubicBezTo>
                    <a:pt x="93" y="118"/>
                    <a:pt x="96" y="117"/>
                    <a:pt x="96" y="115"/>
                  </a:cubicBezTo>
                  <a:cubicBezTo>
                    <a:pt x="97" y="114"/>
                    <a:pt x="95" y="113"/>
                    <a:pt x="96" y="112"/>
                  </a:cubicBezTo>
                  <a:cubicBezTo>
                    <a:pt x="96" y="112"/>
                    <a:pt x="99" y="111"/>
                    <a:pt x="99" y="111"/>
                  </a:cubicBezTo>
                  <a:cubicBezTo>
                    <a:pt x="101" y="110"/>
                    <a:pt x="107" y="109"/>
                    <a:pt x="108" y="107"/>
                  </a:cubicBezTo>
                  <a:cubicBezTo>
                    <a:pt x="109" y="107"/>
                    <a:pt x="108" y="106"/>
                    <a:pt x="108" y="106"/>
                  </a:cubicBezTo>
                  <a:cubicBezTo>
                    <a:pt x="110" y="103"/>
                    <a:pt x="113" y="101"/>
                    <a:pt x="114" y="98"/>
                  </a:cubicBezTo>
                  <a:cubicBezTo>
                    <a:pt x="114" y="98"/>
                    <a:pt x="115" y="96"/>
                    <a:pt x="116" y="93"/>
                  </a:cubicBezTo>
                  <a:cubicBezTo>
                    <a:pt x="116" y="93"/>
                    <a:pt x="116" y="93"/>
                    <a:pt x="116" y="93"/>
                  </a:cubicBezTo>
                  <a:cubicBezTo>
                    <a:pt x="114" y="92"/>
                    <a:pt x="114" y="91"/>
                    <a:pt x="113" y="90"/>
                  </a:cubicBezTo>
                  <a:cubicBezTo>
                    <a:pt x="113" y="90"/>
                    <a:pt x="112" y="89"/>
                    <a:pt x="112" y="89"/>
                  </a:cubicBezTo>
                  <a:cubicBezTo>
                    <a:pt x="110" y="86"/>
                    <a:pt x="111" y="75"/>
                    <a:pt x="112" y="73"/>
                  </a:cubicBezTo>
                  <a:cubicBezTo>
                    <a:pt x="112" y="73"/>
                    <a:pt x="112" y="73"/>
                    <a:pt x="112" y="73"/>
                  </a:cubicBezTo>
                  <a:cubicBezTo>
                    <a:pt x="113" y="70"/>
                    <a:pt x="115" y="68"/>
                    <a:pt x="117" y="65"/>
                  </a:cubicBezTo>
                  <a:cubicBezTo>
                    <a:pt x="117" y="65"/>
                    <a:pt x="118" y="64"/>
                    <a:pt x="118" y="63"/>
                  </a:cubicBezTo>
                  <a:cubicBezTo>
                    <a:pt x="114" y="61"/>
                    <a:pt x="111" y="59"/>
                    <a:pt x="108" y="55"/>
                  </a:cubicBezTo>
                  <a:cubicBezTo>
                    <a:pt x="107" y="53"/>
                    <a:pt x="107" y="53"/>
                    <a:pt x="107" y="53"/>
                  </a:cubicBezTo>
                  <a:cubicBezTo>
                    <a:pt x="106" y="52"/>
                    <a:pt x="105" y="50"/>
                    <a:pt x="104" y="48"/>
                  </a:cubicBezTo>
                  <a:cubicBezTo>
                    <a:pt x="103" y="47"/>
                    <a:pt x="103" y="47"/>
                    <a:pt x="103" y="47"/>
                  </a:cubicBezTo>
                  <a:cubicBezTo>
                    <a:pt x="102" y="46"/>
                    <a:pt x="101" y="45"/>
                    <a:pt x="99" y="44"/>
                  </a:cubicBezTo>
                  <a:cubicBezTo>
                    <a:pt x="99" y="44"/>
                    <a:pt x="98" y="44"/>
                    <a:pt x="97" y="43"/>
                  </a:cubicBezTo>
                  <a:cubicBezTo>
                    <a:pt x="97" y="43"/>
                    <a:pt x="96" y="43"/>
                    <a:pt x="96" y="42"/>
                  </a:cubicBezTo>
                  <a:cubicBezTo>
                    <a:pt x="93" y="41"/>
                    <a:pt x="90" y="40"/>
                    <a:pt x="89" y="37"/>
                  </a:cubicBezTo>
                  <a:cubicBezTo>
                    <a:pt x="88" y="36"/>
                    <a:pt x="88" y="36"/>
                    <a:pt x="88" y="36"/>
                  </a:cubicBezTo>
                  <a:cubicBezTo>
                    <a:pt x="88" y="35"/>
                    <a:pt x="87" y="34"/>
                    <a:pt x="87" y="34"/>
                  </a:cubicBezTo>
                  <a:cubicBezTo>
                    <a:pt x="85" y="33"/>
                    <a:pt x="83" y="32"/>
                    <a:pt x="81" y="32"/>
                  </a:cubicBezTo>
                  <a:cubicBezTo>
                    <a:pt x="78" y="31"/>
                    <a:pt x="75" y="30"/>
                    <a:pt x="72" y="28"/>
                  </a:cubicBezTo>
                  <a:cubicBezTo>
                    <a:pt x="71" y="27"/>
                    <a:pt x="70" y="26"/>
                    <a:pt x="69" y="24"/>
                  </a:cubicBezTo>
                  <a:cubicBezTo>
                    <a:pt x="68" y="23"/>
                    <a:pt x="68" y="22"/>
                    <a:pt x="67" y="20"/>
                  </a:cubicBezTo>
                  <a:cubicBezTo>
                    <a:pt x="66" y="21"/>
                    <a:pt x="66" y="21"/>
                    <a:pt x="66" y="21"/>
                  </a:cubicBezTo>
                  <a:cubicBezTo>
                    <a:pt x="67" y="21"/>
                    <a:pt x="67" y="21"/>
                    <a:pt x="67" y="21"/>
                  </a:cubicBezTo>
                  <a:cubicBezTo>
                    <a:pt x="66" y="21"/>
                    <a:pt x="66" y="21"/>
                    <a:pt x="66" y="21"/>
                  </a:cubicBezTo>
                  <a:cubicBezTo>
                    <a:pt x="66" y="21"/>
                    <a:pt x="66" y="21"/>
                    <a:pt x="66" y="21"/>
                  </a:cubicBezTo>
                  <a:cubicBezTo>
                    <a:pt x="66" y="21"/>
                    <a:pt x="66" y="21"/>
                    <a:pt x="66" y="21"/>
                  </a:cubicBezTo>
                  <a:cubicBezTo>
                    <a:pt x="66" y="21"/>
                    <a:pt x="66" y="21"/>
                    <a:pt x="66" y="21"/>
                  </a:cubicBezTo>
                  <a:cubicBezTo>
                    <a:pt x="65" y="22"/>
                    <a:pt x="65" y="22"/>
                    <a:pt x="65" y="22"/>
                  </a:cubicBezTo>
                  <a:cubicBezTo>
                    <a:pt x="65" y="22"/>
                    <a:pt x="65" y="22"/>
                    <a:pt x="65" y="22"/>
                  </a:cubicBezTo>
                  <a:cubicBezTo>
                    <a:pt x="64" y="22"/>
                    <a:pt x="64" y="22"/>
                    <a:pt x="64" y="22"/>
                  </a:cubicBezTo>
                  <a:cubicBezTo>
                    <a:pt x="64" y="23"/>
                    <a:pt x="64" y="23"/>
                    <a:pt x="64" y="23"/>
                  </a:cubicBezTo>
                  <a:cubicBezTo>
                    <a:pt x="64" y="23"/>
                    <a:pt x="64" y="23"/>
                    <a:pt x="64" y="23"/>
                  </a:cubicBezTo>
                  <a:cubicBezTo>
                    <a:pt x="62" y="24"/>
                    <a:pt x="62" y="24"/>
                    <a:pt x="62" y="24"/>
                  </a:cubicBezTo>
                  <a:cubicBezTo>
                    <a:pt x="62" y="24"/>
                    <a:pt x="62" y="24"/>
                    <a:pt x="62" y="24"/>
                  </a:cubicBezTo>
                  <a:cubicBezTo>
                    <a:pt x="60" y="24"/>
                    <a:pt x="59" y="24"/>
                    <a:pt x="57" y="25"/>
                  </a:cubicBezTo>
                  <a:cubicBezTo>
                    <a:pt x="52" y="26"/>
                    <a:pt x="52" y="26"/>
                    <a:pt x="52" y="26"/>
                  </a:cubicBezTo>
                  <a:cubicBezTo>
                    <a:pt x="54" y="21"/>
                    <a:pt x="54" y="21"/>
                    <a:pt x="54" y="21"/>
                  </a:cubicBezTo>
                  <a:cubicBezTo>
                    <a:pt x="54" y="20"/>
                    <a:pt x="54" y="20"/>
                    <a:pt x="54" y="19"/>
                  </a:cubicBezTo>
                  <a:cubicBezTo>
                    <a:pt x="54" y="17"/>
                    <a:pt x="54" y="15"/>
                    <a:pt x="53" y="14"/>
                  </a:cubicBezTo>
                  <a:cubicBezTo>
                    <a:pt x="49" y="11"/>
                    <a:pt x="49" y="11"/>
                    <a:pt x="49" y="11"/>
                  </a:cubicBezTo>
                  <a:cubicBezTo>
                    <a:pt x="47" y="9"/>
                    <a:pt x="45" y="7"/>
                    <a:pt x="43" y="6"/>
                  </a:cubicBezTo>
                  <a:cubicBezTo>
                    <a:pt x="42" y="4"/>
                    <a:pt x="40" y="3"/>
                    <a:pt x="38" y="1"/>
                  </a:cubicBezTo>
                  <a:cubicBezTo>
                    <a:pt x="37" y="0"/>
                    <a:pt x="35" y="0"/>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86" name="Freeform 257">
              <a:extLst>
                <a:ext uri="{FF2B5EF4-FFF2-40B4-BE49-F238E27FC236}">
                  <a16:creationId xmlns:a16="http://schemas.microsoft.com/office/drawing/2014/main" id="{7E0EA2DA-DE6C-4BA8-BCFC-5DB0837278B8}"/>
                </a:ext>
              </a:extLst>
            </p:cNvPr>
            <p:cNvSpPr>
              <a:spLocks/>
            </p:cNvSpPr>
            <p:nvPr/>
          </p:nvSpPr>
          <p:spPr bwMode="auto">
            <a:xfrm>
              <a:off x="8235851" y="6490809"/>
              <a:ext cx="252796" cy="259858"/>
            </a:xfrm>
            <a:custGeom>
              <a:avLst/>
              <a:gdLst>
                <a:gd name="T0" fmla="*/ 56 w 76"/>
                <a:gd name="T1" fmla="*/ 2 h 78"/>
                <a:gd name="T2" fmla="*/ 45 w 76"/>
                <a:gd name="T3" fmla="*/ 9 h 78"/>
                <a:gd name="T4" fmla="*/ 37 w 76"/>
                <a:gd name="T5" fmla="*/ 9 h 78"/>
                <a:gd name="T6" fmla="*/ 41 w 76"/>
                <a:gd name="T7" fmla="*/ 13 h 78"/>
                <a:gd name="T8" fmla="*/ 42 w 76"/>
                <a:gd name="T9" fmla="*/ 13 h 78"/>
                <a:gd name="T10" fmla="*/ 44 w 76"/>
                <a:gd name="T11" fmla="*/ 13 h 78"/>
                <a:gd name="T12" fmla="*/ 39 w 76"/>
                <a:gd name="T13" fmla="*/ 15 h 78"/>
                <a:gd name="T14" fmla="*/ 45 w 76"/>
                <a:gd name="T15" fmla="*/ 30 h 78"/>
                <a:gd name="T16" fmla="*/ 58 w 76"/>
                <a:gd name="T17" fmla="*/ 27 h 78"/>
                <a:gd name="T18" fmla="*/ 49 w 76"/>
                <a:gd name="T19" fmla="*/ 37 h 78"/>
                <a:gd name="T20" fmla="*/ 43 w 76"/>
                <a:gd name="T21" fmla="*/ 41 h 78"/>
                <a:gd name="T22" fmla="*/ 49 w 76"/>
                <a:gd name="T23" fmla="*/ 53 h 78"/>
                <a:gd name="T24" fmla="*/ 66 w 76"/>
                <a:gd name="T25" fmla="*/ 60 h 78"/>
                <a:gd name="T26" fmla="*/ 61 w 76"/>
                <a:gd name="T27" fmla="*/ 68 h 78"/>
                <a:gd name="T28" fmla="*/ 60 w 76"/>
                <a:gd name="T29" fmla="*/ 60 h 78"/>
                <a:gd name="T30" fmla="*/ 59 w 76"/>
                <a:gd name="T31" fmla="*/ 59 h 78"/>
                <a:gd name="T32" fmla="*/ 58 w 76"/>
                <a:gd name="T33" fmla="*/ 61 h 78"/>
                <a:gd name="T34" fmla="*/ 52 w 76"/>
                <a:gd name="T35" fmla="*/ 57 h 78"/>
                <a:gd name="T36" fmla="*/ 52 w 76"/>
                <a:gd name="T37" fmla="*/ 65 h 78"/>
                <a:gd name="T38" fmla="*/ 47 w 76"/>
                <a:gd name="T39" fmla="*/ 58 h 78"/>
                <a:gd name="T40" fmla="*/ 45 w 76"/>
                <a:gd name="T41" fmla="*/ 58 h 78"/>
                <a:gd name="T42" fmla="*/ 40 w 76"/>
                <a:gd name="T43" fmla="*/ 59 h 78"/>
                <a:gd name="T44" fmla="*/ 30 w 76"/>
                <a:gd name="T45" fmla="*/ 56 h 78"/>
                <a:gd name="T46" fmla="*/ 36 w 76"/>
                <a:gd name="T47" fmla="*/ 60 h 78"/>
                <a:gd name="T48" fmla="*/ 34 w 76"/>
                <a:gd name="T49" fmla="*/ 61 h 78"/>
                <a:gd name="T50" fmla="*/ 30 w 76"/>
                <a:gd name="T51" fmla="*/ 66 h 78"/>
                <a:gd name="T52" fmla="*/ 33 w 76"/>
                <a:gd name="T53" fmla="*/ 59 h 78"/>
                <a:gd name="T54" fmla="*/ 21 w 76"/>
                <a:gd name="T55" fmla="*/ 62 h 78"/>
                <a:gd name="T56" fmla="*/ 16 w 76"/>
                <a:gd name="T57" fmla="*/ 62 h 78"/>
                <a:gd name="T58" fmla="*/ 12 w 76"/>
                <a:gd name="T59" fmla="*/ 64 h 78"/>
                <a:gd name="T60" fmla="*/ 6 w 76"/>
                <a:gd name="T61" fmla="*/ 63 h 78"/>
                <a:gd name="T62" fmla="*/ 8 w 76"/>
                <a:gd name="T63" fmla="*/ 66 h 78"/>
                <a:gd name="T64" fmla="*/ 8 w 76"/>
                <a:gd name="T65" fmla="*/ 66 h 78"/>
                <a:gd name="T66" fmla="*/ 3 w 76"/>
                <a:gd name="T67" fmla="*/ 67 h 78"/>
                <a:gd name="T68" fmla="*/ 3 w 76"/>
                <a:gd name="T69" fmla="*/ 69 h 78"/>
                <a:gd name="T70" fmla="*/ 15 w 76"/>
                <a:gd name="T71" fmla="*/ 65 h 78"/>
                <a:gd name="T72" fmla="*/ 18 w 76"/>
                <a:gd name="T73" fmla="*/ 69 h 78"/>
                <a:gd name="T74" fmla="*/ 19 w 76"/>
                <a:gd name="T75" fmla="*/ 70 h 78"/>
                <a:gd name="T76" fmla="*/ 23 w 76"/>
                <a:gd name="T77" fmla="*/ 73 h 78"/>
                <a:gd name="T78" fmla="*/ 28 w 76"/>
                <a:gd name="T79" fmla="*/ 69 h 78"/>
                <a:gd name="T80" fmla="*/ 32 w 76"/>
                <a:gd name="T81" fmla="*/ 70 h 78"/>
                <a:gd name="T82" fmla="*/ 35 w 76"/>
                <a:gd name="T83" fmla="*/ 68 h 78"/>
                <a:gd name="T84" fmla="*/ 28 w 76"/>
                <a:gd name="T85" fmla="*/ 73 h 78"/>
                <a:gd name="T86" fmla="*/ 35 w 76"/>
                <a:gd name="T87" fmla="*/ 73 h 78"/>
                <a:gd name="T88" fmla="*/ 40 w 76"/>
                <a:gd name="T89" fmla="*/ 75 h 78"/>
                <a:gd name="T90" fmla="*/ 47 w 76"/>
                <a:gd name="T91" fmla="*/ 70 h 78"/>
                <a:gd name="T92" fmla="*/ 52 w 76"/>
                <a:gd name="T93" fmla="*/ 71 h 78"/>
                <a:gd name="T94" fmla="*/ 55 w 76"/>
                <a:gd name="T95" fmla="*/ 74 h 78"/>
                <a:gd name="T96" fmla="*/ 67 w 76"/>
                <a:gd name="T97" fmla="*/ 78 h 78"/>
                <a:gd name="T98" fmla="*/ 71 w 76"/>
                <a:gd name="T99" fmla="*/ 73 h 78"/>
                <a:gd name="T100" fmla="*/ 76 w 76"/>
                <a:gd name="T101" fmla="*/ 5 h 78"/>
                <a:gd name="T102" fmla="*/ 72 w 76"/>
                <a:gd name="T103" fmla="*/ 5 h 78"/>
                <a:gd name="T104" fmla="*/ 70 w 76"/>
                <a:gd name="T105" fmla="*/ 5 h 78"/>
                <a:gd name="T106" fmla="*/ 59 w 76"/>
                <a:gd name="T10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6" h="78">
                  <a:moveTo>
                    <a:pt x="59" y="0"/>
                  </a:moveTo>
                  <a:cubicBezTo>
                    <a:pt x="59" y="0"/>
                    <a:pt x="58" y="1"/>
                    <a:pt x="56" y="2"/>
                  </a:cubicBezTo>
                  <a:cubicBezTo>
                    <a:pt x="53" y="5"/>
                    <a:pt x="51" y="11"/>
                    <a:pt x="48" y="11"/>
                  </a:cubicBezTo>
                  <a:cubicBezTo>
                    <a:pt x="47" y="11"/>
                    <a:pt x="46" y="10"/>
                    <a:pt x="45" y="9"/>
                  </a:cubicBezTo>
                  <a:cubicBezTo>
                    <a:pt x="44" y="8"/>
                    <a:pt x="42" y="8"/>
                    <a:pt x="41" y="8"/>
                  </a:cubicBezTo>
                  <a:cubicBezTo>
                    <a:pt x="39" y="8"/>
                    <a:pt x="38" y="8"/>
                    <a:pt x="37" y="9"/>
                  </a:cubicBezTo>
                  <a:cubicBezTo>
                    <a:pt x="38" y="9"/>
                    <a:pt x="40" y="9"/>
                    <a:pt x="40" y="10"/>
                  </a:cubicBezTo>
                  <a:cubicBezTo>
                    <a:pt x="41" y="11"/>
                    <a:pt x="40" y="12"/>
                    <a:pt x="41" y="13"/>
                  </a:cubicBezTo>
                  <a:cubicBezTo>
                    <a:pt x="41" y="13"/>
                    <a:pt x="41" y="13"/>
                    <a:pt x="41" y="13"/>
                  </a:cubicBezTo>
                  <a:cubicBezTo>
                    <a:pt x="41" y="13"/>
                    <a:pt x="42" y="13"/>
                    <a:pt x="42" y="13"/>
                  </a:cubicBezTo>
                  <a:cubicBezTo>
                    <a:pt x="43" y="13"/>
                    <a:pt x="43" y="12"/>
                    <a:pt x="43" y="12"/>
                  </a:cubicBezTo>
                  <a:cubicBezTo>
                    <a:pt x="44" y="12"/>
                    <a:pt x="44" y="13"/>
                    <a:pt x="44" y="13"/>
                  </a:cubicBezTo>
                  <a:cubicBezTo>
                    <a:pt x="45" y="13"/>
                    <a:pt x="42" y="17"/>
                    <a:pt x="40" y="17"/>
                  </a:cubicBezTo>
                  <a:cubicBezTo>
                    <a:pt x="39" y="17"/>
                    <a:pt x="39" y="17"/>
                    <a:pt x="39" y="15"/>
                  </a:cubicBezTo>
                  <a:cubicBezTo>
                    <a:pt x="34" y="18"/>
                    <a:pt x="36" y="31"/>
                    <a:pt x="42" y="31"/>
                  </a:cubicBezTo>
                  <a:cubicBezTo>
                    <a:pt x="43" y="31"/>
                    <a:pt x="44" y="31"/>
                    <a:pt x="45" y="30"/>
                  </a:cubicBezTo>
                  <a:cubicBezTo>
                    <a:pt x="48" y="28"/>
                    <a:pt x="50" y="27"/>
                    <a:pt x="54" y="27"/>
                  </a:cubicBezTo>
                  <a:cubicBezTo>
                    <a:pt x="55" y="27"/>
                    <a:pt x="57" y="27"/>
                    <a:pt x="58" y="27"/>
                  </a:cubicBezTo>
                  <a:cubicBezTo>
                    <a:pt x="60" y="27"/>
                    <a:pt x="62" y="27"/>
                    <a:pt x="62" y="30"/>
                  </a:cubicBezTo>
                  <a:cubicBezTo>
                    <a:pt x="62" y="35"/>
                    <a:pt x="53" y="36"/>
                    <a:pt x="49" y="37"/>
                  </a:cubicBezTo>
                  <a:cubicBezTo>
                    <a:pt x="48" y="37"/>
                    <a:pt x="46" y="39"/>
                    <a:pt x="45" y="39"/>
                  </a:cubicBezTo>
                  <a:cubicBezTo>
                    <a:pt x="44" y="40"/>
                    <a:pt x="43" y="39"/>
                    <a:pt x="43" y="41"/>
                  </a:cubicBezTo>
                  <a:cubicBezTo>
                    <a:pt x="43" y="43"/>
                    <a:pt x="43" y="45"/>
                    <a:pt x="44" y="46"/>
                  </a:cubicBezTo>
                  <a:cubicBezTo>
                    <a:pt x="45" y="49"/>
                    <a:pt x="46" y="51"/>
                    <a:pt x="49" y="53"/>
                  </a:cubicBezTo>
                  <a:cubicBezTo>
                    <a:pt x="52" y="54"/>
                    <a:pt x="55" y="55"/>
                    <a:pt x="58" y="56"/>
                  </a:cubicBezTo>
                  <a:cubicBezTo>
                    <a:pt x="61" y="58"/>
                    <a:pt x="64" y="59"/>
                    <a:pt x="66" y="60"/>
                  </a:cubicBezTo>
                  <a:cubicBezTo>
                    <a:pt x="68" y="61"/>
                    <a:pt x="70" y="61"/>
                    <a:pt x="70" y="62"/>
                  </a:cubicBezTo>
                  <a:cubicBezTo>
                    <a:pt x="70" y="65"/>
                    <a:pt x="63" y="66"/>
                    <a:pt x="61" y="68"/>
                  </a:cubicBezTo>
                  <a:cubicBezTo>
                    <a:pt x="61" y="65"/>
                    <a:pt x="66" y="65"/>
                    <a:pt x="64" y="62"/>
                  </a:cubicBezTo>
                  <a:cubicBezTo>
                    <a:pt x="64" y="62"/>
                    <a:pt x="61" y="60"/>
                    <a:pt x="60" y="60"/>
                  </a:cubicBezTo>
                  <a:cubicBezTo>
                    <a:pt x="60" y="60"/>
                    <a:pt x="60" y="59"/>
                    <a:pt x="59" y="59"/>
                  </a:cubicBezTo>
                  <a:cubicBezTo>
                    <a:pt x="59" y="59"/>
                    <a:pt x="59" y="59"/>
                    <a:pt x="59" y="59"/>
                  </a:cubicBezTo>
                  <a:cubicBezTo>
                    <a:pt x="57" y="59"/>
                    <a:pt x="59" y="60"/>
                    <a:pt x="58" y="61"/>
                  </a:cubicBezTo>
                  <a:cubicBezTo>
                    <a:pt x="58" y="61"/>
                    <a:pt x="58" y="61"/>
                    <a:pt x="58" y="61"/>
                  </a:cubicBezTo>
                  <a:cubicBezTo>
                    <a:pt x="57" y="61"/>
                    <a:pt x="56" y="60"/>
                    <a:pt x="55" y="59"/>
                  </a:cubicBezTo>
                  <a:cubicBezTo>
                    <a:pt x="54" y="58"/>
                    <a:pt x="52" y="57"/>
                    <a:pt x="52" y="57"/>
                  </a:cubicBezTo>
                  <a:cubicBezTo>
                    <a:pt x="51" y="57"/>
                    <a:pt x="51" y="58"/>
                    <a:pt x="51" y="59"/>
                  </a:cubicBezTo>
                  <a:cubicBezTo>
                    <a:pt x="51" y="62"/>
                    <a:pt x="53" y="63"/>
                    <a:pt x="52" y="65"/>
                  </a:cubicBezTo>
                  <a:cubicBezTo>
                    <a:pt x="51" y="64"/>
                    <a:pt x="50" y="62"/>
                    <a:pt x="49" y="61"/>
                  </a:cubicBezTo>
                  <a:cubicBezTo>
                    <a:pt x="49" y="60"/>
                    <a:pt x="48" y="58"/>
                    <a:pt x="47" y="58"/>
                  </a:cubicBezTo>
                  <a:cubicBezTo>
                    <a:pt x="47" y="57"/>
                    <a:pt x="46" y="56"/>
                    <a:pt x="46" y="56"/>
                  </a:cubicBezTo>
                  <a:cubicBezTo>
                    <a:pt x="45" y="56"/>
                    <a:pt x="45" y="57"/>
                    <a:pt x="45" y="58"/>
                  </a:cubicBezTo>
                  <a:cubicBezTo>
                    <a:pt x="45" y="60"/>
                    <a:pt x="45" y="61"/>
                    <a:pt x="44" y="61"/>
                  </a:cubicBezTo>
                  <a:cubicBezTo>
                    <a:pt x="43" y="61"/>
                    <a:pt x="41" y="60"/>
                    <a:pt x="40" y="59"/>
                  </a:cubicBezTo>
                  <a:cubicBezTo>
                    <a:pt x="35" y="56"/>
                    <a:pt x="30" y="54"/>
                    <a:pt x="26" y="52"/>
                  </a:cubicBezTo>
                  <a:cubicBezTo>
                    <a:pt x="27" y="53"/>
                    <a:pt x="28" y="55"/>
                    <a:pt x="30" y="56"/>
                  </a:cubicBezTo>
                  <a:cubicBezTo>
                    <a:pt x="31" y="57"/>
                    <a:pt x="32" y="56"/>
                    <a:pt x="33" y="57"/>
                  </a:cubicBezTo>
                  <a:cubicBezTo>
                    <a:pt x="35" y="58"/>
                    <a:pt x="35" y="59"/>
                    <a:pt x="36" y="60"/>
                  </a:cubicBezTo>
                  <a:cubicBezTo>
                    <a:pt x="38" y="63"/>
                    <a:pt x="41" y="64"/>
                    <a:pt x="43" y="65"/>
                  </a:cubicBezTo>
                  <a:cubicBezTo>
                    <a:pt x="41" y="64"/>
                    <a:pt x="35" y="63"/>
                    <a:pt x="34" y="61"/>
                  </a:cubicBezTo>
                  <a:cubicBezTo>
                    <a:pt x="33" y="62"/>
                    <a:pt x="31" y="66"/>
                    <a:pt x="30" y="66"/>
                  </a:cubicBezTo>
                  <a:cubicBezTo>
                    <a:pt x="30" y="66"/>
                    <a:pt x="30" y="66"/>
                    <a:pt x="30" y="66"/>
                  </a:cubicBezTo>
                  <a:cubicBezTo>
                    <a:pt x="29" y="65"/>
                    <a:pt x="29" y="63"/>
                    <a:pt x="30" y="62"/>
                  </a:cubicBezTo>
                  <a:cubicBezTo>
                    <a:pt x="31" y="61"/>
                    <a:pt x="32" y="60"/>
                    <a:pt x="33" y="59"/>
                  </a:cubicBezTo>
                  <a:cubicBezTo>
                    <a:pt x="29" y="60"/>
                    <a:pt x="26" y="62"/>
                    <a:pt x="22" y="62"/>
                  </a:cubicBezTo>
                  <a:cubicBezTo>
                    <a:pt x="22" y="62"/>
                    <a:pt x="22" y="62"/>
                    <a:pt x="21" y="62"/>
                  </a:cubicBezTo>
                  <a:cubicBezTo>
                    <a:pt x="20" y="62"/>
                    <a:pt x="20" y="62"/>
                    <a:pt x="19" y="62"/>
                  </a:cubicBezTo>
                  <a:cubicBezTo>
                    <a:pt x="18" y="62"/>
                    <a:pt x="17" y="62"/>
                    <a:pt x="16" y="62"/>
                  </a:cubicBezTo>
                  <a:cubicBezTo>
                    <a:pt x="14" y="62"/>
                    <a:pt x="12" y="62"/>
                    <a:pt x="10" y="63"/>
                  </a:cubicBezTo>
                  <a:cubicBezTo>
                    <a:pt x="11" y="63"/>
                    <a:pt x="11" y="64"/>
                    <a:pt x="12" y="64"/>
                  </a:cubicBezTo>
                  <a:cubicBezTo>
                    <a:pt x="11" y="64"/>
                    <a:pt x="11" y="64"/>
                    <a:pt x="10" y="64"/>
                  </a:cubicBezTo>
                  <a:cubicBezTo>
                    <a:pt x="9" y="64"/>
                    <a:pt x="8" y="64"/>
                    <a:pt x="6" y="63"/>
                  </a:cubicBezTo>
                  <a:cubicBezTo>
                    <a:pt x="7" y="64"/>
                    <a:pt x="9" y="64"/>
                    <a:pt x="10" y="65"/>
                  </a:cubicBezTo>
                  <a:cubicBezTo>
                    <a:pt x="9" y="66"/>
                    <a:pt x="9" y="66"/>
                    <a:pt x="8" y="66"/>
                  </a:cubicBezTo>
                  <a:cubicBezTo>
                    <a:pt x="8" y="66"/>
                    <a:pt x="7" y="66"/>
                    <a:pt x="7" y="66"/>
                  </a:cubicBezTo>
                  <a:cubicBezTo>
                    <a:pt x="8" y="66"/>
                    <a:pt x="8" y="66"/>
                    <a:pt x="8" y="66"/>
                  </a:cubicBezTo>
                  <a:cubicBezTo>
                    <a:pt x="5" y="66"/>
                    <a:pt x="3" y="65"/>
                    <a:pt x="0" y="65"/>
                  </a:cubicBezTo>
                  <a:cubicBezTo>
                    <a:pt x="0" y="66"/>
                    <a:pt x="1" y="66"/>
                    <a:pt x="3" y="67"/>
                  </a:cubicBezTo>
                  <a:cubicBezTo>
                    <a:pt x="0" y="68"/>
                    <a:pt x="1" y="69"/>
                    <a:pt x="3" y="69"/>
                  </a:cubicBezTo>
                  <a:cubicBezTo>
                    <a:pt x="3" y="69"/>
                    <a:pt x="3" y="69"/>
                    <a:pt x="3" y="69"/>
                  </a:cubicBezTo>
                  <a:cubicBezTo>
                    <a:pt x="7" y="68"/>
                    <a:pt x="11" y="68"/>
                    <a:pt x="15" y="67"/>
                  </a:cubicBezTo>
                  <a:cubicBezTo>
                    <a:pt x="14" y="66"/>
                    <a:pt x="15" y="66"/>
                    <a:pt x="15" y="65"/>
                  </a:cubicBezTo>
                  <a:cubicBezTo>
                    <a:pt x="17" y="66"/>
                    <a:pt x="18" y="67"/>
                    <a:pt x="18" y="69"/>
                  </a:cubicBezTo>
                  <a:cubicBezTo>
                    <a:pt x="18" y="69"/>
                    <a:pt x="18" y="69"/>
                    <a:pt x="18" y="69"/>
                  </a:cubicBezTo>
                  <a:cubicBezTo>
                    <a:pt x="17" y="69"/>
                    <a:pt x="16" y="69"/>
                    <a:pt x="18" y="70"/>
                  </a:cubicBezTo>
                  <a:cubicBezTo>
                    <a:pt x="18" y="70"/>
                    <a:pt x="18" y="70"/>
                    <a:pt x="19" y="70"/>
                  </a:cubicBezTo>
                  <a:cubicBezTo>
                    <a:pt x="20" y="70"/>
                    <a:pt x="21" y="69"/>
                    <a:pt x="22" y="67"/>
                  </a:cubicBezTo>
                  <a:cubicBezTo>
                    <a:pt x="23" y="69"/>
                    <a:pt x="24" y="71"/>
                    <a:pt x="23" y="73"/>
                  </a:cubicBezTo>
                  <a:cubicBezTo>
                    <a:pt x="24" y="71"/>
                    <a:pt x="24" y="70"/>
                    <a:pt x="26" y="69"/>
                  </a:cubicBezTo>
                  <a:cubicBezTo>
                    <a:pt x="26" y="69"/>
                    <a:pt x="27" y="69"/>
                    <a:pt x="28" y="69"/>
                  </a:cubicBezTo>
                  <a:cubicBezTo>
                    <a:pt x="28" y="69"/>
                    <a:pt x="29" y="69"/>
                    <a:pt x="30" y="69"/>
                  </a:cubicBezTo>
                  <a:cubicBezTo>
                    <a:pt x="31" y="70"/>
                    <a:pt x="32" y="70"/>
                    <a:pt x="32" y="70"/>
                  </a:cubicBezTo>
                  <a:cubicBezTo>
                    <a:pt x="32" y="70"/>
                    <a:pt x="32" y="70"/>
                    <a:pt x="33" y="70"/>
                  </a:cubicBezTo>
                  <a:cubicBezTo>
                    <a:pt x="33" y="69"/>
                    <a:pt x="34" y="68"/>
                    <a:pt x="35" y="68"/>
                  </a:cubicBezTo>
                  <a:cubicBezTo>
                    <a:pt x="35" y="68"/>
                    <a:pt x="35" y="68"/>
                    <a:pt x="35" y="68"/>
                  </a:cubicBezTo>
                  <a:cubicBezTo>
                    <a:pt x="34" y="72"/>
                    <a:pt x="29" y="70"/>
                    <a:pt x="28" y="73"/>
                  </a:cubicBezTo>
                  <a:cubicBezTo>
                    <a:pt x="27" y="74"/>
                    <a:pt x="28" y="75"/>
                    <a:pt x="29" y="75"/>
                  </a:cubicBezTo>
                  <a:cubicBezTo>
                    <a:pt x="31" y="75"/>
                    <a:pt x="34" y="73"/>
                    <a:pt x="35" y="73"/>
                  </a:cubicBezTo>
                  <a:cubicBezTo>
                    <a:pt x="37" y="73"/>
                    <a:pt x="40" y="72"/>
                    <a:pt x="41" y="70"/>
                  </a:cubicBezTo>
                  <a:cubicBezTo>
                    <a:pt x="41" y="70"/>
                    <a:pt x="38" y="75"/>
                    <a:pt x="40" y="75"/>
                  </a:cubicBezTo>
                  <a:cubicBezTo>
                    <a:pt x="40" y="75"/>
                    <a:pt x="40" y="75"/>
                    <a:pt x="41" y="75"/>
                  </a:cubicBezTo>
                  <a:cubicBezTo>
                    <a:pt x="44" y="74"/>
                    <a:pt x="47" y="73"/>
                    <a:pt x="47" y="70"/>
                  </a:cubicBezTo>
                  <a:cubicBezTo>
                    <a:pt x="48" y="72"/>
                    <a:pt x="48" y="73"/>
                    <a:pt x="48" y="73"/>
                  </a:cubicBezTo>
                  <a:cubicBezTo>
                    <a:pt x="49" y="73"/>
                    <a:pt x="50" y="72"/>
                    <a:pt x="52" y="71"/>
                  </a:cubicBezTo>
                  <a:cubicBezTo>
                    <a:pt x="53" y="71"/>
                    <a:pt x="53" y="71"/>
                    <a:pt x="53" y="71"/>
                  </a:cubicBezTo>
                  <a:cubicBezTo>
                    <a:pt x="55" y="71"/>
                    <a:pt x="54" y="73"/>
                    <a:pt x="55" y="74"/>
                  </a:cubicBezTo>
                  <a:cubicBezTo>
                    <a:pt x="56" y="76"/>
                    <a:pt x="61" y="77"/>
                    <a:pt x="63" y="77"/>
                  </a:cubicBezTo>
                  <a:cubicBezTo>
                    <a:pt x="64" y="77"/>
                    <a:pt x="65" y="78"/>
                    <a:pt x="67" y="78"/>
                  </a:cubicBezTo>
                  <a:cubicBezTo>
                    <a:pt x="69" y="78"/>
                    <a:pt x="70" y="77"/>
                    <a:pt x="72" y="74"/>
                  </a:cubicBezTo>
                  <a:cubicBezTo>
                    <a:pt x="72" y="74"/>
                    <a:pt x="71" y="73"/>
                    <a:pt x="71" y="73"/>
                  </a:cubicBezTo>
                  <a:cubicBezTo>
                    <a:pt x="72" y="73"/>
                    <a:pt x="74" y="74"/>
                    <a:pt x="76" y="75"/>
                  </a:cubicBezTo>
                  <a:cubicBezTo>
                    <a:pt x="75" y="62"/>
                    <a:pt x="76" y="19"/>
                    <a:pt x="76" y="5"/>
                  </a:cubicBezTo>
                  <a:cubicBezTo>
                    <a:pt x="76" y="5"/>
                    <a:pt x="75" y="5"/>
                    <a:pt x="75" y="5"/>
                  </a:cubicBezTo>
                  <a:cubicBezTo>
                    <a:pt x="74" y="5"/>
                    <a:pt x="73" y="5"/>
                    <a:pt x="72" y="5"/>
                  </a:cubicBezTo>
                  <a:cubicBezTo>
                    <a:pt x="71" y="5"/>
                    <a:pt x="71" y="5"/>
                    <a:pt x="70" y="5"/>
                  </a:cubicBezTo>
                  <a:cubicBezTo>
                    <a:pt x="70" y="5"/>
                    <a:pt x="70" y="5"/>
                    <a:pt x="70" y="5"/>
                  </a:cubicBezTo>
                  <a:cubicBezTo>
                    <a:pt x="66" y="5"/>
                    <a:pt x="64" y="2"/>
                    <a:pt x="61" y="1"/>
                  </a:cubicBezTo>
                  <a:cubicBezTo>
                    <a:pt x="61" y="0"/>
                    <a:pt x="60" y="0"/>
                    <a:pt x="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87" name="Freeform 258">
              <a:extLst>
                <a:ext uri="{FF2B5EF4-FFF2-40B4-BE49-F238E27FC236}">
                  <a16:creationId xmlns:a16="http://schemas.microsoft.com/office/drawing/2014/main" id="{D7A921CD-345A-4697-8D5A-964A9E486043}"/>
                </a:ext>
              </a:extLst>
            </p:cNvPr>
            <p:cNvSpPr>
              <a:spLocks/>
            </p:cNvSpPr>
            <p:nvPr/>
          </p:nvSpPr>
          <p:spPr bwMode="auto">
            <a:xfrm>
              <a:off x="7156877" y="1145354"/>
              <a:ext cx="244323" cy="210429"/>
            </a:xfrm>
            <a:custGeom>
              <a:avLst/>
              <a:gdLst>
                <a:gd name="T0" fmla="*/ 7 w 73"/>
                <a:gd name="T1" fmla="*/ 1 h 63"/>
                <a:gd name="T2" fmla="*/ 5 w 73"/>
                <a:gd name="T3" fmla="*/ 1 h 63"/>
                <a:gd name="T4" fmla="*/ 2 w 73"/>
                <a:gd name="T5" fmla="*/ 2 h 63"/>
                <a:gd name="T6" fmla="*/ 6 w 73"/>
                <a:gd name="T7" fmla="*/ 6 h 63"/>
                <a:gd name="T8" fmla="*/ 3 w 73"/>
                <a:gd name="T9" fmla="*/ 13 h 63"/>
                <a:gd name="T10" fmla="*/ 11 w 73"/>
                <a:gd name="T11" fmla="*/ 28 h 63"/>
                <a:gd name="T12" fmla="*/ 19 w 73"/>
                <a:gd name="T13" fmla="*/ 34 h 63"/>
                <a:gd name="T14" fmla="*/ 19 w 73"/>
                <a:gd name="T15" fmla="*/ 35 h 63"/>
                <a:gd name="T16" fmla="*/ 25 w 73"/>
                <a:gd name="T17" fmla="*/ 29 h 63"/>
                <a:gd name="T18" fmla="*/ 15 w 73"/>
                <a:gd name="T19" fmla="*/ 18 h 63"/>
                <a:gd name="T20" fmla="*/ 27 w 73"/>
                <a:gd name="T21" fmla="*/ 25 h 63"/>
                <a:gd name="T22" fmla="*/ 36 w 73"/>
                <a:gd name="T23" fmla="*/ 36 h 63"/>
                <a:gd name="T24" fmla="*/ 40 w 73"/>
                <a:gd name="T25" fmla="*/ 37 h 63"/>
                <a:gd name="T26" fmla="*/ 52 w 73"/>
                <a:gd name="T27" fmla="*/ 45 h 63"/>
                <a:gd name="T28" fmla="*/ 55 w 73"/>
                <a:gd name="T29" fmla="*/ 60 h 63"/>
                <a:gd name="T30" fmla="*/ 57 w 73"/>
                <a:gd name="T31" fmla="*/ 55 h 63"/>
                <a:gd name="T32" fmla="*/ 65 w 73"/>
                <a:gd name="T33" fmla="*/ 59 h 63"/>
                <a:gd name="T34" fmla="*/ 66 w 73"/>
                <a:gd name="T35" fmla="*/ 60 h 63"/>
                <a:gd name="T36" fmla="*/ 68 w 73"/>
                <a:gd name="T37" fmla="*/ 58 h 63"/>
                <a:gd name="T38" fmla="*/ 70 w 73"/>
                <a:gd name="T39" fmla="*/ 50 h 63"/>
                <a:gd name="T40" fmla="*/ 67 w 73"/>
                <a:gd name="T41" fmla="*/ 48 h 63"/>
                <a:gd name="T42" fmla="*/ 67 w 73"/>
                <a:gd name="T43" fmla="*/ 46 h 63"/>
                <a:gd name="T44" fmla="*/ 67 w 73"/>
                <a:gd name="T45" fmla="*/ 44 h 63"/>
                <a:gd name="T46" fmla="*/ 70 w 73"/>
                <a:gd name="T47" fmla="*/ 32 h 63"/>
                <a:gd name="T48" fmla="*/ 71 w 73"/>
                <a:gd name="T49" fmla="*/ 31 h 63"/>
                <a:gd name="T50" fmla="*/ 73 w 73"/>
                <a:gd name="T51" fmla="*/ 31 h 63"/>
                <a:gd name="T52" fmla="*/ 55 w 73"/>
                <a:gd name="T53" fmla="*/ 6 h 63"/>
                <a:gd name="T54" fmla="*/ 50 w 73"/>
                <a:gd name="T55" fmla="*/ 9 h 63"/>
                <a:gd name="T56" fmla="*/ 48 w 73"/>
                <a:gd name="T57" fmla="*/ 9 h 63"/>
                <a:gd name="T58" fmla="*/ 46 w 73"/>
                <a:gd name="T59" fmla="*/ 9 h 63"/>
                <a:gd name="T60" fmla="*/ 36 w 73"/>
                <a:gd name="T61" fmla="*/ 6 h 63"/>
                <a:gd name="T62" fmla="*/ 32 w 73"/>
                <a:gd name="T63" fmla="*/ 4 h 63"/>
                <a:gd name="T64" fmla="*/ 32 w 73"/>
                <a:gd name="T65" fmla="*/ 3 h 63"/>
                <a:gd name="T66" fmla="*/ 31 w 73"/>
                <a:gd name="T67" fmla="*/ 3 h 63"/>
                <a:gd name="T68" fmla="*/ 25 w 73"/>
                <a:gd name="T69" fmla="*/ 5 h 63"/>
                <a:gd name="T70" fmla="*/ 24 w 73"/>
                <a:gd name="T71" fmla="*/ 5 h 63"/>
                <a:gd name="T72" fmla="*/ 10 w 73"/>
                <a:gd name="T7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63">
                  <a:moveTo>
                    <a:pt x="9" y="0"/>
                  </a:moveTo>
                  <a:cubicBezTo>
                    <a:pt x="8" y="0"/>
                    <a:pt x="7" y="1"/>
                    <a:pt x="7" y="1"/>
                  </a:cubicBezTo>
                  <a:cubicBezTo>
                    <a:pt x="5" y="2"/>
                    <a:pt x="5" y="2"/>
                    <a:pt x="5" y="2"/>
                  </a:cubicBezTo>
                  <a:cubicBezTo>
                    <a:pt x="5" y="1"/>
                    <a:pt x="5" y="1"/>
                    <a:pt x="5" y="1"/>
                  </a:cubicBezTo>
                  <a:cubicBezTo>
                    <a:pt x="3" y="3"/>
                    <a:pt x="3" y="3"/>
                    <a:pt x="3" y="3"/>
                  </a:cubicBezTo>
                  <a:cubicBezTo>
                    <a:pt x="3" y="3"/>
                    <a:pt x="3" y="2"/>
                    <a:pt x="2" y="2"/>
                  </a:cubicBezTo>
                  <a:cubicBezTo>
                    <a:pt x="2" y="2"/>
                    <a:pt x="1" y="3"/>
                    <a:pt x="0" y="4"/>
                  </a:cubicBezTo>
                  <a:cubicBezTo>
                    <a:pt x="1" y="4"/>
                    <a:pt x="6" y="5"/>
                    <a:pt x="6" y="6"/>
                  </a:cubicBezTo>
                  <a:cubicBezTo>
                    <a:pt x="6" y="7"/>
                    <a:pt x="8" y="10"/>
                    <a:pt x="7" y="10"/>
                  </a:cubicBezTo>
                  <a:cubicBezTo>
                    <a:pt x="6" y="10"/>
                    <a:pt x="3" y="12"/>
                    <a:pt x="3" y="13"/>
                  </a:cubicBezTo>
                  <a:cubicBezTo>
                    <a:pt x="4" y="16"/>
                    <a:pt x="5" y="20"/>
                    <a:pt x="5" y="24"/>
                  </a:cubicBezTo>
                  <a:cubicBezTo>
                    <a:pt x="6" y="26"/>
                    <a:pt x="9" y="27"/>
                    <a:pt x="11" y="28"/>
                  </a:cubicBezTo>
                  <a:cubicBezTo>
                    <a:pt x="14" y="29"/>
                    <a:pt x="16" y="31"/>
                    <a:pt x="18" y="33"/>
                  </a:cubicBezTo>
                  <a:cubicBezTo>
                    <a:pt x="19" y="34"/>
                    <a:pt x="19" y="34"/>
                    <a:pt x="19" y="34"/>
                  </a:cubicBezTo>
                  <a:cubicBezTo>
                    <a:pt x="19" y="34"/>
                    <a:pt x="19" y="35"/>
                    <a:pt x="19" y="35"/>
                  </a:cubicBezTo>
                  <a:cubicBezTo>
                    <a:pt x="19" y="35"/>
                    <a:pt x="19" y="35"/>
                    <a:pt x="19" y="35"/>
                  </a:cubicBezTo>
                  <a:cubicBezTo>
                    <a:pt x="19" y="35"/>
                    <a:pt x="21" y="32"/>
                    <a:pt x="22" y="32"/>
                  </a:cubicBezTo>
                  <a:cubicBezTo>
                    <a:pt x="23" y="31"/>
                    <a:pt x="24" y="29"/>
                    <a:pt x="25" y="29"/>
                  </a:cubicBezTo>
                  <a:cubicBezTo>
                    <a:pt x="23" y="27"/>
                    <a:pt x="20" y="26"/>
                    <a:pt x="18" y="24"/>
                  </a:cubicBezTo>
                  <a:cubicBezTo>
                    <a:pt x="17" y="23"/>
                    <a:pt x="16" y="20"/>
                    <a:pt x="15" y="18"/>
                  </a:cubicBezTo>
                  <a:cubicBezTo>
                    <a:pt x="17" y="20"/>
                    <a:pt x="18" y="20"/>
                    <a:pt x="20" y="21"/>
                  </a:cubicBezTo>
                  <a:cubicBezTo>
                    <a:pt x="23" y="22"/>
                    <a:pt x="25" y="24"/>
                    <a:pt x="27" y="25"/>
                  </a:cubicBezTo>
                  <a:cubicBezTo>
                    <a:pt x="29" y="26"/>
                    <a:pt x="28" y="30"/>
                    <a:pt x="29" y="32"/>
                  </a:cubicBezTo>
                  <a:cubicBezTo>
                    <a:pt x="30" y="34"/>
                    <a:pt x="33" y="35"/>
                    <a:pt x="36" y="36"/>
                  </a:cubicBezTo>
                  <a:cubicBezTo>
                    <a:pt x="37" y="37"/>
                    <a:pt x="39" y="37"/>
                    <a:pt x="40" y="37"/>
                  </a:cubicBezTo>
                  <a:cubicBezTo>
                    <a:pt x="40" y="37"/>
                    <a:pt x="40" y="37"/>
                    <a:pt x="40" y="37"/>
                  </a:cubicBezTo>
                  <a:cubicBezTo>
                    <a:pt x="43" y="39"/>
                    <a:pt x="46" y="40"/>
                    <a:pt x="48" y="42"/>
                  </a:cubicBezTo>
                  <a:cubicBezTo>
                    <a:pt x="50" y="43"/>
                    <a:pt x="51" y="44"/>
                    <a:pt x="52" y="45"/>
                  </a:cubicBezTo>
                  <a:cubicBezTo>
                    <a:pt x="53" y="46"/>
                    <a:pt x="53" y="46"/>
                    <a:pt x="53" y="48"/>
                  </a:cubicBezTo>
                  <a:cubicBezTo>
                    <a:pt x="55" y="54"/>
                    <a:pt x="48" y="56"/>
                    <a:pt x="55" y="60"/>
                  </a:cubicBezTo>
                  <a:cubicBezTo>
                    <a:pt x="56" y="61"/>
                    <a:pt x="60" y="62"/>
                    <a:pt x="62" y="63"/>
                  </a:cubicBezTo>
                  <a:cubicBezTo>
                    <a:pt x="60" y="60"/>
                    <a:pt x="59" y="58"/>
                    <a:pt x="57" y="55"/>
                  </a:cubicBezTo>
                  <a:cubicBezTo>
                    <a:pt x="58" y="55"/>
                    <a:pt x="59" y="55"/>
                    <a:pt x="60" y="55"/>
                  </a:cubicBezTo>
                  <a:cubicBezTo>
                    <a:pt x="63" y="55"/>
                    <a:pt x="65" y="56"/>
                    <a:pt x="65" y="59"/>
                  </a:cubicBezTo>
                  <a:cubicBezTo>
                    <a:pt x="65" y="60"/>
                    <a:pt x="65" y="61"/>
                    <a:pt x="65" y="61"/>
                  </a:cubicBezTo>
                  <a:cubicBezTo>
                    <a:pt x="66" y="61"/>
                    <a:pt x="66" y="60"/>
                    <a:pt x="66" y="60"/>
                  </a:cubicBezTo>
                  <a:cubicBezTo>
                    <a:pt x="67" y="60"/>
                    <a:pt x="67" y="60"/>
                    <a:pt x="67" y="60"/>
                  </a:cubicBezTo>
                  <a:cubicBezTo>
                    <a:pt x="67" y="59"/>
                    <a:pt x="68" y="58"/>
                    <a:pt x="68" y="58"/>
                  </a:cubicBezTo>
                  <a:cubicBezTo>
                    <a:pt x="68" y="57"/>
                    <a:pt x="67" y="55"/>
                    <a:pt x="67" y="54"/>
                  </a:cubicBezTo>
                  <a:cubicBezTo>
                    <a:pt x="68" y="52"/>
                    <a:pt x="69" y="51"/>
                    <a:pt x="70" y="50"/>
                  </a:cubicBezTo>
                  <a:cubicBezTo>
                    <a:pt x="69" y="49"/>
                    <a:pt x="69" y="49"/>
                    <a:pt x="69" y="49"/>
                  </a:cubicBezTo>
                  <a:cubicBezTo>
                    <a:pt x="67" y="48"/>
                    <a:pt x="67" y="48"/>
                    <a:pt x="67" y="48"/>
                  </a:cubicBezTo>
                  <a:cubicBezTo>
                    <a:pt x="67" y="46"/>
                    <a:pt x="67" y="46"/>
                    <a:pt x="67" y="46"/>
                  </a:cubicBezTo>
                  <a:cubicBezTo>
                    <a:pt x="67" y="46"/>
                    <a:pt x="67" y="46"/>
                    <a:pt x="67" y="46"/>
                  </a:cubicBezTo>
                  <a:cubicBezTo>
                    <a:pt x="67" y="46"/>
                    <a:pt x="67" y="45"/>
                    <a:pt x="67" y="44"/>
                  </a:cubicBezTo>
                  <a:cubicBezTo>
                    <a:pt x="67" y="44"/>
                    <a:pt x="67" y="44"/>
                    <a:pt x="67" y="44"/>
                  </a:cubicBezTo>
                  <a:cubicBezTo>
                    <a:pt x="67" y="42"/>
                    <a:pt x="67" y="39"/>
                    <a:pt x="68" y="37"/>
                  </a:cubicBezTo>
                  <a:cubicBezTo>
                    <a:pt x="68" y="35"/>
                    <a:pt x="68" y="33"/>
                    <a:pt x="70" y="32"/>
                  </a:cubicBezTo>
                  <a:cubicBezTo>
                    <a:pt x="70" y="32"/>
                    <a:pt x="70" y="31"/>
                    <a:pt x="71" y="31"/>
                  </a:cubicBezTo>
                  <a:cubicBezTo>
                    <a:pt x="71" y="31"/>
                    <a:pt x="71" y="31"/>
                    <a:pt x="71" y="31"/>
                  </a:cubicBezTo>
                  <a:cubicBezTo>
                    <a:pt x="72" y="31"/>
                    <a:pt x="72" y="31"/>
                    <a:pt x="72" y="31"/>
                  </a:cubicBezTo>
                  <a:cubicBezTo>
                    <a:pt x="73" y="31"/>
                    <a:pt x="73" y="31"/>
                    <a:pt x="73" y="31"/>
                  </a:cubicBezTo>
                  <a:cubicBezTo>
                    <a:pt x="70" y="28"/>
                    <a:pt x="67" y="25"/>
                    <a:pt x="63" y="21"/>
                  </a:cubicBezTo>
                  <a:cubicBezTo>
                    <a:pt x="59" y="17"/>
                    <a:pt x="57" y="11"/>
                    <a:pt x="55" y="6"/>
                  </a:cubicBezTo>
                  <a:cubicBezTo>
                    <a:pt x="53" y="7"/>
                    <a:pt x="53" y="8"/>
                    <a:pt x="52" y="8"/>
                  </a:cubicBezTo>
                  <a:cubicBezTo>
                    <a:pt x="51" y="9"/>
                    <a:pt x="50" y="9"/>
                    <a:pt x="50" y="9"/>
                  </a:cubicBezTo>
                  <a:cubicBezTo>
                    <a:pt x="49" y="9"/>
                    <a:pt x="49" y="9"/>
                    <a:pt x="49" y="9"/>
                  </a:cubicBezTo>
                  <a:cubicBezTo>
                    <a:pt x="48" y="9"/>
                    <a:pt x="48" y="9"/>
                    <a:pt x="48" y="9"/>
                  </a:cubicBezTo>
                  <a:cubicBezTo>
                    <a:pt x="48" y="9"/>
                    <a:pt x="48" y="9"/>
                    <a:pt x="48" y="9"/>
                  </a:cubicBezTo>
                  <a:cubicBezTo>
                    <a:pt x="46" y="9"/>
                    <a:pt x="46" y="9"/>
                    <a:pt x="46" y="9"/>
                  </a:cubicBezTo>
                  <a:cubicBezTo>
                    <a:pt x="43" y="9"/>
                    <a:pt x="41" y="9"/>
                    <a:pt x="37" y="7"/>
                  </a:cubicBezTo>
                  <a:cubicBezTo>
                    <a:pt x="37" y="7"/>
                    <a:pt x="37" y="7"/>
                    <a:pt x="36" y="6"/>
                  </a:cubicBezTo>
                  <a:cubicBezTo>
                    <a:pt x="36" y="6"/>
                    <a:pt x="36" y="6"/>
                    <a:pt x="36" y="6"/>
                  </a:cubicBezTo>
                  <a:cubicBezTo>
                    <a:pt x="35" y="5"/>
                    <a:pt x="33" y="4"/>
                    <a:pt x="32" y="4"/>
                  </a:cubicBezTo>
                  <a:cubicBezTo>
                    <a:pt x="32" y="3"/>
                    <a:pt x="32" y="3"/>
                    <a:pt x="32" y="3"/>
                  </a:cubicBezTo>
                  <a:cubicBezTo>
                    <a:pt x="32" y="3"/>
                    <a:pt x="32" y="3"/>
                    <a:pt x="32" y="3"/>
                  </a:cubicBezTo>
                  <a:cubicBezTo>
                    <a:pt x="31" y="3"/>
                    <a:pt x="31" y="3"/>
                    <a:pt x="31" y="3"/>
                  </a:cubicBezTo>
                  <a:cubicBezTo>
                    <a:pt x="31" y="3"/>
                    <a:pt x="31" y="3"/>
                    <a:pt x="31" y="3"/>
                  </a:cubicBezTo>
                  <a:cubicBezTo>
                    <a:pt x="31" y="3"/>
                    <a:pt x="30" y="4"/>
                    <a:pt x="29" y="4"/>
                  </a:cubicBezTo>
                  <a:cubicBezTo>
                    <a:pt x="27" y="4"/>
                    <a:pt x="26" y="5"/>
                    <a:pt x="25" y="5"/>
                  </a:cubicBezTo>
                  <a:cubicBezTo>
                    <a:pt x="25" y="5"/>
                    <a:pt x="25" y="5"/>
                    <a:pt x="25" y="5"/>
                  </a:cubicBezTo>
                  <a:cubicBezTo>
                    <a:pt x="24" y="5"/>
                    <a:pt x="24" y="5"/>
                    <a:pt x="24" y="5"/>
                  </a:cubicBezTo>
                  <a:cubicBezTo>
                    <a:pt x="20" y="4"/>
                    <a:pt x="17" y="3"/>
                    <a:pt x="14" y="1"/>
                  </a:cubicBezTo>
                  <a:cubicBezTo>
                    <a:pt x="12" y="1"/>
                    <a:pt x="11" y="0"/>
                    <a:pt x="10"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88" name="Freeform 259">
              <a:extLst>
                <a:ext uri="{FF2B5EF4-FFF2-40B4-BE49-F238E27FC236}">
                  <a16:creationId xmlns:a16="http://schemas.microsoft.com/office/drawing/2014/main" id="{75C78F1B-C565-4DFE-BBCF-152C0566C48D}"/>
                </a:ext>
              </a:extLst>
            </p:cNvPr>
            <p:cNvSpPr>
              <a:spLocks/>
            </p:cNvSpPr>
            <p:nvPr/>
          </p:nvSpPr>
          <p:spPr bwMode="auto">
            <a:xfrm>
              <a:off x="7048132" y="994241"/>
              <a:ext cx="0" cy="4237"/>
            </a:xfrm>
            <a:custGeom>
              <a:avLst/>
              <a:gdLst>
                <a:gd name="T0" fmla="*/ 0 h 3"/>
                <a:gd name="T1" fmla="*/ 0 h 3"/>
                <a:gd name="T2" fmla="*/ 3 h 3"/>
                <a:gd name="T3" fmla="*/ 0 h 3"/>
              </a:gdLst>
              <a:ahLst/>
              <a:cxnLst>
                <a:cxn ang="0">
                  <a:pos x="0" y="T0"/>
                </a:cxn>
                <a:cxn ang="0">
                  <a:pos x="0" y="T1"/>
                </a:cxn>
                <a:cxn ang="0">
                  <a:pos x="0" y="T2"/>
                </a:cxn>
                <a:cxn ang="0">
                  <a:pos x="0" y="T3"/>
                </a:cxn>
              </a:cxnLst>
              <a:rect l="0" t="0" r="r" b="b"/>
              <a:pathLst>
                <a:path h="3">
                  <a:moveTo>
                    <a:pt x="0" y="0"/>
                  </a:moveTo>
                  <a:lnTo>
                    <a:pt x="0" y="0"/>
                  </a:lnTo>
                  <a:lnTo>
                    <a:pt x="0"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89" name="Freeform 260">
              <a:extLst>
                <a:ext uri="{FF2B5EF4-FFF2-40B4-BE49-F238E27FC236}">
                  <a16:creationId xmlns:a16="http://schemas.microsoft.com/office/drawing/2014/main" id="{AC248135-5C24-4231-B39D-F7E3C244E2F7}"/>
                </a:ext>
              </a:extLst>
            </p:cNvPr>
            <p:cNvSpPr>
              <a:spLocks/>
            </p:cNvSpPr>
            <p:nvPr/>
          </p:nvSpPr>
          <p:spPr bwMode="auto">
            <a:xfrm>
              <a:off x="7048132" y="994241"/>
              <a:ext cx="0" cy="4237"/>
            </a:xfrm>
            <a:custGeom>
              <a:avLst/>
              <a:gdLst>
                <a:gd name="T0" fmla="*/ 0 h 3"/>
                <a:gd name="T1" fmla="*/ 0 h 3"/>
                <a:gd name="T2" fmla="*/ 3 h 3"/>
                <a:gd name="T3" fmla="*/ 0 h 3"/>
              </a:gdLst>
              <a:ahLst/>
              <a:cxnLst>
                <a:cxn ang="0">
                  <a:pos x="0" y="T0"/>
                </a:cxn>
                <a:cxn ang="0">
                  <a:pos x="0" y="T1"/>
                </a:cxn>
                <a:cxn ang="0">
                  <a:pos x="0" y="T2"/>
                </a:cxn>
                <a:cxn ang="0">
                  <a:pos x="0" y="T3"/>
                </a:cxn>
              </a:cxnLst>
              <a:rect l="0" t="0" r="r" b="b"/>
              <a:pathLst>
                <a:path h="3">
                  <a:moveTo>
                    <a:pt x="0" y="0"/>
                  </a:moveTo>
                  <a:lnTo>
                    <a:pt x="0" y="0"/>
                  </a:lnTo>
                  <a:lnTo>
                    <a:pt x="0"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90" name="Freeform 261">
              <a:extLst>
                <a:ext uri="{FF2B5EF4-FFF2-40B4-BE49-F238E27FC236}">
                  <a16:creationId xmlns:a16="http://schemas.microsoft.com/office/drawing/2014/main" id="{225F7955-B182-41C0-92E5-19752825948C}"/>
                </a:ext>
              </a:extLst>
            </p:cNvPr>
            <p:cNvSpPr>
              <a:spLocks/>
            </p:cNvSpPr>
            <p:nvPr/>
          </p:nvSpPr>
          <p:spPr bwMode="auto">
            <a:xfrm>
              <a:off x="7017062" y="851601"/>
              <a:ext cx="354480" cy="303639"/>
            </a:xfrm>
            <a:custGeom>
              <a:avLst/>
              <a:gdLst>
                <a:gd name="T0" fmla="*/ 97 w 106"/>
                <a:gd name="T1" fmla="*/ 1 h 91"/>
                <a:gd name="T2" fmla="*/ 85 w 106"/>
                <a:gd name="T3" fmla="*/ 4 h 91"/>
                <a:gd name="T4" fmla="*/ 83 w 106"/>
                <a:gd name="T5" fmla="*/ 4 h 91"/>
                <a:gd name="T6" fmla="*/ 82 w 106"/>
                <a:gd name="T7" fmla="*/ 5 h 91"/>
                <a:gd name="T8" fmla="*/ 79 w 106"/>
                <a:gd name="T9" fmla="*/ 6 h 91"/>
                <a:gd name="T10" fmla="*/ 71 w 106"/>
                <a:gd name="T11" fmla="*/ 4 h 91"/>
                <a:gd name="T12" fmla="*/ 68 w 106"/>
                <a:gd name="T13" fmla="*/ 2 h 91"/>
                <a:gd name="T14" fmla="*/ 66 w 106"/>
                <a:gd name="T15" fmla="*/ 3 h 91"/>
                <a:gd name="T16" fmla="*/ 63 w 106"/>
                <a:gd name="T17" fmla="*/ 7 h 91"/>
                <a:gd name="T18" fmla="*/ 62 w 106"/>
                <a:gd name="T19" fmla="*/ 13 h 91"/>
                <a:gd name="T20" fmla="*/ 58 w 106"/>
                <a:gd name="T21" fmla="*/ 15 h 91"/>
                <a:gd name="T22" fmla="*/ 51 w 106"/>
                <a:gd name="T23" fmla="*/ 21 h 91"/>
                <a:gd name="T24" fmla="*/ 46 w 106"/>
                <a:gd name="T25" fmla="*/ 25 h 91"/>
                <a:gd name="T26" fmla="*/ 40 w 106"/>
                <a:gd name="T27" fmla="*/ 21 h 91"/>
                <a:gd name="T28" fmla="*/ 39 w 106"/>
                <a:gd name="T29" fmla="*/ 21 h 91"/>
                <a:gd name="T30" fmla="*/ 31 w 106"/>
                <a:gd name="T31" fmla="*/ 27 h 91"/>
                <a:gd name="T32" fmla="*/ 28 w 106"/>
                <a:gd name="T33" fmla="*/ 26 h 91"/>
                <a:gd name="T34" fmla="*/ 26 w 106"/>
                <a:gd name="T35" fmla="*/ 27 h 91"/>
                <a:gd name="T36" fmla="*/ 27 w 106"/>
                <a:gd name="T37" fmla="*/ 31 h 91"/>
                <a:gd name="T38" fmla="*/ 25 w 106"/>
                <a:gd name="T39" fmla="*/ 37 h 91"/>
                <a:gd name="T40" fmla="*/ 22 w 106"/>
                <a:gd name="T41" fmla="*/ 38 h 91"/>
                <a:gd name="T42" fmla="*/ 20 w 106"/>
                <a:gd name="T43" fmla="*/ 41 h 91"/>
                <a:gd name="T44" fmla="*/ 12 w 106"/>
                <a:gd name="T45" fmla="*/ 45 h 91"/>
                <a:gd name="T46" fmla="*/ 11 w 106"/>
                <a:gd name="T47" fmla="*/ 45 h 91"/>
                <a:gd name="T48" fmla="*/ 9 w 106"/>
                <a:gd name="T49" fmla="*/ 44 h 91"/>
                <a:gd name="T50" fmla="*/ 4 w 106"/>
                <a:gd name="T51" fmla="*/ 40 h 91"/>
                <a:gd name="T52" fmla="*/ 15 w 106"/>
                <a:gd name="T53" fmla="*/ 55 h 91"/>
                <a:gd name="T54" fmla="*/ 25 w 106"/>
                <a:gd name="T55" fmla="*/ 66 h 91"/>
                <a:gd name="T56" fmla="*/ 46 w 106"/>
                <a:gd name="T57" fmla="*/ 84 h 91"/>
                <a:gd name="T58" fmla="*/ 47 w 106"/>
                <a:gd name="T59" fmla="*/ 83 h 91"/>
                <a:gd name="T60" fmla="*/ 50 w 106"/>
                <a:gd name="T61" fmla="*/ 82 h 91"/>
                <a:gd name="T62" fmla="*/ 51 w 106"/>
                <a:gd name="T63" fmla="*/ 82 h 91"/>
                <a:gd name="T64" fmla="*/ 53 w 106"/>
                <a:gd name="T65" fmla="*/ 82 h 91"/>
                <a:gd name="T66" fmla="*/ 43 w 106"/>
                <a:gd name="T67" fmla="*/ 69 h 91"/>
                <a:gd name="T68" fmla="*/ 49 w 106"/>
                <a:gd name="T69" fmla="*/ 64 h 91"/>
                <a:gd name="T70" fmla="*/ 73 w 106"/>
                <a:gd name="T71" fmla="*/ 86 h 91"/>
                <a:gd name="T72" fmla="*/ 74 w 106"/>
                <a:gd name="T73" fmla="*/ 86 h 91"/>
                <a:gd name="T74" fmla="*/ 82 w 106"/>
                <a:gd name="T75" fmla="*/ 90 h 91"/>
                <a:gd name="T76" fmla="*/ 89 w 106"/>
                <a:gd name="T77" fmla="*/ 91 h 91"/>
                <a:gd name="T78" fmla="*/ 91 w 106"/>
                <a:gd name="T79" fmla="*/ 91 h 91"/>
                <a:gd name="T80" fmla="*/ 93 w 106"/>
                <a:gd name="T81" fmla="*/ 89 h 91"/>
                <a:gd name="T82" fmla="*/ 95 w 106"/>
                <a:gd name="T83" fmla="*/ 75 h 91"/>
                <a:gd name="T84" fmla="*/ 94 w 106"/>
                <a:gd name="T85" fmla="*/ 66 h 91"/>
                <a:gd name="T86" fmla="*/ 93 w 106"/>
                <a:gd name="T87" fmla="*/ 54 h 91"/>
                <a:gd name="T88" fmla="*/ 97 w 106"/>
                <a:gd name="T89" fmla="*/ 49 h 91"/>
                <a:gd name="T90" fmla="*/ 96 w 106"/>
                <a:gd name="T91" fmla="*/ 57 h 91"/>
                <a:gd name="T92" fmla="*/ 98 w 106"/>
                <a:gd name="T93" fmla="*/ 49 h 91"/>
                <a:gd name="T94" fmla="*/ 104 w 106"/>
                <a:gd name="T95" fmla="*/ 15 h 91"/>
                <a:gd name="T96" fmla="*/ 102 w 106"/>
                <a:gd name="T9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 h="91">
                  <a:moveTo>
                    <a:pt x="102" y="0"/>
                  </a:moveTo>
                  <a:cubicBezTo>
                    <a:pt x="100" y="0"/>
                    <a:pt x="98" y="1"/>
                    <a:pt x="97" y="1"/>
                  </a:cubicBezTo>
                  <a:cubicBezTo>
                    <a:pt x="93" y="2"/>
                    <a:pt x="93" y="2"/>
                    <a:pt x="93" y="2"/>
                  </a:cubicBezTo>
                  <a:cubicBezTo>
                    <a:pt x="90" y="3"/>
                    <a:pt x="87" y="3"/>
                    <a:pt x="85" y="4"/>
                  </a:cubicBezTo>
                  <a:cubicBezTo>
                    <a:pt x="84" y="4"/>
                    <a:pt x="84" y="4"/>
                    <a:pt x="84" y="4"/>
                  </a:cubicBezTo>
                  <a:cubicBezTo>
                    <a:pt x="84" y="4"/>
                    <a:pt x="83" y="4"/>
                    <a:pt x="83" y="4"/>
                  </a:cubicBezTo>
                  <a:cubicBezTo>
                    <a:pt x="83" y="4"/>
                    <a:pt x="83" y="4"/>
                    <a:pt x="83" y="4"/>
                  </a:cubicBezTo>
                  <a:cubicBezTo>
                    <a:pt x="82" y="4"/>
                    <a:pt x="82" y="5"/>
                    <a:pt x="82" y="5"/>
                  </a:cubicBezTo>
                  <a:cubicBezTo>
                    <a:pt x="81" y="5"/>
                    <a:pt x="80" y="5"/>
                    <a:pt x="80" y="6"/>
                  </a:cubicBezTo>
                  <a:cubicBezTo>
                    <a:pt x="79" y="6"/>
                    <a:pt x="79" y="6"/>
                    <a:pt x="79" y="6"/>
                  </a:cubicBezTo>
                  <a:cubicBezTo>
                    <a:pt x="78" y="6"/>
                    <a:pt x="78" y="6"/>
                    <a:pt x="77" y="6"/>
                  </a:cubicBezTo>
                  <a:cubicBezTo>
                    <a:pt x="74" y="6"/>
                    <a:pt x="72" y="5"/>
                    <a:pt x="71" y="4"/>
                  </a:cubicBezTo>
                  <a:cubicBezTo>
                    <a:pt x="70" y="3"/>
                    <a:pt x="70" y="3"/>
                    <a:pt x="70" y="3"/>
                  </a:cubicBezTo>
                  <a:cubicBezTo>
                    <a:pt x="69" y="3"/>
                    <a:pt x="68" y="2"/>
                    <a:pt x="68" y="2"/>
                  </a:cubicBezTo>
                  <a:cubicBezTo>
                    <a:pt x="68" y="2"/>
                    <a:pt x="68" y="2"/>
                    <a:pt x="68" y="2"/>
                  </a:cubicBezTo>
                  <a:cubicBezTo>
                    <a:pt x="67" y="2"/>
                    <a:pt x="66" y="3"/>
                    <a:pt x="66" y="3"/>
                  </a:cubicBezTo>
                  <a:cubicBezTo>
                    <a:pt x="66" y="4"/>
                    <a:pt x="66" y="5"/>
                    <a:pt x="65" y="6"/>
                  </a:cubicBezTo>
                  <a:cubicBezTo>
                    <a:pt x="65" y="7"/>
                    <a:pt x="64" y="7"/>
                    <a:pt x="63" y="7"/>
                  </a:cubicBezTo>
                  <a:cubicBezTo>
                    <a:pt x="63" y="8"/>
                    <a:pt x="63" y="9"/>
                    <a:pt x="63" y="10"/>
                  </a:cubicBezTo>
                  <a:cubicBezTo>
                    <a:pt x="63" y="11"/>
                    <a:pt x="63" y="12"/>
                    <a:pt x="62" y="13"/>
                  </a:cubicBezTo>
                  <a:cubicBezTo>
                    <a:pt x="61" y="14"/>
                    <a:pt x="60" y="14"/>
                    <a:pt x="59" y="15"/>
                  </a:cubicBezTo>
                  <a:cubicBezTo>
                    <a:pt x="58" y="15"/>
                    <a:pt x="58" y="15"/>
                    <a:pt x="58" y="15"/>
                  </a:cubicBezTo>
                  <a:cubicBezTo>
                    <a:pt x="56" y="17"/>
                    <a:pt x="54" y="18"/>
                    <a:pt x="53" y="19"/>
                  </a:cubicBezTo>
                  <a:cubicBezTo>
                    <a:pt x="52" y="20"/>
                    <a:pt x="52" y="20"/>
                    <a:pt x="51" y="21"/>
                  </a:cubicBezTo>
                  <a:cubicBezTo>
                    <a:pt x="51" y="21"/>
                    <a:pt x="51" y="21"/>
                    <a:pt x="51" y="21"/>
                  </a:cubicBezTo>
                  <a:cubicBezTo>
                    <a:pt x="50" y="23"/>
                    <a:pt x="49" y="25"/>
                    <a:pt x="46" y="25"/>
                  </a:cubicBezTo>
                  <a:cubicBezTo>
                    <a:pt x="46" y="25"/>
                    <a:pt x="45" y="24"/>
                    <a:pt x="43" y="24"/>
                  </a:cubicBezTo>
                  <a:cubicBezTo>
                    <a:pt x="42" y="23"/>
                    <a:pt x="41" y="22"/>
                    <a:pt x="40" y="21"/>
                  </a:cubicBezTo>
                  <a:cubicBezTo>
                    <a:pt x="40" y="21"/>
                    <a:pt x="40" y="21"/>
                    <a:pt x="40" y="21"/>
                  </a:cubicBezTo>
                  <a:cubicBezTo>
                    <a:pt x="39" y="21"/>
                    <a:pt x="39" y="21"/>
                    <a:pt x="39" y="21"/>
                  </a:cubicBezTo>
                  <a:cubicBezTo>
                    <a:pt x="38" y="23"/>
                    <a:pt x="37" y="24"/>
                    <a:pt x="36" y="25"/>
                  </a:cubicBezTo>
                  <a:cubicBezTo>
                    <a:pt x="34" y="26"/>
                    <a:pt x="33" y="27"/>
                    <a:pt x="31" y="27"/>
                  </a:cubicBezTo>
                  <a:cubicBezTo>
                    <a:pt x="30" y="27"/>
                    <a:pt x="30" y="27"/>
                    <a:pt x="29" y="26"/>
                  </a:cubicBezTo>
                  <a:cubicBezTo>
                    <a:pt x="28" y="26"/>
                    <a:pt x="28" y="26"/>
                    <a:pt x="28" y="26"/>
                  </a:cubicBezTo>
                  <a:cubicBezTo>
                    <a:pt x="28" y="26"/>
                    <a:pt x="27" y="26"/>
                    <a:pt x="26" y="26"/>
                  </a:cubicBezTo>
                  <a:cubicBezTo>
                    <a:pt x="26" y="27"/>
                    <a:pt x="26" y="27"/>
                    <a:pt x="26" y="27"/>
                  </a:cubicBezTo>
                  <a:cubicBezTo>
                    <a:pt x="26" y="28"/>
                    <a:pt x="26" y="29"/>
                    <a:pt x="26" y="30"/>
                  </a:cubicBezTo>
                  <a:cubicBezTo>
                    <a:pt x="27" y="31"/>
                    <a:pt x="27" y="31"/>
                    <a:pt x="27" y="31"/>
                  </a:cubicBezTo>
                  <a:cubicBezTo>
                    <a:pt x="27" y="32"/>
                    <a:pt x="27" y="32"/>
                    <a:pt x="27" y="33"/>
                  </a:cubicBezTo>
                  <a:cubicBezTo>
                    <a:pt x="27" y="35"/>
                    <a:pt x="26" y="36"/>
                    <a:pt x="25" y="37"/>
                  </a:cubicBezTo>
                  <a:cubicBezTo>
                    <a:pt x="24" y="38"/>
                    <a:pt x="24" y="38"/>
                    <a:pt x="24" y="38"/>
                  </a:cubicBezTo>
                  <a:cubicBezTo>
                    <a:pt x="24" y="38"/>
                    <a:pt x="23" y="38"/>
                    <a:pt x="22" y="38"/>
                  </a:cubicBezTo>
                  <a:cubicBezTo>
                    <a:pt x="22" y="38"/>
                    <a:pt x="22" y="38"/>
                    <a:pt x="22" y="38"/>
                  </a:cubicBezTo>
                  <a:cubicBezTo>
                    <a:pt x="22" y="39"/>
                    <a:pt x="21" y="40"/>
                    <a:pt x="20" y="41"/>
                  </a:cubicBezTo>
                  <a:cubicBezTo>
                    <a:pt x="20" y="42"/>
                    <a:pt x="20" y="42"/>
                    <a:pt x="20" y="42"/>
                  </a:cubicBezTo>
                  <a:cubicBezTo>
                    <a:pt x="17" y="44"/>
                    <a:pt x="16" y="45"/>
                    <a:pt x="12" y="45"/>
                  </a:cubicBezTo>
                  <a:cubicBezTo>
                    <a:pt x="11" y="45"/>
                    <a:pt x="11" y="45"/>
                    <a:pt x="11" y="45"/>
                  </a:cubicBezTo>
                  <a:cubicBezTo>
                    <a:pt x="11" y="45"/>
                    <a:pt x="11" y="45"/>
                    <a:pt x="11" y="45"/>
                  </a:cubicBezTo>
                  <a:cubicBezTo>
                    <a:pt x="10" y="45"/>
                    <a:pt x="10" y="45"/>
                    <a:pt x="10" y="45"/>
                  </a:cubicBezTo>
                  <a:cubicBezTo>
                    <a:pt x="9" y="44"/>
                    <a:pt x="9" y="44"/>
                    <a:pt x="9" y="44"/>
                  </a:cubicBezTo>
                  <a:cubicBezTo>
                    <a:pt x="9" y="44"/>
                    <a:pt x="9" y="44"/>
                    <a:pt x="9" y="44"/>
                  </a:cubicBezTo>
                  <a:cubicBezTo>
                    <a:pt x="6" y="43"/>
                    <a:pt x="6" y="42"/>
                    <a:pt x="4" y="40"/>
                  </a:cubicBezTo>
                  <a:cubicBezTo>
                    <a:pt x="3" y="42"/>
                    <a:pt x="0" y="43"/>
                    <a:pt x="3" y="45"/>
                  </a:cubicBezTo>
                  <a:cubicBezTo>
                    <a:pt x="6" y="48"/>
                    <a:pt x="11" y="52"/>
                    <a:pt x="15" y="55"/>
                  </a:cubicBezTo>
                  <a:cubicBezTo>
                    <a:pt x="17" y="56"/>
                    <a:pt x="19" y="58"/>
                    <a:pt x="22" y="60"/>
                  </a:cubicBezTo>
                  <a:cubicBezTo>
                    <a:pt x="23" y="61"/>
                    <a:pt x="24" y="64"/>
                    <a:pt x="25" y="66"/>
                  </a:cubicBezTo>
                  <a:cubicBezTo>
                    <a:pt x="30" y="73"/>
                    <a:pt x="38" y="79"/>
                    <a:pt x="45" y="85"/>
                  </a:cubicBezTo>
                  <a:cubicBezTo>
                    <a:pt x="46" y="84"/>
                    <a:pt x="46" y="84"/>
                    <a:pt x="46" y="84"/>
                  </a:cubicBezTo>
                  <a:cubicBezTo>
                    <a:pt x="47" y="83"/>
                    <a:pt x="47" y="83"/>
                    <a:pt x="47" y="83"/>
                  </a:cubicBezTo>
                  <a:cubicBezTo>
                    <a:pt x="47" y="83"/>
                    <a:pt x="47" y="83"/>
                    <a:pt x="47" y="83"/>
                  </a:cubicBezTo>
                  <a:cubicBezTo>
                    <a:pt x="48" y="82"/>
                    <a:pt x="48" y="82"/>
                    <a:pt x="48" y="82"/>
                  </a:cubicBezTo>
                  <a:cubicBezTo>
                    <a:pt x="49" y="82"/>
                    <a:pt x="49" y="82"/>
                    <a:pt x="50" y="82"/>
                  </a:cubicBezTo>
                  <a:cubicBezTo>
                    <a:pt x="50" y="82"/>
                    <a:pt x="50" y="82"/>
                    <a:pt x="51" y="82"/>
                  </a:cubicBezTo>
                  <a:cubicBezTo>
                    <a:pt x="51" y="82"/>
                    <a:pt x="51" y="82"/>
                    <a:pt x="51" y="82"/>
                  </a:cubicBezTo>
                  <a:cubicBezTo>
                    <a:pt x="51" y="82"/>
                    <a:pt x="52" y="82"/>
                    <a:pt x="53" y="82"/>
                  </a:cubicBezTo>
                  <a:cubicBezTo>
                    <a:pt x="53" y="82"/>
                    <a:pt x="53" y="82"/>
                    <a:pt x="53" y="82"/>
                  </a:cubicBezTo>
                  <a:cubicBezTo>
                    <a:pt x="50" y="81"/>
                    <a:pt x="48" y="80"/>
                    <a:pt x="46" y="78"/>
                  </a:cubicBezTo>
                  <a:cubicBezTo>
                    <a:pt x="44" y="75"/>
                    <a:pt x="44" y="72"/>
                    <a:pt x="43" y="69"/>
                  </a:cubicBezTo>
                  <a:cubicBezTo>
                    <a:pt x="43" y="66"/>
                    <a:pt x="44" y="63"/>
                    <a:pt x="46" y="63"/>
                  </a:cubicBezTo>
                  <a:cubicBezTo>
                    <a:pt x="47" y="63"/>
                    <a:pt x="48" y="63"/>
                    <a:pt x="49" y="64"/>
                  </a:cubicBezTo>
                  <a:cubicBezTo>
                    <a:pt x="54" y="65"/>
                    <a:pt x="72" y="81"/>
                    <a:pt x="70" y="86"/>
                  </a:cubicBezTo>
                  <a:cubicBezTo>
                    <a:pt x="71" y="86"/>
                    <a:pt x="72" y="86"/>
                    <a:pt x="73" y="86"/>
                  </a:cubicBezTo>
                  <a:cubicBezTo>
                    <a:pt x="74" y="86"/>
                    <a:pt x="74" y="86"/>
                    <a:pt x="74" y="86"/>
                  </a:cubicBezTo>
                  <a:cubicBezTo>
                    <a:pt x="74" y="86"/>
                    <a:pt x="74" y="86"/>
                    <a:pt x="74" y="86"/>
                  </a:cubicBezTo>
                  <a:cubicBezTo>
                    <a:pt x="76" y="86"/>
                    <a:pt x="78" y="87"/>
                    <a:pt x="81" y="89"/>
                  </a:cubicBezTo>
                  <a:cubicBezTo>
                    <a:pt x="82" y="90"/>
                    <a:pt x="82" y="90"/>
                    <a:pt x="82" y="90"/>
                  </a:cubicBezTo>
                  <a:cubicBezTo>
                    <a:pt x="84" y="91"/>
                    <a:pt x="85" y="91"/>
                    <a:pt x="88" y="91"/>
                  </a:cubicBezTo>
                  <a:cubicBezTo>
                    <a:pt x="89" y="91"/>
                    <a:pt x="89" y="91"/>
                    <a:pt x="89" y="91"/>
                  </a:cubicBezTo>
                  <a:cubicBezTo>
                    <a:pt x="90" y="91"/>
                    <a:pt x="90" y="91"/>
                    <a:pt x="90" y="91"/>
                  </a:cubicBezTo>
                  <a:cubicBezTo>
                    <a:pt x="91" y="91"/>
                    <a:pt x="91" y="91"/>
                    <a:pt x="91" y="91"/>
                  </a:cubicBezTo>
                  <a:cubicBezTo>
                    <a:pt x="91" y="91"/>
                    <a:pt x="91" y="91"/>
                    <a:pt x="91" y="91"/>
                  </a:cubicBezTo>
                  <a:cubicBezTo>
                    <a:pt x="91" y="91"/>
                    <a:pt x="92" y="90"/>
                    <a:pt x="93" y="89"/>
                  </a:cubicBezTo>
                  <a:cubicBezTo>
                    <a:pt x="91" y="87"/>
                    <a:pt x="90" y="84"/>
                    <a:pt x="90" y="83"/>
                  </a:cubicBezTo>
                  <a:cubicBezTo>
                    <a:pt x="90" y="80"/>
                    <a:pt x="92" y="75"/>
                    <a:pt x="95" y="75"/>
                  </a:cubicBezTo>
                  <a:cubicBezTo>
                    <a:pt x="91" y="68"/>
                    <a:pt x="91" y="70"/>
                    <a:pt x="92" y="62"/>
                  </a:cubicBezTo>
                  <a:cubicBezTo>
                    <a:pt x="93" y="63"/>
                    <a:pt x="94" y="65"/>
                    <a:pt x="94" y="66"/>
                  </a:cubicBezTo>
                  <a:cubicBezTo>
                    <a:pt x="95" y="62"/>
                    <a:pt x="95" y="59"/>
                    <a:pt x="93" y="55"/>
                  </a:cubicBezTo>
                  <a:cubicBezTo>
                    <a:pt x="93" y="54"/>
                    <a:pt x="93" y="54"/>
                    <a:pt x="93" y="54"/>
                  </a:cubicBezTo>
                  <a:cubicBezTo>
                    <a:pt x="92" y="54"/>
                    <a:pt x="92" y="54"/>
                    <a:pt x="92" y="54"/>
                  </a:cubicBezTo>
                  <a:cubicBezTo>
                    <a:pt x="92" y="52"/>
                    <a:pt x="96" y="52"/>
                    <a:pt x="97" y="49"/>
                  </a:cubicBezTo>
                  <a:cubicBezTo>
                    <a:pt x="97" y="52"/>
                    <a:pt x="96" y="54"/>
                    <a:pt x="96" y="57"/>
                  </a:cubicBezTo>
                  <a:cubicBezTo>
                    <a:pt x="96" y="57"/>
                    <a:pt x="96" y="57"/>
                    <a:pt x="96" y="57"/>
                  </a:cubicBezTo>
                  <a:cubicBezTo>
                    <a:pt x="97" y="57"/>
                    <a:pt x="97" y="57"/>
                    <a:pt x="97" y="57"/>
                  </a:cubicBezTo>
                  <a:cubicBezTo>
                    <a:pt x="100" y="57"/>
                    <a:pt x="99" y="50"/>
                    <a:pt x="98" y="49"/>
                  </a:cubicBezTo>
                  <a:cubicBezTo>
                    <a:pt x="98" y="42"/>
                    <a:pt x="99" y="36"/>
                    <a:pt x="101" y="28"/>
                  </a:cubicBezTo>
                  <a:cubicBezTo>
                    <a:pt x="102" y="24"/>
                    <a:pt x="102" y="19"/>
                    <a:pt x="104" y="15"/>
                  </a:cubicBezTo>
                  <a:cubicBezTo>
                    <a:pt x="104" y="14"/>
                    <a:pt x="105" y="13"/>
                    <a:pt x="105" y="12"/>
                  </a:cubicBezTo>
                  <a:cubicBezTo>
                    <a:pt x="106" y="9"/>
                    <a:pt x="105" y="1"/>
                    <a:pt x="10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91" name="Rectangle 262">
              <a:extLst>
                <a:ext uri="{FF2B5EF4-FFF2-40B4-BE49-F238E27FC236}">
                  <a16:creationId xmlns:a16="http://schemas.microsoft.com/office/drawing/2014/main" id="{1A0AEAE8-04DA-4E6E-B7AD-D56E962456BE}"/>
                </a:ext>
              </a:extLst>
            </p:cNvPr>
            <p:cNvSpPr>
              <a:spLocks noChangeArrowheads="1"/>
            </p:cNvSpPr>
            <p:nvPr/>
          </p:nvSpPr>
          <p:spPr bwMode="auto">
            <a:xfrm>
              <a:off x="6860300" y="915153"/>
              <a:ext cx="1412" cy="14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92" name="Freeform 263">
              <a:extLst>
                <a:ext uri="{FF2B5EF4-FFF2-40B4-BE49-F238E27FC236}">
                  <a16:creationId xmlns:a16="http://schemas.microsoft.com/office/drawing/2014/main" id="{AA5276EB-2A29-497B-9AF4-D46CFB5E4B28}"/>
                </a:ext>
              </a:extLst>
            </p:cNvPr>
            <p:cNvSpPr>
              <a:spLocks/>
            </p:cNvSpPr>
            <p:nvPr/>
          </p:nvSpPr>
          <p:spPr bwMode="auto">
            <a:xfrm>
              <a:off x="6860300" y="915153"/>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93" name="Freeform 264">
              <a:extLst>
                <a:ext uri="{FF2B5EF4-FFF2-40B4-BE49-F238E27FC236}">
                  <a16:creationId xmlns:a16="http://schemas.microsoft.com/office/drawing/2014/main" id="{A2713492-274D-4AC2-B421-7E45256A7262}"/>
                </a:ext>
              </a:extLst>
            </p:cNvPr>
            <p:cNvSpPr>
              <a:spLocks/>
            </p:cNvSpPr>
            <p:nvPr/>
          </p:nvSpPr>
          <p:spPr bwMode="auto">
            <a:xfrm>
              <a:off x="6887133" y="888320"/>
              <a:ext cx="2825" cy="0"/>
            </a:xfrm>
            <a:custGeom>
              <a:avLst/>
              <a:gdLst>
                <a:gd name="T0" fmla="*/ 0 w 2"/>
                <a:gd name="T1" fmla="*/ 0 w 2"/>
                <a:gd name="T2" fmla="*/ 0 w 2"/>
                <a:gd name="T3" fmla="*/ 2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94" name="Freeform 265">
              <a:extLst>
                <a:ext uri="{FF2B5EF4-FFF2-40B4-BE49-F238E27FC236}">
                  <a16:creationId xmlns:a16="http://schemas.microsoft.com/office/drawing/2014/main" id="{0E3E7994-3ED4-4406-A584-DA5F80192953}"/>
                </a:ext>
              </a:extLst>
            </p:cNvPr>
            <p:cNvSpPr>
              <a:spLocks/>
            </p:cNvSpPr>
            <p:nvPr/>
          </p:nvSpPr>
          <p:spPr bwMode="auto">
            <a:xfrm>
              <a:off x="6887133" y="888320"/>
              <a:ext cx="2825" cy="0"/>
            </a:xfrm>
            <a:custGeom>
              <a:avLst/>
              <a:gdLst>
                <a:gd name="T0" fmla="*/ 0 w 2"/>
                <a:gd name="T1" fmla="*/ 0 w 2"/>
                <a:gd name="T2" fmla="*/ 0 w 2"/>
                <a:gd name="T3" fmla="*/ 2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0" y="0"/>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95" name="Freeform 266">
              <a:extLst>
                <a:ext uri="{FF2B5EF4-FFF2-40B4-BE49-F238E27FC236}">
                  <a16:creationId xmlns:a16="http://schemas.microsoft.com/office/drawing/2014/main" id="{9311C68A-433F-4CEA-893D-F330B48BB7A6}"/>
                </a:ext>
              </a:extLst>
            </p:cNvPr>
            <p:cNvSpPr>
              <a:spLocks/>
            </p:cNvSpPr>
            <p:nvPr/>
          </p:nvSpPr>
          <p:spPr bwMode="auto">
            <a:xfrm>
              <a:off x="6843353" y="888320"/>
              <a:ext cx="168060" cy="93210"/>
            </a:xfrm>
            <a:custGeom>
              <a:avLst/>
              <a:gdLst>
                <a:gd name="T0" fmla="*/ 16 w 50"/>
                <a:gd name="T1" fmla="*/ 0 h 28"/>
                <a:gd name="T2" fmla="*/ 16 w 50"/>
                <a:gd name="T3" fmla="*/ 1 h 28"/>
                <a:gd name="T4" fmla="*/ 15 w 50"/>
                <a:gd name="T5" fmla="*/ 1 h 28"/>
                <a:gd name="T6" fmla="*/ 14 w 50"/>
                <a:gd name="T7" fmla="*/ 1 h 28"/>
                <a:gd name="T8" fmla="*/ 13 w 50"/>
                <a:gd name="T9" fmla="*/ 3 h 28"/>
                <a:gd name="T10" fmla="*/ 9 w 50"/>
                <a:gd name="T11" fmla="*/ 6 h 28"/>
                <a:gd name="T12" fmla="*/ 9 w 50"/>
                <a:gd name="T13" fmla="*/ 6 h 28"/>
                <a:gd name="T14" fmla="*/ 9 w 50"/>
                <a:gd name="T15" fmla="*/ 6 h 28"/>
                <a:gd name="T16" fmla="*/ 9 w 50"/>
                <a:gd name="T17" fmla="*/ 6 h 28"/>
                <a:gd name="T18" fmla="*/ 9 w 50"/>
                <a:gd name="T19" fmla="*/ 14 h 28"/>
                <a:gd name="T20" fmla="*/ 4 w 50"/>
                <a:gd name="T21" fmla="*/ 9 h 28"/>
                <a:gd name="T22" fmla="*/ 4 w 50"/>
                <a:gd name="T23" fmla="*/ 9 h 28"/>
                <a:gd name="T24" fmla="*/ 2 w 50"/>
                <a:gd name="T25" fmla="*/ 10 h 28"/>
                <a:gd name="T26" fmla="*/ 0 w 50"/>
                <a:gd name="T27" fmla="*/ 14 h 28"/>
                <a:gd name="T28" fmla="*/ 0 w 50"/>
                <a:gd name="T29" fmla="*/ 15 h 28"/>
                <a:gd name="T30" fmla="*/ 12 w 50"/>
                <a:gd name="T31" fmla="*/ 20 h 28"/>
                <a:gd name="T32" fmla="*/ 27 w 50"/>
                <a:gd name="T33" fmla="*/ 25 h 28"/>
                <a:gd name="T34" fmla="*/ 44 w 50"/>
                <a:gd name="T35" fmla="*/ 27 h 28"/>
                <a:gd name="T36" fmla="*/ 48 w 50"/>
                <a:gd name="T37" fmla="*/ 28 h 28"/>
                <a:gd name="T38" fmla="*/ 48 w 50"/>
                <a:gd name="T39" fmla="*/ 27 h 28"/>
                <a:gd name="T40" fmla="*/ 50 w 50"/>
                <a:gd name="T41" fmla="*/ 23 h 28"/>
                <a:gd name="T42" fmla="*/ 49 w 50"/>
                <a:gd name="T43" fmla="*/ 23 h 28"/>
                <a:gd name="T44" fmla="*/ 49 w 50"/>
                <a:gd name="T45" fmla="*/ 22 h 28"/>
                <a:gd name="T46" fmla="*/ 49 w 50"/>
                <a:gd name="T47" fmla="*/ 20 h 28"/>
                <a:gd name="T48" fmla="*/ 49 w 50"/>
                <a:gd name="T49" fmla="*/ 20 h 28"/>
                <a:gd name="T50" fmla="*/ 49 w 50"/>
                <a:gd name="T51" fmla="*/ 16 h 28"/>
                <a:gd name="T52" fmla="*/ 49 w 50"/>
                <a:gd name="T53" fmla="*/ 15 h 28"/>
                <a:gd name="T54" fmla="*/ 50 w 50"/>
                <a:gd name="T55" fmla="*/ 13 h 28"/>
                <a:gd name="T56" fmla="*/ 50 w 50"/>
                <a:gd name="T57" fmla="*/ 13 h 28"/>
                <a:gd name="T58" fmla="*/ 49 w 50"/>
                <a:gd name="T59" fmla="*/ 13 h 28"/>
                <a:gd name="T60" fmla="*/ 48 w 50"/>
                <a:gd name="T61" fmla="*/ 13 h 28"/>
                <a:gd name="T62" fmla="*/ 48 w 50"/>
                <a:gd name="T63" fmla="*/ 13 h 28"/>
                <a:gd name="T64" fmla="*/ 47 w 50"/>
                <a:gd name="T65" fmla="*/ 13 h 28"/>
                <a:gd name="T66" fmla="*/ 46 w 50"/>
                <a:gd name="T67" fmla="*/ 12 h 28"/>
                <a:gd name="T68" fmla="*/ 43 w 50"/>
                <a:gd name="T69" fmla="*/ 11 h 28"/>
                <a:gd name="T70" fmla="*/ 43 w 50"/>
                <a:gd name="T71" fmla="*/ 10 h 28"/>
                <a:gd name="T72" fmla="*/ 43 w 50"/>
                <a:gd name="T73" fmla="*/ 10 h 28"/>
                <a:gd name="T74" fmla="*/ 42 w 50"/>
                <a:gd name="T75" fmla="*/ 10 h 28"/>
                <a:gd name="T76" fmla="*/ 41 w 50"/>
                <a:gd name="T77" fmla="*/ 12 h 28"/>
                <a:gd name="T78" fmla="*/ 39 w 50"/>
                <a:gd name="T79" fmla="*/ 12 h 28"/>
                <a:gd name="T80" fmla="*/ 37 w 50"/>
                <a:gd name="T81" fmla="*/ 13 h 28"/>
                <a:gd name="T82" fmla="*/ 36 w 50"/>
                <a:gd name="T83" fmla="*/ 13 h 28"/>
                <a:gd name="T84" fmla="*/ 31 w 50"/>
                <a:gd name="T85" fmla="*/ 14 h 28"/>
                <a:gd name="T86" fmla="*/ 32 w 50"/>
                <a:gd name="T87" fmla="*/ 10 h 28"/>
                <a:gd name="T88" fmla="*/ 31 w 50"/>
                <a:gd name="T89" fmla="*/ 10 h 28"/>
                <a:gd name="T90" fmla="*/ 30 w 50"/>
                <a:gd name="T91" fmla="*/ 10 h 28"/>
                <a:gd name="T92" fmla="*/ 27 w 50"/>
                <a:gd name="T93" fmla="*/ 8 h 28"/>
                <a:gd name="T94" fmla="*/ 27 w 50"/>
                <a:gd name="T95" fmla="*/ 7 h 28"/>
                <a:gd name="T96" fmla="*/ 25 w 50"/>
                <a:gd name="T97" fmla="*/ 6 h 28"/>
                <a:gd name="T98" fmla="*/ 22 w 50"/>
                <a:gd name="T99" fmla="*/ 10 h 28"/>
                <a:gd name="T100" fmla="*/ 24 w 50"/>
                <a:gd name="T101" fmla="*/ 5 h 28"/>
                <a:gd name="T102" fmla="*/ 21 w 50"/>
                <a:gd name="T103" fmla="*/ 3 h 28"/>
                <a:gd name="T104" fmla="*/ 19 w 50"/>
                <a:gd name="T105" fmla="*/ 1 h 28"/>
                <a:gd name="T106" fmla="*/ 19 w 50"/>
                <a:gd name="T107" fmla="*/ 1 h 28"/>
                <a:gd name="T108" fmla="*/ 16 w 50"/>
                <a:gd name="T109" fmla="*/ 0 h 28"/>
                <a:gd name="T110" fmla="*/ 16 w 50"/>
                <a:gd name="T11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 h="28">
                  <a:moveTo>
                    <a:pt x="16" y="0"/>
                  </a:moveTo>
                  <a:cubicBezTo>
                    <a:pt x="16" y="1"/>
                    <a:pt x="16" y="1"/>
                    <a:pt x="16" y="1"/>
                  </a:cubicBezTo>
                  <a:cubicBezTo>
                    <a:pt x="15" y="1"/>
                    <a:pt x="15" y="1"/>
                    <a:pt x="15" y="1"/>
                  </a:cubicBezTo>
                  <a:cubicBezTo>
                    <a:pt x="14" y="1"/>
                    <a:pt x="14" y="1"/>
                    <a:pt x="14" y="1"/>
                  </a:cubicBezTo>
                  <a:cubicBezTo>
                    <a:pt x="14" y="2"/>
                    <a:pt x="14" y="3"/>
                    <a:pt x="13" y="3"/>
                  </a:cubicBezTo>
                  <a:cubicBezTo>
                    <a:pt x="12" y="5"/>
                    <a:pt x="10" y="6"/>
                    <a:pt x="9" y="6"/>
                  </a:cubicBezTo>
                  <a:cubicBezTo>
                    <a:pt x="9" y="6"/>
                    <a:pt x="9" y="6"/>
                    <a:pt x="9" y="6"/>
                  </a:cubicBezTo>
                  <a:cubicBezTo>
                    <a:pt x="9" y="6"/>
                    <a:pt x="9" y="6"/>
                    <a:pt x="9" y="6"/>
                  </a:cubicBezTo>
                  <a:cubicBezTo>
                    <a:pt x="9" y="6"/>
                    <a:pt x="9" y="6"/>
                    <a:pt x="9" y="6"/>
                  </a:cubicBezTo>
                  <a:cubicBezTo>
                    <a:pt x="9" y="14"/>
                    <a:pt x="9" y="14"/>
                    <a:pt x="9" y="14"/>
                  </a:cubicBezTo>
                  <a:cubicBezTo>
                    <a:pt x="4" y="9"/>
                    <a:pt x="4" y="9"/>
                    <a:pt x="4" y="9"/>
                  </a:cubicBezTo>
                  <a:cubicBezTo>
                    <a:pt x="4" y="9"/>
                    <a:pt x="4" y="9"/>
                    <a:pt x="4" y="9"/>
                  </a:cubicBezTo>
                  <a:cubicBezTo>
                    <a:pt x="3" y="9"/>
                    <a:pt x="2" y="10"/>
                    <a:pt x="2" y="10"/>
                  </a:cubicBezTo>
                  <a:cubicBezTo>
                    <a:pt x="2" y="10"/>
                    <a:pt x="1" y="12"/>
                    <a:pt x="0" y="14"/>
                  </a:cubicBezTo>
                  <a:cubicBezTo>
                    <a:pt x="0" y="15"/>
                    <a:pt x="0" y="15"/>
                    <a:pt x="0" y="15"/>
                  </a:cubicBezTo>
                  <a:cubicBezTo>
                    <a:pt x="4" y="17"/>
                    <a:pt x="8" y="19"/>
                    <a:pt x="12" y="20"/>
                  </a:cubicBezTo>
                  <a:cubicBezTo>
                    <a:pt x="18" y="21"/>
                    <a:pt x="22" y="23"/>
                    <a:pt x="27" y="25"/>
                  </a:cubicBezTo>
                  <a:cubicBezTo>
                    <a:pt x="32" y="27"/>
                    <a:pt x="38" y="26"/>
                    <a:pt x="44" y="27"/>
                  </a:cubicBezTo>
                  <a:cubicBezTo>
                    <a:pt x="44" y="27"/>
                    <a:pt x="46" y="28"/>
                    <a:pt x="48" y="28"/>
                  </a:cubicBezTo>
                  <a:cubicBezTo>
                    <a:pt x="48" y="28"/>
                    <a:pt x="48" y="27"/>
                    <a:pt x="48" y="27"/>
                  </a:cubicBezTo>
                  <a:cubicBezTo>
                    <a:pt x="49" y="27"/>
                    <a:pt x="50" y="25"/>
                    <a:pt x="50" y="23"/>
                  </a:cubicBezTo>
                  <a:cubicBezTo>
                    <a:pt x="49" y="23"/>
                    <a:pt x="49" y="23"/>
                    <a:pt x="49" y="23"/>
                  </a:cubicBezTo>
                  <a:cubicBezTo>
                    <a:pt x="49" y="22"/>
                    <a:pt x="49" y="22"/>
                    <a:pt x="49" y="22"/>
                  </a:cubicBezTo>
                  <a:cubicBezTo>
                    <a:pt x="49" y="22"/>
                    <a:pt x="49" y="21"/>
                    <a:pt x="49" y="20"/>
                  </a:cubicBezTo>
                  <a:cubicBezTo>
                    <a:pt x="49" y="20"/>
                    <a:pt x="49" y="20"/>
                    <a:pt x="49" y="20"/>
                  </a:cubicBezTo>
                  <a:cubicBezTo>
                    <a:pt x="49" y="18"/>
                    <a:pt x="49" y="17"/>
                    <a:pt x="49" y="16"/>
                  </a:cubicBezTo>
                  <a:cubicBezTo>
                    <a:pt x="49" y="16"/>
                    <a:pt x="49" y="15"/>
                    <a:pt x="49" y="15"/>
                  </a:cubicBezTo>
                  <a:cubicBezTo>
                    <a:pt x="50" y="14"/>
                    <a:pt x="50" y="13"/>
                    <a:pt x="50" y="13"/>
                  </a:cubicBezTo>
                  <a:cubicBezTo>
                    <a:pt x="50" y="13"/>
                    <a:pt x="50" y="13"/>
                    <a:pt x="50" y="13"/>
                  </a:cubicBezTo>
                  <a:cubicBezTo>
                    <a:pt x="50" y="13"/>
                    <a:pt x="49" y="13"/>
                    <a:pt x="49" y="13"/>
                  </a:cubicBezTo>
                  <a:cubicBezTo>
                    <a:pt x="49" y="13"/>
                    <a:pt x="48" y="13"/>
                    <a:pt x="48" y="13"/>
                  </a:cubicBezTo>
                  <a:cubicBezTo>
                    <a:pt x="48" y="13"/>
                    <a:pt x="48" y="13"/>
                    <a:pt x="48" y="13"/>
                  </a:cubicBezTo>
                  <a:cubicBezTo>
                    <a:pt x="47" y="13"/>
                    <a:pt x="47" y="13"/>
                    <a:pt x="47" y="13"/>
                  </a:cubicBezTo>
                  <a:cubicBezTo>
                    <a:pt x="46" y="12"/>
                    <a:pt x="46" y="12"/>
                    <a:pt x="46" y="12"/>
                  </a:cubicBezTo>
                  <a:cubicBezTo>
                    <a:pt x="45" y="12"/>
                    <a:pt x="44" y="11"/>
                    <a:pt x="43" y="11"/>
                  </a:cubicBezTo>
                  <a:cubicBezTo>
                    <a:pt x="43" y="10"/>
                    <a:pt x="43" y="10"/>
                    <a:pt x="43" y="10"/>
                  </a:cubicBezTo>
                  <a:cubicBezTo>
                    <a:pt x="43" y="10"/>
                    <a:pt x="43" y="10"/>
                    <a:pt x="43" y="10"/>
                  </a:cubicBezTo>
                  <a:cubicBezTo>
                    <a:pt x="42" y="10"/>
                    <a:pt x="42" y="10"/>
                    <a:pt x="42" y="10"/>
                  </a:cubicBezTo>
                  <a:cubicBezTo>
                    <a:pt x="42" y="11"/>
                    <a:pt x="42" y="11"/>
                    <a:pt x="41" y="12"/>
                  </a:cubicBezTo>
                  <a:cubicBezTo>
                    <a:pt x="41" y="12"/>
                    <a:pt x="40" y="12"/>
                    <a:pt x="39" y="12"/>
                  </a:cubicBezTo>
                  <a:cubicBezTo>
                    <a:pt x="37" y="13"/>
                    <a:pt x="37" y="13"/>
                    <a:pt x="37" y="13"/>
                  </a:cubicBezTo>
                  <a:cubicBezTo>
                    <a:pt x="37" y="13"/>
                    <a:pt x="36" y="13"/>
                    <a:pt x="36" y="13"/>
                  </a:cubicBezTo>
                  <a:cubicBezTo>
                    <a:pt x="31" y="14"/>
                    <a:pt x="31" y="14"/>
                    <a:pt x="31" y="14"/>
                  </a:cubicBezTo>
                  <a:cubicBezTo>
                    <a:pt x="32" y="10"/>
                    <a:pt x="32" y="10"/>
                    <a:pt x="32" y="10"/>
                  </a:cubicBezTo>
                  <a:cubicBezTo>
                    <a:pt x="31" y="10"/>
                    <a:pt x="31" y="10"/>
                    <a:pt x="31" y="10"/>
                  </a:cubicBezTo>
                  <a:cubicBezTo>
                    <a:pt x="30" y="10"/>
                    <a:pt x="30" y="10"/>
                    <a:pt x="30" y="10"/>
                  </a:cubicBezTo>
                  <a:cubicBezTo>
                    <a:pt x="29" y="9"/>
                    <a:pt x="28" y="8"/>
                    <a:pt x="27" y="8"/>
                  </a:cubicBezTo>
                  <a:cubicBezTo>
                    <a:pt x="27" y="7"/>
                    <a:pt x="27" y="7"/>
                    <a:pt x="27" y="7"/>
                  </a:cubicBezTo>
                  <a:cubicBezTo>
                    <a:pt x="26" y="7"/>
                    <a:pt x="26" y="6"/>
                    <a:pt x="25" y="6"/>
                  </a:cubicBezTo>
                  <a:cubicBezTo>
                    <a:pt x="22" y="10"/>
                    <a:pt x="22" y="10"/>
                    <a:pt x="22" y="10"/>
                  </a:cubicBezTo>
                  <a:cubicBezTo>
                    <a:pt x="24" y="5"/>
                    <a:pt x="24" y="5"/>
                    <a:pt x="24" y="5"/>
                  </a:cubicBezTo>
                  <a:cubicBezTo>
                    <a:pt x="23" y="5"/>
                    <a:pt x="23" y="4"/>
                    <a:pt x="21" y="3"/>
                  </a:cubicBezTo>
                  <a:cubicBezTo>
                    <a:pt x="21" y="2"/>
                    <a:pt x="20" y="1"/>
                    <a:pt x="19" y="1"/>
                  </a:cubicBezTo>
                  <a:cubicBezTo>
                    <a:pt x="19" y="1"/>
                    <a:pt x="19" y="1"/>
                    <a:pt x="19" y="1"/>
                  </a:cubicBezTo>
                  <a:cubicBezTo>
                    <a:pt x="19" y="1"/>
                    <a:pt x="17" y="0"/>
                    <a:pt x="16" y="0"/>
                  </a:cubicBez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96" name="Freeform 267">
              <a:extLst>
                <a:ext uri="{FF2B5EF4-FFF2-40B4-BE49-F238E27FC236}">
                  <a16:creationId xmlns:a16="http://schemas.microsoft.com/office/drawing/2014/main" id="{8AE78871-4EC0-48A8-8171-1FF71C877360}"/>
                </a:ext>
              </a:extLst>
            </p:cNvPr>
            <p:cNvSpPr>
              <a:spLocks/>
            </p:cNvSpPr>
            <p:nvPr/>
          </p:nvSpPr>
          <p:spPr bwMode="auto">
            <a:xfrm>
              <a:off x="6913966" y="751329"/>
              <a:ext cx="453339" cy="233025"/>
            </a:xfrm>
            <a:custGeom>
              <a:avLst/>
              <a:gdLst>
                <a:gd name="T0" fmla="*/ 60 w 136"/>
                <a:gd name="T1" fmla="*/ 6 h 70"/>
                <a:gd name="T2" fmla="*/ 53 w 136"/>
                <a:gd name="T3" fmla="*/ 6 h 70"/>
                <a:gd name="T4" fmla="*/ 33 w 136"/>
                <a:gd name="T5" fmla="*/ 3 h 70"/>
                <a:gd name="T6" fmla="*/ 23 w 136"/>
                <a:gd name="T7" fmla="*/ 8 h 70"/>
                <a:gd name="T8" fmla="*/ 16 w 136"/>
                <a:gd name="T9" fmla="*/ 14 h 70"/>
                <a:gd name="T10" fmla="*/ 8 w 136"/>
                <a:gd name="T11" fmla="*/ 21 h 70"/>
                <a:gd name="T12" fmla="*/ 1 w 136"/>
                <a:gd name="T13" fmla="*/ 25 h 70"/>
                <a:gd name="T14" fmla="*/ 4 w 136"/>
                <a:gd name="T15" fmla="*/ 25 h 70"/>
                <a:gd name="T16" fmla="*/ 2 w 136"/>
                <a:gd name="T17" fmla="*/ 32 h 70"/>
                <a:gd name="T18" fmla="*/ 0 w 136"/>
                <a:gd name="T19" fmla="*/ 36 h 70"/>
                <a:gd name="T20" fmla="*/ 7 w 136"/>
                <a:gd name="T21" fmla="*/ 42 h 70"/>
                <a:gd name="T22" fmla="*/ 15 w 136"/>
                <a:gd name="T23" fmla="*/ 47 h 70"/>
                <a:gd name="T24" fmla="*/ 17 w 136"/>
                <a:gd name="T25" fmla="*/ 48 h 70"/>
                <a:gd name="T26" fmla="*/ 21 w 136"/>
                <a:gd name="T27" fmla="*/ 45 h 70"/>
                <a:gd name="T28" fmla="*/ 27 w 136"/>
                <a:gd name="T29" fmla="*/ 48 h 70"/>
                <a:gd name="T30" fmla="*/ 35 w 136"/>
                <a:gd name="T31" fmla="*/ 54 h 70"/>
                <a:gd name="T32" fmla="*/ 34 w 136"/>
                <a:gd name="T33" fmla="*/ 58 h 70"/>
                <a:gd name="T34" fmla="*/ 34 w 136"/>
                <a:gd name="T35" fmla="*/ 62 h 70"/>
                <a:gd name="T36" fmla="*/ 37 w 136"/>
                <a:gd name="T37" fmla="*/ 65 h 70"/>
                <a:gd name="T38" fmla="*/ 43 w 136"/>
                <a:gd name="T39" fmla="*/ 69 h 70"/>
                <a:gd name="T40" fmla="*/ 47 w 136"/>
                <a:gd name="T41" fmla="*/ 67 h 70"/>
                <a:gd name="T42" fmla="*/ 48 w 136"/>
                <a:gd name="T43" fmla="*/ 65 h 70"/>
                <a:gd name="T44" fmla="*/ 52 w 136"/>
                <a:gd name="T45" fmla="*/ 62 h 70"/>
                <a:gd name="T46" fmla="*/ 59 w 136"/>
                <a:gd name="T47" fmla="*/ 50 h 70"/>
                <a:gd name="T48" fmla="*/ 67 w 136"/>
                <a:gd name="T49" fmla="*/ 47 h 70"/>
                <a:gd name="T50" fmla="*/ 72 w 136"/>
                <a:gd name="T51" fmla="*/ 43 h 70"/>
                <a:gd name="T52" fmla="*/ 75 w 136"/>
                <a:gd name="T53" fmla="*/ 47 h 70"/>
                <a:gd name="T54" fmla="*/ 77 w 136"/>
                <a:gd name="T55" fmla="*/ 48 h 70"/>
                <a:gd name="T56" fmla="*/ 86 w 136"/>
                <a:gd name="T57" fmla="*/ 40 h 70"/>
                <a:gd name="T58" fmla="*/ 88 w 136"/>
                <a:gd name="T59" fmla="*/ 37 h 70"/>
                <a:gd name="T60" fmla="*/ 92 w 136"/>
                <a:gd name="T61" fmla="*/ 32 h 70"/>
                <a:gd name="T62" fmla="*/ 99 w 136"/>
                <a:gd name="T63" fmla="*/ 26 h 70"/>
                <a:gd name="T64" fmla="*/ 105 w 136"/>
                <a:gd name="T65" fmla="*/ 29 h 70"/>
                <a:gd name="T66" fmla="*/ 109 w 136"/>
                <a:gd name="T67" fmla="*/ 30 h 70"/>
                <a:gd name="T68" fmla="*/ 112 w 136"/>
                <a:gd name="T69" fmla="*/ 29 h 70"/>
                <a:gd name="T70" fmla="*/ 123 w 136"/>
                <a:gd name="T71" fmla="*/ 26 h 70"/>
                <a:gd name="T72" fmla="*/ 135 w 136"/>
                <a:gd name="T73" fmla="*/ 23 h 70"/>
                <a:gd name="T74" fmla="*/ 125 w 136"/>
                <a:gd name="T75" fmla="*/ 20 h 70"/>
                <a:gd name="T76" fmla="*/ 117 w 136"/>
                <a:gd name="T77" fmla="*/ 17 h 70"/>
                <a:gd name="T78" fmla="*/ 124 w 136"/>
                <a:gd name="T79" fmla="*/ 15 h 70"/>
                <a:gd name="T80" fmla="*/ 110 w 136"/>
                <a:gd name="T81" fmla="*/ 6 h 70"/>
                <a:gd name="T82" fmla="*/ 95 w 136"/>
                <a:gd name="T83" fmla="*/ 1 h 70"/>
                <a:gd name="T84" fmla="*/ 87 w 136"/>
                <a:gd name="T85" fmla="*/ 3 h 70"/>
                <a:gd name="T86" fmla="*/ 73 w 136"/>
                <a:gd name="T8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70">
                  <a:moveTo>
                    <a:pt x="73" y="0"/>
                  </a:moveTo>
                  <a:cubicBezTo>
                    <a:pt x="74" y="1"/>
                    <a:pt x="73" y="2"/>
                    <a:pt x="72" y="3"/>
                  </a:cubicBezTo>
                  <a:cubicBezTo>
                    <a:pt x="68" y="4"/>
                    <a:pt x="64" y="6"/>
                    <a:pt x="60" y="6"/>
                  </a:cubicBezTo>
                  <a:cubicBezTo>
                    <a:pt x="60" y="6"/>
                    <a:pt x="59" y="6"/>
                    <a:pt x="59" y="6"/>
                  </a:cubicBezTo>
                  <a:cubicBezTo>
                    <a:pt x="58" y="6"/>
                    <a:pt x="58" y="6"/>
                    <a:pt x="57" y="6"/>
                  </a:cubicBezTo>
                  <a:cubicBezTo>
                    <a:pt x="56" y="6"/>
                    <a:pt x="54" y="6"/>
                    <a:pt x="53" y="6"/>
                  </a:cubicBezTo>
                  <a:cubicBezTo>
                    <a:pt x="52" y="6"/>
                    <a:pt x="51" y="6"/>
                    <a:pt x="49" y="6"/>
                  </a:cubicBezTo>
                  <a:cubicBezTo>
                    <a:pt x="48" y="6"/>
                    <a:pt x="47" y="6"/>
                    <a:pt x="46" y="6"/>
                  </a:cubicBezTo>
                  <a:cubicBezTo>
                    <a:pt x="42" y="5"/>
                    <a:pt x="37" y="4"/>
                    <a:pt x="33" y="3"/>
                  </a:cubicBezTo>
                  <a:cubicBezTo>
                    <a:pt x="32" y="3"/>
                    <a:pt x="32" y="3"/>
                    <a:pt x="32" y="3"/>
                  </a:cubicBezTo>
                  <a:cubicBezTo>
                    <a:pt x="30" y="3"/>
                    <a:pt x="25" y="5"/>
                    <a:pt x="22" y="7"/>
                  </a:cubicBezTo>
                  <a:cubicBezTo>
                    <a:pt x="23" y="8"/>
                    <a:pt x="23" y="8"/>
                    <a:pt x="23" y="8"/>
                  </a:cubicBezTo>
                  <a:cubicBezTo>
                    <a:pt x="22" y="9"/>
                    <a:pt x="22" y="9"/>
                    <a:pt x="22" y="9"/>
                  </a:cubicBezTo>
                  <a:cubicBezTo>
                    <a:pt x="21" y="10"/>
                    <a:pt x="19" y="12"/>
                    <a:pt x="17" y="13"/>
                  </a:cubicBezTo>
                  <a:cubicBezTo>
                    <a:pt x="16" y="14"/>
                    <a:pt x="16" y="14"/>
                    <a:pt x="16" y="14"/>
                  </a:cubicBezTo>
                  <a:cubicBezTo>
                    <a:pt x="16" y="15"/>
                    <a:pt x="15" y="15"/>
                    <a:pt x="15" y="16"/>
                  </a:cubicBezTo>
                  <a:cubicBezTo>
                    <a:pt x="13" y="17"/>
                    <a:pt x="10" y="19"/>
                    <a:pt x="8" y="21"/>
                  </a:cubicBezTo>
                  <a:cubicBezTo>
                    <a:pt x="8" y="21"/>
                    <a:pt x="8" y="21"/>
                    <a:pt x="8" y="21"/>
                  </a:cubicBezTo>
                  <a:cubicBezTo>
                    <a:pt x="7" y="22"/>
                    <a:pt x="6" y="23"/>
                    <a:pt x="5" y="23"/>
                  </a:cubicBezTo>
                  <a:cubicBezTo>
                    <a:pt x="3" y="24"/>
                    <a:pt x="3" y="24"/>
                    <a:pt x="3" y="24"/>
                  </a:cubicBezTo>
                  <a:cubicBezTo>
                    <a:pt x="2" y="24"/>
                    <a:pt x="2" y="25"/>
                    <a:pt x="1" y="25"/>
                  </a:cubicBezTo>
                  <a:cubicBezTo>
                    <a:pt x="1" y="25"/>
                    <a:pt x="1" y="26"/>
                    <a:pt x="1" y="26"/>
                  </a:cubicBezTo>
                  <a:cubicBezTo>
                    <a:pt x="1" y="27"/>
                    <a:pt x="1" y="27"/>
                    <a:pt x="1" y="27"/>
                  </a:cubicBezTo>
                  <a:cubicBezTo>
                    <a:pt x="4" y="25"/>
                    <a:pt x="4" y="25"/>
                    <a:pt x="4" y="25"/>
                  </a:cubicBezTo>
                  <a:cubicBezTo>
                    <a:pt x="1" y="29"/>
                    <a:pt x="1" y="29"/>
                    <a:pt x="1" y="29"/>
                  </a:cubicBezTo>
                  <a:cubicBezTo>
                    <a:pt x="1" y="29"/>
                    <a:pt x="1" y="30"/>
                    <a:pt x="1" y="30"/>
                  </a:cubicBezTo>
                  <a:cubicBezTo>
                    <a:pt x="1" y="31"/>
                    <a:pt x="2" y="31"/>
                    <a:pt x="2" y="32"/>
                  </a:cubicBezTo>
                  <a:cubicBezTo>
                    <a:pt x="2" y="33"/>
                    <a:pt x="1" y="34"/>
                    <a:pt x="1" y="34"/>
                  </a:cubicBezTo>
                  <a:cubicBezTo>
                    <a:pt x="1" y="35"/>
                    <a:pt x="1" y="35"/>
                    <a:pt x="1" y="35"/>
                  </a:cubicBezTo>
                  <a:cubicBezTo>
                    <a:pt x="1" y="35"/>
                    <a:pt x="0" y="36"/>
                    <a:pt x="0" y="36"/>
                  </a:cubicBezTo>
                  <a:cubicBezTo>
                    <a:pt x="1" y="36"/>
                    <a:pt x="2" y="37"/>
                    <a:pt x="4" y="40"/>
                  </a:cubicBezTo>
                  <a:cubicBezTo>
                    <a:pt x="5" y="40"/>
                    <a:pt x="6" y="42"/>
                    <a:pt x="7" y="42"/>
                  </a:cubicBezTo>
                  <a:cubicBezTo>
                    <a:pt x="7" y="42"/>
                    <a:pt x="7" y="42"/>
                    <a:pt x="7" y="42"/>
                  </a:cubicBezTo>
                  <a:cubicBezTo>
                    <a:pt x="8" y="43"/>
                    <a:pt x="9" y="43"/>
                    <a:pt x="10" y="44"/>
                  </a:cubicBezTo>
                  <a:cubicBezTo>
                    <a:pt x="10" y="44"/>
                    <a:pt x="11" y="45"/>
                    <a:pt x="11" y="45"/>
                  </a:cubicBezTo>
                  <a:cubicBezTo>
                    <a:pt x="13" y="45"/>
                    <a:pt x="14" y="46"/>
                    <a:pt x="15" y="47"/>
                  </a:cubicBezTo>
                  <a:cubicBezTo>
                    <a:pt x="15" y="47"/>
                    <a:pt x="16" y="47"/>
                    <a:pt x="16" y="48"/>
                  </a:cubicBezTo>
                  <a:cubicBezTo>
                    <a:pt x="17" y="48"/>
                    <a:pt x="17" y="48"/>
                    <a:pt x="17" y="48"/>
                  </a:cubicBezTo>
                  <a:cubicBezTo>
                    <a:pt x="17" y="48"/>
                    <a:pt x="17" y="48"/>
                    <a:pt x="17" y="48"/>
                  </a:cubicBezTo>
                  <a:cubicBezTo>
                    <a:pt x="17" y="48"/>
                    <a:pt x="17" y="48"/>
                    <a:pt x="17" y="48"/>
                  </a:cubicBezTo>
                  <a:cubicBezTo>
                    <a:pt x="17" y="47"/>
                    <a:pt x="18" y="47"/>
                    <a:pt x="19" y="46"/>
                  </a:cubicBezTo>
                  <a:cubicBezTo>
                    <a:pt x="19" y="46"/>
                    <a:pt x="20" y="45"/>
                    <a:pt x="21" y="45"/>
                  </a:cubicBezTo>
                  <a:cubicBezTo>
                    <a:pt x="23" y="45"/>
                    <a:pt x="24" y="46"/>
                    <a:pt x="26" y="47"/>
                  </a:cubicBezTo>
                  <a:cubicBezTo>
                    <a:pt x="26" y="47"/>
                    <a:pt x="26" y="47"/>
                    <a:pt x="26" y="47"/>
                  </a:cubicBezTo>
                  <a:cubicBezTo>
                    <a:pt x="26" y="47"/>
                    <a:pt x="26" y="48"/>
                    <a:pt x="27" y="48"/>
                  </a:cubicBezTo>
                  <a:cubicBezTo>
                    <a:pt x="28" y="48"/>
                    <a:pt x="30" y="48"/>
                    <a:pt x="32" y="49"/>
                  </a:cubicBezTo>
                  <a:cubicBezTo>
                    <a:pt x="33" y="49"/>
                    <a:pt x="33" y="49"/>
                    <a:pt x="33" y="49"/>
                  </a:cubicBezTo>
                  <a:cubicBezTo>
                    <a:pt x="34" y="50"/>
                    <a:pt x="35" y="52"/>
                    <a:pt x="35" y="54"/>
                  </a:cubicBezTo>
                  <a:cubicBezTo>
                    <a:pt x="35" y="55"/>
                    <a:pt x="34" y="56"/>
                    <a:pt x="34" y="57"/>
                  </a:cubicBezTo>
                  <a:cubicBezTo>
                    <a:pt x="34" y="58"/>
                    <a:pt x="34" y="58"/>
                    <a:pt x="34" y="58"/>
                  </a:cubicBezTo>
                  <a:cubicBezTo>
                    <a:pt x="34" y="58"/>
                    <a:pt x="34" y="58"/>
                    <a:pt x="34" y="58"/>
                  </a:cubicBezTo>
                  <a:cubicBezTo>
                    <a:pt x="34" y="59"/>
                    <a:pt x="34" y="59"/>
                    <a:pt x="34" y="60"/>
                  </a:cubicBezTo>
                  <a:cubicBezTo>
                    <a:pt x="34" y="61"/>
                    <a:pt x="34" y="61"/>
                    <a:pt x="34" y="61"/>
                  </a:cubicBezTo>
                  <a:cubicBezTo>
                    <a:pt x="34" y="62"/>
                    <a:pt x="34" y="62"/>
                    <a:pt x="34" y="62"/>
                  </a:cubicBezTo>
                  <a:cubicBezTo>
                    <a:pt x="34" y="62"/>
                    <a:pt x="34" y="62"/>
                    <a:pt x="34" y="62"/>
                  </a:cubicBezTo>
                  <a:cubicBezTo>
                    <a:pt x="36" y="62"/>
                    <a:pt x="38" y="62"/>
                    <a:pt x="40" y="63"/>
                  </a:cubicBezTo>
                  <a:cubicBezTo>
                    <a:pt x="39" y="63"/>
                    <a:pt x="37" y="65"/>
                    <a:pt x="37" y="65"/>
                  </a:cubicBezTo>
                  <a:cubicBezTo>
                    <a:pt x="36" y="67"/>
                    <a:pt x="40" y="68"/>
                    <a:pt x="41" y="70"/>
                  </a:cubicBezTo>
                  <a:cubicBezTo>
                    <a:pt x="41" y="69"/>
                    <a:pt x="41" y="69"/>
                    <a:pt x="41" y="69"/>
                  </a:cubicBezTo>
                  <a:cubicBezTo>
                    <a:pt x="43" y="69"/>
                    <a:pt x="43" y="69"/>
                    <a:pt x="43" y="69"/>
                  </a:cubicBezTo>
                  <a:cubicBezTo>
                    <a:pt x="43" y="69"/>
                    <a:pt x="43" y="69"/>
                    <a:pt x="43" y="69"/>
                  </a:cubicBezTo>
                  <a:cubicBezTo>
                    <a:pt x="45" y="69"/>
                    <a:pt x="45" y="69"/>
                    <a:pt x="47" y="67"/>
                  </a:cubicBezTo>
                  <a:cubicBezTo>
                    <a:pt x="47" y="67"/>
                    <a:pt x="47" y="67"/>
                    <a:pt x="47" y="67"/>
                  </a:cubicBezTo>
                  <a:cubicBezTo>
                    <a:pt x="48" y="67"/>
                    <a:pt x="48" y="67"/>
                    <a:pt x="48" y="67"/>
                  </a:cubicBezTo>
                  <a:cubicBezTo>
                    <a:pt x="48" y="66"/>
                    <a:pt x="48" y="66"/>
                    <a:pt x="48" y="66"/>
                  </a:cubicBezTo>
                  <a:cubicBezTo>
                    <a:pt x="48" y="65"/>
                    <a:pt x="48" y="65"/>
                    <a:pt x="48" y="65"/>
                  </a:cubicBezTo>
                  <a:cubicBezTo>
                    <a:pt x="49" y="63"/>
                    <a:pt x="51" y="63"/>
                    <a:pt x="52" y="63"/>
                  </a:cubicBezTo>
                  <a:cubicBezTo>
                    <a:pt x="52" y="62"/>
                    <a:pt x="52" y="62"/>
                    <a:pt x="52" y="62"/>
                  </a:cubicBezTo>
                  <a:cubicBezTo>
                    <a:pt x="52" y="62"/>
                    <a:pt x="52" y="62"/>
                    <a:pt x="52" y="62"/>
                  </a:cubicBezTo>
                  <a:cubicBezTo>
                    <a:pt x="52" y="60"/>
                    <a:pt x="51" y="59"/>
                    <a:pt x="51" y="58"/>
                  </a:cubicBezTo>
                  <a:cubicBezTo>
                    <a:pt x="51" y="56"/>
                    <a:pt x="51" y="54"/>
                    <a:pt x="52" y="52"/>
                  </a:cubicBezTo>
                  <a:cubicBezTo>
                    <a:pt x="53" y="51"/>
                    <a:pt x="59" y="50"/>
                    <a:pt x="59" y="50"/>
                  </a:cubicBezTo>
                  <a:cubicBezTo>
                    <a:pt x="60" y="50"/>
                    <a:pt x="61" y="51"/>
                    <a:pt x="62" y="51"/>
                  </a:cubicBezTo>
                  <a:cubicBezTo>
                    <a:pt x="62" y="51"/>
                    <a:pt x="62" y="51"/>
                    <a:pt x="62" y="51"/>
                  </a:cubicBezTo>
                  <a:cubicBezTo>
                    <a:pt x="64" y="49"/>
                    <a:pt x="65" y="48"/>
                    <a:pt x="67" y="47"/>
                  </a:cubicBezTo>
                  <a:cubicBezTo>
                    <a:pt x="68" y="46"/>
                    <a:pt x="68" y="46"/>
                    <a:pt x="68" y="46"/>
                  </a:cubicBezTo>
                  <a:cubicBezTo>
                    <a:pt x="69" y="45"/>
                    <a:pt x="70" y="44"/>
                    <a:pt x="71" y="44"/>
                  </a:cubicBezTo>
                  <a:cubicBezTo>
                    <a:pt x="72" y="43"/>
                    <a:pt x="72" y="43"/>
                    <a:pt x="72" y="43"/>
                  </a:cubicBezTo>
                  <a:cubicBezTo>
                    <a:pt x="74" y="45"/>
                    <a:pt x="74" y="45"/>
                    <a:pt x="74" y="45"/>
                  </a:cubicBezTo>
                  <a:cubicBezTo>
                    <a:pt x="74" y="45"/>
                    <a:pt x="74" y="46"/>
                    <a:pt x="74" y="47"/>
                  </a:cubicBezTo>
                  <a:cubicBezTo>
                    <a:pt x="75" y="47"/>
                    <a:pt x="75" y="47"/>
                    <a:pt x="75" y="47"/>
                  </a:cubicBezTo>
                  <a:cubicBezTo>
                    <a:pt x="75" y="48"/>
                    <a:pt x="76" y="48"/>
                    <a:pt x="77" y="49"/>
                  </a:cubicBezTo>
                  <a:cubicBezTo>
                    <a:pt x="77" y="49"/>
                    <a:pt x="77" y="49"/>
                    <a:pt x="77" y="49"/>
                  </a:cubicBezTo>
                  <a:cubicBezTo>
                    <a:pt x="77" y="48"/>
                    <a:pt x="77" y="48"/>
                    <a:pt x="77" y="48"/>
                  </a:cubicBezTo>
                  <a:cubicBezTo>
                    <a:pt x="78" y="48"/>
                    <a:pt x="78" y="48"/>
                    <a:pt x="78" y="48"/>
                  </a:cubicBezTo>
                  <a:cubicBezTo>
                    <a:pt x="78" y="47"/>
                    <a:pt x="79" y="46"/>
                    <a:pt x="80" y="45"/>
                  </a:cubicBezTo>
                  <a:cubicBezTo>
                    <a:pt x="82" y="43"/>
                    <a:pt x="84" y="42"/>
                    <a:pt x="86" y="40"/>
                  </a:cubicBezTo>
                  <a:cubicBezTo>
                    <a:pt x="87" y="40"/>
                    <a:pt x="88" y="39"/>
                    <a:pt x="88" y="39"/>
                  </a:cubicBezTo>
                  <a:cubicBezTo>
                    <a:pt x="89" y="38"/>
                    <a:pt x="88" y="38"/>
                    <a:pt x="88" y="37"/>
                  </a:cubicBezTo>
                  <a:cubicBezTo>
                    <a:pt x="88" y="37"/>
                    <a:pt x="88" y="37"/>
                    <a:pt x="88" y="37"/>
                  </a:cubicBezTo>
                  <a:cubicBezTo>
                    <a:pt x="88" y="36"/>
                    <a:pt x="88" y="36"/>
                    <a:pt x="88" y="36"/>
                  </a:cubicBezTo>
                  <a:cubicBezTo>
                    <a:pt x="88" y="35"/>
                    <a:pt x="88" y="35"/>
                    <a:pt x="88" y="35"/>
                  </a:cubicBezTo>
                  <a:cubicBezTo>
                    <a:pt x="88" y="34"/>
                    <a:pt x="89" y="32"/>
                    <a:pt x="92" y="32"/>
                  </a:cubicBezTo>
                  <a:cubicBezTo>
                    <a:pt x="92" y="29"/>
                    <a:pt x="95" y="27"/>
                    <a:pt x="97" y="26"/>
                  </a:cubicBezTo>
                  <a:cubicBezTo>
                    <a:pt x="98" y="26"/>
                    <a:pt x="98" y="26"/>
                    <a:pt x="99" y="26"/>
                  </a:cubicBezTo>
                  <a:cubicBezTo>
                    <a:pt x="99" y="26"/>
                    <a:pt x="99" y="26"/>
                    <a:pt x="99" y="26"/>
                  </a:cubicBezTo>
                  <a:cubicBezTo>
                    <a:pt x="101" y="26"/>
                    <a:pt x="101" y="26"/>
                    <a:pt x="101" y="26"/>
                  </a:cubicBezTo>
                  <a:cubicBezTo>
                    <a:pt x="101" y="27"/>
                    <a:pt x="101" y="27"/>
                    <a:pt x="101" y="27"/>
                  </a:cubicBezTo>
                  <a:cubicBezTo>
                    <a:pt x="102" y="27"/>
                    <a:pt x="103" y="28"/>
                    <a:pt x="105" y="29"/>
                  </a:cubicBezTo>
                  <a:cubicBezTo>
                    <a:pt x="106" y="30"/>
                    <a:pt x="107" y="30"/>
                    <a:pt x="108" y="30"/>
                  </a:cubicBezTo>
                  <a:cubicBezTo>
                    <a:pt x="108" y="30"/>
                    <a:pt x="108" y="30"/>
                    <a:pt x="108" y="30"/>
                  </a:cubicBezTo>
                  <a:cubicBezTo>
                    <a:pt x="109" y="30"/>
                    <a:pt x="109" y="30"/>
                    <a:pt x="109" y="30"/>
                  </a:cubicBezTo>
                  <a:cubicBezTo>
                    <a:pt x="110" y="30"/>
                    <a:pt x="110" y="30"/>
                    <a:pt x="110" y="30"/>
                  </a:cubicBezTo>
                  <a:cubicBezTo>
                    <a:pt x="110" y="30"/>
                    <a:pt x="110" y="30"/>
                    <a:pt x="110" y="30"/>
                  </a:cubicBezTo>
                  <a:cubicBezTo>
                    <a:pt x="111" y="29"/>
                    <a:pt x="111" y="29"/>
                    <a:pt x="112" y="29"/>
                  </a:cubicBezTo>
                  <a:cubicBezTo>
                    <a:pt x="113" y="29"/>
                    <a:pt x="113" y="29"/>
                    <a:pt x="114" y="29"/>
                  </a:cubicBezTo>
                  <a:cubicBezTo>
                    <a:pt x="115" y="28"/>
                    <a:pt x="115" y="28"/>
                    <a:pt x="115" y="28"/>
                  </a:cubicBezTo>
                  <a:cubicBezTo>
                    <a:pt x="117" y="28"/>
                    <a:pt x="120" y="27"/>
                    <a:pt x="123" y="26"/>
                  </a:cubicBezTo>
                  <a:cubicBezTo>
                    <a:pt x="127" y="25"/>
                    <a:pt x="132" y="24"/>
                    <a:pt x="136" y="23"/>
                  </a:cubicBezTo>
                  <a:cubicBezTo>
                    <a:pt x="136" y="23"/>
                    <a:pt x="136" y="23"/>
                    <a:pt x="136" y="23"/>
                  </a:cubicBezTo>
                  <a:cubicBezTo>
                    <a:pt x="136" y="23"/>
                    <a:pt x="135" y="23"/>
                    <a:pt x="135" y="23"/>
                  </a:cubicBezTo>
                  <a:cubicBezTo>
                    <a:pt x="132" y="22"/>
                    <a:pt x="129" y="21"/>
                    <a:pt x="127" y="21"/>
                  </a:cubicBezTo>
                  <a:cubicBezTo>
                    <a:pt x="128" y="20"/>
                    <a:pt x="129" y="19"/>
                    <a:pt x="129" y="18"/>
                  </a:cubicBezTo>
                  <a:cubicBezTo>
                    <a:pt x="128" y="18"/>
                    <a:pt x="125" y="20"/>
                    <a:pt x="125" y="20"/>
                  </a:cubicBezTo>
                  <a:cubicBezTo>
                    <a:pt x="125" y="20"/>
                    <a:pt x="125" y="20"/>
                    <a:pt x="125" y="20"/>
                  </a:cubicBezTo>
                  <a:cubicBezTo>
                    <a:pt x="123" y="20"/>
                    <a:pt x="122" y="19"/>
                    <a:pt x="121" y="19"/>
                  </a:cubicBezTo>
                  <a:cubicBezTo>
                    <a:pt x="120" y="18"/>
                    <a:pt x="119" y="19"/>
                    <a:pt x="117" y="17"/>
                  </a:cubicBezTo>
                  <a:cubicBezTo>
                    <a:pt x="117" y="16"/>
                    <a:pt x="116" y="13"/>
                    <a:pt x="118" y="12"/>
                  </a:cubicBezTo>
                  <a:cubicBezTo>
                    <a:pt x="119" y="13"/>
                    <a:pt x="119" y="13"/>
                    <a:pt x="119" y="13"/>
                  </a:cubicBezTo>
                  <a:cubicBezTo>
                    <a:pt x="120" y="13"/>
                    <a:pt x="122" y="15"/>
                    <a:pt x="124" y="15"/>
                  </a:cubicBezTo>
                  <a:cubicBezTo>
                    <a:pt x="124" y="15"/>
                    <a:pt x="124" y="15"/>
                    <a:pt x="124" y="15"/>
                  </a:cubicBezTo>
                  <a:cubicBezTo>
                    <a:pt x="122" y="13"/>
                    <a:pt x="119" y="11"/>
                    <a:pt x="116" y="9"/>
                  </a:cubicBezTo>
                  <a:cubicBezTo>
                    <a:pt x="113" y="6"/>
                    <a:pt x="113" y="6"/>
                    <a:pt x="110" y="6"/>
                  </a:cubicBezTo>
                  <a:cubicBezTo>
                    <a:pt x="110" y="6"/>
                    <a:pt x="109" y="6"/>
                    <a:pt x="108" y="6"/>
                  </a:cubicBezTo>
                  <a:cubicBezTo>
                    <a:pt x="107" y="6"/>
                    <a:pt x="107" y="6"/>
                    <a:pt x="106" y="6"/>
                  </a:cubicBezTo>
                  <a:cubicBezTo>
                    <a:pt x="102" y="6"/>
                    <a:pt x="100" y="4"/>
                    <a:pt x="95" y="1"/>
                  </a:cubicBezTo>
                  <a:cubicBezTo>
                    <a:pt x="95" y="1"/>
                    <a:pt x="95" y="1"/>
                    <a:pt x="94" y="1"/>
                  </a:cubicBezTo>
                  <a:cubicBezTo>
                    <a:pt x="93" y="1"/>
                    <a:pt x="92" y="2"/>
                    <a:pt x="91" y="2"/>
                  </a:cubicBezTo>
                  <a:cubicBezTo>
                    <a:pt x="89" y="3"/>
                    <a:pt x="88" y="3"/>
                    <a:pt x="87" y="3"/>
                  </a:cubicBezTo>
                  <a:cubicBezTo>
                    <a:pt x="87" y="3"/>
                    <a:pt x="87" y="3"/>
                    <a:pt x="87" y="3"/>
                  </a:cubicBezTo>
                  <a:cubicBezTo>
                    <a:pt x="83" y="3"/>
                    <a:pt x="80" y="2"/>
                    <a:pt x="77" y="1"/>
                  </a:cubicBezTo>
                  <a:cubicBezTo>
                    <a:pt x="76" y="1"/>
                    <a:pt x="74" y="1"/>
                    <a:pt x="7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97" name="Freeform 268">
              <a:extLst>
                <a:ext uri="{FF2B5EF4-FFF2-40B4-BE49-F238E27FC236}">
                  <a16:creationId xmlns:a16="http://schemas.microsoft.com/office/drawing/2014/main" id="{3A43E76C-05F7-4F1B-A086-28E8C298E331}"/>
                </a:ext>
              </a:extLst>
            </p:cNvPr>
            <p:cNvSpPr>
              <a:spLocks/>
            </p:cNvSpPr>
            <p:nvPr/>
          </p:nvSpPr>
          <p:spPr bwMode="auto">
            <a:xfrm>
              <a:off x="6901256" y="83747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98" name="Freeform 269">
              <a:extLst>
                <a:ext uri="{FF2B5EF4-FFF2-40B4-BE49-F238E27FC236}">
                  <a16:creationId xmlns:a16="http://schemas.microsoft.com/office/drawing/2014/main" id="{54ED6D64-9611-42F0-846B-3DBFDDB31DC9}"/>
                </a:ext>
              </a:extLst>
            </p:cNvPr>
            <p:cNvSpPr>
              <a:spLocks/>
            </p:cNvSpPr>
            <p:nvPr/>
          </p:nvSpPr>
          <p:spPr bwMode="auto">
            <a:xfrm>
              <a:off x="6901256" y="837478"/>
              <a:ext cx="0" cy="0"/>
            </a:xfrm>
            <a:custGeom>
              <a:avLst/>
              <a:gdLst/>
              <a:ahLst/>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99" name="Freeform 270">
              <a:extLst>
                <a:ext uri="{FF2B5EF4-FFF2-40B4-BE49-F238E27FC236}">
                  <a16:creationId xmlns:a16="http://schemas.microsoft.com/office/drawing/2014/main" id="{584C9924-0941-45DE-826B-DDDFB67C97C1}"/>
                </a:ext>
              </a:extLst>
            </p:cNvPr>
            <p:cNvSpPr>
              <a:spLocks/>
            </p:cNvSpPr>
            <p:nvPr/>
          </p:nvSpPr>
          <p:spPr bwMode="auto">
            <a:xfrm>
              <a:off x="6676705" y="617164"/>
              <a:ext cx="293752" cy="310700"/>
            </a:xfrm>
            <a:custGeom>
              <a:avLst/>
              <a:gdLst>
                <a:gd name="T0" fmla="*/ 29 w 88"/>
                <a:gd name="T1" fmla="*/ 0 h 93"/>
                <a:gd name="T2" fmla="*/ 30 w 88"/>
                <a:gd name="T3" fmla="*/ 10 h 93"/>
                <a:gd name="T4" fmla="*/ 30 w 88"/>
                <a:gd name="T5" fmla="*/ 11 h 93"/>
                <a:gd name="T6" fmla="*/ 24 w 88"/>
                <a:gd name="T7" fmla="*/ 14 h 93"/>
                <a:gd name="T8" fmla="*/ 29 w 88"/>
                <a:gd name="T9" fmla="*/ 18 h 93"/>
                <a:gd name="T10" fmla="*/ 32 w 88"/>
                <a:gd name="T11" fmla="*/ 21 h 93"/>
                <a:gd name="T12" fmla="*/ 39 w 88"/>
                <a:gd name="T13" fmla="*/ 27 h 93"/>
                <a:gd name="T14" fmla="*/ 42 w 88"/>
                <a:gd name="T15" fmla="*/ 29 h 93"/>
                <a:gd name="T16" fmla="*/ 43 w 88"/>
                <a:gd name="T17" fmla="*/ 34 h 93"/>
                <a:gd name="T18" fmla="*/ 43 w 88"/>
                <a:gd name="T19" fmla="*/ 36 h 93"/>
                <a:gd name="T20" fmla="*/ 38 w 88"/>
                <a:gd name="T21" fmla="*/ 42 h 93"/>
                <a:gd name="T22" fmla="*/ 24 w 88"/>
                <a:gd name="T23" fmla="*/ 42 h 93"/>
                <a:gd name="T24" fmla="*/ 16 w 88"/>
                <a:gd name="T25" fmla="*/ 42 h 93"/>
                <a:gd name="T26" fmla="*/ 12 w 88"/>
                <a:gd name="T27" fmla="*/ 44 h 93"/>
                <a:gd name="T28" fmla="*/ 9 w 88"/>
                <a:gd name="T29" fmla="*/ 46 h 93"/>
                <a:gd name="T30" fmla="*/ 3 w 88"/>
                <a:gd name="T31" fmla="*/ 57 h 93"/>
                <a:gd name="T32" fmla="*/ 2 w 88"/>
                <a:gd name="T33" fmla="*/ 58 h 93"/>
                <a:gd name="T34" fmla="*/ 2 w 88"/>
                <a:gd name="T35" fmla="*/ 58 h 93"/>
                <a:gd name="T36" fmla="*/ 3 w 88"/>
                <a:gd name="T37" fmla="*/ 59 h 93"/>
                <a:gd name="T38" fmla="*/ 4 w 88"/>
                <a:gd name="T39" fmla="*/ 64 h 93"/>
                <a:gd name="T40" fmla="*/ 3 w 88"/>
                <a:gd name="T41" fmla="*/ 66 h 93"/>
                <a:gd name="T42" fmla="*/ 2 w 88"/>
                <a:gd name="T43" fmla="*/ 69 h 93"/>
                <a:gd name="T44" fmla="*/ 2 w 88"/>
                <a:gd name="T45" fmla="*/ 71 h 93"/>
                <a:gd name="T46" fmla="*/ 2 w 88"/>
                <a:gd name="T47" fmla="*/ 73 h 93"/>
                <a:gd name="T48" fmla="*/ 1 w 88"/>
                <a:gd name="T49" fmla="*/ 76 h 93"/>
                <a:gd name="T50" fmla="*/ 1 w 88"/>
                <a:gd name="T51" fmla="*/ 78 h 93"/>
                <a:gd name="T52" fmla="*/ 26 w 88"/>
                <a:gd name="T53" fmla="*/ 90 h 93"/>
                <a:gd name="T54" fmla="*/ 31 w 88"/>
                <a:gd name="T55" fmla="*/ 90 h 93"/>
                <a:gd name="T56" fmla="*/ 35 w 88"/>
                <a:gd name="T57" fmla="*/ 90 h 93"/>
                <a:gd name="T58" fmla="*/ 45 w 88"/>
                <a:gd name="T59" fmla="*/ 93 h 93"/>
                <a:gd name="T60" fmla="*/ 48 w 88"/>
                <a:gd name="T61" fmla="*/ 88 h 93"/>
                <a:gd name="T62" fmla="*/ 54 w 88"/>
                <a:gd name="T63" fmla="*/ 84 h 93"/>
                <a:gd name="T64" fmla="*/ 57 w 88"/>
                <a:gd name="T65" fmla="*/ 82 h 93"/>
                <a:gd name="T66" fmla="*/ 62 w 88"/>
                <a:gd name="T67" fmla="*/ 75 h 93"/>
                <a:gd name="T68" fmla="*/ 64 w 88"/>
                <a:gd name="T69" fmla="*/ 75 h 93"/>
                <a:gd name="T70" fmla="*/ 67 w 88"/>
                <a:gd name="T71" fmla="*/ 72 h 93"/>
                <a:gd name="T72" fmla="*/ 66 w 88"/>
                <a:gd name="T73" fmla="*/ 69 h 93"/>
                <a:gd name="T74" fmla="*/ 66 w 88"/>
                <a:gd name="T75" fmla="*/ 65 h 93"/>
                <a:gd name="T76" fmla="*/ 67 w 88"/>
                <a:gd name="T77" fmla="*/ 63 h 93"/>
                <a:gd name="T78" fmla="*/ 73 w 88"/>
                <a:gd name="T79" fmla="*/ 60 h 93"/>
                <a:gd name="T80" fmla="*/ 73 w 88"/>
                <a:gd name="T81" fmla="*/ 58 h 93"/>
                <a:gd name="T82" fmla="*/ 76 w 88"/>
                <a:gd name="T83" fmla="*/ 56 h 93"/>
                <a:gd name="T84" fmla="*/ 84 w 88"/>
                <a:gd name="T85" fmla="*/ 50 h 93"/>
                <a:gd name="T86" fmla="*/ 88 w 88"/>
                <a:gd name="T87" fmla="*/ 46 h 93"/>
                <a:gd name="T88" fmla="*/ 85 w 88"/>
                <a:gd name="T89" fmla="*/ 45 h 93"/>
                <a:gd name="T90" fmla="*/ 77 w 88"/>
                <a:gd name="T91" fmla="*/ 44 h 93"/>
                <a:gd name="T92" fmla="*/ 77 w 88"/>
                <a:gd name="T93" fmla="*/ 45 h 93"/>
                <a:gd name="T94" fmla="*/ 75 w 88"/>
                <a:gd name="T95" fmla="*/ 46 h 93"/>
                <a:gd name="T96" fmla="*/ 73 w 88"/>
                <a:gd name="T97" fmla="*/ 47 h 93"/>
                <a:gd name="T98" fmla="*/ 73 w 88"/>
                <a:gd name="T99" fmla="*/ 46 h 93"/>
                <a:gd name="T100" fmla="*/ 69 w 88"/>
                <a:gd name="T101" fmla="*/ 46 h 93"/>
                <a:gd name="T102" fmla="*/ 65 w 88"/>
                <a:gd name="T103" fmla="*/ 42 h 93"/>
                <a:gd name="T104" fmla="*/ 67 w 88"/>
                <a:gd name="T105" fmla="*/ 12 h 93"/>
                <a:gd name="T106" fmla="*/ 67 w 88"/>
                <a:gd name="T107" fmla="*/ 4 h 93"/>
                <a:gd name="T108" fmla="*/ 37 w 88"/>
                <a:gd name="T109" fmla="*/ 0 h 93"/>
                <a:gd name="T110" fmla="*/ 34 w 88"/>
                <a:gd name="T111"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8" h="93">
                  <a:moveTo>
                    <a:pt x="29" y="0"/>
                  </a:moveTo>
                  <a:cubicBezTo>
                    <a:pt x="29" y="0"/>
                    <a:pt x="29" y="0"/>
                    <a:pt x="29" y="0"/>
                  </a:cubicBezTo>
                  <a:cubicBezTo>
                    <a:pt x="29" y="2"/>
                    <a:pt x="29" y="6"/>
                    <a:pt x="30" y="7"/>
                  </a:cubicBezTo>
                  <a:cubicBezTo>
                    <a:pt x="30" y="8"/>
                    <a:pt x="30" y="9"/>
                    <a:pt x="30" y="10"/>
                  </a:cubicBezTo>
                  <a:cubicBezTo>
                    <a:pt x="30" y="11"/>
                    <a:pt x="30" y="11"/>
                    <a:pt x="30" y="11"/>
                  </a:cubicBezTo>
                  <a:cubicBezTo>
                    <a:pt x="30" y="11"/>
                    <a:pt x="30" y="11"/>
                    <a:pt x="30" y="11"/>
                  </a:cubicBezTo>
                  <a:cubicBezTo>
                    <a:pt x="29" y="13"/>
                    <a:pt x="27" y="14"/>
                    <a:pt x="26" y="14"/>
                  </a:cubicBezTo>
                  <a:cubicBezTo>
                    <a:pt x="24" y="14"/>
                    <a:pt x="24" y="14"/>
                    <a:pt x="24" y="14"/>
                  </a:cubicBezTo>
                  <a:cubicBezTo>
                    <a:pt x="26" y="15"/>
                    <a:pt x="26" y="15"/>
                    <a:pt x="26" y="15"/>
                  </a:cubicBezTo>
                  <a:cubicBezTo>
                    <a:pt x="27" y="16"/>
                    <a:pt x="28" y="17"/>
                    <a:pt x="29" y="18"/>
                  </a:cubicBezTo>
                  <a:cubicBezTo>
                    <a:pt x="30" y="19"/>
                    <a:pt x="31" y="20"/>
                    <a:pt x="31" y="21"/>
                  </a:cubicBezTo>
                  <a:cubicBezTo>
                    <a:pt x="32" y="21"/>
                    <a:pt x="32" y="21"/>
                    <a:pt x="32" y="21"/>
                  </a:cubicBezTo>
                  <a:cubicBezTo>
                    <a:pt x="34" y="23"/>
                    <a:pt x="36" y="25"/>
                    <a:pt x="38" y="27"/>
                  </a:cubicBezTo>
                  <a:cubicBezTo>
                    <a:pt x="39" y="27"/>
                    <a:pt x="39" y="27"/>
                    <a:pt x="39" y="27"/>
                  </a:cubicBezTo>
                  <a:cubicBezTo>
                    <a:pt x="39" y="27"/>
                    <a:pt x="39" y="27"/>
                    <a:pt x="40" y="28"/>
                  </a:cubicBezTo>
                  <a:cubicBezTo>
                    <a:pt x="41" y="28"/>
                    <a:pt x="41" y="28"/>
                    <a:pt x="42" y="29"/>
                  </a:cubicBezTo>
                  <a:cubicBezTo>
                    <a:pt x="42" y="29"/>
                    <a:pt x="42" y="29"/>
                    <a:pt x="42" y="29"/>
                  </a:cubicBezTo>
                  <a:cubicBezTo>
                    <a:pt x="44" y="31"/>
                    <a:pt x="44" y="32"/>
                    <a:pt x="43" y="34"/>
                  </a:cubicBezTo>
                  <a:cubicBezTo>
                    <a:pt x="43" y="35"/>
                    <a:pt x="43" y="35"/>
                    <a:pt x="43" y="36"/>
                  </a:cubicBezTo>
                  <a:cubicBezTo>
                    <a:pt x="43" y="36"/>
                    <a:pt x="43" y="36"/>
                    <a:pt x="43" y="36"/>
                  </a:cubicBezTo>
                  <a:cubicBezTo>
                    <a:pt x="43" y="37"/>
                    <a:pt x="43" y="38"/>
                    <a:pt x="42" y="39"/>
                  </a:cubicBezTo>
                  <a:cubicBezTo>
                    <a:pt x="42" y="40"/>
                    <a:pt x="41" y="42"/>
                    <a:pt x="38" y="42"/>
                  </a:cubicBezTo>
                  <a:cubicBezTo>
                    <a:pt x="27" y="42"/>
                    <a:pt x="27" y="42"/>
                    <a:pt x="27" y="42"/>
                  </a:cubicBezTo>
                  <a:cubicBezTo>
                    <a:pt x="24" y="42"/>
                    <a:pt x="24" y="42"/>
                    <a:pt x="24" y="42"/>
                  </a:cubicBezTo>
                  <a:cubicBezTo>
                    <a:pt x="23" y="42"/>
                    <a:pt x="22" y="42"/>
                    <a:pt x="21" y="42"/>
                  </a:cubicBezTo>
                  <a:cubicBezTo>
                    <a:pt x="19" y="42"/>
                    <a:pt x="17" y="42"/>
                    <a:pt x="16" y="42"/>
                  </a:cubicBezTo>
                  <a:cubicBezTo>
                    <a:pt x="15" y="42"/>
                    <a:pt x="13" y="43"/>
                    <a:pt x="12" y="43"/>
                  </a:cubicBezTo>
                  <a:cubicBezTo>
                    <a:pt x="12" y="44"/>
                    <a:pt x="12" y="44"/>
                    <a:pt x="12" y="44"/>
                  </a:cubicBezTo>
                  <a:cubicBezTo>
                    <a:pt x="11" y="44"/>
                    <a:pt x="11" y="44"/>
                    <a:pt x="11" y="44"/>
                  </a:cubicBezTo>
                  <a:cubicBezTo>
                    <a:pt x="10" y="44"/>
                    <a:pt x="10" y="45"/>
                    <a:pt x="9" y="46"/>
                  </a:cubicBezTo>
                  <a:cubicBezTo>
                    <a:pt x="9" y="47"/>
                    <a:pt x="9" y="47"/>
                    <a:pt x="9" y="47"/>
                  </a:cubicBezTo>
                  <a:cubicBezTo>
                    <a:pt x="7" y="50"/>
                    <a:pt x="4" y="53"/>
                    <a:pt x="3" y="57"/>
                  </a:cubicBezTo>
                  <a:cubicBezTo>
                    <a:pt x="2" y="58"/>
                    <a:pt x="2" y="58"/>
                    <a:pt x="2" y="58"/>
                  </a:cubicBezTo>
                  <a:cubicBezTo>
                    <a:pt x="2" y="58"/>
                    <a:pt x="2" y="58"/>
                    <a:pt x="2" y="58"/>
                  </a:cubicBezTo>
                  <a:cubicBezTo>
                    <a:pt x="2" y="58"/>
                    <a:pt x="2" y="58"/>
                    <a:pt x="2" y="58"/>
                  </a:cubicBezTo>
                  <a:cubicBezTo>
                    <a:pt x="2" y="58"/>
                    <a:pt x="2" y="58"/>
                    <a:pt x="2" y="58"/>
                  </a:cubicBezTo>
                  <a:cubicBezTo>
                    <a:pt x="2" y="59"/>
                    <a:pt x="2" y="59"/>
                    <a:pt x="2" y="59"/>
                  </a:cubicBezTo>
                  <a:cubicBezTo>
                    <a:pt x="3" y="59"/>
                    <a:pt x="3" y="59"/>
                    <a:pt x="3" y="59"/>
                  </a:cubicBezTo>
                  <a:cubicBezTo>
                    <a:pt x="4" y="61"/>
                    <a:pt x="4" y="62"/>
                    <a:pt x="4" y="64"/>
                  </a:cubicBezTo>
                  <a:cubicBezTo>
                    <a:pt x="4" y="64"/>
                    <a:pt x="4" y="64"/>
                    <a:pt x="4" y="64"/>
                  </a:cubicBezTo>
                  <a:cubicBezTo>
                    <a:pt x="4" y="65"/>
                    <a:pt x="4" y="65"/>
                    <a:pt x="4" y="65"/>
                  </a:cubicBezTo>
                  <a:cubicBezTo>
                    <a:pt x="3" y="66"/>
                    <a:pt x="3" y="66"/>
                    <a:pt x="3" y="66"/>
                  </a:cubicBezTo>
                  <a:cubicBezTo>
                    <a:pt x="3" y="67"/>
                    <a:pt x="3" y="67"/>
                    <a:pt x="3" y="67"/>
                  </a:cubicBezTo>
                  <a:cubicBezTo>
                    <a:pt x="3" y="68"/>
                    <a:pt x="3" y="68"/>
                    <a:pt x="2" y="69"/>
                  </a:cubicBezTo>
                  <a:cubicBezTo>
                    <a:pt x="2" y="69"/>
                    <a:pt x="2" y="69"/>
                    <a:pt x="2" y="70"/>
                  </a:cubicBezTo>
                  <a:cubicBezTo>
                    <a:pt x="2" y="70"/>
                    <a:pt x="2" y="71"/>
                    <a:pt x="2" y="71"/>
                  </a:cubicBezTo>
                  <a:cubicBezTo>
                    <a:pt x="2" y="72"/>
                    <a:pt x="2" y="72"/>
                    <a:pt x="2" y="72"/>
                  </a:cubicBezTo>
                  <a:cubicBezTo>
                    <a:pt x="2" y="72"/>
                    <a:pt x="2" y="73"/>
                    <a:pt x="2" y="73"/>
                  </a:cubicBezTo>
                  <a:cubicBezTo>
                    <a:pt x="2" y="75"/>
                    <a:pt x="2" y="75"/>
                    <a:pt x="2" y="75"/>
                  </a:cubicBezTo>
                  <a:cubicBezTo>
                    <a:pt x="2" y="75"/>
                    <a:pt x="1" y="75"/>
                    <a:pt x="1" y="76"/>
                  </a:cubicBezTo>
                  <a:cubicBezTo>
                    <a:pt x="0" y="77"/>
                    <a:pt x="0" y="77"/>
                    <a:pt x="0" y="77"/>
                  </a:cubicBezTo>
                  <a:cubicBezTo>
                    <a:pt x="1" y="78"/>
                    <a:pt x="1" y="78"/>
                    <a:pt x="1" y="78"/>
                  </a:cubicBezTo>
                  <a:cubicBezTo>
                    <a:pt x="4" y="80"/>
                    <a:pt x="6" y="82"/>
                    <a:pt x="8" y="84"/>
                  </a:cubicBezTo>
                  <a:cubicBezTo>
                    <a:pt x="15" y="87"/>
                    <a:pt x="19" y="89"/>
                    <a:pt x="26" y="90"/>
                  </a:cubicBezTo>
                  <a:cubicBezTo>
                    <a:pt x="27" y="90"/>
                    <a:pt x="27" y="90"/>
                    <a:pt x="28" y="90"/>
                  </a:cubicBezTo>
                  <a:cubicBezTo>
                    <a:pt x="29" y="90"/>
                    <a:pt x="30" y="90"/>
                    <a:pt x="31" y="90"/>
                  </a:cubicBezTo>
                  <a:cubicBezTo>
                    <a:pt x="32" y="90"/>
                    <a:pt x="33" y="90"/>
                    <a:pt x="34" y="90"/>
                  </a:cubicBezTo>
                  <a:cubicBezTo>
                    <a:pt x="34" y="90"/>
                    <a:pt x="35" y="90"/>
                    <a:pt x="35" y="90"/>
                  </a:cubicBezTo>
                  <a:cubicBezTo>
                    <a:pt x="38" y="90"/>
                    <a:pt x="41" y="92"/>
                    <a:pt x="44" y="93"/>
                  </a:cubicBezTo>
                  <a:cubicBezTo>
                    <a:pt x="45" y="93"/>
                    <a:pt x="45" y="93"/>
                    <a:pt x="45" y="93"/>
                  </a:cubicBezTo>
                  <a:cubicBezTo>
                    <a:pt x="45" y="93"/>
                    <a:pt x="45" y="93"/>
                    <a:pt x="45" y="93"/>
                  </a:cubicBezTo>
                  <a:cubicBezTo>
                    <a:pt x="47" y="88"/>
                    <a:pt x="47" y="88"/>
                    <a:pt x="48" y="88"/>
                  </a:cubicBezTo>
                  <a:cubicBezTo>
                    <a:pt x="48" y="86"/>
                    <a:pt x="50" y="85"/>
                    <a:pt x="52" y="85"/>
                  </a:cubicBezTo>
                  <a:cubicBezTo>
                    <a:pt x="52" y="84"/>
                    <a:pt x="53" y="84"/>
                    <a:pt x="54" y="84"/>
                  </a:cubicBezTo>
                  <a:cubicBezTo>
                    <a:pt x="54" y="83"/>
                    <a:pt x="56" y="82"/>
                    <a:pt x="57" y="82"/>
                  </a:cubicBezTo>
                  <a:cubicBezTo>
                    <a:pt x="57" y="82"/>
                    <a:pt x="57" y="82"/>
                    <a:pt x="57" y="82"/>
                  </a:cubicBezTo>
                  <a:cubicBezTo>
                    <a:pt x="57" y="81"/>
                    <a:pt x="56" y="80"/>
                    <a:pt x="57" y="79"/>
                  </a:cubicBezTo>
                  <a:cubicBezTo>
                    <a:pt x="57" y="77"/>
                    <a:pt x="59" y="76"/>
                    <a:pt x="62" y="75"/>
                  </a:cubicBezTo>
                  <a:cubicBezTo>
                    <a:pt x="62" y="75"/>
                    <a:pt x="62" y="75"/>
                    <a:pt x="63" y="75"/>
                  </a:cubicBezTo>
                  <a:cubicBezTo>
                    <a:pt x="64" y="75"/>
                    <a:pt x="64" y="75"/>
                    <a:pt x="64" y="75"/>
                  </a:cubicBezTo>
                  <a:cubicBezTo>
                    <a:pt x="65" y="74"/>
                    <a:pt x="65" y="74"/>
                    <a:pt x="65" y="74"/>
                  </a:cubicBezTo>
                  <a:cubicBezTo>
                    <a:pt x="65" y="74"/>
                    <a:pt x="67" y="72"/>
                    <a:pt x="67" y="72"/>
                  </a:cubicBezTo>
                  <a:cubicBezTo>
                    <a:pt x="67" y="72"/>
                    <a:pt x="67" y="72"/>
                    <a:pt x="67" y="72"/>
                  </a:cubicBezTo>
                  <a:cubicBezTo>
                    <a:pt x="66" y="71"/>
                    <a:pt x="66" y="70"/>
                    <a:pt x="66" y="69"/>
                  </a:cubicBezTo>
                  <a:cubicBezTo>
                    <a:pt x="66" y="68"/>
                    <a:pt x="66" y="66"/>
                    <a:pt x="66" y="65"/>
                  </a:cubicBezTo>
                  <a:cubicBezTo>
                    <a:pt x="66" y="65"/>
                    <a:pt x="66" y="65"/>
                    <a:pt x="66" y="65"/>
                  </a:cubicBezTo>
                  <a:cubicBezTo>
                    <a:pt x="66" y="65"/>
                    <a:pt x="66" y="65"/>
                    <a:pt x="66" y="65"/>
                  </a:cubicBezTo>
                  <a:cubicBezTo>
                    <a:pt x="66" y="64"/>
                    <a:pt x="67" y="64"/>
                    <a:pt x="67" y="63"/>
                  </a:cubicBezTo>
                  <a:cubicBezTo>
                    <a:pt x="67" y="61"/>
                    <a:pt x="70" y="60"/>
                    <a:pt x="72" y="59"/>
                  </a:cubicBezTo>
                  <a:cubicBezTo>
                    <a:pt x="73" y="60"/>
                    <a:pt x="73" y="60"/>
                    <a:pt x="73" y="60"/>
                  </a:cubicBezTo>
                  <a:cubicBezTo>
                    <a:pt x="72" y="58"/>
                    <a:pt x="72" y="58"/>
                    <a:pt x="72" y="58"/>
                  </a:cubicBezTo>
                  <a:cubicBezTo>
                    <a:pt x="73" y="58"/>
                    <a:pt x="73" y="58"/>
                    <a:pt x="73" y="58"/>
                  </a:cubicBezTo>
                  <a:cubicBezTo>
                    <a:pt x="74" y="58"/>
                    <a:pt x="75" y="57"/>
                    <a:pt x="75" y="57"/>
                  </a:cubicBezTo>
                  <a:cubicBezTo>
                    <a:pt x="76" y="56"/>
                    <a:pt x="76" y="56"/>
                    <a:pt x="76" y="56"/>
                  </a:cubicBezTo>
                  <a:cubicBezTo>
                    <a:pt x="78" y="55"/>
                    <a:pt x="80" y="53"/>
                    <a:pt x="82" y="51"/>
                  </a:cubicBezTo>
                  <a:cubicBezTo>
                    <a:pt x="82" y="51"/>
                    <a:pt x="83" y="50"/>
                    <a:pt x="84" y="50"/>
                  </a:cubicBezTo>
                  <a:cubicBezTo>
                    <a:pt x="84" y="49"/>
                    <a:pt x="84" y="49"/>
                    <a:pt x="84" y="49"/>
                  </a:cubicBezTo>
                  <a:cubicBezTo>
                    <a:pt x="86" y="48"/>
                    <a:pt x="87" y="47"/>
                    <a:pt x="88" y="46"/>
                  </a:cubicBezTo>
                  <a:cubicBezTo>
                    <a:pt x="86" y="44"/>
                    <a:pt x="84" y="43"/>
                    <a:pt x="82" y="42"/>
                  </a:cubicBezTo>
                  <a:cubicBezTo>
                    <a:pt x="83" y="43"/>
                    <a:pt x="84" y="44"/>
                    <a:pt x="85" y="45"/>
                  </a:cubicBezTo>
                  <a:cubicBezTo>
                    <a:pt x="83" y="45"/>
                    <a:pt x="82" y="46"/>
                    <a:pt x="81" y="46"/>
                  </a:cubicBezTo>
                  <a:cubicBezTo>
                    <a:pt x="80" y="46"/>
                    <a:pt x="79" y="45"/>
                    <a:pt x="77" y="44"/>
                  </a:cubicBezTo>
                  <a:cubicBezTo>
                    <a:pt x="76" y="44"/>
                    <a:pt x="76" y="44"/>
                    <a:pt x="76" y="44"/>
                  </a:cubicBezTo>
                  <a:cubicBezTo>
                    <a:pt x="77" y="45"/>
                    <a:pt x="77" y="45"/>
                    <a:pt x="77" y="45"/>
                  </a:cubicBezTo>
                  <a:cubicBezTo>
                    <a:pt x="75" y="46"/>
                    <a:pt x="75" y="46"/>
                    <a:pt x="75" y="46"/>
                  </a:cubicBezTo>
                  <a:cubicBezTo>
                    <a:pt x="75" y="46"/>
                    <a:pt x="75" y="46"/>
                    <a:pt x="75" y="46"/>
                  </a:cubicBezTo>
                  <a:cubicBezTo>
                    <a:pt x="75" y="46"/>
                    <a:pt x="75" y="46"/>
                    <a:pt x="75" y="46"/>
                  </a:cubicBezTo>
                  <a:cubicBezTo>
                    <a:pt x="73" y="47"/>
                    <a:pt x="73" y="47"/>
                    <a:pt x="73" y="47"/>
                  </a:cubicBezTo>
                  <a:cubicBezTo>
                    <a:pt x="73" y="46"/>
                    <a:pt x="73" y="46"/>
                    <a:pt x="73" y="46"/>
                  </a:cubicBezTo>
                  <a:cubicBezTo>
                    <a:pt x="73" y="46"/>
                    <a:pt x="73" y="46"/>
                    <a:pt x="73" y="46"/>
                  </a:cubicBezTo>
                  <a:cubicBezTo>
                    <a:pt x="72" y="46"/>
                    <a:pt x="72" y="46"/>
                    <a:pt x="72" y="46"/>
                  </a:cubicBezTo>
                  <a:cubicBezTo>
                    <a:pt x="71" y="46"/>
                    <a:pt x="70" y="46"/>
                    <a:pt x="69" y="46"/>
                  </a:cubicBezTo>
                  <a:cubicBezTo>
                    <a:pt x="65" y="46"/>
                    <a:pt x="65" y="46"/>
                    <a:pt x="65" y="46"/>
                  </a:cubicBezTo>
                  <a:cubicBezTo>
                    <a:pt x="65" y="42"/>
                    <a:pt x="65" y="42"/>
                    <a:pt x="65" y="42"/>
                  </a:cubicBezTo>
                  <a:cubicBezTo>
                    <a:pt x="66" y="31"/>
                    <a:pt x="66" y="22"/>
                    <a:pt x="67" y="13"/>
                  </a:cubicBezTo>
                  <a:cubicBezTo>
                    <a:pt x="67" y="12"/>
                    <a:pt x="67" y="12"/>
                    <a:pt x="67" y="12"/>
                  </a:cubicBezTo>
                  <a:cubicBezTo>
                    <a:pt x="67" y="10"/>
                    <a:pt x="67" y="8"/>
                    <a:pt x="67" y="6"/>
                  </a:cubicBezTo>
                  <a:cubicBezTo>
                    <a:pt x="67" y="4"/>
                    <a:pt x="67" y="4"/>
                    <a:pt x="67" y="4"/>
                  </a:cubicBezTo>
                  <a:cubicBezTo>
                    <a:pt x="67" y="3"/>
                    <a:pt x="67" y="2"/>
                    <a:pt x="67" y="0"/>
                  </a:cubicBezTo>
                  <a:cubicBezTo>
                    <a:pt x="37" y="0"/>
                    <a:pt x="37" y="0"/>
                    <a:pt x="37" y="0"/>
                  </a:cubicBezTo>
                  <a:cubicBezTo>
                    <a:pt x="37" y="0"/>
                    <a:pt x="36" y="0"/>
                    <a:pt x="35" y="0"/>
                  </a:cubicBezTo>
                  <a:cubicBezTo>
                    <a:pt x="34" y="0"/>
                    <a:pt x="34" y="0"/>
                    <a:pt x="34" y="0"/>
                  </a:cubicBezTo>
                  <a:cubicBezTo>
                    <a:pt x="32" y="0"/>
                    <a:pt x="30"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00" name="Freeform 271">
              <a:extLst>
                <a:ext uri="{FF2B5EF4-FFF2-40B4-BE49-F238E27FC236}">
                  <a16:creationId xmlns:a16="http://schemas.microsoft.com/office/drawing/2014/main" id="{7DAAFAFB-5267-4FCD-95AC-AD7697F9050C}"/>
                </a:ext>
              </a:extLst>
            </p:cNvPr>
            <p:cNvSpPr>
              <a:spLocks/>
            </p:cNvSpPr>
            <p:nvPr/>
          </p:nvSpPr>
          <p:spPr bwMode="auto">
            <a:xfrm>
              <a:off x="7692127" y="1035196"/>
              <a:ext cx="903853" cy="1271046"/>
            </a:xfrm>
            <a:custGeom>
              <a:avLst/>
              <a:gdLst>
                <a:gd name="T0" fmla="*/ 135 w 271"/>
                <a:gd name="T1" fmla="*/ 26 h 381"/>
                <a:gd name="T2" fmla="*/ 107 w 271"/>
                <a:gd name="T3" fmla="*/ 40 h 381"/>
                <a:gd name="T4" fmla="*/ 109 w 271"/>
                <a:gd name="T5" fmla="*/ 35 h 381"/>
                <a:gd name="T6" fmla="*/ 97 w 271"/>
                <a:gd name="T7" fmla="*/ 32 h 381"/>
                <a:gd name="T8" fmla="*/ 81 w 271"/>
                <a:gd name="T9" fmla="*/ 52 h 381"/>
                <a:gd name="T10" fmla="*/ 70 w 271"/>
                <a:gd name="T11" fmla="*/ 73 h 381"/>
                <a:gd name="T12" fmla="*/ 53 w 271"/>
                <a:gd name="T13" fmla="*/ 106 h 381"/>
                <a:gd name="T14" fmla="*/ 46 w 271"/>
                <a:gd name="T15" fmla="*/ 104 h 381"/>
                <a:gd name="T16" fmla="*/ 33 w 271"/>
                <a:gd name="T17" fmla="*/ 118 h 381"/>
                <a:gd name="T18" fmla="*/ 39 w 271"/>
                <a:gd name="T19" fmla="*/ 137 h 381"/>
                <a:gd name="T20" fmla="*/ 40 w 271"/>
                <a:gd name="T21" fmla="*/ 180 h 381"/>
                <a:gd name="T22" fmla="*/ 46 w 271"/>
                <a:gd name="T23" fmla="*/ 199 h 381"/>
                <a:gd name="T24" fmla="*/ 8 w 271"/>
                <a:gd name="T25" fmla="*/ 240 h 381"/>
                <a:gd name="T26" fmla="*/ 5 w 271"/>
                <a:gd name="T27" fmla="*/ 254 h 381"/>
                <a:gd name="T28" fmla="*/ 40 w 271"/>
                <a:gd name="T29" fmla="*/ 278 h 381"/>
                <a:gd name="T30" fmla="*/ 56 w 271"/>
                <a:gd name="T31" fmla="*/ 281 h 381"/>
                <a:gd name="T32" fmla="*/ 74 w 271"/>
                <a:gd name="T33" fmla="*/ 282 h 381"/>
                <a:gd name="T34" fmla="*/ 90 w 271"/>
                <a:gd name="T35" fmla="*/ 289 h 381"/>
                <a:gd name="T36" fmla="*/ 95 w 271"/>
                <a:gd name="T37" fmla="*/ 290 h 381"/>
                <a:gd name="T38" fmla="*/ 99 w 271"/>
                <a:gd name="T39" fmla="*/ 292 h 381"/>
                <a:gd name="T40" fmla="*/ 111 w 271"/>
                <a:gd name="T41" fmla="*/ 304 h 381"/>
                <a:gd name="T42" fmla="*/ 117 w 271"/>
                <a:gd name="T43" fmla="*/ 313 h 381"/>
                <a:gd name="T44" fmla="*/ 132 w 271"/>
                <a:gd name="T45" fmla="*/ 326 h 381"/>
                <a:gd name="T46" fmla="*/ 132 w 271"/>
                <a:gd name="T47" fmla="*/ 330 h 381"/>
                <a:gd name="T48" fmla="*/ 141 w 271"/>
                <a:gd name="T49" fmla="*/ 334 h 381"/>
                <a:gd name="T50" fmla="*/ 142 w 271"/>
                <a:gd name="T51" fmla="*/ 340 h 381"/>
                <a:gd name="T52" fmla="*/ 155 w 271"/>
                <a:gd name="T53" fmla="*/ 344 h 381"/>
                <a:gd name="T54" fmla="*/ 160 w 271"/>
                <a:gd name="T55" fmla="*/ 344 h 381"/>
                <a:gd name="T56" fmla="*/ 163 w 271"/>
                <a:gd name="T57" fmla="*/ 343 h 381"/>
                <a:gd name="T58" fmla="*/ 173 w 271"/>
                <a:gd name="T59" fmla="*/ 341 h 381"/>
                <a:gd name="T60" fmla="*/ 181 w 271"/>
                <a:gd name="T61" fmla="*/ 342 h 381"/>
                <a:gd name="T62" fmla="*/ 189 w 271"/>
                <a:gd name="T63" fmla="*/ 340 h 381"/>
                <a:gd name="T64" fmla="*/ 209 w 271"/>
                <a:gd name="T65" fmla="*/ 350 h 381"/>
                <a:gd name="T66" fmla="*/ 198 w 271"/>
                <a:gd name="T67" fmla="*/ 376 h 381"/>
                <a:gd name="T68" fmla="*/ 207 w 271"/>
                <a:gd name="T69" fmla="*/ 379 h 381"/>
                <a:gd name="T70" fmla="*/ 212 w 271"/>
                <a:gd name="T71" fmla="*/ 365 h 381"/>
                <a:gd name="T72" fmla="*/ 215 w 271"/>
                <a:gd name="T73" fmla="*/ 350 h 381"/>
                <a:gd name="T74" fmla="*/ 217 w 271"/>
                <a:gd name="T75" fmla="*/ 339 h 381"/>
                <a:gd name="T76" fmla="*/ 216 w 271"/>
                <a:gd name="T77" fmla="*/ 303 h 381"/>
                <a:gd name="T78" fmla="*/ 215 w 271"/>
                <a:gd name="T79" fmla="*/ 271 h 381"/>
                <a:gd name="T80" fmla="*/ 225 w 271"/>
                <a:gd name="T81" fmla="*/ 268 h 381"/>
                <a:gd name="T82" fmla="*/ 210 w 271"/>
                <a:gd name="T83" fmla="*/ 265 h 381"/>
                <a:gd name="T84" fmla="*/ 242 w 271"/>
                <a:gd name="T85" fmla="*/ 247 h 381"/>
                <a:gd name="T86" fmla="*/ 259 w 271"/>
                <a:gd name="T87" fmla="*/ 245 h 381"/>
                <a:gd name="T88" fmla="*/ 265 w 271"/>
                <a:gd name="T89" fmla="*/ 229 h 381"/>
                <a:gd name="T90" fmla="*/ 259 w 271"/>
                <a:gd name="T91" fmla="*/ 220 h 381"/>
                <a:gd name="T92" fmla="*/ 266 w 271"/>
                <a:gd name="T93" fmla="*/ 214 h 381"/>
                <a:gd name="T94" fmla="*/ 263 w 271"/>
                <a:gd name="T95" fmla="*/ 205 h 381"/>
                <a:gd name="T96" fmla="*/ 251 w 271"/>
                <a:gd name="T97" fmla="*/ 186 h 381"/>
                <a:gd name="T98" fmla="*/ 257 w 271"/>
                <a:gd name="T99" fmla="*/ 167 h 381"/>
                <a:gd name="T100" fmla="*/ 266 w 271"/>
                <a:gd name="T101" fmla="*/ 149 h 381"/>
                <a:gd name="T102" fmla="*/ 234 w 271"/>
                <a:gd name="T103" fmla="*/ 150 h 381"/>
                <a:gd name="T104" fmla="*/ 211 w 271"/>
                <a:gd name="T105" fmla="*/ 138 h 381"/>
                <a:gd name="T106" fmla="*/ 185 w 271"/>
                <a:gd name="T107" fmla="*/ 130 h 381"/>
                <a:gd name="T108" fmla="*/ 165 w 271"/>
                <a:gd name="T109" fmla="*/ 130 h 381"/>
                <a:gd name="T110" fmla="*/ 154 w 271"/>
                <a:gd name="T111" fmla="*/ 121 h 381"/>
                <a:gd name="T112" fmla="*/ 146 w 271"/>
                <a:gd name="T113" fmla="*/ 86 h 381"/>
                <a:gd name="T114" fmla="*/ 133 w 271"/>
                <a:gd name="T115" fmla="*/ 80 h 381"/>
                <a:gd name="T116" fmla="*/ 132 w 271"/>
                <a:gd name="T117" fmla="*/ 71 h 381"/>
                <a:gd name="T118" fmla="*/ 143 w 271"/>
                <a:gd name="T119" fmla="*/ 40 h 381"/>
                <a:gd name="T120" fmla="*/ 156 w 271"/>
                <a:gd name="T121" fmla="*/ 27 h 381"/>
                <a:gd name="T122" fmla="*/ 174 w 271"/>
                <a:gd name="T123" fmla="*/ 13 h 381"/>
                <a:gd name="T124" fmla="*/ 180 w 271"/>
                <a:gd name="T125" fmla="*/ 2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1" h="381">
                  <a:moveTo>
                    <a:pt x="172" y="0"/>
                  </a:moveTo>
                  <a:cubicBezTo>
                    <a:pt x="172" y="0"/>
                    <a:pt x="172" y="0"/>
                    <a:pt x="172" y="0"/>
                  </a:cubicBezTo>
                  <a:cubicBezTo>
                    <a:pt x="169" y="0"/>
                    <a:pt x="164" y="3"/>
                    <a:pt x="161" y="5"/>
                  </a:cubicBezTo>
                  <a:cubicBezTo>
                    <a:pt x="158" y="6"/>
                    <a:pt x="157" y="11"/>
                    <a:pt x="155" y="14"/>
                  </a:cubicBezTo>
                  <a:cubicBezTo>
                    <a:pt x="151" y="16"/>
                    <a:pt x="147" y="18"/>
                    <a:pt x="143" y="20"/>
                  </a:cubicBezTo>
                  <a:cubicBezTo>
                    <a:pt x="140" y="22"/>
                    <a:pt x="138" y="25"/>
                    <a:pt x="135" y="26"/>
                  </a:cubicBezTo>
                  <a:cubicBezTo>
                    <a:pt x="133" y="27"/>
                    <a:pt x="129" y="28"/>
                    <a:pt x="126" y="28"/>
                  </a:cubicBezTo>
                  <a:cubicBezTo>
                    <a:pt x="124" y="28"/>
                    <a:pt x="121" y="27"/>
                    <a:pt x="119" y="27"/>
                  </a:cubicBezTo>
                  <a:cubicBezTo>
                    <a:pt x="117" y="26"/>
                    <a:pt x="117" y="26"/>
                    <a:pt x="116" y="26"/>
                  </a:cubicBezTo>
                  <a:cubicBezTo>
                    <a:pt x="116" y="26"/>
                    <a:pt x="115" y="26"/>
                    <a:pt x="114" y="26"/>
                  </a:cubicBezTo>
                  <a:cubicBezTo>
                    <a:pt x="113" y="28"/>
                    <a:pt x="111" y="33"/>
                    <a:pt x="110" y="36"/>
                  </a:cubicBezTo>
                  <a:cubicBezTo>
                    <a:pt x="109" y="38"/>
                    <a:pt x="108" y="40"/>
                    <a:pt x="107" y="40"/>
                  </a:cubicBezTo>
                  <a:cubicBezTo>
                    <a:pt x="106" y="40"/>
                    <a:pt x="105" y="39"/>
                    <a:pt x="104" y="38"/>
                  </a:cubicBezTo>
                  <a:cubicBezTo>
                    <a:pt x="103" y="39"/>
                    <a:pt x="103" y="39"/>
                    <a:pt x="103" y="39"/>
                  </a:cubicBezTo>
                  <a:cubicBezTo>
                    <a:pt x="104" y="38"/>
                    <a:pt x="105" y="36"/>
                    <a:pt x="106" y="35"/>
                  </a:cubicBezTo>
                  <a:cubicBezTo>
                    <a:pt x="106" y="35"/>
                    <a:pt x="106" y="34"/>
                    <a:pt x="107" y="34"/>
                  </a:cubicBezTo>
                  <a:cubicBezTo>
                    <a:pt x="107" y="34"/>
                    <a:pt x="107" y="35"/>
                    <a:pt x="108" y="35"/>
                  </a:cubicBezTo>
                  <a:cubicBezTo>
                    <a:pt x="108" y="35"/>
                    <a:pt x="108" y="35"/>
                    <a:pt x="109" y="35"/>
                  </a:cubicBezTo>
                  <a:cubicBezTo>
                    <a:pt x="109" y="35"/>
                    <a:pt x="109" y="35"/>
                    <a:pt x="109" y="35"/>
                  </a:cubicBezTo>
                  <a:cubicBezTo>
                    <a:pt x="110" y="35"/>
                    <a:pt x="110" y="34"/>
                    <a:pt x="110" y="34"/>
                  </a:cubicBezTo>
                  <a:cubicBezTo>
                    <a:pt x="109" y="34"/>
                    <a:pt x="108" y="34"/>
                    <a:pt x="107" y="34"/>
                  </a:cubicBezTo>
                  <a:cubicBezTo>
                    <a:pt x="106" y="34"/>
                    <a:pt x="105" y="34"/>
                    <a:pt x="104" y="34"/>
                  </a:cubicBezTo>
                  <a:cubicBezTo>
                    <a:pt x="103" y="33"/>
                    <a:pt x="99" y="31"/>
                    <a:pt x="98" y="31"/>
                  </a:cubicBezTo>
                  <a:cubicBezTo>
                    <a:pt x="97" y="31"/>
                    <a:pt x="97" y="31"/>
                    <a:pt x="97" y="32"/>
                  </a:cubicBezTo>
                  <a:cubicBezTo>
                    <a:pt x="95" y="33"/>
                    <a:pt x="94" y="36"/>
                    <a:pt x="92" y="37"/>
                  </a:cubicBezTo>
                  <a:cubicBezTo>
                    <a:pt x="91" y="37"/>
                    <a:pt x="89" y="38"/>
                    <a:pt x="89" y="39"/>
                  </a:cubicBezTo>
                  <a:cubicBezTo>
                    <a:pt x="88" y="40"/>
                    <a:pt x="88" y="41"/>
                    <a:pt x="88" y="41"/>
                  </a:cubicBezTo>
                  <a:cubicBezTo>
                    <a:pt x="87" y="42"/>
                    <a:pt x="83" y="42"/>
                    <a:pt x="82" y="44"/>
                  </a:cubicBezTo>
                  <a:cubicBezTo>
                    <a:pt x="80" y="47"/>
                    <a:pt x="80" y="51"/>
                    <a:pt x="77" y="54"/>
                  </a:cubicBezTo>
                  <a:cubicBezTo>
                    <a:pt x="79" y="53"/>
                    <a:pt x="80" y="52"/>
                    <a:pt x="81" y="52"/>
                  </a:cubicBezTo>
                  <a:cubicBezTo>
                    <a:pt x="81" y="55"/>
                    <a:pt x="79" y="60"/>
                    <a:pt x="78" y="63"/>
                  </a:cubicBezTo>
                  <a:cubicBezTo>
                    <a:pt x="77" y="66"/>
                    <a:pt x="80" y="65"/>
                    <a:pt x="80" y="67"/>
                  </a:cubicBezTo>
                  <a:cubicBezTo>
                    <a:pt x="79" y="68"/>
                    <a:pt x="79" y="71"/>
                    <a:pt x="77" y="71"/>
                  </a:cubicBezTo>
                  <a:cubicBezTo>
                    <a:pt x="76" y="71"/>
                    <a:pt x="76" y="71"/>
                    <a:pt x="76" y="71"/>
                  </a:cubicBezTo>
                  <a:cubicBezTo>
                    <a:pt x="76" y="71"/>
                    <a:pt x="75" y="71"/>
                    <a:pt x="75" y="71"/>
                  </a:cubicBezTo>
                  <a:cubicBezTo>
                    <a:pt x="73" y="71"/>
                    <a:pt x="72" y="72"/>
                    <a:pt x="70" y="73"/>
                  </a:cubicBezTo>
                  <a:cubicBezTo>
                    <a:pt x="67" y="74"/>
                    <a:pt x="66" y="79"/>
                    <a:pt x="64" y="82"/>
                  </a:cubicBezTo>
                  <a:cubicBezTo>
                    <a:pt x="62" y="85"/>
                    <a:pt x="55" y="88"/>
                    <a:pt x="52" y="89"/>
                  </a:cubicBezTo>
                  <a:cubicBezTo>
                    <a:pt x="52" y="89"/>
                    <a:pt x="51" y="89"/>
                    <a:pt x="50" y="90"/>
                  </a:cubicBezTo>
                  <a:cubicBezTo>
                    <a:pt x="47" y="92"/>
                    <a:pt x="50" y="94"/>
                    <a:pt x="52" y="97"/>
                  </a:cubicBezTo>
                  <a:cubicBezTo>
                    <a:pt x="53" y="98"/>
                    <a:pt x="54" y="102"/>
                    <a:pt x="54" y="103"/>
                  </a:cubicBezTo>
                  <a:cubicBezTo>
                    <a:pt x="54" y="104"/>
                    <a:pt x="54" y="106"/>
                    <a:pt x="53" y="106"/>
                  </a:cubicBezTo>
                  <a:cubicBezTo>
                    <a:pt x="53" y="106"/>
                    <a:pt x="53" y="106"/>
                    <a:pt x="52" y="106"/>
                  </a:cubicBezTo>
                  <a:cubicBezTo>
                    <a:pt x="51" y="106"/>
                    <a:pt x="51" y="105"/>
                    <a:pt x="51" y="104"/>
                  </a:cubicBezTo>
                  <a:cubicBezTo>
                    <a:pt x="48" y="99"/>
                    <a:pt x="44" y="95"/>
                    <a:pt x="41" y="91"/>
                  </a:cubicBezTo>
                  <a:cubicBezTo>
                    <a:pt x="40" y="91"/>
                    <a:pt x="40" y="92"/>
                    <a:pt x="40" y="92"/>
                  </a:cubicBezTo>
                  <a:cubicBezTo>
                    <a:pt x="41" y="93"/>
                    <a:pt x="42" y="95"/>
                    <a:pt x="42" y="97"/>
                  </a:cubicBezTo>
                  <a:cubicBezTo>
                    <a:pt x="43" y="99"/>
                    <a:pt x="45" y="101"/>
                    <a:pt x="46" y="104"/>
                  </a:cubicBezTo>
                  <a:cubicBezTo>
                    <a:pt x="48" y="107"/>
                    <a:pt x="48" y="107"/>
                    <a:pt x="48" y="107"/>
                  </a:cubicBezTo>
                  <a:cubicBezTo>
                    <a:pt x="45" y="108"/>
                    <a:pt x="45" y="108"/>
                    <a:pt x="45" y="108"/>
                  </a:cubicBezTo>
                  <a:cubicBezTo>
                    <a:pt x="43" y="110"/>
                    <a:pt x="41" y="112"/>
                    <a:pt x="39" y="113"/>
                  </a:cubicBezTo>
                  <a:cubicBezTo>
                    <a:pt x="37" y="116"/>
                    <a:pt x="36" y="118"/>
                    <a:pt x="35" y="118"/>
                  </a:cubicBezTo>
                  <a:cubicBezTo>
                    <a:pt x="34" y="118"/>
                    <a:pt x="34" y="118"/>
                    <a:pt x="34" y="118"/>
                  </a:cubicBezTo>
                  <a:cubicBezTo>
                    <a:pt x="33" y="118"/>
                    <a:pt x="33" y="118"/>
                    <a:pt x="33" y="118"/>
                  </a:cubicBezTo>
                  <a:cubicBezTo>
                    <a:pt x="32" y="119"/>
                    <a:pt x="31" y="120"/>
                    <a:pt x="31" y="121"/>
                  </a:cubicBezTo>
                  <a:cubicBezTo>
                    <a:pt x="30" y="122"/>
                    <a:pt x="30" y="122"/>
                    <a:pt x="30" y="122"/>
                  </a:cubicBezTo>
                  <a:cubicBezTo>
                    <a:pt x="30" y="125"/>
                    <a:pt x="30" y="125"/>
                    <a:pt x="30" y="125"/>
                  </a:cubicBezTo>
                  <a:cubicBezTo>
                    <a:pt x="29" y="125"/>
                    <a:pt x="29" y="125"/>
                    <a:pt x="29" y="125"/>
                  </a:cubicBezTo>
                  <a:cubicBezTo>
                    <a:pt x="31" y="128"/>
                    <a:pt x="33" y="130"/>
                    <a:pt x="35" y="133"/>
                  </a:cubicBezTo>
                  <a:cubicBezTo>
                    <a:pt x="36" y="134"/>
                    <a:pt x="39" y="136"/>
                    <a:pt x="39" y="137"/>
                  </a:cubicBezTo>
                  <a:cubicBezTo>
                    <a:pt x="40" y="140"/>
                    <a:pt x="36" y="143"/>
                    <a:pt x="36" y="145"/>
                  </a:cubicBezTo>
                  <a:cubicBezTo>
                    <a:pt x="37" y="148"/>
                    <a:pt x="39" y="151"/>
                    <a:pt x="40" y="154"/>
                  </a:cubicBezTo>
                  <a:cubicBezTo>
                    <a:pt x="41" y="154"/>
                    <a:pt x="42" y="155"/>
                    <a:pt x="42" y="156"/>
                  </a:cubicBezTo>
                  <a:cubicBezTo>
                    <a:pt x="42" y="159"/>
                    <a:pt x="35" y="160"/>
                    <a:pt x="36" y="162"/>
                  </a:cubicBezTo>
                  <a:cubicBezTo>
                    <a:pt x="37" y="164"/>
                    <a:pt x="39" y="167"/>
                    <a:pt x="39" y="169"/>
                  </a:cubicBezTo>
                  <a:cubicBezTo>
                    <a:pt x="40" y="173"/>
                    <a:pt x="40" y="177"/>
                    <a:pt x="40" y="180"/>
                  </a:cubicBezTo>
                  <a:cubicBezTo>
                    <a:pt x="40" y="183"/>
                    <a:pt x="40" y="185"/>
                    <a:pt x="39" y="188"/>
                  </a:cubicBezTo>
                  <a:cubicBezTo>
                    <a:pt x="38" y="190"/>
                    <a:pt x="40" y="191"/>
                    <a:pt x="42" y="192"/>
                  </a:cubicBezTo>
                  <a:cubicBezTo>
                    <a:pt x="39" y="195"/>
                    <a:pt x="35" y="194"/>
                    <a:pt x="40" y="198"/>
                  </a:cubicBezTo>
                  <a:cubicBezTo>
                    <a:pt x="40" y="196"/>
                    <a:pt x="41" y="196"/>
                    <a:pt x="42" y="195"/>
                  </a:cubicBezTo>
                  <a:cubicBezTo>
                    <a:pt x="44" y="196"/>
                    <a:pt x="43" y="199"/>
                    <a:pt x="43" y="201"/>
                  </a:cubicBezTo>
                  <a:cubicBezTo>
                    <a:pt x="44" y="200"/>
                    <a:pt x="45" y="199"/>
                    <a:pt x="46" y="199"/>
                  </a:cubicBezTo>
                  <a:cubicBezTo>
                    <a:pt x="46" y="199"/>
                    <a:pt x="46" y="199"/>
                    <a:pt x="47" y="199"/>
                  </a:cubicBezTo>
                  <a:cubicBezTo>
                    <a:pt x="43" y="205"/>
                    <a:pt x="39" y="217"/>
                    <a:pt x="31" y="219"/>
                  </a:cubicBezTo>
                  <a:cubicBezTo>
                    <a:pt x="32" y="223"/>
                    <a:pt x="33" y="223"/>
                    <a:pt x="30" y="226"/>
                  </a:cubicBezTo>
                  <a:cubicBezTo>
                    <a:pt x="29" y="228"/>
                    <a:pt x="27" y="230"/>
                    <a:pt x="25" y="231"/>
                  </a:cubicBezTo>
                  <a:cubicBezTo>
                    <a:pt x="20" y="233"/>
                    <a:pt x="15" y="231"/>
                    <a:pt x="11" y="235"/>
                  </a:cubicBezTo>
                  <a:cubicBezTo>
                    <a:pt x="10" y="236"/>
                    <a:pt x="8" y="238"/>
                    <a:pt x="8" y="240"/>
                  </a:cubicBezTo>
                  <a:cubicBezTo>
                    <a:pt x="8" y="242"/>
                    <a:pt x="11" y="244"/>
                    <a:pt x="12" y="246"/>
                  </a:cubicBezTo>
                  <a:cubicBezTo>
                    <a:pt x="12" y="250"/>
                    <a:pt x="3" y="251"/>
                    <a:pt x="0" y="252"/>
                  </a:cubicBezTo>
                  <a:cubicBezTo>
                    <a:pt x="1" y="254"/>
                    <a:pt x="1" y="253"/>
                    <a:pt x="2" y="253"/>
                  </a:cubicBezTo>
                  <a:cubicBezTo>
                    <a:pt x="3" y="254"/>
                    <a:pt x="3" y="254"/>
                    <a:pt x="3" y="254"/>
                  </a:cubicBezTo>
                  <a:cubicBezTo>
                    <a:pt x="3" y="254"/>
                    <a:pt x="3" y="254"/>
                    <a:pt x="3" y="254"/>
                  </a:cubicBezTo>
                  <a:cubicBezTo>
                    <a:pt x="5" y="254"/>
                    <a:pt x="5" y="254"/>
                    <a:pt x="5" y="254"/>
                  </a:cubicBezTo>
                  <a:cubicBezTo>
                    <a:pt x="6" y="254"/>
                    <a:pt x="7" y="254"/>
                    <a:pt x="7" y="255"/>
                  </a:cubicBezTo>
                  <a:cubicBezTo>
                    <a:pt x="14" y="260"/>
                    <a:pt x="20" y="264"/>
                    <a:pt x="28" y="267"/>
                  </a:cubicBezTo>
                  <a:cubicBezTo>
                    <a:pt x="28" y="267"/>
                    <a:pt x="29" y="268"/>
                    <a:pt x="30" y="268"/>
                  </a:cubicBezTo>
                  <a:cubicBezTo>
                    <a:pt x="33" y="269"/>
                    <a:pt x="36" y="270"/>
                    <a:pt x="38" y="274"/>
                  </a:cubicBezTo>
                  <a:cubicBezTo>
                    <a:pt x="39" y="275"/>
                    <a:pt x="39" y="276"/>
                    <a:pt x="39" y="277"/>
                  </a:cubicBezTo>
                  <a:cubicBezTo>
                    <a:pt x="40" y="277"/>
                    <a:pt x="40" y="278"/>
                    <a:pt x="40" y="278"/>
                  </a:cubicBezTo>
                  <a:cubicBezTo>
                    <a:pt x="41" y="279"/>
                    <a:pt x="41" y="279"/>
                    <a:pt x="41" y="279"/>
                  </a:cubicBezTo>
                  <a:cubicBezTo>
                    <a:pt x="41" y="279"/>
                    <a:pt x="41" y="279"/>
                    <a:pt x="41" y="279"/>
                  </a:cubicBezTo>
                  <a:cubicBezTo>
                    <a:pt x="43" y="279"/>
                    <a:pt x="44" y="279"/>
                    <a:pt x="45" y="279"/>
                  </a:cubicBezTo>
                  <a:cubicBezTo>
                    <a:pt x="45" y="279"/>
                    <a:pt x="46" y="279"/>
                    <a:pt x="46" y="279"/>
                  </a:cubicBezTo>
                  <a:cubicBezTo>
                    <a:pt x="47" y="279"/>
                    <a:pt x="48" y="280"/>
                    <a:pt x="49" y="280"/>
                  </a:cubicBezTo>
                  <a:cubicBezTo>
                    <a:pt x="52" y="280"/>
                    <a:pt x="54" y="281"/>
                    <a:pt x="56" y="281"/>
                  </a:cubicBezTo>
                  <a:cubicBezTo>
                    <a:pt x="57" y="281"/>
                    <a:pt x="58" y="280"/>
                    <a:pt x="60" y="280"/>
                  </a:cubicBezTo>
                  <a:cubicBezTo>
                    <a:pt x="61" y="280"/>
                    <a:pt x="61" y="280"/>
                    <a:pt x="61" y="280"/>
                  </a:cubicBezTo>
                  <a:cubicBezTo>
                    <a:pt x="62" y="279"/>
                    <a:pt x="64" y="279"/>
                    <a:pt x="66" y="279"/>
                  </a:cubicBezTo>
                  <a:cubicBezTo>
                    <a:pt x="67" y="279"/>
                    <a:pt x="68" y="279"/>
                    <a:pt x="70" y="280"/>
                  </a:cubicBezTo>
                  <a:cubicBezTo>
                    <a:pt x="71" y="280"/>
                    <a:pt x="72" y="281"/>
                    <a:pt x="73" y="282"/>
                  </a:cubicBezTo>
                  <a:cubicBezTo>
                    <a:pt x="74" y="282"/>
                    <a:pt x="74" y="282"/>
                    <a:pt x="74" y="282"/>
                  </a:cubicBezTo>
                  <a:cubicBezTo>
                    <a:pt x="74" y="282"/>
                    <a:pt x="75" y="283"/>
                    <a:pt x="76" y="283"/>
                  </a:cubicBezTo>
                  <a:cubicBezTo>
                    <a:pt x="81" y="286"/>
                    <a:pt x="81" y="286"/>
                    <a:pt x="81" y="286"/>
                  </a:cubicBezTo>
                  <a:cubicBezTo>
                    <a:pt x="82" y="287"/>
                    <a:pt x="83" y="287"/>
                    <a:pt x="83" y="288"/>
                  </a:cubicBezTo>
                  <a:cubicBezTo>
                    <a:pt x="85" y="289"/>
                    <a:pt x="85" y="289"/>
                    <a:pt x="85" y="289"/>
                  </a:cubicBezTo>
                  <a:cubicBezTo>
                    <a:pt x="86" y="289"/>
                    <a:pt x="87" y="289"/>
                    <a:pt x="87" y="290"/>
                  </a:cubicBezTo>
                  <a:cubicBezTo>
                    <a:pt x="88" y="290"/>
                    <a:pt x="89" y="289"/>
                    <a:pt x="90" y="289"/>
                  </a:cubicBezTo>
                  <a:cubicBezTo>
                    <a:pt x="90" y="289"/>
                    <a:pt x="90" y="289"/>
                    <a:pt x="90" y="289"/>
                  </a:cubicBezTo>
                  <a:cubicBezTo>
                    <a:pt x="91" y="289"/>
                    <a:pt x="91" y="289"/>
                    <a:pt x="91" y="289"/>
                  </a:cubicBezTo>
                  <a:cubicBezTo>
                    <a:pt x="91" y="289"/>
                    <a:pt x="91" y="289"/>
                    <a:pt x="91" y="289"/>
                  </a:cubicBezTo>
                  <a:cubicBezTo>
                    <a:pt x="91" y="289"/>
                    <a:pt x="92" y="289"/>
                    <a:pt x="93" y="290"/>
                  </a:cubicBezTo>
                  <a:cubicBezTo>
                    <a:pt x="93" y="290"/>
                    <a:pt x="94" y="290"/>
                    <a:pt x="94" y="290"/>
                  </a:cubicBezTo>
                  <a:cubicBezTo>
                    <a:pt x="95" y="290"/>
                    <a:pt x="95" y="290"/>
                    <a:pt x="95" y="290"/>
                  </a:cubicBezTo>
                  <a:cubicBezTo>
                    <a:pt x="96" y="291"/>
                    <a:pt x="96" y="291"/>
                    <a:pt x="96" y="291"/>
                  </a:cubicBezTo>
                  <a:cubicBezTo>
                    <a:pt x="98" y="287"/>
                    <a:pt x="98" y="287"/>
                    <a:pt x="98" y="287"/>
                  </a:cubicBezTo>
                  <a:cubicBezTo>
                    <a:pt x="97" y="291"/>
                    <a:pt x="97" y="291"/>
                    <a:pt x="97" y="291"/>
                  </a:cubicBezTo>
                  <a:cubicBezTo>
                    <a:pt x="98" y="292"/>
                    <a:pt x="98" y="292"/>
                    <a:pt x="98" y="292"/>
                  </a:cubicBezTo>
                  <a:cubicBezTo>
                    <a:pt x="99" y="292"/>
                    <a:pt x="99" y="292"/>
                    <a:pt x="99" y="292"/>
                  </a:cubicBezTo>
                  <a:cubicBezTo>
                    <a:pt x="99" y="292"/>
                    <a:pt x="99" y="292"/>
                    <a:pt x="99" y="292"/>
                  </a:cubicBezTo>
                  <a:cubicBezTo>
                    <a:pt x="100" y="292"/>
                    <a:pt x="100" y="292"/>
                    <a:pt x="100" y="292"/>
                  </a:cubicBezTo>
                  <a:cubicBezTo>
                    <a:pt x="100" y="293"/>
                    <a:pt x="101" y="293"/>
                    <a:pt x="102" y="294"/>
                  </a:cubicBezTo>
                  <a:cubicBezTo>
                    <a:pt x="104" y="291"/>
                    <a:pt x="104" y="291"/>
                    <a:pt x="104" y="291"/>
                  </a:cubicBezTo>
                  <a:cubicBezTo>
                    <a:pt x="103" y="295"/>
                    <a:pt x="103" y="295"/>
                    <a:pt x="103" y="295"/>
                  </a:cubicBezTo>
                  <a:cubicBezTo>
                    <a:pt x="104" y="295"/>
                    <a:pt x="104" y="295"/>
                    <a:pt x="104" y="295"/>
                  </a:cubicBezTo>
                  <a:cubicBezTo>
                    <a:pt x="107" y="298"/>
                    <a:pt x="110" y="301"/>
                    <a:pt x="111" y="304"/>
                  </a:cubicBezTo>
                  <a:cubicBezTo>
                    <a:pt x="111" y="304"/>
                    <a:pt x="111" y="304"/>
                    <a:pt x="111" y="304"/>
                  </a:cubicBezTo>
                  <a:cubicBezTo>
                    <a:pt x="112" y="305"/>
                    <a:pt x="112" y="306"/>
                    <a:pt x="112" y="307"/>
                  </a:cubicBezTo>
                  <a:cubicBezTo>
                    <a:pt x="112" y="308"/>
                    <a:pt x="113" y="311"/>
                    <a:pt x="114" y="312"/>
                  </a:cubicBezTo>
                  <a:cubicBezTo>
                    <a:pt x="114" y="312"/>
                    <a:pt x="114" y="312"/>
                    <a:pt x="114" y="312"/>
                  </a:cubicBezTo>
                  <a:cubicBezTo>
                    <a:pt x="115" y="312"/>
                    <a:pt x="116" y="312"/>
                    <a:pt x="117" y="313"/>
                  </a:cubicBezTo>
                  <a:cubicBezTo>
                    <a:pt x="117" y="313"/>
                    <a:pt x="117" y="313"/>
                    <a:pt x="117" y="313"/>
                  </a:cubicBezTo>
                  <a:cubicBezTo>
                    <a:pt x="118" y="313"/>
                    <a:pt x="119" y="314"/>
                    <a:pt x="120" y="315"/>
                  </a:cubicBezTo>
                  <a:cubicBezTo>
                    <a:pt x="121" y="316"/>
                    <a:pt x="121" y="316"/>
                    <a:pt x="122" y="316"/>
                  </a:cubicBezTo>
                  <a:cubicBezTo>
                    <a:pt x="122" y="317"/>
                    <a:pt x="123" y="317"/>
                    <a:pt x="124" y="318"/>
                  </a:cubicBezTo>
                  <a:cubicBezTo>
                    <a:pt x="126" y="318"/>
                    <a:pt x="127" y="319"/>
                    <a:pt x="129" y="320"/>
                  </a:cubicBezTo>
                  <a:cubicBezTo>
                    <a:pt x="130" y="321"/>
                    <a:pt x="131" y="323"/>
                    <a:pt x="132" y="324"/>
                  </a:cubicBezTo>
                  <a:cubicBezTo>
                    <a:pt x="132" y="325"/>
                    <a:pt x="132" y="325"/>
                    <a:pt x="132" y="326"/>
                  </a:cubicBezTo>
                  <a:cubicBezTo>
                    <a:pt x="132" y="327"/>
                    <a:pt x="132" y="328"/>
                    <a:pt x="132" y="329"/>
                  </a:cubicBezTo>
                  <a:cubicBezTo>
                    <a:pt x="132" y="329"/>
                    <a:pt x="132" y="329"/>
                    <a:pt x="132" y="329"/>
                  </a:cubicBezTo>
                  <a:cubicBezTo>
                    <a:pt x="132" y="329"/>
                    <a:pt x="132" y="329"/>
                    <a:pt x="132" y="329"/>
                  </a:cubicBezTo>
                  <a:cubicBezTo>
                    <a:pt x="132" y="330"/>
                    <a:pt x="132" y="330"/>
                    <a:pt x="132" y="330"/>
                  </a:cubicBezTo>
                  <a:cubicBezTo>
                    <a:pt x="132" y="330"/>
                    <a:pt x="132" y="330"/>
                    <a:pt x="132" y="330"/>
                  </a:cubicBezTo>
                  <a:cubicBezTo>
                    <a:pt x="132" y="330"/>
                    <a:pt x="132" y="330"/>
                    <a:pt x="132" y="330"/>
                  </a:cubicBezTo>
                  <a:cubicBezTo>
                    <a:pt x="133" y="330"/>
                    <a:pt x="133" y="330"/>
                    <a:pt x="134" y="330"/>
                  </a:cubicBezTo>
                  <a:cubicBezTo>
                    <a:pt x="134" y="330"/>
                    <a:pt x="134" y="330"/>
                    <a:pt x="135" y="330"/>
                  </a:cubicBezTo>
                  <a:cubicBezTo>
                    <a:pt x="136" y="330"/>
                    <a:pt x="137" y="330"/>
                    <a:pt x="139" y="331"/>
                  </a:cubicBezTo>
                  <a:cubicBezTo>
                    <a:pt x="139" y="332"/>
                    <a:pt x="140" y="332"/>
                    <a:pt x="140" y="333"/>
                  </a:cubicBezTo>
                  <a:cubicBezTo>
                    <a:pt x="140" y="333"/>
                    <a:pt x="140" y="333"/>
                    <a:pt x="140" y="333"/>
                  </a:cubicBezTo>
                  <a:cubicBezTo>
                    <a:pt x="141" y="334"/>
                    <a:pt x="141" y="334"/>
                    <a:pt x="141" y="334"/>
                  </a:cubicBezTo>
                  <a:cubicBezTo>
                    <a:pt x="146" y="332"/>
                    <a:pt x="146" y="332"/>
                    <a:pt x="146" y="332"/>
                  </a:cubicBezTo>
                  <a:cubicBezTo>
                    <a:pt x="141" y="335"/>
                    <a:pt x="141" y="335"/>
                    <a:pt x="141" y="335"/>
                  </a:cubicBezTo>
                  <a:cubicBezTo>
                    <a:pt x="141" y="336"/>
                    <a:pt x="141" y="336"/>
                    <a:pt x="141" y="336"/>
                  </a:cubicBezTo>
                  <a:cubicBezTo>
                    <a:pt x="141" y="336"/>
                    <a:pt x="141" y="337"/>
                    <a:pt x="141" y="338"/>
                  </a:cubicBezTo>
                  <a:cubicBezTo>
                    <a:pt x="141" y="338"/>
                    <a:pt x="141" y="339"/>
                    <a:pt x="142" y="339"/>
                  </a:cubicBezTo>
                  <a:cubicBezTo>
                    <a:pt x="142" y="340"/>
                    <a:pt x="142" y="340"/>
                    <a:pt x="142" y="340"/>
                  </a:cubicBezTo>
                  <a:cubicBezTo>
                    <a:pt x="143" y="344"/>
                    <a:pt x="143" y="345"/>
                    <a:pt x="145" y="345"/>
                  </a:cubicBezTo>
                  <a:cubicBezTo>
                    <a:pt x="145" y="345"/>
                    <a:pt x="146" y="345"/>
                    <a:pt x="147" y="345"/>
                  </a:cubicBezTo>
                  <a:cubicBezTo>
                    <a:pt x="147" y="344"/>
                    <a:pt x="148" y="344"/>
                    <a:pt x="149" y="343"/>
                  </a:cubicBezTo>
                  <a:cubicBezTo>
                    <a:pt x="150" y="343"/>
                    <a:pt x="150" y="343"/>
                    <a:pt x="150" y="343"/>
                  </a:cubicBezTo>
                  <a:cubicBezTo>
                    <a:pt x="151" y="343"/>
                    <a:pt x="152" y="343"/>
                    <a:pt x="153" y="344"/>
                  </a:cubicBezTo>
                  <a:cubicBezTo>
                    <a:pt x="153" y="344"/>
                    <a:pt x="154" y="344"/>
                    <a:pt x="155" y="344"/>
                  </a:cubicBezTo>
                  <a:cubicBezTo>
                    <a:pt x="156" y="345"/>
                    <a:pt x="156" y="345"/>
                    <a:pt x="156" y="345"/>
                  </a:cubicBezTo>
                  <a:cubicBezTo>
                    <a:pt x="157" y="345"/>
                    <a:pt x="157" y="345"/>
                    <a:pt x="157" y="345"/>
                  </a:cubicBezTo>
                  <a:cubicBezTo>
                    <a:pt x="157" y="345"/>
                    <a:pt x="157" y="345"/>
                    <a:pt x="157" y="345"/>
                  </a:cubicBezTo>
                  <a:cubicBezTo>
                    <a:pt x="157" y="345"/>
                    <a:pt x="158" y="345"/>
                    <a:pt x="158" y="344"/>
                  </a:cubicBezTo>
                  <a:cubicBezTo>
                    <a:pt x="158" y="344"/>
                    <a:pt x="159" y="344"/>
                    <a:pt x="159" y="344"/>
                  </a:cubicBezTo>
                  <a:cubicBezTo>
                    <a:pt x="159" y="344"/>
                    <a:pt x="159" y="344"/>
                    <a:pt x="160" y="344"/>
                  </a:cubicBezTo>
                  <a:cubicBezTo>
                    <a:pt x="160" y="344"/>
                    <a:pt x="160" y="344"/>
                    <a:pt x="160" y="344"/>
                  </a:cubicBezTo>
                  <a:cubicBezTo>
                    <a:pt x="160" y="344"/>
                    <a:pt x="160" y="344"/>
                    <a:pt x="160" y="344"/>
                  </a:cubicBezTo>
                  <a:cubicBezTo>
                    <a:pt x="160" y="344"/>
                    <a:pt x="160" y="344"/>
                    <a:pt x="160" y="344"/>
                  </a:cubicBezTo>
                  <a:cubicBezTo>
                    <a:pt x="161" y="343"/>
                    <a:pt x="161" y="343"/>
                    <a:pt x="161" y="343"/>
                  </a:cubicBezTo>
                  <a:cubicBezTo>
                    <a:pt x="162" y="343"/>
                    <a:pt x="162" y="343"/>
                    <a:pt x="163" y="343"/>
                  </a:cubicBezTo>
                  <a:cubicBezTo>
                    <a:pt x="163" y="343"/>
                    <a:pt x="163" y="343"/>
                    <a:pt x="163" y="343"/>
                  </a:cubicBezTo>
                  <a:cubicBezTo>
                    <a:pt x="164" y="342"/>
                    <a:pt x="164" y="342"/>
                    <a:pt x="165" y="342"/>
                  </a:cubicBezTo>
                  <a:cubicBezTo>
                    <a:pt x="165" y="342"/>
                    <a:pt x="165" y="342"/>
                    <a:pt x="165" y="342"/>
                  </a:cubicBezTo>
                  <a:cubicBezTo>
                    <a:pt x="166" y="341"/>
                    <a:pt x="166" y="341"/>
                    <a:pt x="166" y="341"/>
                  </a:cubicBezTo>
                  <a:cubicBezTo>
                    <a:pt x="166" y="340"/>
                    <a:pt x="167" y="339"/>
                    <a:pt x="168" y="339"/>
                  </a:cubicBezTo>
                  <a:cubicBezTo>
                    <a:pt x="169" y="339"/>
                    <a:pt x="170" y="339"/>
                    <a:pt x="171" y="340"/>
                  </a:cubicBezTo>
                  <a:cubicBezTo>
                    <a:pt x="171" y="340"/>
                    <a:pt x="172" y="340"/>
                    <a:pt x="173" y="341"/>
                  </a:cubicBezTo>
                  <a:cubicBezTo>
                    <a:pt x="174" y="341"/>
                    <a:pt x="174" y="341"/>
                    <a:pt x="174" y="341"/>
                  </a:cubicBezTo>
                  <a:cubicBezTo>
                    <a:pt x="176" y="342"/>
                    <a:pt x="177" y="342"/>
                    <a:pt x="179" y="343"/>
                  </a:cubicBezTo>
                  <a:cubicBezTo>
                    <a:pt x="179" y="343"/>
                    <a:pt x="179" y="343"/>
                    <a:pt x="179" y="343"/>
                  </a:cubicBezTo>
                  <a:cubicBezTo>
                    <a:pt x="179" y="343"/>
                    <a:pt x="179" y="343"/>
                    <a:pt x="179" y="343"/>
                  </a:cubicBezTo>
                  <a:cubicBezTo>
                    <a:pt x="180" y="343"/>
                    <a:pt x="180" y="343"/>
                    <a:pt x="181" y="342"/>
                  </a:cubicBezTo>
                  <a:cubicBezTo>
                    <a:pt x="181" y="342"/>
                    <a:pt x="181" y="342"/>
                    <a:pt x="181" y="342"/>
                  </a:cubicBezTo>
                  <a:cubicBezTo>
                    <a:pt x="182" y="342"/>
                    <a:pt x="182" y="342"/>
                    <a:pt x="182" y="342"/>
                  </a:cubicBezTo>
                  <a:cubicBezTo>
                    <a:pt x="183" y="341"/>
                    <a:pt x="183" y="341"/>
                    <a:pt x="183" y="341"/>
                  </a:cubicBezTo>
                  <a:cubicBezTo>
                    <a:pt x="184" y="341"/>
                    <a:pt x="185" y="341"/>
                    <a:pt x="185" y="341"/>
                  </a:cubicBezTo>
                  <a:cubicBezTo>
                    <a:pt x="185" y="341"/>
                    <a:pt x="185" y="341"/>
                    <a:pt x="185" y="341"/>
                  </a:cubicBezTo>
                  <a:cubicBezTo>
                    <a:pt x="186" y="341"/>
                    <a:pt x="186" y="340"/>
                    <a:pt x="187" y="340"/>
                  </a:cubicBezTo>
                  <a:cubicBezTo>
                    <a:pt x="188" y="340"/>
                    <a:pt x="189" y="340"/>
                    <a:pt x="189" y="340"/>
                  </a:cubicBezTo>
                  <a:cubicBezTo>
                    <a:pt x="192" y="340"/>
                    <a:pt x="194" y="341"/>
                    <a:pt x="195" y="342"/>
                  </a:cubicBezTo>
                  <a:cubicBezTo>
                    <a:pt x="195" y="343"/>
                    <a:pt x="196" y="343"/>
                    <a:pt x="196" y="343"/>
                  </a:cubicBezTo>
                  <a:cubicBezTo>
                    <a:pt x="197" y="344"/>
                    <a:pt x="198" y="344"/>
                    <a:pt x="200" y="345"/>
                  </a:cubicBezTo>
                  <a:cubicBezTo>
                    <a:pt x="201" y="345"/>
                    <a:pt x="202" y="345"/>
                    <a:pt x="203" y="345"/>
                  </a:cubicBezTo>
                  <a:cubicBezTo>
                    <a:pt x="204" y="346"/>
                    <a:pt x="205" y="346"/>
                    <a:pt x="207" y="347"/>
                  </a:cubicBezTo>
                  <a:cubicBezTo>
                    <a:pt x="208" y="348"/>
                    <a:pt x="209" y="349"/>
                    <a:pt x="209" y="350"/>
                  </a:cubicBezTo>
                  <a:cubicBezTo>
                    <a:pt x="210" y="350"/>
                    <a:pt x="210" y="350"/>
                    <a:pt x="210" y="351"/>
                  </a:cubicBezTo>
                  <a:cubicBezTo>
                    <a:pt x="212" y="354"/>
                    <a:pt x="210" y="356"/>
                    <a:pt x="210" y="357"/>
                  </a:cubicBezTo>
                  <a:cubicBezTo>
                    <a:pt x="208" y="361"/>
                    <a:pt x="205" y="365"/>
                    <a:pt x="203" y="368"/>
                  </a:cubicBezTo>
                  <a:cubicBezTo>
                    <a:pt x="203" y="368"/>
                    <a:pt x="203" y="368"/>
                    <a:pt x="203" y="368"/>
                  </a:cubicBezTo>
                  <a:cubicBezTo>
                    <a:pt x="202" y="370"/>
                    <a:pt x="200" y="372"/>
                    <a:pt x="199" y="374"/>
                  </a:cubicBezTo>
                  <a:cubicBezTo>
                    <a:pt x="198" y="376"/>
                    <a:pt x="198" y="376"/>
                    <a:pt x="198" y="376"/>
                  </a:cubicBezTo>
                  <a:cubicBezTo>
                    <a:pt x="198" y="376"/>
                    <a:pt x="198" y="376"/>
                    <a:pt x="198" y="377"/>
                  </a:cubicBezTo>
                  <a:cubicBezTo>
                    <a:pt x="198" y="377"/>
                    <a:pt x="199" y="376"/>
                    <a:pt x="200" y="376"/>
                  </a:cubicBezTo>
                  <a:cubicBezTo>
                    <a:pt x="200" y="376"/>
                    <a:pt x="200" y="376"/>
                    <a:pt x="200" y="376"/>
                  </a:cubicBezTo>
                  <a:cubicBezTo>
                    <a:pt x="200" y="376"/>
                    <a:pt x="201" y="376"/>
                    <a:pt x="201" y="376"/>
                  </a:cubicBezTo>
                  <a:cubicBezTo>
                    <a:pt x="202" y="376"/>
                    <a:pt x="203" y="376"/>
                    <a:pt x="204" y="376"/>
                  </a:cubicBezTo>
                  <a:cubicBezTo>
                    <a:pt x="205" y="377"/>
                    <a:pt x="206" y="378"/>
                    <a:pt x="207" y="379"/>
                  </a:cubicBezTo>
                  <a:cubicBezTo>
                    <a:pt x="209" y="381"/>
                    <a:pt x="209" y="381"/>
                    <a:pt x="209" y="381"/>
                  </a:cubicBezTo>
                  <a:cubicBezTo>
                    <a:pt x="209" y="379"/>
                    <a:pt x="210" y="376"/>
                    <a:pt x="210" y="374"/>
                  </a:cubicBezTo>
                  <a:cubicBezTo>
                    <a:pt x="211" y="369"/>
                    <a:pt x="211" y="369"/>
                    <a:pt x="211" y="369"/>
                  </a:cubicBezTo>
                  <a:cubicBezTo>
                    <a:pt x="212" y="369"/>
                    <a:pt x="212" y="369"/>
                    <a:pt x="212" y="369"/>
                  </a:cubicBezTo>
                  <a:cubicBezTo>
                    <a:pt x="211" y="369"/>
                    <a:pt x="211" y="369"/>
                    <a:pt x="211" y="369"/>
                  </a:cubicBezTo>
                  <a:cubicBezTo>
                    <a:pt x="212" y="365"/>
                    <a:pt x="212" y="365"/>
                    <a:pt x="212" y="365"/>
                  </a:cubicBezTo>
                  <a:cubicBezTo>
                    <a:pt x="212" y="364"/>
                    <a:pt x="212" y="364"/>
                    <a:pt x="212" y="363"/>
                  </a:cubicBezTo>
                  <a:cubicBezTo>
                    <a:pt x="212" y="362"/>
                    <a:pt x="212" y="362"/>
                    <a:pt x="212" y="362"/>
                  </a:cubicBezTo>
                  <a:cubicBezTo>
                    <a:pt x="212" y="362"/>
                    <a:pt x="213" y="361"/>
                    <a:pt x="213" y="361"/>
                  </a:cubicBezTo>
                  <a:cubicBezTo>
                    <a:pt x="214" y="354"/>
                    <a:pt x="214" y="354"/>
                    <a:pt x="214" y="354"/>
                  </a:cubicBezTo>
                  <a:cubicBezTo>
                    <a:pt x="214" y="353"/>
                    <a:pt x="214" y="353"/>
                    <a:pt x="214" y="353"/>
                  </a:cubicBezTo>
                  <a:cubicBezTo>
                    <a:pt x="215" y="350"/>
                    <a:pt x="215" y="350"/>
                    <a:pt x="215" y="350"/>
                  </a:cubicBezTo>
                  <a:cubicBezTo>
                    <a:pt x="215" y="350"/>
                    <a:pt x="215" y="349"/>
                    <a:pt x="215" y="349"/>
                  </a:cubicBezTo>
                  <a:cubicBezTo>
                    <a:pt x="215" y="348"/>
                    <a:pt x="215" y="347"/>
                    <a:pt x="215" y="347"/>
                  </a:cubicBezTo>
                  <a:cubicBezTo>
                    <a:pt x="216" y="343"/>
                    <a:pt x="216" y="343"/>
                    <a:pt x="216" y="343"/>
                  </a:cubicBezTo>
                  <a:cubicBezTo>
                    <a:pt x="216" y="342"/>
                    <a:pt x="216" y="342"/>
                    <a:pt x="216" y="342"/>
                  </a:cubicBezTo>
                  <a:cubicBezTo>
                    <a:pt x="216" y="340"/>
                    <a:pt x="216" y="340"/>
                    <a:pt x="216" y="340"/>
                  </a:cubicBezTo>
                  <a:cubicBezTo>
                    <a:pt x="217" y="339"/>
                    <a:pt x="217" y="339"/>
                    <a:pt x="217" y="339"/>
                  </a:cubicBezTo>
                  <a:cubicBezTo>
                    <a:pt x="217" y="338"/>
                    <a:pt x="217" y="338"/>
                    <a:pt x="217" y="338"/>
                  </a:cubicBezTo>
                  <a:cubicBezTo>
                    <a:pt x="217" y="338"/>
                    <a:pt x="217" y="338"/>
                    <a:pt x="217" y="337"/>
                  </a:cubicBezTo>
                  <a:cubicBezTo>
                    <a:pt x="217" y="335"/>
                    <a:pt x="217" y="335"/>
                    <a:pt x="217" y="335"/>
                  </a:cubicBezTo>
                  <a:cubicBezTo>
                    <a:pt x="219" y="325"/>
                    <a:pt x="220" y="316"/>
                    <a:pt x="219" y="314"/>
                  </a:cubicBezTo>
                  <a:cubicBezTo>
                    <a:pt x="218" y="312"/>
                    <a:pt x="218" y="310"/>
                    <a:pt x="218" y="308"/>
                  </a:cubicBezTo>
                  <a:cubicBezTo>
                    <a:pt x="217" y="305"/>
                    <a:pt x="217" y="303"/>
                    <a:pt x="216" y="303"/>
                  </a:cubicBezTo>
                  <a:cubicBezTo>
                    <a:pt x="212" y="301"/>
                    <a:pt x="204" y="295"/>
                    <a:pt x="205" y="289"/>
                  </a:cubicBezTo>
                  <a:cubicBezTo>
                    <a:pt x="205" y="287"/>
                    <a:pt x="205" y="286"/>
                    <a:pt x="205" y="285"/>
                  </a:cubicBezTo>
                  <a:cubicBezTo>
                    <a:pt x="205" y="285"/>
                    <a:pt x="205" y="285"/>
                    <a:pt x="205" y="285"/>
                  </a:cubicBezTo>
                  <a:cubicBezTo>
                    <a:pt x="205" y="283"/>
                    <a:pt x="206" y="281"/>
                    <a:pt x="205" y="279"/>
                  </a:cubicBezTo>
                  <a:cubicBezTo>
                    <a:pt x="204" y="273"/>
                    <a:pt x="212" y="272"/>
                    <a:pt x="215" y="271"/>
                  </a:cubicBezTo>
                  <a:cubicBezTo>
                    <a:pt x="215" y="271"/>
                    <a:pt x="215" y="271"/>
                    <a:pt x="215" y="271"/>
                  </a:cubicBezTo>
                  <a:cubicBezTo>
                    <a:pt x="216" y="271"/>
                    <a:pt x="216" y="271"/>
                    <a:pt x="217" y="270"/>
                  </a:cubicBezTo>
                  <a:cubicBezTo>
                    <a:pt x="218" y="270"/>
                    <a:pt x="219" y="270"/>
                    <a:pt x="221" y="270"/>
                  </a:cubicBezTo>
                  <a:cubicBezTo>
                    <a:pt x="222" y="270"/>
                    <a:pt x="223" y="270"/>
                    <a:pt x="225" y="270"/>
                  </a:cubicBezTo>
                  <a:cubicBezTo>
                    <a:pt x="225" y="271"/>
                    <a:pt x="226" y="271"/>
                    <a:pt x="226" y="271"/>
                  </a:cubicBezTo>
                  <a:cubicBezTo>
                    <a:pt x="226" y="270"/>
                    <a:pt x="226" y="270"/>
                    <a:pt x="226" y="269"/>
                  </a:cubicBezTo>
                  <a:cubicBezTo>
                    <a:pt x="225" y="269"/>
                    <a:pt x="225" y="268"/>
                    <a:pt x="225" y="268"/>
                  </a:cubicBezTo>
                  <a:cubicBezTo>
                    <a:pt x="224" y="269"/>
                    <a:pt x="224" y="269"/>
                    <a:pt x="224" y="269"/>
                  </a:cubicBezTo>
                  <a:cubicBezTo>
                    <a:pt x="222" y="268"/>
                    <a:pt x="222" y="268"/>
                    <a:pt x="222" y="268"/>
                  </a:cubicBezTo>
                  <a:cubicBezTo>
                    <a:pt x="220" y="267"/>
                    <a:pt x="218" y="267"/>
                    <a:pt x="217" y="267"/>
                  </a:cubicBezTo>
                  <a:cubicBezTo>
                    <a:pt x="216" y="267"/>
                    <a:pt x="215" y="267"/>
                    <a:pt x="215" y="267"/>
                  </a:cubicBezTo>
                  <a:cubicBezTo>
                    <a:pt x="210" y="270"/>
                    <a:pt x="210" y="270"/>
                    <a:pt x="210" y="270"/>
                  </a:cubicBezTo>
                  <a:cubicBezTo>
                    <a:pt x="210" y="265"/>
                    <a:pt x="210" y="265"/>
                    <a:pt x="210" y="265"/>
                  </a:cubicBezTo>
                  <a:cubicBezTo>
                    <a:pt x="210" y="260"/>
                    <a:pt x="210" y="250"/>
                    <a:pt x="210" y="250"/>
                  </a:cubicBezTo>
                  <a:cubicBezTo>
                    <a:pt x="210" y="248"/>
                    <a:pt x="210" y="248"/>
                    <a:pt x="210" y="248"/>
                  </a:cubicBezTo>
                  <a:cubicBezTo>
                    <a:pt x="212" y="247"/>
                    <a:pt x="212" y="247"/>
                    <a:pt x="212" y="247"/>
                  </a:cubicBezTo>
                  <a:cubicBezTo>
                    <a:pt x="212" y="247"/>
                    <a:pt x="215" y="246"/>
                    <a:pt x="222" y="246"/>
                  </a:cubicBezTo>
                  <a:cubicBezTo>
                    <a:pt x="223" y="246"/>
                    <a:pt x="224" y="246"/>
                    <a:pt x="224" y="247"/>
                  </a:cubicBezTo>
                  <a:cubicBezTo>
                    <a:pt x="229" y="247"/>
                    <a:pt x="236" y="247"/>
                    <a:pt x="242" y="247"/>
                  </a:cubicBezTo>
                  <a:cubicBezTo>
                    <a:pt x="244" y="247"/>
                    <a:pt x="246" y="247"/>
                    <a:pt x="247" y="247"/>
                  </a:cubicBezTo>
                  <a:cubicBezTo>
                    <a:pt x="247" y="245"/>
                    <a:pt x="248" y="243"/>
                    <a:pt x="249" y="241"/>
                  </a:cubicBezTo>
                  <a:cubicBezTo>
                    <a:pt x="252" y="238"/>
                    <a:pt x="252" y="238"/>
                    <a:pt x="252" y="238"/>
                  </a:cubicBezTo>
                  <a:cubicBezTo>
                    <a:pt x="255" y="243"/>
                    <a:pt x="255" y="243"/>
                    <a:pt x="255" y="243"/>
                  </a:cubicBezTo>
                  <a:cubicBezTo>
                    <a:pt x="256" y="244"/>
                    <a:pt x="257" y="245"/>
                    <a:pt x="258" y="246"/>
                  </a:cubicBezTo>
                  <a:cubicBezTo>
                    <a:pt x="258" y="246"/>
                    <a:pt x="258" y="245"/>
                    <a:pt x="259" y="245"/>
                  </a:cubicBezTo>
                  <a:cubicBezTo>
                    <a:pt x="259" y="244"/>
                    <a:pt x="260" y="244"/>
                    <a:pt x="261" y="243"/>
                  </a:cubicBezTo>
                  <a:cubicBezTo>
                    <a:pt x="264" y="241"/>
                    <a:pt x="267" y="238"/>
                    <a:pt x="270" y="238"/>
                  </a:cubicBezTo>
                  <a:cubicBezTo>
                    <a:pt x="270" y="238"/>
                    <a:pt x="271" y="238"/>
                    <a:pt x="271" y="238"/>
                  </a:cubicBezTo>
                  <a:cubicBezTo>
                    <a:pt x="271" y="237"/>
                    <a:pt x="270" y="236"/>
                    <a:pt x="270" y="235"/>
                  </a:cubicBezTo>
                  <a:cubicBezTo>
                    <a:pt x="269" y="234"/>
                    <a:pt x="268" y="233"/>
                    <a:pt x="268" y="232"/>
                  </a:cubicBezTo>
                  <a:cubicBezTo>
                    <a:pt x="267" y="231"/>
                    <a:pt x="266" y="230"/>
                    <a:pt x="265" y="229"/>
                  </a:cubicBezTo>
                  <a:cubicBezTo>
                    <a:pt x="264" y="228"/>
                    <a:pt x="264" y="228"/>
                    <a:pt x="264" y="228"/>
                  </a:cubicBezTo>
                  <a:cubicBezTo>
                    <a:pt x="264" y="228"/>
                    <a:pt x="264" y="228"/>
                    <a:pt x="264" y="228"/>
                  </a:cubicBezTo>
                  <a:cubicBezTo>
                    <a:pt x="264" y="228"/>
                    <a:pt x="263" y="228"/>
                    <a:pt x="262" y="228"/>
                  </a:cubicBezTo>
                  <a:cubicBezTo>
                    <a:pt x="262" y="228"/>
                    <a:pt x="261" y="228"/>
                    <a:pt x="260" y="228"/>
                  </a:cubicBezTo>
                  <a:cubicBezTo>
                    <a:pt x="258" y="228"/>
                    <a:pt x="257" y="226"/>
                    <a:pt x="257" y="224"/>
                  </a:cubicBezTo>
                  <a:cubicBezTo>
                    <a:pt x="257" y="222"/>
                    <a:pt x="258" y="221"/>
                    <a:pt x="259" y="220"/>
                  </a:cubicBezTo>
                  <a:cubicBezTo>
                    <a:pt x="260" y="219"/>
                    <a:pt x="262" y="217"/>
                    <a:pt x="264" y="216"/>
                  </a:cubicBezTo>
                  <a:cubicBezTo>
                    <a:pt x="264" y="216"/>
                    <a:pt x="264" y="216"/>
                    <a:pt x="264" y="216"/>
                  </a:cubicBezTo>
                  <a:cubicBezTo>
                    <a:pt x="265" y="215"/>
                    <a:pt x="265" y="215"/>
                    <a:pt x="265" y="215"/>
                  </a:cubicBezTo>
                  <a:cubicBezTo>
                    <a:pt x="262" y="211"/>
                    <a:pt x="262" y="211"/>
                    <a:pt x="262" y="211"/>
                  </a:cubicBezTo>
                  <a:cubicBezTo>
                    <a:pt x="266" y="214"/>
                    <a:pt x="266" y="214"/>
                    <a:pt x="266" y="214"/>
                  </a:cubicBezTo>
                  <a:cubicBezTo>
                    <a:pt x="266" y="214"/>
                    <a:pt x="266" y="214"/>
                    <a:pt x="266" y="214"/>
                  </a:cubicBezTo>
                  <a:cubicBezTo>
                    <a:pt x="267" y="213"/>
                    <a:pt x="268" y="212"/>
                    <a:pt x="269" y="211"/>
                  </a:cubicBezTo>
                  <a:cubicBezTo>
                    <a:pt x="269" y="211"/>
                    <a:pt x="269" y="211"/>
                    <a:pt x="269" y="211"/>
                  </a:cubicBezTo>
                  <a:cubicBezTo>
                    <a:pt x="268" y="210"/>
                    <a:pt x="268" y="210"/>
                    <a:pt x="268" y="210"/>
                  </a:cubicBezTo>
                  <a:cubicBezTo>
                    <a:pt x="268" y="210"/>
                    <a:pt x="268" y="210"/>
                    <a:pt x="268" y="210"/>
                  </a:cubicBezTo>
                  <a:cubicBezTo>
                    <a:pt x="267" y="208"/>
                    <a:pt x="267" y="207"/>
                    <a:pt x="266" y="207"/>
                  </a:cubicBezTo>
                  <a:cubicBezTo>
                    <a:pt x="265" y="207"/>
                    <a:pt x="264" y="206"/>
                    <a:pt x="263" y="205"/>
                  </a:cubicBezTo>
                  <a:cubicBezTo>
                    <a:pt x="262" y="203"/>
                    <a:pt x="262" y="202"/>
                    <a:pt x="261" y="200"/>
                  </a:cubicBezTo>
                  <a:cubicBezTo>
                    <a:pt x="261" y="200"/>
                    <a:pt x="261" y="200"/>
                    <a:pt x="261" y="200"/>
                  </a:cubicBezTo>
                  <a:cubicBezTo>
                    <a:pt x="261" y="199"/>
                    <a:pt x="261" y="198"/>
                    <a:pt x="260" y="197"/>
                  </a:cubicBezTo>
                  <a:cubicBezTo>
                    <a:pt x="259" y="194"/>
                    <a:pt x="258" y="191"/>
                    <a:pt x="257" y="187"/>
                  </a:cubicBezTo>
                  <a:cubicBezTo>
                    <a:pt x="257" y="187"/>
                    <a:pt x="257" y="186"/>
                    <a:pt x="257" y="186"/>
                  </a:cubicBezTo>
                  <a:cubicBezTo>
                    <a:pt x="251" y="186"/>
                    <a:pt x="251" y="186"/>
                    <a:pt x="251" y="186"/>
                  </a:cubicBezTo>
                  <a:cubicBezTo>
                    <a:pt x="257" y="184"/>
                    <a:pt x="257" y="184"/>
                    <a:pt x="257" y="184"/>
                  </a:cubicBezTo>
                  <a:cubicBezTo>
                    <a:pt x="257" y="183"/>
                    <a:pt x="257" y="183"/>
                    <a:pt x="257" y="183"/>
                  </a:cubicBezTo>
                  <a:cubicBezTo>
                    <a:pt x="257" y="183"/>
                    <a:pt x="257" y="182"/>
                    <a:pt x="257" y="181"/>
                  </a:cubicBezTo>
                  <a:cubicBezTo>
                    <a:pt x="257" y="180"/>
                    <a:pt x="257" y="178"/>
                    <a:pt x="257" y="176"/>
                  </a:cubicBezTo>
                  <a:cubicBezTo>
                    <a:pt x="257" y="174"/>
                    <a:pt x="257" y="171"/>
                    <a:pt x="257" y="168"/>
                  </a:cubicBezTo>
                  <a:cubicBezTo>
                    <a:pt x="257" y="167"/>
                    <a:pt x="257" y="167"/>
                    <a:pt x="257" y="167"/>
                  </a:cubicBezTo>
                  <a:cubicBezTo>
                    <a:pt x="257" y="164"/>
                    <a:pt x="259" y="162"/>
                    <a:pt x="261" y="160"/>
                  </a:cubicBezTo>
                  <a:cubicBezTo>
                    <a:pt x="261" y="159"/>
                    <a:pt x="261" y="159"/>
                    <a:pt x="262" y="158"/>
                  </a:cubicBezTo>
                  <a:cubicBezTo>
                    <a:pt x="262" y="158"/>
                    <a:pt x="263" y="157"/>
                    <a:pt x="263" y="157"/>
                  </a:cubicBezTo>
                  <a:cubicBezTo>
                    <a:pt x="263" y="156"/>
                    <a:pt x="263" y="156"/>
                    <a:pt x="263" y="156"/>
                  </a:cubicBezTo>
                  <a:cubicBezTo>
                    <a:pt x="264" y="155"/>
                    <a:pt x="265" y="154"/>
                    <a:pt x="266" y="152"/>
                  </a:cubicBezTo>
                  <a:cubicBezTo>
                    <a:pt x="266" y="151"/>
                    <a:pt x="267" y="150"/>
                    <a:pt x="266" y="149"/>
                  </a:cubicBezTo>
                  <a:cubicBezTo>
                    <a:pt x="266" y="147"/>
                    <a:pt x="262" y="147"/>
                    <a:pt x="261" y="147"/>
                  </a:cubicBezTo>
                  <a:cubicBezTo>
                    <a:pt x="260" y="147"/>
                    <a:pt x="260" y="147"/>
                    <a:pt x="259" y="147"/>
                  </a:cubicBezTo>
                  <a:cubicBezTo>
                    <a:pt x="256" y="147"/>
                    <a:pt x="252" y="147"/>
                    <a:pt x="249" y="148"/>
                  </a:cubicBezTo>
                  <a:cubicBezTo>
                    <a:pt x="247" y="148"/>
                    <a:pt x="245" y="148"/>
                    <a:pt x="244" y="149"/>
                  </a:cubicBezTo>
                  <a:cubicBezTo>
                    <a:pt x="241" y="149"/>
                    <a:pt x="241" y="149"/>
                    <a:pt x="241" y="149"/>
                  </a:cubicBezTo>
                  <a:cubicBezTo>
                    <a:pt x="238" y="149"/>
                    <a:pt x="236" y="149"/>
                    <a:pt x="234" y="150"/>
                  </a:cubicBezTo>
                  <a:cubicBezTo>
                    <a:pt x="233" y="150"/>
                    <a:pt x="233" y="150"/>
                    <a:pt x="233" y="150"/>
                  </a:cubicBezTo>
                  <a:cubicBezTo>
                    <a:pt x="233" y="150"/>
                    <a:pt x="232" y="150"/>
                    <a:pt x="232" y="150"/>
                  </a:cubicBezTo>
                  <a:cubicBezTo>
                    <a:pt x="229" y="151"/>
                    <a:pt x="226" y="151"/>
                    <a:pt x="225" y="151"/>
                  </a:cubicBezTo>
                  <a:cubicBezTo>
                    <a:pt x="223" y="151"/>
                    <a:pt x="222" y="151"/>
                    <a:pt x="221" y="150"/>
                  </a:cubicBezTo>
                  <a:cubicBezTo>
                    <a:pt x="219" y="149"/>
                    <a:pt x="216" y="145"/>
                    <a:pt x="212" y="140"/>
                  </a:cubicBezTo>
                  <a:cubicBezTo>
                    <a:pt x="212" y="139"/>
                    <a:pt x="212" y="139"/>
                    <a:pt x="211" y="138"/>
                  </a:cubicBezTo>
                  <a:cubicBezTo>
                    <a:pt x="210" y="137"/>
                    <a:pt x="210" y="137"/>
                    <a:pt x="210" y="137"/>
                  </a:cubicBezTo>
                  <a:cubicBezTo>
                    <a:pt x="210" y="136"/>
                    <a:pt x="209" y="135"/>
                    <a:pt x="208" y="134"/>
                  </a:cubicBezTo>
                  <a:cubicBezTo>
                    <a:pt x="205" y="131"/>
                    <a:pt x="205" y="131"/>
                    <a:pt x="202" y="130"/>
                  </a:cubicBezTo>
                  <a:cubicBezTo>
                    <a:pt x="199" y="129"/>
                    <a:pt x="197" y="129"/>
                    <a:pt x="194" y="128"/>
                  </a:cubicBezTo>
                  <a:cubicBezTo>
                    <a:pt x="193" y="128"/>
                    <a:pt x="192" y="129"/>
                    <a:pt x="190" y="129"/>
                  </a:cubicBezTo>
                  <a:cubicBezTo>
                    <a:pt x="188" y="130"/>
                    <a:pt x="187" y="130"/>
                    <a:pt x="185" y="130"/>
                  </a:cubicBezTo>
                  <a:cubicBezTo>
                    <a:pt x="184" y="131"/>
                    <a:pt x="184" y="131"/>
                    <a:pt x="183" y="131"/>
                  </a:cubicBezTo>
                  <a:cubicBezTo>
                    <a:pt x="181" y="131"/>
                    <a:pt x="179" y="130"/>
                    <a:pt x="177" y="130"/>
                  </a:cubicBezTo>
                  <a:cubicBezTo>
                    <a:pt x="176" y="130"/>
                    <a:pt x="176" y="130"/>
                    <a:pt x="175" y="130"/>
                  </a:cubicBezTo>
                  <a:cubicBezTo>
                    <a:pt x="174" y="130"/>
                    <a:pt x="173" y="130"/>
                    <a:pt x="172" y="130"/>
                  </a:cubicBezTo>
                  <a:cubicBezTo>
                    <a:pt x="170" y="130"/>
                    <a:pt x="169" y="130"/>
                    <a:pt x="167" y="130"/>
                  </a:cubicBezTo>
                  <a:cubicBezTo>
                    <a:pt x="167" y="130"/>
                    <a:pt x="166" y="130"/>
                    <a:pt x="165" y="130"/>
                  </a:cubicBezTo>
                  <a:cubicBezTo>
                    <a:pt x="164" y="130"/>
                    <a:pt x="163" y="130"/>
                    <a:pt x="162" y="129"/>
                  </a:cubicBezTo>
                  <a:cubicBezTo>
                    <a:pt x="161" y="128"/>
                    <a:pt x="160" y="126"/>
                    <a:pt x="159" y="124"/>
                  </a:cubicBezTo>
                  <a:cubicBezTo>
                    <a:pt x="159" y="124"/>
                    <a:pt x="158" y="123"/>
                    <a:pt x="158" y="123"/>
                  </a:cubicBezTo>
                  <a:cubicBezTo>
                    <a:pt x="158" y="122"/>
                    <a:pt x="158" y="122"/>
                    <a:pt x="157" y="122"/>
                  </a:cubicBezTo>
                  <a:cubicBezTo>
                    <a:pt x="157" y="121"/>
                    <a:pt x="157" y="121"/>
                    <a:pt x="156" y="121"/>
                  </a:cubicBezTo>
                  <a:cubicBezTo>
                    <a:pt x="156" y="121"/>
                    <a:pt x="155" y="121"/>
                    <a:pt x="154" y="121"/>
                  </a:cubicBezTo>
                  <a:cubicBezTo>
                    <a:pt x="151" y="120"/>
                    <a:pt x="151" y="118"/>
                    <a:pt x="150" y="115"/>
                  </a:cubicBezTo>
                  <a:cubicBezTo>
                    <a:pt x="149" y="110"/>
                    <a:pt x="150" y="106"/>
                    <a:pt x="152" y="103"/>
                  </a:cubicBezTo>
                  <a:cubicBezTo>
                    <a:pt x="152" y="103"/>
                    <a:pt x="152" y="102"/>
                    <a:pt x="152" y="102"/>
                  </a:cubicBezTo>
                  <a:cubicBezTo>
                    <a:pt x="152" y="99"/>
                    <a:pt x="151" y="97"/>
                    <a:pt x="150" y="95"/>
                  </a:cubicBezTo>
                  <a:cubicBezTo>
                    <a:pt x="149" y="94"/>
                    <a:pt x="149" y="94"/>
                    <a:pt x="149" y="94"/>
                  </a:cubicBezTo>
                  <a:cubicBezTo>
                    <a:pt x="146" y="86"/>
                    <a:pt x="146" y="86"/>
                    <a:pt x="146" y="86"/>
                  </a:cubicBezTo>
                  <a:cubicBezTo>
                    <a:pt x="145" y="84"/>
                    <a:pt x="144" y="83"/>
                    <a:pt x="143" y="81"/>
                  </a:cubicBezTo>
                  <a:cubicBezTo>
                    <a:pt x="143" y="81"/>
                    <a:pt x="142" y="81"/>
                    <a:pt x="142" y="81"/>
                  </a:cubicBezTo>
                  <a:cubicBezTo>
                    <a:pt x="140" y="81"/>
                    <a:pt x="139" y="80"/>
                    <a:pt x="139" y="80"/>
                  </a:cubicBezTo>
                  <a:cubicBezTo>
                    <a:pt x="139" y="79"/>
                    <a:pt x="139" y="79"/>
                    <a:pt x="139" y="79"/>
                  </a:cubicBezTo>
                  <a:cubicBezTo>
                    <a:pt x="138" y="79"/>
                    <a:pt x="138" y="78"/>
                    <a:pt x="138" y="78"/>
                  </a:cubicBezTo>
                  <a:cubicBezTo>
                    <a:pt x="136" y="79"/>
                    <a:pt x="134" y="79"/>
                    <a:pt x="133" y="80"/>
                  </a:cubicBezTo>
                  <a:cubicBezTo>
                    <a:pt x="131" y="80"/>
                    <a:pt x="131" y="80"/>
                    <a:pt x="131" y="80"/>
                  </a:cubicBezTo>
                  <a:cubicBezTo>
                    <a:pt x="130" y="79"/>
                    <a:pt x="130" y="79"/>
                    <a:pt x="130" y="79"/>
                  </a:cubicBezTo>
                  <a:cubicBezTo>
                    <a:pt x="128" y="77"/>
                    <a:pt x="129" y="74"/>
                    <a:pt x="130" y="73"/>
                  </a:cubicBezTo>
                  <a:cubicBezTo>
                    <a:pt x="131" y="72"/>
                    <a:pt x="131" y="72"/>
                    <a:pt x="131" y="72"/>
                  </a:cubicBezTo>
                  <a:cubicBezTo>
                    <a:pt x="131" y="72"/>
                    <a:pt x="131" y="71"/>
                    <a:pt x="132" y="71"/>
                  </a:cubicBezTo>
                  <a:cubicBezTo>
                    <a:pt x="132" y="71"/>
                    <a:pt x="132" y="71"/>
                    <a:pt x="132" y="71"/>
                  </a:cubicBezTo>
                  <a:cubicBezTo>
                    <a:pt x="134" y="67"/>
                    <a:pt x="136" y="64"/>
                    <a:pt x="137" y="60"/>
                  </a:cubicBezTo>
                  <a:cubicBezTo>
                    <a:pt x="137" y="60"/>
                    <a:pt x="138" y="59"/>
                    <a:pt x="138" y="58"/>
                  </a:cubicBezTo>
                  <a:cubicBezTo>
                    <a:pt x="138" y="56"/>
                    <a:pt x="138" y="55"/>
                    <a:pt x="138" y="53"/>
                  </a:cubicBezTo>
                  <a:cubicBezTo>
                    <a:pt x="139" y="51"/>
                    <a:pt x="139" y="49"/>
                    <a:pt x="140" y="47"/>
                  </a:cubicBezTo>
                  <a:cubicBezTo>
                    <a:pt x="140" y="45"/>
                    <a:pt x="142" y="42"/>
                    <a:pt x="143" y="40"/>
                  </a:cubicBezTo>
                  <a:cubicBezTo>
                    <a:pt x="143" y="40"/>
                    <a:pt x="143" y="40"/>
                    <a:pt x="143" y="40"/>
                  </a:cubicBezTo>
                  <a:cubicBezTo>
                    <a:pt x="144" y="39"/>
                    <a:pt x="144" y="38"/>
                    <a:pt x="145" y="37"/>
                  </a:cubicBezTo>
                  <a:cubicBezTo>
                    <a:pt x="145" y="36"/>
                    <a:pt x="145" y="36"/>
                    <a:pt x="145" y="36"/>
                  </a:cubicBezTo>
                  <a:cubicBezTo>
                    <a:pt x="145" y="36"/>
                    <a:pt x="145" y="36"/>
                    <a:pt x="145" y="36"/>
                  </a:cubicBezTo>
                  <a:cubicBezTo>
                    <a:pt x="146" y="34"/>
                    <a:pt x="148" y="32"/>
                    <a:pt x="150" y="30"/>
                  </a:cubicBezTo>
                  <a:cubicBezTo>
                    <a:pt x="152" y="29"/>
                    <a:pt x="153" y="28"/>
                    <a:pt x="154" y="28"/>
                  </a:cubicBezTo>
                  <a:cubicBezTo>
                    <a:pt x="155" y="28"/>
                    <a:pt x="156" y="28"/>
                    <a:pt x="156" y="27"/>
                  </a:cubicBezTo>
                  <a:cubicBezTo>
                    <a:pt x="156" y="26"/>
                    <a:pt x="156" y="26"/>
                    <a:pt x="156" y="26"/>
                  </a:cubicBezTo>
                  <a:cubicBezTo>
                    <a:pt x="157" y="25"/>
                    <a:pt x="157" y="25"/>
                    <a:pt x="158" y="24"/>
                  </a:cubicBezTo>
                  <a:cubicBezTo>
                    <a:pt x="159" y="20"/>
                    <a:pt x="160" y="17"/>
                    <a:pt x="162" y="16"/>
                  </a:cubicBezTo>
                  <a:cubicBezTo>
                    <a:pt x="164" y="15"/>
                    <a:pt x="166" y="14"/>
                    <a:pt x="168" y="14"/>
                  </a:cubicBezTo>
                  <a:cubicBezTo>
                    <a:pt x="169" y="14"/>
                    <a:pt x="170" y="14"/>
                    <a:pt x="170" y="14"/>
                  </a:cubicBezTo>
                  <a:cubicBezTo>
                    <a:pt x="174" y="13"/>
                    <a:pt x="174" y="13"/>
                    <a:pt x="174" y="13"/>
                  </a:cubicBezTo>
                  <a:cubicBezTo>
                    <a:pt x="175" y="12"/>
                    <a:pt x="176" y="12"/>
                    <a:pt x="178" y="12"/>
                  </a:cubicBezTo>
                  <a:cubicBezTo>
                    <a:pt x="180" y="12"/>
                    <a:pt x="180" y="12"/>
                    <a:pt x="180" y="12"/>
                  </a:cubicBezTo>
                  <a:cubicBezTo>
                    <a:pt x="180" y="13"/>
                    <a:pt x="180" y="13"/>
                    <a:pt x="180" y="13"/>
                  </a:cubicBezTo>
                  <a:cubicBezTo>
                    <a:pt x="180" y="12"/>
                    <a:pt x="181" y="12"/>
                    <a:pt x="182" y="11"/>
                  </a:cubicBezTo>
                  <a:cubicBezTo>
                    <a:pt x="184" y="9"/>
                    <a:pt x="184" y="10"/>
                    <a:pt x="183" y="7"/>
                  </a:cubicBezTo>
                  <a:cubicBezTo>
                    <a:pt x="182" y="5"/>
                    <a:pt x="181" y="3"/>
                    <a:pt x="180" y="2"/>
                  </a:cubicBezTo>
                  <a:cubicBezTo>
                    <a:pt x="178" y="1"/>
                    <a:pt x="175" y="0"/>
                    <a:pt x="17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01" name="Freeform 272">
              <a:extLst>
                <a:ext uri="{FF2B5EF4-FFF2-40B4-BE49-F238E27FC236}">
                  <a16:creationId xmlns:a16="http://schemas.microsoft.com/office/drawing/2014/main" id="{FB6CC75D-EB23-4D6C-91DE-83A27E710C11}"/>
                </a:ext>
              </a:extLst>
            </p:cNvPr>
            <p:cNvSpPr>
              <a:spLocks noEditPoints="1"/>
            </p:cNvSpPr>
            <p:nvPr/>
          </p:nvSpPr>
          <p:spPr bwMode="auto">
            <a:xfrm>
              <a:off x="7391313" y="1261160"/>
              <a:ext cx="433567" cy="180771"/>
            </a:xfrm>
            <a:custGeom>
              <a:avLst/>
              <a:gdLst>
                <a:gd name="T0" fmla="*/ 105 w 130"/>
                <a:gd name="T1" fmla="*/ 28 h 54"/>
                <a:gd name="T2" fmla="*/ 105 w 130"/>
                <a:gd name="T3" fmla="*/ 28 h 54"/>
                <a:gd name="T4" fmla="*/ 109 w 130"/>
                <a:gd name="T5" fmla="*/ 24 h 54"/>
                <a:gd name="T6" fmla="*/ 109 w 130"/>
                <a:gd name="T7" fmla="*/ 24 h 54"/>
                <a:gd name="T8" fmla="*/ 81 w 130"/>
                <a:gd name="T9" fmla="*/ 0 h 54"/>
                <a:gd name="T10" fmla="*/ 51 w 130"/>
                <a:gd name="T11" fmla="*/ 14 h 54"/>
                <a:gd name="T12" fmla="*/ 38 w 130"/>
                <a:gd name="T13" fmla="*/ 17 h 54"/>
                <a:gd name="T14" fmla="*/ 27 w 130"/>
                <a:gd name="T15" fmla="*/ 13 h 54"/>
                <a:gd name="T16" fmla="*/ 20 w 130"/>
                <a:gd name="T17" fmla="*/ 14 h 54"/>
                <a:gd name="T18" fmla="*/ 17 w 130"/>
                <a:gd name="T19" fmla="*/ 9 h 54"/>
                <a:gd name="T20" fmla="*/ 9 w 130"/>
                <a:gd name="T21" fmla="*/ 2 h 54"/>
                <a:gd name="T22" fmla="*/ 4 w 130"/>
                <a:gd name="T23" fmla="*/ 2 h 54"/>
                <a:gd name="T24" fmla="*/ 3 w 130"/>
                <a:gd name="T25" fmla="*/ 3 h 54"/>
                <a:gd name="T26" fmla="*/ 3 w 130"/>
                <a:gd name="T27" fmla="*/ 9 h 54"/>
                <a:gd name="T28" fmla="*/ 5 w 130"/>
                <a:gd name="T29" fmla="*/ 11 h 54"/>
                <a:gd name="T30" fmla="*/ 9 w 130"/>
                <a:gd name="T31" fmla="*/ 14 h 54"/>
                <a:gd name="T32" fmla="*/ 6 w 130"/>
                <a:gd name="T33" fmla="*/ 18 h 54"/>
                <a:gd name="T34" fmla="*/ 3 w 130"/>
                <a:gd name="T35" fmla="*/ 20 h 54"/>
                <a:gd name="T36" fmla="*/ 3 w 130"/>
                <a:gd name="T37" fmla="*/ 26 h 54"/>
                <a:gd name="T38" fmla="*/ 1 w 130"/>
                <a:gd name="T39" fmla="*/ 28 h 54"/>
                <a:gd name="T40" fmla="*/ 0 w 130"/>
                <a:gd name="T41" fmla="*/ 29 h 54"/>
                <a:gd name="T42" fmla="*/ 6 w 130"/>
                <a:gd name="T43" fmla="*/ 29 h 54"/>
                <a:gd name="T44" fmla="*/ 18 w 130"/>
                <a:gd name="T45" fmla="*/ 32 h 54"/>
                <a:gd name="T46" fmla="*/ 23 w 130"/>
                <a:gd name="T47" fmla="*/ 31 h 54"/>
                <a:gd name="T48" fmla="*/ 24 w 130"/>
                <a:gd name="T49" fmla="*/ 32 h 54"/>
                <a:gd name="T50" fmla="*/ 27 w 130"/>
                <a:gd name="T51" fmla="*/ 32 h 54"/>
                <a:gd name="T52" fmla="*/ 36 w 130"/>
                <a:gd name="T53" fmla="*/ 44 h 54"/>
                <a:gd name="T54" fmla="*/ 42 w 130"/>
                <a:gd name="T55" fmla="*/ 39 h 54"/>
                <a:gd name="T56" fmla="*/ 45 w 130"/>
                <a:gd name="T57" fmla="*/ 45 h 54"/>
                <a:gd name="T58" fmla="*/ 46 w 130"/>
                <a:gd name="T59" fmla="*/ 54 h 54"/>
                <a:gd name="T60" fmla="*/ 56 w 130"/>
                <a:gd name="T61" fmla="*/ 53 h 54"/>
                <a:gd name="T62" fmla="*/ 61 w 130"/>
                <a:gd name="T63" fmla="*/ 39 h 54"/>
                <a:gd name="T64" fmla="*/ 60 w 130"/>
                <a:gd name="T65" fmla="*/ 29 h 54"/>
                <a:gd name="T66" fmla="*/ 73 w 130"/>
                <a:gd name="T67" fmla="*/ 22 h 54"/>
                <a:gd name="T68" fmla="*/ 72 w 130"/>
                <a:gd name="T69" fmla="*/ 22 h 54"/>
                <a:gd name="T70" fmla="*/ 75 w 130"/>
                <a:gd name="T71" fmla="*/ 16 h 54"/>
                <a:gd name="T72" fmla="*/ 89 w 130"/>
                <a:gd name="T73" fmla="*/ 11 h 54"/>
                <a:gd name="T74" fmla="*/ 100 w 130"/>
                <a:gd name="T75" fmla="*/ 19 h 54"/>
                <a:gd name="T76" fmla="*/ 105 w 130"/>
                <a:gd name="T77" fmla="*/ 28 h 54"/>
                <a:gd name="T78" fmla="*/ 105 w 130"/>
                <a:gd name="T79" fmla="*/ 24 h 54"/>
                <a:gd name="T80" fmla="*/ 106 w 130"/>
                <a:gd name="T81" fmla="*/ 24 h 54"/>
                <a:gd name="T82" fmla="*/ 108 w 130"/>
                <a:gd name="T83" fmla="*/ 27 h 54"/>
                <a:gd name="T84" fmla="*/ 112 w 130"/>
                <a:gd name="T85" fmla="*/ 26 h 54"/>
                <a:gd name="T86" fmla="*/ 118 w 130"/>
                <a:gd name="T87" fmla="*/ 33 h 54"/>
                <a:gd name="T88" fmla="*/ 113 w 130"/>
                <a:gd name="T89" fmla="*/ 30 h 54"/>
                <a:gd name="T90" fmla="*/ 111 w 130"/>
                <a:gd name="T91" fmla="*/ 27 h 54"/>
                <a:gd name="T92" fmla="*/ 105 w 130"/>
                <a:gd name="T93" fmla="*/ 34 h 54"/>
                <a:gd name="T94" fmla="*/ 115 w 130"/>
                <a:gd name="T95" fmla="*/ 52 h 54"/>
                <a:gd name="T96" fmla="*/ 116 w 130"/>
                <a:gd name="T97" fmla="*/ 50 h 54"/>
                <a:gd name="T98" fmla="*/ 117 w 130"/>
                <a:gd name="T99" fmla="*/ 47 h 54"/>
                <a:gd name="T100" fmla="*/ 118 w 130"/>
                <a:gd name="T101" fmla="*/ 44 h 54"/>
                <a:gd name="T102" fmla="*/ 118 w 130"/>
                <a:gd name="T103" fmla="*/ 41 h 54"/>
                <a:gd name="T104" fmla="*/ 122 w 130"/>
                <a:gd name="T105" fmla="*/ 40 h 54"/>
                <a:gd name="T106" fmla="*/ 124 w 130"/>
                <a:gd name="T107" fmla="*/ 43 h 54"/>
                <a:gd name="T108" fmla="*/ 130 w 130"/>
                <a:gd name="T109" fmla="*/ 37 h 54"/>
                <a:gd name="T110" fmla="*/ 125 w 130"/>
                <a:gd name="T111" fmla="*/ 26 h 54"/>
                <a:gd name="T112" fmla="*/ 116 w 130"/>
                <a:gd name="T113" fmla="*/ 10 h 54"/>
                <a:gd name="T114" fmla="*/ 81 w 130"/>
                <a:gd name="T11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54">
                  <a:moveTo>
                    <a:pt x="105" y="28"/>
                  </a:moveTo>
                  <a:cubicBezTo>
                    <a:pt x="105" y="28"/>
                    <a:pt x="105" y="28"/>
                    <a:pt x="105" y="28"/>
                  </a:cubicBezTo>
                  <a:cubicBezTo>
                    <a:pt x="105" y="28"/>
                    <a:pt x="105" y="28"/>
                    <a:pt x="105" y="28"/>
                  </a:cubicBezTo>
                  <a:cubicBezTo>
                    <a:pt x="105" y="28"/>
                    <a:pt x="105" y="28"/>
                    <a:pt x="105" y="28"/>
                  </a:cubicBezTo>
                  <a:moveTo>
                    <a:pt x="109" y="24"/>
                  </a:moveTo>
                  <a:cubicBezTo>
                    <a:pt x="109" y="24"/>
                    <a:pt x="109" y="24"/>
                    <a:pt x="109" y="24"/>
                  </a:cubicBezTo>
                  <a:cubicBezTo>
                    <a:pt x="109" y="24"/>
                    <a:pt x="109" y="24"/>
                    <a:pt x="109" y="24"/>
                  </a:cubicBezTo>
                  <a:cubicBezTo>
                    <a:pt x="109" y="24"/>
                    <a:pt x="109" y="24"/>
                    <a:pt x="109" y="24"/>
                  </a:cubicBezTo>
                  <a:cubicBezTo>
                    <a:pt x="109" y="24"/>
                    <a:pt x="109" y="24"/>
                    <a:pt x="109" y="24"/>
                  </a:cubicBezTo>
                  <a:moveTo>
                    <a:pt x="81" y="0"/>
                  </a:moveTo>
                  <a:cubicBezTo>
                    <a:pt x="77" y="0"/>
                    <a:pt x="70" y="3"/>
                    <a:pt x="67" y="6"/>
                  </a:cubicBezTo>
                  <a:cubicBezTo>
                    <a:pt x="63" y="10"/>
                    <a:pt x="56" y="12"/>
                    <a:pt x="51" y="14"/>
                  </a:cubicBezTo>
                  <a:cubicBezTo>
                    <a:pt x="48" y="16"/>
                    <a:pt x="44" y="18"/>
                    <a:pt x="41" y="18"/>
                  </a:cubicBezTo>
                  <a:cubicBezTo>
                    <a:pt x="40" y="18"/>
                    <a:pt x="39" y="17"/>
                    <a:pt x="38" y="17"/>
                  </a:cubicBezTo>
                  <a:cubicBezTo>
                    <a:pt x="34" y="15"/>
                    <a:pt x="27" y="13"/>
                    <a:pt x="24" y="9"/>
                  </a:cubicBezTo>
                  <a:cubicBezTo>
                    <a:pt x="25" y="10"/>
                    <a:pt x="26" y="12"/>
                    <a:pt x="27" y="13"/>
                  </a:cubicBezTo>
                  <a:cubicBezTo>
                    <a:pt x="25" y="14"/>
                    <a:pt x="23" y="15"/>
                    <a:pt x="21" y="15"/>
                  </a:cubicBezTo>
                  <a:cubicBezTo>
                    <a:pt x="21" y="15"/>
                    <a:pt x="21" y="15"/>
                    <a:pt x="20" y="14"/>
                  </a:cubicBezTo>
                  <a:cubicBezTo>
                    <a:pt x="18" y="14"/>
                    <a:pt x="14" y="11"/>
                    <a:pt x="17" y="9"/>
                  </a:cubicBezTo>
                  <a:cubicBezTo>
                    <a:pt x="17" y="9"/>
                    <a:pt x="17" y="9"/>
                    <a:pt x="17" y="9"/>
                  </a:cubicBezTo>
                  <a:cubicBezTo>
                    <a:pt x="14" y="9"/>
                    <a:pt x="12" y="5"/>
                    <a:pt x="10" y="2"/>
                  </a:cubicBezTo>
                  <a:cubicBezTo>
                    <a:pt x="9" y="2"/>
                    <a:pt x="9" y="2"/>
                    <a:pt x="9" y="2"/>
                  </a:cubicBezTo>
                  <a:cubicBezTo>
                    <a:pt x="7" y="2"/>
                    <a:pt x="5" y="3"/>
                    <a:pt x="4" y="3"/>
                  </a:cubicBezTo>
                  <a:cubicBezTo>
                    <a:pt x="4" y="2"/>
                    <a:pt x="4" y="2"/>
                    <a:pt x="4" y="2"/>
                  </a:cubicBezTo>
                  <a:cubicBezTo>
                    <a:pt x="3" y="2"/>
                    <a:pt x="3" y="2"/>
                    <a:pt x="3" y="2"/>
                  </a:cubicBezTo>
                  <a:cubicBezTo>
                    <a:pt x="3" y="3"/>
                    <a:pt x="3" y="3"/>
                    <a:pt x="3" y="3"/>
                  </a:cubicBezTo>
                  <a:cubicBezTo>
                    <a:pt x="3" y="3"/>
                    <a:pt x="3" y="3"/>
                    <a:pt x="3" y="3"/>
                  </a:cubicBezTo>
                  <a:cubicBezTo>
                    <a:pt x="3" y="5"/>
                    <a:pt x="3" y="7"/>
                    <a:pt x="3" y="9"/>
                  </a:cubicBezTo>
                  <a:cubicBezTo>
                    <a:pt x="3" y="10"/>
                    <a:pt x="3" y="10"/>
                    <a:pt x="3" y="10"/>
                  </a:cubicBezTo>
                  <a:cubicBezTo>
                    <a:pt x="4" y="11"/>
                    <a:pt x="4" y="11"/>
                    <a:pt x="5" y="11"/>
                  </a:cubicBezTo>
                  <a:cubicBezTo>
                    <a:pt x="5" y="12"/>
                    <a:pt x="6" y="12"/>
                    <a:pt x="6" y="12"/>
                  </a:cubicBezTo>
                  <a:cubicBezTo>
                    <a:pt x="9" y="14"/>
                    <a:pt x="9" y="14"/>
                    <a:pt x="9" y="14"/>
                  </a:cubicBezTo>
                  <a:cubicBezTo>
                    <a:pt x="7" y="17"/>
                    <a:pt x="7" y="17"/>
                    <a:pt x="7" y="17"/>
                  </a:cubicBezTo>
                  <a:cubicBezTo>
                    <a:pt x="7" y="17"/>
                    <a:pt x="6" y="17"/>
                    <a:pt x="6" y="18"/>
                  </a:cubicBezTo>
                  <a:cubicBezTo>
                    <a:pt x="5" y="18"/>
                    <a:pt x="5" y="18"/>
                    <a:pt x="5" y="18"/>
                  </a:cubicBezTo>
                  <a:cubicBezTo>
                    <a:pt x="4" y="19"/>
                    <a:pt x="4" y="19"/>
                    <a:pt x="3" y="20"/>
                  </a:cubicBezTo>
                  <a:cubicBezTo>
                    <a:pt x="4" y="20"/>
                    <a:pt x="5" y="21"/>
                    <a:pt x="5" y="22"/>
                  </a:cubicBezTo>
                  <a:cubicBezTo>
                    <a:pt x="5" y="24"/>
                    <a:pt x="4" y="25"/>
                    <a:pt x="3" y="26"/>
                  </a:cubicBezTo>
                  <a:cubicBezTo>
                    <a:pt x="3" y="26"/>
                    <a:pt x="3" y="26"/>
                    <a:pt x="3" y="26"/>
                  </a:cubicBezTo>
                  <a:cubicBezTo>
                    <a:pt x="2" y="27"/>
                    <a:pt x="1" y="28"/>
                    <a:pt x="1" y="28"/>
                  </a:cubicBezTo>
                  <a:cubicBezTo>
                    <a:pt x="0" y="29"/>
                    <a:pt x="0" y="29"/>
                    <a:pt x="0" y="29"/>
                  </a:cubicBezTo>
                  <a:cubicBezTo>
                    <a:pt x="0" y="29"/>
                    <a:pt x="0" y="29"/>
                    <a:pt x="0" y="29"/>
                  </a:cubicBezTo>
                  <a:cubicBezTo>
                    <a:pt x="2" y="33"/>
                    <a:pt x="2" y="33"/>
                    <a:pt x="2" y="33"/>
                  </a:cubicBezTo>
                  <a:cubicBezTo>
                    <a:pt x="3" y="31"/>
                    <a:pt x="5" y="29"/>
                    <a:pt x="6" y="29"/>
                  </a:cubicBezTo>
                  <a:cubicBezTo>
                    <a:pt x="10" y="29"/>
                    <a:pt x="13" y="29"/>
                    <a:pt x="16" y="28"/>
                  </a:cubicBezTo>
                  <a:cubicBezTo>
                    <a:pt x="17" y="30"/>
                    <a:pt x="16" y="32"/>
                    <a:pt x="18" y="32"/>
                  </a:cubicBezTo>
                  <a:cubicBezTo>
                    <a:pt x="18" y="32"/>
                    <a:pt x="18" y="32"/>
                    <a:pt x="18" y="32"/>
                  </a:cubicBezTo>
                  <a:cubicBezTo>
                    <a:pt x="19" y="32"/>
                    <a:pt x="21" y="31"/>
                    <a:pt x="23" y="31"/>
                  </a:cubicBezTo>
                  <a:cubicBezTo>
                    <a:pt x="23" y="31"/>
                    <a:pt x="23" y="31"/>
                    <a:pt x="23" y="31"/>
                  </a:cubicBezTo>
                  <a:cubicBezTo>
                    <a:pt x="24" y="31"/>
                    <a:pt x="24" y="31"/>
                    <a:pt x="24" y="32"/>
                  </a:cubicBezTo>
                  <a:cubicBezTo>
                    <a:pt x="25" y="32"/>
                    <a:pt x="25" y="33"/>
                    <a:pt x="26" y="33"/>
                  </a:cubicBezTo>
                  <a:cubicBezTo>
                    <a:pt x="26" y="33"/>
                    <a:pt x="27" y="32"/>
                    <a:pt x="27" y="32"/>
                  </a:cubicBezTo>
                  <a:cubicBezTo>
                    <a:pt x="29" y="36"/>
                    <a:pt x="30" y="39"/>
                    <a:pt x="33" y="42"/>
                  </a:cubicBezTo>
                  <a:cubicBezTo>
                    <a:pt x="32" y="43"/>
                    <a:pt x="35" y="44"/>
                    <a:pt x="36" y="44"/>
                  </a:cubicBezTo>
                  <a:cubicBezTo>
                    <a:pt x="37" y="44"/>
                    <a:pt x="38" y="45"/>
                    <a:pt x="39" y="45"/>
                  </a:cubicBezTo>
                  <a:cubicBezTo>
                    <a:pt x="40" y="42"/>
                    <a:pt x="38" y="39"/>
                    <a:pt x="42" y="39"/>
                  </a:cubicBezTo>
                  <a:cubicBezTo>
                    <a:pt x="42" y="39"/>
                    <a:pt x="42" y="39"/>
                    <a:pt x="42" y="39"/>
                  </a:cubicBezTo>
                  <a:cubicBezTo>
                    <a:pt x="44" y="39"/>
                    <a:pt x="44" y="43"/>
                    <a:pt x="45" y="45"/>
                  </a:cubicBezTo>
                  <a:cubicBezTo>
                    <a:pt x="46" y="47"/>
                    <a:pt x="47" y="50"/>
                    <a:pt x="47" y="51"/>
                  </a:cubicBezTo>
                  <a:cubicBezTo>
                    <a:pt x="47" y="52"/>
                    <a:pt x="47" y="53"/>
                    <a:pt x="46" y="54"/>
                  </a:cubicBezTo>
                  <a:cubicBezTo>
                    <a:pt x="48" y="54"/>
                    <a:pt x="49" y="54"/>
                    <a:pt x="51" y="54"/>
                  </a:cubicBezTo>
                  <a:cubicBezTo>
                    <a:pt x="53" y="54"/>
                    <a:pt x="54" y="54"/>
                    <a:pt x="56" y="53"/>
                  </a:cubicBezTo>
                  <a:cubicBezTo>
                    <a:pt x="60" y="51"/>
                    <a:pt x="63" y="50"/>
                    <a:pt x="68" y="49"/>
                  </a:cubicBezTo>
                  <a:cubicBezTo>
                    <a:pt x="66" y="44"/>
                    <a:pt x="64" y="42"/>
                    <a:pt x="61" y="39"/>
                  </a:cubicBezTo>
                  <a:cubicBezTo>
                    <a:pt x="58" y="36"/>
                    <a:pt x="55" y="33"/>
                    <a:pt x="59" y="29"/>
                  </a:cubicBezTo>
                  <a:cubicBezTo>
                    <a:pt x="59" y="29"/>
                    <a:pt x="60" y="29"/>
                    <a:pt x="60" y="29"/>
                  </a:cubicBezTo>
                  <a:cubicBezTo>
                    <a:pt x="64" y="29"/>
                    <a:pt x="72" y="23"/>
                    <a:pt x="75" y="21"/>
                  </a:cubicBezTo>
                  <a:cubicBezTo>
                    <a:pt x="74" y="21"/>
                    <a:pt x="74" y="22"/>
                    <a:pt x="73" y="22"/>
                  </a:cubicBezTo>
                  <a:cubicBezTo>
                    <a:pt x="73" y="22"/>
                    <a:pt x="73" y="22"/>
                    <a:pt x="73" y="22"/>
                  </a:cubicBezTo>
                  <a:cubicBezTo>
                    <a:pt x="73" y="22"/>
                    <a:pt x="73" y="22"/>
                    <a:pt x="72" y="22"/>
                  </a:cubicBezTo>
                  <a:cubicBezTo>
                    <a:pt x="72" y="22"/>
                    <a:pt x="72" y="22"/>
                    <a:pt x="72" y="22"/>
                  </a:cubicBezTo>
                  <a:cubicBezTo>
                    <a:pt x="73" y="20"/>
                    <a:pt x="73" y="18"/>
                    <a:pt x="75" y="16"/>
                  </a:cubicBezTo>
                  <a:cubicBezTo>
                    <a:pt x="75" y="16"/>
                    <a:pt x="78" y="15"/>
                    <a:pt x="79" y="14"/>
                  </a:cubicBezTo>
                  <a:cubicBezTo>
                    <a:pt x="82" y="12"/>
                    <a:pt x="86" y="14"/>
                    <a:pt x="89" y="11"/>
                  </a:cubicBezTo>
                  <a:cubicBezTo>
                    <a:pt x="88" y="13"/>
                    <a:pt x="89" y="13"/>
                    <a:pt x="91" y="14"/>
                  </a:cubicBezTo>
                  <a:cubicBezTo>
                    <a:pt x="94" y="15"/>
                    <a:pt x="97" y="17"/>
                    <a:pt x="100" y="19"/>
                  </a:cubicBezTo>
                  <a:cubicBezTo>
                    <a:pt x="100" y="18"/>
                    <a:pt x="100" y="18"/>
                    <a:pt x="100" y="18"/>
                  </a:cubicBezTo>
                  <a:cubicBezTo>
                    <a:pt x="102" y="21"/>
                    <a:pt x="103" y="25"/>
                    <a:pt x="105" y="28"/>
                  </a:cubicBezTo>
                  <a:cubicBezTo>
                    <a:pt x="105" y="28"/>
                    <a:pt x="105" y="27"/>
                    <a:pt x="105" y="26"/>
                  </a:cubicBezTo>
                  <a:cubicBezTo>
                    <a:pt x="105" y="25"/>
                    <a:pt x="105" y="24"/>
                    <a:pt x="105" y="24"/>
                  </a:cubicBezTo>
                  <a:cubicBezTo>
                    <a:pt x="105" y="24"/>
                    <a:pt x="105" y="24"/>
                    <a:pt x="105" y="24"/>
                  </a:cubicBezTo>
                  <a:cubicBezTo>
                    <a:pt x="105" y="24"/>
                    <a:pt x="106" y="24"/>
                    <a:pt x="106" y="24"/>
                  </a:cubicBezTo>
                  <a:cubicBezTo>
                    <a:pt x="107" y="24"/>
                    <a:pt x="108" y="24"/>
                    <a:pt x="109" y="25"/>
                  </a:cubicBezTo>
                  <a:cubicBezTo>
                    <a:pt x="109" y="25"/>
                    <a:pt x="109" y="27"/>
                    <a:pt x="108" y="27"/>
                  </a:cubicBezTo>
                  <a:cubicBezTo>
                    <a:pt x="109" y="26"/>
                    <a:pt x="110" y="25"/>
                    <a:pt x="111" y="25"/>
                  </a:cubicBezTo>
                  <a:cubicBezTo>
                    <a:pt x="111" y="25"/>
                    <a:pt x="111" y="26"/>
                    <a:pt x="112" y="26"/>
                  </a:cubicBezTo>
                  <a:cubicBezTo>
                    <a:pt x="112" y="25"/>
                    <a:pt x="112" y="24"/>
                    <a:pt x="111" y="23"/>
                  </a:cubicBezTo>
                  <a:cubicBezTo>
                    <a:pt x="114" y="26"/>
                    <a:pt x="117" y="29"/>
                    <a:pt x="118" y="33"/>
                  </a:cubicBezTo>
                  <a:cubicBezTo>
                    <a:pt x="118" y="32"/>
                    <a:pt x="117" y="31"/>
                    <a:pt x="116" y="31"/>
                  </a:cubicBezTo>
                  <a:cubicBezTo>
                    <a:pt x="115" y="30"/>
                    <a:pt x="115" y="31"/>
                    <a:pt x="113" y="30"/>
                  </a:cubicBezTo>
                  <a:cubicBezTo>
                    <a:pt x="113" y="30"/>
                    <a:pt x="112" y="29"/>
                    <a:pt x="112" y="28"/>
                  </a:cubicBezTo>
                  <a:cubicBezTo>
                    <a:pt x="111" y="28"/>
                    <a:pt x="112" y="27"/>
                    <a:pt x="111" y="27"/>
                  </a:cubicBezTo>
                  <a:cubicBezTo>
                    <a:pt x="111" y="27"/>
                    <a:pt x="111" y="27"/>
                    <a:pt x="111" y="27"/>
                  </a:cubicBezTo>
                  <a:cubicBezTo>
                    <a:pt x="109" y="27"/>
                    <a:pt x="105" y="33"/>
                    <a:pt x="105" y="34"/>
                  </a:cubicBezTo>
                  <a:cubicBezTo>
                    <a:pt x="103" y="40"/>
                    <a:pt x="110" y="47"/>
                    <a:pt x="115" y="52"/>
                  </a:cubicBezTo>
                  <a:cubicBezTo>
                    <a:pt x="115" y="52"/>
                    <a:pt x="115" y="52"/>
                    <a:pt x="115" y="52"/>
                  </a:cubicBezTo>
                  <a:cubicBezTo>
                    <a:pt x="115" y="51"/>
                    <a:pt x="115" y="51"/>
                    <a:pt x="116" y="50"/>
                  </a:cubicBezTo>
                  <a:cubicBezTo>
                    <a:pt x="116" y="50"/>
                    <a:pt x="116" y="50"/>
                    <a:pt x="116" y="50"/>
                  </a:cubicBezTo>
                  <a:cubicBezTo>
                    <a:pt x="117" y="49"/>
                    <a:pt x="117" y="48"/>
                    <a:pt x="117" y="48"/>
                  </a:cubicBezTo>
                  <a:cubicBezTo>
                    <a:pt x="117" y="47"/>
                    <a:pt x="117" y="47"/>
                    <a:pt x="117" y="47"/>
                  </a:cubicBezTo>
                  <a:cubicBezTo>
                    <a:pt x="118" y="47"/>
                    <a:pt x="118" y="46"/>
                    <a:pt x="118" y="46"/>
                  </a:cubicBezTo>
                  <a:cubicBezTo>
                    <a:pt x="118" y="44"/>
                    <a:pt x="118" y="44"/>
                    <a:pt x="118" y="44"/>
                  </a:cubicBezTo>
                  <a:cubicBezTo>
                    <a:pt x="118" y="44"/>
                    <a:pt x="118" y="43"/>
                    <a:pt x="118" y="42"/>
                  </a:cubicBezTo>
                  <a:cubicBezTo>
                    <a:pt x="118" y="41"/>
                    <a:pt x="118" y="41"/>
                    <a:pt x="118" y="41"/>
                  </a:cubicBezTo>
                  <a:cubicBezTo>
                    <a:pt x="120" y="42"/>
                    <a:pt x="120" y="42"/>
                    <a:pt x="120" y="42"/>
                  </a:cubicBezTo>
                  <a:cubicBezTo>
                    <a:pt x="122" y="40"/>
                    <a:pt x="122" y="40"/>
                    <a:pt x="122" y="40"/>
                  </a:cubicBezTo>
                  <a:cubicBezTo>
                    <a:pt x="123" y="41"/>
                    <a:pt x="123" y="41"/>
                    <a:pt x="123" y="41"/>
                  </a:cubicBezTo>
                  <a:cubicBezTo>
                    <a:pt x="123" y="41"/>
                    <a:pt x="124" y="42"/>
                    <a:pt x="124" y="43"/>
                  </a:cubicBezTo>
                  <a:cubicBezTo>
                    <a:pt x="124" y="43"/>
                    <a:pt x="125" y="42"/>
                    <a:pt x="125" y="42"/>
                  </a:cubicBezTo>
                  <a:cubicBezTo>
                    <a:pt x="126" y="40"/>
                    <a:pt x="128" y="38"/>
                    <a:pt x="130" y="37"/>
                  </a:cubicBezTo>
                  <a:cubicBezTo>
                    <a:pt x="129" y="35"/>
                    <a:pt x="128" y="33"/>
                    <a:pt x="127" y="31"/>
                  </a:cubicBezTo>
                  <a:cubicBezTo>
                    <a:pt x="126" y="29"/>
                    <a:pt x="126" y="28"/>
                    <a:pt x="125" y="26"/>
                  </a:cubicBezTo>
                  <a:cubicBezTo>
                    <a:pt x="123" y="24"/>
                    <a:pt x="125" y="22"/>
                    <a:pt x="126" y="20"/>
                  </a:cubicBezTo>
                  <a:cubicBezTo>
                    <a:pt x="123" y="18"/>
                    <a:pt x="119" y="11"/>
                    <a:pt x="116" y="10"/>
                  </a:cubicBezTo>
                  <a:cubicBezTo>
                    <a:pt x="110" y="8"/>
                    <a:pt x="103" y="5"/>
                    <a:pt x="96" y="3"/>
                  </a:cubicBezTo>
                  <a:cubicBezTo>
                    <a:pt x="91" y="1"/>
                    <a:pt x="87" y="0"/>
                    <a:pt x="81" y="0"/>
                  </a:cubicBezTo>
                  <a:cubicBezTo>
                    <a:pt x="81" y="0"/>
                    <a:pt x="81" y="0"/>
                    <a:pt x="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02" name="Freeform 273">
              <a:extLst>
                <a:ext uri="{FF2B5EF4-FFF2-40B4-BE49-F238E27FC236}">
                  <a16:creationId xmlns:a16="http://schemas.microsoft.com/office/drawing/2014/main" id="{C03527CE-1DA4-42C2-9C18-4CFC2E4BA5D9}"/>
                </a:ext>
              </a:extLst>
            </p:cNvPr>
            <p:cNvSpPr>
              <a:spLocks noEditPoints="1"/>
            </p:cNvSpPr>
            <p:nvPr/>
          </p:nvSpPr>
          <p:spPr bwMode="auto">
            <a:xfrm>
              <a:off x="5124620" y="0"/>
              <a:ext cx="1970117" cy="861487"/>
            </a:xfrm>
            <a:custGeom>
              <a:avLst/>
              <a:gdLst>
                <a:gd name="T0" fmla="*/ 482 w 590"/>
                <a:gd name="T1" fmla="*/ 157 h 258"/>
                <a:gd name="T2" fmla="*/ 3 w 590"/>
                <a:gd name="T3" fmla="*/ 0 h 258"/>
                <a:gd name="T4" fmla="*/ 14 w 590"/>
                <a:gd name="T5" fmla="*/ 20 h 258"/>
                <a:gd name="T6" fmla="*/ 62 w 590"/>
                <a:gd name="T7" fmla="*/ 54 h 258"/>
                <a:gd name="T8" fmla="*/ 54 w 590"/>
                <a:gd name="T9" fmla="*/ 32 h 258"/>
                <a:gd name="T10" fmla="*/ 43 w 590"/>
                <a:gd name="T11" fmla="*/ 28 h 258"/>
                <a:gd name="T12" fmla="*/ 336 w 590"/>
                <a:gd name="T13" fmla="*/ 0 h 258"/>
                <a:gd name="T14" fmla="*/ 101 w 590"/>
                <a:gd name="T15" fmla="*/ 20 h 258"/>
                <a:gd name="T16" fmla="*/ 107 w 590"/>
                <a:gd name="T17" fmla="*/ 21 h 258"/>
                <a:gd name="T18" fmla="*/ 126 w 590"/>
                <a:gd name="T19" fmla="*/ 43 h 258"/>
                <a:gd name="T20" fmla="*/ 158 w 590"/>
                <a:gd name="T21" fmla="*/ 108 h 258"/>
                <a:gd name="T22" fmla="*/ 152 w 590"/>
                <a:gd name="T23" fmla="*/ 119 h 258"/>
                <a:gd name="T24" fmla="*/ 210 w 590"/>
                <a:gd name="T25" fmla="*/ 173 h 258"/>
                <a:gd name="T26" fmla="*/ 238 w 590"/>
                <a:gd name="T27" fmla="*/ 179 h 258"/>
                <a:gd name="T28" fmla="*/ 323 w 590"/>
                <a:gd name="T29" fmla="*/ 220 h 258"/>
                <a:gd name="T30" fmla="*/ 365 w 590"/>
                <a:gd name="T31" fmla="*/ 234 h 258"/>
                <a:gd name="T32" fmla="*/ 402 w 590"/>
                <a:gd name="T33" fmla="*/ 221 h 258"/>
                <a:gd name="T34" fmla="*/ 407 w 590"/>
                <a:gd name="T35" fmla="*/ 218 h 258"/>
                <a:gd name="T36" fmla="*/ 414 w 590"/>
                <a:gd name="T37" fmla="*/ 220 h 258"/>
                <a:gd name="T38" fmla="*/ 461 w 590"/>
                <a:gd name="T39" fmla="*/ 258 h 258"/>
                <a:gd name="T40" fmla="*/ 462 w 590"/>
                <a:gd name="T41" fmla="*/ 251 h 258"/>
                <a:gd name="T42" fmla="*/ 462 w 590"/>
                <a:gd name="T43" fmla="*/ 241 h 258"/>
                <a:gd name="T44" fmla="*/ 470 w 590"/>
                <a:gd name="T45" fmla="*/ 227 h 258"/>
                <a:gd name="T46" fmla="*/ 489 w 590"/>
                <a:gd name="T47" fmla="*/ 221 h 258"/>
                <a:gd name="T48" fmla="*/ 503 w 590"/>
                <a:gd name="T49" fmla="*/ 218 h 258"/>
                <a:gd name="T50" fmla="*/ 493 w 590"/>
                <a:gd name="T51" fmla="*/ 210 h 258"/>
                <a:gd name="T52" fmla="*/ 480 w 590"/>
                <a:gd name="T53" fmla="*/ 198 h 258"/>
                <a:gd name="T54" fmla="*/ 495 w 590"/>
                <a:gd name="T55" fmla="*/ 179 h 258"/>
                <a:gd name="T56" fmla="*/ 532 w 590"/>
                <a:gd name="T57" fmla="*/ 180 h 258"/>
                <a:gd name="T58" fmla="*/ 534 w 590"/>
                <a:gd name="T59" fmla="*/ 177 h 258"/>
                <a:gd name="T60" fmla="*/ 541 w 590"/>
                <a:gd name="T61" fmla="*/ 177 h 258"/>
                <a:gd name="T62" fmla="*/ 546 w 590"/>
                <a:gd name="T63" fmla="*/ 169 h 258"/>
                <a:gd name="T64" fmla="*/ 556 w 590"/>
                <a:gd name="T65" fmla="*/ 164 h 258"/>
                <a:gd name="T66" fmla="*/ 574 w 590"/>
                <a:gd name="T67" fmla="*/ 147 h 258"/>
                <a:gd name="T68" fmla="*/ 572 w 590"/>
                <a:gd name="T69" fmla="*/ 144 h 258"/>
                <a:gd name="T70" fmla="*/ 574 w 590"/>
                <a:gd name="T71" fmla="*/ 130 h 258"/>
                <a:gd name="T72" fmla="*/ 585 w 590"/>
                <a:gd name="T73" fmla="*/ 93 h 258"/>
                <a:gd name="T74" fmla="*/ 573 w 590"/>
                <a:gd name="T75" fmla="*/ 94 h 258"/>
                <a:gd name="T76" fmla="*/ 515 w 590"/>
                <a:gd name="T77" fmla="*/ 101 h 258"/>
                <a:gd name="T78" fmla="*/ 498 w 590"/>
                <a:gd name="T79" fmla="*/ 143 h 258"/>
                <a:gd name="T80" fmla="*/ 484 w 590"/>
                <a:gd name="T81" fmla="*/ 160 h 258"/>
                <a:gd name="T82" fmla="*/ 473 w 590"/>
                <a:gd name="T83" fmla="*/ 169 h 258"/>
                <a:gd name="T84" fmla="*/ 468 w 590"/>
                <a:gd name="T85" fmla="*/ 161 h 258"/>
                <a:gd name="T86" fmla="*/ 441 w 590"/>
                <a:gd name="T87" fmla="*/ 168 h 258"/>
                <a:gd name="T88" fmla="*/ 402 w 590"/>
                <a:gd name="T89" fmla="*/ 165 h 258"/>
                <a:gd name="T90" fmla="*/ 386 w 590"/>
                <a:gd name="T91" fmla="*/ 161 h 258"/>
                <a:gd name="T92" fmla="*/ 376 w 590"/>
                <a:gd name="T93" fmla="*/ 158 h 258"/>
                <a:gd name="T94" fmla="*/ 358 w 590"/>
                <a:gd name="T95" fmla="*/ 125 h 258"/>
                <a:gd name="T96" fmla="*/ 343 w 590"/>
                <a:gd name="T97" fmla="*/ 96 h 258"/>
                <a:gd name="T98" fmla="*/ 334 w 590"/>
                <a:gd name="T99" fmla="*/ 53 h 258"/>
                <a:gd name="T100" fmla="*/ 336 w 590"/>
                <a:gd name="T101" fmla="*/ 0 h 258"/>
                <a:gd name="T102" fmla="*/ 340 w 590"/>
                <a:gd name="T103"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0" h="258">
                  <a:moveTo>
                    <a:pt x="482" y="157"/>
                  </a:moveTo>
                  <a:cubicBezTo>
                    <a:pt x="482" y="157"/>
                    <a:pt x="482" y="157"/>
                    <a:pt x="482" y="157"/>
                  </a:cubicBezTo>
                  <a:cubicBezTo>
                    <a:pt x="482" y="157"/>
                    <a:pt x="482" y="157"/>
                    <a:pt x="482" y="157"/>
                  </a:cubicBezTo>
                  <a:cubicBezTo>
                    <a:pt x="482" y="157"/>
                    <a:pt x="482" y="157"/>
                    <a:pt x="482" y="157"/>
                  </a:cubicBezTo>
                  <a:moveTo>
                    <a:pt x="482" y="157"/>
                  </a:moveTo>
                  <a:cubicBezTo>
                    <a:pt x="482" y="157"/>
                    <a:pt x="482" y="157"/>
                    <a:pt x="482" y="157"/>
                  </a:cubicBezTo>
                  <a:cubicBezTo>
                    <a:pt x="482" y="157"/>
                    <a:pt x="482" y="157"/>
                    <a:pt x="482" y="157"/>
                  </a:cubicBezTo>
                  <a:cubicBezTo>
                    <a:pt x="482" y="157"/>
                    <a:pt x="482" y="157"/>
                    <a:pt x="482" y="157"/>
                  </a:cubicBezTo>
                  <a:moveTo>
                    <a:pt x="29" y="0"/>
                  </a:moveTo>
                  <a:cubicBezTo>
                    <a:pt x="3" y="0"/>
                    <a:pt x="3" y="0"/>
                    <a:pt x="3" y="0"/>
                  </a:cubicBezTo>
                  <a:cubicBezTo>
                    <a:pt x="3" y="1"/>
                    <a:pt x="2" y="2"/>
                    <a:pt x="1" y="4"/>
                  </a:cubicBezTo>
                  <a:cubicBezTo>
                    <a:pt x="1" y="6"/>
                    <a:pt x="1" y="9"/>
                    <a:pt x="0" y="12"/>
                  </a:cubicBezTo>
                  <a:cubicBezTo>
                    <a:pt x="1" y="10"/>
                    <a:pt x="1" y="9"/>
                    <a:pt x="2" y="8"/>
                  </a:cubicBezTo>
                  <a:cubicBezTo>
                    <a:pt x="2" y="9"/>
                    <a:pt x="2" y="12"/>
                    <a:pt x="2" y="13"/>
                  </a:cubicBezTo>
                  <a:cubicBezTo>
                    <a:pt x="6" y="16"/>
                    <a:pt x="10" y="17"/>
                    <a:pt x="14" y="20"/>
                  </a:cubicBezTo>
                  <a:cubicBezTo>
                    <a:pt x="21" y="26"/>
                    <a:pt x="28" y="31"/>
                    <a:pt x="35" y="36"/>
                  </a:cubicBezTo>
                  <a:cubicBezTo>
                    <a:pt x="38" y="39"/>
                    <a:pt x="41" y="41"/>
                    <a:pt x="43" y="44"/>
                  </a:cubicBezTo>
                  <a:cubicBezTo>
                    <a:pt x="47" y="48"/>
                    <a:pt x="50" y="55"/>
                    <a:pt x="53" y="60"/>
                  </a:cubicBezTo>
                  <a:cubicBezTo>
                    <a:pt x="54" y="59"/>
                    <a:pt x="56" y="57"/>
                    <a:pt x="58" y="56"/>
                  </a:cubicBezTo>
                  <a:cubicBezTo>
                    <a:pt x="59" y="55"/>
                    <a:pt x="61" y="55"/>
                    <a:pt x="62" y="54"/>
                  </a:cubicBezTo>
                  <a:cubicBezTo>
                    <a:pt x="64" y="52"/>
                    <a:pt x="64" y="49"/>
                    <a:pt x="64" y="47"/>
                  </a:cubicBezTo>
                  <a:cubicBezTo>
                    <a:pt x="63" y="42"/>
                    <a:pt x="59" y="42"/>
                    <a:pt x="58" y="39"/>
                  </a:cubicBezTo>
                  <a:cubicBezTo>
                    <a:pt x="57" y="38"/>
                    <a:pt x="57" y="33"/>
                    <a:pt x="56" y="32"/>
                  </a:cubicBezTo>
                  <a:cubicBezTo>
                    <a:pt x="55" y="32"/>
                    <a:pt x="55" y="32"/>
                    <a:pt x="55" y="32"/>
                  </a:cubicBezTo>
                  <a:cubicBezTo>
                    <a:pt x="54" y="32"/>
                    <a:pt x="54" y="32"/>
                    <a:pt x="54" y="32"/>
                  </a:cubicBezTo>
                  <a:cubicBezTo>
                    <a:pt x="53" y="32"/>
                    <a:pt x="53" y="32"/>
                    <a:pt x="53" y="32"/>
                  </a:cubicBezTo>
                  <a:cubicBezTo>
                    <a:pt x="52" y="32"/>
                    <a:pt x="52" y="32"/>
                    <a:pt x="52" y="32"/>
                  </a:cubicBezTo>
                  <a:cubicBezTo>
                    <a:pt x="50" y="31"/>
                    <a:pt x="47" y="24"/>
                    <a:pt x="45" y="24"/>
                  </a:cubicBezTo>
                  <a:cubicBezTo>
                    <a:pt x="45" y="24"/>
                    <a:pt x="45" y="24"/>
                    <a:pt x="45" y="24"/>
                  </a:cubicBezTo>
                  <a:cubicBezTo>
                    <a:pt x="43" y="24"/>
                    <a:pt x="44" y="26"/>
                    <a:pt x="43" y="28"/>
                  </a:cubicBezTo>
                  <a:cubicBezTo>
                    <a:pt x="41" y="28"/>
                    <a:pt x="39" y="28"/>
                    <a:pt x="37" y="27"/>
                  </a:cubicBezTo>
                  <a:cubicBezTo>
                    <a:pt x="34" y="24"/>
                    <a:pt x="35" y="18"/>
                    <a:pt x="35" y="15"/>
                  </a:cubicBezTo>
                  <a:cubicBezTo>
                    <a:pt x="35" y="10"/>
                    <a:pt x="32" y="6"/>
                    <a:pt x="30" y="1"/>
                  </a:cubicBezTo>
                  <a:cubicBezTo>
                    <a:pt x="29" y="1"/>
                    <a:pt x="29" y="0"/>
                    <a:pt x="29" y="0"/>
                  </a:cubicBezTo>
                  <a:moveTo>
                    <a:pt x="336" y="0"/>
                  </a:moveTo>
                  <a:cubicBezTo>
                    <a:pt x="84" y="0"/>
                    <a:pt x="84" y="0"/>
                    <a:pt x="84" y="0"/>
                  </a:cubicBezTo>
                  <a:cubicBezTo>
                    <a:pt x="87" y="1"/>
                    <a:pt x="90" y="2"/>
                    <a:pt x="92" y="4"/>
                  </a:cubicBezTo>
                  <a:cubicBezTo>
                    <a:pt x="94" y="6"/>
                    <a:pt x="95" y="7"/>
                    <a:pt x="97" y="9"/>
                  </a:cubicBezTo>
                  <a:cubicBezTo>
                    <a:pt x="98" y="9"/>
                    <a:pt x="97" y="12"/>
                    <a:pt x="97" y="13"/>
                  </a:cubicBezTo>
                  <a:cubicBezTo>
                    <a:pt x="98" y="15"/>
                    <a:pt x="98" y="19"/>
                    <a:pt x="101" y="20"/>
                  </a:cubicBezTo>
                  <a:cubicBezTo>
                    <a:pt x="101" y="19"/>
                    <a:pt x="100" y="19"/>
                    <a:pt x="100" y="18"/>
                  </a:cubicBezTo>
                  <a:cubicBezTo>
                    <a:pt x="101" y="19"/>
                    <a:pt x="102" y="20"/>
                    <a:pt x="104" y="21"/>
                  </a:cubicBezTo>
                  <a:cubicBezTo>
                    <a:pt x="105" y="21"/>
                    <a:pt x="105" y="21"/>
                    <a:pt x="106" y="21"/>
                  </a:cubicBezTo>
                  <a:cubicBezTo>
                    <a:pt x="106" y="21"/>
                    <a:pt x="106" y="21"/>
                    <a:pt x="106" y="21"/>
                  </a:cubicBezTo>
                  <a:cubicBezTo>
                    <a:pt x="107" y="21"/>
                    <a:pt x="107" y="21"/>
                    <a:pt x="107" y="21"/>
                  </a:cubicBezTo>
                  <a:cubicBezTo>
                    <a:pt x="107" y="20"/>
                    <a:pt x="108" y="20"/>
                    <a:pt x="108" y="20"/>
                  </a:cubicBezTo>
                  <a:cubicBezTo>
                    <a:pt x="108" y="20"/>
                    <a:pt x="108" y="20"/>
                    <a:pt x="108" y="20"/>
                  </a:cubicBezTo>
                  <a:cubicBezTo>
                    <a:pt x="110" y="21"/>
                    <a:pt x="108" y="23"/>
                    <a:pt x="107" y="23"/>
                  </a:cubicBezTo>
                  <a:cubicBezTo>
                    <a:pt x="107" y="23"/>
                    <a:pt x="107" y="23"/>
                    <a:pt x="107" y="23"/>
                  </a:cubicBezTo>
                  <a:cubicBezTo>
                    <a:pt x="114" y="29"/>
                    <a:pt x="120" y="35"/>
                    <a:pt x="126" y="43"/>
                  </a:cubicBezTo>
                  <a:cubicBezTo>
                    <a:pt x="133" y="52"/>
                    <a:pt x="140" y="59"/>
                    <a:pt x="148" y="67"/>
                  </a:cubicBezTo>
                  <a:cubicBezTo>
                    <a:pt x="151" y="70"/>
                    <a:pt x="152" y="76"/>
                    <a:pt x="152" y="80"/>
                  </a:cubicBezTo>
                  <a:cubicBezTo>
                    <a:pt x="152" y="85"/>
                    <a:pt x="157" y="90"/>
                    <a:pt x="159" y="93"/>
                  </a:cubicBezTo>
                  <a:cubicBezTo>
                    <a:pt x="161" y="96"/>
                    <a:pt x="162" y="96"/>
                    <a:pt x="161" y="98"/>
                  </a:cubicBezTo>
                  <a:cubicBezTo>
                    <a:pt x="160" y="101"/>
                    <a:pt x="159" y="105"/>
                    <a:pt x="158" y="108"/>
                  </a:cubicBezTo>
                  <a:cubicBezTo>
                    <a:pt x="157" y="109"/>
                    <a:pt x="156" y="110"/>
                    <a:pt x="154" y="111"/>
                  </a:cubicBezTo>
                  <a:cubicBezTo>
                    <a:pt x="156" y="112"/>
                    <a:pt x="157" y="112"/>
                    <a:pt x="159" y="112"/>
                  </a:cubicBezTo>
                  <a:cubicBezTo>
                    <a:pt x="159" y="113"/>
                    <a:pt x="160" y="113"/>
                    <a:pt x="161" y="113"/>
                  </a:cubicBezTo>
                  <a:cubicBezTo>
                    <a:pt x="160" y="115"/>
                    <a:pt x="162" y="116"/>
                    <a:pt x="160" y="116"/>
                  </a:cubicBezTo>
                  <a:cubicBezTo>
                    <a:pt x="158" y="117"/>
                    <a:pt x="153" y="118"/>
                    <a:pt x="152" y="119"/>
                  </a:cubicBezTo>
                  <a:cubicBezTo>
                    <a:pt x="150" y="123"/>
                    <a:pt x="159" y="134"/>
                    <a:pt x="160" y="137"/>
                  </a:cubicBezTo>
                  <a:cubicBezTo>
                    <a:pt x="164" y="143"/>
                    <a:pt x="169" y="147"/>
                    <a:pt x="175" y="150"/>
                  </a:cubicBezTo>
                  <a:cubicBezTo>
                    <a:pt x="180" y="153"/>
                    <a:pt x="186" y="155"/>
                    <a:pt x="191" y="158"/>
                  </a:cubicBezTo>
                  <a:cubicBezTo>
                    <a:pt x="196" y="161"/>
                    <a:pt x="198" y="165"/>
                    <a:pt x="201" y="169"/>
                  </a:cubicBezTo>
                  <a:cubicBezTo>
                    <a:pt x="203" y="171"/>
                    <a:pt x="206" y="172"/>
                    <a:pt x="210" y="173"/>
                  </a:cubicBezTo>
                  <a:cubicBezTo>
                    <a:pt x="217" y="176"/>
                    <a:pt x="224" y="178"/>
                    <a:pt x="231" y="180"/>
                  </a:cubicBezTo>
                  <a:cubicBezTo>
                    <a:pt x="231" y="180"/>
                    <a:pt x="231" y="180"/>
                    <a:pt x="232" y="180"/>
                  </a:cubicBezTo>
                  <a:cubicBezTo>
                    <a:pt x="233" y="180"/>
                    <a:pt x="233" y="179"/>
                    <a:pt x="234" y="179"/>
                  </a:cubicBezTo>
                  <a:cubicBezTo>
                    <a:pt x="235" y="179"/>
                    <a:pt x="235" y="179"/>
                    <a:pt x="236" y="179"/>
                  </a:cubicBezTo>
                  <a:cubicBezTo>
                    <a:pt x="237" y="179"/>
                    <a:pt x="237" y="179"/>
                    <a:pt x="238" y="179"/>
                  </a:cubicBezTo>
                  <a:cubicBezTo>
                    <a:pt x="243" y="183"/>
                    <a:pt x="248" y="187"/>
                    <a:pt x="253" y="191"/>
                  </a:cubicBezTo>
                  <a:cubicBezTo>
                    <a:pt x="264" y="198"/>
                    <a:pt x="277" y="201"/>
                    <a:pt x="289" y="207"/>
                  </a:cubicBezTo>
                  <a:cubicBezTo>
                    <a:pt x="295" y="210"/>
                    <a:pt x="301" y="211"/>
                    <a:pt x="307" y="213"/>
                  </a:cubicBezTo>
                  <a:cubicBezTo>
                    <a:pt x="311" y="213"/>
                    <a:pt x="312" y="213"/>
                    <a:pt x="314" y="216"/>
                  </a:cubicBezTo>
                  <a:cubicBezTo>
                    <a:pt x="317" y="219"/>
                    <a:pt x="319" y="219"/>
                    <a:pt x="323" y="220"/>
                  </a:cubicBezTo>
                  <a:cubicBezTo>
                    <a:pt x="325" y="221"/>
                    <a:pt x="328" y="222"/>
                    <a:pt x="330" y="224"/>
                  </a:cubicBezTo>
                  <a:cubicBezTo>
                    <a:pt x="334" y="226"/>
                    <a:pt x="336" y="226"/>
                    <a:pt x="340" y="227"/>
                  </a:cubicBezTo>
                  <a:cubicBezTo>
                    <a:pt x="343" y="227"/>
                    <a:pt x="345" y="227"/>
                    <a:pt x="348" y="228"/>
                  </a:cubicBezTo>
                  <a:cubicBezTo>
                    <a:pt x="351" y="229"/>
                    <a:pt x="353" y="231"/>
                    <a:pt x="355" y="232"/>
                  </a:cubicBezTo>
                  <a:cubicBezTo>
                    <a:pt x="359" y="233"/>
                    <a:pt x="362" y="234"/>
                    <a:pt x="365" y="234"/>
                  </a:cubicBezTo>
                  <a:cubicBezTo>
                    <a:pt x="367" y="234"/>
                    <a:pt x="369" y="233"/>
                    <a:pt x="372" y="232"/>
                  </a:cubicBezTo>
                  <a:cubicBezTo>
                    <a:pt x="377" y="231"/>
                    <a:pt x="382" y="228"/>
                    <a:pt x="387" y="227"/>
                  </a:cubicBezTo>
                  <a:cubicBezTo>
                    <a:pt x="390" y="226"/>
                    <a:pt x="391" y="223"/>
                    <a:pt x="394" y="223"/>
                  </a:cubicBezTo>
                  <a:cubicBezTo>
                    <a:pt x="396" y="222"/>
                    <a:pt x="398" y="221"/>
                    <a:pt x="400" y="221"/>
                  </a:cubicBezTo>
                  <a:cubicBezTo>
                    <a:pt x="400" y="221"/>
                    <a:pt x="401" y="221"/>
                    <a:pt x="402" y="221"/>
                  </a:cubicBezTo>
                  <a:cubicBezTo>
                    <a:pt x="402" y="221"/>
                    <a:pt x="402" y="221"/>
                    <a:pt x="402" y="221"/>
                  </a:cubicBezTo>
                  <a:cubicBezTo>
                    <a:pt x="401" y="220"/>
                    <a:pt x="399" y="220"/>
                    <a:pt x="397" y="219"/>
                  </a:cubicBezTo>
                  <a:cubicBezTo>
                    <a:pt x="399" y="218"/>
                    <a:pt x="401" y="217"/>
                    <a:pt x="403" y="216"/>
                  </a:cubicBezTo>
                  <a:cubicBezTo>
                    <a:pt x="403" y="219"/>
                    <a:pt x="403" y="219"/>
                    <a:pt x="404" y="219"/>
                  </a:cubicBezTo>
                  <a:cubicBezTo>
                    <a:pt x="405" y="219"/>
                    <a:pt x="406" y="219"/>
                    <a:pt x="407" y="218"/>
                  </a:cubicBezTo>
                  <a:cubicBezTo>
                    <a:pt x="407" y="219"/>
                    <a:pt x="407" y="221"/>
                    <a:pt x="405" y="221"/>
                  </a:cubicBezTo>
                  <a:cubicBezTo>
                    <a:pt x="407" y="222"/>
                    <a:pt x="410" y="222"/>
                    <a:pt x="412" y="222"/>
                  </a:cubicBezTo>
                  <a:cubicBezTo>
                    <a:pt x="415" y="222"/>
                    <a:pt x="418" y="224"/>
                    <a:pt x="420" y="225"/>
                  </a:cubicBezTo>
                  <a:cubicBezTo>
                    <a:pt x="420" y="222"/>
                    <a:pt x="415" y="222"/>
                    <a:pt x="412" y="221"/>
                  </a:cubicBezTo>
                  <a:cubicBezTo>
                    <a:pt x="413" y="220"/>
                    <a:pt x="413" y="220"/>
                    <a:pt x="414" y="220"/>
                  </a:cubicBezTo>
                  <a:cubicBezTo>
                    <a:pt x="417" y="220"/>
                    <a:pt x="423" y="224"/>
                    <a:pt x="425" y="226"/>
                  </a:cubicBezTo>
                  <a:cubicBezTo>
                    <a:pt x="430" y="230"/>
                    <a:pt x="435" y="234"/>
                    <a:pt x="440" y="238"/>
                  </a:cubicBezTo>
                  <a:cubicBezTo>
                    <a:pt x="442" y="240"/>
                    <a:pt x="444" y="242"/>
                    <a:pt x="445" y="243"/>
                  </a:cubicBezTo>
                  <a:cubicBezTo>
                    <a:pt x="447" y="244"/>
                    <a:pt x="450" y="245"/>
                    <a:pt x="451" y="246"/>
                  </a:cubicBezTo>
                  <a:cubicBezTo>
                    <a:pt x="454" y="251"/>
                    <a:pt x="457" y="255"/>
                    <a:pt x="461" y="258"/>
                  </a:cubicBezTo>
                  <a:cubicBezTo>
                    <a:pt x="462" y="257"/>
                    <a:pt x="462" y="257"/>
                    <a:pt x="462" y="257"/>
                  </a:cubicBezTo>
                  <a:cubicBezTo>
                    <a:pt x="462" y="257"/>
                    <a:pt x="462" y="257"/>
                    <a:pt x="462" y="257"/>
                  </a:cubicBezTo>
                  <a:cubicBezTo>
                    <a:pt x="462" y="256"/>
                    <a:pt x="462" y="256"/>
                    <a:pt x="462" y="256"/>
                  </a:cubicBezTo>
                  <a:cubicBezTo>
                    <a:pt x="461" y="255"/>
                    <a:pt x="461" y="255"/>
                    <a:pt x="461" y="255"/>
                  </a:cubicBezTo>
                  <a:cubicBezTo>
                    <a:pt x="461" y="254"/>
                    <a:pt x="461" y="253"/>
                    <a:pt x="462" y="251"/>
                  </a:cubicBezTo>
                  <a:cubicBezTo>
                    <a:pt x="462" y="251"/>
                    <a:pt x="462" y="251"/>
                    <a:pt x="462" y="251"/>
                  </a:cubicBezTo>
                  <a:cubicBezTo>
                    <a:pt x="462" y="251"/>
                    <a:pt x="462" y="250"/>
                    <a:pt x="463" y="248"/>
                  </a:cubicBezTo>
                  <a:cubicBezTo>
                    <a:pt x="463" y="248"/>
                    <a:pt x="463" y="248"/>
                    <a:pt x="463" y="248"/>
                  </a:cubicBezTo>
                  <a:cubicBezTo>
                    <a:pt x="462" y="246"/>
                    <a:pt x="461" y="244"/>
                    <a:pt x="462" y="242"/>
                  </a:cubicBezTo>
                  <a:cubicBezTo>
                    <a:pt x="462" y="241"/>
                    <a:pt x="462" y="241"/>
                    <a:pt x="462" y="241"/>
                  </a:cubicBezTo>
                  <a:cubicBezTo>
                    <a:pt x="462" y="241"/>
                    <a:pt x="462" y="241"/>
                    <a:pt x="462" y="241"/>
                  </a:cubicBezTo>
                  <a:cubicBezTo>
                    <a:pt x="462" y="240"/>
                    <a:pt x="462" y="240"/>
                    <a:pt x="462" y="240"/>
                  </a:cubicBezTo>
                  <a:cubicBezTo>
                    <a:pt x="463" y="239"/>
                    <a:pt x="463" y="239"/>
                    <a:pt x="463" y="239"/>
                  </a:cubicBezTo>
                  <a:cubicBezTo>
                    <a:pt x="464" y="236"/>
                    <a:pt x="467" y="232"/>
                    <a:pt x="469" y="229"/>
                  </a:cubicBezTo>
                  <a:cubicBezTo>
                    <a:pt x="470" y="227"/>
                    <a:pt x="470" y="227"/>
                    <a:pt x="470" y="227"/>
                  </a:cubicBezTo>
                  <a:cubicBezTo>
                    <a:pt x="471" y="226"/>
                    <a:pt x="472" y="225"/>
                    <a:pt x="473" y="224"/>
                  </a:cubicBezTo>
                  <a:cubicBezTo>
                    <a:pt x="474" y="224"/>
                    <a:pt x="474" y="223"/>
                    <a:pt x="475" y="223"/>
                  </a:cubicBezTo>
                  <a:cubicBezTo>
                    <a:pt x="477" y="222"/>
                    <a:pt x="478" y="222"/>
                    <a:pt x="480" y="222"/>
                  </a:cubicBezTo>
                  <a:cubicBezTo>
                    <a:pt x="482" y="221"/>
                    <a:pt x="484" y="221"/>
                    <a:pt x="486" y="221"/>
                  </a:cubicBezTo>
                  <a:cubicBezTo>
                    <a:pt x="487" y="221"/>
                    <a:pt x="488" y="221"/>
                    <a:pt x="489" y="221"/>
                  </a:cubicBezTo>
                  <a:cubicBezTo>
                    <a:pt x="490" y="221"/>
                    <a:pt x="491" y="221"/>
                    <a:pt x="492" y="221"/>
                  </a:cubicBezTo>
                  <a:cubicBezTo>
                    <a:pt x="502" y="221"/>
                    <a:pt x="502" y="221"/>
                    <a:pt x="502" y="221"/>
                  </a:cubicBezTo>
                  <a:cubicBezTo>
                    <a:pt x="502" y="220"/>
                    <a:pt x="502" y="220"/>
                    <a:pt x="502" y="220"/>
                  </a:cubicBezTo>
                  <a:cubicBezTo>
                    <a:pt x="503" y="220"/>
                    <a:pt x="503" y="220"/>
                    <a:pt x="503" y="220"/>
                  </a:cubicBezTo>
                  <a:cubicBezTo>
                    <a:pt x="503" y="219"/>
                    <a:pt x="503" y="219"/>
                    <a:pt x="503" y="218"/>
                  </a:cubicBezTo>
                  <a:cubicBezTo>
                    <a:pt x="503" y="218"/>
                    <a:pt x="503" y="218"/>
                    <a:pt x="503" y="218"/>
                  </a:cubicBezTo>
                  <a:cubicBezTo>
                    <a:pt x="502" y="218"/>
                    <a:pt x="502" y="218"/>
                    <a:pt x="502" y="218"/>
                  </a:cubicBezTo>
                  <a:cubicBezTo>
                    <a:pt x="502" y="218"/>
                    <a:pt x="501" y="217"/>
                    <a:pt x="501" y="217"/>
                  </a:cubicBezTo>
                  <a:cubicBezTo>
                    <a:pt x="498" y="215"/>
                    <a:pt x="495" y="213"/>
                    <a:pt x="493" y="210"/>
                  </a:cubicBezTo>
                  <a:cubicBezTo>
                    <a:pt x="493" y="210"/>
                    <a:pt x="493" y="210"/>
                    <a:pt x="493" y="210"/>
                  </a:cubicBezTo>
                  <a:cubicBezTo>
                    <a:pt x="493" y="210"/>
                    <a:pt x="493" y="210"/>
                    <a:pt x="493" y="210"/>
                  </a:cubicBezTo>
                  <a:cubicBezTo>
                    <a:pt x="492" y="209"/>
                    <a:pt x="491" y="208"/>
                    <a:pt x="490" y="207"/>
                  </a:cubicBezTo>
                  <a:cubicBezTo>
                    <a:pt x="489" y="207"/>
                    <a:pt x="489" y="206"/>
                    <a:pt x="488" y="206"/>
                  </a:cubicBezTo>
                  <a:cubicBezTo>
                    <a:pt x="485" y="203"/>
                    <a:pt x="485" y="203"/>
                    <a:pt x="485" y="203"/>
                  </a:cubicBezTo>
                  <a:cubicBezTo>
                    <a:pt x="483" y="201"/>
                    <a:pt x="482" y="200"/>
                    <a:pt x="480" y="198"/>
                  </a:cubicBezTo>
                  <a:cubicBezTo>
                    <a:pt x="473" y="193"/>
                    <a:pt x="473" y="193"/>
                    <a:pt x="473" y="193"/>
                  </a:cubicBezTo>
                  <a:cubicBezTo>
                    <a:pt x="489" y="193"/>
                    <a:pt x="489" y="193"/>
                    <a:pt x="489" y="193"/>
                  </a:cubicBezTo>
                  <a:cubicBezTo>
                    <a:pt x="489" y="193"/>
                    <a:pt x="489" y="193"/>
                    <a:pt x="489" y="193"/>
                  </a:cubicBezTo>
                  <a:cubicBezTo>
                    <a:pt x="488" y="186"/>
                    <a:pt x="488" y="182"/>
                    <a:pt x="490" y="181"/>
                  </a:cubicBezTo>
                  <a:cubicBezTo>
                    <a:pt x="491" y="180"/>
                    <a:pt x="492" y="179"/>
                    <a:pt x="495" y="179"/>
                  </a:cubicBezTo>
                  <a:cubicBezTo>
                    <a:pt x="496" y="179"/>
                    <a:pt x="498" y="179"/>
                    <a:pt x="500" y="179"/>
                  </a:cubicBezTo>
                  <a:cubicBezTo>
                    <a:pt x="501" y="180"/>
                    <a:pt x="501" y="180"/>
                    <a:pt x="501" y="180"/>
                  </a:cubicBezTo>
                  <a:cubicBezTo>
                    <a:pt x="501" y="180"/>
                    <a:pt x="502" y="180"/>
                    <a:pt x="502" y="180"/>
                  </a:cubicBezTo>
                  <a:cubicBezTo>
                    <a:pt x="517" y="180"/>
                    <a:pt x="517" y="180"/>
                    <a:pt x="517" y="180"/>
                  </a:cubicBezTo>
                  <a:cubicBezTo>
                    <a:pt x="522" y="180"/>
                    <a:pt x="527" y="180"/>
                    <a:pt x="532" y="180"/>
                  </a:cubicBezTo>
                  <a:cubicBezTo>
                    <a:pt x="532" y="179"/>
                    <a:pt x="532" y="179"/>
                    <a:pt x="532" y="179"/>
                  </a:cubicBezTo>
                  <a:cubicBezTo>
                    <a:pt x="532" y="179"/>
                    <a:pt x="532" y="179"/>
                    <a:pt x="532" y="179"/>
                  </a:cubicBezTo>
                  <a:cubicBezTo>
                    <a:pt x="533" y="179"/>
                    <a:pt x="533" y="179"/>
                    <a:pt x="533" y="179"/>
                  </a:cubicBezTo>
                  <a:cubicBezTo>
                    <a:pt x="534" y="178"/>
                    <a:pt x="534" y="178"/>
                    <a:pt x="534" y="178"/>
                  </a:cubicBezTo>
                  <a:cubicBezTo>
                    <a:pt x="534" y="177"/>
                    <a:pt x="534" y="177"/>
                    <a:pt x="534" y="177"/>
                  </a:cubicBezTo>
                  <a:cubicBezTo>
                    <a:pt x="535" y="177"/>
                    <a:pt x="535" y="177"/>
                    <a:pt x="536" y="177"/>
                  </a:cubicBezTo>
                  <a:cubicBezTo>
                    <a:pt x="536" y="176"/>
                    <a:pt x="537" y="176"/>
                    <a:pt x="538" y="176"/>
                  </a:cubicBezTo>
                  <a:cubicBezTo>
                    <a:pt x="538" y="176"/>
                    <a:pt x="538" y="176"/>
                    <a:pt x="538" y="176"/>
                  </a:cubicBezTo>
                  <a:cubicBezTo>
                    <a:pt x="539" y="177"/>
                    <a:pt x="540" y="177"/>
                    <a:pt x="540" y="177"/>
                  </a:cubicBezTo>
                  <a:cubicBezTo>
                    <a:pt x="541" y="177"/>
                    <a:pt x="541" y="177"/>
                    <a:pt x="541" y="177"/>
                  </a:cubicBezTo>
                  <a:cubicBezTo>
                    <a:pt x="541" y="177"/>
                    <a:pt x="541" y="177"/>
                    <a:pt x="542" y="175"/>
                  </a:cubicBezTo>
                  <a:cubicBezTo>
                    <a:pt x="543" y="174"/>
                    <a:pt x="544" y="173"/>
                    <a:pt x="544" y="172"/>
                  </a:cubicBezTo>
                  <a:cubicBezTo>
                    <a:pt x="544" y="171"/>
                    <a:pt x="544" y="171"/>
                    <a:pt x="544" y="171"/>
                  </a:cubicBezTo>
                  <a:cubicBezTo>
                    <a:pt x="545" y="171"/>
                    <a:pt x="545" y="171"/>
                    <a:pt x="545" y="171"/>
                  </a:cubicBezTo>
                  <a:cubicBezTo>
                    <a:pt x="546" y="169"/>
                    <a:pt x="546" y="169"/>
                    <a:pt x="546" y="169"/>
                  </a:cubicBezTo>
                  <a:cubicBezTo>
                    <a:pt x="547" y="165"/>
                    <a:pt x="550" y="164"/>
                    <a:pt x="551" y="164"/>
                  </a:cubicBezTo>
                  <a:cubicBezTo>
                    <a:pt x="552" y="164"/>
                    <a:pt x="552" y="164"/>
                    <a:pt x="552" y="164"/>
                  </a:cubicBezTo>
                  <a:cubicBezTo>
                    <a:pt x="553" y="164"/>
                    <a:pt x="554" y="164"/>
                    <a:pt x="555" y="164"/>
                  </a:cubicBezTo>
                  <a:cubicBezTo>
                    <a:pt x="556" y="164"/>
                    <a:pt x="556" y="164"/>
                    <a:pt x="556" y="164"/>
                  </a:cubicBezTo>
                  <a:cubicBezTo>
                    <a:pt x="556" y="164"/>
                    <a:pt x="556" y="164"/>
                    <a:pt x="556" y="164"/>
                  </a:cubicBezTo>
                  <a:cubicBezTo>
                    <a:pt x="557" y="163"/>
                    <a:pt x="558" y="162"/>
                    <a:pt x="557" y="160"/>
                  </a:cubicBezTo>
                  <a:cubicBezTo>
                    <a:pt x="558" y="160"/>
                    <a:pt x="559" y="159"/>
                    <a:pt x="560" y="158"/>
                  </a:cubicBezTo>
                  <a:cubicBezTo>
                    <a:pt x="560" y="160"/>
                    <a:pt x="559" y="164"/>
                    <a:pt x="559" y="166"/>
                  </a:cubicBezTo>
                  <a:cubicBezTo>
                    <a:pt x="560" y="169"/>
                    <a:pt x="563" y="172"/>
                    <a:pt x="565" y="174"/>
                  </a:cubicBezTo>
                  <a:cubicBezTo>
                    <a:pt x="567" y="165"/>
                    <a:pt x="568" y="154"/>
                    <a:pt x="574" y="147"/>
                  </a:cubicBezTo>
                  <a:cubicBezTo>
                    <a:pt x="573" y="147"/>
                    <a:pt x="573" y="147"/>
                    <a:pt x="572" y="147"/>
                  </a:cubicBezTo>
                  <a:cubicBezTo>
                    <a:pt x="571" y="147"/>
                    <a:pt x="571" y="148"/>
                    <a:pt x="570" y="149"/>
                  </a:cubicBezTo>
                  <a:cubicBezTo>
                    <a:pt x="570" y="149"/>
                    <a:pt x="570" y="149"/>
                    <a:pt x="569" y="149"/>
                  </a:cubicBezTo>
                  <a:cubicBezTo>
                    <a:pt x="567" y="149"/>
                    <a:pt x="571" y="145"/>
                    <a:pt x="572" y="144"/>
                  </a:cubicBezTo>
                  <a:cubicBezTo>
                    <a:pt x="572" y="144"/>
                    <a:pt x="572" y="144"/>
                    <a:pt x="572" y="144"/>
                  </a:cubicBezTo>
                  <a:cubicBezTo>
                    <a:pt x="574" y="144"/>
                    <a:pt x="575" y="142"/>
                    <a:pt x="575" y="140"/>
                  </a:cubicBezTo>
                  <a:cubicBezTo>
                    <a:pt x="574" y="141"/>
                    <a:pt x="572" y="141"/>
                    <a:pt x="570" y="141"/>
                  </a:cubicBezTo>
                  <a:cubicBezTo>
                    <a:pt x="568" y="141"/>
                    <a:pt x="567" y="141"/>
                    <a:pt x="567" y="138"/>
                  </a:cubicBezTo>
                  <a:cubicBezTo>
                    <a:pt x="568" y="136"/>
                    <a:pt x="572" y="136"/>
                    <a:pt x="573" y="135"/>
                  </a:cubicBezTo>
                  <a:cubicBezTo>
                    <a:pt x="574" y="134"/>
                    <a:pt x="573" y="131"/>
                    <a:pt x="574" y="130"/>
                  </a:cubicBezTo>
                  <a:cubicBezTo>
                    <a:pt x="574" y="129"/>
                    <a:pt x="573" y="127"/>
                    <a:pt x="574" y="126"/>
                  </a:cubicBezTo>
                  <a:cubicBezTo>
                    <a:pt x="576" y="121"/>
                    <a:pt x="582" y="117"/>
                    <a:pt x="585" y="112"/>
                  </a:cubicBezTo>
                  <a:cubicBezTo>
                    <a:pt x="587" y="109"/>
                    <a:pt x="588" y="106"/>
                    <a:pt x="590" y="103"/>
                  </a:cubicBezTo>
                  <a:cubicBezTo>
                    <a:pt x="590" y="103"/>
                    <a:pt x="589" y="99"/>
                    <a:pt x="589" y="98"/>
                  </a:cubicBezTo>
                  <a:cubicBezTo>
                    <a:pt x="588" y="96"/>
                    <a:pt x="587" y="94"/>
                    <a:pt x="585" y="93"/>
                  </a:cubicBezTo>
                  <a:cubicBezTo>
                    <a:pt x="584" y="92"/>
                    <a:pt x="584" y="92"/>
                    <a:pt x="583" y="92"/>
                  </a:cubicBezTo>
                  <a:cubicBezTo>
                    <a:pt x="582" y="92"/>
                    <a:pt x="581" y="93"/>
                    <a:pt x="579" y="93"/>
                  </a:cubicBezTo>
                  <a:cubicBezTo>
                    <a:pt x="579" y="93"/>
                    <a:pt x="577" y="92"/>
                    <a:pt x="576" y="92"/>
                  </a:cubicBezTo>
                  <a:cubicBezTo>
                    <a:pt x="576" y="92"/>
                    <a:pt x="576" y="92"/>
                    <a:pt x="576" y="92"/>
                  </a:cubicBezTo>
                  <a:cubicBezTo>
                    <a:pt x="575" y="92"/>
                    <a:pt x="574" y="93"/>
                    <a:pt x="573" y="94"/>
                  </a:cubicBezTo>
                  <a:cubicBezTo>
                    <a:pt x="569" y="93"/>
                    <a:pt x="565" y="92"/>
                    <a:pt x="561" y="92"/>
                  </a:cubicBezTo>
                  <a:cubicBezTo>
                    <a:pt x="559" y="92"/>
                    <a:pt x="558" y="92"/>
                    <a:pt x="557" y="92"/>
                  </a:cubicBezTo>
                  <a:cubicBezTo>
                    <a:pt x="552" y="92"/>
                    <a:pt x="547" y="94"/>
                    <a:pt x="541" y="96"/>
                  </a:cubicBezTo>
                  <a:cubicBezTo>
                    <a:pt x="536" y="98"/>
                    <a:pt x="529" y="98"/>
                    <a:pt x="523" y="99"/>
                  </a:cubicBezTo>
                  <a:cubicBezTo>
                    <a:pt x="520" y="99"/>
                    <a:pt x="517" y="100"/>
                    <a:pt x="515" y="101"/>
                  </a:cubicBezTo>
                  <a:cubicBezTo>
                    <a:pt x="512" y="103"/>
                    <a:pt x="507" y="106"/>
                    <a:pt x="506" y="109"/>
                  </a:cubicBezTo>
                  <a:cubicBezTo>
                    <a:pt x="505" y="112"/>
                    <a:pt x="505" y="116"/>
                    <a:pt x="504" y="119"/>
                  </a:cubicBezTo>
                  <a:cubicBezTo>
                    <a:pt x="503" y="122"/>
                    <a:pt x="504" y="126"/>
                    <a:pt x="503" y="128"/>
                  </a:cubicBezTo>
                  <a:cubicBezTo>
                    <a:pt x="503" y="131"/>
                    <a:pt x="499" y="133"/>
                    <a:pt x="499" y="136"/>
                  </a:cubicBezTo>
                  <a:cubicBezTo>
                    <a:pt x="499" y="138"/>
                    <a:pt x="499" y="141"/>
                    <a:pt x="498" y="143"/>
                  </a:cubicBezTo>
                  <a:cubicBezTo>
                    <a:pt x="498" y="145"/>
                    <a:pt x="498" y="146"/>
                    <a:pt x="496" y="147"/>
                  </a:cubicBezTo>
                  <a:cubicBezTo>
                    <a:pt x="495" y="148"/>
                    <a:pt x="484" y="156"/>
                    <a:pt x="482" y="157"/>
                  </a:cubicBezTo>
                  <a:cubicBezTo>
                    <a:pt x="483" y="156"/>
                    <a:pt x="485" y="156"/>
                    <a:pt x="486" y="155"/>
                  </a:cubicBezTo>
                  <a:cubicBezTo>
                    <a:pt x="485" y="157"/>
                    <a:pt x="484" y="158"/>
                    <a:pt x="483" y="160"/>
                  </a:cubicBezTo>
                  <a:cubicBezTo>
                    <a:pt x="484" y="160"/>
                    <a:pt x="484" y="160"/>
                    <a:pt x="484" y="160"/>
                  </a:cubicBezTo>
                  <a:cubicBezTo>
                    <a:pt x="484" y="160"/>
                    <a:pt x="484" y="160"/>
                    <a:pt x="485" y="160"/>
                  </a:cubicBezTo>
                  <a:cubicBezTo>
                    <a:pt x="486" y="160"/>
                    <a:pt x="485" y="162"/>
                    <a:pt x="485" y="163"/>
                  </a:cubicBezTo>
                  <a:cubicBezTo>
                    <a:pt x="486" y="163"/>
                    <a:pt x="487" y="163"/>
                    <a:pt x="487" y="162"/>
                  </a:cubicBezTo>
                  <a:cubicBezTo>
                    <a:pt x="483" y="165"/>
                    <a:pt x="478" y="167"/>
                    <a:pt x="474" y="168"/>
                  </a:cubicBezTo>
                  <a:cubicBezTo>
                    <a:pt x="474" y="169"/>
                    <a:pt x="473" y="169"/>
                    <a:pt x="473" y="169"/>
                  </a:cubicBezTo>
                  <a:cubicBezTo>
                    <a:pt x="471" y="169"/>
                    <a:pt x="471" y="164"/>
                    <a:pt x="468" y="163"/>
                  </a:cubicBezTo>
                  <a:cubicBezTo>
                    <a:pt x="469" y="163"/>
                    <a:pt x="469" y="163"/>
                    <a:pt x="470" y="163"/>
                  </a:cubicBezTo>
                  <a:cubicBezTo>
                    <a:pt x="470" y="163"/>
                    <a:pt x="471" y="163"/>
                    <a:pt x="472" y="163"/>
                  </a:cubicBezTo>
                  <a:cubicBezTo>
                    <a:pt x="471" y="163"/>
                    <a:pt x="470" y="161"/>
                    <a:pt x="469" y="161"/>
                  </a:cubicBezTo>
                  <a:cubicBezTo>
                    <a:pt x="469" y="161"/>
                    <a:pt x="468" y="161"/>
                    <a:pt x="468" y="161"/>
                  </a:cubicBezTo>
                  <a:cubicBezTo>
                    <a:pt x="465" y="161"/>
                    <a:pt x="461" y="162"/>
                    <a:pt x="459" y="162"/>
                  </a:cubicBezTo>
                  <a:cubicBezTo>
                    <a:pt x="456" y="163"/>
                    <a:pt x="454" y="165"/>
                    <a:pt x="453" y="167"/>
                  </a:cubicBezTo>
                  <a:cubicBezTo>
                    <a:pt x="453" y="165"/>
                    <a:pt x="453" y="164"/>
                    <a:pt x="451" y="164"/>
                  </a:cubicBezTo>
                  <a:cubicBezTo>
                    <a:pt x="451" y="164"/>
                    <a:pt x="451" y="164"/>
                    <a:pt x="451" y="164"/>
                  </a:cubicBezTo>
                  <a:cubicBezTo>
                    <a:pt x="448" y="164"/>
                    <a:pt x="444" y="167"/>
                    <a:pt x="441" y="168"/>
                  </a:cubicBezTo>
                  <a:cubicBezTo>
                    <a:pt x="435" y="168"/>
                    <a:pt x="433" y="168"/>
                    <a:pt x="429" y="171"/>
                  </a:cubicBezTo>
                  <a:cubicBezTo>
                    <a:pt x="425" y="173"/>
                    <a:pt x="421" y="173"/>
                    <a:pt x="417" y="174"/>
                  </a:cubicBezTo>
                  <a:cubicBezTo>
                    <a:pt x="416" y="174"/>
                    <a:pt x="414" y="174"/>
                    <a:pt x="413" y="174"/>
                  </a:cubicBezTo>
                  <a:cubicBezTo>
                    <a:pt x="410" y="174"/>
                    <a:pt x="408" y="173"/>
                    <a:pt x="406" y="170"/>
                  </a:cubicBezTo>
                  <a:cubicBezTo>
                    <a:pt x="405" y="169"/>
                    <a:pt x="404" y="166"/>
                    <a:pt x="402" y="165"/>
                  </a:cubicBezTo>
                  <a:cubicBezTo>
                    <a:pt x="401" y="165"/>
                    <a:pt x="399" y="165"/>
                    <a:pt x="397" y="164"/>
                  </a:cubicBezTo>
                  <a:cubicBezTo>
                    <a:pt x="395" y="163"/>
                    <a:pt x="394" y="161"/>
                    <a:pt x="392" y="161"/>
                  </a:cubicBezTo>
                  <a:cubicBezTo>
                    <a:pt x="392" y="161"/>
                    <a:pt x="392" y="161"/>
                    <a:pt x="392" y="161"/>
                  </a:cubicBezTo>
                  <a:cubicBezTo>
                    <a:pt x="391" y="161"/>
                    <a:pt x="389" y="161"/>
                    <a:pt x="388" y="161"/>
                  </a:cubicBezTo>
                  <a:cubicBezTo>
                    <a:pt x="388" y="161"/>
                    <a:pt x="387" y="161"/>
                    <a:pt x="386" y="161"/>
                  </a:cubicBezTo>
                  <a:cubicBezTo>
                    <a:pt x="385" y="161"/>
                    <a:pt x="383" y="161"/>
                    <a:pt x="382" y="161"/>
                  </a:cubicBezTo>
                  <a:cubicBezTo>
                    <a:pt x="380" y="161"/>
                    <a:pt x="378" y="161"/>
                    <a:pt x="378" y="165"/>
                  </a:cubicBezTo>
                  <a:cubicBezTo>
                    <a:pt x="377" y="165"/>
                    <a:pt x="376" y="166"/>
                    <a:pt x="375" y="167"/>
                  </a:cubicBezTo>
                  <a:cubicBezTo>
                    <a:pt x="375" y="165"/>
                    <a:pt x="376" y="164"/>
                    <a:pt x="377" y="162"/>
                  </a:cubicBezTo>
                  <a:cubicBezTo>
                    <a:pt x="379" y="159"/>
                    <a:pt x="377" y="160"/>
                    <a:pt x="376" y="158"/>
                  </a:cubicBezTo>
                  <a:cubicBezTo>
                    <a:pt x="378" y="158"/>
                    <a:pt x="379" y="159"/>
                    <a:pt x="380" y="159"/>
                  </a:cubicBezTo>
                  <a:cubicBezTo>
                    <a:pt x="381" y="159"/>
                    <a:pt x="381" y="159"/>
                    <a:pt x="381" y="159"/>
                  </a:cubicBezTo>
                  <a:cubicBezTo>
                    <a:pt x="377" y="154"/>
                    <a:pt x="371" y="150"/>
                    <a:pt x="368" y="144"/>
                  </a:cubicBezTo>
                  <a:cubicBezTo>
                    <a:pt x="367" y="141"/>
                    <a:pt x="367" y="136"/>
                    <a:pt x="365" y="133"/>
                  </a:cubicBezTo>
                  <a:cubicBezTo>
                    <a:pt x="363" y="131"/>
                    <a:pt x="361" y="127"/>
                    <a:pt x="358" y="125"/>
                  </a:cubicBezTo>
                  <a:cubicBezTo>
                    <a:pt x="355" y="122"/>
                    <a:pt x="352" y="119"/>
                    <a:pt x="350" y="116"/>
                  </a:cubicBezTo>
                  <a:cubicBezTo>
                    <a:pt x="348" y="113"/>
                    <a:pt x="346" y="109"/>
                    <a:pt x="345" y="105"/>
                  </a:cubicBezTo>
                  <a:cubicBezTo>
                    <a:pt x="342" y="98"/>
                    <a:pt x="338" y="92"/>
                    <a:pt x="336" y="84"/>
                  </a:cubicBezTo>
                  <a:cubicBezTo>
                    <a:pt x="338" y="87"/>
                    <a:pt x="341" y="89"/>
                    <a:pt x="342" y="92"/>
                  </a:cubicBezTo>
                  <a:cubicBezTo>
                    <a:pt x="344" y="94"/>
                    <a:pt x="343" y="93"/>
                    <a:pt x="343" y="96"/>
                  </a:cubicBezTo>
                  <a:cubicBezTo>
                    <a:pt x="342" y="97"/>
                    <a:pt x="342" y="98"/>
                    <a:pt x="343" y="99"/>
                  </a:cubicBezTo>
                  <a:cubicBezTo>
                    <a:pt x="343" y="98"/>
                    <a:pt x="345" y="95"/>
                    <a:pt x="345" y="94"/>
                  </a:cubicBezTo>
                  <a:cubicBezTo>
                    <a:pt x="345" y="88"/>
                    <a:pt x="336" y="83"/>
                    <a:pt x="334" y="78"/>
                  </a:cubicBezTo>
                  <a:cubicBezTo>
                    <a:pt x="333" y="74"/>
                    <a:pt x="334" y="69"/>
                    <a:pt x="333" y="65"/>
                  </a:cubicBezTo>
                  <a:cubicBezTo>
                    <a:pt x="332" y="61"/>
                    <a:pt x="334" y="57"/>
                    <a:pt x="334" y="53"/>
                  </a:cubicBezTo>
                  <a:cubicBezTo>
                    <a:pt x="335" y="45"/>
                    <a:pt x="336" y="38"/>
                    <a:pt x="336" y="30"/>
                  </a:cubicBezTo>
                  <a:cubicBezTo>
                    <a:pt x="336" y="32"/>
                    <a:pt x="336" y="35"/>
                    <a:pt x="335" y="37"/>
                  </a:cubicBezTo>
                  <a:cubicBezTo>
                    <a:pt x="334" y="31"/>
                    <a:pt x="331" y="24"/>
                    <a:pt x="334" y="18"/>
                  </a:cubicBezTo>
                  <a:cubicBezTo>
                    <a:pt x="335" y="16"/>
                    <a:pt x="338" y="11"/>
                    <a:pt x="337" y="9"/>
                  </a:cubicBezTo>
                  <a:cubicBezTo>
                    <a:pt x="335" y="7"/>
                    <a:pt x="335" y="3"/>
                    <a:pt x="336" y="0"/>
                  </a:cubicBezTo>
                  <a:moveTo>
                    <a:pt x="340" y="0"/>
                  </a:moveTo>
                  <a:cubicBezTo>
                    <a:pt x="337" y="0"/>
                    <a:pt x="337" y="0"/>
                    <a:pt x="337" y="0"/>
                  </a:cubicBezTo>
                  <a:cubicBezTo>
                    <a:pt x="338" y="0"/>
                    <a:pt x="339" y="1"/>
                    <a:pt x="340" y="1"/>
                  </a:cubicBezTo>
                  <a:cubicBezTo>
                    <a:pt x="340" y="1"/>
                    <a:pt x="340" y="1"/>
                    <a:pt x="340" y="1"/>
                  </a:cubicBezTo>
                  <a:cubicBezTo>
                    <a:pt x="341" y="1"/>
                    <a:pt x="340" y="0"/>
                    <a:pt x="340" y="0"/>
                  </a:cubicBezTo>
                  <a:moveTo>
                    <a:pt x="343" y="0"/>
                  </a:moveTo>
                  <a:cubicBezTo>
                    <a:pt x="342" y="0"/>
                    <a:pt x="342" y="0"/>
                    <a:pt x="342" y="0"/>
                  </a:cubicBezTo>
                  <a:cubicBezTo>
                    <a:pt x="342" y="3"/>
                    <a:pt x="340" y="7"/>
                    <a:pt x="340" y="11"/>
                  </a:cubicBezTo>
                  <a:cubicBezTo>
                    <a:pt x="341" y="7"/>
                    <a:pt x="342" y="3"/>
                    <a:pt x="34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03" name="Freeform 274">
              <a:extLst>
                <a:ext uri="{FF2B5EF4-FFF2-40B4-BE49-F238E27FC236}">
                  <a16:creationId xmlns:a16="http://schemas.microsoft.com/office/drawing/2014/main" id="{85665724-2A1D-4404-B6D7-EC94F04F0CFF}"/>
                </a:ext>
              </a:extLst>
            </p:cNvPr>
            <p:cNvSpPr>
              <a:spLocks/>
            </p:cNvSpPr>
            <p:nvPr/>
          </p:nvSpPr>
          <p:spPr bwMode="auto">
            <a:xfrm>
              <a:off x="8248561" y="440629"/>
              <a:ext cx="273980" cy="186420"/>
            </a:xfrm>
            <a:custGeom>
              <a:avLst/>
              <a:gdLst>
                <a:gd name="T0" fmla="*/ 14 w 82"/>
                <a:gd name="T1" fmla="*/ 2 h 56"/>
                <a:gd name="T2" fmla="*/ 3 w 82"/>
                <a:gd name="T3" fmla="*/ 2 h 56"/>
                <a:gd name="T4" fmla="*/ 4 w 82"/>
                <a:gd name="T5" fmla="*/ 3 h 56"/>
                <a:gd name="T6" fmla="*/ 5 w 82"/>
                <a:gd name="T7" fmla="*/ 7 h 56"/>
                <a:gd name="T8" fmla="*/ 6 w 82"/>
                <a:gd name="T9" fmla="*/ 10 h 56"/>
                <a:gd name="T10" fmla="*/ 5 w 82"/>
                <a:gd name="T11" fmla="*/ 13 h 56"/>
                <a:gd name="T12" fmla="*/ 7 w 82"/>
                <a:gd name="T13" fmla="*/ 14 h 56"/>
                <a:gd name="T14" fmla="*/ 8 w 82"/>
                <a:gd name="T15" fmla="*/ 15 h 56"/>
                <a:gd name="T16" fmla="*/ 5 w 82"/>
                <a:gd name="T17" fmla="*/ 26 h 56"/>
                <a:gd name="T18" fmla="*/ 5 w 82"/>
                <a:gd name="T19" fmla="*/ 29 h 56"/>
                <a:gd name="T20" fmla="*/ 4 w 82"/>
                <a:gd name="T21" fmla="*/ 30 h 56"/>
                <a:gd name="T22" fmla="*/ 0 w 82"/>
                <a:gd name="T23" fmla="*/ 33 h 56"/>
                <a:gd name="T24" fmla="*/ 3 w 82"/>
                <a:gd name="T25" fmla="*/ 35 h 56"/>
                <a:gd name="T26" fmla="*/ 5 w 82"/>
                <a:gd name="T27" fmla="*/ 41 h 56"/>
                <a:gd name="T28" fmla="*/ 4 w 82"/>
                <a:gd name="T29" fmla="*/ 43 h 56"/>
                <a:gd name="T30" fmla="*/ 4 w 82"/>
                <a:gd name="T31" fmla="*/ 46 h 56"/>
                <a:gd name="T32" fmla="*/ 3 w 82"/>
                <a:gd name="T33" fmla="*/ 47 h 56"/>
                <a:gd name="T34" fmla="*/ 4 w 82"/>
                <a:gd name="T35" fmla="*/ 52 h 56"/>
                <a:gd name="T36" fmla="*/ 9 w 82"/>
                <a:gd name="T37" fmla="*/ 56 h 56"/>
                <a:gd name="T38" fmla="*/ 12 w 82"/>
                <a:gd name="T39" fmla="*/ 52 h 56"/>
                <a:gd name="T40" fmla="*/ 18 w 82"/>
                <a:gd name="T41" fmla="*/ 39 h 56"/>
                <a:gd name="T42" fmla="*/ 19 w 82"/>
                <a:gd name="T43" fmla="*/ 39 h 56"/>
                <a:gd name="T44" fmla="*/ 23 w 82"/>
                <a:gd name="T45" fmla="*/ 39 h 56"/>
                <a:gd name="T46" fmla="*/ 28 w 82"/>
                <a:gd name="T47" fmla="*/ 36 h 56"/>
                <a:gd name="T48" fmla="*/ 29 w 82"/>
                <a:gd name="T49" fmla="*/ 39 h 56"/>
                <a:gd name="T50" fmla="*/ 37 w 82"/>
                <a:gd name="T51" fmla="*/ 40 h 56"/>
                <a:gd name="T52" fmla="*/ 47 w 82"/>
                <a:gd name="T53" fmla="*/ 35 h 56"/>
                <a:gd name="T54" fmla="*/ 59 w 82"/>
                <a:gd name="T55" fmla="*/ 37 h 56"/>
                <a:gd name="T56" fmla="*/ 65 w 82"/>
                <a:gd name="T57" fmla="*/ 36 h 56"/>
                <a:gd name="T58" fmla="*/ 74 w 82"/>
                <a:gd name="T59" fmla="*/ 41 h 56"/>
                <a:gd name="T60" fmla="*/ 80 w 82"/>
                <a:gd name="T61" fmla="*/ 35 h 56"/>
                <a:gd name="T62" fmla="*/ 75 w 82"/>
                <a:gd name="T63" fmla="*/ 26 h 56"/>
                <a:gd name="T64" fmla="*/ 56 w 82"/>
                <a:gd name="T65" fmla="*/ 21 h 56"/>
                <a:gd name="T66" fmla="*/ 54 w 82"/>
                <a:gd name="T67" fmla="*/ 17 h 56"/>
                <a:gd name="T68" fmla="*/ 61 w 82"/>
                <a:gd name="T69" fmla="*/ 14 h 56"/>
                <a:gd name="T70" fmla="*/ 58 w 82"/>
                <a:gd name="T71" fmla="*/ 15 h 56"/>
                <a:gd name="T72" fmla="*/ 53 w 82"/>
                <a:gd name="T73" fmla="*/ 15 h 56"/>
                <a:gd name="T74" fmla="*/ 50 w 82"/>
                <a:gd name="T75" fmla="*/ 16 h 56"/>
                <a:gd name="T76" fmla="*/ 46 w 82"/>
                <a:gd name="T77" fmla="*/ 7 h 56"/>
                <a:gd name="T78" fmla="*/ 41 w 82"/>
                <a:gd name="T79" fmla="*/ 7 h 56"/>
                <a:gd name="T80" fmla="*/ 24 w 82"/>
                <a:gd name="T81" fmla="*/ 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2" h="56">
                  <a:moveTo>
                    <a:pt x="20" y="0"/>
                  </a:moveTo>
                  <a:cubicBezTo>
                    <a:pt x="18" y="0"/>
                    <a:pt x="17" y="1"/>
                    <a:pt x="14" y="2"/>
                  </a:cubicBezTo>
                  <a:cubicBezTo>
                    <a:pt x="11" y="2"/>
                    <a:pt x="8" y="1"/>
                    <a:pt x="4" y="1"/>
                  </a:cubicBezTo>
                  <a:cubicBezTo>
                    <a:pt x="4" y="2"/>
                    <a:pt x="3" y="1"/>
                    <a:pt x="3" y="2"/>
                  </a:cubicBezTo>
                  <a:cubicBezTo>
                    <a:pt x="2" y="3"/>
                    <a:pt x="2" y="3"/>
                    <a:pt x="2" y="4"/>
                  </a:cubicBezTo>
                  <a:cubicBezTo>
                    <a:pt x="4" y="3"/>
                    <a:pt x="4" y="3"/>
                    <a:pt x="4" y="3"/>
                  </a:cubicBezTo>
                  <a:cubicBezTo>
                    <a:pt x="4" y="5"/>
                    <a:pt x="4" y="5"/>
                    <a:pt x="4" y="5"/>
                  </a:cubicBezTo>
                  <a:cubicBezTo>
                    <a:pt x="5" y="6"/>
                    <a:pt x="5" y="7"/>
                    <a:pt x="5" y="7"/>
                  </a:cubicBezTo>
                  <a:cubicBezTo>
                    <a:pt x="5" y="8"/>
                    <a:pt x="5" y="8"/>
                    <a:pt x="5" y="8"/>
                  </a:cubicBezTo>
                  <a:cubicBezTo>
                    <a:pt x="6" y="9"/>
                    <a:pt x="6" y="10"/>
                    <a:pt x="6" y="10"/>
                  </a:cubicBezTo>
                  <a:cubicBezTo>
                    <a:pt x="6" y="12"/>
                    <a:pt x="6" y="13"/>
                    <a:pt x="5" y="13"/>
                  </a:cubicBezTo>
                  <a:cubicBezTo>
                    <a:pt x="5" y="13"/>
                    <a:pt x="5" y="13"/>
                    <a:pt x="5" y="13"/>
                  </a:cubicBezTo>
                  <a:cubicBezTo>
                    <a:pt x="6" y="14"/>
                    <a:pt x="6" y="14"/>
                    <a:pt x="6" y="14"/>
                  </a:cubicBezTo>
                  <a:cubicBezTo>
                    <a:pt x="7" y="14"/>
                    <a:pt x="7" y="14"/>
                    <a:pt x="7" y="14"/>
                  </a:cubicBezTo>
                  <a:cubicBezTo>
                    <a:pt x="7" y="15"/>
                    <a:pt x="7" y="15"/>
                    <a:pt x="7" y="15"/>
                  </a:cubicBezTo>
                  <a:cubicBezTo>
                    <a:pt x="8" y="15"/>
                    <a:pt x="8" y="15"/>
                    <a:pt x="8" y="15"/>
                  </a:cubicBezTo>
                  <a:cubicBezTo>
                    <a:pt x="7" y="18"/>
                    <a:pt x="7" y="18"/>
                    <a:pt x="7" y="18"/>
                  </a:cubicBezTo>
                  <a:cubicBezTo>
                    <a:pt x="5" y="26"/>
                    <a:pt x="5" y="26"/>
                    <a:pt x="5" y="26"/>
                  </a:cubicBezTo>
                  <a:cubicBezTo>
                    <a:pt x="5" y="27"/>
                    <a:pt x="5" y="27"/>
                    <a:pt x="5" y="28"/>
                  </a:cubicBezTo>
                  <a:cubicBezTo>
                    <a:pt x="5" y="29"/>
                    <a:pt x="5" y="29"/>
                    <a:pt x="5" y="29"/>
                  </a:cubicBezTo>
                  <a:cubicBezTo>
                    <a:pt x="5" y="32"/>
                    <a:pt x="5" y="32"/>
                    <a:pt x="5" y="32"/>
                  </a:cubicBezTo>
                  <a:cubicBezTo>
                    <a:pt x="4" y="30"/>
                    <a:pt x="4" y="30"/>
                    <a:pt x="4" y="30"/>
                  </a:cubicBezTo>
                  <a:cubicBezTo>
                    <a:pt x="4" y="31"/>
                    <a:pt x="3" y="31"/>
                    <a:pt x="3" y="31"/>
                  </a:cubicBezTo>
                  <a:cubicBezTo>
                    <a:pt x="2" y="32"/>
                    <a:pt x="1" y="32"/>
                    <a:pt x="0" y="33"/>
                  </a:cubicBezTo>
                  <a:cubicBezTo>
                    <a:pt x="1" y="33"/>
                    <a:pt x="2" y="34"/>
                    <a:pt x="2" y="34"/>
                  </a:cubicBezTo>
                  <a:cubicBezTo>
                    <a:pt x="3" y="35"/>
                    <a:pt x="3" y="35"/>
                    <a:pt x="3" y="35"/>
                  </a:cubicBezTo>
                  <a:cubicBezTo>
                    <a:pt x="3" y="35"/>
                    <a:pt x="3" y="35"/>
                    <a:pt x="3" y="35"/>
                  </a:cubicBezTo>
                  <a:cubicBezTo>
                    <a:pt x="5" y="37"/>
                    <a:pt x="5" y="39"/>
                    <a:pt x="5" y="41"/>
                  </a:cubicBezTo>
                  <a:cubicBezTo>
                    <a:pt x="5" y="41"/>
                    <a:pt x="5" y="41"/>
                    <a:pt x="5" y="41"/>
                  </a:cubicBezTo>
                  <a:cubicBezTo>
                    <a:pt x="5" y="42"/>
                    <a:pt x="5" y="43"/>
                    <a:pt x="4" y="43"/>
                  </a:cubicBezTo>
                  <a:cubicBezTo>
                    <a:pt x="4" y="44"/>
                    <a:pt x="4" y="44"/>
                    <a:pt x="4" y="44"/>
                  </a:cubicBezTo>
                  <a:cubicBezTo>
                    <a:pt x="4" y="46"/>
                    <a:pt x="4" y="46"/>
                    <a:pt x="4" y="46"/>
                  </a:cubicBezTo>
                  <a:cubicBezTo>
                    <a:pt x="4" y="46"/>
                    <a:pt x="4" y="46"/>
                    <a:pt x="4" y="46"/>
                  </a:cubicBezTo>
                  <a:cubicBezTo>
                    <a:pt x="3" y="47"/>
                    <a:pt x="3" y="47"/>
                    <a:pt x="3" y="47"/>
                  </a:cubicBezTo>
                  <a:cubicBezTo>
                    <a:pt x="2" y="47"/>
                    <a:pt x="2" y="47"/>
                    <a:pt x="2" y="47"/>
                  </a:cubicBezTo>
                  <a:cubicBezTo>
                    <a:pt x="3" y="49"/>
                    <a:pt x="3" y="51"/>
                    <a:pt x="4" y="52"/>
                  </a:cubicBezTo>
                  <a:cubicBezTo>
                    <a:pt x="4" y="51"/>
                    <a:pt x="4" y="51"/>
                    <a:pt x="4" y="51"/>
                  </a:cubicBezTo>
                  <a:cubicBezTo>
                    <a:pt x="5" y="53"/>
                    <a:pt x="7" y="56"/>
                    <a:pt x="9" y="56"/>
                  </a:cubicBezTo>
                  <a:cubicBezTo>
                    <a:pt x="10" y="56"/>
                    <a:pt x="10" y="56"/>
                    <a:pt x="10" y="55"/>
                  </a:cubicBezTo>
                  <a:cubicBezTo>
                    <a:pt x="11" y="55"/>
                    <a:pt x="11" y="53"/>
                    <a:pt x="12" y="52"/>
                  </a:cubicBezTo>
                  <a:cubicBezTo>
                    <a:pt x="13" y="50"/>
                    <a:pt x="14" y="48"/>
                    <a:pt x="15" y="45"/>
                  </a:cubicBezTo>
                  <a:cubicBezTo>
                    <a:pt x="15" y="44"/>
                    <a:pt x="17" y="40"/>
                    <a:pt x="18" y="39"/>
                  </a:cubicBezTo>
                  <a:cubicBezTo>
                    <a:pt x="18" y="39"/>
                    <a:pt x="18" y="39"/>
                    <a:pt x="19" y="39"/>
                  </a:cubicBezTo>
                  <a:cubicBezTo>
                    <a:pt x="19" y="39"/>
                    <a:pt x="19" y="39"/>
                    <a:pt x="19" y="39"/>
                  </a:cubicBezTo>
                  <a:cubicBezTo>
                    <a:pt x="20" y="40"/>
                    <a:pt x="20" y="40"/>
                    <a:pt x="21" y="40"/>
                  </a:cubicBezTo>
                  <a:cubicBezTo>
                    <a:pt x="21" y="40"/>
                    <a:pt x="22" y="39"/>
                    <a:pt x="23" y="39"/>
                  </a:cubicBezTo>
                  <a:cubicBezTo>
                    <a:pt x="24" y="38"/>
                    <a:pt x="26" y="36"/>
                    <a:pt x="28" y="36"/>
                  </a:cubicBezTo>
                  <a:cubicBezTo>
                    <a:pt x="28" y="36"/>
                    <a:pt x="28" y="36"/>
                    <a:pt x="28" y="36"/>
                  </a:cubicBezTo>
                  <a:cubicBezTo>
                    <a:pt x="28" y="36"/>
                    <a:pt x="29" y="36"/>
                    <a:pt x="29" y="37"/>
                  </a:cubicBezTo>
                  <a:cubicBezTo>
                    <a:pt x="30" y="37"/>
                    <a:pt x="29" y="39"/>
                    <a:pt x="29" y="39"/>
                  </a:cubicBezTo>
                  <a:cubicBezTo>
                    <a:pt x="29" y="40"/>
                    <a:pt x="32" y="40"/>
                    <a:pt x="33" y="40"/>
                  </a:cubicBezTo>
                  <a:cubicBezTo>
                    <a:pt x="35" y="40"/>
                    <a:pt x="36" y="40"/>
                    <a:pt x="37" y="40"/>
                  </a:cubicBezTo>
                  <a:cubicBezTo>
                    <a:pt x="38" y="40"/>
                    <a:pt x="39" y="40"/>
                    <a:pt x="41" y="38"/>
                  </a:cubicBezTo>
                  <a:cubicBezTo>
                    <a:pt x="43" y="36"/>
                    <a:pt x="45" y="35"/>
                    <a:pt x="47" y="35"/>
                  </a:cubicBezTo>
                  <a:cubicBezTo>
                    <a:pt x="51" y="35"/>
                    <a:pt x="55" y="37"/>
                    <a:pt x="59" y="37"/>
                  </a:cubicBezTo>
                  <a:cubicBezTo>
                    <a:pt x="59" y="37"/>
                    <a:pt x="59" y="37"/>
                    <a:pt x="59" y="37"/>
                  </a:cubicBezTo>
                  <a:cubicBezTo>
                    <a:pt x="60" y="37"/>
                    <a:pt x="61" y="37"/>
                    <a:pt x="62" y="36"/>
                  </a:cubicBezTo>
                  <a:cubicBezTo>
                    <a:pt x="63" y="36"/>
                    <a:pt x="64" y="36"/>
                    <a:pt x="65" y="36"/>
                  </a:cubicBezTo>
                  <a:cubicBezTo>
                    <a:pt x="67" y="36"/>
                    <a:pt x="68" y="36"/>
                    <a:pt x="68" y="37"/>
                  </a:cubicBezTo>
                  <a:cubicBezTo>
                    <a:pt x="71" y="37"/>
                    <a:pt x="73" y="40"/>
                    <a:pt x="74" y="41"/>
                  </a:cubicBezTo>
                  <a:cubicBezTo>
                    <a:pt x="74" y="39"/>
                    <a:pt x="77" y="39"/>
                    <a:pt x="78" y="38"/>
                  </a:cubicBezTo>
                  <a:cubicBezTo>
                    <a:pt x="79" y="38"/>
                    <a:pt x="80" y="35"/>
                    <a:pt x="80" y="35"/>
                  </a:cubicBezTo>
                  <a:cubicBezTo>
                    <a:pt x="82" y="31"/>
                    <a:pt x="82" y="31"/>
                    <a:pt x="79" y="29"/>
                  </a:cubicBezTo>
                  <a:cubicBezTo>
                    <a:pt x="78" y="28"/>
                    <a:pt x="76" y="27"/>
                    <a:pt x="75" y="26"/>
                  </a:cubicBezTo>
                  <a:cubicBezTo>
                    <a:pt x="72" y="23"/>
                    <a:pt x="70" y="23"/>
                    <a:pt x="66" y="22"/>
                  </a:cubicBezTo>
                  <a:cubicBezTo>
                    <a:pt x="62" y="22"/>
                    <a:pt x="59" y="21"/>
                    <a:pt x="56" y="21"/>
                  </a:cubicBezTo>
                  <a:cubicBezTo>
                    <a:pt x="53" y="20"/>
                    <a:pt x="52" y="20"/>
                    <a:pt x="52" y="17"/>
                  </a:cubicBezTo>
                  <a:cubicBezTo>
                    <a:pt x="52" y="17"/>
                    <a:pt x="53" y="17"/>
                    <a:pt x="54" y="17"/>
                  </a:cubicBezTo>
                  <a:cubicBezTo>
                    <a:pt x="56" y="17"/>
                    <a:pt x="60" y="16"/>
                    <a:pt x="62" y="15"/>
                  </a:cubicBezTo>
                  <a:cubicBezTo>
                    <a:pt x="62" y="14"/>
                    <a:pt x="61" y="14"/>
                    <a:pt x="61" y="14"/>
                  </a:cubicBezTo>
                  <a:cubicBezTo>
                    <a:pt x="60" y="14"/>
                    <a:pt x="59" y="15"/>
                    <a:pt x="58" y="15"/>
                  </a:cubicBezTo>
                  <a:cubicBezTo>
                    <a:pt x="58" y="15"/>
                    <a:pt x="58" y="15"/>
                    <a:pt x="58" y="15"/>
                  </a:cubicBezTo>
                  <a:cubicBezTo>
                    <a:pt x="57" y="15"/>
                    <a:pt x="57" y="15"/>
                    <a:pt x="56" y="15"/>
                  </a:cubicBezTo>
                  <a:cubicBezTo>
                    <a:pt x="55" y="15"/>
                    <a:pt x="54" y="15"/>
                    <a:pt x="53" y="15"/>
                  </a:cubicBezTo>
                  <a:cubicBezTo>
                    <a:pt x="53" y="15"/>
                    <a:pt x="53" y="15"/>
                    <a:pt x="53" y="15"/>
                  </a:cubicBezTo>
                  <a:cubicBezTo>
                    <a:pt x="52" y="15"/>
                    <a:pt x="51" y="16"/>
                    <a:pt x="50" y="16"/>
                  </a:cubicBezTo>
                  <a:cubicBezTo>
                    <a:pt x="49" y="16"/>
                    <a:pt x="49" y="16"/>
                    <a:pt x="49" y="15"/>
                  </a:cubicBezTo>
                  <a:cubicBezTo>
                    <a:pt x="47" y="15"/>
                    <a:pt x="47" y="9"/>
                    <a:pt x="46" y="7"/>
                  </a:cubicBezTo>
                  <a:cubicBezTo>
                    <a:pt x="45" y="6"/>
                    <a:pt x="44" y="6"/>
                    <a:pt x="43" y="6"/>
                  </a:cubicBezTo>
                  <a:cubicBezTo>
                    <a:pt x="43" y="6"/>
                    <a:pt x="42" y="6"/>
                    <a:pt x="41" y="7"/>
                  </a:cubicBezTo>
                  <a:cubicBezTo>
                    <a:pt x="41" y="7"/>
                    <a:pt x="40" y="7"/>
                    <a:pt x="40" y="7"/>
                  </a:cubicBezTo>
                  <a:cubicBezTo>
                    <a:pt x="35" y="7"/>
                    <a:pt x="27" y="2"/>
                    <a:pt x="24" y="1"/>
                  </a:cubicBezTo>
                  <a:cubicBezTo>
                    <a:pt x="22" y="0"/>
                    <a:pt x="21"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04" name="Freeform 275">
              <a:extLst>
                <a:ext uri="{FF2B5EF4-FFF2-40B4-BE49-F238E27FC236}">
                  <a16:creationId xmlns:a16="http://schemas.microsoft.com/office/drawing/2014/main" id="{03F8B860-B042-4E6E-85FC-1473FCAEA41F}"/>
                </a:ext>
              </a:extLst>
            </p:cNvPr>
            <p:cNvSpPr>
              <a:spLocks/>
            </p:cNvSpPr>
            <p:nvPr/>
          </p:nvSpPr>
          <p:spPr bwMode="auto">
            <a:xfrm>
              <a:off x="8042370" y="436393"/>
              <a:ext cx="206191" cy="158175"/>
            </a:xfrm>
            <a:custGeom>
              <a:avLst/>
              <a:gdLst>
                <a:gd name="T0" fmla="*/ 31 w 62"/>
                <a:gd name="T1" fmla="*/ 2 h 47"/>
                <a:gd name="T2" fmla="*/ 31 w 62"/>
                <a:gd name="T3" fmla="*/ 8 h 47"/>
                <a:gd name="T4" fmla="*/ 32 w 62"/>
                <a:gd name="T5" fmla="*/ 8 h 47"/>
                <a:gd name="T6" fmla="*/ 38 w 62"/>
                <a:gd name="T7" fmla="*/ 10 h 47"/>
                <a:gd name="T8" fmla="*/ 40 w 62"/>
                <a:gd name="T9" fmla="*/ 12 h 47"/>
                <a:gd name="T10" fmla="*/ 41 w 62"/>
                <a:gd name="T11" fmla="*/ 13 h 47"/>
                <a:gd name="T12" fmla="*/ 41 w 62"/>
                <a:gd name="T13" fmla="*/ 13 h 47"/>
                <a:gd name="T14" fmla="*/ 40 w 62"/>
                <a:gd name="T15" fmla="*/ 18 h 47"/>
                <a:gd name="T16" fmla="*/ 42 w 62"/>
                <a:gd name="T17" fmla="*/ 22 h 47"/>
                <a:gd name="T18" fmla="*/ 50 w 62"/>
                <a:gd name="T19" fmla="*/ 31 h 47"/>
                <a:gd name="T20" fmla="*/ 49 w 62"/>
                <a:gd name="T21" fmla="*/ 34 h 47"/>
                <a:gd name="T22" fmla="*/ 49 w 62"/>
                <a:gd name="T23" fmla="*/ 34 h 47"/>
                <a:gd name="T24" fmla="*/ 46 w 62"/>
                <a:gd name="T25" fmla="*/ 34 h 47"/>
                <a:gd name="T26" fmla="*/ 46 w 62"/>
                <a:gd name="T27" fmla="*/ 34 h 47"/>
                <a:gd name="T28" fmla="*/ 40 w 62"/>
                <a:gd name="T29" fmla="*/ 37 h 47"/>
                <a:gd name="T30" fmla="*/ 26 w 62"/>
                <a:gd name="T31" fmla="*/ 35 h 47"/>
                <a:gd name="T32" fmla="*/ 24 w 62"/>
                <a:gd name="T33" fmla="*/ 35 h 47"/>
                <a:gd name="T34" fmla="*/ 9 w 62"/>
                <a:gd name="T35" fmla="*/ 32 h 47"/>
                <a:gd name="T36" fmla="*/ 7 w 62"/>
                <a:gd name="T37" fmla="*/ 31 h 47"/>
                <a:gd name="T38" fmla="*/ 5 w 62"/>
                <a:gd name="T39" fmla="*/ 31 h 47"/>
                <a:gd name="T40" fmla="*/ 3 w 62"/>
                <a:gd name="T41" fmla="*/ 39 h 47"/>
                <a:gd name="T42" fmla="*/ 6 w 62"/>
                <a:gd name="T43" fmla="*/ 40 h 47"/>
                <a:gd name="T44" fmla="*/ 24 w 62"/>
                <a:gd name="T45" fmla="*/ 41 h 47"/>
                <a:gd name="T46" fmla="*/ 42 w 62"/>
                <a:gd name="T47" fmla="*/ 44 h 47"/>
                <a:gd name="T48" fmla="*/ 53 w 62"/>
                <a:gd name="T49" fmla="*/ 42 h 47"/>
                <a:gd name="T50" fmla="*/ 56 w 62"/>
                <a:gd name="T51" fmla="*/ 42 h 47"/>
                <a:gd name="T52" fmla="*/ 61 w 62"/>
                <a:gd name="T53" fmla="*/ 44 h 47"/>
                <a:gd name="T54" fmla="*/ 61 w 62"/>
                <a:gd name="T55" fmla="*/ 41 h 47"/>
                <a:gd name="T56" fmla="*/ 60 w 62"/>
                <a:gd name="T57" fmla="*/ 40 h 47"/>
                <a:gd name="T58" fmla="*/ 56 w 62"/>
                <a:gd name="T59" fmla="*/ 31 h 47"/>
                <a:gd name="T60" fmla="*/ 58 w 62"/>
                <a:gd name="T61" fmla="*/ 29 h 47"/>
                <a:gd name="T62" fmla="*/ 60 w 62"/>
                <a:gd name="T63" fmla="*/ 28 h 47"/>
                <a:gd name="T64" fmla="*/ 58 w 62"/>
                <a:gd name="T65" fmla="*/ 24 h 47"/>
                <a:gd name="T66" fmla="*/ 59 w 62"/>
                <a:gd name="T67" fmla="*/ 22 h 47"/>
                <a:gd name="T68" fmla="*/ 61 w 62"/>
                <a:gd name="T69" fmla="*/ 20 h 47"/>
                <a:gd name="T70" fmla="*/ 62 w 62"/>
                <a:gd name="T71" fmla="*/ 19 h 47"/>
                <a:gd name="T72" fmla="*/ 62 w 62"/>
                <a:gd name="T73" fmla="*/ 14 h 47"/>
                <a:gd name="T74" fmla="*/ 62 w 62"/>
                <a:gd name="T75" fmla="*/ 12 h 47"/>
                <a:gd name="T76" fmla="*/ 61 w 62"/>
                <a:gd name="T77" fmla="*/ 8 h 47"/>
                <a:gd name="T78" fmla="*/ 61 w 62"/>
                <a:gd name="T79" fmla="*/ 6 h 47"/>
                <a:gd name="T80" fmla="*/ 54 w 62"/>
                <a:gd name="T81" fmla="*/ 5 h 47"/>
                <a:gd name="T82" fmla="*/ 52 w 62"/>
                <a:gd name="T83" fmla="*/ 6 h 47"/>
                <a:gd name="T84" fmla="*/ 43 w 62"/>
                <a:gd name="T85" fmla="*/ 1 h 47"/>
                <a:gd name="T86" fmla="*/ 40 w 62"/>
                <a:gd name="T8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 h="47">
                  <a:moveTo>
                    <a:pt x="40" y="0"/>
                  </a:moveTo>
                  <a:cubicBezTo>
                    <a:pt x="37" y="0"/>
                    <a:pt x="34" y="1"/>
                    <a:pt x="31" y="2"/>
                  </a:cubicBezTo>
                  <a:cubicBezTo>
                    <a:pt x="28" y="3"/>
                    <a:pt x="27" y="4"/>
                    <a:pt x="25" y="6"/>
                  </a:cubicBezTo>
                  <a:cubicBezTo>
                    <a:pt x="27" y="7"/>
                    <a:pt x="28" y="8"/>
                    <a:pt x="31" y="8"/>
                  </a:cubicBezTo>
                  <a:cubicBezTo>
                    <a:pt x="31" y="8"/>
                    <a:pt x="31" y="8"/>
                    <a:pt x="31" y="8"/>
                  </a:cubicBezTo>
                  <a:cubicBezTo>
                    <a:pt x="32" y="8"/>
                    <a:pt x="32" y="8"/>
                    <a:pt x="32" y="8"/>
                  </a:cubicBezTo>
                  <a:cubicBezTo>
                    <a:pt x="34" y="8"/>
                    <a:pt x="36" y="9"/>
                    <a:pt x="38" y="10"/>
                  </a:cubicBezTo>
                  <a:cubicBezTo>
                    <a:pt x="38" y="10"/>
                    <a:pt x="38" y="10"/>
                    <a:pt x="38" y="10"/>
                  </a:cubicBezTo>
                  <a:cubicBezTo>
                    <a:pt x="39" y="11"/>
                    <a:pt x="39" y="11"/>
                    <a:pt x="39" y="11"/>
                  </a:cubicBezTo>
                  <a:cubicBezTo>
                    <a:pt x="39" y="11"/>
                    <a:pt x="39" y="11"/>
                    <a:pt x="40" y="12"/>
                  </a:cubicBezTo>
                  <a:cubicBezTo>
                    <a:pt x="40" y="12"/>
                    <a:pt x="40" y="12"/>
                    <a:pt x="40" y="12"/>
                  </a:cubicBezTo>
                  <a:cubicBezTo>
                    <a:pt x="41" y="13"/>
                    <a:pt x="41" y="13"/>
                    <a:pt x="41" y="13"/>
                  </a:cubicBezTo>
                  <a:cubicBezTo>
                    <a:pt x="41" y="13"/>
                    <a:pt x="41" y="13"/>
                    <a:pt x="41" y="13"/>
                  </a:cubicBezTo>
                  <a:cubicBezTo>
                    <a:pt x="41" y="13"/>
                    <a:pt x="41" y="13"/>
                    <a:pt x="41" y="13"/>
                  </a:cubicBezTo>
                  <a:cubicBezTo>
                    <a:pt x="41" y="14"/>
                    <a:pt x="42" y="14"/>
                    <a:pt x="42" y="15"/>
                  </a:cubicBezTo>
                  <a:cubicBezTo>
                    <a:pt x="42" y="17"/>
                    <a:pt x="40" y="16"/>
                    <a:pt x="40" y="18"/>
                  </a:cubicBezTo>
                  <a:cubicBezTo>
                    <a:pt x="40" y="19"/>
                    <a:pt x="41" y="21"/>
                    <a:pt x="42" y="22"/>
                  </a:cubicBezTo>
                  <a:cubicBezTo>
                    <a:pt x="42" y="22"/>
                    <a:pt x="42" y="22"/>
                    <a:pt x="42" y="22"/>
                  </a:cubicBezTo>
                  <a:cubicBezTo>
                    <a:pt x="42" y="23"/>
                    <a:pt x="42" y="23"/>
                    <a:pt x="42" y="23"/>
                  </a:cubicBezTo>
                  <a:cubicBezTo>
                    <a:pt x="43" y="25"/>
                    <a:pt x="48" y="28"/>
                    <a:pt x="50" y="31"/>
                  </a:cubicBezTo>
                  <a:cubicBezTo>
                    <a:pt x="50" y="31"/>
                    <a:pt x="50" y="32"/>
                    <a:pt x="50" y="32"/>
                  </a:cubicBezTo>
                  <a:cubicBezTo>
                    <a:pt x="51" y="34"/>
                    <a:pt x="50" y="34"/>
                    <a:pt x="49" y="34"/>
                  </a:cubicBezTo>
                  <a:cubicBezTo>
                    <a:pt x="49" y="34"/>
                    <a:pt x="49" y="34"/>
                    <a:pt x="49" y="34"/>
                  </a:cubicBezTo>
                  <a:cubicBezTo>
                    <a:pt x="49" y="34"/>
                    <a:pt x="49" y="34"/>
                    <a:pt x="49" y="34"/>
                  </a:cubicBezTo>
                  <a:cubicBezTo>
                    <a:pt x="48" y="34"/>
                    <a:pt x="48" y="34"/>
                    <a:pt x="47" y="34"/>
                  </a:cubicBezTo>
                  <a:cubicBezTo>
                    <a:pt x="46" y="34"/>
                    <a:pt x="46" y="34"/>
                    <a:pt x="46" y="34"/>
                  </a:cubicBezTo>
                  <a:cubicBezTo>
                    <a:pt x="46" y="34"/>
                    <a:pt x="46" y="34"/>
                    <a:pt x="46" y="34"/>
                  </a:cubicBezTo>
                  <a:cubicBezTo>
                    <a:pt x="46" y="34"/>
                    <a:pt x="46" y="34"/>
                    <a:pt x="46" y="34"/>
                  </a:cubicBezTo>
                  <a:cubicBezTo>
                    <a:pt x="45" y="35"/>
                    <a:pt x="44" y="35"/>
                    <a:pt x="44" y="36"/>
                  </a:cubicBezTo>
                  <a:cubicBezTo>
                    <a:pt x="42" y="36"/>
                    <a:pt x="42" y="37"/>
                    <a:pt x="40" y="37"/>
                  </a:cubicBezTo>
                  <a:cubicBezTo>
                    <a:pt x="40" y="37"/>
                    <a:pt x="39" y="37"/>
                    <a:pt x="39" y="37"/>
                  </a:cubicBezTo>
                  <a:cubicBezTo>
                    <a:pt x="35" y="36"/>
                    <a:pt x="30" y="35"/>
                    <a:pt x="26" y="35"/>
                  </a:cubicBezTo>
                  <a:cubicBezTo>
                    <a:pt x="26" y="35"/>
                    <a:pt x="26" y="35"/>
                    <a:pt x="25" y="35"/>
                  </a:cubicBezTo>
                  <a:cubicBezTo>
                    <a:pt x="25" y="35"/>
                    <a:pt x="25" y="35"/>
                    <a:pt x="24" y="35"/>
                  </a:cubicBezTo>
                  <a:cubicBezTo>
                    <a:pt x="21" y="35"/>
                    <a:pt x="18" y="35"/>
                    <a:pt x="15" y="34"/>
                  </a:cubicBezTo>
                  <a:cubicBezTo>
                    <a:pt x="13" y="33"/>
                    <a:pt x="10" y="32"/>
                    <a:pt x="9" y="32"/>
                  </a:cubicBezTo>
                  <a:cubicBezTo>
                    <a:pt x="8" y="32"/>
                    <a:pt x="8" y="32"/>
                    <a:pt x="8" y="32"/>
                  </a:cubicBezTo>
                  <a:cubicBezTo>
                    <a:pt x="7" y="31"/>
                    <a:pt x="7" y="31"/>
                    <a:pt x="7" y="31"/>
                  </a:cubicBezTo>
                  <a:cubicBezTo>
                    <a:pt x="7" y="31"/>
                    <a:pt x="7" y="31"/>
                    <a:pt x="7" y="31"/>
                  </a:cubicBezTo>
                  <a:cubicBezTo>
                    <a:pt x="6" y="31"/>
                    <a:pt x="6" y="31"/>
                    <a:pt x="5" y="31"/>
                  </a:cubicBezTo>
                  <a:cubicBezTo>
                    <a:pt x="4" y="31"/>
                    <a:pt x="4" y="31"/>
                    <a:pt x="3" y="32"/>
                  </a:cubicBezTo>
                  <a:cubicBezTo>
                    <a:pt x="1" y="34"/>
                    <a:pt x="0" y="39"/>
                    <a:pt x="3" y="39"/>
                  </a:cubicBezTo>
                  <a:cubicBezTo>
                    <a:pt x="3" y="39"/>
                    <a:pt x="4" y="39"/>
                    <a:pt x="5" y="39"/>
                  </a:cubicBezTo>
                  <a:cubicBezTo>
                    <a:pt x="5" y="40"/>
                    <a:pt x="5" y="40"/>
                    <a:pt x="6" y="40"/>
                  </a:cubicBezTo>
                  <a:cubicBezTo>
                    <a:pt x="10" y="41"/>
                    <a:pt x="12" y="43"/>
                    <a:pt x="15" y="47"/>
                  </a:cubicBezTo>
                  <a:cubicBezTo>
                    <a:pt x="15" y="42"/>
                    <a:pt x="19" y="41"/>
                    <a:pt x="24" y="41"/>
                  </a:cubicBezTo>
                  <a:cubicBezTo>
                    <a:pt x="30" y="41"/>
                    <a:pt x="38" y="43"/>
                    <a:pt x="40" y="44"/>
                  </a:cubicBezTo>
                  <a:cubicBezTo>
                    <a:pt x="41" y="44"/>
                    <a:pt x="41" y="44"/>
                    <a:pt x="42" y="44"/>
                  </a:cubicBezTo>
                  <a:cubicBezTo>
                    <a:pt x="43" y="44"/>
                    <a:pt x="45" y="43"/>
                    <a:pt x="47" y="43"/>
                  </a:cubicBezTo>
                  <a:cubicBezTo>
                    <a:pt x="49" y="42"/>
                    <a:pt x="51" y="42"/>
                    <a:pt x="53" y="42"/>
                  </a:cubicBezTo>
                  <a:cubicBezTo>
                    <a:pt x="53" y="42"/>
                    <a:pt x="53" y="42"/>
                    <a:pt x="53" y="42"/>
                  </a:cubicBezTo>
                  <a:cubicBezTo>
                    <a:pt x="54" y="42"/>
                    <a:pt x="55" y="42"/>
                    <a:pt x="56" y="42"/>
                  </a:cubicBezTo>
                  <a:cubicBezTo>
                    <a:pt x="56" y="42"/>
                    <a:pt x="56" y="42"/>
                    <a:pt x="56" y="42"/>
                  </a:cubicBezTo>
                  <a:cubicBezTo>
                    <a:pt x="58" y="42"/>
                    <a:pt x="59" y="43"/>
                    <a:pt x="61" y="44"/>
                  </a:cubicBezTo>
                  <a:cubicBezTo>
                    <a:pt x="61" y="43"/>
                    <a:pt x="61" y="43"/>
                    <a:pt x="61" y="42"/>
                  </a:cubicBezTo>
                  <a:cubicBezTo>
                    <a:pt x="61" y="42"/>
                    <a:pt x="61" y="42"/>
                    <a:pt x="61" y="41"/>
                  </a:cubicBezTo>
                  <a:cubicBezTo>
                    <a:pt x="61" y="41"/>
                    <a:pt x="61" y="41"/>
                    <a:pt x="61" y="40"/>
                  </a:cubicBezTo>
                  <a:cubicBezTo>
                    <a:pt x="60" y="40"/>
                    <a:pt x="60" y="40"/>
                    <a:pt x="60" y="40"/>
                  </a:cubicBezTo>
                  <a:cubicBezTo>
                    <a:pt x="58" y="38"/>
                    <a:pt x="55" y="36"/>
                    <a:pt x="55" y="33"/>
                  </a:cubicBezTo>
                  <a:cubicBezTo>
                    <a:pt x="55" y="32"/>
                    <a:pt x="56" y="32"/>
                    <a:pt x="56" y="31"/>
                  </a:cubicBezTo>
                  <a:cubicBezTo>
                    <a:pt x="56" y="30"/>
                    <a:pt x="56" y="30"/>
                    <a:pt x="56" y="30"/>
                  </a:cubicBezTo>
                  <a:cubicBezTo>
                    <a:pt x="58" y="29"/>
                    <a:pt x="58" y="29"/>
                    <a:pt x="58" y="29"/>
                  </a:cubicBezTo>
                  <a:cubicBezTo>
                    <a:pt x="60" y="29"/>
                    <a:pt x="60" y="28"/>
                    <a:pt x="61" y="28"/>
                  </a:cubicBezTo>
                  <a:cubicBezTo>
                    <a:pt x="60" y="28"/>
                    <a:pt x="60" y="28"/>
                    <a:pt x="60" y="28"/>
                  </a:cubicBezTo>
                  <a:cubicBezTo>
                    <a:pt x="60" y="27"/>
                    <a:pt x="59" y="26"/>
                    <a:pt x="59" y="25"/>
                  </a:cubicBezTo>
                  <a:cubicBezTo>
                    <a:pt x="58" y="24"/>
                    <a:pt x="58" y="24"/>
                    <a:pt x="58" y="24"/>
                  </a:cubicBezTo>
                  <a:cubicBezTo>
                    <a:pt x="59" y="22"/>
                    <a:pt x="59" y="22"/>
                    <a:pt x="59" y="22"/>
                  </a:cubicBezTo>
                  <a:cubicBezTo>
                    <a:pt x="59" y="22"/>
                    <a:pt x="59" y="22"/>
                    <a:pt x="59" y="22"/>
                  </a:cubicBezTo>
                  <a:cubicBezTo>
                    <a:pt x="60" y="21"/>
                    <a:pt x="60" y="21"/>
                    <a:pt x="60" y="21"/>
                  </a:cubicBezTo>
                  <a:cubicBezTo>
                    <a:pt x="61" y="20"/>
                    <a:pt x="61" y="20"/>
                    <a:pt x="61" y="20"/>
                  </a:cubicBezTo>
                  <a:cubicBezTo>
                    <a:pt x="61" y="20"/>
                    <a:pt x="62" y="19"/>
                    <a:pt x="62" y="19"/>
                  </a:cubicBezTo>
                  <a:cubicBezTo>
                    <a:pt x="62" y="19"/>
                    <a:pt x="62" y="19"/>
                    <a:pt x="62" y="19"/>
                  </a:cubicBezTo>
                  <a:cubicBezTo>
                    <a:pt x="62" y="18"/>
                    <a:pt x="62" y="18"/>
                    <a:pt x="61" y="17"/>
                  </a:cubicBezTo>
                  <a:cubicBezTo>
                    <a:pt x="61" y="16"/>
                    <a:pt x="61" y="15"/>
                    <a:pt x="62" y="14"/>
                  </a:cubicBezTo>
                  <a:cubicBezTo>
                    <a:pt x="62" y="14"/>
                    <a:pt x="62" y="14"/>
                    <a:pt x="62" y="13"/>
                  </a:cubicBezTo>
                  <a:cubicBezTo>
                    <a:pt x="62" y="13"/>
                    <a:pt x="62" y="12"/>
                    <a:pt x="62" y="12"/>
                  </a:cubicBezTo>
                  <a:cubicBezTo>
                    <a:pt x="62" y="11"/>
                    <a:pt x="62" y="11"/>
                    <a:pt x="62" y="10"/>
                  </a:cubicBezTo>
                  <a:cubicBezTo>
                    <a:pt x="61" y="10"/>
                    <a:pt x="61" y="8"/>
                    <a:pt x="61" y="8"/>
                  </a:cubicBezTo>
                  <a:cubicBezTo>
                    <a:pt x="60" y="6"/>
                    <a:pt x="60" y="6"/>
                    <a:pt x="60" y="6"/>
                  </a:cubicBezTo>
                  <a:cubicBezTo>
                    <a:pt x="61" y="6"/>
                    <a:pt x="61" y="6"/>
                    <a:pt x="61" y="6"/>
                  </a:cubicBezTo>
                  <a:cubicBezTo>
                    <a:pt x="60" y="6"/>
                    <a:pt x="60" y="6"/>
                    <a:pt x="60" y="6"/>
                  </a:cubicBezTo>
                  <a:cubicBezTo>
                    <a:pt x="58" y="6"/>
                    <a:pt x="56" y="6"/>
                    <a:pt x="54" y="5"/>
                  </a:cubicBezTo>
                  <a:cubicBezTo>
                    <a:pt x="53" y="5"/>
                    <a:pt x="53" y="5"/>
                    <a:pt x="53" y="5"/>
                  </a:cubicBezTo>
                  <a:cubicBezTo>
                    <a:pt x="53" y="5"/>
                    <a:pt x="52" y="5"/>
                    <a:pt x="52" y="6"/>
                  </a:cubicBezTo>
                  <a:cubicBezTo>
                    <a:pt x="51" y="5"/>
                    <a:pt x="50" y="5"/>
                    <a:pt x="50" y="5"/>
                  </a:cubicBezTo>
                  <a:cubicBezTo>
                    <a:pt x="49" y="3"/>
                    <a:pt x="46" y="2"/>
                    <a:pt x="43" y="1"/>
                  </a:cubicBezTo>
                  <a:cubicBezTo>
                    <a:pt x="42" y="1"/>
                    <a:pt x="42" y="1"/>
                    <a:pt x="41" y="1"/>
                  </a:cubicBezTo>
                  <a:cubicBezTo>
                    <a:pt x="40" y="0"/>
                    <a:pt x="40" y="0"/>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05" name="Rectangle 276">
              <a:extLst>
                <a:ext uri="{FF2B5EF4-FFF2-40B4-BE49-F238E27FC236}">
                  <a16:creationId xmlns:a16="http://schemas.microsoft.com/office/drawing/2014/main" id="{D47D11DD-02D3-4857-9E68-22D0B5FE6810}"/>
                </a:ext>
              </a:extLst>
            </p:cNvPr>
            <p:cNvSpPr>
              <a:spLocks noChangeArrowheads="1"/>
            </p:cNvSpPr>
            <p:nvPr/>
          </p:nvSpPr>
          <p:spPr bwMode="auto">
            <a:xfrm>
              <a:off x="8248561" y="531015"/>
              <a:ext cx="1412" cy="28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06" name="Freeform 277">
              <a:extLst>
                <a:ext uri="{FF2B5EF4-FFF2-40B4-BE49-F238E27FC236}">
                  <a16:creationId xmlns:a16="http://schemas.microsoft.com/office/drawing/2014/main" id="{3BF4EF79-59F0-4AEB-B211-95E010DB7A87}"/>
                </a:ext>
              </a:extLst>
            </p:cNvPr>
            <p:cNvSpPr>
              <a:spLocks/>
            </p:cNvSpPr>
            <p:nvPr/>
          </p:nvSpPr>
          <p:spPr bwMode="auto">
            <a:xfrm>
              <a:off x="8248561" y="531015"/>
              <a:ext cx="0" cy="2825"/>
            </a:xfrm>
            <a:custGeom>
              <a:avLst/>
              <a:gdLst>
                <a:gd name="T0" fmla="*/ 0 h 2"/>
                <a:gd name="T1" fmla="*/ 2 h 2"/>
                <a:gd name="T2" fmla="*/ 2 h 2"/>
                <a:gd name="T3" fmla="*/ 0 h 2"/>
              </a:gdLst>
              <a:ahLst/>
              <a:cxnLst>
                <a:cxn ang="0">
                  <a:pos x="0" y="T0"/>
                </a:cxn>
                <a:cxn ang="0">
                  <a:pos x="0" y="T1"/>
                </a:cxn>
                <a:cxn ang="0">
                  <a:pos x="0" y="T2"/>
                </a:cxn>
                <a:cxn ang="0">
                  <a:pos x="0" y="T3"/>
                </a:cxn>
              </a:cxnLst>
              <a:rect l="0" t="0" r="r" b="b"/>
              <a:pathLst>
                <a:path h="2">
                  <a:moveTo>
                    <a:pt x="0" y="0"/>
                  </a:moveTo>
                  <a:lnTo>
                    <a:pt x="0" y="2"/>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07" name="Freeform 278">
              <a:extLst>
                <a:ext uri="{FF2B5EF4-FFF2-40B4-BE49-F238E27FC236}">
                  <a16:creationId xmlns:a16="http://schemas.microsoft.com/office/drawing/2014/main" id="{CD8C4110-6553-40E2-BAA0-DB1061B70BC0}"/>
                </a:ext>
              </a:extLst>
            </p:cNvPr>
            <p:cNvSpPr>
              <a:spLocks/>
            </p:cNvSpPr>
            <p:nvPr/>
          </p:nvSpPr>
          <p:spPr bwMode="auto">
            <a:xfrm>
              <a:off x="6913966" y="563497"/>
              <a:ext cx="76263" cy="197718"/>
            </a:xfrm>
            <a:custGeom>
              <a:avLst/>
              <a:gdLst>
                <a:gd name="T0" fmla="*/ 23 w 23"/>
                <a:gd name="T1" fmla="*/ 0 h 59"/>
                <a:gd name="T2" fmla="*/ 21 w 23"/>
                <a:gd name="T3" fmla="*/ 1 h 59"/>
                <a:gd name="T4" fmla="*/ 21 w 23"/>
                <a:gd name="T5" fmla="*/ 1 h 59"/>
                <a:gd name="T6" fmla="*/ 20 w 23"/>
                <a:gd name="T7" fmla="*/ 1 h 59"/>
                <a:gd name="T8" fmla="*/ 20 w 23"/>
                <a:gd name="T9" fmla="*/ 1 h 59"/>
                <a:gd name="T10" fmla="*/ 19 w 23"/>
                <a:gd name="T11" fmla="*/ 1 h 59"/>
                <a:gd name="T12" fmla="*/ 19 w 23"/>
                <a:gd name="T13" fmla="*/ 1 h 59"/>
                <a:gd name="T14" fmla="*/ 18 w 23"/>
                <a:gd name="T15" fmla="*/ 1 h 59"/>
                <a:gd name="T16" fmla="*/ 18 w 23"/>
                <a:gd name="T17" fmla="*/ 1 h 59"/>
                <a:gd name="T18" fmla="*/ 17 w 23"/>
                <a:gd name="T19" fmla="*/ 1 h 59"/>
                <a:gd name="T20" fmla="*/ 16 w 23"/>
                <a:gd name="T21" fmla="*/ 0 h 59"/>
                <a:gd name="T22" fmla="*/ 15 w 23"/>
                <a:gd name="T23" fmla="*/ 2 h 59"/>
                <a:gd name="T24" fmla="*/ 13 w 23"/>
                <a:gd name="T25" fmla="*/ 5 h 59"/>
                <a:gd name="T26" fmla="*/ 11 w 23"/>
                <a:gd name="T27" fmla="*/ 9 h 59"/>
                <a:gd name="T28" fmla="*/ 7 w 23"/>
                <a:gd name="T29" fmla="*/ 13 h 59"/>
                <a:gd name="T30" fmla="*/ 5 w 23"/>
                <a:gd name="T31" fmla="*/ 14 h 59"/>
                <a:gd name="T32" fmla="*/ 5 w 23"/>
                <a:gd name="T33" fmla="*/ 14 h 59"/>
                <a:gd name="T34" fmla="*/ 4 w 23"/>
                <a:gd name="T35" fmla="*/ 14 h 59"/>
                <a:gd name="T36" fmla="*/ 2 w 23"/>
                <a:gd name="T37" fmla="*/ 13 h 59"/>
                <a:gd name="T38" fmla="*/ 2 w 23"/>
                <a:gd name="T39" fmla="*/ 13 h 59"/>
                <a:gd name="T40" fmla="*/ 1 w 23"/>
                <a:gd name="T41" fmla="*/ 13 h 59"/>
                <a:gd name="T42" fmla="*/ 2 w 23"/>
                <a:gd name="T43" fmla="*/ 14 h 59"/>
                <a:gd name="T44" fmla="*/ 1 w 23"/>
                <a:gd name="T45" fmla="*/ 14 h 59"/>
                <a:gd name="T46" fmla="*/ 1 w 23"/>
                <a:gd name="T47" fmla="*/ 15 h 59"/>
                <a:gd name="T48" fmla="*/ 1 w 23"/>
                <a:gd name="T49" fmla="*/ 18 h 59"/>
                <a:gd name="T50" fmla="*/ 1 w 23"/>
                <a:gd name="T51" fmla="*/ 22 h 59"/>
                <a:gd name="T52" fmla="*/ 1 w 23"/>
                <a:gd name="T53" fmla="*/ 29 h 59"/>
                <a:gd name="T54" fmla="*/ 0 w 23"/>
                <a:gd name="T55" fmla="*/ 57 h 59"/>
                <a:gd name="T56" fmla="*/ 1 w 23"/>
                <a:gd name="T57" fmla="*/ 57 h 59"/>
                <a:gd name="T58" fmla="*/ 3 w 23"/>
                <a:gd name="T59" fmla="*/ 57 h 59"/>
                <a:gd name="T60" fmla="*/ 4 w 23"/>
                <a:gd name="T61" fmla="*/ 57 h 59"/>
                <a:gd name="T62" fmla="*/ 4 w 23"/>
                <a:gd name="T63" fmla="*/ 59 h 59"/>
                <a:gd name="T64" fmla="*/ 5 w 23"/>
                <a:gd name="T65" fmla="*/ 59 h 59"/>
                <a:gd name="T66" fmla="*/ 13 w 23"/>
                <a:gd name="T67" fmla="*/ 49 h 59"/>
                <a:gd name="T68" fmla="*/ 17 w 23"/>
                <a:gd name="T69" fmla="*/ 43 h 59"/>
                <a:gd name="T70" fmla="*/ 20 w 23"/>
                <a:gd name="T71" fmla="*/ 34 h 59"/>
                <a:gd name="T72" fmla="*/ 18 w 23"/>
                <a:gd name="T73" fmla="*/ 29 h 59"/>
                <a:gd name="T74" fmla="*/ 20 w 23"/>
                <a:gd name="T75" fmla="*/ 16 h 59"/>
                <a:gd name="T76" fmla="*/ 23 w 23"/>
                <a:gd name="T7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 h="59">
                  <a:moveTo>
                    <a:pt x="23" y="0"/>
                  </a:moveTo>
                  <a:cubicBezTo>
                    <a:pt x="22" y="1"/>
                    <a:pt x="22" y="1"/>
                    <a:pt x="21" y="1"/>
                  </a:cubicBezTo>
                  <a:cubicBezTo>
                    <a:pt x="21" y="1"/>
                    <a:pt x="21" y="1"/>
                    <a:pt x="21" y="1"/>
                  </a:cubicBezTo>
                  <a:cubicBezTo>
                    <a:pt x="20" y="1"/>
                    <a:pt x="20" y="1"/>
                    <a:pt x="20" y="1"/>
                  </a:cubicBezTo>
                  <a:cubicBezTo>
                    <a:pt x="20" y="1"/>
                    <a:pt x="20" y="1"/>
                    <a:pt x="20" y="1"/>
                  </a:cubicBezTo>
                  <a:cubicBezTo>
                    <a:pt x="19" y="1"/>
                    <a:pt x="19" y="1"/>
                    <a:pt x="19" y="1"/>
                  </a:cubicBezTo>
                  <a:cubicBezTo>
                    <a:pt x="19" y="1"/>
                    <a:pt x="19" y="1"/>
                    <a:pt x="19" y="1"/>
                  </a:cubicBezTo>
                  <a:cubicBezTo>
                    <a:pt x="18" y="1"/>
                    <a:pt x="18" y="1"/>
                    <a:pt x="18" y="1"/>
                  </a:cubicBezTo>
                  <a:cubicBezTo>
                    <a:pt x="18" y="1"/>
                    <a:pt x="18" y="1"/>
                    <a:pt x="18" y="1"/>
                  </a:cubicBezTo>
                  <a:cubicBezTo>
                    <a:pt x="17" y="1"/>
                    <a:pt x="17" y="1"/>
                    <a:pt x="17" y="1"/>
                  </a:cubicBezTo>
                  <a:cubicBezTo>
                    <a:pt x="16" y="0"/>
                    <a:pt x="16" y="0"/>
                    <a:pt x="16" y="0"/>
                  </a:cubicBezTo>
                  <a:cubicBezTo>
                    <a:pt x="16" y="1"/>
                    <a:pt x="15" y="1"/>
                    <a:pt x="15" y="2"/>
                  </a:cubicBezTo>
                  <a:cubicBezTo>
                    <a:pt x="13" y="5"/>
                    <a:pt x="13" y="5"/>
                    <a:pt x="13" y="5"/>
                  </a:cubicBezTo>
                  <a:cubicBezTo>
                    <a:pt x="12" y="7"/>
                    <a:pt x="12" y="8"/>
                    <a:pt x="11" y="9"/>
                  </a:cubicBezTo>
                  <a:cubicBezTo>
                    <a:pt x="10" y="11"/>
                    <a:pt x="9" y="13"/>
                    <a:pt x="7" y="13"/>
                  </a:cubicBezTo>
                  <a:cubicBezTo>
                    <a:pt x="6" y="14"/>
                    <a:pt x="6" y="14"/>
                    <a:pt x="5" y="14"/>
                  </a:cubicBezTo>
                  <a:cubicBezTo>
                    <a:pt x="5" y="14"/>
                    <a:pt x="5" y="14"/>
                    <a:pt x="5" y="14"/>
                  </a:cubicBezTo>
                  <a:cubicBezTo>
                    <a:pt x="4" y="14"/>
                    <a:pt x="4" y="14"/>
                    <a:pt x="4" y="14"/>
                  </a:cubicBezTo>
                  <a:cubicBezTo>
                    <a:pt x="3" y="14"/>
                    <a:pt x="3" y="14"/>
                    <a:pt x="2" y="13"/>
                  </a:cubicBezTo>
                  <a:cubicBezTo>
                    <a:pt x="2" y="13"/>
                    <a:pt x="2" y="13"/>
                    <a:pt x="2" y="13"/>
                  </a:cubicBezTo>
                  <a:cubicBezTo>
                    <a:pt x="1" y="13"/>
                    <a:pt x="1" y="13"/>
                    <a:pt x="1" y="13"/>
                  </a:cubicBezTo>
                  <a:cubicBezTo>
                    <a:pt x="2" y="14"/>
                    <a:pt x="2" y="14"/>
                    <a:pt x="2" y="14"/>
                  </a:cubicBezTo>
                  <a:cubicBezTo>
                    <a:pt x="1" y="14"/>
                    <a:pt x="1" y="14"/>
                    <a:pt x="1" y="14"/>
                  </a:cubicBezTo>
                  <a:cubicBezTo>
                    <a:pt x="1" y="15"/>
                    <a:pt x="1" y="15"/>
                    <a:pt x="1" y="15"/>
                  </a:cubicBezTo>
                  <a:cubicBezTo>
                    <a:pt x="1" y="16"/>
                    <a:pt x="1" y="17"/>
                    <a:pt x="1" y="18"/>
                  </a:cubicBezTo>
                  <a:cubicBezTo>
                    <a:pt x="1" y="22"/>
                    <a:pt x="1" y="22"/>
                    <a:pt x="1" y="22"/>
                  </a:cubicBezTo>
                  <a:cubicBezTo>
                    <a:pt x="1" y="24"/>
                    <a:pt x="1" y="26"/>
                    <a:pt x="1" y="29"/>
                  </a:cubicBezTo>
                  <a:cubicBezTo>
                    <a:pt x="1" y="38"/>
                    <a:pt x="0" y="48"/>
                    <a:pt x="0" y="57"/>
                  </a:cubicBezTo>
                  <a:cubicBezTo>
                    <a:pt x="1" y="57"/>
                    <a:pt x="1" y="57"/>
                    <a:pt x="1" y="57"/>
                  </a:cubicBezTo>
                  <a:cubicBezTo>
                    <a:pt x="1" y="57"/>
                    <a:pt x="2" y="57"/>
                    <a:pt x="3" y="57"/>
                  </a:cubicBezTo>
                  <a:cubicBezTo>
                    <a:pt x="4" y="57"/>
                    <a:pt x="4" y="57"/>
                    <a:pt x="4" y="57"/>
                  </a:cubicBezTo>
                  <a:cubicBezTo>
                    <a:pt x="4" y="59"/>
                    <a:pt x="4" y="59"/>
                    <a:pt x="4" y="59"/>
                  </a:cubicBezTo>
                  <a:cubicBezTo>
                    <a:pt x="5" y="59"/>
                    <a:pt x="5" y="59"/>
                    <a:pt x="5" y="59"/>
                  </a:cubicBezTo>
                  <a:cubicBezTo>
                    <a:pt x="8" y="55"/>
                    <a:pt x="10" y="52"/>
                    <a:pt x="13" y="49"/>
                  </a:cubicBezTo>
                  <a:cubicBezTo>
                    <a:pt x="15" y="47"/>
                    <a:pt x="16" y="45"/>
                    <a:pt x="17" y="43"/>
                  </a:cubicBezTo>
                  <a:cubicBezTo>
                    <a:pt x="18" y="41"/>
                    <a:pt x="20" y="36"/>
                    <a:pt x="20" y="34"/>
                  </a:cubicBezTo>
                  <a:cubicBezTo>
                    <a:pt x="20" y="32"/>
                    <a:pt x="18" y="31"/>
                    <a:pt x="18" y="29"/>
                  </a:cubicBezTo>
                  <a:cubicBezTo>
                    <a:pt x="19" y="25"/>
                    <a:pt x="20" y="20"/>
                    <a:pt x="20" y="16"/>
                  </a:cubicBezTo>
                  <a:cubicBezTo>
                    <a:pt x="21" y="11"/>
                    <a:pt x="23" y="6"/>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sp>
        <p:nvSpPr>
          <p:cNvPr id="5" name="Footer Placeholder 4">
            <a:extLst>
              <a:ext uri="{FF2B5EF4-FFF2-40B4-BE49-F238E27FC236}">
                <a16:creationId xmlns:a16="http://schemas.microsoft.com/office/drawing/2014/main" id="{EF38A325-19AD-4AE1-8AE1-D868CEE413F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7C7EFE77-5050-4DDF-B493-22FAA7261A68}"/>
              </a:ext>
            </a:extLst>
          </p:cNvPr>
          <p:cNvSpPr>
            <a:spLocks noGrp="1"/>
          </p:cNvSpPr>
          <p:nvPr>
            <p:ph type="sldNum" sz="quarter" idx="10"/>
          </p:nvPr>
        </p:nvSpPr>
        <p:spPr/>
        <p:txBody>
          <a:bodyPr/>
          <a:lstStyle/>
          <a:p>
            <a:fld id="{1F90F471-3972-4120-B8B3-0237DE626C35}" type="slidenum">
              <a:rPr lang="en-US" smtClean="0"/>
              <a:pPr/>
              <a:t>357</a:t>
            </a:fld>
            <a:endParaRPr lang="en-US" dirty="0"/>
          </a:p>
        </p:txBody>
      </p:sp>
    </p:spTree>
    <p:extLst>
      <p:ext uri="{BB962C8B-B14F-4D97-AF65-F5344CB8AC3E}">
        <p14:creationId xmlns:p14="http://schemas.microsoft.com/office/powerpoint/2010/main" val="2869512686"/>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Brazil</a:t>
            </a:r>
            <a:endParaRPr lang="de-DE" dirty="0"/>
          </a:p>
        </p:txBody>
      </p:sp>
      <p:sp>
        <p:nvSpPr>
          <p:cNvPr id="3" name="TextBox 2">
            <a:extLst>
              <a:ext uri="{FF2B5EF4-FFF2-40B4-BE49-F238E27FC236}">
                <a16:creationId xmlns:a16="http://schemas.microsoft.com/office/drawing/2014/main" id="{6C865986-019F-4346-A511-CCCD44BC21FC}"/>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shade one or more countries</a:t>
            </a:r>
          </a:p>
        </p:txBody>
      </p:sp>
      <p:grpSp>
        <p:nvGrpSpPr>
          <p:cNvPr id="48" name="Group 47" descr="Describe map here">
            <a:extLst>
              <a:ext uri="{FF2B5EF4-FFF2-40B4-BE49-F238E27FC236}">
                <a16:creationId xmlns:a16="http://schemas.microsoft.com/office/drawing/2014/main" id="{7268A973-B455-40B2-8726-51C8DD7DAD5B}"/>
              </a:ext>
            </a:extLst>
          </p:cNvPr>
          <p:cNvGrpSpPr/>
          <p:nvPr/>
        </p:nvGrpSpPr>
        <p:grpSpPr bwMode="auto">
          <a:xfrm>
            <a:off x="4093069" y="1919941"/>
            <a:ext cx="3847667" cy="3826739"/>
            <a:chOff x="483406" y="1702755"/>
            <a:chExt cx="3847667" cy="3826739"/>
          </a:xfrm>
          <a:solidFill>
            <a:srgbClr val="96968C">
              <a:lumMod val="40000"/>
              <a:lumOff val="60000"/>
            </a:srgbClr>
          </a:solidFill>
        </p:grpSpPr>
        <p:sp>
          <p:nvSpPr>
            <p:cNvPr id="49" name="Freeform 46">
              <a:extLst>
                <a:ext uri="{FF2B5EF4-FFF2-40B4-BE49-F238E27FC236}">
                  <a16:creationId xmlns:a16="http://schemas.microsoft.com/office/drawing/2014/main" id="{97800CD2-F7EF-4777-B2BF-38C11562BB3D}"/>
                </a:ext>
              </a:extLst>
            </p:cNvPr>
            <p:cNvSpPr>
              <a:spLocks/>
            </p:cNvSpPr>
            <p:nvPr/>
          </p:nvSpPr>
          <p:spPr bwMode="auto">
            <a:xfrm>
              <a:off x="1218857" y="1702755"/>
              <a:ext cx="594938" cy="657721"/>
            </a:xfrm>
            <a:custGeom>
              <a:avLst/>
              <a:gdLst>
                <a:gd name="T0" fmla="*/ 390 w 398"/>
                <a:gd name="T1" fmla="*/ 334 h 440"/>
                <a:gd name="T2" fmla="*/ 364 w 398"/>
                <a:gd name="T3" fmla="*/ 334 h 440"/>
                <a:gd name="T4" fmla="*/ 336 w 398"/>
                <a:gd name="T5" fmla="*/ 334 h 440"/>
                <a:gd name="T6" fmla="*/ 316 w 398"/>
                <a:gd name="T7" fmla="*/ 360 h 440"/>
                <a:gd name="T8" fmla="*/ 296 w 398"/>
                <a:gd name="T9" fmla="*/ 386 h 440"/>
                <a:gd name="T10" fmla="*/ 290 w 398"/>
                <a:gd name="T11" fmla="*/ 412 h 440"/>
                <a:gd name="T12" fmla="*/ 262 w 398"/>
                <a:gd name="T13" fmla="*/ 396 h 440"/>
                <a:gd name="T14" fmla="*/ 234 w 398"/>
                <a:gd name="T15" fmla="*/ 396 h 440"/>
                <a:gd name="T16" fmla="*/ 216 w 398"/>
                <a:gd name="T17" fmla="*/ 422 h 440"/>
                <a:gd name="T18" fmla="*/ 200 w 398"/>
                <a:gd name="T19" fmla="*/ 440 h 440"/>
                <a:gd name="T20" fmla="*/ 174 w 398"/>
                <a:gd name="T21" fmla="*/ 422 h 440"/>
                <a:gd name="T22" fmla="*/ 160 w 398"/>
                <a:gd name="T23" fmla="*/ 386 h 440"/>
                <a:gd name="T24" fmla="*/ 160 w 398"/>
                <a:gd name="T25" fmla="*/ 352 h 440"/>
                <a:gd name="T26" fmla="*/ 160 w 398"/>
                <a:gd name="T27" fmla="*/ 318 h 440"/>
                <a:gd name="T28" fmla="*/ 142 w 398"/>
                <a:gd name="T29" fmla="*/ 292 h 440"/>
                <a:gd name="T30" fmla="*/ 126 w 398"/>
                <a:gd name="T31" fmla="*/ 258 h 440"/>
                <a:gd name="T32" fmla="*/ 114 w 398"/>
                <a:gd name="T33" fmla="*/ 222 h 440"/>
                <a:gd name="T34" fmla="*/ 100 w 398"/>
                <a:gd name="T35" fmla="*/ 204 h 440"/>
                <a:gd name="T36" fmla="*/ 92 w 398"/>
                <a:gd name="T37" fmla="*/ 196 h 440"/>
                <a:gd name="T38" fmla="*/ 50 w 398"/>
                <a:gd name="T39" fmla="*/ 196 h 440"/>
                <a:gd name="T40" fmla="*/ 26 w 398"/>
                <a:gd name="T41" fmla="*/ 180 h 440"/>
                <a:gd name="T42" fmla="*/ 32 w 398"/>
                <a:gd name="T43" fmla="*/ 144 h 440"/>
                <a:gd name="T44" fmla="*/ 32 w 398"/>
                <a:gd name="T45" fmla="*/ 114 h 440"/>
                <a:gd name="T46" fmla="*/ 0 w 398"/>
                <a:gd name="T47" fmla="*/ 94 h 440"/>
                <a:gd name="T48" fmla="*/ 24 w 398"/>
                <a:gd name="T49" fmla="*/ 80 h 440"/>
                <a:gd name="T50" fmla="*/ 52 w 398"/>
                <a:gd name="T51" fmla="*/ 92 h 440"/>
                <a:gd name="T52" fmla="*/ 80 w 398"/>
                <a:gd name="T53" fmla="*/ 102 h 440"/>
                <a:gd name="T54" fmla="*/ 106 w 398"/>
                <a:gd name="T55" fmla="*/ 102 h 440"/>
                <a:gd name="T56" fmla="*/ 134 w 398"/>
                <a:gd name="T57" fmla="*/ 110 h 440"/>
                <a:gd name="T58" fmla="*/ 160 w 398"/>
                <a:gd name="T59" fmla="*/ 86 h 440"/>
                <a:gd name="T60" fmla="*/ 180 w 398"/>
                <a:gd name="T61" fmla="*/ 86 h 440"/>
                <a:gd name="T62" fmla="*/ 208 w 398"/>
                <a:gd name="T63" fmla="*/ 76 h 440"/>
                <a:gd name="T64" fmla="*/ 234 w 398"/>
                <a:gd name="T65" fmla="*/ 60 h 440"/>
                <a:gd name="T66" fmla="*/ 262 w 398"/>
                <a:gd name="T67" fmla="*/ 34 h 440"/>
                <a:gd name="T68" fmla="*/ 282 w 398"/>
                <a:gd name="T69" fmla="*/ 4 h 440"/>
                <a:gd name="T70" fmla="*/ 308 w 398"/>
                <a:gd name="T71" fmla="*/ 4 h 440"/>
                <a:gd name="T72" fmla="*/ 314 w 398"/>
                <a:gd name="T73" fmla="*/ 40 h 440"/>
                <a:gd name="T74" fmla="*/ 342 w 398"/>
                <a:gd name="T75" fmla="*/ 60 h 440"/>
                <a:gd name="T76" fmla="*/ 336 w 398"/>
                <a:gd name="T77" fmla="*/ 92 h 440"/>
                <a:gd name="T78" fmla="*/ 322 w 398"/>
                <a:gd name="T79" fmla="*/ 118 h 440"/>
                <a:gd name="T80" fmla="*/ 322 w 398"/>
                <a:gd name="T81" fmla="*/ 154 h 440"/>
                <a:gd name="T82" fmla="*/ 314 w 398"/>
                <a:gd name="T83" fmla="*/ 188 h 440"/>
                <a:gd name="T84" fmla="*/ 342 w 398"/>
                <a:gd name="T85" fmla="*/ 204 h 440"/>
                <a:gd name="T86" fmla="*/ 342 w 398"/>
                <a:gd name="T87" fmla="*/ 240 h 440"/>
                <a:gd name="T88" fmla="*/ 368 w 398"/>
                <a:gd name="T89" fmla="*/ 258 h 440"/>
                <a:gd name="T90" fmla="*/ 390 w 398"/>
                <a:gd name="T91" fmla="*/ 276 h 440"/>
                <a:gd name="T92" fmla="*/ 390 w 398"/>
                <a:gd name="T93" fmla="*/ 302 h 440"/>
                <a:gd name="T94" fmla="*/ 398 w 398"/>
                <a:gd name="T95" fmla="*/ 318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98" h="440">
                  <a:moveTo>
                    <a:pt x="398" y="318"/>
                  </a:moveTo>
                  <a:lnTo>
                    <a:pt x="390" y="334"/>
                  </a:lnTo>
                  <a:lnTo>
                    <a:pt x="376" y="334"/>
                  </a:lnTo>
                  <a:lnTo>
                    <a:pt x="364" y="334"/>
                  </a:lnTo>
                  <a:lnTo>
                    <a:pt x="350" y="334"/>
                  </a:lnTo>
                  <a:lnTo>
                    <a:pt x="336" y="334"/>
                  </a:lnTo>
                  <a:lnTo>
                    <a:pt x="322" y="344"/>
                  </a:lnTo>
                  <a:lnTo>
                    <a:pt x="316" y="360"/>
                  </a:lnTo>
                  <a:lnTo>
                    <a:pt x="310" y="378"/>
                  </a:lnTo>
                  <a:lnTo>
                    <a:pt x="296" y="386"/>
                  </a:lnTo>
                  <a:lnTo>
                    <a:pt x="302" y="404"/>
                  </a:lnTo>
                  <a:lnTo>
                    <a:pt x="290" y="412"/>
                  </a:lnTo>
                  <a:lnTo>
                    <a:pt x="276" y="412"/>
                  </a:lnTo>
                  <a:lnTo>
                    <a:pt x="262" y="396"/>
                  </a:lnTo>
                  <a:lnTo>
                    <a:pt x="248" y="396"/>
                  </a:lnTo>
                  <a:lnTo>
                    <a:pt x="234" y="396"/>
                  </a:lnTo>
                  <a:lnTo>
                    <a:pt x="220" y="404"/>
                  </a:lnTo>
                  <a:lnTo>
                    <a:pt x="216" y="422"/>
                  </a:lnTo>
                  <a:lnTo>
                    <a:pt x="208" y="440"/>
                  </a:lnTo>
                  <a:lnTo>
                    <a:pt x="200" y="440"/>
                  </a:lnTo>
                  <a:lnTo>
                    <a:pt x="188" y="428"/>
                  </a:lnTo>
                  <a:lnTo>
                    <a:pt x="174" y="422"/>
                  </a:lnTo>
                  <a:lnTo>
                    <a:pt x="160" y="404"/>
                  </a:lnTo>
                  <a:lnTo>
                    <a:pt x="160" y="386"/>
                  </a:lnTo>
                  <a:lnTo>
                    <a:pt x="166" y="368"/>
                  </a:lnTo>
                  <a:lnTo>
                    <a:pt x="160" y="352"/>
                  </a:lnTo>
                  <a:lnTo>
                    <a:pt x="160" y="334"/>
                  </a:lnTo>
                  <a:lnTo>
                    <a:pt x="160" y="318"/>
                  </a:lnTo>
                  <a:lnTo>
                    <a:pt x="154" y="302"/>
                  </a:lnTo>
                  <a:lnTo>
                    <a:pt x="142" y="292"/>
                  </a:lnTo>
                  <a:lnTo>
                    <a:pt x="126" y="272"/>
                  </a:lnTo>
                  <a:lnTo>
                    <a:pt x="126" y="258"/>
                  </a:lnTo>
                  <a:lnTo>
                    <a:pt x="120" y="240"/>
                  </a:lnTo>
                  <a:lnTo>
                    <a:pt x="114" y="222"/>
                  </a:lnTo>
                  <a:lnTo>
                    <a:pt x="114" y="204"/>
                  </a:lnTo>
                  <a:lnTo>
                    <a:pt x="100" y="204"/>
                  </a:lnTo>
                  <a:lnTo>
                    <a:pt x="98" y="204"/>
                  </a:lnTo>
                  <a:lnTo>
                    <a:pt x="92" y="196"/>
                  </a:lnTo>
                  <a:lnTo>
                    <a:pt x="64" y="198"/>
                  </a:lnTo>
                  <a:lnTo>
                    <a:pt x="50" y="196"/>
                  </a:lnTo>
                  <a:lnTo>
                    <a:pt x="32" y="192"/>
                  </a:lnTo>
                  <a:lnTo>
                    <a:pt x="26" y="180"/>
                  </a:lnTo>
                  <a:lnTo>
                    <a:pt x="26" y="162"/>
                  </a:lnTo>
                  <a:lnTo>
                    <a:pt x="32" y="144"/>
                  </a:lnTo>
                  <a:lnTo>
                    <a:pt x="40" y="126"/>
                  </a:lnTo>
                  <a:lnTo>
                    <a:pt x="32" y="114"/>
                  </a:lnTo>
                  <a:lnTo>
                    <a:pt x="14" y="100"/>
                  </a:lnTo>
                  <a:lnTo>
                    <a:pt x="0" y="94"/>
                  </a:lnTo>
                  <a:lnTo>
                    <a:pt x="0" y="82"/>
                  </a:lnTo>
                  <a:lnTo>
                    <a:pt x="24" y="80"/>
                  </a:lnTo>
                  <a:lnTo>
                    <a:pt x="40" y="86"/>
                  </a:lnTo>
                  <a:lnTo>
                    <a:pt x="52" y="92"/>
                  </a:lnTo>
                  <a:lnTo>
                    <a:pt x="66" y="92"/>
                  </a:lnTo>
                  <a:lnTo>
                    <a:pt x="80" y="102"/>
                  </a:lnTo>
                  <a:lnTo>
                    <a:pt x="92" y="102"/>
                  </a:lnTo>
                  <a:lnTo>
                    <a:pt x="106" y="102"/>
                  </a:lnTo>
                  <a:lnTo>
                    <a:pt x="120" y="110"/>
                  </a:lnTo>
                  <a:lnTo>
                    <a:pt x="134" y="110"/>
                  </a:lnTo>
                  <a:lnTo>
                    <a:pt x="148" y="92"/>
                  </a:lnTo>
                  <a:lnTo>
                    <a:pt x="160" y="86"/>
                  </a:lnTo>
                  <a:lnTo>
                    <a:pt x="166" y="86"/>
                  </a:lnTo>
                  <a:lnTo>
                    <a:pt x="180" y="86"/>
                  </a:lnTo>
                  <a:lnTo>
                    <a:pt x="196" y="76"/>
                  </a:lnTo>
                  <a:lnTo>
                    <a:pt x="208" y="76"/>
                  </a:lnTo>
                  <a:lnTo>
                    <a:pt x="220" y="66"/>
                  </a:lnTo>
                  <a:lnTo>
                    <a:pt x="234" y="60"/>
                  </a:lnTo>
                  <a:lnTo>
                    <a:pt x="248" y="40"/>
                  </a:lnTo>
                  <a:lnTo>
                    <a:pt x="262" y="34"/>
                  </a:lnTo>
                  <a:lnTo>
                    <a:pt x="274" y="24"/>
                  </a:lnTo>
                  <a:lnTo>
                    <a:pt x="282" y="4"/>
                  </a:lnTo>
                  <a:lnTo>
                    <a:pt x="296" y="0"/>
                  </a:lnTo>
                  <a:lnTo>
                    <a:pt x="308" y="4"/>
                  </a:lnTo>
                  <a:lnTo>
                    <a:pt x="308" y="24"/>
                  </a:lnTo>
                  <a:lnTo>
                    <a:pt x="314" y="40"/>
                  </a:lnTo>
                  <a:lnTo>
                    <a:pt x="328" y="40"/>
                  </a:lnTo>
                  <a:lnTo>
                    <a:pt x="342" y="60"/>
                  </a:lnTo>
                  <a:lnTo>
                    <a:pt x="342" y="76"/>
                  </a:lnTo>
                  <a:lnTo>
                    <a:pt x="336" y="92"/>
                  </a:lnTo>
                  <a:lnTo>
                    <a:pt x="336" y="110"/>
                  </a:lnTo>
                  <a:lnTo>
                    <a:pt x="322" y="118"/>
                  </a:lnTo>
                  <a:lnTo>
                    <a:pt x="314" y="136"/>
                  </a:lnTo>
                  <a:lnTo>
                    <a:pt x="322" y="154"/>
                  </a:lnTo>
                  <a:lnTo>
                    <a:pt x="314" y="170"/>
                  </a:lnTo>
                  <a:lnTo>
                    <a:pt x="314" y="188"/>
                  </a:lnTo>
                  <a:lnTo>
                    <a:pt x="328" y="204"/>
                  </a:lnTo>
                  <a:lnTo>
                    <a:pt x="342" y="204"/>
                  </a:lnTo>
                  <a:lnTo>
                    <a:pt x="342" y="222"/>
                  </a:lnTo>
                  <a:lnTo>
                    <a:pt x="342" y="240"/>
                  </a:lnTo>
                  <a:lnTo>
                    <a:pt x="356" y="258"/>
                  </a:lnTo>
                  <a:lnTo>
                    <a:pt x="368" y="258"/>
                  </a:lnTo>
                  <a:lnTo>
                    <a:pt x="384" y="266"/>
                  </a:lnTo>
                  <a:lnTo>
                    <a:pt x="390" y="276"/>
                  </a:lnTo>
                  <a:lnTo>
                    <a:pt x="396" y="292"/>
                  </a:lnTo>
                  <a:lnTo>
                    <a:pt x="390" y="302"/>
                  </a:lnTo>
                  <a:lnTo>
                    <a:pt x="396" y="318"/>
                  </a:lnTo>
                  <a:lnTo>
                    <a:pt x="398" y="31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50" name="Freeform 47">
              <a:extLst>
                <a:ext uri="{FF2B5EF4-FFF2-40B4-BE49-F238E27FC236}">
                  <a16:creationId xmlns:a16="http://schemas.microsoft.com/office/drawing/2014/main" id="{F81003DC-169A-4F9A-A3BA-26BA7E0DB3DF}"/>
                </a:ext>
              </a:extLst>
            </p:cNvPr>
            <p:cNvSpPr>
              <a:spLocks/>
            </p:cNvSpPr>
            <p:nvPr/>
          </p:nvSpPr>
          <p:spPr bwMode="auto">
            <a:xfrm>
              <a:off x="1371329" y="1702755"/>
              <a:ext cx="594938" cy="657721"/>
            </a:xfrm>
            <a:custGeom>
              <a:avLst/>
              <a:gdLst>
                <a:gd name="T0" fmla="*/ 390 w 398"/>
                <a:gd name="T1" fmla="*/ 334 h 440"/>
                <a:gd name="T2" fmla="*/ 364 w 398"/>
                <a:gd name="T3" fmla="*/ 334 h 440"/>
                <a:gd name="T4" fmla="*/ 336 w 398"/>
                <a:gd name="T5" fmla="*/ 334 h 440"/>
                <a:gd name="T6" fmla="*/ 316 w 398"/>
                <a:gd name="T7" fmla="*/ 360 h 440"/>
                <a:gd name="T8" fmla="*/ 296 w 398"/>
                <a:gd name="T9" fmla="*/ 386 h 440"/>
                <a:gd name="T10" fmla="*/ 290 w 398"/>
                <a:gd name="T11" fmla="*/ 412 h 440"/>
                <a:gd name="T12" fmla="*/ 262 w 398"/>
                <a:gd name="T13" fmla="*/ 396 h 440"/>
                <a:gd name="T14" fmla="*/ 234 w 398"/>
                <a:gd name="T15" fmla="*/ 396 h 440"/>
                <a:gd name="T16" fmla="*/ 216 w 398"/>
                <a:gd name="T17" fmla="*/ 422 h 440"/>
                <a:gd name="T18" fmla="*/ 200 w 398"/>
                <a:gd name="T19" fmla="*/ 440 h 440"/>
                <a:gd name="T20" fmla="*/ 174 w 398"/>
                <a:gd name="T21" fmla="*/ 422 h 440"/>
                <a:gd name="T22" fmla="*/ 160 w 398"/>
                <a:gd name="T23" fmla="*/ 386 h 440"/>
                <a:gd name="T24" fmla="*/ 160 w 398"/>
                <a:gd name="T25" fmla="*/ 352 h 440"/>
                <a:gd name="T26" fmla="*/ 160 w 398"/>
                <a:gd name="T27" fmla="*/ 318 h 440"/>
                <a:gd name="T28" fmla="*/ 142 w 398"/>
                <a:gd name="T29" fmla="*/ 292 h 440"/>
                <a:gd name="T30" fmla="*/ 126 w 398"/>
                <a:gd name="T31" fmla="*/ 258 h 440"/>
                <a:gd name="T32" fmla="*/ 114 w 398"/>
                <a:gd name="T33" fmla="*/ 222 h 440"/>
                <a:gd name="T34" fmla="*/ 100 w 398"/>
                <a:gd name="T35" fmla="*/ 204 h 440"/>
                <a:gd name="T36" fmla="*/ 92 w 398"/>
                <a:gd name="T37" fmla="*/ 196 h 440"/>
                <a:gd name="T38" fmla="*/ 50 w 398"/>
                <a:gd name="T39" fmla="*/ 196 h 440"/>
                <a:gd name="T40" fmla="*/ 26 w 398"/>
                <a:gd name="T41" fmla="*/ 180 h 440"/>
                <a:gd name="T42" fmla="*/ 32 w 398"/>
                <a:gd name="T43" fmla="*/ 144 h 440"/>
                <a:gd name="T44" fmla="*/ 32 w 398"/>
                <a:gd name="T45" fmla="*/ 114 h 440"/>
                <a:gd name="T46" fmla="*/ 0 w 398"/>
                <a:gd name="T47" fmla="*/ 94 h 440"/>
                <a:gd name="T48" fmla="*/ 24 w 398"/>
                <a:gd name="T49" fmla="*/ 80 h 440"/>
                <a:gd name="T50" fmla="*/ 52 w 398"/>
                <a:gd name="T51" fmla="*/ 92 h 440"/>
                <a:gd name="T52" fmla="*/ 80 w 398"/>
                <a:gd name="T53" fmla="*/ 102 h 440"/>
                <a:gd name="T54" fmla="*/ 106 w 398"/>
                <a:gd name="T55" fmla="*/ 102 h 440"/>
                <a:gd name="T56" fmla="*/ 134 w 398"/>
                <a:gd name="T57" fmla="*/ 110 h 440"/>
                <a:gd name="T58" fmla="*/ 160 w 398"/>
                <a:gd name="T59" fmla="*/ 86 h 440"/>
                <a:gd name="T60" fmla="*/ 180 w 398"/>
                <a:gd name="T61" fmla="*/ 86 h 440"/>
                <a:gd name="T62" fmla="*/ 208 w 398"/>
                <a:gd name="T63" fmla="*/ 76 h 440"/>
                <a:gd name="T64" fmla="*/ 234 w 398"/>
                <a:gd name="T65" fmla="*/ 60 h 440"/>
                <a:gd name="T66" fmla="*/ 262 w 398"/>
                <a:gd name="T67" fmla="*/ 34 h 440"/>
                <a:gd name="T68" fmla="*/ 282 w 398"/>
                <a:gd name="T69" fmla="*/ 4 h 440"/>
                <a:gd name="T70" fmla="*/ 308 w 398"/>
                <a:gd name="T71" fmla="*/ 4 h 440"/>
                <a:gd name="T72" fmla="*/ 314 w 398"/>
                <a:gd name="T73" fmla="*/ 40 h 440"/>
                <a:gd name="T74" fmla="*/ 342 w 398"/>
                <a:gd name="T75" fmla="*/ 60 h 440"/>
                <a:gd name="T76" fmla="*/ 336 w 398"/>
                <a:gd name="T77" fmla="*/ 92 h 440"/>
                <a:gd name="T78" fmla="*/ 322 w 398"/>
                <a:gd name="T79" fmla="*/ 118 h 440"/>
                <a:gd name="T80" fmla="*/ 322 w 398"/>
                <a:gd name="T81" fmla="*/ 154 h 440"/>
                <a:gd name="T82" fmla="*/ 314 w 398"/>
                <a:gd name="T83" fmla="*/ 188 h 440"/>
                <a:gd name="T84" fmla="*/ 342 w 398"/>
                <a:gd name="T85" fmla="*/ 204 h 440"/>
                <a:gd name="T86" fmla="*/ 342 w 398"/>
                <a:gd name="T87" fmla="*/ 240 h 440"/>
                <a:gd name="T88" fmla="*/ 368 w 398"/>
                <a:gd name="T89" fmla="*/ 258 h 440"/>
                <a:gd name="T90" fmla="*/ 390 w 398"/>
                <a:gd name="T91" fmla="*/ 276 h 440"/>
                <a:gd name="T92" fmla="*/ 390 w 398"/>
                <a:gd name="T93" fmla="*/ 302 h 440"/>
                <a:gd name="T94" fmla="*/ 398 w 398"/>
                <a:gd name="T95" fmla="*/ 318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98" h="440">
                  <a:moveTo>
                    <a:pt x="398" y="318"/>
                  </a:moveTo>
                  <a:lnTo>
                    <a:pt x="390" y="334"/>
                  </a:lnTo>
                  <a:lnTo>
                    <a:pt x="376" y="334"/>
                  </a:lnTo>
                  <a:lnTo>
                    <a:pt x="364" y="334"/>
                  </a:lnTo>
                  <a:lnTo>
                    <a:pt x="350" y="334"/>
                  </a:lnTo>
                  <a:lnTo>
                    <a:pt x="336" y="334"/>
                  </a:lnTo>
                  <a:lnTo>
                    <a:pt x="322" y="344"/>
                  </a:lnTo>
                  <a:lnTo>
                    <a:pt x="316" y="360"/>
                  </a:lnTo>
                  <a:lnTo>
                    <a:pt x="310" y="378"/>
                  </a:lnTo>
                  <a:lnTo>
                    <a:pt x="296" y="386"/>
                  </a:lnTo>
                  <a:lnTo>
                    <a:pt x="302" y="404"/>
                  </a:lnTo>
                  <a:lnTo>
                    <a:pt x="290" y="412"/>
                  </a:lnTo>
                  <a:lnTo>
                    <a:pt x="276" y="412"/>
                  </a:lnTo>
                  <a:lnTo>
                    <a:pt x="262" y="396"/>
                  </a:lnTo>
                  <a:lnTo>
                    <a:pt x="248" y="396"/>
                  </a:lnTo>
                  <a:lnTo>
                    <a:pt x="234" y="396"/>
                  </a:lnTo>
                  <a:lnTo>
                    <a:pt x="220" y="404"/>
                  </a:lnTo>
                  <a:lnTo>
                    <a:pt x="216" y="422"/>
                  </a:lnTo>
                  <a:lnTo>
                    <a:pt x="208" y="440"/>
                  </a:lnTo>
                  <a:lnTo>
                    <a:pt x="200" y="440"/>
                  </a:lnTo>
                  <a:lnTo>
                    <a:pt x="188" y="428"/>
                  </a:lnTo>
                  <a:lnTo>
                    <a:pt x="174" y="422"/>
                  </a:lnTo>
                  <a:lnTo>
                    <a:pt x="160" y="404"/>
                  </a:lnTo>
                  <a:lnTo>
                    <a:pt x="160" y="386"/>
                  </a:lnTo>
                  <a:lnTo>
                    <a:pt x="166" y="368"/>
                  </a:lnTo>
                  <a:lnTo>
                    <a:pt x="160" y="352"/>
                  </a:lnTo>
                  <a:lnTo>
                    <a:pt x="160" y="334"/>
                  </a:lnTo>
                  <a:lnTo>
                    <a:pt x="160" y="318"/>
                  </a:lnTo>
                  <a:lnTo>
                    <a:pt x="154" y="302"/>
                  </a:lnTo>
                  <a:lnTo>
                    <a:pt x="142" y="292"/>
                  </a:lnTo>
                  <a:lnTo>
                    <a:pt x="126" y="272"/>
                  </a:lnTo>
                  <a:lnTo>
                    <a:pt x="126" y="258"/>
                  </a:lnTo>
                  <a:lnTo>
                    <a:pt x="120" y="240"/>
                  </a:lnTo>
                  <a:lnTo>
                    <a:pt x="114" y="222"/>
                  </a:lnTo>
                  <a:lnTo>
                    <a:pt x="114" y="204"/>
                  </a:lnTo>
                  <a:lnTo>
                    <a:pt x="100" y="204"/>
                  </a:lnTo>
                  <a:lnTo>
                    <a:pt x="98" y="204"/>
                  </a:lnTo>
                  <a:lnTo>
                    <a:pt x="92" y="196"/>
                  </a:lnTo>
                  <a:lnTo>
                    <a:pt x="64" y="198"/>
                  </a:lnTo>
                  <a:lnTo>
                    <a:pt x="50" y="196"/>
                  </a:lnTo>
                  <a:lnTo>
                    <a:pt x="32" y="192"/>
                  </a:lnTo>
                  <a:lnTo>
                    <a:pt x="26" y="180"/>
                  </a:lnTo>
                  <a:lnTo>
                    <a:pt x="26" y="162"/>
                  </a:lnTo>
                  <a:lnTo>
                    <a:pt x="32" y="144"/>
                  </a:lnTo>
                  <a:lnTo>
                    <a:pt x="40" y="126"/>
                  </a:lnTo>
                  <a:lnTo>
                    <a:pt x="32" y="114"/>
                  </a:lnTo>
                  <a:lnTo>
                    <a:pt x="14" y="100"/>
                  </a:lnTo>
                  <a:lnTo>
                    <a:pt x="0" y="94"/>
                  </a:lnTo>
                  <a:lnTo>
                    <a:pt x="0" y="82"/>
                  </a:lnTo>
                  <a:lnTo>
                    <a:pt x="24" y="80"/>
                  </a:lnTo>
                  <a:lnTo>
                    <a:pt x="40" y="86"/>
                  </a:lnTo>
                  <a:lnTo>
                    <a:pt x="52" y="92"/>
                  </a:lnTo>
                  <a:lnTo>
                    <a:pt x="66" y="92"/>
                  </a:lnTo>
                  <a:lnTo>
                    <a:pt x="80" y="102"/>
                  </a:lnTo>
                  <a:lnTo>
                    <a:pt x="92" y="102"/>
                  </a:lnTo>
                  <a:lnTo>
                    <a:pt x="106" y="102"/>
                  </a:lnTo>
                  <a:lnTo>
                    <a:pt x="120" y="110"/>
                  </a:lnTo>
                  <a:lnTo>
                    <a:pt x="134" y="110"/>
                  </a:lnTo>
                  <a:lnTo>
                    <a:pt x="148" y="92"/>
                  </a:lnTo>
                  <a:lnTo>
                    <a:pt x="160" y="86"/>
                  </a:lnTo>
                  <a:lnTo>
                    <a:pt x="166" y="86"/>
                  </a:lnTo>
                  <a:lnTo>
                    <a:pt x="180" y="86"/>
                  </a:lnTo>
                  <a:lnTo>
                    <a:pt x="196" y="76"/>
                  </a:lnTo>
                  <a:lnTo>
                    <a:pt x="208" y="76"/>
                  </a:lnTo>
                  <a:lnTo>
                    <a:pt x="220" y="66"/>
                  </a:lnTo>
                  <a:lnTo>
                    <a:pt x="234" y="60"/>
                  </a:lnTo>
                  <a:lnTo>
                    <a:pt x="248" y="40"/>
                  </a:lnTo>
                  <a:lnTo>
                    <a:pt x="262" y="34"/>
                  </a:lnTo>
                  <a:lnTo>
                    <a:pt x="274" y="24"/>
                  </a:lnTo>
                  <a:lnTo>
                    <a:pt x="282" y="4"/>
                  </a:lnTo>
                  <a:lnTo>
                    <a:pt x="296" y="0"/>
                  </a:lnTo>
                  <a:lnTo>
                    <a:pt x="308" y="4"/>
                  </a:lnTo>
                  <a:lnTo>
                    <a:pt x="308" y="24"/>
                  </a:lnTo>
                  <a:lnTo>
                    <a:pt x="314" y="40"/>
                  </a:lnTo>
                  <a:lnTo>
                    <a:pt x="328" y="40"/>
                  </a:lnTo>
                  <a:lnTo>
                    <a:pt x="342" y="60"/>
                  </a:lnTo>
                  <a:lnTo>
                    <a:pt x="342" y="76"/>
                  </a:lnTo>
                  <a:lnTo>
                    <a:pt x="336" y="92"/>
                  </a:lnTo>
                  <a:lnTo>
                    <a:pt x="336" y="110"/>
                  </a:lnTo>
                  <a:lnTo>
                    <a:pt x="322" y="118"/>
                  </a:lnTo>
                  <a:lnTo>
                    <a:pt x="314" y="136"/>
                  </a:lnTo>
                  <a:lnTo>
                    <a:pt x="322" y="154"/>
                  </a:lnTo>
                  <a:lnTo>
                    <a:pt x="314" y="170"/>
                  </a:lnTo>
                  <a:lnTo>
                    <a:pt x="314" y="188"/>
                  </a:lnTo>
                  <a:lnTo>
                    <a:pt x="328" y="204"/>
                  </a:lnTo>
                  <a:lnTo>
                    <a:pt x="342" y="204"/>
                  </a:lnTo>
                  <a:lnTo>
                    <a:pt x="342" y="222"/>
                  </a:lnTo>
                  <a:lnTo>
                    <a:pt x="342" y="240"/>
                  </a:lnTo>
                  <a:lnTo>
                    <a:pt x="356" y="258"/>
                  </a:lnTo>
                  <a:lnTo>
                    <a:pt x="368" y="258"/>
                  </a:lnTo>
                  <a:lnTo>
                    <a:pt x="384" y="266"/>
                  </a:lnTo>
                  <a:lnTo>
                    <a:pt x="390" y="276"/>
                  </a:lnTo>
                  <a:lnTo>
                    <a:pt x="396" y="292"/>
                  </a:lnTo>
                  <a:lnTo>
                    <a:pt x="390" y="302"/>
                  </a:lnTo>
                  <a:lnTo>
                    <a:pt x="396" y="318"/>
                  </a:lnTo>
                  <a:lnTo>
                    <a:pt x="398" y="318"/>
                  </a:lnTo>
                </a:path>
              </a:pathLst>
            </a:custGeom>
            <a:grpFill/>
            <a:ln w="8">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51" name="Freeform 48">
              <a:extLst>
                <a:ext uri="{FF2B5EF4-FFF2-40B4-BE49-F238E27FC236}">
                  <a16:creationId xmlns:a16="http://schemas.microsoft.com/office/drawing/2014/main" id="{BE49422F-3BE7-4307-A788-5A47CC1A7752}"/>
                </a:ext>
              </a:extLst>
            </p:cNvPr>
            <p:cNvSpPr>
              <a:spLocks/>
            </p:cNvSpPr>
            <p:nvPr/>
          </p:nvSpPr>
          <p:spPr bwMode="auto">
            <a:xfrm>
              <a:off x="1218858" y="3030155"/>
              <a:ext cx="678648" cy="559063"/>
            </a:xfrm>
            <a:custGeom>
              <a:avLst/>
              <a:gdLst>
                <a:gd name="T0" fmla="*/ 412 w 454"/>
                <a:gd name="T1" fmla="*/ 358 h 374"/>
                <a:gd name="T2" fmla="*/ 426 w 454"/>
                <a:gd name="T3" fmla="*/ 330 h 374"/>
                <a:gd name="T4" fmla="*/ 446 w 454"/>
                <a:gd name="T5" fmla="*/ 314 h 374"/>
                <a:gd name="T6" fmla="*/ 454 w 454"/>
                <a:gd name="T7" fmla="*/ 278 h 374"/>
                <a:gd name="T8" fmla="*/ 440 w 454"/>
                <a:gd name="T9" fmla="*/ 244 h 374"/>
                <a:gd name="T10" fmla="*/ 446 w 454"/>
                <a:gd name="T11" fmla="*/ 208 h 374"/>
                <a:gd name="T12" fmla="*/ 420 w 454"/>
                <a:gd name="T13" fmla="*/ 208 h 374"/>
                <a:gd name="T14" fmla="*/ 398 w 454"/>
                <a:gd name="T15" fmla="*/ 200 h 374"/>
                <a:gd name="T16" fmla="*/ 372 w 454"/>
                <a:gd name="T17" fmla="*/ 182 h 374"/>
                <a:gd name="T18" fmla="*/ 344 w 454"/>
                <a:gd name="T19" fmla="*/ 158 h 374"/>
                <a:gd name="T20" fmla="*/ 344 w 454"/>
                <a:gd name="T21" fmla="*/ 122 h 374"/>
                <a:gd name="T22" fmla="*/ 344 w 454"/>
                <a:gd name="T23" fmla="*/ 86 h 374"/>
                <a:gd name="T24" fmla="*/ 338 w 454"/>
                <a:gd name="T25" fmla="*/ 52 h 374"/>
                <a:gd name="T26" fmla="*/ 324 w 454"/>
                <a:gd name="T27" fmla="*/ 42 h 374"/>
                <a:gd name="T28" fmla="*/ 298 w 454"/>
                <a:gd name="T29" fmla="*/ 34 h 374"/>
                <a:gd name="T30" fmla="*/ 270 w 454"/>
                <a:gd name="T31" fmla="*/ 26 h 374"/>
                <a:gd name="T32" fmla="*/ 242 w 454"/>
                <a:gd name="T33" fmla="*/ 8 h 374"/>
                <a:gd name="T34" fmla="*/ 216 w 454"/>
                <a:gd name="T35" fmla="*/ 0 h 374"/>
                <a:gd name="T36" fmla="*/ 188 w 454"/>
                <a:gd name="T37" fmla="*/ 8 h 374"/>
                <a:gd name="T38" fmla="*/ 168 w 454"/>
                <a:gd name="T39" fmla="*/ 34 h 374"/>
                <a:gd name="T40" fmla="*/ 150 w 454"/>
                <a:gd name="T41" fmla="*/ 60 h 374"/>
                <a:gd name="T42" fmla="*/ 122 w 454"/>
                <a:gd name="T43" fmla="*/ 52 h 374"/>
                <a:gd name="T44" fmla="*/ 106 w 454"/>
                <a:gd name="T45" fmla="*/ 86 h 374"/>
                <a:gd name="T46" fmla="*/ 94 w 454"/>
                <a:gd name="T47" fmla="*/ 96 h 374"/>
                <a:gd name="T48" fmla="*/ 72 w 454"/>
                <a:gd name="T49" fmla="*/ 106 h 374"/>
                <a:gd name="T50" fmla="*/ 40 w 454"/>
                <a:gd name="T51" fmla="*/ 96 h 374"/>
                <a:gd name="T52" fmla="*/ 14 w 454"/>
                <a:gd name="T53" fmla="*/ 96 h 374"/>
                <a:gd name="T54" fmla="*/ 0 w 454"/>
                <a:gd name="T55" fmla="*/ 124 h 374"/>
                <a:gd name="T56" fmla="*/ 44 w 454"/>
                <a:gd name="T57" fmla="*/ 116 h 374"/>
                <a:gd name="T58" fmla="*/ 72 w 454"/>
                <a:gd name="T59" fmla="*/ 118 h 374"/>
                <a:gd name="T60" fmla="*/ 80 w 454"/>
                <a:gd name="T61" fmla="*/ 132 h 374"/>
                <a:gd name="T62" fmla="*/ 88 w 454"/>
                <a:gd name="T63" fmla="*/ 166 h 374"/>
                <a:gd name="T64" fmla="*/ 88 w 454"/>
                <a:gd name="T65" fmla="*/ 200 h 374"/>
                <a:gd name="T66" fmla="*/ 94 w 454"/>
                <a:gd name="T67" fmla="*/ 236 h 374"/>
                <a:gd name="T68" fmla="*/ 122 w 454"/>
                <a:gd name="T69" fmla="*/ 278 h 374"/>
                <a:gd name="T70" fmla="*/ 150 w 454"/>
                <a:gd name="T71" fmla="*/ 296 h 374"/>
                <a:gd name="T72" fmla="*/ 182 w 454"/>
                <a:gd name="T73" fmla="*/ 304 h 374"/>
                <a:gd name="T74" fmla="*/ 210 w 454"/>
                <a:gd name="T75" fmla="*/ 304 h 374"/>
                <a:gd name="T76" fmla="*/ 236 w 454"/>
                <a:gd name="T77" fmla="*/ 314 h 374"/>
                <a:gd name="T78" fmla="*/ 270 w 454"/>
                <a:gd name="T79" fmla="*/ 330 h 374"/>
                <a:gd name="T80" fmla="*/ 298 w 454"/>
                <a:gd name="T81" fmla="*/ 340 h 374"/>
                <a:gd name="T82" fmla="*/ 324 w 454"/>
                <a:gd name="T83" fmla="*/ 366 h 374"/>
                <a:gd name="T84" fmla="*/ 352 w 454"/>
                <a:gd name="T85" fmla="*/ 374 h 374"/>
                <a:gd name="T86" fmla="*/ 380 w 454"/>
                <a:gd name="T87" fmla="*/ 366 h 374"/>
                <a:gd name="T88" fmla="*/ 398 w 454"/>
                <a:gd name="T89"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54" h="374">
                  <a:moveTo>
                    <a:pt x="398" y="374"/>
                  </a:moveTo>
                  <a:lnTo>
                    <a:pt x="412" y="358"/>
                  </a:lnTo>
                  <a:lnTo>
                    <a:pt x="420" y="340"/>
                  </a:lnTo>
                  <a:lnTo>
                    <a:pt x="426" y="330"/>
                  </a:lnTo>
                  <a:lnTo>
                    <a:pt x="432" y="322"/>
                  </a:lnTo>
                  <a:lnTo>
                    <a:pt x="446" y="314"/>
                  </a:lnTo>
                  <a:lnTo>
                    <a:pt x="454" y="296"/>
                  </a:lnTo>
                  <a:lnTo>
                    <a:pt x="454" y="278"/>
                  </a:lnTo>
                  <a:lnTo>
                    <a:pt x="446" y="262"/>
                  </a:lnTo>
                  <a:lnTo>
                    <a:pt x="440" y="244"/>
                  </a:lnTo>
                  <a:lnTo>
                    <a:pt x="440" y="226"/>
                  </a:lnTo>
                  <a:lnTo>
                    <a:pt x="446" y="208"/>
                  </a:lnTo>
                  <a:lnTo>
                    <a:pt x="432" y="208"/>
                  </a:lnTo>
                  <a:lnTo>
                    <a:pt x="420" y="208"/>
                  </a:lnTo>
                  <a:lnTo>
                    <a:pt x="412" y="190"/>
                  </a:lnTo>
                  <a:lnTo>
                    <a:pt x="398" y="200"/>
                  </a:lnTo>
                  <a:lnTo>
                    <a:pt x="384" y="190"/>
                  </a:lnTo>
                  <a:lnTo>
                    <a:pt x="372" y="182"/>
                  </a:lnTo>
                  <a:lnTo>
                    <a:pt x="358" y="174"/>
                  </a:lnTo>
                  <a:lnTo>
                    <a:pt x="344" y="158"/>
                  </a:lnTo>
                  <a:lnTo>
                    <a:pt x="338" y="140"/>
                  </a:lnTo>
                  <a:lnTo>
                    <a:pt x="344" y="122"/>
                  </a:lnTo>
                  <a:lnTo>
                    <a:pt x="352" y="106"/>
                  </a:lnTo>
                  <a:lnTo>
                    <a:pt x="344" y="86"/>
                  </a:lnTo>
                  <a:lnTo>
                    <a:pt x="338" y="70"/>
                  </a:lnTo>
                  <a:lnTo>
                    <a:pt x="338" y="52"/>
                  </a:lnTo>
                  <a:lnTo>
                    <a:pt x="338" y="42"/>
                  </a:lnTo>
                  <a:lnTo>
                    <a:pt x="324" y="42"/>
                  </a:lnTo>
                  <a:lnTo>
                    <a:pt x="312" y="34"/>
                  </a:lnTo>
                  <a:lnTo>
                    <a:pt x="298" y="34"/>
                  </a:lnTo>
                  <a:lnTo>
                    <a:pt x="284" y="34"/>
                  </a:lnTo>
                  <a:lnTo>
                    <a:pt x="270" y="26"/>
                  </a:lnTo>
                  <a:lnTo>
                    <a:pt x="256" y="16"/>
                  </a:lnTo>
                  <a:lnTo>
                    <a:pt x="242" y="8"/>
                  </a:lnTo>
                  <a:lnTo>
                    <a:pt x="228" y="8"/>
                  </a:lnTo>
                  <a:lnTo>
                    <a:pt x="216" y="0"/>
                  </a:lnTo>
                  <a:lnTo>
                    <a:pt x="202" y="16"/>
                  </a:lnTo>
                  <a:lnTo>
                    <a:pt x="188" y="8"/>
                  </a:lnTo>
                  <a:lnTo>
                    <a:pt x="174" y="16"/>
                  </a:lnTo>
                  <a:lnTo>
                    <a:pt x="168" y="34"/>
                  </a:lnTo>
                  <a:lnTo>
                    <a:pt x="164" y="52"/>
                  </a:lnTo>
                  <a:lnTo>
                    <a:pt x="150" y="60"/>
                  </a:lnTo>
                  <a:lnTo>
                    <a:pt x="136" y="60"/>
                  </a:lnTo>
                  <a:lnTo>
                    <a:pt x="122" y="52"/>
                  </a:lnTo>
                  <a:lnTo>
                    <a:pt x="116" y="70"/>
                  </a:lnTo>
                  <a:lnTo>
                    <a:pt x="106" y="86"/>
                  </a:lnTo>
                  <a:lnTo>
                    <a:pt x="100" y="106"/>
                  </a:lnTo>
                  <a:lnTo>
                    <a:pt x="94" y="96"/>
                  </a:lnTo>
                  <a:lnTo>
                    <a:pt x="80" y="96"/>
                  </a:lnTo>
                  <a:lnTo>
                    <a:pt x="72" y="106"/>
                  </a:lnTo>
                  <a:lnTo>
                    <a:pt x="54" y="96"/>
                  </a:lnTo>
                  <a:lnTo>
                    <a:pt x="40" y="96"/>
                  </a:lnTo>
                  <a:lnTo>
                    <a:pt x="28" y="96"/>
                  </a:lnTo>
                  <a:lnTo>
                    <a:pt x="14" y="96"/>
                  </a:lnTo>
                  <a:lnTo>
                    <a:pt x="0" y="114"/>
                  </a:lnTo>
                  <a:lnTo>
                    <a:pt x="0" y="124"/>
                  </a:lnTo>
                  <a:lnTo>
                    <a:pt x="30" y="120"/>
                  </a:lnTo>
                  <a:lnTo>
                    <a:pt x="44" y="116"/>
                  </a:lnTo>
                  <a:lnTo>
                    <a:pt x="56" y="116"/>
                  </a:lnTo>
                  <a:lnTo>
                    <a:pt x="72" y="118"/>
                  </a:lnTo>
                  <a:lnTo>
                    <a:pt x="80" y="122"/>
                  </a:lnTo>
                  <a:lnTo>
                    <a:pt x="80" y="132"/>
                  </a:lnTo>
                  <a:lnTo>
                    <a:pt x="80" y="150"/>
                  </a:lnTo>
                  <a:lnTo>
                    <a:pt x="88" y="166"/>
                  </a:lnTo>
                  <a:lnTo>
                    <a:pt x="88" y="182"/>
                  </a:lnTo>
                  <a:lnTo>
                    <a:pt x="88" y="200"/>
                  </a:lnTo>
                  <a:lnTo>
                    <a:pt x="88" y="218"/>
                  </a:lnTo>
                  <a:lnTo>
                    <a:pt x="94" y="236"/>
                  </a:lnTo>
                  <a:lnTo>
                    <a:pt x="106" y="262"/>
                  </a:lnTo>
                  <a:lnTo>
                    <a:pt x="122" y="278"/>
                  </a:lnTo>
                  <a:lnTo>
                    <a:pt x="136" y="288"/>
                  </a:lnTo>
                  <a:lnTo>
                    <a:pt x="150" y="296"/>
                  </a:lnTo>
                  <a:lnTo>
                    <a:pt x="164" y="304"/>
                  </a:lnTo>
                  <a:lnTo>
                    <a:pt x="182" y="304"/>
                  </a:lnTo>
                  <a:lnTo>
                    <a:pt x="196" y="304"/>
                  </a:lnTo>
                  <a:lnTo>
                    <a:pt x="210" y="304"/>
                  </a:lnTo>
                  <a:lnTo>
                    <a:pt x="222" y="304"/>
                  </a:lnTo>
                  <a:lnTo>
                    <a:pt x="236" y="314"/>
                  </a:lnTo>
                  <a:lnTo>
                    <a:pt x="250" y="322"/>
                  </a:lnTo>
                  <a:lnTo>
                    <a:pt x="270" y="330"/>
                  </a:lnTo>
                  <a:lnTo>
                    <a:pt x="284" y="330"/>
                  </a:lnTo>
                  <a:lnTo>
                    <a:pt x="298" y="340"/>
                  </a:lnTo>
                  <a:lnTo>
                    <a:pt x="312" y="358"/>
                  </a:lnTo>
                  <a:lnTo>
                    <a:pt x="324" y="366"/>
                  </a:lnTo>
                  <a:lnTo>
                    <a:pt x="338" y="374"/>
                  </a:lnTo>
                  <a:lnTo>
                    <a:pt x="352" y="374"/>
                  </a:lnTo>
                  <a:lnTo>
                    <a:pt x="364" y="366"/>
                  </a:lnTo>
                  <a:lnTo>
                    <a:pt x="380" y="366"/>
                  </a:lnTo>
                  <a:lnTo>
                    <a:pt x="392" y="374"/>
                  </a:lnTo>
                  <a:lnTo>
                    <a:pt x="398" y="37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52" name="Freeform 49">
              <a:extLst>
                <a:ext uri="{FF2B5EF4-FFF2-40B4-BE49-F238E27FC236}">
                  <a16:creationId xmlns:a16="http://schemas.microsoft.com/office/drawing/2014/main" id="{A2944EBC-5A40-4B11-8206-7139BF9E274B}"/>
                </a:ext>
              </a:extLst>
            </p:cNvPr>
            <p:cNvSpPr>
              <a:spLocks/>
            </p:cNvSpPr>
            <p:nvPr/>
          </p:nvSpPr>
          <p:spPr bwMode="auto">
            <a:xfrm>
              <a:off x="1218858" y="3030155"/>
              <a:ext cx="678648" cy="559063"/>
            </a:xfrm>
            <a:custGeom>
              <a:avLst/>
              <a:gdLst>
                <a:gd name="T0" fmla="*/ 412 w 454"/>
                <a:gd name="T1" fmla="*/ 358 h 374"/>
                <a:gd name="T2" fmla="*/ 426 w 454"/>
                <a:gd name="T3" fmla="*/ 330 h 374"/>
                <a:gd name="T4" fmla="*/ 446 w 454"/>
                <a:gd name="T5" fmla="*/ 314 h 374"/>
                <a:gd name="T6" fmla="*/ 454 w 454"/>
                <a:gd name="T7" fmla="*/ 278 h 374"/>
                <a:gd name="T8" fmla="*/ 440 w 454"/>
                <a:gd name="T9" fmla="*/ 244 h 374"/>
                <a:gd name="T10" fmla="*/ 446 w 454"/>
                <a:gd name="T11" fmla="*/ 208 h 374"/>
                <a:gd name="T12" fmla="*/ 420 w 454"/>
                <a:gd name="T13" fmla="*/ 208 h 374"/>
                <a:gd name="T14" fmla="*/ 398 w 454"/>
                <a:gd name="T15" fmla="*/ 200 h 374"/>
                <a:gd name="T16" fmla="*/ 372 w 454"/>
                <a:gd name="T17" fmla="*/ 182 h 374"/>
                <a:gd name="T18" fmla="*/ 344 w 454"/>
                <a:gd name="T19" fmla="*/ 158 h 374"/>
                <a:gd name="T20" fmla="*/ 344 w 454"/>
                <a:gd name="T21" fmla="*/ 122 h 374"/>
                <a:gd name="T22" fmla="*/ 344 w 454"/>
                <a:gd name="T23" fmla="*/ 86 h 374"/>
                <a:gd name="T24" fmla="*/ 338 w 454"/>
                <a:gd name="T25" fmla="*/ 52 h 374"/>
                <a:gd name="T26" fmla="*/ 324 w 454"/>
                <a:gd name="T27" fmla="*/ 42 h 374"/>
                <a:gd name="T28" fmla="*/ 298 w 454"/>
                <a:gd name="T29" fmla="*/ 34 h 374"/>
                <a:gd name="T30" fmla="*/ 270 w 454"/>
                <a:gd name="T31" fmla="*/ 26 h 374"/>
                <a:gd name="T32" fmla="*/ 242 w 454"/>
                <a:gd name="T33" fmla="*/ 8 h 374"/>
                <a:gd name="T34" fmla="*/ 216 w 454"/>
                <a:gd name="T35" fmla="*/ 0 h 374"/>
                <a:gd name="T36" fmla="*/ 188 w 454"/>
                <a:gd name="T37" fmla="*/ 8 h 374"/>
                <a:gd name="T38" fmla="*/ 168 w 454"/>
                <a:gd name="T39" fmla="*/ 34 h 374"/>
                <a:gd name="T40" fmla="*/ 150 w 454"/>
                <a:gd name="T41" fmla="*/ 60 h 374"/>
                <a:gd name="T42" fmla="*/ 122 w 454"/>
                <a:gd name="T43" fmla="*/ 52 h 374"/>
                <a:gd name="T44" fmla="*/ 106 w 454"/>
                <a:gd name="T45" fmla="*/ 86 h 374"/>
                <a:gd name="T46" fmla="*/ 94 w 454"/>
                <a:gd name="T47" fmla="*/ 96 h 374"/>
                <a:gd name="T48" fmla="*/ 72 w 454"/>
                <a:gd name="T49" fmla="*/ 106 h 374"/>
                <a:gd name="T50" fmla="*/ 40 w 454"/>
                <a:gd name="T51" fmla="*/ 96 h 374"/>
                <a:gd name="T52" fmla="*/ 14 w 454"/>
                <a:gd name="T53" fmla="*/ 96 h 374"/>
                <a:gd name="T54" fmla="*/ 0 w 454"/>
                <a:gd name="T55" fmla="*/ 124 h 374"/>
                <a:gd name="T56" fmla="*/ 44 w 454"/>
                <a:gd name="T57" fmla="*/ 116 h 374"/>
                <a:gd name="T58" fmla="*/ 72 w 454"/>
                <a:gd name="T59" fmla="*/ 118 h 374"/>
                <a:gd name="T60" fmla="*/ 80 w 454"/>
                <a:gd name="T61" fmla="*/ 132 h 374"/>
                <a:gd name="T62" fmla="*/ 88 w 454"/>
                <a:gd name="T63" fmla="*/ 166 h 374"/>
                <a:gd name="T64" fmla="*/ 88 w 454"/>
                <a:gd name="T65" fmla="*/ 200 h 374"/>
                <a:gd name="T66" fmla="*/ 94 w 454"/>
                <a:gd name="T67" fmla="*/ 236 h 374"/>
                <a:gd name="T68" fmla="*/ 122 w 454"/>
                <a:gd name="T69" fmla="*/ 278 h 374"/>
                <a:gd name="T70" fmla="*/ 150 w 454"/>
                <a:gd name="T71" fmla="*/ 296 h 374"/>
                <a:gd name="T72" fmla="*/ 182 w 454"/>
                <a:gd name="T73" fmla="*/ 304 h 374"/>
                <a:gd name="T74" fmla="*/ 210 w 454"/>
                <a:gd name="T75" fmla="*/ 304 h 374"/>
                <a:gd name="T76" fmla="*/ 236 w 454"/>
                <a:gd name="T77" fmla="*/ 314 h 374"/>
                <a:gd name="T78" fmla="*/ 270 w 454"/>
                <a:gd name="T79" fmla="*/ 330 h 374"/>
                <a:gd name="T80" fmla="*/ 298 w 454"/>
                <a:gd name="T81" fmla="*/ 340 h 374"/>
                <a:gd name="T82" fmla="*/ 324 w 454"/>
                <a:gd name="T83" fmla="*/ 366 h 374"/>
                <a:gd name="T84" fmla="*/ 352 w 454"/>
                <a:gd name="T85" fmla="*/ 374 h 374"/>
                <a:gd name="T86" fmla="*/ 380 w 454"/>
                <a:gd name="T87" fmla="*/ 366 h 374"/>
                <a:gd name="T88" fmla="*/ 398 w 454"/>
                <a:gd name="T89"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54" h="374">
                  <a:moveTo>
                    <a:pt x="398" y="374"/>
                  </a:moveTo>
                  <a:lnTo>
                    <a:pt x="412" y="358"/>
                  </a:lnTo>
                  <a:lnTo>
                    <a:pt x="420" y="340"/>
                  </a:lnTo>
                  <a:lnTo>
                    <a:pt x="426" y="330"/>
                  </a:lnTo>
                  <a:lnTo>
                    <a:pt x="432" y="322"/>
                  </a:lnTo>
                  <a:lnTo>
                    <a:pt x="446" y="314"/>
                  </a:lnTo>
                  <a:lnTo>
                    <a:pt x="454" y="296"/>
                  </a:lnTo>
                  <a:lnTo>
                    <a:pt x="454" y="278"/>
                  </a:lnTo>
                  <a:lnTo>
                    <a:pt x="446" y="262"/>
                  </a:lnTo>
                  <a:lnTo>
                    <a:pt x="440" y="244"/>
                  </a:lnTo>
                  <a:lnTo>
                    <a:pt x="440" y="226"/>
                  </a:lnTo>
                  <a:lnTo>
                    <a:pt x="446" y="208"/>
                  </a:lnTo>
                  <a:lnTo>
                    <a:pt x="432" y="208"/>
                  </a:lnTo>
                  <a:lnTo>
                    <a:pt x="420" y="208"/>
                  </a:lnTo>
                  <a:lnTo>
                    <a:pt x="412" y="190"/>
                  </a:lnTo>
                  <a:lnTo>
                    <a:pt x="398" y="200"/>
                  </a:lnTo>
                  <a:lnTo>
                    <a:pt x="384" y="190"/>
                  </a:lnTo>
                  <a:lnTo>
                    <a:pt x="372" y="182"/>
                  </a:lnTo>
                  <a:lnTo>
                    <a:pt x="358" y="174"/>
                  </a:lnTo>
                  <a:lnTo>
                    <a:pt x="344" y="158"/>
                  </a:lnTo>
                  <a:lnTo>
                    <a:pt x="338" y="140"/>
                  </a:lnTo>
                  <a:lnTo>
                    <a:pt x="344" y="122"/>
                  </a:lnTo>
                  <a:lnTo>
                    <a:pt x="352" y="106"/>
                  </a:lnTo>
                  <a:lnTo>
                    <a:pt x="344" y="86"/>
                  </a:lnTo>
                  <a:lnTo>
                    <a:pt x="338" y="70"/>
                  </a:lnTo>
                  <a:lnTo>
                    <a:pt x="338" y="52"/>
                  </a:lnTo>
                  <a:lnTo>
                    <a:pt x="338" y="42"/>
                  </a:lnTo>
                  <a:lnTo>
                    <a:pt x="324" y="42"/>
                  </a:lnTo>
                  <a:lnTo>
                    <a:pt x="312" y="34"/>
                  </a:lnTo>
                  <a:lnTo>
                    <a:pt x="298" y="34"/>
                  </a:lnTo>
                  <a:lnTo>
                    <a:pt x="284" y="34"/>
                  </a:lnTo>
                  <a:lnTo>
                    <a:pt x="270" y="26"/>
                  </a:lnTo>
                  <a:lnTo>
                    <a:pt x="256" y="16"/>
                  </a:lnTo>
                  <a:lnTo>
                    <a:pt x="242" y="8"/>
                  </a:lnTo>
                  <a:lnTo>
                    <a:pt x="228" y="8"/>
                  </a:lnTo>
                  <a:lnTo>
                    <a:pt x="216" y="0"/>
                  </a:lnTo>
                  <a:lnTo>
                    <a:pt x="202" y="16"/>
                  </a:lnTo>
                  <a:lnTo>
                    <a:pt x="188" y="8"/>
                  </a:lnTo>
                  <a:lnTo>
                    <a:pt x="174" y="16"/>
                  </a:lnTo>
                  <a:lnTo>
                    <a:pt x="168" y="34"/>
                  </a:lnTo>
                  <a:lnTo>
                    <a:pt x="164" y="52"/>
                  </a:lnTo>
                  <a:lnTo>
                    <a:pt x="150" y="60"/>
                  </a:lnTo>
                  <a:lnTo>
                    <a:pt x="136" y="60"/>
                  </a:lnTo>
                  <a:lnTo>
                    <a:pt x="122" y="52"/>
                  </a:lnTo>
                  <a:lnTo>
                    <a:pt x="116" y="70"/>
                  </a:lnTo>
                  <a:lnTo>
                    <a:pt x="106" y="86"/>
                  </a:lnTo>
                  <a:lnTo>
                    <a:pt x="100" y="106"/>
                  </a:lnTo>
                  <a:lnTo>
                    <a:pt x="94" y="96"/>
                  </a:lnTo>
                  <a:lnTo>
                    <a:pt x="80" y="96"/>
                  </a:lnTo>
                  <a:lnTo>
                    <a:pt x="72" y="106"/>
                  </a:lnTo>
                  <a:lnTo>
                    <a:pt x="54" y="96"/>
                  </a:lnTo>
                  <a:lnTo>
                    <a:pt x="40" y="96"/>
                  </a:lnTo>
                  <a:lnTo>
                    <a:pt x="28" y="96"/>
                  </a:lnTo>
                  <a:lnTo>
                    <a:pt x="14" y="96"/>
                  </a:lnTo>
                  <a:lnTo>
                    <a:pt x="0" y="114"/>
                  </a:lnTo>
                  <a:lnTo>
                    <a:pt x="0" y="124"/>
                  </a:lnTo>
                  <a:lnTo>
                    <a:pt x="30" y="120"/>
                  </a:lnTo>
                  <a:lnTo>
                    <a:pt x="44" y="116"/>
                  </a:lnTo>
                  <a:lnTo>
                    <a:pt x="56" y="116"/>
                  </a:lnTo>
                  <a:lnTo>
                    <a:pt x="72" y="118"/>
                  </a:lnTo>
                  <a:lnTo>
                    <a:pt x="80" y="122"/>
                  </a:lnTo>
                  <a:lnTo>
                    <a:pt x="80" y="132"/>
                  </a:lnTo>
                  <a:lnTo>
                    <a:pt x="80" y="150"/>
                  </a:lnTo>
                  <a:lnTo>
                    <a:pt x="88" y="166"/>
                  </a:lnTo>
                  <a:lnTo>
                    <a:pt x="88" y="182"/>
                  </a:lnTo>
                  <a:lnTo>
                    <a:pt x="88" y="200"/>
                  </a:lnTo>
                  <a:lnTo>
                    <a:pt x="88" y="218"/>
                  </a:lnTo>
                  <a:lnTo>
                    <a:pt x="94" y="236"/>
                  </a:lnTo>
                  <a:lnTo>
                    <a:pt x="106" y="262"/>
                  </a:lnTo>
                  <a:lnTo>
                    <a:pt x="122" y="278"/>
                  </a:lnTo>
                  <a:lnTo>
                    <a:pt x="136" y="288"/>
                  </a:lnTo>
                  <a:lnTo>
                    <a:pt x="150" y="296"/>
                  </a:lnTo>
                  <a:lnTo>
                    <a:pt x="164" y="304"/>
                  </a:lnTo>
                  <a:lnTo>
                    <a:pt x="182" y="304"/>
                  </a:lnTo>
                  <a:lnTo>
                    <a:pt x="196" y="304"/>
                  </a:lnTo>
                  <a:lnTo>
                    <a:pt x="210" y="304"/>
                  </a:lnTo>
                  <a:lnTo>
                    <a:pt x="222" y="304"/>
                  </a:lnTo>
                  <a:lnTo>
                    <a:pt x="236" y="314"/>
                  </a:lnTo>
                  <a:lnTo>
                    <a:pt x="250" y="322"/>
                  </a:lnTo>
                  <a:lnTo>
                    <a:pt x="270" y="330"/>
                  </a:lnTo>
                  <a:lnTo>
                    <a:pt x="284" y="330"/>
                  </a:lnTo>
                  <a:lnTo>
                    <a:pt x="298" y="340"/>
                  </a:lnTo>
                  <a:lnTo>
                    <a:pt x="312" y="358"/>
                  </a:lnTo>
                  <a:lnTo>
                    <a:pt x="324" y="366"/>
                  </a:lnTo>
                  <a:lnTo>
                    <a:pt x="338" y="374"/>
                  </a:lnTo>
                  <a:lnTo>
                    <a:pt x="352" y="374"/>
                  </a:lnTo>
                  <a:lnTo>
                    <a:pt x="364" y="366"/>
                  </a:lnTo>
                  <a:lnTo>
                    <a:pt x="380" y="366"/>
                  </a:lnTo>
                  <a:lnTo>
                    <a:pt x="392" y="374"/>
                  </a:lnTo>
                  <a:lnTo>
                    <a:pt x="398" y="374"/>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53" name="Freeform 52">
              <a:extLst>
                <a:ext uri="{FF2B5EF4-FFF2-40B4-BE49-F238E27FC236}">
                  <a16:creationId xmlns:a16="http://schemas.microsoft.com/office/drawing/2014/main" id="{047BA618-9C40-4313-B9CA-254547E7FC9A}"/>
                </a:ext>
              </a:extLst>
            </p:cNvPr>
            <p:cNvSpPr>
              <a:spLocks/>
            </p:cNvSpPr>
            <p:nvPr/>
          </p:nvSpPr>
          <p:spPr bwMode="auto">
            <a:xfrm>
              <a:off x="1721117" y="2967373"/>
              <a:ext cx="1106167" cy="1022457"/>
            </a:xfrm>
            <a:custGeom>
              <a:avLst/>
              <a:gdLst>
                <a:gd name="T0" fmla="*/ 210 w 740"/>
                <a:gd name="T1" fmla="*/ 34 h 684"/>
                <a:gd name="T2" fmla="*/ 196 w 740"/>
                <a:gd name="T3" fmla="*/ 76 h 684"/>
                <a:gd name="T4" fmla="*/ 142 w 740"/>
                <a:gd name="T5" fmla="*/ 86 h 684"/>
                <a:gd name="T6" fmla="*/ 88 w 740"/>
                <a:gd name="T7" fmla="*/ 76 h 684"/>
                <a:gd name="T8" fmla="*/ 34 w 740"/>
                <a:gd name="T9" fmla="*/ 86 h 684"/>
                <a:gd name="T10" fmla="*/ 0 w 740"/>
                <a:gd name="T11" fmla="*/ 86 h 684"/>
                <a:gd name="T12" fmla="*/ 0 w 740"/>
                <a:gd name="T13" fmla="*/ 114 h 684"/>
                <a:gd name="T14" fmla="*/ 8 w 740"/>
                <a:gd name="T15" fmla="*/ 164 h 684"/>
                <a:gd name="T16" fmla="*/ 22 w 740"/>
                <a:gd name="T17" fmla="*/ 218 h 684"/>
                <a:gd name="T18" fmla="*/ 62 w 740"/>
                <a:gd name="T19" fmla="*/ 242 h 684"/>
                <a:gd name="T20" fmla="*/ 96 w 740"/>
                <a:gd name="T21" fmla="*/ 250 h 684"/>
                <a:gd name="T22" fmla="*/ 102 w 740"/>
                <a:gd name="T23" fmla="*/ 286 h 684"/>
                <a:gd name="T24" fmla="*/ 118 w 740"/>
                <a:gd name="T25" fmla="*/ 338 h 684"/>
                <a:gd name="T26" fmla="*/ 88 w 740"/>
                <a:gd name="T27" fmla="*/ 372 h 684"/>
                <a:gd name="T28" fmla="*/ 62 w 740"/>
                <a:gd name="T29" fmla="*/ 416 h 684"/>
                <a:gd name="T30" fmla="*/ 82 w 740"/>
                <a:gd name="T31" fmla="*/ 442 h 684"/>
                <a:gd name="T32" fmla="*/ 74 w 740"/>
                <a:gd name="T33" fmla="*/ 502 h 684"/>
                <a:gd name="T34" fmla="*/ 82 w 740"/>
                <a:gd name="T35" fmla="*/ 552 h 684"/>
                <a:gd name="T36" fmla="*/ 134 w 740"/>
                <a:gd name="T37" fmla="*/ 562 h 684"/>
                <a:gd name="T38" fmla="*/ 176 w 740"/>
                <a:gd name="T39" fmla="*/ 572 h 684"/>
                <a:gd name="T40" fmla="*/ 210 w 740"/>
                <a:gd name="T41" fmla="*/ 596 h 684"/>
                <a:gd name="T42" fmla="*/ 230 w 740"/>
                <a:gd name="T43" fmla="*/ 640 h 684"/>
                <a:gd name="T44" fmla="*/ 252 w 740"/>
                <a:gd name="T45" fmla="*/ 676 h 684"/>
                <a:gd name="T46" fmla="*/ 284 w 740"/>
                <a:gd name="T47" fmla="*/ 666 h 684"/>
                <a:gd name="T48" fmla="*/ 326 w 740"/>
                <a:gd name="T49" fmla="*/ 632 h 684"/>
                <a:gd name="T50" fmla="*/ 372 w 740"/>
                <a:gd name="T51" fmla="*/ 632 h 684"/>
                <a:gd name="T52" fmla="*/ 422 w 740"/>
                <a:gd name="T53" fmla="*/ 648 h 684"/>
                <a:gd name="T54" fmla="*/ 466 w 740"/>
                <a:gd name="T55" fmla="*/ 648 h 684"/>
                <a:gd name="T56" fmla="*/ 514 w 740"/>
                <a:gd name="T57" fmla="*/ 632 h 684"/>
                <a:gd name="T58" fmla="*/ 514 w 740"/>
                <a:gd name="T59" fmla="*/ 684 h 684"/>
                <a:gd name="T60" fmla="*/ 548 w 740"/>
                <a:gd name="T61" fmla="*/ 666 h 684"/>
                <a:gd name="T62" fmla="*/ 562 w 740"/>
                <a:gd name="T63" fmla="*/ 614 h 684"/>
                <a:gd name="T64" fmla="*/ 590 w 740"/>
                <a:gd name="T65" fmla="*/ 562 h 684"/>
                <a:gd name="T66" fmla="*/ 624 w 740"/>
                <a:gd name="T67" fmla="*/ 536 h 684"/>
                <a:gd name="T68" fmla="*/ 650 w 740"/>
                <a:gd name="T69" fmla="*/ 492 h 684"/>
                <a:gd name="T70" fmla="*/ 684 w 740"/>
                <a:gd name="T71" fmla="*/ 468 h 684"/>
                <a:gd name="T72" fmla="*/ 704 w 740"/>
                <a:gd name="T73" fmla="*/ 416 h 684"/>
                <a:gd name="T74" fmla="*/ 710 w 740"/>
                <a:gd name="T75" fmla="*/ 362 h 684"/>
                <a:gd name="T76" fmla="*/ 704 w 740"/>
                <a:gd name="T77" fmla="*/ 310 h 684"/>
                <a:gd name="T78" fmla="*/ 710 w 740"/>
                <a:gd name="T79" fmla="*/ 258 h 684"/>
                <a:gd name="T80" fmla="*/ 704 w 740"/>
                <a:gd name="T81" fmla="*/ 206 h 684"/>
                <a:gd name="T82" fmla="*/ 724 w 740"/>
                <a:gd name="T83" fmla="*/ 164 h 684"/>
                <a:gd name="T84" fmla="*/ 726 w 740"/>
                <a:gd name="T85" fmla="*/ 146 h 684"/>
                <a:gd name="T86" fmla="*/ 664 w 740"/>
                <a:gd name="T87" fmla="*/ 156 h 684"/>
                <a:gd name="T88" fmla="*/ 604 w 740"/>
                <a:gd name="T89" fmla="*/ 146 h 684"/>
                <a:gd name="T90" fmla="*/ 536 w 740"/>
                <a:gd name="T91" fmla="*/ 146 h 684"/>
                <a:gd name="T92" fmla="*/ 482 w 740"/>
                <a:gd name="T93" fmla="*/ 146 h 684"/>
                <a:gd name="T94" fmla="*/ 414 w 740"/>
                <a:gd name="T95" fmla="*/ 146 h 684"/>
                <a:gd name="T96" fmla="*/ 354 w 740"/>
                <a:gd name="T97" fmla="*/ 138 h 684"/>
                <a:gd name="T98" fmla="*/ 314 w 740"/>
                <a:gd name="T99" fmla="*/ 138 h 684"/>
                <a:gd name="T100" fmla="*/ 286 w 740"/>
                <a:gd name="T101" fmla="*/ 104 h 684"/>
                <a:gd name="T102" fmla="*/ 252 w 740"/>
                <a:gd name="T103" fmla="*/ 70 h 684"/>
                <a:gd name="T104" fmla="*/ 238 w 740"/>
                <a:gd name="T105" fmla="*/ 16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0" h="684">
                  <a:moveTo>
                    <a:pt x="230" y="0"/>
                  </a:moveTo>
                  <a:lnTo>
                    <a:pt x="214" y="16"/>
                  </a:lnTo>
                  <a:lnTo>
                    <a:pt x="210" y="34"/>
                  </a:lnTo>
                  <a:lnTo>
                    <a:pt x="202" y="52"/>
                  </a:lnTo>
                  <a:lnTo>
                    <a:pt x="202" y="70"/>
                  </a:lnTo>
                  <a:lnTo>
                    <a:pt x="196" y="76"/>
                  </a:lnTo>
                  <a:lnTo>
                    <a:pt x="182" y="76"/>
                  </a:lnTo>
                  <a:lnTo>
                    <a:pt x="162" y="86"/>
                  </a:lnTo>
                  <a:lnTo>
                    <a:pt x="142" y="86"/>
                  </a:lnTo>
                  <a:lnTo>
                    <a:pt x="128" y="86"/>
                  </a:lnTo>
                  <a:lnTo>
                    <a:pt x="108" y="76"/>
                  </a:lnTo>
                  <a:lnTo>
                    <a:pt x="88" y="76"/>
                  </a:lnTo>
                  <a:lnTo>
                    <a:pt x="68" y="86"/>
                  </a:lnTo>
                  <a:lnTo>
                    <a:pt x="54" y="86"/>
                  </a:lnTo>
                  <a:lnTo>
                    <a:pt x="34" y="86"/>
                  </a:lnTo>
                  <a:lnTo>
                    <a:pt x="20" y="86"/>
                  </a:lnTo>
                  <a:lnTo>
                    <a:pt x="8" y="86"/>
                  </a:lnTo>
                  <a:lnTo>
                    <a:pt x="0" y="86"/>
                  </a:lnTo>
                  <a:lnTo>
                    <a:pt x="0" y="86"/>
                  </a:lnTo>
                  <a:lnTo>
                    <a:pt x="0" y="94"/>
                  </a:lnTo>
                  <a:lnTo>
                    <a:pt x="0" y="114"/>
                  </a:lnTo>
                  <a:lnTo>
                    <a:pt x="8" y="130"/>
                  </a:lnTo>
                  <a:lnTo>
                    <a:pt x="14" y="148"/>
                  </a:lnTo>
                  <a:lnTo>
                    <a:pt x="8" y="164"/>
                  </a:lnTo>
                  <a:lnTo>
                    <a:pt x="0" y="182"/>
                  </a:lnTo>
                  <a:lnTo>
                    <a:pt x="8" y="198"/>
                  </a:lnTo>
                  <a:lnTo>
                    <a:pt x="22" y="218"/>
                  </a:lnTo>
                  <a:lnTo>
                    <a:pt x="36" y="224"/>
                  </a:lnTo>
                  <a:lnTo>
                    <a:pt x="48" y="234"/>
                  </a:lnTo>
                  <a:lnTo>
                    <a:pt x="62" y="242"/>
                  </a:lnTo>
                  <a:lnTo>
                    <a:pt x="76" y="234"/>
                  </a:lnTo>
                  <a:lnTo>
                    <a:pt x="82" y="250"/>
                  </a:lnTo>
                  <a:lnTo>
                    <a:pt x="96" y="250"/>
                  </a:lnTo>
                  <a:lnTo>
                    <a:pt x="110" y="250"/>
                  </a:lnTo>
                  <a:lnTo>
                    <a:pt x="102" y="268"/>
                  </a:lnTo>
                  <a:lnTo>
                    <a:pt x="102" y="286"/>
                  </a:lnTo>
                  <a:lnTo>
                    <a:pt x="110" y="304"/>
                  </a:lnTo>
                  <a:lnTo>
                    <a:pt x="118" y="320"/>
                  </a:lnTo>
                  <a:lnTo>
                    <a:pt x="118" y="338"/>
                  </a:lnTo>
                  <a:lnTo>
                    <a:pt x="110" y="356"/>
                  </a:lnTo>
                  <a:lnTo>
                    <a:pt x="96" y="364"/>
                  </a:lnTo>
                  <a:lnTo>
                    <a:pt x="88" y="372"/>
                  </a:lnTo>
                  <a:lnTo>
                    <a:pt x="82" y="380"/>
                  </a:lnTo>
                  <a:lnTo>
                    <a:pt x="76" y="398"/>
                  </a:lnTo>
                  <a:lnTo>
                    <a:pt x="62" y="416"/>
                  </a:lnTo>
                  <a:lnTo>
                    <a:pt x="60" y="416"/>
                  </a:lnTo>
                  <a:lnTo>
                    <a:pt x="68" y="422"/>
                  </a:lnTo>
                  <a:lnTo>
                    <a:pt x="82" y="442"/>
                  </a:lnTo>
                  <a:lnTo>
                    <a:pt x="82" y="458"/>
                  </a:lnTo>
                  <a:lnTo>
                    <a:pt x="74" y="474"/>
                  </a:lnTo>
                  <a:lnTo>
                    <a:pt x="74" y="502"/>
                  </a:lnTo>
                  <a:lnTo>
                    <a:pt x="68" y="520"/>
                  </a:lnTo>
                  <a:lnTo>
                    <a:pt x="74" y="536"/>
                  </a:lnTo>
                  <a:lnTo>
                    <a:pt x="82" y="552"/>
                  </a:lnTo>
                  <a:lnTo>
                    <a:pt x="102" y="562"/>
                  </a:lnTo>
                  <a:lnTo>
                    <a:pt x="122" y="562"/>
                  </a:lnTo>
                  <a:lnTo>
                    <a:pt x="134" y="562"/>
                  </a:lnTo>
                  <a:lnTo>
                    <a:pt x="150" y="572"/>
                  </a:lnTo>
                  <a:lnTo>
                    <a:pt x="162" y="572"/>
                  </a:lnTo>
                  <a:lnTo>
                    <a:pt x="176" y="572"/>
                  </a:lnTo>
                  <a:lnTo>
                    <a:pt x="190" y="572"/>
                  </a:lnTo>
                  <a:lnTo>
                    <a:pt x="210" y="580"/>
                  </a:lnTo>
                  <a:lnTo>
                    <a:pt x="210" y="596"/>
                  </a:lnTo>
                  <a:lnTo>
                    <a:pt x="210" y="614"/>
                  </a:lnTo>
                  <a:lnTo>
                    <a:pt x="218" y="632"/>
                  </a:lnTo>
                  <a:lnTo>
                    <a:pt x="230" y="640"/>
                  </a:lnTo>
                  <a:lnTo>
                    <a:pt x="244" y="640"/>
                  </a:lnTo>
                  <a:lnTo>
                    <a:pt x="252" y="658"/>
                  </a:lnTo>
                  <a:lnTo>
                    <a:pt x="252" y="676"/>
                  </a:lnTo>
                  <a:lnTo>
                    <a:pt x="256" y="676"/>
                  </a:lnTo>
                  <a:lnTo>
                    <a:pt x="272" y="676"/>
                  </a:lnTo>
                  <a:lnTo>
                    <a:pt x="284" y="666"/>
                  </a:lnTo>
                  <a:lnTo>
                    <a:pt x="298" y="658"/>
                  </a:lnTo>
                  <a:lnTo>
                    <a:pt x="312" y="640"/>
                  </a:lnTo>
                  <a:lnTo>
                    <a:pt x="326" y="632"/>
                  </a:lnTo>
                  <a:lnTo>
                    <a:pt x="340" y="632"/>
                  </a:lnTo>
                  <a:lnTo>
                    <a:pt x="360" y="632"/>
                  </a:lnTo>
                  <a:lnTo>
                    <a:pt x="372" y="632"/>
                  </a:lnTo>
                  <a:lnTo>
                    <a:pt x="386" y="640"/>
                  </a:lnTo>
                  <a:lnTo>
                    <a:pt x="406" y="648"/>
                  </a:lnTo>
                  <a:lnTo>
                    <a:pt x="422" y="648"/>
                  </a:lnTo>
                  <a:lnTo>
                    <a:pt x="440" y="648"/>
                  </a:lnTo>
                  <a:lnTo>
                    <a:pt x="452" y="648"/>
                  </a:lnTo>
                  <a:lnTo>
                    <a:pt x="466" y="648"/>
                  </a:lnTo>
                  <a:lnTo>
                    <a:pt x="488" y="640"/>
                  </a:lnTo>
                  <a:lnTo>
                    <a:pt x="502" y="640"/>
                  </a:lnTo>
                  <a:lnTo>
                    <a:pt x="514" y="632"/>
                  </a:lnTo>
                  <a:lnTo>
                    <a:pt x="514" y="648"/>
                  </a:lnTo>
                  <a:lnTo>
                    <a:pt x="514" y="666"/>
                  </a:lnTo>
                  <a:lnTo>
                    <a:pt x="514" y="684"/>
                  </a:lnTo>
                  <a:lnTo>
                    <a:pt x="528" y="684"/>
                  </a:lnTo>
                  <a:lnTo>
                    <a:pt x="542" y="684"/>
                  </a:lnTo>
                  <a:lnTo>
                    <a:pt x="548" y="666"/>
                  </a:lnTo>
                  <a:lnTo>
                    <a:pt x="542" y="648"/>
                  </a:lnTo>
                  <a:lnTo>
                    <a:pt x="548" y="632"/>
                  </a:lnTo>
                  <a:lnTo>
                    <a:pt x="562" y="614"/>
                  </a:lnTo>
                  <a:lnTo>
                    <a:pt x="568" y="596"/>
                  </a:lnTo>
                  <a:lnTo>
                    <a:pt x="582" y="580"/>
                  </a:lnTo>
                  <a:lnTo>
                    <a:pt x="590" y="562"/>
                  </a:lnTo>
                  <a:lnTo>
                    <a:pt x="596" y="544"/>
                  </a:lnTo>
                  <a:lnTo>
                    <a:pt x="610" y="544"/>
                  </a:lnTo>
                  <a:lnTo>
                    <a:pt x="624" y="536"/>
                  </a:lnTo>
                  <a:lnTo>
                    <a:pt x="638" y="526"/>
                  </a:lnTo>
                  <a:lnTo>
                    <a:pt x="638" y="510"/>
                  </a:lnTo>
                  <a:lnTo>
                    <a:pt x="650" y="492"/>
                  </a:lnTo>
                  <a:lnTo>
                    <a:pt x="662" y="484"/>
                  </a:lnTo>
                  <a:lnTo>
                    <a:pt x="678" y="484"/>
                  </a:lnTo>
                  <a:lnTo>
                    <a:pt x="684" y="468"/>
                  </a:lnTo>
                  <a:lnTo>
                    <a:pt x="684" y="450"/>
                  </a:lnTo>
                  <a:lnTo>
                    <a:pt x="690" y="432"/>
                  </a:lnTo>
                  <a:lnTo>
                    <a:pt x="704" y="416"/>
                  </a:lnTo>
                  <a:lnTo>
                    <a:pt x="704" y="398"/>
                  </a:lnTo>
                  <a:lnTo>
                    <a:pt x="704" y="380"/>
                  </a:lnTo>
                  <a:lnTo>
                    <a:pt x="710" y="362"/>
                  </a:lnTo>
                  <a:lnTo>
                    <a:pt x="710" y="346"/>
                  </a:lnTo>
                  <a:lnTo>
                    <a:pt x="704" y="328"/>
                  </a:lnTo>
                  <a:lnTo>
                    <a:pt x="704" y="310"/>
                  </a:lnTo>
                  <a:lnTo>
                    <a:pt x="704" y="294"/>
                  </a:lnTo>
                  <a:lnTo>
                    <a:pt x="704" y="278"/>
                  </a:lnTo>
                  <a:lnTo>
                    <a:pt x="710" y="258"/>
                  </a:lnTo>
                  <a:lnTo>
                    <a:pt x="704" y="242"/>
                  </a:lnTo>
                  <a:lnTo>
                    <a:pt x="704" y="224"/>
                  </a:lnTo>
                  <a:lnTo>
                    <a:pt x="704" y="206"/>
                  </a:lnTo>
                  <a:lnTo>
                    <a:pt x="710" y="198"/>
                  </a:lnTo>
                  <a:lnTo>
                    <a:pt x="718" y="180"/>
                  </a:lnTo>
                  <a:lnTo>
                    <a:pt x="724" y="164"/>
                  </a:lnTo>
                  <a:lnTo>
                    <a:pt x="740" y="146"/>
                  </a:lnTo>
                  <a:lnTo>
                    <a:pt x="740" y="146"/>
                  </a:lnTo>
                  <a:lnTo>
                    <a:pt x="726" y="146"/>
                  </a:lnTo>
                  <a:lnTo>
                    <a:pt x="706" y="146"/>
                  </a:lnTo>
                  <a:lnTo>
                    <a:pt x="686" y="156"/>
                  </a:lnTo>
                  <a:lnTo>
                    <a:pt x="664" y="156"/>
                  </a:lnTo>
                  <a:lnTo>
                    <a:pt x="646" y="156"/>
                  </a:lnTo>
                  <a:lnTo>
                    <a:pt x="624" y="156"/>
                  </a:lnTo>
                  <a:lnTo>
                    <a:pt x="604" y="146"/>
                  </a:lnTo>
                  <a:lnTo>
                    <a:pt x="584" y="146"/>
                  </a:lnTo>
                  <a:lnTo>
                    <a:pt x="556" y="146"/>
                  </a:lnTo>
                  <a:lnTo>
                    <a:pt x="536" y="146"/>
                  </a:lnTo>
                  <a:lnTo>
                    <a:pt x="516" y="146"/>
                  </a:lnTo>
                  <a:lnTo>
                    <a:pt x="502" y="146"/>
                  </a:lnTo>
                  <a:lnTo>
                    <a:pt x="482" y="146"/>
                  </a:lnTo>
                  <a:lnTo>
                    <a:pt x="462" y="146"/>
                  </a:lnTo>
                  <a:lnTo>
                    <a:pt x="436" y="146"/>
                  </a:lnTo>
                  <a:lnTo>
                    <a:pt x="414" y="146"/>
                  </a:lnTo>
                  <a:lnTo>
                    <a:pt x="394" y="146"/>
                  </a:lnTo>
                  <a:lnTo>
                    <a:pt x="374" y="146"/>
                  </a:lnTo>
                  <a:lnTo>
                    <a:pt x="354" y="138"/>
                  </a:lnTo>
                  <a:lnTo>
                    <a:pt x="340" y="138"/>
                  </a:lnTo>
                  <a:lnTo>
                    <a:pt x="326" y="146"/>
                  </a:lnTo>
                  <a:lnTo>
                    <a:pt x="314" y="138"/>
                  </a:lnTo>
                  <a:lnTo>
                    <a:pt x="306" y="122"/>
                  </a:lnTo>
                  <a:lnTo>
                    <a:pt x="292" y="122"/>
                  </a:lnTo>
                  <a:lnTo>
                    <a:pt x="286" y="104"/>
                  </a:lnTo>
                  <a:lnTo>
                    <a:pt x="272" y="86"/>
                  </a:lnTo>
                  <a:lnTo>
                    <a:pt x="258" y="86"/>
                  </a:lnTo>
                  <a:lnTo>
                    <a:pt x="252" y="70"/>
                  </a:lnTo>
                  <a:lnTo>
                    <a:pt x="252" y="52"/>
                  </a:lnTo>
                  <a:lnTo>
                    <a:pt x="244" y="34"/>
                  </a:lnTo>
                  <a:lnTo>
                    <a:pt x="238" y="16"/>
                  </a:lnTo>
                  <a:lnTo>
                    <a:pt x="232" y="8"/>
                  </a:lnTo>
                  <a:lnTo>
                    <a:pt x="230" y="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54" name="Freeform 53">
              <a:extLst>
                <a:ext uri="{FF2B5EF4-FFF2-40B4-BE49-F238E27FC236}">
                  <a16:creationId xmlns:a16="http://schemas.microsoft.com/office/drawing/2014/main" id="{54D2BDC5-94CD-4966-8C9E-71EB3178FC4E}"/>
                </a:ext>
              </a:extLst>
            </p:cNvPr>
            <p:cNvSpPr>
              <a:spLocks/>
            </p:cNvSpPr>
            <p:nvPr/>
          </p:nvSpPr>
          <p:spPr bwMode="auto">
            <a:xfrm>
              <a:off x="1721117" y="2967373"/>
              <a:ext cx="1106167" cy="1022457"/>
            </a:xfrm>
            <a:custGeom>
              <a:avLst/>
              <a:gdLst>
                <a:gd name="T0" fmla="*/ 210 w 740"/>
                <a:gd name="T1" fmla="*/ 34 h 684"/>
                <a:gd name="T2" fmla="*/ 196 w 740"/>
                <a:gd name="T3" fmla="*/ 76 h 684"/>
                <a:gd name="T4" fmla="*/ 142 w 740"/>
                <a:gd name="T5" fmla="*/ 86 h 684"/>
                <a:gd name="T6" fmla="*/ 88 w 740"/>
                <a:gd name="T7" fmla="*/ 76 h 684"/>
                <a:gd name="T8" fmla="*/ 34 w 740"/>
                <a:gd name="T9" fmla="*/ 86 h 684"/>
                <a:gd name="T10" fmla="*/ 0 w 740"/>
                <a:gd name="T11" fmla="*/ 86 h 684"/>
                <a:gd name="T12" fmla="*/ 0 w 740"/>
                <a:gd name="T13" fmla="*/ 114 h 684"/>
                <a:gd name="T14" fmla="*/ 8 w 740"/>
                <a:gd name="T15" fmla="*/ 164 h 684"/>
                <a:gd name="T16" fmla="*/ 22 w 740"/>
                <a:gd name="T17" fmla="*/ 218 h 684"/>
                <a:gd name="T18" fmla="*/ 62 w 740"/>
                <a:gd name="T19" fmla="*/ 242 h 684"/>
                <a:gd name="T20" fmla="*/ 96 w 740"/>
                <a:gd name="T21" fmla="*/ 250 h 684"/>
                <a:gd name="T22" fmla="*/ 102 w 740"/>
                <a:gd name="T23" fmla="*/ 286 h 684"/>
                <a:gd name="T24" fmla="*/ 118 w 740"/>
                <a:gd name="T25" fmla="*/ 338 h 684"/>
                <a:gd name="T26" fmla="*/ 88 w 740"/>
                <a:gd name="T27" fmla="*/ 372 h 684"/>
                <a:gd name="T28" fmla="*/ 62 w 740"/>
                <a:gd name="T29" fmla="*/ 416 h 684"/>
                <a:gd name="T30" fmla="*/ 82 w 740"/>
                <a:gd name="T31" fmla="*/ 442 h 684"/>
                <a:gd name="T32" fmla="*/ 74 w 740"/>
                <a:gd name="T33" fmla="*/ 502 h 684"/>
                <a:gd name="T34" fmla="*/ 82 w 740"/>
                <a:gd name="T35" fmla="*/ 552 h 684"/>
                <a:gd name="T36" fmla="*/ 134 w 740"/>
                <a:gd name="T37" fmla="*/ 562 h 684"/>
                <a:gd name="T38" fmla="*/ 176 w 740"/>
                <a:gd name="T39" fmla="*/ 572 h 684"/>
                <a:gd name="T40" fmla="*/ 210 w 740"/>
                <a:gd name="T41" fmla="*/ 596 h 684"/>
                <a:gd name="T42" fmla="*/ 230 w 740"/>
                <a:gd name="T43" fmla="*/ 640 h 684"/>
                <a:gd name="T44" fmla="*/ 252 w 740"/>
                <a:gd name="T45" fmla="*/ 676 h 684"/>
                <a:gd name="T46" fmla="*/ 284 w 740"/>
                <a:gd name="T47" fmla="*/ 666 h 684"/>
                <a:gd name="T48" fmla="*/ 326 w 740"/>
                <a:gd name="T49" fmla="*/ 632 h 684"/>
                <a:gd name="T50" fmla="*/ 372 w 740"/>
                <a:gd name="T51" fmla="*/ 632 h 684"/>
                <a:gd name="T52" fmla="*/ 422 w 740"/>
                <a:gd name="T53" fmla="*/ 648 h 684"/>
                <a:gd name="T54" fmla="*/ 466 w 740"/>
                <a:gd name="T55" fmla="*/ 648 h 684"/>
                <a:gd name="T56" fmla="*/ 514 w 740"/>
                <a:gd name="T57" fmla="*/ 632 h 684"/>
                <a:gd name="T58" fmla="*/ 514 w 740"/>
                <a:gd name="T59" fmla="*/ 684 h 684"/>
                <a:gd name="T60" fmla="*/ 548 w 740"/>
                <a:gd name="T61" fmla="*/ 666 h 684"/>
                <a:gd name="T62" fmla="*/ 562 w 740"/>
                <a:gd name="T63" fmla="*/ 614 h 684"/>
                <a:gd name="T64" fmla="*/ 590 w 740"/>
                <a:gd name="T65" fmla="*/ 562 h 684"/>
                <a:gd name="T66" fmla="*/ 624 w 740"/>
                <a:gd name="T67" fmla="*/ 536 h 684"/>
                <a:gd name="T68" fmla="*/ 650 w 740"/>
                <a:gd name="T69" fmla="*/ 492 h 684"/>
                <a:gd name="T70" fmla="*/ 684 w 740"/>
                <a:gd name="T71" fmla="*/ 468 h 684"/>
                <a:gd name="T72" fmla="*/ 704 w 740"/>
                <a:gd name="T73" fmla="*/ 416 h 684"/>
                <a:gd name="T74" fmla="*/ 710 w 740"/>
                <a:gd name="T75" fmla="*/ 362 h 684"/>
                <a:gd name="T76" fmla="*/ 704 w 740"/>
                <a:gd name="T77" fmla="*/ 310 h 684"/>
                <a:gd name="T78" fmla="*/ 710 w 740"/>
                <a:gd name="T79" fmla="*/ 258 h 684"/>
                <a:gd name="T80" fmla="*/ 704 w 740"/>
                <a:gd name="T81" fmla="*/ 206 h 684"/>
                <a:gd name="T82" fmla="*/ 724 w 740"/>
                <a:gd name="T83" fmla="*/ 164 h 684"/>
                <a:gd name="T84" fmla="*/ 726 w 740"/>
                <a:gd name="T85" fmla="*/ 146 h 684"/>
                <a:gd name="T86" fmla="*/ 664 w 740"/>
                <a:gd name="T87" fmla="*/ 156 h 684"/>
                <a:gd name="T88" fmla="*/ 604 w 740"/>
                <a:gd name="T89" fmla="*/ 146 h 684"/>
                <a:gd name="T90" fmla="*/ 536 w 740"/>
                <a:gd name="T91" fmla="*/ 146 h 684"/>
                <a:gd name="T92" fmla="*/ 482 w 740"/>
                <a:gd name="T93" fmla="*/ 146 h 684"/>
                <a:gd name="T94" fmla="*/ 414 w 740"/>
                <a:gd name="T95" fmla="*/ 146 h 684"/>
                <a:gd name="T96" fmla="*/ 354 w 740"/>
                <a:gd name="T97" fmla="*/ 138 h 684"/>
                <a:gd name="T98" fmla="*/ 314 w 740"/>
                <a:gd name="T99" fmla="*/ 138 h 684"/>
                <a:gd name="T100" fmla="*/ 286 w 740"/>
                <a:gd name="T101" fmla="*/ 104 h 684"/>
                <a:gd name="T102" fmla="*/ 252 w 740"/>
                <a:gd name="T103" fmla="*/ 70 h 684"/>
                <a:gd name="T104" fmla="*/ 238 w 740"/>
                <a:gd name="T105" fmla="*/ 16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0" h="684">
                  <a:moveTo>
                    <a:pt x="230" y="0"/>
                  </a:moveTo>
                  <a:lnTo>
                    <a:pt x="214" y="16"/>
                  </a:lnTo>
                  <a:lnTo>
                    <a:pt x="210" y="34"/>
                  </a:lnTo>
                  <a:lnTo>
                    <a:pt x="202" y="52"/>
                  </a:lnTo>
                  <a:lnTo>
                    <a:pt x="202" y="70"/>
                  </a:lnTo>
                  <a:lnTo>
                    <a:pt x="196" y="76"/>
                  </a:lnTo>
                  <a:lnTo>
                    <a:pt x="182" y="76"/>
                  </a:lnTo>
                  <a:lnTo>
                    <a:pt x="162" y="86"/>
                  </a:lnTo>
                  <a:lnTo>
                    <a:pt x="142" y="86"/>
                  </a:lnTo>
                  <a:lnTo>
                    <a:pt x="128" y="86"/>
                  </a:lnTo>
                  <a:lnTo>
                    <a:pt x="108" y="76"/>
                  </a:lnTo>
                  <a:lnTo>
                    <a:pt x="88" y="76"/>
                  </a:lnTo>
                  <a:lnTo>
                    <a:pt x="68" y="86"/>
                  </a:lnTo>
                  <a:lnTo>
                    <a:pt x="54" y="86"/>
                  </a:lnTo>
                  <a:lnTo>
                    <a:pt x="34" y="86"/>
                  </a:lnTo>
                  <a:lnTo>
                    <a:pt x="20" y="86"/>
                  </a:lnTo>
                  <a:lnTo>
                    <a:pt x="8" y="86"/>
                  </a:lnTo>
                  <a:lnTo>
                    <a:pt x="0" y="86"/>
                  </a:lnTo>
                  <a:lnTo>
                    <a:pt x="0" y="86"/>
                  </a:lnTo>
                  <a:lnTo>
                    <a:pt x="0" y="94"/>
                  </a:lnTo>
                  <a:lnTo>
                    <a:pt x="0" y="114"/>
                  </a:lnTo>
                  <a:lnTo>
                    <a:pt x="8" y="130"/>
                  </a:lnTo>
                  <a:lnTo>
                    <a:pt x="14" y="148"/>
                  </a:lnTo>
                  <a:lnTo>
                    <a:pt x="8" y="164"/>
                  </a:lnTo>
                  <a:lnTo>
                    <a:pt x="0" y="182"/>
                  </a:lnTo>
                  <a:lnTo>
                    <a:pt x="8" y="198"/>
                  </a:lnTo>
                  <a:lnTo>
                    <a:pt x="22" y="218"/>
                  </a:lnTo>
                  <a:lnTo>
                    <a:pt x="36" y="224"/>
                  </a:lnTo>
                  <a:lnTo>
                    <a:pt x="48" y="234"/>
                  </a:lnTo>
                  <a:lnTo>
                    <a:pt x="62" y="242"/>
                  </a:lnTo>
                  <a:lnTo>
                    <a:pt x="76" y="234"/>
                  </a:lnTo>
                  <a:lnTo>
                    <a:pt x="82" y="250"/>
                  </a:lnTo>
                  <a:lnTo>
                    <a:pt x="96" y="250"/>
                  </a:lnTo>
                  <a:lnTo>
                    <a:pt x="110" y="250"/>
                  </a:lnTo>
                  <a:lnTo>
                    <a:pt x="102" y="268"/>
                  </a:lnTo>
                  <a:lnTo>
                    <a:pt x="102" y="286"/>
                  </a:lnTo>
                  <a:lnTo>
                    <a:pt x="110" y="304"/>
                  </a:lnTo>
                  <a:lnTo>
                    <a:pt x="118" y="320"/>
                  </a:lnTo>
                  <a:lnTo>
                    <a:pt x="118" y="338"/>
                  </a:lnTo>
                  <a:lnTo>
                    <a:pt x="110" y="356"/>
                  </a:lnTo>
                  <a:lnTo>
                    <a:pt x="96" y="364"/>
                  </a:lnTo>
                  <a:lnTo>
                    <a:pt x="88" y="372"/>
                  </a:lnTo>
                  <a:lnTo>
                    <a:pt x="82" y="380"/>
                  </a:lnTo>
                  <a:lnTo>
                    <a:pt x="76" y="398"/>
                  </a:lnTo>
                  <a:lnTo>
                    <a:pt x="62" y="416"/>
                  </a:lnTo>
                  <a:lnTo>
                    <a:pt x="60" y="416"/>
                  </a:lnTo>
                  <a:lnTo>
                    <a:pt x="68" y="422"/>
                  </a:lnTo>
                  <a:lnTo>
                    <a:pt x="82" y="442"/>
                  </a:lnTo>
                  <a:lnTo>
                    <a:pt x="82" y="458"/>
                  </a:lnTo>
                  <a:lnTo>
                    <a:pt x="74" y="474"/>
                  </a:lnTo>
                  <a:lnTo>
                    <a:pt x="74" y="502"/>
                  </a:lnTo>
                  <a:lnTo>
                    <a:pt x="68" y="520"/>
                  </a:lnTo>
                  <a:lnTo>
                    <a:pt x="74" y="536"/>
                  </a:lnTo>
                  <a:lnTo>
                    <a:pt x="82" y="552"/>
                  </a:lnTo>
                  <a:lnTo>
                    <a:pt x="102" y="562"/>
                  </a:lnTo>
                  <a:lnTo>
                    <a:pt x="122" y="562"/>
                  </a:lnTo>
                  <a:lnTo>
                    <a:pt x="134" y="562"/>
                  </a:lnTo>
                  <a:lnTo>
                    <a:pt x="150" y="572"/>
                  </a:lnTo>
                  <a:lnTo>
                    <a:pt x="162" y="572"/>
                  </a:lnTo>
                  <a:lnTo>
                    <a:pt x="176" y="572"/>
                  </a:lnTo>
                  <a:lnTo>
                    <a:pt x="190" y="572"/>
                  </a:lnTo>
                  <a:lnTo>
                    <a:pt x="210" y="580"/>
                  </a:lnTo>
                  <a:lnTo>
                    <a:pt x="210" y="596"/>
                  </a:lnTo>
                  <a:lnTo>
                    <a:pt x="210" y="614"/>
                  </a:lnTo>
                  <a:lnTo>
                    <a:pt x="218" y="632"/>
                  </a:lnTo>
                  <a:lnTo>
                    <a:pt x="230" y="640"/>
                  </a:lnTo>
                  <a:lnTo>
                    <a:pt x="244" y="640"/>
                  </a:lnTo>
                  <a:lnTo>
                    <a:pt x="252" y="658"/>
                  </a:lnTo>
                  <a:lnTo>
                    <a:pt x="252" y="676"/>
                  </a:lnTo>
                  <a:lnTo>
                    <a:pt x="256" y="676"/>
                  </a:lnTo>
                  <a:lnTo>
                    <a:pt x="272" y="676"/>
                  </a:lnTo>
                  <a:lnTo>
                    <a:pt x="284" y="666"/>
                  </a:lnTo>
                  <a:lnTo>
                    <a:pt x="298" y="658"/>
                  </a:lnTo>
                  <a:lnTo>
                    <a:pt x="312" y="640"/>
                  </a:lnTo>
                  <a:lnTo>
                    <a:pt x="326" y="632"/>
                  </a:lnTo>
                  <a:lnTo>
                    <a:pt x="340" y="632"/>
                  </a:lnTo>
                  <a:lnTo>
                    <a:pt x="360" y="632"/>
                  </a:lnTo>
                  <a:lnTo>
                    <a:pt x="372" y="632"/>
                  </a:lnTo>
                  <a:lnTo>
                    <a:pt x="386" y="640"/>
                  </a:lnTo>
                  <a:lnTo>
                    <a:pt x="406" y="648"/>
                  </a:lnTo>
                  <a:lnTo>
                    <a:pt x="422" y="648"/>
                  </a:lnTo>
                  <a:lnTo>
                    <a:pt x="440" y="648"/>
                  </a:lnTo>
                  <a:lnTo>
                    <a:pt x="452" y="648"/>
                  </a:lnTo>
                  <a:lnTo>
                    <a:pt x="466" y="648"/>
                  </a:lnTo>
                  <a:lnTo>
                    <a:pt x="488" y="640"/>
                  </a:lnTo>
                  <a:lnTo>
                    <a:pt x="502" y="640"/>
                  </a:lnTo>
                  <a:lnTo>
                    <a:pt x="514" y="632"/>
                  </a:lnTo>
                  <a:lnTo>
                    <a:pt x="514" y="648"/>
                  </a:lnTo>
                  <a:lnTo>
                    <a:pt x="514" y="666"/>
                  </a:lnTo>
                  <a:lnTo>
                    <a:pt x="514" y="684"/>
                  </a:lnTo>
                  <a:lnTo>
                    <a:pt x="528" y="684"/>
                  </a:lnTo>
                  <a:lnTo>
                    <a:pt x="542" y="684"/>
                  </a:lnTo>
                  <a:lnTo>
                    <a:pt x="548" y="666"/>
                  </a:lnTo>
                  <a:lnTo>
                    <a:pt x="542" y="648"/>
                  </a:lnTo>
                  <a:lnTo>
                    <a:pt x="548" y="632"/>
                  </a:lnTo>
                  <a:lnTo>
                    <a:pt x="562" y="614"/>
                  </a:lnTo>
                  <a:lnTo>
                    <a:pt x="568" y="596"/>
                  </a:lnTo>
                  <a:lnTo>
                    <a:pt x="582" y="580"/>
                  </a:lnTo>
                  <a:lnTo>
                    <a:pt x="590" y="562"/>
                  </a:lnTo>
                  <a:lnTo>
                    <a:pt x="596" y="544"/>
                  </a:lnTo>
                  <a:lnTo>
                    <a:pt x="610" y="544"/>
                  </a:lnTo>
                  <a:lnTo>
                    <a:pt x="624" y="536"/>
                  </a:lnTo>
                  <a:lnTo>
                    <a:pt x="638" y="526"/>
                  </a:lnTo>
                  <a:lnTo>
                    <a:pt x="638" y="510"/>
                  </a:lnTo>
                  <a:lnTo>
                    <a:pt x="650" y="492"/>
                  </a:lnTo>
                  <a:lnTo>
                    <a:pt x="662" y="484"/>
                  </a:lnTo>
                  <a:lnTo>
                    <a:pt x="678" y="484"/>
                  </a:lnTo>
                  <a:lnTo>
                    <a:pt x="684" y="468"/>
                  </a:lnTo>
                  <a:lnTo>
                    <a:pt x="684" y="450"/>
                  </a:lnTo>
                  <a:lnTo>
                    <a:pt x="690" y="432"/>
                  </a:lnTo>
                  <a:lnTo>
                    <a:pt x="704" y="416"/>
                  </a:lnTo>
                  <a:lnTo>
                    <a:pt x="704" y="398"/>
                  </a:lnTo>
                  <a:lnTo>
                    <a:pt x="704" y="380"/>
                  </a:lnTo>
                  <a:lnTo>
                    <a:pt x="710" y="362"/>
                  </a:lnTo>
                  <a:lnTo>
                    <a:pt x="710" y="346"/>
                  </a:lnTo>
                  <a:lnTo>
                    <a:pt x="704" y="328"/>
                  </a:lnTo>
                  <a:lnTo>
                    <a:pt x="704" y="310"/>
                  </a:lnTo>
                  <a:lnTo>
                    <a:pt x="704" y="294"/>
                  </a:lnTo>
                  <a:lnTo>
                    <a:pt x="704" y="278"/>
                  </a:lnTo>
                  <a:lnTo>
                    <a:pt x="710" y="258"/>
                  </a:lnTo>
                  <a:lnTo>
                    <a:pt x="704" y="242"/>
                  </a:lnTo>
                  <a:lnTo>
                    <a:pt x="704" y="224"/>
                  </a:lnTo>
                  <a:lnTo>
                    <a:pt x="704" y="206"/>
                  </a:lnTo>
                  <a:lnTo>
                    <a:pt x="710" y="198"/>
                  </a:lnTo>
                  <a:lnTo>
                    <a:pt x="718" y="180"/>
                  </a:lnTo>
                  <a:lnTo>
                    <a:pt x="724" y="164"/>
                  </a:lnTo>
                  <a:lnTo>
                    <a:pt x="740" y="146"/>
                  </a:lnTo>
                  <a:lnTo>
                    <a:pt x="740" y="146"/>
                  </a:lnTo>
                  <a:lnTo>
                    <a:pt x="726" y="146"/>
                  </a:lnTo>
                  <a:lnTo>
                    <a:pt x="706" y="146"/>
                  </a:lnTo>
                  <a:lnTo>
                    <a:pt x="686" y="156"/>
                  </a:lnTo>
                  <a:lnTo>
                    <a:pt x="664" y="156"/>
                  </a:lnTo>
                  <a:lnTo>
                    <a:pt x="646" y="156"/>
                  </a:lnTo>
                  <a:lnTo>
                    <a:pt x="624" y="156"/>
                  </a:lnTo>
                  <a:lnTo>
                    <a:pt x="604" y="146"/>
                  </a:lnTo>
                  <a:lnTo>
                    <a:pt x="584" y="146"/>
                  </a:lnTo>
                  <a:lnTo>
                    <a:pt x="556" y="146"/>
                  </a:lnTo>
                  <a:lnTo>
                    <a:pt x="536" y="146"/>
                  </a:lnTo>
                  <a:lnTo>
                    <a:pt x="516" y="146"/>
                  </a:lnTo>
                  <a:lnTo>
                    <a:pt x="502" y="146"/>
                  </a:lnTo>
                  <a:lnTo>
                    <a:pt x="482" y="146"/>
                  </a:lnTo>
                  <a:lnTo>
                    <a:pt x="462" y="146"/>
                  </a:lnTo>
                  <a:lnTo>
                    <a:pt x="436" y="146"/>
                  </a:lnTo>
                  <a:lnTo>
                    <a:pt x="414" y="146"/>
                  </a:lnTo>
                  <a:lnTo>
                    <a:pt x="394" y="146"/>
                  </a:lnTo>
                  <a:lnTo>
                    <a:pt x="374" y="146"/>
                  </a:lnTo>
                  <a:lnTo>
                    <a:pt x="354" y="138"/>
                  </a:lnTo>
                  <a:lnTo>
                    <a:pt x="340" y="138"/>
                  </a:lnTo>
                  <a:lnTo>
                    <a:pt x="326" y="146"/>
                  </a:lnTo>
                  <a:lnTo>
                    <a:pt x="314" y="138"/>
                  </a:lnTo>
                  <a:lnTo>
                    <a:pt x="306" y="122"/>
                  </a:lnTo>
                  <a:lnTo>
                    <a:pt x="292" y="122"/>
                  </a:lnTo>
                  <a:lnTo>
                    <a:pt x="286" y="104"/>
                  </a:lnTo>
                  <a:lnTo>
                    <a:pt x="272" y="86"/>
                  </a:lnTo>
                  <a:lnTo>
                    <a:pt x="258" y="86"/>
                  </a:lnTo>
                  <a:lnTo>
                    <a:pt x="252" y="70"/>
                  </a:lnTo>
                  <a:lnTo>
                    <a:pt x="252" y="52"/>
                  </a:lnTo>
                  <a:lnTo>
                    <a:pt x="244" y="34"/>
                  </a:lnTo>
                  <a:lnTo>
                    <a:pt x="238" y="16"/>
                  </a:lnTo>
                  <a:lnTo>
                    <a:pt x="232" y="8"/>
                  </a:lnTo>
                  <a:lnTo>
                    <a:pt x="230" y="0"/>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55" name="Freeform 59">
              <a:extLst>
                <a:ext uri="{FF2B5EF4-FFF2-40B4-BE49-F238E27FC236}">
                  <a16:creationId xmlns:a16="http://schemas.microsoft.com/office/drawing/2014/main" id="{01BB61A7-4133-403F-A2EA-33E228CD17D3}"/>
                </a:ext>
              </a:extLst>
            </p:cNvPr>
            <p:cNvSpPr>
              <a:spLocks/>
            </p:cNvSpPr>
            <p:nvPr/>
          </p:nvSpPr>
          <p:spPr bwMode="auto">
            <a:xfrm>
              <a:off x="3966337" y="2707274"/>
              <a:ext cx="343809" cy="233192"/>
            </a:xfrm>
            <a:custGeom>
              <a:avLst/>
              <a:gdLst>
                <a:gd name="T0" fmla="*/ 230 w 230"/>
                <a:gd name="T1" fmla="*/ 130 h 156"/>
                <a:gd name="T2" fmla="*/ 230 w 230"/>
                <a:gd name="T3" fmla="*/ 120 h 156"/>
                <a:gd name="T4" fmla="*/ 230 w 230"/>
                <a:gd name="T5" fmla="*/ 104 h 156"/>
                <a:gd name="T6" fmla="*/ 230 w 230"/>
                <a:gd name="T7" fmla="*/ 86 h 156"/>
                <a:gd name="T8" fmla="*/ 222 w 230"/>
                <a:gd name="T9" fmla="*/ 70 h 156"/>
                <a:gd name="T10" fmla="*/ 216 w 230"/>
                <a:gd name="T11" fmla="*/ 52 h 156"/>
                <a:gd name="T12" fmla="*/ 204 w 230"/>
                <a:gd name="T13" fmla="*/ 42 h 156"/>
                <a:gd name="T14" fmla="*/ 190 w 230"/>
                <a:gd name="T15" fmla="*/ 34 h 156"/>
                <a:gd name="T16" fmla="*/ 176 w 230"/>
                <a:gd name="T17" fmla="*/ 34 h 156"/>
                <a:gd name="T18" fmla="*/ 162 w 230"/>
                <a:gd name="T19" fmla="*/ 26 h 156"/>
                <a:gd name="T20" fmla="*/ 148 w 230"/>
                <a:gd name="T21" fmla="*/ 26 h 156"/>
                <a:gd name="T22" fmla="*/ 134 w 230"/>
                <a:gd name="T23" fmla="*/ 26 h 156"/>
                <a:gd name="T24" fmla="*/ 120 w 230"/>
                <a:gd name="T25" fmla="*/ 26 h 156"/>
                <a:gd name="T26" fmla="*/ 108 w 230"/>
                <a:gd name="T27" fmla="*/ 26 h 156"/>
                <a:gd name="T28" fmla="*/ 94 w 230"/>
                <a:gd name="T29" fmla="*/ 8 h 156"/>
                <a:gd name="T30" fmla="*/ 88 w 230"/>
                <a:gd name="T31" fmla="*/ 0 h 156"/>
                <a:gd name="T32" fmla="*/ 74 w 230"/>
                <a:gd name="T33" fmla="*/ 8 h 156"/>
                <a:gd name="T34" fmla="*/ 60 w 230"/>
                <a:gd name="T35" fmla="*/ 16 h 156"/>
                <a:gd name="T36" fmla="*/ 52 w 230"/>
                <a:gd name="T37" fmla="*/ 34 h 156"/>
                <a:gd name="T38" fmla="*/ 46 w 230"/>
                <a:gd name="T39" fmla="*/ 52 h 156"/>
                <a:gd name="T40" fmla="*/ 38 w 230"/>
                <a:gd name="T41" fmla="*/ 70 h 156"/>
                <a:gd name="T42" fmla="*/ 26 w 230"/>
                <a:gd name="T43" fmla="*/ 70 h 156"/>
                <a:gd name="T44" fmla="*/ 14 w 230"/>
                <a:gd name="T45" fmla="*/ 78 h 156"/>
                <a:gd name="T46" fmla="*/ 0 w 230"/>
                <a:gd name="T47" fmla="*/ 94 h 156"/>
                <a:gd name="T48" fmla="*/ 14 w 230"/>
                <a:gd name="T49" fmla="*/ 112 h 156"/>
                <a:gd name="T50" fmla="*/ 26 w 230"/>
                <a:gd name="T51" fmla="*/ 120 h 156"/>
                <a:gd name="T52" fmla="*/ 38 w 230"/>
                <a:gd name="T53" fmla="*/ 112 h 156"/>
                <a:gd name="T54" fmla="*/ 52 w 230"/>
                <a:gd name="T55" fmla="*/ 112 h 156"/>
                <a:gd name="T56" fmla="*/ 66 w 230"/>
                <a:gd name="T57" fmla="*/ 104 h 156"/>
                <a:gd name="T58" fmla="*/ 80 w 230"/>
                <a:gd name="T59" fmla="*/ 94 h 156"/>
                <a:gd name="T60" fmla="*/ 88 w 230"/>
                <a:gd name="T61" fmla="*/ 112 h 156"/>
                <a:gd name="T62" fmla="*/ 74 w 230"/>
                <a:gd name="T63" fmla="*/ 120 h 156"/>
                <a:gd name="T64" fmla="*/ 74 w 230"/>
                <a:gd name="T65" fmla="*/ 138 h 156"/>
                <a:gd name="T66" fmla="*/ 88 w 230"/>
                <a:gd name="T67" fmla="*/ 148 h 156"/>
                <a:gd name="T68" fmla="*/ 102 w 230"/>
                <a:gd name="T69" fmla="*/ 138 h 156"/>
                <a:gd name="T70" fmla="*/ 114 w 230"/>
                <a:gd name="T71" fmla="*/ 148 h 156"/>
                <a:gd name="T72" fmla="*/ 128 w 230"/>
                <a:gd name="T73" fmla="*/ 156 h 156"/>
                <a:gd name="T74" fmla="*/ 134 w 230"/>
                <a:gd name="T75" fmla="*/ 148 h 156"/>
                <a:gd name="T76" fmla="*/ 134 w 230"/>
                <a:gd name="T77" fmla="*/ 130 h 156"/>
                <a:gd name="T78" fmla="*/ 148 w 230"/>
                <a:gd name="T79" fmla="*/ 120 h 156"/>
                <a:gd name="T80" fmla="*/ 162 w 230"/>
                <a:gd name="T81" fmla="*/ 130 h 156"/>
                <a:gd name="T82" fmla="*/ 176 w 230"/>
                <a:gd name="T83" fmla="*/ 130 h 156"/>
                <a:gd name="T84" fmla="*/ 190 w 230"/>
                <a:gd name="T85" fmla="*/ 120 h 156"/>
                <a:gd name="T86" fmla="*/ 204 w 230"/>
                <a:gd name="T87" fmla="*/ 138 h 156"/>
                <a:gd name="T88" fmla="*/ 216 w 230"/>
                <a:gd name="T89" fmla="*/ 138 h 156"/>
                <a:gd name="T90" fmla="*/ 230 w 230"/>
                <a:gd name="T91" fmla="*/ 13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56">
                  <a:moveTo>
                    <a:pt x="230" y="130"/>
                  </a:moveTo>
                  <a:lnTo>
                    <a:pt x="230" y="120"/>
                  </a:lnTo>
                  <a:lnTo>
                    <a:pt x="230" y="104"/>
                  </a:lnTo>
                  <a:lnTo>
                    <a:pt x="230" y="86"/>
                  </a:lnTo>
                  <a:lnTo>
                    <a:pt x="222" y="70"/>
                  </a:lnTo>
                  <a:lnTo>
                    <a:pt x="216" y="52"/>
                  </a:lnTo>
                  <a:lnTo>
                    <a:pt x="204" y="42"/>
                  </a:lnTo>
                  <a:lnTo>
                    <a:pt x="190" y="34"/>
                  </a:lnTo>
                  <a:lnTo>
                    <a:pt x="176" y="34"/>
                  </a:lnTo>
                  <a:lnTo>
                    <a:pt x="162" y="26"/>
                  </a:lnTo>
                  <a:lnTo>
                    <a:pt x="148" y="26"/>
                  </a:lnTo>
                  <a:lnTo>
                    <a:pt x="134" y="26"/>
                  </a:lnTo>
                  <a:lnTo>
                    <a:pt x="120" y="26"/>
                  </a:lnTo>
                  <a:lnTo>
                    <a:pt x="108" y="26"/>
                  </a:lnTo>
                  <a:lnTo>
                    <a:pt x="94" y="8"/>
                  </a:lnTo>
                  <a:lnTo>
                    <a:pt x="88" y="0"/>
                  </a:lnTo>
                  <a:lnTo>
                    <a:pt x="74" y="8"/>
                  </a:lnTo>
                  <a:lnTo>
                    <a:pt x="60" y="16"/>
                  </a:lnTo>
                  <a:lnTo>
                    <a:pt x="52" y="34"/>
                  </a:lnTo>
                  <a:lnTo>
                    <a:pt x="46" y="52"/>
                  </a:lnTo>
                  <a:lnTo>
                    <a:pt x="38" y="70"/>
                  </a:lnTo>
                  <a:lnTo>
                    <a:pt x="26" y="70"/>
                  </a:lnTo>
                  <a:lnTo>
                    <a:pt x="14" y="78"/>
                  </a:lnTo>
                  <a:lnTo>
                    <a:pt x="0" y="94"/>
                  </a:lnTo>
                  <a:lnTo>
                    <a:pt x="14" y="112"/>
                  </a:lnTo>
                  <a:lnTo>
                    <a:pt x="26" y="120"/>
                  </a:lnTo>
                  <a:lnTo>
                    <a:pt x="38" y="112"/>
                  </a:lnTo>
                  <a:lnTo>
                    <a:pt x="52" y="112"/>
                  </a:lnTo>
                  <a:lnTo>
                    <a:pt x="66" y="104"/>
                  </a:lnTo>
                  <a:lnTo>
                    <a:pt x="80" y="94"/>
                  </a:lnTo>
                  <a:lnTo>
                    <a:pt x="88" y="112"/>
                  </a:lnTo>
                  <a:lnTo>
                    <a:pt x="74" y="120"/>
                  </a:lnTo>
                  <a:lnTo>
                    <a:pt x="74" y="138"/>
                  </a:lnTo>
                  <a:lnTo>
                    <a:pt x="88" y="148"/>
                  </a:lnTo>
                  <a:lnTo>
                    <a:pt x="102" y="138"/>
                  </a:lnTo>
                  <a:lnTo>
                    <a:pt x="114" y="148"/>
                  </a:lnTo>
                  <a:lnTo>
                    <a:pt x="128" y="156"/>
                  </a:lnTo>
                  <a:lnTo>
                    <a:pt x="134" y="148"/>
                  </a:lnTo>
                  <a:lnTo>
                    <a:pt x="134" y="130"/>
                  </a:lnTo>
                  <a:lnTo>
                    <a:pt x="148" y="120"/>
                  </a:lnTo>
                  <a:lnTo>
                    <a:pt x="162" y="130"/>
                  </a:lnTo>
                  <a:lnTo>
                    <a:pt x="176" y="130"/>
                  </a:lnTo>
                  <a:lnTo>
                    <a:pt x="190" y="120"/>
                  </a:lnTo>
                  <a:lnTo>
                    <a:pt x="204" y="138"/>
                  </a:lnTo>
                  <a:lnTo>
                    <a:pt x="216" y="138"/>
                  </a:lnTo>
                  <a:lnTo>
                    <a:pt x="230" y="130"/>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56" name="Freeform 62">
              <a:extLst>
                <a:ext uri="{FF2B5EF4-FFF2-40B4-BE49-F238E27FC236}">
                  <a16:creationId xmlns:a16="http://schemas.microsoft.com/office/drawing/2014/main" id="{02D30EC0-D71E-47B6-9FBE-9B297249B8F0}"/>
                </a:ext>
              </a:extLst>
            </p:cNvPr>
            <p:cNvSpPr>
              <a:spLocks/>
            </p:cNvSpPr>
            <p:nvPr/>
          </p:nvSpPr>
          <p:spPr bwMode="auto">
            <a:xfrm>
              <a:off x="3993244" y="3131803"/>
              <a:ext cx="307933" cy="263088"/>
            </a:xfrm>
            <a:custGeom>
              <a:avLst/>
              <a:gdLst>
                <a:gd name="T0" fmla="*/ 2 w 206"/>
                <a:gd name="T1" fmla="*/ 28 h 176"/>
                <a:gd name="T2" fmla="*/ 16 w 206"/>
                <a:gd name="T3" fmla="*/ 8 h 176"/>
                <a:gd name="T4" fmla="*/ 28 w 206"/>
                <a:gd name="T5" fmla="*/ 8 h 176"/>
                <a:gd name="T6" fmla="*/ 42 w 206"/>
                <a:gd name="T7" fmla="*/ 8 h 176"/>
                <a:gd name="T8" fmla="*/ 56 w 206"/>
                <a:gd name="T9" fmla="*/ 28 h 176"/>
                <a:gd name="T10" fmla="*/ 70 w 206"/>
                <a:gd name="T11" fmla="*/ 36 h 176"/>
                <a:gd name="T12" fmla="*/ 84 w 206"/>
                <a:gd name="T13" fmla="*/ 36 h 176"/>
                <a:gd name="T14" fmla="*/ 98 w 206"/>
                <a:gd name="T15" fmla="*/ 36 h 176"/>
                <a:gd name="T16" fmla="*/ 112 w 206"/>
                <a:gd name="T17" fmla="*/ 36 h 176"/>
                <a:gd name="T18" fmla="*/ 124 w 206"/>
                <a:gd name="T19" fmla="*/ 28 h 176"/>
                <a:gd name="T20" fmla="*/ 138 w 206"/>
                <a:gd name="T21" fmla="*/ 18 h 176"/>
                <a:gd name="T22" fmla="*/ 150 w 206"/>
                <a:gd name="T23" fmla="*/ 0 h 176"/>
                <a:gd name="T24" fmla="*/ 164 w 206"/>
                <a:gd name="T25" fmla="*/ 0 h 176"/>
                <a:gd name="T26" fmla="*/ 178 w 206"/>
                <a:gd name="T27" fmla="*/ 0 h 176"/>
                <a:gd name="T28" fmla="*/ 192 w 206"/>
                <a:gd name="T29" fmla="*/ 0 h 176"/>
                <a:gd name="T30" fmla="*/ 206 w 206"/>
                <a:gd name="T31" fmla="*/ 8 h 176"/>
                <a:gd name="T32" fmla="*/ 204 w 206"/>
                <a:gd name="T33" fmla="*/ 12 h 176"/>
                <a:gd name="T34" fmla="*/ 200 w 206"/>
                <a:gd name="T35" fmla="*/ 18 h 176"/>
                <a:gd name="T36" fmla="*/ 186 w 206"/>
                <a:gd name="T37" fmla="*/ 38 h 176"/>
                <a:gd name="T38" fmla="*/ 172 w 206"/>
                <a:gd name="T39" fmla="*/ 54 h 176"/>
                <a:gd name="T40" fmla="*/ 158 w 206"/>
                <a:gd name="T41" fmla="*/ 64 h 176"/>
                <a:gd name="T42" fmla="*/ 144 w 206"/>
                <a:gd name="T43" fmla="*/ 82 h 176"/>
                <a:gd name="T44" fmla="*/ 130 w 206"/>
                <a:gd name="T45" fmla="*/ 90 h 176"/>
                <a:gd name="T46" fmla="*/ 124 w 206"/>
                <a:gd name="T47" fmla="*/ 106 h 176"/>
                <a:gd name="T48" fmla="*/ 110 w 206"/>
                <a:gd name="T49" fmla="*/ 116 h 176"/>
                <a:gd name="T50" fmla="*/ 112 w 206"/>
                <a:gd name="T51" fmla="*/ 118 h 176"/>
                <a:gd name="T52" fmla="*/ 104 w 206"/>
                <a:gd name="T53" fmla="*/ 124 h 176"/>
                <a:gd name="T54" fmla="*/ 90 w 206"/>
                <a:gd name="T55" fmla="*/ 128 h 176"/>
                <a:gd name="T56" fmla="*/ 78 w 206"/>
                <a:gd name="T57" fmla="*/ 140 h 176"/>
                <a:gd name="T58" fmla="*/ 62 w 206"/>
                <a:gd name="T59" fmla="*/ 160 h 176"/>
                <a:gd name="T60" fmla="*/ 56 w 206"/>
                <a:gd name="T61" fmla="*/ 176 h 176"/>
                <a:gd name="T62" fmla="*/ 52 w 206"/>
                <a:gd name="T63" fmla="*/ 176 h 176"/>
                <a:gd name="T64" fmla="*/ 48 w 206"/>
                <a:gd name="T65" fmla="*/ 176 h 176"/>
                <a:gd name="T66" fmla="*/ 34 w 206"/>
                <a:gd name="T67" fmla="*/ 176 h 176"/>
                <a:gd name="T68" fmla="*/ 22 w 206"/>
                <a:gd name="T69" fmla="*/ 168 h 176"/>
                <a:gd name="T70" fmla="*/ 8 w 206"/>
                <a:gd name="T71" fmla="*/ 160 h 176"/>
                <a:gd name="T72" fmla="*/ 0 w 206"/>
                <a:gd name="T73" fmla="*/ 140 h 176"/>
                <a:gd name="T74" fmla="*/ 0 w 206"/>
                <a:gd name="T75" fmla="*/ 124 h 176"/>
                <a:gd name="T76" fmla="*/ 14 w 206"/>
                <a:gd name="T77" fmla="*/ 124 h 176"/>
                <a:gd name="T78" fmla="*/ 22 w 206"/>
                <a:gd name="T79" fmla="*/ 106 h 176"/>
                <a:gd name="T80" fmla="*/ 28 w 206"/>
                <a:gd name="T81" fmla="*/ 90 h 176"/>
                <a:gd name="T82" fmla="*/ 28 w 206"/>
                <a:gd name="T83" fmla="*/ 72 h 176"/>
                <a:gd name="T84" fmla="*/ 14 w 206"/>
                <a:gd name="T85" fmla="*/ 64 h 176"/>
                <a:gd name="T86" fmla="*/ 0 w 206"/>
                <a:gd name="T87" fmla="*/ 32 h 176"/>
                <a:gd name="T88" fmla="*/ 2 w 206"/>
                <a:gd name="T89" fmla="*/ 2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6" h="176">
                  <a:moveTo>
                    <a:pt x="2" y="28"/>
                  </a:moveTo>
                  <a:lnTo>
                    <a:pt x="16" y="8"/>
                  </a:lnTo>
                  <a:lnTo>
                    <a:pt x="28" y="8"/>
                  </a:lnTo>
                  <a:lnTo>
                    <a:pt x="42" y="8"/>
                  </a:lnTo>
                  <a:lnTo>
                    <a:pt x="56" y="28"/>
                  </a:lnTo>
                  <a:lnTo>
                    <a:pt x="70" y="36"/>
                  </a:lnTo>
                  <a:lnTo>
                    <a:pt x="84" y="36"/>
                  </a:lnTo>
                  <a:lnTo>
                    <a:pt x="98" y="36"/>
                  </a:lnTo>
                  <a:lnTo>
                    <a:pt x="112" y="36"/>
                  </a:lnTo>
                  <a:lnTo>
                    <a:pt x="124" y="28"/>
                  </a:lnTo>
                  <a:lnTo>
                    <a:pt x="138" y="18"/>
                  </a:lnTo>
                  <a:lnTo>
                    <a:pt x="150" y="0"/>
                  </a:lnTo>
                  <a:lnTo>
                    <a:pt x="164" y="0"/>
                  </a:lnTo>
                  <a:lnTo>
                    <a:pt x="178" y="0"/>
                  </a:lnTo>
                  <a:lnTo>
                    <a:pt x="192" y="0"/>
                  </a:lnTo>
                  <a:lnTo>
                    <a:pt x="206" y="8"/>
                  </a:lnTo>
                  <a:lnTo>
                    <a:pt x="204" y="12"/>
                  </a:lnTo>
                  <a:lnTo>
                    <a:pt x="200" y="18"/>
                  </a:lnTo>
                  <a:lnTo>
                    <a:pt x="186" y="38"/>
                  </a:lnTo>
                  <a:lnTo>
                    <a:pt x="172" y="54"/>
                  </a:lnTo>
                  <a:lnTo>
                    <a:pt x="158" y="64"/>
                  </a:lnTo>
                  <a:lnTo>
                    <a:pt x="144" y="82"/>
                  </a:lnTo>
                  <a:lnTo>
                    <a:pt x="130" y="90"/>
                  </a:lnTo>
                  <a:lnTo>
                    <a:pt x="124" y="106"/>
                  </a:lnTo>
                  <a:lnTo>
                    <a:pt x="110" y="116"/>
                  </a:lnTo>
                  <a:lnTo>
                    <a:pt x="112" y="118"/>
                  </a:lnTo>
                  <a:lnTo>
                    <a:pt x="104" y="124"/>
                  </a:lnTo>
                  <a:lnTo>
                    <a:pt x="90" y="128"/>
                  </a:lnTo>
                  <a:lnTo>
                    <a:pt x="78" y="140"/>
                  </a:lnTo>
                  <a:lnTo>
                    <a:pt x="62" y="160"/>
                  </a:lnTo>
                  <a:lnTo>
                    <a:pt x="56" y="176"/>
                  </a:lnTo>
                  <a:lnTo>
                    <a:pt x="52" y="176"/>
                  </a:lnTo>
                  <a:lnTo>
                    <a:pt x="48" y="176"/>
                  </a:lnTo>
                  <a:lnTo>
                    <a:pt x="34" y="176"/>
                  </a:lnTo>
                  <a:lnTo>
                    <a:pt x="22" y="168"/>
                  </a:lnTo>
                  <a:lnTo>
                    <a:pt x="8" y="160"/>
                  </a:lnTo>
                  <a:lnTo>
                    <a:pt x="0" y="140"/>
                  </a:lnTo>
                  <a:lnTo>
                    <a:pt x="0" y="124"/>
                  </a:lnTo>
                  <a:lnTo>
                    <a:pt x="14" y="124"/>
                  </a:lnTo>
                  <a:lnTo>
                    <a:pt x="22" y="106"/>
                  </a:lnTo>
                  <a:lnTo>
                    <a:pt x="28" y="90"/>
                  </a:lnTo>
                  <a:lnTo>
                    <a:pt x="28" y="72"/>
                  </a:lnTo>
                  <a:lnTo>
                    <a:pt x="14" y="64"/>
                  </a:lnTo>
                  <a:lnTo>
                    <a:pt x="0" y="32"/>
                  </a:lnTo>
                  <a:lnTo>
                    <a:pt x="2" y="2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57" name="Freeform 63">
              <a:extLst>
                <a:ext uri="{FF2B5EF4-FFF2-40B4-BE49-F238E27FC236}">
                  <a16:creationId xmlns:a16="http://schemas.microsoft.com/office/drawing/2014/main" id="{4DB99A20-12ED-4818-9D24-4BE3F9DDDB30}"/>
                </a:ext>
              </a:extLst>
            </p:cNvPr>
            <p:cNvSpPr>
              <a:spLocks/>
            </p:cNvSpPr>
            <p:nvPr/>
          </p:nvSpPr>
          <p:spPr bwMode="auto">
            <a:xfrm>
              <a:off x="3993244" y="3131803"/>
              <a:ext cx="307933" cy="263088"/>
            </a:xfrm>
            <a:custGeom>
              <a:avLst/>
              <a:gdLst>
                <a:gd name="T0" fmla="*/ 2 w 206"/>
                <a:gd name="T1" fmla="*/ 28 h 176"/>
                <a:gd name="T2" fmla="*/ 16 w 206"/>
                <a:gd name="T3" fmla="*/ 8 h 176"/>
                <a:gd name="T4" fmla="*/ 28 w 206"/>
                <a:gd name="T5" fmla="*/ 8 h 176"/>
                <a:gd name="T6" fmla="*/ 42 w 206"/>
                <a:gd name="T7" fmla="*/ 8 h 176"/>
                <a:gd name="T8" fmla="*/ 56 w 206"/>
                <a:gd name="T9" fmla="*/ 28 h 176"/>
                <a:gd name="T10" fmla="*/ 70 w 206"/>
                <a:gd name="T11" fmla="*/ 36 h 176"/>
                <a:gd name="T12" fmla="*/ 84 w 206"/>
                <a:gd name="T13" fmla="*/ 36 h 176"/>
                <a:gd name="T14" fmla="*/ 98 w 206"/>
                <a:gd name="T15" fmla="*/ 36 h 176"/>
                <a:gd name="T16" fmla="*/ 112 w 206"/>
                <a:gd name="T17" fmla="*/ 36 h 176"/>
                <a:gd name="T18" fmla="*/ 124 w 206"/>
                <a:gd name="T19" fmla="*/ 28 h 176"/>
                <a:gd name="T20" fmla="*/ 138 w 206"/>
                <a:gd name="T21" fmla="*/ 18 h 176"/>
                <a:gd name="T22" fmla="*/ 150 w 206"/>
                <a:gd name="T23" fmla="*/ 0 h 176"/>
                <a:gd name="T24" fmla="*/ 164 w 206"/>
                <a:gd name="T25" fmla="*/ 0 h 176"/>
                <a:gd name="T26" fmla="*/ 178 w 206"/>
                <a:gd name="T27" fmla="*/ 0 h 176"/>
                <a:gd name="T28" fmla="*/ 192 w 206"/>
                <a:gd name="T29" fmla="*/ 0 h 176"/>
                <a:gd name="T30" fmla="*/ 206 w 206"/>
                <a:gd name="T31" fmla="*/ 8 h 176"/>
                <a:gd name="T32" fmla="*/ 204 w 206"/>
                <a:gd name="T33" fmla="*/ 12 h 176"/>
                <a:gd name="T34" fmla="*/ 200 w 206"/>
                <a:gd name="T35" fmla="*/ 18 h 176"/>
                <a:gd name="T36" fmla="*/ 186 w 206"/>
                <a:gd name="T37" fmla="*/ 38 h 176"/>
                <a:gd name="T38" fmla="*/ 172 w 206"/>
                <a:gd name="T39" fmla="*/ 54 h 176"/>
                <a:gd name="T40" fmla="*/ 158 w 206"/>
                <a:gd name="T41" fmla="*/ 64 h 176"/>
                <a:gd name="T42" fmla="*/ 144 w 206"/>
                <a:gd name="T43" fmla="*/ 82 h 176"/>
                <a:gd name="T44" fmla="*/ 130 w 206"/>
                <a:gd name="T45" fmla="*/ 90 h 176"/>
                <a:gd name="T46" fmla="*/ 124 w 206"/>
                <a:gd name="T47" fmla="*/ 106 h 176"/>
                <a:gd name="T48" fmla="*/ 110 w 206"/>
                <a:gd name="T49" fmla="*/ 116 h 176"/>
                <a:gd name="T50" fmla="*/ 112 w 206"/>
                <a:gd name="T51" fmla="*/ 118 h 176"/>
                <a:gd name="T52" fmla="*/ 104 w 206"/>
                <a:gd name="T53" fmla="*/ 124 h 176"/>
                <a:gd name="T54" fmla="*/ 90 w 206"/>
                <a:gd name="T55" fmla="*/ 128 h 176"/>
                <a:gd name="T56" fmla="*/ 78 w 206"/>
                <a:gd name="T57" fmla="*/ 140 h 176"/>
                <a:gd name="T58" fmla="*/ 62 w 206"/>
                <a:gd name="T59" fmla="*/ 160 h 176"/>
                <a:gd name="T60" fmla="*/ 56 w 206"/>
                <a:gd name="T61" fmla="*/ 176 h 176"/>
                <a:gd name="T62" fmla="*/ 52 w 206"/>
                <a:gd name="T63" fmla="*/ 176 h 176"/>
                <a:gd name="T64" fmla="*/ 48 w 206"/>
                <a:gd name="T65" fmla="*/ 176 h 176"/>
                <a:gd name="T66" fmla="*/ 34 w 206"/>
                <a:gd name="T67" fmla="*/ 176 h 176"/>
                <a:gd name="T68" fmla="*/ 22 w 206"/>
                <a:gd name="T69" fmla="*/ 168 h 176"/>
                <a:gd name="T70" fmla="*/ 8 w 206"/>
                <a:gd name="T71" fmla="*/ 160 h 176"/>
                <a:gd name="T72" fmla="*/ 0 w 206"/>
                <a:gd name="T73" fmla="*/ 140 h 176"/>
                <a:gd name="T74" fmla="*/ 0 w 206"/>
                <a:gd name="T75" fmla="*/ 124 h 176"/>
                <a:gd name="T76" fmla="*/ 14 w 206"/>
                <a:gd name="T77" fmla="*/ 124 h 176"/>
                <a:gd name="T78" fmla="*/ 22 w 206"/>
                <a:gd name="T79" fmla="*/ 106 h 176"/>
                <a:gd name="T80" fmla="*/ 28 w 206"/>
                <a:gd name="T81" fmla="*/ 90 h 176"/>
                <a:gd name="T82" fmla="*/ 28 w 206"/>
                <a:gd name="T83" fmla="*/ 72 h 176"/>
                <a:gd name="T84" fmla="*/ 14 w 206"/>
                <a:gd name="T85" fmla="*/ 64 h 176"/>
                <a:gd name="T86" fmla="*/ 0 w 206"/>
                <a:gd name="T87" fmla="*/ 32 h 176"/>
                <a:gd name="T88" fmla="*/ 2 w 206"/>
                <a:gd name="T89" fmla="*/ 2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6" h="176">
                  <a:moveTo>
                    <a:pt x="2" y="28"/>
                  </a:moveTo>
                  <a:lnTo>
                    <a:pt x="16" y="8"/>
                  </a:lnTo>
                  <a:lnTo>
                    <a:pt x="28" y="8"/>
                  </a:lnTo>
                  <a:lnTo>
                    <a:pt x="42" y="8"/>
                  </a:lnTo>
                  <a:lnTo>
                    <a:pt x="56" y="28"/>
                  </a:lnTo>
                  <a:lnTo>
                    <a:pt x="70" y="36"/>
                  </a:lnTo>
                  <a:lnTo>
                    <a:pt x="84" y="36"/>
                  </a:lnTo>
                  <a:lnTo>
                    <a:pt x="98" y="36"/>
                  </a:lnTo>
                  <a:lnTo>
                    <a:pt x="112" y="36"/>
                  </a:lnTo>
                  <a:lnTo>
                    <a:pt x="124" y="28"/>
                  </a:lnTo>
                  <a:lnTo>
                    <a:pt x="138" y="18"/>
                  </a:lnTo>
                  <a:lnTo>
                    <a:pt x="150" y="0"/>
                  </a:lnTo>
                  <a:lnTo>
                    <a:pt x="164" y="0"/>
                  </a:lnTo>
                  <a:lnTo>
                    <a:pt x="178" y="0"/>
                  </a:lnTo>
                  <a:lnTo>
                    <a:pt x="192" y="0"/>
                  </a:lnTo>
                  <a:lnTo>
                    <a:pt x="206" y="8"/>
                  </a:lnTo>
                  <a:lnTo>
                    <a:pt x="204" y="12"/>
                  </a:lnTo>
                  <a:lnTo>
                    <a:pt x="200" y="18"/>
                  </a:lnTo>
                  <a:lnTo>
                    <a:pt x="186" y="38"/>
                  </a:lnTo>
                  <a:lnTo>
                    <a:pt x="172" y="54"/>
                  </a:lnTo>
                  <a:lnTo>
                    <a:pt x="158" y="64"/>
                  </a:lnTo>
                  <a:lnTo>
                    <a:pt x="144" y="82"/>
                  </a:lnTo>
                  <a:lnTo>
                    <a:pt x="130" y="90"/>
                  </a:lnTo>
                  <a:lnTo>
                    <a:pt x="124" y="106"/>
                  </a:lnTo>
                  <a:lnTo>
                    <a:pt x="110" y="116"/>
                  </a:lnTo>
                  <a:lnTo>
                    <a:pt x="112" y="118"/>
                  </a:lnTo>
                  <a:lnTo>
                    <a:pt x="104" y="124"/>
                  </a:lnTo>
                  <a:lnTo>
                    <a:pt x="90" y="128"/>
                  </a:lnTo>
                  <a:lnTo>
                    <a:pt x="78" y="140"/>
                  </a:lnTo>
                  <a:lnTo>
                    <a:pt x="62" y="160"/>
                  </a:lnTo>
                  <a:lnTo>
                    <a:pt x="56" y="176"/>
                  </a:lnTo>
                  <a:lnTo>
                    <a:pt x="52" y="176"/>
                  </a:lnTo>
                  <a:lnTo>
                    <a:pt x="48" y="176"/>
                  </a:lnTo>
                  <a:lnTo>
                    <a:pt x="34" y="176"/>
                  </a:lnTo>
                  <a:lnTo>
                    <a:pt x="22" y="168"/>
                  </a:lnTo>
                  <a:lnTo>
                    <a:pt x="8" y="160"/>
                  </a:lnTo>
                  <a:lnTo>
                    <a:pt x="0" y="140"/>
                  </a:lnTo>
                  <a:lnTo>
                    <a:pt x="0" y="124"/>
                  </a:lnTo>
                  <a:lnTo>
                    <a:pt x="14" y="124"/>
                  </a:lnTo>
                  <a:lnTo>
                    <a:pt x="22" y="106"/>
                  </a:lnTo>
                  <a:lnTo>
                    <a:pt x="28" y="90"/>
                  </a:lnTo>
                  <a:lnTo>
                    <a:pt x="28" y="72"/>
                  </a:lnTo>
                  <a:lnTo>
                    <a:pt x="14" y="64"/>
                  </a:lnTo>
                  <a:lnTo>
                    <a:pt x="0" y="32"/>
                  </a:lnTo>
                  <a:lnTo>
                    <a:pt x="2" y="28"/>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58" name="Freeform 64">
              <a:extLst>
                <a:ext uri="{FF2B5EF4-FFF2-40B4-BE49-F238E27FC236}">
                  <a16:creationId xmlns:a16="http://schemas.microsoft.com/office/drawing/2014/main" id="{28D113AB-DDA8-4C16-94AD-0F84A2B4582A}"/>
                </a:ext>
              </a:extLst>
            </p:cNvPr>
            <p:cNvSpPr>
              <a:spLocks/>
            </p:cNvSpPr>
            <p:nvPr/>
          </p:nvSpPr>
          <p:spPr bwMode="auto">
            <a:xfrm>
              <a:off x="3189030" y="3092938"/>
              <a:ext cx="887923" cy="974623"/>
            </a:xfrm>
            <a:custGeom>
              <a:avLst/>
              <a:gdLst>
                <a:gd name="T0" fmla="*/ 356 w 594"/>
                <a:gd name="T1" fmla="*/ 576 h 652"/>
                <a:gd name="T2" fmla="*/ 376 w 594"/>
                <a:gd name="T3" fmla="*/ 540 h 652"/>
                <a:gd name="T4" fmla="*/ 398 w 594"/>
                <a:gd name="T5" fmla="*/ 488 h 652"/>
                <a:gd name="T6" fmla="*/ 356 w 594"/>
                <a:gd name="T7" fmla="*/ 468 h 652"/>
                <a:gd name="T8" fmla="*/ 304 w 594"/>
                <a:gd name="T9" fmla="*/ 462 h 652"/>
                <a:gd name="T10" fmla="*/ 264 w 594"/>
                <a:gd name="T11" fmla="*/ 426 h 652"/>
                <a:gd name="T12" fmla="*/ 216 w 594"/>
                <a:gd name="T13" fmla="*/ 392 h 652"/>
                <a:gd name="T14" fmla="*/ 174 w 594"/>
                <a:gd name="T15" fmla="*/ 402 h 652"/>
                <a:gd name="T16" fmla="*/ 136 w 594"/>
                <a:gd name="T17" fmla="*/ 366 h 652"/>
                <a:gd name="T18" fmla="*/ 88 w 594"/>
                <a:gd name="T19" fmla="*/ 384 h 652"/>
                <a:gd name="T20" fmla="*/ 40 w 594"/>
                <a:gd name="T21" fmla="*/ 426 h 652"/>
                <a:gd name="T22" fmla="*/ 14 w 594"/>
                <a:gd name="T23" fmla="*/ 418 h 652"/>
                <a:gd name="T24" fmla="*/ 28 w 594"/>
                <a:gd name="T25" fmla="*/ 402 h 652"/>
                <a:gd name="T26" fmla="*/ 22 w 594"/>
                <a:gd name="T27" fmla="*/ 356 h 652"/>
                <a:gd name="T28" fmla="*/ 6 w 594"/>
                <a:gd name="T29" fmla="*/ 314 h 652"/>
                <a:gd name="T30" fmla="*/ 22 w 594"/>
                <a:gd name="T31" fmla="*/ 270 h 652"/>
                <a:gd name="T32" fmla="*/ 14 w 594"/>
                <a:gd name="T33" fmla="*/ 226 h 652"/>
                <a:gd name="T34" fmla="*/ 28 w 594"/>
                <a:gd name="T35" fmla="*/ 184 h 652"/>
                <a:gd name="T36" fmla="*/ 0 w 594"/>
                <a:gd name="T37" fmla="*/ 166 h 652"/>
                <a:gd name="T38" fmla="*/ 28 w 594"/>
                <a:gd name="T39" fmla="*/ 122 h 652"/>
                <a:gd name="T40" fmla="*/ 56 w 594"/>
                <a:gd name="T41" fmla="*/ 114 h 652"/>
                <a:gd name="T42" fmla="*/ 94 w 594"/>
                <a:gd name="T43" fmla="*/ 140 h 652"/>
                <a:gd name="T44" fmla="*/ 136 w 594"/>
                <a:gd name="T45" fmla="*/ 114 h 652"/>
                <a:gd name="T46" fmla="*/ 174 w 594"/>
                <a:gd name="T47" fmla="*/ 98 h 652"/>
                <a:gd name="T48" fmla="*/ 174 w 594"/>
                <a:gd name="T49" fmla="*/ 44 h 652"/>
                <a:gd name="T50" fmla="*/ 216 w 594"/>
                <a:gd name="T51" fmla="*/ 44 h 652"/>
                <a:gd name="T52" fmla="*/ 254 w 594"/>
                <a:gd name="T53" fmla="*/ 52 h 652"/>
                <a:gd name="T54" fmla="*/ 304 w 594"/>
                <a:gd name="T55" fmla="*/ 28 h 652"/>
                <a:gd name="T56" fmla="*/ 340 w 594"/>
                <a:gd name="T57" fmla="*/ 0 h 652"/>
                <a:gd name="T58" fmla="*/ 356 w 594"/>
                <a:gd name="T59" fmla="*/ 18 h 652"/>
                <a:gd name="T60" fmla="*/ 376 w 594"/>
                <a:gd name="T61" fmla="*/ 62 h 652"/>
                <a:gd name="T62" fmla="*/ 426 w 594"/>
                <a:gd name="T63" fmla="*/ 36 h 652"/>
                <a:gd name="T64" fmla="*/ 472 w 594"/>
                <a:gd name="T65" fmla="*/ 0 h 652"/>
                <a:gd name="T66" fmla="*/ 512 w 594"/>
                <a:gd name="T67" fmla="*/ 18 h 652"/>
                <a:gd name="T68" fmla="*/ 540 w 594"/>
                <a:gd name="T69" fmla="*/ 52 h 652"/>
                <a:gd name="T70" fmla="*/ 566 w 594"/>
                <a:gd name="T71" fmla="*/ 98 h 652"/>
                <a:gd name="T72" fmla="*/ 552 w 594"/>
                <a:gd name="T73" fmla="*/ 148 h 652"/>
                <a:gd name="T74" fmla="*/ 548 w 594"/>
                <a:gd name="T75" fmla="*/ 184 h 652"/>
                <a:gd name="T76" fmla="*/ 586 w 594"/>
                <a:gd name="T77" fmla="*/ 200 h 652"/>
                <a:gd name="T78" fmla="*/ 586 w 594"/>
                <a:gd name="T79" fmla="*/ 218 h 652"/>
                <a:gd name="T80" fmla="*/ 552 w 594"/>
                <a:gd name="T81" fmla="*/ 254 h 652"/>
                <a:gd name="T82" fmla="*/ 526 w 594"/>
                <a:gd name="T83" fmla="*/ 288 h 652"/>
                <a:gd name="T84" fmla="*/ 498 w 594"/>
                <a:gd name="T85" fmla="*/ 288 h 652"/>
                <a:gd name="T86" fmla="*/ 480 w 594"/>
                <a:gd name="T87" fmla="*/ 332 h 652"/>
                <a:gd name="T88" fmla="*/ 472 w 594"/>
                <a:gd name="T89" fmla="*/ 392 h 652"/>
                <a:gd name="T90" fmla="*/ 466 w 594"/>
                <a:gd name="T91" fmla="*/ 452 h 652"/>
                <a:gd name="T92" fmla="*/ 466 w 594"/>
                <a:gd name="T93" fmla="*/ 506 h 652"/>
                <a:gd name="T94" fmla="*/ 452 w 594"/>
                <a:gd name="T95" fmla="*/ 548 h 652"/>
                <a:gd name="T96" fmla="*/ 444 w 594"/>
                <a:gd name="T97" fmla="*/ 600 h 652"/>
                <a:gd name="T98" fmla="*/ 418 w 594"/>
                <a:gd name="T99" fmla="*/ 646 h 652"/>
                <a:gd name="T100" fmla="*/ 398 w 594"/>
                <a:gd name="T101" fmla="*/ 636 h 652"/>
                <a:gd name="T102" fmla="*/ 376 w 594"/>
                <a:gd name="T103" fmla="*/ 610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4" h="652">
                  <a:moveTo>
                    <a:pt x="376" y="610"/>
                  </a:moveTo>
                  <a:lnTo>
                    <a:pt x="370" y="592"/>
                  </a:lnTo>
                  <a:lnTo>
                    <a:pt x="356" y="576"/>
                  </a:lnTo>
                  <a:lnTo>
                    <a:pt x="356" y="558"/>
                  </a:lnTo>
                  <a:lnTo>
                    <a:pt x="364" y="540"/>
                  </a:lnTo>
                  <a:lnTo>
                    <a:pt x="376" y="540"/>
                  </a:lnTo>
                  <a:lnTo>
                    <a:pt x="392" y="522"/>
                  </a:lnTo>
                  <a:lnTo>
                    <a:pt x="404" y="506"/>
                  </a:lnTo>
                  <a:lnTo>
                    <a:pt x="398" y="488"/>
                  </a:lnTo>
                  <a:lnTo>
                    <a:pt x="384" y="478"/>
                  </a:lnTo>
                  <a:lnTo>
                    <a:pt x="364" y="488"/>
                  </a:lnTo>
                  <a:lnTo>
                    <a:pt x="356" y="468"/>
                  </a:lnTo>
                  <a:lnTo>
                    <a:pt x="336" y="478"/>
                  </a:lnTo>
                  <a:lnTo>
                    <a:pt x="322" y="468"/>
                  </a:lnTo>
                  <a:lnTo>
                    <a:pt x="304" y="462"/>
                  </a:lnTo>
                  <a:lnTo>
                    <a:pt x="298" y="444"/>
                  </a:lnTo>
                  <a:lnTo>
                    <a:pt x="278" y="436"/>
                  </a:lnTo>
                  <a:lnTo>
                    <a:pt x="264" y="426"/>
                  </a:lnTo>
                  <a:lnTo>
                    <a:pt x="250" y="426"/>
                  </a:lnTo>
                  <a:lnTo>
                    <a:pt x="228" y="408"/>
                  </a:lnTo>
                  <a:lnTo>
                    <a:pt x="216" y="392"/>
                  </a:lnTo>
                  <a:lnTo>
                    <a:pt x="202" y="392"/>
                  </a:lnTo>
                  <a:lnTo>
                    <a:pt x="190" y="402"/>
                  </a:lnTo>
                  <a:lnTo>
                    <a:pt x="174" y="402"/>
                  </a:lnTo>
                  <a:lnTo>
                    <a:pt x="150" y="392"/>
                  </a:lnTo>
                  <a:lnTo>
                    <a:pt x="150" y="374"/>
                  </a:lnTo>
                  <a:lnTo>
                    <a:pt x="136" y="366"/>
                  </a:lnTo>
                  <a:lnTo>
                    <a:pt x="114" y="366"/>
                  </a:lnTo>
                  <a:lnTo>
                    <a:pt x="100" y="374"/>
                  </a:lnTo>
                  <a:lnTo>
                    <a:pt x="88" y="384"/>
                  </a:lnTo>
                  <a:lnTo>
                    <a:pt x="74" y="402"/>
                  </a:lnTo>
                  <a:lnTo>
                    <a:pt x="60" y="408"/>
                  </a:lnTo>
                  <a:lnTo>
                    <a:pt x="40" y="426"/>
                  </a:lnTo>
                  <a:lnTo>
                    <a:pt x="34" y="426"/>
                  </a:lnTo>
                  <a:lnTo>
                    <a:pt x="20" y="436"/>
                  </a:lnTo>
                  <a:lnTo>
                    <a:pt x="14" y="418"/>
                  </a:lnTo>
                  <a:lnTo>
                    <a:pt x="14" y="408"/>
                  </a:lnTo>
                  <a:lnTo>
                    <a:pt x="14" y="408"/>
                  </a:lnTo>
                  <a:lnTo>
                    <a:pt x="28" y="402"/>
                  </a:lnTo>
                  <a:lnTo>
                    <a:pt x="34" y="384"/>
                  </a:lnTo>
                  <a:lnTo>
                    <a:pt x="34" y="366"/>
                  </a:lnTo>
                  <a:lnTo>
                    <a:pt x="22" y="356"/>
                  </a:lnTo>
                  <a:lnTo>
                    <a:pt x="6" y="348"/>
                  </a:lnTo>
                  <a:lnTo>
                    <a:pt x="6" y="332"/>
                  </a:lnTo>
                  <a:lnTo>
                    <a:pt x="6" y="314"/>
                  </a:lnTo>
                  <a:lnTo>
                    <a:pt x="22" y="304"/>
                  </a:lnTo>
                  <a:lnTo>
                    <a:pt x="22" y="288"/>
                  </a:lnTo>
                  <a:lnTo>
                    <a:pt x="22" y="270"/>
                  </a:lnTo>
                  <a:lnTo>
                    <a:pt x="14" y="252"/>
                  </a:lnTo>
                  <a:lnTo>
                    <a:pt x="0" y="244"/>
                  </a:lnTo>
                  <a:lnTo>
                    <a:pt x="14" y="226"/>
                  </a:lnTo>
                  <a:lnTo>
                    <a:pt x="6" y="210"/>
                  </a:lnTo>
                  <a:lnTo>
                    <a:pt x="22" y="200"/>
                  </a:lnTo>
                  <a:lnTo>
                    <a:pt x="28" y="184"/>
                  </a:lnTo>
                  <a:lnTo>
                    <a:pt x="14" y="184"/>
                  </a:lnTo>
                  <a:lnTo>
                    <a:pt x="0" y="184"/>
                  </a:lnTo>
                  <a:lnTo>
                    <a:pt x="0" y="166"/>
                  </a:lnTo>
                  <a:lnTo>
                    <a:pt x="6" y="148"/>
                  </a:lnTo>
                  <a:lnTo>
                    <a:pt x="14" y="132"/>
                  </a:lnTo>
                  <a:lnTo>
                    <a:pt x="28" y="122"/>
                  </a:lnTo>
                  <a:lnTo>
                    <a:pt x="34" y="106"/>
                  </a:lnTo>
                  <a:lnTo>
                    <a:pt x="40" y="106"/>
                  </a:lnTo>
                  <a:lnTo>
                    <a:pt x="56" y="114"/>
                  </a:lnTo>
                  <a:lnTo>
                    <a:pt x="66" y="124"/>
                  </a:lnTo>
                  <a:lnTo>
                    <a:pt x="80" y="132"/>
                  </a:lnTo>
                  <a:lnTo>
                    <a:pt x="94" y="140"/>
                  </a:lnTo>
                  <a:lnTo>
                    <a:pt x="108" y="140"/>
                  </a:lnTo>
                  <a:lnTo>
                    <a:pt x="122" y="132"/>
                  </a:lnTo>
                  <a:lnTo>
                    <a:pt x="136" y="114"/>
                  </a:lnTo>
                  <a:lnTo>
                    <a:pt x="150" y="114"/>
                  </a:lnTo>
                  <a:lnTo>
                    <a:pt x="168" y="114"/>
                  </a:lnTo>
                  <a:lnTo>
                    <a:pt x="174" y="98"/>
                  </a:lnTo>
                  <a:lnTo>
                    <a:pt x="174" y="78"/>
                  </a:lnTo>
                  <a:lnTo>
                    <a:pt x="168" y="62"/>
                  </a:lnTo>
                  <a:lnTo>
                    <a:pt x="174" y="44"/>
                  </a:lnTo>
                  <a:lnTo>
                    <a:pt x="190" y="44"/>
                  </a:lnTo>
                  <a:lnTo>
                    <a:pt x="202" y="44"/>
                  </a:lnTo>
                  <a:lnTo>
                    <a:pt x="216" y="44"/>
                  </a:lnTo>
                  <a:lnTo>
                    <a:pt x="228" y="44"/>
                  </a:lnTo>
                  <a:lnTo>
                    <a:pt x="242" y="52"/>
                  </a:lnTo>
                  <a:lnTo>
                    <a:pt x="254" y="52"/>
                  </a:lnTo>
                  <a:lnTo>
                    <a:pt x="270" y="44"/>
                  </a:lnTo>
                  <a:lnTo>
                    <a:pt x="282" y="28"/>
                  </a:lnTo>
                  <a:lnTo>
                    <a:pt x="304" y="28"/>
                  </a:lnTo>
                  <a:lnTo>
                    <a:pt x="318" y="18"/>
                  </a:lnTo>
                  <a:lnTo>
                    <a:pt x="328" y="10"/>
                  </a:lnTo>
                  <a:lnTo>
                    <a:pt x="340" y="0"/>
                  </a:lnTo>
                  <a:lnTo>
                    <a:pt x="338" y="0"/>
                  </a:lnTo>
                  <a:lnTo>
                    <a:pt x="350" y="0"/>
                  </a:lnTo>
                  <a:lnTo>
                    <a:pt x="356" y="18"/>
                  </a:lnTo>
                  <a:lnTo>
                    <a:pt x="370" y="28"/>
                  </a:lnTo>
                  <a:lnTo>
                    <a:pt x="370" y="44"/>
                  </a:lnTo>
                  <a:lnTo>
                    <a:pt x="376" y="62"/>
                  </a:lnTo>
                  <a:lnTo>
                    <a:pt x="398" y="62"/>
                  </a:lnTo>
                  <a:lnTo>
                    <a:pt x="412" y="44"/>
                  </a:lnTo>
                  <a:lnTo>
                    <a:pt x="426" y="36"/>
                  </a:lnTo>
                  <a:lnTo>
                    <a:pt x="436" y="18"/>
                  </a:lnTo>
                  <a:lnTo>
                    <a:pt x="452" y="10"/>
                  </a:lnTo>
                  <a:lnTo>
                    <a:pt x="472" y="0"/>
                  </a:lnTo>
                  <a:lnTo>
                    <a:pt x="486" y="10"/>
                  </a:lnTo>
                  <a:lnTo>
                    <a:pt x="498" y="18"/>
                  </a:lnTo>
                  <a:lnTo>
                    <a:pt x="512" y="18"/>
                  </a:lnTo>
                  <a:lnTo>
                    <a:pt x="526" y="28"/>
                  </a:lnTo>
                  <a:lnTo>
                    <a:pt x="534" y="44"/>
                  </a:lnTo>
                  <a:lnTo>
                    <a:pt x="540" y="52"/>
                  </a:lnTo>
                  <a:lnTo>
                    <a:pt x="538" y="54"/>
                  </a:lnTo>
                  <a:lnTo>
                    <a:pt x="552" y="90"/>
                  </a:lnTo>
                  <a:lnTo>
                    <a:pt x="566" y="98"/>
                  </a:lnTo>
                  <a:lnTo>
                    <a:pt x="566" y="114"/>
                  </a:lnTo>
                  <a:lnTo>
                    <a:pt x="562" y="132"/>
                  </a:lnTo>
                  <a:lnTo>
                    <a:pt x="552" y="148"/>
                  </a:lnTo>
                  <a:lnTo>
                    <a:pt x="538" y="148"/>
                  </a:lnTo>
                  <a:lnTo>
                    <a:pt x="538" y="166"/>
                  </a:lnTo>
                  <a:lnTo>
                    <a:pt x="548" y="184"/>
                  </a:lnTo>
                  <a:lnTo>
                    <a:pt x="562" y="192"/>
                  </a:lnTo>
                  <a:lnTo>
                    <a:pt x="572" y="200"/>
                  </a:lnTo>
                  <a:lnTo>
                    <a:pt x="586" y="200"/>
                  </a:lnTo>
                  <a:lnTo>
                    <a:pt x="592" y="200"/>
                  </a:lnTo>
                  <a:lnTo>
                    <a:pt x="594" y="200"/>
                  </a:lnTo>
                  <a:lnTo>
                    <a:pt x="586" y="218"/>
                  </a:lnTo>
                  <a:lnTo>
                    <a:pt x="572" y="226"/>
                  </a:lnTo>
                  <a:lnTo>
                    <a:pt x="562" y="236"/>
                  </a:lnTo>
                  <a:lnTo>
                    <a:pt x="552" y="254"/>
                  </a:lnTo>
                  <a:lnTo>
                    <a:pt x="548" y="270"/>
                  </a:lnTo>
                  <a:lnTo>
                    <a:pt x="538" y="288"/>
                  </a:lnTo>
                  <a:lnTo>
                    <a:pt x="526" y="288"/>
                  </a:lnTo>
                  <a:lnTo>
                    <a:pt x="520" y="270"/>
                  </a:lnTo>
                  <a:lnTo>
                    <a:pt x="506" y="270"/>
                  </a:lnTo>
                  <a:lnTo>
                    <a:pt x="498" y="288"/>
                  </a:lnTo>
                  <a:lnTo>
                    <a:pt x="498" y="298"/>
                  </a:lnTo>
                  <a:lnTo>
                    <a:pt x="492" y="314"/>
                  </a:lnTo>
                  <a:lnTo>
                    <a:pt x="480" y="332"/>
                  </a:lnTo>
                  <a:lnTo>
                    <a:pt x="480" y="348"/>
                  </a:lnTo>
                  <a:lnTo>
                    <a:pt x="480" y="366"/>
                  </a:lnTo>
                  <a:lnTo>
                    <a:pt x="472" y="392"/>
                  </a:lnTo>
                  <a:lnTo>
                    <a:pt x="472" y="408"/>
                  </a:lnTo>
                  <a:lnTo>
                    <a:pt x="466" y="436"/>
                  </a:lnTo>
                  <a:lnTo>
                    <a:pt x="466" y="452"/>
                  </a:lnTo>
                  <a:lnTo>
                    <a:pt x="472" y="468"/>
                  </a:lnTo>
                  <a:lnTo>
                    <a:pt x="472" y="488"/>
                  </a:lnTo>
                  <a:lnTo>
                    <a:pt x="466" y="506"/>
                  </a:lnTo>
                  <a:lnTo>
                    <a:pt x="466" y="522"/>
                  </a:lnTo>
                  <a:lnTo>
                    <a:pt x="458" y="530"/>
                  </a:lnTo>
                  <a:lnTo>
                    <a:pt x="452" y="548"/>
                  </a:lnTo>
                  <a:lnTo>
                    <a:pt x="452" y="568"/>
                  </a:lnTo>
                  <a:lnTo>
                    <a:pt x="452" y="584"/>
                  </a:lnTo>
                  <a:lnTo>
                    <a:pt x="444" y="600"/>
                  </a:lnTo>
                  <a:lnTo>
                    <a:pt x="436" y="618"/>
                  </a:lnTo>
                  <a:lnTo>
                    <a:pt x="432" y="636"/>
                  </a:lnTo>
                  <a:lnTo>
                    <a:pt x="418" y="646"/>
                  </a:lnTo>
                  <a:lnTo>
                    <a:pt x="418" y="652"/>
                  </a:lnTo>
                  <a:lnTo>
                    <a:pt x="412" y="652"/>
                  </a:lnTo>
                  <a:lnTo>
                    <a:pt x="398" y="636"/>
                  </a:lnTo>
                  <a:lnTo>
                    <a:pt x="388" y="620"/>
                  </a:lnTo>
                  <a:lnTo>
                    <a:pt x="384" y="618"/>
                  </a:lnTo>
                  <a:lnTo>
                    <a:pt x="376" y="61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59" name="Freeform 65">
              <a:extLst>
                <a:ext uri="{FF2B5EF4-FFF2-40B4-BE49-F238E27FC236}">
                  <a16:creationId xmlns:a16="http://schemas.microsoft.com/office/drawing/2014/main" id="{65A7FED7-289F-4A7A-A2D4-5CBB89577ECE}"/>
                </a:ext>
              </a:extLst>
            </p:cNvPr>
            <p:cNvSpPr>
              <a:spLocks/>
            </p:cNvSpPr>
            <p:nvPr/>
          </p:nvSpPr>
          <p:spPr bwMode="auto">
            <a:xfrm>
              <a:off x="3189030" y="3092938"/>
              <a:ext cx="887923" cy="974623"/>
            </a:xfrm>
            <a:custGeom>
              <a:avLst/>
              <a:gdLst>
                <a:gd name="T0" fmla="*/ 356 w 594"/>
                <a:gd name="T1" fmla="*/ 576 h 652"/>
                <a:gd name="T2" fmla="*/ 376 w 594"/>
                <a:gd name="T3" fmla="*/ 540 h 652"/>
                <a:gd name="T4" fmla="*/ 398 w 594"/>
                <a:gd name="T5" fmla="*/ 488 h 652"/>
                <a:gd name="T6" fmla="*/ 356 w 594"/>
                <a:gd name="T7" fmla="*/ 468 h 652"/>
                <a:gd name="T8" fmla="*/ 304 w 594"/>
                <a:gd name="T9" fmla="*/ 462 h 652"/>
                <a:gd name="T10" fmla="*/ 264 w 594"/>
                <a:gd name="T11" fmla="*/ 426 h 652"/>
                <a:gd name="T12" fmla="*/ 216 w 594"/>
                <a:gd name="T13" fmla="*/ 392 h 652"/>
                <a:gd name="T14" fmla="*/ 174 w 594"/>
                <a:gd name="T15" fmla="*/ 402 h 652"/>
                <a:gd name="T16" fmla="*/ 136 w 594"/>
                <a:gd name="T17" fmla="*/ 366 h 652"/>
                <a:gd name="T18" fmla="*/ 88 w 594"/>
                <a:gd name="T19" fmla="*/ 384 h 652"/>
                <a:gd name="T20" fmla="*/ 40 w 594"/>
                <a:gd name="T21" fmla="*/ 426 h 652"/>
                <a:gd name="T22" fmla="*/ 14 w 594"/>
                <a:gd name="T23" fmla="*/ 418 h 652"/>
                <a:gd name="T24" fmla="*/ 28 w 594"/>
                <a:gd name="T25" fmla="*/ 402 h 652"/>
                <a:gd name="T26" fmla="*/ 22 w 594"/>
                <a:gd name="T27" fmla="*/ 356 h 652"/>
                <a:gd name="T28" fmla="*/ 6 w 594"/>
                <a:gd name="T29" fmla="*/ 314 h 652"/>
                <a:gd name="T30" fmla="*/ 22 w 594"/>
                <a:gd name="T31" fmla="*/ 270 h 652"/>
                <a:gd name="T32" fmla="*/ 14 w 594"/>
                <a:gd name="T33" fmla="*/ 226 h 652"/>
                <a:gd name="T34" fmla="*/ 28 w 594"/>
                <a:gd name="T35" fmla="*/ 184 h 652"/>
                <a:gd name="T36" fmla="*/ 0 w 594"/>
                <a:gd name="T37" fmla="*/ 166 h 652"/>
                <a:gd name="T38" fmla="*/ 28 w 594"/>
                <a:gd name="T39" fmla="*/ 122 h 652"/>
                <a:gd name="T40" fmla="*/ 56 w 594"/>
                <a:gd name="T41" fmla="*/ 114 h 652"/>
                <a:gd name="T42" fmla="*/ 94 w 594"/>
                <a:gd name="T43" fmla="*/ 140 h 652"/>
                <a:gd name="T44" fmla="*/ 136 w 594"/>
                <a:gd name="T45" fmla="*/ 114 h 652"/>
                <a:gd name="T46" fmla="*/ 174 w 594"/>
                <a:gd name="T47" fmla="*/ 98 h 652"/>
                <a:gd name="T48" fmla="*/ 174 w 594"/>
                <a:gd name="T49" fmla="*/ 44 h 652"/>
                <a:gd name="T50" fmla="*/ 216 w 594"/>
                <a:gd name="T51" fmla="*/ 44 h 652"/>
                <a:gd name="T52" fmla="*/ 254 w 594"/>
                <a:gd name="T53" fmla="*/ 52 h 652"/>
                <a:gd name="T54" fmla="*/ 304 w 594"/>
                <a:gd name="T55" fmla="*/ 28 h 652"/>
                <a:gd name="T56" fmla="*/ 340 w 594"/>
                <a:gd name="T57" fmla="*/ 0 h 652"/>
                <a:gd name="T58" fmla="*/ 356 w 594"/>
                <a:gd name="T59" fmla="*/ 18 h 652"/>
                <a:gd name="T60" fmla="*/ 376 w 594"/>
                <a:gd name="T61" fmla="*/ 62 h 652"/>
                <a:gd name="T62" fmla="*/ 426 w 594"/>
                <a:gd name="T63" fmla="*/ 36 h 652"/>
                <a:gd name="T64" fmla="*/ 472 w 594"/>
                <a:gd name="T65" fmla="*/ 0 h 652"/>
                <a:gd name="T66" fmla="*/ 512 w 594"/>
                <a:gd name="T67" fmla="*/ 18 h 652"/>
                <a:gd name="T68" fmla="*/ 540 w 594"/>
                <a:gd name="T69" fmla="*/ 52 h 652"/>
                <a:gd name="T70" fmla="*/ 566 w 594"/>
                <a:gd name="T71" fmla="*/ 98 h 652"/>
                <a:gd name="T72" fmla="*/ 552 w 594"/>
                <a:gd name="T73" fmla="*/ 148 h 652"/>
                <a:gd name="T74" fmla="*/ 548 w 594"/>
                <a:gd name="T75" fmla="*/ 184 h 652"/>
                <a:gd name="T76" fmla="*/ 586 w 594"/>
                <a:gd name="T77" fmla="*/ 200 h 652"/>
                <a:gd name="T78" fmla="*/ 586 w 594"/>
                <a:gd name="T79" fmla="*/ 218 h 652"/>
                <a:gd name="T80" fmla="*/ 552 w 594"/>
                <a:gd name="T81" fmla="*/ 254 h 652"/>
                <a:gd name="T82" fmla="*/ 526 w 594"/>
                <a:gd name="T83" fmla="*/ 288 h 652"/>
                <a:gd name="T84" fmla="*/ 498 w 594"/>
                <a:gd name="T85" fmla="*/ 288 h 652"/>
                <a:gd name="T86" fmla="*/ 480 w 594"/>
                <a:gd name="T87" fmla="*/ 332 h 652"/>
                <a:gd name="T88" fmla="*/ 472 w 594"/>
                <a:gd name="T89" fmla="*/ 392 h 652"/>
                <a:gd name="T90" fmla="*/ 466 w 594"/>
                <a:gd name="T91" fmla="*/ 452 h 652"/>
                <a:gd name="T92" fmla="*/ 466 w 594"/>
                <a:gd name="T93" fmla="*/ 506 h 652"/>
                <a:gd name="T94" fmla="*/ 452 w 594"/>
                <a:gd name="T95" fmla="*/ 548 h 652"/>
                <a:gd name="T96" fmla="*/ 444 w 594"/>
                <a:gd name="T97" fmla="*/ 600 h 652"/>
                <a:gd name="T98" fmla="*/ 418 w 594"/>
                <a:gd name="T99" fmla="*/ 646 h 652"/>
                <a:gd name="T100" fmla="*/ 398 w 594"/>
                <a:gd name="T101" fmla="*/ 636 h 652"/>
                <a:gd name="T102" fmla="*/ 376 w 594"/>
                <a:gd name="T103" fmla="*/ 610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4" h="652">
                  <a:moveTo>
                    <a:pt x="376" y="610"/>
                  </a:moveTo>
                  <a:lnTo>
                    <a:pt x="370" y="592"/>
                  </a:lnTo>
                  <a:lnTo>
                    <a:pt x="356" y="576"/>
                  </a:lnTo>
                  <a:lnTo>
                    <a:pt x="356" y="558"/>
                  </a:lnTo>
                  <a:lnTo>
                    <a:pt x="364" y="540"/>
                  </a:lnTo>
                  <a:lnTo>
                    <a:pt x="376" y="540"/>
                  </a:lnTo>
                  <a:lnTo>
                    <a:pt x="392" y="522"/>
                  </a:lnTo>
                  <a:lnTo>
                    <a:pt x="404" y="506"/>
                  </a:lnTo>
                  <a:lnTo>
                    <a:pt x="398" y="488"/>
                  </a:lnTo>
                  <a:lnTo>
                    <a:pt x="384" y="478"/>
                  </a:lnTo>
                  <a:lnTo>
                    <a:pt x="364" y="488"/>
                  </a:lnTo>
                  <a:lnTo>
                    <a:pt x="356" y="468"/>
                  </a:lnTo>
                  <a:lnTo>
                    <a:pt x="336" y="478"/>
                  </a:lnTo>
                  <a:lnTo>
                    <a:pt x="322" y="468"/>
                  </a:lnTo>
                  <a:lnTo>
                    <a:pt x="304" y="462"/>
                  </a:lnTo>
                  <a:lnTo>
                    <a:pt x="298" y="444"/>
                  </a:lnTo>
                  <a:lnTo>
                    <a:pt x="278" y="436"/>
                  </a:lnTo>
                  <a:lnTo>
                    <a:pt x="264" y="426"/>
                  </a:lnTo>
                  <a:lnTo>
                    <a:pt x="250" y="426"/>
                  </a:lnTo>
                  <a:lnTo>
                    <a:pt x="228" y="408"/>
                  </a:lnTo>
                  <a:lnTo>
                    <a:pt x="216" y="392"/>
                  </a:lnTo>
                  <a:lnTo>
                    <a:pt x="202" y="392"/>
                  </a:lnTo>
                  <a:lnTo>
                    <a:pt x="190" y="402"/>
                  </a:lnTo>
                  <a:lnTo>
                    <a:pt x="174" y="402"/>
                  </a:lnTo>
                  <a:lnTo>
                    <a:pt x="150" y="392"/>
                  </a:lnTo>
                  <a:lnTo>
                    <a:pt x="150" y="374"/>
                  </a:lnTo>
                  <a:lnTo>
                    <a:pt x="136" y="366"/>
                  </a:lnTo>
                  <a:lnTo>
                    <a:pt x="114" y="366"/>
                  </a:lnTo>
                  <a:lnTo>
                    <a:pt x="100" y="374"/>
                  </a:lnTo>
                  <a:lnTo>
                    <a:pt x="88" y="384"/>
                  </a:lnTo>
                  <a:lnTo>
                    <a:pt x="74" y="402"/>
                  </a:lnTo>
                  <a:lnTo>
                    <a:pt x="60" y="408"/>
                  </a:lnTo>
                  <a:lnTo>
                    <a:pt x="40" y="426"/>
                  </a:lnTo>
                  <a:lnTo>
                    <a:pt x="34" y="426"/>
                  </a:lnTo>
                  <a:lnTo>
                    <a:pt x="20" y="436"/>
                  </a:lnTo>
                  <a:lnTo>
                    <a:pt x="14" y="418"/>
                  </a:lnTo>
                  <a:lnTo>
                    <a:pt x="14" y="408"/>
                  </a:lnTo>
                  <a:lnTo>
                    <a:pt x="14" y="408"/>
                  </a:lnTo>
                  <a:lnTo>
                    <a:pt x="28" y="402"/>
                  </a:lnTo>
                  <a:lnTo>
                    <a:pt x="34" y="384"/>
                  </a:lnTo>
                  <a:lnTo>
                    <a:pt x="34" y="366"/>
                  </a:lnTo>
                  <a:lnTo>
                    <a:pt x="22" y="356"/>
                  </a:lnTo>
                  <a:lnTo>
                    <a:pt x="6" y="348"/>
                  </a:lnTo>
                  <a:lnTo>
                    <a:pt x="6" y="332"/>
                  </a:lnTo>
                  <a:lnTo>
                    <a:pt x="6" y="314"/>
                  </a:lnTo>
                  <a:lnTo>
                    <a:pt x="22" y="304"/>
                  </a:lnTo>
                  <a:lnTo>
                    <a:pt x="22" y="288"/>
                  </a:lnTo>
                  <a:lnTo>
                    <a:pt x="22" y="270"/>
                  </a:lnTo>
                  <a:lnTo>
                    <a:pt x="14" y="252"/>
                  </a:lnTo>
                  <a:lnTo>
                    <a:pt x="0" y="244"/>
                  </a:lnTo>
                  <a:lnTo>
                    <a:pt x="14" y="226"/>
                  </a:lnTo>
                  <a:lnTo>
                    <a:pt x="6" y="210"/>
                  </a:lnTo>
                  <a:lnTo>
                    <a:pt x="22" y="200"/>
                  </a:lnTo>
                  <a:lnTo>
                    <a:pt x="28" y="184"/>
                  </a:lnTo>
                  <a:lnTo>
                    <a:pt x="14" y="184"/>
                  </a:lnTo>
                  <a:lnTo>
                    <a:pt x="0" y="184"/>
                  </a:lnTo>
                  <a:lnTo>
                    <a:pt x="0" y="166"/>
                  </a:lnTo>
                  <a:lnTo>
                    <a:pt x="6" y="148"/>
                  </a:lnTo>
                  <a:lnTo>
                    <a:pt x="14" y="132"/>
                  </a:lnTo>
                  <a:lnTo>
                    <a:pt x="28" y="122"/>
                  </a:lnTo>
                  <a:lnTo>
                    <a:pt x="34" y="106"/>
                  </a:lnTo>
                  <a:lnTo>
                    <a:pt x="40" y="106"/>
                  </a:lnTo>
                  <a:lnTo>
                    <a:pt x="56" y="114"/>
                  </a:lnTo>
                  <a:lnTo>
                    <a:pt x="66" y="124"/>
                  </a:lnTo>
                  <a:lnTo>
                    <a:pt x="80" y="132"/>
                  </a:lnTo>
                  <a:lnTo>
                    <a:pt x="94" y="140"/>
                  </a:lnTo>
                  <a:lnTo>
                    <a:pt x="108" y="140"/>
                  </a:lnTo>
                  <a:lnTo>
                    <a:pt x="122" y="132"/>
                  </a:lnTo>
                  <a:lnTo>
                    <a:pt x="136" y="114"/>
                  </a:lnTo>
                  <a:lnTo>
                    <a:pt x="150" y="114"/>
                  </a:lnTo>
                  <a:lnTo>
                    <a:pt x="168" y="114"/>
                  </a:lnTo>
                  <a:lnTo>
                    <a:pt x="174" y="98"/>
                  </a:lnTo>
                  <a:lnTo>
                    <a:pt x="174" y="78"/>
                  </a:lnTo>
                  <a:lnTo>
                    <a:pt x="168" y="62"/>
                  </a:lnTo>
                  <a:lnTo>
                    <a:pt x="174" y="44"/>
                  </a:lnTo>
                  <a:lnTo>
                    <a:pt x="190" y="44"/>
                  </a:lnTo>
                  <a:lnTo>
                    <a:pt x="202" y="44"/>
                  </a:lnTo>
                  <a:lnTo>
                    <a:pt x="216" y="44"/>
                  </a:lnTo>
                  <a:lnTo>
                    <a:pt x="228" y="44"/>
                  </a:lnTo>
                  <a:lnTo>
                    <a:pt x="242" y="52"/>
                  </a:lnTo>
                  <a:lnTo>
                    <a:pt x="254" y="52"/>
                  </a:lnTo>
                  <a:lnTo>
                    <a:pt x="270" y="44"/>
                  </a:lnTo>
                  <a:lnTo>
                    <a:pt x="282" y="28"/>
                  </a:lnTo>
                  <a:lnTo>
                    <a:pt x="304" y="28"/>
                  </a:lnTo>
                  <a:lnTo>
                    <a:pt x="318" y="18"/>
                  </a:lnTo>
                  <a:lnTo>
                    <a:pt x="328" y="10"/>
                  </a:lnTo>
                  <a:lnTo>
                    <a:pt x="340" y="0"/>
                  </a:lnTo>
                  <a:lnTo>
                    <a:pt x="338" y="0"/>
                  </a:lnTo>
                  <a:lnTo>
                    <a:pt x="350" y="0"/>
                  </a:lnTo>
                  <a:lnTo>
                    <a:pt x="356" y="18"/>
                  </a:lnTo>
                  <a:lnTo>
                    <a:pt x="370" y="28"/>
                  </a:lnTo>
                  <a:lnTo>
                    <a:pt x="370" y="44"/>
                  </a:lnTo>
                  <a:lnTo>
                    <a:pt x="376" y="62"/>
                  </a:lnTo>
                  <a:lnTo>
                    <a:pt x="398" y="62"/>
                  </a:lnTo>
                  <a:lnTo>
                    <a:pt x="412" y="44"/>
                  </a:lnTo>
                  <a:lnTo>
                    <a:pt x="426" y="36"/>
                  </a:lnTo>
                  <a:lnTo>
                    <a:pt x="436" y="18"/>
                  </a:lnTo>
                  <a:lnTo>
                    <a:pt x="452" y="10"/>
                  </a:lnTo>
                  <a:lnTo>
                    <a:pt x="472" y="0"/>
                  </a:lnTo>
                  <a:lnTo>
                    <a:pt x="486" y="10"/>
                  </a:lnTo>
                  <a:lnTo>
                    <a:pt x="498" y="18"/>
                  </a:lnTo>
                  <a:lnTo>
                    <a:pt x="512" y="18"/>
                  </a:lnTo>
                  <a:lnTo>
                    <a:pt x="526" y="28"/>
                  </a:lnTo>
                  <a:lnTo>
                    <a:pt x="534" y="44"/>
                  </a:lnTo>
                  <a:lnTo>
                    <a:pt x="540" y="52"/>
                  </a:lnTo>
                  <a:lnTo>
                    <a:pt x="538" y="54"/>
                  </a:lnTo>
                  <a:lnTo>
                    <a:pt x="552" y="90"/>
                  </a:lnTo>
                  <a:lnTo>
                    <a:pt x="566" y="98"/>
                  </a:lnTo>
                  <a:lnTo>
                    <a:pt x="566" y="114"/>
                  </a:lnTo>
                  <a:lnTo>
                    <a:pt x="562" y="132"/>
                  </a:lnTo>
                  <a:lnTo>
                    <a:pt x="552" y="148"/>
                  </a:lnTo>
                  <a:lnTo>
                    <a:pt x="538" y="148"/>
                  </a:lnTo>
                  <a:lnTo>
                    <a:pt x="538" y="166"/>
                  </a:lnTo>
                  <a:lnTo>
                    <a:pt x="548" y="184"/>
                  </a:lnTo>
                  <a:lnTo>
                    <a:pt x="562" y="192"/>
                  </a:lnTo>
                  <a:lnTo>
                    <a:pt x="572" y="200"/>
                  </a:lnTo>
                  <a:lnTo>
                    <a:pt x="586" y="200"/>
                  </a:lnTo>
                  <a:lnTo>
                    <a:pt x="592" y="200"/>
                  </a:lnTo>
                  <a:lnTo>
                    <a:pt x="594" y="200"/>
                  </a:lnTo>
                  <a:lnTo>
                    <a:pt x="586" y="218"/>
                  </a:lnTo>
                  <a:lnTo>
                    <a:pt x="572" y="226"/>
                  </a:lnTo>
                  <a:lnTo>
                    <a:pt x="562" y="236"/>
                  </a:lnTo>
                  <a:lnTo>
                    <a:pt x="552" y="254"/>
                  </a:lnTo>
                  <a:lnTo>
                    <a:pt x="548" y="270"/>
                  </a:lnTo>
                  <a:lnTo>
                    <a:pt x="538" y="288"/>
                  </a:lnTo>
                  <a:lnTo>
                    <a:pt x="526" y="288"/>
                  </a:lnTo>
                  <a:lnTo>
                    <a:pt x="520" y="270"/>
                  </a:lnTo>
                  <a:lnTo>
                    <a:pt x="506" y="270"/>
                  </a:lnTo>
                  <a:lnTo>
                    <a:pt x="498" y="288"/>
                  </a:lnTo>
                  <a:lnTo>
                    <a:pt x="498" y="298"/>
                  </a:lnTo>
                  <a:lnTo>
                    <a:pt x="492" y="314"/>
                  </a:lnTo>
                  <a:lnTo>
                    <a:pt x="480" y="332"/>
                  </a:lnTo>
                  <a:lnTo>
                    <a:pt x="480" y="348"/>
                  </a:lnTo>
                  <a:lnTo>
                    <a:pt x="480" y="366"/>
                  </a:lnTo>
                  <a:lnTo>
                    <a:pt x="472" y="392"/>
                  </a:lnTo>
                  <a:lnTo>
                    <a:pt x="472" y="408"/>
                  </a:lnTo>
                  <a:lnTo>
                    <a:pt x="466" y="436"/>
                  </a:lnTo>
                  <a:lnTo>
                    <a:pt x="466" y="452"/>
                  </a:lnTo>
                  <a:lnTo>
                    <a:pt x="472" y="468"/>
                  </a:lnTo>
                  <a:lnTo>
                    <a:pt x="472" y="488"/>
                  </a:lnTo>
                  <a:lnTo>
                    <a:pt x="466" y="506"/>
                  </a:lnTo>
                  <a:lnTo>
                    <a:pt x="466" y="522"/>
                  </a:lnTo>
                  <a:lnTo>
                    <a:pt x="458" y="530"/>
                  </a:lnTo>
                  <a:lnTo>
                    <a:pt x="452" y="548"/>
                  </a:lnTo>
                  <a:lnTo>
                    <a:pt x="452" y="568"/>
                  </a:lnTo>
                  <a:lnTo>
                    <a:pt x="452" y="584"/>
                  </a:lnTo>
                  <a:lnTo>
                    <a:pt x="444" y="600"/>
                  </a:lnTo>
                  <a:lnTo>
                    <a:pt x="436" y="618"/>
                  </a:lnTo>
                  <a:lnTo>
                    <a:pt x="432" y="636"/>
                  </a:lnTo>
                  <a:lnTo>
                    <a:pt x="418" y="646"/>
                  </a:lnTo>
                  <a:lnTo>
                    <a:pt x="418" y="652"/>
                  </a:lnTo>
                  <a:lnTo>
                    <a:pt x="412" y="652"/>
                  </a:lnTo>
                  <a:lnTo>
                    <a:pt x="398" y="636"/>
                  </a:lnTo>
                  <a:lnTo>
                    <a:pt x="388" y="620"/>
                  </a:lnTo>
                  <a:lnTo>
                    <a:pt x="384" y="618"/>
                  </a:lnTo>
                  <a:lnTo>
                    <a:pt x="376" y="610"/>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60" name="Freeform 66">
              <a:extLst>
                <a:ext uri="{FF2B5EF4-FFF2-40B4-BE49-F238E27FC236}">
                  <a16:creationId xmlns:a16="http://schemas.microsoft.com/office/drawing/2014/main" id="{346F1240-0197-4232-AAC5-BBE2E90DF540}"/>
                </a:ext>
              </a:extLst>
            </p:cNvPr>
            <p:cNvSpPr>
              <a:spLocks/>
            </p:cNvSpPr>
            <p:nvPr/>
          </p:nvSpPr>
          <p:spPr bwMode="auto">
            <a:xfrm>
              <a:off x="3592632" y="4013747"/>
              <a:ext cx="215254" cy="322881"/>
            </a:xfrm>
            <a:custGeom>
              <a:avLst/>
              <a:gdLst>
                <a:gd name="T0" fmla="*/ 62 w 144"/>
                <a:gd name="T1" fmla="*/ 206 h 216"/>
                <a:gd name="T2" fmla="*/ 82 w 144"/>
                <a:gd name="T3" fmla="*/ 198 h 216"/>
                <a:gd name="T4" fmla="*/ 94 w 144"/>
                <a:gd name="T5" fmla="*/ 182 h 216"/>
                <a:gd name="T6" fmla="*/ 94 w 144"/>
                <a:gd name="T7" fmla="*/ 164 h 216"/>
                <a:gd name="T8" fmla="*/ 102 w 144"/>
                <a:gd name="T9" fmla="*/ 146 h 216"/>
                <a:gd name="T10" fmla="*/ 116 w 144"/>
                <a:gd name="T11" fmla="*/ 130 h 216"/>
                <a:gd name="T12" fmla="*/ 130 w 144"/>
                <a:gd name="T13" fmla="*/ 122 h 216"/>
                <a:gd name="T14" fmla="*/ 144 w 144"/>
                <a:gd name="T15" fmla="*/ 104 h 216"/>
                <a:gd name="T16" fmla="*/ 136 w 144"/>
                <a:gd name="T17" fmla="*/ 86 h 216"/>
                <a:gd name="T18" fmla="*/ 136 w 144"/>
                <a:gd name="T19" fmla="*/ 70 h 216"/>
                <a:gd name="T20" fmla="*/ 136 w 144"/>
                <a:gd name="T21" fmla="*/ 52 h 216"/>
                <a:gd name="T22" fmla="*/ 144 w 144"/>
                <a:gd name="T23" fmla="*/ 34 h 216"/>
                <a:gd name="T24" fmla="*/ 130 w 144"/>
                <a:gd name="T25" fmla="*/ 16 h 216"/>
                <a:gd name="T26" fmla="*/ 120 w 144"/>
                <a:gd name="T27" fmla="*/ 2 h 216"/>
                <a:gd name="T28" fmla="*/ 116 w 144"/>
                <a:gd name="T29" fmla="*/ 0 h 216"/>
                <a:gd name="T30" fmla="*/ 102 w 144"/>
                <a:gd name="T31" fmla="*/ 0 h 216"/>
                <a:gd name="T32" fmla="*/ 88 w 144"/>
                <a:gd name="T33" fmla="*/ 0 h 216"/>
                <a:gd name="T34" fmla="*/ 74 w 144"/>
                <a:gd name="T35" fmla="*/ 8 h 216"/>
                <a:gd name="T36" fmla="*/ 68 w 144"/>
                <a:gd name="T37" fmla="*/ 28 h 216"/>
                <a:gd name="T38" fmla="*/ 68 w 144"/>
                <a:gd name="T39" fmla="*/ 44 h 216"/>
                <a:gd name="T40" fmla="*/ 68 w 144"/>
                <a:gd name="T41" fmla="*/ 60 h 216"/>
                <a:gd name="T42" fmla="*/ 68 w 144"/>
                <a:gd name="T43" fmla="*/ 78 h 216"/>
                <a:gd name="T44" fmla="*/ 68 w 144"/>
                <a:gd name="T45" fmla="*/ 96 h 216"/>
                <a:gd name="T46" fmla="*/ 62 w 144"/>
                <a:gd name="T47" fmla="*/ 112 h 216"/>
                <a:gd name="T48" fmla="*/ 48 w 144"/>
                <a:gd name="T49" fmla="*/ 122 h 216"/>
                <a:gd name="T50" fmla="*/ 40 w 144"/>
                <a:gd name="T51" fmla="*/ 138 h 216"/>
                <a:gd name="T52" fmla="*/ 26 w 144"/>
                <a:gd name="T53" fmla="*/ 156 h 216"/>
                <a:gd name="T54" fmla="*/ 14 w 144"/>
                <a:gd name="T55" fmla="*/ 146 h 216"/>
                <a:gd name="T56" fmla="*/ 0 w 144"/>
                <a:gd name="T57" fmla="*/ 164 h 216"/>
                <a:gd name="T58" fmla="*/ 0 w 144"/>
                <a:gd name="T59" fmla="*/ 182 h 216"/>
                <a:gd name="T60" fmla="*/ 0 w 144"/>
                <a:gd name="T61" fmla="*/ 190 h 216"/>
                <a:gd name="T62" fmla="*/ 6 w 144"/>
                <a:gd name="T63" fmla="*/ 206 h 216"/>
                <a:gd name="T64" fmla="*/ 26 w 144"/>
                <a:gd name="T65" fmla="*/ 216 h 216"/>
                <a:gd name="T66" fmla="*/ 40 w 144"/>
                <a:gd name="T67" fmla="*/ 216 h 216"/>
                <a:gd name="T68" fmla="*/ 48 w 144"/>
                <a:gd name="T69" fmla="*/ 216 h 216"/>
                <a:gd name="T70" fmla="*/ 54 w 144"/>
                <a:gd name="T71" fmla="*/ 216 h 216"/>
                <a:gd name="T72" fmla="*/ 62 w 144"/>
                <a:gd name="T73" fmla="*/ 20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4" h="216">
                  <a:moveTo>
                    <a:pt x="62" y="206"/>
                  </a:moveTo>
                  <a:lnTo>
                    <a:pt x="82" y="198"/>
                  </a:lnTo>
                  <a:lnTo>
                    <a:pt x="94" y="182"/>
                  </a:lnTo>
                  <a:lnTo>
                    <a:pt x="94" y="164"/>
                  </a:lnTo>
                  <a:lnTo>
                    <a:pt x="102" y="146"/>
                  </a:lnTo>
                  <a:lnTo>
                    <a:pt x="116" y="130"/>
                  </a:lnTo>
                  <a:lnTo>
                    <a:pt x="130" y="122"/>
                  </a:lnTo>
                  <a:lnTo>
                    <a:pt x="144" y="104"/>
                  </a:lnTo>
                  <a:lnTo>
                    <a:pt x="136" y="86"/>
                  </a:lnTo>
                  <a:lnTo>
                    <a:pt x="136" y="70"/>
                  </a:lnTo>
                  <a:lnTo>
                    <a:pt x="136" y="52"/>
                  </a:lnTo>
                  <a:lnTo>
                    <a:pt x="144" y="34"/>
                  </a:lnTo>
                  <a:lnTo>
                    <a:pt x="130" y="16"/>
                  </a:lnTo>
                  <a:lnTo>
                    <a:pt x="120" y="2"/>
                  </a:lnTo>
                  <a:lnTo>
                    <a:pt x="116" y="0"/>
                  </a:lnTo>
                  <a:lnTo>
                    <a:pt x="102" y="0"/>
                  </a:lnTo>
                  <a:lnTo>
                    <a:pt x="88" y="0"/>
                  </a:lnTo>
                  <a:lnTo>
                    <a:pt x="74" y="8"/>
                  </a:lnTo>
                  <a:lnTo>
                    <a:pt x="68" y="28"/>
                  </a:lnTo>
                  <a:lnTo>
                    <a:pt x="68" y="44"/>
                  </a:lnTo>
                  <a:lnTo>
                    <a:pt x="68" y="60"/>
                  </a:lnTo>
                  <a:lnTo>
                    <a:pt x="68" y="78"/>
                  </a:lnTo>
                  <a:lnTo>
                    <a:pt x="68" y="96"/>
                  </a:lnTo>
                  <a:lnTo>
                    <a:pt x="62" y="112"/>
                  </a:lnTo>
                  <a:lnTo>
                    <a:pt x="48" y="122"/>
                  </a:lnTo>
                  <a:lnTo>
                    <a:pt x="40" y="138"/>
                  </a:lnTo>
                  <a:lnTo>
                    <a:pt x="26" y="156"/>
                  </a:lnTo>
                  <a:lnTo>
                    <a:pt x="14" y="146"/>
                  </a:lnTo>
                  <a:lnTo>
                    <a:pt x="0" y="164"/>
                  </a:lnTo>
                  <a:lnTo>
                    <a:pt x="0" y="182"/>
                  </a:lnTo>
                  <a:lnTo>
                    <a:pt x="0" y="190"/>
                  </a:lnTo>
                  <a:lnTo>
                    <a:pt x="6" y="206"/>
                  </a:lnTo>
                  <a:lnTo>
                    <a:pt x="26" y="216"/>
                  </a:lnTo>
                  <a:lnTo>
                    <a:pt x="40" y="216"/>
                  </a:lnTo>
                  <a:lnTo>
                    <a:pt x="48" y="216"/>
                  </a:lnTo>
                  <a:lnTo>
                    <a:pt x="54" y="216"/>
                  </a:lnTo>
                  <a:lnTo>
                    <a:pt x="62" y="20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61" name="Freeform 67">
              <a:extLst>
                <a:ext uri="{FF2B5EF4-FFF2-40B4-BE49-F238E27FC236}">
                  <a16:creationId xmlns:a16="http://schemas.microsoft.com/office/drawing/2014/main" id="{67D67A16-0110-4F0E-8599-7D7E90AE9B00}"/>
                </a:ext>
              </a:extLst>
            </p:cNvPr>
            <p:cNvSpPr>
              <a:spLocks/>
            </p:cNvSpPr>
            <p:nvPr/>
          </p:nvSpPr>
          <p:spPr bwMode="auto">
            <a:xfrm>
              <a:off x="3592632" y="4013747"/>
              <a:ext cx="215254" cy="322881"/>
            </a:xfrm>
            <a:custGeom>
              <a:avLst/>
              <a:gdLst>
                <a:gd name="T0" fmla="*/ 62 w 144"/>
                <a:gd name="T1" fmla="*/ 206 h 216"/>
                <a:gd name="T2" fmla="*/ 82 w 144"/>
                <a:gd name="T3" fmla="*/ 198 h 216"/>
                <a:gd name="T4" fmla="*/ 94 w 144"/>
                <a:gd name="T5" fmla="*/ 182 h 216"/>
                <a:gd name="T6" fmla="*/ 94 w 144"/>
                <a:gd name="T7" fmla="*/ 164 h 216"/>
                <a:gd name="T8" fmla="*/ 102 w 144"/>
                <a:gd name="T9" fmla="*/ 146 h 216"/>
                <a:gd name="T10" fmla="*/ 116 w 144"/>
                <a:gd name="T11" fmla="*/ 130 h 216"/>
                <a:gd name="T12" fmla="*/ 130 w 144"/>
                <a:gd name="T13" fmla="*/ 122 h 216"/>
                <a:gd name="T14" fmla="*/ 144 w 144"/>
                <a:gd name="T15" fmla="*/ 104 h 216"/>
                <a:gd name="T16" fmla="*/ 136 w 144"/>
                <a:gd name="T17" fmla="*/ 86 h 216"/>
                <a:gd name="T18" fmla="*/ 136 w 144"/>
                <a:gd name="T19" fmla="*/ 70 h 216"/>
                <a:gd name="T20" fmla="*/ 136 w 144"/>
                <a:gd name="T21" fmla="*/ 52 h 216"/>
                <a:gd name="T22" fmla="*/ 144 w 144"/>
                <a:gd name="T23" fmla="*/ 34 h 216"/>
                <a:gd name="T24" fmla="*/ 130 w 144"/>
                <a:gd name="T25" fmla="*/ 16 h 216"/>
                <a:gd name="T26" fmla="*/ 120 w 144"/>
                <a:gd name="T27" fmla="*/ 2 h 216"/>
                <a:gd name="T28" fmla="*/ 116 w 144"/>
                <a:gd name="T29" fmla="*/ 0 h 216"/>
                <a:gd name="T30" fmla="*/ 102 w 144"/>
                <a:gd name="T31" fmla="*/ 0 h 216"/>
                <a:gd name="T32" fmla="*/ 88 w 144"/>
                <a:gd name="T33" fmla="*/ 0 h 216"/>
                <a:gd name="T34" fmla="*/ 74 w 144"/>
                <a:gd name="T35" fmla="*/ 8 h 216"/>
                <a:gd name="T36" fmla="*/ 68 w 144"/>
                <a:gd name="T37" fmla="*/ 28 h 216"/>
                <a:gd name="T38" fmla="*/ 68 w 144"/>
                <a:gd name="T39" fmla="*/ 44 h 216"/>
                <a:gd name="T40" fmla="*/ 68 w 144"/>
                <a:gd name="T41" fmla="*/ 60 h 216"/>
                <a:gd name="T42" fmla="*/ 68 w 144"/>
                <a:gd name="T43" fmla="*/ 78 h 216"/>
                <a:gd name="T44" fmla="*/ 68 w 144"/>
                <a:gd name="T45" fmla="*/ 96 h 216"/>
                <a:gd name="T46" fmla="*/ 62 w 144"/>
                <a:gd name="T47" fmla="*/ 112 h 216"/>
                <a:gd name="T48" fmla="*/ 48 w 144"/>
                <a:gd name="T49" fmla="*/ 122 h 216"/>
                <a:gd name="T50" fmla="*/ 40 w 144"/>
                <a:gd name="T51" fmla="*/ 138 h 216"/>
                <a:gd name="T52" fmla="*/ 26 w 144"/>
                <a:gd name="T53" fmla="*/ 156 h 216"/>
                <a:gd name="T54" fmla="*/ 14 w 144"/>
                <a:gd name="T55" fmla="*/ 146 h 216"/>
                <a:gd name="T56" fmla="*/ 0 w 144"/>
                <a:gd name="T57" fmla="*/ 164 h 216"/>
                <a:gd name="T58" fmla="*/ 0 w 144"/>
                <a:gd name="T59" fmla="*/ 182 h 216"/>
                <a:gd name="T60" fmla="*/ 0 w 144"/>
                <a:gd name="T61" fmla="*/ 190 h 216"/>
                <a:gd name="T62" fmla="*/ 6 w 144"/>
                <a:gd name="T63" fmla="*/ 206 h 216"/>
                <a:gd name="T64" fmla="*/ 26 w 144"/>
                <a:gd name="T65" fmla="*/ 216 h 216"/>
                <a:gd name="T66" fmla="*/ 40 w 144"/>
                <a:gd name="T67" fmla="*/ 216 h 216"/>
                <a:gd name="T68" fmla="*/ 48 w 144"/>
                <a:gd name="T69" fmla="*/ 216 h 216"/>
                <a:gd name="T70" fmla="*/ 54 w 144"/>
                <a:gd name="T71" fmla="*/ 216 h 216"/>
                <a:gd name="T72" fmla="*/ 62 w 144"/>
                <a:gd name="T73" fmla="*/ 20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4" h="216">
                  <a:moveTo>
                    <a:pt x="62" y="206"/>
                  </a:moveTo>
                  <a:lnTo>
                    <a:pt x="82" y="198"/>
                  </a:lnTo>
                  <a:lnTo>
                    <a:pt x="94" y="182"/>
                  </a:lnTo>
                  <a:lnTo>
                    <a:pt x="94" y="164"/>
                  </a:lnTo>
                  <a:lnTo>
                    <a:pt x="102" y="146"/>
                  </a:lnTo>
                  <a:lnTo>
                    <a:pt x="116" y="130"/>
                  </a:lnTo>
                  <a:lnTo>
                    <a:pt x="130" y="122"/>
                  </a:lnTo>
                  <a:lnTo>
                    <a:pt x="144" y="104"/>
                  </a:lnTo>
                  <a:lnTo>
                    <a:pt x="136" y="86"/>
                  </a:lnTo>
                  <a:lnTo>
                    <a:pt x="136" y="70"/>
                  </a:lnTo>
                  <a:lnTo>
                    <a:pt x="136" y="52"/>
                  </a:lnTo>
                  <a:lnTo>
                    <a:pt x="144" y="34"/>
                  </a:lnTo>
                  <a:lnTo>
                    <a:pt x="130" y="16"/>
                  </a:lnTo>
                  <a:lnTo>
                    <a:pt x="120" y="2"/>
                  </a:lnTo>
                  <a:lnTo>
                    <a:pt x="116" y="0"/>
                  </a:lnTo>
                  <a:lnTo>
                    <a:pt x="102" y="0"/>
                  </a:lnTo>
                  <a:lnTo>
                    <a:pt x="88" y="0"/>
                  </a:lnTo>
                  <a:lnTo>
                    <a:pt x="74" y="8"/>
                  </a:lnTo>
                  <a:lnTo>
                    <a:pt x="68" y="28"/>
                  </a:lnTo>
                  <a:lnTo>
                    <a:pt x="68" y="44"/>
                  </a:lnTo>
                  <a:lnTo>
                    <a:pt x="68" y="60"/>
                  </a:lnTo>
                  <a:lnTo>
                    <a:pt x="68" y="78"/>
                  </a:lnTo>
                  <a:lnTo>
                    <a:pt x="68" y="96"/>
                  </a:lnTo>
                  <a:lnTo>
                    <a:pt x="62" y="112"/>
                  </a:lnTo>
                  <a:lnTo>
                    <a:pt x="48" y="122"/>
                  </a:lnTo>
                  <a:lnTo>
                    <a:pt x="40" y="138"/>
                  </a:lnTo>
                  <a:lnTo>
                    <a:pt x="26" y="156"/>
                  </a:lnTo>
                  <a:lnTo>
                    <a:pt x="14" y="146"/>
                  </a:lnTo>
                  <a:lnTo>
                    <a:pt x="0" y="164"/>
                  </a:lnTo>
                  <a:lnTo>
                    <a:pt x="0" y="182"/>
                  </a:lnTo>
                  <a:lnTo>
                    <a:pt x="0" y="190"/>
                  </a:lnTo>
                  <a:lnTo>
                    <a:pt x="6" y="206"/>
                  </a:lnTo>
                  <a:lnTo>
                    <a:pt x="26" y="216"/>
                  </a:lnTo>
                  <a:lnTo>
                    <a:pt x="40" y="216"/>
                  </a:lnTo>
                  <a:lnTo>
                    <a:pt x="48" y="216"/>
                  </a:lnTo>
                  <a:lnTo>
                    <a:pt x="54" y="216"/>
                  </a:lnTo>
                  <a:lnTo>
                    <a:pt x="62" y="206"/>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62" name="Freeform 68">
              <a:extLst>
                <a:ext uri="{FF2B5EF4-FFF2-40B4-BE49-F238E27FC236}">
                  <a16:creationId xmlns:a16="http://schemas.microsoft.com/office/drawing/2014/main" id="{3383E28B-648E-4889-95DB-A8ED2FFEF12F}"/>
                </a:ext>
              </a:extLst>
            </p:cNvPr>
            <p:cNvSpPr>
              <a:spLocks/>
            </p:cNvSpPr>
            <p:nvPr/>
          </p:nvSpPr>
          <p:spPr bwMode="auto">
            <a:xfrm>
              <a:off x="3308616" y="4297762"/>
              <a:ext cx="364736" cy="209275"/>
            </a:xfrm>
            <a:custGeom>
              <a:avLst/>
              <a:gdLst>
                <a:gd name="T0" fmla="*/ 244 w 244"/>
                <a:gd name="T1" fmla="*/ 26 h 140"/>
                <a:gd name="T2" fmla="*/ 238 w 244"/>
                <a:gd name="T3" fmla="*/ 26 h 140"/>
                <a:gd name="T4" fmla="*/ 230 w 244"/>
                <a:gd name="T5" fmla="*/ 26 h 140"/>
                <a:gd name="T6" fmla="*/ 216 w 244"/>
                <a:gd name="T7" fmla="*/ 26 h 140"/>
                <a:gd name="T8" fmla="*/ 198 w 244"/>
                <a:gd name="T9" fmla="*/ 16 h 140"/>
                <a:gd name="T10" fmla="*/ 190 w 244"/>
                <a:gd name="T11" fmla="*/ 0 h 140"/>
                <a:gd name="T12" fmla="*/ 190 w 244"/>
                <a:gd name="T13" fmla="*/ 2 h 140"/>
                <a:gd name="T14" fmla="*/ 184 w 244"/>
                <a:gd name="T15" fmla="*/ 6 h 140"/>
                <a:gd name="T16" fmla="*/ 176 w 244"/>
                <a:gd name="T17" fmla="*/ 26 h 140"/>
                <a:gd name="T18" fmla="*/ 170 w 244"/>
                <a:gd name="T19" fmla="*/ 44 h 140"/>
                <a:gd name="T20" fmla="*/ 156 w 244"/>
                <a:gd name="T21" fmla="*/ 60 h 140"/>
                <a:gd name="T22" fmla="*/ 136 w 244"/>
                <a:gd name="T23" fmla="*/ 70 h 140"/>
                <a:gd name="T24" fmla="*/ 122 w 244"/>
                <a:gd name="T25" fmla="*/ 70 h 140"/>
                <a:gd name="T26" fmla="*/ 108 w 244"/>
                <a:gd name="T27" fmla="*/ 78 h 140"/>
                <a:gd name="T28" fmla="*/ 94 w 244"/>
                <a:gd name="T29" fmla="*/ 78 h 140"/>
                <a:gd name="T30" fmla="*/ 80 w 244"/>
                <a:gd name="T31" fmla="*/ 78 h 140"/>
                <a:gd name="T32" fmla="*/ 66 w 244"/>
                <a:gd name="T33" fmla="*/ 78 h 140"/>
                <a:gd name="T34" fmla="*/ 54 w 244"/>
                <a:gd name="T35" fmla="*/ 70 h 140"/>
                <a:gd name="T36" fmla="*/ 42 w 244"/>
                <a:gd name="T37" fmla="*/ 78 h 140"/>
                <a:gd name="T38" fmla="*/ 28 w 244"/>
                <a:gd name="T39" fmla="*/ 78 h 140"/>
                <a:gd name="T40" fmla="*/ 14 w 244"/>
                <a:gd name="T41" fmla="*/ 96 h 140"/>
                <a:gd name="T42" fmla="*/ 14 w 244"/>
                <a:gd name="T43" fmla="*/ 114 h 140"/>
                <a:gd name="T44" fmla="*/ 0 w 244"/>
                <a:gd name="T45" fmla="*/ 120 h 140"/>
                <a:gd name="T46" fmla="*/ 0 w 244"/>
                <a:gd name="T47" fmla="*/ 140 h 140"/>
                <a:gd name="T48" fmla="*/ 14 w 244"/>
                <a:gd name="T49" fmla="*/ 132 h 140"/>
                <a:gd name="T50" fmla="*/ 28 w 244"/>
                <a:gd name="T51" fmla="*/ 120 h 140"/>
                <a:gd name="T52" fmla="*/ 42 w 244"/>
                <a:gd name="T53" fmla="*/ 120 h 140"/>
                <a:gd name="T54" fmla="*/ 54 w 244"/>
                <a:gd name="T55" fmla="*/ 132 h 140"/>
                <a:gd name="T56" fmla="*/ 66 w 244"/>
                <a:gd name="T57" fmla="*/ 140 h 140"/>
                <a:gd name="T58" fmla="*/ 80 w 244"/>
                <a:gd name="T59" fmla="*/ 140 h 140"/>
                <a:gd name="T60" fmla="*/ 94 w 244"/>
                <a:gd name="T61" fmla="*/ 132 h 140"/>
                <a:gd name="T62" fmla="*/ 108 w 244"/>
                <a:gd name="T63" fmla="*/ 120 h 140"/>
                <a:gd name="T64" fmla="*/ 122 w 244"/>
                <a:gd name="T65" fmla="*/ 132 h 140"/>
                <a:gd name="T66" fmla="*/ 136 w 244"/>
                <a:gd name="T67" fmla="*/ 140 h 140"/>
                <a:gd name="T68" fmla="*/ 148 w 244"/>
                <a:gd name="T69" fmla="*/ 140 h 140"/>
                <a:gd name="T70" fmla="*/ 162 w 244"/>
                <a:gd name="T71" fmla="*/ 132 h 140"/>
                <a:gd name="T72" fmla="*/ 170 w 244"/>
                <a:gd name="T73" fmla="*/ 114 h 140"/>
                <a:gd name="T74" fmla="*/ 184 w 244"/>
                <a:gd name="T75" fmla="*/ 96 h 140"/>
                <a:gd name="T76" fmla="*/ 198 w 244"/>
                <a:gd name="T77" fmla="*/ 86 h 140"/>
                <a:gd name="T78" fmla="*/ 204 w 244"/>
                <a:gd name="T79" fmla="*/ 86 h 140"/>
                <a:gd name="T80" fmla="*/ 216 w 244"/>
                <a:gd name="T81" fmla="*/ 86 h 140"/>
                <a:gd name="T82" fmla="*/ 230 w 244"/>
                <a:gd name="T83" fmla="*/ 78 h 140"/>
                <a:gd name="T84" fmla="*/ 238 w 244"/>
                <a:gd name="T85" fmla="*/ 60 h 140"/>
                <a:gd name="T86" fmla="*/ 238 w 244"/>
                <a:gd name="T87" fmla="*/ 44 h 140"/>
                <a:gd name="T88" fmla="*/ 244 w 244"/>
                <a:gd name="T89" fmla="*/ 2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4" h="140">
                  <a:moveTo>
                    <a:pt x="244" y="26"/>
                  </a:moveTo>
                  <a:lnTo>
                    <a:pt x="238" y="26"/>
                  </a:lnTo>
                  <a:lnTo>
                    <a:pt x="230" y="26"/>
                  </a:lnTo>
                  <a:lnTo>
                    <a:pt x="216" y="26"/>
                  </a:lnTo>
                  <a:lnTo>
                    <a:pt x="198" y="16"/>
                  </a:lnTo>
                  <a:lnTo>
                    <a:pt x="190" y="0"/>
                  </a:lnTo>
                  <a:lnTo>
                    <a:pt x="190" y="2"/>
                  </a:lnTo>
                  <a:lnTo>
                    <a:pt x="184" y="6"/>
                  </a:lnTo>
                  <a:lnTo>
                    <a:pt x="176" y="26"/>
                  </a:lnTo>
                  <a:lnTo>
                    <a:pt x="170" y="44"/>
                  </a:lnTo>
                  <a:lnTo>
                    <a:pt x="156" y="60"/>
                  </a:lnTo>
                  <a:lnTo>
                    <a:pt x="136" y="70"/>
                  </a:lnTo>
                  <a:lnTo>
                    <a:pt x="122" y="70"/>
                  </a:lnTo>
                  <a:lnTo>
                    <a:pt x="108" y="78"/>
                  </a:lnTo>
                  <a:lnTo>
                    <a:pt x="94" y="78"/>
                  </a:lnTo>
                  <a:lnTo>
                    <a:pt x="80" y="78"/>
                  </a:lnTo>
                  <a:lnTo>
                    <a:pt x="66" y="78"/>
                  </a:lnTo>
                  <a:lnTo>
                    <a:pt x="54" y="70"/>
                  </a:lnTo>
                  <a:lnTo>
                    <a:pt x="42" y="78"/>
                  </a:lnTo>
                  <a:lnTo>
                    <a:pt x="28" y="78"/>
                  </a:lnTo>
                  <a:lnTo>
                    <a:pt x="14" y="96"/>
                  </a:lnTo>
                  <a:lnTo>
                    <a:pt x="14" y="114"/>
                  </a:lnTo>
                  <a:lnTo>
                    <a:pt x="0" y="120"/>
                  </a:lnTo>
                  <a:lnTo>
                    <a:pt x="0" y="140"/>
                  </a:lnTo>
                  <a:lnTo>
                    <a:pt x="14" y="132"/>
                  </a:lnTo>
                  <a:lnTo>
                    <a:pt x="28" y="120"/>
                  </a:lnTo>
                  <a:lnTo>
                    <a:pt x="42" y="120"/>
                  </a:lnTo>
                  <a:lnTo>
                    <a:pt x="54" y="132"/>
                  </a:lnTo>
                  <a:lnTo>
                    <a:pt x="66" y="140"/>
                  </a:lnTo>
                  <a:lnTo>
                    <a:pt x="80" y="140"/>
                  </a:lnTo>
                  <a:lnTo>
                    <a:pt x="94" y="132"/>
                  </a:lnTo>
                  <a:lnTo>
                    <a:pt x="108" y="120"/>
                  </a:lnTo>
                  <a:lnTo>
                    <a:pt x="122" y="132"/>
                  </a:lnTo>
                  <a:lnTo>
                    <a:pt x="136" y="140"/>
                  </a:lnTo>
                  <a:lnTo>
                    <a:pt x="148" y="140"/>
                  </a:lnTo>
                  <a:lnTo>
                    <a:pt x="162" y="132"/>
                  </a:lnTo>
                  <a:lnTo>
                    <a:pt x="170" y="114"/>
                  </a:lnTo>
                  <a:lnTo>
                    <a:pt x="184" y="96"/>
                  </a:lnTo>
                  <a:lnTo>
                    <a:pt x="198" y="86"/>
                  </a:lnTo>
                  <a:lnTo>
                    <a:pt x="204" y="86"/>
                  </a:lnTo>
                  <a:lnTo>
                    <a:pt x="216" y="86"/>
                  </a:lnTo>
                  <a:lnTo>
                    <a:pt x="230" y="78"/>
                  </a:lnTo>
                  <a:lnTo>
                    <a:pt x="238" y="60"/>
                  </a:lnTo>
                  <a:lnTo>
                    <a:pt x="238" y="44"/>
                  </a:lnTo>
                  <a:lnTo>
                    <a:pt x="244" y="2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63" name="Freeform 69">
              <a:extLst>
                <a:ext uri="{FF2B5EF4-FFF2-40B4-BE49-F238E27FC236}">
                  <a16:creationId xmlns:a16="http://schemas.microsoft.com/office/drawing/2014/main" id="{FEC77600-B55D-43E4-B458-8A4D92F01527}"/>
                </a:ext>
              </a:extLst>
            </p:cNvPr>
            <p:cNvSpPr>
              <a:spLocks/>
            </p:cNvSpPr>
            <p:nvPr/>
          </p:nvSpPr>
          <p:spPr bwMode="auto">
            <a:xfrm>
              <a:off x="3308616" y="4297762"/>
              <a:ext cx="364736" cy="209275"/>
            </a:xfrm>
            <a:custGeom>
              <a:avLst/>
              <a:gdLst>
                <a:gd name="T0" fmla="*/ 244 w 244"/>
                <a:gd name="T1" fmla="*/ 26 h 140"/>
                <a:gd name="T2" fmla="*/ 238 w 244"/>
                <a:gd name="T3" fmla="*/ 26 h 140"/>
                <a:gd name="T4" fmla="*/ 230 w 244"/>
                <a:gd name="T5" fmla="*/ 26 h 140"/>
                <a:gd name="T6" fmla="*/ 216 w 244"/>
                <a:gd name="T7" fmla="*/ 26 h 140"/>
                <a:gd name="T8" fmla="*/ 198 w 244"/>
                <a:gd name="T9" fmla="*/ 16 h 140"/>
                <a:gd name="T10" fmla="*/ 190 w 244"/>
                <a:gd name="T11" fmla="*/ 0 h 140"/>
                <a:gd name="T12" fmla="*/ 190 w 244"/>
                <a:gd name="T13" fmla="*/ 2 h 140"/>
                <a:gd name="T14" fmla="*/ 184 w 244"/>
                <a:gd name="T15" fmla="*/ 6 h 140"/>
                <a:gd name="T16" fmla="*/ 176 w 244"/>
                <a:gd name="T17" fmla="*/ 26 h 140"/>
                <a:gd name="T18" fmla="*/ 170 w 244"/>
                <a:gd name="T19" fmla="*/ 44 h 140"/>
                <a:gd name="T20" fmla="*/ 156 w 244"/>
                <a:gd name="T21" fmla="*/ 60 h 140"/>
                <a:gd name="T22" fmla="*/ 136 w 244"/>
                <a:gd name="T23" fmla="*/ 70 h 140"/>
                <a:gd name="T24" fmla="*/ 122 w 244"/>
                <a:gd name="T25" fmla="*/ 70 h 140"/>
                <a:gd name="T26" fmla="*/ 108 w 244"/>
                <a:gd name="T27" fmla="*/ 78 h 140"/>
                <a:gd name="T28" fmla="*/ 94 w 244"/>
                <a:gd name="T29" fmla="*/ 78 h 140"/>
                <a:gd name="T30" fmla="*/ 80 w 244"/>
                <a:gd name="T31" fmla="*/ 78 h 140"/>
                <a:gd name="T32" fmla="*/ 66 w 244"/>
                <a:gd name="T33" fmla="*/ 78 h 140"/>
                <a:gd name="T34" fmla="*/ 54 w 244"/>
                <a:gd name="T35" fmla="*/ 70 h 140"/>
                <a:gd name="T36" fmla="*/ 42 w 244"/>
                <a:gd name="T37" fmla="*/ 78 h 140"/>
                <a:gd name="T38" fmla="*/ 28 w 244"/>
                <a:gd name="T39" fmla="*/ 78 h 140"/>
                <a:gd name="T40" fmla="*/ 14 w 244"/>
                <a:gd name="T41" fmla="*/ 96 h 140"/>
                <a:gd name="T42" fmla="*/ 14 w 244"/>
                <a:gd name="T43" fmla="*/ 114 h 140"/>
                <a:gd name="T44" fmla="*/ 0 w 244"/>
                <a:gd name="T45" fmla="*/ 120 h 140"/>
                <a:gd name="T46" fmla="*/ 0 w 244"/>
                <a:gd name="T47" fmla="*/ 140 h 140"/>
                <a:gd name="T48" fmla="*/ 14 w 244"/>
                <a:gd name="T49" fmla="*/ 132 h 140"/>
                <a:gd name="T50" fmla="*/ 28 w 244"/>
                <a:gd name="T51" fmla="*/ 120 h 140"/>
                <a:gd name="T52" fmla="*/ 42 w 244"/>
                <a:gd name="T53" fmla="*/ 120 h 140"/>
                <a:gd name="T54" fmla="*/ 54 w 244"/>
                <a:gd name="T55" fmla="*/ 132 h 140"/>
                <a:gd name="T56" fmla="*/ 66 w 244"/>
                <a:gd name="T57" fmla="*/ 140 h 140"/>
                <a:gd name="T58" fmla="*/ 80 w 244"/>
                <a:gd name="T59" fmla="*/ 140 h 140"/>
                <a:gd name="T60" fmla="*/ 94 w 244"/>
                <a:gd name="T61" fmla="*/ 132 h 140"/>
                <a:gd name="T62" fmla="*/ 108 w 244"/>
                <a:gd name="T63" fmla="*/ 120 h 140"/>
                <a:gd name="T64" fmla="*/ 122 w 244"/>
                <a:gd name="T65" fmla="*/ 132 h 140"/>
                <a:gd name="T66" fmla="*/ 136 w 244"/>
                <a:gd name="T67" fmla="*/ 140 h 140"/>
                <a:gd name="T68" fmla="*/ 148 w 244"/>
                <a:gd name="T69" fmla="*/ 140 h 140"/>
                <a:gd name="T70" fmla="*/ 162 w 244"/>
                <a:gd name="T71" fmla="*/ 132 h 140"/>
                <a:gd name="T72" fmla="*/ 170 w 244"/>
                <a:gd name="T73" fmla="*/ 114 h 140"/>
                <a:gd name="T74" fmla="*/ 184 w 244"/>
                <a:gd name="T75" fmla="*/ 96 h 140"/>
                <a:gd name="T76" fmla="*/ 198 w 244"/>
                <a:gd name="T77" fmla="*/ 86 h 140"/>
                <a:gd name="T78" fmla="*/ 204 w 244"/>
                <a:gd name="T79" fmla="*/ 86 h 140"/>
                <a:gd name="T80" fmla="*/ 216 w 244"/>
                <a:gd name="T81" fmla="*/ 86 h 140"/>
                <a:gd name="T82" fmla="*/ 230 w 244"/>
                <a:gd name="T83" fmla="*/ 78 h 140"/>
                <a:gd name="T84" fmla="*/ 238 w 244"/>
                <a:gd name="T85" fmla="*/ 60 h 140"/>
                <a:gd name="T86" fmla="*/ 238 w 244"/>
                <a:gd name="T87" fmla="*/ 44 h 140"/>
                <a:gd name="T88" fmla="*/ 244 w 244"/>
                <a:gd name="T89" fmla="*/ 2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4" h="140">
                  <a:moveTo>
                    <a:pt x="244" y="26"/>
                  </a:moveTo>
                  <a:lnTo>
                    <a:pt x="238" y="26"/>
                  </a:lnTo>
                  <a:lnTo>
                    <a:pt x="230" y="26"/>
                  </a:lnTo>
                  <a:lnTo>
                    <a:pt x="216" y="26"/>
                  </a:lnTo>
                  <a:lnTo>
                    <a:pt x="198" y="16"/>
                  </a:lnTo>
                  <a:lnTo>
                    <a:pt x="190" y="0"/>
                  </a:lnTo>
                  <a:lnTo>
                    <a:pt x="190" y="2"/>
                  </a:lnTo>
                  <a:lnTo>
                    <a:pt x="184" y="6"/>
                  </a:lnTo>
                  <a:lnTo>
                    <a:pt x="176" y="26"/>
                  </a:lnTo>
                  <a:lnTo>
                    <a:pt x="170" y="44"/>
                  </a:lnTo>
                  <a:lnTo>
                    <a:pt x="156" y="60"/>
                  </a:lnTo>
                  <a:lnTo>
                    <a:pt x="136" y="70"/>
                  </a:lnTo>
                  <a:lnTo>
                    <a:pt x="122" y="70"/>
                  </a:lnTo>
                  <a:lnTo>
                    <a:pt x="108" y="78"/>
                  </a:lnTo>
                  <a:lnTo>
                    <a:pt x="94" y="78"/>
                  </a:lnTo>
                  <a:lnTo>
                    <a:pt x="80" y="78"/>
                  </a:lnTo>
                  <a:lnTo>
                    <a:pt x="66" y="78"/>
                  </a:lnTo>
                  <a:lnTo>
                    <a:pt x="54" y="70"/>
                  </a:lnTo>
                  <a:lnTo>
                    <a:pt x="42" y="78"/>
                  </a:lnTo>
                  <a:lnTo>
                    <a:pt x="28" y="78"/>
                  </a:lnTo>
                  <a:lnTo>
                    <a:pt x="14" y="96"/>
                  </a:lnTo>
                  <a:lnTo>
                    <a:pt x="14" y="114"/>
                  </a:lnTo>
                  <a:lnTo>
                    <a:pt x="0" y="120"/>
                  </a:lnTo>
                  <a:lnTo>
                    <a:pt x="0" y="140"/>
                  </a:lnTo>
                  <a:lnTo>
                    <a:pt x="14" y="132"/>
                  </a:lnTo>
                  <a:lnTo>
                    <a:pt x="28" y="120"/>
                  </a:lnTo>
                  <a:lnTo>
                    <a:pt x="42" y="120"/>
                  </a:lnTo>
                  <a:lnTo>
                    <a:pt x="54" y="132"/>
                  </a:lnTo>
                  <a:lnTo>
                    <a:pt x="66" y="140"/>
                  </a:lnTo>
                  <a:lnTo>
                    <a:pt x="80" y="140"/>
                  </a:lnTo>
                  <a:lnTo>
                    <a:pt x="94" y="132"/>
                  </a:lnTo>
                  <a:lnTo>
                    <a:pt x="108" y="120"/>
                  </a:lnTo>
                  <a:lnTo>
                    <a:pt x="122" y="132"/>
                  </a:lnTo>
                  <a:lnTo>
                    <a:pt x="136" y="140"/>
                  </a:lnTo>
                  <a:lnTo>
                    <a:pt x="148" y="140"/>
                  </a:lnTo>
                  <a:lnTo>
                    <a:pt x="162" y="132"/>
                  </a:lnTo>
                  <a:lnTo>
                    <a:pt x="170" y="114"/>
                  </a:lnTo>
                  <a:lnTo>
                    <a:pt x="184" y="96"/>
                  </a:lnTo>
                  <a:lnTo>
                    <a:pt x="198" y="86"/>
                  </a:lnTo>
                  <a:lnTo>
                    <a:pt x="204" y="86"/>
                  </a:lnTo>
                  <a:lnTo>
                    <a:pt x="216" y="86"/>
                  </a:lnTo>
                  <a:lnTo>
                    <a:pt x="230" y="78"/>
                  </a:lnTo>
                  <a:lnTo>
                    <a:pt x="238" y="60"/>
                  </a:lnTo>
                  <a:lnTo>
                    <a:pt x="238" y="44"/>
                  </a:lnTo>
                  <a:lnTo>
                    <a:pt x="244" y="26"/>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64" name="Freeform 70">
              <a:extLst>
                <a:ext uri="{FF2B5EF4-FFF2-40B4-BE49-F238E27FC236}">
                  <a16:creationId xmlns:a16="http://schemas.microsoft.com/office/drawing/2014/main" id="{3073CA46-4679-4EAD-ABF9-802B08E7C090}"/>
                </a:ext>
              </a:extLst>
            </p:cNvPr>
            <p:cNvSpPr>
              <a:spLocks/>
            </p:cNvSpPr>
            <p:nvPr/>
          </p:nvSpPr>
          <p:spPr bwMode="auto">
            <a:xfrm>
              <a:off x="2725636" y="3640042"/>
              <a:ext cx="1070291" cy="840089"/>
            </a:xfrm>
            <a:custGeom>
              <a:avLst/>
              <a:gdLst>
                <a:gd name="T0" fmla="*/ 668 w 716"/>
                <a:gd name="T1" fmla="*/ 250 h 562"/>
                <a:gd name="T2" fmla="*/ 650 w 716"/>
                <a:gd name="T3" fmla="*/ 294 h 562"/>
                <a:gd name="T4" fmla="*/ 650 w 716"/>
                <a:gd name="T5" fmla="*/ 346 h 562"/>
                <a:gd name="T6" fmla="*/ 620 w 716"/>
                <a:gd name="T7" fmla="*/ 388 h 562"/>
                <a:gd name="T8" fmla="*/ 580 w 716"/>
                <a:gd name="T9" fmla="*/ 416 h 562"/>
                <a:gd name="T10" fmla="*/ 580 w 716"/>
                <a:gd name="T11" fmla="*/ 440 h 562"/>
                <a:gd name="T12" fmla="*/ 562 w 716"/>
                <a:gd name="T13" fmla="*/ 484 h 562"/>
                <a:gd name="T14" fmla="*/ 514 w 716"/>
                <a:gd name="T15" fmla="*/ 510 h 562"/>
                <a:gd name="T16" fmla="*/ 472 w 716"/>
                <a:gd name="T17" fmla="*/ 520 h 562"/>
                <a:gd name="T18" fmla="*/ 432 w 716"/>
                <a:gd name="T19" fmla="*/ 520 h 562"/>
                <a:gd name="T20" fmla="*/ 398 w 716"/>
                <a:gd name="T21" fmla="*/ 536 h 562"/>
                <a:gd name="T22" fmla="*/ 358 w 716"/>
                <a:gd name="T23" fmla="*/ 554 h 562"/>
                <a:gd name="T24" fmla="*/ 318 w 716"/>
                <a:gd name="T25" fmla="*/ 554 h 562"/>
                <a:gd name="T26" fmla="*/ 282 w 716"/>
                <a:gd name="T27" fmla="*/ 536 h 562"/>
                <a:gd name="T28" fmla="*/ 270 w 716"/>
                <a:gd name="T29" fmla="*/ 492 h 562"/>
                <a:gd name="T30" fmla="*/ 250 w 716"/>
                <a:gd name="T31" fmla="*/ 448 h 562"/>
                <a:gd name="T32" fmla="*/ 236 w 716"/>
                <a:gd name="T33" fmla="*/ 406 h 562"/>
                <a:gd name="T34" fmla="*/ 208 w 716"/>
                <a:gd name="T35" fmla="*/ 372 h 562"/>
                <a:gd name="T36" fmla="*/ 168 w 716"/>
                <a:gd name="T37" fmla="*/ 380 h 562"/>
                <a:gd name="T38" fmla="*/ 128 w 716"/>
                <a:gd name="T39" fmla="*/ 380 h 562"/>
                <a:gd name="T40" fmla="*/ 106 w 716"/>
                <a:gd name="T41" fmla="*/ 354 h 562"/>
                <a:gd name="T42" fmla="*/ 66 w 716"/>
                <a:gd name="T43" fmla="*/ 364 h 562"/>
                <a:gd name="T44" fmla="*/ 24 w 716"/>
                <a:gd name="T45" fmla="*/ 372 h 562"/>
                <a:gd name="T46" fmla="*/ 12 w 716"/>
                <a:gd name="T47" fmla="*/ 364 h 562"/>
                <a:gd name="T48" fmla="*/ 24 w 716"/>
                <a:gd name="T49" fmla="*/ 326 h 562"/>
                <a:gd name="T50" fmla="*/ 52 w 716"/>
                <a:gd name="T51" fmla="*/ 284 h 562"/>
                <a:gd name="T52" fmla="*/ 94 w 716"/>
                <a:gd name="T53" fmla="*/ 268 h 562"/>
                <a:gd name="T54" fmla="*/ 134 w 716"/>
                <a:gd name="T55" fmla="*/ 268 h 562"/>
                <a:gd name="T56" fmla="*/ 174 w 716"/>
                <a:gd name="T57" fmla="*/ 268 h 562"/>
                <a:gd name="T58" fmla="*/ 236 w 716"/>
                <a:gd name="T59" fmla="*/ 250 h 562"/>
                <a:gd name="T60" fmla="*/ 236 w 716"/>
                <a:gd name="T61" fmla="*/ 206 h 562"/>
                <a:gd name="T62" fmla="*/ 242 w 716"/>
                <a:gd name="T63" fmla="*/ 154 h 562"/>
                <a:gd name="T64" fmla="*/ 256 w 716"/>
                <a:gd name="T65" fmla="*/ 102 h 562"/>
                <a:gd name="T66" fmla="*/ 282 w 716"/>
                <a:gd name="T67" fmla="*/ 68 h 562"/>
                <a:gd name="T68" fmla="*/ 296 w 716"/>
                <a:gd name="T69" fmla="*/ 34 h 562"/>
                <a:gd name="T70" fmla="*/ 324 w 716"/>
                <a:gd name="T71" fmla="*/ 42 h 562"/>
                <a:gd name="T72" fmla="*/ 344 w 716"/>
                <a:gd name="T73" fmla="*/ 62 h 562"/>
                <a:gd name="T74" fmla="*/ 384 w 716"/>
                <a:gd name="T75" fmla="*/ 34 h 562"/>
                <a:gd name="T76" fmla="*/ 426 w 716"/>
                <a:gd name="T77" fmla="*/ 0 h 562"/>
                <a:gd name="T78" fmla="*/ 460 w 716"/>
                <a:gd name="T79" fmla="*/ 26 h 562"/>
                <a:gd name="T80" fmla="*/ 512 w 716"/>
                <a:gd name="T81" fmla="*/ 26 h 562"/>
                <a:gd name="T82" fmla="*/ 560 w 716"/>
                <a:gd name="T83" fmla="*/ 62 h 562"/>
                <a:gd name="T84" fmla="*/ 608 w 716"/>
                <a:gd name="T85" fmla="*/ 78 h 562"/>
                <a:gd name="T86" fmla="*/ 650 w 716"/>
                <a:gd name="T87" fmla="*/ 112 h 562"/>
                <a:gd name="T88" fmla="*/ 696 w 716"/>
                <a:gd name="T89" fmla="*/ 112 h 562"/>
                <a:gd name="T90" fmla="*/ 702 w 716"/>
                <a:gd name="T91" fmla="*/ 154 h 562"/>
                <a:gd name="T92" fmla="*/ 668 w 716"/>
                <a:gd name="T93" fmla="*/ 190 h 562"/>
                <a:gd name="T94" fmla="*/ 688 w 716"/>
                <a:gd name="T95" fmla="*/ 242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16" h="562">
                  <a:moveTo>
                    <a:pt x="696" y="250"/>
                  </a:moveTo>
                  <a:lnTo>
                    <a:pt x="682" y="250"/>
                  </a:lnTo>
                  <a:lnTo>
                    <a:pt x="668" y="250"/>
                  </a:lnTo>
                  <a:lnTo>
                    <a:pt x="656" y="260"/>
                  </a:lnTo>
                  <a:lnTo>
                    <a:pt x="650" y="278"/>
                  </a:lnTo>
                  <a:lnTo>
                    <a:pt x="650" y="294"/>
                  </a:lnTo>
                  <a:lnTo>
                    <a:pt x="650" y="312"/>
                  </a:lnTo>
                  <a:lnTo>
                    <a:pt x="650" y="328"/>
                  </a:lnTo>
                  <a:lnTo>
                    <a:pt x="650" y="346"/>
                  </a:lnTo>
                  <a:lnTo>
                    <a:pt x="642" y="364"/>
                  </a:lnTo>
                  <a:lnTo>
                    <a:pt x="630" y="372"/>
                  </a:lnTo>
                  <a:lnTo>
                    <a:pt x="620" y="388"/>
                  </a:lnTo>
                  <a:lnTo>
                    <a:pt x="608" y="408"/>
                  </a:lnTo>
                  <a:lnTo>
                    <a:pt x="594" y="396"/>
                  </a:lnTo>
                  <a:lnTo>
                    <a:pt x="580" y="416"/>
                  </a:lnTo>
                  <a:lnTo>
                    <a:pt x="580" y="432"/>
                  </a:lnTo>
                  <a:lnTo>
                    <a:pt x="580" y="440"/>
                  </a:lnTo>
                  <a:lnTo>
                    <a:pt x="580" y="440"/>
                  </a:lnTo>
                  <a:lnTo>
                    <a:pt x="574" y="448"/>
                  </a:lnTo>
                  <a:lnTo>
                    <a:pt x="568" y="468"/>
                  </a:lnTo>
                  <a:lnTo>
                    <a:pt x="562" y="484"/>
                  </a:lnTo>
                  <a:lnTo>
                    <a:pt x="548" y="502"/>
                  </a:lnTo>
                  <a:lnTo>
                    <a:pt x="526" y="510"/>
                  </a:lnTo>
                  <a:lnTo>
                    <a:pt x="514" y="510"/>
                  </a:lnTo>
                  <a:lnTo>
                    <a:pt x="500" y="520"/>
                  </a:lnTo>
                  <a:lnTo>
                    <a:pt x="488" y="520"/>
                  </a:lnTo>
                  <a:lnTo>
                    <a:pt x="472" y="520"/>
                  </a:lnTo>
                  <a:lnTo>
                    <a:pt x="460" y="520"/>
                  </a:lnTo>
                  <a:lnTo>
                    <a:pt x="446" y="510"/>
                  </a:lnTo>
                  <a:lnTo>
                    <a:pt x="432" y="520"/>
                  </a:lnTo>
                  <a:lnTo>
                    <a:pt x="420" y="520"/>
                  </a:lnTo>
                  <a:lnTo>
                    <a:pt x="404" y="536"/>
                  </a:lnTo>
                  <a:lnTo>
                    <a:pt x="398" y="536"/>
                  </a:lnTo>
                  <a:lnTo>
                    <a:pt x="384" y="536"/>
                  </a:lnTo>
                  <a:lnTo>
                    <a:pt x="372" y="546"/>
                  </a:lnTo>
                  <a:lnTo>
                    <a:pt x="358" y="554"/>
                  </a:lnTo>
                  <a:lnTo>
                    <a:pt x="344" y="562"/>
                  </a:lnTo>
                  <a:lnTo>
                    <a:pt x="330" y="562"/>
                  </a:lnTo>
                  <a:lnTo>
                    <a:pt x="318" y="554"/>
                  </a:lnTo>
                  <a:lnTo>
                    <a:pt x="302" y="562"/>
                  </a:lnTo>
                  <a:lnTo>
                    <a:pt x="290" y="554"/>
                  </a:lnTo>
                  <a:lnTo>
                    <a:pt x="282" y="536"/>
                  </a:lnTo>
                  <a:lnTo>
                    <a:pt x="270" y="526"/>
                  </a:lnTo>
                  <a:lnTo>
                    <a:pt x="276" y="510"/>
                  </a:lnTo>
                  <a:lnTo>
                    <a:pt x="270" y="492"/>
                  </a:lnTo>
                  <a:lnTo>
                    <a:pt x="270" y="474"/>
                  </a:lnTo>
                  <a:lnTo>
                    <a:pt x="256" y="468"/>
                  </a:lnTo>
                  <a:lnTo>
                    <a:pt x="250" y="448"/>
                  </a:lnTo>
                  <a:lnTo>
                    <a:pt x="250" y="432"/>
                  </a:lnTo>
                  <a:lnTo>
                    <a:pt x="250" y="414"/>
                  </a:lnTo>
                  <a:lnTo>
                    <a:pt x="236" y="406"/>
                  </a:lnTo>
                  <a:lnTo>
                    <a:pt x="228" y="388"/>
                  </a:lnTo>
                  <a:lnTo>
                    <a:pt x="222" y="372"/>
                  </a:lnTo>
                  <a:lnTo>
                    <a:pt x="208" y="372"/>
                  </a:lnTo>
                  <a:lnTo>
                    <a:pt x="194" y="380"/>
                  </a:lnTo>
                  <a:lnTo>
                    <a:pt x="180" y="380"/>
                  </a:lnTo>
                  <a:lnTo>
                    <a:pt x="168" y="380"/>
                  </a:lnTo>
                  <a:lnTo>
                    <a:pt x="156" y="396"/>
                  </a:lnTo>
                  <a:lnTo>
                    <a:pt x="140" y="388"/>
                  </a:lnTo>
                  <a:lnTo>
                    <a:pt x="128" y="380"/>
                  </a:lnTo>
                  <a:lnTo>
                    <a:pt x="112" y="388"/>
                  </a:lnTo>
                  <a:lnTo>
                    <a:pt x="106" y="372"/>
                  </a:lnTo>
                  <a:lnTo>
                    <a:pt x="106" y="354"/>
                  </a:lnTo>
                  <a:lnTo>
                    <a:pt x="94" y="354"/>
                  </a:lnTo>
                  <a:lnTo>
                    <a:pt x="80" y="364"/>
                  </a:lnTo>
                  <a:lnTo>
                    <a:pt x="66" y="364"/>
                  </a:lnTo>
                  <a:lnTo>
                    <a:pt x="52" y="354"/>
                  </a:lnTo>
                  <a:lnTo>
                    <a:pt x="38" y="354"/>
                  </a:lnTo>
                  <a:lnTo>
                    <a:pt x="24" y="372"/>
                  </a:lnTo>
                  <a:lnTo>
                    <a:pt x="12" y="380"/>
                  </a:lnTo>
                  <a:lnTo>
                    <a:pt x="0" y="388"/>
                  </a:lnTo>
                  <a:lnTo>
                    <a:pt x="12" y="364"/>
                  </a:lnTo>
                  <a:lnTo>
                    <a:pt x="4" y="346"/>
                  </a:lnTo>
                  <a:lnTo>
                    <a:pt x="12" y="336"/>
                  </a:lnTo>
                  <a:lnTo>
                    <a:pt x="24" y="326"/>
                  </a:lnTo>
                  <a:lnTo>
                    <a:pt x="24" y="310"/>
                  </a:lnTo>
                  <a:lnTo>
                    <a:pt x="38" y="294"/>
                  </a:lnTo>
                  <a:lnTo>
                    <a:pt x="52" y="284"/>
                  </a:lnTo>
                  <a:lnTo>
                    <a:pt x="66" y="278"/>
                  </a:lnTo>
                  <a:lnTo>
                    <a:pt x="80" y="268"/>
                  </a:lnTo>
                  <a:lnTo>
                    <a:pt x="94" y="268"/>
                  </a:lnTo>
                  <a:lnTo>
                    <a:pt x="106" y="268"/>
                  </a:lnTo>
                  <a:lnTo>
                    <a:pt x="120" y="278"/>
                  </a:lnTo>
                  <a:lnTo>
                    <a:pt x="134" y="268"/>
                  </a:lnTo>
                  <a:lnTo>
                    <a:pt x="148" y="268"/>
                  </a:lnTo>
                  <a:lnTo>
                    <a:pt x="160" y="258"/>
                  </a:lnTo>
                  <a:lnTo>
                    <a:pt x="174" y="268"/>
                  </a:lnTo>
                  <a:lnTo>
                    <a:pt x="200" y="258"/>
                  </a:lnTo>
                  <a:lnTo>
                    <a:pt x="222" y="258"/>
                  </a:lnTo>
                  <a:lnTo>
                    <a:pt x="236" y="250"/>
                  </a:lnTo>
                  <a:lnTo>
                    <a:pt x="242" y="232"/>
                  </a:lnTo>
                  <a:lnTo>
                    <a:pt x="250" y="216"/>
                  </a:lnTo>
                  <a:lnTo>
                    <a:pt x="236" y="206"/>
                  </a:lnTo>
                  <a:lnTo>
                    <a:pt x="242" y="190"/>
                  </a:lnTo>
                  <a:lnTo>
                    <a:pt x="256" y="172"/>
                  </a:lnTo>
                  <a:lnTo>
                    <a:pt x="242" y="154"/>
                  </a:lnTo>
                  <a:lnTo>
                    <a:pt x="236" y="138"/>
                  </a:lnTo>
                  <a:lnTo>
                    <a:pt x="242" y="120"/>
                  </a:lnTo>
                  <a:lnTo>
                    <a:pt x="256" y="102"/>
                  </a:lnTo>
                  <a:lnTo>
                    <a:pt x="270" y="102"/>
                  </a:lnTo>
                  <a:lnTo>
                    <a:pt x="282" y="84"/>
                  </a:lnTo>
                  <a:lnTo>
                    <a:pt x="282" y="68"/>
                  </a:lnTo>
                  <a:lnTo>
                    <a:pt x="282" y="52"/>
                  </a:lnTo>
                  <a:lnTo>
                    <a:pt x="296" y="52"/>
                  </a:lnTo>
                  <a:lnTo>
                    <a:pt x="296" y="34"/>
                  </a:lnTo>
                  <a:lnTo>
                    <a:pt x="310" y="34"/>
                  </a:lnTo>
                  <a:lnTo>
                    <a:pt x="324" y="42"/>
                  </a:lnTo>
                  <a:lnTo>
                    <a:pt x="324" y="42"/>
                  </a:lnTo>
                  <a:lnTo>
                    <a:pt x="324" y="52"/>
                  </a:lnTo>
                  <a:lnTo>
                    <a:pt x="330" y="70"/>
                  </a:lnTo>
                  <a:lnTo>
                    <a:pt x="344" y="62"/>
                  </a:lnTo>
                  <a:lnTo>
                    <a:pt x="350" y="62"/>
                  </a:lnTo>
                  <a:lnTo>
                    <a:pt x="372" y="42"/>
                  </a:lnTo>
                  <a:lnTo>
                    <a:pt x="384" y="34"/>
                  </a:lnTo>
                  <a:lnTo>
                    <a:pt x="398" y="18"/>
                  </a:lnTo>
                  <a:lnTo>
                    <a:pt x="412" y="8"/>
                  </a:lnTo>
                  <a:lnTo>
                    <a:pt x="426" y="0"/>
                  </a:lnTo>
                  <a:lnTo>
                    <a:pt x="446" y="0"/>
                  </a:lnTo>
                  <a:lnTo>
                    <a:pt x="460" y="8"/>
                  </a:lnTo>
                  <a:lnTo>
                    <a:pt x="460" y="26"/>
                  </a:lnTo>
                  <a:lnTo>
                    <a:pt x="488" y="34"/>
                  </a:lnTo>
                  <a:lnTo>
                    <a:pt x="498" y="34"/>
                  </a:lnTo>
                  <a:lnTo>
                    <a:pt x="512" y="26"/>
                  </a:lnTo>
                  <a:lnTo>
                    <a:pt x="526" y="26"/>
                  </a:lnTo>
                  <a:lnTo>
                    <a:pt x="538" y="42"/>
                  </a:lnTo>
                  <a:lnTo>
                    <a:pt x="560" y="62"/>
                  </a:lnTo>
                  <a:lnTo>
                    <a:pt x="574" y="62"/>
                  </a:lnTo>
                  <a:lnTo>
                    <a:pt x="588" y="70"/>
                  </a:lnTo>
                  <a:lnTo>
                    <a:pt x="608" y="78"/>
                  </a:lnTo>
                  <a:lnTo>
                    <a:pt x="614" y="94"/>
                  </a:lnTo>
                  <a:lnTo>
                    <a:pt x="634" y="104"/>
                  </a:lnTo>
                  <a:lnTo>
                    <a:pt x="650" y="112"/>
                  </a:lnTo>
                  <a:lnTo>
                    <a:pt x="668" y="104"/>
                  </a:lnTo>
                  <a:lnTo>
                    <a:pt x="676" y="122"/>
                  </a:lnTo>
                  <a:lnTo>
                    <a:pt x="696" y="112"/>
                  </a:lnTo>
                  <a:lnTo>
                    <a:pt x="710" y="122"/>
                  </a:lnTo>
                  <a:lnTo>
                    <a:pt x="716" y="138"/>
                  </a:lnTo>
                  <a:lnTo>
                    <a:pt x="702" y="154"/>
                  </a:lnTo>
                  <a:lnTo>
                    <a:pt x="688" y="174"/>
                  </a:lnTo>
                  <a:lnTo>
                    <a:pt x="676" y="174"/>
                  </a:lnTo>
                  <a:lnTo>
                    <a:pt x="668" y="190"/>
                  </a:lnTo>
                  <a:lnTo>
                    <a:pt x="668" y="208"/>
                  </a:lnTo>
                  <a:lnTo>
                    <a:pt x="682" y="226"/>
                  </a:lnTo>
                  <a:lnTo>
                    <a:pt x="688" y="242"/>
                  </a:lnTo>
                  <a:lnTo>
                    <a:pt x="696" y="25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65" name="Freeform 71">
              <a:extLst>
                <a:ext uri="{FF2B5EF4-FFF2-40B4-BE49-F238E27FC236}">
                  <a16:creationId xmlns:a16="http://schemas.microsoft.com/office/drawing/2014/main" id="{334B664E-FF07-4F07-86CD-23866E92C7D2}"/>
                </a:ext>
              </a:extLst>
            </p:cNvPr>
            <p:cNvSpPr>
              <a:spLocks/>
            </p:cNvSpPr>
            <p:nvPr/>
          </p:nvSpPr>
          <p:spPr bwMode="auto">
            <a:xfrm>
              <a:off x="2725636" y="3640042"/>
              <a:ext cx="1070291" cy="840089"/>
            </a:xfrm>
            <a:custGeom>
              <a:avLst/>
              <a:gdLst>
                <a:gd name="T0" fmla="*/ 668 w 716"/>
                <a:gd name="T1" fmla="*/ 250 h 562"/>
                <a:gd name="T2" fmla="*/ 650 w 716"/>
                <a:gd name="T3" fmla="*/ 294 h 562"/>
                <a:gd name="T4" fmla="*/ 650 w 716"/>
                <a:gd name="T5" fmla="*/ 346 h 562"/>
                <a:gd name="T6" fmla="*/ 620 w 716"/>
                <a:gd name="T7" fmla="*/ 388 h 562"/>
                <a:gd name="T8" fmla="*/ 580 w 716"/>
                <a:gd name="T9" fmla="*/ 416 h 562"/>
                <a:gd name="T10" fmla="*/ 580 w 716"/>
                <a:gd name="T11" fmla="*/ 440 h 562"/>
                <a:gd name="T12" fmla="*/ 562 w 716"/>
                <a:gd name="T13" fmla="*/ 484 h 562"/>
                <a:gd name="T14" fmla="*/ 514 w 716"/>
                <a:gd name="T15" fmla="*/ 510 h 562"/>
                <a:gd name="T16" fmla="*/ 472 w 716"/>
                <a:gd name="T17" fmla="*/ 520 h 562"/>
                <a:gd name="T18" fmla="*/ 432 w 716"/>
                <a:gd name="T19" fmla="*/ 520 h 562"/>
                <a:gd name="T20" fmla="*/ 398 w 716"/>
                <a:gd name="T21" fmla="*/ 536 h 562"/>
                <a:gd name="T22" fmla="*/ 358 w 716"/>
                <a:gd name="T23" fmla="*/ 554 h 562"/>
                <a:gd name="T24" fmla="*/ 318 w 716"/>
                <a:gd name="T25" fmla="*/ 554 h 562"/>
                <a:gd name="T26" fmla="*/ 282 w 716"/>
                <a:gd name="T27" fmla="*/ 536 h 562"/>
                <a:gd name="T28" fmla="*/ 270 w 716"/>
                <a:gd name="T29" fmla="*/ 492 h 562"/>
                <a:gd name="T30" fmla="*/ 250 w 716"/>
                <a:gd name="T31" fmla="*/ 448 h 562"/>
                <a:gd name="T32" fmla="*/ 236 w 716"/>
                <a:gd name="T33" fmla="*/ 406 h 562"/>
                <a:gd name="T34" fmla="*/ 208 w 716"/>
                <a:gd name="T35" fmla="*/ 372 h 562"/>
                <a:gd name="T36" fmla="*/ 168 w 716"/>
                <a:gd name="T37" fmla="*/ 380 h 562"/>
                <a:gd name="T38" fmla="*/ 128 w 716"/>
                <a:gd name="T39" fmla="*/ 380 h 562"/>
                <a:gd name="T40" fmla="*/ 106 w 716"/>
                <a:gd name="T41" fmla="*/ 354 h 562"/>
                <a:gd name="T42" fmla="*/ 66 w 716"/>
                <a:gd name="T43" fmla="*/ 364 h 562"/>
                <a:gd name="T44" fmla="*/ 24 w 716"/>
                <a:gd name="T45" fmla="*/ 372 h 562"/>
                <a:gd name="T46" fmla="*/ 12 w 716"/>
                <a:gd name="T47" fmla="*/ 364 h 562"/>
                <a:gd name="T48" fmla="*/ 24 w 716"/>
                <a:gd name="T49" fmla="*/ 326 h 562"/>
                <a:gd name="T50" fmla="*/ 52 w 716"/>
                <a:gd name="T51" fmla="*/ 284 h 562"/>
                <a:gd name="T52" fmla="*/ 94 w 716"/>
                <a:gd name="T53" fmla="*/ 268 h 562"/>
                <a:gd name="T54" fmla="*/ 134 w 716"/>
                <a:gd name="T55" fmla="*/ 268 h 562"/>
                <a:gd name="T56" fmla="*/ 174 w 716"/>
                <a:gd name="T57" fmla="*/ 268 h 562"/>
                <a:gd name="T58" fmla="*/ 236 w 716"/>
                <a:gd name="T59" fmla="*/ 250 h 562"/>
                <a:gd name="T60" fmla="*/ 236 w 716"/>
                <a:gd name="T61" fmla="*/ 206 h 562"/>
                <a:gd name="T62" fmla="*/ 242 w 716"/>
                <a:gd name="T63" fmla="*/ 154 h 562"/>
                <a:gd name="T64" fmla="*/ 256 w 716"/>
                <a:gd name="T65" fmla="*/ 102 h 562"/>
                <a:gd name="T66" fmla="*/ 282 w 716"/>
                <a:gd name="T67" fmla="*/ 68 h 562"/>
                <a:gd name="T68" fmla="*/ 296 w 716"/>
                <a:gd name="T69" fmla="*/ 34 h 562"/>
                <a:gd name="T70" fmla="*/ 324 w 716"/>
                <a:gd name="T71" fmla="*/ 42 h 562"/>
                <a:gd name="T72" fmla="*/ 344 w 716"/>
                <a:gd name="T73" fmla="*/ 62 h 562"/>
                <a:gd name="T74" fmla="*/ 384 w 716"/>
                <a:gd name="T75" fmla="*/ 34 h 562"/>
                <a:gd name="T76" fmla="*/ 426 w 716"/>
                <a:gd name="T77" fmla="*/ 0 h 562"/>
                <a:gd name="T78" fmla="*/ 460 w 716"/>
                <a:gd name="T79" fmla="*/ 26 h 562"/>
                <a:gd name="T80" fmla="*/ 512 w 716"/>
                <a:gd name="T81" fmla="*/ 26 h 562"/>
                <a:gd name="T82" fmla="*/ 560 w 716"/>
                <a:gd name="T83" fmla="*/ 62 h 562"/>
                <a:gd name="T84" fmla="*/ 608 w 716"/>
                <a:gd name="T85" fmla="*/ 78 h 562"/>
                <a:gd name="T86" fmla="*/ 650 w 716"/>
                <a:gd name="T87" fmla="*/ 112 h 562"/>
                <a:gd name="T88" fmla="*/ 696 w 716"/>
                <a:gd name="T89" fmla="*/ 112 h 562"/>
                <a:gd name="T90" fmla="*/ 702 w 716"/>
                <a:gd name="T91" fmla="*/ 154 h 562"/>
                <a:gd name="T92" fmla="*/ 668 w 716"/>
                <a:gd name="T93" fmla="*/ 190 h 562"/>
                <a:gd name="T94" fmla="*/ 688 w 716"/>
                <a:gd name="T95" fmla="*/ 242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16" h="562">
                  <a:moveTo>
                    <a:pt x="696" y="250"/>
                  </a:moveTo>
                  <a:lnTo>
                    <a:pt x="682" y="250"/>
                  </a:lnTo>
                  <a:lnTo>
                    <a:pt x="668" y="250"/>
                  </a:lnTo>
                  <a:lnTo>
                    <a:pt x="656" y="260"/>
                  </a:lnTo>
                  <a:lnTo>
                    <a:pt x="650" y="278"/>
                  </a:lnTo>
                  <a:lnTo>
                    <a:pt x="650" y="294"/>
                  </a:lnTo>
                  <a:lnTo>
                    <a:pt x="650" y="312"/>
                  </a:lnTo>
                  <a:lnTo>
                    <a:pt x="650" y="328"/>
                  </a:lnTo>
                  <a:lnTo>
                    <a:pt x="650" y="346"/>
                  </a:lnTo>
                  <a:lnTo>
                    <a:pt x="642" y="364"/>
                  </a:lnTo>
                  <a:lnTo>
                    <a:pt x="630" y="372"/>
                  </a:lnTo>
                  <a:lnTo>
                    <a:pt x="620" y="388"/>
                  </a:lnTo>
                  <a:lnTo>
                    <a:pt x="608" y="408"/>
                  </a:lnTo>
                  <a:lnTo>
                    <a:pt x="594" y="396"/>
                  </a:lnTo>
                  <a:lnTo>
                    <a:pt x="580" y="416"/>
                  </a:lnTo>
                  <a:lnTo>
                    <a:pt x="580" y="432"/>
                  </a:lnTo>
                  <a:lnTo>
                    <a:pt x="580" y="440"/>
                  </a:lnTo>
                  <a:lnTo>
                    <a:pt x="580" y="440"/>
                  </a:lnTo>
                  <a:lnTo>
                    <a:pt x="574" y="448"/>
                  </a:lnTo>
                  <a:lnTo>
                    <a:pt x="568" y="468"/>
                  </a:lnTo>
                  <a:lnTo>
                    <a:pt x="562" y="484"/>
                  </a:lnTo>
                  <a:lnTo>
                    <a:pt x="548" y="502"/>
                  </a:lnTo>
                  <a:lnTo>
                    <a:pt x="526" y="510"/>
                  </a:lnTo>
                  <a:lnTo>
                    <a:pt x="514" y="510"/>
                  </a:lnTo>
                  <a:lnTo>
                    <a:pt x="500" y="520"/>
                  </a:lnTo>
                  <a:lnTo>
                    <a:pt x="488" y="520"/>
                  </a:lnTo>
                  <a:lnTo>
                    <a:pt x="472" y="520"/>
                  </a:lnTo>
                  <a:lnTo>
                    <a:pt x="460" y="520"/>
                  </a:lnTo>
                  <a:lnTo>
                    <a:pt x="446" y="510"/>
                  </a:lnTo>
                  <a:lnTo>
                    <a:pt x="432" y="520"/>
                  </a:lnTo>
                  <a:lnTo>
                    <a:pt x="420" y="520"/>
                  </a:lnTo>
                  <a:lnTo>
                    <a:pt x="404" y="536"/>
                  </a:lnTo>
                  <a:lnTo>
                    <a:pt x="398" y="536"/>
                  </a:lnTo>
                  <a:lnTo>
                    <a:pt x="384" y="536"/>
                  </a:lnTo>
                  <a:lnTo>
                    <a:pt x="372" y="546"/>
                  </a:lnTo>
                  <a:lnTo>
                    <a:pt x="358" y="554"/>
                  </a:lnTo>
                  <a:lnTo>
                    <a:pt x="344" y="562"/>
                  </a:lnTo>
                  <a:lnTo>
                    <a:pt x="330" y="562"/>
                  </a:lnTo>
                  <a:lnTo>
                    <a:pt x="318" y="554"/>
                  </a:lnTo>
                  <a:lnTo>
                    <a:pt x="302" y="562"/>
                  </a:lnTo>
                  <a:lnTo>
                    <a:pt x="290" y="554"/>
                  </a:lnTo>
                  <a:lnTo>
                    <a:pt x="282" y="536"/>
                  </a:lnTo>
                  <a:lnTo>
                    <a:pt x="270" y="526"/>
                  </a:lnTo>
                  <a:lnTo>
                    <a:pt x="276" y="510"/>
                  </a:lnTo>
                  <a:lnTo>
                    <a:pt x="270" y="492"/>
                  </a:lnTo>
                  <a:lnTo>
                    <a:pt x="270" y="474"/>
                  </a:lnTo>
                  <a:lnTo>
                    <a:pt x="256" y="468"/>
                  </a:lnTo>
                  <a:lnTo>
                    <a:pt x="250" y="448"/>
                  </a:lnTo>
                  <a:lnTo>
                    <a:pt x="250" y="432"/>
                  </a:lnTo>
                  <a:lnTo>
                    <a:pt x="250" y="414"/>
                  </a:lnTo>
                  <a:lnTo>
                    <a:pt x="236" y="406"/>
                  </a:lnTo>
                  <a:lnTo>
                    <a:pt x="228" y="388"/>
                  </a:lnTo>
                  <a:lnTo>
                    <a:pt x="222" y="372"/>
                  </a:lnTo>
                  <a:lnTo>
                    <a:pt x="208" y="372"/>
                  </a:lnTo>
                  <a:lnTo>
                    <a:pt x="194" y="380"/>
                  </a:lnTo>
                  <a:lnTo>
                    <a:pt x="180" y="380"/>
                  </a:lnTo>
                  <a:lnTo>
                    <a:pt x="168" y="380"/>
                  </a:lnTo>
                  <a:lnTo>
                    <a:pt x="156" y="396"/>
                  </a:lnTo>
                  <a:lnTo>
                    <a:pt x="140" y="388"/>
                  </a:lnTo>
                  <a:lnTo>
                    <a:pt x="128" y="380"/>
                  </a:lnTo>
                  <a:lnTo>
                    <a:pt x="112" y="388"/>
                  </a:lnTo>
                  <a:lnTo>
                    <a:pt x="106" y="372"/>
                  </a:lnTo>
                  <a:lnTo>
                    <a:pt x="106" y="354"/>
                  </a:lnTo>
                  <a:lnTo>
                    <a:pt x="94" y="354"/>
                  </a:lnTo>
                  <a:lnTo>
                    <a:pt x="80" y="364"/>
                  </a:lnTo>
                  <a:lnTo>
                    <a:pt x="66" y="364"/>
                  </a:lnTo>
                  <a:lnTo>
                    <a:pt x="52" y="354"/>
                  </a:lnTo>
                  <a:lnTo>
                    <a:pt x="38" y="354"/>
                  </a:lnTo>
                  <a:lnTo>
                    <a:pt x="24" y="372"/>
                  </a:lnTo>
                  <a:lnTo>
                    <a:pt x="12" y="380"/>
                  </a:lnTo>
                  <a:lnTo>
                    <a:pt x="0" y="388"/>
                  </a:lnTo>
                  <a:lnTo>
                    <a:pt x="12" y="364"/>
                  </a:lnTo>
                  <a:lnTo>
                    <a:pt x="4" y="346"/>
                  </a:lnTo>
                  <a:lnTo>
                    <a:pt x="12" y="336"/>
                  </a:lnTo>
                  <a:lnTo>
                    <a:pt x="24" y="326"/>
                  </a:lnTo>
                  <a:lnTo>
                    <a:pt x="24" y="310"/>
                  </a:lnTo>
                  <a:lnTo>
                    <a:pt x="38" y="294"/>
                  </a:lnTo>
                  <a:lnTo>
                    <a:pt x="52" y="284"/>
                  </a:lnTo>
                  <a:lnTo>
                    <a:pt x="66" y="278"/>
                  </a:lnTo>
                  <a:lnTo>
                    <a:pt x="80" y="268"/>
                  </a:lnTo>
                  <a:lnTo>
                    <a:pt x="94" y="268"/>
                  </a:lnTo>
                  <a:lnTo>
                    <a:pt x="106" y="268"/>
                  </a:lnTo>
                  <a:lnTo>
                    <a:pt x="120" y="278"/>
                  </a:lnTo>
                  <a:lnTo>
                    <a:pt x="134" y="268"/>
                  </a:lnTo>
                  <a:lnTo>
                    <a:pt x="148" y="268"/>
                  </a:lnTo>
                  <a:lnTo>
                    <a:pt x="160" y="258"/>
                  </a:lnTo>
                  <a:lnTo>
                    <a:pt x="174" y="268"/>
                  </a:lnTo>
                  <a:lnTo>
                    <a:pt x="200" y="258"/>
                  </a:lnTo>
                  <a:lnTo>
                    <a:pt x="222" y="258"/>
                  </a:lnTo>
                  <a:lnTo>
                    <a:pt x="236" y="250"/>
                  </a:lnTo>
                  <a:lnTo>
                    <a:pt x="242" y="232"/>
                  </a:lnTo>
                  <a:lnTo>
                    <a:pt x="250" y="216"/>
                  </a:lnTo>
                  <a:lnTo>
                    <a:pt x="236" y="206"/>
                  </a:lnTo>
                  <a:lnTo>
                    <a:pt x="242" y="190"/>
                  </a:lnTo>
                  <a:lnTo>
                    <a:pt x="256" y="172"/>
                  </a:lnTo>
                  <a:lnTo>
                    <a:pt x="242" y="154"/>
                  </a:lnTo>
                  <a:lnTo>
                    <a:pt x="236" y="138"/>
                  </a:lnTo>
                  <a:lnTo>
                    <a:pt x="242" y="120"/>
                  </a:lnTo>
                  <a:lnTo>
                    <a:pt x="256" y="102"/>
                  </a:lnTo>
                  <a:lnTo>
                    <a:pt x="270" y="102"/>
                  </a:lnTo>
                  <a:lnTo>
                    <a:pt x="282" y="84"/>
                  </a:lnTo>
                  <a:lnTo>
                    <a:pt x="282" y="68"/>
                  </a:lnTo>
                  <a:lnTo>
                    <a:pt x="282" y="52"/>
                  </a:lnTo>
                  <a:lnTo>
                    <a:pt x="296" y="52"/>
                  </a:lnTo>
                  <a:lnTo>
                    <a:pt x="296" y="34"/>
                  </a:lnTo>
                  <a:lnTo>
                    <a:pt x="310" y="34"/>
                  </a:lnTo>
                  <a:lnTo>
                    <a:pt x="324" y="42"/>
                  </a:lnTo>
                  <a:lnTo>
                    <a:pt x="324" y="42"/>
                  </a:lnTo>
                  <a:lnTo>
                    <a:pt x="324" y="52"/>
                  </a:lnTo>
                  <a:lnTo>
                    <a:pt x="330" y="70"/>
                  </a:lnTo>
                  <a:lnTo>
                    <a:pt x="344" y="62"/>
                  </a:lnTo>
                  <a:lnTo>
                    <a:pt x="350" y="62"/>
                  </a:lnTo>
                  <a:lnTo>
                    <a:pt x="372" y="42"/>
                  </a:lnTo>
                  <a:lnTo>
                    <a:pt x="384" y="34"/>
                  </a:lnTo>
                  <a:lnTo>
                    <a:pt x="398" y="18"/>
                  </a:lnTo>
                  <a:lnTo>
                    <a:pt x="412" y="8"/>
                  </a:lnTo>
                  <a:lnTo>
                    <a:pt x="426" y="0"/>
                  </a:lnTo>
                  <a:lnTo>
                    <a:pt x="446" y="0"/>
                  </a:lnTo>
                  <a:lnTo>
                    <a:pt x="460" y="8"/>
                  </a:lnTo>
                  <a:lnTo>
                    <a:pt x="460" y="26"/>
                  </a:lnTo>
                  <a:lnTo>
                    <a:pt x="488" y="34"/>
                  </a:lnTo>
                  <a:lnTo>
                    <a:pt x="498" y="34"/>
                  </a:lnTo>
                  <a:lnTo>
                    <a:pt x="512" y="26"/>
                  </a:lnTo>
                  <a:lnTo>
                    <a:pt x="526" y="26"/>
                  </a:lnTo>
                  <a:lnTo>
                    <a:pt x="538" y="42"/>
                  </a:lnTo>
                  <a:lnTo>
                    <a:pt x="560" y="62"/>
                  </a:lnTo>
                  <a:lnTo>
                    <a:pt x="574" y="62"/>
                  </a:lnTo>
                  <a:lnTo>
                    <a:pt x="588" y="70"/>
                  </a:lnTo>
                  <a:lnTo>
                    <a:pt x="608" y="78"/>
                  </a:lnTo>
                  <a:lnTo>
                    <a:pt x="614" y="94"/>
                  </a:lnTo>
                  <a:lnTo>
                    <a:pt x="634" y="104"/>
                  </a:lnTo>
                  <a:lnTo>
                    <a:pt x="650" y="112"/>
                  </a:lnTo>
                  <a:lnTo>
                    <a:pt x="668" y="104"/>
                  </a:lnTo>
                  <a:lnTo>
                    <a:pt x="676" y="122"/>
                  </a:lnTo>
                  <a:lnTo>
                    <a:pt x="696" y="112"/>
                  </a:lnTo>
                  <a:lnTo>
                    <a:pt x="710" y="122"/>
                  </a:lnTo>
                  <a:lnTo>
                    <a:pt x="716" y="138"/>
                  </a:lnTo>
                  <a:lnTo>
                    <a:pt x="702" y="154"/>
                  </a:lnTo>
                  <a:lnTo>
                    <a:pt x="688" y="174"/>
                  </a:lnTo>
                  <a:lnTo>
                    <a:pt x="676" y="174"/>
                  </a:lnTo>
                  <a:lnTo>
                    <a:pt x="668" y="190"/>
                  </a:lnTo>
                  <a:lnTo>
                    <a:pt x="668" y="208"/>
                  </a:lnTo>
                  <a:lnTo>
                    <a:pt x="682" y="226"/>
                  </a:lnTo>
                  <a:lnTo>
                    <a:pt x="688" y="242"/>
                  </a:lnTo>
                  <a:lnTo>
                    <a:pt x="696" y="250"/>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66" name="Freeform 72">
              <a:extLst>
                <a:ext uri="{FF2B5EF4-FFF2-40B4-BE49-F238E27FC236}">
                  <a16:creationId xmlns:a16="http://schemas.microsoft.com/office/drawing/2014/main" id="{A60CEAB5-E8C2-47A2-9282-B63B9742D0D1}"/>
                </a:ext>
              </a:extLst>
            </p:cNvPr>
            <p:cNvSpPr>
              <a:spLocks/>
            </p:cNvSpPr>
            <p:nvPr/>
          </p:nvSpPr>
          <p:spPr bwMode="auto">
            <a:xfrm>
              <a:off x="2067915" y="3912099"/>
              <a:ext cx="681638" cy="699576"/>
            </a:xfrm>
            <a:custGeom>
              <a:avLst/>
              <a:gdLst>
                <a:gd name="T0" fmla="*/ 310 w 456"/>
                <a:gd name="T1" fmla="*/ 60 h 468"/>
                <a:gd name="T2" fmla="*/ 338 w 456"/>
                <a:gd name="T3" fmla="*/ 86 h 468"/>
                <a:gd name="T4" fmla="*/ 366 w 456"/>
                <a:gd name="T5" fmla="*/ 94 h 468"/>
                <a:gd name="T6" fmla="*/ 394 w 456"/>
                <a:gd name="T7" fmla="*/ 120 h 468"/>
                <a:gd name="T8" fmla="*/ 420 w 456"/>
                <a:gd name="T9" fmla="*/ 120 h 468"/>
                <a:gd name="T10" fmla="*/ 446 w 456"/>
                <a:gd name="T11" fmla="*/ 130 h 468"/>
                <a:gd name="T12" fmla="*/ 446 w 456"/>
                <a:gd name="T13" fmla="*/ 164 h 468"/>
                <a:gd name="T14" fmla="*/ 446 w 456"/>
                <a:gd name="T15" fmla="*/ 198 h 468"/>
                <a:gd name="T16" fmla="*/ 446 w 456"/>
                <a:gd name="T17" fmla="*/ 208 h 468"/>
                <a:gd name="T18" fmla="*/ 418 w 456"/>
                <a:gd name="T19" fmla="*/ 224 h 468"/>
                <a:gd name="T20" fmla="*/ 398 w 456"/>
                <a:gd name="T21" fmla="*/ 260 h 468"/>
                <a:gd name="T22" fmla="*/ 378 w 456"/>
                <a:gd name="T23" fmla="*/ 286 h 468"/>
                <a:gd name="T24" fmla="*/ 378 w 456"/>
                <a:gd name="T25" fmla="*/ 320 h 468"/>
                <a:gd name="T26" fmla="*/ 350 w 456"/>
                <a:gd name="T27" fmla="*/ 338 h 468"/>
                <a:gd name="T28" fmla="*/ 322 w 456"/>
                <a:gd name="T29" fmla="*/ 364 h 468"/>
                <a:gd name="T30" fmla="*/ 304 w 456"/>
                <a:gd name="T31" fmla="*/ 374 h 468"/>
                <a:gd name="T32" fmla="*/ 282 w 456"/>
                <a:gd name="T33" fmla="*/ 398 h 468"/>
                <a:gd name="T34" fmla="*/ 268 w 456"/>
                <a:gd name="T35" fmla="*/ 414 h 468"/>
                <a:gd name="T36" fmla="*/ 264 w 456"/>
                <a:gd name="T37" fmla="*/ 450 h 468"/>
                <a:gd name="T38" fmla="*/ 236 w 456"/>
                <a:gd name="T39" fmla="*/ 468 h 468"/>
                <a:gd name="T40" fmla="*/ 222 w 456"/>
                <a:gd name="T41" fmla="*/ 440 h 468"/>
                <a:gd name="T42" fmla="*/ 194 w 456"/>
                <a:gd name="T43" fmla="*/ 450 h 468"/>
                <a:gd name="T44" fmla="*/ 174 w 456"/>
                <a:gd name="T45" fmla="*/ 422 h 468"/>
                <a:gd name="T46" fmla="*/ 174 w 456"/>
                <a:gd name="T47" fmla="*/ 388 h 468"/>
                <a:gd name="T48" fmla="*/ 154 w 456"/>
                <a:gd name="T49" fmla="*/ 354 h 468"/>
                <a:gd name="T50" fmla="*/ 134 w 456"/>
                <a:gd name="T51" fmla="*/ 338 h 468"/>
                <a:gd name="T52" fmla="*/ 108 w 456"/>
                <a:gd name="T53" fmla="*/ 338 h 468"/>
                <a:gd name="T54" fmla="*/ 80 w 456"/>
                <a:gd name="T55" fmla="*/ 338 h 468"/>
                <a:gd name="T56" fmla="*/ 52 w 456"/>
                <a:gd name="T57" fmla="*/ 330 h 468"/>
                <a:gd name="T58" fmla="*/ 26 w 456"/>
                <a:gd name="T59" fmla="*/ 338 h 468"/>
                <a:gd name="T60" fmla="*/ 12 w 456"/>
                <a:gd name="T61" fmla="*/ 302 h 468"/>
                <a:gd name="T62" fmla="*/ 12 w 456"/>
                <a:gd name="T63" fmla="*/ 266 h 468"/>
                <a:gd name="T64" fmla="*/ 12 w 456"/>
                <a:gd name="T65" fmla="*/ 234 h 468"/>
                <a:gd name="T66" fmla="*/ 0 w 456"/>
                <a:gd name="T67" fmla="*/ 198 h 468"/>
                <a:gd name="T68" fmla="*/ 0 w 456"/>
                <a:gd name="T69" fmla="*/ 164 h 468"/>
                <a:gd name="T70" fmla="*/ 20 w 456"/>
                <a:gd name="T71" fmla="*/ 130 h 468"/>
                <a:gd name="T72" fmla="*/ 26 w 456"/>
                <a:gd name="T73" fmla="*/ 96 h 468"/>
                <a:gd name="T74" fmla="*/ 20 w 456"/>
                <a:gd name="T75" fmla="*/ 44 h 468"/>
                <a:gd name="T76" fmla="*/ 40 w 456"/>
                <a:gd name="T77" fmla="*/ 44 h 468"/>
                <a:gd name="T78" fmla="*/ 66 w 456"/>
                <a:gd name="T79" fmla="*/ 28 h 468"/>
                <a:gd name="T80" fmla="*/ 94 w 456"/>
                <a:gd name="T81" fmla="*/ 0 h 468"/>
                <a:gd name="T82" fmla="*/ 128 w 456"/>
                <a:gd name="T83" fmla="*/ 0 h 468"/>
                <a:gd name="T84" fmla="*/ 154 w 456"/>
                <a:gd name="T85" fmla="*/ 10 h 468"/>
                <a:gd name="T86" fmla="*/ 190 w 456"/>
                <a:gd name="T87" fmla="*/ 18 h 468"/>
                <a:gd name="T88" fmla="*/ 222 w 456"/>
                <a:gd name="T89" fmla="*/ 18 h 468"/>
                <a:gd name="T90" fmla="*/ 256 w 456"/>
                <a:gd name="T91" fmla="*/ 10 h 468"/>
                <a:gd name="T92" fmla="*/ 282 w 456"/>
                <a:gd name="T93" fmla="*/ 0 h 468"/>
                <a:gd name="T94" fmla="*/ 282 w 456"/>
                <a:gd name="T95" fmla="*/ 34 h 468"/>
                <a:gd name="T96" fmla="*/ 296 w 456"/>
                <a:gd name="T97" fmla="*/ 5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6" h="468">
                  <a:moveTo>
                    <a:pt x="310" y="50"/>
                  </a:moveTo>
                  <a:lnTo>
                    <a:pt x="310" y="60"/>
                  </a:lnTo>
                  <a:lnTo>
                    <a:pt x="324" y="76"/>
                  </a:lnTo>
                  <a:lnTo>
                    <a:pt x="338" y="86"/>
                  </a:lnTo>
                  <a:lnTo>
                    <a:pt x="350" y="94"/>
                  </a:lnTo>
                  <a:lnTo>
                    <a:pt x="366" y="94"/>
                  </a:lnTo>
                  <a:lnTo>
                    <a:pt x="378" y="104"/>
                  </a:lnTo>
                  <a:lnTo>
                    <a:pt x="394" y="120"/>
                  </a:lnTo>
                  <a:lnTo>
                    <a:pt x="408" y="120"/>
                  </a:lnTo>
                  <a:lnTo>
                    <a:pt x="420" y="120"/>
                  </a:lnTo>
                  <a:lnTo>
                    <a:pt x="432" y="120"/>
                  </a:lnTo>
                  <a:lnTo>
                    <a:pt x="446" y="130"/>
                  </a:lnTo>
                  <a:lnTo>
                    <a:pt x="456" y="146"/>
                  </a:lnTo>
                  <a:lnTo>
                    <a:pt x="446" y="164"/>
                  </a:lnTo>
                  <a:lnTo>
                    <a:pt x="456" y="180"/>
                  </a:lnTo>
                  <a:lnTo>
                    <a:pt x="446" y="198"/>
                  </a:lnTo>
                  <a:lnTo>
                    <a:pt x="446" y="198"/>
                  </a:lnTo>
                  <a:lnTo>
                    <a:pt x="446" y="208"/>
                  </a:lnTo>
                  <a:lnTo>
                    <a:pt x="430" y="216"/>
                  </a:lnTo>
                  <a:lnTo>
                    <a:pt x="418" y="224"/>
                  </a:lnTo>
                  <a:lnTo>
                    <a:pt x="406" y="242"/>
                  </a:lnTo>
                  <a:lnTo>
                    <a:pt x="398" y="260"/>
                  </a:lnTo>
                  <a:lnTo>
                    <a:pt x="392" y="276"/>
                  </a:lnTo>
                  <a:lnTo>
                    <a:pt x="378" y="286"/>
                  </a:lnTo>
                  <a:lnTo>
                    <a:pt x="378" y="302"/>
                  </a:lnTo>
                  <a:lnTo>
                    <a:pt x="378" y="320"/>
                  </a:lnTo>
                  <a:lnTo>
                    <a:pt x="364" y="330"/>
                  </a:lnTo>
                  <a:lnTo>
                    <a:pt x="350" y="338"/>
                  </a:lnTo>
                  <a:lnTo>
                    <a:pt x="338" y="344"/>
                  </a:lnTo>
                  <a:lnTo>
                    <a:pt x="322" y="364"/>
                  </a:lnTo>
                  <a:lnTo>
                    <a:pt x="318" y="364"/>
                  </a:lnTo>
                  <a:lnTo>
                    <a:pt x="304" y="374"/>
                  </a:lnTo>
                  <a:lnTo>
                    <a:pt x="290" y="380"/>
                  </a:lnTo>
                  <a:lnTo>
                    <a:pt x="282" y="398"/>
                  </a:lnTo>
                  <a:lnTo>
                    <a:pt x="282" y="414"/>
                  </a:lnTo>
                  <a:lnTo>
                    <a:pt x="268" y="414"/>
                  </a:lnTo>
                  <a:lnTo>
                    <a:pt x="264" y="430"/>
                  </a:lnTo>
                  <a:lnTo>
                    <a:pt x="264" y="450"/>
                  </a:lnTo>
                  <a:lnTo>
                    <a:pt x="250" y="458"/>
                  </a:lnTo>
                  <a:lnTo>
                    <a:pt x="236" y="468"/>
                  </a:lnTo>
                  <a:lnTo>
                    <a:pt x="236" y="450"/>
                  </a:lnTo>
                  <a:lnTo>
                    <a:pt x="222" y="440"/>
                  </a:lnTo>
                  <a:lnTo>
                    <a:pt x="208" y="450"/>
                  </a:lnTo>
                  <a:lnTo>
                    <a:pt x="194" y="450"/>
                  </a:lnTo>
                  <a:lnTo>
                    <a:pt x="184" y="440"/>
                  </a:lnTo>
                  <a:lnTo>
                    <a:pt x="174" y="422"/>
                  </a:lnTo>
                  <a:lnTo>
                    <a:pt x="174" y="406"/>
                  </a:lnTo>
                  <a:lnTo>
                    <a:pt x="174" y="388"/>
                  </a:lnTo>
                  <a:lnTo>
                    <a:pt x="160" y="374"/>
                  </a:lnTo>
                  <a:lnTo>
                    <a:pt x="154" y="354"/>
                  </a:lnTo>
                  <a:lnTo>
                    <a:pt x="148" y="338"/>
                  </a:lnTo>
                  <a:lnTo>
                    <a:pt x="134" y="338"/>
                  </a:lnTo>
                  <a:lnTo>
                    <a:pt x="120" y="330"/>
                  </a:lnTo>
                  <a:lnTo>
                    <a:pt x="108" y="338"/>
                  </a:lnTo>
                  <a:lnTo>
                    <a:pt x="94" y="344"/>
                  </a:lnTo>
                  <a:lnTo>
                    <a:pt x="80" y="338"/>
                  </a:lnTo>
                  <a:lnTo>
                    <a:pt x="66" y="338"/>
                  </a:lnTo>
                  <a:lnTo>
                    <a:pt x="52" y="330"/>
                  </a:lnTo>
                  <a:lnTo>
                    <a:pt x="40" y="338"/>
                  </a:lnTo>
                  <a:lnTo>
                    <a:pt x="26" y="338"/>
                  </a:lnTo>
                  <a:lnTo>
                    <a:pt x="20" y="320"/>
                  </a:lnTo>
                  <a:lnTo>
                    <a:pt x="12" y="302"/>
                  </a:lnTo>
                  <a:lnTo>
                    <a:pt x="12" y="286"/>
                  </a:lnTo>
                  <a:lnTo>
                    <a:pt x="12" y="266"/>
                  </a:lnTo>
                  <a:lnTo>
                    <a:pt x="20" y="250"/>
                  </a:lnTo>
                  <a:lnTo>
                    <a:pt x="12" y="234"/>
                  </a:lnTo>
                  <a:lnTo>
                    <a:pt x="12" y="216"/>
                  </a:lnTo>
                  <a:lnTo>
                    <a:pt x="0" y="198"/>
                  </a:lnTo>
                  <a:lnTo>
                    <a:pt x="0" y="180"/>
                  </a:lnTo>
                  <a:lnTo>
                    <a:pt x="0" y="164"/>
                  </a:lnTo>
                  <a:lnTo>
                    <a:pt x="6" y="148"/>
                  </a:lnTo>
                  <a:lnTo>
                    <a:pt x="20" y="130"/>
                  </a:lnTo>
                  <a:lnTo>
                    <a:pt x="26" y="114"/>
                  </a:lnTo>
                  <a:lnTo>
                    <a:pt x="26" y="96"/>
                  </a:lnTo>
                  <a:lnTo>
                    <a:pt x="26" y="78"/>
                  </a:lnTo>
                  <a:lnTo>
                    <a:pt x="20" y="44"/>
                  </a:lnTo>
                  <a:lnTo>
                    <a:pt x="26" y="44"/>
                  </a:lnTo>
                  <a:lnTo>
                    <a:pt x="40" y="44"/>
                  </a:lnTo>
                  <a:lnTo>
                    <a:pt x="52" y="34"/>
                  </a:lnTo>
                  <a:lnTo>
                    <a:pt x="66" y="28"/>
                  </a:lnTo>
                  <a:lnTo>
                    <a:pt x="80" y="10"/>
                  </a:lnTo>
                  <a:lnTo>
                    <a:pt x="94" y="0"/>
                  </a:lnTo>
                  <a:lnTo>
                    <a:pt x="108" y="0"/>
                  </a:lnTo>
                  <a:lnTo>
                    <a:pt x="128" y="0"/>
                  </a:lnTo>
                  <a:lnTo>
                    <a:pt x="142" y="0"/>
                  </a:lnTo>
                  <a:lnTo>
                    <a:pt x="154" y="10"/>
                  </a:lnTo>
                  <a:lnTo>
                    <a:pt x="174" y="18"/>
                  </a:lnTo>
                  <a:lnTo>
                    <a:pt x="190" y="18"/>
                  </a:lnTo>
                  <a:lnTo>
                    <a:pt x="208" y="18"/>
                  </a:lnTo>
                  <a:lnTo>
                    <a:pt x="222" y="18"/>
                  </a:lnTo>
                  <a:lnTo>
                    <a:pt x="236" y="18"/>
                  </a:lnTo>
                  <a:lnTo>
                    <a:pt x="256" y="10"/>
                  </a:lnTo>
                  <a:lnTo>
                    <a:pt x="268" y="10"/>
                  </a:lnTo>
                  <a:lnTo>
                    <a:pt x="282" y="0"/>
                  </a:lnTo>
                  <a:lnTo>
                    <a:pt x="282" y="18"/>
                  </a:lnTo>
                  <a:lnTo>
                    <a:pt x="282" y="34"/>
                  </a:lnTo>
                  <a:lnTo>
                    <a:pt x="282" y="50"/>
                  </a:lnTo>
                  <a:lnTo>
                    <a:pt x="296" y="50"/>
                  </a:lnTo>
                  <a:lnTo>
                    <a:pt x="310" y="5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67" name="Freeform 73">
              <a:extLst>
                <a:ext uri="{FF2B5EF4-FFF2-40B4-BE49-F238E27FC236}">
                  <a16:creationId xmlns:a16="http://schemas.microsoft.com/office/drawing/2014/main" id="{72829E97-CC8F-45BB-BCE0-702DB16CD882}"/>
                </a:ext>
              </a:extLst>
            </p:cNvPr>
            <p:cNvSpPr>
              <a:spLocks/>
            </p:cNvSpPr>
            <p:nvPr/>
          </p:nvSpPr>
          <p:spPr bwMode="auto">
            <a:xfrm>
              <a:off x="2067915" y="3912099"/>
              <a:ext cx="681638" cy="699576"/>
            </a:xfrm>
            <a:custGeom>
              <a:avLst/>
              <a:gdLst>
                <a:gd name="T0" fmla="*/ 310 w 456"/>
                <a:gd name="T1" fmla="*/ 60 h 468"/>
                <a:gd name="T2" fmla="*/ 338 w 456"/>
                <a:gd name="T3" fmla="*/ 86 h 468"/>
                <a:gd name="T4" fmla="*/ 366 w 456"/>
                <a:gd name="T5" fmla="*/ 94 h 468"/>
                <a:gd name="T6" fmla="*/ 394 w 456"/>
                <a:gd name="T7" fmla="*/ 120 h 468"/>
                <a:gd name="T8" fmla="*/ 420 w 456"/>
                <a:gd name="T9" fmla="*/ 120 h 468"/>
                <a:gd name="T10" fmla="*/ 446 w 456"/>
                <a:gd name="T11" fmla="*/ 130 h 468"/>
                <a:gd name="T12" fmla="*/ 446 w 456"/>
                <a:gd name="T13" fmla="*/ 164 h 468"/>
                <a:gd name="T14" fmla="*/ 446 w 456"/>
                <a:gd name="T15" fmla="*/ 198 h 468"/>
                <a:gd name="T16" fmla="*/ 446 w 456"/>
                <a:gd name="T17" fmla="*/ 208 h 468"/>
                <a:gd name="T18" fmla="*/ 418 w 456"/>
                <a:gd name="T19" fmla="*/ 224 h 468"/>
                <a:gd name="T20" fmla="*/ 398 w 456"/>
                <a:gd name="T21" fmla="*/ 260 h 468"/>
                <a:gd name="T22" fmla="*/ 378 w 456"/>
                <a:gd name="T23" fmla="*/ 286 h 468"/>
                <a:gd name="T24" fmla="*/ 378 w 456"/>
                <a:gd name="T25" fmla="*/ 320 h 468"/>
                <a:gd name="T26" fmla="*/ 350 w 456"/>
                <a:gd name="T27" fmla="*/ 338 h 468"/>
                <a:gd name="T28" fmla="*/ 322 w 456"/>
                <a:gd name="T29" fmla="*/ 364 h 468"/>
                <a:gd name="T30" fmla="*/ 304 w 456"/>
                <a:gd name="T31" fmla="*/ 374 h 468"/>
                <a:gd name="T32" fmla="*/ 282 w 456"/>
                <a:gd name="T33" fmla="*/ 398 h 468"/>
                <a:gd name="T34" fmla="*/ 268 w 456"/>
                <a:gd name="T35" fmla="*/ 414 h 468"/>
                <a:gd name="T36" fmla="*/ 264 w 456"/>
                <a:gd name="T37" fmla="*/ 450 h 468"/>
                <a:gd name="T38" fmla="*/ 236 w 456"/>
                <a:gd name="T39" fmla="*/ 468 h 468"/>
                <a:gd name="T40" fmla="*/ 222 w 456"/>
                <a:gd name="T41" fmla="*/ 440 h 468"/>
                <a:gd name="T42" fmla="*/ 194 w 456"/>
                <a:gd name="T43" fmla="*/ 450 h 468"/>
                <a:gd name="T44" fmla="*/ 174 w 456"/>
                <a:gd name="T45" fmla="*/ 422 h 468"/>
                <a:gd name="T46" fmla="*/ 174 w 456"/>
                <a:gd name="T47" fmla="*/ 388 h 468"/>
                <a:gd name="T48" fmla="*/ 154 w 456"/>
                <a:gd name="T49" fmla="*/ 354 h 468"/>
                <a:gd name="T50" fmla="*/ 134 w 456"/>
                <a:gd name="T51" fmla="*/ 338 h 468"/>
                <a:gd name="T52" fmla="*/ 108 w 456"/>
                <a:gd name="T53" fmla="*/ 338 h 468"/>
                <a:gd name="T54" fmla="*/ 80 w 456"/>
                <a:gd name="T55" fmla="*/ 338 h 468"/>
                <a:gd name="T56" fmla="*/ 52 w 456"/>
                <a:gd name="T57" fmla="*/ 330 h 468"/>
                <a:gd name="T58" fmla="*/ 26 w 456"/>
                <a:gd name="T59" fmla="*/ 338 h 468"/>
                <a:gd name="T60" fmla="*/ 12 w 456"/>
                <a:gd name="T61" fmla="*/ 302 h 468"/>
                <a:gd name="T62" fmla="*/ 12 w 456"/>
                <a:gd name="T63" fmla="*/ 266 h 468"/>
                <a:gd name="T64" fmla="*/ 12 w 456"/>
                <a:gd name="T65" fmla="*/ 234 h 468"/>
                <a:gd name="T66" fmla="*/ 0 w 456"/>
                <a:gd name="T67" fmla="*/ 198 h 468"/>
                <a:gd name="T68" fmla="*/ 0 w 456"/>
                <a:gd name="T69" fmla="*/ 164 h 468"/>
                <a:gd name="T70" fmla="*/ 20 w 456"/>
                <a:gd name="T71" fmla="*/ 130 h 468"/>
                <a:gd name="T72" fmla="*/ 26 w 456"/>
                <a:gd name="T73" fmla="*/ 96 h 468"/>
                <a:gd name="T74" fmla="*/ 20 w 456"/>
                <a:gd name="T75" fmla="*/ 44 h 468"/>
                <a:gd name="T76" fmla="*/ 40 w 456"/>
                <a:gd name="T77" fmla="*/ 44 h 468"/>
                <a:gd name="T78" fmla="*/ 66 w 456"/>
                <a:gd name="T79" fmla="*/ 28 h 468"/>
                <a:gd name="T80" fmla="*/ 94 w 456"/>
                <a:gd name="T81" fmla="*/ 0 h 468"/>
                <a:gd name="T82" fmla="*/ 128 w 456"/>
                <a:gd name="T83" fmla="*/ 0 h 468"/>
                <a:gd name="T84" fmla="*/ 154 w 456"/>
                <a:gd name="T85" fmla="*/ 10 h 468"/>
                <a:gd name="T86" fmla="*/ 190 w 456"/>
                <a:gd name="T87" fmla="*/ 18 h 468"/>
                <a:gd name="T88" fmla="*/ 222 w 456"/>
                <a:gd name="T89" fmla="*/ 18 h 468"/>
                <a:gd name="T90" fmla="*/ 256 w 456"/>
                <a:gd name="T91" fmla="*/ 10 h 468"/>
                <a:gd name="T92" fmla="*/ 282 w 456"/>
                <a:gd name="T93" fmla="*/ 0 h 468"/>
                <a:gd name="T94" fmla="*/ 282 w 456"/>
                <a:gd name="T95" fmla="*/ 34 h 468"/>
                <a:gd name="T96" fmla="*/ 296 w 456"/>
                <a:gd name="T97" fmla="*/ 5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6" h="468">
                  <a:moveTo>
                    <a:pt x="310" y="50"/>
                  </a:moveTo>
                  <a:lnTo>
                    <a:pt x="310" y="60"/>
                  </a:lnTo>
                  <a:lnTo>
                    <a:pt x="324" y="76"/>
                  </a:lnTo>
                  <a:lnTo>
                    <a:pt x="338" y="86"/>
                  </a:lnTo>
                  <a:lnTo>
                    <a:pt x="350" y="94"/>
                  </a:lnTo>
                  <a:lnTo>
                    <a:pt x="366" y="94"/>
                  </a:lnTo>
                  <a:lnTo>
                    <a:pt x="378" y="104"/>
                  </a:lnTo>
                  <a:lnTo>
                    <a:pt x="394" y="120"/>
                  </a:lnTo>
                  <a:lnTo>
                    <a:pt x="408" y="120"/>
                  </a:lnTo>
                  <a:lnTo>
                    <a:pt x="420" y="120"/>
                  </a:lnTo>
                  <a:lnTo>
                    <a:pt x="432" y="120"/>
                  </a:lnTo>
                  <a:lnTo>
                    <a:pt x="446" y="130"/>
                  </a:lnTo>
                  <a:lnTo>
                    <a:pt x="456" y="146"/>
                  </a:lnTo>
                  <a:lnTo>
                    <a:pt x="446" y="164"/>
                  </a:lnTo>
                  <a:lnTo>
                    <a:pt x="456" y="180"/>
                  </a:lnTo>
                  <a:lnTo>
                    <a:pt x="446" y="198"/>
                  </a:lnTo>
                  <a:lnTo>
                    <a:pt x="446" y="198"/>
                  </a:lnTo>
                  <a:lnTo>
                    <a:pt x="446" y="208"/>
                  </a:lnTo>
                  <a:lnTo>
                    <a:pt x="430" y="216"/>
                  </a:lnTo>
                  <a:lnTo>
                    <a:pt x="418" y="224"/>
                  </a:lnTo>
                  <a:lnTo>
                    <a:pt x="406" y="242"/>
                  </a:lnTo>
                  <a:lnTo>
                    <a:pt x="398" y="260"/>
                  </a:lnTo>
                  <a:lnTo>
                    <a:pt x="392" y="276"/>
                  </a:lnTo>
                  <a:lnTo>
                    <a:pt x="378" y="286"/>
                  </a:lnTo>
                  <a:lnTo>
                    <a:pt x="378" y="302"/>
                  </a:lnTo>
                  <a:lnTo>
                    <a:pt x="378" y="320"/>
                  </a:lnTo>
                  <a:lnTo>
                    <a:pt x="364" y="330"/>
                  </a:lnTo>
                  <a:lnTo>
                    <a:pt x="350" y="338"/>
                  </a:lnTo>
                  <a:lnTo>
                    <a:pt x="338" y="344"/>
                  </a:lnTo>
                  <a:lnTo>
                    <a:pt x="322" y="364"/>
                  </a:lnTo>
                  <a:lnTo>
                    <a:pt x="318" y="364"/>
                  </a:lnTo>
                  <a:lnTo>
                    <a:pt x="304" y="374"/>
                  </a:lnTo>
                  <a:lnTo>
                    <a:pt x="290" y="380"/>
                  </a:lnTo>
                  <a:lnTo>
                    <a:pt x="282" y="398"/>
                  </a:lnTo>
                  <a:lnTo>
                    <a:pt x="282" y="414"/>
                  </a:lnTo>
                  <a:lnTo>
                    <a:pt x="268" y="414"/>
                  </a:lnTo>
                  <a:lnTo>
                    <a:pt x="264" y="430"/>
                  </a:lnTo>
                  <a:lnTo>
                    <a:pt x="264" y="450"/>
                  </a:lnTo>
                  <a:lnTo>
                    <a:pt x="250" y="458"/>
                  </a:lnTo>
                  <a:lnTo>
                    <a:pt x="236" y="468"/>
                  </a:lnTo>
                  <a:lnTo>
                    <a:pt x="236" y="450"/>
                  </a:lnTo>
                  <a:lnTo>
                    <a:pt x="222" y="440"/>
                  </a:lnTo>
                  <a:lnTo>
                    <a:pt x="208" y="450"/>
                  </a:lnTo>
                  <a:lnTo>
                    <a:pt x="194" y="450"/>
                  </a:lnTo>
                  <a:lnTo>
                    <a:pt x="184" y="440"/>
                  </a:lnTo>
                  <a:lnTo>
                    <a:pt x="174" y="422"/>
                  </a:lnTo>
                  <a:lnTo>
                    <a:pt x="174" y="406"/>
                  </a:lnTo>
                  <a:lnTo>
                    <a:pt x="174" y="388"/>
                  </a:lnTo>
                  <a:lnTo>
                    <a:pt x="160" y="374"/>
                  </a:lnTo>
                  <a:lnTo>
                    <a:pt x="154" y="354"/>
                  </a:lnTo>
                  <a:lnTo>
                    <a:pt x="148" y="338"/>
                  </a:lnTo>
                  <a:lnTo>
                    <a:pt x="134" y="338"/>
                  </a:lnTo>
                  <a:lnTo>
                    <a:pt x="120" y="330"/>
                  </a:lnTo>
                  <a:lnTo>
                    <a:pt x="108" y="338"/>
                  </a:lnTo>
                  <a:lnTo>
                    <a:pt x="94" y="344"/>
                  </a:lnTo>
                  <a:lnTo>
                    <a:pt x="80" y="338"/>
                  </a:lnTo>
                  <a:lnTo>
                    <a:pt x="66" y="338"/>
                  </a:lnTo>
                  <a:lnTo>
                    <a:pt x="52" y="330"/>
                  </a:lnTo>
                  <a:lnTo>
                    <a:pt x="40" y="338"/>
                  </a:lnTo>
                  <a:lnTo>
                    <a:pt x="26" y="338"/>
                  </a:lnTo>
                  <a:lnTo>
                    <a:pt x="20" y="320"/>
                  </a:lnTo>
                  <a:lnTo>
                    <a:pt x="12" y="302"/>
                  </a:lnTo>
                  <a:lnTo>
                    <a:pt x="12" y="286"/>
                  </a:lnTo>
                  <a:lnTo>
                    <a:pt x="12" y="266"/>
                  </a:lnTo>
                  <a:lnTo>
                    <a:pt x="20" y="250"/>
                  </a:lnTo>
                  <a:lnTo>
                    <a:pt x="12" y="234"/>
                  </a:lnTo>
                  <a:lnTo>
                    <a:pt x="12" y="216"/>
                  </a:lnTo>
                  <a:lnTo>
                    <a:pt x="0" y="198"/>
                  </a:lnTo>
                  <a:lnTo>
                    <a:pt x="0" y="180"/>
                  </a:lnTo>
                  <a:lnTo>
                    <a:pt x="0" y="164"/>
                  </a:lnTo>
                  <a:lnTo>
                    <a:pt x="6" y="148"/>
                  </a:lnTo>
                  <a:lnTo>
                    <a:pt x="20" y="130"/>
                  </a:lnTo>
                  <a:lnTo>
                    <a:pt x="26" y="114"/>
                  </a:lnTo>
                  <a:lnTo>
                    <a:pt x="26" y="96"/>
                  </a:lnTo>
                  <a:lnTo>
                    <a:pt x="26" y="78"/>
                  </a:lnTo>
                  <a:lnTo>
                    <a:pt x="20" y="44"/>
                  </a:lnTo>
                  <a:lnTo>
                    <a:pt x="26" y="44"/>
                  </a:lnTo>
                  <a:lnTo>
                    <a:pt x="40" y="44"/>
                  </a:lnTo>
                  <a:lnTo>
                    <a:pt x="52" y="34"/>
                  </a:lnTo>
                  <a:lnTo>
                    <a:pt x="66" y="28"/>
                  </a:lnTo>
                  <a:lnTo>
                    <a:pt x="80" y="10"/>
                  </a:lnTo>
                  <a:lnTo>
                    <a:pt x="94" y="0"/>
                  </a:lnTo>
                  <a:lnTo>
                    <a:pt x="108" y="0"/>
                  </a:lnTo>
                  <a:lnTo>
                    <a:pt x="128" y="0"/>
                  </a:lnTo>
                  <a:lnTo>
                    <a:pt x="142" y="0"/>
                  </a:lnTo>
                  <a:lnTo>
                    <a:pt x="154" y="10"/>
                  </a:lnTo>
                  <a:lnTo>
                    <a:pt x="174" y="18"/>
                  </a:lnTo>
                  <a:lnTo>
                    <a:pt x="190" y="18"/>
                  </a:lnTo>
                  <a:lnTo>
                    <a:pt x="208" y="18"/>
                  </a:lnTo>
                  <a:lnTo>
                    <a:pt x="222" y="18"/>
                  </a:lnTo>
                  <a:lnTo>
                    <a:pt x="236" y="18"/>
                  </a:lnTo>
                  <a:lnTo>
                    <a:pt x="256" y="10"/>
                  </a:lnTo>
                  <a:lnTo>
                    <a:pt x="268" y="10"/>
                  </a:lnTo>
                  <a:lnTo>
                    <a:pt x="282" y="0"/>
                  </a:lnTo>
                  <a:lnTo>
                    <a:pt x="282" y="18"/>
                  </a:lnTo>
                  <a:lnTo>
                    <a:pt x="282" y="34"/>
                  </a:lnTo>
                  <a:lnTo>
                    <a:pt x="282" y="50"/>
                  </a:lnTo>
                  <a:lnTo>
                    <a:pt x="296" y="50"/>
                  </a:lnTo>
                  <a:lnTo>
                    <a:pt x="310" y="50"/>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68" name="Freeform 74">
              <a:extLst>
                <a:ext uri="{FF2B5EF4-FFF2-40B4-BE49-F238E27FC236}">
                  <a16:creationId xmlns:a16="http://schemas.microsoft.com/office/drawing/2014/main" id="{8A7DD742-BEF6-4023-8517-498F4755AE26}"/>
                </a:ext>
              </a:extLst>
            </p:cNvPr>
            <p:cNvSpPr>
              <a:spLocks/>
            </p:cNvSpPr>
            <p:nvPr/>
          </p:nvSpPr>
          <p:spPr bwMode="auto">
            <a:xfrm>
              <a:off x="2540278" y="4172198"/>
              <a:ext cx="789265" cy="541125"/>
            </a:xfrm>
            <a:custGeom>
              <a:avLst/>
              <a:gdLst>
                <a:gd name="T0" fmla="*/ 136 w 528"/>
                <a:gd name="T1" fmla="*/ 24 h 362"/>
                <a:gd name="T2" fmla="*/ 162 w 528"/>
                <a:gd name="T3" fmla="*/ 0 h 362"/>
                <a:gd name="T4" fmla="*/ 190 w 528"/>
                <a:gd name="T5" fmla="*/ 4 h 362"/>
                <a:gd name="T6" fmla="*/ 216 w 528"/>
                <a:gd name="T7" fmla="*/ 0 h 362"/>
                <a:gd name="T8" fmla="*/ 230 w 528"/>
                <a:gd name="T9" fmla="*/ 16 h 362"/>
                <a:gd name="T10" fmla="*/ 250 w 528"/>
                <a:gd name="T11" fmla="*/ 24 h 362"/>
                <a:gd name="T12" fmla="*/ 278 w 528"/>
                <a:gd name="T13" fmla="*/ 42 h 362"/>
                <a:gd name="T14" fmla="*/ 304 w 528"/>
                <a:gd name="T15" fmla="*/ 24 h 362"/>
                <a:gd name="T16" fmla="*/ 330 w 528"/>
                <a:gd name="T17" fmla="*/ 16 h 362"/>
                <a:gd name="T18" fmla="*/ 354 w 528"/>
                <a:gd name="T19" fmla="*/ 32 h 362"/>
                <a:gd name="T20" fmla="*/ 372 w 528"/>
                <a:gd name="T21" fmla="*/ 60 h 362"/>
                <a:gd name="T22" fmla="*/ 372 w 528"/>
                <a:gd name="T23" fmla="*/ 92 h 362"/>
                <a:gd name="T24" fmla="*/ 392 w 528"/>
                <a:gd name="T25" fmla="*/ 120 h 362"/>
                <a:gd name="T26" fmla="*/ 400 w 528"/>
                <a:gd name="T27" fmla="*/ 154 h 362"/>
                <a:gd name="T28" fmla="*/ 406 w 528"/>
                <a:gd name="T29" fmla="*/ 180 h 362"/>
                <a:gd name="T30" fmla="*/ 426 w 528"/>
                <a:gd name="T31" fmla="*/ 206 h 362"/>
                <a:gd name="T32" fmla="*/ 454 w 528"/>
                <a:gd name="T33" fmla="*/ 206 h 362"/>
                <a:gd name="T34" fmla="*/ 480 w 528"/>
                <a:gd name="T35" fmla="*/ 198 h 362"/>
                <a:gd name="T36" fmla="*/ 506 w 528"/>
                <a:gd name="T37" fmla="*/ 180 h 362"/>
                <a:gd name="T38" fmla="*/ 528 w 528"/>
                <a:gd name="T39" fmla="*/ 180 h 362"/>
                <a:gd name="T40" fmla="*/ 514 w 528"/>
                <a:gd name="T41" fmla="*/ 206 h 362"/>
                <a:gd name="T42" fmla="*/ 522 w 528"/>
                <a:gd name="T43" fmla="*/ 232 h 362"/>
                <a:gd name="T44" fmla="*/ 500 w 528"/>
                <a:gd name="T45" fmla="*/ 250 h 362"/>
                <a:gd name="T46" fmla="*/ 468 w 528"/>
                <a:gd name="T47" fmla="*/ 258 h 362"/>
                <a:gd name="T48" fmla="*/ 440 w 528"/>
                <a:gd name="T49" fmla="*/ 276 h 362"/>
                <a:gd name="T50" fmla="*/ 400 w 528"/>
                <a:gd name="T51" fmla="*/ 276 h 362"/>
                <a:gd name="T52" fmla="*/ 372 w 528"/>
                <a:gd name="T53" fmla="*/ 302 h 362"/>
                <a:gd name="T54" fmla="*/ 344 w 528"/>
                <a:gd name="T55" fmla="*/ 328 h 362"/>
                <a:gd name="T56" fmla="*/ 316 w 528"/>
                <a:gd name="T57" fmla="*/ 354 h 362"/>
                <a:gd name="T58" fmla="*/ 304 w 528"/>
                <a:gd name="T59" fmla="*/ 354 h 362"/>
                <a:gd name="T60" fmla="*/ 292 w 528"/>
                <a:gd name="T61" fmla="*/ 346 h 362"/>
                <a:gd name="T62" fmla="*/ 270 w 528"/>
                <a:gd name="T63" fmla="*/ 336 h 362"/>
                <a:gd name="T64" fmla="*/ 244 w 528"/>
                <a:gd name="T65" fmla="*/ 328 h 362"/>
                <a:gd name="T66" fmla="*/ 222 w 528"/>
                <a:gd name="T67" fmla="*/ 312 h 362"/>
                <a:gd name="T68" fmla="*/ 230 w 528"/>
                <a:gd name="T69" fmla="*/ 276 h 362"/>
                <a:gd name="T70" fmla="*/ 208 w 528"/>
                <a:gd name="T71" fmla="*/ 250 h 362"/>
                <a:gd name="T72" fmla="*/ 202 w 528"/>
                <a:gd name="T73" fmla="*/ 216 h 362"/>
                <a:gd name="T74" fmla="*/ 168 w 528"/>
                <a:gd name="T75" fmla="*/ 206 h 362"/>
                <a:gd name="T76" fmla="*/ 140 w 528"/>
                <a:gd name="T77" fmla="*/ 216 h 362"/>
                <a:gd name="T78" fmla="*/ 114 w 528"/>
                <a:gd name="T79" fmla="*/ 190 h 362"/>
                <a:gd name="T80" fmla="*/ 88 w 528"/>
                <a:gd name="T81" fmla="*/ 190 h 362"/>
                <a:gd name="T82" fmla="*/ 62 w 528"/>
                <a:gd name="T83" fmla="*/ 180 h 362"/>
                <a:gd name="T84" fmla="*/ 34 w 528"/>
                <a:gd name="T85" fmla="*/ 198 h 362"/>
                <a:gd name="T86" fmla="*/ 6 w 528"/>
                <a:gd name="T87" fmla="*/ 190 h 362"/>
                <a:gd name="T88" fmla="*/ 6 w 528"/>
                <a:gd name="T89" fmla="*/ 190 h 362"/>
                <a:gd name="T90" fmla="*/ 34 w 528"/>
                <a:gd name="T91" fmla="*/ 162 h 362"/>
                <a:gd name="T92" fmla="*/ 62 w 528"/>
                <a:gd name="T93" fmla="*/ 144 h 362"/>
                <a:gd name="T94" fmla="*/ 62 w 528"/>
                <a:gd name="T95" fmla="*/ 108 h 362"/>
                <a:gd name="T96" fmla="*/ 82 w 528"/>
                <a:gd name="T97" fmla="*/ 84 h 362"/>
                <a:gd name="T98" fmla="*/ 102 w 528"/>
                <a:gd name="T99" fmla="*/ 48 h 362"/>
                <a:gd name="T100" fmla="*/ 128 w 528"/>
                <a:gd name="T101" fmla="*/ 30 h 362"/>
                <a:gd name="T102" fmla="*/ 122 w 528"/>
                <a:gd name="T103" fmla="*/ 3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8" h="362">
                  <a:moveTo>
                    <a:pt x="122" y="32"/>
                  </a:moveTo>
                  <a:lnTo>
                    <a:pt x="136" y="24"/>
                  </a:lnTo>
                  <a:lnTo>
                    <a:pt x="148" y="16"/>
                  </a:lnTo>
                  <a:lnTo>
                    <a:pt x="162" y="0"/>
                  </a:lnTo>
                  <a:lnTo>
                    <a:pt x="176" y="0"/>
                  </a:lnTo>
                  <a:lnTo>
                    <a:pt x="190" y="4"/>
                  </a:lnTo>
                  <a:lnTo>
                    <a:pt x="204" y="4"/>
                  </a:lnTo>
                  <a:lnTo>
                    <a:pt x="216" y="0"/>
                  </a:lnTo>
                  <a:lnTo>
                    <a:pt x="230" y="0"/>
                  </a:lnTo>
                  <a:lnTo>
                    <a:pt x="230" y="16"/>
                  </a:lnTo>
                  <a:lnTo>
                    <a:pt x="238" y="32"/>
                  </a:lnTo>
                  <a:lnTo>
                    <a:pt x="250" y="24"/>
                  </a:lnTo>
                  <a:lnTo>
                    <a:pt x="264" y="32"/>
                  </a:lnTo>
                  <a:lnTo>
                    <a:pt x="278" y="42"/>
                  </a:lnTo>
                  <a:lnTo>
                    <a:pt x="292" y="24"/>
                  </a:lnTo>
                  <a:lnTo>
                    <a:pt x="304" y="24"/>
                  </a:lnTo>
                  <a:lnTo>
                    <a:pt x="316" y="24"/>
                  </a:lnTo>
                  <a:lnTo>
                    <a:pt x="330" y="16"/>
                  </a:lnTo>
                  <a:lnTo>
                    <a:pt x="344" y="16"/>
                  </a:lnTo>
                  <a:lnTo>
                    <a:pt x="354" y="32"/>
                  </a:lnTo>
                  <a:lnTo>
                    <a:pt x="360" y="50"/>
                  </a:lnTo>
                  <a:lnTo>
                    <a:pt x="372" y="60"/>
                  </a:lnTo>
                  <a:lnTo>
                    <a:pt x="372" y="76"/>
                  </a:lnTo>
                  <a:lnTo>
                    <a:pt x="372" y="92"/>
                  </a:lnTo>
                  <a:lnTo>
                    <a:pt x="378" y="110"/>
                  </a:lnTo>
                  <a:lnTo>
                    <a:pt x="392" y="120"/>
                  </a:lnTo>
                  <a:lnTo>
                    <a:pt x="392" y="138"/>
                  </a:lnTo>
                  <a:lnTo>
                    <a:pt x="400" y="154"/>
                  </a:lnTo>
                  <a:lnTo>
                    <a:pt x="392" y="170"/>
                  </a:lnTo>
                  <a:lnTo>
                    <a:pt x="406" y="180"/>
                  </a:lnTo>
                  <a:lnTo>
                    <a:pt x="414" y="198"/>
                  </a:lnTo>
                  <a:lnTo>
                    <a:pt x="426" y="206"/>
                  </a:lnTo>
                  <a:lnTo>
                    <a:pt x="440" y="198"/>
                  </a:lnTo>
                  <a:lnTo>
                    <a:pt x="454" y="206"/>
                  </a:lnTo>
                  <a:lnTo>
                    <a:pt x="468" y="206"/>
                  </a:lnTo>
                  <a:lnTo>
                    <a:pt x="480" y="198"/>
                  </a:lnTo>
                  <a:lnTo>
                    <a:pt x="494" y="190"/>
                  </a:lnTo>
                  <a:lnTo>
                    <a:pt x="506" y="180"/>
                  </a:lnTo>
                  <a:lnTo>
                    <a:pt x="522" y="180"/>
                  </a:lnTo>
                  <a:lnTo>
                    <a:pt x="528" y="180"/>
                  </a:lnTo>
                  <a:lnTo>
                    <a:pt x="528" y="196"/>
                  </a:lnTo>
                  <a:lnTo>
                    <a:pt x="514" y="206"/>
                  </a:lnTo>
                  <a:lnTo>
                    <a:pt x="514" y="222"/>
                  </a:lnTo>
                  <a:lnTo>
                    <a:pt x="522" y="232"/>
                  </a:lnTo>
                  <a:lnTo>
                    <a:pt x="514" y="250"/>
                  </a:lnTo>
                  <a:lnTo>
                    <a:pt x="500" y="250"/>
                  </a:lnTo>
                  <a:lnTo>
                    <a:pt x="480" y="250"/>
                  </a:lnTo>
                  <a:lnTo>
                    <a:pt x="468" y="258"/>
                  </a:lnTo>
                  <a:lnTo>
                    <a:pt x="462" y="276"/>
                  </a:lnTo>
                  <a:lnTo>
                    <a:pt x="440" y="276"/>
                  </a:lnTo>
                  <a:lnTo>
                    <a:pt x="420" y="276"/>
                  </a:lnTo>
                  <a:lnTo>
                    <a:pt x="400" y="276"/>
                  </a:lnTo>
                  <a:lnTo>
                    <a:pt x="386" y="292"/>
                  </a:lnTo>
                  <a:lnTo>
                    <a:pt x="372" y="302"/>
                  </a:lnTo>
                  <a:lnTo>
                    <a:pt x="352" y="312"/>
                  </a:lnTo>
                  <a:lnTo>
                    <a:pt x="344" y="328"/>
                  </a:lnTo>
                  <a:lnTo>
                    <a:pt x="330" y="336"/>
                  </a:lnTo>
                  <a:lnTo>
                    <a:pt x="316" y="354"/>
                  </a:lnTo>
                  <a:lnTo>
                    <a:pt x="304" y="362"/>
                  </a:lnTo>
                  <a:lnTo>
                    <a:pt x="304" y="354"/>
                  </a:lnTo>
                  <a:lnTo>
                    <a:pt x="298" y="348"/>
                  </a:lnTo>
                  <a:lnTo>
                    <a:pt x="292" y="346"/>
                  </a:lnTo>
                  <a:lnTo>
                    <a:pt x="278" y="354"/>
                  </a:lnTo>
                  <a:lnTo>
                    <a:pt x="270" y="336"/>
                  </a:lnTo>
                  <a:lnTo>
                    <a:pt x="258" y="328"/>
                  </a:lnTo>
                  <a:lnTo>
                    <a:pt x="244" y="328"/>
                  </a:lnTo>
                  <a:lnTo>
                    <a:pt x="230" y="328"/>
                  </a:lnTo>
                  <a:lnTo>
                    <a:pt x="222" y="312"/>
                  </a:lnTo>
                  <a:lnTo>
                    <a:pt x="230" y="292"/>
                  </a:lnTo>
                  <a:lnTo>
                    <a:pt x="230" y="276"/>
                  </a:lnTo>
                  <a:lnTo>
                    <a:pt x="216" y="266"/>
                  </a:lnTo>
                  <a:lnTo>
                    <a:pt x="208" y="250"/>
                  </a:lnTo>
                  <a:lnTo>
                    <a:pt x="216" y="232"/>
                  </a:lnTo>
                  <a:lnTo>
                    <a:pt x="202" y="216"/>
                  </a:lnTo>
                  <a:lnTo>
                    <a:pt x="182" y="206"/>
                  </a:lnTo>
                  <a:lnTo>
                    <a:pt x="168" y="206"/>
                  </a:lnTo>
                  <a:lnTo>
                    <a:pt x="156" y="216"/>
                  </a:lnTo>
                  <a:lnTo>
                    <a:pt x="140" y="216"/>
                  </a:lnTo>
                  <a:lnTo>
                    <a:pt x="128" y="198"/>
                  </a:lnTo>
                  <a:lnTo>
                    <a:pt x="114" y="190"/>
                  </a:lnTo>
                  <a:lnTo>
                    <a:pt x="102" y="190"/>
                  </a:lnTo>
                  <a:lnTo>
                    <a:pt x="88" y="190"/>
                  </a:lnTo>
                  <a:lnTo>
                    <a:pt x="76" y="180"/>
                  </a:lnTo>
                  <a:lnTo>
                    <a:pt x="62" y="180"/>
                  </a:lnTo>
                  <a:lnTo>
                    <a:pt x="46" y="190"/>
                  </a:lnTo>
                  <a:lnTo>
                    <a:pt x="34" y="198"/>
                  </a:lnTo>
                  <a:lnTo>
                    <a:pt x="20" y="198"/>
                  </a:lnTo>
                  <a:lnTo>
                    <a:pt x="6" y="190"/>
                  </a:lnTo>
                  <a:lnTo>
                    <a:pt x="0" y="190"/>
                  </a:lnTo>
                  <a:lnTo>
                    <a:pt x="6" y="190"/>
                  </a:lnTo>
                  <a:lnTo>
                    <a:pt x="20" y="170"/>
                  </a:lnTo>
                  <a:lnTo>
                    <a:pt x="34" y="162"/>
                  </a:lnTo>
                  <a:lnTo>
                    <a:pt x="46" y="152"/>
                  </a:lnTo>
                  <a:lnTo>
                    <a:pt x="62" y="144"/>
                  </a:lnTo>
                  <a:lnTo>
                    <a:pt x="62" y="128"/>
                  </a:lnTo>
                  <a:lnTo>
                    <a:pt x="62" y="108"/>
                  </a:lnTo>
                  <a:lnTo>
                    <a:pt x="72" y="102"/>
                  </a:lnTo>
                  <a:lnTo>
                    <a:pt x="82" y="84"/>
                  </a:lnTo>
                  <a:lnTo>
                    <a:pt x="86" y="66"/>
                  </a:lnTo>
                  <a:lnTo>
                    <a:pt x="102" y="48"/>
                  </a:lnTo>
                  <a:lnTo>
                    <a:pt x="114" y="40"/>
                  </a:lnTo>
                  <a:lnTo>
                    <a:pt x="128" y="30"/>
                  </a:lnTo>
                  <a:lnTo>
                    <a:pt x="128" y="28"/>
                  </a:lnTo>
                  <a:lnTo>
                    <a:pt x="122" y="3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69" name="Freeform 75">
              <a:extLst>
                <a:ext uri="{FF2B5EF4-FFF2-40B4-BE49-F238E27FC236}">
                  <a16:creationId xmlns:a16="http://schemas.microsoft.com/office/drawing/2014/main" id="{69707A5C-724B-4B20-9FE3-37E9FF7367E1}"/>
                </a:ext>
              </a:extLst>
            </p:cNvPr>
            <p:cNvSpPr>
              <a:spLocks/>
            </p:cNvSpPr>
            <p:nvPr/>
          </p:nvSpPr>
          <p:spPr bwMode="auto">
            <a:xfrm>
              <a:off x="2540278" y="4172198"/>
              <a:ext cx="789265" cy="541125"/>
            </a:xfrm>
            <a:custGeom>
              <a:avLst/>
              <a:gdLst>
                <a:gd name="T0" fmla="*/ 136 w 528"/>
                <a:gd name="T1" fmla="*/ 24 h 362"/>
                <a:gd name="T2" fmla="*/ 162 w 528"/>
                <a:gd name="T3" fmla="*/ 0 h 362"/>
                <a:gd name="T4" fmla="*/ 190 w 528"/>
                <a:gd name="T5" fmla="*/ 4 h 362"/>
                <a:gd name="T6" fmla="*/ 216 w 528"/>
                <a:gd name="T7" fmla="*/ 0 h 362"/>
                <a:gd name="T8" fmla="*/ 230 w 528"/>
                <a:gd name="T9" fmla="*/ 16 h 362"/>
                <a:gd name="T10" fmla="*/ 250 w 528"/>
                <a:gd name="T11" fmla="*/ 24 h 362"/>
                <a:gd name="T12" fmla="*/ 278 w 528"/>
                <a:gd name="T13" fmla="*/ 42 h 362"/>
                <a:gd name="T14" fmla="*/ 304 w 528"/>
                <a:gd name="T15" fmla="*/ 24 h 362"/>
                <a:gd name="T16" fmla="*/ 330 w 528"/>
                <a:gd name="T17" fmla="*/ 16 h 362"/>
                <a:gd name="T18" fmla="*/ 354 w 528"/>
                <a:gd name="T19" fmla="*/ 32 h 362"/>
                <a:gd name="T20" fmla="*/ 372 w 528"/>
                <a:gd name="T21" fmla="*/ 60 h 362"/>
                <a:gd name="T22" fmla="*/ 372 w 528"/>
                <a:gd name="T23" fmla="*/ 92 h 362"/>
                <a:gd name="T24" fmla="*/ 392 w 528"/>
                <a:gd name="T25" fmla="*/ 120 h 362"/>
                <a:gd name="T26" fmla="*/ 400 w 528"/>
                <a:gd name="T27" fmla="*/ 154 h 362"/>
                <a:gd name="T28" fmla="*/ 406 w 528"/>
                <a:gd name="T29" fmla="*/ 180 h 362"/>
                <a:gd name="T30" fmla="*/ 426 w 528"/>
                <a:gd name="T31" fmla="*/ 206 h 362"/>
                <a:gd name="T32" fmla="*/ 454 w 528"/>
                <a:gd name="T33" fmla="*/ 206 h 362"/>
                <a:gd name="T34" fmla="*/ 480 w 528"/>
                <a:gd name="T35" fmla="*/ 198 h 362"/>
                <a:gd name="T36" fmla="*/ 506 w 528"/>
                <a:gd name="T37" fmla="*/ 180 h 362"/>
                <a:gd name="T38" fmla="*/ 528 w 528"/>
                <a:gd name="T39" fmla="*/ 180 h 362"/>
                <a:gd name="T40" fmla="*/ 514 w 528"/>
                <a:gd name="T41" fmla="*/ 206 h 362"/>
                <a:gd name="T42" fmla="*/ 522 w 528"/>
                <a:gd name="T43" fmla="*/ 232 h 362"/>
                <a:gd name="T44" fmla="*/ 500 w 528"/>
                <a:gd name="T45" fmla="*/ 250 h 362"/>
                <a:gd name="T46" fmla="*/ 468 w 528"/>
                <a:gd name="T47" fmla="*/ 258 h 362"/>
                <a:gd name="T48" fmla="*/ 440 w 528"/>
                <a:gd name="T49" fmla="*/ 276 h 362"/>
                <a:gd name="T50" fmla="*/ 400 w 528"/>
                <a:gd name="T51" fmla="*/ 276 h 362"/>
                <a:gd name="T52" fmla="*/ 372 w 528"/>
                <a:gd name="T53" fmla="*/ 302 h 362"/>
                <a:gd name="T54" fmla="*/ 344 w 528"/>
                <a:gd name="T55" fmla="*/ 328 h 362"/>
                <a:gd name="T56" fmla="*/ 316 w 528"/>
                <a:gd name="T57" fmla="*/ 354 h 362"/>
                <a:gd name="T58" fmla="*/ 304 w 528"/>
                <a:gd name="T59" fmla="*/ 354 h 362"/>
                <a:gd name="T60" fmla="*/ 292 w 528"/>
                <a:gd name="T61" fmla="*/ 346 h 362"/>
                <a:gd name="T62" fmla="*/ 270 w 528"/>
                <a:gd name="T63" fmla="*/ 336 h 362"/>
                <a:gd name="T64" fmla="*/ 244 w 528"/>
                <a:gd name="T65" fmla="*/ 328 h 362"/>
                <a:gd name="T66" fmla="*/ 222 w 528"/>
                <a:gd name="T67" fmla="*/ 312 h 362"/>
                <a:gd name="T68" fmla="*/ 230 w 528"/>
                <a:gd name="T69" fmla="*/ 276 h 362"/>
                <a:gd name="T70" fmla="*/ 208 w 528"/>
                <a:gd name="T71" fmla="*/ 250 h 362"/>
                <a:gd name="T72" fmla="*/ 202 w 528"/>
                <a:gd name="T73" fmla="*/ 216 h 362"/>
                <a:gd name="T74" fmla="*/ 168 w 528"/>
                <a:gd name="T75" fmla="*/ 206 h 362"/>
                <a:gd name="T76" fmla="*/ 140 w 528"/>
                <a:gd name="T77" fmla="*/ 216 h 362"/>
                <a:gd name="T78" fmla="*/ 114 w 528"/>
                <a:gd name="T79" fmla="*/ 190 h 362"/>
                <a:gd name="T80" fmla="*/ 88 w 528"/>
                <a:gd name="T81" fmla="*/ 190 h 362"/>
                <a:gd name="T82" fmla="*/ 62 w 528"/>
                <a:gd name="T83" fmla="*/ 180 h 362"/>
                <a:gd name="T84" fmla="*/ 34 w 528"/>
                <a:gd name="T85" fmla="*/ 198 h 362"/>
                <a:gd name="T86" fmla="*/ 6 w 528"/>
                <a:gd name="T87" fmla="*/ 190 h 362"/>
                <a:gd name="T88" fmla="*/ 6 w 528"/>
                <a:gd name="T89" fmla="*/ 190 h 362"/>
                <a:gd name="T90" fmla="*/ 34 w 528"/>
                <a:gd name="T91" fmla="*/ 162 h 362"/>
                <a:gd name="T92" fmla="*/ 62 w 528"/>
                <a:gd name="T93" fmla="*/ 144 h 362"/>
                <a:gd name="T94" fmla="*/ 62 w 528"/>
                <a:gd name="T95" fmla="*/ 108 h 362"/>
                <a:gd name="T96" fmla="*/ 82 w 528"/>
                <a:gd name="T97" fmla="*/ 84 h 362"/>
                <a:gd name="T98" fmla="*/ 102 w 528"/>
                <a:gd name="T99" fmla="*/ 48 h 362"/>
                <a:gd name="T100" fmla="*/ 128 w 528"/>
                <a:gd name="T101" fmla="*/ 30 h 362"/>
                <a:gd name="T102" fmla="*/ 122 w 528"/>
                <a:gd name="T103" fmla="*/ 3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8" h="362">
                  <a:moveTo>
                    <a:pt x="122" y="32"/>
                  </a:moveTo>
                  <a:lnTo>
                    <a:pt x="136" y="24"/>
                  </a:lnTo>
                  <a:lnTo>
                    <a:pt x="148" y="16"/>
                  </a:lnTo>
                  <a:lnTo>
                    <a:pt x="162" y="0"/>
                  </a:lnTo>
                  <a:lnTo>
                    <a:pt x="176" y="0"/>
                  </a:lnTo>
                  <a:lnTo>
                    <a:pt x="190" y="4"/>
                  </a:lnTo>
                  <a:lnTo>
                    <a:pt x="204" y="4"/>
                  </a:lnTo>
                  <a:lnTo>
                    <a:pt x="216" y="0"/>
                  </a:lnTo>
                  <a:lnTo>
                    <a:pt x="230" y="0"/>
                  </a:lnTo>
                  <a:lnTo>
                    <a:pt x="230" y="16"/>
                  </a:lnTo>
                  <a:lnTo>
                    <a:pt x="238" y="32"/>
                  </a:lnTo>
                  <a:lnTo>
                    <a:pt x="250" y="24"/>
                  </a:lnTo>
                  <a:lnTo>
                    <a:pt x="264" y="32"/>
                  </a:lnTo>
                  <a:lnTo>
                    <a:pt x="278" y="42"/>
                  </a:lnTo>
                  <a:lnTo>
                    <a:pt x="292" y="24"/>
                  </a:lnTo>
                  <a:lnTo>
                    <a:pt x="304" y="24"/>
                  </a:lnTo>
                  <a:lnTo>
                    <a:pt x="316" y="24"/>
                  </a:lnTo>
                  <a:lnTo>
                    <a:pt x="330" y="16"/>
                  </a:lnTo>
                  <a:lnTo>
                    <a:pt x="344" y="16"/>
                  </a:lnTo>
                  <a:lnTo>
                    <a:pt x="354" y="32"/>
                  </a:lnTo>
                  <a:lnTo>
                    <a:pt x="360" y="50"/>
                  </a:lnTo>
                  <a:lnTo>
                    <a:pt x="372" y="60"/>
                  </a:lnTo>
                  <a:lnTo>
                    <a:pt x="372" y="76"/>
                  </a:lnTo>
                  <a:lnTo>
                    <a:pt x="372" y="92"/>
                  </a:lnTo>
                  <a:lnTo>
                    <a:pt x="378" y="110"/>
                  </a:lnTo>
                  <a:lnTo>
                    <a:pt x="392" y="120"/>
                  </a:lnTo>
                  <a:lnTo>
                    <a:pt x="392" y="138"/>
                  </a:lnTo>
                  <a:lnTo>
                    <a:pt x="400" y="154"/>
                  </a:lnTo>
                  <a:lnTo>
                    <a:pt x="392" y="170"/>
                  </a:lnTo>
                  <a:lnTo>
                    <a:pt x="406" y="180"/>
                  </a:lnTo>
                  <a:lnTo>
                    <a:pt x="414" y="198"/>
                  </a:lnTo>
                  <a:lnTo>
                    <a:pt x="426" y="206"/>
                  </a:lnTo>
                  <a:lnTo>
                    <a:pt x="440" y="198"/>
                  </a:lnTo>
                  <a:lnTo>
                    <a:pt x="454" y="206"/>
                  </a:lnTo>
                  <a:lnTo>
                    <a:pt x="468" y="206"/>
                  </a:lnTo>
                  <a:lnTo>
                    <a:pt x="480" y="198"/>
                  </a:lnTo>
                  <a:lnTo>
                    <a:pt x="494" y="190"/>
                  </a:lnTo>
                  <a:lnTo>
                    <a:pt x="506" y="180"/>
                  </a:lnTo>
                  <a:lnTo>
                    <a:pt x="522" y="180"/>
                  </a:lnTo>
                  <a:lnTo>
                    <a:pt x="528" y="180"/>
                  </a:lnTo>
                  <a:lnTo>
                    <a:pt x="528" y="196"/>
                  </a:lnTo>
                  <a:lnTo>
                    <a:pt x="514" y="206"/>
                  </a:lnTo>
                  <a:lnTo>
                    <a:pt x="514" y="222"/>
                  </a:lnTo>
                  <a:lnTo>
                    <a:pt x="522" y="232"/>
                  </a:lnTo>
                  <a:lnTo>
                    <a:pt x="514" y="250"/>
                  </a:lnTo>
                  <a:lnTo>
                    <a:pt x="500" y="250"/>
                  </a:lnTo>
                  <a:lnTo>
                    <a:pt x="480" y="250"/>
                  </a:lnTo>
                  <a:lnTo>
                    <a:pt x="468" y="258"/>
                  </a:lnTo>
                  <a:lnTo>
                    <a:pt x="462" y="276"/>
                  </a:lnTo>
                  <a:lnTo>
                    <a:pt x="440" y="276"/>
                  </a:lnTo>
                  <a:lnTo>
                    <a:pt x="420" y="276"/>
                  </a:lnTo>
                  <a:lnTo>
                    <a:pt x="400" y="276"/>
                  </a:lnTo>
                  <a:lnTo>
                    <a:pt x="386" y="292"/>
                  </a:lnTo>
                  <a:lnTo>
                    <a:pt x="372" y="302"/>
                  </a:lnTo>
                  <a:lnTo>
                    <a:pt x="352" y="312"/>
                  </a:lnTo>
                  <a:lnTo>
                    <a:pt x="344" y="328"/>
                  </a:lnTo>
                  <a:lnTo>
                    <a:pt x="330" y="336"/>
                  </a:lnTo>
                  <a:lnTo>
                    <a:pt x="316" y="354"/>
                  </a:lnTo>
                  <a:lnTo>
                    <a:pt x="304" y="362"/>
                  </a:lnTo>
                  <a:lnTo>
                    <a:pt x="304" y="354"/>
                  </a:lnTo>
                  <a:lnTo>
                    <a:pt x="298" y="348"/>
                  </a:lnTo>
                  <a:lnTo>
                    <a:pt x="292" y="346"/>
                  </a:lnTo>
                  <a:lnTo>
                    <a:pt x="278" y="354"/>
                  </a:lnTo>
                  <a:lnTo>
                    <a:pt x="270" y="336"/>
                  </a:lnTo>
                  <a:lnTo>
                    <a:pt x="258" y="328"/>
                  </a:lnTo>
                  <a:lnTo>
                    <a:pt x="244" y="328"/>
                  </a:lnTo>
                  <a:lnTo>
                    <a:pt x="230" y="328"/>
                  </a:lnTo>
                  <a:lnTo>
                    <a:pt x="222" y="312"/>
                  </a:lnTo>
                  <a:lnTo>
                    <a:pt x="230" y="292"/>
                  </a:lnTo>
                  <a:lnTo>
                    <a:pt x="230" y="276"/>
                  </a:lnTo>
                  <a:lnTo>
                    <a:pt x="216" y="266"/>
                  </a:lnTo>
                  <a:lnTo>
                    <a:pt x="208" y="250"/>
                  </a:lnTo>
                  <a:lnTo>
                    <a:pt x="216" y="232"/>
                  </a:lnTo>
                  <a:lnTo>
                    <a:pt x="202" y="216"/>
                  </a:lnTo>
                  <a:lnTo>
                    <a:pt x="182" y="206"/>
                  </a:lnTo>
                  <a:lnTo>
                    <a:pt x="168" y="206"/>
                  </a:lnTo>
                  <a:lnTo>
                    <a:pt x="156" y="216"/>
                  </a:lnTo>
                  <a:lnTo>
                    <a:pt x="140" y="216"/>
                  </a:lnTo>
                  <a:lnTo>
                    <a:pt x="128" y="198"/>
                  </a:lnTo>
                  <a:lnTo>
                    <a:pt x="114" y="190"/>
                  </a:lnTo>
                  <a:lnTo>
                    <a:pt x="102" y="190"/>
                  </a:lnTo>
                  <a:lnTo>
                    <a:pt x="88" y="190"/>
                  </a:lnTo>
                  <a:lnTo>
                    <a:pt x="76" y="180"/>
                  </a:lnTo>
                  <a:lnTo>
                    <a:pt x="62" y="180"/>
                  </a:lnTo>
                  <a:lnTo>
                    <a:pt x="46" y="190"/>
                  </a:lnTo>
                  <a:lnTo>
                    <a:pt x="34" y="198"/>
                  </a:lnTo>
                  <a:lnTo>
                    <a:pt x="20" y="198"/>
                  </a:lnTo>
                  <a:lnTo>
                    <a:pt x="6" y="190"/>
                  </a:lnTo>
                  <a:lnTo>
                    <a:pt x="0" y="190"/>
                  </a:lnTo>
                  <a:lnTo>
                    <a:pt x="6" y="190"/>
                  </a:lnTo>
                  <a:lnTo>
                    <a:pt x="20" y="170"/>
                  </a:lnTo>
                  <a:lnTo>
                    <a:pt x="34" y="162"/>
                  </a:lnTo>
                  <a:lnTo>
                    <a:pt x="46" y="152"/>
                  </a:lnTo>
                  <a:lnTo>
                    <a:pt x="62" y="144"/>
                  </a:lnTo>
                  <a:lnTo>
                    <a:pt x="62" y="128"/>
                  </a:lnTo>
                  <a:lnTo>
                    <a:pt x="62" y="108"/>
                  </a:lnTo>
                  <a:lnTo>
                    <a:pt x="72" y="102"/>
                  </a:lnTo>
                  <a:lnTo>
                    <a:pt x="82" y="84"/>
                  </a:lnTo>
                  <a:lnTo>
                    <a:pt x="86" y="66"/>
                  </a:lnTo>
                  <a:lnTo>
                    <a:pt x="102" y="48"/>
                  </a:lnTo>
                  <a:lnTo>
                    <a:pt x="114" y="40"/>
                  </a:lnTo>
                  <a:lnTo>
                    <a:pt x="128" y="30"/>
                  </a:lnTo>
                  <a:lnTo>
                    <a:pt x="128" y="28"/>
                  </a:lnTo>
                  <a:lnTo>
                    <a:pt x="122" y="32"/>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70" name="Freeform 76">
              <a:extLst>
                <a:ext uri="{FF2B5EF4-FFF2-40B4-BE49-F238E27FC236}">
                  <a16:creationId xmlns:a16="http://schemas.microsoft.com/office/drawing/2014/main" id="{5341AFD9-5767-48EC-8B9A-D0CD6150301B}"/>
                </a:ext>
              </a:extLst>
            </p:cNvPr>
            <p:cNvSpPr>
              <a:spLocks/>
            </p:cNvSpPr>
            <p:nvPr/>
          </p:nvSpPr>
          <p:spPr bwMode="auto">
            <a:xfrm>
              <a:off x="2399765" y="4438275"/>
              <a:ext cx="594938" cy="418550"/>
            </a:xfrm>
            <a:custGeom>
              <a:avLst/>
              <a:gdLst>
                <a:gd name="T0" fmla="*/ 94 w 398"/>
                <a:gd name="T1" fmla="*/ 10 h 280"/>
                <a:gd name="T2" fmla="*/ 66 w 398"/>
                <a:gd name="T3" fmla="*/ 28 h 280"/>
                <a:gd name="T4" fmla="*/ 58 w 398"/>
                <a:gd name="T5" fmla="*/ 62 h 280"/>
                <a:gd name="T6" fmla="*/ 40 w 398"/>
                <a:gd name="T7" fmla="*/ 80 h 280"/>
                <a:gd name="T8" fmla="*/ 28 w 398"/>
                <a:gd name="T9" fmla="*/ 106 h 280"/>
                <a:gd name="T10" fmla="*/ 6 w 398"/>
                <a:gd name="T11" fmla="*/ 126 h 280"/>
                <a:gd name="T12" fmla="*/ 0 w 398"/>
                <a:gd name="T13" fmla="*/ 158 h 280"/>
                <a:gd name="T14" fmla="*/ 6 w 398"/>
                <a:gd name="T15" fmla="*/ 192 h 280"/>
                <a:gd name="T16" fmla="*/ 34 w 398"/>
                <a:gd name="T17" fmla="*/ 184 h 280"/>
                <a:gd name="T18" fmla="*/ 60 w 398"/>
                <a:gd name="T19" fmla="*/ 208 h 280"/>
                <a:gd name="T20" fmla="*/ 60 w 398"/>
                <a:gd name="T21" fmla="*/ 244 h 280"/>
                <a:gd name="T22" fmla="*/ 66 w 398"/>
                <a:gd name="T23" fmla="*/ 252 h 280"/>
                <a:gd name="T24" fmla="*/ 94 w 398"/>
                <a:gd name="T25" fmla="*/ 262 h 280"/>
                <a:gd name="T26" fmla="*/ 120 w 398"/>
                <a:gd name="T27" fmla="*/ 270 h 280"/>
                <a:gd name="T28" fmla="*/ 150 w 398"/>
                <a:gd name="T29" fmla="*/ 262 h 280"/>
                <a:gd name="T30" fmla="*/ 176 w 398"/>
                <a:gd name="T31" fmla="*/ 270 h 280"/>
                <a:gd name="T32" fmla="*/ 196 w 398"/>
                <a:gd name="T33" fmla="*/ 280 h 280"/>
                <a:gd name="T34" fmla="*/ 222 w 398"/>
                <a:gd name="T35" fmla="*/ 270 h 280"/>
                <a:gd name="T36" fmla="*/ 236 w 398"/>
                <a:gd name="T37" fmla="*/ 252 h 280"/>
                <a:gd name="T38" fmla="*/ 262 w 398"/>
                <a:gd name="T39" fmla="*/ 236 h 280"/>
                <a:gd name="T40" fmla="*/ 296 w 398"/>
                <a:gd name="T41" fmla="*/ 252 h 280"/>
                <a:gd name="T42" fmla="*/ 324 w 398"/>
                <a:gd name="T43" fmla="*/ 244 h 280"/>
                <a:gd name="T44" fmla="*/ 352 w 398"/>
                <a:gd name="T45" fmla="*/ 244 h 280"/>
                <a:gd name="T46" fmla="*/ 364 w 398"/>
                <a:gd name="T47" fmla="*/ 234 h 280"/>
                <a:gd name="T48" fmla="*/ 364 w 398"/>
                <a:gd name="T49" fmla="*/ 200 h 280"/>
                <a:gd name="T50" fmla="*/ 392 w 398"/>
                <a:gd name="T51" fmla="*/ 190 h 280"/>
                <a:gd name="T52" fmla="*/ 384 w 398"/>
                <a:gd name="T53" fmla="*/ 166 h 280"/>
                <a:gd name="T54" fmla="*/ 364 w 398"/>
                <a:gd name="T55" fmla="*/ 156 h 280"/>
                <a:gd name="T56" fmla="*/ 338 w 398"/>
                <a:gd name="T57" fmla="*/ 150 h 280"/>
                <a:gd name="T58" fmla="*/ 318 w 398"/>
                <a:gd name="T59" fmla="*/ 130 h 280"/>
                <a:gd name="T60" fmla="*/ 324 w 398"/>
                <a:gd name="T61" fmla="*/ 96 h 280"/>
                <a:gd name="T62" fmla="*/ 302 w 398"/>
                <a:gd name="T63" fmla="*/ 70 h 280"/>
                <a:gd name="T64" fmla="*/ 296 w 398"/>
                <a:gd name="T65" fmla="*/ 36 h 280"/>
                <a:gd name="T66" fmla="*/ 262 w 398"/>
                <a:gd name="T67" fmla="*/ 26 h 280"/>
                <a:gd name="T68" fmla="*/ 236 w 398"/>
                <a:gd name="T69" fmla="*/ 36 h 280"/>
                <a:gd name="T70" fmla="*/ 208 w 398"/>
                <a:gd name="T71" fmla="*/ 10 h 280"/>
                <a:gd name="T72" fmla="*/ 182 w 398"/>
                <a:gd name="T73" fmla="*/ 10 h 280"/>
                <a:gd name="T74" fmla="*/ 156 w 398"/>
                <a:gd name="T75" fmla="*/ 0 h 280"/>
                <a:gd name="T76" fmla="*/ 128 w 398"/>
                <a:gd name="T77" fmla="*/ 18 h 280"/>
                <a:gd name="T78" fmla="*/ 102 w 398"/>
                <a:gd name="T79" fmla="*/ 10 h 280"/>
                <a:gd name="T80" fmla="*/ 102 w 398"/>
                <a:gd name="T81" fmla="*/ 1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8" h="280">
                  <a:moveTo>
                    <a:pt x="102" y="10"/>
                  </a:moveTo>
                  <a:lnTo>
                    <a:pt x="94" y="10"/>
                  </a:lnTo>
                  <a:lnTo>
                    <a:pt x="80" y="20"/>
                  </a:lnTo>
                  <a:lnTo>
                    <a:pt x="66" y="28"/>
                  </a:lnTo>
                  <a:lnTo>
                    <a:pt x="58" y="46"/>
                  </a:lnTo>
                  <a:lnTo>
                    <a:pt x="58" y="62"/>
                  </a:lnTo>
                  <a:lnTo>
                    <a:pt x="46" y="62"/>
                  </a:lnTo>
                  <a:lnTo>
                    <a:pt x="40" y="80"/>
                  </a:lnTo>
                  <a:lnTo>
                    <a:pt x="40" y="96"/>
                  </a:lnTo>
                  <a:lnTo>
                    <a:pt x="28" y="106"/>
                  </a:lnTo>
                  <a:lnTo>
                    <a:pt x="12" y="114"/>
                  </a:lnTo>
                  <a:lnTo>
                    <a:pt x="6" y="126"/>
                  </a:lnTo>
                  <a:lnTo>
                    <a:pt x="0" y="142"/>
                  </a:lnTo>
                  <a:lnTo>
                    <a:pt x="0" y="158"/>
                  </a:lnTo>
                  <a:lnTo>
                    <a:pt x="0" y="174"/>
                  </a:lnTo>
                  <a:lnTo>
                    <a:pt x="6" y="192"/>
                  </a:lnTo>
                  <a:lnTo>
                    <a:pt x="20" y="192"/>
                  </a:lnTo>
                  <a:lnTo>
                    <a:pt x="34" y="184"/>
                  </a:lnTo>
                  <a:lnTo>
                    <a:pt x="48" y="202"/>
                  </a:lnTo>
                  <a:lnTo>
                    <a:pt x="60" y="208"/>
                  </a:lnTo>
                  <a:lnTo>
                    <a:pt x="60" y="226"/>
                  </a:lnTo>
                  <a:lnTo>
                    <a:pt x="60" y="244"/>
                  </a:lnTo>
                  <a:lnTo>
                    <a:pt x="54" y="252"/>
                  </a:lnTo>
                  <a:lnTo>
                    <a:pt x="66" y="252"/>
                  </a:lnTo>
                  <a:lnTo>
                    <a:pt x="80" y="252"/>
                  </a:lnTo>
                  <a:lnTo>
                    <a:pt x="94" y="262"/>
                  </a:lnTo>
                  <a:lnTo>
                    <a:pt x="108" y="270"/>
                  </a:lnTo>
                  <a:lnTo>
                    <a:pt x="120" y="270"/>
                  </a:lnTo>
                  <a:lnTo>
                    <a:pt x="134" y="262"/>
                  </a:lnTo>
                  <a:lnTo>
                    <a:pt x="150" y="262"/>
                  </a:lnTo>
                  <a:lnTo>
                    <a:pt x="162" y="262"/>
                  </a:lnTo>
                  <a:lnTo>
                    <a:pt x="176" y="270"/>
                  </a:lnTo>
                  <a:lnTo>
                    <a:pt x="182" y="270"/>
                  </a:lnTo>
                  <a:lnTo>
                    <a:pt x="196" y="280"/>
                  </a:lnTo>
                  <a:lnTo>
                    <a:pt x="208" y="280"/>
                  </a:lnTo>
                  <a:lnTo>
                    <a:pt x="222" y="270"/>
                  </a:lnTo>
                  <a:lnTo>
                    <a:pt x="222" y="252"/>
                  </a:lnTo>
                  <a:lnTo>
                    <a:pt x="236" y="252"/>
                  </a:lnTo>
                  <a:lnTo>
                    <a:pt x="250" y="244"/>
                  </a:lnTo>
                  <a:lnTo>
                    <a:pt x="262" y="236"/>
                  </a:lnTo>
                  <a:lnTo>
                    <a:pt x="278" y="244"/>
                  </a:lnTo>
                  <a:lnTo>
                    <a:pt x="296" y="252"/>
                  </a:lnTo>
                  <a:lnTo>
                    <a:pt x="318" y="252"/>
                  </a:lnTo>
                  <a:lnTo>
                    <a:pt x="324" y="244"/>
                  </a:lnTo>
                  <a:lnTo>
                    <a:pt x="338" y="236"/>
                  </a:lnTo>
                  <a:lnTo>
                    <a:pt x="352" y="244"/>
                  </a:lnTo>
                  <a:lnTo>
                    <a:pt x="352" y="244"/>
                  </a:lnTo>
                  <a:lnTo>
                    <a:pt x="364" y="234"/>
                  </a:lnTo>
                  <a:lnTo>
                    <a:pt x="372" y="218"/>
                  </a:lnTo>
                  <a:lnTo>
                    <a:pt x="364" y="200"/>
                  </a:lnTo>
                  <a:lnTo>
                    <a:pt x="378" y="190"/>
                  </a:lnTo>
                  <a:lnTo>
                    <a:pt x="392" y="190"/>
                  </a:lnTo>
                  <a:lnTo>
                    <a:pt x="398" y="174"/>
                  </a:lnTo>
                  <a:lnTo>
                    <a:pt x="384" y="166"/>
                  </a:lnTo>
                  <a:lnTo>
                    <a:pt x="372" y="174"/>
                  </a:lnTo>
                  <a:lnTo>
                    <a:pt x="364" y="156"/>
                  </a:lnTo>
                  <a:lnTo>
                    <a:pt x="352" y="150"/>
                  </a:lnTo>
                  <a:lnTo>
                    <a:pt x="338" y="150"/>
                  </a:lnTo>
                  <a:lnTo>
                    <a:pt x="324" y="150"/>
                  </a:lnTo>
                  <a:lnTo>
                    <a:pt x="318" y="130"/>
                  </a:lnTo>
                  <a:lnTo>
                    <a:pt x="324" y="114"/>
                  </a:lnTo>
                  <a:lnTo>
                    <a:pt x="324" y="96"/>
                  </a:lnTo>
                  <a:lnTo>
                    <a:pt x="310" y="88"/>
                  </a:lnTo>
                  <a:lnTo>
                    <a:pt x="302" y="70"/>
                  </a:lnTo>
                  <a:lnTo>
                    <a:pt x="310" y="52"/>
                  </a:lnTo>
                  <a:lnTo>
                    <a:pt x="296" y="36"/>
                  </a:lnTo>
                  <a:lnTo>
                    <a:pt x="278" y="26"/>
                  </a:lnTo>
                  <a:lnTo>
                    <a:pt x="262" y="26"/>
                  </a:lnTo>
                  <a:lnTo>
                    <a:pt x="250" y="36"/>
                  </a:lnTo>
                  <a:lnTo>
                    <a:pt x="236" y="36"/>
                  </a:lnTo>
                  <a:lnTo>
                    <a:pt x="222" y="18"/>
                  </a:lnTo>
                  <a:lnTo>
                    <a:pt x="208" y="10"/>
                  </a:lnTo>
                  <a:lnTo>
                    <a:pt x="196" y="10"/>
                  </a:lnTo>
                  <a:lnTo>
                    <a:pt x="182" y="10"/>
                  </a:lnTo>
                  <a:lnTo>
                    <a:pt x="170" y="0"/>
                  </a:lnTo>
                  <a:lnTo>
                    <a:pt x="156" y="0"/>
                  </a:lnTo>
                  <a:lnTo>
                    <a:pt x="142" y="10"/>
                  </a:lnTo>
                  <a:lnTo>
                    <a:pt x="128" y="18"/>
                  </a:lnTo>
                  <a:lnTo>
                    <a:pt x="114" y="18"/>
                  </a:lnTo>
                  <a:lnTo>
                    <a:pt x="102" y="10"/>
                  </a:lnTo>
                  <a:lnTo>
                    <a:pt x="94" y="10"/>
                  </a:lnTo>
                  <a:lnTo>
                    <a:pt x="102" y="1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71" name="Freeform 77">
              <a:extLst>
                <a:ext uri="{FF2B5EF4-FFF2-40B4-BE49-F238E27FC236}">
                  <a16:creationId xmlns:a16="http://schemas.microsoft.com/office/drawing/2014/main" id="{230B0963-89ED-4B3F-B015-8E7309A79927}"/>
                </a:ext>
              </a:extLst>
            </p:cNvPr>
            <p:cNvSpPr>
              <a:spLocks/>
            </p:cNvSpPr>
            <p:nvPr/>
          </p:nvSpPr>
          <p:spPr bwMode="auto">
            <a:xfrm>
              <a:off x="2399765" y="4438275"/>
              <a:ext cx="594938" cy="418550"/>
            </a:xfrm>
            <a:custGeom>
              <a:avLst/>
              <a:gdLst>
                <a:gd name="T0" fmla="*/ 94 w 398"/>
                <a:gd name="T1" fmla="*/ 10 h 280"/>
                <a:gd name="T2" fmla="*/ 66 w 398"/>
                <a:gd name="T3" fmla="*/ 28 h 280"/>
                <a:gd name="T4" fmla="*/ 58 w 398"/>
                <a:gd name="T5" fmla="*/ 62 h 280"/>
                <a:gd name="T6" fmla="*/ 40 w 398"/>
                <a:gd name="T7" fmla="*/ 80 h 280"/>
                <a:gd name="T8" fmla="*/ 28 w 398"/>
                <a:gd name="T9" fmla="*/ 106 h 280"/>
                <a:gd name="T10" fmla="*/ 6 w 398"/>
                <a:gd name="T11" fmla="*/ 126 h 280"/>
                <a:gd name="T12" fmla="*/ 0 w 398"/>
                <a:gd name="T13" fmla="*/ 158 h 280"/>
                <a:gd name="T14" fmla="*/ 6 w 398"/>
                <a:gd name="T15" fmla="*/ 192 h 280"/>
                <a:gd name="T16" fmla="*/ 34 w 398"/>
                <a:gd name="T17" fmla="*/ 184 h 280"/>
                <a:gd name="T18" fmla="*/ 60 w 398"/>
                <a:gd name="T19" fmla="*/ 208 h 280"/>
                <a:gd name="T20" fmla="*/ 60 w 398"/>
                <a:gd name="T21" fmla="*/ 244 h 280"/>
                <a:gd name="T22" fmla="*/ 66 w 398"/>
                <a:gd name="T23" fmla="*/ 252 h 280"/>
                <a:gd name="T24" fmla="*/ 94 w 398"/>
                <a:gd name="T25" fmla="*/ 262 h 280"/>
                <a:gd name="T26" fmla="*/ 120 w 398"/>
                <a:gd name="T27" fmla="*/ 270 h 280"/>
                <a:gd name="T28" fmla="*/ 150 w 398"/>
                <a:gd name="T29" fmla="*/ 262 h 280"/>
                <a:gd name="T30" fmla="*/ 176 w 398"/>
                <a:gd name="T31" fmla="*/ 270 h 280"/>
                <a:gd name="T32" fmla="*/ 196 w 398"/>
                <a:gd name="T33" fmla="*/ 280 h 280"/>
                <a:gd name="T34" fmla="*/ 222 w 398"/>
                <a:gd name="T35" fmla="*/ 270 h 280"/>
                <a:gd name="T36" fmla="*/ 236 w 398"/>
                <a:gd name="T37" fmla="*/ 252 h 280"/>
                <a:gd name="T38" fmla="*/ 262 w 398"/>
                <a:gd name="T39" fmla="*/ 236 h 280"/>
                <a:gd name="T40" fmla="*/ 296 w 398"/>
                <a:gd name="T41" fmla="*/ 252 h 280"/>
                <a:gd name="T42" fmla="*/ 324 w 398"/>
                <a:gd name="T43" fmla="*/ 244 h 280"/>
                <a:gd name="T44" fmla="*/ 352 w 398"/>
                <a:gd name="T45" fmla="*/ 244 h 280"/>
                <a:gd name="T46" fmla="*/ 364 w 398"/>
                <a:gd name="T47" fmla="*/ 234 h 280"/>
                <a:gd name="T48" fmla="*/ 364 w 398"/>
                <a:gd name="T49" fmla="*/ 200 h 280"/>
                <a:gd name="T50" fmla="*/ 392 w 398"/>
                <a:gd name="T51" fmla="*/ 190 h 280"/>
                <a:gd name="T52" fmla="*/ 384 w 398"/>
                <a:gd name="T53" fmla="*/ 166 h 280"/>
                <a:gd name="T54" fmla="*/ 364 w 398"/>
                <a:gd name="T55" fmla="*/ 156 h 280"/>
                <a:gd name="T56" fmla="*/ 338 w 398"/>
                <a:gd name="T57" fmla="*/ 150 h 280"/>
                <a:gd name="T58" fmla="*/ 318 w 398"/>
                <a:gd name="T59" fmla="*/ 130 h 280"/>
                <a:gd name="T60" fmla="*/ 324 w 398"/>
                <a:gd name="T61" fmla="*/ 96 h 280"/>
                <a:gd name="T62" fmla="*/ 302 w 398"/>
                <a:gd name="T63" fmla="*/ 70 h 280"/>
                <a:gd name="T64" fmla="*/ 296 w 398"/>
                <a:gd name="T65" fmla="*/ 36 h 280"/>
                <a:gd name="T66" fmla="*/ 262 w 398"/>
                <a:gd name="T67" fmla="*/ 26 h 280"/>
                <a:gd name="T68" fmla="*/ 236 w 398"/>
                <a:gd name="T69" fmla="*/ 36 h 280"/>
                <a:gd name="T70" fmla="*/ 208 w 398"/>
                <a:gd name="T71" fmla="*/ 10 h 280"/>
                <a:gd name="T72" fmla="*/ 182 w 398"/>
                <a:gd name="T73" fmla="*/ 10 h 280"/>
                <a:gd name="T74" fmla="*/ 156 w 398"/>
                <a:gd name="T75" fmla="*/ 0 h 280"/>
                <a:gd name="T76" fmla="*/ 128 w 398"/>
                <a:gd name="T77" fmla="*/ 18 h 280"/>
                <a:gd name="T78" fmla="*/ 102 w 398"/>
                <a:gd name="T79" fmla="*/ 10 h 280"/>
                <a:gd name="T80" fmla="*/ 102 w 398"/>
                <a:gd name="T81" fmla="*/ 1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8" h="280">
                  <a:moveTo>
                    <a:pt x="102" y="10"/>
                  </a:moveTo>
                  <a:lnTo>
                    <a:pt x="94" y="10"/>
                  </a:lnTo>
                  <a:lnTo>
                    <a:pt x="80" y="20"/>
                  </a:lnTo>
                  <a:lnTo>
                    <a:pt x="66" y="28"/>
                  </a:lnTo>
                  <a:lnTo>
                    <a:pt x="58" y="46"/>
                  </a:lnTo>
                  <a:lnTo>
                    <a:pt x="58" y="62"/>
                  </a:lnTo>
                  <a:lnTo>
                    <a:pt x="46" y="62"/>
                  </a:lnTo>
                  <a:lnTo>
                    <a:pt x="40" y="80"/>
                  </a:lnTo>
                  <a:lnTo>
                    <a:pt x="40" y="96"/>
                  </a:lnTo>
                  <a:lnTo>
                    <a:pt x="28" y="106"/>
                  </a:lnTo>
                  <a:lnTo>
                    <a:pt x="12" y="114"/>
                  </a:lnTo>
                  <a:lnTo>
                    <a:pt x="6" y="126"/>
                  </a:lnTo>
                  <a:lnTo>
                    <a:pt x="0" y="142"/>
                  </a:lnTo>
                  <a:lnTo>
                    <a:pt x="0" y="158"/>
                  </a:lnTo>
                  <a:lnTo>
                    <a:pt x="0" y="174"/>
                  </a:lnTo>
                  <a:lnTo>
                    <a:pt x="6" y="192"/>
                  </a:lnTo>
                  <a:lnTo>
                    <a:pt x="20" y="192"/>
                  </a:lnTo>
                  <a:lnTo>
                    <a:pt x="34" y="184"/>
                  </a:lnTo>
                  <a:lnTo>
                    <a:pt x="48" y="202"/>
                  </a:lnTo>
                  <a:lnTo>
                    <a:pt x="60" y="208"/>
                  </a:lnTo>
                  <a:lnTo>
                    <a:pt x="60" y="226"/>
                  </a:lnTo>
                  <a:lnTo>
                    <a:pt x="60" y="244"/>
                  </a:lnTo>
                  <a:lnTo>
                    <a:pt x="54" y="252"/>
                  </a:lnTo>
                  <a:lnTo>
                    <a:pt x="66" y="252"/>
                  </a:lnTo>
                  <a:lnTo>
                    <a:pt x="80" y="252"/>
                  </a:lnTo>
                  <a:lnTo>
                    <a:pt x="94" y="262"/>
                  </a:lnTo>
                  <a:lnTo>
                    <a:pt x="108" y="270"/>
                  </a:lnTo>
                  <a:lnTo>
                    <a:pt x="120" y="270"/>
                  </a:lnTo>
                  <a:lnTo>
                    <a:pt x="134" y="262"/>
                  </a:lnTo>
                  <a:lnTo>
                    <a:pt x="150" y="262"/>
                  </a:lnTo>
                  <a:lnTo>
                    <a:pt x="162" y="262"/>
                  </a:lnTo>
                  <a:lnTo>
                    <a:pt x="176" y="270"/>
                  </a:lnTo>
                  <a:lnTo>
                    <a:pt x="182" y="270"/>
                  </a:lnTo>
                  <a:lnTo>
                    <a:pt x="196" y="280"/>
                  </a:lnTo>
                  <a:lnTo>
                    <a:pt x="208" y="280"/>
                  </a:lnTo>
                  <a:lnTo>
                    <a:pt x="222" y="270"/>
                  </a:lnTo>
                  <a:lnTo>
                    <a:pt x="222" y="252"/>
                  </a:lnTo>
                  <a:lnTo>
                    <a:pt x="236" y="252"/>
                  </a:lnTo>
                  <a:lnTo>
                    <a:pt x="250" y="244"/>
                  </a:lnTo>
                  <a:lnTo>
                    <a:pt x="262" y="236"/>
                  </a:lnTo>
                  <a:lnTo>
                    <a:pt x="278" y="244"/>
                  </a:lnTo>
                  <a:lnTo>
                    <a:pt x="296" y="252"/>
                  </a:lnTo>
                  <a:lnTo>
                    <a:pt x="318" y="252"/>
                  </a:lnTo>
                  <a:lnTo>
                    <a:pt x="324" y="244"/>
                  </a:lnTo>
                  <a:lnTo>
                    <a:pt x="338" y="236"/>
                  </a:lnTo>
                  <a:lnTo>
                    <a:pt x="352" y="244"/>
                  </a:lnTo>
                  <a:lnTo>
                    <a:pt x="352" y="244"/>
                  </a:lnTo>
                  <a:lnTo>
                    <a:pt x="364" y="234"/>
                  </a:lnTo>
                  <a:lnTo>
                    <a:pt x="372" y="218"/>
                  </a:lnTo>
                  <a:lnTo>
                    <a:pt x="364" y="200"/>
                  </a:lnTo>
                  <a:lnTo>
                    <a:pt x="378" y="190"/>
                  </a:lnTo>
                  <a:lnTo>
                    <a:pt x="392" y="190"/>
                  </a:lnTo>
                  <a:lnTo>
                    <a:pt x="398" y="174"/>
                  </a:lnTo>
                  <a:lnTo>
                    <a:pt x="384" y="166"/>
                  </a:lnTo>
                  <a:lnTo>
                    <a:pt x="372" y="174"/>
                  </a:lnTo>
                  <a:lnTo>
                    <a:pt x="364" y="156"/>
                  </a:lnTo>
                  <a:lnTo>
                    <a:pt x="352" y="150"/>
                  </a:lnTo>
                  <a:lnTo>
                    <a:pt x="338" y="150"/>
                  </a:lnTo>
                  <a:lnTo>
                    <a:pt x="324" y="150"/>
                  </a:lnTo>
                  <a:lnTo>
                    <a:pt x="318" y="130"/>
                  </a:lnTo>
                  <a:lnTo>
                    <a:pt x="324" y="114"/>
                  </a:lnTo>
                  <a:lnTo>
                    <a:pt x="324" y="96"/>
                  </a:lnTo>
                  <a:lnTo>
                    <a:pt x="310" y="88"/>
                  </a:lnTo>
                  <a:lnTo>
                    <a:pt x="302" y="70"/>
                  </a:lnTo>
                  <a:lnTo>
                    <a:pt x="310" y="52"/>
                  </a:lnTo>
                  <a:lnTo>
                    <a:pt x="296" y="36"/>
                  </a:lnTo>
                  <a:lnTo>
                    <a:pt x="278" y="26"/>
                  </a:lnTo>
                  <a:lnTo>
                    <a:pt x="262" y="26"/>
                  </a:lnTo>
                  <a:lnTo>
                    <a:pt x="250" y="36"/>
                  </a:lnTo>
                  <a:lnTo>
                    <a:pt x="236" y="36"/>
                  </a:lnTo>
                  <a:lnTo>
                    <a:pt x="222" y="18"/>
                  </a:lnTo>
                  <a:lnTo>
                    <a:pt x="208" y="10"/>
                  </a:lnTo>
                  <a:lnTo>
                    <a:pt x="196" y="10"/>
                  </a:lnTo>
                  <a:lnTo>
                    <a:pt x="182" y="10"/>
                  </a:lnTo>
                  <a:lnTo>
                    <a:pt x="170" y="0"/>
                  </a:lnTo>
                  <a:lnTo>
                    <a:pt x="156" y="0"/>
                  </a:lnTo>
                  <a:lnTo>
                    <a:pt x="142" y="10"/>
                  </a:lnTo>
                  <a:lnTo>
                    <a:pt x="128" y="18"/>
                  </a:lnTo>
                  <a:lnTo>
                    <a:pt x="114" y="18"/>
                  </a:lnTo>
                  <a:lnTo>
                    <a:pt x="102" y="10"/>
                  </a:lnTo>
                  <a:lnTo>
                    <a:pt x="94" y="10"/>
                  </a:lnTo>
                  <a:lnTo>
                    <a:pt x="102" y="10"/>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72" name="Freeform 78">
              <a:extLst>
                <a:ext uri="{FF2B5EF4-FFF2-40B4-BE49-F238E27FC236}">
                  <a16:creationId xmlns:a16="http://schemas.microsoft.com/office/drawing/2014/main" id="{6229D4E4-3EEB-40D4-9034-D0159A0E3891}"/>
                </a:ext>
              </a:extLst>
            </p:cNvPr>
            <p:cNvSpPr>
              <a:spLocks/>
            </p:cNvSpPr>
            <p:nvPr/>
          </p:nvSpPr>
          <p:spPr bwMode="auto">
            <a:xfrm>
              <a:off x="2471517" y="4791053"/>
              <a:ext cx="475353" cy="325871"/>
            </a:xfrm>
            <a:custGeom>
              <a:avLst/>
              <a:gdLst>
                <a:gd name="T0" fmla="*/ 6 w 318"/>
                <a:gd name="T1" fmla="*/ 18 h 218"/>
                <a:gd name="T2" fmla="*/ 20 w 318"/>
                <a:gd name="T3" fmla="*/ 18 h 218"/>
                <a:gd name="T4" fmla="*/ 34 w 318"/>
                <a:gd name="T5" fmla="*/ 18 h 218"/>
                <a:gd name="T6" fmla="*/ 46 w 318"/>
                <a:gd name="T7" fmla="*/ 26 h 218"/>
                <a:gd name="T8" fmla="*/ 60 w 318"/>
                <a:gd name="T9" fmla="*/ 36 h 218"/>
                <a:gd name="T10" fmla="*/ 74 w 318"/>
                <a:gd name="T11" fmla="*/ 36 h 218"/>
                <a:gd name="T12" fmla="*/ 88 w 318"/>
                <a:gd name="T13" fmla="*/ 26 h 218"/>
                <a:gd name="T14" fmla="*/ 102 w 318"/>
                <a:gd name="T15" fmla="*/ 26 h 218"/>
                <a:gd name="T16" fmla="*/ 116 w 318"/>
                <a:gd name="T17" fmla="*/ 26 h 218"/>
                <a:gd name="T18" fmla="*/ 128 w 318"/>
                <a:gd name="T19" fmla="*/ 36 h 218"/>
                <a:gd name="T20" fmla="*/ 134 w 318"/>
                <a:gd name="T21" fmla="*/ 36 h 218"/>
                <a:gd name="T22" fmla="*/ 148 w 318"/>
                <a:gd name="T23" fmla="*/ 42 h 218"/>
                <a:gd name="T24" fmla="*/ 160 w 318"/>
                <a:gd name="T25" fmla="*/ 42 h 218"/>
                <a:gd name="T26" fmla="*/ 176 w 318"/>
                <a:gd name="T27" fmla="*/ 36 h 218"/>
                <a:gd name="T28" fmla="*/ 176 w 318"/>
                <a:gd name="T29" fmla="*/ 18 h 218"/>
                <a:gd name="T30" fmla="*/ 188 w 318"/>
                <a:gd name="T31" fmla="*/ 18 h 218"/>
                <a:gd name="T32" fmla="*/ 202 w 318"/>
                <a:gd name="T33" fmla="*/ 10 h 218"/>
                <a:gd name="T34" fmla="*/ 216 w 318"/>
                <a:gd name="T35" fmla="*/ 0 h 218"/>
                <a:gd name="T36" fmla="*/ 228 w 318"/>
                <a:gd name="T37" fmla="*/ 10 h 218"/>
                <a:gd name="T38" fmla="*/ 250 w 318"/>
                <a:gd name="T39" fmla="*/ 18 h 218"/>
                <a:gd name="T40" fmla="*/ 270 w 318"/>
                <a:gd name="T41" fmla="*/ 18 h 218"/>
                <a:gd name="T42" fmla="*/ 278 w 318"/>
                <a:gd name="T43" fmla="*/ 10 h 218"/>
                <a:gd name="T44" fmla="*/ 290 w 318"/>
                <a:gd name="T45" fmla="*/ 0 h 218"/>
                <a:gd name="T46" fmla="*/ 306 w 318"/>
                <a:gd name="T47" fmla="*/ 10 h 218"/>
                <a:gd name="T48" fmla="*/ 312 w 318"/>
                <a:gd name="T49" fmla="*/ 28 h 218"/>
                <a:gd name="T50" fmla="*/ 318 w 318"/>
                <a:gd name="T51" fmla="*/ 44 h 218"/>
                <a:gd name="T52" fmla="*/ 312 w 318"/>
                <a:gd name="T53" fmla="*/ 62 h 218"/>
                <a:gd name="T54" fmla="*/ 318 w 318"/>
                <a:gd name="T55" fmla="*/ 78 h 218"/>
                <a:gd name="T56" fmla="*/ 318 w 318"/>
                <a:gd name="T57" fmla="*/ 98 h 218"/>
                <a:gd name="T58" fmla="*/ 312 w 318"/>
                <a:gd name="T59" fmla="*/ 112 h 218"/>
                <a:gd name="T60" fmla="*/ 306 w 318"/>
                <a:gd name="T61" fmla="*/ 130 h 218"/>
                <a:gd name="T62" fmla="*/ 306 w 318"/>
                <a:gd name="T63" fmla="*/ 148 h 218"/>
                <a:gd name="T64" fmla="*/ 290 w 318"/>
                <a:gd name="T65" fmla="*/ 172 h 218"/>
                <a:gd name="T66" fmla="*/ 278 w 318"/>
                <a:gd name="T67" fmla="*/ 180 h 218"/>
                <a:gd name="T68" fmla="*/ 256 w 318"/>
                <a:gd name="T69" fmla="*/ 200 h 218"/>
                <a:gd name="T70" fmla="*/ 256 w 318"/>
                <a:gd name="T71" fmla="*/ 200 h 218"/>
                <a:gd name="T72" fmla="*/ 236 w 318"/>
                <a:gd name="T73" fmla="*/ 218 h 218"/>
                <a:gd name="T74" fmla="*/ 222 w 318"/>
                <a:gd name="T75" fmla="*/ 218 h 218"/>
                <a:gd name="T76" fmla="*/ 210 w 318"/>
                <a:gd name="T77" fmla="*/ 206 h 218"/>
                <a:gd name="T78" fmla="*/ 222 w 318"/>
                <a:gd name="T79" fmla="*/ 200 h 218"/>
                <a:gd name="T80" fmla="*/ 236 w 318"/>
                <a:gd name="T81" fmla="*/ 180 h 218"/>
                <a:gd name="T82" fmla="*/ 244 w 318"/>
                <a:gd name="T83" fmla="*/ 164 h 218"/>
                <a:gd name="T84" fmla="*/ 228 w 318"/>
                <a:gd name="T85" fmla="*/ 154 h 218"/>
                <a:gd name="T86" fmla="*/ 216 w 318"/>
                <a:gd name="T87" fmla="*/ 164 h 218"/>
                <a:gd name="T88" fmla="*/ 204 w 318"/>
                <a:gd name="T89" fmla="*/ 154 h 218"/>
                <a:gd name="T90" fmla="*/ 188 w 318"/>
                <a:gd name="T91" fmla="*/ 138 h 218"/>
                <a:gd name="T92" fmla="*/ 176 w 318"/>
                <a:gd name="T93" fmla="*/ 130 h 218"/>
                <a:gd name="T94" fmla="*/ 160 w 318"/>
                <a:gd name="T95" fmla="*/ 120 h 218"/>
                <a:gd name="T96" fmla="*/ 150 w 318"/>
                <a:gd name="T97" fmla="*/ 112 h 218"/>
                <a:gd name="T98" fmla="*/ 128 w 318"/>
                <a:gd name="T99" fmla="*/ 104 h 218"/>
                <a:gd name="T100" fmla="*/ 116 w 318"/>
                <a:gd name="T101" fmla="*/ 104 h 218"/>
                <a:gd name="T102" fmla="*/ 102 w 318"/>
                <a:gd name="T103" fmla="*/ 98 h 218"/>
                <a:gd name="T104" fmla="*/ 88 w 318"/>
                <a:gd name="T105" fmla="*/ 88 h 218"/>
                <a:gd name="T106" fmla="*/ 74 w 318"/>
                <a:gd name="T107" fmla="*/ 78 h 218"/>
                <a:gd name="T108" fmla="*/ 52 w 318"/>
                <a:gd name="T109" fmla="*/ 78 h 218"/>
                <a:gd name="T110" fmla="*/ 40 w 318"/>
                <a:gd name="T111" fmla="*/ 78 h 218"/>
                <a:gd name="T112" fmla="*/ 26 w 318"/>
                <a:gd name="T113" fmla="*/ 78 h 218"/>
                <a:gd name="T114" fmla="*/ 12 w 318"/>
                <a:gd name="T115" fmla="*/ 70 h 218"/>
                <a:gd name="T116" fmla="*/ 0 w 318"/>
                <a:gd name="T117" fmla="*/ 62 h 218"/>
                <a:gd name="T118" fmla="*/ 8 w 318"/>
                <a:gd name="T119" fmla="*/ 44 h 218"/>
                <a:gd name="T120" fmla="*/ 8 w 318"/>
                <a:gd name="T121" fmla="*/ 28 h 218"/>
                <a:gd name="T122" fmla="*/ 10 w 318"/>
                <a:gd name="T123" fmla="*/ 18 h 218"/>
                <a:gd name="T124" fmla="*/ 6 w 318"/>
                <a:gd name="T125" fmla="*/ 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8" h="218">
                  <a:moveTo>
                    <a:pt x="6" y="18"/>
                  </a:moveTo>
                  <a:lnTo>
                    <a:pt x="20" y="18"/>
                  </a:lnTo>
                  <a:lnTo>
                    <a:pt x="34" y="18"/>
                  </a:lnTo>
                  <a:lnTo>
                    <a:pt x="46" y="26"/>
                  </a:lnTo>
                  <a:lnTo>
                    <a:pt x="60" y="36"/>
                  </a:lnTo>
                  <a:lnTo>
                    <a:pt x="74" y="36"/>
                  </a:lnTo>
                  <a:lnTo>
                    <a:pt x="88" y="26"/>
                  </a:lnTo>
                  <a:lnTo>
                    <a:pt x="102" y="26"/>
                  </a:lnTo>
                  <a:lnTo>
                    <a:pt x="116" y="26"/>
                  </a:lnTo>
                  <a:lnTo>
                    <a:pt x="128" y="36"/>
                  </a:lnTo>
                  <a:lnTo>
                    <a:pt x="134" y="36"/>
                  </a:lnTo>
                  <a:lnTo>
                    <a:pt x="148" y="42"/>
                  </a:lnTo>
                  <a:lnTo>
                    <a:pt x="160" y="42"/>
                  </a:lnTo>
                  <a:lnTo>
                    <a:pt x="176" y="36"/>
                  </a:lnTo>
                  <a:lnTo>
                    <a:pt x="176" y="18"/>
                  </a:lnTo>
                  <a:lnTo>
                    <a:pt x="188" y="18"/>
                  </a:lnTo>
                  <a:lnTo>
                    <a:pt x="202" y="10"/>
                  </a:lnTo>
                  <a:lnTo>
                    <a:pt x="216" y="0"/>
                  </a:lnTo>
                  <a:lnTo>
                    <a:pt x="228" y="10"/>
                  </a:lnTo>
                  <a:lnTo>
                    <a:pt x="250" y="18"/>
                  </a:lnTo>
                  <a:lnTo>
                    <a:pt x="270" y="18"/>
                  </a:lnTo>
                  <a:lnTo>
                    <a:pt x="278" y="10"/>
                  </a:lnTo>
                  <a:lnTo>
                    <a:pt x="290" y="0"/>
                  </a:lnTo>
                  <a:lnTo>
                    <a:pt x="306" y="10"/>
                  </a:lnTo>
                  <a:lnTo>
                    <a:pt x="312" y="28"/>
                  </a:lnTo>
                  <a:lnTo>
                    <a:pt x="318" y="44"/>
                  </a:lnTo>
                  <a:lnTo>
                    <a:pt x="312" y="62"/>
                  </a:lnTo>
                  <a:lnTo>
                    <a:pt x="318" y="78"/>
                  </a:lnTo>
                  <a:lnTo>
                    <a:pt x="318" y="98"/>
                  </a:lnTo>
                  <a:lnTo>
                    <a:pt x="312" y="112"/>
                  </a:lnTo>
                  <a:lnTo>
                    <a:pt x="306" y="130"/>
                  </a:lnTo>
                  <a:lnTo>
                    <a:pt x="306" y="148"/>
                  </a:lnTo>
                  <a:lnTo>
                    <a:pt x="290" y="172"/>
                  </a:lnTo>
                  <a:lnTo>
                    <a:pt x="278" y="180"/>
                  </a:lnTo>
                  <a:lnTo>
                    <a:pt x="256" y="200"/>
                  </a:lnTo>
                  <a:lnTo>
                    <a:pt x="256" y="200"/>
                  </a:lnTo>
                  <a:lnTo>
                    <a:pt x="236" y="218"/>
                  </a:lnTo>
                  <a:lnTo>
                    <a:pt x="222" y="218"/>
                  </a:lnTo>
                  <a:lnTo>
                    <a:pt x="210" y="206"/>
                  </a:lnTo>
                  <a:lnTo>
                    <a:pt x="222" y="200"/>
                  </a:lnTo>
                  <a:lnTo>
                    <a:pt x="236" y="180"/>
                  </a:lnTo>
                  <a:lnTo>
                    <a:pt x="244" y="164"/>
                  </a:lnTo>
                  <a:lnTo>
                    <a:pt x="228" y="154"/>
                  </a:lnTo>
                  <a:lnTo>
                    <a:pt x="216" y="164"/>
                  </a:lnTo>
                  <a:lnTo>
                    <a:pt x="204" y="154"/>
                  </a:lnTo>
                  <a:lnTo>
                    <a:pt x="188" y="138"/>
                  </a:lnTo>
                  <a:lnTo>
                    <a:pt x="176" y="130"/>
                  </a:lnTo>
                  <a:lnTo>
                    <a:pt x="160" y="120"/>
                  </a:lnTo>
                  <a:lnTo>
                    <a:pt x="150" y="112"/>
                  </a:lnTo>
                  <a:lnTo>
                    <a:pt x="128" y="104"/>
                  </a:lnTo>
                  <a:lnTo>
                    <a:pt x="116" y="104"/>
                  </a:lnTo>
                  <a:lnTo>
                    <a:pt x="102" y="98"/>
                  </a:lnTo>
                  <a:lnTo>
                    <a:pt x="88" y="88"/>
                  </a:lnTo>
                  <a:lnTo>
                    <a:pt x="74" y="78"/>
                  </a:lnTo>
                  <a:lnTo>
                    <a:pt x="52" y="78"/>
                  </a:lnTo>
                  <a:lnTo>
                    <a:pt x="40" y="78"/>
                  </a:lnTo>
                  <a:lnTo>
                    <a:pt x="26" y="78"/>
                  </a:lnTo>
                  <a:lnTo>
                    <a:pt x="12" y="70"/>
                  </a:lnTo>
                  <a:lnTo>
                    <a:pt x="0" y="62"/>
                  </a:lnTo>
                  <a:lnTo>
                    <a:pt x="8" y="44"/>
                  </a:lnTo>
                  <a:lnTo>
                    <a:pt x="8" y="28"/>
                  </a:lnTo>
                  <a:lnTo>
                    <a:pt x="10" y="18"/>
                  </a:lnTo>
                  <a:lnTo>
                    <a:pt x="6" y="1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73" name="Freeform 79">
              <a:extLst>
                <a:ext uri="{FF2B5EF4-FFF2-40B4-BE49-F238E27FC236}">
                  <a16:creationId xmlns:a16="http://schemas.microsoft.com/office/drawing/2014/main" id="{18047015-1635-4EDF-A4E6-DAB7E130493D}"/>
                </a:ext>
              </a:extLst>
            </p:cNvPr>
            <p:cNvSpPr>
              <a:spLocks/>
            </p:cNvSpPr>
            <p:nvPr/>
          </p:nvSpPr>
          <p:spPr bwMode="auto">
            <a:xfrm>
              <a:off x="2471517" y="4791053"/>
              <a:ext cx="475353" cy="325871"/>
            </a:xfrm>
            <a:custGeom>
              <a:avLst/>
              <a:gdLst>
                <a:gd name="T0" fmla="*/ 6 w 318"/>
                <a:gd name="T1" fmla="*/ 18 h 218"/>
                <a:gd name="T2" fmla="*/ 20 w 318"/>
                <a:gd name="T3" fmla="*/ 18 h 218"/>
                <a:gd name="T4" fmla="*/ 34 w 318"/>
                <a:gd name="T5" fmla="*/ 18 h 218"/>
                <a:gd name="T6" fmla="*/ 46 w 318"/>
                <a:gd name="T7" fmla="*/ 26 h 218"/>
                <a:gd name="T8" fmla="*/ 60 w 318"/>
                <a:gd name="T9" fmla="*/ 36 h 218"/>
                <a:gd name="T10" fmla="*/ 74 w 318"/>
                <a:gd name="T11" fmla="*/ 36 h 218"/>
                <a:gd name="T12" fmla="*/ 88 w 318"/>
                <a:gd name="T13" fmla="*/ 26 h 218"/>
                <a:gd name="T14" fmla="*/ 102 w 318"/>
                <a:gd name="T15" fmla="*/ 26 h 218"/>
                <a:gd name="T16" fmla="*/ 116 w 318"/>
                <a:gd name="T17" fmla="*/ 26 h 218"/>
                <a:gd name="T18" fmla="*/ 128 w 318"/>
                <a:gd name="T19" fmla="*/ 36 h 218"/>
                <a:gd name="T20" fmla="*/ 134 w 318"/>
                <a:gd name="T21" fmla="*/ 36 h 218"/>
                <a:gd name="T22" fmla="*/ 148 w 318"/>
                <a:gd name="T23" fmla="*/ 42 h 218"/>
                <a:gd name="T24" fmla="*/ 160 w 318"/>
                <a:gd name="T25" fmla="*/ 42 h 218"/>
                <a:gd name="T26" fmla="*/ 176 w 318"/>
                <a:gd name="T27" fmla="*/ 36 h 218"/>
                <a:gd name="T28" fmla="*/ 176 w 318"/>
                <a:gd name="T29" fmla="*/ 18 h 218"/>
                <a:gd name="T30" fmla="*/ 188 w 318"/>
                <a:gd name="T31" fmla="*/ 18 h 218"/>
                <a:gd name="T32" fmla="*/ 202 w 318"/>
                <a:gd name="T33" fmla="*/ 10 h 218"/>
                <a:gd name="T34" fmla="*/ 216 w 318"/>
                <a:gd name="T35" fmla="*/ 0 h 218"/>
                <a:gd name="T36" fmla="*/ 228 w 318"/>
                <a:gd name="T37" fmla="*/ 10 h 218"/>
                <a:gd name="T38" fmla="*/ 250 w 318"/>
                <a:gd name="T39" fmla="*/ 18 h 218"/>
                <a:gd name="T40" fmla="*/ 270 w 318"/>
                <a:gd name="T41" fmla="*/ 18 h 218"/>
                <a:gd name="T42" fmla="*/ 278 w 318"/>
                <a:gd name="T43" fmla="*/ 10 h 218"/>
                <a:gd name="T44" fmla="*/ 290 w 318"/>
                <a:gd name="T45" fmla="*/ 0 h 218"/>
                <a:gd name="T46" fmla="*/ 306 w 318"/>
                <a:gd name="T47" fmla="*/ 10 h 218"/>
                <a:gd name="T48" fmla="*/ 312 w 318"/>
                <a:gd name="T49" fmla="*/ 28 h 218"/>
                <a:gd name="T50" fmla="*/ 318 w 318"/>
                <a:gd name="T51" fmla="*/ 44 h 218"/>
                <a:gd name="T52" fmla="*/ 312 w 318"/>
                <a:gd name="T53" fmla="*/ 62 h 218"/>
                <a:gd name="T54" fmla="*/ 318 w 318"/>
                <a:gd name="T55" fmla="*/ 78 h 218"/>
                <a:gd name="T56" fmla="*/ 318 w 318"/>
                <a:gd name="T57" fmla="*/ 98 h 218"/>
                <a:gd name="T58" fmla="*/ 312 w 318"/>
                <a:gd name="T59" fmla="*/ 112 h 218"/>
                <a:gd name="T60" fmla="*/ 306 w 318"/>
                <a:gd name="T61" fmla="*/ 130 h 218"/>
                <a:gd name="T62" fmla="*/ 306 w 318"/>
                <a:gd name="T63" fmla="*/ 148 h 218"/>
                <a:gd name="T64" fmla="*/ 290 w 318"/>
                <a:gd name="T65" fmla="*/ 172 h 218"/>
                <a:gd name="T66" fmla="*/ 278 w 318"/>
                <a:gd name="T67" fmla="*/ 180 h 218"/>
                <a:gd name="T68" fmla="*/ 256 w 318"/>
                <a:gd name="T69" fmla="*/ 200 h 218"/>
                <a:gd name="T70" fmla="*/ 256 w 318"/>
                <a:gd name="T71" fmla="*/ 200 h 218"/>
                <a:gd name="T72" fmla="*/ 236 w 318"/>
                <a:gd name="T73" fmla="*/ 218 h 218"/>
                <a:gd name="T74" fmla="*/ 222 w 318"/>
                <a:gd name="T75" fmla="*/ 218 h 218"/>
                <a:gd name="T76" fmla="*/ 210 w 318"/>
                <a:gd name="T77" fmla="*/ 206 h 218"/>
                <a:gd name="T78" fmla="*/ 222 w 318"/>
                <a:gd name="T79" fmla="*/ 200 h 218"/>
                <a:gd name="T80" fmla="*/ 236 w 318"/>
                <a:gd name="T81" fmla="*/ 180 h 218"/>
                <a:gd name="T82" fmla="*/ 244 w 318"/>
                <a:gd name="T83" fmla="*/ 164 h 218"/>
                <a:gd name="T84" fmla="*/ 228 w 318"/>
                <a:gd name="T85" fmla="*/ 154 h 218"/>
                <a:gd name="T86" fmla="*/ 216 w 318"/>
                <a:gd name="T87" fmla="*/ 164 h 218"/>
                <a:gd name="T88" fmla="*/ 204 w 318"/>
                <a:gd name="T89" fmla="*/ 154 h 218"/>
                <a:gd name="T90" fmla="*/ 188 w 318"/>
                <a:gd name="T91" fmla="*/ 138 h 218"/>
                <a:gd name="T92" fmla="*/ 176 w 318"/>
                <a:gd name="T93" fmla="*/ 130 h 218"/>
                <a:gd name="T94" fmla="*/ 160 w 318"/>
                <a:gd name="T95" fmla="*/ 120 h 218"/>
                <a:gd name="T96" fmla="*/ 150 w 318"/>
                <a:gd name="T97" fmla="*/ 112 h 218"/>
                <a:gd name="T98" fmla="*/ 128 w 318"/>
                <a:gd name="T99" fmla="*/ 104 h 218"/>
                <a:gd name="T100" fmla="*/ 116 w 318"/>
                <a:gd name="T101" fmla="*/ 104 h 218"/>
                <a:gd name="T102" fmla="*/ 102 w 318"/>
                <a:gd name="T103" fmla="*/ 98 h 218"/>
                <a:gd name="T104" fmla="*/ 88 w 318"/>
                <a:gd name="T105" fmla="*/ 88 h 218"/>
                <a:gd name="T106" fmla="*/ 74 w 318"/>
                <a:gd name="T107" fmla="*/ 78 h 218"/>
                <a:gd name="T108" fmla="*/ 52 w 318"/>
                <a:gd name="T109" fmla="*/ 78 h 218"/>
                <a:gd name="T110" fmla="*/ 40 w 318"/>
                <a:gd name="T111" fmla="*/ 78 h 218"/>
                <a:gd name="T112" fmla="*/ 26 w 318"/>
                <a:gd name="T113" fmla="*/ 78 h 218"/>
                <a:gd name="T114" fmla="*/ 12 w 318"/>
                <a:gd name="T115" fmla="*/ 70 h 218"/>
                <a:gd name="T116" fmla="*/ 0 w 318"/>
                <a:gd name="T117" fmla="*/ 62 h 218"/>
                <a:gd name="T118" fmla="*/ 8 w 318"/>
                <a:gd name="T119" fmla="*/ 44 h 218"/>
                <a:gd name="T120" fmla="*/ 8 w 318"/>
                <a:gd name="T121" fmla="*/ 28 h 218"/>
                <a:gd name="T122" fmla="*/ 10 w 318"/>
                <a:gd name="T123" fmla="*/ 18 h 218"/>
                <a:gd name="T124" fmla="*/ 6 w 318"/>
                <a:gd name="T125" fmla="*/ 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8" h="218">
                  <a:moveTo>
                    <a:pt x="6" y="18"/>
                  </a:moveTo>
                  <a:lnTo>
                    <a:pt x="20" y="18"/>
                  </a:lnTo>
                  <a:lnTo>
                    <a:pt x="34" y="18"/>
                  </a:lnTo>
                  <a:lnTo>
                    <a:pt x="46" y="26"/>
                  </a:lnTo>
                  <a:lnTo>
                    <a:pt x="60" y="36"/>
                  </a:lnTo>
                  <a:lnTo>
                    <a:pt x="74" y="36"/>
                  </a:lnTo>
                  <a:lnTo>
                    <a:pt x="88" y="26"/>
                  </a:lnTo>
                  <a:lnTo>
                    <a:pt x="102" y="26"/>
                  </a:lnTo>
                  <a:lnTo>
                    <a:pt x="116" y="26"/>
                  </a:lnTo>
                  <a:lnTo>
                    <a:pt x="128" y="36"/>
                  </a:lnTo>
                  <a:lnTo>
                    <a:pt x="134" y="36"/>
                  </a:lnTo>
                  <a:lnTo>
                    <a:pt x="148" y="42"/>
                  </a:lnTo>
                  <a:lnTo>
                    <a:pt x="160" y="42"/>
                  </a:lnTo>
                  <a:lnTo>
                    <a:pt x="176" y="36"/>
                  </a:lnTo>
                  <a:lnTo>
                    <a:pt x="176" y="18"/>
                  </a:lnTo>
                  <a:lnTo>
                    <a:pt x="188" y="18"/>
                  </a:lnTo>
                  <a:lnTo>
                    <a:pt x="202" y="10"/>
                  </a:lnTo>
                  <a:lnTo>
                    <a:pt x="216" y="0"/>
                  </a:lnTo>
                  <a:lnTo>
                    <a:pt x="228" y="10"/>
                  </a:lnTo>
                  <a:lnTo>
                    <a:pt x="250" y="18"/>
                  </a:lnTo>
                  <a:lnTo>
                    <a:pt x="270" y="18"/>
                  </a:lnTo>
                  <a:lnTo>
                    <a:pt x="278" y="10"/>
                  </a:lnTo>
                  <a:lnTo>
                    <a:pt x="290" y="0"/>
                  </a:lnTo>
                  <a:lnTo>
                    <a:pt x="306" y="10"/>
                  </a:lnTo>
                  <a:lnTo>
                    <a:pt x="312" y="28"/>
                  </a:lnTo>
                  <a:lnTo>
                    <a:pt x="318" y="44"/>
                  </a:lnTo>
                  <a:lnTo>
                    <a:pt x="312" y="62"/>
                  </a:lnTo>
                  <a:lnTo>
                    <a:pt x="318" y="78"/>
                  </a:lnTo>
                  <a:lnTo>
                    <a:pt x="318" y="98"/>
                  </a:lnTo>
                  <a:lnTo>
                    <a:pt x="312" y="112"/>
                  </a:lnTo>
                  <a:lnTo>
                    <a:pt x="306" y="130"/>
                  </a:lnTo>
                  <a:lnTo>
                    <a:pt x="306" y="148"/>
                  </a:lnTo>
                  <a:lnTo>
                    <a:pt x="290" y="172"/>
                  </a:lnTo>
                  <a:lnTo>
                    <a:pt x="278" y="180"/>
                  </a:lnTo>
                  <a:lnTo>
                    <a:pt x="256" y="200"/>
                  </a:lnTo>
                  <a:lnTo>
                    <a:pt x="256" y="200"/>
                  </a:lnTo>
                  <a:lnTo>
                    <a:pt x="236" y="218"/>
                  </a:lnTo>
                  <a:lnTo>
                    <a:pt x="222" y="218"/>
                  </a:lnTo>
                  <a:lnTo>
                    <a:pt x="210" y="206"/>
                  </a:lnTo>
                  <a:lnTo>
                    <a:pt x="222" y="200"/>
                  </a:lnTo>
                  <a:lnTo>
                    <a:pt x="236" y="180"/>
                  </a:lnTo>
                  <a:lnTo>
                    <a:pt x="244" y="164"/>
                  </a:lnTo>
                  <a:lnTo>
                    <a:pt x="228" y="154"/>
                  </a:lnTo>
                  <a:lnTo>
                    <a:pt x="216" y="164"/>
                  </a:lnTo>
                  <a:lnTo>
                    <a:pt x="204" y="154"/>
                  </a:lnTo>
                  <a:lnTo>
                    <a:pt x="188" y="138"/>
                  </a:lnTo>
                  <a:lnTo>
                    <a:pt x="176" y="130"/>
                  </a:lnTo>
                  <a:lnTo>
                    <a:pt x="160" y="120"/>
                  </a:lnTo>
                  <a:lnTo>
                    <a:pt x="150" y="112"/>
                  </a:lnTo>
                  <a:lnTo>
                    <a:pt x="128" y="104"/>
                  </a:lnTo>
                  <a:lnTo>
                    <a:pt x="116" y="104"/>
                  </a:lnTo>
                  <a:lnTo>
                    <a:pt x="102" y="98"/>
                  </a:lnTo>
                  <a:lnTo>
                    <a:pt x="88" y="88"/>
                  </a:lnTo>
                  <a:lnTo>
                    <a:pt x="74" y="78"/>
                  </a:lnTo>
                  <a:lnTo>
                    <a:pt x="52" y="78"/>
                  </a:lnTo>
                  <a:lnTo>
                    <a:pt x="40" y="78"/>
                  </a:lnTo>
                  <a:lnTo>
                    <a:pt x="26" y="78"/>
                  </a:lnTo>
                  <a:lnTo>
                    <a:pt x="12" y="70"/>
                  </a:lnTo>
                  <a:lnTo>
                    <a:pt x="0" y="62"/>
                  </a:lnTo>
                  <a:lnTo>
                    <a:pt x="8" y="44"/>
                  </a:lnTo>
                  <a:lnTo>
                    <a:pt x="8" y="28"/>
                  </a:lnTo>
                  <a:lnTo>
                    <a:pt x="10" y="18"/>
                  </a:lnTo>
                  <a:lnTo>
                    <a:pt x="6" y="18"/>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74" name="Freeform 80">
              <a:extLst>
                <a:ext uri="{FF2B5EF4-FFF2-40B4-BE49-F238E27FC236}">
                  <a16:creationId xmlns:a16="http://schemas.microsoft.com/office/drawing/2014/main" id="{D1319C0D-DFED-4B26-9138-F21034FEA06D}"/>
                </a:ext>
              </a:extLst>
            </p:cNvPr>
            <p:cNvSpPr>
              <a:spLocks/>
            </p:cNvSpPr>
            <p:nvPr/>
          </p:nvSpPr>
          <p:spPr bwMode="auto">
            <a:xfrm>
              <a:off x="2157605" y="4883732"/>
              <a:ext cx="693597" cy="645762"/>
            </a:xfrm>
            <a:custGeom>
              <a:avLst/>
              <a:gdLst>
                <a:gd name="T0" fmla="*/ 444 w 464"/>
                <a:gd name="T1" fmla="*/ 156 h 432"/>
                <a:gd name="T2" fmla="*/ 416 w 464"/>
                <a:gd name="T3" fmla="*/ 146 h 432"/>
                <a:gd name="T4" fmla="*/ 444 w 464"/>
                <a:gd name="T5" fmla="*/ 120 h 432"/>
                <a:gd name="T6" fmla="*/ 436 w 464"/>
                <a:gd name="T7" fmla="*/ 92 h 432"/>
                <a:gd name="T8" fmla="*/ 412 w 464"/>
                <a:gd name="T9" fmla="*/ 92 h 432"/>
                <a:gd name="T10" fmla="*/ 384 w 464"/>
                <a:gd name="T11" fmla="*/ 68 h 432"/>
                <a:gd name="T12" fmla="*/ 358 w 464"/>
                <a:gd name="T13" fmla="*/ 50 h 432"/>
                <a:gd name="T14" fmla="*/ 322 w 464"/>
                <a:gd name="T15" fmla="*/ 42 h 432"/>
                <a:gd name="T16" fmla="*/ 298 w 464"/>
                <a:gd name="T17" fmla="*/ 26 h 432"/>
                <a:gd name="T18" fmla="*/ 262 w 464"/>
                <a:gd name="T19" fmla="*/ 16 h 432"/>
                <a:gd name="T20" fmla="*/ 236 w 464"/>
                <a:gd name="T21" fmla="*/ 16 h 432"/>
                <a:gd name="T22" fmla="*/ 208 w 464"/>
                <a:gd name="T23" fmla="*/ 0 h 432"/>
                <a:gd name="T24" fmla="*/ 188 w 464"/>
                <a:gd name="T25" fmla="*/ 16 h 432"/>
                <a:gd name="T26" fmla="*/ 160 w 464"/>
                <a:gd name="T27" fmla="*/ 26 h 432"/>
                <a:gd name="T28" fmla="*/ 136 w 464"/>
                <a:gd name="T29" fmla="*/ 50 h 432"/>
                <a:gd name="T30" fmla="*/ 106 w 464"/>
                <a:gd name="T31" fmla="*/ 76 h 432"/>
                <a:gd name="T32" fmla="*/ 80 w 464"/>
                <a:gd name="T33" fmla="*/ 112 h 432"/>
                <a:gd name="T34" fmla="*/ 52 w 464"/>
                <a:gd name="T35" fmla="*/ 146 h 432"/>
                <a:gd name="T36" fmla="*/ 20 w 464"/>
                <a:gd name="T37" fmla="*/ 188 h 432"/>
                <a:gd name="T38" fmla="*/ 0 w 464"/>
                <a:gd name="T39" fmla="*/ 224 h 432"/>
                <a:gd name="T40" fmla="*/ 26 w 464"/>
                <a:gd name="T41" fmla="*/ 216 h 432"/>
                <a:gd name="T42" fmla="*/ 60 w 464"/>
                <a:gd name="T43" fmla="*/ 216 h 432"/>
                <a:gd name="T44" fmla="*/ 88 w 464"/>
                <a:gd name="T45" fmla="*/ 250 h 432"/>
                <a:gd name="T46" fmla="*/ 112 w 464"/>
                <a:gd name="T47" fmla="*/ 260 h 432"/>
                <a:gd name="T48" fmla="*/ 140 w 464"/>
                <a:gd name="T49" fmla="*/ 276 h 432"/>
                <a:gd name="T50" fmla="*/ 168 w 464"/>
                <a:gd name="T51" fmla="*/ 292 h 432"/>
                <a:gd name="T52" fmla="*/ 196 w 464"/>
                <a:gd name="T53" fmla="*/ 310 h 432"/>
                <a:gd name="T54" fmla="*/ 220 w 464"/>
                <a:gd name="T55" fmla="*/ 344 h 432"/>
                <a:gd name="T56" fmla="*/ 250 w 464"/>
                <a:gd name="T57" fmla="*/ 372 h 432"/>
                <a:gd name="T58" fmla="*/ 242 w 464"/>
                <a:gd name="T59" fmla="*/ 398 h 432"/>
                <a:gd name="T60" fmla="*/ 236 w 464"/>
                <a:gd name="T61" fmla="*/ 432 h 432"/>
                <a:gd name="T62" fmla="*/ 262 w 464"/>
                <a:gd name="T63" fmla="*/ 422 h 432"/>
                <a:gd name="T64" fmla="*/ 290 w 464"/>
                <a:gd name="T65" fmla="*/ 398 h 432"/>
                <a:gd name="T66" fmla="*/ 302 w 464"/>
                <a:gd name="T67" fmla="*/ 362 h 432"/>
                <a:gd name="T68" fmla="*/ 322 w 464"/>
                <a:gd name="T69" fmla="*/ 338 h 432"/>
                <a:gd name="T70" fmla="*/ 350 w 464"/>
                <a:gd name="T71" fmla="*/ 310 h 432"/>
                <a:gd name="T72" fmla="*/ 378 w 464"/>
                <a:gd name="T73" fmla="*/ 286 h 432"/>
                <a:gd name="T74" fmla="*/ 402 w 464"/>
                <a:gd name="T75" fmla="*/ 260 h 432"/>
                <a:gd name="T76" fmla="*/ 416 w 464"/>
                <a:gd name="T77" fmla="*/ 216 h 432"/>
                <a:gd name="T78" fmla="*/ 444 w 464"/>
                <a:gd name="T79" fmla="*/ 172 h 432"/>
                <a:gd name="T80" fmla="*/ 464 w 464"/>
                <a:gd name="T81" fmla="*/ 14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64" h="432">
                  <a:moveTo>
                    <a:pt x="464" y="142"/>
                  </a:moveTo>
                  <a:lnTo>
                    <a:pt x="444" y="156"/>
                  </a:lnTo>
                  <a:lnTo>
                    <a:pt x="430" y="156"/>
                  </a:lnTo>
                  <a:lnTo>
                    <a:pt x="416" y="146"/>
                  </a:lnTo>
                  <a:lnTo>
                    <a:pt x="430" y="138"/>
                  </a:lnTo>
                  <a:lnTo>
                    <a:pt x="444" y="120"/>
                  </a:lnTo>
                  <a:lnTo>
                    <a:pt x="452" y="104"/>
                  </a:lnTo>
                  <a:lnTo>
                    <a:pt x="436" y="92"/>
                  </a:lnTo>
                  <a:lnTo>
                    <a:pt x="424" y="104"/>
                  </a:lnTo>
                  <a:lnTo>
                    <a:pt x="412" y="92"/>
                  </a:lnTo>
                  <a:lnTo>
                    <a:pt x="396" y="76"/>
                  </a:lnTo>
                  <a:lnTo>
                    <a:pt x="384" y="68"/>
                  </a:lnTo>
                  <a:lnTo>
                    <a:pt x="370" y="60"/>
                  </a:lnTo>
                  <a:lnTo>
                    <a:pt x="358" y="50"/>
                  </a:lnTo>
                  <a:lnTo>
                    <a:pt x="338" y="42"/>
                  </a:lnTo>
                  <a:lnTo>
                    <a:pt x="322" y="42"/>
                  </a:lnTo>
                  <a:lnTo>
                    <a:pt x="310" y="36"/>
                  </a:lnTo>
                  <a:lnTo>
                    <a:pt x="298" y="26"/>
                  </a:lnTo>
                  <a:lnTo>
                    <a:pt x="282" y="16"/>
                  </a:lnTo>
                  <a:lnTo>
                    <a:pt x="262" y="16"/>
                  </a:lnTo>
                  <a:lnTo>
                    <a:pt x="250" y="16"/>
                  </a:lnTo>
                  <a:lnTo>
                    <a:pt x="236" y="16"/>
                  </a:lnTo>
                  <a:lnTo>
                    <a:pt x="220" y="8"/>
                  </a:lnTo>
                  <a:lnTo>
                    <a:pt x="208" y="0"/>
                  </a:lnTo>
                  <a:lnTo>
                    <a:pt x="202" y="8"/>
                  </a:lnTo>
                  <a:lnTo>
                    <a:pt x="188" y="16"/>
                  </a:lnTo>
                  <a:lnTo>
                    <a:pt x="174" y="16"/>
                  </a:lnTo>
                  <a:lnTo>
                    <a:pt x="160" y="26"/>
                  </a:lnTo>
                  <a:lnTo>
                    <a:pt x="148" y="42"/>
                  </a:lnTo>
                  <a:lnTo>
                    <a:pt x="136" y="50"/>
                  </a:lnTo>
                  <a:lnTo>
                    <a:pt x="120" y="68"/>
                  </a:lnTo>
                  <a:lnTo>
                    <a:pt x="106" y="76"/>
                  </a:lnTo>
                  <a:lnTo>
                    <a:pt x="94" y="92"/>
                  </a:lnTo>
                  <a:lnTo>
                    <a:pt x="80" y="112"/>
                  </a:lnTo>
                  <a:lnTo>
                    <a:pt x="68" y="128"/>
                  </a:lnTo>
                  <a:lnTo>
                    <a:pt x="52" y="146"/>
                  </a:lnTo>
                  <a:lnTo>
                    <a:pt x="40" y="164"/>
                  </a:lnTo>
                  <a:lnTo>
                    <a:pt x="20" y="188"/>
                  </a:lnTo>
                  <a:lnTo>
                    <a:pt x="6" y="208"/>
                  </a:lnTo>
                  <a:lnTo>
                    <a:pt x="0" y="224"/>
                  </a:lnTo>
                  <a:lnTo>
                    <a:pt x="14" y="224"/>
                  </a:lnTo>
                  <a:lnTo>
                    <a:pt x="26" y="216"/>
                  </a:lnTo>
                  <a:lnTo>
                    <a:pt x="40" y="208"/>
                  </a:lnTo>
                  <a:lnTo>
                    <a:pt x="60" y="216"/>
                  </a:lnTo>
                  <a:lnTo>
                    <a:pt x="74" y="224"/>
                  </a:lnTo>
                  <a:lnTo>
                    <a:pt x="88" y="250"/>
                  </a:lnTo>
                  <a:lnTo>
                    <a:pt x="98" y="260"/>
                  </a:lnTo>
                  <a:lnTo>
                    <a:pt x="112" y="260"/>
                  </a:lnTo>
                  <a:lnTo>
                    <a:pt x="128" y="266"/>
                  </a:lnTo>
                  <a:lnTo>
                    <a:pt x="140" y="276"/>
                  </a:lnTo>
                  <a:lnTo>
                    <a:pt x="154" y="286"/>
                  </a:lnTo>
                  <a:lnTo>
                    <a:pt x="168" y="292"/>
                  </a:lnTo>
                  <a:lnTo>
                    <a:pt x="182" y="302"/>
                  </a:lnTo>
                  <a:lnTo>
                    <a:pt x="196" y="310"/>
                  </a:lnTo>
                  <a:lnTo>
                    <a:pt x="208" y="328"/>
                  </a:lnTo>
                  <a:lnTo>
                    <a:pt x="220" y="344"/>
                  </a:lnTo>
                  <a:lnTo>
                    <a:pt x="236" y="354"/>
                  </a:lnTo>
                  <a:lnTo>
                    <a:pt x="250" y="372"/>
                  </a:lnTo>
                  <a:lnTo>
                    <a:pt x="256" y="390"/>
                  </a:lnTo>
                  <a:lnTo>
                    <a:pt x="242" y="398"/>
                  </a:lnTo>
                  <a:lnTo>
                    <a:pt x="236" y="414"/>
                  </a:lnTo>
                  <a:lnTo>
                    <a:pt x="236" y="432"/>
                  </a:lnTo>
                  <a:lnTo>
                    <a:pt x="250" y="432"/>
                  </a:lnTo>
                  <a:lnTo>
                    <a:pt x="262" y="422"/>
                  </a:lnTo>
                  <a:lnTo>
                    <a:pt x="276" y="414"/>
                  </a:lnTo>
                  <a:lnTo>
                    <a:pt x="290" y="398"/>
                  </a:lnTo>
                  <a:lnTo>
                    <a:pt x="298" y="380"/>
                  </a:lnTo>
                  <a:lnTo>
                    <a:pt x="302" y="362"/>
                  </a:lnTo>
                  <a:lnTo>
                    <a:pt x="310" y="344"/>
                  </a:lnTo>
                  <a:lnTo>
                    <a:pt x="322" y="338"/>
                  </a:lnTo>
                  <a:lnTo>
                    <a:pt x="338" y="318"/>
                  </a:lnTo>
                  <a:lnTo>
                    <a:pt x="350" y="310"/>
                  </a:lnTo>
                  <a:lnTo>
                    <a:pt x="364" y="302"/>
                  </a:lnTo>
                  <a:lnTo>
                    <a:pt x="378" y="286"/>
                  </a:lnTo>
                  <a:lnTo>
                    <a:pt x="392" y="276"/>
                  </a:lnTo>
                  <a:lnTo>
                    <a:pt x="402" y="260"/>
                  </a:lnTo>
                  <a:lnTo>
                    <a:pt x="412" y="242"/>
                  </a:lnTo>
                  <a:lnTo>
                    <a:pt x="416" y="216"/>
                  </a:lnTo>
                  <a:lnTo>
                    <a:pt x="424" y="198"/>
                  </a:lnTo>
                  <a:lnTo>
                    <a:pt x="444" y="172"/>
                  </a:lnTo>
                  <a:lnTo>
                    <a:pt x="458" y="156"/>
                  </a:lnTo>
                  <a:lnTo>
                    <a:pt x="464" y="14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75" name="Freeform 81">
              <a:extLst>
                <a:ext uri="{FF2B5EF4-FFF2-40B4-BE49-F238E27FC236}">
                  <a16:creationId xmlns:a16="http://schemas.microsoft.com/office/drawing/2014/main" id="{162D61B2-6C38-4C0F-BA18-6CD3DEB73E16}"/>
                </a:ext>
              </a:extLst>
            </p:cNvPr>
            <p:cNvSpPr>
              <a:spLocks/>
            </p:cNvSpPr>
            <p:nvPr/>
          </p:nvSpPr>
          <p:spPr bwMode="auto">
            <a:xfrm>
              <a:off x="2157605" y="4883732"/>
              <a:ext cx="693597" cy="645762"/>
            </a:xfrm>
            <a:custGeom>
              <a:avLst/>
              <a:gdLst>
                <a:gd name="T0" fmla="*/ 444 w 464"/>
                <a:gd name="T1" fmla="*/ 156 h 432"/>
                <a:gd name="T2" fmla="*/ 416 w 464"/>
                <a:gd name="T3" fmla="*/ 146 h 432"/>
                <a:gd name="T4" fmla="*/ 444 w 464"/>
                <a:gd name="T5" fmla="*/ 120 h 432"/>
                <a:gd name="T6" fmla="*/ 436 w 464"/>
                <a:gd name="T7" fmla="*/ 92 h 432"/>
                <a:gd name="T8" fmla="*/ 412 w 464"/>
                <a:gd name="T9" fmla="*/ 92 h 432"/>
                <a:gd name="T10" fmla="*/ 384 w 464"/>
                <a:gd name="T11" fmla="*/ 68 h 432"/>
                <a:gd name="T12" fmla="*/ 358 w 464"/>
                <a:gd name="T13" fmla="*/ 50 h 432"/>
                <a:gd name="T14" fmla="*/ 322 w 464"/>
                <a:gd name="T15" fmla="*/ 42 h 432"/>
                <a:gd name="T16" fmla="*/ 298 w 464"/>
                <a:gd name="T17" fmla="*/ 26 h 432"/>
                <a:gd name="T18" fmla="*/ 262 w 464"/>
                <a:gd name="T19" fmla="*/ 16 h 432"/>
                <a:gd name="T20" fmla="*/ 236 w 464"/>
                <a:gd name="T21" fmla="*/ 16 h 432"/>
                <a:gd name="T22" fmla="*/ 208 w 464"/>
                <a:gd name="T23" fmla="*/ 0 h 432"/>
                <a:gd name="T24" fmla="*/ 188 w 464"/>
                <a:gd name="T25" fmla="*/ 16 h 432"/>
                <a:gd name="T26" fmla="*/ 160 w 464"/>
                <a:gd name="T27" fmla="*/ 26 h 432"/>
                <a:gd name="T28" fmla="*/ 136 w 464"/>
                <a:gd name="T29" fmla="*/ 50 h 432"/>
                <a:gd name="T30" fmla="*/ 106 w 464"/>
                <a:gd name="T31" fmla="*/ 76 h 432"/>
                <a:gd name="T32" fmla="*/ 80 w 464"/>
                <a:gd name="T33" fmla="*/ 112 h 432"/>
                <a:gd name="T34" fmla="*/ 52 w 464"/>
                <a:gd name="T35" fmla="*/ 146 h 432"/>
                <a:gd name="T36" fmla="*/ 20 w 464"/>
                <a:gd name="T37" fmla="*/ 188 h 432"/>
                <a:gd name="T38" fmla="*/ 0 w 464"/>
                <a:gd name="T39" fmla="*/ 224 h 432"/>
                <a:gd name="T40" fmla="*/ 26 w 464"/>
                <a:gd name="T41" fmla="*/ 216 h 432"/>
                <a:gd name="T42" fmla="*/ 60 w 464"/>
                <a:gd name="T43" fmla="*/ 216 h 432"/>
                <a:gd name="T44" fmla="*/ 88 w 464"/>
                <a:gd name="T45" fmla="*/ 250 h 432"/>
                <a:gd name="T46" fmla="*/ 112 w 464"/>
                <a:gd name="T47" fmla="*/ 260 h 432"/>
                <a:gd name="T48" fmla="*/ 140 w 464"/>
                <a:gd name="T49" fmla="*/ 276 h 432"/>
                <a:gd name="T50" fmla="*/ 168 w 464"/>
                <a:gd name="T51" fmla="*/ 292 h 432"/>
                <a:gd name="T52" fmla="*/ 196 w 464"/>
                <a:gd name="T53" fmla="*/ 310 h 432"/>
                <a:gd name="T54" fmla="*/ 220 w 464"/>
                <a:gd name="T55" fmla="*/ 344 h 432"/>
                <a:gd name="T56" fmla="*/ 250 w 464"/>
                <a:gd name="T57" fmla="*/ 372 h 432"/>
                <a:gd name="T58" fmla="*/ 242 w 464"/>
                <a:gd name="T59" fmla="*/ 398 h 432"/>
                <a:gd name="T60" fmla="*/ 236 w 464"/>
                <a:gd name="T61" fmla="*/ 432 h 432"/>
                <a:gd name="T62" fmla="*/ 262 w 464"/>
                <a:gd name="T63" fmla="*/ 422 h 432"/>
                <a:gd name="T64" fmla="*/ 290 w 464"/>
                <a:gd name="T65" fmla="*/ 398 h 432"/>
                <a:gd name="T66" fmla="*/ 302 w 464"/>
                <a:gd name="T67" fmla="*/ 362 h 432"/>
                <a:gd name="T68" fmla="*/ 322 w 464"/>
                <a:gd name="T69" fmla="*/ 338 h 432"/>
                <a:gd name="T70" fmla="*/ 350 w 464"/>
                <a:gd name="T71" fmla="*/ 310 h 432"/>
                <a:gd name="T72" fmla="*/ 378 w 464"/>
                <a:gd name="T73" fmla="*/ 286 h 432"/>
                <a:gd name="T74" fmla="*/ 402 w 464"/>
                <a:gd name="T75" fmla="*/ 260 h 432"/>
                <a:gd name="T76" fmla="*/ 416 w 464"/>
                <a:gd name="T77" fmla="*/ 216 h 432"/>
                <a:gd name="T78" fmla="*/ 444 w 464"/>
                <a:gd name="T79" fmla="*/ 172 h 432"/>
                <a:gd name="T80" fmla="*/ 464 w 464"/>
                <a:gd name="T81" fmla="*/ 14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64" h="432">
                  <a:moveTo>
                    <a:pt x="464" y="142"/>
                  </a:moveTo>
                  <a:lnTo>
                    <a:pt x="444" y="156"/>
                  </a:lnTo>
                  <a:lnTo>
                    <a:pt x="430" y="156"/>
                  </a:lnTo>
                  <a:lnTo>
                    <a:pt x="416" y="146"/>
                  </a:lnTo>
                  <a:lnTo>
                    <a:pt x="430" y="138"/>
                  </a:lnTo>
                  <a:lnTo>
                    <a:pt x="444" y="120"/>
                  </a:lnTo>
                  <a:lnTo>
                    <a:pt x="452" y="104"/>
                  </a:lnTo>
                  <a:lnTo>
                    <a:pt x="436" y="92"/>
                  </a:lnTo>
                  <a:lnTo>
                    <a:pt x="424" y="104"/>
                  </a:lnTo>
                  <a:lnTo>
                    <a:pt x="412" y="92"/>
                  </a:lnTo>
                  <a:lnTo>
                    <a:pt x="396" y="76"/>
                  </a:lnTo>
                  <a:lnTo>
                    <a:pt x="384" y="68"/>
                  </a:lnTo>
                  <a:lnTo>
                    <a:pt x="370" y="60"/>
                  </a:lnTo>
                  <a:lnTo>
                    <a:pt x="358" y="50"/>
                  </a:lnTo>
                  <a:lnTo>
                    <a:pt x="338" y="42"/>
                  </a:lnTo>
                  <a:lnTo>
                    <a:pt x="322" y="42"/>
                  </a:lnTo>
                  <a:lnTo>
                    <a:pt x="310" y="36"/>
                  </a:lnTo>
                  <a:lnTo>
                    <a:pt x="298" y="26"/>
                  </a:lnTo>
                  <a:lnTo>
                    <a:pt x="282" y="16"/>
                  </a:lnTo>
                  <a:lnTo>
                    <a:pt x="262" y="16"/>
                  </a:lnTo>
                  <a:lnTo>
                    <a:pt x="250" y="16"/>
                  </a:lnTo>
                  <a:lnTo>
                    <a:pt x="236" y="16"/>
                  </a:lnTo>
                  <a:lnTo>
                    <a:pt x="220" y="8"/>
                  </a:lnTo>
                  <a:lnTo>
                    <a:pt x="208" y="0"/>
                  </a:lnTo>
                  <a:lnTo>
                    <a:pt x="202" y="8"/>
                  </a:lnTo>
                  <a:lnTo>
                    <a:pt x="188" y="16"/>
                  </a:lnTo>
                  <a:lnTo>
                    <a:pt x="174" y="16"/>
                  </a:lnTo>
                  <a:lnTo>
                    <a:pt x="160" y="26"/>
                  </a:lnTo>
                  <a:lnTo>
                    <a:pt x="148" y="42"/>
                  </a:lnTo>
                  <a:lnTo>
                    <a:pt x="136" y="50"/>
                  </a:lnTo>
                  <a:lnTo>
                    <a:pt x="120" y="68"/>
                  </a:lnTo>
                  <a:lnTo>
                    <a:pt x="106" y="76"/>
                  </a:lnTo>
                  <a:lnTo>
                    <a:pt x="94" y="92"/>
                  </a:lnTo>
                  <a:lnTo>
                    <a:pt x="80" y="112"/>
                  </a:lnTo>
                  <a:lnTo>
                    <a:pt x="68" y="128"/>
                  </a:lnTo>
                  <a:lnTo>
                    <a:pt x="52" y="146"/>
                  </a:lnTo>
                  <a:lnTo>
                    <a:pt x="40" y="164"/>
                  </a:lnTo>
                  <a:lnTo>
                    <a:pt x="20" y="188"/>
                  </a:lnTo>
                  <a:lnTo>
                    <a:pt x="6" y="208"/>
                  </a:lnTo>
                  <a:lnTo>
                    <a:pt x="0" y="224"/>
                  </a:lnTo>
                  <a:lnTo>
                    <a:pt x="14" y="224"/>
                  </a:lnTo>
                  <a:lnTo>
                    <a:pt x="26" y="216"/>
                  </a:lnTo>
                  <a:lnTo>
                    <a:pt x="40" y="208"/>
                  </a:lnTo>
                  <a:lnTo>
                    <a:pt x="60" y="216"/>
                  </a:lnTo>
                  <a:lnTo>
                    <a:pt x="74" y="224"/>
                  </a:lnTo>
                  <a:lnTo>
                    <a:pt x="88" y="250"/>
                  </a:lnTo>
                  <a:lnTo>
                    <a:pt x="98" y="260"/>
                  </a:lnTo>
                  <a:lnTo>
                    <a:pt x="112" y="260"/>
                  </a:lnTo>
                  <a:lnTo>
                    <a:pt x="128" y="266"/>
                  </a:lnTo>
                  <a:lnTo>
                    <a:pt x="140" y="276"/>
                  </a:lnTo>
                  <a:lnTo>
                    <a:pt x="154" y="286"/>
                  </a:lnTo>
                  <a:lnTo>
                    <a:pt x="168" y="292"/>
                  </a:lnTo>
                  <a:lnTo>
                    <a:pt x="182" y="302"/>
                  </a:lnTo>
                  <a:lnTo>
                    <a:pt x="196" y="310"/>
                  </a:lnTo>
                  <a:lnTo>
                    <a:pt x="208" y="328"/>
                  </a:lnTo>
                  <a:lnTo>
                    <a:pt x="220" y="344"/>
                  </a:lnTo>
                  <a:lnTo>
                    <a:pt x="236" y="354"/>
                  </a:lnTo>
                  <a:lnTo>
                    <a:pt x="250" y="372"/>
                  </a:lnTo>
                  <a:lnTo>
                    <a:pt x="256" y="390"/>
                  </a:lnTo>
                  <a:lnTo>
                    <a:pt x="242" y="398"/>
                  </a:lnTo>
                  <a:lnTo>
                    <a:pt x="236" y="414"/>
                  </a:lnTo>
                  <a:lnTo>
                    <a:pt x="236" y="432"/>
                  </a:lnTo>
                  <a:lnTo>
                    <a:pt x="250" y="432"/>
                  </a:lnTo>
                  <a:lnTo>
                    <a:pt x="262" y="422"/>
                  </a:lnTo>
                  <a:lnTo>
                    <a:pt x="276" y="414"/>
                  </a:lnTo>
                  <a:lnTo>
                    <a:pt x="290" y="398"/>
                  </a:lnTo>
                  <a:lnTo>
                    <a:pt x="298" y="380"/>
                  </a:lnTo>
                  <a:lnTo>
                    <a:pt x="302" y="362"/>
                  </a:lnTo>
                  <a:lnTo>
                    <a:pt x="310" y="344"/>
                  </a:lnTo>
                  <a:lnTo>
                    <a:pt x="322" y="338"/>
                  </a:lnTo>
                  <a:lnTo>
                    <a:pt x="338" y="318"/>
                  </a:lnTo>
                  <a:lnTo>
                    <a:pt x="350" y="310"/>
                  </a:lnTo>
                  <a:lnTo>
                    <a:pt x="364" y="302"/>
                  </a:lnTo>
                  <a:lnTo>
                    <a:pt x="378" y="286"/>
                  </a:lnTo>
                  <a:lnTo>
                    <a:pt x="392" y="276"/>
                  </a:lnTo>
                  <a:lnTo>
                    <a:pt x="402" y="260"/>
                  </a:lnTo>
                  <a:lnTo>
                    <a:pt x="412" y="242"/>
                  </a:lnTo>
                  <a:lnTo>
                    <a:pt x="416" y="216"/>
                  </a:lnTo>
                  <a:lnTo>
                    <a:pt x="424" y="198"/>
                  </a:lnTo>
                  <a:lnTo>
                    <a:pt x="444" y="172"/>
                  </a:lnTo>
                  <a:lnTo>
                    <a:pt x="458" y="156"/>
                  </a:lnTo>
                  <a:lnTo>
                    <a:pt x="464" y="142"/>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76" name="Freeform 82">
              <a:extLst>
                <a:ext uri="{FF2B5EF4-FFF2-40B4-BE49-F238E27FC236}">
                  <a16:creationId xmlns:a16="http://schemas.microsoft.com/office/drawing/2014/main" id="{F27E9963-29F4-4724-84A7-E35B2CD61E24}"/>
                </a:ext>
              </a:extLst>
            </p:cNvPr>
            <p:cNvSpPr>
              <a:spLocks/>
            </p:cNvSpPr>
            <p:nvPr/>
          </p:nvSpPr>
          <p:spPr bwMode="auto">
            <a:xfrm>
              <a:off x="3691290" y="2964383"/>
              <a:ext cx="639783" cy="221233"/>
            </a:xfrm>
            <a:custGeom>
              <a:avLst/>
              <a:gdLst>
                <a:gd name="T0" fmla="*/ 414 w 428"/>
                <a:gd name="T1" fmla="*/ 104 h 148"/>
                <a:gd name="T2" fmla="*/ 420 w 428"/>
                <a:gd name="T3" fmla="*/ 70 h 148"/>
                <a:gd name="T4" fmla="*/ 428 w 428"/>
                <a:gd name="T5" fmla="*/ 36 h 148"/>
                <a:gd name="T6" fmla="*/ 428 w 428"/>
                <a:gd name="T7" fmla="*/ 18 h 148"/>
                <a:gd name="T8" fmla="*/ 400 w 428"/>
                <a:gd name="T9" fmla="*/ 18 h 148"/>
                <a:gd name="T10" fmla="*/ 380 w 428"/>
                <a:gd name="T11" fmla="*/ 44 h 148"/>
                <a:gd name="T12" fmla="*/ 352 w 428"/>
                <a:gd name="T13" fmla="*/ 54 h 148"/>
                <a:gd name="T14" fmla="*/ 326 w 428"/>
                <a:gd name="T15" fmla="*/ 54 h 148"/>
                <a:gd name="T16" fmla="*/ 300 w 428"/>
                <a:gd name="T17" fmla="*/ 80 h 148"/>
                <a:gd name="T18" fmla="*/ 272 w 428"/>
                <a:gd name="T19" fmla="*/ 62 h 148"/>
                <a:gd name="T20" fmla="*/ 276 w 428"/>
                <a:gd name="T21" fmla="*/ 36 h 148"/>
                <a:gd name="T22" fmla="*/ 276 w 428"/>
                <a:gd name="T23" fmla="*/ 2 h 148"/>
                <a:gd name="T24" fmla="*/ 250 w 428"/>
                <a:gd name="T25" fmla="*/ 10 h 148"/>
                <a:gd name="T26" fmla="*/ 224 w 428"/>
                <a:gd name="T27" fmla="*/ 36 h 148"/>
                <a:gd name="T28" fmla="*/ 198 w 428"/>
                <a:gd name="T29" fmla="*/ 36 h 148"/>
                <a:gd name="T30" fmla="*/ 182 w 428"/>
                <a:gd name="T31" fmla="*/ 16 h 148"/>
                <a:gd name="T32" fmla="*/ 156 w 428"/>
                <a:gd name="T33" fmla="*/ 34 h 148"/>
                <a:gd name="T34" fmla="*/ 136 w 428"/>
                <a:gd name="T35" fmla="*/ 26 h 148"/>
                <a:gd name="T36" fmla="*/ 110 w 428"/>
                <a:gd name="T37" fmla="*/ 2 h 148"/>
                <a:gd name="T38" fmla="*/ 82 w 428"/>
                <a:gd name="T39" fmla="*/ 10 h 148"/>
                <a:gd name="T40" fmla="*/ 60 w 428"/>
                <a:gd name="T41" fmla="*/ 0 h 148"/>
                <a:gd name="T42" fmla="*/ 48 w 428"/>
                <a:gd name="T43" fmla="*/ 36 h 148"/>
                <a:gd name="T44" fmla="*/ 34 w 428"/>
                <a:gd name="T45" fmla="*/ 70 h 148"/>
                <a:gd name="T46" fmla="*/ 8 w 428"/>
                <a:gd name="T47" fmla="*/ 86 h 148"/>
                <a:gd name="T48" fmla="*/ 14 w 428"/>
                <a:gd name="T49" fmla="*/ 86 h 148"/>
                <a:gd name="T50" fmla="*/ 34 w 428"/>
                <a:gd name="T51" fmla="*/ 114 h 148"/>
                <a:gd name="T52" fmla="*/ 40 w 428"/>
                <a:gd name="T53" fmla="*/ 148 h 148"/>
                <a:gd name="T54" fmla="*/ 76 w 428"/>
                <a:gd name="T55" fmla="*/ 130 h 148"/>
                <a:gd name="T56" fmla="*/ 100 w 428"/>
                <a:gd name="T57" fmla="*/ 104 h 148"/>
                <a:gd name="T58" fmla="*/ 136 w 428"/>
                <a:gd name="T59" fmla="*/ 86 h 148"/>
                <a:gd name="T60" fmla="*/ 162 w 428"/>
                <a:gd name="T61" fmla="*/ 104 h 148"/>
                <a:gd name="T62" fmla="*/ 190 w 428"/>
                <a:gd name="T63" fmla="*/ 114 h 148"/>
                <a:gd name="T64" fmla="*/ 204 w 428"/>
                <a:gd name="T65" fmla="*/ 140 h 148"/>
                <a:gd name="T66" fmla="*/ 230 w 428"/>
                <a:gd name="T67" fmla="*/ 122 h 148"/>
                <a:gd name="T68" fmla="*/ 258 w 428"/>
                <a:gd name="T69" fmla="*/ 140 h 148"/>
                <a:gd name="T70" fmla="*/ 286 w 428"/>
                <a:gd name="T71" fmla="*/ 148 h 148"/>
                <a:gd name="T72" fmla="*/ 312 w 428"/>
                <a:gd name="T73" fmla="*/ 148 h 148"/>
                <a:gd name="T74" fmla="*/ 338 w 428"/>
                <a:gd name="T75" fmla="*/ 130 h 148"/>
                <a:gd name="T76" fmla="*/ 366 w 428"/>
                <a:gd name="T77" fmla="*/ 114 h 148"/>
                <a:gd name="T78" fmla="*/ 394 w 428"/>
                <a:gd name="T79" fmla="*/ 11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8" h="148">
                  <a:moveTo>
                    <a:pt x="408" y="122"/>
                  </a:moveTo>
                  <a:lnTo>
                    <a:pt x="414" y="104"/>
                  </a:lnTo>
                  <a:lnTo>
                    <a:pt x="414" y="86"/>
                  </a:lnTo>
                  <a:lnTo>
                    <a:pt x="420" y="70"/>
                  </a:lnTo>
                  <a:lnTo>
                    <a:pt x="420" y="54"/>
                  </a:lnTo>
                  <a:lnTo>
                    <a:pt x="428" y="36"/>
                  </a:lnTo>
                  <a:lnTo>
                    <a:pt x="428" y="18"/>
                  </a:lnTo>
                  <a:lnTo>
                    <a:pt x="428" y="18"/>
                  </a:lnTo>
                  <a:lnTo>
                    <a:pt x="414" y="18"/>
                  </a:lnTo>
                  <a:lnTo>
                    <a:pt x="400" y="18"/>
                  </a:lnTo>
                  <a:lnTo>
                    <a:pt x="386" y="26"/>
                  </a:lnTo>
                  <a:lnTo>
                    <a:pt x="380" y="44"/>
                  </a:lnTo>
                  <a:lnTo>
                    <a:pt x="366" y="54"/>
                  </a:lnTo>
                  <a:lnTo>
                    <a:pt x="352" y="54"/>
                  </a:lnTo>
                  <a:lnTo>
                    <a:pt x="338" y="54"/>
                  </a:lnTo>
                  <a:lnTo>
                    <a:pt x="326" y="54"/>
                  </a:lnTo>
                  <a:lnTo>
                    <a:pt x="312" y="62"/>
                  </a:lnTo>
                  <a:lnTo>
                    <a:pt x="300" y="80"/>
                  </a:lnTo>
                  <a:lnTo>
                    <a:pt x="286" y="80"/>
                  </a:lnTo>
                  <a:lnTo>
                    <a:pt x="272" y="62"/>
                  </a:lnTo>
                  <a:lnTo>
                    <a:pt x="264" y="44"/>
                  </a:lnTo>
                  <a:lnTo>
                    <a:pt x="276" y="36"/>
                  </a:lnTo>
                  <a:lnTo>
                    <a:pt x="286" y="18"/>
                  </a:lnTo>
                  <a:lnTo>
                    <a:pt x="276" y="2"/>
                  </a:lnTo>
                  <a:lnTo>
                    <a:pt x="264" y="2"/>
                  </a:lnTo>
                  <a:lnTo>
                    <a:pt x="250" y="10"/>
                  </a:lnTo>
                  <a:lnTo>
                    <a:pt x="236" y="18"/>
                  </a:lnTo>
                  <a:lnTo>
                    <a:pt x="224" y="36"/>
                  </a:lnTo>
                  <a:lnTo>
                    <a:pt x="210" y="44"/>
                  </a:lnTo>
                  <a:lnTo>
                    <a:pt x="198" y="36"/>
                  </a:lnTo>
                  <a:lnTo>
                    <a:pt x="182" y="18"/>
                  </a:lnTo>
                  <a:lnTo>
                    <a:pt x="182" y="16"/>
                  </a:lnTo>
                  <a:lnTo>
                    <a:pt x="164" y="16"/>
                  </a:lnTo>
                  <a:lnTo>
                    <a:pt x="156" y="34"/>
                  </a:lnTo>
                  <a:lnTo>
                    <a:pt x="152" y="40"/>
                  </a:lnTo>
                  <a:lnTo>
                    <a:pt x="136" y="26"/>
                  </a:lnTo>
                  <a:lnTo>
                    <a:pt x="122" y="10"/>
                  </a:lnTo>
                  <a:lnTo>
                    <a:pt x="110" y="2"/>
                  </a:lnTo>
                  <a:lnTo>
                    <a:pt x="96" y="2"/>
                  </a:lnTo>
                  <a:lnTo>
                    <a:pt x="82" y="10"/>
                  </a:lnTo>
                  <a:lnTo>
                    <a:pt x="68" y="10"/>
                  </a:lnTo>
                  <a:lnTo>
                    <a:pt x="60" y="0"/>
                  </a:lnTo>
                  <a:lnTo>
                    <a:pt x="48" y="18"/>
                  </a:lnTo>
                  <a:lnTo>
                    <a:pt x="48" y="36"/>
                  </a:lnTo>
                  <a:lnTo>
                    <a:pt x="48" y="54"/>
                  </a:lnTo>
                  <a:lnTo>
                    <a:pt x="34" y="70"/>
                  </a:lnTo>
                  <a:lnTo>
                    <a:pt x="20" y="70"/>
                  </a:lnTo>
                  <a:lnTo>
                    <a:pt x="8" y="86"/>
                  </a:lnTo>
                  <a:lnTo>
                    <a:pt x="0" y="86"/>
                  </a:lnTo>
                  <a:lnTo>
                    <a:pt x="14" y="86"/>
                  </a:lnTo>
                  <a:lnTo>
                    <a:pt x="20" y="104"/>
                  </a:lnTo>
                  <a:lnTo>
                    <a:pt x="34" y="114"/>
                  </a:lnTo>
                  <a:lnTo>
                    <a:pt x="34" y="130"/>
                  </a:lnTo>
                  <a:lnTo>
                    <a:pt x="40" y="148"/>
                  </a:lnTo>
                  <a:lnTo>
                    <a:pt x="60" y="148"/>
                  </a:lnTo>
                  <a:lnTo>
                    <a:pt x="76" y="130"/>
                  </a:lnTo>
                  <a:lnTo>
                    <a:pt x="88" y="122"/>
                  </a:lnTo>
                  <a:lnTo>
                    <a:pt x="100" y="104"/>
                  </a:lnTo>
                  <a:lnTo>
                    <a:pt x="114" y="98"/>
                  </a:lnTo>
                  <a:lnTo>
                    <a:pt x="136" y="86"/>
                  </a:lnTo>
                  <a:lnTo>
                    <a:pt x="152" y="98"/>
                  </a:lnTo>
                  <a:lnTo>
                    <a:pt x="162" y="104"/>
                  </a:lnTo>
                  <a:lnTo>
                    <a:pt x="176" y="104"/>
                  </a:lnTo>
                  <a:lnTo>
                    <a:pt x="190" y="114"/>
                  </a:lnTo>
                  <a:lnTo>
                    <a:pt x="198" y="130"/>
                  </a:lnTo>
                  <a:lnTo>
                    <a:pt x="204" y="140"/>
                  </a:lnTo>
                  <a:lnTo>
                    <a:pt x="218" y="122"/>
                  </a:lnTo>
                  <a:lnTo>
                    <a:pt x="230" y="122"/>
                  </a:lnTo>
                  <a:lnTo>
                    <a:pt x="244" y="122"/>
                  </a:lnTo>
                  <a:lnTo>
                    <a:pt x="258" y="140"/>
                  </a:lnTo>
                  <a:lnTo>
                    <a:pt x="272" y="148"/>
                  </a:lnTo>
                  <a:lnTo>
                    <a:pt x="286" y="148"/>
                  </a:lnTo>
                  <a:lnTo>
                    <a:pt x="300" y="148"/>
                  </a:lnTo>
                  <a:lnTo>
                    <a:pt x="312" y="148"/>
                  </a:lnTo>
                  <a:lnTo>
                    <a:pt x="326" y="140"/>
                  </a:lnTo>
                  <a:lnTo>
                    <a:pt x="338" y="130"/>
                  </a:lnTo>
                  <a:lnTo>
                    <a:pt x="352" y="114"/>
                  </a:lnTo>
                  <a:lnTo>
                    <a:pt x="366" y="114"/>
                  </a:lnTo>
                  <a:lnTo>
                    <a:pt x="380" y="114"/>
                  </a:lnTo>
                  <a:lnTo>
                    <a:pt x="394" y="114"/>
                  </a:lnTo>
                  <a:lnTo>
                    <a:pt x="408" y="12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77" name="Freeform 83">
              <a:extLst>
                <a:ext uri="{FF2B5EF4-FFF2-40B4-BE49-F238E27FC236}">
                  <a16:creationId xmlns:a16="http://schemas.microsoft.com/office/drawing/2014/main" id="{70862D23-178B-453F-9141-286E159E7E77}"/>
                </a:ext>
              </a:extLst>
            </p:cNvPr>
            <p:cNvSpPr>
              <a:spLocks/>
            </p:cNvSpPr>
            <p:nvPr/>
          </p:nvSpPr>
          <p:spPr bwMode="auto">
            <a:xfrm>
              <a:off x="3691290" y="2964383"/>
              <a:ext cx="639783" cy="221233"/>
            </a:xfrm>
            <a:custGeom>
              <a:avLst/>
              <a:gdLst>
                <a:gd name="T0" fmla="*/ 414 w 428"/>
                <a:gd name="T1" fmla="*/ 104 h 148"/>
                <a:gd name="T2" fmla="*/ 420 w 428"/>
                <a:gd name="T3" fmla="*/ 70 h 148"/>
                <a:gd name="T4" fmla="*/ 428 w 428"/>
                <a:gd name="T5" fmla="*/ 36 h 148"/>
                <a:gd name="T6" fmla="*/ 428 w 428"/>
                <a:gd name="T7" fmla="*/ 18 h 148"/>
                <a:gd name="T8" fmla="*/ 400 w 428"/>
                <a:gd name="T9" fmla="*/ 18 h 148"/>
                <a:gd name="T10" fmla="*/ 380 w 428"/>
                <a:gd name="T11" fmla="*/ 44 h 148"/>
                <a:gd name="T12" fmla="*/ 352 w 428"/>
                <a:gd name="T13" fmla="*/ 54 h 148"/>
                <a:gd name="T14" fmla="*/ 326 w 428"/>
                <a:gd name="T15" fmla="*/ 54 h 148"/>
                <a:gd name="T16" fmla="*/ 300 w 428"/>
                <a:gd name="T17" fmla="*/ 80 h 148"/>
                <a:gd name="T18" fmla="*/ 272 w 428"/>
                <a:gd name="T19" fmla="*/ 62 h 148"/>
                <a:gd name="T20" fmla="*/ 276 w 428"/>
                <a:gd name="T21" fmla="*/ 36 h 148"/>
                <a:gd name="T22" fmla="*/ 276 w 428"/>
                <a:gd name="T23" fmla="*/ 2 h 148"/>
                <a:gd name="T24" fmla="*/ 250 w 428"/>
                <a:gd name="T25" fmla="*/ 10 h 148"/>
                <a:gd name="T26" fmla="*/ 224 w 428"/>
                <a:gd name="T27" fmla="*/ 36 h 148"/>
                <a:gd name="T28" fmla="*/ 198 w 428"/>
                <a:gd name="T29" fmla="*/ 36 h 148"/>
                <a:gd name="T30" fmla="*/ 182 w 428"/>
                <a:gd name="T31" fmla="*/ 16 h 148"/>
                <a:gd name="T32" fmla="*/ 156 w 428"/>
                <a:gd name="T33" fmla="*/ 34 h 148"/>
                <a:gd name="T34" fmla="*/ 136 w 428"/>
                <a:gd name="T35" fmla="*/ 26 h 148"/>
                <a:gd name="T36" fmla="*/ 110 w 428"/>
                <a:gd name="T37" fmla="*/ 2 h 148"/>
                <a:gd name="T38" fmla="*/ 82 w 428"/>
                <a:gd name="T39" fmla="*/ 10 h 148"/>
                <a:gd name="T40" fmla="*/ 60 w 428"/>
                <a:gd name="T41" fmla="*/ 0 h 148"/>
                <a:gd name="T42" fmla="*/ 48 w 428"/>
                <a:gd name="T43" fmla="*/ 36 h 148"/>
                <a:gd name="T44" fmla="*/ 34 w 428"/>
                <a:gd name="T45" fmla="*/ 70 h 148"/>
                <a:gd name="T46" fmla="*/ 8 w 428"/>
                <a:gd name="T47" fmla="*/ 86 h 148"/>
                <a:gd name="T48" fmla="*/ 14 w 428"/>
                <a:gd name="T49" fmla="*/ 86 h 148"/>
                <a:gd name="T50" fmla="*/ 34 w 428"/>
                <a:gd name="T51" fmla="*/ 114 h 148"/>
                <a:gd name="T52" fmla="*/ 40 w 428"/>
                <a:gd name="T53" fmla="*/ 148 h 148"/>
                <a:gd name="T54" fmla="*/ 76 w 428"/>
                <a:gd name="T55" fmla="*/ 130 h 148"/>
                <a:gd name="T56" fmla="*/ 100 w 428"/>
                <a:gd name="T57" fmla="*/ 104 h 148"/>
                <a:gd name="T58" fmla="*/ 136 w 428"/>
                <a:gd name="T59" fmla="*/ 86 h 148"/>
                <a:gd name="T60" fmla="*/ 162 w 428"/>
                <a:gd name="T61" fmla="*/ 104 h 148"/>
                <a:gd name="T62" fmla="*/ 190 w 428"/>
                <a:gd name="T63" fmla="*/ 114 h 148"/>
                <a:gd name="T64" fmla="*/ 204 w 428"/>
                <a:gd name="T65" fmla="*/ 140 h 148"/>
                <a:gd name="T66" fmla="*/ 230 w 428"/>
                <a:gd name="T67" fmla="*/ 122 h 148"/>
                <a:gd name="T68" fmla="*/ 258 w 428"/>
                <a:gd name="T69" fmla="*/ 140 h 148"/>
                <a:gd name="T70" fmla="*/ 286 w 428"/>
                <a:gd name="T71" fmla="*/ 148 h 148"/>
                <a:gd name="T72" fmla="*/ 312 w 428"/>
                <a:gd name="T73" fmla="*/ 148 h 148"/>
                <a:gd name="T74" fmla="*/ 338 w 428"/>
                <a:gd name="T75" fmla="*/ 130 h 148"/>
                <a:gd name="T76" fmla="*/ 366 w 428"/>
                <a:gd name="T77" fmla="*/ 114 h 148"/>
                <a:gd name="T78" fmla="*/ 394 w 428"/>
                <a:gd name="T79" fmla="*/ 11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8" h="148">
                  <a:moveTo>
                    <a:pt x="408" y="122"/>
                  </a:moveTo>
                  <a:lnTo>
                    <a:pt x="414" y="104"/>
                  </a:lnTo>
                  <a:lnTo>
                    <a:pt x="414" y="86"/>
                  </a:lnTo>
                  <a:lnTo>
                    <a:pt x="420" y="70"/>
                  </a:lnTo>
                  <a:lnTo>
                    <a:pt x="420" y="54"/>
                  </a:lnTo>
                  <a:lnTo>
                    <a:pt x="428" y="36"/>
                  </a:lnTo>
                  <a:lnTo>
                    <a:pt x="428" y="18"/>
                  </a:lnTo>
                  <a:lnTo>
                    <a:pt x="428" y="18"/>
                  </a:lnTo>
                  <a:lnTo>
                    <a:pt x="414" y="18"/>
                  </a:lnTo>
                  <a:lnTo>
                    <a:pt x="400" y="18"/>
                  </a:lnTo>
                  <a:lnTo>
                    <a:pt x="386" y="26"/>
                  </a:lnTo>
                  <a:lnTo>
                    <a:pt x="380" y="44"/>
                  </a:lnTo>
                  <a:lnTo>
                    <a:pt x="366" y="54"/>
                  </a:lnTo>
                  <a:lnTo>
                    <a:pt x="352" y="54"/>
                  </a:lnTo>
                  <a:lnTo>
                    <a:pt x="338" y="54"/>
                  </a:lnTo>
                  <a:lnTo>
                    <a:pt x="326" y="54"/>
                  </a:lnTo>
                  <a:lnTo>
                    <a:pt x="312" y="62"/>
                  </a:lnTo>
                  <a:lnTo>
                    <a:pt x="300" y="80"/>
                  </a:lnTo>
                  <a:lnTo>
                    <a:pt x="286" y="80"/>
                  </a:lnTo>
                  <a:lnTo>
                    <a:pt x="272" y="62"/>
                  </a:lnTo>
                  <a:lnTo>
                    <a:pt x="264" y="44"/>
                  </a:lnTo>
                  <a:lnTo>
                    <a:pt x="276" y="36"/>
                  </a:lnTo>
                  <a:lnTo>
                    <a:pt x="286" y="18"/>
                  </a:lnTo>
                  <a:lnTo>
                    <a:pt x="276" y="2"/>
                  </a:lnTo>
                  <a:lnTo>
                    <a:pt x="264" y="2"/>
                  </a:lnTo>
                  <a:lnTo>
                    <a:pt x="250" y="10"/>
                  </a:lnTo>
                  <a:lnTo>
                    <a:pt x="236" y="18"/>
                  </a:lnTo>
                  <a:lnTo>
                    <a:pt x="224" y="36"/>
                  </a:lnTo>
                  <a:lnTo>
                    <a:pt x="210" y="44"/>
                  </a:lnTo>
                  <a:lnTo>
                    <a:pt x="198" y="36"/>
                  </a:lnTo>
                  <a:lnTo>
                    <a:pt x="182" y="18"/>
                  </a:lnTo>
                  <a:lnTo>
                    <a:pt x="182" y="16"/>
                  </a:lnTo>
                  <a:lnTo>
                    <a:pt x="164" y="16"/>
                  </a:lnTo>
                  <a:lnTo>
                    <a:pt x="156" y="34"/>
                  </a:lnTo>
                  <a:lnTo>
                    <a:pt x="152" y="40"/>
                  </a:lnTo>
                  <a:lnTo>
                    <a:pt x="136" y="26"/>
                  </a:lnTo>
                  <a:lnTo>
                    <a:pt x="122" y="10"/>
                  </a:lnTo>
                  <a:lnTo>
                    <a:pt x="110" y="2"/>
                  </a:lnTo>
                  <a:lnTo>
                    <a:pt x="96" y="2"/>
                  </a:lnTo>
                  <a:lnTo>
                    <a:pt x="82" y="10"/>
                  </a:lnTo>
                  <a:lnTo>
                    <a:pt x="68" y="10"/>
                  </a:lnTo>
                  <a:lnTo>
                    <a:pt x="60" y="0"/>
                  </a:lnTo>
                  <a:lnTo>
                    <a:pt x="48" y="18"/>
                  </a:lnTo>
                  <a:lnTo>
                    <a:pt x="48" y="36"/>
                  </a:lnTo>
                  <a:lnTo>
                    <a:pt x="48" y="54"/>
                  </a:lnTo>
                  <a:lnTo>
                    <a:pt x="34" y="70"/>
                  </a:lnTo>
                  <a:lnTo>
                    <a:pt x="20" y="70"/>
                  </a:lnTo>
                  <a:lnTo>
                    <a:pt x="8" y="86"/>
                  </a:lnTo>
                  <a:lnTo>
                    <a:pt x="0" y="86"/>
                  </a:lnTo>
                  <a:lnTo>
                    <a:pt x="14" y="86"/>
                  </a:lnTo>
                  <a:lnTo>
                    <a:pt x="20" y="104"/>
                  </a:lnTo>
                  <a:lnTo>
                    <a:pt x="34" y="114"/>
                  </a:lnTo>
                  <a:lnTo>
                    <a:pt x="34" y="130"/>
                  </a:lnTo>
                  <a:lnTo>
                    <a:pt x="40" y="148"/>
                  </a:lnTo>
                  <a:lnTo>
                    <a:pt x="60" y="148"/>
                  </a:lnTo>
                  <a:lnTo>
                    <a:pt x="76" y="130"/>
                  </a:lnTo>
                  <a:lnTo>
                    <a:pt x="88" y="122"/>
                  </a:lnTo>
                  <a:lnTo>
                    <a:pt x="100" y="104"/>
                  </a:lnTo>
                  <a:lnTo>
                    <a:pt x="114" y="98"/>
                  </a:lnTo>
                  <a:lnTo>
                    <a:pt x="136" y="86"/>
                  </a:lnTo>
                  <a:lnTo>
                    <a:pt x="152" y="98"/>
                  </a:lnTo>
                  <a:lnTo>
                    <a:pt x="162" y="104"/>
                  </a:lnTo>
                  <a:lnTo>
                    <a:pt x="176" y="104"/>
                  </a:lnTo>
                  <a:lnTo>
                    <a:pt x="190" y="114"/>
                  </a:lnTo>
                  <a:lnTo>
                    <a:pt x="198" y="130"/>
                  </a:lnTo>
                  <a:lnTo>
                    <a:pt x="204" y="140"/>
                  </a:lnTo>
                  <a:lnTo>
                    <a:pt x="218" y="122"/>
                  </a:lnTo>
                  <a:lnTo>
                    <a:pt x="230" y="122"/>
                  </a:lnTo>
                  <a:lnTo>
                    <a:pt x="244" y="122"/>
                  </a:lnTo>
                  <a:lnTo>
                    <a:pt x="258" y="140"/>
                  </a:lnTo>
                  <a:lnTo>
                    <a:pt x="272" y="148"/>
                  </a:lnTo>
                  <a:lnTo>
                    <a:pt x="286" y="148"/>
                  </a:lnTo>
                  <a:lnTo>
                    <a:pt x="300" y="148"/>
                  </a:lnTo>
                  <a:lnTo>
                    <a:pt x="312" y="148"/>
                  </a:lnTo>
                  <a:lnTo>
                    <a:pt x="326" y="140"/>
                  </a:lnTo>
                  <a:lnTo>
                    <a:pt x="338" y="130"/>
                  </a:lnTo>
                  <a:lnTo>
                    <a:pt x="352" y="114"/>
                  </a:lnTo>
                  <a:lnTo>
                    <a:pt x="366" y="114"/>
                  </a:lnTo>
                  <a:lnTo>
                    <a:pt x="380" y="114"/>
                  </a:lnTo>
                  <a:lnTo>
                    <a:pt x="394" y="114"/>
                  </a:lnTo>
                  <a:lnTo>
                    <a:pt x="408" y="122"/>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78" name="Freeform 84">
              <a:extLst>
                <a:ext uri="{FF2B5EF4-FFF2-40B4-BE49-F238E27FC236}">
                  <a16:creationId xmlns:a16="http://schemas.microsoft.com/office/drawing/2014/main" id="{7EE237ED-9C28-4072-BBCD-ED16910299B3}"/>
                </a:ext>
              </a:extLst>
            </p:cNvPr>
            <p:cNvSpPr>
              <a:spLocks/>
            </p:cNvSpPr>
            <p:nvPr/>
          </p:nvSpPr>
          <p:spPr bwMode="auto">
            <a:xfrm>
              <a:off x="3957368" y="2850777"/>
              <a:ext cx="373705" cy="230202"/>
            </a:xfrm>
            <a:custGeom>
              <a:avLst/>
              <a:gdLst>
                <a:gd name="T0" fmla="*/ 0 w 250"/>
                <a:gd name="T1" fmla="*/ 86 h 154"/>
                <a:gd name="T2" fmla="*/ 6 w 250"/>
                <a:gd name="T3" fmla="*/ 78 h 154"/>
                <a:gd name="T4" fmla="*/ 6 w 250"/>
                <a:gd name="T5" fmla="*/ 58 h 154"/>
                <a:gd name="T6" fmla="*/ 12 w 250"/>
                <a:gd name="T7" fmla="*/ 42 h 154"/>
                <a:gd name="T8" fmla="*/ 12 w 250"/>
                <a:gd name="T9" fmla="*/ 26 h 154"/>
                <a:gd name="T10" fmla="*/ 20 w 250"/>
                <a:gd name="T11" fmla="*/ 16 h 154"/>
                <a:gd name="T12" fmla="*/ 32 w 250"/>
                <a:gd name="T13" fmla="*/ 26 h 154"/>
                <a:gd name="T14" fmla="*/ 46 w 250"/>
                <a:gd name="T15" fmla="*/ 16 h 154"/>
                <a:gd name="T16" fmla="*/ 58 w 250"/>
                <a:gd name="T17" fmla="*/ 16 h 154"/>
                <a:gd name="T18" fmla="*/ 72 w 250"/>
                <a:gd name="T19" fmla="*/ 8 h 154"/>
                <a:gd name="T20" fmla="*/ 86 w 250"/>
                <a:gd name="T21" fmla="*/ 0 h 154"/>
                <a:gd name="T22" fmla="*/ 94 w 250"/>
                <a:gd name="T23" fmla="*/ 16 h 154"/>
                <a:gd name="T24" fmla="*/ 82 w 250"/>
                <a:gd name="T25" fmla="*/ 26 h 154"/>
                <a:gd name="T26" fmla="*/ 82 w 250"/>
                <a:gd name="T27" fmla="*/ 42 h 154"/>
                <a:gd name="T28" fmla="*/ 94 w 250"/>
                <a:gd name="T29" fmla="*/ 52 h 154"/>
                <a:gd name="T30" fmla="*/ 108 w 250"/>
                <a:gd name="T31" fmla="*/ 42 h 154"/>
                <a:gd name="T32" fmla="*/ 120 w 250"/>
                <a:gd name="T33" fmla="*/ 52 h 154"/>
                <a:gd name="T34" fmla="*/ 134 w 250"/>
                <a:gd name="T35" fmla="*/ 58 h 154"/>
                <a:gd name="T36" fmla="*/ 142 w 250"/>
                <a:gd name="T37" fmla="*/ 52 h 154"/>
                <a:gd name="T38" fmla="*/ 142 w 250"/>
                <a:gd name="T39" fmla="*/ 34 h 154"/>
                <a:gd name="T40" fmla="*/ 154 w 250"/>
                <a:gd name="T41" fmla="*/ 26 h 154"/>
                <a:gd name="T42" fmla="*/ 168 w 250"/>
                <a:gd name="T43" fmla="*/ 34 h 154"/>
                <a:gd name="T44" fmla="*/ 182 w 250"/>
                <a:gd name="T45" fmla="*/ 34 h 154"/>
                <a:gd name="T46" fmla="*/ 196 w 250"/>
                <a:gd name="T47" fmla="*/ 26 h 154"/>
                <a:gd name="T48" fmla="*/ 208 w 250"/>
                <a:gd name="T49" fmla="*/ 42 h 154"/>
                <a:gd name="T50" fmla="*/ 222 w 250"/>
                <a:gd name="T51" fmla="*/ 42 h 154"/>
                <a:gd name="T52" fmla="*/ 236 w 250"/>
                <a:gd name="T53" fmla="*/ 34 h 154"/>
                <a:gd name="T54" fmla="*/ 236 w 250"/>
                <a:gd name="T55" fmla="*/ 42 h 154"/>
                <a:gd name="T56" fmla="*/ 236 w 250"/>
                <a:gd name="T57" fmla="*/ 34 h 154"/>
                <a:gd name="T58" fmla="*/ 242 w 250"/>
                <a:gd name="T59" fmla="*/ 52 h 154"/>
                <a:gd name="T60" fmla="*/ 250 w 250"/>
                <a:gd name="T61" fmla="*/ 68 h 154"/>
                <a:gd name="T62" fmla="*/ 250 w 250"/>
                <a:gd name="T63" fmla="*/ 86 h 154"/>
                <a:gd name="T64" fmla="*/ 250 w 250"/>
                <a:gd name="T65" fmla="*/ 94 h 154"/>
                <a:gd name="T66" fmla="*/ 250 w 250"/>
                <a:gd name="T67" fmla="*/ 94 h 154"/>
                <a:gd name="T68" fmla="*/ 236 w 250"/>
                <a:gd name="T69" fmla="*/ 94 h 154"/>
                <a:gd name="T70" fmla="*/ 222 w 250"/>
                <a:gd name="T71" fmla="*/ 94 h 154"/>
                <a:gd name="T72" fmla="*/ 208 w 250"/>
                <a:gd name="T73" fmla="*/ 104 h 154"/>
                <a:gd name="T74" fmla="*/ 202 w 250"/>
                <a:gd name="T75" fmla="*/ 120 h 154"/>
                <a:gd name="T76" fmla="*/ 188 w 250"/>
                <a:gd name="T77" fmla="*/ 128 h 154"/>
                <a:gd name="T78" fmla="*/ 174 w 250"/>
                <a:gd name="T79" fmla="*/ 128 h 154"/>
                <a:gd name="T80" fmla="*/ 160 w 250"/>
                <a:gd name="T81" fmla="*/ 128 h 154"/>
                <a:gd name="T82" fmla="*/ 148 w 250"/>
                <a:gd name="T83" fmla="*/ 128 h 154"/>
                <a:gd name="T84" fmla="*/ 134 w 250"/>
                <a:gd name="T85" fmla="*/ 138 h 154"/>
                <a:gd name="T86" fmla="*/ 120 w 250"/>
                <a:gd name="T87" fmla="*/ 154 h 154"/>
                <a:gd name="T88" fmla="*/ 108 w 250"/>
                <a:gd name="T89" fmla="*/ 154 h 154"/>
                <a:gd name="T90" fmla="*/ 94 w 250"/>
                <a:gd name="T91" fmla="*/ 138 h 154"/>
                <a:gd name="T92" fmla="*/ 86 w 250"/>
                <a:gd name="T93" fmla="*/ 120 h 154"/>
                <a:gd name="T94" fmla="*/ 100 w 250"/>
                <a:gd name="T95" fmla="*/ 112 h 154"/>
                <a:gd name="T96" fmla="*/ 108 w 250"/>
                <a:gd name="T97" fmla="*/ 94 h 154"/>
                <a:gd name="T98" fmla="*/ 100 w 250"/>
                <a:gd name="T99" fmla="*/ 78 h 154"/>
                <a:gd name="T100" fmla="*/ 86 w 250"/>
                <a:gd name="T101" fmla="*/ 78 h 154"/>
                <a:gd name="T102" fmla="*/ 72 w 250"/>
                <a:gd name="T103" fmla="*/ 86 h 154"/>
                <a:gd name="T104" fmla="*/ 58 w 250"/>
                <a:gd name="T105" fmla="*/ 94 h 154"/>
                <a:gd name="T106" fmla="*/ 46 w 250"/>
                <a:gd name="T107" fmla="*/ 112 h 154"/>
                <a:gd name="T108" fmla="*/ 32 w 250"/>
                <a:gd name="T109" fmla="*/ 120 h 154"/>
                <a:gd name="T110" fmla="*/ 20 w 250"/>
                <a:gd name="T111" fmla="*/ 112 h 154"/>
                <a:gd name="T112" fmla="*/ 6 w 250"/>
                <a:gd name="T113" fmla="*/ 94 h 154"/>
                <a:gd name="T114" fmla="*/ 0 w 250"/>
                <a:gd name="T115" fmla="*/ 8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0" h="154">
                  <a:moveTo>
                    <a:pt x="0" y="86"/>
                  </a:moveTo>
                  <a:lnTo>
                    <a:pt x="6" y="78"/>
                  </a:lnTo>
                  <a:lnTo>
                    <a:pt x="6" y="58"/>
                  </a:lnTo>
                  <a:lnTo>
                    <a:pt x="12" y="42"/>
                  </a:lnTo>
                  <a:lnTo>
                    <a:pt x="12" y="26"/>
                  </a:lnTo>
                  <a:lnTo>
                    <a:pt x="20" y="16"/>
                  </a:lnTo>
                  <a:lnTo>
                    <a:pt x="32" y="26"/>
                  </a:lnTo>
                  <a:lnTo>
                    <a:pt x="46" y="16"/>
                  </a:lnTo>
                  <a:lnTo>
                    <a:pt x="58" y="16"/>
                  </a:lnTo>
                  <a:lnTo>
                    <a:pt x="72" y="8"/>
                  </a:lnTo>
                  <a:lnTo>
                    <a:pt x="86" y="0"/>
                  </a:lnTo>
                  <a:lnTo>
                    <a:pt x="94" y="16"/>
                  </a:lnTo>
                  <a:lnTo>
                    <a:pt x="82" y="26"/>
                  </a:lnTo>
                  <a:lnTo>
                    <a:pt x="82" y="42"/>
                  </a:lnTo>
                  <a:lnTo>
                    <a:pt x="94" y="52"/>
                  </a:lnTo>
                  <a:lnTo>
                    <a:pt x="108" y="42"/>
                  </a:lnTo>
                  <a:lnTo>
                    <a:pt x="120" y="52"/>
                  </a:lnTo>
                  <a:lnTo>
                    <a:pt x="134" y="58"/>
                  </a:lnTo>
                  <a:lnTo>
                    <a:pt x="142" y="52"/>
                  </a:lnTo>
                  <a:lnTo>
                    <a:pt x="142" y="34"/>
                  </a:lnTo>
                  <a:lnTo>
                    <a:pt x="154" y="26"/>
                  </a:lnTo>
                  <a:lnTo>
                    <a:pt x="168" y="34"/>
                  </a:lnTo>
                  <a:lnTo>
                    <a:pt x="182" y="34"/>
                  </a:lnTo>
                  <a:lnTo>
                    <a:pt x="196" y="26"/>
                  </a:lnTo>
                  <a:lnTo>
                    <a:pt x="208" y="42"/>
                  </a:lnTo>
                  <a:lnTo>
                    <a:pt x="222" y="42"/>
                  </a:lnTo>
                  <a:lnTo>
                    <a:pt x="236" y="34"/>
                  </a:lnTo>
                  <a:lnTo>
                    <a:pt x="236" y="42"/>
                  </a:lnTo>
                  <a:lnTo>
                    <a:pt x="236" y="34"/>
                  </a:lnTo>
                  <a:lnTo>
                    <a:pt x="242" y="52"/>
                  </a:lnTo>
                  <a:lnTo>
                    <a:pt x="250" y="68"/>
                  </a:lnTo>
                  <a:lnTo>
                    <a:pt x="250" y="86"/>
                  </a:lnTo>
                  <a:lnTo>
                    <a:pt x="250" y="94"/>
                  </a:lnTo>
                  <a:lnTo>
                    <a:pt x="250" y="94"/>
                  </a:lnTo>
                  <a:lnTo>
                    <a:pt x="236" y="94"/>
                  </a:lnTo>
                  <a:lnTo>
                    <a:pt x="222" y="94"/>
                  </a:lnTo>
                  <a:lnTo>
                    <a:pt x="208" y="104"/>
                  </a:lnTo>
                  <a:lnTo>
                    <a:pt x="202" y="120"/>
                  </a:lnTo>
                  <a:lnTo>
                    <a:pt x="188" y="128"/>
                  </a:lnTo>
                  <a:lnTo>
                    <a:pt x="174" y="128"/>
                  </a:lnTo>
                  <a:lnTo>
                    <a:pt x="160" y="128"/>
                  </a:lnTo>
                  <a:lnTo>
                    <a:pt x="148" y="128"/>
                  </a:lnTo>
                  <a:lnTo>
                    <a:pt x="134" y="138"/>
                  </a:lnTo>
                  <a:lnTo>
                    <a:pt x="120" y="154"/>
                  </a:lnTo>
                  <a:lnTo>
                    <a:pt x="108" y="154"/>
                  </a:lnTo>
                  <a:lnTo>
                    <a:pt x="94" y="138"/>
                  </a:lnTo>
                  <a:lnTo>
                    <a:pt x="86" y="120"/>
                  </a:lnTo>
                  <a:lnTo>
                    <a:pt x="100" y="112"/>
                  </a:lnTo>
                  <a:lnTo>
                    <a:pt x="108" y="94"/>
                  </a:lnTo>
                  <a:lnTo>
                    <a:pt x="100" y="78"/>
                  </a:lnTo>
                  <a:lnTo>
                    <a:pt x="86" y="78"/>
                  </a:lnTo>
                  <a:lnTo>
                    <a:pt x="72" y="86"/>
                  </a:lnTo>
                  <a:lnTo>
                    <a:pt x="58" y="94"/>
                  </a:lnTo>
                  <a:lnTo>
                    <a:pt x="46" y="112"/>
                  </a:lnTo>
                  <a:lnTo>
                    <a:pt x="32" y="120"/>
                  </a:lnTo>
                  <a:lnTo>
                    <a:pt x="20" y="112"/>
                  </a:lnTo>
                  <a:lnTo>
                    <a:pt x="6" y="94"/>
                  </a:lnTo>
                  <a:lnTo>
                    <a:pt x="0" y="8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79" name="Freeform 85">
              <a:extLst>
                <a:ext uri="{FF2B5EF4-FFF2-40B4-BE49-F238E27FC236}">
                  <a16:creationId xmlns:a16="http://schemas.microsoft.com/office/drawing/2014/main" id="{04D0EE9F-1325-4085-A014-3C8A65FBE6A2}"/>
                </a:ext>
              </a:extLst>
            </p:cNvPr>
            <p:cNvSpPr>
              <a:spLocks/>
            </p:cNvSpPr>
            <p:nvPr/>
          </p:nvSpPr>
          <p:spPr bwMode="auto">
            <a:xfrm>
              <a:off x="3957368" y="2850777"/>
              <a:ext cx="373705" cy="230202"/>
            </a:xfrm>
            <a:custGeom>
              <a:avLst/>
              <a:gdLst>
                <a:gd name="T0" fmla="*/ 0 w 250"/>
                <a:gd name="T1" fmla="*/ 86 h 154"/>
                <a:gd name="T2" fmla="*/ 6 w 250"/>
                <a:gd name="T3" fmla="*/ 78 h 154"/>
                <a:gd name="T4" fmla="*/ 6 w 250"/>
                <a:gd name="T5" fmla="*/ 58 h 154"/>
                <a:gd name="T6" fmla="*/ 12 w 250"/>
                <a:gd name="T7" fmla="*/ 42 h 154"/>
                <a:gd name="T8" fmla="*/ 12 w 250"/>
                <a:gd name="T9" fmla="*/ 26 h 154"/>
                <a:gd name="T10" fmla="*/ 20 w 250"/>
                <a:gd name="T11" fmla="*/ 16 h 154"/>
                <a:gd name="T12" fmla="*/ 32 w 250"/>
                <a:gd name="T13" fmla="*/ 26 h 154"/>
                <a:gd name="T14" fmla="*/ 46 w 250"/>
                <a:gd name="T15" fmla="*/ 16 h 154"/>
                <a:gd name="T16" fmla="*/ 58 w 250"/>
                <a:gd name="T17" fmla="*/ 16 h 154"/>
                <a:gd name="T18" fmla="*/ 72 w 250"/>
                <a:gd name="T19" fmla="*/ 8 h 154"/>
                <a:gd name="T20" fmla="*/ 86 w 250"/>
                <a:gd name="T21" fmla="*/ 0 h 154"/>
                <a:gd name="T22" fmla="*/ 94 w 250"/>
                <a:gd name="T23" fmla="*/ 16 h 154"/>
                <a:gd name="T24" fmla="*/ 82 w 250"/>
                <a:gd name="T25" fmla="*/ 26 h 154"/>
                <a:gd name="T26" fmla="*/ 82 w 250"/>
                <a:gd name="T27" fmla="*/ 42 h 154"/>
                <a:gd name="T28" fmla="*/ 94 w 250"/>
                <a:gd name="T29" fmla="*/ 52 h 154"/>
                <a:gd name="T30" fmla="*/ 108 w 250"/>
                <a:gd name="T31" fmla="*/ 42 h 154"/>
                <a:gd name="T32" fmla="*/ 120 w 250"/>
                <a:gd name="T33" fmla="*/ 52 h 154"/>
                <a:gd name="T34" fmla="*/ 134 w 250"/>
                <a:gd name="T35" fmla="*/ 58 h 154"/>
                <a:gd name="T36" fmla="*/ 142 w 250"/>
                <a:gd name="T37" fmla="*/ 52 h 154"/>
                <a:gd name="T38" fmla="*/ 142 w 250"/>
                <a:gd name="T39" fmla="*/ 34 h 154"/>
                <a:gd name="T40" fmla="*/ 154 w 250"/>
                <a:gd name="T41" fmla="*/ 26 h 154"/>
                <a:gd name="T42" fmla="*/ 168 w 250"/>
                <a:gd name="T43" fmla="*/ 34 h 154"/>
                <a:gd name="T44" fmla="*/ 182 w 250"/>
                <a:gd name="T45" fmla="*/ 34 h 154"/>
                <a:gd name="T46" fmla="*/ 196 w 250"/>
                <a:gd name="T47" fmla="*/ 26 h 154"/>
                <a:gd name="T48" fmla="*/ 208 w 250"/>
                <a:gd name="T49" fmla="*/ 42 h 154"/>
                <a:gd name="T50" fmla="*/ 222 w 250"/>
                <a:gd name="T51" fmla="*/ 42 h 154"/>
                <a:gd name="T52" fmla="*/ 236 w 250"/>
                <a:gd name="T53" fmla="*/ 34 h 154"/>
                <a:gd name="T54" fmla="*/ 236 w 250"/>
                <a:gd name="T55" fmla="*/ 42 h 154"/>
                <a:gd name="T56" fmla="*/ 236 w 250"/>
                <a:gd name="T57" fmla="*/ 34 h 154"/>
                <a:gd name="T58" fmla="*/ 242 w 250"/>
                <a:gd name="T59" fmla="*/ 52 h 154"/>
                <a:gd name="T60" fmla="*/ 250 w 250"/>
                <a:gd name="T61" fmla="*/ 68 h 154"/>
                <a:gd name="T62" fmla="*/ 250 w 250"/>
                <a:gd name="T63" fmla="*/ 86 h 154"/>
                <a:gd name="T64" fmla="*/ 250 w 250"/>
                <a:gd name="T65" fmla="*/ 94 h 154"/>
                <a:gd name="T66" fmla="*/ 250 w 250"/>
                <a:gd name="T67" fmla="*/ 94 h 154"/>
                <a:gd name="T68" fmla="*/ 236 w 250"/>
                <a:gd name="T69" fmla="*/ 94 h 154"/>
                <a:gd name="T70" fmla="*/ 222 w 250"/>
                <a:gd name="T71" fmla="*/ 94 h 154"/>
                <a:gd name="T72" fmla="*/ 208 w 250"/>
                <a:gd name="T73" fmla="*/ 104 h 154"/>
                <a:gd name="T74" fmla="*/ 202 w 250"/>
                <a:gd name="T75" fmla="*/ 120 h 154"/>
                <a:gd name="T76" fmla="*/ 188 w 250"/>
                <a:gd name="T77" fmla="*/ 128 h 154"/>
                <a:gd name="T78" fmla="*/ 174 w 250"/>
                <a:gd name="T79" fmla="*/ 128 h 154"/>
                <a:gd name="T80" fmla="*/ 160 w 250"/>
                <a:gd name="T81" fmla="*/ 128 h 154"/>
                <a:gd name="T82" fmla="*/ 148 w 250"/>
                <a:gd name="T83" fmla="*/ 128 h 154"/>
                <a:gd name="T84" fmla="*/ 134 w 250"/>
                <a:gd name="T85" fmla="*/ 138 h 154"/>
                <a:gd name="T86" fmla="*/ 120 w 250"/>
                <a:gd name="T87" fmla="*/ 154 h 154"/>
                <a:gd name="T88" fmla="*/ 108 w 250"/>
                <a:gd name="T89" fmla="*/ 154 h 154"/>
                <a:gd name="T90" fmla="*/ 94 w 250"/>
                <a:gd name="T91" fmla="*/ 138 h 154"/>
                <a:gd name="T92" fmla="*/ 86 w 250"/>
                <a:gd name="T93" fmla="*/ 120 h 154"/>
                <a:gd name="T94" fmla="*/ 100 w 250"/>
                <a:gd name="T95" fmla="*/ 112 h 154"/>
                <a:gd name="T96" fmla="*/ 108 w 250"/>
                <a:gd name="T97" fmla="*/ 94 h 154"/>
                <a:gd name="T98" fmla="*/ 100 w 250"/>
                <a:gd name="T99" fmla="*/ 78 h 154"/>
                <a:gd name="T100" fmla="*/ 86 w 250"/>
                <a:gd name="T101" fmla="*/ 78 h 154"/>
                <a:gd name="T102" fmla="*/ 72 w 250"/>
                <a:gd name="T103" fmla="*/ 86 h 154"/>
                <a:gd name="T104" fmla="*/ 58 w 250"/>
                <a:gd name="T105" fmla="*/ 94 h 154"/>
                <a:gd name="T106" fmla="*/ 46 w 250"/>
                <a:gd name="T107" fmla="*/ 112 h 154"/>
                <a:gd name="T108" fmla="*/ 32 w 250"/>
                <a:gd name="T109" fmla="*/ 120 h 154"/>
                <a:gd name="T110" fmla="*/ 20 w 250"/>
                <a:gd name="T111" fmla="*/ 112 h 154"/>
                <a:gd name="T112" fmla="*/ 6 w 250"/>
                <a:gd name="T113" fmla="*/ 94 h 154"/>
                <a:gd name="T114" fmla="*/ 0 w 250"/>
                <a:gd name="T115" fmla="*/ 8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0" h="154">
                  <a:moveTo>
                    <a:pt x="0" y="86"/>
                  </a:moveTo>
                  <a:lnTo>
                    <a:pt x="6" y="78"/>
                  </a:lnTo>
                  <a:lnTo>
                    <a:pt x="6" y="58"/>
                  </a:lnTo>
                  <a:lnTo>
                    <a:pt x="12" y="42"/>
                  </a:lnTo>
                  <a:lnTo>
                    <a:pt x="12" y="26"/>
                  </a:lnTo>
                  <a:lnTo>
                    <a:pt x="20" y="16"/>
                  </a:lnTo>
                  <a:lnTo>
                    <a:pt x="32" y="26"/>
                  </a:lnTo>
                  <a:lnTo>
                    <a:pt x="46" y="16"/>
                  </a:lnTo>
                  <a:lnTo>
                    <a:pt x="58" y="16"/>
                  </a:lnTo>
                  <a:lnTo>
                    <a:pt x="72" y="8"/>
                  </a:lnTo>
                  <a:lnTo>
                    <a:pt x="86" y="0"/>
                  </a:lnTo>
                  <a:lnTo>
                    <a:pt x="94" y="16"/>
                  </a:lnTo>
                  <a:lnTo>
                    <a:pt x="82" y="26"/>
                  </a:lnTo>
                  <a:lnTo>
                    <a:pt x="82" y="42"/>
                  </a:lnTo>
                  <a:lnTo>
                    <a:pt x="94" y="52"/>
                  </a:lnTo>
                  <a:lnTo>
                    <a:pt x="108" y="42"/>
                  </a:lnTo>
                  <a:lnTo>
                    <a:pt x="120" y="52"/>
                  </a:lnTo>
                  <a:lnTo>
                    <a:pt x="134" y="58"/>
                  </a:lnTo>
                  <a:lnTo>
                    <a:pt x="142" y="52"/>
                  </a:lnTo>
                  <a:lnTo>
                    <a:pt x="142" y="34"/>
                  </a:lnTo>
                  <a:lnTo>
                    <a:pt x="154" y="26"/>
                  </a:lnTo>
                  <a:lnTo>
                    <a:pt x="168" y="34"/>
                  </a:lnTo>
                  <a:lnTo>
                    <a:pt x="182" y="34"/>
                  </a:lnTo>
                  <a:lnTo>
                    <a:pt x="196" y="26"/>
                  </a:lnTo>
                  <a:lnTo>
                    <a:pt x="208" y="42"/>
                  </a:lnTo>
                  <a:lnTo>
                    <a:pt x="222" y="42"/>
                  </a:lnTo>
                  <a:lnTo>
                    <a:pt x="236" y="34"/>
                  </a:lnTo>
                  <a:lnTo>
                    <a:pt x="236" y="42"/>
                  </a:lnTo>
                  <a:lnTo>
                    <a:pt x="236" y="34"/>
                  </a:lnTo>
                  <a:lnTo>
                    <a:pt x="242" y="52"/>
                  </a:lnTo>
                  <a:lnTo>
                    <a:pt x="250" y="68"/>
                  </a:lnTo>
                  <a:lnTo>
                    <a:pt x="250" y="86"/>
                  </a:lnTo>
                  <a:lnTo>
                    <a:pt x="250" y="94"/>
                  </a:lnTo>
                  <a:lnTo>
                    <a:pt x="250" y="94"/>
                  </a:lnTo>
                  <a:lnTo>
                    <a:pt x="236" y="94"/>
                  </a:lnTo>
                  <a:lnTo>
                    <a:pt x="222" y="94"/>
                  </a:lnTo>
                  <a:lnTo>
                    <a:pt x="208" y="104"/>
                  </a:lnTo>
                  <a:lnTo>
                    <a:pt x="202" y="120"/>
                  </a:lnTo>
                  <a:lnTo>
                    <a:pt x="188" y="128"/>
                  </a:lnTo>
                  <a:lnTo>
                    <a:pt x="174" y="128"/>
                  </a:lnTo>
                  <a:lnTo>
                    <a:pt x="160" y="128"/>
                  </a:lnTo>
                  <a:lnTo>
                    <a:pt x="148" y="128"/>
                  </a:lnTo>
                  <a:lnTo>
                    <a:pt x="134" y="138"/>
                  </a:lnTo>
                  <a:lnTo>
                    <a:pt x="120" y="154"/>
                  </a:lnTo>
                  <a:lnTo>
                    <a:pt x="108" y="154"/>
                  </a:lnTo>
                  <a:lnTo>
                    <a:pt x="94" y="138"/>
                  </a:lnTo>
                  <a:lnTo>
                    <a:pt x="86" y="120"/>
                  </a:lnTo>
                  <a:lnTo>
                    <a:pt x="100" y="112"/>
                  </a:lnTo>
                  <a:lnTo>
                    <a:pt x="108" y="94"/>
                  </a:lnTo>
                  <a:lnTo>
                    <a:pt x="100" y="78"/>
                  </a:lnTo>
                  <a:lnTo>
                    <a:pt x="86" y="78"/>
                  </a:lnTo>
                  <a:lnTo>
                    <a:pt x="72" y="86"/>
                  </a:lnTo>
                  <a:lnTo>
                    <a:pt x="58" y="94"/>
                  </a:lnTo>
                  <a:lnTo>
                    <a:pt x="46" y="112"/>
                  </a:lnTo>
                  <a:lnTo>
                    <a:pt x="32" y="120"/>
                  </a:lnTo>
                  <a:lnTo>
                    <a:pt x="20" y="112"/>
                  </a:lnTo>
                  <a:lnTo>
                    <a:pt x="6" y="94"/>
                  </a:lnTo>
                  <a:lnTo>
                    <a:pt x="0" y="86"/>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80" name="Freeform 88">
              <a:extLst>
                <a:ext uri="{FF2B5EF4-FFF2-40B4-BE49-F238E27FC236}">
                  <a16:creationId xmlns:a16="http://schemas.microsoft.com/office/drawing/2014/main" id="{B629E259-FB99-42F3-B667-93A47394CB41}"/>
                </a:ext>
              </a:extLst>
            </p:cNvPr>
            <p:cNvSpPr>
              <a:spLocks/>
            </p:cNvSpPr>
            <p:nvPr/>
          </p:nvSpPr>
          <p:spPr bwMode="auto">
            <a:xfrm>
              <a:off x="483406" y="3018197"/>
              <a:ext cx="735452" cy="322881"/>
            </a:xfrm>
            <a:custGeom>
              <a:avLst/>
              <a:gdLst>
                <a:gd name="T0" fmla="*/ 258 w 492"/>
                <a:gd name="T1" fmla="*/ 50 h 216"/>
                <a:gd name="T2" fmla="*/ 214 w 492"/>
                <a:gd name="T3" fmla="*/ 50 h 216"/>
                <a:gd name="T4" fmla="*/ 42 w 492"/>
                <a:gd name="T5" fmla="*/ 10 h 216"/>
                <a:gd name="T6" fmla="*/ 0 w 492"/>
                <a:gd name="T7" fmla="*/ 0 h 216"/>
                <a:gd name="T8" fmla="*/ 26 w 492"/>
                <a:gd name="T9" fmla="*/ 36 h 216"/>
                <a:gd name="T10" fmla="*/ 32 w 492"/>
                <a:gd name="T11" fmla="*/ 50 h 216"/>
                <a:gd name="T12" fmla="*/ 46 w 492"/>
                <a:gd name="T13" fmla="*/ 60 h 216"/>
                <a:gd name="T14" fmla="*/ 52 w 492"/>
                <a:gd name="T15" fmla="*/ 78 h 216"/>
                <a:gd name="T16" fmla="*/ 66 w 492"/>
                <a:gd name="T17" fmla="*/ 102 h 216"/>
                <a:gd name="T18" fmla="*/ 60 w 492"/>
                <a:gd name="T19" fmla="*/ 120 h 216"/>
                <a:gd name="T20" fmla="*/ 72 w 492"/>
                <a:gd name="T21" fmla="*/ 128 h 216"/>
                <a:gd name="T22" fmla="*/ 86 w 492"/>
                <a:gd name="T23" fmla="*/ 128 h 216"/>
                <a:gd name="T24" fmla="*/ 98 w 492"/>
                <a:gd name="T25" fmla="*/ 128 h 216"/>
                <a:gd name="T26" fmla="*/ 114 w 492"/>
                <a:gd name="T27" fmla="*/ 140 h 216"/>
                <a:gd name="T28" fmla="*/ 126 w 492"/>
                <a:gd name="T29" fmla="*/ 146 h 216"/>
                <a:gd name="T30" fmla="*/ 140 w 492"/>
                <a:gd name="T31" fmla="*/ 156 h 216"/>
                <a:gd name="T32" fmla="*/ 168 w 492"/>
                <a:gd name="T33" fmla="*/ 156 h 216"/>
                <a:gd name="T34" fmla="*/ 180 w 492"/>
                <a:gd name="T35" fmla="*/ 146 h 216"/>
                <a:gd name="T36" fmla="*/ 222 w 492"/>
                <a:gd name="T37" fmla="*/ 120 h 216"/>
                <a:gd name="T38" fmla="*/ 236 w 492"/>
                <a:gd name="T39" fmla="*/ 128 h 216"/>
                <a:gd name="T40" fmla="*/ 228 w 492"/>
                <a:gd name="T41" fmla="*/ 146 h 216"/>
                <a:gd name="T42" fmla="*/ 228 w 492"/>
                <a:gd name="T43" fmla="*/ 164 h 216"/>
                <a:gd name="T44" fmla="*/ 236 w 492"/>
                <a:gd name="T45" fmla="*/ 180 h 216"/>
                <a:gd name="T46" fmla="*/ 236 w 492"/>
                <a:gd name="T47" fmla="*/ 216 h 216"/>
                <a:gd name="T48" fmla="*/ 276 w 492"/>
                <a:gd name="T49" fmla="*/ 216 h 216"/>
                <a:gd name="T50" fmla="*/ 288 w 492"/>
                <a:gd name="T51" fmla="*/ 208 h 216"/>
                <a:gd name="T52" fmla="*/ 330 w 492"/>
                <a:gd name="T53" fmla="*/ 208 h 216"/>
                <a:gd name="T54" fmla="*/ 344 w 492"/>
                <a:gd name="T55" fmla="*/ 216 h 216"/>
                <a:gd name="T56" fmla="*/ 368 w 492"/>
                <a:gd name="T57" fmla="*/ 216 h 216"/>
                <a:gd name="T58" fmla="*/ 384 w 492"/>
                <a:gd name="T59" fmla="*/ 198 h 216"/>
                <a:gd name="T60" fmla="*/ 404 w 492"/>
                <a:gd name="T61" fmla="*/ 190 h 216"/>
                <a:gd name="T62" fmla="*/ 418 w 492"/>
                <a:gd name="T63" fmla="*/ 190 h 216"/>
                <a:gd name="T64" fmla="*/ 430 w 492"/>
                <a:gd name="T65" fmla="*/ 180 h 216"/>
                <a:gd name="T66" fmla="*/ 438 w 492"/>
                <a:gd name="T67" fmla="*/ 164 h 216"/>
                <a:gd name="T68" fmla="*/ 452 w 492"/>
                <a:gd name="T69" fmla="*/ 174 h 216"/>
                <a:gd name="T70" fmla="*/ 476 w 492"/>
                <a:gd name="T71" fmla="*/ 156 h 216"/>
                <a:gd name="T72" fmla="*/ 492 w 492"/>
                <a:gd name="T73" fmla="*/ 130 h 216"/>
                <a:gd name="T74" fmla="*/ 492 w 492"/>
                <a:gd name="T75" fmla="*/ 130 h 216"/>
                <a:gd name="T76" fmla="*/ 258 w 492"/>
                <a:gd name="T77" fmla="*/ 5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 h="216">
                  <a:moveTo>
                    <a:pt x="258" y="50"/>
                  </a:moveTo>
                  <a:lnTo>
                    <a:pt x="214" y="50"/>
                  </a:lnTo>
                  <a:lnTo>
                    <a:pt x="42" y="10"/>
                  </a:lnTo>
                  <a:lnTo>
                    <a:pt x="0" y="0"/>
                  </a:lnTo>
                  <a:lnTo>
                    <a:pt x="26" y="36"/>
                  </a:lnTo>
                  <a:lnTo>
                    <a:pt x="32" y="50"/>
                  </a:lnTo>
                  <a:lnTo>
                    <a:pt x="46" y="60"/>
                  </a:lnTo>
                  <a:lnTo>
                    <a:pt x="52" y="78"/>
                  </a:lnTo>
                  <a:lnTo>
                    <a:pt x="66" y="102"/>
                  </a:lnTo>
                  <a:lnTo>
                    <a:pt x="60" y="120"/>
                  </a:lnTo>
                  <a:lnTo>
                    <a:pt x="72" y="128"/>
                  </a:lnTo>
                  <a:lnTo>
                    <a:pt x="86" y="128"/>
                  </a:lnTo>
                  <a:lnTo>
                    <a:pt x="98" y="128"/>
                  </a:lnTo>
                  <a:lnTo>
                    <a:pt x="114" y="140"/>
                  </a:lnTo>
                  <a:lnTo>
                    <a:pt x="126" y="146"/>
                  </a:lnTo>
                  <a:lnTo>
                    <a:pt x="140" y="156"/>
                  </a:lnTo>
                  <a:lnTo>
                    <a:pt x="168" y="156"/>
                  </a:lnTo>
                  <a:lnTo>
                    <a:pt x="180" y="146"/>
                  </a:lnTo>
                  <a:lnTo>
                    <a:pt x="222" y="120"/>
                  </a:lnTo>
                  <a:lnTo>
                    <a:pt x="236" y="128"/>
                  </a:lnTo>
                  <a:lnTo>
                    <a:pt x="228" y="146"/>
                  </a:lnTo>
                  <a:lnTo>
                    <a:pt x="228" y="164"/>
                  </a:lnTo>
                  <a:lnTo>
                    <a:pt x="236" y="180"/>
                  </a:lnTo>
                  <a:lnTo>
                    <a:pt x="236" y="216"/>
                  </a:lnTo>
                  <a:lnTo>
                    <a:pt x="276" y="216"/>
                  </a:lnTo>
                  <a:lnTo>
                    <a:pt x="288" y="208"/>
                  </a:lnTo>
                  <a:lnTo>
                    <a:pt x="330" y="208"/>
                  </a:lnTo>
                  <a:lnTo>
                    <a:pt x="344" y="216"/>
                  </a:lnTo>
                  <a:lnTo>
                    <a:pt x="368" y="216"/>
                  </a:lnTo>
                  <a:lnTo>
                    <a:pt x="384" y="198"/>
                  </a:lnTo>
                  <a:lnTo>
                    <a:pt x="404" y="190"/>
                  </a:lnTo>
                  <a:lnTo>
                    <a:pt x="418" y="190"/>
                  </a:lnTo>
                  <a:lnTo>
                    <a:pt x="430" y="180"/>
                  </a:lnTo>
                  <a:lnTo>
                    <a:pt x="438" y="164"/>
                  </a:lnTo>
                  <a:lnTo>
                    <a:pt x="452" y="174"/>
                  </a:lnTo>
                  <a:lnTo>
                    <a:pt x="476" y="156"/>
                  </a:lnTo>
                  <a:lnTo>
                    <a:pt x="492" y="130"/>
                  </a:lnTo>
                  <a:lnTo>
                    <a:pt x="492" y="130"/>
                  </a:lnTo>
                  <a:lnTo>
                    <a:pt x="258" y="50"/>
                  </a:lnTo>
                  <a:close/>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81" name="Freeform 89">
              <a:extLst>
                <a:ext uri="{FF2B5EF4-FFF2-40B4-BE49-F238E27FC236}">
                  <a16:creationId xmlns:a16="http://schemas.microsoft.com/office/drawing/2014/main" id="{9F2F7D2B-A0BD-4D58-81D2-1E07F4A206F2}"/>
                </a:ext>
              </a:extLst>
            </p:cNvPr>
            <p:cNvSpPr>
              <a:spLocks/>
            </p:cNvSpPr>
            <p:nvPr/>
          </p:nvSpPr>
          <p:spPr bwMode="auto">
            <a:xfrm>
              <a:off x="483406" y="2010688"/>
              <a:ext cx="1733991" cy="1204825"/>
            </a:xfrm>
            <a:custGeom>
              <a:avLst/>
              <a:gdLst>
                <a:gd name="T0" fmla="*/ 1140 w 1160"/>
                <a:gd name="T1" fmla="*/ 276 h 806"/>
                <a:gd name="T2" fmla="*/ 1100 w 1160"/>
                <a:gd name="T3" fmla="*/ 248 h 806"/>
                <a:gd name="T4" fmla="*/ 1064 w 1160"/>
                <a:gd name="T5" fmla="*/ 240 h 806"/>
                <a:gd name="T6" fmla="*/ 1018 w 1160"/>
                <a:gd name="T7" fmla="*/ 224 h 806"/>
                <a:gd name="T8" fmla="*/ 998 w 1160"/>
                <a:gd name="T9" fmla="*/ 172 h 806"/>
                <a:gd name="T10" fmla="*/ 984 w 1160"/>
                <a:gd name="T11" fmla="*/ 126 h 806"/>
                <a:gd name="T12" fmla="*/ 910 w 1160"/>
                <a:gd name="T13" fmla="*/ 154 h 806"/>
                <a:gd name="T14" fmla="*/ 896 w 1160"/>
                <a:gd name="T15" fmla="*/ 198 h 806"/>
                <a:gd name="T16" fmla="*/ 856 w 1160"/>
                <a:gd name="T17" fmla="*/ 188 h 806"/>
                <a:gd name="T18" fmla="*/ 814 w 1160"/>
                <a:gd name="T19" fmla="*/ 198 h 806"/>
                <a:gd name="T20" fmla="*/ 796 w 1160"/>
                <a:gd name="T21" fmla="*/ 232 h 806"/>
                <a:gd name="T22" fmla="*/ 754 w 1160"/>
                <a:gd name="T23" fmla="*/ 198 h 806"/>
                <a:gd name="T24" fmla="*/ 754 w 1160"/>
                <a:gd name="T25" fmla="*/ 146 h 806"/>
                <a:gd name="T26" fmla="*/ 734 w 1160"/>
                <a:gd name="T27" fmla="*/ 86 h 806"/>
                <a:gd name="T28" fmla="*/ 714 w 1160"/>
                <a:gd name="T29" fmla="*/ 32 h 806"/>
                <a:gd name="T30" fmla="*/ 694 w 1160"/>
                <a:gd name="T31" fmla="*/ 0 h 806"/>
                <a:gd name="T32" fmla="*/ 626 w 1160"/>
                <a:gd name="T33" fmla="*/ 50 h 806"/>
                <a:gd name="T34" fmla="*/ 594 w 1160"/>
                <a:gd name="T35" fmla="*/ 76 h 806"/>
                <a:gd name="T36" fmla="*/ 546 w 1160"/>
                <a:gd name="T37" fmla="*/ 112 h 806"/>
                <a:gd name="T38" fmla="*/ 476 w 1160"/>
                <a:gd name="T39" fmla="*/ 92 h 806"/>
                <a:gd name="T40" fmla="*/ 438 w 1160"/>
                <a:gd name="T41" fmla="*/ 86 h 806"/>
                <a:gd name="T42" fmla="*/ 430 w 1160"/>
                <a:gd name="T43" fmla="*/ 32 h 806"/>
                <a:gd name="T44" fmla="*/ 390 w 1160"/>
                <a:gd name="T45" fmla="*/ 42 h 806"/>
                <a:gd name="T46" fmla="*/ 348 w 1160"/>
                <a:gd name="T47" fmla="*/ 32 h 806"/>
                <a:gd name="T48" fmla="*/ 324 w 1160"/>
                <a:gd name="T49" fmla="*/ 50 h 806"/>
                <a:gd name="T50" fmla="*/ 282 w 1160"/>
                <a:gd name="T51" fmla="*/ 42 h 806"/>
                <a:gd name="T52" fmla="*/ 248 w 1160"/>
                <a:gd name="T53" fmla="*/ 76 h 806"/>
                <a:gd name="T54" fmla="*/ 282 w 1160"/>
                <a:gd name="T55" fmla="*/ 102 h 806"/>
                <a:gd name="T56" fmla="*/ 282 w 1160"/>
                <a:gd name="T57" fmla="*/ 126 h 806"/>
                <a:gd name="T58" fmla="*/ 248 w 1160"/>
                <a:gd name="T59" fmla="*/ 162 h 806"/>
                <a:gd name="T60" fmla="*/ 276 w 1160"/>
                <a:gd name="T61" fmla="*/ 232 h 806"/>
                <a:gd name="T62" fmla="*/ 268 w 1160"/>
                <a:gd name="T63" fmla="*/ 378 h 806"/>
                <a:gd name="T64" fmla="*/ 256 w 1160"/>
                <a:gd name="T65" fmla="*/ 432 h 806"/>
                <a:gd name="T66" fmla="*/ 196 w 1160"/>
                <a:gd name="T67" fmla="*/ 448 h 806"/>
                <a:gd name="T68" fmla="*/ 126 w 1160"/>
                <a:gd name="T69" fmla="*/ 466 h 806"/>
                <a:gd name="T70" fmla="*/ 86 w 1160"/>
                <a:gd name="T71" fmla="*/ 500 h 806"/>
                <a:gd name="T72" fmla="*/ 46 w 1160"/>
                <a:gd name="T73" fmla="*/ 570 h 806"/>
                <a:gd name="T74" fmla="*/ 26 w 1160"/>
                <a:gd name="T75" fmla="*/ 612 h 806"/>
                <a:gd name="T76" fmla="*/ 0 w 1160"/>
                <a:gd name="T77" fmla="*/ 654 h 806"/>
                <a:gd name="T78" fmla="*/ 214 w 1160"/>
                <a:gd name="T79" fmla="*/ 724 h 806"/>
                <a:gd name="T80" fmla="*/ 492 w 1160"/>
                <a:gd name="T81" fmla="*/ 804 h 806"/>
                <a:gd name="T82" fmla="*/ 532 w 1160"/>
                <a:gd name="T83" fmla="*/ 776 h 806"/>
                <a:gd name="T84" fmla="*/ 572 w 1160"/>
                <a:gd name="T85" fmla="*/ 776 h 806"/>
                <a:gd name="T86" fmla="*/ 600 w 1160"/>
                <a:gd name="T87" fmla="*/ 768 h 806"/>
                <a:gd name="T88" fmla="*/ 626 w 1160"/>
                <a:gd name="T89" fmla="*/ 742 h 806"/>
                <a:gd name="T90" fmla="*/ 660 w 1160"/>
                <a:gd name="T91" fmla="*/ 716 h 806"/>
                <a:gd name="T92" fmla="*/ 694 w 1160"/>
                <a:gd name="T93" fmla="*/ 698 h 806"/>
                <a:gd name="T94" fmla="*/ 734 w 1160"/>
                <a:gd name="T95" fmla="*/ 692 h 806"/>
                <a:gd name="T96" fmla="*/ 774 w 1160"/>
                <a:gd name="T97" fmla="*/ 716 h 806"/>
                <a:gd name="T98" fmla="*/ 814 w 1160"/>
                <a:gd name="T99" fmla="*/ 724 h 806"/>
                <a:gd name="T100" fmla="*/ 936 w 1160"/>
                <a:gd name="T101" fmla="*/ 716 h 806"/>
                <a:gd name="T102" fmla="*/ 992 w 1160"/>
                <a:gd name="T103" fmla="*/ 724 h 806"/>
                <a:gd name="T104" fmla="*/ 1032 w 1160"/>
                <a:gd name="T105" fmla="*/ 710 h 806"/>
                <a:gd name="T106" fmla="*/ 1060 w 1160"/>
                <a:gd name="T107" fmla="*/ 632 h 806"/>
                <a:gd name="T108" fmla="*/ 1160 w 1160"/>
                <a:gd name="T109" fmla="*/ 286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60" h="806">
                  <a:moveTo>
                    <a:pt x="1160" y="286"/>
                  </a:moveTo>
                  <a:lnTo>
                    <a:pt x="1160" y="268"/>
                  </a:lnTo>
                  <a:lnTo>
                    <a:pt x="1140" y="276"/>
                  </a:lnTo>
                  <a:lnTo>
                    <a:pt x="1120" y="276"/>
                  </a:lnTo>
                  <a:lnTo>
                    <a:pt x="1106" y="268"/>
                  </a:lnTo>
                  <a:lnTo>
                    <a:pt x="1100" y="248"/>
                  </a:lnTo>
                  <a:lnTo>
                    <a:pt x="1094" y="240"/>
                  </a:lnTo>
                  <a:lnTo>
                    <a:pt x="1080" y="240"/>
                  </a:lnTo>
                  <a:lnTo>
                    <a:pt x="1064" y="240"/>
                  </a:lnTo>
                  <a:lnTo>
                    <a:pt x="1052" y="240"/>
                  </a:lnTo>
                  <a:lnTo>
                    <a:pt x="1032" y="232"/>
                  </a:lnTo>
                  <a:lnTo>
                    <a:pt x="1018" y="224"/>
                  </a:lnTo>
                  <a:lnTo>
                    <a:pt x="1018" y="208"/>
                  </a:lnTo>
                  <a:lnTo>
                    <a:pt x="1004" y="188"/>
                  </a:lnTo>
                  <a:lnTo>
                    <a:pt x="998" y="172"/>
                  </a:lnTo>
                  <a:lnTo>
                    <a:pt x="992" y="154"/>
                  </a:lnTo>
                  <a:lnTo>
                    <a:pt x="984" y="136"/>
                  </a:lnTo>
                  <a:lnTo>
                    <a:pt x="984" y="126"/>
                  </a:lnTo>
                  <a:lnTo>
                    <a:pt x="930" y="126"/>
                  </a:lnTo>
                  <a:lnTo>
                    <a:pt x="916" y="136"/>
                  </a:lnTo>
                  <a:lnTo>
                    <a:pt x="910" y="154"/>
                  </a:lnTo>
                  <a:lnTo>
                    <a:pt x="904" y="172"/>
                  </a:lnTo>
                  <a:lnTo>
                    <a:pt x="890" y="180"/>
                  </a:lnTo>
                  <a:lnTo>
                    <a:pt x="896" y="198"/>
                  </a:lnTo>
                  <a:lnTo>
                    <a:pt x="882" y="208"/>
                  </a:lnTo>
                  <a:lnTo>
                    <a:pt x="870" y="208"/>
                  </a:lnTo>
                  <a:lnTo>
                    <a:pt x="856" y="188"/>
                  </a:lnTo>
                  <a:lnTo>
                    <a:pt x="842" y="188"/>
                  </a:lnTo>
                  <a:lnTo>
                    <a:pt x="828" y="188"/>
                  </a:lnTo>
                  <a:lnTo>
                    <a:pt x="814" y="198"/>
                  </a:lnTo>
                  <a:lnTo>
                    <a:pt x="808" y="214"/>
                  </a:lnTo>
                  <a:lnTo>
                    <a:pt x="802" y="232"/>
                  </a:lnTo>
                  <a:lnTo>
                    <a:pt x="796" y="232"/>
                  </a:lnTo>
                  <a:lnTo>
                    <a:pt x="782" y="224"/>
                  </a:lnTo>
                  <a:lnTo>
                    <a:pt x="768" y="214"/>
                  </a:lnTo>
                  <a:lnTo>
                    <a:pt x="754" y="198"/>
                  </a:lnTo>
                  <a:lnTo>
                    <a:pt x="754" y="180"/>
                  </a:lnTo>
                  <a:lnTo>
                    <a:pt x="762" y="162"/>
                  </a:lnTo>
                  <a:lnTo>
                    <a:pt x="754" y="146"/>
                  </a:lnTo>
                  <a:lnTo>
                    <a:pt x="754" y="112"/>
                  </a:lnTo>
                  <a:lnTo>
                    <a:pt x="746" y="92"/>
                  </a:lnTo>
                  <a:lnTo>
                    <a:pt x="734" y="86"/>
                  </a:lnTo>
                  <a:lnTo>
                    <a:pt x="720" y="68"/>
                  </a:lnTo>
                  <a:lnTo>
                    <a:pt x="720" y="50"/>
                  </a:lnTo>
                  <a:lnTo>
                    <a:pt x="714" y="32"/>
                  </a:lnTo>
                  <a:lnTo>
                    <a:pt x="708" y="16"/>
                  </a:lnTo>
                  <a:lnTo>
                    <a:pt x="708" y="0"/>
                  </a:lnTo>
                  <a:lnTo>
                    <a:pt x="694" y="0"/>
                  </a:lnTo>
                  <a:lnTo>
                    <a:pt x="666" y="16"/>
                  </a:lnTo>
                  <a:lnTo>
                    <a:pt x="640" y="16"/>
                  </a:lnTo>
                  <a:lnTo>
                    <a:pt x="626" y="50"/>
                  </a:lnTo>
                  <a:lnTo>
                    <a:pt x="618" y="68"/>
                  </a:lnTo>
                  <a:lnTo>
                    <a:pt x="608" y="68"/>
                  </a:lnTo>
                  <a:lnTo>
                    <a:pt x="594" y="76"/>
                  </a:lnTo>
                  <a:lnTo>
                    <a:pt x="580" y="76"/>
                  </a:lnTo>
                  <a:lnTo>
                    <a:pt x="572" y="92"/>
                  </a:lnTo>
                  <a:lnTo>
                    <a:pt x="546" y="112"/>
                  </a:lnTo>
                  <a:lnTo>
                    <a:pt x="532" y="102"/>
                  </a:lnTo>
                  <a:lnTo>
                    <a:pt x="490" y="102"/>
                  </a:lnTo>
                  <a:lnTo>
                    <a:pt x="476" y="92"/>
                  </a:lnTo>
                  <a:lnTo>
                    <a:pt x="464" y="86"/>
                  </a:lnTo>
                  <a:lnTo>
                    <a:pt x="452" y="86"/>
                  </a:lnTo>
                  <a:lnTo>
                    <a:pt x="438" y="86"/>
                  </a:lnTo>
                  <a:lnTo>
                    <a:pt x="430" y="68"/>
                  </a:lnTo>
                  <a:lnTo>
                    <a:pt x="430" y="50"/>
                  </a:lnTo>
                  <a:lnTo>
                    <a:pt x="430" y="32"/>
                  </a:lnTo>
                  <a:lnTo>
                    <a:pt x="418" y="16"/>
                  </a:lnTo>
                  <a:lnTo>
                    <a:pt x="404" y="32"/>
                  </a:lnTo>
                  <a:lnTo>
                    <a:pt x="390" y="42"/>
                  </a:lnTo>
                  <a:lnTo>
                    <a:pt x="378" y="42"/>
                  </a:lnTo>
                  <a:lnTo>
                    <a:pt x="362" y="32"/>
                  </a:lnTo>
                  <a:lnTo>
                    <a:pt x="348" y="32"/>
                  </a:lnTo>
                  <a:lnTo>
                    <a:pt x="344" y="50"/>
                  </a:lnTo>
                  <a:lnTo>
                    <a:pt x="336" y="50"/>
                  </a:lnTo>
                  <a:lnTo>
                    <a:pt x="324" y="50"/>
                  </a:lnTo>
                  <a:lnTo>
                    <a:pt x="310" y="50"/>
                  </a:lnTo>
                  <a:lnTo>
                    <a:pt x="296" y="42"/>
                  </a:lnTo>
                  <a:lnTo>
                    <a:pt x="282" y="42"/>
                  </a:lnTo>
                  <a:lnTo>
                    <a:pt x="268" y="42"/>
                  </a:lnTo>
                  <a:lnTo>
                    <a:pt x="256" y="60"/>
                  </a:lnTo>
                  <a:lnTo>
                    <a:pt x="248" y="76"/>
                  </a:lnTo>
                  <a:lnTo>
                    <a:pt x="256" y="92"/>
                  </a:lnTo>
                  <a:lnTo>
                    <a:pt x="268" y="92"/>
                  </a:lnTo>
                  <a:lnTo>
                    <a:pt x="282" y="102"/>
                  </a:lnTo>
                  <a:lnTo>
                    <a:pt x="296" y="102"/>
                  </a:lnTo>
                  <a:lnTo>
                    <a:pt x="296" y="120"/>
                  </a:lnTo>
                  <a:lnTo>
                    <a:pt x="282" y="126"/>
                  </a:lnTo>
                  <a:lnTo>
                    <a:pt x="268" y="120"/>
                  </a:lnTo>
                  <a:lnTo>
                    <a:pt x="240" y="146"/>
                  </a:lnTo>
                  <a:lnTo>
                    <a:pt x="248" y="162"/>
                  </a:lnTo>
                  <a:lnTo>
                    <a:pt x="248" y="180"/>
                  </a:lnTo>
                  <a:lnTo>
                    <a:pt x="256" y="198"/>
                  </a:lnTo>
                  <a:lnTo>
                    <a:pt x="276" y="232"/>
                  </a:lnTo>
                  <a:lnTo>
                    <a:pt x="276" y="308"/>
                  </a:lnTo>
                  <a:lnTo>
                    <a:pt x="268" y="336"/>
                  </a:lnTo>
                  <a:lnTo>
                    <a:pt x="268" y="378"/>
                  </a:lnTo>
                  <a:lnTo>
                    <a:pt x="262" y="396"/>
                  </a:lnTo>
                  <a:lnTo>
                    <a:pt x="262" y="414"/>
                  </a:lnTo>
                  <a:lnTo>
                    <a:pt x="256" y="432"/>
                  </a:lnTo>
                  <a:lnTo>
                    <a:pt x="228" y="448"/>
                  </a:lnTo>
                  <a:lnTo>
                    <a:pt x="216" y="448"/>
                  </a:lnTo>
                  <a:lnTo>
                    <a:pt x="196" y="448"/>
                  </a:lnTo>
                  <a:lnTo>
                    <a:pt x="180" y="456"/>
                  </a:lnTo>
                  <a:lnTo>
                    <a:pt x="168" y="466"/>
                  </a:lnTo>
                  <a:lnTo>
                    <a:pt x="126" y="466"/>
                  </a:lnTo>
                  <a:lnTo>
                    <a:pt x="114" y="476"/>
                  </a:lnTo>
                  <a:lnTo>
                    <a:pt x="98" y="492"/>
                  </a:lnTo>
                  <a:lnTo>
                    <a:pt x="86" y="500"/>
                  </a:lnTo>
                  <a:lnTo>
                    <a:pt x="72" y="518"/>
                  </a:lnTo>
                  <a:lnTo>
                    <a:pt x="52" y="552"/>
                  </a:lnTo>
                  <a:lnTo>
                    <a:pt x="46" y="570"/>
                  </a:lnTo>
                  <a:lnTo>
                    <a:pt x="46" y="586"/>
                  </a:lnTo>
                  <a:lnTo>
                    <a:pt x="38" y="612"/>
                  </a:lnTo>
                  <a:lnTo>
                    <a:pt x="26" y="612"/>
                  </a:lnTo>
                  <a:lnTo>
                    <a:pt x="12" y="622"/>
                  </a:lnTo>
                  <a:lnTo>
                    <a:pt x="4" y="640"/>
                  </a:lnTo>
                  <a:lnTo>
                    <a:pt x="0" y="654"/>
                  </a:lnTo>
                  <a:lnTo>
                    <a:pt x="0" y="674"/>
                  </a:lnTo>
                  <a:lnTo>
                    <a:pt x="42" y="684"/>
                  </a:lnTo>
                  <a:lnTo>
                    <a:pt x="214" y="724"/>
                  </a:lnTo>
                  <a:lnTo>
                    <a:pt x="258" y="724"/>
                  </a:lnTo>
                  <a:lnTo>
                    <a:pt x="496" y="806"/>
                  </a:lnTo>
                  <a:lnTo>
                    <a:pt x="492" y="804"/>
                  </a:lnTo>
                  <a:lnTo>
                    <a:pt x="512" y="776"/>
                  </a:lnTo>
                  <a:lnTo>
                    <a:pt x="518" y="776"/>
                  </a:lnTo>
                  <a:lnTo>
                    <a:pt x="532" y="776"/>
                  </a:lnTo>
                  <a:lnTo>
                    <a:pt x="546" y="776"/>
                  </a:lnTo>
                  <a:lnTo>
                    <a:pt x="562" y="788"/>
                  </a:lnTo>
                  <a:lnTo>
                    <a:pt x="572" y="776"/>
                  </a:lnTo>
                  <a:lnTo>
                    <a:pt x="584" y="776"/>
                  </a:lnTo>
                  <a:lnTo>
                    <a:pt x="590" y="788"/>
                  </a:lnTo>
                  <a:lnTo>
                    <a:pt x="600" y="768"/>
                  </a:lnTo>
                  <a:lnTo>
                    <a:pt x="608" y="752"/>
                  </a:lnTo>
                  <a:lnTo>
                    <a:pt x="612" y="734"/>
                  </a:lnTo>
                  <a:lnTo>
                    <a:pt x="626" y="742"/>
                  </a:lnTo>
                  <a:lnTo>
                    <a:pt x="640" y="742"/>
                  </a:lnTo>
                  <a:lnTo>
                    <a:pt x="654" y="734"/>
                  </a:lnTo>
                  <a:lnTo>
                    <a:pt x="660" y="716"/>
                  </a:lnTo>
                  <a:lnTo>
                    <a:pt x="666" y="698"/>
                  </a:lnTo>
                  <a:lnTo>
                    <a:pt x="680" y="692"/>
                  </a:lnTo>
                  <a:lnTo>
                    <a:pt x="694" y="698"/>
                  </a:lnTo>
                  <a:lnTo>
                    <a:pt x="708" y="682"/>
                  </a:lnTo>
                  <a:lnTo>
                    <a:pt x="720" y="692"/>
                  </a:lnTo>
                  <a:lnTo>
                    <a:pt x="734" y="692"/>
                  </a:lnTo>
                  <a:lnTo>
                    <a:pt x="746" y="698"/>
                  </a:lnTo>
                  <a:lnTo>
                    <a:pt x="762" y="710"/>
                  </a:lnTo>
                  <a:lnTo>
                    <a:pt x="774" y="716"/>
                  </a:lnTo>
                  <a:lnTo>
                    <a:pt x="788" y="716"/>
                  </a:lnTo>
                  <a:lnTo>
                    <a:pt x="802" y="716"/>
                  </a:lnTo>
                  <a:lnTo>
                    <a:pt x="814" y="724"/>
                  </a:lnTo>
                  <a:lnTo>
                    <a:pt x="896" y="724"/>
                  </a:lnTo>
                  <a:lnTo>
                    <a:pt x="916" y="716"/>
                  </a:lnTo>
                  <a:lnTo>
                    <a:pt x="936" y="716"/>
                  </a:lnTo>
                  <a:lnTo>
                    <a:pt x="956" y="724"/>
                  </a:lnTo>
                  <a:lnTo>
                    <a:pt x="970" y="724"/>
                  </a:lnTo>
                  <a:lnTo>
                    <a:pt x="992" y="724"/>
                  </a:lnTo>
                  <a:lnTo>
                    <a:pt x="1012" y="716"/>
                  </a:lnTo>
                  <a:lnTo>
                    <a:pt x="1026" y="716"/>
                  </a:lnTo>
                  <a:lnTo>
                    <a:pt x="1032" y="710"/>
                  </a:lnTo>
                  <a:lnTo>
                    <a:pt x="1032" y="692"/>
                  </a:lnTo>
                  <a:lnTo>
                    <a:pt x="1054" y="640"/>
                  </a:lnTo>
                  <a:lnTo>
                    <a:pt x="1060" y="632"/>
                  </a:lnTo>
                  <a:lnTo>
                    <a:pt x="1038" y="594"/>
                  </a:lnTo>
                  <a:lnTo>
                    <a:pt x="1038" y="578"/>
                  </a:lnTo>
                  <a:lnTo>
                    <a:pt x="1160" y="286"/>
                  </a:lnTo>
                  <a:close/>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82" name="Freeform 90">
              <a:extLst>
                <a:ext uri="{FF2B5EF4-FFF2-40B4-BE49-F238E27FC236}">
                  <a16:creationId xmlns:a16="http://schemas.microsoft.com/office/drawing/2014/main" id="{DAE6C021-8B73-4492-A666-AB27F38CAC71}"/>
                </a:ext>
              </a:extLst>
            </p:cNvPr>
            <p:cNvSpPr>
              <a:spLocks/>
            </p:cNvSpPr>
            <p:nvPr/>
          </p:nvSpPr>
          <p:spPr bwMode="auto">
            <a:xfrm>
              <a:off x="3993244" y="3248399"/>
              <a:ext cx="185358" cy="146492"/>
            </a:xfrm>
            <a:custGeom>
              <a:avLst/>
              <a:gdLst>
                <a:gd name="T0" fmla="*/ 120 w 124"/>
                <a:gd name="T1" fmla="*/ 30 h 98"/>
                <a:gd name="T2" fmla="*/ 118 w 124"/>
                <a:gd name="T3" fmla="*/ 30 h 98"/>
                <a:gd name="T4" fmla="*/ 114 w 124"/>
                <a:gd name="T5" fmla="*/ 26 h 98"/>
                <a:gd name="T6" fmla="*/ 110 w 124"/>
                <a:gd name="T7" fmla="*/ 24 h 98"/>
                <a:gd name="T8" fmla="*/ 104 w 124"/>
                <a:gd name="T9" fmla="*/ 20 h 98"/>
                <a:gd name="T10" fmla="*/ 96 w 124"/>
                <a:gd name="T11" fmla="*/ 16 h 98"/>
                <a:gd name="T12" fmla="*/ 90 w 124"/>
                <a:gd name="T13" fmla="*/ 12 h 98"/>
                <a:gd name="T14" fmla="*/ 84 w 124"/>
                <a:gd name="T15" fmla="*/ 8 h 98"/>
                <a:gd name="T16" fmla="*/ 78 w 124"/>
                <a:gd name="T17" fmla="*/ 8 h 98"/>
                <a:gd name="T18" fmla="*/ 76 w 124"/>
                <a:gd name="T19" fmla="*/ 8 h 98"/>
                <a:gd name="T20" fmla="*/ 74 w 124"/>
                <a:gd name="T21" fmla="*/ 8 h 98"/>
                <a:gd name="T22" fmla="*/ 72 w 124"/>
                <a:gd name="T23" fmla="*/ 8 h 98"/>
                <a:gd name="T24" fmla="*/ 70 w 124"/>
                <a:gd name="T25" fmla="*/ 10 h 98"/>
                <a:gd name="T26" fmla="*/ 66 w 124"/>
                <a:gd name="T27" fmla="*/ 10 h 98"/>
                <a:gd name="T28" fmla="*/ 64 w 124"/>
                <a:gd name="T29" fmla="*/ 12 h 98"/>
                <a:gd name="T30" fmla="*/ 60 w 124"/>
                <a:gd name="T31" fmla="*/ 12 h 98"/>
                <a:gd name="T32" fmla="*/ 58 w 124"/>
                <a:gd name="T33" fmla="*/ 12 h 98"/>
                <a:gd name="T34" fmla="*/ 54 w 124"/>
                <a:gd name="T35" fmla="*/ 12 h 98"/>
                <a:gd name="T36" fmla="*/ 48 w 124"/>
                <a:gd name="T37" fmla="*/ 10 h 98"/>
                <a:gd name="T38" fmla="*/ 44 w 124"/>
                <a:gd name="T39" fmla="*/ 8 h 98"/>
                <a:gd name="T40" fmla="*/ 40 w 124"/>
                <a:gd name="T41" fmla="*/ 6 h 98"/>
                <a:gd name="T42" fmla="*/ 36 w 124"/>
                <a:gd name="T43" fmla="*/ 4 h 98"/>
                <a:gd name="T44" fmla="*/ 32 w 124"/>
                <a:gd name="T45" fmla="*/ 2 h 98"/>
                <a:gd name="T46" fmla="*/ 30 w 124"/>
                <a:gd name="T47" fmla="*/ 2 h 98"/>
                <a:gd name="T48" fmla="*/ 28 w 124"/>
                <a:gd name="T49" fmla="*/ 0 h 98"/>
                <a:gd name="T50" fmla="*/ 22 w 124"/>
                <a:gd name="T51" fmla="*/ 28 h 98"/>
                <a:gd name="T52" fmla="*/ 0 w 124"/>
                <a:gd name="T53" fmla="*/ 46 h 98"/>
                <a:gd name="T54" fmla="*/ 8 w 124"/>
                <a:gd name="T55" fmla="*/ 82 h 98"/>
                <a:gd name="T56" fmla="*/ 34 w 124"/>
                <a:gd name="T57" fmla="*/ 98 h 98"/>
                <a:gd name="T58" fmla="*/ 52 w 124"/>
                <a:gd name="T59" fmla="*/ 98 h 98"/>
                <a:gd name="T60" fmla="*/ 62 w 124"/>
                <a:gd name="T61" fmla="*/ 82 h 98"/>
                <a:gd name="T62" fmla="*/ 90 w 124"/>
                <a:gd name="T63" fmla="*/ 50 h 98"/>
                <a:gd name="T64" fmla="*/ 112 w 124"/>
                <a:gd name="T65" fmla="*/ 40 h 98"/>
                <a:gd name="T66" fmla="*/ 124 w 124"/>
                <a:gd name="T67" fmla="*/ 2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4" h="98">
                  <a:moveTo>
                    <a:pt x="124" y="28"/>
                  </a:moveTo>
                  <a:lnTo>
                    <a:pt x="120" y="30"/>
                  </a:lnTo>
                  <a:lnTo>
                    <a:pt x="118" y="30"/>
                  </a:lnTo>
                  <a:lnTo>
                    <a:pt x="118" y="30"/>
                  </a:lnTo>
                  <a:lnTo>
                    <a:pt x="116" y="28"/>
                  </a:lnTo>
                  <a:lnTo>
                    <a:pt x="114" y="26"/>
                  </a:lnTo>
                  <a:lnTo>
                    <a:pt x="112" y="26"/>
                  </a:lnTo>
                  <a:lnTo>
                    <a:pt x="110" y="24"/>
                  </a:lnTo>
                  <a:lnTo>
                    <a:pt x="106" y="22"/>
                  </a:lnTo>
                  <a:lnTo>
                    <a:pt x="104" y="20"/>
                  </a:lnTo>
                  <a:lnTo>
                    <a:pt x="100" y="18"/>
                  </a:lnTo>
                  <a:lnTo>
                    <a:pt x="96" y="16"/>
                  </a:lnTo>
                  <a:lnTo>
                    <a:pt x="92" y="14"/>
                  </a:lnTo>
                  <a:lnTo>
                    <a:pt x="90" y="12"/>
                  </a:lnTo>
                  <a:lnTo>
                    <a:pt x="86" y="10"/>
                  </a:lnTo>
                  <a:lnTo>
                    <a:pt x="84" y="8"/>
                  </a:lnTo>
                  <a:lnTo>
                    <a:pt x="80" y="8"/>
                  </a:lnTo>
                  <a:lnTo>
                    <a:pt x="78" y="8"/>
                  </a:lnTo>
                  <a:lnTo>
                    <a:pt x="78" y="8"/>
                  </a:lnTo>
                  <a:lnTo>
                    <a:pt x="76" y="8"/>
                  </a:lnTo>
                  <a:lnTo>
                    <a:pt x="76" y="8"/>
                  </a:lnTo>
                  <a:lnTo>
                    <a:pt x="74" y="8"/>
                  </a:lnTo>
                  <a:lnTo>
                    <a:pt x="74" y="8"/>
                  </a:lnTo>
                  <a:lnTo>
                    <a:pt x="72" y="8"/>
                  </a:lnTo>
                  <a:lnTo>
                    <a:pt x="70" y="10"/>
                  </a:lnTo>
                  <a:lnTo>
                    <a:pt x="70" y="10"/>
                  </a:lnTo>
                  <a:lnTo>
                    <a:pt x="68" y="10"/>
                  </a:lnTo>
                  <a:lnTo>
                    <a:pt x="66" y="10"/>
                  </a:lnTo>
                  <a:lnTo>
                    <a:pt x="64" y="12"/>
                  </a:lnTo>
                  <a:lnTo>
                    <a:pt x="64" y="12"/>
                  </a:lnTo>
                  <a:lnTo>
                    <a:pt x="62" y="12"/>
                  </a:lnTo>
                  <a:lnTo>
                    <a:pt x="60" y="12"/>
                  </a:lnTo>
                  <a:lnTo>
                    <a:pt x="60" y="12"/>
                  </a:lnTo>
                  <a:lnTo>
                    <a:pt x="58" y="12"/>
                  </a:lnTo>
                  <a:lnTo>
                    <a:pt x="56" y="12"/>
                  </a:lnTo>
                  <a:lnTo>
                    <a:pt x="54" y="12"/>
                  </a:lnTo>
                  <a:lnTo>
                    <a:pt x="52" y="10"/>
                  </a:lnTo>
                  <a:lnTo>
                    <a:pt x="48" y="10"/>
                  </a:lnTo>
                  <a:lnTo>
                    <a:pt x="46" y="8"/>
                  </a:lnTo>
                  <a:lnTo>
                    <a:pt x="44" y="8"/>
                  </a:lnTo>
                  <a:lnTo>
                    <a:pt x="42" y="6"/>
                  </a:lnTo>
                  <a:lnTo>
                    <a:pt x="40" y="6"/>
                  </a:lnTo>
                  <a:lnTo>
                    <a:pt x="38" y="4"/>
                  </a:lnTo>
                  <a:lnTo>
                    <a:pt x="36" y="4"/>
                  </a:lnTo>
                  <a:lnTo>
                    <a:pt x="34" y="2"/>
                  </a:lnTo>
                  <a:lnTo>
                    <a:pt x="32" y="2"/>
                  </a:lnTo>
                  <a:lnTo>
                    <a:pt x="32" y="2"/>
                  </a:lnTo>
                  <a:lnTo>
                    <a:pt x="30" y="2"/>
                  </a:lnTo>
                  <a:lnTo>
                    <a:pt x="30" y="0"/>
                  </a:lnTo>
                  <a:lnTo>
                    <a:pt x="28" y="0"/>
                  </a:lnTo>
                  <a:lnTo>
                    <a:pt x="28" y="12"/>
                  </a:lnTo>
                  <a:lnTo>
                    <a:pt x="22" y="28"/>
                  </a:lnTo>
                  <a:lnTo>
                    <a:pt x="14" y="46"/>
                  </a:lnTo>
                  <a:lnTo>
                    <a:pt x="0" y="46"/>
                  </a:lnTo>
                  <a:lnTo>
                    <a:pt x="0" y="62"/>
                  </a:lnTo>
                  <a:lnTo>
                    <a:pt x="8" y="82"/>
                  </a:lnTo>
                  <a:lnTo>
                    <a:pt x="22" y="90"/>
                  </a:lnTo>
                  <a:lnTo>
                    <a:pt x="34" y="98"/>
                  </a:lnTo>
                  <a:lnTo>
                    <a:pt x="48" y="98"/>
                  </a:lnTo>
                  <a:lnTo>
                    <a:pt x="52" y="98"/>
                  </a:lnTo>
                  <a:lnTo>
                    <a:pt x="56" y="98"/>
                  </a:lnTo>
                  <a:lnTo>
                    <a:pt x="62" y="82"/>
                  </a:lnTo>
                  <a:lnTo>
                    <a:pt x="78" y="62"/>
                  </a:lnTo>
                  <a:lnTo>
                    <a:pt x="90" y="50"/>
                  </a:lnTo>
                  <a:lnTo>
                    <a:pt x="104" y="46"/>
                  </a:lnTo>
                  <a:lnTo>
                    <a:pt x="112" y="40"/>
                  </a:lnTo>
                  <a:lnTo>
                    <a:pt x="110" y="38"/>
                  </a:lnTo>
                  <a:lnTo>
                    <a:pt x="124" y="28"/>
                  </a:lnTo>
                  <a:lnTo>
                    <a:pt x="124" y="28"/>
                  </a:lnTo>
                  <a:close/>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83" name="Freeform 91">
              <a:extLst>
                <a:ext uri="{FF2B5EF4-FFF2-40B4-BE49-F238E27FC236}">
                  <a16:creationId xmlns:a16="http://schemas.microsoft.com/office/drawing/2014/main" id="{0CDAED75-6B9B-451A-B029-06FC48C30345}"/>
                </a:ext>
              </a:extLst>
            </p:cNvPr>
            <p:cNvSpPr>
              <a:spLocks/>
            </p:cNvSpPr>
            <p:nvPr/>
          </p:nvSpPr>
          <p:spPr bwMode="auto">
            <a:xfrm>
              <a:off x="2531310" y="3469632"/>
              <a:ext cx="708545" cy="681638"/>
            </a:xfrm>
            <a:custGeom>
              <a:avLst/>
              <a:gdLst>
                <a:gd name="T0" fmla="*/ 386 w 474"/>
                <a:gd name="T1" fmla="*/ 286 h 456"/>
                <a:gd name="T2" fmla="*/ 366 w 474"/>
                <a:gd name="T3" fmla="*/ 252 h 456"/>
                <a:gd name="T4" fmla="*/ 386 w 474"/>
                <a:gd name="T5" fmla="*/ 216 h 456"/>
                <a:gd name="T6" fmla="*/ 412 w 474"/>
                <a:gd name="T7" fmla="*/ 198 h 456"/>
                <a:gd name="T8" fmla="*/ 412 w 474"/>
                <a:gd name="T9" fmla="*/ 166 h 456"/>
                <a:gd name="T10" fmla="*/ 426 w 474"/>
                <a:gd name="T11" fmla="*/ 148 h 456"/>
                <a:gd name="T12" fmla="*/ 454 w 474"/>
                <a:gd name="T13" fmla="*/ 156 h 456"/>
                <a:gd name="T14" fmla="*/ 454 w 474"/>
                <a:gd name="T15" fmla="*/ 156 h 456"/>
                <a:gd name="T16" fmla="*/ 474 w 474"/>
                <a:gd name="T17" fmla="*/ 132 h 456"/>
                <a:gd name="T18" fmla="*/ 462 w 474"/>
                <a:gd name="T19" fmla="*/ 104 h 456"/>
                <a:gd name="T20" fmla="*/ 446 w 474"/>
                <a:gd name="T21" fmla="*/ 80 h 456"/>
                <a:gd name="T22" fmla="*/ 446 w 474"/>
                <a:gd name="T23" fmla="*/ 66 h 456"/>
                <a:gd name="T24" fmla="*/ 364 w 474"/>
                <a:gd name="T25" fmla="*/ 46 h 456"/>
                <a:gd name="T26" fmla="*/ 288 w 474"/>
                <a:gd name="T27" fmla="*/ 54 h 456"/>
                <a:gd name="T28" fmla="*/ 254 w 474"/>
                <a:gd name="T29" fmla="*/ 28 h 456"/>
                <a:gd name="T30" fmla="*/ 170 w 474"/>
                <a:gd name="T31" fmla="*/ 12 h 456"/>
                <a:gd name="T32" fmla="*/ 168 w 474"/>
                <a:gd name="T33" fmla="*/ 26 h 456"/>
                <a:gd name="T34" fmla="*/ 162 w 474"/>
                <a:gd name="T35" fmla="*/ 62 h 456"/>
                <a:gd name="T36" fmla="*/ 148 w 474"/>
                <a:gd name="T37" fmla="*/ 96 h 456"/>
                <a:gd name="T38" fmla="*/ 142 w 474"/>
                <a:gd name="T39" fmla="*/ 132 h 456"/>
                <a:gd name="T40" fmla="*/ 120 w 474"/>
                <a:gd name="T41" fmla="*/ 148 h 456"/>
                <a:gd name="T42" fmla="*/ 96 w 474"/>
                <a:gd name="T43" fmla="*/ 174 h 456"/>
                <a:gd name="T44" fmla="*/ 82 w 474"/>
                <a:gd name="T45" fmla="*/ 200 h 456"/>
                <a:gd name="T46" fmla="*/ 54 w 474"/>
                <a:gd name="T47" fmla="*/ 208 h 456"/>
                <a:gd name="T48" fmla="*/ 40 w 474"/>
                <a:gd name="T49" fmla="*/ 244 h 456"/>
                <a:gd name="T50" fmla="*/ 20 w 474"/>
                <a:gd name="T51" fmla="*/ 278 h 456"/>
                <a:gd name="T52" fmla="*/ 0 w 474"/>
                <a:gd name="T53" fmla="*/ 312 h 456"/>
                <a:gd name="T54" fmla="*/ 0 w 474"/>
                <a:gd name="T55" fmla="*/ 346 h 456"/>
                <a:gd name="T56" fmla="*/ 0 w 474"/>
                <a:gd name="T57" fmla="*/ 356 h 456"/>
                <a:gd name="T58" fmla="*/ 28 w 474"/>
                <a:gd name="T59" fmla="*/ 382 h 456"/>
                <a:gd name="T60" fmla="*/ 56 w 474"/>
                <a:gd name="T61" fmla="*/ 390 h 456"/>
                <a:gd name="T62" fmla="*/ 84 w 474"/>
                <a:gd name="T63" fmla="*/ 416 h 456"/>
                <a:gd name="T64" fmla="*/ 110 w 474"/>
                <a:gd name="T65" fmla="*/ 416 h 456"/>
                <a:gd name="T66" fmla="*/ 136 w 474"/>
                <a:gd name="T67" fmla="*/ 426 h 456"/>
                <a:gd name="T68" fmla="*/ 138 w 474"/>
                <a:gd name="T69" fmla="*/ 456 h 456"/>
                <a:gd name="T70" fmla="*/ 154 w 474"/>
                <a:gd name="T71" fmla="*/ 440 h 456"/>
                <a:gd name="T72" fmla="*/ 168 w 474"/>
                <a:gd name="T73" fmla="*/ 408 h 456"/>
                <a:gd name="T74" fmla="*/ 196 w 474"/>
                <a:gd name="T75" fmla="*/ 392 h 456"/>
                <a:gd name="T76" fmla="*/ 224 w 474"/>
                <a:gd name="T77" fmla="*/ 382 h 456"/>
                <a:gd name="T78" fmla="*/ 250 w 474"/>
                <a:gd name="T79" fmla="*/ 392 h 456"/>
                <a:gd name="T80" fmla="*/ 278 w 474"/>
                <a:gd name="T81" fmla="*/ 382 h 456"/>
                <a:gd name="T82" fmla="*/ 304 w 474"/>
                <a:gd name="T83" fmla="*/ 382 h 456"/>
                <a:gd name="T84" fmla="*/ 352 w 474"/>
                <a:gd name="T85" fmla="*/ 372 h 456"/>
                <a:gd name="T86" fmla="*/ 372 w 474"/>
                <a:gd name="T87" fmla="*/ 346 h 456"/>
                <a:gd name="T88" fmla="*/ 366 w 474"/>
                <a:gd name="T89" fmla="*/ 32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4" h="456">
                  <a:moveTo>
                    <a:pt x="372" y="304"/>
                  </a:moveTo>
                  <a:lnTo>
                    <a:pt x="386" y="286"/>
                  </a:lnTo>
                  <a:lnTo>
                    <a:pt x="372" y="268"/>
                  </a:lnTo>
                  <a:lnTo>
                    <a:pt x="366" y="252"/>
                  </a:lnTo>
                  <a:lnTo>
                    <a:pt x="372" y="234"/>
                  </a:lnTo>
                  <a:lnTo>
                    <a:pt x="386" y="216"/>
                  </a:lnTo>
                  <a:lnTo>
                    <a:pt x="400" y="216"/>
                  </a:lnTo>
                  <a:lnTo>
                    <a:pt x="412" y="198"/>
                  </a:lnTo>
                  <a:lnTo>
                    <a:pt x="412" y="182"/>
                  </a:lnTo>
                  <a:lnTo>
                    <a:pt x="412" y="166"/>
                  </a:lnTo>
                  <a:lnTo>
                    <a:pt x="426" y="166"/>
                  </a:lnTo>
                  <a:lnTo>
                    <a:pt x="426" y="148"/>
                  </a:lnTo>
                  <a:lnTo>
                    <a:pt x="440" y="148"/>
                  </a:lnTo>
                  <a:lnTo>
                    <a:pt x="454" y="156"/>
                  </a:lnTo>
                  <a:lnTo>
                    <a:pt x="454" y="156"/>
                  </a:lnTo>
                  <a:lnTo>
                    <a:pt x="454" y="156"/>
                  </a:lnTo>
                  <a:lnTo>
                    <a:pt x="468" y="150"/>
                  </a:lnTo>
                  <a:lnTo>
                    <a:pt x="474" y="132"/>
                  </a:lnTo>
                  <a:lnTo>
                    <a:pt x="474" y="114"/>
                  </a:lnTo>
                  <a:lnTo>
                    <a:pt x="462" y="104"/>
                  </a:lnTo>
                  <a:lnTo>
                    <a:pt x="446" y="96"/>
                  </a:lnTo>
                  <a:lnTo>
                    <a:pt x="446" y="80"/>
                  </a:lnTo>
                  <a:lnTo>
                    <a:pt x="446" y="66"/>
                  </a:lnTo>
                  <a:lnTo>
                    <a:pt x="446" y="66"/>
                  </a:lnTo>
                  <a:lnTo>
                    <a:pt x="406" y="42"/>
                  </a:lnTo>
                  <a:lnTo>
                    <a:pt x="364" y="46"/>
                  </a:lnTo>
                  <a:lnTo>
                    <a:pt x="320" y="28"/>
                  </a:lnTo>
                  <a:lnTo>
                    <a:pt x="288" y="54"/>
                  </a:lnTo>
                  <a:lnTo>
                    <a:pt x="284" y="0"/>
                  </a:lnTo>
                  <a:lnTo>
                    <a:pt x="254" y="28"/>
                  </a:lnTo>
                  <a:lnTo>
                    <a:pt x="206" y="12"/>
                  </a:lnTo>
                  <a:lnTo>
                    <a:pt x="170" y="12"/>
                  </a:lnTo>
                  <a:lnTo>
                    <a:pt x="168" y="12"/>
                  </a:lnTo>
                  <a:lnTo>
                    <a:pt x="168" y="26"/>
                  </a:lnTo>
                  <a:lnTo>
                    <a:pt x="162" y="44"/>
                  </a:lnTo>
                  <a:lnTo>
                    <a:pt x="162" y="62"/>
                  </a:lnTo>
                  <a:lnTo>
                    <a:pt x="162" y="80"/>
                  </a:lnTo>
                  <a:lnTo>
                    <a:pt x="148" y="96"/>
                  </a:lnTo>
                  <a:lnTo>
                    <a:pt x="142" y="114"/>
                  </a:lnTo>
                  <a:lnTo>
                    <a:pt x="142" y="132"/>
                  </a:lnTo>
                  <a:lnTo>
                    <a:pt x="136" y="148"/>
                  </a:lnTo>
                  <a:lnTo>
                    <a:pt x="120" y="148"/>
                  </a:lnTo>
                  <a:lnTo>
                    <a:pt x="108" y="156"/>
                  </a:lnTo>
                  <a:lnTo>
                    <a:pt x="96" y="174"/>
                  </a:lnTo>
                  <a:lnTo>
                    <a:pt x="96" y="190"/>
                  </a:lnTo>
                  <a:lnTo>
                    <a:pt x="82" y="200"/>
                  </a:lnTo>
                  <a:lnTo>
                    <a:pt x="68" y="208"/>
                  </a:lnTo>
                  <a:lnTo>
                    <a:pt x="54" y="208"/>
                  </a:lnTo>
                  <a:lnTo>
                    <a:pt x="48" y="226"/>
                  </a:lnTo>
                  <a:lnTo>
                    <a:pt x="40" y="244"/>
                  </a:lnTo>
                  <a:lnTo>
                    <a:pt x="26" y="260"/>
                  </a:lnTo>
                  <a:lnTo>
                    <a:pt x="20" y="278"/>
                  </a:lnTo>
                  <a:lnTo>
                    <a:pt x="6" y="296"/>
                  </a:lnTo>
                  <a:lnTo>
                    <a:pt x="0" y="312"/>
                  </a:lnTo>
                  <a:lnTo>
                    <a:pt x="6" y="330"/>
                  </a:lnTo>
                  <a:lnTo>
                    <a:pt x="0" y="346"/>
                  </a:lnTo>
                  <a:lnTo>
                    <a:pt x="0" y="346"/>
                  </a:lnTo>
                  <a:lnTo>
                    <a:pt x="0" y="356"/>
                  </a:lnTo>
                  <a:lnTo>
                    <a:pt x="14" y="372"/>
                  </a:lnTo>
                  <a:lnTo>
                    <a:pt x="28" y="382"/>
                  </a:lnTo>
                  <a:lnTo>
                    <a:pt x="40" y="390"/>
                  </a:lnTo>
                  <a:lnTo>
                    <a:pt x="56" y="390"/>
                  </a:lnTo>
                  <a:lnTo>
                    <a:pt x="68" y="400"/>
                  </a:lnTo>
                  <a:lnTo>
                    <a:pt x="84" y="416"/>
                  </a:lnTo>
                  <a:lnTo>
                    <a:pt x="98" y="416"/>
                  </a:lnTo>
                  <a:lnTo>
                    <a:pt x="110" y="416"/>
                  </a:lnTo>
                  <a:lnTo>
                    <a:pt x="122" y="416"/>
                  </a:lnTo>
                  <a:lnTo>
                    <a:pt x="136" y="426"/>
                  </a:lnTo>
                  <a:lnTo>
                    <a:pt x="146" y="442"/>
                  </a:lnTo>
                  <a:lnTo>
                    <a:pt x="138" y="456"/>
                  </a:lnTo>
                  <a:lnTo>
                    <a:pt x="142" y="450"/>
                  </a:lnTo>
                  <a:lnTo>
                    <a:pt x="154" y="440"/>
                  </a:lnTo>
                  <a:lnTo>
                    <a:pt x="154" y="424"/>
                  </a:lnTo>
                  <a:lnTo>
                    <a:pt x="168" y="408"/>
                  </a:lnTo>
                  <a:lnTo>
                    <a:pt x="182" y="398"/>
                  </a:lnTo>
                  <a:lnTo>
                    <a:pt x="196" y="392"/>
                  </a:lnTo>
                  <a:lnTo>
                    <a:pt x="210" y="382"/>
                  </a:lnTo>
                  <a:lnTo>
                    <a:pt x="224" y="382"/>
                  </a:lnTo>
                  <a:lnTo>
                    <a:pt x="236" y="382"/>
                  </a:lnTo>
                  <a:lnTo>
                    <a:pt x="250" y="392"/>
                  </a:lnTo>
                  <a:lnTo>
                    <a:pt x="264" y="382"/>
                  </a:lnTo>
                  <a:lnTo>
                    <a:pt x="278" y="382"/>
                  </a:lnTo>
                  <a:lnTo>
                    <a:pt x="290" y="372"/>
                  </a:lnTo>
                  <a:lnTo>
                    <a:pt x="304" y="382"/>
                  </a:lnTo>
                  <a:lnTo>
                    <a:pt x="330" y="372"/>
                  </a:lnTo>
                  <a:lnTo>
                    <a:pt x="352" y="372"/>
                  </a:lnTo>
                  <a:lnTo>
                    <a:pt x="366" y="364"/>
                  </a:lnTo>
                  <a:lnTo>
                    <a:pt x="372" y="346"/>
                  </a:lnTo>
                  <a:lnTo>
                    <a:pt x="380" y="330"/>
                  </a:lnTo>
                  <a:lnTo>
                    <a:pt x="366" y="320"/>
                  </a:lnTo>
                  <a:lnTo>
                    <a:pt x="372" y="304"/>
                  </a:lnTo>
                  <a:close/>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84" name="Freeform 50">
              <a:extLst>
                <a:ext uri="{FF2B5EF4-FFF2-40B4-BE49-F238E27FC236}">
                  <a16:creationId xmlns:a16="http://schemas.microsoft.com/office/drawing/2014/main" id="{BC7A3822-67E0-4DF8-BEEB-FA99DEF7181D}"/>
                </a:ext>
              </a:extLst>
            </p:cNvPr>
            <p:cNvSpPr>
              <a:spLocks/>
            </p:cNvSpPr>
            <p:nvPr/>
          </p:nvSpPr>
          <p:spPr bwMode="auto">
            <a:xfrm>
              <a:off x="2369869" y="1795434"/>
              <a:ext cx="484322" cy="529166"/>
            </a:xfrm>
            <a:custGeom>
              <a:avLst/>
              <a:gdLst>
                <a:gd name="T0" fmla="*/ 8 w 324"/>
                <a:gd name="T1" fmla="*/ 126 h 354"/>
                <a:gd name="T2" fmla="*/ 34 w 324"/>
                <a:gd name="T3" fmla="*/ 134 h 354"/>
                <a:gd name="T4" fmla="*/ 62 w 324"/>
                <a:gd name="T5" fmla="*/ 134 h 354"/>
                <a:gd name="T6" fmla="*/ 88 w 324"/>
                <a:gd name="T7" fmla="*/ 126 h 354"/>
                <a:gd name="T8" fmla="*/ 116 w 324"/>
                <a:gd name="T9" fmla="*/ 134 h 354"/>
                <a:gd name="T10" fmla="*/ 142 w 324"/>
                <a:gd name="T11" fmla="*/ 126 h 354"/>
                <a:gd name="T12" fmla="*/ 160 w 324"/>
                <a:gd name="T13" fmla="*/ 110 h 354"/>
                <a:gd name="T14" fmla="*/ 176 w 324"/>
                <a:gd name="T15" fmla="*/ 74 h 354"/>
                <a:gd name="T16" fmla="*/ 184 w 324"/>
                <a:gd name="T17" fmla="*/ 42 h 354"/>
                <a:gd name="T18" fmla="*/ 210 w 324"/>
                <a:gd name="T19" fmla="*/ 24 h 354"/>
                <a:gd name="T20" fmla="*/ 220 w 324"/>
                <a:gd name="T21" fmla="*/ 0 h 354"/>
                <a:gd name="T22" fmla="*/ 244 w 324"/>
                <a:gd name="T23" fmla="*/ 24 h 354"/>
                <a:gd name="T24" fmla="*/ 256 w 324"/>
                <a:gd name="T25" fmla="*/ 58 h 354"/>
                <a:gd name="T26" fmla="*/ 256 w 324"/>
                <a:gd name="T27" fmla="*/ 92 h 354"/>
                <a:gd name="T28" fmla="*/ 270 w 324"/>
                <a:gd name="T29" fmla="*/ 126 h 354"/>
                <a:gd name="T30" fmla="*/ 290 w 324"/>
                <a:gd name="T31" fmla="*/ 160 h 354"/>
                <a:gd name="T32" fmla="*/ 316 w 324"/>
                <a:gd name="T33" fmla="*/ 170 h 354"/>
                <a:gd name="T34" fmla="*/ 316 w 324"/>
                <a:gd name="T35" fmla="*/ 206 h 354"/>
                <a:gd name="T36" fmla="*/ 304 w 324"/>
                <a:gd name="T37" fmla="*/ 230 h 354"/>
                <a:gd name="T38" fmla="*/ 276 w 324"/>
                <a:gd name="T39" fmla="*/ 254 h 354"/>
                <a:gd name="T40" fmla="*/ 250 w 324"/>
                <a:gd name="T41" fmla="*/ 282 h 354"/>
                <a:gd name="T42" fmla="*/ 228 w 324"/>
                <a:gd name="T43" fmla="*/ 308 h 354"/>
                <a:gd name="T44" fmla="*/ 216 w 324"/>
                <a:gd name="T45" fmla="*/ 334 h 354"/>
                <a:gd name="T46" fmla="*/ 188 w 324"/>
                <a:gd name="T47" fmla="*/ 354 h 354"/>
                <a:gd name="T48" fmla="*/ 160 w 324"/>
                <a:gd name="T49" fmla="*/ 334 h 354"/>
                <a:gd name="T50" fmla="*/ 148 w 324"/>
                <a:gd name="T51" fmla="*/ 298 h 354"/>
                <a:gd name="T52" fmla="*/ 120 w 324"/>
                <a:gd name="T53" fmla="*/ 274 h 354"/>
                <a:gd name="T54" fmla="*/ 120 w 324"/>
                <a:gd name="T55" fmla="*/ 238 h 354"/>
                <a:gd name="T56" fmla="*/ 94 w 324"/>
                <a:gd name="T57" fmla="*/ 214 h 354"/>
                <a:gd name="T58" fmla="*/ 76 w 324"/>
                <a:gd name="T59" fmla="*/ 196 h 354"/>
                <a:gd name="T60" fmla="*/ 54 w 324"/>
                <a:gd name="T61" fmla="*/ 176 h 354"/>
                <a:gd name="T62" fmla="*/ 28 w 324"/>
                <a:gd name="T63" fmla="*/ 160 h 354"/>
                <a:gd name="T64" fmla="*/ 14 w 324"/>
                <a:gd name="T65" fmla="*/ 144 h 354"/>
                <a:gd name="T66" fmla="*/ 0 w 324"/>
                <a:gd name="T67" fmla="*/ 12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4" h="354">
                  <a:moveTo>
                    <a:pt x="0" y="126"/>
                  </a:moveTo>
                  <a:lnTo>
                    <a:pt x="8" y="126"/>
                  </a:lnTo>
                  <a:lnTo>
                    <a:pt x="20" y="126"/>
                  </a:lnTo>
                  <a:lnTo>
                    <a:pt x="34" y="134"/>
                  </a:lnTo>
                  <a:lnTo>
                    <a:pt x="48" y="134"/>
                  </a:lnTo>
                  <a:lnTo>
                    <a:pt x="62" y="134"/>
                  </a:lnTo>
                  <a:lnTo>
                    <a:pt x="76" y="126"/>
                  </a:lnTo>
                  <a:lnTo>
                    <a:pt x="88" y="126"/>
                  </a:lnTo>
                  <a:lnTo>
                    <a:pt x="102" y="126"/>
                  </a:lnTo>
                  <a:lnTo>
                    <a:pt x="116" y="134"/>
                  </a:lnTo>
                  <a:lnTo>
                    <a:pt x="130" y="134"/>
                  </a:lnTo>
                  <a:lnTo>
                    <a:pt x="142" y="126"/>
                  </a:lnTo>
                  <a:lnTo>
                    <a:pt x="156" y="126"/>
                  </a:lnTo>
                  <a:lnTo>
                    <a:pt x="160" y="110"/>
                  </a:lnTo>
                  <a:lnTo>
                    <a:pt x="170" y="92"/>
                  </a:lnTo>
                  <a:lnTo>
                    <a:pt x="176" y="74"/>
                  </a:lnTo>
                  <a:lnTo>
                    <a:pt x="184" y="58"/>
                  </a:lnTo>
                  <a:lnTo>
                    <a:pt x="184" y="42"/>
                  </a:lnTo>
                  <a:lnTo>
                    <a:pt x="196" y="24"/>
                  </a:lnTo>
                  <a:lnTo>
                    <a:pt x="210" y="24"/>
                  </a:lnTo>
                  <a:lnTo>
                    <a:pt x="210" y="6"/>
                  </a:lnTo>
                  <a:lnTo>
                    <a:pt x="220" y="0"/>
                  </a:lnTo>
                  <a:lnTo>
                    <a:pt x="238" y="6"/>
                  </a:lnTo>
                  <a:lnTo>
                    <a:pt x="244" y="24"/>
                  </a:lnTo>
                  <a:lnTo>
                    <a:pt x="250" y="42"/>
                  </a:lnTo>
                  <a:lnTo>
                    <a:pt x="256" y="58"/>
                  </a:lnTo>
                  <a:lnTo>
                    <a:pt x="256" y="74"/>
                  </a:lnTo>
                  <a:lnTo>
                    <a:pt x="256" y="92"/>
                  </a:lnTo>
                  <a:lnTo>
                    <a:pt x="262" y="110"/>
                  </a:lnTo>
                  <a:lnTo>
                    <a:pt x="270" y="126"/>
                  </a:lnTo>
                  <a:lnTo>
                    <a:pt x="276" y="144"/>
                  </a:lnTo>
                  <a:lnTo>
                    <a:pt x="290" y="160"/>
                  </a:lnTo>
                  <a:lnTo>
                    <a:pt x="304" y="160"/>
                  </a:lnTo>
                  <a:lnTo>
                    <a:pt x="316" y="170"/>
                  </a:lnTo>
                  <a:lnTo>
                    <a:pt x="324" y="188"/>
                  </a:lnTo>
                  <a:lnTo>
                    <a:pt x="316" y="206"/>
                  </a:lnTo>
                  <a:lnTo>
                    <a:pt x="316" y="222"/>
                  </a:lnTo>
                  <a:lnTo>
                    <a:pt x="304" y="230"/>
                  </a:lnTo>
                  <a:lnTo>
                    <a:pt x="290" y="238"/>
                  </a:lnTo>
                  <a:lnTo>
                    <a:pt x="276" y="254"/>
                  </a:lnTo>
                  <a:lnTo>
                    <a:pt x="262" y="274"/>
                  </a:lnTo>
                  <a:lnTo>
                    <a:pt x="250" y="282"/>
                  </a:lnTo>
                  <a:lnTo>
                    <a:pt x="244" y="298"/>
                  </a:lnTo>
                  <a:lnTo>
                    <a:pt x="228" y="308"/>
                  </a:lnTo>
                  <a:lnTo>
                    <a:pt x="216" y="316"/>
                  </a:lnTo>
                  <a:lnTo>
                    <a:pt x="216" y="334"/>
                  </a:lnTo>
                  <a:lnTo>
                    <a:pt x="202" y="342"/>
                  </a:lnTo>
                  <a:lnTo>
                    <a:pt x="188" y="354"/>
                  </a:lnTo>
                  <a:lnTo>
                    <a:pt x="176" y="354"/>
                  </a:lnTo>
                  <a:lnTo>
                    <a:pt x="160" y="334"/>
                  </a:lnTo>
                  <a:lnTo>
                    <a:pt x="156" y="316"/>
                  </a:lnTo>
                  <a:lnTo>
                    <a:pt x="148" y="298"/>
                  </a:lnTo>
                  <a:lnTo>
                    <a:pt x="136" y="290"/>
                  </a:lnTo>
                  <a:lnTo>
                    <a:pt x="120" y="274"/>
                  </a:lnTo>
                  <a:lnTo>
                    <a:pt x="120" y="254"/>
                  </a:lnTo>
                  <a:lnTo>
                    <a:pt x="120" y="238"/>
                  </a:lnTo>
                  <a:lnTo>
                    <a:pt x="108" y="230"/>
                  </a:lnTo>
                  <a:lnTo>
                    <a:pt x="94" y="214"/>
                  </a:lnTo>
                  <a:lnTo>
                    <a:pt x="88" y="196"/>
                  </a:lnTo>
                  <a:lnTo>
                    <a:pt x="76" y="196"/>
                  </a:lnTo>
                  <a:lnTo>
                    <a:pt x="68" y="176"/>
                  </a:lnTo>
                  <a:lnTo>
                    <a:pt x="54" y="176"/>
                  </a:lnTo>
                  <a:lnTo>
                    <a:pt x="40" y="170"/>
                  </a:lnTo>
                  <a:lnTo>
                    <a:pt x="28" y="160"/>
                  </a:lnTo>
                  <a:lnTo>
                    <a:pt x="14" y="160"/>
                  </a:lnTo>
                  <a:lnTo>
                    <a:pt x="14" y="144"/>
                  </a:lnTo>
                  <a:lnTo>
                    <a:pt x="6" y="126"/>
                  </a:lnTo>
                  <a:lnTo>
                    <a:pt x="0" y="12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85" name="Freeform 54">
              <a:extLst>
                <a:ext uri="{FF2B5EF4-FFF2-40B4-BE49-F238E27FC236}">
                  <a16:creationId xmlns:a16="http://schemas.microsoft.com/office/drawing/2014/main" id="{324E3426-C909-4C50-B6DE-F405213F2D17}"/>
                </a:ext>
              </a:extLst>
            </p:cNvPr>
            <p:cNvSpPr>
              <a:spLocks/>
            </p:cNvSpPr>
            <p:nvPr/>
          </p:nvSpPr>
          <p:spPr bwMode="auto">
            <a:xfrm>
              <a:off x="2994704" y="2342538"/>
              <a:ext cx="648752" cy="920809"/>
            </a:xfrm>
            <a:custGeom>
              <a:avLst/>
              <a:gdLst>
                <a:gd name="T0" fmla="*/ 150 w 434"/>
                <a:gd name="T1" fmla="*/ 28 h 616"/>
                <a:gd name="T2" fmla="*/ 142 w 434"/>
                <a:gd name="T3" fmla="*/ 72 h 616"/>
                <a:gd name="T4" fmla="*/ 122 w 434"/>
                <a:gd name="T5" fmla="*/ 96 h 616"/>
                <a:gd name="T6" fmla="*/ 116 w 434"/>
                <a:gd name="T7" fmla="*/ 132 h 616"/>
                <a:gd name="T8" fmla="*/ 104 w 434"/>
                <a:gd name="T9" fmla="*/ 166 h 616"/>
                <a:gd name="T10" fmla="*/ 76 w 434"/>
                <a:gd name="T11" fmla="*/ 192 h 616"/>
                <a:gd name="T12" fmla="*/ 62 w 434"/>
                <a:gd name="T13" fmla="*/ 226 h 616"/>
                <a:gd name="T14" fmla="*/ 34 w 434"/>
                <a:gd name="T15" fmla="*/ 234 h 616"/>
                <a:gd name="T16" fmla="*/ 6 w 434"/>
                <a:gd name="T17" fmla="*/ 252 h 616"/>
                <a:gd name="T18" fmla="*/ 6 w 434"/>
                <a:gd name="T19" fmla="*/ 262 h 616"/>
                <a:gd name="T20" fmla="*/ 28 w 434"/>
                <a:gd name="T21" fmla="*/ 262 h 616"/>
                <a:gd name="T22" fmla="*/ 48 w 434"/>
                <a:gd name="T23" fmla="*/ 278 h 616"/>
                <a:gd name="T24" fmla="*/ 68 w 434"/>
                <a:gd name="T25" fmla="*/ 304 h 616"/>
                <a:gd name="T26" fmla="*/ 68 w 434"/>
                <a:gd name="T27" fmla="*/ 340 h 616"/>
                <a:gd name="T28" fmla="*/ 62 w 434"/>
                <a:gd name="T29" fmla="*/ 372 h 616"/>
                <a:gd name="T30" fmla="*/ 48 w 434"/>
                <a:gd name="T31" fmla="*/ 408 h 616"/>
                <a:gd name="T32" fmla="*/ 76 w 434"/>
                <a:gd name="T33" fmla="*/ 426 h 616"/>
                <a:gd name="T34" fmla="*/ 96 w 434"/>
                <a:gd name="T35" fmla="*/ 450 h 616"/>
                <a:gd name="T36" fmla="*/ 122 w 434"/>
                <a:gd name="T37" fmla="*/ 450 h 616"/>
                <a:gd name="T38" fmla="*/ 116 w 434"/>
                <a:gd name="T39" fmla="*/ 486 h 616"/>
                <a:gd name="T40" fmla="*/ 104 w 434"/>
                <a:gd name="T41" fmla="*/ 510 h 616"/>
                <a:gd name="T42" fmla="*/ 104 w 434"/>
                <a:gd name="T43" fmla="*/ 546 h 616"/>
                <a:gd name="T44" fmla="*/ 122 w 434"/>
                <a:gd name="T45" fmla="*/ 572 h 616"/>
                <a:gd name="T46" fmla="*/ 136 w 434"/>
                <a:gd name="T47" fmla="*/ 600 h 616"/>
                <a:gd name="T48" fmla="*/ 156 w 434"/>
                <a:gd name="T49" fmla="*/ 616 h 616"/>
                <a:gd name="T50" fmla="*/ 176 w 434"/>
                <a:gd name="T51" fmla="*/ 580 h 616"/>
                <a:gd name="T52" fmla="*/ 170 w 434"/>
                <a:gd name="T53" fmla="*/ 546 h 616"/>
                <a:gd name="T54" fmla="*/ 176 w 434"/>
                <a:gd name="T55" fmla="*/ 510 h 616"/>
                <a:gd name="T56" fmla="*/ 190 w 434"/>
                <a:gd name="T57" fmla="*/ 478 h 616"/>
                <a:gd name="T58" fmla="*/ 202 w 434"/>
                <a:gd name="T59" fmla="*/ 434 h 616"/>
                <a:gd name="T60" fmla="*/ 232 w 434"/>
                <a:gd name="T61" fmla="*/ 426 h 616"/>
                <a:gd name="T62" fmla="*/ 258 w 434"/>
                <a:gd name="T63" fmla="*/ 416 h 616"/>
                <a:gd name="T64" fmla="*/ 284 w 434"/>
                <a:gd name="T65" fmla="*/ 390 h 616"/>
                <a:gd name="T66" fmla="*/ 312 w 434"/>
                <a:gd name="T67" fmla="*/ 382 h 616"/>
                <a:gd name="T68" fmla="*/ 346 w 434"/>
                <a:gd name="T69" fmla="*/ 382 h 616"/>
                <a:gd name="T70" fmla="*/ 374 w 434"/>
                <a:gd name="T71" fmla="*/ 372 h 616"/>
                <a:gd name="T72" fmla="*/ 364 w 434"/>
                <a:gd name="T73" fmla="*/ 340 h 616"/>
                <a:gd name="T74" fmla="*/ 358 w 434"/>
                <a:gd name="T75" fmla="*/ 312 h 616"/>
                <a:gd name="T76" fmla="*/ 374 w 434"/>
                <a:gd name="T77" fmla="*/ 278 h 616"/>
                <a:gd name="T78" fmla="*/ 374 w 434"/>
                <a:gd name="T79" fmla="*/ 244 h 616"/>
                <a:gd name="T80" fmla="*/ 358 w 434"/>
                <a:gd name="T81" fmla="*/ 220 h 616"/>
                <a:gd name="T82" fmla="*/ 380 w 434"/>
                <a:gd name="T83" fmla="*/ 184 h 616"/>
                <a:gd name="T84" fmla="*/ 406 w 434"/>
                <a:gd name="T85" fmla="*/ 158 h 616"/>
                <a:gd name="T86" fmla="*/ 434 w 434"/>
                <a:gd name="T87" fmla="*/ 148 h 616"/>
                <a:gd name="T88" fmla="*/ 434 w 434"/>
                <a:gd name="T89" fmla="*/ 124 h 616"/>
                <a:gd name="T90" fmla="*/ 412 w 434"/>
                <a:gd name="T91" fmla="*/ 124 h 616"/>
                <a:gd name="T92" fmla="*/ 388 w 434"/>
                <a:gd name="T93" fmla="*/ 106 h 616"/>
                <a:gd name="T94" fmla="*/ 358 w 434"/>
                <a:gd name="T95" fmla="*/ 96 h 616"/>
                <a:gd name="T96" fmla="*/ 330 w 434"/>
                <a:gd name="T97" fmla="*/ 96 h 616"/>
                <a:gd name="T98" fmla="*/ 306 w 434"/>
                <a:gd name="T99" fmla="*/ 96 h 616"/>
                <a:gd name="T100" fmla="*/ 278 w 434"/>
                <a:gd name="T101" fmla="*/ 114 h 616"/>
                <a:gd name="T102" fmla="*/ 252 w 434"/>
                <a:gd name="T103" fmla="*/ 114 h 616"/>
                <a:gd name="T104" fmla="*/ 252 w 434"/>
                <a:gd name="T105" fmla="*/ 80 h 616"/>
                <a:gd name="T106" fmla="*/ 252 w 434"/>
                <a:gd name="T107" fmla="*/ 46 h 616"/>
                <a:gd name="T108" fmla="*/ 224 w 434"/>
                <a:gd name="T109" fmla="*/ 28 h 616"/>
                <a:gd name="T110" fmla="*/ 196 w 434"/>
                <a:gd name="T111" fmla="*/ 28 h 616"/>
                <a:gd name="T112" fmla="*/ 170 w 434"/>
                <a:gd name="T113" fmla="*/ 2 h 616"/>
                <a:gd name="T114" fmla="*/ 156 w 434"/>
                <a:gd name="T115" fmla="*/ 0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4" h="616">
                  <a:moveTo>
                    <a:pt x="156" y="0"/>
                  </a:moveTo>
                  <a:lnTo>
                    <a:pt x="150" y="28"/>
                  </a:lnTo>
                  <a:lnTo>
                    <a:pt x="150" y="54"/>
                  </a:lnTo>
                  <a:lnTo>
                    <a:pt x="142" y="72"/>
                  </a:lnTo>
                  <a:lnTo>
                    <a:pt x="136" y="88"/>
                  </a:lnTo>
                  <a:lnTo>
                    <a:pt x="122" y="96"/>
                  </a:lnTo>
                  <a:lnTo>
                    <a:pt x="116" y="114"/>
                  </a:lnTo>
                  <a:lnTo>
                    <a:pt x="116" y="132"/>
                  </a:lnTo>
                  <a:lnTo>
                    <a:pt x="110" y="148"/>
                  </a:lnTo>
                  <a:lnTo>
                    <a:pt x="104" y="166"/>
                  </a:lnTo>
                  <a:lnTo>
                    <a:pt x="90" y="184"/>
                  </a:lnTo>
                  <a:lnTo>
                    <a:pt x="76" y="192"/>
                  </a:lnTo>
                  <a:lnTo>
                    <a:pt x="68" y="208"/>
                  </a:lnTo>
                  <a:lnTo>
                    <a:pt x="62" y="226"/>
                  </a:lnTo>
                  <a:lnTo>
                    <a:pt x="48" y="226"/>
                  </a:lnTo>
                  <a:lnTo>
                    <a:pt x="34" y="234"/>
                  </a:lnTo>
                  <a:lnTo>
                    <a:pt x="22" y="234"/>
                  </a:lnTo>
                  <a:lnTo>
                    <a:pt x="6" y="252"/>
                  </a:lnTo>
                  <a:lnTo>
                    <a:pt x="0" y="262"/>
                  </a:lnTo>
                  <a:lnTo>
                    <a:pt x="6" y="262"/>
                  </a:lnTo>
                  <a:lnTo>
                    <a:pt x="14" y="262"/>
                  </a:lnTo>
                  <a:lnTo>
                    <a:pt x="28" y="262"/>
                  </a:lnTo>
                  <a:lnTo>
                    <a:pt x="34" y="278"/>
                  </a:lnTo>
                  <a:lnTo>
                    <a:pt x="48" y="278"/>
                  </a:lnTo>
                  <a:lnTo>
                    <a:pt x="62" y="286"/>
                  </a:lnTo>
                  <a:lnTo>
                    <a:pt x="68" y="304"/>
                  </a:lnTo>
                  <a:lnTo>
                    <a:pt x="68" y="322"/>
                  </a:lnTo>
                  <a:lnTo>
                    <a:pt x="68" y="340"/>
                  </a:lnTo>
                  <a:lnTo>
                    <a:pt x="68" y="356"/>
                  </a:lnTo>
                  <a:lnTo>
                    <a:pt x="62" y="372"/>
                  </a:lnTo>
                  <a:lnTo>
                    <a:pt x="54" y="390"/>
                  </a:lnTo>
                  <a:lnTo>
                    <a:pt x="48" y="408"/>
                  </a:lnTo>
                  <a:lnTo>
                    <a:pt x="62" y="416"/>
                  </a:lnTo>
                  <a:lnTo>
                    <a:pt x="76" y="426"/>
                  </a:lnTo>
                  <a:lnTo>
                    <a:pt x="82" y="442"/>
                  </a:lnTo>
                  <a:lnTo>
                    <a:pt x="96" y="450"/>
                  </a:lnTo>
                  <a:lnTo>
                    <a:pt x="110" y="450"/>
                  </a:lnTo>
                  <a:lnTo>
                    <a:pt x="122" y="450"/>
                  </a:lnTo>
                  <a:lnTo>
                    <a:pt x="128" y="468"/>
                  </a:lnTo>
                  <a:lnTo>
                    <a:pt x="116" y="486"/>
                  </a:lnTo>
                  <a:lnTo>
                    <a:pt x="104" y="494"/>
                  </a:lnTo>
                  <a:lnTo>
                    <a:pt x="104" y="510"/>
                  </a:lnTo>
                  <a:lnTo>
                    <a:pt x="96" y="530"/>
                  </a:lnTo>
                  <a:lnTo>
                    <a:pt x="104" y="546"/>
                  </a:lnTo>
                  <a:lnTo>
                    <a:pt x="116" y="554"/>
                  </a:lnTo>
                  <a:lnTo>
                    <a:pt x="122" y="572"/>
                  </a:lnTo>
                  <a:lnTo>
                    <a:pt x="122" y="590"/>
                  </a:lnTo>
                  <a:lnTo>
                    <a:pt x="136" y="600"/>
                  </a:lnTo>
                  <a:lnTo>
                    <a:pt x="142" y="616"/>
                  </a:lnTo>
                  <a:lnTo>
                    <a:pt x="156" y="616"/>
                  </a:lnTo>
                  <a:lnTo>
                    <a:pt x="170" y="600"/>
                  </a:lnTo>
                  <a:lnTo>
                    <a:pt x="176" y="580"/>
                  </a:lnTo>
                  <a:lnTo>
                    <a:pt x="170" y="564"/>
                  </a:lnTo>
                  <a:lnTo>
                    <a:pt x="170" y="546"/>
                  </a:lnTo>
                  <a:lnTo>
                    <a:pt x="162" y="530"/>
                  </a:lnTo>
                  <a:lnTo>
                    <a:pt x="176" y="510"/>
                  </a:lnTo>
                  <a:lnTo>
                    <a:pt x="184" y="494"/>
                  </a:lnTo>
                  <a:lnTo>
                    <a:pt x="190" y="478"/>
                  </a:lnTo>
                  <a:lnTo>
                    <a:pt x="190" y="450"/>
                  </a:lnTo>
                  <a:lnTo>
                    <a:pt x="202" y="434"/>
                  </a:lnTo>
                  <a:lnTo>
                    <a:pt x="218" y="426"/>
                  </a:lnTo>
                  <a:lnTo>
                    <a:pt x="232" y="426"/>
                  </a:lnTo>
                  <a:lnTo>
                    <a:pt x="244" y="416"/>
                  </a:lnTo>
                  <a:lnTo>
                    <a:pt x="258" y="416"/>
                  </a:lnTo>
                  <a:lnTo>
                    <a:pt x="270" y="400"/>
                  </a:lnTo>
                  <a:lnTo>
                    <a:pt x="284" y="390"/>
                  </a:lnTo>
                  <a:lnTo>
                    <a:pt x="298" y="382"/>
                  </a:lnTo>
                  <a:lnTo>
                    <a:pt x="312" y="382"/>
                  </a:lnTo>
                  <a:lnTo>
                    <a:pt x="330" y="390"/>
                  </a:lnTo>
                  <a:lnTo>
                    <a:pt x="346" y="382"/>
                  </a:lnTo>
                  <a:lnTo>
                    <a:pt x="358" y="382"/>
                  </a:lnTo>
                  <a:lnTo>
                    <a:pt x="374" y="372"/>
                  </a:lnTo>
                  <a:lnTo>
                    <a:pt x="374" y="356"/>
                  </a:lnTo>
                  <a:lnTo>
                    <a:pt x="364" y="340"/>
                  </a:lnTo>
                  <a:lnTo>
                    <a:pt x="352" y="330"/>
                  </a:lnTo>
                  <a:lnTo>
                    <a:pt x="358" y="312"/>
                  </a:lnTo>
                  <a:lnTo>
                    <a:pt x="374" y="296"/>
                  </a:lnTo>
                  <a:lnTo>
                    <a:pt x="374" y="278"/>
                  </a:lnTo>
                  <a:lnTo>
                    <a:pt x="374" y="262"/>
                  </a:lnTo>
                  <a:lnTo>
                    <a:pt x="374" y="244"/>
                  </a:lnTo>
                  <a:lnTo>
                    <a:pt x="374" y="226"/>
                  </a:lnTo>
                  <a:lnTo>
                    <a:pt x="358" y="220"/>
                  </a:lnTo>
                  <a:lnTo>
                    <a:pt x="374" y="202"/>
                  </a:lnTo>
                  <a:lnTo>
                    <a:pt x="380" y="184"/>
                  </a:lnTo>
                  <a:lnTo>
                    <a:pt x="392" y="166"/>
                  </a:lnTo>
                  <a:lnTo>
                    <a:pt x="406" y="158"/>
                  </a:lnTo>
                  <a:lnTo>
                    <a:pt x="418" y="158"/>
                  </a:lnTo>
                  <a:lnTo>
                    <a:pt x="434" y="148"/>
                  </a:lnTo>
                  <a:lnTo>
                    <a:pt x="434" y="132"/>
                  </a:lnTo>
                  <a:lnTo>
                    <a:pt x="434" y="124"/>
                  </a:lnTo>
                  <a:lnTo>
                    <a:pt x="426" y="124"/>
                  </a:lnTo>
                  <a:lnTo>
                    <a:pt x="412" y="124"/>
                  </a:lnTo>
                  <a:lnTo>
                    <a:pt x="400" y="114"/>
                  </a:lnTo>
                  <a:lnTo>
                    <a:pt x="388" y="106"/>
                  </a:lnTo>
                  <a:lnTo>
                    <a:pt x="374" y="106"/>
                  </a:lnTo>
                  <a:lnTo>
                    <a:pt x="358" y="96"/>
                  </a:lnTo>
                  <a:lnTo>
                    <a:pt x="346" y="96"/>
                  </a:lnTo>
                  <a:lnTo>
                    <a:pt x="330" y="96"/>
                  </a:lnTo>
                  <a:lnTo>
                    <a:pt x="318" y="96"/>
                  </a:lnTo>
                  <a:lnTo>
                    <a:pt x="306" y="96"/>
                  </a:lnTo>
                  <a:lnTo>
                    <a:pt x="292" y="114"/>
                  </a:lnTo>
                  <a:lnTo>
                    <a:pt x="278" y="114"/>
                  </a:lnTo>
                  <a:lnTo>
                    <a:pt x="264" y="124"/>
                  </a:lnTo>
                  <a:lnTo>
                    <a:pt x="252" y="114"/>
                  </a:lnTo>
                  <a:lnTo>
                    <a:pt x="252" y="96"/>
                  </a:lnTo>
                  <a:lnTo>
                    <a:pt x="252" y="80"/>
                  </a:lnTo>
                  <a:lnTo>
                    <a:pt x="258" y="62"/>
                  </a:lnTo>
                  <a:lnTo>
                    <a:pt x="252" y="46"/>
                  </a:lnTo>
                  <a:lnTo>
                    <a:pt x="238" y="36"/>
                  </a:lnTo>
                  <a:lnTo>
                    <a:pt x="224" y="28"/>
                  </a:lnTo>
                  <a:lnTo>
                    <a:pt x="210" y="28"/>
                  </a:lnTo>
                  <a:lnTo>
                    <a:pt x="196" y="28"/>
                  </a:lnTo>
                  <a:lnTo>
                    <a:pt x="184" y="8"/>
                  </a:lnTo>
                  <a:lnTo>
                    <a:pt x="170" y="2"/>
                  </a:lnTo>
                  <a:lnTo>
                    <a:pt x="154" y="0"/>
                  </a:lnTo>
                  <a:lnTo>
                    <a:pt x="156" y="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86" name="Freeform 56">
              <a:extLst>
                <a:ext uri="{FF2B5EF4-FFF2-40B4-BE49-F238E27FC236}">
                  <a16:creationId xmlns:a16="http://schemas.microsoft.com/office/drawing/2014/main" id="{D268C732-5B11-4566-B8C5-852A5ED19C51}"/>
                </a:ext>
              </a:extLst>
            </p:cNvPr>
            <p:cNvSpPr>
              <a:spLocks/>
            </p:cNvSpPr>
            <p:nvPr/>
          </p:nvSpPr>
          <p:spPr bwMode="auto">
            <a:xfrm>
              <a:off x="3236865" y="2527896"/>
              <a:ext cx="544115" cy="789265"/>
            </a:xfrm>
            <a:custGeom>
              <a:avLst/>
              <a:gdLst>
                <a:gd name="T0" fmla="*/ 324 w 364"/>
                <a:gd name="T1" fmla="*/ 372 h 528"/>
                <a:gd name="T2" fmla="*/ 350 w 364"/>
                <a:gd name="T3" fmla="*/ 356 h 528"/>
                <a:gd name="T4" fmla="*/ 350 w 364"/>
                <a:gd name="T5" fmla="*/ 320 h 528"/>
                <a:gd name="T6" fmla="*/ 364 w 364"/>
                <a:gd name="T7" fmla="*/ 302 h 528"/>
                <a:gd name="T8" fmla="*/ 356 w 364"/>
                <a:gd name="T9" fmla="*/ 268 h 528"/>
                <a:gd name="T10" fmla="*/ 342 w 364"/>
                <a:gd name="T11" fmla="*/ 242 h 528"/>
                <a:gd name="T12" fmla="*/ 328 w 364"/>
                <a:gd name="T13" fmla="*/ 208 h 528"/>
                <a:gd name="T14" fmla="*/ 328 w 364"/>
                <a:gd name="T15" fmla="*/ 172 h 528"/>
                <a:gd name="T16" fmla="*/ 338 w 364"/>
                <a:gd name="T17" fmla="*/ 138 h 528"/>
                <a:gd name="T18" fmla="*/ 324 w 364"/>
                <a:gd name="T19" fmla="*/ 104 h 528"/>
                <a:gd name="T20" fmla="*/ 324 w 364"/>
                <a:gd name="T21" fmla="*/ 70 h 528"/>
                <a:gd name="T22" fmla="*/ 316 w 364"/>
                <a:gd name="T23" fmla="*/ 34 h 528"/>
                <a:gd name="T24" fmla="*/ 326 w 364"/>
                <a:gd name="T25" fmla="*/ 6 h 528"/>
                <a:gd name="T26" fmla="*/ 316 w 364"/>
                <a:gd name="T27" fmla="*/ 8 h 528"/>
                <a:gd name="T28" fmla="*/ 288 w 364"/>
                <a:gd name="T29" fmla="*/ 0 h 528"/>
                <a:gd name="T30" fmla="*/ 278 w 364"/>
                <a:gd name="T31" fmla="*/ 8 h 528"/>
                <a:gd name="T32" fmla="*/ 260 w 364"/>
                <a:gd name="T33" fmla="*/ 34 h 528"/>
                <a:gd name="T34" fmla="*/ 236 w 364"/>
                <a:gd name="T35" fmla="*/ 42 h 528"/>
                <a:gd name="T36" fmla="*/ 216 w 364"/>
                <a:gd name="T37" fmla="*/ 78 h 528"/>
                <a:gd name="T38" fmla="*/ 216 w 364"/>
                <a:gd name="T39" fmla="*/ 104 h 528"/>
                <a:gd name="T40" fmla="*/ 216 w 364"/>
                <a:gd name="T41" fmla="*/ 138 h 528"/>
                <a:gd name="T42" fmla="*/ 216 w 364"/>
                <a:gd name="T43" fmla="*/ 172 h 528"/>
                <a:gd name="T44" fmla="*/ 194 w 364"/>
                <a:gd name="T45" fmla="*/ 208 h 528"/>
                <a:gd name="T46" fmla="*/ 216 w 364"/>
                <a:gd name="T47" fmla="*/ 234 h 528"/>
                <a:gd name="T48" fmla="*/ 202 w 364"/>
                <a:gd name="T49" fmla="*/ 260 h 528"/>
                <a:gd name="T50" fmla="*/ 174 w 364"/>
                <a:gd name="T51" fmla="*/ 268 h 528"/>
                <a:gd name="T52" fmla="*/ 142 w 364"/>
                <a:gd name="T53" fmla="*/ 260 h 528"/>
                <a:gd name="T54" fmla="*/ 114 w 364"/>
                <a:gd name="T55" fmla="*/ 278 h 528"/>
                <a:gd name="T56" fmla="*/ 88 w 364"/>
                <a:gd name="T57" fmla="*/ 294 h 528"/>
                <a:gd name="T58" fmla="*/ 60 w 364"/>
                <a:gd name="T59" fmla="*/ 302 h 528"/>
                <a:gd name="T60" fmla="*/ 34 w 364"/>
                <a:gd name="T61" fmla="*/ 328 h 528"/>
                <a:gd name="T62" fmla="*/ 26 w 364"/>
                <a:gd name="T63" fmla="*/ 372 h 528"/>
                <a:gd name="T64" fmla="*/ 6 w 364"/>
                <a:gd name="T65" fmla="*/ 406 h 528"/>
                <a:gd name="T66" fmla="*/ 12 w 364"/>
                <a:gd name="T67" fmla="*/ 440 h 528"/>
                <a:gd name="T68" fmla="*/ 12 w 364"/>
                <a:gd name="T69" fmla="*/ 478 h 528"/>
                <a:gd name="T70" fmla="*/ 6 w 364"/>
                <a:gd name="T71" fmla="*/ 494 h 528"/>
                <a:gd name="T72" fmla="*/ 34 w 364"/>
                <a:gd name="T73" fmla="*/ 512 h 528"/>
                <a:gd name="T74" fmla="*/ 60 w 364"/>
                <a:gd name="T75" fmla="*/ 528 h 528"/>
                <a:gd name="T76" fmla="*/ 88 w 364"/>
                <a:gd name="T77" fmla="*/ 520 h 528"/>
                <a:gd name="T78" fmla="*/ 114 w 364"/>
                <a:gd name="T79" fmla="*/ 502 h 528"/>
                <a:gd name="T80" fmla="*/ 142 w 364"/>
                <a:gd name="T81" fmla="*/ 486 h 528"/>
                <a:gd name="T82" fmla="*/ 136 w 364"/>
                <a:gd name="T83" fmla="*/ 450 h 528"/>
                <a:gd name="T84" fmla="*/ 154 w 364"/>
                <a:gd name="T85" fmla="*/ 432 h 528"/>
                <a:gd name="T86" fmla="*/ 182 w 364"/>
                <a:gd name="T87" fmla="*/ 432 h 528"/>
                <a:gd name="T88" fmla="*/ 208 w 364"/>
                <a:gd name="T89" fmla="*/ 440 h 528"/>
                <a:gd name="T90" fmla="*/ 236 w 364"/>
                <a:gd name="T91" fmla="*/ 432 h 528"/>
                <a:gd name="T92" fmla="*/ 268 w 364"/>
                <a:gd name="T93" fmla="*/ 416 h 528"/>
                <a:gd name="T94" fmla="*/ 292 w 364"/>
                <a:gd name="T95" fmla="*/ 400 h 528"/>
                <a:gd name="T96" fmla="*/ 304 w 364"/>
                <a:gd name="T97" fmla="*/ 39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4" h="528">
                  <a:moveTo>
                    <a:pt x="310" y="390"/>
                  </a:moveTo>
                  <a:lnTo>
                    <a:pt x="324" y="372"/>
                  </a:lnTo>
                  <a:lnTo>
                    <a:pt x="338" y="372"/>
                  </a:lnTo>
                  <a:lnTo>
                    <a:pt x="350" y="356"/>
                  </a:lnTo>
                  <a:lnTo>
                    <a:pt x="350" y="338"/>
                  </a:lnTo>
                  <a:lnTo>
                    <a:pt x="350" y="320"/>
                  </a:lnTo>
                  <a:lnTo>
                    <a:pt x="362" y="302"/>
                  </a:lnTo>
                  <a:lnTo>
                    <a:pt x="364" y="302"/>
                  </a:lnTo>
                  <a:lnTo>
                    <a:pt x="356" y="286"/>
                  </a:lnTo>
                  <a:lnTo>
                    <a:pt x="356" y="268"/>
                  </a:lnTo>
                  <a:lnTo>
                    <a:pt x="356" y="250"/>
                  </a:lnTo>
                  <a:lnTo>
                    <a:pt x="342" y="242"/>
                  </a:lnTo>
                  <a:lnTo>
                    <a:pt x="338" y="226"/>
                  </a:lnTo>
                  <a:lnTo>
                    <a:pt x="328" y="208"/>
                  </a:lnTo>
                  <a:lnTo>
                    <a:pt x="324" y="190"/>
                  </a:lnTo>
                  <a:lnTo>
                    <a:pt x="328" y="172"/>
                  </a:lnTo>
                  <a:lnTo>
                    <a:pt x="328" y="156"/>
                  </a:lnTo>
                  <a:lnTo>
                    <a:pt x="338" y="138"/>
                  </a:lnTo>
                  <a:lnTo>
                    <a:pt x="324" y="122"/>
                  </a:lnTo>
                  <a:lnTo>
                    <a:pt x="324" y="104"/>
                  </a:lnTo>
                  <a:lnTo>
                    <a:pt x="324" y="86"/>
                  </a:lnTo>
                  <a:lnTo>
                    <a:pt x="324" y="70"/>
                  </a:lnTo>
                  <a:lnTo>
                    <a:pt x="316" y="52"/>
                  </a:lnTo>
                  <a:lnTo>
                    <a:pt x="316" y="34"/>
                  </a:lnTo>
                  <a:lnTo>
                    <a:pt x="324" y="18"/>
                  </a:lnTo>
                  <a:lnTo>
                    <a:pt x="326" y="6"/>
                  </a:lnTo>
                  <a:lnTo>
                    <a:pt x="324" y="6"/>
                  </a:lnTo>
                  <a:lnTo>
                    <a:pt x="316" y="8"/>
                  </a:lnTo>
                  <a:lnTo>
                    <a:pt x="304" y="0"/>
                  </a:lnTo>
                  <a:lnTo>
                    <a:pt x="288" y="0"/>
                  </a:lnTo>
                  <a:lnTo>
                    <a:pt x="278" y="0"/>
                  </a:lnTo>
                  <a:lnTo>
                    <a:pt x="278" y="8"/>
                  </a:lnTo>
                  <a:lnTo>
                    <a:pt x="278" y="26"/>
                  </a:lnTo>
                  <a:lnTo>
                    <a:pt x="260" y="34"/>
                  </a:lnTo>
                  <a:lnTo>
                    <a:pt x="250" y="34"/>
                  </a:lnTo>
                  <a:lnTo>
                    <a:pt x="236" y="42"/>
                  </a:lnTo>
                  <a:lnTo>
                    <a:pt x="222" y="60"/>
                  </a:lnTo>
                  <a:lnTo>
                    <a:pt x="216" y="78"/>
                  </a:lnTo>
                  <a:lnTo>
                    <a:pt x="202" y="96"/>
                  </a:lnTo>
                  <a:lnTo>
                    <a:pt x="216" y="104"/>
                  </a:lnTo>
                  <a:lnTo>
                    <a:pt x="216" y="122"/>
                  </a:lnTo>
                  <a:lnTo>
                    <a:pt x="216" y="138"/>
                  </a:lnTo>
                  <a:lnTo>
                    <a:pt x="216" y="156"/>
                  </a:lnTo>
                  <a:lnTo>
                    <a:pt x="216" y="172"/>
                  </a:lnTo>
                  <a:lnTo>
                    <a:pt x="202" y="190"/>
                  </a:lnTo>
                  <a:lnTo>
                    <a:pt x="194" y="208"/>
                  </a:lnTo>
                  <a:lnTo>
                    <a:pt x="208" y="216"/>
                  </a:lnTo>
                  <a:lnTo>
                    <a:pt x="216" y="234"/>
                  </a:lnTo>
                  <a:lnTo>
                    <a:pt x="216" y="250"/>
                  </a:lnTo>
                  <a:lnTo>
                    <a:pt x="202" y="260"/>
                  </a:lnTo>
                  <a:lnTo>
                    <a:pt x="188" y="260"/>
                  </a:lnTo>
                  <a:lnTo>
                    <a:pt x="174" y="268"/>
                  </a:lnTo>
                  <a:lnTo>
                    <a:pt x="154" y="260"/>
                  </a:lnTo>
                  <a:lnTo>
                    <a:pt x="142" y="260"/>
                  </a:lnTo>
                  <a:lnTo>
                    <a:pt x="128" y="268"/>
                  </a:lnTo>
                  <a:lnTo>
                    <a:pt x="114" y="278"/>
                  </a:lnTo>
                  <a:lnTo>
                    <a:pt x="100" y="294"/>
                  </a:lnTo>
                  <a:lnTo>
                    <a:pt x="88" y="294"/>
                  </a:lnTo>
                  <a:lnTo>
                    <a:pt x="74" y="302"/>
                  </a:lnTo>
                  <a:lnTo>
                    <a:pt x="60" y="302"/>
                  </a:lnTo>
                  <a:lnTo>
                    <a:pt x="46" y="312"/>
                  </a:lnTo>
                  <a:lnTo>
                    <a:pt x="34" y="328"/>
                  </a:lnTo>
                  <a:lnTo>
                    <a:pt x="34" y="356"/>
                  </a:lnTo>
                  <a:lnTo>
                    <a:pt x="26" y="372"/>
                  </a:lnTo>
                  <a:lnTo>
                    <a:pt x="20" y="390"/>
                  </a:lnTo>
                  <a:lnTo>
                    <a:pt x="6" y="406"/>
                  </a:lnTo>
                  <a:lnTo>
                    <a:pt x="12" y="424"/>
                  </a:lnTo>
                  <a:lnTo>
                    <a:pt x="12" y="440"/>
                  </a:lnTo>
                  <a:lnTo>
                    <a:pt x="20" y="458"/>
                  </a:lnTo>
                  <a:lnTo>
                    <a:pt x="12" y="478"/>
                  </a:lnTo>
                  <a:lnTo>
                    <a:pt x="0" y="494"/>
                  </a:lnTo>
                  <a:lnTo>
                    <a:pt x="6" y="494"/>
                  </a:lnTo>
                  <a:lnTo>
                    <a:pt x="20" y="502"/>
                  </a:lnTo>
                  <a:lnTo>
                    <a:pt x="34" y="512"/>
                  </a:lnTo>
                  <a:lnTo>
                    <a:pt x="46" y="520"/>
                  </a:lnTo>
                  <a:lnTo>
                    <a:pt x="60" y="528"/>
                  </a:lnTo>
                  <a:lnTo>
                    <a:pt x="74" y="528"/>
                  </a:lnTo>
                  <a:lnTo>
                    <a:pt x="88" y="520"/>
                  </a:lnTo>
                  <a:lnTo>
                    <a:pt x="100" y="502"/>
                  </a:lnTo>
                  <a:lnTo>
                    <a:pt x="114" y="502"/>
                  </a:lnTo>
                  <a:lnTo>
                    <a:pt x="136" y="502"/>
                  </a:lnTo>
                  <a:lnTo>
                    <a:pt x="142" y="486"/>
                  </a:lnTo>
                  <a:lnTo>
                    <a:pt x="142" y="468"/>
                  </a:lnTo>
                  <a:lnTo>
                    <a:pt x="136" y="450"/>
                  </a:lnTo>
                  <a:lnTo>
                    <a:pt x="142" y="432"/>
                  </a:lnTo>
                  <a:lnTo>
                    <a:pt x="154" y="432"/>
                  </a:lnTo>
                  <a:lnTo>
                    <a:pt x="168" y="432"/>
                  </a:lnTo>
                  <a:lnTo>
                    <a:pt x="182" y="432"/>
                  </a:lnTo>
                  <a:lnTo>
                    <a:pt x="194" y="432"/>
                  </a:lnTo>
                  <a:lnTo>
                    <a:pt x="208" y="440"/>
                  </a:lnTo>
                  <a:lnTo>
                    <a:pt x="222" y="440"/>
                  </a:lnTo>
                  <a:lnTo>
                    <a:pt x="236" y="432"/>
                  </a:lnTo>
                  <a:lnTo>
                    <a:pt x="250" y="416"/>
                  </a:lnTo>
                  <a:lnTo>
                    <a:pt x="268" y="416"/>
                  </a:lnTo>
                  <a:lnTo>
                    <a:pt x="282" y="406"/>
                  </a:lnTo>
                  <a:lnTo>
                    <a:pt x="292" y="400"/>
                  </a:lnTo>
                  <a:lnTo>
                    <a:pt x="306" y="390"/>
                  </a:lnTo>
                  <a:lnTo>
                    <a:pt x="304" y="390"/>
                  </a:lnTo>
                  <a:lnTo>
                    <a:pt x="310" y="39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87" name="Freeform 58">
              <a:extLst>
                <a:ext uri="{FF2B5EF4-FFF2-40B4-BE49-F238E27FC236}">
                  <a16:creationId xmlns:a16="http://schemas.microsoft.com/office/drawing/2014/main" id="{4F61BE56-E13C-4472-8DB6-A338973B22F0}"/>
                </a:ext>
              </a:extLst>
            </p:cNvPr>
            <p:cNvSpPr>
              <a:spLocks/>
            </p:cNvSpPr>
            <p:nvPr/>
          </p:nvSpPr>
          <p:spPr bwMode="auto">
            <a:xfrm>
              <a:off x="3966337" y="2707274"/>
              <a:ext cx="343809" cy="233192"/>
            </a:xfrm>
            <a:custGeom>
              <a:avLst/>
              <a:gdLst>
                <a:gd name="T0" fmla="*/ 230 w 230"/>
                <a:gd name="T1" fmla="*/ 130 h 156"/>
                <a:gd name="T2" fmla="*/ 230 w 230"/>
                <a:gd name="T3" fmla="*/ 120 h 156"/>
                <a:gd name="T4" fmla="*/ 230 w 230"/>
                <a:gd name="T5" fmla="*/ 104 h 156"/>
                <a:gd name="T6" fmla="*/ 230 w 230"/>
                <a:gd name="T7" fmla="*/ 86 h 156"/>
                <a:gd name="T8" fmla="*/ 222 w 230"/>
                <a:gd name="T9" fmla="*/ 70 h 156"/>
                <a:gd name="T10" fmla="*/ 216 w 230"/>
                <a:gd name="T11" fmla="*/ 52 h 156"/>
                <a:gd name="T12" fmla="*/ 204 w 230"/>
                <a:gd name="T13" fmla="*/ 42 h 156"/>
                <a:gd name="T14" fmla="*/ 190 w 230"/>
                <a:gd name="T15" fmla="*/ 34 h 156"/>
                <a:gd name="T16" fmla="*/ 176 w 230"/>
                <a:gd name="T17" fmla="*/ 34 h 156"/>
                <a:gd name="T18" fmla="*/ 162 w 230"/>
                <a:gd name="T19" fmla="*/ 26 h 156"/>
                <a:gd name="T20" fmla="*/ 148 w 230"/>
                <a:gd name="T21" fmla="*/ 26 h 156"/>
                <a:gd name="T22" fmla="*/ 134 w 230"/>
                <a:gd name="T23" fmla="*/ 26 h 156"/>
                <a:gd name="T24" fmla="*/ 120 w 230"/>
                <a:gd name="T25" fmla="*/ 26 h 156"/>
                <a:gd name="T26" fmla="*/ 108 w 230"/>
                <a:gd name="T27" fmla="*/ 26 h 156"/>
                <a:gd name="T28" fmla="*/ 94 w 230"/>
                <a:gd name="T29" fmla="*/ 8 h 156"/>
                <a:gd name="T30" fmla="*/ 88 w 230"/>
                <a:gd name="T31" fmla="*/ 0 h 156"/>
                <a:gd name="T32" fmla="*/ 74 w 230"/>
                <a:gd name="T33" fmla="*/ 8 h 156"/>
                <a:gd name="T34" fmla="*/ 60 w 230"/>
                <a:gd name="T35" fmla="*/ 16 h 156"/>
                <a:gd name="T36" fmla="*/ 52 w 230"/>
                <a:gd name="T37" fmla="*/ 34 h 156"/>
                <a:gd name="T38" fmla="*/ 46 w 230"/>
                <a:gd name="T39" fmla="*/ 52 h 156"/>
                <a:gd name="T40" fmla="*/ 38 w 230"/>
                <a:gd name="T41" fmla="*/ 70 h 156"/>
                <a:gd name="T42" fmla="*/ 26 w 230"/>
                <a:gd name="T43" fmla="*/ 70 h 156"/>
                <a:gd name="T44" fmla="*/ 14 w 230"/>
                <a:gd name="T45" fmla="*/ 78 h 156"/>
                <a:gd name="T46" fmla="*/ 0 w 230"/>
                <a:gd name="T47" fmla="*/ 94 h 156"/>
                <a:gd name="T48" fmla="*/ 14 w 230"/>
                <a:gd name="T49" fmla="*/ 112 h 156"/>
                <a:gd name="T50" fmla="*/ 26 w 230"/>
                <a:gd name="T51" fmla="*/ 120 h 156"/>
                <a:gd name="T52" fmla="*/ 38 w 230"/>
                <a:gd name="T53" fmla="*/ 112 h 156"/>
                <a:gd name="T54" fmla="*/ 52 w 230"/>
                <a:gd name="T55" fmla="*/ 112 h 156"/>
                <a:gd name="T56" fmla="*/ 66 w 230"/>
                <a:gd name="T57" fmla="*/ 104 h 156"/>
                <a:gd name="T58" fmla="*/ 80 w 230"/>
                <a:gd name="T59" fmla="*/ 94 h 156"/>
                <a:gd name="T60" fmla="*/ 88 w 230"/>
                <a:gd name="T61" fmla="*/ 112 h 156"/>
                <a:gd name="T62" fmla="*/ 74 w 230"/>
                <a:gd name="T63" fmla="*/ 120 h 156"/>
                <a:gd name="T64" fmla="*/ 74 w 230"/>
                <a:gd name="T65" fmla="*/ 138 h 156"/>
                <a:gd name="T66" fmla="*/ 88 w 230"/>
                <a:gd name="T67" fmla="*/ 148 h 156"/>
                <a:gd name="T68" fmla="*/ 102 w 230"/>
                <a:gd name="T69" fmla="*/ 138 h 156"/>
                <a:gd name="T70" fmla="*/ 114 w 230"/>
                <a:gd name="T71" fmla="*/ 148 h 156"/>
                <a:gd name="T72" fmla="*/ 128 w 230"/>
                <a:gd name="T73" fmla="*/ 156 h 156"/>
                <a:gd name="T74" fmla="*/ 134 w 230"/>
                <a:gd name="T75" fmla="*/ 148 h 156"/>
                <a:gd name="T76" fmla="*/ 134 w 230"/>
                <a:gd name="T77" fmla="*/ 130 h 156"/>
                <a:gd name="T78" fmla="*/ 148 w 230"/>
                <a:gd name="T79" fmla="*/ 120 h 156"/>
                <a:gd name="T80" fmla="*/ 162 w 230"/>
                <a:gd name="T81" fmla="*/ 130 h 156"/>
                <a:gd name="T82" fmla="*/ 176 w 230"/>
                <a:gd name="T83" fmla="*/ 130 h 156"/>
                <a:gd name="T84" fmla="*/ 190 w 230"/>
                <a:gd name="T85" fmla="*/ 120 h 156"/>
                <a:gd name="T86" fmla="*/ 204 w 230"/>
                <a:gd name="T87" fmla="*/ 138 h 156"/>
                <a:gd name="T88" fmla="*/ 216 w 230"/>
                <a:gd name="T89" fmla="*/ 138 h 156"/>
                <a:gd name="T90" fmla="*/ 230 w 230"/>
                <a:gd name="T91" fmla="*/ 13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56">
                  <a:moveTo>
                    <a:pt x="230" y="130"/>
                  </a:moveTo>
                  <a:lnTo>
                    <a:pt x="230" y="120"/>
                  </a:lnTo>
                  <a:lnTo>
                    <a:pt x="230" y="104"/>
                  </a:lnTo>
                  <a:lnTo>
                    <a:pt x="230" y="86"/>
                  </a:lnTo>
                  <a:lnTo>
                    <a:pt x="222" y="70"/>
                  </a:lnTo>
                  <a:lnTo>
                    <a:pt x="216" y="52"/>
                  </a:lnTo>
                  <a:lnTo>
                    <a:pt x="204" y="42"/>
                  </a:lnTo>
                  <a:lnTo>
                    <a:pt x="190" y="34"/>
                  </a:lnTo>
                  <a:lnTo>
                    <a:pt x="176" y="34"/>
                  </a:lnTo>
                  <a:lnTo>
                    <a:pt x="162" y="26"/>
                  </a:lnTo>
                  <a:lnTo>
                    <a:pt x="148" y="26"/>
                  </a:lnTo>
                  <a:lnTo>
                    <a:pt x="134" y="26"/>
                  </a:lnTo>
                  <a:lnTo>
                    <a:pt x="120" y="26"/>
                  </a:lnTo>
                  <a:lnTo>
                    <a:pt x="108" y="26"/>
                  </a:lnTo>
                  <a:lnTo>
                    <a:pt x="94" y="8"/>
                  </a:lnTo>
                  <a:lnTo>
                    <a:pt x="88" y="0"/>
                  </a:lnTo>
                  <a:lnTo>
                    <a:pt x="74" y="8"/>
                  </a:lnTo>
                  <a:lnTo>
                    <a:pt x="60" y="16"/>
                  </a:lnTo>
                  <a:lnTo>
                    <a:pt x="52" y="34"/>
                  </a:lnTo>
                  <a:lnTo>
                    <a:pt x="46" y="52"/>
                  </a:lnTo>
                  <a:lnTo>
                    <a:pt x="38" y="70"/>
                  </a:lnTo>
                  <a:lnTo>
                    <a:pt x="26" y="70"/>
                  </a:lnTo>
                  <a:lnTo>
                    <a:pt x="14" y="78"/>
                  </a:lnTo>
                  <a:lnTo>
                    <a:pt x="0" y="94"/>
                  </a:lnTo>
                  <a:lnTo>
                    <a:pt x="14" y="112"/>
                  </a:lnTo>
                  <a:lnTo>
                    <a:pt x="26" y="120"/>
                  </a:lnTo>
                  <a:lnTo>
                    <a:pt x="38" y="112"/>
                  </a:lnTo>
                  <a:lnTo>
                    <a:pt x="52" y="112"/>
                  </a:lnTo>
                  <a:lnTo>
                    <a:pt x="66" y="104"/>
                  </a:lnTo>
                  <a:lnTo>
                    <a:pt x="80" y="94"/>
                  </a:lnTo>
                  <a:lnTo>
                    <a:pt x="88" y="112"/>
                  </a:lnTo>
                  <a:lnTo>
                    <a:pt x="74" y="120"/>
                  </a:lnTo>
                  <a:lnTo>
                    <a:pt x="74" y="138"/>
                  </a:lnTo>
                  <a:lnTo>
                    <a:pt x="88" y="148"/>
                  </a:lnTo>
                  <a:lnTo>
                    <a:pt x="102" y="138"/>
                  </a:lnTo>
                  <a:lnTo>
                    <a:pt x="114" y="148"/>
                  </a:lnTo>
                  <a:lnTo>
                    <a:pt x="128" y="156"/>
                  </a:lnTo>
                  <a:lnTo>
                    <a:pt x="134" y="148"/>
                  </a:lnTo>
                  <a:lnTo>
                    <a:pt x="134" y="130"/>
                  </a:lnTo>
                  <a:lnTo>
                    <a:pt x="148" y="120"/>
                  </a:lnTo>
                  <a:lnTo>
                    <a:pt x="162" y="130"/>
                  </a:lnTo>
                  <a:lnTo>
                    <a:pt x="176" y="130"/>
                  </a:lnTo>
                  <a:lnTo>
                    <a:pt x="190" y="120"/>
                  </a:lnTo>
                  <a:lnTo>
                    <a:pt x="204" y="138"/>
                  </a:lnTo>
                  <a:lnTo>
                    <a:pt x="216" y="138"/>
                  </a:lnTo>
                  <a:lnTo>
                    <a:pt x="230" y="13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88" name="Freeform 60">
              <a:extLst>
                <a:ext uri="{FF2B5EF4-FFF2-40B4-BE49-F238E27FC236}">
                  <a16:creationId xmlns:a16="http://schemas.microsoft.com/office/drawing/2014/main" id="{D89C2552-D58B-466C-B283-6B0A73A4B2B9}"/>
                </a:ext>
              </a:extLst>
            </p:cNvPr>
            <p:cNvSpPr>
              <a:spLocks/>
            </p:cNvSpPr>
            <p:nvPr/>
          </p:nvSpPr>
          <p:spPr bwMode="auto">
            <a:xfrm>
              <a:off x="3712217" y="2512947"/>
              <a:ext cx="385664" cy="511228"/>
            </a:xfrm>
            <a:custGeom>
              <a:avLst/>
              <a:gdLst>
                <a:gd name="T0" fmla="*/ 170 w 258"/>
                <a:gd name="T1" fmla="*/ 224 h 342"/>
                <a:gd name="T2" fmla="*/ 196 w 258"/>
                <a:gd name="T3" fmla="*/ 198 h 342"/>
                <a:gd name="T4" fmla="*/ 216 w 258"/>
                <a:gd name="T5" fmla="*/ 182 h 342"/>
                <a:gd name="T6" fmla="*/ 230 w 258"/>
                <a:gd name="T7" fmla="*/ 146 h 342"/>
                <a:gd name="T8" fmla="*/ 258 w 258"/>
                <a:gd name="T9" fmla="*/ 130 h 342"/>
                <a:gd name="T10" fmla="*/ 236 w 258"/>
                <a:gd name="T11" fmla="*/ 122 h 342"/>
                <a:gd name="T12" fmla="*/ 210 w 258"/>
                <a:gd name="T13" fmla="*/ 104 h 342"/>
                <a:gd name="T14" fmla="*/ 190 w 258"/>
                <a:gd name="T15" fmla="*/ 80 h 342"/>
                <a:gd name="T16" fmla="*/ 162 w 258"/>
                <a:gd name="T17" fmla="*/ 50 h 342"/>
                <a:gd name="T18" fmla="*/ 130 w 258"/>
                <a:gd name="T19" fmla="*/ 26 h 342"/>
                <a:gd name="T20" fmla="*/ 94 w 258"/>
                <a:gd name="T21" fmla="*/ 8 h 342"/>
                <a:gd name="T22" fmla="*/ 68 w 258"/>
                <a:gd name="T23" fmla="*/ 0 h 342"/>
                <a:gd name="T24" fmla="*/ 42 w 258"/>
                <a:gd name="T25" fmla="*/ 8 h 342"/>
                <a:gd name="T26" fmla="*/ 14 w 258"/>
                <a:gd name="T27" fmla="*/ 8 h 342"/>
                <a:gd name="T28" fmla="*/ 10 w 258"/>
                <a:gd name="T29" fmla="*/ 6 h 342"/>
                <a:gd name="T30" fmla="*/ 0 w 258"/>
                <a:gd name="T31" fmla="*/ 34 h 342"/>
                <a:gd name="T32" fmla="*/ 6 w 258"/>
                <a:gd name="T33" fmla="*/ 70 h 342"/>
                <a:gd name="T34" fmla="*/ 6 w 258"/>
                <a:gd name="T35" fmla="*/ 104 h 342"/>
                <a:gd name="T36" fmla="*/ 22 w 258"/>
                <a:gd name="T37" fmla="*/ 140 h 342"/>
                <a:gd name="T38" fmla="*/ 14 w 258"/>
                <a:gd name="T39" fmla="*/ 174 h 342"/>
                <a:gd name="T40" fmla="*/ 14 w 258"/>
                <a:gd name="T41" fmla="*/ 208 h 342"/>
                <a:gd name="T42" fmla="*/ 28 w 258"/>
                <a:gd name="T43" fmla="*/ 242 h 342"/>
                <a:gd name="T44" fmla="*/ 42 w 258"/>
                <a:gd name="T45" fmla="*/ 268 h 342"/>
                <a:gd name="T46" fmla="*/ 48 w 258"/>
                <a:gd name="T47" fmla="*/ 304 h 342"/>
                <a:gd name="T48" fmla="*/ 46 w 258"/>
                <a:gd name="T49" fmla="*/ 300 h 342"/>
                <a:gd name="T50" fmla="*/ 68 w 258"/>
                <a:gd name="T51" fmla="*/ 312 h 342"/>
                <a:gd name="T52" fmla="*/ 94 w 258"/>
                <a:gd name="T53" fmla="*/ 304 h 342"/>
                <a:gd name="T54" fmla="*/ 122 w 258"/>
                <a:gd name="T55" fmla="*/ 328 h 342"/>
                <a:gd name="T56" fmla="*/ 142 w 258"/>
                <a:gd name="T57" fmla="*/ 336 h 342"/>
                <a:gd name="T58" fmla="*/ 168 w 258"/>
                <a:gd name="T59" fmla="*/ 316 h 342"/>
                <a:gd name="T60" fmla="*/ 170 w 258"/>
                <a:gd name="T61" fmla="*/ 286 h 342"/>
                <a:gd name="T62" fmla="*/ 176 w 258"/>
                <a:gd name="T63" fmla="*/ 250 h 342"/>
                <a:gd name="T64" fmla="*/ 184 w 258"/>
                <a:gd name="T65" fmla="*/ 24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8" h="342">
                  <a:moveTo>
                    <a:pt x="184" y="242"/>
                  </a:moveTo>
                  <a:lnTo>
                    <a:pt x="170" y="224"/>
                  </a:lnTo>
                  <a:lnTo>
                    <a:pt x="184" y="208"/>
                  </a:lnTo>
                  <a:lnTo>
                    <a:pt x="196" y="198"/>
                  </a:lnTo>
                  <a:lnTo>
                    <a:pt x="210" y="198"/>
                  </a:lnTo>
                  <a:lnTo>
                    <a:pt x="216" y="182"/>
                  </a:lnTo>
                  <a:lnTo>
                    <a:pt x="222" y="164"/>
                  </a:lnTo>
                  <a:lnTo>
                    <a:pt x="230" y="146"/>
                  </a:lnTo>
                  <a:lnTo>
                    <a:pt x="244" y="140"/>
                  </a:lnTo>
                  <a:lnTo>
                    <a:pt x="258" y="130"/>
                  </a:lnTo>
                  <a:lnTo>
                    <a:pt x="250" y="122"/>
                  </a:lnTo>
                  <a:lnTo>
                    <a:pt x="236" y="122"/>
                  </a:lnTo>
                  <a:lnTo>
                    <a:pt x="222" y="112"/>
                  </a:lnTo>
                  <a:lnTo>
                    <a:pt x="210" y="104"/>
                  </a:lnTo>
                  <a:lnTo>
                    <a:pt x="204" y="86"/>
                  </a:lnTo>
                  <a:lnTo>
                    <a:pt x="190" y="80"/>
                  </a:lnTo>
                  <a:lnTo>
                    <a:pt x="176" y="60"/>
                  </a:lnTo>
                  <a:lnTo>
                    <a:pt x="162" y="50"/>
                  </a:lnTo>
                  <a:lnTo>
                    <a:pt x="148" y="42"/>
                  </a:lnTo>
                  <a:lnTo>
                    <a:pt x="130" y="26"/>
                  </a:lnTo>
                  <a:lnTo>
                    <a:pt x="108" y="16"/>
                  </a:lnTo>
                  <a:lnTo>
                    <a:pt x="94" y="8"/>
                  </a:lnTo>
                  <a:lnTo>
                    <a:pt x="82" y="0"/>
                  </a:lnTo>
                  <a:lnTo>
                    <a:pt x="68" y="0"/>
                  </a:lnTo>
                  <a:lnTo>
                    <a:pt x="54" y="8"/>
                  </a:lnTo>
                  <a:lnTo>
                    <a:pt x="42" y="8"/>
                  </a:lnTo>
                  <a:lnTo>
                    <a:pt x="28" y="8"/>
                  </a:lnTo>
                  <a:lnTo>
                    <a:pt x="14" y="8"/>
                  </a:lnTo>
                  <a:lnTo>
                    <a:pt x="14" y="6"/>
                  </a:lnTo>
                  <a:lnTo>
                    <a:pt x="10" y="6"/>
                  </a:lnTo>
                  <a:lnTo>
                    <a:pt x="6" y="16"/>
                  </a:lnTo>
                  <a:lnTo>
                    <a:pt x="0" y="34"/>
                  </a:lnTo>
                  <a:lnTo>
                    <a:pt x="0" y="50"/>
                  </a:lnTo>
                  <a:lnTo>
                    <a:pt x="6" y="70"/>
                  </a:lnTo>
                  <a:lnTo>
                    <a:pt x="6" y="86"/>
                  </a:lnTo>
                  <a:lnTo>
                    <a:pt x="6" y="104"/>
                  </a:lnTo>
                  <a:lnTo>
                    <a:pt x="6" y="122"/>
                  </a:lnTo>
                  <a:lnTo>
                    <a:pt x="22" y="140"/>
                  </a:lnTo>
                  <a:lnTo>
                    <a:pt x="14" y="156"/>
                  </a:lnTo>
                  <a:lnTo>
                    <a:pt x="14" y="174"/>
                  </a:lnTo>
                  <a:lnTo>
                    <a:pt x="6" y="190"/>
                  </a:lnTo>
                  <a:lnTo>
                    <a:pt x="14" y="208"/>
                  </a:lnTo>
                  <a:lnTo>
                    <a:pt x="22" y="224"/>
                  </a:lnTo>
                  <a:lnTo>
                    <a:pt x="28" y="242"/>
                  </a:lnTo>
                  <a:lnTo>
                    <a:pt x="42" y="250"/>
                  </a:lnTo>
                  <a:lnTo>
                    <a:pt x="42" y="268"/>
                  </a:lnTo>
                  <a:lnTo>
                    <a:pt x="42" y="286"/>
                  </a:lnTo>
                  <a:lnTo>
                    <a:pt x="48" y="304"/>
                  </a:lnTo>
                  <a:lnTo>
                    <a:pt x="42" y="304"/>
                  </a:lnTo>
                  <a:lnTo>
                    <a:pt x="46" y="300"/>
                  </a:lnTo>
                  <a:lnTo>
                    <a:pt x="54" y="312"/>
                  </a:lnTo>
                  <a:lnTo>
                    <a:pt x="68" y="312"/>
                  </a:lnTo>
                  <a:lnTo>
                    <a:pt x="82" y="304"/>
                  </a:lnTo>
                  <a:lnTo>
                    <a:pt x="94" y="304"/>
                  </a:lnTo>
                  <a:lnTo>
                    <a:pt x="108" y="312"/>
                  </a:lnTo>
                  <a:lnTo>
                    <a:pt x="122" y="328"/>
                  </a:lnTo>
                  <a:lnTo>
                    <a:pt x="136" y="342"/>
                  </a:lnTo>
                  <a:lnTo>
                    <a:pt x="142" y="336"/>
                  </a:lnTo>
                  <a:lnTo>
                    <a:pt x="152" y="316"/>
                  </a:lnTo>
                  <a:lnTo>
                    <a:pt x="168" y="316"/>
                  </a:lnTo>
                  <a:lnTo>
                    <a:pt x="170" y="304"/>
                  </a:lnTo>
                  <a:lnTo>
                    <a:pt x="170" y="286"/>
                  </a:lnTo>
                  <a:lnTo>
                    <a:pt x="176" y="268"/>
                  </a:lnTo>
                  <a:lnTo>
                    <a:pt x="176" y="250"/>
                  </a:lnTo>
                  <a:lnTo>
                    <a:pt x="180" y="242"/>
                  </a:lnTo>
                  <a:lnTo>
                    <a:pt x="184" y="24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89" name="Freeform 86">
              <a:extLst>
                <a:ext uri="{FF2B5EF4-FFF2-40B4-BE49-F238E27FC236}">
                  <a16:creationId xmlns:a16="http://schemas.microsoft.com/office/drawing/2014/main" id="{1A20C7B1-25B6-460D-8C79-9BDCFA0FC09E}"/>
                </a:ext>
              </a:extLst>
            </p:cNvPr>
            <p:cNvSpPr>
              <a:spLocks/>
            </p:cNvSpPr>
            <p:nvPr/>
          </p:nvSpPr>
          <p:spPr bwMode="auto">
            <a:xfrm>
              <a:off x="1948330" y="1956874"/>
              <a:ext cx="1288535" cy="1243690"/>
            </a:xfrm>
            <a:custGeom>
              <a:avLst/>
              <a:gdLst>
                <a:gd name="T0" fmla="*/ 546 w 862"/>
                <a:gd name="T1" fmla="*/ 174 h 832"/>
                <a:gd name="T2" fmla="*/ 592 w 862"/>
                <a:gd name="T3" fmla="*/ 182 h 832"/>
                <a:gd name="T4" fmla="*/ 648 w 862"/>
                <a:gd name="T5" fmla="*/ 192 h 832"/>
                <a:gd name="T6" fmla="*/ 700 w 862"/>
                <a:gd name="T7" fmla="*/ 192 h 832"/>
                <a:gd name="T8" fmla="*/ 680 w 862"/>
                <a:gd name="T9" fmla="*/ 260 h 832"/>
                <a:gd name="T10" fmla="*/ 712 w 862"/>
                <a:gd name="T11" fmla="*/ 252 h 832"/>
                <a:gd name="T12" fmla="*/ 768 w 862"/>
                <a:gd name="T13" fmla="*/ 216 h 832"/>
                <a:gd name="T14" fmla="*/ 822 w 862"/>
                <a:gd name="T15" fmla="*/ 244 h 832"/>
                <a:gd name="T16" fmla="*/ 862 w 862"/>
                <a:gd name="T17" fmla="*/ 250 h 832"/>
                <a:gd name="T18" fmla="*/ 850 w 862"/>
                <a:gd name="T19" fmla="*/ 322 h 832"/>
                <a:gd name="T20" fmla="*/ 822 w 862"/>
                <a:gd name="T21" fmla="*/ 382 h 832"/>
                <a:gd name="T22" fmla="*/ 782 w 862"/>
                <a:gd name="T23" fmla="*/ 442 h 832"/>
                <a:gd name="T24" fmla="*/ 740 w 862"/>
                <a:gd name="T25" fmla="*/ 484 h 832"/>
                <a:gd name="T26" fmla="*/ 688 w 862"/>
                <a:gd name="T27" fmla="*/ 512 h 832"/>
                <a:gd name="T28" fmla="*/ 726 w 862"/>
                <a:gd name="T29" fmla="*/ 546 h 832"/>
                <a:gd name="T30" fmla="*/ 694 w 862"/>
                <a:gd name="T31" fmla="*/ 606 h 832"/>
                <a:gd name="T32" fmla="*/ 648 w 862"/>
                <a:gd name="T33" fmla="*/ 640 h 832"/>
                <a:gd name="T34" fmla="*/ 648 w 862"/>
                <a:gd name="T35" fmla="*/ 710 h 832"/>
                <a:gd name="T36" fmla="*/ 612 w 862"/>
                <a:gd name="T37" fmla="*/ 772 h 832"/>
                <a:gd name="T38" fmla="*/ 574 w 862"/>
                <a:gd name="T39" fmla="*/ 822 h 832"/>
                <a:gd name="T40" fmla="*/ 492 w 862"/>
                <a:gd name="T41" fmla="*/ 832 h 832"/>
                <a:gd name="T42" fmla="*/ 404 w 862"/>
                <a:gd name="T43" fmla="*/ 822 h 832"/>
                <a:gd name="T44" fmla="*/ 330 w 862"/>
                <a:gd name="T45" fmla="*/ 822 h 832"/>
                <a:gd name="T46" fmla="*/ 242 w 862"/>
                <a:gd name="T47" fmla="*/ 822 h 832"/>
                <a:gd name="T48" fmla="*/ 174 w 862"/>
                <a:gd name="T49" fmla="*/ 822 h 832"/>
                <a:gd name="T50" fmla="*/ 136 w 862"/>
                <a:gd name="T51" fmla="*/ 780 h 832"/>
                <a:gd name="T52" fmla="*/ 100 w 862"/>
                <a:gd name="T53" fmla="*/ 728 h 832"/>
                <a:gd name="T54" fmla="*/ 80 w 862"/>
                <a:gd name="T55" fmla="*/ 676 h 832"/>
                <a:gd name="T56" fmla="*/ 60 w 862"/>
                <a:gd name="T57" fmla="*/ 616 h 832"/>
                <a:gd name="T58" fmla="*/ 94 w 862"/>
                <a:gd name="T59" fmla="*/ 520 h 832"/>
                <a:gd name="T60" fmla="*/ 140 w 862"/>
                <a:gd name="T61" fmla="*/ 424 h 832"/>
                <a:gd name="T62" fmla="*/ 180 w 862"/>
                <a:gd name="T63" fmla="*/ 322 h 832"/>
                <a:gd name="T64" fmla="*/ 126 w 862"/>
                <a:gd name="T65" fmla="*/ 304 h 832"/>
                <a:gd name="T66" fmla="*/ 88 w 862"/>
                <a:gd name="T67" fmla="*/ 278 h 832"/>
                <a:gd name="T68" fmla="*/ 38 w 862"/>
                <a:gd name="T69" fmla="*/ 244 h 832"/>
                <a:gd name="T70" fmla="*/ 6 w 862"/>
                <a:gd name="T71" fmla="*/ 174 h 832"/>
                <a:gd name="T72" fmla="*/ 8 w 862"/>
                <a:gd name="T73" fmla="*/ 130 h 832"/>
                <a:gd name="T74" fmla="*/ 8 w 862"/>
                <a:gd name="T75" fmla="*/ 94 h 832"/>
                <a:gd name="T76" fmla="*/ 60 w 862"/>
                <a:gd name="T77" fmla="*/ 70 h 832"/>
                <a:gd name="T78" fmla="*/ 114 w 862"/>
                <a:gd name="T79" fmla="*/ 42 h 832"/>
                <a:gd name="T80" fmla="*/ 170 w 862"/>
                <a:gd name="T81" fmla="*/ 50 h 832"/>
                <a:gd name="T82" fmla="*/ 202 w 862"/>
                <a:gd name="T83" fmla="*/ 28 h 832"/>
                <a:gd name="T84" fmla="*/ 242 w 862"/>
                <a:gd name="T85" fmla="*/ 10 h 832"/>
                <a:gd name="T86" fmla="*/ 278 w 862"/>
                <a:gd name="T87" fmla="*/ 16 h 832"/>
                <a:gd name="T88" fmla="*/ 324 w 862"/>
                <a:gd name="T89" fmla="*/ 62 h 832"/>
                <a:gd name="T90" fmla="*/ 370 w 862"/>
                <a:gd name="T91" fmla="*/ 88 h 832"/>
                <a:gd name="T92" fmla="*/ 404 w 862"/>
                <a:gd name="T93" fmla="*/ 148 h 832"/>
                <a:gd name="T94" fmla="*/ 436 w 862"/>
                <a:gd name="T95" fmla="*/ 210 h 832"/>
                <a:gd name="T96" fmla="*/ 484 w 862"/>
                <a:gd name="T97" fmla="*/ 234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2" h="832">
                  <a:moveTo>
                    <a:pt x="502" y="208"/>
                  </a:moveTo>
                  <a:lnTo>
                    <a:pt x="520" y="200"/>
                  </a:lnTo>
                  <a:lnTo>
                    <a:pt x="534" y="192"/>
                  </a:lnTo>
                  <a:lnTo>
                    <a:pt x="546" y="174"/>
                  </a:lnTo>
                  <a:lnTo>
                    <a:pt x="558" y="174"/>
                  </a:lnTo>
                  <a:lnTo>
                    <a:pt x="564" y="192"/>
                  </a:lnTo>
                  <a:lnTo>
                    <a:pt x="578" y="192"/>
                  </a:lnTo>
                  <a:lnTo>
                    <a:pt x="592" y="182"/>
                  </a:lnTo>
                  <a:lnTo>
                    <a:pt x="606" y="182"/>
                  </a:lnTo>
                  <a:lnTo>
                    <a:pt x="620" y="192"/>
                  </a:lnTo>
                  <a:lnTo>
                    <a:pt x="634" y="200"/>
                  </a:lnTo>
                  <a:lnTo>
                    <a:pt x="648" y="192"/>
                  </a:lnTo>
                  <a:lnTo>
                    <a:pt x="660" y="182"/>
                  </a:lnTo>
                  <a:lnTo>
                    <a:pt x="674" y="192"/>
                  </a:lnTo>
                  <a:lnTo>
                    <a:pt x="688" y="192"/>
                  </a:lnTo>
                  <a:lnTo>
                    <a:pt x="700" y="192"/>
                  </a:lnTo>
                  <a:lnTo>
                    <a:pt x="708" y="210"/>
                  </a:lnTo>
                  <a:lnTo>
                    <a:pt x="694" y="226"/>
                  </a:lnTo>
                  <a:lnTo>
                    <a:pt x="688" y="244"/>
                  </a:lnTo>
                  <a:lnTo>
                    <a:pt x="680" y="260"/>
                  </a:lnTo>
                  <a:lnTo>
                    <a:pt x="680" y="278"/>
                  </a:lnTo>
                  <a:lnTo>
                    <a:pt x="694" y="278"/>
                  </a:lnTo>
                  <a:lnTo>
                    <a:pt x="708" y="268"/>
                  </a:lnTo>
                  <a:lnTo>
                    <a:pt x="712" y="252"/>
                  </a:lnTo>
                  <a:lnTo>
                    <a:pt x="720" y="234"/>
                  </a:lnTo>
                  <a:lnTo>
                    <a:pt x="734" y="226"/>
                  </a:lnTo>
                  <a:lnTo>
                    <a:pt x="748" y="216"/>
                  </a:lnTo>
                  <a:lnTo>
                    <a:pt x="768" y="216"/>
                  </a:lnTo>
                  <a:lnTo>
                    <a:pt x="782" y="226"/>
                  </a:lnTo>
                  <a:lnTo>
                    <a:pt x="796" y="234"/>
                  </a:lnTo>
                  <a:lnTo>
                    <a:pt x="810" y="234"/>
                  </a:lnTo>
                  <a:lnTo>
                    <a:pt x="822" y="244"/>
                  </a:lnTo>
                  <a:lnTo>
                    <a:pt x="836" y="244"/>
                  </a:lnTo>
                  <a:lnTo>
                    <a:pt x="850" y="244"/>
                  </a:lnTo>
                  <a:lnTo>
                    <a:pt x="862" y="252"/>
                  </a:lnTo>
                  <a:lnTo>
                    <a:pt x="862" y="250"/>
                  </a:lnTo>
                  <a:lnTo>
                    <a:pt x="862" y="260"/>
                  </a:lnTo>
                  <a:lnTo>
                    <a:pt x="856" y="278"/>
                  </a:lnTo>
                  <a:lnTo>
                    <a:pt x="856" y="304"/>
                  </a:lnTo>
                  <a:lnTo>
                    <a:pt x="850" y="322"/>
                  </a:lnTo>
                  <a:lnTo>
                    <a:pt x="842" y="338"/>
                  </a:lnTo>
                  <a:lnTo>
                    <a:pt x="828" y="346"/>
                  </a:lnTo>
                  <a:lnTo>
                    <a:pt x="822" y="366"/>
                  </a:lnTo>
                  <a:lnTo>
                    <a:pt x="822" y="382"/>
                  </a:lnTo>
                  <a:lnTo>
                    <a:pt x="814" y="400"/>
                  </a:lnTo>
                  <a:lnTo>
                    <a:pt x="810" y="416"/>
                  </a:lnTo>
                  <a:lnTo>
                    <a:pt x="796" y="434"/>
                  </a:lnTo>
                  <a:lnTo>
                    <a:pt x="782" y="442"/>
                  </a:lnTo>
                  <a:lnTo>
                    <a:pt x="774" y="458"/>
                  </a:lnTo>
                  <a:lnTo>
                    <a:pt x="768" y="476"/>
                  </a:lnTo>
                  <a:lnTo>
                    <a:pt x="756" y="476"/>
                  </a:lnTo>
                  <a:lnTo>
                    <a:pt x="740" y="484"/>
                  </a:lnTo>
                  <a:lnTo>
                    <a:pt x="726" y="484"/>
                  </a:lnTo>
                  <a:lnTo>
                    <a:pt x="712" y="502"/>
                  </a:lnTo>
                  <a:lnTo>
                    <a:pt x="708" y="512"/>
                  </a:lnTo>
                  <a:lnTo>
                    <a:pt x="688" y="512"/>
                  </a:lnTo>
                  <a:lnTo>
                    <a:pt x="688" y="530"/>
                  </a:lnTo>
                  <a:lnTo>
                    <a:pt x="700" y="538"/>
                  </a:lnTo>
                  <a:lnTo>
                    <a:pt x="712" y="538"/>
                  </a:lnTo>
                  <a:lnTo>
                    <a:pt x="726" y="546"/>
                  </a:lnTo>
                  <a:lnTo>
                    <a:pt x="712" y="562"/>
                  </a:lnTo>
                  <a:lnTo>
                    <a:pt x="712" y="582"/>
                  </a:lnTo>
                  <a:lnTo>
                    <a:pt x="700" y="590"/>
                  </a:lnTo>
                  <a:lnTo>
                    <a:pt x="694" y="606"/>
                  </a:lnTo>
                  <a:lnTo>
                    <a:pt x="680" y="622"/>
                  </a:lnTo>
                  <a:lnTo>
                    <a:pt x="666" y="622"/>
                  </a:lnTo>
                  <a:lnTo>
                    <a:pt x="654" y="622"/>
                  </a:lnTo>
                  <a:lnTo>
                    <a:pt x="648" y="640"/>
                  </a:lnTo>
                  <a:lnTo>
                    <a:pt x="654" y="660"/>
                  </a:lnTo>
                  <a:lnTo>
                    <a:pt x="648" y="676"/>
                  </a:lnTo>
                  <a:lnTo>
                    <a:pt x="648" y="692"/>
                  </a:lnTo>
                  <a:lnTo>
                    <a:pt x="648" y="710"/>
                  </a:lnTo>
                  <a:lnTo>
                    <a:pt x="640" y="728"/>
                  </a:lnTo>
                  <a:lnTo>
                    <a:pt x="634" y="744"/>
                  </a:lnTo>
                  <a:lnTo>
                    <a:pt x="626" y="760"/>
                  </a:lnTo>
                  <a:lnTo>
                    <a:pt x="612" y="772"/>
                  </a:lnTo>
                  <a:lnTo>
                    <a:pt x="598" y="788"/>
                  </a:lnTo>
                  <a:lnTo>
                    <a:pt x="592" y="804"/>
                  </a:lnTo>
                  <a:lnTo>
                    <a:pt x="586" y="822"/>
                  </a:lnTo>
                  <a:lnTo>
                    <a:pt x="574" y="822"/>
                  </a:lnTo>
                  <a:lnTo>
                    <a:pt x="552" y="822"/>
                  </a:lnTo>
                  <a:lnTo>
                    <a:pt x="534" y="832"/>
                  </a:lnTo>
                  <a:lnTo>
                    <a:pt x="510" y="832"/>
                  </a:lnTo>
                  <a:lnTo>
                    <a:pt x="492" y="832"/>
                  </a:lnTo>
                  <a:lnTo>
                    <a:pt x="472" y="832"/>
                  </a:lnTo>
                  <a:lnTo>
                    <a:pt x="452" y="822"/>
                  </a:lnTo>
                  <a:lnTo>
                    <a:pt x="432" y="822"/>
                  </a:lnTo>
                  <a:lnTo>
                    <a:pt x="404" y="822"/>
                  </a:lnTo>
                  <a:lnTo>
                    <a:pt x="384" y="822"/>
                  </a:lnTo>
                  <a:lnTo>
                    <a:pt x="362" y="822"/>
                  </a:lnTo>
                  <a:lnTo>
                    <a:pt x="350" y="822"/>
                  </a:lnTo>
                  <a:lnTo>
                    <a:pt x="330" y="822"/>
                  </a:lnTo>
                  <a:lnTo>
                    <a:pt x="308" y="822"/>
                  </a:lnTo>
                  <a:lnTo>
                    <a:pt x="282" y="822"/>
                  </a:lnTo>
                  <a:lnTo>
                    <a:pt x="264" y="822"/>
                  </a:lnTo>
                  <a:lnTo>
                    <a:pt x="242" y="822"/>
                  </a:lnTo>
                  <a:lnTo>
                    <a:pt x="222" y="822"/>
                  </a:lnTo>
                  <a:lnTo>
                    <a:pt x="202" y="814"/>
                  </a:lnTo>
                  <a:lnTo>
                    <a:pt x="188" y="814"/>
                  </a:lnTo>
                  <a:lnTo>
                    <a:pt x="174" y="822"/>
                  </a:lnTo>
                  <a:lnTo>
                    <a:pt x="162" y="814"/>
                  </a:lnTo>
                  <a:lnTo>
                    <a:pt x="154" y="798"/>
                  </a:lnTo>
                  <a:lnTo>
                    <a:pt x="140" y="798"/>
                  </a:lnTo>
                  <a:lnTo>
                    <a:pt x="136" y="780"/>
                  </a:lnTo>
                  <a:lnTo>
                    <a:pt x="122" y="760"/>
                  </a:lnTo>
                  <a:lnTo>
                    <a:pt x="106" y="760"/>
                  </a:lnTo>
                  <a:lnTo>
                    <a:pt x="100" y="744"/>
                  </a:lnTo>
                  <a:lnTo>
                    <a:pt x="100" y="728"/>
                  </a:lnTo>
                  <a:lnTo>
                    <a:pt x="94" y="710"/>
                  </a:lnTo>
                  <a:lnTo>
                    <a:pt x="88" y="692"/>
                  </a:lnTo>
                  <a:lnTo>
                    <a:pt x="80" y="684"/>
                  </a:lnTo>
                  <a:lnTo>
                    <a:pt x="80" y="676"/>
                  </a:lnTo>
                  <a:lnTo>
                    <a:pt x="80" y="668"/>
                  </a:lnTo>
                  <a:lnTo>
                    <a:pt x="74" y="650"/>
                  </a:lnTo>
                  <a:lnTo>
                    <a:pt x="60" y="632"/>
                  </a:lnTo>
                  <a:lnTo>
                    <a:pt x="60" y="616"/>
                  </a:lnTo>
                  <a:lnTo>
                    <a:pt x="68" y="598"/>
                  </a:lnTo>
                  <a:lnTo>
                    <a:pt x="74" y="582"/>
                  </a:lnTo>
                  <a:lnTo>
                    <a:pt x="88" y="546"/>
                  </a:lnTo>
                  <a:lnTo>
                    <a:pt x="94" y="520"/>
                  </a:lnTo>
                  <a:lnTo>
                    <a:pt x="106" y="496"/>
                  </a:lnTo>
                  <a:lnTo>
                    <a:pt x="114" y="476"/>
                  </a:lnTo>
                  <a:lnTo>
                    <a:pt x="126" y="452"/>
                  </a:lnTo>
                  <a:lnTo>
                    <a:pt x="140" y="424"/>
                  </a:lnTo>
                  <a:lnTo>
                    <a:pt x="154" y="390"/>
                  </a:lnTo>
                  <a:lnTo>
                    <a:pt x="162" y="374"/>
                  </a:lnTo>
                  <a:lnTo>
                    <a:pt x="168" y="346"/>
                  </a:lnTo>
                  <a:lnTo>
                    <a:pt x="180" y="322"/>
                  </a:lnTo>
                  <a:lnTo>
                    <a:pt x="180" y="304"/>
                  </a:lnTo>
                  <a:lnTo>
                    <a:pt x="162" y="312"/>
                  </a:lnTo>
                  <a:lnTo>
                    <a:pt x="140" y="312"/>
                  </a:lnTo>
                  <a:lnTo>
                    <a:pt x="126" y="304"/>
                  </a:lnTo>
                  <a:lnTo>
                    <a:pt x="122" y="288"/>
                  </a:lnTo>
                  <a:lnTo>
                    <a:pt x="114" y="278"/>
                  </a:lnTo>
                  <a:lnTo>
                    <a:pt x="100" y="278"/>
                  </a:lnTo>
                  <a:lnTo>
                    <a:pt x="88" y="278"/>
                  </a:lnTo>
                  <a:lnTo>
                    <a:pt x="74" y="278"/>
                  </a:lnTo>
                  <a:lnTo>
                    <a:pt x="52" y="268"/>
                  </a:lnTo>
                  <a:lnTo>
                    <a:pt x="38" y="260"/>
                  </a:lnTo>
                  <a:lnTo>
                    <a:pt x="38" y="244"/>
                  </a:lnTo>
                  <a:lnTo>
                    <a:pt x="26" y="226"/>
                  </a:lnTo>
                  <a:lnTo>
                    <a:pt x="20" y="210"/>
                  </a:lnTo>
                  <a:lnTo>
                    <a:pt x="14" y="192"/>
                  </a:lnTo>
                  <a:lnTo>
                    <a:pt x="6" y="174"/>
                  </a:lnTo>
                  <a:lnTo>
                    <a:pt x="6" y="156"/>
                  </a:lnTo>
                  <a:lnTo>
                    <a:pt x="8" y="156"/>
                  </a:lnTo>
                  <a:lnTo>
                    <a:pt x="14" y="148"/>
                  </a:lnTo>
                  <a:lnTo>
                    <a:pt x="8" y="130"/>
                  </a:lnTo>
                  <a:lnTo>
                    <a:pt x="14" y="122"/>
                  </a:lnTo>
                  <a:lnTo>
                    <a:pt x="8" y="104"/>
                  </a:lnTo>
                  <a:lnTo>
                    <a:pt x="0" y="94"/>
                  </a:lnTo>
                  <a:lnTo>
                    <a:pt x="8" y="94"/>
                  </a:lnTo>
                  <a:lnTo>
                    <a:pt x="20" y="94"/>
                  </a:lnTo>
                  <a:lnTo>
                    <a:pt x="34" y="94"/>
                  </a:lnTo>
                  <a:lnTo>
                    <a:pt x="48" y="88"/>
                  </a:lnTo>
                  <a:lnTo>
                    <a:pt x="60" y="70"/>
                  </a:lnTo>
                  <a:lnTo>
                    <a:pt x="76" y="60"/>
                  </a:lnTo>
                  <a:lnTo>
                    <a:pt x="88" y="60"/>
                  </a:lnTo>
                  <a:lnTo>
                    <a:pt x="100" y="60"/>
                  </a:lnTo>
                  <a:lnTo>
                    <a:pt x="114" y="42"/>
                  </a:lnTo>
                  <a:lnTo>
                    <a:pt x="126" y="42"/>
                  </a:lnTo>
                  <a:lnTo>
                    <a:pt x="142" y="42"/>
                  </a:lnTo>
                  <a:lnTo>
                    <a:pt x="154" y="50"/>
                  </a:lnTo>
                  <a:lnTo>
                    <a:pt x="170" y="50"/>
                  </a:lnTo>
                  <a:lnTo>
                    <a:pt x="182" y="50"/>
                  </a:lnTo>
                  <a:lnTo>
                    <a:pt x="198" y="50"/>
                  </a:lnTo>
                  <a:lnTo>
                    <a:pt x="210" y="42"/>
                  </a:lnTo>
                  <a:lnTo>
                    <a:pt x="202" y="28"/>
                  </a:lnTo>
                  <a:lnTo>
                    <a:pt x="202" y="10"/>
                  </a:lnTo>
                  <a:lnTo>
                    <a:pt x="214" y="10"/>
                  </a:lnTo>
                  <a:lnTo>
                    <a:pt x="230" y="10"/>
                  </a:lnTo>
                  <a:lnTo>
                    <a:pt x="242" y="10"/>
                  </a:lnTo>
                  <a:lnTo>
                    <a:pt x="256" y="0"/>
                  </a:lnTo>
                  <a:lnTo>
                    <a:pt x="270" y="10"/>
                  </a:lnTo>
                  <a:lnTo>
                    <a:pt x="282" y="16"/>
                  </a:lnTo>
                  <a:lnTo>
                    <a:pt x="278" y="16"/>
                  </a:lnTo>
                  <a:lnTo>
                    <a:pt x="296" y="36"/>
                  </a:lnTo>
                  <a:lnTo>
                    <a:pt x="296" y="54"/>
                  </a:lnTo>
                  <a:lnTo>
                    <a:pt x="308" y="54"/>
                  </a:lnTo>
                  <a:lnTo>
                    <a:pt x="324" y="62"/>
                  </a:lnTo>
                  <a:lnTo>
                    <a:pt x="336" y="72"/>
                  </a:lnTo>
                  <a:lnTo>
                    <a:pt x="348" y="72"/>
                  </a:lnTo>
                  <a:lnTo>
                    <a:pt x="356" y="88"/>
                  </a:lnTo>
                  <a:lnTo>
                    <a:pt x="370" y="88"/>
                  </a:lnTo>
                  <a:lnTo>
                    <a:pt x="376" y="106"/>
                  </a:lnTo>
                  <a:lnTo>
                    <a:pt x="390" y="124"/>
                  </a:lnTo>
                  <a:lnTo>
                    <a:pt x="404" y="132"/>
                  </a:lnTo>
                  <a:lnTo>
                    <a:pt x="404" y="148"/>
                  </a:lnTo>
                  <a:lnTo>
                    <a:pt x="404" y="166"/>
                  </a:lnTo>
                  <a:lnTo>
                    <a:pt x="416" y="182"/>
                  </a:lnTo>
                  <a:lnTo>
                    <a:pt x="430" y="192"/>
                  </a:lnTo>
                  <a:lnTo>
                    <a:pt x="436" y="210"/>
                  </a:lnTo>
                  <a:lnTo>
                    <a:pt x="442" y="226"/>
                  </a:lnTo>
                  <a:lnTo>
                    <a:pt x="458" y="244"/>
                  </a:lnTo>
                  <a:lnTo>
                    <a:pt x="470" y="244"/>
                  </a:lnTo>
                  <a:lnTo>
                    <a:pt x="484" y="234"/>
                  </a:lnTo>
                  <a:lnTo>
                    <a:pt x="502" y="20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90" name="Freeform 92">
              <a:extLst>
                <a:ext uri="{FF2B5EF4-FFF2-40B4-BE49-F238E27FC236}">
                  <a16:creationId xmlns:a16="http://schemas.microsoft.com/office/drawing/2014/main" id="{12D028EF-6AF7-459B-9452-1381AE6ECEDB}"/>
                </a:ext>
              </a:extLst>
            </p:cNvPr>
            <p:cNvSpPr>
              <a:spLocks/>
            </p:cNvSpPr>
            <p:nvPr/>
          </p:nvSpPr>
          <p:spPr bwMode="auto">
            <a:xfrm>
              <a:off x="2773470" y="2722222"/>
              <a:ext cx="460405" cy="846068"/>
            </a:xfrm>
            <a:custGeom>
              <a:avLst/>
              <a:gdLst>
                <a:gd name="T0" fmla="*/ 8 w 308"/>
                <a:gd name="T1" fmla="*/ 512 h 566"/>
                <a:gd name="T2" fmla="*/ 92 w 308"/>
                <a:gd name="T3" fmla="*/ 528 h 566"/>
                <a:gd name="T4" fmla="*/ 126 w 308"/>
                <a:gd name="T5" fmla="*/ 554 h 566"/>
                <a:gd name="T6" fmla="*/ 202 w 308"/>
                <a:gd name="T7" fmla="*/ 546 h 566"/>
                <a:gd name="T8" fmla="*/ 284 w 308"/>
                <a:gd name="T9" fmla="*/ 566 h 566"/>
                <a:gd name="T10" fmla="*/ 284 w 308"/>
                <a:gd name="T11" fmla="*/ 562 h 566"/>
                <a:gd name="T12" fmla="*/ 300 w 308"/>
                <a:gd name="T13" fmla="*/ 536 h 566"/>
                <a:gd name="T14" fmla="*/ 292 w 308"/>
                <a:gd name="T15" fmla="*/ 500 h 566"/>
                <a:gd name="T16" fmla="*/ 292 w 308"/>
                <a:gd name="T17" fmla="*/ 474 h 566"/>
                <a:gd name="T18" fmla="*/ 300 w 308"/>
                <a:gd name="T19" fmla="*/ 448 h 566"/>
                <a:gd name="T20" fmla="*/ 292 w 308"/>
                <a:gd name="T21" fmla="*/ 432 h 566"/>
                <a:gd name="T22" fmla="*/ 278 w 308"/>
                <a:gd name="T23" fmla="*/ 414 h 566"/>
                <a:gd name="T24" fmla="*/ 292 w 308"/>
                <a:gd name="T25" fmla="*/ 380 h 566"/>
                <a:gd name="T26" fmla="*/ 308 w 308"/>
                <a:gd name="T27" fmla="*/ 362 h 566"/>
                <a:gd name="T28" fmla="*/ 290 w 308"/>
                <a:gd name="T29" fmla="*/ 362 h 566"/>
                <a:gd name="T30" fmla="*/ 270 w 308"/>
                <a:gd name="T31" fmla="*/ 336 h 566"/>
                <a:gd name="T32" fmla="*/ 264 w 308"/>
                <a:gd name="T33" fmla="*/ 300 h 566"/>
                <a:gd name="T34" fmla="*/ 244 w 308"/>
                <a:gd name="T35" fmla="*/ 276 h 566"/>
                <a:gd name="T36" fmla="*/ 252 w 308"/>
                <a:gd name="T37" fmla="*/ 240 h 566"/>
                <a:gd name="T38" fmla="*/ 276 w 308"/>
                <a:gd name="T39" fmla="*/ 214 h 566"/>
                <a:gd name="T40" fmla="*/ 258 w 308"/>
                <a:gd name="T41" fmla="*/ 196 h 566"/>
                <a:gd name="T42" fmla="*/ 230 w 308"/>
                <a:gd name="T43" fmla="*/ 188 h 566"/>
                <a:gd name="T44" fmla="*/ 210 w 308"/>
                <a:gd name="T45" fmla="*/ 162 h 566"/>
                <a:gd name="T46" fmla="*/ 202 w 308"/>
                <a:gd name="T47" fmla="*/ 136 h 566"/>
                <a:gd name="T48" fmla="*/ 216 w 308"/>
                <a:gd name="T49" fmla="*/ 102 h 566"/>
                <a:gd name="T50" fmla="*/ 216 w 308"/>
                <a:gd name="T51" fmla="*/ 68 h 566"/>
                <a:gd name="T52" fmla="*/ 210 w 308"/>
                <a:gd name="T53" fmla="*/ 32 h 566"/>
                <a:gd name="T54" fmla="*/ 182 w 308"/>
                <a:gd name="T55" fmla="*/ 24 h 566"/>
                <a:gd name="T56" fmla="*/ 162 w 308"/>
                <a:gd name="T57" fmla="*/ 8 h 566"/>
                <a:gd name="T58" fmla="*/ 148 w 308"/>
                <a:gd name="T59" fmla="*/ 8 h 566"/>
                <a:gd name="T60" fmla="*/ 136 w 308"/>
                <a:gd name="T61" fmla="*/ 0 h 566"/>
                <a:gd name="T62" fmla="*/ 148 w 308"/>
                <a:gd name="T63" fmla="*/ 26 h 566"/>
                <a:gd name="T64" fmla="*/ 174 w 308"/>
                <a:gd name="T65" fmla="*/ 34 h 566"/>
                <a:gd name="T66" fmla="*/ 160 w 308"/>
                <a:gd name="T67" fmla="*/ 70 h 566"/>
                <a:gd name="T68" fmla="*/ 142 w 308"/>
                <a:gd name="T69" fmla="*/ 94 h 566"/>
                <a:gd name="T70" fmla="*/ 114 w 308"/>
                <a:gd name="T71" fmla="*/ 110 h 566"/>
                <a:gd name="T72" fmla="*/ 96 w 308"/>
                <a:gd name="T73" fmla="*/ 128 h 566"/>
                <a:gd name="T74" fmla="*/ 96 w 308"/>
                <a:gd name="T75" fmla="*/ 164 h 566"/>
                <a:gd name="T76" fmla="*/ 96 w 308"/>
                <a:gd name="T77" fmla="*/ 198 h 566"/>
                <a:gd name="T78" fmla="*/ 82 w 308"/>
                <a:gd name="T79" fmla="*/ 232 h 566"/>
                <a:gd name="T80" fmla="*/ 60 w 308"/>
                <a:gd name="T81" fmla="*/ 260 h 566"/>
                <a:gd name="T82" fmla="*/ 44 w 308"/>
                <a:gd name="T83" fmla="*/ 282 h 566"/>
                <a:gd name="T84" fmla="*/ 20 w 308"/>
                <a:gd name="T85" fmla="*/ 328 h 566"/>
                <a:gd name="T86" fmla="*/ 6 w 308"/>
                <a:gd name="T87" fmla="*/ 362 h 566"/>
                <a:gd name="T88" fmla="*/ 0 w 308"/>
                <a:gd name="T89" fmla="*/ 388 h 566"/>
                <a:gd name="T90" fmla="*/ 6 w 308"/>
                <a:gd name="T91" fmla="*/ 422 h 566"/>
                <a:gd name="T92" fmla="*/ 0 w 308"/>
                <a:gd name="T93" fmla="*/ 458 h 566"/>
                <a:gd name="T94" fmla="*/ 0 w 308"/>
                <a:gd name="T95" fmla="*/ 492 h 566"/>
                <a:gd name="T96" fmla="*/ 6 w 308"/>
                <a:gd name="T97" fmla="*/ 512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8" h="566">
                  <a:moveTo>
                    <a:pt x="6" y="512"/>
                  </a:moveTo>
                  <a:lnTo>
                    <a:pt x="8" y="512"/>
                  </a:lnTo>
                  <a:lnTo>
                    <a:pt x="44" y="512"/>
                  </a:lnTo>
                  <a:lnTo>
                    <a:pt x="92" y="528"/>
                  </a:lnTo>
                  <a:lnTo>
                    <a:pt x="122" y="500"/>
                  </a:lnTo>
                  <a:lnTo>
                    <a:pt x="126" y="554"/>
                  </a:lnTo>
                  <a:lnTo>
                    <a:pt x="158" y="528"/>
                  </a:lnTo>
                  <a:lnTo>
                    <a:pt x="202" y="546"/>
                  </a:lnTo>
                  <a:lnTo>
                    <a:pt x="244" y="542"/>
                  </a:lnTo>
                  <a:lnTo>
                    <a:pt x="284" y="566"/>
                  </a:lnTo>
                  <a:lnTo>
                    <a:pt x="284" y="566"/>
                  </a:lnTo>
                  <a:lnTo>
                    <a:pt x="284" y="562"/>
                  </a:lnTo>
                  <a:lnTo>
                    <a:pt x="300" y="552"/>
                  </a:lnTo>
                  <a:lnTo>
                    <a:pt x="300" y="536"/>
                  </a:lnTo>
                  <a:lnTo>
                    <a:pt x="300" y="518"/>
                  </a:lnTo>
                  <a:lnTo>
                    <a:pt x="292" y="500"/>
                  </a:lnTo>
                  <a:lnTo>
                    <a:pt x="278" y="492"/>
                  </a:lnTo>
                  <a:lnTo>
                    <a:pt x="292" y="474"/>
                  </a:lnTo>
                  <a:lnTo>
                    <a:pt x="284" y="458"/>
                  </a:lnTo>
                  <a:lnTo>
                    <a:pt x="300" y="448"/>
                  </a:lnTo>
                  <a:lnTo>
                    <a:pt x="306" y="432"/>
                  </a:lnTo>
                  <a:lnTo>
                    <a:pt x="292" y="432"/>
                  </a:lnTo>
                  <a:lnTo>
                    <a:pt x="278" y="432"/>
                  </a:lnTo>
                  <a:lnTo>
                    <a:pt x="278" y="414"/>
                  </a:lnTo>
                  <a:lnTo>
                    <a:pt x="284" y="396"/>
                  </a:lnTo>
                  <a:lnTo>
                    <a:pt x="292" y="380"/>
                  </a:lnTo>
                  <a:lnTo>
                    <a:pt x="306" y="370"/>
                  </a:lnTo>
                  <a:lnTo>
                    <a:pt x="308" y="362"/>
                  </a:lnTo>
                  <a:lnTo>
                    <a:pt x="304" y="362"/>
                  </a:lnTo>
                  <a:lnTo>
                    <a:pt x="290" y="362"/>
                  </a:lnTo>
                  <a:lnTo>
                    <a:pt x="284" y="346"/>
                  </a:lnTo>
                  <a:lnTo>
                    <a:pt x="270" y="336"/>
                  </a:lnTo>
                  <a:lnTo>
                    <a:pt x="270" y="318"/>
                  </a:lnTo>
                  <a:lnTo>
                    <a:pt x="264" y="300"/>
                  </a:lnTo>
                  <a:lnTo>
                    <a:pt x="252" y="292"/>
                  </a:lnTo>
                  <a:lnTo>
                    <a:pt x="244" y="276"/>
                  </a:lnTo>
                  <a:lnTo>
                    <a:pt x="252" y="256"/>
                  </a:lnTo>
                  <a:lnTo>
                    <a:pt x="252" y="240"/>
                  </a:lnTo>
                  <a:lnTo>
                    <a:pt x="264" y="232"/>
                  </a:lnTo>
                  <a:lnTo>
                    <a:pt x="276" y="214"/>
                  </a:lnTo>
                  <a:lnTo>
                    <a:pt x="270" y="196"/>
                  </a:lnTo>
                  <a:lnTo>
                    <a:pt x="258" y="196"/>
                  </a:lnTo>
                  <a:lnTo>
                    <a:pt x="244" y="196"/>
                  </a:lnTo>
                  <a:lnTo>
                    <a:pt x="230" y="188"/>
                  </a:lnTo>
                  <a:lnTo>
                    <a:pt x="224" y="172"/>
                  </a:lnTo>
                  <a:lnTo>
                    <a:pt x="210" y="162"/>
                  </a:lnTo>
                  <a:lnTo>
                    <a:pt x="196" y="154"/>
                  </a:lnTo>
                  <a:lnTo>
                    <a:pt x="202" y="136"/>
                  </a:lnTo>
                  <a:lnTo>
                    <a:pt x="210" y="118"/>
                  </a:lnTo>
                  <a:lnTo>
                    <a:pt x="216" y="102"/>
                  </a:lnTo>
                  <a:lnTo>
                    <a:pt x="216" y="86"/>
                  </a:lnTo>
                  <a:lnTo>
                    <a:pt x="216" y="68"/>
                  </a:lnTo>
                  <a:lnTo>
                    <a:pt x="216" y="50"/>
                  </a:lnTo>
                  <a:lnTo>
                    <a:pt x="210" y="32"/>
                  </a:lnTo>
                  <a:lnTo>
                    <a:pt x="196" y="24"/>
                  </a:lnTo>
                  <a:lnTo>
                    <a:pt x="182" y="24"/>
                  </a:lnTo>
                  <a:lnTo>
                    <a:pt x="176" y="8"/>
                  </a:lnTo>
                  <a:lnTo>
                    <a:pt x="162" y="8"/>
                  </a:lnTo>
                  <a:lnTo>
                    <a:pt x="154" y="8"/>
                  </a:lnTo>
                  <a:lnTo>
                    <a:pt x="148" y="8"/>
                  </a:lnTo>
                  <a:lnTo>
                    <a:pt x="154" y="0"/>
                  </a:lnTo>
                  <a:lnTo>
                    <a:pt x="136" y="0"/>
                  </a:lnTo>
                  <a:lnTo>
                    <a:pt x="136" y="18"/>
                  </a:lnTo>
                  <a:lnTo>
                    <a:pt x="148" y="26"/>
                  </a:lnTo>
                  <a:lnTo>
                    <a:pt x="160" y="26"/>
                  </a:lnTo>
                  <a:lnTo>
                    <a:pt x="174" y="34"/>
                  </a:lnTo>
                  <a:lnTo>
                    <a:pt x="160" y="50"/>
                  </a:lnTo>
                  <a:lnTo>
                    <a:pt x="160" y="70"/>
                  </a:lnTo>
                  <a:lnTo>
                    <a:pt x="148" y="78"/>
                  </a:lnTo>
                  <a:lnTo>
                    <a:pt x="142" y="94"/>
                  </a:lnTo>
                  <a:lnTo>
                    <a:pt x="128" y="110"/>
                  </a:lnTo>
                  <a:lnTo>
                    <a:pt x="114" y="110"/>
                  </a:lnTo>
                  <a:lnTo>
                    <a:pt x="102" y="110"/>
                  </a:lnTo>
                  <a:lnTo>
                    <a:pt x="96" y="128"/>
                  </a:lnTo>
                  <a:lnTo>
                    <a:pt x="102" y="148"/>
                  </a:lnTo>
                  <a:lnTo>
                    <a:pt x="96" y="164"/>
                  </a:lnTo>
                  <a:lnTo>
                    <a:pt x="96" y="180"/>
                  </a:lnTo>
                  <a:lnTo>
                    <a:pt x="96" y="198"/>
                  </a:lnTo>
                  <a:lnTo>
                    <a:pt x="88" y="216"/>
                  </a:lnTo>
                  <a:lnTo>
                    <a:pt x="82" y="232"/>
                  </a:lnTo>
                  <a:lnTo>
                    <a:pt x="74" y="248"/>
                  </a:lnTo>
                  <a:lnTo>
                    <a:pt x="60" y="260"/>
                  </a:lnTo>
                  <a:lnTo>
                    <a:pt x="46" y="276"/>
                  </a:lnTo>
                  <a:lnTo>
                    <a:pt x="44" y="282"/>
                  </a:lnTo>
                  <a:lnTo>
                    <a:pt x="36" y="310"/>
                  </a:lnTo>
                  <a:lnTo>
                    <a:pt x="20" y="328"/>
                  </a:lnTo>
                  <a:lnTo>
                    <a:pt x="14" y="344"/>
                  </a:lnTo>
                  <a:lnTo>
                    <a:pt x="6" y="362"/>
                  </a:lnTo>
                  <a:lnTo>
                    <a:pt x="0" y="370"/>
                  </a:lnTo>
                  <a:lnTo>
                    <a:pt x="0" y="388"/>
                  </a:lnTo>
                  <a:lnTo>
                    <a:pt x="0" y="406"/>
                  </a:lnTo>
                  <a:lnTo>
                    <a:pt x="6" y="422"/>
                  </a:lnTo>
                  <a:lnTo>
                    <a:pt x="0" y="442"/>
                  </a:lnTo>
                  <a:lnTo>
                    <a:pt x="0" y="458"/>
                  </a:lnTo>
                  <a:lnTo>
                    <a:pt x="0" y="474"/>
                  </a:lnTo>
                  <a:lnTo>
                    <a:pt x="0" y="492"/>
                  </a:lnTo>
                  <a:lnTo>
                    <a:pt x="6" y="510"/>
                  </a:lnTo>
                  <a:lnTo>
                    <a:pt x="6" y="512"/>
                  </a:lnTo>
                  <a:close/>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grpSp>
      <p:sp>
        <p:nvSpPr>
          <p:cNvPr id="5" name="Footer Placeholder 4">
            <a:extLst>
              <a:ext uri="{FF2B5EF4-FFF2-40B4-BE49-F238E27FC236}">
                <a16:creationId xmlns:a16="http://schemas.microsoft.com/office/drawing/2014/main" id="{9E307961-492A-4718-811F-24CA86970ECA}"/>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5CD65C04-74AA-4B74-840B-3A439C1A6802}"/>
              </a:ext>
            </a:extLst>
          </p:cNvPr>
          <p:cNvSpPr>
            <a:spLocks noGrp="1"/>
          </p:cNvSpPr>
          <p:nvPr>
            <p:ph type="sldNum" sz="quarter" idx="10"/>
          </p:nvPr>
        </p:nvSpPr>
        <p:spPr/>
        <p:txBody>
          <a:bodyPr/>
          <a:lstStyle/>
          <a:p>
            <a:fld id="{1F90F471-3972-4120-B8B3-0237DE626C35}" type="slidenum">
              <a:rPr lang="en-US" smtClean="0"/>
              <a:pPr/>
              <a:t>358</a:t>
            </a:fld>
            <a:endParaRPr lang="en-US" dirty="0"/>
          </a:p>
        </p:txBody>
      </p:sp>
    </p:spTree>
    <p:extLst>
      <p:ext uri="{BB962C8B-B14F-4D97-AF65-F5344CB8AC3E}">
        <p14:creationId xmlns:p14="http://schemas.microsoft.com/office/powerpoint/2010/main" val="3094024671"/>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Africa</a:t>
            </a:r>
            <a:endParaRPr lang="de-DE" dirty="0"/>
          </a:p>
        </p:txBody>
      </p:sp>
      <p:sp>
        <p:nvSpPr>
          <p:cNvPr id="3" name="TextBox 2">
            <a:extLst>
              <a:ext uri="{FF2B5EF4-FFF2-40B4-BE49-F238E27FC236}">
                <a16:creationId xmlns:a16="http://schemas.microsoft.com/office/drawing/2014/main" id="{65435B93-56F9-4AD0-B489-9FB9F0E7C82D}"/>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shade one or more countries</a:t>
            </a:r>
          </a:p>
        </p:txBody>
      </p:sp>
      <p:grpSp>
        <p:nvGrpSpPr>
          <p:cNvPr id="4" name="Group 3" descr="Africa: describe map here">
            <a:extLst>
              <a:ext uri="{FF2B5EF4-FFF2-40B4-BE49-F238E27FC236}">
                <a16:creationId xmlns:a16="http://schemas.microsoft.com/office/drawing/2014/main" id="{DDB6F6AD-DAA5-4E46-85A7-527FAE28D951}"/>
              </a:ext>
            </a:extLst>
          </p:cNvPr>
          <p:cNvGrpSpPr>
            <a:grpSpLocks noChangeAspect="1"/>
          </p:cNvGrpSpPr>
          <p:nvPr/>
        </p:nvGrpSpPr>
        <p:grpSpPr bwMode="auto">
          <a:xfrm>
            <a:off x="4307310" y="0"/>
            <a:ext cx="7884690" cy="6569663"/>
            <a:chOff x="1922" y="-27"/>
            <a:chExt cx="5756" cy="4796"/>
          </a:xfrm>
          <a:solidFill>
            <a:srgbClr val="96968C">
              <a:lumMod val="40000"/>
              <a:lumOff val="60000"/>
            </a:srgbClr>
          </a:solidFill>
        </p:grpSpPr>
        <p:grpSp>
          <p:nvGrpSpPr>
            <p:cNvPr id="5" name="Group 205">
              <a:extLst>
                <a:ext uri="{FF2B5EF4-FFF2-40B4-BE49-F238E27FC236}">
                  <a16:creationId xmlns:a16="http://schemas.microsoft.com/office/drawing/2014/main" id="{398C75FF-E872-4733-8811-C96D598EA9D9}"/>
                </a:ext>
              </a:extLst>
            </p:cNvPr>
            <p:cNvGrpSpPr>
              <a:grpSpLocks/>
            </p:cNvGrpSpPr>
            <p:nvPr/>
          </p:nvGrpSpPr>
          <p:grpSpPr bwMode="auto">
            <a:xfrm>
              <a:off x="1922" y="-27"/>
              <a:ext cx="5730" cy="4415"/>
              <a:chOff x="1922" y="-27"/>
              <a:chExt cx="5730" cy="4415"/>
            </a:xfrm>
            <a:grpFill/>
          </p:grpSpPr>
          <p:sp>
            <p:nvSpPr>
              <p:cNvPr id="116" name="Freeform 5">
                <a:extLst>
                  <a:ext uri="{FF2B5EF4-FFF2-40B4-BE49-F238E27FC236}">
                    <a16:creationId xmlns:a16="http://schemas.microsoft.com/office/drawing/2014/main" id="{58AC238C-8479-400A-B10B-8CA7CE182238}"/>
                  </a:ext>
                </a:extLst>
              </p:cNvPr>
              <p:cNvSpPr>
                <a:spLocks noEditPoints="1"/>
              </p:cNvSpPr>
              <p:nvPr/>
            </p:nvSpPr>
            <p:spPr bwMode="auto">
              <a:xfrm>
                <a:off x="2382" y="1807"/>
                <a:ext cx="5" cy="17"/>
              </a:xfrm>
              <a:custGeom>
                <a:avLst/>
                <a:gdLst>
                  <a:gd name="T0" fmla="*/ 2 w 2"/>
                  <a:gd name="T1" fmla="*/ 6 h 7"/>
                  <a:gd name="T2" fmla="*/ 2 w 2"/>
                  <a:gd name="T3" fmla="*/ 7 h 7"/>
                  <a:gd name="T4" fmla="*/ 2 w 2"/>
                  <a:gd name="T5" fmla="*/ 6 h 7"/>
                  <a:gd name="T6" fmla="*/ 2 w 2"/>
                  <a:gd name="T7" fmla="*/ 0 h 7"/>
                  <a:gd name="T8" fmla="*/ 0 w 2"/>
                  <a:gd name="T9" fmla="*/ 4 h 7"/>
                  <a:gd name="T10" fmla="*/ 2 w 2"/>
                  <a:gd name="T11" fmla="*/ 6 h 7"/>
                  <a:gd name="T12" fmla="*/ 2 w 2"/>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2" h="7">
                    <a:moveTo>
                      <a:pt x="2" y="6"/>
                    </a:moveTo>
                    <a:cubicBezTo>
                      <a:pt x="2" y="6"/>
                      <a:pt x="2" y="6"/>
                      <a:pt x="2" y="7"/>
                    </a:cubicBezTo>
                    <a:cubicBezTo>
                      <a:pt x="2" y="6"/>
                      <a:pt x="2" y="6"/>
                      <a:pt x="2" y="6"/>
                    </a:cubicBezTo>
                    <a:moveTo>
                      <a:pt x="2" y="0"/>
                    </a:moveTo>
                    <a:cubicBezTo>
                      <a:pt x="0" y="1"/>
                      <a:pt x="1" y="3"/>
                      <a:pt x="0" y="4"/>
                    </a:cubicBezTo>
                    <a:cubicBezTo>
                      <a:pt x="1" y="4"/>
                      <a:pt x="2" y="5"/>
                      <a:pt x="2" y="6"/>
                    </a:cubicBezTo>
                    <a:cubicBezTo>
                      <a:pt x="2" y="4"/>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7" name="Freeform 6">
                <a:extLst>
                  <a:ext uri="{FF2B5EF4-FFF2-40B4-BE49-F238E27FC236}">
                    <a16:creationId xmlns:a16="http://schemas.microsoft.com/office/drawing/2014/main" id="{E554C098-BCBA-43A5-B7D3-48F0933A5783}"/>
                  </a:ext>
                </a:extLst>
              </p:cNvPr>
              <p:cNvSpPr>
                <a:spLocks/>
              </p:cNvSpPr>
              <p:nvPr/>
            </p:nvSpPr>
            <p:spPr bwMode="auto">
              <a:xfrm>
                <a:off x="2385" y="1843"/>
                <a:ext cx="19" cy="14"/>
              </a:xfrm>
              <a:custGeom>
                <a:avLst/>
                <a:gdLst>
                  <a:gd name="T0" fmla="*/ 3 w 8"/>
                  <a:gd name="T1" fmla="*/ 0 h 6"/>
                  <a:gd name="T2" fmla="*/ 1 w 8"/>
                  <a:gd name="T3" fmla="*/ 1 h 6"/>
                  <a:gd name="T4" fmla="*/ 0 w 8"/>
                  <a:gd name="T5" fmla="*/ 5 h 6"/>
                  <a:gd name="T6" fmla="*/ 4 w 8"/>
                  <a:gd name="T7" fmla="*/ 6 h 6"/>
                  <a:gd name="T8" fmla="*/ 5 w 8"/>
                  <a:gd name="T9" fmla="*/ 1 h 6"/>
                  <a:gd name="T10" fmla="*/ 3 w 8"/>
                  <a:gd name="T11" fmla="*/ 0 h 6"/>
                </a:gdLst>
                <a:ahLst/>
                <a:cxnLst>
                  <a:cxn ang="0">
                    <a:pos x="T0" y="T1"/>
                  </a:cxn>
                  <a:cxn ang="0">
                    <a:pos x="T2" y="T3"/>
                  </a:cxn>
                  <a:cxn ang="0">
                    <a:pos x="T4" y="T5"/>
                  </a:cxn>
                  <a:cxn ang="0">
                    <a:pos x="T6" y="T7"/>
                  </a:cxn>
                  <a:cxn ang="0">
                    <a:pos x="T8" y="T9"/>
                  </a:cxn>
                  <a:cxn ang="0">
                    <a:pos x="T10" y="T11"/>
                  </a:cxn>
                </a:cxnLst>
                <a:rect l="0" t="0" r="r" b="b"/>
                <a:pathLst>
                  <a:path w="8" h="6">
                    <a:moveTo>
                      <a:pt x="3" y="0"/>
                    </a:moveTo>
                    <a:cubicBezTo>
                      <a:pt x="2" y="0"/>
                      <a:pt x="1" y="0"/>
                      <a:pt x="1" y="1"/>
                    </a:cubicBezTo>
                    <a:cubicBezTo>
                      <a:pt x="0" y="5"/>
                      <a:pt x="0" y="5"/>
                      <a:pt x="0" y="5"/>
                    </a:cubicBezTo>
                    <a:cubicBezTo>
                      <a:pt x="0" y="6"/>
                      <a:pt x="2" y="6"/>
                      <a:pt x="4" y="6"/>
                    </a:cubicBezTo>
                    <a:cubicBezTo>
                      <a:pt x="6" y="4"/>
                      <a:pt x="8" y="2"/>
                      <a:pt x="5"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8" name="Freeform 7">
                <a:extLst>
                  <a:ext uri="{FF2B5EF4-FFF2-40B4-BE49-F238E27FC236}">
                    <a16:creationId xmlns:a16="http://schemas.microsoft.com/office/drawing/2014/main" id="{51616FF7-313D-4960-8CB1-3D3931349EA3}"/>
                  </a:ext>
                </a:extLst>
              </p:cNvPr>
              <p:cNvSpPr>
                <a:spLocks/>
              </p:cNvSpPr>
              <p:nvPr/>
            </p:nvSpPr>
            <p:spPr bwMode="auto">
              <a:xfrm>
                <a:off x="1922" y="436"/>
                <a:ext cx="4" cy="10"/>
              </a:xfrm>
              <a:custGeom>
                <a:avLst/>
                <a:gdLst>
                  <a:gd name="T0" fmla="*/ 1 w 2"/>
                  <a:gd name="T1" fmla="*/ 0 h 4"/>
                  <a:gd name="T2" fmla="*/ 2 w 2"/>
                  <a:gd name="T3" fmla="*/ 4 h 4"/>
                  <a:gd name="T4" fmla="*/ 1 w 2"/>
                  <a:gd name="T5" fmla="*/ 0 h 4"/>
                </a:gdLst>
                <a:ahLst/>
                <a:cxnLst>
                  <a:cxn ang="0">
                    <a:pos x="T0" y="T1"/>
                  </a:cxn>
                  <a:cxn ang="0">
                    <a:pos x="T2" y="T3"/>
                  </a:cxn>
                  <a:cxn ang="0">
                    <a:pos x="T4" y="T5"/>
                  </a:cxn>
                </a:cxnLst>
                <a:rect l="0" t="0" r="r" b="b"/>
                <a:pathLst>
                  <a:path w="2" h="4">
                    <a:moveTo>
                      <a:pt x="1" y="0"/>
                    </a:moveTo>
                    <a:cubicBezTo>
                      <a:pt x="0" y="1"/>
                      <a:pt x="0" y="3"/>
                      <a:pt x="2" y="4"/>
                    </a:cubicBezTo>
                    <a:cubicBezTo>
                      <a:pt x="2"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9" name="Freeform 8">
                <a:extLst>
                  <a:ext uri="{FF2B5EF4-FFF2-40B4-BE49-F238E27FC236}">
                    <a16:creationId xmlns:a16="http://schemas.microsoft.com/office/drawing/2014/main" id="{0C0DCC68-3F3D-4CAE-AED3-C58CE5C6C274}"/>
                  </a:ext>
                </a:extLst>
              </p:cNvPr>
              <p:cNvSpPr>
                <a:spLocks/>
              </p:cNvSpPr>
              <p:nvPr/>
            </p:nvSpPr>
            <p:spPr bwMode="auto">
              <a:xfrm>
                <a:off x="2070" y="498"/>
                <a:ext cx="33" cy="11"/>
              </a:xfrm>
              <a:custGeom>
                <a:avLst/>
                <a:gdLst>
                  <a:gd name="T0" fmla="*/ 6 w 14"/>
                  <a:gd name="T1" fmla="*/ 0 h 5"/>
                  <a:gd name="T2" fmla="*/ 5 w 14"/>
                  <a:gd name="T3" fmla="*/ 4 h 5"/>
                  <a:gd name="T4" fmla="*/ 9 w 14"/>
                  <a:gd name="T5" fmla="*/ 5 h 5"/>
                  <a:gd name="T6" fmla="*/ 14 w 14"/>
                  <a:gd name="T7" fmla="*/ 4 h 5"/>
                  <a:gd name="T8" fmla="*/ 6 w 14"/>
                  <a:gd name="T9" fmla="*/ 0 h 5"/>
                </a:gdLst>
                <a:ahLst/>
                <a:cxnLst>
                  <a:cxn ang="0">
                    <a:pos x="T0" y="T1"/>
                  </a:cxn>
                  <a:cxn ang="0">
                    <a:pos x="T2" y="T3"/>
                  </a:cxn>
                  <a:cxn ang="0">
                    <a:pos x="T4" y="T5"/>
                  </a:cxn>
                  <a:cxn ang="0">
                    <a:pos x="T6" y="T7"/>
                  </a:cxn>
                  <a:cxn ang="0">
                    <a:pos x="T8" y="T9"/>
                  </a:cxn>
                </a:cxnLst>
                <a:rect l="0" t="0" r="r" b="b"/>
                <a:pathLst>
                  <a:path w="14" h="5">
                    <a:moveTo>
                      <a:pt x="6" y="0"/>
                    </a:moveTo>
                    <a:cubicBezTo>
                      <a:pt x="1" y="1"/>
                      <a:pt x="0" y="2"/>
                      <a:pt x="5" y="4"/>
                    </a:cubicBezTo>
                    <a:cubicBezTo>
                      <a:pt x="6" y="5"/>
                      <a:pt x="7" y="5"/>
                      <a:pt x="9" y="5"/>
                    </a:cubicBezTo>
                    <a:cubicBezTo>
                      <a:pt x="10" y="5"/>
                      <a:pt x="12" y="4"/>
                      <a:pt x="14" y="4"/>
                    </a:cubicBezTo>
                    <a:cubicBezTo>
                      <a:pt x="12" y="2"/>
                      <a:pt x="8"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0" name="Freeform 9">
                <a:extLst>
                  <a:ext uri="{FF2B5EF4-FFF2-40B4-BE49-F238E27FC236}">
                    <a16:creationId xmlns:a16="http://schemas.microsoft.com/office/drawing/2014/main" id="{324B2816-CEBB-4B7F-83EB-752ECC4C6205}"/>
                  </a:ext>
                </a:extLst>
              </p:cNvPr>
              <p:cNvSpPr>
                <a:spLocks/>
              </p:cNvSpPr>
              <p:nvPr/>
            </p:nvSpPr>
            <p:spPr bwMode="auto">
              <a:xfrm>
                <a:off x="2134" y="481"/>
                <a:ext cx="24" cy="12"/>
              </a:xfrm>
              <a:custGeom>
                <a:avLst/>
                <a:gdLst>
                  <a:gd name="T0" fmla="*/ 6 w 10"/>
                  <a:gd name="T1" fmla="*/ 0 h 5"/>
                  <a:gd name="T2" fmla="*/ 2 w 10"/>
                  <a:gd name="T3" fmla="*/ 2 h 5"/>
                  <a:gd name="T4" fmla="*/ 8 w 10"/>
                  <a:gd name="T5" fmla="*/ 5 h 5"/>
                  <a:gd name="T6" fmla="*/ 7 w 10"/>
                  <a:gd name="T7" fmla="*/ 1 h 5"/>
                  <a:gd name="T8" fmla="*/ 6 w 10"/>
                  <a:gd name="T9" fmla="*/ 0 h 5"/>
                </a:gdLst>
                <a:ahLst/>
                <a:cxnLst>
                  <a:cxn ang="0">
                    <a:pos x="T0" y="T1"/>
                  </a:cxn>
                  <a:cxn ang="0">
                    <a:pos x="T2" y="T3"/>
                  </a:cxn>
                  <a:cxn ang="0">
                    <a:pos x="T4" y="T5"/>
                  </a:cxn>
                  <a:cxn ang="0">
                    <a:pos x="T6" y="T7"/>
                  </a:cxn>
                  <a:cxn ang="0">
                    <a:pos x="T8" y="T9"/>
                  </a:cxn>
                </a:cxnLst>
                <a:rect l="0" t="0" r="r" b="b"/>
                <a:pathLst>
                  <a:path w="10" h="5">
                    <a:moveTo>
                      <a:pt x="6" y="0"/>
                    </a:moveTo>
                    <a:cubicBezTo>
                      <a:pt x="4" y="0"/>
                      <a:pt x="3" y="1"/>
                      <a:pt x="2" y="2"/>
                    </a:cubicBezTo>
                    <a:cubicBezTo>
                      <a:pt x="0" y="4"/>
                      <a:pt x="8" y="5"/>
                      <a:pt x="8" y="5"/>
                    </a:cubicBezTo>
                    <a:cubicBezTo>
                      <a:pt x="9" y="2"/>
                      <a:pt x="10" y="2"/>
                      <a:pt x="7" y="1"/>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1" name="Freeform 10">
                <a:extLst>
                  <a:ext uri="{FF2B5EF4-FFF2-40B4-BE49-F238E27FC236}">
                    <a16:creationId xmlns:a16="http://schemas.microsoft.com/office/drawing/2014/main" id="{5E15C56B-464D-491F-A65F-3441C6E4E577}"/>
                  </a:ext>
                </a:extLst>
              </p:cNvPr>
              <p:cNvSpPr>
                <a:spLocks/>
              </p:cNvSpPr>
              <p:nvPr/>
            </p:nvSpPr>
            <p:spPr bwMode="auto">
              <a:xfrm>
                <a:off x="2224" y="540"/>
                <a:ext cx="40" cy="12"/>
              </a:xfrm>
              <a:custGeom>
                <a:avLst/>
                <a:gdLst>
                  <a:gd name="T0" fmla="*/ 2 w 17"/>
                  <a:gd name="T1" fmla="*/ 0 h 5"/>
                  <a:gd name="T2" fmla="*/ 0 w 17"/>
                  <a:gd name="T3" fmla="*/ 2 h 5"/>
                  <a:gd name="T4" fmla="*/ 10 w 17"/>
                  <a:gd name="T5" fmla="*/ 5 h 5"/>
                  <a:gd name="T6" fmla="*/ 11 w 17"/>
                  <a:gd name="T7" fmla="*/ 5 h 5"/>
                  <a:gd name="T8" fmla="*/ 17 w 17"/>
                  <a:gd name="T9" fmla="*/ 2 h 5"/>
                  <a:gd name="T10" fmla="*/ 15 w 17"/>
                  <a:gd name="T11" fmla="*/ 1 h 5"/>
                  <a:gd name="T12" fmla="*/ 11 w 17"/>
                  <a:gd name="T13" fmla="*/ 1 h 5"/>
                  <a:gd name="T14" fmla="*/ 7 w 17"/>
                  <a:gd name="T15" fmla="*/ 2 h 5"/>
                  <a:gd name="T16" fmla="*/ 6 w 17"/>
                  <a:gd name="T17" fmla="*/ 2 h 5"/>
                  <a:gd name="T18" fmla="*/ 2 w 17"/>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5">
                    <a:moveTo>
                      <a:pt x="2" y="0"/>
                    </a:moveTo>
                    <a:cubicBezTo>
                      <a:pt x="1" y="0"/>
                      <a:pt x="1" y="0"/>
                      <a:pt x="0" y="2"/>
                    </a:cubicBezTo>
                    <a:cubicBezTo>
                      <a:pt x="3" y="3"/>
                      <a:pt x="6" y="5"/>
                      <a:pt x="10" y="5"/>
                    </a:cubicBezTo>
                    <a:cubicBezTo>
                      <a:pt x="10" y="5"/>
                      <a:pt x="10" y="5"/>
                      <a:pt x="11" y="5"/>
                    </a:cubicBezTo>
                    <a:cubicBezTo>
                      <a:pt x="12" y="5"/>
                      <a:pt x="17" y="3"/>
                      <a:pt x="17" y="2"/>
                    </a:cubicBezTo>
                    <a:cubicBezTo>
                      <a:pt x="17" y="1"/>
                      <a:pt x="16" y="1"/>
                      <a:pt x="15" y="1"/>
                    </a:cubicBezTo>
                    <a:cubicBezTo>
                      <a:pt x="13" y="1"/>
                      <a:pt x="12" y="1"/>
                      <a:pt x="11" y="1"/>
                    </a:cubicBezTo>
                    <a:cubicBezTo>
                      <a:pt x="10" y="1"/>
                      <a:pt x="8" y="2"/>
                      <a:pt x="7" y="2"/>
                    </a:cubicBezTo>
                    <a:cubicBezTo>
                      <a:pt x="7" y="2"/>
                      <a:pt x="6" y="2"/>
                      <a:pt x="6" y="2"/>
                    </a:cubicBezTo>
                    <a:cubicBezTo>
                      <a:pt x="4"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2" name="Freeform 11">
                <a:extLst>
                  <a:ext uri="{FF2B5EF4-FFF2-40B4-BE49-F238E27FC236}">
                    <a16:creationId xmlns:a16="http://schemas.microsoft.com/office/drawing/2014/main" id="{39E020CB-1C1A-468E-9D4C-C540D41A7F1D}"/>
                  </a:ext>
                </a:extLst>
              </p:cNvPr>
              <p:cNvSpPr>
                <a:spLocks noEditPoints="1"/>
              </p:cNvSpPr>
              <p:nvPr/>
            </p:nvSpPr>
            <p:spPr bwMode="auto">
              <a:xfrm>
                <a:off x="2259" y="599"/>
                <a:ext cx="12" cy="3"/>
              </a:xfrm>
              <a:custGeom>
                <a:avLst/>
                <a:gdLst>
                  <a:gd name="T0" fmla="*/ 4 w 5"/>
                  <a:gd name="T1" fmla="*/ 1 h 1"/>
                  <a:gd name="T2" fmla="*/ 5 w 5"/>
                  <a:gd name="T3" fmla="*/ 1 h 1"/>
                  <a:gd name="T4" fmla="*/ 4 w 5"/>
                  <a:gd name="T5" fmla="*/ 1 h 1"/>
                  <a:gd name="T6" fmla="*/ 0 w 5"/>
                  <a:gd name="T7" fmla="*/ 0 h 1"/>
                  <a:gd name="T8" fmla="*/ 4 w 5"/>
                  <a:gd name="T9" fmla="*/ 1 h 1"/>
                  <a:gd name="T10" fmla="*/ 0 w 5"/>
                  <a:gd name="T11" fmla="*/ 0 h 1"/>
                </a:gdLst>
                <a:ahLst/>
                <a:cxnLst>
                  <a:cxn ang="0">
                    <a:pos x="T0" y="T1"/>
                  </a:cxn>
                  <a:cxn ang="0">
                    <a:pos x="T2" y="T3"/>
                  </a:cxn>
                  <a:cxn ang="0">
                    <a:pos x="T4" y="T5"/>
                  </a:cxn>
                  <a:cxn ang="0">
                    <a:pos x="T6" y="T7"/>
                  </a:cxn>
                  <a:cxn ang="0">
                    <a:pos x="T8" y="T9"/>
                  </a:cxn>
                  <a:cxn ang="0">
                    <a:pos x="T10" y="T11"/>
                  </a:cxn>
                </a:cxnLst>
                <a:rect l="0" t="0" r="r" b="b"/>
                <a:pathLst>
                  <a:path w="5" h="1">
                    <a:moveTo>
                      <a:pt x="4" y="1"/>
                    </a:moveTo>
                    <a:cubicBezTo>
                      <a:pt x="4" y="1"/>
                      <a:pt x="5" y="1"/>
                      <a:pt x="5" y="1"/>
                    </a:cubicBezTo>
                    <a:cubicBezTo>
                      <a:pt x="5" y="1"/>
                      <a:pt x="4" y="1"/>
                      <a:pt x="4" y="1"/>
                    </a:cubicBezTo>
                    <a:moveTo>
                      <a:pt x="0" y="0"/>
                    </a:moveTo>
                    <a:cubicBezTo>
                      <a:pt x="1" y="1"/>
                      <a:pt x="3" y="1"/>
                      <a:pt x="4" y="1"/>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3" name="Freeform 12">
                <a:extLst>
                  <a:ext uri="{FF2B5EF4-FFF2-40B4-BE49-F238E27FC236}">
                    <a16:creationId xmlns:a16="http://schemas.microsoft.com/office/drawing/2014/main" id="{755CAF3E-C8FA-4740-AE23-3FB11F70DA1B}"/>
                  </a:ext>
                </a:extLst>
              </p:cNvPr>
              <p:cNvSpPr>
                <a:spLocks/>
              </p:cNvSpPr>
              <p:nvPr/>
            </p:nvSpPr>
            <p:spPr bwMode="auto">
              <a:xfrm>
                <a:off x="2248" y="1788"/>
                <a:ext cx="30" cy="17"/>
              </a:xfrm>
              <a:custGeom>
                <a:avLst/>
                <a:gdLst>
                  <a:gd name="T0" fmla="*/ 8 w 13"/>
                  <a:gd name="T1" fmla="*/ 0 h 7"/>
                  <a:gd name="T2" fmla="*/ 5 w 13"/>
                  <a:gd name="T3" fmla="*/ 1 h 7"/>
                  <a:gd name="T4" fmla="*/ 3 w 13"/>
                  <a:gd name="T5" fmla="*/ 7 h 7"/>
                  <a:gd name="T6" fmla="*/ 8 w 13"/>
                  <a:gd name="T7" fmla="*/ 0 h 7"/>
                  <a:gd name="T8" fmla="*/ 8 w 13"/>
                  <a:gd name="T9" fmla="*/ 0 h 7"/>
                </a:gdLst>
                <a:ahLst/>
                <a:cxnLst>
                  <a:cxn ang="0">
                    <a:pos x="T0" y="T1"/>
                  </a:cxn>
                  <a:cxn ang="0">
                    <a:pos x="T2" y="T3"/>
                  </a:cxn>
                  <a:cxn ang="0">
                    <a:pos x="T4" y="T5"/>
                  </a:cxn>
                  <a:cxn ang="0">
                    <a:pos x="T6" y="T7"/>
                  </a:cxn>
                  <a:cxn ang="0">
                    <a:pos x="T8" y="T9"/>
                  </a:cxn>
                </a:cxnLst>
                <a:rect l="0" t="0" r="r" b="b"/>
                <a:pathLst>
                  <a:path w="13" h="7">
                    <a:moveTo>
                      <a:pt x="8" y="0"/>
                    </a:moveTo>
                    <a:cubicBezTo>
                      <a:pt x="7" y="0"/>
                      <a:pt x="6" y="1"/>
                      <a:pt x="5" y="1"/>
                    </a:cubicBezTo>
                    <a:cubicBezTo>
                      <a:pt x="0" y="3"/>
                      <a:pt x="3" y="3"/>
                      <a:pt x="3" y="7"/>
                    </a:cubicBezTo>
                    <a:cubicBezTo>
                      <a:pt x="5" y="6"/>
                      <a:pt x="13" y="1"/>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4" name="Freeform 13">
                <a:extLst>
                  <a:ext uri="{FF2B5EF4-FFF2-40B4-BE49-F238E27FC236}">
                    <a16:creationId xmlns:a16="http://schemas.microsoft.com/office/drawing/2014/main" id="{478EE8BE-B7C9-4DA3-B5BF-B46260B27A1D}"/>
                  </a:ext>
                </a:extLst>
              </p:cNvPr>
              <p:cNvSpPr>
                <a:spLocks/>
              </p:cNvSpPr>
              <p:nvPr/>
            </p:nvSpPr>
            <p:spPr bwMode="auto">
              <a:xfrm>
                <a:off x="2262" y="1805"/>
                <a:ext cx="14" cy="7"/>
              </a:xfrm>
              <a:custGeom>
                <a:avLst/>
                <a:gdLst>
                  <a:gd name="T0" fmla="*/ 6 w 6"/>
                  <a:gd name="T1" fmla="*/ 0 h 3"/>
                  <a:gd name="T2" fmla="*/ 4 w 6"/>
                  <a:gd name="T3" fmla="*/ 3 h 3"/>
                  <a:gd name="T4" fmla="*/ 6 w 6"/>
                  <a:gd name="T5" fmla="*/ 0 h 3"/>
                </a:gdLst>
                <a:ahLst/>
                <a:cxnLst>
                  <a:cxn ang="0">
                    <a:pos x="T0" y="T1"/>
                  </a:cxn>
                  <a:cxn ang="0">
                    <a:pos x="T2" y="T3"/>
                  </a:cxn>
                  <a:cxn ang="0">
                    <a:pos x="T4" y="T5"/>
                  </a:cxn>
                </a:cxnLst>
                <a:rect l="0" t="0" r="r" b="b"/>
                <a:pathLst>
                  <a:path w="6" h="3">
                    <a:moveTo>
                      <a:pt x="6" y="0"/>
                    </a:moveTo>
                    <a:cubicBezTo>
                      <a:pt x="3" y="0"/>
                      <a:pt x="0" y="2"/>
                      <a:pt x="4" y="3"/>
                    </a:cubicBezTo>
                    <a:cubicBezTo>
                      <a:pt x="5" y="2"/>
                      <a:pt x="5"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5" name="Freeform 14">
                <a:extLst>
                  <a:ext uri="{FF2B5EF4-FFF2-40B4-BE49-F238E27FC236}">
                    <a16:creationId xmlns:a16="http://schemas.microsoft.com/office/drawing/2014/main" id="{B08FA74E-E9C8-46D1-A422-41BB323D160D}"/>
                  </a:ext>
                </a:extLst>
              </p:cNvPr>
              <p:cNvSpPr>
                <a:spLocks/>
              </p:cNvSpPr>
              <p:nvPr/>
            </p:nvSpPr>
            <p:spPr bwMode="auto">
              <a:xfrm>
                <a:off x="2302" y="1819"/>
                <a:ext cx="24" cy="9"/>
              </a:xfrm>
              <a:custGeom>
                <a:avLst/>
                <a:gdLst>
                  <a:gd name="T0" fmla="*/ 2 w 10"/>
                  <a:gd name="T1" fmla="*/ 0 h 4"/>
                  <a:gd name="T2" fmla="*/ 3 w 10"/>
                  <a:gd name="T3" fmla="*/ 4 h 4"/>
                  <a:gd name="T4" fmla="*/ 10 w 10"/>
                  <a:gd name="T5" fmla="*/ 2 h 4"/>
                  <a:gd name="T6" fmla="*/ 5 w 10"/>
                  <a:gd name="T7" fmla="*/ 0 h 4"/>
                  <a:gd name="T8" fmla="*/ 2 w 10"/>
                  <a:gd name="T9" fmla="*/ 0 h 4"/>
                </a:gdLst>
                <a:ahLst/>
                <a:cxnLst>
                  <a:cxn ang="0">
                    <a:pos x="T0" y="T1"/>
                  </a:cxn>
                  <a:cxn ang="0">
                    <a:pos x="T2" y="T3"/>
                  </a:cxn>
                  <a:cxn ang="0">
                    <a:pos x="T4" y="T5"/>
                  </a:cxn>
                  <a:cxn ang="0">
                    <a:pos x="T6" y="T7"/>
                  </a:cxn>
                  <a:cxn ang="0">
                    <a:pos x="T8" y="T9"/>
                  </a:cxn>
                </a:cxnLst>
                <a:rect l="0" t="0" r="r" b="b"/>
                <a:pathLst>
                  <a:path w="10" h="4">
                    <a:moveTo>
                      <a:pt x="2" y="0"/>
                    </a:moveTo>
                    <a:cubicBezTo>
                      <a:pt x="0" y="0"/>
                      <a:pt x="2" y="1"/>
                      <a:pt x="3" y="4"/>
                    </a:cubicBezTo>
                    <a:cubicBezTo>
                      <a:pt x="5" y="3"/>
                      <a:pt x="8" y="3"/>
                      <a:pt x="10" y="2"/>
                    </a:cubicBezTo>
                    <a:cubicBezTo>
                      <a:pt x="9" y="1"/>
                      <a:pt x="7" y="0"/>
                      <a:pt x="5" y="0"/>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6" name="Freeform 15">
                <a:extLst>
                  <a:ext uri="{FF2B5EF4-FFF2-40B4-BE49-F238E27FC236}">
                    <a16:creationId xmlns:a16="http://schemas.microsoft.com/office/drawing/2014/main" id="{49C8766D-7882-4D50-BB05-9EFEF91FDD71}"/>
                  </a:ext>
                </a:extLst>
              </p:cNvPr>
              <p:cNvSpPr>
                <a:spLocks/>
              </p:cNvSpPr>
              <p:nvPr/>
            </p:nvSpPr>
            <p:spPr bwMode="auto">
              <a:xfrm>
                <a:off x="2366" y="1895"/>
                <a:ext cx="7" cy="11"/>
              </a:xfrm>
              <a:custGeom>
                <a:avLst/>
                <a:gdLst>
                  <a:gd name="T0" fmla="*/ 2 w 3"/>
                  <a:gd name="T1" fmla="*/ 0 h 5"/>
                  <a:gd name="T2" fmla="*/ 3 w 3"/>
                  <a:gd name="T3" fmla="*/ 5 h 5"/>
                  <a:gd name="T4" fmla="*/ 2 w 3"/>
                  <a:gd name="T5" fmla="*/ 0 h 5"/>
                </a:gdLst>
                <a:ahLst/>
                <a:cxnLst>
                  <a:cxn ang="0">
                    <a:pos x="T0" y="T1"/>
                  </a:cxn>
                  <a:cxn ang="0">
                    <a:pos x="T2" y="T3"/>
                  </a:cxn>
                  <a:cxn ang="0">
                    <a:pos x="T4" y="T5"/>
                  </a:cxn>
                </a:cxnLst>
                <a:rect l="0" t="0" r="r" b="b"/>
                <a:pathLst>
                  <a:path w="3" h="5">
                    <a:moveTo>
                      <a:pt x="2" y="0"/>
                    </a:moveTo>
                    <a:cubicBezTo>
                      <a:pt x="1" y="2"/>
                      <a:pt x="0" y="4"/>
                      <a:pt x="3" y="5"/>
                    </a:cubicBezTo>
                    <a:cubicBezTo>
                      <a:pt x="3" y="3"/>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7" name="Freeform 16">
                <a:extLst>
                  <a:ext uri="{FF2B5EF4-FFF2-40B4-BE49-F238E27FC236}">
                    <a16:creationId xmlns:a16="http://schemas.microsoft.com/office/drawing/2014/main" id="{9AD1EC8A-4495-4E1B-9391-408A977161CE}"/>
                  </a:ext>
                </a:extLst>
              </p:cNvPr>
              <p:cNvSpPr>
                <a:spLocks/>
              </p:cNvSpPr>
              <p:nvPr/>
            </p:nvSpPr>
            <p:spPr bwMode="auto">
              <a:xfrm>
                <a:off x="2337" y="1895"/>
                <a:ext cx="22" cy="23"/>
              </a:xfrm>
              <a:custGeom>
                <a:avLst/>
                <a:gdLst>
                  <a:gd name="T0" fmla="*/ 1 w 9"/>
                  <a:gd name="T1" fmla="*/ 0 h 10"/>
                  <a:gd name="T2" fmla="*/ 7 w 9"/>
                  <a:gd name="T3" fmla="*/ 10 h 10"/>
                  <a:gd name="T4" fmla="*/ 1 w 9"/>
                  <a:gd name="T5" fmla="*/ 0 h 10"/>
                </a:gdLst>
                <a:ahLst/>
                <a:cxnLst>
                  <a:cxn ang="0">
                    <a:pos x="T0" y="T1"/>
                  </a:cxn>
                  <a:cxn ang="0">
                    <a:pos x="T2" y="T3"/>
                  </a:cxn>
                  <a:cxn ang="0">
                    <a:pos x="T4" y="T5"/>
                  </a:cxn>
                </a:cxnLst>
                <a:rect l="0" t="0" r="r" b="b"/>
                <a:pathLst>
                  <a:path w="9" h="10">
                    <a:moveTo>
                      <a:pt x="1" y="0"/>
                    </a:moveTo>
                    <a:cubicBezTo>
                      <a:pt x="1" y="5"/>
                      <a:pt x="0" y="10"/>
                      <a:pt x="7" y="10"/>
                    </a:cubicBezTo>
                    <a:cubicBezTo>
                      <a:pt x="9" y="5"/>
                      <a:pt x="5"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8" name="Freeform 17">
                <a:extLst>
                  <a:ext uri="{FF2B5EF4-FFF2-40B4-BE49-F238E27FC236}">
                    <a16:creationId xmlns:a16="http://schemas.microsoft.com/office/drawing/2014/main" id="{07EA3042-F58D-4C1F-BB66-E320CC63144E}"/>
                  </a:ext>
                </a:extLst>
              </p:cNvPr>
              <p:cNvSpPr>
                <a:spLocks/>
              </p:cNvSpPr>
              <p:nvPr/>
            </p:nvSpPr>
            <p:spPr bwMode="auto">
              <a:xfrm>
                <a:off x="2295" y="1911"/>
                <a:ext cx="12" cy="12"/>
              </a:xfrm>
              <a:custGeom>
                <a:avLst/>
                <a:gdLst>
                  <a:gd name="T0" fmla="*/ 4 w 5"/>
                  <a:gd name="T1" fmla="*/ 0 h 5"/>
                  <a:gd name="T2" fmla="*/ 4 w 5"/>
                  <a:gd name="T3" fmla="*/ 5 h 5"/>
                  <a:gd name="T4" fmla="*/ 4 w 5"/>
                  <a:gd name="T5" fmla="*/ 0 h 5"/>
                </a:gdLst>
                <a:ahLst/>
                <a:cxnLst>
                  <a:cxn ang="0">
                    <a:pos x="T0" y="T1"/>
                  </a:cxn>
                  <a:cxn ang="0">
                    <a:pos x="T2" y="T3"/>
                  </a:cxn>
                  <a:cxn ang="0">
                    <a:pos x="T4" y="T5"/>
                  </a:cxn>
                </a:cxnLst>
                <a:rect l="0" t="0" r="r" b="b"/>
                <a:pathLst>
                  <a:path w="5" h="5">
                    <a:moveTo>
                      <a:pt x="4" y="0"/>
                    </a:moveTo>
                    <a:cubicBezTo>
                      <a:pt x="1" y="1"/>
                      <a:pt x="0" y="4"/>
                      <a:pt x="4" y="5"/>
                    </a:cubicBezTo>
                    <a:cubicBezTo>
                      <a:pt x="4" y="4"/>
                      <a:pt x="5"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9" name="Rectangle 18">
                <a:extLst>
                  <a:ext uri="{FF2B5EF4-FFF2-40B4-BE49-F238E27FC236}">
                    <a16:creationId xmlns:a16="http://schemas.microsoft.com/office/drawing/2014/main" id="{193E9087-6575-47E4-BC0B-6C1D9A5C0BE4}"/>
                  </a:ext>
                </a:extLst>
              </p:cNvPr>
              <p:cNvSpPr>
                <a:spLocks noChangeArrowheads="1"/>
              </p:cNvSpPr>
              <p:nvPr/>
            </p:nvSpPr>
            <p:spPr bwMode="auto">
              <a:xfrm>
                <a:off x="4684" y="23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0" name="Freeform 19">
                <a:extLst>
                  <a:ext uri="{FF2B5EF4-FFF2-40B4-BE49-F238E27FC236}">
                    <a16:creationId xmlns:a16="http://schemas.microsoft.com/office/drawing/2014/main" id="{C32D6A6E-0B24-4D2C-8806-CECA2667221F}"/>
                  </a:ext>
                </a:extLst>
              </p:cNvPr>
              <p:cNvSpPr>
                <a:spLocks/>
              </p:cNvSpPr>
              <p:nvPr/>
            </p:nvSpPr>
            <p:spPr bwMode="auto">
              <a:xfrm>
                <a:off x="4684" y="231"/>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1" name="Freeform 20">
                <a:extLst>
                  <a:ext uri="{FF2B5EF4-FFF2-40B4-BE49-F238E27FC236}">
                    <a16:creationId xmlns:a16="http://schemas.microsoft.com/office/drawing/2014/main" id="{88210C5E-A109-43F8-BFE7-F9AEFB171C5B}"/>
                  </a:ext>
                </a:extLst>
              </p:cNvPr>
              <p:cNvSpPr>
                <a:spLocks/>
              </p:cNvSpPr>
              <p:nvPr/>
            </p:nvSpPr>
            <p:spPr bwMode="auto">
              <a:xfrm>
                <a:off x="4642" y="212"/>
                <a:ext cx="4" cy="2"/>
              </a:xfrm>
              <a:custGeom>
                <a:avLst/>
                <a:gdLst>
                  <a:gd name="T0" fmla="*/ 1 w 2"/>
                  <a:gd name="T1" fmla="*/ 0 h 1"/>
                  <a:gd name="T2" fmla="*/ 0 w 2"/>
                  <a:gd name="T3" fmla="*/ 0 h 1"/>
                  <a:gd name="T4" fmla="*/ 2 w 2"/>
                  <a:gd name="T5" fmla="*/ 1 h 1"/>
                  <a:gd name="T6" fmla="*/ 2 w 2"/>
                  <a:gd name="T7" fmla="*/ 1 h 1"/>
                  <a:gd name="T8" fmla="*/ 1 w 2"/>
                  <a:gd name="T9" fmla="*/ 0 h 1"/>
                </a:gdLst>
                <a:ahLst/>
                <a:cxnLst>
                  <a:cxn ang="0">
                    <a:pos x="T0" y="T1"/>
                  </a:cxn>
                  <a:cxn ang="0">
                    <a:pos x="T2" y="T3"/>
                  </a:cxn>
                  <a:cxn ang="0">
                    <a:pos x="T4" y="T5"/>
                  </a:cxn>
                  <a:cxn ang="0">
                    <a:pos x="T6" y="T7"/>
                  </a:cxn>
                  <a:cxn ang="0">
                    <a:pos x="T8" y="T9"/>
                  </a:cxn>
                </a:cxnLst>
                <a:rect l="0" t="0" r="r" b="b"/>
                <a:pathLst>
                  <a:path w="2" h="1">
                    <a:moveTo>
                      <a:pt x="1" y="0"/>
                    </a:moveTo>
                    <a:cubicBezTo>
                      <a:pt x="0" y="0"/>
                      <a:pt x="0" y="0"/>
                      <a:pt x="0" y="0"/>
                    </a:cubicBezTo>
                    <a:cubicBezTo>
                      <a:pt x="1" y="1"/>
                      <a:pt x="1" y="1"/>
                      <a:pt x="2" y="1"/>
                    </a:cubicBezTo>
                    <a:cubicBezTo>
                      <a:pt x="2" y="1"/>
                      <a:pt x="2" y="1"/>
                      <a:pt x="2" y="1"/>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2" name="Freeform 21">
                <a:extLst>
                  <a:ext uri="{FF2B5EF4-FFF2-40B4-BE49-F238E27FC236}">
                    <a16:creationId xmlns:a16="http://schemas.microsoft.com/office/drawing/2014/main" id="{AF632AD9-F900-469C-BC9C-24A796922809}"/>
                  </a:ext>
                </a:extLst>
              </p:cNvPr>
              <p:cNvSpPr>
                <a:spLocks/>
              </p:cNvSpPr>
              <p:nvPr/>
            </p:nvSpPr>
            <p:spPr bwMode="auto">
              <a:xfrm>
                <a:off x="7638" y="2055"/>
                <a:ext cx="14" cy="15"/>
              </a:xfrm>
              <a:custGeom>
                <a:avLst/>
                <a:gdLst>
                  <a:gd name="T0" fmla="*/ 6 w 6"/>
                  <a:gd name="T1" fmla="*/ 0 h 6"/>
                  <a:gd name="T2" fmla="*/ 0 w 6"/>
                  <a:gd name="T3" fmla="*/ 0 h 6"/>
                  <a:gd name="T4" fmla="*/ 0 w 6"/>
                  <a:gd name="T5" fmla="*/ 6 h 6"/>
                  <a:gd name="T6" fmla="*/ 6 w 6"/>
                  <a:gd name="T7" fmla="*/ 0 h 6"/>
                </a:gdLst>
                <a:ahLst/>
                <a:cxnLst>
                  <a:cxn ang="0">
                    <a:pos x="T0" y="T1"/>
                  </a:cxn>
                  <a:cxn ang="0">
                    <a:pos x="T2" y="T3"/>
                  </a:cxn>
                  <a:cxn ang="0">
                    <a:pos x="T4" y="T5"/>
                  </a:cxn>
                  <a:cxn ang="0">
                    <a:pos x="T6" y="T7"/>
                  </a:cxn>
                </a:cxnLst>
                <a:rect l="0" t="0" r="r" b="b"/>
                <a:pathLst>
                  <a:path w="6" h="6">
                    <a:moveTo>
                      <a:pt x="6" y="0"/>
                    </a:moveTo>
                    <a:cubicBezTo>
                      <a:pt x="4" y="0"/>
                      <a:pt x="2" y="0"/>
                      <a:pt x="0" y="0"/>
                    </a:cubicBezTo>
                    <a:cubicBezTo>
                      <a:pt x="0" y="2"/>
                      <a:pt x="0" y="4"/>
                      <a:pt x="0" y="6"/>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3" name="Freeform 22">
                <a:extLst>
                  <a:ext uri="{FF2B5EF4-FFF2-40B4-BE49-F238E27FC236}">
                    <a16:creationId xmlns:a16="http://schemas.microsoft.com/office/drawing/2014/main" id="{E16CF329-59FA-497D-81F4-56B1060629B8}"/>
                  </a:ext>
                </a:extLst>
              </p:cNvPr>
              <p:cNvSpPr>
                <a:spLocks/>
              </p:cNvSpPr>
              <p:nvPr/>
            </p:nvSpPr>
            <p:spPr bwMode="auto">
              <a:xfrm>
                <a:off x="5414" y="-27"/>
                <a:ext cx="31" cy="14"/>
              </a:xfrm>
              <a:custGeom>
                <a:avLst/>
                <a:gdLst>
                  <a:gd name="T0" fmla="*/ 0 w 13"/>
                  <a:gd name="T1" fmla="*/ 0 h 6"/>
                  <a:gd name="T2" fmla="*/ 13 w 13"/>
                  <a:gd name="T3" fmla="*/ 6 h 6"/>
                  <a:gd name="T4" fmla="*/ 0 w 13"/>
                  <a:gd name="T5" fmla="*/ 0 h 6"/>
                </a:gdLst>
                <a:ahLst/>
                <a:cxnLst>
                  <a:cxn ang="0">
                    <a:pos x="T0" y="T1"/>
                  </a:cxn>
                  <a:cxn ang="0">
                    <a:pos x="T2" y="T3"/>
                  </a:cxn>
                  <a:cxn ang="0">
                    <a:pos x="T4" y="T5"/>
                  </a:cxn>
                </a:cxnLst>
                <a:rect l="0" t="0" r="r" b="b"/>
                <a:pathLst>
                  <a:path w="13" h="6">
                    <a:moveTo>
                      <a:pt x="0" y="0"/>
                    </a:moveTo>
                    <a:cubicBezTo>
                      <a:pt x="0" y="5"/>
                      <a:pt x="9" y="5"/>
                      <a:pt x="13" y="6"/>
                    </a:cubicBezTo>
                    <a:cubicBezTo>
                      <a:pt x="8" y="4"/>
                      <a:pt x="4"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4" name="Freeform 23">
                <a:extLst>
                  <a:ext uri="{FF2B5EF4-FFF2-40B4-BE49-F238E27FC236}">
                    <a16:creationId xmlns:a16="http://schemas.microsoft.com/office/drawing/2014/main" id="{4017AA0D-53B7-494C-B3E1-0DDB79B7736B}"/>
                  </a:ext>
                </a:extLst>
              </p:cNvPr>
              <p:cNvSpPr>
                <a:spLocks/>
              </p:cNvSpPr>
              <p:nvPr/>
            </p:nvSpPr>
            <p:spPr bwMode="auto">
              <a:xfrm>
                <a:off x="6610" y="465"/>
                <a:ext cx="5" cy="21"/>
              </a:xfrm>
              <a:custGeom>
                <a:avLst/>
                <a:gdLst>
                  <a:gd name="T0" fmla="*/ 1 w 2"/>
                  <a:gd name="T1" fmla="*/ 0 h 9"/>
                  <a:gd name="T2" fmla="*/ 2 w 2"/>
                  <a:gd name="T3" fmla="*/ 9 h 9"/>
                  <a:gd name="T4" fmla="*/ 1 w 2"/>
                  <a:gd name="T5" fmla="*/ 0 h 9"/>
                </a:gdLst>
                <a:ahLst/>
                <a:cxnLst>
                  <a:cxn ang="0">
                    <a:pos x="T0" y="T1"/>
                  </a:cxn>
                  <a:cxn ang="0">
                    <a:pos x="T2" y="T3"/>
                  </a:cxn>
                  <a:cxn ang="0">
                    <a:pos x="T4" y="T5"/>
                  </a:cxn>
                </a:cxnLst>
                <a:rect l="0" t="0" r="r" b="b"/>
                <a:pathLst>
                  <a:path w="2" h="9">
                    <a:moveTo>
                      <a:pt x="1" y="0"/>
                    </a:moveTo>
                    <a:cubicBezTo>
                      <a:pt x="0" y="1"/>
                      <a:pt x="1" y="7"/>
                      <a:pt x="2" y="9"/>
                    </a:cubicBezTo>
                    <a:cubicBezTo>
                      <a:pt x="1" y="6"/>
                      <a:pt x="1"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5" name="Freeform 24">
                <a:extLst>
                  <a:ext uri="{FF2B5EF4-FFF2-40B4-BE49-F238E27FC236}">
                    <a16:creationId xmlns:a16="http://schemas.microsoft.com/office/drawing/2014/main" id="{4B61C738-EEEE-4C37-90FF-9D4B64796BA3}"/>
                  </a:ext>
                </a:extLst>
              </p:cNvPr>
              <p:cNvSpPr>
                <a:spLocks/>
              </p:cNvSpPr>
              <p:nvPr/>
            </p:nvSpPr>
            <p:spPr bwMode="auto">
              <a:xfrm>
                <a:off x="5088" y="394"/>
                <a:ext cx="19" cy="2"/>
              </a:xfrm>
              <a:custGeom>
                <a:avLst/>
                <a:gdLst>
                  <a:gd name="T0" fmla="*/ 7 w 8"/>
                  <a:gd name="T1" fmla="*/ 0 h 1"/>
                  <a:gd name="T2" fmla="*/ 0 w 8"/>
                  <a:gd name="T3" fmla="*/ 1 h 1"/>
                  <a:gd name="T4" fmla="*/ 4 w 8"/>
                  <a:gd name="T5" fmla="*/ 1 h 1"/>
                  <a:gd name="T6" fmla="*/ 8 w 8"/>
                  <a:gd name="T7" fmla="*/ 0 h 1"/>
                  <a:gd name="T8" fmla="*/ 7 w 8"/>
                  <a:gd name="T9" fmla="*/ 0 h 1"/>
                </a:gdLst>
                <a:ahLst/>
                <a:cxnLst>
                  <a:cxn ang="0">
                    <a:pos x="T0" y="T1"/>
                  </a:cxn>
                  <a:cxn ang="0">
                    <a:pos x="T2" y="T3"/>
                  </a:cxn>
                  <a:cxn ang="0">
                    <a:pos x="T4" y="T5"/>
                  </a:cxn>
                  <a:cxn ang="0">
                    <a:pos x="T6" y="T7"/>
                  </a:cxn>
                  <a:cxn ang="0">
                    <a:pos x="T8" y="T9"/>
                  </a:cxn>
                </a:cxnLst>
                <a:rect l="0" t="0" r="r" b="b"/>
                <a:pathLst>
                  <a:path w="8" h="1">
                    <a:moveTo>
                      <a:pt x="7" y="0"/>
                    </a:moveTo>
                    <a:cubicBezTo>
                      <a:pt x="5" y="0"/>
                      <a:pt x="3" y="0"/>
                      <a:pt x="0" y="1"/>
                    </a:cubicBezTo>
                    <a:cubicBezTo>
                      <a:pt x="1" y="1"/>
                      <a:pt x="2" y="1"/>
                      <a:pt x="4" y="1"/>
                    </a:cubicBezTo>
                    <a:cubicBezTo>
                      <a:pt x="5" y="1"/>
                      <a:pt x="7" y="1"/>
                      <a:pt x="8" y="0"/>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6" name="Freeform 25">
                <a:extLst>
                  <a:ext uri="{FF2B5EF4-FFF2-40B4-BE49-F238E27FC236}">
                    <a16:creationId xmlns:a16="http://schemas.microsoft.com/office/drawing/2014/main" id="{A90124D1-C15C-4C72-804B-AA6ADFE9F071}"/>
                  </a:ext>
                </a:extLst>
              </p:cNvPr>
              <p:cNvSpPr>
                <a:spLocks/>
              </p:cNvSpPr>
              <p:nvPr/>
            </p:nvSpPr>
            <p:spPr bwMode="auto">
              <a:xfrm>
                <a:off x="4280" y="739"/>
                <a:ext cx="9" cy="7"/>
              </a:xfrm>
              <a:custGeom>
                <a:avLst/>
                <a:gdLst>
                  <a:gd name="T0" fmla="*/ 4 w 4"/>
                  <a:gd name="T1" fmla="*/ 0 h 3"/>
                  <a:gd name="T2" fmla="*/ 0 w 4"/>
                  <a:gd name="T3" fmla="*/ 3 h 3"/>
                  <a:gd name="T4" fmla="*/ 4 w 4"/>
                  <a:gd name="T5" fmla="*/ 0 h 3"/>
                </a:gdLst>
                <a:ahLst/>
                <a:cxnLst>
                  <a:cxn ang="0">
                    <a:pos x="T0" y="T1"/>
                  </a:cxn>
                  <a:cxn ang="0">
                    <a:pos x="T2" y="T3"/>
                  </a:cxn>
                  <a:cxn ang="0">
                    <a:pos x="T4" y="T5"/>
                  </a:cxn>
                </a:cxnLst>
                <a:rect l="0" t="0" r="r" b="b"/>
                <a:pathLst>
                  <a:path w="4" h="3">
                    <a:moveTo>
                      <a:pt x="4" y="0"/>
                    </a:moveTo>
                    <a:cubicBezTo>
                      <a:pt x="2" y="1"/>
                      <a:pt x="1" y="2"/>
                      <a:pt x="0" y="3"/>
                    </a:cubicBezTo>
                    <a:cubicBezTo>
                      <a:pt x="1" y="2"/>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7" name="Freeform 26">
                <a:extLst>
                  <a:ext uri="{FF2B5EF4-FFF2-40B4-BE49-F238E27FC236}">
                    <a16:creationId xmlns:a16="http://schemas.microsoft.com/office/drawing/2014/main" id="{8B787A60-3653-42E1-B03E-1D5A192602F4}"/>
                  </a:ext>
                </a:extLst>
              </p:cNvPr>
              <p:cNvSpPr>
                <a:spLocks/>
              </p:cNvSpPr>
              <p:nvPr/>
            </p:nvSpPr>
            <p:spPr bwMode="auto">
              <a:xfrm>
                <a:off x="3874" y="398"/>
                <a:ext cx="28" cy="19"/>
              </a:xfrm>
              <a:custGeom>
                <a:avLst/>
                <a:gdLst>
                  <a:gd name="T0" fmla="*/ 6 w 12"/>
                  <a:gd name="T1" fmla="*/ 0 h 8"/>
                  <a:gd name="T2" fmla="*/ 0 w 12"/>
                  <a:gd name="T3" fmla="*/ 1 h 8"/>
                  <a:gd name="T4" fmla="*/ 11 w 12"/>
                  <a:gd name="T5" fmla="*/ 8 h 8"/>
                  <a:gd name="T6" fmla="*/ 8 w 12"/>
                  <a:gd name="T7" fmla="*/ 0 h 8"/>
                  <a:gd name="T8" fmla="*/ 6 w 12"/>
                  <a:gd name="T9" fmla="*/ 0 h 8"/>
                </a:gdLst>
                <a:ahLst/>
                <a:cxnLst>
                  <a:cxn ang="0">
                    <a:pos x="T0" y="T1"/>
                  </a:cxn>
                  <a:cxn ang="0">
                    <a:pos x="T2" y="T3"/>
                  </a:cxn>
                  <a:cxn ang="0">
                    <a:pos x="T4" y="T5"/>
                  </a:cxn>
                  <a:cxn ang="0">
                    <a:pos x="T6" y="T7"/>
                  </a:cxn>
                  <a:cxn ang="0">
                    <a:pos x="T8" y="T9"/>
                  </a:cxn>
                </a:cxnLst>
                <a:rect l="0" t="0" r="r" b="b"/>
                <a:pathLst>
                  <a:path w="12" h="8">
                    <a:moveTo>
                      <a:pt x="6" y="0"/>
                    </a:moveTo>
                    <a:cubicBezTo>
                      <a:pt x="4" y="0"/>
                      <a:pt x="1" y="0"/>
                      <a:pt x="0" y="1"/>
                    </a:cubicBezTo>
                    <a:cubicBezTo>
                      <a:pt x="3" y="4"/>
                      <a:pt x="7" y="6"/>
                      <a:pt x="11" y="8"/>
                    </a:cubicBezTo>
                    <a:cubicBezTo>
                      <a:pt x="12" y="4"/>
                      <a:pt x="10" y="1"/>
                      <a:pt x="8" y="0"/>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8" name="Freeform 27">
                <a:extLst>
                  <a:ext uri="{FF2B5EF4-FFF2-40B4-BE49-F238E27FC236}">
                    <a16:creationId xmlns:a16="http://schemas.microsoft.com/office/drawing/2014/main" id="{6B3D1CC3-1BAC-4E07-BF1C-22376B82F0CE}"/>
                  </a:ext>
                </a:extLst>
              </p:cNvPr>
              <p:cNvSpPr>
                <a:spLocks/>
              </p:cNvSpPr>
              <p:nvPr/>
            </p:nvSpPr>
            <p:spPr bwMode="auto">
              <a:xfrm>
                <a:off x="3727" y="462"/>
                <a:ext cx="26" cy="17"/>
              </a:xfrm>
              <a:custGeom>
                <a:avLst/>
                <a:gdLst>
                  <a:gd name="T0" fmla="*/ 8 w 11"/>
                  <a:gd name="T1" fmla="*/ 0 h 7"/>
                  <a:gd name="T2" fmla="*/ 4 w 11"/>
                  <a:gd name="T3" fmla="*/ 1 h 7"/>
                  <a:gd name="T4" fmla="*/ 5 w 11"/>
                  <a:gd name="T5" fmla="*/ 7 h 7"/>
                  <a:gd name="T6" fmla="*/ 10 w 11"/>
                  <a:gd name="T7" fmla="*/ 1 h 7"/>
                  <a:gd name="T8" fmla="*/ 8 w 11"/>
                  <a:gd name="T9" fmla="*/ 0 h 7"/>
                </a:gdLst>
                <a:ahLst/>
                <a:cxnLst>
                  <a:cxn ang="0">
                    <a:pos x="T0" y="T1"/>
                  </a:cxn>
                  <a:cxn ang="0">
                    <a:pos x="T2" y="T3"/>
                  </a:cxn>
                  <a:cxn ang="0">
                    <a:pos x="T4" y="T5"/>
                  </a:cxn>
                  <a:cxn ang="0">
                    <a:pos x="T6" y="T7"/>
                  </a:cxn>
                  <a:cxn ang="0">
                    <a:pos x="T8" y="T9"/>
                  </a:cxn>
                </a:cxnLst>
                <a:rect l="0" t="0" r="r" b="b"/>
                <a:pathLst>
                  <a:path w="11" h="7">
                    <a:moveTo>
                      <a:pt x="8" y="0"/>
                    </a:moveTo>
                    <a:cubicBezTo>
                      <a:pt x="7" y="0"/>
                      <a:pt x="5" y="0"/>
                      <a:pt x="4" y="1"/>
                    </a:cubicBezTo>
                    <a:cubicBezTo>
                      <a:pt x="0" y="3"/>
                      <a:pt x="1" y="4"/>
                      <a:pt x="5" y="7"/>
                    </a:cubicBezTo>
                    <a:cubicBezTo>
                      <a:pt x="6" y="6"/>
                      <a:pt x="11" y="3"/>
                      <a:pt x="10"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9" name="Freeform 28">
                <a:extLst>
                  <a:ext uri="{FF2B5EF4-FFF2-40B4-BE49-F238E27FC236}">
                    <a16:creationId xmlns:a16="http://schemas.microsoft.com/office/drawing/2014/main" id="{E630DDE7-C92B-4F38-BA1A-984305F0D43F}"/>
                  </a:ext>
                </a:extLst>
              </p:cNvPr>
              <p:cNvSpPr>
                <a:spLocks/>
              </p:cNvSpPr>
              <p:nvPr/>
            </p:nvSpPr>
            <p:spPr bwMode="auto">
              <a:xfrm>
                <a:off x="3793" y="405"/>
                <a:ext cx="64" cy="45"/>
              </a:xfrm>
              <a:custGeom>
                <a:avLst/>
                <a:gdLst>
                  <a:gd name="T0" fmla="*/ 19 w 27"/>
                  <a:gd name="T1" fmla="*/ 0 h 19"/>
                  <a:gd name="T2" fmla="*/ 0 w 27"/>
                  <a:gd name="T3" fmla="*/ 10 h 19"/>
                  <a:gd name="T4" fmla="*/ 3 w 27"/>
                  <a:gd name="T5" fmla="*/ 12 h 19"/>
                  <a:gd name="T6" fmla="*/ 5 w 27"/>
                  <a:gd name="T7" fmla="*/ 12 h 19"/>
                  <a:gd name="T8" fmla="*/ 6 w 27"/>
                  <a:gd name="T9" fmla="*/ 12 h 19"/>
                  <a:gd name="T10" fmla="*/ 8 w 27"/>
                  <a:gd name="T11" fmla="*/ 13 h 19"/>
                  <a:gd name="T12" fmla="*/ 10 w 27"/>
                  <a:gd name="T13" fmla="*/ 17 h 19"/>
                  <a:gd name="T14" fmla="*/ 15 w 27"/>
                  <a:gd name="T15" fmla="*/ 19 h 19"/>
                  <a:gd name="T16" fmla="*/ 16 w 27"/>
                  <a:gd name="T17" fmla="*/ 19 h 19"/>
                  <a:gd name="T18" fmla="*/ 22 w 27"/>
                  <a:gd name="T19" fmla="*/ 15 h 19"/>
                  <a:gd name="T20" fmla="*/ 26 w 27"/>
                  <a:gd name="T21" fmla="*/ 7 h 19"/>
                  <a:gd name="T22" fmla="*/ 20 w 27"/>
                  <a:gd name="T23" fmla="*/ 2 h 19"/>
                  <a:gd name="T24" fmla="*/ 18 w 27"/>
                  <a:gd name="T25" fmla="*/ 3 h 19"/>
                  <a:gd name="T26" fmla="*/ 20 w 27"/>
                  <a:gd name="T27" fmla="*/ 0 h 19"/>
                  <a:gd name="T28" fmla="*/ 19 w 27"/>
                  <a:gd name="T2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19">
                    <a:moveTo>
                      <a:pt x="19" y="0"/>
                    </a:moveTo>
                    <a:cubicBezTo>
                      <a:pt x="12" y="0"/>
                      <a:pt x="5" y="7"/>
                      <a:pt x="0" y="10"/>
                    </a:cubicBezTo>
                    <a:cubicBezTo>
                      <a:pt x="1" y="11"/>
                      <a:pt x="2" y="12"/>
                      <a:pt x="3" y="12"/>
                    </a:cubicBezTo>
                    <a:cubicBezTo>
                      <a:pt x="4" y="12"/>
                      <a:pt x="4" y="12"/>
                      <a:pt x="5" y="12"/>
                    </a:cubicBezTo>
                    <a:cubicBezTo>
                      <a:pt x="5" y="12"/>
                      <a:pt x="6" y="12"/>
                      <a:pt x="6" y="12"/>
                    </a:cubicBezTo>
                    <a:cubicBezTo>
                      <a:pt x="7" y="12"/>
                      <a:pt x="7" y="12"/>
                      <a:pt x="8" y="13"/>
                    </a:cubicBezTo>
                    <a:cubicBezTo>
                      <a:pt x="8" y="14"/>
                      <a:pt x="9" y="16"/>
                      <a:pt x="10" y="17"/>
                    </a:cubicBezTo>
                    <a:cubicBezTo>
                      <a:pt x="11" y="17"/>
                      <a:pt x="14" y="19"/>
                      <a:pt x="15" y="19"/>
                    </a:cubicBezTo>
                    <a:cubicBezTo>
                      <a:pt x="15" y="19"/>
                      <a:pt x="16" y="19"/>
                      <a:pt x="16" y="19"/>
                    </a:cubicBezTo>
                    <a:cubicBezTo>
                      <a:pt x="18" y="19"/>
                      <a:pt x="19" y="17"/>
                      <a:pt x="22" y="15"/>
                    </a:cubicBezTo>
                    <a:cubicBezTo>
                      <a:pt x="22" y="13"/>
                      <a:pt x="27" y="9"/>
                      <a:pt x="26" y="7"/>
                    </a:cubicBezTo>
                    <a:cubicBezTo>
                      <a:pt x="25" y="4"/>
                      <a:pt x="14" y="8"/>
                      <a:pt x="20" y="2"/>
                    </a:cubicBezTo>
                    <a:cubicBezTo>
                      <a:pt x="19" y="3"/>
                      <a:pt x="18" y="3"/>
                      <a:pt x="18" y="3"/>
                    </a:cubicBezTo>
                    <a:cubicBezTo>
                      <a:pt x="17" y="3"/>
                      <a:pt x="18" y="1"/>
                      <a:pt x="20" y="0"/>
                    </a:cubicBezTo>
                    <a:cubicBezTo>
                      <a:pt x="20" y="0"/>
                      <a:pt x="19"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0" name="Freeform 29">
                <a:extLst>
                  <a:ext uri="{FF2B5EF4-FFF2-40B4-BE49-F238E27FC236}">
                    <a16:creationId xmlns:a16="http://schemas.microsoft.com/office/drawing/2014/main" id="{EDC62F14-80CD-4912-9B47-58EA3C98C0B3}"/>
                  </a:ext>
                </a:extLst>
              </p:cNvPr>
              <p:cNvSpPr>
                <a:spLocks/>
              </p:cNvSpPr>
              <p:nvPr/>
            </p:nvSpPr>
            <p:spPr bwMode="auto">
              <a:xfrm>
                <a:off x="6145" y="2263"/>
                <a:ext cx="28" cy="10"/>
              </a:xfrm>
              <a:custGeom>
                <a:avLst/>
                <a:gdLst>
                  <a:gd name="T0" fmla="*/ 0 w 12"/>
                  <a:gd name="T1" fmla="*/ 0 h 4"/>
                  <a:gd name="T2" fmla="*/ 12 w 12"/>
                  <a:gd name="T3" fmla="*/ 4 h 4"/>
                  <a:gd name="T4" fmla="*/ 0 w 12"/>
                  <a:gd name="T5" fmla="*/ 0 h 4"/>
                  <a:gd name="T6" fmla="*/ 0 w 12"/>
                  <a:gd name="T7" fmla="*/ 0 h 4"/>
                </a:gdLst>
                <a:ahLst/>
                <a:cxnLst>
                  <a:cxn ang="0">
                    <a:pos x="T0" y="T1"/>
                  </a:cxn>
                  <a:cxn ang="0">
                    <a:pos x="T2" y="T3"/>
                  </a:cxn>
                  <a:cxn ang="0">
                    <a:pos x="T4" y="T5"/>
                  </a:cxn>
                  <a:cxn ang="0">
                    <a:pos x="T6" y="T7"/>
                  </a:cxn>
                </a:cxnLst>
                <a:rect l="0" t="0" r="r" b="b"/>
                <a:pathLst>
                  <a:path w="12" h="4">
                    <a:moveTo>
                      <a:pt x="0" y="0"/>
                    </a:moveTo>
                    <a:cubicBezTo>
                      <a:pt x="4" y="1"/>
                      <a:pt x="8" y="3"/>
                      <a:pt x="12" y="4"/>
                    </a:cubicBezTo>
                    <a:cubicBezTo>
                      <a:pt x="8" y="3"/>
                      <a:pt x="4"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1" name="Freeform 30">
                <a:extLst>
                  <a:ext uri="{FF2B5EF4-FFF2-40B4-BE49-F238E27FC236}">
                    <a16:creationId xmlns:a16="http://schemas.microsoft.com/office/drawing/2014/main" id="{D58D39EF-CAEC-4F58-AFCC-DFDAC6381721}"/>
                  </a:ext>
                </a:extLst>
              </p:cNvPr>
              <p:cNvSpPr>
                <a:spLocks/>
              </p:cNvSpPr>
              <p:nvPr/>
            </p:nvSpPr>
            <p:spPr bwMode="auto">
              <a:xfrm>
                <a:off x="6742" y="3008"/>
                <a:ext cx="8" cy="12"/>
              </a:xfrm>
              <a:custGeom>
                <a:avLst/>
                <a:gdLst>
                  <a:gd name="T0" fmla="*/ 1 w 3"/>
                  <a:gd name="T1" fmla="*/ 0 h 5"/>
                  <a:gd name="T2" fmla="*/ 3 w 3"/>
                  <a:gd name="T3" fmla="*/ 5 h 5"/>
                  <a:gd name="T4" fmla="*/ 3 w 3"/>
                  <a:gd name="T5" fmla="*/ 5 h 5"/>
                  <a:gd name="T6" fmla="*/ 3 w 3"/>
                  <a:gd name="T7" fmla="*/ 5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0" y="1"/>
                      <a:pt x="1" y="3"/>
                      <a:pt x="3" y="5"/>
                    </a:cubicBezTo>
                    <a:cubicBezTo>
                      <a:pt x="3" y="5"/>
                      <a:pt x="3" y="5"/>
                      <a:pt x="3" y="5"/>
                    </a:cubicBezTo>
                    <a:cubicBezTo>
                      <a:pt x="3" y="5"/>
                      <a:pt x="3" y="5"/>
                      <a:pt x="3" y="5"/>
                    </a:cubicBezTo>
                    <a:cubicBezTo>
                      <a:pt x="3" y="2"/>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2" name="Freeform 31">
                <a:extLst>
                  <a:ext uri="{FF2B5EF4-FFF2-40B4-BE49-F238E27FC236}">
                    <a16:creationId xmlns:a16="http://schemas.microsoft.com/office/drawing/2014/main" id="{10FBF45B-F7A9-4E56-B418-982ED0F2C88F}"/>
                  </a:ext>
                </a:extLst>
              </p:cNvPr>
              <p:cNvSpPr>
                <a:spLocks noEditPoints="1"/>
              </p:cNvSpPr>
              <p:nvPr/>
            </p:nvSpPr>
            <p:spPr bwMode="auto">
              <a:xfrm>
                <a:off x="5986" y="1800"/>
                <a:ext cx="10" cy="14"/>
              </a:xfrm>
              <a:custGeom>
                <a:avLst/>
                <a:gdLst>
                  <a:gd name="T0" fmla="*/ 2 w 4"/>
                  <a:gd name="T1" fmla="*/ 0 h 6"/>
                  <a:gd name="T2" fmla="*/ 1 w 4"/>
                  <a:gd name="T3" fmla="*/ 4 h 6"/>
                  <a:gd name="T4" fmla="*/ 4 w 4"/>
                  <a:gd name="T5" fmla="*/ 6 h 6"/>
                  <a:gd name="T6" fmla="*/ 2 w 4"/>
                  <a:gd name="T7" fmla="*/ 0 h 6"/>
                  <a:gd name="T8" fmla="*/ 1 w 4"/>
                  <a:gd name="T9" fmla="*/ 0 h 6"/>
                  <a:gd name="T10" fmla="*/ 2 w 4"/>
                  <a:gd name="T11" fmla="*/ 0 h 6"/>
                  <a:gd name="T12" fmla="*/ 1 w 4"/>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2" y="0"/>
                    </a:moveTo>
                    <a:cubicBezTo>
                      <a:pt x="2" y="2"/>
                      <a:pt x="0" y="2"/>
                      <a:pt x="1" y="4"/>
                    </a:cubicBezTo>
                    <a:cubicBezTo>
                      <a:pt x="2" y="5"/>
                      <a:pt x="3" y="5"/>
                      <a:pt x="4" y="6"/>
                    </a:cubicBezTo>
                    <a:cubicBezTo>
                      <a:pt x="3" y="4"/>
                      <a:pt x="2" y="2"/>
                      <a:pt x="2" y="0"/>
                    </a:cubicBezTo>
                    <a:moveTo>
                      <a:pt x="1" y="0"/>
                    </a:moveTo>
                    <a:cubicBezTo>
                      <a:pt x="1" y="0"/>
                      <a:pt x="2" y="0"/>
                      <a:pt x="2"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3" name="Freeform 32">
                <a:extLst>
                  <a:ext uri="{FF2B5EF4-FFF2-40B4-BE49-F238E27FC236}">
                    <a16:creationId xmlns:a16="http://schemas.microsoft.com/office/drawing/2014/main" id="{1D580266-C2D6-4FD6-80EA-7A2E51674BD6}"/>
                  </a:ext>
                </a:extLst>
              </p:cNvPr>
              <p:cNvSpPr>
                <a:spLocks/>
              </p:cNvSpPr>
              <p:nvPr/>
            </p:nvSpPr>
            <p:spPr bwMode="auto">
              <a:xfrm>
                <a:off x="5996" y="1812"/>
                <a:ext cx="9" cy="12"/>
              </a:xfrm>
              <a:custGeom>
                <a:avLst/>
                <a:gdLst>
                  <a:gd name="T0" fmla="*/ 2 w 4"/>
                  <a:gd name="T1" fmla="*/ 0 h 5"/>
                  <a:gd name="T2" fmla="*/ 0 w 4"/>
                  <a:gd name="T3" fmla="*/ 2 h 5"/>
                  <a:gd name="T4" fmla="*/ 4 w 4"/>
                  <a:gd name="T5" fmla="*/ 5 h 5"/>
                  <a:gd name="T6" fmla="*/ 2 w 4"/>
                  <a:gd name="T7" fmla="*/ 0 h 5"/>
                </a:gdLst>
                <a:ahLst/>
                <a:cxnLst>
                  <a:cxn ang="0">
                    <a:pos x="T0" y="T1"/>
                  </a:cxn>
                  <a:cxn ang="0">
                    <a:pos x="T2" y="T3"/>
                  </a:cxn>
                  <a:cxn ang="0">
                    <a:pos x="T4" y="T5"/>
                  </a:cxn>
                  <a:cxn ang="0">
                    <a:pos x="T6" y="T7"/>
                  </a:cxn>
                </a:cxnLst>
                <a:rect l="0" t="0" r="r" b="b"/>
                <a:pathLst>
                  <a:path w="4" h="5">
                    <a:moveTo>
                      <a:pt x="2" y="0"/>
                    </a:moveTo>
                    <a:cubicBezTo>
                      <a:pt x="1" y="0"/>
                      <a:pt x="1" y="0"/>
                      <a:pt x="0" y="2"/>
                    </a:cubicBezTo>
                    <a:cubicBezTo>
                      <a:pt x="1" y="3"/>
                      <a:pt x="3" y="4"/>
                      <a:pt x="4" y="5"/>
                    </a:cubicBezTo>
                    <a:cubicBezTo>
                      <a:pt x="4" y="3"/>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4" name="Freeform 33">
                <a:extLst>
                  <a:ext uri="{FF2B5EF4-FFF2-40B4-BE49-F238E27FC236}">
                    <a16:creationId xmlns:a16="http://schemas.microsoft.com/office/drawing/2014/main" id="{6268A8BD-065C-497E-95DC-4013B4DD8CF5}"/>
                  </a:ext>
                </a:extLst>
              </p:cNvPr>
              <p:cNvSpPr>
                <a:spLocks/>
              </p:cNvSpPr>
              <p:nvPr/>
            </p:nvSpPr>
            <p:spPr bwMode="auto">
              <a:xfrm>
                <a:off x="5984" y="1807"/>
                <a:ext cx="5" cy="5"/>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1" y="0"/>
                      <a:pt x="1" y="1"/>
                      <a:pt x="2"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5" name="Freeform 34">
                <a:extLst>
                  <a:ext uri="{FF2B5EF4-FFF2-40B4-BE49-F238E27FC236}">
                    <a16:creationId xmlns:a16="http://schemas.microsoft.com/office/drawing/2014/main" id="{75848C5D-355B-49A7-ADC4-D27AF0AE9C01}"/>
                  </a:ext>
                </a:extLst>
              </p:cNvPr>
              <p:cNvSpPr>
                <a:spLocks/>
              </p:cNvSpPr>
              <p:nvPr/>
            </p:nvSpPr>
            <p:spPr bwMode="auto">
              <a:xfrm>
                <a:off x="5989" y="1812"/>
                <a:ext cx="7" cy="5"/>
              </a:xfrm>
              <a:custGeom>
                <a:avLst/>
                <a:gdLst>
                  <a:gd name="T0" fmla="*/ 0 w 3"/>
                  <a:gd name="T1" fmla="*/ 0 h 2"/>
                  <a:gd name="T2" fmla="*/ 3 w 3"/>
                  <a:gd name="T3" fmla="*/ 2 h 2"/>
                  <a:gd name="T4" fmla="*/ 3 w 3"/>
                  <a:gd name="T5" fmla="*/ 2 h 2"/>
                  <a:gd name="T6" fmla="*/ 0 w 3"/>
                  <a:gd name="T7" fmla="*/ 0 h 2"/>
                </a:gdLst>
                <a:ahLst/>
                <a:cxnLst>
                  <a:cxn ang="0">
                    <a:pos x="T0" y="T1"/>
                  </a:cxn>
                  <a:cxn ang="0">
                    <a:pos x="T2" y="T3"/>
                  </a:cxn>
                  <a:cxn ang="0">
                    <a:pos x="T4" y="T5"/>
                  </a:cxn>
                  <a:cxn ang="0">
                    <a:pos x="T6" y="T7"/>
                  </a:cxn>
                </a:cxnLst>
                <a:rect l="0" t="0" r="r" b="b"/>
                <a:pathLst>
                  <a:path w="3" h="2">
                    <a:moveTo>
                      <a:pt x="0" y="0"/>
                    </a:moveTo>
                    <a:cubicBezTo>
                      <a:pt x="0" y="1"/>
                      <a:pt x="1" y="2"/>
                      <a:pt x="3" y="2"/>
                    </a:cubicBezTo>
                    <a:cubicBezTo>
                      <a:pt x="3" y="2"/>
                      <a:pt x="3" y="2"/>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6" name="Freeform 35">
                <a:extLst>
                  <a:ext uri="{FF2B5EF4-FFF2-40B4-BE49-F238E27FC236}">
                    <a16:creationId xmlns:a16="http://schemas.microsoft.com/office/drawing/2014/main" id="{EA1D4AD8-4668-40DC-AD60-CAA57B3C9E6B}"/>
                  </a:ext>
                </a:extLst>
              </p:cNvPr>
              <p:cNvSpPr>
                <a:spLocks/>
              </p:cNvSpPr>
              <p:nvPr/>
            </p:nvSpPr>
            <p:spPr bwMode="auto">
              <a:xfrm>
                <a:off x="2751" y="845"/>
                <a:ext cx="5" cy="2"/>
              </a:xfrm>
              <a:custGeom>
                <a:avLst/>
                <a:gdLst>
                  <a:gd name="T0" fmla="*/ 2 w 2"/>
                  <a:gd name="T1" fmla="*/ 0 h 1"/>
                  <a:gd name="T2" fmla="*/ 0 w 2"/>
                  <a:gd name="T3" fmla="*/ 1 h 1"/>
                  <a:gd name="T4" fmla="*/ 2 w 2"/>
                  <a:gd name="T5" fmla="*/ 0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1" y="1"/>
                      <a:pt x="0" y="1"/>
                    </a:cubicBezTo>
                    <a:cubicBezTo>
                      <a:pt x="1" y="1"/>
                      <a:pt x="1"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7" name="Freeform 36">
                <a:extLst>
                  <a:ext uri="{FF2B5EF4-FFF2-40B4-BE49-F238E27FC236}">
                    <a16:creationId xmlns:a16="http://schemas.microsoft.com/office/drawing/2014/main" id="{9AC58057-725A-42AF-B3B5-54DA154605AC}"/>
                  </a:ext>
                </a:extLst>
              </p:cNvPr>
              <p:cNvSpPr>
                <a:spLocks/>
              </p:cNvSpPr>
              <p:nvPr/>
            </p:nvSpPr>
            <p:spPr bwMode="auto">
              <a:xfrm>
                <a:off x="6922" y="1587"/>
                <a:ext cx="17" cy="31"/>
              </a:xfrm>
              <a:custGeom>
                <a:avLst/>
                <a:gdLst>
                  <a:gd name="T0" fmla="*/ 7 w 7"/>
                  <a:gd name="T1" fmla="*/ 0 h 13"/>
                  <a:gd name="T2" fmla="*/ 0 w 7"/>
                  <a:gd name="T3" fmla="*/ 13 h 13"/>
                  <a:gd name="T4" fmla="*/ 7 w 7"/>
                  <a:gd name="T5" fmla="*/ 4 h 13"/>
                  <a:gd name="T6" fmla="*/ 7 w 7"/>
                  <a:gd name="T7" fmla="*/ 0 h 13"/>
                </a:gdLst>
                <a:ahLst/>
                <a:cxnLst>
                  <a:cxn ang="0">
                    <a:pos x="T0" y="T1"/>
                  </a:cxn>
                  <a:cxn ang="0">
                    <a:pos x="T2" y="T3"/>
                  </a:cxn>
                  <a:cxn ang="0">
                    <a:pos x="T4" y="T5"/>
                  </a:cxn>
                  <a:cxn ang="0">
                    <a:pos x="T6" y="T7"/>
                  </a:cxn>
                </a:cxnLst>
                <a:rect l="0" t="0" r="r" b="b"/>
                <a:pathLst>
                  <a:path w="7" h="13">
                    <a:moveTo>
                      <a:pt x="7" y="0"/>
                    </a:moveTo>
                    <a:cubicBezTo>
                      <a:pt x="4" y="4"/>
                      <a:pt x="2" y="8"/>
                      <a:pt x="0" y="13"/>
                    </a:cubicBezTo>
                    <a:cubicBezTo>
                      <a:pt x="3" y="10"/>
                      <a:pt x="4" y="6"/>
                      <a:pt x="7" y="4"/>
                    </a:cubicBezTo>
                    <a:cubicBezTo>
                      <a:pt x="7" y="3"/>
                      <a:pt x="6"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8" name="Freeform 37">
                <a:extLst>
                  <a:ext uri="{FF2B5EF4-FFF2-40B4-BE49-F238E27FC236}">
                    <a16:creationId xmlns:a16="http://schemas.microsoft.com/office/drawing/2014/main" id="{2291B330-3A3A-4F32-99E5-0AAEE55E6E7C}"/>
                  </a:ext>
                </a:extLst>
              </p:cNvPr>
              <p:cNvSpPr>
                <a:spLocks/>
              </p:cNvSpPr>
              <p:nvPr/>
            </p:nvSpPr>
            <p:spPr bwMode="auto">
              <a:xfrm>
                <a:off x="4460" y="663"/>
                <a:ext cx="9" cy="12"/>
              </a:xfrm>
              <a:custGeom>
                <a:avLst/>
                <a:gdLst>
                  <a:gd name="T0" fmla="*/ 0 w 4"/>
                  <a:gd name="T1" fmla="*/ 0 h 5"/>
                  <a:gd name="T2" fmla="*/ 0 w 4"/>
                  <a:gd name="T3" fmla="*/ 0 h 5"/>
                  <a:gd name="T4" fmla="*/ 4 w 4"/>
                  <a:gd name="T5" fmla="*/ 5 h 5"/>
                  <a:gd name="T6" fmla="*/ 0 w 4"/>
                  <a:gd name="T7" fmla="*/ 0 h 5"/>
                </a:gdLst>
                <a:ahLst/>
                <a:cxnLst>
                  <a:cxn ang="0">
                    <a:pos x="T0" y="T1"/>
                  </a:cxn>
                  <a:cxn ang="0">
                    <a:pos x="T2" y="T3"/>
                  </a:cxn>
                  <a:cxn ang="0">
                    <a:pos x="T4" y="T5"/>
                  </a:cxn>
                  <a:cxn ang="0">
                    <a:pos x="T6" y="T7"/>
                  </a:cxn>
                </a:cxnLst>
                <a:rect l="0" t="0" r="r" b="b"/>
                <a:pathLst>
                  <a:path w="4" h="5">
                    <a:moveTo>
                      <a:pt x="0" y="0"/>
                    </a:moveTo>
                    <a:cubicBezTo>
                      <a:pt x="0" y="0"/>
                      <a:pt x="0" y="0"/>
                      <a:pt x="0" y="0"/>
                    </a:cubicBezTo>
                    <a:cubicBezTo>
                      <a:pt x="1" y="2"/>
                      <a:pt x="2" y="3"/>
                      <a:pt x="4" y="5"/>
                    </a:cubicBezTo>
                    <a:cubicBezTo>
                      <a:pt x="3" y="0"/>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9" name="Freeform 38">
                <a:extLst>
                  <a:ext uri="{FF2B5EF4-FFF2-40B4-BE49-F238E27FC236}">
                    <a16:creationId xmlns:a16="http://schemas.microsoft.com/office/drawing/2014/main" id="{45DE6753-C81E-46A4-B95E-24F173DD83FD}"/>
                  </a:ext>
                </a:extLst>
              </p:cNvPr>
              <p:cNvSpPr>
                <a:spLocks/>
              </p:cNvSpPr>
              <p:nvPr/>
            </p:nvSpPr>
            <p:spPr bwMode="auto">
              <a:xfrm>
                <a:off x="7182" y="3861"/>
                <a:ext cx="10" cy="5"/>
              </a:xfrm>
              <a:custGeom>
                <a:avLst/>
                <a:gdLst>
                  <a:gd name="T0" fmla="*/ 4 w 4"/>
                  <a:gd name="T1" fmla="*/ 0 h 2"/>
                  <a:gd name="T2" fmla="*/ 0 w 4"/>
                  <a:gd name="T3" fmla="*/ 2 h 2"/>
                  <a:gd name="T4" fmla="*/ 1 w 4"/>
                  <a:gd name="T5" fmla="*/ 2 h 2"/>
                  <a:gd name="T6" fmla="*/ 4 w 4"/>
                  <a:gd name="T7" fmla="*/ 0 h 2"/>
                </a:gdLst>
                <a:ahLst/>
                <a:cxnLst>
                  <a:cxn ang="0">
                    <a:pos x="T0" y="T1"/>
                  </a:cxn>
                  <a:cxn ang="0">
                    <a:pos x="T2" y="T3"/>
                  </a:cxn>
                  <a:cxn ang="0">
                    <a:pos x="T4" y="T5"/>
                  </a:cxn>
                  <a:cxn ang="0">
                    <a:pos x="T6" y="T7"/>
                  </a:cxn>
                </a:cxnLst>
                <a:rect l="0" t="0" r="r" b="b"/>
                <a:pathLst>
                  <a:path w="4" h="2">
                    <a:moveTo>
                      <a:pt x="4" y="0"/>
                    </a:moveTo>
                    <a:cubicBezTo>
                      <a:pt x="3" y="1"/>
                      <a:pt x="1" y="1"/>
                      <a:pt x="0" y="2"/>
                    </a:cubicBezTo>
                    <a:cubicBezTo>
                      <a:pt x="1" y="2"/>
                      <a:pt x="1" y="2"/>
                      <a:pt x="1" y="2"/>
                    </a:cubicBezTo>
                    <a:cubicBezTo>
                      <a:pt x="2" y="2"/>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0" name="Freeform 39">
                <a:extLst>
                  <a:ext uri="{FF2B5EF4-FFF2-40B4-BE49-F238E27FC236}">
                    <a16:creationId xmlns:a16="http://schemas.microsoft.com/office/drawing/2014/main" id="{A7EB54D1-095D-404A-9AF5-AD73160AB097}"/>
                  </a:ext>
                </a:extLst>
              </p:cNvPr>
              <p:cNvSpPr>
                <a:spLocks/>
              </p:cNvSpPr>
              <p:nvPr/>
            </p:nvSpPr>
            <p:spPr bwMode="auto">
              <a:xfrm>
                <a:off x="4115" y="320"/>
                <a:ext cx="92" cy="159"/>
              </a:xfrm>
              <a:custGeom>
                <a:avLst/>
                <a:gdLst>
                  <a:gd name="T0" fmla="*/ 25 w 39"/>
                  <a:gd name="T1" fmla="*/ 0 h 67"/>
                  <a:gd name="T2" fmla="*/ 7 w 39"/>
                  <a:gd name="T3" fmla="*/ 12 h 67"/>
                  <a:gd name="T4" fmla="*/ 7 w 39"/>
                  <a:gd name="T5" fmla="*/ 12 h 67"/>
                  <a:gd name="T6" fmla="*/ 1 w 39"/>
                  <a:gd name="T7" fmla="*/ 9 h 67"/>
                  <a:gd name="T8" fmla="*/ 0 w 39"/>
                  <a:gd name="T9" fmla="*/ 13 h 67"/>
                  <a:gd name="T10" fmla="*/ 0 w 39"/>
                  <a:gd name="T11" fmla="*/ 16 h 67"/>
                  <a:gd name="T12" fmla="*/ 0 w 39"/>
                  <a:gd name="T13" fmla="*/ 19 h 67"/>
                  <a:gd name="T14" fmla="*/ 1 w 39"/>
                  <a:gd name="T15" fmla="*/ 19 h 67"/>
                  <a:gd name="T16" fmla="*/ 4 w 39"/>
                  <a:gd name="T17" fmla="*/ 19 h 67"/>
                  <a:gd name="T18" fmla="*/ 6 w 39"/>
                  <a:gd name="T19" fmla="*/ 24 h 67"/>
                  <a:gd name="T20" fmla="*/ 6 w 39"/>
                  <a:gd name="T21" fmla="*/ 33 h 67"/>
                  <a:gd name="T22" fmla="*/ 6 w 39"/>
                  <a:gd name="T23" fmla="*/ 35 h 67"/>
                  <a:gd name="T24" fmla="*/ 9 w 39"/>
                  <a:gd name="T25" fmla="*/ 44 h 67"/>
                  <a:gd name="T26" fmla="*/ 9 w 39"/>
                  <a:gd name="T27" fmla="*/ 43 h 67"/>
                  <a:gd name="T28" fmla="*/ 8 w 39"/>
                  <a:gd name="T29" fmla="*/ 45 h 67"/>
                  <a:gd name="T30" fmla="*/ 7 w 39"/>
                  <a:gd name="T31" fmla="*/ 48 h 67"/>
                  <a:gd name="T32" fmla="*/ 7 w 39"/>
                  <a:gd name="T33" fmla="*/ 48 h 67"/>
                  <a:gd name="T34" fmla="*/ 6 w 39"/>
                  <a:gd name="T35" fmla="*/ 49 h 67"/>
                  <a:gd name="T36" fmla="*/ 5 w 39"/>
                  <a:gd name="T37" fmla="*/ 60 h 67"/>
                  <a:gd name="T38" fmla="*/ 5 w 39"/>
                  <a:gd name="T39" fmla="*/ 61 h 67"/>
                  <a:gd name="T40" fmla="*/ 12 w 39"/>
                  <a:gd name="T41" fmla="*/ 66 h 67"/>
                  <a:gd name="T42" fmla="*/ 13 w 39"/>
                  <a:gd name="T43" fmla="*/ 67 h 67"/>
                  <a:gd name="T44" fmla="*/ 17 w 39"/>
                  <a:gd name="T45" fmla="*/ 66 h 67"/>
                  <a:gd name="T46" fmla="*/ 22 w 39"/>
                  <a:gd name="T47" fmla="*/ 57 h 67"/>
                  <a:gd name="T48" fmla="*/ 23 w 39"/>
                  <a:gd name="T49" fmla="*/ 58 h 67"/>
                  <a:gd name="T50" fmla="*/ 24 w 39"/>
                  <a:gd name="T51" fmla="*/ 58 h 67"/>
                  <a:gd name="T52" fmla="*/ 25 w 39"/>
                  <a:gd name="T53" fmla="*/ 57 h 67"/>
                  <a:gd name="T54" fmla="*/ 26 w 39"/>
                  <a:gd name="T55" fmla="*/ 57 h 67"/>
                  <a:gd name="T56" fmla="*/ 26 w 39"/>
                  <a:gd name="T57" fmla="*/ 57 h 67"/>
                  <a:gd name="T58" fmla="*/ 28 w 39"/>
                  <a:gd name="T59" fmla="*/ 58 h 67"/>
                  <a:gd name="T60" fmla="*/ 32 w 39"/>
                  <a:gd name="T61" fmla="*/ 60 h 67"/>
                  <a:gd name="T62" fmla="*/ 39 w 39"/>
                  <a:gd name="T63" fmla="*/ 23 h 67"/>
                  <a:gd name="T64" fmla="*/ 38 w 39"/>
                  <a:gd name="T65" fmla="*/ 18 h 67"/>
                  <a:gd name="T66" fmla="*/ 36 w 39"/>
                  <a:gd name="T67" fmla="*/ 11 h 67"/>
                  <a:gd name="T68" fmla="*/ 32 w 39"/>
                  <a:gd name="T69" fmla="*/ 9 h 67"/>
                  <a:gd name="T70" fmla="*/ 32 w 39"/>
                  <a:gd name="T71" fmla="*/ 3 h 67"/>
                  <a:gd name="T72" fmla="*/ 32 w 39"/>
                  <a:gd name="T73" fmla="*/ 3 h 67"/>
                  <a:gd name="T74" fmla="*/ 25 w 39"/>
                  <a:gd name="T7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 h="67">
                    <a:moveTo>
                      <a:pt x="25" y="0"/>
                    </a:moveTo>
                    <a:cubicBezTo>
                      <a:pt x="20" y="4"/>
                      <a:pt x="14" y="12"/>
                      <a:pt x="7" y="12"/>
                    </a:cubicBezTo>
                    <a:cubicBezTo>
                      <a:pt x="7" y="12"/>
                      <a:pt x="7" y="12"/>
                      <a:pt x="7" y="12"/>
                    </a:cubicBezTo>
                    <a:cubicBezTo>
                      <a:pt x="3" y="12"/>
                      <a:pt x="3" y="11"/>
                      <a:pt x="1" y="9"/>
                    </a:cubicBezTo>
                    <a:cubicBezTo>
                      <a:pt x="2" y="11"/>
                      <a:pt x="1" y="11"/>
                      <a:pt x="0" y="13"/>
                    </a:cubicBezTo>
                    <a:cubicBezTo>
                      <a:pt x="0" y="15"/>
                      <a:pt x="1" y="15"/>
                      <a:pt x="0" y="16"/>
                    </a:cubicBezTo>
                    <a:cubicBezTo>
                      <a:pt x="0" y="16"/>
                      <a:pt x="0" y="18"/>
                      <a:pt x="0" y="19"/>
                    </a:cubicBezTo>
                    <a:cubicBezTo>
                      <a:pt x="0" y="19"/>
                      <a:pt x="1" y="19"/>
                      <a:pt x="1" y="19"/>
                    </a:cubicBezTo>
                    <a:cubicBezTo>
                      <a:pt x="2" y="19"/>
                      <a:pt x="3" y="19"/>
                      <a:pt x="4" y="19"/>
                    </a:cubicBezTo>
                    <a:cubicBezTo>
                      <a:pt x="4" y="20"/>
                      <a:pt x="6" y="24"/>
                      <a:pt x="6" y="24"/>
                    </a:cubicBezTo>
                    <a:cubicBezTo>
                      <a:pt x="8" y="28"/>
                      <a:pt x="7" y="29"/>
                      <a:pt x="6" y="33"/>
                    </a:cubicBezTo>
                    <a:cubicBezTo>
                      <a:pt x="6" y="34"/>
                      <a:pt x="6" y="34"/>
                      <a:pt x="6" y="35"/>
                    </a:cubicBezTo>
                    <a:cubicBezTo>
                      <a:pt x="6" y="38"/>
                      <a:pt x="8" y="41"/>
                      <a:pt x="9" y="44"/>
                    </a:cubicBezTo>
                    <a:cubicBezTo>
                      <a:pt x="9" y="43"/>
                      <a:pt x="9" y="43"/>
                      <a:pt x="9" y="43"/>
                    </a:cubicBezTo>
                    <a:cubicBezTo>
                      <a:pt x="9" y="43"/>
                      <a:pt x="8" y="44"/>
                      <a:pt x="8" y="45"/>
                    </a:cubicBezTo>
                    <a:cubicBezTo>
                      <a:pt x="7" y="46"/>
                      <a:pt x="7" y="48"/>
                      <a:pt x="7" y="48"/>
                    </a:cubicBezTo>
                    <a:cubicBezTo>
                      <a:pt x="7" y="48"/>
                      <a:pt x="7" y="48"/>
                      <a:pt x="7" y="48"/>
                    </a:cubicBezTo>
                    <a:cubicBezTo>
                      <a:pt x="7" y="48"/>
                      <a:pt x="6" y="49"/>
                      <a:pt x="6" y="49"/>
                    </a:cubicBezTo>
                    <a:cubicBezTo>
                      <a:pt x="5" y="53"/>
                      <a:pt x="5" y="56"/>
                      <a:pt x="5" y="60"/>
                    </a:cubicBezTo>
                    <a:cubicBezTo>
                      <a:pt x="5" y="60"/>
                      <a:pt x="5" y="60"/>
                      <a:pt x="5" y="61"/>
                    </a:cubicBezTo>
                    <a:cubicBezTo>
                      <a:pt x="9" y="61"/>
                      <a:pt x="9" y="63"/>
                      <a:pt x="12" y="66"/>
                    </a:cubicBezTo>
                    <a:cubicBezTo>
                      <a:pt x="12" y="66"/>
                      <a:pt x="12" y="67"/>
                      <a:pt x="13" y="67"/>
                    </a:cubicBezTo>
                    <a:cubicBezTo>
                      <a:pt x="15" y="67"/>
                      <a:pt x="17" y="66"/>
                      <a:pt x="17" y="66"/>
                    </a:cubicBezTo>
                    <a:cubicBezTo>
                      <a:pt x="20" y="64"/>
                      <a:pt x="20" y="59"/>
                      <a:pt x="22" y="57"/>
                    </a:cubicBezTo>
                    <a:cubicBezTo>
                      <a:pt x="22" y="57"/>
                      <a:pt x="23" y="58"/>
                      <a:pt x="23" y="58"/>
                    </a:cubicBezTo>
                    <a:cubicBezTo>
                      <a:pt x="23" y="58"/>
                      <a:pt x="23" y="58"/>
                      <a:pt x="24" y="58"/>
                    </a:cubicBezTo>
                    <a:cubicBezTo>
                      <a:pt x="24" y="58"/>
                      <a:pt x="24" y="57"/>
                      <a:pt x="25" y="57"/>
                    </a:cubicBezTo>
                    <a:cubicBezTo>
                      <a:pt x="25" y="57"/>
                      <a:pt x="26" y="57"/>
                      <a:pt x="26" y="57"/>
                    </a:cubicBezTo>
                    <a:cubicBezTo>
                      <a:pt x="26" y="57"/>
                      <a:pt x="26" y="57"/>
                      <a:pt x="26" y="57"/>
                    </a:cubicBezTo>
                    <a:cubicBezTo>
                      <a:pt x="27" y="57"/>
                      <a:pt x="28" y="58"/>
                      <a:pt x="28" y="58"/>
                    </a:cubicBezTo>
                    <a:cubicBezTo>
                      <a:pt x="29" y="58"/>
                      <a:pt x="32" y="59"/>
                      <a:pt x="32" y="60"/>
                    </a:cubicBezTo>
                    <a:cubicBezTo>
                      <a:pt x="36" y="48"/>
                      <a:pt x="36" y="35"/>
                      <a:pt x="39" y="23"/>
                    </a:cubicBezTo>
                    <a:cubicBezTo>
                      <a:pt x="39" y="21"/>
                      <a:pt x="39" y="21"/>
                      <a:pt x="38" y="18"/>
                    </a:cubicBezTo>
                    <a:cubicBezTo>
                      <a:pt x="38" y="16"/>
                      <a:pt x="37" y="13"/>
                      <a:pt x="36" y="11"/>
                    </a:cubicBezTo>
                    <a:cubicBezTo>
                      <a:pt x="35" y="11"/>
                      <a:pt x="32" y="11"/>
                      <a:pt x="32" y="9"/>
                    </a:cubicBezTo>
                    <a:cubicBezTo>
                      <a:pt x="31" y="8"/>
                      <a:pt x="33" y="5"/>
                      <a:pt x="32" y="3"/>
                    </a:cubicBezTo>
                    <a:cubicBezTo>
                      <a:pt x="32" y="3"/>
                      <a:pt x="32" y="3"/>
                      <a:pt x="32" y="3"/>
                    </a:cubicBezTo>
                    <a:cubicBezTo>
                      <a:pt x="30" y="3"/>
                      <a:pt x="27" y="1"/>
                      <a:pt x="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1" name="Freeform 40">
                <a:extLst>
                  <a:ext uri="{FF2B5EF4-FFF2-40B4-BE49-F238E27FC236}">
                    <a16:creationId xmlns:a16="http://schemas.microsoft.com/office/drawing/2014/main" id="{5B9178E7-E622-4D76-88B1-317C872DB74B}"/>
                  </a:ext>
                </a:extLst>
              </p:cNvPr>
              <p:cNvSpPr>
                <a:spLocks/>
              </p:cNvSpPr>
              <p:nvPr/>
            </p:nvSpPr>
            <p:spPr bwMode="auto">
              <a:xfrm>
                <a:off x="4325" y="609"/>
                <a:ext cx="5" cy="4"/>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1" y="1"/>
                      <a:pt x="1" y="2"/>
                      <a:pt x="2" y="2"/>
                    </a:cubicBezTo>
                    <a:cubicBezTo>
                      <a:pt x="1"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2" name="Freeform 41">
                <a:extLst>
                  <a:ext uri="{FF2B5EF4-FFF2-40B4-BE49-F238E27FC236}">
                    <a16:creationId xmlns:a16="http://schemas.microsoft.com/office/drawing/2014/main" id="{C22670A8-3DE5-44D0-A5AA-F52C608835EE}"/>
                  </a:ext>
                </a:extLst>
              </p:cNvPr>
              <p:cNvSpPr>
                <a:spLocks/>
              </p:cNvSpPr>
              <p:nvPr/>
            </p:nvSpPr>
            <p:spPr bwMode="auto">
              <a:xfrm>
                <a:off x="4223" y="214"/>
                <a:ext cx="19" cy="9"/>
              </a:xfrm>
              <a:custGeom>
                <a:avLst/>
                <a:gdLst>
                  <a:gd name="T0" fmla="*/ 7 w 8"/>
                  <a:gd name="T1" fmla="*/ 0 h 4"/>
                  <a:gd name="T2" fmla="*/ 4 w 8"/>
                  <a:gd name="T3" fmla="*/ 1 h 4"/>
                  <a:gd name="T4" fmla="*/ 2 w 8"/>
                  <a:gd name="T5" fmla="*/ 1 h 4"/>
                  <a:gd name="T6" fmla="*/ 0 w 8"/>
                  <a:gd name="T7" fmla="*/ 2 h 4"/>
                  <a:gd name="T8" fmla="*/ 7 w 8"/>
                  <a:gd name="T9" fmla="*/ 4 h 4"/>
                  <a:gd name="T10" fmla="*/ 7 w 8"/>
                  <a:gd name="T11" fmla="*/ 0 h 4"/>
                </a:gdLst>
                <a:ahLst/>
                <a:cxnLst>
                  <a:cxn ang="0">
                    <a:pos x="T0" y="T1"/>
                  </a:cxn>
                  <a:cxn ang="0">
                    <a:pos x="T2" y="T3"/>
                  </a:cxn>
                  <a:cxn ang="0">
                    <a:pos x="T4" y="T5"/>
                  </a:cxn>
                  <a:cxn ang="0">
                    <a:pos x="T6" y="T7"/>
                  </a:cxn>
                  <a:cxn ang="0">
                    <a:pos x="T8" y="T9"/>
                  </a:cxn>
                  <a:cxn ang="0">
                    <a:pos x="T10" y="T11"/>
                  </a:cxn>
                </a:cxnLst>
                <a:rect l="0" t="0" r="r" b="b"/>
                <a:pathLst>
                  <a:path w="8" h="4">
                    <a:moveTo>
                      <a:pt x="7" y="0"/>
                    </a:moveTo>
                    <a:cubicBezTo>
                      <a:pt x="6" y="0"/>
                      <a:pt x="5" y="1"/>
                      <a:pt x="4" y="1"/>
                    </a:cubicBezTo>
                    <a:cubicBezTo>
                      <a:pt x="2" y="1"/>
                      <a:pt x="2" y="1"/>
                      <a:pt x="2" y="1"/>
                    </a:cubicBezTo>
                    <a:cubicBezTo>
                      <a:pt x="1" y="1"/>
                      <a:pt x="1" y="1"/>
                      <a:pt x="0" y="2"/>
                    </a:cubicBezTo>
                    <a:cubicBezTo>
                      <a:pt x="2" y="3"/>
                      <a:pt x="5" y="3"/>
                      <a:pt x="7" y="4"/>
                    </a:cubicBezTo>
                    <a:cubicBezTo>
                      <a:pt x="8" y="1"/>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3" name="Freeform 42">
                <a:extLst>
                  <a:ext uri="{FF2B5EF4-FFF2-40B4-BE49-F238E27FC236}">
                    <a16:creationId xmlns:a16="http://schemas.microsoft.com/office/drawing/2014/main" id="{2507FAC1-EAE0-4F17-8E34-D9C642B12BD4}"/>
                  </a:ext>
                </a:extLst>
              </p:cNvPr>
              <p:cNvSpPr>
                <a:spLocks/>
              </p:cNvSpPr>
              <p:nvPr/>
            </p:nvSpPr>
            <p:spPr bwMode="auto">
              <a:xfrm>
                <a:off x="4351" y="517"/>
                <a:ext cx="182" cy="101"/>
              </a:xfrm>
              <a:custGeom>
                <a:avLst/>
                <a:gdLst>
                  <a:gd name="T0" fmla="*/ 77 w 77"/>
                  <a:gd name="T1" fmla="*/ 0 h 43"/>
                  <a:gd name="T2" fmla="*/ 58 w 77"/>
                  <a:gd name="T3" fmla="*/ 4 h 43"/>
                  <a:gd name="T4" fmla="*/ 43 w 77"/>
                  <a:gd name="T5" fmla="*/ 7 h 43"/>
                  <a:gd name="T6" fmla="*/ 42 w 77"/>
                  <a:gd name="T7" fmla="*/ 7 h 43"/>
                  <a:gd name="T8" fmla="*/ 24 w 77"/>
                  <a:gd name="T9" fmla="*/ 4 h 43"/>
                  <a:gd name="T10" fmla="*/ 22 w 77"/>
                  <a:gd name="T11" fmla="*/ 2 h 43"/>
                  <a:gd name="T12" fmla="*/ 21 w 77"/>
                  <a:gd name="T13" fmla="*/ 2 h 43"/>
                  <a:gd name="T14" fmla="*/ 17 w 77"/>
                  <a:gd name="T15" fmla="*/ 4 h 43"/>
                  <a:gd name="T16" fmla="*/ 12 w 77"/>
                  <a:gd name="T17" fmla="*/ 6 h 43"/>
                  <a:gd name="T18" fmla="*/ 11 w 77"/>
                  <a:gd name="T19" fmla="*/ 5 h 43"/>
                  <a:gd name="T20" fmla="*/ 9 w 77"/>
                  <a:gd name="T21" fmla="*/ 3 h 43"/>
                  <a:gd name="T22" fmla="*/ 8 w 77"/>
                  <a:gd name="T23" fmla="*/ 3 h 43"/>
                  <a:gd name="T24" fmla="*/ 6 w 77"/>
                  <a:gd name="T25" fmla="*/ 5 h 43"/>
                  <a:gd name="T26" fmla="*/ 1 w 77"/>
                  <a:gd name="T27" fmla="*/ 14 h 43"/>
                  <a:gd name="T28" fmla="*/ 6 w 77"/>
                  <a:gd name="T29" fmla="*/ 19 h 43"/>
                  <a:gd name="T30" fmla="*/ 8 w 77"/>
                  <a:gd name="T31" fmla="*/ 19 h 43"/>
                  <a:gd name="T32" fmla="*/ 11 w 77"/>
                  <a:gd name="T33" fmla="*/ 19 h 43"/>
                  <a:gd name="T34" fmla="*/ 11 w 77"/>
                  <a:gd name="T35" fmla="*/ 19 h 43"/>
                  <a:gd name="T36" fmla="*/ 18 w 77"/>
                  <a:gd name="T37" fmla="*/ 22 h 43"/>
                  <a:gd name="T38" fmla="*/ 39 w 77"/>
                  <a:gd name="T39" fmla="*/ 31 h 43"/>
                  <a:gd name="T40" fmla="*/ 47 w 77"/>
                  <a:gd name="T41" fmla="*/ 37 h 43"/>
                  <a:gd name="T42" fmla="*/ 49 w 77"/>
                  <a:gd name="T43" fmla="*/ 40 h 43"/>
                  <a:gd name="T44" fmla="*/ 64 w 77"/>
                  <a:gd name="T45" fmla="*/ 43 h 43"/>
                  <a:gd name="T46" fmla="*/ 69 w 77"/>
                  <a:gd name="T47" fmla="*/ 34 h 43"/>
                  <a:gd name="T48" fmla="*/ 69 w 77"/>
                  <a:gd name="T49" fmla="*/ 34 h 43"/>
                  <a:gd name="T50" fmla="*/ 64 w 77"/>
                  <a:gd name="T51" fmla="*/ 25 h 43"/>
                  <a:gd name="T52" fmla="*/ 66 w 77"/>
                  <a:gd name="T53" fmla="*/ 16 h 43"/>
                  <a:gd name="T54" fmla="*/ 77 w 77"/>
                  <a:gd name="T5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7" h="43">
                    <a:moveTo>
                      <a:pt x="77" y="0"/>
                    </a:moveTo>
                    <a:cubicBezTo>
                      <a:pt x="70" y="1"/>
                      <a:pt x="64" y="2"/>
                      <a:pt x="58" y="4"/>
                    </a:cubicBezTo>
                    <a:cubicBezTo>
                      <a:pt x="54" y="4"/>
                      <a:pt x="48" y="7"/>
                      <a:pt x="43" y="7"/>
                    </a:cubicBezTo>
                    <a:cubicBezTo>
                      <a:pt x="43" y="7"/>
                      <a:pt x="42" y="7"/>
                      <a:pt x="42" y="7"/>
                    </a:cubicBezTo>
                    <a:cubicBezTo>
                      <a:pt x="36" y="6"/>
                      <a:pt x="30" y="5"/>
                      <a:pt x="24" y="4"/>
                    </a:cubicBezTo>
                    <a:cubicBezTo>
                      <a:pt x="23" y="3"/>
                      <a:pt x="23" y="2"/>
                      <a:pt x="22" y="2"/>
                    </a:cubicBezTo>
                    <a:cubicBezTo>
                      <a:pt x="22" y="2"/>
                      <a:pt x="22" y="2"/>
                      <a:pt x="21" y="2"/>
                    </a:cubicBezTo>
                    <a:cubicBezTo>
                      <a:pt x="20" y="2"/>
                      <a:pt x="19" y="3"/>
                      <a:pt x="17" y="4"/>
                    </a:cubicBezTo>
                    <a:cubicBezTo>
                      <a:pt x="16" y="5"/>
                      <a:pt x="14" y="6"/>
                      <a:pt x="12" y="6"/>
                    </a:cubicBezTo>
                    <a:cubicBezTo>
                      <a:pt x="12" y="6"/>
                      <a:pt x="11" y="5"/>
                      <a:pt x="11" y="5"/>
                    </a:cubicBezTo>
                    <a:cubicBezTo>
                      <a:pt x="9" y="5"/>
                      <a:pt x="10" y="4"/>
                      <a:pt x="9" y="3"/>
                    </a:cubicBezTo>
                    <a:cubicBezTo>
                      <a:pt x="8" y="3"/>
                      <a:pt x="8" y="3"/>
                      <a:pt x="8" y="3"/>
                    </a:cubicBezTo>
                    <a:cubicBezTo>
                      <a:pt x="7" y="3"/>
                      <a:pt x="7" y="3"/>
                      <a:pt x="6" y="5"/>
                    </a:cubicBezTo>
                    <a:cubicBezTo>
                      <a:pt x="5" y="6"/>
                      <a:pt x="0" y="12"/>
                      <a:pt x="1" y="14"/>
                    </a:cubicBezTo>
                    <a:cubicBezTo>
                      <a:pt x="2" y="15"/>
                      <a:pt x="4" y="18"/>
                      <a:pt x="6" y="19"/>
                    </a:cubicBezTo>
                    <a:cubicBezTo>
                      <a:pt x="6" y="19"/>
                      <a:pt x="7" y="19"/>
                      <a:pt x="8" y="19"/>
                    </a:cubicBezTo>
                    <a:cubicBezTo>
                      <a:pt x="9" y="19"/>
                      <a:pt x="10" y="19"/>
                      <a:pt x="11" y="19"/>
                    </a:cubicBezTo>
                    <a:cubicBezTo>
                      <a:pt x="11" y="19"/>
                      <a:pt x="11" y="19"/>
                      <a:pt x="11" y="19"/>
                    </a:cubicBezTo>
                    <a:cubicBezTo>
                      <a:pt x="13" y="19"/>
                      <a:pt x="16" y="21"/>
                      <a:pt x="18" y="22"/>
                    </a:cubicBezTo>
                    <a:cubicBezTo>
                      <a:pt x="25" y="25"/>
                      <a:pt x="32" y="28"/>
                      <a:pt x="39" y="31"/>
                    </a:cubicBezTo>
                    <a:cubicBezTo>
                      <a:pt x="42" y="33"/>
                      <a:pt x="45" y="34"/>
                      <a:pt x="47" y="37"/>
                    </a:cubicBezTo>
                    <a:cubicBezTo>
                      <a:pt x="48" y="38"/>
                      <a:pt x="48" y="39"/>
                      <a:pt x="49" y="40"/>
                    </a:cubicBezTo>
                    <a:cubicBezTo>
                      <a:pt x="52" y="42"/>
                      <a:pt x="60" y="42"/>
                      <a:pt x="64" y="43"/>
                    </a:cubicBezTo>
                    <a:cubicBezTo>
                      <a:pt x="65" y="41"/>
                      <a:pt x="66" y="34"/>
                      <a:pt x="69" y="34"/>
                    </a:cubicBezTo>
                    <a:cubicBezTo>
                      <a:pt x="69" y="34"/>
                      <a:pt x="69" y="34"/>
                      <a:pt x="69" y="34"/>
                    </a:cubicBezTo>
                    <a:cubicBezTo>
                      <a:pt x="68" y="31"/>
                      <a:pt x="66" y="28"/>
                      <a:pt x="64" y="25"/>
                    </a:cubicBezTo>
                    <a:cubicBezTo>
                      <a:pt x="63" y="23"/>
                      <a:pt x="65" y="18"/>
                      <a:pt x="66" y="16"/>
                    </a:cubicBezTo>
                    <a:cubicBezTo>
                      <a:pt x="68" y="10"/>
                      <a:pt x="73" y="5"/>
                      <a:pt x="7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4" name="Freeform 43">
                <a:extLst>
                  <a:ext uri="{FF2B5EF4-FFF2-40B4-BE49-F238E27FC236}">
                    <a16:creationId xmlns:a16="http://schemas.microsoft.com/office/drawing/2014/main" id="{64546DD5-D986-4EE9-A6FF-213D4D79504E}"/>
                  </a:ext>
                </a:extLst>
              </p:cNvPr>
              <p:cNvSpPr>
                <a:spLocks/>
              </p:cNvSpPr>
              <p:nvPr/>
            </p:nvSpPr>
            <p:spPr bwMode="auto">
              <a:xfrm>
                <a:off x="4457" y="56"/>
                <a:ext cx="10" cy="40"/>
              </a:xfrm>
              <a:custGeom>
                <a:avLst/>
                <a:gdLst>
                  <a:gd name="T0" fmla="*/ 0 w 4"/>
                  <a:gd name="T1" fmla="*/ 0 h 17"/>
                  <a:gd name="T2" fmla="*/ 4 w 4"/>
                  <a:gd name="T3" fmla="*/ 17 h 17"/>
                  <a:gd name="T4" fmla="*/ 3 w 4"/>
                  <a:gd name="T5" fmla="*/ 10 h 17"/>
                  <a:gd name="T6" fmla="*/ 4 w 4"/>
                  <a:gd name="T7" fmla="*/ 6 h 17"/>
                  <a:gd name="T8" fmla="*/ 1 w 4"/>
                  <a:gd name="T9" fmla="*/ 4 h 17"/>
                  <a:gd name="T10" fmla="*/ 0 w 4"/>
                  <a:gd name="T11" fmla="*/ 0 h 17"/>
                </a:gdLst>
                <a:ahLst/>
                <a:cxnLst>
                  <a:cxn ang="0">
                    <a:pos x="T0" y="T1"/>
                  </a:cxn>
                  <a:cxn ang="0">
                    <a:pos x="T2" y="T3"/>
                  </a:cxn>
                  <a:cxn ang="0">
                    <a:pos x="T4" y="T5"/>
                  </a:cxn>
                  <a:cxn ang="0">
                    <a:pos x="T6" y="T7"/>
                  </a:cxn>
                  <a:cxn ang="0">
                    <a:pos x="T8" y="T9"/>
                  </a:cxn>
                  <a:cxn ang="0">
                    <a:pos x="T10" y="T11"/>
                  </a:cxn>
                </a:cxnLst>
                <a:rect l="0" t="0" r="r" b="b"/>
                <a:pathLst>
                  <a:path w="4" h="17">
                    <a:moveTo>
                      <a:pt x="0" y="0"/>
                    </a:moveTo>
                    <a:cubicBezTo>
                      <a:pt x="1" y="6"/>
                      <a:pt x="3" y="11"/>
                      <a:pt x="4" y="17"/>
                    </a:cubicBezTo>
                    <a:cubicBezTo>
                      <a:pt x="4" y="14"/>
                      <a:pt x="4" y="12"/>
                      <a:pt x="3" y="10"/>
                    </a:cubicBezTo>
                    <a:cubicBezTo>
                      <a:pt x="3" y="10"/>
                      <a:pt x="4" y="7"/>
                      <a:pt x="4" y="6"/>
                    </a:cubicBezTo>
                    <a:cubicBezTo>
                      <a:pt x="4" y="6"/>
                      <a:pt x="2" y="5"/>
                      <a:pt x="1" y="4"/>
                    </a:cubicBezTo>
                    <a:cubicBezTo>
                      <a:pt x="1"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5" name="Freeform 44">
                <a:extLst>
                  <a:ext uri="{FF2B5EF4-FFF2-40B4-BE49-F238E27FC236}">
                    <a16:creationId xmlns:a16="http://schemas.microsoft.com/office/drawing/2014/main" id="{96F2FF8D-2611-4BFB-8AC5-4B61757D7B58}"/>
                  </a:ext>
                </a:extLst>
              </p:cNvPr>
              <p:cNvSpPr>
                <a:spLocks/>
              </p:cNvSpPr>
              <p:nvPr/>
            </p:nvSpPr>
            <p:spPr bwMode="auto">
              <a:xfrm>
                <a:off x="4594" y="207"/>
                <a:ext cx="22" cy="5"/>
              </a:xfrm>
              <a:custGeom>
                <a:avLst/>
                <a:gdLst>
                  <a:gd name="T0" fmla="*/ 0 w 9"/>
                  <a:gd name="T1" fmla="*/ 0 h 2"/>
                  <a:gd name="T2" fmla="*/ 2 w 9"/>
                  <a:gd name="T3" fmla="*/ 2 h 2"/>
                  <a:gd name="T4" fmla="*/ 5 w 9"/>
                  <a:gd name="T5" fmla="*/ 1 h 2"/>
                  <a:gd name="T6" fmla="*/ 6 w 9"/>
                  <a:gd name="T7" fmla="*/ 1 h 2"/>
                  <a:gd name="T8" fmla="*/ 8 w 9"/>
                  <a:gd name="T9" fmla="*/ 1 h 2"/>
                  <a:gd name="T10" fmla="*/ 9 w 9"/>
                  <a:gd name="T11" fmla="*/ 1 h 2"/>
                  <a:gd name="T12" fmla="*/ 0 w 9"/>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0" y="0"/>
                    </a:moveTo>
                    <a:cubicBezTo>
                      <a:pt x="1" y="0"/>
                      <a:pt x="1" y="1"/>
                      <a:pt x="2" y="2"/>
                    </a:cubicBezTo>
                    <a:cubicBezTo>
                      <a:pt x="3" y="1"/>
                      <a:pt x="4" y="1"/>
                      <a:pt x="5" y="1"/>
                    </a:cubicBezTo>
                    <a:cubicBezTo>
                      <a:pt x="5" y="1"/>
                      <a:pt x="6" y="1"/>
                      <a:pt x="6" y="1"/>
                    </a:cubicBezTo>
                    <a:cubicBezTo>
                      <a:pt x="7" y="1"/>
                      <a:pt x="7" y="1"/>
                      <a:pt x="8" y="1"/>
                    </a:cubicBezTo>
                    <a:cubicBezTo>
                      <a:pt x="8" y="1"/>
                      <a:pt x="9" y="1"/>
                      <a:pt x="9" y="1"/>
                    </a:cubicBezTo>
                    <a:cubicBezTo>
                      <a:pt x="6" y="1"/>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6" name="Freeform 45">
                <a:extLst>
                  <a:ext uri="{FF2B5EF4-FFF2-40B4-BE49-F238E27FC236}">
                    <a16:creationId xmlns:a16="http://schemas.microsoft.com/office/drawing/2014/main" id="{82AF3F64-A99B-4631-90E8-A143B69D586B}"/>
                  </a:ext>
                </a:extLst>
              </p:cNvPr>
              <p:cNvSpPr>
                <a:spLocks/>
              </p:cNvSpPr>
              <p:nvPr/>
            </p:nvSpPr>
            <p:spPr bwMode="auto">
              <a:xfrm>
                <a:off x="4597" y="221"/>
                <a:ext cx="4" cy="2"/>
              </a:xfrm>
              <a:custGeom>
                <a:avLst/>
                <a:gdLst>
                  <a:gd name="T0" fmla="*/ 0 w 2"/>
                  <a:gd name="T1" fmla="*/ 0 h 1"/>
                  <a:gd name="T2" fmla="*/ 0 w 2"/>
                  <a:gd name="T3" fmla="*/ 0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0" y="0"/>
                      <a:pt x="0" y="0"/>
                      <a:pt x="0" y="0"/>
                    </a:cubicBezTo>
                    <a:cubicBezTo>
                      <a:pt x="1" y="0"/>
                      <a:pt x="1" y="0"/>
                      <a:pt x="2" y="1"/>
                    </a:cubicBezTo>
                    <a:cubicBezTo>
                      <a:pt x="1"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7" name="Freeform 46">
                <a:extLst>
                  <a:ext uri="{FF2B5EF4-FFF2-40B4-BE49-F238E27FC236}">
                    <a16:creationId xmlns:a16="http://schemas.microsoft.com/office/drawing/2014/main" id="{89925F4B-60E8-4703-95D5-EA7BF616DFB1}"/>
                  </a:ext>
                </a:extLst>
              </p:cNvPr>
              <p:cNvSpPr>
                <a:spLocks/>
              </p:cNvSpPr>
              <p:nvPr/>
            </p:nvSpPr>
            <p:spPr bwMode="auto">
              <a:xfrm>
                <a:off x="4575" y="179"/>
                <a:ext cx="29" cy="7"/>
              </a:xfrm>
              <a:custGeom>
                <a:avLst/>
                <a:gdLst>
                  <a:gd name="T0" fmla="*/ 1 w 12"/>
                  <a:gd name="T1" fmla="*/ 0 h 3"/>
                  <a:gd name="T2" fmla="*/ 0 w 12"/>
                  <a:gd name="T3" fmla="*/ 0 h 3"/>
                  <a:gd name="T4" fmla="*/ 6 w 12"/>
                  <a:gd name="T5" fmla="*/ 3 h 3"/>
                  <a:gd name="T6" fmla="*/ 5 w 12"/>
                  <a:gd name="T7" fmla="*/ 0 h 3"/>
                  <a:gd name="T8" fmla="*/ 1 w 12"/>
                  <a:gd name="T9" fmla="*/ 0 h 3"/>
                </a:gdLst>
                <a:ahLst/>
                <a:cxnLst>
                  <a:cxn ang="0">
                    <a:pos x="T0" y="T1"/>
                  </a:cxn>
                  <a:cxn ang="0">
                    <a:pos x="T2" y="T3"/>
                  </a:cxn>
                  <a:cxn ang="0">
                    <a:pos x="T4" y="T5"/>
                  </a:cxn>
                  <a:cxn ang="0">
                    <a:pos x="T6" y="T7"/>
                  </a:cxn>
                  <a:cxn ang="0">
                    <a:pos x="T8" y="T9"/>
                  </a:cxn>
                </a:cxnLst>
                <a:rect l="0" t="0" r="r" b="b"/>
                <a:pathLst>
                  <a:path w="12" h="3">
                    <a:moveTo>
                      <a:pt x="1" y="0"/>
                    </a:moveTo>
                    <a:cubicBezTo>
                      <a:pt x="1" y="0"/>
                      <a:pt x="0" y="0"/>
                      <a:pt x="0" y="0"/>
                    </a:cubicBezTo>
                    <a:cubicBezTo>
                      <a:pt x="1" y="2"/>
                      <a:pt x="4" y="3"/>
                      <a:pt x="6" y="3"/>
                    </a:cubicBezTo>
                    <a:cubicBezTo>
                      <a:pt x="11" y="3"/>
                      <a:pt x="12" y="2"/>
                      <a:pt x="5" y="0"/>
                    </a:cubicBezTo>
                    <a:cubicBezTo>
                      <a:pt x="4" y="0"/>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8" name="Freeform 47">
                <a:extLst>
                  <a:ext uri="{FF2B5EF4-FFF2-40B4-BE49-F238E27FC236}">
                    <a16:creationId xmlns:a16="http://schemas.microsoft.com/office/drawing/2014/main" id="{BB4C0DAC-70A1-4638-A170-801AEB148602}"/>
                  </a:ext>
                </a:extLst>
              </p:cNvPr>
              <p:cNvSpPr>
                <a:spLocks/>
              </p:cNvSpPr>
              <p:nvPr/>
            </p:nvSpPr>
            <p:spPr bwMode="auto">
              <a:xfrm>
                <a:off x="4627" y="216"/>
                <a:ext cx="19" cy="7"/>
              </a:xfrm>
              <a:custGeom>
                <a:avLst/>
                <a:gdLst>
                  <a:gd name="T0" fmla="*/ 0 w 8"/>
                  <a:gd name="T1" fmla="*/ 0 h 3"/>
                  <a:gd name="T2" fmla="*/ 8 w 8"/>
                  <a:gd name="T3" fmla="*/ 3 h 3"/>
                  <a:gd name="T4" fmla="*/ 0 w 8"/>
                  <a:gd name="T5" fmla="*/ 0 h 3"/>
                </a:gdLst>
                <a:ahLst/>
                <a:cxnLst>
                  <a:cxn ang="0">
                    <a:pos x="T0" y="T1"/>
                  </a:cxn>
                  <a:cxn ang="0">
                    <a:pos x="T2" y="T3"/>
                  </a:cxn>
                  <a:cxn ang="0">
                    <a:pos x="T4" y="T5"/>
                  </a:cxn>
                </a:cxnLst>
                <a:rect l="0" t="0" r="r" b="b"/>
                <a:pathLst>
                  <a:path w="8" h="3">
                    <a:moveTo>
                      <a:pt x="0" y="0"/>
                    </a:moveTo>
                    <a:cubicBezTo>
                      <a:pt x="2" y="2"/>
                      <a:pt x="6" y="3"/>
                      <a:pt x="8" y="3"/>
                    </a:cubicBezTo>
                    <a:cubicBezTo>
                      <a:pt x="5" y="2"/>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9" name="Freeform 48">
                <a:extLst>
                  <a:ext uri="{FF2B5EF4-FFF2-40B4-BE49-F238E27FC236}">
                    <a16:creationId xmlns:a16="http://schemas.microsoft.com/office/drawing/2014/main" id="{66DFA83A-098E-4C49-B8C8-6D438F4EA359}"/>
                  </a:ext>
                </a:extLst>
              </p:cNvPr>
              <p:cNvSpPr>
                <a:spLocks/>
              </p:cNvSpPr>
              <p:nvPr/>
            </p:nvSpPr>
            <p:spPr bwMode="auto">
              <a:xfrm>
                <a:off x="4554" y="197"/>
                <a:ext cx="7" cy="5"/>
              </a:xfrm>
              <a:custGeom>
                <a:avLst/>
                <a:gdLst>
                  <a:gd name="T0" fmla="*/ 2 w 3"/>
                  <a:gd name="T1" fmla="*/ 0 h 2"/>
                  <a:gd name="T2" fmla="*/ 0 w 3"/>
                  <a:gd name="T3" fmla="*/ 1 h 2"/>
                  <a:gd name="T4" fmla="*/ 1 w 3"/>
                  <a:gd name="T5" fmla="*/ 2 h 2"/>
                  <a:gd name="T6" fmla="*/ 3 w 3"/>
                  <a:gd name="T7" fmla="*/ 0 h 2"/>
                  <a:gd name="T8" fmla="*/ 2 w 3"/>
                  <a:gd name="T9" fmla="*/ 0 h 2"/>
                </a:gdLst>
                <a:ahLst/>
                <a:cxnLst>
                  <a:cxn ang="0">
                    <a:pos x="T0" y="T1"/>
                  </a:cxn>
                  <a:cxn ang="0">
                    <a:pos x="T2" y="T3"/>
                  </a:cxn>
                  <a:cxn ang="0">
                    <a:pos x="T4" y="T5"/>
                  </a:cxn>
                  <a:cxn ang="0">
                    <a:pos x="T6" y="T7"/>
                  </a:cxn>
                  <a:cxn ang="0">
                    <a:pos x="T8" y="T9"/>
                  </a:cxn>
                </a:cxnLst>
                <a:rect l="0" t="0" r="r" b="b"/>
                <a:pathLst>
                  <a:path w="3" h="2">
                    <a:moveTo>
                      <a:pt x="2" y="0"/>
                    </a:moveTo>
                    <a:cubicBezTo>
                      <a:pt x="1" y="0"/>
                      <a:pt x="1" y="1"/>
                      <a:pt x="0" y="1"/>
                    </a:cubicBezTo>
                    <a:cubicBezTo>
                      <a:pt x="0" y="2"/>
                      <a:pt x="0" y="2"/>
                      <a:pt x="1" y="2"/>
                    </a:cubicBezTo>
                    <a:cubicBezTo>
                      <a:pt x="1" y="2"/>
                      <a:pt x="2" y="2"/>
                      <a:pt x="3"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0" name="Freeform 49">
                <a:extLst>
                  <a:ext uri="{FF2B5EF4-FFF2-40B4-BE49-F238E27FC236}">
                    <a16:creationId xmlns:a16="http://schemas.microsoft.com/office/drawing/2014/main" id="{6E81D131-8DCD-4206-840E-3B9EBABF03E7}"/>
                  </a:ext>
                </a:extLst>
              </p:cNvPr>
              <p:cNvSpPr>
                <a:spLocks/>
              </p:cNvSpPr>
              <p:nvPr/>
            </p:nvSpPr>
            <p:spPr bwMode="auto">
              <a:xfrm>
                <a:off x="4500" y="138"/>
                <a:ext cx="7" cy="7"/>
              </a:xfrm>
              <a:custGeom>
                <a:avLst/>
                <a:gdLst>
                  <a:gd name="T0" fmla="*/ 0 w 3"/>
                  <a:gd name="T1" fmla="*/ 0 h 3"/>
                  <a:gd name="T2" fmla="*/ 3 w 3"/>
                  <a:gd name="T3" fmla="*/ 3 h 3"/>
                  <a:gd name="T4" fmla="*/ 0 w 3"/>
                  <a:gd name="T5" fmla="*/ 0 h 3"/>
                </a:gdLst>
                <a:ahLst/>
                <a:cxnLst>
                  <a:cxn ang="0">
                    <a:pos x="T0" y="T1"/>
                  </a:cxn>
                  <a:cxn ang="0">
                    <a:pos x="T2" y="T3"/>
                  </a:cxn>
                  <a:cxn ang="0">
                    <a:pos x="T4" y="T5"/>
                  </a:cxn>
                </a:cxnLst>
                <a:rect l="0" t="0" r="r" b="b"/>
                <a:pathLst>
                  <a:path w="3" h="3">
                    <a:moveTo>
                      <a:pt x="0" y="0"/>
                    </a:moveTo>
                    <a:cubicBezTo>
                      <a:pt x="0" y="1"/>
                      <a:pt x="2" y="2"/>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1" name="Freeform 50">
                <a:extLst>
                  <a:ext uri="{FF2B5EF4-FFF2-40B4-BE49-F238E27FC236}">
                    <a16:creationId xmlns:a16="http://schemas.microsoft.com/office/drawing/2014/main" id="{5B70D9B9-5DCE-4C95-8134-7035ACA82564}"/>
                  </a:ext>
                </a:extLst>
              </p:cNvPr>
              <p:cNvSpPr>
                <a:spLocks/>
              </p:cNvSpPr>
              <p:nvPr/>
            </p:nvSpPr>
            <p:spPr bwMode="auto">
              <a:xfrm>
                <a:off x="4488" y="127"/>
                <a:ext cx="12" cy="11"/>
              </a:xfrm>
              <a:custGeom>
                <a:avLst/>
                <a:gdLst>
                  <a:gd name="T0" fmla="*/ 0 w 5"/>
                  <a:gd name="T1" fmla="*/ 0 h 5"/>
                  <a:gd name="T2" fmla="*/ 5 w 5"/>
                  <a:gd name="T3" fmla="*/ 5 h 5"/>
                  <a:gd name="T4" fmla="*/ 0 w 5"/>
                  <a:gd name="T5" fmla="*/ 0 h 5"/>
                </a:gdLst>
                <a:ahLst/>
                <a:cxnLst>
                  <a:cxn ang="0">
                    <a:pos x="T0" y="T1"/>
                  </a:cxn>
                  <a:cxn ang="0">
                    <a:pos x="T2" y="T3"/>
                  </a:cxn>
                  <a:cxn ang="0">
                    <a:pos x="T4" y="T5"/>
                  </a:cxn>
                </a:cxnLst>
                <a:rect l="0" t="0" r="r" b="b"/>
                <a:pathLst>
                  <a:path w="5" h="5">
                    <a:moveTo>
                      <a:pt x="0" y="0"/>
                    </a:moveTo>
                    <a:cubicBezTo>
                      <a:pt x="2" y="2"/>
                      <a:pt x="3" y="4"/>
                      <a:pt x="5" y="5"/>
                    </a:cubicBezTo>
                    <a:cubicBezTo>
                      <a:pt x="4" y="4"/>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2" name="Freeform 51">
                <a:extLst>
                  <a:ext uri="{FF2B5EF4-FFF2-40B4-BE49-F238E27FC236}">
                    <a16:creationId xmlns:a16="http://schemas.microsoft.com/office/drawing/2014/main" id="{990BC22C-CBBC-4EAD-B6CC-D3B39FCC05EA}"/>
                  </a:ext>
                </a:extLst>
              </p:cNvPr>
              <p:cNvSpPr>
                <a:spLocks/>
              </p:cNvSpPr>
              <p:nvPr/>
            </p:nvSpPr>
            <p:spPr bwMode="auto">
              <a:xfrm>
                <a:off x="4481" y="89"/>
                <a:ext cx="26" cy="28"/>
              </a:xfrm>
              <a:custGeom>
                <a:avLst/>
                <a:gdLst>
                  <a:gd name="T0" fmla="*/ 0 w 11"/>
                  <a:gd name="T1" fmla="*/ 0 h 12"/>
                  <a:gd name="T2" fmla="*/ 10 w 11"/>
                  <a:gd name="T3" fmla="*/ 12 h 12"/>
                  <a:gd name="T4" fmla="*/ 4 w 11"/>
                  <a:gd name="T5" fmla="*/ 5 h 12"/>
                  <a:gd name="T6" fmla="*/ 4 w 11"/>
                  <a:gd name="T7" fmla="*/ 3 h 12"/>
                  <a:gd name="T8" fmla="*/ 3 w 11"/>
                  <a:gd name="T9" fmla="*/ 3 h 12"/>
                  <a:gd name="T10" fmla="*/ 0 w 11"/>
                  <a:gd name="T11" fmla="*/ 0 h 12"/>
                </a:gdLst>
                <a:ahLst/>
                <a:cxnLst>
                  <a:cxn ang="0">
                    <a:pos x="T0" y="T1"/>
                  </a:cxn>
                  <a:cxn ang="0">
                    <a:pos x="T2" y="T3"/>
                  </a:cxn>
                  <a:cxn ang="0">
                    <a:pos x="T4" y="T5"/>
                  </a:cxn>
                  <a:cxn ang="0">
                    <a:pos x="T6" y="T7"/>
                  </a:cxn>
                  <a:cxn ang="0">
                    <a:pos x="T8" y="T9"/>
                  </a:cxn>
                  <a:cxn ang="0">
                    <a:pos x="T10" y="T11"/>
                  </a:cxn>
                </a:cxnLst>
                <a:rect l="0" t="0" r="r" b="b"/>
                <a:pathLst>
                  <a:path w="11" h="12">
                    <a:moveTo>
                      <a:pt x="0" y="0"/>
                    </a:moveTo>
                    <a:cubicBezTo>
                      <a:pt x="3" y="4"/>
                      <a:pt x="7" y="8"/>
                      <a:pt x="10" y="12"/>
                    </a:cubicBezTo>
                    <a:cubicBezTo>
                      <a:pt x="11" y="6"/>
                      <a:pt x="7" y="8"/>
                      <a:pt x="4" y="5"/>
                    </a:cubicBezTo>
                    <a:cubicBezTo>
                      <a:pt x="4" y="4"/>
                      <a:pt x="5" y="4"/>
                      <a:pt x="4" y="3"/>
                    </a:cubicBezTo>
                    <a:cubicBezTo>
                      <a:pt x="3" y="3"/>
                      <a:pt x="3"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3" name="Freeform 52">
                <a:extLst>
                  <a:ext uri="{FF2B5EF4-FFF2-40B4-BE49-F238E27FC236}">
                    <a16:creationId xmlns:a16="http://schemas.microsoft.com/office/drawing/2014/main" id="{D9167776-5669-4FA3-A802-A19EA5069FB2}"/>
                  </a:ext>
                </a:extLst>
              </p:cNvPr>
              <p:cNvSpPr>
                <a:spLocks/>
              </p:cNvSpPr>
              <p:nvPr/>
            </p:nvSpPr>
            <p:spPr bwMode="auto">
              <a:xfrm>
                <a:off x="4464" y="53"/>
                <a:ext cx="17" cy="19"/>
              </a:xfrm>
              <a:custGeom>
                <a:avLst/>
                <a:gdLst>
                  <a:gd name="T0" fmla="*/ 3 w 7"/>
                  <a:gd name="T1" fmla="*/ 0 h 8"/>
                  <a:gd name="T2" fmla="*/ 0 w 7"/>
                  <a:gd name="T3" fmla="*/ 4 h 8"/>
                  <a:gd name="T4" fmla="*/ 7 w 7"/>
                  <a:gd name="T5" fmla="*/ 8 h 8"/>
                  <a:gd name="T6" fmla="*/ 4 w 7"/>
                  <a:gd name="T7" fmla="*/ 2 h 8"/>
                  <a:gd name="T8" fmla="*/ 4 w 7"/>
                  <a:gd name="T9" fmla="*/ 2 h 8"/>
                  <a:gd name="T10" fmla="*/ 3 w 7"/>
                  <a:gd name="T11" fmla="*/ 0 h 8"/>
                </a:gdLst>
                <a:ahLst/>
                <a:cxnLst>
                  <a:cxn ang="0">
                    <a:pos x="T0" y="T1"/>
                  </a:cxn>
                  <a:cxn ang="0">
                    <a:pos x="T2" y="T3"/>
                  </a:cxn>
                  <a:cxn ang="0">
                    <a:pos x="T4" y="T5"/>
                  </a:cxn>
                  <a:cxn ang="0">
                    <a:pos x="T6" y="T7"/>
                  </a:cxn>
                  <a:cxn ang="0">
                    <a:pos x="T8" y="T9"/>
                  </a:cxn>
                  <a:cxn ang="0">
                    <a:pos x="T10" y="T11"/>
                  </a:cxn>
                </a:cxnLst>
                <a:rect l="0" t="0" r="r" b="b"/>
                <a:pathLst>
                  <a:path w="7" h="8">
                    <a:moveTo>
                      <a:pt x="3" y="0"/>
                    </a:moveTo>
                    <a:cubicBezTo>
                      <a:pt x="2" y="2"/>
                      <a:pt x="1" y="3"/>
                      <a:pt x="0" y="4"/>
                    </a:cubicBezTo>
                    <a:cubicBezTo>
                      <a:pt x="2" y="5"/>
                      <a:pt x="5" y="7"/>
                      <a:pt x="7" y="8"/>
                    </a:cubicBezTo>
                    <a:cubicBezTo>
                      <a:pt x="7" y="6"/>
                      <a:pt x="6" y="2"/>
                      <a:pt x="4" y="2"/>
                    </a:cubicBezTo>
                    <a:cubicBezTo>
                      <a:pt x="4" y="2"/>
                      <a:pt x="4" y="2"/>
                      <a:pt x="4"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4" name="Freeform 53">
                <a:extLst>
                  <a:ext uri="{FF2B5EF4-FFF2-40B4-BE49-F238E27FC236}">
                    <a16:creationId xmlns:a16="http://schemas.microsoft.com/office/drawing/2014/main" id="{CA0C69C0-E59D-44E2-A4DB-41ECDBC8D532}"/>
                  </a:ext>
                </a:extLst>
              </p:cNvPr>
              <p:cNvSpPr>
                <a:spLocks/>
              </p:cNvSpPr>
              <p:nvPr/>
            </p:nvSpPr>
            <p:spPr bwMode="auto">
              <a:xfrm>
                <a:off x="4573" y="190"/>
                <a:ext cx="43" cy="7"/>
              </a:xfrm>
              <a:custGeom>
                <a:avLst/>
                <a:gdLst>
                  <a:gd name="T0" fmla="*/ 3 w 18"/>
                  <a:gd name="T1" fmla="*/ 0 h 3"/>
                  <a:gd name="T2" fmla="*/ 0 w 18"/>
                  <a:gd name="T3" fmla="*/ 0 h 3"/>
                  <a:gd name="T4" fmla="*/ 15 w 18"/>
                  <a:gd name="T5" fmla="*/ 3 h 3"/>
                  <a:gd name="T6" fmla="*/ 18 w 18"/>
                  <a:gd name="T7" fmla="*/ 2 h 3"/>
                  <a:gd name="T8" fmla="*/ 7 w 18"/>
                  <a:gd name="T9" fmla="*/ 0 h 3"/>
                  <a:gd name="T10" fmla="*/ 3 w 18"/>
                  <a:gd name="T11" fmla="*/ 0 h 3"/>
                </a:gdLst>
                <a:ahLst/>
                <a:cxnLst>
                  <a:cxn ang="0">
                    <a:pos x="T0" y="T1"/>
                  </a:cxn>
                  <a:cxn ang="0">
                    <a:pos x="T2" y="T3"/>
                  </a:cxn>
                  <a:cxn ang="0">
                    <a:pos x="T4" y="T5"/>
                  </a:cxn>
                  <a:cxn ang="0">
                    <a:pos x="T6" y="T7"/>
                  </a:cxn>
                  <a:cxn ang="0">
                    <a:pos x="T8" y="T9"/>
                  </a:cxn>
                  <a:cxn ang="0">
                    <a:pos x="T10" y="T11"/>
                  </a:cxn>
                </a:cxnLst>
                <a:rect l="0" t="0" r="r" b="b"/>
                <a:pathLst>
                  <a:path w="18" h="3">
                    <a:moveTo>
                      <a:pt x="3" y="0"/>
                    </a:moveTo>
                    <a:cubicBezTo>
                      <a:pt x="3" y="0"/>
                      <a:pt x="2" y="0"/>
                      <a:pt x="0" y="0"/>
                    </a:cubicBezTo>
                    <a:cubicBezTo>
                      <a:pt x="5" y="1"/>
                      <a:pt x="10" y="3"/>
                      <a:pt x="15" y="3"/>
                    </a:cubicBezTo>
                    <a:cubicBezTo>
                      <a:pt x="16" y="3"/>
                      <a:pt x="17" y="3"/>
                      <a:pt x="18" y="2"/>
                    </a:cubicBezTo>
                    <a:cubicBezTo>
                      <a:pt x="14" y="2"/>
                      <a:pt x="10" y="2"/>
                      <a:pt x="7" y="0"/>
                    </a:cubicBezTo>
                    <a:cubicBezTo>
                      <a:pt x="5"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5" name="Freeform 54">
                <a:extLst>
                  <a:ext uri="{FF2B5EF4-FFF2-40B4-BE49-F238E27FC236}">
                    <a16:creationId xmlns:a16="http://schemas.microsoft.com/office/drawing/2014/main" id="{AA1D6B2C-66A7-4EB7-8954-2F39B3067003}"/>
                  </a:ext>
                </a:extLst>
              </p:cNvPr>
              <p:cNvSpPr>
                <a:spLocks/>
              </p:cNvSpPr>
              <p:nvPr/>
            </p:nvSpPr>
            <p:spPr bwMode="auto">
              <a:xfrm>
                <a:off x="5072" y="585"/>
                <a:ext cx="14" cy="19"/>
              </a:xfrm>
              <a:custGeom>
                <a:avLst/>
                <a:gdLst>
                  <a:gd name="T0" fmla="*/ 4 w 6"/>
                  <a:gd name="T1" fmla="*/ 0 h 8"/>
                  <a:gd name="T2" fmla="*/ 0 w 6"/>
                  <a:gd name="T3" fmla="*/ 3 h 8"/>
                  <a:gd name="T4" fmla="*/ 2 w 6"/>
                  <a:gd name="T5" fmla="*/ 8 h 8"/>
                  <a:gd name="T6" fmla="*/ 6 w 6"/>
                  <a:gd name="T7" fmla="*/ 2 h 8"/>
                  <a:gd name="T8" fmla="*/ 4 w 6"/>
                  <a:gd name="T9" fmla="*/ 0 h 8"/>
                </a:gdLst>
                <a:ahLst/>
                <a:cxnLst>
                  <a:cxn ang="0">
                    <a:pos x="T0" y="T1"/>
                  </a:cxn>
                  <a:cxn ang="0">
                    <a:pos x="T2" y="T3"/>
                  </a:cxn>
                  <a:cxn ang="0">
                    <a:pos x="T4" y="T5"/>
                  </a:cxn>
                  <a:cxn ang="0">
                    <a:pos x="T6" y="T7"/>
                  </a:cxn>
                  <a:cxn ang="0">
                    <a:pos x="T8" y="T9"/>
                  </a:cxn>
                </a:cxnLst>
                <a:rect l="0" t="0" r="r" b="b"/>
                <a:pathLst>
                  <a:path w="6" h="8">
                    <a:moveTo>
                      <a:pt x="4" y="0"/>
                    </a:moveTo>
                    <a:cubicBezTo>
                      <a:pt x="3" y="0"/>
                      <a:pt x="1" y="3"/>
                      <a:pt x="0" y="3"/>
                    </a:cubicBezTo>
                    <a:cubicBezTo>
                      <a:pt x="0" y="5"/>
                      <a:pt x="1" y="6"/>
                      <a:pt x="2" y="8"/>
                    </a:cubicBezTo>
                    <a:cubicBezTo>
                      <a:pt x="4" y="7"/>
                      <a:pt x="6" y="4"/>
                      <a:pt x="6" y="2"/>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6" name="Freeform 55">
                <a:extLst>
                  <a:ext uri="{FF2B5EF4-FFF2-40B4-BE49-F238E27FC236}">
                    <a16:creationId xmlns:a16="http://schemas.microsoft.com/office/drawing/2014/main" id="{6B5E86EC-82DC-4B03-871E-FF2EF467FFB6}"/>
                  </a:ext>
                </a:extLst>
              </p:cNvPr>
              <p:cNvSpPr>
                <a:spLocks/>
              </p:cNvSpPr>
              <p:nvPr/>
            </p:nvSpPr>
            <p:spPr bwMode="auto">
              <a:xfrm>
                <a:off x="5067" y="611"/>
                <a:ext cx="5" cy="10"/>
              </a:xfrm>
              <a:custGeom>
                <a:avLst/>
                <a:gdLst>
                  <a:gd name="T0" fmla="*/ 0 w 2"/>
                  <a:gd name="T1" fmla="*/ 0 h 4"/>
                  <a:gd name="T2" fmla="*/ 2 w 2"/>
                  <a:gd name="T3" fmla="*/ 4 h 4"/>
                  <a:gd name="T4" fmla="*/ 0 w 2"/>
                  <a:gd name="T5" fmla="*/ 0 h 4"/>
                </a:gdLst>
                <a:ahLst/>
                <a:cxnLst>
                  <a:cxn ang="0">
                    <a:pos x="T0" y="T1"/>
                  </a:cxn>
                  <a:cxn ang="0">
                    <a:pos x="T2" y="T3"/>
                  </a:cxn>
                  <a:cxn ang="0">
                    <a:pos x="T4" y="T5"/>
                  </a:cxn>
                </a:cxnLst>
                <a:rect l="0" t="0" r="r" b="b"/>
                <a:pathLst>
                  <a:path w="2" h="4">
                    <a:moveTo>
                      <a:pt x="0" y="0"/>
                    </a:moveTo>
                    <a:cubicBezTo>
                      <a:pt x="1" y="2"/>
                      <a:pt x="1" y="3"/>
                      <a:pt x="2"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7" name="Freeform 56">
                <a:extLst>
                  <a:ext uri="{FF2B5EF4-FFF2-40B4-BE49-F238E27FC236}">
                    <a16:creationId xmlns:a16="http://schemas.microsoft.com/office/drawing/2014/main" id="{172BCA67-C931-49B2-8488-6ED77430EE3E}"/>
                  </a:ext>
                </a:extLst>
              </p:cNvPr>
              <p:cNvSpPr>
                <a:spLocks/>
              </p:cNvSpPr>
              <p:nvPr/>
            </p:nvSpPr>
            <p:spPr bwMode="auto">
              <a:xfrm>
                <a:off x="4963" y="533"/>
                <a:ext cx="5" cy="7"/>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cubicBezTo>
                      <a:pt x="1" y="1"/>
                      <a:pt x="0"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8" name="Freeform 57">
                <a:extLst>
                  <a:ext uri="{FF2B5EF4-FFF2-40B4-BE49-F238E27FC236}">
                    <a16:creationId xmlns:a16="http://schemas.microsoft.com/office/drawing/2014/main" id="{F8778B15-746C-4CF3-955E-75B800E28614}"/>
                  </a:ext>
                </a:extLst>
              </p:cNvPr>
              <p:cNvSpPr>
                <a:spLocks/>
              </p:cNvSpPr>
              <p:nvPr/>
            </p:nvSpPr>
            <p:spPr bwMode="auto">
              <a:xfrm>
                <a:off x="5053" y="401"/>
                <a:ext cx="23" cy="16"/>
              </a:xfrm>
              <a:custGeom>
                <a:avLst/>
                <a:gdLst>
                  <a:gd name="T0" fmla="*/ 10 w 10"/>
                  <a:gd name="T1" fmla="*/ 0 h 7"/>
                  <a:gd name="T2" fmla="*/ 6 w 10"/>
                  <a:gd name="T3" fmla="*/ 3 h 7"/>
                  <a:gd name="T4" fmla="*/ 6 w 10"/>
                  <a:gd name="T5" fmla="*/ 3 h 7"/>
                  <a:gd name="T6" fmla="*/ 6 w 10"/>
                  <a:gd name="T7" fmla="*/ 2 h 7"/>
                  <a:gd name="T8" fmla="*/ 4 w 10"/>
                  <a:gd name="T9" fmla="*/ 1 h 7"/>
                  <a:gd name="T10" fmla="*/ 3 w 10"/>
                  <a:gd name="T11" fmla="*/ 1 h 7"/>
                  <a:gd name="T12" fmla="*/ 2 w 10"/>
                  <a:gd name="T13" fmla="*/ 1 h 7"/>
                  <a:gd name="T14" fmla="*/ 1 w 10"/>
                  <a:gd name="T15" fmla="*/ 6 h 7"/>
                  <a:gd name="T16" fmla="*/ 5 w 10"/>
                  <a:gd name="T17" fmla="*/ 4 h 7"/>
                  <a:gd name="T18" fmla="*/ 8 w 10"/>
                  <a:gd name="T19" fmla="*/ 7 h 7"/>
                  <a:gd name="T20" fmla="*/ 10 w 10"/>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10" y="0"/>
                    </a:moveTo>
                    <a:cubicBezTo>
                      <a:pt x="9" y="1"/>
                      <a:pt x="7" y="3"/>
                      <a:pt x="6" y="3"/>
                    </a:cubicBezTo>
                    <a:cubicBezTo>
                      <a:pt x="6" y="3"/>
                      <a:pt x="6" y="3"/>
                      <a:pt x="6" y="3"/>
                    </a:cubicBezTo>
                    <a:cubicBezTo>
                      <a:pt x="6" y="3"/>
                      <a:pt x="6" y="2"/>
                      <a:pt x="6" y="2"/>
                    </a:cubicBezTo>
                    <a:cubicBezTo>
                      <a:pt x="5" y="2"/>
                      <a:pt x="4" y="1"/>
                      <a:pt x="4" y="1"/>
                    </a:cubicBezTo>
                    <a:cubicBezTo>
                      <a:pt x="4" y="1"/>
                      <a:pt x="3" y="1"/>
                      <a:pt x="3" y="1"/>
                    </a:cubicBezTo>
                    <a:cubicBezTo>
                      <a:pt x="3" y="1"/>
                      <a:pt x="2" y="1"/>
                      <a:pt x="2" y="1"/>
                    </a:cubicBezTo>
                    <a:cubicBezTo>
                      <a:pt x="0" y="2"/>
                      <a:pt x="1" y="3"/>
                      <a:pt x="1" y="6"/>
                    </a:cubicBezTo>
                    <a:cubicBezTo>
                      <a:pt x="3" y="5"/>
                      <a:pt x="4" y="4"/>
                      <a:pt x="5" y="4"/>
                    </a:cubicBezTo>
                    <a:cubicBezTo>
                      <a:pt x="6" y="4"/>
                      <a:pt x="6" y="5"/>
                      <a:pt x="8" y="7"/>
                    </a:cubicBezTo>
                    <a:cubicBezTo>
                      <a:pt x="7" y="3"/>
                      <a:pt x="10" y="3"/>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9" name="Freeform 58">
                <a:extLst>
                  <a:ext uri="{FF2B5EF4-FFF2-40B4-BE49-F238E27FC236}">
                    <a16:creationId xmlns:a16="http://schemas.microsoft.com/office/drawing/2014/main" id="{E54B5757-2AB5-4604-8A57-EEC540F2BB96}"/>
                  </a:ext>
                </a:extLst>
              </p:cNvPr>
              <p:cNvSpPr>
                <a:spLocks/>
              </p:cNvSpPr>
              <p:nvPr/>
            </p:nvSpPr>
            <p:spPr bwMode="auto">
              <a:xfrm>
                <a:off x="5055" y="587"/>
                <a:ext cx="12" cy="12"/>
              </a:xfrm>
              <a:custGeom>
                <a:avLst/>
                <a:gdLst>
                  <a:gd name="T0" fmla="*/ 5 w 5"/>
                  <a:gd name="T1" fmla="*/ 0 h 5"/>
                  <a:gd name="T2" fmla="*/ 3 w 5"/>
                  <a:gd name="T3" fmla="*/ 5 h 5"/>
                  <a:gd name="T4" fmla="*/ 5 w 5"/>
                  <a:gd name="T5" fmla="*/ 0 h 5"/>
                </a:gdLst>
                <a:ahLst/>
                <a:cxnLst>
                  <a:cxn ang="0">
                    <a:pos x="T0" y="T1"/>
                  </a:cxn>
                  <a:cxn ang="0">
                    <a:pos x="T2" y="T3"/>
                  </a:cxn>
                  <a:cxn ang="0">
                    <a:pos x="T4" y="T5"/>
                  </a:cxn>
                </a:cxnLst>
                <a:rect l="0" t="0" r="r" b="b"/>
                <a:pathLst>
                  <a:path w="5" h="5">
                    <a:moveTo>
                      <a:pt x="5" y="0"/>
                    </a:moveTo>
                    <a:cubicBezTo>
                      <a:pt x="2" y="1"/>
                      <a:pt x="0" y="2"/>
                      <a:pt x="3" y="5"/>
                    </a:cubicBezTo>
                    <a:cubicBezTo>
                      <a:pt x="5" y="3"/>
                      <a:pt x="4"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0" name="Freeform 59">
                <a:extLst>
                  <a:ext uri="{FF2B5EF4-FFF2-40B4-BE49-F238E27FC236}">
                    <a16:creationId xmlns:a16="http://schemas.microsoft.com/office/drawing/2014/main" id="{1D11FAC6-5A88-488C-898E-622D7EB12754}"/>
                  </a:ext>
                </a:extLst>
              </p:cNvPr>
              <p:cNvSpPr>
                <a:spLocks/>
              </p:cNvSpPr>
              <p:nvPr/>
            </p:nvSpPr>
            <p:spPr bwMode="auto">
              <a:xfrm>
                <a:off x="5072" y="632"/>
                <a:ext cx="7" cy="10"/>
              </a:xfrm>
              <a:custGeom>
                <a:avLst/>
                <a:gdLst>
                  <a:gd name="T0" fmla="*/ 0 w 3"/>
                  <a:gd name="T1" fmla="*/ 0 h 4"/>
                  <a:gd name="T2" fmla="*/ 2 w 3"/>
                  <a:gd name="T3" fmla="*/ 4 h 4"/>
                  <a:gd name="T4" fmla="*/ 0 w 3"/>
                  <a:gd name="T5" fmla="*/ 0 h 4"/>
                </a:gdLst>
                <a:ahLst/>
                <a:cxnLst>
                  <a:cxn ang="0">
                    <a:pos x="T0" y="T1"/>
                  </a:cxn>
                  <a:cxn ang="0">
                    <a:pos x="T2" y="T3"/>
                  </a:cxn>
                  <a:cxn ang="0">
                    <a:pos x="T4" y="T5"/>
                  </a:cxn>
                </a:cxnLst>
                <a:rect l="0" t="0" r="r" b="b"/>
                <a:pathLst>
                  <a:path w="3" h="4">
                    <a:moveTo>
                      <a:pt x="0" y="0"/>
                    </a:moveTo>
                    <a:cubicBezTo>
                      <a:pt x="1" y="1"/>
                      <a:pt x="1" y="2"/>
                      <a:pt x="2" y="4"/>
                    </a:cubicBezTo>
                    <a:cubicBezTo>
                      <a:pt x="3" y="2"/>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1" name="Freeform 60">
                <a:extLst>
                  <a:ext uri="{FF2B5EF4-FFF2-40B4-BE49-F238E27FC236}">
                    <a16:creationId xmlns:a16="http://schemas.microsoft.com/office/drawing/2014/main" id="{7D5ACC06-34A4-4F90-8AB5-4F990AAC71A5}"/>
                  </a:ext>
                </a:extLst>
              </p:cNvPr>
              <p:cNvSpPr>
                <a:spLocks/>
              </p:cNvSpPr>
              <p:nvPr/>
            </p:nvSpPr>
            <p:spPr bwMode="auto">
              <a:xfrm>
                <a:off x="5107" y="554"/>
                <a:ext cx="19" cy="12"/>
              </a:xfrm>
              <a:custGeom>
                <a:avLst/>
                <a:gdLst>
                  <a:gd name="T0" fmla="*/ 8 w 8"/>
                  <a:gd name="T1" fmla="*/ 0 h 5"/>
                  <a:gd name="T2" fmla="*/ 0 w 8"/>
                  <a:gd name="T3" fmla="*/ 5 h 5"/>
                  <a:gd name="T4" fmla="*/ 8 w 8"/>
                  <a:gd name="T5" fmla="*/ 0 h 5"/>
                </a:gdLst>
                <a:ahLst/>
                <a:cxnLst>
                  <a:cxn ang="0">
                    <a:pos x="T0" y="T1"/>
                  </a:cxn>
                  <a:cxn ang="0">
                    <a:pos x="T2" y="T3"/>
                  </a:cxn>
                  <a:cxn ang="0">
                    <a:pos x="T4" y="T5"/>
                  </a:cxn>
                </a:cxnLst>
                <a:rect l="0" t="0" r="r" b="b"/>
                <a:pathLst>
                  <a:path w="8" h="5">
                    <a:moveTo>
                      <a:pt x="8" y="0"/>
                    </a:moveTo>
                    <a:cubicBezTo>
                      <a:pt x="5" y="1"/>
                      <a:pt x="3" y="3"/>
                      <a:pt x="0" y="5"/>
                    </a:cubicBezTo>
                    <a:cubicBezTo>
                      <a:pt x="3" y="4"/>
                      <a:pt x="7" y="3"/>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2" name="Freeform 61">
                <a:extLst>
                  <a:ext uri="{FF2B5EF4-FFF2-40B4-BE49-F238E27FC236}">
                    <a16:creationId xmlns:a16="http://schemas.microsoft.com/office/drawing/2014/main" id="{79ACDCD4-A40A-4DA4-941D-65C451BFA2CF}"/>
                  </a:ext>
                </a:extLst>
              </p:cNvPr>
              <p:cNvSpPr>
                <a:spLocks/>
              </p:cNvSpPr>
              <p:nvPr/>
            </p:nvSpPr>
            <p:spPr bwMode="auto">
              <a:xfrm>
                <a:off x="5046" y="566"/>
                <a:ext cx="2" cy="10"/>
              </a:xfrm>
              <a:custGeom>
                <a:avLst/>
                <a:gdLst>
                  <a:gd name="T0" fmla="*/ 1 w 1"/>
                  <a:gd name="T1" fmla="*/ 0 h 4"/>
                  <a:gd name="T2" fmla="*/ 0 w 1"/>
                  <a:gd name="T3" fmla="*/ 4 h 4"/>
                  <a:gd name="T4" fmla="*/ 1 w 1"/>
                  <a:gd name="T5" fmla="*/ 0 h 4"/>
                </a:gdLst>
                <a:ahLst/>
                <a:cxnLst>
                  <a:cxn ang="0">
                    <a:pos x="T0" y="T1"/>
                  </a:cxn>
                  <a:cxn ang="0">
                    <a:pos x="T2" y="T3"/>
                  </a:cxn>
                  <a:cxn ang="0">
                    <a:pos x="T4" y="T5"/>
                  </a:cxn>
                </a:cxnLst>
                <a:rect l="0" t="0" r="r" b="b"/>
                <a:pathLst>
                  <a:path w="1" h="4">
                    <a:moveTo>
                      <a:pt x="1" y="0"/>
                    </a:moveTo>
                    <a:cubicBezTo>
                      <a:pt x="1" y="0"/>
                      <a:pt x="0" y="1"/>
                      <a:pt x="0" y="4"/>
                    </a:cubicBezTo>
                    <a:cubicBezTo>
                      <a:pt x="1" y="2"/>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3" name="Freeform 62">
                <a:extLst>
                  <a:ext uri="{FF2B5EF4-FFF2-40B4-BE49-F238E27FC236}">
                    <a16:creationId xmlns:a16="http://schemas.microsoft.com/office/drawing/2014/main" id="{E1A2EEC9-945A-4931-8977-AF0344FC5997}"/>
                  </a:ext>
                </a:extLst>
              </p:cNvPr>
              <p:cNvSpPr>
                <a:spLocks/>
              </p:cNvSpPr>
              <p:nvPr/>
            </p:nvSpPr>
            <p:spPr bwMode="auto">
              <a:xfrm>
                <a:off x="4972" y="455"/>
                <a:ext cx="8" cy="10"/>
              </a:xfrm>
              <a:custGeom>
                <a:avLst/>
                <a:gdLst>
                  <a:gd name="T0" fmla="*/ 0 w 3"/>
                  <a:gd name="T1" fmla="*/ 0 h 4"/>
                  <a:gd name="T2" fmla="*/ 3 w 3"/>
                  <a:gd name="T3" fmla="*/ 4 h 4"/>
                  <a:gd name="T4" fmla="*/ 0 w 3"/>
                  <a:gd name="T5" fmla="*/ 0 h 4"/>
                </a:gdLst>
                <a:ahLst/>
                <a:cxnLst>
                  <a:cxn ang="0">
                    <a:pos x="T0" y="T1"/>
                  </a:cxn>
                  <a:cxn ang="0">
                    <a:pos x="T2" y="T3"/>
                  </a:cxn>
                  <a:cxn ang="0">
                    <a:pos x="T4" y="T5"/>
                  </a:cxn>
                </a:cxnLst>
                <a:rect l="0" t="0" r="r" b="b"/>
                <a:pathLst>
                  <a:path w="3" h="4">
                    <a:moveTo>
                      <a:pt x="0" y="0"/>
                    </a:moveTo>
                    <a:cubicBezTo>
                      <a:pt x="1" y="1"/>
                      <a:pt x="2" y="3"/>
                      <a:pt x="3" y="4"/>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4" name="Freeform 63">
                <a:extLst>
                  <a:ext uri="{FF2B5EF4-FFF2-40B4-BE49-F238E27FC236}">
                    <a16:creationId xmlns:a16="http://schemas.microsoft.com/office/drawing/2014/main" id="{DB6343B1-1BF2-4FA0-B50F-4330BEE1D9EA}"/>
                  </a:ext>
                </a:extLst>
              </p:cNvPr>
              <p:cNvSpPr>
                <a:spLocks/>
              </p:cNvSpPr>
              <p:nvPr/>
            </p:nvSpPr>
            <p:spPr bwMode="auto">
              <a:xfrm>
                <a:off x="5100" y="443"/>
                <a:ext cx="43" cy="29"/>
              </a:xfrm>
              <a:custGeom>
                <a:avLst/>
                <a:gdLst>
                  <a:gd name="T0" fmla="*/ 10 w 18"/>
                  <a:gd name="T1" fmla="*/ 0 h 12"/>
                  <a:gd name="T2" fmla="*/ 4 w 18"/>
                  <a:gd name="T3" fmla="*/ 3 h 12"/>
                  <a:gd name="T4" fmla="*/ 2 w 18"/>
                  <a:gd name="T5" fmla="*/ 3 h 12"/>
                  <a:gd name="T6" fmla="*/ 2 w 18"/>
                  <a:gd name="T7" fmla="*/ 3 h 12"/>
                  <a:gd name="T8" fmla="*/ 2 w 18"/>
                  <a:gd name="T9" fmla="*/ 3 h 12"/>
                  <a:gd name="T10" fmla="*/ 0 w 18"/>
                  <a:gd name="T11" fmla="*/ 4 h 12"/>
                  <a:gd name="T12" fmla="*/ 7 w 18"/>
                  <a:gd name="T13" fmla="*/ 5 h 12"/>
                  <a:gd name="T14" fmla="*/ 9 w 18"/>
                  <a:gd name="T15" fmla="*/ 5 h 12"/>
                  <a:gd name="T16" fmla="*/ 5 w 18"/>
                  <a:gd name="T17" fmla="*/ 9 h 12"/>
                  <a:gd name="T18" fmla="*/ 13 w 18"/>
                  <a:gd name="T19" fmla="*/ 12 h 12"/>
                  <a:gd name="T20" fmla="*/ 14 w 18"/>
                  <a:gd name="T21" fmla="*/ 12 h 12"/>
                  <a:gd name="T22" fmla="*/ 14 w 18"/>
                  <a:gd name="T23" fmla="*/ 8 h 12"/>
                  <a:gd name="T24" fmla="*/ 14 w 18"/>
                  <a:gd name="T25" fmla="*/ 8 h 12"/>
                  <a:gd name="T26" fmla="*/ 16 w 18"/>
                  <a:gd name="T27" fmla="*/ 9 h 12"/>
                  <a:gd name="T28" fmla="*/ 17 w 18"/>
                  <a:gd name="T29" fmla="*/ 11 h 12"/>
                  <a:gd name="T30" fmla="*/ 18 w 18"/>
                  <a:gd name="T31" fmla="*/ 10 h 12"/>
                  <a:gd name="T32" fmla="*/ 13 w 18"/>
                  <a:gd name="T33" fmla="*/ 4 h 12"/>
                  <a:gd name="T34" fmla="*/ 11 w 18"/>
                  <a:gd name="T35" fmla="*/ 1 h 12"/>
                  <a:gd name="T36" fmla="*/ 10 w 18"/>
                  <a:gd name="T3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2">
                    <a:moveTo>
                      <a:pt x="10" y="0"/>
                    </a:moveTo>
                    <a:cubicBezTo>
                      <a:pt x="8" y="0"/>
                      <a:pt x="6" y="2"/>
                      <a:pt x="4" y="3"/>
                    </a:cubicBezTo>
                    <a:cubicBezTo>
                      <a:pt x="4" y="3"/>
                      <a:pt x="3" y="3"/>
                      <a:pt x="2" y="3"/>
                    </a:cubicBezTo>
                    <a:cubicBezTo>
                      <a:pt x="2" y="3"/>
                      <a:pt x="2" y="3"/>
                      <a:pt x="2" y="3"/>
                    </a:cubicBezTo>
                    <a:cubicBezTo>
                      <a:pt x="2" y="3"/>
                      <a:pt x="2" y="3"/>
                      <a:pt x="2" y="3"/>
                    </a:cubicBezTo>
                    <a:cubicBezTo>
                      <a:pt x="1" y="3"/>
                      <a:pt x="0" y="3"/>
                      <a:pt x="0" y="4"/>
                    </a:cubicBezTo>
                    <a:cubicBezTo>
                      <a:pt x="2" y="5"/>
                      <a:pt x="5" y="5"/>
                      <a:pt x="7" y="5"/>
                    </a:cubicBezTo>
                    <a:cubicBezTo>
                      <a:pt x="8" y="5"/>
                      <a:pt x="8" y="5"/>
                      <a:pt x="9" y="5"/>
                    </a:cubicBezTo>
                    <a:cubicBezTo>
                      <a:pt x="8" y="7"/>
                      <a:pt x="7" y="8"/>
                      <a:pt x="5" y="9"/>
                    </a:cubicBezTo>
                    <a:cubicBezTo>
                      <a:pt x="8" y="10"/>
                      <a:pt x="10" y="11"/>
                      <a:pt x="13" y="12"/>
                    </a:cubicBezTo>
                    <a:cubicBezTo>
                      <a:pt x="13" y="12"/>
                      <a:pt x="14" y="12"/>
                      <a:pt x="14" y="12"/>
                    </a:cubicBezTo>
                    <a:cubicBezTo>
                      <a:pt x="18" y="12"/>
                      <a:pt x="12" y="9"/>
                      <a:pt x="14" y="8"/>
                    </a:cubicBezTo>
                    <a:cubicBezTo>
                      <a:pt x="14" y="8"/>
                      <a:pt x="14" y="8"/>
                      <a:pt x="14" y="8"/>
                    </a:cubicBezTo>
                    <a:cubicBezTo>
                      <a:pt x="14" y="8"/>
                      <a:pt x="15" y="8"/>
                      <a:pt x="16" y="9"/>
                    </a:cubicBezTo>
                    <a:cubicBezTo>
                      <a:pt x="16" y="10"/>
                      <a:pt x="17" y="11"/>
                      <a:pt x="17" y="11"/>
                    </a:cubicBezTo>
                    <a:cubicBezTo>
                      <a:pt x="17" y="11"/>
                      <a:pt x="17" y="11"/>
                      <a:pt x="18" y="10"/>
                    </a:cubicBezTo>
                    <a:cubicBezTo>
                      <a:pt x="18" y="8"/>
                      <a:pt x="13" y="5"/>
                      <a:pt x="13" y="4"/>
                    </a:cubicBezTo>
                    <a:cubicBezTo>
                      <a:pt x="12" y="3"/>
                      <a:pt x="13" y="1"/>
                      <a:pt x="11" y="1"/>
                    </a:cubicBezTo>
                    <a:cubicBezTo>
                      <a:pt x="11"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5" name="Freeform 64">
                <a:extLst>
                  <a:ext uri="{FF2B5EF4-FFF2-40B4-BE49-F238E27FC236}">
                    <a16:creationId xmlns:a16="http://schemas.microsoft.com/office/drawing/2014/main" id="{4BCE2A71-1BBB-4EF3-823E-6F4FCA6CD8D0}"/>
                  </a:ext>
                </a:extLst>
              </p:cNvPr>
              <p:cNvSpPr>
                <a:spLocks/>
              </p:cNvSpPr>
              <p:nvPr/>
            </p:nvSpPr>
            <p:spPr bwMode="auto">
              <a:xfrm>
                <a:off x="5076" y="372"/>
                <a:ext cx="15" cy="5"/>
              </a:xfrm>
              <a:custGeom>
                <a:avLst/>
                <a:gdLst>
                  <a:gd name="T0" fmla="*/ 0 w 6"/>
                  <a:gd name="T1" fmla="*/ 0 h 2"/>
                  <a:gd name="T2" fmla="*/ 4 w 6"/>
                  <a:gd name="T3" fmla="*/ 2 h 2"/>
                  <a:gd name="T4" fmla="*/ 6 w 6"/>
                  <a:gd name="T5" fmla="*/ 1 h 2"/>
                  <a:gd name="T6" fmla="*/ 0 w 6"/>
                  <a:gd name="T7" fmla="*/ 0 h 2"/>
                </a:gdLst>
                <a:ahLst/>
                <a:cxnLst>
                  <a:cxn ang="0">
                    <a:pos x="T0" y="T1"/>
                  </a:cxn>
                  <a:cxn ang="0">
                    <a:pos x="T2" y="T3"/>
                  </a:cxn>
                  <a:cxn ang="0">
                    <a:pos x="T4" y="T5"/>
                  </a:cxn>
                  <a:cxn ang="0">
                    <a:pos x="T6" y="T7"/>
                  </a:cxn>
                </a:cxnLst>
                <a:rect l="0" t="0" r="r" b="b"/>
                <a:pathLst>
                  <a:path w="6" h="2">
                    <a:moveTo>
                      <a:pt x="0" y="0"/>
                    </a:moveTo>
                    <a:cubicBezTo>
                      <a:pt x="2" y="1"/>
                      <a:pt x="3" y="2"/>
                      <a:pt x="4" y="2"/>
                    </a:cubicBezTo>
                    <a:cubicBezTo>
                      <a:pt x="4" y="2"/>
                      <a:pt x="5" y="2"/>
                      <a:pt x="6" y="1"/>
                    </a:cubicBezTo>
                    <a:cubicBezTo>
                      <a:pt x="4"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6" name="Freeform 65">
                <a:extLst>
                  <a:ext uri="{FF2B5EF4-FFF2-40B4-BE49-F238E27FC236}">
                    <a16:creationId xmlns:a16="http://schemas.microsoft.com/office/drawing/2014/main" id="{9F3A35A6-15C3-469E-88C6-EEF3B8D70658}"/>
                  </a:ext>
                </a:extLst>
              </p:cNvPr>
              <p:cNvSpPr>
                <a:spLocks/>
              </p:cNvSpPr>
              <p:nvPr/>
            </p:nvSpPr>
            <p:spPr bwMode="auto">
              <a:xfrm>
                <a:off x="5032" y="595"/>
                <a:ext cx="4" cy="9"/>
              </a:xfrm>
              <a:custGeom>
                <a:avLst/>
                <a:gdLst>
                  <a:gd name="T0" fmla="*/ 0 w 2"/>
                  <a:gd name="T1" fmla="*/ 0 h 4"/>
                  <a:gd name="T2" fmla="*/ 2 w 2"/>
                  <a:gd name="T3" fmla="*/ 4 h 4"/>
                  <a:gd name="T4" fmla="*/ 0 w 2"/>
                  <a:gd name="T5" fmla="*/ 0 h 4"/>
                </a:gdLst>
                <a:ahLst/>
                <a:cxnLst>
                  <a:cxn ang="0">
                    <a:pos x="T0" y="T1"/>
                  </a:cxn>
                  <a:cxn ang="0">
                    <a:pos x="T2" y="T3"/>
                  </a:cxn>
                  <a:cxn ang="0">
                    <a:pos x="T4" y="T5"/>
                  </a:cxn>
                </a:cxnLst>
                <a:rect l="0" t="0" r="r" b="b"/>
                <a:pathLst>
                  <a:path w="2" h="4">
                    <a:moveTo>
                      <a:pt x="0" y="0"/>
                    </a:moveTo>
                    <a:cubicBezTo>
                      <a:pt x="1" y="2"/>
                      <a:pt x="1" y="3"/>
                      <a:pt x="2"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7" name="Freeform 66">
                <a:extLst>
                  <a:ext uri="{FF2B5EF4-FFF2-40B4-BE49-F238E27FC236}">
                    <a16:creationId xmlns:a16="http://schemas.microsoft.com/office/drawing/2014/main" id="{DBF54797-6221-4463-91AF-FD483584F28C}"/>
                  </a:ext>
                </a:extLst>
              </p:cNvPr>
              <p:cNvSpPr>
                <a:spLocks noEditPoints="1"/>
              </p:cNvSpPr>
              <p:nvPr/>
            </p:nvSpPr>
            <p:spPr bwMode="auto">
              <a:xfrm>
                <a:off x="4970" y="682"/>
                <a:ext cx="156" cy="47"/>
              </a:xfrm>
              <a:custGeom>
                <a:avLst/>
                <a:gdLst>
                  <a:gd name="T0" fmla="*/ 66 w 66"/>
                  <a:gd name="T1" fmla="*/ 10 h 20"/>
                  <a:gd name="T2" fmla="*/ 65 w 66"/>
                  <a:gd name="T3" fmla="*/ 10 h 20"/>
                  <a:gd name="T4" fmla="*/ 66 w 66"/>
                  <a:gd name="T5" fmla="*/ 10 h 20"/>
                  <a:gd name="T6" fmla="*/ 5 w 66"/>
                  <a:gd name="T7" fmla="*/ 0 h 20"/>
                  <a:gd name="T8" fmla="*/ 0 w 66"/>
                  <a:gd name="T9" fmla="*/ 10 h 20"/>
                  <a:gd name="T10" fmla="*/ 21 w 66"/>
                  <a:gd name="T11" fmla="*/ 14 h 20"/>
                  <a:gd name="T12" fmla="*/ 28 w 66"/>
                  <a:gd name="T13" fmla="*/ 20 h 20"/>
                  <a:gd name="T14" fmla="*/ 49 w 66"/>
                  <a:gd name="T15" fmla="*/ 18 h 20"/>
                  <a:gd name="T16" fmla="*/ 63 w 66"/>
                  <a:gd name="T17" fmla="*/ 17 h 20"/>
                  <a:gd name="T18" fmla="*/ 65 w 66"/>
                  <a:gd name="T19" fmla="*/ 14 h 20"/>
                  <a:gd name="T20" fmla="*/ 65 w 66"/>
                  <a:gd name="T21" fmla="*/ 13 h 20"/>
                  <a:gd name="T22" fmla="*/ 64 w 66"/>
                  <a:gd name="T23" fmla="*/ 12 h 20"/>
                  <a:gd name="T24" fmla="*/ 65 w 66"/>
                  <a:gd name="T25" fmla="*/ 10 h 20"/>
                  <a:gd name="T26" fmla="*/ 57 w 66"/>
                  <a:gd name="T27" fmla="*/ 13 h 20"/>
                  <a:gd name="T28" fmla="*/ 54 w 66"/>
                  <a:gd name="T29" fmla="*/ 15 h 20"/>
                  <a:gd name="T30" fmla="*/ 53 w 66"/>
                  <a:gd name="T31" fmla="*/ 9 h 20"/>
                  <a:gd name="T32" fmla="*/ 52 w 66"/>
                  <a:gd name="T33" fmla="*/ 9 h 20"/>
                  <a:gd name="T34" fmla="*/ 50 w 66"/>
                  <a:gd name="T35" fmla="*/ 10 h 20"/>
                  <a:gd name="T36" fmla="*/ 47 w 66"/>
                  <a:gd name="T37" fmla="*/ 10 h 20"/>
                  <a:gd name="T38" fmla="*/ 46 w 66"/>
                  <a:gd name="T39" fmla="*/ 10 h 20"/>
                  <a:gd name="T40" fmla="*/ 34 w 66"/>
                  <a:gd name="T41" fmla="*/ 8 h 20"/>
                  <a:gd name="T42" fmla="*/ 33 w 66"/>
                  <a:gd name="T43" fmla="*/ 7 h 20"/>
                  <a:gd name="T44" fmla="*/ 28 w 66"/>
                  <a:gd name="T45" fmla="*/ 8 h 20"/>
                  <a:gd name="T46" fmla="*/ 22 w 66"/>
                  <a:gd name="T47" fmla="*/ 9 h 20"/>
                  <a:gd name="T48" fmla="*/ 18 w 66"/>
                  <a:gd name="T49" fmla="*/ 7 h 20"/>
                  <a:gd name="T50" fmla="*/ 14 w 66"/>
                  <a:gd name="T51" fmla="*/ 4 h 20"/>
                  <a:gd name="T52" fmla="*/ 15 w 66"/>
                  <a:gd name="T53" fmla="*/ 3 h 20"/>
                  <a:gd name="T54" fmla="*/ 13 w 66"/>
                  <a:gd name="T55" fmla="*/ 2 h 20"/>
                  <a:gd name="T56" fmla="*/ 7 w 66"/>
                  <a:gd name="T57" fmla="*/ 3 h 20"/>
                  <a:gd name="T58" fmla="*/ 7 w 66"/>
                  <a:gd name="T59" fmla="*/ 3 h 20"/>
                  <a:gd name="T60" fmla="*/ 5 w 66"/>
                  <a:gd name="T6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6" h="20">
                    <a:moveTo>
                      <a:pt x="66" y="10"/>
                    </a:moveTo>
                    <a:cubicBezTo>
                      <a:pt x="66" y="10"/>
                      <a:pt x="65" y="10"/>
                      <a:pt x="65" y="10"/>
                    </a:cubicBezTo>
                    <a:cubicBezTo>
                      <a:pt x="65" y="10"/>
                      <a:pt x="66" y="10"/>
                      <a:pt x="66" y="10"/>
                    </a:cubicBezTo>
                    <a:moveTo>
                      <a:pt x="5" y="0"/>
                    </a:moveTo>
                    <a:cubicBezTo>
                      <a:pt x="3" y="3"/>
                      <a:pt x="1" y="7"/>
                      <a:pt x="0" y="10"/>
                    </a:cubicBezTo>
                    <a:cubicBezTo>
                      <a:pt x="7" y="11"/>
                      <a:pt x="14" y="12"/>
                      <a:pt x="21" y="14"/>
                    </a:cubicBezTo>
                    <a:cubicBezTo>
                      <a:pt x="24" y="15"/>
                      <a:pt x="31" y="16"/>
                      <a:pt x="28" y="20"/>
                    </a:cubicBezTo>
                    <a:cubicBezTo>
                      <a:pt x="35" y="20"/>
                      <a:pt x="42" y="18"/>
                      <a:pt x="49" y="18"/>
                    </a:cubicBezTo>
                    <a:cubicBezTo>
                      <a:pt x="53" y="18"/>
                      <a:pt x="58" y="17"/>
                      <a:pt x="63" y="17"/>
                    </a:cubicBezTo>
                    <a:cubicBezTo>
                      <a:pt x="64" y="17"/>
                      <a:pt x="64" y="15"/>
                      <a:pt x="65" y="14"/>
                    </a:cubicBezTo>
                    <a:cubicBezTo>
                      <a:pt x="65" y="13"/>
                      <a:pt x="65" y="14"/>
                      <a:pt x="65" y="13"/>
                    </a:cubicBezTo>
                    <a:cubicBezTo>
                      <a:pt x="65" y="13"/>
                      <a:pt x="64" y="12"/>
                      <a:pt x="64" y="12"/>
                    </a:cubicBezTo>
                    <a:cubicBezTo>
                      <a:pt x="65" y="11"/>
                      <a:pt x="65" y="10"/>
                      <a:pt x="65" y="10"/>
                    </a:cubicBezTo>
                    <a:cubicBezTo>
                      <a:pt x="62" y="13"/>
                      <a:pt x="62" y="12"/>
                      <a:pt x="57" y="13"/>
                    </a:cubicBezTo>
                    <a:cubicBezTo>
                      <a:pt x="55" y="14"/>
                      <a:pt x="55" y="14"/>
                      <a:pt x="54" y="15"/>
                    </a:cubicBezTo>
                    <a:cubicBezTo>
                      <a:pt x="53" y="14"/>
                      <a:pt x="51" y="11"/>
                      <a:pt x="53" y="9"/>
                    </a:cubicBezTo>
                    <a:cubicBezTo>
                      <a:pt x="52" y="9"/>
                      <a:pt x="52" y="9"/>
                      <a:pt x="52" y="9"/>
                    </a:cubicBezTo>
                    <a:cubicBezTo>
                      <a:pt x="52" y="9"/>
                      <a:pt x="51" y="10"/>
                      <a:pt x="50" y="10"/>
                    </a:cubicBezTo>
                    <a:cubicBezTo>
                      <a:pt x="49" y="10"/>
                      <a:pt x="48" y="10"/>
                      <a:pt x="47" y="10"/>
                    </a:cubicBezTo>
                    <a:cubicBezTo>
                      <a:pt x="47" y="10"/>
                      <a:pt x="46" y="10"/>
                      <a:pt x="46" y="10"/>
                    </a:cubicBezTo>
                    <a:cubicBezTo>
                      <a:pt x="42" y="9"/>
                      <a:pt x="38" y="8"/>
                      <a:pt x="34" y="8"/>
                    </a:cubicBezTo>
                    <a:cubicBezTo>
                      <a:pt x="34" y="7"/>
                      <a:pt x="33" y="7"/>
                      <a:pt x="33" y="7"/>
                    </a:cubicBezTo>
                    <a:cubicBezTo>
                      <a:pt x="31" y="7"/>
                      <a:pt x="29" y="8"/>
                      <a:pt x="28" y="8"/>
                    </a:cubicBezTo>
                    <a:cubicBezTo>
                      <a:pt x="26" y="8"/>
                      <a:pt x="24" y="9"/>
                      <a:pt x="22" y="9"/>
                    </a:cubicBezTo>
                    <a:cubicBezTo>
                      <a:pt x="20" y="9"/>
                      <a:pt x="19" y="8"/>
                      <a:pt x="18" y="7"/>
                    </a:cubicBezTo>
                    <a:cubicBezTo>
                      <a:pt x="17" y="6"/>
                      <a:pt x="10" y="5"/>
                      <a:pt x="14" y="4"/>
                    </a:cubicBezTo>
                    <a:cubicBezTo>
                      <a:pt x="15" y="4"/>
                      <a:pt x="16" y="4"/>
                      <a:pt x="15" y="3"/>
                    </a:cubicBezTo>
                    <a:cubicBezTo>
                      <a:pt x="15" y="2"/>
                      <a:pt x="14" y="2"/>
                      <a:pt x="13" y="2"/>
                    </a:cubicBezTo>
                    <a:cubicBezTo>
                      <a:pt x="11" y="2"/>
                      <a:pt x="8" y="3"/>
                      <a:pt x="7" y="3"/>
                    </a:cubicBezTo>
                    <a:cubicBezTo>
                      <a:pt x="7" y="3"/>
                      <a:pt x="7" y="3"/>
                      <a:pt x="7" y="3"/>
                    </a:cubicBezTo>
                    <a:cubicBezTo>
                      <a:pt x="5" y="3"/>
                      <a:pt x="6"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8" name="Freeform 67">
                <a:extLst>
                  <a:ext uri="{FF2B5EF4-FFF2-40B4-BE49-F238E27FC236}">
                    <a16:creationId xmlns:a16="http://schemas.microsoft.com/office/drawing/2014/main" id="{46021C10-5AE3-4ECA-B8B8-160BDDC5B52D}"/>
                  </a:ext>
                </a:extLst>
              </p:cNvPr>
              <p:cNvSpPr>
                <a:spLocks/>
              </p:cNvSpPr>
              <p:nvPr/>
            </p:nvSpPr>
            <p:spPr bwMode="auto">
              <a:xfrm>
                <a:off x="5202" y="635"/>
                <a:ext cx="30" cy="30"/>
              </a:xfrm>
              <a:custGeom>
                <a:avLst/>
                <a:gdLst>
                  <a:gd name="T0" fmla="*/ 11 w 13"/>
                  <a:gd name="T1" fmla="*/ 0 h 13"/>
                  <a:gd name="T2" fmla="*/ 6 w 13"/>
                  <a:gd name="T3" fmla="*/ 2 h 13"/>
                  <a:gd name="T4" fmla="*/ 1 w 13"/>
                  <a:gd name="T5" fmla="*/ 7 h 13"/>
                  <a:gd name="T6" fmla="*/ 1 w 13"/>
                  <a:gd name="T7" fmla="*/ 12 h 13"/>
                  <a:gd name="T8" fmla="*/ 1 w 13"/>
                  <a:gd name="T9" fmla="*/ 13 h 13"/>
                  <a:gd name="T10" fmla="*/ 1 w 13"/>
                  <a:gd name="T11" fmla="*/ 13 h 13"/>
                  <a:gd name="T12" fmla="*/ 5 w 13"/>
                  <a:gd name="T13" fmla="*/ 11 h 13"/>
                  <a:gd name="T14" fmla="*/ 8 w 13"/>
                  <a:gd name="T15" fmla="*/ 10 h 13"/>
                  <a:gd name="T16" fmla="*/ 9 w 13"/>
                  <a:gd name="T17" fmla="*/ 10 h 13"/>
                  <a:gd name="T18" fmla="*/ 11 w 13"/>
                  <a:gd name="T19" fmla="*/ 4 h 13"/>
                  <a:gd name="T20" fmla="*/ 12 w 13"/>
                  <a:gd name="T21" fmla="*/ 0 h 13"/>
                  <a:gd name="T22" fmla="*/ 11 w 13"/>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3">
                    <a:moveTo>
                      <a:pt x="11" y="0"/>
                    </a:moveTo>
                    <a:cubicBezTo>
                      <a:pt x="10" y="0"/>
                      <a:pt x="7" y="1"/>
                      <a:pt x="6" y="2"/>
                    </a:cubicBezTo>
                    <a:cubicBezTo>
                      <a:pt x="4" y="3"/>
                      <a:pt x="2" y="4"/>
                      <a:pt x="1" y="7"/>
                    </a:cubicBezTo>
                    <a:cubicBezTo>
                      <a:pt x="0" y="8"/>
                      <a:pt x="0" y="10"/>
                      <a:pt x="1" y="12"/>
                    </a:cubicBezTo>
                    <a:cubicBezTo>
                      <a:pt x="1" y="12"/>
                      <a:pt x="0" y="13"/>
                      <a:pt x="1" y="13"/>
                    </a:cubicBezTo>
                    <a:cubicBezTo>
                      <a:pt x="1" y="13"/>
                      <a:pt x="1" y="13"/>
                      <a:pt x="1" y="13"/>
                    </a:cubicBezTo>
                    <a:cubicBezTo>
                      <a:pt x="2" y="13"/>
                      <a:pt x="4" y="12"/>
                      <a:pt x="5" y="11"/>
                    </a:cubicBezTo>
                    <a:cubicBezTo>
                      <a:pt x="6" y="10"/>
                      <a:pt x="7" y="10"/>
                      <a:pt x="8" y="10"/>
                    </a:cubicBezTo>
                    <a:cubicBezTo>
                      <a:pt x="8" y="10"/>
                      <a:pt x="9" y="10"/>
                      <a:pt x="9" y="10"/>
                    </a:cubicBezTo>
                    <a:cubicBezTo>
                      <a:pt x="9" y="7"/>
                      <a:pt x="10" y="7"/>
                      <a:pt x="11" y="4"/>
                    </a:cubicBezTo>
                    <a:cubicBezTo>
                      <a:pt x="12" y="3"/>
                      <a:pt x="13" y="1"/>
                      <a:pt x="12" y="0"/>
                    </a:cubicBezTo>
                    <a:cubicBezTo>
                      <a:pt x="12" y="0"/>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9" name="Freeform 68">
                <a:extLst>
                  <a:ext uri="{FF2B5EF4-FFF2-40B4-BE49-F238E27FC236}">
                    <a16:creationId xmlns:a16="http://schemas.microsoft.com/office/drawing/2014/main" id="{DD91EA9C-D039-4147-A774-A0963B8C3D4F}"/>
                  </a:ext>
                </a:extLst>
              </p:cNvPr>
              <p:cNvSpPr>
                <a:spLocks/>
              </p:cNvSpPr>
              <p:nvPr/>
            </p:nvSpPr>
            <p:spPr bwMode="auto">
              <a:xfrm>
                <a:off x="5034" y="533"/>
                <a:ext cx="16" cy="21"/>
              </a:xfrm>
              <a:custGeom>
                <a:avLst/>
                <a:gdLst>
                  <a:gd name="T0" fmla="*/ 2 w 7"/>
                  <a:gd name="T1" fmla="*/ 0 h 9"/>
                  <a:gd name="T2" fmla="*/ 0 w 7"/>
                  <a:gd name="T3" fmla="*/ 1 h 9"/>
                  <a:gd name="T4" fmla="*/ 7 w 7"/>
                  <a:gd name="T5" fmla="*/ 9 h 9"/>
                  <a:gd name="T6" fmla="*/ 6 w 7"/>
                  <a:gd name="T7" fmla="*/ 4 h 9"/>
                  <a:gd name="T8" fmla="*/ 4 w 7"/>
                  <a:gd name="T9" fmla="*/ 3 h 9"/>
                  <a:gd name="T10" fmla="*/ 2 w 7"/>
                  <a:gd name="T11" fmla="*/ 0 h 9"/>
                </a:gdLst>
                <a:ahLst/>
                <a:cxnLst>
                  <a:cxn ang="0">
                    <a:pos x="T0" y="T1"/>
                  </a:cxn>
                  <a:cxn ang="0">
                    <a:pos x="T2" y="T3"/>
                  </a:cxn>
                  <a:cxn ang="0">
                    <a:pos x="T4" y="T5"/>
                  </a:cxn>
                  <a:cxn ang="0">
                    <a:pos x="T6" y="T7"/>
                  </a:cxn>
                  <a:cxn ang="0">
                    <a:pos x="T8" y="T9"/>
                  </a:cxn>
                  <a:cxn ang="0">
                    <a:pos x="T10" y="T11"/>
                  </a:cxn>
                </a:cxnLst>
                <a:rect l="0" t="0" r="r" b="b"/>
                <a:pathLst>
                  <a:path w="7" h="9">
                    <a:moveTo>
                      <a:pt x="2" y="0"/>
                    </a:moveTo>
                    <a:cubicBezTo>
                      <a:pt x="2" y="0"/>
                      <a:pt x="1" y="1"/>
                      <a:pt x="0" y="1"/>
                    </a:cubicBezTo>
                    <a:cubicBezTo>
                      <a:pt x="2" y="4"/>
                      <a:pt x="4" y="6"/>
                      <a:pt x="7" y="9"/>
                    </a:cubicBezTo>
                    <a:cubicBezTo>
                      <a:pt x="7" y="7"/>
                      <a:pt x="7" y="5"/>
                      <a:pt x="6" y="4"/>
                    </a:cubicBezTo>
                    <a:cubicBezTo>
                      <a:pt x="6" y="3"/>
                      <a:pt x="6" y="4"/>
                      <a:pt x="4" y="3"/>
                    </a:cubicBezTo>
                    <a:cubicBezTo>
                      <a:pt x="3"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0" name="Freeform 69">
                <a:extLst>
                  <a:ext uri="{FF2B5EF4-FFF2-40B4-BE49-F238E27FC236}">
                    <a16:creationId xmlns:a16="http://schemas.microsoft.com/office/drawing/2014/main" id="{B86A98C7-718E-4EF2-8343-D81165B2D480}"/>
                  </a:ext>
                </a:extLst>
              </p:cNvPr>
              <p:cNvSpPr>
                <a:spLocks/>
              </p:cNvSpPr>
              <p:nvPr/>
            </p:nvSpPr>
            <p:spPr bwMode="auto">
              <a:xfrm>
                <a:off x="4932" y="467"/>
                <a:ext cx="100" cy="71"/>
              </a:xfrm>
              <a:custGeom>
                <a:avLst/>
                <a:gdLst>
                  <a:gd name="T0" fmla="*/ 10 w 42"/>
                  <a:gd name="T1" fmla="*/ 0 h 30"/>
                  <a:gd name="T2" fmla="*/ 0 w 42"/>
                  <a:gd name="T3" fmla="*/ 5 h 30"/>
                  <a:gd name="T4" fmla="*/ 4 w 42"/>
                  <a:gd name="T5" fmla="*/ 4 h 30"/>
                  <a:gd name="T6" fmla="*/ 7 w 42"/>
                  <a:gd name="T7" fmla="*/ 5 h 30"/>
                  <a:gd name="T8" fmla="*/ 19 w 42"/>
                  <a:gd name="T9" fmla="*/ 16 h 30"/>
                  <a:gd name="T10" fmla="*/ 22 w 42"/>
                  <a:gd name="T11" fmla="*/ 17 h 30"/>
                  <a:gd name="T12" fmla="*/ 24 w 42"/>
                  <a:gd name="T13" fmla="*/ 17 h 30"/>
                  <a:gd name="T14" fmla="*/ 25 w 42"/>
                  <a:gd name="T15" fmla="*/ 17 h 30"/>
                  <a:gd name="T16" fmla="*/ 27 w 42"/>
                  <a:gd name="T17" fmla="*/ 17 h 30"/>
                  <a:gd name="T18" fmla="*/ 31 w 42"/>
                  <a:gd name="T19" fmla="*/ 23 h 30"/>
                  <a:gd name="T20" fmla="*/ 39 w 42"/>
                  <a:gd name="T21" fmla="*/ 30 h 30"/>
                  <a:gd name="T22" fmla="*/ 41 w 42"/>
                  <a:gd name="T23" fmla="*/ 24 h 30"/>
                  <a:gd name="T24" fmla="*/ 38 w 42"/>
                  <a:gd name="T25" fmla="*/ 24 h 30"/>
                  <a:gd name="T26" fmla="*/ 33 w 42"/>
                  <a:gd name="T27" fmla="*/ 20 h 30"/>
                  <a:gd name="T28" fmla="*/ 32 w 42"/>
                  <a:gd name="T29" fmla="*/ 17 h 30"/>
                  <a:gd name="T30" fmla="*/ 32 w 42"/>
                  <a:gd name="T31" fmla="*/ 13 h 30"/>
                  <a:gd name="T32" fmla="*/ 30 w 42"/>
                  <a:gd name="T33" fmla="*/ 12 h 30"/>
                  <a:gd name="T34" fmla="*/ 29 w 42"/>
                  <a:gd name="T35" fmla="*/ 10 h 30"/>
                  <a:gd name="T36" fmla="*/ 28 w 42"/>
                  <a:gd name="T37" fmla="*/ 10 h 30"/>
                  <a:gd name="T38" fmla="*/ 26 w 42"/>
                  <a:gd name="T39" fmla="*/ 10 h 30"/>
                  <a:gd name="T40" fmla="*/ 25 w 42"/>
                  <a:gd name="T41" fmla="*/ 10 h 30"/>
                  <a:gd name="T42" fmla="*/ 24 w 42"/>
                  <a:gd name="T43" fmla="*/ 10 h 30"/>
                  <a:gd name="T44" fmla="*/ 20 w 42"/>
                  <a:gd name="T45" fmla="*/ 7 h 30"/>
                  <a:gd name="T46" fmla="*/ 16 w 42"/>
                  <a:gd name="T47" fmla="*/ 6 h 30"/>
                  <a:gd name="T48" fmla="*/ 10 w 42"/>
                  <a:gd name="T49" fmla="*/ 0 h 30"/>
                  <a:gd name="T50" fmla="*/ 10 w 42"/>
                  <a:gd name="T5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 h="30">
                    <a:moveTo>
                      <a:pt x="10" y="0"/>
                    </a:moveTo>
                    <a:cubicBezTo>
                      <a:pt x="6" y="0"/>
                      <a:pt x="3" y="3"/>
                      <a:pt x="0" y="5"/>
                    </a:cubicBezTo>
                    <a:cubicBezTo>
                      <a:pt x="1" y="5"/>
                      <a:pt x="3" y="4"/>
                      <a:pt x="4" y="4"/>
                    </a:cubicBezTo>
                    <a:cubicBezTo>
                      <a:pt x="5" y="4"/>
                      <a:pt x="6" y="5"/>
                      <a:pt x="7" y="5"/>
                    </a:cubicBezTo>
                    <a:cubicBezTo>
                      <a:pt x="12" y="7"/>
                      <a:pt x="14" y="14"/>
                      <a:pt x="19" y="16"/>
                    </a:cubicBezTo>
                    <a:cubicBezTo>
                      <a:pt x="20" y="17"/>
                      <a:pt x="21" y="17"/>
                      <a:pt x="22" y="17"/>
                    </a:cubicBezTo>
                    <a:cubicBezTo>
                      <a:pt x="23" y="17"/>
                      <a:pt x="23" y="17"/>
                      <a:pt x="24" y="17"/>
                    </a:cubicBezTo>
                    <a:cubicBezTo>
                      <a:pt x="24" y="17"/>
                      <a:pt x="25" y="17"/>
                      <a:pt x="25" y="17"/>
                    </a:cubicBezTo>
                    <a:cubicBezTo>
                      <a:pt x="26" y="17"/>
                      <a:pt x="26" y="17"/>
                      <a:pt x="27" y="17"/>
                    </a:cubicBezTo>
                    <a:cubicBezTo>
                      <a:pt x="29" y="18"/>
                      <a:pt x="30" y="21"/>
                      <a:pt x="31" y="23"/>
                    </a:cubicBezTo>
                    <a:cubicBezTo>
                      <a:pt x="33" y="27"/>
                      <a:pt x="35" y="28"/>
                      <a:pt x="39" y="30"/>
                    </a:cubicBezTo>
                    <a:cubicBezTo>
                      <a:pt x="42" y="27"/>
                      <a:pt x="40" y="27"/>
                      <a:pt x="41" y="24"/>
                    </a:cubicBezTo>
                    <a:cubicBezTo>
                      <a:pt x="40" y="24"/>
                      <a:pt x="39" y="24"/>
                      <a:pt x="38" y="24"/>
                    </a:cubicBezTo>
                    <a:cubicBezTo>
                      <a:pt x="35" y="24"/>
                      <a:pt x="34" y="23"/>
                      <a:pt x="33" y="20"/>
                    </a:cubicBezTo>
                    <a:cubicBezTo>
                      <a:pt x="32" y="19"/>
                      <a:pt x="32" y="18"/>
                      <a:pt x="32" y="17"/>
                    </a:cubicBezTo>
                    <a:cubicBezTo>
                      <a:pt x="32" y="15"/>
                      <a:pt x="32" y="14"/>
                      <a:pt x="32" y="13"/>
                    </a:cubicBezTo>
                    <a:cubicBezTo>
                      <a:pt x="31" y="13"/>
                      <a:pt x="30" y="12"/>
                      <a:pt x="30" y="12"/>
                    </a:cubicBezTo>
                    <a:cubicBezTo>
                      <a:pt x="29" y="11"/>
                      <a:pt x="31" y="11"/>
                      <a:pt x="29" y="10"/>
                    </a:cubicBezTo>
                    <a:cubicBezTo>
                      <a:pt x="29" y="10"/>
                      <a:pt x="28" y="10"/>
                      <a:pt x="28" y="10"/>
                    </a:cubicBezTo>
                    <a:cubicBezTo>
                      <a:pt x="27" y="10"/>
                      <a:pt x="27" y="10"/>
                      <a:pt x="26" y="10"/>
                    </a:cubicBezTo>
                    <a:cubicBezTo>
                      <a:pt x="26" y="10"/>
                      <a:pt x="25" y="10"/>
                      <a:pt x="25" y="10"/>
                    </a:cubicBezTo>
                    <a:cubicBezTo>
                      <a:pt x="24" y="10"/>
                      <a:pt x="24" y="10"/>
                      <a:pt x="24" y="10"/>
                    </a:cubicBezTo>
                    <a:cubicBezTo>
                      <a:pt x="22" y="9"/>
                      <a:pt x="21" y="8"/>
                      <a:pt x="20" y="7"/>
                    </a:cubicBezTo>
                    <a:cubicBezTo>
                      <a:pt x="18" y="7"/>
                      <a:pt x="17" y="7"/>
                      <a:pt x="16" y="6"/>
                    </a:cubicBezTo>
                    <a:cubicBezTo>
                      <a:pt x="13" y="4"/>
                      <a:pt x="13" y="0"/>
                      <a:pt x="10" y="0"/>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1" name="Freeform 70">
                <a:extLst>
                  <a:ext uri="{FF2B5EF4-FFF2-40B4-BE49-F238E27FC236}">
                    <a16:creationId xmlns:a16="http://schemas.microsoft.com/office/drawing/2014/main" id="{11CAD415-DB10-4341-9508-822168306F77}"/>
                  </a:ext>
                </a:extLst>
              </p:cNvPr>
              <p:cNvSpPr>
                <a:spLocks/>
              </p:cNvSpPr>
              <p:nvPr/>
            </p:nvSpPr>
            <p:spPr bwMode="auto">
              <a:xfrm>
                <a:off x="5140" y="547"/>
                <a:ext cx="29" cy="10"/>
              </a:xfrm>
              <a:custGeom>
                <a:avLst/>
                <a:gdLst>
                  <a:gd name="T0" fmla="*/ 5 w 12"/>
                  <a:gd name="T1" fmla="*/ 0 h 4"/>
                  <a:gd name="T2" fmla="*/ 0 w 12"/>
                  <a:gd name="T3" fmla="*/ 1 h 4"/>
                  <a:gd name="T4" fmla="*/ 5 w 12"/>
                  <a:gd name="T5" fmla="*/ 4 h 4"/>
                  <a:gd name="T6" fmla="*/ 11 w 12"/>
                  <a:gd name="T7" fmla="*/ 0 h 4"/>
                  <a:gd name="T8" fmla="*/ 5 w 12"/>
                  <a:gd name="T9" fmla="*/ 0 h 4"/>
                </a:gdLst>
                <a:ahLst/>
                <a:cxnLst>
                  <a:cxn ang="0">
                    <a:pos x="T0" y="T1"/>
                  </a:cxn>
                  <a:cxn ang="0">
                    <a:pos x="T2" y="T3"/>
                  </a:cxn>
                  <a:cxn ang="0">
                    <a:pos x="T4" y="T5"/>
                  </a:cxn>
                  <a:cxn ang="0">
                    <a:pos x="T6" y="T7"/>
                  </a:cxn>
                  <a:cxn ang="0">
                    <a:pos x="T8" y="T9"/>
                  </a:cxn>
                </a:cxnLst>
                <a:rect l="0" t="0" r="r" b="b"/>
                <a:pathLst>
                  <a:path w="12" h="4">
                    <a:moveTo>
                      <a:pt x="5" y="0"/>
                    </a:moveTo>
                    <a:cubicBezTo>
                      <a:pt x="3" y="0"/>
                      <a:pt x="2" y="0"/>
                      <a:pt x="0" y="1"/>
                    </a:cubicBezTo>
                    <a:cubicBezTo>
                      <a:pt x="2" y="2"/>
                      <a:pt x="4" y="3"/>
                      <a:pt x="5" y="4"/>
                    </a:cubicBezTo>
                    <a:cubicBezTo>
                      <a:pt x="7" y="3"/>
                      <a:pt x="12" y="3"/>
                      <a:pt x="11" y="0"/>
                    </a:cubicBezTo>
                    <a:cubicBezTo>
                      <a:pt x="9" y="0"/>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2" name="Freeform 71">
                <a:extLst>
                  <a:ext uri="{FF2B5EF4-FFF2-40B4-BE49-F238E27FC236}">
                    <a16:creationId xmlns:a16="http://schemas.microsoft.com/office/drawing/2014/main" id="{297FF4F9-A89A-4CD1-827E-E065BA844F88}"/>
                  </a:ext>
                </a:extLst>
              </p:cNvPr>
              <p:cNvSpPr>
                <a:spLocks/>
              </p:cNvSpPr>
              <p:nvPr/>
            </p:nvSpPr>
            <p:spPr bwMode="auto">
              <a:xfrm>
                <a:off x="4965" y="550"/>
                <a:ext cx="7" cy="4"/>
              </a:xfrm>
              <a:custGeom>
                <a:avLst/>
                <a:gdLst>
                  <a:gd name="T0" fmla="*/ 2 w 3"/>
                  <a:gd name="T1" fmla="*/ 0 h 2"/>
                  <a:gd name="T2" fmla="*/ 0 w 3"/>
                  <a:gd name="T3" fmla="*/ 0 h 2"/>
                  <a:gd name="T4" fmla="*/ 1 w 3"/>
                  <a:gd name="T5" fmla="*/ 2 h 2"/>
                  <a:gd name="T6" fmla="*/ 3 w 3"/>
                  <a:gd name="T7" fmla="*/ 0 h 2"/>
                  <a:gd name="T8" fmla="*/ 2 w 3"/>
                  <a:gd name="T9" fmla="*/ 0 h 2"/>
                </a:gdLst>
                <a:ahLst/>
                <a:cxnLst>
                  <a:cxn ang="0">
                    <a:pos x="T0" y="T1"/>
                  </a:cxn>
                  <a:cxn ang="0">
                    <a:pos x="T2" y="T3"/>
                  </a:cxn>
                  <a:cxn ang="0">
                    <a:pos x="T4" y="T5"/>
                  </a:cxn>
                  <a:cxn ang="0">
                    <a:pos x="T6" y="T7"/>
                  </a:cxn>
                  <a:cxn ang="0">
                    <a:pos x="T8" y="T9"/>
                  </a:cxn>
                </a:cxnLst>
                <a:rect l="0" t="0" r="r" b="b"/>
                <a:pathLst>
                  <a:path w="3" h="2">
                    <a:moveTo>
                      <a:pt x="2" y="0"/>
                    </a:moveTo>
                    <a:cubicBezTo>
                      <a:pt x="1" y="0"/>
                      <a:pt x="1" y="0"/>
                      <a:pt x="0" y="0"/>
                    </a:cubicBezTo>
                    <a:cubicBezTo>
                      <a:pt x="0" y="1"/>
                      <a:pt x="0" y="2"/>
                      <a:pt x="1" y="2"/>
                    </a:cubicBezTo>
                    <a:cubicBezTo>
                      <a:pt x="2" y="1"/>
                      <a:pt x="2" y="1"/>
                      <a:pt x="3"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3" name="Freeform 72">
                <a:extLst>
                  <a:ext uri="{FF2B5EF4-FFF2-40B4-BE49-F238E27FC236}">
                    <a16:creationId xmlns:a16="http://schemas.microsoft.com/office/drawing/2014/main" id="{F2CE7DC1-311D-4DB1-B7E4-0FEF58599BFB}"/>
                  </a:ext>
                </a:extLst>
              </p:cNvPr>
              <p:cNvSpPr>
                <a:spLocks/>
              </p:cNvSpPr>
              <p:nvPr/>
            </p:nvSpPr>
            <p:spPr bwMode="auto">
              <a:xfrm>
                <a:off x="5166" y="673"/>
                <a:ext cx="10" cy="26"/>
              </a:xfrm>
              <a:custGeom>
                <a:avLst/>
                <a:gdLst>
                  <a:gd name="T0" fmla="*/ 4 w 4"/>
                  <a:gd name="T1" fmla="*/ 0 h 11"/>
                  <a:gd name="T2" fmla="*/ 2 w 4"/>
                  <a:gd name="T3" fmla="*/ 11 h 11"/>
                  <a:gd name="T4" fmla="*/ 4 w 4"/>
                  <a:gd name="T5" fmla="*/ 7 h 11"/>
                  <a:gd name="T6" fmla="*/ 2 w 4"/>
                  <a:gd name="T7" fmla="*/ 5 h 11"/>
                  <a:gd name="T8" fmla="*/ 4 w 4"/>
                  <a:gd name="T9" fmla="*/ 0 h 11"/>
                </a:gdLst>
                <a:ahLst/>
                <a:cxnLst>
                  <a:cxn ang="0">
                    <a:pos x="T0" y="T1"/>
                  </a:cxn>
                  <a:cxn ang="0">
                    <a:pos x="T2" y="T3"/>
                  </a:cxn>
                  <a:cxn ang="0">
                    <a:pos x="T4" y="T5"/>
                  </a:cxn>
                  <a:cxn ang="0">
                    <a:pos x="T6" y="T7"/>
                  </a:cxn>
                  <a:cxn ang="0">
                    <a:pos x="T8" y="T9"/>
                  </a:cxn>
                </a:cxnLst>
                <a:rect l="0" t="0" r="r" b="b"/>
                <a:pathLst>
                  <a:path w="4" h="11">
                    <a:moveTo>
                      <a:pt x="4" y="0"/>
                    </a:moveTo>
                    <a:cubicBezTo>
                      <a:pt x="0" y="5"/>
                      <a:pt x="0" y="6"/>
                      <a:pt x="2" y="11"/>
                    </a:cubicBezTo>
                    <a:cubicBezTo>
                      <a:pt x="3" y="8"/>
                      <a:pt x="4" y="10"/>
                      <a:pt x="4" y="7"/>
                    </a:cubicBezTo>
                    <a:cubicBezTo>
                      <a:pt x="3" y="7"/>
                      <a:pt x="2" y="6"/>
                      <a:pt x="2" y="5"/>
                    </a:cubicBezTo>
                    <a:cubicBezTo>
                      <a:pt x="2" y="4"/>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4" name="Freeform 73">
                <a:extLst>
                  <a:ext uri="{FF2B5EF4-FFF2-40B4-BE49-F238E27FC236}">
                    <a16:creationId xmlns:a16="http://schemas.microsoft.com/office/drawing/2014/main" id="{D7606FE7-CEE0-474E-8F9A-4CB4D18D4C24}"/>
                  </a:ext>
                </a:extLst>
              </p:cNvPr>
              <p:cNvSpPr>
                <a:spLocks/>
              </p:cNvSpPr>
              <p:nvPr/>
            </p:nvSpPr>
            <p:spPr bwMode="auto">
              <a:xfrm>
                <a:off x="5015" y="613"/>
                <a:ext cx="14" cy="8"/>
              </a:xfrm>
              <a:custGeom>
                <a:avLst/>
                <a:gdLst>
                  <a:gd name="T0" fmla="*/ 5 w 6"/>
                  <a:gd name="T1" fmla="*/ 0 h 3"/>
                  <a:gd name="T2" fmla="*/ 0 w 6"/>
                  <a:gd name="T3" fmla="*/ 3 h 3"/>
                  <a:gd name="T4" fmla="*/ 5 w 6"/>
                  <a:gd name="T5" fmla="*/ 0 h 3"/>
                </a:gdLst>
                <a:ahLst/>
                <a:cxnLst>
                  <a:cxn ang="0">
                    <a:pos x="T0" y="T1"/>
                  </a:cxn>
                  <a:cxn ang="0">
                    <a:pos x="T2" y="T3"/>
                  </a:cxn>
                  <a:cxn ang="0">
                    <a:pos x="T4" y="T5"/>
                  </a:cxn>
                </a:cxnLst>
                <a:rect l="0" t="0" r="r" b="b"/>
                <a:pathLst>
                  <a:path w="6" h="3">
                    <a:moveTo>
                      <a:pt x="5" y="0"/>
                    </a:moveTo>
                    <a:cubicBezTo>
                      <a:pt x="3" y="1"/>
                      <a:pt x="1" y="2"/>
                      <a:pt x="0" y="3"/>
                    </a:cubicBezTo>
                    <a:cubicBezTo>
                      <a:pt x="2" y="2"/>
                      <a:pt x="6" y="3"/>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5" name="Freeform 74">
                <a:extLst>
                  <a:ext uri="{FF2B5EF4-FFF2-40B4-BE49-F238E27FC236}">
                    <a16:creationId xmlns:a16="http://schemas.microsoft.com/office/drawing/2014/main" id="{1BF70AAE-0925-4BBE-A0CA-DABEFD611D53}"/>
                  </a:ext>
                </a:extLst>
              </p:cNvPr>
              <p:cNvSpPr>
                <a:spLocks/>
              </p:cNvSpPr>
              <p:nvPr/>
            </p:nvSpPr>
            <p:spPr bwMode="auto">
              <a:xfrm>
                <a:off x="4932" y="637"/>
                <a:ext cx="10" cy="17"/>
              </a:xfrm>
              <a:custGeom>
                <a:avLst/>
                <a:gdLst>
                  <a:gd name="T0" fmla="*/ 2 w 4"/>
                  <a:gd name="T1" fmla="*/ 0 h 7"/>
                  <a:gd name="T2" fmla="*/ 4 w 4"/>
                  <a:gd name="T3" fmla="*/ 7 h 7"/>
                  <a:gd name="T4" fmla="*/ 2 w 4"/>
                  <a:gd name="T5" fmla="*/ 0 h 7"/>
                </a:gdLst>
                <a:ahLst/>
                <a:cxnLst>
                  <a:cxn ang="0">
                    <a:pos x="T0" y="T1"/>
                  </a:cxn>
                  <a:cxn ang="0">
                    <a:pos x="T2" y="T3"/>
                  </a:cxn>
                  <a:cxn ang="0">
                    <a:pos x="T4" y="T5"/>
                  </a:cxn>
                </a:cxnLst>
                <a:rect l="0" t="0" r="r" b="b"/>
                <a:pathLst>
                  <a:path w="4" h="7">
                    <a:moveTo>
                      <a:pt x="2" y="0"/>
                    </a:moveTo>
                    <a:cubicBezTo>
                      <a:pt x="1" y="3"/>
                      <a:pt x="0" y="6"/>
                      <a:pt x="4" y="7"/>
                    </a:cubicBezTo>
                    <a:cubicBezTo>
                      <a:pt x="4" y="4"/>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6" name="Freeform 75">
                <a:extLst>
                  <a:ext uri="{FF2B5EF4-FFF2-40B4-BE49-F238E27FC236}">
                    <a16:creationId xmlns:a16="http://schemas.microsoft.com/office/drawing/2014/main" id="{9F668847-139D-418B-AC8A-11301C203915}"/>
                  </a:ext>
                </a:extLst>
              </p:cNvPr>
              <p:cNvSpPr>
                <a:spLocks/>
              </p:cNvSpPr>
              <p:nvPr/>
            </p:nvSpPr>
            <p:spPr bwMode="auto">
              <a:xfrm>
                <a:off x="4807" y="538"/>
                <a:ext cx="21" cy="19"/>
              </a:xfrm>
              <a:custGeom>
                <a:avLst/>
                <a:gdLst>
                  <a:gd name="T0" fmla="*/ 3 w 9"/>
                  <a:gd name="T1" fmla="*/ 0 h 8"/>
                  <a:gd name="T2" fmla="*/ 5 w 9"/>
                  <a:gd name="T3" fmla="*/ 8 h 8"/>
                  <a:gd name="T4" fmla="*/ 8 w 9"/>
                  <a:gd name="T5" fmla="*/ 6 h 8"/>
                  <a:gd name="T6" fmla="*/ 9 w 9"/>
                  <a:gd name="T7" fmla="*/ 6 h 8"/>
                  <a:gd name="T8" fmla="*/ 3 w 9"/>
                  <a:gd name="T9" fmla="*/ 2 h 8"/>
                  <a:gd name="T10" fmla="*/ 3 w 9"/>
                  <a:gd name="T11" fmla="*/ 0 h 8"/>
                </a:gdLst>
                <a:ahLst/>
                <a:cxnLst>
                  <a:cxn ang="0">
                    <a:pos x="T0" y="T1"/>
                  </a:cxn>
                  <a:cxn ang="0">
                    <a:pos x="T2" y="T3"/>
                  </a:cxn>
                  <a:cxn ang="0">
                    <a:pos x="T4" y="T5"/>
                  </a:cxn>
                  <a:cxn ang="0">
                    <a:pos x="T6" y="T7"/>
                  </a:cxn>
                  <a:cxn ang="0">
                    <a:pos x="T8" y="T9"/>
                  </a:cxn>
                  <a:cxn ang="0">
                    <a:pos x="T10" y="T11"/>
                  </a:cxn>
                </a:cxnLst>
                <a:rect l="0" t="0" r="r" b="b"/>
                <a:pathLst>
                  <a:path w="9" h="8">
                    <a:moveTo>
                      <a:pt x="3" y="0"/>
                    </a:moveTo>
                    <a:cubicBezTo>
                      <a:pt x="0" y="0"/>
                      <a:pt x="5" y="7"/>
                      <a:pt x="5" y="8"/>
                    </a:cubicBezTo>
                    <a:cubicBezTo>
                      <a:pt x="6" y="6"/>
                      <a:pt x="7" y="6"/>
                      <a:pt x="8" y="6"/>
                    </a:cubicBezTo>
                    <a:cubicBezTo>
                      <a:pt x="8" y="6"/>
                      <a:pt x="9" y="6"/>
                      <a:pt x="9" y="6"/>
                    </a:cubicBezTo>
                    <a:cubicBezTo>
                      <a:pt x="7" y="4"/>
                      <a:pt x="6" y="4"/>
                      <a:pt x="3" y="2"/>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7" name="Freeform 76">
                <a:extLst>
                  <a:ext uri="{FF2B5EF4-FFF2-40B4-BE49-F238E27FC236}">
                    <a16:creationId xmlns:a16="http://schemas.microsoft.com/office/drawing/2014/main" id="{5199DB90-FF2B-4B9B-B098-D4216278EC80}"/>
                  </a:ext>
                </a:extLst>
              </p:cNvPr>
              <p:cNvSpPr>
                <a:spLocks/>
              </p:cNvSpPr>
              <p:nvPr/>
            </p:nvSpPr>
            <p:spPr bwMode="auto">
              <a:xfrm>
                <a:off x="5022" y="351"/>
                <a:ext cx="21" cy="14"/>
              </a:xfrm>
              <a:custGeom>
                <a:avLst/>
                <a:gdLst>
                  <a:gd name="T0" fmla="*/ 5 w 9"/>
                  <a:gd name="T1" fmla="*/ 0 h 6"/>
                  <a:gd name="T2" fmla="*/ 3 w 9"/>
                  <a:gd name="T3" fmla="*/ 1 h 6"/>
                  <a:gd name="T4" fmla="*/ 4 w 9"/>
                  <a:gd name="T5" fmla="*/ 6 h 6"/>
                  <a:gd name="T6" fmla="*/ 7 w 9"/>
                  <a:gd name="T7" fmla="*/ 2 h 6"/>
                  <a:gd name="T8" fmla="*/ 5 w 9"/>
                  <a:gd name="T9" fmla="*/ 0 h 6"/>
                </a:gdLst>
                <a:ahLst/>
                <a:cxnLst>
                  <a:cxn ang="0">
                    <a:pos x="T0" y="T1"/>
                  </a:cxn>
                  <a:cxn ang="0">
                    <a:pos x="T2" y="T3"/>
                  </a:cxn>
                  <a:cxn ang="0">
                    <a:pos x="T4" y="T5"/>
                  </a:cxn>
                  <a:cxn ang="0">
                    <a:pos x="T6" y="T7"/>
                  </a:cxn>
                  <a:cxn ang="0">
                    <a:pos x="T8" y="T9"/>
                  </a:cxn>
                </a:cxnLst>
                <a:rect l="0" t="0" r="r" b="b"/>
                <a:pathLst>
                  <a:path w="9" h="6">
                    <a:moveTo>
                      <a:pt x="5" y="0"/>
                    </a:moveTo>
                    <a:cubicBezTo>
                      <a:pt x="4" y="0"/>
                      <a:pt x="3" y="1"/>
                      <a:pt x="3" y="1"/>
                    </a:cubicBezTo>
                    <a:cubicBezTo>
                      <a:pt x="0" y="3"/>
                      <a:pt x="2" y="4"/>
                      <a:pt x="4" y="6"/>
                    </a:cubicBezTo>
                    <a:cubicBezTo>
                      <a:pt x="6" y="5"/>
                      <a:pt x="9" y="4"/>
                      <a:pt x="7" y="2"/>
                    </a:cubicBezTo>
                    <a:cubicBezTo>
                      <a:pt x="7"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8" name="Freeform 77">
                <a:extLst>
                  <a:ext uri="{FF2B5EF4-FFF2-40B4-BE49-F238E27FC236}">
                    <a16:creationId xmlns:a16="http://schemas.microsoft.com/office/drawing/2014/main" id="{B2DC70B5-8656-48E5-B330-611484DE024B}"/>
                  </a:ext>
                </a:extLst>
              </p:cNvPr>
              <p:cNvSpPr>
                <a:spLocks/>
              </p:cNvSpPr>
              <p:nvPr/>
            </p:nvSpPr>
            <p:spPr bwMode="auto">
              <a:xfrm>
                <a:off x="5017" y="569"/>
                <a:ext cx="3" cy="4"/>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1"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9" name="Freeform 78">
                <a:extLst>
                  <a:ext uri="{FF2B5EF4-FFF2-40B4-BE49-F238E27FC236}">
                    <a16:creationId xmlns:a16="http://schemas.microsoft.com/office/drawing/2014/main" id="{D7479D21-46E6-42F3-ABCF-E70114DB8C4F}"/>
                  </a:ext>
                </a:extLst>
              </p:cNvPr>
              <p:cNvSpPr>
                <a:spLocks/>
              </p:cNvSpPr>
              <p:nvPr/>
            </p:nvSpPr>
            <p:spPr bwMode="auto">
              <a:xfrm>
                <a:off x="5157" y="592"/>
                <a:ext cx="9" cy="10"/>
              </a:xfrm>
              <a:custGeom>
                <a:avLst/>
                <a:gdLst>
                  <a:gd name="T0" fmla="*/ 0 w 4"/>
                  <a:gd name="T1" fmla="*/ 0 h 4"/>
                  <a:gd name="T2" fmla="*/ 2 w 4"/>
                  <a:gd name="T3" fmla="*/ 4 h 4"/>
                  <a:gd name="T4" fmla="*/ 0 w 4"/>
                  <a:gd name="T5" fmla="*/ 0 h 4"/>
                </a:gdLst>
                <a:ahLst/>
                <a:cxnLst>
                  <a:cxn ang="0">
                    <a:pos x="T0" y="T1"/>
                  </a:cxn>
                  <a:cxn ang="0">
                    <a:pos x="T2" y="T3"/>
                  </a:cxn>
                  <a:cxn ang="0">
                    <a:pos x="T4" y="T5"/>
                  </a:cxn>
                </a:cxnLst>
                <a:rect l="0" t="0" r="r" b="b"/>
                <a:pathLst>
                  <a:path w="4" h="4">
                    <a:moveTo>
                      <a:pt x="0" y="0"/>
                    </a:moveTo>
                    <a:cubicBezTo>
                      <a:pt x="1" y="2"/>
                      <a:pt x="1" y="3"/>
                      <a:pt x="2" y="4"/>
                    </a:cubicBezTo>
                    <a:cubicBezTo>
                      <a:pt x="4"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0" name="Freeform 79">
                <a:extLst>
                  <a:ext uri="{FF2B5EF4-FFF2-40B4-BE49-F238E27FC236}">
                    <a16:creationId xmlns:a16="http://schemas.microsoft.com/office/drawing/2014/main" id="{D0831B49-8252-4650-9987-2EFB7260B084}"/>
                  </a:ext>
                </a:extLst>
              </p:cNvPr>
              <p:cNvSpPr>
                <a:spLocks/>
              </p:cNvSpPr>
              <p:nvPr/>
            </p:nvSpPr>
            <p:spPr bwMode="auto">
              <a:xfrm>
                <a:off x="5013" y="554"/>
                <a:ext cx="7" cy="10"/>
              </a:xfrm>
              <a:custGeom>
                <a:avLst/>
                <a:gdLst>
                  <a:gd name="T0" fmla="*/ 2 w 3"/>
                  <a:gd name="T1" fmla="*/ 0 h 4"/>
                  <a:gd name="T2" fmla="*/ 0 w 3"/>
                  <a:gd name="T3" fmla="*/ 4 h 4"/>
                  <a:gd name="T4" fmla="*/ 2 w 3"/>
                  <a:gd name="T5" fmla="*/ 0 h 4"/>
                </a:gdLst>
                <a:ahLst/>
                <a:cxnLst>
                  <a:cxn ang="0">
                    <a:pos x="T0" y="T1"/>
                  </a:cxn>
                  <a:cxn ang="0">
                    <a:pos x="T2" y="T3"/>
                  </a:cxn>
                  <a:cxn ang="0">
                    <a:pos x="T4" y="T5"/>
                  </a:cxn>
                </a:cxnLst>
                <a:rect l="0" t="0" r="r" b="b"/>
                <a:pathLst>
                  <a:path w="3" h="4">
                    <a:moveTo>
                      <a:pt x="2" y="0"/>
                    </a:moveTo>
                    <a:cubicBezTo>
                      <a:pt x="1" y="1"/>
                      <a:pt x="1" y="3"/>
                      <a:pt x="0" y="4"/>
                    </a:cubicBezTo>
                    <a:cubicBezTo>
                      <a:pt x="1" y="3"/>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1" name="Freeform 80">
                <a:extLst>
                  <a:ext uri="{FF2B5EF4-FFF2-40B4-BE49-F238E27FC236}">
                    <a16:creationId xmlns:a16="http://schemas.microsoft.com/office/drawing/2014/main" id="{EB03C3AD-2695-4203-AFF8-D8BBCA7A0CCD}"/>
                  </a:ext>
                </a:extLst>
              </p:cNvPr>
              <p:cNvSpPr>
                <a:spLocks/>
              </p:cNvSpPr>
              <p:nvPr/>
            </p:nvSpPr>
            <p:spPr bwMode="auto">
              <a:xfrm>
                <a:off x="4793" y="505"/>
                <a:ext cx="23" cy="26"/>
              </a:xfrm>
              <a:custGeom>
                <a:avLst/>
                <a:gdLst>
                  <a:gd name="T0" fmla="*/ 5 w 10"/>
                  <a:gd name="T1" fmla="*/ 0 h 11"/>
                  <a:gd name="T2" fmla="*/ 3 w 10"/>
                  <a:gd name="T3" fmla="*/ 4 h 11"/>
                  <a:gd name="T4" fmla="*/ 0 w 10"/>
                  <a:gd name="T5" fmla="*/ 7 h 11"/>
                  <a:gd name="T6" fmla="*/ 0 w 10"/>
                  <a:gd name="T7" fmla="*/ 7 h 11"/>
                  <a:gd name="T8" fmla="*/ 1 w 10"/>
                  <a:gd name="T9" fmla="*/ 7 h 11"/>
                  <a:gd name="T10" fmla="*/ 2 w 10"/>
                  <a:gd name="T11" fmla="*/ 7 h 11"/>
                  <a:gd name="T12" fmla="*/ 4 w 10"/>
                  <a:gd name="T13" fmla="*/ 7 h 11"/>
                  <a:gd name="T14" fmla="*/ 3 w 10"/>
                  <a:gd name="T15" fmla="*/ 9 h 11"/>
                  <a:gd name="T16" fmla="*/ 5 w 10"/>
                  <a:gd name="T17" fmla="*/ 9 h 11"/>
                  <a:gd name="T18" fmla="*/ 5 w 10"/>
                  <a:gd name="T19" fmla="*/ 9 h 11"/>
                  <a:gd name="T20" fmla="*/ 5 w 10"/>
                  <a:gd name="T21" fmla="*/ 9 h 11"/>
                  <a:gd name="T22" fmla="*/ 6 w 10"/>
                  <a:gd name="T23" fmla="*/ 9 h 11"/>
                  <a:gd name="T24" fmla="*/ 10 w 10"/>
                  <a:gd name="T25" fmla="*/ 11 h 11"/>
                  <a:gd name="T26" fmla="*/ 10 w 10"/>
                  <a:gd name="T27" fmla="*/ 11 h 11"/>
                  <a:gd name="T28" fmla="*/ 5 w 10"/>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1">
                    <a:moveTo>
                      <a:pt x="5" y="0"/>
                    </a:moveTo>
                    <a:cubicBezTo>
                      <a:pt x="4" y="1"/>
                      <a:pt x="4" y="2"/>
                      <a:pt x="3" y="4"/>
                    </a:cubicBezTo>
                    <a:cubicBezTo>
                      <a:pt x="1" y="5"/>
                      <a:pt x="0" y="5"/>
                      <a:pt x="0" y="7"/>
                    </a:cubicBezTo>
                    <a:cubicBezTo>
                      <a:pt x="0" y="7"/>
                      <a:pt x="0" y="7"/>
                      <a:pt x="0" y="7"/>
                    </a:cubicBezTo>
                    <a:cubicBezTo>
                      <a:pt x="0" y="7"/>
                      <a:pt x="1" y="7"/>
                      <a:pt x="1" y="7"/>
                    </a:cubicBezTo>
                    <a:cubicBezTo>
                      <a:pt x="2" y="7"/>
                      <a:pt x="2" y="7"/>
                      <a:pt x="2" y="7"/>
                    </a:cubicBezTo>
                    <a:cubicBezTo>
                      <a:pt x="3" y="7"/>
                      <a:pt x="3" y="7"/>
                      <a:pt x="4" y="7"/>
                    </a:cubicBezTo>
                    <a:cubicBezTo>
                      <a:pt x="3" y="9"/>
                      <a:pt x="3" y="9"/>
                      <a:pt x="3" y="9"/>
                    </a:cubicBezTo>
                    <a:cubicBezTo>
                      <a:pt x="4" y="9"/>
                      <a:pt x="4" y="9"/>
                      <a:pt x="5" y="9"/>
                    </a:cubicBezTo>
                    <a:cubicBezTo>
                      <a:pt x="5" y="9"/>
                      <a:pt x="5" y="9"/>
                      <a:pt x="5" y="9"/>
                    </a:cubicBezTo>
                    <a:cubicBezTo>
                      <a:pt x="5" y="9"/>
                      <a:pt x="5" y="9"/>
                      <a:pt x="5" y="9"/>
                    </a:cubicBezTo>
                    <a:cubicBezTo>
                      <a:pt x="6" y="9"/>
                      <a:pt x="6" y="9"/>
                      <a:pt x="6" y="9"/>
                    </a:cubicBezTo>
                    <a:cubicBezTo>
                      <a:pt x="7" y="10"/>
                      <a:pt x="9" y="11"/>
                      <a:pt x="10" y="11"/>
                    </a:cubicBezTo>
                    <a:cubicBezTo>
                      <a:pt x="10" y="11"/>
                      <a:pt x="10" y="11"/>
                      <a:pt x="10" y="11"/>
                    </a:cubicBezTo>
                    <a:cubicBezTo>
                      <a:pt x="9" y="7"/>
                      <a:pt x="7" y="3"/>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2" name="Freeform 81">
                <a:extLst>
                  <a:ext uri="{FF2B5EF4-FFF2-40B4-BE49-F238E27FC236}">
                    <a16:creationId xmlns:a16="http://schemas.microsoft.com/office/drawing/2014/main" id="{E423E70F-FBDF-4B92-913B-D8E7E5187826}"/>
                  </a:ext>
                </a:extLst>
              </p:cNvPr>
              <p:cNvSpPr>
                <a:spLocks/>
              </p:cNvSpPr>
              <p:nvPr/>
            </p:nvSpPr>
            <p:spPr bwMode="auto">
              <a:xfrm>
                <a:off x="5072" y="569"/>
                <a:ext cx="4" cy="2"/>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0"/>
                      <a:pt x="1" y="1"/>
                      <a:pt x="0" y="1"/>
                    </a:cubicBezTo>
                    <a:cubicBezTo>
                      <a:pt x="1" y="1"/>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3" name="Freeform 82">
                <a:extLst>
                  <a:ext uri="{FF2B5EF4-FFF2-40B4-BE49-F238E27FC236}">
                    <a16:creationId xmlns:a16="http://schemas.microsoft.com/office/drawing/2014/main" id="{22F5A44F-A2E9-4C08-BA56-EA93DB7DA836}"/>
                  </a:ext>
                </a:extLst>
              </p:cNvPr>
              <p:cNvSpPr>
                <a:spLocks/>
              </p:cNvSpPr>
              <p:nvPr/>
            </p:nvSpPr>
            <p:spPr bwMode="auto">
              <a:xfrm>
                <a:off x="5161" y="606"/>
                <a:ext cx="22" cy="10"/>
              </a:xfrm>
              <a:custGeom>
                <a:avLst/>
                <a:gdLst>
                  <a:gd name="T0" fmla="*/ 6 w 9"/>
                  <a:gd name="T1" fmla="*/ 0 h 4"/>
                  <a:gd name="T2" fmla="*/ 0 w 9"/>
                  <a:gd name="T3" fmla="*/ 4 h 4"/>
                  <a:gd name="T4" fmla="*/ 9 w 9"/>
                  <a:gd name="T5" fmla="*/ 0 h 4"/>
                  <a:gd name="T6" fmla="*/ 6 w 9"/>
                  <a:gd name="T7" fmla="*/ 0 h 4"/>
                </a:gdLst>
                <a:ahLst/>
                <a:cxnLst>
                  <a:cxn ang="0">
                    <a:pos x="T0" y="T1"/>
                  </a:cxn>
                  <a:cxn ang="0">
                    <a:pos x="T2" y="T3"/>
                  </a:cxn>
                  <a:cxn ang="0">
                    <a:pos x="T4" y="T5"/>
                  </a:cxn>
                  <a:cxn ang="0">
                    <a:pos x="T6" y="T7"/>
                  </a:cxn>
                </a:cxnLst>
                <a:rect l="0" t="0" r="r" b="b"/>
                <a:pathLst>
                  <a:path w="9" h="4">
                    <a:moveTo>
                      <a:pt x="6" y="0"/>
                    </a:moveTo>
                    <a:cubicBezTo>
                      <a:pt x="3" y="0"/>
                      <a:pt x="2" y="1"/>
                      <a:pt x="0" y="4"/>
                    </a:cubicBezTo>
                    <a:cubicBezTo>
                      <a:pt x="2" y="2"/>
                      <a:pt x="7" y="2"/>
                      <a:pt x="9" y="0"/>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4" name="Freeform 83">
                <a:extLst>
                  <a:ext uri="{FF2B5EF4-FFF2-40B4-BE49-F238E27FC236}">
                    <a16:creationId xmlns:a16="http://schemas.microsoft.com/office/drawing/2014/main" id="{AAAF20E9-7CDC-4EB8-B64F-6223E61F4F45}"/>
                  </a:ext>
                </a:extLst>
              </p:cNvPr>
              <p:cNvSpPr>
                <a:spLocks/>
              </p:cNvSpPr>
              <p:nvPr/>
            </p:nvSpPr>
            <p:spPr bwMode="auto">
              <a:xfrm>
                <a:off x="5209" y="621"/>
                <a:ext cx="2" cy="7"/>
              </a:xfrm>
              <a:custGeom>
                <a:avLst/>
                <a:gdLst>
                  <a:gd name="T0" fmla="*/ 1 w 1"/>
                  <a:gd name="T1" fmla="*/ 0 h 3"/>
                  <a:gd name="T2" fmla="*/ 0 w 1"/>
                  <a:gd name="T3" fmla="*/ 3 h 3"/>
                  <a:gd name="T4" fmla="*/ 1 w 1"/>
                  <a:gd name="T5" fmla="*/ 0 h 3"/>
                </a:gdLst>
                <a:ahLst/>
                <a:cxnLst>
                  <a:cxn ang="0">
                    <a:pos x="T0" y="T1"/>
                  </a:cxn>
                  <a:cxn ang="0">
                    <a:pos x="T2" y="T3"/>
                  </a:cxn>
                  <a:cxn ang="0">
                    <a:pos x="T4" y="T5"/>
                  </a:cxn>
                </a:cxnLst>
                <a:rect l="0" t="0" r="r" b="b"/>
                <a:pathLst>
                  <a:path w="1" h="3">
                    <a:moveTo>
                      <a:pt x="1" y="0"/>
                    </a:moveTo>
                    <a:cubicBezTo>
                      <a:pt x="0" y="1"/>
                      <a:pt x="0" y="2"/>
                      <a:pt x="0" y="3"/>
                    </a:cubicBezTo>
                    <a:cubicBezTo>
                      <a:pt x="0"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5" name="Freeform 84">
                <a:extLst>
                  <a:ext uri="{FF2B5EF4-FFF2-40B4-BE49-F238E27FC236}">
                    <a16:creationId xmlns:a16="http://schemas.microsoft.com/office/drawing/2014/main" id="{76AFD1AD-BD18-4F22-A5B0-4D063AE09C01}"/>
                  </a:ext>
                </a:extLst>
              </p:cNvPr>
              <p:cNvSpPr>
                <a:spLocks/>
              </p:cNvSpPr>
              <p:nvPr/>
            </p:nvSpPr>
            <p:spPr bwMode="auto">
              <a:xfrm>
                <a:off x="4805" y="479"/>
                <a:ext cx="11" cy="19"/>
              </a:xfrm>
              <a:custGeom>
                <a:avLst/>
                <a:gdLst>
                  <a:gd name="T0" fmla="*/ 3 w 5"/>
                  <a:gd name="T1" fmla="*/ 0 h 8"/>
                  <a:gd name="T2" fmla="*/ 0 w 5"/>
                  <a:gd name="T3" fmla="*/ 8 h 8"/>
                  <a:gd name="T4" fmla="*/ 3 w 5"/>
                  <a:gd name="T5" fmla="*/ 0 h 8"/>
                </a:gdLst>
                <a:ahLst/>
                <a:cxnLst>
                  <a:cxn ang="0">
                    <a:pos x="T0" y="T1"/>
                  </a:cxn>
                  <a:cxn ang="0">
                    <a:pos x="T2" y="T3"/>
                  </a:cxn>
                  <a:cxn ang="0">
                    <a:pos x="T4" y="T5"/>
                  </a:cxn>
                </a:cxnLst>
                <a:rect l="0" t="0" r="r" b="b"/>
                <a:pathLst>
                  <a:path w="5" h="8">
                    <a:moveTo>
                      <a:pt x="3" y="0"/>
                    </a:moveTo>
                    <a:cubicBezTo>
                      <a:pt x="0" y="2"/>
                      <a:pt x="0" y="5"/>
                      <a:pt x="0" y="8"/>
                    </a:cubicBezTo>
                    <a:cubicBezTo>
                      <a:pt x="5" y="7"/>
                      <a:pt x="4" y="5"/>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6" name="Freeform 85">
                <a:extLst>
                  <a:ext uri="{FF2B5EF4-FFF2-40B4-BE49-F238E27FC236}">
                    <a16:creationId xmlns:a16="http://schemas.microsoft.com/office/drawing/2014/main" id="{18671BBE-B294-4780-94B1-C5DA00D188CD}"/>
                  </a:ext>
                </a:extLst>
              </p:cNvPr>
              <p:cNvSpPr>
                <a:spLocks/>
              </p:cNvSpPr>
              <p:nvPr/>
            </p:nvSpPr>
            <p:spPr bwMode="auto">
              <a:xfrm>
                <a:off x="5022" y="469"/>
                <a:ext cx="14" cy="17"/>
              </a:xfrm>
              <a:custGeom>
                <a:avLst/>
                <a:gdLst>
                  <a:gd name="T0" fmla="*/ 0 w 6"/>
                  <a:gd name="T1" fmla="*/ 0 h 7"/>
                  <a:gd name="T2" fmla="*/ 2 w 6"/>
                  <a:gd name="T3" fmla="*/ 6 h 7"/>
                  <a:gd name="T4" fmla="*/ 4 w 6"/>
                  <a:gd name="T5" fmla="*/ 7 h 7"/>
                  <a:gd name="T6" fmla="*/ 3 w 6"/>
                  <a:gd name="T7" fmla="*/ 4 h 7"/>
                  <a:gd name="T8" fmla="*/ 2 w 6"/>
                  <a:gd name="T9" fmla="*/ 2 h 7"/>
                  <a:gd name="T10" fmla="*/ 0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0" y="0"/>
                    </a:moveTo>
                    <a:cubicBezTo>
                      <a:pt x="1" y="3"/>
                      <a:pt x="2" y="4"/>
                      <a:pt x="2" y="6"/>
                    </a:cubicBezTo>
                    <a:cubicBezTo>
                      <a:pt x="3" y="6"/>
                      <a:pt x="3" y="7"/>
                      <a:pt x="4" y="7"/>
                    </a:cubicBezTo>
                    <a:cubicBezTo>
                      <a:pt x="6" y="7"/>
                      <a:pt x="4" y="5"/>
                      <a:pt x="3" y="4"/>
                    </a:cubicBezTo>
                    <a:cubicBezTo>
                      <a:pt x="2" y="2"/>
                      <a:pt x="2" y="2"/>
                      <a:pt x="2" y="2"/>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7" name="Freeform 86">
                <a:extLst>
                  <a:ext uri="{FF2B5EF4-FFF2-40B4-BE49-F238E27FC236}">
                    <a16:creationId xmlns:a16="http://schemas.microsoft.com/office/drawing/2014/main" id="{7EC1AD1A-5DBA-47BC-B883-ADC8D035C069}"/>
                  </a:ext>
                </a:extLst>
              </p:cNvPr>
              <p:cNvSpPr>
                <a:spLocks/>
              </p:cNvSpPr>
              <p:nvPr/>
            </p:nvSpPr>
            <p:spPr bwMode="auto">
              <a:xfrm>
                <a:off x="5098" y="495"/>
                <a:ext cx="21" cy="29"/>
              </a:xfrm>
              <a:custGeom>
                <a:avLst/>
                <a:gdLst>
                  <a:gd name="T0" fmla="*/ 3 w 9"/>
                  <a:gd name="T1" fmla="*/ 0 h 12"/>
                  <a:gd name="T2" fmla="*/ 1 w 9"/>
                  <a:gd name="T3" fmla="*/ 2 h 12"/>
                  <a:gd name="T4" fmla="*/ 4 w 9"/>
                  <a:gd name="T5" fmla="*/ 12 h 12"/>
                  <a:gd name="T6" fmla="*/ 7 w 9"/>
                  <a:gd name="T7" fmla="*/ 3 h 12"/>
                  <a:gd name="T8" fmla="*/ 5 w 9"/>
                  <a:gd name="T9" fmla="*/ 0 h 12"/>
                  <a:gd name="T10" fmla="*/ 3 w 9"/>
                  <a:gd name="T11" fmla="*/ 0 h 12"/>
                </a:gdLst>
                <a:ahLst/>
                <a:cxnLst>
                  <a:cxn ang="0">
                    <a:pos x="T0" y="T1"/>
                  </a:cxn>
                  <a:cxn ang="0">
                    <a:pos x="T2" y="T3"/>
                  </a:cxn>
                  <a:cxn ang="0">
                    <a:pos x="T4" y="T5"/>
                  </a:cxn>
                  <a:cxn ang="0">
                    <a:pos x="T6" y="T7"/>
                  </a:cxn>
                  <a:cxn ang="0">
                    <a:pos x="T8" y="T9"/>
                  </a:cxn>
                  <a:cxn ang="0">
                    <a:pos x="T10" y="T11"/>
                  </a:cxn>
                </a:cxnLst>
                <a:rect l="0" t="0" r="r" b="b"/>
                <a:pathLst>
                  <a:path w="9" h="12">
                    <a:moveTo>
                      <a:pt x="3" y="0"/>
                    </a:moveTo>
                    <a:cubicBezTo>
                      <a:pt x="2" y="0"/>
                      <a:pt x="1" y="0"/>
                      <a:pt x="1" y="2"/>
                    </a:cubicBezTo>
                    <a:cubicBezTo>
                      <a:pt x="1" y="7"/>
                      <a:pt x="0" y="9"/>
                      <a:pt x="4" y="12"/>
                    </a:cubicBezTo>
                    <a:cubicBezTo>
                      <a:pt x="7" y="10"/>
                      <a:pt x="9" y="6"/>
                      <a:pt x="7" y="3"/>
                    </a:cubicBezTo>
                    <a:cubicBezTo>
                      <a:pt x="9" y="1"/>
                      <a:pt x="7" y="0"/>
                      <a:pt x="5"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8" name="Freeform 87">
                <a:extLst>
                  <a:ext uri="{FF2B5EF4-FFF2-40B4-BE49-F238E27FC236}">
                    <a16:creationId xmlns:a16="http://schemas.microsoft.com/office/drawing/2014/main" id="{09EC3E54-4B64-4DD7-8408-513DD2D2F5DB}"/>
                  </a:ext>
                </a:extLst>
              </p:cNvPr>
              <p:cNvSpPr>
                <a:spLocks/>
              </p:cNvSpPr>
              <p:nvPr/>
            </p:nvSpPr>
            <p:spPr bwMode="auto">
              <a:xfrm>
                <a:off x="4753" y="417"/>
                <a:ext cx="23" cy="19"/>
              </a:xfrm>
              <a:custGeom>
                <a:avLst/>
                <a:gdLst>
                  <a:gd name="T0" fmla="*/ 5 w 10"/>
                  <a:gd name="T1" fmla="*/ 0 h 8"/>
                  <a:gd name="T2" fmla="*/ 3 w 10"/>
                  <a:gd name="T3" fmla="*/ 0 h 8"/>
                  <a:gd name="T4" fmla="*/ 2 w 10"/>
                  <a:gd name="T5" fmla="*/ 0 h 8"/>
                  <a:gd name="T6" fmla="*/ 2 w 10"/>
                  <a:gd name="T7" fmla="*/ 0 h 8"/>
                  <a:gd name="T8" fmla="*/ 1 w 10"/>
                  <a:gd name="T9" fmla="*/ 0 h 8"/>
                  <a:gd name="T10" fmla="*/ 1 w 10"/>
                  <a:gd name="T11" fmla="*/ 0 h 8"/>
                  <a:gd name="T12" fmla="*/ 7 w 10"/>
                  <a:gd name="T13" fmla="*/ 8 h 8"/>
                  <a:gd name="T14" fmla="*/ 7 w 10"/>
                  <a:gd name="T15" fmla="*/ 5 h 8"/>
                  <a:gd name="T16" fmla="*/ 6 w 10"/>
                  <a:gd name="T17" fmla="*/ 0 h 8"/>
                  <a:gd name="T18" fmla="*/ 5 w 10"/>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8">
                    <a:moveTo>
                      <a:pt x="5" y="0"/>
                    </a:moveTo>
                    <a:cubicBezTo>
                      <a:pt x="4" y="0"/>
                      <a:pt x="3" y="0"/>
                      <a:pt x="3" y="0"/>
                    </a:cubicBezTo>
                    <a:cubicBezTo>
                      <a:pt x="3" y="0"/>
                      <a:pt x="2" y="0"/>
                      <a:pt x="2" y="0"/>
                    </a:cubicBezTo>
                    <a:cubicBezTo>
                      <a:pt x="2" y="0"/>
                      <a:pt x="2" y="0"/>
                      <a:pt x="2" y="0"/>
                    </a:cubicBezTo>
                    <a:cubicBezTo>
                      <a:pt x="2" y="0"/>
                      <a:pt x="2" y="0"/>
                      <a:pt x="1" y="0"/>
                    </a:cubicBezTo>
                    <a:cubicBezTo>
                      <a:pt x="1" y="0"/>
                      <a:pt x="1" y="0"/>
                      <a:pt x="1" y="0"/>
                    </a:cubicBezTo>
                    <a:cubicBezTo>
                      <a:pt x="0" y="2"/>
                      <a:pt x="6" y="7"/>
                      <a:pt x="7" y="8"/>
                    </a:cubicBezTo>
                    <a:cubicBezTo>
                      <a:pt x="7" y="7"/>
                      <a:pt x="7" y="6"/>
                      <a:pt x="7" y="5"/>
                    </a:cubicBezTo>
                    <a:cubicBezTo>
                      <a:pt x="2" y="4"/>
                      <a:pt x="10" y="1"/>
                      <a:pt x="6" y="0"/>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9" name="Freeform 88">
                <a:extLst>
                  <a:ext uri="{FF2B5EF4-FFF2-40B4-BE49-F238E27FC236}">
                    <a16:creationId xmlns:a16="http://schemas.microsoft.com/office/drawing/2014/main" id="{FDC589BF-8D81-4D61-A1E6-DA1B44A92E91}"/>
                  </a:ext>
                </a:extLst>
              </p:cNvPr>
              <p:cNvSpPr>
                <a:spLocks/>
              </p:cNvSpPr>
              <p:nvPr/>
            </p:nvSpPr>
            <p:spPr bwMode="auto">
              <a:xfrm>
                <a:off x="5050" y="554"/>
                <a:ext cx="17" cy="10"/>
              </a:xfrm>
              <a:custGeom>
                <a:avLst/>
                <a:gdLst>
                  <a:gd name="T0" fmla="*/ 1 w 7"/>
                  <a:gd name="T1" fmla="*/ 0 h 4"/>
                  <a:gd name="T2" fmla="*/ 0 w 7"/>
                  <a:gd name="T3" fmla="*/ 0 h 4"/>
                  <a:gd name="T4" fmla="*/ 5 w 7"/>
                  <a:gd name="T5" fmla="*/ 4 h 4"/>
                  <a:gd name="T6" fmla="*/ 1 w 7"/>
                  <a:gd name="T7" fmla="*/ 0 h 4"/>
                </a:gdLst>
                <a:ahLst/>
                <a:cxnLst>
                  <a:cxn ang="0">
                    <a:pos x="T0" y="T1"/>
                  </a:cxn>
                  <a:cxn ang="0">
                    <a:pos x="T2" y="T3"/>
                  </a:cxn>
                  <a:cxn ang="0">
                    <a:pos x="T4" y="T5"/>
                  </a:cxn>
                  <a:cxn ang="0">
                    <a:pos x="T6" y="T7"/>
                  </a:cxn>
                </a:cxnLst>
                <a:rect l="0" t="0" r="r" b="b"/>
                <a:pathLst>
                  <a:path w="7" h="4">
                    <a:moveTo>
                      <a:pt x="1" y="0"/>
                    </a:moveTo>
                    <a:cubicBezTo>
                      <a:pt x="0" y="0"/>
                      <a:pt x="0" y="0"/>
                      <a:pt x="0" y="0"/>
                    </a:cubicBezTo>
                    <a:cubicBezTo>
                      <a:pt x="2" y="2"/>
                      <a:pt x="3" y="3"/>
                      <a:pt x="5" y="4"/>
                    </a:cubicBezTo>
                    <a:cubicBezTo>
                      <a:pt x="7"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0" name="Freeform 89">
                <a:extLst>
                  <a:ext uri="{FF2B5EF4-FFF2-40B4-BE49-F238E27FC236}">
                    <a16:creationId xmlns:a16="http://schemas.microsoft.com/office/drawing/2014/main" id="{0F5BD0EA-ED0B-41F8-B34E-4C5BE4E909EB}"/>
                  </a:ext>
                </a:extLst>
              </p:cNvPr>
              <p:cNvSpPr>
                <a:spLocks/>
              </p:cNvSpPr>
              <p:nvPr/>
            </p:nvSpPr>
            <p:spPr bwMode="auto">
              <a:xfrm>
                <a:off x="3580" y="-18"/>
                <a:ext cx="10" cy="5"/>
              </a:xfrm>
              <a:custGeom>
                <a:avLst/>
                <a:gdLst>
                  <a:gd name="T0" fmla="*/ 0 w 4"/>
                  <a:gd name="T1" fmla="*/ 0 h 2"/>
                  <a:gd name="T2" fmla="*/ 0 w 4"/>
                  <a:gd name="T3" fmla="*/ 1 h 2"/>
                  <a:gd name="T4" fmla="*/ 4 w 4"/>
                  <a:gd name="T5" fmla="*/ 2 h 2"/>
                  <a:gd name="T6" fmla="*/ 0 w 4"/>
                  <a:gd name="T7" fmla="*/ 0 h 2"/>
                </a:gdLst>
                <a:ahLst/>
                <a:cxnLst>
                  <a:cxn ang="0">
                    <a:pos x="T0" y="T1"/>
                  </a:cxn>
                  <a:cxn ang="0">
                    <a:pos x="T2" y="T3"/>
                  </a:cxn>
                  <a:cxn ang="0">
                    <a:pos x="T4" y="T5"/>
                  </a:cxn>
                  <a:cxn ang="0">
                    <a:pos x="T6" y="T7"/>
                  </a:cxn>
                </a:cxnLst>
                <a:rect l="0" t="0" r="r" b="b"/>
                <a:pathLst>
                  <a:path w="4" h="2">
                    <a:moveTo>
                      <a:pt x="0" y="0"/>
                    </a:moveTo>
                    <a:cubicBezTo>
                      <a:pt x="0" y="0"/>
                      <a:pt x="0" y="0"/>
                      <a:pt x="0" y="1"/>
                    </a:cubicBezTo>
                    <a:cubicBezTo>
                      <a:pt x="1" y="1"/>
                      <a:pt x="3" y="2"/>
                      <a:pt x="4" y="2"/>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1" name="Freeform 90">
                <a:extLst>
                  <a:ext uri="{FF2B5EF4-FFF2-40B4-BE49-F238E27FC236}">
                    <a16:creationId xmlns:a16="http://schemas.microsoft.com/office/drawing/2014/main" id="{A5E9E5C4-03B8-4919-992C-5FC46FDACD90}"/>
                  </a:ext>
                </a:extLst>
              </p:cNvPr>
              <p:cNvSpPr>
                <a:spLocks/>
              </p:cNvSpPr>
              <p:nvPr/>
            </p:nvSpPr>
            <p:spPr bwMode="auto">
              <a:xfrm>
                <a:off x="3585" y="-3"/>
                <a:ext cx="12" cy="16"/>
              </a:xfrm>
              <a:custGeom>
                <a:avLst/>
                <a:gdLst>
                  <a:gd name="T0" fmla="*/ 0 w 5"/>
                  <a:gd name="T1" fmla="*/ 0 h 7"/>
                  <a:gd name="T2" fmla="*/ 4 w 5"/>
                  <a:gd name="T3" fmla="*/ 7 h 7"/>
                  <a:gd name="T4" fmla="*/ 0 w 5"/>
                  <a:gd name="T5" fmla="*/ 0 h 7"/>
                </a:gdLst>
                <a:ahLst/>
                <a:cxnLst>
                  <a:cxn ang="0">
                    <a:pos x="T0" y="T1"/>
                  </a:cxn>
                  <a:cxn ang="0">
                    <a:pos x="T2" y="T3"/>
                  </a:cxn>
                  <a:cxn ang="0">
                    <a:pos x="T4" y="T5"/>
                  </a:cxn>
                </a:cxnLst>
                <a:rect l="0" t="0" r="r" b="b"/>
                <a:pathLst>
                  <a:path w="5" h="7">
                    <a:moveTo>
                      <a:pt x="0" y="0"/>
                    </a:moveTo>
                    <a:cubicBezTo>
                      <a:pt x="1" y="2"/>
                      <a:pt x="2" y="4"/>
                      <a:pt x="4" y="7"/>
                    </a:cubicBezTo>
                    <a:cubicBezTo>
                      <a:pt x="5" y="3"/>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2" name="Freeform 91">
                <a:extLst>
                  <a:ext uri="{FF2B5EF4-FFF2-40B4-BE49-F238E27FC236}">
                    <a16:creationId xmlns:a16="http://schemas.microsoft.com/office/drawing/2014/main" id="{426A21D3-AC94-4B1F-8F5E-465BFC656C8F}"/>
                  </a:ext>
                </a:extLst>
              </p:cNvPr>
              <p:cNvSpPr>
                <a:spLocks/>
              </p:cNvSpPr>
              <p:nvPr/>
            </p:nvSpPr>
            <p:spPr bwMode="auto">
              <a:xfrm>
                <a:off x="4133" y="205"/>
                <a:ext cx="62" cy="108"/>
              </a:xfrm>
              <a:custGeom>
                <a:avLst/>
                <a:gdLst>
                  <a:gd name="T0" fmla="*/ 21 w 26"/>
                  <a:gd name="T1" fmla="*/ 0 h 46"/>
                  <a:gd name="T2" fmla="*/ 20 w 26"/>
                  <a:gd name="T3" fmla="*/ 0 h 46"/>
                  <a:gd name="T4" fmla="*/ 17 w 26"/>
                  <a:gd name="T5" fmla="*/ 8 h 46"/>
                  <a:gd name="T6" fmla="*/ 2 w 26"/>
                  <a:gd name="T7" fmla="*/ 17 h 46"/>
                  <a:gd name="T8" fmla="*/ 2 w 26"/>
                  <a:gd name="T9" fmla="*/ 29 h 46"/>
                  <a:gd name="T10" fmla="*/ 6 w 26"/>
                  <a:gd name="T11" fmla="*/ 32 h 46"/>
                  <a:gd name="T12" fmla="*/ 4 w 26"/>
                  <a:gd name="T13" fmla="*/ 35 h 46"/>
                  <a:gd name="T14" fmla="*/ 8 w 26"/>
                  <a:gd name="T15" fmla="*/ 36 h 46"/>
                  <a:gd name="T16" fmla="*/ 17 w 26"/>
                  <a:gd name="T17" fmla="*/ 46 h 46"/>
                  <a:gd name="T18" fmla="*/ 25 w 26"/>
                  <a:gd name="T19" fmla="*/ 21 h 46"/>
                  <a:gd name="T20" fmla="*/ 24 w 26"/>
                  <a:gd name="T21" fmla="*/ 10 h 46"/>
                  <a:gd name="T22" fmla="*/ 21 w 26"/>
                  <a:gd name="T2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46">
                    <a:moveTo>
                      <a:pt x="21" y="0"/>
                    </a:moveTo>
                    <a:cubicBezTo>
                      <a:pt x="20" y="0"/>
                      <a:pt x="20" y="0"/>
                      <a:pt x="20" y="0"/>
                    </a:cubicBezTo>
                    <a:cubicBezTo>
                      <a:pt x="20" y="3"/>
                      <a:pt x="21" y="8"/>
                      <a:pt x="17" y="8"/>
                    </a:cubicBezTo>
                    <a:cubicBezTo>
                      <a:pt x="11" y="8"/>
                      <a:pt x="7" y="14"/>
                      <a:pt x="2" y="17"/>
                    </a:cubicBezTo>
                    <a:cubicBezTo>
                      <a:pt x="0" y="19"/>
                      <a:pt x="5" y="27"/>
                      <a:pt x="2" y="29"/>
                    </a:cubicBezTo>
                    <a:cubicBezTo>
                      <a:pt x="5" y="30"/>
                      <a:pt x="7" y="29"/>
                      <a:pt x="6" y="32"/>
                    </a:cubicBezTo>
                    <a:cubicBezTo>
                      <a:pt x="6" y="33"/>
                      <a:pt x="6" y="35"/>
                      <a:pt x="4" y="35"/>
                    </a:cubicBezTo>
                    <a:cubicBezTo>
                      <a:pt x="5" y="36"/>
                      <a:pt x="7" y="36"/>
                      <a:pt x="8" y="36"/>
                    </a:cubicBezTo>
                    <a:cubicBezTo>
                      <a:pt x="5" y="43"/>
                      <a:pt x="12" y="43"/>
                      <a:pt x="17" y="46"/>
                    </a:cubicBezTo>
                    <a:cubicBezTo>
                      <a:pt x="20" y="38"/>
                      <a:pt x="22" y="30"/>
                      <a:pt x="25" y="21"/>
                    </a:cubicBezTo>
                    <a:cubicBezTo>
                      <a:pt x="26" y="19"/>
                      <a:pt x="25" y="13"/>
                      <a:pt x="24" y="10"/>
                    </a:cubicBezTo>
                    <a:cubicBezTo>
                      <a:pt x="24" y="7"/>
                      <a:pt x="25"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3" name="Freeform 92">
                <a:extLst>
                  <a:ext uri="{FF2B5EF4-FFF2-40B4-BE49-F238E27FC236}">
                    <a16:creationId xmlns:a16="http://schemas.microsoft.com/office/drawing/2014/main" id="{BB83F43D-82D3-4558-A3DB-5821CA35F30E}"/>
                  </a:ext>
                </a:extLst>
              </p:cNvPr>
              <p:cNvSpPr>
                <a:spLocks/>
              </p:cNvSpPr>
              <p:nvPr/>
            </p:nvSpPr>
            <p:spPr bwMode="auto">
              <a:xfrm>
                <a:off x="6466" y="1261"/>
                <a:ext cx="12" cy="26"/>
              </a:xfrm>
              <a:custGeom>
                <a:avLst/>
                <a:gdLst>
                  <a:gd name="T0" fmla="*/ 2 w 5"/>
                  <a:gd name="T1" fmla="*/ 0 h 11"/>
                  <a:gd name="T2" fmla="*/ 1 w 5"/>
                  <a:gd name="T3" fmla="*/ 0 h 11"/>
                  <a:gd name="T4" fmla="*/ 3 w 5"/>
                  <a:gd name="T5" fmla="*/ 11 h 11"/>
                  <a:gd name="T6" fmla="*/ 4 w 5"/>
                  <a:gd name="T7" fmla="*/ 4 h 11"/>
                  <a:gd name="T8" fmla="*/ 4 w 5"/>
                  <a:gd name="T9" fmla="*/ 1 h 11"/>
                  <a:gd name="T10" fmla="*/ 2 w 5"/>
                  <a:gd name="T11" fmla="*/ 0 h 11"/>
                </a:gdLst>
                <a:ahLst/>
                <a:cxnLst>
                  <a:cxn ang="0">
                    <a:pos x="T0" y="T1"/>
                  </a:cxn>
                  <a:cxn ang="0">
                    <a:pos x="T2" y="T3"/>
                  </a:cxn>
                  <a:cxn ang="0">
                    <a:pos x="T4" y="T5"/>
                  </a:cxn>
                  <a:cxn ang="0">
                    <a:pos x="T6" y="T7"/>
                  </a:cxn>
                  <a:cxn ang="0">
                    <a:pos x="T8" y="T9"/>
                  </a:cxn>
                  <a:cxn ang="0">
                    <a:pos x="T10" y="T11"/>
                  </a:cxn>
                </a:cxnLst>
                <a:rect l="0" t="0" r="r" b="b"/>
                <a:pathLst>
                  <a:path w="5" h="11">
                    <a:moveTo>
                      <a:pt x="2" y="0"/>
                    </a:moveTo>
                    <a:cubicBezTo>
                      <a:pt x="2" y="0"/>
                      <a:pt x="2" y="0"/>
                      <a:pt x="1" y="0"/>
                    </a:cubicBezTo>
                    <a:cubicBezTo>
                      <a:pt x="0" y="1"/>
                      <a:pt x="3" y="10"/>
                      <a:pt x="3" y="11"/>
                    </a:cubicBezTo>
                    <a:cubicBezTo>
                      <a:pt x="4" y="9"/>
                      <a:pt x="5" y="6"/>
                      <a:pt x="4" y="4"/>
                    </a:cubicBezTo>
                    <a:cubicBezTo>
                      <a:pt x="4" y="3"/>
                      <a:pt x="2" y="1"/>
                      <a:pt x="4" y="1"/>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4" name="Freeform 93">
                <a:extLst>
                  <a:ext uri="{FF2B5EF4-FFF2-40B4-BE49-F238E27FC236}">
                    <a16:creationId xmlns:a16="http://schemas.microsoft.com/office/drawing/2014/main" id="{6B0AB959-3430-42F5-901D-17A8B47E9712}"/>
                  </a:ext>
                </a:extLst>
              </p:cNvPr>
              <p:cNvSpPr>
                <a:spLocks/>
              </p:cNvSpPr>
              <p:nvPr/>
            </p:nvSpPr>
            <p:spPr bwMode="auto">
              <a:xfrm>
                <a:off x="6735" y="1216"/>
                <a:ext cx="57" cy="26"/>
              </a:xfrm>
              <a:custGeom>
                <a:avLst/>
                <a:gdLst>
                  <a:gd name="T0" fmla="*/ 20 w 24"/>
                  <a:gd name="T1" fmla="*/ 0 h 11"/>
                  <a:gd name="T2" fmla="*/ 17 w 24"/>
                  <a:gd name="T3" fmla="*/ 1 h 11"/>
                  <a:gd name="T4" fmla="*/ 12 w 24"/>
                  <a:gd name="T5" fmla="*/ 1 h 11"/>
                  <a:gd name="T6" fmla="*/ 12 w 24"/>
                  <a:gd name="T7" fmla="*/ 1 h 11"/>
                  <a:gd name="T8" fmla="*/ 9 w 24"/>
                  <a:gd name="T9" fmla="*/ 5 h 11"/>
                  <a:gd name="T10" fmla="*/ 6 w 24"/>
                  <a:gd name="T11" fmla="*/ 6 h 11"/>
                  <a:gd name="T12" fmla="*/ 0 w 24"/>
                  <a:gd name="T13" fmla="*/ 11 h 11"/>
                  <a:gd name="T14" fmla="*/ 2 w 24"/>
                  <a:gd name="T15" fmla="*/ 10 h 11"/>
                  <a:gd name="T16" fmla="*/ 14 w 24"/>
                  <a:gd name="T17" fmla="*/ 6 h 11"/>
                  <a:gd name="T18" fmla="*/ 14 w 24"/>
                  <a:gd name="T19" fmla="*/ 6 h 11"/>
                  <a:gd name="T20" fmla="*/ 15 w 24"/>
                  <a:gd name="T21" fmla="*/ 7 h 11"/>
                  <a:gd name="T22" fmla="*/ 16 w 24"/>
                  <a:gd name="T23" fmla="*/ 7 h 11"/>
                  <a:gd name="T24" fmla="*/ 17 w 24"/>
                  <a:gd name="T25" fmla="*/ 7 h 11"/>
                  <a:gd name="T26" fmla="*/ 19 w 24"/>
                  <a:gd name="T27" fmla="*/ 5 h 11"/>
                  <a:gd name="T28" fmla="*/ 24 w 24"/>
                  <a:gd name="T29" fmla="*/ 1 h 11"/>
                  <a:gd name="T30" fmla="*/ 21 w 24"/>
                  <a:gd name="T31" fmla="*/ 1 h 11"/>
                  <a:gd name="T32" fmla="*/ 20 w 24"/>
                  <a:gd name="T3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11">
                    <a:moveTo>
                      <a:pt x="20" y="0"/>
                    </a:moveTo>
                    <a:cubicBezTo>
                      <a:pt x="19" y="0"/>
                      <a:pt x="18" y="1"/>
                      <a:pt x="17" y="1"/>
                    </a:cubicBezTo>
                    <a:cubicBezTo>
                      <a:pt x="17" y="1"/>
                      <a:pt x="13" y="1"/>
                      <a:pt x="12" y="1"/>
                    </a:cubicBezTo>
                    <a:cubicBezTo>
                      <a:pt x="12" y="1"/>
                      <a:pt x="12" y="1"/>
                      <a:pt x="12" y="1"/>
                    </a:cubicBezTo>
                    <a:cubicBezTo>
                      <a:pt x="10" y="2"/>
                      <a:pt x="13" y="4"/>
                      <a:pt x="9" y="5"/>
                    </a:cubicBezTo>
                    <a:cubicBezTo>
                      <a:pt x="8" y="6"/>
                      <a:pt x="7" y="6"/>
                      <a:pt x="6" y="6"/>
                    </a:cubicBezTo>
                    <a:cubicBezTo>
                      <a:pt x="4" y="7"/>
                      <a:pt x="1" y="8"/>
                      <a:pt x="0" y="11"/>
                    </a:cubicBezTo>
                    <a:cubicBezTo>
                      <a:pt x="1" y="11"/>
                      <a:pt x="2" y="11"/>
                      <a:pt x="2" y="10"/>
                    </a:cubicBezTo>
                    <a:cubicBezTo>
                      <a:pt x="6" y="9"/>
                      <a:pt x="10" y="7"/>
                      <a:pt x="14" y="6"/>
                    </a:cubicBezTo>
                    <a:cubicBezTo>
                      <a:pt x="14" y="6"/>
                      <a:pt x="14" y="6"/>
                      <a:pt x="14" y="6"/>
                    </a:cubicBezTo>
                    <a:cubicBezTo>
                      <a:pt x="15" y="6"/>
                      <a:pt x="15" y="6"/>
                      <a:pt x="15" y="7"/>
                    </a:cubicBezTo>
                    <a:cubicBezTo>
                      <a:pt x="15" y="7"/>
                      <a:pt x="15" y="7"/>
                      <a:pt x="16" y="7"/>
                    </a:cubicBezTo>
                    <a:cubicBezTo>
                      <a:pt x="16" y="7"/>
                      <a:pt x="16" y="7"/>
                      <a:pt x="17" y="7"/>
                    </a:cubicBezTo>
                    <a:cubicBezTo>
                      <a:pt x="17" y="6"/>
                      <a:pt x="18" y="5"/>
                      <a:pt x="19" y="5"/>
                    </a:cubicBezTo>
                    <a:cubicBezTo>
                      <a:pt x="21" y="3"/>
                      <a:pt x="21" y="1"/>
                      <a:pt x="24" y="1"/>
                    </a:cubicBezTo>
                    <a:cubicBezTo>
                      <a:pt x="23" y="1"/>
                      <a:pt x="22" y="1"/>
                      <a:pt x="21" y="1"/>
                    </a:cubicBezTo>
                    <a:cubicBezTo>
                      <a:pt x="21" y="1"/>
                      <a:pt x="20"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5" name="Freeform 94">
                <a:extLst>
                  <a:ext uri="{FF2B5EF4-FFF2-40B4-BE49-F238E27FC236}">
                    <a16:creationId xmlns:a16="http://schemas.microsoft.com/office/drawing/2014/main" id="{6379D958-E540-485F-8755-EE69092EA1F2}"/>
                  </a:ext>
                </a:extLst>
              </p:cNvPr>
              <p:cNvSpPr>
                <a:spLocks/>
              </p:cNvSpPr>
              <p:nvPr/>
            </p:nvSpPr>
            <p:spPr bwMode="auto">
              <a:xfrm>
                <a:off x="6643" y="1379"/>
                <a:ext cx="26" cy="7"/>
              </a:xfrm>
              <a:custGeom>
                <a:avLst/>
                <a:gdLst>
                  <a:gd name="T0" fmla="*/ 5 w 11"/>
                  <a:gd name="T1" fmla="*/ 0 h 3"/>
                  <a:gd name="T2" fmla="*/ 0 w 11"/>
                  <a:gd name="T3" fmla="*/ 2 h 3"/>
                  <a:gd name="T4" fmla="*/ 4 w 11"/>
                  <a:gd name="T5" fmla="*/ 3 h 3"/>
                  <a:gd name="T6" fmla="*/ 6 w 11"/>
                  <a:gd name="T7" fmla="*/ 0 h 3"/>
                  <a:gd name="T8" fmla="*/ 5 w 11"/>
                  <a:gd name="T9" fmla="*/ 0 h 3"/>
                </a:gdLst>
                <a:ahLst/>
                <a:cxnLst>
                  <a:cxn ang="0">
                    <a:pos x="T0" y="T1"/>
                  </a:cxn>
                  <a:cxn ang="0">
                    <a:pos x="T2" y="T3"/>
                  </a:cxn>
                  <a:cxn ang="0">
                    <a:pos x="T4" y="T5"/>
                  </a:cxn>
                  <a:cxn ang="0">
                    <a:pos x="T6" y="T7"/>
                  </a:cxn>
                  <a:cxn ang="0">
                    <a:pos x="T8" y="T9"/>
                  </a:cxn>
                </a:cxnLst>
                <a:rect l="0" t="0" r="r" b="b"/>
                <a:pathLst>
                  <a:path w="11" h="3">
                    <a:moveTo>
                      <a:pt x="5" y="0"/>
                    </a:moveTo>
                    <a:cubicBezTo>
                      <a:pt x="3" y="0"/>
                      <a:pt x="2" y="1"/>
                      <a:pt x="0" y="2"/>
                    </a:cubicBezTo>
                    <a:cubicBezTo>
                      <a:pt x="1" y="2"/>
                      <a:pt x="2" y="2"/>
                      <a:pt x="4" y="3"/>
                    </a:cubicBezTo>
                    <a:cubicBezTo>
                      <a:pt x="6" y="3"/>
                      <a:pt x="11" y="1"/>
                      <a:pt x="6"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6" name="Freeform 95">
                <a:extLst>
                  <a:ext uri="{FF2B5EF4-FFF2-40B4-BE49-F238E27FC236}">
                    <a16:creationId xmlns:a16="http://schemas.microsoft.com/office/drawing/2014/main" id="{7B98B059-EC2F-45D3-BCB3-5756D5C8D4CF}"/>
                  </a:ext>
                </a:extLst>
              </p:cNvPr>
              <p:cNvSpPr>
                <a:spLocks/>
              </p:cNvSpPr>
              <p:nvPr/>
            </p:nvSpPr>
            <p:spPr bwMode="auto">
              <a:xfrm>
                <a:off x="7428" y="1391"/>
                <a:ext cx="9" cy="14"/>
              </a:xfrm>
              <a:custGeom>
                <a:avLst/>
                <a:gdLst>
                  <a:gd name="T0" fmla="*/ 0 w 4"/>
                  <a:gd name="T1" fmla="*/ 0 h 6"/>
                  <a:gd name="T2" fmla="*/ 1 w 4"/>
                  <a:gd name="T3" fmla="*/ 1 h 6"/>
                  <a:gd name="T4" fmla="*/ 0 w 4"/>
                  <a:gd name="T5" fmla="*/ 1 h 6"/>
                  <a:gd name="T6" fmla="*/ 0 w 4"/>
                  <a:gd name="T7" fmla="*/ 6 h 6"/>
                  <a:gd name="T8" fmla="*/ 4 w 4"/>
                  <a:gd name="T9" fmla="*/ 2 h 6"/>
                  <a:gd name="T10" fmla="*/ 2 w 4"/>
                  <a:gd name="T11" fmla="*/ 1 h 6"/>
                  <a:gd name="T12" fmla="*/ 4 w 4"/>
                  <a:gd name="T13" fmla="*/ 1 h 6"/>
                  <a:gd name="T14" fmla="*/ 4 w 4"/>
                  <a:gd name="T15" fmla="*/ 1 h 6"/>
                  <a:gd name="T16" fmla="*/ 0 w 4"/>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
                    <a:moveTo>
                      <a:pt x="0" y="0"/>
                    </a:moveTo>
                    <a:cubicBezTo>
                      <a:pt x="1" y="0"/>
                      <a:pt x="1" y="1"/>
                      <a:pt x="1" y="1"/>
                    </a:cubicBezTo>
                    <a:cubicBezTo>
                      <a:pt x="1" y="1"/>
                      <a:pt x="1" y="1"/>
                      <a:pt x="0" y="1"/>
                    </a:cubicBezTo>
                    <a:cubicBezTo>
                      <a:pt x="0" y="2"/>
                      <a:pt x="0" y="4"/>
                      <a:pt x="0" y="6"/>
                    </a:cubicBezTo>
                    <a:cubicBezTo>
                      <a:pt x="4" y="6"/>
                      <a:pt x="1" y="4"/>
                      <a:pt x="4" y="2"/>
                    </a:cubicBezTo>
                    <a:cubicBezTo>
                      <a:pt x="3" y="2"/>
                      <a:pt x="2" y="1"/>
                      <a:pt x="2" y="1"/>
                    </a:cubicBezTo>
                    <a:cubicBezTo>
                      <a:pt x="2" y="1"/>
                      <a:pt x="3" y="1"/>
                      <a:pt x="4" y="1"/>
                    </a:cubicBezTo>
                    <a:cubicBezTo>
                      <a:pt x="4" y="1"/>
                      <a:pt x="4" y="1"/>
                      <a:pt x="4" y="1"/>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7" name="Freeform 96">
                <a:extLst>
                  <a:ext uri="{FF2B5EF4-FFF2-40B4-BE49-F238E27FC236}">
                    <a16:creationId xmlns:a16="http://schemas.microsoft.com/office/drawing/2014/main" id="{5C525058-E477-4E5B-ABFD-DE34EDD54321}"/>
                  </a:ext>
                </a:extLst>
              </p:cNvPr>
              <p:cNvSpPr>
                <a:spLocks/>
              </p:cNvSpPr>
              <p:nvPr/>
            </p:nvSpPr>
            <p:spPr bwMode="auto">
              <a:xfrm>
                <a:off x="7414" y="1389"/>
                <a:ext cx="9" cy="12"/>
              </a:xfrm>
              <a:custGeom>
                <a:avLst/>
                <a:gdLst>
                  <a:gd name="T0" fmla="*/ 4 w 4"/>
                  <a:gd name="T1" fmla="*/ 0 h 5"/>
                  <a:gd name="T2" fmla="*/ 0 w 4"/>
                  <a:gd name="T3" fmla="*/ 3 h 5"/>
                  <a:gd name="T4" fmla="*/ 2 w 4"/>
                  <a:gd name="T5" fmla="*/ 5 h 5"/>
                  <a:gd name="T6" fmla="*/ 4 w 4"/>
                  <a:gd name="T7" fmla="*/ 4 h 5"/>
                  <a:gd name="T8" fmla="*/ 4 w 4"/>
                  <a:gd name="T9" fmla="*/ 0 h 5"/>
                </a:gdLst>
                <a:ahLst/>
                <a:cxnLst>
                  <a:cxn ang="0">
                    <a:pos x="T0" y="T1"/>
                  </a:cxn>
                  <a:cxn ang="0">
                    <a:pos x="T2" y="T3"/>
                  </a:cxn>
                  <a:cxn ang="0">
                    <a:pos x="T4" y="T5"/>
                  </a:cxn>
                  <a:cxn ang="0">
                    <a:pos x="T6" y="T7"/>
                  </a:cxn>
                  <a:cxn ang="0">
                    <a:pos x="T8" y="T9"/>
                  </a:cxn>
                </a:cxnLst>
                <a:rect l="0" t="0" r="r" b="b"/>
                <a:pathLst>
                  <a:path w="4" h="5">
                    <a:moveTo>
                      <a:pt x="4" y="0"/>
                    </a:moveTo>
                    <a:cubicBezTo>
                      <a:pt x="2" y="1"/>
                      <a:pt x="0" y="1"/>
                      <a:pt x="0" y="3"/>
                    </a:cubicBezTo>
                    <a:cubicBezTo>
                      <a:pt x="0" y="4"/>
                      <a:pt x="1" y="5"/>
                      <a:pt x="2" y="5"/>
                    </a:cubicBezTo>
                    <a:cubicBezTo>
                      <a:pt x="2" y="5"/>
                      <a:pt x="3" y="5"/>
                      <a:pt x="4" y="4"/>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8" name="Freeform 97">
                <a:extLst>
                  <a:ext uri="{FF2B5EF4-FFF2-40B4-BE49-F238E27FC236}">
                    <a16:creationId xmlns:a16="http://schemas.microsoft.com/office/drawing/2014/main" id="{B81BF2F4-3EEE-4918-8A10-EE61A53220F8}"/>
                  </a:ext>
                </a:extLst>
              </p:cNvPr>
              <p:cNvSpPr>
                <a:spLocks/>
              </p:cNvSpPr>
              <p:nvPr/>
            </p:nvSpPr>
            <p:spPr bwMode="auto">
              <a:xfrm>
                <a:off x="7433" y="1394"/>
                <a:ext cx="11" cy="14"/>
              </a:xfrm>
              <a:custGeom>
                <a:avLst/>
                <a:gdLst>
                  <a:gd name="T0" fmla="*/ 4 w 5"/>
                  <a:gd name="T1" fmla="*/ 0 h 6"/>
                  <a:gd name="T2" fmla="*/ 5 w 5"/>
                  <a:gd name="T3" fmla="*/ 6 h 6"/>
                  <a:gd name="T4" fmla="*/ 4 w 5"/>
                  <a:gd name="T5" fmla="*/ 0 h 6"/>
                </a:gdLst>
                <a:ahLst/>
                <a:cxnLst>
                  <a:cxn ang="0">
                    <a:pos x="T0" y="T1"/>
                  </a:cxn>
                  <a:cxn ang="0">
                    <a:pos x="T2" y="T3"/>
                  </a:cxn>
                  <a:cxn ang="0">
                    <a:pos x="T4" y="T5"/>
                  </a:cxn>
                </a:cxnLst>
                <a:rect l="0" t="0" r="r" b="b"/>
                <a:pathLst>
                  <a:path w="5" h="6">
                    <a:moveTo>
                      <a:pt x="4" y="0"/>
                    </a:moveTo>
                    <a:cubicBezTo>
                      <a:pt x="0" y="2"/>
                      <a:pt x="1" y="3"/>
                      <a:pt x="5" y="6"/>
                    </a:cubicBezTo>
                    <a:cubicBezTo>
                      <a:pt x="5" y="3"/>
                      <a:pt x="5"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9" name="Freeform 98">
                <a:extLst>
                  <a:ext uri="{FF2B5EF4-FFF2-40B4-BE49-F238E27FC236}">
                    <a16:creationId xmlns:a16="http://schemas.microsoft.com/office/drawing/2014/main" id="{F711AA5C-251F-4FB4-8ACF-845278C2F92B}"/>
                  </a:ext>
                </a:extLst>
              </p:cNvPr>
              <p:cNvSpPr>
                <a:spLocks/>
              </p:cNvSpPr>
              <p:nvPr/>
            </p:nvSpPr>
            <p:spPr bwMode="auto">
              <a:xfrm>
                <a:off x="5455" y="682"/>
                <a:ext cx="130" cy="66"/>
              </a:xfrm>
              <a:custGeom>
                <a:avLst/>
                <a:gdLst>
                  <a:gd name="T0" fmla="*/ 55 w 55"/>
                  <a:gd name="T1" fmla="*/ 0 h 28"/>
                  <a:gd name="T2" fmla="*/ 33 w 55"/>
                  <a:gd name="T3" fmla="*/ 9 h 28"/>
                  <a:gd name="T4" fmla="*/ 32 w 55"/>
                  <a:gd name="T5" fmla="*/ 9 h 28"/>
                  <a:gd name="T6" fmla="*/ 28 w 55"/>
                  <a:gd name="T7" fmla="*/ 9 h 28"/>
                  <a:gd name="T8" fmla="*/ 24 w 55"/>
                  <a:gd name="T9" fmla="*/ 9 h 28"/>
                  <a:gd name="T10" fmla="*/ 16 w 55"/>
                  <a:gd name="T11" fmla="*/ 8 h 28"/>
                  <a:gd name="T12" fmla="*/ 14 w 55"/>
                  <a:gd name="T13" fmla="*/ 12 h 28"/>
                  <a:gd name="T14" fmla="*/ 6 w 55"/>
                  <a:gd name="T15" fmla="*/ 15 h 28"/>
                  <a:gd name="T16" fmla="*/ 4 w 55"/>
                  <a:gd name="T17" fmla="*/ 17 h 28"/>
                  <a:gd name="T18" fmla="*/ 4 w 55"/>
                  <a:gd name="T19" fmla="*/ 17 h 28"/>
                  <a:gd name="T20" fmla="*/ 2 w 55"/>
                  <a:gd name="T21" fmla="*/ 16 h 28"/>
                  <a:gd name="T22" fmla="*/ 1 w 55"/>
                  <a:gd name="T23" fmla="*/ 16 h 28"/>
                  <a:gd name="T24" fmla="*/ 1 w 55"/>
                  <a:gd name="T25" fmla="*/ 16 h 28"/>
                  <a:gd name="T26" fmla="*/ 4 w 55"/>
                  <a:gd name="T27" fmla="*/ 25 h 28"/>
                  <a:gd name="T28" fmla="*/ 16 w 55"/>
                  <a:gd name="T29" fmla="*/ 28 h 28"/>
                  <a:gd name="T30" fmla="*/ 17 w 55"/>
                  <a:gd name="T31" fmla="*/ 28 h 28"/>
                  <a:gd name="T32" fmla="*/ 31 w 55"/>
                  <a:gd name="T33" fmla="*/ 23 h 28"/>
                  <a:gd name="T34" fmla="*/ 34 w 55"/>
                  <a:gd name="T35" fmla="*/ 19 h 28"/>
                  <a:gd name="T36" fmla="*/ 39 w 55"/>
                  <a:gd name="T37" fmla="*/ 19 h 28"/>
                  <a:gd name="T38" fmla="*/ 39 w 55"/>
                  <a:gd name="T39" fmla="*/ 19 h 28"/>
                  <a:gd name="T40" fmla="*/ 38 w 55"/>
                  <a:gd name="T41" fmla="*/ 17 h 28"/>
                  <a:gd name="T42" fmla="*/ 41 w 55"/>
                  <a:gd name="T43" fmla="*/ 19 h 28"/>
                  <a:gd name="T44" fmla="*/ 42 w 55"/>
                  <a:gd name="T45" fmla="*/ 19 h 28"/>
                  <a:gd name="T46" fmla="*/ 43 w 55"/>
                  <a:gd name="T47" fmla="*/ 19 h 28"/>
                  <a:gd name="T48" fmla="*/ 40 w 55"/>
                  <a:gd name="T49" fmla="*/ 10 h 28"/>
                  <a:gd name="T50" fmla="*/ 43 w 55"/>
                  <a:gd name="T51" fmla="*/ 9 h 28"/>
                  <a:gd name="T52" fmla="*/ 44 w 55"/>
                  <a:gd name="T53" fmla="*/ 7 h 28"/>
                  <a:gd name="T54" fmla="*/ 48 w 55"/>
                  <a:gd name="T55" fmla="*/ 5 h 28"/>
                  <a:gd name="T56" fmla="*/ 55 w 55"/>
                  <a:gd name="T5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 h="28">
                    <a:moveTo>
                      <a:pt x="55" y="0"/>
                    </a:moveTo>
                    <a:cubicBezTo>
                      <a:pt x="48" y="3"/>
                      <a:pt x="40" y="6"/>
                      <a:pt x="33" y="9"/>
                    </a:cubicBezTo>
                    <a:cubicBezTo>
                      <a:pt x="33" y="9"/>
                      <a:pt x="33" y="9"/>
                      <a:pt x="32" y="9"/>
                    </a:cubicBezTo>
                    <a:cubicBezTo>
                      <a:pt x="31" y="9"/>
                      <a:pt x="30" y="9"/>
                      <a:pt x="28" y="9"/>
                    </a:cubicBezTo>
                    <a:cubicBezTo>
                      <a:pt x="27" y="9"/>
                      <a:pt x="25" y="9"/>
                      <a:pt x="24" y="9"/>
                    </a:cubicBezTo>
                    <a:cubicBezTo>
                      <a:pt x="21" y="9"/>
                      <a:pt x="18" y="9"/>
                      <a:pt x="16" y="8"/>
                    </a:cubicBezTo>
                    <a:cubicBezTo>
                      <a:pt x="16" y="11"/>
                      <a:pt x="17" y="11"/>
                      <a:pt x="14" y="12"/>
                    </a:cubicBezTo>
                    <a:cubicBezTo>
                      <a:pt x="10" y="13"/>
                      <a:pt x="8" y="13"/>
                      <a:pt x="6" y="15"/>
                    </a:cubicBezTo>
                    <a:cubicBezTo>
                      <a:pt x="5" y="16"/>
                      <a:pt x="5" y="17"/>
                      <a:pt x="4" y="17"/>
                    </a:cubicBezTo>
                    <a:cubicBezTo>
                      <a:pt x="4" y="17"/>
                      <a:pt x="4" y="17"/>
                      <a:pt x="4" y="17"/>
                    </a:cubicBezTo>
                    <a:cubicBezTo>
                      <a:pt x="3" y="17"/>
                      <a:pt x="3" y="17"/>
                      <a:pt x="2" y="16"/>
                    </a:cubicBezTo>
                    <a:cubicBezTo>
                      <a:pt x="1" y="16"/>
                      <a:pt x="1" y="16"/>
                      <a:pt x="1" y="16"/>
                    </a:cubicBezTo>
                    <a:cubicBezTo>
                      <a:pt x="1" y="16"/>
                      <a:pt x="1" y="16"/>
                      <a:pt x="1" y="16"/>
                    </a:cubicBezTo>
                    <a:cubicBezTo>
                      <a:pt x="0" y="16"/>
                      <a:pt x="3" y="24"/>
                      <a:pt x="4" y="25"/>
                    </a:cubicBezTo>
                    <a:cubicBezTo>
                      <a:pt x="7" y="28"/>
                      <a:pt x="12" y="27"/>
                      <a:pt x="16" y="28"/>
                    </a:cubicBezTo>
                    <a:cubicBezTo>
                      <a:pt x="16" y="28"/>
                      <a:pt x="17" y="28"/>
                      <a:pt x="17" y="28"/>
                    </a:cubicBezTo>
                    <a:cubicBezTo>
                      <a:pt x="22" y="28"/>
                      <a:pt x="27" y="25"/>
                      <a:pt x="31" y="23"/>
                    </a:cubicBezTo>
                    <a:cubicBezTo>
                      <a:pt x="33" y="22"/>
                      <a:pt x="33" y="20"/>
                      <a:pt x="34" y="19"/>
                    </a:cubicBezTo>
                    <a:cubicBezTo>
                      <a:pt x="36" y="19"/>
                      <a:pt x="37" y="19"/>
                      <a:pt x="39" y="19"/>
                    </a:cubicBezTo>
                    <a:cubicBezTo>
                      <a:pt x="39" y="19"/>
                      <a:pt x="39" y="19"/>
                      <a:pt x="39" y="19"/>
                    </a:cubicBezTo>
                    <a:cubicBezTo>
                      <a:pt x="40" y="19"/>
                      <a:pt x="38" y="17"/>
                      <a:pt x="38" y="17"/>
                    </a:cubicBezTo>
                    <a:cubicBezTo>
                      <a:pt x="39" y="18"/>
                      <a:pt x="39" y="19"/>
                      <a:pt x="41" y="19"/>
                    </a:cubicBezTo>
                    <a:cubicBezTo>
                      <a:pt x="41" y="19"/>
                      <a:pt x="41" y="19"/>
                      <a:pt x="42" y="19"/>
                    </a:cubicBezTo>
                    <a:cubicBezTo>
                      <a:pt x="43" y="19"/>
                      <a:pt x="43" y="19"/>
                      <a:pt x="43" y="19"/>
                    </a:cubicBezTo>
                    <a:cubicBezTo>
                      <a:pt x="42" y="16"/>
                      <a:pt x="38" y="13"/>
                      <a:pt x="40" y="10"/>
                    </a:cubicBezTo>
                    <a:cubicBezTo>
                      <a:pt x="43" y="9"/>
                      <a:pt x="43" y="9"/>
                      <a:pt x="43" y="9"/>
                    </a:cubicBezTo>
                    <a:cubicBezTo>
                      <a:pt x="43" y="9"/>
                      <a:pt x="44" y="8"/>
                      <a:pt x="44" y="7"/>
                    </a:cubicBezTo>
                    <a:cubicBezTo>
                      <a:pt x="45" y="6"/>
                      <a:pt x="47" y="6"/>
                      <a:pt x="48" y="5"/>
                    </a:cubicBezTo>
                    <a:cubicBezTo>
                      <a:pt x="50" y="4"/>
                      <a:pt x="55" y="1"/>
                      <a:pt x="5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0" name="Freeform 99">
                <a:extLst>
                  <a:ext uri="{FF2B5EF4-FFF2-40B4-BE49-F238E27FC236}">
                    <a16:creationId xmlns:a16="http://schemas.microsoft.com/office/drawing/2014/main" id="{45901523-3C9F-48BC-B4F2-AC553A7A650A}"/>
                  </a:ext>
                </a:extLst>
              </p:cNvPr>
              <p:cNvSpPr>
                <a:spLocks/>
              </p:cNvSpPr>
              <p:nvPr/>
            </p:nvSpPr>
            <p:spPr bwMode="auto">
              <a:xfrm>
                <a:off x="7000" y="-1"/>
                <a:ext cx="24" cy="9"/>
              </a:xfrm>
              <a:custGeom>
                <a:avLst/>
                <a:gdLst>
                  <a:gd name="T0" fmla="*/ 7 w 10"/>
                  <a:gd name="T1" fmla="*/ 0 h 4"/>
                  <a:gd name="T2" fmla="*/ 0 w 10"/>
                  <a:gd name="T3" fmla="*/ 2 h 4"/>
                  <a:gd name="T4" fmla="*/ 5 w 10"/>
                  <a:gd name="T5" fmla="*/ 4 h 4"/>
                  <a:gd name="T6" fmla="*/ 7 w 10"/>
                  <a:gd name="T7" fmla="*/ 4 h 4"/>
                  <a:gd name="T8" fmla="*/ 10 w 10"/>
                  <a:gd name="T9" fmla="*/ 1 h 4"/>
                  <a:gd name="T10" fmla="*/ 7 w 10"/>
                  <a:gd name="T11" fmla="*/ 0 h 4"/>
                </a:gdLst>
                <a:ahLst/>
                <a:cxnLst>
                  <a:cxn ang="0">
                    <a:pos x="T0" y="T1"/>
                  </a:cxn>
                  <a:cxn ang="0">
                    <a:pos x="T2" y="T3"/>
                  </a:cxn>
                  <a:cxn ang="0">
                    <a:pos x="T4" y="T5"/>
                  </a:cxn>
                  <a:cxn ang="0">
                    <a:pos x="T6" y="T7"/>
                  </a:cxn>
                  <a:cxn ang="0">
                    <a:pos x="T8" y="T9"/>
                  </a:cxn>
                  <a:cxn ang="0">
                    <a:pos x="T10" y="T11"/>
                  </a:cxn>
                </a:cxnLst>
                <a:rect l="0" t="0" r="r" b="b"/>
                <a:pathLst>
                  <a:path w="10" h="4">
                    <a:moveTo>
                      <a:pt x="7" y="0"/>
                    </a:moveTo>
                    <a:cubicBezTo>
                      <a:pt x="4" y="0"/>
                      <a:pt x="0" y="1"/>
                      <a:pt x="0" y="2"/>
                    </a:cubicBezTo>
                    <a:cubicBezTo>
                      <a:pt x="0" y="4"/>
                      <a:pt x="3" y="3"/>
                      <a:pt x="5" y="4"/>
                    </a:cubicBezTo>
                    <a:cubicBezTo>
                      <a:pt x="6" y="4"/>
                      <a:pt x="6" y="4"/>
                      <a:pt x="7" y="4"/>
                    </a:cubicBezTo>
                    <a:cubicBezTo>
                      <a:pt x="9" y="4"/>
                      <a:pt x="10" y="3"/>
                      <a:pt x="10" y="1"/>
                    </a:cubicBezTo>
                    <a:cubicBezTo>
                      <a:pt x="10" y="0"/>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1" name="Rectangle 100">
                <a:extLst>
                  <a:ext uri="{FF2B5EF4-FFF2-40B4-BE49-F238E27FC236}">
                    <a16:creationId xmlns:a16="http://schemas.microsoft.com/office/drawing/2014/main" id="{D4693853-BB3A-4959-88DA-284031F533F7}"/>
                  </a:ext>
                </a:extLst>
              </p:cNvPr>
              <p:cNvSpPr>
                <a:spLocks noChangeArrowheads="1"/>
              </p:cNvSpPr>
              <p:nvPr/>
            </p:nvSpPr>
            <p:spPr bwMode="auto">
              <a:xfrm>
                <a:off x="5509" y="1122"/>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2" name="Freeform 101">
                <a:extLst>
                  <a:ext uri="{FF2B5EF4-FFF2-40B4-BE49-F238E27FC236}">
                    <a16:creationId xmlns:a16="http://schemas.microsoft.com/office/drawing/2014/main" id="{4C811924-80F1-44D0-A413-E49739F58FB5}"/>
                  </a:ext>
                </a:extLst>
              </p:cNvPr>
              <p:cNvSpPr>
                <a:spLocks/>
              </p:cNvSpPr>
              <p:nvPr/>
            </p:nvSpPr>
            <p:spPr bwMode="auto">
              <a:xfrm>
                <a:off x="5509" y="1122"/>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3" name="Freeform 102">
                <a:extLst>
                  <a:ext uri="{FF2B5EF4-FFF2-40B4-BE49-F238E27FC236}">
                    <a16:creationId xmlns:a16="http://schemas.microsoft.com/office/drawing/2014/main" id="{CA7151A3-B519-4F9F-8750-BEF0498037E6}"/>
                  </a:ext>
                </a:extLst>
              </p:cNvPr>
              <p:cNvSpPr>
                <a:spLocks/>
              </p:cNvSpPr>
              <p:nvPr/>
            </p:nvSpPr>
            <p:spPr bwMode="auto">
              <a:xfrm>
                <a:off x="6499" y="3294"/>
                <a:ext cx="10" cy="2"/>
              </a:xfrm>
              <a:custGeom>
                <a:avLst/>
                <a:gdLst>
                  <a:gd name="T0" fmla="*/ 3 w 4"/>
                  <a:gd name="T1" fmla="*/ 0 h 1"/>
                  <a:gd name="T2" fmla="*/ 0 w 4"/>
                  <a:gd name="T3" fmla="*/ 1 h 1"/>
                  <a:gd name="T4" fmla="*/ 0 w 4"/>
                  <a:gd name="T5" fmla="*/ 1 h 1"/>
                  <a:gd name="T6" fmla="*/ 4 w 4"/>
                  <a:gd name="T7" fmla="*/ 0 h 1"/>
                  <a:gd name="T8" fmla="*/ 3 w 4"/>
                  <a:gd name="T9" fmla="*/ 0 h 1"/>
                </a:gdLst>
                <a:ahLst/>
                <a:cxnLst>
                  <a:cxn ang="0">
                    <a:pos x="T0" y="T1"/>
                  </a:cxn>
                  <a:cxn ang="0">
                    <a:pos x="T2" y="T3"/>
                  </a:cxn>
                  <a:cxn ang="0">
                    <a:pos x="T4" y="T5"/>
                  </a:cxn>
                  <a:cxn ang="0">
                    <a:pos x="T6" y="T7"/>
                  </a:cxn>
                  <a:cxn ang="0">
                    <a:pos x="T8" y="T9"/>
                  </a:cxn>
                </a:cxnLst>
                <a:rect l="0" t="0" r="r" b="b"/>
                <a:pathLst>
                  <a:path w="4" h="1">
                    <a:moveTo>
                      <a:pt x="3" y="0"/>
                    </a:moveTo>
                    <a:cubicBezTo>
                      <a:pt x="2" y="0"/>
                      <a:pt x="1" y="0"/>
                      <a:pt x="0" y="1"/>
                    </a:cubicBezTo>
                    <a:cubicBezTo>
                      <a:pt x="0" y="1"/>
                      <a:pt x="0" y="1"/>
                      <a:pt x="0" y="1"/>
                    </a:cubicBezTo>
                    <a:cubicBezTo>
                      <a:pt x="1" y="1"/>
                      <a:pt x="2" y="0"/>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4" name="Freeform 103">
                <a:extLst>
                  <a:ext uri="{FF2B5EF4-FFF2-40B4-BE49-F238E27FC236}">
                    <a16:creationId xmlns:a16="http://schemas.microsoft.com/office/drawing/2014/main" id="{544C61C4-C1F5-4BF7-8087-90CBAFEDC187}"/>
                  </a:ext>
                </a:extLst>
              </p:cNvPr>
              <p:cNvSpPr>
                <a:spLocks/>
              </p:cNvSpPr>
              <p:nvPr/>
            </p:nvSpPr>
            <p:spPr bwMode="auto">
              <a:xfrm>
                <a:off x="5866" y="3181"/>
                <a:ext cx="16" cy="18"/>
              </a:xfrm>
              <a:custGeom>
                <a:avLst/>
                <a:gdLst>
                  <a:gd name="T0" fmla="*/ 6 w 7"/>
                  <a:gd name="T1" fmla="*/ 0 h 8"/>
                  <a:gd name="T2" fmla="*/ 0 w 7"/>
                  <a:gd name="T3" fmla="*/ 8 h 8"/>
                  <a:gd name="T4" fmla="*/ 6 w 7"/>
                  <a:gd name="T5" fmla="*/ 0 h 8"/>
                </a:gdLst>
                <a:ahLst/>
                <a:cxnLst>
                  <a:cxn ang="0">
                    <a:pos x="T0" y="T1"/>
                  </a:cxn>
                  <a:cxn ang="0">
                    <a:pos x="T2" y="T3"/>
                  </a:cxn>
                  <a:cxn ang="0">
                    <a:pos x="T4" y="T5"/>
                  </a:cxn>
                </a:cxnLst>
                <a:rect l="0" t="0" r="r" b="b"/>
                <a:pathLst>
                  <a:path w="7" h="8">
                    <a:moveTo>
                      <a:pt x="6" y="0"/>
                    </a:moveTo>
                    <a:cubicBezTo>
                      <a:pt x="4" y="2"/>
                      <a:pt x="2" y="5"/>
                      <a:pt x="0" y="8"/>
                    </a:cubicBezTo>
                    <a:cubicBezTo>
                      <a:pt x="3" y="6"/>
                      <a:pt x="7" y="5"/>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5" name="Freeform 104">
                <a:extLst>
                  <a:ext uri="{FF2B5EF4-FFF2-40B4-BE49-F238E27FC236}">
                    <a16:creationId xmlns:a16="http://schemas.microsoft.com/office/drawing/2014/main" id="{B4E19799-2B21-42FE-8EF1-0BBA669066F3}"/>
                  </a:ext>
                </a:extLst>
              </p:cNvPr>
              <p:cNvSpPr>
                <a:spLocks/>
              </p:cNvSpPr>
              <p:nvPr/>
            </p:nvSpPr>
            <p:spPr bwMode="auto">
              <a:xfrm>
                <a:off x="5840" y="3072"/>
                <a:ext cx="21" cy="40"/>
              </a:xfrm>
              <a:custGeom>
                <a:avLst/>
                <a:gdLst>
                  <a:gd name="T0" fmla="*/ 3 w 9"/>
                  <a:gd name="T1" fmla="*/ 0 h 17"/>
                  <a:gd name="T2" fmla="*/ 0 w 9"/>
                  <a:gd name="T3" fmla="*/ 7 h 17"/>
                  <a:gd name="T4" fmla="*/ 9 w 9"/>
                  <a:gd name="T5" fmla="*/ 17 h 17"/>
                  <a:gd name="T6" fmla="*/ 8 w 9"/>
                  <a:gd name="T7" fmla="*/ 11 h 17"/>
                  <a:gd name="T8" fmla="*/ 7 w 9"/>
                  <a:gd name="T9" fmla="*/ 12 h 17"/>
                  <a:gd name="T10" fmla="*/ 3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3" y="0"/>
                    </a:moveTo>
                    <a:cubicBezTo>
                      <a:pt x="3" y="3"/>
                      <a:pt x="0" y="5"/>
                      <a:pt x="0" y="7"/>
                    </a:cubicBezTo>
                    <a:cubicBezTo>
                      <a:pt x="2" y="12"/>
                      <a:pt x="4" y="15"/>
                      <a:pt x="9" y="17"/>
                    </a:cubicBezTo>
                    <a:cubicBezTo>
                      <a:pt x="9" y="15"/>
                      <a:pt x="9" y="12"/>
                      <a:pt x="8" y="11"/>
                    </a:cubicBezTo>
                    <a:cubicBezTo>
                      <a:pt x="8" y="11"/>
                      <a:pt x="7" y="12"/>
                      <a:pt x="7" y="12"/>
                    </a:cubicBezTo>
                    <a:cubicBezTo>
                      <a:pt x="5" y="12"/>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6" name="Freeform 105">
                <a:extLst>
                  <a:ext uri="{FF2B5EF4-FFF2-40B4-BE49-F238E27FC236}">
                    <a16:creationId xmlns:a16="http://schemas.microsoft.com/office/drawing/2014/main" id="{145A2CE7-FD8C-4F7E-8CF5-B97E04E35FDE}"/>
                  </a:ext>
                </a:extLst>
              </p:cNvPr>
              <p:cNvSpPr>
                <a:spLocks/>
              </p:cNvSpPr>
              <p:nvPr/>
            </p:nvSpPr>
            <p:spPr bwMode="auto">
              <a:xfrm>
                <a:off x="5861" y="3025"/>
                <a:ext cx="17" cy="33"/>
              </a:xfrm>
              <a:custGeom>
                <a:avLst/>
                <a:gdLst>
                  <a:gd name="T0" fmla="*/ 3 w 7"/>
                  <a:gd name="T1" fmla="*/ 0 h 14"/>
                  <a:gd name="T2" fmla="*/ 4 w 7"/>
                  <a:gd name="T3" fmla="*/ 8 h 14"/>
                  <a:gd name="T4" fmla="*/ 4 w 7"/>
                  <a:gd name="T5" fmla="*/ 14 h 14"/>
                  <a:gd name="T6" fmla="*/ 7 w 7"/>
                  <a:gd name="T7" fmla="*/ 8 h 14"/>
                  <a:gd name="T8" fmla="*/ 6 w 7"/>
                  <a:gd name="T9" fmla="*/ 5 h 14"/>
                  <a:gd name="T10" fmla="*/ 7 w 7"/>
                  <a:gd name="T11" fmla="*/ 3 h 14"/>
                  <a:gd name="T12" fmla="*/ 6 w 7"/>
                  <a:gd name="T13" fmla="*/ 1 h 14"/>
                  <a:gd name="T14" fmla="*/ 5 w 7"/>
                  <a:gd name="T15" fmla="*/ 1 h 14"/>
                  <a:gd name="T16" fmla="*/ 4 w 7"/>
                  <a:gd name="T17" fmla="*/ 1 h 14"/>
                  <a:gd name="T18" fmla="*/ 3 w 7"/>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4">
                    <a:moveTo>
                      <a:pt x="3" y="0"/>
                    </a:moveTo>
                    <a:cubicBezTo>
                      <a:pt x="3" y="3"/>
                      <a:pt x="4" y="5"/>
                      <a:pt x="4" y="8"/>
                    </a:cubicBezTo>
                    <a:cubicBezTo>
                      <a:pt x="4" y="10"/>
                      <a:pt x="0" y="14"/>
                      <a:pt x="4" y="14"/>
                    </a:cubicBezTo>
                    <a:cubicBezTo>
                      <a:pt x="5" y="12"/>
                      <a:pt x="6" y="10"/>
                      <a:pt x="7" y="8"/>
                    </a:cubicBezTo>
                    <a:cubicBezTo>
                      <a:pt x="7" y="8"/>
                      <a:pt x="6" y="6"/>
                      <a:pt x="6" y="5"/>
                    </a:cubicBezTo>
                    <a:cubicBezTo>
                      <a:pt x="7" y="4"/>
                      <a:pt x="7" y="4"/>
                      <a:pt x="7" y="3"/>
                    </a:cubicBezTo>
                    <a:cubicBezTo>
                      <a:pt x="7" y="2"/>
                      <a:pt x="7" y="1"/>
                      <a:pt x="6" y="1"/>
                    </a:cubicBezTo>
                    <a:cubicBezTo>
                      <a:pt x="6" y="1"/>
                      <a:pt x="6" y="1"/>
                      <a:pt x="5" y="1"/>
                    </a:cubicBezTo>
                    <a:cubicBezTo>
                      <a:pt x="5" y="1"/>
                      <a:pt x="5" y="1"/>
                      <a:pt x="4" y="1"/>
                    </a:cubicBezTo>
                    <a:cubicBezTo>
                      <a:pt x="4" y="1"/>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7" name="Freeform 106">
                <a:extLst>
                  <a:ext uri="{FF2B5EF4-FFF2-40B4-BE49-F238E27FC236}">
                    <a16:creationId xmlns:a16="http://schemas.microsoft.com/office/drawing/2014/main" id="{8B3550C2-8186-432F-AC55-C9AA9479364E}"/>
                  </a:ext>
                </a:extLst>
              </p:cNvPr>
              <p:cNvSpPr>
                <a:spLocks/>
              </p:cNvSpPr>
              <p:nvPr/>
            </p:nvSpPr>
            <p:spPr bwMode="auto">
              <a:xfrm>
                <a:off x="5878" y="1864"/>
                <a:ext cx="33" cy="16"/>
              </a:xfrm>
              <a:custGeom>
                <a:avLst/>
                <a:gdLst>
                  <a:gd name="T0" fmla="*/ 4 w 14"/>
                  <a:gd name="T1" fmla="*/ 0 h 7"/>
                  <a:gd name="T2" fmla="*/ 3 w 14"/>
                  <a:gd name="T3" fmla="*/ 0 h 7"/>
                  <a:gd name="T4" fmla="*/ 4 w 14"/>
                  <a:gd name="T5" fmla="*/ 5 h 7"/>
                  <a:gd name="T6" fmla="*/ 2 w 14"/>
                  <a:gd name="T7" fmla="*/ 5 h 7"/>
                  <a:gd name="T8" fmla="*/ 10 w 14"/>
                  <a:gd name="T9" fmla="*/ 7 h 7"/>
                  <a:gd name="T10" fmla="*/ 11 w 14"/>
                  <a:gd name="T11" fmla="*/ 7 h 7"/>
                  <a:gd name="T12" fmla="*/ 10 w 14"/>
                  <a:gd name="T13" fmla="*/ 4 h 7"/>
                  <a:gd name="T14" fmla="*/ 10 w 14"/>
                  <a:gd name="T15" fmla="*/ 4 h 7"/>
                  <a:gd name="T16" fmla="*/ 9 w 14"/>
                  <a:gd name="T17" fmla="*/ 5 h 7"/>
                  <a:gd name="T18" fmla="*/ 7 w 14"/>
                  <a:gd name="T19" fmla="*/ 5 h 7"/>
                  <a:gd name="T20" fmla="*/ 7 w 14"/>
                  <a:gd name="T21" fmla="*/ 5 h 7"/>
                  <a:gd name="T22" fmla="*/ 6 w 14"/>
                  <a:gd name="T23" fmla="*/ 2 h 7"/>
                  <a:gd name="T24" fmla="*/ 6 w 14"/>
                  <a:gd name="T25" fmla="*/ 2 h 7"/>
                  <a:gd name="T26" fmla="*/ 4 w 14"/>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7">
                    <a:moveTo>
                      <a:pt x="4" y="0"/>
                    </a:moveTo>
                    <a:cubicBezTo>
                      <a:pt x="4" y="0"/>
                      <a:pt x="4" y="0"/>
                      <a:pt x="3" y="0"/>
                    </a:cubicBezTo>
                    <a:cubicBezTo>
                      <a:pt x="0" y="0"/>
                      <a:pt x="3" y="4"/>
                      <a:pt x="4" y="5"/>
                    </a:cubicBezTo>
                    <a:cubicBezTo>
                      <a:pt x="3" y="5"/>
                      <a:pt x="3" y="5"/>
                      <a:pt x="2" y="5"/>
                    </a:cubicBezTo>
                    <a:cubicBezTo>
                      <a:pt x="2" y="7"/>
                      <a:pt x="9" y="7"/>
                      <a:pt x="10" y="7"/>
                    </a:cubicBezTo>
                    <a:cubicBezTo>
                      <a:pt x="11" y="7"/>
                      <a:pt x="11" y="7"/>
                      <a:pt x="11" y="7"/>
                    </a:cubicBezTo>
                    <a:cubicBezTo>
                      <a:pt x="14" y="7"/>
                      <a:pt x="13" y="4"/>
                      <a:pt x="10" y="4"/>
                    </a:cubicBezTo>
                    <a:cubicBezTo>
                      <a:pt x="10" y="4"/>
                      <a:pt x="10" y="4"/>
                      <a:pt x="10" y="4"/>
                    </a:cubicBezTo>
                    <a:cubicBezTo>
                      <a:pt x="10" y="4"/>
                      <a:pt x="9" y="4"/>
                      <a:pt x="9" y="5"/>
                    </a:cubicBezTo>
                    <a:cubicBezTo>
                      <a:pt x="8" y="5"/>
                      <a:pt x="8" y="5"/>
                      <a:pt x="7" y="5"/>
                    </a:cubicBezTo>
                    <a:cubicBezTo>
                      <a:pt x="7" y="5"/>
                      <a:pt x="7" y="5"/>
                      <a:pt x="7" y="5"/>
                    </a:cubicBezTo>
                    <a:cubicBezTo>
                      <a:pt x="6" y="5"/>
                      <a:pt x="7" y="2"/>
                      <a:pt x="6" y="2"/>
                    </a:cubicBezTo>
                    <a:cubicBezTo>
                      <a:pt x="6" y="2"/>
                      <a:pt x="6" y="2"/>
                      <a:pt x="6" y="2"/>
                    </a:cubicBezTo>
                    <a:cubicBezTo>
                      <a:pt x="6"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8" name="Freeform 107">
                <a:extLst>
                  <a:ext uri="{FF2B5EF4-FFF2-40B4-BE49-F238E27FC236}">
                    <a16:creationId xmlns:a16="http://schemas.microsoft.com/office/drawing/2014/main" id="{5922CE7B-1D12-4912-BE84-3A42D173CF55}"/>
                  </a:ext>
                </a:extLst>
              </p:cNvPr>
              <p:cNvSpPr>
                <a:spLocks/>
              </p:cNvSpPr>
              <p:nvPr/>
            </p:nvSpPr>
            <p:spPr bwMode="auto">
              <a:xfrm>
                <a:off x="4072" y="2660"/>
                <a:ext cx="5" cy="8"/>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cubicBezTo>
                      <a:pt x="0" y="0"/>
                      <a:pt x="1"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9" name="Freeform 108">
                <a:extLst>
                  <a:ext uri="{FF2B5EF4-FFF2-40B4-BE49-F238E27FC236}">
                    <a16:creationId xmlns:a16="http://schemas.microsoft.com/office/drawing/2014/main" id="{A64EC55B-5191-42E9-B7C0-F8387F4853F1}"/>
                  </a:ext>
                </a:extLst>
              </p:cNvPr>
              <p:cNvSpPr>
                <a:spLocks/>
              </p:cNvSpPr>
              <p:nvPr/>
            </p:nvSpPr>
            <p:spPr bwMode="auto">
              <a:xfrm>
                <a:off x="2926" y="224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0" name="Freeform 109">
                <a:extLst>
                  <a:ext uri="{FF2B5EF4-FFF2-40B4-BE49-F238E27FC236}">
                    <a16:creationId xmlns:a16="http://schemas.microsoft.com/office/drawing/2014/main" id="{99842006-80FC-4E94-9E74-11D556324480}"/>
                  </a:ext>
                </a:extLst>
              </p:cNvPr>
              <p:cNvSpPr>
                <a:spLocks/>
              </p:cNvSpPr>
              <p:nvPr/>
            </p:nvSpPr>
            <p:spPr bwMode="auto">
              <a:xfrm>
                <a:off x="2928" y="2242"/>
                <a:ext cx="3"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0" y="0"/>
                    </a:cubicBezTo>
                    <a:cubicBezTo>
                      <a:pt x="0" y="0"/>
                      <a:pt x="0"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1" name="Rectangle 110">
                <a:extLst>
                  <a:ext uri="{FF2B5EF4-FFF2-40B4-BE49-F238E27FC236}">
                    <a16:creationId xmlns:a16="http://schemas.microsoft.com/office/drawing/2014/main" id="{CD0159FD-4ACA-4562-ADD7-8B68805E4D01}"/>
                  </a:ext>
                </a:extLst>
              </p:cNvPr>
              <p:cNvSpPr>
                <a:spLocks noChangeArrowheads="1"/>
              </p:cNvSpPr>
              <p:nvPr/>
            </p:nvSpPr>
            <p:spPr bwMode="auto">
              <a:xfrm>
                <a:off x="3817" y="162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2" name="Freeform 111">
                <a:extLst>
                  <a:ext uri="{FF2B5EF4-FFF2-40B4-BE49-F238E27FC236}">
                    <a16:creationId xmlns:a16="http://schemas.microsoft.com/office/drawing/2014/main" id="{9E1C2DAF-DD93-4BA3-B9BB-39FDC1DD3D7D}"/>
                  </a:ext>
                </a:extLst>
              </p:cNvPr>
              <p:cNvSpPr>
                <a:spLocks/>
              </p:cNvSpPr>
              <p:nvPr/>
            </p:nvSpPr>
            <p:spPr bwMode="auto">
              <a:xfrm>
                <a:off x="3817" y="1628"/>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3" name="Freeform 112">
                <a:extLst>
                  <a:ext uri="{FF2B5EF4-FFF2-40B4-BE49-F238E27FC236}">
                    <a16:creationId xmlns:a16="http://schemas.microsoft.com/office/drawing/2014/main" id="{FE83CFD1-3EBF-4B46-8928-C9B117A2265B}"/>
                  </a:ext>
                </a:extLst>
              </p:cNvPr>
              <p:cNvSpPr>
                <a:spLocks/>
              </p:cNvSpPr>
              <p:nvPr/>
            </p:nvSpPr>
            <p:spPr bwMode="auto">
              <a:xfrm>
                <a:off x="5984" y="2044"/>
                <a:ext cx="92" cy="101"/>
              </a:xfrm>
              <a:custGeom>
                <a:avLst/>
                <a:gdLst>
                  <a:gd name="T0" fmla="*/ 32 w 39"/>
                  <a:gd name="T1" fmla="*/ 0 h 43"/>
                  <a:gd name="T2" fmla="*/ 23 w 39"/>
                  <a:gd name="T3" fmla="*/ 7 h 43"/>
                  <a:gd name="T4" fmla="*/ 22 w 39"/>
                  <a:gd name="T5" fmla="*/ 7 h 43"/>
                  <a:gd name="T6" fmla="*/ 15 w 39"/>
                  <a:gd name="T7" fmla="*/ 6 h 43"/>
                  <a:gd name="T8" fmla="*/ 15 w 39"/>
                  <a:gd name="T9" fmla="*/ 6 h 43"/>
                  <a:gd name="T10" fmla="*/ 15 w 39"/>
                  <a:gd name="T11" fmla="*/ 6 h 43"/>
                  <a:gd name="T12" fmla="*/ 4 w 39"/>
                  <a:gd name="T13" fmla="*/ 21 h 43"/>
                  <a:gd name="T14" fmla="*/ 3 w 39"/>
                  <a:gd name="T15" fmla="*/ 22 h 43"/>
                  <a:gd name="T16" fmla="*/ 2 w 39"/>
                  <a:gd name="T17" fmla="*/ 23 h 43"/>
                  <a:gd name="T18" fmla="*/ 2 w 39"/>
                  <a:gd name="T19" fmla="*/ 23 h 43"/>
                  <a:gd name="T20" fmla="*/ 0 w 39"/>
                  <a:gd name="T21" fmla="*/ 28 h 43"/>
                  <a:gd name="T22" fmla="*/ 0 w 39"/>
                  <a:gd name="T23" fmla="*/ 29 h 43"/>
                  <a:gd name="T24" fmla="*/ 0 w 39"/>
                  <a:gd name="T25" fmla="*/ 31 h 43"/>
                  <a:gd name="T26" fmla="*/ 0 w 39"/>
                  <a:gd name="T27" fmla="*/ 31 h 43"/>
                  <a:gd name="T28" fmla="*/ 0 w 39"/>
                  <a:gd name="T29" fmla="*/ 35 h 43"/>
                  <a:gd name="T30" fmla="*/ 1 w 39"/>
                  <a:gd name="T31" fmla="*/ 41 h 43"/>
                  <a:gd name="T32" fmla="*/ 4 w 39"/>
                  <a:gd name="T33" fmla="*/ 43 h 43"/>
                  <a:gd name="T34" fmla="*/ 13 w 39"/>
                  <a:gd name="T35" fmla="*/ 41 h 43"/>
                  <a:gd name="T36" fmla="*/ 20 w 39"/>
                  <a:gd name="T37" fmla="*/ 39 h 43"/>
                  <a:gd name="T38" fmla="*/ 21 w 39"/>
                  <a:gd name="T39" fmla="*/ 39 h 43"/>
                  <a:gd name="T40" fmla="*/ 26 w 39"/>
                  <a:gd name="T41" fmla="*/ 40 h 43"/>
                  <a:gd name="T42" fmla="*/ 27 w 39"/>
                  <a:gd name="T43" fmla="*/ 40 h 43"/>
                  <a:gd name="T44" fmla="*/ 27 w 39"/>
                  <a:gd name="T45" fmla="*/ 40 h 43"/>
                  <a:gd name="T46" fmla="*/ 35 w 39"/>
                  <a:gd name="T47" fmla="*/ 29 h 43"/>
                  <a:gd name="T48" fmla="*/ 34 w 39"/>
                  <a:gd name="T49" fmla="*/ 28 h 43"/>
                  <a:gd name="T50" fmla="*/ 28 w 39"/>
                  <a:gd name="T51" fmla="*/ 27 h 43"/>
                  <a:gd name="T52" fmla="*/ 18 w 39"/>
                  <a:gd name="T53" fmla="*/ 28 h 43"/>
                  <a:gd name="T54" fmla="*/ 31 w 39"/>
                  <a:gd name="T55" fmla="*/ 20 h 43"/>
                  <a:gd name="T56" fmla="*/ 38 w 39"/>
                  <a:gd name="T57" fmla="*/ 17 h 43"/>
                  <a:gd name="T58" fmla="*/ 38 w 39"/>
                  <a:gd name="T59" fmla="*/ 13 h 43"/>
                  <a:gd name="T60" fmla="*/ 37 w 39"/>
                  <a:gd name="T61" fmla="*/ 5 h 43"/>
                  <a:gd name="T62" fmla="*/ 33 w 39"/>
                  <a:gd name="T63" fmla="*/ 1 h 43"/>
                  <a:gd name="T64" fmla="*/ 33 w 39"/>
                  <a:gd name="T65" fmla="*/ 1 h 43"/>
                  <a:gd name="T66" fmla="*/ 32 w 39"/>
                  <a:gd name="T6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 h="43">
                    <a:moveTo>
                      <a:pt x="32" y="0"/>
                    </a:moveTo>
                    <a:cubicBezTo>
                      <a:pt x="32" y="0"/>
                      <a:pt x="25" y="6"/>
                      <a:pt x="23" y="7"/>
                    </a:cubicBezTo>
                    <a:cubicBezTo>
                      <a:pt x="23" y="7"/>
                      <a:pt x="22" y="7"/>
                      <a:pt x="22" y="7"/>
                    </a:cubicBezTo>
                    <a:cubicBezTo>
                      <a:pt x="20" y="7"/>
                      <a:pt x="18" y="7"/>
                      <a:pt x="15" y="6"/>
                    </a:cubicBezTo>
                    <a:cubicBezTo>
                      <a:pt x="15" y="6"/>
                      <a:pt x="15" y="6"/>
                      <a:pt x="15" y="6"/>
                    </a:cubicBezTo>
                    <a:cubicBezTo>
                      <a:pt x="15" y="6"/>
                      <a:pt x="15" y="6"/>
                      <a:pt x="15" y="6"/>
                    </a:cubicBezTo>
                    <a:cubicBezTo>
                      <a:pt x="13" y="8"/>
                      <a:pt x="6" y="19"/>
                      <a:pt x="4" y="21"/>
                    </a:cubicBezTo>
                    <a:cubicBezTo>
                      <a:pt x="4" y="21"/>
                      <a:pt x="3" y="21"/>
                      <a:pt x="3" y="22"/>
                    </a:cubicBezTo>
                    <a:cubicBezTo>
                      <a:pt x="3" y="22"/>
                      <a:pt x="2" y="23"/>
                      <a:pt x="2" y="23"/>
                    </a:cubicBezTo>
                    <a:cubicBezTo>
                      <a:pt x="2" y="23"/>
                      <a:pt x="2" y="23"/>
                      <a:pt x="2" y="23"/>
                    </a:cubicBezTo>
                    <a:cubicBezTo>
                      <a:pt x="1" y="24"/>
                      <a:pt x="0" y="26"/>
                      <a:pt x="0" y="28"/>
                    </a:cubicBezTo>
                    <a:cubicBezTo>
                      <a:pt x="0" y="28"/>
                      <a:pt x="0" y="29"/>
                      <a:pt x="0" y="29"/>
                    </a:cubicBezTo>
                    <a:cubicBezTo>
                      <a:pt x="0" y="30"/>
                      <a:pt x="0" y="30"/>
                      <a:pt x="0" y="31"/>
                    </a:cubicBezTo>
                    <a:cubicBezTo>
                      <a:pt x="0" y="31"/>
                      <a:pt x="0" y="31"/>
                      <a:pt x="0" y="31"/>
                    </a:cubicBezTo>
                    <a:cubicBezTo>
                      <a:pt x="0" y="32"/>
                      <a:pt x="0" y="34"/>
                      <a:pt x="0" y="35"/>
                    </a:cubicBezTo>
                    <a:cubicBezTo>
                      <a:pt x="0" y="37"/>
                      <a:pt x="0" y="40"/>
                      <a:pt x="1" y="41"/>
                    </a:cubicBezTo>
                    <a:cubicBezTo>
                      <a:pt x="2" y="42"/>
                      <a:pt x="3" y="43"/>
                      <a:pt x="4" y="43"/>
                    </a:cubicBezTo>
                    <a:cubicBezTo>
                      <a:pt x="7" y="43"/>
                      <a:pt x="10" y="42"/>
                      <a:pt x="13" y="41"/>
                    </a:cubicBezTo>
                    <a:cubicBezTo>
                      <a:pt x="16" y="40"/>
                      <a:pt x="18" y="39"/>
                      <a:pt x="20" y="39"/>
                    </a:cubicBezTo>
                    <a:cubicBezTo>
                      <a:pt x="21" y="39"/>
                      <a:pt x="21" y="39"/>
                      <a:pt x="21" y="39"/>
                    </a:cubicBezTo>
                    <a:cubicBezTo>
                      <a:pt x="24" y="40"/>
                      <a:pt x="25" y="40"/>
                      <a:pt x="26" y="40"/>
                    </a:cubicBezTo>
                    <a:cubicBezTo>
                      <a:pt x="26" y="40"/>
                      <a:pt x="27" y="40"/>
                      <a:pt x="27" y="40"/>
                    </a:cubicBezTo>
                    <a:cubicBezTo>
                      <a:pt x="27" y="40"/>
                      <a:pt x="27" y="40"/>
                      <a:pt x="27" y="40"/>
                    </a:cubicBezTo>
                    <a:cubicBezTo>
                      <a:pt x="31" y="37"/>
                      <a:pt x="34" y="31"/>
                      <a:pt x="35" y="29"/>
                    </a:cubicBezTo>
                    <a:cubicBezTo>
                      <a:pt x="34" y="28"/>
                      <a:pt x="34" y="28"/>
                      <a:pt x="34" y="28"/>
                    </a:cubicBezTo>
                    <a:cubicBezTo>
                      <a:pt x="33" y="27"/>
                      <a:pt x="30" y="27"/>
                      <a:pt x="28" y="27"/>
                    </a:cubicBezTo>
                    <a:cubicBezTo>
                      <a:pt x="24" y="27"/>
                      <a:pt x="19" y="27"/>
                      <a:pt x="18" y="28"/>
                    </a:cubicBezTo>
                    <a:cubicBezTo>
                      <a:pt x="22" y="25"/>
                      <a:pt x="27" y="23"/>
                      <a:pt x="31" y="20"/>
                    </a:cubicBezTo>
                    <a:cubicBezTo>
                      <a:pt x="33" y="19"/>
                      <a:pt x="36" y="18"/>
                      <a:pt x="38" y="17"/>
                    </a:cubicBezTo>
                    <a:cubicBezTo>
                      <a:pt x="39" y="16"/>
                      <a:pt x="38" y="15"/>
                      <a:pt x="38" y="13"/>
                    </a:cubicBezTo>
                    <a:cubicBezTo>
                      <a:pt x="38" y="11"/>
                      <a:pt x="38" y="7"/>
                      <a:pt x="37" y="5"/>
                    </a:cubicBezTo>
                    <a:cubicBezTo>
                      <a:pt x="36" y="4"/>
                      <a:pt x="34" y="2"/>
                      <a:pt x="33" y="1"/>
                    </a:cubicBezTo>
                    <a:cubicBezTo>
                      <a:pt x="33" y="1"/>
                      <a:pt x="33" y="1"/>
                      <a:pt x="33" y="1"/>
                    </a:cubicBez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4" name="Rectangle 113">
                <a:extLst>
                  <a:ext uri="{FF2B5EF4-FFF2-40B4-BE49-F238E27FC236}">
                    <a16:creationId xmlns:a16="http://schemas.microsoft.com/office/drawing/2014/main" id="{57B2CF4F-16F5-43F3-ACB1-3CE36A663C12}"/>
                  </a:ext>
                </a:extLst>
              </p:cNvPr>
              <p:cNvSpPr>
                <a:spLocks noChangeArrowheads="1"/>
              </p:cNvSpPr>
              <p:nvPr/>
            </p:nvSpPr>
            <p:spPr bwMode="auto">
              <a:xfrm>
                <a:off x="5509" y="3537"/>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5" name="Freeform 114">
                <a:extLst>
                  <a:ext uri="{FF2B5EF4-FFF2-40B4-BE49-F238E27FC236}">
                    <a16:creationId xmlns:a16="http://schemas.microsoft.com/office/drawing/2014/main" id="{07C1A704-15FF-410E-B91F-2206A31C1600}"/>
                  </a:ext>
                </a:extLst>
              </p:cNvPr>
              <p:cNvSpPr>
                <a:spLocks/>
              </p:cNvSpPr>
              <p:nvPr/>
            </p:nvSpPr>
            <p:spPr bwMode="auto">
              <a:xfrm>
                <a:off x="5509" y="3537"/>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6" name="Freeform 115">
                <a:extLst>
                  <a:ext uri="{FF2B5EF4-FFF2-40B4-BE49-F238E27FC236}">
                    <a16:creationId xmlns:a16="http://schemas.microsoft.com/office/drawing/2014/main" id="{861D218C-72CC-418F-9D46-DE8BB7DFA82C}"/>
                  </a:ext>
                </a:extLst>
              </p:cNvPr>
              <p:cNvSpPr>
                <a:spLocks/>
              </p:cNvSpPr>
              <p:nvPr/>
            </p:nvSpPr>
            <p:spPr bwMode="auto">
              <a:xfrm>
                <a:off x="2945" y="2330"/>
                <a:ext cx="21" cy="11"/>
              </a:xfrm>
              <a:custGeom>
                <a:avLst/>
                <a:gdLst>
                  <a:gd name="T0" fmla="*/ 4 w 9"/>
                  <a:gd name="T1" fmla="*/ 0 h 5"/>
                  <a:gd name="T2" fmla="*/ 2 w 9"/>
                  <a:gd name="T3" fmla="*/ 0 h 5"/>
                  <a:gd name="T4" fmla="*/ 1 w 9"/>
                  <a:gd name="T5" fmla="*/ 0 h 5"/>
                  <a:gd name="T6" fmla="*/ 0 w 9"/>
                  <a:gd name="T7" fmla="*/ 0 h 5"/>
                  <a:gd name="T8" fmla="*/ 8 w 9"/>
                  <a:gd name="T9" fmla="*/ 4 h 5"/>
                  <a:gd name="T10" fmla="*/ 8 w 9"/>
                  <a:gd name="T11" fmla="*/ 5 h 5"/>
                  <a:gd name="T12" fmla="*/ 8 w 9"/>
                  <a:gd name="T13" fmla="*/ 5 h 5"/>
                  <a:gd name="T14" fmla="*/ 9 w 9"/>
                  <a:gd name="T15" fmla="*/ 2 h 5"/>
                  <a:gd name="T16" fmla="*/ 4 w 9"/>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5">
                    <a:moveTo>
                      <a:pt x="4" y="0"/>
                    </a:moveTo>
                    <a:cubicBezTo>
                      <a:pt x="4" y="0"/>
                      <a:pt x="3" y="0"/>
                      <a:pt x="2" y="0"/>
                    </a:cubicBezTo>
                    <a:cubicBezTo>
                      <a:pt x="2" y="0"/>
                      <a:pt x="1" y="0"/>
                      <a:pt x="1" y="0"/>
                    </a:cubicBezTo>
                    <a:cubicBezTo>
                      <a:pt x="0" y="0"/>
                      <a:pt x="0" y="0"/>
                      <a:pt x="0" y="0"/>
                    </a:cubicBezTo>
                    <a:cubicBezTo>
                      <a:pt x="1" y="2"/>
                      <a:pt x="5" y="3"/>
                      <a:pt x="8" y="4"/>
                    </a:cubicBezTo>
                    <a:cubicBezTo>
                      <a:pt x="8" y="4"/>
                      <a:pt x="7" y="5"/>
                      <a:pt x="8" y="5"/>
                    </a:cubicBezTo>
                    <a:cubicBezTo>
                      <a:pt x="8" y="5"/>
                      <a:pt x="8" y="5"/>
                      <a:pt x="8" y="5"/>
                    </a:cubicBezTo>
                    <a:cubicBezTo>
                      <a:pt x="9" y="5"/>
                      <a:pt x="9" y="3"/>
                      <a:pt x="9" y="2"/>
                    </a:cubicBezTo>
                    <a:cubicBezTo>
                      <a:pt x="9" y="0"/>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7" name="Freeform 116">
                <a:extLst>
                  <a:ext uri="{FF2B5EF4-FFF2-40B4-BE49-F238E27FC236}">
                    <a16:creationId xmlns:a16="http://schemas.microsoft.com/office/drawing/2014/main" id="{8FD39D2F-28FA-45DE-9992-0D1B0D5D961F}"/>
                  </a:ext>
                </a:extLst>
              </p:cNvPr>
              <p:cNvSpPr>
                <a:spLocks/>
              </p:cNvSpPr>
              <p:nvPr/>
            </p:nvSpPr>
            <p:spPr bwMode="auto">
              <a:xfrm>
                <a:off x="6234" y="3277"/>
                <a:ext cx="15" cy="5"/>
              </a:xfrm>
              <a:custGeom>
                <a:avLst/>
                <a:gdLst>
                  <a:gd name="T0" fmla="*/ 6 w 6"/>
                  <a:gd name="T1" fmla="*/ 0 h 2"/>
                  <a:gd name="T2" fmla="*/ 0 w 6"/>
                  <a:gd name="T3" fmla="*/ 2 h 2"/>
                  <a:gd name="T4" fmla="*/ 6 w 6"/>
                  <a:gd name="T5" fmla="*/ 0 h 2"/>
                </a:gdLst>
                <a:ahLst/>
                <a:cxnLst>
                  <a:cxn ang="0">
                    <a:pos x="T0" y="T1"/>
                  </a:cxn>
                  <a:cxn ang="0">
                    <a:pos x="T2" y="T3"/>
                  </a:cxn>
                  <a:cxn ang="0">
                    <a:pos x="T4" y="T5"/>
                  </a:cxn>
                </a:cxnLst>
                <a:rect l="0" t="0" r="r" b="b"/>
                <a:pathLst>
                  <a:path w="6" h="2">
                    <a:moveTo>
                      <a:pt x="6" y="0"/>
                    </a:moveTo>
                    <a:cubicBezTo>
                      <a:pt x="4" y="0"/>
                      <a:pt x="2" y="1"/>
                      <a:pt x="0" y="2"/>
                    </a:cubicBezTo>
                    <a:cubicBezTo>
                      <a:pt x="1" y="1"/>
                      <a:pt x="5"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8" name="Freeform 117">
                <a:extLst>
                  <a:ext uri="{FF2B5EF4-FFF2-40B4-BE49-F238E27FC236}">
                    <a16:creationId xmlns:a16="http://schemas.microsoft.com/office/drawing/2014/main" id="{35DAACE5-7C7B-4CC6-8D8F-F19890803A7A}"/>
                  </a:ext>
                </a:extLst>
              </p:cNvPr>
              <p:cNvSpPr>
                <a:spLocks/>
              </p:cNvSpPr>
              <p:nvPr/>
            </p:nvSpPr>
            <p:spPr bwMode="auto">
              <a:xfrm>
                <a:off x="2758" y="2124"/>
                <a:ext cx="5" cy="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1" y="0"/>
                      <a:pt x="1" y="1"/>
                      <a:pt x="0" y="2"/>
                    </a:cubicBezTo>
                    <a:cubicBezTo>
                      <a:pt x="1" y="1"/>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9" name="Freeform 118">
                <a:extLst>
                  <a:ext uri="{FF2B5EF4-FFF2-40B4-BE49-F238E27FC236}">
                    <a16:creationId xmlns:a16="http://schemas.microsoft.com/office/drawing/2014/main" id="{BA29337B-A27A-4A2F-AEAC-2522E4D3FA0A}"/>
                  </a:ext>
                </a:extLst>
              </p:cNvPr>
              <p:cNvSpPr>
                <a:spLocks/>
              </p:cNvSpPr>
              <p:nvPr/>
            </p:nvSpPr>
            <p:spPr bwMode="auto">
              <a:xfrm>
                <a:off x="2791" y="2105"/>
                <a:ext cx="10" cy="5"/>
              </a:xfrm>
              <a:custGeom>
                <a:avLst/>
                <a:gdLst>
                  <a:gd name="T0" fmla="*/ 4 w 4"/>
                  <a:gd name="T1" fmla="*/ 0 h 2"/>
                  <a:gd name="T2" fmla="*/ 0 w 4"/>
                  <a:gd name="T3" fmla="*/ 2 h 2"/>
                  <a:gd name="T4" fmla="*/ 4 w 4"/>
                  <a:gd name="T5" fmla="*/ 0 h 2"/>
                </a:gdLst>
                <a:ahLst/>
                <a:cxnLst>
                  <a:cxn ang="0">
                    <a:pos x="T0" y="T1"/>
                  </a:cxn>
                  <a:cxn ang="0">
                    <a:pos x="T2" y="T3"/>
                  </a:cxn>
                  <a:cxn ang="0">
                    <a:pos x="T4" y="T5"/>
                  </a:cxn>
                </a:cxnLst>
                <a:rect l="0" t="0" r="r" b="b"/>
                <a:pathLst>
                  <a:path w="4" h="2">
                    <a:moveTo>
                      <a:pt x="4" y="0"/>
                    </a:moveTo>
                    <a:cubicBezTo>
                      <a:pt x="3" y="1"/>
                      <a:pt x="1" y="1"/>
                      <a:pt x="0" y="2"/>
                    </a:cubicBezTo>
                    <a:cubicBezTo>
                      <a:pt x="2"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0" name="Freeform 119">
                <a:extLst>
                  <a:ext uri="{FF2B5EF4-FFF2-40B4-BE49-F238E27FC236}">
                    <a16:creationId xmlns:a16="http://schemas.microsoft.com/office/drawing/2014/main" id="{6C02E018-22A8-487B-B94B-34FAA9723CBF}"/>
                  </a:ext>
                </a:extLst>
              </p:cNvPr>
              <p:cNvSpPr>
                <a:spLocks/>
              </p:cNvSpPr>
              <p:nvPr/>
            </p:nvSpPr>
            <p:spPr bwMode="auto">
              <a:xfrm>
                <a:off x="2784" y="2124"/>
                <a:ext cx="7" cy="7"/>
              </a:xfrm>
              <a:custGeom>
                <a:avLst/>
                <a:gdLst>
                  <a:gd name="T0" fmla="*/ 3 w 3"/>
                  <a:gd name="T1" fmla="*/ 0 h 3"/>
                  <a:gd name="T2" fmla="*/ 0 w 3"/>
                  <a:gd name="T3" fmla="*/ 3 h 3"/>
                  <a:gd name="T4" fmla="*/ 3 w 3"/>
                  <a:gd name="T5" fmla="*/ 1 h 3"/>
                  <a:gd name="T6" fmla="*/ 3 w 3"/>
                  <a:gd name="T7" fmla="*/ 1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cubicBezTo>
                      <a:pt x="2" y="1"/>
                      <a:pt x="1" y="2"/>
                      <a:pt x="0" y="3"/>
                    </a:cubicBezTo>
                    <a:cubicBezTo>
                      <a:pt x="1" y="2"/>
                      <a:pt x="2" y="1"/>
                      <a:pt x="3" y="1"/>
                    </a:cubicBezTo>
                    <a:cubicBezTo>
                      <a:pt x="3" y="1"/>
                      <a:pt x="3" y="1"/>
                      <a:pt x="3" y="1"/>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1" name="Freeform 120">
                <a:extLst>
                  <a:ext uri="{FF2B5EF4-FFF2-40B4-BE49-F238E27FC236}">
                    <a16:creationId xmlns:a16="http://schemas.microsoft.com/office/drawing/2014/main" id="{B442F823-8DC6-40D8-8B04-A19F61D6CA30}"/>
                  </a:ext>
                </a:extLst>
              </p:cNvPr>
              <p:cNvSpPr>
                <a:spLocks/>
              </p:cNvSpPr>
              <p:nvPr/>
            </p:nvSpPr>
            <p:spPr bwMode="auto">
              <a:xfrm>
                <a:off x="2749" y="2107"/>
                <a:ext cx="9" cy="5"/>
              </a:xfrm>
              <a:custGeom>
                <a:avLst/>
                <a:gdLst>
                  <a:gd name="T0" fmla="*/ 4 w 4"/>
                  <a:gd name="T1" fmla="*/ 0 h 2"/>
                  <a:gd name="T2" fmla="*/ 0 w 4"/>
                  <a:gd name="T3" fmla="*/ 1 h 2"/>
                  <a:gd name="T4" fmla="*/ 2 w 4"/>
                  <a:gd name="T5" fmla="*/ 2 h 2"/>
                  <a:gd name="T6" fmla="*/ 4 w 4"/>
                  <a:gd name="T7" fmla="*/ 0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cubicBezTo>
                      <a:pt x="2" y="0"/>
                      <a:pt x="1" y="0"/>
                      <a:pt x="0" y="1"/>
                    </a:cubicBezTo>
                    <a:cubicBezTo>
                      <a:pt x="1" y="1"/>
                      <a:pt x="2" y="2"/>
                      <a:pt x="2" y="2"/>
                    </a:cubicBezTo>
                    <a:cubicBezTo>
                      <a:pt x="3" y="2"/>
                      <a:pt x="4" y="1"/>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2" name="Freeform 121">
                <a:extLst>
                  <a:ext uri="{FF2B5EF4-FFF2-40B4-BE49-F238E27FC236}">
                    <a16:creationId xmlns:a16="http://schemas.microsoft.com/office/drawing/2014/main" id="{73841275-12E6-463D-AB07-9DC3F318EECD}"/>
                  </a:ext>
                </a:extLst>
              </p:cNvPr>
              <p:cNvSpPr>
                <a:spLocks/>
              </p:cNvSpPr>
              <p:nvPr/>
            </p:nvSpPr>
            <p:spPr bwMode="auto">
              <a:xfrm>
                <a:off x="2775" y="2129"/>
                <a:ext cx="2" cy="9"/>
              </a:xfrm>
              <a:custGeom>
                <a:avLst/>
                <a:gdLst>
                  <a:gd name="T0" fmla="*/ 0 w 1"/>
                  <a:gd name="T1" fmla="*/ 0 h 4"/>
                  <a:gd name="T2" fmla="*/ 1 w 1"/>
                  <a:gd name="T3" fmla="*/ 4 h 4"/>
                  <a:gd name="T4" fmla="*/ 0 w 1"/>
                  <a:gd name="T5" fmla="*/ 0 h 4"/>
                </a:gdLst>
                <a:ahLst/>
                <a:cxnLst>
                  <a:cxn ang="0">
                    <a:pos x="T0" y="T1"/>
                  </a:cxn>
                  <a:cxn ang="0">
                    <a:pos x="T2" y="T3"/>
                  </a:cxn>
                  <a:cxn ang="0">
                    <a:pos x="T4" y="T5"/>
                  </a:cxn>
                </a:cxnLst>
                <a:rect l="0" t="0" r="r" b="b"/>
                <a:pathLst>
                  <a:path w="1" h="4">
                    <a:moveTo>
                      <a:pt x="0" y="0"/>
                    </a:moveTo>
                    <a:cubicBezTo>
                      <a:pt x="0" y="1"/>
                      <a:pt x="0" y="2"/>
                      <a:pt x="1" y="4"/>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3" name="Freeform 122">
                <a:extLst>
                  <a:ext uri="{FF2B5EF4-FFF2-40B4-BE49-F238E27FC236}">
                    <a16:creationId xmlns:a16="http://schemas.microsoft.com/office/drawing/2014/main" id="{320CE06E-31D7-47B3-B05E-1830851C5906}"/>
                  </a:ext>
                </a:extLst>
              </p:cNvPr>
              <p:cNvSpPr>
                <a:spLocks/>
              </p:cNvSpPr>
              <p:nvPr/>
            </p:nvSpPr>
            <p:spPr bwMode="auto">
              <a:xfrm>
                <a:off x="2756" y="2129"/>
                <a:ext cx="14" cy="9"/>
              </a:xfrm>
              <a:custGeom>
                <a:avLst/>
                <a:gdLst>
                  <a:gd name="T0" fmla="*/ 5 w 6"/>
                  <a:gd name="T1" fmla="*/ 0 h 4"/>
                  <a:gd name="T2" fmla="*/ 3 w 6"/>
                  <a:gd name="T3" fmla="*/ 4 h 4"/>
                  <a:gd name="T4" fmla="*/ 5 w 6"/>
                  <a:gd name="T5" fmla="*/ 1 h 4"/>
                  <a:gd name="T6" fmla="*/ 5 w 6"/>
                  <a:gd name="T7" fmla="*/ 0 h 4"/>
                </a:gdLst>
                <a:ahLst/>
                <a:cxnLst>
                  <a:cxn ang="0">
                    <a:pos x="T0" y="T1"/>
                  </a:cxn>
                  <a:cxn ang="0">
                    <a:pos x="T2" y="T3"/>
                  </a:cxn>
                  <a:cxn ang="0">
                    <a:pos x="T4" y="T5"/>
                  </a:cxn>
                  <a:cxn ang="0">
                    <a:pos x="T6" y="T7"/>
                  </a:cxn>
                </a:cxnLst>
                <a:rect l="0" t="0" r="r" b="b"/>
                <a:pathLst>
                  <a:path w="6" h="4">
                    <a:moveTo>
                      <a:pt x="5" y="0"/>
                    </a:moveTo>
                    <a:cubicBezTo>
                      <a:pt x="3" y="0"/>
                      <a:pt x="0" y="2"/>
                      <a:pt x="3" y="4"/>
                    </a:cubicBezTo>
                    <a:cubicBezTo>
                      <a:pt x="5" y="4"/>
                      <a:pt x="6" y="2"/>
                      <a:pt x="5"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4" name="Freeform 123">
                <a:extLst>
                  <a:ext uri="{FF2B5EF4-FFF2-40B4-BE49-F238E27FC236}">
                    <a16:creationId xmlns:a16="http://schemas.microsoft.com/office/drawing/2014/main" id="{2F963CC0-F44D-4C60-95FF-3748FCF9846A}"/>
                  </a:ext>
                </a:extLst>
              </p:cNvPr>
              <p:cNvSpPr>
                <a:spLocks/>
              </p:cNvSpPr>
              <p:nvPr/>
            </p:nvSpPr>
            <p:spPr bwMode="auto">
              <a:xfrm>
                <a:off x="2763" y="2088"/>
                <a:ext cx="7" cy="8"/>
              </a:xfrm>
              <a:custGeom>
                <a:avLst/>
                <a:gdLst>
                  <a:gd name="T0" fmla="*/ 3 w 3"/>
                  <a:gd name="T1" fmla="*/ 1 h 3"/>
                  <a:gd name="T2" fmla="*/ 0 w 3"/>
                  <a:gd name="T3" fmla="*/ 1 h 3"/>
                  <a:gd name="T4" fmla="*/ 2 w 3"/>
                  <a:gd name="T5" fmla="*/ 3 h 3"/>
                  <a:gd name="T6" fmla="*/ 3 w 3"/>
                  <a:gd name="T7" fmla="*/ 1 h 3"/>
                </a:gdLst>
                <a:ahLst/>
                <a:cxnLst>
                  <a:cxn ang="0">
                    <a:pos x="T0" y="T1"/>
                  </a:cxn>
                  <a:cxn ang="0">
                    <a:pos x="T2" y="T3"/>
                  </a:cxn>
                  <a:cxn ang="0">
                    <a:pos x="T4" y="T5"/>
                  </a:cxn>
                  <a:cxn ang="0">
                    <a:pos x="T6" y="T7"/>
                  </a:cxn>
                </a:cxnLst>
                <a:rect l="0" t="0" r="r" b="b"/>
                <a:pathLst>
                  <a:path w="3" h="3">
                    <a:moveTo>
                      <a:pt x="3" y="1"/>
                    </a:moveTo>
                    <a:cubicBezTo>
                      <a:pt x="3" y="1"/>
                      <a:pt x="0" y="0"/>
                      <a:pt x="0" y="1"/>
                    </a:cubicBezTo>
                    <a:cubicBezTo>
                      <a:pt x="0" y="2"/>
                      <a:pt x="1" y="3"/>
                      <a:pt x="2" y="3"/>
                    </a:cubicBezTo>
                    <a:cubicBezTo>
                      <a:pt x="2" y="3"/>
                      <a:pt x="3" y="2"/>
                      <a:pt x="3"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5" name="Freeform 124">
                <a:extLst>
                  <a:ext uri="{FF2B5EF4-FFF2-40B4-BE49-F238E27FC236}">
                    <a16:creationId xmlns:a16="http://schemas.microsoft.com/office/drawing/2014/main" id="{7C42499E-81B3-4D06-BA73-64084407A24E}"/>
                  </a:ext>
                </a:extLst>
              </p:cNvPr>
              <p:cNvSpPr>
                <a:spLocks/>
              </p:cNvSpPr>
              <p:nvPr/>
            </p:nvSpPr>
            <p:spPr bwMode="auto">
              <a:xfrm>
                <a:off x="2770" y="2110"/>
                <a:ext cx="7" cy="4"/>
              </a:xfrm>
              <a:custGeom>
                <a:avLst/>
                <a:gdLst>
                  <a:gd name="T0" fmla="*/ 2 w 3"/>
                  <a:gd name="T1" fmla="*/ 0 h 2"/>
                  <a:gd name="T2" fmla="*/ 0 w 3"/>
                  <a:gd name="T3" fmla="*/ 0 h 2"/>
                  <a:gd name="T4" fmla="*/ 3 w 3"/>
                  <a:gd name="T5" fmla="*/ 2 h 2"/>
                  <a:gd name="T6" fmla="*/ 2 w 3"/>
                  <a:gd name="T7" fmla="*/ 0 h 2"/>
                </a:gdLst>
                <a:ahLst/>
                <a:cxnLst>
                  <a:cxn ang="0">
                    <a:pos x="T0" y="T1"/>
                  </a:cxn>
                  <a:cxn ang="0">
                    <a:pos x="T2" y="T3"/>
                  </a:cxn>
                  <a:cxn ang="0">
                    <a:pos x="T4" y="T5"/>
                  </a:cxn>
                  <a:cxn ang="0">
                    <a:pos x="T6" y="T7"/>
                  </a:cxn>
                </a:cxnLst>
                <a:rect l="0" t="0" r="r" b="b"/>
                <a:pathLst>
                  <a:path w="3" h="2">
                    <a:moveTo>
                      <a:pt x="2" y="0"/>
                    </a:moveTo>
                    <a:cubicBezTo>
                      <a:pt x="1" y="0"/>
                      <a:pt x="1" y="0"/>
                      <a:pt x="0" y="0"/>
                    </a:cubicBezTo>
                    <a:cubicBezTo>
                      <a:pt x="1" y="1"/>
                      <a:pt x="2" y="1"/>
                      <a:pt x="3" y="2"/>
                    </a:cubicBezTo>
                    <a:cubicBezTo>
                      <a:pt x="3"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6" name="Freeform 125">
                <a:extLst>
                  <a:ext uri="{FF2B5EF4-FFF2-40B4-BE49-F238E27FC236}">
                    <a16:creationId xmlns:a16="http://schemas.microsoft.com/office/drawing/2014/main" id="{77798EAB-5E08-44CA-BEFF-F1E70DE87190}"/>
                  </a:ext>
                </a:extLst>
              </p:cNvPr>
              <p:cNvSpPr>
                <a:spLocks/>
              </p:cNvSpPr>
              <p:nvPr/>
            </p:nvSpPr>
            <p:spPr bwMode="auto">
              <a:xfrm>
                <a:off x="6166" y="3462"/>
                <a:ext cx="14" cy="16"/>
              </a:xfrm>
              <a:custGeom>
                <a:avLst/>
                <a:gdLst>
                  <a:gd name="T0" fmla="*/ 1 w 6"/>
                  <a:gd name="T1" fmla="*/ 0 h 7"/>
                  <a:gd name="T2" fmla="*/ 1 w 6"/>
                  <a:gd name="T3" fmla="*/ 4 h 7"/>
                  <a:gd name="T4" fmla="*/ 3 w 6"/>
                  <a:gd name="T5" fmla="*/ 7 h 7"/>
                  <a:gd name="T6" fmla="*/ 2 w 6"/>
                  <a:gd name="T7" fmla="*/ 1 h 7"/>
                  <a:gd name="T8" fmla="*/ 1 w 6"/>
                  <a:gd name="T9" fmla="*/ 0 h 7"/>
                </a:gdLst>
                <a:ahLst/>
                <a:cxnLst>
                  <a:cxn ang="0">
                    <a:pos x="T0" y="T1"/>
                  </a:cxn>
                  <a:cxn ang="0">
                    <a:pos x="T2" y="T3"/>
                  </a:cxn>
                  <a:cxn ang="0">
                    <a:pos x="T4" y="T5"/>
                  </a:cxn>
                  <a:cxn ang="0">
                    <a:pos x="T6" y="T7"/>
                  </a:cxn>
                  <a:cxn ang="0">
                    <a:pos x="T8" y="T9"/>
                  </a:cxn>
                </a:cxnLst>
                <a:rect l="0" t="0" r="r" b="b"/>
                <a:pathLst>
                  <a:path w="6" h="7">
                    <a:moveTo>
                      <a:pt x="1" y="0"/>
                    </a:moveTo>
                    <a:cubicBezTo>
                      <a:pt x="0" y="0"/>
                      <a:pt x="0" y="3"/>
                      <a:pt x="1" y="4"/>
                    </a:cubicBezTo>
                    <a:cubicBezTo>
                      <a:pt x="2" y="5"/>
                      <a:pt x="3" y="6"/>
                      <a:pt x="3" y="7"/>
                    </a:cubicBezTo>
                    <a:cubicBezTo>
                      <a:pt x="3" y="5"/>
                      <a:pt x="6" y="3"/>
                      <a:pt x="2" y="1"/>
                    </a:cubicBezTo>
                    <a:cubicBezTo>
                      <a:pt x="2"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7" name="Freeform 126">
                <a:extLst>
                  <a:ext uri="{FF2B5EF4-FFF2-40B4-BE49-F238E27FC236}">
                    <a16:creationId xmlns:a16="http://schemas.microsoft.com/office/drawing/2014/main" id="{0F6E91A6-A880-4377-BC47-0B21142924E4}"/>
                  </a:ext>
                </a:extLst>
              </p:cNvPr>
              <p:cNvSpPr>
                <a:spLocks/>
              </p:cNvSpPr>
              <p:nvPr/>
            </p:nvSpPr>
            <p:spPr bwMode="auto">
              <a:xfrm>
                <a:off x="6064" y="3422"/>
                <a:ext cx="407" cy="787"/>
              </a:xfrm>
              <a:custGeom>
                <a:avLst/>
                <a:gdLst>
                  <a:gd name="T0" fmla="*/ 131 w 172"/>
                  <a:gd name="T1" fmla="*/ 12 h 333"/>
                  <a:gd name="T2" fmla="*/ 130 w 172"/>
                  <a:gd name="T3" fmla="*/ 34 h 333"/>
                  <a:gd name="T4" fmla="*/ 124 w 172"/>
                  <a:gd name="T5" fmla="*/ 37 h 333"/>
                  <a:gd name="T6" fmla="*/ 117 w 172"/>
                  <a:gd name="T7" fmla="*/ 42 h 333"/>
                  <a:gd name="T8" fmla="*/ 112 w 172"/>
                  <a:gd name="T9" fmla="*/ 37 h 333"/>
                  <a:gd name="T10" fmla="*/ 111 w 172"/>
                  <a:gd name="T11" fmla="*/ 55 h 333"/>
                  <a:gd name="T12" fmla="*/ 108 w 172"/>
                  <a:gd name="T13" fmla="*/ 54 h 333"/>
                  <a:gd name="T14" fmla="*/ 107 w 172"/>
                  <a:gd name="T15" fmla="*/ 63 h 333"/>
                  <a:gd name="T16" fmla="*/ 111 w 172"/>
                  <a:gd name="T17" fmla="*/ 63 h 333"/>
                  <a:gd name="T18" fmla="*/ 112 w 172"/>
                  <a:gd name="T19" fmla="*/ 64 h 333"/>
                  <a:gd name="T20" fmla="*/ 111 w 172"/>
                  <a:gd name="T21" fmla="*/ 64 h 333"/>
                  <a:gd name="T22" fmla="*/ 99 w 172"/>
                  <a:gd name="T23" fmla="*/ 73 h 333"/>
                  <a:gd name="T24" fmla="*/ 98 w 172"/>
                  <a:gd name="T25" fmla="*/ 67 h 333"/>
                  <a:gd name="T26" fmla="*/ 95 w 172"/>
                  <a:gd name="T27" fmla="*/ 83 h 333"/>
                  <a:gd name="T28" fmla="*/ 88 w 172"/>
                  <a:gd name="T29" fmla="*/ 78 h 333"/>
                  <a:gd name="T30" fmla="*/ 74 w 172"/>
                  <a:gd name="T31" fmla="*/ 93 h 333"/>
                  <a:gd name="T32" fmla="*/ 74 w 172"/>
                  <a:gd name="T33" fmla="*/ 95 h 333"/>
                  <a:gd name="T34" fmla="*/ 71 w 172"/>
                  <a:gd name="T35" fmla="*/ 91 h 333"/>
                  <a:gd name="T36" fmla="*/ 64 w 172"/>
                  <a:gd name="T37" fmla="*/ 92 h 333"/>
                  <a:gd name="T38" fmla="*/ 60 w 172"/>
                  <a:gd name="T39" fmla="*/ 92 h 333"/>
                  <a:gd name="T40" fmla="*/ 53 w 172"/>
                  <a:gd name="T41" fmla="*/ 96 h 333"/>
                  <a:gd name="T42" fmla="*/ 45 w 172"/>
                  <a:gd name="T43" fmla="*/ 97 h 333"/>
                  <a:gd name="T44" fmla="*/ 35 w 172"/>
                  <a:gd name="T45" fmla="*/ 102 h 333"/>
                  <a:gd name="T46" fmla="*/ 25 w 172"/>
                  <a:gd name="T47" fmla="*/ 120 h 333"/>
                  <a:gd name="T48" fmla="*/ 22 w 172"/>
                  <a:gd name="T49" fmla="*/ 160 h 333"/>
                  <a:gd name="T50" fmla="*/ 26 w 172"/>
                  <a:gd name="T51" fmla="*/ 198 h 333"/>
                  <a:gd name="T52" fmla="*/ 18 w 172"/>
                  <a:gd name="T53" fmla="*/ 213 h 333"/>
                  <a:gd name="T54" fmla="*/ 6 w 172"/>
                  <a:gd name="T55" fmla="*/ 234 h 333"/>
                  <a:gd name="T56" fmla="*/ 2 w 172"/>
                  <a:gd name="T57" fmla="*/ 241 h 333"/>
                  <a:gd name="T58" fmla="*/ 12 w 172"/>
                  <a:gd name="T59" fmla="*/ 282 h 333"/>
                  <a:gd name="T60" fmla="*/ 12 w 172"/>
                  <a:gd name="T61" fmla="*/ 303 h 333"/>
                  <a:gd name="T62" fmla="*/ 50 w 172"/>
                  <a:gd name="T63" fmla="*/ 333 h 333"/>
                  <a:gd name="T64" fmla="*/ 85 w 172"/>
                  <a:gd name="T65" fmla="*/ 321 h 333"/>
                  <a:gd name="T66" fmla="*/ 100 w 172"/>
                  <a:gd name="T67" fmla="*/ 294 h 333"/>
                  <a:gd name="T68" fmla="*/ 146 w 172"/>
                  <a:gd name="T69" fmla="*/ 140 h 333"/>
                  <a:gd name="T70" fmla="*/ 152 w 172"/>
                  <a:gd name="T71" fmla="*/ 121 h 333"/>
                  <a:gd name="T72" fmla="*/ 155 w 172"/>
                  <a:gd name="T73" fmla="*/ 102 h 333"/>
                  <a:gd name="T74" fmla="*/ 153 w 172"/>
                  <a:gd name="T75" fmla="*/ 84 h 333"/>
                  <a:gd name="T76" fmla="*/ 165 w 172"/>
                  <a:gd name="T77" fmla="*/ 95 h 333"/>
                  <a:gd name="T78" fmla="*/ 167 w 172"/>
                  <a:gd name="T79" fmla="*/ 64 h 333"/>
                  <a:gd name="T80" fmla="*/ 153 w 172"/>
                  <a:gd name="T81" fmla="*/ 21 h 333"/>
                  <a:gd name="T82" fmla="*/ 141 w 172"/>
                  <a:gd name="T83" fmla="*/ 8 h 333"/>
                  <a:gd name="T84" fmla="*/ 142 w 172"/>
                  <a:gd name="T85" fmla="*/ 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2" h="333">
                    <a:moveTo>
                      <a:pt x="142" y="0"/>
                    </a:moveTo>
                    <a:cubicBezTo>
                      <a:pt x="139" y="3"/>
                      <a:pt x="137" y="7"/>
                      <a:pt x="134" y="10"/>
                    </a:cubicBezTo>
                    <a:cubicBezTo>
                      <a:pt x="133" y="11"/>
                      <a:pt x="129" y="11"/>
                      <a:pt x="131" y="12"/>
                    </a:cubicBezTo>
                    <a:cubicBezTo>
                      <a:pt x="133" y="15"/>
                      <a:pt x="133" y="15"/>
                      <a:pt x="134" y="18"/>
                    </a:cubicBezTo>
                    <a:cubicBezTo>
                      <a:pt x="136" y="23"/>
                      <a:pt x="133" y="25"/>
                      <a:pt x="132" y="30"/>
                    </a:cubicBezTo>
                    <a:cubicBezTo>
                      <a:pt x="131" y="32"/>
                      <a:pt x="133" y="32"/>
                      <a:pt x="130" y="34"/>
                    </a:cubicBezTo>
                    <a:cubicBezTo>
                      <a:pt x="129" y="35"/>
                      <a:pt x="128" y="35"/>
                      <a:pt x="127" y="35"/>
                    </a:cubicBezTo>
                    <a:cubicBezTo>
                      <a:pt x="126" y="35"/>
                      <a:pt x="125" y="35"/>
                      <a:pt x="124" y="34"/>
                    </a:cubicBezTo>
                    <a:cubicBezTo>
                      <a:pt x="124" y="35"/>
                      <a:pt x="125" y="37"/>
                      <a:pt x="124" y="37"/>
                    </a:cubicBezTo>
                    <a:cubicBezTo>
                      <a:pt x="124" y="38"/>
                      <a:pt x="121" y="38"/>
                      <a:pt x="121" y="38"/>
                    </a:cubicBezTo>
                    <a:cubicBezTo>
                      <a:pt x="120" y="40"/>
                      <a:pt x="120" y="44"/>
                      <a:pt x="119" y="44"/>
                    </a:cubicBezTo>
                    <a:cubicBezTo>
                      <a:pt x="118" y="44"/>
                      <a:pt x="118" y="43"/>
                      <a:pt x="117" y="42"/>
                    </a:cubicBezTo>
                    <a:cubicBezTo>
                      <a:pt x="116" y="42"/>
                      <a:pt x="117" y="41"/>
                      <a:pt x="116" y="40"/>
                    </a:cubicBezTo>
                    <a:cubicBezTo>
                      <a:pt x="116" y="39"/>
                      <a:pt x="116" y="40"/>
                      <a:pt x="115" y="39"/>
                    </a:cubicBezTo>
                    <a:cubicBezTo>
                      <a:pt x="113" y="38"/>
                      <a:pt x="114" y="38"/>
                      <a:pt x="112" y="37"/>
                    </a:cubicBezTo>
                    <a:cubicBezTo>
                      <a:pt x="108" y="41"/>
                      <a:pt x="115" y="51"/>
                      <a:pt x="113" y="56"/>
                    </a:cubicBezTo>
                    <a:cubicBezTo>
                      <a:pt x="113" y="54"/>
                      <a:pt x="113" y="52"/>
                      <a:pt x="111" y="51"/>
                    </a:cubicBezTo>
                    <a:cubicBezTo>
                      <a:pt x="111" y="52"/>
                      <a:pt x="112" y="55"/>
                      <a:pt x="111" y="55"/>
                    </a:cubicBezTo>
                    <a:cubicBezTo>
                      <a:pt x="111" y="55"/>
                      <a:pt x="110" y="55"/>
                      <a:pt x="110" y="55"/>
                    </a:cubicBezTo>
                    <a:cubicBezTo>
                      <a:pt x="110" y="55"/>
                      <a:pt x="110" y="55"/>
                      <a:pt x="109" y="54"/>
                    </a:cubicBezTo>
                    <a:cubicBezTo>
                      <a:pt x="109" y="54"/>
                      <a:pt x="109" y="54"/>
                      <a:pt x="108" y="54"/>
                    </a:cubicBezTo>
                    <a:cubicBezTo>
                      <a:pt x="108" y="54"/>
                      <a:pt x="108" y="55"/>
                      <a:pt x="107" y="55"/>
                    </a:cubicBezTo>
                    <a:cubicBezTo>
                      <a:pt x="107" y="57"/>
                      <a:pt x="105" y="62"/>
                      <a:pt x="107" y="63"/>
                    </a:cubicBezTo>
                    <a:cubicBezTo>
                      <a:pt x="107" y="63"/>
                      <a:pt x="107" y="63"/>
                      <a:pt x="107" y="63"/>
                    </a:cubicBezTo>
                    <a:cubicBezTo>
                      <a:pt x="108" y="63"/>
                      <a:pt x="108" y="63"/>
                      <a:pt x="109" y="63"/>
                    </a:cubicBezTo>
                    <a:cubicBezTo>
                      <a:pt x="109" y="63"/>
                      <a:pt x="110" y="63"/>
                      <a:pt x="111" y="63"/>
                    </a:cubicBezTo>
                    <a:cubicBezTo>
                      <a:pt x="111" y="63"/>
                      <a:pt x="111" y="63"/>
                      <a:pt x="111" y="63"/>
                    </a:cubicBezTo>
                    <a:cubicBezTo>
                      <a:pt x="113" y="64"/>
                      <a:pt x="113" y="65"/>
                      <a:pt x="113" y="67"/>
                    </a:cubicBezTo>
                    <a:cubicBezTo>
                      <a:pt x="113" y="66"/>
                      <a:pt x="112" y="65"/>
                      <a:pt x="112" y="65"/>
                    </a:cubicBezTo>
                    <a:cubicBezTo>
                      <a:pt x="112" y="64"/>
                      <a:pt x="112" y="64"/>
                      <a:pt x="112" y="64"/>
                    </a:cubicBezTo>
                    <a:cubicBezTo>
                      <a:pt x="111" y="64"/>
                      <a:pt x="111" y="64"/>
                      <a:pt x="111" y="64"/>
                    </a:cubicBezTo>
                    <a:cubicBezTo>
                      <a:pt x="111" y="64"/>
                      <a:pt x="111" y="64"/>
                      <a:pt x="111" y="64"/>
                    </a:cubicBezTo>
                    <a:cubicBezTo>
                      <a:pt x="111" y="64"/>
                      <a:pt x="111" y="64"/>
                      <a:pt x="111" y="64"/>
                    </a:cubicBezTo>
                    <a:cubicBezTo>
                      <a:pt x="111" y="64"/>
                      <a:pt x="111" y="64"/>
                      <a:pt x="111" y="64"/>
                    </a:cubicBezTo>
                    <a:cubicBezTo>
                      <a:pt x="110" y="64"/>
                      <a:pt x="108" y="64"/>
                      <a:pt x="108" y="63"/>
                    </a:cubicBezTo>
                    <a:cubicBezTo>
                      <a:pt x="105" y="64"/>
                      <a:pt x="102" y="70"/>
                      <a:pt x="99" y="73"/>
                    </a:cubicBezTo>
                    <a:cubicBezTo>
                      <a:pt x="99" y="71"/>
                      <a:pt x="101" y="70"/>
                      <a:pt x="101" y="67"/>
                    </a:cubicBezTo>
                    <a:cubicBezTo>
                      <a:pt x="100" y="66"/>
                      <a:pt x="100" y="65"/>
                      <a:pt x="100" y="65"/>
                    </a:cubicBezTo>
                    <a:cubicBezTo>
                      <a:pt x="99" y="65"/>
                      <a:pt x="99" y="66"/>
                      <a:pt x="98" y="67"/>
                    </a:cubicBezTo>
                    <a:cubicBezTo>
                      <a:pt x="96" y="69"/>
                      <a:pt x="91" y="77"/>
                      <a:pt x="92" y="80"/>
                    </a:cubicBezTo>
                    <a:cubicBezTo>
                      <a:pt x="92" y="80"/>
                      <a:pt x="92" y="80"/>
                      <a:pt x="92" y="80"/>
                    </a:cubicBezTo>
                    <a:cubicBezTo>
                      <a:pt x="92" y="80"/>
                      <a:pt x="94" y="83"/>
                      <a:pt x="95" y="83"/>
                    </a:cubicBezTo>
                    <a:cubicBezTo>
                      <a:pt x="93" y="85"/>
                      <a:pt x="90" y="84"/>
                      <a:pt x="88" y="85"/>
                    </a:cubicBezTo>
                    <a:cubicBezTo>
                      <a:pt x="89" y="83"/>
                      <a:pt x="91" y="80"/>
                      <a:pt x="88" y="79"/>
                    </a:cubicBezTo>
                    <a:cubicBezTo>
                      <a:pt x="88" y="78"/>
                      <a:pt x="88" y="78"/>
                      <a:pt x="88" y="78"/>
                    </a:cubicBezTo>
                    <a:cubicBezTo>
                      <a:pt x="86" y="78"/>
                      <a:pt x="84" y="80"/>
                      <a:pt x="82" y="82"/>
                    </a:cubicBezTo>
                    <a:cubicBezTo>
                      <a:pt x="80" y="83"/>
                      <a:pt x="77" y="85"/>
                      <a:pt x="75" y="87"/>
                    </a:cubicBezTo>
                    <a:cubicBezTo>
                      <a:pt x="73" y="89"/>
                      <a:pt x="73" y="91"/>
                      <a:pt x="74" y="93"/>
                    </a:cubicBezTo>
                    <a:cubicBezTo>
                      <a:pt x="75" y="94"/>
                      <a:pt x="76" y="94"/>
                      <a:pt x="77" y="96"/>
                    </a:cubicBezTo>
                    <a:cubicBezTo>
                      <a:pt x="76" y="95"/>
                      <a:pt x="76" y="95"/>
                      <a:pt x="75" y="95"/>
                    </a:cubicBezTo>
                    <a:cubicBezTo>
                      <a:pt x="75" y="95"/>
                      <a:pt x="74" y="95"/>
                      <a:pt x="74" y="95"/>
                    </a:cubicBezTo>
                    <a:cubicBezTo>
                      <a:pt x="74" y="96"/>
                      <a:pt x="74" y="96"/>
                      <a:pt x="73" y="96"/>
                    </a:cubicBezTo>
                    <a:cubicBezTo>
                      <a:pt x="73" y="96"/>
                      <a:pt x="72" y="96"/>
                      <a:pt x="72" y="95"/>
                    </a:cubicBezTo>
                    <a:cubicBezTo>
                      <a:pt x="71" y="94"/>
                      <a:pt x="72" y="92"/>
                      <a:pt x="71" y="91"/>
                    </a:cubicBezTo>
                    <a:cubicBezTo>
                      <a:pt x="71" y="90"/>
                      <a:pt x="70" y="90"/>
                      <a:pt x="69" y="90"/>
                    </a:cubicBezTo>
                    <a:cubicBezTo>
                      <a:pt x="68" y="90"/>
                      <a:pt x="66" y="92"/>
                      <a:pt x="64" y="93"/>
                    </a:cubicBezTo>
                    <a:cubicBezTo>
                      <a:pt x="65" y="92"/>
                      <a:pt x="64" y="92"/>
                      <a:pt x="64" y="92"/>
                    </a:cubicBezTo>
                    <a:cubicBezTo>
                      <a:pt x="63" y="92"/>
                      <a:pt x="62" y="93"/>
                      <a:pt x="62" y="93"/>
                    </a:cubicBezTo>
                    <a:cubicBezTo>
                      <a:pt x="62" y="93"/>
                      <a:pt x="62" y="93"/>
                      <a:pt x="62" y="93"/>
                    </a:cubicBezTo>
                    <a:cubicBezTo>
                      <a:pt x="61" y="93"/>
                      <a:pt x="61" y="92"/>
                      <a:pt x="60" y="92"/>
                    </a:cubicBezTo>
                    <a:cubicBezTo>
                      <a:pt x="60" y="92"/>
                      <a:pt x="59" y="92"/>
                      <a:pt x="59" y="92"/>
                    </a:cubicBezTo>
                    <a:cubicBezTo>
                      <a:pt x="58" y="92"/>
                      <a:pt x="58" y="92"/>
                      <a:pt x="58" y="92"/>
                    </a:cubicBezTo>
                    <a:cubicBezTo>
                      <a:pt x="56" y="94"/>
                      <a:pt x="55" y="95"/>
                      <a:pt x="53" y="96"/>
                    </a:cubicBezTo>
                    <a:cubicBezTo>
                      <a:pt x="51" y="97"/>
                      <a:pt x="51" y="97"/>
                      <a:pt x="49" y="99"/>
                    </a:cubicBezTo>
                    <a:cubicBezTo>
                      <a:pt x="49" y="97"/>
                      <a:pt x="48" y="96"/>
                      <a:pt x="48" y="96"/>
                    </a:cubicBezTo>
                    <a:cubicBezTo>
                      <a:pt x="47" y="96"/>
                      <a:pt x="46" y="96"/>
                      <a:pt x="45" y="97"/>
                    </a:cubicBezTo>
                    <a:cubicBezTo>
                      <a:pt x="43" y="99"/>
                      <a:pt x="41" y="102"/>
                      <a:pt x="38" y="102"/>
                    </a:cubicBezTo>
                    <a:cubicBezTo>
                      <a:pt x="38" y="102"/>
                      <a:pt x="38" y="102"/>
                      <a:pt x="38" y="102"/>
                    </a:cubicBezTo>
                    <a:cubicBezTo>
                      <a:pt x="37" y="102"/>
                      <a:pt x="36" y="102"/>
                      <a:pt x="35" y="102"/>
                    </a:cubicBezTo>
                    <a:cubicBezTo>
                      <a:pt x="34" y="102"/>
                      <a:pt x="33" y="101"/>
                      <a:pt x="32" y="101"/>
                    </a:cubicBezTo>
                    <a:cubicBezTo>
                      <a:pt x="31" y="101"/>
                      <a:pt x="31" y="101"/>
                      <a:pt x="30" y="101"/>
                    </a:cubicBezTo>
                    <a:cubicBezTo>
                      <a:pt x="26" y="103"/>
                      <a:pt x="27" y="115"/>
                      <a:pt x="25" y="120"/>
                    </a:cubicBezTo>
                    <a:cubicBezTo>
                      <a:pt x="23" y="123"/>
                      <a:pt x="21" y="127"/>
                      <a:pt x="19" y="130"/>
                    </a:cubicBezTo>
                    <a:cubicBezTo>
                      <a:pt x="18" y="131"/>
                      <a:pt x="16" y="134"/>
                      <a:pt x="17" y="136"/>
                    </a:cubicBezTo>
                    <a:cubicBezTo>
                      <a:pt x="18" y="144"/>
                      <a:pt x="20" y="152"/>
                      <a:pt x="22" y="160"/>
                    </a:cubicBezTo>
                    <a:cubicBezTo>
                      <a:pt x="23" y="166"/>
                      <a:pt x="24" y="172"/>
                      <a:pt x="27" y="177"/>
                    </a:cubicBezTo>
                    <a:cubicBezTo>
                      <a:pt x="30" y="181"/>
                      <a:pt x="30" y="182"/>
                      <a:pt x="28" y="186"/>
                    </a:cubicBezTo>
                    <a:cubicBezTo>
                      <a:pt x="27" y="190"/>
                      <a:pt x="28" y="195"/>
                      <a:pt x="26" y="198"/>
                    </a:cubicBezTo>
                    <a:cubicBezTo>
                      <a:pt x="26" y="200"/>
                      <a:pt x="25" y="202"/>
                      <a:pt x="24" y="204"/>
                    </a:cubicBezTo>
                    <a:cubicBezTo>
                      <a:pt x="23" y="206"/>
                      <a:pt x="22" y="206"/>
                      <a:pt x="21" y="208"/>
                    </a:cubicBezTo>
                    <a:cubicBezTo>
                      <a:pt x="20" y="210"/>
                      <a:pt x="19" y="211"/>
                      <a:pt x="18" y="213"/>
                    </a:cubicBezTo>
                    <a:cubicBezTo>
                      <a:pt x="15" y="216"/>
                      <a:pt x="17" y="221"/>
                      <a:pt x="14" y="224"/>
                    </a:cubicBezTo>
                    <a:cubicBezTo>
                      <a:pt x="11" y="228"/>
                      <a:pt x="7" y="224"/>
                      <a:pt x="6" y="230"/>
                    </a:cubicBezTo>
                    <a:cubicBezTo>
                      <a:pt x="6" y="231"/>
                      <a:pt x="6" y="232"/>
                      <a:pt x="6" y="234"/>
                    </a:cubicBezTo>
                    <a:cubicBezTo>
                      <a:pt x="6" y="235"/>
                      <a:pt x="5" y="235"/>
                      <a:pt x="5" y="236"/>
                    </a:cubicBezTo>
                    <a:cubicBezTo>
                      <a:pt x="3" y="238"/>
                      <a:pt x="3" y="239"/>
                      <a:pt x="2" y="241"/>
                    </a:cubicBezTo>
                    <a:cubicBezTo>
                      <a:pt x="2" y="241"/>
                      <a:pt x="2" y="241"/>
                      <a:pt x="2" y="241"/>
                    </a:cubicBezTo>
                    <a:cubicBezTo>
                      <a:pt x="0" y="244"/>
                      <a:pt x="0" y="249"/>
                      <a:pt x="1" y="253"/>
                    </a:cubicBezTo>
                    <a:cubicBezTo>
                      <a:pt x="2" y="262"/>
                      <a:pt x="6" y="268"/>
                      <a:pt x="10" y="276"/>
                    </a:cubicBezTo>
                    <a:cubicBezTo>
                      <a:pt x="10" y="278"/>
                      <a:pt x="12" y="280"/>
                      <a:pt x="12" y="282"/>
                    </a:cubicBezTo>
                    <a:cubicBezTo>
                      <a:pt x="12" y="283"/>
                      <a:pt x="11" y="283"/>
                      <a:pt x="10" y="284"/>
                    </a:cubicBezTo>
                    <a:cubicBezTo>
                      <a:pt x="9" y="286"/>
                      <a:pt x="10" y="288"/>
                      <a:pt x="11" y="290"/>
                    </a:cubicBezTo>
                    <a:cubicBezTo>
                      <a:pt x="11" y="294"/>
                      <a:pt x="10" y="299"/>
                      <a:pt x="12" y="303"/>
                    </a:cubicBezTo>
                    <a:cubicBezTo>
                      <a:pt x="13" y="307"/>
                      <a:pt x="16" y="310"/>
                      <a:pt x="18" y="314"/>
                    </a:cubicBezTo>
                    <a:cubicBezTo>
                      <a:pt x="20" y="318"/>
                      <a:pt x="20" y="318"/>
                      <a:pt x="24" y="320"/>
                    </a:cubicBezTo>
                    <a:cubicBezTo>
                      <a:pt x="32" y="325"/>
                      <a:pt x="40" y="333"/>
                      <a:pt x="50" y="333"/>
                    </a:cubicBezTo>
                    <a:cubicBezTo>
                      <a:pt x="51" y="333"/>
                      <a:pt x="53" y="333"/>
                      <a:pt x="54" y="332"/>
                    </a:cubicBezTo>
                    <a:cubicBezTo>
                      <a:pt x="60" y="331"/>
                      <a:pt x="65" y="325"/>
                      <a:pt x="71" y="323"/>
                    </a:cubicBezTo>
                    <a:cubicBezTo>
                      <a:pt x="76" y="321"/>
                      <a:pt x="80" y="323"/>
                      <a:pt x="85" y="321"/>
                    </a:cubicBezTo>
                    <a:cubicBezTo>
                      <a:pt x="87" y="320"/>
                      <a:pt x="88" y="320"/>
                      <a:pt x="89" y="318"/>
                    </a:cubicBezTo>
                    <a:cubicBezTo>
                      <a:pt x="91" y="314"/>
                      <a:pt x="93" y="310"/>
                      <a:pt x="94" y="306"/>
                    </a:cubicBezTo>
                    <a:cubicBezTo>
                      <a:pt x="96" y="302"/>
                      <a:pt x="99" y="298"/>
                      <a:pt x="100" y="294"/>
                    </a:cubicBezTo>
                    <a:cubicBezTo>
                      <a:pt x="109" y="264"/>
                      <a:pt x="118" y="234"/>
                      <a:pt x="127" y="205"/>
                    </a:cubicBezTo>
                    <a:cubicBezTo>
                      <a:pt x="131" y="192"/>
                      <a:pt x="135" y="178"/>
                      <a:pt x="138" y="165"/>
                    </a:cubicBezTo>
                    <a:cubicBezTo>
                      <a:pt x="141" y="157"/>
                      <a:pt x="143" y="148"/>
                      <a:pt x="146" y="140"/>
                    </a:cubicBezTo>
                    <a:cubicBezTo>
                      <a:pt x="147" y="137"/>
                      <a:pt x="147" y="135"/>
                      <a:pt x="147" y="132"/>
                    </a:cubicBezTo>
                    <a:cubicBezTo>
                      <a:pt x="147" y="130"/>
                      <a:pt x="146" y="130"/>
                      <a:pt x="147" y="129"/>
                    </a:cubicBezTo>
                    <a:cubicBezTo>
                      <a:pt x="148" y="126"/>
                      <a:pt x="150" y="123"/>
                      <a:pt x="152" y="121"/>
                    </a:cubicBezTo>
                    <a:cubicBezTo>
                      <a:pt x="154" y="119"/>
                      <a:pt x="156" y="118"/>
                      <a:pt x="154" y="116"/>
                    </a:cubicBezTo>
                    <a:cubicBezTo>
                      <a:pt x="152" y="115"/>
                      <a:pt x="153" y="113"/>
                      <a:pt x="154" y="112"/>
                    </a:cubicBezTo>
                    <a:cubicBezTo>
                      <a:pt x="155" y="109"/>
                      <a:pt x="157" y="104"/>
                      <a:pt x="155" y="102"/>
                    </a:cubicBezTo>
                    <a:cubicBezTo>
                      <a:pt x="154" y="99"/>
                      <a:pt x="152" y="101"/>
                      <a:pt x="153" y="97"/>
                    </a:cubicBezTo>
                    <a:cubicBezTo>
                      <a:pt x="153" y="94"/>
                      <a:pt x="152" y="93"/>
                      <a:pt x="152" y="90"/>
                    </a:cubicBezTo>
                    <a:cubicBezTo>
                      <a:pt x="151" y="88"/>
                      <a:pt x="151" y="85"/>
                      <a:pt x="153" y="84"/>
                    </a:cubicBezTo>
                    <a:cubicBezTo>
                      <a:pt x="154" y="83"/>
                      <a:pt x="155" y="83"/>
                      <a:pt x="155" y="83"/>
                    </a:cubicBezTo>
                    <a:cubicBezTo>
                      <a:pt x="158" y="83"/>
                      <a:pt x="159" y="87"/>
                      <a:pt x="160" y="89"/>
                    </a:cubicBezTo>
                    <a:cubicBezTo>
                      <a:pt x="161" y="92"/>
                      <a:pt x="163" y="95"/>
                      <a:pt x="165" y="95"/>
                    </a:cubicBezTo>
                    <a:cubicBezTo>
                      <a:pt x="165" y="95"/>
                      <a:pt x="166" y="95"/>
                      <a:pt x="167" y="93"/>
                    </a:cubicBezTo>
                    <a:cubicBezTo>
                      <a:pt x="169" y="90"/>
                      <a:pt x="171" y="85"/>
                      <a:pt x="171" y="81"/>
                    </a:cubicBezTo>
                    <a:cubicBezTo>
                      <a:pt x="172" y="75"/>
                      <a:pt x="169" y="69"/>
                      <a:pt x="167" y="64"/>
                    </a:cubicBezTo>
                    <a:cubicBezTo>
                      <a:pt x="166" y="59"/>
                      <a:pt x="164" y="54"/>
                      <a:pt x="163" y="49"/>
                    </a:cubicBezTo>
                    <a:cubicBezTo>
                      <a:pt x="162" y="42"/>
                      <a:pt x="161" y="34"/>
                      <a:pt x="158" y="27"/>
                    </a:cubicBezTo>
                    <a:cubicBezTo>
                      <a:pt x="157" y="25"/>
                      <a:pt x="155" y="23"/>
                      <a:pt x="153" y="21"/>
                    </a:cubicBezTo>
                    <a:cubicBezTo>
                      <a:pt x="150" y="18"/>
                      <a:pt x="148" y="15"/>
                      <a:pt x="147" y="12"/>
                    </a:cubicBezTo>
                    <a:cubicBezTo>
                      <a:pt x="146" y="11"/>
                      <a:pt x="144" y="8"/>
                      <a:pt x="143" y="8"/>
                    </a:cubicBezTo>
                    <a:cubicBezTo>
                      <a:pt x="142" y="8"/>
                      <a:pt x="142" y="8"/>
                      <a:pt x="141" y="8"/>
                    </a:cubicBezTo>
                    <a:cubicBezTo>
                      <a:pt x="142" y="7"/>
                      <a:pt x="143" y="6"/>
                      <a:pt x="144" y="6"/>
                    </a:cubicBezTo>
                    <a:cubicBezTo>
                      <a:pt x="144" y="6"/>
                      <a:pt x="144" y="6"/>
                      <a:pt x="145" y="6"/>
                    </a:cubicBezTo>
                    <a:cubicBezTo>
                      <a:pt x="144" y="4"/>
                      <a:pt x="143" y="2"/>
                      <a:pt x="14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8" name="Freeform 127">
                <a:extLst>
                  <a:ext uri="{FF2B5EF4-FFF2-40B4-BE49-F238E27FC236}">
                    <a16:creationId xmlns:a16="http://schemas.microsoft.com/office/drawing/2014/main" id="{857846ED-CF55-4D95-B746-6149FF779775}"/>
                  </a:ext>
                </a:extLst>
              </p:cNvPr>
              <p:cNvSpPr>
                <a:spLocks/>
              </p:cNvSpPr>
              <p:nvPr/>
            </p:nvSpPr>
            <p:spPr bwMode="auto">
              <a:xfrm>
                <a:off x="6433" y="3693"/>
                <a:ext cx="9" cy="22"/>
              </a:xfrm>
              <a:custGeom>
                <a:avLst/>
                <a:gdLst>
                  <a:gd name="T0" fmla="*/ 4 w 4"/>
                  <a:gd name="T1" fmla="*/ 0 h 9"/>
                  <a:gd name="T2" fmla="*/ 0 w 4"/>
                  <a:gd name="T3" fmla="*/ 9 h 9"/>
                  <a:gd name="T4" fmla="*/ 4 w 4"/>
                  <a:gd name="T5" fmla="*/ 0 h 9"/>
                </a:gdLst>
                <a:ahLst/>
                <a:cxnLst>
                  <a:cxn ang="0">
                    <a:pos x="T0" y="T1"/>
                  </a:cxn>
                  <a:cxn ang="0">
                    <a:pos x="T2" y="T3"/>
                  </a:cxn>
                  <a:cxn ang="0">
                    <a:pos x="T4" y="T5"/>
                  </a:cxn>
                </a:cxnLst>
                <a:rect l="0" t="0" r="r" b="b"/>
                <a:pathLst>
                  <a:path w="4" h="9">
                    <a:moveTo>
                      <a:pt x="4" y="0"/>
                    </a:moveTo>
                    <a:cubicBezTo>
                      <a:pt x="2" y="3"/>
                      <a:pt x="1" y="6"/>
                      <a:pt x="0" y="9"/>
                    </a:cubicBezTo>
                    <a:cubicBezTo>
                      <a:pt x="1" y="6"/>
                      <a:pt x="3"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9" name="Freeform 128">
                <a:extLst>
                  <a:ext uri="{FF2B5EF4-FFF2-40B4-BE49-F238E27FC236}">
                    <a16:creationId xmlns:a16="http://schemas.microsoft.com/office/drawing/2014/main" id="{4E2C8CDF-3BE4-4D29-ADFE-242AB8D6685F}"/>
                  </a:ext>
                </a:extLst>
              </p:cNvPr>
              <p:cNvSpPr>
                <a:spLocks/>
              </p:cNvSpPr>
              <p:nvPr/>
            </p:nvSpPr>
            <p:spPr bwMode="auto">
              <a:xfrm>
                <a:off x="6341" y="3493"/>
                <a:ext cx="9" cy="11"/>
              </a:xfrm>
              <a:custGeom>
                <a:avLst/>
                <a:gdLst>
                  <a:gd name="T0" fmla="*/ 2 w 4"/>
                  <a:gd name="T1" fmla="*/ 0 h 5"/>
                  <a:gd name="T2" fmla="*/ 0 w 4"/>
                  <a:gd name="T3" fmla="*/ 2 h 5"/>
                  <a:gd name="T4" fmla="*/ 3 w 4"/>
                  <a:gd name="T5" fmla="*/ 5 h 5"/>
                  <a:gd name="T6" fmla="*/ 3 w 4"/>
                  <a:gd name="T7" fmla="*/ 0 h 5"/>
                  <a:gd name="T8" fmla="*/ 2 w 4"/>
                  <a:gd name="T9" fmla="*/ 0 h 5"/>
                </a:gdLst>
                <a:ahLst/>
                <a:cxnLst>
                  <a:cxn ang="0">
                    <a:pos x="T0" y="T1"/>
                  </a:cxn>
                  <a:cxn ang="0">
                    <a:pos x="T2" y="T3"/>
                  </a:cxn>
                  <a:cxn ang="0">
                    <a:pos x="T4" y="T5"/>
                  </a:cxn>
                  <a:cxn ang="0">
                    <a:pos x="T6" y="T7"/>
                  </a:cxn>
                  <a:cxn ang="0">
                    <a:pos x="T8" y="T9"/>
                  </a:cxn>
                </a:cxnLst>
                <a:rect l="0" t="0" r="r" b="b"/>
                <a:pathLst>
                  <a:path w="4" h="5">
                    <a:moveTo>
                      <a:pt x="2" y="0"/>
                    </a:moveTo>
                    <a:cubicBezTo>
                      <a:pt x="1" y="0"/>
                      <a:pt x="0" y="1"/>
                      <a:pt x="0" y="2"/>
                    </a:cubicBezTo>
                    <a:cubicBezTo>
                      <a:pt x="0" y="4"/>
                      <a:pt x="2" y="4"/>
                      <a:pt x="3" y="5"/>
                    </a:cubicBezTo>
                    <a:cubicBezTo>
                      <a:pt x="4" y="4"/>
                      <a:pt x="4" y="1"/>
                      <a:pt x="3"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0" name="Freeform 129">
                <a:extLst>
                  <a:ext uri="{FF2B5EF4-FFF2-40B4-BE49-F238E27FC236}">
                    <a16:creationId xmlns:a16="http://schemas.microsoft.com/office/drawing/2014/main" id="{0CCF878A-32D3-4A90-B59C-7E4BB006D365}"/>
                  </a:ext>
                </a:extLst>
              </p:cNvPr>
              <p:cNvSpPr>
                <a:spLocks/>
              </p:cNvSpPr>
              <p:nvPr/>
            </p:nvSpPr>
            <p:spPr bwMode="auto">
              <a:xfrm>
                <a:off x="4129" y="2547"/>
                <a:ext cx="30" cy="28"/>
              </a:xfrm>
              <a:custGeom>
                <a:avLst/>
                <a:gdLst>
                  <a:gd name="T0" fmla="*/ 12 w 13"/>
                  <a:gd name="T1" fmla="*/ 0 h 12"/>
                  <a:gd name="T2" fmla="*/ 5 w 13"/>
                  <a:gd name="T3" fmla="*/ 2 h 12"/>
                  <a:gd name="T4" fmla="*/ 4 w 13"/>
                  <a:gd name="T5" fmla="*/ 6 h 12"/>
                  <a:gd name="T6" fmla="*/ 3 w 13"/>
                  <a:gd name="T7" fmla="*/ 6 h 12"/>
                  <a:gd name="T8" fmla="*/ 3 w 13"/>
                  <a:gd name="T9" fmla="*/ 6 h 12"/>
                  <a:gd name="T10" fmla="*/ 2 w 13"/>
                  <a:gd name="T11" fmla="*/ 6 h 12"/>
                  <a:gd name="T12" fmla="*/ 1 w 13"/>
                  <a:gd name="T13" fmla="*/ 6 h 12"/>
                  <a:gd name="T14" fmla="*/ 1 w 13"/>
                  <a:gd name="T15" fmla="*/ 11 h 12"/>
                  <a:gd name="T16" fmla="*/ 6 w 13"/>
                  <a:gd name="T17" fmla="*/ 12 h 12"/>
                  <a:gd name="T18" fmla="*/ 6 w 13"/>
                  <a:gd name="T19" fmla="*/ 12 h 12"/>
                  <a:gd name="T20" fmla="*/ 12 w 13"/>
                  <a:gd name="T21" fmla="*/ 3 h 12"/>
                  <a:gd name="T22" fmla="*/ 12 w 13"/>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2">
                    <a:moveTo>
                      <a:pt x="12" y="0"/>
                    </a:moveTo>
                    <a:cubicBezTo>
                      <a:pt x="10" y="0"/>
                      <a:pt x="7" y="1"/>
                      <a:pt x="5" y="2"/>
                    </a:cubicBezTo>
                    <a:cubicBezTo>
                      <a:pt x="5" y="2"/>
                      <a:pt x="4" y="6"/>
                      <a:pt x="4" y="6"/>
                    </a:cubicBezTo>
                    <a:cubicBezTo>
                      <a:pt x="4" y="6"/>
                      <a:pt x="4" y="6"/>
                      <a:pt x="3" y="6"/>
                    </a:cubicBezTo>
                    <a:cubicBezTo>
                      <a:pt x="3" y="6"/>
                      <a:pt x="3" y="6"/>
                      <a:pt x="3" y="6"/>
                    </a:cubicBezTo>
                    <a:cubicBezTo>
                      <a:pt x="2" y="6"/>
                      <a:pt x="2" y="6"/>
                      <a:pt x="2" y="6"/>
                    </a:cubicBezTo>
                    <a:cubicBezTo>
                      <a:pt x="2" y="6"/>
                      <a:pt x="2" y="6"/>
                      <a:pt x="1" y="6"/>
                    </a:cubicBezTo>
                    <a:cubicBezTo>
                      <a:pt x="0" y="7"/>
                      <a:pt x="0" y="10"/>
                      <a:pt x="1" y="11"/>
                    </a:cubicBezTo>
                    <a:cubicBezTo>
                      <a:pt x="2" y="11"/>
                      <a:pt x="5" y="12"/>
                      <a:pt x="6" y="12"/>
                    </a:cubicBezTo>
                    <a:cubicBezTo>
                      <a:pt x="6" y="12"/>
                      <a:pt x="6" y="12"/>
                      <a:pt x="6" y="12"/>
                    </a:cubicBezTo>
                    <a:cubicBezTo>
                      <a:pt x="8" y="12"/>
                      <a:pt x="12" y="5"/>
                      <a:pt x="12" y="3"/>
                    </a:cubicBezTo>
                    <a:cubicBezTo>
                      <a:pt x="13" y="0"/>
                      <a:pt x="13"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1" name="Freeform 130">
                <a:extLst>
                  <a:ext uri="{FF2B5EF4-FFF2-40B4-BE49-F238E27FC236}">
                    <a16:creationId xmlns:a16="http://schemas.microsoft.com/office/drawing/2014/main" id="{4A379DC5-5225-4C25-AA31-96E9B4C2692B}"/>
                  </a:ext>
                </a:extLst>
              </p:cNvPr>
              <p:cNvSpPr>
                <a:spLocks/>
              </p:cNvSpPr>
              <p:nvPr/>
            </p:nvSpPr>
            <p:spPr bwMode="auto">
              <a:xfrm>
                <a:off x="6121" y="3429"/>
                <a:ext cx="17" cy="16"/>
              </a:xfrm>
              <a:custGeom>
                <a:avLst/>
                <a:gdLst>
                  <a:gd name="T0" fmla="*/ 6 w 7"/>
                  <a:gd name="T1" fmla="*/ 0 h 7"/>
                  <a:gd name="T2" fmla="*/ 4 w 7"/>
                  <a:gd name="T3" fmla="*/ 1 h 7"/>
                  <a:gd name="T4" fmla="*/ 1 w 7"/>
                  <a:gd name="T5" fmla="*/ 2 h 7"/>
                  <a:gd name="T6" fmla="*/ 0 w 7"/>
                  <a:gd name="T7" fmla="*/ 2 h 7"/>
                  <a:gd name="T8" fmla="*/ 7 w 7"/>
                  <a:gd name="T9" fmla="*/ 7 h 7"/>
                  <a:gd name="T10" fmla="*/ 6 w 7"/>
                  <a:gd name="T11" fmla="*/ 0 h 7"/>
                  <a:gd name="T12" fmla="*/ 6 w 7"/>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0"/>
                    </a:moveTo>
                    <a:cubicBezTo>
                      <a:pt x="5" y="0"/>
                      <a:pt x="4" y="1"/>
                      <a:pt x="4" y="1"/>
                    </a:cubicBezTo>
                    <a:cubicBezTo>
                      <a:pt x="3" y="2"/>
                      <a:pt x="2" y="2"/>
                      <a:pt x="1" y="2"/>
                    </a:cubicBezTo>
                    <a:cubicBezTo>
                      <a:pt x="1" y="2"/>
                      <a:pt x="0" y="2"/>
                      <a:pt x="0" y="2"/>
                    </a:cubicBezTo>
                    <a:cubicBezTo>
                      <a:pt x="2" y="4"/>
                      <a:pt x="4" y="6"/>
                      <a:pt x="7" y="7"/>
                    </a:cubicBezTo>
                    <a:cubicBezTo>
                      <a:pt x="7" y="6"/>
                      <a:pt x="7" y="1"/>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2" name="Freeform 131">
                <a:extLst>
                  <a:ext uri="{FF2B5EF4-FFF2-40B4-BE49-F238E27FC236}">
                    <a16:creationId xmlns:a16="http://schemas.microsoft.com/office/drawing/2014/main" id="{63462461-15EB-409C-9ED8-D2C8EE31B7A9}"/>
                  </a:ext>
                </a:extLst>
              </p:cNvPr>
              <p:cNvSpPr>
                <a:spLocks/>
              </p:cNvSpPr>
              <p:nvPr/>
            </p:nvSpPr>
            <p:spPr bwMode="auto">
              <a:xfrm>
                <a:off x="6088" y="3438"/>
                <a:ext cx="12" cy="7"/>
              </a:xfrm>
              <a:custGeom>
                <a:avLst/>
                <a:gdLst>
                  <a:gd name="T0" fmla="*/ 0 w 5"/>
                  <a:gd name="T1" fmla="*/ 0 h 3"/>
                  <a:gd name="T2" fmla="*/ 0 w 5"/>
                  <a:gd name="T3" fmla="*/ 0 h 3"/>
                  <a:gd name="T4" fmla="*/ 5 w 5"/>
                  <a:gd name="T5" fmla="*/ 3 h 3"/>
                  <a:gd name="T6" fmla="*/ 0 w 5"/>
                  <a:gd name="T7" fmla="*/ 0 h 3"/>
                </a:gdLst>
                <a:ahLst/>
                <a:cxnLst>
                  <a:cxn ang="0">
                    <a:pos x="T0" y="T1"/>
                  </a:cxn>
                  <a:cxn ang="0">
                    <a:pos x="T2" y="T3"/>
                  </a:cxn>
                  <a:cxn ang="0">
                    <a:pos x="T4" y="T5"/>
                  </a:cxn>
                  <a:cxn ang="0">
                    <a:pos x="T6" y="T7"/>
                  </a:cxn>
                </a:cxnLst>
                <a:rect l="0" t="0" r="r" b="b"/>
                <a:pathLst>
                  <a:path w="5" h="3">
                    <a:moveTo>
                      <a:pt x="0" y="0"/>
                    </a:moveTo>
                    <a:cubicBezTo>
                      <a:pt x="0" y="0"/>
                      <a:pt x="0" y="0"/>
                      <a:pt x="0" y="0"/>
                    </a:cubicBezTo>
                    <a:cubicBezTo>
                      <a:pt x="1" y="1"/>
                      <a:pt x="3" y="2"/>
                      <a:pt x="5" y="3"/>
                    </a:cubicBezTo>
                    <a:cubicBezTo>
                      <a:pt x="4"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3" name="Freeform 132">
                <a:extLst>
                  <a:ext uri="{FF2B5EF4-FFF2-40B4-BE49-F238E27FC236}">
                    <a16:creationId xmlns:a16="http://schemas.microsoft.com/office/drawing/2014/main" id="{6CF31A91-A03C-4A0F-9E33-81AE64944E2E}"/>
                  </a:ext>
                </a:extLst>
              </p:cNvPr>
              <p:cNvSpPr>
                <a:spLocks/>
              </p:cNvSpPr>
              <p:nvPr/>
            </p:nvSpPr>
            <p:spPr bwMode="auto">
              <a:xfrm>
                <a:off x="6064" y="3389"/>
                <a:ext cx="17" cy="33"/>
              </a:xfrm>
              <a:custGeom>
                <a:avLst/>
                <a:gdLst>
                  <a:gd name="T0" fmla="*/ 3 w 7"/>
                  <a:gd name="T1" fmla="*/ 0 h 14"/>
                  <a:gd name="T2" fmla="*/ 1 w 7"/>
                  <a:gd name="T3" fmla="*/ 6 h 14"/>
                  <a:gd name="T4" fmla="*/ 6 w 7"/>
                  <a:gd name="T5" fmla="*/ 14 h 14"/>
                  <a:gd name="T6" fmla="*/ 4 w 7"/>
                  <a:gd name="T7" fmla="*/ 7 h 14"/>
                  <a:gd name="T8" fmla="*/ 4 w 7"/>
                  <a:gd name="T9" fmla="*/ 2 h 14"/>
                  <a:gd name="T10" fmla="*/ 3 w 7"/>
                  <a:gd name="T11" fmla="*/ 0 h 14"/>
                </a:gdLst>
                <a:ahLst/>
                <a:cxnLst>
                  <a:cxn ang="0">
                    <a:pos x="T0" y="T1"/>
                  </a:cxn>
                  <a:cxn ang="0">
                    <a:pos x="T2" y="T3"/>
                  </a:cxn>
                  <a:cxn ang="0">
                    <a:pos x="T4" y="T5"/>
                  </a:cxn>
                  <a:cxn ang="0">
                    <a:pos x="T6" y="T7"/>
                  </a:cxn>
                  <a:cxn ang="0">
                    <a:pos x="T8" y="T9"/>
                  </a:cxn>
                  <a:cxn ang="0">
                    <a:pos x="T10" y="T11"/>
                  </a:cxn>
                </a:cxnLst>
                <a:rect l="0" t="0" r="r" b="b"/>
                <a:pathLst>
                  <a:path w="7" h="14">
                    <a:moveTo>
                      <a:pt x="3" y="0"/>
                    </a:moveTo>
                    <a:cubicBezTo>
                      <a:pt x="2" y="0"/>
                      <a:pt x="1" y="4"/>
                      <a:pt x="1" y="6"/>
                    </a:cubicBezTo>
                    <a:cubicBezTo>
                      <a:pt x="0" y="10"/>
                      <a:pt x="2" y="11"/>
                      <a:pt x="6" y="14"/>
                    </a:cubicBezTo>
                    <a:cubicBezTo>
                      <a:pt x="7" y="11"/>
                      <a:pt x="5" y="10"/>
                      <a:pt x="4" y="7"/>
                    </a:cubicBezTo>
                    <a:cubicBezTo>
                      <a:pt x="4" y="6"/>
                      <a:pt x="4" y="4"/>
                      <a:pt x="4"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4" name="Freeform 133">
                <a:extLst>
                  <a:ext uri="{FF2B5EF4-FFF2-40B4-BE49-F238E27FC236}">
                    <a16:creationId xmlns:a16="http://schemas.microsoft.com/office/drawing/2014/main" id="{EC110C5C-2F17-497F-99D2-823C1221406C}"/>
                  </a:ext>
                </a:extLst>
              </p:cNvPr>
              <p:cNvSpPr>
                <a:spLocks/>
              </p:cNvSpPr>
              <p:nvPr/>
            </p:nvSpPr>
            <p:spPr bwMode="auto">
              <a:xfrm>
                <a:off x="6627" y="2044"/>
                <a:ext cx="66" cy="21"/>
              </a:xfrm>
              <a:custGeom>
                <a:avLst/>
                <a:gdLst>
                  <a:gd name="T0" fmla="*/ 5 w 28"/>
                  <a:gd name="T1" fmla="*/ 0 h 9"/>
                  <a:gd name="T2" fmla="*/ 4 w 28"/>
                  <a:gd name="T3" fmla="*/ 0 h 9"/>
                  <a:gd name="T4" fmla="*/ 0 w 28"/>
                  <a:gd name="T5" fmla="*/ 4 h 9"/>
                  <a:gd name="T6" fmla="*/ 0 w 28"/>
                  <a:gd name="T7" fmla="*/ 4 h 9"/>
                  <a:gd name="T8" fmla="*/ 10 w 28"/>
                  <a:gd name="T9" fmla="*/ 9 h 9"/>
                  <a:gd name="T10" fmla="*/ 21 w 28"/>
                  <a:gd name="T11" fmla="*/ 7 h 9"/>
                  <a:gd name="T12" fmla="*/ 28 w 28"/>
                  <a:gd name="T13" fmla="*/ 4 h 9"/>
                  <a:gd name="T14" fmla="*/ 28 w 28"/>
                  <a:gd name="T15" fmla="*/ 4 h 9"/>
                  <a:gd name="T16" fmla="*/ 20 w 28"/>
                  <a:gd name="T17" fmla="*/ 1 h 9"/>
                  <a:gd name="T18" fmla="*/ 18 w 28"/>
                  <a:gd name="T19" fmla="*/ 0 h 9"/>
                  <a:gd name="T20" fmla="*/ 14 w 28"/>
                  <a:gd name="T21" fmla="*/ 1 h 9"/>
                  <a:gd name="T22" fmla="*/ 11 w 28"/>
                  <a:gd name="T23" fmla="*/ 1 h 9"/>
                  <a:gd name="T24" fmla="*/ 9 w 28"/>
                  <a:gd name="T25" fmla="*/ 1 h 9"/>
                  <a:gd name="T26" fmla="*/ 5 w 28"/>
                  <a:gd name="T2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9">
                    <a:moveTo>
                      <a:pt x="5" y="0"/>
                    </a:moveTo>
                    <a:cubicBezTo>
                      <a:pt x="4" y="0"/>
                      <a:pt x="4" y="0"/>
                      <a:pt x="4" y="0"/>
                    </a:cubicBezTo>
                    <a:cubicBezTo>
                      <a:pt x="2" y="1"/>
                      <a:pt x="2" y="4"/>
                      <a:pt x="0" y="4"/>
                    </a:cubicBezTo>
                    <a:cubicBezTo>
                      <a:pt x="0" y="4"/>
                      <a:pt x="0" y="4"/>
                      <a:pt x="0" y="4"/>
                    </a:cubicBezTo>
                    <a:cubicBezTo>
                      <a:pt x="3" y="6"/>
                      <a:pt x="6" y="8"/>
                      <a:pt x="10" y="9"/>
                    </a:cubicBezTo>
                    <a:cubicBezTo>
                      <a:pt x="14" y="9"/>
                      <a:pt x="17" y="9"/>
                      <a:pt x="21" y="7"/>
                    </a:cubicBezTo>
                    <a:cubicBezTo>
                      <a:pt x="23" y="7"/>
                      <a:pt x="26" y="4"/>
                      <a:pt x="28" y="4"/>
                    </a:cubicBezTo>
                    <a:cubicBezTo>
                      <a:pt x="28" y="4"/>
                      <a:pt x="28" y="4"/>
                      <a:pt x="28" y="4"/>
                    </a:cubicBezTo>
                    <a:cubicBezTo>
                      <a:pt x="26" y="3"/>
                      <a:pt x="23" y="1"/>
                      <a:pt x="20" y="1"/>
                    </a:cubicBezTo>
                    <a:cubicBezTo>
                      <a:pt x="19" y="0"/>
                      <a:pt x="19" y="0"/>
                      <a:pt x="18" y="0"/>
                    </a:cubicBezTo>
                    <a:cubicBezTo>
                      <a:pt x="17" y="0"/>
                      <a:pt x="16" y="1"/>
                      <a:pt x="14" y="1"/>
                    </a:cubicBezTo>
                    <a:cubicBezTo>
                      <a:pt x="13" y="1"/>
                      <a:pt x="12" y="1"/>
                      <a:pt x="11" y="1"/>
                    </a:cubicBezTo>
                    <a:cubicBezTo>
                      <a:pt x="10" y="1"/>
                      <a:pt x="10" y="1"/>
                      <a:pt x="9" y="1"/>
                    </a:cubicBezTo>
                    <a:cubicBezTo>
                      <a:pt x="8"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5" name="Freeform 134">
                <a:extLst>
                  <a:ext uri="{FF2B5EF4-FFF2-40B4-BE49-F238E27FC236}">
                    <a16:creationId xmlns:a16="http://schemas.microsoft.com/office/drawing/2014/main" id="{96AA0B71-ADCE-4D48-B67D-DD972DE2E680}"/>
                  </a:ext>
                </a:extLst>
              </p:cNvPr>
              <p:cNvSpPr>
                <a:spLocks/>
              </p:cNvSpPr>
              <p:nvPr/>
            </p:nvSpPr>
            <p:spPr bwMode="auto">
              <a:xfrm>
                <a:off x="6558" y="2070"/>
                <a:ext cx="14" cy="4"/>
              </a:xfrm>
              <a:custGeom>
                <a:avLst/>
                <a:gdLst>
                  <a:gd name="T0" fmla="*/ 1 w 6"/>
                  <a:gd name="T1" fmla="*/ 0 h 2"/>
                  <a:gd name="T2" fmla="*/ 0 w 6"/>
                  <a:gd name="T3" fmla="*/ 0 h 2"/>
                  <a:gd name="T4" fmla="*/ 6 w 6"/>
                  <a:gd name="T5" fmla="*/ 2 h 2"/>
                  <a:gd name="T6" fmla="*/ 1 w 6"/>
                  <a:gd name="T7" fmla="*/ 0 h 2"/>
                </a:gdLst>
                <a:ahLst/>
                <a:cxnLst>
                  <a:cxn ang="0">
                    <a:pos x="T0" y="T1"/>
                  </a:cxn>
                  <a:cxn ang="0">
                    <a:pos x="T2" y="T3"/>
                  </a:cxn>
                  <a:cxn ang="0">
                    <a:pos x="T4" y="T5"/>
                  </a:cxn>
                  <a:cxn ang="0">
                    <a:pos x="T6" y="T7"/>
                  </a:cxn>
                </a:cxnLst>
                <a:rect l="0" t="0" r="r" b="b"/>
                <a:pathLst>
                  <a:path w="6" h="2">
                    <a:moveTo>
                      <a:pt x="1" y="0"/>
                    </a:moveTo>
                    <a:cubicBezTo>
                      <a:pt x="0" y="0"/>
                      <a:pt x="0" y="0"/>
                      <a:pt x="0" y="0"/>
                    </a:cubicBezTo>
                    <a:cubicBezTo>
                      <a:pt x="2" y="1"/>
                      <a:pt x="4" y="2"/>
                      <a:pt x="6" y="2"/>
                    </a:cubicBezTo>
                    <a:cubicBezTo>
                      <a:pt x="5"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6" name="Freeform 135">
                <a:extLst>
                  <a:ext uri="{FF2B5EF4-FFF2-40B4-BE49-F238E27FC236}">
                    <a16:creationId xmlns:a16="http://schemas.microsoft.com/office/drawing/2014/main" id="{25477571-F47E-442C-A856-D3927644B7E7}"/>
                  </a:ext>
                </a:extLst>
              </p:cNvPr>
              <p:cNvSpPr>
                <a:spLocks/>
              </p:cNvSpPr>
              <p:nvPr/>
            </p:nvSpPr>
            <p:spPr bwMode="auto">
              <a:xfrm>
                <a:off x="5492" y="959"/>
                <a:ext cx="19" cy="4"/>
              </a:xfrm>
              <a:custGeom>
                <a:avLst/>
                <a:gdLst>
                  <a:gd name="T0" fmla="*/ 5 w 8"/>
                  <a:gd name="T1" fmla="*/ 0 h 2"/>
                  <a:gd name="T2" fmla="*/ 0 w 8"/>
                  <a:gd name="T3" fmla="*/ 2 h 2"/>
                  <a:gd name="T4" fmla="*/ 8 w 8"/>
                  <a:gd name="T5" fmla="*/ 1 h 2"/>
                  <a:gd name="T6" fmla="*/ 5 w 8"/>
                  <a:gd name="T7" fmla="*/ 0 h 2"/>
                </a:gdLst>
                <a:ahLst/>
                <a:cxnLst>
                  <a:cxn ang="0">
                    <a:pos x="T0" y="T1"/>
                  </a:cxn>
                  <a:cxn ang="0">
                    <a:pos x="T2" y="T3"/>
                  </a:cxn>
                  <a:cxn ang="0">
                    <a:pos x="T4" y="T5"/>
                  </a:cxn>
                  <a:cxn ang="0">
                    <a:pos x="T6" y="T7"/>
                  </a:cxn>
                </a:cxnLst>
                <a:rect l="0" t="0" r="r" b="b"/>
                <a:pathLst>
                  <a:path w="8" h="2">
                    <a:moveTo>
                      <a:pt x="5" y="0"/>
                    </a:moveTo>
                    <a:cubicBezTo>
                      <a:pt x="4" y="0"/>
                      <a:pt x="2" y="1"/>
                      <a:pt x="0" y="2"/>
                    </a:cubicBezTo>
                    <a:cubicBezTo>
                      <a:pt x="3" y="2"/>
                      <a:pt x="5" y="1"/>
                      <a:pt x="8" y="1"/>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7" name="Freeform 136">
                <a:extLst>
                  <a:ext uri="{FF2B5EF4-FFF2-40B4-BE49-F238E27FC236}">
                    <a16:creationId xmlns:a16="http://schemas.microsoft.com/office/drawing/2014/main" id="{BD8C5A25-C183-4A56-B508-E6CE23014EA7}"/>
                  </a:ext>
                </a:extLst>
              </p:cNvPr>
              <p:cNvSpPr>
                <a:spLocks/>
              </p:cNvSpPr>
              <p:nvPr/>
            </p:nvSpPr>
            <p:spPr bwMode="auto">
              <a:xfrm>
                <a:off x="2701" y="859"/>
                <a:ext cx="33" cy="14"/>
              </a:xfrm>
              <a:custGeom>
                <a:avLst/>
                <a:gdLst>
                  <a:gd name="T0" fmla="*/ 7 w 14"/>
                  <a:gd name="T1" fmla="*/ 0 h 6"/>
                  <a:gd name="T2" fmla="*/ 0 w 14"/>
                  <a:gd name="T3" fmla="*/ 1 h 6"/>
                  <a:gd name="T4" fmla="*/ 8 w 14"/>
                  <a:gd name="T5" fmla="*/ 6 h 6"/>
                  <a:gd name="T6" fmla="*/ 14 w 14"/>
                  <a:gd name="T7" fmla="*/ 2 h 6"/>
                  <a:gd name="T8" fmla="*/ 13 w 14"/>
                  <a:gd name="T9" fmla="*/ 2 h 6"/>
                  <a:gd name="T10" fmla="*/ 8 w 14"/>
                  <a:gd name="T11" fmla="*/ 0 h 6"/>
                  <a:gd name="T12" fmla="*/ 7 w 14"/>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4" h="6">
                    <a:moveTo>
                      <a:pt x="7" y="0"/>
                    </a:moveTo>
                    <a:cubicBezTo>
                      <a:pt x="5" y="0"/>
                      <a:pt x="2" y="1"/>
                      <a:pt x="0" y="1"/>
                    </a:cubicBezTo>
                    <a:cubicBezTo>
                      <a:pt x="1" y="4"/>
                      <a:pt x="5" y="5"/>
                      <a:pt x="8" y="6"/>
                    </a:cubicBezTo>
                    <a:cubicBezTo>
                      <a:pt x="10" y="4"/>
                      <a:pt x="12" y="4"/>
                      <a:pt x="14" y="2"/>
                    </a:cubicBezTo>
                    <a:cubicBezTo>
                      <a:pt x="14" y="2"/>
                      <a:pt x="13" y="2"/>
                      <a:pt x="13" y="2"/>
                    </a:cubicBezTo>
                    <a:cubicBezTo>
                      <a:pt x="11" y="2"/>
                      <a:pt x="10" y="1"/>
                      <a:pt x="8"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8" name="Freeform 137">
                <a:extLst>
                  <a:ext uri="{FF2B5EF4-FFF2-40B4-BE49-F238E27FC236}">
                    <a16:creationId xmlns:a16="http://schemas.microsoft.com/office/drawing/2014/main" id="{FE6D5024-9BD6-4C86-98EC-B53DE4F8051B}"/>
                  </a:ext>
                </a:extLst>
              </p:cNvPr>
              <p:cNvSpPr>
                <a:spLocks/>
              </p:cNvSpPr>
              <p:nvPr/>
            </p:nvSpPr>
            <p:spPr bwMode="auto">
              <a:xfrm>
                <a:off x="2659" y="1103"/>
                <a:ext cx="19" cy="21"/>
              </a:xfrm>
              <a:custGeom>
                <a:avLst/>
                <a:gdLst>
                  <a:gd name="T0" fmla="*/ 4 w 8"/>
                  <a:gd name="T1" fmla="*/ 0 h 9"/>
                  <a:gd name="T2" fmla="*/ 1 w 8"/>
                  <a:gd name="T3" fmla="*/ 3 h 9"/>
                  <a:gd name="T4" fmla="*/ 6 w 8"/>
                  <a:gd name="T5" fmla="*/ 9 h 9"/>
                  <a:gd name="T6" fmla="*/ 6 w 8"/>
                  <a:gd name="T7" fmla="*/ 1 h 9"/>
                  <a:gd name="T8" fmla="*/ 4 w 8"/>
                  <a:gd name="T9" fmla="*/ 0 h 9"/>
                </a:gdLst>
                <a:ahLst/>
                <a:cxnLst>
                  <a:cxn ang="0">
                    <a:pos x="T0" y="T1"/>
                  </a:cxn>
                  <a:cxn ang="0">
                    <a:pos x="T2" y="T3"/>
                  </a:cxn>
                  <a:cxn ang="0">
                    <a:pos x="T4" y="T5"/>
                  </a:cxn>
                  <a:cxn ang="0">
                    <a:pos x="T6" y="T7"/>
                  </a:cxn>
                  <a:cxn ang="0">
                    <a:pos x="T8" y="T9"/>
                  </a:cxn>
                </a:cxnLst>
                <a:rect l="0" t="0" r="r" b="b"/>
                <a:pathLst>
                  <a:path w="8" h="9">
                    <a:moveTo>
                      <a:pt x="4" y="0"/>
                    </a:moveTo>
                    <a:cubicBezTo>
                      <a:pt x="3" y="0"/>
                      <a:pt x="1" y="1"/>
                      <a:pt x="1" y="3"/>
                    </a:cubicBezTo>
                    <a:cubicBezTo>
                      <a:pt x="0" y="5"/>
                      <a:pt x="4" y="9"/>
                      <a:pt x="6" y="9"/>
                    </a:cubicBezTo>
                    <a:cubicBezTo>
                      <a:pt x="6" y="7"/>
                      <a:pt x="8" y="2"/>
                      <a:pt x="6" y="1"/>
                    </a:cubicBezTo>
                    <a:cubicBezTo>
                      <a:pt x="6"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9" name="Freeform 138">
                <a:extLst>
                  <a:ext uri="{FF2B5EF4-FFF2-40B4-BE49-F238E27FC236}">
                    <a16:creationId xmlns:a16="http://schemas.microsoft.com/office/drawing/2014/main" id="{9BDACE00-F6DC-4BF3-BBF3-CC2A4AD6CB4E}"/>
                  </a:ext>
                </a:extLst>
              </p:cNvPr>
              <p:cNvSpPr>
                <a:spLocks/>
              </p:cNvSpPr>
              <p:nvPr/>
            </p:nvSpPr>
            <p:spPr bwMode="auto">
              <a:xfrm>
                <a:off x="2647" y="1164"/>
                <a:ext cx="19" cy="12"/>
              </a:xfrm>
              <a:custGeom>
                <a:avLst/>
                <a:gdLst>
                  <a:gd name="T0" fmla="*/ 8 w 8"/>
                  <a:gd name="T1" fmla="*/ 0 h 5"/>
                  <a:gd name="T2" fmla="*/ 4 w 8"/>
                  <a:gd name="T3" fmla="*/ 2 h 5"/>
                  <a:gd name="T4" fmla="*/ 6 w 8"/>
                  <a:gd name="T5" fmla="*/ 5 h 5"/>
                  <a:gd name="T6" fmla="*/ 8 w 8"/>
                  <a:gd name="T7" fmla="*/ 0 h 5"/>
                </a:gdLst>
                <a:ahLst/>
                <a:cxnLst>
                  <a:cxn ang="0">
                    <a:pos x="T0" y="T1"/>
                  </a:cxn>
                  <a:cxn ang="0">
                    <a:pos x="T2" y="T3"/>
                  </a:cxn>
                  <a:cxn ang="0">
                    <a:pos x="T4" y="T5"/>
                  </a:cxn>
                  <a:cxn ang="0">
                    <a:pos x="T6" y="T7"/>
                  </a:cxn>
                </a:cxnLst>
                <a:rect l="0" t="0" r="r" b="b"/>
                <a:pathLst>
                  <a:path w="8" h="5">
                    <a:moveTo>
                      <a:pt x="8" y="0"/>
                    </a:moveTo>
                    <a:cubicBezTo>
                      <a:pt x="6" y="1"/>
                      <a:pt x="6" y="1"/>
                      <a:pt x="4" y="2"/>
                    </a:cubicBezTo>
                    <a:cubicBezTo>
                      <a:pt x="0" y="4"/>
                      <a:pt x="3" y="3"/>
                      <a:pt x="6" y="5"/>
                    </a:cubicBezTo>
                    <a:cubicBezTo>
                      <a:pt x="7" y="4"/>
                      <a:pt x="8" y="2"/>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0" name="Freeform 139">
                <a:extLst>
                  <a:ext uri="{FF2B5EF4-FFF2-40B4-BE49-F238E27FC236}">
                    <a16:creationId xmlns:a16="http://schemas.microsoft.com/office/drawing/2014/main" id="{C9955CDB-5BB8-499B-B392-C85FD91B2E9F}"/>
                  </a:ext>
                </a:extLst>
              </p:cNvPr>
              <p:cNvSpPr>
                <a:spLocks/>
              </p:cNvSpPr>
              <p:nvPr/>
            </p:nvSpPr>
            <p:spPr bwMode="auto">
              <a:xfrm>
                <a:off x="2694" y="1145"/>
                <a:ext cx="19" cy="10"/>
              </a:xfrm>
              <a:custGeom>
                <a:avLst/>
                <a:gdLst>
                  <a:gd name="T0" fmla="*/ 5 w 8"/>
                  <a:gd name="T1" fmla="*/ 0 h 4"/>
                  <a:gd name="T2" fmla="*/ 4 w 8"/>
                  <a:gd name="T3" fmla="*/ 4 h 4"/>
                  <a:gd name="T4" fmla="*/ 5 w 8"/>
                  <a:gd name="T5" fmla="*/ 0 h 4"/>
                </a:gdLst>
                <a:ahLst/>
                <a:cxnLst>
                  <a:cxn ang="0">
                    <a:pos x="T0" y="T1"/>
                  </a:cxn>
                  <a:cxn ang="0">
                    <a:pos x="T2" y="T3"/>
                  </a:cxn>
                  <a:cxn ang="0">
                    <a:pos x="T4" y="T5"/>
                  </a:cxn>
                </a:cxnLst>
                <a:rect l="0" t="0" r="r" b="b"/>
                <a:pathLst>
                  <a:path w="8" h="4">
                    <a:moveTo>
                      <a:pt x="5" y="0"/>
                    </a:moveTo>
                    <a:cubicBezTo>
                      <a:pt x="2" y="0"/>
                      <a:pt x="0" y="1"/>
                      <a:pt x="4" y="4"/>
                    </a:cubicBezTo>
                    <a:cubicBezTo>
                      <a:pt x="8"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1" name="Freeform 140">
                <a:extLst>
                  <a:ext uri="{FF2B5EF4-FFF2-40B4-BE49-F238E27FC236}">
                    <a16:creationId xmlns:a16="http://schemas.microsoft.com/office/drawing/2014/main" id="{9C7AD126-2045-43FE-9A09-CA8613CCA457}"/>
                  </a:ext>
                </a:extLst>
              </p:cNvPr>
              <p:cNvSpPr>
                <a:spLocks/>
              </p:cNvSpPr>
              <p:nvPr/>
            </p:nvSpPr>
            <p:spPr bwMode="auto">
              <a:xfrm>
                <a:off x="2720" y="1119"/>
                <a:ext cx="45" cy="38"/>
              </a:xfrm>
              <a:custGeom>
                <a:avLst/>
                <a:gdLst>
                  <a:gd name="T0" fmla="*/ 19 w 19"/>
                  <a:gd name="T1" fmla="*/ 0 h 16"/>
                  <a:gd name="T2" fmla="*/ 14 w 19"/>
                  <a:gd name="T3" fmla="*/ 1 h 16"/>
                  <a:gd name="T4" fmla="*/ 11 w 19"/>
                  <a:gd name="T5" fmla="*/ 4 h 16"/>
                  <a:gd name="T6" fmla="*/ 1 w 19"/>
                  <a:gd name="T7" fmla="*/ 6 h 16"/>
                  <a:gd name="T8" fmla="*/ 0 w 19"/>
                  <a:gd name="T9" fmla="*/ 7 h 16"/>
                  <a:gd name="T10" fmla="*/ 1 w 19"/>
                  <a:gd name="T11" fmla="*/ 8 h 16"/>
                  <a:gd name="T12" fmla="*/ 6 w 19"/>
                  <a:gd name="T13" fmla="*/ 16 h 16"/>
                  <a:gd name="T14" fmla="*/ 19 w 19"/>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6">
                    <a:moveTo>
                      <a:pt x="19" y="0"/>
                    </a:moveTo>
                    <a:cubicBezTo>
                      <a:pt x="17" y="1"/>
                      <a:pt x="15" y="1"/>
                      <a:pt x="14" y="1"/>
                    </a:cubicBezTo>
                    <a:cubicBezTo>
                      <a:pt x="13" y="2"/>
                      <a:pt x="12" y="3"/>
                      <a:pt x="11" y="4"/>
                    </a:cubicBezTo>
                    <a:cubicBezTo>
                      <a:pt x="8" y="6"/>
                      <a:pt x="5" y="5"/>
                      <a:pt x="1" y="6"/>
                    </a:cubicBezTo>
                    <a:cubicBezTo>
                      <a:pt x="0" y="7"/>
                      <a:pt x="0" y="7"/>
                      <a:pt x="0" y="7"/>
                    </a:cubicBezTo>
                    <a:cubicBezTo>
                      <a:pt x="1" y="7"/>
                      <a:pt x="1" y="7"/>
                      <a:pt x="1" y="8"/>
                    </a:cubicBezTo>
                    <a:cubicBezTo>
                      <a:pt x="3" y="10"/>
                      <a:pt x="5" y="13"/>
                      <a:pt x="6" y="16"/>
                    </a:cubicBezTo>
                    <a:cubicBezTo>
                      <a:pt x="10" y="11"/>
                      <a:pt x="15" y="6"/>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2" name="Freeform 141">
                <a:extLst>
                  <a:ext uri="{FF2B5EF4-FFF2-40B4-BE49-F238E27FC236}">
                    <a16:creationId xmlns:a16="http://schemas.microsoft.com/office/drawing/2014/main" id="{53BB141A-73AB-41A3-BBA7-F5638CD97C82}"/>
                  </a:ext>
                </a:extLst>
              </p:cNvPr>
              <p:cNvSpPr>
                <a:spLocks/>
              </p:cNvSpPr>
              <p:nvPr/>
            </p:nvSpPr>
            <p:spPr bwMode="auto">
              <a:xfrm>
                <a:off x="2779" y="1145"/>
                <a:ext cx="31" cy="26"/>
              </a:xfrm>
              <a:custGeom>
                <a:avLst/>
                <a:gdLst>
                  <a:gd name="T0" fmla="*/ 10 w 13"/>
                  <a:gd name="T1" fmla="*/ 0 h 11"/>
                  <a:gd name="T2" fmla="*/ 8 w 13"/>
                  <a:gd name="T3" fmla="*/ 1 h 11"/>
                  <a:gd name="T4" fmla="*/ 4 w 13"/>
                  <a:gd name="T5" fmla="*/ 0 h 11"/>
                  <a:gd name="T6" fmla="*/ 1 w 13"/>
                  <a:gd name="T7" fmla="*/ 7 h 11"/>
                  <a:gd name="T8" fmla="*/ 7 w 13"/>
                  <a:gd name="T9" fmla="*/ 11 h 11"/>
                  <a:gd name="T10" fmla="*/ 10 w 13"/>
                  <a:gd name="T11" fmla="*/ 0 h 11"/>
                </a:gdLst>
                <a:ahLst/>
                <a:cxnLst>
                  <a:cxn ang="0">
                    <a:pos x="T0" y="T1"/>
                  </a:cxn>
                  <a:cxn ang="0">
                    <a:pos x="T2" y="T3"/>
                  </a:cxn>
                  <a:cxn ang="0">
                    <a:pos x="T4" y="T5"/>
                  </a:cxn>
                  <a:cxn ang="0">
                    <a:pos x="T6" y="T7"/>
                  </a:cxn>
                  <a:cxn ang="0">
                    <a:pos x="T8" y="T9"/>
                  </a:cxn>
                  <a:cxn ang="0">
                    <a:pos x="T10" y="T11"/>
                  </a:cxn>
                </a:cxnLst>
                <a:rect l="0" t="0" r="r" b="b"/>
                <a:pathLst>
                  <a:path w="13" h="11">
                    <a:moveTo>
                      <a:pt x="10" y="0"/>
                    </a:moveTo>
                    <a:cubicBezTo>
                      <a:pt x="10" y="1"/>
                      <a:pt x="9" y="1"/>
                      <a:pt x="8" y="1"/>
                    </a:cubicBezTo>
                    <a:cubicBezTo>
                      <a:pt x="7" y="1"/>
                      <a:pt x="5" y="0"/>
                      <a:pt x="4" y="0"/>
                    </a:cubicBezTo>
                    <a:cubicBezTo>
                      <a:pt x="4" y="3"/>
                      <a:pt x="0" y="3"/>
                      <a:pt x="1" y="7"/>
                    </a:cubicBezTo>
                    <a:cubicBezTo>
                      <a:pt x="2" y="9"/>
                      <a:pt x="5" y="11"/>
                      <a:pt x="7" y="11"/>
                    </a:cubicBezTo>
                    <a:cubicBezTo>
                      <a:pt x="12" y="8"/>
                      <a:pt x="13" y="6"/>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3" name="Freeform 142">
                <a:extLst>
                  <a:ext uri="{FF2B5EF4-FFF2-40B4-BE49-F238E27FC236}">
                    <a16:creationId xmlns:a16="http://schemas.microsoft.com/office/drawing/2014/main" id="{9AAEF130-E523-415A-9BAD-EC3E1C49E52E}"/>
                  </a:ext>
                </a:extLst>
              </p:cNvPr>
              <p:cNvSpPr>
                <a:spLocks/>
              </p:cNvSpPr>
              <p:nvPr/>
            </p:nvSpPr>
            <p:spPr bwMode="auto">
              <a:xfrm>
                <a:off x="2855" y="1105"/>
                <a:ext cx="43" cy="47"/>
              </a:xfrm>
              <a:custGeom>
                <a:avLst/>
                <a:gdLst>
                  <a:gd name="T0" fmla="*/ 11 w 18"/>
                  <a:gd name="T1" fmla="*/ 0 h 20"/>
                  <a:gd name="T2" fmla="*/ 13 w 18"/>
                  <a:gd name="T3" fmla="*/ 2 h 20"/>
                  <a:gd name="T4" fmla="*/ 10 w 18"/>
                  <a:gd name="T5" fmla="*/ 8 h 20"/>
                  <a:gd name="T6" fmla="*/ 7 w 18"/>
                  <a:gd name="T7" fmla="*/ 13 h 20"/>
                  <a:gd name="T8" fmla="*/ 1 w 18"/>
                  <a:gd name="T9" fmla="*/ 19 h 20"/>
                  <a:gd name="T10" fmla="*/ 0 w 18"/>
                  <a:gd name="T11" fmla="*/ 20 h 20"/>
                  <a:gd name="T12" fmla="*/ 1 w 18"/>
                  <a:gd name="T13" fmla="*/ 20 h 20"/>
                  <a:gd name="T14" fmla="*/ 1 w 18"/>
                  <a:gd name="T15" fmla="*/ 20 h 20"/>
                  <a:gd name="T16" fmla="*/ 4 w 18"/>
                  <a:gd name="T17" fmla="*/ 20 h 20"/>
                  <a:gd name="T18" fmla="*/ 15 w 18"/>
                  <a:gd name="T19" fmla="*/ 10 h 20"/>
                  <a:gd name="T20" fmla="*/ 16 w 18"/>
                  <a:gd name="T21" fmla="*/ 4 h 20"/>
                  <a:gd name="T22" fmla="*/ 18 w 18"/>
                  <a:gd name="T23" fmla="*/ 5 h 20"/>
                  <a:gd name="T24" fmla="*/ 11 w 18"/>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20">
                    <a:moveTo>
                      <a:pt x="11" y="0"/>
                    </a:moveTo>
                    <a:cubicBezTo>
                      <a:pt x="12" y="1"/>
                      <a:pt x="12" y="2"/>
                      <a:pt x="13" y="2"/>
                    </a:cubicBezTo>
                    <a:cubicBezTo>
                      <a:pt x="11" y="3"/>
                      <a:pt x="11" y="6"/>
                      <a:pt x="10" y="8"/>
                    </a:cubicBezTo>
                    <a:cubicBezTo>
                      <a:pt x="9" y="9"/>
                      <a:pt x="8" y="11"/>
                      <a:pt x="7" y="13"/>
                    </a:cubicBezTo>
                    <a:cubicBezTo>
                      <a:pt x="6" y="17"/>
                      <a:pt x="5" y="17"/>
                      <a:pt x="1" y="19"/>
                    </a:cubicBezTo>
                    <a:cubicBezTo>
                      <a:pt x="0" y="20"/>
                      <a:pt x="0" y="20"/>
                      <a:pt x="0" y="20"/>
                    </a:cubicBezTo>
                    <a:cubicBezTo>
                      <a:pt x="1" y="20"/>
                      <a:pt x="1" y="20"/>
                      <a:pt x="1" y="20"/>
                    </a:cubicBezTo>
                    <a:cubicBezTo>
                      <a:pt x="1" y="20"/>
                      <a:pt x="1" y="20"/>
                      <a:pt x="1" y="20"/>
                    </a:cubicBezTo>
                    <a:cubicBezTo>
                      <a:pt x="2" y="20"/>
                      <a:pt x="3" y="20"/>
                      <a:pt x="4" y="20"/>
                    </a:cubicBezTo>
                    <a:cubicBezTo>
                      <a:pt x="9" y="17"/>
                      <a:pt x="14" y="16"/>
                      <a:pt x="15" y="10"/>
                    </a:cubicBezTo>
                    <a:cubicBezTo>
                      <a:pt x="16" y="9"/>
                      <a:pt x="16" y="6"/>
                      <a:pt x="16" y="4"/>
                    </a:cubicBezTo>
                    <a:cubicBezTo>
                      <a:pt x="16" y="4"/>
                      <a:pt x="17" y="5"/>
                      <a:pt x="18" y="5"/>
                    </a:cubicBezTo>
                    <a:cubicBezTo>
                      <a:pt x="16" y="2"/>
                      <a:pt x="14" y="1"/>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4" name="Freeform 143">
                <a:extLst>
                  <a:ext uri="{FF2B5EF4-FFF2-40B4-BE49-F238E27FC236}">
                    <a16:creationId xmlns:a16="http://schemas.microsoft.com/office/drawing/2014/main" id="{1F16B416-24B4-4119-BE4E-88B40DFD4057}"/>
                  </a:ext>
                </a:extLst>
              </p:cNvPr>
              <p:cNvSpPr>
                <a:spLocks/>
              </p:cNvSpPr>
              <p:nvPr/>
            </p:nvSpPr>
            <p:spPr bwMode="auto">
              <a:xfrm>
                <a:off x="2895" y="1081"/>
                <a:ext cx="21" cy="24"/>
              </a:xfrm>
              <a:custGeom>
                <a:avLst/>
                <a:gdLst>
                  <a:gd name="T0" fmla="*/ 8 w 9"/>
                  <a:gd name="T1" fmla="*/ 0 h 10"/>
                  <a:gd name="T2" fmla="*/ 7 w 9"/>
                  <a:gd name="T3" fmla="*/ 1 h 10"/>
                  <a:gd name="T4" fmla="*/ 0 w 9"/>
                  <a:gd name="T5" fmla="*/ 10 h 10"/>
                  <a:gd name="T6" fmla="*/ 8 w 9"/>
                  <a:gd name="T7" fmla="*/ 4 h 10"/>
                  <a:gd name="T8" fmla="*/ 8 w 9"/>
                  <a:gd name="T9" fmla="*/ 0 h 10"/>
                </a:gdLst>
                <a:ahLst/>
                <a:cxnLst>
                  <a:cxn ang="0">
                    <a:pos x="T0" y="T1"/>
                  </a:cxn>
                  <a:cxn ang="0">
                    <a:pos x="T2" y="T3"/>
                  </a:cxn>
                  <a:cxn ang="0">
                    <a:pos x="T4" y="T5"/>
                  </a:cxn>
                  <a:cxn ang="0">
                    <a:pos x="T6" y="T7"/>
                  </a:cxn>
                  <a:cxn ang="0">
                    <a:pos x="T8" y="T9"/>
                  </a:cxn>
                </a:cxnLst>
                <a:rect l="0" t="0" r="r" b="b"/>
                <a:pathLst>
                  <a:path w="9" h="10">
                    <a:moveTo>
                      <a:pt x="8" y="0"/>
                    </a:moveTo>
                    <a:cubicBezTo>
                      <a:pt x="8" y="0"/>
                      <a:pt x="7" y="0"/>
                      <a:pt x="7" y="1"/>
                    </a:cubicBezTo>
                    <a:cubicBezTo>
                      <a:pt x="1" y="4"/>
                      <a:pt x="0" y="3"/>
                      <a:pt x="0" y="10"/>
                    </a:cubicBezTo>
                    <a:cubicBezTo>
                      <a:pt x="2" y="6"/>
                      <a:pt x="6" y="8"/>
                      <a:pt x="8" y="4"/>
                    </a:cubicBezTo>
                    <a:cubicBezTo>
                      <a:pt x="8" y="3"/>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5" name="Freeform 144">
                <a:extLst>
                  <a:ext uri="{FF2B5EF4-FFF2-40B4-BE49-F238E27FC236}">
                    <a16:creationId xmlns:a16="http://schemas.microsoft.com/office/drawing/2014/main" id="{46CB05D6-7DF1-4B58-BDD4-8DE5A701C757}"/>
                  </a:ext>
                </a:extLst>
              </p:cNvPr>
              <p:cNvSpPr>
                <a:spLocks/>
              </p:cNvSpPr>
              <p:nvPr/>
            </p:nvSpPr>
            <p:spPr bwMode="auto">
              <a:xfrm>
                <a:off x="4020" y="2731"/>
                <a:ext cx="17" cy="22"/>
              </a:xfrm>
              <a:custGeom>
                <a:avLst/>
                <a:gdLst>
                  <a:gd name="T0" fmla="*/ 5 w 7"/>
                  <a:gd name="T1" fmla="*/ 0 h 9"/>
                  <a:gd name="T2" fmla="*/ 2 w 7"/>
                  <a:gd name="T3" fmla="*/ 1 h 9"/>
                  <a:gd name="T4" fmla="*/ 2 w 7"/>
                  <a:gd name="T5" fmla="*/ 9 h 9"/>
                  <a:gd name="T6" fmla="*/ 7 w 7"/>
                  <a:gd name="T7" fmla="*/ 3 h 9"/>
                  <a:gd name="T8" fmla="*/ 5 w 7"/>
                  <a:gd name="T9" fmla="*/ 0 h 9"/>
                </a:gdLst>
                <a:ahLst/>
                <a:cxnLst>
                  <a:cxn ang="0">
                    <a:pos x="T0" y="T1"/>
                  </a:cxn>
                  <a:cxn ang="0">
                    <a:pos x="T2" y="T3"/>
                  </a:cxn>
                  <a:cxn ang="0">
                    <a:pos x="T4" y="T5"/>
                  </a:cxn>
                  <a:cxn ang="0">
                    <a:pos x="T6" y="T7"/>
                  </a:cxn>
                  <a:cxn ang="0">
                    <a:pos x="T8" y="T9"/>
                  </a:cxn>
                </a:cxnLst>
                <a:rect l="0" t="0" r="r" b="b"/>
                <a:pathLst>
                  <a:path w="7" h="9">
                    <a:moveTo>
                      <a:pt x="5" y="0"/>
                    </a:moveTo>
                    <a:cubicBezTo>
                      <a:pt x="4" y="0"/>
                      <a:pt x="3" y="1"/>
                      <a:pt x="2" y="1"/>
                    </a:cubicBezTo>
                    <a:cubicBezTo>
                      <a:pt x="0" y="3"/>
                      <a:pt x="1" y="6"/>
                      <a:pt x="2" y="9"/>
                    </a:cubicBezTo>
                    <a:cubicBezTo>
                      <a:pt x="4" y="8"/>
                      <a:pt x="7" y="6"/>
                      <a:pt x="7" y="3"/>
                    </a:cubicBezTo>
                    <a:cubicBezTo>
                      <a:pt x="7"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6" name="Freeform 145">
                <a:extLst>
                  <a:ext uri="{FF2B5EF4-FFF2-40B4-BE49-F238E27FC236}">
                    <a16:creationId xmlns:a16="http://schemas.microsoft.com/office/drawing/2014/main" id="{E7F49299-879F-4473-9A48-D63B753644D3}"/>
                  </a:ext>
                </a:extLst>
              </p:cNvPr>
              <p:cNvSpPr>
                <a:spLocks/>
              </p:cNvSpPr>
              <p:nvPr/>
            </p:nvSpPr>
            <p:spPr bwMode="auto">
              <a:xfrm>
                <a:off x="6851" y="3880"/>
                <a:ext cx="24" cy="29"/>
              </a:xfrm>
              <a:custGeom>
                <a:avLst/>
                <a:gdLst>
                  <a:gd name="T0" fmla="*/ 6 w 10"/>
                  <a:gd name="T1" fmla="*/ 0 h 12"/>
                  <a:gd name="T2" fmla="*/ 5 w 10"/>
                  <a:gd name="T3" fmla="*/ 0 h 12"/>
                  <a:gd name="T4" fmla="*/ 0 w 10"/>
                  <a:gd name="T5" fmla="*/ 12 h 12"/>
                  <a:gd name="T6" fmla="*/ 2 w 10"/>
                  <a:gd name="T7" fmla="*/ 12 h 12"/>
                  <a:gd name="T8" fmla="*/ 10 w 10"/>
                  <a:gd name="T9" fmla="*/ 8 h 12"/>
                  <a:gd name="T10" fmla="*/ 6 w 10"/>
                  <a:gd name="T11" fmla="*/ 0 h 12"/>
                </a:gdLst>
                <a:ahLst/>
                <a:cxnLst>
                  <a:cxn ang="0">
                    <a:pos x="T0" y="T1"/>
                  </a:cxn>
                  <a:cxn ang="0">
                    <a:pos x="T2" y="T3"/>
                  </a:cxn>
                  <a:cxn ang="0">
                    <a:pos x="T4" y="T5"/>
                  </a:cxn>
                  <a:cxn ang="0">
                    <a:pos x="T6" y="T7"/>
                  </a:cxn>
                  <a:cxn ang="0">
                    <a:pos x="T8" y="T9"/>
                  </a:cxn>
                  <a:cxn ang="0">
                    <a:pos x="T10" y="T11"/>
                  </a:cxn>
                </a:cxnLst>
                <a:rect l="0" t="0" r="r" b="b"/>
                <a:pathLst>
                  <a:path w="10" h="12">
                    <a:moveTo>
                      <a:pt x="6" y="0"/>
                    </a:moveTo>
                    <a:cubicBezTo>
                      <a:pt x="6" y="0"/>
                      <a:pt x="5" y="0"/>
                      <a:pt x="5" y="0"/>
                    </a:cubicBezTo>
                    <a:cubicBezTo>
                      <a:pt x="2" y="2"/>
                      <a:pt x="1" y="9"/>
                      <a:pt x="0" y="12"/>
                    </a:cubicBezTo>
                    <a:cubicBezTo>
                      <a:pt x="1" y="12"/>
                      <a:pt x="2" y="12"/>
                      <a:pt x="2" y="12"/>
                    </a:cubicBezTo>
                    <a:cubicBezTo>
                      <a:pt x="6" y="12"/>
                      <a:pt x="9" y="12"/>
                      <a:pt x="10" y="8"/>
                    </a:cubicBezTo>
                    <a:cubicBezTo>
                      <a:pt x="10" y="6"/>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7" name="Freeform 146">
                <a:extLst>
                  <a:ext uri="{FF2B5EF4-FFF2-40B4-BE49-F238E27FC236}">
                    <a16:creationId xmlns:a16="http://schemas.microsoft.com/office/drawing/2014/main" id="{42403043-483D-4B86-A81C-1DF16A9BB625}"/>
                  </a:ext>
                </a:extLst>
              </p:cNvPr>
              <p:cNvSpPr>
                <a:spLocks/>
              </p:cNvSpPr>
              <p:nvPr/>
            </p:nvSpPr>
            <p:spPr bwMode="auto">
              <a:xfrm>
                <a:off x="6726" y="3932"/>
                <a:ext cx="40" cy="29"/>
              </a:xfrm>
              <a:custGeom>
                <a:avLst/>
                <a:gdLst>
                  <a:gd name="T0" fmla="*/ 10 w 17"/>
                  <a:gd name="T1" fmla="*/ 0 h 12"/>
                  <a:gd name="T2" fmla="*/ 10 w 17"/>
                  <a:gd name="T3" fmla="*/ 0 h 12"/>
                  <a:gd name="T4" fmla="*/ 11 w 17"/>
                  <a:gd name="T5" fmla="*/ 12 h 12"/>
                  <a:gd name="T6" fmla="*/ 12 w 17"/>
                  <a:gd name="T7" fmla="*/ 12 h 12"/>
                  <a:gd name="T8" fmla="*/ 16 w 17"/>
                  <a:gd name="T9" fmla="*/ 6 h 12"/>
                  <a:gd name="T10" fmla="*/ 10 w 17"/>
                  <a:gd name="T11" fmla="*/ 0 h 12"/>
                </a:gdLst>
                <a:ahLst/>
                <a:cxnLst>
                  <a:cxn ang="0">
                    <a:pos x="T0" y="T1"/>
                  </a:cxn>
                  <a:cxn ang="0">
                    <a:pos x="T2" y="T3"/>
                  </a:cxn>
                  <a:cxn ang="0">
                    <a:pos x="T4" y="T5"/>
                  </a:cxn>
                  <a:cxn ang="0">
                    <a:pos x="T6" y="T7"/>
                  </a:cxn>
                  <a:cxn ang="0">
                    <a:pos x="T8" y="T9"/>
                  </a:cxn>
                  <a:cxn ang="0">
                    <a:pos x="T10" y="T11"/>
                  </a:cxn>
                </a:cxnLst>
                <a:rect l="0" t="0" r="r" b="b"/>
                <a:pathLst>
                  <a:path w="17" h="12">
                    <a:moveTo>
                      <a:pt x="10" y="0"/>
                    </a:moveTo>
                    <a:cubicBezTo>
                      <a:pt x="10" y="0"/>
                      <a:pt x="10" y="0"/>
                      <a:pt x="10" y="0"/>
                    </a:cubicBezTo>
                    <a:cubicBezTo>
                      <a:pt x="0" y="0"/>
                      <a:pt x="3" y="11"/>
                      <a:pt x="11" y="12"/>
                    </a:cubicBezTo>
                    <a:cubicBezTo>
                      <a:pt x="12" y="12"/>
                      <a:pt x="12" y="12"/>
                      <a:pt x="12" y="12"/>
                    </a:cubicBezTo>
                    <a:cubicBezTo>
                      <a:pt x="16" y="12"/>
                      <a:pt x="17" y="9"/>
                      <a:pt x="16" y="6"/>
                    </a:cubicBezTo>
                    <a:cubicBezTo>
                      <a:pt x="15" y="3"/>
                      <a:pt x="13"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8" name="Freeform 147">
                <a:extLst>
                  <a:ext uri="{FF2B5EF4-FFF2-40B4-BE49-F238E27FC236}">
                    <a16:creationId xmlns:a16="http://schemas.microsoft.com/office/drawing/2014/main" id="{DF697B92-7E2B-45B1-AF7E-C022713E6511}"/>
                  </a:ext>
                </a:extLst>
              </p:cNvPr>
              <p:cNvSpPr>
                <a:spLocks/>
              </p:cNvSpPr>
              <p:nvPr/>
            </p:nvSpPr>
            <p:spPr bwMode="auto">
              <a:xfrm>
                <a:off x="5067" y="3755"/>
                <a:ext cx="2" cy="2"/>
              </a:xfrm>
              <a:custGeom>
                <a:avLst/>
                <a:gdLst>
                  <a:gd name="T0" fmla="*/ 0 w 2"/>
                  <a:gd name="T1" fmla="*/ 0 h 2"/>
                  <a:gd name="T2" fmla="*/ 0 w 2"/>
                  <a:gd name="T3" fmla="*/ 0 h 2"/>
                  <a:gd name="T4" fmla="*/ 0 w 2"/>
                  <a:gd name="T5" fmla="*/ 0 h 2"/>
                  <a:gd name="T6" fmla="*/ 2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0"/>
                    </a:lnTo>
                    <a:lnTo>
                      <a:pt x="0" y="0"/>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9" name="Freeform 148">
                <a:extLst>
                  <a:ext uri="{FF2B5EF4-FFF2-40B4-BE49-F238E27FC236}">
                    <a16:creationId xmlns:a16="http://schemas.microsoft.com/office/drawing/2014/main" id="{8A4226A5-5939-4A25-83D6-029045F66D25}"/>
                  </a:ext>
                </a:extLst>
              </p:cNvPr>
              <p:cNvSpPr>
                <a:spLocks/>
              </p:cNvSpPr>
              <p:nvPr/>
            </p:nvSpPr>
            <p:spPr bwMode="auto">
              <a:xfrm>
                <a:off x="5067" y="3755"/>
                <a:ext cx="2" cy="2"/>
              </a:xfrm>
              <a:custGeom>
                <a:avLst/>
                <a:gdLst>
                  <a:gd name="T0" fmla="*/ 0 w 2"/>
                  <a:gd name="T1" fmla="*/ 0 h 2"/>
                  <a:gd name="T2" fmla="*/ 0 w 2"/>
                  <a:gd name="T3" fmla="*/ 0 h 2"/>
                  <a:gd name="T4" fmla="*/ 0 w 2"/>
                  <a:gd name="T5" fmla="*/ 0 h 2"/>
                  <a:gd name="T6" fmla="*/ 2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0"/>
                    </a:lnTo>
                    <a:lnTo>
                      <a:pt x="0" y="0"/>
                    </a:lnTo>
                    <a:lnTo>
                      <a:pt x="2"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0" name="Freeform 149">
                <a:extLst>
                  <a:ext uri="{FF2B5EF4-FFF2-40B4-BE49-F238E27FC236}">
                    <a16:creationId xmlns:a16="http://schemas.microsoft.com/office/drawing/2014/main" id="{45D20266-1AFF-417F-8828-6742F527EAB1}"/>
                  </a:ext>
                </a:extLst>
              </p:cNvPr>
              <p:cNvSpPr>
                <a:spLocks/>
              </p:cNvSpPr>
              <p:nvPr/>
            </p:nvSpPr>
            <p:spPr bwMode="auto">
              <a:xfrm>
                <a:off x="6483" y="1266"/>
                <a:ext cx="49" cy="92"/>
              </a:xfrm>
              <a:custGeom>
                <a:avLst/>
                <a:gdLst>
                  <a:gd name="T0" fmla="*/ 11 w 21"/>
                  <a:gd name="T1" fmla="*/ 0 h 39"/>
                  <a:gd name="T2" fmla="*/ 10 w 21"/>
                  <a:gd name="T3" fmla="*/ 1 h 39"/>
                  <a:gd name="T4" fmla="*/ 5 w 21"/>
                  <a:gd name="T5" fmla="*/ 8 h 39"/>
                  <a:gd name="T6" fmla="*/ 3 w 21"/>
                  <a:gd name="T7" fmla="*/ 16 h 39"/>
                  <a:gd name="T8" fmla="*/ 1 w 21"/>
                  <a:gd name="T9" fmla="*/ 26 h 39"/>
                  <a:gd name="T10" fmla="*/ 2 w 21"/>
                  <a:gd name="T11" fmla="*/ 33 h 39"/>
                  <a:gd name="T12" fmla="*/ 2 w 21"/>
                  <a:gd name="T13" fmla="*/ 33 h 39"/>
                  <a:gd name="T14" fmla="*/ 2 w 21"/>
                  <a:gd name="T15" fmla="*/ 35 h 39"/>
                  <a:gd name="T16" fmla="*/ 5 w 21"/>
                  <a:gd name="T17" fmla="*/ 39 h 39"/>
                  <a:gd name="T18" fmla="*/ 6 w 21"/>
                  <a:gd name="T19" fmla="*/ 39 h 39"/>
                  <a:gd name="T20" fmla="*/ 6 w 21"/>
                  <a:gd name="T21" fmla="*/ 39 h 39"/>
                  <a:gd name="T22" fmla="*/ 7 w 21"/>
                  <a:gd name="T23" fmla="*/ 39 h 39"/>
                  <a:gd name="T24" fmla="*/ 7 w 21"/>
                  <a:gd name="T25" fmla="*/ 39 h 39"/>
                  <a:gd name="T26" fmla="*/ 7 w 21"/>
                  <a:gd name="T27" fmla="*/ 39 h 39"/>
                  <a:gd name="T28" fmla="*/ 9 w 21"/>
                  <a:gd name="T29" fmla="*/ 39 h 39"/>
                  <a:gd name="T30" fmla="*/ 12 w 21"/>
                  <a:gd name="T31" fmla="*/ 38 h 39"/>
                  <a:gd name="T32" fmla="*/ 13 w 21"/>
                  <a:gd name="T33" fmla="*/ 38 h 39"/>
                  <a:gd name="T34" fmla="*/ 14 w 21"/>
                  <a:gd name="T35" fmla="*/ 39 h 39"/>
                  <a:gd name="T36" fmla="*/ 15 w 21"/>
                  <a:gd name="T37" fmla="*/ 39 h 39"/>
                  <a:gd name="T38" fmla="*/ 17 w 21"/>
                  <a:gd name="T39" fmla="*/ 38 h 39"/>
                  <a:gd name="T40" fmla="*/ 17 w 21"/>
                  <a:gd name="T41" fmla="*/ 36 h 39"/>
                  <a:gd name="T42" fmla="*/ 17 w 21"/>
                  <a:gd name="T43" fmla="*/ 36 h 39"/>
                  <a:gd name="T44" fmla="*/ 18 w 21"/>
                  <a:gd name="T45" fmla="*/ 33 h 39"/>
                  <a:gd name="T46" fmla="*/ 20 w 21"/>
                  <a:gd name="T47" fmla="*/ 22 h 39"/>
                  <a:gd name="T48" fmla="*/ 18 w 21"/>
                  <a:gd name="T49" fmla="*/ 15 h 39"/>
                  <a:gd name="T50" fmla="*/ 19 w 21"/>
                  <a:gd name="T51" fmla="*/ 5 h 39"/>
                  <a:gd name="T52" fmla="*/ 18 w 21"/>
                  <a:gd name="T53" fmla="*/ 5 h 39"/>
                  <a:gd name="T54" fmla="*/ 17 w 21"/>
                  <a:gd name="T55" fmla="*/ 5 h 39"/>
                  <a:gd name="T56" fmla="*/ 17 w 21"/>
                  <a:gd name="T57" fmla="*/ 5 h 39"/>
                  <a:gd name="T58" fmla="*/ 16 w 21"/>
                  <a:gd name="T59" fmla="*/ 5 h 39"/>
                  <a:gd name="T60" fmla="*/ 13 w 21"/>
                  <a:gd name="T61" fmla="*/ 1 h 39"/>
                  <a:gd name="T62" fmla="*/ 11 w 21"/>
                  <a:gd name="T6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 h="39">
                    <a:moveTo>
                      <a:pt x="11" y="0"/>
                    </a:moveTo>
                    <a:cubicBezTo>
                      <a:pt x="11" y="0"/>
                      <a:pt x="11" y="0"/>
                      <a:pt x="10" y="1"/>
                    </a:cubicBezTo>
                    <a:cubicBezTo>
                      <a:pt x="7" y="2"/>
                      <a:pt x="6" y="5"/>
                      <a:pt x="5" y="8"/>
                    </a:cubicBezTo>
                    <a:cubicBezTo>
                      <a:pt x="3" y="11"/>
                      <a:pt x="3" y="13"/>
                      <a:pt x="3" y="16"/>
                    </a:cubicBezTo>
                    <a:cubicBezTo>
                      <a:pt x="2" y="19"/>
                      <a:pt x="0" y="23"/>
                      <a:pt x="1" y="26"/>
                    </a:cubicBezTo>
                    <a:cubicBezTo>
                      <a:pt x="1" y="27"/>
                      <a:pt x="1" y="30"/>
                      <a:pt x="2" y="33"/>
                    </a:cubicBezTo>
                    <a:cubicBezTo>
                      <a:pt x="2" y="33"/>
                      <a:pt x="2" y="33"/>
                      <a:pt x="2" y="33"/>
                    </a:cubicBezTo>
                    <a:cubicBezTo>
                      <a:pt x="2" y="35"/>
                      <a:pt x="2" y="35"/>
                      <a:pt x="2" y="35"/>
                    </a:cubicBezTo>
                    <a:cubicBezTo>
                      <a:pt x="3" y="37"/>
                      <a:pt x="4" y="38"/>
                      <a:pt x="5" y="39"/>
                    </a:cubicBezTo>
                    <a:cubicBezTo>
                      <a:pt x="6" y="39"/>
                      <a:pt x="6" y="39"/>
                      <a:pt x="6" y="39"/>
                    </a:cubicBezTo>
                    <a:cubicBezTo>
                      <a:pt x="6" y="39"/>
                      <a:pt x="6" y="39"/>
                      <a:pt x="6" y="39"/>
                    </a:cubicBezTo>
                    <a:cubicBezTo>
                      <a:pt x="7" y="39"/>
                      <a:pt x="7" y="39"/>
                      <a:pt x="7" y="39"/>
                    </a:cubicBezTo>
                    <a:cubicBezTo>
                      <a:pt x="7" y="39"/>
                      <a:pt x="7" y="39"/>
                      <a:pt x="7" y="39"/>
                    </a:cubicBezTo>
                    <a:cubicBezTo>
                      <a:pt x="7" y="39"/>
                      <a:pt x="7" y="39"/>
                      <a:pt x="7" y="39"/>
                    </a:cubicBezTo>
                    <a:cubicBezTo>
                      <a:pt x="8" y="39"/>
                      <a:pt x="8" y="39"/>
                      <a:pt x="9" y="39"/>
                    </a:cubicBezTo>
                    <a:cubicBezTo>
                      <a:pt x="10" y="39"/>
                      <a:pt x="11" y="38"/>
                      <a:pt x="12" y="38"/>
                    </a:cubicBezTo>
                    <a:cubicBezTo>
                      <a:pt x="12" y="38"/>
                      <a:pt x="13" y="38"/>
                      <a:pt x="13" y="38"/>
                    </a:cubicBezTo>
                    <a:cubicBezTo>
                      <a:pt x="13" y="39"/>
                      <a:pt x="14" y="39"/>
                      <a:pt x="14" y="39"/>
                    </a:cubicBezTo>
                    <a:cubicBezTo>
                      <a:pt x="14" y="39"/>
                      <a:pt x="14" y="39"/>
                      <a:pt x="15" y="39"/>
                    </a:cubicBezTo>
                    <a:cubicBezTo>
                      <a:pt x="15" y="39"/>
                      <a:pt x="16" y="38"/>
                      <a:pt x="17" y="38"/>
                    </a:cubicBezTo>
                    <a:cubicBezTo>
                      <a:pt x="17" y="36"/>
                      <a:pt x="17" y="36"/>
                      <a:pt x="17" y="36"/>
                    </a:cubicBezTo>
                    <a:cubicBezTo>
                      <a:pt x="17" y="36"/>
                      <a:pt x="17" y="36"/>
                      <a:pt x="17" y="36"/>
                    </a:cubicBezTo>
                    <a:cubicBezTo>
                      <a:pt x="17" y="35"/>
                      <a:pt x="18" y="33"/>
                      <a:pt x="18" y="33"/>
                    </a:cubicBezTo>
                    <a:cubicBezTo>
                      <a:pt x="18" y="30"/>
                      <a:pt x="21" y="24"/>
                      <a:pt x="20" y="22"/>
                    </a:cubicBezTo>
                    <a:cubicBezTo>
                      <a:pt x="19" y="20"/>
                      <a:pt x="17" y="17"/>
                      <a:pt x="18" y="15"/>
                    </a:cubicBezTo>
                    <a:cubicBezTo>
                      <a:pt x="18" y="12"/>
                      <a:pt x="21" y="7"/>
                      <a:pt x="19" y="5"/>
                    </a:cubicBezTo>
                    <a:cubicBezTo>
                      <a:pt x="18" y="5"/>
                      <a:pt x="18" y="5"/>
                      <a:pt x="18" y="5"/>
                    </a:cubicBezTo>
                    <a:cubicBezTo>
                      <a:pt x="18" y="5"/>
                      <a:pt x="17" y="5"/>
                      <a:pt x="17" y="5"/>
                    </a:cubicBezTo>
                    <a:cubicBezTo>
                      <a:pt x="17" y="5"/>
                      <a:pt x="17" y="5"/>
                      <a:pt x="17" y="5"/>
                    </a:cubicBezTo>
                    <a:cubicBezTo>
                      <a:pt x="17" y="5"/>
                      <a:pt x="16" y="5"/>
                      <a:pt x="16" y="5"/>
                    </a:cubicBezTo>
                    <a:cubicBezTo>
                      <a:pt x="15" y="4"/>
                      <a:pt x="14" y="1"/>
                      <a:pt x="13" y="1"/>
                    </a:cubicBezTo>
                    <a:cubicBezTo>
                      <a:pt x="12" y="0"/>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1" name="Rectangle 150">
                <a:extLst>
                  <a:ext uri="{FF2B5EF4-FFF2-40B4-BE49-F238E27FC236}">
                    <a16:creationId xmlns:a16="http://schemas.microsoft.com/office/drawing/2014/main" id="{B1135181-A7E0-42A7-AC04-C743AB87B1BF}"/>
                  </a:ext>
                </a:extLst>
              </p:cNvPr>
              <p:cNvSpPr>
                <a:spLocks noChangeArrowheads="1"/>
              </p:cNvSpPr>
              <p:nvPr/>
            </p:nvSpPr>
            <p:spPr bwMode="auto">
              <a:xfrm>
                <a:off x="5911" y="333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2" name="Freeform 151">
                <a:extLst>
                  <a:ext uri="{FF2B5EF4-FFF2-40B4-BE49-F238E27FC236}">
                    <a16:creationId xmlns:a16="http://schemas.microsoft.com/office/drawing/2014/main" id="{889C2036-A478-4469-A17F-C8246819970F}"/>
                  </a:ext>
                </a:extLst>
              </p:cNvPr>
              <p:cNvSpPr>
                <a:spLocks/>
              </p:cNvSpPr>
              <p:nvPr/>
            </p:nvSpPr>
            <p:spPr bwMode="auto">
              <a:xfrm>
                <a:off x="5911" y="333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3" name="Freeform 152">
                <a:extLst>
                  <a:ext uri="{FF2B5EF4-FFF2-40B4-BE49-F238E27FC236}">
                    <a16:creationId xmlns:a16="http://schemas.microsoft.com/office/drawing/2014/main" id="{829EC65A-0A3E-4EBF-A35E-54FF8E7F12A2}"/>
                  </a:ext>
                </a:extLst>
              </p:cNvPr>
              <p:cNvSpPr>
                <a:spLocks noEditPoints="1"/>
              </p:cNvSpPr>
              <p:nvPr/>
            </p:nvSpPr>
            <p:spPr bwMode="auto">
              <a:xfrm>
                <a:off x="5542" y="3294"/>
                <a:ext cx="5" cy="0"/>
              </a:xfrm>
              <a:custGeom>
                <a:avLst/>
                <a:gdLst>
                  <a:gd name="T0" fmla="*/ 1 w 2"/>
                  <a:gd name="T1" fmla="*/ 2 w 2"/>
                  <a:gd name="T2" fmla="*/ 1 w 2"/>
                  <a:gd name="T3" fmla="*/ 0 w 2"/>
                  <a:gd name="T4" fmla="*/ 1 w 2"/>
                  <a:gd name="T5" fmla="*/ 0 w 2"/>
                </a:gdLst>
                <a:ahLst/>
                <a:cxnLst>
                  <a:cxn ang="0">
                    <a:pos x="T0" y="0"/>
                  </a:cxn>
                  <a:cxn ang="0">
                    <a:pos x="T1" y="0"/>
                  </a:cxn>
                  <a:cxn ang="0">
                    <a:pos x="T2" y="0"/>
                  </a:cxn>
                  <a:cxn ang="0">
                    <a:pos x="T3" y="0"/>
                  </a:cxn>
                  <a:cxn ang="0">
                    <a:pos x="T4" y="0"/>
                  </a:cxn>
                  <a:cxn ang="0">
                    <a:pos x="T5" y="0"/>
                  </a:cxn>
                </a:cxnLst>
                <a:rect l="0" t="0" r="r" b="b"/>
                <a:pathLst>
                  <a:path w="2">
                    <a:moveTo>
                      <a:pt x="1" y="0"/>
                    </a:moveTo>
                    <a:cubicBezTo>
                      <a:pt x="1" y="0"/>
                      <a:pt x="2" y="0"/>
                      <a:pt x="2" y="0"/>
                    </a:cubicBezTo>
                    <a:cubicBezTo>
                      <a:pt x="2" y="0"/>
                      <a:pt x="1" y="0"/>
                      <a:pt x="1" y="0"/>
                    </a:cubicBezTo>
                    <a:moveTo>
                      <a:pt x="0" y="0"/>
                    </a:moveTo>
                    <a:cubicBezTo>
                      <a:pt x="0" y="0"/>
                      <a:pt x="1" y="0"/>
                      <a:pt x="1" y="0"/>
                    </a:cubicBezTo>
                    <a:cubicBezTo>
                      <a:pt x="1"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4" name="Freeform 153">
                <a:extLst>
                  <a:ext uri="{FF2B5EF4-FFF2-40B4-BE49-F238E27FC236}">
                    <a16:creationId xmlns:a16="http://schemas.microsoft.com/office/drawing/2014/main" id="{9E512896-3DD7-41AB-A9A5-A44118A647DB}"/>
                  </a:ext>
                </a:extLst>
              </p:cNvPr>
              <p:cNvSpPr>
                <a:spLocks/>
              </p:cNvSpPr>
              <p:nvPr/>
            </p:nvSpPr>
            <p:spPr bwMode="auto">
              <a:xfrm>
                <a:off x="5284" y="2947"/>
                <a:ext cx="3" cy="2"/>
              </a:xfrm>
              <a:custGeom>
                <a:avLst/>
                <a:gdLst>
                  <a:gd name="T0" fmla="*/ 0 w 3"/>
                  <a:gd name="T1" fmla="*/ 0 h 2"/>
                  <a:gd name="T2" fmla="*/ 3 w 3"/>
                  <a:gd name="T3" fmla="*/ 2 h 2"/>
                  <a:gd name="T4" fmla="*/ 3 w 3"/>
                  <a:gd name="T5" fmla="*/ 2 h 2"/>
                  <a:gd name="T6" fmla="*/ 0 w 3"/>
                  <a:gd name="T7" fmla="*/ 0 h 2"/>
                </a:gdLst>
                <a:ahLst/>
                <a:cxnLst>
                  <a:cxn ang="0">
                    <a:pos x="T0" y="T1"/>
                  </a:cxn>
                  <a:cxn ang="0">
                    <a:pos x="T2" y="T3"/>
                  </a:cxn>
                  <a:cxn ang="0">
                    <a:pos x="T4" y="T5"/>
                  </a:cxn>
                  <a:cxn ang="0">
                    <a:pos x="T6" y="T7"/>
                  </a:cxn>
                </a:cxnLst>
                <a:rect l="0" t="0" r="r" b="b"/>
                <a:pathLst>
                  <a:path w="3" h="2">
                    <a:moveTo>
                      <a:pt x="0" y="0"/>
                    </a:moveTo>
                    <a:lnTo>
                      <a:pt x="3" y="2"/>
                    </a:lnTo>
                    <a:lnTo>
                      <a:pt x="3"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5" name="Freeform 154">
                <a:extLst>
                  <a:ext uri="{FF2B5EF4-FFF2-40B4-BE49-F238E27FC236}">
                    <a16:creationId xmlns:a16="http://schemas.microsoft.com/office/drawing/2014/main" id="{513E0441-5C51-44BA-8177-B6796454D17D}"/>
                  </a:ext>
                </a:extLst>
              </p:cNvPr>
              <p:cNvSpPr>
                <a:spLocks/>
              </p:cNvSpPr>
              <p:nvPr/>
            </p:nvSpPr>
            <p:spPr bwMode="auto">
              <a:xfrm>
                <a:off x="5284" y="2947"/>
                <a:ext cx="3" cy="2"/>
              </a:xfrm>
              <a:custGeom>
                <a:avLst/>
                <a:gdLst>
                  <a:gd name="T0" fmla="*/ 0 w 3"/>
                  <a:gd name="T1" fmla="*/ 0 h 2"/>
                  <a:gd name="T2" fmla="*/ 3 w 3"/>
                  <a:gd name="T3" fmla="*/ 2 h 2"/>
                  <a:gd name="T4" fmla="*/ 3 w 3"/>
                  <a:gd name="T5" fmla="*/ 2 h 2"/>
                  <a:gd name="T6" fmla="*/ 0 w 3"/>
                  <a:gd name="T7" fmla="*/ 0 h 2"/>
                </a:gdLst>
                <a:ahLst/>
                <a:cxnLst>
                  <a:cxn ang="0">
                    <a:pos x="T0" y="T1"/>
                  </a:cxn>
                  <a:cxn ang="0">
                    <a:pos x="T2" y="T3"/>
                  </a:cxn>
                  <a:cxn ang="0">
                    <a:pos x="T4" y="T5"/>
                  </a:cxn>
                  <a:cxn ang="0">
                    <a:pos x="T6" y="T7"/>
                  </a:cxn>
                </a:cxnLst>
                <a:rect l="0" t="0" r="r" b="b"/>
                <a:pathLst>
                  <a:path w="3" h="2">
                    <a:moveTo>
                      <a:pt x="0" y="0"/>
                    </a:moveTo>
                    <a:lnTo>
                      <a:pt x="3" y="2"/>
                    </a:lnTo>
                    <a:lnTo>
                      <a:pt x="3"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6" name="Rectangle 155">
                <a:extLst>
                  <a:ext uri="{FF2B5EF4-FFF2-40B4-BE49-F238E27FC236}">
                    <a16:creationId xmlns:a16="http://schemas.microsoft.com/office/drawing/2014/main" id="{6BFAB433-E1C5-4C0C-AE3E-034AD41BEDB4}"/>
                  </a:ext>
                </a:extLst>
              </p:cNvPr>
              <p:cNvSpPr>
                <a:spLocks noChangeArrowheads="1"/>
              </p:cNvSpPr>
              <p:nvPr/>
            </p:nvSpPr>
            <p:spPr bwMode="auto">
              <a:xfrm>
                <a:off x="5353" y="3627"/>
                <a:ext cx="1" cy="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7" name="Freeform 156">
                <a:extLst>
                  <a:ext uri="{FF2B5EF4-FFF2-40B4-BE49-F238E27FC236}">
                    <a16:creationId xmlns:a16="http://schemas.microsoft.com/office/drawing/2014/main" id="{DB669B6A-136D-4C62-8713-C9ABD44D5F34}"/>
                  </a:ext>
                </a:extLst>
              </p:cNvPr>
              <p:cNvSpPr>
                <a:spLocks/>
              </p:cNvSpPr>
              <p:nvPr/>
            </p:nvSpPr>
            <p:spPr bwMode="auto">
              <a:xfrm>
                <a:off x="5353" y="3627"/>
                <a:ext cx="0" cy="3"/>
              </a:xfrm>
              <a:custGeom>
                <a:avLst/>
                <a:gdLst>
                  <a:gd name="T0" fmla="*/ 0 h 3"/>
                  <a:gd name="T1" fmla="*/ 3 h 3"/>
                  <a:gd name="T2" fmla="*/ 3 h 3"/>
                  <a:gd name="T3" fmla="*/ 0 h 3"/>
                </a:gdLst>
                <a:ahLst/>
                <a:cxnLst>
                  <a:cxn ang="0">
                    <a:pos x="0" y="T0"/>
                  </a:cxn>
                  <a:cxn ang="0">
                    <a:pos x="0" y="T1"/>
                  </a:cxn>
                  <a:cxn ang="0">
                    <a:pos x="0" y="T2"/>
                  </a:cxn>
                  <a:cxn ang="0">
                    <a:pos x="0" y="T3"/>
                  </a:cxn>
                </a:cxnLst>
                <a:rect l="0" t="0" r="r" b="b"/>
                <a:pathLst>
                  <a:path h="3">
                    <a:moveTo>
                      <a:pt x="0" y="0"/>
                    </a:moveTo>
                    <a:lnTo>
                      <a:pt x="0" y="3"/>
                    </a:lnTo>
                    <a:lnTo>
                      <a:pt x="0"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8" name="Freeform 157">
                <a:extLst>
                  <a:ext uri="{FF2B5EF4-FFF2-40B4-BE49-F238E27FC236}">
                    <a16:creationId xmlns:a16="http://schemas.microsoft.com/office/drawing/2014/main" id="{D57EDCED-63AB-4ED2-8AB5-9A27910D94BB}"/>
                  </a:ext>
                </a:extLst>
              </p:cNvPr>
              <p:cNvSpPr>
                <a:spLocks noEditPoints="1"/>
              </p:cNvSpPr>
              <p:nvPr/>
            </p:nvSpPr>
            <p:spPr bwMode="auto">
              <a:xfrm>
                <a:off x="5613" y="3400"/>
                <a:ext cx="28" cy="3"/>
              </a:xfrm>
              <a:custGeom>
                <a:avLst/>
                <a:gdLst>
                  <a:gd name="T0" fmla="*/ 12 w 12"/>
                  <a:gd name="T1" fmla="*/ 1 h 1"/>
                  <a:gd name="T2" fmla="*/ 12 w 12"/>
                  <a:gd name="T3" fmla="*/ 1 h 1"/>
                  <a:gd name="T4" fmla="*/ 12 w 12"/>
                  <a:gd name="T5" fmla="*/ 1 h 1"/>
                  <a:gd name="T6" fmla="*/ 12 w 12"/>
                  <a:gd name="T7" fmla="*/ 1 h 1"/>
                  <a:gd name="T8" fmla="*/ 12 w 12"/>
                  <a:gd name="T9" fmla="*/ 1 h 1"/>
                  <a:gd name="T10" fmla="*/ 12 w 12"/>
                  <a:gd name="T11" fmla="*/ 1 h 1"/>
                  <a:gd name="T12" fmla="*/ 12 w 12"/>
                  <a:gd name="T13" fmla="*/ 1 h 1"/>
                  <a:gd name="T14" fmla="*/ 12 w 12"/>
                  <a:gd name="T15" fmla="*/ 1 h 1"/>
                  <a:gd name="T16" fmla="*/ 12 w 12"/>
                  <a:gd name="T17" fmla="*/ 1 h 1"/>
                  <a:gd name="T18" fmla="*/ 0 w 12"/>
                  <a:gd name="T19" fmla="*/ 0 h 1"/>
                  <a:gd name="T20" fmla="*/ 9 w 12"/>
                  <a:gd name="T21" fmla="*/ 1 h 1"/>
                  <a:gd name="T22" fmla="*/ 12 w 12"/>
                  <a:gd name="T23" fmla="*/ 1 h 1"/>
                  <a:gd name="T24" fmla="*/ 9 w 12"/>
                  <a:gd name="T25" fmla="*/ 1 h 1"/>
                  <a:gd name="T26" fmla="*/ 0 w 12"/>
                  <a:gd name="T2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
                    <a:moveTo>
                      <a:pt x="12" y="1"/>
                    </a:moveTo>
                    <a:cubicBezTo>
                      <a:pt x="12" y="1"/>
                      <a:pt x="12" y="1"/>
                      <a:pt x="12" y="1"/>
                    </a:cubicBezTo>
                    <a:cubicBezTo>
                      <a:pt x="12" y="1"/>
                      <a:pt x="12" y="1"/>
                      <a:pt x="12" y="1"/>
                    </a:cubicBezTo>
                    <a:moveTo>
                      <a:pt x="12" y="1"/>
                    </a:moveTo>
                    <a:cubicBezTo>
                      <a:pt x="12" y="1"/>
                      <a:pt x="12" y="1"/>
                      <a:pt x="12" y="1"/>
                    </a:cubicBezTo>
                    <a:cubicBezTo>
                      <a:pt x="12" y="1"/>
                      <a:pt x="12" y="1"/>
                      <a:pt x="12" y="1"/>
                    </a:cubicBezTo>
                    <a:moveTo>
                      <a:pt x="12" y="1"/>
                    </a:moveTo>
                    <a:cubicBezTo>
                      <a:pt x="12" y="1"/>
                      <a:pt x="12" y="1"/>
                      <a:pt x="12" y="1"/>
                    </a:cubicBezTo>
                    <a:cubicBezTo>
                      <a:pt x="12" y="1"/>
                      <a:pt x="12" y="1"/>
                      <a:pt x="12" y="1"/>
                    </a:cubicBezTo>
                    <a:moveTo>
                      <a:pt x="0" y="0"/>
                    </a:moveTo>
                    <a:cubicBezTo>
                      <a:pt x="3" y="0"/>
                      <a:pt x="7" y="1"/>
                      <a:pt x="9" y="1"/>
                    </a:cubicBezTo>
                    <a:cubicBezTo>
                      <a:pt x="10" y="1"/>
                      <a:pt x="11" y="1"/>
                      <a:pt x="12" y="1"/>
                    </a:cubicBezTo>
                    <a:cubicBezTo>
                      <a:pt x="11" y="1"/>
                      <a:pt x="10" y="1"/>
                      <a:pt x="9" y="1"/>
                    </a:cubicBezTo>
                    <a:cubicBezTo>
                      <a:pt x="7" y="1"/>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9" name="Freeform 158">
                <a:extLst>
                  <a:ext uri="{FF2B5EF4-FFF2-40B4-BE49-F238E27FC236}">
                    <a16:creationId xmlns:a16="http://schemas.microsoft.com/office/drawing/2014/main" id="{0AF38187-B6A7-4083-A050-124FFA2C6E36}"/>
                  </a:ext>
                </a:extLst>
              </p:cNvPr>
              <p:cNvSpPr>
                <a:spLocks/>
              </p:cNvSpPr>
              <p:nvPr/>
            </p:nvSpPr>
            <p:spPr bwMode="auto">
              <a:xfrm>
                <a:off x="5603" y="3398"/>
                <a:ext cx="10" cy="2"/>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cubicBezTo>
                      <a:pt x="0" y="0"/>
                      <a:pt x="0" y="0"/>
                      <a:pt x="0" y="0"/>
                    </a:cubicBezTo>
                    <a:cubicBezTo>
                      <a:pt x="1" y="1"/>
                      <a:pt x="2" y="1"/>
                      <a:pt x="4" y="1"/>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0" name="Freeform 159">
                <a:extLst>
                  <a:ext uri="{FF2B5EF4-FFF2-40B4-BE49-F238E27FC236}">
                    <a16:creationId xmlns:a16="http://schemas.microsoft.com/office/drawing/2014/main" id="{9369B58D-71E9-47CC-A027-DB8E27459301}"/>
                  </a:ext>
                </a:extLst>
              </p:cNvPr>
              <p:cNvSpPr>
                <a:spLocks noEditPoints="1"/>
              </p:cNvSpPr>
              <p:nvPr/>
            </p:nvSpPr>
            <p:spPr bwMode="auto">
              <a:xfrm>
                <a:off x="4772" y="4159"/>
                <a:ext cx="2" cy="26"/>
              </a:xfrm>
              <a:custGeom>
                <a:avLst/>
                <a:gdLst>
                  <a:gd name="T0" fmla="*/ 1 w 1"/>
                  <a:gd name="T1" fmla="*/ 7 h 11"/>
                  <a:gd name="T2" fmla="*/ 1 w 1"/>
                  <a:gd name="T3" fmla="*/ 11 h 11"/>
                  <a:gd name="T4" fmla="*/ 1 w 1"/>
                  <a:gd name="T5" fmla="*/ 7 h 11"/>
                  <a:gd name="T6" fmla="*/ 0 w 1"/>
                  <a:gd name="T7" fmla="*/ 0 h 11"/>
                  <a:gd name="T8" fmla="*/ 0 w 1"/>
                  <a:gd name="T9" fmla="*/ 0 h 11"/>
                  <a:gd name="T10" fmla="*/ 1 w 1"/>
                  <a:gd name="T11" fmla="*/ 7 h 11"/>
                  <a:gd name="T12" fmla="*/ 0 w 1"/>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 h="11">
                    <a:moveTo>
                      <a:pt x="1" y="7"/>
                    </a:moveTo>
                    <a:cubicBezTo>
                      <a:pt x="1" y="11"/>
                      <a:pt x="1" y="11"/>
                      <a:pt x="1" y="11"/>
                    </a:cubicBezTo>
                    <a:cubicBezTo>
                      <a:pt x="1" y="10"/>
                      <a:pt x="1" y="8"/>
                      <a:pt x="1" y="7"/>
                    </a:cubicBezTo>
                    <a:moveTo>
                      <a:pt x="0" y="0"/>
                    </a:moveTo>
                    <a:cubicBezTo>
                      <a:pt x="0" y="0"/>
                      <a:pt x="0" y="0"/>
                      <a:pt x="0" y="0"/>
                    </a:cubicBezTo>
                    <a:cubicBezTo>
                      <a:pt x="0" y="2"/>
                      <a:pt x="1" y="4"/>
                      <a:pt x="1" y="7"/>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1" name="Freeform 160">
                <a:extLst>
                  <a:ext uri="{FF2B5EF4-FFF2-40B4-BE49-F238E27FC236}">
                    <a16:creationId xmlns:a16="http://schemas.microsoft.com/office/drawing/2014/main" id="{25A4B892-9CAF-4303-A70C-901E9F17DAA6}"/>
                  </a:ext>
                </a:extLst>
              </p:cNvPr>
              <p:cNvSpPr>
                <a:spLocks/>
              </p:cNvSpPr>
              <p:nvPr/>
            </p:nvSpPr>
            <p:spPr bwMode="auto">
              <a:xfrm>
                <a:off x="5485" y="4284"/>
                <a:ext cx="7" cy="0"/>
              </a:xfrm>
              <a:custGeom>
                <a:avLst/>
                <a:gdLst>
                  <a:gd name="T0" fmla="*/ 3 w 3"/>
                  <a:gd name="T1" fmla="*/ 0 w 3"/>
                  <a:gd name="T2" fmla="*/ 3 w 3"/>
                </a:gdLst>
                <a:ahLst/>
                <a:cxnLst>
                  <a:cxn ang="0">
                    <a:pos x="T0" y="0"/>
                  </a:cxn>
                  <a:cxn ang="0">
                    <a:pos x="T1" y="0"/>
                  </a:cxn>
                  <a:cxn ang="0">
                    <a:pos x="T2" y="0"/>
                  </a:cxn>
                </a:cxnLst>
                <a:rect l="0" t="0" r="r" b="b"/>
                <a:pathLst>
                  <a:path w="3">
                    <a:moveTo>
                      <a:pt x="3" y="0"/>
                    </a:moveTo>
                    <a:cubicBezTo>
                      <a:pt x="2" y="0"/>
                      <a:pt x="1" y="0"/>
                      <a:pt x="0" y="0"/>
                    </a:cubicBezTo>
                    <a:cubicBezTo>
                      <a:pt x="1" y="0"/>
                      <a:pt x="2"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2" name="Rectangle 161">
                <a:extLst>
                  <a:ext uri="{FF2B5EF4-FFF2-40B4-BE49-F238E27FC236}">
                    <a16:creationId xmlns:a16="http://schemas.microsoft.com/office/drawing/2014/main" id="{7BEF8BE3-F1FA-448C-86B3-071C50A91708}"/>
                  </a:ext>
                </a:extLst>
              </p:cNvPr>
              <p:cNvSpPr>
                <a:spLocks noChangeArrowheads="1"/>
              </p:cNvSpPr>
              <p:nvPr/>
            </p:nvSpPr>
            <p:spPr bwMode="auto">
              <a:xfrm>
                <a:off x="4578" y="4386"/>
                <a:ext cx="1" cy="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3" name="Freeform 162">
                <a:extLst>
                  <a:ext uri="{FF2B5EF4-FFF2-40B4-BE49-F238E27FC236}">
                    <a16:creationId xmlns:a16="http://schemas.microsoft.com/office/drawing/2014/main" id="{8A531BE3-3710-4FBE-BCE4-136861EA23F3}"/>
                  </a:ext>
                </a:extLst>
              </p:cNvPr>
              <p:cNvSpPr>
                <a:spLocks/>
              </p:cNvSpPr>
              <p:nvPr/>
            </p:nvSpPr>
            <p:spPr bwMode="auto">
              <a:xfrm>
                <a:off x="4578" y="4386"/>
                <a:ext cx="0" cy="2"/>
              </a:xfrm>
              <a:custGeom>
                <a:avLst/>
                <a:gdLst>
                  <a:gd name="T0" fmla="*/ 0 h 2"/>
                  <a:gd name="T1" fmla="*/ 2 h 2"/>
                  <a:gd name="T2" fmla="*/ 2 h 2"/>
                  <a:gd name="T3" fmla="*/ 0 h 2"/>
                </a:gdLst>
                <a:ahLst/>
                <a:cxnLst>
                  <a:cxn ang="0">
                    <a:pos x="0" y="T0"/>
                  </a:cxn>
                  <a:cxn ang="0">
                    <a:pos x="0" y="T1"/>
                  </a:cxn>
                  <a:cxn ang="0">
                    <a:pos x="0" y="T2"/>
                  </a:cxn>
                  <a:cxn ang="0">
                    <a:pos x="0" y="T3"/>
                  </a:cxn>
                </a:cxnLst>
                <a:rect l="0" t="0" r="r" b="b"/>
                <a:pathLst>
                  <a:path h="2">
                    <a:moveTo>
                      <a:pt x="0" y="0"/>
                    </a:moveTo>
                    <a:lnTo>
                      <a:pt x="0" y="2"/>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4" name="Freeform 163">
                <a:extLst>
                  <a:ext uri="{FF2B5EF4-FFF2-40B4-BE49-F238E27FC236}">
                    <a16:creationId xmlns:a16="http://schemas.microsoft.com/office/drawing/2014/main" id="{B6FAD114-2548-4FC3-93AC-E2CBD9430B05}"/>
                  </a:ext>
                </a:extLst>
              </p:cNvPr>
              <p:cNvSpPr>
                <a:spLocks/>
              </p:cNvSpPr>
              <p:nvPr/>
            </p:nvSpPr>
            <p:spPr bwMode="auto">
              <a:xfrm>
                <a:off x="4578" y="4386"/>
                <a:ext cx="2"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5" name="Freeform 164">
                <a:extLst>
                  <a:ext uri="{FF2B5EF4-FFF2-40B4-BE49-F238E27FC236}">
                    <a16:creationId xmlns:a16="http://schemas.microsoft.com/office/drawing/2014/main" id="{43713C4D-0695-4C0F-9EC6-42B1D64E7B52}"/>
                  </a:ext>
                </a:extLst>
              </p:cNvPr>
              <p:cNvSpPr>
                <a:spLocks/>
              </p:cNvSpPr>
              <p:nvPr/>
            </p:nvSpPr>
            <p:spPr bwMode="auto">
              <a:xfrm>
                <a:off x="4578" y="4386"/>
                <a:ext cx="2"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6" name="Freeform 165">
                <a:extLst>
                  <a:ext uri="{FF2B5EF4-FFF2-40B4-BE49-F238E27FC236}">
                    <a16:creationId xmlns:a16="http://schemas.microsoft.com/office/drawing/2014/main" id="{0B499364-E74F-4E3D-AF46-81F0ECB9CA4F}"/>
                  </a:ext>
                </a:extLst>
              </p:cNvPr>
              <p:cNvSpPr>
                <a:spLocks/>
              </p:cNvSpPr>
              <p:nvPr/>
            </p:nvSpPr>
            <p:spPr bwMode="auto">
              <a:xfrm>
                <a:off x="4772" y="4159"/>
                <a:ext cx="4" cy="2"/>
              </a:xfrm>
              <a:custGeom>
                <a:avLst/>
                <a:gdLst>
                  <a:gd name="T0" fmla="*/ 0 w 2"/>
                  <a:gd name="T1" fmla="*/ 0 h 1"/>
                  <a:gd name="T2" fmla="*/ 0 w 2"/>
                  <a:gd name="T3" fmla="*/ 0 h 1"/>
                  <a:gd name="T4" fmla="*/ 1 w 2"/>
                  <a:gd name="T5" fmla="*/ 0 h 1"/>
                  <a:gd name="T6" fmla="*/ 2 w 2"/>
                  <a:gd name="T7" fmla="*/ 1 h 1"/>
                  <a:gd name="T8" fmla="*/ 0 w 2"/>
                  <a:gd name="T9" fmla="*/ 0 h 1"/>
                </a:gdLst>
                <a:ahLst/>
                <a:cxnLst>
                  <a:cxn ang="0">
                    <a:pos x="T0" y="T1"/>
                  </a:cxn>
                  <a:cxn ang="0">
                    <a:pos x="T2" y="T3"/>
                  </a:cxn>
                  <a:cxn ang="0">
                    <a:pos x="T4" y="T5"/>
                  </a:cxn>
                  <a:cxn ang="0">
                    <a:pos x="T6" y="T7"/>
                  </a:cxn>
                  <a:cxn ang="0">
                    <a:pos x="T8" y="T9"/>
                  </a:cxn>
                </a:cxnLst>
                <a:rect l="0" t="0" r="r" b="b"/>
                <a:pathLst>
                  <a:path w="2" h="1">
                    <a:moveTo>
                      <a:pt x="0" y="0"/>
                    </a:moveTo>
                    <a:cubicBezTo>
                      <a:pt x="0" y="0"/>
                      <a:pt x="0" y="0"/>
                      <a:pt x="0" y="0"/>
                    </a:cubicBezTo>
                    <a:cubicBezTo>
                      <a:pt x="1" y="0"/>
                      <a:pt x="1" y="0"/>
                      <a:pt x="1" y="0"/>
                    </a:cubicBezTo>
                    <a:cubicBezTo>
                      <a:pt x="1" y="0"/>
                      <a:pt x="2" y="1"/>
                      <a:pt x="2"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7" name="Rectangle 166">
                <a:extLst>
                  <a:ext uri="{FF2B5EF4-FFF2-40B4-BE49-F238E27FC236}">
                    <a16:creationId xmlns:a16="http://schemas.microsoft.com/office/drawing/2014/main" id="{6479C428-A673-4BCB-9AB1-AB54DFDCE46A}"/>
                  </a:ext>
                </a:extLst>
              </p:cNvPr>
              <p:cNvSpPr>
                <a:spLocks noChangeArrowheads="1"/>
              </p:cNvSpPr>
              <p:nvPr/>
            </p:nvSpPr>
            <p:spPr bwMode="auto">
              <a:xfrm>
                <a:off x="5358" y="2812"/>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8" name="Freeform 167">
                <a:extLst>
                  <a:ext uri="{FF2B5EF4-FFF2-40B4-BE49-F238E27FC236}">
                    <a16:creationId xmlns:a16="http://schemas.microsoft.com/office/drawing/2014/main" id="{3E6793FD-03A9-4483-9283-C8BFF2A1BC33}"/>
                  </a:ext>
                </a:extLst>
              </p:cNvPr>
              <p:cNvSpPr>
                <a:spLocks/>
              </p:cNvSpPr>
              <p:nvPr/>
            </p:nvSpPr>
            <p:spPr bwMode="auto">
              <a:xfrm>
                <a:off x="5358" y="2812"/>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9" name="Freeform 168">
                <a:extLst>
                  <a:ext uri="{FF2B5EF4-FFF2-40B4-BE49-F238E27FC236}">
                    <a16:creationId xmlns:a16="http://schemas.microsoft.com/office/drawing/2014/main" id="{1E1A48F1-B8FB-46A7-8598-73DB08287197}"/>
                  </a:ext>
                </a:extLst>
              </p:cNvPr>
              <p:cNvSpPr>
                <a:spLocks/>
              </p:cNvSpPr>
              <p:nvPr/>
            </p:nvSpPr>
            <p:spPr bwMode="auto">
              <a:xfrm>
                <a:off x="3131" y="271"/>
                <a:ext cx="175" cy="326"/>
              </a:xfrm>
              <a:custGeom>
                <a:avLst/>
                <a:gdLst>
                  <a:gd name="T0" fmla="*/ 29 w 74"/>
                  <a:gd name="T1" fmla="*/ 1 h 138"/>
                  <a:gd name="T2" fmla="*/ 17 w 74"/>
                  <a:gd name="T3" fmla="*/ 7 h 138"/>
                  <a:gd name="T4" fmla="*/ 17 w 74"/>
                  <a:gd name="T5" fmla="*/ 13 h 138"/>
                  <a:gd name="T6" fmla="*/ 21 w 74"/>
                  <a:gd name="T7" fmla="*/ 24 h 138"/>
                  <a:gd name="T8" fmla="*/ 21 w 74"/>
                  <a:gd name="T9" fmla="*/ 34 h 138"/>
                  <a:gd name="T10" fmla="*/ 16 w 74"/>
                  <a:gd name="T11" fmla="*/ 49 h 138"/>
                  <a:gd name="T12" fmla="*/ 8 w 74"/>
                  <a:gd name="T13" fmla="*/ 73 h 138"/>
                  <a:gd name="T14" fmla="*/ 3 w 74"/>
                  <a:gd name="T15" fmla="*/ 82 h 138"/>
                  <a:gd name="T16" fmla="*/ 2 w 74"/>
                  <a:gd name="T17" fmla="*/ 91 h 138"/>
                  <a:gd name="T18" fmla="*/ 7 w 74"/>
                  <a:gd name="T19" fmla="*/ 92 h 138"/>
                  <a:gd name="T20" fmla="*/ 13 w 74"/>
                  <a:gd name="T21" fmla="*/ 86 h 138"/>
                  <a:gd name="T22" fmla="*/ 13 w 74"/>
                  <a:gd name="T23" fmla="*/ 93 h 138"/>
                  <a:gd name="T24" fmla="*/ 8 w 74"/>
                  <a:gd name="T25" fmla="*/ 93 h 138"/>
                  <a:gd name="T26" fmla="*/ 8 w 74"/>
                  <a:gd name="T27" fmla="*/ 100 h 138"/>
                  <a:gd name="T28" fmla="*/ 18 w 74"/>
                  <a:gd name="T29" fmla="*/ 96 h 138"/>
                  <a:gd name="T30" fmla="*/ 19 w 74"/>
                  <a:gd name="T31" fmla="*/ 100 h 138"/>
                  <a:gd name="T32" fmla="*/ 17 w 74"/>
                  <a:gd name="T33" fmla="*/ 109 h 138"/>
                  <a:gd name="T34" fmla="*/ 13 w 74"/>
                  <a:gd name="T35" fmla="*/ 137 h 138"/>
                  <a:gd name="T36" fmla="*/ 23 w 74"/>
                  <a:gd name="T37" fmla="*/ 134 h 138"/>
                  <a:gd name="T38" fmla="*/ 34 w 74"/>
                  <a:gd name="T39" fmla="*/ 136 h 138"/>
                  <a:gd name="T40" fmla="*/ 37 w 74"/>
                  <a:gd name="T41" fmla="*/ 138 h 138"/>
                  <a:gd name="T42" fmla="*/ 48 w 74"/>
                  <a:gd name="T43" fmla="*/ 133 h 138"/>
                  <a:gd name="T44" fmla="*/ 47 w 74"/>
                  <a:gd name="T45" fmla="*/ 131 h 138"/>
                  <a:gd name="T46" fmla="*/ 46 w 74"/>
                  <a:gd name="T47" fmla="*/ 127 h 138"/>
                  <a:gd name="T48" fmla="*/ 47 w 74"/>
                  <a:gd name="T49" fmla="*/ 117 h 138"/>
                  <a:gd name="T50" fmla="*/ 55 w 74"/>
                  <a:gd name="T51" fmla="*/ 108 h 138"/>
                  <a:gd name="T52" fmla="*/ 55 w 74"/>
                  <a:gd name="T53" fmla="*/ 107 h 138"/>
                  <a:gd name="T54" fmla="*/ 53 w 74"/>
                  <a:gd name="T55" fmla="*/ 104 h 138"/>
                  <a:gd name="T56" fmla="*/ 50 w 74"/>
                  <a:gd name="T57" fmla="*/ 94 h 138"/>
                  <a:gd name="T58" fmla="*/ 49 w 74"/>
                  <a:gd name="T59" fmla="*/ 85 h 138"/>
                  <a:gd name="T60" fmla="*/ 54 w 74"/>
                  <a:gd name="T61" fmla="*/ 87 h 138"/>
                  <a:gd name="T62" fmla="*/ 55 w 74"/>
                  <a:gd name="T63" fmla="*/ 86 h 138"/>
                  <a:gd name="T64" fmla="*/ 57 w 74"/>
                  <a:gd name="T65" fmla="*/ 83 h 138"/>
                  <a:gd name="T66" fmla="*/ 52 w 74"/>
                  <a:gd name="T67" fmla="*/ 80 h 138"/>
                  <a:gd name="T68" fmla="*/ 51 w 74"/>
                  <a:gd name="T69" fmla="*/ 77 h 138"/>
                  <a:gd name="T70" fmla="*/ 49 w 74"/>
                  <a:gd name="T71" fmla="*/ 74 h 138"/>
                  <a:gd name="T72" fmla="*/ 49 w 74"/>
                  <a:gd name="T73" fmla="*/ 63 h 138"/>
                  <a:gd name="T74" fmla="*/ 57 w 74"/>
                  <a:gd name="T75" fmla="*/ 63 h 138"/>
                  <a:gd name="T76" fmla="*/ 59 w 74"/>
                  <a:gd name="T77" fmla="*/ 47 h 138"/>
                  <a:gd name="T78" fmla="*/ 61 w 74"/>
                  <a:gd name="T79" fmla="*/ 43 h 138"/>
                  <a:gd name="T80" fmla="*/ 61 w 74"/>
                  <a:gd name="T81" fmla="*/ 35 h 138"/>
                  <a:gd name="T82" fmla="*/ 62 w 74"/>
                  <a:gd name="T83" fmla="*/ 23 h 138"/>
                  <a:gd name="T84" fmla="*/ 67 w 74"/>
                  <a:gd name="T85" fmla="*/ 19 h 138"/>
                  <a:gd name="T86" fmla="*/ 71 w 74"/>
                  <a:gd name="T87" fmla="*/ 17 h 138"/>
                  <a:gd name="T88" fmla="*/ 73 w 74"/>
                  <a:gd name="T89" fmla="*/ 12 h 138"/>
                  <a:gd name="T90" fmla="*/ 67 w 74"/>
                  <a:gd name="T91" fmla="*/ 7 h 138"/>
                  <a:gd name="T92" fmla="*/ 68 w 74"/>
                  <a:gd name="T93" fmla="*/ 4 h 138"/>
                  <a:gd name="T94" fmla="*/ 68 w 74"/>
                  <a:gd name="T95" fmla="*/ 4 h 138"/>
                  <a:gd name="T96" fmla="*/ 66 w 74"/>
                  <a:gd name="T97" fmla="*/ 4 h 138"/>
                  <a:gd name="T98" fmla="*/ 61 w 74"/>
                  <a:gd name="T99" fmla="*/ 5 h 138"/>
                  <a:gd name="T100" fmla="*/ 59 w 74"/>
                  <a:gd name="T101" fmla="*/ 5 h 138"/>
                  <a:gd name="T102" fmla="*/ 54 w 74"/>
                  <a:gd name="T103" fmla="*/ 7 h 138"/>
                  <a:gd name="T104" fmla="*/ 51 w 74"/>
                  <a:gd name="T105" fmla="*/ 7 h 138"/>
                  <a:gd name="T106" fmla="*/ 45 w 74"/>
                  <a:gd name="T107" fmla="*/ 8 h 138"/>
                  <a:gd name="T108" fmla="*/ 41 w 74"/>
                  <a:gd name="T109" fmla="*/ 6 h 138"/>
                  <a:gd name="T110" fmla="*/ 39 w 74"/>
                  <a:gd name="T111" fmla="*/ 6 h 138"/>
                  <a:gd name="T112" fmla="*/ 34 w 74"/>
                  <a:gd name="T113" fmla="*/ 8 h 138"/>
                  <a:gd name="T114" fmla="*/ 33 w 74"/>
                  <a:gd name="T115" fmla="*/ 8 h 138"/>
                  <a:gd name="T116" fmla="*/ 33 w 74"/>
                  <a:gd name="T117" fmla="*/ 8 h 138"/>
                  <a:gd name="T118" fmla="*/ 28 w 74"/>
                  <a:gd name="T119" fmla="*/ 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 h="138">
                    <a:moveTo>
                      <a:pt x="29" y="0"/>
                    </a:moveTo>
                    <a:cubicBezTo>
                      <a:pt x="29" y="1"/>
                      <a:pt x="29" y="1"/>
                      <a:pt x="29" y="1"/>
                    </a:cubicBezTo>
                    <a:cubicBezTo>
                      <a:pt x="28" y="1"/>
                      <a:pt x="27" y="1"/>
                      <a:pt x="26" y="1"/>
                    </a:cubicBezTo>
                    <a:cubicBezTo>
                      <a:pt x="25" y="2"/>
                      <a:pt x="19" y="5"/>
                      <a:pt x="17" y="7"/>
                    </a:cubicBezTo>
                    <a:cubicBezTo>
                      <a:pt x="16" y="7"/>
                      <a:pt x="16" y="7"/>
                      <a:pt x="16" y="7"/>
                    </a:cubicBezTo>
                    <a:cubicBezTo>
                      <a:pt x="16" y="9"/>
                      <a:pt x="17" y="11"/>
                      <a:pt x="17" y="13"/>
                    </a:cubicBezTo>
                    <a:cubicBezTo>
                      <a:pt x="18" y="15"/>
                      <a:pt x="18" y="17"/>
                      <a:pt x="18" y="19"/>
                    </a:cubicBezTo>
                    <a:cubicBezTo>
                      <a:pt x="19" y="21"/>
                      <a:pt x="20" y="23"/>
                      <a:pt x="21" y="24"/>
                    </a:cubicBezTo>
                    <a:cubicBezTo>
                      <a:pt x="22" y="28"/>
                      <a:pt x="18" y="34"/>
                      <a:pt x="19" y="37"/>
                    </a:cubicBezTo>
                    <a:cubicBezTo>
                      <a:pt x="20" y="36"/>
                      <a:pt x="20" y="35"/>
                      <a:pt x="21" y="34"/>
                    </a:cubicBezTo>
                    <a:cubicBezTo>
                      <a:pt x="23" y="36"/>
                      <a:pt x="19" y="38"/>
                      <a:pt x="18" y="40"/>
                    </a:cubicBezTo>
                    <a:cubicBezTo>
                      <a:pt x="17" y="42"/>
                      <a:pt x="16" y="46"/>
                      <a:pt x="16" y="49"/>
                    </a:cubicBezTo>
                    <a:cubicBezTo>
                      <a:pt x="15" y="56"/>
                      <a:pt x="12" y="62"/>
                      <a:pt x="10" y="69"/>
                    </a:cubicBezTo>
                    <a:cubicBezTo>
                      <a:pt x="10" y="70"/>
                      <a:pt x="8" y="73"/>
                      <a:pt x="8" y="73"/>
                    </a:cubicBezTo>
                    <a:cubicBezTo>
                      <a:pt x="6" y="73"/>
                      <a:pt x="5" y="74"/>
                      <a:pt x="4" y="76"/>
                    </a:cubicBezTo>
                    <a:cubicBezTo>
                      <a:pt x="4" y="78"/>
                      <a:pt x="4" y="80"/>
                      <a:pt x="3" y="82"/>
                    </a:cubicBezTo>
                    <a:cubicBezTo>
                      <a:pt x="2" y="83"/>
                      <a:pt x="3" y="85"/>
                      <a:pt x="3" y="86"/>
                    </a:cubicBezTo>
                    <a:cubicBezTo>
                      <a:pt x="2" y="88"/>
                      <a:pt x="0" y="90"/>
                      <a:pt x="2" y="91"/>
                    </a:cubicBezTo>
                    <a:cubicBezTo>
                      <a:pt x="3" y="92"/>
                      <a:pt x="4" y="93"/>
                      <a:pt x="5" y="93"/>
                    </a:cubicBezTo>
                    <a:cubicBezTo>
                      <a:pt x="6" y="93"/>
                      <a:pt x="7" y="92"/>
                      <a:pt x="7" y="92"/>
                    </a:cubicBezTo>
                    <a:cubicBezTo>
                      <a:pt x="10" y="90"/>
                      <a:pt x="9" y="90"/>
                      <a:pt x="11" y="88"/>
                    </a:cubicBezTo>
                    <a:cubicBezTo>
                      <a:pt x="12" y="87"/>
                      <a:pt x="12" y="86"/>
                      <a:pt x="13" y="86"/>
                    </a:cubicBezTo>
                    <a:cubicBezTo>
                      <a:pt x="14" y="88"/>
                      <a:pt x="15" y="91"/>
                      <a:pt x="12" y="91"/>
                    </a:cubicBezTo>
                    <a:cubicBezTo>
                      <a:pt x="12" y="92"/>
                      <a:pt x="13" y="92"/>
                      <a:pt x="13" y="93"/>
                    </a:cubicBezTo>
                    <a:cubicBezTo>
                      <a:pt x="12" y="93"/>
                      <a:pt x="11" y="93"/>
                      <a:pt x="11" y="95"/>
                    </a:cubicBezTo>
                    <a:cubicBezTo>
                      <a:pt x="10" y="93"/>
                      <a:pt x="9" y="93"/>
                      <a:pt x="8" y="93"/>
                    </a:cubicBezTo>
                    <a:cubicBezTo>
                      <a:pt x="7" y="93"/>
                      <a:pt x="7" y="93"/>
                      <a:pt x="6" y="93"/>
                    </a:cubicBezTo>
                    <a:cubicBezTo>
                      <a:pt x="8" y="96"/>
                      <a:pt x="7" y="97"/>
                      <a:pt x="8" y="100"/>
                    </a:cubicBezTo>
                    <a:cubicBezTo>
                      <a:pt x="9" y="99"/>
                      <a:pt x="12" y="99"/>
                      <a:pt x="14" y="98"/>
                    </a:cubicBezTo>
                    <a:cubicBezTo>
                      <a:pt x="16" y="97"/>
                      <a:pt x="17" y="96"/>
                      <a:pt x="18" y="96"/>
                    </a:cubicBezTo>
                    <a:cubicBezTo>
                      <a:pt x="19" y="96"/>
                      <a:pt x="20" y="97"/>
                      <a:pt x="21" y="100"/>
                    </a:cubicBezTo>
                    <a:cubicBezTo>
                      <a:pt x="20" y="100"/>
                      <a:pt x="19" y="100"/>
                      <a:pt x="19" y="100"/>
                    </a:cubicBezTo>
                    <a:cubicBezTo>
                      <a:pt x="17" y="100"/>
                      <a:pt x="17" y="100"/>
                      <a:pt x="15" y="98"/>
                    </a:cubicBezTo>
                    <a:cubicBezTo>
                      <a:pt x="15" y="101"/>
                      <a:pt x="18" y="106"/>
                      <a:pt x="17" y="109"/>
                    </a:cubicBezTo>
                    <a:cubicBezTo>
                      <a:pt x="16" y="112"/>
                      <a:pt x="17" y="117"/>
                      <a:pt x="17" y="121"/>
                    </a:cubicBezTo>
                    <a:cubicBezTo>
                      <a:pt x="17" y="127"/>
                      <a:pt x="15" y="132"/>
                      <a:pt x="13" y="137"/>
                    </a:cubicBezTo>
                    <a:cubicBezTo>
                      <a:pt x="16" y="137"/>
                      <a:pt x="18" y="136"/>
                      <a:pt x="21" y="135"/>
                    </a:cubicBezTo>
                    <a:cubicBezTo>
                      <a:pt x="22" y="135"/>
                      <a:pt x="22" y="134"/>
                      <a:pt x="23" y="134"/>
                    </a:cubicBezTo>
                    <a:cubicBezTo>
                      <a:pt x="25" y="134"/>
                      <a:pt x="27" y="136"/>
                      <a:pt x="29" y="136"/>
                    </a:cubicBezTo>
                    <a:cubicBezTo>
                      <a:pt x="30" y="136"/>
                      <a:pt x="32" y="136"/>
                      <a:pt x="34" y="136"/>
                    </a:cubicBezTo>
                    <a:cubicBezTo>
                      <a:pt x="35" y="137"/>
                      <a:pt x="36" y="138"/>
                      <a:pt x="37" y="138"/>
                    </a:cubicBezTo>
                    <a:cubicBezTo>
                      <a:pt x="37" y="138"/>
                      <a:pt x="37" y="138"/>
                      <a:pt x="37" y="138"/>
                    </a:cubicBezTo>
                    <a:cubicBezTo>
                      <a:pt x="41" y="138"/>
                      <a:pt x="43" y="137"/>
                      <a:pt x="46" y="135"/>
                    </a:cubicBezTo>
                    <a:cubicBezTo>
                      <a:pt x="47" y="134"/>
                      <a:pt x="48" y="134"/>
                      <a:pt x="48" y="133"/>
                    </a:cubicBezTo>
                    <a:cubicBezTo>
                      <a:pt x="46" y="133"/>
                      <a:pt x="46" y="133"/>
                      <a:pt x="46" y="133"/>
                    </a:cubicBezTo>
                    <a:cubicBezTo>
                      <a:pt x="47" y="131"/>
                      <a:pt x="47" y="131"/>
                      <a:pt x="47" y="131"/>
                    </a:cubicBezTo>
                    <a:cubicBezTo>
                      <a:pt x="46" y="130"/>
                      <a:pt x="46" y="130"/>
                      <a:pt x="46" y="130"/>
                    </a:cubicBezTo>
                    <a:cubicBezTo>
                      <a:pt x="46" y="129"/>
                      <a:pt x="46" y="127"/>
                      <a:pt x="46" y="127"/>
                    </a:cubicBezTo>
                    <a:cubicBezTo>
                      <a:pt x="44" y="123"/>
                      <a:pt x="46" y="119"/>
                      <a:pt x="47" y="117"/>
                    </a:cubicBezTo>
                    <a:cubicBezTo>
                      <a:pt x="47" y="117"/>
                      <a:pt x="47" y="117"/>
                      <a:pt x="47" y="117"/>
                    </a:cubicBezTo>
                    <a:cubicBezTo>
                      <a:pt x="48" y="115"/>
                      <a:pt x="50" y="110"/>
                      <a:pt x="53" y="109"/>
                    </a:cubicBezTo>
                    <a:cubicBezTo>
                      <a:pt x="53" y="108"/>
                      <a:pt x="54" y="108"/>
                      <a:pt x="55" y="108"/>
                    </a:cubicBezTo>
                    <a:cubicBezTo>
                      <a:pt x="55" y="108"/>
                      <a:pt x="55" y="108"/>
                      <a:pt x="55" y="108"/>
                    </a:cubicBezTo>
                    <a:cubicBezTo>
                      <a:pt x="55" y="107"/>
                      <a:pt x="55" y="107"/>
                      <a:pt x="55" y="107"/>
                    </a:cubicBezTo>
                    <a:cubicBezTo>
                      <a:pt x="54" y="107"/>
                      <a:pt x="54" y="106"/>
                      <a:pt x="53" y="106"/>
                    </a:cubicBezTo>
                    <a:cubicBezTo>
                      <a:pt x="53" y="105"/>
                      <a:pt x="53" y="105"/>
                      <a:pt x="53" y="104"/>
                    </a:cubicBezTo>
                    <a:cubicBezTo>
                      <a:pt x="51" y="102"/>
                      <a:pt x="49" y="99"/>
                      <a:pt x="50" y="96"/>
                    </a:cubicBezTo>
                    <a:cubicBezTo>
                      <a:pt x="50" y="94"/>
                      <a:pt x="50" y="94"/>
                      <a:pt x="50" y="94"/>
                    </a:cubicBezTo>
                    <a:cubicBezTo>
                      <a:pt x="51" y="92"/>
                      <a:pt x="52" y="90"/>
                      <a:pt x="53" y="88"/>
                    </a:cubicBezTo>
                    <a:cubicBezTo>
                      <a:pt x="49" y="85"/>
                      <a:pt x="49" y="85"/>
                      <a:pt x="49" y="85"/>
                    </a:cubicBezTo>
                    <a:cubicBezTo>
                      <a:pt x="54" y="87"/>
                      <a:pt x="54" y="87"/>
                      <a:pt x="54" y="87"/>
                    </a:cubicBezTo>
                    <a:cubicBezTo>
                      <a:pt x="54" y="87"/>
                      <a:pt x="54" y="87"/>
                      <a:pt x="54" y="87"/>
                    </a:cubicBezTo>
                    <a:cubicBezTo>
                      <a:pt x="55" y="86"/>
                      <a:pt x="55" y="86"/>
                      <a:pt x="55" y="86"/>
                    </a:cubicBezTo>
                    <a:cubicBezTo>
                      <a:pt x="55" y="86"/>
                      <a:pt x="55" y="86"/>
                      <a:pt x="55" y="86"/>
                    </a:cubicBezTo>
                    <a:cubicBezTo>
                      <a:pt x="56" y="85"/>
                      <a:pt x="57" y="84"/>
                      <a:pt x="57" y="83"/>
                    </a:cubicBezTo>
                    <a:cubicBezTo>
                      <a:pt x="57" y="83"/>
                      <a:pt x="57" y="83"/>
                      <a:pt x="57" y="83"/>
                    </a:cubicBezTo>
                    <a:cubicBezTo>
                      <a:pt x="56" y="83"/>
                      <a:pt x="56" y="83"/>
                      <a:pt x="56" y="83"/>
                    </a:cubicBezTo>
                    <a:cubicBezTo>
                      <a:pt x="55" y="82"/>
                      <a:pt x="53" y="82"/>
                      <a:pt x="52" y="80"/>
                    </a:cubicBezTo>
                    <a:cubicBezTo>
                      <a:pt x="52" y="80"/>
                      <a:pt x="52" y="80"/>
                      <a:pt x="52" y="80"/>
                    </a:cubicBezTo>
                    <a:cubicBezTo>
                      <a:pt x="51" y="79"/>
                      <a:pt x="51" y="78"/>
                      <a:pt x="51" y="77"/>
                    </a:cubicBezTo>
                    <a:cubicBezTo>
                      <a:pt x="51" y="77"/>
                      <a:pt x="51" y="77"/>
                      <a:pt x="51" y="77"/>
                    </a:cubicBezTo>
                    <a:cubicBezTo>
                      <a:pt x="50" y="76"/>
                      <a:pt x="49" y="75"/>
                      <a:pt x="49" y="74"/>
                    </a:cubicBezTo>
                    <a:cubicBezTo>
                      <a:pt x="42" y="62"/>
                      <a:pt x="42" y="62"/>
                      <a:pt x="42" y="62"/>
                    </a:cubicBezTo>
                    <a:cubicBezTo>
                      <a:pt x="49" y="63"/>
                      <a:pt x="49" y="63"/>
                      <a:pt x="49" y="63"/>
                    </a:cubicBezTo>
                    <a:cubicBezTo>
                      <a:pt x="52" y="63"/>
                      <a:pt x="54" y="63"/>
                      <a:pt x="56" y="63"/>
                    </a:cubicBezTo>
                    <a:cubicBezTo>
                      <a:pt x="56" y="63"/>
                      <a:pt x="57" y="63"/>
                      <a:pt x="57" y="63"/>
                    </a:cubicBezTo>
                    <a:cubicBezTo>
                      <a:pt x="58" y="62"/>
                      <a:pt x="59" y="56"/>
                      <a:pt x="58" y="51"/>
                    </a:cubicBezTo>
                    <a:cubicBezTo>
                      <a:pt x="58" y="50"/>
                      <a:pt x="58" y="48"/>
                      <a:pt x="59" y="47"/>
                    </a:cubicBezTo>
                    <a:cubicBezTo>
                      <a:pt x="60" y="46"/>
                      <a:pt x="60" y="46"/>
                      <a:pt x="60" y="46"/>
                    </a:cubicBezTo>
                    <a:cubicBezTo>
                      <a:pt x="60" y="45"/>
                      <a:pt x="61" y="44"/>
                      <a:pt x="61" y="43"/>
                    </a:cubicBezTo>
                    <a:cubicBezTo>
                      <a:pt x="61" y="41"/>
                      <a:pt x="61" y="41"/>
                      <a:pt x="61" y="41"/>
                    </a:cubicBezTo>
                    <a:cubicBezTo>
                      <a:pt x="61" y="39"/>
                      <a:pt x="61" y="36"/>
                      <a:pt x="61" y="35"/>
                    </a:cubicBezTo>
                    <a:cubicBezTo>
                      <a:pt x="61" y="34"/>
                      <a:pt x="60" y="34"/>
                      <a:pt x="60" y="33"/>
                    </a:cubicBezTo>
                    <a:cubicBezTo>
                      <a:pt x="59" y="30"/>
                      <a:pt x="58" y="27"/>
                      <a:pt x="62" y="23"/>
                    </a:cubicBezTo>
                    <a:cubicBezTo>
                      <a:pt x="63" y="22"/>
                      <a:pt x="63" y="22"/>
                      <a:pt x="63" y="22"/>
                    </a:cubicBezTo>
                    <a:cubicBezTo>
                      <a:pt x="64" y="21"/>
                      <a:pt x="66" y="20"/>
                      <a:pt x="67" y="19"/>
                    </a:cubicBezTo>
                    <a:cubicBezTo>
                      <a:pt x="68" y="19"/>
                      <a:pt x="69" y="18"/>
                      <a:pt x="70" y="18"/>
                    </a:cubicBezTo>
                    <a:cubicBezTo>
                      <a:pt x="71" y="17"/>
                      <a:pt x="71" y="17"/>
                      <a:pt x="71" y="17"/>
                    </a:cubicBezTo>
                    <a:cubicBezTo>
                      <a:pt x="73" y="15"/>
                      <a:pt x="74" y="15"/>
                      <a:pt x="74" y="13"/>
                    </a:cubicBezTo>
                    <a:cubicBezTo>
                      <a:pt x="74" y="13"/>
                      <a:pt x="73" y="13"/>
                      <a:pt x="73" y="12"/>
                    </a:cubicBezTo>
                    <a:cubicBezTo>
                      <a:pt x="72" y="12"/>
                      <a:pt x="72" y="12"/>
                      <a:pt x="72" y="12"/>
                    </a:cubicBezTo>
                    <a:cubicBezTo>
                      <a:pt x="70" y="11"/>
                      <a:pt x="67" y="10"/>
                      <a:pt x="67" y="7"/>
                    </a:cubicBezTo>
                    <a:cubicBezTo>
                      <a:pt x="68" y="6"/>
                      <a:pt x="68" y="6"/>
                      <a:pt x="68" y="6"/>
                    </a:cubicBezTo>
                    <a:cubicBezTo>
                      <a:pt x="68" y="6"/>
                      <a:pt x="68" y="5"/>
                      <a:pt x="68" y="4"/>
                    </a:cubicBezTo>
                    <a:cubicBezTo>
                      <a:pt x="68" y="4"/>
                      <a:pt x="68" y="4"/>
                      <a:pt x="68" y="4"/>
                    </a:cubicBezTo>
                    <a:cubicBezTo>
                      <a:pt x="68" y="4"/>
                      <a:pt x="68" y="4"/>
                      <a:pt x="68" y="4"/>
                    </a:cubicBezTo>
                    <a:cubicBezTo>
                      <a:pt x="67" y="4"/>
                      <a:pt x="67" y="4"/>
                      <a:pt x="66" y="4"/>
                    </a:cubicBezTo>
                    <a:cubicBezTo>
                      <a:pt x="66" y="4"/>
                      <a:pt x="66" y="4"/>
                      <a:pt x="66" y="4"/>
                    </a:cubicBezTo>
                    <a:cubicBezTo>
                      <a:pt x="65" y="4"/>
                      <a:pt x="64" y="5"/>
                      <a:pt x="63" y="5"/>
                    </a:cubicBezTo>
                    <a:cubicBezTo>
                      <a:pt x="62" y="5"/>
                      <a:pt x="62" y="5"/>
                      <a:pt x="61" y="5"/>
                    </a:cubicBezTo>
                    <a:cubicBezTo>
                      <a:pt x="61" y="5"/>
                      <a:pt x="60" y="5"/>
                      <a:pt x="59" y="4"/>
                    </a:cubicBezTo>
                    <a:cubicBezTo>
                      <a:pt x="59" y="5"/>
                      <a:pt x="59" y="5"/>
                      <a:pt x="59" y="5"/>
                    </a:cubicBezTo>
                    <a:cubicBezTo>
                      <a:pt x="58" y="5"/>
                      <a:pt x="56" y="6"/>
                      <a:pt x="55" y="6"/>
                    </a:cubicBezTo>
                    <a:cubicBezTo>
                      <a:pt x="55" y="6"/>
                      <a:pt x="54" y="7"/>
                      <a:pt x="54" y="7"/>
                    </a:cubicBezTo>
                    <a:cubicBezTo>
                      <a:pt x="53" y="7"/>
                      <a:pt x="52" y="7"/>
                      <a:pt x="52" y="7"/>
                    </a:cubicBezTo>
                    <a:cubicBezTo>
                      <a:pt x="51" y="7"/>
                      <a:pt x="51" y="7"/>
                      <a:pt x="51" y="7"/>
                    </a:cubicBezTo>
                    <a:cubicBezTo>
                      <a:pt x="49" y="7"/>
                      <a:pt x="48" y="8"/>
                      <a:pt x="46" y="8"/>
                    </a:cubicBezTo>
                    <a:cubicBezTo>
                      <a:pt x="46" y="8"/>
                      <a:pt x="45" y="8"/>
                      <a:pt x="45" y="8"/>
                    </a:cubicBezTo>
                    <a:cubicBezTo>
                      <a:pt x="44" y="8"/>
                      <a:pt x="42" y="7"/>
                      <a:pt x="41" y="7"/>
                    </a:cubicBezTo>
                    <a:cubicBezTo>
                      <a:pt x="41" y="6"/>
                      <a:pt x="41" y="6"/>
                      <a:pt x="41" y="6"/>
                    </a:cubicBezTo>
                    <a:cubicBezTo>
                      <a:pt x="40" y="6"/>
                      <a:pt x="40" y="6"/>
                      <a:pt x="40" y="6"/>
                    </a:cubicBezTo>
                    <a:cubicBezTo>
                      <a:pt x="39" y="6"/>
                      <a:pt x="39" y="6"/>
                      <a:pt x="39" y="6"/>
                    </a:cubicBezTo>
                    <a:cubicBezTo>
                      <a:pt x="38" y="7"/>
                      <a:pt x="36" y="8"/>
                      <a:pt x="34" y="8"/>
                    </a:cubicBezTo>
                    <a:cubicBezTo>
                      <a:pt x="34" y="8"/>
                      <a:pt x="34" y="8"/>
                      <a:pt x="34" y="8"/>
                    </a:cubicBezTo>
                    <a:cubicBezTo>
                      <a:pt x="34" y="8"/>
                      <a:pt x="34" y="8"/>
                      <a:pt x="34" y="8"/>
                    </a:cubicBezTo>
                    <a:cubicBezTo>
                      <a:pt x="34" y="8"/>
                      <a:pt x="34" y="8"/>
                      <a:pt x="33" y="8"/>
                    </a:cubicBezTo>
                    <a:cubicBezTo>
                      <a:pt x="33" y="8"/>
                      <a:pt x="33" y="8"/>
                      <a:pt x="33" y="8"/>
                    </a:cubicBezTo>
                    <a:cubicBezTo>
                      <a:pt x="33" y="8"/>
                      <a:pt x="33" y="8"/>
                      <a:pt x="33" y="8"/>
                    </a:cubicBezTo>
                    <a:cubicBezTo>
                      <a:pt x="31" y="8"/>
                      <a:pt x="30" y="7"/>
                      <a:pt x="29" y="7"/>
                    </a:cubicBezTo>
                    <a:cubicBezTo>
                      <a:pt x="29" y="6"/>
                      <a:pt x="28" y="5"/>
                      <a:pt x="28" y="3"/>
                    </a:cubicBezTo>
                    <a:cubicBezTo>
                      <a:pt x="28" y="2"/>
                      <a:pt x="29" y="1"/>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0" name="Freeform 169">
                <a:extLst>
                  <a:ext uri="{FF2B5EF4-FFF2-40B4-BE49-F238E27FC236}">
                    <a16:creationId xmlns:a16="http://schemas.microsoft.com/office/drawing/2014/main" id="{F98B0682-2D9A-4A49-A5F6-2BAFE5604F4B}"/>
                  </a:ext>
                </a:extLst>
              </p:cNvPr>
              <p:cNvSpPr>
                <a:spLocks/>
              </p:cNvSpPr>
              <p:nvPr/>
            </p:nvSpPr>
            <p:spPr bwMode="auto">
              <a:xfrm>
                <a:off x="3186" y="595"/>
                <a:ext cx="1132" cy="1080"/>
              </a:xfrm>
              <a:custGeom>
                <a:avLst/>
                <a:gdLst>
                  <a:gd name="T0" fmla="*/ 321 w 479"/>
                  <a:gd name="T1" fmla="*/ 8 h 457"/>
                  <a:gd name="T2" fmla="*/ 276 w 479"/>
                  <a:gd name="T3" fmla="*/ 8 h 457"/>
                  <a:gd name="T4" fmla="*/ 226 w 479"/>
                  <a:gd name="T5" fmla="*/ 17 h 457"/>
                  <a:gd name="T6" fmla="*/ 192 w 479"/>
                  <a:gd name="T7" fmla="*/ 31 h 457"/>
                  <a:gd name="T8" fmla="*/ 159 w 479"/>
                  <a:gd name="T9" fmla="*/ 50 h 457"/>
                  <a:gd name="T10" fmla="*/ 157 w 479"/>
                  <a:gd name="T11" fmla="*/ 56 h 457"/>
                  <a:gd name="T12" fmla="*/ 163 w 479"/>
                  <a:gd name="T13" fmla="*/ 62 h 457"/>
                  <a:gd name="T14" fmla="*/ 165 w 479"/>
                  <a:gd name="T15" fmla="*/ 77 h 457"/>
                  <a:gd name="T16" fmla="*/ 173 w 479"/>
                  <a:gd name="T17" fmla="*/ 113 h 457"/>
                  <a:gd name="T18" fmla="*/ 175 w 479"/>
                  <a:gd name="T19" fmla="*/ 128 h 457"/>
                  <a:gd name="T20" fmla="*/ 168 w 479"/>
                  <a:gd name="T21" fmla="*/ 135 h 457"/>
                  <a:gd name="T22" fmla="*/ 159 w 479"/>
                  <a:gd name="T23" fmla="*/ 134 h 457"/>
                  <a:gd name="T24" fmla="*/ 140 w 479"/>
                  <a:gd name="T25" fmla="*/ 134 h 457"/>
                  <a:gd name="T26" fmla="*/ 128 w 479"/>
                  <a:gd name="T27" fmla="*/ 143 h 457"/>
                  <a:gd name="T28" fmla="*/ 115 w 479"/>
                  <a:gd name="T29" fmla="*/ 145 h 457"/>
                  <a:gd name="T30" fmla="*/ 114 w 479"/>
                  <a:gd name="T31" fmla="*/ 146 h 457"/>
                  <a:gd name="T32" fmla="*/ 117 w 479"/>
                  <a:gd name="T33" fmla="*/ 154 h 457"/>
                  <a:gd name="T34" fmla="*/ 84 w 479"/>
                  <a:gd name="T35" fmla="*/ 181 h 457"/>
                  <a:gd name="T36" fmla="*/ 55 w 479"/>
                  <a:gd name="T37" fmla="*/ 194 h 457"/>
                  <a:gd name="T38" fmla="*/ 42 w 479"/>
                  <a:gd name="T39" fmla="*/ 200 h 457"/>
                  <a:gd name="T40" fmla="*/ 29 w 479"/>
                  <a:gd name="T41" fmla="*/ 203 h 457"/>
                  <a:gd name="T42" fmla="*/ 7 w 479"/>
                  <a:gd name="T43" fmla="*/ 216 h 457"/>
                  <a:gd name="T44" fmla="*/ 0 w 479"/>
                  <a:gd name="T45" fmla="*/ 254 h 457"/>
                  <a:gd name="T46" fmla="*/ 107 w 479"/>
                  <a:gd name="T47" fmla="*/ 323 h 457"/>
                  <a:gd name="T48" fmla="*/ 228 w 479"/>
                  <a:gd name="T49" fmla="*/ 406 h 457"/>
                  <a:gd name="T50" fmla="*/ 235 w 479"/>
                  <a:gd name="T51" fmla="*/ 418 h 457"/>
                  <a:gd name="T52" fmla="*/ 251 w 479"/>
                  <a:gd name="T53" fmla="*/ 428 h 457"/>
                  <a:gd name="T54" fmla="*/ 256 w 479"/>
                  <a:gd name="T55" fmla="*/ 428 h 457"/>
                  <a:gd name="T56" fmla="*/ 273 w 479"/>
                  <a:gd name="T57" fmla="*/ 436 h 457"/>
                  <a:gd name="T58" fmla="*/ 280 w 479"/>
                  <a:gd name="T59" fmla="*/ 444 h 457"/>
                  <a:gd name="T60" fmla="*/ 280 w 479"/>
                  <a:gd name="T61" fmla="*/ 453 h 457"/>
                  <a:gd name="T62" fmla="*/ 284 w 479"/>
                  <a:gd name="T63" fmla="*/ 457 h 457"/>
                  <a:gd name="T64" fmla="*/ 286 w 479"/>
                  <a:gd name="T65" fmla="*/ 457 h 457"/>
                  <a:gd name="T66" fmla="*/ 298 w 479"/>
                  <a:gd name="T67" fmla="*/ 455 h 457"/>
                  <a:gd name="T68" fmla="*/ 326 w 479"/>
                  <a:gd name="T69" fmla="*/ 450 h 457"/>
                  <a:gd name="T70" fmla="*/ 346 w 479"/>
                  <a:gd name="T71" fmla="*/ 439 h 457"/>
                  <a:gd name="T72" fmla="*/ 478 w 479"/>
                  <a:gd name="T73" fmla="*/ 347 h 457"/>
                  <a:gd name="T74" fmla="*/ 468 w 479"/>
                  <a:gd name="T75" fmla="*/ 332 h 457"/>
                  <a:gd name="T76" fmla="*/ 453 w 479"/>
                  <a:gd name="T77" fmla="*/ 327 h 457"/>
                  <a:gd name="T78" fmla="*/ 448 w 479"/>
                  <a:gd name="T79" fmla="*/ 329 h 457"/>
                  <a:gd name="T80" fmla="*/ 442 w 479"/>
                  <a:gd name="T81" fmla="*/ 326 h 457"/>
                  <a:gd name="T82" fmla="*/ 435 w 479"/>
                  <a:gd name="T83" fmla="*/ 317 h 457"/>
                  <a:gd name="T84" fmla="*/ 429 w 479"/>
                  <a:gd name="T85" fmla="*/ 298 h 457"/>
                  <a:gd name="T86" fmla="*/ 423 w 479"/>
                  <a:gd name="T87" fmla="*/ 278 h 457"/>
                  <a:gd name="T88" fmla="*/ 430 w 479"/>
                  <a:gd name="T89" fmla="*/ 272 h 457"/>
                  <a:gd name="T90" fmla="*/ 428 w 479"/>
                  <a:gd name="T91" fmla="*/ 259 h 457"/>
                  <a:gd name="T92" fmla="*/ 432 w 479"/>
                  <a:gd name="T93" fmla="*/ 240 h 457"/>
                  <a:gd name="T94" fmla="*/ 430 w 479"/>
                  <a:gd name="T95" fmla="*/ 216 h 457"/>
                  <a:gd name="T96" fmla="*/ 419 w 479"/>
                  <a:gd name="T97" fmla="*/ 181 h 457"/>
                  <a:gd name="T98" fmla="*/ 422 w 479"/>
                  <a:gd name="T99" fmla="*/ 179 h 457"/>
                  <a:gd name="T100" fmla="*/ 408 w 479"/>
                  <a:gd name="T101" fmla="*/ 132 h 457"/>
                  <a:gd name="T102" fmla="*/ 394 w 479"/>
                  <a:gd name="T103" fmla="*/ 116 h 457"/>
                  <a:gd name="T104" fmla="*/ 392 w 479"/>
                  <a:gd name="T105" fmla="*/ 110 h 457"/>
                  <a:gd name="T106" fmla="*/ 379 w 479"/>
                  <a:gd name="T107" fmla="*/ 75 h 457"/>
                  <a:gd name="T108" fmla="*/ 396 w 479"/>
                  <a:gd name="T109" fmla="*/ 46 h 457"/>
                  <a:gd name="T110" fmla="*/ 394 w 479"/>
                  <a:gd name="T111" fmla="*/ 27 h 457"/>
                  <a:gd name="T112" fmla="*/ 389 w 479"/>
                  <a:gd name="T113" fmla="*/ 4 h 457"/>
                  <a:gd name="T114" fmla="*/ 370 w 479"/>
                  <a:gd name="T115" fmla="*/ 1 h 457"/>
                  <a:gd name="T116" fmla="*/ 351 w 479"/>
                  <a:gd name="T117" fmla="*/ 0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9" h="457">
                    <a:moveTo>
                      <a:pt x="351" y="0"/>
                    </a:moveTo>
                    <a:cubicBezTo>
                      <a:pt x="350" y="0"/>
                      <a:pt x="349" y="1"/>
                      <a:pt x="348" y="3"/>
                    </a:cubicBezTo>
                    <a:cubicBezTo>
                      <a:pt x="342" y="6"/>
                      <a:pt x="336" y="8"/>
                      <a:pt x="329" y="11"/>
                    </a:cubicBezTo>
                    <a:cubicBezTo>
                      <a:pt x="329" y="11"/>
                      <a:pt x="329" y="11"/>
                      <a:pt x="329" y="11"/>
                    </a:cubicBezTo>
                    <a:cubicBezTo>
                      <a:pt x="327" y="11"/>
                      <a:pt x="322" y="9"/>
                      <a:pt x="321" y="8"/>
                    </a:cubicBezTo>
                    <a:cubicBezTo>
                      <a:pt x="317" y="7"/>
                      <a:pt x="313" y="6"/>
                      <a:pt x="310" y="5"/>
                    </a:cubicBezTo>
                    <a:cubicBezTo>
                      <a:pt x="308" y="4"/>
                      <a:pt x="306" y="4"/>
                      <a:pt x="304" y="4"/>
                    </a:cubicBezTo>
                    <a:cubicBezTo>
                      <a:pt x="300" y="4"/>
                      <a:pt x="296" y="4"/>
                      <a:pt x="293" y="5"/>
                    </a:cubicBezTo>
                    <a:cubicBezTo>
                      <a:pt x="289" y="6"/>
                      <a:pt x="284" y="8"/>
                      <a:pt x="279" y="8"/>
                    </a:cubicBezTo>
                    <a:cubicBezTo>
                      <a:pt x="276" y="8"/>
                      <a:pt x="276" y="8"/>
                      <a:pt x="276" y="8"/>
                    </a:cubicBezTo>
                    <a:cubicBezTo>
                      <a:pt x="271" y="7"/>
                      <a:pt x="271" y="7"/>
                      <a:pt x="271" y="7"/>
                    </a:cubicBezTo>
                    <a:cubicBezTo>
                      <a:pt x="267" y="9"/>
                      <a:pt x="267" y="9"/>
                      <a:pt x="267" y="9"/>
                    </a:cubicBezTo>
                    <a:cubicBezTo>
                      <a:pt x="265" y="11"/>
                      <a:pt x="262" y="12"/>
                      <a:pt x="260" y="13"/>
                    </a:cubicBezTo>
                    <a:cubicBezTo>
                      <a:pt x="256" y="13"/>
                      <a:pt x="252" y="13"/>
                      <a:pt x="248" y="13"/>
                    </a:cubicBezTo>
                    <a:cubicBezTo>
                      <a:pt x="240" y="14"/>
                      <a:pt x="234" y="16"/>
                      <a:pt x="226" y="17"/>
                    </a:cubicBezTo>
                    <a:cubicBezTo>
                      <a:pt x="220" y="19"/>
                      <a:pt x="214" y="21"/>
                      <a:pt x="208" y="25"/>
                    </a:cubicBezTo>
                    <a:cubicBezTo>
                      <a:pt x="205" y="27"/>
                      <a:pt x="203" y="30"/>
                      <a:pt x="200" y="33"/>
                    </a:cubicBezTo>
                    <a:cubicBezTo>
                      <a:pt x="199" y="33"/>
                      <a:pt x="199" y="34"/>
                      <a:pt x="198" y="34"/>
                    </a:cubicBezTo>
                    <a:cubicBezTo>
                      <a:pt x="197" y="34"/>
                      <a:pt x="195" y="32"/>
                      <a:pt x="193" y="31"/>
                    </a:cubicBezTo>
                    <a:cubicBezTo>
                      <a:pt x="193" y="31"/>
                      <a:pt x="192" y="31"/>
                      <a:pt x="192" y="31"/>
                    </a:cubicBezTo>
                    <a:cubicBezTo>
                      <a:pt x="191" y="31"/>
                      <a:pt x="191" y="32"/>
                      <a:pt x="190" y="32"/>
                    </a:cubicBezTo>
                    <a:cubicBezTo>
                      <a:pt x="188" y="33"/>
                      <a:pt x="186" y="34"/>
                      <a:pt x="184" y="34"/>
                    </a:cubicBezTo>
                    <a:cubicBezTo>
                      <a:pt x="181" y="35"/>
                      <a:pt x="177" y="37"/>
                      <a:pt x="175" y="38"/>
                    </a:cubicBezTo>
                    <a:cubicBezTo>
                      <a:pt x="173" y="41"/>
                      <a:pt x="172" y="45"/>
                      <a:pt x="169" y="47"/>
                    </a:cubicBezTo>
                    <a:cubicBezTo>
                      <a:pt x="167" y="48"/>
                      <a:pt x="162" y="49"/>
                      <a:pt x="159" y="50"/>
                    </a:cubicBezTo>
                    <a:cubicBezTo>
                      <a:pt x="157" y="51"/>
                      <a:pt x="155" y="51"/>
                      <a:pt x="153" y="52"/>
                    </a:cubicBezTo>
                    <a:cubicBezTo>
                      <a:pt x="153" y="52"/>
                      <a:pt x="153" y="52"/>
                      <a:pt x="153" y="52"/>
                    </a:cubicBezTo>
                    <a:cubicBezTo>
                      <a:pt x="154" y="53"/>
                      <a:pt x="154" y="53"/>
                      <a:pt x="154" y="53"/>
                    </a:cubicBezTo>
                    <a:cubicBezTo>
                      <a:pt x="154" y="53"/>
                      <a:pt x="155" y="54"/>
                      <a:pt x="156" y="55"/>
                    </a:cubicBezTo>
                    <a:cubicBezTo>
                      <a:pt x="157" y="56"/>
                      <a:pt x="157" y="56"/>
                      <a:pt x="157" y="56"/>
                    </a:cubicBezTo>
                    <a:cubicBezTo>
                      <a:pt x="157" y="56"/>
                      <a:pt x="158" y="57"/>
                      <a:pt x="158" y="57"/>
                    </a:cubicBezTo>
                    <a:cubicBezTo>
                      <a:pt x="159" y="58"/>
                      <a:pt x="159" y="58"/>
                      <a:pt x="159" y="58"/>
                    </a:cubicBezTo>
                    <a:cubicBezTo>
                      <a:pt x="161" y="59"/>
                      <a:pt x="162" y="59"/>
                      <a:pt x="163" y="61"/>
                    </a:cubicBezTo>
                    <a:cubicBezTo>
                      <a:pt x="163" y="61"/>
                      <a:pt x="163" y="61"/>
                      <a:pt x="163" y="61"/>
                    </a:cubicBezTo>
                    <a:cubicBezTo>
                      <a:pt x="163" y="62"/>
                      <a:pt x="163" y="62"/>
                      <a:pt x="163" y="62"/>
                    </a:cubicBezTo>
                    <a:cubicBezTo>
                      <a:pt x="163" y="63"/>
                      <a:pt x="162" y="64"/>
                      <a:pt x="162" y="65"/>
                    </a:cubicBezTo>
                    <a:cubicBezTo>
                      <a:pt x="162" y="65"/>
                      <a:pt x="163" y="66"/>
                      <a:pt x="163" y="66"/>
                    </a:cubicBezTo>
                    <a:cubicBezTo>
                      <a:pt x="165" y="68"/>
                      <a:pt x="164" y="71"/>
                      <a:pt x="163" y="72"/>
                    </a:cubicBezTo>
                    <a:cubicBezTo>
                      <a:pt x="163" y="72"/>
                      <a:pt x="163" y="72"/>
                      <a:pt x="163" y="72"/>
                    </a:cubicBezTo>
                    <a:cubicBezTo>
                      <a:pt x="165" y="77"/>
                      <a:pt x="165" y="77"/>
                      <a:pt x="165" y="77"/>
                    </a:cubicBezTo>
                    <a:cubicBezTo>
                      <a:pt x="166" y="80"/>
                      <a:pt x="165" y="84"/>
                      <a:pt x="164" y="87"/>
                    </a:cubicBezTo>
                    <a:cubicBezTo>
                      <a:pt x="164" y="87"/>
                      <a:pt x="164" y="87"/>
                      <a:pt x="164" y="87"/>
                    </a:cubicBezTo>
                    <a:cubicBezTo>
                      <a:pt x="164" y="88"/>
                      <a:pt x="164" y="88"/>
                      <a:pt x="164" y="89"/>
                    </a:cubicBezTo>
                    <a:cubicBezTo>
                      <a:pt x="164" y="90"/>
                      <a:pt x="164" y="90"/>
                      <a:pt x="164" y="90"/>
                    </a:cubicBezTo>
                    <a:cubicBezTo>
                      <a:pt x="173" y="113"/>
                      <a:pt x="173" y="113"/>
                      <a:pt x="173" y="113"/>
                    </a:cubicBezTo>
                    <a:cubicBezTo>
                      <a:pt x="173" y="114"/>
                      <a:pt x="174" y="115"/>
                      <a:pt x="175" y="115"/>
                    </a:cubicBezTo>
                    <a:cubicBezTo>
                      <a:pt x="176" y="117"/>
                      <a:pt x="176" y="117"/>
                      <a:pt x="176" y="117"/>
                    </a:cubicBezTo>
                    <a:cubicBezTo>
                      <a:pt x="178" y="117"/>
                      <a:pt x="179" y="118"/>
                      <a:pt x="179" y="121"/>
                    </a:cubicBezTo>
                    <a:cubicBezTo>
                      <a:pt x="179" y="124"/>
                      <a:pt x="177" y="126"/>
                      <a:pt x="177" y="126"/>
                    </a:cubicBezTo>
                    <a:cubicBezTo>
                      <a:pt x="175" y="128"/>
                      <a:pt x="175" y="128"/>
                      <a:pt x="175" y="128"/>
                    </a:cubicBezTo>
                    <a:cubicBezTo>
                      <a:pt x="176" y="129"/>
                      <a:pt x="177" y="130"/>
                      <a:pt x="176" y="131"/>
                    </a:cubicBezTo>
                    <a:cubicBezTo>
                      <a:pt x="176" y="132"/>
                      <a:pt x="176" y="133"/>
                      <a:pt x="175" y="134"/>
                    </a:cubicBezTo>
                    <a:cubicBezTo>
                      <a:pt x="174" y="135"/>
                      <a:pt x="173" y="135"/>
                      <a:pt x="171" y="135"/>
                    </a:cubicBezTo>
                    <a:cubicBezTo>
                      <a:pt x="171" y="135"/>
                      <a:pt x="171" y="135"/>
                      <a:pt x="170" y="135"/>
                    </a:cubicBezTo>
                    <a:cubicBezTo>
                      <a:pt x="170" y="135"/>
                      <a:pt x="169" y="135"/>
                      <a:pt x="168" y="135"/>
                    </a:cubicBezTo>
                    <a:cubicBezTo>
                      <a:pt x="167" y="135"/>
                      <a:pt x="165" y="135"/>
                      <a:pt x="163" y="134"/>
                    </a:cubicBezTo>
                    <a:cubicBezTo>
                      <a:pt x="163" y="133"/>
                      <a:pt x="163" y="133"/>
                      <a:pt x="163" y="133"/>
                    </a:cubicBezTo>
                    <a:cubicBezTo>
                      <a:pt x="163" y="133"/>
                      <a:pt x="163" y="133"/>
                      <a:pt x="163" y="133"/>
                    </a:cubicBezTo>
                    <a:cubicBezTo>
                      <a:pt x="163" y="134"/>
                      <a:pt x="163" y="134"/>
                      <a:pt x="163" y="134"/>
                    </a:cubicBezTo>
                    <a:cubicBezTo>
                      <a:pt x="161" y="134"/>
                      <a:pt x="160" y="134"/>
                      <a:pt x="159" y="134"/>
                    </a:cubicBezTo>
                    <a:cubicBezTo>
                      <a:pt x="156" y="134"/>
                      <a:pt x="154" y="134"/>
                      <a:pt x="152" y="133"/>
                    </a:cubicBezTo>
                    <a:cubicBezTo>
                      <a:pt x="150" y="133"/>
                      <a:pt x="150" y="133"/>
                      <a:pt x="150" y="133"/>
                    </a:cubicBezTo>
                    <a:cubicBezTo>
                      <a:pt x="149" y="133"/>
                      <a:pt x="148" y="133"/>
                      <a:pt x="147" y="133"/>
                    </a:cubicBezTo>
                    <a:cubicBezTo>
                      <a:pt x="145" y="133"/>
                      <a:pt x="144" y="133"/>
                      <a:pt x="142" y="134"/>
                    </a:cubicBezTo>
                    <a:cubicBezTo>
                      <a:pt x="142" y="134"/>
                      <a:pt x="141" y="134"/>
                      <a:pt x="140" y="134"/>
                    </a:cubicBezTo>
                    <a:cubicBezTo>
                      <a:pt x="140" y="134"/>
                      <a:pt x="140" y="134"/>
                      <a:pt x="140" y="134"/>
                    </a:cubicBezTo>
                    <a:cubicBezTo>
                      <a:pt x="139" y="134"/>
                      <a:pt x="138" y="134"/>
                      <a:pt x="137" y="135"/>
                    </a:cubicBezTo>
                    <a:cubicBezTo>
                      <a:pt x="136" y="135"/>
                      <a:pt x="135" y="136"/>
                      <a:pt x="134" y="137"/>
                    </a:cubicBezTo>
                    <a:cubicBezTo>
                      <a:pt x="133" y="139"/>
                      <a:pt x="132" y="141"/>
                      <a:pt x="129" y="142"/>
                    </a:cubicBezTo>
                    <a:cubicBezTo>
                      <a:pt x="129" y="142"/>
                      <a:pt x="128" y="143"/>
                      <a:pt x="128" y="143"/>
                    </a:cubicBezTo>
                    <a:cubicBezTo>
                      <a:pt x="126" y="143"/>
                      <a:pt x="126" y="143"/>
                      <a:pt x="126" y="143"/>
                    </a:cubicBezTo>
                    <a:cubicBezTo>
                      <a:pt x="124" y="144"/>
                      <a:pt x="122" y="145"/>
                      <a:pt x="119" y="146"/>
                    </a:cubicBezTo>
                    <a:cubicBezTo>
                      <a:pt x="119" y="146"/>
                      <a:pt x="119" y="146"/>
                      <a:pt x="119" y="146"/>
                    </a:cubicBezTo>
                    <a:cubicBezTo>
                      <a:pt x="118" y="146"/>
                      <a:pt x="118" y="146"/>
                      <a:pt x="118" y="145"/>
                    </a:cubicBezTo>
                    <a:cubicBezTo>
                      <a:pt x="117" y="145"/>
                      <a:pt x="116" y="145"/>
                      <a:pt x="115" y="145"/>
                    </a:cubicBezTo>
                    <a:cubicBezTo>
                      <a:pt x="114" y="145"/>
                      <a:pt x="114" y="145"/>
                      <a:pt x="114" y="145"/>
                    </a:cubicBezTo>
                    <a:cubicBezTo>
                      <a:pt x="114" y="145"/>
                      <a:pt x="114" y="145"/>
                      <a:pt x="114" y="145"/>
                    </a:cubicBezTo>
                    <a:cubicBezTo>
                      <a:pt x="114" y="145"/>
                      <a:pt x="114" y="145"/>
                      <a:pt x="114" y="145"/>
                    </a:cubicBezTo>
                    <a:cubicBezTo>
                      <a:pt x="114" y="146"/>
                      <a:pt x="114" y="146"/>
                      <a:pt x="114" y="146"/>
                    </a:cubicBezTo>
                    <a:cubicBezTo>
                      <a:pt x="114" y="146"/>
                      <a:pt x="114" y="146"/>
                      <a:pt x="114" y="146"/>
                    </a:cubicBezTo>
                    <a:cubicBezTo>
                      <a:pt x="114" y="147"/>
                      <a:pt x="114" y="147"/>
                      <a:pt x="114" y="147"/>
                    </a:cubicBezTo>
                    <a:cubicBezTo>
                      <a:pt x="115" y="147"/>
                      <a:pt x="116" y="148"/>
                      <a:pt x="116" y="148"/>
                    </a:cubicBezTo>
                    <a:cubicBezTo>
                      <a:pt x="116" y="149"/>
                      <a:pt x="117" y="150"/>
                      <a:pt x="116" y="152"/>
                    </a:cubicBezTo>
                    <a:cubicBezTo>
                      <a:pt x="115" y="152"/>
                      <a:pt x="115" y="153"/>
                      <a:pt x="115" y="153"/>
                    </a:cubicBezTo>
                    <a:cubicBezTo>
                      <a:pt x="116" y="153"/>
                      <a:pt x="116" y="154"/>
                      <a:pt x="117" y="154"/>
                    </a:cubicBezTo>
                    <a:cubicBezTo>
                      <a:pt x="117" y="155"/>
                      <a:pt x="119" y="156"/>
                      <a:pt x="119" y="158"/>
                    </a:cubicBezTo>
                    <a:cubicBezTo>
                      <a:pt x="121" y="163"/>
                      <a:pt x="116" y="165"/>
                      <a:pt x="114" y="165"/>
                    </a:cubicBezTo>
                    <a:cubicBezTo>
                      <a:pt x="113" y="166"/>
                      <a:pt x="113" y="166"/>
                      <a:pt x="112" y="166"/>
                    </a:cubicBezTo>
                    <a:cubicBezTo>
                      <a:pt x="88" y="177"/>
                      <a:pt x="88" y="177"/>
                      <a:pt x="88" y="177"/>
                    </a:cubicBezTo>
                    <a:cubicBezTo>
                      <a:pt x="86" y="178"/>
                      <a:pt x="85" y="179"/>
                      <a:pt x="84" y="181"/>
                    </a:cubicBezTo>
                    <a:cubicBezTo>
                      <a:pt x="83" y="182"/>
                      <a:pt x="83" y="183"/>
                      <a:pt x="82" y="184"/>
                    </a:cubicBezTo>
                    <a:cubicBezTo>
                      <a:pt x="80" y="185"/>
                      <a:pt x="80" y="185"/>
                      <a:pt x="80" y="185"/>
                    </a:cubicBezTo>
                    <a:cubicBezTo>
                      <a:pt x="79" y="186"/>
                      <a:pt x="78" y="187"/>
                      <a:pt x="77" y="188"/>
                    </a:cubicBezTo>
                    <a:cubicBezTo>
                      <a:pt x="76" y="189"/>
                      <a:pt x="74" y="190"/>
                      <a:pt x="73" y="191"/>
                    </a:cubicBezTo>
                    <a:cubicBezTo>
                      <a:pt x="69" y="192"/>
                      <a:pt x="61" y="194"/>
                      <a:pt x="55" y="194"/>
                    </a:cubicBezTo>
                    <a:cubicBezTo>
                      <a:pt x="53" y="194"/>
                      <a:pt x="52" y="194"/>
                      <a:pt x="51" y="194"/>
                    </a:cubicBezTo>
                    <a:cubicBezTo>
                      <a:pt x="50" y="196"/>
                      <a:pt x="49" y="199"/>
                      <a:pt x="46" y="200"/>
                    </a:cubicBezTo>
                    <a:cubicBezTo>
                      <a:pt x="45" y="200"/>
                      <a:pt x="45" y="200"/>
                      <a:pt x="45" y="200"/>
                    </a:cubicBezTo>
                    <a:cubicBezTo>
                      <a:pt x="44" y="200"/>
                      <a:pt x="44" y="200"/>
                      <a:pt x="44" y="200"/>
                    </a:cubicBezTo>
                    <a:cubicBezTo>
                      <a:pt x="43" y="200"/>
                      <a:pt x="42" y="200"/>
                      <a:pt x="42" y="200"/>
                    </a:cubicBezTo>
                    <a:cubicBezTo>
                      <a:pt x="42" y="200"/>
                      <a:pt x="41" y="199"/>
                      <a:pt x="41" y="199"/>
                    </a:cubicBezTo>
                    <a:cubicBezTo>
                      <a:pt x="41" y="199"/>
                      <a:pt x="41" y="199"/>
                      <a:pt x="41" y="199"/>
                    </a:cubicBezTo>
                    <a:cubicBezTo>
                      <a:pt x="39" y="200"/>
                      <a:pt x="38" y="200"/>
                      <a:pt x="36" y="201"/>
                    </a:cubicBezTo>
                    <a:cubicBezTo>
                      <a:pt x="33" y="201"/>
                      <a:pt x="33" y="201"/>
                      <a:pt x="33" y="201"/>
                    </a:cubicBezTo>
                    <a:cubicBezTo>
                      <a:pt x="32" y="202"/>
                      <a:pt x="30" y="202"/>
                      <a:pt x="29" y="203"/>
                    </a:cubicBezTo>
                    <a:cubicBezTo>
                      <a:pt x="27" y="203"/>
                      <a:pt x="25" y="204"/>
                      <a:pt x="23" y="205"/>
                    </a:cubicBezTo>
                    <a:cubicBezTo>
                      <a:pt x="22" y="205"/>
                      <a:pt x="21" y="206"/>
                      <a:pt x="21" y="206"/>
                    </a:cubicBezTo>
                    <a:cubicBezTo>
                      <a:pt x="18" y="209"/>
                      <a:pt x="15" y="211"/>
                      <a:pt x="12" y="212"/>
                    </a:cubicBezTo>
                    <a:cubicBezTo>
                      <a:pt x="9" y="215"/>
                      <a:pt x="9" y="215"/>
                      <a:pt x="9" y="215"/>
                    </a:cubicBezTo>
                    <a:cubicBezTo>
                      <a:pt x="8" y="215"/>
                      <a:pt x="8" y="215"/>
                      <a:pt x="7" y="216"/>
                    </a:cubicBezTo>
                    <a:cubicBezTo>
                      <a:pt x="5" y="218"/>
                      <a:pt x="5" y="218"/>
                      <a:pt x="5" y="218"/>
                    </a:cubicBezTo>
                    <a:cubicBezTo>
                      <a:pt x="3" y="218"/>
                      <a:pt x="2" y="219"/>
                      <a:pt x="1" y="220"/>
                    </a:cubicBezTo>
                    <a:cubicBezTo>
                      <a:pt x="1" y="220"/>
                      <a:pt x="0" y="221"/>
                      <a:pt x="0" y="221"/>
                    </a:cubicBezTo>
                    <a:cubicBezTo>
                      <a:pt x="0" y="242"/>
                      <a:pt x="0" y="242"/>
                      <a:pt x="0" y="242"/>
                    </a:cubicBezTo>
                    <a:cubicBezTo>
                      <a:pt x="0" y="254"/>
                      <a:pt x="0" y="254"/>
                      <a:pt x="0" y="254"/>
                    </a:cubicBezTo>
                    <a:cubicBezTo>
                      <a:pt x="33" y="274"/>
                      <a:pt x="61" y="293"/>
                      <a:pt x="88" y="310"/>
                    </a:cubicBezTo>
                    <a:cubicBezTo>
                      <a:pt x="88" y="310"/>
                      <a:pt x="88" y="310"/>
                      <a:pt x="88" y="310"/>
                    </a:cubicBezTo>
                    <a:cubicBezTo>
                      <a:pt x="104" y="316"/>
                      <a:pt x="104" y="316"/>
                      <a:pt x="104" y="316"/>
                    </a:cubicBezTo>
                    <a:cubicBezTo>
                      <a:pt x="96" y="316"/>
                      <a:pt x="96" y="316"/>
                      <a:pt x="96" y="316"/>
                    </a:cubicBezTo>
                    <a:cubicBezTo>
                      <a:pt x="107" y="323"/>
                      <a:pt x="107" y="323"/>
                      <a:pt x="107" y="323"/>
                    </a:cubicBezTo>
                    <a:cubicBezTo>
                      <a:pt x="106" y="323"/>
                      <a:pt x="106" y="323"/>
                      <a:pt x="106" y="323"/>
                    </a:cubicBezTo>
                    <a:cubicBezTo>
                      <a:pt x="113" y="327"/>
                      <a:pt x="120" y="332"/>
                      <a:pt x="127" y="336"/>
                    </a:cubicBezTo>
                    <a:cubicBezTo>
                      <a:pt x="138" y="344"/>
                      <a:pt x="149" y="352"/>
                      <a:pt x="160" y="359"/>
                    </a:cubicBezTo>
                    <a:cubicBezTo>
                      <a:pt x="174" y="370"/>
                      <a:pt x="190" y="381"/>
                      <a:pt x="206" y="391"/>
                    </a:cubicBezTo>
                    <a:cubicBezTo>
                      <a:pt x="228" y="406"/>
                      <a:pt x="228" y="406"/>
                      <a:pt x="228" y="406"/>
                    </a:cubicBezTo>
                    <a:cubicBezTo>
                      <a:pt x="230" y="407"/>
                      <a:pt x="231" y="409"/>
                      <a:pt x="232" y="411"/>
                    </a:cubicBezTo>
                    <a:cubicBezTo>
                      <a:pt x="232" y="413"/>
                      <a:pt x="232" y="414"/>
                      <a:pt x="232" y="415"/>
                    </a:cubicBezTo>
                    <a:cubicBezTo>
                      <a:pt x="232" y="416"/>
                      <a:pt x="232" y="416"/>
                      <a:pt x="232" y="417"/>
                    </a:cubicBezTo>
                    <a:cubicBezTo>
                      <a:pt x="232" y="417"/>
                      <a:pt x="233" y="417"/>
                      <a:pt x="234" y="417"/>
                    </a:cubicBezTo>
                    <a:cubicBezTo>
                      <a:pt x="235" y="418"/>
                      <a:pt x="235" y="418"/>
                      <a:pt x="235" y="418"/>
                    </a:cubicBezTo>
                    <a:cubicBezTo>
                      <a:pt x="236" y="418"/>
                      <a:pt x="236" y="418"/>
                      <a:pt x="237" y="418"/>
                    </a:cubicBezTo>
                    <a:cubicBezTo>
                      <a:pt x="240" y="420"/>
                      <a:pt x="241" y="421"/>
                      <a:pt x="242" y="423"/>
                    </a:cubicBezTo>
                    <a:cubicBezTo>
                      <a:pt x="243" y="425"/>
                      <a:pt x="243" y="425"/>
                      <a:pt x="243" y="425"/>
                    </a:cubicBezTo>
                    <a:cubicBezTo>
                      <a:pt x="243" y="426"/>
                      <a:pt x="246" y="427"/>
                      <a:pt x="250" y="428"/>
                    </a:cubicBezTo>
                    <a:cubicBezTo>
                      <a:pt x="251" y="428"/>
                      <a:pt x="251" y="428"/>
                      <a:pt x="251" y="428"/>
                    </a:cubicBezTo>
                    <a:cubicBezTo>
                      <a:pt x="252" y="428"/>
                      <a:pt x="252" y="428"/>
                      <a:pt x="253" y="428"/>
                    </a:cubicBezTo>
                    <a:cubicBezTo>
                      <a:pt x="253" y="428"/>
                      <a:pt x="253" y="428"/>
                      <a:pt x="253" y="428"/>
                    </a:cubicBezTo>
                    <a:cubicBezTo>
                      <a:pt x="254" y="428"/>
                      <a:pt x="254" y="428"/>
                      <a:pt x="254" y="428"/>
                    </a:cubicBezTo>
                    <a:cubicBezTo>
                      <a:pt x="254" y="428"/>
                      <a:pt x="255" y="428"/>
                      <a:pt x="256" y="428"/>
                    </a:cubicBezTo>
                    <a:cubicBezTo>
                      <a:pt x="256" y="428"/>
                      <a:pt x="256" y="428"/>
                      <a:pt x="256" y="428"/>
                    </a:cubicBezTo>
                    <a:cubicBezTo>
                      <a:pt x="258" y="430"/>
                      <a:pt x="258" y="430"/>
                      <a:pt x="258" y="430"/>
                    </a:cubicBezTo>
                    <a:cubicBezTo>
                      <a:pt x="261" y="431"/>
                      <a:pt x="264" y="433"/>
                      <a:pt x="267" y="434"/>
                    </a:cubicBezTo>
                    <a:cubicBezTo>
                      <a:pt x="268" y="434"/>
                      <a:pt x="268" y="434"/>
                      <a:pt x="268" y="434"/>
                    </a:cubicBezTo>
                    <a:cubicBezTo>
                      <a:pt x="269" y="435"/>
                      <a:pt x="269" y="435"/>
                      <a:pt x="269" y="435"/>
                    </a:cubicBezTo>
                    <a:cubicBezTo>
                      <a:pt x="271" y="435"/>
                      <a:pt x="272" y="435"/>
                      <a:pt x="273" y="436"/>
                    </a:cubicBezTo>
                    <a:cubicBezTo>
                      <a:pt x="274" y="436"/>
                      <a:pt x="274" y="436"/>
                      <a:pt x="274" y="436"/>
                    </a:cubicBezTo>
                    <a:cubicBezTo>
                      <a:pt x="275" y="437"/>
                      <a:pt x="276" y="437"/>
                      <a:pt x="276" y="437"/>
                    </a:cubicBezTo>
                    <a:cubicBezTo>
                      <a:pt x="278" y="438"/>
                      <a:pt x="278" y="438"/>
                      <a:pt x="278" y="438"/>
                    </a:cubicBezTo>
                    <a:cubicBezTo>
                      <a:pt x="279" y="440"/>
                      <a:pt x="280" y="441"/>
                      <a:pt x="280" y="443"/>
                    </a:cubicBezTo>
                    <a:cubicBezTo>
                      <a:pt x="280" y="443"/>
                      <a:pt x="280" y="444"/>
                      <a:pt x="280" y="444"/>
                    </a:cubicBezTo>
                    <a:cubicBezTo>
                      <a:pt x="280" y="445"/>
                      <a:pt x="280" y="445"/>
                      <a:pt x="280" y="446"/>
                    </a:cubicBezTo>
                    <a:cubicBezTo>
                      <a:pt x="280" y="447"/>
                      <a:pt x="280" y="447"/>
                      <a:pt x="280" y="447"/>
                    </a:cubicBezTo>
                    <a:cubicBezTo>
                      <a:pt x="280" y="448"/>
                      <a:pt x="280" y="448"/>
                      <a:pt x="280" y="448"/>
                    </a:cubicBezTo>
                    <a:cubicBezTo>
                      <a:pt x="280" y="449"/>
                      <a:pt x="280" y="449"/>
                      <a:pt x="280" y="449"/>
                    </a:cubicBezTo>
                    <a:cubicBezTo>
                      <a:pt x="281" y="451"/>
                      <a:pt x="281" y="452"/>
                      <a:pt x="280" y="453"/>
                    </a:cubicBezTo>
                    <a:cubicBezTo>
                      <a:pt x="280" y="454"/>
                      <a:pt x="280" y="454"/>
                      <a:pt x="280" y="454"/>
                    </a:cubicBezTo>
                    <a:cubicBezTo>
                      <a:pt x="279" y="455"/>
                      <a:pt x="279" y="455"/>
                      <a:pt x="279" y="455"/>
                    </a:cubicBezTo>
                    <a:cubicBezTo>
                      <a:pt x="279" y="456"/>
                      <a:pt x="278" y="456"/>
                      <a:pt x="278" y="457"/>
                    </a:cubicBezTo>
                    <a:cubicBezTo>
                      <a:pt x="279" y="457"/>
                      <a:pt x="280" y="457"/>
                      <a:pt x="281" y="457"/>
                    </a:cubicBezTo>
                    <a:cubicBezTo>
                      <a:pt x="282" y="457"/>
                      <a:pt x="283" y="457"/>
                      <a:pt x="284" y="457"/>
                    </a:cubicBezTo>
                    <a:cubicBezTo>
                      <a:pt x="284" y="457"/>
                      <a:pt x="284" y="457"/>
                      <a:pt x="284" y="457"/>
                    </a:cubicBezTo>
                    <a:cubicBezTo>
                      <a:pt x="284" y="457"/>
                      <a:pt x="284" y="457"/>
                      <a:pt x="285" y="457"/>
                    </a:cubicBezTo>
                    <a:cubicBezTo>
                      <a:pt x="285" y="457"/>
                      <a:pt x="285" y="457"/>
                      <a:pt x="285" y="457"/>
                    </a:cubicBezTo>
                    <a:cubicBezTo>
                      <a:pt x="285" y="457"/>
                      <a:pt x="285" y="457"/>
                      <a:pt x="285" y="457"/>
                    </a:cubicBezTo>
                    <a:cubicBezTo>
                      <a:pt x="286" y="457"/>
                      <a:pt x="286" y="457"/>
                      <a:pt x="286" y="457"/>
                    </a:cubicBezTo>
                    <a:cubicBezTo>
                      <a:pt x="287" y="457"/>
                      <a:pt x="287" y="457"/>
                      <a:pt x="287" y="457"/>
                    </a:cubicBezTo>
                    <a:cubicBezTo>
                      <a:pt x="288" y="457"/>
                      <a:pt x="289" y="457"/>
                      <a:pt x="290" y="457"/>
                    </a:cubicBezTo>
                    <a:cubicBezTo>
                      <a:pt x="290" y="457"/>
                      <a:pt x="290" y="457"/>
                      <a:pt x="291" y="457"/>
                    </a:cubicBezTo>
                    <a:cubicBezTo>
                      <a:pt x="297" y="455"/>
                      <a:pt x="297" y="455"/>
                      <a:pt x="297" y="455"/>
                    </a:cubicBezTo>
                    <a:cubicBezTo>
                      <a:pt x="298" y="455"/>
                      <a:pt x="298" y="455"/>
                      <a:pt x="298" y="455"/>
                    </a:cubicBezTo>
                    <a:cubicBezTo>
                      <a:pt x="298" y="455"/>
                      <a:pt x="298" y="455"/>
                      <a:pt x="298" y="455"/>
                    </a:cubicBezTo>
                    <a:cubicBezTo>
                      <a:pt x="299" y="455"/>
                      <a:pt x="299" y="455"/>
                      <a:pt x="299" y="455"/>
                    </a:cubicBezTo>
                    <a:cubicBezTo>
                      <a:pt x="301" y="455"/>
                      <a:pt x="301" y="455"/>
                      <a:pt x="301" y="455"/>
                    </a:cubicBezTo>
                    <a:cubicBezTo>
                      <a:pt x="322" y="450"/>
                      <a:pt x="322" y="450"/>
                      <a:pt x="322" y="450"/>
                    </a:cubicBezTo>
                    <a:cubicBezTo>
                      <a:pt x="323" y="450"/>
                      <a:pt x="324" y="450"/>
                      <a:pt x="326" y="450"/>
                    </a:cubicBezTo>
                    <a:cubicBezTo>
                      <a:pt x="327" y="450"/>
                      <a:pt x="327" y="450"/>
                      <a:pt x="327" y="450"/>
                    </a:cubicBezTo>
                    <a:cubicBezTo>
                      <a:pt x="330" y="449"/>
                      <a:pt x="335" y="449"/>
                      <a:pt x="337" y="447"/>
                    </a:cubicBezTo>
                    <a:cubicBezTo>
                      <a:pt x="338" y="447"/>
                      <a:pt x="338" y="446"/>
                      <a:pt x="339" y="446"/>
                    </a:cubicBezTo>
                    <a:cubicBezTo>
                      <a:pt x="340" y="445"/>
                      <a:pt x="340" y="445"/>
                      <a:pt x="340" y="445"/>
                    </a:cubicBezTo>
                    <a:cubicBezTo>
                      <a:pt x="342" y="443"/>
                      <a:pt x="344" y="441"/>
                      <a:pt x="346" y="439"/>
                    </a:cubicBezTo>
                    <a:cubicBezTo>
                      <a:pt x="359" y="428"/>
                      <a:pt x="359" y="428"/>
                      <a:pt x="359" y="428"/>
                    </a:cubicBezTo>
                    <a:cubicBezTo>
                      <a:pt x="362" y="425"/>
                      <a:pt x="365" y="422"/>
                      <a:pt x="368" y="420"/>
                    </a:cubicBezTo>
                    <a:cubicBezTo>
                      <a:pt x="374" y="415"/>
                      <a:pt x="379" y="411"/>
                      <a:pt x="384" y="408"/>
                    </a:cubicBezTo>
                    <a:cubicBezTo>
                      <a:pt x="479" y="349"/>
                      <a:pt x="479" y="349"/>
                      <a:pt x="479" y="349"/>
                    </a:cubicBezTo>
                    <a:cubicBezTo>
                      <a:pt x="479" y="348"/>
                      <a:pt x="478" y="348"/>
                      <a:pt x="478" y="347"/>
                    </a:cubicBezTo>
                    <a:cubicBezTo>
                      <a:pt x="477" y="346"/>
                      <a:pt x="477" y="346"/>
                      <a:pt x="477" y="346"/>
                    </a:cubicBezTo>
                    <a:cubicBezTo>
                      <a:pt x="477" y="345"/>
                      <a:pt x="476" y="344"/>
                      <a:pt x="476" y="343"/>
                    </a:cubicBezTo>
                    <a:cubicBezTo>
                      <a:pt x="475" y="341"/>
                      <a:pt x="474" y="339"/>
                      <a:pt x="473" y="338"/>
                    </a:cubicBezTo>
                    <a:cubicBezTo>
                      <a:pt x="473" y="337"/>
                      <a:pt x="473" y="336"/>
                      <a:pt x="472" y="336"/>
                    </a:cubicBezTo>
                    <a:cubicBezTo>
                      <a:pt x="471" y="334"/>
                      <a:pt x="470" y="332"/>
                      <a:pt x="468" y="332"/>
                    </a:cubicBezTo>
                    <a:cubicBezTo>
                      <a:pt x="463" y="330"/>
                      <a:pt x="463" y="330"/>
                      <a:pt x="463" y="330"/>
                    </a:cubicBezTo>
                    <a:cubicBezTo>
                      <a:pt x="461" y="330"/>
                      <a:pt x="459" y="329"/>
                      <a:pt x="456" y="328"/>
                    </a:cubicBezTo>
                    <a:cubicBezTo>
                      <a:pt x="455" y="328"/>
                      <a:pt x="454" y="327"/>
                      <a:pt x="454" y="327"/>
                    </a:cubicBezTo>
                    <a:cubicBezTo>
                      <a:pt x="453" y="327"/>
                      <a:pt x="453" y="327"/>
                      <a:pt x="453" y="327"/>
                    </a:cubicBezTo>
                    <a:cubicBezTo>
                      <a:pt x="453" y="327"/>
                      <a:pt x="453" y="327"/>
                      <a:pt x="453" y="327"/>
                    </a:cubicBezTo>
                    <a:cubicBezTo>
                      <a:pt x="453" y="327"/>
                      <a:pt x="452" y="328"/>
                      <a:pt x="450" y="328"/>
                    </a:cubicBezTo>
                    <a:cubicBezTo>
                      <a:pt x="450" y="328"/>
                      <a:pt x="450" y="328"/>
                      <a:pt x="450" y="328"/>
                    </a:cubicBezTo>
                    <a:cubicBezTo>
                      <a:pt x="449" y="328"/>
                      <a:pt x="449" y="328"/>
                      <a:pt x="449" y="328"/>
                    </a:cubicBezTo>
                    <a:cubicBezTo>
                      <a:pt x="449" y="334"/>
                      <a:pt x="449" y="334"/>
                      <a:pt x="449" y="334"/>
                    </a:cubicBezTo>
                    <a:cubicBezTo>
                      <a:pt x="448" y="329"/>
                      <a:pt x="448" y="329"/>
                      <a:pt x="448" y="329"/>
                    </a:cubicBezTo>
                    <a:cubicBezTo>
                      <a:pt x="447" y="329"/>
                      <a:pt x="447" y="329"/>
                      <a:pt x="447" y="329"/>
                    </a:cubicBezTo>
                    <a:cubicBezTo>
                      <a:pt x="446" y="329"/>
                      <a:pt x="446" y="328"/>
                      <a:pt x="445" y="328"/>
                    </a:cubicBezTo>
                    <a:cubicBezTo>
                      <a:pt x="445" y="328"/>
                      <a:pt x="445" y="328"/>
                      <a:pt x="445" y="328"/>
                    </a:cubicBezTo>
                    <a:cubicBezTo>
                      <a:pt x="444" y="328"/>
                      <a:pt x="443" y="327"/>
                      <a:pt x="442" y="326"/>
                    </a:cubicBezTo>
                    <a:cubicBezTo>
                      <a:pt x="442" y="326"/>
                      <a:pt x="442" y="326"/>
                      <a:pt x="442" y="326"/>
                    </a:cubicBezTo>
                    <a:cubicBezTo>
                      <a:pt x="441" y="325"/>
                      <a:pt x="441" y="325"/>
                      <a:pt x="441" y="325"/>
                    </a:cubicBezTo>
                    <a:cubicBezTo>
                      <a:pt x="439" y="323"/>
                      <a:pt x="438" y="322"/>
                      <a:pt x="437" y="320"/>
                    </a:cubicBezTo>
                    <a:cubicBezTo>
                      <a:pt x="436" y="319"/>
                      <a:pt x="436" y="319"/>
                      <a:pt x="436" y="318"/>
                    </a:cubicBezTo>
                    <a:cubicBezTo>
                      <a:pt x="436" y="318"/>
                      <a:pt x="435" y="317"/>
                      <a:pt x="435" y="317"/>
                    </a:cubicBezTo>
                    <a:cubicBezTo>
                      <a:pt x="435" y="317"/>
                      <a:pt x="435" y="317"/>
                      <a:pt x="435" y="317"/>
                    </a:cubicBezTo>
                    <a:cubicBezTo>
                      <a:pt x="435" y="316"/>
                      <a:pt x="435" y="316"/>
                      <a:pt x="435" y="316"/>
                    </a:cubicBezTo>
                    <a:cubicBezTo>
                      <a:pt x="434" y="314"/>
                      <a:pt x="434" y="312"/>
                      <a:pt x="434" y="310"/>
                    </a:cubicBezTo>
                    <a:cubicBezTo>
                      <a:pt x="433" y="307"/>
                      <a:pt x="433" y="304"/>
                      <a:pt x="431" y="301"/>
                    </a:cubicBezTo>
                    <a:cubicBezTo>
                      <a:pt x="431" y="301"/>
                      <a:pt x="430" y="300"/>
                      <a:pt x="430" y="299"/>
                    </a:cubicBezTo>
                    <a:cubicBezTo>
                      <a:pt x="429" y="298"/>
                      <a:pt x="429" y="298"/>
                      <a:pt x="429" y="298"/>
                    </a:cubicBezTo>
                    <a:cubicBezTo>
                      <a:pt x="429" y="298"/>
                      <a:pt x="428" y="297"/>
                      <a:pt x="428" y="297"/>
                    </a:cubicBezTo>
                    <a:cubicBezTo>
                      <a:pt x="428" y="296"/>
                      <a:pt x="428" y="296"/>
                      <a:pt x="428" y="296"/>
                    </a:cubicBezTo>
                    <a:cubicBezTo>
                      <a:pt x="427" y="296"/>
                      <a:pt x="427" y="295"/>
                      <a:pt x="426" y="294"/>
                    </a:cubicBezTo>
                    <a:cubicBezTo>
                      <a:pt x="423" y="291"/>
                      <a:pt x="420" y="287"/>
                      <a:pt x="420" y="285"/>
                    </a:cubicBezTo>
                    <a:cubicBezTo>
                      <a:pt x="419" y="283"/>
                      <a:pt x="421" y="280"/>
                      <a:pt x="423" y="278"/>
                    </a:cubicBezTo>
                    <a:cubicBezTo>
                      <a:pt x="424" y="277"/>
                      <a:pt x="425" y="276"/>
                      <a:pt x="426" y="275"/>
                    </a:cubicBezTo>
                    <a:cubicBezTo>
                      <a:pt x="427" y="274"/>
                      <a:pt x="428" y="274"/>
                      <a:pt x="429" y="274"/>
                    </a:cubicBezTo>
                    <a:cubicBezTo>
                      <a:pt x="429" y="274"/>
                      <a:pt x="429" y="274"/>
                      <a:pt x="429" y="274"/>
                    </a:cubicBezTo>
                    <a:cubicBezTo>
                      <a:pt x="430" y="273"/>
                      <a:pt x="430" y="273"/>
                      <a:pt x="430" y="273"/>
                    </a:cubicBezTo>
                    <a:cubicBezTo>
                      <a:pt x="430" y="273"/>
                      <a:pt x="430" y="272"/>
                      <a:pt x="430" y="272"/>
                    </a:cubicBezTo>
                    <a:cubicBezTo>
                      <a:pt x="430" y="271"/>
                      <a:pt x="430" y="271"/>
                      <a:pt x="430" y="271"/>
                    </a:cubicBezTo>
                    <a:cubicBezTo>
                      <a:pt x="430" y="269"/>
                      <a:pt x="430" y="266"/>
                      <a:pt x="429" y="264"/>
                    </a:cubicBezTo>
                    <a:cubicBezTo>
                      <a:pt x="429" y="262"/>
                      <a:pt x="429" y="262"/>
                      <a:pt x="429" y="262"/>
                    </a:cubicBezTo>
                    <a:cubicBezTo>
                      <a:pt x="429" y="261"/>
                      <a:pt x="429" y="261"/>
                      <a:pt x="429" y="260"/>
                    </a:cubicBezTo>
                    <a:cubicBezTo>
                      <a:pt x="428" y="259"/>
                      <a:pt x="428" y="259"/>
                      <a:pt x="428" y="259"/>
                    </a:cubicBezTo>
                    <a:cubicBezTo>
                      <a:pt x="428" y="258"/>
                      <a:pt x="428" y="257"/>
                      <a:pt x="428" y="256"/>
                    </a:cubicBezTo>
                    <a:cubicBezTo>
                      <a:pt x="427" y="253"/>
                      <a:pt x="428" y="251"/>
                      <a:pt x="429" y="249"/>
                    </a:cubicBezTo>
                    <a:cubicBezTo>
                      <a:pt x="430" y="248"/>
                      <a:pt x="430" y="248"/>
                      <a:pt x="430" y="247"/>
                    </a:cubicBezTo>
                    <a:cubicBezTo>
                      <a:pt x="430" y="247"/>
                      <a:pt x="431" y="246"/>
                      <a:pt x="431" y="245"/>
                    </a:cubicBezTo>
                    <a:cubicBezTo>
                      <a:pt x="432" y="243"/>
                      <a:pt x="432" y="242"/>
                      <a:pt x="432" y="240"/>
                    </a:cubicBezTo>
                    <a:cubicBezTo>
                      <a:pt x="431" y="237"/>
                      <a:pt x="431" y="237"/>
                      <a:pt x="431" y="237"/>
                    </a:cubicBezTo>
                    <a:cubicBezTo>
                      <a:pt x="430" y="235"/>
                      <a:pt x="430" y="233"/>
                      <a:pt x="430" y="232"/>
                    </a:cubicBezTo>
                    <a:cubicBezTo>
                      <a:pt x="429" y="228"/>
                      <a:pt x="429" y="224"/>
                      <a:pt x="430" y="220"/>
                    </a:cubicBezTo>
                    <a:cubicBezTo>
                      <a:pt x="430" y="220"/>
                      <a:pt x="430" y="220"/>
                      <a:pt x="430" y="220"/>
                    </a:cubicBezTo>
                    <a:cubicBezTo>
                      <a:pt x="430" y="218"/>
                      <a:pt x="430" y="217"/>
                      <a:pt x="430" y="216"/>
                    </a:cubicBezTo>
                    <a:cubicBezTo>
                      <a:pt x="430" y="209"/>
                      <a:pt x="429" y="204"/>
                      <a:pt x="427" y="199"/>
                    </a:cubicBezTo>
                    <a:cubicBezTo>
                      <a:pt x="426" y="198"/>
                      <a:pt x="426" y="197"/>
                      <a:pt x="425" y="196"/>
                    </a:cubicBezTo>
                    <a:cubicBezTo>
                      <a:pt x="422" y="191"/>
                      <a:pt x="419" y="187"/>
                      <a:pt x="418" y="184"/>
                    </a:cubicBezTo>
                    <a:cubicBezTo>
                      <a:pt x="418" y="184"/>
                      <a:pt x="418" y="183"/>
                      <a:pt x="418" y="183"/>
                    </a:cubicBezTo>
                    <a:cubicBezTo>
                      <a:pt x="418" y="182"/>
                      <a:pt x="418" y="182"/>
                      <a:pt x="419" y="181"/>
                    </a:cubicBezTo>
                    <a:cubicBezTo>
                      <a:pt x="419" y="180"/>
                      <a:pt x="419" y="180"/>
                      <a:pt x="419" y="180"/>
                    </a:cubicBezTo>
                    <a:cubicBezTo>
                      <a:pt x="421" y="179"/>
                      <a:pt x="421" y="179"/>
                      <a:pt x="421" y="179"/>
                    </a:cubicBezTo>
                    <a:cubicBezTo>
                      <a:pt x="422" y="180"/>
                      <a:pt x="422" y="180"/>
                      <a:pt x="422" y="180"/>
                    </a:cubicBezTo>
                    <a:cubicBezTo>
                      <a:pt x="421" y="179"/>
                      <a:pt x="421" y="179"/>
                      <a:pt x="421" y="179"/>
                    </a:cubicBezTo>
                    <a:cubicBezTo>
                      <a:pt x="422" y="179"/>
                      <a:pt x="422" y="179"/>
                      <a:pt x="422" y="179"/>
                    </a:cubicBezTo>
                    <a:cubicBezTo>
                      <a:pt x="422" y="179"/>
                      <a:pt x="422" y="179"/>
                      <a:pt x="422" y="179"/>
                    </a:cubicBezTo>
                    <a:cubicBezTo>
                      <a:pt x="422" y="179"/>
                      <a:pt x="422" y="179"/>
                      <a:pt x="422" y="179"/>
                    </a:cubicBezTo>
                    <a:cubicBezTo>
                      <a:pt x="412" y="136"/>
                      <a:pt x="412" y="136"/>
                      <a:pt x="412" y="136"/>
                    </a:cubicBezTo>
                    <a:cubicBezTo>
                      <a:pt x="412" y="136"/>
                      <a:pt x="412" y="135"/>
                      <a:pt x="411" y="134"/>
                    </a:cubicBezTo>
                    <a:cubicBezTo>
                      <a:pt x="411" y="134"/>
                      <a:pt x="409" y="133"/>
                      <a:pt x="408" y="132"/>
                    </a:cubicBezTo>
                    <a:cubicBezTo>
                      <a:pt x="407" y="132"/>
                      <a:pt x="407" y="131"/>
                      <a:pt x="406" y="131"/>
                    </a:cubicBezTo>
                    <a:cubicBezTo>
                      <a:pt x="399" y="125"/>
                      <a:pt x="399" y="125"/>
                      <a:pt x="399" y="125"/>
                    </a:cubicBezTo>
                    <a:cubicBezTo>
                      <a:pt x="398" y="125"/>
                      <a:pt x="398" y="124"/>
                      <a:pt x="398" y="124"/>
                    </a:cubicBezTo>
                    <a:cubicBezTo>
                      <a:pt x="396" y="123"/>
                      <a:pt x="396" y="123"/>
                      <a:pt x="396" y="123"/>
                    </a:cubicBezTo>
                    <a:cubicBezTo>
                      <a:pt x="394" y="121"/>
                      <a:pt x="394" y="118"/>
                      <a:pt x="394" y="116"/>
                    </a:cubicBezTo>
                    <a:cubicBezTo>
                      <a:pt x="394" y="115"/>
                      <a:pt x="394" y="115"/>
                      <a:pt x="394" y="115"/>
                    </a:cubicBezTo>
                    <a:cubicBezTo>
                      <a:pt x="394" y="114"/>
                      <a:pt x="394" y="114"/>
                      <a:pt x="393" y="113"/>
                    </a:cubicBezTo>
                    <a:cubicBezTo>
                      <a:pt x="393" y="112"/>
                      <a:pt x="393" y="112"/>
                      <a:pt x="393" y="112"/>
                    </a:cubicBezTo>
                    <a:cubicBezTo>
                      <a:pt x="393" y="112"/>
                      <a:pt x="393" y="112"/>
                      <a:pt x="393" y="112"/>
                    </a:cubicBezTo>
                    <a:cubicBezTo>
                      <a:pt x="392" y="110"/>
                      <a:pt x="392" y="110"/>
                      <a:pt x="392" y="110"/>
                    </a:cubicBezTo>
                    <a:cubicBezTo>
                      <a:pt x="391" y="109"/>
                      <a:pt x="389" y="107"/>
                      <a:pt x="387" y="106"/>
                    </a:cubicBezTo>
                    <a:cubicBezTo>
                      <a:pt x="385" y="103"/>
                      <a:pt x="382" y="101"/>
                      <a:pt x="380" y="97"/>
                    </a:cubicBezTo>
                    <a:cubicBezTo>
                      <a:pt x="378" y="95"/>
                      <a:pt x="376" y="90"/>
                      <a:pt x="375" y="85"/>
                    </a:cubicBezTo>
                    <a:cubicBezTo>
                      <a:pt x="374" y="80"/>
                      <a:pt x="376" y="77"/>
                      <a:pt x="378" y="76"/>
                    </a:cubicBezTo>
                    <a:cubicBezTo>
                      <a:pt x="379" y="75"/>
                      <a:pt x="379" y="75"/>
                      <a:pt x="379" y="75"/>
                    </a:cubicBezTo>
                    <a:cubicBezTo>
                      <a:pt x="380" y="73"/>
                      <a:pt x="382" y="72"/>
                      <a:pt x="385" y="70"/>
                    </a:cubicBezTo>
                    <a:cubicBezTo>
                      <a:pt x="388" y="67"/>
                      <a:pt x="391" y="64"/>
                      <a:pt x="393" y="61"/>
                    </a:cubicBezTo>
                    <a:cubicBezTo>
                      <a:pt x="395" y="58"/>
                      <a:pt x="396" y="54"/>
                      <a:pt x="397" y="49"/>
                    </a:cubicBezTo>
                    <a:cubicBezTo>
                      <a:pt x="397" y="49"/>
                      <a:pt x="397" y="48"/>
                      <a:pt x="396" y="46"/>
                    </a:cubicBezTo>
                    <a:cubicBezTo>
                      <a:pt x="396" y="46"/>
                      <a:pt x="396" y="46"/>
                      <a:pt x="396" y="46"/>
                    </a:cubicBezTo>
                    <a:cubicBezTo>
                      <a:pt x="396" y="45"/>
                      <a:pt x="396" y="45"/>
                      <a:pt x="396" y="44"/>
                    </a:cubicBezTo>
                    <a:cubicBezTo>
                      <a:pt x="395" y="41"/>
                      <a:pt x="395" y="41"/>
                      <a:pt x="395" y="41"/>
                    </a:cubicBezTo>
                    <a:cubicBezTo>
                      <a:pt x="395" y="40"/>
                      <a:pt x="395" y="39"/>
                      <a:pt x="395" y="39"/>
                    </a:cubicBezTo>
                    <a:cubicBezTo>
                      <a:pt x="395" y="38"/>
                      <a:pt x="395" y="38"/>
                      <a:pt x="395" y="38"/>
                    </a:cubicBezTo>
                    <a:cubicBezTo>
                      <a:pt x="394" y="35"/>
                      <a:pt x="393" y="31"/>
                      <a:pt x="394" y="27"/>
                    </a:cubicBezTo>
                    <a:cubicBezTo>
                      <a:pt x="395" y="22"/>
                      <a:pt x="395" y="22"/>
                      <a:pt x="395" y="22"/>
                    </a:cubicBezTo>
                    <a:cubicBezTo>
                      <a:pt x="395" y="20"/>
                      <a:pt x="395" y="20"/>
                      <a:pt x="393" y="18"/>
                    </a:cubicBezTo>
                    <a:cubicBezTo>
                      <a:pt x="390" y="15"/>
                      <a:pt x="390" y="15"/>
                      <a:pt x="390" y="15"/>
                    </a:cubicBezTo>
                    <a:cubicBezTo>
                      <a:pt x="400" y="3"/>
                      <a:pt x="400" y="3"/>
                      <a:pt x="400" y="3"/>
                    </a:cubicBezTo>
                    <a:cubicBezTo>
                      <a:pt x="396" y="4"/>
                      <a:pt x="393" y="4"/>
                      <a:pt x="389" y="4"/>
                    </a:cubicBezTo>
                    <a:cubicBezTo>
                      <a:pt x="388" y="4"/>
                      <a:pt x="386" y="5"/>
                      <a:pt x="385" y="5"/>
                    </a:cubicBezTo>
                    <a:cubicBezTo>
                      <a:pt x="385" y="5"/>
                      <a:pt x="384" y="5"/>
                      <a:pt x="384" y="4"/>
                    </a:cubicBezTo>
                    <a:cubicBezTo>
                      <a:pt x="383" y="4"/>
                      <a:pt x="384" y="2"/>
                      <a:pt x="382" y="2"/>
                    </a:cubicBezTo>
                    <a:cubicBezTo>
                      <a:pt x="379" y="1"/>
                      <a:pt x="377" y="0"/>
                      <a:pt x="374" y="0"/>
                    </a:cubicBezTo>
                    <a:cubicBezTo>
                      <a:pt x="373" y="0"/>
                      <a:pt x="371" y="0"/>
                      <a:pt x="370" y="1"/>
                    </a:cubicBezTo>
                    <a:cubicBezTo>
                      <a:pt x="368" y="2"/>
                      <a:pt x="366" y="4"/>
                      <a:pt x="364" y="4"/>
                    </a:cubicBezTo>
                    <a:cubicBezTo>
                      <a:pt x="364" y="4"/>
                      <a:pt x="364" y="4"/>
                      <a:pt x="364" y="4"/>
                    </a:cubicBezTo>
                    <a:cubicBezTo>
                      <a:pt x="363" y="4"/>
                      <a:pt x="363" y="3"/>
                      <a:pt x="361" y="3"/>
                    </a:cubicBezTo>
                    <a:cubicBezTo>
                      <a:pt x="360" y="3"/>
                      <a:pt x="359" y="3"/>
                      <a:pt x="357" y="2"/>
                    </a:cubicBezTo>
                    <a:cubicBezTo>
                      <a:pt x="354" y="1"/>
                      <a:pt x="353" y="0"/>
                      <a:pt x="3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1" name="Freeform 170">
                <a:extLst>
                  <a:ext uri="{FF2B5EF4-FFF2-40B4-BE49-F238E27FC236}">
                    <a16:creationId xmlns:a16="http://schemas.microsoft.com/office/drawing/2014/main" id="{14902A0A-DD17-4BBE-A0AA-0B108A88EE08}"/>
                  </a:ext>
                </a:extLst>
              </p:cNvPr>
              <p:cNvSpPr>
                <a:spLocks/>
              </p:cNvSpPr>
              <p:nvPr/>
            </p:nvSpPr>
            <p:spPr bwMode="auto">
              <a:xfrm>
                <a:off x="5606" y="838"/>
                <a:ext cx="227" cy="239"/>
              </a:xfrm>
              <a:custGeom>
                <a:avLst/>
                <a:gdLst>
                  <a:gd name="T0" fmla="*/ 77 w 96"/>
                  <a:gd name="T1" fmla="*/ 6 h 101"/>
                  <a:gd name="T2" fmla="*/ 74 w 96"/>
                  <a:gd name="T3" fmla="*/ 8 h 101"/>
                  <a:gd name="T4" fmla="*/ 70 w 96"/>
                  <a:gd name="T5" fmla="*/ 10 h 101"/>
                  <a:gd name="T6" fmla="*/ 60 w 96"/>
                  <a:gd name="T7" fmla="*/ 16 h 101"/>
                  <a:gd name="T8" fmla="*/ 55 w 96"/>
                  <a:gd name="T9" fmla="*/ 19 h 101"/>
                  <a:gd name="T10" fmla="*/ 52 w 96"/>
                  <a:gd name="T11" fmla="*/ 21 h 101"/>
                  <a:gd name="T12" fmla="*/ 49 w 96"/>
                  <a:gd name="T13" fmla="*/ 23 h 101"/>
                  <a:gd name="T14" fmla="*/ 47 w 96"/>
                  <a:gd name="T15" fmla="*/ 24 h 101"/>
                  <a:gd name="T16" fmla="*/ 46 w 96"/>
                  <a:gd name="T17" fmla="*/ 25 h 101"/>
                  <a:gd name="T18" fmla="*/ 44 w 96"/>
                  <a:gd name="T19" fmla="*/ 26 h 101"/>
                  <a:gd name="T20" fmla="*/ 43 w 96"/>
                  <a:gd name="T21" fmla="*/ 26 h 101"/>
                  <a:gd name="T22" fmla="*/ 41 w 96"/>
                  <a:gd name="T23" fmla="*/ 26 h 101"/>
                  <a:gd name="T24" fmla="*/ 39 w 96"/>
                  <a:gd name="T25" fmla="*/ 25 h 101"/>
                  <a:gd name="T26" fmla="*/ 35 w 96"/>
                  <a:gd name="T27" fmla="*/ 24 h 101"/>
                  <a:gd name="T28" fmla="*/ 30 w 96"/>
                  <a:gd name="T29" fmla="*/ 22 h 101"/>
                  <a:gd name="T30" fmla="*/ 25 w 96"/>
                  <a:gd name="T31" fmla="*/ 20 h 101"/>
                  <a:gd name="T32" fmla="*/ 21 w 96"/>
                  <a:gd name="T33" fmla="*/ 17 h 101"/>
                  <a:gd name="T34" fmla="*/ 20 w 96"/>
                  <a:gd name="T35" fmla="*/ 16 h 101"/>
                  <a:gd name="T36" fmla="*/ 19 w 96"/>
                  <a:gd name="T37" fmla="*/ 16 h 101"/>
                  <a:gd name="T38" fmla="*/ 18 w 96"/>
                  <a:gd name="T39" fmla="*/ 16 h 101"/>
                  <a:gd name="T40" fmla="*/ 18 w 96"/>
                  <a:gd name="T41" fmla="*/ 17 h 101"/>
                  <a:gd name="T42" fmla="*/ 17 w 96"/>
                  <a:gd name="T43" fmla="*/ 23 h 101"/>
                  <a:gd name="T44" fmla="*/ 13 w 96"/>
                  <a:gd name="T45" fmla="*/ 35 h 101"/>
                  <a:gd name="T46" fmla="*/ 12 w 96"/>
                  <a:gd name="T47" fmla="*/ 42 h 101"/>
                  <a:gd name="T48" fmla="*/ 14 w 96"/>
                  <a:gd name="T49" fmla="*/ 47 h 101"/>
                  <a:gd name="T50" fmla="*/ 12 w 96"/>
                  <a:gd name="T51" fmla="*/ 60 h 101"/>
                  <a:gd name="T52" fmla="*/ 9 w 96"/>
                  <a:gd name="T53" fmla="*/ 68 h 101"/>
                  <a:gd name="T54" fmla="*/ 3 w 96"/>
                  <a:gd name="T55" fmla="*/ 95 h 101"/>
                  <a:gd name="T56" fmla="*/ 0 w 96"/>
                  <a:gd name="T57" fmla="*/ 95 h 101"/>
                  <a:gd name="T58" fmla="*/ 2 w 96"/>
                  <a:gd name="T59" fmla="*/ 97 h 101"/>
                  <a:gd name="T60" fmla="*/ 2 w 96"/>
                  <a:gd name="T61" fmla="*/ 97 h 101"/>
                  <a:gd name="T62" fmla="*/ 19 w 96"/>
                  <a:gd name="T63" fmla="*/ 100 h 101"/>
                  <a:gd name="T64" fmla="*/ 20 w 96"/>
                  <a:gd name="T65" fmla="*/ 100 h 101"/>
                  <a:gd name="T66" fmla="*/ 28 w 96"/>
                  <a:gd name="T67" fmla="*/ 97 h 101"/>
                  <a:gd name="T68" fmla="*/ 29 w 96"/>
                  <a:gd name="T69" fmla="*/ 96 h 101"/>
                  <a:gd name="T70" fmla="*/ 34 w 96"/>
                  <a:gd name="T71" fmla="*/ 91 h 101"/>
                  <a:gd name="T72" fmla="*/ 47 w 96"/>
                  <a:gd name="T73" fmla="*/ 83 h 101"/>
                  <a:gd name="T74" fmla="*/ 49 w 96"/>
                  <a:gd name="T75" fmla="*/ 82 h 101"/>
                  <a:gd name="T76" fmla="*/ 53 w 96"/>
                  <a:gd name="T77" fmla="*/ 82 h 101"/>
                  <a:gd name="T78" fmla="*/ 59 w 96"/>
                  <a:gd name="T79" fmla="*/ 79 h 101"/>
                  <a:gd name="T80" fmla="*/ 68 w 96"/>
                  <a:gd name="T81" fmla="*/ 70 h 101"/>
                  <a:gd name="T82" fmla="*/ 66 w 96"/>
                  <a:gd name="T83" fmla="*/ 68 h 101"/>
                  <a:gd name="T84" fmla="*/ 64 w 96"/>
                  <a:gd name="T85" fmla="*/ 66 h 101"/>
                  <a:gd name="T86" fmla="*/ 42 w 96"/>
                  <a:gd name="T87" fmla="*/ 43 h 101"/>
                  <a:gd name="T88" fmla="*/ 54 w 96"/>
                  <a:gd name="T89" fmla="*/ 39 h 101"/>
                  <a:gd name="T90" fmla="*/ 78 w 96"/>
                  <a:gd name="T91" fmla="*/ 32 h 101"/>
                  <a:gd name="T92" fmla="*/ 84 w 96"/>
                  <a:gd name="T93" fmla="*/ 30 h 101"/>
                  <a:gd name="T94" fmla="*/ 86 w 96"/>
                  <a:gd name="T95" fmla="*/ 29 h 101"/>
                  <a:gd name="T96" fmla="*/ 94 w 96"/>
                  <a:gd name="T97" fmla="*/ 25 h 101"/>
                  <a:gd name="T98" fmla="*/ 93 w 96"/>
                  <a:gd name="T99" fmla="*/ 2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6" h="101">
                    <a:moveTo>
                      <a:pt x="88" y="0"/>
                    </a:moveTo>
                    <a:cubicBezTo>
                      <a:pt x="85" y="1"/>
                      <a:pt x="81" y="4"/>
                      <a:pt x="77" y="6"/>
                    </a:cubicBezTo>
                    <a:cubicBezTo>
                      <a:pt x="76" y="6"/>
                      <a:pt x="76" y="6"/>
                      <a:pt x="76" y="6"/>
                    </a:cubicBezTo>
                    <a:cubicBezTo>
                      <a:pt x="75" y="7"/>
                      <a:pt x="74" y="7"/>
                      <a:pt x="74" y="8"/>
                    </a:cubicBezTo>
                    <a:cubicBezTo>
                      <a:pt x="73" y="8"/>
                      <a:pt x="72" y="9"/>
                      <a:pt x="71" y="9"/>
                    </a:cubicBezTo>
                    <a:cubicBezTo>
                      <a:pt x="70" y="10"/>
                      <a:pt x="70" y="10"/>
                      <a:pt x="70" y="10"/>
                    </a:cubicBezTo>
                    <a:cubicBezTo>
                      <a:pt x="69" y="11"/>
                      <a:pt x="67" y="12"/>
                      <a:pt x="65" y="13"/>
                    </a:cubicBezTo>
                    <a:cubicBezTo>
                      <a:pt x="60" y="16"/>
                      <a:pt x="60" y="16"/>
                      <a:pt x="60" y="16"/>
                    </a:cubicBezTo>
                    <a:cubicBezTo>
                      <a:pt x="58" y="17"/>
                      <a:pt x="57" y="18"/>
                      <a:pt x="56" y="18"/>
                    </a:cubicBezTo>
                    <a:cubicBezTo>
                      <a:pt x="55" y="19"/>
                      <a:pt x="55" y="19"/>
                      <a:pt x="55" y="19"/>
                    </a:cubicBezTo>
                    <a:cubicBezTo>
                      <a:pt x="55" y="19"/>
                      <a:pt x="55" y="19"/>
                      <a:pt x="55" y="19"/>
                    </a:cubicBezTo>
                    <a:cubicBezTo>
                      <a:pt x="54" y="20"/>
                      <a:pt x="53" y="20"/>
                      <a:pt x="52" y="21"/>
                    </a:cubicBezTo>
                    <a:cubicBezTo>
                      <a:pt x="51" y="22"/>
                      <a:pt x="50" y="22"/>
                      <a:pt x="50" y="23"/>
                    </a:cubicBezTo>
                    <a:cubicBezTo>
                      <a:pt x="49" y="23"/>
                      <a:pt x="49" y="23"/>
                      <a:pt x="49" y="23"/>
                    </a:cubicBezTo>
                    <a:cubicBezTo>
                      <a:pt x="48" y="24"/>
                      <a:pt x="48" y="24"/>
                      <a:pt x="48" y="24"/>
                    </a:cubicBezTo>
                    <a:cubicBezTo>
                      <a:pt x="47" y="24"/>
                      <a:pt x="47" y="24"/>
                      <a:pt x="47" y="24"/>
                    </a:cubicBezTo>
                    <a:cubicBezTo>
                      <a:pt x="47" y="25"/>
                      <a:pt x="47" y="25"/>
                      <a:pt x="46" y="25"/>
                    </a:cubicBezTo>
                    <a:cubicBezTo>
                      <a:pt x="46" y="25"/>
                      <a:pt x="46" y="25"/>
                      <a:pt x="46" y="25"/>
                    </a:cubicBezTo>
                    <a:cubicBezTo>
                      <a:pt x="45" y="25"/>
                      <a:pt x="45" y="26"/>
                      <a:pt x="44" y="26"/>
                    </a:cubicBezTo>
                    <a:cubicBezTo>
                      <a:pt x="44" y="26"/>
                      <a:pt x="44" y="26"/>
                      <a:pt x="44" y="26"/>
                    </a:cubicBezTo>
                    <a:cubicBezTo>
                      <a:pt x="43" y="26"/>
                      <a:pt x="43" y="26"/>
                      <a:pt x="43" y="26"/>
                    </a:cubicBezTo>
                    <a:cubicBezTo>
                      <a:pt x="43" y="26"/>
                      <a:pt x="43" y="26"/>
                      <a:pt x="43" y="26"/>
                    </a:cubicBezTo>
                    <a:cubicBezTo>
                      <a:pt x="42" y="26"/>
                      <a:pt x="42" y="26"/>
                      <a:pt x="42" y="26"/>
                    </a:cubicBezTo>
                    <a:cubicBezTo>
                      <a:pt x="41" y="26"/>
                      <a:pt x="41" y="26"/>
                      <a:pt x="41" y="26"/>
                    </a:cubicBezTo>
                    <a:cubicBezTo>
                      <a:pt x="41" y="26"/>
                      <a:pt x="40" y="26"/>
                      <a:pt x="39" y="25"/>
                    </a:cubicBezTo>
                    <a:cubicBezTo>
                      <a:pt x="39" y="25"/>
                      <a:pt x="39" y="25"/>
                      <a:pt x="39" y="25"/>
                    </a:cubicBezTo>
                    <a:cubicBezTo>
                      <a:pt x="38" y="25"/>
                      <a:pt x="37" y="25"/>
                      <a:pt x="35" y="24"/>
                    </a:cubicBezTo>
                    <a:cubicBezTo>
                      <a:pt x="35" y="24"/>
                      <a:pt x="35" y="24"/>
                      <a:pt x="35" y="24"/>
                    </a:cubicBezTo>
                    <a:cubicBezTo>
                      <a:pt x="34" y="24"/>
                      <a:pt x="32" y="23"/>
                      <a:pt x="31" y="23"/>
                    </a:cubicBezTo>
                    <a:cubicBezTo>
                      <a:pt x="30" y="22"/>
                      <a:pt x="30" y="22"/>
                      <a:pt x="30" y="22"/>
                    </a:cubicBezTo>
                    <a:cubicBezTo>
                      <a:pt x="29" y="22"/>
                      <a:pt x="27" y="21"/>
                      <a:pt x="25" y="20"/>
                    </a:cubicBezTo>
                    <a:cubicBezTo>
                      <a:pt x="25" y="20"/>
                      <a:pt x="25" y="20"/>
                      <a:pt x="25" y="20"/>
                    </a:cubicBezTo>
                    <a:cubicBezTo>
                      <a:pt x="24" y="19"/>
                      <a:pt x="23" y="18"/>
                      <a:pt x="22" y="18"/>
                    </a:cubicBezTo>
                    <a:cubicBezTo>
                      <a:pt x="21" y="17"/>
                      <a:pt x="21" y="17"/>
                      <a:pt x="21" y="17"/>
                    </a:cubicBezTo>
                    <a:cubicBezTo>
                      <a:pt x="21" y="17"/>
                      <a:pt x="21" y="17"/>
                      <a:pt x="21" y="17"/>
                    </a:cubicBezTo>
                    <a:cubicBezTo>
                      <a:pt x="20" y="17"/>
                      <a:pt x="20" y="17"/>
                      <a:pt x="20" y="16"/>
                    </a:cubicBezTo>
                    <a:cubicBezTo>
                      <a:pt x="19" y="16"/>
                      <a:pt x="19" y="16"/>
                      <a:pt x="19" y="16"/>
                    </a:cubicBezTo>
                    <a:cubicBezTo>
                      <a:pt x="19" y="16"/>
                      <a:pt x="19" y="16"/>
                      <a:pt x="19" y="16"/>
                    </a:cubicBezTo>
                    <a:cubicBezTo>
                      <a:pt x="18" y="16"/>
                      <a:pt x="18" y="16"/>
                      <a:pt x="18" y="16"/>
                    </a:cubicBezTo>
                    <a:cubicBezTo>
                      <a:pt x="18" y="16"/>
                      <a:pt x="18" y="16"/>
                      <a:pt x="18" y="16"/>
                    </a:cubicBezTo>
                    <a:cubicBezTo>
                      <a:pt x="18" y="16"/>
                      <a:pt x="18" y="16"/>
                      <a:pt x="18" y="16"/>
                    </a:cubicBezTo>
                    <a:cubicBezTo>
                      <a:pt x="18" y="17"/>
                      <a:pt x="18" y="17"/>
                      <a:pt x="18" y="17"/>
                    </a:cubicBezTo>
                    <a:cubicBezTo>
                      <a:pt x="18" y="18"/>
                      <a:pt x="17" y="20"/>
                      <a:pt x="17" y="21"/>
                    </a:cubicBezTo>
                    <a:cubicBezTo>
                      <a:pt x="17" y="23"/>
                      <a:pt x="17" y="23"/>
                      <a:pt x="17" y="23"/>
                    </a:cubicBezTo>
                    <a:cubicBezTo>
                      <a:pt x="14" y="23"/>
                      <a:pt x="14" y="23"/>
                      <a:pt x="14" y="23"/>
                    </a:cubicBezTo>
                    <a:cubicBezTo>
                      <a:pt x="14" y="27"/>
                      <a:pt x="14" y="31"/>
                      <a:pt x="13" y="35"/>
                    </a:cubicBezTo>
                    <a:cubicBezTo>
                      <a:pt x="13" y="35"/>
                      <a:pt x="13" y="35"/>
                      <a:pt x="13" y="35"/>
                    </a:cubicBezTo>
                    <a:cubicBezTo>
                      <a:pt x="13" y="38"/>
                      <a:pt x="13" y="40"/>
                      <a:pt x="12" y="42"/>
                    </a:cubicBezTo>
                    <a:cubicBezTo>
                      <a:pt x="15" y="43"/>
                      <a:pt x="15" y="43"/>
                      <a:pt x="15" y="43"/>
                    </a:cubicBezTo>
                    <a:cubicBezTo>
                      <a:pt x="14" y="47"/>
                      <a:pt x="14" y="47"/>
                      <a:pt x="14" y="47"/>
                    </a:cubicBezTo>
                    <a:cubicBezTo>
                      <a:pt x="14" y="51"/>
                      <a:pt x="13" y="54"/>
                      <a:pt x="13" y="56"/>
                    </a:cubicBezTo>
                    <a:cubicBezTo>
                      <a:pt x="12" y="57"/>
                      <a:pt x="12" y="59"/>
                      <a:pt x="12" y="60"/>
                    </a:cubicBezTo>
                    <a:cubicBezTo>
                      <a:pt x="11" y="62"/>
                      <a:pt x="11" y="62"/>
                      <a:pt x="11" y="62"/>
                    </a:cubicBezTo>
                    <a:cubicBezTo>
                      <a:pt x="11" y="64"/>
                      <a:pt x="10" y="66"/>
                      <a:pt x="9" y="68"/>
                    </a:cubicBezTo>
                    <a:cubicBezTo>
                      <a:pt x="8" y="75"/>
                      <a:pt x="8" y="75"/>
                      <a:pt x="8" y="75"/>
                    </a:cubicBezTo>
                    <a:cubicBezTo>
                      <a:pt x="6" y="81"/>
                      <a:pt x="4" y="88"/>
                      <a:pt x="3" y="95"/>
                    </a:cubicBezTo>
                    <a:cubicBezTo>
                      <a:pt x="3" y="96"/>
                      <a:pt x="3" y="96"/>
                      <a:pt x="3" y="96"/>
                    </a:cubicBezTo>
                    <a:cubicBezTo>
                      <a:pt x="0" y="95"/>
                      <a:pt x="0" y="95"/>
                      <a:pt x="0" y="95"/>
                    </a:cubicBezTo>
                    <a:cubicBezTo>
                      <a:pt x="1" y="97"/>
                      <a:pt x="1" y="97"/>
                      <a:pt x="1" y="97"/>
                    </a:cubicBezTo>
                    <a:cubicBezTo>
                      <a:pt x="2" y="97"/>
                      <a:pt x="2" y="97"/>
                      <a:pt x="2" y="97"/>
                    </a:cubicBezTo>
                    <a:cubicBezTo>
                      <a:pt x="2" y="97"/>
                      <a:pt x="2" y="97"/>
                      <a:pt x="2" y="97"/>
                    </a:cubicBezTo>
                    <a:cubicBezTo>
                      <a:pt x="2" y="97"/>
                      <a:pt x="2" y="97"/>
                      <a:pt x="2" y="97"/>
                    </a:cubicBezTo>
                    <a:cubicBezTo>
                      <a:pt x="3" y="97"/>
                      <a:pt x="3" y="97"/>
                      <a:pt x="3" y="97"/>
                    </a:cubicBezTo>
                    <a:cubicBezTo>
                      <a:pt x="19" y="100"/>
                      <a:pt x="19" y="100"/>
                      <a:pt x="19" y="100"/>
                    </a:cubicBezTo>
                    <a:cubicBezTo>
                      <a:pt x="19" y="100"/>
                      <a:pt x="19" y="100"/>
                      <a:pt x="20" y="100"/>
                    </a:cubicBezTo>
                    <a:cubicBezTo>
                      <a:pt x="20" y="100"/>
                      <a:pt x="20" y="100"/>
                      <a:pt x="20" y="100"/>
                    </a:cubicBezTo>
                    <a:cubicBezTo>
                      <a:pt x="23" y="101"/>
                      <a:pt x="24" y="101"/>
                      <a:pt x="25" y="101"/>
                    </a:cubicBezTo>
                    <a:cubicBezTo>
                      <a:pt x="25" y="101"/>
                      <a:pt x="26" y="100"/>
                      <a:pt x="28" y="97"/>
                    </a:cubicBezTo>
                    <a:cubicBezTo>
                      <a:pt x="29" y="96"/>
                      <a:pt x="29" y="96"/>
                      <a:pt x="29" y="96"/>
                    </a:cubicBezTo>
                    <a:cubicBezTo>
                      <a:pt x="29" y="96"/>
                      <a:pt x="29" y="96"/>
                      <a:pt x="29" y="96"/>
                    </a:cubicBezTo>
                    <a:cubicBezTo>
                      <a:pt x="32" y="93"/>
                      <a:pt x="32" y="93"/>
                      <a:pt x="32" y="93"/>
                    </a:cubicBezTo>
                    <a:cubicBezTo>
                      <a:pt x="33" y="92"/>
                      <a:pt x="33" y="91"/>
                      <a:pt x="34" y="91"/>
                    </a:cubicBezTo>
                    <a:cubicBezTo>
                      <a:pt x="36" y="88"/>
                      <a:pt x="39" y="85"/>
                      <a:pt x="43" y="83"/>
                    </a:cubicBezTo>
                    <a:cubicBezTo>
                      <a:pt x="44" y="83"/>
                      <a:pt x="45" y="83"/>
                      <a:pt x="47" y="83"/>
                    </a:cubicBezTo>
                    <a:cubicBezTo>
                      <a:pt x="48" y="82"/>
                      <a:pt x="48" y="82"/>
                      <a:pt x="48" y="82"/>
                    </a:cubicBezTo>
                    <a:cubicBezTo>
                      <a:pt x="49" y="82"/>
                      <a:pt x="49" y="82"/>
                      <a:pt x="49" y="82"/>
                    </a:cubicBezTo>
                    <a:cubicBezTo>
                      <a:pt x="51" y="82"/>
                      <a:pt x="52" y="82"/>
                      <a:pt x="53" y="82"/>
                    </a:cubicBezTo>
                    <a:cubicBezTo>
                      <a:pt x="53" y="82"/>
                      <a:pt x="53" y="82"/>
                      <a:pt x="53" y="82"/>
                    </a:cubicBezTo>
                    <a:cubicBezTo>
                      <a:pt x="55" y="81"/>
                      <a:pt x="57" y="81"/>
                      <a:pt x="58" y="81"/>
                    </a:cubicBezTo>
                    <a:cubicBezTo>
                      <a:pt x="58" y="80"/>
                      <a:pt x="58" y="80"/>
                      <a:pt x="59" y="79"/>
                    </a:cubicBezTo>
                    <a:cubicBezTo>
                      <a:pt x="59" y="79"/>
                      <a:pt x="59" y="79"/>
                      <a:pt x="59" y="79"/>
                    </a:cubicBezTo>
                    <a:cubicBezTo>
                      <a:pt x="65" y="74"/>
                      <a:pt x="67" y="71"/>
                      <a:pt x="68" y="70"/>
                    </a:cubicBezTo>
                    <a:cubicBezTo>
                      <a:pt x="68" y="70"/>
                      <a:pt x="67" y="69"/>
                      <a:pt x="67" y="69"/>
                    </a:cubicBezTo>
                    <a:cubicBezTo>
                      <a:pt x="67" y="69"/>
                      <a:pt x="66" y="68"/>
                      <a:pt x="66" y="68"/>
                    </a:cubicBezTo>
                    <a:cubicBezTo>
                      <a:pt x="65" y="67"/>
                      <a:pt x="65" y="67"/>
                      <a:pt x="65" y="67"/>
                    </a:cubicBezTo>
                    <a:cubicBezTo>
                      <a:pt x="64" y="67"/>
                      <a:pt x="64" y="66"/>
                      <a:pt x="64" y="66"/>
                    </a:cubicBezTo>
                    <a:cubicBezTo>
                      <a:pt x="57" y="59"/>
                      <a:pt x="52" y="52"/>
                      <a:pt x="46" y="46"/>
                    </a:cubicBezTo>
                    <a:cubicBezTo>
                      <a:pt x="42" y="43"/>
                      <a:pt x="42" y="43"/>
                      <a:pt x="42" y="43"/>
                    </a:cubicBezTo>
                    <a:cubicBezTo>
                      <a:pt x="47" y="41"/>
                      <a:pt x="47" y="41"/>
                      <a:pt x="47" y="41"/>
                    </a:cubicBezTo>
                    <a:cubicBezTo>
                      <a:pt x="49" y="41"/>
                      <a:pt x="52" y="40"/>
                      <a:pt x="54" y="39"/>
                    </a:cubicBezTo>
                    <a:cubicBezTo>
                      <a:pt x="54" y="39"/>
                      <a:pt x="54" y="39"/>
                      <a:pt x="54" y="39"/>
                    </a:cubicBezTo>
                    <a:cubicBezTo>
                      <a:pt x="62" y="37"/>
                      <a:pt x="70" y="35"/>
                      <a:pt x="78" y="32"/>
                    </a:cubicBezTo>
                    <a:cubicBezTo>
                      <a:pt x="79" y="32"/>
                      <a:pt x="81" y="31"/>
                      <a:pt x="83" y="31"/>
                    </a:cubicBezTo>
                    <a:cubicBezTo>
                      <a:pt x="84" y="30"/>
                      <a:pt x="84" y="30"/>
                      <a:pt x="84" y="30"/>
                    </a:cubicBezTo>
                    <a:cubicBezTo>
                      <a:pt x="85" y="30"/>
                      <a:pt x="86" y="29"/>
                      <a:pt x="88" y="29"/>
                    </a:cubicBezTo>
                    <a:cubicBezTo>
                      <a:pt x="86" y="29"/>
                      <a:pt x="86" y="29"/>
                      <a:pt x="86" y="29"/>
                    </a:cubicBezTo>
                    <a:cubicBezTo>
                      <a:pt x="96" y="26"/>
                      <a:pt x="96" y="26"/>
                      <a:pt x="96" y="26"/>
                    </a:cubicBezTo>
                    <a:cubicBezTo>
                      <a:pt x="95" y="25"/>
                      <a:pt x="95" y="25"/>
                      <a:pt x="94" y="25"/>
                    </a:cubicBezTo>
                    <a:cubicBezTo>
                      <a:pt x="94" y="24"/>
                      <a:pt x="94" y="24"/>
                      <a:pt x="94" y="24"/>
                    </a:cubicBezTo>
                    <a:cubicBezTo>
                      <a:pt x="93" y="24"/>
                      <a:pt x="93" y="24"/>
                      <a:pt x="93" y="24"/>
                    </a:cubicBezTo>
                    <a:cubicBezTo>
                      <a:pt x="88" y="0"/>
                      <a:pt x="88" y="0"/>
                      <a:pt x="8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2" name="Freeform 171">
                <a:extLst>
                  <a:ext uri="{FF2B5EF4-FFF2-40B4-BE49-F238E27FC236}">
                    <a16:creationId xmlns:a16="http://schemas.microsoft.com/office/drawing/2014/main" id="{EA4E3523-B2AD-4122-B507-7CF77466B809}"/>
                  </a:ext>
                </a:extLst>
              </p:cNvPr>
              <p:cNvSpPr>
                <a:spLocks/>
              </p:cNvSpPr>
              <p:nvPr/>
            </p:nvSpPr>
            <p:spPr bwMode="auto">
              <a:xfrm>
                <a:off x="5826" y="580"/>
                <a:ext cx="536" cy="504"/>
              </a:xfrm>
              <a:custGeom>
                <a:avLst/>
                <a:gdLst>
                  <a:gd name="T0" fmla="*/ 84 w 227"/>
                  <a:gd name="T1" fmla="*/ 7 h 213"/>
                  <a:gd name="T2" fmla="*/ 71 w 227"/>
                  <a:gd name="T3" fmla="*/ 19 h 213"/>
                  <a:gd name="T4" fmla="*/ 63 w 227"/>
                  <a:gd name="T5" fmla="*/ 22 h 213"/>
                  <a:gd name="T6" fmla="*/ 59 w 227"/>
                  <a:gd name="T7" fmla="*/ 39 h 213"/>
                  <a:gd name="T8" fmla="*/ 58 w 227"/>
                  <a:gd name="T9" fmla="*/ 52 h 213"/>
                  <a:gd name="T10" fmla="*/ 57 w 227"/>
                  <a:gd name="T11" fmla="*/ 64 h 213"/>
                  <a:gd name="T12" fmla="*/ 44 w 227"/>
                  <a:gd name="T13" fmla="*/ 82 h 213"/>
                  <a:gd name="T14" fmla="*/ 34 w 227"/>
                  <a:gd name="T15" fmla="*/ 87 h 213"/>
                  <a:gd name="T16" fmla="*/ 0 w 227"/>
                  <a:gd name="T17" fmla="*/ 106 h 213"/>
                  <a:gd name="T18" fmla="*/ 10 w 227"/>
                  <a:gd name="T19" fmla="*/ 131 h 213"/>
                  <a:gd name="T20" fmla="*/ 35 w 227"/>
                  <a:gd name="T21" fmla="*/ 139 h 213"/>
                  <a:gd name="T22" fmla="*/ 70 w 227"/>
                  <a:gd name="T23" fmla="*/ 158 h 213"/>
                  <a:gd name="T24" fmla="*/ 109 w 227"/>
                  <a:gd name="T25" fmla="*/ 187 h 213"/>
                  <a:gd name="T26" fmla="*/ 140 w 227"/>
                  <a:gd name="T27" fmla="*/ 210 h 213"/>
                  <a:gd name="T28" fmla="*/ 174 w 227"/>
                  <a:gd name="T29" fmla="*/ 213 h 213"/>
                  <a:gd name="T30" fmla="*/ 178 w 227"/>
                  <a:gd name="T31" fmla="*/ 212 h 213"/>
                  <a:gd name="T32" fmla="*/ 187 w 227"/>
                  <a:gd name="T33" fmla="*/ 197 h 213"/>
                  <a:gd name="T34" fmla="*/ 209 w 227"/>
                  <a:gd name="T35" fmla="*/ 188 h 213"/>
                  <a:gd name="T36" fmla="*/ 221 w 227"/>
                  <a:gd name="T37" fmla="*/ 191 h 213"/>
                  <a:gd name="T38" fmla="*/ 221 w 227"/>
                  <a:gd name="T39" fmla="*/ 192 h 213"/>
                  <a:gd name="T40" fmla="*/ 227 w 227"/>
                  <a:gd name="T41" fmla="*/ 195 h 213"/>
                  <a:gd name="T42" fmla="*/ 217 w 227"/>
                  <a:gd name="T43" fmla="*/ 185 h 213"/>
                  <a:gd name="T44" fmla="*/ 212 w 227"/>
                  <a:gd name="T45" fmla="*/ 175 h 213"/>
                  <a:gd name="T46" fmla="*/ 209 w 227"/>
                  <a:gd name="T47" fmla="*/ 169 h 213"/>
                  <a:gd name="T48" fmla="*/ 204 w 227"/>
                  <a:gd name="T49" fmla="*/ 166 h 213"/>
                  <a:gd name="T50" fmla="*/ 206 w 227"/>
                  <a:gd name="T51" fmla="*/ 150 h 213"/>
                  <a:gd name="T52" fmla="*/ 207 w 227"/>
                  <a:gd name="T53" fmla="*/ 147 h 213"/>
                  <a:gd name="T54" fmla="*/ 202 w 227"/>
                  <a:gd name="T55" fmla="*/ 138 h 213"/>
                  <a:gd name="T56" fmla="*/ 198 w 227"/>
                  <a:gd name="T57" fmla="*/ 131 h 213"/>
                  <a:gd name="T58" fmla="*/ 194 w 227"/>
                  <a:gd name="T59" fmla="*/ 130 h 213"/>
                  <a:gd name="T60" fmla="*/ 175 w 227"/>
                  <a:gd name="T61" fmla="*/ 119 h 213"/>
                  <a:gd name="T62" fmla="*/ 167 w 227"/>
                  <a:gd name="T63" fmla="*/ 116 h 213"/>
                  <a:gd name="T64" fmla="*/ 163 w 227"/>
                  <a:gd name="T65" fmla="*/ 105 h 213"/>
                  <a:gd name="T66" fmla="*/ 162 w 227"/>
                  <a:gd name="T67" fmla="*/ 101 h 213"/>
                  <a:gd name="T68" fmla="*/ 152 w 227"/>
                  <a:gd name="T69" fmla="*/ 93 h 213"/>
                  <a:gd name="T70" fmla="*/ 153 w 227"/>
                  <a:gd name="T71" fmla="*/ 81 h 213"/>
                  <a:gd name="T72" fmla="*/ 153 w 227"/>
                  <a:gd name="T73" fmla="*/ 78 h 213"/>
                  <a:gd name="T74" fmla="*/ 158 w 227"/>
                  <a:gd name="T75" fmla="*/ 69 h 213"/>
                  <a:gd name="T76" fmla="*/ 167 w 227"/>
                  <a:gd name="T77" fmla="*/ 56 h 213"/>
                  <a:gd name="T78" fmla="*/ 166 w 227"/>
                  <a:gd name="T79" fmla="*/ 53 h 213"/>
                  <a:gd name="T80" fmla="*/ 164 w 227"/>
                  <a:gd name="T81" fmla="*/ 46 h 213"/>
                  <a:gd name="T82" fmla="*/ 163 w 227"/>
                  <a:gd name="T83" fmla="*/ 42 h 213"/>
                  <a:gd name="T84" fmla="*/ 155 w 227"/>
                  <a:gd name="T85" fmla="*/ 37 h 213"/>
                  <a:gd name="T86" fmla="*/ 152 w 227"/>
                  <a:gd name="T87" fmla="*/ 37 h 213"/>
                  <a:gd name="T88" fmla="*/ 147 w 227"/>
                  <a:gd name="T89" fmla="*/ 26 h 213"/>
                  <a:gd name="T90" fmla="*/ 142 w 227"/>
                  <a:gd name="T91" fmla="*/ 22 h 213"/>
                  <a:gd name="T92" fmla="*/ 141 w 227"/>
                  <a:gd name="T93" fmla="*/ 16 h 213"/>
                  <a:gd name="T94" fmla="*/ 138 w 227"/>
                  <a:gd name="T95" fmla="*/ 9 h 213"/>
                  <a:gd name="T96" fmla="*/ 133 w 227"/>
                  <a:gd name="T97" fmla="*/ 8 h 213"/>
                  <a:gd name="T98" fmla="*/ 127 w 227"/>
                  <a:gd name="T99" fmla="*/ 10 h 213"/>
                  <a:gd name="T100" fmla="*/ 123 w 227"/>
                  <a:gd name="T101" fmla="*/ 4 h 213"/>
                  <a:gd name="T102" fmla="*/ 115 w 227"/>
                  <a:gd name="T103" fmla="*/ 3 h 213"/>
                  <a:gd name="T104" fmla="*/ 98 w 227"/>
                  <a:gd name="T105"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7" h="213">
                    <a:moveTo>
                      <a:pt x="96" y="0"/>
                    </a:moveTo>
                    <a:cubicBezTo>
                      <a:pt x="92" y="0"/>
                      <a:pt x="90" y="1"/>
                      <a:pt x="86" y="4"/>
                    </a:cubicBezTo>
                    <a:cubicBezTo>
                      <a:pt x="84" y="6"/>
                      <a:pt x="84" y="6"/>
                      <a:pt x="84" y="6"/>
                    </a:cubicBezTo>
                    <a:cubicBezTo>
                      <a:pt x="84" y="7"/>
                      <a:pt x="84" y="7"/>
                      <a:pt x="84" y="7"/>
                    </a:cubicBezTo>
                    <a:cubicBezTo>
                      <a:pt x="84" y="7"/>
                      <a:pt x="83" y="8"/>
                      <a:pt x="83" y="8"/>
                    </a:cubicBezTo>
                    <a:cubicBezTo>
                      <a:pt x="82" y="9"/>
                      <a:pt x="82" y="9"/>
                      <a:pt x="82" y="9"/>
                    </a:cubicBezTo>
                    <a:cubicBezTo>
                      <a:pt x="80" y="11"/>
                      <a:pt x="80" y="11"/>
                      <a:pt x="80" y="11"/>
                    </a:cubicBezTo>
                    <a:cubicBezTo>
                      <a:pt x="77" y="14"/>
                      <a:pt x="74" y="16"/>
                      <a:pt x="71" y="19"/>
                    </a:cubicBezTo>
                    <a:cubicBezTo>
                      <a:pt x="70" y="20"/>
                      <a:pt x="69" y="21"/>
                      <a:pt x="68" y="21"/>
                    </a:cubicBezTo>
                    <a:cubicBezTo>
                      <a:pt x="69" y="27"/>
                      <a:pt x="69" y="27"/>
                      <a:pt x="69" y="27"/>
                    </a:cubicBezTo>
                    <a:cubicBezTo>
                      <a:pt x="66" y="22"/>
                      <a:pt x="66" y="22"/>
                      <a:pt x="66" y="22"/>
                    </a:cubicBezTo>
                    <a:cubicBezTo>
                      <a:pt x="63" y="22"/>
                      <a:pt x="63" y="22"/>
                      <a:pt x="63" y="22"/>
                    </a:cubicBezTo>
                    <a:cubicBezTo>
                      <a:pt x="62" y="22"/>
                      <a:pt x="62" y="23"/>
                      <a:pt x="62" y="23"/>
                    </a:cubicBezTo>
                    <a:cubicBezTo>
                      <a:pt x="61" y="23"/>
                      <a:pt x="60" y="23"/>
                      <a:pt x="60" y="23"/>
                    </a:cubicBezTo>
                    <a:cubicBezTo>
                      <a:pt x="60" y="24"/>
                      <a:pt x="60" y="24"/>
                      <a:pt x="60" y="25"/>
                    </a:cubicBezTo>
                    <a:cubicBezTo>
                      <a:pt x="58" y="29"/>
                      <a:pt x="58" y="34"/>
                      <a:pt x="59" y="39"/>
                    </a:cubicBezTo>
                    <a:cubicBezTo>
                      <a:pt x="59" y="39"/>
                      <a:pt x="59" y="39"/>
                      <a:pt x="59" y="39"/>
                    </a:cubicBezTo>
                    <a:cubicBezTo>
                      <a:pt x="59" y="42"/>
                      <a:pt x="60" y="44"/>
                      <a:pt x="59" y="47"/>
                    </a:cubicBezTo>
                    <a:cubicBezTo>
                      <a:pt x="59" y="49"/>
                      <a:pt x="59" y="50"/>
                      <a:pt x="58" y="52"/>
                    </a:cubicBezTo>
                    <a:cubicBezTo>
                      <a:pt x="58" y="52"/>
                      <a:pt x="58" y="52"/>
                      <a:pt x="58" y="52"/>
                    </a:cubicBezTo>
                    <a:cubicBezTo>
                      <a:pt x="57" y="54"/>
                      <a:pt x="57" y="57"/>
                      <a:pt x="57" y="59"/>
                    </a:cubicBezTo>
                    <a:cubicBezTo>
                      <a:pt x="57" y="60"/>
                      <a:pt x="57" y="61"/>
                      <a:pt x="57" y="63"/>
                    </a:cubicBezTo>
                    <a:cubicBezTo>
                      <a:pt x="57" y="63"/>
                      <a:pt x="57" y="63"/>
                      <a:pt x="57" y="63"/>
                    </a:cubicBezTo>
                    <a:cubicBezTo>
                      <a:pt x="57" y="64"/>
                      <a:pt x="57" y="64"/>
                      <a:pt x="57" y="64"/>
                    </a:cubicBezTo>
                    <a:cubicBezTo>
                      <a:pt x="57" y="66"/>
                      <a:pt x="57" y="68"/>
                      <a:pt x="56" y="69"/>
                    </a:cubicBezTo>
                    <a:cubicBezTo>
                      <a:pt x="55" y="72"/>
                      <a:pt x="53" y="76"/>
                      <a:pt x="52" y="78"/>
                    </a:cubicBezTo>
                    <a:cubicBezTo>
                      <a:pt x="50" y="79"/>
                      <a:pt x="48" y="80"/>
                      <a:pt x="46" y="81"/>
                    </a:cubicBezTo>
                    <a:cubicBezTo>
                      <a:pt x="45" y="81"/>
                      <a:pt x="44" y="81"/>
                      <a:pt x="44" y="82"/>
                    </a:cubicBezTo>
                    <a:cubicBezTo>
                      <a:pt x="42" y="82"/>
                      <a:pt x="41" y="83"/>
                      <a:pt x="39" y="83"/>
                    </a:cubicBezTo>
                    <a:cubicBezTo>
                      <a:pt x="35" y="86"/>
                      <a:pt x="35" y="86"/>
                      <a:pt x="35" y="86"/>
                    </a:cubicBezTo>
                    <a:cubicBezTo>
                      <a:pt x="37" y="89"/>
                      <a:pt x="37" y="89"/>
                      <a:pt x="37" y="89"/>
                    </a:cubicBezTo>
                    <a:cubicBezTo>
                      <a:pt x="34" y="87"/>
                      <a:pt x="34" y="87"/>
                      <a:pt x="34" y="87"/>
                    </a:cubicBezTo>
                    <a:cubicBezTo>
                      <a:pt x="29" y="89"/>
                      <a:pt x="29" y="89"/>
                      <a:pt x="29" y="89"/>
                    </a:cubicBezTo>
                    <a:cubicBezTo>
                      <a:pt x="26" y="91"/>
                      <a:pt x="22" y="93"/>
                      <a:pt x="19" y="95"/>
                    </a:cubicBezTo>
                    <a:cubicBezTo>
                      <a:pt x="14" y="98"/>
                      <a:pt x="9" y="101"/>
                      <a:pt x="4" y="104"/>
                    </a:cubicBezTo>
                    <a:cubicBezTo>
                      <a:pt x="0" y="106"/>
                      <a:pt x="0" y="106"/>
                      <a:pt x="0" y="106"/>
                    </a:cubicBezTo>
                    <a:cubicBezTo>
                      <a:pt x="1" y="106"/>
                      <a:pt x="1" y="106"/>
                      <a:pt x="1" y="106"/>
                    </a:cubicBezTo>
                    <a:cubicBezTo>
                      <a:pt x="6" y="130"/>
                      <a:pt x="6" y="130"/>
                      <a:pt x="6" y="130"/>
                    </a:cubicBezTo>
                    <a:cubicBezTo>
                      <a:pt x="7" y="130"/>
                      <a:pt x="8" y="130"/>
                      <a:pt x="9" y="131"/>
                    </a:cubicBezTo>
                    <a:cubicBezTo>
                      <a:pt x="9" y="131"/>
                      <a:pt x="10" y="131"/>
                      <a:pt x="10" y="131"/>
                    </a:cubicBezTo>
                    <a:cubicBezTo>
                      <a:pt x="11" y="132"/>
                      <a:pt x="11" y="132"/>
                      <a:pt x="11" y="132"/>
                    </a:cubicBezTo>
                    <a:cubicBezTo>
                      <a:pt x="13" y="134"/>
                      <a:pt x="13" y="134"/>
                      <a:pt x="13" y="134"/>
                    </a:cubicBezTo>
                    <a:cubicBezTo>
                      <a:pt x="12" y="135"/>
                      <a:pt x="12" y="135"/>
                      <a:pt x="12" y="135"/>
                    </a:cubicBezTo>
                    <a:cubicBezTo>
                      <a:pt x="35" y="139"/>
                      <a:pt x="35" y="139"/>
                      <a:pt x="35" y="139"/>
                    </a:cubicBezTo>
                    <a:cubicBezTo>
                      <a:pt x="38" y="139"/>
                      <a:pt x="41" y="141"/>
                      <a:pt x="43" y="143"/>
                    </a:cubicBezTo>
                    <a:cubicBezTo>
                      <a:pt x="43" y="143"/>
                      <a:pt x="44" y="144"/>
                      <a:pt x="44" y="144"/>
                    </a:cubicBezTo>
                    <a:cubicBezTo>
                      <a:pt x="51" y="148"/>
                      <a:pt x="57" y="152"/>
                      <a:pt x="64" y="155"/>
                    </a:cubicBezTo>
                    <a:cubicBezTo>
                      <a:pt x="66" y="156"/>
                      <a:pt x="68" y="157"/>
                      <a:pt x="70" y="158"/>
                    </a:cubicBezTo>
                    <a:cubicBezTo>
                      <a:pt x="76" y="162"/>
                      <a:pt x="76" y="162"/>
                      <a:pt x="76" y="162"/>
                    </a:cubicBezTo>
                    <a:cubicBezTo>
                      <a:pt x="82" y="165"/>
                      <a:pt x="87" y="170"/>
                      <a:pt x="92" y="174"/>
                    </a:cubicBezTo>
                    <a:cubicBezTo>
                      <a:pt x="96" y="177"/>
                      <a:pt x="99" y="180"/>
                      <a:pt x="102" y="182"/>
                    </a:cubicBezTo>
                    <a:cubicBezTo>
                      <a:pt x="104" y="184"/>
                      <a:pt x="106" y="186"/>
                      <a:pt x="109" y="187"/>
                    </a:cubicBezTo>
                    <a:cubicBezTo>
                      <a:pt x="119" y="195"/>
                      <a:pt x="119" y="195"/>
                      <a:pt x="119" y="195"/>
                    </a:cubicBezTo>
                    <a:cubicBezTo>
                      <a:pt x="121" y="197"/>
                      <a:pt x="124" y="199"/>
                      <a:pt x="126" y="201"/>
                    </a:cubicBezTo>
                    <a:cubicBezTo>
                      <a:pt x="130" y="204"/>
                      <a:pt x="134" y="207"/>
                      <a:pt x="137" y="209"/>
                    </a:cubicBezTo>
                    <a:cubicBezTo>
                      <a:pt x="138" y="210"/>
                      <a:pt x="139" y="210"/>
                      <a:pt x="140" y="210"/>
                    </a:cubicBezTo>
                    <a:cubicBezTo>
                      <a:pt x="141" y="210"/>
                      <a:pt x="141" y="210"/>
                      <a:pt x="141" y="210"/>
                    </a:cubicBezTo>
                    <a:cubicBezTo>
                      <a:pt x="173" y="213"/>
                      <a:pt x="173" y="213"/>
                      <a:pt x="173" y="213"/>
                    </a:cubicBezTo>
                    <a:cubicBezTo>
                      <a:pt x="174" y="213"/>
                      <a:pt x="174" y="213"/>
                      <a:pt x="174" y="213"/>
                    </a:cubicBezTo>
                    <a:cubicBezTo>
                      <a:pt x="174" y="213"/>
                      <a:pt x="174" y="213"/>
                      <a:pt x="174" y="213"/>
                    </a:cubicBezTo>
                    <a:cubicBezTo>
                      <a:pt x="175" y="213"/>
                      <a:pt x="176" y="213"/>
                      <a:pt x="176" y="213"/>
                    </a:cubicBezTo>
                    <a:cubicBezTo>
                      <a:pt x="176" y="213"/>
                      <a:pt x="176" y="213"/>
                      <a:pt x="176" y="213"/>
                    </a:cubicBezTo>
                    <a:cubicBezTo>
                      <a:pt x="176" y="213"/>
                      <a:pt x="176" y="213"/>
                      <a:pt x="176" y="213"/>
                    </a:cubicBezTo>
                    <a:cubicBezTo>
                      <a:pt x="177" y="213"/>
                      <a:pt x="177" y="213"/>
                      <a:pt x="178" y="212"/>
                    </a:cubicBezTo>
                    <a:cubicBezTo>
                      <a:pt x="178" y="212"/>
                      <a:pt x="178" y="212"/>
                      <a:pt x="178" y="212"/>
                    </a:cubicBezTo>
                    <a:cubicBezTo>
                      <a:pt x="181" y="208"/>
                      <a:pt x="183" y="204"/>
                      <a:pt x="185" y="200"/>
                    </a:cubicBezTo>
                    <a:cubicBezTo>
                      <a:pt x="186" y="200"/>
                      <a:pt x="186" y="199"/>
                      <a:pt x="187" y="198"/>
                    </a:cubicBezTo>
                    <a:cubicBezTo>
                      <a:pt x="187" y="197"/>
                      <a:pt x="187" y="197"/>
                      <a:pt x="187" y="197"/>
                    </a:cubicBezTo>
                    <a:cubicBezTo>
                      <a:pt x="189" y="194"/>
                      <a:pt x="191" y="191"/>
                      <a:pt x="193" y="189"/>
                    </a:cubicBezTo>
                    <a:cubicBezTo>
                      <a:pt x="195" y="188"/>
                      <a:pt x="197" y="187"/>
                      <a:pt x="199" y="186"/>
                    </a:cubicBezTo>
                    <a:cubicBezTo>
                      <a:pt x="200" y="186"/>
                      <a:pt x="201" y="186"/>
                      <a:pt x="202" y="186"/>
                    </a:cubicBezTo>
                    <a:cubicBezTo>
                      <a:pt x="204" y="186"/>
                      <a:pt x="207" y="187"/>
                      <a:pt x="209" y="188"/>
                    </a:cubicBezTo>
                    <a:cubicBezTo>
                      <a:pt x="209" y="185"/>
                      <a:pt x="209" y="185"/>
                      <a:pt x="209" y="185"/>
                    </a:cubicBezTo>
                    <a:cubicBezTo>
                      <a:pt x="214" y="188"/>
                      <a:pt x="214" y="188"/>
                      <a:pt x="214" y="188"/>
                    </a:cubicBezTo>
                    <a:cubicBezTo>
                      <a:pt x="216" y="189"/>
                      <a:pt x="219" y="191"/>
                      <a:pt x="220" y="191"/>
                    </a:cubicBezTo>
                    <a:cubicBezTo>
                      <a:pt x="221" y="191"/>
                      <a:pt x="221" y="191"/>
                      <a:pt x="221" y="191"/>
                    </a:cubicBezTo>
                    <a:cubicBezTo>
                      <a:pt x="221" y="191"/>
                      <a:pt x="221" y="191"/>
                      <a:pt x="221" y="191"/>
                    </a:cubicBezTo>
                    <a:cubicBezTo>
                      <a:pt x="221" y="192"/>
                      <a:pt x="221" y="192"/>
                      <a:pt x="221" y="192"/>
                    </a:cubicBezTo>
                    <a:cubicBezTo>
                      <a:pt x="221" y="192"/>
                      <a:pt x="221" y="192"/>
                      <a:pt x="221" y="192"/>
                    </a:cubicBezTo>
                    <a:cubicBezTo>
                      <a:pt x="221" y="192"/>
                      <a:pt x="221" y="192"/>
                      <a:pt x="221" y="192"/>
                    </a:cubicBezTo>
                    <a:cubicBezTo>
                      <a:pt x="223" y="195"/>
                      <a:pt x="223" y="195"/>
                      <a:pt x="223" y="195"/>
                    </a:cubicBezTo>
                    <a:cubicBezTo>
                      <a:pt x="224" y="195"/>
                      <a:pt x="225" y="195"/>
                      <a:pt x="226" y="195"/>
                    </a:cubicBezTo>
                    <a:cubicBezTo>
                      <a:pt x="227" y="195"/>
                      <a:pt x="227" y="195"/>
                      <a:pt x="227" y="195"/>
                    </a:cubicBezTo>
                    <a:cubicBezTo>
                      <a:pt x="227" y="195"/>
                      <a:pt x="227" y="195"/>
                      <a:pt x="227" y="195"/>
                    </a:cubicBezTo>
                    <a:cubicBezTo>
                      <a:pt x="224" y="193"/>
                      <a:pt x="222" y="191"/>
                      <a:pt x="221" y="189"/>
                    </a:cubicBezTo>
                    <a:cubicBezTo>
                      <a:pt x="220" y="189"/>
                      <a:pt x="220" y="189"/>
                      <a:pt x="220" y="189"/>
                    </a:cubicBezTo>
                    <a:cubicBezTo>
                      <a:pt x="220" y="188"/>
                      <a:pt x="220" y="188"/>
                      <a:pt x="220" y="188"/>
                    </a:cubicBezTo>
                    <a:cubicBezTo>
                      <a:pt x="219" y="187"/>
                      <a:pt x="218" y="186"/>
                      <a:pt x="217" y="185"/>
                    </a:cubicBezTo>
                    <a:cubicBezTo>
                      <a:pt x="216" y="184"/>
                      <a:pt x="216" y="183"/>
                      <a:pt x="215" y="183"/>
                    </a:cubicBezTo>
                    <a:cubicBezTo>
                      <a:pt x="213" y="182"/>
                      <a:pt x="212" y="181"/>
                      <a:pt x="212" y="179"/>
                    </a:cubicBezTo>
                    <a:cubicBezTo>
                      <a:pt x="212" y="178"/>
                      <a:pt x="212" y="178"/>
                      <a:pt x="212" y="178"/>
                    </a:cubicBezTo>
                    <a:cubicBezTo>
                      <a:pt x="212" y="177"/>
                      <a:pt x="212" y="176"/>
                      <a:pt x="212" y="175"/>
                    </a:cubicBezTo>
                    <a:cubicBezTo>
                      <a:pt x="212" y="174"/>
                      <a:pt x="212" y="174"/>
                      <a:pt x="212" y="174"/>
                    </a:cubicBezTo>
                    <a:cubicBezTo>
                      <a:pt x="212" y="173"/>
                      <a:pt x="212" y="171"/>
                      <a:pt x="212" y="169"/>
                    </a:cubicBezTo>
                    <a:cubicBezTo>
                      <a:pt x="212" y="169"/>
                      <a:pt x="212" y="169"/>
                      <a:pt x="212" y="169"/>
                    </a:cubicBezTo>
                    <a:cubicBezTo>
                      <a:pt x="211" y="169"/>
                      <a:pt x="210" y="169"/>
                      <a:pt x="209" y="169"/>
                    </a:cubicBezTo>
                    <a:cubicBezTo>
                      <a:pt x="208" y="169"/>
                      <a:pt x="208" y="169"/>
                      <a:pt x="208" y="169"/>
                    </a:cubicBezTo>
                    <a:cubicBezTo>
                      <a:pt x="207" y="169"/>
                      <a:pt x="207" y="169"/>
                      <a:pt x="206" y="169"/>
                    </a:cubicBezTo>
                    <a:cubicBezTo>
                      <a:pt x="203" y="169"/>
                      <a:pt x="203" y="169"/>
                      <a:pt x="203" y="169"/>
                    </a:cubicBezTo>
                    <a:cubicBezTo>
                      <a:pt x="204" y="166"/>
                      <a:pt x="204" y="166"/>
                      <a:pt x="204" y="166"/>
                    </a:cubicBezTo>
                    <a:cubicBezTo>
                      <a:pt x="204" y="164"/>
                      <a:pt x="204" y="161"/>
                      <a:pt x="204" y="158"/>
                    </a:cubicBezTo>
                    <a:cubicBezTo>
                      <a:pt x="204" y="157"/>
                      <a:pt x="204" y="155"/>
                      <a:pt x="204" y="154"/>
                    </a:cubicBezTo>
                    <a:cubicBezTo>
                      <a:pt x="204" y="153"/>
                      <a:pt x="204" y="153"/>
                      <a:pt x="205" y="152"/>
                    </a:cubicBezTo>
                    <a:cubicBezTo>
                      <a:pt x="206" y="150"/>
                      <a:pt x="206" y="150"/>
                      <a:pt x="206" y="150"/>
                    </a:cubicBezTo>
                    <a:cubicBezTo>
                      <a:pt x="206" y="149"/>
                      <a:pt x="206" y="149"/>
                      <a:pt x="207" y="148"/>
                    </a:cubicBezTo>
                    <a:cubicBezTo>
                      <a:pt x="201" y="146"/>
                      <a:pt x="201" y="146"/>
                      <a:pt x="201" y="146"/>
                    </a:cubicBezTo>
                    <a:cubicBezTo>
                      <a:pt x="207" y="147"/>
                      <a:pt x="207" y="147"/>
                      <a:pt x="207" y="147"/>
                    </a:cubicBezTo>
                    <a:cubicBezTo>
                      <a:pt x="207" y="147"/>
                      <a:pt x="207" y="147"/>
                      <a:pt x="207" y="147"/>
                    </a:cubicBezTo>
                    <a:cubicBezTo>
                      <a:pt x="207" y="146"/>
                      <a:pt x="207" y="146"/>
                      <a:pt x="207" y="146"/>
                    </a:cubicBezTo>
                    <a:cubicBezTo>
                      <a:pt x="207" y="146"/>
                      <a:pt x="207" y="146"/>
                      <a:pt x="207" y="146"/>
                    </a:cubicBezTo>
                    <a:cubicBezTo>
                      <a:pt x="207" y="146"/>
                      <a:pt x="207" y="145"/>
                      <a:pt x="205" y="142"/>
                    </a:cubicBezTo>
                    <a:cubicBezTo>
                      <a:pt x="204" y="140"/>
                      <a:pt x="203" y="139"/>
                      <a:pt x="202" y="138"/>
                    </a:cubicBezTo>
                    <a:cubicBezTo>
                      <a:pt x="202" y="138"/>
                      <a:pt x="202" y="138"/>
                      <a:pt x="202" y="138"/>
                    </a:cubicBezTo>
                    <a:cubicBezTo>
                      <a:pt x="196" y="141"/>
                      <a:pt x="196" y="141"/>
                      <a:pt x="196" y="141"/>
                    </a:cubicBezTo>
                    <a:cubicBezTo>
                      <a:pt x="201" y="136"/>
                      <a:pt x="201" y="136"/>
                      <a:pt x="201" y="136"/>
                    </a:cubicBezTo>
                    <a:cubicBezTo>
                      <a:pt x="200" y="134"/>
                      <a:pt x="199" y="132"/>
                      <a:pt x="198" y="131"/>
                    </a:cubicBezTo>
                    <a:cubicBezTo>
                      <a:pt x="197" y="130"/>
                      <a:pt x="196" y="130"/>
                      <a:pt x="196" y="130"/>
                    </a:cubicBezTo>
                    <a:cubicBezTo>
                      <a:pt x="196" y="130"/>
                      <a:pt x="196" y="130"/>
                      <a:pt x="196" y="130"/>
                    </a:cubicBezTo>
                    <a:cubicBezTo>
                      <a:pt x="196" y="130"/>
                      <a:pt x="195" y="130"/>
                      <a:pt x="195" y="130"/>
                    </a:cubicBezTo>
                    <a:cubicBezTo>
                      <a:pt x="195" y="130"/>
                      <a:pt x="194" y="130"/>
                      <a:pt x="194" y="130"/>
                    </a:cubicBezTo>
                    <a:cubicBezTo>
                      <a:pt x="193" y="130"/>
                      <a:pt x="192" y="130"/>
                      <a:pt x="191" y="130"/>
                    </a:cubicBezTo>
                    <a:cubicBezTo>
                      <a:pt x="191" y="130"/>
                      <a:pt x="190" y="129"/>
                      <a:pt x="190" y="129"/>
                    </a:cubicBezTo>
                    <a:cubicBezTo>
                      <a:pt x="179" y="121"/>
                      <a:pt x="179" y="121"/>
                      <a:pt x="179" y="121"/>
                    </a:cubicBezTo>
                    <a:cubicBezTo>
                      <a:pt x="178" y="120"/>
                      <a:pt x="177" y="119"/>
                      <a:pt x="175" y="119"/>
                    </a:cubicBezTo>
                    <a:cubicBezTo>
                      <a:pt x="174" y="118"/>
                      <a:pt x="173" y="118"/>
                      <a:pt x="173" y="118"/>
                    </a:cubicBezTo>
                    <a:cubicBezTo>
                      <a:pt x="172" y="118"/>
                      <a:pt x="172" y="118"/>
                      <a:pt x="172" y="118"/>
                    </a:cubicBezTo>
                    <a:cubicBezTo>
                      <a:pt x="170" y="118"/>
                      <a:pt x="169" y="117"/>
                      <a:pt x="168" y="117"/>
                    </a:cubicBezTo>
                    <a:cubicBezTo>
                      <a:pt x="167" y="116"/>
                      <a:pt x="167" y="116"/>
                      <a:pt x="167" y="116"/>
                    </a:cubicBezTo>
                    <a:cubicBezTo>
                      <a:pt x="166" y="115"/>
                      <a:pt x="166" y="115"/>
                      <a:pt x="165" y="113"/>
                    </a:cubicBezTo>
                    <a:cubicBezTo>
                      <a:pt x="164" y="112"/>
                      <a:pt x="164" y="110"/>
                      <a:pt x="164" y="108"/>
                    </a:cubicBezTo>
                    <a:cubicBezTo>
                      <a:pt x="164" y="107"/>
                      <a:pt x="164" y="107"/>
                      <a:pt x="164" y="107"/>
                    </a:cubicBezTo>
                    <a:cubicBezTo>
                      <a:pt x="164" y="106"/>
                      <a:pt x="163" y="105"/>
                      <a:pt x="163" y="105"/>
                    </a:cubicBezTo>
                    <a:cubicBezTo>
                      <a:pt x="163" y="105"/>
                      <a:pt x="163" y="104"/>
                      <a:pt x="163" y="103"/>
                    </a:cubicBezTo>
                    <a:cubicBezTo>
                      <a:pt x="163" y="102"/>
                      <a:pt x="163" y="102"/>
                      <a:pt x="163" y="102"/>
                    </a:cubicBezTo>
                    <a:cubicBezTo>
                      <a:pt x="163" y="101"/>
                      <a:pt x="163" y="101"/>
                      <a:pt x="163" y="101"/>
                    </a:cubicBezTo>
                    <a:cubicBezTo>
                      <a:pt x="162" y="101"/>
                      <a:pt x="162" y="101"/>
                      <a:pt x="162" y="101"/>
                    </a:cubicBezTo>
                    <a:cubicBezTo>
                      <a:pt x="162" y="101"/>
                      <a:pt x="162" y="101"/>
                      <a:pt x="162" y="101"/>
                    </a:cubicBezTo>
                    <a:cubicBezTo>
                      <a:pt x="160" y="100"/>
                      <a:pt x="159" y="100"/>
                      <a:pt x="158" y="99"/>
                    </a:cubicBezTo>
                    <a:cubicBezTo>
                      <a:pt x="158" y="99"/>
                      <a:pt x="158" y="99"/>
                      <a:pt x="158" y="99"/>
                    </a:cubicBezTo>
                    <a:cubicBezTo>
                      <a:pt x="152" y="93"/>
                      <a:pt x="152" y="93"/>
                      <a:pt x="152" y="93"/>
                    </a:cubicBezTo>
                    <a:cubicBezTo>
                      <a:pt x="152" y="92"/>
                      <a:pt x="152" y="92"/>
                      <a:pt x="151" y="91"/>
                    </a:cubicBezTo>
                    <a:cubicBezTo>
                      <a:pt x="150" y="90"/>
                      <a:pt x="150" y="89"/>
                      <a:pt x="150" y="87"/>
                    </a:cubicBezTo>
                    <a:cubicBezTo>
                      <a:pt x="150" y="86"/>
                      <a:pt x="150" y="86"/>
                      <a:pt x="150" y="86"/>
                    </a:cubicBezTo>
                    <a:cubicBezTo>
                      <a:pt x="151" y="84"/>
                      <a:pt x="152" y="83"/>
                      <a:pt x="153" y="81"/>
                    </a:cubicBezTo>
                    <a:cubicBezTo>
                      <a:pt x="153" y="80"/>
                      <a:pt x="153" y="80"/>
                      <a:pt x="153" y="80"/>
                    </a:cubicBezTo>
                    <a:cubicBezTo>
                      <a:pt x="153" y="80"/>
                      <a:pt x="153" y="80"/>
                      <a:pt x="153" y="80"/>
                    </a:cubicBezTo>
                    <a:cubicBezTo>
                      <a:pt x="153" y="79"/>
                      <a:pt x="153" y="79"/>
                      <a:pt x="153" y="79"/>
                    </a:cubicBezTo>
                    <a:cubicBezTo>
                      <a:pt x="153" y="78"/>
                      <a:pt x="153" y="78"/>
                      <a:pt x="153" y="78"/>
                    </a:cubicBezTo>
                    <a:cubicBezTo>
                      <a:pt x="152" y="78"/>
                      <a:pt x="152" y="77"/>
                      <a:pt x="151" y="76"/>
                    </a:cubicBezTo>
                    <a:cubicBezTo>
                      <a:pt x="151" y="74"/>
                      <a:pt x="151" y="74"/>
                      <a:pt x="151" y="74"/>
                    </a:cubicBezTo>
                    <a:cubicBezTo>
                      <a:pt x="156" y="68"/>
                      <a:pt x="156" y="68"/>
                      <a:pt x="156" y="68"/>
                    </a:cubicBezTo>
                    <a:cubicBezTo>
                      <a:pt x="158" y="69"/>
                      <a:pt x="158" y="69"/>
                      <a:pt x="158" y="69"/>
                    </a:cubicBezTo>
                    <a:cubicBezTo>
                      <a:pt x="158" y="68"/>
                      <a:pt x="158" y="68"/>
                      <a:pt x="158" y="68"/>
                    </a:cubicBezTo>
                    <a:cubicBezTo>
                      <a:pt x="158" y="64"/>
                      <a:pt x="159" y="62"/>
                      <a:pt x="162" y="58"/>
                    </a:cubicBezTo>
                    <a:cubicBezTo>
                      <a:pt x="162" y="58"/>
                      <a:pt x="162" y="58"/>
                      <a:pt x="162" y="58"/>
                    </a:cubicBezTo>
                    <a:cubicBezTo>
                      <a:pt x="164" y="57"/>
                      <a:pt x="166" y="56"/>
                      <a:pt x="167" y="56"/>
                    </a:cubicBezTo>
                    <a:cubicBezTo>
                      <a:pt x="168" y="56"/>
                      <a:pt x="168" y="56"/>
                      <a:pt x="168" y="56"/>
                    </a:cubicBezTo>
                    <a:cubicBezTo>
                      <a:pt x="168" y="56"/>
                      <a:pt x="168" y="56"/>
                      <a:pt x="168" y="56"/>
                    </a:cubicBezTo>
                    <a:cubicBezTo>
                      <a:pt x="168" y="55"/>
                      <a:pt x="167" y="54"/>
                      <a:pt x="167" y="53"/>
                    </a:cubicBezTo>
                    <a:cubicBezTo>
                      <a:pt x="166" y="53"/>
                      <a:pt x="166" y="53"/>
                      <a:pt x="166" y="53"/>
                    </a:cubicBezTo>
                    <a:cubicBezTo>
                      <a:pt x="166" y="52"/>
                      <a:pt x="165" y="52"/>
                      <a:pt x="165" y="51"/>
                    </a:cubicBezTo>
                    <a:cubicBezTo>
                      <a:pt x="165" y="50"/>
                      <a:pt x="165" y="50"/>
                      <a:pt x="165" y="50"/>
                    </a:cubicBezTo>
                    <a:cubicBezTo>
                      <a:pt x="164" y="49"/>
                      <a:pt x="164" y="48"/>
                      <a:pt x="164" y="47"/>
                    </a:cubicBezTo>
                    <a:cubicBezTo>
                      <a:pt x="164" y="46"/>
                      <a:pt x="164" y="46"/>
                      <a:pt x="164" y="46"/>
                    </a:cubicBezTo>
                    <a:cubicBezTo>
                      <a:pt x="164" y="45"/>
                      <a:pt x="164" y="45"/>
                      <a:pt x="164" y="44"/>
                    </a:cubicBezTo>
                    <a:cubicBezTo>
                      <a:pt x="165" y="43"/>
                      <a:pt x="165" y="43"/>
                      <a:pt x="165" y="43"/>
                    </a:cubicBezTo>
                    <a:cubicBezTo>
                      <a:pt x="165" y="43"/>
                      <a:pt x="165" y="42"/>
                      <a:pt x="165" y="42"/>
                    </a:cubicBezTo>
                    <a:cubicBezTo>
                      <a:pt x="164" y="42"/>
                      <a:pt x="164" y="42"/>
                      <a:pt x="163" y="42"/>
                    </a:cubicBezTo>
                    <a:cubicBezTo>
                      <a:pt x="163" y="42"/>
                      <a:pt x="162" y="42"/>
                      <a:pt x="162" y="42"/>
                    </a:cubicBezTo>
                    <a:cubicBezTo>
                      <a:pt x="161" y="42"/>
                      <a:pt x="159" y="41"/>
                      <a:pt x="158" y="41"/>
                    </a:cubicBezTo>
                    <a:cubicBezTo>
                      <a:pt x="157" y="40"/>
                      <a:pt x="157" y="40"/>
                      <a:pt x="157" y="40"/>
                    </a:cubicBezTo>
                    <a:cubicBezTo>
                      <a:pt x="157" y="39"/>
                      <a:pt x="156" y="38"/>
                      <a:pt x="155" y="37"/>
                    </a:cubicBezTo>
                    <a:cubicBezTo>
                      <a:pt x="155" y="37"/>
                      <a:pt x="154" y="37"/>
                      <a:pt x="154" y="37"/>
                    </a:cubicBezTo>
                    <a:cubicBezTo>
                      <a:pt x="154" y="37"/>
                      <a:pt x="154" y="37"/>
                      <a:pt x="154" y="37"/>
                    </a:cubicBezTo>
                    <a:cubicBezTo>
                      <a:pt x="153" y="37"/>
                      <a:pt x="153" y="37"/>
                      <a:pt x="153" y="37"/>
                    </a:cubicBezTo>
                    <a:cubicBezTo>
                      <a:pt x="152" y="37"/>
                      <a:pt x="152" y="37"/>
                      <a:pt x="152" y="37"/>
                    </a:cubicBezTo>
                    <a:cubicBezTo>
                      <a:pt x="150" y="37"/>
                      <a:pt x="149" y="36"/>
                      <a:pt x="148" y="33"/>
                    </a:cubicBezTo>
                    <a:cubicBezTo>
                      <a:pt x="148" y="32"/>
                      <a:pt x="148" y="32"/>
                      <a:pt x="148" y="32"/>
                    </a:cubicBezTo>
                    <a:cubicBezTo>
                      <a:pt x="148" y="31"/>
                      <a:pt x="148" y="31"/>
                      <a:pt x="148" y="31"/>
                    </a:cubicBezTo>
                    <a:cubicBezTo>
                      <a:pt x="148" y="29"/>
                      <a:pt x="147" y="27"/>
                      <a:pt x="147" y="26"/>
                    </a:cubicBezTo>
                    <a:cubicBezTo>
                      <a:pt x="146" y="25"/>
                      <a:pt x="146" y="25"/>
                      <a:pt x="146" y="25"/>
                    </a:cubicBezTo>
                    <a:cubicBezTo>
                      <a:pt x="146" y="25"/>
                      <a:pt x="146" y="25"/>
                      <a:pt x="146" y="25"/>
                    </a:cubicBezTo>
                    <a:cubicBezTo>
                      <a:pt x="145" y="24"/>
                      <a:pt x="145" y="24"/>
                      <a:pt x="145" y="24"/>
                    </a:cubicBezTo>
                    <a:cubicBezTo>
                      <a:pt x="144" y="23"/>
                      <a:pt x="143" y="23"/>
                      <a:pt x="142" y="22"/>
                    </a:cubicBezTo>
                    <a:cubicBezTo>
                      <a:pt x="141" y="21"/>
                      <a:pt x="141" y="19"/>
                      <a:pt x="141" y="18"/>
                    </a:cubicBezTo>
                    <a:cubicBezTo>
                      <a:pt x="141" y="17"/>
                      <a:pt x="141" y="17"/>
                      <a:pt x="141" y="17"/>
                    </a:cubicBezTo>
                    <a:cubicBezTo>
                      <a:pt x="141" y="17"/>
                      <a:pt x="141" y="17"/>
                      <a:pt x="141" y="17"/>
                    </a:cubicBezTo>
                    <a:cubicBezTo>
                      <a:pt x="141" y="16"/>
                      <a:pt x="141" y="16"/>
                      <a:pt x="141" y="16"/>
                    </a:cubicBezTo>
                    <a:cubicBezTo>
                      <a:pt x="140" y="16"/>
                      <a:pt x="139" y="16"/>
                      <a:pt x="138" y="15"/>
                    </a:cubicBezTo>
                    <a:cubicBezTo>
                      <a:pt x="137" y="14"/>
                      <a:pt x="137" y="12"/>
                      <a:pt x="137" y="11"/>
                    </a:cubicBezTo>
                    <a:cubicBezTo>
                      <a:pt x="137" y="10"/>
                      <a:pt x="137" y="10"/>
                      <a:pt x="137" y="10"/>
                    </a:cubicBezTo>
                    <a:cubicBezTo>
                      <a:pt x="138" y="9"/>
                      <a:pt x="138" y="9"/>
                      <a:pt x="138" y="9"/>
                    </a:cubicBezTo>
                    <a:cubicBezTo>
                      <a:pt x="137" y="8"/>
                      <a:pt x="137" y="8"/>
                      <a:pt x="137" y="8"/>
                    </a:cubicBezTo>
                    <a:cubicBezTo>
                      <a:pt x="137" y="7"/>
                      <a:pt x="137" y="7"/>
                      <a:pt x="137" y="7"/>
                    </a:cubicBezTo>
                    <a:cubicBezTo>
                      <a:pt x="135" y="8"/>
                      <a:pt x="135" y="8"/>
                      <a:pt x="135" y="8"/>
                    </a:cubicBezTo>
                    <a:cubicBezTo>
                      <a:pt x="134" y="8"/>
                      <a:pt x="134" y="8"/>
                      <a:pt x="133" y="8"/>
                    </a:cubicBezTo>
                    <a:cubicBezTo>
                      <a:pt x="133" y="9"/>
                      <a:pt x="133" y="9"/>
                      <a:pt x="133" y="9"/>
                    </a:cubicBezTo>
                    <a:cubicBezTo>
                      <a:pt x="132" y="9"/>
                      <a:pt x="130" y="10"/>
                      <a:pt x="129" y="10"/>
                    </a:cubicBezTo>
                    <a:cubicBezTo>
                      <a:pt x="128" y="10"/>
                      <a:pt x="128" y="10"/>
                      <a:pt x="128" y="10"/>
                    </a:cubicBezTo>
                    <a:cubicBezTo>
                      <a:pt x="127" y="10"/>
                      <a:pt x="127" y="10"/>
                      <a:pt x="127" y="10"/>
                    </a:cubicBezTo>
                    <a:cubicBezTo>
                      <a:pt x="125" y="10"/>
                      <a:pt x="124" y="7"/>
                      <a:pt x="124" y="6"/>
                    </a:cubicBezTo>
                    <a:cubicBezTo>
                      <a:pt x="124" y="6"/>
                      <a:pt x="123" y="6"/>
                      <a:pt x="123" y="5"/>
                    </a:cubicBezTo>
                    <a:cubicBezTo>
                      <a:pt x="123" y="5"/>
                      <a:pt x="123" y="5"/>
                      <a:pt x="123" y="5"/>
                    </a:cubicBezTo>
                    <a:cubicBezTo>
                      <a:pt x="123" y="5"/>
                      <a:pt x="123" y="4"/>
                      <a:pt x="123" y="4"/>
                    </a:cubicBezTo>
                    <a:cubicBezTo>
                      <a:pt x="122" y="3"/>
                      <a:pt x="122" y="3"/>
                      <a:pt x="122" y="3"/>
                    </a:cubicBezTo>
                    <a:cubicBezTo>
                      <a:pt x="122" y="2"/>
                      <a:pt x="122" y="2"/>
                      <a:pt x="121" y="2"/>
                    </a:cubicBezTo>
                    <a:cubicBezTo>
                      <a:pt x="121" y="2"/>
                      <a:pt x="121" y="2"/>
                      <a:pt x="120" y="2"/>
                    </a:cubicBezTo>
                    <a:cubicBezTo>
                      <a:pt x="119" y="3"/>
                      <a:pt x="117" y="3"/>
                      <a:pt x="115" y="3"/>
                    </a:cubicBezTo>
                    <a:cubicBezTo>
                      <a:pt x="112" y="3"/>
                      <a:pt x="108" y="2"/>
                      <a:pt x="105" y="1"/>
                    </a:cubicBezTo>
                    <a:cubicBezTo>
                      <a:pt x="102" y="1"/>
                      <a:pt x="102" y="1"/>
                      <a:pt x="102" y="1"/>
                    </a:cubicBezTo>
                    <a:cubicBezTo>
                      <a:pt x="101" y="1"/>
                      <a:pt x="100" y="0"/>
                      <a:pt x="98" y="0"/>
                    </a:cubicBezTo>
                    <a:cubicBezTo>
                      <a:pt x="98" y="0"/>
                      <a:pt x="98" y="0"/>
                      <a:pt x="98" y="0"/>
                    </a:cubicBezTo>
                    <a:cubicBezTo>
                      <a:pt x="97" y="0"/>
                      <a:pt x="97" y="0"/>
                      <a:pt x="96" y="0"/>
                    </a:cubicBezTo>
                    <a:cubicBezTo>
                      <a:pt x="96" y="0"/>
                      <a:pt x="96" y="0"/>
                      <a:pt x="9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3" name="Freeform 172">
                <a:extLst>
                  <a:ext uri="{FF2B5EF4-FFF2-40B4-BE49-F238E27FC236}">
                    <a16:creationId xmlns:a16="http://schemas.microsoft.com/office/drawing/2014/main" id="{FE5ADCB4-E906-4D66-9A12-7D922C49E8B4}"/>
                  </a:ext>
                </a:extLst>
              </p:cNvPr>
              <p:cNvSpPr>
                <a:spLocks/>
              </p:cNvSpPr>
              <p:nvPr/>
            </p:nvSpPr>
            <p:spPr bwMode="auto">
              <a:xfrm>
                <a:off x="6260" y="1034"/>
                <a:ext cx="90" cy="83"/>
              </a:xfrm>
              <a:custGeom>
                <a:avLst/>
                <a:gdLst>
                  <a:gd name="T0" fmla="*/ 18 w 38"/>
                  <a:gd name="T1" fmla="*/ 0 h 35"/>
                  <a:gd name="T2" fmla="*/ 16 w 38"/>
                  <a:gd name="T3" fmla="*/ 0 h 35"/>
                  <a:gd name="T4" fmla="*/ 13 w 38"/>
                  <a:gd name="T5" fmla="*/ 1 h 35"/>
                  <a:gd name="T6" fmla="*/ 8 w 38"/>
                  <a:gd name="T7" fmla="*/ 8 h 35"/>
                  <a:gd name="T8" fmla="*/ 8 w 38"/>
                  <a:gd name="T9" fmla="*/ 9 h 35"/>
                  <a:gd name="T10" fmla="*/ 6 w 38"/>
                  <a:gd name="T11" fmla="*/ 11 h 35"/>
                  <a:gd name="T12" fmla="*/ 0 w 38"/>
                  <a:gd name="T13" fmla="*/ 21 h 35"/>
                  <a:gd name="T14" fmla="*/ 18 w 38"/>
                  <a:gd name="T15" fmla="*/ 26 h 35"/>
                  <a:gd name="T16" fmla="*/ 22 w 38"/>
                  <a:gd name="T17" fmla="*/ 31 h 35"/>
                  <a:gd name="T18" fmla="*/ 22 w 38"/>
                  <a:gd name="T19" fmla="*/ 32 h 35"/>
                  <a:gd name="T20" fmla="*/ 22 w 38"/>
                  <a:gd name="T21" fmla="*/ 32 h 35"/>
                  <a:gd name="T22" fmla="*/ 23 w 38"/>
                  <a:gd name="T23" fmla="*/ 33 h 35"/>
                  <a:gd name="T24" fmla="*/ 24 w 38"/>
                  <a:gd name="T25" fmla="*/ 34 h 35"/>
                  <a:gd name="T26" fmla="*/ 29 w 38"/>
                  <a:gd name="T27" fmla="*/ 35 h 35"/>
                  <a:gd name="T28" fmla="*/ 35 w 38"/>
                  <a:gd name="T29" fmla="*/ 35 h 35"/>
                  <a:gd name="T30" fmla="*/ 38 w 38"/>
                  <a:gd name="T31" fmla="*/ 35 h 35"/>
                  <a:gd name="T32" fmla="*/ 33 w 38"/>
                  <a:gd name="T33" fmla="*/ 22 h 35"/>
                  <a:gd name="T34" fmla="*/ 31 w 38"/>
                  <a:gd name="T35" fmla="*/ 18 h 35"/>
                  <a:gd name="T36" fmla="*/ 24 w 38"/>
                  <a:gd name="T37" fmla="*/ 16 h 35"/>
                  <a:gd name="T38" fmla="*/ 30 w 38"/>
                  <a:gd name="T39" fmla="*/ 9 h 35"/>
                  <a:gd name="T40" fmla="*/ 30 w 38"/>
                  <a:gd name="T41" fmla="*/ 9 h 35"/>
                  <a:gd name="T42" fmla="*/ 34 w 38"/>
                  <a:gd name="T43" fmla="*/ 11 h 35"/>
                  <a:gd name="T44" fmla="*/ 32 w 38"/>
                  <a:gd name="T45" fmla="*/ 7 h 35"/>
                  <a:gd name="T46" fmla="*/ 30 w 38"/>
                  <a:gd name="T47" fmla="*/ 3 h 35"/>
                  <a:gd name="T48" fmla="*/ 25 w 38"/>
                  <a:gd name="T49" fmla="*/ 1 h 35"/>
                  <a:gd name="T50" fmla="*/ 18 w 38"/>
                  <a:gd name="T5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35">
                    <a:moveTo>
                      <a:pt x="18" y="0"/>
                    </a:moveTo>
                    <a:cubicBezTo>
                      <a:pt x="18" y="0"/>
                      <a:pt x="17" y="0"/>
                      <a:pt x="16" y="0"/>
                    </a:cubicBezTo>
                    <a:cubicBezTo>
                      <a:pt x="15" y="0"/>
                      <a:pt x="14" y="1"/>
                      <a:pt x="13" y="1"/>
                    </a:cubicBezTo>
                    <a:cubicBezTo>
                      <a:pt x="11" y="3"/>
                      <a:pt x="9" y="6"/>
                      <a:pt x="8" y="8"/>
                    </a:cubicBezTo>
                    <a:cubicBezTo>
                      <a:pt x="8" y="9"/>
                      <a:pt x="8" y="9"/>
                      <a:pt x="8" y="9"/>
                    </a:cubicBezTo>
                    <a:cubicBezTo>
                      <a:pt x="7" y="10"/>
                      <a:pt x="7" y="10"/>
                      <a:pt x="6" y="11"/>
                    </a:cubicBezTo>
                    <a:cubicBezTo>
                      <a:pt x="4" y="14"/>
                      <a:pt x="2" y="18"/>
                      <a:pt x="0" y="21"/>
                    </a:cubicBezTo>
                    <a:cubicBezTo>
                      <a:pt x="18" y="26"/>
                      <a:pt x="18" y="26"/>
                      <a:pt x="18" y="26"/>
                    </a:cubicBezTo>
                    <a:cubicBezTo>
                      <a:pt x="21" y="26"/>
                      <a:pt x="22" y="30"/>
                      <a:pt x="22" y="31"/>
                    </a:cubicBezTo>
                    <a:cubicBezTo>
                      <a:pt x="22" y="31"/>
                      <a:pt x="22" y="32"/>
                      <a:pt x="22" y="32"/>
                    </a:cubicBezTo>
                    <a:cubicBezTo>
                      <a:pt x="22" y="32"/>
                      <a:pt x="22" y="32"/>
                      <a:pt x="22" y="32"/>
                    </a:cubicBezTo>
                    <a:cubicBezTo>
                      <a:pt x="23" y="33"/>
                      <a:pt x="23" y="33"/>
                      <a:pt x="23" y="33"/>
                    </a:cubicBezTo>
                    <a:cubicBezTo>
                      <a:pt x="23" y="33"/>
                      <a:pt x="23" y="34"/>
                      <a:pt x="24" y="34"/>
                    </a:cubicBezTo>
                    <a:cubicBezTo>
                      <a:pt x="25" y="35"/>
                      <a:pt x="27" y="35"/>
                      <a:pt x="29" y="35"/>
                    </a:cubicBezTo>
                    <a:cubicBezTo>
                      <a:pt x="31" y="35"/>
                      <a:pt x="33" y="35"/>
                      <a:pt x="35" y="35"/>
                    </a:cubicBezTo>
                    <a:cubicBezTo>
                      <a:pt x="36" y="35"/>
                      <a:pt x="37" y="35"/>
                      <a:pt x="38" y="35"/>
                    </a:cubicBezTo>
                    <a:cubicBezTo>
                      <a:pt x="36" y="30"/>
                      <a:pt x="35" y="26"/>
                      <a:pt x="33" y="22"/>
                    </a:cubicBezTo>
                    <a:cubicBezTo>
                      <a:pt x="32" y="21"/>
                      <a:pt x="32" y="19"/>
                      <a:pt x="31" y="18"/>
                    </a:cubicBezTo>
                    <a:cubicBezTo>
                      <a:pt x="29" y="16"/>
                      <a:pt x="26" y="16"/>
                      <a:pt x="24" y="16"/>
                    </a:cubicBezTo>
                    <a:cubicBezTo>
                      <a:pt x="25" y="14"/>
                      <a:pt x="27" y="10"/>
                      <a:pt x="30" y="9"/>
                    </a:cubicBezTo>
                    <a:cubicBezTo>
                      <a:pt x="30" y="9"/>
                      <a:pt x="30" y="9"/>
                      <a:pt x="30" y="9"/>
                    </a:cubicBezTo>
                    <a:cubicBezTo>
                      <a:pt x="30" y="9"/>
                      <a:pt x="32" y="11"/>
                      <a:pt x="34" y="11"/>
                    </a:cubicBezTo>
                    <a:cubicBezTo>
                      <a:pt x="33" y="10"/>
                      <a:pt x="32" y="8"/>
                      <a:pt x="32" y="7"/>
                    </a:cubicBezTo>
                    <a:cubicBezTo>
                      <a:pt x="31" y="7"/>
                      <a:pt x="30" y="5"/>
                      <a:pt x="30" y="3"/>
                    </a:cubicBezTo>
                    <a:cubicBezTo>
                      <a:pt x="25" y="1"/>
                      <a:pt x="25" y="1"/>
                      <a:pt x="25" y="1"/>
                    </a:cubicBezTo>
                    <a:cubicBezTo>
                      <a:pt x="22" y="0"/>
                      <a:pt x="20"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4" name="Freeform 173">
                <a:extLst>
                  <a:ext uri="{FF2B5EF4-FFF2-40B4-BE49-F238E27FC236}">
                    <a16:creationId xmlns:a16="http://schemas.microsoft.com/office/drawing/2014/main" id="{937BA9E8-C7C8-4172-9D34-E3B05FE7640B}"/>
                  </a:ext>
                </a:extLst>
              </p:cNvPr>
              <p:cNvSpPr>
                <a:spLocks/>
              </p:cNvSpPr>
              <p:nvPr/>
            </p:nvSpPr>
            <p:spPr bwMode="auto">
              <a:xfrm>
                <a:off x="6334" y="1041"/>
                <a:ext cx="16" cy="17"/>
              </a:xfrm>
              <a:custGeom>
                <a:avLst/>
                <a:gdLst>
                  <a:gd name="T0" fmla="*/ 1 w 7"/>
                  <a:gd name="T1" fmla="*/ 0 h 7"/>
                  <a:gd name="T2" fmla="*/ 0 w 7"/>
                  <a:gd name="T3" fmla="*/ 2 h 7"/>
                  <a:gd name="T4" fmla="*/ 4 w 7"/>
                  <a:gd name="T5" fmla="*/ 7 h 7"/>
                  <a:gd name="T6" fmla="*/ 7 w 7"/>
                  <a:gd name="T7" fmla="*/ 3 h 7"/>
                  <a:gd name="T8" fmla="*/ 3 w 7"/>
                  <a:gd name="T9" fmla="*/ 2 h 7"/>
                  <a:gd name="T10" fmla="*/ 3 w 7"/>
                  <a:gd name="T11" fmla="*/ 1 h 7"/>
                  <a:gd name="T12" fmla="*/ 1 w 7"/>
                  <a:gd name="T13" fmla="*/ 2 h 7"/>
                  <a:gd name="T14" fmla="*/ 2 w 7"/>
                  <a:gd name="T15" fmla="*/ 1 h 7"/>
                  <a:gd name="T16" fmla="*/ 1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1" y="0"/>
                    </a:moveTo>
                    <a:cubicBezTo>
                      <a:pt x="0" y="1"/>
                      <a:pt x="0" y="2"/>
                      <a:pt x="0" y="2"/>
                    </a:cubicBezTo>
                    <a:cubicBezTo>
                      <a:pt x="0" y="4"/>
                      <a:pt x="2" y="6"/>
                      <a:pt x="4" y="7"/>
                    </a:cubicBezTo>
                    <a:cubicBezTo>
                      <a:pt x="6" y="6"/>
                      <a:pt x="7" y="5"/>
                      <a:pt x="7" y="3"/>
                    </a:cubicBezTo>
                    <a:cubicBezTo>
                      <a:pt x="3" y="2"/>
                      <a:pt x="3" y="2"/>
                      <a:pt x="3" y="2"/>
                    </a:cubicBezTo>
                    <a:cubicBezTo>
                      <a:pt x="3" y="1"/>
                      <a:pt x="3" y="1"/>
                      <a:pt x="3" y="1"/>
                    </a:cubicBezTo>
                    <a:cubicBezTo>
                      <a:pt x="1" y="2"/>
                      <a:pt x="1" y="2"/>
                      <a:pt x="1" y="2"/>
                    </a:cubicBezTo>
                    <a:cubicBezTo>
                      <a:pt x="2" y="1"/>
                      <a:pt x="2" y="1"/>
                      <a:pt x="2" y="1"/>
                    </a:cubicBezTo>
                    <a:cubicBezTo>
                      <a:pt x="2"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5" name="Freeform 174">
                <a:extLst>
                  <a:ext uri="{FF2B5EF4-FFF2-40B4-BE49-F238E27FC236}">
                    <a16:creationId xmlns:a16="http://schemas.microsoft.com/office/drawing/2014/main" id="{C84B7C7C-9130-4A5E-BEEB-9F105B9B6E80}"/>
                  </a:ext>
                </a:extLst>
              </p:cNvPr>
              <p:cNvSpPr>
                <a:spLocks/>
              </p:cNvSpPr>
              <p:nvPr/>
            </p:nvSpPr>
            <p:spPr bwMode="auto">
              <a:xfrm>
                <a:off x="5648" y="590"/>
                <a:ext cx="362" cy="295"/>
              </a:xfrm>
              <a:custGeom>
                <a:avLst/>
                <a:gdLst>
                  <a:gd name="T0" fmla="*/ 147 w 153"/>
                  <a:gd name="T1" fmla="*/ 1 h 125"/>
                  <a:gd name="T2" fmla="*/ 121 w 153"/>
                  <a:gd name="T3" fmla="*/ 3 h 125"/>
                  <a:gd name="T4" fmla="*/ 112 w 153"/>
                  <a:gd name="T5" fmla="*/ 6 h 125"/>
                  <a:gd name="T6" fmla="*/ 107 w 153"/>
                  <a:gd name="T7" fmla="*/ 9 h 125"/>
                  <a:gd name="T8" fmla="*/ 88 w 153"/>
                  <a:gd name="T9" fmla="*/ 14 h 125"/>
                  <a:gd name="T10" fmla="*/ 87 w 153"/>
                  <a:gd name="T11" fmla="*/ 15 h 125"/>
                  <a:gd name="T12" fmla="*/ 70 w 153"/>
                  <a:gd name="T13" fmla="*/ 13 h 125"/>
                  <a:gd name="T14" fmla="*/ 67 w 153"/>
                  <a:gd name="T15" fmla="*/ 12 h 125"/>
                  <a:gd name="T16" fmla="*/ 65 w 153"/>
                  <a:gd name="T17" fmla="*/ 11 h 125"/>
                  <a:gd name="T18" fmla="*/ 59 w 153"/>
                  <a:gd name="T19" fmla="*/ 9 h 125"/>
                  <a:gd name="T20" fmla="*/ 55 w 153"/>
                  <a:gd name="T21" fmla="*/ 11 h 125"/>
                  <a:gd name="T22" fmla="*/ 37 w 153"/>
                  <a:gd name="T23" fmla="*/ 16 h 125"/>
                  <a:gd name="T24" fmla="*/ 28 w 153"/>
                  <a:gd name="T25" fmla="*/ 15 h 125"/>
                  <a:gd name="T26" fmla="*/ 22 w 153"/>
                  <a:gd name="T27" fmla="*/ 18 h 125"/>
                  <a:gd name="T28" fmla="*/ 30 w 153"/>
                  <a:gd name="T29" fmla="*/ 21 h 125"/>
                  <a:gd name="T30" fmla="*/ 22 w 153"/>
                  <a:gd name="T31" fmla="*/ 25 h 125"/>
                  <a:gd name="T32" fmla="*/ 19 w 153"/>
                  <a:gd name="T33" fmla="*/ 27 h 125"/>
                  <a:gd name="T34" fmla="*/ 18 w 153"/>
                  <a:gd name="T35" fmla="*/ 28 h 125"/>
                  <a:gd name="T36" fmla="*/ 15 w 153"/>
                  <a:gd name="T37" fmla="*/ 33 h 125"/>
                  <a:gd name="T38" fmla="*/ 13 w 153"/>
                  <a:gd name="T39" fmla="*/ 34 h 125"/>
                  <a:gd name="T40" fmla="*/ 13 w 153"/>
                  <a:gd name="T41" fmla="*/ 36 h 125"/>
                  <a:gd name="T42" fmla="*/ 9 w 153"/>
                  <a:gd name="T43" fmla="*/ 38 h 125"/>
                  <a:gd name="T44" fmla="*/ 1 w 153"/>
                  <a:gd name="T45" fmla="*/ 38 h 125"/>
                  <a:gd name="T46" fmla="*/ 4 w 153"/>
                  <a:gd name="T47" fmla="*/ 47 h 125"/>
                  <a:gd name="T48" fmla="*/ 5 w 153"/>
                  <a:gd name="T49" fmla="*/ 64 h 125"/>
                  <a:gd name="T50" fmla="*/ 9 w 153"/>
                  <a:gd name="T51" fmla="*/ 64 h 125"/>
                  <a:gd name="T52" fmla="*/ 13 w 153"/>
                  <a:gd name="T53" fmla="*/ 64 h 125"/>
                  <a:gd name="T54" fmla="*/ 17 w 153"/>
                  <a:gd name="T55" fmla="*/ 64 h 125"/>
                  <a:gd name="T56" fmla="*/ 19 w 153"/>
                  <a:gd name="T57" fmla="*/ 69 h 125"/>
                  <a:gd name="T58" fmla="*/ 22 w 153"/>
                  <a:gd name="T59" fmla="*/ 74 h 125"/>
                  <a:gd name="T60" fmla="*/ 21 w 153"/>
                  <a:gd name="T61" fmla="*/ 82 h 125"/>
                  <a:gd name="T62" fmla="*/ 36 w 153"/>
                  <a:gd name="T63" fmla="*/ 104 h 125"/>
                  <a:gd name="T64" fmla="*/ 12 w 153"/>
                  <a:gd name="T65" fmla="*/ 90 h 125"/>
                  <a:gd name="T66" fmla="*/ 9 w 153"/>
                  <a:gd name="T67" fmla="*/ 92 h 125"/>
                  <a:gd name="T68" fmla="*/ 10 w 153"/>
                  <a:gd name="T69" fmla="*/ 95 h 125"/>
                  <a:gd name="T70" fmla="*/ 9 w 153"/>
                  <a:gd name="T71" fmla="*/ 97 h 125"/>
                  <a:gd name="T72" fmla="*/ 4 w 153"/>
                  <a:gd name="T73" fmla="*/ 102 h 125"/>
                  <a:gd name="T74" fmla="*/ 2 w 153"/>
                  <a:gd name="T75" fmla="*/ 103 h 125"/>
                  <a:gd name="T76" fmla="*/ 1 w 153"/>
                  <a:gd name="T77" fmla="*/ 108 h 125"/>
                  <a:gd name="T78" fmla="*/ 1 w 153"/>
                  <a:gd name="T79" fmla="*/ 114 h 125"/>
                  <a:gd name="T80" fmla="*/ 3 w 153"/>
                  <a:gd name="T81" fmla="*/ 115 h 125"/>
                  <a:gd name="T82" fmla="*/ 6 w 153"/>
                  <a:gd name="T83" fmla="*/ 117 h 125"/>
                  <a:gd name="T84" fmla="*/ 10 w 153"/>
                  <a:gd name="T85" fmla="*/ 120 h 125"/>
                  <a:gd name="T86" fmla="*/ 28 w 153"/>
                  <a:gd name="T87" fmla="*/ 123 h 125"/>
                  <a:gd name="T88" fmla="*/ 71 w 153"/>
                  <a:gd name="T89" fmla="*/ 98 h 125"/>
                  <a:gd name="T90" fmla="*/ 73 w 153"/>
                  <a:gd name="T91" fmla="*/ 97 h 125"/>
                  <a:gd name="T92" fmla="*/ 91 w 153"/>
                  <a:gd name="T93" fmla="*/ 86 h 125"/>
                  <a:gd name="T94" fmla="*/ 105 w 153"/>
                  <a:gd name="T95" fmla="*/ 78 h 125"/>
                  <a:gd name="T96" fmla="*/ 116 w 153"/>
                  <a:gd name="T97" fmla="*/ 72 h 125"/>
                  <a:gd name="T98" fmla="*/ 119 w 153"/>
                  <a:gd name="T99" fmla="*/ 71 h 125"/>
                  <a:gd name="T100" fmla="*/ 126 w 153"/>
                  <a:gd name="T101" fmla="*/ 63 h 125"/>
                  <a:gd name="T102" fmla="*/ 126 w 153"/>
                  <a:gd name="T103" fmla="*/ 59 h 125"/>
                  <a:gd name="T104" fmla="*/ 127 w 153"/>
                  <a:gd name="T105" fmla="*/ 47 h 125"/>
                  <a:gd name="T106" fmla="*/ 129 w 153"/>
                  <a:gd name="T107" fmla="*/ 42 h 125"/>
                  <a:gd name="T108" fmla="*/ 128 w 153"/>
                  <a:gd name="T109" fmla="*/ 35 h 125"/>
                  <a:gd name="T110" fmla="*/ 130 w 153"/>
                  <a:gd name="T111" fmla="*/ 16 h 125"/>
                  <a:gd name="T112" fmla="*/ 138 w 153"/>
                  <a:gd name="T113" fmla="*/ 12 h 125"/>
                  <a:gd name="T114" fmla="*/ 140 w 153"/>
                  <a:gd name="T115" fmla="*/ 12 h 125"/>
                  <a:gd name="T116" fmla="*/ 142 w 153"/>
                  <a:gd name="T117" fmla="*/ 11 h 125"/>
                  <a:gd name="T118" fmla="*/ 153 w 153"/>
                  <a:gd name="T119" fmla="*/ 1 h 125"/>
                  <a:gd name="T120" fmla="*/ 153 w 153"/>
                  <a:gd name="T121"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 h="125">
                    <a:moveTo>
                      <a:pt x="153" y="0"/>
                    </a:moveTo>
                    <a:cubicBezTo>
                      <a:pt x="151" y="0"/>
                      <a:pt x="149" y="1"/>
                      <a:pt x="147" y="1"/>
                    </a:cubicBezTo>
                    <a:cubicBezTo>
                      <a:pt x="140" y="3"/>
                      <a:pt x="133" y="3"/>
                      <a:pt x="125" y="3"/>
                    </a:cubicBezTo>
                    <a:cubicBezTo>
                      <a:pt x="124" y="3"/>
                      <a:pt x="122" y="3"/>
                      <a:pt x="121" y="3"/>
                    </a:cubicBezTo>
                    <a:cubicBezTo>
                      <a:pt x="121" y="3"/>
                      <a:pt x="121" y="3"/>
                      <a:pt x="121" y="3"/>
                    </a:cubicBezTo>
                    <a:cubicBezTo>
                      <a:pt x="118" y="3"/>
                      <a:pt x="115" y="5"/>
                      <a:pt x="112" y="6"/>
                    </a:cubicBezTo>
                    <a:cubicBezTo>
                      <a:pt x="111" y="7"/>
                      <a:pt x="110" y="7"/>
                      <a:pt x="109" y="8"/>
                    </a:cubicBezTo>
                    <a:cubicBezTo>
                      <a:pt x="108" y="8"/>
                      <a:pt x="107" y="8"/>
                      <a:pt x="107" y="9"/>
                    </a:cubicBezTo>
                    <a:cubicBezTo>
                      <a:pt x="102" y="10"/>
                      <a:pt x="102" y="10"/>
                      <a:pt x="102" y="10"/>
                    </a:cubicBezTo>
                    <a:cubicBezTo>
                      <a:pt x="98" y="12"/>
                      <a:pt x="93" y="13"/>
                      <a:pt x="88" y="14"/>
                    </a:cubicBezTo>
                    <a:cubicBezTo>
                      <a:pt x="88" y="14"/>
                      <a:pt x="87" y="14"/>
                      <a:pt x="87" y="14"/>
                    </a:cubicBezTo>
                    <a:cubicBezTo>
                      <a:pt x="87" y="15"/>
                      <a:pt x="87" y="15"/>
                      <a:pt x="87" y="15"/>
                    </a:cubicBezTo>
                    <a:cubicBezTo>
                      <a:pt x="86" y="15"/>
                      <a:pt x="85" y="15"/>
                      <a:pt x="84" y="15"/>
                    </a:cubicBezTo>
                    <a:cubicBezTo>
                      <a:pt x="79" y="15"/>
                      <a:pt x="75" y="14"/>
                      <a:pt x="70" y="13"/>
                    </a:cubicBezTo>
                    <a:cubicBezTo>
                      <a:pt x="69" y="13"/>
                      <a:pt x="69" y="13"/>
                      <a:pt x="69" y="13"/>
                    </a:cubicBezTo>
                    <a:cubicBezTo>
                      <a:pt x="68" y="13"/>
                      <a:pt x="68" y="12"/>
                      <a:pt x="67" y="12"/>
                    </a:cubicBezTo>
                    <a:cubicBezTo>
                      <a:pt x="67" y="12"/>
                      <a:pt x="67" y="12"/>
                      <a:pt x="67" y="12"/>
                    </a:cubicBezTo>
                    <a:cubicBezTo>
                      <a:pt x="66" y="11"/>
                      <a:pt x="66" y="11"/>
                      <a:pt x="65" y="11"/>
                    </a:cubicBezTo>
                    <a:cubicBezTo>
                      <a:pt x="61" y="10"/>
                      <a:pt x="61" y="10"/>
                      <a:pt x="61" y="10"/>
                    </a:cubicBezTo>
                    <a:cubicBezTo>
                      <a:pt x="60" y="9"/>
                      <a:pt x="59" y="9"/>
                      <a:pt x="59" y="9"/>
                    </a:cubicBezTo>
                    <a:cubicBezTo>
                      <a:pt x="58" y="9"/>
                      <a:pt x="58" y="9"/>
                      <a:pt x="56" y="10"/>
                    </a:cubicBezTo>
                    <a:cubicBezTo>
                      <a:pt x="55" y="11"/>
                      <a:pt x="55" y="11"/>
                      <a:pt x="55" y="11"/>
                    </a:cubicBezTo>
                    <a:cubicBezTo>
                      <a:pt x="48" y="14"/>
                      <a:pt x="43" y="15"/>
                      <a:pt x="38" y="16"/>
                    </a:cubicBezTo>
                    <a:cubicBezTo>
                      <a:pt x="37" y="16"/>
                      <a:pt x="37" y="16"/>
                      <a:pt x="37" y="16"/>
                    </a:cubicBezTo>
                    <a:cubicBezTo>
                      <a:pt x="36" y="16"/>
                      <a:pt x="34" y="16"/>
                      <a:pt x="33" y="16"/>
                    </a:cubicBezTo>
                    <a:cubicBezTo>
                      <a:pt x="31" y="16"/>
                      <a:pt x="30" y="16"/>
                      <a:pt x="28" y="15"/>
                    </a:cubicBezTo>
                    <a:cubicBezTo>
                      <a:pt x="23" y="12"/>
                      <a:pt x="23" y="12"/>
                      <a:pt x="23" y="12"/>
                    </a:cubicBezTo>
                    <a:cubicBezTo>
                      <a:pt x="23" y="14"/>
                      <a:pt x="22" y="16"/>
                      <a:pt x="22" y="18"/>
                    </a:cubicBezTo>
                    <a:cubicBezTo>
                      <a:pt x="22" y="19"/>
                      <a:pt x="23" y="19"/>
                      <a:pt x="23" y="19"/>
                    </a:cubicBezTo>
                    <a:cubicBezTo>
                      <a:pt x="30" y="21"/>
                      <a:pt x="30" y="21"/>
                      <a:pt x="30" y="21"/>
                    </a:cubicBezTo>
                    <a:cubicBezTo>
                      <a:pt x="23" y="25"/>
                      <a:pt x="23" y="25"/>
                      <a:pt x="23" y="25"/>
                    </a:cubicBezTo>
                    <a:cubicBezTo>
                      <a:pt x="23" y="25"/>
                      <a:pt x="22" y="25"/>
                      <a:pt x="22" y="25"/>
                    </a:cubicBezTo>
                    <a:cubicBezTo>
                      <a:pt x="21" y="26"/>
                      <a:pt x="21" y="26"/>
                      <a:pt x="21" y="26"/>
                    </a:cubicBezTo>
                    <a:cubicBezTo>
                      <a:pt x="20" y="26"/>
                      <a:pt x="19" y="26"/>
                      <a:pt x="19" y="27"/>
                    </a:cubicBezTo>
                    <a:cubicBezTo>
                      <a:pt x="18" y="27"/>
                      <a:pt x="18" y="27"/>
                      <a:pt x="18" y="27"/>
                    </a:cubicBezTo>
                    <a:cubicBezTo>
                      <a:pt x="18" y="27"/>
                      <a:pt x="18" y="27"/>
                      <a:pt x="18" y="28"/>
                    </a:cubicBezTo>
                    <a:cubicBezTo>
                      <a:pt x="18" y="28"/>
                      <a:pt x="18" y="28"/>
                      <a:pt x="18" y="28"/>
                    </a:cubicBezTo>
                    <a:cubicBezTo>
                      <a:pt x="18" y="31"/>
                      <a:pt x="16" y="32"/>
                      <a:pt x="15" y="33"/>
                    </a:cubicBezTo>
                    <a:cubicBezTo>
                      <a:pt x="14" y="33"/>
                      <a:pt x="14" y="33"/>
                      <a:pt x="14" y="34"/>
                    </a:cubicBezTo>
                    <a:cubicBezTo>
                      <a:pt x="13" y="34"/>
                      <a:pt x="13" y="34"/>
                      <a:pt x="13" y="34"/>
                    </a:cubicBezTo>
                    <a:cubicBezTo>
                      <a:pt x="13" y="35"/>
                      <a:pt x="13" y="35"/>
                      <a:pt x="13" y="35"/>
                    </a:cubicBezTo>
                    <a:cubicBezTo>
                      <a:pt x="13" y="36"/>
                      <a:pt x="13" y="36"/>
                      <a:pt x="13" y="36"/>
                    </a:cubicBezTo>
                    <a:cubicBezTo>
                      <a:pt x="12" y="39"/>
                      <a:pt x="12" y="39"/>
                      <a:pt x="12" y="39"/>
                    </a:cubicBezTo>
                    <a:cubicBezTo>
                      <a:pt x="9" y="38"/>
                      <a:pt x="9" y="38"/>
                      <a:pt x="9" y="38"/>
                    </a:cubicBezTo>
                    <a:cubicBezTo>
                      <a:pt x="7" y="37"/>
                      <a:pt x="4" y="36"/>
                      <a:pt x="2" y="35"/>
                    </a:cubicBezTo>
                    <a:cubicBezTo>
                      <a:pt x="2" y="36"/>
                      <a:pt x="1" y="37"/>
                      <a:pt x="1" y="38"/>
                    </a:cubicBezTo>
                    <a:cubicBezTo>
                      <a:pt x="1" y="39"/>
                      <a:pt x="1" y="41"/>
                      <a:pt x="0" y="42"/>
                    </a:cubicBezTo>
                    <a:cubicBezTo>
                      <a:pt x="2" y="44"/>
                      <a:pt x="4" y="45"/>
                      <a:pt x="4" y="47"/>
                    </a:cubicBezTo>
                    <a:cubicBezTo>
                      <a:pt x="5" y="51"/>
                      <a:pt x="4" y="54"/>
                      <a:pt x="4" y="57"/>
                    </a:cubicBezTo>
                    <a:cubicBezTo>
                      <a:pt x="4" y="60"/>
                      <a:pt x="5" y="62"/>
                      <a:pt x="5" y="64"/>
                    </a:cubicBezTo>
                    <a:cubicBezTo>
                      <a:pt x="6" y="64"/>
                      <a:pt x="6" y="64"/>
                      <a:pt x="6" y="64"/>
                    </a:cubicBezTo>
                    <a:cubicBezTo>
                      <a:pt x="7" y="64"/>
                      <a:pt x="8" y="64"/>
                      <a:pt x="9" y="64"/>
                    </a:cubicBezTo>
                    <a:cubicBezTo>
                      <a:pt x="10" y="64"/>
                      <a:pt x="10" y="64"/>
                      <a:pt x="11" y="64"/>
                    </a:cubicBezTo>
                    <a:cubicBezTo>
                      <a:pt x="12" y="64"/>
                      <a:pt x="12" y="64"/>
                      <a:pt x="13" y="64"/>
                    </a:cubicBezTo>
                    <a:cubicBezTo>
                      <a:pt x="14" y="64"/>
                      <a:pt x="14" y="64"/>
                      <a:pt x="14" y="64"/>
                    </a:cubicBezTo>
                    <a:cubicBezTo>
                      <a:pt x="15" y="64"/>
                      <a:pt x="16" y="64"/>
                      <a:pt x="17" y="64"/>
                    </a:cubicBezTo>
                    <a:cubicBezTo>
                      <a:pt x="23" y="64"/>
                      <a:pt x="23" y="64"/>
                      <a:pt x="23" y="64"/>
                    </a:cubicBezTo>
                    <a:cubicBezTo>
                      <a:pt x="19" y="69"/>
                      <a:pt x="19" y="69"/>
                      <a:pt x="19" y="69"/>
                    </a:cubicBezTo>
                    <a:cubicBezTo>
                      <a:pt x="20" y="70"/>
                      <a:pt x="21" y="71"/>
                      <a:pt x="22" y="73"/>
                    </a:cubicBezTo>
                    <a:cubicBezTo>
                      <a:pt x="22" y="74"/>
                      <a:pt x="22" y="74"/>
                      <a:pt x="22" y="74"/>
                    </a:cubicBezTo>
                    <a:cubicBezTo>
                      <a:pt x="23" y="75"/>
                      <a:pt x="25" y="78"/>
                      <a:pt x="22" y="81"/>
                    </a:cubicBezTo>
                    <a:cubicBezTo>
                      <a:pt x="22" y="81"/>
                      <a:pt x="21" y="82"/>
                      <a:pt x="21" y="82"/>
                    </a:cubicBezTo>
                    <a:cubicBezTo>
                      <a:pt x="18" y="84"/>
                      <a:pt x="17" y="85"/>
                      <a:pt x="17" y="86"/>
                    </a:cubicBezTo>
                    <a:cubicBezTo>
                      <a:pt x="36" y="104"/>
                      <a:pt x="36" y="104"/>
                      <a:pt x="36" y="104"/>
                    </a:cubicBezTo>
                    <a:cubicBezTo>
                      <a:pt x="13" y="91"/>
                      <a:pt x="13" y="91"/>
                      <a:pt x="13" y="91"/>
                    </a:cubicBezTo>
                    <a:cubicBezTo>
                      <a:pt x="13" y="90"/>
                      <a:pt x="12" y="90"/>
                      <a:pt x="12" y="90"/>
                    </a:cubicBezTo>
                    <a:cubicBezTo>
                      <a:pt x="11" y="90"/>
                      <a:pt x="11" y="90"/>
                      <a:pt x="10" y="91"/>
                    </a:cubicBezTo>
                    <a:cubicBezTo>
                      <a:pt x="9" y="91"/>
                      <a:pt x="9" y="91"/>
                      <a:pt x="9" y="92"/>
                    </a:cubicBezTo>
                    <a:cubicBezTo>
                      <a:pt x="9" y="92"/>
                      <a:pt x="9" y="92"/>
                      <a:pt x="9" y="92"/>
                    </a:cubicBezTo>
                    <a:cubicBezTo>
                      <a:pt x="9" y="92"/>
                      <a:pt x="10" y="94"/>
                      <a:pt x="10" y="95"/>
                    </a:cubicBezTo>
                    <a:cubicBezTo>
                      <a:pt x="10" y="96"/>
                      <a:pt x="10" y="96"/>
                      <a:pt x="10" y="96"/>
                    </a:cubicBezTo>
                    <a:cubicBezTo>
                      <a:pt x="9" y="97"/>
                      <a:pt x="9" y="97"/>
                      <a:pt x="9" y="97"/>
                    </a:cubicBezTo>
                    <a:cubicBezTo>
                      <a:pt x="8" y="98"/>
                      <a:pt x="8" y="98"/>
                      <a:pt x="8" y="98"/>
                    </a:cubicBezTo>
                    <a:cubicBezTo>
                      <a:pt x="7" y="99"/>
                      <a:pt x="6" y="101"/>
                      <a:pt x="4" y="102"/>
                    </a:cubicBezTo>
                    <a:cubicBezTo>
                      <a:pt x="4" y="102"/>
                      <a:pt x="3" y="103"/>
                      <a:pt x="2" y="103"/>
                    </a:cubicBezTo>
                    <a:cubicBezTo>
                      <a:pt x="2" y="103"/>
                      <a:pt x="2" y="103"/>
                      <a:pt x="2" y="103"/>
                    </a:cubicBezTo>
                    <a:cubicBezTo>
                      <a:pt x="1" y="104"/>
                      <a:pt x="1" y="104"/>
                      <a:pt x="1" y="104"/>
                    </a:cubicBezTo>
                    <a:cubicBezTo>
                      <a:pt x="1" y="105"/>
                      <a:pt x="1" y="107"/>
                      <a:pt x="1" y="108"/>
                    </a:cubicBezTo>
                    <a:cubicBezTo>
                      <a:pt x="1" y="109"/>
                      <a:pt x="1" y="110"/>
                      <a:pt x="1" y="111"/>
                    </a:cubicBezTo>
                    <a:cubicBezTo>
                      <a:pt x="1" y="112"/>
                      <a:pt x="1" y="113"/>
                      <a:pt x="1" y="114"/>
                    </a:cubicBezTo>
                    <a:cubicBezTo>
                      <a:pt x="1" y="115"/>
                      <a:pt x="1" y="115"/>
                      <a:pt x="1" y="115"/>
                    </a:cubicBezTo>
                    <a:cubicBezTo>
                      <a:pt x="2" y="115"/>
                      <a:pt x="2" y="115"/>
                      <a:pt x="3" y="115"/>
                    </a:cubicBezTo>
                    <a:cubicBezTo>
                      <a:pt x="4" y="116"/>
                      <a:pt x="4" y="116"/>
                      <a:pt x="4" y="116"/>
                    </a:cubicBezTo>
                    <a:cubicBezTo>
                      <a:pt x="4" y="116"/>
                      <a:pt x="5" y="117"/>
                      <a:pt x="6" y="117"/>
                    </a:cubicBezTo>
                    <a:cubicBezTo>
                      <a:pt x="7" y="118"/>
                      <a:pt x="7" y="118"/>
                      <a:pt x="7" y="118"/>
                    </a:cubicBezTo>
                    <a:cubicBezTo>
                      <a:pt x="8" y="118"/>
                      <a:pt x="9" y="119"/>
                      <a:pt x="10" y="120"/>
                    </a:cubicBezTo>
                    <a:cubicBezTo>
                      <a:pt x="18" y="124"/>
                      <a:pt x="22" y="125"/>
                      <a:pt x="24" y="125"/>
                    </a:cubicBezTo>
                    <a:cubicBezTo>
                      <a:pt x="26" y="125"/>
                      <a:pt x="27" y="124"/>
                      <a:pt x="28" y="123"/>
                    </a:cubicBezTo>
                    <a:cubicBezTo>
                      <a:pt x="29" y="123"/>
                      <a:pt x="30" y="122"/>
                      <a:pt x="31" y="121"/>
                    </a:cubicBezTo>
                    <a:cubicBezTo>
                      <a:pt x="39" y="116"/>
                      <a:pt x="61" y="103"/>
                      <a:pt x="71" y="98"/>
                    </a:cubicBezTo>
                    <a:cubicBezTo>
                      <a:pt x="72" y="96"/>
                      <a:pt x="72" y="96"/>
                      <a:pt x="72" y="96"/>
                    </a:cubicBezTo>
                    <a:cubicBezTo>
                      <a:pt x="73" y="97"/>
                      <a:pt x="73" y="97"/>
                      <a:pt x="73" y="97"/>
                    </a:cubicBezTo>
                    <a:cubicBezTo>
                      <a:pt x="76" y="95"/>
                      <a:pt x="76" y="95"/>
                      <a:pt x="76" y="95"/>
                    </a:cubicBezTo>
                    <a:cubicBezTo>
                      <a:pt x="81" y="92"/>
                      <a:pt x="86" y="89"/>
                      <a:pt x="91" y="86"/>
                    </a:cubicBezTo>
                    <a:cubicBezTo>
                      <a:pt x="105" y="78"/>
                      <a:pt x="105" y="78"/>
                      <a:pt x="105" y="78"/>
                    </a:cubicBezTo>
                    <a:cubicBezTo>
                      <a:pt x="105" y="78"/>
                      <a:pt x="105" y="78"/>
                      <a:pt x="105" y="78"/>
                    </a:cubicBezTo>
                    <a:cubicBezTo>
                      <a:pt x="112" y="74"/>
                      <a:pt x="112" y="74"/>
                      <a:pt x="112" y="74"/>
                    </a:cubicBezTo>
                    <a:cubicBezTo>
                      <a:pt x="113" y="73"/>
                      <a:pt x="115" y="73"/>
                      <a:pt x="116" y="72"/>
                    </a:cubicBezTo>
                    <a:cubicBezTo>
                      <a:pt x="117" y="72"/>
                      <a:pt x="118" y="72"/>
                      <a:pt x="119" y="71"/>
                    </a:cubicBezTo>
                    <a:cubicBezTo>
                      <a:pt x="119" y="71"/>
                      <a:pt x="119" y="71"/>
                      <a:pt x="119" y="71"/>
                    </a:cubicBezTo>
                    <a:cubicBezTo>
                      <a:pt x="120" y="71"/>
                      <a:pt x="122" y="70"/>
                      <a:pt x="122" y="70"/>
                    </a:cubicBezTo>
                    <a:cubicBezTo>
                      <a:pt x="123" y="68"/>
                      <a:pt x="125" y="66"/>
                      <a:pt x="126" y="63"/>
                    </a:cubicBezTo>
                    <a:cubicBezTo>
                      <a:pt x="126" y="62"/>
                      <a:pt x="126" y="61"/>
                      <a:pt x="126" y="60"/>
                    </a:cubicBezTo>
                    <a:cubicBezTo>
                      <a:pt x="126" y="59"/>
                      <a:pt x="126" y="59"/>
                      <a:pt x="126" y="59"/>
                    </a:cubicBezTo>
                    <a:cubicBezTo>
                      <a:pt x="126" y="58"/>
                      <a:pt x="126" y="57"/>
                      <a:pt x="126" y="55"/>
                    </a:cubicBezTo>
                    <a:cubicBezTo>
                      <a:pt x="126" y="52"/>
                      <a:pt x="127" y="49"/>
                      <a:pt x="127" y="47"/>
                    </a:cubicBezTo>
                    <a:cubicBezTo>
                      <a:pt x="128" y="46"/>
                      <a:pt x="128" y="46"/>
                      <a:pt x="128" y="46"/>
                    </a:cubicBezTo>
                    <a:cubicBezTo>
                      <a:pt x="128" y="45"/>
                      <a:pt x="129" y="43"/>
                      <a:pt x="129" y="42"/>
                    </a:cubicBezTo>
                    <a:cubicBezTo>
                      <a:pt x="129" y="40"/>
                      <a:pt x="129" y="38"/>
                      <a:pt x="128" y="36"/>
                    </a:cubicBezTo>
                    <a:cubicBezTo>
                      <a:pt x="128" y="35"/>
                      <a:pt x="128" y="35"/>
                      <a:pt x="128" y="35"/>
                    </a:cubicBezTo>
                    <a:cubicBezTo>
                      <a:pt x="128" y="30"/>
                      <a:pt x="127" y="24"/>
                      <a:pt x="129" y="19"/>
                    </a:cubicBezTo>
                    <a:cubicBezTo>
                      <a:pt x="130" y="18"/>
                      <a:pt x="130" y="17"/>
                      <a:pt x="130" y="16"/>
                    </a:cubicBezTo>
                    <a:cubicBezTo>
                      <a:pt x="132" y="14"/>
                      <a:pt x="134" y="13"/>
                      <a:pt x="137" y="13"/>
                    </a:cubicBezTo>
                    <a:cubicBezTo>
                      <a:pt x="138" y="12"/>
                      <a:pt x="138" y="12"/>
                      <a:pt x="138" y="12"/>
                    </a:cubicBezTo>
                    <a:cubicBezTo>
                      <a:pt x="138" y="10"/>
                      <a:pt x="138" y="10"/>
                      <a:pt x="138" y="10"/>
                    </a:cubicBezTo>
                    <a:cubicBezTo>
                      <a:pt x="140" y="12"/>
                      <a:pt x="140" y="12"/>
                      <a:pt x="140" y="12"/>
                    </a:cubicBezTo>
                    <a:cubicBezTo>
                      <a:pt x="141" y="12"/>
                      <a:pt x="141" y="12"/>
                      <a:pt x="141" y="12"/>
                    </a:cubicBezTo>
                    <a:cubicBezTo>
                      <a:pt x="141" y="12"/>
                      <a:pt x="142" y="12"/>
                      <a:pt x="142" y="11"/>
                    </a:cubicBezTo>
                    <a:cubicBezTo>
                      <a:pt x="145" y="8"/>
                      <a:pt x="148" y="5"/>
                      <a:pt x="151" y="3"/>
                    </a:cubicBezTo>
                    <a:cubicBezTo>
                      <a:pt x="153" y="1"/>
                      <a:pt x="153" y="1"/>
                      <a:pt x="153" y="1"/>
                    </a:cubicBezTo>
                    <a:cubicBezTo>
                      <a:pt x="153" y="0"/>
                      <a:pt x="153" y="0"/>
                      <a:pt x="153" y="0"/>
                    </a:cubicBezTo>
                    <a:cubicBezTo>
                      <a:pt x="153" y="0"/>
                      <a:pt x="153" y="0"/>
                      <a:pt x="1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6" name="Freeform 175">
                <a:extLst>
                  <a:ext uri="{FF2B5EF4-FFF2-40B4-BE49-F238E27FC236}">
                    <a16:creationId xmlns:a16="http://schemas.microsoft.com/office/drawing/2014/main" id="{58CEF637-3F3F-4F35-8236-93C5B909445D}"/>
                  </a:ext>
                </a:extLst>
              </p:cNvPr>
              <p:cNvSpPr>
                <a:spLocks/>
              </p:cNvSpPr>
              <p:nvPr/>
            </p:nvSpPr>
            <p:spPr bwMode="auto">
              <a:xfrm>
                <a:off x="5625" y="878"/>
                <a:ext cx="9" cy="5"/>
              </a:xfrm>
              <a:custGeom>
                <a:avLst/>
                <a:gdLst>
                  <a:gd name="T0" fmla="*/ 4 w 4"/>
                  <a:gd name="T1" fmla="*/ 0 h 2"/>
                  <a:gd name="T2" fmla="*/ 0 w 4"/>
                  <a:gd name="T3" fmla="*/ 1 h 2"/>
                  <a:gd name="T4" fmla="*/ 4 w 4"/>
                  <a:gd name="T5" fmla="*/ 2 h 2"/>
                  <a:gd name="T6" fmla="*/ 4 w 4"/>
                  <a:gd name="T7" fmla="*/ 0 h 2"/>
                </a:gdLst>
                <a:ahLst/>
                <a:cxnLst>
                  <a:cxn ang="0">
                    <a:pos x="T0" y="T1"/>
                  </a:cxn>
                  <a:cxn ang="0">
                    <a:pos x="T2" y="T3"/>
                  </a:cxn>
                  <a:cxn ang="0">
                    <a:pos x="T4" y="T5"/>
                  </a:cxn>
                  <a:cxn ang="0">
                    <a:pos x="T6" y="T7"/>
                  </a:cxn>
                </a:cxnLst>
                <a:rect l="0" t="0" r="r" b="b"/>
                <a:pathLst>
                  <a:path w="4" h="2">
                    <a:moveTo>
                      <a:pt x="4" y="0"/>
                    </a:moveTo>
                    <a:cubicBezTo>
                      <a:pt x="0" y="1"/>
                      <a:pt x="0" y="1"/>
                      <a:pt x="0" y="1"/>
                    </a:cubicBezTo>
                    <a:cubicBezTo>
                      <a:pt x="1" y="1"/>
                      <a:pt x="2" y="2"/>
                      <a:pt x="4" y="2"/>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7" name="Freeform 176">
                <a:extLst>
                  <a:ext uri="{FF2B5EF4-FFF2-40B4-BE49-F238E27FC236}">
                    <a16:creationId xmlns:a16="http://schemas.microsoft.com/office/drawing/2014/main" id="{9676F789-C848-4EDF-BCD7-5F8A07093C5F}"/>
                  </a:ext>
                </a:extLst>
              </p:cNvPr>
              <p:cNvSpPr>
                <a:spLocks/>
              </p:cNvSpPr>
              <p:nvPr/>
            </p:nvSpPr>
            <p:spPr bwMode="auto">
              <a:xfrm>
                <a:off x="5568" y="850"/>
                <a:ext cx="68" cy="198"/>
              </a:xfrm>
              <a:custGeom>
                <a:avLst/>
                <a:gdLst>
                  <a:gd name="T0" fmla="*/ 29 w 29"/>
                  <a:gd name="T1" fmla="*/ 0 h 84"/>
                  <a:gd name="T2" fmla="*/ 26 w 29"/>
                  <a:gd name="T3" fmla="*/ 0 h 84"/>
                  <a:gd name="T4" fmla="*/ 25 w 29"/>
                  <a:gd name="T5" fmla="*/ 0 h 84"/>
                  <a:gd name="T6" fmla="*/ 19 w 29"/>
                  <a:gd name="T7" fmla="*/ 0 h 84"/>
                  <a:gd name="T8" fmla="*/ 19 w 29"/>
                  <a:gd name="T9" fmla="*/ 3 h 84"/>
                  <a:gd name="T10" fmla="*/ 16 w 29"/>
                  <a:gd name="T11" fmla="*/ 9 h 84"/>
                  <a:gd name="T12" fmla="*/ 5 w 29"/>
                  <a:gd name="T13" fmla="*/ 37 h 84"/>
                  <a:gd name="T14" fmla="*/ 5 w 29"/>
                  <a:gd name="T15" fmla="*/ 37 h 84"/>
                  <a:gd name="T16" fmla="*/ 0 w 29"/>
                  <a:gd name="T17" fmla="*/ 41 h 84"/>
                  <a:gd name="T18" fmla="*/ 1 w 29"/>
                  <a:gd name="T19" fmla="*/ 43 h 84"/>
                  <a:gd name="T20" fmla="*/ 0 w 29"/>
                  <a:gd name="T21" fmla="*/ 44 h 84"/>
                  <a:gd name="T22" fmla="*/ 1 w 29"/>
                  <a:gd name="T23" fmla="*/ 43 h 84"/>
                  <a:gd name="T24" fmla="*/ 2 w 29"/>
                  <a:gd name="T25" fmla="*/ 44 h 84"/>
                  <a:gd name="T26" fmla="*/ 2 w 29"/>
                  <a:gd name="T27" fmla="*/ 45 h 84"/>
                  <a:gd name="T28" fmla="*/ 2 w 29"/>
                  <a:gd name="T29" fmla="*/ 45 h 84"/>
                  <a:gd name="T30" fmla="*/ 14 w 29"/>
                  <a:gd name="T31" fmla="*/ 84 h 84"/>
                  <a:gd name="T32" fmla="*/ 18 w 29"/>
                  <a:gd name="T33" fmla="*/ 68 h 84"/>
                  <a:gd name="T34" fmla="*/ 20 w 29"/>
                  <a:gd name="T35" fmla="*/ 62 h 84"/>
                  <a:gd name="T36" fmla="*/ 22 w 29"/>
                  <a:gd name="T37" fmla="*/ 55 h 84"/>
                  <a:gd name="T38" fmla="*/ 22 w 29"/>
                  <a:gd name="T39" fmla="*/ 53 h 84"/>
                  <a:gd name="T40" fmla="*/ 23 w 29"/>
                  <a:gd name="T41" fmla="*/ 50 h 84"/>
                  <a:gd name="T42" fmla="*/ 24 w 29"/>
                  <a:gd name="T43" fmla="*/ 42 h 84"/>
                  <a:gd name="T44" fmla="*/ 25 w 29"/>
                  <a:gd name="T45" fmla="*/ 41 h 84"/>
                  <a:gd name="T46" fmla="*/ 21 w 29"/>
                  <a:gd name="T47" fmla="*/ 42 h 84"/>
                  <a:gd name="T48" fmla="*/ 21 w 29"/>
                  <a:gd name="T49" fmla="*/ 43 h 84"/>
                  <a:gd name="T50" fmla="*/ 21 w 29"/>
                  <a:gd name="T51" fmla="*/ 43 h 84"/>
                  <a:gd name="T52" fmla="*/ 20 w 29"/>
                  <a:gd name="T53" fmla="*/ 43 h 84"/>
                  <a:gd name="T54" fmla="*/ 18 w 29"/>
                  <a:gd name="T55" fmla="*/ 43 h 84"/>
                  <a:gd name="T56" fmla="*/ 18 w 29"/>
                  <a:gd name="T57" fmla="*/ 43 h 84"/>
                  <a:gd name="T58" fmla="*/ 17 w 29"/>
                  <a:gd name="T59" fmla="*/ 43 h 84"/>
                  <a:gd name="T60" fmla="*/ 15 w 29"/>
                  <a:gd name="T61" fmla="*/ 43 h 84"/>
                  <a:gd name="T62" fmla="*/ 21 w 29"/>
                  <a:gd name="T63" fmla="*/ 33 h 84"/>
                  <a:gd name="T64" fmla="*/ 22 w 29"/>
                  <a:gd name="T65" fmla="*/ 33 h 84"/>
                  <a:gd name="T66" fmla="*/ 16 w 29"/>
                  <a:gd name="T67" fmla="*/ 30 h 84"/>
                  <a:gd name="T68" fmla="*/ 18 w 29"/>
                  <a:gd name="T69" fmla="*/ 16 h 84"/>
                  <a:gd name="T70" fmla="*/ 21 w 29"/>
                  <a:gd name="T71" fmla="*/ 13 h 84"/>
                  <a:gd name="T72" fmla="*/ 22 w 29"/>
                  <a:gd name="T73" fmla="*/ 12 h 84"/>
                  <a:gd name="T74" fmla="*/ 22 w 29"/>
                  <a:gd name="T75" fmla="*/ 12 h 84"/>
                  <a:gd name="T76" fmla="*/ 29 w 29"/>
                  <a:gd name="T77" fmla="*/ 6 h 84"/>
                  <a:gd name="T78" fmla="*/ 29 w 29"/>
                  <a:gd name="T79" fmla="*/ 6 h 84"/>
                  <a:gd name="T80" fmla="*/ 29 w 29"/>
                  <a:gd name="T81" fmla="*/ 5 h 84"/>
                  <a:gd name="T82" fmla="*/ 29 w 29"/>
                  <a:gd name="T83" fmla="*/ 1 h 84"/>
                  <a:gd name="T84" fmla="*/ 29 w 29"/>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 h="84">
                    <a:moveTo>
                      <a:pt x="29" y="0"/>
                    </a:moveTo>
                    <a:cubicBezTo>
                      <a:pt x="28" y="0"/>
                      <a:pt x="27" y="0"/>
                      <a:pt x="26" y="0"/>
                    </a:cubicBezTo>
                    <a:cubicBezTo>
                      <a:pt x="25" y="0"/>
                      <a:pt x="25" y="0"/>
                      <a:pt x="25" y="0"/>
                    </a:cubicBezTo>
                    <a:cubicBezTo>
                      <a:pt x="19" y="0"/>
                      <a:pt x="19" y="0"/>
                      <a:pt x="19" y="0"/>
                    </a:cubicBezTo>
                    <a:cubicBezTo>
                      <a:pt x="19" y="1"/>
                      <a:pt x="19" y="2"/>
                      <a:pt x="19" y="3"/>
                    </a:cubicBezTo>
                    <a:cubicBezTo>
                      <a:pt x="18" y="5"/>
                      <a:pt x="17" y="7"/>
                      <a:pt x="16" y="9"/>
                    </a:cubicBezTo>
                    <a:cubicBezTo>
                      <a:pt x="13" y="18"/>
                      <a:pt x="10" y="28"/>
                      <a:pt x="5" y="37"/>
                    </a:cubicBezTo>
                    <a:cubicBezTo>
                      <a:pt x="5" y="37"/>
                      <a:pt x="5" y="37"/>
                      <a:pt x="5" y="37"/>
                    </a:cubicBezTo>
                    <a:cubicBezTo>
                      <a:pt x="3" y="38"/>
                      <a:pt x="1" y="40"/>
                      <a:pt x="0" y="41"/>
                    </a:cubicBezTo>
                    <a:cubicBezTo>
                      <a:pt x="1" y="43"/>
                      <a:pt x="1" y="43"/>
                      <a:pt x="1" y="43"/>
                    </a:cubicBezTo>
                    <a:cubicBezTo>
                      <a:pt x="0" y="44"/>
                      <a:pt x="0" y="44"/>
                      <a:pt x="0" y="44"/>
                    </a:cubicBezTo>
                    <a:cubicBezTo>
                      <a:pt x="1" y="43"/>
                      <a:pt x="1" y="43"/>
                      <a:pt x="1" y="43"/>
                    </a:cubicBezTo>
                    <a:cubicBezTo>
                      <a:pt x="2" y="44"/>
                      <a:pt x="2" y="44"/>
                      <a:pt x="2" y="44"/>
                    </a:cubicBezTo>
                    <a:cubicBezTo>
                      <a:pt x="2" y="45"/>
                      <a:pt x="2" y="45"/>
                      <a:pt x="2" y="45"/>
                    </a:cubicBezTo>
                    <a:cubicBezTo>
                      <a:pt x="2" y="45"/>
                      <a:pt x="2" y="45"/>
                      <a:pt x="2" y="45"/>
                    </a:cubicBezTo>
                    <a:cubicBezTo>
                      <a:pt x="14" y="84"/>
                      <a:pt x="14" y="84"/>
                      <a:pt x="14" y="84"/>
                    </a:cubicBezTo>
                    <a:cubicBezTo>
                      <a:pt x="16" y="78"/>
                      <a:pt x="17" y="73"/>
                      <a:pt x="18" y="68"/>
                    </a:cubicBezTo>
                    <a:cubicBezTo>
                      <a:pt x="20" y="62"/>
                      <a:pt x="20" y="62"/>
                      <a:pt x="20" y="62"/>
                    </a:cubicBezTo>
                    <a:cubicBezTo>
                      <a:pt x="20" y="60"/>
                      <a:pt x="21" y="57"/>
                      <a:pt x="22" y="55"/>
                    </a:cubicBezTo>
                    <a:cubicBezTo>
                      <a:pt x="22" y="53"/>
                      <a:pt x="22" y="53"/>
                      <a:pt x="22" y="53"/>
                    </a:cubicBezTo>
                    <a:cubicBezTo>
                      <a:pt x="23" y="52"/>
                      <a:pt x="23" y="51"/>
                      <a:pt x="23" y="50"/>
                    </a:cubicBezTo>
                    <a:cubicBezTo>
                      <a:pt x="24" y="48"/>
                      <a:pt x="24" y="45"/>
                      <a:pt x="24" y="42"/>
                    </a:cubicBezTo>
                    <a:cubicBezTo>
                      <a:pt x="25" y="41"/>
                      <a:pt x="25" y="41"/>
                      <a:pt x="25" y="41"/>
                    </a:cubicBezTo>
                    <a:cubicBezTo>
                      <a:pt x="24" y="41"/>
                      <a:pt x="23" y="42"/>
                      <a:pt x="21" y="42"/>
                    </a:cubicBezTo>
                    <a:cubicBezTo>
                      <a:pt x="21" y="43"/>
                      <a:pt x="21" y="43"/>
                      <a:pt x="21" y="43"/>
                    </a:cubicBezTo>
                    <a:cubicBezTo>
                      <a:pt x="21" y="43"/>
                      <a:pt x="21" y="43"/>
                      <a:pt x="21" y="43"/>
                    </a:cubicBezTo>
                    <a:cubicBezTo>
                      <a:pt x="20" y="43"/>
                      <a:pt x="20" y="43"/>
                      <a:pt x="20" y="43"/>
                    </a:cubicBezTo>
                    <a:cubicBezTo>
                      <a:pt x="19" y="43"/>
                      <a:pt x="19" y="43"/>
                      <a:pt x="18" y="43"/>
                    </a:cubicBezTo>
                    <a:cubicBezTo>
                      <a:pt x="18" y="43"/>
                      <a:pt x="18" y="43"/>
                      <a:pt x="18" y="43"/>
                    </a:cubicBezTo>
                    <a:cubicBezTo>
                      <a:pt x="18" y="43"/>
                      <a:pt x="18" y="43"/>
                      <a:pt x="17" y="43"/>
                    </a:cubicBezTo>
                    <a:cubicBezTo>
                      <a:pt x="17" y="43"/>
                      <a:pt x="16" y="43"/>
                      <a:pt x="15" y="43"/>
                    </a:cubicBezTo>
                    <a:cubicBezTo>
                      <a:pt x="15" y="40"/>
                      <a:pt x="17" y="33"/>
                      <a:pt x="21" y="33"/>
                    </a:cubicBezTo>
                    <a:cubicBezTo>
                      <a:pt x="21" y="33"/>
                      <a:pt x="22" y="33"/>
                      <a:pt x="22" y="33"/>
                    </a:cubicBezTo>
                    <a:cubicBezTo>
                      <a:pt x="20" y="31"/>
                      <a:pt x="19" y="30"/>
                      <a:pt x="16" y="30"/>
                    </a:cubicBezTo>
                    <a:cubicBezTo>
                      <a:pt x="17" y="26"/>
                      <a:pt x="16" y="20"/>
                      <a:pt x="18" y="16"/>
                    </a:cubicBezTo>
                    <a:cubicBezTo>
                      <a:pt x="19" y="14"/>
                      <a:pt x="20" y="13"/>
                      <a:pt x="21" y="13"/>
                    </a:cubicBezTo>
                    <a:cubicBezTo>
                      <a:pt x="22" y="12"/>
                      <a:pt x="22" y="12"/>
                      <a:pt x="22" y="12"/>
                    </a:cubicBezTo>
                    <a:cubicBezTo>
                      <a:pt x="22" y="12"/>
                      <a:pt x="22" y="12"/>
                      <a:pt x="22" y="12"/>
                    </a:cubicBezTo>
                    <a:cubicBezTo>
                      <a:pt x="29" y="6"/>
                      <a:pt x="29" y="6"/>
                      <a:pt x="29" y="6"/>
                    </a:cubicBezTo>
                    <a:cubicBezTo>
                      <a:pt x="29" y="6"/>
                      <a:pt x="29" y="6"/>
                      <a:pt x="29" y="6"/>
                    </a:cubicBezTo>
                    <a:cubicBezTo>
                      <a:pt x="29" y="5"/>
                      <a:pt x="29" y="5"/>
                      <a:pt x="29" y="5"/>
                    </a:cubicBezTo>
                    <a:cubicBezTo>
                      <a:pt x="29" y="4"/>
                      <a:pt x="29" y="3"/>
                      <a:pt x="29" y="1"/>
                    </a:cubicBezTo>
                    <a:cubicBezTo>
                      <a:pt x="29" y="0"/>
                      <a:pt x="29"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8" name="Freeform 177">
                <a:extLst>
                  <a:ext uri="{FF2B5EF4-FFF2-40B4-BE49-F238E27FC236}">
                    <a16:creationId xmlns:a16="http://schemas.microsoft.com/office/drawing/2014/main" id="{C49BFFEF-CA37-4854-A6F2-E6005BB0D24C}"/>
                  </a:ext>
                </a:extLst>
              </p:cNvPr>
              <p:cNvSpPr>
                <a:spLocks/>
              </p:cNvSpPr>
              <p:nvPr/>
            </p:nvSpPr>
            <p:spPr bwMode="auto">
              <a:xfrm>
                <a:off x="6147" y="585"/>
                <a:ext cx="2"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9" name="Freeform 178">
                <a:extLst>
                  <a:ext uri="{FF2B5EF4-FFF2-40B4-BE49-F238E27FC236}">
                    <a16:creationId xmlns:a16="http://schemas.microsoft.com/office/drawing/2014/main" id="{4F9825B0-58A8-47D3-9F6D-385C5F4628B7}"/>
                  </a:ext>
                </a:extLst>
              </p:cNvPr>
              <p:cNvSpPr>
                <a:spLocks/>
              </p:cNvSpPr>
              <p:nvPr/>
            </p:nvSpPr>
            <p:spPr bwMode="auto">
              <a:xfrm>
                <a:off x="6147" y="585"/>
                <a:ext cx="2"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0" name="Freeform 179">
                <a:extLst>
                  <a:ext uri="{FF2B5EF4-FFF2-40B4-BE49-F238E27FC236}">
                    <a16:creationId xmlns:a16="http://schemas.microsoft.com/office/drawing/2014/main" id="{C0DC98EA-970D-4C07-96B9-186017047C59}"/>
                  </a:ext>
                </a:extLst>
              </p:cNvPr>
              <p:cNvSpPr>
                <a:spLocks/>
              </p:cNvSpPr>
              <p:nvPr/>
            </p:nvSpPr>
            <p:spPr bwMode="auto">
              <a:xfrm>
                <a:off x="5110" y="268"/>
                <a:ext cx="1037" cy="395"/>
              </a:xfrm>
              <a:custGeom>
                <a:avLst/>
                <a:gdLst>
                  <a:gd name="T0" fmla="*/ 194 w 439"/>
                  <a:gd name="T1" fmla="*/ 2 h 167"/>
                  <a:gd name="T2" fmla="*/ 156 w 439"/>
                  <a:gd name="T3" fmla="*/ 6 h 167"/>
                  <a:gd name="T4" fmla="*/ 102 w 439"/>
                  <a:gd name="T5" fmla="*/ 24 h 167"/>
                  <a:gd name="T6" fmla="*/ 75 w 439"/>
                  <a:gd name="T7" fmla="*/ 23 h 167"/>
                  <a:gd name="T8" fmla="*/ 82 w 439"/>
                  <a:gd name="T9" fmla="*/ 36 h 167"/>
                  <a:gd name="T10" fmla="*/ 66 w 439"/>
                  <a:gd name="T11" fmla="*/ 47 h 167"/>
                  <a:gd name="T12" fmla="*/ 43 w 439"/>
                  <a:gd name="T13" fmla="*/ 47 h 167"/>
                  <a:gd name="T14" fmla="*/ 28 w 439"/>
                  <a:gd name="T15" fmla="*/ 45 h 167"/>
                  <a:gd name="T16" fmla="*/ 1 w 439"/>
                  <a:gd name="T17" fmla="*/ 72 h 167"/>
                  <a:gd name="T18" fmla="*/ 17 w 439"/>
                  <a:gd name="T19" fmla="*/ 81 h 167"/>
                  <a:gd name="T20" fmla="*/ 17 w 439"/>
                  <a:gd name="T21" fmla="*/ 92 h 167"/>
                  <a:gd name="T22" fmla="*/ 13 w 439"/>
                  <a:gd name="T23" fmla="*/ 97 h 167"/>
                  <a:gd name="T24" fmla="*/ 8 w 439"/>
                  <a:gd name="T25" fmla="*/ 103 h 167"/>
                  <a:gd name="T26" fmla="*/ 5 w 439"/>
                  <a:gd name="T27" fmla="*/ 105 h 167"/>
                  <a:gd name="T28" fmla="*/ 28 w 439"/>
                  <a:gd name="T29" fmla="*/ 120 h 167"/>
                  <a:gd name="T30" fmla="*/ 34 w 439"/>
                  <a:gd name="T31" fmla="*/ 137 h 167"/>
                  <a:gd name="T32" fmla="*/ 30 w 439"/>
                  <a:gd name="T33" fmla="*/ 140 h 167"/>
                  <a:gd name="T34" fmla="*/ 31 w 439"/>
                  <a:gd name="T35" fmla="*/ 147 h 167"/>
                  <a:gd name="T36" fmla="*/ 47 w 439"/>
                  <a:gd name="T37" fmla="*/ 149 h 167"/>
                  <a:gd name="T38" fmla="*/ 56 w 439"/>
                  <a:gd name="T39" fmla="*/ 144 h 167"/>
                  <a:gd name="T40" fmla="*/ 77 w 439"/>
                  <a:gd name="T41" fmla="*/ 159 h 167"/>
                  <a:gd name="T42" fmla="*/ 102 w 439"/>
                  <a:gd name="T43" fmla="*/ 160 h 167"/>
                  <a:gd name="T44" fmla="*/ 112 w 439"/>
                  <a:gd name="T45" fmla="*/ 143 h 167"/>
                  <a:gd name="T46" fmla="*/ 175 w 439"/>
                  <a:gd name="T47" fmla="*/ 162 h 167"/>
                  <a:gd name="T48" fmla="*/ 214 w 439"/>
                  <a:gd name="T49" fmla="*/ 149 h 167"/>
                  <a:gd name="T50" fmla="*/ 233 w 439"/>
                  <a:gd name="T51" fmla="*/ 143 h 167"/>
                  <a:gd name="T52" fmla="*/ 236 w 439"/>
                  <a:gd name="T53" fmla="*/ 167 h 167"/>
                  <a:gd name="T54" fmla="*/ 241 w 439"/>
                  <a:gd name="T55" fmla="*/ 163 h 167"/>
                  <a:gd name="T56" fmla="*/ 244 w 439"/>
                  <a:gd name="T57" fmla="*/ 154 h 167"/>
                  <a:gd name="T58" fmla="*/ 264 w 439"/>
                  <a:gd name="T59" fmla="*/ 146 h 167"/>
                  <a:gd name="T60" fmla="*/ 290 w 439"/>
                  <a:gd name="T61" fmla="*/ 140 h 167"/>
                  <a:gd name="T62" fmla="*/ 299 w 439"/>
                  <a:gd name="T63" fmla="*/ 143 h 167"/>
                  <a:gd name="T64" fmla="*/ 315 w 439"/>
                  <a:gd name="T65" fmla="*/ 145 h 167"/>
                  <a:gd name="T66" fmla="*/ 338 w 439"/>
                  <a:gd name="T67" fmla="*/ 137 h 167"/>
                  <a:gd name="T68" fmla="*/ 382 w 439"/>
                  <a:gd name="T69" fmla="*/ 130 h 167"/>
                  <a:gd name="T70" fmla="*/ 401 w 439"/>
                  <a:gd name="T71" fmla="*/ 126 h 167"/>
                  <a:gd name="T72" fmla="*/ 405 w 439"/>
                  <a:gd name="T73" fmla="*/ 127 h 167"/>
                  <a:gd name="T74" fmla="*/ 431 w 439"/>
                  <a:gd name="T75" fmla="*/ 133 h 167"/>
                  <a:gd name="T76" fmla="*/ 436 w 439"/>
                  <a:gd name="T77" fmla="*/ 134 h 167"/>
                  <a:gd name="T78" fmla="*/ 438 w 439"/>
                  <a:gd name="T79" fmla="*/ 132 h 167"/>
                  <a:gd name="T80" fmla="*/ 434 w 439"/>
                  <a:gd name="T81" fmla="*/ 122 h 167"/>
                  <a:gd name="T82" fmla="*/ 432 w 439"/>
                  <a:gd name="T83" fmla="*/ 120 h 167"/>
                  <a:gd name="T84" fmla="*/ 427 w 439"/>
                  <a:gd name="T85" fmla="*/ 117 h 167"/>
                  <a:gd name="T86" fmla="*/ 427 w 439"/>
                  <a:gd name="T87" fmla="*/ 106 h 167"/>
                  <a:gd name="T88" fmla="*/ 423 w 439"/>
                  <a:gd name="T89" fmla="*/ 84 h 167"/>
                  <a:gd name="T90" fmla="*/ 430 w 439"/>
                  <a:gd name="T91" fmla="*/ 71 h 167"/>
                  <a:gd name="T92" fmla="*/ 422 w 439"/>
                  <a:gd name="T93" fmla="*/ 59 h 167"/>
                  <a:gd name="T94" fmla="*/ 412 w 439"/>
                  <a:gd name="T95" fmla="*/ 51 h 167"/>
                  <a:gd name="T96" fmla="*/ 412 w 439"/>
                  <a:gd name="T97" fmla="*/ 40 h 167"/>
                  <a:gd name="T98" fmla="*/ 412 w 439"/>
                  <a:gd name="T99" fmla="*/ 35 h 167"/>
                  <a:gd name="T100" fmla="*/ 410 w 439"/>
                  <a:gd name="T101" fmla="*/ 31 h 167"/>
                  <a:gd name="T102" fmla="*/ 399 w 439"/>
                  <a:gd name="T103" fmla="*/ 21 h 167"/>
                  <a:gd name="T104" fmla="*/ 392 w 439"/>
                  <a:gd name="T105" fmla="*/ 16 h 167"/>
                  <a:gd name="T106" fmla="*/ 378 w 439"/>
                  <a:gd name="T107" fmla="*/ 19 h 167"/>
                  <a:gd name="T108" fmla="*/ 369 w 439"/>
                  <a:gd name="T109" fmla="*/ 18 h 167"/>
                  <a:gd name="T110" fmla="*/ 351 w 439"/>
                  <a:gd name="T111" fmla="*/ 24 h 167"/>
                  <a:gd name="T112" fmla="*/ 329 w 439"/>
                  <a:gd name="T113" fmla="*/ 31 h 167"/>
                  <a:gd name="T114" fmla="*/ 315 w 439"/>
                  <a:gd name="T115" fmla="*/ 27 h 167"/>
                  <a:gd name="T116" fmla="*/ 307 w 439"/>
                  <a:gd name="T117" fmla="*/ 28 h 167"/>
                  <a:gd name="T118" fmla="*/ 253 w 439"/>
                  <a:gd name="T119" fmla="*/ 19 h 167"/>
                  <a:gd name="T120" fmla="*/ 232 w 439"/>
                  <a:gd name="T121" fmla="*/ 10 h 167"/>
                  <a:gd name="T122" fmla="*/ 216 w 439"/>
                  <a:gd name="T123" fmla="*/ 1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39" h="167">
                    <a:moveTo>
                      <a:pt x="213" y="0"/>
                    </a:moveTo>
                    <a:cubicBezTo>
                      <a:pt x="212" y="0"/>
                      <a:pt x="210" y="1"/>
                      <a:pt x="208" y="1"/>
                    </a:cubicBezTo>
                    <a:cubicBezTo>
                      <a:pt x="206" y="2"/>
                      <a:pt x="203" y="3"/>
                      <a:pt x="201" y="3"/>
                    </a:cubicBezTo>
                    <a:cubicBezTo>
                      <a:pt x="200" y="3"/>
                      <a:pt x="198" y="3"/>
                      <a:pt x="197" y="3"/>
                    </a:cubicBezTo>
                    <a:cubicBezTo>
                      <a:pt x="196" y="2"/>
                      <a:pt x="195" y="2"/>
                      <a:pt x="194" y="2"/>
                    </a:cubicBezTo>
                    <a:cubicBezTo>
                      <a:pt x="194" y="2"/>
                      <a:pt x="194" y="2"/>
                      <a:pt x="194" y="2"/>
                    </a:cubicBezTo>
                    <a:cubicBezTo>
                      <a:pt x="194" y="2"/>
                      <a:pt x="193" y="2"/>
                      <a:pt x="193" y="2"/>
                    </a:cubicBezTo>
                    <a:cubicBezTo>
                      <a:pt x="187" y="2"/>
                      <a:pt x="181" y="2"/>
                      <a:pt x="175" y="1"/>
                    </a:cubicBezTo>
                    <a:cubicBezTo>
                      <a:pt x="175" y="1"/>
                      <a:pt x="174" y="1"/>
                      <a:pt x="173" y="1"/>
                    </a:cubicBezTo>
                    <a:cubicBezTo>
                      <a:pt x="167" y="1"/>
                      <a:pt x="162" y="5"/>
                      <a:pt x="156" y="6"/>
                    </a:cubicBezTo>
                    <a:cubicBezTo>
                      <a:pt x="149" y="7"/>
                      <a:pt x="145" y="11"/>
                      <a:pt x="139" y="14"/>
                    </a:cubicBezTo>
                    <a:cubicBezTo>
                      <a:pt x="136" y="16"/>
                      <a:pt x="133" y="18"/>
                      <a:pt x="130" y="20"/>
                    </a:cubicBezTo>
                    <a:cubicBezTo>
                      <a:pt x="128" y="22"/>
                      <a:pt x="125" y="26"/>
                      <a:pt x="123" y="26"/>
                    </a:cubicBezTo>
                    <a:cubicBezTo>
                      <a:pt x="120" y="27"/>
                      <a:pt x="118" y="27"/>
                      <a:pt x="115" y="27"/>
                    </a:cubicBezTo>
                    <a:cubicBezTo>
                      <a:pt x="111" y="27"/>
                      <a:pt x="107" y="26"/>
                      <a:pt x="102" y="24"/>
                    </a:cubicBezTo>
                    <a:cubicBezTo>
                      <a:pt x="101" y="24"/>
                      <a:pt x="100" y="24"/>
                      <a:pt x="99" y="24"/>
                    </a:cubicBezTo>
                    <a:cubicBezTo>
                      <a:pt x="96" y="24"/>
                      <a:pt x="93" y="25"/>
                      <a:pt x="91" y="25"/>
                    </a:cubicBezTo>
                    <a:cubicBezTo>
                      <a:pt x="90" y="25"/>
                      <a:pt x="90" y="25"/>
                      <a:pt x="90" y="25"/>
                    </a:cubicBezTo>
                    <a:cubicBezTo>
                      <a:pt x="87" y="25"/>
                      <a:pt x="84" y="24"/>
                      <a:pt x="81" y="24"/>
                    </a:cubicBezTo>
                    <a:cubicBezTo>
                      <a:pt x="80" y="24"/>
                      <a:pt x="77" y="23"/>
                      <a:pt x="75" y="23"/>
                    </a:cubicBezTo>
                    <a:cubicBezTo>
                      <a:pt x="74" y="23"/>
                      <a:pt x="73" y="23"/>
                      <a:pt x="73" y="24"/>
                    </a:cubicBezTo>
                    <a:cubicBezTo>
                      <a:pt x="73" y="24"/>
                      <a:pt x="73" y="24"/>
                      <a:pt x="73" y="24"/>
                    </a:cubicBezTo>
                    <a:cubicBezTo>
                      <a:pt x="74" y="25"/>
                      <a:pt x="75" y="27"/>
                      <a:pt x="75" y="29"/>
                    </a:cubicBezTo>
                    <a:cubicBezTo>
                      <a:pt x="75" y="30"/>
                      <a:pt x="75" y="31"/>
                      <a:pt x="74" y="32"/>
                    </a:cubicBezTo>
                    <a:cubicBezTo>
                      <a:pt x="77" y="34"/>
                      <a:pt x="78" y="35"/>
                      <a:pt x="82" y="36"/>
                    </a:cubicBezTo>
                    <a:cubicBezTo>
                      <a:pt x="84" y="36"/>
                      <a:pt x="87" y="36"/>
                      <a:pt x="90" y="37"/>
                    </a:cubicBezTo>
                    <a:cubicBezTo>
                      <a:pt x="85" y="38"/>
                      <a:pt x="79" y="38"/>
                      <a:pt x="74" y="39"/>
                    </a:cubicBezTo>
                    <a:cubicBezTo>
                      <a:pt x="71" y="40"/>
                      <a:pt x="66" y="40"/>
                      <a:pt x="64" y="42"/>
                    </a:cubicBezTo>
                    <a:cubicBezTo>
                      <a:pt x="67" y="43"/>
                      <a:pt x="71" y="43"/>
                      <a:pt x="73" y="45"/>
                    </a:cubicBezTo>
                    <a:cubicBezTo>
                      <a:pt x="71" y="47"/>
                      <a:pt x="69" y="47"/>
                      <a:pt x="66" y="47"/>
                    </a:cubicBezTo>
                    <a:cubicBezTo>
                      <a:pt x="64" y="47"/>
                      <a:pt x="62" y="47"/>
                      <a:pt x="60" y="47"/>
                    </a:cubicBezTo>
                    <a:cubicBezTo>
                      <a:pt x="56" y="47"/>
                      <a:pt x="53" y="46"/>
                      <a:pt x="50" y="46"/>
                    </a:cubicBezTo>
                    <a:cubicBezTo>
                      <a:pt x="48" y="46"/>
                      <a:pt x="46" y="46"/>
                      <a:pt x="44" y="47"/>
                    </a:cubicBezTo>
                    <a:cubicBezTo>
                      <a:pt x="45" y="42"/>
                      <a:pt x="43" y="43"/>
                      <a:pt x="40" y="43"/>
                    </a:cubicBezTo>
                    <a:cubicBezTo>
                      <a:pt x="41" y="44"/>
                      <a:pt x="42" y="45"/>
                      <a:pt x="43" y="47"/>
                    </a:cubicBezTo>
                    <a:cubicBezTo>
                      <a:pt x="41" y="47"/>
                      <a:pt x="39" y="48"/>
                      <a:pt x="37" y="48"/>
                    </a:cubicBezTo>
                    <a:cubicBezTo>
                      <a:pt x="36" y="48"/>
                      <a:pt x="36" y="48"/>
                      <a:pt x="35" y="48"/>
                    </a:cubicBezTo>
                    <a:cubicBezTo>
                      <a:pt x="34" y="48"/>
                      <a:pt x="33" y="47"/>
                      <a:pt x="31" y="46"/>
                    </a:cubicBezTo>
                    <a:cubicBezTo>
                      <a:pt x="30" y="45"/>
                      <a:pt x="30" y="44"/>
                      <a:pt x="29" y="44"/>
                    </a:cubicBezTo>
                    <a:cubicBezTo>
                      <a:pt x="28" y="44"/>
                      <a:pt x="28" y="44"/>
                      <a:pt x="28" y="45"/>
                    </a:cubicBezTo>
                    <a:cubicBezTo>
                      <a:pt x="23" y="46"/>
                      <a:pt x="18" y="48"/>
                      <a:pt x="13" y="50"/>
                    </a:cubicBezTo>
                    <a:cubicBezTo>
                      <a:pt x="9" y="52"/>
                      <a:pt x="4" y="56"/>
                      <a:pt x="3" y="59"/>
                    </a:cubicBezTo>
                    <a:cubicBezTo>
                      <a:pt x="2" y="62"/>
                      <a:pt x="3" y="65"/>
                      <a:pt x="3" y="67"/>
                    </a:cubicBezTo>
                    <a:cubicBezTo>
                      <a:pt x="3" y="68"/>
                      <a:pt x="1" y="69"/>
                      <a:pt x="1" y="70"/>
                    </a:cubicBezTo>
                    <a:cubicBezTo>
                      <a:pt x="1" y="71"/>
                      <a:pt x="0" y="71"/>
                      <a:pt x="1" y="72"/>
                    </a:cubicBezTo>
                    <a:cubicBezTo>
                      <a:pt x="1" y="72"/>
                      <a:pt x="1" y="72"/>
                      <a:pt x="2" y="72"/>
                    </a:cubicBezTo>
                    <a:cubicBezTo>
                      <a:pt x="4" y="72"/>
                      <a:pt x="7" y="71"/>
                      <a:pt x="8" y="71"/>
                    </a:cubicBezTo>
                    <a:cubicBezTo>
                      <a:pt x="12" y="70"/>
                      <a:pt x="16" y="70"/>
                      <a:pt x="21" y="70"/>
                    </a:cubicBezTo>
                    <a:cubicBezTo>
                      <a:pt x="19" y="72"/>
                      <a:pt x="17" y="75"/>
                      <a:pt x="14" y="77"/>
                    </a:cubicBezTo>
                    <a:cubicBezTo>
                      <a:pt x="15" y="78"/>
                      <a:pt x="17" y="79"/>
                      <a:pt x="17" y="81"/>
                    </a:cubicBezTo>
                    <a:cubicBezTo>
                      <a:pt x="17" y="82"/>
                      <a:pt x="17" y="84"/>
                      <a:pt x="18" y="85"/>
                    </a:cubicBezTo>
                    <a:cubicBezTo>
                      <a:pt x="19" y="87"/>
                      <a:pt x="22" y="86"/>
                      <a:pt x="24" y="87"/>
                    </a:cubicBezTo>
                    <a:cubicBezTo>
                      <a:pt x="22" y="90"/>
                      <a:pt x="21" y="92"/>
                      <a:pt x="18" y="92"/>
                    </a:cubicBezTo>
                    <a:cubicBezTo>
                      <a:pt x="18" y="92"/>
                      <a:pt x="18" y="92"/>
                      <a:pt x="18" y="92"/>
                    </a:cubicBezTo>
                    <a:cubicBezTo>
                      <a:pt x="18" y="92"/>
                      <a:pt x="18" y="92"/>
                      <a:pt x="17" y="92"/>
                    </a:cubicBezTo>
                    <a:cubicBezTo>
                      <a:pt x="17" y="92"/>
                      <a:pt x="16" y="92"/>
                      <a:pt x="16" y="93"/>
                    </a:cubicBezTo>
                    <a:cubicBezTo>
                      <a:pt x="17" y="97"/>
                      <a:pt x="21" y="100"/>
                      <a:pt x="25" y="101"/>
                    </a:cubicBezTo>
                    <a:cubicBezTo>
                      <a:pt x="23" y="102"/>
                      <a:pt x="21" y="102"/>
                      <a:pt x="19" y="102"/>
                    </a:cubicBezTo>
                    <a:cubicBezTo>
                      <a:pt x="18" y="102"/>
                      <a:pt x="16" y="102"/>
                      <a:pt x="14" y="101"/>
                    </a:cubicBezTo>
                    <a:cubicBezTo>
                      <a:pt x="13" y="100"/>
                      <a:pt x="13" y="98"/>
                      <a:pt x="13" y="97"/>
                    </a:cubicBezTo>
                    <a:cubicBezTo>
                      <a:pt x="12" y="96"/>
                      <a:pt x="12" y="95"/>
                      <a:pt x="11" y="95"/>
                    </a:cubicBezTo>
                    <a:cubicBezTo>
                      <a:pt x="11" y="94"/>
                      <a:pt x="10" y="94"/>
                      <a:pt x="10" y="94"/>
                    </a:cubicBezTo>
                    <a:cubicBezTo>
                      <a:pt x="9" y="94"/>
                      <a:pt x="9" y="96"/>
                      <a:pt x="10" y="98"/>
                    </a:cubicBezTo>
                    <a:cubicBezTo>
                      <a:pt x="10" y="99"/>
                      <a:pt x="11" y="102"/>
                      <a:pt x="9" y="103"/>
                    </a:cubicBezTo>
                    <a:cubicBezTo>
                      <a:pt x="9" y="103"/>
                      <a:pt x="9" y="103"/>
                      <a:pt x="8" y="103"/>
                    </a:cubicBezTo>
                    <a:cubicBezTo>
                      <a:pt x="8" y="103"/>
                      <a:pt x="8" y="103"/>
                      <a:pt x="8" y="103"/>
                    </a:cubicBezTo>
                    <a:cubicBezTo>
                      <a:pt x="8" y="103"/>
                      <a:pt x="8" y="103"/>
                      <a:pt x="8" y="103"/>
                    </a:cubicBezTo>
                    <a:cubicBezTo>
                      <a:pt x="7" y="103"/>
                      <a:pt x="7" y="103"/>
                      <a:pt x="7" y="103"/>
                    </a:cubicBezTo>
                    <a:cubicBezTo>
                      <a:pt x="6" y="102"/>
                      <a:pt x="6" y="102"/>
                      <a:pt x="6" y="102"/>
                    </a:cubicBezTo>
                    <a:cubicBezTo>
                      <a:pt x="6" y="103"/>
                      <a:pt x="5" y="105"/>
                      <a:pt x="5" y="105"/>
                    </a:cubicBezTo>
                    <a:cubicBezTo>
                      <a:pt x="7" y="106"/>
                      <a:pt x="10" y="107"/>
                      <a:pt x="13" y="107"/>
                    </a:cubicBezTo>
                    <a:cubicBezTo>
                      <a:pt x="13" y="107"/>
                      <a:pt x="13" y="107"/>
                      <a:pt x="14" y="107"/>
                    </a:cubicBezTo>
                    <a:cubicBezTo>
                      <a:pt x="14" y="107"/>
                      <a:pt x="14" y="107"/>
                      <a:pt x="14" y="107"/>
                    </a:cubicBezTo>
                    <a:cubicBezTo>
                      <a:pt x="18" y="107"/>
                      <a:pt x="21" y="110"/>
                      <a:pt x="24" y="112"/>
                    </a:cubicBezTo>
                    <a:cubicBezTo>
                      <a:pt x="27" y="113"/>
                      <a:pt x="31" y="116"/>
                      <a:pt x="28" y="120"/>
                    </a:cubicBezTo>
                    <a:cubicBezTo>
                      <a:pt x="27" y="121"/>
                      <a:pt x="24" y="121"/>
                      <a:pt x="23" y="122"/>
                    </a:cubicBezTo>
                    <a:cubicBezTo>
                      <a:pt x="26" y="124"/>
                      <a:pt x="29" y="125"/>
                      <a:pt x="27" y="130"/>
                    </a:cubicBezTo>
                    <a:cubicBezTo>
                      <a:pt x="29" y="130"/>
                      <a:pt x="35" y="129"/>
                      <a:pt x="37" y="132"/>
                    </a:cubicBezTo>
                    <a:cubicBezTo>
                      <a:pt x="38" y="133"/>
                      <a:pt x="36" y="137"/>
                      <a:pt x="34" y="137"/>
                    </a:cubicBezTo>
                    <a:cubicBezTo>
                      <a:pt x="34" y="137"/>
                      <a:pt x="34" y="137"/>
                      <a:pt x="34" y="137"/>
                    </a:cubicBezTo>
                    <a:cubicBezTo>
                      <a:pt x="33" y="137"/>
                      <a:pt x="32" y="137"/>
                      <a:pt x="32" y="137"/>
                    </a:cubicBezTo>
                    <a:cubicBezTo>
                      <a:pt x="31" y="136"/>
                      <a:pt x="31" y="136"/>
                      <a:pt x="30" y="136"/>
                    </a:cubicBezTo>
                    <a:cubicBezTo>
                      <a:pt x="30" y="136"/>
                      <a:pt x="30" y="136"/>
                      <a:pt x="30" y="136"/>
                    </a:cubicBezTo>
                    <a:cubicBezTo>
                      <a:pt x="28" y="137"/>
                      <a:pt x="27" y="138"/>
                      <a:pt x="28" y="140"/>
                    </a:cubicBezTo>
                    <a:cubicBezTo>
                      <a:pt x="29" y="140"/>
                      <a:pt x="29" y="140"/>
                      <a:pt x="30" y="140"/>
                    </a:cubicBezTo>
                    <a:cubicBezTo>
                      <a:pt x="38" y="140"/>
                      <a:pt x="45" y="139"/>
                      <a:pt x="53" y="138"/>
                    </a:cubicBezTo>
                    <a:cubicBezTo>
                      <a:pt x="50" y="141"/>
                      <a:pt x="49" y="144"/>
                      <a:pt x="44" y="145"/>
                    </a:cubicBezTo>
                    <a:cubicBezTo>
                      <a:pt x="43" y="145"/>
                      <a:pt x="41" y="145"/>
                      <a:pt x="40" y="145"/>
                    </a:cubicBezTo>
                    <a:cubicBezTo>
                      <a:pt x="38" y="145"/>
                      <a:pt x="38" y="146"/>
                      <a:pt x="36" y="146"/>
                    </a:cubicBezTo>
                    <a:cubicBezTo>
                      <a:pt x="34" y="146"/>
                      <a:pt x="33" y="147"/>
                      <a:pt x="31" y="147"/>
                    </a:cubicBezTo>
                    <a:cubicBezTo>
                      <a:pt x="31" y="148"/>
                      <a:pt x="32" y="148"/>
                      <a:pt x="33" y="148"/>
                    </a:cubicBezTo>
                    <a:cubicBezTo>
                      <a:pt x="37" y="148"/>
                      <a:pt x="47" y="145"/>
                      <a:pt x="48" y="145"/>
                    </a:cubicBezTo>
                    <a:cubicBezTo>
                      <a:pt x="47" y="146"/>
                      <a:pt x="46" y="147"/>
                      <a:pt x="45" y="148"/>
                    </a:cubicBezTo>
                    <a:cubicBezTo>
                      <a:pt x="46" y="148"/>
                      <a:pt x="46" y="148"/>
                      <a:pt x="46" y="148"/>
                    </a:cubicBezTo>
                    <a:cubicBezTo>
                      <a:pt x="47" y="148"/>
                      <a:pt x="47" y="148"/>
                      <a:pt x="47" y="149"/>
                    </a:cubicBezTo>
                    <a:cubicBezTo>
                      <a:pt x="48" y="149"/>
                      <a:pt x="48" y="149"/>
                      <a:pt x="48" y="149"/>
                    </a:cubicBezTo>
                    <a:cubicBezTo>
                      <a:pt x="47" y="150"/>
                      <a:pt x="45" y="151"/>
                      <a:pt x="45" y="151"/>
                    </a:cubicBezTo>
                    <a:cubicBezTo>
                      <a:pt x="45" y="151"/>
                      <a:pt x="45" y="151"/>
                      <a:pt x="45" y="151"/>
                    </a:cubicBezTo>
                    <a:cubicBezTo>
                      <a:pt x="46" y="151"/>
                      <a:pt x="52" y="146"/>
                      <a:pt x="52" y="146"/>
                    </a:cubicBezTo>
                    <a:cubicBezTo>
                      <a:pt x="54" y="144"/>
                      <a:pt x="55" y="144"/>
                      <a:pt x="56" y="144"/>
                    </a:cubicBezTo>
                    <a:cubicBezTo>
                      <a:pt x="57" y="144"/>
                      <a:pt x="58" y="144"/>
                      <a:pt x="59" y="144"/>
                    </a:cubicBezTo>
                    <a:cubicBezTo>
                      <a:pt x="62" y="145"/>
                      <a:pt x="59" y="147"/>
                      <a:pt x="63" y="148"/>
                    </a:cubicBezTo>
                    <a:cubicBezTo>
                      <a:pt x="65" y="148"/>
                      <a:pt x="66" y="150"/>
                      <a:pt x="66" y="150"/>
                    </a:cubicBezTo>
                    <a:cubicBezTo>
                      <a:pt x="67" y="150"/>
                      <a:pt x="67" y="149"/>
                      <a:pt x="68" y="146"/>
                    </a:cubicBezTo>
                    <a:cubicBezTo>
                      <a:pt x="70" y="149"/>
                      <a:pt x="73" y="158"/>
                      <a:pt x="77" y="159"/>
                    </a:cubicBezTo>
                    <a:cubicBezTo>
                      <a:pt x="80" y="160"/>
                      <a:pt x="84" y="161"/>
                      <a:pt x="87" y="162"/>
                    </a:cubicBezTo>
                    <a:cubicBezTo>
                      <a:pt x="88" y="162"/>
                      <a:pt x="88" y="162"/>
                      <a:pt x="88" y="162"/>
                    </a:cubicBezTo>
                    <a:cubicBezTo>
                      <a:pt x="90" y="162"/>
                      <a:pt x="94" y="160"/>
                      <a:pt x="95" y="160"/>
                    </a:cubicBezTo>
                    <a:cubicBezTo>
                      <a:pt x="96" y="160"/>
                      <a:pt x="97" y="158"/>
                      <a:pt x="98" y="158"/>
                    </a:cubicBezTo>
                    <a:cubicBezTo>
                      <a:pt x="100" y="158"/>
                      <a:pt x="101" y="160"/>
                      <a:pt x="102" y="160"/>
                    </a:cubicBezTo>
                    <a:cubicBezTo>
                      <a:pt x="102" y="160"/>
                      <a:pt x="102" y="160"/>
                      <a:pt x="102" y="160"/>
                    </a:cubicBezTo>
                    <a:cubicBezTo>
                      <a:pt x="103" y="160"/>
                      <a:pt x="104" y="160"/>
                      <a:pt x="105" y="158"/>
                    </a:cubicBezTo>
                    <a:cubicBezTo>
                      <a:pt x="105" y="155"/>
                      <a:pt x="105" y="146"/>
                      <a:pt x="107" y="144"/>
                    </a:cubicBezTo>
                    <a:cubicBezTo>
                      <a:pt x="108" y="143"/>
                      <a:pt x="109" y="143"/>
                      <a:pt x="110" y="143"/>
                    </a:cubicBezTo>
                    <a:cubicBezTo>
                      <a:pt x="110" y="143"/>
                      <a:pt x="111" y="143"/>
                      <a:pt x="112" y="143"/>
                    </a:cubicBezTo>
                    <a:cubicBezTo>
                      <a:pt x="118" y="144"/>
                      <a:pt x="123" y="145"/>
                      <a:pt x="129" y="147"/>
                    </a:cubicBezTo>
                    <a:cubicBezTo>
                      <a:pt x="134" y="150"/>
                      <a:pt x="139" y="153"/>
                      <a:pt x="144" y="157"/>
                    </a:cubicBezTo>
                    <a:cubicBezTo>
                      <a:pt x="148" y="159"/>
                      <a:pt x="151" y="164"/>
                      <a:pt x="156" y="164"/>
                    </a:cubicBezTo>
                    <a:cubicBezTo>
                      <a:pt x="156" y="164"/>
                      <a:pt x="156" y="164"/>
                      <a:pt x="156" y="164"/>
                    </a:cubicBezTo>
                    <a:cubicBezTo>
                      <a:pt x="162" y="164"/>
                      <a:pt x="169" y="162"/>
                      <a:pt x="175" y="162"/>
                    </a:cubicBezTo>
                    <a:cubicBezTo>
                      <a:pt x="175" y="162"/>
                      <a:pt x="175" y="162"/>
                      <a:pt x="175" y="162"/>
                    </a:cubicBezTo>
                    <a:cubicBezTo>
                      <a:pt x="175" y="162"/>
                      <a:pt x="176" y="162"/>
                      <a:pt x="176" y="162"/>
                    </a:cubicBezTo>
                    <a:cubicBezTo>
                      <a:pt x="182" y="162"/>
                      <a:pt x="186" y="162"/>
                      <a:pt x="189" y="157"/>
                    </a:cubicBezTo>
                    <a:cubicBezTo>
                      <a:pt x="194" y="151"/>
                      <a:pt x="199" y="148"/>
                      <a:pt x="206" y="145"/>
                    </a:cubicBezTo>
                    <a:cubicBezTo>
                      <a:pt x="206" y="145"/>
                      <a:pt x="214" y="149"/>
                      <a:pt x="214" y="149"/>
                    </a:cubicBezTo>
                    <a:cubicBezTo>
                      <a:pt x="215" y="150"/>
                      <a:pt x="216" y="150"/>
                      <a:pt x="216" y="150"/>
                    </a:cubicBezTo>
                    <a:cubicBezTo>
                      <a:pt x="217" y="151"/>
                      <a:pt x="218" y="152"/>
                      <a:pt x="219" y="152"/>
                    </a:cubicBezTo>
                    <a:cubicBezTo>
                      <a:pt x="219" y="152"/>
                      <a:pt x="219" y="152"/>
                      <a:pt x="219" y="152"/>
                    </a:cubicBezTo>
                    <a:cubicBezTo>
                      <a:pt x="221" y="152"/>
                      <a:pt x="224" y="149"/>
                      <a:pt x="226" y="147"/>
                    </a:cubicBezTo>
                    <a:cubicBezTo>
                      <a:pt x="229" y="145"/>
                      <a:pt x="231" y="143"/>
                      <a:pt x="233" y="143"/>
                    </a:cubicBezTo>
                    <a:cubicBezTo>
                      <a:pt x="233" y="143"/>
                      <a:pt x="233" y="143"/>
                      <a:pt x="233" y="143"/>
                    </a:cubicBezTo>
                    <a:cubicBezTo>
                      <a:pt x="245" y="143"/>
                      <a:pt x="234" y="154"/>
                      <a:pt x="231" y="158"/>
                    </a:cubicBezTo>
                    <a:cubicBezTo>
                      <a:pt x="229" y="161"/>
                      <a:pt x="233" y="163"/>
                      <a:pt x="234" y="166"/>
                    </a:cubicBezTo>
                    <a:cubicBezTo>
                      <a:pt x="234" y="166"/>
                      <a:pt x="234" y="166"/>
                      <a:pt x="234" y="166"/>
                    </a:cubicBezTo>
                    <a:cubicBezTo>
                      <a:pt x="234" y="167"/>
                      <a:pt x="235" y="167"/>
                      <a:pt x="236" y="167"/>
                    </a:cubicBezTo>
                    <a:cubicBezTo>
                      <a:pt x="237" y="167"/>
                      <a:pt x="237" y="166"/>
                      <a:pt x="238" y="165"/>
                    </a:cubicBezTo>
                    <a:cubicBezTo>
                      <a:pt x="238" y="165"/>
                      <a:pt x="238" y="165"/>
                      <a:pt x="238" y="165"/>
                    </a:cubicBezTo>
                    <a:cubicBezTo>
                      <a:pt x="239" y="165"/>
                      <a:pt x="239" y="164"/>
                      <a:pt x="240" y="164"/>
                    </a:cubicBezTo>
                    <a:cubicBezTo>
                      <a:pt x="240" y="164"/>
                      <a:pt x="240" y="164"/>
                      <a:pt x="240" y="164"/>
                    </a:cubicBezTo>
                    <a:cubicBezTo>
                      <a:pt x="241" y="163"/>
                      <a:pt x="241" y="163"/>
                      <a:pt x="241" y="163"/>
                    </a:cubicBezTo>
                    <a:cubicBezTo>
                      <a:pt x="241" y="162"/>
                      <a:pt x="241" y="161"/>
                      <a:pt x="241" y="161"/>
                    </a:cubicBezTo>
                    <a:cubicBezTo>
                      <a:pt x="241" y="160"/>
                      <a:pt x="242" y="160"/>
                      <a:pt x="242" y="159"/>
                    </a:cubicBezTo>
                    <a:cubicBezTo>
                      <a:pt x="242" y="159"/>
                      <a:pt x="243" y="158"/>
                      <a:pt x="243" y="158"/>
                    </a:cubicBezTo>
                    <a:cubicBezTo>
                      <a:pt x="244" y="158"/>
                      <a:pt x="244" y="157"/>
                      <a:pt x="245" y="157"/>
                    </a:cubicBezTo>
                    <a:cubicBezTo>
                      <a:pt x="245" y="156"/>
                      <a:pt x="244" y="155"/>
                      <a:pt x="244" y="154"/>
                    </a:cubicBezTo>
                    <a:cubicBezTo>
                      <a:pt x="244" y="150"/>
                      <a:pt x="246" y="147"/>
                      <a:pt x="247" y="144"/>
                    </a:cubicBezTo>
                    <a:cubicBezTo>
                      <a:pt x="248" y="140"/>
                      <a:pt x="248" y="140"/>
                      <a:pt x="248" y="140"/>
                    </a:cubicBezTo>
                    <a:cubicBezTo>
                      <a:pt x="259" y="146"/>
                      <a:pt x="259" y="146"/>
                      <a:pt x="259" y="146"/>
                    </a:cubicBezTo>
                    <a:cubicBezTo>
                      <a:pt x="260" y="146"/>
                      <a:pt x="260" y="146"/>
                      <a:pt x="261" y="146"/>
                    </a:cubicBezTo>
                    <a:cubicBezTo>
                      <a:pt x="262" y="146"/>
                      <a:pt x="263" y="146"/>
                      <a:pt x="264" y="146"/>
                    </a:cubicBezTo>
                    <a:cubicBezTo>
                      <a:pt x="266" y="146"/>
                      <a:pt x="266" y="146"/>
                      <a:pt x="266" y="146"/>
                    </a:cubicBezTo>
                    <a:cubicBezTo>
                      <a:pt x="270" y="145"/>
                      <a:pt x="275" y="144"/>
                      <a:pt x="281" y="141"/>
                    </a:cubicBezTo>
                    <a:cubicBezTo>
                      <a:pt x="282" y="141"/>
                      <a:pt x="282" y="141"/>
                      <a:pt x="282" y="141"/>
                    </a:cubicBezTo>
                    <a:cubicBezTo>
                      <a:pt x="284" y="140"/>
                      <a:pt x="285" y="139"/>
                      <a:pt x="287" y="139"/>
                    </a:cubicBezTo>
                    <a:cubicBezTo>
                      <a:pt x="287" y="139"/>
                      <a:pt x="289" y="140"/>
                      <a:pt x="290" y="140"/>
                    </a:cubicBezTo>
                    <a:cubicBezTo>
                      <a:pt x="295" y="141"/>
                      <a:pt x="295" y="141"/>
                      <a:pt x="295" y="141"/>
                    </a:cubicBezTo>
                    <a:cubicBezTo>
                      <a:pt x="296" y="141"/>
                      <a:pt x="297" y="142"/>
                      <a:pt x="298" y="143"/>
                    </a:cubicBezTo>
                    <a:cubicBezTo>
                      <a:pt x="298" y="143"/>
                      <a:pt x="298" y="143"/>
                      <a:pt x="298" y="143"/>
                    </a:cubicBezTo>
                    <a:cubicBezTo>
                      <a:pt x="298" y="143"/>
                      <a:pt x="298" y="143"/>
                      <a:pt x="298" y="143"/>
                    </a:cubicBezTo>
                    <a:cubicBezTo>
                      <a:pt x="299" y="143"/>
                      <a:pt x="299" y="143"/>
                      <a:pt x="299" y="143"/>
                    </a:cubicBezTo>
                    <a:cubicBezTo>
                      <a:pt x="303" y="144"/>
                      <a:pt x="307" y="145"/>
                      <a:pt x="312" y="145"/>
                    </a:cubicBezTo>
                    <a:cubicBezTo>
                      <a:pt x="312" y="145"/>
                      <a:pt x="313" y="145"/>
                      <a:pt x="314" y="145"/>
                    </a:cubicBezTo>
                    <a:cubicBezTo>
                      <a:pt x="315" y="145"/>
                      <a:pt x="315" y="145"/>
                      <a:pt x="315" y="145"/>
                    </a:cubicBezTo>
                    <a:cubicBezTo>
                      <a:pt x="315" y="146"/>
                      <a:pt x="315" y="146"/>
                      <a:pt x="315" y="146"/>
                    </a:cubicBezTo>
                    <a:cubicBezTo>
                      <a:pt x="315" y="145"/>
                      <a:pt x="315" y="145"/>
                      <a:pt x="315" y="145"/>
                    </a:cubicBezTo>
                    <a:cubicBezTo>
                      <a:pt x="320" y="144"/>
                      <a:pt x="324" y="142"/>
                      <a:pt x="328" y="141"/>
                    </a:cubicBezTo>
                    <a:cubicBezTo>
                      <a:pt x="333" y="139"/>
                      <a:pt x="333" y="139"/>
                      <a:pt x="333" y="139"/>
                    </a:cubicBezTo>
                    <a:cubicBezTo>
                      <a:pt x="333" y="139"/>
                      <a:pt x="334" y="139"/>
                      <a:pt x="334" y="138"/>
                    </a:cubicBezTo>
                    <a:cubicBezTo>
                      <a:pt x="336" y="138"/>
                      <a:pt x="337" y="138"/>
                      <a:pt x="338" y="137"/>
                    </a:cubicBezTo>
                    <a:cubicBezTo>
                      <a:pt x="338" y="137"/>
                      <a:pt x="338" y="137"/>
                      <a:pt x="338" y="137"/>
                    </a:cubicBezTo>
                    <a:cubicBezTo>
                      <a:pt x="341" y="135"/>
                      <a:pt x="345" y="134"/>
                      <a:pt x="348" y="134"/>
                    </a:cubicBezTo>
                    <a:cubicBezTo>
                      <a:pt x="349" y="134"/>
                      <a:pt x="349" y="134"/>
                      <a:pt x="349" y="134"/>
                    </a:cubicBezTo>
                    <a:cubicBezTo>
                      <a:pt x="350" y="134"/>
                      <a:pt x="352" y="134"/>
                      <a:pt x="353" y="134"/>
                    </a:cubicBezTo>
                    <a:cubicBezTo>
                      <a:pt x="361" y="134"/>
                      <a:pt x="367" y="133"/>
                      <a:pt x="374" y="132"/>
                    </a:cubicBezTo>
                    <a:cubicBezTo>
                      <a:pt x="377" y="131"/>
                      <a:pt x="379" y="130"/>
                      <a:pt x="382" y="130"/>
                    </a:cubicBezTo>
                    <a:cubicBezTo>
                      <a:pt x="385" y="129"/>
                      <a:pt x="385" y="129"/>
                      <a:pt x="385" y="129"/>
                    </a:cubicBezTo>
                    <a:cubicBezTo>
                      <a:pt x="386" y="131"/>
                      <a:pt x="386" y="131"/>
                      <a:pt x="386" y="131"/>
                    </a:cubicBezTo>
                    <a:cubicBezTo>
                      <a:pt x="389" y="129"/>
                      <a:pt x="393" y="126"/>
                      <a:pt x="399" y="126"/>
                    </a:cubicBezTo>
                    <a:cubicBezTo>
                      <a:pt x="400" y="126"/>
                      <a:pt x="400" y="126"/>
                      <a:pt x="400" y="126"/>
                    </a:cubicBezTo>
                    <a:cubicBezTo>
                      <a:pt x="401" y="126"/>
                      <a:pt x="401" y="126"/>
                      <a:pt x="401" y="126"/>
                    </a:cubicBezTo>
                    <a:cubicBezTo>
                      <a:pt x="401" y="126"/>
                      <a:pt x="402" y="126"/>
                      <a:pt x="402" y="126"/>
                    </a:cubicBezTo>
                    <a:cubicBezTo>
                      <a:pt x="402" y="126"/>
                      <a:pt x="402" y="126"/>
                      <a:pt x="402" y="126"/>
                    </a:cubicBezTo>
                    <a:cubicBezTo>
                      <a:pt x="402" y="128"/>
                      <a:pt x="402" y="128"/>
                      <a:pt x="402" y="128"/>
                    </a:cubicBezTo>
                    <a:cubicBezTo>
                      <a:pt x="403" y="126"/>
                      <a:pt x="403" y="126"/>
                      <a:pt x="403" y="126"/>
                    </a:cubicBezTo>
                    <a:cubicBezTo>
                      <a:pt x="404" y="127"/>
                      <a:pt x="404" y="127"/>
                      <a:pt x="405" y="127"/>
                    </a:cubicBezTo>
                    <a:cubicBezTo>
                      <a:pt x="409" y="128"/>
                      <a:pt x="409" y="128"/>
                      <a:pt x="409" y="128"/>
                    </a:cubicBezTo>
                    <a:cubicBezTo>
                      <a:pt x="412" y="128"/>
                      <a:pt x="415" y="129"/>
                      <a:pt x="418" y="129"/>
                    </a:cubicBezTo>
                    <a:cubicBezTo>
                      <a:pt x="419" y="129"/>
                      <a:pt x="421" y="129"/>
                      <a:pt x="422" y="129"/>
                    </a:cubicBezTo>
                    <a:cubicBezTo>
                      <a:pt x="423" y="128"/>
                      <a:pt x="424" y="128"/>
                      <a:pt x="424" y="128"/>
                    </a:cubicBezTo>
                    <a:cubicBezTo>
                      <a:pt x="429" y="128"/>
                      <a:pt x="430" y="132"/>
                      <a:pt x="431" y="133"/>
                    </a:cubicBezTo>
                    <a:cubicBezTo>
                      <a:pt x="431" y="134"/>
                      <a:pt x="431" y="134"/>
                      <a:pt x="431" y="134"/>
                    </a:cubicBezTo>
                    <a:cubicBezTo>
                      <a:pt x="431" y="134"/>
                      <a:pt x="431" y="135"/>
                      <a:pt x="431" y="135"/>
                    </a:cubicBezTo>
                    <a:cubicBezTo>
                      <a:pt x="432" y="135"/>
                      <a:pt x="432" y="136"/>
                      <a:pt x="432" y="136"/>
                    </a:cubicBezTo>
                    <a:cubicBezTo>
                      <a:pt x="433" y="136"/>
                      <a:pt x="433" y="136"/>
                      <a:pt x="433" y="136"/>
                    </a:cubicBezTo>
                    <a:cubicBezTo>
                      <a:pt x="434" y="135"/>
                      <a:pt x="435" y="135"/>
                      <a:pt x="436" y="134"/>
                    </a:cubicBezTo>
                    <a:cubicBezTo>
                      <a:pt x="439" y="133"/>
                      <a:pt x="439" y="133"/>
                      <a:pt x="439" y="133"/>
                    </a:cubicBezTo>
                    <a:cubicBezTo>
                      <a:pt x="439" y="133"/>
                      <a:pt x="439" y="133"/>
                      <a:pt x="439" y="133"/>
                    </a:cubicBezTo>
                    <a:cubicBezTo>
                      <a:pt x="439" y="132"/>
                      <a:pt x="439" y="132"/>
                      <a:pt x="439" y="132"/>
                    </a:cubicBezTo>
                    <a:cubicBezTo>
                      <a:pt x="438" y="132"/>
                      <a:pt x="438" y="132"/>
                      <a:pt x="438" y="132"/>
                    </a:cubicBezTo>
                    <a:cubicBezTo>
                      <a:pt x="438" y="132"/>
                      <a:pt x="438" y="132"/>
                      <a:pt x="438" y="132"/>
                    </a:cubicBezTo>
                    <a:cubicBezTo>
                      <a:pt x="438" y="131"/>
                      <a:pt x="438" y="131"/>
                      <a:pt x="438" y="131"/>
                    </a:cubicBezTo>
                    <a:cubicBezTo>
                      <a:pt x="436" y="130"/>
                      <a:pt x="436" y="130"/>
                      <a:pt x="436" y="130"/>
                    </a:cubicBezTo>
                    <a:cubicBezTo>
                      <a:pt x="436" y="130"/>
                      <a:pt x="435" y="129"/>
                      <a:pt x="435" y="129"/>
                    </a:cubicBezTo>
                    <a:cubicBezTo>
                      <a:pt x="434" y="128"/>
                      <a:pt x="434" y="128"/>
                      <a:pt x="434" y="128"/>
                    </a:cubicBezTo>
                    <a:cubicBezTo>
                      <a:pt x="433" y="126"/>
                      <a:pt x="434" y="124"/>
                      <a:pt x="434" y="122"/>
                    </a:cubicBezTo>
                    <a:cubicBezTo>
                      <a:pt x="434" y="122"/>
                      <a:pt x="434" y="122"/>
                      <a:pt x="434" y="122"/>
                    </a:cubicBezTo>
                    <a:cubicBezTo>
                      <a:pt x="434" y="121"/>
                      <a:pt x="434" y="121"/>
                      <a:pt x="434" y="121"/>
                    </a:cubicBezTo>
                    <a:cubicBezTo>
                      <a:pt x="434" y="121"/>
                      <a:pt x="434" y="121"/>
                      <a:pt x="434" y="121"/>
                    </a:cubicBezTo>
                    <a:cubicBezTo>
                      <a:pt x="434" y="121"/>
                      <a:pt x="434" y="121"/>
                      <a:pt x="434" y="121"/>
                    </a:cubicBezTo>
                    <a:cubicBezTo>
                      <a:pt x="433" y="120"/>
                      <a:pt x="432" y="120"/>
                      <a:pt x="432" y="120"/>
                    </a:cubicBezTo>
                    <a:cubicBezTo>
                      <a:pt x="431" y="119"/>
                      <a:pt x="431" y="119"/>
                      <a:pt x="431" y="119"/>
                    </a:cubicBezTo>
                    <a:cubicBezTo>
                      <a:pt x="431" y="119"/>
                      <a:pt x="430" y="119"/>
                      <a:pt x="430" y="118"/>
                    </a:cubicBezTo>
                    <a:cubicBezTo>
                      <a:pt x="430" y="118"/>
                      <a:pt x="430" y="118"/>
                      <a:pt x="429" y="118"/>
                    </a:cubicBezTo>
                    <a:cubicBezTo>
                      <a:pt x="429" y="118"/>
                      <a:pt x="428" y="118"/>
                      <a:pt x="427" y="117"/>
                    </a:cubicBezTo>
                    <a:cubicBezTo>
                      <a:pt x="427" y="117"/>
                      <a:pt x="427" y="117"/>
                      <a:pt x="427" y="117"/>
                    </a:cubicBezTo>
                    <a:cubicBezTo>
                      <a:pt x="426" y="116"/>
                      <a:pt x="425" y="115"/>
                      <a:pt x="425" y="114"/>
                    </a:cubicBezTo>
                    <a:cubicBezTo>
                      <a:pt x="425" y="113"/>
                      <a:pt x="426" y="112"/>
                      <a:pt x="426" y="111"/>
                    </a:cubicBezTo>
                    <a:cubicBezTo>
                      <a:pt x="426" y="111"/>
                      <a:pt x="426" y="110"/>
                      <a:pt x="427" y="109"/>
                    </a:cubicBezTo>
                    <a:cubicBezTo>
                      <a:pt x="427" y="108"/>
                      <a:pt x="429" y="106"/>
                      <a:pt x="430" y="105"/>
                    </a:cubicBezTo>
                    <a:cubicBezTo>
                      <a:pt x="427" y="106"/>
                      <a:pt x="427" y="106"/>
                      <a:pt x="427" y="106"/>
                    </a:cubicBezTo>
                    <a:cubicBezTo>
                      <a:pt x="428" y="101"/>
                      <a:pt x="428" y="101"/>
                      <a:pt x="428" y="101"/>
                    </a:cubicBezTo>
                    <a:cubicBezTo>
                      <a:pt x="428" y="97"/>
                      <a:pt x="428" y="92"/>
                      <a:pt x="427" y="91"/>
                    </a:cubicBezTo>
                    <a:cubicBezTo>
                      <a:pt x="426" y="91"/>
                      <a:pt x="426" y="91"/>
                      <a:pt x="426" y="91"/>
                    </a:cubicBezTo>
                    <a:cubicBezTo>
                      <a:pt x="426" y="90"/>
                      <a:pt x="426" y="90"/>
                      <a:pt x="426" y="90"/>
                    </a:cubicBezTo>
                    <a:cubicBezTo>
                      <a:pt x="425" y="88"/>
                      <a:pt x="424" y="86"/>
                      <a:pt x="423" y="84"/>
                    </a:cubicBezTo>
                    <a:cubicBezTo>
                      <a:pt x="423" y="82"/>
                      <a:pt x="422" y="81"/>
                      <a:pt x="422" y="80"/>
                    </a:cubicBezTo>
                    <a:cubicBezTo>
                      <a:pt x="420" y="75"/>
                      <a:pt x="420" y="75"/>
                      <a:pt x="420" y="75"/>
                    </a:cubicBezTo>
                    <a:cubicBezTo>
                      <a:pt x="424" y="72"/>
                      <a:pt x="424" y="72"/>
                      <a:pt x="424" y="72"/>
                    </a:cubicBezTo>
                    <a:cubicBezTo>
                      <a:pt x="425" y="71"/>
                      <a:pt x="425" y="71"/>
                      <a:pt x="425" y="71"/>
                    </a:cubicBezTo>
                    <a:cubicBezTo>
                      <a:pt x="427" y="71"/>
                      <a:pt x="430" y="71"/>
                      <a:pt x="430" y="71"/>
                    </a:cubicBezTo>
                    <a:cubicBezTo>
                      <a:pt x="430" y="71"/>
                      <a:pt x="431" y="70"/>
                      <a:pt x="431" y="68"/>
                    </a:cubicBezTo>
                    <a:cubicBezTo>
                      <a:pt x="431" y="66"/>
                      <a:pt x="430" y="63"/>
                      <a:pt x="433" y="62"/>
                    </a:cubicBezTo>
                    <a:cubicBezTo>
                      <a:pt x="430" y="60"/>
                      <a:pt x="430" y="60"/>
                      <a:pt x="426" y="59"/>
                    </a:cubicBezTo>
                    <a:cubicBezTo>
                      <a:pt x="425" y="59"/>
                      <a:pt x="423" y="59"/>
                      <a:pt x="422" y="59"/>
                    </a:cubicBezTo>
                    <a:cubicBezTo>
                      <a:pt x="422" y="59"/>
                      <a:pt x="422" y="59"/>
                      <a:pt x="422" y="59"/>
                    </a:cubicBezTo>
                    <a:cubicBezTo>
                      <a:pt x="422" y="59"/>
                      <a:pt x="421" y="59"/>
                      <a:pt x="421" y="59"/>
                    </a:cubicBezTo>
                    <a:cubicBezTo>
                      <a:pt x="418" y="59"/>
                      <a:pt x="417" y="58"/>
                      <a:pt x="415" y="57"/>
                    </a:cubicBezTo>
                    <a:cubicBezTo>
                      <a:pt x="414" y="57"/>
                      <a:pt x="414" y="57"/>
                      <a:pt x="414" y="57"/>
                    </a:cubicBezTo>
                    <a:cubicBezTo>
                      <a:pt x="413" y="56"/>
                      <a:pt x="412" y="55"/>
                      <a:pt x="412" y="54"/>
                    </a:cubicBezTo>
                    <a:cubicBezTo>
                      <a:pt x="411" y="53"/>
                      <a:pt x="412" y="52"/>
                      <a:pt x="412" y="51"/>
                    </a:cubicBezTo>
                    <a:cubicBezTo>
                      <a:pt x="412" y="51"/>
                      <a:pt x="412" y="51"/>
                      <a:pt x="412" y="51"/>
                    </a:cubicBezTo>
                    <a:cubicBezTo>
                      <a:pt x="412" y="50"/>
                      <a:pt x="412" y="50"/>
                      <a:pt x="411" y="49"/>
                    </a:cubicBezTo>
                    <a:cubicBezTo>
                      <a:pt x="410" y="46"/>
                      <a:pt x="409" y="45"/>
                      <a:pt x="409" y="44"/>
                    </a:cubicBezTo>
                    <a:cubicBezTo>
                      <a:pt x="409" y="42"/>
                      <a:pt x="411" y="41"/>
                      <a:pt x="411" y="40"/>
                    </a:cubicBezTo>
                    <a:cubicBezTo>
                      <a:pt x="412" y="40"/>
                      <a:pt x="412" y="40"/>
                      <a:pt x="412" y="40"/>
                    </a:cubicBezTo>
                    <a:cubicBezTo>
                      <a:pt x="412" y="40"/>
                      <a:pt x="412" y="40"/>
                      <a:pt x="412" y="40"/>
                    </a:cubicBezTo>
                    <a:cubicBezTo>
                      <a:pt x="412" y="40"/>
                      <a:pt x="412" y="40"/>
                      <a:pt x="412" y="40"/>
                    </a:cubicBezTo>
                    <a:cubicBezTo>
                      <a:pt x="412" y="38"/>
                      <a:pt x="412" y="38"/>
                      <a:pt x="412" y="38"/>
                    </a:cubicBezTo>
                    <a:cubicBezTo>
                      <a:pt x="412" y="37"/>
                      <a:pt x="412" y="36"/>
                      <a:pt x="412" y="36"/>
                    </a:cubicBezTo>
                    <a:cubicBezTo>
                      <a:pt x="412" y="35"/>
                      <a:pt x="412" y="35"/>
                      <a:pt x="412" y="35"/>
                    </a:cubicBezTo>
                    <a:cubicBezTo>
                      <a:pt x="412" y="35"/>
                      <a:pt x="412" y="34"/>
                      <a:pt x="412" y="34"/>
                    </a:cubicBezTo>
                    <a:cubicBezTo>
                      <a:pt x="412" y="33"/>
                      <a:pt x="412" y="33"/>
                      <a:pt x="412" y="33"/>
                    </a:cubicBezTo>
                    <a:cubicBezTo>
                      <a:pt x="412" y="33"/>
                      <a:pt x="412" y="33"/>
                      <a:pt x="412" y="33"/>
                    </a:cubicBezTo>
                    <a:cubicBezTo>
                      <a:pt x="411" y="33"/>
                      <a:pt x="411" y="33"/>
                      <a:pt x="411" y="33"/>
                    </a:cubicBezTo>
                    <a:cubicBezTo>
                      <a:pt x="411" y="32"/>
                      <a:pt x="411" y="31"/>
                      <a:pt x="410" y="31"/>
                    </a:cubicBezTo>
                    <a:cubicBezTo>
                      <a:pt x="404" y="24"/>
                      <a:pt x="404" y="24"/>
                      <a:pt x="404" y="24"/>
                    </a:cubicBezTo>
                    <a:cubicBezTo>
                      <a:pt x="403" y="24"/>
                      <a:pt x="403" y="24"/>
                      <a:pt x="403" y="24"/>
                    </a:cubicBezTo>
                    <a:cubicBezTo>
                      <a:pt x="402" y="23"/>
                      <a:pt x="401" y="23"/>
                      <a:pt x="400" y="22"/>
                    </a:cubicBezTo>
                    <a:cubicBezTo>
                      <a:pt x="399" y="21"/>
                      <a:pt x="399" y="21"/>
                      <a:pt x="399" y="21"/>
                    </a:cubicBezTo>
                    <a:cubicBezTo>
                      <a:pt x="399" y="21"/>
                      <a:pt x="399" y="21"/>
                      <a:pt x="399" y="21"/>
                    </a:cubicBezTo>
                    <a:cubicBezTo>
                      <a:pt x="398" y="21"/>
                      <a:pt x="398" y="20"/>
                      <a:pt x="397" y="20"/>
                    </a:cubicBezTo>
                    <a:cubicBezTo>
                      <a:pt x="397" y="20"/>
                      <a:pt x="397" y="19"/>
                      <a:pt x="396" y="19"/>
                    </a:cubicBezTo>
                    <a:cubicBezTo>
                      <a:pt x="396" y="18"/>
                      <a:pt x="396" y="18"/>
                      <a:pt x="396" y="18"/>
                    </a:cubicBezTo>
                    <a:cubicBezTo>
                      <a:pt x="395" y="18"/>
                      <a:pt x="395" y="18"/>
                      <a:pt x="395" y="18"/>
                    </a:cubicBezTo>
                    <a:cubicBezTo>
                      <a:pt x="394" y="16"/>
                      <a:pt x="393" y="16"/>
                      <a:pt x="392" y="16"/>
                    </a:cubicBezTo>
                    <a:cubicBezTo>
                      <a:pt x="391" y="16"/>
                      <a:pt x="391" y="16"/>
                      <a:pt x="391" y="16"/>
                    </a:cubicBezTo>
                    <a:cubicBezTo>
                      <a:pt x="391" y="16"/>
                      <a:pt x="391" y="16"/>
                      <a:pt x="390" y="17"/>
                    </a:cubicBezTo>
                    <a:cubicBezTo>
                      <a:pt x="390" y="20"/>
                      <a:pt x="390" y="20"/>
                      <a:pt x="390" y="20"/>
                    </a:cubicBezTo>
                    <a:cubicBezTo>
                      <a:pt x="387" y="20"/>
                      <a:pt x="387" y="20"/>
                      <a:pt x="387" y="20"/>
                    </a:cubicBezTo>
                    <a:cubicBezTo>
                      <a:pt x="384" y="19"/>
                      <a:pt x="381" y="19"/>
                      <a:pt x="378" y="19"/>
                    </a:cubicBezTo>
                    <a:cubicBezTo>
                      <a:pt x="376" y="18"/>
                      <a:pt x="376" y="18"/>
                      <a:pt x="376" y="18"/>
                    </a:cubicBezTo>
                    <a:cubicBezTo>
                      <a:pt x="376" y="18"/>
                      <a:pt x="375" y="18"/>
                      <a:pt x="375" y="18"/>
                    </a:cubicBezTo>
                    <a:cubicBezTo>
                      <a:pt x="374" y="18"/>
                      <a:pt x="373" y="18"/>
                      <a:pt x="373" y="18"/>
                    </a:cubicBezTo>
                    <a:cubicBezTo>
                      <a:pt x="372" y="18"/>
                      <a:pt x="372" y="18"/>
                      <a:pt x="372" y="18"/>
                    </a:cubicBezTo>
                    <a:cubicBezTo>
                      <a:pt x="371" y="18"/>
                      <a:pt x="370" y="18"/>
                      <a:pt x="369" y="18"/>
                    </a:cubicBezTo>
                    <a:cubicBezTo>
                      <a:pt x="368" y="18"/>
                      <a:pt x="367" y="18"/>
                      <a:pt x="366" y="18"/>
                    </a:cubicBezTo>
                    <a:cubicBezTo>
                      <a:pt x="367" y="22"/>
                      <a:pt x="367" y="22"/>
                      <a:pt x="367" y="22"/>
                    </a:cubicBezTo>
                    <a:cubicBezTo>
                      <a:pt x="364" y="18"/>
                      <a:pt x="364" y="18"/>
                      <a:pt x="364" y="18"/>
                    </a:cubicBezTo>
                    <a:cubicBezTo>
                      <a:pt x="355" y="22"/>
                      <a:pt x="355" y="22"/>
                      <a:pt x="355" y="22"/>
                    </a:cubicBezTo>
                    <a:cubicBezTo>
                      <a:pt x="353" y="22"/>
                      <a:pt x="352" y="23"/>
                      <a:pt x="351" y="24"/>
                    </a:cubicBezTo>
                    <a:cubicBezTo>
                      <a:pt x="349" y="24"/>
                      <a:pt x="347" y="24"/>
                      <a:pt x="346" y="25"/>
                    </a:cubicBezTo>
                    <a:cubicBezTo>
                      <a:pt x="343" y="28"/>
                      <a:pt x="339" y="29"/>
                      <a:pt x="336" y="30"/>
                    </a:cubicBezTo>
                    <a:cubicBezTo>
                      <a:pt x="334" y="31"/>
                      <a:pt x="333" y="31"/>
                      <a:pt x="331" y="31"/>
                    </a:cubicBezTo>
                    <a:cubicBezTo>
                      <a:pt x="331" y="31"/>
                      <a:pt x="331" y="31"/>
                      <a:pt x="331" y="31"/>
                    </a:cubicBezTo>
                    <a:cubicBezTo>
                      <a:pt x="330" y="31"/>
                      <a:pt x="330" y="31"/>
                      <a:pt x="329" y="31"/>
                    </a:cubicBezTo>
                    <a:cubicBezTo>
                      <a:pt x="329" y="30"/>
                      <a:pt x="328" y="30"/>
                      <a:pt x="328" y="30"/>
                    </a:cubicBezTo>
                    <a:cubicBezTo>
                      <a:pt x="327" y="30"/>
                      <a:pt x="327" y="30"/>
                      <a:pt x="327" y="30"/>
                    </a:cubicBezTo>
                    <a:cubicBezTo>
                      <a:pt x="327" y="30"/>
                      <a:pt x="326" y="30"/>
                      <a:pt x="326" y="30"/>
                    </a:cubicBezTo>
                    <a:cubicBezTo>
                      <a:pt x="323" y="30"/>
                      <a:pt x="319" y="29"/>
                      <a:pt x="317" y="27"/>
                    </a:cubicBezTo>
                    <a:cubicBezTo>
                      <a:pt x="316" y="27"/>
                      <a:pt x="315" y="27"/>
                      <a:pt x="315" y="27"/>
                    </a:cubicBezTo>
                    <a:cubicBezTo>
                      <a:pt x="314" y="27"/>
                      <a:pt x="314" y="27"/>
                      <a:pt x="312" y="28"/>
                    </a:cubicBezTo>
                    <a:cubicBezTo>
                      <a:pt x="312" y="28"/>
                      <a:pt x="311" y="28"/>
                      <a:pt x="311" y="28"/>
                    </a:cubicBezTo>
                    <a:cubicBezTo>
                      <a:pt x="310" y="28"/>
                      <a:pt x="310" y="28"/>
                      <a:pt x="310" y="28"/>
                    </a:cubicBezTo>
                    <a:cubicBezTo>
                      <a:pt x="309" y="28"/>
                      <a:pt x="309" y="28"/>
                      <a:pt x="309" y="28"/>
                    </a:cubicBezTo>
                    <a:cubicBezTo>
                      <a:pt x="308" y="28"/>
                      <a:pt x="308" y="28"/>
                      <a:pt x="307" y="28"/>
                    </a:cubicBezTo>
                    <a:cubicBezTo>
                      <a:pt x="302" y="29"/>
                      <a:pt x="296" y="32"/>
                      <a:pt x="291" y="32"/>
                    </a:cubicBezTo>
                    <a:cubicBezTo>
                      <a:pt x="290" y="32"/>
                      <a:pt x="290" y="32"/>
                      <a:pt x="290" y="32"/>
                    </a:cubicBezTo>
                    <a:cubicBezTo>
                      <a:pt x="284" y="32"/>
                      <a:pt x="278" y="29"/>
                      <a:pt x="272" y="28"/>
                    </a:cubicBezTo>
                    <a:cubicBezTo>
                      <a:pt x="264" y="27"/>
                      <a:pt x="260" y="24"/>
                      <a:pt x="254" y="20"/>
                    </a:cubicBezTo>
                    <a:cubicBezTo>
                      <a:pt x="254" y="19"/>
                      <a:pt x="253" y="19"/>
                      <a:pt x="253" y="19"/>
                    </a:cubicBezTo>
                    <a:cubicBezTo>
                      <a:pt x="251" y="19"/>
                      <a:pt x="246" y="22"/>
                      <a:pt x="244" y="22"/>
                    </a:cubicBezTo>
                    <a:cubicBezTo>
                      <a:pt x="244" y="22"/>
                      <a:pt x="244" y="22"/>
                      <a:pt x="244" y="22"/>
                    </a:cubicBezTo>
                    <a:cubicBezTo>
                      <a:pt x="242" y="22"/>
                      <a:pt x="239" y="18"/>
                      <a:pt x="238" y="16"/>
                    </a:cubicBezTo>
                    <a:cubicBezTo>
                      <a:pt x="236" y="13"/>
                      <a:pt x="237" y="9"/>
                      <a:pt x="233" y="9"/>
                    </a:cubicBezTo>
                    <a:cubicBezTo>
                      <a:pt x="233" y="9"/>
                      <a:pt x="232" y="9"/>
                      <a:pt x="232" y="10"/>
                    </a:cubicBezTo>
                    <a:cubicBezTo>
                      <a:pt x="229" y="10"/>
                      <a:pt x="227" y="11"/>
                      <a:pt x="224" y="11"/>
                    </a:cubicBezTo>
                    <a:cubicBezTo>
                      <a:pt x="223" y="11"/>
                      <a:pt x="223" y="11"/>
                      <a:pt x="222" y="11"/>
                    </a:cubicBezTo>
                    <a:cubicBezTo>
                      <a:pt x="219" y="11"/>
                      <a:pt x="217" y="8"/>
                      <a:pt x="214" y="5"/>
                    </a:cubicBezTo>
                    <a:cubicBezTo>
                      <a:pt x="213" y="4"/>
                      <a:pt x="213" y="1"/>
                      <a:pt x="215" y="1"/>
                    </a:cubicBezTo>
                    <a:cubicBezTo>
                      <a:pt x="215" y="1"/>
                      <a:pt x="215" y="1"/>
                      <a:pt x="216" y="1"/>
                    </a:cubicBezTo>
                    <a:cubicBezTo>
                      <a:pt x="215" y="0"/>
                      <a:pt x="214" y="0"/>
                      <a:pt x="2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1" name="Freeform 180">
                <a:extLst>
                  <a:ext uri="{FF2B5EF4-FFF2-40B4-BE49-F238E27FC236}">
                    <a16:creationId xmlns:a16="http://schemas.microsoft.com/office/drawing/2014/main" id="{C4AAD72F-0EA9-407B-A77B-6168FDB15534}"/>
                  </a:ext>
                </a:extLst>
              </p:cNvPr>
              <p:cNvSpPr>
                <a:spLocks/>
              </p:cNvSpPr>
              <p:nvPr/>
            </p:nvSpPr>
            <p:spPr bwMode="auto">
              <a:xfrm>
                <a:off x="5618" y="753"/>
                <a:ext cx="73" cy="83"/>
              </a:xfrm>
              <a:custGeom>
                <a:avLst/>
                <a:gdLst>
                  <a:gd name="T0" fmla="*/ 18 w 31"/>
                  <a:gd name="T1" fmla="*/ 0 h 35"/>
                  <a:gd name="T2" fmla="*/ 17 w 31"/>
                  <a:gd name="T3" fmla="*/ 2 h 35"/>
                  <a:gd name="T4" fmla="*/ 13 w 31"/>
                  <a:gd name="T5" fmla="*/ 6 h 35"/>
                  <a:gd name="T6" fmla="*/ 9 w 31"/>
                  <a:gd name="T7" fmla="*/ 17 h 35"/>
                  <a:gd name="T8" fmla="*/ 6 w 31"/>
                  <a:gd name="T9" fmla="*/ 21 h 35"/>
                  <a:gd name="T10" fmla="*/ 4 w 31"/>
                  <a:gd name="T11" fmla="*/ 26 h 35"/>
                  <a:gd name="T12" fmla="*/ 0 w 31"/>
                  <a:gd name="T13" fmla="*/ 35 h 35"/>
                  <a:gd name="T14" fmla="*/ 2 w 31"/>
                  <a:gd name="T15" fmla="*/ 35 h 35"/>
                  <a:gd name="T16" fmla="*/ 4 w 31"/>
                  <a:gd name="T17" fmla="*/ 35 h 35"/>
                  <a:gd name="T18" fmla="*/ 7 w 31"/>
                  <a:gd name="T19" fmla="*/ 34 h 35"/>
                  <a:gd name="T20" fmla="*/ 9 w 31"/>
                  <a:gd name="T21" fmla="*/ 31 h 35"/>
                  <a:gd name="T22" fmla="*/ 10 w 31"/>
                  <a:gd name="T23" fmla="*/ 31 h 35"/>
                  <a:gd name="T24" fmla="*/ 12 w 31"/>
                  <a:gd name="T25" fmla="*/ 29 h 35"/>
                  <a:gd name="T26" fmla="*/ 13 w 31"/>
                  <a:gd name="T27" fmla="*/ 29 h 35"/>
                  <a:gd name="T28" fmla="*/ 14 w 31"/>
                  <a:gd name="T29" fmla="*/ 28 h 35"/>
                  <a:gd name="T30" fmla="*/ 17 w 31"/>
                  <a:gd name="T31" fmla="*/ 26 h 35"/>
                  <a:gd name="T32" fmla="*/ 17 w 31"/>
                  <a:gd name="T33" fmla="*/ 25 h 35"/>
                  <a:gd name="T34" fmla="*/ 16 w 31"/>
                  <a:gd name="T35" fmla="*/ 23 h 35"/>
                  <a:gd name="T36" fmla="*/ 21 w 31"/>
                  <a:gd name="T37" fmla="*/ 17 h 35"/>
                  <a:gd name="T38" fmla="*/ 24 w 31"/>
                  <a:gd name="T39" fmla="*/ 15 h 35"/>
                  <a:gd name="T40" fmla="*/ 30 w 31"/>
                  <a:gd name="T41" fmla="*/ 9 h 35"/>
                  <a:gd name="T42" fmla="*/ 31 w 31"/>
                  <a:gd name="T43" fmla="*/ 8 h 35"/>
                  <a:gd name="T44" fmla="*/ 30 w 31"/>
                  <a:gd name="T45" fmla="*/ 8 h 35"/>
                  <a:gd name="T46" fmla="*/ 29 w 31"/>
                  <a:gd name="T47" fmla="*/ 6 h 35"/>
                  <a:gd name="T48" fmla="*/ 27 w 31"/>
                  <a:gd name="T49" fmla="*/ 4 h 35"/>
                  <a:gd name="T50" fmla="*/ 23 w 31"/>
                  <a:gd name="T51" fmla="*/ 3 h 35"/>
                  <a:gd name="T52" fmla="*/ 25 w 31"/>
                  <a:gd name="T53" fmla="*/ 1 h 35"/>
                  <a:gd name="T54" fmla="*/ 22 w 31"/>
                  <a:gd name="T55" fmla="*/ 1 h 35"/>
                  <a:gd name="T56" fmla="*/ 18 w 31"/>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 h="35">
                    <a:moveTo>
                      <a:pt x="18" y="0"/>
                    </a:moveTo>
                    <a:cubicBezTo>
                      <a:pt x="18" y="1"/>
                      <a:pt x="17" y="2"/>
                      <a:pt x="17" y="2"/>
                    </a:cubicBezTo>
                    <a:cubicBezTo>
                      <a:pt x="15" y="3"/>
                      <a:pt x="14" y="4"/>
                      <a:pt x="13" y="6"/>
                    </a:cubicBezTo>
                    <a:cubicBezTo>
                      <a:pt x="11" y="10"/>
                      <a:pt x="11" y="13"/>
                      <a:pt x="9" y="17"/>
                    </a:cubicBezTo>
                    <a:cubicBezTo>
                      <a:pt x="8" y="19"/>
                      <a:pt x="7" y="19"/>
                      <a:pt x="6" y="21"/>
                    </a:cubicBezTo>
                    <a:cubicBezTo>
                      <a:pt x="6" y="23"/>
                      <a:pt x="5" y="25"/>
                      <a:pt x="4" y="26"/>
                    </a:cubicBezTo>
                    <a:cubicBezTo>
                      <a:pt x="3" y="29"/>
                      <a:pt x="1" y="32"/>
                      <a:pt x="0" y="35"/>
                    </a:cubicBezTo>
                    <a:cubicBezTo>
                      <a:pt x="2" y="35"/>
                      <a:pt x="2" y="35"/>
                      <a:pt x="2" y="35"/>
                    </a:cubicBezTo>
                    <a:cubicBezTo>
                      <a:pt x="3" y="35"/>
                      <a:pt x="4" y="35"/>
                      <a:pt x="4" y="35"/>
                    </a:cubicBezTo>
                    <a:cubicBezTo>
                      <a:pt x="6" y="35"/>
                      <a:pt x="6" y="35"/>
                      <a:pt x="7" y="34"/>
                    </a:cubicBezTo>
                    <a:cubicBezTo>
                      <a:pt x="9" y="31"/>
                      <a:pt x="9" y="31"/>
                      <a:pt x="9" y="31"/>
                    </a:cubicBezTo>
                    <a:cubicBezTo>
                      <a:pt x="10" y="31"/>
                      <a:pt x="10" y="31"/>
                      <a:pt x="10" y="31"/>
                    </a:cubicBezTo>
                    <a:cubicBezTo>
                      <a:pt x="12" y="29"/>
                      <a:pt x="12" y="29"/>
                      <a:pt x="12" y="29"/>
                    </a:cubicBezTo>
                    <a:cubicBezTo>
                      <a:pt x="13" y="29"/>
                      <a:pt x="13" y="29"/>
                      <a:pt x="13" y="29"/>
                    </a:cubicBezTo>
                    <a:cubicBezTo>
                      <a:pt x="13" y="29"/>
                      <a:pt x="14" y="28"/>
                      <a:pt x="14" y="28"/>
                    </a:cubicBezTo>
                    <a:cubicBezTo>
                      <a:pt x="15" y="27"/>
                      <a:pt x="16" y="26"/>
                      <a:pt x="17" y="26"/>
                    </a:cubicBezTo>
                    <a:cubicBezTo>
                      <a:pt x="17" y="25"/>
                      <a:pt x="17" y="25"/>
                      <a:pt x="17" y="25"/>
                    </a:cubicBezTo>
                    <a:cubicBezTo>
                      <a:pt x="16" y="25"/>
                      <a:pt x="16" y="24"/>
                      <a:pt x="16" y="23"/>
                    </a:cubicBezTo>
                    <a:cubicBezTo>
                      <a:pt x="15" y="21"/>
                      <a:pt x="17" y="18"/>
                      <a:pt x="21" y="17"/>
                    </a:cubicBezTo>
                    <a:cubicBezTo>
                      <a:pt x="21" y="16"/>
                      <a:pt x="23" y="16"/>
                      <a:pt x="24" y="15"/>
                    </a:cubicBezTo>
                    <a:cubicBezTo>
                      <a:pt x="25" y="13"/>
                      <a:pt x="28" y="10"/>
                      <a:pt x="30" y="9"/>
                    </a:cubicBezTo>
                    <a:cubicBezTo>
                      <a:pt x="31" y="8"/>
                      <a:pt x="31" y="8"/>
                      <a:pt x="31" y="8"/>
                    </a:cubicBezTo>
                    <a:cubicBezTo>
                      <a:pt x="30" y="8"/>
                      <a:pt x="30" y="8"/>
                      <a:pt x="30" y="8"/>
                    </a:cubicBezTo>
                    <a:cubicBezTo>
                      <a:pt x="30" y="7"/>
                      <a:pt x="30" y="7"/>
                      <a:pt x="29" y="6"/>
                    </a:cubicBezTo>
                    <a:cubicBezTo>
                      <a:pt x="29" y="5"/>
                      <a:pt x="29" y="5"/>
                      <a:pt x="27" y="4"/>
                    </a:cubicBezTo>
                    <a:cubicBezTo>
                      <a:pt x="23" y="3"/>
                      <a:pt x="23" y="3"/>
                      <a:pt x="23" y="3"/>
                    </a:cubicBezTo>
                    <a:cubicBezTo>
                      <a:pt x="25" y="1"/>
                      <a:pt x="25" y="1"/>
                      <a:pt x="25" y="1"/>
                    </a:cubicBezTo>
                    <a:cubicBezTo>
                      <a:pt x="24" y="1"/>
                      <a:pt x="23" y="1"/>
                      <a:pt x="22" y="1"/>
                    </a:cubicBezTo>
                    <a:cubicBezTo>
                      <a:pt x="21" y="1"/>
                      <a:pt x="19" y="1"/>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2" name="Freeform 181">
                <a:extLst>
                  <a:ext uri="{FF2B5EF4-FFF2-40B4-BE49-F238E27FC236}">
                    <a16:creationId xmlns:a16="http://schemas.microsoft.com/office/drawing/2014/main" id="{1A3BDBF6-2630-4EE4-8A80-AF4E0B2D7D69}"/>
                  </a:ext>
                </a:extLst>
              </p:cNvPr>
              <p:cNvSpPr>
                <a:spLocks/>
              </p:cNvSpPr>
              <p:nvPr/>
            </p:nvSpPr>
            <p:spPr bwMode="auto">
              <a:xfrm>
                <a:off x="6093" y="325"/>
                <a:ext cx="148" cy="147"/>
              </a:xfrm>
              <a:custGeom>
                <a:avLst/>
                <a:gdLst>
                  <a:gd name="T0" fmla="*/ 30 w 63"/>
                  <a:gd name="T1" fmla="*/ 1 h 62"/>
                  <a:gd name="T2" fmla="*/ 26 w 63"/>
                  <a:gd name="T3" fmla="*/ 2 h 62"/>
                  <a:gd name="T4" fmla="*/ 24 w 63"/>
                  <a:gd name="T5" fmla="*/ 2 h 62"/>
                  <a:gd name="T6" fmla="*/ 21 w 63"/>
                  <a:gd name="T7" fmla="*/ 2 h 62"/>
                  <a:gd name="T8" fmla="*/ 14 w 63"/>
                  <a:gd name="T9" fmla="*/ 3 h 62"/>
                  <a:gd name="T10" fmla="*/ 0 w 63"/>
                  <a:gd name="T11" fmla="*/ 6 h 62"/>
                  <a:gd name="T12" fmla="*/ 1 w 63"/>
                  <a:gd name="T13" fmla="*/ 7 h 62"/>
                  <a:gd name="T14" fmla="*/ 1 w 63"/>
                  <a:gd name="T15" fmla="*/ 8 h 62"/>
                  <a:gd name="T16" fmla="*/ 2 w 63"/>
                  <a:gd name="T17" fmla="*/ 10 h 62"/>
                  <a:gd name="T18" fmla="*/ 2 w 63"/>
                  <a:gd name="T19" fmla="*/ 13 h 62"/>
                  <a:gd name="T20" fmla="*/ 1 w 63"/>
                  <a:gd name="T21" fmla="*/ 19 h 62"/>
                  <a:gd name="T22" fmla="*/ 0 w 63"/>
                  <a:gd name="T23" fmla="*/ 21 h 62"/>
                  <a:gd name="T24" fmla="*/ 2 w 63"/>
                  <a:gd name="T25" fmla="*/ 25 h 62"/>
                  <a:gd name="T26" fmla="*/ 5 w 63"/>
                  <a:gd name="T27" fmla="*/ 29 h 62"/>
                  <a:gd name="T28" fmla="*/ 11 w 63"/>
                  <a:gd name="T29" fmla="*/ 30 h 62"/>
                  <a:gd name="T30" fmla="*/ 26 w 63"/>
                  <a:gd name="T31" fmla="*/ 38 h 62"/>
                  <a:gd name="T32" fmla="*/ 31 w 63"/>
                  <a:gd name="T33" fmla="*/ 37 h 62"/>
                  <a:gd name="T34" fmla="*/ 35 w 63"/>
                  <a:gd name="T35" fmla="*/ 38 h 62"/>
                  <a:gd name="T36" fmla="*/ 37 w 63"/>
                  <a:gd name="T37" fmla="*/ 41 h 62"/>
                  <a:gd name="T38" fmla="*/ 40 w 63"/>
                  <a:gd name="T39" fmla="*/ 43 h 62"/>
                  <a:gd name="T40" fmla="*/ 42 w 63"/>
                  <a:gd name="T41" fmla="*/ 44 h 62"/>
                  <a:gd name="T42" fmla="*/ 44 w 63"/>
                  <a:gd name="T43" fmla="*/ 43 h 62"/>
                  <a:gd name="T44" fmla="*/ 49 w 63"/>
                  <a:gd name="T45" fmla="*/ 44 h 62"/>
                  <a:gd name="T46" fmla="*/ 51 w 63"/>
                  <a:gd name="T47" fmla="*/ 48 h 62"/>
                  <a:gd name="T48" fmla="*/ 52 w 63"/>
                  <a:gd name="T49" fmla="*/ 50 h 62"/>
                  <a:gd name="T50" fmla="*/ 59 w 63"/>
                  <a:gd name="T51" fmla="*/ 61 h 62"/>
                  <a:gd name="T52" fmla="*/ 60 w 63"/>
                  <a:gd name="T53" fmla="*/ 62 h 62"/>
                  <a:gd name="T54" fmla="*/ 63 w 63"/>
                  <a:gd name="T55" fmla="*/ 61 h 62"/>
                  <a:gd name="T56" fmla="*/ 63 w 63"/>
                  <a:gd name="T57" fmla="*/ 59 h 62"/>
                  <a:gd name="T58" fmla="*/ 61 w 63"/>
                  <a:gd name="T59" fmla="*/ 58 h 62"/>
                  <a:gd name="T60" fmla="*/ 62 w 63"/>
                  <a:gd name="T61" fmla="*/ 53 h 62"/>
                  <a:gd name="T62" fmla="*/ 61 w 63"/>
                  <a:gd name="T63" fmla="*/ 48 h 62"/>
                  <a:gd name="T64" fmla="*/ 37 w 63"/>
                  <a:gd name="T65" fmla="*/ 32 h 62"/>
                  <a:gd name="T66" fmla="*/ 46 w 63"/>
                  <a:gd name="T67" fmla="*/ 31 h 62"/>
                  <a:gd name="T68" fmla="*/ 48 w 63"/>
                  <a:gd name="T69" fmla="*/ 30 h 62"/>
                  <a:gd name="T70" fmla="*/ 49 w 63"/>
                  <a:gd name="T71" fmla="*/ 27 h 62"/>
                  <a:gd name="T72" fmla="*/ 44 w 63"/>
                  <a:gd name="T73" fmla="*/ 24 h 62"/>
                  <a:gd name="T74" fmla="*/ 37 w 63"/>
                  <a:gd name="T75" fmla="*/ 13 h 62"/>
                  <a:gd name="T76" fmla="*/ 41 w 63"/>
                  <a:gd name="T77" fmla="*/ 10 h 62"/>
                  <a:gd name="T78" fmla="*/ 40 w 63"/>
                  <a:gd name="T79" fmla="*/ 9 h 62"/>
                  <a:gd name="T80" fmla="*/ 34 w 63"/>
                  <a:gd name="T81" fmla="*/ 6 h 62"/>
                  <a:gd name="T82" fmla="*/ 33 w 63"/>
                  <a:gd name="T83" fmla="*/ 7 h 62"/>
                  <a:gd name="T84" fmla="*/ 30 w 63"/>
                  <a:gd name="T85" fmla="*/ 2 h 62"/>
                  <a:gd name="T86" fmla="*/ 30 w 63"/>
                  <a:gd name="T8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 h="62">
                    <a:moveTo>
                      <a:pt x="30" y="0"/>
                    </a:moveTo>
                    <a:cubicBezTo>
                      <a:pt x="30" y="1"/>
                      <a:pt x="30" y="1"/>
                      <a:pt x="30" y="1"/>
                    </a:cubicBezTo>
                    <a:cubicBezTo>
                      <a:pt x="29" y="1"/>
                      <a:pt x="29" y="1"/>
                      <a:pt x="29" y="1"/>
                    </a:cubicBezTo>
                    <a:cubicBezTo>
                      <a:pt x="28" y="1"/>
                      <a:pt x="27" y="2"/>
                      <a:pt x="26" y="2"/>
                    </a:cubicBezTo>
                    <a:cubicBezTo>
                      <a:pt x="26" y="2"/>
                      <a:pt x="26" y="2"/>
                      <a:pt x="26" y="2"/>
                    </a:cubicBezTo>
                    <a:cubicBezTo>
                      <a:pt x="25" y="2"/>
                      <a:pt x="24" y="2"/>
                      <a:pt x="24" y="2"/>
                    </a:cubicBezTo>
                    <a:cubicBezTo>
                      <a:pt x="23" y="2"/>
                      <a:pt x="23" y="2"/>
                      <a:pt x="23" y="2"/>
                    </a:cubicBezTo>
                    <a:cubicBezTo>
                      <a:pt x="22" y="2"/>
                      <a:pt x="21" y="2"/>
                      <a:pt x="21" y="2"/>
                    </a:cubicBezTo>
                    <a:cubicBezTo>
                      <a:pt x="19" y="2"/>
                      <a:pt x="18" y="2"/>
                      <a:pt x="17" y="2"/>
                    </a:cubicBezTo>
                    <a:cubicBezTo>
                      <a:pt x="16" y="2"/>
                      <a:pt x="15" y="2"/>
                      <a:pt x="14" y="3"/>
                    </a:cubicBezTo>
                    <a:cubicBezTo>
                      <a:pt x="9" y="3"/>
                      <a:pt x="4" y="4"/>
                      <a:pt x="0" y="4"/>
                    </a:cubicBezTo>
                    <a:cubicBezTo>
                      <a:pt x="0" y="5"/>
                      <a:pt x="0" y="5"/>
                      <a:pt x="0" y="6"/>
                    </a:cubicBezTo>
                    <a:cubicBezTo>
                      <a:pt x="1" y="6"/>
                      <a:pt x="1" y="6"/>
                      <a:pt x="1" y="6"/>
                    </a:cubicBezTo>
                    <a:cubicBezTo>
                      <a:pt x="1" y="7"/>
                      <a:pt x="1" y="7"/>
                      <a:pt x="1" y="7"/>
                    </a:cubicBezTo>
                    <a:cubicBezTo>
                      <a:pt x="6" y="6"/>
                      <a:pt x="6" y="6"/>
                      <a:pt x="6" y="6"/>
                    </a:cubicBezTo>
                    <a:cubicBezTo>
                      <a:pt x="1" y="8"/>
                      <a:pt x="1" y="8"/>
                      <a:pt x="1" y="8"/>
                    </a:cubicBezTo>
                    <a:cubicBezTo>
                      <a:pt x="1" y="8"/>
                      <a:pt x="1" y="8"/>
                      <a:pt x="1" y="8"/>
                    </a:cubicBezTo>
                    <a:cubicBezTo>
                      <a:pt x="1" y="9"/>
                      <a:pt x="2" y="10"/>
                      <a:pt x="2" y="10"/>
                    </a:cubicBezTo>
                    <a:cubicBezTo>
                      <a:pt x="2" y="11"/>
                      <a:pt x="2" y="11"/>
                      <a:pt x="2" y="11"/>
                    </a:cubicBezTo>
                    <a:cubicBezTo>
                      <a:pt x="2" y="12"/>
                      <a:pt x="2" y="12"/>
                      <a:pt x="2" y="13"/>
                    </a:cubicBezTo>
                    <a:cubicBezTo>
                      <a:pt x="2" y="16"/>
                      <a:pt x="2" y="16"/>
                      <a:pt x="2" y="16"/>
                    </a:cubicBezTo>
                    <a:cubicBezTo>
                      <a:pt x="2" y="17"/>
                      <a:pt x="2" y="18"/>
                      <a:pt x="1" y="19"/>
                    </a:cubicBezTo>
                    <a:cubicBezTo>
                      <a:pt x="1" y="19"/>
                      <a:pt x="0" y="20"/>
                      <a:pt x="0" y="20"/>
                    </a:cubicBezTo>
                    <a:cubicBezTo>
                      <a:pt x="0" y="21"/>
                      <a:pt x="0" y="21"/>
                      <a:pt x="0" y="21"/>
                    </a:cubicBezTo>
                    <a:cubicBezTo>
                      <a:pt x="0" y="21"/>
                      <a:pt x="0" y="22"/>
                      <a:pt x="0" y="22"/>
                    </a:cubicBezTo>
                    <a:cubicBezTo>
                      <a:pt x="2" y="24"/>
                      <a:pt x="2" y="25"/>
                      <a:pt x="2" y="25"/>
                    </a:cubicBezTo>
                    <a:cubicBezTo>
                      <a:pt x="2" y="26"/>
                      <a:pt x="2" y="27"/>
                      <a:pt x="2" y="28"/>
                    </a:cubicBezTo>
                    <a:cubicBezTo>
                      <a:pt x="3" y="29"/>
                      <a:pt x="4" y="29"/>
                      <a:pt x="5" y="29"/>
                    </a:cubicBezTo>
                    <a:cubicBezTo>
                      <a:pt x="6" y="29"/>
                      <a:pt x="6" y="29"/>
                      <a:pt x="6" y="29"/>
                    </a:cubicBezTo>
                    <a:cubicBezTo>
                      <a:pt x="8" y="29"/>
                      <a:pt x="9" y="30"/>
                      <a:pt x="11" y="30"/>
                    </a:cubicBezTo>
                    <a:cubicBezTo>
                      <a:pt x="16" y="30"/>
                      <a:pt x="18" y="31"/>
                      <a:pt x="22" y="35"/>
                    </a:cubicBezTo>
                    <a:cubicBezTo>
                      <a:pt x="26" y="38"/>
                      <a:pt x="26" y="38"/>
                      <a:pt x="26" y="38"/>
                    </a:cubicBezTo>
                    <a:cubicBezTo>
                      <a:pt x="26" y="38"/>
                      <a:pt x="27" y="38"/>
                      <a:pt x="27" y="38"/>
                    </a:cubicBezTo>
                    <a:cubicBezTo>
                      <a:pt x="29" y="37"/>
                      <a:pt x="30" y="37"/>
                      <a:pt x="31" y="37"/>
                    </a:cubicBezTo>
                    <a:cubicBezTo>
                      <a:pt x="33" y="36"/>
                      <a:pt x="33" y="36"/>
                      <a:pt x="33" y="36"/>
                    </a:cubicBezTo>
                    <a:cubicBezTo>
                      <a:pt x="35" y="38"/>
                      <a:pt x="35" y="38"/>
                      <a:pt x="35" y="38"/>
                    </a:cubicBezTo>
                    <a:cubicBezTo>
                      <a:pt x="35" y="39"/>
                      <a:pt x="36" y="40"/>
                      <a:pt x="37" y="41"/>
                    </a:cubicBezTo>
                    <a:cubicBezTo>
                      <a:pt x="37" y="41"/>
                      <a:pt x="37" y="41"/>
                      <a:pt x="37" y="41"/>
                    </a:cubicBezTo>
                    <a:cubicBezTo>
                      <a:pt x="38" y="42"/>
                      <a:pt x="38" y="42"/>
                      <a:pt x="38" y="42"/>
                    </a:cubicBezTo>
                    <a:cubicBezTo>
                      <a:pt x="39" y="42"/>
                      <a:pt x="39" y="43"/>
                      <a:pt x="40" y="43"/>
                    </a:cubicBezTo>
                    <a:cubicBezTo>
                      <a:pt x="40" y="43"/>
                      <a:pt x="41" y="43"/>
                      <a:pt x="41" y="43"/>
                    </a:cubicBezTo>
                    <a:cubicBezTo>
                      <a:pt x="41" y="44"/>
                      <a:pt x="42" y="44"/>
                      <a:pt x="42" y="44"/>
                    </a:cubicBezTo>
                    <a:cubicBezTo>
                      <a:pt x="42" y="44"/>
                      <a:pt x="42" y="44"/>
                      <a:pt x="42" y="44"/>
                    </a:cubicBezTo>
                    <a:cubicBezTo>
                      <a:pt x="42" y="44"/>
                      <a:pt x="44" y="43"/>
                      <a:pt x="44" y="43"/>
                    </a:cubicBezTo>
                    <a:cubicBezTo>
                      <a:pt x="48" y="41"/>
                      <a:pt x="48" y="41"/>
                      <a:pt x="48" y="41"/>
                    </a:cubicBezTo>
                    <a:cubicBezTo>
                      <a:pt x="49" y="44"/>
                      <a:pt x="49" y="44"/>
                      <a:pt x="49" y="44"/>
                    </a:cubicBezTo>
                    <a:cubicBezTo>
                      <a:pt x="50" y="45"/>
                      <a:pt x="50" y="47"/>
                      <a:pt x="51" y="48"/>
                    </a:cubicBezTo>
                    <a:cubicBezTo>
                      <a:pt x="51" y="48"/>
                      <a:pt x="51" y="48"/>
                      <a:pt x="51" y="48"/>
                    </a:cubicBezTo>
                    <a:cubicBezTo>
                      <a:pt x="51" y="49"/>
                      <a:pt x="52" y="49"/>
                      <a:pt x="52" y="50"/>
                    </a:cubicBezTo>
                    <a:cubicBezTo>
                      <a:pt x="52" y="50"/>
                      <a:pt x="52" y="50"/>
                      <a:pt x="52" y="50"/>
                    </a:cubicBezTo>
                    <a:cubicBezTo>
                      <a:pt x="54" y="50"/>
                      <a:pt x="55" y="50"/>
                      <a:pt x="56" y="51"/>
                    </a:cubicBezTo>
                    <a:cubicBezTo>
                      <a:pt x="58" y="54"/>
                      <a:pt x="59" y="57"/>
                      <a:pt x="59" y="61"/>
                    </a:cubicBezTo>
                    <a:cubicBezTo>
                      <a:pt x="60" y="62"/>
                      <a:pt x="60" y="62"/>
                      <a:pt x="60" y="62"/>
                    </a:cubicBezTo>
                    <a:cubicBezTo>
                      <a:pt x="60" y="62"/>
                      <a:pt x="60" y="62"/>
                      <a:pt x="60" y="62"/>
                    </a:cubicBezTo>
                    <a:cubicBezTo>
                      <a:pt x="61" y="61"/>
                      <a:pt x="61" y="61"/>
                      <a:pt x="62" y="61"/>
                    </a:cubicBezTo>
                    <a:cubicBezTo>
                      <a:pt x="63" y="61"/>
                      <a:pt x="63" y="61"/>
                      <a:pt x="63" y="61"/>
                    </a:cubicBezTo>
                    <a:cubicBezTo>
                      <a:pt x="63" y="61"/>
                      <a:pt x="63" y="61"/>
                      <a:pt x="63" y="61"/>
                    </a:cubicBezTo>
                    <a:cubicBezTo>
                      <a:pt x="63" y="60"/>
                      <a:pt x="63" y="60"/>
                      <a:pt x="63" y="59"/>
                    </a:cubicBezTo>
                    <a:cubicBezTo>
                      <a:pt x="62" y="59"/>
                      <a:pt x="62" y="59"/>
                      <a:pt x="62" y="59"/>
                    </a:cubicBezTo>
                    <a:cubicBezTo>
                      <a:pt x="61" y="58"/>
                      <a:pt x="61" y="58"/>
                      <a:pt x="61" y="58"/>
                    </a:cubicBezTo>
                    <a:cubicBezTo>
                      <a:pt x="61" y="57"/>
                      <a:pt x="61" y="57"/>
                      <a:pt x="61" y="57"/>
                    </a:cubicBezTo>
                    <a:cubicBezTo>
                      <a:pt x="61" y="55"/>
                      <a:pt x="61" y="54"/>
                      <a:pt x="62" y="53"/>
                    </a:cubicBezTo>
                    <a:cubicBezTo>
                      <a:pt x="61" y="53"/>
                      <a:pt x="61" y="52"/>
                      <a:pt x="61" y="50"/>
                    </a:cubicBezTo>
                    <a:cubicBezTo>
                      <a:pt x="61" y="49"/>
                      <a:pt x="61" y="49"/>
                      <a:pt x="61" y="48"/>
                    </a:cubicBezTo>
                    <a:cubicBezTo>
                      <a:pt x="55" y="44"/>
                      <a:pt x="49" y="41"/>
                      <a:pt x="44" y="37"/>
                    </a:cubicBezTo>
                    <a:cubicBezTo>
                      <a:pt x="37" y="32"/>
                      <a:pt x="37" y="32"/>
                      <a:pt x="37" y="32"/>
                    </a:cubicBezTo>
                    <a:cubicBezTo>
                      <a:pt x="43" y="31"/>
                      <a:pt x="43" y="31"/>
                      <a:pt x="43" y="31"/>
                    </a:cubicBezTo>
                    <a:cubicBezTo>
                      <a:pt x="44" y="31"/>
                      <a:pt x="45" y="31"/>
                      <a:pt x="46" y="31"/>
                    </a:cubicBezTo>
                    <a:cubicBezTo>
                      <a:pt x="47" y="30"/>
                      <a:pt x="48" y="30"/>
                      <a:pt x="48" y="30"/>
                    </a:cubicBezTo>
                    <a:cubicBezTo>
                      <a:pt x="48" y="30"/>
                      <a:pt x="48" y="30"/>
                      <a:pt x="48" y="30"/>
                    </a:cubicBezTo>
                    <a:cubicBezTo>
                      <a:pt x="49" y="29"/>
                      <a:pt x="49" y="29"/>
                      <a:pt x="49" y="29"/>
                    </a:cubicBezTo>
                    <a:cubicBezTo>
                      <a:pt x="49" y="29"/>
                      <a:pt x="49" y="28"/>
                      <a:pt x="49" y="27"/>
                    </a:cubicBezTo>
                    <a:cubicBezTo>
                      <a:pt x="48" y="27"/>
                      <a:pt x="47" y="26"/>
                      <a:pt x="46" y="26"/>
                    </a:cubicBezTo>
                    <a:cubicBezTo>
                      <a:pt x="44" y="24"/>
                      <a:pt x="44" y="24"/>
                      <a:pt x="44" y="24"/>
                    </a:cubicBezTo>
                    <a:cubicBezTo>
                      <a:pt x="43" y="23"/>
                      <a:pt x="43" y="23"/>
                      <a:pt x="42" y="22"/>
                    </a:cubicBezTo>
                    <a:cubicBezTo>
                      <a:pt x="40" y="21"/>
                      <a:pt x="35" y="17"/>
                      <a:pt x="37" y="13"/>
                    </a:cubicBezTo>
                    <a:cubicBezTo>
                      <a:pt x="38" y="11"/>
                      <a:pt x="39" y="11"/>
                      <a:pt x="40" y="10"/>
                    </a:cubicBezTo>
                    <a:cubicBezTo>
                      <a:pt x="41" y="10"/>
                      <a:pt x="41" y="10"/>
                      <a:pt x="41" y="10"/>
                    </a:cubicBezTo>
                    <a:cubicBezTo>
                      <a:pt x="41" y="10"/>
                      <a:pt x="41" y="10"/>
                      <a:pt x="41" y="10"/>
                    </a:cubicBezTo>
                    <a:cubicBezTo>
                      <a:pt x="41" y="9"/>
                      <a:pt x="40" y="9"/>
                      <a:pt x="40" y="9"/>
                    </a:cubicBezTo>
                    <a:cubicBezTo>
                      <a:pt x="40" y="9"/>
                      <a:pt x="39" y="9"/>
                      <a:pt x="39" y="8"/>
                    </a:cubicBezTo>
                    <a:cubicBezTo>
                      <a:pt x="37" y="7"/>
                      <a:pt x="35" y="6"/>
                      <a:pt x="34" y="6"/>
                    </a:cubicBezTo>
                    <a:cubicBezTo>
                      <a:pt x="34" y="7"/>
                      <a:pt x="34" y="7"/>
                      <a:pt x="34" y="7"/>
                    </a:cubicBezTo>
                    <a:cubicBezTo>
                      <a:pt x="33" y="7"/>
                      <a:pt x="33" y="7"/>
                      <a:pt x="33" y="7"/>
                    </a:cubicBezTo>
                    <a:cubicBezTo>
                      <a:pt x="25" y="8"/>
                      <a:pt x="25" y="8"/>
                      <a:pt x="25" y="8"/>
                    </a:cubicBezTo>
                    <a:cubicBezTo>
                      <a:pt x="30" y="2"/>
                      <a:pt x="30" y="2"/>
                      <a:pt x="30" y="2"/>
                    </a:cubicBezTo>
                    <a:cubicBezTo>
                      <a:pt x="31" y="1"/>
                      <a:pt x="31" y="1"/>
                      <a:pt x="31" y="1"/>
                    </a:cubicBezTo>
                    <a:cubicBezTo>
                      <a:pt x="30" y="0"/>
                      <a:pt x="30"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3" name="Rectangle 182">
                <a:extLst>
                  <a:ext uri="{FF2B5EF4-FFF2-40B4-BE49-F238E27FC236}">
                    <a16:creationId xmlns:a16="http://schemas.microsoft.com/office/drawing/2014/main" id="{FFA236BA-CEA1-4297-97DF-2A8077A3786C}"/>
                  </a:ext>
                </a:extLst>
              </p:cNvPr>
              <p:cNvSpPr>
                <a:spLocks noChangeArrowheads="1"/>
              </p:cNvSpPr>
              <p:nvPr/>
            </p:nvSpPr>
            <p:spPr bwMode="auto">
              <a:xfrm>
                <a:off x="6241" y="462"/>
                <a:ext cx="1" cy="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4" name="Freeform 183">
                <a:extLst>
                  <a:ext uri="{FF2B5EF4-FFF2-40B4-BE49-F238E27FC236}">
                    <a16:creationId xmlns:a16="http://schemas.microsoft.com/office/drawing/2014/main" id="{59B4D600-1E40-48CE-96C4-99D83EFB407E}"/>
                  </a:ext>
                </a:extLst>
              </p:cNvPr>
              <p:cNvSpPr>
                <a:spLocks/>
              </p:cNvSpPr>
              <p:nvPr/>
            </p:nvSpPr>
            <p:spPr bwMode="auto">
              <a:xfrm>
                <a:off x="6241" y="462"/>
                <a:ext cx="0" cy="3"/>
              </a:xfrm>
              <a:custGeom>
                <a:avLst/>
                <a:gdLst>
                  <a:gd name="T0" fmla="*/ 0 h 3"/>
                  <a:gd name="T1" fmla="*/ 3 h 3"/>
                  <a:gd name="T2" fmla="*/ 3 h 3"/>
                  <a:gd name="T3" fmla="*/ 0 h 3"/>
                </a:gdLst>
                <a:ahLst/>
                <a:cxnLst>
                  <a:cxn ang="0">
                    <a:pos x="0" y="T0"/>
                  </a:cxn>
                  <a:cxn ang="0">
                    <a:pos x="0" y="T1"/>
                  </a:cxn>
                  <a:cxn ang="0">
                    <a:pos x="0" y="T2"/>
                  </a:cxn>
                  <a:cxn ang="0">
                    <a:pos x="0" y="T3"/>
                  </a:cxn>
                </a:cxnLst>
                <a:rect l="0" t="0" r="r" b="b"/>
                <a:pathLst>
                  <a:path h="3">
                    <a:moveTo>
                      <a:pt x="0" y="0"/>
                    </a:moveTo>
                    <a:lnTo>
                      <a:pt x="0" y="3"/>
                    </a:lnTo>
                    <a:lnTo>
                      <a:pt x="0"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5" name="Freeform 184">
                <a:extLst>
                  <a:ext uri="{FF2B5EF4-FFF2-40B4-BE49-F238E27FC236}">
                    <a16:creationId xmlns:a16="http://schemas.microsoft.com/office/drawing/2014/main" id="{A38207BA-52AD-443B-82C4-C13E1DAFC191}"/>
                  </a:ext>
                </a:extLst>
              </p:cNvPr>
              <p:cNvSpPr>
                <a:spLocks/>
              </p:cNvSpPr>
              <p:nvPr/>
            </p:nvSpPr>
            <p:spPr bwMode="auto">
              <a:xfrm>
                <a:off x="6253" y="460"/>
                <a:ext cx="5" cy="2"/>
              </a:xfrm>
              <a:custGeom>
                <a:avLst/>
                <a:gdLst>
                  <a:gd name="T0" fmla="*/ 2 w 2"/>
                  <a:gd name="T1" fmla="*/ 0 h 1"/>
                  <a:gd name="T2" fmla="*/ 1 w 2"/>
                  <a:gd name="T3" fmla="*/ 0 h 1"/>
                  <a:gd name="T4" fmla="*/ 0 w 2"/>
                  <a:gd name="T5" fmla="*/ 0 h 1"/>
                  <a:gd name="T6" fmla="*/ 1 w 2"/>
                  <a:gd name="T7" fmla="*/ 1 h 1"/>
                  <a:gd name="T8" fmla="*/ 1 w 2"/>
                  <a:gd name="T9" fmla="*/ 1 h 1"/>
                  <a:gd name="T10" fmla="*/ 2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2" y="0"/>
                    </a:moveTo>
                    <a:cubicBezTo>
                      <a:pt x="1" y="0"/>
                      <a:pt x="1" y="0"/>
                      <a:pt x="1" y="0"/>
                    </a:cubicBezTo>
                    <a:cubicBezTo>
                      <a:pt x="0" y="0"/>
                      <a:pt x="0" y="0"/>
                      <a:pt x="0" y="0"/>
                    </a:cubicBezTo>
                    <a:cubicBezTo>
                      <a:pt x="1" y="1"/>
                      <a:pt x="1" y="1"/>
                      <a:pt x="1" y="1"/>
                    </a:cubicBezTo>
                    <a:cubicBezTo>
                      <a:pt x="1" y="1"/>
                      <a:pt x="1" y="1"/>
                      <a:pt x="1" y="1"/>
                    </a:cubicBezTo>
                    <a:cubicBezTo>
                      <a:pt x="1"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6" name="Freeform 185">
                <a:extLst>
                  <a:ext uri="{FF2B5EF4-FFF2-40B4-BE49-F238E27FC236}">
                    <a16:creationId xmlns:a16="http://schemas.microsoft.com/office/drawing/2014/main" id="{0CDC49AA-4595-44C0-ADF2-880AFFDECD2C}"/>
                  </a:ext>
                </a:extLst>
              </p:cNvPr>
              <p:cNvSpPr>
                <a:spLocks/>
              </p:cNvSpPr>
              <p:nvPr/>
            </p:nvSpPr>
            <p:spPr bwMode="auto">
              <a:xfrm>
                <a:off x="6175" y="285"/>
                <a:ext cx="289" cy="215"/>
              </a:xfrm>
              <a:custGeom>
                <a:avLst/>
                <a:gdLst>
                  <a:gd name="T0" fmla="*/ 28 w 122"/>
                  <a:gd name="T1" fmla="*/ 4 h 91"/>
                  <a:gd name="T2" fmla="*/ 34 w 122"/>
                  <a:gd name="T3" fmla="*/ 9 h 91"/>
                  <a:gd name="T4" fmla="*/ 36 w 122"/>
                  <a:gd name="T5" fmla="*/ 18 h 91"/>
                  <a:gd name="T6" fmla="*/ 36 w 122"/>
                  <a:gd name="T7" fmla="*/ 23 h 91"/>
                  <a:gd name="T8" fmla="*/ 28 w 122"/>
                  <a:gd name="T9" fmla="*/ 22 h 91"/>
                  <a:gd name="T10" fmla="*/ 12 w 122"/>
                  <a:gd name="T11" fmla="*/ 18 h 91"/>
                  <a:gd name="T12" fmla="*/ 3 w 122"/>
                  <a:gd name="T13" fmla="*/ 13 h 91"/>
                  <a:gd name="T14" fmla="*/ 1 w 122"/>
                  <a:gd name="T15" fmla="*/ 14 h 91"/>
                  <a:gd name="T16" fmla="*/ 1 w 122"/>
                  <a:gd name="T17" fmla="*/ 15 h 91"/>
                  <a:gd name="T18" fmla="*/ 2 w 122"/>
                  <a:gd name="T19" fmla="*/ 16 h 91"/>
                  <a:gd name="T20" fmla="*/ 3 w 122"/>
                  <a:gd name="T21" fmla="*/ 17 h 91"/>
                  <a:gd name="T22" fmla="*/ 6 w 122"/>
                  <a:gd name="T23" fmla="*/ 20 h 91"/>
                  <a:gd name="T24" fmla="*/ 11 w 122"/>
                  <a:gd name="T25" fmla="*/ 30 h 91"/>
                  <a:gd name="T26" fmla="*/ 8 w 122"/>
                  <a:gd name="T27" fmla="*/ 32 h 91"/>
                  <a:gd name="T28" fmla="*/ 8 w 122"/>
                  <a:gd name="T29" fmla="*/ 32 h 91"/>
                  <a:gd name="T30" fmla="*/ 13 w 122"/>
                  <a:gd name="T31" fmla="*/ 36 h 91"/>
                  <a:gd name="T32" fmla="*/ 18 w 122"/>
                  <a:gd name="T33" fmla="*/ 40 h 91"/>
                  <a:gd name="T34" fmla="*/ 19 w 122"/>
                  <a:gd name="T35" fmla="*/ 47 h 91"/>
                  <a:gd name="T36" fmla="*/ 32 w 122"/>
                  <a:gd name="T37" fmla="*/ 62 h 91"/>
                  <a:gd name="T38" fmla="*/ 33 w 122"/>
                  <a:gd name="T39" fmla="*/ 67 h 91"/>
                  <a:gd name="T40" fmla="*/ 35 w 122"/>
                  <a:gd name="T41" fmla="*/ 69 h 91"/>
                  <a:gd name="T42" fmla="*/ 42 w 122"/>
                  <a:gd name="T43" fmla="*/ 68 h 91"/>
                  <a:gd name="T44" fmla="*/ 56 w 122"/>
                  <a:gd name="T45" fmla="*/ 59 h 91"/>
                  <a:gd name="T46" fmla="*/ 65 w 122"/>
                  <a:gd name="T47" fmla="*/ 55 h 91"/>
                  <a:gd name="T48" fmla="*/ 72 w 122"/>
                  <a:gd name="T49" fmla="*/ 61 h 91"/>
                  <a:gd name="T50" fmla="*/ 75 w 122"/>
                  <a:gd name="T51" fmla="*/ 67 h 91"/>
                  <a:gd name="T52" fmla="*/ 73 w 122"/>
                  <a:gd name="T53" fmla="*/ 72 h 91"/>
                  <a:gd name="T54" fmla="*/ 75 w 122"/>
                  <a:gd name="T55" fmla="*/ 74 h 91"/>
                  <a:gd name="T56" fmla="*/ 71 w 122"/>
                  <a:gd name="T57" fmla="*/ 81 h 91"/>
                  <a:gd name="T58" fmla="*/ 74 w 122"/>
                  <a:gd name="T59" fmla="*/ 84 h 91"/>
                  <a:gd name="T60" fmla="*/ 77 w 122"/>
                  <a:gd name="T61" fmla="*/ 86 h 91"/>
                  <a:gd name="T62" fmla="*/ 81 w 122"/>
                  <a:gd name="T63" fmla="*/ 91 h 91"/>
                  <a:gd name="T64" fmla="*/ 81 w 122"/>
                  <a:gd name="T65" fmla="*/ 91 h 91"/>
                  <a:gd name="T66" fmla="*/ 86 w 122"/>
                  <a:gd name="T67" fmla="*/ 90 h 91"/>
                  <a:gd name="T68" fmla="*/ 90 w 122"/>
                  <a:gd name="T69" fmla="*/ 73 h 91"/>
                  <a:gd name="T70" fmla="*/ 93 w 122"/>
                  <a:gd name="T71" fmla="*/ 78 h 91"/>
                  <a:gd name="T72" fmla="*/ 97 w 122"/>
                  <a:gd name="T73" fmla="*/ 68 h 91"/>
                  <a:gd name="T74" fmla="*/ 98 w 122"/>
                  <a:gd name="T75" fmla="*/ 69 h 91"/>
                  <a:gd name="T76" fmla="*/ 98 w 122"/>
                  <a:gd name="T77" fmla="*/ 67 h 91"/>
                  <a:gd name="T78" fmla="*/ 99 w 122"/>
                  <a:gd name="T79" fmla="*/ 54 h 91"/>
                  <a:gd name="T80" fmla="*/ 113 w 122"/>
                  <a:gd name="T81" fmla="*/ 41 h 91"/>
                  <a:gd name="T82" fmla="*/ 122 w 122"/>
                  <a:gd name="T83" fmla="*/ 44 h 91"/>
                  <a:gd name="T84" fmla="*/ 114 w 122"/>
                  <a:gd name="T85" fmla="*/ 35 h 91"/>
                  <a:gd name="T86" fmla="*/ 111 w 122"/>
                  <a:gd name="T87" fmla="*/ 34 h 91"/>
                  <a:gd name="T88" fmla="*/ 109 w 122"/>
                  <a:gd name="T89" fmla="*/ 34 h 91"/>
                  <a:gd name="T90" fmla="*/ 91 w 122"/>
                  <a:gd name="T91" fmla="*/ 14 h 91"/>
                  <a:gd name="T92" fmla="*/ 74 w 122"/>
                  <a:gd name="T93" fmla="*/ 8 h 91"/>
                  <a:gd name="T94" fmla="*/ 73 w 122"/>
                  <a:gd name="T95" fmla="*/ 9 h 91"/>
                  <a:gd name="T96" fmla="*/ 68 w 122"/>
                  <a:gd name="T97" fmla="*/ 14 h 91"/>
                  <a:gd name="T98" fmla="*/ 55 w 122"/>
                  <a:gd name="T99" fmla="*/ 19 h 91"/>
                  <a:gd name="T100" fmla="*/ 44 w 122"/>
                  <a:gd name="T101" fmla="*/ 10 h 91"/>
                  <a:gd name="T102" fmla="*/ 34 w 122"/>
                  <a:gd name="T103" fmla="*/ 0 h 91"/>
                  <a:gd name="T104" fmla="*/ 31 w 122"/>
                  <a:gd name="T105"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2" h="91">
                    <a:moveTo>
                      <a:pt x="31" y="0"/>
                    </a:moveTo>
                    <a:cubicBezTo>
                      <a:pt x="28" y="4"/>
                      <a:pt x="28" y="4"/>
                      <a:pt x="28" y="4"/>
                    </a:cubicBezTo>
                    <a:cubicBezTo>
                      <a:pt x="29" y="5"/>
                      <a:pt x="29" y="5"/>
                      <a:pt x="30" y="6"/>
                    </a:cubicBezTo>
                    <a:cubicBezTo>
                      <a:pt x="31" y="7"/>
                      <a:pt x="32" y="8"/>
                      <a:pt x="34" y="9"/>
                    </a:cubicBezTo>
                    <a:cubicBezTo>
                      <a:pt x="38" y="11"/>
                      <a:pt x="37" y="15"/>
                      <a:pt x="36" y="18"/>
                    </a:cubicBezTo>
                    <a:cubicBezTo>
                      <a:pt x="36" y="18"/>
                      <a:pt x="36" y="18"/>
                      <a:pt x="36" y="18"/>
                    </a:cubicBezTo>
                    <a:cubicBezTo>
                      <a:pt x="36" y="19"/>
                      <a:pt x="36" y="19"/>
                      <a:pt x="36" y="20"/>
                    </a:cubicBezTo>
                    <a:cubicBezTo>
                      <a:pt x="36" y="23"/>
                      <a:pt x="36" y="23"/>
                      <a:pt x="36" y="23"/>
                    </a:cubicBezTo>
                    <a:cubicBezTo>
                      <a:pt x="33" y="22"/>
                      <a:pt x="33" y="22"/>
                      <a:pt x="33" y="22"/>
                    </a:cubicBezTo>
                    <a:cubicBezTo>
                      <a:pt x="31" y="22"/>
                      <a:pt x="29" y="22"/>
                      <a:pt x="28" y="22"/>
                    </a:cubicBezTo>
                    <a:cubicBezTo>
                      <a:pt x="23" y="21"/>
                      <a:pt x="18" y="20"/>
                      <a:pt x="14" y="19"/>
                    </a:cubicBezTo>
                    <a:cubicBezTo>
                      <a:pt x="13" y="19"/>
                      <a:pt x="12" y="18"/>
                      <a:pt x="12" y="18"/>
                    </a:cubicBezTo>
                    <a:cubicBezTo>
                      <a:pt x="10" y="17"/>
                      <a:pt x="9" y="16"/>
                      <a:pt x="8" y="15"/>
                    </a:cubicBezTo>
                    <a:cubicBezTo>
                      <a:pt x="6" y="14"/>
                      <a:pt x="5" y="13"/>
                      <a:pt x="3" y="13"/>
                    </a:cubicBezTo>
                    <a:cubicBezTo>
                      <a:pt x="2" y="13"/>
                      <a:pt x="2" y="13"/>
                      <a:pt x="2" y="13"/>
                    </a:cubicBezTo>
                    <a:cubicBezTo>
                      <a:pt x="1" y="14"/>
                      <a:pt x="1" y="14"/>
                      <a:pt x="1" y="14"/>
                    </a:cubicBezTo>
                    <a:cubicBezTo>
                      <a:pt x="0" y="14"/>
                      <a:pt x="0" y="14"/>
                      <a:pt x="0" y="14"/>
                    </a:cubicBezTo>
                    <a:cubicBezTo>
                      <a:pt x="1" y="15"/>
                      <a:pt x="1" y="15"/>
                      <a:pt x="1" y="15"/>
                    </a:cubicBezTo>
                    <a:cubicBezTo>
                      <a:pt x="1" y="15"/>
                      <a:pt x="1" y="15"/>
                      <a:pt x="1" y="15"/>
                    </a:cubicBezTo>
                    <a:cubicBezTo>
                      <a:pt x="2" y="16"/>
                      <a:pt x="2" y="16"/>
                      <a:pt x="2" y="16"/>
                    </a:cubicBezTo>
                    <a:cubicBezTo>
                      <a:pt x="3" y="17"/>
                      <a:pt x="3" y="17"/>
                      <a:pt x="3" y="17"/>
                    </a:cubicBezTo>
                    <a:cubicBezTo>
                      <a:pt x="3" y="17"/>
                      <a:pt x="3" y="17"/>
                      <a:pt x="3" y="17"/>
                    </a:cubicBezTo>
                    <a:cubicBezTo>
                      <a:pt x="3" y="18"/>
                      <a:pt x="3" y="18"/>
                      <a:pt x="3" y="19"/>
                    </a:cubicBezTo>
                    <a:cubicBezTo>
                      <a:pt x="4" y="19"/>
                      <a:pt x="5" y="19"/>
                      <a:pt x="6" y="20"/>
                    </a:cubicBezTo>
                    <a:cubicBezTo>
                      <a:pt x="9" y="21"/>
                      <a:pt x="11" y="23"/>
                      <a:pt x="12" y="25"/>
                    </a:cubicBezTo>
                    <a:cubicBezTo>
                      <a:pt x="13" y="27"/>
                      <a:pt x="12" y="29"/>
                      <a:pt x="11" y="30"/>
                    </a:cubicBezTo>
                    <a:cubicBezTo>
                      <a:pt x="11" y="31"/>
                      <a:pt x="10" y="31"/>
                      <a:pt x="9" y="31"/>
                    </a:cubicBezTo>
                    <a:cubicBezTo>
                      <a:pt x="9" y="32"/>
                      <a:pt x="8" y="32"/>
                      <a:pt x="8" y="32"/>
                    </a:cubicBezTo>
                    <a:cubicBezTo>
                      <a:pt x="8" y="32"/>
                      <a:pt x="8" y="32"/>
                      <a:pt x="8" y="32"/>
                    </a:cubicBezTo>
                    <a:cubicBezTo>
                      <a:pt x="8" y="32"/>
                      <a:pt x="8" y="32"/>
                      <a:pt x="8" y="32"/>
                    </a:cubicBezTo>
                    <a:cubicBezTo>
                      <a:pt x="8" y="33"/>
                      <a:pt x="9" y="34"/>
                      <a:pt x="11" y="35"/>
                    </a:cubicBezTo>
                    <a:cubicBezTo>
                      <a:pt x="11" y="35"/>
                      <a:pt x="12" y="36"/>
                      <a:pt x="13" y="36"/>
                    </a:cubicBezTo>
                    <a:cubicBezTo>
                      <a:pt x="15" y="38"/>
                      <a:pt x="15" y="38"/>
                      <a:pt x="15" y="38"/>
                    </a:cubicBezTo>
                    <a:cubicBezTo>
                      <a:pt x="16" y="39"/>
                      <a:pt x="17" y="40"/>
                      <a:pt x="18" y="40"/>
                    </a:cubicBezTo>
                    <a:cubicBezTo>
                      <a:pt x="20" y="42"/>
                      <a:pt x="20" y="45"/>
                      <a:pt x="19" y="47"/>
                    </a:cubicBezTo>
                    <a:cubicBezTo>
                      <a:pt x="19" y="47"/>
                      <a:pt x="19" y="47"/>
                      <a:pt x="19" y="47"/>
                    </a:cubicBezTo>
                    <a:cubicBezTo>
                      <a:pt x="19" y="49"/>
                      <a:pt x="19" y="51"/>
                      <a:pt x="17" y="52"/>
                    </a:cubicBezTo>
                    <a:cubicBezTo>
                      <a:pt x="21" y="55"/>
                      <a:pt x="27" y="59"/>
                      <a:pt x="32" y="62"/>
                    </a:cubicBezTo>
                    <a:cubicBezTo>
                      <a:pt x="36" y="64"/>
                      <a:pt x="36" y="64"/>
                      <a:pt x="36" y="64"/>
                    </a:cubicBezTo>
                    <a:cubicBezTo>
                      <a:pt x="33" y="67"/>
                      <a:pt x="33" y="67"/>
                      <a:pt x="33" y="67"/>
                    </a:cubicBezTo>
                    <a:cubicBezTo>
                      <a:pt x="32" y="67"/>
                      <a:pt x="32" y="67"/>
                      <a:pt x="32" y="67"/>
                    </a:cubicBezTo>
                    <a:cubicBezTo>
                      <a:pt x="33" y="68"/>
                      <a:pt x="34" y="68"/>
                      <a:pt x="35" y="69"/>
                    </a:cubicBezTo>
                    <a:cubicBezTo>
                      <a:pt x="38" y="72"/>
                      <a:pt x="38" y="72"/>
                      <a:pt x="38" y="72"/>
                    </a:cubicBezTo>
                    <a:cubicBezTo>
                      <a:pt x="39" y="70"/>
                      <a:pt x="40" y="69"/>
                      <a:pt x="42" y="68"/>
                    </a:cubicBezTo>
                    <a:cubicBezTo>
                      <a:pt x="44" y="67"/>
                      <a:pt x="45" y="66"/>
                      <a:pt x="47" y="65"/>
                    </a:cubicBezTo>
                    <a:cubicBezTo>
                      <a:pt x="50" y="63"/>
                      <a:pt x="53" y="61"/>
                      <a:pt x="56" y="59"/>
                    </a:cubicBezTo>
                    <a:cubicBezTo>
                      <a:pt x="57" y="59"/>
                      <a:pt x="57" y="59"/>
                      <a:pt x="57" y="59"/>
                    </a:cubicBezTo>
                    <a:cubicBezTo>
                      <a:pt x="60" y="56"/>
                      <a:pt x="63" y="55"/>
                      <a:pt x="65" y="55"/>
                    </a:cubicBezTo>
                    <a:cubicBezTo>
                      <a:pt x="65" y="55"/>
                      <a:pt x="66" y="55"/>
                      <a:pt x="66" y="55"/>
                    </a:cubicBezTo>
                    <a:cubicBezTo>
                      <a:pt x="68" y="56"/>
                      <a:pt x="70" y="58"/>
                      <a:pt x="72" y="61"/>
                    </a:cubicBezTo>
                    <a:cubicBezTo>
                      <a:pt x="73" y="63"/>
                      <a:pt x="73" y="63"/>
                      <a:pt x="73" y="63"/>
                    </a:cubicBezTo>
                    <a:cubicBezTo>
                      <a:pt x="74" y="64"/>
                      <a:pt x="75" y="66"/>
                      <a:pt x="75" y="67"/>
                    </a:cubicBezTo>
                    <a:cubicBezTo>
                      <a:pt x="76" y="69"/>
                      <a:pt x="74" y="71"/>
                      <a:pt x="74" y="72"/>
                    </a:cubicBezTo>
                    <a:cubicBezTo>
                      <a:pt x="73" y="72"/>
                      <a:pt x="73" y="72"/>
                      <a:pt x="73" y="72"/>
                    </a:cubicBezTo>
                    <a:cubicBezTo>
                      <a:pt x="74" y="73"/>
                      <a:pt x="74" y="73"/>
                      <a:pt x="74" y="73"/>
                    </a:cubicBezTo>
                    <a:cubicBezTo>
                      <a:pt x="74" y="73"/>
                      <a:pt x="75" y="74"/>
                      <a:pt x="75" y="74"/>
                    </a:cubicBezTo>
                    <a:cubicBezTo>
                      <a:pt x="78" y="77"/>
                      <a:pt x="78" y="77"/>
                      <a:pt x="78" y="77"/>
                    </a:cubicBezTo>
                    <a:cubicBezTo>
                      <a:pt x="71" y="81"/>
                      <a:pt x="71" y="81"/>
                      <a:pt x="71" y="81"/>
                    </a:cubicBezTo>
                    <a:cubicBezTo>
                      <a:pt x="73" y="83"/>
                      <a:pt x="73" y="83"/>
                      <a:pt x="73" y="83"/>
                    </a:cubicBezTo>
                    <a:cubicBezTo>
                      <a:pt x="73" y="83"/>
                      <a:pt x="74" y="84"/>
                      <a:pt x="74" y="84"/>
                    </a:cubicBezTo>
                    <a:cubicBezTo>
                      <a:pt x="74" y="85"/>
                      <a:pt x="74" y="85"/>
                      <a:pt x="74" y="85"/>
                    </a:cubicBezTo>
                    <a:cubicBezTo>
                      <a:pt x="75" y="85"/>
                      <a:pt x="76" y="86"/>
                      <a:pt x="77" y="86"/>
                    </a:cubicBezTo>
                    <a:cubicBezTo>
                      <a:pt x="77" y="87"/>
                      <a:pt x="78" y="87"/>
                      <a:pt x="79" y="88"/>
                    </a:cubicBezTo>
                    <a:cubicBezTo>
                      <a:pt x="80" y="89"/>
                      <a:pt x="80" y="90"/>
                      <a:pt x="81" y="91"/>
                    </a:cubicBezTo>
                    <a:cubicBezTo>
                      <a:pt x="81" y="91"/>
                      <a:pt x="81" y="91"/>
                      <a:pt x="81" y="91"/>
                    </a:cubicBezTo>
                    <a:cubicBezTo>
                      <a:pt x="81" y="91"/>
                      <a:pt x="81" y="91"/>
                      <a:pt x="81" y="91"/>
                    </a:cubicBezTo>
                    <a:cubicBezTo>
                      <a:pt x="82" y="91"/>
                      <a:pt x="84" y="91"/>
                      <a:pt x="85" y="90"/>
                    </a:cubicBezTo>
                    <a:cubicBezTo>
                      <a:pt x="86" y="90"/>
                      <a:pt x="86" y="90"/>
                      <a:pt x="86" y="90"/>
                    </a:cubicBezTo>
                    <a:cubicBezTo>
                      <a:pt x="86" y="87"/>
                      <a:pt x="87" y="84"/>
                      <a:pt x="87" y="81"/>
                    </a:cubicBezTo>
                    <a:cubicBezTo>
                      <a:pt x="88" y="79"/>
                      <a:pt x="87" y="73"/>
                      <a:pt x="90" y="73"/>
                    </a:cubicBezTo>
                    <a:cubicBezTo>
                      <a:pt x="90" y="73"/>
                      <a:pt x="90" y="73"/>
                      <a:pt x="90" y="73"/>
                    </a:cubicBezTo>
                    <a:cubicBezTo>
                      <a:pt x="91" y="73"/>
                      <a:pt x="93" y="78"/>
                      <a:pt x="93" y="78"/>
                    </a:cubicBezTo>
                    <a:cubicBezTo>
                      <a:pt x="93" y="76"/>
                      <a:pt x="94" y="70"/>
                      <a:pt x="96" y="68"/>
                    </a:cubicBezTo>
                    <a:cubicBezTo>
                      <a:pt x="96" y="68"/>
                      <a:pt x="97" y="68"/>
                      <a:pt x="97" y="68"/>
                    </a:cubicBezTo>
                    <a:cubicBezTo>
                      <a:pt x="97" y="68"/>
                      <a:pt x="97" y="69"/>
                      <a:pt x="98" y="69"/>
                    </a:cubicBezTo>
                    <a:cubicBezTo>
                      <a:pt x="98" y="69"/>
                      <a:pt x="98" y="69"/>
                      <a:pt x="98" y="69"/>
                    </a:cubicBezTo>
                    <a:cubicBezTo>
                      <a:pt x="98" y="69"/>
                      <a:pt x="99" y="69"/>
                      <a:pt x="99" y="69"/>
                    </a:cubicBezTo>
                    <a:cubicBezTo>
                      <a:pt x="99" y="67"/>
                      <a:pt x="98" y="67"/>
                      <a:pt x="98" y="67"/>
                    </a:cubicBezTo>
                    <a:cubicBezTo>
                      <a:pt x="98" y="65"/>
                      <a:pt x="96" y="64"/>
                      <a:pt x="97" y="61"/>
                    </a:cubicBezTo>
                    <a:cubicBezTo>
                      <a:pt x="97" y="59"/>
                      <a:pt x="98" y="57"/>
                      <a:pt x="99" y="54"/>
                    </a:cubicBezTo>
                    <a:cubicBezTo>
                      <a:pt x="100" y="51"/>
                      <a:pt x="101" y="46"/>
                      <a:pt x="104" y="44"/>
                    </a:cubicBezTo>
                    <a:cubicBezTo>
                      <a:pt x="107" y="41"/>
                      <a:pt x="110" y="41"/>
                      <a:pt x="113" y="41"/>
                    </a:cubicBezTo>
                    <a:cubicBezTo>
                      <a:pt x="113" y="41"/>
                      <a:pt x="114" y="41"/>
                      <a:pt x="114" y="41"/>
                    </a:cubicBezTo>
                    <a:cubicBezTo>
                      <a:pt x="118" y="41"/>
                      <a:pt x="119" y="41"/>
                      <a:pt x="122" y="44"/>
                    </a:cubicBezTo>
                    <a:cubicBezTo>
                      <a:pt x="121" y="41"/>
                      <a:pt x="121" y="40"/>
                      <a:pt x="119" y="38"/>
                    </a:cubicBezTo>
                    <a:cubicBezTo>
                      <a:pt x="118" y="37"/>
                      <a:pt x="116" y="35"/>
                      <a:pt x="114" y="35"/>
                    </a:cubicBezTo>
                    <a:cubicBezTo>
                      <a:pt x="113" y="34"/>
                      <a:pt x="113" y="34"/>
                      <a:pt x="111" y="34"/>
                    </a:cubicBezTo>
                    <a:cubicBezTo>
                      <a:pt x="111" y="34"/>
                      <a:pt x="111" y="34"/>
                      <a:pt x="111" y="34"/>
                    </a:cubicBezTo>
                    <a:cubicBezTo>
                      <a:pt x="110" y="34"/>
                      <a:pt x="110" y="34"/>
                      <a:pt x="109" y="34"/>
                    </a:cubicBezTo>
                    <a:cubicBezTo>
                      <a:pt x="109" y="34"/>
                      <a:pt x="109" y="34"/>
                      <a:pt x="109" y="34"/>
                    </a:cubicBezTo>
                    <a:cubicBezTo>
                      <a:pt x="106" y="34"/>
                      <a:pt x="104" y="32"/>
                      <a:pt x="102" y="30"/>
                    </a:cubicBezTo>
                    <a:cubicBezTo>
                      <a:pt x="97" y="25"/>
                      <a:pt x="94" y="20"/>
                      <a:pt x="91" y="14"/>
                    </a:cubicBezTo>
                    <a:cubicBezTo>
                      <a:pt x="90" y="9"/>
                      <a:pt x="85" y="5"/>
                      <a:pt x="81" y="0"/>
                    </a:cubicBezTo>
                    <a:cubicBezTo>
                      <a:pt x="80" y="4"/>
                      <a:pt x="77" y="6"/>
                      <a:pt x="74" y="8"/>
                    </a:cubicBezTo>
                    <a:cubicBezTo>
                      <a:pt x="74" y="8"/>
                      <a:pt x="74" y="8"/>
                      <a:pt x="74" y="8"/>
                    </a:cubicBezTo>
                    <a:cubicBezTo>
                      <a:pt x="73" y="9"/>
                      <a:pt x="73" y="9"/>
                      <a:pt x="73" y="9"/>
                    </a:cubicBezTo>
                    <a:cubicBezTo>
                      <a:pt x="72" y="10"/>
                      <a:pt x="71" y="11"/>
                      <a:pt x="70" y="11"/>
                    </a:cubicBezTo>
                    <a:cubicBezTo>
                      <a:pt x="69" y="11"/>
                      <a:pt x="69" y="12"/>
                      <a:pt x="68" y="14"/>
                    </a:cubicBezTo>
                    <a:cubicBezTo>
                      <a:pt x="66" y="18"/>
                      <a:pt x="64" y="19"/>
                      <a:pt x="60" y="19"/>
                    </a:cubicBezTo>
                    <a:cubicBezTo>
                      <a:pt x="59" y="19"/>
                      <a:pt x="57" y="19"/>
                      <a:pt x="55" y="19"/>
                    </a:cubicBezTo>
                    <a:cubicBezTo>
                      <a:pt x="48" y="17"/>
                      <a:pt x="46" y="14"/>
                      <a:pt x="45" y="12"/>
                    </a:cubicBezTo>
                    <a:cubicBezTo>
                      <a:pt x="45" y="11"/>
                      <a:pt x="44" y="10"/>
                      <a:pt x="44" y="10"/>
                    </a:cubicBezTo>
                    <a:cubicBezTo>
                      <a:pt x="42" y="10"/>
                      <a:pt x="39" y="7"/>
                      <a:pt x="38" y="4"/>
                    </a:cubicBezTo>
                    <a:cubicBezTo>
                      <a:pt x="37" y="2"/>
                      <a:pt x="35" y="0"/>
                      <a:pt x="34" y="0"/>
                    </a:cubicBezTo>
                    <a:cubicBezTo>
                      <a:pt x="32" y="0"/>
                      <a:pt x="31" y="0"/>
                      <a:pt x="31" y="0"/>
                    </a:cubicBezTo>
                    <a:cubicBezTo>
                      <a:pt x="31" y="0"/>
                      <a:pt x="31"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7" name="Freeform 186">
                <a:extLst>
                  <a:ext uri="{FF2B5EF4-FFF2-40B4-BE49-F238E27FC236}">
                    <a16:creationId xmlns:a16="http://schemas.microsoft.com/office/drawing/2014/main" id="{6D04F975-1C65-4655-A5FF-4BACF6B49D3D}"/>
                  </a:ext>
                </a:extLst>
              </p:cNvPr>
              <p:cNvSpPr>
                <a:spLocks/>
              </p:cNvSpPr>
              <p:nvPr/>
            </p:nvSpPr>
            <p:spPr bwMode="auto">
              <a:xfrm>
                <a:off x="6161" y="427"/>
                <a:ext cx="59" cy="45"/>
              </a:xfrm>
              <a:custGeom>
                <a:avLst/>
                <a:gdLst>
                  <a:gd name="T0" fmla="*/ 2 w 25"/>
                  <a:gd name="T1" fmla="*/ 0 h 19"/>
                  <a:gd name="T2" fmla="*/ 0 w 25"/>
                  <a:gd name="T3" fmla="*/ 0 h 19"/>
                  <a:gd name="T4" fmla="*/ 0 w 25"/>
                  <a:gd name="T5" fmla="*/ 0 h 19"/>
                  <a:gd name="T6" fmla="*/ 1 w 25"/>
                  <a:gd name="T7" fmla="*/ 2 h 19"/>
                  <a:gd name="T8" fmla="*/ 7 w 25"/>
                  <a:gd name="T9" fmla="*/ 9 h 19"/>
                  <a:gd name="T10" fmla="*/ 8 w 25"/>
                  <a:gd name="T11" fmla="*/ 10 h 19"/>
                  <a:gd name="T12" fmla="*/ 9 w 25"/>
                  <a:gd name="T13" fmla="*/ 11 h 19"/>
                  <a:gd name="T14" fmla="*/ 13 w 25"/>
                  <a:gd name="T15" fmla="*/ 15 h 19"/>
                  <a:gd name="T16" fmla="*/ 21 w 25"/>
                  <a:gd name="T17" fmla="*/ 18 h 19"/>
                  <a:gd name="T18" fmla="*/ 23 w 25"/>
                  <a:gd name="T19" fmla="*/ 18 h 19"/>
                  <a:gd name="T20" fmla="*/ 25 w 25"/>
                  <a:gd name="T21" fmla="*/ 19 h 19"/>
                  <a:gd name="T22" fmla="*/ 25 w 25"/>
                  <a:gd name="T23" fmla="*/ 19 h 19"/>
                  <a:gd name="T24" fmla="*/ 22 w 25"/>
                  <a:gd name="T25" fmla="*/ 12 h 19"/>
                  <a:gd name="T26" fmla="*/ 21 w 25"/>
                  <a:gd name="T27" fmla="*/ 12 h 19"/>
                  <a:gd name="T28" fmla="*/ 21 w 25"/>
                  <a:gd name="T29" fmla="*/ 12 h 19"/>
                  <a:gd name="T30" fmla="*/ 17 w 25"/>
                  <a:gd name="T31" fmla="*/ 8 h 19"/>
                  <a:gd name="T32" fmla="*/ 16 w 25"/>
                  <a:gd name="T33" fmla="*/ 6 h 19"/>
                  <a:gd name="T34" fmla="*/ 13 w 25"/>
                  <a:gd name="T35" fmla="*/ 7 h 19"/>
                  <a:gd name="T36" fmla="*/ 13 w 25"/>
                  <a:gd name="T37" fmla="*/ 7 h 19"/>
                  <a:gd name="T38" fmla="*/ 10 w 25"/>
                  <a:gd name="T39" fmla="*/ 6 h 19"/>
                  <a:gd name="T40" fmla="*/ 10 w 25"/>
                  <a:gd name="T41" fmla="*/ 6 h 19"/>
                  <a:gd name="T42" fmla="*/ 8 w 25"/>
                  <a:gd name="T43" fmla="*/ 5 h 19"/>
                  <a:gd name="T44" fmla="*/ 5 w 25"/>
                  <a:gd name="T45" fmla="*/ 3 h 19"/>
                  <a:gd name="T46" fmla="*/ 4 w 25"/>
                  <a:gd name="T47" fmla="*/ 2 h 19"/>
                  <a:gd name="T48" fmla="*/ 2 w 25"/>
                  <a:gd name="T49" fmla="*/ 0 h 19"/>
                  <a:gd name="T50" fmla="*/ 2 w 25"/>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19">
                    <a:moveTo>
                      <a:pt x="2" y="0"/>
                    </a:moveTo>
                    <a:cubicBezTo>
                      <a:pt x="0" y="0"/>
                      <a:pt x="0" y="0"/>
                      <a:pt x="0" y="0"/>
                    </a:cubicBezTo>
                    <a:cubicBezTo>
                      <a:pt x="0" y="0"/>
                      <a:pt x="0" y="0"/>
                      <a:pt x="0" y="0"/>
                    </a:cubicBezTo>
                    <a:cubicBezTo>
                      <a:pt x="0" y="1"/>
                      <a:pt x="0" y="1"/>
                      <a:pt x="1" y="2"/>
                    </a:cubicBezTo>
                    <a:cubicBezTo>
                      <a:pt x="1" y="2"/>
                      <a:pt x="1" y="3"/>
                      <a:pt x="7" y="9"/>
                    </a:cubicBezTo>
                    <a:cubicBezTo>
                      <a:pt x="7" y="9"/>
                      <a:pt x="8" y="10"/>
                      <a:pt x="8" y="10"/>
                    </a:cubicBezTo>
                    <a:cubicBezTo>
                      <a:pt x="9" y="11"/>
                      <a:pt x="9" y="11"/>
                      <a:pt x="9" y="11"/>
                    </a:cubicBezTo>
                    <a:cubicBezTo>
                      <a:pt x="11" y="13"/>
                      <a:pt x="12" y="14"/>
                      <a:pt x="13" y="15"/>
                    </a:cubicBezTo>
                    <a:cubicBezTo>
                      <a:pt x="13" y="15"/>
                      <a:pt x="17" y="17"/>
                      <a:pt x="21" y="18"/>
                    </a:cubicBezTo>
                    <a:cubicBezTo>
                      <a:pt x="22" y="18"/>
                      <a:pt x="23" y="18"/>
                      <a:pt x="23" y="18"/>
                    </a:cubicBezTo>
                    <a:cubicBezTo>
                      <a:pt x="24" y="18"/>
                      <a:pt x="24" y="18"/>
                      <a:pt x="25" y="19"/>
                    </a:cubicBezTo>
                    <a:cubicBezTo>
                      <a:pt x="25" y="19"/>
                      <a:pt x="25" y="19"/>
                      <a:pt x="25" y="19"/>
                    </a:cubicBezTo>
                    <a:cubicBezTo>
                      <a:pt x="24" y="16"/>
                      <a:pt x="23" y="14"/>
                      <a:pt x="22" y="12"/>
                    </a:cubicBezTo>
                    <a:cubicBezTo>
                      <a:pt x="21" y="12"/>
                      <a:pt x="21" y="12"/>
                      <a:pt x="21" y="12"/>
                    </a:cubicBezTo>
                    <a:cubicBezTo>
                      <a:pt x="21" y="12"/>
                      <a:pt x="21" y="12"/>
                      <a:pt x="21" y="12"/>
                    </a:cubicBezTo>
                    <a:cubicBezTo>
                      <a:pt x="19" y="11"/>
                      <a:pt x="17" y="9"/>
                      <a:pt x="17" y="8"/>
                    </a:cubicBezTo>
                    <a:cubicBezTo>
                      <a:pt x="16" y="7"/>
                      <a:pt x="16" y="6"/>
                      <a:pt x="16" y="6"/>
                    </a:cubicBezTo>
                    <a:cubicBezTo>
                      <a:pt x="15" y="6"/>
                      <a:pt x="14" y="6"/>
                      <a:pt x="13" y="7"/>
                    </a:cubicBezTo>
                    <a:cubicBezTo>
                      <a:pt x="13" y="7"/>
                      <a:pt x="13" y="7"/>
                      <a:pt x="13" y="7"/>
                    </a:cubicBezTo>
                    <a:cubicBezTo>
                      <a:pt x="12" y="7"/>
                      <a:pt x="11" y="6"/>
                      <a:pt x="10" y="6"/>
                    </a:cubicBezTo>
                    <a:cubicBezTo>
                      <a:pt x="10" y="6"/>
                      <a:pt x="10" y="6"/>
                      <a:pt x="10" y="6"/>
                    </a:cubicBezTo>
                    <a:cubicBezTo>
                      <a:pt x="9" y="6"/>
                      <a:pt x="8" y="5"/>
                      <a:pt x="8" y="5"/>
                    </a:cubicBezTo>
                    <a:cubicBezTo>
                      <a:pt x="7" y="4"/>
                      <a:pt x="6" y="4"/>
                      <a:pt x="5" y="3"/>
                    </a:cubicBezTo>
                    <a:cubicBezTo>
                      <a:pt x="5" y="2"/>
                      <a:pt x="4" y="2"/>
                      <a:pt x="4" y="2"/>
                    </a:cubicBezTo>
                    <a:cubicBezTo>
                      <a:pt x="3" y="1"/>
                      <a:pt x="3"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8" name="Freeform 187">
                <a:extLst>
                  <a:ext uri="{FF2B5EF4-FFF2-40B4-BE49-F238E27FC236}">
                    <a16:creationId xmlns:a16="http://schemas.microsoft.com/office/drawing/2014/main" id="{7FC471C7-24C3-41CE-80DD-A3D0ABC9A9E7}"/>
                  </a:ext>
                </a:extLst>
              </p:cNvPr>
              <p:cNvSpPr>
                <a:spLocks/>
              </p:cNvSpPr>
              <p:nvPr/>
            </p:nvSpPr>
            <p:spPr bwMode="auto">
              <a:xfrm>
                <a:off x="4188" y="843"/>
                <a:ext cx="870" cy="801"/>
              </a:xfrm>
              <a:custGeom>
                <a:avLst/>
                <a:gdLst>
                  <a:gd name="T0" fmla="*/ 47 w 368"/>
                  <a:gd name="T1" fmla="*/ 23 h 339"/>
                  <a:gd name="T2" fmla="*/ 36 w 368"/>
                  <a:gd name="T3" fmla="*/ 28 h 339"/>
                  <a:gd name="T4" fmla="*/ 29 w 368"/>
                  <a:gd name="T5" fmla="*/ 33 h 339"/>
                  <a:gd name="T6" fmla="*/ 23 w 368"/>
                  <a:gd name="T7" fmla="*/ 39 h 339"/>
                  <a:gd name="T8" fmla="*/ 21 w 368"/>
                  <a:gd name="T9" fmla="*/ 52 h 339"/>
                  <a:gd name="T10" fmla="*/ 23 w 368"/>
                  <a:gd name="T11" fmla="*/ 69 h 339"/>
                  <a:gd name="T12" fmla="*/ 15 w 368"/>
                  <a:gd name="T13" fmla="*/ 70 h 339"/>
                  <a:gd name="T14" fmla="*/ 3 w 368"/>
                  <a:gd name="T15" fmla="*/ 78 h 339"/>
                  <a:gd name="T16" fmla="*/ 0 w 368"/>
                  <a:gd name="T17" fmla="*/ 79 h 339"/>
                  <a:gd name="T18" fmla="*/ 12 w 368"/>
                  <a:gd name="T19" fmla="*/ 115 h 339"/>
                  <a:gd name="T20" fmla="*/ 13 w 368"/>
                  <a:gd name="T21" fmla="*/ 134 h 339"/>
                  <a:gd name="T22" fmla="*/ 11 w 368"/>
                  <a:gd name="T23" fmla="*/ 146 h 339"/>
                  <a:gd name="T24" fmla="*/ 11 w 368"/>
                  <a:gd name="T25" fmla="*/ 156 h 339"/>
                  <a:gd name="T26" fmla="*/ 9 w 368"/>
                  <a:gd name="T27" fmla="*/ 173 h 339"/>
                  <a:gd name="T28" fmla="*/ 5 w 368"/>
                  <a:gd name="T29" fmla="*/ 175 h 339"/>
                  <a:gd name="T30" fmla="*/ 2 w 368"/>
                  <a:gd name="T31" fmla="*/ 179 h 339"/>
                  <a:gd name="T32" fmla="*/ 9 w 368"/>
                  <a:gd name="T33" fmla="*/ 188 h 339"/>
                  <a:gd name="T34" fmla="*/ 16 w 368"/>
                  <a:gd name="T35" fmla="*/ 204 h 339"/>
                  <a:gd name="T36" fmla="*/ 18 w 368"/>
                  <a:gd name="T37" fmla="*/ 211 h 339"/>
                  <a:gd name="T38" fmla="*/ 23 w 368"/>
                  <a:gd name="T39" fmla="*/ 218 h 339"/>
                  <a:gd name="T40" fmla="*/ 29 w 368"/>
                  <a:gd name="T41" fmla="*/ 213 h 339"/>
                  <a:gd name="T42" fmla="*/ 41 w 368"/>
                  <a:gd name="T43" fmla="*/ 220 h 339"/>
                  <a:gd name="T44" fmla="*/ 54 w 368"/>
                  <a:gd name="T45" fmla="*/ 229 h 339"/>
                  <a:gd name="T46" fmla="*/ 61 w 368"/>
                  <a:gd name="T47" fmla="*/ 242 h 339"/>
                  <a:gd name="T48" fmla="*/ 103 w 368"/>
                  <a:gd name="T49" fmla="*/ 255 h 339"/>
                  <a:gd name="T50" fmla="*/ 112 w 368"/>
                  <a:gd name="T51" fmla="*/ 263 h 339"/>
                  <a:gd name="T52" fmla="*/ 116 w 368"/>
                  <a:gd name="T53" fmla="*/ 262 h 339"/>
                  <a:gd name="T54" fmla="*/ 155 w 368"/>
                  <a:gd name="T55" fmla="*/ 244 h 339"/>
                  <a:gd name="T56" fmla="*/ 200 w 368"/>
                  <a:gd name="T57" fmla="*/ 266 h 339"/>
                  <a:gd name="T58" fmla="*/ 339 w 368"/>
                  <a:gd name="T59" fmla="*/ 334 h 339"/>
                  <a:gd name="T60" fmla="*/ 340 w 368"/>
                  <a:gd name="T61" fmla="*/ 332 h 339"/>
                  <a:gd name="T62" fmla="*/ 342 w 368"/>
                  <a:gd name="T63" fmla="*/ 330 h 339"/>
                  <a:gd name="T64" fmla="*/ 356 w 368"/>
                  <a:gd name="T65" fmla="*/ 329 h 339"/>
                  <a:gd name="T66" fmla="*/ 363 w 368"/>
                  <a:gd name="T67" fmla="*/ 295 h 339"/>
                  <a:gd name="T68" fmla="*/ 363 w 368"/>
                  <a:gd name="T69" fmla="*/ 280 h 339"/>
                  <a:gd name="T70" fmla="*/ 359 w 368"/>
                  <a:gd name="T71" fmla="*/ 88 h 339"/>
                  <a:gd name="T72" fmla="*/ 356 w 368"/>
                  <a:gd name="T73" fmla="*/ 78 h 339"/>
                  <a:gd name="T74" fmla="*/ 362 w 368"/>
                  <a:gd name="T75" fmla="*/ 61 h 339"/>
                  <a:gd name="T76" fmla="*/ 361 w 368"/>
                  <a:gd name="T77" fmla="*/ 44 h 339"/>
                  <a:gd name="T78" fmla="*/ 368 w 368"/>
                  <a:gd name="T79" fmla="*/ 36 h 339"/>
                  <a:gd name="T80" fmla="*/ 356 w 368"/>
                  <a:gd name="T81" fmla="*/ 29 h 339"/>
                  <a:gd name="T82" fmla="*/ 320 w 368"/>
                  <a:gd name="T83" fmla="*/ 20 h 339"/>
                  <a:gd name="T84" fmla="*/ 295 w 368"/>
                  <a:gd name="T85" fmla="*/ 5 h 339"/>
                  <a:gd name="T86" fmla="*/ 256 w 368"/>
                  <a:gd name="T87" fmla="*/ 20 h 339"/>
                  <a:gd name="T88" fmla="*/ 248 w 368"/>
                  <a:gd name="T89" fmla="*/ 61 h 339"/>
                  <a:gd name="T90" fmla="*/ 219 w 368"/>
                  <a:gd name="T91" fmla="*/ 72 h 339"/>
                  <a:gd name="T92" fmla="*/ 141 w 368"/>
                  <a:gd name="T93" fmla="*/ 37 h 339"/>
                  <a:gd name="T94" fmla="*/ 108 w 368"/>
                  <a:gd name="T95" fmla="*/ 11 h 339"/>
                  <a:gd name="T96" fmla="*/ 75 w 368"/>
                  <a:gd name="T97" fmla="*/ 8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8" h="339">
                    <a:moveTo>
                      <a:pt x="51" y="0"/>
                    </a:moveTo>
                    <a:cubicBezTo>
                      <a:pt x="51" y="0"/>
                      <a:pt x="51" y="0"/>
                      <a:pt x="51" y="0"/>
                    </a:cubicBezTo>
                    <a:cubicBezTo>
                      <a:pt x="51" y="17"/>
                      <a:pt x="51" y="17"/>
                      <a:pt x="51" y="17"/>
                    </a:cubicBezTo>
                    <a:cubicBezTo>
                      <a:pt x="51" y="20"/>
                      <a:pt x="48" y="22"/>
                      <a:pt x="47" y="23"/>
                    </a:cubicBezTo>
                    <a:cubicBezTo>
                      <a:pt x="46" y="23"/>
                      <a:pt x="44" y="24"/>
                      <a:pt x="42" y="25"/>
                    </a:cubicBezTo>
                    <a:cubicBezTo>
                      <a:pt x="41" y="26"/>
                      <a:pt x="41" y="26"/>
                      <a:pt x="41" y="26"/>
                    </a:cubicBezTo>
                    <a:cubicBezTo>
                      <a:pt x="39" y="26"/>
                      <a:pt x="37" y="27"/>
                      <a:pt x="36" y="27"/>
                    </a:cubicBezTo>
                    <a:cubicBezTo>
                      <a:pt x="36" y="28"/>
                      <a:pt x="36" y="28"/>
                      <a:pt x="36" y="28"/>
                    </a:cubicBezTo>
                    <a:cubicBezTo>
                      <a:pt x="36" y="28"/>
                      <a:pt x="36" y="28"/>
                      <a:pt x="35" y="28"/>
                    </a:cubicBezTo>
                    <a:cubicBezTo>
                      <a:pt x="35" y="28"/>
                      <a:pt x="35" y="29"/>
                      <a:pt x="34" y="29"/>
                    </a:cubicBezTo>
                    <a:cubicBezTo>
                      <a:pt x="34" y="30"/>
                      <a:pt x="33" y="31"/>
                      <a:pt x="31" y="32"/>
                    </a:cubicBezTo>
                    <a:cubicBezTo>
                      <a:pt x="30" y="33"/>
                      <a:pt x="30" y="33"/>
                      <a:pt x="29" y="33"/>
                    </a:cubicBezTo>
                    <a:cubicBezTo>
                      <a:pt x="29" y="33"/>
                      <a:pt x="29" y="33"/>
                      <a:pt x="29" y="33"/>
                    </a:cubicBezTo>
                    <a:cubicBezTo>
                      <a:pt x="28" y="34"/>
                      <a:pt x="28" y="34"/>
                      <a:pt x="28" y="34"/>
                    </a:cubicBezTo>
                    <a:cubicBezTo>
                      <a:pt x="27" y="35"/>
                      <a:pt x="26" y="37"/>
                      <a:pt x="24" y="38"/>
                    </a:cubicBezTo>
                    <a:cubicBezTo>
                      <a:pt x="23" y="39"/>
                      <a:pt x="23" y="39"/>
                      <a:pt x="23" y="39"/>
                    </a:cubicBezTo>
                    <a:cubicBezTo>
                      <a:pt x="22" y="39"/>
                      <a:pt x="22" y="39"/>
                      <a:pt x="22" y="39"/>
                    </a:cubicBezTo>
                    <a:cubicBezTo>
                      <a:pt x="22" y="39"/>
                      <a:pt x="22" y="39"/>
                      <a:pt x="22" y="39"/>
                    </a:cubicBezTo>
                    <a:cubicBezTo>
                      <a:pt x="21" y="41"/>
                      <a:pt x="20" y="45"/>
                      <a:pt x="20" y="47"/>
                    </a:cubicBezTo>
                    <a:cubicBezTo>
                      <a:pt x="20" y="49"/>
                      <a:pt x="21" y="50"/>
                      <a:pt x="21" y="52"/>
                    </a:cubicBezTo>
                    <a:cubicBezTo>
                      <a:pt x="21" y="52"/>
                      <a:pt x="21" y="52"/>
                      <a:pt x="21" y="52"/>
                    </a:cubicBezTo>
                    <a:cubicBezTo>
                      <a:pt x="21" y="53"/>
                      <a:pt x="21" y="54"/>
                      <a:pt x="22" y="55"/>
                    </a:cubicBezTo>
                    <a:cubicBezTo>
                      <a:pt x="22" y="59"/>
                      <a:pt x="21" y="63"/>
                      <a:pt x="19" y="65"/>
                    </a:cubicBezTo>
                    <a:cubicBezTo>
                      <a:pt x="23" y="69"/>
                      <a:pt x="23" y="69"/>
                      <a:pt x="23" y="69"/>
                    </a:cubicBezTo>
                    <a:cubicBezTo>
                      <a:pt x="18" y="67"/>
                      <a:pt x="18" y="67"/>
                      <a:pt x="18" y="67"/>
                    </a:cubicBezTo>
                    <a:cubicBezTo>
                      <a:pt x="18" y="67"/>
                      <a:pt x="18" y="67"/>
                      <a:pt x="18" y="67"/>
                    </a:cubicBezTo>
                    <a:cubicBezTo>
                      <a:pt x="17" y="68"/>
                      <a:pt x="16" y="68"/>
                      <a:pt x="16" y="69"/>
                    </a:cubicBezTo>
                    <a:cubicBezTo>
                      <a:pt x="15" y="70"/>
                      <a:pt x="15" y="70"/>
                      <a:pt x="15" y="70"/>
                    </a:cubicBezTo>
                    <a:cubicBezTo>
                      <a:pt x="15" y="71"/>
                      <a:pt x="14" y="71"/>
                      <a:pt x="14" y="72"/>
                    </a:cubicBezTo>
                    <a:cubicBezTo>
                      <a:pt x="12" y="74"/>
                      <a:pt x="9" y="75"/>
                      <a:pt x="7" y="76"/>
                    </a:cubicBezTo>
                    <a:cubicBezTo>
                      <a:pt x="5" y="77"/>
                      <a:pt x="5" y="77"/>
                      <a:pt x="5" y="77"/>
                    </a:cubicBezTo>
                    <a:cubicBezTo>
                      <a:pt x="4" y="77"/>
                      <a:pt x="3" y="77"/>
                      <a:pt x="3" y="78"/>
                    </a:cubicBezTo>
                    <a:cubicBezTo>
                      <a:pt x="2" y="78"/>
                      <a:pt x="2" y="78"/>
                      <a:pt x="2" y="78"/>
                    </a:cubicBezTo>
                    <a:cubicBezTo>
                      <a:pt x="2" y="78"/>
                      <a:pt x="2" y="78"/>
                      <a:pt x="2" y="78"/>
                    </a:cubicBezTo>
                    <a:cubicBezTo>
                      <a:pt x="1" y="79"/>
                      <a:pt x="1" y="79"/>
                      <a:pt x="1" y="79"/>
                    </a:cubicBezTo>
                    <a:cubicBezTo>
                      <a:pt x="0" y="79"/>
                      <a:pt x="0" y="79"/>
                      <a:pt x="0" y="79"/>
                    </a:cubicBezTo>
                    <a:cubicBezTo>
                      <a:pt x="2" y="82"/>
                      <a:pt x="4" y="86"/>
                      <a:pt x="6" y="88"/>
                    </a:cubicBezTo>
                    <a:cubicBezTo>
                      <a:pt x="7" y="89"/>
                      <a:pt x="7" y="90"/>
                      <a:pt x="8" y="91"/>
                    </a:cubicBezTo>
                    <a:cubicBezTo>
                      <a:pt x="11" y="97"/>
                      <a:pt x="12" y="103"/>
                      <a:pt x="12" y="111"/>
                    </a:cubicBezTo>
                    <a:cubicBezTo>
                      <a:pt x="12" y="113"/>
                      <a:pt x="12" y="114"/>
                      <a:pt x="12" y="115"/>
                    </a:cubicBezTo>
                    <a:cubicBezTo>
                      <a:pt x="12" y="116"/>
                      <a:pt x="12" y="116"/>
                      <a:pt x="12" y="116"/>
                    </a:cubicBezTo>
                    <a:cubicBezTo>
                      <a:pt x="11" y="119"/>
                      <a:pt x="11" y="123"/>
                      <a:pt x="11" y="126"/>
                    </a:cubicBezTo>
                    <a:cubicBezTo>
                      <a:pt x="11" y="127"/>
                      <a:pt x="12" y="128"/>
                      <a:pt x="12" y="130"/>
                    </a:cubicBezTo>
                    <a:cubicBezTo>
                      <a:pt x="13" y="134"/>
                      <a:pt x="13" y="134"/>
                      <a:pt x="13" y="134"/>
                    </a:cubicBezTo>
                    <a:cubicBezTo>
                      <a:pt x="14" y="137"/>
                      <a:pt x="13" y="140"/>
                      <a:pt x="12" y="143"/>
                    </a:cubicBezTo>
                    <a:cubicBezTo>
                      <a:pt x="12" y="143"/>
                      <a:pt x="12" y="144"/>
                      <a:pt x="12" y="144"/>
                    </a:cubicBezTo>
                    <a:cubicBezTo>
                      <a:pt x="11" y="145"/>
                      <a:pt x="11" y="145"/>
                      <a:pt x="11" y="145"/>
                    </a:cubicBezTo>
                    <a:cubicBezTo>
                      <a:pt x="11" y="146"/>
                      <a:pt x="11" y="146"/>
                      <a:pt x="11" y="146"/>
                    </a:cubicBezTo>
                    <a:cubicBezTo>
                      <a:pt x="10" y="148"/>
                      <a:pt x="9" y="149"/>
                      <a:pt x="9" y="150"/>
                    </a:cubicBezTo>
                    <a:cubicBezTo>
                      <a:pt x="9" y="151"/>
                      <a:pt x="10" y="151"/>
                      <a:pt x="10" y="152"/>
                    </a:cubicBezTo>
                    <a:cubicBezTo>
                      <a:pt x="10" y="153"/>
                      <a:pt x="10" y="153"/>
                      <a:pt x="10" y="154"/>
                    </a:cubicBezTo>
                    <a:cubicBezTo>
                      <a:pt x="11" y="155"/>
                      <a:pt x="11" y="155"/>
                      <a:pt x="11" y="156"/>
                    </a:cubicBezTo>
                    <a:cubicBezTo>
                      <a:pt x="11" y="159"/>
                      <a:pt x="11" y="159"/>
                      <a:pt x="11" y="159"/>
                    </a:cubicBezTo>
                    <a:cubicBezTo>
                      <a:pt x="11" y="161"/>
                      <a:pt x="12" y="164"/>
                      <a:pt x="12" y="166"/>
                    </a:cubicBezTo>
                    <a:cubicBezTo>
                      <a:pt x="12" y="167"/>
                      <a:pt x="12" y="167"/>
                      <a:pt x="12" y="167"/>
                    </a:cubicBezTo>
                    <a:cubicBezTo>
                      <a:pt x="12" y="169"/>
                      <a:pt x="12" y="171"/>
                      <a:pt x="9" y="173"/>
                    </a:cubicBezTo>
                    <a:cubicBezTo>
                      <a:pt x="8" y="174"/>
                      <a:pt x="8" y="174"/>
                      <a:pt x="8" y="174"/>
                    </a:cubicBezTo>
                    <a:cubicBezTo>
                      <a:pt x="8" y="174"/>
                      <a:pt x="8" y="174"/>
                      <a:pt x="8" y="174"/>
                    </a:cubicBezTo>
                    <a:cubicBezTo>
                      <a:pt x="7" y="174"/>
                      <a:pt x="7" y="174"/>
                      <a:pt x="7" y="174"/>
                    </a:cubicBezTo>
                    <a:cubicBezTo>
                      <a:pt x="6" y="175"/>
                      <a:pt x="5" y="175"/>
                      <a:pt x="5" y="175"/>
                    </a:cubicBezTo>
                    <a:cubicBezTo>
                      <a:pt x="5" y="175"/>
                      <a:pt x="5" y="176"/>
                      <a:pt x="4" y="177"/>
                    </a:cubicBezTo>
                    <a:cubicBezTo>
                      <a:pt x="2" y="178"/>
                      <a:pt x="2" y="178"/>
                      <a:pt x="2" y="179"/>
                    </a:cubicBezTo>
                    <a:cubicBezTo>
                      <a:pt x="2" y="179"/>
                      <a:pt x="2" y="179"/>
                      <a:pt x="2" y="179"/>
                    </a:cubicBezTo>
                    <a:cubicBezTo>
                      <a:pt x="2" y="179"/>
                      <a:pt x="2" y="179"/>
                      <a:pt x="2" y="179"/>
                    </a:cubicBezTo>
                    <a:cubicBezTo>
                      <a:pt x="2" y="179"/>
                      <a:pt x="2" y="181"/>
                      <a:pt x="7" y="186"/>
                    </a:cubicBezTo>
                    <a:cubicBezTo>
                      <a:pt x="7" y="186"/>
                      <a:pt x="7" y="186"/>
                      <a:pt x="7" y="186"/>
                    </a:cubicBezTo>
                    <a:cubicBezTo>
                      <a:pt x="7" y="187"/>
                      <a:pt x="8" y="187"/>
                      <a:pt x="8" y="188"/>
                    </a:cubicBezTo>
                    <a:cubicBezTo>
                      <a:pt x="9" y="188"/>
                      <a:pt x="9" y="188"/>
                      <a:pt x="9" y="188"/>
                    </a:cubicBezTo>
                    <a:cubicBezTo>
                      <a:pt x="9" y="189"/>
                      <a:pt x="9" y="189"/>
                      <a:pt x="10" y="189"/>
                    </a:cubicBezTo>
                    <a:cubicBezTo>
                      <a:pt x="10" y="190"/>
                      <a:pt x="10" y="190"/>
                      <a:pt x="10" y="190"/>
                    </a:cubicBezTo>
                    <a:cubicBezTo>
                      <a:pt x="11" y="191"/>
                      <a:pt x="12" y="192"/>
                      <a:pt x="13" y="194"/>
                    </a:cubicBezTo>
                    <a:cubicBezTo>
                      <a:pt x="14" y="197"/>
                      <a:pt x="15" y="201"/>
                      <a:pt x="16" y="204"/>
                    </a:cubicBezTo>
                    <a:cubicBezTo>
                      <a:pt x="16" y="205"/>
                      <a:pt x="16" y="205"/>
                      <a:pt x="16" y="205"/>
                    </a:cubicBezTo>
                    <a:cubicBezTo>
                      <a:pt x="16" y="206"/>
                      <a:pt x="16" y="208"/>
                      <a:pt x="17" y="210"/>
                    </a:cubicBezTo>
                    <a:cubicBezTo>
                      <a:pt x="17" y="211"/>
                      <a:pt x="17" y="211"/>
                      <a:pt x="17" y="211"/>
                    </a:cubicBezTo>
                    <a:cubicBezTo>
                      <a:pt x="17" y="211"/>
                      <a:pt x="17" y="211"/>
                      <a:pt x="18" y="211"/>
                    </a:cubicBezTo>
                    <a:cubicBezTo>
                      <a:pt x="19" y="213"/>
                      <a:pt x="20" y="215"/>
                      <a:pt x="21" y="216"/>
                    </a:cubicBezTo>
                    <a:cubicBezTo>
                      <a:pt x="21" y="216"/>
                      <a:pt x="21" y="216"/>
                      <a:pt x="21" y="216"/>
                    </a:cubicBezTo>
                    <a:cubicBezTo>
                      <a:pt x="22" y="217"/>
                      <a:pt x="22" y="217"/>
                      <a:pt x="22" y="217"/>
                    </a:cubicBezTo>
                    <a:cubicBezTo>
                      <a:pt x="22" y="217"/>
                      <a:pt x="23" y="218"/>
                      <a:pt x="23" y="218"/>
                    </a:cubicBezTo>
                    <a:cubicBezTo>
                      <a:pt x="23" y="218"/>
                      <a:pt x="23" y="218"/>
                      <a:pt x="23" y="218"/>
                    </a:cubicBezTo>
                    <a:cubicBezTo>
                      <a:pt x="24" y="218"/>
                      <a:pt x="24" y="218"/>
                      <a:pt x="24" y="218"/>
                    </a:cubicBezTo>
                    <a:cubicBezTo>
                      <a:pt x="26" y="217"/>
                      <a:pt x="27" y="217"/>
                      <a:pt x="29" y="217"/>
                    </a:cubicBezTo>
                    <a:cubicBezTo>
                      <a:pt x="29" y="213"/>
                      <a:pt x="29" y="213"/>
                      <a:pt x="29" y="213"/>
                    </a:cubicBezTo>
                    <a:cubicBezTo>
                      <a:pt x="30" y="217"/>
                      <a:pt x="30" y="217"/>
                      <a:pt x="30" y="217"/>
                    </a:cubicBezTo>
                    <a:cubicBezTo>
                      <a:pt x="30" y="217"/>
                      <a:pt x="30" y="217"/>
                      <a:pt x="30" y="217"/>
                    </a:cubicBezTo>
                    <a:cubicBezTo>
                      <a:pt x="31" y="217"/>
                      <a:pt x="33" y="217"/>
                      <a:pt x="35" y="218"/>
                    </a:cubicBezTo>
                    <a:cubicBezTo>
                      <a:pt x="37" y="219"/>
                      <a:pt x="39" y="219"/>
                      <a:pt x="41" y="220"/>
                    </a:cubicBezTo>
                    <a:cubicBezTo>
                      <a:pt x="46" y="221"/>
                      <a:pt x="46" y="221"/>
                      <a:pt x="46" y="221"/>
                    </a:cubicBezTo>
                    <a:cubicBezTo>
                      <a:pt x="49" y="222"/>
                      <a:pt x="51" y="225"/>
                      <a:pt x="53" y="228"/>
                    </a:cubicBezTo>
                    <a:cubicBezTo>
                      <a:pt x="53" y="228"/>
                      <a:pt x="53" y="228"/>
                      <a:pt x="53" y="228"/>
                    </a:cubicBezTo>
                    <a:cubicBezTo>
                      <a:pt x="53" y="228"/>
                      <a:pt x="54" y="229"/>
                      <a:pt x="54" y="229"/>
                    </a:cubicBezTo>
                    <a:cubicBezTo>
                      <a:pt x="55" y="231"/>
                      <a:pt x="56" y="233"/>
                      <a:pt x="57" y="235"/>
                    </a:cubicBezTo>
                    <a:cubicBezTo>
                      <a:pt x="57" y="235"/>
                      <a:pt x="57" y="235"/>
                      <a:pt x="57" y="235"/>
                    </a:cubicBezTo>
                    <a:cubicBezTo>
                      <a:pt x="58" y="238"/>
                      <a:pt x="59" y="241"/>
                      <a:pt x="61" y="242"/>
                    </a:cubicBezTo>
                    <a:cubicBezTo>
                      <a:pt x="61" y="242"/>
                      <a:pt x="61" y="242"/>
                      <a:pt x="61" y="242"/>
                    </a:cubicBezTo>
                    <a:cubicBezTo>
                      <a:pt x="70" y="242"/>
                      <a:pt x="70" y="242"/>
                      <a:pt x="70" y="242"/>
                    </a:cubicBezTo>
                    <a:cubicBezTo>
                      <a:pt x="67" y="244"/>
                      <a:pt x="67" y="244"/>
                      <a:pt x="67" y="244"/>
                    </a:cubicBezTo>
                    <a:cubicBezTo>
                      <a:pt x="94" y="250"/>
                      <a:pt x="94" y="250"/>
                      <a:pt x="94" y="250"/>
                    </a:cubicBezTo>
                    <a:cubicBezTo>
                      <a:pt x="98" y="251"/>
                      <a:pt x="100" y="253"/>
                      <a:pt x="103" y="255"/>
                    </a:cubicBezTo>
                    <a:cubicBezTo>
                      <a:pt x="107" y="259"/>
                      <a:pt x="107" y="259"/>
                      <a:pt x="107" y="259"/>
                    </a:cubicBezTo>
                    <a:cubicBezTo>
                      <a:pt x="108" y="259"/>
                      <a:pt x="108" y="260"/>
                      <a:pt x="108" y="260"/>
                    </a:cubicBezTo>
                    <a:cubicBezTo>
                      <a:pt x="109" y="261"/>
                      <a:pt x="109" y="261"/>
                      <a:pt x="109" y="261"/>
                    </a:cubicBezTo>
                    <a:cubicBezTo>
                      <a:pt x="110" y="261"/>
                      <a:pt x="111" y="262"/>
                      <a:pt x="112" y="263"/>
                    </a:cubicBezTo>
                    <a:cubicBezTo>
                      <a:pt x="112" y="263"/>
                      <a:pt x="112" y="263"/>
                      <a:pt x="112" y="263"/>
                    </a:cubicBezTo>
                    <a:cubicBezTo>
                      <a:pt x="112" y="263"/>
                      <a:pt x="112" y="264"/>
                      <a:pt x="113" y="264"/>
                    </a:cubicBezTo>
                    <a:cubicBezTo>
                      <a:pt x="113" y="264"/>
                      <a:pt x="114" y="263"/>
                      <a:pt x="114" y="263"/>
                    </a:cubicBezTo>
                    <a:cubicBezTo>
                      <a:pt x="115" y="263"/>
                      <a:pt x="115" y="263"/>
                      <a:pt x="116" y="262"/>
                    </a:cubicBezTo>
                    <a:cubicBezTo>
                      <a:pt x="149" y="245"/>
                      <a:pt x="149" y="245"/>
                      <a:pt x="149" y="245"/>
                    </a:cubicBezTo>
                    <a:cubicBezTo>
                      <a:pt x="150" y="245"/>
                      <a:pt x="150" y="245"/>
                      <a:pt x="150" y="245"/>
                    </a:cubicBezTo>
                    <a:cubicBezTo>
                      <a:pt x="152" y="245"/>
                      <a:pt x="153" y="244"/>
                      <a:pt x="154" y="244"/>
                    </a:cubicBezTo>
                    <a:cubicBezTo>
                      <a:pt x="154" y="244"/>
                      <a:pt x="155" y="244"/>
                      <a:pt x="155" y="244"/>
                    </a:cubicBezTo>
                    <a:cubicBezTo>
                      <a:pt x="157" y="245"/>
                      <a:pt x="158" y="245"/>
                      <a:pt x="159" y="246"/>
                    </a:cubicBezTo>
                    <a:cubicBezTo>
                      <a:pt x="167" y="250"/>
                      <a:pt x="167" y="250"/>
                      <a:pt x="167" y="250"/>
                    </a:cubicBezTo>
                    <a:cubicBezTo>
                      <a:pt x="174" y="253"/>
                      <a:pt x="182" y="257"/>
                      <a:pt x="190" y="261"/>
                    </a:cubicBezTo>
                    <a:cubicBezTo>
                      <a:pt x="200" y="266"/>
                      <a:pt x="200" y="266"/>
                      <a:pt x="200" y="266"/>
                    </a:cubicBezTo>
                    <a:cubicBezTo>
                      <a:pt x="222" y="277"/>
                      <a:pt x="244" y="289"/>
                      <a:pt x="263" y="299"/>
                    </a:cubicBezTo>
                    <a:cubicBezTo>
                      <a:pt x="339" y="339"/>
                      <a:pt x="339" y="339"/>
                      <a:pt x="339" y="339"/>
                    </a:cubicBezTo>
                    <a:cubicBezTo>
                      <a:pt x="339" y="337"/>
                      <a:pt x="339" y="337"/>
                      <a:pt x="339" y="337"/>
                    </a:cubicBezTo>
                    <a:cubicBezTo>
                      <a:pt x="339" y="334"/>
                      <a:pt x="339" y="334"/>
                      <a:pt x="339" y="334"/>
                    </a:cubicBezTo>
                    <a:cubicBezTo>
                      <a:pt x="339" y="334"/>
                      <a:pt x="339" y="334"/>
                      <a:pt x="339" y="333"/>
                    </a:cubicBezTo>
                    <a:cubicBezTo>
                      <a:pt x="339" y="333"/>
                      <a:pt x="339" y="333"/>
                      <a:pt x="339" y="333"/>
                    </a:cubicBezTo>
                    <a:cubicBezTo>
                      <a:pt x="340" y="332"/>
                      <a:pt x="340" y="332"/>
                      <a:pt x="340" y="332"/>
                    </a:cubicBezTo>
                    <a:cubicBezTo>
                      <a:pt x="340" y="332"/>
                      <a:pt x="340" y="332"/>
                      <a:pt x="340" y="332"/>
                    </a:cubicBezTo>
                    <a:cubicBezTo>
                      <a:pt x="340" y="331"/>
                      <a:pt x="340" y="331"/>
                      <a:pt x="340" y="331"/>
                    </a:cubicBezTo>
                    <a:cubicBezTo>
                      <a:pt x="340" y="331"/>
                      <a:pt x="340" y="331"/>
                      <a:pt x="340" y="331"/>
                    </a:cubicBezTo>
                    <a:cubicBezTo>
                      <a:pt x="341" y="331"/>
                      <a:pt x="341" y="330"/>
                      <a:pt x="341" y="330"/>
                    </a:cubicBezTo>
                    <a:cubicBezTo>
                      <a:pt x="342" y="330"/>
                      <a:pt x="342" y="330"/>
                      <a:pt x="342" y="330"/>
                    </a:cubicBezTo>
                    <a:cubicBezTo>
                      <a:pt x="343" y="330"/>
                      <a:pt x="344" y="329"/>
                      <a:pt x="345" y="329"/>
                    </a:cubicBezTo>
                    <a:cubicBezTo>
                      <a:pt x="347" y="329"/>
                      <a:pt x="349" y="329"/>
                      <a:pt x="350" y="329"/>
                    </a:cubicBezTo>
                    <a:cubicBezTo>
                      <a:pt x="350" y="329"/>
                      <a:pt x="351" y="329"/>
                      <a:pt x="351" y="329"/>
                    </a:cubicBezTo>
                    <a:cubicBezTo>
                      <a:pt x="353" y="329"/>
                      <a:pt x="354" y="329"/>
                      <a:pt x="356" y="329"/>
                    </a:cubicBezTo>
                    <a:cubicBezTo>
                      <a:pt x="358" y="329"/>
                      <a:pt x="359" y="329"/>
                      <a:pt x="360" y="329"/>
                    </a:cubicBezTo>
                    <a:cubicBezTo>
                      <a:pt x="361" y="329"/>
                      <a:pt x="361" y="329"/>
                      <a:pt x="361" y="329"/>
                    </a:cubicBezTo>
                    <a:cubicBezTo>
                      <a:pt x="361" y="329"/>
                      <a:pt x="362" y="329"/>
                      <a:pt x="363" y="329"/>
                    </a:cubicBezTo>
                    <a:cubicBezTo>
                      <a:pt x="363" y="295"/>
                      <a:pt x="363" y="295"/>
                      <a:pt x="363" y="295"/>
                    </a:cubicBezTo>
                    <a:cubicBezTo>
                      <a:pt x="363" y="292"/>
                      <a:pt x="362" y="287"/>
                      <a:pt x="363" y="284"/>
                    </a:cubicBezTo>
                    <a:cubicBezTo>
                      <a:pt x="363" y="283"/>
                      <a:pt x="363" y="283"/>
                      <a:pt x="363" y="283"/>
                    </a:cubicBezTo>
                    <a:cubicBezTo>
                      <a:pt x="360" y="280"/>
                      <a:pt x="360" y="280"/>
                      <a:pt x="360" y="280"/>
                    </a:cubicBezTo>
                    <a:cubicBezTo>
                      <a:pt x="363" y="280"/>
                      <a:pt x="363" y="280"/>
                      <a:pt x="363" y="280"/>
                    </a:cubicBezTo>
                    <a:cubicBezTo>
                      <a:pt x="363" y="140"/>
                      <a:pt x="363" y="140"/>
                      <a:pt x="363" y="140"/>
                    </a:cubicBezTo>
                    <a:cubicBezTo>
                      <a:pt x="362" y="131"/>
                      <a:pt x="362" y="123"/>
                      <a:pt x="362" y="115"/>
                    </a:cubicBezTo>
                    <a:cubicBezTo>
                      <a:pt x="362" y="111"/>
                      <a:pt x="362" y="108"/>
                      <a:pt x="362" y="104"/>
                    </a:cubicBezTo>
                    <a:cubicBezTo>
                      <a:pt x="361" y="98"/>
                      <a:pt x="360" y="93"/>
                      <a:pt x="359" y="88"/>
                    </a:cubicBezTo>
                    <a:cubicBezTo>
                      <a:pt x="359" y="87"/>
                      <a:pt x="358" y="87"/>
                      <a:pt x="358" y="86"/>
                    </a:cubicBezTo>
                    <a:cubicBezTo>
                      <a:pt x="358" y="85"/>
                      <a:pt x="358" y="85"/>
                      <a:pt x="358" y="85"/>
                    </a:cubicBezTo>
                    <a:cubicBezTo>
                      <a:pt x="358" y="83"/>
                      <a:pt x="357" y="82"/>
                      <a:pt x="357" y="81"/>
                    </a:cubicBezTo>
                    <a:cubicBezTo>
                      <a:pt x="356" y="80"/>
                      <a:pt x="356" y="79"/>
                      <a:pt x="356" y="78"/>
                    </a:cubicBezTo>
                    <a:cubicBezTo>
                      <a:pt x="356" y="75"/>
                      <a:pt x="358" y="72"/>
                      <a:pt x="359" y="70"/>
                    </a:cubicBezTo>
                    <a:cubicBezTo>
                      <a:pt x="360" y="69"/>
                      <a:pt x="361" y="68"/>
                      <a:pt x="361" y="67"/>
                    </a:cubicBezTo>
                    <a:cubicBezTo>
                      <a:pt x="361" y="67"/>
                      <a:pt x="361" y="67"/>
                      <a:pt x="361" y="67"/>
                    </a:cubicBezTo>
                    <a:cubicBezTo>
                      <a:pt x="362" y="65"/>
                      <a:pt x="362" y="63"/>
                      <a:pt x="362" y="61"/>
                    </a:cubicBezTo>
                    <a:cubicBezTo>
                      <a:pt x="361" y="60"/>
                      <a:pt x="361" y="58"/>
                      <a:pt x="361" y="57"/>
                    </a:cubicBezTo>
                    <a:cubicBezTo>
                      <a:pt x="360" y="56"/>
                      <a:pt x="360" y="54"/>
                      <a:pt x="360" y="52"/>
                    </a:cubicBezTo>
                    <a:cubicBezTo>
                      <a:pt x="359" y="50"/>
                      <a:pt x="359" y="48"/>
                      <a:pt x="360" y="47"/>
                    </a:cubicBezTo>
                    <a:cubicBezTo>
                      <a:pt x="360" y="46"/>
                      <a:pt x="360" y="45"/>
                      <a:pt x="361" y="44"/>
                    </a:cubicBezTo>
                    <a:cubicBezTo>
                      <a:pt x="361" y="42"/>
                      <a:pt x="363" y="40"/>
                      <a:pt x="365" y="38"/>
                    </a:cubicBezTo>
                    <a:cubicBezTo>
                      <a:pt x="366" y="37"/>
                      <a:pt x="366" y="37"/>
                      <a:pt x="366" y="37"/>
                    </a:cubicBezTo>
                    <a:cubicBezTo>
                      <a:pt x="367" y="37"/>
                      <a:pt x="367" y="36"/>
                      <a:pt x="368" y="36"/>
                    </a:cubicBezTo>
                    <a:cubicBezTo>
                      <a:pt x="368" y="36"/>
                      <a:pt x="368" y="36"/>
                      <a:pt x="368" y="36"/>
                    </a:cubicBezTo>
                    <a:cubicBezTo>
                      <a:pt x="367" y="34"/>
                      <a:pt x="366" y="31"/>
                      <a:pt x="364" y="30"/>
                    </a:cubicBezTo>
                    <a:cubicBezTo>
                      <a:pt x="364" y="29"/>
                      <a:pt x="361" y="29"/>
                      <a:pt x="361" y="29"/>
                    </a:cubicBezTo>
                    <a:cubicBezTo>
                      <a:pt x="360" y="29"/>
                      <a:pt x="359" y="29"/>
                      <a:pt x="359" y="29"/>
                    </a:cubicBezTo>
                    <a:cubicBezTo>
                      <a:pt x="358" y="29"/>
                      <a:pt x="357" y="29"/>
                      <a:pt x="356" y="29"/>
                    </a:cubicBezTo>
                    <a:cubicBezTo>
                      <a:pt x="355" y="29"/>
                      <a:pt x="355" y="29"/>
                      <a:pt x="354" y="29"/>
                    </a:cubicBezTo>
                    <a:cubicBezTo>
                      <a:pt x="350" y="29"/>
                      <a:pt x="347" y="28"/>
                      <a:pt x="343" y="27"/>
                    </a:cubicBezTo>
                    <a:cubicBezTo>
                      <a:pt x="337" y="25"/>
                      <a:pt x="331" y="24"/>
                      <a:pt x="324" y="24"/>
                    </a:cubicBezTo>
                    <a:cubicBezTo>
                      <a:pt x="323" y="23"/>
                      <a:pt x="321" y="21"/>
                      <a:pt x="320" y="20"/>
                    </a:cubicBezTo>
                    <a:cubicBezTo>
                      <a:pt x="320" y="18"/>
                      <a:pt x="322" y="15"/>
                      <a:pt x="321" y="13"/>
                    </a:cubicBezTo>
                    <a:cubicBezTo>
                      <a:pt x="320" y="12"/>
                      <a:pt x="316" y="11"/>
                      <a:pt x="314" y="10"/>
                    </a:cubicBezTo>
                    <a:cubicBezTo>
                      <a:pt x="311" y="9"/>
                      <a:pt x="307" y="9"/>
                      <a:pt x="304" y="8"/>
                    </a:cubicBezTo>
                    <a:cubicBezTo>
                      <a:pt x="301" y="7"/>
                      <a:pt x="298" y="5"/>
                      <a:pt x="295" y="5"/>
                    </a:cubicBezTo>
                    <a:cubicBezTo>
                      <a:pt x="295" y="5"/>
                      <a:pt x="294" y="5"/>
                      <a:pt x="294" y="5"/>
                    </a:cubicBezTo>
                    <a:cubicBezTo>
                      <a:pt x="290" y="6"/>
                      <a:pt x="286" y="7"/>
                      <a:pt x="282" y="8"/>
                    </a:cubicBezTo>
                    <a:cubicBezTo>
                      <a:pt x="275" y="10"/>
                      <a:pt x="269" y="12"/>
                      <a:pt x="262" y="14"/>
                    </a:cubicBezTo>
                    <a:cubicBezTo>
                      <a:pt x="260" y="15"/>
                      <a:pt x="258" y="18"/>
                      <a:pt x="256" y="20"/>
                    </a:cubicBezTo>
                    <a:cubicBezTo>
                      <a:pt x="254" y="23"/>
                      <a:pt x="251" y="25"/>
                      <a:pt x="249" y="28"/>
                    </a:cubicBezTo>
                    <a:cubicBezTo>
                      <a:pt x="245" y="32"/>
                      <a:pt x="245" y="39"/>
                      <a:pt x="248" y="44"/>
                    </a:cubicBezTo>
                    <a:cubicBezTo>
                      <a:pt x="249" y="45"/>
                      <a:pt x="249" y="46"/>
                      <a:pt x="250" y="47"/>
                    </a:cubicBezTo>
                    <a:cubicBezTo>
                      <a:pt x="252" y="51"/>
                      <a:pt x="250" y="57"/>
                      <a:pt x="248" y="61"/>
                    </a:cubicBezTo>
                    <a:cubicBezTo>
                      <a:pt x="244" y="66"/>
                      <a:pt x="239" y="71"/>
                      <a:pt x="233" y="73"/>
                    </a:cubicBezTo>
                    <a:cubicBezTo>
                      <a:pt x="231" y="74"/>
                      <a:pt x="229" y="74"/>
                      <a:pt x="227" y="74"/>
                    </a:cubicBezTo>
                    <a:cubicBezTo>
                      <a:pt x="226" y="74"/>
                      <a:pt x="225" y="74"/>
                      <a:pt x="225" y="74"/>
                    </a:cubicBezTo>
                    <a:cubicBezTo>
                      <a:pt x="223" y="74"/>
                      <a:pt x="221" y="73"/>
                      <a:pt x="219" y="72"/>
                    </a:cubicBezTo>
                    <a:cubicBezTo>
                      <a:pt x="213" y="67"/>
                      <a:pt x="206" y="63"/>
                      <a:pt x="200" y="59"/>
                    </a:cubicBezTo>
                    <a:cubicBezTo>
                      <a:pt x="193" y="54"/>
                      <a:pt x="181" y="51"/>
                      <a:pt x="172" y="50"/>
                    </a:cubicBezTo>
                    <a:cubicBezTo>
                      <a:pt x="166" y="49"/>
                      <a:pt x="159" y="50"/>
                      <a:pt x="154" y="47"/>
                    </a:cubicBezTo>
                    <a:cubicBezTo>
                      <a:pt x="148" y="44"/>
                      <a:pt x="144" y="43"/>
                      <a:pt x="141" y="37"/>
                    </a:cubicBezTo>
                    <a:cubicBezTo>
                      <a:pt x="140" y="35"/>
                      <a:pt x="139" y="33"/>
                      <a:pt x="139" y="31"/>
                    </a:cubicBezTo>
                    <a:cubicBezTo>
                      <a:pt x="138" y="27"/>
                      <a:pt x="137" y="21"/>
                      <a:pt x="133" y="19"/>
                    </a:cubicBezTo>
                    <a:cubicBezTo>
                      <a:pt x="132" y="18"/>
                      <a:pt x="130" y="18"/>
                      <a:pt x="128" y="18"/>
                    </a:cubicBezTo>
                    <a:cubicBezTo>
                      <a:pt x="121" y="17"/>
                      <a:pt x="115" y="14"/>
                      <a:pt x="108" y="11"/>
                    </a:cubicBezTo>
                    <a:cubicBezTo>
                      <a:pt x="102" y="7"/>
                      <a:pt x="93" y="8"/>
                      <a:pt x="86" y="7"/>
                    </a:cubicBezTo>
                    <a:cubicBezTo>
                      <a:pt x="86" y="7"/>
                      <a:pt x="85" y="7"/>
                      <a:pt x="85" y="7"/>
                    </a:cubicBezTo>
                    <a:cubicBezTo>
                      <a:pt x="83" y="7"/>
                      <a:pt x="81" y="7"/>
                      <a:pt x="80" y="8"/>
                    </a:cubicBezTo>
                    <a:cubicBezTo>
                      <a:pt x="78" y="8"/>
                      <a:pt x="77" y="8"/>
                      <a:pt x="75" y="8"/>
                    </a:cubicBezTo>
                    <a:cubicBezTo>
                      <a:pt x="73" y="8"/>
                      <a:pt x="72" y="8"/>
                      <a:pt x="70" y="7"/>
                    </a:cubicBezTo>
                    <a:cubicBezTo>
                      <a:pt x="64" y="5"/>
                      <a:pt x="58" y="2"/>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9" name="Freeform 188">
                <a:extLst>
                  <a:ext uri="{FF2B5EF4-FFF2-40B4-BE49-F238E27FC236}">
                    <a16:creationId xmlns:a16="http://schemas.microsoft.com/office/drawing/2014/main" id="{6B78BC4A-4342-4B40-95B1-561B4C1BA08A}"/>
                  </a:ext>
                </a:extLst>
              </p:cNvPr>
              <p:cNvSpPr>
                <a:spLocks/>
              </p:cNvSpPr>
              <p:nvPr/>
            </p:nvSpPr>
            <p:spPr bwMode="auto">
              <a:xfrm>
                <a:off x="4084" y="578"/>
                <a:ext cx="213" cy="433"/>
              </a:xfrm>
              <a:custGeom>
                <a:avLst/>
                <a:gdLst>
                  <a:gd name="T0" fmla="*/ 47 w 90"/>
                  <a:gd name="T1" fmla="*/ 0 h 183"/>
                  <a:gd name="T2" fmla="*/ 30 w 90"/>
                  <a:gd name="T3" fmla="*/ 8 h 183"/>
                  <a:gd name="T4" fmla="*/ 28 w 90"/>
                  <a:gd name="T5" fmla="*/ 9 h 183"/>
                  <a:gd name="T6" fmla="*/ 18 w 90"/>
                  <a:gd name="T7" fmla="*/ 22 h 183"/>
                  <a:gd name="T8" fmla="*/ 19 w 90"/>
                  <a:gd name="T9" fmla="*/ 35 h 183"/>
                  <a:gd name="T10" fmla="*/ 21 w 90"/>
                  <a:gd name="T11" fmla="*/ 47 h 183"/>
                  <a:gd name="T12" fmla="*/ 22 w 90"/>
                  <a:gd name="T13" fmla="*/ 51 h 183"/>
                  <a:gd name="T14" fmla="*/ 23 w 90"/>
                  <a:gd name="T15" fmla="*/ 57 h 183"/>
                  <a:gd name="T16" fmla="*/ 8 w 90"/>
                  <a:gd name="T17" fmla="*/ 81 h 183"/>
                  <a:gd name="T18" fmla="*/ 1 w 90"/>
                  <a:gd name="T19" fmla="*/ 87 h 183"/>
                  <a:gd name="T20" fmla="*/ 5 w 90"/>
                  <a:gd name="T21" fmla="*/ 102 h 183"/>
                  <a:gd name="T22" fmla="*/ 16 w 90"/>
                  <a:gd name="T23" fmla="*/ 114 h 183"/>
                  <a:gd name="T24" fmla="*/ 18 w 90"/>
                  <a:gd name="T25" fmla="*/ 117 h 183"/>
                  <a:gd name="T26" fmla="*/ 20 w 90"/>
                  <a:gd name="T27" fmla="*/ 122 h 183"/>
                  <a:gd name="T28" fmla="*/ 20 w 90"/>
                  <a:gd name="T29" fmla="*/ 125 h 183"/>
                  <a:gd name="T30" fmla="*/ 23 w 90"/>
                  <a:gd name="T31" fmla="*/ 127 h 183"/>
                  <a:gd name="T32" fmla="*/ 32 w 90"/>
                  <a:gd name="T33" fmla="*/ 135 h 183"/>
                  <a:gd name="T34" fmla="*/ 38 w 90"/>
                  <a:gd name="T35" fmla="*/ 142 h 183"/>
                  <a:gd name="T36" fmla="*/ 52 w 90"/>
                  <a:gd name="T37" fmla="*/ 174 h 183"/>
                  <a:gd name="T38" fmla="*/ 53 w 90"/>
                  <a:gd name="T39" fmla="*/ 180 h 183"/>
                  <a:gd name="T40" fmla="*/ 55 w 90"/>
                  <a:gd name="T41" fmla="*/ 178 h 183"/>
                  <a:gd name="T42" fmla="*/ 57 w 90"/>
                  <a:gd name="T43" fmla="*/ 175 h 183"/>
                  <a:gd name="T44" fmla="*/ 59 w 90"/>
                  <a:gd name="T45" fmla="*/ 166 h 183"/>
                  <a:gd name="T46" fmla="*/ 58 w 90"/>
                  <a:gd name="T47" fmla="*/ 159 h 183"/>
                  <a:gd name="T48" fmla="*/ 65 w 90"/>
                  <a:gd name="T49" fmla="*/ 145 h 183"/>
                  <a:gd name="T50" fmla="*/ 67 w 90"/>
                  <a:gd name="T51" fmla="*/ 143 h 183"/>
                  <a:gd name="T52" fmla="*/ 72 w 90"/>
                  <a:gd name="T53" fmla="*/ 139 h 183"/>
                  <a:gd name="T54" fmla="*/ 74 w 90"/>
                  <a:gd name="T55" fmla="*/ 137 h 183"/>
                  <a:gd name="T56" fmla="*/ 75 w 90"/>
                  <a:gd name="T57" fmla="*/ 136 h 183"/>
                  <a:gd name="T58" fmla="*/ 77 w 90"/>
                  <a:gd name="T59" fmla="*/ 134 h 183"/>
                  <a:gd name="T60" fmla="*/ 84 w 90"/>
                  <a:gd name="T61" fmla="*/ 132 h 183"/>
                  <a:gd name="T62" fmla="*/ 89 w 90"/>
                  <a:gd name="T63" fmla="*/ 129 h 183"/>
                  <a:gd name="T64" fmla="*/ 89 w 90"/>
                  <a:gd name="T65" fmla="*/ 112 h 183"/>
                  <a:gd name="T66" fmla="*/ 89 w 90"/>
                  <a:gd name="T67" fmla="*/ 110 h 183"/>
                  <a:gd name="T68" fmla="*/ 84 w 90"/>
                  <a:gd name="T69" fmla="*/ 107 h 183"/>
                  <a:gd name="T70" fmla="*/ 79 w 90"/>
                  <a:gd name="T71" fmla="*/ 98 h 183"/>
                  <a:gd name="T72" fmla="*/ 74 w 90"/>
                  <a:gd name="T73" fmla="*/ 102 h 183"/>
                  <a:gd name="T74" fmla="*/ 73 w 90"/>
                  <a:gd name="T75" fmla="*/ 96 h 183"/>
                  <a:gd name="T76" fmla="*/ 68 w 90"/>
                  <a:gd name="T77" fmla="*/ 97 h 183"/>
                  <a:gd name="T78" fmla="*/ 57 w 90"/>
                  <a:gd name="T79" fmla="*/ 84 h 183"/>
                  <a:gd name="T80" fmla="*/ 80 w 90"/>
                  <a:gd name="T81" fmla="*/ 60 h 183"/>
                  <a:gd name="T82" fmla="*/ 80 w 90"/>
                  <a:gd name="T83" fmla="*/ 47 h 183"/>
                  <a:gd name="T84" fmla="*/ 69 w 90"/>
                  <a:gd name="T85" fmla="*/ 26 h 183"/>
                  <a:gd name="T86" fmla="*/ 81 w 90"/>
                  <a:gd name="T87" fmla="*/ 14 h 183"/>
                  <a:gd name="T88" fmla="*/ 78 w 90"/>
                  <a:gd name="T89" fmla="*/ 7 h 183"/>
                  <a:gd name="T90" fmla="*/ 70 w 90"/>
                  <a:gd name="T91" fmla="*/ 13 h 183"/>
                  <a:gd name="T92" fmla="*/ 66 w 90"/>
                  <a:gd name="T93" fmla="*/ 16 h 183"/>
                  <a:gd name="T94" fmla="*/ 62 w 90"/>
                  <a:gd name="T95" fmla="*/ 7 h 183"/>
                  <a:gd name="T96" fmla="*/ 56 w 90"/>
                  <a:gd name="T97" fmla="*/ 1 h 183"/>
                  <a:gd name="T98" fmla="*/ 49 w 90"/>
                  <a:gd name="T99"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 h="183">
                    <a:moveTo>
                      <a:pt x="49" y="0"/>
                    </a:moveTo>
                    <a:cubicBezTo>
                      <a:pt x="48" y="0"/>
                      <a:pt x="48" y="0"/>
                      <a:pt x="47" y="0"/>
                    </a:cubicBezTo>
                    <a:cubicBezTo>
                      <a:pt x="43" y="1"/>
                      <a:pt x="39" y="3"/>
                      <a:pt x="35" y="4"/>
                    </a:cubicBezTo>
                    <a:cubicBezTo>
                      <a:pt x="33" y="5"/>
                      <a:pt x="32" y="7"/>
                      <a:pt x="30" y="8"/>
                    </a:cubicBezTo>
                    <a:cubicBezTo>
                      <a:pt x="29" y="8"/>
                      <a:pt x="28" y="9"/>
                      <a:pt x="27" y="9"/>
                    </a:cubicBezTo>
                    <a:cubicBezTo>
                      <a:pt x="28" y="9"/>
                      <a:pt x="28" y="9"/>
                      <a:pt x="28" y="9"/>
                    </a:cubicBezTo>
                    <a:cubicBezTo>
                      <a:pt x="26" y="12"/>
                      <a:pt x="26" y="12"/>
                      <a:pt x="26" y="12"/>
                    </a:cubicBezTo>
                    <a:cubicBezTo>
                      <a:pt x="18" y="22"/>
                      <a:pt x="18" y="22"/>
                      <a:pt x="18" y="22"/>
                    </a:cubicBezTo>
                    <a:cubicBezTo>
                      <a:pt x="20" y="23"/>
                      <a:pt x="21" y="25"/>
                      <a:pt x="20" y="30"/>
                    </a:cubicBezTo>
                    <a:cubicBezTo>
                      <a:pt x="19" y="35"/>
                      <a:pt x="19" y="35"/>
                      <a:pt x="19" y="35"/>
                    </a:cubicBezTo>
                    <a:cubicBezTo>
                      <a:pt x="19" y="38"/>
                      <a:pt x="19" y="41"/>
                      <a:pt x="20" y="44"/>
                    </a:cubicBezTo>
                    <a:cubicBezTo>
                      <a:pt x="20" y="45"/>
                      <a:pt x="21" y="46"/>
                      <a:pt x="21" y="47"/>
                    </a:cubicBezTo>
                    <a:cubicBezTo>
                      <a:pt x="21" y="50"/>
                      <a:pt x="21" y="50"/>
                      <a:pt x="21" y="50"/>
                    </a:cubicBezTo>
                    <a:cubicBezTo>
                      <a:pt x="22" y="50"/>
                      <a:pt x="22" y="51"/>
                      <a:pt x="22" y="51"/>
                    </a:cubicBezTo>
                    <a:cubicBezTo>
                      <a:pt x="22" y="52"/>
                      <a:pt x="22" y="52"/>
                      <a:pt x="22" y="52"/>
                    </a:cubicBezTo>
                    <a:cubicBezTo>
                      <a:pt x="22" y="54"/>
                      <a:pt x="23" y="55"/>
                      <a:pt x="23" y="57"/>
                    </a:cubicBezTo>
                    <a:cubicBezTo>
                      <a:pt x="21" y="62"/>
                      <a:pt x="20" y="67"/>
                      <a:pt x="18" y="71"/>
                    </a:cubicBezTo>
                    <a:cubicBezTo>
                      <a:pt x="15" y="75"/>
                      <a:pt x="12" y="78"/>
                      <a:pt x="8" y="81"/>
                    </a:cubicBezTo>
                    <a:cubicBezTo>
                      <a:pt x="6" y="83"/>
                      <a:pt x="4" y="84"/>
                      <a:pt x="3" y="86"/>
                    </a:cubicBezTo>
                    <a:cubicBezTo>
                      <a:pt x="1" y="87"/>
                      <a:pt x="1" y="87"/>
                      <a:pt x="1" y="87"/>
                    </a:cubicBezTo>
                    <a:cubicBezTo>
                      <a:pt x="0" y="88"/>
                      <a:pt x="0" y="89"/>
                      <a:pt x="1" y="91"/>
                    </a:cubicBezTo>
                    <a:cubicBezTo>
                      <a:pt x="1" y="94"/>
                      <a:pt x="3" y="98"/>
                      <a:pt x="5" y="102"/>
                    </a:cubicBezTo>
                    <a:cubicBezTo>
                      <a:pt x="6" y="104"/>
                      <a:pt x="9" y="106"/>
                      <a:pt x="11" y="108"/>
                    </a:cubicBezTo>
                    <a:cubicBezTo>
                      <a:pt x="13" y="110"/>
                      <a:pt x="15" y="112"/>
                      <a:pt x="16" y="114"/>
                    </a:cubicBezTo>
                    <a:cubicBezTo>
                      <a:pt x="17" y="114"/>
                      <a:pt x="17" y="115"/>
                      <a:pt x="18" y="115"/>
                    </a:cubicBezTo>
                    <a:cubicBezTo>
                      <a:pt x="18" y="116"/>
                      <a:pt x="18" y="116"/>
                      <a:pt x="18" y="117"/>
                    </a:cubicBezTo>
                    <a:cubicBezTo>
                      <a:pt x="18" y="117"/>
                      <a:pt x="18" y="117"/>
                      <a:pt x="18" y="117"/>
                    </a:cubicBezTo>
                    <a:cubicBezTo>
                      <a:pt x="19" y="119"/>
                      <a:pt x="20" y="120"/>
                      <a:pt x="20" y="122"/>
                    </a:cubicBezTo>
                    <a:cubicBezTo>
                      <a:pt x="20" y="123"/>
                      <a:pt x="20" y="123"/>
                      <a:pt x="20" y="123"/>
                    </a:cubicBezTo>
                    <a:cubicBezTo>
                      <a:pt x="20" y="124"/>
                      <a:pt x="20" y="125"/>
                      <a:pt x="20" y="125"/>
                    </a:cubicBezTo>
                    <a:cubicBezTo>
                      <a:pt x="21" y="126"/>
                      <a:pt x="21" y="126"/>
                      <a:pt x="21" y="126"/>
                    </a:cubicBezTo>
                    <a:cubicBezTo>
                      <a:pt x="22" y="127"/>
                      <a:pt x="22" y="127"/>
                      <a:pt x="23" y="127"/>
                    </a:cubicBezTo>
                    <a:cubicBezTo>
                      <a:pt x="30" y="133"/>
                      <a:pt x="30" y="133"/>
                      <a:pt x="30" y="133"/>
                    </a:cubicBezTo>
                    <a:cubicBezTo>
                      <a:pt x="30" y="134"/>
                      <a:pt x="31" y="134"/>
                      <a:pt x="32" y="135"/>
                    </a:cubicBezTo>
                    <a:cubicBezTo>
                      <a:pt x="33" y="135"/>
                      <a:pt x="34" y="136"/>
                      <a:pt x="35" y="137"/>
                    </a:cubicBezTo>
                    <a:cubicBezTo>
                      <a:pt x="37" y="139"/>
                      <a:pt x="38" y="141"/>
                      <a:pt x="38" y="142"/>
                    </a:cubicBezTo>
                    <a:cubicBezTo>
                      <a:pt x="47" y="180"/>
                      <a:pt x="47" y="180"/>
                      <a:pt x="47" y="180"/>
                    </a:cubicBezTo>
                    <a:cubicBezTo>
                      <a:pt x="52" y="174"/>
                      <a:pt x="52" y="174"/>
                      <a:pt x="52" y="174"/>
                    </a:cubicBezTo>
                    <a:cubicBezTo>
                      <a:pt x="49" y="183"/>
                      <a:pt x="49" y="183"/>
                      <a:pt x="49" y="183"/>
                    </a:cubicBezTo>
                    <a:cubicBezTo>
                      <a:pt x="51" y="182"/>
                      <a:pt x="52" y="181"/>
                      <a:pt x="53" y="180"/>
                    </a:cubicBezTo>
                    <a:cubicBezTo>
                      <a:pt x="54" y="179"/>
                      <a:pt x="54" y="179"/>
                      <a:pt x="55" y="178"/>
                    </a:cubicBezTo>
                    <a:cubicBezTo>
                      <a:pt x="55" y="178"/>
                      <a:pt x="55" y="178"/>
                      <a:pt x="55" y="178"/>
                    </a:cubicBezTo>
                    <a:cubicBezTo>
                      <a:pt x="56" y="177"/>
                      <a:pt x="56" y="176"/>
                      <a:pt x="57" y="175"/>
                    </a:cubicBezTo>
                    <a:cubicBezTo>
                      <a:pt x="57" y="175"/>
                      <a:pt x="57" y="175"/>
                      <a:pt x="57" y="175"/>
                    </a:cubicBezTo>
                    <a:cubicBezTo>
                      <a:pt x="59" y="172"/>
                      <a:pt x="60" y="170"/>
                      <a:pt x="60" y="168"/>
                    </a:cubicBezTo>
                    <a:cubicBezTo>
                      <a:pt x="60" y="167"/>
                      <a:pt x="60" y="166"/>
                      <a:pt x="59" y="166"/>
                    </a:cubicBezTo>
                    <a:cubicBezTo>
                      <a:pt x="59" y="165"/>
                      <a:pt x="59" y="165"/>
                      <a:pt x="59" y="165"/>
                    </a:cubicBezTo>
                    <a:cubicBezTo>
                      <a:pt x="59" y="163"/>
                      <a:pt x="58" y="161"/>
                      <a:pt x="58" y="159"/>
                    </a:cubicBezTo>
                    <a:cubicBezTo>
                      <a:pt x="58" y="159"/>
                      <a:pt x="59" y="150"/>
                      <a:pt x="62" y="146"/>
                    </a:cubicBezTo>
                    <a:cubicBezTo>
                      <a:pt x="63" y="146"/>
                      <a:pt x="63" y="145"/>
                      <a:pt x="65" y="145"/>
                    </a:cubicBezTo>
                    <a:cubicBezTo>
                      <a:pt x="65" y="145"/>
                      <a:pt x="65" y="145"/>
                      <a:pt x="65" y="145"/>
                    </a:cubicBezTo>
                    <a:cubicBezTo>
                      <a:pt x="66" y="145"/>
                      <a:pt x="67" y="144"/>
                      <a:pt x="67" y="143"/>
                    </a:cubicBezTo>
                    <a:cubicBezTo>
                      <a:pt x="68" y="141"/>
                      <a:pt x="69" y="140"/>
                      <a:pt x="70" y="139"/>
                    </a:cubicBezTo>
                    <a:cubicBezTo>
                      <a:pt x="71" y="139"/>
                      <a:pt x="71" y="139"/>
                      <a:pt x="72" y="139"/>
                    </a:cubicBezTo>
                    <a:cubicBezTo>
                      <a:pt x="72" y="139"/>
                      <a:pt x="72" y="139"/>
                      <a:pt x="73" y="139"/>
                    </a:cubicBezTo>
                    <a:cubicBezTo>
                      <a:pt x="73" y="138"/>
                      <a:pt x="73" y="138"/>
                      <a:pt x="74" y="137"/>
                    </a:cubicBezTo>
                    <a:cubicBezTo>
                      <a:pt x="74" y="137"/>
                      <a:pt x="74" y="137"/>
                      <a:pt x="74" y="137"/>
                    </a:cubicBezTo>
                    <a:cubicBezTo>
                      <a:pt x="75" y="137"/>
                      <a:pt x="75" y="136"/>
                      <a:pt x="75" y="136"/>
                    </a:cubicBezTo>
                    <a:cubicBezTo>
                      <a:pt x="76" y="135"/>
                      <a:pt x="76" y="135"/>
                      <a:pt x="76" y="135"/>
                    </a:cubicBezTo>
                    <a:cubicBezTo>
                      <a:pt x="77" y="134"/>
                      <a:pt x="77" y="134"/>
                      <a:pt x="77" y="134"/>
                    </a:cubicBezTo>
                    <a:cubicBezTo>
                      <a:pt x="79" y="134"/>
                      <a:pt x="81" y="133"/>
                      <a:pt x="83" y="132"/>
                    </a:cubicBezTo>
                    <a:cubicBezTo>
                      <a:pt x="84" y="132"/>
                      <a:pt x="84" y="132"/>
                      <a:pt x="84" y="132"/>
                    </a:cubicBezTo>
                    <a:cubicBezTo>
                      <a:pt x="86" y="131"/>
                      <a:pt x="87" y="130"/>
                      <a:pt x="88" y="130"/>
                    </a:cubicBezTo>
                    <a:cubicBezTo>
                      <a:pt x="89" y="129"/>
                      <a:pt x="89" y="129"/>
                      <a:pt x="89" y="129"/>
                    </a:cubicBezTo>
                    <a:cubicBezTo>
                      <a:pt x="90" y="113"/>
                      <a:pt x="90" y="113"/>
                      <a:pt x="90" y="113"/>
                    </a:cubicBezTo>
                    <a:cubicBezTo>
                      <a:pt x="89" y="112"/>
                      <a:pt x="89" y="112"/>
                      <a:pt x="89" y="112"/>
                    </a:cubicBezTo>
                    <a:cubicBezTo>
                      <a:pt x="88" y="111"/>
                      <a:pt x="88" y="111"/>
                      <a:pt x="88" y="111"/>
                    </a:cubicBezTo>
                    <a:cubicBezTo>
                      <a:pt x="89" y="110"/>
                      <a:pt x="89" y="110"/>
                      <a:pt x="89" y="110"/>
                    </a:cubicBezTo>
                    <a:cubicBezTo>
                      <a:pt x="88" y="110"/>
                      <a:pt x="88" y="110"/>
                      <a:pt x="88" y="110"/>
                    </a:cubicBezTo>
                    <a:cubicBezTo>
                      <a:pt x="88" y="110"/>
                      <a:pt x="80" y="108"/>
                      <a:pt x="84" y="107"/>
                    </a:cubicBezTo>
                    <a:cubicBezTo>
                      <a:pt x="82" y="105"/>
                      <a:pt x="83" y="99"/>
                      <a:pt x="80" y="98"/>
                    </a:cubicBezTo>
                    <a:cubicBezTo>
                      <a:pt x="80" y="98"/>
                      <a:pt x="79" y="98"/>
                      <a:pt x="79" y="98"/>
                    </a:cubicBezTo>
                    <a:cubicBezTo>
                      <a:pt x="78" y="98"/>
                      <a:pt x="79" y="100"/>
                      <a:pt x="78" y="100"/>
                    </a:cubicBezTo>
                    <a:cubicBezTo>
                      <a:pt x="78" y="101"/>
                      <a:pt x="76" y="102"/>
                      <a:pt x="74" y="102"/>
                    </a:cubicBezTo>
                    <a:cubicBezTo>
                      <a:pt x="74" y="102"/>
                      <a:pt x="73" y="102"/>
                      <a:pt x="73" y="101"/>
                    </a:cubicBezTo>
                    <a:cubicBezTo>
                      <a:pt x="72" y="100"/>
                      <a:pt x="75" y="98"/>
                      <a:pt x="73" y="96"/>
                    </a:cubicBezTo>
                    <a:cubicBezTo>
                      <a:pt x="70" y="97"/>
                      <a:pt x="70" y="97"/>
                      <a:pt x="70" y="97"/>
                    </a:cubicBezTo>
                    <a:cubicBezTo>
                      <a:pt x="70" y="97"/>
                      <a:pt x="69" y="97"/>
                      <a:pt x="68" y="97"/>
                    </a:cubicBezTo>
                    <a:cubicBezTo>
                      <a:pt x="66" y="97"/>
                      <a:pt x="65" y="96"/>
                      <a:pt x="62" y="94"/>
                    </a:cubicBezTo>
                    <a:cubicBezTo>
                      <a:pt x="58" y="92"/>
                      <a:pt x="58" y="88"/>
                      <a:pt x="57" y="84"/>
                    </a:cubicBezTo>
                    <a:cubicBezTo>
                      <a:pt x="56" y="83"/>
                      <a:pt x="70" y="74"/>
                      <a:pt x="72" y="72"/>
                    </a:cubicBezTo>
                    <a:cubicBezTo>
                      <a:pt x="76" y="69"/>
                      <a:pt x="78" y="64"/>
                      <a:pt x="80" y="60"/>
                    </a:cubicBezTo>
                    <a:cubicBezTo>
                      <a:pt x="82" y="57"/>
                      <a:pt x="84" y="57"/>
                      <a:pt x="83" y="54"/>
                    </a:cubicBezTo>
                    <a:cubicBezTo>
                      <a:pt x="82" y="52"/>
                      <a:pt x="82" y="48"/>
                      <a:pt x="80" y="47"/>
                    </a:cubicBezTo>
                    <a:cubicBezTo>
                      <a:pt x="75" y="43"/>
                      <a:pt x="69" y="39"/>
                      <a:pt x="67" y="33"/>
                    </a:cubicBezTo>
                    <a:cubicBezTo>
                      <a:pt x="67" y="31"/>
                      <a:pt x="68" y="27"/>
                      <a:pt x="69" y="26"/>
                    </a:cubicBezTo>
                    <a:cubicBezTo>
                      <a:pt x="71" y="24"/>
                      <a:pt x="74" y="24"/>
                      <a:pt x="76" y="22"/>
                    </a:cubicBezTo>
                    <a:cubicBezTo>
                      <a:pt x="78" y="19"/>
                      <a:pt x="80" y="16"/>
                      <a:pt x="81" y="14"/>
                    </a:cubicBezTo>
                    <a:cubicBezTo>
                      <a:pt x="83" y="12"/>
                      <a:pt x="83" y="6"/>
                      <a:pt x="80" y="6"/>
                    </a:cubicBezTo>
                    <a:cubicBezTo>
                      <a:pt x="79" y="6"/>
                      <a:pt x="79" y="7"/>
                      <a:pt x="78" y="7"/>
                    </a:cubicBezTo>
                    <a:cubicBezTo>
                      <a:pt x="76" y="8"/>
                      <a:pt x="75" y="11"/>
                      <a:pt x="73" y="11"/>
                    </a:cubicBezTo>
                    <a:cubicBezTo>
                      <a:pt x="72" y="12"/>
                      <a:pt x="71" y="12"/>
                      <a:pt x="70" y="13"/>
                    </a:cubicBezTo>
                    <a:cubicBezTo>
                      <a:pt x="69" y="13"/>
                      <a:pt x="69" y="14"/>
                      <a:pt x="69" y="14"/>
                    </a:cubicBezTo>
                    <a:cubicBezTo>
                      <a:pt x="68" y="15"/>
                      <a:pt x="67" y="16"/>
                      <a:pt x="66" y="16"/>
                    </a:cubicBezTo>
                    <a:cubicBezTo>
                      <a:pt x="65" y="16"/>
                      <a:pt x="64" y="15"/>
                      <a:pt x="63" y="14"/>
                    </a:cubicBezTo>
                    <a:cubicBezTo>
                      <a:pt x="65" y="11"/>
                      <a:pt x="64" y="10"/>
                      <a:pt x="62" y="7"/>
                    </a:cubicBezTo>
                    <a:cubicBezTo>
                      <a:pt x="61" y="5"/>
                      <a:pt x="60" y="3"/>
                      <a:pt x="58" y="2"/>
                    </a:cubicBezTo>
                    <a:cubicBezTo>
                      <a:pt x="57" y="1"/>
                      <a:pt x="56" y="1"/>
                      <a:pt x="56" y="1"/>
                    </a:cubicBezTo>
                    <a:cubicBezTo>
                      <a:pt x="54" y="1"/>
                      <a:pt x="53" y="3"/>
                      <a:pt x="52" y="4"/>
                    </a:cubicBezTo>
                    <a:cubicBezTo>
                      <a:pt x="50" y="2"/>
                      <a:pt x="51" y="0"/>
                      <a:pt x="4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0" name="Freeform 189">
                <a:extLst>
                  <a:ext uri="{FF2B5EF4-FFF2-40B4-BE49-F238E27FC236}">
                    <a16:creationId xmlns:a16="http://schemas.microsoft.com/office/drawing/2014/main" id="{0E094196-B5BC-4522-89B4-EC7B9CDF8400}"/>
                  </a:ext>
                </a:extLst>
              </p:cNvPr>
              <p:cNvSpPr>
                <a:spLocks/>
              </p:cNvSpPr>
              <p:nvPr/>
            </p:nvSpPr>
            <p:spPr bwMode="auto">
              <a:xfrm>
                <a:off x="4417" y="1434"/>
                <a:ext cx="572" cy="891"/>
              </a:xfrm>
              <a:custGeom>
                <a:avLst/>
                <a:gdLst>
                  <a:gd name="T0" fmla="*/ 37 w 242"/>
                  <a:gd name="T1" fmla="*/ 10 h 377"/>
                  <a:gd name="T2" fmla="*/ 40 w 242"/>
                  <a:gd name="T3" fmla="*/ 33 h 377"/>
                  <a:gd name="T4" fmla="*/ 44 w 242"/>
                  <a:gd name="T5" fmla="*/ 47 h 377"/>
                  <a:gd name="T6" fmla="*/ 48 w 242"/>
                  <a:gd name="T7" fmla="*/ 54 h 377"/>
                  <a:gd name="T8" fmla="*/ 50 w 242"/>
                  <a:gd name="T9" fmla="*/ 62 h 377"/>
                  <a:gd name="T10" fmla="*/ 54 w 242"/>
                  <a:gd name="T11" fmla="*/ 66 h 377"/>
                  <a:gd name="T12" fmla="*/ 57 w 242"/>
                  <a:gd name="T13" fmla="*/ 79 h 377"/>
                  <a:gd name="T14" fmla="*/ 52 w 242"/>
                  <a:gd name="T15" fmla="*/ 94 h 377"/>
                  <a:gd name="T16" fmla="*/ 48 w 242"/>
                  <a:gd name="T17" fmla="*/ 152 h 377"/>
                  <a:gd name="T18" fmla="*/ 44 w 242"/>
                  <a:gd name="T19" fmla="*/ 162 h 377"/>
                  <a:gd name="T20" fmla="*/ 15 w 242"/>
                  <a:gd name="T21" fmla="*/ 196 h 377"/>
                  <a:gd name="T22" fmla="*/ 4 w 242"/>
                  <a:gd name="T23" fmla="*/ 233 h 377"/>
                  <a:gd name="T24" fmla="*/ 13 w 242"/>
                  <a:gd name="T25" fmla="*/ 246 h 377"/>
                  <a:gd name="T26" fmla="*/ 26 w 242"/>
                  <a:gd name="T27" fmla="*/ 255 h 377"/>
                  <a:gd name="T28" fmla="*/ 36 w 242"/>
                  <a:gd name="T29" fmla="*/ 275 h 377"/>
                  <a:gd name="T30" fmla="*/ 39 w 242"/>
                  <a:gd name="T31" fmla="*/ 283 h 377"/>
                  <a:gd name="T32" fmla="*/ 39 w 242"/>
                  <a:gd name="T33" fmla="*/ 290 h 377"/>
                  <a:gd name="T34" fmla="*/ 37 w 242"/>
                  <a:gd name="T35" fmla="*/ 298 h 377"/>
                  <a:gd name="T36" fmla="*/ 49 w 242"/>
                  <a:gd name="T37" fmla="*/ 319 h 377"/>
                  <a:gd name="T38" fmla="*/ 44 w 242"/>
                  <a:gd name="T39" fmla="*/ 326 h 377"/>
                  <a:gd name="T40" fmla="*/ 28 w 242"/>
                  <a:gd name="T41" fmla="*/ 326 h 377"/>
                  <a:gd name="T42" fmla="*/ 24 w 242"/>
                  <a:gd name="T43" fmla="*/ 326 h 377"/>
                  <a:gd name="T44" fmla="*/ 16 w 242"/>
                  <a:gd name="T45" fmla="*/ 326 h 377"/>
                  <a:gd name="T46" fmla="*/ 13 w 242"/>
                  <a:gd name="T47" fmla="*/ 331 h 377"/>
                  <a:gd name="T48" fmla="*/ 18 w 242"/>
                  <a:gd name="T49" fmla="*/ 336 h 377"/>
                  <a:gd name="T50" fmla="*/ 43 w 242"/>
                  <a:gd name="T51" fmla="*/ 363 h 377"/>
                  <a:gd name="T52" fmla="*/ 48 w 242"/>
                  <a:gd name="T53" fmla="*/ 373 h 377"/>
                  <a:gd name="T54" fmla="*/ 53 w 242"/>
                  <a:gd name="T55" fmla="*/ 377 h 377"/>
                  <a:gd name="T56" fmla="*/ 64 w 242"/>
                  <a:gd name="T57" fmla="*/ 375 h 377"/>
                  <a:gd name="T58" fmla="*/ 69 w 242"/>
                  <a:gd name="T59" fmla="*/ 370 h 377"/>
                  <a:gd name="T60" fmla="*/ 77 w 242"/>
                  <a:gd name="T61" fmla="*/ 377 h 377"/>
                  <a:gd name="T62" fmla="*/ 79 w 242"/>
                  <a:gd name="T63" fmla="*/ 375 h 377"/>
                  <a:gd name="T64" fmla="*/ 88 w 242"/>
                  <a:gd name="T65" fmla="*/ 371 h 377"/>
                  <a:gd name="T66" fmla="*/ 102 w 242"/>
                  <a:gd name="T67" fmla="*/ 368 h 377"/>
                  <a:gd name="T68" fmla="*/ 110 w 242"/>
                  <a:gd name="T69" fmla="*/ 366 h 377"/>
                  <a:gd name="T70" fmla="*/ 116 w 242"/>
                  <a:gd name="T71" fmla="*/ 366 h 377"/>
                  <a:gd name="T72" fmla="*/ 123 w 242"/>
                  <a:gd name="T73" fmla="*/ 358 h 377"/>
                  <a:gd name="T74" fmla="*/ 126 w 242"/>
                  <a:gd name="T75" fmla="*/ 354 h 377"/>
                  <a:gd name="T76" fmla="*/ 130 w 242"/>
                  <a:gd name="T77" fmla="*/ 343 h 377"/>
                  <a:gd name="T78" fmla="*/ 157 w 242"/>
                  <a:gd name="T79" fmla="*/ 341 h 377"/>
                  <a:gd name="T80" fmla="*/ 188 w 242"/>
                  <a:gd name="T81" fmla="*/ 308 h 377"/>
                  <a:gd name="T82" fmla="*/ 206 w 242"/>
                  <a:gd name="T83" fmla="*/ 297 h 377"/>
                  <a:gd name="T84" fmla="*/ 217 w 242"/>
                  <a:gd name="T85" fmla="*/ 296 h 377"/>
                  <a:gd name="T86" fmla="*/ 214 w 242"/>
                  <a:gd name="T87" fmla="*/ 290 h 377"/>
                  <a:gd name="T88" fmla="*/ 207 w 242"/>
                  <a:gd name="T89" fmla="*/ 275 h 377"/>
                  <a:gd name="T90" fmla="*/ 200 w 242"/>
                  <a:gd name="T91" fmla="*/ 262 h 377"/>
                  <a:gd name="T92" fmla="*/ 197 w 242"/>
                  <a:gd name="T93" fmla="*/ 262 h 377"/>
                  <a:gd name="T94" fmla="*/ 198 w 242"/>
                  <a:gd name="T95" fmla="*/ 245 h 377"/>
                  <a:gd name="T96" fmla="*/ 200 w 242"/>
                  <a:gd name="T97" fmla="*/ 240 h 377"/>
                  <a:gd name="T98" fmla="*/ 206 w 242"/>
                  <a:gd name="T99" fmla="*/ 223 h 377"/>
                  <a:gd name="T100" fmla="*/ 206 w 242"/>
                  <a:gd name="T101" fmla="*/ 217 h 377"/>
                  <a:gd name="T102" fmla="*/ 210 w 242"/>
                  <a:gd name="T103" fmla="*/ 209 h 377"/>
                  <a:gd name="T104" fmla="*/ 213 w 242"/>
                  <a:gd name="T105" fmla="*/ 203 h 377"/>
                  <a:gd name="T106" fmla="*/ 232 w 242"/>
                  <a:gd name="T107" fmla="*/ 182 h 377"/>
                  <a:gd name="T108" fmla="*/ 163 w 242"/>
                  <a:gd name="T109" fmla="*/ 54 h 377"/>
                  <a:gd name="T110" fmla="*/ 59 w 242"/>
                  <a:gd name="T111" fmla="*/ 1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2" h="377">
                    <a:moveTo>
                      <a:pt x="57" y="0"/>
                    </a:moveTo>
                    <a:cubicBezTo>
                      <a:pt x="57" y="0"/>
                      <a:pt x="56" y="0"/>
                      <a:pt x="56" y="0"/>
                    </a:cubicBezTo>
                    <a:cubicBezTo>
                      <a:pt x="55" y="1"/>
                      <a:pt x="55" y="1"/>
                      <a:pt x="55" y="1"/>
                    </a:cubicBezTo>
                    <a:cubicBezTo>
                      <a:pt x="37" y="10"/>
                      <a:pt x="37" y="10"/>
                      <a:pt x="37" y="10"/>
                    </a:cubicBezTo>
                    <a:cubicBezTo>
                      <a:pt x="37" y="14"/>
                      <a:pt x="37" y="14"/>
                      <a:pt x="37" y="14"/>
                    </a:cubicBezTo>
                    <a:cubicBezTo>
                      <a:pt x="38" y="18"/>
                      <a:pt x="39" y="23"/>
                      <a:pt x="40" y="27"/>
                    </a:cubicBezTo>
                    <a:cubicBezTo>
                      <a:pt x="40" y="29"/>
                      <a:pt x="40" y="31"/>
                      <a:pt x="40" y="33"/>
                    </a:cubicBezTo>
                    <a:cubicBezTo>
                      <a:pt x="40" y="33"/>
                      <a:pt x="40" y="33"/>
                      <a:pt x="40" y="33"/>
                    </a:cubicBezTo>
                    <a:cubicBezTo>
                      <a:pt x="40" y="34"/>
                      <a:pt x="40" y="34"/>
                      <a:pt x="40" y="35"/>
                    </a:cubicBezTo>
                    <a:cubicBezTo>
                      <a:pt x="40" y="36"/>
                      <a:pt x="40" y="36"/>
                      <a:pt x="40" y="36"/>
                    </a:cubicBezTo>
                    <a:cubicBezTo>
                      <a:pt x="41" y="40"/>
                      <a:pt x="41" y="42"/>
                      <a:pt x="42" y="45"/>
                    </a:cubicBezTo>
                    <a:cubicBezTo>
                      <a:pt x="43" y="45"/>
                      <a:pt x="43" y="46"/>
                      <a:pt x="44" y="47"/>
                    </a:cubicBezTo>
                    <a:cubicBezTo>
                      <a:pt x="44" y="47"/>
                      <a:pt x="44" y="47"/>
                      <a:pt x="44" y="47"/>
                    </a:cubicBezTo>
                    <a:cubicBezTo>
                      <a:pt x="44" y="48"/>
                      <a:pt x="45" y="48"/>
                      <a:pt x="45" y="49"/>
                    </a:cubicBezTo>
                    <a:cubicBezTo>
                      <a:pt x="45" y="49"/>
                      <a:pt x="46" y="50"/>
                      <a:pt x="46" y="50"/>
                    </a:cubicBezTo>
                    <a:cubicBezTo>
                      <a:pt x="47" y="52"/>
                      <a:pt x="48" y="53"/>
                      <a:pt x="48" y="54"/>
                    </a:cubicBezTo>
                    <a:cubicBezTo>
                      <a:pt x="49" y="55"/>
                      <a:pt x="49" y="55"/>
                      <a:pt x="49" y="55"/>
                    </a:cubicBezTo>
                    <a:cubicBezTo>
                      <a:pt x="50" y="56"/>
                      <a:pt x="50" y="58"/>
                      <a:pt x="50" y="59"/>
                    </a:cubicBezTo>
                    <a:cubicBezTo>
                      <a:pt x="50" y="59"/>
                      <a:pt x="50" y="60"/>
                      <a:pt x="50" y="60"/>
                    </a:cubicBezTo>
                    <a:cubicBezTo>
                      <a:pt x="50" y="61"/>
                      <a:pt x="50" y="62"/>
                      <a:pt x="50" y="62"/>
                    </a:cubicBezTo>
                    <a:cubicBezTo>
                      <a:pt x="51" y="63"/>
                      <a:pt x="51" y="63"/>
                      <a:pt x="51" y="63"/>
                    </a:cubicBezTo>
                    <a:cubicBezTo>
                      <a:pt x="51" y="63"/>
                      <a:pt x="52" y="64"/>
                      <a:pt x="53" y="64"/>
                    </a:cubicBezTo>
                    <a:cubicBezTo>
                      <a:pt x="53" y="65"/>
                      <a:pt x="53" y="65"/>
                      <a:pt x="54" y="65"/>
                    </a:cubicBezTo>
                    <a:cubicBezTo>
                      <a:pt x="54" y="66"/>
                      <a:pt x="54" y="66"/>
                      <a:pt x="54" y="66"/>
                    </a:cubicBezTo>
                    <a:cubicBezTo>
                      <a:pt x="56" y="68"/>
                      <a:pt x="58" y="70"/>
                      <a:pt x="59" y="72"/>
                    </a:cubicBezTo>
                    <a:cubicBezTo>
                      <a:pt x="59" y="73"/>
                      <a:pt x="59" y="74"/>
                      <a:pt x="59" y="75"/>
                    </a:cubicBezTo>
                    <a:cubicBezTo>
                      <a:pt x="59" y="75"/>
                      <a:pt x="59" y="75"/>
                      <a:pt x="59" y="75"/>
                    </a:cubicBezTo>
                    <a:cubicBezTo>
                      <a:pt x="58" y="77"/>
                      <a:pt x="57" y="78"/>
                      <a:pt x="57" y="79"/>
                    </a:cubicBezTo>
                    <a:cubicBezTo>
                      <a:pt x="56" y="80"/>
                      <a:pt x="56" y="80"/>
                      <a:pt x="56" y="80"/>
                    </a:cubicBezTo>
                    <a:cubicBezTo>
                      <a:pt x="56" y="80"/>
                      <a:pt x="56" y="80"/>
                      <a:pt x="56" y="80"/>
                    </a:cubicBezTo>
                    <a:cubicBezTo>
                      <a:pt x="54" y="84"/>
                      <a:pt x="53" y="88"/>
                      <a:pt x="53" y="93"/>
                    </a:cubicBezTo>
                    <a:cubicBezTo>
                      <a:pt x="52" y="94"/>
                      <a:pt x="52" y="94"/>
                      <a:pt x="52" y="94"/>
                    </a:cubicBezTo>
                    <a:cubicBezTo>
                      <a:pt x="51" y="108"/>
                      <a:pt x="50" y="122"/>
                      <a:pt x="49" y="135"/>
                    </a:cubicBezTo>
                    <a:cubicBezTo>
                      <a:pt x="49" y="136"/>
                      <a:pt x="49" y="136"/>
                      <a:pt x="49" y="136"/>
                    </a:cubicBezTo>
                    <a:cubicBezTo>
                      <a:pt x="49" y="136"/>
                      <a:pt x="49" y="136"/>
                      <a:pt x="49" y="136"/>
                    </a:cubicBezTo>
                    <a:cubicBezTo>
                      <a:pt x="48" y="152"/>
                      <a:pt x="48" y="152"/>
                      <a:pt x="48" y="152"/>
                    </a:cubicBezTo>
                    <a:cubicBezTo>
                      <a:pt x="48" y="153"/>
                      <a:pt x="48" y="153"/>
                      <a:pt x="48" y="153"/>
                    </a:cubicBezTo>
                    <a:cubicBezTo>
                      <a:pt x="48" y="155"/>
                      <a:pt x="48" y="157"/>
                      <a:pt x="47" y="159"/>
                    </a:cubicBezTo>
                    <a:cubicBezTo>
                      <a:pt x="46" y="160"/>
                      <a:pt x="46" y="160"/>
                      <a:pt x="46" y="160"/>
                    </a:cubicBezTo>
                    <a:cubicBezTo>
                      <a:pt x="46" y="160"/>
                      <a:pt x="45" y="161"/>
                      <a:pt x="44" y="162"/>
                    </a:cubicBezTo>
                    <a:cubicBezTo>
                      <a:pt x="44" y="162"/>
                      <a:pt x="44" y="162"/>
                      <a:pt x="44" y="162"/>
                    </a:cubicBezTo>
                    <a:cubicBezTo>
                      <a:pt x="43" y="163"/>
                      <a:pt x="43" y="163"/>
                      <a:pt x="43" y="163"/>
                    </a:cubicBezTo>
                    <a:cubicBezTo>
                      <a:pt x="26" y="181"/>
                      <a:pt x="26" y="181"/>
                      <a:pt x="26" y="181"/>
                    </a:cubicBezTo>
                    <a:cubicBezTo>
                      <a:pt x="22" y="185"/>
                      <a:pt x="19" y="190"/>
                      <a:pt x="15" y="196"/>
                    </a:cubicBezTo>
                    <a:cubicBezTo>
                      <a:pt x="3" y="216"/>
                      <a:pt x="3" y="216"/>
                      <a:pt x="3" y="216"/>
                    </a:cubicBezTo>
                    <a:cubicBezTo>
                      <a:pt x="2" y="217"/>
                      <a:pt x="1" y="218"/>
                      <a:pt x="0" y="218"/>
                    </a:cubicBezTo>
                    <a:cubicBezTo>
                      <a:pt x="1" y="221"/>
                      <a:pt x="1" y="223"/>
                      <a:pt x="2" y="226"/>
                    </a:cubicBezTo>
                    <a:cubicBezTo>
                      <a:pt x="3" y="228"/>
                      <a:pt x="3" y="230"/>
                      <a:pt x="4" y="233"/>
                    </a:cubicBezTo>
                    <a:cubicBezTo>
                      <a:pt x="5" y="235"/>
                      <a:pt x="5" y="235"/>
                      <a:pt x="5" y="235"/>
                    </a:cubicBezTo>
                    <a:cubicBezTo>
                      <a:pt x="6" y="235"/>
                      <a:pt x="6" y="236"/>
                      <a:pt x="7" y="237"/>
                    </a:cubicBezTo>
                    <a:cubicBezTo>
                      <a:pt x="7" y="238"/>
                      <a:pt x="8" y="238"/>
                      <a:pt x="8" y="239"/>
                    </a:cubicBezTo>
                    <a:cubicBezTo>
                      <a:pt x="13" y="246"/>
                      <a:pt x="13" y="246"/>
                      <a:pt x="13" y="246"/>
                    </a:cubicBezTo>
                    <a:cubicBezTo>
                      <a:pt x="22" y="248"/>
                      <a:pt x="22" y="248"/>
                      <a:pt x="22" y="248"/>
                    </a:cubicBezTo>
                    <a:cubicBezTo>
                      <a:pt x="24" y="249"/>
                      <a:pt x="25" y="251"/>
                      <a:pt x="25" y="254"/>
                    </a:cubicBezTo>
                    <a:cubicBezTo>
                      <a:pt x="25" y="254"/>
                      <a:pt x="25" y="254"/>
                      <a:pt x="25" y="254"/>
                    </a:cubicBezTo>
                    <a:cubicBezTo>
                      <a:pt x="26" y="255"/>
                      <a:pt x="26" y="255"/>
                      <a:pt x="26" y="255"/>
                    </a:cubicBezTo>
                    <a:cubicBezTo>
                      <a:pt x="29" y="257"/>
                      <a:pt x="31" y="259"/>
                      <a:pt x="32" y="260"/>
                    </a:cubicBezTo>
                    <a:cubicBezTo>
                      <a:pt x="32" y="262"/>
                      <a:pt x="33" y="264"/>
                      <a:pt x="33" y="266"/>
                    </a:cubicBezTo>
                    <a:cubicBezTo>
                      <a:pt x="34" y="268"/>
                      <a:pt x="35" y="271"/>
                      <a:pt x="36" y="273"/>
                    </a:cubicBezTo>
                    <a:cubicBezTo>
                      <a:pt x="36" y="275"/>
                      <a:pt x="36" y="275"/>
                      <a:pt x="36" y="275"/>
                    </a:cubicBezTo>
                    <a:cubicBezTo>
                      <a:pt x="37" y="276"/>
                      <a:pt x="38" y="277"/>
                      <a:pt x="38" y="279"/>
                    </a:cubicBezTo>
                    <a:cubicBezTo>
                      <a:pt x="38" y="279"/>
                      <a:pt x="38" y="279"/>
                      <a:pt x="38" y="279"/>
                    </a:cubicBezTo>
                    <a:cubicBezTo>
                      <a:pt x="38" y="280"/>
                      <a:pt x="38" y="281"/>
                      <a:pt x="39" y="282"/>
                    </a:cubicBezTo>
                    <a:cubicBezTo>
                      <a:pt x="39" y="283"/>
                      <a:pt x="39" y="283"/>
                      <a:pt x="39" y="283"/>
                    </a:cubicBezTo>
                    <a:cubicBezTo>
                      <a:pt x="39" y="283"/>
                      <a:pt x="39" y="284"/>
                      <a:pt x="39" y="284"/>
                    </a:cubicBezTo>
                    <a:cubicBezTo>
                      <a:pt x="39" y="284"/>
                      <a:pt x="39" y="284"/>
                      <a:pt x="39" y="284"/>
                    </a:cubicBezTo>
                    <a:cubicBezTo>
                      <a:pt x="39" y="284"/>
                      <a:pt x="39" y="284"/>
                      <a:pt x="39" y="284"/>
                    </a:cubicBezTo>
                    <a:cubicBezTo>
                      <a:pt x="39" y="286"/>
                      <a:pt x="39" y="288"/>
                      <a:pt x="39" y="290"/>
                    </a:cubicBezTo>
                    <a:cubicBezTo>
                      <a:pt x="38" y="291"/>
                      <a:pt x="38" y="292"/>
                      <a:pt x="38" y="293"/>
                    </a:cubicBezTo>
                    <a:cubicBezTo>
                      <a:pt x="38" y="293"/>
                      <a:pt x="38" y="293"/>
                      <a:pt x="38" y="293"/>
                    </a:cubicBezTo>
                    <a:cubicBezTo>
                      <a:pt x="38" y="294"/>
                      <a:pt x="37" y="294"/>
                      <a:pt x="37" y="295"/>
                    </a:cubicBezTo>
                    <a:cubicBezTo>
                      <a:pt x="37" y="296"/>
                      <a:pt x="37" y="297"/>
                      <a:pt x="37" y="298"/>
                    </a:cubicBezTo>
                    <a:cubicBezTo>
                      <a:pt x="38" y="303"/>
                      <a:pt x="40" y="308"/>
                      <a:pt x="43" y="313"/>
                    </a:cubicBezTo>
                    <a:cubicBezTo>
                      <a:pt x="44" y="314"/>
                      <a:pt x="45" y="316"/>
                      <a:pt x="46" y="317"/>
                    </a:cubicBezTo>
                    <a:cubicBezTo>
                      <a:pt x="47" y="318"/>
                      <a:pt x="48" y="318"/>
                      <a:pt x="49" y="319"/>
                    </a:cubicBezTo>
                    <a:cubicBezTo>
                      <a:pt x="49" y="319"/>
                      <a:pt x="49" y="319"/>
                      <a:pt x="49" y="319"/>
                    </a:cubicBezTo>
                    <a:cubicBezTo>
                      <a:pt x="50" y="319"/>
                      <a:pt x="50" y="320"/>
                      <a:pt x="51" y="320"/>
                    </a:cubicBezTo>
                    <a:cubicBezTo>
                      <a:pt x="56" y="324"/>
                      <a:pt x="56" y="324"/>
                      <a:pt x="56" y="324"/>
                    </a:cubicBezTo>
                    <a:cubicBezTo>
                      <a:pt x="49" y="325"/>
                      <a:pt x="49" y="325"/>
                      <a:pt x="49" y="325"/>
                    </a:cubicBezTo>
                    <a:cubicBezTo>
                      <a:pt x="48" y="326"/>
                      <a:pt x="46" y="326"/>
                      <a:pt x="44" y="326"/>
                    </a:cubicBezTo>
                    <a:cubicBezTo>
                      <a:pt x="43" y="326"/>
                      <a:pt x="41" y="326"/>
                      <a:pt x="40" y="326"/>
                    </a:cubicBezTo>
                    <a:cubicBezTo>
                      <a:pt x="39" y="326"/>
                      <a:pt x="38" y="326"/>
                      <a:pt x="37" y="326"/>
                    </a:cubicBezTo>
                    <a:cubicBezTo>
                      <a:pt x="37" y="326"/>
                      <a:pt x="37" y="326"/>
                      <a:pt x="37" y="326"/>
                    </a:cubicBezTo>
                    <a:cubicBezTo>
                      <a:pt x="34" y="326"/>
                      <a:pt x="31" y="326"/>
                      <a:pt x="28" y="326"/>
                    </a:cubicBezTo>
                    <a:cubicBezTo>
                      <a:pt x="28" y="326"/>
                      <a:pt x="28" y="326"/>
                      <a:pt x="27" y="326"/>
                    </a:cubicBezTo>
                    <a:cubicBezTo>
                      <a:pt x="27" y="326"/>
                      <a:pt x="27" y="326"/>
                      <a:pt x="27" y="326"/>
                    </a:cubicBezTo>
                    <a:cubicBezTo>
                      <a:pt x="26" y="326"/>
                      <a:pt x="26" y="326"/>
                      <a:pt x="25" y="326"/>
                    </a:cubicBezTo>
                    <a:cubicBezTo>
                      <a:pt x="24" y="326"/>
                      <a:pt x="24" y="326"/>
                      <a:pt x="24" y="326"/>
                    </a:cubicBezTo>
                    <a:cubicBezTo>
                      <a:pt x="24" y="326"/>
                      <a:pt x="23" y="326"/>
                      <a:pt x="23" y="326"/>
                    </a:cubicBezTo>
                    <a:cubicBezTo>
                      <a:pt x="22" y="326"/>
                      <a:pt x="21" y="326"/>
                      <a:pt x="19" y="326"/>
                    </a:cubicBezTo>
                    <a:cubicBezTo>
                      <a:pt x="19" y="326"/>
                      <a:pt x="18" y="326"/>
                      <a:pt x="17" y="326"/>
                    </a:cubicBezTo>
                    <a:cubicBezTo>
                      <a:pt x="16" y="326"/>
                      <a:pt x="16" y="326"/>
                      <a:pt x="16" y="326"/>
                    </a:cubicBezTo>
                    <a:cubicBezTo>
                      <a:pt x="16" y="326"/>
                      <a:pt x="15" y="326"/>
                      <a:pt x="14" y="327"/>
                    </a:cubicBezTo>
                    <a:cubicBezTo>
                      <a:pt x="14" y="328"/>
                      <a:pt x="14" y="329"/>
                      <a:pt x="13" y="329"/>
                    </a:cubicBezTo>
                    <a:cubicBezTo>
                      <a:pt x="13" y="330"/>
                      <a:pt x="13" y="330"/>
                      <a:pt x="13" y="330"/>
                    </a:cubicBezTo>
                    <a:cubicBezTo>
                      <a:pt x="13" y="331"/>
                      <a:pt x="13" y="331"/>
                      <a:pt x="13" y="331"/>
                    </a:cubicBezTo>
                    <a:cubicBezTo>
                      <a:pt x="14" y="331"/>
                      <a:pt x="14" y="331"/>
                      <a:pt x="14" y="331"/>
                    </a:cubicBezTo>
                    <a:cubicBezTo>
                      <a:pt x="14" y="332"/>
                      <a:pt x="15" y="332"/>
                      <a:pt x="15" y="333"/>
                    </a:cubicBezTo>
                    <a:cubicBezTo>
                      <a:pt x="16" y="334"/>
                      <a:pt x="16" y="334"/>
                      <a:pt x="17" y="335"/>
                    </a:cubicBezTo>
                    <a:cubicBezTo>
                      <a:pt x="18" y="336"/>
                      <a:pt x="18" y="336"/>
                      <a:pt x="18" y="336"/>
                    </a:cubicBezTo>
                    <a:cubicBezTo>
                      <a:pt x="21" y="339"/>
                      <a:pt x="24" y="342"/>
                      <a:pt x="27" y="344"/>
                    </a:cubicBezTo>
                    <a:cubicBezTo>
                      <a:pt x="28" y="345"/>
                      <a:pt x="28" y="345"/>
                      <a:pt x="28" y="345"/>
                    </a:cubicBezTo>
                    <a:cubicBezTo>
                      <a:pt x="31" y="348"/>
                      <a:pt x="35" y="351"/>
                      <a:pt x="38" y="354"/>
                    </a:cubicBezTo>
                    <a:cubicBezTo>
                      <a:pt x="41" y="357"/>
                      <a:pt x="42" y="360"/>
                      <a:pt x="43" y="363"/>
                    </a:cubicBezTo>
                    <a:cubicBezTo>
                      <a:pt x="44" y="364"/>
                      <a:pt x="44" y="364"/>
                      <a:pt x="44" y="364"/>
                    </a:cubicBezTo>
                    <a:cubicBezTo>
                      <a:pt x="44" y="365"/>
                      <a:pt x="45" y="366"/>
                      <a:pt x="45" y="367"/>
                    </a:cubicBezTo>
                    <a:cubicBezTo>
                      <a:pt x="45" y="367"/>
                      <a:pt x="46" y="368"/>
                      <a:pt x="46" y="369"/>
                    </a:cubicBezTo>
                    <a:cubicBezTo>
                      <a:pt x="46" y="370"/>
                      <a:pt x="47" y="372"/>
                      <a:pt x="48" y="373"/>
                    </a:cubicBezTo>
                    <a:cubicBezTo>
                      <a:pt x="50" y="373"/>
                      <a:pt x="50" y="373"/>
                      <a:pt x="50" y="373"/>
                    </a:cubicBezTo>
                    <a:cubicBezTo>
                      <a:pt x="49" y="376"/>
                      <a:pt x="49" y="376"/>
                      <a:pt x="49" y="376"/>
                    </a:cubicBezTo>
                    <a:cubicBezTo>
                      <a:pt x="49" y="377"/>
                      <a:pt x="49" y="377"/>
                      <a:pt x="49" y="377"/>
                    </a:cubicBezTo>
                    <a:cubicBezTo>
                      <a:pt x="50" y="377"/>
                      <a:pt x="52" y="377"/>
                      <a:pt x="53" y="377"/>
                    </a:cubicBezTo>
                    <a:cubicBezTo>
                      <a:pt x="54" y="377"/>
                      <a:pt x="55" y="377"/>
                      <a:pt x="56" y="376"/>
                    </a:cubicBezTo>
                    <a:cubicBezTo>
                      <a:pt x="57" y="376"/>
                      <a:pt x="57" y="376"/>
                      <a:pt x="57" y="376"/>
                    </a:cubicBezTo>
                    <a:cubicBezTo>
                      <a:pt x="59" y="376"/>
                      <a:pt x="60" y="376"/>
                      <a:pt x="61" y="376"/>
                    </a:cubicBezTo>
                    <a:cubicBezTo>
                      <a:pt x="62" y="376"/>
                      <a:pt x="63" y="375"/>
                      <a:pt x="64" y="375"/>
                    </a:cubicBezTo>
                    <a:cubicBezTo>
                      <a:pt x="64" y="375"/>
                      <a:pt x="64" y="375"/>
                      <a:pt x="64" y="375"/>
                    </a:cubicBezTo>
                    <a:cubicBezTo>
                      <a:pt x="64" y="374"/>
                      <a:pt x="65" y="373"/>
                      <a:pt x="66" y="372"/>
                    </a:cubicBezTo>
                    <a:cubicBezTo>
                      <a:pt x="66" y="371"/>
                      <a:pt x="67" y="371"/>
                      <a:pt x="67" y="370"/>
                    </a:cubicBezTo>
                    <a:cubicBezTo>
                      <a:pt x="68" y="370"/>
                      <a:pt x="68" y="370"/>
                      <a:pt x="69" y="370"/>
                    </a:cubicBezTo>
                    <a:cubicBezTo>
                      <a:pt x="69" y="370"/>
                      <a:pt x="69" y="370"/>
                      <a:pt x="69" y="370"/>
                    </a:cubicBezTo>
                    <a:cubicBezTo>
                      <a:pt x="69" y="370"/>
                      <a:pt x="69" y="370"/>
                      <a:pt x="69" y="370"/>
                    </a:cubicBezTo>
                    <a:cubicBezTo>
                      <a:pt x="72" y="370"/>
                      <a:pt x="73" y="372"/>
                      <a:pt x="74" y="373"/>
                    </a:cubicBezTo>
                    <a:cubicBezTo>
                      <a:pt x="77" y="377"/>
                      <a:pt x="77" y="377"/>
                      <a:pt x="77" y="377"/>
                    </a:cubicBezTo>
                    <a:cubicBezTo>
                      <a:pt x="77" y="376"/>
                      <a:pt x="77" y="376"/>
                      <a:pt x="77" y="376"/>
                    </a:cubicBezTo>
                    <a:cubicBezTo>
                      <a:pt x="78" y="376"/>
                      <a:pt x="78" y="376"/>
                      <a:pt x="78" y="376"/>
                    </a:cubicBezTo>
                    <a:cubicBezTo>
                      <a:pt x="79" y="376"/>
                      <a:pt x="79" y="376"/>
                      <a:pt x="79" y="376"/>
                    </a:cubicBezTo>
                    <a:cubicBezTo>
                      <a:pt x="79" y="376"/>
                      <a:pt x="79" y="375"/>
                      <a:pt x="79" y="375"/>
                    </a:cubicBezTo>
                    <a:cubicBezTo>
                      <a:pt x="80" y="375"/>
                      <a:pt x="80" y="375"/>
                      <a:pt x="80" y="375"/>
                    </a:cubicBezTo>
                    <a:cubicBezTo>
                      <a:pt x="81" y="374"/>
                      <a:pt x="82" y="374"/>
                      <a:pt x="83" y="373"/>
                    </a:cubicBezTo>
                    <a:cubicBezTo>
                      <a:pt x="84" y="373"/>
                      <a:pt x="84" y="373"/>
                      <a:pt x="84" y="373"/>
                    </a:cubicBezTo>
                    <a:cubicBezTo>
                      <a:pt x="85" y="372"/>
                      <a:pt x="87" y="372"/>
                      <a:pt x="88" y="371"/>
                    </a:cubicBezTo>
                    <a:cubicBezTo>
                      <a:pt x="90" y="371"/>
                      <a:pt x="90" y="371"/>
                      <a:pt x="90" y="371"/>
                    </a:cubicBezTo>
                    <a:cubicBezTo>
                      <a:pt x="90" y="371"/>
                      <a:pt x="91" y="370"/>
                      <a:pt x="91" y="370"/>
                    </a:cubicBezTo>
                    <a:cubicBezTo>
                      <a:pt x="94" y="369"/>
                      <a:pt x="94" y="369"/>
                      <a:pt x="94" y="369"/>
                    </a:cubicBezTo>
                    <a:cubicBezTo>
                      <a:pt x="97" y="369"/>
                      <a:pt x="99" y="368"/>
                      <a:pt x="102" y="368"/>
                    </a:cubicBezTo>
                    <a:cubicBezTo>
                      <a:pt x="103" y="367"/>
                      <a:pt x="105" y="367"/>
                      <a:pt x="107" y="366"/>
                    </a:cubicBezTo>
                    <a:cubicBezTo>
                      <a:pt x="107" y="366"/>
                      <a:pt x="108" y="366"/>
                      <a:pt x="109" y="366"/>
                    </a:cubicBezTo>
                    <a:cubicBezTo>
                      <a:pt x="109" y="366"/>
                      <a:pt x="109" y="366"/>
                      <a:pt x="109" y="366"/>
                    </a:cubicBezTo>
                    <a:cubicBezTo>
                      <a:pt x="110" y="366"/>
                      <a:pt x="110" y="366"/>
                      <a:pt x="110" y="366"/>
                    </a:cubicBezTo>
                    <a:cubicBezTo>
                      <a:pt x="112" y="366"/>
                      <a:pt x="112" y="366"/>
                      <a:pt x="112" y="366"/>
                    </a:cubicBezTo>
                    <a:cubicBezTo>
                      <a:pt x="112" y="366"/>
                      <a:pt x="113" y="366"/>
                      <a:pt x="114" y="366"/>
                    </a:cubicBezTo>
                    <a:cubicBezTo>
                      <a:pt x="115" y="366"/>
                      <a:pt x="115" y="366"/>
                      <a:pt x="115" y="366"/>
                    </a:cubicBezTo>
                    <a:cubicBezTo>
                      <a:pt x="116" y="366"/>
                      <a:pt x="116" y="366"/>
                      <a:pt x="116" y="366"/>
                    </a:cubicBezTo>
                    <a:cubicBezTo>
                      <a:pt x="116" y="366"/>
                      <a:pt x="116" y="366"/>
                      <a:pt x="116" y="366"/>
                    </a:cubicBezTo>
                    <a:cubicBezTo>
                      <a:pt x="117" y="365"/>
                      <a:pt x="117" y="365"/>
                      <a:pt x="117" y="365"/>
                    </a:cubicBezTo>
                    <a:cubicBezTo>
                      <a:pt x="119" y="363"/>
                      <a:pt x="119" y="363"/>
                      <a:pt x="119" y="363"/>
                    </a:cubicBezTo>
                    <a:cubicBezTo>
                      <a:pt x="120" y="362"/>
                      <a:pt x="122" y="360"/>
                      <a:pt x="123" y="358"/>
                    </a:cubicBezTo>
                    <a:cubicBezTo>
                      <a:pt x="124" y="357"/>
                      <a:pt x="125" y="356"/>
                      <a:pt x="126" y="355"/>
                    </a:cubicBezTo>
                    <a:cubicBezTo>
                      <a:pt x="126" y="355"/>
                      <a:pt x="126" y="355"/>
                      <a:pt x="126" y="355"/>
                    </a:cubicBezTo>
                    <a:cubicBezTo>
                      <a:pt x="126" y="355"/>
                      <a:pt x="126" y="355"/>
                      <a:pt x="126" y="355"/>
                    </a:cubicBezTo>
                    <a:cubicBezTo>
                      <a:pt x="126" y="354"/>
                      <a:pt x="126" y="354"/>
                      <a:pt x="126" y="354"/>
                    </a:cubicBezTo>
                    <a:cubicBezTo>
                      <a:pt x="125" y="354"/>
                      <a:pt x="125" y="354"/>
                      <a:pt x="125" y="354"/>
                    </a:cubicBezTo>
                    <a:cubicBezTo>
                      <a:pt x="124" y="353"/>
                      <a:pt x="122" y="352"/>
                      <a:pt x="121" y="350"/>
                    </a:cubicBezTo>
                    <a:cubicBezTo>
                      <a:pt x="121" y="347"/>
                      <a:pt x="123" y="345"/>
                      <a:pt x="127" y="344"/>
                    </a:cubicBezTo>
                    <a:cubicBezTo>
                      <a:pt x="130" y="343"/>
                      <a:pt x="130" y="343"/>
                      <a:pt x="130" y="343"/>
                    </a:cubicBezTo>
                    <a:cubicBezTo>
                      <a:pt x="130" y="343"/>
                      <a:pt x="130" y="343"/>
                      <a:pt x="130" y="343"/>
                    </a:cubicBezTo>
                    <a:cubicBezTo>
                      <a:pt x="135" y="342"/>
                      <a:pt x="142" y="342"/>
                      <a:pt x="146" y="342"/>
                    </a:cubicBezTo>
                    <a:cubicBezTo>
                      <a:pt x="147" y="342"/>
                      <a:pt x="147" y="342"/>
                      <a:pt x="147" y="342"/>
                    </a:cubicBezTo>
                    <a:cubicBezTo>
                      <a:pt x="150" y="342"/>
                      <a:pt x="154" y="341"/>
                      <a:pt x="157" y="341"/>
                    </a:cubicBezTo>
                    <a:cubicBezTo>
                      <a:pt x="157" y="341"/>
                      <a:pt x="159" y="340"/>
                      <a:pt x="160" y="340"/>
                    </a:cubicBezTo>
                    <a:cubicBezTo>
                      <a:pt x="166" y="336"/>
                      <a:pt x="170" y="332"/>
                      <a:pt x="174" y="327"/>
                    </a:cubicBezTo>
                    <a:cubicBezTo>
                      <a:pt x="188" y="311"/>
                      <a:pt x="188" y="311"/>
                      <a:pt x="188" y="311"/>
                    </a:cubicBezTo>
                    <a:cubicBezTo>
                      <a:pt x="188" y="310"/>
                      <a:pt x="188" y="309"/>
                      <a:pt x="188" y="308"/>
                    </a:cubicBezTo>
                    <a:cubicBezTo>
                      <a:pt x="189" y="307"/>
                      <a:pt x="189" y="306"/>
                      <a:pt x="190" y="305"/>
                    </a:cubicBezTo>
                    <a:cubicBezTo>
                      <a:pt x="192" y="302"/>
                      <a:pt x="197" y="300"/>
                      <a:pt x="202" y="299"/>
                    </a:cubicBezTo>
                    <a:cubicBezTo>
                      <a:pt x="203" y="298"/>
                      <a:pt x="204" y="298"/>
                      <a:pt x="205" y="297"/>
                    </a:cubicBezTo>
                    <a:cubicBezTo>
                      <a:pt x="206" y="297"/>
                      <a:pt x="206" y="297"/>
                      <a:pt x="206" y="297"/>
                    </a:cubicBezTo>
                    <a:cubicBezTo>
                      <a:pt x="208" y="297"/>
                      <a:pt x="208" y="297"/>
                      <a:pt x="208" y="297"/>
                    </a:cubicBezTo>
                    <a:cubicBezTo>
                      <a:pt x="210" y="297"/>
                      <a:pt x="213" y="297"/>
                      <a:pt x="217" y="297"/>
                    </a:cubicBezTo>
                    <a:cubicBezTo>
                      <a:pt x="217" y="297"/>
                      <a:pt x="217" y="297"/>
                      <a:pt x="217" y="297"/>
                    </a:cubicBezTo>
                    <a:cubicBezTo>
                      <a:pt x="217" y="296"/>
                      <a:pt x="217" y="296"/>
                      <a:pt x="217" y="296"/>
                    </a:cubicBezTo>
                    <a:cubicBezTo>
                      <a:pt x="217" y="295"/>
                      <a:pt x="217" y="295"/>
                      <a:pt x="217" y="295"/>
                    </a:cubicBezTo>
                    <a:cubicBezTo>
                      <a:pt x="218" y="294"/>
                      <a:pt x="218" y="294"/>
                      <a:pt x="218" y="294"/>
                    </a:cubicBezTo>
                    <a:cubicBezTo>
                      <a:pt x="217" y="293"/>
                      <a:pt x="217" y="293"/>
                      <a:pt x="217" y="293"/>
                    </a:cubicBezTo>
                    <a:cubicBezTo>
                      <a:pt x="217" y="292"/>
                      <a:pt x="215" y="291"/>
                      <a:pt x="214" y="290"/>
                    </a:cubicBezTo>
                    <a:cubicBezTo>
                      <a:pt x="212" y="289"/>
                      <a:pt x="212" y="289"/>
                      <a:pt x="212" y="289"/>
                    </a:cubicBezTo>
                    <a:cubicBezTo>
                      <a:pt x="208" y="285"/>
                      <a:pt x="208" y="283"/>
                      <a:pt x="209" y="278"/>
                    </a:cubicBezTo>
                    <a:cubicBezTo>
                      <a:pt x="208" y="279"/>
                      <a:pt x="208" y="279"/>
                      <a:pt x="208" y="279"/>
                    </a:cubicBezTo>
                    <a:cubicBezTo>
                      <a:pt x="207" y="275"/>
                      <a:pt x="207" y="275"/>
                      <a:pt x="207" y="275"/>
                    </a:cubicBezTo>
                    <a:cubicBezTo>
                      <a:pt x="206" y="274"/>
                      <a:pt x="206" y="273"/>
                      <a:pt x="206" y="271"/>
                    </a:cubicBezTo>
                    <a:cubicBezTo>
                      <a:pt x="205" y="269"/>
                      <a:pt x="204" y="263"/>
                      <a:pt x="203" y="261"/>
                    </a:cubicBezTo>
                    <a:cubicBezTo>
                      <a:pt x="202" y="261"/>
                      <a:pt x="202" y="261"/>
                      <a:pt x="202" y="261"/>
                    </a:cubicBezTo>
                    <a:cubicBezTo>
                      <a:pt x="202" y="262"/>
                      <a:pt x="201" y="262"/>
                      <a:pt x="200" y="262"/>
                    </a:cubicBezTo>
                    <a:cubicBezTo>
                      <a:pt x="200" y="262"/>
                      <a:pt x="199" y="262"/>
                      <a:pt x="199" y="262"/>
                    </a:cubicBezTo>
                    <a:cubicBezTo>
                      <a:pt x="198" y="269"/>
                      <a:pt x="198" y="269"/>
                      <a:pt x="198" y="269"/>
                    </a:cubicBezTo>
                    <a:cubicBezTo>
                      <a:pt x="197" y="262"/>
                      <a:pt x="197" y="262"/>
                      <a:pt x="197" y="262"/>
                    </a:cubicBezTo>
                    <a:cubicBezTo>
                      <a:pt x="197" y="262"/>
                      <a:pt x="197" y="262"/>
                      <a:pt x="197" y="262"/>
                    </a:cubicBezTo>
                    <a:cubicBezTo>
                      <a:pt x="196" y="262"/>
                      <a:pt x="195" y="262"/>
                      <a:pt x="195" y="261"/>
                    </a:cubicBezTo>
                    <a:cubicBezTo>
                      <a:pt x="194" y="261"/>
                      <a:pt x="194" y="261"/>
                      <a:pt x="194" y="261"/>
                    </a:cubicBezTo>
                    <a:cubicBezTo>
                      <a:pt x="191" y="259"/>
                      <a:pt x="191" y="255"/>
                      <a:pt x="193" y="252"/>
                    </a:cubicBezTo>
                    <a:cubicBezTo>
                      <a:pt x="194" y="249"/>
                      <a:pt x="196" y="247"/>
                      <a:pt x="198" y="245"/>
                    </a:cubicBezTo>
                    <a:cubicBezTo>
                      <a:pt x="199" y="245"/>
                      <a:pt x="199" y="244"/>
                      <a:pt x="200" y="244"/>
                    </a:cubicBezTo>
                    <a:cubicBezTo>
                      <a:pt x="201" y="243"/>
                      <a:pt x="201" y="243"/>
                      <a:pt x="201" y="242"/>
                    </a:cubicBezTo>
                    <a:cubicBezTo>
                      <a:pt x="201" y="242"/>
                      <a:pt x="201" y="242"/>
                      <a:pt x="201" y="242"/>
                    </a:cubicBezTo>
                    <a:cubicBezTo>
                      <a:pt x="201" y="241"/>
                      <a:pt x="201" y="241"/>
                      <a:pt x="200" y="240"/>
                    </a:cubicBezTo>
                    <a:cubicBezTo>
                      <a:pt x="198" y="237"/>
                      <a:pt x="196" y="233"/>
                      <a:pt x="199" y="228"/>
                    </a:cubicBezTo>
                    <a:cubicBezTo>
                      <a:pt x="200" y="228"/>
                      <a:pt x="200" y="227"/>
                      <a:pt x="201" y="226"/>
                    </a:cubicBezTo>
                    <a:cubicBezTo>
                      <a:pt x="202" y="226"/>
                      <a:pt x="203" y="225"/>
                      <a:pt x="204" y="224"/>
                    </a:cubicBezTo>
                    <a:cubicBezTo>
                      <a:pt x="206" y="223"/>
                      <a:pt x="206" y="223"/>
                      <a:pt x="206" y="223"/>
                    </a:cubicBezTo>
                    <a:cubicBezTo>
                      <a:pt x="206" y="223"/>
                      <a:pt x="206" y="223"/>
                      <a:pt x="206" y="223"/>
                    </a:cubicBezTo>
                    <a:cubicBezTo>
                      <a:pt x="206" y="222"/>
                      <a:pt x="206" y="222"/>
                      <a:pt x="205" y="221"/>
                    </a:cubicBezTo>
                    <a:cubicBezTo>
                      <a:pt x="205" y="220"/>
                      <a:pt x="205" y="219"/>
                      <a:pt x="205" y="218"/>
                    </a:cubicBezTo>
                    <a:cubicBezTo>
                      <a:pt x="206" y="217"/>
                      <a:pt x="206" y="217"/>
                      <a:pt x="206" y="217"/>
                    </a:cubicBezTo>
                    <a:cubicBezTo>
                      <a:pt x="206" y="217"/>
                      <a:pt x="206" y="217"/>
                      <a:pt x="206" y="217"/>
                    </a:cubicBezTo>
                    <a:cubicBezTo>
                      <a:pt x="205" y="216"/>
                      <a:pt x="205" y="216"/>
                      <a:pt x="205" y="216"/>
                    </a:cubicBezTo>
                    <a:cubicBezTo>
                      <a:pt x="203" y="212"/>
                      <a:pt x="206" y="211"/>
                      <a:pt x="210" y="209"/>
                    </a:cubicBezTo>
                    <a:cubicBezTo>
                      <a:pt x="210" y="209"/>
                      <a:pt x="210" y="209"/>
                      <a:pt x="210" y="209"/>
                    </a:cubicBezTo>
                    <a:cubicBezTo>
                      <a:pt x="211" y="208"/>
                      <a:pt x="211" y="208"/>
                      <a:pt x="211" y="208"/>
                    </a:cubicBezTo>
                    <a:cubicBezTo>
                      <a:pt x="212" y="207"/>
                      <a:pt x="212" y="207"/>
                      <a:pt x="212" y="207"/>
                    </a:cubicBezTo>
                    <a:cubicBezTo>
                      <a:pt x="212" y="207"/>
                      <a:pt x="212" y="206"/>
                      <a:pt x="212" y="206"/>
                    </a:cubicBezTo>
                    <a:cubicBezTo>
                      <a:pt x="213" y="203"/>
                      <a:pt x="213" y="203"/>
                      <a:pt x="213" y="203"/>
                    </a:cubicBezTo>
                    <a:cubicBezTo>
                      <a:pt x="214" y="202"/>
                      <a:pt x="214" y="200"/>
                      <a:pt x="214" y="199"/>
                    </a:cubicBezTo>
                    <a:cubicBezTo>
                      <a:pt x="215" y="197"/>
                      <a:pt x="215" y="197"/>
                      <a:pt x="215" y="197"/>
                    </a:cubicBezTo>
                    <a:cubicBezTo>
                      <a:pt x="215" y="195"/>
                      <a:pt x="216" y="192"/>
                      <a:pt x="217" y="190"/>
                    </a:cubicBezTo>
                    <a:cubicBezTo>
                      <a:pt x="220" y="184"/>
                      <a:pt x="226" y="182"/>
                      <a:pt x="232" y="182"/>
                    </a:cubicBezTo>
                    <a:cubicBezTo>
                      <a:pt x="235" y="182"/>
                      <a:pt x="237" y="183"/>
                      <a:pt x="240" y="183"/>
                    </a:cubicBezTo>
                    <a:cubicBezTo>
                      <a:pt x="240" y="183"/>
                      <a:pt x="241" y="183"/>
                      <a:pt x="242" y="183"/>
                    </a:cubicBezTo>
                    <a:cubicBezTo>
                      <a:pt x="242" y="96"/>
                      <a:pt x="242" y="96"/>
                      <a:pt x="242" y="96"/>
                    </a:cubicBezTo>
                    <a:cubicBezTo>
                      <a:pt x="163" y="54"/>
                      <a:pt x="163" y="54"/>
                      <a:pt x="163" y="54"/>
                    </a:cubicBezTo>
                    <a:cubicBezTo>
                      <a:pt x="146" y="45"/>
                      <a:pt x="123" y="33"/>
                      <a:pt x="101" y="21"/>
                    </a:cubicBezTo>
                    <a:cubicBezTo>
                      <a:pt x="90" y="16"/>
                      <a:pt x="90" y="16"/>
                      <a:pt x="90" y="16"/>
                    </a:cubicBezTo>
                    <a:cubicBezTo>
                      <a:pt x="82" y="12"/>
                      <a:pt x="75" y="9"/>
                      <a:pt x="67" y="5"/>
                    </a:cubicBezTo>
                    <a:cubicBezTo>
                      <a:pt x="59" y="1"/>
                      <a:pt x="59" y="1"/>
                      <a:pt x="59" y="1"/>
                    </a:cubicBezTo>
                    <a:cubicBezTo>
                      <a:pt x="58" y="1"/>
                      <a:pt x="58" y="0"/>
                      <a:pt x="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1" name="Freeform 190">
                <a:extLst>
                  <a:ext uri="{FF2B5EF4-FFF2-40B4-BE49-F238E27FC236}">
                    <a16:creationId xmlns:a16="http://schemas.microsoft.com/office/drawing/2014/main" id="{F30EF87D-C736-4BF3-99BE-73FE1BB43D61}"/>
                  </a:ext>
                </a:extLst>
              </p:cNvPr>
              <p:cNvSpPr>
                <a:spLocks/>
              </p:cNvSpPr>
              <p:nvPr/>
            </p:nvSpPr>
            <p:spPr bwMode="auto">
              <a:xfrm>
                <a:off x="3682" y="1429"/>
                <a:ext cx="860" cy="659"/>
              </a:xfrm>
              <a:custGeom>
                <a:avLst/>
                <a:gdLst>
                  <a:gd name="T0" fmla="*/ 150 w 364"/>
                  <a:gd name="T1" fmla="*/ 81 h 279"/>
                  <a:gd name="T2" fmla="*/ 131 w 364"/>
                  <a:gd name="T3" fmla="*/ 99 h 279"/>
                  <a:gd name="T4" fmla="*/ 94 w 364"/>
                  <a:gd name="T5" fmla="*/ 120 h 279"/>
                  <a:gd name="T6" fmla="*/ 92 w 364"/>
                  <a:gd name="T7" fmla="*/ 172 h 279"/>
                  <a:gd name="T8" fmla="*/ 84 w 364"/>
                  <a:gd name="T9" fmla="*/ 191 h 279"/>
                  <a:gd name="T10" fmla="*/ 71 w 364"/>
                  <a:gd name="T11" fmla="*/ 199 h 279"/>
                  <a:gd name="T12" fmla="*/ 67 w 364"/>
                  <a:gd name="T13" fmla="*/ 199 h 279"/>
                  <a:gd name="T14" fmla="*/ 57 w 364"/>
                  <a:gd name="T15" fmla="*/ 200 h 279"/>
                  <a:gd name="T16" fmla="*/ 12 w 364"/>
                  <a:gd name="T17" fmla="*/ 205 h 279"/>
                  <a:gd name="T18" fmla="*/ 1 w 364"/>
                  <a:gd name="T19" fmla="*/ 209 h 279"/>
                  <a:gd name="T20" fmla="*/ 1 w 364"/>
                  <a:gd name="T21" fmla="*/ 220 h 279"/>
                  <a:gd name="T22" fmla="*/ 7 w 364"/>
                  <a:gd name="T23" fmla="*/ 233 h 279"/>
                  <a:gd name="T24" fmla="*/ 12 w 364"/>
                  <a:gd name="T25" fmla="*/ 235 h 279"/>
                  <a:gd name="T26" fmla="*/ 20 w 364"/>
                  <a:gd name="T27" fmla="*/ 247 h 279"/>
                  <a:gd name="T28" fmla="*/ 18 w 364"/>
                  <a:gd name="T29" fmla="*/ 248 h 279"/>
                  <a:gd name="T30" fmla="*/ 19 w 364"/>
                  <a:gd name="T31" fmla="*/ 252 h 279"/>
                  <a:gd name="T32" fmla="*/ 29 w 364"/>
                  <a:gd name="T33" fmla="*/ 257 h 279"/>
                  <a:gd name="T34" fmla="*/ 41 w 364"/>
                  <a:gd name="T35" fmla="*/ 258 h 279"/>
                  <a:gd name="T36" fmla="*/ 47 w 364"/>
                  <a:gd name="T37" fmla="*/ 267 h 279"/>
                  <a:gd name="T38" fmla="*/ 45 w 364"/>
                  <a:gd name="T39" fmla="*/ 271 h 279"/>
                  <a:gd name="T40" fmla="*/ 51 w 364"/>
                  <a:gd name="T41" fmla="*/ 267 h 279"/>
                  <a:gd name="T42" fmla="*/ 58 w 364"/>
                  <a:gd name="T43" fmla="*/ 265 h 279"/>
                  <a:gd name="T44" fmla="*/ 73 w 364"/>
                  <a:gd name="T45" fmla="*/ 279 h 279"/>
                  <a:gd name="T46" fmla="*/ 75 w 364"/>
                  <a:gd name="T47" fmla="*/ 266 h 279"/>
                  <a:gd name="T48" fmla="*/ 77 w 364"/>
                  <a:gd name="T49" fmla="*/ 261 h 279"/>
                  <a:gd name="T50" fmla="*/ 79 w 364"/>
                  <a:gd name="T51" fmla="*/ 258 h 279"/>
                  <a:gd name="T52" fmla="*/ 85 w 364"/>
                  <a:gd name="T53" fmla="*/ 245 h 279"/>
                  <a:gd name="T54" fmla="*/ 120 w 364"/>
                  <a:gd name="T55" fmla="*/ 229 h 279"/>
                  <a:gd name="T56" fmla="*/ 122 w 364"/>
                  <a:gd name="T57" fmla="*/ 229 h 279"/>
                  <a:gd name="T58" fmla="*/ 133 w 364"/>
                  <a:gd name="T59" fmla="*/ 232 h 279"/>
                  <a:gd name="T60" fmla="*/ 148 w 364"/>
                  <a:gd name="T61" fmla="*/ 240 h 279"/>
                  <a:gd name="T62" fmla="*/ 161 w 364"/>
                  <a:gd name="T63" fmla="*/ 248 h 279"/>
                  <a:gd name="T64" fmla="*/ 177 w 364"/>
                  <a:gd name="T65" fmla="*/ 242 h 279"/>
                  <a:gd name="T66" fmla="*/ 182 w 364"/>
                  <a:gd name="T67" fmla="*/ 243 h 279"/>
                  <a:gd name="T68" fmla="*/ 198 w 364"/>
                  <a:gd name="T69" fmla="*/ 251 h 279"/>
                  <a:gd name="T70" fmla="*/ 212 w 364"/>
                  <a:gd name="T71" fmla="*/ 254 h 279"/>
                  <a:gd name="T72" fmla="*/ 216 w 364"/>
                  <a:gd name="T73" fmla="*/ 255 h 279"/>
                  <a:gd name="T74" fmla="*/ 225 w 364"/>
                  <a:gd name="T75" fmla="*/ 246 h 279"/>
                  <a:gd name="T76" fmla="*/ 253 w 364"/>
                  <a:gd name="T77" fmla="*/ 241 h 279"/>
                  <a:gd name="T78" fmla="*/ 266 w 364"/>
                  <a:gd name="T79" fmla="*/ 242 h 279"/>
                  <a:gd name="T80" fmla="*/ 283 w 364"/>
                  <a:gd name="T81" fmla="*/ 248 h 279"/>
                  <a:gd name="T82" fmla="*/ 293 w 364"/>
                  <a:gd name="T83" fmla="*/ 238 h 279"/>
                  <a:gd name="T84" fmla="*/ 297 w 364"/>
                  <a:gd name="T85" fmla="*/ 236 h 279"/>
                  <a:gd name="T86" fmla="*/ 306 w 364"/>
                  <a:gd name="T87" fmla="*/ 233 h 279"/>
                  <a:gd name="T88" fmla="*/ 306 w 364"/>
                  <a:gd name="T89" fmla="*/ 217 h 279"/>
                  <a:gd name="T90" fmla="*/ 308 w 364"/>
                  <a:gd name="T91" fmla="*/ 215 h 279"/>
                  <a:gd name="T92" fmla="*/ 333 w 364"/>
                  <a:gd name="T93" fmla="*/ 179 h 279"/>
                  <a:gd name="T94" fmla="*/ 351 w 364"/>
                  <a:gd name="T95" fmla="*/ 160 h 279"/>
                  <a:gd name="T96" fmla="*/ 353 w 364"/>
                  <a:gd name="T97" fmla="*/ 155 h 279"/>
                  <a:gd name="T98" fmla="*/ 354 w 364"/>
                  <a:gd name="T99" fmla="*/ 138 h 279"/>
                  <a:gd name="T100" fmla="*/ 362 w 364"/>
                  <a:gd name="T101" fmla="*/ 79 h 279"/>
                  <a:gd name="T102" fmla="*/ 364 w 364"/>
                  <a:gd name="T103" fmla="*/ 75 h 279"/>
                  <a:gd name="T104" fmla="*/ 357 w 364"/>
                  <a:gd name="T105" fmla="*/ 68 h 279"/>
                  <a:gd name="T106" fmla="*/ 354 w 364"/>
                  <a:gd name="T107" fmla="*/ 59 h 279"/>
                  <a:gd name="T108" fmla="*/ 348 w 364"/>
                  <a:gd name="T109" fmla="*/ 50 h 279"/>
                  <a:gd name="T110" fmla="*/ 345 w 364"/>
                  <a:gd name="T111" fmla="*/ 35 h 279"/>
                  <a:gd name="T112" fmla="*/ 342 w 364"/>
                  <a:gd name="T113" fmla="*/ 15 h 279"/>
                  <a:gd name="T114" fmla="*/ 319 w 364"/>
                  <a:gd name="T115" fmla="*/ 17 h 279"/>
                  <a:gd name="T116" fmla="*/ 307 w 364"/>
                  <a:gd name="T117" fmla="*/ 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4" h="279">
                    <a:moveTo>
                      <a:pt x="274" y="0"/>
                    </a:moveTo>
                    <a:cubicBezTo>
                      <a:pt x="177" y="60"/>
                      <a:pt x="177" y="60"/>
                      <a:pt x="177" y="60"/>
                    </a:cubicBezTo>
                    <a:cubicBezTo>
                      <a:pt x="172" y="63"/>
                      <a:pt x="167" y="66"/>
                      <a:pt x="162" y="71"/>
                    </a:cubicBezTo>
                    <a:cubicBezTo>
                      <a:pt x="158" y="74"/>
                      <a:pt x="154" y="78"/>
                      <a:pt x="150" y="81"/>
                    </a:cubicBezTo>
                    <a:cubicBezTo>
                      <a:pt x="140" y="90"/>
                      <a:pt x="140" y="90"/>
                      <a:pt x="140" y="90"/>
                    </a:cubicBezTo>
                    <a:cubicBezTo>
                      <a:pt x="138" y="92"/>
                      <a:pt x="136" y="94"/>
                      <a:pt x="134" y="96"/>
                    </a:cubicBezTo>
                    <a:cubicBezTo>
                      <a:pt x="133" y="97"/>
                      <a:pt x="133" y="97"/>
                      <a:pt x="133" y="97"/>
                    </a:cubicBezTo>
                    <a:cubicBezTo>
                      <a:pt x="132" y="97"/>
                      <a:pt x="132" y="98"/>
                      <a:pt x="131" y="99"/>
                    </a:cubicBezTo>
                    <a:cubicBezTo>
                      <a:pt x="128" y="101"/>
                      <a:pt x="122" y="102"/>
                      <a:pt x="117" y="103"/>
                    </a:cubicBezTo>
                    <a:cubicBezTo>
                      <a:pt x="116" y="103"/>
                      <a:pt x="114" y="103"/>
                      <a:pt x="113" y="103"/>
                    </a:cubicBezTo>
                    <a:cubicBezTo>
                      <a:pt x="94" y="107"/>
                      <a:pt x="94" y="107"/>
                      <a:pt x="94" y="107"/>
                    </a:cubicBezTo>
                    <a:cubicBezTo>
                      <a:pt x="94" y="120"/>
                      <a:pt x="94" y="120"/>
                      <a:pt x="94" y="120"/>
                    </a:cubicBezTo>
                    <a:cubicBezTo>
                      <a:pt x="94" y="126"/>
                      <a:pt x="94" y="133"/>
                      <a:pt x="94" y="139"/>
                    </a:cubicBezTo>
                    <a:cubicBezTo>
                      <a:pt x="94" y="145"/>
                      <a:pt x="94" y="145"/>
                      <a:pt x="94" y="145"/>
                    </a:cubicBezTo>
                    <a:cubicBezTo>
                      <a:pt x="94" y="153"/>
                      <a:pt x="94" y="160"/>
                      <a:pt x="93" y="169"/>
                    </a:cubicBezTo>
                    <a:cubicBezTo>
                      <a:pt x="93" y="170"/>
                      <a:pt x="93" y="171"/>
                      <a:pt x="92" y="172"/>
                    </a:cubicBezTo>
                    <a:cubicBezTo>
                      <a:pt x="92" y="175"/>
                      <a:pt x="90" y="178"/>
                      <a:pt x="89" y="180"/>
                    </a:cubicBezTo>
                    <a:cubicBezTo>
                      <a:pt x="88" y="183"/>
                      <a:pt x="88" y="183"/>
                      <a:pt x="88" y="183"/>
                    </a:cubicBezTo>
                    <a:cubicBezTo>
                      <a:pt x="88" y="183"/>
                      <a:pt x="88" y="184"/>
                      <a:pt x="87" y="184"/>
                    </a:cubicBezTo>
                    <a:cubicBezTo>
                      <a:pt x="86" y="187"/>
                      <a:pt x="85" y="189"/>
                      <a:pt x="84" y="191"/>
                    </a:cubicBezTo>
                    <a:cubicBezTo>
                      <a:pt x="83" y="192"/>
                      <a:pt x="83" y="192"/>
                      <a:pt x="82" y="193"/>
                    </a:cubicBezTo>
                    <a:cubicBezTo>
                      <a:pt x="80" y="195"/>
                      <a:pt x="77" y="198"/>
                      <a:pt x="74" y="199"/>
                    </a:cubicBezTo>
                    <a:cubicBezTo>
                      <a:pt x="74" y="199"/>
                      <a:pt x="74" y="199"/>
                      <a:pt x="73" y="199"/>
                    </a:cubicBezTo>
                    <a:cubicBezTo>
                      <a:pt x="72" y="199"/>
                      <a:pt x="71" y="199"/>
                      <a:pt x="71" y="199"/>
                    </a:cubicBezTo>
                    <a:cubicBezTo>
                      <a:pt x="70" y="199"/>
                      <a:pt x="70" y="199"/>
                      <a:pt x="70" y="199"/>
                    </a:cubicBezTo>
                    <a:cubicBezTo>
                      <a:pt x="70" y="199"/>
                      <a:pt x="70" y="199"/>
                      <a:pt x="70" y="199"/>
                    </a:cubicBezTo>
                    <a:cubicBezTo>
                      <a:pt x="69" y="199"/>
                      <a:pt x="69" y="199"/>
                      <a:pt x="69" y="199"/>
                    </a:cubicBezTo>
                    <a:cubicBezTo>
                      <a:pt x="68" y="199"/>
                      <a:pt x="68" y="199"/>
                      <a:pt x="67" y="199"/>
                    </a:cubicBezTo>
                    <a:cubicBezTo>
                      <a:pt x="66" y="199"/>
                      <a:pt x="66" y="199"/>
                      <a:pt x="66" y="199"/>
                    </a:cubicBezTo>
                    <a:cubicBezTo>
                      <a:pt x="65" y="199"/>
                      <a:pt x="64" y="199"/>
                      <a:pt x="63" y="199"/>
                    </a:cubicBezTo>
                    <a:cubicBezTo>
                      <a:pt x="62" y="200"/>
                      <a:pt x="61" y="200"/>
                      <a:pt x="60" y="200"/>
                    </a:cubicBezTo>
                    <a:cubicBezTo>
                      <a:pt x="59" y="200"/>
                      <a:pt x="58" y="200"/>
                      <a:pt x="57" y="200"/>
                    </a:cubicBezTo>
                    <a:cubicBezTo>
                      <a:pt x="56" y="199"/>
                      <a:pt x="56" y="199"/>
                      <a:pt x="56" y="199"/>
                    </a:cubicBezTo>
                    <a:cubicBezTo>
                      <a:pt x="55" y="199"/>
                      <a:pt x="54" y="199"/>
                      <a:pt x="54" y="199"/>
                    </a:cubicBezTo>
                    <a:cubicBezTo>
                      <a:pt x="45" y="200"/>
                      <a:pt x="35" y="200"/>
                      <a:pt x="25" y="201"/>
                    </a:cubicBezTo>
                    <a:cubicBezTo>
                      <a:pt x="21" y="201"/>
                      <a:pt x="16" y="203"/>
                      <a:pt x="12" y="205"/>
                    </a:cubicBezTo>
                    <a:cubicBezTo>
                      <a:pt x="10" y="206"/>
                      <a:pt x="8" y="206"/>
                      <a:pt x="6" y="207"/>
                    </a:cubicBezTo>
                    <a:cubicBezTo>
                      <a:pt x="5" y="207"/>
                      <a:pt x="5" y="208"/>
                      <a:pt x="4" y="208"/>
                    </a:cubicBezTo>
                    <a:cubicBezTo>
                      <a:pt x="3" y="208"/>
                      <a:pt x="2" y="209"/>
                      <a:pt x="1" y="209"/>
                    </a:cubicBezTo>
                    <a:cubicBezTo>
                      <a:pt x="1" y="209"/>
                      <a:pt x="1" y="209"/>
                      <a:pt x="1" y="209"/>
                    </a:cubicBezTo>
                    <a:cubicBezTo>
                      <a:pt x="1" y="210"/>
                      <a:pt x="1" y="210"/>
                      <a:pt x="1" y="210"/>
                    </a:cubicBezTo>
                    <a:cubicBezTo>
                      <a:pt x="0" y="210"/>
                      <a:pt x="0" y="210"/>
                      <a:pt x="0" y="210"/>
                    </a:cubicBezTo>
                    <a:cubicBezTo>
                      <a:pt x="0" y="218"/>
                      <a:pt x="0" y="218"/>
                      <a:pt x="0" y="218"/>
                    </a:cubicBezTo>
                    <a:cubicBezTo>
                      <a:pt x="0" y="219"/>
                      <a:pt x="1" y="220"/>
                      <a:pt x="1" y="220"/>
                    </a:cubicBezTo>
                    <a:cubicBezTo>
                      <a:pt x="1" y="221"/>
                      <a:pt x="1" y="221"/>
                      <a:pt x="1" y="221"/>
                    </a:cubicBezTo>
                    <a:cubicBezTo>
                      <a:pt x="2" y="222"/>
                      <a:pt x="4" y="223"/>
                      <a:pt x="4" y="225"/>
                    </a:cubicBezTo>
                    <a:cubicBezTo>
                      <a:pt x="5" y="226"/>
                      <a:pt x="5" y="228"/>
                      <a:pt x="6" y="229"/>
                    </a:cubicBezTo>
                    <a:cubicBezTo>
                      <a:pt x="6" y="231"/>
                      <a:pt x="6" y="232"/>
                      <a:pt x="7" y="233"/>
                    </a:cubicBezTo>
                    <a:cubicBezTo>
                      <a:pt x="8" y="234"/>
                      <a:pt x="8" y="234"/>
                      <a:pt x="8" y="234"/>
                    </a:cubicBezTo>
                    <a:cubicBezTo>
                      <a:pt x="8" y="234"/>
                      <a:pt x="8" y="234"/>
                      <a:pt x="11" y="235"/>
                    </a:cubicBezTo>
                    <a:cubicBezTo>
                      <a:pt x="11" y="235"/>
                      <a:pt x="11" y="235"/>
                      <a:pt x="11" y="235"/>
                    </a:cubicBezTo>
                    <a:cubicBezTo>
                      <a:pt x="11" y="235"/>
                      <a:pt x="12" y="235"/>
                      <a:pt x="12" y="235"/>
                    </a:cubicBezTo>
                    <a:cubicBezTo>
                      <a:pt x="15" y="236"/>
                      <a:pt x="16" y="237"/>
                      <a:pt x="19" y="239"/>
                    </a:cubicBezTo>
                    <a:cubicBezTo>
                      <a:pt x="21" y="240"/>
                      <a:pt x="22" y="241"/>
                      <a:pt x="23" y="242"/>
                    </a:cubicBezTo>
                    <a:cubicBezTo>
                      <a:pt x="36" y="254"/>
                      <a:pt x="36" y="254"/>
                      <a:pt x="36" y="254"/>
                    </a:cubicBezTo>
                    <a:cubicBezTo>
                      <a:pt x="20" y="247"/>
                      <a:pt x="20" y="247"/>
                      <a:pt x="20" y="247"/>
                    </a:cubicBezTo>
                    <a:cubicBezTo>
                      <a:pt x="20" y="247"/>
                      <a:pt x="20" y="247"/>
                      <a:pt x="20" y="247"/>
                    </a:cubicBezTo>
                    <a:cubicBezTo>
                      <a:pt x="20" y="248"/>
                      <a:pt x="19" y="248"/>
                      <a:pt x="19" y="248"/>
                    </a:cubicBezTo>
                    <a:cubicBezTo>
                      <a:pt x="18" y="248"/>
                      <a:pt x="18" y="248"/>
                      <a:pt x="18" y="248"/>
                    </a:cubicBezTo>
                    <a:cubicBezTo>
                      <a:pt x="18" y="248"/>
                      <a:pt x="18" y="248"/>
                      <a:pt x="18" y="248"/>
                    </a:cubicBezTo>
                    <a:cubicBezTo>
                      <a:pt x="17" y="250"/>
                      <a:pt x="17" y="250"/>
                      <a:pt x="17" y="250"/>
                    </a:cubicBezTo>
                    <a:cubicBezTo>
                      <a:pt x="17" y="250"/>
                      <a:pt x="17" y="250"/>
                      <a:pt x="17" y="250"/>
                    </a:cubicBezTo>
                    <a:cubicBezTo>
                      <a:pt x="18" y="251"/>
                      <a:pt x="18" y="251"/>
                      <a:pt x="18" y="251"/>
                    </a:cubicBezTo>
                    <a:cubicBezTo>
                      <a:pt x="19" y="252"/>
                      <a:pt x="19" y="252"/>
                      <a:pt x="19" y="252"/>
                    </a:cubicBezTo>
                    <a:cubicBezTo>
                      <a:pt x="19" y="252"/>
                      <a:pt x="19" y="252"/>
                      <a:pt x="19" y="252"/>
                    </a:cubicBezTo>
                    <a:cubicBezTo>
                      <a:pt x="21" y="253"/>
                      <a:pt x="23" y="254"/>
                      <a:pt x="25" y="255"/>
                    </a:cubicBezTo>
                    <a:cubicBezTo>
                      <a:pt x="26" y="255"/>
                      <a:pt x="27" y="256"/>
                      <a:pt x="28" y="256"/>
                    </a:cubicBezTo>
                    <a:cubicBezTo>
                      <a:pt x="28" y="256"/>
                      <a:pt x="29" y="257"/>
                      <a:pt x="29" y="257"/>
                    </a:cubicBezTo>
                    <a:cubicBezTo>
                      <a:pt x="31" y="258"/>
                      <a:pt x="32" y="259"/>
                      <a:pt x="32" y="259"/>
                    </a:cubicBezTo>
                    <a:cubicBezTo>
                      <a:pt x="34" y="259"/>
                      <a:pt x="34" y="259"/>
                      <a:pt x="34" y="259"/>
                    </a:cubicBezTo>
                    <a:cubicBezTo>
                      <a:pt x="36" y="258"/>
                      <a:pt x="38" y="258"/>
                      <a:pt x="40" y="258"/>
                    </a:cubicBezTo>
                    <a:cubicBezTo>
                      <a:pt x="40" y="258"/>
                      <a:pt x="40" y="258"/>
                      <a:pt x="41" y="258"/>
                    </a:cubicBezTo>
                    <a:cubicBezTo>
                      <a:pt x="41" y="258"/>
                      <a:pt x="42" y="258"/>
                      <a:pt x="42" y="258"/>
                    </a:cubicBezTo>
                    <a:cubicBezTo>
                      <a:pt x="44" y="259"/>
                      <a:pt x="45" y="260"/>
                      <a:pt x="46" y="261"/>
                    </a:cubicBezTo>
                    <a:cubicBezTo>
                      <a:pt x="46" y="262"/>
                      <a:pt x="47" y="263"/>
                      <a:pt x="47" y="264"/>
                    </a:cubicBezTo>
                    <a:cubicBezTo>
                      <a:pt x="47" y="265"/>
                      <a:pt x="47" y="266"/>
                      <a:pt x="47" y="267"/>
                    </a:cubicBezTo>
                    <a:cubicBezTo>
                      <a:pt x="46" y="268"/>
                      <a:pt x="46" y="269"/>
                      <a:pt x="45" y="269"/>
                    </a:cubicBezTo>
                    <a:cubicBezTo>
                      <a:pt x="44" y="270"/>
                      <a:pt x="44" y="270"/>
                      <a:pt x="44" y="270"/>
                    </a:cubicBezTo>
                    <a:cubicBezTo>
                      <a:pt x="45" y="270"/>
                      <a:pt x="45" y="270"/>
                      <a:pt x="45" y="270"/>
                    </a:cubicBezTo>
                    <a:cubicBezTo>
                      <a:pt x="45" y="271"/>
                      <a:pt x="45" y="271"/>
                      <a:pt x="45" y="271"/>
                    </a:cubicBezTo>
                    <a:cubicBezTo>
                      <a:pt x="45" y="270"/>
                      <a:pt x="46" y="269"/>
                      <a:pt x="47" y="268"/>
                    </a:cubicBezTo>
                    <a:cubicBezTo>
                      <a:pt x="48" y="268"/>
                      <a:pt x="48" y="268"/>
                      <a:pt x="48" y="268"/>
                    </a:cubicBezTo>
                    <a:cubicBezTo>
                      <a:pt x="49" y="267"/>
                      <a:pt x="50" y="267"/>
                      <a:pt x="50" y="267"/>
                    </a:cubicBezTo>
                    <a:cubicBezTo>
                      <a:pt x="51" y="267"/>
                      <a:pt x="51" y="267"/>
                      <a:pt x="51" y="267"/>
                    </a:cubicBezTo>
                    <a:cubicBezTo>
                      <a:pt x="53" y="266"/>
                      <a:pt x="54" y="266"/>
                      <a:pt x="56" y="265"/>
                    </a:cubicBezTo>
                    <a:cubicBezTo>
                      <a:pt x="56" y="265"/>
                      <a:pt x="57" y="265"/>
                      <a:pt x="57" y="265"/>
                    </a:cubicBezTo>
                    <a:cubicBezTo>
                      <a:pt x="57" y="265"/>
                      <a:pt x="57" y="265"/>
                      <a:pt x="57" y="265"/>
                    </a:cubicBezTo>
                    <a:cubicBezTo>
                      <a:pt x="58" y="265"/>
                      <a:pt x="58" y="265"/>
                      <a:pt x="58" y="265"/>
                    </a:cubicBezTo>
                    <a:cubicBezTo>
                      <a:pt x="58" y="265"/>
                      <a:pt x="59" y="265"/>
                      <a:pt x="60" y="265"/>
                    </a:cubicBezTo>
                    <a:cubicBezTo>
                      <a:pt x="61" y="266"/>
                      <a:pt x="61" y="266"/>
                      <a:pt x="61" y="266"/>
                    </a:cubicBezTo>
                    <a:cubicBezTo>
                      <a:pt x="62" y="267"/>
                      <a:pt x="62" y="268"/>
                      <a:pt x="63" y="269"/>
                    </a:cubicBezTo>
                    <a:cubicBezTo>
                      <a:pt x="66" y="272"/>
                      <a:pt x="70" y="276"/>
                      <a:pt x="73" y="279"/>
                    </a:cubicBezTo>
                    <a:cubicBezTo>
                      <a:pt x="73" y="279"/>
                      <a:pt x="73" y="279"/>
                      <a:pt x="73" y="279"/>
                    </a:cubicBezTo>
                    <a:cubicBezTo>
                      <a:pt x="74" y="275"/>
                      <a:pt x="74" y="271"/>
                      <a:pt x="74" y="268"/>
                    </a:cubicBezTo>
                    <a:cubicBezTo>
                      <a:pt x="74" y="267"/>
                      <a:pt x="75" y="267"/>
                      <a:pt x="75" y="266"/>
                    </a:cubicBezTo>
                    <a:cubicBezTo>
                      <a:pt x="75" y="266"/>
                      <a:pt x="75" y="266"/>
                      <a:pt x="75" y="266"/>
                    </a:cubicBezTo>
                    <a:cubicBezTo>
                      <a:pt x="75" y="265"/>
                      <a:pt x="75" y="265"/>
                      <a:pt x="75" y="265"/>
                    </a:cubicBezTo>
                    <a:cubicBezTo>
                      <a:pt x="75" y="264"/>
                      <a:pt x="75" y="263"/>
                      <a:pt x="76" y="263"/>
                    </a:cubicBezTo>
                    <a:cubicBezTo>
                      <a:pt x="76" y="262"/>
                      <a:pt x="76" y="262"/>
                      <a:pt x="76" y="262"/>
                    </a:cubicBezTo>
                    <a:cubicBezTo>
                      <a:pt x="77" y="261"/>
                      <a:pt x="77" y="261"/>
                      <a:pt x="77" y="261"/>
                    </a:cubicBezTo>
                    <a:cubicBezTo>
                      <a:pt x="78" y="259"/>
                      <a:pt x="78" y="259"/>
                      <a:pt x="78" y="259"/>
                    </a:cubicBezTo>
                    <a:cubicBezTo>
                      <a:pt x="74" y="256"/>
                      <a:pt x="74" y="256"/>
                      <a:pt x="74" y="256"/>
                    </a:cubicBezTo>
                    <a:cubicBezTo>
                      <a:pt x="79" y="258"/>
                      <a:pt x="79" y="258"/>
                      <a:pt x="79" y="258"/>
                    </a:cubicBezTo>
                    <a:cubicBezTo>
                      <a:pt x="79" y="258"/>
                      <a:pt x="79" y="258"/>
                      <a:pt x="79" y="258"/>
                    </a:cubicBezTo>
                    <a:cubicBezTo>
                      <a:pt x="80" y="258"/>
                      <a:pt x="80" y="257"/>
                      <a:pt x="80" y="257"/>
                    </a:cubicBezTo>
                    <a:cubicBezTo>
                      <a:pt x="85" y="247"/>
                      <a:pt x="85" y="247"/>
                      <a:pt x="85" y="247"/>
                    </a:cubicBezTo>
                    <a:cubicBezTo>
                      <a:pt x="85" y="247"/>
                      <a:pt x="85" y="247"/>
                      <a:pt x="85" y="246"/>
                    </a:cubicBezTo>
                    <a:cubicBezTo>
                      <a:pt x="85" y="246"/>
                      <a:pt x="85" y="245"/>
                      <a:pt x="85" y="245"/>
                    </a:cubicBezTo>
                    <a:cubicBezTo>
                      <a:pt x="86" y="243"/>
                      <a:pt x="86" y="242"/>
                      <a:pt x="87" y="240"/>
                    </a:cubicBezTo>
                    <a:cubicBezTo>
                      <a:pt x="89" y="238"/>
                      <a:pt x="96" y="234"/>
                      <a:pt x="99" y="233"/>
                    </a:cubicBezTo>
                    <a:cubicBezTo>
                      <a:pt x="102" y="232"/>
                      <a:pt x="104" y="232"/>
                      <a:pt x="106" y="232"/>
                    </a:cubicBezTo>
                    <a:cubicBezTo>
                      <a:pt x="110" y="231"/>
                      <a:pt x="115" y="229"/>
                      <a:pt x="120" y="229"/>
                    </a:cubicBezTo>
                    <a:cubicBezTo>
                      <a:pt x="121" y="229"/>
                      <a:pt x="121" y="229"/>
                      <a:pt x="121" y="229"/>
                    </a:cubicBezTo>
                    <a:cubicBezTo>
                      <a:pt x="122" y="229"/>
                      <a:pt x="122" y="229"/>
                      <a:pt x="122" y="229"/>
                    </a:cubicBezTo>
                    <a:cubicBezTo>
                      <a:pt x="122" y="229"/>
                      <a:pt x="122" y="229"/>
                      <a:pt x="122" y="229"/>
                    </a:cubicBezTo>
                    <a:cubicBezTo>
                      <a:pt x="122" y="229"/>
                      <a:pt x="122" y="229"/>
                      <a:pt x="122" y="229"/>
                    </a:cubicBezTo>
                    <a:cubicBezTo>
                      <a:pt x="123" y="229"/>
                      <a:pt x="124" y="229"/>
                      <a:pt x="125" y="230"/>
                    </a:cubicBezTo>
                    <a:cubicBezTo>
                      <a:pt x="126" y="230"/>
                      <a:pt x="127" y="230"/>
                      <a:pt x="128" y="231"/>
                    </a:cubicBezTo>
                    <a:cubicBezTo>
                      <a:pt x="129" y="231"/>
                      <a:pt x="130" y="232"/>
                      <a:pt x="131" y="232"/>
                    </a:cubicBezTo>
                    <a:cubicBezTo>
                      <a:pt x="131" y="232"/>
                      <a:pt x="132" y="232"/>
                      <a:pt x="133" y="232"/>
                    </a:cubicBezTo>
                    <a:cubicBezTo>
                      <a:pt x="133" y="232"/>
                      <a:pt x="133" y="232"/>
                      <a:pt x="133" y="232"/>
                    </a:cubicBezTo>
                    <a:cubicBezTo>
                      <a:pt x="136" y="233"/>
                      <a:pt x="140" y="233"/>
                      <a:pt x="142" y="235"/>
                    </a:cubicBezTo>
                    <a:cubicBezTo>
                      <a:pt x="144" y="237"/>
                      <a:pt x="144" y="237"/>
                      <a:pt x="144" y="237"/>
                    </a:cubicBezTo>
                    <a:cubicBezTo>
                      <a:pt x="145" y="238"/>
                      <a:pt x="147" y="239"/>
                      <a:pt x="148" y="240"/>
                    </a:cubicBezTo>
                    <a:cubicBezTo>
                      <a:pt x="157" y="250"/>
                      <a:pt x="157" y="250"/>
                      <a:pt x="157" y="250"/>
                    </a:cubicBezTo>
                    <a:cubicBezTo>
                      <a:pt x="158" y="250"/>
                      <a:pt x="158" y="250"/>
                      <a:pt x="158" y="250"/>
                    </a:cubicBezTo>
                    <a:cubicBezTo>
                      <a:pt x="160" y="249"/>
                      <a:pt x="160" y="249"/>
                      <a:pt x="160" y="249"/>
                    </a:cubicBezTo>
                    <a:cubicBezTo>
                      <a:pt x="160" y="248"/>
                      <a:pt x="161" y="248"/>
                      <a:pt x="161" y="248"/>
                    </a:cubicBezTo>
                    <a:cubicBezTo>
                      <a:pt x="162" y="247"/>
                      <a:pt x="163" y="247"/>
                      <a:pt x="164" y="246"/>
                    </a:cubicBezTo>
                    <a:cubicBezTo>
                      <a:pt x="165" y="246"/>
                      <a:pt x="165" y="246"/>
                      <a:pt x="165" y="246"/>
                    </a:cubicBezTo>
                    <a:cubicBezTo>
                      <a:pt x="168" y="244"/>
                      <a:pt x="171" y="243"/>
                      <a:pt x="175" y="242"/>
                    </a:cubicBezTo>
                    <a:cubicBezTo>
                      <a:pt x="176" y="242"/>
                      <a:pt x="177" y="242"/>
                      <a:pt x="177" y="242"/>
                    </a:cubicBezTo>
                    <a:cubicBezTo>
                      <a:pt x="178" y="242"/>
                      <a:pt x="178" y="242"/>
                      <a:pt x="179" y="242"/>
                    </a:cubicBezTo>
                    <a:cubicBezTo>
                      <a:pt x="179" y="242"/>
                      <a:pt x="179" y="242"/>
                      <a:pt x="179" y="242"/>
                    </a:cubicBezTo>
                    <a:cubicBezTo>
                      <a:pt x="180" y="242"/>
                      <a:pt x="180" y="242"/>
                      <a:pt x="181" y="242"/>
                    </a:cubicBezTo>
                    <a:cubicBezTo>
                      <a:pt x="182" y="243"/>
                      <a:pt x="182" y="243"/>
                      <a:pt x="182" y="243"/>
                    </a:cubicBezTo>
                    <a:cubicBezTo>
                      <a:pt x="182" y="243"/>
                      <a:pt x="182" y="243"/>
                      <a:pt x="183" y="243"/>
                    </a:cubicBezTo>
                    <a:cubicBezTo>
                      <a:pt x="185" y="244"/>
                      <a:pt x="187" y="245"/>
                      <a:pt x="189" y="246"/>
                    </a:cubicBezTo>
                    <a:cubicBezTo>
                      <a:pt x="190" y="247"/>
                      <a:pt x="191" y="247"/>
                      <a:pt x="192" y="248"/>
                    </a:cubicBezTo>
                    <a:cubicBezTo>
                      <a:pt x="198" y="251"/>
                      <a:pt x="198" y="251"/>
                      <a:pt x="198" y="251"/>
                    </a:cubicBezTo>
                    <a:cubicBezTo>
                      <a:pt x="201" y="252"/>
                      <a:pt x="205" y="254"/>
                      <a:pt x="210" y="254"/>
                    </a:cubicBezTo>
                    <a:cubicBezTo>
                      <a:pt x="211" y="254"/>
                      <a:pt x="211" y="254"/>
                      <a:pt x="211" y="254"/>
                    </a:cubicBezTo>
                    <a:cubicBezTo>
                      <a:pt x="211" y="254"/>
                      <a:pt x="211" y="254"/>
                      <a:pt x="211" y="254"/>
                    </a:cubicBezTo>
                    <a:cubicBezTo>
                      <a:pt x="212" y="254"/>
                      <a:pt x="212" y="254"/>
                      <a:pt x="212" y="254"/>
                    </a:cubicBezTo>
                    <a:cubicBezTo>
                      <a:pt x="213" y="254"/>
                      <a:pt x="213" y="254"/>
                      <a:pt x="213" y="254"/>
                    </a:cubicBezTo>
                    <a:cubicBezTo>
                      <a:pt x="214" y="254"/>
                      <a:pt x="214" y="254"/>
                      <a:pt x="214" y="254"/>
                    </a:cubicBezTo>
                    <a:cubicBezTo>
                      <a:pt x="215" y="255"/>
                      <a:pt x="215" y="255"/>
                      <a:pt x="216" y="255"/>
                    </a:cubicBezTo>
                    <a:cubicBezTo>
                      <a:pt x="216" y="255"/>
                      <a:pt x="216" y="255"/>
                      <a:pt x="216" y="255"/>
                    </a:cubicBezTo>
                    <a:cubicBezTo>
                      <a:pt x="217" y="254"/>
                      <a:pt x="217" y="254"/>
                      <a:pt x="217" y="254"/>
                    </a:cubicBezTo>
                    <a:cubicBezTo>
                      <a:pt x="217" y="254"/>
                      <a:pt x="217" y="254"/>
                      <a:pt x="218" y="254"/>
                    </a:cubicBezTo>
                    <a:cubicBezTo>
                      <a:pt x="220" y="251"/>
                      <a:pt x="220" y="251"/>
                      <a:pt x="220" y="251"/>
                    </a:cubicBezTo>
                    <a:cubicBezTo>
                      <a:pt x="222" y="249"/>
                      <a:pt x="223" y="248"/>
                      <a:pt x="225" y="246"/>
                    </a:cubicBezTo>
                    <a:cubicBezTo>
                      <a:pt x="227" y="245"/>
                      <a:pt x="230" y="243"/>
                      <a:pt x="234" y="242"/>
                    </a:cubicBezTo>
                    <a:cubicBezTo>
                      <a:pt x="237" y="241"/>
                      <a:pt x="240" y="241"/>
                      <a:pt x="242" y="241"/>
                    </a:cubicBezTo>
                    <a:cubicBezTo>
                      <a:pt x="244" y="241"/>
                      <a:pt x="246" y="241"/>
                      <a:pt x="247" y="241"/>
                    </a:cubicBezTo>
                    <a:cubicBezTo>
                      <a:pt x="249" y="241"/>
                      <a:pt x="251" y="241"/>
                      <a:pt x="253" y="241"/>
                    </a:cubicBezTo>
                    <a:cubicBezTo>
                      <a:pt x="254" y="241"/>
                      <a:pt x="254" y="241"/>
                      <a:pt x="254" y="241"/>
                    </a:cubicBezTo>
                    <a:cubicBezTo>
                      <a:pt x="256" y="241"/>
                      <a:pt x="258" y="241"/>
                      <a:pt x="260" y="241"/>
                    </a:cubicBezTo>
                    <a:cubicBezTo>
                      <a:pt x="261" y="241"/>
                      <a:pt x="261" y="241"/>
                      <a:pt x="261" y="241"/>
                    </a:cubicBezTo>
                    <a:cubicBezTo>
                      <a:pt x="262" y="242"/>
                      <a:pt x="264" y="242"/>
                      <a:pt x="266" y="242"/>
                    </a:cubicBezTo>
                    <a:cubicBezTo>
                      <a:pt x="269" y="243"/>
                      <a:pt x="269" y="243"/>
                      <a:pt x="269" y="243"/>
                    </a:cubicBezTo>
                    <a:cubicBezTo>
                      <a:pt x="270" y="244"/>
                      <a:pt x="271" y="244"/>
                      <a:pt x="271" y="244"/>
                    </a:cubicBezTo>
                    <a:cubicBezTo>
                      <a:pt x="272" y="244"/>
                      <a:pt x="272" y="244"/>
                      <a:pt x="272" y="244"/>
                    </a:cubicBezTo>
                    <a:cubicBezTo>
                      <a:pt x="283" y="248"/>
                      <a:pt x="283" y="248"/>
                      <a:pt x="283" y="248"/>
                    </a:cubicBezTo>
                    <a:cubicBezTo>
                      <a:pt x="289" y="242"/>
                      <a:pt x="289" y="242"/>
                      <a:pt x="289" y="242"/>
                    </a:cubicBezTo>
                    <a:cubicBezTo>
                      <a:pt x="289" y="241"/>
                      <a:pt x="289" y="241"/>
                      <a:pt x="289" y="241"/>
                    </a:cubicBezTo>
                    <a:cubicBezTo>
                      <a:pt x="290" y="241"/>
                      <a:pt x="290" y="241"/>
                      <a:pt x="290" y="241"/>
                    </a:cubicBezTo>
                    <a:cubicBezTo>
                      <a:pt x="290" y="240"/>
                      <a:pt x="292" y="239"/>
                      <a:pt x="293" y="238"/>
                    </a:cubicBezTo>
                    <a:cubicBezTo>
                      <a:pt x="293" y="238"/>
                      <a:pt x="293" y="238"/>
                      <a:pt x="293" y="238"/>
                    </a:cubicBezTo>
                    <a:cubicBezTo>
                      <a:pt x="294" y="238"/>
                      <a:pt x="294" y="238"/>
                      <a:pt x="294" y="238"/>
                    </a:cubicBezTo>
                    <a:cubicBezTo>
                      <a:pt x="295" y="237"/>
                      <a:pt x="295" y="237"/>
                      <a:pt x="295" y="237"/>
                    </a:cubicBezTo>
                    <a:cubicBezTo>
                      <a:pt x="296" y="237"/>
                      <a:pt x="296" y="237"/>
                      <a:pt x="297" y="236"/>
                    </a:cubicBezTo>
                    <a:cubicBezTo>
                      <a:pt x="298" y="236"/>
                      <a:pt x="298" y="236"/>
                      <a:pt x="298" y="236"/>
                    </a:cubicBezTo>
                    <a:cubicBezTo>
                      <a:pt x="298" y="236"/>
                      <a:pt x="299" y="235"/>
                      <a:pt x="299" y="235"/>
                    </a:cubicBezTo>
                    <a:cubicBezTo>
                      <a:pt x="301" y="235"/>
                      <a:pt x="302" y="234"/>
                      <a:pt x="304" y="234"/>
                    </a:cubicBezTo>
                    <a:cubicBezTo>
                      <a:pt x="304" y="233"/>
                      <a:pt x="305" y="233"/>
                      <a:pt x="306" y="233"/>
                    </a:cubicBezTo>
                    <a:cubicBezTo>
                      <a:pt x="307" y="233"/>
                      <a:pt x="308" y="233"/>
                      <a:pt x="308" y="233"/>
                    </a:cubicBezTo>
                    <a:cubicBezTo>
                      <a:pt x="308" y="232"/>
                      <a:pt x="308" y="230"/>
                      <a:pt x="307" y="229"/>
                    </a:cubicBezTo>
                    <a:cubicBezTo>
                      <a:pt x="307" y="226"/>
                      <a:pt x="306" y="223"/>
                      <a:pt x="305" y="219"/>
                    </a:cubicBezTo>
                    <a:cubicBezTo>
                      <a:pt x="305" y="218"/>
                      <a:pt x="305" y="218"/>
                      <a:pt x="306" y="217"/>
                    </a:cubicBezTo>
                    <a:cubicBezTo>
                      <a:pt x="306" y="217"/>
                      <a:pt x="306" y="217"/>
                      <a:pt x="306" y="217"/>
                    </a:cubicBezTo>
                    <a:cubicBezTo>
                      <a:pt x="306" y="216"/>
                      <a:pt x="306" y="216"/>
                      <a:pt x="306" y="216"/>
                    </a:cubicBezTo>
                    <a:cubicBezTo>
                      <a:pt x="308" y="214"/>
                      <a:pt x="308" y="214"/>
                      <a:pt x="308" y="214"/>
                    </a:cubicBezTo>
                    <a:cubicBezTo>
                      <a:pt x="308" y="215"/>
                      <a:pt x="308" y="215"/>
                      <a:pt x="308" y="215"/>
                    </a:cubicBezTo>
                    <a:cubicBezTo>
                      <a:pt x="309" y="214"/>
                      <a:pt x="309" y="214"/>
                      <a:pt x="310" y="214"/>
                    </a:cubicBezTo>
                    <a:cubicBezTo>
                      <a:pt x="310" y="214"/>
                      <a:pt x="310" y="214"/>
                      <a:pt x="310" y="214"/>
                    </a:cubicBezTo>
                    <a:cubicBezTo>
                      <a:pt x="321" y="195"/>
                      <a:pt x="321" y="195"/>
                      <a:pt x="321" y="195"/>
                    </a:cubicBezTo>
                    <a:cubicBezTo>
                      <a:pt x="325" y="188"/>
                      <a:pt x="329" y="184"/>
                      <a:pt x="333" y="179"/>
                    </a:cubicBezTo>
                    <a:cubicBezTo>
                      <a:pt x="334" y="178"/>
                      <a:pt x="334" y="178"/>
                      <a:pt x="334" y="178"/>
                    </a:cubicBezTo>
                    <a:cubicBezTo>
                      <a:pt x="337" y="175"/>
                      <a:pt x="341" y="171"/>
                      <a:pt x="344" y="167"/>
                    </a:cubicBezTo>
                    <a:cubicBezTo>
                      <a:pt x="350" y="161"/>
                      <a:pt x="350" y="161"/>
                      <a:pt x="350" y="161"/>
                    </a:cubicBezTo>
                    <a:cubicBezTo>
                      <a:pt x="350" y="161"/>
                      <a:pt x="351" y="160"/>
                      <a:pt x="351" y="160"/>
                    </a:cubicBezTo>
                    <a:cubicBezTo>
                      <a:pt x="351" y="160"/>
                      <a:pt x="351" y="160"/>
                      <a:pt x="351" y="160"/>
                    </a:cubicBezTo>
                    <a:cubicBezTo>
                      <a:pt x="352" y="159"/>
                      <a:pt x="352" y="159"/>
                      <a:pt x="353" y="158"/>
                    </a:cubicBezTo>
                    <a:cubicBezTo>
                      <a:pt x="353" y="158"/>
                      <a:pt x="353" y="158"/>
                      <a:pt x="353" y="158"/>
                    </a:cubicBezTo>
                    <a:cubicBezTo>
                      <a:pt x="353" y="157"/>
                      <a:pt x="353" y="156"/>
                      <a:pt x="353" y="155"/>
                    </a:cubicBezTo>
                    <a:cubicBezTo>
                      <a:pt x="353" y="155"/>
                      <a:pt x="353" y="154"/>
                      <a:pt x="353" y="154"/>
                    </a:cubicBezTo>
                    <a:cubicBezTo>
                      <a:pt x="354" y="140"/>
                      <a:pt x="354" y="140"/>
                      <a:pt x="354" y="140"/>
                    </a:cubicBezTo>
                    <a:cubicBezTo>
                      <a:pt x="350" y="139"/>
                      <a:pt x="350" y="139"/>
                      <a:pt x="350" y="139"/>
                    </a:cubicBezTo>
                    <a:cubicBezTo>
                      <a:pt x="354" y="138"/>
                      <a:pt x="354" y="138"/>
                      <a:pt x="354" y="138"/>
                    </a:cubicBezTo>
                    <a:cubicBezTo>
                      <a:pt x="354" y="138"/>
                      <a:pt x="354" y="138"/>
                      <a:pt x="354" y="138"/>
                    </a:cubicBezTo>
                    <a:cubicBezTo>
                      <a:pt x="355" y="126"/>
                      <a:pt x="356" y="110"/>
                      <a:pt x="358" y="96"/>
                    </a:cubicBezTo>
                    <a:cubicBezTo>
                      <a:pt x="358" y="94"/>
                      <a:pt x="358" y="94"/>
                      <a:pt x="358" y="94"/>
                    </a:cubicBezTo>
                    <a:cubicBezTo>
                      <a:pt x="358" y="89"/>
                      <a:pt x="359" y="85"/>
                      <a:pt x="362" y="79"/>
                    </a:cubicBezTo>
                    <a:cubicBezTo>
                      <a:pt x="362" y="79"/>
                      <a:pt x="362" y="79"/>
                      <a:pt x="363" y="78"/>
                    </a:cubicBezTo>
                    <a:cubicBezTo>
                      <a:pt x="363" y="77"/>
                      <a:pt x="364" y="77"/>
                      <a:pt x="364" y="76"/>
                    </a:cubicBezTo>
                    <a:cubicBezTo>
                      <a:pt x="364" y="76"/>
                      <a:pt x="364" y="76"/>
                      <a:pt x="364" y="76"/>
                    </a:cubicBezTo>
                    <a:cubicBezTo>
                      <a:pt x="364" y="75"/>
                      <a:pt x="364" y="75"/>
                      <a:pt x="364" y="75"/>
                    </a:cubicBezTo>
                    <a:cubicBezTo>
                      <a:pt x="364" y="75"/>
                      <a:pt x="363" y="74"/>
                      <a:pt x="361" y="72"/>
                    </a:cubicBezTo>
                    <a:cubicBezTo>
                      <a:pt x="360" y="71"/>
                      <a:pt x="360" y="71"/>
                      <a:pt x="359" y="70"/>
                    </a:cubicBezTo>
                    <a:cubicBezTo>
                      <a:pt x="359" y="70"/>
                      <a:pt x="359" y="70"/>
                      <a:pt x="358" y="69"/>
                    </a:cubicBezTo>
                    <a:cubicBezTo>
                      <a:pt x="357" y="68"/>
                      <a:pt x="357" y="68"/>
                      <a:pt x="357" y="68"/>
                    </a:cubicBezTo>
                    <a:cubicBezTo>
                      <a:pt x="357" y="68"/>
                      <a:pt x="357" y="68"/>
                      <a:pt x="357" y="68"/>
                    </a:cubicBezTo>
                    <a:cubicBezTo>
                      <a:pt x="355" y="66"/>
                      <a:pt x="355" y="64"/>
                      <a:pt x="355" y="62"/>
                    </a:cubicBezTo>
                    <a:cubicBezTo>
                      <a:pt x="355" y="61"/>
                      <a:pt x="355" y="60"/>
                      <a:pt x="355" y="60"/>
                    </a:cubicBezTo>
                    <a:cubicBezTo>
                      <a:pt x="354" y="59"/>
                      <a:pt x="354" y="59"/>
                      <a:pt x="354" y="59"/>
                    </a:cubicBezTo>
                    <a:cubicBezTo>
                      <a:pt x="354" y="58"/>
                      <a:pt x="353" y="57"/>
                      <a:pt x="352" y="55"/>
                    </a:cubicBezTo>
                    <a:cubicBezTo>
                      <a:pt x="352" y="54"/>
                      <a:pt x="351" y="53"/>
                      <a:pt x="350" y="53"/>
                    </a:cubicBezTo>
                    <a:cubicBezTo>
                      <a:pt x="350" y="52"/>
                      <a:pt x="350" y="52"/>
                      <a:pt x="350" y="52"/>
                    </a:cubicBezTo>
                    <a:cubicBezTo>
                      <a:pt x="349" y="51"/>
                      <a:pt x="349" y="51"/>
                      <a:pt x="348" y="50"/>
                    </a:cubicBezTo>
                    <a:cubicBezTo>
                      <a:pt x="346" y="46"/>
                      <a:pt x="346" y="42"/>
                      <a:pt x="346" y="39"/>
                    </a:cubicBezTo>
                    <a:cubicBezTo>
                      <a:pt x="345" y="37"/>
                      <a:pt x="345" y="37"/>
                      <a:pt x="345" y="37"/>
                    </a:cubicBezTo>
                    <a:cubicBezTo>
                      <a:pt x="345" y="36"/>
                      <a:pt x="345" y="36"/>
                      <a:pt x="345" y="36"/>
                    </a:cubicBezTo>
                    <a:cubicBezTo>
                      <a:pt x="345" y="35"/>
                      <a:pt x="345" y="35"/>
                      <a:pt x="345" y="35"/>
                    </a:cubicBezTo>
                    <a:cubicBezTo>
                      <a:pt x="345" y="33"/>
                      <a:pt x="345" y="31"/>
                      <a:pt x="345" y="30"/>
                    </a:cubicBezTo>
                    <a:cubicBezTo>
                      <a:pt x="344" y="26"/>
                      <a:pt x="344" y="21"/>
                      <a:pt x="343" y="17"/>
                    </a:cubicBezTo>
                    <a:cubicBezTo>
                      <a:pt x="342" y="16"/>
                      <a:pt x="342" y="16"/>
                      <a:pt x="342" y="16"/>
                    </a:cubicBezTo>
                    <a:cubicBezTo>
                      <a:pt x="342" y="16"/>
                      <a:pt x="342" y="15"/>
                      <a:pt x="342" y="15"/>
                    </a:cubicBezTo>
                    <a:cubicBezTo>
                      <a:pt x="332" y="19"/>
                      <a:pt x="332" y="19"/>
                      <a:pt x="332" y="19"/>
                    </a:cubicBezTo>
                    <a:cubicBezTo>
                      <a:pt x="331" y="20"/>
                      <a:pt x="329" y="21"/>
                      <a:pt x="327" y="21"/>
                    </a:cubicBezTo>
                    <a:cubicBezTo>
                      <a:pt x="325" y="21"/>
                      <a:pt x="324" y="21"/>
                      <a:pt x="322" y="20"/>
                    </a:cubicBezTo>
                    <a:cubicBezTo>
                      <a:pt x="321" y="19"/>
                      <a:pt x="320" y="18"/>
                      <a:pt x="319" y="17"/>
                    </a:cubicBezTo>
                    <a:cubicBezTo>
                      <a:pt x="319" y="17"/>
                      <a:pt x="319" y="17"/>
                      <a:pt x="319" y="17"/>
                    </a:cubicBezTo>
                    <a:cubicBezTo>
                      <a:pt x="318" y="16"/>
                      <a:pt x="318" y="16"/>
                      <a:pt x="317" y="15"/>
                    </a:cubicBezTo>
                    <a:cubicBezTo>
                      <a:pt x="313" y="12"/>
                      <a:pt x="313" y="12"/>
                      <a:pt x="313" y="12"/>
                    </a:cubicBezTo>
                    <a:cubicBezTo>
                      <a:pt x="311" y="10"/>
                      <a:pt x="309" y="8"/>
                      <a:pt x="307" y="8"/>
                    </a:cubicBezTo>
                    <a:cubicBezTo>
                      <a:pt x="274" y="0"/>
                      <a:pt x="274" y="0"/>
                      <a:pt x="2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2" name="Freeform 191">
                <a:extLst>
                  <a:ext uri="{FF2B5EF4-FFF2-40B4-BE49-F238E27FC236}">
                    <a16:creationId xmlns:a16="http://schemas.microsoft.com/office/drawing/2014/main" id="{E56CABCA-3E0E-4262-A8B0-1FD33946E518}"/>
                  </a:ext>
                </a:extLst>
              </p:cNvPr>
              <p:cNvSpPr>
                <a:spLocks/>
              </p:cNvSpPr>
              <p:nvPr/>
            </p:nvSpPr>
            <p:spPr bwMode="auto">
              <a:xfrm>
                <a:off x="5043" y="935"/>
                <a:ext cx="608" cy="570"/>
              </a:xfrm>
              <a:custGeom>
                <a:avLst/>
                <a:gdLst>
                  <a:gd name="T0" fmla="*/ 22 w 257"/>
                  <a:gd name="T1" fmla="*/ 1 h 241"/>
                  <a:gd name="T2" fmla="*/ 8 w 257"/>
                  <a:gd name="T3" fmla="*/ 2 h 241"/>
                  <a:gd name="T4" fmla="*/ 4 w 257"/>
                  <a:gd name="T5" fmla="*/ 8 h 241"/>
                  <a:gd name="T6" fmla="*/ 3 w 257"/>
                  <a:gd name="T7" fmla="*/ 12 h 241"/>
                  <a:gd name="T8" fmla="*/ 4 w 257"/>
                  <a:gd name="T9" fmla="*/ 17 h 241"/>
                  <a:gd name="T10" fmla="*/ 4 w 257"/>
                  <a:gd name="T11" fmla="*/ 30 h 241"/>
                  <a:gd name="T12" fmla="*/ 2 w 257"/>
                  <a:gd name="T13" fmla="*/ 34 h 241"/>
                  <a:gd name="T14" fmla="*/ 0 w 257"/>
                  <a:gd name="T15" fmla="*/ 40 h 241"/>
                  <a:gd name="T16" fmla="*/ 2 w 257"/>
                  <a:gd name="T17" fmla="*/ 46 h 241"/>
                  <a:gd name="T18" fmla="*/ 5 w 257"/>
                  <a:gd name="T19" fmla="*/ 65 h 241"/>
                  <a:gd name="T20" fmla="*/ 6 w 257"/>
                  <a:gd name="T21" fmla="*/ 97 h 241"/>
                  <a:gd name="T22" fmla="*/ 6 w 257"/>
                  <a:gd name="T23" fmla="*/ 241 h 241"/>
                  <a:gd name="T24" fmla="*/ 152 w 257"/>
                  <a:gd name="T25" fmla="*/ 238 h 241"/>
                  <a:gd name="T26" fmla="*/ 157 w 257"/>
                  <a:gd name="T27" fmla="*/ 236 h 241"/>
                  <a:gd name="T28" fmla="*/ 186 w 257"/>
                  <a:gd name="T29" fmla="*/ 241 h 241"/>
                  <a:gd name="T30" fmla="*/ 189 w 257"/>
                  <a:gd name="T31" fmla="*/ 240 h 241"/>
                  <a:gd name="T32" fmla="*/ 196 w 257"/>
                  <a:gd name="T33" fmla="*/ 241 h 241"/>
                  <a:gd name="T34" fmla="*/ 216 w 257"/>
                  <a:gd name="T35" fmla="*/ 239 h 241"/>
                  <a:gd name="T36" fmla="*/ 226 w 257"/>
                  <a:gd name="T37" fmla="*/ 234 h 241"/>
                  <a:gd name="T38" fmla="*/ 231 w 257"/>
                  <a:gd name="T39" fmla="*/ 231 h 241"/>
                  <a:gd name="T40" fmla="*/ 232 w 257"/>
                  <a:gd name="T41" fmla="*/ 229 h 241"/>
                  <a:gd name="T42" fmla="*/ 240 w 257"/>
                  <a:gd name="T43" fmla="*/ 219 h 241"/>
                  <a:gd name="T44" fmla="*/ 249 w 257"/>
                  <a:gd name="T45" fmla="*/ 215 h 241"/>
                  <a:gd name="T46" fmla="*/ 253 w 257"/>
                  <a:gd name="T47" fmla="*/ 213 h 241"/>
                  <a:gd name="T48" fmla="*/ 252 w 257"/>
                  <a:gd name="T49" fmla="*/ 210 h 241"/>
                  <a:gd name="T50" fmla="*/ 251 w 257"/>
                  <a:gd name="T51" fmla="*/ 195 h 241"/>
                  <a:gd name="T52" fmla="*/ 253 w 257"/>
                  <a:gd name="T53" fmla="*/ 195 h 241"/>
                  <a:gd name="T54" fmla="*/ 257 w 257"/>
                  <a:gd name="T55" fmla="*/ 195 h 241"/>
                  <a:gd name="T56" fmla="*/ 250 w 257"/>
                  <a:gd name="T57" fmla="*/ 191 h 241"/>
                  <a:gd name="T58" fmla="*/ 218 w 257"/>
                  <a:gd name="T59" fmla="*/ 134 h 241"/>
                  <a:gd name="T60" fmla="*/ 214 w 257"/>
                  <a:gd name="T61" fmla="*/ 127 h 241"/>
                  <a:gd name="T62" fmla="*/ 208 w 257"/>
                  <a:gd name="T63" fmla="*/ 105 h 241"/>
                  <a:gd name="T64" fmla="*/ 199 w 257"/>
                  <a:gd name="T65" fmla="*/ 91 h 241"/>
                  <a:gd name="T66" fmla="*/ 189 w 257"/>
                  <a:gd name="T67" fmla="*/ 79 h 241"/>
                  <a:gd name="T68" fmla="*/ 176 w 257"/>
                  <a:gd name="T69" fmla="*/ 52 h 241"/>
                  <a:gd name="T70" fmla="*/ 180 w 257"/>
                  <a:gd name="T71" fmla="*/ 43 h 241"/>
                  <a:gd name="T72" fmla="*/ 185 w 257"/>
                  <a:gd name="T73" fmla="*/ 56 h 241"/>
                  <a:gd name="T74" fmla="*/ 190 w 257"/>
                  <a:gd name="T75" fmla="*/ 62 h 241"/>
                  <a:gd name="T76" fmla="*/ 197 w 257"/>
                  <a:gd name="T77" fmla="*/ 79 h 241"/>
                  <a:gd name="T78" fmla="*/ 221 w 257"/>
                  <a:gd name="T79" fmla="*/ 100 h 241"/>
                  <a:gd name="T80" fmla="*/ 236 w 257"/>
                  <a:gd name="T81" fmla="*/ 56 h 241"/>
                  <a:gd name="T82" fmla="*/ 220 w 257"/>
                  <a:gd name="T83" fmla="*/ 8 h 241"/>
                  <a:gd name="T84" fmla="*/ 210 w 257"/>
                  <a:gd name="T85" fmla="*/ 12 h 241"/>
                  <a:gd name="T86" fmla="*/ 193 w 257"/>
                  <a:gd name="T87" fmla="*/ 15 h 241"/>
                  <a:gd name="T88" fmla="*/ 192 w 257"/>
                  <a:gd name="T89" fmla="*/ 15 h 241"/>
                  <a:gd name="T90" fmla="*/ 186 w 257"/>
                  <a:gd name="T91" fmla="*/ 15 h 241"/>
                  <a:gd name="T92" fmla="*/ 173 w 257"/>
                  <a:gd name="T93" fmla="*/ 9 h 241"/>
                  <a:gd name="T94" fmla="*/ 163 w 257"/>
                  <a:gd name="T95" fmla="*/ 9 h 241"/>
                  <a:gd name="T96" fmla="*/ 166 w 257"/>
                  <a:gd name="T97" fmla="*/ 2 h 241"/>
                  <a:gd name="T98" fmla="*/ 158 w 257"/>
                  <a:gd name="T99" fmla="*/ 4 h 241"/>
                  <a:gd name="T100" fmla="*/ 145 w 257"/>
                  <a:gd name="T101" fmla="*/ 1 h 241"/>
                  <a:gd name="T102" fmla="*/ 125 w 257"/>
                  <a:gd name="T103" fmla="*/ 9 h 241"/>
                  <a:gd name="T104" fmla="*/ 126 w 257"/>
                  <a:gd name="T105" fmla="*/ 10 h 241"/>
                  <a:gd name="T106" fmla="*/ 123 w 257"/>
                  <a:gd name="T107" fmla="*/ 9 h 241"/>
                  <a:gd name="T108" fmla="*/ 118 w 257"/>
                  <a:gd name="T109" fmla="*/ 12 h 241"/>
                  <a:gd name="T110" fmla="*/ 99 w 257"/>
                  <a:gd name="T111" fmla="*/ 20 h 241"/>
                  <a:gd name="T112" fmla="*/ 75 w 257"/>
                  <a:gd name="T113" fmla="*/ 14 h 241"/>
                  <a:gd name="T114" fmla="*/ 60 w 257"/>
                  <a:gd name="T115" fmla="*/ 9 h 241"/>
                  <a:gd name="T116" fmla="*/ 25 w 257"/>
                  <a:gd name="T11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7" h="241">
                    <a:moveTo>
                      <a:pt x="25" y="0"/>
                    </a:moveTo>
                    <a:cubicBezTo>
                      <a:pt x="24" y="0"/>
                      <a:pt x="23" y="1"/>
                      <a:pt x="22" y="1"/>
                    </a:cubicBezTo>
                    <a:cubicBezTo>
                      <a:pt x="19" y="1"/>
                      <a:pt x="15" y="3"/>
                      <a:pt x="11" y="3"/>
                    </a:cubicBezTo>
                    <a:cubicBezTo>
                      <a:pt x="10" y="3"/>
                      <a:pt x="9" y="3"/>
                      <a:pt x="8" y="2"/>
                    </a:cubicBezTo>
                    <a:cubicBezTo>
                      <a:pt x="7" y="3"/>
                      <a:pt x="7" y="3"/>
                      <a:pt x="7" y="3"/>
                    </a:cubicBezTo>
                    <a:cubicBezTo>
                      <a:pt x="6" y="5"/>
                      <a:pt x="4" y="6"/>
                      <a:pt x="4" y="8"/>
                    </a:cubicBezTo>
                    <a:cubicBezTo>
                      <a:pt x="3" y="9"/>
                      <a:pt x="3" y="9"/>
                      <a:pt x="3" y="9"/>
                    </a:cubicBezTo>
                    <a:cubicBezTo>
                      <a:pt x="3" y="9"/>
                      <a:pt x="3" y="11"/>
                      <a:pt x="3" y="12"/>
                    </a:cubicBezTo>
                    <a:cubicBezTo>
                      <a:pt x="4" y="13"/>
                      <a:pt x="4" y="15"/>
                      <a:pt x="4" y="16"/>
                    </a:cubicBezTo>
                    <a:cubicBezTo>
                      <a:pt x="4" y="17"/>
                      <a:pt x="4" y="17"/>
                      <a:pt x="4" y="17"/>
                    </a:cubicBezTo>
                    <a:cubicBezTo>
                      <a:pt x="5" y="18"/>
                      <a:pt x="5" y="19"/>
                      <a:pt x="5" y="21"/>
                    </a:cubicBezTo>
                    <a:cubicBezTo>
                      <a:pt x="6" y="23"/>
                      <a:pt x="6" y="26"/>
                      <a:pt x="4" y="30"/>
                    </a:cubicBezTo>
                    <a:cubicBezTo>
                      <a:pt x="4" y="31"/>
                      <a:pt x="4" y="31"/>
                      <a:pt x="4" y="31"/>
                    </a:cubicBezTo>
                    <a:cubicBezTo>
                      <a:pt x="4" y="32"/>
                      <a:pt x="3" y="33"/>
                      <a:pt x="2" y="34"/>
                    </a:cubicBezTo>
                    <a:cubicBezTo>
                      <a:pt x="1" y="35"/>
                      <a:pt x="0" y="37"/>
                      <a:pt x="0" y="38"/>
                    </a:cubicBezTo>
                    <a:cubicBezTo>
                      <a:pt x="0" y="40"/>
                      <a:pt x="0" y="40"/>
                      <a:pt x="0" y="40"/>
                    </a:cubicBezTo>
                    <a:cubicBezTo>
                      <a:pt x="1" y="42"/>
                      <a:pt x="1" y="43"/>
                      <a:pt x="2" y="45"/>
                    </a:cubicBezTo>
                    <a:cubicBezTo>
                      <a:pt x="2" y="45"/>
                      <a:pt x="2" y="46"/>
                      <a:pt x="2" y="46"/>
                    </a:cubicBezTo>
                    <a:cubicBezTo>
                      <a:pt x="2" y="47"/>
                      <a:pt x="2" y="47"/>
                      <a:pt x="2" y="48"/>
                    </a:cubicBezTo>
                    <a:cubicBezTo>
                      <a:pt x="4" y="53"/>
                      <a:pt x="5" y="58"/>
                      <a:pt x="5" y="65"/>
                    </a:cubicBezTo>
                    <a:cubicBezTo>
                      <a:pt x="6" y="68"/>
                      <a:pt x="6" y="72"/>
                      <a:pt x="6" y="75"/>
                    </a:cubicBezTo>
                    <a:cubicBezTo>
                      <a:pt x="6" y="82"/>
                      <a:pt x="6" y="90"/>
                      <a:pt x="6" y="97"/>
                    </a:cubicBezTo>
                    <a:cubicBezTo>
                      <a:pt x="6" y="106"/>
                      <a:pt x="6" y="106"/>
                      <a:pt x="6" y="106"/>
                    </a:cubicBezTo>
                    <a:cubicBezTo>
                      <a:pt x="6" y="241"/>
                      <a:pt x="6" y="241"/>
                      <a:pt x="6" y="241"/>
                    </a:cubicBezTo>
                    <a:cubicBezTo>
                      <a:pt x="151" y="239"/>
                      <a:pt x="151" y="239"/>
                      <a:pt x="151" y="239"/>
                    </a:cubicBezTo>
                    <a:cubicBezTo>
                      <a:pt x="152" y="238"/>
                      <a:pt x="152" y="238"/>
                      <a:pt x="152" y="238"/>
                    </a:cubicBezTo>
                    <a:cubicBezTo>
                      <a:pt x="153" y="237"/>
                      <a:pt x="154" y="235"/>
                      <a:pt x="156" y="235"/>
                    </a:cubicBezTo>
                    <a:cubicBezTo>
                      <a:pt x="156" y="235"/>
                      <a:pt x="157" y="235"/>
                      <a:pt x="157" y="236"/>
                    </a:cubicBezTo>
                    <a:cubicBezTo>
                      <a:pt x="159" y="237"/>
                      <a:pt x="160" y="239"/>
                      <a:pt x="160" y="241"/>
                    </a:cubicBezTo>
                    <a:cubicBezTo>
                      <a:pt x="186" y="241"/>
                      <a:pt x="186" y="241"/>
                      <a:pt x="186" y="241"/>
                    </a:cubicBezTo>
                    <a:cubicBezTo>
                      <a:pt x="187" y="241"/>
                      <a:pt x="188" y="241"/>
                      <a:pt x="188" y="241"/>
                    </a:cubicBezTo>
                    <a:cubicBezTo>
                      <a:pt x="189" y="240"/>
                      <a:pt x="189" y="240"/>
                      <a:pt x="189" y="240"/>
                    </a:cubicBezTo>
                    <a:cubicBezTo>
                      <a:pt x="190" y="240"/>
                      <a:pt x="191" y="240"/>
                      <a:pt x="192" y="240"/>
                    </a:cubicBezTo>
                    <a:cubicBezTo>
                      <a:pt x="194" y="240"/>
                      <a:pt x="195" y="240"/>
                      <a:pt x="196" y="241"/>
                    </a:cubicBezTo>
                    <a:cubicBezTo>
                      <a:pt x="216" y="241"/>
                      <a:pt x="216" y="241"/>
                      <a:pt x="216" y="241"/>
                    </a:cubicBezTo>
                    <a:cubicBezTo>
                      <a:pt x="216" y="240"/>
                      <a:pt x="216" y="240"/>
                      <a:pt x="216" y="239"/>
                    </a:cubicBezTo>
                    <a:cubicBezTo>
                      <a:pt x="216" y="239"/>
                      <a:pt x="217" y="238"/>
                      <a:pt x="218" y="237"/>
                    </a:cubicBezTo>
                    <a:cubicBezTo>
                      <a:pt x="220" y="235"/>
                      <a:pt x="223" y="234"/>
                      <a:pt x="226" y="234"/>
                    </a:cubicBezTo>
                    <a:cubicBezTo>
                      <a:pt x="227" y="234"/>
                      <a:pt x="227" y="234"/>
                      <a:pt x="227" y="234"/>
                    </a:cubicBezTo>
                    <a:cubicBezTo>
                      <a:pt x="229" y="234"/>
                      <a:pt x="230" y="234"/>
                      <a:pt x="231" y="231"/>
                    </a:cubicBezTo>
                    <a:cubicBezTo>
                      <a:pt x="231" y="230"/>
                      <a:pt x="232" y="230"/>
                      <a:pt x="232" y="229"/>
                    </a:cubicBezTo>
                    <a:cubicBezTo>
                      <a:pt x="232" y="229"/>
                      <a:pt x="232" y="229"/>
                      <a:pt x="232" y="229"/>
                    </a:cubicBezTo>
                    <a:cubicBezTo>
                      <a:pt x="233" y="226"/>
                      <a:pt x="234" y="222"/>
                      <a:pt x="237" y="220"/>
                    </a:cubicBezTo>
                    <a:cubicBezTo>
                      <a:pt x="238" y="220"/>
                      <a:pt x="239" y="219"/>
                      <a:pt x="240" y="219"/>
                    </a:cubicBezTo>
                    <a:cubicBezTo>
                      <a:pt x="242" y="218"/>
                      <a:pt x="243" y="217"/>
                      <a:pt x="245" y="217"/>
                    </a:cubicBezTo>
                    <a:cubicBezTo>
                      <a:pt x="246" y="216"/>
                      <a:pt x="247" y="216"/>
                      <a:pt x="249" y="215"/>
                    </a:cubicBezTo>
                    <a:cubicBezTo>
                      <a:pt x="249" y="214"/>
                      <a:pt x="250" y="214"/>
                      <a:pt x="251" y="214"/>
                    </a:cubicBezTo>
                    <a:cubicBezTo>
                      <a:pt x="251" y="213"/>
                      <a:pt x="252" y="213"/>
                      <a:pt x="253" y="213"/>
                    </a:cubicBezTo>
                    <a:cubicBezTo>
                      <a:pt x="253" y="212"/>
                      <a:pt x="253" y="212"/>
                      <a:pt x="253" y="212"/>
                    </a:cubicBezTo>
                    <a:cubicBezTo>
                      <a:pt x="253" y="212"/>
                      <a:pt x="253" y="211"/>
                      <a:pt x="252" y="210"/>
                    </a:cubicBezTo>
                    <a:cubicBezTo>
                      <a:pt x="252" y="207"/>
                      <a:pt x="251" y="204"/>
                      <a:pt x="251" y="201"/>
                    </a:cubicBezTo>
                    <a:cubicBezTo>
                      <a:pt x="251" y="200"/>
                      <a:pt x="249" y="196"/>
                      <a:pt x="251" y="195"/>
                    </a:cubicBezTo>
                    <a:cubicBezTo>
                      <a:pt x="251" y="195"/>
                      <a:pt x="251" y="195"/>
                      <a:pt x="251" y="195"/>
                    </a:cubicBezTo>
                    <a:cubicBezTo>
                      <a:pt x="252" y="195"/>
                      <a:pt x="252" y="195"/>
                      <a:pt x="253" y="195"/>
                    </a:cubicBezTo>
                    <a:cubicBezTo>
                      <a:pt x="254" y="195"/>
                      <a:pt x="255" y="196"/>
                      <a:pt x="256" y="196"/>
                    </a:cubicBezTo>
                    <a:cubicBezTo>
                      <a:pt x="256" y="196"/>
                      <a:pt x="256" y="196"/>
                      <a:pt x="257" y="195"/>
                    </a:cubicBezTo>
                    <a:cubicBezTo>
                      <a:pt x="255" y="195"/>
                      <a:pt x="252" y="191"/>
                      <a:pt x="251" y="191"/>
                    </a:cubicBezTo>
                    <a:cubicBezTo>
                      <a:pt x="251" y="191"/>
                      <a:pt x="251" y="191"/>
                      <a:pt x="250" y="191"/>
                    </a:cubicBezTo>
                    <a:cubicBezTo>
                      <a:pt x="247" y="186"/>
                      <a:pt x="243" y="182"/>
                      <a:pt x="240" y="177"/>
                    </a:cubicBezTo>
                    <a:cubicBezTo>
                      <a:pt x="233" y="163"/>
                      <a:pt x="226" y="148"/>
                      <a:pt x="218" y="134"/>
                    </a:cubicBezTo>
                    <a:cubicBezTo>
                      <a:pt x="217" y="132"/>
                      <a:pt x="216" y="130"/>
                      <a:pt x="215" y="128"/>
                    </a:cubicBezTo>
                    <a:cubicBezTo>
                      <a:pt x="215" y="127"/>
                      <a:pt x="214" y="128"/>
                      <a:pt x="214" y="127"/>
                    </a:cubicBezTo>
                    <a:cubicBezTo>
                      <a:pt x="214" y="126"/>
                      <a:pt x="215" y="125"/>
                      <a:pt x="215" y="124"/>
                    </a:cubicBezTo>
                    <a:cubicBezTo>
                      <a:pt x="215" y="118"/>
                      <a:pt x="210" y="110"/>
                      <a:pt x="208" y="105"/>
                    </a:cubicBezTo>
                    <a:cubicBezTo>
                      <a:pt x="208" y="103"/>
                      <a:pt x="207" y="98"/>
                      <a:pt x="205" y="97"/>
                    </a:cubicBezTo>
                    <a:cubicBezTo>
                      <a:pt x="203" y="95"/>
                      <a:pt x="201" y="93"/>
                      <a:pt x="199" y="91"/>
                    </a:cubicBezTo>
                    <a:cubicBezTo>
                      <a:pt x="198" y="90"/>
                      <a:pt x="196" y="88"/>
                      <a:pt x="195" y="87"/>
                    </a:cubicBezTo>
                    <a:cubicBezTo>
                      <a:pt x="193" y="84"/>
                      <a:pt x="191" y="81"/>
                      <a:pt x="189" y="79"/>
                    </a:cubicBezTo>
                    <a:cubicBezTo>
                      <a:pt x="186" y="75"/>
                      <a:pt x="185" y="69"/>
                      <a:pt x="184" y="65"/>
                    </a:cubicBezTo>
                    <a:cubicBezTo>
                      <a:pt x="182" y="61"/>
                      <a:pt x="177" y="57"/>
                      <a:pt x="176" y="52"/>
                    </a:cubicBezTo>
                    <a:cubicBezTo>
                      <a:pt x="176" y="50"/>
                      <a:pt x="178" y="49"/>
                      <a:pt x="178" y="47"/>
                    </a:cubicBezTo>
                    <a:cubicBezTo>
                      <a:pt x="179" y="46"/>
                      <a:pt x="179" y="44"/>
                      <a:pt x="180" y="43"/>
                    </a:cubicBezTo>
                    <a:cubicBezTo>
                      <a:pt x="180" y="43"/>
                      <a:pt x="180" y="43"/>
                      <a:pt x="181" y="43"/>
                    </a:cubicBezTo>
                    <a:cubicBezTo>
                      <a:pt x="183" y="43"/>
                      <a:pt x="185" y="54"/>
                      <a:pt x="185" y="56"/>
                    </a:cubicBezTo>
                    <a:cubicBezTo>
                      <a:pt x="185" y="56"/>
                      <a:pt x="185" y="56"/>
                      <a:pt x="185" y="56"/>
                    </a:cubicBezTo>
                    <a:cubicBezTo>
                      <a:pt x="187" y="58"/>
                      <a:pt x="188" y="60"/>
                      <a:pt x="190" y="62"/>
                    </a:cubicBezTo>
                    <a:cubicBezTo>
                      <a:pt x="192" y="64"/>
                      <a:pt x="195" y="66"/>
                      <a:pt x="196" y="68"/>
                    </a:cubicBezTo>
                    <a:cubicBezTo>
                      <a:pt x="197" y="71"/>
                      <a:pt x="196" y="76"/>
                      <a:pt x="197" y="79"/>
                    </a:cubicBezTo>
                    <a:cubicBezTo>
                      <a:pt x="199" y="81"/>
                      <a:pt x="201" y="83"/>
                      <a:pt x="202" y="84"/>
                    </a:cubicBezTo>
                    <a:cubicBezTo>
                      <a:pt x="209" y="91"/>
                      <a:pt x="213" y="96"/>
                      <a:pt x="221" y="100"/>
                    </a:cubicBezTo>
                    <a:cubicBezTo>
                      <a:pt x="221" y="100"/>
                      <a:pt x="222" y="99"/>
                      <a:pt x="222" y="99"/>
                    </a:cubicBezTo>
                    <a:cubicBezTo>
                      <a:pt x="226" y="85"/>
                      <a:pt x="231" y="71"/>
                      <a:pt x="236" y="56"/>
                    </a:cubicBezTo>
                    <a:cubicBezTo>
                      <a:pt x="221" y="9"/>
                      <a:pt x="221" y="9"/>
                      <a:pt x="221" y="9"/>
                    </a:cubicBezTo>
                    <a:cubicBezTo>
                      <a:pt x="220" y="8"/>
                      <a:pt x="220" y="8"/>
                      <a:pt x="220" y="8"/>
                    </a:cubicBezTo>
                    <a:cubicBezTo>
                      <a:pt x="220" y="8"/>
                      <a:pt x="220" y="8"/>
                      <a:pt x="220" y="8"/>
                    </a:cubicBezTo>
                    <a:cubicBezTo>
                      <a:pt x="216" y="9"/>
                      <a:pt x="213" y="11"/>
                      <a:pt x="210" y="12"/>
                    </a:cubicBezTo>
                    <a:cubicBezTo>
                      <a:pt x="208" y="13"/>
                      <a:pt x="207" y="13"/>
                      <a:pt x="206" y="13"/>
                    </a:cubicBezTo>
                    <a:cubicBezTo>
                      <a:pt x="201" y="14"/>
                      <a:pt x="197" y="15"/>
                      <a:pt x="193" y="15"/>
                    </a:cubicBezTo>
                    <a:cubicBezTo>
                      <a:pt x="193" y="15"/>
                      <a:pt x="192" y="15"/>
                      <a:pt x="192" y="15"/>
                    </a:cubicBezTo>
                    <a:cubicBezTo>
                      <a:pt x="192" y="15"/>
                      <a:pt x="192" y="15"/>
                      <a:pt x="192" y="15"/>
                    </a:cubicBezTo>
                    <a:cubicBezTo>
                      <a:pt x="191" y="15"/>
                      <a:pt x="190" y="15"/>
                      <a:pt x="189" y="15"/>
                    </a:cubicBezTo>
                    <a:cubicBezTo>
                      <a:pt x="188" y="15"/>
                      <a:pt x="187" y="15"/>
                      <a:pt x="186" y="15"/>
                    </a:cubicBezTo>
                    <a:cubicBezTo>
                      <a:pt x="184" y="15"/>
                      <a:pt x="183" y="15"/>
                      <a:pt x="182" y="14"/>
                    </a:cubicBezTo>
                    <a:cubicBezTo>
                      <a:pt x="179" y="12"/>
                      <a:pt x="176" y="9"/>
                      <a:pt x="173" y="9"/>
                    </a:cubicBezTo>
                    <a:cubicBezTo>
                      <a:pt x="178" y="10"/>
                      <a:pt x="173" y="14"/>
                      <a:pt x="172" y="14"/>
                    </a:cubicBezTo>
                    <a:cubicBezTo>
                      <a:pt x="170" y="13"/>
                      <a:pt x="164" y="10"/>
                      <a:pt x="163" y="9"/>
                    </a:cubicBezTo>
                    <a:cubicBezTo>
                      <a:pt x="163" y="8"/>
                      <a:pt x="166" y="3"/>
                      <a:pt x="166" y="2"/>
                    </a:cubicBezTo>
                    <a:cubicBezTo>
                      <a:pt x="166" y="2"/>
                      <a:pt x="166" y="2"/>
                      <a:pt x="166" y="2"/>
                    </a:cubicBezTo>
                    <a:cubicBezTo>
                      <a:pt x="164" y="2"/>
                      <a:pt x="161" y="4"/>
                      <a:pt x="159" y="4"/>
                    </a:cubicBezTo>
                    <a:cubicBezTo>
                      <a:pt x="159" y="4"/>
                      <a:pt x="159" y="4"/>
                      <a:pt x="158" y="4"/>
                    </a:cubicBezTo>
                    <a:cubicBezTo>
                      <a:pt x="156" y="4"/>
                      <a:pt x="152" y="2"/>
                      <a:pt x="150" y="2"/>
                    </a:cubicBezTo>
                    <a:cubicBezTo>
                      <a:pt x="148" y="1"/>
                      <a:pt x="147" y="1"/>
                      <a:pt x="145" y="1"/>
                    </a:cubicBezTo>
                    <a:cubicBezTo>
                      <a:pt x="144" y="1"/>
                      <a:pt x="144" y="1"/>
                      <a:pt x="142" y="1"/>
                    </a:cubicBezTo>
                    <a:cubicBezTo>
                      <a:pt x="135" y="3"/>
                      <a:pt x="131" y="4"/>
                      <a:pt x="125" y="9"/>
                    </a:cubicBezTo>
                    <a:cubicBezTo>
                      <a:pt x="126" y="9"/>
                      <a:pt x="127" y="10"/>
                      <a:pt x="128" y="10"/>
                    </a:cubicBezTo>
                    <a:cubicBezTo>
                      <a:pt x="127" y="10"/>
                      <a:pt x="127" y="10"/>
                      <a:pt x="126" y="10"/>
                    </a:cubicBezTo>
                    <a:cubicBezTo>
                      <a:pt x="126" y="10"/>
                      <a:pt x="126" y="10"/>
                      <a:pt x="126" y="10"/>
                    </a:cubicBezTo>
                    <a:cubicBezTo>
                      <a:pt x="125" y="10"/>
                      <a:pt x="124" y="9"/>
                      <a:pt x="123" y="9"/>
                    </a:cubicBezTo>
                    <a:cubicBezTo>
                      <a:pt x="123" y="9"/>
                      <a:pt x="123" y="9"/>
                      <a:pt x="123" y="9"/>
                    </a:cubicBezTo>
                    <a:cubicBezTo>
                      <a:pt x="121" y="10"/>
                      <a:pt x="120" y="11"/>
                      <a:pt x="118" y="12"/>
                    </a:cubicBezTo>
                    <a:cubicBezTo>
                      <a:pt x="113" y="15"/>
                      <a:pt x="106" y="19"/>
                      <a:pt x="100" y="20"/>
                    </a:cubicBezTo>
                    <a:cubicBezTo>
                      <a:pt x="99" y="20"/>
                      <a:pt x="99" y="20"/>
                      <a:pt x="99" y="20"/>
                    </a:cubicBezTo>
                    <a:cubicBezTo>
                      <a:pt x="96" y="20"/>
                      <a:pt x="95" y="18"/>
                      <a:pt x="92" y="17"/>
                    </a:cubicBezTo>
                    <a:cubicBezTo>
                      <a:pt x="88" y="15"/>
                      <a:pt x="80" y="15"/>
                      <a:pt x="75" y="14"/>
                    </a:cubicBezTo>
                    <a:cubicBezTo>
                      <a:pt x="72" y="14"/>
                      <a:pt x="68" y="12"/>
                      <a:pt x="64" y="11"/>
                    </a:cubicBezTo>
                    <a:cubicBezTo>
                      <a:pt x="62" y="11"/>
                      <a:pt x="61" y="10"/>
                      <a:pt x="60" y="9"/>
                    </a:cubicBezTo>
                    <a:cubicBezTo>
                      <a:pt x="54" y="7"/>
                      <a:pt x="47" y="6"/>
                      <a:pt x="41" y="4"/>
                    </a:cubicBezTo>
                    <a:cubicBezTo>
                      <a:pt x="36" y="3"/>
                      <a:pt x="31" y="0"/>
                      <a:pt x="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3" name="Freeform 192">
                <a:extLst>
                  <a:ext uri="{FF2B5EF4-FFF2-40B4-BE49-F238E27FC236}">
                    <a16:creationId xmlns:a16="http://schemas.microsoft.com/office/drawing/2014/main" id="{957BE3BE-EFAA-4F53-9DD2-5063F8622F23}"/>
                  </a:ext>
                </a:extLst>
              </p:cNvPr>
              <p:cNvSpPr>
                <a:spLocks/>
              </p:cNvSpPr>
              <p:nvPr/>
            </p:nvSpPr>
            <p:spPr bwMode="auto">
              <a:xfrm>
                <a:off x="4939" y="2140"/>
                <a:ext cx="0" cy="3"/>
              </a:xfrm>
              <a:custGeom>
                <a:avLst/>
                <a:gdLst>
                  <a:gd name="T0" fmla="*/ 0 h 3"/>
                  <a:gd name="T1" fmla="*/ 3 h 3"/>
                  <a:gd name="T2" fmla="*/ 0 h 3"/>
                  <a:gd name="T3" fmla="*/ 0 h 3"/>
                </a:gdLst>
                <a:ahLst/>
                <a:cxnLst>
                  <a:cxn ang="0">
                    <a:pos x="0" y="T0"/>
                  </a:cxn>
                  <a:cxn ang="0">
                    <a:pos x="0" y="T1"/>
                  </a:cxn>
                  <a:cxn ang="0">
                    <a:pos x="0" y="T2"/>
                  </a:cxn>
                  <a:cxn ang="0">
                    <a:pos x="0" y="T3"/>
                  </a:cxn>
                </a:cxnLst>
                <a:rect l="0" t="0" r="r" b="b"/>
                <a:pathLst>
                  <a:path h="3">
                    <a:moveTo>
                      <a:pt x="0" y="0"/>
                    </a:moveTo>
                    <a:lnTo>
                      <a:pt x="0" y="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4" name="Freeform 193">
                <a:extLst>
                  <a:ext uri="{FF2B5EF4-FFF2-40B4-BE49-F238E27FC236}">
                    <a16:creationId xmlns:a16="http://schemas.microsoft.com/office/drawing/2014/main" id="{E6577163-FB37-4E54-95CB-A05096AEA97D}"/>
                  </a:ext>
                </a:extLst>
              </p:cNvPr>
              <p:cNvSpPr>
                <a:spLocks/>
              </p:cNvSpPr>
              <p:nvPr/>
            </p:nvSpPr>
            <p:spPr bwMode="auto">
              <a:xfrm>
                <a:off x="4939" y="2140"/>
                <a:ext cx="0" cy="3"/>
              </a:xfrm>
              <a:custGeom>
                <a:avLst/>
                <a:gdLst>
                  <a:gd name="T0" fmla="*/ 0 h 3"/>
                  <a:gd name="T1" fmla="*/ 3 h 3"/>
                  <a:gd name="T2" fmla="*/ 0 h 3"/>
                  <a:gd name="T3" fmla="*/ 0 h 3"/>
                </a:gdLst>
                <a:ahLst/>
                <a:cxnLst>
                  <a:cxn ang="0">
                    <a:pos x="0" y="T0"/>
                  </a:cxn>
                  <a:cxn ang="0">
                    <a:pos x="0" y="T1"/>
                  </a:cxn>
                  <a:cxn ang="0">
                    <a:pos x="0" y="T2"/>
                  </a:cxn>
                  <a:cxn ang="0">
                    <a:pos x="0" y="T3"/>
                  </a:cxn>
                </a:cxnLst>
                <a:rect l="0" t="0" r="r" b="b"/>
                <a:pathLst>
                  <a:path h="3">
                    <a:moveTo>
                      <a:pt x="0" y="0"/>
                    </a:moveTo>
                    <a:lnTo>
                      <a:pt x="0" y="3"/>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5" name="Freeform 194">
                <a:extLst>
                  <a:ext uri="{FF2B5EF4-FFF2-40B4-BE49-F238E27FC236}">
                    <a16:creationId xmlns:a16="http://schemas.microsoft.com/office/drawing/2014/main" id="{3F50EC49-C7EF-490A-987F-614039C0F524}"/>
                  </a:ext>
                </a:extLst>
              </p:cNvPr>
              <p:cNvSpPr>
                <a:spLocks noEditPoints="1"/>
              </p:cNvSpPr>
              <p:nvPr/>
            </p:nvSpPr>
            <p:spPr bwMode="auto">
              <a:xfrm>
                <a:off x="4883" y="1450"/>
                <a:ext cx="919" cy="1102"/>
              </a:xfrm>
              <a:custGeom>
                <a:avLst/>
                <a:gdLst>
                  <a:gd name="T0" fmla="*/ 319 w 389"/>
                  <a:gd name="T1" fmla="*/ 2 h 466"/>
                  <a:gd name="T2" fmla="*/ 305 w 389"/>
                  <a:gd name="T3" fmla="*/ 13 h 466"/>
                  <a:gd name="T4" fmla="*/ 288 w 389"/>
                  <a:gd name="T5" fmla="*/ 27 h 466"/>
                  <a:gd name="T6" fmla="*/ 221 w 389"/>
                  <a:gd name="T7" fmla="*/ 26 h 466"/>
                  <a:gd name="T8" fmla="*/ 74 w 389"/>
                  <a:gd name="T9" fmla="*/ 37 h 466"/>
                  <a:gd name="T10" fmla="*/ 56 w 389"/>
                  <a:gd name="T11" fmla="*/ 77 h 466"/>
                  <a:gd name="T12" fmla="*/ 51 w 389"/>
                  <a:gd name="T13" fmla="*/ 87 h 466"/>
                  <a:gd name="T14" fmla="*/ 35 w 389"/>
                  <a:gd name="T15" fmla="*/ 181 h 466"/>
                  <a:gd name="T16" fmla="*/ 21 w 389"/>
                  <a:gd name="T17" fmla="*/ 199 h 466"/>
                  <a:gd name="T18" fmla="*/ 14 w 389"/>
                  <a:gd name="T19" fmla="*/ 208 h 466"/>
                  <a:gd name="T20" fmla="*/ 14 w 389"/>
                  <a:gd name="T21" fmla="*/ 213 h 466"/>
                  <a:gd name="T22" fmla="*/ 8 w 389"/>
                  <a:gd name="T23" fmla="*/ 224 h 466"/>
                  <a:gd name="T24" fmla="*/ 5 w 389"/>
                  <a:gd name="T25" fmla="*/ 242 h 466"/>
                  <a:gd name="T26" fmla="*/ 2 w 389"/>
                  <a:gd name="T27" fmla="*/ 250 h 466"/>
                  <a:gd name="T28" fmla="*/ 14 w 389"/>
                  <a:gd name="T29" fmla="*/ 263 h 466"/>
                  <a:gd name="T30" fmla="*/ 18 w 389"/>
                  <a:gd name="T31" fmla="*/ 272 h 466"/>
                  <a:gd name="T32" fmla="*/ 25 w 389"/>
                  <a:gd name="T33" fmla="*/ 292 h 466"/>
                  <a:gd name="T34" fmla="*/ 39 w 389"/>
                  <a:gd name="T35" fmla="*/ 311 h 466"/>
                  <a:gd name="T36" fmla="*/ 40 w 389"/>
                  <a:gd name="T37" fmla="*/ 337 h 466"/>
                  <a:gd name="T38" fmla="*/ 44 w 389"/>
                  <a:gd name="T39" fmla="*/ 343 h 466"/>
                  <a:gd name="T40" fmla="*/ 59 w 389"/>
                  <a:gd name="T41" fmla="*/ 354 h 466"/>
                  <a:gd name="T42" fmla="*/ 79 w 389"/>
                  <a:gd name="T43" fmla="*/ 364 h 466"/>
                  <a:gd name="T44" fmla="*/ 83 w 389"/>
                  <a:gd name="T45" fmla="*/ 372 h 466"/>
                  <a:gd name="T46" fmla="*/ 106 w 389"/>
                  <a:gd name="T47" fmla="*/ 393 h 466"/>
                  <a:gd name="T48" fmla="*/ 106 w 389"/>
                  <a:gd name="T49" fmla="*/ 403 h 466"/>
                  <a:gd name="T50" fmla="*/ 127 w 389"/>
                  <a:gd name="T51" fmla="*/ 418 h 466"/>
                  <a:gd name="T52" fmla="*/ 132 w 389"/>
                  <a:gd name="T53" fmla="*/ 431 h 466"/>
                  <a:gd name="T54" fmla="*/ 158 w 389"/>
                  <a:gd name="T55" fmla="*/ 444 h 466"/>
                  <a:gd name="T56" fmla="*/ 182 w 389"/>
                  <a:gd name="T57" fmla="*/ 441 h 466"/>
                  <a:gd name="T58" fmla="*/ 197 w 389"/>
                  <a:gd name="T59" fmla="*/ 456 h 466"/>
                  <a:gd name="T60" fmla="*/ 209 w 389"/>
                  <a:gd name="T61" fmla="*/ 466 h 466"/>
                  <a:gd name="T62" fmla="*/ 221 w 389"/>
                  <a:gd name="T63" fmla="*/ 461 h 466"/>
                  <a:gd name="T64" fmla="*/ 237 w 389"/>
                  <a:gd name="T65" fmla="*/ 464 h 466"/>
                  <a:gd name="T66" fmla="*/ 261 w 389"/>
                  <a:gd name="T67" fmla="*/ 457 h 466"/>
                  <a:gd name="T68" fmla="*/ 281 w 389"/>
                  <a:gd name="T69" fmla="*/ 450 h 466"/>
                  <a:gd name="T70" fmla="*/ 321 w 389"/>
                  <a:gd name="T71" fmla="*/ 441 h 466"/>
                  <a:gd name="T72" fmla="*/ 322 w 389"/>
                  <a:gd name="T73" fmla="*/ 434 h 466"/>
                  <a:gd name="T74" fmla="*/ 321 w 389"/>
                  <a:gd name="T75" fmla="*/ 428 h 466"/>
                  <a:gd name="T76" fmla="*/ 306 w 389"/>
                  <a:gd name="T77" fmla="*/ 416 h 466"/>
                  <a:gd name="T78" fmla="*/ 283 w 389"/>
                  <a:gd name="T79" fmla="*/ 383 h 466"/>
                  <a:gd name="T80" fmla="*/ 271 w 389"/>
                  <a:gd name="T81" fmla="*/ 372 h 466"/>
                  <a:gd name="T82" fmla="*/ 259 w 389"/>
                  <a:gd name="T83" fmla="*/ 359 h 466"/>
                  <a:gd name="T84" fmla="*/ 275 w 389"/>
                  <a:gd name="T85" fmla="*/ 350 h 466"/>
                  <a:gd name="T86" fmla="*/ 285 w 389"/>
                  <a:gd name="T87" fmla="*/ 319 h 466"/>
                  <a:gd name="T88" fmla="*/ 289 w 389"/>
                  <a:gd name="T89" fmla="*/ 299 h 466"/>
                  <a:gd name="T90" fmla="*/ 297 w 389"/>
                  <a:gd name="T91" fmla="*/ 292 h 466"/>
                  <a:gd name="T92" fmla="*/ 302 w 389"/>
                  <a:gd name="T93" fmla="*/ 294 h 466"/>
                  <a:gd name="T94" fmla="*/ 304 w 389"/>
                  <a:gd name="T95" fmla="*/ 287 h 466"/>
                  <a:gd name="T96" fmla="*/ 314 w 389"/>
                  <a:gd name="T97" fmla="*/ 262 h 466"/>
                  <a:gd name="T98" fmla="*/ 329 w 389"/>
                  <a:gd name="T99" fmla="*/ 249 h 466"/>
                  <a:gd name="T100" fmla="*/ 338 w 389"/>
                  <a:gd name="T101" fmla="*/ 224 h 466"/>
                  <a:gd name="T102" fmla="*/ 344 w 389"/>
                  <a:gd name="T103" fmla="*/ 175 h 466"/>
                  <a:gd name="T104" fmla="*/ 361 w 389"/>
                  <a:gd name="T105" fmla="*/ 144 h 466"/>
                  <a:gd name="T106" fmla="*/ 374 w 389"/>
                  <a:gd name="T107" fmla="*/ 134 h 466"/>
                  <a:gd name="T108" fmla="*/ 383 w 389"/>
                  <a:gd name="T109" fmla="*/ 130 h 466"/>
                  <a:gd name="T110" fmla="*/ 359 w 389"/>
                  <a:gd name="T111" fmla="*/ 81 h 466"/>
                  <a:gd name="T112" fmla="*/ 351 w 389"/>
                  <a:gd name="T113" fmla="*/ 26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9" h="466">
                    <a:moveTo>
                      <a:pt x="319" y="438"/>
                    </a:moveTo>
                    <a:cubicBezTo>
                      <a:pt x="319" y="438"/>
                      <a:pt x="319" y="438"/>
                      <a:pt x="319" y="437"/>
                    </a:cubicBezTo>
                    <a:cubicBezTo>
                      <a:pt x="319" y="438"/>
                      <a:pt x="319" y="438"/>
                      <a:pt x="319" y="438"/>
                    </a:cubicBezTo>
                    <a:moveTo>
                      <a:pt x="323" y="0"/>
                    </a:moveTo>
                    <a:cubicBezTo>
                      <a:pt x="323" y="0"/>
                      <a:pt x="322" y="0"/>
                      <a:pt x="322" y="0"/>
                    </a:cubicBezTo>
                    <a:cubicBezTo>
                      <a:pt x="321" y="1"/>
                      <a:pt x="321" y="1"/>
                      <a:pt x="321" y="1"/>
                    </a:cubicBezTo>
                    <a:cubicBezTo>
                      <a:pt x="321" y="1"/>
                      <a:pt x="320" y="2"/>
                      <a:pt x="319" y="2"/>
                    </a:cubicBezTo>
                    <a:cubicBezTo>
                      <a:pt x="318" y="3"/>
                      <a:pt x="317" y="3"/>
                      <a:pt x="315" y="4"/>
                    </a:cubicBezTo>
                    <a:cubicBezTo>
                      <a:pt x="315" y="4"/>
                      <a:pt x="315" y="4"/>
                      <a:pt x="315" y="4"/>
                    </a:cubicBezTo>
                    <a:cubicBezTo>
                      <a:pt x="313" y="5"/>
                      <a:pt x="312" y="5"/>
                      <a:pt x="311" y="6"/>
                    </a:cubicBezTo>
                    <a:cubicBezTo>
                      <a:pt x="310" y="6"/>
                      <a:pt x="310" y="6"/>
                      <a:pt x="310" y="6"/>
                    </a:cubicBezTo>
                    <a:cubicBezTo>
                      <a:pt x="310" y="7"/>
                      <a:pt x="309" y="7"/>
                      <a:pt x="308" y="7"/>
                    </a:cubicBezTo>
                    <a:cubicBezTo>
                      <a:pt x="307" y="8"/>
                      <a:pt x="306" y="11"/>
                      <a:pt x="306" y="13"/>
                    </a:cubicBezTo>
                    <a:cubicBezTo>
                      <a:pt x="305" y="13"/>
                      <a:pt x="305" y="13"/>
                      <a:pt x="305" y="13"/>
                    </a:cubicBezTo>
                    <a:cubicBezTo>
                      <a:pt x="305" y="14"/>
                      <a:pt x="305" y="15"/>
                      <a:pt x="305" y="15"/>
                    </a:cubicBezTo>
                    <a:cubicBezTo>
                      <a:pt x="302" y="20"/>
                      <a:pt x="299" y="21"/>
                      <a:pt x="296" y="22"/>
                    </a:cubicBezTo>
                    <a:cubicBezTo>
                      <a:pt x="294" y="22"/>
                      <a:pt x="294" y="22"/>
                      <a:pt x="294" y="22"/>
                    </a:cubicBezTo>
                    <a:cubicBezTo>
                      <a:pt x="293" y="22"/>
                      <a:pt x="290" y="22"/>
                      <a:pt x="290" y="23"/>
                    </a:cubicBezTo>
                    <a:cubicBezTo>
                      <a:pt x="290" y="23"/>
                      <a:pt x="290" y="23"/>
                      <a:pt x="290" y="23"/>
                    </a:cubicBezTo>
                    <a:cubicBezTo>
                      <a:pt x="289" y="24"/>
                      <a:pt x="289" y="25"/>
                      <a:pt x="289" y="26"/>
                    </a:cubicBezTo>
                    <a:cubicBezTo>
                      <a:pt x="288" y="27"/>
                      <a:pt x="288" y="27"/>
                      <a:pt x="288" y="27"/>
                    </a:cubicBezTo>
                    <a:cubicBezTo>
                      <a:pt x="287" y="28"/>
                      <a:pt x="286" y="28"/>
                      <a:pt x="285" y="28"/>
                    </a:cubicBezTo>
                    <a:cubicBezTo>
                      <a:pt x="262" y="28"/>
                      <a:pt x="262" y="28"/>
                      <a:pt x="262" y="28"/>
                    </a:cubicBezTo>
                    <a:cubicBezTo>
                      <a:pt x="262" y="28"/>
                      <a:pt x="261" y="28"/>
                      <a:pt x="260" y="28"/>
                    </a:cubicBezTo>
                    <a:cubicBezTo>
                      <a:pt x="259" y="28"/>
                      <a:pt x="258" y="28"/>
                      <a:pt x="257" y="28"/>
                    </a:cubicBezTo>
                    <a:cubicBezTo>
                      <a:pt x="256" y="28"/>
                      <a:pt x="255" y="28"/>
                      <a:pt x="254" y="28"/>
                    </a:cubicBezTo>
                    <a:cubicBezTo>
                      <a:pt x="222" y="28"/>
                      <a:pt x="222" y="28"/>
                      <a:pt x="222" y="28"/>
                    </a:cubicBezTo>
                    <a:cubicBezTo>
                      <a:pt x="221" y="26"/>
                      <a:pt x="221" y="26"/>
                      <a:pt x="221" y="26"/>
                    </a:cubicBezTo>
                    <a:cubicBezTo>
                      <a:pt x="221" y="26"/>
                      <a:pt x="221" y="26"/>
                      <a:pt x="221" y="26"/>
                    </a:cubicBezTo>
                    <a:cubicBezTo>
                      <a:pt x="220" y="26"/>
                      <a:pt x="220" y="26"/>
                      <a:pt x="220" y="26"/>
                    </a:cubicBezTo>
                    <a:cubicBezTo>
                      <a:pt x="74" y="28"/>
                      <a:pt x="74" y="28"/>
                      <a:pt x="74" y="28"/>
                    </a:cubicBezTo>
                    <a:cubicBezTo>
                      <a:pt x="74" y="29"/>
                      <a:pt x="74" y="29"/>
                      <a:pt x="74" y="29"/>
                    </a:cubicBezTo>
                    <a:cubicBezTo>
                      <a:pt x="74" y="32"/>
                      <a:pt x="74" y="32"/>
                      <a:pt x="74" y="32"/>
                    </a:cubicBezTo>
                    <a:cubicBezTo>
                      <a:pt x="74" y="36"/>
                      <a:pt x="74" y="36"/>
                      <a:pt x="74" y="36"/>
                    </a:cubicBezTo>
                    <a:cubicBezTo>
                      <a:pt x="74" y="37"/>
                      <a:pt x="74" y="37"/>
                      <a:pt x="74" y="37"/>
                    </a:cubicBezTo>
                    <a:cubicBezTo>
                      <a:pt x="74" y="74"/>
                      <a:pt x="74" y="74"/>
                      <a:pt x="74" y="74"/>
                    </a:cubicBezTo>
                    <a:cubicBezTo>
                      <a:pt x="74" y="75"/>
                      <a:pt x="74" y="77"/>
                      <a:pt x="72" y="77"/>
                    </a:cubicBezTo>
                    <a:cubicBezTo>
                      <a:pt x="70" y="78"/>
                      <a:pt x="68" y="78"/>
                      <a:pt x="67" y="78"/>
                    </a:cubicBezTo>
                    <a:cubicBezTo>
                      <a:pt x="65" y="78"/>
                      <a:pt x="64" y="78"/>
                      <a:pt x="62" y="78"/>
                    </a:cubicBezTo>
                    <a:cubicBezTo>
                      <a:pt x="61" y="77"/>
                      <a:pt x="59" y="77"/>
                      <a:pt x="58" y="77"/>
                    </a:cubicBezTo>
                    <a:cubicBezTo>
                      <a:pt x="58" y="77"/>
                      <a:pt x="57" y="77"/>
                      <a:pt x="57" y="77"/>
                    </a:cubicBezTo>
                    <a:cubicBezTo>
                      <a:pt x="57" y="77"/>
                      <a:pt x="56" y="77"/>
                      <a:pt x="56" y="77"/>
                    </a:cubicBezTo>
                    <a:cubicBezTo>
                      <a:pt x="55" y="77"/>
                      <a:pt x="54" y="78"/>
                      <a:pt x="52" y="78"/>
                    </a:cubicBezTo>
                    <a:cubicBezTo>
                      <a:pt x="51" y="78"/>
                      <a:pt x="51" y="78"/>
                      <a:pt x="51" y="78"/>
                    </a:cubicBezTo>
                    <a:cubicBezTo>
                      <a:pt x="51" y="78"/>
                      <a:pt x="51" y="78"/>
                      <a:pt x="51" y="78"/>
                    </a:cubicBezTo>
                    <a:cubicBezTo>
                      <a:pt x="51" y="79"/>
                      <a:pt x="51" y="82"/>
                      <a:pt x="51" y="85"/>
                    </a:cubicBezTo>
                    <a:cubicBezTo>
                      <a:pt x="51" y="86"/>
                      <a:pt x="51" y="86"/>
                      <a:pt x="51" y="86"/>
                    </a:cubicBezTo>
                    <a:cubicBezTo>
                      <a:pt x="51" y="86"/>
                      <a:pt x="51" y="86"/>
                      <a:pt x="51" y="86"/>
                    </a:cubicBezTo>
                    <a:cubicBezTo>
                      <a:pt x="51" y="87"/>
                      <a:pt x="51" y="87"/>
                      <a:pt x="51" y="87"/>
                    </a:cubicBezTo>
                    <a:cubicBezTo>
                      <a:pt x="51" y="91"/>
                      <a:pt x="51" y="91"/>
                      <a:pt x="51" y="91"/>
                    </a:cubicBezTo>
                    <a:cubicBezTo>
                      <a:pt x="51" y="91"/>
                      <a:pt x="51" y="91"/>
                      <a:pt x="51" y="91"/>
                    </a:cubicBezTo>
                    <a:cubicBezTo>
                      <a:pt x="51" y="95"/>
                      <a:pt x="51" y="95"/>
                      <a:pt x="51" y="95"/>
                    </a:cubicBezTo>
                    <a:cubicBezTo>
                      <a:pt x="51" y="182"/>
                      <a:pt x="51" y="182"/>
                      <a:pt x="51" y="182"/>
                    </a:cubicBezTo>
                    <a:cubicBezTo>
                      <a:pt x="48" y="182"/>
                      <a:pt x="48" y="182"/>
                      <a:pt x="48" y="182"/>
                    </a:cubicBezTo>
                    <a:cubicBezTo>
                      <a:pt x="46" y="182"/>
                      <a:pt x="44" y="182"/>
                      <a:pt x="42" y="182"/>
                    </a:cubicBezTo>
                    <a:cubicBezTo>
                      <a:pt x="40" y="181"/>
                      <a:pt x="37" y="181"/>
                      <a:pt x="35" y="181"/>
                    </a:cubicBezTo>
                    <a:cubicBezTo>
                      <a:pt x="30" y="181"/>
                      <a:pt x="27" y="182"/>
                      <a:pt x="25" y="185"/>
                    </a:cubicBezTo>
                    <a:cubicBezTo>
                      <a:pt x="24" y="187"/>
                      <a:pt x="24" y="190"/>
                      <a:pt x="23" y="191"/>
                    </a:cubicBezTo>
                    <a:cubicBezTo>
                      <a:pt x="23" y="193"/>
                      <a:pt x="23" y="193"/>
                      <a:pt x="23" y="193"/>
                    </a:cubicBezTo>
                    <a:cubicBezTo>
                      <a:pt x="23" y="194"/>
                      <a:pt x="22" y="196"/>
                      <a:pt x="22" y="197"/>
                    </a:cubicBezTo>
                    <a:cubicBezTo>
                      <a:pt x="28" y="199"/>
                      <a:pt x="28" y="199"/>
                      <a:pt x="28" y="199"/>
                    </a:cubicBezTo>
                    <a:cubicBezTo>
                      <a:pt x="21" y="199"/>
                      <a:pt x="21" y="199"/>
                      <a:pt x="21" y="199"/>
                    </a:cubicBezTo>
                    <a:cubicBezTo>
                      <a:pt x="21" y="199"/>
                      <a:pt x="21" y="199"/>
                      <a:pt x="21" y="199"/>
                    </a:cubicBezTo>
                    <a:cubicBezTo>
                      <a:pt x="21" y="200"/>
                      <a:pt x="21" y="200"/>
                      <a:pt x="21" y="200"/>
                    </a:cubicBezTo>
                    <a:cubicBezTo>
                      <a:pt x="21" y="201"/>
                      <a:pt x="20" y="202"/>
                      <a:pt x="20" y="203"/>
                    </a:cubicBezTo>
                    <a:cubicBezTo>
                      <a:pt x="20" y="204"/>
                      <a:pt x="19" y="204"/>
                      <a:pt x="18" y="205"/>
                    </a:cubicBezTo>
                    <a:cubicBezTo>
                      <a:pt x="17" y="206"/>
                      <a:pt x="17" y="206"/>
                      <a:pt x="16" y="207"/>
                    </a:cubicBezTo>
                    <a:cubicBezTo>
                      <a:pt x="16" y="207"/>
                      <a:pt x="16" y="207"/>
                      <a:pt x="16" y="207"/>
                    </a:cubicBezTo>
                    <a:cubicBezTo>
                      <a:pt x="16" y="207"/>
                      <a:pt x="16" y="207"/>
                      <a:pt x="16" y="207"/>
                    </a:cubicBezTo>
                    <a:cubicBezTo>
                      <a:pt x="14" y="208"/>
                      <a:pt x="14" y="208"/>
                      <a:pt x="14" y="208"/>
                    </a:cubicBezTo>
                    <a:cubicBezTo>
                      <a:pt x="14" y="208"/>
                      <a:pt x="14" y="208"/>
                      <a:pt x="14" y="208"/>
                    </a:cubicBezTo>
                    <a:cubicBezTo>
                      <a:pt x="14" y="208"/>
                      <a:pt x="14" y="208"/>
                      <a:pt x="14" y="209"/>
                    </a:cubicBezTo>
                    <a:cubicBezTo>
                      <a:pt x="14" y="209"/>
                      <a:pt x="14" y="210"/>
                      <a:pt x="14" y="211"/>
                    </a:cubicBezTo>
                    <a:cubicBezTo>
                      <a:pt x="14" y="211"/>
                      <a:pt x="14" y="211"/>
                      <a:pt x="14" y="211"/>
                    </a:cubicBezTo>
                    <a:cubicBezTo>
                      <a:pt x="14" y="212"/>
                      <a:pt x="14" y="212"/>
                      <a:pt x="14" y="212"/>
                    </a:cubicBezTo>
                    <a:cubicBezTo>
                      <a:pt x="14" y="213"/>
                      <a:pt x="14" y="213"/>
                      <a:pt x="14" y="213"/>
                    </a:cubicBezTo>
                    <a:cubicBezTo>
                      <a:pt x="14" y="213"/>
                      <a:pt x="14" y="213"/>
                      <a:pt x="14" y="213"/>
                    </a:cubicBezTo>
                    <a:cubicBezTo>
                      <a:pt x="15" y="213"/>
                      <a:pt x="15" y="213"/>
                      <a:pt x="15" y="213"/>
                    </a:cubicBezTo>
                    <a:cubicBezTo>
                      <a:pt x="15" y="214"/>
                      <a:pt x="16" y="215"/>
                      <a:pt x="17" y="216"/>
                    </a:cubicBezTo>
                    <a:cubicBezTo>
                      <a:pt x="18" y="220"/>
                      <a:pt x="18" y="220"/>
                      <a:pt x="18" y="220"/>
                    </a:cubicBezTo>
                    <a:cubicBezTo>
                      <a:pt x="14" y="220"/>
                      <a:pt x="14" y="220"/>
                      <a:pt x="14" y="220"/>
                    </a:cubicBezTo>
                    <a:cubicBezTo>
                      <a:pt x="14" y="220"/>
                      <a:pt x="13" y="220"/>
                      <a:pt x="12" y="221"/>
                    </a:cubicBezTo>
                    <a:cubicBezTo>
                      <a:pt x="10" y="223"/>
                      <a:pt x="10" y="223"/>
                      <a:pt x="10" y="223"/>
                    </a:cubicBezTo>
                    <a:cubicBezTo>
                      <a:pt x="9" y="223"/>
                      <a:pt x="8" y="223"/>
                      <a:pt x="8" y="224"/>
                    </a:cubicBezTo>
                    <a:cubicBezTo>
                      <a:pt x="7" y="224"/>
                      <a:pt x="7" y="224"/>
                      <a:pt x="7" y="225"/>
                    </a:cubicBezTo>
                    <a:cubicBezTo>
                      <a:pt x="6" y="226"/>
                      <a:pt x="6" y="227"/>
                      <a:pt x="8" y="230"/>
                    </a:cubicBezTo>
                    <a:cubicBezTo>
                      <a:pt x="9" y="231"/>
                      <a:pt x="9" y="232"/>
                      <a:pt x="10" y="233"/>
                    </a:cubicBezTo>
                    <a:cubicBezTo>
                      <a:pt x="10" y="233"/>
                      <a:pt x="10" y="233"/>
                      <a:pt x="10" y="233"/>
                    </a:cubicBezTo>
                    <a:cubicBezTo>
                      <a:pt x="10" y="234"/>
                      <a:pt x="10" y="234"/>
                      <a:pt x="10" y="234"/>
                    </a:cubicBezTo>
                    <a:cubicBezTo>
                      <a:pt x="11" y="237"/>
                      <a:pt x="8" y="239"/>
                      <a:pt x="7" y="241"/>
                    </a:cubicBezTo>
                    <a:cubicBezTo>
                      <a:pt x="7" y="241"/>
                      <a:pt x="6" y="242"/>
                      <a:pt x="5" y="242"/>
                    </a:cubicBezTo>
                    <a:cubicBezTo>
                      <a:pt x="5" y="243"/>
                      <a:pt x="5" y="243"/>
                      <a:pt x="5" y="243"/>
                    </a:cubicBezTo>
                    <a:cubicBezTo>
                      <a:pt x="4" y="244"/>
                      <a:pt x="2" y="246"/>
                      <a:pt x="1" y="248"/>
                    </a:cubicBezTo>
                    <a:cubicBezTo>
                      <a:pt x="1" y="248"/>
                      <a:pt x="1" y="249"/>
                      <a:pt x="0" y="249"/>
                    </a:cubicBezTo>
                    <a:cubicBezTo>
                      <a:pt x="1" y="249"/>
                      <a:pt x="1" y="249"/>
                      <a:pt x="1" y="249"/>
                    </a:cubicBezTo>
                    <a:cubicBezTo>
                      <a:pt x="1" y="250"/>
                      <a:pt x="1" y="250"/>
                      <a:pt x="1" y="250"/>
                    </a:cubicBezTo>
                    <a:cubicBezTo>
                      <a:pt x="2" y="250"/>
                      <a:pt x="2" y="250"/>
                      <a:pt x="2" y="250"/>
                    </a:cubicBezTo>
                    <a:cubicBezTo>
                      <a:pt x="2" y="250"/>
                      <a:pt x="2" y="250"/>
                      <a:pt x="2" y="250"/>
                    </a:cubicBezTo>
                    <a:cubicBezTo>
                      <a:pt x="2" y="249"/>
                      <a:pt x="2" y="249"/>
                      <a:pt x="2" y="249"/>
                    </a:cubicBezTo>
                    <a:cubicBezTo>
                      <a:pt x="3" y="249"/>
                      <a:pt x="3" y="249"/>
                      <a:pt x="4" y="249"/>
                    </a:cubicBezTo>
                    <a:cubicBezTo>
                      <a:pt x="4" y="248"/>
                      <a:pt x="5" y="247"/>
                      <a:pt x="6" y="247"/>
                    </a:cubicBezTo>
                    <a:cubicBezTo>
                      <a:pt x="7" y="247"/>
                      <a:pt x="7" y="247"/>
                      <a:pt x="7" y="248"/>
                    </a:cubicBezTo>
                    <a:cubicBezTo>
                      <a:pt x="8" y="248"/>
                      <a:pt x="8" y="248"/>
                      <a:pt x="8" y="248"/>
                    </a:cubicBezTo>
                    <a:cubicBezTo>
                      <a:pt x="9" y="248"/>
                      <a:pt x="9" y="248"/>
                      <a:pt x="10" y="249"/>
                    </a:cubicBezTo>
                    <a:cubicBezTo>
                      <a:pt x="12" y="251"/>
                      <a:pt x="13" y="256"/>
                      <a:pt x="14" y="263"/>
                    </a:cubicBezTo>
                    <a:cubicBezTo>
                      <a:pt x="14" y="263"/>
                      <a:pt x="14" y="263"/>
                      <a:pt x="14" y="263"/>
                    </a:cubicBezTo>
                    <a:cubicBezTo>
                      <a:pt x="15" y="263"/>
                      <a:pt x="15" y="263"/>
                      <a:pt x="15" y="263"/>
                    </a:cubicBezTo>
                    <a:cubicBezTo>
                      <a:pt x="15" y="263"/>
                      <a:pt x="16" y="263"/>
                      <a:pt x="17" y="264"/>
                    </a:cubicBezTo>
                    <a:cubicBezTo>
                      <a:pt x="20" y="264"/>
                      <a:pt x="20" y="264"/>
                      <a:pt x="20" y="264"/>
                    </a:cubicBezTo>
                    <a:cubicBezTo>
                      <a:pt x="18" y="268"/>
                      <a:pt x="18" y="268"/>
                      <a:pt x="18" y="268"/>
                    </a:cubicBezTo>
                    <a:cubicBezTo>
                      <a:pt x="18" y="268"/>
                      <a:pt x="18" y="269"/>
                      <a:pt x="18" y="270"/>
                    </a:cubicBezTo>
                    <a:cubicBezTo>
                      <a:pt x="18" y="272"/>
                      <a:pt x="18" y="272"/>
                      <a:pt x="18" y="272"/>
                    </a:cubicBezTo>
                    <a:cubicBezTo>
                      <a:pt x="17" y="276"/>
                      <a:pt x="17" y="276"/>
                      <a:pt x="19" y="278"/>
                    </a:cubicBezTo>
                    <a:cubicBezTo>
                      <a:pt x="20" y="279"/>
                      <a:pt x="20" y="279"/>
                      <a:pt x="20" y="279"/>
                    </a:cubicBezTo>
                    <a:cubicBezTo>
                      <a:pt x="22" y="280"/>
                      <a:pt x="25" y="281"/>
                      <a:pt x="26" y="284"/>
                    </a:cubicBezTo>
                    <a:cubicBezTo>
                      <a:pt x="28" y="286"/>
                      <a:pt x="26" y="288"/>
                      <a:pt x="26" y="290"/>
                    </a:cubicBezTo>
                    <a:cubicBezTo>
                      <a:pt x="26" y="290"/>
                      <a:pt x="26" y="290"/>
                      <a:pt x="26" y="290"/>
                    </a:cubicBezTo>
                    <a:cubicBezTo>
                      <a:pt x="25" y="291"/>
                      <a:pt x="25" y="292"/>
                      <a:pt x="25" y="292"/>
                    </a:cubicBezTo>
                    <a:cubicBezTo>
                      <a:pt x="25" y="292"/>
                      <a:pt x="25" y="292"/>
                      <a:pt x="25" y="292"/>
                    </a:cubicBezTo>
                    <a:cubicBezTo>
                      <a:pt x="24" y="292"/>
                      <a:pt x="24" y="292"/>
                      <a:pt x="24" y="292"/>
                    </a:cubicBezTo>
                    <a:cubicBezTo>
                      <a:pt x="25" y="293"/>
                      <a:pt x="25" y="293"/>
                      <a:pt x="25" y="293"/>
                    </a:cubicBezTo>
                    <a:cubicBezTo>
                      <a:pt x="25" y="293"/>
                      <a:pt x="25" y="293"/>
                      <a:pt x="25" y="293"/>
                    </a:cubicBezTo>
                    <a:cubicBezTo>
                      <a:pt x="30" y="300"/>
                      <a:pt x="30" y="300"/>
                      <a:pt x="30" y="300"/>
                    </a:cubicBezTo>
                    <a:cubicBezTo>
                      <a:pt x="31" y="301"/>
                      <a:pt x="32" y="302"/>
                      <a:pt x="33" y="304"/>
                    </a:cubicBezTo>
                    <a:cubicBezTo>
                      <a:pt x="34" y="305"/>
                      <a:pt x="34" y="305"/>
                      <a:pt x="34" y="305"/>
                    </a:cubicBezTo>
                    <a:cubicBezTo>
                      <a:pt x="36" y="307"/>
                      <a:pt x="37" y="309"/>
                      <a:pt x="39" y="311"/>
                    </a:cubicBezTo>
                    <a:cubicBezTo>
                      <a:pt x="41" y="314"/>
                      <a:pt x="44" y="318"/>
                      <a:pt x="44" y="323"/>
                    </a:cubicBezTo>
                    <a:cubicBezTo>
                      <a:pt x="43" y="324"/>
                      <a:pt x="43" y="324"/>
                      <a:pt x="43" y="325"/>
                    </a:cubicBezTo>
                    <a:cubicBezTo>
                      <a:pt x="43" y="326"/>
                      <a:pt x="43" y="326"/>
                      <a:pt x="43" y="326"/>
                    </a:cubicBezTo>
                    <a:cubicBezTo>
                      <a:pt x="43" y="327"/>
                      <a:pt x="43" y="328"/>
                      <a:pt x="42" y="329"/>
                    </a:cubicBezTo>
                    <a:cubicBezTo>
                      <a:pt x="43" y="330"/>
                      <a:pt x="43" y="330"/>
                      <a:pt x="42" y="331"/>
                    </a:cubicBezTo>
                    <a:cubicBezTo>
                      <a:pt x="43" y="334"/>
                      <a:pt x="41" y="336"/>
                      <a:pt x="40" y="336"/>
                    </a:cubicBezTo>
                    <a:cubicBezTo>
                      <a:pt x="40" y="337"/>
                      <a:pt x="40" y="337"/>
                      <a:pt x="40" y="337"/>
                    </a:cubicBezTo>
                    <a:cubicBezTo>
                      <a:pt x="39" y="337"/>
                      <a:pt x="39" y="338"/>
                      <a:pt x="39" y="338"/>
                    </a:cubicBezTo>
                    <a:cubicBezTo>
                      <a:pt x="39" y="339"/>
                      <a:pt x="39" y="339"/>
                      <a:pt x="39" y="339"/>
                    </a:cubicBezTo>
                    <a:cubicBezTo>
                      <a:pt x="39" y="342"/>
                      <a:pt x="39" y="342"/>
                      <a:pt x="39" y="342"/>
                    </a:cubicBezTo>
                    <a:cubicBezTo>
                      <a:pt x="39" y="343"/>
                      <a:pt x="39" y="343"/>
                      <a:pt x="39" y="343"/>
                    </a:cubicBezTo>
                    <a:cubicBezTo>
                      <a:pt x="40" y="343"/>
                      <a:pt x="40" y="343"/>
                      <a:pt x="41" y="343"/>
                    </a:cubicBezTo>
                    <a:cubicBezTo>
                      <a:pt x="41" y="343"/>
                      <a:pt x="42" y="343"/>
                      <a:pt x="43" y="343"/>
                    </a:cubicBezTo>
                    <a:cubicBezTo>
                      <a:pt x="43" y="343"/>
                      <a:pt x="44" y="343"/>
                      <a:pt x="44" y="343"/>
                    </a:cubicBezTo>
                    <a:cubicBezTo>
                      <a:pt x="45" y="343"/>
                      <a:pt x="45" y="343"/>
                      <a:pt x="46" y="343"/>
                    </a:cubicBezTo>
                    <a:cubicBezTo>
                      <a:pt x="49" y="343"/>
                      <a:pt x="49" y="343"/>
                      <a:pt x="49" y="343"/>
                    </a:cubicBezTo>
                    <a:cubicBezTo>
                      <a:pt x="51" y="343"/>
                      <a:pt x="53" y="343"/>
                      <a:pt x="55" y="346"/>
                    </a:cubicBezTo>
                    <a:cubicBezTo>
                      <a:pt x="55" y="347"/>
                      <a:pt x="55" y="348"/>
                      <a:pt x="56" y="350"/>
                    </a:cubicBezTo>
                    <a:cubicBezTo>
                      <a:pt x="56" y="351"/>
                      <a:pt x="56" y="351"/>
                      <a:pt x="56" y="352"/>
                    </a:cubicBezTo>
                    <a:cubicBezTo>
                      <a:pt x="56" y="353"/>
                      <a:pt x="56" y="353"/>
                      <a:pt x="56" y="354"/>
                    </a:cubicBezTo>
                    <a:cubicBezTo>
                      <a:pt x="57" y="354"/>
                      <a:pt x="58" y="354"/>
                      <a:pt x="59" y="354"/>
                    </a:cubicBezTo>
                    <a:cubicBezTo>
                      <a:pt x="60" y="354"/>
                      <a:pt x="60" y="354"/>
                      <a:pt x="60" y="354"/>
                    </a:cubicBezTo>
                    <a:cubicBezTo>
                      <a:pt x="61" y="355"/>
                      <a:pt x="61" y="355"/>
                      <a:pt x="61" y="355"/>
                    </a:cubicBezTo>
                    <a:cubicBezTo>
                      <a:pt x="62" y="355"/>
                      <a:pt x="62" y="355"/>
                      <a:pt x="62" y="355"/>
                    </a:cubicBezTo>
                    <a:cubicBezTo>
                      <a:pt x="64" y="355"/>
                      <a:pt x="67" y="356"/>
                      <a:pt x="69" y="356"/>
                    </a:cubicBezTo>
                    <a:cubicBezTo>
                      <a:pt x="71" y="357"/>
                      <a:pt x="75" y="360"/>
                      <a:pt x="77" y="362"/>
                    </a:cubicBezTo>
                    <a:cubicBezTo>
                      <a:pt x="78" y="363"/>
                      <a:pt x="78" y="363"/>
                      <a:pt x="78" y="363"/>
                    </a:cubicBezTo>
                    <a:cubicBezTo>
                      <a:pt x="79" y="364"/>
                      <a:pt x="79" y="364"/>
                      <a:pt x="79" y="364"/>
                    </a:cubicBezTo>
                    <a:cubicBezTo>
                      <a:pt x="79" y="364"/>
                      <a:pt x="79" y="364"/>
                      <a:pt x="79" y="364"/>
                    </a:cubicBezTo>
                    <a:cubicBezTo>
                      <a:pt x="80" y="366"/>
                      <a:pt x="80" y="366"/>
                      <a:pt x="80" y="366"/>
                    </a:cubicBezTo>
                    <a:cubicBezTo>
                      <a:pt x="81" y="367"/>
                      <a:pt x="81" y="367"/>
                      <a:pt x="81" y="367"/>
                    </a:cubicBezTo>
                    <a:cubicBezTo>
                      <a:pt x="81" y="368"/>
                      <a:pt x="81" y="368"/>
                      <a:pt x="81" y="368"/>
                    </a:cubicBezTo>
                    <a:cubicBezTo>
                      <a:pt x="81" y="368"/>
                      <a:pt x="81" y="369"/>
                      <a:pt x="81" y="369"/>
                    </a:cubicBezTo>
                    <a:cubicBezTo>
                      <a:pt x="81" y="370"/>
                      <a:pt x="81" y="370"/>
                      <a:pt x="81" y="370"/>
                    </a:cubicBezTo>
                    <a:cubicBezTo>
                      <a:pt x="81" y="371"/>
                      <a:pt x="82" y="371"/>
                      <a:pt x="83" y="372"/>
                    </a:cubicBezTo>
                    <a:cubicBezTo>
                      <a:pt x="103" y="390"/>
                      <a:pt x="103" y="390"/>
                      <a:pt x="103" y="390"/>
                    </a:cubicBezTo>
                    <a:cubicBezTo>
                      <a:pt x="105" y="387"/>
                      <a:pt x="105" y="387"/>
                      <a:pt x="105" y="387"/>
                    </a:cubicBezTo>
                    <a:cubicBezTo>
                      <a:pt x="104" y="391"/>
                      <a:pt x="104" y="391"/>
                      <a:pt x="104" y="391"/>
                    </a:cubicBezTo>
                    <a:cubicBezTo>
                      <a:pt x="105" y="391"/>
                      <a:pt x="105" y="391"/>
                      <a:pt x="105" y="391"/>
                    </a:cubicBezTo>
                    <a:cubicBezTo>
                      <a:pt x="105" y="392"/>
                      <a:pt x="105" y="392"/>
                      <a:pt x="105" y="392"/>
                    </a:cubicBezTo>
                    <a:cubicBezTo>
                      <a:pt x="109" y="389"/>
                      <a:pt x="109" y="389"/>
                      <a:pt x="109" y="389"/>
                    </a:cubicBezTo>
                    <a:cubicBezTo>
                      <a:pt x="106" y="393"/>
                      <a:pt x="106" y="393"/>
                      <a:pt x="106" y="393"/>
                    </a:cubicBezTo>
                    <a:cubicBezTo>
                      <a:pt x="106" y="393"/>
                      <a:pt x="106" y="393"/>
                      <a:pt x="106" y="393"/>
                    </a:cubicBezTo>
                    <a:cubicBezTo>
                      <a:pt x="107" y="395"/>
                      <a:pt x="107" y="396"/>
                      <a:pt x="107" y="397"/>
                    </a:cubicBezTo>
                    <a:cubicBezTo>
                      <a:pt x="107" y="397"/>
                      <a:pt x="106" y="398"/>
                      <a:pt x="106" y="399"/>
                    </a:cubicBezTo>
                    <a:cubicBezTo>
                      <a:pt x="105" y="400"/>
                      <a:pt x="105" y="400"/>
                      <a:pt x="105" y="400"/>
                    </a:cubicBezTo>
                    <a:cubicBezTo>
                      <a:pt x="105" y="400"/>
                      <a:pt x="105" y="401"/>
                      <a:pt x="105" y="401"/>
                    </a:cubicBezTo>
                    <a:cubicBezTo>
                      <a:pt x="105" y="402"/>
                      <a:pt x="106" y="402"/>
                      <a:pt x="106" y="402"/>
                    </a:cubicBezTo>
                    <a:cubicBezTo>
                      <a:pt x="106" y="403"/>
                      <a:pt x="106" y="403"/>
                      <a:pt x="106" y="403"/>
                    </a:cubicBezTo>
                    <a:cubicBezTo>
                      <a:pt x="106" y="403"/>
                      <a:pt x="107" y="404"/>
                      <a:pt x="107" y="404"/>
                    </a:cubicBezTo>
                    <a:cubicBezTo>
                      <a:pt x="107" y="405"/>
                      <a:pt x="107" y="405"/>
                      <a:pt x="107" y="405"/>
                    </a:cubicBezTo>
                    <a:cubicBezTo>
                      <a:pt x="108" y="405"/>
                      <a:pt x="108" y="405"/>
                      <a:pt x="108" y="405"/>
                    </a:cubicBezTo>
                    <a:cubicBezTo>
                      <a:pt x="108" y="406"/>
                      <a:pt x="109" y="406"/>
                      <a:pt x="111" y="407"/>
                    </a:cubicBezTo>
                    <a:cubicBezTo>
                      <a:pt x="112" y="407"/>
                      <a:pt x="112" y="407"/>
                      <a:pt x="112" y="407"/>
                    </a:cubicBezTo>
                    <a:cubicBezTo>
                      <a:pt x="114" y="408"/>
                      <a:pt x="117" y="410"/>
                      <a:pt x="119" y="411"/>
                    </a:cubicBezTo>
                    <a:cubicBezTo>
                      <a:pt x="122" y="413"/>
                      <a:pt x="126" y="415"/>
                      <a:pt x="127" y="418"/>
                    </a:cubicBezTo>
                    <a:cubicBezTo>
                      <a:pt x="128" y="420"/>
                      <a:pt x="128" y="421"/>
                      <a:pt x="128" y="422"/>
                    </a:cubicBezTo>
                    <a:cubicBezTo>
                      <a:pt x="127" y="422"/>
                      <a:pt x="127" y="422"/>
                      <a:pt x="127" y="422"/>
                    </a:cubicBezTo>
                    <a:cubicBezTo>
                      <a:pt x="127" y="422"/>
                      <a:pt x="127" y="422"/>
                      <a:pt x="127" y="422"/>
                    </a:cubicBezTo>
                    <a:cubicBezTo>
                      <a:pt x="128" y="422"/>
                      <a:pt x="128" y="422"/>
                      <a:pt x="128" y="422"/>
                    </a:cubicBezTo>
                    <a:cubicBezTo>
                      <a:pt x="128" y="423"/>
                      <a:pt x="128" y="423"/>
                      <a:pt x="128" y="423"/>
                    </a:cubicBezTo>
                    <a:cubicBezTo>
                      <a:pt x="129" y="425"/>
                      <a:pt x="130" y="427"/>
                      <a:pt x="131" y="430"/>
                    </a:cubicBezTo>
                    <a:cubicBezTo>
                      <a:pt x="132" y="431"/>
                      <a:pt x="132" y="431"/>
                      <a:pt x="132" y="431"/>
                    </a:cubicBezTo>
                    <a:cubicBezTo>
                      <a:pt x="136" y="434"/>
                      <a:pt x="138" y="437"/>
                      <a:pt x="139" y="440"/>
                    </a:cubicBezTo>
                    <a:cubicBezTo>
                      <a:pt x="140" y="442"/>
                      <a:pt x="145" y="444"/>
                      <a:pt x="148" y="446"/>
                    </a:cubicBezTo>
                    <a:cubicBezTo>
                      <a:pt x="149" y="446"/>
                      <a:pt x="150" y="447"/>
                      <a:pt x="150" y="447"/>
                    </a:cubicBezTo>
                    <a:cubicBezTo>
                      <a:pt x="151" y="447"/>
                      <a:pt x="151" y="447"/>
                      <a:pt x="151" y="447"/>
                    </a:cubicBezTo>
                    <a:cubicBezTo>
                      <a:pt x="152" y="447"/>
                      <a:pt x="152" y="447"/>
                      <a:pt x="152" y="447"/>
                    </a:cubicBezTo>
                    <a:cubicBezTo>
                      <a:pt x="152" y="446"/>
                      <a:pt x="153" y="445"/>
                      <a:pt x="155" y="445"/>
                    </a:cubicBezTo>
                    <a:cubicBezTo>
                      <a:pt x="156" y="445"/>
                      <a:pt x="157" y="444"/>
                      <a:pt x="158" y="444"/>
                    </a:cubicBezTo>
                    <a:cubicBezTo>
                      <a:pt x="160" y="444"/>
                      <a:pt x="163" y="445"/>
                      <a:pt x="165" y="445"/>
                    </a:cubicBezTo>
                    <a:cubicBezTo>
                      <a:pt x="167" y="446"/>
                      <a:pt x="169" y="446"/>
                      <a:pt x="170" y="446"/>
                    </a:cubicBezTo>
                    <a:cubicBezTo>
                      <a:pt x="171" y="446"/>
                      <a:pt x="171" y="446"/>
                      <a:pt x="171" y="446"/>
                    </a:cubicBezTo>
                    <a:cubicBezTo>
                      <a:pt x="171" y="446"/>
                      <a:pt x="171" y="446"/>
                      <a:pt x="171" y="446"/>
                    </a:cubicBezTo>
                    <a:cubicBezTo>
                      <a:pt x="171" y="446"/>
                      <a:pt x="171" y="446"/>
                      <a:pt x="171" y="446"/>
                    </a:cubicBezTo>
                    <a:cubicBezTo>
                      <a:pt x="172" y="445"/>
                      <a:pt x="172" y="444"/>
                      <a:pt x="173" y="444"/>
                    </a:cubicBezTo>
                    <a:cubicBezTo>
                      <a:pt x="176" y="442"/>
                      <a:pt x="179" y="442"/>
                      <a:pt x="182" y="441"/>
                    </a:cubicBezTo>
                    <a:cubicBezTo>
                      <a:pt x="183" y="441"/>
                      <a:pt x="184" y="441"/>
                      <a:pt x="185" y="441"/>
                    </a:cubicBezTo>
                    <a:cubicBezTo>
                      <a:pt x="188" y="441"/>
                      <a:pt x="188" y="441"/>
                      <a:pt x="188" y="441"/>
                    </a:cubicBezTo>
                    <a:cubicBezTo>
                      <a:pt x="188" y="444"/>
                      <a:pt x="188" y="444"/>
                      <a:pt x="188" y="444"/>
                    </a:cubicBezTo>
                    <a:cubicBezTo>
                      <a:pt x="188" y="445"/>
                      <a:pt x="188" y="446"/>
                      <a:pt x="188" y="446"/>
                    </a:cubicBezTo>
                    <a:cubicBezTo>
                      <a:pt x="188" y="447"/>
                      <a:pt x="188" y="448"/>
                      <a:pt x="188" y="448"/>
                    </a:cubicBezTo>
                    <a:cubicBezTo>
                      <a:pt x="192" y="452"/>
                      <a:pt x="192" y="452"/>
                      <a:pt x="192" y="452"/>
                    </a:cubicBezTo>
                    <a:cubicBezTo>
                      <a:pt x="194" y="454"/>
                      <a:pt x="195" y="455"/>
                      <a:pt x="197" y="456"/>
                    </a:cubicBezTo>
                    <a:cubicBezTo>
                      <a:pt x="197" y="456"/>
                      <a:pt x="198" y="456"/>
                      <a:pt x="199" y="456"/>
                    </a:cubicBezTo>
                    <a:cubicBezTo>
                      <a:pt x="200" y="457"/>
                      <a:pt x="200" y="457"/>
                      <a:pt x="200" y="457"/>
                    </a:cubicBezTo>
                    <a:cubicBezTo>
                      <a:pt x="201" y="457"/>
                      <a:pt x="203" y="458"/>
                      <a:pt x="205" y="460"/>
                    </a:cubicBezTo>
                    <a:cubicBezTo>
                      <a:pt x="205" y="461"/>
                      <a:pt x="205" y="462"/>
                      <a:pt x="205" y="463"/>
                    </a:cubicBezTo>
                    <a:cubicBezTo>
                      <a:pt x="205" y="464"/>
                      <a:pt x="205" y="464"/>
                      <a:pt x="205" y="465"/>
                    </a:cubicBezTo>
                    <a:cubicBezTo>
                      <a:pt x="206" y="465"/>
                      <a:pt x="206" y="465"/>
                      <a:pt x="206" y="465"/>
                    </a:cubicBezTo>
                    <a:cubicBezTo>
                      <a:pt x="207" y="465"/>
                      <a:pt x="208" y="465"/>
                      <a:pt x="209" y="466"/>
                    </a:cubicBezTo>
                    <a:cubicBezTo>
                      <a:pt x="209" y="465"/>
                      <a:pt x="210" y="465"/>
                      <a:pt x="210" y="464"/>
                    </a:cubicBezTo>
                    <a:cubicBezTo>
                      <a:pt x="211" y="464"/>
                      <a:pt x="211" y="464"/>
                      <a:pt x="211" y="464"/>
                    </a:cubicBezTo>
                    <a:cubicBezTo>
                      <a:pt x="212" y="463"/>
                      <a:pt x="212" y="463"/>
                      <a:pt x="212" y="463"/>
                    </a:cubicBezTo>
                    <a:cubicBezTo>
                      <a:pt x="213" y="462"/>
                      <a:pt x="213" y="462"/>
                      <a:pt x="213" y="462"/>
                    </a:cubicBezTo>
                    <a:cubicBezTo>
                      <a:pt x="214" y="461"/>
                      <a:pt x="215" y="460"/>
                      <a:pt x="216" y="460"/>
                    </a:cubicBezTo>
                    <a:cubicBezTo>
                      <a:pt x="217" y="460"/>
                      <a:pt x="218" y="460"/>
                      <a:pt x="219" y="461"/>
                    </a:cubicBezTo>
                    <a:cubicBezTo>
                      <a:pt x="219" y="461"/>
                      <a:pt x="220" y="461"/>
                      <a:pt x="221" y="461"/>
                    </a:cubicBezTo>
                    <a:cubicBezTo>
                      <a:pt x="222" y="462"/>
                      <a:pt x="223" y="462"/>
                      <a:pt x="224" y="462"/>
                    </a:cubicBezTo>
                    <a:cubicBezTo>
                      <a:pt x="224" y="462"/>
                      <a:pt x="224" y="462"/>
                      <a:pt x="224" y="462"/>
                    </a:cubicBezTo>
                    <a:cubicBezTo>
                      <a:pt x="225" y="462"/>
                      <a:pt x="225" y="462"/>
                      <a:pt x="226" y="462"/>
                    </a:cubicBezTo>
                    <a:cubicBezTo>
                      <a:pt x="232" y="458"/>
                      <a:pt x="232" y="458"/>
                      <a:pt x="232" y="458"/>
                    </a:cubicBezTo>
                    <a:cubicBezTo>
                      <a:pt x="234" y="460"/>
                      <a:pt x="234" y="460"/>
                      <a:pt x="234" y="460"/>
                    </a:cubicBezTo>
                    <a:cubicBezTo>
                      <a:pt x="237" y="464"/>
                      <a:pt x="237" y="464"/>
                      <a:pt x="237" y="464"/>
                    </a:cubicBezTo>
                    <a:cubicBezTo>
                      <a:pt x="237" y="464"/>
                      <a:pt x="237" y="464"/>
                      <a:pt x="237" y="464"/>
                    </a:cubicBezTo>
                    <a:cubicBezTo>
                      <a:pt x="237" y="464"/>
                      <a:pt x="238" y="464"/>
                      <a:pt x="239" y="464"/>
                    </a:cubicBezTo>
                    <a:cubicBezTo>
                      <a:pt x="240" y="465"/>
                      <a:pt x="240" y="465"/>
                      <a:pt x="240" y="465"/>
                    </a:cubicBezTo>
                    <a:cubicBezTo>
                      <a:pt x="240" y="465"/>
                      <a:pt x="240" y="465"/>
                      <a:pt x="240" y="465"/>
                    </a:cubicBezTo>
                    <a:cubicBezTo>
                      <a:pt x="241" y="464"/>
                      <a:pt x="242" y="463"/>
                      <a:pt x="243" y="462"/>
                    </a:cubicBezTo>
                    <a:cubicBezTo>
                      <a:pt x="245" y="461"/>
                      <a:pt x="247" y="460"/>
                      <a:pt x="250" y="459"/>
                    </a:cubicBezTo>
                    <a:cubicBezTo>
                      <a:pt x="250" y="459"/>
                      <a:pt x="255" y="457"/>
                      <a:pt x="259" y="457"/>
                    </a:cubicBezTo>
                    <a:cubicBezTo>
                      <a:pt x="260" y="457"/>
                      <a:pt x="261" y="457"/>
                      <a:pt x="261" y="457"/>
                    </a:cubicBezTo>
                    <a:cubicBezTo>
                      <a:pt x="262" y="458"/>
                      <a:pt x="263" y="458"/>
                      <a:pt x="264" y="459"/>
                    </a:cubicBezTo>
                    <a:cubicBezTo>
                      <a:pt x="265" y="459"/>
                      <a:pt x="266" y="460"/>
                      <a:pt x="268" y="460"/>
                    </a:cubicBezTo>
                    <a:cubicBezTo>
                      <a:pt x="269" y="460"/>
                      <a:pt x="269" y="460"/>
                      <a:pt x="270" y="460"/>
                    </a:cubicBezTo>
                    <a:cubicBezTo>
                      <a:pt x="271" y="460"/>
                      <a:pt x="271" y="460"/>
                      <a:pt x="273" y="458"/>
                    </a:cubicBezTo>
                    <a:cubicBezTo>
                      <a:pt x="280" y="451"/>
                      <a:pt x="280" y="451"/>
                      <a:pt x="280" y="451"/>
                    </a:cubicBezTo>
                    <a:cubicBezTo>
                      <a:pt x="280" y="450"/>
                      <a:pt x="280" y="450"/>
                      <a:pt x="280" y="450"/>
                    </a:cubicBezTo>
                    <a:cubicBezTo>
                      <a:pt x="281" y="450"/>
                      <a:pt x="281" y="450"/>
                      <a:pt x="281" y="450"/>
                    </a:cubicBezTo>
                    <a:cubicBezTo>
                      <a:pt x="285" y="446"/>
                      <a:pt x="285" y="446"/>
                      <a:pt x="285" y="446"/>
                    </a:cubicBezTo>
                    <a:cubicBezTo>
                      <a:pt x="286" y="445"/>
                      <a:pt x="286" y="445"/>
                      <a:pt x="287" y="445"/>
                    </a:cubicBezTo>
                    <a:cubicBezTo>
                      <a:pt x="287" y="444"/>
                      <a:pt x="287" y="444"/>
                      <a:pt x="287" y="444"/>
                    </a:cubicBezTo>
                    <a:cubicBezTo>
                      <a:pt x="288" y="444"/>
                      <a:pt x="288" y="444"/>
                      <a:pt x="288" y="444"/>
                    </a:cubicBezTo>
                    <a:cubicBezTo>
                      <a:pt x="289" y="442"/>
                      <a:pt x="291" y="440"/>
                      <a:pt x="294" y="440"/>
                    </a:cubicBezTo>
                    <a:cubicBezTo>
                      <a:pt x="320" y="440"/>
                      <a:pt x="320" y="440"/>
                      <a:pt x="320" y="440"/>
                    </a:cubicBezTo>
                    <a:cubicBezTo>
                      <a:pt x="320" y="440"/>
                      <a:pt x="320" y="440"/>
                      <a:pt x="321" y="441"/>
                    </a:cubicBezTo>
                    <a:cubicBezTo>
                      <a:pt x="321" y="441"/>
                      <a:pt x="321" y="441"/>
                      <a:pt x="321" y="441"/>
                    </a:cubicBezTo>
                    <a:cubicBezTo>
                      <a:pt x="320" y="440"/>
                      <a:pt x="320" y="440"/>
                      <a:pt x="320" y="440"/>
                    </a:cubicBezTo>
                    <a:cubicBezTo>
                      <a:pt x="320" y="440"/>
                      <a:pt x="320" y="439"/>
                      <a:pt x="319" y="438"/>
                    </a:cubicBezTo>
                    <a:cubicBezTo>
                      <a:pt x="320" y="439"/>
                      <a:pt x="320" y="439"/>
                      <a:pt x="320" y="440"/>
                    </a:cubicBezTo>
                    <a:cubicBezTo>
                      <a:pt x="322" y="440"/>
                      <a:pt x="322" y="440"/>
                      <a:pt x="322" y="440"/>
                    </a:cubicBezTo>
                    <a:cubicBezTo>
                      <a:pt x="322" y="436"/>
                      <a:pt x="322" y="436"/>
                      <a:pt x="322" y="436"/>
                    </a:cubicBezTo>
                    <a:cubicBezTo>
                      <a:pt x="322" y="436"/>
                      <a:pt x="322" y="435"/>
                      <a:pt x="322" y="434"/>
                    </a:cubicBezTo>
                    <a:cubicBezTo>
                      <a:pt x="322" y="433"/>
                      <a:pt x="322" y="433"/>
                      <a:pt x="322" y="433"/>
                    </a:cubicBezTo>
                    <a:cubicBezTo>
                      <a:pt x="322" y="432"/>
                      <a:pt x="322" y="432"/>
                      <a:pt x="322" y="431"/>
                    </a:cubicBezTo>
                    <a:cubicBezTo>
                      <a:pt x="323" y="430"/>
                      <a:pt x="323" y="430"/>
                      <a:pt x="323" y="430"/>
                    </a:cubicBezTo>
                    <a:cubicBezTo>
                      <a:pt x="323" y="429"/>
                      <a:pt x="323" y="429"/>
                      <a:pt x="323" y="428"/>
                    </a:cubicBezTo>
                    <a:cubicBezTo>
                      <a:pt x="323" y="428"/>
                      <a:pt x="323" y="428"/>
                      <a:pt x="323" y="428"/>
                    </a:cubicBezTo>
                    <a:cubicBezTo>
                      <a:pt x="323" y="428"/>
                      <a:pt x="322" y="428"/>
                      <a:pt x="321" y="428"/>
                    </a:cubicBezTo>
                    <a:cubicBezTo>
                      <a:pt x="321" y="428"/>
                      <a:pt x="321" y="428"/>
                      <a:pt x="321" y="428"/>
                    </a:cubicBezTo>
                    <a:cubicBezTo>
                      <a:pt x="320" y="427"/>
                      <a:pt x="320" y="427"/>
                      <a:pt x="320" y="427"/>
                    </a:cubicBezTo>
                    <a:cubicBezTo>
                      <a:pt x="318" y="427"/>
                      <a:pt x="316" y="426"/>
                      <a:pt x="314" y="425"/>
                    </a:cubicBezTo>
                    <a:cubicBezTo>
                      <a:pt x="313" y="425"/>
                      <a:pt x="313" y="425"/>
                      <a:pt x="313" y="424"/>
                    </a:cubicBezTo>
                    <a:cubicBezTo>
                      <a:pt x="312" y="424"/>
                      <a:pt x="312" y="424"/>
                      <a:pt x="311" y="423"/>
                    </a:cubicBezTo>
                    <a:cubicBezTo>
                      <a:pt x="310" y="423"/>
                      <a:pt x="310" y="422"/>
                      <a:pt x="309" y="421"/>
                    </a:cubicBezTo>
                    <a:cubicBezTo>
                      <a:pt x="309" y="421"/>
                      <a:pt x="309" y="421"/>
                      <a:pt x="308" y="420"/>
                    </a:cubicBezTo>
                    <a:cubicBezTo>
                      <a:pt x="307" y="419"/>
                      <a:pt x="306" y="417"/>
                      <a:pt x="306" y="416"/>
                    </a:cubicBezTo>
                    <a:cubicBezTo>
                      <a:pt x="306" y="416"/>
                      <a:pt x="302" y="402"/>
                      <a:pt x="298" y="397"/>
                    </a:cubicBezTo>
                    <a:cubicBezTo>
                      <a:pt x="298" y="397"/>
                      <a:pt x="298" y="396"/>
                      <a:pt x="297" y="396"/>
                    </a:cubicBezTo>
                    <a:cubicBezTo>
                      <a:pt x="296" y="394"/>
                      <a:pt x="296" y="394"/>
                      <a:pt x="296" y="394"/>
                    </a:cubicBezTo>
                    <a:cubicBezTo>
                      <a:pt x="294" y="393"/>
                      <a:pt x="293" y="392"/>
                      <a:pt x="292" y="391"/>
                    </a:cubicBezTo>
                    <a:cubicBezTo>
                      <a:pt x="292" y="390"/>
                      <a:pt x="291" y="390"/>
                      <a:pt x="291" y="390"/>
                    </a:cubicBezTo>
                    <a:cubicBezTo>
                      <a:pt x="288" y="388"/>
                      <a:pt x="285" y="386"/>
                      <a:pt x="283" y="383"/>
                    </a:cubicBezTo>
                    <a:cubicBezTo>
                      <a:pt x="283" y="383"/>
                      <a:pt x="283" y="383"/>
                      <a:pt x="283" y="383"/>
                    </a:cubicBezTo>
                    <a:cubicBezTo>
                      <a:pt x="282" y="382"/>
                      <a:pt x="281" y="382"/>
                      <a:pt x="281" y="381"/>
                    </a:cubicBezTo>
                    <a:cubicBezTo>
                      <a:pt x="280" y="380"/>
                      <a:pt x="280" y="380"/>
                      <a:pt x="279" y="379"/>
                    </a:cubicBezTo>
                    <a:cubicBezTo>
                      <a:pt x="279" y="378"/>
                      <a:pt x="279" y="378"/>
                      <a:pt x="279" y="378"/>
                    </a:cubicBezTo>
                    <a:cubicBezTo>
                      <a:pt x="278" y="377"/>
                      <a:pt x="276" y="374"/>
                      <a:pt x="275" y="373"/>
                    </a:cubicBezTo>
                    <a:cubicBezTo>
                      <a:pt x="275" y="373"/>
                      <a:pt x="275" y="373"/>
                      <a:pt x="275" y="373"/>
                    </a:cubicBezTo>
                    <a:cubicBezTo>
                      <a:pt x="274" y="373"/>
                      <a:pt x="273" y="373"/>
                      <a:pt x="273" y="373"/>
                    </a:cubicBezTo>
                    <a:cubicBezTo>
                      <a:pt x="272" y="373"/>
                      <a:pt x="272" y="373"/>
                      <a:pt x="271" y="372"/>
                    </a:cubicBezTo>
                    <a:cubicBezTo>
                      <a:pt x="270" y="372"/>
                      <a:pt x="270" y="372"/>
                      <a:pt x="270" y="372"/>
                    </a:cubicBezTo>
                    <a:cubicBezTo>
                      <a:pt x="268" y="371"/>
                      <a:pt x="265" y="369"/>
                      <a:pt x="263" y="369"/>
                    </a:cubicBezTo>
                    <a:cubicBezTo>
                      <a:pt x="262" y="368"/>
                      <a:pt x="262" y="368"/>
                      <a:pt x="262" y="368"/>
                    </a:cubicBezTo>
                    <a:cubicBezTo>
                      <a:pt x="261" y="368"/>
                      <a:pt x="260" y="367"/>
                      <a:pt x="259" y="367"/>
                    </a:cubicBezTo>
                    <a:cubicBezTo>
                      <a:pt x="256" y="366"/>
                      <a:pt x="256" y="366"/>
                      <a:pt x="256" y="366"/>
                    </a:cubicBezTo>
                    <a:cubicBezTo>
                      <a:pt x="257" y="363"/>
                      <a:pt x="257" y="363"/>
                      <a:pt x="257" y="363"/>
                    </a:cubicBezTo>
                    <a:cubicBezTo>
                      <a:pt x="258" y="362"/>
                      <a:pt x="258" y="360"/>
                      <a:pt x="259" y="359"/>
                    </a:cubicBezTo>
                    <a:cubicBezTo>
                      <a:pt x="260" y="355"/>
                      <a:pt x="261" y="350"/>
                      <a:pt x="266" y="349"/>
                    </a:cubicBezTo>
                    <a:cubicBezTo>
                      <a:pt x="266" y="349"/>
                      <a:pt x="267" y="349"/>
                      <a:pt x="267" y="349"/>
                    </a:cubicBezTo>
                    <a:cubicBezTo>
                      <a:pt x="268" y="349"/>
                      <a:pt x="269" y="349"/>
                      <a:pt x="269" y="349"/>
                    </a:cubicBezTo>
                    <a:cubicBezTo>
                      <a:pt x="270" y="349"/>
                      <a:pt x="270" y="349"/>
                      <a:pt x="270" y="349"/>
                    </a:cubicBezTo>
                    <a:cubicBezTo>
                      <a:pt x="270" y="349"/>
                      <a:pt x="270" y="349"/>
                      <a:pt x="270" y="349"/>
                    </a:cubicBezTo>
                    <a:cubicBezTo>
                      <a:pt x="270" y="349"/>
                      <a:pt x="270" y="349"/>
                      <a:pt x="270" y="349"/>
                    </a:cubicBezTo>
                    <a:cubicBezTo>
                      <a:pt x="272" y="349"/>
                      <a:pt x="273" y="349"/>
                      <a:pt x="275" y="350"/>
                    </a:cubicBezTo>
                    <a:cubicBezTo>
                      <a:pt x="276" y="350"/>
                      <a:pt x="278" y="350"/>
                      <a:pt x="279" y="350"/>
                    </a:cubicBezTo>
                    <a:cubicBezTo>
                      <a:pt x="280" y="350"/>
                      <a:pt x="281" y="350"/>
                      <a:pt x="281" y="350"/>
                    </a:cubicBezTo>
                    <a:cubicBezTo>
                      <a:pt x="282" y="349"/>
                      <a:pt x="282" y="349"/>
                      <a:pt x="282" y="349"/>
                    </a:cubicBezTo>
                    <a:cubicBezTo>
                      <a:pt x="285" y="347"/>
                      <a:pt x="284" y="338"/>
                      <a:pt x="283" y="333"/>
                    </a:cubicBezTo>
                    <a:cubicBezTo>
                      <a:pt x="283" y="332"/>
                      <a:pt x="283" y="332"/>
                      <a:pt x="283" y="332"/>
                    </a:cubicBezTo>
                    <a:cubicBezTo>
                      <a:pt x="283" y="328"/>
                      <a:pt x="283" y="325"/>
                      <a:pt x="284" y="322"/>
                    </a:cubicBezTo>
                    <a:cubicBezTo>
                      <a:pt x="285" y="321"/>
                      <a:pt x="285" y="320"/>
                      <a:pt x="285" y="319"/>
                    </a:cubicBezTo>
                    <a:cubicBezTo>
                      <a:pt x="286" y="318"/>
                      <a:pt x="286" y="318"/>
                      <a:pt x="286" y="318"/>
                    </a:cubicBezTo>
                    <a:cubicBezTo>
                      <a:pt x="286" y="317"/>
                      <a:pt x="287" y="315"/>
                      <a:pt x="287" y="313"/>
                    </a:cubicBezTo>
                    <a:cubicBezTo>
                      <a:pt x="288" y="311"/>
                      <a:pt x="288" y="311"/>
                      <a:pt x="288" y="311"/>
                    </a:cubicBezTo>
                    <a:cubicBezTo>
                      <a:pt x="288" y="311"/>
                      <a:pt x="288" y="310"/>
                      <a:pt x="288" y="309"/>
                    </a:cubicBezTo>
                    <a:cubicBezTo>
                      <a:pt x="289" y="309"/>
                      <a:pt x="288" y="308"/>
                      <a:pt x="288" y="307"/>
                    </a:cubicBezTo>
                    <a:cubicBezTo>
                      <a:pt x="288" y="305"/>
                      <a:pt x="287" y="303"/>
                      <a:pt x="288" y="300"/>
                    </a:cubicBezTo>
                    <a:cubicBezTo>
                      <a:pt x="288" y="300"/>
                      <a:pt x="288" y="299"/>
                      <a:pt x="289" y="299"/>
                    </a:cubicBezTo>
                    <a:cubicBezTo>
                      <a:pt x="290" y="298"/>
                      <a:pt x="290" y="297"/>
                      <a:pt x="291" y="296"/>
                    </a:cubicBezTo>
                    <a:cubicBezTo>
                      <a:pt x="292" y="294"/>
                      <a:pt x="293" y="293"/>
                      <a:pt x="294" y="293"/>
                    </a:cubicBezTo>
                    <a:cubicBezTo>
                      <a:pt x="295" y="293"/>
                      <a:pt x="295" y="293"/>
                      <a:pt x="295" y="293"/>
                    </a:cubicBezTo>
                    <a:cubicBezTo>
                      <a:pt x="295" y="292"/>
                      <a:pt x="295" y="292"/>
                      <a:pt x="295" y="292"/>
                    </a:cubicBezTo>
                    <a:cubicBezTo>
                      <a:pt x="296" y="292"/>
                      <a:pt x="296" y="292"/>
                      <a:pt x="296" y="292"/>
                    </a:cubicBezTo>
                    <a:cubicBezTo>
                      <a:pt x="297" y="292"/>
                      <a:pt x="297" y="292"/>
                      <a:pt x="297" y="292"/>
                    </a:cubicBezTo>
                    <a:cubicBezTo>
                      <a:pt x="297" y="292"/>
                      <a:pt x="297" y="292"/>
                      <a:pt x="297" y="292"/>
                    </a:cubicBezTo>
                    <a:cubicBezTo>
                      <a:pt x="297" y="292"/>
                      <a:pt x="298" y="292"/>
                      <a:pt x="298" y="292"/>
                    </a:cubicBezTo>
                    <a:cubicBezTo>
                      <a:pt x="298" y="292"/>
                      <a:pt x="298" y="292"/>
                      <a:pt x="298" y="292"/>
                    </a:cubicBezTo>
                    <a:cubicBezTo>
                      <a:pt x="299" y="293"/>
                      <a:pt x="299" y="293"/>
                      <a:pt x="299" y="293"/>
                    </a:cubicBezTo>
                    <a:cubicBezTo>
                      <a:pt x="300" y="293"/>
                      <a:pt x="300" y="293"/>
                      <a:pt x="300" y="293"/>
                    </a:cubicBezTo>
                    <a:cubicBezTo>
                      <a:pt x="300" y="294"/>
                      <a:pt x="301" y="294"/>
                      <a:pt x="301" y="294"/>
                    </a:cubicBezTo>
                    <a:cubicBezTo>
                      <a:pt x="302" y="294"/>
                      <a:pt x="302" y="294"/>
                      <a:pt x="302" y="294"/>
                    </a:cubicBezTo>
                    <a:cubicBezTo>
                      <a:pt x="302" y="294"/>
                      <a:pt x="302" y="294"/>
                      <a:pt x="302" y="294"/>
                    </a:cubicBezTo>
                    <a:cubicBezTo>
                      <a:pt x="302" y="294"/>
                      <a:pt x="303" y="294"/>
                      <a:pt x="303" y="294"/>
                    </a:cubicBezTo>
                    <a:cubicBezTo>
                      <a:pt x="303" y="293"/>
                      <a:pt x="303" y="293"/>
                      <a:pt x="303" y="293"/>
                    </a:cubicBezTo>
                    <a:cubicBezTo>
                      <a:pt x="303" y="293"/>
                      <a:pt x="303" y="293"/>
                      <a:pt x="303" y="293"/>
                    </a:cubicBezTo>
                    <a:cubicBezTo>
                      <a:pt x="303" y="293"/>
                      <a:pt x="303" y="293"/>
                      <a:pt x="303" y="293"/>
                    </a:cubicBezTo>
                    <a:cubicBezTo>
                      <a:pt x="303" y="291"/>
                      <a:pt x="303" y="290"/>
                      <a:pt x="303" y="289"/>
                    </a:cubicBezTo>
                    <a:cubicBezTo>
                      <a:pt x="303" y="289"/>
                      <a:pt x="303" y="289"/>
                      <a:pt x="303" y="289"/>
                    </a:cubicBezTo>
                    <a:cubicBezTo>
                      <a:pt x="304" y="288"/>
                      <a:pt x="304" y="288"/>
                      <a:pt x="304" y="287"/>
                    </a:cubicBezTo>
                    <a:cubicBezTo>
                      <a:pt x="304" y="286"/>
                      <a:pt x="304" y="286"/>
                      <a:pt x="304" y="285"/>
                    </a:cubicBezTo>
                    <a:cubicBezTo>
                      <a:pt x="304" y="284"/>
                      <a:pt x="304" y="284"/>
                      <a:pt x="304" y="284"/>
                    </a:cubicBezTo>
                    <a:cubicBezTo>
                      <a:pt x="304" y="284"/>
                      <a:pt x="304" y="283"/>
                      <a:pt x="305" y="282"/>
                    </a:cubicBezTo>
                    <a:cubicBezTo>
                      <a:pt x="305" y="280"/>
                      <a:pt x="305" y="278"/>
                      <a:pt x="306" y="277"/>
                    </a:cubicBezTo>
                    <a:cubicBezTo>
                      <a:pt x="306" y="275"/>
                      <a:pt x="306" y="275"/>
                      <a:pt x="306" y="275"/>
                    </a:cubicBezTo>
                    <a:cubicBezTo>
                      <a:pt x="307" y="272"/>
                      <a:pt x="308" y="269"/>
                      <a:pt x="311" y="267"/>
                    </a:cubicBezTo>
                    <a:cubicBezTo>
                      <a:pt x="312" y="266"/>
                      <a:pt x="313" y="264"/>
                      <a:pt x="314" y="262"/>
                    </a:cubicBezTo>
                    <a:cubicBezTo>
                      <a:pt x="315" y="260"/>
                      <a:pt x="317" y="258"/>
                      <a:pt x="318" y="256"/>
                    </a:cubicBezTo>
                    <a:cubicBezTo>
                      <a:pt x="318" y="255"/>
                      <a:pt x="318" y="255"/>
                      <a:pt x="318" y="255"/>
                    </a:cubicBezTo>
                    <a:cubicBezTo>
                      <a:pt x="319" y="254"/>
                      <a:pt x="320" y="252"/>
                      <a:pt x="320" y="251"/>
                    </a:cubicBezTo>
                    <a:cubicBezTo>
                      <a:pt x="321" y="250"/>
                      <a:pt x="323" y="249"/>
                      <a:pt x="325" y="248"/>
                    </a:cubicBezTo>
                    <a:cubicBezTo>
                      <a:pt x="326" y="248"/>
                      <a:pt x="326" y="248"/>
                      <a:pt x="326" y="248"/>
                    </a:cubicBezTo>
                    <a:cubicBezTo>
                      <a:pt x="326" y="248"/>
                      <a:pt x="326" y="248"/>
                      <a:pt x="326" y="248"/>
                    </a:cubicBezTo>
                    <a:cubicBezTo>
                      <a:pt x="327" y="248"/>
                      <a:pt x="328" y="249"/>
                      <a:pt x="329" y="249"/>
                    </a:cubicBezTo>
                    <a:cubicBezTo>
                      <a:pt x="329" y="249"/>
                      <a:pt x="330" y="249"/>
                      <a:pt x="331" y="249"/>
                    </a:cubicBezTo>
                    <a:cubicBezTo>
                      <a:pt x="331" y="249"/>
                      <a:pt x="331" y="249"/>
                      <a:pt x="331" y="249"/>
                    </a:cubicBezTo>
                    <a:cubicBezTo>
                      <a:pt x="331" y="249"/>
                      <a:pt x="331" y="249"/>
                      <a:pt x="332" y="249"/>
                    </a:cubicBezTo>
                    <a:cubicBezTo>
                      <a:pt x="332" y="249"/>
                      <a:pt x="332" y="248"/>
                      <a:pt x="333" y="244"/>
                    </a:cubicBezTo>
                    <a:cubicBezTo>
                      <a:pt x="333" y="243"/>
                      <a:pt x="333" y="243"/>
                      <a:pt x="333" y="243"/>
                    </a:cubicBezTo>
                    <a:cubicBezTo>
                      <a:pt x="334" y="239"/>
                      <a:pt x="334" y="239"/>
                      <a:pt x="334" y="239"/>
                    </a:cubicBezTo>
                    <a:cubicBezTo>
                      <a:pt x="336" y="234"/>
                      <a:pt x="337" y="229"/>
                      <a:pt x="338" y="224"/>
                    </a:cubicBezTo>
                    <a:cubicBezTo>
                      <a:pt x="338" y="223"/>
                      <a:pt x="338" y="223"/>
                      <a:pt x="338" y="223"/>
                    </a:cubicBezTo>
                    <a:cubicBezTo>
                      <a:pt x="339" y="221"/>
                      <a:pt x="339" y="218"/>
                      <a:pt x="340" y="216"/>
                    </a:cubicBezTo>
                    <a:cubicBezTo>
                      <a:pt x="340" y="214"/>
                      <a:pt x="340" y="214"/>
                      <a:pt x="340" y="214"/>
                    </a:cubicBezTo>
                    <a:cubicBezTo>
                      <a:pt x="339" y="210"/>
                      <a:pt x="339" y="204"/>
                      <a:pt x="339" y="203"/>
                    </a:cubicBezTo>
                    <a:cubicBezTo>
                      <a:pt x="339" y="203"/>
                      <a:pt x="339" y="202"/>
                      <a:pt x="339" y="201"/>
                    </a:cubicBezTo>
                    <a:cubicBezTo>
                      <a:pt x="338" y="198"/>
                      <a:pt x="338" y="195"/>
                      <a:pt x="338" y="193"/>
                    </a:cubicBezTo>
                    <a:cubicBezTo>
                      <a:pt x="339" y="187"/>
                      <a:pt x="342" y="181"/>
                      <a:pt x="344" y="175"/>
                    </a:cubicBezTo>
                    <a:cubicBezTo>
                      <a:pt x="344" y="175"/>
                      <a:pt x="344" y="175"/>
                      <a:pt x="344" y="175"/>
                    </a:cubicBezTo>
                    <a:cubicBezTo>
                      <a:pt x="346" y="172"/>
                      <a:pt x="347" y="170"/>
                      <a:pt x="348" y="167"/>
                    </a:cubicBezTo>
                    <a:cubicBezTo>
                      <a:pt x="350" y="161"/>
                      <a:pt x="350" y="155"/>
                      <a:pt x="351" y="148"/>
                    </a:cubicBezTo>
                    <a:cubicBezTo>
                      <a:pt x="351" y="143"/>
                      <a:pt x="351" y="143"/>
                      <a:pt x="351" y="143"/>
                    </a:cubicBezTo>
                    <a:cubicBezTo>
                      <a:pt x="354" y="143"/>
                      <a:pt x="354" y="143"/>
                      <a:pt x="354" y="143"/>
                    </a:cubicBezTo>
                    <a:cubicBezTo>
                      <a:pt x="355" y="143"/>
                      <a:pt x="356" y="143"/>
                      <a:pt x="357" y="144"/>
                    </a:cubicBezTo>
                    <a:cubicBezTo>
                      <a:pt x="358" y="144"/>
                      <a:pt x="359" y="144"/>
                      <a:pt x="361" y="144"/>
                    </a:cubicBezTo>
                    <a:cubicBezTo>
                      <a:pt x="361" y="144"/>
                      <a:pt x="362" y="144"/>
                      <a:pt x="362" y="144"/>
                    </a:cubicBezTo>
                    <a:cubicBezTo>
                      <a:pt x="363" y="143"/>
                      <a:pt x="363" y="143"/>
                      <a:pt x="363" y="143"/>
                    </a:cubicBezTo>
                    <a:cubicBezTo>
                      <a:pt x="364" y="142"/>
                      <a:pt x="364" y="142"/>
                      <a:pt x="364" y="142"/>
                    </a:cubicBezTo>
                    <a:cubicBezTo>
                      <a:pt x="364" y="142"/>
                      <a:pt x="364" y="141"/>
                      <a:pt x="365" y="140"/>
                    </a:cubicBezTo>
                    <a:cubicBezTo>
                      <a:pt x="367" y="139"/>
                      <a:pt x="369" y="137"/>
                      <a:pt x="371" y="136"/>
                    </a:cubicBezTo>
                    <a:cubicBezTo>
                      <a:pt x="371" y="136"/>
                      <a:pt x="371" y="136"/>
                      <a:pt x="371" y="136"/>
                    </a:cubicBezTo>
                    <a:cubicBezTo>
                      <a:pt x="372" y="135"/>
                      <a:pt x="373" y="135"/>
                      <a:pt x="374" y="134"/>
                    </a:cubicBezTo>
                    <a:cubicBezTo>
                      <a:pt x="374" y="134"/>
                      <a:pt x="374" y="134"/>
                      <a:pt x="374" y="134"/>
                    </a:cubicBezTo>
                    <a:cubicBezTo>
                      <a:pt x="375" y="133"/>
                      <a:pt x="376" y="133"/>
                      <a:pt x="376" y="133"/>
                    </a:cubicBezTo>
                    <a:cubicBezTo>
                      <a:pt x="378" y="132"/>
                      <a:pt x="379" y="132"/>
                      <a:pt x="380" y="132"/>
                    </a:cubicBezTo>
                    <a:cubicBezTo>
                      <a:pt x="381" y="132"/>
                      <a:pt x="381" y="132"/>
                      <a:pt x="381" y="132"/>
                    </a:cubicBezTo>
                    <a:cubicBezTo>
                      <a:pt x="378" y="127"/>
                      <a:pt x="378" y="127"/>
                      <a:pt x="378" y="127"/>
                    </a:cubicBezTo>
                    <a:cubicBezTo>
                      <a:pt x="382" y="131"/>
                      <a:pt x="382" y="131"/>
                      <a:pt x="382" y="131"/>
                    </a:cubicBezTo>
                    <a:cubicBezTo>
                      <a:pt x="383" y="130"/>
                      <a:pt x="383" y="130"/>
                      <a:pt x="383" y="130"/>
                    </a:cubicBezTo>
                    <a:cubicBezTo>
                      <a:pt x="384" y="129"/>
                      <a:pt x="386" y="127"/>
                      <a:pt x="387" y="125"/>
                    </a:cubicBezTo>
                    <a:cubicBezTo>
                      <a:pt x="387" y="125"/>
                      <a:pt x="387" y="125"/>
                      <a:pt x="387" y="125"/>
                    </a:cubicBezTo>
                    <a:cubicBezTo>
                      <a:pt x="388" y="124"/>
                      <a:pt x="388" y="123"/>
                      <a:pt x="389" y="123"/>
                    </a:cubicBezTo>
                    <a:cubicBezTo>
                      <a:pt x="389" y="122"/>
                      <a:pt x="389" y="122"/>
                      <a:pt x="389" y="122"/>
                    </a:cubicBezTo>
                    <a:cubicBezTo>
                      <a:pt x="388" y="121"/>
                      <a:pt x="387" y="121"/>
                      <a:pt x="387" y="120"/>
                    </a:cubicBezTo>
                    <a:cubicBezTo>
                      <a:pt x="380" y="116"/>
                      <a:pt x="374" y="111"/>
                      <a:pt x="368" y="106"/>
                    </a:cubicBezTo>
                    <a:cubicBezTo>
                      <a:pt x="361" y="101"/>
                      <a:pt x="360" y="88"/>
                      <a:pt x="359" y="81"/>
                    </a:cubicBezTo>
                    <a:cubicBezTo>
                      <a:pt x="359" y="75"/>
                      <a:pt x="360" y="68"/>
                      <a:pt x="359" y="62"/>
                    </a:cubicBezTo>
                    <a:cubicBezTo>
                      <a:pt x="359" y="57"/>
                      <a:pt x="358" y="51"/>
                      <a:pt x="357" y="45"/>
                    </a:cubicBezTo>
                    <a:cubicBezTo>
                      <a:pt x="358" y="47"/>
                      <a:pt x="360" y="49"/>
                      <a:pt x="361" y="50"/>
                    </a:cubicBezTo>
                    <a:cubicBezTo>
                      <a:pt x="361" y="47"/>
                      <a:pt x="357" y="44"/>
                      <a:pt x="356" y="42"/>
                    </a:cubicBezTo>
                    <a:cubicBezTo>
                      <a:pt x="354" y="40"/>
                      <a:pt x="352" y="36"/>
                      <a:pt x="351" y="33"/>
                    </a:cubicBezTo>
                    <a:cubicBezTo>
                      <a:pt x="351" y="32"/>
                      <a:pt x="352" y="26"/>
                      <a:pt x="351" y="26"/>
                    </a:cubicBezTo>
                    <a:cubicBezTo>
                      <a:pt x="351" y="26"/>
                      <a:pt x="351" y="26"/>
                      <a:pt x="351" y="26"/>
                    </a:cubicBezTo>
                    <a:cubicBezTo>
                      <a:pt x="344" y="20"/>
                      <a:pt x="338" y="15"/>
                      <a:pt x="331" y="10"/>
                    </a:cubicBezTo>
                    <a:cubicBezTo>
                      <a:pt x="329" y="8"/>
                      <a:pt x="326" y="4"/>
                      <a:pt x="3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6" name="Freeform 195">
                <a:extLst>
                  <a:ext uri="{FF2B5EF4-FFF2-40B4-BE49-F238E27FC236}">
                    <a16:creationId xmlns:a16="http://schemas.microsoft.com/office/drawing/2014/main" id="{C950F0EA-9CC2-48D3-87BA-E49CD28FE737}"/>
                  </a:ext>
                </a:extLst>
              </p:cNvPr>
              <p:cNvSpPr>
                <a:spLocks/>
              </p:cNvSpPr>
              <p:nvPr/>
            </p:nvSpPr>
            <p:spPr bwMode="auto">
              <a:xfrm>
                <a:off x="2990" y="1341"/>
                <a:ext cx="900" cy="837"/>
              </a:xfrm>
              <a:custGeom>
                <a:avLst/>
                <a:gdLst>
                  <a:gd name="T0" fmla="*/ 143 w 381"/>
                  <a:gd name="T1" fmla="*/ 86 h 354"/>
                  <a:gd name="T2" fmla="*/ 160 w 381"/>
                  <a:gd name="T3" fmla="*/ 219 h 354"/>
                  <a:gd name="T4" fmla="*/ 152 w 381"/>
                  <a:gd name="T5" fmla="*/ 233 h 354"/>
                  <a:gd name="T6" fmla="*/ 125 w 381"/>
                  <a:gd name="T7" fmla="*/ 233 h 354"/>
                  <a:gd name="T8" fmla="*/ 69 w 381"/>
                  <a:gd name="T9" fmla="*/ 233 h 354"/>
                  <a:gd name="T10" fmla="*/ 66 w 381"/>
                  <a:gd name="T11" fmla="*/ 234 h 354"/>
                  <a:gd name="T12" fmla="*/ 33 w 381"/>
                  <a:gd name="T13" fmla="*/ 235 h 354"/>
                  <a:gd name="T14" fmla="*/ 11 w 381"/>
                  <a:gd name="T15" fmla="*/ 231 h 354"/>
                  <a:gd name="T16" fmla="*/ 5 w 381"/>
                  <a:gd name="T17" fmla="*/ 249 h 354"/>
                  <a:gd name="T18" fmla="*/ 5 w 381"/>
                  <a:gd name="T19" fmla="*/ 270 h 354"/>
                  <a:gd name="T20" fmla="*/ 13 w 381"/>
                  <a:gd name="T21" fmla="*/ 279 h 354"/>
                  <a:gd name="T22" fmla="*/ 20 w 381"/>
                  <a:gd name="T23" fmla="*/ 300 h 354"/>
                  <a:gd name="T24" fmla="*/ 17 w 381"/>
                  <a:gd name="T25" fmla="*/ 308 h 354"/>
                  <a:gd name="T26" fmla="*/ 22 w 381"/>
                  <a:gd name="T27" fmla="*/ 309 h 354"/>
                  <a:gd name="T28" fmla="*/ 28 w 381"/>
                  <a:gd name="T29" fmla="*/ 306 h 354"/>
                  <a:gd name="T30" fmla="*/ 47 w 381"/>
                  <a:gd name="T31" fmla="*/ 307 h 354"/>
                  <a:gd name="T32" fmla="*/ 60 w 381"/>
                  <a:gd name="T33" fmla="*/ 307 h 354"/>
                  <a:gd name="T34" fmla="*/ 71 w 381"/>
                  <a:gd name="T35" fmla="*/ 301 h 354"/>
                  <a:gd name="T36" fmla="*/ 80 w 381"/>
                  <a:gd name="T37" fmla="*/ 317 h 354"/>
                  <a:gd name="T38" fmla="*/ 90 w 381"/>
                  <a:gd name="T39" fmla="*/ 329 h 354"/>
                  <a:gd name="T40" fmla="*/ 90 w 381"/>
                  <a:gd name="T41" fmla="*/ 330 h 354"/>
                  <a:gd name="T42" fmla="*/ 88 w 381"/>
                  <a:gd name="T43" fmla="*/ 334 h 354"/>
                  <a:gd name="T44" fmla="*/ 92 w 381"/>
                  <a:gd name="T45" fmla="*/ 337 h 354"/>
                  <a:gd name="T46" fmla="*/ 94 w 381"/>
                  <a:gd name="T47" fmla="*/ 350 h 354"/>
                  <a:gd name="T48" fmla="*/ 99 w 381"/>
                  <a:gd name="T49" fmla="*/ 352 h 354"/>
                  <a:gd name="T50" fmla="*/ 114 w 381"/>
                  <a:gd name="T51" fmla="*/ 353 h 354"/>
                  <a:gd name="T52" fmla="*/ 122 w 381"/>
                  <a:gd name="T53" fmla="*/ 350 h 354"/>
                  <a:gd name="T54" fmla="*/ 126 w 381"/>
                  <a:gd name="T55" fmla="*/ 344 h 354"/>
                  <a:gd name="T56" fmla="*/ 138 w 381"/>
                  <a:gd name="T57" fmla="*/ 339 h 354"/>
                  <a:gd name="T58" fmla="*/ 142 w 381"/>
                  <a:gd name="T59" fmla="*/ 354 h 354"/>
                  <a:gd name="T60" fmla="*/ 149 w 381"/>
                  <a:gd name="T61" fmla="*/ 349 h 354"/>
                  <a:gd name="T62" fmla="*/ 153 w 381"/>
                  <a:gd name="T63" fmla="*/ 344 h 354"/>
                  <a:gd name="T64" fmla="*/ 157 w 381"/>
                  <a:gd name="T65" fmla="*/ 322 h 354"/>
                  <a:gd name="T66" fmla="*/ 170 w 381"/>
                  <a:gd name="T67" fmla="*/ 311 h 354"/>
                  <a:gd name="T68" fmla="*/ 176 w 381"/>
                  <a:gd name="T69" fmla="*/ 297 h 354"/>
                  <a:gd name="T70" fmla="*/ 181 w 381"/>
                  <a:gd name="T71" fmla="*/ 291 h 354"/>
                  <a:gd name="T72" fmla="*/ 193 w 381"/>
                  <a:gd name="T73" fmla="*/ 276 h 354"/>
                  <a:gd name="T74" fmla="*/ 203 w 381"/>
                  <a:gd name="T75" fmla="*/ 282 h 354"/>
                  <a:gd name="T76" fmla="*/ 205 w 381"/>
                  <a:gd name="T77" fmla="*/ 267 h 354"/>
                  <a:gd name="T78" fmla="*/ 214 w 381"/>
                  <a:gd name="T79" fmla="*/ 269 h 354"/>
                  <a:gd name="T80" fmla="*/ 234 w 381"/>
                  <a:gd name="T81" fmla="*/ 259 h 354"/>
                  <a:gd name="T82" fmla="*/ 250 w 381"/>
                  <a:gd name="T83" fmla="*/ 248 h 354"/>
                  <a:gd name="T84" fmla="*/ 269 w 381"/>
                  <a:gd name="T85" fmla="*/ 237 h 354"/>
                  <a:gd name="T86" fmla="*/ 285 w 381"/>
                  <a:gd name="T87" fmla="*/ 239 h 354"/>
                  <a:gd name="T88" fmla="*/ 290 w 381"/>
                  <a:gd name="T89" fmla="*/ 240 h 354"/>
                  <a:gd name="T90" fmla="*/ 295 w 381"/>
                  <a:gd name="T91" fmla="*/ 239 h 354"/>
                  <a:gd name="T92" fmla="*/ 349 w 381"/>
                  <a:gd name="T93" fmla="*/ 231 h 354"/>
                  <a:gd name="T94" fmla="*/ 362 w 381"/>
                  <a:gd name="T95" fmla="*/ 230 h 354"/>
                  <a:gd name="T96" fmla="*/ 372 w 381"/>
                  <a:gd name="T97" fmla="*/ 224 h 354"/>
                  <a:gd name="T98" fmla="*/ 381 w 381"/>
                  <a:gd name="T99" fmla="*/ 176 h 354"/>
                  <a:gd name="T100" fmla="*/ 357 w 381"/>
                  <a:gd name="T101" fmla="*/ 145 h 354"/>
                  <a:gd name="T102" fmla="*/ 358 w 381"/>
                  <a:gd name="T103" fmla="*/ 135 h 354"/>
                  <a:gd name="T104" fmla="*/ 357 w 381"/>
                  <a:gd name="T105" fmla="*/ 128 h 354"/>
                  <a:gd name="T106" fmla="*/ 352 w 381"/>
                  <a:gd name="T107" fmla="*/ 125 h 354"/>
                  <a:gd name="T108" fmla="*/ 336 w 381"/>
                  <a:gd name="T109" fmla="*/ 117 h 354"/>
                  <a:gd name="T110" fmla="*/ 321 w 381"/>
                  <a:gd name="T111" fmla="*/ 112 h 354"/>
                  <a:gd name="T112" fmla="*/ 309 w 381"/>
                  <a:gd name="T113" fmla="*/ 104 h 354"/>
                  <a:gd name="T114" fmla="*/ 286 w 381"/>
                  <a:gd name="T115" fmla="*/ 80 h 354"/>
                  <a:gd name="T116" fmla="*/ 181 w 381"/>
                  <a:gd name="T117" fmla="*/ 8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1" h="354">
                    <a:moveTo>
                      <a:pt x="169" y="0"/>
                    </a:moveTo>
                    <a:cubicBezTo>
                      <a:pt x="133" y="0"/>
                      <a:pt x="133" y="0"/>
                      <a:pt x="133" y="0"/>
                    </a:cubicBezTo>
                    <a:cubicBezTo>
                      <a:pt x="135" y="18"/>
                      <a:pt x="135" y="18"/>
                      <a:pt x="135" y="18"/>
                    </a:cubicBezTo>
                    <a:cubicBezTo>
                      <a:pt x="135" y="20"/>
                      <a:pt x="135" y="21"/>
                      <a:pt x="135" y="22"/>
                    </a:cubicBezTo>
                    <a:cubicBezTo>
                      <a:pt x="136" y="30"/>
                      <a:pt x="136" y="30"/>
                      <a:pt x="136" y="30"/>
                    </a:cubicBezTo>
                    <a:cubicBezTo>
                      <a:pt x="138" y="49"/>
                      <a:pt x="141" y="67"/>
                      <a:pt x="143" y="86"/>
                    </a:cubicBezTo>
                    <a:cubicBezTo>
                      <a:pt x="146" y="108"/>
                      <a:pt x="148" y="130"/>
                      <a:pt x="151" y="152"/>
                    </a:cubicBezTo>
                    <a:cubicBezTo>
                      <a:pt x="158" y="205"/>
                      <a:pt x="158" y="205"/>
                      <a:pt x="158" y="205"/>
                    </a:cubicBezTo>
                    <a:cubicBezTo>
                      <a:pt x="158" y="206"/>
                      <a:pt x="158" y="206"/>
                      <a:pt x="158" y="206"/>
                    </a:cubicBezTo>
                    <a:cubicBezTo>
                      <a:pt x="159" y="206"/>
                      <a:pt x="159" y="206"/>
                      <a:pt x="159" y="206"/>
                    </a:cubicBezTo>
                    <a:cubicBezTo>
                      <a:pt x="162" y="209"/>
                      <a:pt x="161" y="213"/>
                      <a:pt x="161" y="215"/>
                    </a:cubicBezTo>
                    <a:cubicBezTo>
                      <a:pt x="160" y="219"/>
                      <a:pt x="160" y="219"/>
                      <a:pt x="160" y="219"/>
                    </a:cubicBezTo>
                    <a:cubicBezTo>
                      <a:pt x="160" y="219"/>
                      <a:pt x="160" y="220"/>
                      <a:pt x="160" y="221"/>
                    </a:cubicBezTo>
                    <a:cubicBezTo>
                      <a:pt x="160" y="222"/>
                      <a:pt x="160" y="222"/>
                      <a:pt x="160" y="222"/>
                    </a:cubicBezTo>
                    <a:cubicBezTo>
                      <a:pt x="159" y="228"/>
                      <a:pt x="159" y="231"/>
                      <a:pt x="157" y="232"/>
                    </a:cubicBezTo>
                    <a:cubicBezTo>
                      <a:pt x="156" y="233"/>
                      <a:pt x="156" y="233"/>
                      <a:pt x="155" y="233"/>
                    </a:cubicBezTo>
                    <a:cubicBezTo>
                      <a:pt x="154" y="233"/>
                      <a:pt x="154" y="233"/>
                      <a:pt x="154" y="233"/>
                    </a:cubicBezTo>
                    <a:cubicBezTo>
                      <a:pt x="154" y="233"/>
                      <a:pt x="153" y="233"/>
                      <a:pt x="152" y="233"/>
                    </a:cubicBezTo>
                    <a:cubicBezTo>
                      <a:pt x="151" y="233"/>
                      <a:pt x="151" y="233"/>
                      <a:pt x="151" y="233"/>
                    </a:cubicBezTo>
                    <a:cubicBezTo>
                      <a:pt x="150" y="233"/>
                      <a:pt x="150" y="233"/>
                      <a:pt x="150" y="233"/>
                    </a:cubicBezTo>
                    <a:cubicBezTo>
                      <a:pt x="149" y="233"/>
                      <a:pt x="148" y="233"/>
                      <a:pt x="147" y="233"/>
                    </a:cubicBezTo>
                    <a:cubicBezTo>
                      <a:pt x="146" y="233"/>
                      <a:pt x="146" y="233"/>
                      <a:pt x="145" y="233"/>
                    </a:cubicBezTo>
                    <a:cubicBezTo>
                      <a:pt x="145" y="233"/>
                      <a:pt x="145" y="233"/>
                      <a:pt x="145" y="233"/>
                    </a:cubicBezTo>
                    <a:cubicBezTo>
                      <a:pt x="138" y="233"/>
                      <a:pt x="132" y="233"/>
                      <a:pt x="125" y="233"/>
                    </a:cubicBezTo>
                    <a:cubicBezTo>
                      <a:pt x="120" y="233"/>
                      <a:pt x="115" y="233"/>
                      <a:pt x="110" y="233"/>
                    </a:cubicBezTo>
                    <a:cubicBezTo>
                      <a:pt x="76" y="233"/>
                      <a:pt x="76" y="233"/>
                      <a:pt x="76" y="233"/>
                    </a:cubicBezTo>
                    <a:cubicBezTo>
                      <a:pt x="76" y="233"/>
                      <a:pt x="75" y="233"/>
                      <a:pt x="74" y="233"/>
                    </a:cubicBezTo>
                    <a:cubicBezTo>
                      <a:pt x="74" y="233"/>
                      <a:pt x="74" y="233"/>
                      <a:pt x="74" y="233"/>
                    </a:cubicBezTo>
                    <a:cubicBezTo>
                      <a:pt x="73" y="233"/>
                      <a:pt x="73" y="233"/>
                      <a:pt x="72" y="233"/>
                    </a:cubicBezTo>
                    <a:cubicBezTo>
                      <a:pt x="71" y="233"/>
                      <a:pt x="70" y="233"/>
                      <a:pt x="69" y="233"/>
                    </a:cubicBezTo>
                    <a:cubicBezTo>
                      <a:pt x="69" y="233"/>
                      <a:pt x="69" y="233"/>
                      <a:pt x="69" y="233"/>
                    </a:cubicBezTo>
                    <a:cubicBezTo>
                      <a:pt x="68" y="233"/>
                      <a:pt x="67" y="232"/>
                      <a:pt x="67" y="232"/>
                    </a:cubicBezTo>
                    <a:cubicBezTo>
                      <a:pt x="67" y="232"/>
                      <a:pt x="67" y="232"/>
                      <a:pt x="67" y="232"/>
                    </a:cubicBezTo>
                    <a:cubicBezTo>
                      <a:pt x="66" y="232"/>
                      <a:pt x="66" y="232"/>
                      <a:pt x="66" y="232"/>
                    </a:cubicBezTo>
                    <a:cubicBezTo>
                      <a:pt x="66" y="232"/>
                      <a:pt x="66" y="232"/>
                      <a:pt x="66" y="232"/>
                    </a:cubicBezTo>
                    <a:cubicBezTo>
                      <a:pt x="66" y="234"/>
                      <a:pt x="66" y="234"/>
                      <a:pt x="66" y="234"/>
                    </a:cubicBezTo>
                    <a:cubicBezTo>
                      <a:pt x="39" y="234"/>
                      <a:pt x="39" y="234"/>
                      <a:pt x="39" y="234"/>
                    </a:cubicBezTo>
                    <a:cubicBezTo>
                      <a:pt x="38" y="234"/>
                      <a:pt x="38" y="234"/>
                      <a:pt x="37" y="234"/>
                    </a:cubicBezTo>
                    <a:cubicBezTo>
                      <a:pt x="37" y="234"/>
                      <a:pt x="37" y="234"/>
                      <a:pt x="37" y="234"/>
                    </a:cubicBezTo>
                    <a:cubicBezTo>
                      <a:pt x="36" y="234"/>
                      <a:pt x="35" y="234"/>
                      <a:pt x="35" y="234"/>
                    </a:cubicBezTo>
                    <a:cubicBezTo>
                      <a:pt x="34" y="234"/>
                      <a:pt x="34" y="234"/>
                      <a:pt x="34" y="234"/>
                    </a:cubicBezTo>
                    <a:cubicBezTo>
                      <a:pt x="33" y="235"/>
                      <a:pt x="33" y="235"/>
                      <a:pt x="33" y="235"/>
                    </a:cubicBezTo>
                    <a:cubicBezTo>
                      <a:pt x="32" y="237"/>
                      <a:pt x="31" y="239"/>
                      <a:pt x="30" y="241"/>
                    </a:cubicBezTo>
                    <a:cubicBezTo>
                      <a:pt x="28" y="244"/>
                      <a:pt x="28" y="244"/>
                      <a:pt x="28" y="244"/>
                    </a:cubicBezTo>
                    <a:cubicBezTo>
                      <a:pt x="25" y="241"/>
                      <a:pt x="25" y="241"/>
                      <a:pt x="25" y="241"/>
                    </a:cubicBezTo>
                    <a:cubicBezTo>
                      <a:pt x="22" y="237"/>
                      <a:pt x="18" y="233"/>
                      <a:pt x="14" y="230"/>
                    </a:cubicBezTo>
                    <a:cubicBezTo>
                      <a:pt x="13" y="230"/>
                      <a:pt x="13" y="230"/>
                      <a:pt x="13" y="230"/>
                    </a:cubicBezTo>
                    <a:cubicBezTo>
                      <a:pt x="13" y="230"/>
                      <a:pt x="12" y="230"/>
                      <a:pt x="11" y="231"/>
                    </a:cubicBezTo>
                    <a:cubicBezTo>
                      <a:pt x="11" y="231"/>
                      <a:pt x="11" y="231"/>
                      <a:pt x="11" y="231"/>
                    </a:cubicBezTo>
                    <a:cubicBezTo>
                      <a:pt x="11" y="232"/>
                      <a:pt x="11" y="233"/>
                      <a:pt x="11" y="234"/>
                    </a:cubicBezTo>
                    <a:cubicBezTo>
                      <a:pt x="11" y="237"/>
                      <a:pt x="10" y="240"/>
                      <a:pt x="10" y="242"/>
                    </a:cubicBezTo>
                    <a:cubicBezTo>
                      <a:pt x="9" y="243"/>
                      <a:pt x="9" y="244"/>
                      <a:pt x="9" y="245"/>
                    </a:cubicBezTo>
                    <a:cubicBezTo>
                      <a:pt x="9" y="245"/>
                      <a:pt x="8" y="246"/>
                      <a:pt x="8" y="246"/>
                    </a:cubicBezTo>
                    <a:cubicBezTo>
                      <a:pt x="7" y="247"/>
                      <a:pt x="6" y="248"/>
                      <a:pt x="5" y="249"/>
                    </a:cubicBezTo>
                    <a:cubicBezTo>
                      <a:pt x="4" y="250"/>
                      <a:pt x="4" y="250"/>
                      <a:pt x="4" y="250"/>
                    </a:cubicBezTo>
                    <a:cubicBezTo>
                      <a:pt x="3" y="250"/>
                      <a:pt x="3" y="250"/>
                      <a:pt x="3" y="250"/>
                    </a:cubicBezTo>
                    <a:cubicBezTo>
                      <a:pt x="0" y="251"/>
                      <a:pt x="0" y="251"/>
                      <a:pt x="0" y="251"/>
                    </a:cubicBezTo>
                    <a:cubicBezTo>
                      <a:pt x="4" y="269"/>
                      <a:pt x="4" y="269"/>
                      <a:pt x="4" y="269"/>
                    </a:cubicBezTo>
                    <a:cubicBezTo>
                      <a:pt x="10" y="267"/>
                      <a:pt x="10" y="267"/>
                      <a:pt x="10" y="267"/>
                    </a:cubicBezTo>
                    <a:cubicBezTo>
                      <a:pt x="5" y="270"/>
                      <a:pt x="5" y="270"/>
                      <a:pt x="5" y="270"/>
                    </a:cubicBezTo>
                    <a:cubicBezTo>
                      <a:pt x="5" y="270"/>
                      <a:pt x="5" y="270"/>
                      <a:pt x="5" y="270"/>
                    </a:cubicBezTo>
                    <a:cubicBezTo>
                      <a:pt x="5" y="271"/>
                      <a:pt x="5" y="272"/>
                      <a:pt x="4" y="273"/>
                    </a:cubicBezTo>
                    <a:cubicBezTo>
                      <a:pt x="5" y="275"/>
                      <a:pt x="6" y="276"/>
                      <a:pt x="8" y="277"/>
                    </a:cubicBezTo>
                    <a:cubicBezTo>
                      <a:pt x="8" y="277"/>
                      <a:pt x="8" y="277"/>
                      <a:pt x="9" y="277"/>
                    </a:cubicBezTo>
                    <a:cubicBezTo>
                      <a:pt x="9" y="277"/>
                      <a:pt x="10" y="277"/>
                      <a:pt x="10" y="277"/>
                    </a:cubicBezTo>
                    <a:cubicBezTo>
                      <a:pt x="11" y="278"/>
                      <a:pt x="12" y="278"/>
                      <a:pt x="13" y="279"/>
                    </a:cubicBezTo>
                    <a:cubicBezTo>
                      <a:pt x="16" y="282"/>
                      <a:pt x="18" y="286"/>
                      <a:pt x="19" y="291"/>
                    </a:cubicBezTo>
                    <a:cubicBezTo>
                      <a:pt x="19" y="292"/>
                      <a:pt x="19" y="293"/>
                      <a:pt x="19" y="294"/>
                    </a:cubicBezTo>
                    <a:cubicBezTo>
                      <a:pt x="20" y="295"/>
                      <a:pt x="20" y="295"/>
                      <a:pt x="20" y="295"/>
                    </a:cubicBezTo>
                    <a:cubicBezTo>
                      <a:pt x="20" y="295"/>
                      <a:pt x="20" y="296"/>
                      <a:pt x="20" y="297"/>
                    </a:cubicBezTo>
                    <a:cubicBezTo>
                      <a:pt x="20" y="298"/>
                      <a:pt x="20" y="298"/>
                      <a:pt x="20" y="298"/>
                    </a:cubicBezTo>
                    <a:cubicBezTo>
                      <a:pt x="20" y="299"/>
                      <a:pt x="20" y="299"/>
                      <a:pt x="20" y="300"/>
                    </a:cubicBezTo>
                    <a:cubicBezTo>
                      <a:pt x="20" y="301"/>
                      <a:pt x="20" y="301"/>
                      <a:pt x="20" y="301"/>
                    </a:cubicBezTo>
                    <a:cubicBezTo>
                      <a:pt x="21" y="301"/>
                      <a:pt x="21" y="301"/>
                      <a:pt x="21" y="301"/>
                    </a:cubicBezTo>
                    <a:cubicBezTo>
                      <a:pt x="21" y="301"/>
                      <a:pt x="21" y="301"/>
                      <a:pt x="21" y="301"/>
                    </a:cubicBezTo>
                    <a:cubicBezTo>
                      <a:pt x="21" y="301"/>
                      <a:pt x="21" y="301"/>
                      <a:pt x="21" y="301"/>
                    </a:cubicBezTo>
                    <a:cubicBezTo>
                      <a:pt x="18" y="307"/>
                      <a:pt x="18" y="307"/>
                      <a:pt x="18" y="307"/>
                    </a:cubicBezTo>
                    <a:cubicBezTo>
                      <a:pt x="18" y="307"/>
                      <a:pt x="18" y="308"/>
                      <a:pt x="17" y="308"/>
                    </a:cubicBezTo>
                    <a:cubicBezTo>
                      <a:pt x="17" y="308"/>
                      <a:pt x="17" y="308"/>
                      <a:pt x="17" y="308"/>
                    </a:cubicBezTo>
                    <a:cubicBezTo>
                      <a:pt x="19" y="310"/>
                      <a:pt x="19" y="310"/>
                      <a:pt x="19" y="310"/>
                    </a:cubicBezTo>
                    <a:cubicBezTo>
                      <a:pt x="19" y="310"/>
                      <a:pt x="19" y="310"/>
                      <a:pt x="19" y="310"/>
                    </a:cubicBezTo>
                    <a:cubicBezTo>
                      <a:pt x="20" y="310"/>
                      <a:pt x="20" y="310"/>
                      <a:pt x="20" y="310"/>
                    </a:cubicBezTo>
                    <a:cubicBezTo>
                      <a:pt x="20" y="310"/>
                      <a:pt x="21" y="310"/>
                      <a:pt x="21" y="309"/>
                    </a:cubicBezTo>
                    <a:cubicBezTo>
                      <a:pt x="22" y="309"/>
                      <a:pt x="22" y="309"/>
                      <a:pt x="22" y="309"/>
                    </a:cubicBezTo>
                    <a:cubicBezTo>
                      <a:pt x="24" y="307"/>
                      <a:pt x="25" y="306"/>
                      <a:pt x="26" y="306"/>
                    </a:cubicBezTo>
                    <a:cubicBezTo>
                      <a:pt x="27" y="306"/>
                      <a:pt x="27" y="306"/>
                      <a:pt x="27" y="306"/>
                    </a:cubicBezTo>
                    <a:cubicBezTo>
                      <a:pt x="28" y="306"/>
                      <a:pt x="28" y="306"/>
                      <a:pt x="28" y="306"/>
                    </a:cubicBezTo>
                    <a:cubicBezTo>
                      <a:pt x="28" y="306"/>
                      <a:pt x="28" y="306"/>
                      <a:pt x="28" y="306"/>
                    </a:cubicBezTo>
                    <a:cubicBezTo>
                      <a:pt x="28" y="306"/>
                      <a:pt x="28" y="306"/>
                      <a:pt x="28" y="306"/>
                    </a:cubicBezTo>
                    <a:cubicBezTo>
                      <a:pt x="28" y="306"/>
                      <a:pt x="28" y="306"/>
                      <a:pt x="28" y="306"/>
                    </a:cubicBezTo>
                    <a:cubicBezTo>
                      <a:pt x="29" y="306"/>
                      <a:pt x="30" y="307"/>
                      <a:pt x="32" y="308"/>
                    </a:cubicBezTo>
                    <a:cubicBezTo>
                      <a:pt x="32" y="309"/>
                      <a:pt x="33" y="310"/>
                      <a:pt x="34" y="311"/>
                    </a:cubicBezTo>
                    <a:cubicBezTo>
                      <a:pt x="34" y="311"/>
                      <a:pt x="34" y="311"/>
                      <a:pt x="34" y="311"/>
                    </a:cubicBezTo>
                    <a:cubicBezTo>
                      <a:pt x="37" y="309"/>
                      <a:pt x="44" y="307"/>
                      <a:pt x="47" y="307"/>
                    </a:cubicBezTo>
                    <a:cubicBezTo>
                      <a:pt x="47" y="307"/>
                      <a:pt x="47" y="307"/>
                      <a:pt x="47" y="307"/>
                    </a:cubicBezTo>
                    <a:cubicBezTo>
                      <a:pt x="47" y="307"/>
                      <a:pt x="47" y="307"/>
                      <a:pt x="47" y="307"/>
                    </a:cubicBezTo>
                    <a:cubicBezTo>
                      <a:pt x="48" y="307"/>
                      <a:pt x="48" y="307"/>
                      <a:pt x="48" y="307"/>
                    </a:cubicBezTo>
                    <a:cubicBezTo>
                      <a:pt x="49" y="307"/>
                      <a:pt x="51" y="308"/>
                      <a:pt x="53" y="309"/>
                    </a:cubicBezTo>
                    <a:cubicBezTo>
                      <a:pt x="53" y="309"/>
                      <a:pt x="54" y="309"/>
                      <a:pt x="54" y="310"/>
                    </a:cubicBezTo>
                    <a:cubicBezTo>
                      <a:pt x="54" y="310"/>
                      <a:pt x="54" y="310"/>
                      <a:pt x="54" y="310"/>
                    </a:cubicBezTo>
                    <a:cubicBezTo>
                      <a:pt x="54" y="309"/>
                      <a:pt x="55" y="309"/>
                      <a:pt x="55" y="308"/>
                    </a:cubicBezTo>
                    <a:cubicBezTo>
                      <a:pt x="56" y="308"/>
                      <a:pt x="58" y="307"/>
                      <a:pt x="60" y="307"/>
                    </a:cubicBezTo>
                    <a:cubicBezTo>
                      <a:pt x="60" y="306"/>
                      <a:pt x="62" y="306"/>
                      <a:pt x="63" y="306"/>
                    </a:cubicBezTo>
                    <a:cubicBezTo>
                      <a:pt x="63" y="306"/>
                      <a:pt x="63" y="305"/>
                      <a:pt x="62" y="305"/>
                    </a:cubicBezTo>
                    <a:cubicBezTo>
                      <a:pt x="62" y="304"/>
                      <a:pt x="62" y="303"/>
                      <a:pt x="62" y="301"/>
                    </a:cubicBezTo>
                    <a:cubicBezTo>
                      <a:pt x="63" y="299"/>
                      <a:pt x="63" y="299"/>
                      <a:pt x="63" y="299"/>
                    </a:cubicBezTo>
                    <a:cubicBezTo>
                      <a:pt x="65" y="299"/>
                      <a:pt x="65" y="299"/>
                      <a:pt x="65" y="299"/>
                    </a:cubicBezTo>
                    <a:cubicBezTo>
                      <a:pt x="68" y="299"/>
                      <a:pt x="69" y="300"/>
                      <a:pt x="71" y="301"/>
                    </a:cubicBezTo>
                    <a:cubicBezTo>
                      <a:pt x="75" y="303"/>
                      <a:pt x="77" y="307"/>
                      <a:pt x="78" y="310"/>
                    </a:cubicBezTo>
                    <a:cubicBezTo>
                      <a:pt x="79" y="311"/>
                      <a:pt x="79" y="311"/>
                      <a:pt x="79" y="311"/>
                    </a:cubicBezTo>
                    <a:cubicBezTo>
                      <a:pt x="79" y="311"/>
                      <a:pt x="79" y="312"/>
                      <a:pt x="79" y="312"/>
                    </a:cubicBezTo>
                    <a:cubicBezTo>
                      <a:pt x="80" y="313"/>
                      <a:pt x="80" y="313"/>
                      <a:pt x="80" y="313"/>
                    </a:cubicBezTo>
                    <a:cubicBezTo>
                      <a:pt x="80" y="314"/>
                      <a:pt x="80" y="315"/>
                      <a:pt x="80" y="316"/>
                    </a:cubicBezTo>
                    <a:cubicBezTo>
                      <a:pt x="80" y="316"/>
                      <a:pt x="80" y="316"/>
                      <a:pt x="80" y="317"/>
                    </a:cubicBezTo>
                    <a:cubicBezTo>
                      <a:pt x="80" y="317"/>
                      <a:pt x="80" y="318"/>
                      <a:pt x="80" y="318"/>
                    </a:cubicBezTo>
                    <a:cubicBezTo>
                      <a:pt x="80" y="318"/>
                      <a:pt x="80" y="318"/>
                      <a:pt x="80" y="318"/>
                    </a:cubicBezTo>
                    <a:cubicBezTo>
                      <a:pt x="80" y="319"/>
                      <a:pt x="80" y="319"/>
                      <a:pt x="80" y="319"/>
                    </a:cubicBezTo>
                    <a:cubicBezTo>
                      <a:pt x="80" y="319"/>
                      <a:pt x="81" y="319"/>
                      <a:pt x="81" y="320"/>
                    </a:cubicBezTo>
                    <a:cubicBezTo>
                      <a:pt x="82" y="320"/>
                      <a:pt x="82" y="320"/>
                      <a:pt x="82" y="320"/>
                    </a:cubicBezTo>
                    <a:cubicBezTo>
                      <a:pt x="82" y="320"/>
                      <a:pt x="88" y="325"/>
                      <a:pt x="90" y="329"/>
                    </a:cubicBezTo>
                    <a:cubicBezTo>
                      <a:pt x="90" y="328"/>
                      <a:pt x="90" y="328"/>
                      <a:pt x="90" y="328"/>
                    </a:cubicBezTo>
                    <a:cubicBezTo>
                      <a:pt x="90" y="329"/>
                      <a:pt x="90" y="329"/>
                      <a:pt x="90" y="329"/>
                    </a:cubicBezTo>
                    <a:cubicBezTo>
                      <a:pt x="90" y="329"/>
                      <a:pt x="90" y="329"/>
                      <a:pt x="90" y="329"/>
                    </a:cubicBezTo>
                    <a:cubicBezTo>
                      <a:pt x="89" y="330"/>
                      <a:pt x="89" y="330"/>
                      <a:pt x="89" y="330"/>
                    </a:cubicBezTo>
                    <a:cubicBezTo>
                      <a:pt x="90" y="330"/>
                      <a:pt x="90" y="330"/>
                      <a:pt x="90" y="330"/>
                    </a:cubicBezTo>
                    <a:cubicBezTo>
                      <a:pt x="90" y="330"/>
                      <a:pt x="90" y="330"/>
                      <a:pt x="90" y="330"/>
                    </a:cubicBezTo>
                    <a:cubicBezTo>
                      <a:pt x="90" y="331"/>
                      <a:pt x="90" y="331"/>
                      <a:pt x="90" y="331"/>
                    </a:cubicBezTo>
                    <a:cubicBezTo>
                      <a:pt x="90" y="331"/>
                      <a:pt x="90" y="331"/>
                      <a:pt x="90" y="331"/>
                    </a:cubicBezTo>
                    <a:cubicBezTo>
                      <a:pt x="90" y="332"/>
                      <a:pt x="90" y="332"/>
                      <a:pt x="90" y="332"/>
                    </a:cubicBezTo>
                    <a:cubicBezTo>
                      <a:pt x="89" y="334"/>
                      <a:pt x="89" y="334"/>
                      <a:pt x="89" y="334"/>
                    </a:cubicBezTo>
                    <a:cubicBezTo>
                      <a:pt x="88" y="334"/>
                      <a:pt x="88" y="334"/>
                      <a:pt x="88" y="334"/>
                    </a:cubicBezTo>
                    <a:cubicBezTo>
                      <a:pt x="88" y="334"/>
                      <a:pt x="88" y="334"/>
                      <a:pt x="88" y="334"/>
                    </a:cubicBezTo>
                    <a:cubicBezTo>
                      <a:pt x="88" y="334"/>
                      <a:pt x="88" y="334"/>
                      <a:pt x="88" y="334"/>
                    </a:cubicBezTo>
                    <a:cubicBezTo>
                      <a:pt x="88" y="334"/>
                      <a:pt x="88" y="334"/>
                      <a:pt x="88" y="334"/>
                    </a:cubicBezTo>
                    <a:cubicBezTo>
                      <a:pt x="89" y="334"/>
                      <a:pt x="89" y="334"/>
                      <a:pt x="89" y="334"/>
                    </a:cubicBezTo>
                    <a:cubicBezTo>
                      <a:pt x="90" y="335"/>
                      <a:pt x="90" y="335"/>
                      <a:pt x="90" y="335"/>
                    </a:cubicBezTo>
                    <a:cubicBezTo>
                      <a:pt x="91" y="336"/>
                      <a:pt x="91" y="336"/>
                      <a:pt x="91" y="336"/>
                    </a:cubicBezTo>
                    <a:cubicBezTo>
                      <a:pt x="91" y="336"/>
                      <a:pt x="92" y="337"/>
                      <a:pt x="92" y="337"/>
                    </a:cubicBezTo>
                    <a:cubicBezTo>
                      <a:pt x="92" y="337"/>
                      <a:pt x="92" y="337"/>
                      <a:pt x="92" y="337"/>
                    </a:cubicBezTo>
                    <a:cubicBezTo>
                      <a:pt x="93" y="340"/>
                      <a:pt x="93" y="342"/>
                      <a:pt x="93" y="345"/>
                    </a:cubicBezTo>
                    <a:cubicBezTo>
                      <a:pt x="93" y="346"/>
                      <a:pt x="93" y="347"/>
                      <a:pt x="93" y="348"/>
                    </a:cubicBezTo>
                    <a:cubicBezTo>
                      <a:pt x="93" y="348"/>
                      <a:pt x="93" y="348"/>
                      <a:pt x="93" y="348"/>
                    </a:cubicBezTo>
                    <a:cubicBezTo>
                      <a:pt x="93" y="349"/>
                      <a:pt x="93" y="349"/>
                      <a:pt x="93" y="349"/>
                    </a:cubicBezTo>
                    <a:cubicBezTo>
                      <a:pt x="93" y="349"/>
                      <a:pt x="93" y="350"/>
                      <a:pt x="94" y="350"/>
                    </a:cubicBezTo>
                    <a:cubicBezTo>
                      <a:pt x="94" y="351"/>
                      <a:pt x="95" y="351"/>
                      <a:pt x="95" y="351"/>
                    </a:cubicBezTo>
                    <a:cubicBezTo>
                      <a:pt x="96" y="352"/>
                      <a:pt x="96" y="352"/>
                      <a:pt x="96" y="352"/>
                    </a:cubicBezTo>
                    <a:cubicBezTo>
                      <a:pt x="96" y="352"/>
                      <a:pt x="96" y="353"/>
                      <a:pt x="97" y="353"/>
                    </a:cubicBezTo>
                    <a:cubicBezTo>
                      <a:pt x="97" y="353"/>
                      <a:pt x="97" y="353"/>
                      <a:pt x="97" y="353"/>
                    </a:cubicBezTo>
                    <a:cubicBezTo>
                      <a:pt x="98" y="354"/>
                      <a:pt x="98" y="354"/>
                      <a:pt x="98" y="354"/>
                    </a:cubicBezTo>
                    <a:cubicBezTo>
                      <a:pt x="98" y="353"/>
                      <a:pt x="99" y="353"/>
                      <a:pt x="99" y="352"/>
                    </a:cubicBezTo>
                    <a:cubicBezTo>
                      <a:pt x="99" y="352"/>
                      <a:pt x="100" y="350"/>
                      <a:pt x="101" y="350"/>
                    </a:cubicBezTo>
                    <a:cubicBezTo>
                      <a:pt x="102" y="349"/>
                      <a:pt x="103" y="349"/>
                      <a:pt x="105" y="348"/>
                    </a:cubicBezTo>
                    <a:cubicBezTo>
                      <a:pt x="106" y="348"/>
                      <a:pt x="106" y="348"/>
                      <a:pt x="106" y="348"/>
                    </a:cubicBezTo>
                    <a:cubicBezTo>
                      <a:pt x="108" y="349"/>
                      <a:pt x="110" y="350"/>
                      <a:pt x="112" y="351"/>
                    </a:cubicBezTo>
                    <a:cubicBezTo>
                      <a:pt x="113" y="352"/>
                      <a:pt x="113" y="352"/>
                      <a:pt x="113" y="352"/>
                    </a:cubicBezTo>
                    <a:cubicBezTo>
                      <a:pt x="114" y="353"/>
                      <a:pt x="114" y="353"/>
                      <a:pt x="114" y="353"/>
                    </a:cubicBezTo>
                    <a:cubicBezTo>
                      <a:pt x="114" y="353"/>
                      <a:pt x="114" y="353"/>
                      <a:pt x="114" y="353"/>
                    </a:cubicBezTo>
                    <a:cubicBezTo>
                      <a:pt x="115" y="353"/>
                      <a:pt x="116" y="353"/>
                      <a:pt x="117" y="353"/>
                    </a:cubicBezTo>
                    <a:cubicBezTo>
                      <a:pt x="118" y="353"/>
                      <a:pt x="118" y="352"/>
                      <a:pt x="118" y="352"/>
                    </a:cubicBezTo>
                    <a:cubicBezTo>
                      <a:pt x="119" y="351"/>
                      <a:pt x="119" y="351"/>
                      <a:pt x="120" y="351"/>
                    </a:cubicBezTo>
                    <a:cubicBezTo>
                      <a:pt x="121" y="350"/>
                      <a:pt x="121" y="350"/>
                      <a:pt x="121" y="350"/>
                    </a:cubicBezTo>
                    <a:cubicBezTo>
                      <a:pt x="121" y="350"/>
                      <a:pt x="121" y="350"/>
                      <a:pt x="122" y="350"/>
                    </a:cubicBezTo>
                    <a:cubicBezTo>
                      <a:pt x="122" y="350"/>
                      <a:pt x="122" y="350"/>
                      <a:pt x="122" y="350"/>
                    </a:cubicBezTo>
                    <a:cubicBezTo>
                      <a:pt x="123" y="350"/>
                      <a:pt x="123" y="350"/>
                      <a:pt x="124" y="350"/>
                    </a:cubicBezTo>
                    <a:cubicBezTo>
                      <a:pt x="124" y="350"/>
                      <a:pt x="124" y="350"/>
                      <a:pt x="124" y="350"/>
                    </a:cubicBezTo>
                    <a:cubicBezTo>
                      <a:pt x="124" y="349"/>
                      <a:pt x="124" y="348"/>
                      <a:pt x="125" y="346"/>
                    </a:cubicBezTo>
                    <a:cubicBezTo>
                      <a:pt x="125" y="346"/>
                      <a:pt x="125" y="345"/>
                      <a:pt x="126" y="345"/>
                    </a:cubicBezTo>
                    <a:cubicBezTo>
                      <a:pt x="126" y="344"/>
                      <a:pt x="126" y="344"/>
                      <a:pt x="126" y="344"/>
                    </a:cubicBezTo>
                    <a:cubicBezTo>
                      <a:pt x="126" y="344"/>
                      <a:pt x="127" y="344"/>
                      <a:pt x="127" y="343"/>
                    </a:cubicBezTo>
                    <a:cubicBezTo>
                      <a:pt x="128" y="343"/>
                      <a:pt x="128" y="343"/>
                      <a:pt x="129" y="343"/>
                    </a:cubicBezTo>
                    <a:cubicBezTo>
                      <a:pt x="130" y="343"/>
                      <a:pt x="131" y="343"/>
                      <a:pt x="131" y="344"/>
                    </a:cubicBezTo>
                    <a:cubicBezTo>
                      <a:pt x="132" y="343"/>
                      <a:pt x="133" y="342"/>
                      <a:pt x="134" y="342"/>
                    </a:cubicBezTo>
                    <a:cubicBezTo>
                      <a:pt x="135" y="342"/>
                      <a:pt x="135" y="342"/>
                      <a:pt x="135" y="342"/>
                    </a:cubicBezTo>
                    <a:cubicBezTo>
                      <a:pt x="138" y="339"/>
                      <a:pt x="138" y="339"/>
                      <a:pt x="138" y="339"/>
                    </a:cubicBezTo>
                    <a:cubicBezTo>
                      <a:pt x="140" y="343"/>
                      <a:pt x="140" y="343"/>
                      <a:pt x="140" y="343"/>
                    </a:cubicBezTo>
                    <a:cubicBezTo>
                      <a:pt x="140" y="344"/>
                      <a:pt x="140" y="345"/>
                      <a:pt x="140" y="345"/>
                    </a:cubicBezTo>
                    <a:cubicBezTo>
                      <a:pt x="140" y="346"/>
                      <a:pt x="140" y="347"/>
                      <a:pt x="140" y="348"/>
                    </a:cubicBezTo>
                    <a:cubicBezTo>
                      <a:pt x="140" y="350"/>
                      <a:pt x="141" y="353"/>
                      <a:pt x="141" y="354"/>
                    </a:cubicBezTo>
                    <a:cubicBezTo>
                      <a:pt x="141" y="354"/>
                      <a:pt x="141" y="354"/>
                      <a:pt x="141" y="354"/>
                    </a:cubicBezTo>
                    <a:cubicBezTo>
                      <a:pt x="142" y="354"/>
                      <a:pt x="142" y="354"/>
                      <a:pt x="142" y="354"/>
                    </a:cubicBezTo>
                    <a:cubicBezTo>
                      <a:pt x="142" y="354"/>
                      <a:pt x="143" y="353"/>
                      <a:pt x="143" y="353"/>
                    </a:cubicBezTo>
                    <a:cubicBezTo>
                      <a:pt x="144" y="352"/>
                      <a:pt x="144" y="352"/>
                      <a:pt x="144" y="352"/>
                    </a:cubicBezTo>
                    <a:cubicBezTo>
                      <a:pt x="144" y="351"/>
                      <a:pt x="145" y="351"/>
                      <a:pt x="146" y="350"/>
                    </a:cubicBezTo>
                    <a:cubicBezTo>
                      <a:pt x="146" y="350"/>
                      <a:pt x="146" y="350"/>
                      <a:pt x="146" y="350"/>
                    </a:cubicBezTo>
                    <a:cubicBezTo>
                      <a:pt x="147" y="349"/>
                      <a:pt x="147" y="349"/>
                      <a:pt x="148" y="349"/>
                    </a:cubicBezTo>
                    <a:cubicBezTo>
                      <a:pt x="149" y="349"/>
                      <a:pt x="149" y="349"/>
                      <a:pt x="149" y="349"/>
                    </a:cubicBezTo>
                    <a:cubicBezTo>
                      <a:pt x="149" y="349"/>
                      <a:pt x="149" y="349"/>
                      <a:pt x="149" y="349"/>
                    </a:cubicBezTo>
                    <a:cubicBezTo>
                      <a:pt x="150" y="349"/>
                      <a:pt x="150" y="348"/>
                      <a:pt x="150" y="348"/>
                    </a:cubicBezTo>
                    <a:cubicBezTo>
                      <a:pt x="151" y="348"/>
                      <a:pt x="151" y="348"/>
                      <a:pt x="151" y="348"/>
                    </a:cubicBezTo>
                    <a:cubicBezTo>
                      <a:pt x="152" y="348"/>
                      <a:pt x="152" y="348"/>
                      <a:pt x="152" y="348"/>
                    </a:cubicBezTo>
                    <a:cubicBezTo>
                      <a:pt x="152" y="348"/>
                      <a:pt x="152" y="348"/>
                      <a:pt x="152" y="348"/>
                    </a:cubicBezTo>
                    <a:cubicBezTo>
                      <a:pt x="153" y="346"/>
                      <a:pt x="153" y="345"/>
                      <a:pt x="153" y="344"/>
                    </a:cubicBezTo>
                    <a:cubicBezTo>
                      <a:pt x="153" y="344"/>
                      <a:pt x="153" y="343"/>
                      <a:pt x="153" y="342"/>
                    </a:cubicBezTo>
                    <a:cubicBezTo>
                      <a:pt x="152" y="339"/>
                      <a:pt x="151" y="335"/>
                      <a:pt x="155" y="333"/>
                    </a:cubicBezTo>
                    <a:cubicBezTo>
                      <a:pt x="157" y="332"/>
                      <a:pt x="157" y="332"/>
                      <a:pt x="158" y="329"/>
                    </a:cubicBezTo>
                    <a:cubicBezTo>
                      <a:pt x="158" y="328"/>
                      <a:pt x="158" y="328"/>
                      <a:pt x="158" y="328"/>
                    </a:cubicBezTo>
                    <a:cubicBezTo>
                      <a:pt x="159" y="326"/>
                      <a:pt x="159" y="324"/>
                      <a:pt x="158" y="322"/>
                    </a:cubicBezTo>
                    <a:cubicBezTo>
                      <a:pt x="157" y="322"/>
                      <a:pt x="157" y="322"/>
                      <a:pt x="157" y="322"/>
                    </a:cubicBezTo>
                    <a:cubicBezTo>
                      <a:pt x="157" y="321"/>
                      <a:pt x="157" y="321"/>
                      <a:pt x="156" y="321"/>
                    </a:cubicBezTo>
                    <a:cubicBezTo>
                      <a:pt x="151" y="318"/>
                      <a:pt x="151" y="318"/>
                      <a:pt x="151" y="318"/>
                    </a:cubicBezTo>
                    <a:cubicBezTo>
                      <a:pt x="156" y="316"/>
                      <a:pt x="156" y="316"/>
                      <a:pt x="156" y="316"/>
                    </a:cubicBezTo>
                    <a:cubicBezTo>
                      <a:pt x="157" y="315"/>
                      <a:pt x="159" y="314"/>
                      <a:pt x="160" y="314"/>
                    </a:cubicBezTo>
                    <a:cubicBezTo>
                      <a:pt x="165" y="312"/>
                      <a:pt x="165" y="312"/>
                      <a:pt x="165" y="312"/>
                    </a:cubicBezTo>
                    <a:cubicBezTo>
                      <a:pt x="167" y="311"/>
                      <a:pt x="168" y="311"/>
                      <a:pt x="170" y="311"/>
                    </a:cubicBezTo>
                    <a:cubicBezTo>
                      <a:pt x="171" y="311"/>
                      <a:pt x="172" y="310"/>
                      <a:pt x="173" y="310"/>
                    </a:cubicBezTo>
                    <a:cubicBezTo>
                      <a:pt x="174" y="309"/>
                      <a:pt x="176" y="308"/>
                      <a:pt x="177" y="306"/>
                    </a:cubicBezTo>
                    <a:cubicBezTo>
                      <a:pt x="178" y="305"/>
                      <a:pt x="178" y="305"/>
                      <a:pt x="178" y="305"/>
                    </a:cubicBezTo>
                    <a:cubicBezTo>
                      <a:pt x="178" y="305"/>
                      <a:pt x="178" y="305"/>
                      <a:pt x="178" y="305"/>
                    </a:cubicBezTo>
                    <a:cubicBezTo>
                      <a:pt x="178" y="304"/>
                      <a:pt x="177" y="301"/>
                      <a:pt x="177" y="299"/>
                    </a:cubicBezTo>
                    <a:cubicBezTo>
                      <a:pt x="177" y="298"/>
                      <a:pt x="176" y="297"/>
                      <a:pt x="176" y="297"/>
                    </a:cubicBezTo>
                    <a:cubicBezTo>
                      <a:pt x="176" y="294"/>
                      <a:pt x="176" y="294"/>
                      <a:pt x="176" y="294"/>
                    </a:cubicBezTo>
                    <a:cubicBezTo>
                      <a:pt x="181" y="294"/>
                      <a:pt x="181" y="294"/>
                      <a:pt x="181" y="294"/>
                    </a:cubicBezTo>
                    <a:cubicBezTo>
                      <a:pt x="181" y="294"/>
                      <a:pt x="181" y="294"/>
                      <a:pt x="181" y="294"/>
                    </a:cubicBezTo>
                    <a:cubicBezTo>
                      <a:pt x="181" y="294"/>
                      <a:pt x="182" y="294"/>
                      <a:pt x="182" y="294"/>
                    </a:cubicBezTo>
                    <a:cubicBezTo>
                      <a:pt x="182" y="292"/>
                      <a:pt x="182" y="292"/>
                      <a:pt x="182" y="292"/>
                    </a:cubicBezTo>
                    <a:cubicBezTo>
                      <a:pt x="182" y="292"/>
                      <a:pt x="182" y="291"/>
                      <a:pt x="181" y="291"/>
                    </a:cubicBezTo>
                    <a:cubicBezTo>
                      <a:pt x="181" y="290"/>
                      <a:pt x="181" y="289"/>
                      <a:pt x="181" y="288"/>
                    </a:cubicBezTo>
                    <a:cubicBezTo>
                      <a:pt x="182" y="284"/>
                      <a:pt x="185" y="281"/>
                      <a:pt x="187" y="279"/>
                    </a:cubicBezTo>
                    <a:cubicBezTo>
                      <a:pt x="187" y="278"/>
                      <a:pt x="187" y="278"/>
                      <a:pt x="187" y="278"/>
                    </a:cubicBezTo>
                    <a:cubicBezTo>
                      <a:pt x="188" y="277"/>
                      <a:pt x="188" y="277"/>
                      <a:pt x="189" y="276"/>
                    </a:cubicBezTo>
                    <a:cubicBezTo>
                      <a:pt x="191" y="273"/>
                      <a:pt x="191" y="273"/>
                      <a:pt x="191" y="273"/>
                    </a:cubicBezTo>
                    <a:cubicBezTo>
                      <a:pt x="193" y="276"/>
                      <a:pt x="193" y="276"/>
                      <a:pt x="193" y="276"/>
                    </a:cubicBezTo>
                    <a:cubicBezTo>
                      <a:pt x="194" y="277"/>
                      <a:pt x="194" y="277"/>
                      <a:pt x="195" y="278"/>
                    </a:cubicBezTo>
                    <a:cubicBezTo>
                      <a:pt x="197" y="279"/>
                      <a:pt x="199" y="280"/>
                      <a:pt x="201" y="282"/>
                    </a:cubicBezTo>
                    <a:cubicBezTo>
                      <a:pt x="202" y="282"/>
                      <a:pt x="202" y="282"/>
                      <a:pt x="202" y="282"/>
                    </a:cubicBezTo>
                    <a:cubicBezTo>
                      <a:pt x="203" y="282"/>
                      <a:pt x="203" y="282"/>
                      <a:pt x="203" y="282"/>
                    </a:cubicBezTo>
                    <a:cubicBezTo>
                      <a:pt x="203" y="282"/>
                      <a:pt x="203" y="282"/>
                      <a:pt x="203" y="282"/>
                    </a:cubicBezTo>
                    <a:cubicBezTo>
                      <a:pt x="203" y="282"/>
                      <a:pt x="203" y="282"/>
                      <a:pt x="203" y="282"/>
                    </a:cubicBezTo>
                    <a:cubicBezTo>
                      <a:pt x="204" y="281"/>
                      <a:pt x="204" y="281"/>
                      <a:pt x="204" y="281"/>
                    </a:cubicBezTo>
                    <a:cubicBezTo>
                      <a:pt x="205" y="281"/>
                      <a:pt x="205" y="281"/>
                      <a:pt x="205" y="281"/>
                    </a:cubicBezTo>
                    <a:cubicBezTo>
                      <a:pt x="205" y="281"/>
                      <a:pt x="205" y="281"/>
                      <a:pt x="205" y="281"/>
                    </a:cubicBezTo>
                    <a:cubicBezTo>
                      <a:pt x="205" y="280"/>
                      <a:pt x="205" y="280"/>
                      <a:pt x="205" y="280"/>
                    </a:cubicBezTo>
                    <a:cubicBezTo>
                      <a:pt x="205" y="278"/>
                      <a:pt x="205" y="275"/>
                      <a:pt x="205" y="273"/>
                    </a:cubicBezTo>
                    <a:cubicBezTo>
                      <a:pt x="205" y="267"/>
                      <a:pt x="205" y="267"/>
                      <a:pt x="205" y="267"/>
                    </a:cubicBezTo>
                    <a:cubicBezTo>
                      <a:pt x="209" y="270"/>
                      <a:pt x="209" y="270"/>
                      <a:pt x="209" y="270"/>
                    </a:cubicBezTo>
                    <a:cubicBezTo>
                      <a:pt x="210" y="270"/>
                      <a:pt x="210" y="270"/>
                      <a:pt x="210" y="270"/>
                    </a:cubicBezTo>
                    <a:cubicBezTo>
                      <a:pt x="210" y="271"/>
                      <a:pt x="210" y="271"/>
                      <a:pt x="210" y="271"/>
                    </a:cubicBezTo>
                    <a:cubicBezTo>
                      <a:pt x="211" y="271"/>
                      <a:pt x="212" y="271"/>
                      <a:pt x="212" y="271"/>
                    </a:cubicBezTo>
                    <a:cubicBezTo>
                      <a:pt x="213" y="271"/>
                      <a:pt x="213" y="271"/>
                      <a:pt x="213" y="271"/>
                    </a:cubicBezTo>
                    <a:cubicBezTo>
                      <a:pt x="213" y="271"/>
                      <a:pt x="213" y="270"/>
                      <a:pt x="214" y="269"/>
                    </a:cubicBezTo>
                    <a:cubicBezTo>
                      <a:pt x="216" y="266"/>
                      <a:pt x="216" y="266"/>
                      <a:pt x="216" y="266"/>
                    </a:cubicBezTo>
                    <a:cubicBezTo>
                      <a:pt x="218" y="263"/>
                      <a:pt x="221" y="258"/>
                      <a:pt x="226" y="257"/>
                    </a:cubicBezTo>
                    <a:cubicBezTo>
                      <a:pt x="227" y="257"/>
                      <a:pt x="227" y="257"/>
                      <a:pt x="227" y="257"/>
                    </a:cubicBezTo>
                    <a:cubicBezTo>
                      <a:pt x="229" y="257"/>
                      <a:pt x="231" y="257"/>
                      <a:pt x="232" y="258"/>
                    </a:cubicBezTo>
                    <a:cubicBezTo>
                      <a:pt x="233" y="258"/>
                      <a:pt x="233" y="258"/>
                      <a:pt x="234" y="258"/>
                    </a:cubicBezTo>
                    <a:cubicBezTo>
                      <a:pt x="234" y="259"/>
                      <a:pt x="234" y="259"/>
                      <a:pt x="234" y="259"/>
                    </a:cubicBezTo>
                    <a:cubicBezTo>
                      <a:pt x="235" y="258"/>
                      <a:pt x="235" y="258"/>
                      <a:pt x="235" y="258"/>
                    </a:cubicBezTo>
                    <a:cubicBezTo>
                      <a:pt x="236" y="254"/>
                      <a:pt x="237" y="252"/>
                      <a:pt x="241" y="252"/>
                    </a:cubicBezTo>
                    <a:cubicBezTo>
                      <a:pt x="243" y="251"/>
                      <a:pt x="244" y="251"/>
                      <a:pt x="245" y="250"/>
                    </a:cubicBezTo>
                    <a:cubicBezTo>
                      <a:pt x="246" y="250"/>
                      <a:pt x="246" y="250"/>
                      <a:pt x="246" y="250"/>
                    </a:cubicBezTo>
                    <a:cubicBezTo>
                      <a:pt x="247" y="249"/>
                      <a:pt x="248" y="249"/>
                      <a:pt x="249" y="248"/>
                    </a:cubicBezTo>
                    <a:cubicBezTo>
                      <a:pt x="250" y="248"/>
                      <a:pt x="250" y="248"/>
                      <a:pt x="250" y="248"/>
                    </a:cubicBezTo>
                    <a:cubicBezTo>
                      <a:pt x="253" y="247"/>
                      <a:pt x="255" y="246"/>
                      <a:pt x="257" y="245"/>
                    </a:cubicBezTo>
                    <a:cubicBezTo>
                      <a:pt x="258" y="244"/>
                      <a:pt x="259" y="243"/>
                      <a:pt x="260" y="242"/>
                    </a:cubicBezTo>
                    <a:cubicBezTo>
                      <a:pt x="262" y="241"/>
                      <a:pt x="262" y="241"/>
                      <a:pt x="262" y="241"/>
                    </a:cubicBezTo>
                    <a:cubicBezTo>
                      <a:pt x="262" y="240"/>
                      <a:pt x="263" y="240"/>
                      <a:pt x="263" y="240"/>
                    </a:cubicBezTo>
                    <a:cubicBezTo>
                      <a:pt x="265" y="238"/>
                      <a:pt x="265" y="238"/>
                      <a:pt x="265" y="238"/>
                    </a:cubicBezTo>
                    <a:cubicBezTo>
                      <a:pt x="266" y="237"/>
                      <a:pt x="267" y="237"/>
                      <a:pt x="269" y="237"/>
                    </a:cubicBezTo>
                    <a:cubicBezTo>
                      <a:pt x="270" y="237"/>
                      <a:pt x="271" y="237"/>
                      <a:pt x="272" y="237"/>
                    </a:cubicBezTo>
                    <a:cubicBezTo>
                      <a:pt x="273" y="237"/>
                      <a:pt x="273" y="237"/>
                      <a:pt x="274" y="237"/>
                    </a:cubicBezTo>
                    <a:cubicBezTo>
                      <a:pt x="275" y="237"/>
                      <a:pt x="276" y="237"/>
                      <a:pt x="277" y="238"/>
                    </a:cubicBezTo>
                    <a:cubicBezTo>
                      <a:pt x="278" y="238"/>
                      <a:pt x="278" y="238"/>
                      <a:pt x="278" y="238"/>
                    </a:cubicBezTo>
                    <a:cubicBezTo>
                      <a:pt x="280" y="238"/>
                      <a:pt x="282" y="238"/>
                      <a:pt x="284" y="239"/>
                    </a:cubicBezTo>
                    <a:cubicBezTo>
                      <a:pt x="284" y="239"/>
                      <a:pt x="285" y="239"/>
                      <a:pt x="285" y="239"/>
                    </a:cubicBezTo>
                    <a:cubicBezTo>
                      <a:pt x="286" y="239"/>
                      <a:pt x="286" y="239"/>
                      <a:pt x="286" y="239"/>
                    </a:cubicBezTo>
                    <a:cubicBezTo>
                      <a:pt x="287" y="239"/>
                      <a:pt x="287" y="239"/>
                      <a:pt x="287" y="239"/>
                    </a:cubicBezTo>
                    <a:cubicBezTo>
                      <a:pt x="287" y="239"/>
                      <a:pt x="287" y="239"/>
                      <a:pt x="287" y="239"/>
                    </a:cubicBezTo>
                    <a:cubicBezTo>
                      <a:pt x="288" y="240"/>
                      <a:pt x="288" y="240"/>
                      <a:pt x="289" y="240"/>
                    </a:cubicBezTo>
                    <a:cubicBezTo>
                      <a:pt x="289" y="240"/>
                      <a:pt x="289" y="240"/>
                      <a:pt x="289" y="240"/>
                    </a:cubicBezTo>
                    <a:cubicBezTo>
                      <a:pt x="290" y="240"/>
                      <a:pt x="290" y="240"/>
                      <a:pt x="290" y="240"/>
                    </a:cubicBezTo>
                    <a:cubicBezTo>
                      <a:pt x="290" y="241"/>
                      <a:pt x="290" y="241"/>
                      <a:pt x="290" y="241"/>
                    </a:cubicBezTo>
                    <a:cubicBezTo>
                      <a:pt x="291" y="241"/>
                      <a:pt x="291" y="241"/>
                      <a:pt x="291" y="241"/>
                    </a:cubicBezTo>
                    <a:cubicBezTo>
                      <a:pt x="291" y="241"/>
                      <a:pt x="291" y="241"/>
                      <a:pt x="291" y="241"/>
                    </a:cubicBezTo>
                    <a:cubicBezTo>
                      <a:pt x="292" y="241"/>
                      <a:pt x="292" y="241"/>
                      <a:pt x="292" y="241"/>
                    </a:cubicBezTo>
                    <a:cubicBezTo>
                      <a:pt x="293" y="240"/>
                      <a:pt x="294" y="240"/>
                      <a:pt x="294" y="240"/>
                    </a:cubicBezTo>
                    <a:cubicBezTo>
                      <a:pt x="295" y="239"/>
                      <a:pt x="295" y="239"/>
                      <a:pt x="295" y="239"/>
                    </a:cubicBezTo>
                    <a:cubicBezTo>
                      <a:pt x="296" y="239"/>
                      <a:pt x="296" y="239"/>
                      <a:pt x="297" y="239"/>
                    </a:cubicBezTo>
                    <a:cubicBezTo>
                      <a:pt x="299" y="238"/>
                      <a:pt x="301" y="237"/>
                      <a:pt x="303" y="237"/>
                    </a:cubicBezTo>
                    <a:cubicBezTo>
                      <a:pt x="307" y="235"/>
                      <a:pt x="312" y="233"/>
                      <a:pt x="317" y="232"/>
                    </a:cubicBezTo>
                    <a:cubicBezTo>
                      <a:pt x="328" y="231"/>
                      <a:pt x="337" y="231"/>
                      <a:pt x="346" y="231"/>
                    </a:cubicBezTo>
                    <a:cubicBezTo>
                      <a:pt x="347" y="231"/>
                      <a:pt x="347" y="231"/>
                      <a:pt x="347" y="231"/>
                    </a:cubicBezTo>
                    <a:cubicBezTo>
                      <a:pt x="347" y="231"/>
                      <a:pt x="348" y="231"/>
                      <a:pt x="349" y="231"/>
                    </a:cubicBezTo>
                    <a:cubicBezTo>
                      <a:pt x="350" y="231"/>
                      <a:pt x="350" y="231"/>
                      <a:pt x="350" y="231"/>
                    </a:cubicBezTo>
                    <a:cubicBezTo>
                      <a:pt x="351" y="231"/>
                      <a:pt x="352" y="231"/>
                      <a:pt x="353" y="231"/>
                    </a:cubicBezTo>
                    <a:cubicBezTo>
                      <a:pt x="354" y="231"/>
                      <a:pt x="355" y="231"/>
                      <a:pt x="355" y="231"/>
                    </a:cubicBezTo>
                    <a:cubicBezTo>
                      <a:pt x="356" y="231"/>
                      <a:pt x="357" y="230"/>
                      <a:pt x="358" y="230"/>
                    </a:cubicBezTo>
                    <a:cubicBezTo>
                      <a:pt x="359" y="230"/>
                      <a:pt x="359" y="230"/>
                      <a:pt x="359" y="230"/>
                    </a:cubicBezTo>
                    <a:cubicBezTo>
                      <a:pt x="360" y="230"/>
                      <a:pt x="361" y="230"/>
                      <a:pt x="362" y="230"/>
                    </a:cubicBezTo>
                    <a:cubicBezTo>
                      <a:pt x="363" y="230"/>
                      <a:pt x="363" y="230"/>
                      <a:pt x="363" y="230"/>
                    </a:cubicBezTo>
                    <a:cubicBezTo>
                      <a:pt x="364" y="230"/>
                      <a:pt x="364" y="230"/>
                      <a:pt x="364" y="230"/>
                    </a:cubicBezTo>
                    <a:cubicBezTo>
                      <a:pt x="365" y="230"/>
                      <a:pt x="365" y="230"/>
                      <a:pt x="365" y="230"/>
                    </a:cubicBezTo>
                    <a:cubicBezTo>
                      <a:pt x="366" y="230"/>
                      <a:pt x="366" y="230"/>
                      <a:pt x="366" y="230"/>
                    </a:cubicBezTo>
                    <a:cubicBezTo>
                      <a:pt x="367" y="230"/>
                      <a:pt x="369" y="227"/>
                      <a:pt x="371" y="226"/>
                    </a:cubicBezTo>
                    <a:cubicBezTo>
                      <a:pt x="371" y="225"/>
                      <a:pt x="372" y="224"/>
                      <a:pt x="372" y="224"/>
                    </a:cubicBezTo>
                    <a:cubicBezTo>
                      <a:pt x="374" y="223"/>
                      <a:pt x="374" y="221"/>
                      <a:pt x="375" y="219"/>
                    </a:cubicBezTo>
                    <a:cubicBezTo>
                      <a:pt x="375" y="219"/>
                      <a:pt x="376" y="218"/>
                      <a:pt x="376" y="217"/>
                    </a:cubicBezTo>
                    <a:cubicBezTo>
                      <a:pt x="377" y="215"/>
                      <a:pt x="377" y="215"/>
                      <a:pt x="377" y="215"/>
                    </a:cubicBezTo>
                    <a:cubicBezTo>
                      <a:pt x="378" y="212"/>
                      <a:pt x="380" y="208"/>
                      <a:pt x="380" y="205"/>
                    </a:cubicBezTo>
                    <a:cubicBezTo>
                      <a:pt x="381" y="197"/>
                      <a:pt x="381" y="190"/>
                      <a:pt x="381" y="182"/>
                    </a:cubicBezTo>
                    <a:cubicBezTo>
                      <a:pt x="381" y="176"/>
                      <a:pt x="381" y="176"/>
                      <a:pt x="381" y="176"/>
                    </a:cubicBezTo>
                    <a:cubicBezTo>
                      <a:pt x="381" y="171"/>
                      <a:pt x="381" y="165"/>
                      <a:pt x="381" y="160"/>
                    </a:cubicBezTo>
                    <a:cubicBezTo>
                      <a:pt x="381" y="156"/>
                      <a:pt x="381" y="156"/>
                      <a:pt x="381" y="156"/>
                    </a:cubicBezTo>
                    <a:cubicBezTo>
                      <a:pt x="381" y="152"/>
                      <a:pt x="381" y="149"/>
                      <a:pt x="381" y="145"/>
                    </a:cubicBezTo>
                    <a:cubicBezTo>
                      <a:pt x="375" y="146"/>
                      <a:pt x="375" y="146"/>
                      <a:pt x="375" y="146"/>
                    </a:cubicBezTo>
                    <a:cubicBezTo>
                      <a:pt x="373" y="147"/>
                      <a:pt x="370" y="147"/>
                      <a:pt x="367" y="147"/>
                    </a:cubicBezTo>
                    <a:cubicBezTo>
                      <a:pt x="360" y="147"/>
                      <a:pt x="358" y="146"/>
                      <a:pt x="357" y="145"/>
                    </a:cubicBezTo>
                    <a:cubicBezTo>
                      <a:pt x="357" y="145"/>
                      <a:pt x="357" y="145"/>
                      <a:pt x="356" y="144"/>
                    </a:cubicBezTo>
                    <a:cubicBezTo>
                      <a:pt x="356" y="144"/>
                      <a:pt x="356" y="144"/>
                      <a:pt x="356" y="144"/>
                    </a:cubicBezTo>
                    <a:cubicBezTo>
                      <a:pt x="355" y="144"/>
                      <a:pt x="355" y="143"/>
                      <a:pt x="355" y="143"/>
                    </a:cubicBezTo>
                    <a:cubicBezTo>
                      <a:pt x="354" y="141"/>
                      <a:pt x="355" y="139"/>
                      <a:pt x="357" y="136"/>
                    </a:cubicBezTo>
                    <a:cubicBezTo>
                      <a:pt x="357" y="135"/>
                      <a:pt x="357" y="135"/>
                      <a:pt x="357" y="135"/>
                    </a:cubicBezTo>
                    <a:cubicBezTo>
                      <a:pt x="358" y="135"/>
                      <a:pt x="358" y="135"/>
                      <a:pt x="358" y="135"/>
                    </a:cubicBezTo>
                    <a:cubicBezTo>
                      <a:pt x="358" y="135"/>
                      <a:pt x="358" y="135"/>
                      <a:pt x="358" y="135"/>
                    </a:cubicBezTo>
                    <a:cubicBezTo>
                      <a:pt x="358" y="134"/>
                      <a:pt x="358" y="134"/>
                      <a:pt x="358" y="134"/>
                    </a:cubicBezTo>
                    <a:cubicBezTo>
                      <a:pt x="357" y="133"/>
                      <a:pt x="357" y="133"/>
                      <a:pt x="357" y="132"/>
                    </a:cubicBezTo>
                    <a:cubicBezTo>
                      <a:pt x="357" y="131"/>
                      <a:pt x="357" y="130"/>
                      <a:pt x="357" y="129"/>
                    </a:cubicBezTo>
                    <a:cubicBezTo>
                      <a:pt x="357" y="129"/>
                      <a:pt x="357" y="129"/>
                      <a:pt x="357" y="129"/>
                    </a:cubicBezTo>
                    <a:cubicBezTo>
                      <a:pt x="357" y="128"/>
                      <a:pt x="357" y="128"/>
                      <a:pt x="357" y="128"/>
                    </a:cubicBezTo>
                    <a:cubicBezTo>
                      <a:pt x="357" y="127"/>
                      <a:pt x="357" y="127"/>
                      <a:pt x="357" y="127"/>
                    </a:cubicBezTo>
                    <a:cubicBezTo>
                      <a:pt x="357" y="127"/>
                      <a:pt x="357" y="127"/>
                      <a:pt x="357" y="127"/>
                    </a:cubicBezTo>
                    <a:cubicBezTo>
                      <a:pt x="356" y="126"/>
                      <a:pt x="356" y="126"/>
                      <a:pt x="356" y="126"/>
                    </a:cubicBezTo>
                    <a:cubicBezTo>
                      <a:pt x="355" y="126"/>
                      <a:pt x="355" y="126"/>
                      <a:pt x="355" y="126"/>
                    </a:cubicBezTo>
                    <a:cubicBezTo>
                      <a:pt x="355" y="125"/>
                      <a:pt x="355" y="125"/>
                      <a:pt x="354" y="125"/>
                    </a:cubicBezTo>
                    <a:cubicBezTo>
                      <a:pt x="354" y="125"/>
                      <a:pt x="353" y="125"/>
                      <a:pt x="352" y="125"/>
                    </a:cubicBezTo>
                    <a:cubicBezTo>
                      <a:pt x="352" y="125"/>
                      <a:pt x="352" y="125"/>
                      <a:pt x="352" y="125"/>
                    </a:cubicBezTo>
                    <a:cubicBezTo>
                      <a:pt x="351" y="125"/>
                      <a:pt x="351" y="125"/>
                      <a:pt x="351" y="125"/>
                    </a:cubicBezTo>
                    <a:cubicBezTo>
                      <a:pt x="349" y="124"/>
                      <a:pt x="349" y="124"/>
                      <a:pt x="349" y="124"/>
                    </a:cubicBezTo>
                    <a:cubicBezTo>
                      <a:pt x="345" y="123"/>
                      <a:pt x="342" y="121"/>
                      <a:pt x="338" y="119"/>
                    </a:cubicBezTo>
                    <a:cubicBezTo>
                      <a:pt x="336" y="117"/>
                      <a:pt x="336" y="117"/>
                      <a:pt x="336" y="117"/>
                    </a:cubicBezTo>
                    <a:cubicBezTo>
                      <a:pt x="336" y="117"/>
                      <a:pt x="336" y="117"/>
                      <a:pt x="336" y="117"/>
                    </a:cubicBezTo>
                    <a:cubicBezTo>
                      <a:pt x="336" y="117"/>
                      <a:pt x="336" y="117"/>
                      <a:pt x="336" y="117"/>
                    </a:cubicBezTo>
                    <a:cubicBezTo>
                      <a:pt x="336" y="117"/>
                      <a:pt x="336" y="118"/>
                      <a:pt x="335" y="118"/>
                    </a:cubicBezTo>
                    <a:cubicBezTo>
                      <a:pt x="335" y="118"/>
                      <a:pt x="335" y="118"/>
                      <a:pt x="334" y="118"/>
                    </a:cubicBezTo>
                    <a:cubicBezTo>
                      <a:pt x="334" y="118"/>
                      <a:pt x="334" y="118"/>
                      <a:pt x="333" y="118"/>
                    </a:cubicBezTo>
                    <a:cubicBezTo>
                      <a:pt x="332" y="118"/>
                      <a:pt x="332" y="118"/>
                      <a:pt x="332" y="118"/>
                    </a:cubicBezTo>
                    <a:cubicBezTo>
                      <a:pt x="329" y="117"/>
                      <a:pt x="323" y="116"/>
                      <a:pt x="321" y="112"/>
                    </a:cubicBezTo>
                    <a:cubicBezTo>
                      <a:pt x="320" y="111"/>
                      <a:pt x="320" y="111"/>
                      <a:pt x="320" y="111"/>
                    </a:cubicBezTo>
                    <a:cubicBezTo>
                      <a:pt x="320" y="110"/>
                      <a:pt x="320" y="110"/>
                      <a:pt x="320" y="110"/>
                    </a:cubicBezTo>
                    <a:cubicBezTo>
                      <a:pt x="319" y="108"/>
                      <a:pt x="319" y="108"/>
                      <a:pt x="318" y="108"/>
                    </a:cubicBezTo>
                    <a:cubicBezTo>
                      <a:pt x="317" y="107"/>
                      <a:pt x="317" y="107"/>
                      <a:pt x="317" y="107"/>
                    </a:cubicBezTo>
                    <a:cubicBezTo>
                      <a:pt x="316" y="107"/>
                      <a:pt x="316" y="107"/>
                      <a:pt x="316" y="107"/>
                    </a:cubicBezTo>
                    <a:cubicBezTo>
                      <a:pt x="313" y="106"/>
                      <a:pt x="310" y="106"/>
                      <a:pt x="309" y="104"/>
                    </a:cubicBezTo>
                    <a:cubicBezTo>
                      <a:pt x="308" y="102"/>
                      <a:pt x="309" y="101"/>
                      <a:pt x="309" y="100"/>
                    </a:cubicBezTo>
                    <a:cubicBezTo>
                      <a:pt x="309" y="100"/>
                      <a:pt x="309" y="100"/>
                      <a:pt x="309" y="99"/>
                    </a:cubicBezTo>
                    <a:cubicBezTo>
                      <a:pt x="309" y="98"/>
                      <a:pt x="309" y="98"/>
                      <a:pt x="309" y="98"/>
                    </a:cubicBezTo>
                    <a:cubicBezTo>
                      <a:pt x="309" y="97"/>
                      <a:pt x="309" y="96"/>
                      <a:pt x="309" y="96"/>
                    </a:cubicBezTo>
                    <a:cubicBezTo>
                      <a:pt x="309" y="95"/>
                      <a:pt x="309" y="95"/>
                      <a:pt x="308" y="95"/>
                    </a:cubicBezTo>
                    <a:cubicBezTo>
                      <a:pt x="286" y="80"/>
                      <a:pt x="286" y="80"/>
                      <a:pt x="286" y="80"/>
                    </a:cubicBezTo>
                    <a:cubicBezTo>
                      <a:pt x="270" y="70"/>
                      <a:pt x="253" y="58"/>
                      <a:pt x="239" y="48"/>
                    </a:cubicBezTo>
                    <a:cubicBezTo>
                      <a:pt x="230" y="42"/>
                      <a:pt x="221" y="36"/>
                      <a:pt x="212" y="29"/>
                    </a:cubicBezTo>
                    <a:cubicBezTo>
                      <a:pt x="206" y="25"/>
                      <a:pt x="206" y="25"/>
                      <a:pt x="206" y="25"/>
                    </a:cubicBezTo>
                    <a:cubicBezTo>
                      <a:pt x="200" y="21"/>
                      <a:pt x="194" y="17"/>
                      <a:pt x="188" y="12"/>
                    </a:cubicBezTo>
                    <a:cubicBezTo>
                      <a:pt x="187" y="12"/>
                      <a:pt x="187" y="12"/>
                      <a:pt x="187" y="12"/>
                    </a:cubicBezTo>
                    <a:cubicBezTo>
                      <a:pt x="185" y="10"/>
                      <a:pt x="183" y="9"/>
                      <a:pt x="181" y="8"/>
                    </a:cubicBezTo>
                    <a:cubicBezTo>
                      <a:pt x="175" y="4"/>
                      <a:pt x="175" y="4"/>
                      <a:pt x="175" y="4"/>
                    </a:cubicBezTo>
                    <a:cubicBezTo>
                      <a:pt x="173" y="3"/>
                      <a:pt x="171" y="1"/>
                      <a:pt x="1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7" name="Rectangle 196">
                <a:extLst>
                  <a:ext uri="{FF2B5EF4-FFF2-40B4-BE49-F238E27FC236}">
                    <a16:creationId xmlns:a16="http://schemas.microsoft.com/office/drawing/2014/main" id="{C83EAC0C-5709-4EB4-9EE1-F59EF7BC70B5}"/>
                  </a:ext>
                </a:extLst>
              </p:cNvPr>
              <p:cNvSpPr>
                <a:spLocks noChangeArrowheads="1"/>
              </p:cNvSpPr>
              <p:nvPr/>
            </p:nvSpPr>
            <p:spPr bwMode="auto">
              <a:xfrm>
                <a:off x="3453" y="97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8" name="Rectangle 197">
                <a:extLst>
                  <a:ext uri="{FF2B5EF4-FFF2-40B4-BE49-F238E27FC236}">
                    <a16:creationId xmlns:a16="http://schemas.microsoft.com/office/drawing/2014/main" id="{D3D1DA79-D386-4D65-915F-A1DCBBE9570A}"/>
                  </a:ext>
                </a:extLst>
              </p:cNvPr>
              <p:cNvSpPr>
                <a:spLocks noChangeArrowheads="1"/>
              </p:cNvSpPr>
              <p:nvPr/>
            </p:nvSpPr>
            <p:spPr bwMode="auto">
              <a:xfrm>
                <a:off x="3453" y="97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9" name="Freeform 198">
                <a:extLst>
                  <a:ext uri="{FF2B5EF4-FFF2-40B4-BE49-F238E27FC236}">
                    <a16:creationId xmlns:a16="http://schemas.microsoft.com/office/drawing/2014/main" id="{850ED500-433E-4ACC-8C3D-5A83B2B660AD}"/>
                  </a:ext>
                </a:extLst>
              </p:cNvPr>
              <p:cNvSpPr>
                <a:spLocks/>
              </p:cNvSpPr>
              <p:nvPr/>
            </p:nvSpPr>
            <p:spPr bwMode="auto">
              <a:xfrm>
                <a:off x="2935" y="668"/>
                <a:ext cx="660" cy="501"/>
              </a:xfrm>
              <a:custGeom>
                <a:avLst/>
                <a:gdLst>
                  <a:gd name="T0" fmla="*/ 167 w 279"/>
                  <a:gd name="T1" fmla="*/ 4 h 212"/>
                  <a:gd name="T2" fmla="*/ 135 w 279"/>
                  <a:gd name="T3" fmla="*/ 58 h 212"/>
                  <a:gd name="T4" fmla="*/ 119 w 279"/>
                  <a:gd name="T5" fmla="*/ 65 h 212"/>
                  <a:gd name="T6" fmla="*/ 89 w 279"/>
                  <a:gd name="T7" fmla="*/ 89 h 212"/>
                  <a:gd name="T8" fmla="*/ 77 w 279"/>
                  <a:gd name="T9" fmla="*/ 122 h 212"/>
                  <a:gd name="T10" fmla="*/ 76 w 279"/>
                  <a:gd name="T11" fmla="*/ 139 h 212"/>
                  <a:gd name="T12" fmla="*/ 80 w 279"/>
                  <a:gd name="T13" fmla="*/ 152 h 212"/>
                  <a:gd name="T14" fmla="*/ 31 w 279"/>
                  <a:gd name="T15" fmla="*/ 200 h 212"/>
                  <a:gd name="T16" fmla="*/ 2 w 279"/>
                  <a:gd name="T17" fmla="*/ 208 h 212"/>
                  <a:gd name="T18" fmla="*/ 100 w 279"/>
                  <a:gd name="T19" fmla="*/ 190 h 212"/>
                  <a:gd name="T20" fmla="*/ 108 w 279"/>
                  <a:gd name="T21" fmla="*/ 181 h 212"/>
                  <a:gd name="T22" fmla="*/ 115 w 279"/>
                  <a:gd name="T23" fmla="*/ 176 h 212"/>
                  <a:gd name="T24" fmla="*/ 133 w 279"/>
                  <a:gd name="T25" fmla="*/ 166 h 212"/>
                  <a:gd name="T26" fmla="*/ 146 w 279"/>
                  <a:gd name="T27" fmla="*/ 163 h 212"/>
                  <a:gd name="T28" fmla="*/ 150 w 279"/>
                  <a:gd name="T29" fmla="*/ 163 h 212"/>
                  <a:gd name="T30" fmla="*/ 152 w 279"/>
                  <a:gd name="T31" fmla="*/ 160 h 212"/>
                  <a:gd name="T32" fmla="*/ 156 w 279"/>
                  <a:gd name="T33" fmla="*/ 157 h 212"/>
                  <a:gd name="T34" fmla="*/ 177 w 279"/>
                  <a:gd name="T35" fmla="*/ 154 h 212"/>
                  <a:gd name="T36" fmla="*/ 184 w 279"/>
                  <a:gd name="T37" fmla="*/ 148 h 212"/>
                  <a:gd name="T38" fmla="*/ 191 w 279"/>
                  <a:gd name="T39" fmla="*/ 141 h 212"/>
                  <a:gd name="T40" fmla="*/ 219 w 279"/>
                  <a:gd name="T41" fmla="*/ 129 h 212"/>
                  <a:gd name="T42" fmla="*/ 216 w 279"/>
                  <a:gd name="T43" fmla="*/ 120 h 212"/>
                  <a:gd name="T44" fmla="*/ 214 w 279"/>
                  <a:gd name="T45" fmla="*/ 116 h 212"/>
                  <a:gd name="T46" fmla="*/ 219 w 279"/>
                  <a:gd name="T47" fmla="*/ 108 h 212"/>
                  <a:gd name="T48" fmla="*/ 224 w 279"/>
                  <a:gd name="T49" fmla="*/ 109 h 212"/>
                  <a:gd name="T50" fmla="*/ 233 w 279"/>
                  <a:gd name="T51" fmla="*/ 106 h 212"/>
                  <a:gd name="T52" fmla="*/ 245 w 279"/>
                  <a:gd name="T53" fmla="*/ 97 h 212"/>
                  <a:gd name="T54" fmla="*/ 257 w 279"/>
                  <a:gd name="T55" fmla="*/ 97 h 212"/>
                  <a:gd name="T56" fmla="*/ 269 w 279"/>
                  <a:gd name="T57" fmla="*/ 98 h 212"/>
                  <a:gd name="T58" fmla="*/ 278 w 279"/>
                  <a:gd name="T59" fmla="*/ 92 h 212"/>
                  <a:gd name="T60" fmla="*/ 273 w 279"/>
                  <a:gd name="T61" fmla="*/ 84 h 212"/>
                  <a:gd name="T62" fmla="*/ 264 w 279"/>
                  <a:gd name="T63" fmla="*/ 54 h 212"/>
                  <a:gd name="T64" fmla="*/ 264 w 279"/>
                  <a:gd name="T65" fmla="*/ 40 h 212"/>
                  <a:gd name="T66" fmla="*/ 261 w 279"/>
                  <a:gd name="T67" fmla="*/ 34 h 212"/>
                  <a:gd name="T68" fmla="*/ 261 w 279"/>
                  <a:gd name="T69" fmla="*/ 31 h 212"/>
                  <a:gd name="T70" fmla="*/ 258 w 279"/>
                  <a:gd name="T71" fmla="*/ 28 h 212"/>
                  <a:gd name="T72" fmla="*/ 254 w 279"/>
                  <a:gd name="T73" fmla="*/ 24 h 212"/>
                  <a:gd name="T74" fmla="*/ 252 w 279"/>
                  <a:gd name="T75" fmla="*/ 22 h 212"/>
                  <a:gd name="T76" fmla="*/ 239 w 279"/>
                  <a:gd name="T77" fmla="*/ 18 h 212"/>
                  <a:gd name="T78" fmla="*/ 236 w 279"/>
                  <a:gd name="T79" fmla="*/ 13 h 212"/>
                  <a:gd name="T80" fmla="*/ 202 w 279"/>
                  <a:gd name="T81" fmla="*/ 19 h 212"/>
                  <a:gd name="T82" fmla="*/ 186 w 279"/>
                  <a:gd name="T83" fmla="*/ 9 h 212"/>
                  <a:gd name="T84" fmla="*/ 183 w 279"/>
                  <a:gd name="T85"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9" h="212">
                    <a:moveTo>
                      <a:pt x="180" y="0"/>
                    </a:moveTo>
                    <a:cubicBezTo>
                      <a:pt x="180" y="0"/>
                      <a:pt x="180" y="0"/>
                      <a:pt x="180" y="0"/>
                    </a:cubicBezTo>
                    <a:cubicBezTo>
                      <a:pt x="177" y="1"/>
                      <a:pt x="169" y="1"/>
                      <a:pt x="167" y="4"/>
                    </a:cubicBezTo>
                    <a:cubicBezTo>
                      <a:pt x="166" y="9"/>
                      <a:pt x="164" y="14"/>
                      <a:pt x="162" y="19"/>
                    </a:cubicBezTo>
                    <a:cubicBezTo>
                      <a:pt x="159" y="28"/>
                      <a:pt x="154" y="37"/>
                      <a:pt x="149" y="46"/>
                    </a:cubicBezTo>
                    <a:cubicBezTo>
                      <a:pt x="146" y="51"/>
                      <a:pt x="140" y="55"/>
                      <a:pt x="135" y="58"/>
                    </a:cubicBezTo>
                    <a:cubicBezTo>
                      <a:pt x="134" y="58"/>
                      <a:pt x="134" y="58"/>
                      <a:pt x="134" y="58"/>
                    </a:cubicBezTo>
                    <a:cubicBezTo>
                      <a:pt x="122" y="63"/>
                      <a:pt x="122" y="63"/>
                      <a:pt x="122" y="63"/>
                    </a:cubicBezTo>
                    <a:cubicBezTo>
                      <a:pt x="121" y="64"/>
                      <a:pt x="120" y="64"/>
                      <a:pt x="119" y="65"/>
                    </a:cubicBezTo>
                    <a:cubicBezTo>
                      <a:pt x="114" y="67"/>
                      <a:pt x="109" y="68"/>
                      <a:pt x="105" y="71"/>
                    </a:cubicBezTo>
                    <a:cubicBezTo>
                      <a:pt x="101" y="75"/>
                      <a:pt x="98" y="80"/>
                      <a:pt x="94" y="84"/>
                    </a:cubicBezTo>
                    <a:cubicBezTo>
                      <a:pt x="93" y="86"/>
                      <a:pt x="90" y="87"/>
                      <a:pt x="89" y="89"/>
                    </a:cubicBezTo>
                    <a:cubicBezTo>
                      <a:pt x="88" y="91"/>
                      <a:pt x="88" y="94"/>
                      <a:pt x="87" y="96"/>
                    </a:cubicBezTo>
                    <a:cubicBezTo>
                      <a:pt x="85" y="104"/>
                      <a:pt x="82" y="109"/>
                      <a:pt x="78" y="115"/>
                    </a:cubicBezTo>
                    <a:cubicBezTo>
                      <a:pt x="76" y="119"/>
                      <a:pt x="77" y="119"/>
                      <a:pt x="77" y="122"/>
                    </a:cubicBezTo>
                    <a:cubicBezTo>
                      <a:pt x="76" y="125"/>
                      <a:pt x="76" y="129"/>
                      <a:pt x="76" y="132"/>
                    </a:cubicBezTo>
                    <a:cubicBezTo>
                      <a:pt x="76" y="134"/>
                      <a:pt x="75" y="136"/>
                      <a:pt x="75" y="139"/>
                    </a:cubicBezTo>
                    <a:cubicBezTo>
                      <a:pt x="75" y="139"/>
                      <a:pt x="75" y="139"/>
                      <a:pt x="76" y="139"/>
                    </a:cubicBezTo>
                    <a:cubicBezTo>
                      <a:pt x="76" y="139"/>
                      <a:pt x="76" y="139"/>
                      <a:pt x="76" y="139"/>
                    </a:cubicBezTo>
                    <a:cubicBezTo>
                      <a:pt x="79" y="142"/>
                      <a:pt x="81" y="144"/>
                      <a:pt x="81" y="147"/>
                    </a:cubicBezTo>
                    <a:cubicBezTo>
                      <a:pt x="81" y="149"/>
                      <a:pt x="80" y="151"/>
                      <a:pt x="80" y="152"/>
                    </a:cubicBezTo>
                    <a:cubicBezTo>
                      <a:pt x="77" y="161"/>
                      <a:pt x="69" y="169"/>
                      <a:pt x="63" y="176"/>
                    </a:cubicBezTo>
                    <a:cubicBezTo>
                      <a:pt x="59" y="181"/>
                      <a:pt x="52" y="184"/>
                      <a:pt x="47" y="188"/>
                    </a:cubicBezTo>
                    <a:cubicBezTo>
                      <a:pt x="41" y="192"/>
                      <a:pt x="36" y="196"/>
                      <a:pt x="31" y="200"/>
                    </a:cubicBezTo>
                    <a:cubicBezTo>
                      <a:pt x="29" y="202"/>
                      <a:pt x="26" y="202"/>
                      <a:pt x="24" y="202"/>
                    </a:cubicBezTo>
                    <a:cubicBezTo>
                      <a:pt x="20" y="204"/>
                      <a:pt x="15" y="205"/>
                      <a:pt x="10" y="206"/>
                    </a:cubicBezTo>
                    <a:cubicBezTo>
                      <a:pt x="9" y="206"/>
                      <a:pt x="3" y="207"/>
                      <a:pt x="2" y="208"/>
                    </a:cubicBezTo>
                    <a:cubicBezTo>
                      <a:pt x="2" y="210"/>
                      <a:pt x="1" y="211"/>
                      <a:pt x="0" y="212"/>
                    </a:cubicBezTo>
                    <a:cubicBezTo>
                      <a:pt x="101" y="212"/>
                      <a:pt x="101" y="212"/>
                      <a:pt x="101" y="212"/>
                    </a:cubicBezTo>
                    <a:cubicBezTo>
                      <a:pt x="100" y="190"/>
                      <a:pt x="100" y="190"/>
                      <a:pt x="100" y="190"/>
                    </a:cubicBezTo>
                    <a:cubicBezTo>
                      <a:pt x="100" y="189"/>
                      <a:pt x="101" y="189"/>
                      <a:pt x="101" y="189"/>
                    </a:cubicBezTo>
                    <a:cubicBezTo>
                      <a:pt x="101" y="187"/>
                      <a:pt x="102" y="185"/>
                      <a:pt x="104" y="184"/>
                    </a:cubicBezTo>
                    <a:cubicBezTo>
                      <a:pt x="105" y="183"/>
                      <a:pt x="107" y="182"/>
                      <a:pt x="108" y="181"/>
                    </a:cubicBezTo>
                    <a:cubicBezTo>
                      <a:pt x="111" y="179"/>
                      <a:pt x="111" y="179"/>
                      <a:pt x="111" y="179"/>
                    </a:cubicBezTo>
                    <a:cubicBezTo>
                      <a:pt x="111" y="179"/>
                      <a:pt x="111" y="179"/>
                      <a:pt x="112" y="179"/>
                    </a:cubicBezTo>
                    <a:cubicBezTo>
                      <a:pt x="115" y="176"/>
                      <a:pt x="115" y="176"/>
                      <a:pt x="115" y="176"/>
                    </a:cubicBezTo>
                    <a:cubicBezTo>
                      <a:pt x="118" y="174"/>
                      <a:pt x="121" y="173"/>
                      <a:pt x="123" y="171"/>
                    </a:cubicBezTo>
                    <a:cubicBezTo>
                      <a:pt x="124" y="170"/>
                      <a:pt x="125" y="169"/>
                      <a:pt x="127" y="169"/>
                    </a:cubicBezTo>
                    <a:cubicBezTo>
                      <a:pt x="129" y="167"/>
                      <a:pt x="131" y="167"/>
                      <a:pt x="133" y="166"/>
                    </a:cubicBezTo>
                    <a:cubicBezTo>
                      <a:pt x="135" y="166"/>
                      <a:pt x="136" y="165"/>
                      <a:pt x="137" y="165"/>
                    </a:cubicBezTo>
                    <a:cubicBezTo>
                      <a:pt x="141" y="164"/>
                      <a:pt x="141" y="164"/>
                      <a:pt x="141" y="164"/>
                    </a:cubicBezTo>
                    <a:cubicBezTo>
                      <a:pt x="142" y="164"/>
                      <a:pt x="144" y="163"/>
                      <a:pt x="146" y="163"/>
                    </a:cubicBezTo>
                    <a:cubicBezTo>
                      <a:pt x="146" y="163"/>
                      <a:pt x="147" y="163"/>
                      <a:pt x="147" y="163"/>
                    </a:cubicBezTo>
                    <a:cubicBezTo>
                      <a:pt x="148" y="163"/>
                      <a:pt x="149" y="163"/>
                      <a:pt x="149" y="163"/>
                    </a:cubicBezTo>
                    <a:cubicBezTo>
                      <a:pt x="150" y="163"/>
                      <a:pt x="150" y="163"/>
                      <a:pt x="150" y="163"/>
                    </a:cubicBezTo>
                    <a:cubicBezTo>
                      <a:pt x="151" y="163"/>
                      <a:pt x="151" y="163"/>
                      <a:pt x="151" y="163"/>
                    </a:cubicBezTo>
                    <a:cubicBezTo>
                      <a:pt x="151" y="163"/>
                      <a:pt x="151" y="161"/>
                      <a:pt x="152" y="160"/>
                    </a:cubicBezTo>
                    <a:cubicBezTo>
                      <a:pt x="152" y="160"/>
                      <a:pt x="152" y="160"/>
                      <a:pt x="152" y="160"/>
                    </a:cubicBezTo>
                    <a:cubicBezTo>
                      <a:pt x="152" y="159"/>
                      <a:pt x="152" y="159"/>
                      <a:pt x="152" y="158"/>
                    </a:cubicBezTo>
                    <a:cubicBezTo>
                      <a:pt x="153" y="155"/>
                      <a:pt x="153" y="155"/>
                      <a:pt x="153" y="155"/>
                    </a:cubicBezTo>
                    <a:cubicBezTo>
                      <a:pt x="156" y="157"/>
                      <a:pt x="156" y="157"/>
                      <a:pt x="156" y="157"/>
                    </a:cubicBezTo>
                    <a:cubicBezTo>
                      <a:pt x="156" y="157"/>
                      <a:pt x="157" y="157"/>
                      <a:pt x="157" y="157"/>
                    </a:cubicBezTo>
                    <a:cubicBezTo>
                      <a:pt x="158" y="157"/>
                      <a:pt x="159" y="157"/>
                      <a:pt x="160" y="157"/>
                    </a:cubicBezTo>
                    <a:cubicBezTo>
                      <a:pt x="166" y="157"/>
                      <a:pt x="173" y="156"/>
                      <a:pt x="177" y="154"/>
                    </a:cubicBezTo>
                    <a:cubicBezTo>
                      <a:pt x="178" y="154"/>
                      <a:pt x="179" y="153"/>
                      <a:pt x="180" y="153"/>
                    </a:cubicBezTo>
                    <a:cubicBezTo>
                      <a:pt x="180" y="152"/>
                      <a:pt x="181" y="151"/>
                      <a:pt x="182" y="150"/>
                    </a:cubicBezTo>
                    <a:cubicBezTo>
                      <a:pt x="184" y="148"/>
                      <a:pt x="184" y="148"/>
                      <a:pt x="184" y="148"/>
                    </a:cubicBezTo>
                    <a:cubicBezTo>
                      <a:pt x="184" y="148"/>
                      <a:pt x="184" y="147"/>
                      <a:pt x="185" y="147"/>
                    </a:cubicBezTo>
                    <a:cubicBezTo>
                      <a:pt x="185" y="146"/>
                      <a:pt x="185" y="146"/>
                      <a:pt x="185" y="146"/>
                    </a:cubicBezTo>
                    <a:cubicBezTo>
                      <a:pt x="187" y="144"/>
                      <a:pt x="189" y="142"/>
                      <a:pt x="191" y="141"/>
                    </a:cubicBezTo>
                    <a:cubicBezTo>
                      <a:pt x="216" y="130"/>
                      <a:pt x="216" y="130"/>
                      <a:pt x="216" y="130"/>
                    </a:cubicBezTo>
                    <a:cubicBezTo>
                      <a:pt x="216" y="129"/>
                      <a:pt x="217" y="129"/>
                      <a:pt x="217" y="129"/>
                    </a:cubicBezTo>
                    <a:cubicBezTo>
                      <a:pt x="218" y="129"/>
                      <a:pt x="218" y="129"/>
                      <a:pt x="219" y="129"/>
                    </a:cubicBezTo>
                    <a:cubicBezTo>
                      <a:pt x="217" y="127"/>
                      <a:pt x="217" y="127"/>
                      <a:pt x="217" y="127"/>
                    </a:cubicBezTo>
                    <a:cubicBezTo>
                      <a:pt x="214" y="126"/>
                      <a:pt x="215" y="124"/>
                      <a:pt x="215" y="122"/>
                    </a:cubicBezTo>
                    <a:cubicBezTo>
                      <a:pt x="215" y="121"/>
                      <a:pt x="216" y="120"/>
                      <a:pt x="216" y="120"/>
                    </a:cubicBezTo>
                    <a:cubicBezTo>
                      <a:pt x="215" y="119"/>
                      <a:pt x="215" y="119"/>
                      <a:pt x="215" y="119"/>
                    </a:cubicBezTo>
                    <a:cubicBezTo>
                      <a:pt x="215" y="119"/>
                      <a:pt x="215" y="119"/>
                      <a:pt x="215" y="119"/>
                    </a:cubicBezTo>
                    <a:cubicBezTo>
                      <a:pt x="215" y="118"/>
                      <a:pt x="214" y="117"/>
                      <a:pt x="214" y="116"/>
                    </a:cubicBezTo>
                    <a:cubicBezTo>
                      <a:pt x="214" y="115"/>
                      <a:pt x="214" y="114"/>
                      <a:pt x="214" y="113"/>
                    </a:cubicBezTo>
                    <a:cubicBezTo>
                      <a:pt x="214" y="111"/>
                      <a:pt x="216" y="109"/>
                      <a:pt x="218" y="108"/>
                    </a:cubicBezTo>
                    <a:cubicBezTo>
                      <a:pt x="219" y="108"/>
                      <a:pt x="219" y="108"/>
                      <a:pt x="219" y="108"/>
                    </a:cubicBezTo>
                    <a:cubicBezTo>
                      <a:pt x="220" y="108"/>
                      <a:pt x="221" y="108"/>
                      <a:pt x="222" y="108"/>
                    </a:cubicBezTo>
                    <a:cubicBezTo>
                      <a:pt x="223" y="109"/>
                      <a:pt x="223" y="109"/>
                      <a:pt x="224" y="109"/>
                    </a:cubicBezTo>
                    <a:cubicBezTo>
                      <a:pt x="224" y="109"/>
                      <a:pt x="224" y="109"/>
                      <a:pt x="224" y="109"/>
                    </a:cubicBezTo>
                    <a:cubicBezTo>
                      <a:pt x="225" y="109"/>
                      <a:pt x="225" y="109"/>
                      <a:pt x="225" y="109"/>
                    </a:cubicBezTo>
                    <a:cubicBezTo>
                      <a:pt x="226" y="109"/>
                      <a:pt x="229" y="108"/>
                      <a:pt x="231" y="107"/>
                    </a:cubicBezTo>
                    <a:cubicBezTo>
                      <a:pt x="232" y="106"/>
                      <a:pt x="232" y="106"/>
                      <a:pt x="233" y="106"/>
                    </a:cubicBezTo>
                    <a:cubicBezTo>
                      <a:pt x="234" y="105"/>
                      <a:pt x="235" y="104"/>
                      <a:pt x="235" y="103"/>
                    </a:cubicBezTo>
                    <a:cubicBezTo>
                      <a:pt x="237" y="101"/>
                      <a:pt x="238" y="99"/>
                      <a:pt x="241" y="98"/>
                    </a:cubicBezTo>
                    <a:cubicBezTo>
                      <a:pt x="242" y="98"/>
                      <a:pt x="244" y="97"/>
                      <a:pt x="245" y="97"/>
                    </a:cubicBezTo>
                    <a:cubicBezTo>
                      <a:pt x="246" y="97"/>
                      <a:pt x="247" y="97"/>
                      <a:pt x="247" y="97"/>
                    </a:cubicBezTo>
                    <a:cubicBezTo>
                      <a:pt x="249" y="96"/>
                      <a:pt x="251" y="96"/>
                      <a:pt x="253" y="96"/>
                    </a:cubicBezTo>
                    <a:cubicBezTo>
                      <a:pt x="254" y="96"/>
                      <a:pt x="256" y="96"/>
                      <a:pt x="257" y="97"/>
                    </a:cubicBezTo>
                    <a:cubicBezTo>
                      <a:pt x="258" y="97"/>
                      <a:pt x="258" y="97"/>
                      <a:pt x="258" y="97"/>
                    </a:cubicBezTo>
                    <a:cubicBezTo>
                      <a:pt x="260" y="97"/>
                      <a:pt x="263" y="97"/>
                      <a:pt x="265" y="97"/>
                    </a:cubicBezTo>
                    <a:cubicBezTo>
                      <a:pt x="266" y="97"/>
                      <a:pt x="268" y="97"/>
                      <a:pt x="269" y="98"/>
                    </a:cubicBezTo>
                    <a:cubicBezTo>
                      <a:pt x="271" y="98"/>
                      <a:pt x="273" y="98"/>
                      <a:pt x="275" y="98"/>
                    </a:cubicBezTo>
                    <a:cubicBezTo>
                      <a:pt x="275" y="97"/>
                      <a:pt x="275" y="96"/>
                      <a:pt x="275" y="95"/>
                    </a:cubicBezTo>
                    <a:cubicBezTo>
                      <a:pt x="278" y="92"/>
                      <a:pt x="278" y="92"/>
                      <a:pt x="278" y="92"/>
                    </a:cubicBezTo>
                    <a:cubicBezTo>
                      <a:pt x="279" y="91"/>
                      <a:pt x="279" y="91"/>
                      <a:pt x="279" y="91"/>
                    </a:cubicBezTo>
                    <a:cubicBezTo>
                      <a:pt x="277" y="89"/>
                      <a:pt x="277" y="89"/>
                      <a:pt x="277" y="89"/>
                    </a:cubicBezTo>
                    <a:cubicBezTo>
                      <a:pt x="275" y="88"/>
                      <a:pt x="274" y="86"/>
                      <a:pt x="273" y="84"/>
                    </a:cubicBezTo>
                    <a:cubicBezTo>
                      <a:pt x="264" y="61"/>
                      <a:pt x="264" y="61"/>
                      <a:pt x="264" y="61"/>
                    </a:cubicBezTo>
                    <a:cubicBezTo>
                      <a:pt x="264" y="60"/>
                      <a:pt x="264" y="58"/>
                      <a:pt x="264" y="57"/>
                    </a:cubicBezTo>
                    <a:cubicBezTo>
                      <a:pt x="264" y="56"/>
                      <a:pt x="264" y="55"/>
                      <a:pt x="264" y="54"/>
                    </a:cubicBezTo>
                    <a:cubicBezTo>
                      <a:pt x="265" y="52"/>
                      <a:pt x="266" y="49"/>
                      <a:pt x="265" y="48"/>
                    </a:cubicBezTo>
                    <a:cubicBezTo>
                      <a:pt x="264" y="42"/>
                      <a:pt x="264" y="42"/>
                      <a:pt x="264" y="42"/>
                    </a:cubicBezTo>
                    <a:cubicBezTo>
                      <a:pt x="263" y="41"/>
                      <a:pt x="263" y="41"/>
                      <a:pt x="264" y="40"/>
                    </a:cubicBezTo>
                    <a:cubicBezTo>
                      <a:pt x="264" y="40"/>
                      <a:pt x="264" y="39"/>
                      <a:pt x="264" y="39"/>
                    </a:cubicBezTo>
                    <a:cubicBezTo>
                      <a:pt x="263" y="38"/>
                      <a:pt x="263" y="38"/>
                      <a:pt x="262" y="37"/>
                    </a:cubicBezTo>
                    <a:cubicBezTo>
                      <a:pt x="261" y="36"/>
                      <a:pt x="261" y="35"/>
                      <a:pt x="261" y="34"/>
                    </a:cubicBezTo>
                    <a:cubicBezTo>
                      <a:pt x="261" y="33"/>
                      <a:pt x="261" y="33"/>
                      <a:pt x="262" y="32"/>
                    </a:cubicBezTo>
                    <a:cubicBezTo>
                      <a:pt x="260" y="34"/>
                      <a:pt x="260" y="34"/>
                      <a:pt x="260" y="34"/>
                    </a:cubicBezTo>
                    <a:cubicBezTo>
                      <a:pt x="261" y="31"/>
                      <a:pt x="261" y="31"/>
                      <a:pt x="261" y="31"/>
                    </a:cubicBezTo>
                    <a:cubicBezTo>
                      <a:pt x="260" y="31"/>
                      <a:pt x="260" y="31"/>
                      <a:pt x="260" y="31"/>
                    </a:cubicBezTo>
                    <a:cubicBezTo>
                      <a:pt x="260" y="30"/>
                      <a:pt x="259" y="29"/>
                      <a:pt x="258" y="28"/>
                    </a:cubicBezTo>
                    <a:cubicBezTo>
                      <a:pt x="258" y="28"/>
                      <a:pt x="258" y="28"/>
                      <a:pt x="258" y="28"/>
                    </a:cubicBezTo>
                    <a:cubicBezTo>
                      <a:pt x="257" y="27"/>
                      <a:pt x="257" y="27"/>
                      <a:pt x="256" y="26"/>
                    </a:cubicBezTo>
                    <a:cubicBezTo>
                      <a:pt x="255" y="26"/>
                      <a:pt x="255" y="26"/>
                      <a:pt x="255" y="26"/>
                    </a:cubicBezTo>
                    <a:cubicBezTo>
                      <a:pt x="255" y="25"/>
                      <a:pt x="254" y="25"/>
                      <a:pt x="254" y="24"/>
                    </a:cubicBezTo>
                    <a:cubicBezTo>
                      <a:pt x="253" y="24"/>
                      <a:pt x="253" y="24"/>
                      <a:pt x="253" y="24"/>
                    </a:cubicBezTo>
                    <a:cubicBezTo>
                      <a:pt x="253" y="23"/>
                      <a:pt x="253" y="23"/>
                      <a:pt x="253" y="23"/>
                    </a:cubicBezTo>
                    <a:cubicBezTo>
                      <a:pt x="252" y="22"/>
                      <a:pt x="252" y="22"/>
                      <a:pt x="252" y="22"/>
                    </a:cubicBezTo>
                    <a:cubicBezTo>
                      <a:pt x="253" y="21"/>
                      <a:pt x="253" y="21"/>
                      <a:pt x="253" y="21"/>
                    </a:cubicBezTo>
                    <a:cubicBezTo>
                      <a:pt x="249" y="19"/>
                      <a:pt x="245" y="18"/>
                      <a:pt x="240" y="18"/>
                    </a:cubicBezTo>
                    <a:cubicBezTo>
                      <a:pt x="240" y="18"/>
                      <a:pt x="240" y="18"/>
                      <a:pt x="239" y="18"/>
                    </a:cubicBezTo>
                    <a:cubicBezTo>
                      <a:pt x="240" y="19"/>
                      <a:pt x="240" y="20"/>
                      <a:pt x="240" y="21"/>
                    </a:cubicBezTo>
                    <a:cubicBezTo>
                      <a:pt x="239" y="20"/>
                      <a:pt x="239" y="19"/>
                      <a:pt x="239" y="17"/>
                    </a:cubicBezTo>
                    <a:cubicBezTo>
                      <a:pt x="238" y="14"/>
                      <a:pt x="238" y="13"/>
                      <a:pt x="236" y="13"/>
                    </a:cubicBezTo>
                    <a:cubicBezTo>
                      <a:pt x="235" y="13"/>
                      <a:pt x="235" y="13"/>
                      <a:pt x="234" y="14"/>
                    </a:cubicBezTo>
                    <a:cubicBezTo>
                      <a:pt x="227" y="16"/>
                      <a:pt x="221" y="19"/>
                      <a:pt x="215" y="19"/>
                    </a:cubicBezTo>
                    <a:cubicBezTo>
                      <a:pt x="210" y="19"/>
                      <a:pt x="206" y="19"/>
                      <a:pt x="202" y="19"/>
                    </a:cubicBezTo>
                    <a:cubicBezTo>
                      <a:pt x="202" y="19"/>
                      <a:pt x="202" y="19"/>
                      <a:pt x="201" y="19"/>
                    </a:cubicBezTo>
                    <a:cubicBezTo>
                      <a:pt x="199" y="19"/>
                      <a:pt x="195" y="16"/>
                      <a:pt x="193" y="15"/>
                    </a:cubicBezTo>
                    <a:cubicBezTo>
                      <a:pt x="190" y="13"/>
                      <a:pt x="188" y="13"/>
                      <a:pt x="186" y="9"/>
                    </a:cubicBezTo>
                    <a:cubicBezTo>
                      <a:pt x="184" y="7"/>
                      <a:pt x="183" y="4"/>
                      <a:pt x="181" y="1"/>
                    </a:cubicBezTo>
                    <a:cubicBezTo>
                      <a:pt x="181" y="2"/>
                      <a:pt x="181" y="2"/>
                      <a:pt x="181" y="2"/>
                    </a:cubicBezTo>
                    <a:cubicBezTo>
                      <a:pt x="182" y="1"/>
                      <a:pt x="183" y="1"/>
                      <a:pt x="183" y="0"/>
                    </a:cubicBezTo>
                    <a:cubicBezTo>
                      <a:pt x="182" y="0"/>
                      <a:pt x="181" y="0"/>
                      <a:pt x="1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0" name="Freeform 199">
                <a:extLst>
                  <a:ext uri="{FF2B5EF4-FFF2-40B4-BE49-F238E27FC236}">
                    <a16:creationId xmlns:a16="http://schemas.microsoft.com/office/drawing/2014/main" id="{60BCDB21-3B60-4FDE-A9BE-25984C6E0D9F}"/>
                  </a:ext>
                </a:extLst>
              </p:cNvPr>
              <p:cNvSpPr>
                <a:spLocks/>
              </p:cNvSpPr>
              <p:nvPr/>
            </p:nvSpPr>
            <p:spPr bwMode="auto">
              <a:xfrm>
                <a:off x="2716" y="1181"/>
                <a:ext cx="458" cy="366"/>
              </a:xfrm>
              <a:custGeom>
                <a:avLst/>
                <a:gdLst>
                  <a:gd name="T0" fmla="*/ 194 w 194"/>
                  <a:gd name="T1" fmla="*/ 0 h 155"/>
                  <a:gd name="T2" fmla="*/ 89 w 194"/>
                  <a:gd name="T3" fmla="*/ 0 h 155"/>
                  <a:gd name="T4" fmla="*/ 77 w 194"/>
                  <a:gd name="T5" fmla="*/ 24 h 155"/>
                  <a:gd name="T6" fmla="*/ 63 w 194"/>
                  <a:gd name="T7" fmla="*/ 32 h 155"/>
                  <a:gd name="T8" fmla="*/ 59 w 194"/>
                  <a:gd name="T9" fmla="*/ 36 h 155"/>
                  <a:gd name="T10" fmla="*/ 53 w 194"/>
                  <a:gd name="T11" fmla="*/ 52 h 155"/>
                  <a:gd name="T12" fmla="*/ 48 w 194"/>
                  <a:gd name="T13" fmla="*/ 74 h 155"/>
                  <a:gd name="T14" fmla="*/ 42 w 194"/>
                  <a:gd name="T15" fmla="*/ 79 h 155"/>
                  <a:gd name="T16" fmla="*/ 36 w 194"/>
                  <a:gd name="T17" fmla="*/ 86 h 155"/>
                  <a:gd name="T18" fmla="*/ 26 w 194"/>
                  <a:gd name="T19" fmla="*/ 98 h 155"/>
                  <a:gd name="T20" fmla="*/ 18 w 194"/>
                  <a:gd name="T21" fmla="*/ 114 h 155"/>
                  <a:gd name="T22" fmla="*/ 15 w 194"/>
                  <a:gd name="T23" fmla="*/ 125 h 155"/>
                  <a:gd name="T24" fmla="*/ 12 w 194"/>
                  <a:gd name="T25" fmla="*/ 132 h 155"/>
                  <a:gd name="T26" fmla="*/ 7 w 194"/>
                  <a:gd name="T27" fmla="*/ 136 h 155"/>
                  <a:gd name="T28" fmla="*/ 1 w 194"/>
                  <a:gd name="T29" fmla="*/ 144 h 155"/>
                  <a:gd name="T30" fmla="*/ 0 w 194"/>
                  <a:gd name="T31" fmla="*/ 152 h 155"/>
                  <a:gd name="T32" fmla="*/ 0 w 194"/>
                  <a:gd name="T33" fmla="*/ 155 h 155"/>
                  <a:gd name="T34" fmla="*/ 2 w 194"/>
                  <a:gd name="T35" fmla="*/ 153 h 155"/>
                  <a:gd name="T36" fmla="*/ 5 w 194"/>
                  <a:gd name="T37" fmla="*/ 153 h 155"/>
                  <a:gd name="T38" fmla="*/ 7 w 194"/>
                  <a:gd name="T39" fmla="*/ 153 h 155"/>
                  <a:gd name="T40" fmla="*/ 7 w 194"/>
                  <a:gd name="T41" fmla="*/ 153 h 155"/>
                  <a:gd name="T42" fmla="*/ 8 w 194"/>
                  <a:gd name="T43" fmla="*/ 153 h 155"/>
                  <a:gd name="T44" fmla="*/ 11 w 194"/>
                  <a:gd name="T45" fmla="*/ 153 h 155"/>
                  <a:gd name="T46" fmla="*/ 13 w 194"/>
                  <a:gd name="T47" fmla="*/ 153 h 155"/>
                  <a:gd name="T48" fmla="*/ 39 w 194"/>
                  <a:gd name="T49" fmla="*/ 153 h 155"/>
                  <a:gd name="T50" fmla="*/ 92 w 194"/>
                  <a:gd name="T51" fmla="*/ 153 h 155"/>
                  <a:gd name="T52" fmla="*/ 91 w 194"/>
                  <a:gd name="T53" fmla="*/ 149 h 155"/>
                  <a:gd name="T54" fmla="*/ 91 w 194"/>
                  <a:gd name="T55" fmla="*/ 149 h 155"/>
                  <a:gd name="T56" fmla="*/ 91 w 194"/>
                  <a:gd name="T57" fmla="*/ 147 h 155"/>
                  <a:gd name="T58" fmla="*/ 90 w 194"/>
                  <a:gd name="T59" fmla="*/ 132 h 155"/>
                  <a:gd name="T60" fmla="*/ 90 w 194"/>
                  <a:gd name="T61" fmla="*/ 127 h 155"/>
                  <a:gd name="T62" fmla="*/ 89 w 194"/>
                  <a:gd name="T63" fmla="*/ 126 h 155"/>
                  <a:gd name="T64" fmla="*/ 89 w 194"/>
                  <a:gd name="T65" fmla="*/ 125 h 155"/>
                  <a:gd name="T66" fmla="*/ 90 w 194"/>
                  <a:gd name="T67" fmla="*/ 117 h 155"/>
                  <a:gd name="T68" fmla="*/ 99 w 194"/>
                  <a:gd name="T69" fmla="*/ 108 h 155"/>
                  <a:gd name="T70" fmla="*/ 101 w 194"/>
                  <a:gd name="T71" fmla="*/ 106 h 155"/>
                  <a:gd name="T72" fmla="*/ 102 w 194"/>
                  <a:gd name="T73" fmla="*/ 106 h 155"/>
                  <a:gd name="T74" fmla="*/ 106 w 194"/>
                  <a:gd name="T75" fmla="*/ 104 h 155"/>
                  <a:gd name="T76" fmla="*/ 111 w 194"/>
                  <a:gd name="T77" fmla="*/ 103 h 155"/>
                  <a:gd name="T78" fmla="*/ 113 w 194"/>
                  <a:gd name="T79" fmla="*/ 102 h 155"/>
                  <a:gd name="T80" fmla="*/ 113 w 194"/>
                  <a:gd name="T81" fmla="*/ 102 h 155"/>
                  <a:gd name="T82" fmla="*/ 115 w 194"/>
                  <a:gd name="T83" fmla="*/ 102 h 155"/>
                  <a:gd name="T84" fmla="*/ 115 w 194"/>
                  <a:gd name="T85" fmla="*/ 93 h 155"/>
                  <a:gd name="T86" fmla="*/ 115 w 194"/>
                  <a:gd name="T87" fmla="*/ 92 h 155"/>
                  <a:gd name="T88" fmla="*/ 115 w 194"/>
                  <a:gd name="T89" fmla="*/ 90 h 155"/>
                  <a:gd name="T90" fmla="*/ 115 w 194"/>
                  <a:gd name="T91" fmla="*/ 43 h 155"/>
                  <a:gd name="T92" fmla="*/ 117 w 194"/>
                  <a:gd name="T93" fmla="*/ 37 h 155"/>
                  <a:gd name="T94" fmla="*/ 118 w 194"/>
                  <a:gd name="T95" fmla="*/ 37 h 155"/>
                  <a:gd name="T96" fmla="*/ 121 w 194"/>
                  <a:gd name="T97" fmla="*/ 37 h 155"/>
                  <a:gd name="T98" fmla="*/ 122 w 194"/>
                  <a:gd name="T99" fmla="*/ 37 h 155"/>
                  <a:gd name="T100" fmla="*/ 123 w 194"/>
                  <a:gd name="T101" fmla="*/ 37 h 155"/>
                  <a:gd name="T102" fmla="*/ 194 w 194"/>
                  <a:gd name="T103" fmla="*/ 37 h 155"/>
                  <a:gd name="T104" fmla="*/ 194 w 194"/>
                  <a:gd name="T105" fmla="*/ 32 h 155"/>
                  <a:gd name="T106" fmla="*/ 194 w 194"/>
                  <a:gd name="T107" fmla="*/ 31 h 155"/>
                  <a:gd name="T108" fmla="*/ 193 w 194"/>
                  <a:gd name="T109" fmla="*/ 28 h 155"/>
                  <a:gd name="T110" fmla="*/ 194 w 194"/>
                  <a:gd name="T111" fmla="*/ 2 h 155"/>
                  <a:gd name="T112" fmla="*/ 194 w 194"/>
                  <a:gd name="T113" fmla="*/ 2 h 155"/>
                  <a:gd name="T114" fmla="*/ 194 w 194"/>
                  <a:gd name="T11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4" h="155">
                    <a:moveTo>
                      <a:pt x="194" y="0"/>
                    </a:moveTo>
                    <a:cubicBezTo>
                      <a:pt x="89" y="0"/>
                      <a:pt x="89" y="0"/>
                      <a:pt x="89" y="0"/>
                    </a:cubicBezTo>
                    <a:cubicBezTo>
                      <a:pt x="87" y="8"/>
                      <a:pt x="84" y="20"/>
                      <a:pt x="77" y="24"/>
                    </a:cubicBezTo>
                    <a:cubicBezTo>
                      <a:pt x="73" y="27"/>
                      <a:pt x="68" y="30"/>
                      <a:pt x="63" y="32"/>
                    </a:cubicBezTo>
                    <a:cubicBezTo>
                      <a:pt x="62" y="33"/>
                      <a:pt x="60" y="34"/>
                      <a:pt x="59" y="36"/>
                    </a:cubicBezTo>
                    <a:cubicBezTo>
                      <a:pt x="59" y="42"/>
                      <a:pt x="56" y="47"/>
                      <a:pt x="53" y="52"/>
                    </a:cubicBezTo>
                    <a:cubicBezTo>
                      <a:pt x="50" y="59"/>
                      <a:pt x="52" y="68"/>
                      <a:pt x="48" y="74"/>
                    </a:cubicBezTo>
                    <a:cubicBezTo>
                      <a:pt x="47" y="77"/>
                      <a:pt x="44" y="76"/>
                      <a:pt x="42" y="79"/>
                    </a:cubicBezTo>
                    <a:cubicBezTo>
                      <a:pt x="40" y="81"/>
                      <a:pt x="38" y="83"/>
                      <a:pt x="36" y="86"/>
                    </a:cubicBezTo>
                    <a:cubicBezTo>
                      <a:pt x="32" y="90"/>
                      <a:pt x="29" y="93"/>
                      <a:pt x="26" y="98"/>
                    </a:cubicBezTo>
                    <a:cubicBezTo>
                      <a:pt x="24" y="103"/>
                      <a:pt x="20" y="109"/>
                      <a:pt x="18" y="114"/>
                    </a:cubicBezTo>
                    <a:cubicBezTo>
                      <a:pt x="17" y="118"/>
                      <a:pt x="16" y="121"/>
                      <a:pt x="15" y="125"/>
                    </a:cubicBezTo>
                    <a:cubicBezTo>
                      <a:pt x="14" y="127"/>
                      <a:pt x="13" y="130"/>
                      <a:pt x="12" y="132"/>
                    </a:cubicBezTo>
                    <a:cubicBezTo>
                      <a:pt x="11" y="133"/>
                      <a:pt x="8" y="134"/>
                      <a:pt x="7" y="136"/>
                    </a:cubicBezTo>
                    <a:cubicBezTo>
                      <a:pt x="5" y="138"/>
                      <a:pt x="2" y="141"/>
                      <a:pt x="1" y="144"/>
                    </a:cubicBezTo>
                    <a:cubicBezTo>
                      <a:pt x="1" y="146"/>
                      <a:pt x="1" y="149"/>
                      <a:pt x="0" y="152"/>
                    </a:cubicBezTo>
                    <a:cubicBezTo>
                      <a:pt x="0" y="153"/>
                      <a:pt x="0" y="154"/>
                      <a:pt x="0" y="155"/>
                    </a:cubicBezTo>
                    <a:cubicBezTo>
                      <a:pt x="0" y="154"/>
                      <a:pt x="1" y="154"/>
                      <a:pt x="2" y="153"/>
                    </a:cubicBezTo>
                    <a:cubicBezTo>
                      <a:pt x="3" y="153"/>
                      <a:pt x="4" y="153"/>
                      <a:pt x="5" y="153"/>
                    </a:cubicBezTo>
                    <a:cubicBezTo>
                      <a:pt x="5" y="153"/>
                      <a:pt x="6" y="153"/>
                      <a:pt x="7" y="153"/>
                    </a:cubicBezTo>
                    <a:cubicBezTo>
                      <a:pt x="7" y="153"/>
                      <a:pt x="7" y="153"/>
                      <a:pt x="7" y="153"/>
                    </a:cubicBezTo>
                    <a:cubicBezTo>
                      <a:pt x="8" y="153"/>
                      <a:pt x="8" y="153"/>
                      <a:pt x="8" y="153"/>
                    </a:cubicBezTo>
                    <a:cubicBezTo>
                      <a:pt x="9" y="153"/>
                      <a:pt x="10" y="153"/>
                      <a:pt x="11" y="153"/>
                    </a:cubicBezTo>
                    <a:cubicBezTo>
                      <a:pt x="12" y="153"/>
                      <a:pt x="12" y="153"/>
                      <a:pt x="13" y="153"/>
                    </a:cubicBezTo>
                    <a:cubicBezTo>
                      <a:pt x="39" y="153"/>
                      <a:pt x="39" y="153"/>
                      <a:pt x="39" y="153"/>
                    </a:cubicBezTo>
                    <a:cubicBezTo>
                      <a:pt x="57" y="153"/>
                      <a:pt x="74" y="153"/>
                      <a:pt x="92" y="153"/>
                    </a:cubicBezTo>
                    <a:cubicBezTo>
                      <a:pt x="92" y="152"/>
                      <a:pt x="92" y="151"/>
                      <a:pt x="91" y="149"/>
                    </a:cubicBezTo>
                    <a:cubicBezTo>
                      <a:pt x="91" y="149"/>
                      <a:pt x="91" y="149"/>
                      <a:pt x="91" y="149"/>
                    </a:cubicBezTo>
                    <a:cubicBezTo>
                      <a:pt x="91" y="148"/>
                      <a:pt x="91" y="148"/>
                      <a:pt x="91" y="147"/>
                    </a:cubicBezTo>
                    <a:cubicBezTo>
                      <a:pt x="90" y="132"/>
                      <a:pt x="90" y="132"/>
                      <a:pt x="90" y="132"/>
                    </a:cubicBezTo>
                    <a:cubicBezTo>
                      <a:pt x="90" y="130"/>
                      <a:pt x="90" y="129"/>
                      <a:pt x="90" y="127"/>
                    </a:cubicBezTo>
                    <a:cubicBezTo>
                      <a:pt x="89" y="126"/>
                      <a:pt x="89" y="126"/>
                      <a:pt x="89" y="126"/>
                    </a:cubicBezTo>
                    <a:cubicBezTo>
                      <a:pt x="89" y="125"/>
                      <a:pt x="89" y="125"/>
                      <a:pt x="89" y="125"/>
                    </a:cubicBezTo>
                    <a:cubicBezTo>
                      <a:pt x="88" y="121"/>
                      <a:pt x="89" y="119"/>
                      <a:pt x="90" y="117"/>
                    </a:cubicBezTo>
                    <a:cubicBezTo>
                      <a:pt x="93" y="113"/>
                      <a:pt x="96" y="110"/>
                      <a:pt x="99" y="108"/>
                    </a:cubicBezTo>
                    <a:cubicBezTo>
                      <a:pt x="99" y="107"/>
                      <a:pt x="100" y="107"/>
                      <a:pt x="101" y="106"/>
                    </a:cubicBezTo>
                    <a:cubicBezTo>
                      <a:pt x="101" y="106"/>
                      <a:pt x="102" y="106"/>
                      <a:pt x="102" y="106"/>
                    </a:cubicBezTo>
                    <a:cubicBezTo>
                      <a:pt x="104" y="105"/>
                      <a:pt x="105" y="105"/>
                      <a:pt x="106" y="104"/>
                    </a:cubicBezTo>
                    <a:cubicBezTo>
                      <a:pt x="108" y="104"/>
                      <a:pt x="109" y="104"/>
                      <a:pt x="111" y="103"/>
                    </a:cubicBezTo>
                    <a:cubicBezTo>
                      <a:pt x="112" y="103"/>
                      <a:pt x="112" y="103"/>
                      <a:pt x="113" y="102"/>
                    </a:cubicBezTo>
                    <a:cubicBezTo>
                      <a:pt x="113" y="102"/>
                      <a:pt x="113" y="102"/>
                      <a:pt x="113" y="102"/>
                    </a:cubicBezTo>
                    <a:cubicBezTo>
                      <a:pt x="114" y="102"/>
                      <a:pt x="115" y="102"/>
                      <a:pt x="115" y="102"/>
                    </a:cubicBezTo>
                    <a:cubicBezTo>
                      <a:pt x="116" y="100"/>
                      <a:pt x="115" y="95"/>
                      <a:pt x="115" y="93"/>
                    </a:cubicBezTo>
                    <a:cubicBezTo>
                      <a:pt x="115" y="92"/>
                      <a:pt x="115" y="92"/>
                      <a:pt x="115" y="92"/>
                    </a:cubicBezTo>
                    <a:cubicBezTo>
                      <a:pt x="115" y="91"/>
                      <a:pt x="115" y="90"/>
                      <a:pt x="115" y="90"/>
                    </a:cubicBezTo>
                    <a:cubicBezTo>
                      <a:pt x="115" y="43"/>
                      <a:pt x="115" y="43"/>
                      <a:pt x="115" y="43"/>
                    </a:cubicBezTo>
                    <a:cubicBezTo>
                      <a:pt x="115" y="41"/>
                      <a:pt x="115" y="39"/>
                      <a:pt x="117" y="37"/>
                    </a:cubicBezTo>
                    <a:cubicBezTo>
                      <a:pt x="118" y="37"/>
                      <a:pt x="118" y="37"/>
                      <a:pt x="118" y="37"/>
                    </a:cubicBezTo>
                    <a:cubicBezTo>
                      <a:pt x="119" y="37"/>
                      <a:pt x="120" y="37"/>
                      <a:pt x="121" y="37"/>
                    </a:cubicBezTo>
                    <a:cubicBezTo>
                      <a:pt x="122" y="37"/>
                      <a:pt x="122" y="37"/>
                      <a:pt x="122" y="37"/>
                    </a:cubicBezTo>
                    <a:cubicBezTo>
                      <a:pt x="122" y="37"/>
                      <a:pt x="123" y="37"/>
                      <a:pt x="123" y="37"/>
                    </a:cubicBezTo>
                    <a:cubicBezTo>
                      <a:pt x="194" y="37"/>
                      <a:pt x="194" y="37"/>
                      <a:pt x="194" y="37"/>
                    </a:cubicBezTo>
                    <a:cubicBezTo>
                      <a:pt x="194" y="35"/>
                      <a:pt x="194" y="33"/>
                      <a:pt x="194" y="32"/>
                    </a:cubicBezTo>
                    <a:cubicBezTo>
                      <a:pt x="194" y="31"/>
                      <a:pt x="194" y="31"/>
                      <a:pt x="194" y="31"/>
                    </a:cubicBezTo>
                    <a:cubicBezTo>
                      <a:pt x="194" y="30"/>
                      <a:pt x="193" y="29"/>
                      <a:pt x="193" y="28"/>
                    </a:cubicBezTo>
                    <a:cubicBezTo>
                      <a:pt x="194" y="2"/>
                      <a:pt x="194" y="2"/>
                      <a:pt x="194" y="2"/>
                    </a:cubicBezTo>
                    <a:cubicBezTo>
                      <a:pt x="194" y="2"/>
                      <a:pt x="194" y="2"/>
                      <a:pt x="194" y="2"/>
                    </a:cubicBezTo>
                    <a:cubicBezTo>
                      <a:pt x="194" y="0"/>
                      <a:pt x="194" y="0"/>
                      <a:pt x="19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1" name="Freeform 200">
                <a:extLst>
                  <a:ext uri="{FF2B5EF4-FFF2-40B4-BE49-F238E27FC236}">
                    <a16:creationId xmlns:a16="http://schemas.microsoft.com/office/drawing/2014/main" id="{F09AE2CE-B39E-4F26-8A02-5ADD2C3CB3D8}"/>
                  </a:ext>
                </a:extLst>
              </p:cNvPr>
              <p:cNvSpPr>
                <a:spLocks/>
              </p:cNvSpPr>
              <p:nvPr/>
            </p:nvSpPr>
            <p:spPr bwMode="auto">
              <a:xfrm>
                <a:off x="2723" y="1211"/>
                <a:ext cx="645" cy="710"/>
              </a:xfrm>
              <a:custGeom>
                <a:avLst/>
                <a:gdLst>
                  <a:gd name="T0" fmla="*/ 196 w 273"/>
                  <a:gd name="T1" fmla="*/ 15 h 300"/>
                  <a:gd name="T2" fmla="*/ 196 w 273"/>
                  <a:gd name="T3" fmla="*/ 26 h 300"/>
                  <a:gd name="T4" fmla="*/ 118 w 273"/>
                  <a:gd name="T5" fmla="*/ 30 h 300"/>
                  <a:gd name="T6" fmla="*/ 118 w 273"/>
                  <a:gd name="T7" fmla="*/ 77 h 300"/>
                  <a:gd name="T8" fmla="*/ 118 w 273"/>
                  <a:gd name="T9" fmla="*/ 91 h 300"/>
                  <a:gd name="T10" fmla="*/ 110 w 273"/>
                  <a:gd name="T11" fmla="*/ 95 h 300"/>
                  <a:gd name="T12" fmla="*/ 101 w 273"/>
                  <a:gd name="T13" fmla="*/ 98 h 300"/>
                  <a:gd name="T14" fmla="*/ 92 w 273"/>
                  <a:gd name="T15" fmla="*/ 107 h 300"/>
                  <a:gd name="T16" fmla="*/ 93 w 273"/>
                  <a:gd name="T17" fmla="*/ 119 h 300"/>
                  <a:gd name="T18" fmla="*/ 94 w 273"/>
                  <a:gd name="T19" fmla="*/ 142 h 300"/>
                  <a:gd name="T20" fmla="*/ 59 w 273"/>
                  <a:gd name="T21" fmla="*/ 146 h 300"/>
                  <a:gd name="T22" fmla="*/ 10 w 273"/>
                  <a:gd name="T23" fmla="*/ 146 h 300"/>
                  <a:gd name="T24" fmla="*/ 2 w 273"/>
                  <a:gd name="T25" fmla="*/ 145 h 300"/>
                  <a:gd name="T26" fmla="*/ 8 w 273"/>
                  <a:gd name="T27" fmla="*/ 162 h 300"/>
                  <a:gd name="T28" fmla="*/ 10 w 273"/>
                  <a:gd name="T29" fmla="*/ 160 h 300"/>
                  <a:gd name="T30" fmla="*/ 16 w 273"/>
                  <a:gd name="T31" fmla="*/ 172 h 300"/>
                  <a:gd name="T32" fmla="*/ 15 w 273"/>
                  <a:gd name="T33" fmla="*/ 180 h 300"/>
                  <a:gd name="T34" fmla="*/ 14 w 273"/>
                  <a:gd name="T35" fmla="*/ 187 h 300"/>
                  <a:gd name="T36" fmla="*/ 19 w 273"/>
                  <a:gd name="T37" fmla="*/ 222 h 300"/>
                  <a:gd name="T38" fmla="*/ 10 w 273"/>
                  <a:gd name="T39" fmla="*/ 261 h 300"/>
                  <a:gd name="T40" fmla="*/ 21 w 273"/>
                  <a:gd name="T41" fmla="*/ 258 h 300"/>
                  <a:gd name="T42" fmla="*/ 26 w 273"/>
                  <a:gd name="T43" fmla="*/ 258 h 300"/>
                  <a:gd name="T44" fmla="*/ 38 w 273"/>
                  <a:gd name="T45" fmla="*/ 255 h 300"/>
                  <a:gd name="T46" fmla="*/ 46 w 273"/>
                  <a:gd name="T47" fmla="*/ 254 h 300"/>
                  <a:gd name="T48" fmla="*/ 56 w 273"/>
                  <a:gd name="T49" fmla="*/ 255 h 300"/>
                  <a:gd name="T50" fmla="*/ 69 w 273"/>
                  <a:gd name="T51" fmla="*/ 262 h 300"/>
                  <a:gd name="T52" fmla="*/ 73 w 273"/>
                  <a:gd name="T53" fmla="*/ 266 h 300"/>
                  <a:gd name="T54" fmla="*/ 76 w 273"/>
                  <a:gd name="T55" fmla="*/ 266 h 300"/>
                  <a:gd name="T56" fmla="*/ 78 w 273"/>
                  <a:gd name="T57" fmla="*/ 266 h 300"/>
                  <a:gd name="T58" fmla="*/ 80 w 273"/>
                  <a:gd name="T59" fmla="*/ 267 h 300"/>
                  <a:gd name="T60" fmla="*/ 87 w 273"/>
                  <a:gd name="T61" fmla="*/ 276 h 300"/>
                  <a:gd name="T62" fmla="*/ 91 w 273"/>
                  <a:gd name="T63" fmla="*/ 281 h 300"/>
                  <a:gd name="T64" fmla="*/ 101 w 273"/>
                  <a:gd name="T65" fmla="*/ 293 h 300"/>
                  <a:gd name="T66" fmla="*/ 105 w 273"/>
                  <a:gd name="T67" fmla="*/ 296 h 300"/>
                  <a:gd name="T68" fmla="*/ 109 w 273"/>
                  <a:gd name="T69" fmla="*/ 299 h 300"/>
                  <a:gd name="T70" fmla="*/ 111 w 273"/>
                  <a:gd name="T71" fmla="*/ 300 h 300"/>
                  <a:gd name="T72" fmla="*/ 116 w 273"/>
                  <a:gd name="T73" fmla="*/ 298 h 300"/>
                  <a:gd name="T74" fmla="*/ 118 w 273"/>
                  <a:gd name="T75" fmla="*/ 288 h 300"/>
                  <a:gd name="T76" fmla="*/ 124 w 273"/>
                  <a:gd name="T77" fmla="*/ 280 h 300"/>
                  <a:gd name="T78" fmla="*/ 140 w 273"/>
                  <a:gd name="T79" fmla="*/ 289 h 300"/>
                  <a:gd name="T80" fmla="*/ 144 w 273"/>
                  <a:gd name="T81" fmla="*/ 284 h 300"/>
                  <a:gd name="T82" fmla="*/ 150 w 273"/>
                  <a:gd name="T83" fmla="*/ 283 h 300"/>
                  <a:gd name="T84" fmla="*/ 173 w 273"/>
                  <a:gd name="T85" fmla="*/ 282 h 300"/>
                  <a:gd name="T86" fmla="*/ 175 w 273"/>
                  <a:gd name="T87" fmla="*/ 279 h 300"/>
                  <a:gd name="T88" fmla="*/ 176 w 273"/>
                  <a:gd name="T89" fmla="*/ 278 h 300"/>
                  <a:gd name="T90" fmla="*/ 178 w 273"/>
                  <a:gd name="T91" fmla="*/ 278 h 300"/>
                  <a:gd name="T92" fmla="*/ 180 w 273"/>
                  <a:gd name="T93" fmla="*/ 279 h 300"/>
                  <a:gd name="T94" fmla="*/ 182 w 273"/>
                  <a:gd name="T95" fmla="*/ 282 h 300"/>
                  <a:gd name="T96" fmla="*/ 185 w 273"/>
                  <a:gd name="T97" fmla="*/ 282 h 300"/>
                  <a:gd name="T98" fmla="*/ 189 w 273"/>
                  <a:gd name="T99" fmla="*/ 282 h 300"/>
                  <a:gd name="T100" fmla="*/ 260 w 273"/>
                  <a:gd name="T101" fmla="*/ 282 h 300"/>
                  <a:gd name="T102" fmla="*/ 263 w 273"/>
                  <a:gd name="T103" fmla="*/ 282 h 300"/>
                  <a:gd name="T104" fmla="*/ 266 w 273"/>
                  <a:gd name="T105" fmla="*/ 283 h 300"/>
                  <a:gd name="T106" fmla="*/ 267 w 273"/>
                  <a:gd name="T107" fmla="*/ 273 h 300"/>
                  <a:gd name="T108" fmla="*/ 268 w 273"/>
                  <a:gd name="T109" fmla="*/ 266 h 300"/>
                  <a:gd name="T110" fmla="*/ 266 w 273"/>
                  <a:gd name="T111" fmla="*/ 264 h 300"/>
                  <a:gd name="T112" fmla="*/ 250 w 273"/>
                  <a:gd name="T113" fmla="*/ 142 h 300"/>
                  <a:gd name="T114" fmla="*/ 240 w 273"/>
                  <a:gd name="T115" fmla="*/ 52 h 300"/>
                  <a:gd name="T116" fmla="*/ 259 w 273"/>
                  <a:gd name="T117" fmla="*/ 39 h 300"/>
                  <a:gd name="T118" fmla="*/ 236 w 273"/>
                  <a:gd name="T119" fmla="*/ 25 h 300"/>
                  <a:gd name="T120" fmla="*/ 196 w 273"/>
                  <a:gd name="T121"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3" h="300">
                    <a:moveTo>
                      <a:pt x="196" y="0"/>
                    </a:moveTo>
                    <a:cubicBezTo>
                      <a:pt x="196" y="3"/>
                      <a:pt x="196" y="6"/>
                      <a:pt x="196" y="10"/>
                    </a:cubicBezTo>
                    <a:cubicBezTo>
                      <a:pt x="196" y="15"/>
                      <a:pt x="196" y="15"/>
                      <a:pt x="196" y="15"/>
                    </a:cubicBezTo>
                    <a:cubicBezTo>
                      <a:pt x="196" y="16"/>
                      <a:pt x="196" y="16"/>
                      <a:pt x="196" y="17"/>
                    </a:cubicBezTo>
                    <a:cubicBezTo>
                      <a:pt x="196" y="18"/>
                      <a:pt x="196" y="18"/>
                      <a:pt x="196" y="18"/>
                    </a:cubicBezTo>
                    <a:cubicBezTo>
                      <a:pt x="197" y="21"/>
                      <a:pt x="197" y="23"/>
                      <a:pt x="196" y="26"/>
                    </a:cubicBezTo>
                    <a:cubicBezTo>
                      <a:pt x="196" y="27"/>
                      <a:pt x="196" y="30"/>
                      <a:pt x="193" y="30"/>
                    </a:cubicBezTo>
                    <a:cubicBezTo>
                      <a:pt x="120" y="30"/>
                      <a:pt x="120" y="30"/>
                      <a:pt x="120" y="30"/>
                    </a:cubicBezTo>
                    <a:cubicBezTo>
                      <a:pt x="120" y="30"/>
                      <a:pt x="119" y="30"/>
                      <a:pt x="118" y="30"/>
                    </a:cubicBezTo>
                    <a:cubicBezTo>
                      <a:pt x="118" y="30"/>
                      <a:pt x="118" y="30"/>
                      <a:pt x="118" y="30"/>
                    </a:cubicBezTo>
                    <a:cubicBezTo>
                      <a:pt x="118" y="30"/>
                      <a:pt x="118" y="30"/>
                      <a:pt x="118" y="30"/>
                    </a:cubicBezTo>
                    <a:cubicBezTo>
                      <a:pt x="118" y="77"/>
                      <a:pt x="118" y="77"/>
                      <a:pt x="118" y="77"/>
                    </a:cubicBezTo>
                    <a:cubicBezTo>
                      <a:pt x="118" y="77"/>
                      <a:pt x="118" y="78"/>
                      <a:pt x="118" y="79"/>
                    </a:cubicBezTo>
                    <a:cubicBezTo>
                      <a:pt x="118" y="79"/>
                      <a:pt x="118" y="79"/>
                      <a:pt x="118" y="79"/>
                    </a:cubicBezTo>
                    <a:cubicBezTo>
                      <a:pt x="118" y="84"/>
                      <a:pt x="119" y="89"/>
                      <a:pt x="118" y="91"/>
                    </a:cubicBezTo>
                    <a:cubicBezTo>
                      <a:pt x="118" y="92"/>
                      <a:pt x="117" y="92"/>
                      <a:pt x="116" y="93"/>
                    </a:cubicBezTo>
                    <a:cubicBezTo>
                      <a:pt x="115" y="94"/>
                      <a:pt x="114" y="94"/>
                      <a:pt x="112" y="95"/>
                    </a:cubicBezTo>
                    <a:cubicBezTo>
                      <a:pt x="111" y="95"/>
                      <a:pt x="110" y="95"/>
                      <a:pt x="110" y="95"/>
                    </a:cubicBezTo>
                    <a:cubicBezTo>
                      <a:pt x="108" y="96"/>
                      <a:pt x="106" y="97"/>
                      <a:pt x="104" y="97"/>
                    </a:cubicBezTo>
                    <a:cubicBezTo>
                      <a:pt x="104" y="97"/>
                      <a:pt x="103" y="97"/>
                      <a:pt x="102" y="98"/>
                    </a:cubicBezTo>
                    <a:cubicBezTo>
                      <a:pt x="101" y="98"/>
                      <a:pt x="101" y="98"/>
                      <a:pt x="101" y="98"/>
                    </a:cubicBezTo>
                    <a:cubicBezTo>
                      <a:pt x="101" y="98"/>
                      <a:pt x="101" y="98"/>
                      <a:pt x="101" y="98"/>
                    </a:cubicBezTo>
                    <a:cubicBezTo>
                      <a:pt x="100" y="99"/>
                      <a:pt x="99" y="99"/>
                      <a:pt x="99" y="99"/>
                    </a:cubicBezTo>
                    <a:cubicBezTo>
                      <a:pt x="97" y="101"/>
                      <a:pt x="94" y="103"/>
                      <a:pt x="92" y="107"/>
                    </a:cubicBezTo>
                    <a:cubicBezTo>
                      <a:pt x="92" y="108"/>
                      <a:pt x="91" y="109"/>
                      <a:pt x="92" y="111"/>
                    </a:cubicBezTo>
                    <a:cubicBezTo>
                      <a:pt x="92" y="111"/>
                      <a:pt x="92" y="112"/>
                      <a:pt x="92" y="113"/>
                    </a:cubicBezTo>
                    <a:cubicBezTo>
                      <a:pt x="93" y="115"/>
                      <a:pt x="93" y="117"/>
                      <a:pt x="93" y="119"/>
                    </a:cubicBezTo>
                    <a:cubicBezTo>
                      <a:pt x="94" y="134"/>
                      <a:pt x="94" y="134"/>
                      <a:pt x="94" y="134"/>
                    </a:cubicBezTo>
                    <a:cubicBezTo>
                      <a:pt x="94" y="134"/>
                      <a:pt x="94" y="135"/>
                      <a:pt x="94" y="135"/>
                    </a:cubicBezTo>
                    <a:cubicBezTo>
                      <a:pt x="94" y="138"/>
                      <a:pt x="95" y="141"/>
                      <a:pt x="94" y="142"/>
                    </a:cubicBezTo>
                    <a:cubicBezTo>
                      <a:pt x="94" y="146"/>
                      <a:pt x="94" y="146"/>
                      <a:pt x="94" y="146"/>
                    </a:cubicBezTo>
                    <a:cubicBezTo>
                      <a:pt x="91" y="146"/>
                      <a:pt x="91" y="146"/>
                      <a:pt x="91" y="146"/>
                    </a:cubicBezTo>
                    <a:cubicBezTo>
                      <a:pt x="81" y="146"/>
                      <a:pt x="70" y="146"/>
                      <a:pt x="59" y="146"/>
                    </a:cubicBezTo>
                    <a:cubicBezTo>
                      <a:pt x="51" y="146"/>
                      <a:pt x="44" y="146"/>
                      <a:pt x="36" y="146"/>
                    </a:cubicBezTo>
                    <a:cubicBezTo>
                      <a:pt x="12" y="146"/>
                      <a:pt x="12" y="146"/>
                      <a:pt x="12" y="146"/>
                    </a:cubicBezTo>
                    <a:cubicBezTo>
                      <a:pt x="12" y="146"/>
                      <a:pt x="11" y="146"/>
                      <a:pt x="10" y="146"/>
                    </a:cubicBezTo>
                    <a:cubicBezTo>
                      <a:pt x="8" y="146"/>
                      <a:pt x="7" y="146"/>
                      <a:pt x="5" y="146"/>
                    </a:cubicBezTo>
                    <a:cubicBezTo>
                      <a:pt x="5" y="146"/>
                      <a:pt x="4" y="146"/>
                      <a:pt x="3" y="146"/>
                    </a:cubicBezTo>
                    <a:cubicBezTo>
                      <a:pt x="3" y="146"/>
                      <a:pt x="2" y="145"/>
                      <a:pt x="2" y="145"/>
                    </a:cubicBezTo>
                    <a:cubicBezTo>
                      <a:pt x="1" y="145"/>
                      <a:pt x="1" y="145"/>
                      <a:pt x="1" y="146"/>
                    </a:cubicBezTo>
                    <a:cubicBezTo>
                      <a:pt x="1" y="146"/>
                      <a:pt x="1" y="146"/>
                      <a:pt x="0" y="149"/>
                    </a:cubicBezTo>
                    <a:cubicBezTo>
                      <a:pt x="2" y="153"/>
                      <a:pt x="5" y="158"/>
                      <a:pt x="8" y="162"/>
                    </a:cubicBezTo>
                    <a:cubicBezTo>
                      <a:pt x="8" y="160"/>
                      <a:pt x="9" y="159"/>
                      <a:pt x="10" y="159"/>
                    </a:cubicBezTo>
                    <a:cubicBezTo>
                      <a:pt x="10" y="159"/>
                      <a:pt x="11" y="159"/>
                      <a:pt x="11" y="159"/>
                    </a:cubicBezTo>
                    <a:cubicBezTo>
                      <a:pt x="10" y="160"/>
                      <a:pt x="10" y="160"/>
                      <a:pt x="10" y="160"/>
                    </a:cubicBezTo>
                    <a:cubicBezTo>
                      <a:pt x="11" y="162"/>
                      <a:pt x="12" y="163"/>
                      <a:pt x="13" y="165"/>
                    </a:cubicBezTo>
                    <a:cubicBezTo>
                      <a:pt x="14" y="167"/>
                      <a:pt x="16" y="169"/>
                      <a:pt x="16" y="171"/>
                    </a:cubicBezTo>
                    <a:cubicBezTo>
                      <a:pt x="16" y="171"/>
                      <a:pt x="16" y="172"/>
                      <a:pt x="16" y="172"/>
                    </a:cubicBezTo>
                    <a:cubicBezTo>
                      <a:pt x="16" y="173"/>
                      <a:pt x="16" y="175"/>
                      <a:pt x="16" y="176"/>
                    </a:cubicBezTo>
                    <a:cubicBezTo>
                      <a:pt x="16" y="176"/>
                      <a:pt x="15" y="176"/>
                      <a:pt x="15" y="177"/>
                    </a:cubicBezTo>
                    <a:cubicBezTo>
                      <a:pt x="15" y="178"/>
                      <a:pt x="15" y="179"/>
                      <a:pt x="15" y="180"/>
                    </a:cubicBezTo>
                    <a:cubicBezTo>
                      <a:pt x="15" y="181"/>
                      <a:pt x="14" y="182"/>
                      <a:pt x="14" y="183"/>
                    </a:cubicBezTo>
                    <a:cubicBezTo>
                      <a:pt x="12" y="185"/>
                      <a:pt x="10" y="187"/>
                      <a:pt x="10" y="190"/>
                    </a:cubicBezTo>
                    <a:cubicBezTo>
                      <a:pt x="11" y="188"/>
                      <a:pt x="12" y="189"/>
                      <a:pt x="14" y="187"/>
                    </a:cubicBezTo>
                    <a:cubicBezTo>
                      <a:pt x="13" y="189"/>
                      <a:pt x="12" y="190"/>
                      <a:pt x="11" y="191"/>
                    </a:cubicBezTo>
                    <a:cubicBezTo>
                      <a:pt x="8" y="196"/>
                      <a:pt x="15" y="196"/>
                      <a:pt x="16" y="201"/>
                    </a:cubicBezTo>
                    <a:cubicBezTo>
                      <a:pt x="17" y="208"/>
                      <a:pt x="18" y="215"/>
                      <a:pt x="19" y="222"/>
                    </a:cubicBezTo>
                    <a:cubicBezTo>
                      <a:pt x="20" y="229"/>
                      <a:pt x="20" y="235"/>
                      <a:pt x="17" y="242"/>
                    </a:cubicBezTo>
                    <a:cubicBezTo>
                      <a:pt x="16" y="244"/>
                      <a:pt x="15" y="246"/>
                      <a:pt x="14" y="248"/>
                    </a:cubicBezTo>
                    <a:cubicBezTo>
                      <a:pt x="12" y="252"/>
                      <a:pt x="11" y="256"/>
                      <a:pt x="10" y="261"/>
                    </a:cubicBezTo>
                    <a:cubicBezTo>
                      <a:pt x="12" y="259"/>
                      <a:pt x="14" y="258"/>
                      <a:pt x="16" y="257"/>
                    </a:cubicBezTo>
                    <a:cubicBezTo>
                      <a:pt x="17" y="257"/>
                      <a:pt x="17" y="257"/>
                      <a:pt x="18" y="257"/>
                    </a:cubicBezTo>
                    <a:cubicBezTo>
                      <a:pt x="19" y="257"/>
                      <a:pt x="20" y="257"/>
                      <a:pt x="21" y="258"/>
                    </a:cubicBezTo>
                    <a:cubicBezTo>
                      <a:pt x="21" y="258"/>
                      <a:pt x="22" y="258"/>
                      <a:pt x="22" y="258"/>
                    </a:cubicBezTo>
                    <a:cubicBezTo>
                      <a:pt x="23" y="258"/>
                      <a:pt x="24" y="258"/>
                      <a:pt x="25" y="258"/>
                    </a:cubicBezTo>
                    <a:cubicBezTo>
                      <a:pt x="26" y="258"/>
                      <a:pt x="26" y="258"/>
                      <a:pt x="26" y="258"/>
                    </a:cubicBezTo>
                    <a:cubicBezTo>
                      <a:pt x="28" y="258"/>
                      <a:pt x="30" y="257"/>
                      <a:pt x="32" y="257"/>
                    </a:cubicBezTo>
                    <a:cubicBezTo>
                      <a:pt x="33" y="256"/>
                      <a:pt x="35" y="256"/>
                      <a:pt x="36" y="256"/>
                    </a:cubicBezTo>
                    <a:cubicBezTo>
                      <a:pt x="37" y="256"/>
                      <a:pt x="37" y="255"/>
                      <a:pt x="38" y="255"/>
                    </a:cubicBezTo>
                    <a:cubicBezTo>
                      <a:pt x="38" y="255"/>
                      <a:pt x="38" y="255"/>
                      <a:pt x="38" y="255"/>
                    </a:cubicBezTo>
                    <a:cubicBezTo>
                      <a:pt x="40" y="255"/>
                      <a:pt x="42" y="254"/>
                      <a:pt x="44" y="254"/>
                    </a:cubicBezTo>
                    <a:cubicBezTo>
                      <a:pt x="44" y="254"/>
                      <a:pt x="45" y="254"/>
                      <a:pt x="46" y="254"/>
                    </a:cubicBezTo>
                    <a:cubicBezTo>
                      <a:pt x="48" y="255"/>
                      <a:pt x="50" y="255"/>
                      <a:pt x="52" y="255"/>
                    </a:cubicBezTo>
                    <a:cubicBezTo>
                      <a:pt x="52" y="255"/>
                      <a:pt x="53" y="255"/>
                      <a:pt x="53" y="255"/>
                    </a:cubicBezTo>
                    <a:cubicBezTo>
                      <a:pt x="56" y="255"/>
                      <a:pt x="56" y="255"/>
                      <a:pt x="56" y="255"/>
                    </a:cubicBezTo>
                    <a:cubicBezTo>
                      <a:pt x="61" y="255"/>
                      <a:pt x="64" y="257"/>
                      <a:pt x="66" y="259"/>
                    </a:cubicBezTo>
                    <a:cubicBezTo>
                      <a:pt x="67" y="260"/>
                      <a:pt x="67" y="260"/>
                      <a:pt x="67" y="260"/>
                    </a:cubicBezTo>
                    <a:cubicBezTo>
                      <a:pt x="68" y="261"/>
                      <a:pt x="68" y="261"/>
                      <a:pt x="69" y="262"/>
                    </a:cubicBezTo>
                    <a:cubicBezTo>
                      <a:pt x="71" y="263"/>
                      <a:pt x="71" y="264"/>
                      <a:pt x="72" y="265"/>
                    </a:cubicBezTo>
                    <a:cubicBezTo>
                      <a:pt x="72" y="266"/>
                      <a:pt x="72" y="266"/>
                      <a:pt x="72" y="266"/>
                    </a:cubicBezTo>
                    <a:cubicBezTo>
                      <a:pt x="73" y="266"/>
                      <a:pt x="73" y="266"/>
                      <a:pt x="73" y="266"/>
                    </a:cubicBezTo>
                    <a:cubicBezTo>
                      <a:pt x="73" y="266"/>
                      <a:pt x="74" y="266"/>
                      <a:pt x="74" y="266"/>
                    </a:cubicBezTo>
                    <a:cubicBezTo>
                      <a:pt x="74" y="266"/>
                      <a:pt x="75" y="266"/>
                      <a:pt x="75" y="266"/>
                    </a:cubicBezTo>
                    <a:cubicBezTo>
                      <a:pt x="76" y="266"/>
                      <a:pt x="76" y="266"/>
                      <a:pt x="76" y="266"/>
                    </a:cubicBezTo>
                    <a:cubicBezTo>
                      <a:pt x="76" y="266"/>
                      <a:pt x="77" y="266"/>
                      <a:pt x="77" y="266"/>
                    </a:cubicBezTo>
                    <a:cubicBezTo>
                      <a:pt x="77" y="266"/>
                      <a:pt x="78" y="266"/>
                      <a:pt x="78" y="266"/>
                    </a:cubicBezTo>
                    <a:cubicBezTo>
                      <a:pt x="78" y="266"/>
                      <a:pt x="78" y="266"/>
                      <a:pt x="78" y="266"/>
                    </a:cubicBezTo>
                    <a:cubicBezTo>
                      <a:pt x="79" y="266"/>
                      <a:pt x="79" y="266"/>
                      <a:pt x="79" y="266"/>
                    </a:cubicBezTo>
                    <a:cubicBezTo>
                      <a:pt x="80" y="267"/>
                      <a:pt x="80" y="267"/>
                      <a:pt x="80" y="267"/>
                    </a:cubicBezTo>
                    <a:cubicBezTo>
                      <a:pt x="80" y="267"/>
                      <a:pt x="80" y="267"/>
                      <a:pt x="80" y="267"/>
                    </a:cubicBezTo>
                    <a:cubicBezTo>
                      <a:pt x="82" y="268"/>
                      <a:pt x="84" y="269"/>
                      <a:pt x="85" y="272"/>
                    </a:cubicBezTo>
                    <a:cubicBezTo>
                      <a:pt x="86" y="273"/>
                      <a:pt x="86" y="273"/>
                      <a:pt x="86" y="274"/>
                    </a:cubicBezTo>
                    <a:cubicBezTo>
                      <a:pt x="87" y="276"/>
                      <a:pt x="87" y="276"/>
                      <a:pt x="87" y="276"/>
                    </a:cubicBezTo>
                    <a:cubicBezTo>
                      <a:pt x="87" y="277"/>
                      <a:pt x="87" y="279"/>
                      <a:pt x="88" y="280"/>
                    </a:cubicBezTo>
                    <a:cubicBezTo>
                      <a:pt x="88" y="280"/>
                      <a:pt x="89" y="281"/>
                      <a:pt x="90" y="281"/>
                    </a:cubicBezTo>
                    <a:cubicBezTo>
                      <a:pt x="91" y="281"/>
                      <a:pt x="91" y="281"/>
                      <a:pt x="91" y="281"/>
                    </a:cubicBezTo>
                    <a:cubicBezTo>
                      <a:pt x="94" y="283"/>
                      <a:pt x="96" y="286"/>
                      <a:pt x="98" y="288"/>
                    </a:cubicBezTo>
                    <a:cubicBezTo>
                      <a:pt x="99" y="290"/>
                      <a:pt x="99" y="291"/>
                      <a:pt x="100" y="292"/>
                    </a:cubicBezTo>
                    <a:cubicBezTo>
                      <a:pt x="101" y="293"/>
                      <a:pt x="101" y="293"/>
                      <a:pt x="101" y="293"/>
                    </a:cubicBezTo>
                    <a:cubicBezTo>
                      <a:pt x="102" y="293"/>
                      <a:pt x="102" y="293"/>
                      <a:pt x="102" y="293"/>
                    </a:cubicBezTo>
                    <a:cubicBezTo>
                      <a:pt x="102" y="294"/>
                      <a:pt x="103" y="294"/>
                      <a:pt x="103" y="294"/>
                    </a:cubicBezTo>
                    <a:cubicBezTo>
                      <a:pt x="104" y="295"/>
                      <a:pt x="104" y="295"/>
                      <a:pt x="105" y="296"/>
                    </a:cubicBezTo>
                    <a:cubicBezTo>
                      <a:pt x="106" y="297"/>
                      <a:pt x="106" y="297"/>
                      <a:pt x="106" y="297"/>
                    </a:cubicBezTo>
                    <a:cubicBezTo>
                      <a:pt x="107" y="297"/>
                      <a:pt x="107" y="298"/>
                      <a:pt x="108" y="298"/>
                    </a:cubicBezTo>
                    <a:cubicBezTo>
                      <a:pt x="109" y="299"/>
                      <a:pt x="109" y="299"/>
                      <a:pt x="109" y="299"/>
                    </a:cubicBezTo>
                    <a:cubicBezTo>
                      <a:pt x="109" y="299"/>
                      <a:pt x="110" y="299"/>
                      <a:pt x="110" y="300"/>
                    </a:cubicBezTo>
                    <a:cubicBezTo>
                      <a:pt x="110" y="300"/>
                      <a:pt x="110" y="300"/>
                      <a:pt x="110" y="300"/>
                    </a:cubicBezTo>
                    <a:cubicBezTo>
                      <a:pt x="111" y="300"/>
                      <a:pt x="111" y="300"/>
                      <a:pt x="111" y="300"/>
                    </a:cubicBezTo>
                    <a:cubicBezTo>
                      <a:pt x="111" y="300"/>
                      <a:pt x="111" y="300"/>
                      <a:pt x="111" y="300"/>
                    </a:cubicBezTo>
                    <a:cubicBezTo>
                      <a:pt x="115" y="299"/>
                      <a:pt x="115" y="299"/>
                      <a:pt x="115" y="299"/>
                    </a:cubicBezTo>
                    <a:cubicBezTo>
                      <a:pt x="116" y="299"/>
                      <a:pt x="116" y="298"/>
                      <a:pt x="116" y="298"/>
                    </a:cubicBezTo>
                    <a:cubicBezTo>
                      <a:pt x="117" y="297"/>
                      <a:pt x="117" y="297"/>
                      <a:pt x="117" y="297"/>
                    </a:cubicBezTo>
                    <a:cubicBezTo>
                      <a:pt x="117" y="297"/>
                      <a:pt x="117" y="297"/>
                      <a:pt x="117" y="296"/>
                    </a:cubicBezTo>
                    <a:cubicBezTo>
                      <a:pt x="118" y="294"/>
                      <a:pt x="118" y="291"/>
                      <a:pt x="118" y="288"/>
                    </a:cubicBezTo>
                    <a:cubicBezTo>
                      <a:pt x="118" y="287"/>
                      <a:pt x="118" y="286"/>
                      <a:pt x="119" y="285"/>
                    </a:cubicBezTo>
                    <a:cubicBezTo>
                      <a:pt x="119" y="281"/>
                      <a:pt x="122" y="280"/>
                      <a:pt x="124" y="280"/>
                    </a:cubicBezTo>
                    <a:cubicBezTo>
                      <a:pt x="124" y="280"/>
                      <a:pt x="124" y="280"/>
                      <a:pt x="124" y="280"/>
                    </a:cubicBezTo>
                    <a:cubicBezTo>
                      <a:pt x="125" y="277"/>
                      <a:pt x="125" y="277"/>
                      <a:pt x="125" y="277"/>
                    </a:cubicBezTo>
                    <a:cubicBezTo>
                      <a:pt x="128" y="279"/>
                      <a:pt x="128" y="279"/>
                      <a:pt x="128" y="279"/>
                    </a:cubicBezTo>
                    <a:cubicBezTo>
                      <a:pt x="131" y="281"/>
                      <a:pt x="136" y="285"/>
                      <a:pt x="140" y="289"/>
                    </a:cubicBezTo>
                    <a:cubicBezTo>
                      <a:pt x="141" y="289"/>
                      <a:pt x="141" y="288"/>
                      <a:pt x="141" y="288"/>
                    </a:cubicBezTo>
                    <a:cubicBezTo>
                      <a:pt x="142" y="285"/>
                      <a:pt x="142" y="285"/>
                      <a:pt x="142" y="285"/>
                    </a:cubicBezTo>
                    <a:cubicBezTo>
                      <a:pt x="143" y="285"/>
                      <a:pt x="143" y="284"/>
                      <a:pt x="144" y="284"/>
                    </a:cubicBezTo>
                    <a:cubicBezTo>
                      <a:pt x="145" y="283"/>
                      <a:pt x="145" y="283"/>
                      <a:pt x="145" y="283"/>
                    </a:cubicBezTo>
                    <a:cubicBezTo>
                      <a:pt x="146" y="283"/>
                      <a:pt x="147" y="283"/>
                      <a:pt x="148" y="283"/>
                    </a:cubicBezTo>
                    <a:cubicBezTo>
                      <a:pt x="149" y="283"/>
                      <a:pt x="150" y="283"/>
                      <a:pt x="150" y="283"/>
                    </a:cubicBezTo>
                    <a:cubicBezTo>
                      <a:pt x="152" y="283"/>
                      <a:pt x="152" y="283"/>
                      <a:pt x="152" y="283"/>
                    </a:cubicBezTo>
                    <a:cubicBezTo>
                      <a:pt x="173" y="283"/>
                      <a:pt x="173" y="283"/>
                      <a:pt x="173" y="283"/>
                    </a:cubicBezTo>
                    <a:cubicBezTo>
                      <a:pt x="173" y="283"/>
                      <a:pt x="173" y="283"/>
                      <a:pt x="173" y="282"/>
                    </a:cubicBezTo>
                    <a:cubicBezTo>
                      <a:pt x="173" y="281"/>
                      <a:pt x="173" y="281"/>
                      <a:pt x="173" y="281"/>
                    </a:cubicBezTo>
                    <a:cubicBezTo>
                      <a:pt x="174" y="281"/>
                      <a:pt x="174" y="280"/>
                      <a:pt x="174" y="280"/>
                    </a:cubicBezTo>
                    <a:cubicBezTo>
                      <a:pt x="175" y="279"/>
                      <a:pt x="175" y="279"/>
                      <a:pt x="175" y="279"/>
                    </a:cubicBezTo>
                    <a:cubicBezTo>
                      <a:pt x="175" y="279"/>
                      <a:pt x="175" y="279"/>
                      <a:pt x="175" y="279"/>
                    </a:cubicBezTo>
                    <a:cubicBezTo>
                      <a:pt x="175" y="279"/>
                      <a:pt x="175" y="279"/>
                      <a:pt x="175" y="279"/>
                    </a:cubicBezTo>
                    <a:cubicBezTo>
                      <a:pt x="175" y="279"/>
                      <a:pt x="176" y="278"/>
                      <a:pt x="176" y="278"/>
                    </a:cubicBezTo>
                    <a:cubicBezTo>
                      <a:pt x="176" y="278"/>
                      <a:pt x="176" y="278"/>
                      <a:pt x="176" y="278"/>
                    </a:cubicBezTo>
                    <a:cubicBezTo>
                      <a:pt x="177" y="278"/>
                      <a:pt x="177" y="278"/>
                      <a:pt x="177" y="278"/>
                    </a:cubicBezTo>
                    <a:cubicBezTo>
                      <a:pt x="178" y="278"/>
                      <a:pt x="178" y="278"/>
                      <a:pt x="178" y="278"/>
                    </a:cubicBezTo>
                    <a:cubicBezTo>
                      <a:pt x="179" y="278"/>
                      <a:pt x="179" y="278"/>
                      <a:pt x="179" y="278"/>
                    </a:cubicBezTo>
                    <a:cubicBezTo>
                      <a:pt x="179" y="279"/>
                      <a:pt x="179" y="279"/>
                      <a:pt x="179" y="279"/>
                    </a:cubicBezTo>
                    <a:cubicBezTo>
                      <a:pt x="180" y="279"/>
                      <a:pt x="180" y="279"/>
                      <a:pt x="180" y="279"/>
                    </a:cubicBezTo>
                    <a:cubicBezTo>
                      <a:pt x="180" y="280"/>
                      <a:pt x="181" y="280"/>
                      <a:pt x="181" y="281"/>
                    </a:cubicBezTo>
                    <a:cubicBezTo>
                      <a:pt x="181" y="282"/>
                      <a:pt x="181" y="282"/>
                      <a:pt x="181" y="282"/>
                    </a:cubicBezTo>
                    <a:cubicBezTo>
                      <a:pt x="182" y="282"/>
                      <a:pt x="182" y="282"/>
                      <a:pt x="182" y="282"/>
                    </a:cubicBezTo>
                    <a:cubicBezTo>
                      <a:pt x="183" y="283"/>
                      <a:pt x="183" y="283"/>
                      <a:pt x="183" y="283"/>
                    </a:cubicBezTo>
                    <a:cubicBezTo>
                      <a:pt x="183" y="282"/>
                      <a:pt x="183" y="282"/>
                      <a:pt x="183" y="282"/>
                    </a:cubicBezTo>
                    <a:cubicBezTo>
                      <a:pt x="183" y="282"/>
                      <a:pt x="184" y="282"/>
                      <a:pt x="185" y="282"/>
                    </a:cubicBezTo>
                    <a:cubicBezTo>
                      <a:pt x="185" y="282"/>
                      <a:pt x="186" y="282"/>
                      <a:pt x="187" y="282"/>
                    </a:cubicBezTo>
                    <a:cubicBezTo>
                      <a:pt x="187" y="282"/>
                      <a:pt x="187" y="282"/>
                      <a:pt x="187" y="282"/>
                    </a:cubicBezTo>
                    <a:cubicBezTo>
                      <a:pt x="188" y="282"/>
                      <a:pt x="189" y="282"/>
                      <a:pt x="189" y="282"/>
                    </a:cubicBezTo>
                    <a:cubicBezTo>
                      <a:pt x="236" y="282"/>
                      <a:pt x="236" y="282"/>
                      <a:pt x="236" y="282"/>
                    </a:cubicBezTo>
                    <a:cubicBezTo>
                      <a:pt x="243" y="282"/>
                      <a:pt x="251" y="282"/>
                      <a:pt x="258" y="282"/>
                    </a:cubicBezTo>
                    <a:cubicBezTo>
                      <a:pt x="259" y="282"/>
                      <a:pt x="259" y="282"/>
                      <a:pt x="260" y="282"/>
                    </a:cubicBezTo>
                    <a:cubicBezTo>
                      <a:pt x="261" y="282"/>
                      <a:pt x="261" y="282"/>
                      <a:pt x="261" y="282"/>
                    </a:cubicBezTo>
                    <a:cubicBezTo>
                      <a:pt x="261" y="282"/>
                      <a:pt x="262" y="282"/>
                      <a:pt x="262" y="282"/>
                    </a:cubicBezTo>
                    <a:cubicBezTo>
                      <a:pt x="263" y="282"/>
                      <a:pt x="263" y="282"/>
                      <a:pt x="263" y="282"/>
                    </a:cubicBezTo>
                    <a:cubicBezTo>
                      <a:pt x="264" y="282"/>
                      <a:pt x="265" y="283"/>
                      <a:pt x="265" y="283"/>
                    </a:cubicBezTo>
                    <a:cubicBezTo>
                      <a:pt x="265" y="283"/>
                      <a:pt x="265" y="283"/>
                      <a:pt x="265" y="283"/>
                    </a:cubicBezTo>
                    <a:cubicBezTo>
                      <a:pt x="266" y="283"/>
                      <a:pt x="266" y="283"/>
                      <a:pt x="266" y="283"/>
                    </a:cubicBezTo>
                    <a:cubicBezTo>
                      <a:pt x="266" y="283"/>
                      <a:pt x="266" y="283"/>
                      <a:pt x="266" y="283"/>
                    </a:cubicBezTo>
                    <a:cubicBezTo>
                      <a:pt x="266" y="282"/>
                      <a:pt x="267" y="280"/>
                      <a:pt x="267" y="276"/>
                    </a:cubicBezTo>
                    <a:cubicBezTo>
                      <a:pt x="267" y="275"/>
                      <a:pt x="267" y="274"/>
                      <a:pt x="267" y="273"/>
                    </a:cubicBezTo>
                    <a:cubicBezTo>
                      <a:pt x="268" y="269"/>
                      <a:pt x="268" y="269"/>
                      <a:pt x="268" y="269"/>
                    </a:cubicBezTo>
                    <a:cubicBezTo>
                      <a:pt x="268" y="267"/>
                      <a:pt x="268" y="266"/>
                      <a:pt x="268" y="266"/>
                    </a:cubicBezTo>
                    <a:cubicBezTo>
                      <a:pt x="268" y="266"/>
                      <a:pt x="268" y="266"/>
                      <a:pt x="268" y="266"/>
                    </a:cubicBezTo>
                    <a:cubicBezTo>
                      <a:pt x="267" y="265"/>
                      <a:pt x="267" y="265"/>
                      <a:pt x="267" y="265"/>
                    </a:cubicBezTo>
                    <a:cubicBezTo>
                      <a:pt x="267" y="265"/>
                      <a:pt x="267" y="265"/>
                      <a:pt x="267" y="265"/>
                    </a:cubicBezTo>
                    <a:cubicBezTo>
                      <a:pt x="266" y="264"/>
                      <a:pt x="266" y="264"/>
                      <a:pt x="266" y="264"/>
                    </a:cubicBezTo>
                    <a:cubicBezTo>
                      <a:pt x="265" y="263"/>
                      <a:pt x="265" y="262"/>
                      <a:pt x="265" y="261"/>
                    </a:cubicBezTo>
                    <a:cubicBezTo>
                      <a:pt x="259" y="215"/>
                      <a:pt x="259" y="215"/>
                      <a:pt x="259" y="215"/>
                    </a:cubicBezTo>
                    <a:cubicBezTo>
                      <a:pt x="256" y="190"/>
                      <a:pt x="253" y="166"/>
                      <a:pt x="250" y="142"/>
                    </a:cubicBezTo>
                    <a:cubicBezTo>
                      <a:pt x="248" y="123"/>
                      <a:pt x="246" y="104"/>
                      <a:pt x="243" y="86"/>
                    </a:cubicBezTo>
                    <a:cubicBezTo>
                      <a:pt x="241" y="64"/>
                      <a:pt x="241" y="64"/>
                      <a:pt x="241" y="64"/>
                    </a:cubicBezTo>
                    <a:cubicBezTo>
                      <a:pt x="241" y="60"/>
                      <a:pt x="240" y="56"/>
                      <a:pt x="240" y="52"/>
                    </a:cubicBezTo>
                    <a:cubicBezTo>
                      <a:pt x="239" y="49"/>
                      <a:pt x="239" y="49"/>
                      <a:pt x="239" y="49"/>
                    </a:cubicBezTo>
                    <a:cubicBezTo>
                      <a:pt x="273" y="49"/>
                      <a:pt x="273" y="49"/>
                      <a:pt x="273" y="49"/>
                    </a:cubicBezTo>
                    <a:cubicBezTo>
                      <a:pt x="268" y="46"/>
                      <a:pt x="264" y="43"/>
                      <a:pt x="259" y="39"/>
                    </a:cubicBezTo>
                    <a:cubicBezTo>
                      <a:pt x="258" y="39"/>
                      <a:pt x="257" y="38"/>
                      <a:pt x="256" y="37"/>
                    </a:cubicBezTo>
                    <a:cubicBezTo>
                      <a:pt x="250" y="34"/>
                      <a:pt x="244" y="30"/>
                      <a:pt x="238" y="26"/>
                    </a:cubicBezTo>
                    <a:cubicBezTo>
                      <a:pt x="238" y="26"/>
                      <a:pt x="237" y="25"/>
                      <a:pt x="236" y="25"/>
                    </a:cubicBezTo>
                    <a:cubicBezTo>
                      <a:pt x="230" y="21"/>
                      <a:pt x="224" y="17"/>
                      <a:pt x="217" y="13"/>
                    </a:cubicBezTo>
                    <a:cubicBezTo>
                      <a:pt x="217" y="12"/>
                      <a:pt x="217" y="12"/>
                      <a:pt x="217" y="12"/>
                    </a:cubicBezTo>
                    <a:cubicBezTo>
                      <a:pt x="210" y="8"/>
                      <a:pt x="203" y="4"/>
                      <a:pt x="19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2" name="Freeform 201">
                <a:extLst>
                  <a:ext uri="{FF2B5EF4-FFF2-40B4-BE49-F238E27FC236}">
                    <a16:creationId xmlns:a16="http://schemas.microsoft.com/office/drawing/2014/main" id="{6A4157E9-E872-4C7F-9D5B-0CB508EA92D8}"/>
                  </a:ext>
                </a:extLst>
              </p:cNvPr>
              <p:cNvSpPr>
                <a:spLocks/>
              </p:cNvSpPr>
              <p:nvPr/>
            </p:nvSpPr>
            <p:spPr bwMode="auto">
              <a:xfrm>
                <a:off x="2824" y="2145"/>
                <a:ext cx="7" cy="7"/>
              </a:xfrm>
              <a:custGeom>
                <a:avLst/>
                <a:gdLst>
                  <a:gd name="T0" fmla="*/ 1 w 3"/>
                  <a:gd name="T1" fmla="*/ 0 h 3"/>
                  <a:gd name="T2" fmla="*/ 2 w 3"/>
                  <a:gd name="T3" fmla="*/ 3 h 3"/>
                  <a:gd name="T4" fmla="*/ 3 w 3"/>
                  <a:gd name="T5" fmla="*/ 1 h 3"/>
                  <a:gd name="T6" fmla="*/ 1 w 3"/>
                  <a:gd name="T7" fmla="*/ 0 h 3"/>
                </a:gdLst>
                <a:ahLst/>
                <a:cxnLst>
                  <a:cxn ang="0">
                    <a:pos x="T0" y="T1"/>
                  </a:cxn>
                  <a:cxn ang="0">
                    <a:pos x="T2" y="T3"/>
                  </a:cxn>
                  <a:cxn ang="0">
                    <a:pos x="T4" y="T5"/>
                  </a:cxn>
                  <a:cxn ang="0">
                    <a:pos x="T6" y="T7"/>
                  </a:cxn>
                </a:cxnLst>
                <a:rect l="0" t="0" r="r" b="b"/>
                <a:pathLst>
                  <a:path w="3" h="3">
                    <a:moveTo>
                      <a:pt x="1" y="0"/>
                    </a:moveTo>
                    <a:cubicBezTo>
                      <a:pt x="0" y="1"/>
                      <a:pt x="0" y="2"/>
                      <a:pt x="2" y="3"/>
                    </a:cubicBezTo>
                    <a:cubicBezTo>
                      <a:pt x="2" y="2"/>
                      <a:pt x="2" y="1"/>
                      <a:pt x="3" y="1"/>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3" name="Rectangle 202">
                <a:extLst>
                  <a:ext uri="{FF2B5EF4-FFF2-40B4-BE49-F238E27FC236}">
                    <a16:creationId xmlns:a16="http://schemas.microsoft.com/office/drawing/2014/main" id="{14BC4A7F-B999-41B8-A4A6-EC048CD32090}"/>
                  </a:ext>
                </a:extLst>
              </p:cNvPr>
              <p:cNvSpPr>
                <a:spLocks noChangeArrowheads="1"/>
              </p:cNvSpPr>
              <p:nvPr/>
            </p:nvSpPr>
            <p:spPr bwMode="auto">
              <a:xfrm>
                <a:off x="3089" y="227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4" name="Freeform 203">
                <a:extLst>
                  <a:ext uri="{FF2B5EF4-FFF2-40B4-BE49-F238E27FC236}">
                    <a16:creationId xmlns:a16="http://schemas.microsoft.com/office/drawing/2014/main" id="{2A9F77D7-4222-48C5-B660-1AC9C3AA6236}"/>
                  </a:ext>
                </a:extLst>
              </p:cNvPr>
              <p:cNvSpPr>
                <a:spLocks/>
              </p:cNvSpPr>
              <p:nvPr/>
            </p:nvSpPr>
            <p:spPr bwMode="auto">
              <a:xfrm>
                <a:off x="3089" y="2278"/>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5" name="Freeform 204">
                <a:extLst>
                  <a:ext uri="{FF2B5EF4-FFF2-40B4-BE49-F238E27FC236}">
                    <a16:creationId xmlns:a16="http://schemas.microsoft.com/office/drawing/2014/main" id="{21A2FC37-5AA8-4260-AE8B-6539A3FAD27A}"/>
                  </a:ext>
                </a:extLst>
              </p:cNvPr>
              <p:cNvSpPr>
                <a:spLocks noEditPoints="1"/>
              </p:cNvSpPr>
              <p:nvPr/>
            </p:nvSpPr>
            <p:spPr bwMode="auto">
              <a:xfrm>
                <a:off x="2836" y="2051"/>
                <a:ext cx="388" cy="295"/>
              </a:xfrm>
              <a:custGeom>
                <a:avLst/>
                <a:gdLst>
                  <a:gd name="T0" fmla="*/ 3 w 164"/>
                  <a:gd name="T1" fmla="*/ 37 h 125"/>
                  <a:gd name="T2" fmla="*/ 29 w 164"/>
                  <a:gd name="T3" fmla="*/ 9 h 125"/>
                  <a:gd name="T4" fmla="*/ 29 w 164"/>
                  <a:gd name="T5" fmla="*/ 20 h 125"/>
                  <a:gd name="T6" fmla="*/ 25 w 164"/>
                  <a:gd name="T7" fmla="*/ 24 h 125"/>
                  <a:gd name="T8" fmla="*/ 10 w 164"/>
                  <a:gd name="T9" fmla="*/ 27 h 125"/>
                  <a:gd name="T10" fmla="*/ 3 w 164"/>
                  <a:gd name="T11" fmla="*/ 38 h 125"/>
                  <a:gd name="T12" fmla="*/ 8 w 164"/>
                  <a:gd name="T13" fmla="*/ 40 h 125"/>
                  <a:gd name="T14" fmla="*/ 13 w 164"/>
                  <a:gd name="T15" fmla="*/ 58 h 125"/>
                  <a:gd name="T16" fmla="*/ 27 w 164"/>
                  <a:gd name="T17" fmla="*/ 63 h 125"/>
                  <a:gd name="T18" fmla="*/ 35 w 164"/>
                  <a:gd name="T19" fmla="*/ 80 h 125"/>
                  <a:gd name="T20" fmla="*/ 39 w 164"/>
                  <a:gd name="T21" fmla="*/ 78 h 125"/>
                  <a:gd name="T22" fmla="*/ 45 w 164"/>
                  <a:gd name="T23" fmla="*/ 77 h 125"/>
                  <a:gd name="T24" fmla="*/ 49 w 164"/>
                  <a:gd name="T25" fmla="*/ 70 h 125"/>
                  <a:gd name="T26" fmla="*/ 60 w 164"/>
                  <a:gd name="T27" fmla="*/ 61 h 125"/>
                  <a:gd name="T28" fmla="*/ 72 w 164"/>
                  <a:gd name="T29" fmla="*/ 60 h 125"/>
                  <a:gd name="T30" fmla="*/ 89 w 164"/>
                  <a:gd name="T31" fmla="*/ 61 h 125"/>
                  <a:gd name="T32" fmla="*/ 99 w 164"/>
                  <a:gd name="T33" fmla="*/ 81 h 125"/>
                  <a:gd name="T34" fmla="*/ 104 w 164"/>
                  <a:gd name="T35" fmla="*/ 87 h 125"/>
                  <a:gd name="T36" fmla="*/ 107 w 164"/>
                  <a:gd name="T37" fmla="*/ 94 h 125"/>
                  <a:gd name="T38" fmla="*/ 109 w 164"/>
                  <a:gd name="T39" fmla="*/ 94 h 125"/>
                  <a:gd name="T40" fmla="*/ 114 w 164"/>
                  <a:gd name="T41" fmla="*/ 94 h 125"/>
                  <a:gd name="T42" fmla="*/ 122 w 164"/>
                  <a:gd name="T43" fmla="*/ 94 h 125"/>
                  <a:gd name="T44" fmla="*/ 127 w 164"/>
                  <a:gd name="T45" fmla="*/ 99 h 125"/>
                  <a:gd name="T46" fmla="*/ 131 w 164"/>
                  <a:gd name="T47" fmla="*/ 120 h 125"/>
                  <a:gd name="T48" fmla="*/ 139 w 164"/>
                  <a:gd name="T49" fmla="*/ 123 h 125"/>
                  <a:gd name="T50" fmla="*/ 150 w 164"/>
                  <a:gd name="T51" fmla="*/ 114 h 125"/>
                  <a:gd name="T52" fmla="*/ 157 w 164"/>
                  <a:gd name="T53" fmla="*/ 107 h 125"/>
                  <a:gd name="T54" fmla="*/ 154 w 164"/>
                  <a:gd name="T55" fmla="*/ 96 h 125"/>
                  <a:gd name="T56" fmla="*/ 157 w 164"/>
                  <a:gd name="T57" fmla="*/ 94 h 125"/>
                  <a:gd name="T58" fmla="*/ 162 w 164"/>
                  <a:gd name="T59" fmla="*/ 95 h 125"/>
                  <a:gd name="T60" fmla="*/ 164 w 164"/>
                  <a:gd name="T61" fmla="*/ 94 h 125"/>
                  <a:gd name="T62" fmla="*/ 164 w 164"/>
                  <a:gd name="T63" fmla="*/ 83 h 125"/>
                  <a:gd name="T64" fmla="*/ 159 w 164"/>
                  <a:gd name="T65" fmla="*/ 78 h 125"/>
                  <a:gd name="T66" fmla="*/ 155 w 164"/>
                  <a:gd name="T67" fmla="*/ 68 h 125"/>
                  <a:gd name="T68" fmla="*/ 157 w 164"/>
                  <a:gd name="T69" fmla="*/ 57 h 125"/>
                  <a:gd name="T70" fmla="*/ 153 w 164"/>
                  <a:gd name="T71" fmla="*/ 52 h 125"/>
                  <a:gd name="T72" fmla="*/ 152 w 164"/>
                  <a:gd name="T73" fmla="*/ 44 h 125"/>
                  <a:gd name="T74" fmla="*/ 140 w 164"/>
                  <a:gd name="T75" fmla="*/ 43 h 125"/>
                  <a:gd name="T76" fmla="*/ 143 w 164"/>
                  <a:gd name="T77" fmla="*/ 24 h 125"/>
                  <a:gd name="T78" fmla="*/ 140 w 164"/>
                  <a:gd name="T79" fmla="*/ 23 h 125"/>
                  <a:gd name="T80" fmla="*/ 139 w 164"/>
                  <a:gd name="T81" fmla="*/ 17 h 125"/>
                  <a:gd name="T82" fmla="*/ 135 w 164"/>
                  <a:gd name="T83" fmla="*/ 17 h 125"/>
                  <a:gd name="T84" fmla="*/ 126 w 164"/>
                  <a:gd name="T85" fmla="*/ 12 h 125"/>
                  <a:gd name="T86" fmla="*/ 114 w 164"/>
                  <a:gd name="T87" fmla="*/ 13 h 125"/>
                  <a:gd name="T88" fmla="*/ 102 w 164"/>
                  <a:gd name="T89" fmla="*/ 16 h 125"/>
                  <a:gd name="T90" fmla="*/ 92 w 164"/>
                  <a:gd name="T91" fmla="*/ 12 h 125"/>
                  <a:gd name="T92" fmla="*/ 88 w 164"/>
                  <a:gd name="T93" fmla="*/ 15 h 125"/>
                  <a:gd name="T94" fmla="*/ 82 w 164"/>
                  <a:gd name="T95" fmla="*/ 16 h 125"/>
                  <a:gd name="T96" fmla="*/ 76 w 164"/>
                  <a:gd name="T97" fmla="*/ 10 h 125"/>
                  <a:gd name="T98" fmla="*/ 69 w 164"/>
                  <a:gd name="T99" fmla="*/ 7 h 125"/>
                  <a:gd name="T100" fmla="*/ 41 w 164"/>
                  <a:gd name="T101" fmla="*/ 4 h 125"/>
                  <a:gd name="T102" fmla="*/ 32 w 164"/>
                  <a:gd name="T103"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4" h="125">
                    <a:moveTo>
                      <a:pt x="3" y="38"/>
                    </a:moveTo>
                    <a:cubicBezTo>
                      <a:pt x="3" y="37"/>
                      <a:pt x="3" y="37"/>
                      <a:pt x="3" y="37"/>
                    </a:cubicBezTo>
                    <a:cubicBezTo>
                      <a:pt x="3" y="38"/>
                      <a:pt x="3" y="38"/>
                      <a:pt x="3" y="38"/>
                    </a:cubicBezTo>
                    <a:moveTo>
                      <a:pt x="3" y="37"/>
                    </a:moveTo>
                    <a:cubicBezTo>
                      <a:pt x="3" y="37"/>
                      <a:pt x="3" y="37"/>
                      <a:pt x="3" y="37"/>
                    </a:cubicBezTo>
                    <a:cubicBezTo>
                      <a:pt x="3" y="37"/>
                      <a:pt x="3" y="37"/>
                      <a:pt x="3" y="37"/>
                    </a:cubicBezTo>
                    <a:moveTo>
                      <a:pt x="30" y="0"/>
                    </a:moveTo>
                    <a:cubicBezTo>
                      <a:pt x="30" y="1"/>
                      <a:pt x="30" y="1"/>
                      <a:pt x="30" y="1"/>
                    </a:cubicBezTo>
                    <a:cubicBezTo>
                      <a:pt x="30" y="3"/>
                      <a:pt x="30" y="5"/>
                      <a:pt x="30" y="6"/>
                    </a:cubicBezTo>
                    <a:cubicBezTo>
                      <a:pt x="30" y="7"/>
                      <a:pt x="29" y="8"/>
                      <a:pt x="29" y="9"/>
                    </a:cubicBezTo>
                    <a:cubicBezTo>
                      <a:pt x="28" y="10"/>
                      <a:pt x="28" y="10"/>
                      <a:pt x="28" y="10"/>
                    </a:cubicBezTo>
                    <a:cubicBezTo>
                      <a:pt x="26" y="10"/>
                      <a:pt x="26" y="10"/>
                      <a:pt x="26" y="10"/>
                    </a:cubicBezTo>
                    <a:cubicBezTo>
                      <a:pt x="27" y="11"/>
                      <a:pt x="27" y="11"/>
                      <a:pt x="27" y="12"/>
                    </a:cubicBezTo>
                    <a:cubicBezTo>
                      <a:pt x="28" y="13"/>
                      <a:pt x="29" y="17"/>
                      <a:pt x="29" y="20"/>
                    </a:cubicBezTo>
                    <a:cubicBezTo>
                      <a:pt x="29" y="20"/>
                      <a:pt x="29" y="20"/>
                      <a:pt x="29" y="20"/>
                    </a:cubicBezTo>
                    <a:cubicBezTo>
                      <a:pt x="29" y="21"/>
                      <a:pt x="29" y="21"/>
                      <a:pt x="29" y="21"/>
                    </a:cubicBezTo>
                    <a:cubicBezTo>
                      <a:pt x="29" y="21"/>
                      <a:pt x="28" y="22"/>
                      <a:pt x="27" y="23"/>
                    </a:cubicBezTo>
                    <a:cubicBezTo>
                      <a:pt x="27" y="24"/>
                      <a:pt x="27" y="24"/>
                      <a:pt x="27" y="24"/>
                    </a:cubicBezTo>
                    <a:cubicBezTo>
                      <a:pt x="26" y="24"/>
                      <a:pt x="26" y="24"/>
                      <a:pt x="25" y="24"/>
                    </a:cubicBezTo>
                    <a:cubicBezTo>
                      <a:pt x="25" y="24"/>
                      <a:pt x="25" y="24"/>
                      <a:pt x="25" y="24"/>
                    </a:cubicBezTo>
                    <a:cubicBezTo>
                      <a:pt x="24" y="24"/>
                      <a:pt x="24" y="24"/>
                      <a:pt x="24" y="24"/>
                    </a:cubicBezTo>
                    <a:cubicBezTo>
                      <a:pt x="23" y="24"/>
                      <a:pt x="23" y="24"/>
                      <a:pt x="23" y="24"/>
                    </a:cubicBezTo>
                    <a:cubicBezTo>
                      <a:pt x="20" y="25"/>
                      <a:pt x="17" y="26"/>
                      <a:pt x="14" y="26"/>
                    </a:cubicBezTo>
                    <a:cubicBezTo>
                      <a:pt x="13" y="27"/>
                      <a:pt x="13" y="27"/>
                      <a:pt x="13" y="27"/>
                    </a:cubicBezTo>
                    <a:cubicBezTo>
                      <a:pt x="12" y="27"/>
                      <a:pt x="11" y="27"/>
                      <a:pt x="10" y="27"/>
                    </a:cubicBezTo>
                    <a:cubicBezTo>
                      <a:pt x="10" y="27"/>
                      <a:pt x="9" y="27"/>
                      <a:pt x="8" y="28"/>
                    </a:cubicBezTo>
                    <a:cubicBezTo>
                      <a:pt x="6" y="28"/>
                      <a:pt x="5" y="28"/>
                      <a:pt x="5" y="28"/>
                    </a:cubicBezTo>
                    <a:cubicBezTo>
                      <a:pt x="4" y="29"/>
                      <a:pt x="2" y="33"/>
                      <a:pt x="0" y="36"/>
                    </a:cubicBezTo>
                    <a:cubicBezTo>
                      <a:pt x="0" y="37"/>
                      <a:pt x="0" y="37"/>
                      <a:pt x="0" y="37"/>
                    </a:cubicBezTo>
                    <a:cubicBezTo>
                      <a:pt x="1" y="37"/>
                      <a:pt x="2" y="38"/>
                      <a:pt x="3" y="38"/>
                    </a:cubicBezTo>
                    <a:cubicBezTo>
                      <a:pt x="1" y="39"/>
                      <a:pt x="1" y="39"/>
                      <a:pt x="1" y="41"/>
                    </a:cubicBezTo>
                    <a:cubicBezTo>
                      <a:pt x="1" y="42"/>
                      <a:pt x="1" y="43"/>
                      <a:pt x="2" y="43"/>
                    </a:cubicBezTo>
                    <a:cubicBezTo>
                      <a:pt x="3" y="43"/>
                      <a:pt x="3" y="43"/>
                      <a:pt x="4" y="42"/>
                    </a:cubicBezTo>
                    <a:cubicBezTo>
                      <a:pt x="4" y="43"/>
                      <a:pt x="4" y="45"/>
                      <a:pt x="4" y="46"/>
                    </a:cubicBezTo>
                    <a:cubicBezTo>
                      <a:pt x="5" y="44"/>
                      <a:pt x="7" y="42"/>
                      <a:pt x="8" y="40"/>
                    </a:cubicBezTo>
                    <a:cubicBezTo>
                      <a:pt x="7" y="42"/>
                      <a:pt x="4" y="46"/>
                      <a:pt x="5" y="48"/>
                    </a:cubicBezTo>
                    <a:cubicBezTo>
                      <a:pt x="5" y="49"/>
                      <a:pt x="7" y="49"/>
                      <a:pt x="7" y="50"/>
                    </a:cubicBezTo>
                    <a:cubicBezTo>
                      <a:pt x="8" y="52"/>
                      <a:pt x="8" y="54"/>
                      <a:pt x="9" y="56"/>
                    </a:cubicBezTo>
                    <a:cubicBezTo>
                      <a:pt x="9" y="56"/>
                      <a:pt x="10" y="56"/>
                      <a:pt x="10" y="56"/>
                    </a:cubicBezTo>
                    <a:cubicBezTo>
                      <a:pt x="11" y="56"/>
                      <a:pt x="12" y="57"/>
                      <a:pt x="13" y="58"/>
                    </a:cubicBezTo>
                    <a:cubicBezTo>
                      <a:pt x="14" y="59"/>
                      <a:pt x="16" y="60"/>
                      <a:pt x="17" y="60"/>
                    </a:cubicBezTo>
                    <a:cubicBezTo>
                      <a:pt x="17" y="60"/>
                      <a:pt x="17" y="60"/>
                      <a:pt x="17" y="60"/>
                    </a:cubicBezTo>
                    <a:cubicBezTo>
                      <a:pt x="18" y="60"/>
                      <a:pt x="18" y="58"/>
                      <a:pt x="20" y="57"/>
                    </a:cubicBezTo>
                    <a:cubicBezTo>
                      <a:pt x="19" y="59"/>
                      <a:pt x="22" y="65"/>
                      <a:pt x="25" y="65"/>
                    </a:cubicBezTo>
                    <a:cubicBezTo>
                      <a:pt x="26" y="65"/>
                      <a:pt x="27" y="64"/>
                      <a:pt x="27" y="63"/>
                    </a:cubicBezTo>
                    <a:cubicBezTo>
                      <a:pt x="26" y="66"/>
                      <a:pt x="26" y="67"/>
                      <a:pt x="27" y="67"/>
                    </a:cubicBezTo>
                    <a:cubicBezTo>
                      <a:pt x="28" y="67"/>
                      <a:pt x="29" y="67"/>
                      <a:pt x="30" y="67"/>
                    </a:cubicBezTo>
                    <a:cubicBezTo>
                      <a:pt x="29" y="69"/>
                      <a:pt x="27" y="71"/>
                      <a:pt x="27" y="73"/>
                    </a:cubicBezTo>
                    <a:cubicBezTo>
                      <a:pt x="29" y="72"/>
                      <a:pt x="30" y="73"/>
                      <a:pt x="32" y="72"/>
                    </a:cubicBezTo>
                    <a:cubicBezTo>
                      <a:pt x="32" y="73"/>
                      <a:pt x="33" y="78"/>
                      <a:pt x="35" y="80"/>
                    </a:cubicBezTo>
                    <a:cubicBezTo>
                      <a:pt x="36" y="80"/>
                      <a:pt x="36" y="80"/>
                      <a:pt x="36" y="80"/>
                    </a:cubicBezTo>
                    <a:cubicBezTo>
                      <a:pt x="36" y="79"/>
                      <a:pt x="36" y="79"/>
                      <a:pt x="37" y="79"/>
                    </a:cubicBezTo>
                    <a:cubicBezTo>
                      <a:pt x="37" y="78"/>
                      <a:pt x="38" y="78"/>
                      <a:pt x="38" y="78"/>
                    </a:cubicBezTo>
                    <a:cubicBezTo>
                      <a:pt x="38" y="78"/>
                      <a:pt x="38" y="78"/>
                      <a:pt x="38" y="78"/>
                    </a:cubicBezTo>
                    <a:cubicBezTo>
                      <a:pt x="39" y="78"/>
                      <a:pt x="39" y="78"/>
                      <a:pt x="39" y="78"/>
                    </a:cubicBezTo>
                    <a:cubicBezTo>
                      <a:pt x="39" y="78"/>
                      <a:pt x="39" y="78"/>
                      <a:pt x="39" y="78"/>
                    </a:cubicBezTo>
                    <a:cubicBezTo>
                      <a:pt x="40" y="78"/>
                      <a:pt x="40" y="78"/>
                      <a:pt x="40" y="78"/>
                    </a:cubicBezTo>
                    <a:cubicBezTo>
                      <a:pt x="43" y="78"/>
                      <a:pt x="43" y="78"/>
                      <a:pt x="43" y="78"/>
                    </a:cubicBezTo>
                    <a:cubicBezTo>
                      <a:pt x="43" y="78"/>
                      <a:pt x="44" y="78"/>
                      <a:pt x="44" y="77"/>
                    </a:cubicBezTo>
                    <a:cubicBezTo>
                      <a:pt x="45" y="77"/>
                      <a:pt x="45" y="77"/>
                      <a:pt x="45" y="77"/>
                    </a:cubicBezTo>
                    <a:cubicBezTo>
                      <a:pt x="45" y="76"/>
                      <a:pt x="45" y="76"/>
                      <a:pt x="45" y="76"/>
                    </a:cubicBezTo>
                    <a:cubicBezTo>
                      <a:pt x="46" y="75"/>
                      <a:pt x="46" y="75"/>
                      <a:pt x="47" y="74"/>
                    </a:cubicBezTo>
                    <a:cubicBezTo>
                      <a:pt x="47" y="73"/>
                      <a:pt x="47" y="73"/>
                      <a:pt x="47" y="73"/>
                    </a:cubicBezTo>
                    <a:cubicBezTo>
                      <a:pt x="48" y="72"/>
                      <a:pt x="48" y="72"/>
                      <a:pt x="48" y="72"/>
                    </a:cubicBezTo>
                    <a:cubicBezTo>
                      <a:pt x="49" y="72"/>
                      <a:pt x="49" y="71"/>
                      <a:pt x="49" y="70"/>
                    </a:cubicBezTo>
                    <a:cubicBezTo>
                      <a:pt x="50" y="70"/>
                      <a:pt x="50" y="70"/>
                      <a:pt x="50" y="70"/>
                    </a:cubicBezTo>
                    <a:cubicBezTo>
                      <a:pt x="50" y="69"/>
                      <a:pt x="50" y="69"/>
                      <a:pt x="50" y="69"/>
                    </a:cubicBezTo>
                    <a:cubicBezTo>
                      <a:pt x="50" y="69"/>
                      <a:pt x="50" y="69"/>
                      <a:pt x="50" y="69"/>
                    </a:cubicBezTo>
                    <a:cubicBezTo>
                      <a:pt x="51" y="68"/>
                      <a:pt x="52" y="67"/>
                      <a:pt x="52" y="66"/>
                    </a:cubicBezTo>
                    <a:cubicBezTo>
                      <a:pt x="54" y="62"/>
                      <a:pt x="55" y="61"/>
                      <a:pt x="60" y="61"/>
                    </a:cubicBezTo>
                    <a:cubicBezTo>
                      <a:pt x="61" y="61"/>
                      <a:pt x="61" y="61"/>
                      <a:pt x="61" y="61"/>
                    </a:cubicBezTo>
                    <a:cubicBezTo>
                      <a:pt x="62" y="61"/>
                      <a:pt x="62" y="61"/>
                      <a:pt x="62" y="61"/>
                    </a:cubicBezTo>
                    <a:cubicBezTo>
                      <a:pt x="63" y="61"/>
                      <a:pt x="63" y="61"/>
                      <a:pt x="63" y="61"/>
                    </a:cubicBezTo>
                    <a:cubicBezTo>
                      <a:pt x="63" y="61"/>
                      <a:pt x="64" y="61"/>
                      <a:pt x="64" y="61"/>
                    </a:cubicBezTo>
                    <a:cubicBezTo>
                      <a:pt x="67" y="61"/>
                      <a:pt x="70" y="61"/>
                      <a:pt x="72" y="60"/>
                    </a:cubicBezTo>
                    <a:cubicBezTo>
                      <a:pt x="75" y="59"/>
                      <a:pt x="79" y="59"/>
                      <a:pt x="82" y="59"/>
                    </a:cubicBezTo>
                    <a:cubicBezTo>
                      <a:pt x="83" y="59"/>
                      <a:pt x="83" y="59"/>
                      <a:pt x="83" y="59"/>
                    </a:cubicBezTo>
                    <a:cubicBezTo>
                      <a:pt x="83" y="59"/>
                      <a:pt x="83" y="59"/>
                      <a:pt x="84" y="59"/>
                    </a:cubicBezTo>
                    <a:cubicBezTo>
                      <a:pt x="84" y="59"/>
                      <a:pt x="85" y="59"/>
                      <a:pt x="86" y="59"/>
                    </a:cubicBezTo>
                    <a:cubicBezTo>
                      <a:pt x="87" y="59"/>
                      <a:pt x="88" y="60"/>
                      <a:pt x="89" y="61"/>
                    </a:cubicBezTo>
                    <a:cubicBezTo>
                      <a:pt x="90" y="64"/>
                      <a:pt x="92" y="67"/>
                      <a:pt x="93" y="69"/>
                    </a:cubicBezTo>
                    <a:cubicBezTo>
                      <a:pt x="93" y="70"/>
                      <a:pt x="94" y="71"/>
                      <a:pt x="94" y="72"/>
                    </a:cubicBezTo>
                    <a:cubicBezTo>
                      <a:pt x="95" y="72"/>
                      <a:pt x="95" y="72"/>
                      <a:pt x="95" y="72"/>
                    </a:cubicBezTo>
                    <a:cubicBezTo>
                      <a:pt x="96" y="75"/>
                      <a:pt x="97" y="78"/>
                      <a:pt x="98" y="80"/>
                    </a:cubicBezTo>
                    <a:cubicBezTo>
                      <a:pt x="99" y="81"/>
                      <a:pt x="99" y="81"/>
                      <a:pt x="99" y="81"/>
                    </a:cubicBezTo>
                    <a:cubicBezTo>
                      <a:pt x="100" y="81"/>
                      <a:pt x="102" y="82"/>
                      <a:pt x="103" y="83"/>
                    </a:cubicBezTo>
                    <a:cubicBezTo>
                      <a:pt x="103" y="84"/>
                      <a:pt x="103" y="84"/>
                      <a:pt x="103" y="84"/>
                    </a:cubicBezTo>
                    <a:cubicBezTo>
                      <a:pt x="103" y="84"/>
                      <a:pt x="103" y="84"/>
                      <a:pt x="103" y="84"/>
                    </a:cubicBezTo>
                    <a:cubicBezTo>
                      <a:pt x="103" y="85"/>
                      <a:pt x="103" y="85"/>
                      <a:pt x="104" y="86"/>
                    </a:cubicBezTo>
                    <a:cubicBezTo>
                      <a:pt x="104" y="87"/>
                      <a:pt x="104" y="87"/>
                      <a:pt x="104" y="87"/>
                    </a:cubicBezTo>
                    <a:cubicBezTo>
                      <a:pt x="104" y="87"/>
                      <a:pt x="104" y="87"/>
                      <a:pt x="104" y="87"/>
                    </a:cubicBezTo>
                    <a:cubicBezTo>
                      <a:pt x="105" y="89"/>
                      <a:pt x="105" y="89"/>
                      <a:pt x="105" y="89"/>
                    </a:cubicBezTo>
                    <a:cubicBezTo>
                      <a:pt x="105" y="91"/>
                      <a:pt x="106" y="93"/>
                      <a:pt x="105" y="95"/>
                    </a:cubicBezTo>
                    <a:cubicBezTo>
                      <a:pt x="105" y="95"/>
                      <a:pt x="105" y="95"/>
                      <a:pt x="105" y="95"/>
                    </a:cubicBezTo>
                    <a:cubicBezTo>
                      <a:pt x="106" y="95"/>
                      <a:pt x="106" y="94"/>
                      <a:pt x="107" y="94"/>
                    </a:cubicBezTo>
                    <a:cubicBezTo>
                      <a:pt x="108" y="94"/>
                      <a:pt x="108" y="94"/>
                      <a:pt x="108" y="94"/>
                    </a:cubicBezTo>
                    <a:cubicBezTo>
                      <a:pt x="108" y="94"/>
                      <a:pt x="108" y="94"/>
                      <a:pt x="108" y="94"/>
                    </a:cubicBezTo>
                    <a:cubicBezTo>
                      <a:pt x="108" y="94"/>
                      <a:pt x="108" y="94"/>
                      <a:pt x="108" y="94"/>
                    </a:cubicBezTo>
                    <a:cubicBezTo>
                      <a:pt x="108" y="94"/>
                      <a:pt x="108" y="94"/>
                      <a:pt x="108" y="94"/>
                    </a:cubicBezTo>
                    <a:cubicBezTo>
                      <a:pt x="109" y="94"/>
                      <a:pt x="109" y="94"/>
                      <a:pt x="109" y="94"/>
                    </a:cubicBezTo>
                    <a:cubicBezTo>
                      <a:pt x="110" y="94"/>
                      <a:pt x="110" y="94"/>
                      <a:pt x="110" y="94"/>
                    </a:cubicBezTo>
                    <a:cubicBezTo>
                      <a:pt x="110" y="94"/>
                      <a:pt x="110" y="94"/>
                      <a:pt x="110" y="94"/>
                    </a:cubicBezTo>
                    <a:cubicBezTo>
                      <a:pt x="111" y="94"/>
                      <a:pt x="111" y="94"/>
                      <a:pt x="111" y="94"/>
                    </a:cubicBezTo>
                    <a:cubicBezTo>
                      <a:pt x="112" y="94"/>
                      <a:pt x="113" y="94"/>
                      <a:pt x="113" y="94"/>
                    </a:cubicBezTo>
                    <a:cubicBezTo>
                      <a:pt x="114" y="94"/>
                      <a:pt x="114" y="94"/>
                      <a:pt x="114" y="94"/>
                    </a:cubicBezTo>
                    <a:cubicBezTo>
                      <a:pt x="114" y="94"/>
                      <a:pt x="114" y="94"/>
                      <a:pt x="114" y="94"/>
                    </a:cubicBezTo>
                    <a:cubicBezTo>
                      <a:pt x="117" y="94"/>
                      <a:pt x="117" y="94"/>
                      <a:pt x="117" y="94"/>
                    </a:cubicBezTo>
                    <a:cubicBezTo>
                      <a:pt x="118" y="94"/>
                      <a:pt x="118" y="94"/>
                      <a:pt x="118" y="94"/>
                    </a:cubicBezTo>
                    <a:cubicBezTo>
                      <a:pt x="118" y="93"/>
                      <a:pt x="119" y="93"/>
                      <a:pt x="120" y="93"/>
                    </a:cubicBezTo>
                    <a:cubicBezTo>
                      <a:pt x="121" y="93"/>
                      <a:pt x="122" y="94"/>
                      <a:pt x="122" y="94"/>
                    </a:cubicBezTo>
                    <a:cubicBezTo>
                      <a:pt x="123" y="95"/>
                      <a:pt x="123" y="95"/>
                      <a:pt x="123" y="95"/>
                    </a:cubicBezTo>
                    <a:cubicBezTo>
                      <a:pt x="123" y="95"/>
                      <a:pt x="123" y="95"/>
                      <a:pt x="123" y="95"/>
                    </a:cubicBezTo>
                    <a:cubicBezTo>
                      <a:pt x="124" y="96"/>
                      <a:pt x="124" y="96"/>
                      <a:pt x="124" y="96"/>
                    </a:cubicBezTo>
                    <a:cubicBezTo>
                      <a:pt x="125" y="96"/>
                      <a:pt x="126" y="97"/>
                      <a:pt x="126" y="98"/>
                    </a:cubicBezTo>
                    <a:cubicBezTo>
                      <a:pt x="127" y="98"/>
                      <a:pt x="127" y="98"/>
                      <a:pt x="127" y="99"/>
                    </a:cubicBezTo>
                    <a:cubicBezTo>
                      <a:pt x="129" y="101"/>
                      <a:pt x="130" y="103"/>
                      <a:pt x="130" y="106"/>
                    </a:cubicBezTo>
                    <a:cubicBezTo>
                      <a:pt x="130" y="106"/>
                      <a:pt x="130" y="107"/>
                      <a:pt x="131" y="107"/>
                    </a:cubicBezTo>
                    <a:cubicBezTo>
                      <a:pt x="131" y="108"/>
                      <a:pt x="131" y="108"/>
                      <a:pt x="131" y="108"/>
                    </a:cubicBezTo>
                    <a:cubicBezTo>
                      <a:pt x="132" y="111"/>
                      <a:pt x="133" y="114"/>
                      <a:pt x="132" y="116"/>
                    </a:cubicBezTo>
                    <a:cubicBezTo>
                      <a:pt x="131" y="120"/>
                      <a:pt x="131" y="120"/>
                      <a:pt x="131" y="120"/>
                    </a:cubicBezTo>
                    <a:cubicBezTo>
                      <a:pt x="131" y="120"/>
                      <a:pt x="132" y="120"/>
                      <a:pt x="133" y="120"/>
                    </a:cubicBezTo>
                    <a:cubicBezTo>
                      <a:pt x="134" y="121"/>
                      <a:pt x="135" y="123"/>
                      <a:pt x="136" y="124"/>
                    </a:cubicBezTo>
                    <a:cubicBezTo>
                      <a:pt x="136" y="125"/>
                      <a:pt x="136" y="125"/>
                      <a:pt x="136" y="125"/>
                    </a:cubicBezTo>
                    <a:cubicBezTo>
                      <a:pt x="137" y="124"/>
                      <a:pt x="139" y="124"/>
                      <a:pt x="139" y="124"/>
                    </a:cubicBezTo>
                    <a:cubicBezTo>
                      <a:pt x="139" y="123"/>
                      <a:pt x="139" y="123"/>
                      <a:pt x="139" y="123"/>
                    </a:cubicBezTo>
                    <a:cubicBezTo>
                      <a:pt x="139" y="123"/>
                      <a:pt x="140" y="123"/>
                      <a:pt x="140" y="122"/>
                    </a:cubicBezTo>
                    <a:cubicBezTo>
                      <a:pt x="141" y="121"/>
                      <a:pt x="141" y="121"/>
                      <a:pt x="141" y="121"/>
                    </a:cubicBezTo>
                    <a:cubicBezTo>
                      <a:pt x="142" y="118"/>
                      <a:pt x="143" y="116"/>
                      <a:pt x="145" y="114"/>
                    </a:cubicBezTo>
                    <a:cubicBezTo>
                      <a:pt x="148" y="112"/>
                      <a:pt x="148" y="112"/>
                      <a:pt x="148" y="112"/>
                    </a:cubicBezTo>
                    <a:cubicBezTo>
                      <a:pt x="150" y="114"/>
                      <a:pt x="150" y="114"/>
                      <a:pt x="150" y="114"/>
                    </a:cubicBezTo>
                    <a:cubicBezTo>
                      <a:pt x="150" y="115"/>
                      <a:pt x="151" y="116"/>
                      <a:pt x="151" y="116"/>
                    </a:cubicBezTo>
                    <a:cubicBezTo>
                      <a:pt x="151" y="116"/>
                      <a:pt x="151" y="116"/>
                      <a:pt x="151" y="116"/>
                    </a:cubicBezTo>
                    <a:cubicBezTo>
                      <a:pt x="152" y="117"/>
                      <a:pt x="154" y="117"/>
                      <a:pt x="155" y="117"/>
                    </a:cubicBezTo>
                    <a:cubicBezTo>
                      <a:pt x="155" y="116"/>
                      <a:pt x="156" y="114"/>
                      <a:pt x="157" y="109"/>
                    </a:cubicBezTo>
                    <a:cubicBezTo>
                      <a:pt x="157" y="107"/>
                      <a:pt x="157" y="107"/>
                      <a:pt x="157" y="107"/>
                    </a:cubicBezTo>
                    <a:cubicBezTo>
                      <a:pt x="157" y="107"/>
                      <a:pt x="156" y="107"/>
                      <a:pt x="156" y="107"/>
                    </a:cubicBezTo>
                    <a:cubicBezTo>
                      <a:pt x="156" y="107"/>
                      <a:pt x="156" y="107"/>
                      <a:pt x="156" y="107"/>
                    </a:cubicBezTo>
                    <a:cubicBezTo>
                      <a:pt x="155" y="106"/>
                      <a:pt x="155" y="106"/>
                      <a:pt x="155" y="106"/>
                    </a:cubicBezTo>
                    <a:cubicBezTo>
                      <a:pt x="153" y="104"/>
                      <a:pt x="152" y="101"/>
                      <a:pt x="153" y="99"/>
                    </a:cubicBezTo>
                    <a:cubicBezTo>
                      <a:pt x="153" y="98"/>
                      <a:pt x="153" y="97"/>
                      <a:pt x="154" y="96"/>
                    </a:cubicBezTo>
                    <a:cubicBezTo>
                      <a:pt x="154" y="96"/>
                      <a:pt x="154" y="96"/>
                      <a:pt x="154" y="96"/>
                    </a:cubicBezTo>
                    <a:cubicBezTo>
                      <a:pt x="155" y="96"/>
                      <a:pt x="155" y="95"/>
                      <a:pt x="155" y="95"/>
                    </a:cubicBezTo>
                    <a:cubicBezTo>
                      <a:pt x="156" y="95"/>
                      <a:pt x="156" y="95"/>
                      <a:pt x="156" y="95"/>
                    </a:cubicBezTo>
                    <a:cubicBezTo>
                      <a:pt x="156" y="95"/>
                      <a:pt x="156" y="95"/>
                      <a:pt x="157" y="94"/>
                    </a:cubicBezTo>
                    <a:cubicBezTo>
                      <a:pt x="157" y="94"/>
                      <a:pt x="157" y="94"/>
                      <a:pt x="157" y="94"/>
                    </a:cubicBezTo>
                    <a:cubicBezTo>
                      <a:pt x="158" y="94"/>
                      <a:pt x="158" y="94"/>
                      <a:pt x="159" y="94"/>
                    </a:cubicBezTo>
                    <a:cubicBezTo>
                      <a:pt x="159" y="94"/>
                      <a:pt x="159" y="94"/>
                      <a:pt x="159" y="94"/>
                    </a:cubicBezTo>
                    <a:cubicBezTo>
                      <a:pt x="160" y="94"/>
                      <a:pt x="160" y="94"/>
                      <a:pt x="161" y="94"/>
                    </a:cubicBezTo>
                    <a:cubicBezTo>
                      <a:pt x="161" y="94"/>
                      <a:pt x="161" y="94"/>
                      <a:pt x="161" y="94"/>
                    </a:cubicBezTo>
                    <a:cubicBezTo>
                      <a:pt x="162" y="95"/>
                      <a:pt x="162" y="95"/>
                      <a:pt x="162" y="95"/>
                    </a:cubicBezTo>
                    <a:cubicBezTo>
                      <a:pt x="162" y="95"/>
                      <a:pt x="162" y="95"/>
                      <a:pt x="162" y="95"/>
                    </a:cubicBezTo>
                    <a:cubicBezTo>
                      <a:pt x="163" y="95"/>
                      <a:pt x="163" y="95"/>
                      <a:pt x="163" y="95"/>
                    </a:cubicBezTo>
                    <a:cubicBezTo>
                      <a:pt x="163" y="95"/>
                      <a:pt x="163" y="95"/>
                      <a:pt x="163" y="95"/>
                    </a:cubicBezTo>
                    <a:cubicBezTo>
                      <a:pt x="164" y="95"/>
                      <a:pt x="164" y="95"/>
                      <a:pt x="164" y="95"/>
                    </a:cubicBezTo>
                    <a:cubicBezTo>
                      <a:pt x="164" y="94"/>
                      <a:pt x="164" y="94"/>
                      <a:pt x="164" y="94"/>
                    </a:cubicBezTo>
                    <a:cubicBezTo>
                      <a:pt x="163" y="94"/>
                      <a:pt x="163" y="94"/>
                      <a:pt x="163" y="94"/>
                    </a:cubicBezTo>
                    <a:cubicBezTo>
                      <a:pt x="162" y="93"/>
                      <a:pt x="162" y="93"/>
                      <a:pt x="162" y="93"/>
                    </a:cubicBezTo>
                    <a:cubicBezTo>
                      <a:pt x="161" y="92"/>
                      <a:pt x="161" y="92"/>
                      <a:pt x="161" y="92"/>
                    </a:cubicBezTo>
                    <a:cubicBezTo>
                      <a:pt x="158" y="89"/>
                      <a:pt x="161" y="86"/>
                      <a:pt x="163" y="84"/>
                    </a:cubicBezTo>
                    <a:cubicBezTo>
                      <a:pt x="163" y="84"/>
                      <a:pt x="163" y="84"/>
                      <a:pt x="164" y="83"/>
                    </a:cubicBezTo>
                    <a:cubicBezTo>
                      <a:pt x="164" y="83"/>
                      <a:pt x="164" y="83"/>
                      <a:pt x="163" y="80"/>
                    </a:cubicBezTo>
                    <a:cubicBezTo>
                      <a:pt x="163" y="80"/>
                      <a:pt x="163" y="80"/>
                      <a:pt x="163" y="80"/>
                    </a:cubicBezTo>
                    <a:cubicBezTo>
                      <a:pt x="163" y="80"/>
                      <a:pt x="163" y="79"/>
                      <a:pt x="162" y="78"/>
                    </a:cubicBezTo>
                    <a:cubicBezTo>
                      <a:pt x="162" y="78"/>
                      <a:pt x="162" y="78"/>
                      <a:pt x="162" y="78"/>
                    </a:cubicBezTo>
                    <a:cubicBezTo>
                      <a:pt x="161" y="78"/>
                      <a:pt x="160" y="78"/>
                      <a:pt x="159" y="78"/>
                    </a:cubicBezTo>
                    <a:cubicBezTo>
                      <a:pt x="159" y="78"/>
                      <a:pt x="159" y="78"/>
                      <a:pt x="159" y="78"/>
                    </a:cubicBezTo>
                    <a:cubicBezTo>
                      <a:pt x="158" y="77"/>
                      <a:pt x="158" y="77"/>
                      <a:pt x="158" y="77"/>
                    </a:cubicBezTo>
                    <a:cubicBezTo>
                      <a:pt x="157" y="77"/>
                      <a:pt x="157" y="76"/>
                      <a:pt x="156" y="75"/>
                    </a:cubicBezTo>
                    <a:cubicBezTo>
                      <a:pt x="156" y="74"/>
                      <a:pt x="155" y="72"/>
                      <a:pt x="155" y="70"/>
                    </a:cubicBezTo>
                    <a:cubicBezTo>
                      <a:pt x="155" y="68"/>
                      <a:pt x="155" y="68"/>
                      <a:pt x="155" y="68"/>
                    </a:cubicBezTo>
                    <a:cubicBezTo>
                      <a:pt x="155" y="66"/>
                      <a:pt x="154" y="63"/>
                      <a:pt x="155" y="61"/>
                    </a:cubicBezTo>
                    <a:cubicBezTo>
                      <a:pt x="156" y="60"/>
                      <a:pt x="156" y="59"/>
                      <a:pt x="157" y="58"/>
                    </a:cubicBezTo>
                    <a:cubicBezTo>
                      <a:pt x="158" y="57"/>
                      <a:pt x="158" y="57"/>
                      <a:pt x="158" y="57"/>
                    </a:cubicBezTo>
                    <a:cubicBezTo>
                      <a:pt x="158" y="57"/>
                      <a:pt x="158" y="57"/>
                      <a:pt x="158" y="57"/>
                    </a:cubicBezTo>
                    <a:cubicBezTo>
                      <a:pt x="157" y="57"/>
                      <a:pt x="157" y="57"/>
                      <a:pt x="157" y="57"/>
                    </a:cubicBezTo>
                    <a:cubicBezTo>
                      <a:pt x="156" y="56"/>
                      <a:pt x="156" y="56"/>
                      <a:pt x="156" y="56"/>
                    </a:cubicBezTo>
                    <a:cubicBezTo>
                      <a:pt x="156" y="55"/>
                      <a:pt x="156" y="55"/>
                      <a:pt x="156" y="55"/>
                    </a:cubicBezTo>
                    <a:cubicBezTo>
                      <a:pt x="155" y="54"/>
                      <a:pt x="155" y="54"/>
                      <a:pt x="155" y="54"/>
                    </a:cubicBezTo>
                    <a:cubicBezTo>
                      <a:pt x="155" y="54"/>
                      <a:pt x="155" y="54"/>
                      <a:pt x="155" y="54"/>
                    </a:cubicBezTo>
                    <a:cubicBezTo>
                      <a:pt x="154" y="53"/>
                      <a:pt x="153" y="53"/>
                      <a:pt x="153" y="52"/>
                    </a:cubicBezTo>
                    <a:cubicBezTo>
                      <a:pt x="153" y="51"/>
                      <a:pt x="152" y="51"/>
                      <a:pt x="152" y="50"/>
                    </a:cubicBezTo>
                    <a:cubicBezTo>
                      <a:pt x="152" y="50"/>
                      <a:pt x="152" y="50"/>
                      <a:pt x="152" y="50"/>
                    </a:cubicBezTo>
                    <a:cubicBezTo>
                      <a:pt x="152" y="50"/>
                      <a:pt x="152" y="49"/>
                      <a:pt x="152" y="49"/>
                    </a:cubicBezTo>
                    <a:cubicBezTo>
                      <a:pt x="152" y="47"/>
                      <a:pt x="152" y="46"/>
                      <a:pt x="152" y="45"/>
                    </a:cubicBezTo>
                    <a:cubicBezTo>
                      <a:pt x="152" y="44"/>
                      <a:pt x="152" y="44"/>
                      <a:pt x="152" y="44"/>
                    </a:cubicBezTo>
                    <a:cubicBezTo>
                      <a:pt x="152" y="43"/>
                      <a:pt x="152" y="41"/>
                      <a:pt x="151" y="40"/>
                    </a:cubicBezTo>
                    <a:cubicBezTo>
                      <a:pt x="151" y="39"/>
                      <a:pt x="151" y="39"/>
                      <a:pt x="151" y="39"/>
                    </a:cubicBezTo>
                    <a:cubicBezTo>
                      <a:pt x="151" y="40"/>
                      <a:pt x="151" y="40"/>
                      <a:pt x="150" y="40"/>
                    </a:cubicBezTo>
                    <a:cubicBezTo>
                      <a:pt x="149" y="41"/>
                      <a:pt x="147" y="41"/>
                      <a:pt x="146" y="41"/>
                    </a:cubicBezTo>
                    <a:cubicBezTo>
                      <a:pt x="140" y="43"/>
                      <a:pt x="140" y="43"/>
                      <a:pt x="140" y="43"/>
                    </a:cubicBezTo>
                    <a:cubicBezTo>
                      <a:pt x="143" y="36"/>
                      <a:pt x="143" y="36"/>
                      <a:pt x="143" y="36"/>
                    </a:cubicBezTo>
                    <a:cubicBezTo>
                      <a:pt x="145" y="33"/>
                      <a:pt x="146" y="31"/>
                      <a:pt x="148" y="30"/>
                    </a:cubicBezTo>
                    <a:cubicBezTo>
                      <a:pt x="148" y="29"/>
                      <a:pt x="148" y="29"/>
                      <a:pt x="148" y="29"/>
                    </a:cubicBezTo>
                    <a:cubicBezTo>
                      <a:pt x="147" y="28"/>
                      <a:pt x="144" y="25"/>
                      <a:pt x="143" y="25"/>
                    </a:cubicBezTo>
                    <a:cubicBezTo>
                      <a:pt x="143" y="24"/>
                      <a:pt x="143" y="24"/>
                      <a:pt x="143" y="24"/>
                    </a:cubicBezTo>
                    <a:cubicBezTo>
                      <a:pt x="142" y="25"/>
                      <a:pt x="142" y="25"/>
                      <a:pt x="142" y="25"/>
                    </a:cubicBezTo>
                    <a:cubicBezTo>
                      <a:pt x="142" y="24"/>
                      <a:pt x="142" y="24"/>
                      <a:pt x="142" y="24"/>
                    </a:cubicBezTo>
                    <a:cubicBezTo>
                      <a:pt x="141" y="24"/>
                      <a:pt x="141" y="24"/>
                      <a:pt x="141" y="24"/>
                    </a:cubicBezTo>
                    <a:cubicBezTo>
                      <a:pt x="141" y="24"/>
                      <a:pt x="141" y="24"/>
                      <a:pt x="141" y="24"/>
                    </a:cubicBezTo>
                    <a:cubicBezTo>
                      <a:pt x="140" y="23"/>
                      <a:pt x="140" y="23"/>
                      <a:pt x="140" y="23"/>
                    </a:cubicBezTo>
                    <a:cubicBezTo>
                      <a:pt x="140" y="23"/>
                      <a:pt x="140" y="23"/>
                      <a:pt x="140" y="23"/>
                    </a:cubicBezTo>
                    <a:cubicBezTo>
                      <a:pt x="139" y="22"/>
                      <a:pt x="139" y="22"/>
                      <a:pt x="139" y="22"/>
                    </a:cubicBezTo>
                    <a:cubicBezTo>
                      <a:pt x="139" y="21"/>
                      <a:pt x="139" y="21"/>
                      <a:pt x="139" y="21"/>
                    </a:cubicBezTo>
                    <a:cubicBezTo>
                      <a:pt x="139" y="20"/>
                      <a:pt x="139" y="18"/>
                      <a:pt x="139" y="17"/>
                    </a:cubicBezTo>
                    <a:cubicBezTo>
                      <a:pt x="139" y="17"/>
                      <a:pt x="139" y="17"/>
                      <a:pt x="139" y="17"/>
                    </a:cubicBezTo>
                    <a:cubicBezTo>
                      <a:pt x="140" y="16"/>
                      <a:pt x="140" y="16"/>
                      <a:pt x="140" y="16"/>
                    </a:cubicBezTo>
                    <a:cubicBezTo>
                      <a:pt x="140" y="16"/>
                      <a:pt x="140" y="16"/>
                      <a:pt x="140" y="16"/>
                    </a:cubicBezTo>
                    <a:cubicBezTo>
                      <a:pt x="139" y="15"/>
                      <a:pt x="139" y="15"/>
                      <a:pt x="139" y="15"/>
                    </a:cubicBezTo>
                    <a:cubicBezTo>
                      <a:pt x="139" y="15"/>
                      <a:pt x="139" y="15"/>
                      <a:pt x="139" y="15"/>
                    </a:cubicBezTo>
                    <a:cubicBezTo>
                      <a:pt x="135" y="17"/>
                      <a:pt x="135" y="17"/>
                      <a:pt x="135" y="17"/>
                    </a:cubicBezTo>
                    <a:cubicBezTo>
                      <a:pt x="139" y="13"/>
                      <a:pt x="139" y="13"/>
                      <a:pt x="139" y="13"/>
                    </a:cubicBezTo>
                    <a:cubicBezTo>
                      <a:pt x="138" y="13"/>
                      <a:pt x="138" y="13"/>
                      <a:pt x="138" y="13"/>
                    </a:cubicBezTo>
                    <a:cubicBezTo>
                      <a:pt x="137" y="10"/>
                      <a:pt x="135" y="7"/>
                      <a:pt x="133" y="6"/>
                    </a:cubicBezTo>
                    <a:cubicBezTo>
                      <a:pt x="133" y="7"/>
                      <a:pt x="133" y="8"/>
                      <a:pt x="132" y="9"/>
                    </a:cubicBezTo>
                    <a:cubicBezTo>
                      <a:pt x="131" y="11"/>
                      <a:pt x="128" y="12"/>
                      <a:pt x="126" y="12"/>
                    </a:cubicBezTo>
                    <a:cubicBezTo>
                      <a:pt x="126" y="12"/>
                      <a:pt x="125" y="13"/>
                      <a:pt x="124" y="13"/>
                    </a:cubicBezTo>
                    <a:cubicBezTo>
                      <a:pt x="124" y="14"/>
                      <a:pt x="123" y="15"/>
                      <a:pt x="122" y="15"/>
                    </a:cubicBezTo>
                    <a:cubicBezTo>
                      <a:pt x="122" y="16"/>
                      <a:pt x="121" y="16"/>
                      <a:pt x="120" y="16"/>
                    </a:cubicBezTo>
                    <a:cubicBezTo>
                      <a:pt x="118" y="16"/>
                      <a:pt x="117" y="15"/>
                      <a:pt x="115" y="14"/>
                    </a:cubicBezTo>
                    <a:cubicBezTo>
                      <a:pt x="115" y="14"/>
                      <a:pt x="114" y="14"/>
                      <a:pt x="114" y="13"/>
                    </a:cubicBezTo>
                    <a:cubicBezTo>
                      <a:pt x="113" y="13"/>
                      <a:pt x="113" y="13"/>
                      <a:pt x="113" y="13"/>
                    </a:cubicBezTo>
                    <a:cubicBezTo>
                      <a:pt x="113" y="13"/>
                      <a:pt x="113" y="13"/>
                      <a:pt x="113" y="13"/>
                    </a:cubicBezTo>
                    <a:cubicBezTo>
                      <a:pt x="112" y="13"/>
                      <a:pt x="112" y="13"/>
                      <a:pt x="112" y="13"/>
                    </a:cubicBezTo>
                    <a:cubicBezTo>
                      <a:pt x="112" y="13"/>
                      <a:pt x="112" y="13"/>
                      <a:pt x="112" y="13"/>
                    </a:cubicBezTo>
                    <a:cubicBezTo>
                      <a:pt x="110" y="13"/>
                      <a:pt x="104" y="15"/>
                      <a:pt x="102" y="16"/>
                    </a:cubicBezTo>
                    <a:cubicBezTo>
                      <a:pt x="102" y="16"/>
                      <a:pt x="101" y="17"/>
                      <a:pt x="101" y="17"/>
                    </a:cubicBezTo>
                    <a:cubicBezTo>
                      <a:pt x="100" y="22"/>
                      <a:pt x="100" y="22"/>
                      <a:pt x="100" y="22"/>
                    </a:cubicBezTo>
                    <a:cubicBezTo>
                      <a:pt x="96" y="18"/>
                      <a:pt x="96" y="18"/>
                      <a:pt x="96" y="18"/>
                    </a:cubicBezTo>
                    <a:cubicBezTo>
                      <a:pt x="96" y="18"/>
                      <a:pt x="95" y="17"/>
                      <a:pt x="95" y="16"/>
                    </a:cubicBezTo>
                    <a:cubicBezTo>
                      <a:pt x="94" y="15"/>
                      <a:pt x="93" y="13"/>
                      <a:pt x="92" y="12"/>
                    </a:cubicBezTo>
                    <a:cubicBezTo>
                      <a:pt x="92" y="12"/>
                      <a:pt x="92" y="12"/>
                      <a:pt x="92" y="12"/>
                    </a:cubicBezTo>
                    <a:cubicBezTo>
                      <a:pt x="92" y="12"/>
                      <a:pt x="92" y="12"/>
                      <a:pt x="91" y="13"/>
                    </a:cubicBezTo>
                    <a:cubicBezTo>
                      <a:pt x="90" y="14"/>
                      <a:pt x="90" y="14"/>
                      <a:pt x="90" y="14"/>
                    </a:cubicBezTo>
                    <a:cubicBezTo>
                      <a:pt x="89" y="14"/>
                      <a:pt x="89" y="15"/>
                      <a:pt x="88" y="15"/>
                    </a:cubicBezTo>
                    <a:cubicBezTo>
                      <a:pt x="88" y="15"/>
                      <a:pt x="88" y="15"/>
                      <a:pt x="88" y="15"/>
                    </a:cubicBezTo>
                    <a:cubicBezTo>
                      <a:pt x="87" y="16"/>
                      <a:pt x="87" y="16"/>
                      <a:pt x="86" y="16"/>
                    </a:cubicBezTo>
                    <a:cubicBezTo>
                      <a:pt x="86" y="16"/>
                      <a:pt x="86" y="16"/>
                      <a:pt x="86" y="16"/>
                    </a:cubicBezTo>
                    <a:cubicBezTo>
                      <a:pt x="85" y="17"/>
                      <a:pt x="85" y="17"/>
                      <a:pt x="85" y="17"/>
                    </a:cubicBezTo>
                    <a:cubicBezTo>
                      <a:pt x="84" y="17"/>
                      <a:pt x="84" y="17"/>
                      <a:pt x="84" y="17"/>
                    </a:cubicBezTo>
                    <a:cubicBezTo>
                      <a:pt x="82" y="16"/>
                      <a:pt x="82" y="16"/>
                      <a:pt x="82" y="16"/>
                    </a:cubicBezTo>
                    <a:cubicBezTo>
                      <a:pt x="82" y="16"/>
                      <a:pt x="82" y="15"/>
                      <a:pt x="81" y="15"/>
                    </a:cubicBezTo>
                    <a:cubicBezTo>
                      <a:pt x="80" y="14"/>
                      <a:pt x="80" y="14"/>
                      <a:pt x="80" y="14"/>
                    </a:cubicBezTo>
                    <a:cubicBezTo>
                      <a:pt x="78" y="12"/>
                      <a:pt x="78" y="12"/>
                      <a:pt x="78" y="12"/>
                    </a:cubicBezTo>
                    <a:cubicBezTo>
                      <a:pt x="77" y="11"/>
                      <a:pt x="77" y="11"/>
                      <a:pt x="77" y="11"/>
                    </a:cubicBezTo>
                    <a:cubicBezTo>
                      <a:pt x="77" y="11"/>
                      <a:pt x="76" y="10"/>
                      <a:pt x="76" y="10"/>
                    </a:cubicBezTo>
                    <a:cubicBezTo>
                      <a:pt x="76" y="9"/>
                      <a:pt x="76" y="9"/>
                      <a:pt x="76" y="9"/>
                    </a:cubicBezTo>
                    <a:cubicBezTo>
                      <a:pt x="76" y="9"/>
                      <a:pt x="76" y="8"/>
                      <a:pt x="76" y="8"/>
                    </a:cubicBezTo>
                    <a:cubicBezTo>
                      <a:pt x="76" y="7"/>
                      <a:pt x="76" y="7"/>
                      <a:pt x="76" y="7"/>
                    </a:cubicBezTo>
                    <a:cubicBezTo>
                      <a:pt x="76" y="7"/>
                      <a:pt x="76" y="7"/>
                      <a:pt x="76" y="7"/>
                    </a:cubicBezTo>
                    <a:cubicBezTo>
                      <a:pt x="74" y="7"/>
                      <a:pt x="72" y="7"/>
                      <a:pt x="69" y="7"/>
                    </a:cubicBezTo>
                    <a:cubicBezTo>
                      <a:pt x="64" y="8"/>
                      <a:pt x="60" y="8"/>
                      <a:pt x="55" y="8"/>
                    </a:cubicBezTo>
                    <a:cubicBezTo>
                      <a:pt x="55" y="8"/>
                      <a:pt x="55" y="8"/>
                      <a:pt x="55" y="8"/>
                    </a:cubicBezTo>
                    <a:cubicBezTo>
                      <a:pt x="54" y="8"/>
                      <a:pt x="53" y="8"/>
                      <a:pt x="52" y="8"/>
                    </a:cubicBezTo>
                    <a:cubicBezTo>
                      <a:pt x="48" y="7"/>
                      <a:pt x="45" y="6"/>
                      <a:pt x="42" y="4"/>
                    </a:cubicBezTo>
                    <a:cubicBezTo>
                      <a:pt x="41" y="4"/>
                      <a:pt x="41" y="4"/>
                      <a:pt x="41" y="4"/>
                    </a:cubicBezTo>
                    <a:cubicBezTo>
                      <a:pt x="40" y="3"/>
                      <a:pt x="39" y="3"/>
                      <a:pt x="38" y="2"/>
                    </a:cubicBezTo>
                    <a:cubicBezTo>
                      <a:pt x="37" y="2"/>
                      <a:pt x="37" y="2"/>
                      <a:pt x="37" y="2"/>
                    </a:cubicBezTo>
                    <a:cubicBezTo>
                      <a:pt x="36" y="1"/>
                      <a:pt x="36" y="1"/>
                      <a:pt x="35" y="1"/>
                    </a:cubicBezTo>
                    <a:cubicBezTo>
                      <a:pt x="35" y="1"/>
                      <a:pt x="34" y="1"/>
                      <a:pt x="32" y="0"/>
                    </a:cubicBezTo>
                    <a:cubicBezTo>
                      <a:pt x="32" y="0"/>
                      <a:pt x="32" y="0"/>
                      <a:pt x="32" y="0"/>
                    </a:cubicBezTo>
                    <a:cubicBezTo>
                      <a:pt x="31" y="0"/>
                      <a:pt x="30"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sp>
          <p:nvSpPr>
            <p:cNvPr id="6" name="Freeform 206">
              <a:extLst>
                <a:ext uri="{FF2B5EF4-FFF2-40B4-BE49-F238E27FC236}">
                  <a16:creationId xmlns:a16="http://schemas.microsoft.com/office/drawing/2014/main" id="{A16E5F5F-0FAE-4A4D-B0AC-715A9833DED7}"/>
                </a:ext>
              </a:extLst>
            </p:cNvPr>
            <p:cNvSpPr>
              <a:spLocks/>
            </p:cNvSpPr>
            <p:nvPr/>
          </p:nvSpPr>
          <p:spPr bwMode="auto">
            <a:xfrm>
              <a:off x="3363" y="1916"/>
              <a:ext cx="425" cy="295"/>
            </a:xfrm>
            <a:custGeom>
              <a:avLst/>
              <a:gdLst>
                <a:gd name="T0" fmla="*/ 107 w 180"/>
                <a:gd name="T1" fmla="*/ 3 h 125"/>
                <a:gd name="T2" fmla="*/ 94 w 180"/>
                <a:gd name="T3" fmla="*/ 11 h 125"/>
                <a:gd name="T4" fmla="*/ 82 w 180"/>
                <a:gd name="T5" fmla="*/ 16 h 125"/>
                <a:gd name="T6" fmla="*/ 76 w 180"/>
                <a:gd name="T7" fmla="*/ 21 h 125"/>
                <a:gd name="T8" fmla="*/ 72 w 180"/>
                <a:gd name="T9" fmla="*/ 20 h 125"/>
                <a:gd name="T10" fmla="*/ 60 w 180"/>
                <a:gd name="T11" fmla="*/ 31 h 125"/>
                <a:gd name="T12" fmla="*/ 53 w 180"/>
                <a:gd name="T13" fmla="*/ 33 h 125"/>
                <a:gd name="T14" fmla="*/ 53 w 180"/>
                <a:gd name="T15" fmla="*/ 43 h 125"/>
                <a:gd name="T16" fmla="*/ 48 w 180"/>
                <a:gd name="T17" fmla="*/ 44 h 125"/>
                <a:gd name="T18" fmla="*/ 43 w 180"/>
                <a:gd name="T19" fmla="*/ 45 h 125"/>
                <a:gd name="T20" fmla="*/ 33 w 180"/>
                <a:gd name="T21" fmla="*/ 39 h 125"/>
                <a:gd name="T22" fmla="*/ 30 w 180"/>
                <a:gd name="T23" fmla="*/ 52 h 125"/>
                <a:gd name="T24" fmla="*/ 26 w 180"/>
                <a:gd name="T25" fmla="*/ 64 h 125"/>
                <a:gd name="T26" fmla="*/ 17 w 180"/>
                <a:gd name="T27" fmla="*/ 72 h 125"/>
                <a:gd name="T28" fmla="*/ 4 w 180"/>
                <a:gd name="T29" fmla="*/ 76 h 125"/>
                <a:gd name="T30" fmla="*/ 0 w 180"/>
                <a:gd name="T31" fmla="*/ 95 h 125"/>
                <a:gd name="T32" fmla="*/ 0 w 180"/>
                <a:gd name="T33" fmla="*/ 106 h 125"/>
                <a:gd name="T34" fmla="*/ 8 w 180"/>
                <a:gd name="T35" fmla="*/ 111 h 125"/>
                <a:gd name="T36" fmla="*/ 16 w 180"/>
                <a:gd name="T37" fmla="*/ 122 h 125"/>
                <a:gd name="T38" fmla="*/ 36 w 180"/>
                <a:gd name="T39" fmla="*/ 117 h 125"/>
                <a:gd name="T40" fmla="*/ 45 w 180"/>
                <a:gd name="T41" fmla="*/ 117 h 125"/>
                <a:gd name="T42" fmla="*/ 54 w 180"/>
                <a:gd name="T43" fmla="*/ 121 h 125"/>
                <a:gd name="T44" fmla="*/ 55 w 180"/>
                <a:gd name="T45" fmla="*/ 105 h 125"/>
                <a:gd name="T46" fmla="*/ 57 w 180"/>
                <a:gd name="T47" fmla="*/ 89 h 125"/>
                <a:gd name="T48" fmla="*/ 76 w 180"/>
                <a:gd name="T49" fmla="*/ 92 h 125"/>
                <a:gd name="T50" fmla="*/ 107 w 180"/>
                <a:gd name="T51" fmla="*/ 92 h 125"/>
                <a:gd name="T52" fmla="*/ 111 w 180"/>
                <a:gd name="T53" fmla="*/ 92 h 125"/>
                <a:gd name="T54" fmla="*/ 114 w 180"/>
                <a:gd name="T55" fmla="*/ 91 h 125"/>
                <a:gd name="T56" fmla="*/ 119 w 180"/>
                <a:gd name="T57" fmla="*/ 89 h 125"/>
                <a:gd name="T58" fmla="*/ 125 w 180"/>
                <a:gd name="T59" fmla="*/ 89 h 125"/>
                <a:gd name="T60" fmla="*/ 146 w 180"/>
                <a:gd name="T61" fmla="*/ 91 h 125"/>
                <a:gd name="T62" fmla="*/ 154 w 180"/>
                <a:gd name="T63" fmla="*/ 85 h 125"/>
                <a:gd name="T64" fmla="*/ 164 w 180"/>
                <a:gd name="T65" fmla="*/ 81 h 125"/>
                <a:gd name="T66" fmla="*/ 172 w 180"/>
                <a:gd name="T67" fmla="*/ 81 h 125"/>
                <a:gd name="T68" fmla="*/ 180 w 180"/>
                <a:gd name="T69" fmla="*/ 74 h 125"/>
                <a:gd name="T70" fmla="*/ 174 w 180"/>
                <a:gd name="T71" fmla="*/ 66 h 125"/>
                <a:gd name="T72" fmla="*/ 173 w 180"/>
                <a:gd name="T73" fmla="*/ 60 h 125"/>
                <a:gd name="T74" fmla="*/ 176 w 180"/>
                <a:gd name="T75" fmla="*/ 58 h 125"/>
                <a:gd name="T76" fmla="*/ 167 w 180"/>
                <a:gd name="T77" fmla="*/ 59 h 125"/>
                <a:gd name="T78" fmla="*/ 158 w 180"/>
                <a:gd name="T79" fmla="*/ 54 h 125"/>
                <a:gd name="T80" fmla="*/ 149 w 180"/>
                <a:gd name="T81" fmla="*/ 49 h 125"/>
                <a:gd name="T82" fmla="*/ 147 w 180"/>
                <a:gd name="T83" fmla="*/ 47 h 125"/>
                <a:gd name="T84" fmla="*/ 149 w 180"/>
                <a:gd name="T85" fmla="*/ 37 h 125"/>
                <a:gd name="T86" fmla="*/ 138 w 180"/>
                <a:gd name="T87" fmla="*/ 31 h 125"/>
                <a:gd name="T88" fmla="*/ 132 w 180"/>
                <a:gd name="T89" fmla="*/ 18 h 125"/>
                <a:gd name="T90" fmla="*/ 125 w 180"/>
                <a:gd name="T91" fmla="*/ 1 h 125"/>
                <a:gd name="T92" fmla="*/ 119 w 180"/>
                <a:gd name="T93" fmla="*/ 0 h 125"/>
                <a:gd name="T94" fmla="*/ 114 w 180"/>
                <a:gd name="T95"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0" h="125">
                  <a:moveTo>
                    <a:pt x="111" y="0"/>
                  </a:moveTo>
                  <a:cubicBezTo>
                    <a:pt x="111" y="0"/>
                    <a:pt x="111" y="0"/>
                    <a:pt x="111" y="0"/>
                  </a:cubicBezTo>
                  <a:cubicBezTo>
                    <a:pt x="109" y="1"/>
                    <a:pt x="109" y="1"/>
                    <a:pt x="109" y="1"/>
                  </a:cubicBezTo>
                  <a:cubicBezTo>
                    <a:pt x="108" y="2"/>
                    <a:pt x="108" y="2"/>
                    <a:pt x="107" y="3"/>
                  </a:cubicBezTo>
                  <a:cubicBezTo>
                    <a:pt x="106" y="4"/>
                    <a:pt x="106" y="4"/>
                    <a:pt x="106" y="4"/>
                  </a:cubicBezTo>
                  <a:cubicBezTo>
                    <a:pt x="105" y="5"/>
                    <a:pt x="103" y="6"/>
                    <a:pt x="102" y="7"/>
                  </a:cubicBezTo>
                  <a:cubicBezTo>
                    <a:pt x="99" y="8"/>
                    <a:pt x="97" y="9"/>
                    <a:pt x="94" y="10"/>
                  </a:cubicBezTo>
                  <a:cubicBezTo>
                    <a:pt x="94" y="11"/>
                    <a:pt x="94" y="11"/>
                    <a:pt x="94" y="11"/>
                  </a:cubicBezTo>
                  <a:cubicBezTo>
                    <a:pt x="93" y="11"/>
                    <a:pt x="92" y="11"/>
                    <a:pt x="91" y="12"/>
                  </a:cubicBezTo>
                  <a:cubicBezTo>
                    <a:pt x="90" y="12"/>
                    <a:pt x="90" y="12"/>
                    <a:pt x="90" y="12"/>
                  </a:cubicBezTo>
                  <a:cubicBezTo>
                    <a:pt x="88" y="13"/>
                    <a:pt x="86" y="14"/>
                    <a:pt x="84" y="14"/>
                  </a:cubicBezTo>
                  <a:cubicBezTo>
                    <a:pt x="83" y="15"/>
                    <a:pt x="83" y="15"/>
                    <a:pt x="82" y="16"/>
                  </a:cubicBezTo>
                  <a:cubicBezTo>
                    <a:pt x="82" y="17"/>
                    <a:pt x="82" y="18"/>
                    <a:pt x="81" y="19"/>
                  </a:cubicBezTo>
                  <a:cubicBezTo>
                    <a:pt x="81" y="20"/>
                    <a:pt x="80" y="20"/>
                    <a:pt x="79" y="21"/>
                  </a:cubicBezTo>
                  <a:cubicBezTo>
                    <a:pt x="78" y="21"/>
                    <a:pt x="78" y="21"/>
                    <a:pt x="77" y="21"/>
                  </a:cubicBezTo>
                  <a:cubicBezTo>
                    <a:pt x="77" y="21"/>
                    <a:pt x="76" y="21"/>
                    <a:pt x="76" y="21"/>
                  </a:cubicBezTo>
                  <a:cubicBezTo>
                    <a:pt x="76" y="21"/>
                    <a:pt x="75" y="21"/>
                    <a:pt x="75" y="21"/>
                  </a:cubicBezTo>
                  <a:cubicBezTo>
                    <a:pt x="74" y="21"/>
                    <a:pt x="74" y="21"/>
                    <a:pt x="74" y="21"/>
                  </a:cubicBezTo>
                  <a:cubicBezTo>
                    <a:pt x="74" y="21"/>
                    <a:pt x="73" y="21"/>
                    <a:pt x="73" y="20"/>
                  </a:cubicBezTo>
                  <a:cubicBezTo>
                    <a:pt x="72" y="20"/>
                    <a:pt x="72" y="20"/>
                    <a:pt x="72" y="20"/>
                  </a:cubicBezTo>
                  <a:cubicBezTo>
                    <a:pt x="71" y="20"/>
                    <a:pt x="70" y="20"/>
                    <a:pt x="69" y="20"/>
                  </a:cubicBezTo>
                  <a:cubicBezTo>
                    <a:pt x="66" y="20"/>
                    <a:pt x="64" y="23"/>
                    <a:pt x="62" y="26"/>
                  </a:cubicBezTo>
                  <a:cubicBezTo>
                    <a:pt x="60" y="30"/>
                    <a:pt x="60" y="30"/>
                    <a:pt x="60" y="30"/>
                  </a:cubicBezTo>
                  <a:cubicBezTo>
                    <a:pt x="60" y="30"/>
                    <a:pt x="60" y="31"/>
                    <a:pt x="60" y="31"/>
                  </a:cubicBezTo>
                  <a:cubicBezTo>
                    <a:pt x="59" y="33"/>
                    <a:pt x="58" y="34"/>
                    <a:pt x="56" y="34"/>
                  </a:cubicBezTo>
                  <a:cubicBezTo>
                    <a:pt x="55" y="34"/>
                    <a:pt x="55" y="34"/>
                    <a:pt x="54" y="34"/>
                  </a:cubicBezTo>
                  <a:cubicBezTo>
                    <a:pt x="53" y="34"/>
                    <a:pt x="53" y="34"/>
                    <a:pt x="53" y="34"/>
                  </a:cubicBezTo>
                  <a:cubicBezTo>
                    <a:pt x="53" y="33"/>
                    <a:pt x="53" y="33"/>
                    <a:pt x="53" y="33"/>
                  </a:cubicBezTo>
                  <a:cubicBezTo>
                    <a:pt x="53" y="35"/>
                    <a:pt x="53" y="36"/>
                    <a:pt x="53" y="37"/>
                  </a:cubicBezTo>
                  <a:cubicBezTo>
                    <a:pt x="53" y="38"/>
                    <a:pt x="53" y="38"/>
                    <a:pt x="53" y="38"/>
                  </a:cubicBezTo>
                  <a:cubicBezTo>
                    <a:pt x="53" y="38"/>
                    <a:pt x="53" y="39"/>
                    <a:pt x="53" y="40"/>
                  </a:cubicBezTo>
                  <a:cubicBezTo>
                    <a:pt x="53" y="43"/>
                    <a:pt x="53" y="43"/>
                    <a:pt x="53" y="43"/>
                  </a:cubicBezTo>
                  <a:cubicBezTo>
                    <a:pt x="50" y="43"/>
                    <a:pt x="50" y="43"/>
                    <a:pt x="50" y="43"/>
                  </a:cubicBezTo>
                  <a:cubicBezTo>
                    <a:pt x="49" y="43"/>
                    <a:pt x="49" y="43"/>
                    <a:pt x="49" y="43"/>
                  </a:cubicBezTo>
                  <a:cubicBezTo>
                    <a:pt x="48" y="44"/>
                    <a:pt x="48" y="44"/>
                    <a:pt x="48" y="44"/>
                  </a:cubicBezTo>
                  <a:cubicBezTo>
                    <a:pt x="48" y="44"/>
                    <a:pt x="48" y="44"/>
                    <a:pt x="48" y="44"/>
                  </a:cubicBezTo>
                  <a:cubicBezTo>
                    <a:pt x="48" y="45"/>
                    <a:pt x="48" y="45"/>
                    <a:pt x="48" y="45"/>
                  </a:cubicBezTo>
                  <a:cubicBezTo>
                    <a:pt x="48" y="45"/>
                    <a:pt x="48" y="45"/>
                    <a:pt x="48" y="45"/>
                  </a:cubicBezTo>
                  <a:cubicBezTo>
                    <a:pt x="47" y="45"/>
                    <a:pt x="46" y="46"/>
                    <a:pt x="45" y="46"/>
                  </a:cubicBezTo>
                  <a:cubicBezTo>
                    <a:pt x="44" y="46"/>
                    <a:pt x="44" y="45"/>
                    <a:pt x="43" y="45"/>
                  </a:cubicBezTo>
                  <a:cubicBezTo>
                    <a:pt x="43" y="45"/>
                    <a:pt x="43" y="45"/>
                    <a:pt x="43" y="45"/>
                  </a:cubicBezTo>
                  <a:cubicBezTo>
                    <a:pt x="42" y="45"/>
                    <a:pt x="42" y="45"/>
                    <a:pt x="42" y="44"/>
                  </a:cubicBezTo>
                  <a:cubicBezTo>
                    <a:pt x="41" y="44"/>
                    <a:pt x="41" y="44"/>
                    <a:pt x="41" y="44"/>
                  </a:cubicBezTo>
                  <a:cubicBezTo>
                    <a:pt x="38" y="42"/>
                    <a:pt x="35" y="41"/>
                    <a:pt x="33" y="39"/>
                  </a:cubicBezTo>
                  <a:cubicBezTo>
                    <a:pt x="33" y="39"/>
                    <a:pt x="33" y="39"/>
                    <a:pt x="33" y="39"/>
                  </a:cubicBezTo>
                  <a:cubicBezTo>
                    <a:pt x="32" y="41"/>
                    <a:pt x="30" y="43"/>
                    <a:pt x="29" y="46"/>
                  </a:cubicBezTo>
                  <a:cubicBezTo>
                    <a:pt x="30" y="46"/>
                    <a:pt x="30" y="47"/>
                    <a:pt x="30" y="49"/>
                  </a:cubicBezTo>
                  <a:cubicBezTo>
                    <a:pt x="30" y="52"/>
                    <a:pt x="30" y="52"/>
                    <a:pt x="30" y="52"/>
                  </a:cubicBezTo>
                  <a:cubicBezTo>
                    <a:pt x="30" y="53"/>
                    <a:pt x="29" y="55"/>
                    <a:pt x="26" y="56"/>
                  </a:cubicBezTo>
                  <a:cubicBezTo>
                    <a:pt x="26" y="56"/>
                    <a:pt x="25" y="56"/>
                    <a:pt x="25" y="56"/>
                  </a:cubicBezTo>
                  <a:cubicBezTo>
                    <a:pt x="25" y="58"/>
                    <a:pt x="26" y="60"/>
                    <a:pt x="26" y="62"/>
                  </a:cubicBezTo>
                  <a:cubicBezTo>
                    <a:pt x="26" y="62"/>
                    <a:pt x="26" y="63"/>
                    <a:pt x="26" y="64"/>
                  </a:cubicBezTo>
                  <a:cubicBezTo>
                    <a:pt x="26" y="64"/>
                    <a:pt x="26" y="65"/>
                    <a:pt x="25" y="66"/>
                  </a:cubicBezTo>
                  <a:cubicBezTo>
                    <a:pt x="25" y="66"/>
                    <a:pt x="24" y="66"/>
                    <a:pt x="24" y="67"/>
                  </a:cubicBezTo>
                  <a:cubicBezTo>
                    <a:pt x="24" y="67"/>
                    <a:pt x="24" y="67"/>
                    <a:pt x="24" y="67"/>
                  </a:cubicBezTo>
                  <a:cubicBezTo>
                    <a:pt x="22" y="69"/>
                    <a:pt x="20" y="71"/>
                    <a:pt x="17" y="72"/>
                  </a:cubicBezTo>
                  <a:cubicBezTo>
                    <a:pt x="15" y="73"/>
                    <a:pt x="14" y="73"/>
                    <a:pt x="12" y="74"/>
                  </a:cubicBezTo>
                  <a:cubicBezTo>
                    <a:pt x="11" y="74"/>
                    <a:pt x="10" y="74"/>
                    <a:pt x="9" y="74"/>
                  </a:cubicBezTo>
                  <a:cubicBezTo>
                    <a:pt x="8" y="74"/>
                    <a:pt x="8" y="75"/>
                    <a:pt x="7" y="75"/>
                  </a:cubicBezTo>
                  <a:cubicBezTo>
                    <a:pt x="4" y="76"/>
                    <a:pt x="4" y="76"/>
                    <a:pt x="4" y="76"/>
                  </a:cubicBezTo>
                  <a:cubicBezTo>
                    <a:pt x="4" y="76"/>
                    <a:pt x="4" y="76"/>
                    <a:pt x="4" y="76"/>
                  </a:cubicBezTo>
                  <a:cubicBezTo>
                    <a:pt x="6" y="79"/>
                    <a:pt x="7" y="83"/>
                    <a:pt x="6" y="87"/>
                  </a:cubicBezTo>
                  <a:cubicBezTo>
                    <a:pt x="6" y="88"/>
                    <a:pt x="6" y="88"/>
                    <a:pt x="6" y="88"/>
                  </a:cubicBezTo>
                  <a:cubicBezTo>
                    <a:pt x="5" y="91"/>
                    <a:pt x="4" y="93"/>
                    <a:pt x="0" y="95"/>
                  </a:cubicBezTo>
                  <a:cubicBezTo>
                    <a:pt x="0" y="96"/>
                    <a:pt x="0" y="97"/>
                    <a:pt x="0" y="98"/>
                  </a:cubicBezTo>
                  <a:cubicBezTo>
                    <a:pt x="0" y="100"/>
                    <a:pt x="1" y="101"/>
                    <a:pt x="1" y="102"/>
                  </a:cubicBezTo>
                  <a:cubicBezTo>
                    <a:pt x="1" y="102"/>
                    <a:pt x="0" y="104"/>
                    <a:pt x="0" y="105"/>
                  </a:cubicBezTo>
                  <a:cubicBezTo>
                    <a:pt x="0" y="106"/>
                    <a:pt x="0" y="106"/>
                    <a:pt x="0" y="106"/>
                  </a:cubicBezTo>
                  <a:cubicBezTo>
                    <a:pt x="0" y="107"/>
                    <a:pt x="1" y="107"/>
                    <a:pt x="1" y="107"/>
                  </a:cubicBezTo>
                  <a:cubicBezTo>
                    <a:pt x="2" y="107"/>
                    <a:pt x="3" y="108"/>
                    <a:pt x="4" y="108"/>
                  </a:cubicBezTo>
                  <a:cubicBezTo>
                    <a:pt x="4" y="108"/>
                    <a:pt x="4" y="108"/>
                    <a:pt x="4" y="108"/>
                  </a:cubicBezTo>
                  <a:cubicBezTo>
                    <a:pt x="6" y="109"/>
                    <a:pt x="7" y="109"/>
                    <a:pt x="8" y="111"/>
                  </a:cubicBezTo>
                  <a:cubicBezTo>
                    <a:pt x="9" y="112"/>
                    <a:pt x="10" y="112"/>
                    <a:pt x="10" y="113"/>
                  </a:cubicBezTo>
                  <a:cubicBezTo>
                    <a:pt x="11" y="116"/>
                    <a:pt x="11" y="116"/>
                    <a:pt x="11" y="116"/>
                  </a:cubicBezTo>
                  <a:cubicBezTo>
                    <a:pt x="12" y="119"/>
                    <a:pt x="13" y="121"/>
                    <a:pt x="15" y="122"/>
                  </a:cubicBezTo>
                  <a:cubicBezTo>
                    <a:pt x="15" y="122"/>
                    <a:pt x="16" y="122"/>
                    <a:pt x="16" y="122"/>
                  </a:cubicBezTo>
                  <a:cubicBezTo>
                    <a:pt x="17" y="122"/>
                    <a:pt x="17" y="122"/>
                    <a:pt x="17" y="122"/>
                  </a:cubicBezTo>
                  <a:cubicBezTo>
                    <a:pt x="20" y="124"/>
                    <a:pt x="22" y="124"/>
                    <a:pt x="24" y="125"/>
                  </a:cubicBezTo>
                  <a:cubicBezTo>
                    <a:pt x="26" y="122"/>
                    <a:pt x="30" y="120"/>
                    <a:pt x="33" y="118"/>
                  </a:cubicBezTo>
                  <a:cubicBezTo>
                    <a:pt x="34" y="118"/>
                    <a:pt x="35" y="118"/>
                    <a:pt x="36" y="117"/>
                  </a:cubicBezTo>
                  <a:cubicBezTo>
                    <a:pt x="38" y="117"/>
                    <a:pt x="40" y="117"/>
                    <a:pt x="42" y="117"/>
                  </a:cubicBezTo>
                  <a:cubicBezTo>
                    <a:pt x="43" y="117"/>
                    <a:pt x="43" y="117"/>
                    <a:pt x="43" y="117"/>
                  </a:cubicBezTo>
                  <a:cubicBezTo>
                    <a:pt x="44" y="117"/>
                    <a:pt x="44" y="117"/>
                    <a:pt x="44" y="117"/>
                  </a:cubicBezTo>
                  <a:cubicBezTo>
                    <a:pt x="44" y="117"/>
                    <a:pt x="45" y="117"/>
                    <a:pt x="45" y="117"/>
                  </a:cubicBezTo>
                  <a:cubicBezTo>
                    <a:pt x="47" y="117"/>
                    <a:pt x="47" y="117"/>
                    <a:pt x="47" y="117"/>
                  </a:cubicBezTo>
                  <a:cubicBezTo>
                    <a:pt x="47" y="117"/>
                    <a:pt x="47" y="117"/>
                    <a:pt x="47" y="117"/>
                  </a:cubicBezTo>
                  <a:cubicBezTo>
                    <a:pt x="48" y="117"/>
                    <a:pt x="48" y="117"/>
                    <a:pt x="49" y="117"/>
                  </a:cubicBezTo>
                  <a:cubicBezTo>
                    <a:pt x="53" y="118"/>
                    <a:pt x="54" y="120"/>
                    <a:pt x="54" y="121"/>
                  </a:cubicBezTo>
                  <a:cubicBezTo>
                    <a:pt x="54" y="121"/>
                    <a:pt x="55" y="122"/>
                    <a:pt x="56" y="122"/>
                  </a:cubicBezTo>
                  <a:cubicBezTo>
                    <a:pt x="57" y="123"/>
                    <a:pt x="57" y="123"/>
                    <a:pt x="58" y="124"/>
                  </a:cubicBezTo>
                  <a:cubicBezTo>
                    <a:pt x="58" y="123"/>
                    <a:pt x="58" y="122"/>
                    <a:pt x="58" y="122"/>
                  </a:cubicBezTo>
                  <a:cubicBezTo>
                    <a:pt x="58" y="116"/>
                    <a:pt x="56" y="109"/>
                    <a:pt x="55" y="105"/>
                  </a:cubicBezTo>
                  <a:cubicBezTo>
                    <a:pt x="55" y="104"/>
                    <a:pt x="55" y="104"/>
                    <a:pt x="55" y="104"/>
                  </a:cubicBezTo>
                  <a:cubicBezTo>
                    <a:pt x="54" y="101"/>
                    <a:pt x="55" y="98"/>
                    <a:pt x="56" y="96"/>
                  </a:cubicBezTo>
                  <a:cubicBezTo>
                    <a:pt x="56" y="95"/>
                    <a:pt x="57" y="95"/>
                    <a:pt x="57" y="95"/>
                  </a:cubicBezTo>
                  <a:cubicBezTo>
                    <a:pt x="57" y="89"/>
                    <a:pt x="57" y="89"/>
                    <a:pt x="57" y="89"/>
                  </a:cubicBezTo>
                  <a:cubicBezTo>
                    <a:pt x="61" y="92"/>
                    <a:pt x="61" y="92"/>
                    <a:pt x="61" y="92"/>
                  </a:cubicBezTo>
                  <a:cubicBezTo>
                    <a:pt x="62" y="92"/>
                    <a:pt x="64" y="92"/>
                    <a:pt x="69" y="92"/>
                  </a:cubicBezTo>
                  <a:cubicBezTo>
                    <a:pt x="70" y="92"/>
                    <a:pt x="72" y="92"/>
                    <a:pt x="73" y="92"/>
                  </a:cubicBezTo>
                  <a:cubicBezTo>
                    <a:pt x="74" y="92"/>
                    <a:pt x="75" y="92"/>
                    <a:pt x="76" y="92"/>
                  </a:cubicBezTo>
                  <a:cubicBezTo>
                    <a:pt x="76" y="92"/>
                    <a:pt x="76" y="92"/>
                    <a:pt x="76" y="92"/>
                  </a:cubicBezTo>
                  <a:cubicBezTo>
                    <a:pt x="84" y="92"/>
                    <a:pt x="91" y="91"/>
                    <a:pt x="97" y="91"/>
                  </a:cubicBezTo>
                  <a:cubicBezTo>
                    <a:pt x="100" y="91"/>
                    <a:pt x="104" y="91"/>
                    <a:pt x="106" y="92"/>
                  </a:cubicBezTo>
                  <a:cubicBezTo>
                    <a:pt x="107" y="92"/>
                    <a:pt x="107" y="92"/>
                    <a:pt x="107" y="92"/>
                  </a:cubicBezTo>
                  <a:cubicBezTo>
                    <a:pt x="108" y="92"/>
                    <a:pt x="108" y="92"/>
                    <a:pt x="109" y="92"/>
                  </a:cubicBezTo>
                  <a:cubicBezTo>
                    <a:pt x="109" y="92"/>
                    <a:pt x="109" y="92"/>
                    <a:pt x="110" y="92"/>
                  </a:cubicBezTo>
                  <a:cubicBezTo>
                    <a:pt x="110" y="92"/>
                    <a:pt x="110" y="92"/>
                    <a:pt x="110" y="92"/>
                  </a:cubicBezTo>
                  <a:cubicBezTo>
                    <a:pt x="111" y="92"/>
                    <a:pt x="111" y="92"/>
                    <a:pt x="111" y="92"/>
                  </a:cubicBezTo>
                  <a:cubicBezTo>
                    <a:pt x="112" y="92"/>
                    <a:pt x="112" y="92"/>
                    <a:pt x="112" y="92"/>
                  </a:cubicBezTo>
                  <a:cubicBezTo>
                    <a:pt x="113" y="92"/>
                    <a:pt x="113" y="92"/>
                    <a:pt x="113" y="92"/>
                  </a:cubicBezTo>
                  <a:cubicBezTo>
                    <a:pt x="114" y="92"/>
                    <a:pt x="114" y="92"/>
                    <a:pt x="114" y="92"/>
                  </a:cubicBezTo>
                  <a:cubicBezTo>
                    <a:pt x="114" y="91"/>
                    <a:pt x="114" y="91"/>
                    <a:pt x="114" y="91"/>
                  </a:cubicBezTo>
                  <a:cubicBezTo>
                    <a:pt x="115" y="91"/>
                    <a:pt x="115" y="91"/>
                    <a:pt x="115" y="91"/>
                  </a:cubicBezTo>
                  <a:cubicBezTo>
                    <a:pt x="115" y="90"/>
                    <a:pt x="116" y="90"/>
                    <a:pt x="116" y="90"/>
                  </a:cubicBezTo>
                  <a:cubicBezTo>
                    <a:pt x="117" y="90"/>
                    <a:pt x="117" y="90"/>
                    <a:pt x="117" y="90"/>
                  </a:cubicBezTo>
                  <a:cubicBezTo>
                    <a:pt x="117" y="89"/>
                    <a:pt x="118" y="89"/>
                    <a:pt x="119" y="89"/>
                  </a:cubicBezTo>
                  <a:cubicBezTo>
                    <a:pt x="119" y="89"/>
                    <a:pt x="119" y="89"/>
                    <a:pt x="119" y="89"/>
                  </a:cubicBezTo>
                  <a:cubicBezTo>
                    <a:pt x="120" y="89"/>
                    <a:pt x="121" y="88"/>
                    <a:pt x="122" y="88"/>
                  </a:cubicBezTo>
                  <a:cubicBezTo>
                    <a:pt x="122" y="88"/>
                    <a:pt x="122" y="88"/>
                    <a:pt x="122" y="88"/>
                  </a:cubicBezTo>
                  <a:cubicBezTo>
                    <a:pt x="123" y="88"/>
                    <a:pt x="124" y="89"/>
                    <a:pt x="125" y="89"/>
                  </a:cubicBezTo>
                  <a:cubicBezTo>
                    <a:pt x="125" y="89"/>
                    <a:pt x="125" y="89"/>
                    <a:pt x="125" y="89"/>
                  </a:cubicBezTo>
                  <a:cubicBezTo>
                    <a:pt x="125" y="89"/>
                    <a:pt x="125" y="89"/>
                    <a:pt x="125" y="89"/>
                  </a:cubicBezTo>
                  <a:cubicBezTo>
                    <a:pt x="131" y="90"/>
                    <a:pt x="137" y="91"/>
                    <a:pt x="142" y="92"/>
                  </a:cubicBezTo>
                  <a:cubicBezTo>
                    <a:pt x="146" y="91"/>
                    <a:pt x="146" y="91"/>
                    <a:pt x="146" y="91"/>
                  </a:cubicBezTo>
                  <a:cubicBezTo>
                    <a:pt x="147" y="89"/>
                    <a:pt x="147" y="89"/>
                    <a:pt x="147" y="89"/>
                  </a:cubicBezTo>
                  <a:cubicBezTo>
                    <a:pt x="149" y="91"/>
                    <a:pt x="149" y="91"/>
                    <a:pt x="149" y="91"/>
                  </a:cubicBezTo>
                  <a:cubicBezTo>
                    <a:pt x="149" y="90"/>
                    <a:pt x="149" y="90"/>
                    <a:pt x="150" y="89"/>
                  </a:cubicBezTo>
                  <a:cubicBezTo>
                    <a:pt x="151" y="87"/>
                    <a:pt x="153" y="86"/>
                    <a:pt x="154" y="85"/>
                  </a:cubicBezTo>
                  <a:cubicBezTo>
                    <a:pt x="155" y="83"/>
                    <a:pt x="157" y="82"/>
                    <a:pt x="159" y="81"/>
                  </a:cubicBezTo>
                  <a:cubicBezTo>
                    <a:pt x="160" y="81"/>
                    <a:pt x="160" y="81"/>
                    <a:pt x="161" y="81"/>
                  </a:cubicBezTo>
                  <a:cubicBezTo>
                    <a:pt x="162" y="81"/>
                    <a:pt x="163" y="81"/>
                    <a:pt x="164" y="81"/>
                  </a:cubicBezTo>
                  <a:cubicBezTo>
                    <a:pt x="164" y="81"/>
                    <a:pt x="164" y="81"/>
                    <a:pt x="164" y="81"/>
                  </a:cubicBezTo>
                  <a:cubicBezTo>
                    <a:pt x="165" y="81"/>
                    <a:pt x="166" y="81"/>
                    <a:pt x="167" y="81"/>
                  </a:cubicBezTo>
                  <a:cubicBezTo>
                    <a:pt x="168" y="81"/>
                    <a:pt x="169" y="81"/>
                    <a:pt x="169" y="81"/>
                  </a:cubicBezTo>
                  <a:cubicBezTo>
                    <a:pt x="170" y="81"/>
                    <a:pt x="170" y="81"/>
                    <a:pt x="170" y="81"/>
                  </a:cubicBezTo>
                  <a:cubicBezTo>
                    <a:pt x="171" y="81"/>
                    <a:pt x="171" y="81"/>
                    <a:pt x="172" y="81"/>
                  </a:cubicBezTo>
                  <a:cubicBezTo>
                    <a:pt x="172" y="81"/>
                    <a:pt x="172" y="81"/>
                    <a:pt x="172" y="81"/>
                  </a:cubicBezTo>
                  <a:cubicBezTo>
                    <a:pt x="173" y="81"/>
                    <a:pt x="173" y="81"/>
                    <a:pt x="173" y="81"/>
                  </a:cubicBezTo>
                  <a:cubicBezTo>
                    <a:pt x="174" y="81"/>
                    <a:pt x="175" y="80"/>
                    <a:pt x="177" y="79"/>
                  </a:cubicBezTo>
                  <a:cubicBezTo>
                    <a:pt x="177" y="78"/>
                    <a:pt x="179" y="76"/>
                    <a:pt x="180" y="74"/>
                  </a:cubicBezTo>
                  <a:cubicBezTo>
                    <a:pt x="180" y="74"/>
                    <a:pt x="180" y="74"/>
                    <a:pt x="180" y="74"/>
                  </a:cubicBezTo>
                  <a:cubicBezTo>
                    <a:pt x="179" y="73"/>
                    <a:pt x="178" y="72"/>
                    <a:pt x="177" y="71"/>
                  </a:cubicBezTo>
                  <a:cubicBezTo>
                    <a:pt x="177" y="70"/>
                    <a:pt x="177" y="70"/>
                    <a:pt x="177" y="70"/>
                  </a:cubicBezTo>
                  <a:cubicBezTo>
                    <a:pt x="176" y="69"/>
                    <a:pt x="175" y="68"/>
                    <a:pt x="174" y="66"/>
                  </a:cubicBezTo>
                  <a:cubicBezTo>
                    <a:pt x="174" y="66"/>
                    <a:pt x="174" y="66"/>
                    <a:pt x="174" y="66"/>
                  </a:cubicBezTo>
                  <a:cubicBezTo>
                    <a:pt x="173" y="65"/>
                    <a:pt x="173" y="65"/>
                    <a:pt x="172" y="64"/>
                  </a:cubicBezTo>
                  <a:cubicBezTo>
                    <a:pt x="171" y="62"/>
                    <a:pt x="171" y="62"/>
                    <a:pt x="171" y="62"/>
                  </a:cubicBezTo>
                  <a:cubicBezTo>
                    <a:pt x="173" y="60"/>
                    <a:pt x="173" y="60"/>
                    <a:pt x="173" y="60"/>
                  </a:cubicBezTo>
                  <a:cubicBezTo>
                    <a:pt x="173" y="60"/>
                    <a:pt x="174" y="59"/>
                    <a:pt x="174" y="59"/>
                  </a:cubicBezTo>
                  <a:cubicBezTo>
                    <a:pt x="175" y="59"/>
                    <a:pt x="175" y="59"/>
                    <a:pt x="175" y="59"/>
                  </a:cubicBezTo>
                  <a:cubicBezTo>
                    <a:pt x="176" y="58"/>
                    <a:pt x="176" y="58"/>
                    <a:pt x="176" y="58"/>
                  </a:cubicBezTo>
                  <a:cubicBezTo>
                    <a:pt x="176" y="58"/>
                    <a:pt x="176" y="58"/>
                    <a:pt x="176" y="58"/>
                  </a:cubicBezTo>
                  <a:cubicBezTo>
                    <a:pt x="175" y="57"/>
                    <a:pt x="175" y="57"/>
                    <a:pt x="175" y="57"/>
                  </a:cubicBezTo>
                  <a:cubicBezTo>
                    <a:pt x="174" y="58"/>
                    <a:pt x="172" y="58"/>
                    <a:pt x="171" y="58"/>
                  </a:cubicBezTo>
                  <a:cubicBezTo>
                    <a:pt x="168" y="59"/>
                    <a:pt x="168" y="59"/>
                    <a:pt x="168" y="59"/>
                  </a:cubicBezTo>
                  <a:cubicBezTo>
                    <a:pt x="168" y="59"/>
                    <a:pt x="168" y="59"/>
                    <a:pt x="167" y="59"/>
                  </a:cubicBezTo>
                  <a:cubicBezTo>
                    <a:pt x="165" y="59"/>
                    <a:pt x="163" y="58"/>
                    <a:pt x="161" y="56"/>
                  </a:cubicBezTo>
                  <a:cubicBezTo>
                    <a:pt x="161" y="56"/>
                    <a:pt x="160" y="55"/>
                    <a:pt x="160" y="55"/>
                  </a:cubicBezTo>
                  <a:cubicBezTo>
                    <a:pt x="160" y="55"/>
                    <a:pt x="159" y="55"/>
                    <a:pt x="158" y="55"/>
                  </a:cubicBezTo>
                  <a:cubicBezTo>
                    <a:pt x="158" y="54"/>
                    <a:pt x="158" y="54"/>
                    <a:pt x="158" y="54"/>
                  </a:cubicBezTo>
                  <a:cubicBezTo>
                    <a:pt x="156" y="53"/>
                    <a:pt x="153" y="52"/>
                    <a:pt x="151" y="51"/>
                  </a:cubicBezTo>
                  <a:cubicBezTo>
                    <a:pt x="151" y="50"/>
                    <a:pt x="150" y="50"/>
                    <a:pt x="150" y="50"/>
                  </a:cubicBezTo>
                  <a:cubicBezTo>
                    <a:pt x="147" y="53"/>
                    <a:pt x="147" y="53"/>
                    <a:pt x="147" y="53"/>
                  </a:cubicBezTo>
                  <a:cubicBezTo>
                    <a:pt x="149" y="49"/>
                    <a:pt x="149" y="49"/>
                    <a:pt x="149" y="49"/>
                  </a:cubicBezTo>
                  <a:cubicBezTo>
                    <a:pt x="149" y="49"/>
                    <a:pt x="149" y="49"/>
                    <a:pt x="149" y="49"/>
                  </a:cubicBezTo>
                  <a:cubicBezTo>
                    <a:pt x="148" y="48"/>
                    <a:pt x="148" y="48"/>
                    <a:pt x="148" y="48"/>
                  </a:cubicBezTo>
                  <a:cubicBezTo>
                    <a:pt x="144" y="50"/>
                    <a:pt x="144" y="50"/>
                    <a:pt x="144" y="50"/>
                  </a:cubicBezTo>
                  <a:cubicBezTo>
                    <a:pt x="147" y="47"/>
                    <a:pt x="147" y="47"/>
                    <a:pt x="147" y="47"/>
                  </a:cubicBezTo>
                  <a:cubicBezTo>
                    <a:pt x="147" y="47"/>
                    <a:pt x="147" y="47"/>
                    <a:pt x="147" y="47"/>
                  </a:cubicBezTo>
                  <a:cubicBezTo>
                    <a:pt x="147" y="46"/>
                    <a:pt x="147" y="46"/>
                    <a:pt x="147" y="46"/>
                  </a:cubicBezTo>
                  <a:cubicBezTo>
                    <a:pt x="146" y="44"/>
                    <a:pt x="146" y="42"/>
                    <a:pt x="147" y="40"/>
                  </a:cubicBezTo>
                  <a:cubicBezTo>
                    <a:pt x="148" y="39"/>
                    <a:pt x="148" y="38"/>
                    <a:pt x="149" y="37"/>
                  </a:cubicBezTo>
                  <a:cubicBezTo>
                    <a:pt x="148" y="36"/>
                    <a:pt x="146" y="35"/>
                    <a:pt x="145" y="35"/>
                  </a:cubicBezTo>
                  <a:cubicBezTo>
                    <a:pt x="144" y="35"/>
                    <a:pt x="144" y="35"/>
                    <a:pt x="144" y="35"/>
                  </a:cubicBezTo>
                  <a:cubicBezTo>
                    <a:pt x="142" y="34"/>
                    <a:pt x="140" y="34"/>
                    <a:pt x="139" y="33"/>
                  </a:cubicBezTo>
                  <a:cubicBezTo>
                    <a:pt x="138" y="32"/>
                    <a:pt x="138" y="32"/>
                    <a:pt x="138" y="31"/>
                  </a:cubicBezTo>
                  <a:cubicBezTo>
                    <a:pt x="137" y="31"/>
                    <a:pt x="137" y="31"/>
                    <a:pt x="137" y="31"/>
                  </a:cubicBezTo>
                  <a:cubicBezTo>
                    <a:pt x="136" y="29"/>
                    <a:pt x="135" y="27"/>
                    <a:pt x="135" y="25"/>
                  </a:cubicBezTo>
                  <a:cubicBezTo>
                    <a:pt x="135" y="24"/>
                    <a:pt x="134" y="22"/>
                    <a:pt x="134" y="21"/>
                  </a:cubicBezTo>
                  <a:cubicBezTo>
                    <a:pt x="133" y="20"/>
                    <a:pt x="133" y="19"/>
                    <a:pt x="132" y="18"/>
                  </a:cubicBezTo>
                  <a:cubicBezTo>
                    <a:pt x="130" y="16"/>
                    <a:pt x="129" y="14"/>
                    <a:pt x="129" y="13"/>
                  </a:cubicBezTo>
                  <a:cubicBezTo>
                    <a:pt x="129" y="3"/>
                    <a:pt x="129" y="3"/>
                    <a:pt x="129" y="3"/>
                  </a:cubicBezTo>
                  <a:cubicBezTo>
                    <a:pt x="127" y="2"/>
                    <a:pt x="127" y="2"/>
                    <a:pt x="127" y="2"/>
                  </a:cubicBezTo>
                  <a:cubicBezTo>
                    <a:pt x="125" y="1"/>
                    <a:pt x="125" y="1"/>
                    <a:pt x="125" y="1"/>
                  </a:cubicBezTo>
                  <a:cubicBezTo>
                    <a:pt x="125" y="1"/>
                    <a:pt x="124" y="1"/>
                    <a:pt x="124" y="1"/>
                  </a:cubicBezTo>
                  <a:cubicBezTo>
                    <a:pt x="123" y="1"/>
                    <a:pt x="123" y="1"/>
                    <a:pt x="123" y="1"/>
                  </a:cubicBezTo>
                  <a:cubicBezTo>
                    <a:pt x="123" y="1"/>
                    <a:pt x="122" y="1"/>
                    <a:pt x="122" y="1"/>
                  </a:cubicBezTo>
                  <a:cubicBezTo>
                    <a:pt x="121" y="1"/>
                    <a:pt x="120" y="0"/>
                    <a:pt x="119" y="0"/>
                  </a:cubicBezTo>
                  <a:cubicBezTo>
                    <a:pt x="118" y="0"/>
                    <a:pt x="118" y="0"/>
                    <a:pt x="118" y="0"/>
                  </a:cubicBezTo>
                  <a:cubicBezTo>
                    <a:pt x="117" y="0"/>
                    <a:pt x="116" y="0"/>
                    <a:pt x="115" y="0"/>
                  </a:cubicBezTo>
                  <a:cubicBezTo>
                    <a:pt x="115" y="0"/>
                    <a:pt x="115" y="0"/>
                    <a:pt x="114" y="0"/>
                  </a:cubicBezTo>
                  <a:cubicBezTo>
                    <a:pt x="114" y="0"/>
                    <a:pt x="114" y="0"/>
                    <a:pt x="114" y="0"/>
                  </a:cubicBezTo>
                  <a:cubicBezTo>
                    <a:pt x="113" y="0"/>
                    <a:pt x="112" y="0"/>
                    <a:pt x="1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 name="Rectangle 207">
              <a:extLst>
                <a:ext uri="{FF2B5EF4-FFF2-40B4-BE49-F238E27FC236}">
                  <a16:creationId xmlns:a16="http://schemas.microsoft.com/office/drawing/2014/main" id="{DEBB28BE-CA68-433E-B008-F6D41D80DE28}"/>
                </a:ext>
              </a:extLst>
            </p:cNvPr>
            <p:cNvSpPr>
              <a:spLocks noChangeArrowheads="1"/>
            </p:cNvSpPr>
            <p:nvPr/>
          </p:nvSpPr>
          <p:spPr bwMode="auto">
            <a:xfrm>
              <a:off x="3500" y="2209"/>
              <a:ext cx="3"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 name="Freeform 208">
              <a:extLst>
                <a:ext uri="{FF2B5EF4-FFF2-40B4-BE49-F238E27FC236}">
                  <a16:creationId xmlns:a16="http://schemas.microsoft.com/office/drawing/2014/main" id="{4A13028A-6772-4681-9DD1-E1593BCA1453}"/>
                </a:ext>
              </a:extLst>
            </p:cNvPr>
            <p:cNvSpPr>
              <a:spLocks/>
            </p:cNvSpPr>
            <p:nvPr/>
          </p:nvSpPr>
          <p:spPr bwMode="auto">
            <a:xfrm>
              <a:off x="3500" y="2209"/>
              <a:ext cx="3" cy="0"/>
            </a:xfrm>
            <a:custGeom>
              <a:avLst/>
              <a:gdLst>
                <a:gd name="T0" fmla="*/ 3 w 3"/>
                <a:gd name="T1" fmla="*/ 0 w 3"/>
                <a:gd name="T2" fmla="*/ 0 w 3"/>
                <a:gd name="T3" fmla="*/ 3 w 3"/>
              </a:gdLst>
              <a:ahLst/>
              <a:cxnLst>
                <a:cxn ang="0">
                  <a:pos x="T0" y="0"/>
                </a:cxn>
                <a:cxn ang="0">
                  <a:pos x="T1" y="0"/>
                </a:cxn>
                <a:cxn ang="0">
                  <a:pos x="T2" y="0"/>
                </a:cxn>
                <a:cxn ang="0">
                  <a:pos x="T3" y="0"/>
                </a:cxn>
              </a:cxnLst>
              <a:rect l="0" t="0" r="r" b="b"/>
              <a:pathLst>
                <a:path w="3">
                  <a:moveTo>
                    <a:pt x="3" y="0"/>
                  </a:moveTo>
                  <a:lnTo>
                    <a:pt x="0" y="0"/>
                  </a:lnTo>
                  <a:lnTo>
                    <a:pt x="0" y="0"/>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 name="Freeform 209">
              <a:extLst>
                <a:ext uri="{FF2B5EF4-FFF2-40B4-BE49-F238E27FC236}">
                  <a16:creationId xmlns:a16="http://schemas.microsoft.com/office/drawing/2014/main" id="{2B1CAAFA-5CEB-4B39-8773-2AEB66242672}"/>
                </a:ext>
              </a:extLst>
            </p:cNvPr>
            <p:cNvSpPr>
              <a:spLocks/>
            </p:cNvSpPr>
            <p:nvPr/>
          </p:nvSpPr>
          <p:spPr bwMode="auto">
            <a:xfrm>
              <a:off x="5507" y="1932"/>
              <a:ext cx="805" cy="624"/>
            </a:xfrm>
            <a:custGeom>
              <a:avLst/>
              <a:gdLst>
                <a:gd name="T0" fmla="*/ 109 w 341"/>
                <a:gd name="T1" fmla="*/ 6 h 264"/>
                <a:gd name="T2" fmla="*/ 106 w 341"/>
                <a:gd name="T3" fmla="*/ 10 h 264"/>
                <a:gd name="T4" fmla="*/ 102 w 341"/>
                <a:gd name="T5" fmla="*/ 12 h 264"/>
                <a:gd name="T6" fmla="*/ 100 w 341"/>
                <a:gd name="T7" fmla="*/ 12 h 264"/>
                <a:gd name="T8" fmla="*/ 97 w 341"/>
                <a:gd name="T9" fmla="*/ 10 h 264"/>
                <a:gd name="T10" fmla="*/ 90 w 341"/>
                <a:gd name="T11" fmla="*/ 13 h 264"/>
                <a:gd name="T12" fmla="*/ 80 w 341"/>
                <a:gd name="T13" fmla="*/ 20 h 264"/>
                <a:gd name="T14" fmla="*/ 69 w 341"/>
                <a:gd name="T15" fmla="*/ 50 h 264"/>
                <a:gd name="T16" fmla="*/ 64 w 341"/>
                <a:gd name="T17" fmla="*/ 50 h 264"/>
                <a:gd name="T18" fmla="*/ 60 w 341"/>
                <a:gd name="T19" fmla="*/ 53 h 264"/>
                <a:gd name="T20" fmla="*/ 47 w 341"/>
                <a:gd name="T21" fmla="*/ 74 h 264"/>
                <a:gd name="T22" fmla="*/ 45 w 341"/>
                <a:gd name="T23" fmla="*/ 88 h 264"/>
                <a:gd name="T24" fmla="*/ 40 w 341"/>
                <a:gd name="T25" fmla="*/ 96 h 264"/>
                <a:gd name="T26" fmla="*/ 33 w 341"/>
                <a:gd name="T27" fmla="*/ 94 h 264"/>
                <a:gd name="T28" fmla="*/ 30 w 341"/>
                <a:gd name="T29" fmla="*/ 101 h 264"/>
                <a:gd name="T30" fmla="*/ 26 w 341"/>
                <a:gd name="T31" fmla="*/ 120 h 264"/>
                <a:gd name="T32" fmla="*/ 20 w 341"/>
                <a:gd name="T33" fmla="*/ 151 h 264"/>
                <a:gd name="T34" fmla="*/ 4 w 341"/>
                <a:gd name="T35" fmla="*/ 151 h 264"/>
                <a:gd name="T36" fmla="*/ 1 w 341"/>
                <a:gd name="T37" fmla="*/ 159 h 264"/>
                <a:gd name="T38" fmla="*/ 20 w 341"/>
                <a:gd name="T39" fmla="*/ 171 h 264"/>
                <a:gd name="T40" fmla="*/ 32 w 341"/>
                <a:gd name="T41" fmla="*/ 182 h 264"/>
                <a:gd name="T42" fmla="*/ 49 w 341"/>
                <a:gd name="T43" fmla="*/ 213 h 264"/>
                <a:gd name="T44" fmla="*/ 57 w 341"/>
                <a:gd name="T45" fmla="*/ 218 h 264"/>
                <a:gd name="T46" fmla="*/ 64 w 341"/>
                <a:gd name="T47" fmla="*/ 227 h 264"/>
                <a:gd name="T48" fmla="*/ 66 w 341"/>
                <a:gd name="T49" fmla="*/ 236 h 264"/>
                <a:gd name="T50" fmla="*/ 88 w 341"/>
                <a:gd name="T51" fmla="*/ 242 h 264"/>
                <a:gd name="T52" fmla="*/ 92 w 341"/>
                <a:gd name="T53" fmla="*/ 244 h 264"/>
                <a:gd name="T54" fmla="*/ 113 w 341"/>
                <a:gd name="T55" fmla="*/ 256 h 264"/>
                <a:gd name="T56" fmla="*/ 147 w 341"/>
                <a:gd name="T57" fmla="*/ 263 h 264"/>
                <a:gd name="T58" fmla="*/ 178 w 341"/>
                <a:gd name="T59" fmla="*/ 244 h 264"/>
                <a:gd name="T60" fmla="*/ 184 w 341"/>
                <a:gd name="T61" fmla="*/ 247 h 264"/>
                <a:gd name="T62" fmla="*/ 192 w 341"/>
                <a:gd name="T63" fmla="*/ 252 h 264"/>
                <a:gd name="T64" fmla="*/ 204 w 341"/>
                <a:gd name="T65" fmla="*/ 251 h 264"/>
                <a:gd name="T66" fmla="*/ 221 w 341"/>
                <a:gd name="T67" fmla="*/ 245 h 264"/>
                <a:gd name="T68" fmla="*/ 258 w 341"/>
                <a:gd name="T69" fmla="*/ 228 h 264"/>
                <a:gd name="T70" fmla="*/ 269 w 341"/>
                <a:gd name="T71" fmla="*/ 229 h 264"/>
                <a:gd name="T72" fmla="*/ 276 w 341"/>
                <a:gd name="T73" fmla="*/ 228 h 264"/>
                <a:gd name="T74" fmla="*/ 286 w 341"/>
                <a:gd name="T75" fmla="*/ 217 h 264"/>
                <a:gd name="T76" fmla="*/ 333 w 341"/>
                <a:gd name="T77" fmla="*/ 162 h 264"/>
                <a:gd name="T78" fmla="*/ 269 w 341"/>
                <a:gd name="T79" fmla="*/ 143 h 264"/>
                <a:gd name="T80" fmla="*/ 248 w 341"/>
                <a:gd name="T81" fmla="*/ 133 h 264"/>
                <a:gd name="T82" fmla="*/ 231 w 341"/>
                <a:gd name="T83" fmla="*/ 115 h 264"/>
                <a:gd name="T84" fmla="*/ 224 w 341"/>
                <a:gd name="T85" fmla="*/ 91 h 264"/>
                <a:gd name="T86" fmla="*/ 206 w 341"/>
                <a:gd name="T87" fmla="*/ 92 h 264"/>
                <a:gd name="T88" fmla="*/ 200 w 341"/>
                <a:gd name="T89" fmla="*/ 83 h 264"/>
                <a:gd name="T90" fmla="*/ 199 w 341"/>
                <a:gd name="T91" fmla="*/ 78 h 264"/>
                <a:gd name="T92" fmla="*/ 204 w 341"/>
                <a:gd name="T93" fmla="*/ 65 h 264"/>
                <a:gd name="T94" fmla="*/ 195 w 341"/>
                <a:gd name="T95" fmla="*/ 32 h 264"/>
                <a:gd name="T96" fmla="*/ 171 w 341"/>
                <a:gd name="T97" fmla="*/ 11 h 264"/>
                <a:gd name="T98" fmla="*/ 165 w 341"/>
                <a:gd name="T99" fmla="*/ 8 h 264"/>
                <a:gd name="T100" fmla="*/ 162 w 341"/>
                <a:gd name="T101" fmla="*/ 6 h 264"/>
                <a:gd name="T102" fmla="*/ 150 w 341"/>
                <a:gd name="T103" fmla="*/ 7 h 264"/>
                <a:gd name="T104" fmla="*/ 145 w 341"/>
                <a:gd name="T105" fmla="*/ 8 h 264"/>
                <a:gd name="T106" fmla="*/ 140 w 341"/>
                <a:gd name="T107" fmla="*/ 4 h 264"/>
                <a:gd name="T108" fmla="*/ 131 w 341"/>
                <a:gd name="T109" fmla="*/ 8 h 264"/>
                <a:gd name="T110" fmla="*/ 119 w 341"/>
                <a:gd name="T111" fmla="*/ 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1" h="264">
                  <a:moveTo>
                    <a:pt x="112" y="0"/>
                  </a:moveTo>
                  <a:cubicBezTo>
                    <a:pt x="111" y="1"/>
                    <a:pt x="111" y="1"/>
                    <a:pt x="111" y="1"/>
                  </a:cubicBezTo>
                  <a:cubicBezTo>
                    <a:pt x="111" y="1"/>
                    <a:pt x="111" y="1"/>
                    <a:pt x="111" y="1"/>
                  </a:cubicBezTo>
                  <a:cubicBezTo>
                    <a:pt x="109" y="4"/>
                    <a:pt x="109" y="4"/>
                    <a:pt x="109" y="4"/>
                  </a:cubicBezTo>
                  <a:cubicBezTo>
                    <a:pt x="109" y="5"/>
                    <a:pt x="109" y="5"/>
                    <a:pt x="109" y="6"/>
                  </a:cubicBezTo>
                  <a:cubicBezTo>
                    <a:pt x="108" y="6"/>
                    <a:pt x="108" y="6"/>
                    <a:pt x="108" y="6"/>
                  </a:cubicBezTo>
                  <a:cubicBezTo>
                    <a:pt x="108" y="7"/>
                    <a:pt x="108" y="7"/>
                    <a:pt x="108" y="8"/>
                  </a:cubicBezTo>
                  <a:cubicBezTo>
                    <a:pt x="107" y="8"/>
                    <a:pt x="107" y="8"/>
                    <a:pt x="107" y="8"/>
                  </a:cubicBezTo>
                  <a:cubicBezTo>
                    <a:pt x="106" y="9"/>
                    <a:pt x="106" y="9"/>
                    <a:pt x="106" y="9"/>
                  </a:cubicBezTo>
                  <a:cubicBezTo>
                    <a:pt x="106" y="10"/>
                    <a:pt x="106" y="10"/>
                    <a:pt x="106" y="10"/>
                  </a:cubicBezTo>
                  <a:cubicBezTo>
                    <a:pt x="105" y="11"/>
                    <a:pt x="105" y="11"/>
                    <a:pt x="105" y="11"/>
                  </a:cubicBezTo>
                  <a:cubicBezTo>
                    <a:pt x="104" y="11"/>
                    <a:pt x="104" y="11"/>
                    <a:pt x="104" y="11"/>
                  </a:cubicBezTo>
                  <a:cubicBezTo>
                    <a:pt x="103" y="12"/>
                    <a:pt x="103" y="12"/>
                    <a:pt x="103" y="12"/>
                  </a:cubicBezTo>
                  <a:cubicBezTo>
                    <a:pt x="102" y="12"/>
                    <a:pt x="102" y="12"/>
                    <a:pt x="102" y="12"/>
                  </a:cubicBezTo>
                  <a:cubicBezTo>
                    <a:pt x="102" y="12"/>
                    <a:pt x="102" y="12"/>
                    <a:pt x="102" y="12"/>
                  </a:cubicBezTo>
                  <a:cubicBezTo>
                    <a:pt x="102" y="12"/>
                    <a:pt x="102" y="12"/>
                    <a:pt x="102" y="12"/>
                  </a:cubicBezTo>
                  <a:cubicBezTo>
                    <a:pt x="101" y="12"/>
                    <a:pt x="101" y="12"/>
                    <a:pt x="101" y="12"/>
                  </a:cubicBezTo>
                  <a:cubicBezTo>
                    <a:pt x="101" y="12"/>
                    <a:pt x="101" y="12"/>
                    <a:pt x="101" y="12"/>
                  </a:cubicBezTo>
                  <a:cubicBezTo>
                    <a:pt x="100" y="12"/>
                    <a:pt x="100" y="12"/>
                    <a:pt x="100" y="12"/>
                  </a:cubicBezTo>
                  <a:cubicBezTo>
                    <a:pt x="100" y="12"/>
                    <a:pt x="100" y="12"/>
                    <a:pt x="100" y="12"/>
                  </a:cubicBezTo>
                  <a:cubicBezTo>
                    <a:pt x="100" y="12"/>
                    <a:pt x="99" y="12"/>
                    <a:pt x="99" y="12"/>
                  </a:cubicBezTo>
                  <a:cubicBezTo>
                    <a:pt x="99" y="12"/>
                    <a:pt x="99" y="12"/>
                    <a:pt x="99" y="12"/>
                  </a:cubicBezTo>
                  <a:cubicBezTo>
                    <a:pt x="97" y="10"/>
                    <a:pt x="97" y="10"/>
                    <a:pt x="97" y="10"/>
                  </a:cubicBezTo>
                  <a:cubicBezTo>
                    <a:pt x="97" y="10"/>
                    <a:pt x="97" y="10"/>
                    <a:pt x="97" y="10"/>
                  </a:cubicBezTo>
                  <a:cubicBezTo>
                    <a:pt x="97" y="10"/>
                    <a:pt x="97" y="10"/>
                    <a:pt x="97" y="10"/>
                  </a:cubicBezTo>
                  <a:cubicBezTo>
                    <a:pt x="96" y="10"/>
                    <a:pt x="96" y="10"/>
                    <a:pt x="96" y="10"/>
                  </a:cubicBezTo>
                  <a:cubicBezTo>
                    <a:pt x="97" y="10"/>
                    <a:pt x="97" y="10"/>
                    <a:pt x="97" y="10"/>
                  </a:cubicBezTo>
                  <a:cubicBezTo>
                    <a:pt x="96" y="10"/>
                    <a:pt x="96" y="10"/>
                    <a:pt x="96" y="10"/>
                  </a:cubicBezTo>
                  <a:cubicBezTo>
                    <a:pt x="95" y="11"/>
                    <a:pt x="94" y="12"/>
                    <a:pt x="93" y="12"/>
                  </a:cubicBezTo>
                  <a:cubicBezTo>
                    <a:pt x="92" y="13"/>
                    <a:pt x="91" y="13"/>
                    <a:pt x="90" y="13"/>
                  </a:cubicBezTo>
                  <a:cubicBezTo>
                    <a:pt x="89" y="13"/>
                    <a:pt x="89" y="13"/>
                    <a:pt x="89" y="13"/>
                  </a:cubicBezTo>
                  <a:cubicBezTo>
                    <a:pt x="89" y="13"/>
                    <a:pt x="89" y="13"/>
                    <a:pt x="89" y="13"/>
                  </a:cubicBezTo>
                  <a:cubicBezTo>
                    <a:pt x="87" y="13"/>
                    <a:pt x="86" y="13"/>
                    <a:pt x="85" y="13"/>
                  </a:cubicBezTo>
                  <a:cubicBezTo>
                    <a:pt x="81" y="13"/>
                    <a:pt x="81" y="13"/>
                    <a:pt x="81" y="13"/>
                  </a:cubicBezTo>
                  <a:cubicBezTo>
                    <a:pt x="81" y="15"/>
                    <a:pt x="81" y="18"/>
                    <a:pt x="80" y="20"/>
                  </a:cubicBezTo>
                  <a:cubicBezTo>
                    <a:pt x="80" y="21"/>
                    <a:pt x="80" y="21"/>
                    <a:pt x="80" y="21"/>
                  </a:cubicBezTo>
                  <a:cubicBezTo>
                    <a:pt x="79" y="26"/>
                    <a:pt x="77" y="32"/>
                    <a:pt x="76" y="36"/>
                  </a:cubicBezTo>
                  <a:cubicBezTo>
                    <a:pt x="74" y="41"/>
                    <a:pt x="74" y="41"/>
                    <a:pt x="74" y="41"/>
                  </a:cubicBezTo>
                  <a:cubicBezTo>
                    <a:pt x="74" y="45"/>
                    <a:pt x="73" y="48"/>
                    <a:pt x="71" y="49"/>
                  </a:cubicBezTo>
                  <a:cubicBezTo>
                    <a:pt x="71" y="50"/>
                    <a:pt x="70" y="50"/>
                    <a:pt x="69" y="50"/>
                  </a:cubicBezTo>
                  <a:cubicBezTo>
                    <a:pt x="69" y="50"/>
                    <a:pt x="69" y="50"/>
                    <a:pt x="69" y="50"/>
                  </a:cubicBezTo>
                  <a:cubicBezTo>
                    <a:pt x="68" y="50"/>
                    <a:pt x="68" y="51"/>
                    <a:pt x="67" y="51"/>
                  </a:cubicBezTo>
                  <a:cubicBezTo>
                    <a:pt x="67" y="51"/>
                    <a:pt x="67" y="51"/>
                    <a:pt x="67" y="51"/>
                  </a:cubicBezTo>
                  <a:cubicBezTo>
                    <a:pt x="66" y="51"/>
                    <a:pt x="66" y="51"/>
                    <a:pt x="66" y="51"/>
                  </a:cubicBezTo>
                  <a:cubicBezTo>
                    <a:pt x="66" y="51"/>
                    <a:pt x="65" y="50"/>
                    <a:pt x="64" y="50"/>
                  </a:cubicBezTo>
                  <a:cubicBezTo>
                    <a:pt x="63" y="50"/>
                    <a:pt x="63" y="50"/>
                    <a:pt x="63" y="50"/>
                  </a:cubicBezTo>
                  <a:cubicBezTo>
                    <a:pt x="63" y="50"/>
                    <a:pt x="62" y="50"/>
                    <a:pt x="62" y="50"/>
                  </a:cubicBezTo>
                  <a:cubicBezTo>
                    <a:pt x="62" y="50"/>
                    <a:pt x="62" y="50"/>
                    <a:pt x="62" y="50"/>
                  </a:cubicBezTo>
                  <a:cubicBezTo>
                    <a:pt x="61" y="50"/>
                    <a:pt x="61" y="50"/>
                    <a:pt x="61" y="50"/>
                  </a:cubicBezTo>
                  <a:cubicBezTo>
                    <a:pt x="61" y="51"/>
                    <a:pt x="60" y="52"/>
                    <a:pt x="60" y="53"/>
                  </a:cubicBezTo>
                  <a:cubicBezTo>
                    <a:pt x="59" y="54"/>
                    <a:pt x="59" y="54"/>
                    <a:pt x="59" y="54"/>
                  </a:cubicBezTo>
                  <a:cubicBezTo>
                    <a:pt x="57" y="57"/>
                    <a:pt x="56" y="59"/>
                    <a:pt x="55" y="61"/>
                  </a:cubicBezTo>
                  <a:cubicBezTo>
                    <a:pt x="54" y="63"/>
                    <a:pt x="53" y="65"/>
                    <a:pt x="51" y="67"/>
                  </a:cubicBezTo>
                  <a:cubicBezTo>
                    <a:pt x="49" y="69"/>
                    <a:pt x="48" y="70"/>
                    <a:pt x="48" y="72"/>
                  </a:cubicBezTo>
                  <a:cubicBezTo>
                    <a:pt x="47" y="74"/>
                    <a:pt x="47" y="74"/>
                    <a:pt x="47" y="74"/>
                  </a:cubicBezTo>
                  <a:cubicBezTo>
                    <a:pt x="47" y="76"/>
                    <a:pt x="47" y="78"/>
                    <a:pt x="46" y="79"/>
                  </a:cubicBezTo>
                  <a:cubicBezTo>
                    <a:pt x="46" y="81"/>
                    <a:pt x="46" y="81"/>
                    <a:pt x="46" y="81"/>
                  </a:cubicBezTo>
                  <a:cubicBezTo>
                    <a:pt x="46" y="82"/>
                    <a:pt x="46" y="83"/>
                    <a:pt x="46" y="84"/>
                  </a:cubicBezTo>
                  <a:cubicBezTo>
                    <a:pt x="45" y="85"/>
                    <a:pt x="45" y="86"/>
                    <a:pt x="45" y="87"/>
                  </a:cubicBezTo>
                  <a:cubicBezTo>
                    <a:pt x="45" y="87"/>
                    <a:pt x="45" y="87"/>
                    <a:pt x="45" y="88"/>
                  </a:cubicBezTo>
                  <a:cubicBezTo>
                    <a:pt x="45" y="88"/>
                    <a:pt x="45" y="88"/>
                    <a:pt x="45" y="88"/>
                  </a:cubicBezTo>
                  <a:cubicBezTo>
                    <a:pt x="45" y="89"/>
                    <a:pt x="45" y="90"/>
                    <a:pt x="45" y="91"/>
                  </a:cubicBezTo>
                  <a:cubicBezTo>
                    <a:pt x="45" y="91"/>
                    <a:pt x="44" y="92"/>
                    <a:pt x="44" y="93"/>
                  </a:cubicBezTo>
                  <a:cubicBezTo>
                    <a:pt x="43" y="93"/>
                    <a:pt x="43" y="93"/>
                    <a:pt x="43" y="93"/>
                  </a:cubicBezTo>
                  <a:cubicBezTo>
                    <a:pt x="43" y="94"/>
                    <a:pt x="41" y="95"/>
                    <a:pt x="40" y="96"/>
                  </a:cubicBezTo>
                  <a:cubicBezTo>
                    <a:pt x="39" y="96"/>
                    <a:pt x="38" y="96"/>
                    <a:pt x="38" y="96"/>
                  </a:cubicBezTo>
                  <a:cubicBezTo>
                    <a:pt x="37" y="96"/>
                    <a:pt x="37" y="96"/>
                    <a:pt x="37" y="96"/>
                  </a:cubicBezTo>
                  <a:cubicBezTo>
                    <a:pt x="36" y="96"/>
                    <a:pt x="36" y="96"/>
                    <a:pt x="35" y="96"/>
                  </a:cubicBezTo>
                  <a:cubicBezTo>
                    <a:pt x="35" y="96"/>
                    <a:pt x="35" y="96"/>
                    <a:pt x="35" y="96"/>
                  </a:cubicBezTo>
                  <a:cubicBezTo>
                    <a:pt x="34" y="95"/>
                    <a:pt x="33" y="95"/>
                    <a:pt x="33" y="94"/>
                  </a:cubicBezTo>
                  <a:cubicBezTo>
                    <a:pt x="33" y="94"/>
                    <a:pt x="33" y="94"/>
                    <a:pt x="33" y="94"/>
                  </a:cubicBezTo>
                  <a:cubicBezTo>
                    <a:pt x="32" y="95"/>
                    <a:pt x="32" y="95"/>
                    <a:pt x="32" y="95"/>
                  </a:cubicBezTo>
                  <a:cubicBezTo>
                    <a:pt x="31" y="96"/>
                    <a:pt x="30" y="97"/>
                    <a:pt x="30" y="98"/>
                  </a:cubicBezTo>
                  <a:cubicBezTo>
                    <a:pt x="30" y="98"/>
                    <a:pt x="30" y="98"/>
                    <a:pt x="30" y="98"/>
                  </a:cubicBezTo>
                  <a:cubicBezTo>
                    <a:pt x="29" y="99"/>
                    <a:pt x="29" y="100"/>
                    <a:pt x="30" y="101"/>
                  </a:cubicBezTo>
                  <a:cubicBezTo>
                    <a:pt x="30" y="103"/>
                    <a:pt x="31" y="105"/>
                    <a:pt x="30" y="107"/>
                  </a:cubicBezTo>
                  <a:cubicBezTo>
                    <a:pt x="30" y="108"/>
                    <a:pt x="30" y="109"/>
                    <a:pt x="29" y="110"/>
                  </a:cubicBezTo>
                  <a:cubicBezTo>
                    <a:pt x="29" y="111"/>
                    <a:pt x="29" y="111"/>
                    <a:pt x="29" y="111"/>
                  </a:cubicBezTo>
                  <a:cubicBezTo>
                    <a:pt x="28" y="113"/>
                    <a:pt x="28" y="115"/>
                    <a:pt x="27" y="117"/>
                  </a:cubicBezTo>
                  <a:cubicBezTo>
                    <a:pt x="27" y="118"/>
                    <a:pt x="26" y="119"/>
                    <a:pt x="26" y="120"/>
                  </a:cubicBezTo>
                  <a:cubicBezTo>
                    <a:pt x="25" y="122"/>
                    <a:pt x="25" y="125"/>
                    <a:pt x="25" y="128"/>
                  </a:cubicBezTo>
                  <a:cubicBezTo>
                    <a:pt x="25" y="129"/>
                    <a:pt x="25" y="131"/>
                    <a:pt x="25" y="133"/>
                  </a:cubicBezTo>
                  <a:cubicBezTo>
                    <a:pt x="26" y="134"/>
                    <a:pt x="26" y="135"/>
                    <a:pt x="26" y="136"/>
                  </a:cubicBezTo>
                  <a:cubicBezTo>
                    <a:pt x="26" y="143"/>
                    <a:pt x="25" y="147"/>
                    <a:pt x="22" y="150"/>
                  </a:cubicBezTo>
                  <a:cubicBezTo>
                    <a:pt x="21" y="150"/>
                    <a:pt x="21" y="151"/>
                    <a:pt x="20" y="151"/>
                  </a:cubicBezTo>
                  <a:cubicBezTo>
                    <a:pt x="19" y="152"/>
                    <a:pt x="17" y="152"/>
                    <a:pt x="15" y="152"/>
                  </a:cubicBezTo>
                  <a:cubicBezTo>
                    <a:pt x="13" y="152"/>
                    <a:pt x="12" y="152"/>
                    <a:pt x="10" y="151"/>
                  </a:cubicBezTo>
                  <a:cubicBezTo>
                    <a:pt x="8" y="151"/>
                    <a:pt x="7" y="151"/>
                    <a:pt x="6" y="151"/>
                  </a:cubicBezTo>
                  <a:cubicBezTo>
                    <a:pt x="6" y="151"/>
                    <a:pt x="6" y="151"/>
                    <a:pt x="5" y="151"/>
                  </a:cubicBezTo>
                  <a:cubicBezTo>
                    <a:pt x="4" y="151"/>
                    <a:pt x="4" y="151"/>
                    <a:pt x="4" y="151"/>
                  </a:cubicBezTo>
                  <a:cubicBezTo>
                    <a:pt x="4" y="151"/>
                    <a:pt x="4" y="151"/>
                    <a:pt x="4" y="151"/>
                  </a:cubicBezTo>
                  <a:cubicBezTo>
                    <a:pt x="2" y="151"/>
                    <a:pt x="2" y="153"/>
                    <a:pt x="1" y="155"/>
                  </a:cubicBezTo>
                  <a:cubicBezTo>
                    <a:pt x="1" y="155"/>
                    <a:pt x="0" y="156"/>
                    <a:pt x="0" y="157"/>
                  </a:cubicBezTo>
                  <a:cubicBezTo>
                    <a:pt x="0" y="157"/>
                    <a:pt x="0" y="158"/>
                    <a:pt x="0" y="159"/>
                  </a:cubicBezTo>
                  <a:cubicBezTo>
                    <a:pt x="0" y="159"/>
                    <a:pt x="0" y="159"/>
                    <a:pt x="1" y="159"/>
                  </a:cubicBezTo>
                  <a:cubicBezTo>
                    <a:pt x="4" y="160"/>
                    <a:pt x="6" y="161"/>
                    <a:pt x="8" y="163"/>
                  </a:cubicBezTo>
                  <a:cubicBezTo>
                    <a:pt x="10" y="163"/>
                    <a:pt x="10" y="163"/>
                    <a:pt x="10" y="163"/>
                  </a:cubicBezTo>
                  <a:cubicBezTo>
                    <a:pt x="11" y="164"/>
                    <a:pt x="11" y="164"/>
                    <a:pt x="11" y="164"/>
                  </a:cubicBezTo>
                  <a:cubicBezTo>
                    <a:pt x="12" y="164"/>
                    <a:pt x="13" y="164"/>
                    <a:pt x="14" y="164"/>
                  </a:cubicBezTo>
                  <a:cubicBezTo>
                    <a:pt x="16" y="166"/>
                    <a:pt x="18" y="168"/>
                    <a:pt x="20" y="171"/>
                  </a:cubicBezTo>
                  <a:cubicBezTo>
                    <a:pt x="20" y="172"/>
                    <a:pt x="21" y="173"/>
                    <a:pt x="21" y="173"/>
                  </a:cubicBezTo>
                  <a:cubicBezTo>
                    <a:pt x="22" y="174"/>
                    <a:pt x="23" y="175"/>
                    <a:pt x="23" y="175"/>
                  </a:cubicBezTo>
                  <a:cubicBezTo>
                    <a:pt x="23" y="176"/>
                    <a:pt x="23" y="176"/>
                    <a:pt x="23" y="176"/>
                  </a:cubicBezTo>
                  <a:cubicBezTo>
                    <a:pt x="25" y="178"/>
                    <a:pt x="27" y="180"/>
                    <a:pt x="29" y="181"/>
                  </a:cubicBezTo>
                  <a:cubicBezTo>
                    <a:pt x="30" y="181"/>
                    <a:pt x="31" y="181"/>
                    <a:pt x="32" y="182"/>
                  </a:cubicBezTo>
                  <a:cubicBezTo>
                    <a:pt x="33" y="183"/>
                    <a:pt x="34" y="185"/>
                    <a:pt x="36" y="186"/>
                  </a:cubicBezTo>
                  <a:cubicBezTo>
                    <a:pt x="37" y="187"/>
                    <a:pt x="37" y="187"/>
                    <a:pt x="37" y="187"/>
                  </a:cubicBezTo>
                  <a:cubicBezTo>
                    <a:pt x="38" y="188"/>
                    <a:pt x="38" y="189"/>
                    <a:pt x="39" y="190"/>
                  </a:cubicBezTo>
                  <a:cubicBezTo>
                    <a:pt x="43" y="195"/>
                    <a:pt x="47" y="208"/>
                    <a:pt x="47" y="210"/>
                  </a:cubicBezTo>
                  <a:cubicBezTo>
                    <a:pt x="48" y="211"/>
                    <a:pt x="48" y="212"/>
                    <a:pt x="49" y="213"/>
                  </a:cubicBezTo>
                  <a:cubicBezTo>
                    <a:pt x="49" y="213"/>
                    <a:pt x="49" y="213"/>
                    <a:pt x="49" y="213"/>
                  </a:cubicBezTo>
                  <a:cubicBezTo>
                    <a:pt x="50" y="214"/>
                    <a:pt x="50" y="214"/>
                    <a:pt x="51" y="215"/>
                  </a:cubicBezTo>
                  <a:cubicBezTo>
                    <a:pt x="52" y="215"/>
                    <a:pt x="52" y="215"/>
                    <a:pt x="52" y="215"/>
                  </a:cubicBezTo>
                  <a:cubicBezTo>
                    <a:pt x="53" y="216"/>
                    <a:pt x="53" y="216"/>
                    <a:pt x="53" y="216"/>
                  </a:cubicBezTo>
                  <a:cubicBezTo>
                    <a:pt x="54" y="217"/>
                    <a:pt x="55" y="217"/>
                    <a:pt x="57" y="218"/>
                  </a:cubicBezTo>
                  <a:cubicBezTo>
                    <a:pt x="58" y="218"/>
                    <a:pt x="58" y="218"/>
                    <a:pt x="58" y="218"/>
                  </a:cubicBezTo>
                  <a:cubicBezTo>
                    <a:pt x="59" y="218"/>
                    <a:pt x="61" y="218"/>
                    <a:pt x="63" y="219"/>
                  </a:cubicBezTo>
                  <a:cubicBezTo>
                    <a:pt x="64" y="220"/>
                    <a:pt x="65" y="221"/>
                    <a:pt x="65" y="223"/>
                  </a:cubicBezTo>
                  <a:cubicBezTo>
                    <a:pt x="65" y="224"/>
                    <a:pt x="65" y="224"/>
                    <a:pt x="65" y="225"/>
                  </a:cubicBezTo>
                  <a:cubicBezTo>
                    <a:pt x="65" y="225"/>
                    <a:pt x="65" y="226"/>
                    <a:pt x="64" y="227"/>
                  </a:cubicBezTo>
                  <a:cubicBezTo>
                    <a:pt x="64" y="228"/>
                    <a:pt x="64" y="229"/>
                    <a:pt x="64" y="229"/>
                  </a:cubicBezTo>
                  <a:cubicBezTo>
                    <a:pt x="64" y="230"/>
                    <a:pt x="64" y="230"/>
                    <a:pt x="64" y="230"/>
                  </a:cubicBezTo>
                  <a:cubicBezTo>
                    <a:pt x="64" y="231"/>
                    <a:pt x="64" y="231"/>
                    <a:pt x="64" y="232"/>
                  </a:cubicBezTo>
                  <a:cubicBezTo>
                    <a:pt x="64" y="236"/>
                    <a:pt x="64" y="236"/>
                    <a:pt x="64" y="236"/>
                  </a:cubicBezTo>
                  <a:cubicBezTo>
                    <a:pt x="66" y="236"/>
                    <a:pt x="66" y="236"/>
                    <a:pt x="66" y="236"/>
                  </a:cubicBezTo>
                  <a:cubicBezTo>
                    <a:pt x="67" y="237"/>
                    <a:pt x="67" y="237"/>
                    <a:pt x="67" y="237"/>
                  </a:cubicBezTo>
                  <a:cubicBezTo>
                    <a:pt x="68" y="239"/>
                    <a:pt x="69" y="240"/>
                    <a:pt x="69" y="240"/>
                  </a:cubicBezTo>
                  <a:cubicBezTo>
                    <a:pt x="81" y="240"/>
                    <a:pt x="81" y="240"/>
                    <a:pt x="81" y="240"/>
                  </a:cubicBezTo>
                  <a:cubicBezTo>
                    <a:pt x="82" y="240"/>
                    <a:pt x="84" y="240"/>
                    <a:pt x="85" y="241"/>
                  </a:cubicBezTo>
                  <a:cubicBezTo>
                    <a:pt x="86" y="241"/>
                    <a:pt x="87" y="241"/>
                    <a:pt x="88" y="242"/>
                  </a:cubicBezTo>
                  <a:cubicBezTo>
                    <a:pt x="89" y="237"/>
                    <a:pt x="89" y="237"/>
                    <a:pt x="89" y="237"/>
                  </a:cubicBezTo>
                  <a:cubicBezTo>
                    <a:pt x="89" y="242"/>
                    <a:pt x="89" y="242"/>
                    <a:pt x="89" y="242"/>
                  </a:cubicBezTo>
                  <a:cubicBezTo>
                    <a:pt x="89" y="242"/>
                    <a:pt x="89" y="242"/>
                    <a:pt x="89" y="242"/>
                  </a:cubicBezTo>
                  <a:cubicBezTo>
                    <a:pt x="90" y="243"/>
                    <a:pt x="91" y="243"/>
                    <a:pt x="92" y="244"/>
                  </a:cubicBezTo>
                  <a:cubicBezTo>
                    <a:pt x="92" y="244"/>
                    <a:pt x="92" y="244"/>
                    <a:pt x="92" y="244"/>
                  </a:cubicBezTo>
                  <a:cubicBezTo>
                    <a:pt x="94" y="245"/>
                    <a:pt x="95" y="246"/>
                    <a:pt x="97" y="246"/>
                  </a:cubicBezTo>
                  <a:cubicBezTo>
                    <a:pt x="97" y="247"/>
                    <a:pt x="97" y="247"/>
                    <a:pt x="97" y="247"/>
                  </a:cubicBezTo>
                  <a:cubicBezTo>
                    <a:pt x="98" y="247"/>
                    <a:pt x="100" y="248"/>
                    <a:pt x="101" y="249"/>
                  </a:cubicBezTo>
                  <a:cubicBezTo>
                    <a:pt x="103" y="250"/>
                    <a:pt x="103" y="250"/>
                    <a:pt x="103" y="250"/>
                  </a:cubicBezTo>
                  <a:cubicBezTo>
                    <a:pt x="106" y="252"/>
                    <a:pt x="109" y="254"/>
                    <a:pt x="113" y="256"/>
                  </a:cubicBezTo>
                  <a:cubicBezTo>
                    <a:pt x="114" y="257"/>
                    <a:pt x="115" y="258"/>
                    <a:pt x="117" y="259"/>
                  </a:cubicBezTo>
                  <a:cubicBezTo>
                    <a:pt x="120" y="261"/>
                    <a:pt x="126" y="261"/>
                    <a:pt x="131" y="262"/>
                  </a:cubicBezTo>
                  <a:cubicBezTo>
                    <a:pt x="132" y="262"/>
                    <a:pt x="133" y="262"/>
                    <a:pt x="134" y="262"/>
                  </a:cubicBezTo>
                  <a:cubicBezTo>
                    <a:pt x="138" y="262"/>
                    <a:pt x="138" y="262"/>
                    <a:pt x="138" y="262"/>
                  </a:cubicBezTo>
                  <a:cubicBezTo>
                    <a:pt x="141" y="263"/>
                    <a:pt x="144" y="263"/>
                    <a:pt x="147" y="263"/>
                  </a:cubicBezTo>
                  <a:cubicBezTo>
                    <a:pt x="147" y="264"/>
                    <a:pt x="148" y="264"/>
                    <a:pt x="149" y="264"/>
                  </a:cubicBezTo>
                  <a:cubicBezTo>
                    <a:pt x="150" y="263"/>
                    <a:pt x="151" y="261"/>
                    <a:pt x="152" y="260"/>
                  </a:cubicBezTo>
                  <a:cubicBezTo>
                    <a:pt x="154" y="257"/>
                    <a:pt x="155" y="254"/>
                    <a:pt x="158" y="253"/>
                  </a:cubicBezTo>
                  <a:cubicBezTo>
                    <a:pt x="178" y="244"/>
                    <a:pt x="178" y="244"/>
                    <a:pt x="178" y="244"/>
                  </a:cubicBezTo>
                  <a:cubicBezTo>
                    <a:pt x="178" y="244"/>
                    <a:pt x="178" y="244"/>
                    <a:pt x="178" y="244"/>
                  </a:cubicBezTo>
                  <a:cubicBezTo>
                    <a:pt x="178" y="244"/>
                    <a:pt x="178" y="244"/>
                    <a:pt x="178" y="244"/>
                  </a:cubicBezTo>
                  <a:cubicBezTo>
                    <a:pt x="179" y="244"/>
                    <a:pt x="179" y="244"/>
                    <a:pt x="179" y="244"/>
                  </a:cubicBezTo>
                  <a:cubicBezTo>
                    <a:pt x="179" y="244"/>
                    <a:pt x="179" y="244"/>
                    <a:pt x="179" y="244"/>
                  </a:cubicBezTo>
                  <a:cubicBezTo>
                    <a:pt x="180" y="244"/>
                    <a:pt x="181" y="244"/>
                    <a:pt x="181" y="245"/>
                  </a:cubicBezTo>
                  <a:cubicBezTo>
                    <a:pt x="182" y="245"/>
                    <a:pt x="183" y="246"/>
                    <a:pt x="184" y="247"/>
                  </a:cubicBezTo>
                  <a:cubicBezTo>
                    <a:pt x="185" y="249"/>
                    <a:pt x="187" y="250"/>
                    <a:pt x="189" y="251"/>
                  </a:cubicBezTo>
                  <a:cubicBezTo>
                    <a:pt x="189" y="252"/>
                    <a:pt x="190" y="252"/>
                    <a:pt x="190" y="252"/>
                  </a:cubicBezTo>
                  <a:cubicBezTo>
                    <a:pt x="191" y="252"/>
                    <a:pt x="191" y="252"/>
                    <a:pt x="191" y="252"/>
                  </a:cubicBezTo>
                  <a:cubicBezTo>
                    <a:pt x="191" y="252"/>
                    <a:pt x="191" y="252"/>
                    <a:pt x="191" y="252"/>
                  </a:cubicBezTo>
                  <a:cubicBezTo>
                    <a:pt x="192" y="252"/>
                    <a:pt x="192" y="252"/>
                    <a:pt x="192" y="252"/>
                  </a:cubicBezTo>
                  <a:cubicBezTo>
                    <a:pt x="193" y="252"/>
                    <a:pt x="194" y="252"/>
                    <a:pt x="195" y="252"/>
                  </a:cubicBezTo>
                  <a:cubicBezTo>
                    <a:pt x="196" y="252"/>
                    <a:pt x="196" y="252"/>
                    <a:pt x="196" y="252"/>
                  </a:cubicBezTo>
                  <a:cubicBezTo>
                    <a:pt x="197" y="252"/>
                    <a:pt x="199" y="251"/>
                    <a:pt x="200" y="251"/>
                  </a:cubicBezTo>
                  <a:cubicBezTo>
                    <a:pt x="200" y="251"/>
                    <a:pt x="200" y="251"/>
                    <a:pt x="200" y="251"/>
                  </a:cubicBezTo>
                  <a:cubicBezTo>
                    <a:pt x="204" y="251"/>
                    <a:pt x="204" y="251"/>
                    <a:pt x="204" y="251"/>
                  </a:cubicBezTo>
                  <a:cubicBezTo>
                    <a:pt x="204" y="251"/>
                    <a:pt x="205" y="250"/>
                    <a:pt x="206" y="249"/>
                  </a:cubicBezTo>
                  <a:cubicBezTo>
                    <a:pt x="207" y="248"/>
                    <a:pt x="208" y="247"/>
                    <a:pt x="210" y="246"/>
                  </a:cubicBezTo>
                  <a:cubicBezTo>
                    <a:pt x="212" y="245"/>
                    <a:pt x="215" y="245"/>
                    <a:pt x="218" y="245"/>
                  </a:cubicBezTo>
                  <a:cubicBezTo>
                    <a:pt x="218" y="245"/>
                    <a:pt x="218" y="245"/>
                    <a:pt x="218" y="245"/>
                  </a:cubicBezTo>
                  <a:cubicBezTo>
                    <a:pt x="219" y="245"/>
                    <a:pt x="220" y="245"/>
                    <a:pt x="221" y="245"/>
                  </a:cubicBezTo>
                  <a:cubicBezTo>
                    <a:pt x="222" y="244"/>
                    <a:pt x="224" y="244"/>
                    <a:pt x="225" y="243"/>
                  </a:cubicBezTo>
                  <a:cubicBezTo>
                    <a:pt x="226" y="242"/>
                    <a:pt x="228" y="241"/>
                    <a:pt x="230" y="240"/>
                  </a:cubicBezTo>
                  <a:cubicBezTo>
                    <a:pt x="235" y="235"/>
                    <a:pt x="241" y="231"/>
                    <a:pt x="248" y="229"/>
                  </a:cubicBezTo>
                  <a:cubicBezTo>
                    <a:pt x="250" y="229"/>
                    <a:pt x="251" y="229"/>
                    <a:pt x="253" y="228"/>
                  </a:cubicBezTo>
                  <a:cubicBezTo>
                    <a:pt x="254" y="228"/>
                    <a:pt x="256" y="228"/>
                    <a:pt x="258" y="228"/>
                  </a:cubicBezTo>
                  <a:cubicBezTo>
                    <a:pt x="258" y="228"/>
                    <a:pt x="259" y="228"/>
                    <a:pt x="260" y="228"/>
                  </a:cubicBezTo>
                  <a:cubicBezTo>
                    <a:pt x="260" y="228"/>
                    <a:pt x="261" y="228"/>
                    <a:pt x="262" y="228"/>
                  </a:cubicBezTo>
                  <a:cubicBezTo>
                    <a:pt x="262" y="228"/>
                    <a:pt x="263" y="228"/>
                    <a:pt x="264" y="228"/>
                  </a:cubicBezTo>
                  <a:cubicBezTo>
                    <a:pt x="266" y="228"/>
                    <a:pt x="266" y="228"/>
                    <a:pt x="266" y="228"/>
                  </a:cubicBezTo>
                  <a:cubicBezTo>
                    <a:pt x="267" y="228"/>
                    <a:pt x="268" y="229"/>
                    <a:pt x="269" y="229"/>
                  </a:cubicBezTo>
                  <a:cubicBezTo>
                    <a:pt x="270" y="229"/>
                    <a:pt x="271" y="229"/>
                    <a:pt x="272" y="229"/>
                  </a:cubicBezTo>
                  <a:cubicBezTo>
                    <a:pt x="273" y="229"/>
                    <a:pt x="273" y="229"/>
                    <a:pt x="273" y="229"/>
                  </a:cubicBezTo>
                  <a:cubicBezTo>
                    <a:pt x="273" y="229"/>
                    <a:pt x="273" y="229"/>
                    <a:pt x="273" y="229"/>
                  </a:cubicBezTo>
                  <a:cubicBezTo>
                    <a:pt x="274" y="229"/>
                    <a:pt x="274" y="229"/>
                    <a:pt x="275" y="229"/>
                  </a:cubicBezTo>
                  <a:cubicBezTo>
                    <a:pt x="276" y="228"/>
                    <a:pt x="276" y="228"/>
                    <a:pt x="276" y="228"/>
                  </a:cubicBezTo>
                  <a:cubicBezTo>
                    <a:pt x="276" y="228"/>
                    <a:pt x="277" y="228"/>
                    <a:pt x="277" y="227"/>
                  </a:cubicBezTo>
                  <a:cubicBezTo>
                    <a:pt x="278" y="226"/>
                    <a:pt x="279" y="225"/>
                    <a:pt x="280" y="225"/>
                  </a:cubicBezTo>
                  <a:cubicBezTo>
                    <a:pt x="281" y="223"/>
                    <a:pt x="281" y="223"/>
                    <a:pt x="281" y="223"/>
                  </a:cubicBezTo>
                  <a:cubicBezTo>
                    <a:pt x="282" y="222"/>
                    <a:pt x="283" y="221"/>
                    <a:pt x="284" y="220"/>
                  </a:cubicBezTo>
                  <a:cubicBezTo>
                    <a:pt x="286" y="217"/>
                    <a:pt x="286" y="217"/>
                    <a:pt x="286" y="217"/>
                  </a:cubicBezTo>
                  <a:cubicBezTo>
                    <a:pt x="287" y="217"/>
                    <a:pt x="287" y="216"/>
                    <a:pt x="287" y="216"/>
                  </a:cubicBezTo>
                  <a:cubicBezTo>
                    <a:pt x="291" y="212"/>
                    <a:pt x="291" y="212"/>
                    <a:pt x="291" y="212"/>
                  </a:cubicBezTo>
                  <a:cubicBezTo>
                    <a:pt x="306" y="197"/>
                    <a:pt x="319" y="183"/>
                    <a:pt x="331" y="171"/>
                  </a:cubicBezTo>
                  <a:cubicBezTo>
                    <a:pt x="334" y="168"/>
                    <a:pt x="337" y="165"/>
                    <a:pt x="341" y="162"/>
                  </a:cubicBezTo>
                  <a:cubicBezTo>
                    <a:pt x="338" y="162"/>
                    <a:pt x="336" y="162"/>
                    <a:pt x="333" y="162"/>
                  </a:cubicBezTo>
                  <a:cubicBezTo>
                    <a:pt x="330" y="162"/>
                    <a:pt x="328" y="162"/>
                    <a:pt x="325" y="162"/>
                  </a:cubicBezTo>
                  <a:cubicBezTo>
                    <a:pt x="322" y="162"/>
                    <a:pt x="318" y="160"/>
                    <a:pt x="315" y="159"/>
                  </a:cubicBezTo>
                  <a:cubicBezTo>
                    <a:pt x="314" y="158"/>
                    <a:pt x="314" y="158"/>
                    <a:pt x="314" y="158"/>
                  </a:cubicBezTo>
                  <a:cubicBezTo>
                    <a:pt x="313" y="158"/>
                    <a:pt x="312" y="158"/>
                    <a:pt x="311" y="157"/>
                  </a:cubicBezTo>
                  <a:cubicBezTo>
                    <a:pt x="269" y="143"/>
                    <a:pt x="269" y="143"/>
                    <a:pt x="269" y="143"/>
                  </a:cubicBezTo>
                  <a:cubicBezTo>
                    <a:pt x="268" y="142"/>
                    <a:pt x="266" y="142"/>
                    <a:pt x="265" y="142"/>
                  </a:cubicBezTo>
                  <a:cubicBezTo>
                    <a:pt x="264" y="141"/>
                    <a:pt x="264" y="141"/>
                    <a:pt x="264" y="141"/>
                  </a:cubicBezTo>
                  <a:cubicBezTo>
                    <a:pt x="260" y="140"/>
                    <a:pt x="256" y="139"/>
                    <a:pt x="252" y="137"/>
                  </a:cubicBezTo>
                  <a:cubicBezTo>
                    <a:pt x="252" y="136"/>
                    <a:pt x="251" y="136"/>
                    <a:pt x="251" y="136"/>
                  </a:cubicBezTo>
                  <a:cubicBezTo>
                    <a:pt x="248" y="133"/>
                    <a:pt x="248" y="133"/>
                    <a:pt x="248" y="133"/>
                  </a:cubicBezTo>
                  <a:cubicBezTo>
                    <a:pt x="244" y="131"/>
                    <a:pt x="241" y="129"/>
                    <a:pt x="239" y="127"/>
                  </a:cubicBezTo>
                  <a:cubicBezTo>
                    <a:pt x="237" y="125"/>
                    <a:pt x="235" y="122"/>
                    <a:pt x="234" y="119"/>
                  </a:cubicBezTo>
                  <a:cubicBezTo>
                    <a:pt x="233" y="119"/>
                    <a:pt x="233" y="119"/>
                    <a:pt x="233" y="119"/>
                  </a:cubicBezTo>
                  <a:cubicBezTo>
                    <a:pt x="233" y="118"/>
                    <a:pt x="232" y="117"/>
                    <a:pt x="232" y="116"/>
                  </a:cubicBezTo>
                  <a:cubicBezTo>
                    <a:pt x="231" y="115"/>
                    <a:pt x="231" y="115"/>
                    <a:pt x="231" y="115"/>
                  </a:cubicBezTo>
                  <a:cubicBezTo>
                    <a:pt x="229" y="111"/>
                    <a:pt x="227" y="108"/>
                    <a:pt x="224" y="104"/>
                  </a:cubicBezTo>
                  <a:cubicBezTo>
                    <a:pt x="224" y="104"/>
                    <a:pt x="224" y="103"/>
                    <a:pt x="224" y="103"/>
                  </a:cubicBezTo>
                  <a:cubicBezTo>
                    <a:pt x="222" y="100"/>
                    <a:pt x="220" y="98"/>
                    <a:pt x="220" y="96"/>
                  </a:cubicBezTo>
                  <a:cubicBezTo>
                    <a:pt x="220" y="95"/>
                    <a:pt x="220" y="95"/>
                    <a:pt x="222" y="93"/>
                  </a:cubicBezTo>
                  <a:cubicBezTo>
                    <a:pt x="223" y="92"/>
                    <a:pt x="224" y="91"/>
                    <a:pt x="224" y="91"/>
                  </a:cubicBezTo>
                  <a:cubicBezTo>
                    <a:pt x="224" y="90"/>
                    <a:pt x="224" y="90"/>
                    <a:pt x="225" y="89"/>
                  </a:cubicBezTo>
                  <a:cubicBezTo>
                    <a:pt x="224" y="89"/>
                    <a:pt x="223" y="89"/>
                    <a:pt x="223" y="89"/>
                  </a:cubicBezTo>
                  <a:cubicBezTo>
                    <a:pt x="223" y="89"/>
                    <a:pt x="223" y="89"/>
                    <a:pt x="222" y="89"/>
                  </a:cubicBezTo>
                  <a:cubicBezTo>
                    <a:pt x="222" y="89"/>
                    <a:pt x="220" y="89"/>
                    <a:pt x="216" y="90"/>
                  </a:cubicBezTo>
                  <a:cubicBezTo>
                    <a:pt x="213" y="91"/>
                    <a:pt x="209" y="92"/>
                    <a:pt x="206" y="92"/>
                  </a:cubicBezTo>
                  <a:cubicBezTo>
                    <a:pt x="206" y="92"/>
                    <a:pt x="206" y="92"/>
                    <a:pt x="205" y="92"/>
                  </a:cubicBezTo>
                  <a:cubicBezTo>
                    <a:pt x="205" y="95"/>
                    <a:pt x="205" y="95"/>
                    <a:pt x="205" y="95"/>
                  </a:cubicBezTo>
                  <a:cubicBezTo>
                    <a:pt x="205" y="92"/>
                    <a:pt x="205" y="92"/>
                    <a:pt x="205" y="92"/>
                  </a:cubicBezTo>
                  <a:cubicBezTo>
                    <a:pt x="203" y="92"/>
                    <a:pt x="201" y="91"/>
                    <a:pt x="200" y="90"/>
                  </a:cubicBezTo>
                  <a:cubicBezTo>
                    <a:pt x="200" y="89"/>
                    <a:pt x="199" y="87"/>
                    <a:pt x="200" y="83"/>
                  </a:cubicBezTo>
                  <a:cubicBezTo>
                    <a:pt x="200" y="82"/>
                    <a:pt x="200" y="82"/>
                    <a:pt x="200" y="82"/>
                  </a:cubicBezTo>
                  <a:cubicBezTo>
                    <a:pt x="199" y="81"/>
                    <a:pt x="199" y="80"/>
                    <a:pt x="199" y="80"/>
                  </a:cubicBezTo>
                  <a:cubicBezTo>
                    <a:pt x="196" y="80"/>
                    <a:pt x="196" y="80"/>
                    <a:pt x="196" y="80"/>
                  </a:cubicBezTo>
                  <a:cubicBezTo>
                    <a:pt x="199" y="78"/>
                    <a:pt x="199" y="78"/>
                    <a:pt x="199" y="78"/>
                  </a:cubicBezTo>
                  <a:cubicBezTo>
                    <a:pt x="199" y="78"/>
                    <a:pt x="199" y="78"/>
                    <a:pt x="199" y="78"/>
                  </a:cubicBezTo>
                  <a:cubicBezTo>
                    <a:pt x="199" y="77"/>
                    <a:pt x="199" y="77"/>
                    <a:pt x="199" y="76"/>
                  </a:cubicBezTo>
                  <a:cubicBezTo>
                    <a:pt x="199" y="75"/>
                    <a:pt x="199" y="75"/>
                    <a:pt x="199" y="74"/>
                  </a:cubicBezTo>
                  <a:cubicBezTo>
                    <a:pt x="199" y="72"/>
                    <a:pt x="200" y="70"/>
                    <a:pt x="202" y="68"/>
                  </a:cubicBezTo>
                  <a:cubicBezTo>
                    <a:pt x="202" y="68"/>
                    <a:pt x="203" y="67"/>
                    <a:pt x="203" y="67"/>
                  </a:cubicBezTo>
                  <a:cubicBezTo>
                    <a:pt x="203" y="66"/>
                    <a:pt x="204" y="66"/>
                    <a:pt x="204" y="65"/>
                  </a:cubicBezTo>
                  <a:cubicBezTo>
                    <a:pt x="205" y="65"/>
                    <a:pt x="207" y="62"/>
                    <a:pt x="208" y="59"/>
                  </a:cubicBezTo>
                  <a:cubicBezTo>
                    <a:pt x="210" y="56"/>
                    <a:pt x="212" y="54"/>
                    <a:pt x="213" y="52"/>
                  </a:cubicBezTo>
                  <a:cubicBezTo>
                    <a:pt x="206" y="44"/>
                    <a:pt x="206" y="44"/>
                    <a:pt x="206" y="44"/>
                  </a:cubicBezTo>
                  <a:cubicBezTo>
                    <a:pt x="204" y="41"/>
                    <a:pt x="201" y="38"/>
                    <a:pt x="198" y="35"/>
                  </a:cubicBezTo>
                  <a:cubicBezTo>
                    <a:pt x="195" y="32"/>
                    <a:pt x="195" y="32"/>
                    <a:pt x="195" y="32"/>
                  </a:cubicBezTo>
                  <a:cubicBezTo>
                    <a:pt x="191" y="27"/>
                    <a:pt x="186" y="22"/>
                    <a:pt x="181" y="17"/>
                  </a:cubicBezTo>
                  <a:cubicBezTo>
                    <a:pt x="179" y="15"/>
                    <a:pt x="179" y="15"/>
                    <a:pt x="179" y="15"/>
                  </a:cubicBezTo>
                  <a:cubicBezTo>
                    <a:pt x="178" y="14"/>
                    <a:pt x="175" y="13"/>
                    <a:pt x="174" y="12"/>
                  </a:cubicBezTo>
                  <a:cubicBezTo>
                    <a:pt x="173" y="12"/>
                    <a:pt x="173" y="12"/>
                    <a:pt x="173" y="12"/>
                  </a:cubicBezTo>
                  <a:cubicBezTo>
                    <a:pt x="172" y="12"/>
                    <a:pt x="171" y="12"/>
                    <a:pt x="171" y="11"/>
                  </a:cubicBezTo>
                  <a:cubicBezTo>
                    <a:pt x="170" y="11"/>
                    <a:pt x="169" y="11"/>
                    <a:pt x="168" y="10"/>
                  </a:cubicBezTo>
                  <a:cubicBezTo>
                    <a:pt x="168" y="10"/>
                    <a:pt x="168" y="10"/>
                    <a:pt x="168" y="10"/>
                  </a:cubicBezTo>
                  <a:cubicBezTo>
                    <a:pt x="167" y="9"/>
                    <a:pt x="166" y="9"/>
                    <a:pt x="166" y="8"/>
                  </a:cubicBezTo>
                  <a:cubicBezTo>
                    <a:pt x="165" y="8"/>
                    <a:pt x="165" y="8"/>
                    <a:pt x="165" y="8"/>
                  </a:cubicBezTo>
                  <a:cubicBezTo>
                    <a:pt x="165" y="8"/>
                    <a:pt x="165" y="8"/>
                    <a:pt x="165" y="8"/>
                  </a:cubicBezTo>
                  <a:cubicBezTo>
                    <a:pt x="164" y="7"/>
                    <a:pt x="164" y="7"/>
                    <a:pt x="164" y="7"/>
                  </a:cubicBezTo>
                  <a:cubicBezTo>
                    <a:pt x="163" y="6"/>
                    <a:pt x="163" y="6"/>
                    <a:pt x="163" y="6"/>
                  </a:cubicBezTo>
                  <a:cubicBezTo>
                    <a:pt x="163" y="6"/>
                    <a:pt x="163" y="6"/>
                    <a:pt x="163" y="6"/>
                  </a:cubicBezTo>
                  <a:cubicBezTo>
                    <a:pt x="162" y="6"/>
                    <a:pt x="162" y="6"/>
                    <a:pt x="162" y="6"/>
                  </a:cubicBezTo>
                  <a:cubicBezTo>
                    <a:pt x="162" y="6"/>
                    <a:pt x="162" y="6"/>
                    <a:pt x="162" y="6"/>
                  </a:cubicBezTo>
                  <a:cubicBezTo>
                    <a:pt x="161" y="7"/>
                    <a:pt x="159" y="7"/>
                    <a:pt x="158" y="7"/>
                  </a:cubicBezTo>
                  <a:cubicBezTo>
                    <a:pt x="157" y="7"/>
                    <a:pt x="156" y="7"/>
                    <a:pt x="154" y="6"/>
                  </a:cubicBezTo>
                  <a:cubicBezTo>
                    <a:pt x="154" y="6"/>
                    <a:pt x="153" y="6"/>
                    <a:pt x="153" y="5"/>
                  </a:cubicBezTo>
                  <a:cubicBezTo>
                    <a:pt x="152" y="6"/>
                    <a:pt x="152" y="6"/>
                    <a:pt x="151" y="7"/>
                  </a:cubicBezTo>
                  <a:cubicBezTo>
                    <a:pt x="150" y="7"/>
                    <a:pt x="150" y="7"/>
                    <a:pt x="150" y="7"/>
                  </a:cubicBezTo>
                  <a:cubicBezTo>
                    <a:pt x="149" y="7"/>
                    <a:pt x="148" y="7"/>
                    <a:pt x="147" y="7"/>
                  </a:cubicBezTo>
                  <a:cubicBezTo>
                    <a:pt x="146" y="8"/>
                    <a:pt x="146" y="8"/>
                    <a:pt x="145" y="8"/>
                  </a:cubicBezTo>
                  <a:cubicBezTo>
                    <a:pt x="145" y="8"/>
                    <a:pt x="145" y="8"/>
                    <a:pt x="145" y="8"/>
                  </a:cubicBezTo>
                  <a:cubicBezTo>
                    <a:pt x="145" y="8"/>
                    <a:pt x="145" y="8"/>
                    <a:pt x="145" y="8"/>
                  </a:cubicBezTo>
                  <a:cubicBezTo>
                    <a:pt x="145" y="8"/>
                    <a:pt x="145" y="8"/>
                    <a:pt x="145" y="8"/>
                  </a:cubicBezTo>
                  <a:cubicBezTo>
                    <a:pt x="140" y="6"/>
                    <a:pt x="140" y="6"/>
                    <a:pt x="140" y="6"/>
                  </a:cubicBezTo>
                  <a:cubicBezTo>
                    <a:pt x="140" y="5"/>
                    <a:pt x="140" y="5"/>
                    <a:pt x="140" y="5"/>
                  </a:cubicBezTo>
                  <a:cubicBezTo>
                    <a:pt x="140" y="5"/>
                    <a:pt x="140" y="5"/>
                    <a:pt x="140" y="5"/>
                  </a:cubicBezTo>
                  <a:cubicBezTo>
                    <a:pt x="140" y="5"/>
                    <a:pt x="140" y="5"/>
                    <a:pt x="140" y="5"/>
                  </a:cubicBezTo>
                  <a:cubicBezTo>
                    <a:pt x="140" y="4"/>
                    <a:pt x="140" y="4"/>
                    <a:pt x="140" y="4"/>
                  </a:cubicBezTo>
                  <a:cubicBezTo>
                    <a:pt x="140" y="4"/>
                    <a:pt x="140" y="4"/>
                    <a:pt x="140" y="4"/>
                  </a:cubicBezTo>
                  <a:cubicBezTo>
                    <a:pt x="139" y="5"/>
                    <a:pt x="138" y="5"/>
                    <a:pt x="138" y="6"/>
                  </a:cubicBezTo>
                  <a:cubicBezTo>
                    <a:pt x="137" y="6"/>
                    <a:pt x="137" y="6"/>
                    <a:pt x="136" y="6"/>
                  </a:cubicBezTo>
                  <a:cubicBezTo>
                    <a:pt x="135" y="6"/>
                    <a:pt x="134" y="7"/>
                    <a:pt x="134" y="7"/>
                  </a:cubicBezTo>
                  <a:cubicBezTo>
                    <a:pt x="133" y="7"/>
                    <a:pt x="132" y="7"/>
                    <a:pt x="131" y="8"/>
                  </a:cubicBezTo>
                  <a:cubicBezTo>
                    <a:pt x="130" y="8"/>
                    <a:pt x="128" y="8"/>
                    <a:pt x="127" y="9"/>
                  </a:cubicBezTo>
                  <a:cubicBezTo>
                    <a:pt x="125" y="10"/>
                    <a:pt x="125" y="10"/>
                    <a:pt x="125" y="10"/>
                  </a:cubicBezTo>
                  <a:cubicBezTo>
                    <a:pt x="124" y="8"/>
                    <a:pt x="124" y="8"/>
                    <a:pt x="124" y="8"/>
                  </a:cubicBezTo>
                  <a:cubicBezTo>
                    <a:pt x="123" y="7"/>
                    <a:pt x="121" y="6"/>
                    <a:pt x="120" y="5"/>
                  </a:cubicBezTo>
                  <a:cubicBezTo>
                    <a:pt x="119" y="4"/>
                    <a:pt x="119" y="4"/>
                    <a:pt x="119" y="4"/>
                  </a:cubicBezTo>
                  <a:cubicBezTo>
                    <a:pt x="118" y="3"/>
                    <a:pt x="118" y="3"/>
                    <a:pt x="117" y="2"/>
                  </a:cubicBezTo>
                  <a:cubicBezTo>
                    <a:pt x="116" y="2"/>
                    <a:pt x="115" y="2"/>
                    <a:pt x="114" y="1"/>
                  </a:cubicBezTo>
                  <a:cubicBezTo>
                    <a:pt x="113" y="1"/>
                    <a:pt x="112" y="1"/>
                    <a:pt x="1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 name="Freeform 210">
              <a:extLst>
                <a:ext uri="{FF2B5EF4-FFF2-40B4-BE49-F238E27FC236}">
                  <a16:creationId xmlns:a16="http://schemas.microsoft.com/office/drawing/2014/main" id="{8A75A765-70A4-4FE1-B448-5C5F8D574EB8}"/>
                </a:ext>
              </a:extLst>
            </p:cNvPr>
            <p:cNvSpPr>
              <a:spLocks/>
            </p:cNvSpPr>
            <p:nvPr/>
          </p:nvSpPr>
          <p:spPr bwMode="auto">
            <a:xfrm>
              <a:off x="5748" y="1947"/>
              <a:ext cx="0" cy="2"/>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 name="Freeform 211">
              <a:extLst>
                <a:ext uri="{FF2B5EF4-FFF2-40B4-BE49-F238E27FC236}">
                  <a16:creationId xmlns:a16="http://schemas.microsoft.com/office/drawing/2014/main" id="{2573CEAE-9265-4D30-8FE1-12C541BC9C42}"/>
                </a:ext>
              </a:extLst>
            </p:cNvPr>
            <p:cNvSpPr>
              <a:spLocks/>
            </p:cNvSpPr>
            <p:nvPr/>
          </p:nvSpPr>
          <p:spPr bwMode="auto">
            <a:xfrm>
              <a:off x="5748" y="1947"/>
              <a:ext cx="0" cy="2"/>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 name="Freeform 212">
              <a:extLst>
                <a:ext uri="{FF2B5EF4-FFF2-40B4-BE49-F238E27FC236}">
                  <a16:creationId xmlns:a16="http://schemas.microsoft.com/office/drawing/2014/main" id="{379A1F05-F099-451A-8489-A320318CC394}"/>
                </a:ext>
              </a:extLst>
            </p:cNvPr>
            <p:cNvSpPr>
              <a:spLocks/>
            </p:cNvSpPr>
            <p:nvPr/>
          </p:nvSpPr>
          <p:spPr bwMode="auto">
            <a:xfrm>
              <a:off x="5696" y="1750"/>
              <a:ext cx="359" cy="305"/>
            </a:xfrm>
            <a:custGeom>
              <a:avLst/>
              <a:gdLst>
                <a:gd name="T0" fmla="*/ 43 w 152"/>
                <a:gd name="T1" fmla="*/ 8 h 129"/>
                <a:gd name="T2" fmla="*/ 42 w 152"/>
                <a:gd name="T3" fmla="*/ 9 h 129"/>
                <a:gd name="T4" fmla="*/ 41 w 152"/>
                <a:gd name="T5" fmla="*/ 10 h 129"/>
                <a:gd name="T6" fmla="*/ 38 w 152"/>
                <a:gd name="T7" fmla="*/ 11 h 129"/>
                <a:gd name="T8" fmla="*/ 33 w 152"/>
                <a:gd name="T9" fmla="*/ 12 h 129"/>
                <a:gd name="T10" fmla="*/ 30 w 152"/>
                <a:gd name="T11" fmla="*/ 14 h 129"/>
                <a:gd name="T12" fmla="*/ 24 w 152"/>
                <a:gd name="T13" fmla="*/ 19 h 129"/>
                <a:gd name="T14" fmla="*/ 22 w 152"/>
                <a:gd name="T15" fmla="*/ 21 h 129"/>
                <a:gd name="T16" fmla="*/ 9 w 152"/>
                <a:gd name="T17" fmla="*/ 42 h 129"/>
                <a:gd name="T18" fmla="*/ 0 w 152"/>
                <a:gd name="T19" fmla="*/ 73 h 129"/>
                <a:gd name="T20" fmla="*/ 1 w 152"/>
                <a:gd name="T21" fmla="*/ 76 h 129"/>
                <a:gd name="T22" fmla="*/ 1 w 152"/>
                <a:gd name="T23" fmla="*/ 81 h 129"/>
                <a:gd name="T24" fmla="*/ 1 w 152"/>
                <a:gd name="T25" fmla="*/ 84 h 129"/>
                <a:gd name="T26" fmla="*/ 2 w 152"/>
                <a:gd name="T27" fmla="*/ 84 h 129"/>
                <a:gd name="T28" fmla="*/ 8 w 152"/>
                <a:gd name="T29" fmla="*/ 84 h 129"/>
                <a:gd name="T30" fmla="*/ 13 w 152"/>
                <a:gd name="T31" fmla="*/ 82 h 129"/>
                <a:gd name="T32" fmla="*/ 19 w 152"/>
                <a:gd name="T33" fmla="*/ 80 h 129"/>
                <a:gd name="T34" fmla="*/ 22 w 152"/>
                <a:gd name="T35" fmla="*/ 83 h 129"/>
                <a:gd name="T36" fmla="*/ 27 w 152"/>
                <a:gd name="T37" fmla="*/ 74 h 129"/>
                <a:gd name="T38" fmla="*/ 31 w 152"/>
                <a:gd name="T39" fmla="*/ 66 h 129"/>
                <a:gd name="T40" fmla="*/ 35 w 152"/>
                <a:gd name="T41" fmla="*/ 72 h 129"/>
                <a:gd name="T42" fmla="*/ 36 w 152"/>
                <a:gd name="T43" fmla="*/ 73 h 129"/>
                <a:gd name="T44" fmla="*/ 45 w 152"/>
                <a:gd name="T45" fmla="*/ 78 h 129"/>
                <a:gd name="T46" fmla="*/ 50 w 152"/>
                <a:gd name="T47" fmla="*/ 79 h 129"/>
                <a:gd name="T48" fmla="*/ 54 w 152"/>
                <a:gd name="T49" fmla="*/ 78 h 129"/>
                <a:gd name="T50" fmla="*/ 58 w 152"/>
                <a:gd name="T51" fmla="*/ 76 h 129"/>
                <a:gd name="T52" fmla="*/ 60 w 152"/>
                <a:gd name="T53" fmla="*/ 75 h 129"/>
                <a:gd name="T54" fmla="*/ 63 w 152"/>
                <a:gd name="T55" fmla="*/ 75 h 129"/>
                <a:gd name="T56" fmla="*/ 69 w 152"/>
                <a:gd name="T57" fmla="*/ 74 h 129"/>
                <a:gd name="T58" fmla="*/ 65 w 152"/>
                <a:gd name="T59" fmla="*/ 79 h 129"/>
                <a:gd name="T60" fmla="*/ 68 w 152"/>
                <a:gd name="T61" fmla="*/ 79 h 129"/>
                <a:gd name="T62" fmla="*/ 70 w 152"/>
                <a:gd name="T63" fmla="*/ 77 h 129"/>
                <a:gd name="T64" fmla="*/ 78 w 152"/>
                <a:gd name="T65" fmla="*/ 78 h 129"/>
                <a:gd name="T66" fmla="*/ 83 w 152"/>
                <a:gd name="T67" fmla="*/ 77 h 129"/>
                <a:gd name="T68" fmla="*/ 91 w 152"/>
                <a:gd name="T69" fmla="*/ 76 h 129"/>
                <a:gd name="T70" fmla="*/ 91 w 152"/>
                <a:gd name="T71" fmla="*/ 82 h 129"/>
                <a:gd name="T72" fmla="*/ 95 w 152"/>
                <a:gd name="T73" fmla="*/ 84 h 129"/>
                <a:gd name="T74" fmla="*/ 123 w 152"/>
                <a:gd name="T75" fmla="*/ 108 h 129"/>
                <a:gd name="T76" fmla="*/ 144 w 152"/>
                <a:gd name="T77" fmla="*/ 129 h 129"/>
                <a:gd name="T78" fmla="*/ 151 w 152"/>
                <a:gd name="T79" fmla="*/ 119 h 129"/>
                <a:gd name="T80" fmla="*/ 136 w 152"/>
                <a:gd name="T81" fmla="*/ 109 h 129"/>
                <a:gd name="T82" fmla="*/ 107 w 152"/>
                <a:gd name="T83" fmla="*/ 78 h 129"/>
                <a:gd name="T84" fmla="*/ 77 w 152"/>
                <a:gd name="T85" fmla="*/ 57 h 129"/>
                <a:gd name="T86" fmla="*/ 75 w 152"/>
                <a:gd name="T87" fmla="*/ 66 h 129"/>
                <a:gd name="T88" fmla="*/ 68 w 152"/>
                <a:gd name="T89" fmla="*/ 54 h 129"/>
                <a:gd name="T90" fmla="*/ 49 w 152"/>
                <a:gd name="T9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2" h="129">
                  <a:moveTo>
                    <a:pt x="49" y="0"/>
                  </a:moveTo>
                  <a:cubicBezTo>
                    <a:pt x="49" y="0"/>
                    <a:pt x="48" y="1"/>
                    <a:pt x="48" y="1"/>
                  </a:cubicBezTo>
                  <a:cubicBezTo>
                    <a:pt x="47" y="3"/>
                    <a:pt x="45" y="6"/>
                    <a:pt x="43" y="8"/>
                  </a:cubicBezTo>
                  <a:cubicBezTo>
                    <a:pt x="43" y="8"/>
                    <a:pt x="43" y="8"/>
                    <a:pt x="43" y="8"/>
                  </a:cubicBezTo>
                  <a:cubicBezTo>
                    <a:pt x="42" y="8"/>
                    <a:pt x="42" y="8"/>
                    <a:pt x="42" y="8"/>
                  </a:cubicBezTo>
                  <a:cubicBezTo>
                    <a:pt x="42" y="9"/>
                    <a:pt x="42" y="9"/>
                    <a:pt x="42" y="9"/>
                  </a:cubicBezTo>
                  <a:cubicBezTo>
                    <a:pt x="42" y="9"/>
                    <a:pt x="42" y="9"/>
                    <a:pt x="42" y="9"/>
                  </a:cubicBezTo>
                  <a:cubicBezTo>
                    <a:pt x="41" y="10"/>
                    <a:pt x="41" y="10"/>
                    <a:pt x="41" y="10"/>
                  </a:cubicBezTo>
                  <a:cubicBezTo>
                    <a:pt x="41" y="10"/>
                    <a:pt x="41" y="10"/>
                    <a:pt x="41" y="10"/>
                  </a:cubicBezTo>
                  <a:cubicBezTo>
                    <a:pt x="41" y="10"/>
                    <a:pt x="41" y="10"/>
                    <a:pt x="41" y="10"/>
                  </a:cubicBezTo>
                  <a:cubicBezTo>
                    <a:pt x="40" y="10"/>
                    <a:pt x="40" y="10"/>
                    <a:pt x="39" y="11"/>
                  </a:cubicBezTo>
                  <a:cubicBezTo>
                    <a:pt x="39" y="11"/>
                    <a:pt x="38" y="11"/>
                    <a:pt x="38" y="11"/>
                  </a:cubicBezTo>
                  <a:cubicBezTo>
                    <a:pt x="37" y="11"/>
                    <a:pt x="37" y="11"/>
                    <a:pt x="37" y="11"/>
                  </a:cubicBezTo>
                  <a:cubicBezTo>
                    <a:pt x="36" y="11"/>
                    <a:pt x="35" y="11"/>
                    <a:pt x="34" y="11"/>
                  </a:cubicBezTo>
                  <a:cubicBezTo>
                    <a:pt x="34" y="12"/>
                    <a:pt x="34" y="12"/>
                    <a:pt x="33" y="12"/>
                  </a:cubicBezTo>
                  <a:cubicBezTo>
                    <a:pt x="33" y="12"/>
                    <a:pt x="33" y="12"/>
                    <a:pt x="33" y="12"/>
                  </a:cubicBezTo>
                  <a:cubicBezTo>
                    <a:pt x="32" y="13"/>
                    <a:pt x="31" y="13"/>
                    <a:pt x="31" y="14"/>
                  </a:cubicBezTo>
                  <a:cubicBezTo>
                    <a:pt x="30" y="14"/>
                    <a:pt x="30" y="14"/>
                    <a:pt x="30" y="14"/>
                  </a:cubicBezTo>
                  <a:cubicBezTo>
                    <a:pt x="28" y="15"/>
                    <a:pt x="26" y="16"/>
                    <a:pt x="25" y="17"/>
                  </a:cubicBezTo>
                  <a:cubicBezTo>
                    <a:pt x="25" y="18"/>
                    <a:pt x="25" y="18"/>
                    <a:pt x="25" y="18"/>
                  </a:cubicBezTo>
                  <a:cubicBezTo>
                    <a:pt x="24" y="19"/>
                    <a:pt x="24" y="19"/>
                    <a:pt x="24" y="19"/>
                  </a:cubicBezTo>
                  <a:cubicBezTo>
                    <a:pt x="23" y="19"/>
                    <a:pt x="23" y="19"/>
                    <a:pt x="23" y="19"/>
                  </a:cubicBezTo>
                  <a:cubicBezTo>
                    <a:pt x="23" y="20"/>
                    <a:pt x="23" y="20"/>
                    <a:pt x="23" y="20"/>
                  </a:cubicBezTo>
                  <a:cubicBezTo>
                    <a:pt x="22" y="21"/>
                    <a:pt x="22" y="21"/>
                    <a:pt x="22" y="21"/>
                  </a:cubicBezTo>
                  <a:cubicBezTo>
                    <a:pt x="21" y="22"/>
                    <a:pt x="19" y="23"/>
                    <a:pt x="16" y="23"/>
                  </a:cubicBezTo>
                  <a:cubicBezTo>
                    <a:pt x="15" y="23"/>
                    <a:pt x="14" y="23"/>
                    <a:pt x="12" y="22"/>
                  </a:cubicBezTo>
                  <a:cubicBezTo>
                    <a:pt x="12" y="29"/>
                    <a:pt x="12" y="35"/>
                    <a:pt x="9" y="42"/>
                  </a:cubicBezTo>
                  <a:cubicBezTo>
                    <a:pt x="8" y="45"/>
                    <a:pt x="7" y="48"/>
                    <a:pt x="6" y="50"/>
                  </a:cubicBezTo>
                  <a:cubicBezTo>
                    <a:pt x="3" y="56"/>
                    <a:pt x="1" y="61"/>
                    <a:pt x="0" y="66"/>
                  </a:cubicBezTo>
                  <a:cubicBezTo>
                    <a:pt x="0" y="68"/>
                    <a:pt x="0" y="71"/>
                    <a:pt x="0" y="73"/>
                  </a:cubicBezTo>
                  <a:cubicBezTo>
                    <a:pt x="0" y="73"/>
                    <a:pt x="0" y="73"/>
                    <a:pt x="0" y="73"/>
                  </a:cubicBezTo>
                  <a:cubicBezTo>
                    <a:pt x="0" y="74"/>
                    <a:pt x="1" y="75"/>
                    <a:pt x="1" y="76"/>
                  </a:cubicBezTo>
                  <a:cubicBezTo>
                    <a:pt x="1" y="76"/>
                    <a:pt x="1" y="76"/>
                    <a:pt x="1" y="76"/>
                  </a:cubicBezTo>
                  <a:cubicBezTo>
                    <a:pt x="1" y="77"/>
                    <a:pt x="1" y="78"/>
                    <a:pt x="1" y="80"/>
                  </a:cubicBezTo>
                  <a:cubicBezTo>
                    <a:pt x="1" y="80"/>
                    <a:pt x="1" y="80"/>
                    <a:pt x="1" y="80"/>
                  </a:cubicBezTo>
                  <a:cubicBezTo>
                    <a:pt x="1" y="81"/>
                    <a:pt x="1" y="81"/>
                    <a:pt x="1" y="81"/>
                  </a:cubicBezTo>
                  <a:cubicBezTo>
                    <a:pt x="1" y="82"/>
                    <a:pt x="1" y="82"/>
                    <a:pt x="1" y="82"/>
                  </a:cubicBezTo>
                  <a:cubicBezTo>
                    <a:pt x="1" y="83"/>
                    <a:pt x="1" y="83"/>
                    <a:pt x="1" y="83"/>
                  </a:cubicBezTo>
                  <a:cubicBezTo>
                    <a:pt x="1" y="84"/>
                    <a:pt x="1" y="84"/>
                    <a:pt x="1" y="84"/>
                  </a:cubicBezTo>
                  <a:cubicBezTo>
                    <a:pt x="1" y="84"/>
                    <a:pt x="1" y="84"/>
                    <a:pt x="1" y="84"/>
                  </a:cubicBezTo>
                  <a:cubicBezTo>
                    <a:pt x="1" y="84"/>
                    <a:pt x="1" y="84"/>
                    <a:pt x="1" y="84"/>
                  </a:cubicBezTo>
                  <a:cubicBezTo>
                    <a:pt x="1" y="84"/>
                    <a:pt x="1" y="84"/>
                    <a:pt x="2" y="84"/>
                  </a:cubicBezTo>
                  <a:cubicBezTo>
                    <a:pt x="2" y="84"/>
                    <a:pt x="2" y="84"/>
                    <a:pt x="3" y="84"/>
                  </a:cubicBezTo>
                  <a:cubicBezTo>
                    <a:pt x="5" y="84"/>
                    <a:pt x="5" y="84"/>
                    <a:pt x="5" y="84"/>
                  </a:cubicBezTo>
                  <a:cubicBezTo>
                    <a:pt x="6" y="84"/>
                    <a:pt x="7" y="84"/>
                    <a:pt x="8" y="84"/>
                  </a:cubicBezTo>
                  <a:cubicBezTo>
                    <a:pt x="8" y="84"/>
                    <a:pt x="8" y="84"/>
                    <a:pt x="8" y="84"/>
                  </a:cubicBezTo>
                  <a:cubicBezTo>
                    <a:pt x="9" y="84"/>
                    <a:pt x="10" y="84"/>
                    <a:pt x="11" y="84"/>
                  </a:cubicBezTo>
                  <a:cubicBezTo>
                    <a:pt x="11" y="84"/>
                    <a:pt x="12" y="83"/>
                    <a:pt x="13" y="82"/>
                  </a:cubicBezTo>
                  <a:cubicBezTo>
                    <a:pt x="14" y="81"/>
                    <a:pt x="15" y="80"/>
                    <a:pt x="16" y="80"/>
                  </a:cubicBezTo>
                  <a:cubicBezTo>
                    <a:pt x="18" y="78"/>
                    <a:pt x="18" y="78"/>
                    <a:pt x="18" y="78"/>
                  </a:cubicBezTo>
                  <a:cubicBezTo>
                    <a:pt x="19" y="80"/>
                    <a:pt x="19" y="80"/>
                    <a:pt x="19" y="80"/>
                  </a:cubicBezTo>
                  <a:cubicBezTo>
                    <a:pt x="20" y="81"/>
                    <a:pt x="20" y="82"/>
                    <a:pt x="21" y="82"/>
                  </a:cubicBezTo>
                  <a:cubicBezTo>
                    <a:pt x="21" y="83"/>
                    <a:pt x="21" y="83"/>
                    <a:pt x="21" y="83"/>
                  </a:cubicBezTo>
                  <a:cubicBezTo>
                    <a:pt x="22" y="83"/>
                    <a:pt x="22" y="83"/>
                    <a:pt x="22" y="83"/>
                  </a:cubicBezTo>
                  <a:cubicBezTo>
                    <a:pt x="22" y="83"/>
                    <a:pt x="22" y="83"/>
                    <a:pt x="22" y="83"/>
                  </a:cubicBezTo>
                  <a:cubicBezTo>
                    <a:pt x="22" y="82"/>
                    <a:pt x="22" y="82"/>
                    <a:pt x="22" y="82"/>
                  </a:cubicBezTo>
                  <a:cubicBezTo>
                    <a:pt x="24" y="80"/>
                    <a:pt x="26" y="76"/>
                    <a:pt x="27" y="74"/>
                  </a:cubicBezTo>
                  <a:cubicBezTo>
                    <a:pt x="27" y="74"/>
                    <a:pt x="27" y="74"/>
                    <a:pt x="27" y="74"/>
                  </a:cubicBezTo>
                  <a:cubicBezTo>
                    <a:pt x="28" y="73"/>
                    <a:pt x="28" y="73"/>
                    <a:pt x="28" y="73"/>
                  </a:cubicBezTo>
                  <a:cubicBezTo>
                    <a:pt x="31" y="66"/>
                    <a:pt x="31" y="66"/>
                    <a:pt x="31" y="66"/>
                  </a:cubicBezTo>
                  <a:cubicBezTo>
                    <a:pt x="34" y="70"/>
                    <a:pt x="34" y="70"/>
                    <a:pt x="34" y="70"/>
                  </a:cubicBezTo>
                  <a:cubicBezTo>
                    <a:pt x="34" y="71"/>
                    <a:pt x="34" y="71"/>
                    <a:pt x="34" y="71"/>
                  </a:cubicBezTo>
                  <a:cubicBezTo>
                    <a:pt x="35" y="72"/>
                    <a:pt x="35" y="72"/>
                    <a:pt x="35" y="72"/>
                  </a:cubicBezTo>
                  <a:cubicBezTo>
                    <a:pt x="35" y="72"/>
                    <a:pt x="35" y="72"/>
                    <a:pt x="35" y="72"/>
                  </a:cubicBezTo>
                  <a:cubicBezTo>
                    <a:pt x="36" y="73"/>
                    <a:pt x="36" y="73"/>
                    <a:pt x="36" y="73"/>
                  </a:cubicBezTo>
                  <a:cubicBezTo>
                    <a:pt x="36" y="73"/>
                    <a:pt x="36" y="73"/>
                    <a:pt x="36" y="73"/>
                  </a:cubicBezTo>
                  <a:cubicBezTo>
                    <a:pt x="37" y="73"/>
                    <a:pt x="38" y="74"/>
                    <a:pt x="38" y="74"/>
                  </a:cubicBezTo>
                  <a:cubicBezTo>
                    <a:pt x="40" y="74"/>
                    <a:pt x="42" y="75"/>
                    <a:pt x="44" y="77"/>
                  </a:cubicBezTo>
                  <a:cubicBezTo>
                    <a:pt x="45" y="78"/>
                    <a:pt x="45" y="78"/>
                    <a:pt x="45" y="78"/>
                  </a:cubicBezTo>
                  <a:cubicBezTo>
                    <a:pt x="45" y="78"/>
                    <a:pt x="46" y="79"/>
                    <a:pt x="46" y="79"/>
                  </a:cubicBezTo>
                  <a:cubicBezTo>
                    <a:pt x="46" y="80"/>
                    <a:pt x="46" y="80"/>
                    <a:pt x="46" y="80"/>
                  </a:cubicBezTo>
                  <a:cubicBezTo>
                    <a:pt x="47" y="79"/>
                    <a:pt x="49" y="79"/>
                    <a:pt x="50" y="79"/>
                  </a:cubicBezTo>
                  <a:cubicBezTo>
                    <a:pt x="51" y="79"/>
                    <a:pt x="51" y="79"/>
                    <a:pt x="52" y="78"/>
                  </a:cubicBezTo>
                  <a:cubicBezTo>
                    <a:pt x="52" y="78"/>
                    <a:pt x="53" y="78"/>
                    <a:pt x="53" y="78"/>
                  </a:cubicBezTo>
                  <a:cubicBezTo>
                    <a:pt x="54" y="78"/>
                    <a:pt x="54" y="78"/>
                    <a:pt x="54" y="78"/>
                  </a:cubicBezTo>
                  <a:cubicBezTo>
                    <a:pt x="55" y="77"/>
                    <a:pt x="55" y="77"/>
                    <a:pt x="55" y="77"/>
                  </a:cubicBezTo>
                  <a:cubicBezTo>
                    <a:pt x="56" y="77"/>
                    <a:pt x="56" y="77"/>
                    <a:pt x="57" y="76"/>
                  </a:cubicBezTo>
                  <a:cubicBezTo>
                    <a:pt x="57" y="76"/>
                    <a:pt x="58" y="76"/>
                    <a:pt x="58" y="76"/>
                  </a:cubicBezTo>
                  <a:cubicBezTo>
                    <a:pt x="59" y="75"/>
                    <a:pt x="59" y="75"/>
                    <a:pt x="59" y="75"/>
                  </a:cubicBezTo>
                  <a:cubicBezTo>
                    <a:pt x="59" y="75"/>
                    <a:pt x="60" y="75"/>
                    <a:pt x="60" y="75"/>
                  </a:cubicBezTo>
                  <a:cubicBezTo>
                    <a:pt x="60" y="75"/>
                    <a:pt x="60" y="75"/>
                    <a:pt x="60" y="75"/>
                  </a:cubicBezTo>
                  <a:cubicBezTo>
                    <a:pt x="61" y="75"/>
                    <a:pt x="61" y="75"/>
                    <a:pt x="61" y="75"/>
                  </a:cubicBezTo>
                  <a:cubicBezTo>
                    <a:pt x="61" y="75"/>
                    <a:pt x="61" y="75"/>
                    <a:pt x="61" y="75"/>
                  </a:cubicBezTo>
                  <a:cubicBezTo>
                    <a:pt x="62" y="75"/>
                    <a:pt x="62" y="75"/>
                    <a:pt x="63" y="75"/>
                  </a:cubicBezTo>
                  <a:cubicBezTo>
                    <a:pt x="63" y="76"/>
                    <a:pt x="63" y="76"/>
                    <a:pt x="63" y="76"/>
                  </a:cubicBezTo>
                  <a:cubicBezTo>
                    <a:pt x="64" y="76"/>
                    <a:pt x="64" y="76"/>
                    <a:pt x="64" y="77"/>
                  </a:cubicBezTo>
                  <a:cubicBezTo>
                    <a:pt x="69" y="74"/>
                    <a:pt x="69" y="74"/>
                    <a:pt x="69" y="74"/>
                  </a:cubicBezTo>
                  <a:cubicBezTo>
                    <a:pt x="65" y="78"/>
                    <a:pt x="65" y="78"/>
                    <a:pt x="65" y="78"/>
                  </a:cubicBezTo>
                  <a:cubicBezTo>
                    <a:pt x="65" y="78"/>
                    <a:pt x="65" y="78"/>
                    <a:pt x="65" y="78"/>
                  </a:cubicBezTo>
                  <a:cubicBezTo>
                    <a:pt x="65" y="79"/>
                    <a:pt x="65" y="79"/>
                    <a:pt x="65" y="79"/>
                  </a:cubicBezTo>
                  <a:cubicBezTo>
                    <a:pt x="66" y="79"/>
                    <a:pt x="66" y="79"/>
                    <a:pt x="66" y="79"/>
                  </a:cubicBezTo>
                  <a:cubicBezTo>
                    <a:pt x="67" y="79"/>
                    <a:pt x="67" y="79"/>
                    <a:pt x="67" y="79"/>
                  </a:cubicBezTo>
                  <a:cubicBezTo>
                    <a:pt x="67" y="79"/>
                    <a:pt x="68" y="79"/>
                    <a:pt x="68" y="79"/>
                  </a:cubicBezTo>
                  <a:cubicBezTo>
                    <a:pt x="69" y="78"/>
                    <a:pt x="69" y="78"/>
                    <a:pt x="69" y="78"/>
                  </a:cubicBezTo>
                  <a:cubicBezTo>
                    <a:pt x="69" y="78"/>
                    <a:pt x="69" y="78"/>
                    <a:pt x="69" y="78"/>
                  </a:cubicBezTo>
                  <a:cubicBezTo>
                    <a:pt x="70" y="78"/>
                    <a:pt x="70" y="78"/>
                    <a:pt x="70" y="77"/>
                  </a:cubicBezTo>
                  <a:cubicBezTo>
                    <a:pt x="71" y="77"/>
                    <a:pt x="72" y="76"/>
                    <a:pt x="73" y="76"/>
                  </a:cubicBezTo>
                  <a:cubicBezTo>
                    <a:pt x="73" y="76"/>
                    <a:pt x="74" y="77"/>
                    <a:pt x="75" y="77"/>
                  </a:cubicBezTo>
                  <a:cubicBezTo>
                    <a:pt x="75" y="77"/>
                    <a:pt x="76" y="78"/>
                    <a:pt x="78" y="78"/>
                  </a:cubicBezTo>
                  <a:cubicBezTo>
                    <a:pt x="78" y="78"/>
                    <a:pt x="78" y="78"/>
                    <a:pt x="78" y="78"/>
                  </a:cubicBezTo>
                  <a:cubicBezTo>
                    <a:pt x="78" y="78"/>
                    <a:pt x="79" y="78"/>
                    <a:pt x="80" y="78"/>
                  </a:cubicBezTo>
                  <a:cubicBezTo>
                    <a:pt x="80" y="78"/>
                    <a:pt x="82" y="77"/>
                    <a:pt x="83" y="77"/>
                  </a:cubicBezTo>
                  <a:cubicBezTo>
                    <a:pt x="84" y="77"/>
                    <a:pt x="85" y="77"/>
                    <a:pt x="86" y="78"/>
                  </a:cubicBezTo>
                  <a:cubicBezTo>
                    <a:pt x="88" y="80"/>
                    <a:pt x="88" y="80"/>
                    <a:pt x="88" y="80"/>
                  </a:cubicBezTo>
                  <a:cubicBezTo>
                    <a:pt x="91" y="76"/>
                    <a:pt x="91" y="76"/>
                    <a:pt x="91" y="76"/>
                  </a:cubicBezTo>
                  <a:cubicBezTo>
                    <a:pt x="89" y="80"/>
                    <a:pt x="89" y="80"/>
                    <a:pt x="89" y="80"/>
                  </a:cubicBezTo>
                  <a:cubicBezTo>
                    <a:pt x="90" y="81"/>
                    <a:pt x="90" y="81"/>
                    <a:pt x="90" y="81"/>
                  </a:cubicBezTo>
                  <a:cubicBezTo>
                    <a:pt x="90" y="81"/>
                    <a:pt x="90" y="82"/>
                    <a:pt x="91" y="82"/>
                  </a:cubicBezTo>
                  <a:cubicBezTo>
                    <a:pt x="92" y="82"/>
                    <a:pt x="92" y="83"/>
                    <a:pt x="93" y="83"/>
                  </a:cubicBezTo>
                  <a:cubicBezTo>
                    <a:pt x="93" y="83"/>
                    <a:pt x="94" y="83"/>
                    <a:pt x="95" y="84"/>
                  </a:cubicBezTo>
                  <a:cubicBezTo>
                    <a:pt x="95" y="84"/>
                    <a:pt x="95" y="84"/>
                    <a:pt x="95" y="84"/>
                  </a:cubicBezTo>
                  <a:cubicBezTo>
                    <a:pt x="98" y="85"/>
                    <a:pt x="101" y="86"/>
                    <a:pt x="103" y="88"/>
                  </a:cubicBezTo>
                  <a:cubicBezTo>
                    <a:pt x="109" y="93"/>
                    <a:pt x="114" y="99"/>
                    <a:pt x="119" y="105"/>
                  </a:cubicBezTo>
                  <a:cubicBezTo>
                    <a:pt x="123" y="108"/>
                    <a:pt x="123" y="108"/>
                    <a:pt x="123" y="108"/>
                  </a:cubicBezTo>
                  <a:cubicBezTo>
                    <a:pt x="126" y="111"/>
                    <a:pt x="128" y="114"/>
                    <a:pt x="131" y="117"/>
                  </a:cubicBezTo>
                  <a:cubicBezTo>
                    <a:pt x="139" y="128"/>
                    <a:pt x="139" y="128"/>
                    <a:pt x="139" y="128"/>
                  </a:cubicBezTo>
                  <a:cubicBezTo>
                    <a:pt x="141" y="129"/>
                    <a:pt x="143" y="129"/>
                    <a:pt x="144" y="129"/>
                  </a:cubicBezTo>
                  <a:cubicBezTo>
                    <a:pt x="146" y="127"/>
                    <a:pt x="150" y="123"/>
                    <a:pt x="152" y="122"/>
                  </a:cubicBezTo>
                  <a:cubicBezTo>
                    <a:pt x="152" y="122"/>
                    <a:pt x="152" y="121"/>
                    <a:pt x="152" y="121"/>
                  </a:cubicBezTo>
                  <a:cubicBezTo>
                    <a:pt x="152" y="121"/>
                    <a:pt x="151" y="120"/>
                    <a:pt x="151" y="119"/>
                  </a:cubicBezTo>
                  <a:cubicBezTo>
                    <a:pt x="150" y="120"/>
                    <a:pt x="149" y="121"/>
                    <a:pt x="148" y="121"/>
                  </a:cubicBezTo>
                  <a:cubicBezTo>
                    <a:pt x="144" y="121"/>
                    <a:pt x="141" y="112"/>
                    <a:pt x="136" y="112"/>
                  </a:cubicBezTo>
                  <a:cubicBezTo>
                    <a:pt x="136" y="111"/>
                    <a:pt x="136" y="110"/>
                    <a:pt x="136" y="109"/>
                  </a:cubicBezTo>
                  <a:cubicBezTo>
                    <a:pt x="134" y="104"/>
                    <a:pt x="131" y="100"/>
                    <a:pt x="127" y="97"/>
                  </a:cubicBezTo>
                  <a:cubicBezTo>
                    <a:pt x="125" y="95"/>
                    <a:pt x="121" y="95"/>
                    <a:pt x="120" y="94"/>
                  </a:cubicBezTo>
                  <a:cubicBezTo>
                    <a:pt x="115" y="89"/>
                    <a:pt x="112" y="81"/>
                    <a:pt x="107" y="78"/>
                  </a:cubicBezTo>
                  <a:cubicBezTo>
                    <a:pt x="103" y="75"/>
                    <a:pt x="99" y="73"/>
                    <a:pt x="95" y="71"/>
                  </a:cubicBezTo>
                  <a:cubicBezTo>
                    <a:pt x="92" y="69"/>
                    <a:pt x="86" y="71"/>
                    <a:pt x="84" y="69"/>
                  </a:cubicBezTo>
                  <a:cubicBezTo>
                    <a:pt x="81" y="66"/>
                    <a:pt x="80" y="60"/>
                    <a:pt x="77" y="57"/>
                  </a:cubicBezTo>
                  <a:cubicBezTo>
                    <a:pt x="76" y="58"/>
                    <a:pt x="75" y="59"/>
                    <a:pt x="75" y="60"/>
                  </a:cubicBezTo>
                  <a:cubicBezTo>
                    <a:pt x="75" y="62"/>
                    <a:pt x="77" y="63"/>
                    <a:pt x="77" y="64"/>
                  </a:cubicBezTo>
                  <a:cubicBezTo>
                    <a:pt x="77" y="65"/>
                    <a:pt x="76" y="66"/>
                    <a:pt x="75" y="66"/>
                  </a:cubicBezTo>
                  <a:cubicBezTo>
                    <a:pt x="74" y="66"/>
                    <a:pt x="74" y="66"/>
                    <a:pt x="73" y="65"/>
                  </a:cubicBezTo>
                  <a:cubicBezTo>
                    <a:pt x="73" y="65"/>
                    <a:pt x="74" y="64"/>
                    <a:pt x="74" y="63"/>
                  </a:cubicBezTo>
                  <a:cubicBezTo>
                    <a:pt x="73" y="61"/>
                    <a:pt x="66" y="56"/>
                    <a:pt x="68" y="54"/>
                  </a:cubicBezTo>
                  <a:cubicBezTo>
                    <a:pt x="67" y="50"/>
                    <a:pt x="63" y="46"/>
                    <a:pt x="62" y="42"/>
                  </a:cubicBezTo>
                  <a:cubicBezTo>
                    <a:pt x="61" y="37"/>
                    <a:pt x="61" y="31"/>
                    <a:pt x="60" y="27"/>
                  </a:cubicBezTo>
                  <a:cubicBezTo>
                    <a:pt x="58" y="17"/>
                    <a:pt x="53" y="9"/>
                    <a:pt x="4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 name="Freeform 213">
              <a:extLst>
                <a:ext uri="{FF2B5EF4-FFF2-40B4-BE49-F238E27FC236}">
                  <a16:creationId xmlns:a16="http://schemas.microsoft.com/office/drawing/2014/main" id="{2ED6FE04-541D-49B1-91E8-43E53B2010E8}"/>
                </a:ext>
              </a:extLst>
            </p:cNvPr>
            <p:cNvSpPr>
              <a:spLocks/>
            </p:cNvSpPr>
            <p:nvPr/>
          </p:nvSpPr>
          <p:spPr bwMode="auto">
            <a:xfrm>
              <a:off x="5946" y="2084"/>
              <a:ext cx="574" cy="756"/>
            </a:xfrm>
            <a:custGeom>
              <a:avLst/>
              <a:gdLst>
                <a:gd name="T0" fmla="*/ 224 w 243"/>
                <a:gd name="T1" fmla="*/ 2 h 320"/>
                <a:gd name="T2" fmla="*/ 206 w 243"/>
                <a:gd name="T3" fmla="*/ 11 h 320"/>
                <a:gd name="T4" fmla="*/ 151 w 243"/>
                <a:gd name="T5" fmla="*/ 19 h 320"/>
                <a:gd name="T6" fmla="*/ 138 w 243"/>
                <a:gd name="T7" fmla="*/ 26 h 320"/>
                <a:gd name="T8" fmla="*/ 124 w 243"/>
                <a:gd name="T9" fmla="*/ 31 h 320"/>
                <a:gd name="T10" fmla="*/ 114 w 243"/>
                <a:gd name="T11" fmla="*/ 28 h 320"/>
                <a:gd name="T12" fmla="*/ 92 w 243"/>
                <a:gd name="T13" fmla="*/ 37 h 320"/>
                <a:gd name="T14" fmla="*/ 81 w 243"/>
                <a:gd name="T15" fmla="*/ 38 h 320"/>
                <a:gd name="T16" fmla="*/ 60 w 243"/>
                <a:gd name="T17" fmla="*/ 24 h 320"/>
                <a:gd name="T18" fmla="*/ 53 w 243"/>
                <a:gd name="T19" fmla="*/ 14 h 320"/>
                <a:gd name="T20" fmla="*/ 49 w 243"/>
                <a:gd name="T21" fmla="*/ 22 h 320"/>
                <a:gd name="T22" fmla="*/ 43 w 243"/>
                <a:gd name="T23" fmla="*/ 30 h 320"/>
                <a:gd name="T24" fmla="*/ 40 w 243"/>
                <a:gd name="T25" fmla="*/ 33 h 320"/>
                <a:gd name="T26" fmla="*/ 42 w 243"/>
                <a:gd name="T27" fmla="*/ 35 h 320"/>
                <a:gd name="T28" fmla="*/ 50 w 243"/>
                <a:gd name="T29" fmla="*/ 48 h 320"/>
                <a:gd name="T30" fmla="*/ 53 w 243"/>
                <a:gd name="T31" fmla="*/ 52 h 320"/>
                <a:gd name="T32" fmla="*/ 65 w 243"/>
                <a:gd name="T33" fmla="*/ 64 h 320"/>
                <a:gd name="T34" fmla="*/ 70 w 243"/>
                <a:gd name="T35" fmla="*/ 68 h 320"/>
                <a:gd name="T36" fmla="*/ 84 w 243"/>
                <a:gd name="T37" fmla="*/ 73 h 320"/>
                <a:gd name="T38" fmla="*/ 127 w 243"/>
                <a:gd name="T39" fmla="*/ 88 h 320"/>
                <a:gd name="T40" fmla="*/ 140 w 243"/>
                <a:gd name="T41" fmla="*/ 92 h 320"/>
                <a:gd name="T42" fmla="*/ 146 w 243"/>
                <a:gd name="T43" fmla="*/ 93 h 320"/>
                <a:gd name="T44" fmla="*/ 148 w 243"/>
                <a:gd name="T45" fmla="*/ 93 h 320"/>
                <a:gd name="T46" fmla="*/ 155 w 243"/>
                <a:gd name="T47" fmla="*/ 92 h 320"/>
                <a:gd name="T48" fmla="*/ 170 w 243"/>
                <a:gd name="T49" fmla="*/ 92 h 320"/>
                <a:gd name="T50" fmla="*/ 149 w 243"/>
                <a:gd name="T51" fmla="*/ 112 h 320"/>
                <a:gd name="T52" fmla="*/ 106 w 243"/>
                <a:gd name="T53" fmla="*/ 156 h 320"/>
                <a:gd name="T54" fmla="*/ 103 w 243"/>
                <a:gd name="T55" fmla="*/ 160 h 320"/>
                <a:gd name="T56" fmla="*/ 99 w 243"/>
                <a:gd name="T57" fmla="*/ 164 h 320"/>
                <a:gd name="T58" fmla="*/ 93 w 243"/>
                <a:gd name="T59" fmla="*/ 169 h 320"/>
                <a:gd name="T60" fmla="*/ 89 w 243"/>
                <a:gd name="T61" fmla="*/ 170 h 320"/>
                <a:gd name="T62" fmla="*/ 87 w 243"/>
                <a:gd name="T63" fmla="*/ 171 h 320"/>
                <a:gd name="T64" fmla="*/ 82 w 243"/>
                <a:gd name="T65" fmla="*/ 170 h 320"/>
                <a:gd name="T66" fmla="*/ 80 w 243"/>
                <a:gd name="T67" fmla="*/ 170 h 320"/>
                <a:gd name="T68" fmla="*/ 75 w 243"/>
                <a:gd name="T69" fmla="*/ 170 h 320"/>
                <a:gd name="T70" fmla="*/ 72 w 243"/>
                <a:gd name="T71" fmla="*/ 170 h 320"/>
                <a:gd name="T72" fmla="*/ 70 w 243"/>
                <a:gd name="T73" fmla="*/ 170 h 320"/>
                <a:gd name="T74" fmla="*/ 63 w 243"/>
                <a:gd name="T75" fmla="*/ 171 h 320"/>
                <a:gd name="T76" fmla="*/ 42 w 243"/>
                <a:gd name="T77" fmla="*/ 184 h 320"/>
                <a:gd name="T78" fmla="*/ 32 w 243"/>
                <a:gd name="T79" fmla="*/ 187 h 320"/>
                <a:gd name="T80" fmla="*/ 26 w 243"/>
                <a:gd name="T81" fmla="*/ 187 h 320"/>
                <a:gd name="T82" fmla="*/ 22 w 243"/>
                <a:gd name="T83" fmla="*/ 191 h 320"/>
                <a:gd name="T84" fmla="*/ 8 w 243"/>
                <a:gd name="T85" fmla="*/ 209 h 320"/>
                <a:gd name="T86" fmla="*/ 6 w 243"/>
                <a:gd name="T87" fmla="*/ 211 h 320"/>
                <a:gd name="T88" fmla="*/ 1 w 243"/>
                <a:gd name="T89" fmla="*/ 217 h 320"/>
                <a:gd name="T90" fmla="*/ 0 w 243"/>
                <a:gd name="T91" fmla="*/ 222 h 320"/>
                <a:gd name="T92" fmla="*/ 1 w 243"/>
                <a:gd name="T93" fmla="*/ 225 h 320"/>
                <a:gd name="T94" fmla="*/ 1 w 243"/>
                <a:gd name="T95" fmla="*/ 259 h 320"/>
                <a:gd name="T96" fmla="*/ 1 w 243"/>
                <a:gd name="T97" fmla="*/ 288 h 320"/>
                <a:gd name="T98" fmla="*/ 1 w 243"/>
                <a:gd name="T99" fmla="*/ 303 h 320"/>
                <a:gd name="T100" fmla="*/ 7 w 243"/>
                <a:gd name="T101" fmla="*/ 312 h 320"/>
                <a:gd name="T102" fmla="*/ 13 w 243"/>
                <a:gd name="T103" fmla="*/ 320 h 320"/>
                <a:gd name="T104" fmla="*/ 20 w 243"/>
                <a:gd name="T105" fmla="*/ 306 h 320"/>
                <a:gd name="T106" fmla="*/ 84 w 243"/>
                <a:gd name="T107" fmla="*/ 247 h 320"/>
                <a:gd name="T108" fmla="*/ 127 w 243"/>
                <a:gd name="T109" fmla="*/ 213 h 320"/>
                <a:gd name="T110" fmla="*/ 182 w 243"/>
                <a:gd name="T111" fmla="*/ 147 h 320"/>
                <a:gd name="T112" fmla="*/ 204 w 243"/>
                <a:gd name="T113" fmla="*/ 101 h 320"/>
                <a:gd name="T114" fmla="*/ 223 w 243"/>
                <a:gd name="T115" fmla="*/ 71 h 320"/>
                <a:gd name="T116" fmla="*/ 230 w 243"/>
                <a:gd name="T117" fmla="*/ 49 h 320"/>
                <a:gd name="T118" fmla="*/ 243 w 243"/>
                <a:gd name="T119" fmla="*/ 37 h 320"/>
                <a:gd name="T120" fmla="*/ 235 w 243"/>
                <a:gd name="T121" fmla="*/ 36 h 320"/>
                <a:gd name="T122" fmla="*/ 236 w 243"/>
                <a:gd name="T123" fmla="*/ 31 h 320"/>
                <a:gd name="T124" fmla="*/ 240 w 243"/>
                <a:gd name="T125" fmla="*/ 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3" h="320">
                  <a:moveTo>
                    <a:pt x="228" y="0"/>
                  </a:moveTo>
                  <a:cubicBezTo>
                    <a:pt x="226" y="0"/>
                    <a:pt x="225" y="1"/>
                    <a:pt x="224" y="2"/>
                  </a:cubicBezTo>
                  <a:cubicBezTo>
                    <a:pt x="222" y="3"/>
                    <a:pt x="223" y="4"/>
                    <a:pt x="222" y="5"/>
                  </a:cubicBezTo>
                  <a:cubicBezTo>
                    <a:pt x="219" y="8"/>
                    <a:pt x="210" y="9"/>
                    <a:pt x="206" y="11"/>
                  </a:cubicBezTo>
                  <a:cubicBezTo>
                    <a:pt x="199" y="13"/>
                    <a:pt x="191" y="15"/>
                    <a:pt x="183" y="18"/>
                  </a:cubicBezTo>
                  <a:cubicBezTo>
                    <a:pt x="173" y="18"/>
                    <a:pt x="162" y="19"/>
                    <a:pt x="151" y="19"/>
                  </a:cubicBezTo>
                  <a:cubicBezTo>
                    <a:pt x="148" y="19"/>
                    <a:pt x="145" y="21"/>
                    <a:pt x="142" y="23"/>
                  </a:cubicBezTo>
                  <a:cubicBezTo>
                    <a:pt x="141" y="24"/>
                    <a:pt x="140" y="25"/>
                    <a:pt x="138" y="26"/>
                  </a:cubicBezTo>
                  <a:cubicBezTo>
                    <a:pt x="134" y="27"/>
                    <a:pt x="129" y="31"/>
                    <a:pt x="125" y="31"/>
                  </a:cubicBezTo>
                  <a:cubicBezTo>
                    <a:pt x="125" y="31"/>
                    <a:pt x="124" y="31"/>
                    <a:pt x="124" y="31"/>
                  </a:cubicBezTo>
                  <a:cubicBezTo>
                    <a:pt x="123" y="31"/>
                    <a:pt x="122" y="29"/>
                    <a:pt x="120" y="29"/>
                  </a:cubicBezTo>
                  <a:cubicBezTo>
                    <a:pt x="119" y="28"/>
                    <a:pt x="116" y="28"/>
                    <a:pt x="114" y="28"/>
                  </a:cubicBezTo>
                  <a:cubicBezTo>
                    <a:pt x="113" y="28"/>
                    <a:pt x="113" y="28"/>
                    <a:pt x="112" y="28"/>
                  </a:cubicBezTo>
                  <a:cubicBezTo>
                    <a:pt x="106" y="31"/>
                    <a:pt x="99" y="34"/>
                    <a:pt x="92" y="37"/>
                  </a:cubicBezTo>
                  <a:cubicBezTo>
                    <a:pt x="90" y="38"/>
                    <a:pt x="85" y="37"/>
                    <a:pt x="82" y="38"/>
                  </a:cubicBezTo>
                  <a:cubicBezTo>
                    <a:pt x="81" y="38"/>
                    <a:pt x="81" y="38"/>
                    <a:pt x="81" y="38"/>
                  </a:cubicBezTo>
                  <a:cubicBezTo>
                    <a:pt x="78" y="38"/>
                    <a:pt x="75" y="37"/>
                    <a:pt x="73" y="35"/>
                  </a:cubicBezTo>
                  <a:cubicBezTo>
                    <a:pt x="69" y="31"/>
                    <a:pt x="64" y="28"/>
                    <a:pt x="60" y="24"/>
                  </a:cubicBezTo>
                  <a:cubicBezTo>
                    <a:pt x="59" y="22"/>
                    <a:pt x="59" y="21"/>
                    <a:pt x="58" y="20"/>
                  </a:cubicBezTo>
                  <a:cubicBezTo>
                    <a:pt x="57" y="17"/>
                    <a:pt x="55" y="16"/>
                    <a:pt x="53" y="14"/>
                  </a:cubicBezTo>
                  <a:cubicBezTo>
                    <a:pt x="52" y="16"/>
                    <a:pt x="51" y="19"/>
                    <a:pt x="49" y="22"/>
                  </a:cubicBezTo>
                  <a:cubicBezTo>
                    <a:pt x="49" y="22"/>
                    <a:pt x="49" y="22"/>
                    <a:pt x="49" y="22"/>
                  </a:cubicBezTo>
                  <a:cubicBezTo>
                    <a:pt x="46" y="25"/>
                    <a:pt x="46" y="25"/>
                    <a:pt x="46" y="25"/>
                  </a:cubicBezTo>
                  <a:cubicBezTo>
                    <a:pt x="45" y="27"/>
                    <a:pt x="44" y="28"/>
                    <a:pt x="43" y="30"/>
                  </a:cubicBezTo>
                  <a:cubicBezTo>
                    <a:pt x="43" y="30"/>
                    <a:pt x="42" y="31"/>
                    <a:pt x="41" y="32"/>
                  </a:cubicBezTo>
                  <a:cubicBezTo>
                    <a:pt x="40" y="33"/>
                    <a:pt x="40" y="33"/>
                    <a:pt x="40" y="33"/>
                  </a:cubicBezTo>
                  <a:cubicBezTo>
                    <a:pt x="40" y="33"/>
                    <a:pt x="40" y="33"/>
                    <a:pt x="40" y="33"/>
                  </a:cubicBezTo>
                  <a:cubicBezTo>
                    <a:pt x="41" y="34"/>
                    <a:pt x="42" y="35"/>
                    <a:pt x="42" y="35"/>
                  </a:cubicBezTo>
                  <a:cubicBezTo>
                    <a:pt x="43" y="36"/>
                    <a:pt x="43" y="37"/>
                    <a:pt x="43" y="37"/>
                  </a:cubicBezTo>
                  <a:cubicBezTo>
                    <a:pt x="46" y="41"/>
                    <a:pt x="48" y="44"/>
                    <a:pt x="50" y="48"/>
                  </a:cubicBezTo>
                  <a:cubicBezTo>
                    <a:pt x="51" y="49"/>
                    <a:pt x="51" y="49"/>
                    <a:pt x="51" y="49"/>
                  </a:cubicBezTo>
                  <a:cubicBezTo>
                    <a:pt x="51" y="50"/>
                    <a:pt x="52" y="51"/>
                    <a:pt x="53" y="52"/>
                  </a:cubicBezTo>
                  <a:cubicBezTo>
                    <a:pt x="54" y="55"/>
                    <a:pt x="56" y="57"/>
                    <a:pt x="57" y="59"/>
                  </a:cubicBezTo>
                  <a:cubicBezTo>
                    <a:pt x="59" y="61"/>
                    <a:pt x="62" y="63"/>
                    <a:pt x="65" y="64"/>
                  </a:cubicBezTo>
                  <a:cubicBezTo>
                    <a:pt x="68" y="67"/>
                    <a:pt x="68" y="67"/>
                    <a:pt x="68" y="67"/>
                  </a:cubicBezTo>
                  <a:cubicBezTo>
                    <a:pt x="69" y="67"/>
                    <a:pt x="69" y="68"/>
                    <a:pt x="70" y="68"/>
                  </a:cubicBezTo>
                  <a:cubicBezTo>
                    <a:pt x="72" y="70"/>
                    <a:pt x="76" y="71"/>
                    <a:pt x="80" y="72"/>
                  </a:cubicBezTo>
                  <a:cubicBezTo>
                    <a:pt x="81" y="72"/>
                    <a:pt x="83" y="73"/>
                    <a:pt x="84" y="73"/>
                  </a:cubicBezTo>
                  <a:cubicBezTo>
                    <a:pt x="84" y="73"/>
                    <a:pt x="84" y="73"/>
                    <a:pt x="84" y="73"/>
                  </a:cubicBezTo>
                  <a:cubicBezTo>
                    <a:pt x="127" y="88"/>
                    <a:pt x="127" y="88"/>
                    <a:pt x="127" y="88"/>
                  </a:cubicBezTo>
                  <a:cubicBezTo>
                    <a:pt x="128" y="88"/>
                    <a:pt x="130" y="89"/>
                    <a:pt x="131" y="89"/>
                  </a:cubicBezTo>
                  <a:cubicBezTo>
                    <a:pt x="134" y="90"/>
                    <a:pt x="137" y="92"/>
                    <a:pt x="140" y="92"/>
                  </a:cubicBezTo>
                  <a:cubicBezTo>
                    <a:pt x="141" y="92"/>
                    <a:pt x="142" y="92"/>
                    <a:pt x="143" y="92"/>
                  </a:cubicBezTo>
                  <a:cubicBezTo>
                    <a:pt x="144" y="93"/>
                    <a:pt x="145" y="93"/>
                    <a:pt x="146" y="93"/>
                  </a:cubicBezTo>
                  <a:cubicBezTo>
                    <a:pt x="147" y="93"/>
                    <a:pt x="147" y="93"/>
                    <a:pt x="147" y="93"/>
                  </a:cubicBezTo>
                  <a:cubicBezTo>
                    <a:pt x="147" y="93"/>
                    <a:pt x="148" y="93"/>
                    <a:pt x="148" y="93"/>
                  </a:cubicBezTo>
                  <a:cubicBezTo>
                    <a:pt x="150" y="93"/>
                    <a:pt x="152" y="92"/>
                    <a:pt x="154" y="92"/>
                  </a:cubicBezTo>
                  <a:cubicBezTo>
                    <a:pt x="155" y="92"/>
                    <a:pt x="155" y="92"/>
                    <a:pt x="155" y="92"/>
                  </a:cubicBezTo>
                  <a:cubicBezTo>
                    <a:pt x="158" y="92"/>
                    <a:pt x="160" y="92"/>
                    <a:pt x="163" y="92"/>
                  </a:cubicBezTo>
                  <a:cubicBezTo>
                    <a:pt x="170" y="92"/>
                    <a:pt x="170" y="92"/>
                    <a:pt x="170" y="92"/>
                  </a:cubicBezTo>
                  <a:cubicBezTo>
                    <a:pt x="165" y="97"/>
                    <a:pt x="165" y="97"/>
                    <a:pt x="165" y="97"/>
                  </a:cubicBezTo>
                  <a:cubicBezTo>
                    <a:pt x="159" y="102"/>
                    <a:pt x="154" y="106"/>
                    <a:pt x="149" y="112"/>
                  </a:cubicBezTo>
                  <a:cubicBezTo>
                    <a:pt x="137" y="123"/>
                    <a:pt x="124" y="136"/>
                    <a:pt x="110" y="152"/>
                  </a:cubicBezTo>
                  <a:cubicBezTo>
                    <a:pt x="106" y="156"/>
                    <a:pt x="106" y="156"/>
                    <a:pt x="106" y="156"/>
                  </a:cubicBezTo>
                  <a:cubicBezTo>
                    <a:pt x="105" y="157"/>
                    <a:pt x="105" y="157"/>
                    <a:pt x="105" y="157"/>
                  </a:cubicBezTo>
                  <a:cubicBezTo>
                    <a:pt x="103" y="160"/>
                    <a:pt x="103" y="160"/>
                    <a:pt x="103" y="160"/>
                  </a:cubicBezTo>
                  <a:cubicBezTo>
                    <a:pt x="102" y="160"/>
                    <a:pt x="101" y="161"/>
                    <a:pt x="101" y="162"/>
                  </a:cubicBezTo>
                  <a:cubicBezTo>
                    <a:pt x="99" y="164"/>
                    <a:pt x="99" y="164"/>
                    <a:pt x="99" y="164"/>
                  </a:cubicBezTo>
                  <a:cubicBezTo>
                    <a:pt x="98" y="165"/>
                    <a:pt x="97" y="166"/>
                    <a:pt x="95" y="167"/>
                  </a:cubicBezTo>
                  <a:cubicBezTo>
                    <a:pt x="95" y="168"/>
                    <a:pt x="94" y="169"/>
                    <a:pt x="93" y="169"/>
                  </a:cubicBezTo>
                  <a:cubicBezTo>
                    <a:pt x="91" y="170"/>
                    <a:pt x="91" y="170"/>
                    <a:pt x="91" y="170"/>
                  </a:cubicBezTo>
                  <a:cubicBezTo>
                    <a:pt x="91" y="170"/>
                    <a:pt x="90" y="170"/>
                    <a:pt x="89" y="170"/>
                  </a:cubicBezTo>
                  <a:cubicBezTo>
                    <a:pt x="89" y="171"/>
                    <a:pt x="89" y="171"/>
                    <a:pt x="89" y="171"/>
                  </a:cubicBezTo>
                  <a:cubicBezTo>
                    <a:pt x="88" y="171"/>
                    <a:pt x="87" y="171"/>
                    <a:pt x="87" y="171"/>
                  </a:cubicBezTo>
                  <a:cubicBezTo>
                    <a:pt x="87" y="171"/>
                    <a:pt x="86" y="171"/>
                    <a:pt x="86" y="171"/>
                  </a:cubicBezTo>
                  <a:cubicBezTo>
                    <a:pt x="85" y="171"/>
                    <a:pt x="84" y="171"/>
                    <a:pt x="82" y="170"/>
                  </a:cubicBezTo>
                  <a:cubicBezTo>
                    <a:pt x="82" y="170"/>
                    <a:pt x="82" y="170"/>
                    <a:pt x="82" y="170"/>
                  </a:cubicBezTo>
                  <a:cubicBezTo>
                    <a:pt x="81" y="170"/>
                    <a:pt x="81" y="170"/>
                    <a:pt x="80" y="170"/>
                  </a:cubicBezTo>
                  <a:cubicBezTo>
                    <a:pt x="79" y="170"/>
                    <a:pt x="79" y="170"/>
                    <a:pt x="79" y="170"/>
                  </a:cubicBezTo>
                  <a:cubicBezTo>
                    <a:pt x="78" y="170"/>
                    <a:pt x="77" y="170"/>
                    <a:pt x="75" y="170"/>
                  </a:cubicBezTo>
                  <a:cubicBezTo>
                    <a:pt x="74" y="170"/>
                    <a:pt x="74" y="170"/>
                    <a:pt x="74" y="170"/>
                  </a:cubicBezTo>
                  <a:cubicBezTo>
                    <a:pt x="73" y="170"/>
                    <a:pt x="72" y="170"/>
                    <a:pt x="72" y="170"/>
                  </a:cubicBezTo>
                  <a:cubicBezTo>
                    <a:pt x="72" y="170"/>
                    <a:pt x="71" y="170"/>
                    <a:pt x="71" y="170"/>
                  </a:cubicBezTo>
                  <a:cubicBezTo>
                    <a:pt x="70" y="170"/>
                    <a:pt x="70" y="170"/>
                    <a:pt x="70" y="170"/>
                  </a:cubicBezTo>
                  <a:cubicBezTo>
                    <a:pt x="70" y="170"/>
                    <a:pt x="69" y="170"/>
                    <a:pt x="68" y="170"/>
                  </a:cubicBezTo>
                  <a:cubicBezTo>
                    <a:pt x="66" y="170"/>
                    <a:pt x="65" y="171"/>
                    <a:pt x="63" y="171"/>
                  </a:cubicBezTo>
                  <a:cubicBezTo>
                    <a:pt x="58" y="172"/>
                    <a:pt x="52" y="176"/>
                    <a:pt x="47" y="180"/>
                  </a:cubicBezTo>
                  <a:cubicBezTo>
                    <a:pt x="45" y="182"/>
                    <a:pt x="44" y="183"/>
                    <a:pt x="42" y="184"/>
                  </a:cubicBezTo>
                  <a:cubicBezTo>
                    <a:pt x="40" y="185"/>
                    <a:pt x="38" y="186"/>
                    <a:pt x="35" y="186"/>
                  </a:cubicBezTo>
                  <a:cubicBezTo>
                    <a:pt x="34" y="186"/>
                    <a:pt x="33" y="186"/>
                    <a:pt x="32" y="187"/>
                  </a:cubicBezTo>
                  <a:cubicBezTo>
                    <a:pt x="32" y="187"/>
                    <a:pt x="32" y="187"/>
                    <a:pt x="32" y="187"/>
                  </a:cubicBezTo>
                  <a:cubicBezTo>
                    <a:pt x="29" y="187"/>
                    <a:pt x="27" y="187"/>
                    <a:pt x="26" y="187"/>
                  </a:cubicBezTo>
                  <a:cubicBezTo>
                    <a:pt x="25" y="188"/>
                    <a:pt x="24" y="189"/>
                    <a:pt x="24" y="189"/>
                  </a:cubicBezTo>
                  <a:cubicBezTo>
                    <a:pt x="23" y="190"/>
                    <a:pt x="22" y="191"/>
                    <a:pt x="22" y="191"/>
                  </a:cubicBezTo>
                  <a:cubicBezTo>
                    <a:pt x="21" y="192"/>
                    <a:pt x="21" y="192"/>
                    <a:pt x="21" y="192"/>
                  </a:cubicBezTo>
                  <a:cubicBezTo>
                    <a:pt x="19" y="195"/>
                    <a:pt x="8" y="209"/>
                    <a:pt x="8" y="209"/>
                  </a:cubicBezTo>
                  <a:cubicBezTo>
                    <a:pt x="6" y="211"/>
                    <a:pt x="6" y="211"/>
                    <a:pt x="6" y="211"/>
                  </a:cubicBezTo>
                  <a:cubicBezTo>
                    <a:pt x="6" y="211"/>
                    <a:pt x="6" y="211"/>
                    <a:pt x="6" y="211"/>
                  </a:cubicBezTo>
                  <a:cubicBezTo>
                    <a:pt x="4" y="214"/>
                    <a:pt x="4" y="214"/>
                    <a:pt x="4" y="214"/>
                  </a:cubicBezTo>
                  <a:cubicBezTo>
                    <a:pt x="3" y="215"/>
                    <a:pt x="2" y="216"/>
                    <a:pt x="1" y="217"/>
                  </a:cubicBezTo>
                  <a:cubicBezTo>
                    <a:pt x="0" y="218"/>
                    <a:pt x="0" y="218"/>
                    <a:pt x="0" y="218"/>
                  </a:cubicBezTo>
                  <a:cubicBezTo>
                    <a:pt x="0" y="219"/>
                    <a:pt x="0" y="221"/>
                    <a:pt x="0" y="222"/>
                  </a:cubicBezTo>
                  <a:cubicBezTo>
                    <a:pt x="0" y="223"/>
                    <a:pt x="0" y="223"/>
                    <a:pt x="0" y="223"/>
                  </a:cubicBezTo>
                  <a:cubicBezTo>
                    <a:pt x="1" y="224"/>
                    <a:pt x="1" y="224"/>
                    <a:pt x="1" y="225"/>
                  </a:cubicBezTo>
                  <a:cubicBezTo>
                    <a:pt x="1" y="236"/>
                    <a:pt x="1" y="236"/>
                    <a:pt x="1" y="236"/>
                  </a:cubicBezTo>
                  <a:cubicBezTo>
                    <a:pt x="1" y="244"/>
                    <a:pt x="1" y="251"/>
                    <a:pt x="1" y="259"/>
                  </a:cubicBezTo>
                  <a:cubicBezTo>
                    <a:pt x="1" y="261"/>
                    <a:pt x="1" y="261"/>
                    <a:pt x="1" y="261"/>
                  </a:cubicBezTo>
                  <a:cubicBezTo>
                    <a:pt x="1" y="270"/>
                    <a:pt x="1" y="279"/>
                    <a:pt x="1" y="288"/>
                  </a:cubicBezTo>
                  <a:cubicBezTo>
                    <a:pt x="1" y="289"/>
                    <a:pt x="1" y="291"/>
                    <a:pt x="0" y="292"/>
                  </a:cubicBezTo>
                  <a:cubicBezTo>
                    <a:pt x="0" y="296"/>
                    <a:pt x="0" y="301"/>
                    <a:pt x="1" y="303"/>
                  </a:cubicBezTo>
                  <a:cubicBezTo>
                    <a:pt x="1" y="304"/>
                    <a:pt x="1" y="304"/>
                    <a:pt x="3" y="306"/>
                  </a:cubicBezTo>
                  <a:cubicBezTo>
                    <a:pt x="4" y="308"/>
                    <a:pt x="6" y="310"/>
                    <a:pt x="7" y="312"/>
                  </a:cubicBezTo>
                  <a:cubicBezTo>
                    <a:pt x="7" y="313"/>
                    <a:pt x="7" y="313"/>
                    <a:pt x="7" y="313"/>
                  </a:cubicBezTo>
                  <a:cubicBezTo>
                    <a:pt x="9" y="315"/>
                    <a:pt x="11" y="317"/>
                    <a:pt x="13" y="320"/>
                  </a:cubicBezTo>
                  <a:cubicBezTo>
                    <a:pt x="15" y="315"/>
                    <a:pt x="18" y="310"/>
                    <a:pt x="20" y="305"/>
                  </a:cubicBezTo>
                  <a:cubicBezTo>
                    <a:pt x="20" y="305"/>
                    <a:pt x="20" y="305"/>
                    <a:pt x="20" y="306"/>
                  </a:cubicBezTo>
                  <a:cubicBezTo>
                    <a:pt x="35" y="293"/>
                    <a:pt x="47" y="276"/>
                    <a:pt x="63" y="263"/>
                  </a:cubicBezTo>
                  <a:cubicBezTo>
                    <a:pt x="70" y="258"/>
                    <a:pt x="77" y="252"/>
                    <a:pt x="84" y="247"/>
                  </a:cubicBezTo>
                  <a:cubicBezTo>
                    <a:pt x="88" y="244"/>
                    <a:pt x="92" y="240"/>
                    <a:pt x="96" y="238"/>
                  </a:cubicBezTo>
                  <a:cubicBezTo>
                    <a:pt x="108" y="231"/>
                    <a:pt x="117" y="222"/>
                    <a:pt x="127" y="213"/>
                  </a:cubicBezTo>
                  <a:cubicBezTo>
                    <a:pt x="138" y="203"/>
                    <a:pt x="148" y="194"/>
                    <a:pt x="157" y="183"/>
                  </a:cubicBezTo>
                  <a:cubicBezTo>
                    <a:pt x="167" y="172"/>
                    <a:pt x="174" y="159"/>
                    <a:pt x="182" y="147"/>
                  </a:cubicBezTo>
                  <a:cubicBezTo>
                    <a:pt x="187" y="139"/>
                    <a:pt x="191" y="129"/>
                    <a:pt x="196" y="120"/>
                  </a:cubicBezTo>
                  <a:cubicBezTo>
                    <a:pt x="199" y="114"/>
                    <a:pt x="202" y="108"/>
                    <a:pt x="204" y="101"/>
                  </a:cubicBezTo>
                  <a:cubicBezTo>
                    <a:pt x="206" y="96"/>
                    <a:pt x="208" y="93"/>
                    <a:pt x="212" y="89"/>
                  </a:cubicBezTo>
                  <a:cubicBezTo>
                    <a:pt x="217" y="84"/>
                    <a:pt x="220" y="77"/>
                    <a:pt x="223" y="71"/>
                  </a:cubicBezTo>
                  <a:cubicBezTo>
                    <a:pt x="225" y="68"/>
                    <a:pt x="229" y="63"/>
                    <a:pt x="229" y="60"/>
                  </a:cubicBezTo>
                  <a:cubicBezTo>
                    <a:pt x="229" y="56"/>
                    <a:pt x="230" y="53"/>
                    <a:pt x="230" y="49"/>
                  </a:cubicBezTo>
                  <a:cubicBezTo>
                    <a:pt x="231" y="45"/>
                    <a:pt x="229" y="40"/>
                    <a:pt x="234" y="38"/>
                  </a:cubicBezTo>
                  <a:cubicBezTo>
                    <a:pt x="237" y="37"/>
                    <a:pt x="240" y="38"/>
                    <a:pt x="243" y="37"/>
                  </a:cubicBezTo>
                  <a:cubicBezTo>
                    <a:pt x="241" y="36"/>
                    <a:pt x="239" y="35"/>
                    <a:pt x="237" y="34"/>
                  </a:cubicBezTo>
                  <a:cubicBezTo>
                    <a:pt x="237" y="35"/>
                    <a:pt x="236" y="35"/>
                    <a:pt x="235" y="36"/>
                  </a:cubicBezTo>
                  <a:cubicBezTo>
                    <a:pt x="235" y="35"/>
                    <a:pt x="237" y="34"/>
                    <a:pt x="237" y="34"/>
                  </a:cubicBezTo>
                  <a:cubicBezTo>
                    <a:pt x="237" y="33"/>
                    <a:pt x="236" y="32"/>
                    <a:pt x="236" y="31"/>
                  </a:cubicBezTo>
                  <a:cubicBezTo>
                    <a:pt x="236" y="27"/>
                    <a:pt x="235" y="22"/>
                    <a:pt x="235" y="18"/>
                  </a:cubicBezTo>
                  <a:cubicBezTo>
                    <a:pt x="235" y="13"/>
                    <a:pt x="238" y="8"/>
                    <a:pt x="240" y="4"/>
                  </a:cubicBezTo>
                  <a:cubicBezTo>
                    <a:pt x="237" y="3"/>
                    <a:pt x="232" y="0"/>
                    <a:pt x="2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 name="Freeform 214">
              <a:extLst>
                <a:ext uri="{FF2B5EF4-FFF2-40B4-BE49-F238E27FC236}">
                  <a16:creationId xmlns:a16="http://schemas.microsoft.com/office/drawing/2014/main" id="{6647A32E-F927-4DC0-AF6E-E86F00602A70}"/>
                </a:ext>
              </a:extLst>
            </p:cNvPr>
            <p:cNvSpPr>
              <a:spLocks/>
            </p:cNvSpPr>
            <p:nvPr/>
          </p:nvSpPr>
          <p:spPr bwMode="auto">
            <a:xfrm>
              <a:off x="5313" y="2530"/>
              <a:ext cx="288" cy="296"/>
            </a:xfrm>
            <a:custGeom>
              <a:avLst/>
              <a:gdLst>
                <a:gd name="T0" fmla="*/ 88 w 122"/>
                <a:gd name="T1" fmla="*/ 9 h 125"/>
                <a:gd name="T2" fmla="*/ 78 w 122"/>
                <a:gd name="T3" fmla="*/ 6 h 125"/>
                <a:gd name="T4" fmla="*/ 65 w 122"/>
                <a:gd name="T5" fmla="*/ 9 h 125"/>
                <a:gd name="T6" fmla="*/ 61 w 122"/>
                <a:gd name="T7" fmla="*/ 13 h 125"/>
                <a:gd name="T8" fmla="*/ 55 w 122"/>
                <a:gd name="T9" fmla="*/ 13 h 125"/>
                <a:gd name="T10" fmla="*/ 54 w 122"/>
                <a:gd name="T11" fmla="*/ 13 h 125"/>
                <a:gd name="T12" fmla="*/ 47 w 122"/>
                <a:gd name="T13" fmla="*/ 10 h 125"/>
                <a:gd name="T14" fmla="*/ 38 w 122"/>
                <a:gd name="T15" fmla="*/ 10 h 125"/>
                <a:gd name="T16" fmla="*/ 34 w 122"/>
                <a:gd name="T17" fmla="*/ 9 h 125"/>
                <a:gd name="T18" fmla="*/ 34 w 122"/>
                <a:gd name="T19" fmla="*/ 8 h 125"/>
                <a:gd name="T20" fmla="*/ 34 w 122"/>
                <a:gd name="T21" fmla="*/ 10 h 125"/>
                <a:gd name="T22" fmla="*/ 30 w 122"/>
                <a:gd name="T23" fmla="*/ 13 h 125"/>
                <a:gd name="T24" fmla="*/ 29 w 122"/>
                <a:gd name="T25" fmla="*/ 20 h 125"/>
                <a:gd name="T26" fmla="*/ 28 w 122"/>
                <a:gd name="T27" fmla="*/ 28 h 125"/>
                <a:gd name="T28" fmla="*/ 28 w 122"/>
                <a:gd name="T29" fmla="*/ 34 h 125"/>
                <a:gd name="T30" fmla="*/ 29 w 122"/>
                <a:gd name="T31" fmla="*/ 36 h 125"/>
                <a:gd name="T32" fmla="*/ 33 w 122"/>
                <a:gd name="T33" fmla="*/ 37 h 125"/>
                <a:gd name="T34" fmla="*/ 42 w 122"/>
                <a:gd name="T35" fmla="*/ 42 h 125"/>
                <a:gd name="T36" fmla="*/ 24 w 122"/>
                <a:gd name="T37" fmla="*/ 63 h 125"/>
                <a:gd name="T38" fmla="*/ 11 w 122"/>
                <a:gd name="T39" fmla="*/ 74 h 125"/>
                <a:gd name="T40" fmla="*/ 8 w 122"/>
                <a:gd name="T41" fmla="*/ 82 h 125"/>
                <a:gd name="T42" fmla="*/ 2 w 122"/>
                <a:gd name="T43" fmla="*/ 104 h 125"/>
                <a:gd name="T44" fmla="*/ 0 w 122"/>
                <a:gd name="T45" fmla="*/ 123 h 125"/>
                <a:gd name="T46" fmla="*/ 7 w 122"/>
                <a:gd name="T47" fmla="*/ 125 h 125"/>
                <a:gd name="T48" fmla="*/ 11 w 122"/>
                <a:gd name="T49" fmla="*/ 122 h 125"/>
                <a:gd name="T50" fmla="*/ 18 w 122"/>
                <a:gd name="T51" fmla="*/ 117 h 125"/>
                <a:gd name="T52" fmla="*/ 49 w 122"/>
                <a:gd name="T53" fmla="*/ 115 h 125"/>
                <a:gd name="T54" fmla="*/ 53 w 122"/>
                <a:gd name="T55" fmla="*/ 99 h 125"/>
                <a:gd name="T56" fmla="*/ 73 w 122"/>
                <a:gd name="T57" fmla="*/ 93 h 125"/>
                <a:gd name="T58" fmla="*/ 82 w 122"/>
                <a:gd name="T59" fmla="*/ 84 h 125"/>
                <a:gd name="T60" fmla="*/ 91 w 122"/>
                <a:gd name="T61" fmla="*/ 90 h 125"/>
                <a:gd name="T62" fmla="*/ 97 w 122"/>
                <a:gd name="T63" fmla="*/ 91 h 125"/>
                <a:gd name="T64" fmla="*/ 98 w 122"/>
                <a:gd name="T65" fmla="*/ 90 h 125"/>
                <a:gd name="T66" fmla="*/ 99 w 122"/>
                <a:gd name="T67" fmla="*/ 87 h 125"/>
                <a:gd name="T68" fmla="*/ 101 w 122"/>
                <a:gd name="T69" fmla="*/ 82 h 125"/>
                <a:gd name="T70" fmla="*/ 106 w 122"/>
                <a:gd name="T71" fmla="*/ 75 h 125"/>
                <a:gd name="T72" fmla="*/ 110 w 122"/>
                <a:gd name="T73" fmla="*/ 69 h 125"/>
                <a:gd name="T74" fmla="*/ 112 w 122"/>
                <a:gd name="T75" fmla="*/ 66 h 125"/>
                <a:gd name="T76" fmla="*/ 115 w 122"/>
                <a:gd name="T77" fmla="*/ 65 h 125"/>
                <a:gd name="T78" fmla="*/ 117 w 122"/>
                <a:gd name="T79" fmla="*/ 64 h 125"/>
                <a:gd name="T80" fmla="*/ 118 w 122"/>
                <a:gd name="T81" fmla="*/ 58 h 125"/>
                <a:gd name="T82" fmla="*/ 122 w 122"/>
                <a:gd name="T83" fmla="*/ 49 h 125"/>
                <a:gd name="T84" fmla="*/ 120 w 122"/>
                <a:gd name="T85" fmla="*/ 36 h 125"/>
                <a:gd name="T86" fmla="*/ 115 w 122"/>
                <a:gd name="T87" fmla="*/ 28 h 125"/>
                <a:gd name="T88" fmla="*/ 109 w 122"/>
                <a:gd name="T89" fmla="*/ 10 h 125"/>
                <a:gd name="T90" fmla="*/ 104 w 122"/>
                <a:gd name="T91" fmla="*/ 8 h 125"/>
                <a:gd name="T92" fmla="*/ 100 w 122"/>
                <a:gd name="T93" fmla="*/ 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2" h="125">
                  <a:moveTo>
                    <a:pt x="100" y="0"/>
                  </a:moveTo>
                  <a:cubicBezTo>
                    <a:pt x="95" y="5"/>
                    <a:pt x="95" y="5"/>
                    <a:pt x="95" y="5"/>
                  </a:cubicBezTo>
                  <a:cubicBezTo>
                    <a:pt x="92" y="8"/>
                    <a:pt x="91" y="9"/>
                    <a:pt x="88" y="9"/>
                  </a:cubicBezTo>
                  <a:cubicBezTo>
                    <a:pt x="87" y="9"/>
                    <a:pt x="86" y="9"/>
                    <a:pt x="85" y="9"/>
                  </a:cubicBezTo>
                  <a:cubicBezTo>
                    <a:pt x="83" y="8"/>
                    <a:pt x="82" y="8"/>
                    <a:pt x="79" y="7"/>
                  </a:cubicBezTo>
                  <a:cubicBezTo>
                    <a:pt x="78" y="6"/>
                    <a:pt x="78" y="6"/>
                    <a:pt x="78" y="6"/>
                  </a:cubicBezTo>
                  <a:cubicBezTo>
                    <a:pt x="77" y="6"/>
                    <a:pt x="77" y="6"/>
                    <a:pt x="77" y="6"/>
                  </a:cubicBezTo>
                  <a:cubicBezTo>
                    <a:pt x="75" y="6"/>
                    <a:pt x="73" y="6"/>
                    <a:pt x="69" y="8"/>
                  </a:cubicBezTo>
                  <a:cubicBezTo>
                    <a:pt x="67" y="8"/>
                    <a:pt x="66" y="9"/>
                    <a:pt x="65" y="9"/>
                  </a:cubicBezTo>
                  <a:cubicBezTo>
                    <a:pt x="64" y="10"/>
                    <a:pt x="64" y="10"/>
                    <a:pt x="64" y="10"/>
                  </a:cubicBezTo>
                  <a:cubicBezTo>
                    <a:pt x="64" y="10"/>
                    <a:pt x="63" y="11"/>
                    <a:pt x="62" y="12"/>
                  </a:cubicBezTo>
                  <a:cubicBezTo>
                    <a:pt x="61" y="13"/>
                    <a:pt x="61" y="13"/>
                    <a:pt x="61" y="13"/>
                  </a:cubicBezTo>
                  <a:cubicBezTo>
                    <a:pt x="60" y="14"/>
                    <a:pt x="59" y="14"/>
                    <a:pt x="58" y="14"/>
                  </a:cubicBezTo>
                  <a:cubicBezTo>
                    <a:pt x="57" y="14"/>
                    <a:pt x="56" y="14"/>
                    <a:pt x="55" y="13"/>
                  </a:cubicBezTo>
                  <a:cubicBezTo>
                    <a:pt x="55" y="13"/>
                    <a:pt x="55" y="13"/>
                    <a:pt x="55" y="13"/>
                  </a:cubicBezTo>
                  <a:cubicBezTo>
                    <a:pt x="54" y="13"/>
                    <a:pt x="54" y="13"/>
                    <a:pt x="54" y="13"/>
                  </a:cubicBezTo>
                  <a:cubicBezTo>
                    <a:pt x="54" y="13"/>
                    <a:pt x="54" y="13"/>
                    <a:pt x="54" y="13"/>
                  </a:cubicBezTo>
                  <a:cubicBezTo>
                    <a:pt x="54" y="13"/>
                    <a:pt x="54" y="13"/>
                    <a:pt x="54" y="13"/>
                  </a:cubicBezTo>
                  <a:cubicBezTo>
                    <a:pt x="53" y="13"/>
                    <a:pt x="51" y="12"/>
                    <a:pt x="50" y="11"/>
                  </a:cubicBezTo>
                  <a:cubicBezTo>
                    <a:pt x="49" y="8"/>
                    <a:pt x="49" y="8"/>
                    <a:pt x="49" y="8"/>
                  </a:cubicBezTo>
                  <a:cubicBezTo>
                    <a:pt x="47" y="10"/>
                    <a:pt x="47" y="10"/>
                    <a:pt x="47" y="10"/>
                  </a:cubicBezTo>
                  <a:cubicBezTo>
                    <a:pt x="45" y="11"/>
                    <a:pt x="44" y="11"/>
                    <a:pt x="42" y="11"/>
                  </a:cubicBezTo>
                  <a:cubicBezTo>
                    <a:pt x="42" y="11"/>
                    <a:pt x="41" y="11"/>
                    <a:pt x="40" y="11"/>
                  </a:cubicBezTo>
                  <a:cubicBezTo>
                    <a:pt x="39" y="10"/>
                    <a:pt x="39" y="10"/>
                    <a:pt x="38" y="10"/>
                  </a:cubicBezTo>
                  <a:cubicBezTo>
                    <a:pt x="38" y="10"/>
                    <a:pt x="38" y="10"/>
                    <a:pt x="38" y="10"/>
                  </a:cubicBezTo>
                  <a:cubicBezTo>
                    <a:pt x="37" y="10"/>
                    <a:pt x="36" y="9"/>
                    <a:pt x="35" y="9"/>
                  </a:cubicBezTo>
                  <a:cubicBezTo>
                    <a:pt x="35" y="9"/>
                    <a:pt x="35" y="9"/>
                    <a:pt x="34" y="9"/>
                  </a:cubicBezTo>
                  <a:cubicBezTo>
                    <a:pt x="35" y="9"/>
                    <a:pt x="35" y="9"/>
                    <a:pt x="35" y="9"/>
                  </a:cubicBezTo>
                  <a:cubicBezTo>
                    <a:pt x="34" y="8"/>
                    <a:pt x="34" y="8"/>
                    <a:pt x="34" y="8"/>
                  </a:cubicBezTo>
                  <a:cubicBezTo>
                    <a:pt x="34" y="8"/>
                    <a:pt x="34" y="8"/>
                    <a:pt x="34" y="8"/>
                  </a:cubicBezTo>
                  <a:cubicBezTo>
                    <a:pt x="35" y="9"/>
                    <a:pt x="35" y="9"/>
                    <a:pt x="35" y="9"/>
                  </a:cubicBezTo>
                  <a:cubicBezTo>
                    <a:pt x="34" y="10"/>
                    <a:pt x="34" y="10"/>
                    <a:pt x="34" y="10"/>
                  </a:cubicBezTo>
                  <a:cubicBezTo>
                    <a:pt x="34" y="10"/>
                    <a:pt x="34" y="10"/>
                    <a:pt x="34" y="10"/>
                  </a:cubicBezTo>
                  <a:cubicBezTo>
                    <a:pt x="34" y="10"/>
                    <a:pt x="33" y="10"/>
                    <a:pt x="33" y="11"/>
                  </a:cubicBezTo>
                  <a:cubicBezTo>
                    <a:pt x="33" y="11"/>
                    <a:pt x="32" y="11"/>
                    <a:pt x="32" y="11"/>
                  </a:cubicBezTo>
                  <a:cubicBezTo>
                    <a:pt x="31" y="12"/>
                    <a:pt x="30" y="13"/>
                    <a:pt x="30" y="13"/>
                  </a:cubicBezTo>
                  <a:cubicBezTo>
                    <a:pt x="30" y="14"/>
                    <a:pt x="30" y="14"/>
                    <a:pt x="30" y="14"/>
                  </a:cubicBezTo>
                  <a:cubicBezTo>
                    <a:pt x="31" y="22"/>
                    <a:pt x="31" y="22"/>
                    <a:pt x="31" y="22"/>
                  </a:cubicBezTo>
                  <a:cubicBezTo>
                    <a:pt x="29" y="20"/>
                    <a:pt x="29" y="20"/>
                    <a:pt x="29" y="20"/>
                  </a:cubicBezTo>
                  <a:cubicBezTo>
                    <a:pt x="29" y="20"/>
                    <a:pt x="29" y="21"/>
                    <a:pt x="28" y="21"/>
                  </a:cubicBezTo>
                  <a:cubicBezTo>
                    <a:pt x="28" y="23"/>
                    <a:pt x="28" y="25"/>
                    <a:pt x="28" y="27"/>
                  </a:cubicBezTo>
                  <a:cubicBezTo>
                    <a:pt x="28" y="27"/>
                    <a:pt x="28" y="28"/>
                    <a:pt x="28" y="28"/>
                  </a:cubicBezTo>
                  <a:cubicBezTo>
                    <a:pt x="28" y="30"/>
                    <a:pt x="28" y="31"/>
                    <a:pt x="28" y="32"/>
                  </a:cubicBezTo>
                  <a:cubicBezTo>
                    <a:pt x="28" y="33"/>
                    <a:pt x="28" y="33"/>
                    <a:pt x="28" y="33"/>
                  </a:cubicBezTo>
                  <a:cubicBezTo>
                    <a:pt x="28" y="33"/>
                    <a:pt x="28" y="34"/>
                    <a:pt x="28" y="34"/>
                  </a:cubicBezTo>
                  <a:cubicBezTo>
                    <a:pt x="28" y="35"/>
                    <a:pt x="28" y="36"/>
                    <a:pt x="28" y="36"/>
                  </a:cubicBezTo>
                  <a:cubicBezTo>
                    <a:pt x="28" y="36"/>
                    <a:pt x="28" y="36"/>
                    <a:pt x="28" y="36"/>
                  </a:cubicBezTo>
                  <a:cubicBezTo>
                    <a:pt x="29" y="36"/>
                    <a:pt x="29" y="36"/>
                    <a:pt x="29" y="36"/>
                  </a:cubicBezTo>
                  <a:cubicBezTo>
                    <a:pt x="29" y="36"/>
                    <a:pt x="29" y="36"/>
                    <a:pt x="29" y="36"/>
                  </a:cubicBezTo>
                  <a:cubicBezTo>
                    <a:pt x="31" y="36"/>
                    <a:pt x="31" y="36"/>
                    <a:pt x="31" y="36"/>
                  </a:cubicBezTo>
                  <a:cubicBezTo>
                    <a:pt x="32" y="37"/>
                    <a:pt x="32" y="37"/>
                    <a:pt x="33" y="37"/>
                  </a:cubicBezTo>
                  <a:cubicBezTo>
                    <a:pt x="33" y="38"/>
                    <a:pt x="33" y="38"/>
                    <a:pt x="33" y="38"/>
                  </a:cubicBezTo>
                  <a:cubicBezTo>
                    <a:pt x="34" y="38"/>
                    <a:pt x="35" y="39"/>
                    <a:pt x="36" y="39"/>
                  </a:cubicBezTo>
                  <a:cubicBezTo>
                    <a:pt x="42" y="42"/>
                    <a:pt x="42" y="42"/>
                    <a:pt x="42" y="42"/>
                  </a:cubicBezTo>
                  <a:cubicBezTo>
                    <a:pt x="40" y="45"/>
                    <a:pt x="40" y="45"/>
                    <a:pt x="40" y="45"/>
                  </a:cubicBezTo>
                  <a:cubicBezTo>
                    <a:pt x="39" y="47"/>
                    <a:pt x="37" y="49"/>
                    <a:pt x="35" y="52"/>
                  </a:cubicBezTo>
                  <a:cubicBezTo>
                    <a:pt x="32" y="56"/>
                    <a:pt x="28" y="60"/>
                    <a:pt x="24" y="63"/>
                  </a:cubicBezTo>
                  <a:cubicBezTo>
                    <a:pt x="20" y="67"/>
                    <a:pt x="16" y="71"/>
                    <a:pt x="13" y="74"/>
                  </a:cubicBezTo>
                  <a:cubicBezTo>
                    <a:pt x="15" y="77"/>
                    <a:pt x="15" y="77"/>
                    <a:pt x="15" y="77"/>
                  </a:cubicBezTo>
                  <a:cubicBezTo>
                    <a:pt x="11" y="74"/>
                    <a:pt x="11" y="74"/>
                    <a:pt x="11" y="74"/>
                  </a:cubicBezTo>
                  <a:cubicBezTo>
                    <a:pt x="11" y="75"/>
                    <a:pt x="11" y="75"/>
                    <a:pt x="11" y="75"/>
                  </a:cubicBezTo>
                  <a:cubicBezTo>
                    <a:pt x="10" y="76"/>
                    <a:pt x="10" y="76"/>
                    <a:pt x="9" y="77"/>
                  </a:cubicBezTo>
                  <a:cubicBezTo>
                    <a:pt x="9" y="79"/>
                    <a:pt x="9" y="80"/>
                    <a:pt x="8" y="82"/>
                  </a:cubicBezTo>
                  <a:cubicBezTo>
                    <a:pt x="8" y="84"/>
                    <a:pt x="8" y="86"/>
                    <a:pt x="7" y="88"/>
                  </a:cubicBezTo>
                  <a:cubicBezTo>
                    <a:pt x="6" y="89"/>
                    <a:pt x="6" y="89"/>
                    <a:pt x="6" y="89"/>
                  </a:cubicBezTo>
                  <a:cubicBezTo>
                    <a:pt x="4" y="94"/>
                    <a:pt x="3" y="98"/>
                    <a:pt x="2" y="104"/>
                  </a:cubicBezTo>
                  <a:cubicBezTo>
                    <a:pt x="2" y="106"/>
                    <a:pt x="1" y="108"/>
                    <a:pt x="1" y="110"/>
                  </a:cubicBezTo>
                  <a:cubicBezTo>
                    <a:pt x="0" y="114"/>
                    <a:pt x="0" y="118"/>
                    <a:pt x="0" y="122"/>
                  </a:cubicBezTo>
                  <a:cubicBezTo>
                    <a:pt x="0" y="122"/>
                    <a:pt x="0" y="123"/>
                    <a:pt x="0" y="123"/>
                  </a:cubicBezTo>
                  <a:cubicBezTo>
                    <a:pt x="1" y="123"/>
                    <a:pt x="2" y="123"/>
                    <a:pt x="3" y="123"/>
                  </a:cubicBezTo>
                  <a:cubicBezTo>
                    <a:pt x="4" y="123"/>
                    <a:pt x="4" y="123"/>
                    <a:pt x="5" y="123"/>
                  </a:cubicBezTo>
                  <a:cubicBezTo>
                    <a:pt x="6" y="123"/>
                    <a:pt x="7" y="124"/>
                    <a:pt x="7" y="125"/>
                  </a:cubicBezTo>
                  <a:cubicBezTo>
                    <a:pt x="8" y="125"/>
                    <a:pt x="8" y="125"/>
                    <a:pt x="8" y="125"/>
                  </a:cubicBezTo>
                  <a:cubicBezTo>
                    <a:pt x="8" y="124"/>
                    <a:pt x="9" y="124"/>
                    <a:pt x="10" y="123"/>
                  </a:cubicBezTo>
                  <a:cubicBezTo>
                    <a:pt x="11" y="122"/>
                    <a:pt x="11" y="122"/>
                    <a:pt x="11" y="122"/>
                  </a:cubicBezTo>
                  <a:cubicBezTo>
                    <a:pt x="12" y="121"/>
                    <a:pt x="13" y="120"/>
                    <a:pt x="15" y="119"/>
                  </a:cubicBezTo>
                  <a:cubicBezTo>
                    <a:pt x="14" y="118"/>
                    <a:pt x="14" y="118"/>
                    <a:pt x="14" y="118"/>
                  </a:cubicBezTo>
                  <a:cubicBezTo>
                    <a:pt x="18" y="117"/>
                    <a:pt x="18" y="117"/>
                    <a:pt x="18" y="117"/>
                  </a:cubicBezTo>
                  <a:cubicBezTo>
                    <a:pt x="19" y="116"/>
                    <a:pt x="19" y="116"/>
                    <a:pt x="19" y="116"/>
                  </a:cubicBezTo>
                  <a:cubicBezTo>
                    <a:pt x="20" y="116"/>
                    <a:pt x="20" y="116"/>
                    <a:pt x="20" y="116"/>
                  </a:cubicBezTo>
                  <a:cubicBezTo>
                    <a:pt x="28" y="116"/>
                    <a:pt x="39" y="115"/>
                    <a:pt x="49" y="115"/>
                  </a:cubicBezTo>
                  <a:cubicBezTo>
                    <a:pt x="48" y="114"/>
                    <a:pt x="48" y="112"/>
                    <a:pt x="48" y="111"/>
                  </a:cubicBezTo>
                  <a:cubicBezTo>
                    <a:pt x="50" y="109"/>
                    <a:pt x="52" y="106"/>
                    <a:pt x="54" y="104"/>
                  </a:cubicBezTo>
                  <a:cubicBezTo>
                    <a:pt x="55" y="102"/>
                    <a:pt x="55" y="101"/>
                    <a:pt x="53" y="99"/>
                  </a:cubicBezTo>
                  <a:cubicBezTo>
                    <a:pt x="51" y="94"/>
                    <a:pt x="63" y="94"/>
                    <a:pt x="65" y="93"/>
                  </a:cubicBezTo>
                  <a:cubicBezTo>
                    <a:pt x="69" y="93"/>
                    <a:pt x="68" y="90"/>
                    <a:pt x="70" y="88"/>
                  </a:cubicBezTo>
                  <a:cubicBezTo>
                    <a:pt x="70" y="91"/>
                    <a:pt x="70" y="93"/>
                    <a:pt x="73" y="93"/>
                  </a:cubicBezTo>
                  <a:cubicBezTo>
                    <a:pt x="74" y="93"/>
                    <a:pt x="75" y="93"/>
                    <a:pt x="76" y="93"/>
                  </a:cubicBezTo>
                  <a:cubicBezTo>
                    <a:pt x="77" y="92"/>
                    <a:pt x="77" y="92"/>
                    <a:pt x="79" y="91"/>
                  </a:cubicBezTo>
                  <a:cubicBezTo>
                    <a:pt x="81" y="90"/>
                    <a:pt x="85" y="86"/>
                    <a:pt x="82" y="84"/>
                  </a:cubicBezTo>
                  <a:cubicBezTo>
                    <a:pt x="83" y="84"/>
                    <a:pt x="84" y="84"/>
                    <a:pt x="85" y="84"/>
                  </a:cubicBezTo>
                  <a:cubicBezTo>
                    <a:pt x="86" y="84"/>
                    <a:pt x="87" y="84"/>
                    <a:pt x="88" y="86"/>
                  </a:cubicBezTo>
                  <a:cubicBezTo>
                    <a:pt x="88" y="88"/>
                    <a:pt x="89" y="90"/>
                    <a:pt x="91" y="90"/>
                  </a:cubicBezTo>
                  <a:cubicBezTo>
                    <a:pt x="91" y="90"/>
                    <a:pt x="91" y="90"/>
                    <a:pt x="91" y="90"/>
                  </a:cubicBezTo>
                  <a:cubicBezTo>
                    <a:pt x="92" y="90"/>
                    <a:pt x="94" y="87"/>
                    <a:pt x="94" y="87"/>
                  </a:cubicBezTo>
                  <a:cubicBezTo>
                    <a:pt x="94" y="89"/>
                    <a:pt x="95" y="91"/>
                    <a:pt x="97" y="91"/>
                  </a:cubicBezTo>
                  <a:cubicBezTo>
                    <a:pt x="97" y="91"/>
                    <a:pt x="97" y="91"/>
                    <a:pt x="97" y="91"/>
                  </a:cubicBezTo>
                  <a:cubicBezTo>
                    <a:pt x="98" y="91"/>
                    <a:pt x="98" y="91"/>
                    <a:pt x="98" y="91"/>
                  </a:cubicBezTo>
                  <a:cubicBezTo>
                    <a:pt x="98" y="90"/>
                    <a:pt x="98" y="90"/>
                    <a:pt x="98" y="90"/>
                  </a:cubicBezTo>
                  <a:cubicBezTo>
                    <a:pt x="98" y="90"/>
                    <a:pt x="98" y="89"/>
                    <a:pt x="98" y="89"/>
                  </a:cubicBezTo>
                  <a:cubicBezTo>
                    <a:pt x="98" y="89"/>
                    <a:pt x="98" y="89"/>
                    <a:pt x="98" y="89"/>
                  </a:cubicBezTo>
                  <a:cubicBezTo>
                    <a:pt x="98" y="88"/>
                    <a:pt x="98" y="88"/>
                    <a:pt x="99" y="87"/>
                  </a:cubicBezTo>
                  <a:cubicBezTo>
                    <a:pt x="99" y="87"/>
                    <a:pt x="99" y="87"/>
                    <a:pt x="99" y="87"/>
                  </a:cubicBezTo>
                  <a:cubicBezTo>
                    <a:pt x="100" y="86"/>
                    <a:pt x="100" y="85"/>
                    <a:pt x="101" y="83"/>
                  </a:cubicBezTo>
                  <a:cubicBezTo>
                    <a:pt x="101" y="83"/>
                    <a:pt x="101" y="82"/>
                    <a:pt x="101" y="82"/>
                  </a:cubicBezTo>
                  <a:cubicBezTo>
                    <a:pt x="103" y="80"/>
                    <a:pt x="104" y="79"/>
                    <a:pt x="105" y="77"/>
                  </a:cubicBezTo>
                  <a:cubicBezTo>
                    <a:pt x="106" y="76"/>
                    <a:pt x="106" y="76"/>
                    <a:pt x="106" y="76"/>
                  </a:cubicBezTo>
                  <a:cubicBezTo>
                    <a:pt x="106" y="76"/>
                    <a:pt x="106" y="76"/>
                    <a:pt x="106" y="75"/>
                  </a:cubicBezTo>
                  <a:cubicBezTo>
                    <a:pt x="107" y="74"/>
                    <a:pt x="107" y="74"/>
                    <a:pt x="107" y="74"/>
                  </a:cubicBezTo>
                  <a:cubicBezTo>
                    <a:pt x="107" y="73"/>
                    <a:pt x="107" y="73"/>
                    <a:pt x="107" y="73"/>
                  </a:cubicBezTo>
                  <a:cubicBezTo>
                    <a:pt x="108" y="71"/>
                    <a:pt x="109" y="70"/>
                    <a:pt x="110" y="69"/>
                  </a:cubicBezTo>
                  <a:cubicBezTo>
                    <a:pt x="110" y="68"/>
                    <a:pt x="110" y="68"/>
                    <a:pt x="111" y="68"/>
                  </a:cubicBezTo>
                  <a:cubicBezTo>
                    <a:pt x="111" y="67"/>
                    <a:pt x="111" y="67"/>
                    <a:pt x="111" y="67"/>
                  </a:cubicBezTo>
                  <a:cubicBezTo>
                    <a:pt x="111" y="67"/>
                    <a:pt x="112" y="67"/>
                    <a:pt x="112" y="66"/>
                  </a:cubicBezTo>
                  <a:cubicBezTo>
                    <a:pt x="113" y="66"/>
                    <a:pt x="113" y="66"/>
                    <a:pt x="113" y="66"/>
                  </a:cubicBezTo>
                  <a:cubicBezTo>
                    <a:pt x="113" y="65"/>
                    <a:pt x="113" y="65"/>
                    <a:pt x="113" y="65"/>
                  </a:cubicBezTo>
                  <a:cubicBezTo>
                    <a:pt x="115" y="65"/>
                    <a:pt x="115" y="65"/>
                    <a:pt x="115" y="65"/>
                  </a:cubicBezTo>
                  <a:cubicBezTo>
                    <a:pt x="116" y="64"/>
                    <a:pt x="116" y="64"/>
                    <a:pt x="117" y="64"/>
                  </a:cubicBezTo>
                  <a:cubicBezTo>
                    <a:pt x="117" y="64"/>
                    <a:pt x="117" y="64"/>
                    <a:pt x="117" y="64"/>
                  </a:cubicBezTo>
                  <a:cubicBezTo>
                    <a:pt x="117" y="64"/>
                    <a:pt x="117" y="64"/>
                    <a:pt x="117" y="64"/>
                  </a:cubicBezTo>
                  <a:cubicBezTo>
                    <a:pt x="117" y="63"/>
                    <a:pt x="117" y="63"/>
                    <a:pt x="117" y="62"/>
                  </a:cubicBezTo>
                  <a:cubicBezTo>
                    <a:pt x="117" y="61"/>
                    <a:pt x="118" y="60"/>
                    <a:pt x="118" y="59"/>
                  </a:cubicBezTo>
                  <a:cubicBezTo>
                    <a:pt x="118" y="58"/>
                    <a:pt x="118" y="58"/>
                    <a:pt x="118" y="58"/>
                  </a:cubicBezTo>
                  <a:cubicBezTo>
                    <a:pt x="118" y="58"/>
                    <a:pt x="119" y="57"/>
                    <a:pt x="119" y="57"/>
                  </a:cubicBezTo>
                  <a:cubicBezTo>
                    <a:pt x="120" y="55"/>
                    <a:pt x="120" y="55"/>
                    <a:pt x="120" y="55"/>
                  </a:cubicBezTo>
                  <a:cubicBezTo>
                    <a:pt x="121" y="53"/>
                    <a:pt x="122" y="50"/>
                    <a:pt x="122" y="49"/>
                  </a:cubicBezTo>
                  <a:cubicBezTo>
                    <a:pt x="122" y="48"/>
                    <a:pt x="122" y="48"/>
                    <a:pt x="122" y="48"/>
                  </a:cubicBezTo>
                  <a:cubicBezTo>
                    <a:pt x="122" y="48"/>
                    <a:pt x="122" y="48"/>
                    <a:pt x="122" y="48"/>
                  </a:cubicBezTo>
                  <a:cubicBezTo>
                    <a:pt x="121" y="44"/>
                    <a:pt x="120" y="41"/>
                    <a:pt x="120" y="36"/>
                  </a:cubicBezTo>
                  <a:cubicBezTo>
                    <a:pt x="120" y="35"/>
                    <a:pt x="119" y="34"/>
                    <a:pt x="117" y="31"/>
                  </a:cubicBezTo>
                  <a:cubicBezTo>
                    <a:pt x="117" y="30"/>
                    <a:pt x="116" y="29"/>
                    <a:pt x="116" y="29"/>
                  </a:cubicBezTo>
                  <a:cubicBezTo>
                    <a:pt x="115" y="28"/>
                    <a:pt x="115" y="28"/>
                    <a:pt x="115" y="28"/>
                  </a:cubicBezTo>
                  <a:cubicBezTo>
                    <a:pt x="113" y="25"/>
                    <a:pt x="112" y="23"/>
                    <a:pt x="111" y="20"/>
                  </a:cubicBezTo>
                  <a:cubicBezTo>
                    <a:pt x="111" y="18"/>
                    <a:pt x="111" y="18"/>
                    <a:pt x="111" y="18"/>
                  </a:cubicBezTo>
                  <a:cubicBezTo>
                    <a:pt x="111" y="16"/>
                    <a:pt x="110" y="12"/>
                    <a:pt x="109" y="10"/>
                  </a:cubicBezTo>
                  <a:cubicBezTo>
                    <a:pt x="109" y="10"/>
                    <a:pt x="108" y="10"/>
                    <a:pt x="108" y="10"/>
                  </a:cubicBezTo>
                  <a:cubicBezTo>
                    <a:pt x="107" y="9"/>
                    <a:pt x="107" y="9"/>
                    <a:pt x="107" y="9"/>
                  </a:cubicBezTo>
                  <a:cubicBezTo>
                    <a:pt x="105" y="9"/>
                    <a:pt x="104" y="8"/>
                    <a:pt x="104" y="8"/>
                  </a:cubicBezTo>
                  <a:cubicBezTo>
                    <a:pt x="103" y="7"/>
                    <a:pt x="102" y="6"/>
                    <a:pt x="102" y="5"/>
                  </a:cubicBezTo>
                  <a:cubicBezTo>
                    <a:pt x="101" y="4"/>
                    <a:pt x="101" y="2"/>
                    <a:pt x="100" y="1"/>
                  </a:cubicBezTo>
                  <a:cubicBezTo>
                    <a:pt x="100" y="1"/>
                    <a:pt x="100" y="1"/>
                    <a:pt x="100" y="1"/>
                  </a:cubicBezTo>
                  <a:cubicBezTo>
                    <a:pt x="100" y="0"/>
                    <a:pt x="100" y="0"/>
                    <a:pt x="10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 name="Freeform 215">
              <a:extLst>
                <a:ext uri="{FF2B5EF4-FFF2-40B4-BE49-F238E27FC236}">
                  <a16:creationId xmlns:a16="http://schemas.microsoft.com/office/drawing/2014/main" id="{7057DAFA-4FE9-437A-A3C3-C3B76E42D710}"/>
                </a:ext>
              </a:extLst>
            </p:cNvPr>
            <p:cNvSpPr>
              <a:spLocks/>
            </p:cNvSpPr>
            <p:nvPr/>
          </p:nvSpPr>
          <p:spPr bwMode="auto">
            <a:xfrm>
              <a:off x="4346" y="2462"/>
              <a:ext cx="1045" cy="1035"/>
            </a:xfrm>
            <a:custGeom>
              <a:avLst/>
              <a:gdLst>
                <a:gd name="T0" fmla="*/ 309 w 442"/>
                <a:gd name="T1" fmla="*/ 5 h 438"/>
                <a:gd name="T2" fmla="*/ 286 w 442"/>
                <a:gd name="T3" fmla="*/ 10 h 438"/>
                <a:gd name="T4" fmla="*/ 258 w 442"/>
                <a:gd name="T5" fmla="*/ 18 h 438"/>
                <a:gd name="T6" fmla="*/ 245 w 442"/>
                <a:gd name="T7" fmla="*/ 20 h 438"/>
                <a:gd name="T8" fmla="*/ 231 w 442"/>
                <a:gd name="T9" fmla="*/ 27 h 438"/>
                <a:gd name="T10" fmla="*/ 211 w 442"/>
                <a:gd name="T11" fmla="*/ 25 h 438"/>
                <a:gd name="T12" fmla="*/ 196 w 442"/>
                <a:gd name="T13" fmla="*/ 21 h 438"/>
                <a:gd name="T14" fmla="*/ 174 w 442"/>
                <a:gd name="T15" fmla="*/ 6 h 438"/>
                <a:gd name="T16" fmla="*/ 162 w 442"/>
                <a:gd name="T17" fmla="*/ 10 h 438"/>
                <a:gd name="T18" fmla="*/ 151 w 442"/>
                <a:gd name="T19" fmla="*/ 26 h 438"/>
                <a:gd name="T20" fmla="*/ 152 w 442"/>
                <a:gd name="T21" fmla="*/ 49 h 438"/>
                <a:gd name="T22" fmla="*/ 147 w 442"/>
                <a:gd name="T23" fmla="*/ 58 h 438"/>
                <a:gd name="T24" fmla="*/ 139 w 442"/>
                <a:gd name="T25" fmla="*/ 76 h 438"/>
                <a:gd name="T26" fmla="*/ 134 w 442"/>
                <a:gd name="T27" fmla="*/ 105 h 438"/>
                <a:gd name="T28" fmla="*/ 116 w 442"/>
                <a:gd name="T29" fmla="*/ 150 h 438"/>
                <a:gd name="T30" fmla="*/ 94 w 442"/>
                <a:gd name="T31" fmla="*/ 177 h 438"/>
                <a:gd name="T32" fmla="*/ 98 w 442"/>
                <a:gd name="T33" fmla="*/ 196 h 438"/>
                <a:gd name="T34" fmla="*/ 87 w 442"/>
                <a:gd name="T35" fmla="*/ 216 h 438"/>
                <a:gd name="T36" fmla="*/ 52 w 442"/>
                <a:gd name="T37" fmla="*/ 242 h 438"/>
                <a:gd name="T38" fmla="*/ 41 w 442"/>
                <a:gd name="T39" fmla="*/ 231 h 438"/>
                <a:gd name="T40" fmla="*/ 18 w 442"/>
                <a:gd name="T41" fmla="*/ 236 h 438"/>
                <a:gd name="T42" fmla="*/ 0 w 442"/>
                <a:gd name="T43" fmla="*/ 262 h 438"/>
                <a:gd name="T44" fmla="*/ 30 w 442"/>
                <a:gd name="T45" fmla="*/ 258 h 438"/>
                <a:gd name="T46" fmla="*/ 91 w 442"/>
                <a:gd name="T47" fmla="*/ 259 h 438"/>
                <a:gd name="T48" fmla="*/ 117 w 442"/>
                <a:gd name="T49" fmla="*/ 299 h 438"/>
                <a:gd name="T50" fmla="*/ 139 w 442"/>
                <a:gd name="T51" fmla="*/ 309 h 438"/>
                <a:gd name="T52" fmla="*/ 170 w 442"/>
                <a:gd name="T53" fmla="*/ 287 h 438"/>
                <a:gd name="T54" fmla="*/ 183 w 442"/>
                <a:gd name="T55" fmla="*/ 285 h 438"/>
                <a:gd name="T56" fmla="*/ 194 w 442"/>
                <a:gd name="T57" fmla="*/ 283 h 438"/>
                <a:gd name="T58" fmla="*/ 205 w 442"/>
                <a:gd name="T59" fmla="*/ 292 h 438"/>
                <a:gd name="T60" fmla="*/ 228 w 442"/>
                <a:gd name="T61" fmla="*/ 318 h 438"/>
                <a:gd name="T62" fmla="*/ 227 w 442"/>
                <a:gd name="T63" fmla="*/ 348 h 438"/>
                <a:gd name="T64" fmla="*/ 236 w 442"/>
                <a:gd name="T65" fmla="*/ 385 h 438"/>
                <a:gd name="T66" fmla="*/ 277 w 442"/>
                <a:gd name="T67" fmla="*/ 372 h 438"/>
                <a:gd name="T68" fmla="*/ 295 w 442"/>
                <a:gd name="T69" fmla="*/ 387 h 438"/>
                <a:gd name="T70" fmla="*/ 312 w 442"/>
                <a:gd name="T71" fmla="*/ 398 h 438"/>
                <a:gd name="T72" fmla="*/ 343 w 442"/>
                <a:gd name="T73" fmla="*/ 401 h 438"/>
                <a:gd name="T74" fmla="*/ 359 w 442"/>
                <a:gd name="T75" fmla="*/ 406 h 438"/>
                <a:gd name="T76" fmla="*/ 395 w 442"/>
                <a:gd name="T77" fmla="*/ 437 h 438"/>
                <a:gd name="T78" fmla="*/ 409 w 442"/>
                <a:gd name="T79" fmla="*/ 434 h 438"/>
                <a:gd name="T80" fmla="*/ 400 w 442"/>
                <a:gd name="T81" fmla="*/ 420 h 438"/>
                <a:gd name="T82" fmla="*/ 391 w 442"/>
                <a:gd name="T83" fmla="*/ 417 h 438"/>
                <a:gd name="T84" fmla="*/ 381 w 442"/>
                <a:gd name="T85" fmla="*/ 367 h 438"/>
                <a:gd name="T86" fmla="*/ 380 w 442"/>
                <a:gd name="T87" fmla="*/ 351 h 438"/>
                <a:gd name="T88" fmla="*/ 386 w 442"/>
                <a:gd name="T89" fmla="*/ 330 h 438"/>
                <a:gd name="T90" fmla="*/ 419 w 442"/>
                <a:gd name="T91" fmla="*/ 316 h 438"/>
                <a:gd name="T92" fmla="*/ 397 w 442"/>
                <a:gd name="T93" fmla="*/ 247 h 438"/>
                <a:gd name="T94" fmla="*/ 396 w 442"/>
                <a:gd name="T95" fmla="*/ 209 h 438"/>
                <a:gd name="T96" fmla="*/ 389 w 442"/>
                <a:gd name="T97" fmla="*/ 187 h 438"/>
                <a:gd name="T98" fmla="*/ 397 w 442"/>
                <a:gd name="T99" fmla="*/ 161 h 438"/>
                <a:gd name="T100" fmla="*/ 405 w 442"/>
                <a:gd name="T101" fmla="*/ 132 h 438"/>
                <a:gd name="T102" fmla="*/ 429 w 442"/>
                <a:gd name="T103" fmla="*/ 88 h 438"/>
                <a:gd name="T104" fmla="*/ 432 w 442"/>
                <a:gd name="T105" fmla="*/ 67 h 438"/>
                <a:gd name="T106" fmla="*/ 433 w 442"/>
                <a:gd name="T107" fmla="*/ 43 h 438"/>
                <a:gd name="T108" fmla="*/ 424 w 442"/>
                <a:gd name="T109" fmla="*/ 34 h 438"/>
                <a:gd name="T110" fmla="*/ 402 w 442"/>
                <a:gd name="T111" fmla="*/ 22 h 438"/>
                <a:gd name="T112" fmla="*/ 373 w 442"/>
                <a:gd name="T113" fmla="*/ 23 h 438"/>
                <a:gd name="T114" fmla="*/ 351 w 442"/>
                <a:gd name="T115" fmla="*/ 6 h 438"/>
                <a:gd name="T116" fmla="*/ 332 w 442"/>
                <a:gd name="T117" fmla="*/ 6 h 438"/>
                <a:gd name="T118" fmla="*/ 314 w 442"/>
                <a:gd name="T119" fmla="*/ 2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2" h="438">
                  <a:moveTo>
                    <a:pt x="311" y="0"/>
                  </a:moveTo>
                  <a:cubicBezTo>
                    <a:pt x="310" y="0"/>
                    <a:pt x="310" y="0"/>
                    <a:pt x="310" y="0"/>
                  </a:cubicBezTo>
                  <a:cubicBezTo>
                    <a:pt x="310" y="0"/>
                    <a:pt x="309" y="0"/>
                    <a:pt x="309" y="0"/>
                  </a:cubicBezTo>
                  <a:cubicBezTo>
                    <a:pt x="309" y="1"/>
                    <a:pt x="309" y="1"/>
                    <a:pt x="309" y="1"/>
                  </a:cubicBezTo>
                  <a:cubicBezTo>
                    <a:pt x="309" y="1"/>
                    <a:pt x="309" y="1"/>
                    <a:pt x="309" y="1"/>
                  </a:cubicBezTo>
                  <a:cubicBezTo>
                    <a:pt x="309" y="2"/>
                    <a:pt x="309" y="2"/>
                    <a:pt x="309" y="3"/>
                  </a:cubicBezTo>
                  <a:cubicBezTo>
                    <a:pt x="310" y="4"/>
                    <a:pt x="310" y="4"/>
                    <a:pt x="310" y="4"/>
                  </a:cubicBezTo>
                  <a:cubicBezTo>
                    <a:pt x="309" y="5"/>
                    <a:pt x="309" y="5"/>
                    <a:pt x="309" y="5"/>
                  </a:cubicBezTo>
                  <a:cubicBezTo>
                    <a:pt x="307" y="8"/>
                    <a:pt x="303" y="9"/>
                    <a:pt x="300" y="9"/>
                  </a:cubicBezTo>
                  <a:cubicBezTo>
                    <a:pt x="300" y="9"/>
                    <a:pt x="300" y="9"/>
                    <a:pt x="300" y="9"/>
                  </a:cubicBezTo>
                  <a:cubicBezTo>
                    <a:pt x="300" y="9"/>
                    <a:pt x="299" y="9"/>
                    <a:pt x="298" y="9"/>
                  </a:cubicBezTo>
                  <a:cubicBezTo>
                    <a:pt x="297" y="10"/>
                    <a:pt x="297" y="10"/>
                    <a:pt x="297" y="10"/>
                  </a:cubicBezTo>
                  <a:cubicBezTo>
                    <a:pt x="296" y="10"/>
                    <a:pt x="294" y="10"/>
                    <a:pt x="292" y="11"/>
                  </a:cubicBezTo>
                  <a:cubicBezTo>
                    <a:pt x="292" y="11"/>
                    <a:pt x="292" y="11"/>
                    <a:pt x="292" y="11"/>
                  </a:cubicBezTo>
                  <a:cubicBezTo>
                    <a:pt x="291" y="11"/>
                    <a:pt x="290" y="11"/>
                    <a:pt x="290" y="10"/>
                  </a:cubicBezTo>
                  <a:cubicBezTo>
                    <a:pt x="286" y="10"/>
                    <a:pt x="286" y="10"/>
                    <a:pt x="286" y="10"/>
                  </a:cubicBezTo>
                  <a:cubicBezTo>
                    <a:pt x="287" y="8"/>
                    <a:pt x="287" y="8"/>
                    <a:pt x="287" y="8"/>
                  </a:cubicBezTo>
                  <a:cubicBezTo>
                    <a:pt x="287" y="7"/>
                    <a:pt x="286" y="7"/>
                    <a:pt x="286" y="7"/>
                  </a:cubicBezTo>
                  <a:cubicBezTo>
                    <a:pt x="286" y="7"/>
                    <a:pt x="285" y="7"/>
                    <a:pt x="285" y="8"/>
                  </a:cubicBezTo>
                  <a:cubicBezTo>
                    <a:pt x="282" y="9"/>
                    <a:pt x="282" y="9"/>
                    <a:pt x="282" y="9"/>
                  </a:cubicBezTo>
                  <a:cubicBezTo>
                    <a:pt x="270" y="15"/>
                    <a:pt x="270" y="15"/>
                    <a:pt x="270" y="15"/>
                  </a:cubicBezTo>
                  <a:cubicBezTo>
                    <a:pt x="269" y="15"/>
                    <a:pt x="269" y="15"/>
                    <a:pt x="268" y="16"/>
                  </a:cubicBezTo>
                  <a:cubicBezTo>
                    <a:pt x="266" y="17"/>
                    <a:pt x="263" y="18"/>
                    <a:pt x="260" y="18"/>
                  </a:cubicBezTo>
                  <a:cubicBezTo>
                    <a:pt x="260" y="18"/>
                    <a:pt x="259" y="18"/>
                    <a:pt x="258" y="18"/>
                  </a:cubicBezTo>
                  <a:cubicBezTo>
                    <a:pt x="256" y="17"/>
                    <a:pt x="255" y="16"/>
                    <a:pt x="253" y="15"/>
                  </a:cubicBezTo>
                  <a:cubicBezTo>
                    <a:pt x="252" y="15"/>
                    <a:pt x="252" y="14"/>
                    <a:pt x="251" y="14"/>
                  </a:cubicBezTo>
                  <a:cubicBezTo>
                    <a:pt x="253" y="18"/>
                    <a:pt x="253" y="18"/>
                    <a:pt x="253" y="18"/>
                  </a:cubicBezTo>
                  <a:cubicBezTo>
                    <a:pt x="249" y="14"/>
                    <a:pt x="249" y="14"/>
                    <a:pt x="249" y="14"/>
                  </a:cubicBezTo>
                  <a:cubicBezTo>
                    <a:pt x="249" y="14"/>
                    <a:pt x="249" y="14"/>
                    <a:pt x="249" y="14"/>
                  </a:cubicBezTo>
                  <a:cubicBezTo>
                    <a:pt x="248" y="16"/>
                    <a:pt x="247" y="17"/>
                    <a:pt x="247" y="18"/>
                  </a:cubicBezTo>
                  <a:cubicBezTo>
                    <a:pt x="246" y="18"/>
                    <a:pt x="246" y="18"/>
                    <a:pt x="246" y="18"/>
                  </a:cubicBezTo>
                  <a:cubicBezTo>
                    <a:pt x="246" y="19"/>
                    <a:pt x="246" y="19"/>
                    <a:pt x="245" y="20"/>
                  </a:cubicBezTo>
                  <a:cubicBezTo>
                    <a:pt x="243" y="23"/>
                    <a:pt x="242" y="25"/>
                    <a:pt x="242" y="25"/>
                  </a:cubicBezTo>
                  <a:cubicBezTo>
                    <a:pt x="242" y="27"/>
                    <a:pt x="242" y="27"/>
                    <a:pt x="242" y="27"/>
                  </a:cubicBezTo>
                  <a:cubicBezTo>
                    <a:pt x="238" y="30"/>
                    <a:pt x="238" y="30"/>
                    <a:pt x="238" y="30"/>
                  </a:cubicBezTo>
                  <a:cubicBezTo>
                    <a:pt x="238" y="29"/>
                    <a:pt x="238" y="29"/>
                    <a:pt x="238" y="29"/>
                  </a:cubicBezTo>
                  <a:cubicBezTo>
                    <a:pt x="238" y="29"/>
                    <a:pt x="237" y="29"/>
                    <a:pt x="237" y="29"/>
                  </a:cubicBezTo>
                  <a:cubicBezTo>
                    <a:pt x="237" y="29"/>
                    <a:pt x="236" y="29"/>
                    <a:pt x="235" y="29"/>
                  </a:cubicBezTo>
                  <a:cubicBezTo>
                    <a:pt x="235" y="28"/>
                    <a:pt x="235" y="28"/>
                    <a:pt x="234" y="28"/>
                  </a:cubicBezTo>
                  <a:cubicBezTo>
                    <a:pt x="233" y="28"/>
                    <a:pt x="232" y="28"/>
                    <a:pt x="231" y="27"/>
                  </a:cubicBezTo>
                  <a:cubicBezTo>
                    <a:pt x="230" y="27"/>
                    <a:pt x="230" y="27"/>
                    <a:pt x="230" y="27"/>
                  </a:cubicBezTo>
                  <a:cubicBezTo>
                    <a:pt x="230" y="27"/>
                    <a:pt x="229" y="27"/>
                    <a:pt x="229" y="27"/>
                  </a:cubicBezTo>
                  <a:cubicBezTo>
                    <a:pt x="228" y="27"/>
                    <a:pt x="228" y="27"/>
                    <a:pt x="228" y="27"/>
                  </a:cubicBezTo>
                  <a:cubicBezTo>
                    <a:pt x="227" y="27"/>
                    <a:pt x="227" y="27"/>
                    <a:pt x="227" y="27"/>
                  </a:cubicBezTo>
                  <a:cubicBezTo>
                    <a:pt x="225" y="27"/>
                    <a:pt x="223" y="27"/>
                    <a:pt x="222" y="26"/>
                  </a:cubicBezTo>
                  <a:cubicBezTo>
                    <a:pt x="219" y="26"/>
                    <a:pt x="219" y="26"/>
                    <a:pt x="219" y="26"/>
                  </a:cubicBezTo>
                  <a:cubicBezTo>
                    <a:pt x="217" y="26"/>
                    <a:pt x="215" y="26"/>
                    <a:pt x="213" y="26"/>
                  </a:cubicBezTo>
                  <a:cubicBezTo>
                    <a:pt x="211" y="25"/>
                    <a:pt x="211" y="25"/>
                    <a:pt x="211" y="25"/>
                  </a:cubicBezTo>
                  <a:cubicBezTo>
                    <a:pt x="210" y="25"/>
                    <a:pt x="210" y="25"/>
                    <a:pt x="209" y="25"/>
                  </a:cubicBezTo>
                  <a:cubicBezTo>
                    <a:pt x="208" y="29"/>
                    <a:pt x="208" y="29"/>
                    <a:pt x="208" y="29"/>
                  </a:cubicBezTo>
                  <a:cubicBezTo>
                    <a:pt x="208" y="24"/>
                    <a:pt x="208" y="24"/>
                    <a:pt x="208" y="24"/>
                  </a:cubicBezTo>
                  <a:cubicBezTo>
                    <a:pt x="207" y="24"/>
                    <a:pt x="207" y="24"/>
                    <a:pt x="207" y="24"/>
                  </a:cubicBezTo>
                  <a:cubicBezTo>
                    <a:pt x="206" y="24"/>
                    <a:pt x="204" y="24"/>
                    <a:pt x="202" y="23"/>
                  </a:cubicBezTo>
                  <a:cubicBezTo>
                    <a:pt x="201" y="23"/>
                    <a:pt x="201" y="23"/>
                    <a:pt x="201" y="23"/>
                  </a:cubicBezTo>
                  <a:cubicBezTo>
                    <a:pt x="200" y="22"/>
                    <a:pt x="199" y="22"/>
                    <a:pt x="197" y="22"/>
                  </a:cubicBezTo>
                  <a:cubicBezTo>
                    <a:pt x="197" y="21"/>
                    <a:pt x="196" y="21"/>
                    <a:pt x="196" y="21"/>
                  </a:cubicBezTo>
                  <a:cubicBezTo>
                    <a:pt x="195" y="21"/>
                    <a:pt x="194" y="21"/>
                    <a:pt x="193" y="21"/>
                  </a:cubicBezTo>
                  <a:cubicBezTo>
                    <a:pt x="191" y="20"/>
                    <a:pt x="189" y="18"/>
                    <a:pt x="187" y="17"/>
                  </a:cubicBezTo>
                  <a:cubicBezTo>
                    <a:pt x="180" y="9"/>
                    <a:pt x="180" y="9"/>
                    <a:pt x="180" y="9"/>
                  </a:cubicBezTo>
                  <a:cubicBezTo>
                    <a:pt x="179" y="9"/>
                    <a:pt x="179" y="9"/>
                    <a:pt x="179" y="9"/>
                  </a:cubicBezTo>
                  <a:cubicBezTo>
                    <a:pt x="178" y="8"/>
                    <a:pt x="178" y="8"/>
                    <a:pt x="178" y="8"/>
                  </a:cubicBezTo>
                  <a:cubicBezTo>
                    <a:pt x="177" y="8"/>
                    <a:pt x="176" y="7"/>
                    <a:pt x="175" y="7"/>
                  </a:cubicBezTo>
                  <a:cubicBezTo>
                    <a:pt x="175" y="6"/>
                    <a:pt x="175" y="6"/>
                    <a:pt x="175" y="6"/>
                  </a:cubicBezTo>
                  <a:cubicBezTo>
                    <a:pt x="174" y="6"/>
                    <a:pt x="174" y="6"/>
                    <a:pt x="174" y="6"/>
                  </a:cubicBezTo>
                  <a:cubicBezTo>
                    <a:pt x="173" y="6"/>
                    <a:pt x="173" y="6"/>
                    <a:pt x="173" y="6"/>
                  </a:cubicBezTo>
                  <a:cubicBezTo>
                    <a:pt x="173" y="6"/>
                    <a:pt x="173" y="6"/>
                    <a:pt x="173" y="6"/>
                  </a:cubicBezTo>
                  <a:cubicBezTo>
                    <a:pt x="172" y="6"/>
                    <a:pt x="172" y="6"/>
                    <a:pt x="172" y="6"/>
                  </a:cubicBezTo>
                  <a:cubicBezTo>
                    <a:pt x="171" y="5"/>
                    <a:pt x="171" y="5"/>
                    <a:pt x="171" y="5"/>
                  </a:cubicBezTo>
                  <a:cubicBezTo>
                    <a:pt x="171" y="5"/>
                    <a:pt x="171" y="5"/>
                    <a:pt x="171" y="5"/>
                  </a:cubicBezTo>
                  <a:cubicBezTo>
                    <a:pt x="171" y="5"/>
                    <a:pt x="171" y="5"/>
                    <a:pt x="170" y="5"/>
                  </a:cubicBezTo>
                  <a:cubicBezTo>
                    <a:pt x="170" y="6"/>
                    <a:pt x="170" y="6"/>
                    <a:pt x="170" y="6"/>
                  </a:cubicBezTo>
                  <a:cubicBezTo>
                    <a:pt x="167" y="6"/>
                    <a:pt x="164" y="8"/>
                    <a:pt x="162" y="10"/>
                  </a:cubicBezTo>
                  <a:cubicBezTo>
                    <a:pt x="161" y="11"/>
                    <a:pt x="160" y="12"/>
                    <a:pt x="160" y="13"/>
                  </a:cubicBezTo>
                  <a:cubicBezTo>
                    <a:pt x="159" y="13"/>
                    <a:pt x="159" y="13"/>
                    <a:pt x="159" y="13"/>
                  </a:cubicBezTo>
                  <a:cubicBezTo>
                    <a:pt x="158" y="15"/>
                    <a:pt x="158" y="16"/>
                    <a:pt x="157" y="17"/>
                  </a:cubicBezTo>
                  <a:cubicBezTo>
                    <a:pt x="156" y="18"/>
                    <a:pt x="156" y="18"/>
                    <a:pt x="156" y="18"/>
                  </a:cubicBezTo>
                  <a:cubicBezTo>
                    <a:pt x="156" y="19"/>
                    <a:pt x="156" y="19"/>
                    <a:pt x="156" y="19"/>
                  </a:cubicBezTo>
                  <a:cubicBezTo>
                    <a:pt x="155" y="20"/>
                    <a:pt x="154" y="22"/>
                    <a:pt x="152" y="23"/>
                  </a:cubicBezTo>
                  <a:cubicBezTo>
                    <a:pt x="152" y="23"/>
                    <a:pt x="151" y="23"/>
                    <a:pt x="151" y="24"/>
                  </a:cubicBezTo>
                  <a:cubicBezTo>
                    <a:pt x="151" y="25"/>
                    <a:pt x="151" y="26"/>
                    <a:pt x="151" y="26"/>
                  </a:cubicBezTo>
                  <a:cubicBezTo>
                    <a:pt x="151" y="28"/>
                    <a:pt x="151" y="29"/>
                    <a:pt x="151" y="30"/>
                  </a:cubicBezTo>
                  <a:cubicBezTo>
                    <a:pt x="151" y="31"/>
                    <a:pt x="151" y="31"/>
                    <a:pt x="151" y="31"/>
                  </a:cubicBezTo>
                  <a:cubicBezTo>
                    <a:pt x="151" y="31"/>
                    <a:pt x="151" y="32"/>
                    <a:pt x="151" y="33"/>
                  </a:cubicBezTo>
                  <a:cubicBezTo>
                    <a:pt x="151" y="34"/>
                    <a:pt x="151" y="36"/>
                    <a:pt x="151" y="38"/>
                  </a:cubicBezTo>
                  <a:cubicBezTo>
                    <a:pt x="151" y="39"/>
                    <a:pt x="151" y="40"/>
                    <a:pt x="151" y="41"/>
                  </a:cubicBezTo>
                  <a:cubicBezTo>
                    <a:pt x="151" y="44"/>
                    <a:pt x="151" y="44"/>
                    <a:pt x="151" y="44"/>
                  </a:cubicBezTo>
                  <a:cubicBezTo>
                    <a:pt x="151" y="44"/>
                    <a:pt x="152" y="45"/>
                    <a:pt x="151" y="46"/>
                  </a:cubicBezTo>
                  <a:cubicBezTo>
                    <a:pt x="152" y="49"/>
                    <a:pt x="152" y="49"/>
                    <a:pt x="152" y="49"/>
                  </a:cubicBezTo>
                  <a:cubicBezTo>
                    <a:pt x="151" y="48"/>
                    <a:pt x="151" y="48"/>
                    <a:pt x="151" y="48"/>
                  </a:cubicBezTo>
                  <a:cubicBezTo>
                    <a:pt x="151" y="49"/>
                    <a:pt x="151" y="50"/>
                    <a:pt x="151" y="50"/>
                  </a:cubicBezTo>
                  <a:cubicBezTo>
                    <a:pt x="151" y="50"/>
                    <a:pt x="150" y="51"/>
                    <a:pt x="150" y="51"/>
                  </a:cubicBezTo>
                  <a:cubicBezTo>
                    <a:pt x="150" y="52"/>
                    <a:pt x="150" y="53"/>
                    <a:pt x="149" y="54"/>
                  </a:cubicBezTo>
                  <a:cubicBezTo>
                    <a:pt x="149" y="54"/>
                    <a:pt x="149" y="55"/>
                    <a:pt x="149" y="55"/>
                  </a:cubicBezTo>
                  <a:cubicBezTo>
                    <a:pt x="148" y="56"/>
                    <a:pt x="148" y="57"/>
                    <a:pt x="147" y="57"/>
                  </a:cubicBezTo>
                  <a:cubicBezTo>
                    <a:pt x="147" y="58"/>
                    <a:pt x="147" y="58"/>
                    <a:pt x="147" y="58"/>
                  </a:cubicBezTo>
                  <a:cubicBezTo>
                    <a:pt x="147" y="58"/>
                    <a:pt x="147" y="58"/>
                    <a:pt x="147" y="58"/>
                  </a:cubicBezTo>
                  <a:cubicBezTo>
                    <a:pt x="146" y="59"/>
                    <a:pt x="146" y="60"/>
                    <a:pt x="145" y="61"/>
                  </a:cubicBezTo>
                  <a:cubicBezTo>
                    <a:pt x="144" y="63"/>
                    <a:pt x="144" y="63"/>
                    <a:pt x="144" y="63"/>
                  </a:cubicBezTo>
                  <a:cubicBezTo>
                    <a:pt x="144" y="63"/>
                    <a:pt x="143" y="64"/>
                    <a:pt x="143" y="65"/>
                  </a:cubicBezTo>
                  <a:cubicBezTo>
                    <a:pt x="147" y="67"/>
                    <a:pt x="147" y="67"/>
                    <a:pt x="147" y="67"/>
                  </a:cubicBezTo>
                  <a:cubicBezTo>
                    <a:pt x="142" y="66"/>
                    <a:pt x="142" y="66"/>
                    <a:pt x="142" y="66"/>
                  </a:cubicBezTo>
                  <a:cubicBezTo>
                    <a:pt x="141" y="67"/>
                    <a:pt x="141" y="67"/>
                    <a:pt x="141" y="67"/>
                  </a:cubicBezTo>
                  <a:cubicBezTo>
                    <a:pt x="140" y="70"/>
                    <a:pt x="139" y="72"/>
                    <a:pt x="139" y="75"/>
                  </a:cubicBezTo>
                  <a:cubicBezTo>
                    <a:pt x="139" y="75"/>
                    <a:pt x="139" y="75"/>
                    <a:pt x="139" y="76"/>
                  </a:cubicBezTo>
                  <a:cubicBezTo>
                    <a:pt x="138" y="76"/>
                    <a:pt x="138" y="76"/>
                    <a:pt x="138" y="76"/>
                  </a:cubicBezTo>
                  <a:cubicBezTo>
                    <a:pt x="138" y="77"/>
                    <a:pt x="138" y="78"/>
                    <a:pt x="138" y="80"/>
                  </a:cubicBezTo>
                  <a:cubicBezTo>
                    <a:pt x="138" y="82"/>
                    <a:pt x="137" y="84"/>
                    <a:pt x="137" y="86"/>
                  </a:cubicBezTo>
                  <a:cubicBezTo>
                    <a:pt x="136" y="89"/>
                    <a:pt x="136" y="89"/>
                    <a:pt x="136" y="89"/>
                  </a:cubicBezTo>
                  <a:cubicBezTo>
                    <a:pt x="135" y="92"/>
                    <a:pt x="135" y="94"/>
                    <a:pt x="134" y="97"/>
                  </a:cubicBezTo>
                  <a:cubicBezTo>
                    <a:pt x="134" y="99"/>
                    <a:pt x="134" y="100"/>
                    <a:pt x="134" y="101"/>
                  </a:cubicBezTo>
                  <a:cubicBezTo>
                    <a:pt x="134" y="102"/>
                    <a:pt x="134" y="103"/>
                    <a:pt x="134" y="105"/>
                  </a:cubicBezTo>
                  <a:cubicBezTo>
                    <a:pt x="134" y="105"/>
                    <a:pt x="134" y="105"/>
                    <a:pt x="134" y="105"/>
                  </a:cubicBezTo>
                  <a:cubicBezTo>
                    <a:pt x="134" y="106"/>
                    <a:pt x="134" y="108"/>
                    <a:pt x="134" y="109"/>
                  </a:cubicBezTo>
                  <a:cubicBezTo>
                    <a:pt x="134" y="110"/>
                    <a:pt x="134" y="111"/>
                    <a:pt x="135" y="111"/>
                  </a:cubicBezTo>
                  <a:cubicBezTo>
                    <a:pt x="135" y="113"/>
                    <a:pt x="135" y="115"/>
                    <a:pt x="134" y="118"/>
                  </a:cubicBezTo>
                  <a:cubicBezTo>
                    <a:pt x="126" y="141"/>
                    <a:pt x="126" y="141"/>
                    <a:pt x="126" y="141"/>
                  </a:cubicBezTo>
                  <a:cubicBezTo>
                    <a:pt x="126" y="144"/>
                    <a:pt x="123" y="145"/>
                    <a:pt x="122" y="146"/>
                  </a:cubicBezTo>
                  <a:cubicBezTo>
                    <a:pt x="121" y="147"/>
                    <a:pt x="121" y="147"/>
                    <a:pt x="120" y="147"/>
                  </a:cubicBezTo>
                  <a:cubicBezTo>
                    <a:pt x="119" y="148"/>
                    <a:pt x="119" y="148"/>
                    <a:pt x="119" y="148"/>
                  </a:cubicBezTo>
                  <a:cubicBezTo>
                    <a:pt x="118" y="148"/>
                    <a:pt x="117" y="149"/>
                    <a:pt x="116" y="150"/>
                  </a:cubicBezTo>
                  <a:cubicBezTo>
                    <a:pt x="115" y="151"/>
                    <a:pt x="113" y="152"/>
                    <a:pt x="111" y="154"/>
                  </a:cubicBezTo>
                  <a:cubicBezTo>
                    <a:pt x="110" y="154"/>
                    <a:pt x="109" y="155"/>
                    <a:pt x="109" y="155"/>
                  </a:cubicBezTo>
                  <a:cubicBezTo>
                    <a:pt x="109" y="156"/>
                    <a:pt x="109" y="156"/>
                    <a:pt x="109" y="156"/>
                  </a:cubicBezTo>
                  <a:cubicBezTo>
                    <a:pt x="108" y="156"/>
                    <a:pt x="108" y="157"/>
                    <a:pt x="107" y="157"/>
                  </a:cubicBezTo>
                  <a:cubicBezTo>
                    <a:pt x="107" y="159"/>
                    <a:pt x="106" y="160"/>
                    <a:pt x="105" y="162"/>
                  </a:cubicBezTo>
                  <a:cubicBezTo>
                    <a:pt x="102" y="167"/>
                    <a:pt x="99" y="171"/>
                    <a:pt x="95" y="176"/>
                  </a:cubicBezTo>
                  <a:cubicBezTo>
                    <a:pt x="95" y="176"/>
                    <a:pt x="95" y="176"/>
                    <a:pt x="95" y="176"/>
                  </a:cubicBezTo>
                  <a:cubicBezTo>
                    <a:pt x="94" y="176"/>
                    <a:pt x="94" y="176"/>
                    <a:pt x="94" y="177"/>
                  </a:cubicBezTo>
                  <a:cubicBezTo>
                    <a:pt x="94" y="178"/>
                    <a:pt x="94" y="178"/>
                    <a:pt x="94" y="178"/>
                  </a:cubicBezTo>
                  <a:cubicBezTo>
                    <a:pt x="94" y="182"/>
                    <a:pt x="94" y="182"/>
                    <a:pt x="94" y="182"/>
                  </a:cubicBezTo>
                  <a:cubicBezTo>
                    <a:pt x="94" y="185"/>
                    <a:pt x="94" y="188"/>
                    <a:pt x="94" y="190"/>
                  </a:cubicBezTo>
                  <a:cubicBezTo>
                    <a:pt x="94" y="191"/>
                    <a:pt x="94" y="192"/>
                    <a:pt x="94" y="193"/>
                  </a:cubicBezTo>
                  <a:cubicBezTo>
                    <a:pt x="94" y="194"/>
                    <a:pt x="94" y="194"/>
                    <a:pt x="94" y="194"/>
                  </a:cubicBezTo>
                  <a:cubicBezTo>
                    <a:pt x="94" y="194"/>
                    <a:pt x="94" y="194"/>
                    <a:pt x="94" y="194"/>
                  </a:cubicBezTo>
                  <a:cubicBezTo>
                    <a:pt x="94" y="196"/>
                    <a:pt x="94" y="196"/>
                    <a:pt x="94" y="196"/>
                  </a:cubicBezTo>
                  <a:cubicBezTo>
                    <a:pt x="98" y="196"/>
                    <a:pt x="98" y="196"/>
                    <a:pt x="98" y="196"/>
                  </a:cubicBezTo>
                  <a:cubicBezTo>
                    <a:pt x="94" y="197"/>
                    <a:pt x="94" y="197"/>
                    <a:pt x="94" y="197"/>
                  </a:cubicBezTo>
                  <a:cubicBezTo>
                    <a:pt x="94" y="198"/>
                    <a:pt x="94" y="198"/>
                    <a:pt x="94" y="198"/>
                  </a:cubicBezTo>
                  <a:cubicBezTo>
                    <a:pt x="95" y="199"/>
                    <a:pt x="95" y="200"/>
                    <a:pt x="95" y="200"/>
                  </a:cubicBezTo>
                  <a:cubicBezTo>
                    <a:pt x="94" y="201"/>
                    <a:pt x="94" y="202"/>
                    <a:pt x="94" y="203"/>
                  </a:cubicBezTo>
                  <a:cubicBezTo>
                    <a:pt x="94" y="203"/>
                    <a:pt x="94" y="203"/>
                    <a:pt x="94" y="204"/>
                  </a:cubicBezTo>
                  <a:cubicBezTo>
                    <a:pt x="94" y="205"/>
                    <a:pt x="93" y="206"/>
                    <a:pt x="93" y="207"/>
                  </a:cubicBezTo>
                  <a:cubicBezTo>
                    <a:pt x="91" y="209"/>
                    <a:pt x="91" y="209"/>
                    <a:pt x="91" y="209"/>
                  </a:cubicBezTo>
                  <a:cubicBezTo>
                    <a:pt x="90" y="211"/>
                    <a:pt x="89" y="214"/>
                    <a:pt x="87" y="216"/>
                  </a:cubicBezTo>
                  <a:cubicBezTo>
                    <a:pt x="85" y="220"/>
                    <a:pt x="80" y="223"/>
                    <a:pt x="76" y="225"/>
                  </a:cubicBezTo>
                  <a:cubicBezTo>
                    <a:pt x="75" y="226"/>
                    <a:pt x="74" y="227"/>
                    <a:pt x="72" y="227"/>
                  </a:cubicBezTo>
                  <a:cubicBezTo>
                    <a:pt x="69" y="230"/>
                    <a:pt x="66" y="233"/>
                    <a:pt x="63" y="236"/>
                  </a:cubicBezTo>
                  <a:cubicBezTo>
                    <a:pt x="63" y="237"/>
                    <a:pt x="63" y="237"/>
                    <a:pt x="63" y="237"/>
                  </a:cubicBezTo>
                  <a:cubicBezTo>
                    <a:pt x="61" y="239"/>
                    <a:pt x="59" y="241"/>
                    <a:pt x="56" y="242"/>
                  </a:cubicBezTo>
                  <a:cubicBezTo>
                    <a:pt x="56" y="242"/>
                    <a:pt x="55" y="242"/>
                    <a:pt x="55" y="242"/>
                  </a:cubicBezTo>
                  <a:cubicBezTo>
                    <a:pt x="54" y="242"/>
                    <a:pt x="54" y="242"/>
                    <a:pt x="54" y="242"/>
                  </a:cubicBezTo>
                  <a:cubicBezTo>
                    <a:pt x="53" y="242"/>
                    <a:pt x="53" y="242"/>
                    <a:pt x="52" y="242"/>
                  </a:cubicBezTo>
                  <a:cubicBezTo>
                    <a:pt x="52" y="242"/>
                    <a:pt x="52" y="242"/>
                    <a:pt x="52" y="242"/>
                  </a:cubicBezTo>
                  <a:cubicBezTo>
                    <a:pt x="51" y="242"/>
                    <a:pt x="50" y="241"/>
                    <a:pt x="50" y="241"/>
                  </a:cubicBezTo>
                  <a:cubicBezTo>
                    <a:pt x="46" y="241"/>
                    <a:pt x="46" y="239"/>
                    <a:pt x="46" y="229"/>
                  </a:cubicBezTo>
                  <a:cubicBezTo>
                    <a:pt x="46" y="229"/>
                    <a:pt x="46" y="229"/>
                    <a:pt x="46" y="229"/>
                  </a:cubicBezTo>
                  <a:cubicBezTo>
                    <a:pt x="46" y="229"/>
                    <a:pt x="46" y="229"/>
                    <a:pt x="45" y="229"/>
                  </a:cubicBezTo>
                  <a:cubicBezTo>
                    <a:pt x="44" y="230"/>
                    <a:pt x="43" y="230"/>
                    <a:pt x="43" y="230"/>
                  </a:cubicBezTo>
                  <a:cubicBezTo>
                    <a:pt x="43" y="230"/>
                    <a:pt x="42" y="230"/>
                    <a:pt x="42" y="230"/>
                  </a:cubicBezTo>
                  <a:cubicBezTo>
                    <a:pt x="42" y="230"/>
                    <a:pt x="42" y="230"/>
                    <a:pt x="41" y="231"/>
                  </a:cubicBezTo>
                  <a:cubicBezTo>
                    <a:pt x="39" y="231"/>
                    <a:pt x="38" y="231"/>
                    <a:pt x="37" y="231"/>
                  </a:cubicBezTo>
                  <a:cubicBezTo>
                    <a:pt x="36" y="231"/>
                    <a:pt x="36" y="231"/>
                    <a:pt x="36" y="231"/>
                  </a:cubicBezTo>
                  <a:cubicBezTo>
                    <a:pt x="36" y="232"/>
                    <a:pt x="36" y="232"/>
                    <a:pt x="36" y="232"/>
                  </a:cubicBezTo>
                  <a:cubicBezTo>
                    <a:pt x="35" y="235"/>
                    <a:pt x="32" y="238"/>
                    <a:pt x="30" y="239"/>
                  </a:cubicBezTo>
                  <a:cubicBezTo>
                    <a:pt x="28" y="240"/>
                    <a:pt x="27" y="241"/>
                    <a:pt x="26" y="241"/>
                  </a:cubicBezTo>
                  <a:cubicBezTo>
                    <a:pt x="24" y="241"/>
                    <a:pt x="22" y="239"/>
                    <a:pt x="21" y="238"/>
                  </a:cubicBezTo>
                  <a:cubicBezTo>
                    <a:pt x="20" y="238"/>
                    <a:pt x="20" y="237"/>
                    <a:pt x="19" y="237"/>
                  </a:cubicBezTo>
                  <a:cubicBezTo>
                    <a:pt x="18" y="236"/>
                    <a:pt x="18" y="236"/>
                    <a:pt x="18" y="236"/>
                  </a:cubicBezTo>
                  <a:cubicBezTo>
                    <a:pt x="18" y="236"/>
                    <a:pt x="18" y="236"/>
                    <a:pt x="18" y="236"/>
                  </a:cubicBezTo>
                  <a:cubicBezTo>
                    <a:pt x="14" y="238"/>
                    <a:pt x="11" y="240"/>
                    <a:pt x="7" y="243"/>
                  </a:cubicBezTo>
                  <a:cubicBezTo>
                    <a:pt x="7" y="243"/>
                    <a:pt x="7" y="243"/>
                    <a:pt x="7" y="243"/>
                  </a:cubicBezTo>
                  <a:cubicBezTo>
                    <a:pt x="9" y="244"/>
                    <a:pt x="9" y="244"/>
                    <a:pt x="9" y="244"/>
                  </a:cubicBezTo>
                  <a:cubicBezTo>
                    <a:pt x="6" y="244"/>
                    <a:pt x="6" y="244"/>
                    <a:pt x="6" y="244"/>
                  </a:cubicBezTo>
                  <a:cubicBezTo>
                    <a:pt x="7" y="245"/>
                    <a:pt x="7" y="246"/>
                    <a:pt x="7" y="247"/>
                  </a:cubicBezTo>
                  <a:cubicBezTo>
                    <a:pt x="8" y="254"/>
                    <a:pt x="9" y="258"/>
                    <a:pt x="7" y="260"/>
                  </a:cubicBezTo>
                  <a:cubicBezTo>
                    <a:pt x="6" y="261"/>
                    <a:pt x="5" y="261"/>
                    <a:pt x="0" y="262"/>
                  </a:cubicBezTo>
                  <a:cubicBezTo>
                    <a:pt x="2" y="262"/>
                    <a:pt x="2" y="262"/>
                    <a:pt x="2" y="262"/>
                  </a:cubicBezTo>
                  <a:cubicBezTo>
                    <a:pt x="4" y="262"/>
                    <a:pt x="5" y="261"/>
                    <a:pt x="7" y="261"/>
                  </a:cubicBezTo>
                  <a:cubicBezTo>
                    <a:pt x="9" y="259"/>
                    <a:pt x="11" y="258"/>
                    <a:pt x="15" y="258"/>
                  </a:cubicBezTo>
                  <a:cubicBezTo>
                    <a:pt x="15" y="258"/>
                    <a:pt x="16" y="258"/>
                    <a:pt x="16" y="258"/>
                  </a:cubicBezTo>
                  <a:cubicBezTo>
                    <a:pt x="19" y="258"/>
                    <a:pt x="23" y="258"/>
                    <a:pt x="26" y="258"/>
                  </a:cubicBezTo>
                  <a:cubicBezTo>
                    <a:pt x="27" y="258"/>
                    <a:pt x="27" y="258"/>
                    <a:pt x="27" y="258"/>
                  </a:cubicBezTo>
                  <a:cubicBezTo>
                    <a:pt x="28" y="258"/>
                    <a:pt x="28" y="258"/>
                    <a:pt x="28" y="258"/>
                  </a:cubicBezTo>
                  <a:cubicBezTo>
                    <a:pt x="28" y="258"/>
                    <a:pt x="29" y="258"/>
                    <a:pt x="30" y="258"/>
                  </a:cubicBezTo>
                  <a:cubicBezTo>
                    <a:pt x="32" y="258"/>
                    <a:pt x="34" y="258"/>
                    <a:pt x="36" y="259"/>
                  </a:cubicBezTo>
                  <a:cubicBezTo>
                    <a:pt x="38" y="259"/>
                    <a:pt x="40" y="259"/>
                    <a:pt x="42" y="259"/>
                  </a:cubicBezTo>
                  <a:cubicBezTo>
                    <a:pt x="46" y="259"/>
                    <a:pt x="46" y="259"/>
                    <a:pt x="46" y="259"/>
                  </a:cubicBezTo>
                  <a:cubicBezTo>
                    <a:pt x="49" y="259"/>
                    <a:pt x="52" y="259"/>
                    <a:pt x="55" y="259"/>
                  </a:cubicBezTo>
                  <a:cubicBezTo>
                    <a:pt x="56" y="259"/>
                    <a:pt x="57" y="259"/>
                    <a:pt x="58" y="259"/>
                  </a:cubicBezTo>
                  <a:cubicBezTo>
                    <a:pt x="85" y="259"/>
                    <a:pt x="85" y="259"/>
                    <a:pt x="85" y="259"/>
                  </a:cubicBezTo>
                  <a:cubicBezTo>
                    <a:pt x="86" y="259"/>
                    <a:pt x="87" y="259"/>
                    <a:pt x="87" y="259"/>
                  </a:cubicBezTo>
                  <a:cubicBezTo>
                    <a:pt x="89" y="259"/>
                    <a:pt x="90" y="259"/>
                    <a:pt x="91" y="259"/>
                  </a:cubicBezTo>
                  <a:cubicBezTo>
                    <a:pt x="92" y="259"/>
                    <a:pt x="92" y="259"/>
                    <a:pt x="93" y="259"/>
                  </a:cubicBezTo>
                  <a:cubicBezTo>
                    <a:pt x="94" y="259"/>
                    <a:pt x="94" y="259"/>
                    <a:pt x="94" y="259"/>
                  </a:cubicBezTo>
                  <a:cubicBezTo>
                    <a:pt x="94" y="259"/>
                    <a:pt x="95" y="259"/>
                    <a:pt x="95" y="259"/>
                  </a:cubicBezTo>
                  <a:cubicBezTo>
                    <a:pt x="98" y="259"/>
                    <a:pt x="100" y="259"/>
                    <a:pt x="101" y="260"/>
                  </a:cubicBezTo>
                  <a:cubicBezTo>
                    <a:pt x="105" y="261"/>
                    <a:pt x="106" y="266"/>
                    <a:pt x="106" y="269"/>
                  </a:cubicBezTo>
                  <a:cubicBezTo>
                    <a:pt x="107" y="270"/>
                    <a:pt x="107" y="272"/>
                    <a:pt x="107" y="273"/>
                  </a:cubicBezTo>
                  <a:cubicBezTo>
                    <a:pt x="108" y="280"/>
                    <a:pt x="110" y="286"/>
                    <a:pt x="113" y="292"/>
                  </a:cubicBezTo>
                  <a:cubicBezTo>
                    <a:pt x="114" y="294"/>
                    <a:pt x="116" y="297"/>
                    <a:pt x="117" y="299"/>
                  </a:cubicBezTo>
                  <a:cubicBezTo>
                    <a:pt x="118" y="299"/>
                    <a:pt x="118" y="300"/>
                    <a:pt x="119" y="302"/>
                  </a:cubicBezTo>
                  <a:cubicBezTo>
                    <a:pt x="123" y="309"/>
                    <a:pt x="123" y="309"/>
                    <a:pt x="123" y="309"/>
                  </a:cubicBezTo>
                  <a:cubicBezTo>
                    <a:pt x="125" y="311"/>
                    <a:pt x="125" y="311"/>
                    <a:pt x="128" y="311"/>
                  </a:cubicBezTo>
                  <a:cubicBezTo>
                    <a:pt x="135" y="312"/>
                    <a:pt x="135" y="312"/>
                    <a:pt x="135" y="312"/>
                  </a:cubicBezTo>
                  <a:cubicBezTo>
                    <a:pt x="135" y="311"/>
                    <a:pt x="136" y="310"/>
                    <a:pt x="137" y="310"/>
                  </a:cubicBezTo>
                  <a:cubicBezTo>
                    <a:pt x="137" y="310"/>
                    <a:pt x="137" y="310"/>
                    <a:pt x="137" y="310"/>
                  </a:cubicBezTo>
                  <a:cubicBezTo>
                    <a:pt x="138" y="309"/>
                    <a:pt x="138" y="309"/>
                    <a:pt x="138" y="309"/>
                  </a:cubicBezTo>
                  <a:cubicBezTo>
                    <a:pt x="139" y="309"/>
                    <a:pt x="139" y="309"/>
                    <a:pt x="139" y="309"/>
                  </a:cubicBezTo>
                  <a:cubicBezTo>
                    <a:pt x="141" y="308"/>
                    <a:pt x="144" y="308"/>
                    <a:pt x="147" y="308"/>
                  </a:cubicBezTo>
                  <a:cubicBezTo>
                    <a:pt x="148" y="308"/>
                    <a:pt x="149" y="308"/>
                    <a:pt x="149" y="308"/>
                  </a:cubicBezTo>
                  <a:cubicBezTo>
                    <a:pt x="164" y="309"/>
                    <a:pt x="164" y="309"/>
                    <a:pt x="164" y="309"/>
                  </a:cubicBezTo>
                  <a:cubicBezTo>
                    <a:pt x="164" y="309"/>
                    <a:pt x="164" y="309"/>
                    <a:pt x="164" y="308"/>
                  </a:cubicBezTo>
                  <a:cubicBezTo>
                    <a:pt x="164" y="307"/>
                    <a:pt x="164" y="307"/>
                    <a:pt x="164" y="307"/>
                  </a:cubicBezTo>
                  <a:cubicBezTo>
                    <a:pt x="164" y="307"/>
                    <a:pt x="164" y="306"/>
                    <a:pt x="164" y="306"/>
                  </a:cubicBezTo>
                  <a:cubicBezTo>
                    <a:pt x="166" y="298"/>
                    <a:pt x="166" y="298"/>
                    <a:pt x="166" y="298"/>
                  </a:cubicBezTo>
                  <a:cubicBezTo>
                    <a:pt x="167" y="290"/>
                    <a:pt x="168" y="287"/>
                    <a:pt x="170" y="287"/>
                  </a:cubicBezTo>
                  <a:cubicBezTo>
                    <a:pt x="171" y="287"/>
                    <a:pt x="171" y="287"/>
                    <a:pt x="171" y="287"/>
                  </a:cubicBezTo>
                  <a:cubicBezTo>
                    <a:pt x="172" y="286"/>
                    <a:pt x="173" y="286"/>
                    <a:pt x="174" y="286"/>
                  </a:cubicBezTo>
                  <a:cubicBezTo>
                    <a:pt x="174" y="286"/>
                    <a:pt x="174" y="286"/>
                    <a:pt x="174" y="286"/>
                  </a:cubicBezTo>
                  <a:cubicBezTo>
                    <a:pt x="175" y="286"/>
                    <a:pt x="175" y="286"/>
                    <a:pt x="176" y="286"/>
                  </a:cubicBezTo>
                  <a:cubicBezTo>
                    <a:pt x="177" y="286"/>
                    <a:pt x="177" y="286"/>
                    <a:pt x="177" y="286"/>
                  </a:cubicBezTo>
                  <a:cubicBezTo>
                    <a:pt x="174" y="270"/>
                    <a:pt x="174" y="270"/>
                    <a:pt x="174" y="270"/>
                  </a:cubicBezTo>
                  <a:cubicBezTo>
                    <a:pt x="182" y="285"/>
                    <a:pt x="182" y="285"/>
                    <a:pt x="182" y="285"/>
                  </a:cubicBezTo>
                  <a:cubicBezTo>
                    <a:pt x="183" y="285"/>
                    <a:pt x="183" y="285"/>
                    <a:pt x="183" y="285"/>
                  </a:cubicBezTo>
                  <a:cubicBezTo>
                    <a:pt x="184" y="285"/>
                    <a:pt x="185" y="285"/>
                    <a:pt x="186" y="285"/>
                  </a:cubicBezTo>
                  <a:cubicBezTo>
                    <a:pt x="186" y="285"/>
                    <a:pt x="186" y="285"/>
                    <a:pt x="186" y="285"/>
                  </a:cubicBezTo>
                  <a:cubicBezTo>
                    <a:pt x="186" y="285"/>
                    <a:pt x="187" y="284"/>
                    <a:pt x="187" y="284"/>
                  </a:cubicBezTo>
                  <a:cubicBezTo>
                    <a:pt x="188" y="284"/>
                    <a:pt x="188" y="284"/>
                    <a:pt x="188" y="284"/>
                  </a:cubicBezTo>
                  <a:cubicBezTo>
                    <a:pt x="189" y="283"/>
                    <a:pt x="189" y="283"/>
                    <a:pt x="190" y="283"/>
                  </a:cubicBezTo>
                  <a:cubicBezTo>
                    <a:pt x="190" y="283"/>
                    <a:pt x="190" y="283"/>
                    <a:pt x="190" y="283"/>
                  </a:cubicBezTo>
                  <a:cubicBezTo>
                    <a:pt x="191" y="284"/>
                    <a:pt x="191" y="284"/>
                    <a:pt x="191" y="284"/>
                  </a:cubicBezTo>
                  <a:cubicBezTo>
                    <a:pt x="192" y="283"/>
                    <a:pt x="193" y="283"/>
                    <a:pt x="194" y="283"/>
                  </a:cubicBezTo>
                  <a:cubicBezTo>
                    <a:pt x="196" y="283"/>
                    <a:pt x="196" y="284"/>
                    <a:pt x="197" y="284"/>
                  </a:cubicBezTo>
                  <a:cubicBezTo>
                    <a:pt x="199" y="287"/>
                    <a:pt x="198" y="290"/>
                    <a:pt x="197" y="291"/>
                  </a:cubicBezTo>
                  <a:cubicBezTo>
                    <a:pt x="197" y="292"/>
                    <a:pt x="197" y="292"/>
                    <a:pt x="197" y="292"/>
                  </a:cubicBezTo>
                  <a:cubicBezTo>
                    <a:pt x="196" y="292"/>
                    <a:pt x="196" y="292"/>
                    <a:pt x="196" y="292"/>
                  </a:cubicBezTo>
                  <a:cubicBezTo>
                    <a:pt x="197" y="293"/>
                    <a:pt x="198" y="293"/>
                    <a:pt x="198" y="293"/>
                  </a:cubicBezTo>
                  <a:cubicBezTo>
                    <a:pt x="199" y="293"/>
                    <a:pt x="201" y="293"/>
                    <a:pt x="201" y="292"/>
                  </a:cubicBezTo>
                  <a:cubicBezTo>
                    <a:pt x="202" y="292"/>
                    <a:pt x="202" y="292"/>
                    <a:pt x="202" y="292"/>
                  </a:cubicBezTo>
                  <a:cubicBezTo>
                    <a:pt x="203" y="292"/>
                    <a:pt x="204" y="292"/>
                    <a:pt x="205" y="292"/>
                  </a:cubicBezTo>
                  <a:cubicBezTo>
                    <a:pt x="217" y="292"/>
                    <a:pt x="217" y="292"/>
                    <a:pt x="217" y="292"/>
                  </a:cubicBezTo>
                  <a:cubicBezTo>
                    <a:pt x="217" y="292"/>
                    <a:pt x="217" y="292"/>
                    <a:pt x="218" y="292"/>
                  </a:cubicBezTo>
                  <a:cubicBezTo>
                    <a:pt x="219" y="292"/>
                    <a:pt x="219" y="292"/>
                    <a:pt x="219" y="292"/>
                  </a:cubicBezTo>
                  <a:cubicBezTo>
                    <a:pt x="220" y="292"/>
                    <a:pt x="220" y="292"/>
                    <a:pt x="221" y="292"/>
                  </a:cubicBezTo>
                  <a:cubicBezTo>
                    <a:pt x="222" y="292"/>
                    <a:pt x="223" y="292"/>
                    <a:pt x="223" y="293"/>
                  </a:cubicBezTo>
                  <a:cubicBezTo>
                    <a:pt x="227" y="295"/>
                    <a:pt x="227" y="299"/>
                    <a:pt x="227" y="301"/>
                  </a:cubicBezTo>
                  <a:cubicBezTo>
                    <a:pt x="227" y="303"/>
                    <a:pt x="227" y="304"/>
                    <a:pt x="226" y="306"/>
                  </a:cubicBezTo>
                  <a:cubicBezTo>
                    <a:pt x="225" y="311"/>
                    <a:pt x="225" y="312"/>
                    <a:pt x="228" y="318"/>
                  </a:cubicBezTo>
                  <a:cubicBezTo>
                    <a:pt x="229" y="321"/>
                    <a:pt x="229" y="324"/>
                    <a:pt x="228" y="327"/>
                  </a:cubicBezTo>
                  <a:cubicBezTo>
                    <a:pt x="228" y="328"/>
                    <a:pt x="228" y="328"/>
                    <a:pt x="228" y="329"/>
                  </a:cubicBezTo>
                  <a:cubicBezTo>
                    <a:pt x="228" y="330"/>
                    <a:pt x="228" y="331"/>
                    <a:pt x="228" y="331"/>
                  </a:cubicBezTo>
                  <a:cubicBezTo>
                    <a:pt x="228" y="332"/>
                    <a:pt x="228" y="332"/>
                    <a:pt x="228" y="332"/>
                  </a:cubicBezTo>
                  <a:cubicBezTo>
                    <a:pt x="227" y="335"/>
                    <a:pt x="227" y="337"/>
                    <a:pt x="227" y="339"/>
                  </a:cubicBezTo>
                  <a:cubicBezTo>
                    <a:pt x="226" y="344"/>
                    <a:pt x="226" y="344"/>
                    <a:pt x="226" y="344"/>
                  </a:cubicBezTo>
                  <a:cubicBezTo>
                    <a:pt x="226" y="345"/>
                    <a:pt x="226" y="346"/>
                    <a:pt x="226" y="347"/>
                  </a:cubicBezTo>
                  <a:cubicBezTo>
                    <a:pt x="227" y="347"/>
                    <a:pt x="227" y="348"/>
                    <a:pt x="227" y="348"/>
                  </a:cubicBezTo>
                  <a:cubicBezTo>
                    <a:pt x="227" y="350"/>
                    <a:pt x="229" y="351"/>
                    <a:pt x="230" y="352"/>
                  </a:cubicBezTo>
                  <a:cubicBezTo>
                    <a:pt x="232" y="353"/>
                    <a:pt x="233" y="355"/>
                    <a:pt x="234" y="356"/>
                  </a:cubicBezTo>
                  <a:cubicBezTo>
                    <a:pt x="234" y="357"/>
                    <a:pt x="235" y="358"/>
                    <a:pt x="235" y="359"/>
                  </a:cubicBezTo>
                  <a:cubicBezTo>
                    <a:pt x="236" y="361"/>
                    <a:pt x="237" y="364"/>
                    <a:pt x="237" y="368"/>
                  </a:cubicBezTo>
                  <a:cubicBezTo>
                    <a:pt x="238" y="371"/>
                    <a:pt x="238" y="373"/>
                    <a:pt x="238" y="374"/>
                  </a:cubicBezTo>
                  <a:cubicBezTo>
                    <a:pt x="238" y="376"/>
                    <a:pt x="237" y="378"/>
                    <a:pt x="236" y="379"/>
                  </a:cubicBezTo>
                  <a:cubicBezTo>
                    <a:pt x="235" y="380"/>
                    <a:pt x="235" y="380"/>
                    <a:pt x="235" y="380"/>
                  </a:cubicBezTo>
                  <a:cubicBezTo>
                    <a:pt x="235" y="381"/>
                    <a:pt x="235" y="383"/>
                    <a:pt x="236" y="385"/>
                  </a:cubicBezTo>
                  <a:cubicBezTo>
                    <a:pt x="242" y="383"/>
                    <a:pt x="249" y="382"/>
                    <a:pt x="255" y="382"/>
                  </a:cubicBezTo>
                  <a:cubicBezTo>
                    <a:pt x="257" y="382"/>
                    <a:pt x="259" y="382"/>
                    <a:pt x="261" y="381"/>
                  </a:cubicBezTo>
                  <a:cubicBezTo>
                    <a:pt x="262" y="381"/>
                    <a:pt x="263" y="381"/>
                    <a:pt x="265" y="381"/>
                  </a:cubicBezTo>
                  <a:cubicBezTo>
                    <a:pt x="266" y="381"/>
                    <a:pt x="268" y="381"/>
                    <a:pt x="270" y="381"/>
                  </a:cubicBezTo>
                  <a:cubicBezTo>
                    <a:pt x="271" y="381"/>
                    <a:pt x="271" y="381"/>
                    <a:pt x="272" y="379"/>
                  </a:cubicBezTo>
                  <a:cubicBezTo>
                    <a:pt x="271" y="374"/>
                    <a:pt x="271" y="374"/>
                    <a:pt x="271" y="374"/>
                  </a:cubicBezTo>
                  <a:cubicBezTo>
                    <a:pt x="274" y="376"/>
                    <a:pt x="274" y="376"/>
                    <a:pt x="274" y="376"/>
                  </a:cubicBezTo>
                  <a:cubicBezTo>
                    <a:pt x="277" y="372"/>
                    <a:pt x="277" y="372"/>
                    <a:pt x="277" y="372"/>
                  </a:cubicBezTo>
                  <a:cubicBezTo>
                    <a:pt x="277" y="379"/>
                    <a:pt x="277" y="379"/>
                    <a:pt x="277" y="379"/>
                  </a:cubicBezTo>
                  <a:cubicBezTo>
                    <a:pt x="278" y="379"/>
                    <a:pt x="279" y="380"/>
                    <a:pt x="280" y="380"/>
                  </a:cubicBezTo>
                  <a:cubicBezTo>
                    <a:pt x="283" y="382"/>
                    <a:pt x="286" y="384"/>
                    <a:pt x="287" y="387"/>
                  </a:cubicBezTo>
                  <a:cubicBezTo>
                    <a:pt x="287" y="388"/>
                    <a:pt x="288" y="389"/>
                    <a:pt x="287" y="391"/>
                  </a:cubicBezTo>
                  <a:cubicBezTo>
                    <a:pt x="288" y="390"/>
                    <a:pt x="288" y="390"/>
                    <a:pt x="289" y="390"/>
                  </a:cubicBezTo>
                  <a:cubicBezTo>
                    <a:pt x="290" y="390"/>
                    <a:pt x="290" y="390"/>
                    <a:pt x="290" y="390"/>
                  </a:cubicBezTo>
                  <a:cubicBezTo>
                    <a:pt x="291" y="389"/>
                    <a:pt x="292" y="388"/>
                    <a:pt x="293" y="388"/>
                  </a:cubicBezTo>
                  <a:cubicBezTo>
                    <a:pt x="294" y="388"/>
                    <a:pt x="295" y="387"/>
                    <a:pt x="295" y="387"/>
                  </a:cubicBezTo>
                  <a:cubicBezTo>
                    <a:pt x="297" y="387"/>
                    <a:pt x="298" y="387"/>
                    <a:pt x="299" y="387"/>
                  </a:cubicBezTo>
                  <a:cubicBezTo>
                    <a:pt x="299" y="387"/>
                    <a:pt x="299" y="387"/>
                    <a:pt x="299" y="387"/>
                  </a:cubicBezTo>
                  <a:cubicBezTo>
                    <a:pt x="301" y="387"/>
                    <a:pt x="302" y="387"/>
                    <a:pt x="303" y="386"/>
                  </a:cubicBezTo>
                  <a:cubicBezTo>
                    <a:pt x="303" y="386"/>
                    <a:pt x="304" y="386"/>
                    <a:pt x="304" y="386"/>
                  </a:cubicBezTo>
                  <a:cubicBezTo>
                    <a:pt x="309" y="383"/>
                    <a:pt x="309" y="383"/>
                    <a:pt x="309" y="383"/>
                  </a:cubicBezTo>
                  <a:cubicBezTo>
                    <a:pt x="309" y="392"/>
                    <a:pt x="309" y="392"/>
                    <a:pt x="309" y="392"/>
                  </a:cubicBezTo>
                  <a:cubicBezTo>
                    <a:pt x="309" y="394"/>
                    <a:pt x="309" y="395"/>
                    <a:pt x="310" y="396"/>
                  </a:cubicBezTo>
                  <a:cubicBezTo>
                    <a:pt x="310" y="397"/>
                    <a:pt x="311" y="398"/>
                    <a:pt x="312" y="398"/>
                  </a:cubicBezTo>
                  <a:cubicBezTo>
                    <a:pt x="314" y="400"/>
                    <a:pt x="314" y="400"/>
                    <a:pt x="314" y="400"/>
                  </a:cubicBezTo>
                  <a:cubicBezTo>
                    <a:pt x="314" y="400"/>
                    <a:pt x="314" y="400"/>
                    <a:pt x="314" y="400"/>
                  </a:cubicBezTo>
                  <a:cubicBezTo>
                    <a:pt x="314" y="400"/>
                    <a:pt x="315" y="400"/>
                    <a:pt x="316" y="400"/>
                  </a:cubicBezTo>
                  <a:cubicBezTo>
                    <a:pt x="316" y="400"/>
                    <a:pt x="316" y="400"/>
                    <a:pt x="316" y="400"/>
                  </a:cubicBezTo>
                  <a:cubicBezTo>
                    <a:pt x="317" y="400"/>
                    <a:pt x="318" y="400"/>
                    <a:pt x="319" y="400"/>
                  </a:cubicBezTo>
                  <a:cubicBezTo>
                    <a:pt x="342" y="403"/>
                    <a:pt x="342" y="403"/>
                    <a:pt x="342" y="403"/>
                  </a:cubicBezTo>
                  <a:cubicBezTo>
                    <a:pt x="342" y="403"/>
                    <a:pt x="342" y="403"/>
                    <a:pt x="342" y="402"/>
                  </a:cubicBezTo>
                  <a:cubicBezTo>
                    <a:pt x="343" y="401"/>
                    <a:pt x="343" y="401"/>
                    <a:pt x="343" y="401"/>
                  </a:cubicBezTo>
                  <a:cubicBezTo>
                    <a:pt x="343" y="400"/>
                    <a:pt x="343" y="400"/>
                    <a:pt x="343" y="400"/>
                  </a:cubicBezTo>
                  <a:cubicBezTo>
                    <a:pt x="342" y="400"/>
                    <a:pt x="342" y="400"/>
                    <a:pt x="342" y="400"/>
                  </a:cubicBezTo>
                  <a:cubicBezTo>
                    <a:pt x="344" y="397"/>
                    <a:pt x="344" y="397"/>
                    <a:pt x="344" y="397"/>
                  </a:cubicBezTo>
                  <a:cubicBezTo>
                    <a:pt x="345" y="395"/>
                    <a:pt x="347" y="394"/>
                    <a:pt x="348" y="394"/>
                  </a:cubicBezTo>
                  <a:cubicBezTo>
                    <a:pt x="349" y="394"/>
                    <a:pt x="349" y="394"/>
                    <a:pt x="349" y="394"/>
                  </a:cubicBezTo>
                  <a:cubicBezTo>
                    <a:pt x="353" y="394"/>
                    <a:pt x="355" y="399"/>
                    <a:pt x="357" y="402"/>
                  </a:cubicBezTo>
                  <a:cubicBezTo>
                    <a:pt x="357" y="403"/>
                    <a:pt x="358" y="404"/>
                    <a:pt x="358" y="404"/>
                  </a:cubicBezTo>
                  <a:cubicBezTo>
                    <a:pt x="358" y="405"/>
                    <a:pt x="359" y="405"/>
                    <a:pt x="359" y="406"/>
                  </a:cubicBezTo>
                  <a:cubicBezTo>
                    <a:pt x="360" y="409"/>
                    <a:pt x="361" y="410"/>
                    <a:pt x="361" y="410"/>
                  </a:cubicBezTo>
                  <a:cubicBezTo>
                    <a:pt x="362" y="410"/>
                    <a:pt x="363" y="410"/>
                    <a:pt x="363" y="410"/>
                  </a:cubicBezTo>
                  <a:cubicBezTo>
                    <a:pt x="364" y="410"/>
                    <a:pt x="365" y="410"/>
                    <a:pt x="366" y="410"/>
                  </a:cubicBezTo>
                  <a:cubicBezTo>
                    <a:pt x="368" y="411"/>
                    <a:pt x="370" y="412"/>
                    <a:pt x="371" y="412"/>
                  </a:cubicBezTo>
                  <a:cubicBezTo>
                    <a:pt x="373" y="413"/>
                    <a:pt x="374" y="414"/>
                    <a:pt x="375" y="414"/>
                  </a:cubicBezTo>
                  <a:cubicBezTo>
                    <a:pt x="375" y="414"/>
                    <a:pt x="375" y="414"/>
                    <a:pt x="375" y="414"/>
                  </a:cubicBezTo>
                  <a:cubicBezTo>
                    <a:pt x="377" y="415"/>
                    <a:pt x="379" y="415"/>
                    <a:pt x="380" y="417"/>
                  </a:cubicBezTo>
                  <a:cubicBezTo>
                    <a:pt x="395" y="437"/>
                    <a:pt x="395" y="437"/>
                    <a:pt x="395" y="437"/>
                  </a:cubicBezTo>
                  <a:cubicBezTo>
                    <a:pt x="396" y="438"/>
                    <a:pt x="396" y="438"/>
                    <a:pt x="397" y="438"/>
                  </a:cubicBezTo>
                  <a:cubicBezTo>
                    <a:pt x="397" y="438"/>
                    <a:pt x="397" y="438"/>
                    <a:pt x="399" y="437"/>
                  </a:cubicBezTo>
                  <a:cubicBezTo>
                    <a:pt x="399" y="437"/>
                    <a:pt x="399" y="437"/>
                    <a:pt x="399" y="437"/>
                  </a:cubicBezTo>
                  <a:cubicBezTo>
                    <a:pt x="400" y="437"/>
                    <a:pt x="400" y="437"/>
                    <a:pt x="400" y="437"/>
                  </a:cubicBezTo>
                  <a:cubicBezTo>
                    <a:pt x="400" y="437"/>
                    <a:pt x="401" y="436"/>
                    <a:pt x="401" y="436"/>
                  </a:cubicBezTo>
                  <a:cubicBezTo>
                    <a:pt x="403" y="434"/>
                    <a:pt x="404" y="434"/>
                    <a:pt x="406" y="434"/>
                  </a:cubicBezTo>
                  <a:cubicBezTo>
                    <a:pt x="406" y="434"/>
                    <a:pt x="406" y="434"/>
                    <a:pt x="406" y="434"/>
                  </a:cubicBezTo>
                  <a:cubicBezTo>
                    <a:pt x="406" y="434"/>
                    <a:pt x="408" y="434"/>
                    <a:pt x="409" y="434"/>
                  </a:cubicBezTo>
                  <a:cubicBezTo>
                    <a:pt x="409" y="414"/>
                    <a:pt x="409" y="414"/>
                    <a:pt x="409" y="414"/>
                  </a:cubicBezTo>
                  <a:cubicBezTo>
                    <a:pt x="408" y="414"/>
                    <a:pt x="408" y="414"/>
                    <a:pt x="408" y="414"/>
                  </a:cubicBezTo>
                  <a:cubicBezTo>
                    <a:pt x="408" y="414"/>
                    <a:pt x="407" y="415"/>
                    <a:pt x="406" y="415"/>
                  </a:cubicBezTo>
                  <a:cubicBezTo>
                    <a:pt x="406" y="415"/>
                    <a:pt x="406" y="415"/>
                    <a:pt x="406" y="415"/>
                  </a:cubicBezTo>
                  <a:cubicBezTo>
                    <a:pt x="406" y="416"/>
                    <a:pt x="406" y="418"/>
                    <a:pt x="405" y="419"/>
                  </a:cubicBezTo>
                  <a:cubicBezTo>
                    <a:pt x="405" y="420"/>
                    <a:pt x="404" y="420"/>
                    <a:pt x="403" y="420"/>
                  </a:cubicBezTo>
                  <a:cubicBezTo>
                    <a:pt x="403" y="420"/>
                    <a:pt x="403" y="420"/>
                    <a:pt x="402" y="420"/>
                  </a:cubicBezTo>
                  <a:cubicBezTo>
                    <a:pt x="401" y="420"/>
                    <a:pt x="401" y="420"/>
                    <a:pt x="400" y="420"/>
                  </a:cubicBezTo>
                  <a:cubicBezTo>
                    <a:pt x="400" y="420"/>
                    <a:pt x="400" y="420"/>
                    <a:pt x="400" y="420"/>
                  </a:cubicBezTo>
                  <a:cubicBezTo>
                    <a:pt x="399" y="420"/>
                    <a:pt x="398" y="419"/>
                    <a:pt x="398" y="419"/>
                  </a:cubicBezTo>
                  <a:cubicBezTo>
                    <a:pt x="397" y="419"/>
                    <a:pt x="397" y="419"/>
                    <a:pt x="397" y="419"/>
                  </a:cubicBezTo>
                  <a:cubicBezTo>
                    <a:pt x="396" y="419"/>
                    <a:pt x="396" y="419"/>
                    <a:pt x="396" y="419"/>
                  </a:cubicBezTo>
                  <a:cubicBezTo>
                    <a:pt x="396" y="419"/>
                    <a:pt x="396" y="419"/>
                    <a:pt x="395" y="419"/>
                  </a:cubicBezTo>
                  <a:cubicBezTo>
                    <a:pt x="395" y="419"/>
                    <a:pt x="395" y="419"/>
                    <a:pt x="394" y="419"/>
                  </a:cubicBezTo>
                  <a:cubicBezTo>
                    <a:pt x="394" y="419"/>
                    <a:pt x="394" y="419"/>
                    <a:pt x="394" y="419"/>
                  </a:cubicBezTo>
                  <a:cubicBezTo>
                    <a:pt x="392" y="419"/>
                    <a:pt x="392" y="418"/>
                    <a:pt x="391" y="417"/>
                  </a:cubicBezTo>
                  <a:cubicBezTo>
                    <a:pt x="391" y="417"/>
                    <a:pt x="391" y="417"/>
                    <a:pt x="390" y="416"/>
                  </a:cubicBezTo>
                  <a:cubicBezTo>
                    <a:pt x="390" y="416"/>
                    <a:pt x="390" y="415"/>
                    <a:pt x="389" y="415"/>
                  </a:cubicBezTo>
                  <a:cubicBezTo>
                    <a:pt x="389" y="414"/>
                    <a:pt x="389" y="414"/>
                    <a:pt x="389" y="414"/>
                  </a:cubicBezTo>
                  <a:cubicBezTo>
                    <a:pt x="387" y="411"/>
                    <a:pt x="384" y="409"/>
                    <a:pt x="381" y="407"/>
                  </a:cubicBezTo>
                  <a:cubicBezTo>
                    <a:pt x="378" y="405"/>
                    <a:pt x="378" y="404"/>
                    <a:pt x="376" y="401"/>
                  </a:cubicBezTo>
                  <a:cubicBezTo>
                    <a:pt x="374" y="395"/>
                    <a:pt x="376" y="388"/>
                    <a:pt x="378" y="382"/>
                  </a:cubicBezTo>
                  <a:cubicBezTo>
                    <a:pt x="379" y="380"/>
                    <a:pt x="379" y="379"/>
                    <a:pt x="379" y="377"/>
                  </a:cubicBezTo>
                  <a:cubicBezTo>
                    <a:pt x="381" y="373"/>
                    <a:pt x="381" y="370"/>
                    <a:pt x="381" y="367"/>
                  </a:cubicBezTo>
                  <a:cubicBezTo>
                    <a:pt x="381" y="366"/>
                    <a:pt x="381" y="366"/>
                    <a:pt x="381" y="366"/>
                  </a:cubicBezTo>
                  <a:cubicBezTo>
                    <a:pt x="380" y="366"/>
                    <a:pt x="380" y="366"/>
                    <a:pt x="380" y="366"/>
                  </a:cubicBezTo>
                  <a:cubicBezTo>
                    <a:pt x="380" y="364"/>
                    <a:pt x="380" y="363"/>
                    <a:pt x="381" y="361"/>
                  </a:cubicBezTo>
                  <a:cubicBezTo>
                    <a:pt x="381" y="360"/>
                    <a:pt x="381" y="360"/>
                    <a:pt x="381" y="360"/>
                  </a:cubicBezTo>
                  <a:cubicBezTo>
                    <a:pt x="381" y="359"/>
                    <a:pt x="381" y="358"/>
                    <a:pt x="381" y="357"/>
                  </a:cubicBezTo>
                  <a:cubicBezTo>
                    <a:pt x="381" y="356"/>
                    <a:pt x="382" y="356"/>
                    <a:pt x="382" y="355"/>
                  </a:cubicBezTo>
                  <a:cubicBezTo>
                    <a:pt x="382" y="354"/>
                    <a:pt x="381" y="354"/>
                    <a:pt x="381" y="352"/>
                  </a:cubicBezTo>
                  <a:cubicBezTo>
                    <a:pt x="380" y="351"/>
                    <a:pt x="380" y="351"/>
                    <a:pt x="380" y="351"/>
                  </a:cubicBezTo>
                  <a:cubicBezTo>
                    <a:pt x="380" y="350"/>
                    <a:pt x="380" y="350"/>
                    <a:pt x="380" y="350"/>
                  </a:cubicBezTo>
                  <a:cubicBezTo>
                    <a:pt x="380" y="350"/>
                    <a:pt x="380" y="350"/>
                    <a:pt x="380" y="350"/>
                  </a:cubicBezTo>
                  <a:cubicBezTo>
                    <a:pt x="380" y="349"/>
                    <a:pt x="379" y="348"/>
                    <a:pt x="379" y="348"/>
                  </a:cubicBezTo>
                  <a:cubicBezTo>
                    <a:pt x="379" y="347"/>
                    <a:pt x="379" y="347"/>
                    <a:pt x="379" y="346"/>
                  </a:cubicBezTo>
                  <a:cubicBezTo>
                    <a:pt x="378" y="346"/>
                    <a:pt x="377" y="346"/>
                    <a:pt x="376" y="345"/>
                  </a:cubicBezTo>
                  <a:cubicBezTo>
                    <a:pt x="375" y="343"/>
                    <a:pt x="375" y="341"/>
                    <a:pt x="377" y="339"/>
                  </a:cubicBezTo>
                  <a:cubicBezTo>
                    <a:pt x="378" y="337"/>
                    <a:pt x="382" y="334"/>
                    <a:pt x="384" y="332"/>
                  </a:cubicBezTo>
                  <a:cubicBezTo>
                    <a:pt x="385" y="331"/>
                    <a:pt x="385" y="331"/>
                    <a:pt x="386" y="330"/>
                  </a:cubicBezTo>
                  <a:cubicBezTo>
                    <a:pt x="386" y="330"/>
                    <a:pt x="386" y="330"/>
                    <a:pt x="386" y="330"/>
                  </a:cubicBezTo>
                  <a:cubicBezTo>
                    <a:pt x="387" y="329"/>
                    <a:pt x="388" y="328"/>
                    <a:pt x="389" y="327"/>
                  </a:cubicBezTo>
                  <a:cubicBezTo>
                    <a:pt x="389" y="327"/>
                    <a:pt x="389" y="327"/>
                    <a:pt x="389" y="327"/>
                  </a:cubicBezTo>
                  <a:cubicBezTo>
                    <a:pt x="388" y="326"/>
                    <a:pt x="388" y="326"/>
                    <a:pt x="388" y="326"/>
                  </a:cubicBezTo>
                  <a:cubicBezTo>
                    <a:pt x="388" y="325"/>
                    <a:pt x="388" y="325"/>
                    <a:pt x="388" y="325"/>
                  </a:cubicBezTo>
                  <a:cubicBezTo>
                    <a:pt x="385" y="322"/>
                    <a:pt x="385" y="322"/>
                    <a:pt x="385" y="322"/>
                  </a:cubicBezTo>
                  <a:cubicBezTo>
                    <a:pt x="390" y="321"/>
                    <a:pt x="390" y="321"/>
                    <a:pt x="390" y="321"/>
                  </a:cubicBezTo>
                  <a:cubicBezTo>
                    <a:pt x="399" y="319"/>
                    <a:pt x="410" y="317"/>
                    <a:pt x="419" y="316"/>
                  </a:cubicBezTo>
                  <a:cubicBezTo>
                    <a:pt x="427" y="315"/>
                    <a:pt x="427" y="315"/>
                    <a:pt x="427" y="315"/>
                  </a:cubicBezTo>
                  <a:cubicBezTo>
                    <a:pt x="425" y="311"/>
                    <a:pt x="423" y="308"/>
                    <a:pt x="421" y="303"/>
                  </a:cubicBezTo>
                  <a:cubicBezTo>
                    <a:pt x="420" y="299"/>
                    <a:pt x="420" y="296"/>
                    <a:pt x="417" y="293"/>
                  </a:cubicBezTo>
                  <a:cubicBezTo>
                    <a:pt x="411" y="285"/>
                    <a:pt x="405" y="277"/>
                    <a:pt x="399" y="270"/>
                  </a:cubicBezTo>
                  <a:cubicBezTo>
                    <a:pt x="398" y="268"/>
                    <a:pt x="397" y="267"/>
                    <a:pt x="397" y="265"/>
                  </a:cubicBezTo>
                  <a:cubicBezTo>
                    <a:pt x="397" y="263"/>
                    <a:pt x="397" y="264"/>
                    <a:pt x="398" y="262"/>
                  </a:cubicBezTo>
                  <a:cubicBezTo>
                    <a:pt x="399" y="262"/>
                    <a:pt x="400" y="261"/>
                    <a:pt x="400" y="260"/>
                  </a:cubicBezTo>
                  <a:cubicBezTo>
                    <a:pt x="402" y="257"/>
                    <a:pt x="398" y="250"/>
                    <a:pt x="397" y="247"/>
                  </a:cubicBezTo>
                  <a:cubicBezTo>
                    <a:pt x="395" y="240"/>
                    <a:pt x="396" y="236"/>
                    <a:pt x="397" y="229"/>
                  </a:cubicBezTo>
                  <a:cubicBezTo>
                    <a:pt x="398" y="227"/>
                    <a:pt x="399" y="222"/>
                    <a:pt x="398" y="219"/>
                  </a:cubicBezTo>
                  <a:cubicBezTo>
                    <a:pt x="397" y="220"/>
                    <a:pt x="397" y="224"/>
                    <a:pt x="396" y="225"/>
                  </a:cubicBezTo>
                  <a:cubicBezTo>
                    <a:pt x="396" y="225"/>
                    <a:pt x="395" y="225"/>
                    <a:pt x="395" y="225"/>
                  </a:cubicBezTo>
                  <a:cubicBezTo>
                    <a:pt x="394" y="225"/>
                    <a:pt x="394" y="223"/>
                    <a:pt x="394" y="222"/>
                  </a:cubicBezTo>
                  <a:cubicBezTo>
                    <a:pt x="395" y="218"/>
                    <a:pt x="395" y="215"/>
                    <a:pt x="396" y="212"/>
                  </a:cubicBezTo>
                  <a:cubicBezTo>
                    <a:pt x="396" y="211"/>
                    <a:pt x="396" y="210"/>
                    <a:pt x="397" y="209"/>
                  </a:cubicBezTo>
                  <a:cubicBezTo>
                    <a:pt x="396" y="209"/>
                    <a:pt x="396" y="209"/>
                    <a:pt x="396" y="209"/>
                  </a:cubicBezTo>
                  <a:cubicBezTo>
                    <a:pt x="395" y="207"/>
                    <a:pt x="395" y="207"/>
                    <a:pt x="395" y="207"/>
                  </a:cubicBezTo>
                  <a:cubicBezTo>
                    <a:pt x="395" y="207"/>
                    <a:pt x="395" y="207"/>
                    <a:pt x="395" y="207"/>
                  </a:cubicBezTo>
                  <a:cubicBezTo>
                    <a:pt x="395" y="205"/>
                    <a:pt x="395" y="205"/>
                    <a:pt x="395" y="205"/>
                  </a:cubicBezTo>
                  <a:cubicBezTo>
                    <a:pt x="393" y="206"/>
                    <a:pt x="393" y="206"/>
                    <a:pt x="393" y="206"/>
                  </a:cubicBezTo>
                  <a:cubicBezTo>
                    <a:pt x="395" y="201"/>
                    <a:pt x="395" y="201"/>
                    <a:pt x="395" y="201"/>
                  </a:cubicBezTo>
                  <a:cubicBezTo>
                    <a:pt x="395" y="198"/>
                    <a:pt x="395" y="197"/>
                    <a:pt x="394" y="195"/>
                  </a:cubicBezTo>
                  <a:cubicBezTo>
                    <a:pt x="394" y="196"/>
                    <a:pt x="394" y="196"/>
                    <a:pt x="394" y="196"/>
                  </a:cubicBezTo>
                  <a:cubicBezTo>
                    <a:pt x="389" y="187"/>
                    <a:pt x="389" y="187"/>
                    <a:pt x="389" y="187"/>
                  </a:cubicBezTo>
                  <a:cubicBezTo>
                    <a:pt x="388" y="185"/>
                    <a:pt x="387" y="183"/>
                    <a:pt x="388" y="181"/>
                  </a:cubicBezTo>
                  <a:cubicBezTo>
                    <a:pt x="388" y="179"/>
                    <a:pt x="389" y="178"/>
                    <a:pt x="390" y="177"/>
                  </a:cubicBezTo>
                  <a:cubicBezTo>
                    <a:pt x="391" y="177"/>
                    <a:pt x="391" y="177"/>
                    <a:pt x="391" y="177"/>
                  </a:cubicBezTo>
                  <a:cubicBezTo>
                    <a:pt x="391" y="177"/>
                    <a:pt x="392" y="176"/>
                    <a:pt x="392" y="176"/>
                  </a:cubicBezTo>
                  <a:cubicBezTo>
                    <a:pt x="393" y="175"/>
                    <a:pt x="393" y="174"/>
                    <a:pt x="393" y="173"/>
                  </a:cubicBezTo>
                  <a:cubicBezTo>
                    <a:pt x="393" y="173"/>
                    <a:pt x="394" y="171"/>
                    <a:pt x="394" y="170"/>
                  </a:cubicBezTo>
                  <a:cubicBezTo>
                    <a:pt x="394" y="166"/>
                    <a:pt x="394" y="163"/>
                    <a:pt x="396" y="161"/>
                  </a:cubicBezTo>
                  <a:cubicBezTo>
                    <a:pt x="397" y="161"/>
                    <a:pt x="397" y="161"/>
                    <a:pt x="397" y="161"/>
                  </a:cubicBezTo>
                  <a:cubicBezTo>
                    <a:pt x="395" y="159"/>
                    <a:pt x="395" y="159"/>
                    <a:pt x="395" y="159"/>
                  </a:cubicBezTo>
                  <a:cubicBezTo>
                    <a:pt x="398" y="160"/>
                    <a:pt x="398" y="160"/>
                    <a:pt x="398" y="160"/>
                  </a:cubicBezTo>
                  <a:cubicBezTo>
                    <a:pt x="398" y="159"/>
                    <a:pt x="398" y="159"/>
                    <a:pt x="398" y="159"/>
                  </a:cubicBezTo>
                  <a:cubicBezTo>
                    <a:pt x="399" y="158"/>
                    <a:pt x="400" y="157"/>
                    <a:pt x="402" y="156"/>
                  </a:cubicBezTo>
                  <a:cubicBezTo>
                    <a:pt x="402" y="156"/>
                    <a:pt x="403" y="155"/>
                    <a:pt x="403" y="155"/>
                  </a:cubicBezTo>
                  <a:cubicBezTo>
                    <a:pt x="404" y="154"/>
                    <a:pt x="403" y="153"/>
                    <a:pt x="403" y="151"/>
                  </a:cubicBezTo>
                  <a:cubicBezTo>
                    <a:pt x="403" y="147"/>
                    <a:pt x="404" y="142"/>
                    <a:pt x="404" y="138"/>
                  </a:cubicBezTo>
                  <a:cubicBezTo>
                    <a:pt x="405" y="136"/>
                    <a:pt x="405" y="134"/>
                    <a:pt x="405" y="132"/>
                  </a:cubicBezTo>
                  <a:cubicBezTo>
                    <a:pt x="406" y="126"/>
                    <a:pt x="408" y="121"/>
                    <a:pt x="410" y="116"/>
                  </a:cubicBezTo>
                  <a:cubicBezTo>
                    <a:pt x="410" y="115"/>
                    <a:pt x="410" y="115"/>
                    <a:pt x="410" y="115"/>
                  </a:cubicBezTo>
                  <a:cubicBezTo>
                    <a:pt x="411" y="113"/>
                    <a:pt x="411" y="112"/>
                    <a:pt x="412" y="110"/>
                  </a:cubicBezTo>
                  <a:cubicBezTo>
                    <a:pt x="412" y="108"/>
                    <a:pt x="412" y="106"/>
                    <a:pt x="413" y="105"/>
                  </a:cubicBezTo>
                  <a:cubicBezTo>
                    <a:pt x="413" y="102"/>
                    <a:pt x="414" y="101"/>
                    <a:pt x="416" y="100"/>
                  </a:cubicBezTo>
                  <a:cubicBezTo>
                    <a:pt x="416" y="100"/>
                    <a:pt x="416" y="100"/>
                    <a:pt x="416" y="100"/>
                  </a:cubicBezTo>
                  <a:cubicBezTo>
                    <a:pt x="417" y="98"/>
                    <a:pt x="417" y="98"/>
                    <a:pt x="417" y="98"/>
                  </a:cubicBezTo>
                  <a:cubicBezTo>
                    <a:pt x="421" y="95"/>
                    <a:pt x="425" y="92"/>
                    <a:pt x="429" y="88"/>
                  </a:cubicBezTo>
                  <a:cubicBezTo>
                    <a:pt x="430" y="88"/>
                    <a:pt x="430" y="88"/>
                    <a:pt x="430" y="88"/>
                  </a:cubicBezTo>
                  <a:cubicBezTo>
                    <a:pt x="433" y="84"/>
                    <a:pt x="437" y="81"/>
                    <a:pt x="440" y="77"/>
                  </a:cubicBezTo>
                  <a:cubicBezTo>
                    <a:pt x="441" y="76"/>
                    <a:pt x="442" y="75"/>
                    <a:pt x="442" y="73"/>
                  </a:cubicBezTo>
                  <a:cubicBezTo>
                    <a:pt x="442" y="73"/>
                    <a:pt x="441" y="72"/>
                    <a:pt x="440" y="72"/>
                  </a:cubicBezTo>
                  <a:cubicBezTo>
                    <a:pt x="439" y="72"/>
                    <a:pt x="439" y="71"/>
                    <a:pt x="438" y="71"/>
                  </a:cubicBezTo>
                  <a:cubicBezTo>
                    <a:pt x="438" y="71"/>
                    <a:pt x="438" y="71"/>
                    <a:pt x="437" y="71"/>
                  </a:cubicBezTo>
                  <a:cubicBezTo>
                    <a:pt x="437" y="71"/>
                    <a:pt x="436" y="71"/>
                    <a:pt x="436" y="71"/>
                  </a:cubicBezTo>
                  <a:cubicBezTo>
                    <a:pt x="434" y="70"/>
                    <a:pt x="432" y="69"/>
                    <a:pt x="432" y="67"/>
                  </a:cubicBezTo>
                  <a:cubicBezTo>
                    <a:pt x="431" y="66"/>
                    <a:pt x="431" y="64"/>
                    <a:pt x="431" y="63"/>
                  </a:cubicBezTo>
                  <a:cubicBezTo>
                    <a:pt x="431" y="62"/>
                    <a:pt x="431" y="61"/>
                    <a:pt x="431" y="61"/>
                  </a:cubicBezTo>
                  <a:cubicBezTo>
                    <a:pt x="431" y="60"/>
                    <a:pt x="431" y="60"/>
                    <a:pt x="431" y="60"/>
                  </a:cubicBezTo>
                  <a:cubicBezTo>
                    <a:pt x="431" y="59"/>
                    <a:pt x="432" y="58"/>
                    <a:pt x="432" y="58"/>
                  </a:cubicBezTo>
                  <a:cubicBezTo>
                    <a:pt x="432" y="57"/>
                    <a:pt x="432" y="57"/>
                    <a:pt x="431" y="56"/>
                  </a:cubicBezTo>
                  <a:cubicBezTo>
                    <a:pt x="431" y="54"/>
                    <a:pt x="431" y="51"/>
                    <a:pt x="432" y="48"/>
                  </a:cubicBezTo>
                  <a:cubicBezTo>
                    <a:pt x="432" y="48"/>
                    <a:pt x="432" y="48"/>
                    <a:pt x="432" y="48"/>
                  </a:cubicBezTo>
                  <a:cubicBezTo>
                    <a:pt x="433" y="46"/>
                    <a:pt x="433" y="45"/>
                    <a:pt x="433" y="43"/>
                  </a:cubicBezTo>
                  <a:cubicBezTo>
                    <a:pt x="433" y="43"/>
                    <a:pt x="433" y="43"/>
                    <a:pt x="433" y="43"/>
                  </a:cubicBezTo>
                  <a:cubicBezTo>
                    <a:pt x="433" y="43"/>
                    <a:pt x="433" y="43"/>
                    <a:pt x="433" y="43"/>
                  </a:cubicBezTo>
                  <a:cubicBezTo>
                    <a:pt x="432" y="43"/>
                    <a:pt x="432" y="43"/>
                    <a:pt x="432" y="43"/>
                  </a:cubicBezTo>
                  <a:cubicBezTo>
                    <a:pt x="430" y="42"/>
                    <a:pt x="426" y="41"/>
                    <a:pt x="427" y="37"/>
                  </a:cubicBezTo>
                  <a:cubicBezTo>
                    <a:pt x="427" y="36"/>
                    <a:pt x="427" y="36"/>
                    <a:pt x="426" y="36"/>
                  </a:cubicBezTo>
                  <a:cubicBezTo>
                    <a:pt x="426" y="35"/>
                    <a:pt x="426" y="35"/>
                    <a:pt x="426" y="35"/>
                  </a:cubicBezTo>
                  <a:cubicBezTo>
                    <a:pt x="426" y="35"/>
                    <a:pt x="426" y="34"/>
                    <a:pt x="425" y="34"/>
                  </a:cubicBezTo>
                  <a:cubicBezTo>
                    <a:pt x="424" y="34"/>
                    <a:pt x="424" y="34"/>
                    <a:pt x="424" y="34"/>
                  </a:cubicBezTo>
                  <a:cubicBezTo>
                    <a:pt x="423" y="34"/>
                    <a:pt x="422" y="33"/>
                    <a:pt x="422" y="33"/>
                  </a:cubicBezTo>
                  <a:cubicBezTo>
                    <a:pt x="419" y="32"/>
                    <a:pt x="417" y="30"/>
                    <a:pt x="414" y="28"/>
                  </a:cubicBezTo>
                  <a:cubicBezTo>
                    <a:pt x="412" y="25"/>
                    <a:pt x="412" y="25"/>
                    <a:pt x="412" y="25"/>
                  </a:cubicBezTo>
                  <a:cubicBezTo>
                    <a:pt x="412" y="25"/>
                    <a:pt x="411" y="24"/>
                    <a:pt x="411" y="24"/>
                  </a:cubicBezTo>
                  <a:cubicBezTo>
                    <a:pt x="410" y="23"/>
                    <a:pt x="409" y="21"/>
                    <a:pt x="409" y="19"/>
                  </a:cubicBezTo>
                  <a:cubicBezTo>
                    <a:pt x="407" y="19"/>
                    <a:pt x="405" y="19"/>
                    <a:pt x="404" y="20"/>
                  </a:cubicBezTo>
                  <a:cubicBezTo>
                    <a:pt x="403" y="20"/>
                    <a:pt x="403" y="20"/>
                    <a:pt x="403" y="20"/>
                  </a:cubicBezTo>
                  <a:cubicBezTo>
                    <a:pt x="403" y="21"/>
                    <a:pt x="403" y="22"/>
                    <a:pt x="402" y="22"/>
                  </a:cubicBezTo>
                  <a:cubicBezTo>
                    <a:pt x="401" y="24"/>
                    <a:pt x="399" y="24"/>
                    <a:pt x="397" y="24"/>
                  </a:cubicBezTo>
                  <a:cubicBezTo>
                    <a:pt x="395" y="24"/>
                    <a:pt x="393" y="24"/>
                    <a:pt x="391" y="23"/>
                  </a:cubicBezTo>
                  <a:cubicBezTo>
                    <a:pt x="389" y="23"/>
                    <a:pt x="387" y="22"/>
                    <a:pt x="385" y="22"/>
                  </a:cubicBezTo>
                  <a:cubicBezTo>
                    <a:pt x="385" y="22"/>
                    <a:pt x="384" y="22"/>
                    <a:pt x="384" y="22"/>
                  </a:cubicBezTo>
                  <a:cubicBezTo>
                    <a:pt x="383" y="23"/>
                    <a:pt x="383" y="23"/>
                    <a:pt x="383" y="23"/>
                  </a:cubicBezTo>
                  <a:cubicBezTo>
                    <a:pt x="382" y="24"/>
                    <a:pt x="380" y="25"/>
                    <a:pt x="378" y="25"/>
                  </a:cubicBezTo>
                  <a:cubicBezTo>
                    <a:pt x="377" y="25"/>
                    <a:pt x="376" y="25"/>
                    <a:pt x="375" y="24"/>
                  </a:cubicBezTo>
                  <a:cubicBezTo>
                    <a:pt x="374" y="24"/>
                    <a:pt x="373" y="24"/>
                    <a:pt x="373" y="23"/>
                  </a:cubicBezTo>
                  <a:cubicBezTo>
                    <a:pt x="368" y="21"/>
                    <a:pt x="363" y="19"/>
                    <a:pt x="361" y="14"/>
                  </a:cubicBezTo>
                  <a:cubicBezTo>
                    <a:pt x="360" y="12"/>
                    <a:pt x="358" y="10"/>
                    <a:pt x="355" y="8"/>
                  </a:cubicBezTo>
                  <a:cubicBezTo>
                    <a:pt x="355" y="8"/>
                    <a:pt x="355" y="8"/>
                    <a:pt x="355" y="8"/>
                  </a:cubicBezTo>
                  <a:cubicBezTo>
                    <a:pt x="354" y="8"/>
                    <a:pt x="354" y="8"/>
                    <a:pt x="354" y="8"/>
                  </a:cubicBezTo>
                  <a:cubicBezTo>
                    <a:pt x="354" y="7"/>
                    <a:pt x="354" y="7"/>
                    <a:pt x="354" y="7"/>
                  </a:cubicBezTo>
                  <a:cubicBezTo>
                    <a:pt x="353" y="7"/>
                    <a:pt x="353" y="7"/>
                    <a:pt x="353" y="7"/>
                  </a:cubicBezTo>
                  <a:cubicBezTo>
                    <a:pt x="353" y="7"/>
                    <a:pt x="352" y="7"/>
                    <a:pt x="352" y="6"/>
                  </a:cubicBezTo>
                  <a:cubicBezTo>
                    <a:pt x="351" y="6"/>
                    <a:pt x="351" y="6"/>
                    <a:pt x="351" y="6"/>
                  </a:cubicBezTo>
                  <a:cubicBezTo>
                    <a:pt x="350" y="5"/>
                    <a:pt x="349" y="5"/>
                    <a:pt x="349" y="5"/>
                  </a:cubicBezTo>
                  <a:cubicBezTo>
                    <a:pt x="347" y="4"/>
                    <a:pt x="347" y="4"/>
                    <a:pt x="347" y="4"/>
                  </a:cubicBezTo>
                  <a:cubicBezTo>
                    <a:pt x="347" y="4"/>
                    <a:pt x="347" y="4"/>
                    <a:pt x="347" y="4"/>
                  </a:cubicBezTo>
                  <a:cubicBezTo>
                    <a:pt x="346" y="4"/>
                    <a:pt x="344" y="5"/>
                    <a:pt x="342" y="5"/>
                  </a:cubicBezTo>
                  <a:cubicBezTo>
                    <a:pt x="340" y="6"/>
                    <a:pt x="340" y="6"/>
                    <a:pt x="340" y="6"/>
                  </a:cubicBezTo>
                  <a:cubicBezTo>
                    <a:pt x="338" y="7"/>
                    <a:pt x="336" y="7"/>
                    <a:pt x="335" y="7"/>
                  </a:cubicBezTo>
                  <a:cubicBezTo>
                    <a:pt x="335" y="7"/>
                    <a:pt x="335" y="7"/>
                    <a:pt x="335" y="7"/>
                  </a:cubicBezTo>
                  <a:cubicBezTo>
                    <a:pt x="334" y="7"/>
                    <a:pt x="333" y="7"/>
                    <a:pt x="332" y="6"/>
                  </a:cubicBezTo>
                  <a:cubicBezTo>
                    <a:pt x="332" y="6"/>
                    <a:pt x="332" y="6"/>
                    <a:pt x="332" y="6"/>
                  </a:cubicBezTo>
                  <a:cubicBezTo>
                    <a:pt x="331" y="6"/>
                    <a:pt x="330" y="6"/>
                    <a:pt x="329" y="5"/>
                  </a:cubicBezTo>
                  <a:cubicBezTo>
                    <a:pt x="327" y="4"/>
                    <a:pt x="326" y="4"/>
                    <a:pt x="325" y="3"/>
                  </a:cubicBezTo>
                  <a:cubicBezTo>
                    <a:pt x="325" y="3"/>
                    <a:pt x="325" y="3"/>
                    <a:pt x="324" y="3"/>
                  </a:cubicBezTo>
                  <a:cubicBezTo>
                    <a:pt x="324" y="3"/>
                    <a:pt x="324" y="3"/>
                    <a:pt x="323" y="4"/>
                  </a:cubicBezTo>
                  <a:cubicBezTo>
                    <a:pt x="322" y="4"/>
                    <a:pt x="321" y="4"/>
                    <a:pt x="321" y="4"/>
                  </a:cubicBezTo>
                  <a:cubicBezTo>
                    <a:pt x="320" y="4"/>
                    <a:pt x="320" y="4"/>
                    <a:pt x="320" y="4"/>
                  </a:cubicBezTo>
                  <a:cubicBezTo>
                    <a:pt x="317" y="4"/>
                    <a:pt x="315" y="3"/>
                    <a:pt x="314" y="2"/>
                  </a:cubicBezTo>
                  <a:cubicBezTo>
                    <a:pt x="313" y="1"/>
                    <a:pt x="312" y="1"/>
                    <a:pt x="312" y="0"/>
                  </a:cubicBezTo>
                  <a:cubicBezTo>
                    <a:pt x="311" y="0"/>
                    <a:pt x="311" y="0"/>
                    <a:pt x="3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 name="Freeform 216">
              <a:extLst>
                <a:ext uri="{FF2B5EF4-FFF2-40B4-BE49-F238E27FC236}">
                  <a16:creationId xmlns:a16="http://schemas.microsoft.com/office/drawing/2014/main" id="{A7BBB3C8-C818-4212-B3EA-1DF46D6F8116}"/>
                </a:ext>
              </a:extLst>
            </p:cNvPr>
            <p:cNvSpPr>
              <a:spLocks/>
            </p:cNvSpPr>
            <p:nvPr/>
          </p:nvSpPr>
          <p:spPr bwMode="auto">
            <a:xfrm>
              <a:off x="4344" y="3081"/>
              <a:ext cx="0" cy="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cubicBezTo>
                    <a:pt x="0" y="0"/>
                    <a:pt x="0" y="0"/>
                    <a:pt x="0" y="0"/>
                  </a:cubicBezTo>
                  <a:cubicBezTo>
                    <a:pt x="0" y="1"/>
                    <a:pt x="0" y="1"/>
                    <a:pt x="0" y="2"/>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 name="Freeform 217">
              <a:extLst>
                <a:ext uri="{FF2B5EF4-FFF2-40B4-BE49-F238E27FC236}">
                  <a16:creationId xmlns:a16="http://schemas.microsoft.com/office/drawing/2014/main" id="{65C07A4E-EF08-41CD-B7D5-E3FB642CBFEA}"/>
                </a:ext>
              </a:extLst>
            </p:cNvPr>
            <p:cNvSpPr>
              <a:spLocks/>
            </p:cNvSpPr>
            <p:nvPr/>
          </p:nvSpPr>
          <p:spPr bwMode="auto">
            <a:xfrm>
              <a:off x="4474" y="2150"/>
              <a:ext cx="702" cy="461"/>
            </a:xfrm>
            <a:custGeom>
              <a:avLst/>
              <a:gdLst>
                <a:gd name="T0" fmla="*/ 170 w 297"/>
                <a:gd name="T1" fmla="*/ 6 h 195"/>
                <a:gd name="T2" fmla="*/ 139 w 297"/>
                <a:gd name="T3" fmla="*/ 41 h 195"/>
                <a:gd name="T4" fmla="*/ 109 w 297"/>
                <a:gd name="T5" fmla="*/ 51 h 195"/>
                <a:gd name="T6" fmla="*/ 108 w 297"/>
                <a:gd name="T7" fmla="*/ 53 h 195"/>
                <a:gd name="T8" fmla="*/ 99 w 297"/>
                <a:gd name="T9" fmla="*/ 65 h 195"/>
                <a:gd name="T10" fmla="*/ 93 w 297"/>
                <a:gd name="T11" fmla="*/ 69 h 195"/>
                <a:gd name="T12" fmla="*/ 84 w 297"/>
                <a:gd name="T13" fmla="*/ 69 h 195"/>
                <a:gd name="T14" fmla="*/ 68 w 297"/>
                <a:gd name="T15" fmla="*/ 73 h 195"/>
                <a:gd name="T16" fmla="*/ 58 w 297"/>
                <a:gd name="T17" fmla="*/ 77 h 195"/>
                <a:gd name="T18" fmla="*/ 52 w 297"/>
                <a:gd name="T19" fmla="*/ 80 h 195"/>
                <a:gd name="T20" fmla="*/ 45 w 297"/>
                <a:gd name="T21" fmla="*/ 74 h 195"/>
                <a:gd name="T22" fmla="*/ 34 w 297"/>
                <a:gd name="T23" fmla="*/ 79 h 195"/>
                <a:gd name="T24" fmla="*/ 21 w 297"/>
                <a:gd name="T25" fmla="*/ 82 h 195"/>
                <a:gd name="T26" fmla="*/ 11 w 297"/>
                <a:gd name="T27" fmla="*/ 98 h 195"/>
                <a:gd name="T28" fmla="*/ 1 w 297"/>
                <a:gd name="T29" fmla="*/ 114 h 195"/>
                <a:gd name="T30" fmla="*/ 3 w 297"/>
                <a:gd name="T31" fmla="*/ 126 h 195"/>
                <a:gd name="T32" fmla="*/ 3 w 297"/>
                <a:gd name="T33" fmla="*/ 134 h 195"/>
                <a:gd name="T34" fmla="*/ 14 w 297"/>
                <a:gd name="T35" fmla="*/ 155 h 195"/>
                <a:gd name="T36" fmla="*/ 24 w 297"/>
                <a:gd name="T37" fmla="*/ 173 h 195"/>
                <a:gd name="T38" fmla="*/ 37 w 297"/>
                <a:gd name="T39" fmla="*/ 186 h 195"/>
                <a:gd name="T40" fmla="*/ 40 w 297"/>
                <a:gd name="T41" fmla="*/ 193 h 195"/>
                <a:gd name="T42" fmla="*/ 43 w 297"/>
                <a:gd name="T43" fmla="*/ 177 h 195"/>
                <a:gd name="T44" fmla="*/ 48 w 297"/>
                <a:gd name="T45" fmla="*/ 170 h 195"/>
                <a:gd name="T46" fmla="*/ 60 w 297"/>
                <a:gd name="T47" fmla="*/ 167 h 195"/>
                <a:gd name="T48" fmla="*/ 81 w 297"/>
                <a:gd name="T49" fmla="*/ 167 h 195"/>
                <a:gd name="T50" fmla="*/ 89 w 297"/>
                <a:gd name="T51" fmla="*/ 168 h 195"/>
                <a:gd name="T52" fmla="*/ 91 w 297"/>
                <a:gd name="T53" fmla="*/ 162 h 195"/>
                <a:gd name="T54" fmla="*/ 90 w 297"/>
                <a:gd name="T55" fmla="*/ 153 h 195"/>
                <a:gd name="T56" fmla="*/ 97 w 297"/>
                <a:gd name="T57" fmla="*/ 148 h 195"/>
                <a:gd name="T58" fmla="*/ 115 w 297"/>
                <a:gd name="T59" fmla="*/ 132 h 195"/>
                <a:gd name="T60" fmla="*/ 120 w 297"/>
                <a:gd name="T61" fmla="*/ 132 h 195"/>
                <a:gd name="T62" fmla="*/ 126 w 297"/>
                <a:gd name="T63" fmla="*/ 135 h 195"/>
                <a:gd name="T64" fmla="*/ 143 w 297"/>
                <a:gd name="T65" fmla="*/ 148 h 195"/>
                <a:gd name="T66" fmla="*/ 154 w 297"/>
                <a:gd name="T67" fmla="*/ 151 h 195"/>
                <a:gd name="T68" fmla="*/ 160 w 297"/>
                <a:gd name="T69" fmla="*/ 152 h 195"/>
                <a:gd name="T70" fmla="*/ 177 w 297"/>
                <a:gd name="T71" fmla="*/ 153 h 195"/>
                <a:gd name="T72" fmla="*/ 187 w 297"/>
                <a:gd name="T73" fmla="*/ 148 h 195"/>
                <a:gd name="T74" fmla="*/ 191 w 297"/>
                <a:gd name="T75" fmla="*/ 142 h 195"/>
                <a:gd name="T76" fmla="*/ 195 w 297"/>
                <a:gd name="T77" fmla="*/ 140 h 195"/>
                <a:gd name="T78" fmla="*/ 206 w 297"/>
                <a:gd name="T79" fmla="*/ 144 h 195"/>
                <a:gd name="T80" fmla="*/ 227 w 297"/>
                <a:gd name="T81" fmla="*/ 135 h 195"/>
                <a:gd name="T82" fmla="*/ 232 w 297"/>
                <a:gd name="T83" fmla="*/ 133 h 195"/>
                <a:gd name="T84" fmla="*/ 241 w 297"/>
                <a:gd name="T85" fmla="*/ 136 h 195"/>
                <a:gd name="T86" fmla="*/ 250 w 297"/>
                <a:gd name="T87" fmla="*/ 130 h 195"/>
                <a:gd name="T88" fmla="*/ 257 w 297"/>
                <a:gd name="T89" fmla="*/ 126 h 195"/>
                <a:gd name="T90" fmla="*/ 264 w 297"/>
                <a:gd name="T91" fmla="*/ 130 h 195"/>
                <a:gd name="T92" fmla="*/ 270 w 297"/>
                <a:gd name="T93" fmla="*/ 130 h 195"/>
                <a:gd name="T94" fmla="*/ 280 w 297"/>
                <a:gd name="T95" fmla="*/ 133 h 195"/>
                <a:gd name="T96" fmla="*/ 284 w 297"/>
                <a:gd name="T97" fmla="*/ 133 h 195"/>
                <a:gd name="T98" fmla="*/ 297 w 297"/>
                <a:gd name="T99" fmla="*/ 131 h 195"/>
                <a:gd name="T100" fmla="*/ 283 w 297"/>
                <a:gd name="T101" fmla="*/ 117 h 195"/>
                <a:gd name="T102" fmla="*/ 276 w 297"/>
                <a:gd name="T103" fmla="*/ 113 h 195"/>
                <a:gd name="T104" fmla="*/ 273 w 297"/>
                <a:gd name="T105" fmla="*/ 101 h 195"/>
                <a:gd name="T106" fmla="*/ 248 w 297"/>
                <a:gd name="T107" fmla="*/ 73 h 195"/>
                <a:gd name="T108" fmla="*/ 247 w 297"/>
                <a:gd name="T109" fmla="*/ 71 h 195"/>
                <a:gd name="T110" fmla="*/ 225 w 297"/>
                <a:gd name="T111" fmla="*/ 61 h 195"/>
                <a:gd name="T112" fmla="*/ 219 w 297"/>
                <a:gd name="T113" fmla="*/ 53 h 195"/>
                <a:gd name="T114" fmla="*/ 212 w 297"/>
                <a:gd name="T115" fmla="*/ 53 h 195"/>
                <a:gd name="T116" fmla="*/ 206 w 297"/>
                <a:gd name="T117" fmla="*/ 46 h 195"/>
                <a:gd name="T118" fmla="*/ 210 w 297"/>
                <a:gd name="T119" fmla="*/ 36 h 195"/>
                <a:gd name="T120" fmla="*/ 207 w 297"/>
                <a:gd name="T121" fmla="*/ 18 h 195"/>
                <a:gd name="T122" fmla="*/ 190 w 297"/>
                <a:gd name="T123"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7" h="195">
                  <a:moveTo>
                    <a:pt x="183" y="0"/>
                  </a:moveTo>
                  <a:cubicBezTo>
                    <a:pt x="183" y="0"/>
                    <a:pt x="183" y="0"/>
                    <a:pt x="183" y="0"/>
                  </a:cubicBezTo>
                  <a:cubicBezTo>
                    <a:pt x="182" y="0"/>
                    <a:pt x="181" y="0"/>
                    <a:pt x="180" y="1"/>
                  </a:cubicBezTo>
                  <a:cubicBezTo>
                    <a:pt x="177" y="2"/>
                    <a:pt x="172" y="4"/>
                    <a:pt x="170" y="6"/>
                  </a:cubicBezTo>
                  <a:cubicBezTo>
                    <a:pt x="170" y="6"/>
                    <a:pt x="170" y="6"/>
                    <a:pt x="170" y="6"/>
                  </a:cubicBezTo>
                  <a:cubicBezTo>
                    <a:pt x="170" y="7"/>
                    <a:pt x="170" y="7"/>
                    <a:pt x="170" y="7"/>
                  </a:cubicBezTo>
                  <a:cubicBezTo>
                    <a:pt x="170" y="7"/>
                    <a:pt x="170" y="7"/>
                    <a:pt x="170" y="7"/>
                  </a:cubicBezTo>
                  <a:cubicBezTo>
                    <a:pt x="170" y="8"/>
                    <a:pt x="170" y="9"/>
                    <a:pt x="169" y="11"/>
                  </a:cubicBezTo>
                  <a:cubicBezTo>
                    <a:pt x="155" y="28"/>
                    <a:pt x="155" y="28"/>
                    <a:pt x="155" y="28"/>
                  </a:cubicBezTo>
                  <a:cubicBezTo>
                    <a:pt x="150" y="33"/>
                    <a:pt x="146" y="37"/>
                    <a:pt x="139" y="41"/>
                  </a:cubicBezTo>
                  <a:cubicBezTo>
                    <a:pt x="138" y="43"/>
                    <a:pt x="136" y="43"/>
                    <a:pt x="134" y="44"/>
                  </a:cubicBezTo>
                  <a:cubicBezTo>
                    <a:pt x="131" y="44"/>
                    <a:pt x="128" y="44"/>
                    <a:pt x="124" y="45"/>
                  </a:cubicBezTo>
                  <a:cubicBezTo>
                    <a:pt x="122" y="45"/>
                    <a:pt x="122" y="45"/>
                    <a:pt x="122" y="45"/>
                  </a:cubicBezTo>
                  <a:cubicBezTo>
                    <a:pt x="119" y="45"/>
                    <a:pt x="113" y="45"/>
                    <a:pt x="108" y="46"/>
                  </a:cubicBezTo>
                  <a:cubicBezTo>
                    <a:pt x="109" y="51"/>
                    <a:pt x="109" y="51"/>
                    <a:pt x="109" y="51"/>
                  </a:cubicBezTo>
                  <a:cubicBezTo>
                    <a:pt x="107" y="46"/>
                    <a:pt x="107" y="46"/>
                    <a:pt x="107" y="46"/>
                  </a:cubicBezTo>
                  <a:cubicBezTo>
                    <a:pt x="105" y="46"/>
                    <a:pt x="105" y="46"/>
                    <a:pt x="105" y="46"/>
                  </a:cubicBezTo>
                  <a:cubicBezTo>
                    <a:pt x="105" y="46"/>
                    <a:pt x="105" y="46"/>
                    <a:pt x="105" y="46"/>
                  </a:cubicBezTo>
                  <a:cubicBezTo>
                    <a:pt x="105" y="47"/>
                    <a:pt x="105" y="47"/>
                    <a:pt x="105" y="47"/>
                  </a:cubicBezTo>
                  <a:cubicBezTo>
                    <a:pt x="107" y="48"/>
                    <a:pt x="108" y="50"/>
                    <a:pt x="108" y="53"/>
                  </a:cubicBezTo>
                  <a:cubicBezTo>
                    <a:pt x="108" y="53"/>
                    <a:pt x="108" y="53"/>
                    <a:pt x="108" y="53"/>
                  </a:cubicBezTo>
                  <a:cubicBezTo>
                    <a:pt x="107" y="54"/>
                    <a:pt x="107" y="55"/>
                    <a:pt x="106" y="56"/>
                  </a:cubicBezTo>
                  <a:cubicBezTo>
                    <a:pt x="105" y="57"/>
                    <a:pt x="105" y="58"/>
                    <a:pt x="104" y="59"/>
                  </a:cubicBezTo>
                  <a:cubicBezTo>
                    <a:pt x="104" y="59"/>
                    <a:pt x="104" y="59"/>
                    <a:pt x="104" y="59"/>
                  </a:cubicBezTo>
                  <a:cubicBezTo>
                    <a:pt x="102" y="61"/>
                    <a:pt x="101" y="63"/>
                    <a:pt x="99" y="65"/>
                  </a:cubicBezTo>
                  <a:cubicBezTo>
                    <a:pt x="97" y="66"/>
                    <a:pt x="97" y="66"/>
                    <a:pt x="97" y="66"/>
                  </a:cubicBezTo>
                  <a:cubicBezTo>
                    <a:pt x="96" y="67"/>
                    <a:pt x="96" y="67"/>
                    <a:pt x="95" y="67"/>
                  </a:cubicBezTo>
                  <a:cubicBezTo>
                    <a:pt x="95" y="68"/>
                    <a:pt x="95" y="68"/>
                    <a:pt x="95" y="68"/>
                  </a:cubicBezTo>
                  <a:cubicBezTo>
                    <a:pt x="95" y="68"/>
                    <a:pt x="94" y="68"/>
                    <a:pt x="94" y="68"/>
                  </a:cubicBezTo>
                  <a:cubicBezTo>
                    <a:pt x="93" y="69"/>
                    <a:pt x="93" y="69"/>
                    <a:pt x="93" y="69"/>
                  </a:cubicBezTo>
                  <a:cubicBezTo>
                    <a:pt x="92" y="69"/>
                    <a:pt x="92" y="69"/>
                    <a:pt x="91" y="69"/>
                  </a:cubicBezTo>
                  <a:cubicBezTo>
                    <a:pt x="90" y="69"/>
                    <a:pt x="90" y="69"/>
                    <a:pt x="90" y="69"/>
                  </a:cubicBezTo>
                  <a:cubicBezTo>
                    <a:pt x="90" y="69"/>
                    <a:pt x="89" y="69"/>
                    <a:pt x="88" y="69"/>
                  </a:cubicBezTo>
                  <a:cubicBezTo>
                    <a:pt x="85" y="69"/>
                    <a:pt x="85" y="69"/>
                    <a:pt x="85" y="69"/>
                  </a:cubicBezTo>
                  <a:cubicBezTo>
                    <a:pt x="84" y="69"/>
                    <a:pt x="84" y="69"/>
                    <a:pt x="84" y="69"/>
                  </a:cubicBezTo>
                  <a:cubicBezTo>
                    <a:pt x="83" y="69"/>
                    <a:pt x="83" y="69"/>
                    <a:pt x="83" y="69"/>
                  </a:cubicBezTo>
                  <a:cubicBezTo>
                    <a:pt x="82" y="69"/>
                    <a:pt x="81" y="70"/>
                    <a:pt x="79" y="70"/>
                  </a:cubicBezTo>
                  <a:cubicBezTo>
                    <a:pt x="76" y="71"/>
                    <a:pt x="74" y="71"/>
                    <a:pt x="71" y="72"/>
                  </a:cubicBezTo>
                  <a:cubicBezTo>
                    <a:pt x="69" y="73"/>
                    <a:pt x="69" y="73"/>
                    <a:pt x="69" y="73"/>
                  </a:cubicBezTo>
                  <a:cubicBezTo>
                    <a:pt x="68" y="73"/>
                    <a:pt x="68" y="73"/>
                    <a:pt x="68" y="73"/>
                  </a:cubicBezTo>
                  <a:cubicBezTo>
                    <a:pt x="66" y="74"/>
                    <a:pt x="66" y="74"/>
                    <a:pt x="66" y="74"/>
                  </a:cubicBezTo>
                  <a:cubicBezTo>
                    <a:pt x="65" y="74"/>
                    <a:pt x="64" y="74"/>
                    <a:pt x="62" y="75"/>
                  </a:cubicBezTo>
                  <a:cubicBezTo>
                    <a:pt x="61" y="76"/>
                    <a:pt x="61" y="76"/>
                    <a:pt x="61" y="76"/>
                  </a:cubicBezTo>
                  <a:cubicBezTo>
                    <a:pt x="61" y="76"/>
                    <a:pt x="60" y="76"/>
                    <a:pt x="59" y="77"/>
                  </a:cubicBezTo>
                  <a:cubicBezTo>
                    <a:pt x="58" y="77"/>
                    <a:pt x="58" y="77"/>
                    <a:pt x="58" y="77"/>
                  </a:cubicBezTo>
                  <a:cubicBezTo>
                    <a:pt x="57" y="78"/>
                    <a:pt x="57" y="78"/>
                    <a:pt x="57" y="78"/>
                  </a:cubicBezTo>
                  <a:cubicBezTo>
                    <a:pt x="56" y="78"/>
                    <a:pt x="56" y="78"/>
                    <a:pt x="56" y="78"/>
                  </a:cubicBezTo>
                  <a:cubicBezTo>
                    <a:pt x="55" y="79"/>
                    <a:pt x="55" y="79"/>
                    <a:pt x="54" y="80"/>
                  </a:cubicBezTo>
                  <a:cubicBezTo>
                    <a:pt x="53" y="80"/>
                    <a:pt x="53" y="80"/>
                    <a:pt x="53" y="80"/>
                  </a:cubicBezTo>
                  <a:cubicBezTo>
                    <a:pt x="52" y="80"/>
                    <a:pt x="52" y="80"/>
                    <a:pt x="52" y="80"/>
                  </a:cubicBezTo>
                  <a:cubicBezTo>
                    <a:pt x="52" y="80"/>
                    <a:pt x="52" y="80"/>
                    <a:pt x="52" y="80"/>
                  </a:cubicBezTo>
                  <a:cubicBezTo>
                    <a:pt x="52" y="80"/>
                    <a:pt x="51" y="80"/>
                    <a:pt x="51" y="80"/>
                  </a:cubicBezTo>
                  <a:cubicBezTo>
                    <a:pt x="51" y="80"/>
                    <a:pt x="51" y="80"/>
                    <a:pt x="51" y="80"/>
                  </a:cubicBezTo>
                  <a:cubicBezTo>
                    <a:pt x="50" y="79"/>
                    <a:pt x="50" y="79"/>
                    <a:pt x="50" y="79"/>
                  </a:cubicBezTo>
                  <a:cubicBezTo>
                    <a:pt x="45" y="74"/>
                    <a:pt x="45" y="74"/>
                    <a:pt x="45" y="74"/>
                  </a:cubicBezTo>
                  <a:cubicBezTo>
                    <a:pt x="45" y="74"/>
                    <a:pt x="45" y="74"/>
                    <a:pt x="45" y="74"/>
                  </a:cubicBezTo>
                  <a:cubicBezTo>
                    <a:pt x="45" y="75"/>
                    <a:pt x="44" y="76"/>
                    <a:pt x="44" y="76"/>
                  </a:cubicBezTo>
                  <a:cubicBezTo>
                    <a:pt x="43" y="77"/>
                    <a:pt x="43" y="77"/>
                    <a:pt x="43" y="77"/>
                  </a:cubicBezTo>
                  <a:cubicBezTo>
                    <a:pt x="42" y="78"/>
                    <a:pt x="39" y="78"/>
                    <a:pt x="38" y="78"/>
                  </a:cubicBezTo>
                  <a:cubicBezTo>
                    <a:pt x="37" y="79"/>
                    <a:pt x="36" y="79"/>
                    <a:pt x="34" y="79"/>
                  </a:cubicBezTo>
                  <a:cubicBezTo>
                    <a:pt x="30" y="80"/>
                    <a:pt x="30" y="80"/>
                    <a:pt x="30" y="80"/>
                  </a:cubicBezTo>
                  <a:cubicBezTo>
                    <a:pt x="28" y="80"/>
                    <a:pt x="27" y="80"/>
                    <a:pt x="25" y="80"/>
                  </a:cubicBezTo>
                  <a:cubicBezTo>
                    <a:pt x="22" y="81"/>
                    <a:pt x="22" y="81"/>
                    <a:pt x="22" y="81"/>
                  </a:cubicBezTo>
                  <a:cubicBezTo>
                    <a:pt x="22" y="81"/>
                    <a:pt x="22" y="81"/>
                    <a:pt x="22" y="81"/>
                  </a:cubicBezTo>
                  <a:cubicBezTo>
                    <a:pt x="21" y="82"/>
                    <a:pt x="21" y="82"/>
                    <a:pt x="21" y="82"/>
                  </a:cubicBezTo>
                  <a:cubicBezTo>
                    <a:pt x="20" y="83"/>
                    <a:pt x="19" y="84"/>
                    <a:pt x="18" y="86"/>
                  </a:cubicBezTo>
                  <a:cubicBezTo>
                    <a:pt x="17" y="87"/>
                    <a:pt x="17" y="87"/>
                    <a:pt x="17" y="87"/>
                  </a:cubicBezTo>
                  <a:cubicBezTo>
                    <a:pt x="16" y="89"/>
                    <a:pt x="14" y="92"/>
                    <a:pt x="13" y="94"/>
                  </a:cubicBezTo>
                  <a:cubicBezTo>
                    <a:pt x="13" y="95"/>
                    <a:pt x="13" y="95"/>
                    <a:pt x="13" y="95"/>
                  </a:cubicBezTo>
                  <a:cubicBezTo>
                    <a:pt x="12" y="96"/>
                    <a:pt x="12" y="97"/>
                    <a:pt x="11" y="98"/>
                  </a:cubicBezTo>
                  <a:cubicBezTo>
                    <a:pt x="11" y="99"/>
                    <a:pt x="10" y="100"/>
                    <a:pt x="10" y="101"/>
                  </a:cubicBezTo>
                  <a:cubicBezTo>
                    <a:pt x="9" y="102"/>
                    <a:pt x="9" y="102"/>
                    <a:pt x="9" y="102"/>
                  </a:cubicBezTo>
                  <a:cubicBezTo>
                    <a:pt x="9" y="103"/>
                    <a:pt x="8" y="103"/>
                    <a:pt x="8" y="104"/>
                  </a:cubicBezTo>
                  <a:cubicBezTo>
                    <a:pt x="6" y="109"/>
                    <a:pt x="4" y="111"/>
                    <a:pt x="0" y="113"/>
                  </a:cubicBezTo>
                  <a:cubicBezTo>
                    <a:pt x="1" y="113"/>
                    <a:pt x="1" y="114"/>
                    <a:pt x="1" y="114"/>
                  </a:cubicBezTo>
                  <a:cubicBezTo>
                    <a:pt x="2" y="115"/>
                    <a:pt x="2" y="115"/>
                    <a:pt x="2" y="115"/>
                  </a:cubicBezTo>
                  <a:cubicBezTo>
                    <a:pt x="2" y="115"/>
                    <a:pt x="2" y="116"/>
                    <a:pt x="3" y="117"/>
                  </a:cubicBezTo>
                  <a:cubicBezTo>
                    <a:pt x="3" y="117"/>
                    <a:pt x="3" y="118"/>
                    <a:pt x="3" y="120"/>
                  </a:cubicBezTo>
                  <a:cubicBezTo>
                    <a:pt x="3" y="121"/>
                    <a:pt x="3" y="123"/>
                    <a:pt x="3" y="124"/>
                  </a:cubicBezTo>
                  <a:cubicBezTo>
                    <a:pt x="3" y="126"/>
                    <a:pt x="3" y="126"/>
                    <a:pt x="3" y="126"/>
                  </a:cubicBezTo>
                  <a:cubicBezTo>
                    <a:pt x="3" y="127"/>
                    <a:pt x="2" y="128"/>
                    <a:pt x="2" y="129"/>
                  </a:cubicBezTo>
                  <a:cubicBezTo>
                    <a:pt x="2" y="130"/>
                    <a:pt x="2" y="130"/>
                    <a:pt x="2" y="130"/>
                  </a:cubicBezTo>
                  <a:cubicBezTo>
                    <a:pt x="2" y="130"/>
                    <a:pt x="2" y="130"/>
                    <a:pt x="2" y="132"/>
                  </a:cubicBezTo>
                  <a:cubicBezTo>
                    <a:pt x="3" y="133"/>
                    <a:pt x="3" y="133"/>
                    <a:pt x="3" y="133"/>
                  </a:cubicBezTo>
                  <a:cubicBezTo>
                    <a:pt x="3" y="133"/>
                    <a:pt x="3" y="133"/>
                    <a:pt x="3" y="134"/>
                  </a:cubicBezTo>
                  <a:cubicBezTo>
                    <a:pt x="4" y="137"/>
                    <a:pt x="5" y="140"/>
                    <a:pt x="6" y="143"/>
                  </a:cubicBezTo>
                  <a:cubicBezTo>
                    <a:pt x="6" y="146"/>
                    <a:pt x="6" y="146"/>
                    <a:pt x="6" y="146"/>
                  </a:cubicBezTo>
                  <a:cubicBezTo>
                    <a:pt x="6" y="146"/>
                    <a:pt x="7" y="147"/>
                    <a:pt x="9" y="149"/>
                  </a:cubicBezTo>
                  <a:cubicBezTo>
                    <a:pt x="10" y="150"/>
                    <a:pt x="11" y="151"/>
                    <a:pt x="11" y="152"/>
                  </a:cubicBezTo>
                  <a:cubicBezTo>
                    <a:pt x="14" y="155"/>
                    <a:pt x="14" y="155"/>
                    <a:pt x="14" y="155"/>
                  </a:cubicBezTo>
                  <a:cubicBezTo>
                    <a:pt x="14" y="156"/>
                    <a:pt x="15" y="157"/>
                    <a:pt x="16" y="159"/>
                  </a:cubicBezTo>
                  <a:cubicBezTo>
                    <a:pt x="18" y="162"/>
                    <a:pt x="18" y="162"/>
                    <a:pt x="18" y="162"/>
                  </a:cubicBezTo>
                  <a:cubicBezTo>
                    <a:pt x="15" y="163"/>
                    <a:pt x="15" y="163"/>
                    <a:pt x="15" y="163"/>
                  </a:cubicBezTo>
                  <a:cubicBezTo>
                    <a:pt x="17" y="166"/>
                    <a:pt x="19" y="169"/>
                    <a:pt x="22" y="171"/>
                  </a:cubicBezTo>
                  <a:cubicBezTo>
                    <a:pt x="24" y="173"/>
                    <a:pt x="24" y="173"/>
                    <a:pt x="24" y="173"/>
                  </a:cubicBezTo>
                  <a:cubicBezTo>
                    <a:pt x="25" y="174"/>
                    <a:pt x="25" y="174"/>
                    <a:pt x="25" y="174"/>
                  </a:cubicBezTo>
                  <a:cubicBezTo>
                    <a:pt x="26" y="175"/>
                    <a:pt x="26" y="175"/>
                    <a:pt x="26" y="175"/>
                  </a:cubicBezTo>
                  <a:cubicBezTo>
                    <a:pt x="29" y="177"/>
                    <a:pt x="32" y="180"/>
                    <a:pt x="35" y="182"/>
                  </a:cubicBezTo>
                  <a:cubicBezTo>
                    <a:pt x="36" y="183"/>
                    <a:pt x="36" y="184"/>
                    <a:pt x="37" y="185"/>
                  </a:cubicBezTo>
                  <a:cubicBezTo>
                    <a:pt x="37" y="186"/>
                    <a:pt x="37" y="186"/>
                    <a:pt x="37" y="186"/>
                  </a:cubicBezTo>
                  <a:cubicBezTo>
                    <a:pt x="38" y="186"/>
                    <a:pt x="38" y="186"/>
                    <a:pt x="38" y="186"/>
                  </a:cubicBezTo>
                  <a:cubicBezTo>
                    <a:pt x="38" y="188"/>
                    <a:pt x="38" y="189"/>
                    <a:pt x="38" y="190"/>
                  </a:cubicBezTo>
                  <a:cubicBezTo>
                    <a:pt x="38" y="192"/>
                    <a:pt x="38" y="193"/>
                    <a:pt x="39" y="195"/>
                  </a:cubicBezTo>
                  <a:cubicBezTo>
                    <a:pt x="39" y="195"/>
                    <a:pt x="39" y="194"/>
                    <a:pt x="39" y="194"/>
                  </a:cubicBezTo>
                  <a:cubicBezTo>
                    <a:pt x="40" y="193"/>
                    <a:pt x="40" y="193"/>
                    <a:pt x="40" y="193"/>
                  </a:cubicBezTo>
                  <a:cubicBezTo>
                    <a:pt x="40" y="191"/>
                    <a:pt x="40" y="190"/>
                    <a:pt x="41" y="189"/>
                  </a:cubicBezTo>
                  <a:cubicBezTo>
                    <a:pt x="41" y="187"/>
                    <a:pt x="42" y="185"/>
                    <a:pt x="42" y="184"/>
                  </a:cubicBezTo>
                  <a:cubicBezTo>
                    <a:pt x="42" y="183"/>
                    <a:pt x="42" y="183"/>
                    <a:pt x="42" y="182"/>
                  </a:cubicBezTo>
                  <a:cubicBezTo>
                    <a:pt x="42" y="181"/>
                    <a:pt x="42" y="180"/>
                    <a:pt x="42" y="178"/>
                  </a:cubicBezTo>
                  <a:cubicBezTo>
                    <a:pt x="43" y="177"/>
                    <a:pt x="43" y="177"/>
                    <a:pt x="43" y="177"/>
                  </a:cubicBezTo>
                  <a:cubicBezTo>
                    <a:pt x="43" y="177"/>
                    <a:pt x="43" y="176"/>
                    <a:pt x="43" y="176"/>
                  </a:cubicBezTo>
                  <a:cubicBezTo>
                    <a:pt x="43" y="175"/>
                    <a:pt x="43" y="175"/>
                    <a:pt x="43" y="175"/>
                  </a:cubicBezTo>
                  <a:cubicBezTo>
                    <a:pt x="43" y="174"/>
                    <a:pt x="43" y="174"/>
                    <a:pt x="43" y="174"/>
                  </a:cubicBezTo>
                  <a:cubicBezTo>
                    <a:pt x="44" y="174"/>
                    <a:pt x="44" y="174"/>
                    <a:pt x="44" y="174"/>
                  </a:cubicBezTo>
                  <a:cubicBezTo>
                    <a:pt x="45" y="172"/>
                    <a:pt x="47" y="171"/>
                    <a:pt x="48" y="170"/>
                  </a:cubicBezTo>
                  <a:cubicBezTo>
                    <a:pt x="50" y="170"/>
                    <a:pt x="51" y="169"/>
                    <a:pt x="53" y="169"/>
                  </a:cubicBezTo>
                  <a:cubicBezTo>
                    <a:pt x="52" y="164"/>
                    <a:pt x="52" y="164"/>
                    <a:pt x="52" y="164"/>
                  </a:cubicBezTo>
                  <a:cubicBezTo>
                    <a:pt x="55" y="169"/>
                    <a:pt x="55" y="169"/>
                    <a:pt x="55" y="169"/>
                  </a:cubicBezTo>
                  <a:cubicBezTo>
                    <a:pt x="55" y="169"/>
                    <a:pt x="55" y="169"/>
                    <a:pt x="55" y="169"/>
                  </a:cubicBezTo>
                  <a:cubicBezTo>
                    <a:pt x="57" y="168"/>
                    <a:pt x="58" y="168"/>
                    <a:pt x="60" y="167"/>
                  </a:cubicBezTo>
                  <a:cubicBezTo>
                    <a:pt x="64" y="167"/>
                    <a:pt x="67" y="166"/>
                    <a:pt x="71" y="166"/>
                  </a:cubicBezTo>
                  <a:cubicBezTo>
                    <a:pt x="72" y="166"/>
                    <a:pt x="74" y="166"/>
                    <a:pt x="75" y="167"/>
                  </a:cubicBezTo>
                  <a:cubicBezTo>
                    <a:pt x="76" y="167"/>
                    <a:pt x="77" y="167"/>
                    <a:pt x="78" y="167"/>
                  </a:cubicBezTo>
                  <a:cubicBezTo>
                    <a:pt x="79" y="167"/>
                    <a:pt x="79" y="167"/>
                    <a:pt x="79" y="167"/>
                  </a:cubicBezTo>
                  <a:cubicBezTo>
                    <a:pt x="80" y="167"/>
                    <a:pt x="80" y="167"/>
                    <a:pt x="81" y="167"/>
                  </a:cubicBezTo>
                  <a:cubicBezTo>
                    <a:pt x="82" y="167"/>
                    <a:pt x="82" y="167"/>
                    <a:pt x="82" y="167"/>
                  </a:cubicBezTo>
                  <a:cubicBezTo>
                    <a:pt x="83" y="168"/>
                    <a:pt x="83" y="168"/>
                    <a:pt x="83" y="168"/>
                  </a:cubicBezTo>
                  <a:cubicBezTo>
                    <a:pt x="85" y="168"/>
                    <a:pt x="86" y="168"/>
                    <a:pt x="87" y="168"/>
                  </a:cubicBezTo>
                  <a:cubicBezTo>
                    <a:pt x="88" y="168"/>
                    <a:pt x="89" y="168"/>
                    <a:pt x="89" y="168"/>
                  </a:cubicBezTo>
                  <a:cubicBezTo>
                    <a:pt x="89" y="168"/>
                    <a:pt x="89" y="168"/>
                    <a:pt x="89" y="168"/>
                  </a:cubicBezTo>
                  <a:cubicBezTo>
                    <a:pt x="91" y="166"/>
                    <a:pt x="91" y="166"/>
                    <a:pt x="91" y="166"/>
                  </a:cubicBezTo>
                  <a:cubicBezTo>
                    <a:pt x="91" y="167"/>
                    <a:pt x="91" y="167"/>
                    <a:pt x="91" y="167"/>
                  </a:cubicBezTo>
                  <a:cubicBezTo>
                    <a:pt x="91" y="166"/>
                    <a:pt x="91" y="166"/>
                    <a:pt x="91" y="165"/>
                  </a:cubicBezTo>
                  <a:cubicBezTo>
                    <a:pt x="91" y="164"/>
                    <a:pt x="91" y="163"/>
                    <a:pt x="91" y="162"/>
                  </a:cubicBezTo>
                  <a:cubicBezTo>
                    <a:pt x="91" y="162"/>
                    <a:pt x="91" y="162"/>
                    <a:pt x="91" y="162"/>
                  </a:cubicBezTo>
                  <a:cubicBezTo>
                    <a:pt x="91" y="161"/>
                    <a:pt x="91" y="160"/>
                    <a:pt x="91" y="159"/>
                  </a:cubicBezTo>
                  <a:cubicBezTo>
                    <a:pt x="91" y="159"/>
                    <a:pt x="91" y="159"/>
                    <a:pt x="91" y="159"/>
                  </a:cubicBezTo>
                  <a:cubicBezTo>
                    <a:pt x="91" y="158"/>
                    <a:pt x="91" y="158"/>
                    <a:pt x="91" y="157"/>
                  </a:cubicBezTo>
                  <a:cubicBezTo>
                    <a:pt x="91" y="157"/>
                    <a:pt x="91" y="157"/>
                    <a:pt x="91" y="157"/>
                  </a:cubicBezTo>
                  <a:cubicBezTo>
                    <a:pt x="90" y="157"/>
                    <a:pt x="89" y="155"/>
                    <a:pt x="90" y="153"/>
                  </a:cubicBezTo>
                  <a:cubicBezTo>
                    <a:pt x="90" y="152"/>
                    <a:pt x="90" y="152"/>
                    <a:pt x="91" y="151"/>
                  </a:cubicBezTo>
                  <a:cubicBezTo>
                    <a:pt x="92" y="150"/>
                    <a:pt x="93" y="150"/>
                    <a:pt x="95" y="150"/>
                  </a:cubicBezTo>
                  <a:cubicBezTo>
                    <a:pt x="95" y="150"/>
                    <a:pt x="95" y="150"/>
                    <a:pt x="95" y="150"/>
                  </a:cubicBezTo>
                  <a:cubicBezTo>
                    <a:pt x="96" y="150"/>
                    <a:pt x="96" y="150"/>
                    <a:pt x="96" y="150"/>
                  </a:cubicBezTo>
                  <a:cubicBezTo>
                    <a:pt x="96" y="150"/>
                    <a:pt x="96" y="149"/>
                    <a:pt x="97" y="148"/>
                  </a:cubicBezTo>
                  <a:cubicBezTo>
                    <a:pt x="98" y="146"/>
                    <a:pt x="98" y="146"/>
                    <a:pt x="98" y="146"/>
                  </a:cubicBezTo>
                  <a:cubicBezTo>
                    <a:pt x="99" y="145"/>
                    <a:pt x="100" y="143"/>
                    <a:pt x="101" y="142"/>
                  </a:cubicBezTo>
                  <a:cubicBezTo>
                    <a:pt x="101" y="141"/>
                    <a:pt x="101" y="141"/>
                    <a:pt x="101" y="141"/>
                  </a:cubicBezTo>
                  <a:cubicBezTo>
                    <a:pt x="102" y="140"/>
                    <a:pt x="103" y="139"/>
                    <a:pt x="104" y="138"/>
                  </a:cubicBezTo>
                  <a:cubicBezTo>
                    <a:pt x="107" y="135"/>
                    <a:pt x="111" y="133"/>
                    <a:pt x="115" y="132"/>
                  </a:cubicBezTo>
                  <a:cubicBezTo>
                    <a:pt x="115" y="132"/>
                    <a:pt x="116" y="132"/>
                    <a:pt x="117" y="132"/>
                  </a:cubicBezTo>
                  <a:cubicBezTo>
                    <a:pt x="117" y="132"/>
                    <a:pt x="117" y="132"/>
                    <a:pt x="117" y="132"/>
                  </a:cubicBezTo>
                  <a:cubicBezTo>
                    <a:pt x="118" y="132"/>
                    <a:pt x="118" y="132"/>
                    <a:pt x="118" y="132"/>
                  </a:cubicBezTo>
                  <a:cubicBezTo>
                    <a:pt x="118" y="132"/>
                    <a:pt x="118" y="132"/>
                    <a:pt x="119" y="132"/>
                  </a:cubicBezTo>
                  <a:cubicBezTo>
                    <a:pt x="119" y="132"/>
                    <a:pt x="120" y="132"/>
                    <a:pt x="120" y="132"/>
                  </a:cubicBezTo>
                  <a:cubicBezTo>
                    <a:pt x="122" y="132"/>
                    <a:pt x="122" y="132"/>
                    <a:pt x="122" y="132"/>
                  </a:cubicBezTo>
                  <a:cubicBezTo>
                    <a:pt x="122" y="133"/>
                    <a:pt x="122" y="133"/>
                    <a:pt x="122" y="133"/>
                  </a:cubicBezTo>
                  <a:cubicBezTo>
                    <a:pt x="123" y="133"/>
                    <a:pt x="124" y="133"/>
                    <a:pt x="124" y="134"/>
                  </a:cubicBezTo>
                  <a:cubicBezTo>
                    <a:pt x="125" y="134"/>
                    <a:pt x="125" y="134"/>
                    <a:pt x="125" y="134"/>
                  </a:cubicBezTo>
                  <a:cubicBezTo>
                    <a:pt x="125" y="134"/>
                    <a:pt x="126" y="135"/>
                    <a:pt x="126" y="135"/>
                  </a:cubicBezTo>
                  <a:cubicBezTo>
                    <a:pt x="127" y="135"/>
                    <a:pt x="128" y="136"/>
                    <a:pt x="130" y="137"/>
                  </a:cubicBezTo>
                  <a:cubicBezTo>
                    <a:pt x="138" y="145"/>
                    <a:pt x="138" y="145"/>
                    <a:pt x="138" y="145"/>
                  </a:cubicBezTo>
                  <a:cubicBezTo>
                    <a:pt x="138" y="146"/>
                    <a:pt x="140" y="147"/>
                    <a:pt x="141" y="147"/>
                  </a:cubicBezTo>
                  <a:cubicBezTo>
                    <a:pt x="141" y="147"/>
                    <a:pt x="141" y="147"/>
                    <a:pt x="141" y="147"/>
                  </a:cubicBezTo>
                  <a:cubicBezTo>
                    <a:pt x="142" y="147"/>
                    <a:pt x="142" y="147"/>
                    <a:pt x="143" y="148"/>
                  </a:cubicBezTo>
                  <a:cubicBezTo>
                    <a:pt x="143" y="148"/>
                    <a:pt x="144" y="148"/>
                    <a:pt x="145" y="148"/>
                  </a:cubicBezTo>
                  <a:cubicBezTo>
                    <a:pt x="146" y="148"/>
                    <a:pt x="147" y="149"/>
                    <a:pt x="149" y="149"/>
                  </a:cubicBezTo>
                  <a:cubicBezTo>
                    <a:pt x="149" y="149"/>
                    <a:pt x="149" y="149"/>
                    <a:pt x="149" y="149"/>
                  </a:cubicBezTo>
                  <a:cubicBezTo>
                    <a:pt x="151" y="150"/>
                    <a:pt x="153" y="150"/>
                    <a:pt x="154" y="151"/>
                  </a:cubicBezTo>
                  <a:cubicBezTo>
                    <a:pt x="154" y="151"/>
                    <a:pt x="154" y="151"/>
                    <a:pt x="154" y="151"/>
                  </a:cubicBezTo>
                  <a:cubicBezTo>
                    <a:pt x="155" y="151"/>
                    <a:pt x="155" y="151"/>
                    <a:pt x="155" y="151"/>
                  </a:cubicBezTo>
                  <a:cubicBezTo>
                    <a:pt x="156" y="151"/>
                    <a:pt x="156" y="151"/>
                    <a:pt x="156" y="151"/>
                  </a:cubicBezTo>
                  <a:cubicBezTo>
                    <a:pt x="156" y="151"/>
                    <a:pt x="156" y="151"/>
                    <a:pt x="156" y="151"/>
                  </a:cubicBezTo>
                  <a:cubicBezTo>
                    <a:pt x="157" y="151"/>
                    <a:pt x="158" y="151"/>
                    <a:pt x="159" y="152"/>
                  </a:cubicBezTo>
                  <a:cubicBezTo>
                    <a:pt x="160" y="152"/>
                    <a:pt x="160" y="152"/>
                    <a:pt x="160" y="152"/>
                  </a:cubicBezTo>
                  <a:cubicBezTo>
                    <a:pt x="162" y="152"/>
                    <a:pt x="164" y="152"/>
                    <a:pt x="165" y="153"/>
                  </a:cubicBezTo>
                  <a:cubicBezTo>
                    <a:pt x="166" y="153"/>
                    <a:pt x="167" y="153"/>
                    <a:pt x="168" y="153"/>
                  </a:cubicBezTo>
                  <a:cubicBezTo>
                    <a:pt x="170" y="153"/>
                    <a:pt x="172" y="153"/>
                    <a:pt x="174" y="153"/>
                  </a:cubicBezTo>
                  <a:cubicBezTo>
                    <a:pt x="176" y="153"/>
                    <a:pt x="176" y="153"/>
                    <a:pt x="176" y="153"/>
                  </a:cubicBezTo>
                  <a:cubicBezTo>
                    <a:pt x="177" y="153"/>
                    <a:pt x="177" y="153"/>
                    <a:pt x="177" y="153"/>
                  </a:cubicBezTo>
                  <a:cubicBezTo>
                    <a:pt x="178" y="154"/>
                    <a:pt x="178" y="154"/>
                    <a:pt x="178" y="154"/>
                  </a:cubicBezTo>
                  <a:cubicBezTo>
                    <a:pt x="180" y="154"/>
                    <a:pt x="182" y="155"/>
                    <a:pt x="183" y="155"/>
                  </a:cubicBezTo>
                  <a:cubicBezTo>
                    <a:pt x="183" y="154"/>
                    <a:pt x="183" y="153"/>
                    <a:pt x="184" y="153"/>
                  </a:cubicBezTo>
                  <a:cubicBezTo>
                    <a:pt x="184" y="151"/>
                    <a:pt x="185" y="150"/>
                    <a:pt x="186" y="149"/>
                  </a:cubicBezTo>
                  <a:cubicBezTo>
                    <a:pt x="187" y="148"/>
                    <a:pt x="187" y="148"/>
                    <a:pt x="187" y="148"/>
                  </a:cubicBezTo>
                  <a:cubicBezTo>
                    <a:pt x="187" y="148"/>
                    <a:pt x="187" y="147"/>
                    <a:pt x="187" y="147"/>
                  </a:cubicBezTo>
                  <a:cubicBezTo>
                    <a:pt x="188" y="147"/>
                    <a:pt x="188" y="147"/>
                    <a:pt x="188" y="147"/>
                  </a:cubicBezTo>
                  <a:cubicBezTo>
                    <a:pt x="188" y="146"/>
                    <a:pt x="189" y="144"/>
                    <a:pt x="190" y="143"/>
                  </a:cubicBezTo>
                  <a:cubicBezTo>
                    <a:pt x="191" y="142"/>
                    <a:pt x="191" y="142"/>
                    <a:pt x="191" y="142"/>
                  </a:cubicBezTo>
                  <a:cubicBezTo>
                    <a:pt x="191" y="142"/>
                    <a:pt x="191" y="142"/>
                    <a:pt x="191" y="142"/>
                  </a:cubicBezTo>
                  <a:cubicBezTo>
                    <a:pt x="192" y="141"/>
                    <a:pt x="192" y="141"/>
                    <a:pt x="192" y="141"/>
                  </a:cubicBezTo>
                  <a:cubicBezTo>
                    <a:pt x="193" y="141"/>
                    <a:pt x="193" y="141"/>
                    <a:pt x="193" y="141"/>
                  </a:cubicBezTo>
                  <a:cubicBezTo>
                    <a:pt x="193" y="140"/>
                    <a:pt x="193" y="140"/>
                    <a:pt x="193" y="140"/>
                  </a:cubicBezTo>
                  <a:cubicBezTo>
                    <a:pt x="194" y="140"/>
                    <a:pt x="194" y="140"/>
                    <a:pt x="194" y="140"/>
                  </a:cubicBezTo>
                  <a:cubicBezTo>
                    <a:pt x="194" y="140"/>
                    <a:pt x="194" y="140"/>
                    <a:pt x="195" y="140"/>
                  </a:cubicBezTo>
                  <a:cubicBezTo>
                    <a:pt x="196" y="139"/>
                    <a:pt x="196" y="139"/>
                    <a:pt x="196" y="139"/>
                  </a:cubicBezTo>
                  <a:cubicBezTo>
                    <a:pt x="196" y="139"/>
                    <a:pt x="196" y="139"/>
                    <a:pt x="196" y="139"/>
                  </a:cubicBezTo>
                  <a:cubicBezTo>
                    <a:pt x="196" y="139"/>
                    <a:pt x="197" y="140"/>
                    <a:pt x="197" y="140"/>
                  </a:cubicBezTo>
                  <a:cubicBezTo>
                    <a:pt x="199" y="140"/>
                    <a:pt x="201" y="141"/>
                    <a:pt x="202" y="142"/>
                  </a:cubicBezTo>
                  <a:cubicBezTo>
                    <a:pt x="203" y="143"/>
                    <a:pt x="205" y="144"/>
                    <a:pt x="206" y="144"/>
                  </a:cubicBezTo>
                  <a:cubicBezTo>
                    <a:pt x="206" y="144"/>
                    <a:pt x="206" y="144"/>
                    <a:pt x="206" y="144"/>
                  </a:cubicBezTo>
                  <a:cubicBezTo>
                    <a:pt x="208" y="144"/>
                    <a:pt x="210" y="143"/>
                    <a:pt x="211" y="142"/>
                  </a:cubicBezTo>
                  <a:cubicBezTo>
                    <a:pt x="212" y="142"/>
                    <a:pt x="213" y="142"/>
                    <a:pt x="213" y="141"/>
                  </a:cubicBezTo>
                  <a:cubicBezTo>
                    <a:pt x="226" y="135"/>
                    <a:pt x="226" y="135"/>
                    <a:pt x="226" y="135"/>
                  </a:cubicBezTo>
                  <a:cubicBezTo>
                    <a:pt x="226" y="135"/>
                    <a:pt x="226" y="135"/>
                    <a:pt x="227" y="135"/>
                  </a:cubicBezTo>
                  <a:cubicBezTo>
                    <a:pt x="227" y="135"/>
                    <a:pt x="227" y="135"/>
                    <a:pt x="227" y="135"/>
                  </a:cubicBezTo>
                  <a:cubicBezTo>
                    <a:pt x="228" y="134"/>
                    <a:pt x="229" y="134"/>
                    <a:pt x="230" y="133"/>
                  </a:cubicBezTo>
                  <a:cubicBezTo>
                    <a:pt x="230" y="133"/>
                    <a:pt x="231" y="133"/>
                    <a:pt x="231" y="133"/>
                  </a:cubicBezTo>
                  <a:cubicBezTo>
                    <a:pt x="231" y="133"/>
                    <a:pt x="231" y="133"/>
                    <a:pt x="231" y="133"/>
                  </a:cubicBezTo>
                  <a:cubicBezTo>
                    <a:pt x="232" y="133"/>
                    <a:pt x="232" y="133"/>
                    <a:pt x="232" y="133"/>
                  </a:cubicBezTo>
                  <a:cubicBezTo>
                    <a:pt x="233" y="133"/>
                    <a:pt x="233" y="133"/>
                    <a:pt x="233" y="133"/>
                  </a:cubicBezTo>
                  <a:cubicBezTo>
                    <a:pt x="234" y="133"/>
                    <a:pt x="234" y="133"/>
                    <a:pt x="234" y="133"/>
                  </a:cubicBezTo>
                  <a:cubicBezTo>
                    <a:pt x="234" y="134"/>
                    <a:pt x="235" y="134"/>
                    <a:pt x="235" y="134"/>
                  </a:cubicBezTo>
                  <a:cubicBezTo>
                    <a:pt x="236" y="135"/>
                    <a:pt x="238" y="136"/>
                    <a:pt x="238" y="137"/>
                  </a:cubicBezTo>
                  <a:cubicBezTo>
                    <a:pt x="239" y="137"/>
                    <a:pt x="240" y="136"/>
                    <a:pt x="241" y="136"/>
                  </a:cubicBezTo>
                  <a:cubicBezTo>
                    <a:pt x="242" y="136"/>
                    <a:pt x="242" y="136"/>
                    <a:pt x="242" y="136"/>
                  </a:cubicBezTo>
                  <a:cubicBezTo>
                    <a:pt x="242" y="136"/>
                    <a:pt x="243" y="136"/>
                    <a:pt x="243" y="136"/>
                  </a:cubicBezTo>
                  <a:cubicBezTo>
                    <a:pt x="244" y="136"/>
                    <a:pt x="245" y="136"/>
                    <a:pt x="246" y="135"/>
                  </a:cubicBezTo>
                  <a:cubicBezTo>
                    <a:pt x="247" y="135"/>
                    <a:pt x="249" y="135"/>
                    <a:pt x="249" y="134"/>
                  </a:cubicBezTo>
                  <a:cubicBezTo>
                    <a:pt x="249" y="133"/>
                    <a:pt x="249" y="132"/>
                    <a:pt x="250" y="130"/>
                  </a:cubicBezTo>
                  <a:cubicBezTo>
                    <a:pt x="251" y="129"/>
                    <a:pt x="251" y="128"/>
                    <a:pt x="252" y="128"/>
                  </a:cubicBezTo>
                  <a:cubicBezTo>
                    <a:pt x="253" y="127"/>
                    <a:pt x="253" y="127"/>
                    <a:pt x="253" y="127"/>
                  </a:cubicBezTo>
                  <a:cubicBezTo>
                    <a:pt x="253" y="127"/>
                    <a:pt x="254" y="127"/>
                    <a:pt x="255" y="127"/>
                  </a:cubicBezTo>
                  <a:cubicBezTo>
                    <a:pt x="256" y="127"/>
                    <a:pt x="256" y="127"/>
                    <a:pt x="256" y="127"/>
                  </a:cubicBezTo>
                  <a:cubicBezTo>
                    <a:pt x="256" y="127"/>
                    <a:pt x="256" y="126"/>
                    <a:pt x="257" y="126"/>
                  </a:cubicBezTo>
                  <a:cubicBezTo>
                    <a:pt x="257" y="126"/>
                    <a:pt x="257" y="126"/>
                    <a:pt x="258" y="127"/>
                  </a:cubicBezTo>
                  <a:cubicBezTo>
                    <a:pt x="258" y="127"/>
                    <a:pt x="258" y="127"/>
                    <a:pt x="259" y="127"/>
                  </a:cubicBezTo>
                  <a:cubicBezTo>
                    <a:pt x="259" y="127"/>
                    <a:pt x="260" y="127"/>
                    <a:pt x="261" y="127"/>
                  </a:cubicBezTo>
                  <a:cubicBezTo>
                    <a:pt x="262" y="128"/>
                    <a:pt x="262" y="128"/>
                    <a:pt x="263" y="129"/>
                  </a:cubicBezTo>
                  <a:cubicBezTo>
                    <a:pt x="264" y="129"/>
                    <a:pt x="264" y="130"/>
                    <a:pt x="264" y="130"/>
                  </a:cubicBezTo>
                  <a:cubicBezTo>
                    <a:pt x="265" y="130"/>
                    <a:pt x="265" y="130"/>
                    <a:pt x="265" y="130"/>
                  </a:cubicBezTo>
                  <a:cubicBezTo>
                    <a:pt x="266" y="130"/>
                    <a:pt x="266" y="130"/>
                    <a:pt x="266" y="130"/>
                  </a:cubicBezTo>
                  <a:cubicBezTo>
                    <a:pt x="266" y="130"/>
                    <a:pt x="266" y="130"/>
                    <a:pt x="266" y="130"/>
                  </a:cubicBezTo>
                  <a:cubicBezTo>
                    <a:pt x="267" y="130"/>
                    <a:pt x="267" y="130"/>
                    <a:pt x="267" y="130"/>
                  </a:cubicBezTo>
                  <a:cubicBezTo>
                    <a:pt x="268" y="130"/>
                    <a:pt x="269" y="130"/>
                    <a:pt x="270" y="130"/>
                  </a:cubicBezTo>
                  <a:cubicBezTo>
                    <a:pt x="271" y="130"/>
                    <a:pt x="272" y="130"/>
                    <a:pt x="273" y="130"/>
                  </a:cubicBezTo>
                  <a:cubicBezTo>
                    <a:pt x="274" y="130"/>
                    <a:pt x="276" y="131"/>
                    <a:pt x="277" y="132"/>
                  </a:cubicBezTo>
                  <a:cubicBezTo>
                    <a:pt x="278" y="132"/>
                    <a:pt x="279" y="133"/>
                    <a:pt x="280" y="133"/>
                  </a:cubicBezTo>
                  <a:cubicBezTo>
                    <a:pt x="280" y="133"/>
                    <a:pt x="280" y="133"/>
                    <a:pt x="280" y="133"/>
                  </a:cubicBezTo>
                  <a:cubicBezTo>
                    <a:pt x="280" y="133"/>
                    <a:pt x="280" y="133"/>
                    <a:pt x="280" y="133"/>
                  </a:cubicBezTo>
                  <a:cubicBezTo>
                    <a:pt x="280" y="134"/>
                    <a:pt x="280" y="134"/>
                    <a:pt x="280" y="134"/>
                  </a:cubicBezTo>
                  <a:cubicBezTo>
                    <a:pt x="281" y="133"/>
                    <a:pt x="281" y="133"/>
                    <a:pt x="281" y="133"/>
                  </a:cubicBezTo>
                  <a:cubicBezTo>
                    <a:pt x="281" y="133"/>
                    <a:pt x="281" y="133"/>
                    <a:pt x="281" y="133"/>
                  </a:cubicBezTo>
                  <a:cubicBezTo>
                    <a:pt x="282" y="133"/>
                    <a:pt x="282" y="133"/>
                    <a:pt x="282" y="133"/>
                  </a:cubicBezTo>
                  <a:cubicBezTo>
                    <a:pt x="283" y="133"/>
                    <a:pt x="284" y="133"/>
                    <a:pt x="284" y="133"/>
                  </a:cubicBezTo>
                  <a:cubicBezTo>
                    <a:pt x="285" y="133"/>
                    <a:pt x="285" y="133"/>
                    <a:pt x="285" y="133"/>
                  </a:cubicBezTo>
                  <a:cubicBezTo>
                    <a:pt x="286" y="132"/>
                    <a:pt x="286" y="132"/>
                    <a:pt x="286" y="132"/>
                  </a:cubicBezTo>
                  <a:cubicBezTo>
                    <a:pt x="288" y="131"/>
                    <a:pt x="291" y="130"/>
                    <a:pt x="293" y="130"/>
                  </a:cubicBezTo>
                  <a:cubicBezTo>
                    <a:pt x="294" y="130"/>
                    <a:pt x="295" y="130"/>
                    <a:pt x="296" y="131"/>
                  </a:cubicBezTo>
                  <a:cubicBezTo>
                    <a:pt x="297" y="131"/>
                    <a:pt x="297" y="131"/>
                    <a:pt x="297" y="131"/>
                  </a:cubicBezTo>
                  <a:cubicBezTo>
                    <a:pt x="296" y="130"/>
                    <a:pt x="296" y="129"/>
                    <a:pt x="296" y="128"/>
                  </a:cubicBezTo>
                  <a:cubicBezTo>
                    <a:pt x="296" y="127"/>
                    <a:pt x="295" y="127"/>
                    <a:pt x="295" y="126"/>
                  </a:cubicBezTo>
                  <a:cubicBezTo>
                    <a:pt x="295" y="125"/>
                    <a:pt x="295" y="125"/>
                    <a:pt x="295" y="125"/>
                  </a:cubicBezTo>
                  <a:cubicBezTo>
                    <a:pt x="294" y="123"/>
                    <a:pt x="291" y="121"/>
                    <a:pt x="289" y="120"/>
                  </a:cubicBezTo>
                  <a:cubicBezTo>
                    <a:pt x="287" y="119"/>
                    <a:pt x="285" y="117"/>
                    <a:pt x="283" y="117"/>
                  </a:cubicBezTo>
                  <a:cubicBezTo>
                    <a:pt x="281" y="116"/>
                    <a:pt x="281" y="116"/>
                    <a:pt x="281" y="116"/>
                  </a:cubicBezTo>
                  <a:cubicBezTo>
                    <a:pt x="280" y="116"/>
                    <a:pt x="279" y="115"/>
                    <a:pt x="277" y="114"/>
                  </a:cubicBezTo>
                  <a:cubicBezTo>
                    <a:pt x="277" y="113"/>
                    <a:pt x="277" y="113"/>
                    <a:pt x="277" y="113"/>
                  </a:cubicBezTo>
                  <a:cubicBezTo>
                    <a:pt x="276" y="113"/>
                    <a:pt x="276" y="113"/>
                    <a:pt x="276" y="113"/>
                  </a:cubicBezTo>
                  <a:cubicBezTo>
                    <a:pt x="276" y="113"/>
                    <a:pt x="276" y="113"/>
                    <a:pt x="276" y="113"/>
                  </a:cubicBezTo>
                  <a:cubicBezTo>
                    <a:pt x="275" y="112"/>
                    <a:pt x="275" y="111"/>
                    <a:pt x="274" y="110"/>
                  </a:cubicBezTo>
                  <a:cubicBezTo>
                    <a:pt x="274" y="110"/>
                    <a:pt x="274" y="110"/>
                    <a:pt x="274" y="109"/>
                  </a:cubicBezTo>
                  <a:cubicBezTo>
                    <a:pt x="274" y="109"/>
                    <a:pt x="273" y="108"/>
                    <a:pt x="273" y="107"/>
                  </a:cubicBezTo>
                  <a:cubicBezTo>
                    <a:pt x="272" y="106"/>
                    <a:pt x="272" y="104"/>
                    <a:pt x="272" y="103"/>
                  </a:cubicBezTo>
                  <a:cubicBezTo>
                    <a:pt x="273" y="102"/>
                    <a:pt x="273" y="102"/>
                    <a:pt x="273" y="101"/>
                  </a:cubicBezTo>
                  <a:cubicBezTo>
                    <a:pt x="274" y="100"/>
                    <a:pt x="274" y="100"/>
                    <a:pt x="274" y="100"/>
                  </a:cubicBezTo>
                  <a:cubicBezTo>
                    <a:pt x="274" y="100"/>
                    <a:pt x="274" y="100"/>
                    <a:pt x="274" y="100"/>
                  </a:cubicBezTo>
                  <a:cubicBezTo>
                    <a:pt x="252" y="81"/>
                    <a:pt x="252" y="81"/>
                    <a:pt x="252" y="81"/>
                  </a:cubicBezTo>
                  <a:cubicBezTo>
                    <a:pt x="251" y="79"/>
                    <a:pt x="249" y="78"/>
                    <a:pt x="249" y="76"/>
                  </a:cubicBezTo>
                  <a:cubicBezTo>
                    <a:pt x="248" y="75"/>
                    <a:pt x="248" y="74"/>
                    <a:pt x="248" y="73"/>
                  </a:cubicBezTo>
                  <a:cubicBezTo>
                    <a:pt x="248" y="73"/>
                    <a:pt x="248" y="73"/>
                    <a:pt x="248" y="73"/>
                  </a:cubicBezTo>
                  <a:cubicBezTo>
                    <a:pt x="248" y="73"/>
                    <a:pt x="248" y="73"/>
                    <a:pt x="248" y="73"/>
                  </a:cubicBezTo>
                  <a:cubicBezTo>
                    <a:pt x="248" y="72"/>
                    <a:pt x="248" y="72"/>
                    <a:pt x="248" y="72"/>
                  </a:cubicBezTo>
                  <a:cubicBezTo>
                    <a:pt x="247" y="71"/>
                    <a:pt x="247" y="71"/>
                    <a:pt x="247" y="71"/>
                  </a:cubicBezTo>
                  <a:cubicBezTo>
                    <a:pt x="247" y="71"/>
                    <a:pt x="247" y="71"/>
                    <a:pt x="247" y="71"/>
                  </a:cubicBezTo>
                  <a:cubicBezTo>
                    <a:pt x="246" y="70"/>
                    <a:pt x="246" y="70"/>
                    <a:pt x="246" y="70"/>
                  </a:cubicBezTo>
                  <a:cubicBezTo>
                    <a:pt x="244" y="68"/>
                    <a:pt x="241" y="66"/>
                    <a:pt x="240" y="66"/>
                  </a:cubicBezTo>
                  <a:cubicBezTo>
                    <a:pt x="238" y="65"/>
                    <a:pt x="236" y="65"/>
                    <a:pt x="234" y="65"/>
                  </a:cubicBezTo>
                  <a:cubicBezTo>
                    <a:pt x="231" y="64"/>
                    <a:pt x="231" y="64"/>
                    <a:pt x="231" y="64"/>
                  </a:cubicBezTo>
                  <a:cubicBezTo>
                    <a:pt x="228" y="63"/>
                    <a:pt x="226" y="63"/>
                    <a:pt x="225" y="61"/>
                  </a:cubicBezTo>
                  <a:cubicBezTo>
                    <a:pt x="224" y="60"/>
                    <a:pt x="224" y="59"/>
                    <a:pt x="223" y="57"/>
                  </a:cubicBezTo>
                  <a:cubicBezTo>
                    <a:pt x="223" y="56"/>
                    <a:pt x="223" y="56"/>
                    <a:pt x="223" y="55"/>
                  </a:cubicBezTo>
                  <a:cubicBezTo>
                    <a:pt x="223" y="54"/>
                    <a:pt x="223" y="53"/>
                    <a:pt x="223" y="53"/>
                  </a:cubicBezTo>
                  <a:cubicBezTo>
                    <a:pt x="222" y="53"/>
                    <a:pt x="222" y="53"/>
                    <a:pt x="222" y="53"/>
                  </a:cubicBezTo>
                  <a:cubicBezTo>
                    <a:pt x="219" y="53"/>
                    <a:pt x="219" y="53"/>
                    <a:pt x="219" y="53"/>
                  </a:cubicBezTo>
                  <a:cubicBezTo>
                    <a:pt x="218" y="53"/>
                    <a:pt x="218" y="53"/>
                    <a:pt x="217" y="53"/>
                  </a:cubicBezTo>
                  <a:cubicBezTo>
                    <a:pt x="217" y="53"/>
                    <a:pt x="216" y="53"/>
                    <a:pt x="215" y="53"/>
                  </a:cubicBezTo>
                  <a:cubicBezTo>
                    <a:pt x="215" y="53"/>
                    <a:pt x="215" y="53"/>
                    <a:pt x="215" y="53"/>
                  </a:cubicBezTo>
                  <a:cubicBezTo>
                    <a:pt x="214" y="52"/>
                    <a:pt x="214" y="52"/>
                    <a:pt x="213" y="52"/>
                  </a:cubicBezTo>
                  <a:cubicBezTo>
                    <a:pt x="213" y="52"/>
                    <a:pt x="213" y="52"/>
                    <a:pt x="212" y="53"/>
                  </a:cubicBezTo>
                  <a:cubicBezTo>
                    <a:pt x="212" y="53"/>
                    <a:pt x="212" y="53"/>
                    <a:pt x="212" y="53"/>
                  </a:cubicBezTo>
                  <a:cubicBezTo>
                    <a:pt x="212" y="53"/>
                    <a:pt x="212" y="53"/>
                    <a:pt x="212" y="53"/>
                  </a:cubicBezTo>
                  <a:cubicBezTo>
                    <a:pt x="209" y="54"/>
                    <a:pt x="209" y="54"/>
                    <a:pt x="209" y="54"/>
                  </a:cubicBezTo>
                  <a:cubicBezTo>
                    <a:pt x="208" y="51"/>
                    <a:pt x="208" y="51"/>
                    <a:pt x="208" y="51"/>
                  </a:cubicBezTo>
                  <a:cubicBezTo>
                    <a:pt x="207" y="49"/>
                    <a:pt x="207" y="48"/>
                    <a:pt x="206" y="46"/>
                  </a:cubicBezTo>
                  <a:cubicBezTo>
                    <a:pt x="206" y="43"/>
                    <a:pt x="206" y="43"/>
                    <a:pt x="206" y="43"/>
                  </a:cubicBezTo>
                  <a:cubicBezTo>
                    <a:pt x="206" y="40"/>
                    <a:pt x="206" y="40"/>
                    <a:pt x="208" y="37"/>
                  </a:cubicBezTo>
                  <a:cubicBezTo>
                    <a:pt x="208" y="37"/>
                    <a:pt x="209" y="37"/>
                    <a:pt x="209" y="36"/>
                  </a:cubicBezTo>
                  <a:cubicBezTo>
                    <a:pt x="209" y="36"/>
                    <a:pt x="209" y="36"/>
                    <a:pt x="209" y="36"/>
                  </a:cubicBezTo>
                  <a:cubicBezTo>
                    <a:pt x="210" y="36"/>
                    <a:pt x="210" y="36"/>
                    <a:pt x="210" y="36"/>
                  </a:cubicBezTo>
                  <a:cubicBezTo>
                    <a:pt x="210" y="35"/>
                    <a:pt x="210" y="34"/>
                    <a:pt x="210" y="33"/>
                  </a:cubicBezTo>
                  <a:cubicBezTo>
                    <a:pt x="210" y="32"/>
                    <a:pt x="210" y="30"/>
                    <a:pt x="210" y="29"/>
                  </a:cubicBezTo>
                  <a:cubicBezTo>
                    <a:pt x="210" y="29"/>
                    <a:pt x="210" y="29"/>
                    <a:pt x="210" y="29"/>
                  </a:cubicBezTo>
                  <a:cubicBezTo>
                    <a:pt x="211" y="28"/>
                    <a:pt x="211" y="27"/>
                    <a:pt x="211" y="26"/>
                  </a:cubicBezTo>
                  <a:cubicBezTo>
                    <a:pt x="211" y="23"/>
                    <a:pt x="208" y="19"/>
                    <a:pt x="207" y="18"/>
                  </a:cubicBezTo>
                  <a:cubicBezTo>
                    <a:pt x="206" y="16"/>
                    <a:pt x="204" y="15"/>
                    <a:pt x="203" y="13"/>
                  </a:cubicBezTo>
                  <a:cubicBezTo>
                    <a:pt x="202" y="12"/>
                    <a:pt x="202" y="12"/>
                    <a:pt x="202" y="12"/>
                  </a:cubicBezTo>
                  <a:cubicBezTo>
                    <a:pt x="201" y="11"/>
                    <a:pt x="199" y="9"/>
                    <a:pt x="198" y="7"/>
                  </a:cubicBezTo>
                  <a:cubicBezTo>
                    <a:pt x="193" y="0"/>
                    <a:pt x="193" y="0"/>
                    <a:pt x="193" y="0"/>
                  </a:cubicBezTo>
                  <a:cubicBezTo>
                    <a:pt x="190" y="0"/>
                    <a:pt x="190" y="0"/>
                    <a:pt x="190" y="0"/>
                  </a:cubicBezTo>
                  <a:cubicBezTo>
                    <a:pt x="189" y="0"/>
                    <a:pt x="189" y="0"/>
                    <a:pt x="188" y="0"/>
                  </a:cubicBezTo>
                  <a:cubicBezTo>
                    <a:pt x="186" y="0"/>
                    <a:pt x="184" y="0"/>
                    <a:pt x="18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 name="Freeform 218">
              <a:extLst>
                <a:ext uri="{FF2B5EF4-FFF2-40B4-BE49-F238E27FC236}">
                  <a16:creationId xmlns:a16="http://schemas.microsoft.com/office/drawing/2014/main" id="{5D92B099-0652-4573-824F-C2D57861A3E5}"/>
                </a:ext>
              </a:extLst>
            </p:cNvPr>
            <p:cNvSpPr>
              <a:spLocks/>
            </p:cNvSpPr>
            <p:nvPr/>
          </p:nvSpPr>
          <p:spPr bwMode="auto">
            <a:xfrm>
              <a:off x="4287" y="2556"/>
              <a:ext cx="409" cy="471"/>
            </a:xfrm>
            <a:custGeom>
              <a:avLst/>
              <a:gdLst>
                <a:gd name="T0" fmla="*/ 134 w 173"/>
                <a:gd name="T1" fmla="*/ 2 h 199"/>
                <a:gd name="T2" fmla="*/ 128 w 173"/>
                <a:gd name="T3" fmla="*/ 5 h 199"/>
                <a:gd name="T4" fmla="*/ 125 w 173"/>
                <a:gd name="T5" fmla="*/ 18 h 199"/>
                <a:gd name="T6" fmla="*/ 116 w 173"/>
                <a:gd name="T7" fmla="*/ 38 h 199"/>
                <a:gd name="T8" fmla="*/ 110 w 173"/>
                <a:gd name="T9" fmla="*/ 46 h 199"/>
                <a:gd name="T10" fmla="*/ 103 w 173"/>
                <a:gd name="T11" fmla="*/ 41 h 199"/>
                <a:gd name="T12" fmla="*/ 94 w 173"/>
                <a:gd name="T13" fmla="*/ 40 h 199"/>
                <a:gd name="T14" fmla="*/ 84 w 173"/>
                <a:gd name="T15" fmla="*/ 38 h 199"/>
                <a:gd name="T16" fmla="*/ 72 w 173"/>
                <a:gd name="T17" fmla="*/ 35 h 199"/>
                <a:gd name="T18" fmla="*/ 51 w 173"/>
                <a:gd name="T19" fmla="*/ 36 h 199"/>
                <a:gd name="T20" fmla="*/ 48 w 173"/>
                <a:gd name="T21" fmla="*/ 40 h 199"/>
                <a:gd name="T22" fmla="*/ 57 w 173"/>
                <a:gd name="T23" fmla="*/ 48 h 199"/>
                <a:gd name="T24" fmla="*/ 62 w 173"/>
                <a:gd name="T25" fmla="*/ 47 h 199"/>
                <a:gd name="T26" fmla="*/ 68 w 173"/>
                <a:gd name="T27" fmla="*/ 48 h 199"/>
                <a:gd name="T28" fmla="*/ 77 w 173"/>
                <a:gd name="T29" fmla="*/ 66 h 199"/>
                <a:gd name="T30" fmla="*/ 68 w 173"/>
                <a:gd name="T31" fmla="*/ 79 h 199"/>
                <a:gd name="T32" fmla="*/ 65 w 173"/>
                <a:gd name="T33" fmla="*/ 88 h 199"/>
                <a:gd name="T34" fmla="*/ 79 w 173"/>
                <a:gd name="T35" fmla="*/ 104 h 199"/>
                <a:gd name="T36" fmla="*/ 78 w 173"/>
                <a:gd name="T37" fmla="*/ 109 h 199"/>
                <a:gd name="T38" fmla="*/ 79 w 173"/>
                <a:gd name="T39" fmla="*/ 117 h 199"/>
                <a:gd name="T40" fmla="*/ 74 w 173"/>
                <a:gd name="T41" fmla="*/ 134 h 199"/>
                <a:gd name="T42" fmla="*/ 63 w 173"/>
                <a:gd name="T43" fmla="*/ 145 h 199"/>
                <a:gd name="T44" fmla="*/ 59 w 173"/>
                <a:gd name="T45" fmla="*/ 139 h 199"/>
                <a:gd name="T46" fmla="*/ 45 w 173"/>
                <a:gd name="T47" fmla="*/ 142 h 199"/>
                <a:gd name="T48" fmla="*/ 35 w 173"/>
                <a:gd name="T49" fmla="*/ 134 h 199"/>
                <a:gd name="T50" fmla="*/ 33 w 173"/>
                <a:gd name="T51" fmla="*/ 131 h 199"/>
                <a:gd name="T52" fmla="*/ 27 w 173"/>
                <a:gd name="T53" fmla="*/ 140 h 199"/>
                <a:gd name="T54" fmla="*/ 17 w 173"/>
                <a:gd name="T55" fmla="*/ 142 h 199"/>
                <a:gd name="T56" fmla="*/ 15 w 173"/>
                <a:gd name="T57" fmla="*/ 142 h 199"/>
                <a:gd name="T58" fmla="*/ 11 w 173"/>
                <a:gd name="T59" fmla="*/ 146 h 199"/>
                <a:gd name="T60" fmla="*/ 15 w 173"/>
                <a:gd name="T61" fmla="*/ 153 h 199"/>
                <a:gd name="T62" fmla="*/ 15 w 173"/>
                <a:gd name="T63" fmla="*/ 157 h 199"/>
                <a:gd name="T64" fmla="*/ 20 w 173"/>
                <a:gd name="T65" fmla="*/ 162 h 199"/>
                <a:gd name="T66" fmla="*/ 18 w 173"/>
                <a:gd name="T67" fmla="*/ 165 h 199"/>
                <a:gd name="T68" fmla="*/ 18 w 173"/>
                <a:gd name="T69" fmla="*/ 170 h 199"/>
                <a:gd name="T70" fmla="*/ 9 w 173"/>
                <a:gd name="T71" fmla="*/ 172 h 199"/>
                <a:gd name="T72" fmla="*/ 6 w 173"/>
                <a:gd name="T73" fmla="*/ 170 h 199"/>
                <a:gd name="T74" fmla="*/ 0 w 173"/>
                <a:gd name="T75" fmla="*/ 177 h 199"/>
                <a:gd name="T76" fmla="*/ 17 w 173"/>
                <a:gd name="T77" fmla="*/ 199 h 199"/>
                <a:gd name="T78" fmla="*/ 27 w 173"/>
                <a:gd name="T79" fmla="*/ 191 h 199"/>
                <a:gd name="T80" fmla="*/ 34 w 173"/>
                <a:gd name="T81" fmla="*/ 185 h 199"/>
                <a:gd name="T82" fmla="*/ 48 w 173"/>
                <a:gd name="T83" fmla="*/ 192 h 199"/>
                <a:gd name="T84" fmla="*/ 50 w 173"/>
                <a:gd name="T85" fmla="*/ 194 h 199"/>
                <a:gd name="T86" fmla="*/ 55 w 173"/>
                <a:gd name="T87" fmla="*/ 190 h 199"/>
                <a:gd name="T88" fmla="*/ 60 w 173"/>
                <a:gd name="T89" fmla="*/ 186 h 199"/>
                <a:gd name="T90" fmla="*/ 68 w 173"/>
                <a:gd name="T91" fmla="*/ 184 h 199"/>
                <a:gd name="T92" fmla="*/ 77 w 173"/>
                <a:gd name="T93" fmla="*/ 184 h 199"/>
                <a:gd name="T94" fmla="*/ 77 w 173"/>
                <a:gd name="T95" fmla="*/ 196 h 199"/>
                <a:gd name="T96" fmla="*/ 83 w 173"/>
                <a:gd name="T97" fmla="*/ 193 h 199"/>
                <a:gd name="T98" fmla="*/ 107 w 173"/>
                <a:gd name="T99" fmla="*/ 173 h 199"/>
                <a:gd name="T100" fmla="*/ 114 w 173"/>
                <a:gd name="T101" fmla="*/ 161 h 199"/>
                <a:gd name="T102" fmla="*/ 114 w 173"/>
                <a:gd name="T103" fmla="*/ 158 h 199"/>
                <a:gd name="T104" fmla="*/ 113 w 173"/>
                <a:gd name="T105" fmla="*/ 154 h 199"/>
                <a:gd name="T106" fmla="*/ 113 w 173"/>
                <a:gd name="T107" fmla="*/ 135 h 199"/>
                <a:gd name="T108" fmla="*/ 127 w 173"/>
                <a:gd name="T109" fmla="*/ 115 h 199"/>
                <a:gd name="T110" fmla="*/ 137 w 173"/>
                <a:gd name="T111" fmla="*/ 106 h 199"/>
                <a:gd name="T112" fmla="*/ 144 w 173"/>
                <a:gd name="T113" fmla="*/ 101 h 199"/>
                <a:gd name="T114" fmla="*/ 153 w 173"/>
                <a:gd name="T115" fmla="*/ 69 h 199"/>
                <a:gd name="T116" fmla="*/ 153 w 173"/>
                <a:gd name="T117" fmla="*/ 56 h 199"/>
                <a:gd name="T118" fmla="*/ 158 w 173"/>
                <a:gd name="T119" fmla="*/ 36 h 199"/>
                <a:gd name="T120" fmla="*/ 156 w 173"/>
                <a:gd name="T121" fmla="*/ 21 h 199"/>
                <a:gd name="T122" fmla="*/ 169 w 173"/>
                <a:gd name="T123" fmla="*/ 1 h 199"/>
                <a:gd name="T124" fmla="*/ 154 w 173"/>
                <a:gd name="T125"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3" h="199">
                  <a:moveTo>
                    <a:pt x="150" y="0"/>
                  </a:moveTo>
                  <a:cubicBezTo>
                    <a:pt x="146" y="0"/>
                    <a:pt x="143" y="0"/>
                    <a:pt x="140" y="1"/>
                  </a:cubicBezTo>
                  <a:cubicBezTo>
                    <a:pt x="139" y="1"/>
                    <a:pt x="137" y="2"/>
                    <a:pt x="135" y="2"/>
                  </a:cubicBezTo>
                  <a:cubicBezTo>
                    <a:pt x="134" y="2"/>
                    <a:pt x="134" y="2"/>
                    <a:pt x="134" y="2"/>
                  </a:cubicBezTo>
                  <a:cubicBezTo>
                    <a:pt x="134" y="2"/>
                    <a:pt x="134" y="2"/>
                    <a:pt x="134" y="2"/>
                  </a:cubicBezTo>
                  <a:cubicBezTo>
                    <a:pt x="132" y="3"/>
                    <a:pt x="131" y="3"/>
                    <a:pt x="129" y="4"/>
                  </a:cubicBezTo>
                  <a:cubicBezTo>
                    <a:pt x="128" y="4"/>
                    <a:pt x="128" y="4"/>
                    <a:pt x="128" y="4"/>
                  </a:cubicBezTo>
                  <a:cubicBezTo>
                    <a:pt x="128" y="5"/>
                    <a:pt x="128" y="5"/>
                    <a:pt x="128" y="5"/>
                  </a:cubicBezTo>
                  <a:cubicBezTo>
                    <a:pt x="127" y="6"/>
                    <a:pt x="127" y="7"/>
                    <a:pt x="127" y="8"/>
                  </a:cubicBezTo>
                  <a:cubicBezTo>
                    <a:pt x="127" y="8"/>
                    <a:pt x="127" y="9"/>
                    <a:pt x="127" y="10"/>
                  </a:cubicBezTo>
                  <a:cubicBezTo>
                    <a:pt x="127" y="11"/>
                    <a:pt x="127" y="11"/>
                    <a:pt x="126" y="12"/>
                  </a:cubicBezTo>
                  <a:cubicBezTo>
                    <a:pt x="126" y="14"/>
                    <a:pt x="126" y="16"/>
                    <a:pt x="125" y="18"/>
                  </a:cubicBezTo>
                  <a:cubicBezTo>
                    <a:pt x="125" y="22"/>
                    <a:pt x="122" y="28"/>
                    <a:pt x="120" y="32"/>
                  </a:cubicBezTo>
                  <a:cubicBezTo>
                    <a:pt x="120" y="32"/>
                    <a:pt x="120" y="32"/>
                    <a:pt x="120" y="32"/>
                  </a:cubicBezTo>
                  <a:cubicBezTo>
                    <a:pt x="119" y="33"/>
                    <a:pt x="119" y="33"/>
                    <a:pt x="119" y="33"/>
                  </a:cubicBezTo>
                  <a:cubicBezTo>
                    <a:pt x="116" y="38"/>
                    <a:pt x="116" y="38"/>
                    <a:pt x="116" y="38"/>
                  </a:cubicBezTo>
                  <a:cubicBezTo>
                    <a:pt x="116" y="40"/>
                    <a:pt x="116" y="40"/>
                    <a:pt x="116" y="40"/>
                  </a:cubicBezTo>
                  <a:cubicBezTo>
                    <a:pt x="116" y="42"/>
                    <a:pt x="116" y="43"/>
                    <a:pt x="116" y="45"/>
                  </a:cubicBezTo>
                  <a:cubicBezTo>
                    <a:pt x="116" y="51"/>
                    <a:pt x="116" y="51"/>
                    <a:pt x="116" y="51"/>
                  </a:cubicBezTo>
                  <a:cubicBezTo>
                    <a:pt x="110" y="46"/>
                    <a:pt x="110" y="46"/>
                    <a:pt x="110" y="46"/>
                  </a:cubicBezTo>
                  <a:cubicBezTo>
                    <a:pt x="110" y="45"/>
                    <a:pt x="110" y="45"/>
                    <a:pt x="108" y="44"/>
                  </a:cubicBezTo>
                  <a:cubicBezTo>
                    <a:pt x="108" y="44"/>
                    <a:pt x="107" y="43"/>
                    <a:pt x="106" y="42"/>
                  </a:cubicBezTo>
                  <a:cubicBezTo>
                    <a:pt x="106" y="42"/>
                    <a:pt x="105" y="41"/>
                    <a:pt x="105" y="41"/>
                  </a:cubicBezTo>
                  <a:cubicBezTo>
                    <a:pt x="104" y="41"/>
                    <a:pt x="104" y="41"/>
                    <a:pt x="103" y="41"/>
                  </a:cubicBezTo>
                  <a:cubicBezTo>
                    <a:pt x="102" y="41"/>
                    <a:pt x="102" y="41"/>
                    <a:pt x="101" y="41"/>
                  </a:cubicBezTo>
                  <a:cubicBezTo>
                    <a:pt x="100" y="41"/>
                    <a:pt x="100" y="41"/>
                    <a:pt x="99" y="41"/>
                  </a:cubicBezTo>
                  <a:cubicBezTo>
                    <a:pt x="99" y="41"/>
                    <a:pt x="99" y="41"/>
                    <a:pt x="98" y="41"/>
                  </a:cubicBezTo>
                  <a:cubicBezTo>
                    <a:pt x="96" y="41"/>
                    <a:pt x="95" y="40"/>
                    <a:pt x="94" y="40"/>
                  </a:cubicBezTo>
                  <a:cubicBezTo>
                    <a:pt x="93" y="40"/>
                    <a:pt x="93" y="40"/>
                    <a:pt x="93" y="40"/>
                  </a:cubicBezTo>
                  <a:cubicBezTo>
                    <a:pt x="92" y="40"/>
                    <a:pt x="92" y="40"/>
                    <a:pt x="92" y="40"/>
                  </a:cubicBezTo>
                  <a:cubicBezTo>
                    <a:pt x="92" y="40"/>
                    <a:pt x="91" y="40"/>
                    <a:pt x="90" y="40"/>
                  </a:cubicBezTo>
                  <a:cubicBezTo>
                    <a:pt x="87" y="40"/>
                    <a:pt x="85" y="40"/>
                    <a:pt x="84" y="38"/>
                  </a:cubicBezTo>
                  <a:cubicBezTo>
                    <a:pt x="83" y="38"/>
                    <a:pt x="82" y="38"/>
                    <a:pt x="82" y="37"/>
                  </a:cubicBezTo>
                  <a:cubicBezTo>
                    <a:pt x="81" y="37"/>
                    <a:pt x="80" y="37"/>
                    <a:pt x="79" y="36"/>
                  </a:cubicBezTo>
                  <a:cubicBezTo>
                    <a:pt x="79" y="36"/>
                    <a:pt x="78" y="35"/>
                    <a:pt x="78" y="35"/>
                  </a:cubicBezTo>
                  <a:cubicBezTo>
                    <a:pt x="72" y="35"/>
                    <a:pt x="72" y="35"/>
                    <a:pt x="72" y="35"/>
                  </a:cubicBezTo>
                  <a:cubicBezTo>
                    <a:pt x="67" y="35"/>
                    <a:pt x="62" y="35"/>
                    <a:pt x="57" y="36"/>
                  </a:cubicBezTo>
                  <a:cubicBezTo>
                    <a:pt x="56" y="36"/>
                    <a:pt x="56" y="36"/>
                    <a:pt x="55" y="36"/>
                  </a:cubicBezTo>
                  <a:cubicBezTo>
                    <a:pt x="54" y="36"/>
                    <a:pt x="53" y="36"/>
                    <a:pt x="52" y="36"/>
                  </a:cubicBezTo>
                  <a:cubicBezTo>
                    <a:pt x="52" y="36"/>
                    <a:pt x="52" y="36"/>
                    <a:pt x="51" y="36"/>
                  </a:cubicBezTo>
                  <a:cubicBezTo>
                    <a:pt x="51" y="36"/>
                    <a:pt x="50" y="36"/>
                    <a:pt x="50" y="36"/>
                  </a:cubicBezTo>
                  <a:cubicBezTo>
                    <a:pt x="49" y="37"/>
                    <a:pt x="49" y="37"/>
                    <a:pt x="49" y="37"/>
                  </a:cubicBezTo>
                  <a:cubicBezTo>
                    <a:pt x="49" y="38"/>
                    <a:pt x="49" y="38"/>
                    <a:pt x="49" y="39"/>
                  </a:cubicBezTo>
                  <a:cubicBezTo>
                    <a:pt x="48" y="40"/>
                    <a:pt x="48" y="40"/>
                    <a:pt x="48" y="40"/>
                  </a:cubicBezTo>
                  <a:cubicBezTo>
                    <a:pt x="47" y="43"/>
                    <a:pt x="48" y="46"/>
                    <a:pt x="48" y="50"/>
                  </a:cubicBezTo>
                  <a:cubicBezTo>
                    <a:pt x="48" y="51"/>
                    <a:pt x="48" y="51"/>
                    <a:pt x="48" y="51"/>
                  </a:cubicBezTo>
                  <a:cubicBezTo>
                    <a:pt x="49" y="51"/>
                    <a:pt x="49" y="51"/>
                    <a:pt x="49" y="51"/>
                  </a:cubicBezTo>
                  <a:cubicBezTo>
                    <a:pt x="51" y="50"/>
                    <a:pt x="54" y="49"/>
                    <a:pt x="57" y="48"/>
                  </a:cubicBezTo>
                  <a:cubicBezTo>
                    <a:pt x="58" y="48"/>
                    <a:pt x="60" y="47"/>
                    <a:pt x="61" y="47"/>
                  </a:cubicBezTo>
                  <a:cubicBezTo>
                    <a:pt x="62" y="47"/>
                    <a:pt x="62" y="47"/>
                    <a:pt x="62" y="47"/>
                  </a:cubicBezTo>
                  <a:cubicBezTo>
                    <a:pt x="62" y="48"/>
                    <a:pt x="62" y="48"/>
                    <a:pt x="62" y="48"/>
                  </a:cubicBezTo>
                  <a:cubicBezTo>
                    <a:pt x="62" y="47"/>
                    <a:pt x="62" y="47"/>
                    <a:pt x="62" y="47"/>
                  </a:cubicBezTo>
                  <a:cubicBezTo>
                    <a:pt x="63" y="47"/>
                    <a:pt x="65" y="48"/>
                    <a:pt x="66" y="48"/>
                  </a:cubicBezTo>
                  <a:cubicBezTo>
                    <a:pt x="67" y="48"/>
                    <a:pt x="67" y="48"/>
                    <a:pt x="67" y="48"/>
                  </a:cubicBezTo>
                  <a:cubicBezTo>
                    <a:pt x="68" y="48"/>
                    <a:pt x="68" y="48"/>
                    <a:pt x="68" y="48"/>
                  </a:cubicBezTo>
                  <a:cubicBezTo>
                    <a:pt x="68" y="48"/>
                    <a:pt x="68" y="48"/>
                    <a:pt x="68" y="48"/>
                  </a:cubicBezTo>
                  <a:cubicBezTo>
                    <a:pt x="70" y="48"/>
                    <a:pt x="72" y="48"/>
                    <a:pt x="73" y="51"/>
                  </a:cubicBezTo>
                  <a:cubicBezTo>
                    <a:pt x="77" y="59"/>
                    <a:pt x="77" y="59"/>
                    <a:pt x="77" y="59"/>
                  </a:cubicBezTo>
                  <a:cubicBezTo>
                    <a:pt x="77" y="60"/>
                    <a:pt x="77" y="61"/>
                    <a:pt x="78" y="61"/>
                  </a:cubicBezTo>
                  <a:cubicBezTo>
                    <a:pt x="78" y="64"/>
                    <a:pt x="78" y="65"/>
                    <a:pt x="77" y="66"/>
                  </a:cubicBezTo>
                  <a:cubicBezTo>
                    <a:pt x="76" y="70"/>
                    <a:pt x="74" y="71"/>
                    <a:pt x="72" y="72"/>
                  </a:cubicBezTo>
                  <a:cubicBezTo>
                    <a:pt x="70" y="74"/>
                    <a:pt x="70" y="74"/>
                    <a:pt x="70" y="74"/>
                  </a:cubicBezTo>
                  <a:cubicBezTo>
                    <a:pt x="69" y="75"/>
                    <a:pt x="69" y="77"/>
                    <a:pt x="68" y="79"/>
                  </a:cubicBezTo>
                  <a:cubicBezTo>
                    <a:pt x="68" y="79"/>
                    <a:pt x="68" y="79"/>
                    <a:pt x="68" y="79"/>
                  </a:cubicBezTo>
                  <a:cubicBezTo>
                    <a:pt x="68" y="80"/>
                    <a:pt x="68" y="80"/>
                    <a:pt x="67" y="80"/>
                  </a:cubicBezTo>
                  <a:cubicBezTo>
                    <a:pt x="67" y="82"/>
                    <a:pt x="67" y="82"/>
                    <a:pt x="67" y="82"/>
                  </a:cubicBezTo>
                  <a:cubicBezTo>
                    <a:pt x="66" y="83"/>
                    <a:pt x="65" y="86"/>
                    <a:pt x="65" y="88"/>
                  </a:cubicBezTo>
                  <a:cubicBezTo>
                    <a:pt x="65" y="88"/>
                    <a:pt x="65" y="88"/>
                    <a:pt x="65" y="88"/>
                  </a:cubicBezTo>
                  <a:cubicBezTo>
                    <a:pt x="65" y="89"/>
                    <a:pt x="68" y="90"/>
                    <a:pt x="70" y="90"/>
                  </a:cubicBezTo>
                  <a:cubicBezTo>
                    <a:pt x="74" y="92"/>
                    <a:pt x="79" y="94"/>
                    <a:pt x="80" y="98"/>
                  </a:cubicBezTo>
                  <a:cubicBezTo>
                    <a:pt x="80" y="99"/>
                    <a:pt x="79" y="101"/>
                    <a:pt x="79" y="103"/>
                  </a:cubicBezTo>
                  <a:cubicBezTo>
                    <a:pt x="79" y="104"/>
                    <a:pt x="79" y="104"/>
                    <a:pt x="79" y="104"/>
                  </a:cubicBezTo>
                  <a:cubicBezTo>
                    <a:pt x="78" y="105"/>
                    <a:pt x="78" y="106"/>
                    <a:pt x="78" y="106"/>
                  </a:cubicBezTo>
                  <a:cubicBezTo>
                    <a:pt x="78" y="107"/>
                    <a:pt x="78" y="107"/>
                    <a:pt x="78" y="107"/>
                  </a:cubicBezTo>
                  <a:cubicBezTo>
                    <a:pt x="78" y="107"/>
                    <a:pt x="78" y="108"/>
                    <a:pt x="78" y="109"/>
                  </a:cubicBezTo>
                  <a:cubicBezTo>
                    <a:pt x="78" y="109"/>
                    <a:pt x="78" y="109"/>
                    <a:pt x="78" y="109"/>
                  </a:cubicBezTo>
                  <a:cubicBezTo>
                    <a:pt x="79" y="110"/>
                    <a:pt x="79" y="111"/>
                    <a:pt x="79" y="112"/>
                  </a:cubicBezTo>
                  <a:cubicBezTo>
                    <a:pt x="79" y="112"/>
                    <a:pt x="79" y="113"/>
                    <a:pt x="79" y="113"/>
                  </a:cubicBezTo>
                  <a:cubicBezTo>
                    <a:pt x="79" y="114"/>
                    <a:pt x="79" y="114"/>
                    <a:pt x="79" y="114"/>
                  </a:cubicBezTo>
                  <a:cubicBezTo>
                    <a:pt x="79" y="115"/>
                    <a:pt x="79" y="116"/>
                    <a:pt x="79" y="117"/>
                  </a:cubicBezTo>
                  <a:cubicBezTo>
                    <a:pt x="79" y="119"/>
                    <a:pt x="79" y="120"/>
                    <a:pt x="78" y="121"/>
                  </a:cubicBezTo>
                  <a:cubicBezTo>
                    <a:pt x="78" y="122"/>
                    <a:pt x="78" y="122"/>
                    <a:pt x="78" y="122"/>
                  </a:cubicBezTo>
                  <a:cubicBezTo>
                    <a:pt x="78" y="123"/>
                    <a:pt x="78" y="124"/>
                    <a:pt x="78" y="125"/>
                  </a:cubicBezTo>
                  <a:cubicBezTo>
                    <a:pt x="77" y="128"/>
                    <a:pt x="76" y="131"/>
                    <a:pt x="74" y="134"/>
                  </a:cubicBezTo>
                  <a:cubicBezTo>
                    <a:pt x="71" y="142"/>
                    <a:pt x="71" y="142"/>
                    <a:pt x="71" y="142"/>
                  </a:cubicBezTo>
                  <a:cubicBezTo>
                    <a:pt x="69" y="144"/>
                    <a:pt x="68" y="145"/>
                    <a:pt x="66" y="145"/>
                  </a:cubicBezTo>
                  <a:cubicBezTo>
                    <a:pt x="66" y="145"/>
                    <a:pt x="65" y="145"/>
                    <a:pt x="65" y="145"/>
                  </a:cubicBezTo>
                  <a:cubicBezTo>
                    <a:pt x="64" y="145"/>
                    <a:pt x="64" y="145"/>
                    <a:pt x="63" y="145"/>
                  </a:cubicBezTo>
                  <a:cubicBezTo>
                    <a:pt x="62" y="144"/>
                    <a:pt x="59" y="144"/>
                    <a:pt x="59" y="142"/>
                  </a:cubicBezTo>
                  <a:cubicBezTo>
                    <a:pt x="58" y="140"/>
                    <a:pt x="58" y="140"/>
                    <a:pt x="58" y="140"/>
                  </a:cubicBezTo>
                  <a:cubicBezTo>
                    <a:pt x="59" y="139"/>
                    <a:pt x="59" y="139"/>
                    <a:pt x="59" y="139"/>
                  </a:cubicBezTo>
                  <a:cubicBezTo>
                    <a:pt x="59" y="139"/>
                    <a:pt x="59" y="139"/>
                    <a:pt x="59" y="139"/>
                  </a:cubicBezTo>
                  <a:cubicBezTo>
                    <a:pt x="58" y="140"/>
                    <a:pt x="58" y="140"/>
                    <a:pt x="57" y="140"/>
                  </a:cubicBezTo>
                  <a:cubicBezTo>
                    <a:pt x="55" y="142"/>
                    <a:pt x="52" y="142"/>
                    <a:pt x="49" y="142"/>
                  </a:cubicBezTo>
                  <a:cubicBezTo>
                    <a:pt x="48" y="142"/>
                    <a:pt x="47" y="142"/>
                    <a:pt x="46" y="142"/>
                  </a:cubicBezTo>
                  <a:cubicBezTo>
                    <a:pt x="45" y="142"/>
                    <a:pt x="45" y="142"/>
                    <a:pt x="45" y="142"/>
                  </a:cubicBezTo>
                  <a:cubicBezTo>
                    <a:pt x="45" y="142"/>
                    <a:pt x="44" y="142"/>
                    <a:pt x="44" y="142"/>
                  </a:cubicBezTo>
                  <a:cubicBezTo>
                    <a:pt x="43" y="142"/>
                    <a:pt x="43" y="142"/>
                    <a:pt x="43" y="142"/>
                  </a:cubicBezTo>
                  <a:cubicBezTo>
                    <a:pt x="42" y="142"/>
                    <a:pt x="42" y="142"/>
                    <a:pt x="42" y="142"/>
                  </a:cubicBezTo>
                  <a:cubicBezTo>
                    <a:pt x="38" y="142"/>
                    <a:pt x="37" y="137"/>
                    <a:pt x="35" y="134"/>
                  </a:cubicBezTo>
                  <a:cubicBezTo>
                    <a:pt x="36" y="133"/>
                    <a:pt x="36" y="133"/>
                    <a:pt x="36" y="133"/>
                  </a:cubicBezTo>
                  <a:cubicBezTo>
                    <a:pt x="35" y="134"/>
                    <a:pt x="35" y="134"/>
                    <a:pt x="35" y="134"/>
                  </a:cubicBezTo>
                  <a:cubicBezTo>
                    <a:pt x="35" y="133"/>
                    <a:pt x="34" y="131"/>
                    <a:pt x="34" y="131"/>
                  </a:cubicBezTo>
                  <a:cubicBezTo>
                    <a:pt x="33" y="131"/>
                    <a:pt x="33" y="131"/>
                    <a:pt x="33" y="131"/>
                  </a:cubicBezTo>
                  <a:cubicBezTo>
                    <a:pt x="33" y="131"/>
                    <a:pt x="32" y="130"/>
                    <a:pt x="31" y="130"/>
                  </a:cubicBezTo>
                  <a:cubicBezTo>
                    <a:pt x="31" y="130"/>
                    <a:pt x="31" y="130"/>
                    <a:pt x="31" y="130"/>
                  </a:cubicBezTo>
                  <a:cubicBezTo>
                    <a:pt x="30" y="131"/>
                    <a:pt x="30" y="131"/>
                    <a:pt x="30" y="131"/>
                  </a:cubicBezTo>
                  <a:cubicBezTo>
                    <a:pt x="30" y="136"/>
                    <a:pt x="29" y="139"/>
                    <a:pt x="27" y="140"/>
                  </a:cubicBezTo>
                  <a:cubicBezTo>
                    <a:pt x="26" y="140"/>
                    <a:pt x="25" y="140"/>
                    <a:pt x="25" y="141"/>
                  </a:cubicBezTo>
                  <a:cubicBezTo>
                    <a:pt x="24" y="141"/>
                    <a:pt x="24" y="141"/>
                    <a:pt x="24" y="141"/>
                  </a:cubicBezTo>
                  <a:cubicBezTo>
                    <a:pt x="21" y="142"/>
                    <a:pt x="19" y="142"/>
                    <a:pt x="18" y="142"/>
                  </a:cubicBezTo>
                  <a:cubicBezTo>
                    <a:pt x="17" y="142"/>
                    <a:pt x="17" y="142"/>
                    <a:pt x="17" y="142"/>
                  </a:cubicBezTo>
                  <a:cubicBezTo>
                    <a:pt x="16" y="142"/>
                    <a:pt x="16" y="142"/>
                    <a:pt x="16" y="142"/>
                  </a:cubicBezTo>
                  <a:cubicBezTo>
                    <a:pt x="16" y="142"/>
                    <a:pt x="16" y="142"/>
                    <a:pt x="16" y="142"/>
                  </a:cubicBezTo>
                  <a:cubicBezTo>
                    <a:pt x="16" y="142"/>
                    <a:pt x="16" y="142"/>
                    <a:pt x="16" y="142"/>
                  </a:cubicBezTo>
                  <a:cubicBezTo>
                    <a:pt x="15" y="142"/>
                    <a:pt x="15" y="142"/>
                    <a:pt x="15" y="142"/>
                  </a:cubicBezTo>
                  <a:cubicBezTo>
                    <a:pt x="14" y="142"/>
                    <a:pt x="13" y="143"/>
                    <a:pt x="12" y="143"/>
                  </a:cubicBezTo>
                  <a:cubicBezTo>
                    <a:pt x="12" y="143"/>
                    <a:pt x="11" y="143"/>
                    <a:pt x="11" y="143"/>
                  </a:cubicBezTo>
                  <a:cubicBezTo>
                    <a:pt x="11" y="143"/>
                    <a:pt x="12" y="144"/>
                    <a:pt x="12" y="145"/>
                  </a:cubicBezTo>
                  <a:cubicBezTo>
                    <a:pt x="12" y="145"/>
                    <a:pt x="11" y="146"/>
                    <a:pt x="11" y="146"/>
                  </a:cubicBezTo>
                  <a:cubicBezTo>
                    <a:pt x="11" y="147"/>
                    <a:pt x="11" y="147"/>
                    <a:pt x="11" y="148"/>
                  </a:cubicBezTo>
                  <a:cubicBezTo>
                    <a:pt x="10" y="149"/>
                    <a:pt x="10" y="149"/>
                    <a:pt x="10" y="149"/>
                  </a:cubicBezTo>
                  <a:cubicBezTo>
                    <a:pt x="12" y="150"/>
                    <a:pt x="12" y="150"/>
                    <a:pt x="12" y="150"/>
                  </a:cubicBezTo>
                  <a:cubicBezTo>
                    <a:pt x="13" y="151"/>
                    <a:pt x="14" y="151"/>
                    <a:pt x="15" y="153"/>
                  </a:cubicBezTo>
                  <a:cubicBezTo>
                    <a:pt x="17" y="155"/>
                    <a:pt x="17" y="155"/>
                    <a:pt x="17" y="155"/>
                  </a:cubicBezTo>
                  <a:cubicBezTo>
                    <a:pt x="15" y="157"/>
                    <a:pt x="15" y="157"/>
                    <a:pt x="15" y="157"/>
                  </a:cubicBezTo>
                  <a:cubicBezTo>
                    <a:pt x="14" y="157"/>
                    <a:pt x="14" y="157"/>
                    <a:pt x="14" y="157"/>
                  </a:cubicBezTo>
                  <a:cubicBezTo>
                    <a:pt x="15" y="157"/>
                    <a:pt x="15" y="157"/>
                    <a:pt x="15" y="157"/>
                  </a:cubicBezTo>
                  <a:cubicBezTo>
                    <a:pt x="15" y="157"/>
                    <a:pt x="15" y="157"/>
                    <a:pt x="15" y="157"/>
                  </a:cubicBezTo>
                  <a:cubicBezTo>
                    <a:pt x="17" y="158"/>
                    <a:pt x="17" y="159"/>
                    <a:pt x="18" y="159"/>
                  </a:cubicBezTo>
                  <a:cubicBezTo>
                    <a:pt x="19" y="160"/>
                    <a:pt x="19" y="160"/>
                    <a:pt x="19" y="160"/>
                  </a:cubicBezTo>
                  <a:cubicBezTo>
                    <a:pt x="19" y="161"/>
                    <a:pt x="20" y="161"/>
                    <a:pt x="20" y="162"/>
                  </a:cubicBezTo>
                  <a:cubicBezTo>
                    <a:pt x="20" y="164"/>
                    <a:pt x="20" y="164"/>
                    <a:pt x="20" y="164"/>
                  </a:cubicBezTo>
                  <a:cubicBezTo>
                    <a:pt x="18" y="165"/>
                    <a:pt x="18" y="165"/>
                    <a:pt x="18" y="165"/>
                  </a:cubicBezTo>
                  <a:cubicBezTo>
                    <a:pt x="18" y="165"/>
                    <a:pt x="18" y="165"/>
                    <a:pt x="18" y="165"/>
                  </a:cubicBezTo>
                  <a:cubicBezTo>
                    <a:pt x="18" y="165"/>
                    <a:pt x="18" y="165"/>
                    <a:pt x="18" y="165"/>
                  </a:cubicBezTo>
                  <a:cubicBezTo>
                    <a:pt x="18" y="166"/>
                    <a:pt x="18" y="166"/>
                    <a:pt x="18" y="166"/>
                  </a:cubicBezTo>
                  <a:cubicBezTo>
                    <a:pt x="18" y="166"/>
                    <a:pt x="18" y="166"/>
                    <a:pt x="18" y="166"/>
                  </a:cubicBezTo>
                  <a:cubicBezTo>
                    <a:pt x="18" y="167"/>
                    <a:pt x="18" y="168"/>
                    <a:pt x="18" y="169"/>
                  </a:cubicBezTo>
                  <a:cubicBezTo>
                    <a:pt x="18" y="170"/>
                    <a:pt x="18" y="170"/>
                    <a:pt x="18" y="170"/>
                  </a:cubicBezTo>
                  <a:cubicBezTo>
                    <a:pt x="18" y="171"/>
                    <a:pt x="18" y="171"/>
                    <a:pt x="18" y="171"/>
                  </a:cubicBezTo>
                  <a:cubicBezTo>
                    <a:pt x="17" y="172"/>
                    <a:pt x="16" y="173"/>
                    <a:pt x="15" y="173"/>
                  </a:cubicBezTo>
                  <a:cubicBezTo>
                    <a:pt x="15" y="173"/>
                    <a:pt x="15" y="173"/>
                    <a:pt x="14" y="173"/>
                  </a:cubicBezTo>
                  <a:cubicBezTo>
                    <a:pt x="12" y="173"/>
                    <a:pt x="11" y="172"/>
                    <a:pt x="9" y="172"/>
                  </a:cubicBezTo>
                  <a:cubicBezTo>
                    <a:pt x="9" y="171"/>
                    <a:pt x="9" y="171"/>
                    <a:pt x="9" y="171"/>
                  </a:cubicBezTo>
                  <a:cubicBezTo>
                    <a:pt x="9" y="171"/>
                    <a:pt x="8" y="171"/>
                    <a:pt x="8" y="171"/>
                  </a:cubicBezTo>
                  <a:cubicBezTo>
                    <a:pt x="7" y="170"/>
                    <a:pt x="7" y="170"/>
                    <a:pt x="6" y="169"/>
                  </a:cubicBezTo>
                  <a:cubicBezTo>
                    <a:pt x="6" y="170"/>
                    <a:pt x="6" y="170"/>
                    <a:pt x="6" y="170"/>
                  </a:cubicBezTo>
                  <a:cubicBezTo>
                    <a:pt x="5" y="170"/>
                    <a:pt x="5" y="170"/>
                    <a:pt x="5" y="170"/>
                  </a:cubicBezTo>
                  <a:cubicBezTo>
                    <a:pt x="4" y="171"/>
                    <a:pt x="4" y="171"/>
                    <a:pt x="4" y="171"/>
                  </a:cubicBezTo>
                  <a:cubicBezTo>
                    <a:pt x="3" y="171"/>
                    <a:pt x="2" y="172"/>
                    <a:pt x="2" y="172"/>
                  </a:cubicBezTo>
                  <a:cubicBezTo>
                    <a:pt x="1" y="173"/>
                    <a:pt x="1" y="175"/>
                    <a:pt x="0" y="177"/>
                  </a:cubicBezTo>
                  <a:cubicBezTo>
                    <a:pt x="0" y="178"/>
                    <a:pt x="0" y="178"/>
                    <a:pt x="0" y="178"/>
                  </a:cubicBezTo>
                  <a:cubicBezTo>
                    <a:pt x="1" y="179"/>
                    <a:pt x="1" y="179"/>
                    <a:pt x="1" y="179"/>
                  </a:cubicBezTo>
                  <a:cubicBezTo>
                    <a:pt x="4" y="181"/>
                    <a:pt x="6" y="185"/>
                    <a:pt x="9" y="187"/>
                  </a:cubicBezTo>
                  <a:cubicBezTo>
                    <a:pt x="13" y="191"/>
                    <a:pt x="15" y="195"/>
                    <a:pt x="17" y="199"/>
                  </a:cubicBezTo>
                  <a:cubicBezTo>
                    <a:pt x="18" y="198"/>
                    <a:pt x="18" y="198"/>
                    <a:pt x="18" y="198"/>
                  </a:cubicBezTo>
                  <a:cubicBezTo>
                    <a:pt x="19" y="197"/>
                    <a:pt x="20" y="196"/>
                    <a:pt x="21" y="195"/>
                  </a:cubicBezTo>
                  <a:cubicBezTo>
                    <a:pt x="22" y="194"/>
                    <a:pt x="22" y="194"/>
                    <a:pt x="22" y="194"/>
                  </a:cubicBezTo>
                  <a:cubicBezTo>
                    <a:pt x="24" y="193"/>
                    <a:pt x="25" y="192"/>
                    <a:pt x="27" y="191"/>
                  </a:cubicBezTo>
                  <a:cubicBezTo>
                    <a:pt x="28" y="191"/>
                    <a:pt x="28" y="191"/>
                    <a:pt x="28" y="191"/>
                  </a:cubicBezTo>
                  <a:cubicBezTo>
                    <a:pt x="29" y="190"/>
                    <a:pt x="31" y="188"/>
                    <a:pt x="33" y="186"/>
                  </a:cubicBezTo>
                  <a:cubicBezTo>
                    <a:pt x="30" y="183"/>
                    <a:pt x="30" y="183"/>
                    <a:pt x="30" y="183"/>
                  </a:cubicBezTo>
                  <a:cubicBezTo>
                    <a:pt x="34" y="185"/>
                    <a:pt x="34" y="185"/>
                    <a:pt x="34" y="185"/>
                  </a:cubicBezTo>
                  <a:cubicBezTo>
                    <a:pt x="35" y="183"/>
                    <a:pt x="35" y="183"/>
                    <a:pt x="35" y="183"/>
                  </a:cubicBezTo>
                  <a:cubicBezTo>
                    <a:pt x="40" y="187"/>
                    <a:pt x="40" y="187"/>
                    <a:pt x="40" y="187"/>
                  </a:cubicBezTo>
                  <a:cubicBezTo>
                    <a:pt x="42" y="188"/>
                    <a:pt x="43" y="188"/>
                    <a:pt x="44" y="189"/>
                  </a:cubicBezTo>
                  <a:cubicBezTo>
                    <a:pt x="48" y="192"/>
                    <a:pt x="48" y="192"/>
                    <a:pt x="48" y="192"/>
                  </a:cubicBezTo>
                  <a:cubicBezTo>
                    <a:pt x="48" y="192"/>
                    <a:pt x="48" y="192"/>
                    <a:pt x="49" y="193"/>
                  </a:cubicBezTo>
                  <a:cubicBezTo>
                    <a:pt x="49" y="193"/>
                    <a:pt x="49" y="193"/>
                    <a:pt x="49" y="193"/>
                  </a:cubicBezTo>
                  <a:cubicBezTo>
                    <a:pt x="49" y="193"/>
                    <a:pt x="49" y="193"/>
                    <a:pt x="49" y="193"/>
                  </a:cubicBezTo>
                  <a:cubicBezTo>
                    <a:pt x="50" y="194"/>
                    <a:pt x="50" y="194"/>
                    <a:pt x="50" y="194"/>
                  </a:cubicBezTo>
                  <a:cubicBezTo>
                    <a:pt x="50" y="194"/>
                    <a:pt x="51" y="195"/>
                    <a:pt x="51" y="195"/>
                  </a:cubicBezTo>
                  <a:cubicBezTo>
                    <a:pt x="52" y="194"/>
                    <a:pt x="52" y="194"/>
                    <a:pt x="52" y="194"/>
                  </a:cubicBezTo>
                  <a:cubicBezTo>
                    <a:pt x="53" y="194"/>
                    <a:pt x="54" y="192"/>
                    <a:pt x="55" y="190"/>
                  </a:cubicBezTo>
                  <a:cubicBezTo>
                    <a:pt x="55" y="190"/>
                    <a:pt x="55" y="190"/>
                    <a:pt x="55" y="190"/>
                  </a:cubicBezTo>
                  <a:cubicBezTo>
                    <a:pt x="55" y="189"/>
                    <a:pt x="55" y="189"/>
                    <a:pt x="55" y="189"/>
                  </a:cubicBezTo>
                  <a:cubicBezTo>
                    <a:pt x="55" y="186"/>
                    <a:pt x="55" y="186"/>
                    <a:pt x="55" y="186"/>
                  </a:cubicBezTo>
                  <a:cubicBezTo>
                    <a:pt x="58" y="185"/>
                    <a:pt x="58" y="185"/>
                    <a:pt x="58" y="185"/>
                  </a:cubicBezTo>
                  <a:cubicBezTo>
                    <a:pt x="59" y="185"/>
                    <a:pt x="60" y="186"/>
                    <a:pt x="60" y="186"/>
                  </a:cubicBezTo>
                  <a:cubicBezTo>
                    <a:pt x="61" y="186"/>
                    <a:pt x="61" y="186"/>
                    <a:pt x="62" y="186"/>
                  </a:cubicBezTo>
                  <a:cubicBezTo>
                    <a:pt x="62" y="186"/>
                    <a:pt x="63" y="186"/>
                    <a:pt x="64" y="185"/>
                  </a:cubicBezTo>
                  <a:cubicBezTo>
                    <a:pt x="64" y="185"/>
                    <a:pt x="65" y="184"/>
                    <a:pt x="65" y="184"/>
                  </a:cubicBezTo>
                  <a:cubicBezTo>
                    <a:pt x="66" y="184"/>
                    <a:pt x="68" y="184"/>
                    <a:pt x="68" y="184"/>
                  </a:cubicBezTo>
                  <a:cubicBezTo>
                    <a:pt x="69" y="184"/>
                    <a:pt x="69" y="183"/>
                    <a:pt x="70" y="183"/>
                  </a:cubicBezTo>
                  <a:cubicBezTo>
                    <a:pt x="71" y="182"/>
                    <a:pt x="72" y="182"/>
                    <a:pt x="73" y="181"/>
                  </a:cubicBezTo>
                  <a:cubicBezTo>
                    <a:pt x="77" y="180"/>
                    <a:pt x="77" y="180"/>
                    <a:pt x="77" y="180"/>
                  </a:cubicBezTo>
                  <a:cubicBezTo>
                    <a:pt x="77" y="184"/>
                    <a:pt x="77" y="184"/>
                    <a:pt x="77" y="184"/>
                  </a:cubicBezTo>
                  <a:cubicBezTo>
                    <a:pt x="77" y="185"/>
                    <a:pt x="77" y="186"/>
                    <a:pt x="77" y="189"/>
                  </a:cubicBezTo>
                  <a:cubicBezTo>
                    <a:pt x="77" y="190"/>
                    <a:pt x="77" y="190"/>
                    <a:pt x="77" y="190"/>
                  </a:cubicBezTo>
                  <a:cubicBezTo>
                    <a:pt x="77" y="192"/>
                    <a:pt x="77" y="194"/>
                    <a:pt x="77" y="196"/>
                  </a:cubicBezTo>
                  <a:cubicBezTo>
                    <a:pt x="77" y="196"/>
                    <a:pt x="77" y="196"/>
                    <a:pt x="77" y="196"/>
                  </a:cubicBezTo>
                  <a:cubicBezTo>
                    <a:pt x="78" y="196"/>
                    <a:pt x="78" y="196"/>
                    <a:pt x="78" y="196"/>
                  </a:cubicBezTo>
                  <a:cubicBezTo>
                    <a:pt x="78" y="196"/>
                    <a:pt x="79" y="196"/>
                    <a:pt x="80" y="196"/>
                  </a:cubicBezTo>
                  <a:cubicBezTo>
                    <a:pt x="80" y="196"/>
                    <a:pt x="80" y="196"/>
                    <a:pt x="80" y="196"/>
                  </a:cubicBezTo>
                  <a:cubicBezTo>
                    <a:pt x="81" y="196"/>
                    <a:pt x="83" y="194"/>
                    <a:pt x="83" y="193"/>
                  </a:cubicBezTo>
                  <a:cubicBezTo>
                    <a:pt x="84" y="193"/>
                    <a:pt x="84" y="193"/>
                    <a:pt x="84" y="193"/>
                  </a:cubicBezTo>
                  <a:cubicBezTo>
                    <a:pt x="87" y="189"/>
                    <a:pt x="90" y="185"/>
                    <a:pt x="94" y="182"/>
                  </a:cubicBezTo>
                  <a:cubicBezTo>
                    <a:pt x="95" y="182"/>
                    <a:pt x="97" y="181"/>
                    <a:pt x="98" y="180"/>
                  </a:cubicBezTo>
                  <a:cubicBezTo>
                    <a:pt x="102" y="178"/>
                    <a:pt x="106" y="176"/>
                    <a:pt x="107" y="173"/>
                  </a:cubicBezTo>
                  <a:cubicBezTo>
                    <a:pt x="109" y="171"/>
                    <a:pt x="110" y="169"/>
                    <a:pt x="111" y="166"/>
                  </a:cubicBezTo>
                  <a:cubicBezTo>
                    <a:pt x="113" y="164"/>
                    <a:pt x="113" y="164"/>
                    <a:pt x="113" y="164"/>
                  </a:cubicBezTo>
                  <a:cubicBezTo>
                    <a:pt x="113" y="163"/>
                    <a:pt x="113" y="163"/>
                    <a:pt x="113" y="162"/>
                  </a:cubicBezTo>
                  <a:cubicBezTo>
                    <a:pt x="114" y="161"/>
                    <a:pt x="114" y="161"/>
                    <a:pt x="114" y="161"/>
                  </a:cubicBezTo>
                  <a:cubicBezTo>
                    <a:pt x="114" y="161"/>
                    <a:pt x="114" y="161"/>
                    <a:pt x="114" y="160"/>
                  </a:cubicBezTo>
                  <a:cubicBezTo>
                    <a:pt x="114" y="160"/>
                    <a:pt x="114" y="159"/>
                    <a:pt x="114" y="158"/>
                  </a:cubicBezTo>
                  <a:cubicBezTo>
                    <a:pt x="114" y="158"/>
                    <a:pt x="114" y="158"/>
                    <a:pt x="114" y="158"/>
                  </a:cubicBezTo>
                  <a:cubicBezTo>
                    <a:pt x="114" y="158"/>
                    <a:pt x="114" y="158"/>
                    <a:pt x="114" y="158"/>
                  </a:cubicBezTo>
                  <a:cubicBezTo>
                    <a:pt x="114" y="156"/>
                    <a:pt x="114" y="156"/>
                    <a:pt x="114" y="156"/>
                  </a:cubicBezTo>
                  <a:cubicBezTo>
                    <a:pt x="110" y="156"/>
                    <a:pt x="110" y="156"/>
                    <a:pt x="110" y="156"/>
                  </a:cubicBezTo>
                  <a:cubicBezTo>
                    <a:pt x="113" y="155"/>
                    <a:pt x="113" y="155"/>
                    <a:pt x="113" y="155"/>
                  </a:cubicBezTo>
                  <a:cubicBezTo>
                    <a:pt x="113" y="154"/>
                    <a:pt x="113" y="154"/>
                    <a:pt x="113" y="154"/>
                  </a:cubicBezTo>
                  <a:cubicBezTo>
                    <a:pt x="113" y="153"/>
                    <a:pt x="113" y="152"/>
                    <a:pt x="113" y="150"/>
                  </a:cubicBezTo>
                  <a:cubicBezTo>
                    <a:pt x="113" y="148"/>
                    <a:pt x="113" y="145"/>
                    <a:pt x="113" y="142"/>
                  </a:cubicBezTo>
                  <a:cubicBezTo>
                    <a:pt x="113" y="138"/>
                    <a:pt x="113" y="138"/>
                    <a:pt x="113" y="138"/>
                  </a:cubicBezTo>
                  <a:cubicBezTo>
                    <a:pt x="113" y="137"/>
                    <a:pt x="113" y="136"/>
                    <a:pt x="113" y="135"/>
                  </a:cubicBezTo>
                  <a:cubicBezTo>
                    <a:pt x="114" y="134"/>
                    <a:pt x="114" y="133"/>
                    <a:pt x="115" y="133"/>
                  </a:cubicBezTo>
                  <a:cubicBezTo>
                    <a:pt x="115" y="132"/>
                    <a:pt x="115" y="132"/>
                    <a:pt x="116" y="131"/>
                  </a:cubicBezTo>
                  <a:cubicBezTo>
                    <a:pt x="120" y="128"/>
                    <a:pt x="122" y="124"/>
                    <a:pt x="125" y="120"/>
                  </a:cubicBezTo>
                  <a:cubicBezTo>
                    <a:pt x="126" y="118"/>
                    <a:pt x="126" y="116"/>
                    <a:pt x="127" y="115"/>
                  </a:cubicBezTo>
                  <a:cubicBezTo>
                    <a:pt x="128" y="114"/>
                    <a:pt x="128" y="113"/>
                    <a:pt x="129" y="112"/>
                  </a:cubicBezTo>
                  <a:cubicBezTo>
                    <a:pt x="129" y="112"/>
                    <a:pt x="129" y="112"/>
                    <a:pt x="130" y="111"/>
                  </a:cubicBezTo>
                  <a:cubicBezTo>
                    <a:pt x="130" y="111"/>
                    <a:pt x="131" y="110"/>
                    <a:pt x="132" y="109"/>
                  </a:cubicBezTo>
                  <a:cubicBezTo>
                    <a:pt x="134" y="108"/>
                    <a:pt x="135" y="107"/>
                    <a:pt x="137" y="106"/>
                  </a:cubicBezTo>
                  <a:cubicBezTo>
                    <a:pt x="138" y="105"/>
                    <a:pt x="138" y="105"/>
                    <a:pt x="138" y="105"/>
                  </a:cubicBezTo>
                  <a:cubicBezTo>
                    <a:pt x="139" y="104"/>
                    <a:pt x="140" y="104"/>
                    <a:pt x="141" y="103"/>
                  </a:cubicBezTo>
                  <a:cubicBezTo>
                    <a:pt x="142" y="102"/>
                    <a:pt x="142" y="102"/>
                    <a:pt x="142" y="102"/>
                  </a:cubicBezTo>
                  <a:cubicBezTo>
                    <a:pt x="143" y="102"/>
                    <a:pt x="143" y="102"/>
                    <a:pt x="144" y="101"/>
                  </a:cubicBezTo>
                  <a:cubicBezTo>
                    <a:pt x="145" y="101"/>
                    <a:pt x="146" y="100"/>
                    <a:pt x="146" y="99"/>
                  </a:cubicBezTo>
                  <a:cubicBezTo>
                    <a:pt x="154" y="76"/>
                    <a:pt x="154" y="76"/>
                    <a:pt x="154" y="76"/>
                  </a:cubicBezTo>
                  <a:cubicBezTo>
                    <a:pt x="154" y="75"/>
                    <a:pt x="154" y="74"/>
                    <a:pt x="154" y="73"/>
                  </a:cubicBezTo>
                  <a:cubicBezTo>
                    <a:pt x="154" y="72"/>
                    <a:pt x="154" y="71"/>
                    <a:pt x="153" y="69"/>
                  </a:cubicBezTo>
                  <a:cubicBezTo>
                    <a:pt x="153" y="68"/>
                    <a:pt x="153" y="67"/>
                    <a:pt x="153" y="65"/>
                  </a:cubicBezTo>
                  <a:cubicBezTo>
                    <a:pt x="153" y="64"/>
                    <a:pt x="153" y="64"/>
                    <a:pt x="153" y="64"/>
                  </a:cubicBezTo>
                  <a:cubicBezTo>
                    <a:pt x="153" y="63"/>
                    <a:pt x="153" y="62"/>
                    <a:pt x="153" y="61"/>
                  </a:cubicBezTo>
                  <a:cubicBezTo>
                    <a:pt x="153" y="60"/>
                    <a:pt x="153" y="58"/>
                    <a:pt x="153" y="56"/>
                  </a:cubicBezTo>
                  <a:cubicBezTo>
                    <a:pt x="154" y="53"/>
                    <a:pt x="155" y="50"/>
                    <a:pt x="156" y="47"/>
                  </a:cubicBezTo>
                  <a:cubicBezTo>
                    <a:pt x="156" y="45"/>
                    <a:pt x="156" y="45"/>
                    <a:pt x="156" y="45"/>
                  </a:cubicBezTo>
                  <a:cubicBezTo>
                    <a:pt x="157" y="43"/>
                    <a:pt x="157" y="41"/>
                    <a:pt x="158" y="39"/>
                  </a:cubicBezTo>
                  <a:cubicBezTo>
                    <a:pt x="158" y="38"/>
                    <a:pt x="158" y="37"/>
                    <a:pt x="158" y="36"/>
                  </a:cubicBezTo>
                  <a:cubicBezTo>
                    <a:pt x="158" y="35"/>
                    <a:pt x="158" y="35"/>
                    <a:pt x="158" y="34"/>
                  </a:cubicBezTo>
                  <a:cubicBezTo>
                    <a:pt x="158" y="30"/>
                    <a:pt x="160" y="27"/>
                    <a:pt x="161" y="24"/>
                  </a:cubicBezTo>
                  <a:cubicBezTo>
                    <a:pt x="161" y="24"/>
                    <a:pt x="161" y="24"/>
                    <a:pt x="161" y="24"/>
                  </a:cubicBezTo>
                  <a:cubicBezTo>
                    <a:pt x="156" y="21"/>
                    <a:pt x="156" y="21"/>
                    <a:pt x="156" y="21"/>
                  </a:cubicBezTo>
                  <a:cubicBezTo>
                    <a:pt x="162" y="23"/>
                    <a:pt x="162" y="23"/>
                    <a:pt x="162" y="23"/>
                  </a:cubicBezTo>
                  <a:cubicBezTo>
                    <a:pt x="162" y="23"/>
                    <a:pt x="162" y="23"/>
                    <a:pt x="162" y="23"/>
                  </a:cubicBezTo>
                  <a:cubicBezTo>
                    <a:pt x="163" y="21"/>
                    <a:pt x="164" y="20"/>
                    <a:pt x="165" y="18"/>
                  </a:cubicBezTo>
                  <a:cubicBezTo>
                    <a:pt x="169" y="12"/>
                    <a:pt x="173" y="6"/>
                    <a:pt x="169" y="1"/>
                  </a:cubicBezTo>
                  <a:cubicBezTo>
                    <a:pt x="168" y="2"/>
                    <a:pt x="167" y="2"/>
                    <a:pt x="166" y="2"/>
                  </a:cubicBezTo>
                  <a:cubicBezTo>
                    <a:pt x="163" y="2"/>
                    <a:pt x="160" y="1"/>
                    <a:pt x="157" y="1"/>
                  </a:cubicBezTo>
                  <a:cubicBezTo>
                    <a:pt x="156" y="1"/>
                    <a:pt x="156" y="1"/>
                    <a:pt x="156" y="1"/>
                  </a:cubicBezTo>
                  <a:cubicBezTo>
                    <a:pt x="155" y="0"/>
                    <a:pt x="154" y="0"/>
                    <a:pt x="154" y="0"/>
                  </a:cubicBezTo>
                  <a:cubicBezTo>
                    <a:pt x="152" y="0"/>
                    <a:pt x="151" y="0"/>
                    <a:pt x="15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 name="Freeform 219">
              <a:extLst>
                <a:ext uri="{FF2B5EF4-FFF2-40B4-BE49-F238E27FC236}">
                  <a16:creationId xmlns:a16="http://schemas.microsoft.com/office/drawing/2014/main" id="{C586EE0F-B194-4803-8752-2175D266F9B0}"/>
                </a:ext>
              </a:extLst>
            </p:cNvPr>
            <p:cNvSpPr>
              <a:spLocks/>
            </p:cNvSpPr>
            <p:nvPr/>
          </p:nvSpPr>
          <p:spPr bwMode="auto">
            <a:xfrm>
              <a:off x="4313" y="3086"/>
              <a:ext cx="681" cy="671"/>
            </a:xfrm>
            <a:custGeom>
              <a:avLst/>
              <a:gdLst>
                <a:gd name="T0" fmla="*/ 16 w 288"/>
                <a:gd name="T1" fmla="*/ 4 h 284"/>
                <a:gd name="T2" fmla="*/ 32 w 288"/>
                <a:gd name="T3" fmla="*/ 41 h 284"/>
                <a:gd name="T4" fmla="*/ 34 w 288"/>
                <a:gd name="T5" fmla="*/ 80 h 284"/>
                <a:gd name="T6" fmla="*/ 42 w 288"/>
                <a:gd name="T7" fmla="*/ 152 h 284"/>
                <a:gd name="T8" fmla="*/ 11 w 288"/>
                <a:gd name="T9" fmla="*/ 213 h 284"/>
                <a:gd name="T10" fmla="*/ 1 w 288"/>
                <a:gd name="T11" fmla="*/ 267 h 284"/>
                <a:gd name="T12" fmla="*/ 18 w 288"/>
                <a:gd name="T13" fmla="*/ 266 h 284"/>
                <a:gd name="T14" fmla="*/ 30 w 288"/>
                <a:gd name="T15" fmla="*/ 261 h 284"/>
                <a:gd name="T16" fmla="*/ 36 w 288"/>
                <a:gd name="T17" fmla="*/ 260 h 284"/>
                <a:gd name="T18" fmla="*/ 46 w 288"/>
                <a:gd name="T19" fmla="*/ 265 h 284"/>
                <a:gd name="T20" fmla="*/ 50 w 288"/>
                <a:gd name="T21" fmla="*/ 268 h 284"/>
                <a:gd name="T22" fmla="*/ 59 w 288"/>
                <a:gd name="T23" fmla="*/ 270 h 284"/>
                <a:gd name="T24" fmla="*/ 88 w 288"/>
                <a:gd name="T25" fmla="*/ 270 h 284"/>
                <a:gd name="T26" fmla="*/ 147 w 288"/>
                <a:gd name="T27" fmla="*/ 270 h 284"/>
                <a:gd name="T28" fmla="*/ 162 w 288"/>
                <a:gd name="T29" fmla="*/ 272 h 284"/>
                <a:gd name="T30" fmla="*/ 174 w 288"/>
                <a:gd name="T31" fmla="*/ 280 h 284"/>
                <a:gd name="T32" fmla="*/ 185 w 288"/>
                <a:gd name="T33" fmla="*/ 281 h 284"/>
                <a:gd name="T34" fmla="*/ 201 w 288"/>
                <a:gd name="T35" fmla="*/ 282 h 284"/>
                <a:gd name="T36" fmla="*/ 270 w 288"/>
                <a:gd name="T37" fmla="*/ 277 h 284"/>
                <a:gd name="T38" fmla="*/ 239 w 288"/>
                <a:gd name="T39" fmla="*/ 243 h 284"/>
                <a:gd name="T40" fmla="*/ 239 w 288"/>
                <a:gd name="T41" fmla="*/ 171 h 284"/>
                <a:gd name="T42" fmla="*/ 250 w 288"/>
                <a:gd name="T43" fmla="*/ 163 h 284"/>
                <a:gd name="T44" fmla="*/ 284 w 288"/>
                <a:gd name="T45" fmla="*/ 164 h 284"/>
                <a:gd name="T46" fmla="*/ 287 w 288"/>
                <a:gd name="T47" fmla="*/ 153 h 284"/>
                <a:gd name="T48" fmla="*/ 286 w 288"/>
                <a:gd name="T49" fmla="*/ 122 h 284"/>
                <a:gd name="T50" fmla="*/ 276 w 288"/>
                <a:gd name="T51" fmla="*/ 123 h 284"/>
                <a:gd name="T52" fmla="*/ 245 w 288"/>
                <a:gd name="T53" fmla="*/ 125 h 284"/>
                <a:gd name="T54" fmla="*/ 245 w 288"/>
                <a:gd name="T55" fmla="*/ 112 h 284"/>
                <a:gd name="T56" fmla="*/ 246 w 288"/>
                <a:gd name="T57" fmla="*/ 110 h 284"/>
                <a:gd name="T58" fmla="*/ 243 w 288"/>
                <a:gd name="T59" fmla="*/ 96 h 284"/>
                <a:gd name="T60" fmla="*/ 235 w 288"/>
                <a:gd name="T61" fmla="*/ 84 h 284"/>
                <a:gd name="T62" fmla="*/ 235 w 288"/>
                <a:gd name="T63" fmla="*/ 75 h 284"/>
                <a:gd name="T64" fmla="*/ 237 w 288"/>
                <a:gd name="T65" fmla="*/ 61 h 284"/>
                <a:gd name="T66" fmla="*/ 235 w 288"/>
                <a:gd name="T67" fmla="*/ 34 h 284"/>
                <a:gd name="T68" fmla="*/ 219 w 288"/>
                <a:gd name="T69" fmla="*/ 34 h 284"/>
                <a:gd name="T70" fmla="*/ 205 w 288"/>
                <a:gd name="T71" fmla="*/ 31 h 284"/>
                <a:gd name="T72" fmla="*/ 205 w 288"/>
                <a:gd name="T73" fmla="*/ 25 h 284"/>
                <a:gd name="T74" fmla="*/ 197 w 288"/>
                <a:gd name="T75" fmla="*/ 27 h 284"/>
                <a:gd name="T76" fmla="*/ 192 w 288"/>
                <a:gd name="T77" fmla="*/ 28 h 284"/>
                <a:gd name="T78" fmla="*/ 187 w 288"/>
                <a:gd name="T79" fmla="*/ 28 h 284"/>
                <a:gd name="T80" fmla="*/ 184 w 288"/>
                <a:gd name="T81" fmla="*/ 44 h 284"/>
                <a:gd name="T82" fmla="*/ 163 w 288"/>
                <a:gd name="T83" fmla="*/ 50 h 284"/>
                <a:gd name="T84" fmla="*/ 154 w 288"/>
                <a:gd name="T85" fmla="*/ 51 h 284"/>
                <a:gd name="T86" fmla="*/ 142 w 288"/>
                <a:gd name="T87" fmla="*/ 53 h 284"/>
                <a:gd name="T88" fmla="*/ 126 w 288"/>
                <a:gd name="T89" fmla="*/ 38 h 284"/>
                <a:gd name="T90" fmla="*/ 109 w 288"/>
                <a:gd name="T91" fmla="*/ 1 h 284"/>
                <a:gd name="T92" fmla="*/ 99 w 288"/>
                <a:gd name="T93" fmla="*/ 0 h 284"/>
                <a:gd name="T94" fmla="*/ 56 w 288"/>
                <a:gd name="T95" fmla="*/ 1 h 284"/>
                <a:gd name="T96" fmla="*/ 41 w 288"/>
                <a:gd name="T9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284">
                  <a:moveTo>
                    <a:pt x="29" y="0"/>
                  </a:moveTo>
                  <a:cubicBezTo>
                    <a:pt x="27" y="0"/>
                    <a:pt x="26" y="0"/>
                    <a:pt x="24" y="1"/>
                  </a:cubicBezTo>
                  <a:cubicBezTo>
                    <a:pt x="22" y="3"/>
                    <a:pt x="19" y="4"/>
                    <a:pt x="17" y="4"/>
                  </a:cubicBezTo>
                  <a:cubicBezTo>
                    <a:pt x="16" y="4"/>
                    <a:pt x="16" y="4"/>
                    <a:pt x="16" y="4"/>
                  </a:cubicBezTo>
                  <a:cubicBezTo>
                    <a:pt x="13" y="4"/>
                    <a:pt x="13" y="4"/>
                    <a:pt x="13" y="4"/>
                  </a:cubicBezTo>
                  <a:cubicBezTo>
                    <a:pt x="15" y="7"/>
                    <a:pt x="16" y="10"/>
                    <a:pt x="18" y="13"/>
                  </a:cubicBezTo>
                  <a:cubicBezTo>
                    <a:pt x="19" y="15"/>
                    <a:pt x="21" y="17"/>
                    <a:pt x="23" y="20"/>
                  </a:cubicBezTo>
                  <a:cubicBezTo>
                    <a:pt x="27" y="27"/>
                    <a:pt x="29" y="34"/>
                    <a:pt x="32" y="41"/>
                  </a:cubicBezTo>
                  <a:cubicBezTo>
                    <a:pt x="34" y="46"/>
                    <a:pt x="39" y="52"/>
                    <a:pt x="39" y="58"/>
                  </a:cubicBezTo>
                  <a:cubicBezTo>
                    <a:pt x="39" y="61"/>
                    <a:pt x="39" y="65"/>
                    <a:pt x="37" y="67"/>
                  </a:cubicBezTo>
                  <a:cubicBezTo>
                    <a:pt x="35" y="69"/>
                    <a:pt x="32" y="71"/>
                    <a:pt x="30" y="73"/>
                  </a:cubicBezTo>
                  <a:cubicBezTo>
                    <a:pt x="29" y="75"/>
                    <a:pt x="33" y="79"/>
                    <a:pt x="34" y="80"/>
                  </a:cubicBezTo>
                  <a:cubicBezTo>
                    <a:pt x="36" y="87"/>
                    <a:pt x="39" y="95"/>
                    <a:pt x="42" y="101"/>
                  </a:cubicBezTo>
                  <a:cubicBezTo>
                    <a:pt x="44" y="107"/>
                    <a:pt x="49" y="112"/>
                    <a:pt x="49" y="118"/>
                  </a:cubicBezTo>
                  <a:cubicBezTo>
                    <a:pt x="49" y="125"/>
                    <a:pt x="50" y="133"/>
                    <a:pt x="48" y="139"/>
                  </a:cubicBezTo>
                  <a:cubicBezTo>
                    <a:pt x="46" y="144"/>
                    <a:pt x="44" y="148"/>
                    <a:pt x="42" y="152"/>
                  </a:cubicBezTo>
                  <a:cubicBezTo>
                    <a:pt x="41" y="156"/>
                    <a:pt x="40" y="156"/>
                    <a:pt x="37" y="157"/>
                  </a:cubicBezTo>
                  <a:cubicBezTo>
                    <a:pt x="31" y="159"/>
                    <a:pt x="26" y="166"/>
                    <a:pt x="23" y="171"/>
                  </a:cubicBezTo>
                  <a:cubicBezTo>
                    <a:pt x="20" y="176"/>
                    <a:pt x="19" y="180"/>
                    <a:pt x="18" y="185"/>
                  </a:cubicBezTo>
                  <a:cubicBezTo>
                    <a:pt x="16" y="194"/>
                    <a:pt x="13" y="203"/>
                    <a:pt x="11" y="213"/>
                  </a:cubicBezTo>
                  <a:cubicBezTo>
                    <a:pt x="10" y="217"/>
                    <a:pt x="9" y="225"/>
                    <a:pt x="6" y="229"/>
                  </a:cubicBezTo>
                  <a:cubicBezTo>
                    <a:pt x="5" y="231"/>
                    <a:pt x="1" y="234"/>
                    <a:pt x="0" y="236"/>
                  </a:cubicBezTo>
                  <a:cubicBezTo>
                    <a:pt x="0" y="237"/>
                    <a:pt x="2" y="238"/>
                    <a:pt x="2" y="239"/>
                  </a:cubicBezTo>
                  <a:cubicBezTo>
                    <a:pt x="2" y="248"/>
                    <a:pt x="1" y="257"/>
                    <a:pt x="1" y="267"/>
                  </a:cubicBezTo>
                  <a:cubicBezTo>
                    <a:pt x="2" y="267"/>
                    <a:pt x="2" y="267"/>
                    <a:pt x="3" y="267"/>
                  </a:cubicBezTo>
                  <a:cubicBezTo>
                    <a:pt x="5" y="267"/>
                    <a:pt x="6" y="267"/>
                    <a:pt x="7" y="267"/>
                  </a:cubicBezTo>
                  <a:cubicBezTo>
                    <a:pt x="9" y="267"/>
                    <a:pt x="11" y="267"/>
                    <a:pt x="12" y="267"/>
                  </a:cubicBezTo>
                  <a:cubicBezTo>
                    <a:pt x="14" y="267"/>
                    <a:pt x="16" y="267"/>
                    <a:pt x="18" y="266"/>
                  </a:cubicBezTo>
                  <a:cubicBezTo>
                    <a:pt x="20" y="266"/>
                    <a:pt x="22" y="265"/>
                    <a:pt x="24" y="264"/>
                  </a:cubicBezTo>
                  <a:cubicBezTo>
                    <a:pt x="25" y="263"/>
                    <a:pt x="26" y="262"/>
                    <a:pt x="27" y="262"/>
                  </a:cubicBezTo>
                  <a:cubicBezTo>
                    <a:pt x="28" y="261"/>
                    <a:pt x="29" y="261"/>
                    <a:pt x="30" y="261"/>
                  </a:cubicBezTo>
                  <a:cubicBezTo>
                    <a:pt x="30" y="261"/>
                    <a:pt x="30" y="261"/>
                    <a:pt x="30" y="261"/>
                  </a:cubicBezTo>
                  <a:cubicBezTo>
                    <a:pt x="30" y="256"/>
                    <a:pt x="30" y="256"/>
                    <a:pt x="30" y="256"/>
                  </a:cubicBezTo>
                  <a:cubicBezTo>
                    <a:pt x="32" y="260"/>
                    <a:pt x="32" y="260"/>
                    <a:pt x="32" y="260"/>
                  </a:cubicBezTo>
                  <a:cubicBezTo>
                    <a:pt x="32" y="260"/>
                    <a:pt x="32" y="260"/>
                    <a:pt x="32" y="260"/>
                  </a:cubicBezTo>
                  <a:cubicBezTo>
                    <a:pt x="33" y="260"/>
                    <a:pt x="35" y="260"/>
                    <a:pt x="36" y="260"/>
                  </a:cubicBezTo>
                  <a:cubicBezTo>
                    <a:pt x="39" y="260"/>
                    <a:pt x="39" y="260"/>
                    <a:pt x="39" y="260"/>
                  </a:cubicBezTo>
                  <a:cubicBezTo>
                    <a:pt x="40" y="260"/>
                    <a:pt x="40" y="260"/>
                    <a:pt x="40" y="260"/>
                  </a:cubicBezTo>
                  <a:cubicBezTo>
                    <a:pt x="42" y="261"/>
                    <a:pt x="44" y="263"/>
                    <a:pt x="46" y="265"/>
                  </a:cubicBezTo>
                  <a:cubicBezTo>
                    <a:pt x="46" y="265"/>
                    <a:pt x="46" y="265"/>
                    <a:pt x="46" y="265"/>
                  </a:cubicBezTo>
                  <a:cubicBezTo>
                    <a:pt x="47" y="265"/>
                    <a:pt x="47" y="266"/>
                    <a:pt x="48" y="266"/>
                  </a:cubicBezTo>
                  <a:cubicBezTo>
                    <a:pt x="49" y="267"/>
                    <a:pt x="49" y="267"/>
                    <a:pt x="49" y="267"/>
                  </a:cubicBezTo>
                  <a:cubicBezTo>
                    <a:pt x="49" y="267"/>
                    <a:pt x="49" y="267"/>
                    <a:pt x="50" y="268"/>
                  </a:cubicBezTo>
                  <a:cubicBezTo>
                    <a:pt x="50" y="268"/>
                    <a:pt x="50" y="268"/>
                    <a:pt x="50" y="268"/>
                  </a:cubicBezTo>
                  <a:cubicBezTo>
                    <a:pt x="51" y="269"/>
                    <a:pt x="53" y="270"/>
                    <a:pt x="54" y="271"/>
                  </a:cubicBezTo>
                  <a:cubicBezTo>
                    <a:pt x="54" y="271"/>
                    <a:pt x="54" y="271"/>
                    <a:pt x="54" y="271"/>
                  </a:cubicBezTo>
                  <a:cubicBezTo>
                    <a:pt x="54" y="271"/>
                    <a:pt x="55" y="270"/>
                    <a:pt x="55" y="270"/>
                  </a:cubicBezTo>
                  <a:cubicBezTo>
                    <a:pt x="57" y="270"/>
                    <a:pt x="58" y="270"/>
                    <a:pt x="59" y="270"/>
                  </a:cubicBezTo>
                  <a:cubicBezTo>
                    <a:pt x="59" y="270"/>
                    <a:pt x="59" y="270"/>
                    <a:pt x="59" y="270"/>
                  </a:cubicBezTo>
                  <a:cubicBezTo>
                    <a:pt x="60" y="270"/>
                    <a:pt x="62" y="270"/>
                    <a:pt x="63" y="270"/>
                  </a:cubicBezTo>
                  <a:cubicBezTo>
                    <a:pt x="70" y="270"/>
                    <a:pt x="70" y="270"/>
                    <a:pt x="70" y="270"/>
                  </a:cubicBezTo>
                  <a:cubicBezTo>
                    <a:pt x="76" y="270"/>
                    <a:pt x="82" y="270"/>
                    <a:pt x="88" y="270"/>
                  </a:cubicBezTo>
                  <a:cubicBezTo>
                    <a:pt x="99" y="270"/>
                    <a:pt x="99" y="270"/>
                    <a:pt x="99" y="270"/>
                  </a:cubicBezTo>
                  <a:cubicBezTo>
                    <a:pt x="103" y="270"/>
                    <a:pt x="108" y="270"/>
                    <a:pt x="113" y="270"/>
                  </a:cubicBezTo>
                  <a:cubicBezTo>
                    <a:pt x="123" y="270"/>
                    <a:pt x="133" y="270"/>
                    <a:pt x="144" y="270"/>
                  </a:cubicBezTo>
                  <a:cubicBezTo>
                    <a:pt x="145" y="270"/>
                    <a:pt x="146" y="270"/>
                    <a:pt x="147" y="270"/>
                  </a:cubicBezTo>
                  <a:cubicBezTo>
                    <a:pt x="147" y="270"/>
                    <a:pt x="147" y="270"/>
                    <a:pt x="147" y="270"/>
                  </a:cubicBezTo>
                  <a:cubicBezTo>
                    <a:pt x="149" y="269"/>
                    <a:pt x="151" y="269"/>
                    <a:pt x="153" y="269"/>
                  </a:cubicBezTo>
                  <a:cubicBezTo>
                    <a:pt x="156" y="269"/>
                    <a:pt x="158" y="270"/>
                    <a:pt x="160" y="271"/>
                  </a:cubicBezTo>
                  <a:cubicBezTo>
                    <a:pt x="161" y="271"/>
                    <a:pt x="161" y="272"/>
                    <a:pt x="162" y="272"/>
                  </a:cubicBezTo>
                  <a:cubicBezTo>
                    <a:pt x="162" y="272"/>
                    <a:pt x="163" y="273"/>
                    <a:pt x="163" y="274"/>
                  </a:cubicBezTo>
                  <a:cubicBezTo>
                    <a:pt x="163" y="274"/>
                    <a:pt x="164" y="275"/>
                    <a:pt x="164" y="275"/>
                  </a:cubicBezTo>
                  <a:cubicBezTo>
                    <a:pt x="166" y="277"/>
                    <a:pt x="167" y="278"/>
                    <a:pt x="169" y="279"/>
                  </a:cubicBezTo>
                  <a:cubicBezTo>
                    <a:pt x="171" y="280"/>
                    <a:pt x="172" y="280"/>
                    <a:pt x="174" y="280"/>
                  </a:cubicBezTo>
                  <a:cubicBezTo>
                    <a:pt x="176" y="280"/>
                    <a:pt x="176" y="280"/>
                    <a:pt x="176" y="280"/>
                  </a:cubicBezTo>
                  <a:cubicBezTo>
                    <a:pt x="177" y="280"/>
                    <a:pt x="177" y="280"/>
                    <a:pt x="177" y="280"/>
                  </a:cubicBezTo>
                  <a:cubicBezTo>
                    <a:pt x="181" y="281"/>
                    <a:pt x="181" y="281"/>
                    <a:pt x="181" y="281"/>
                  </a:cubicBezTo>
                  <a:cubicBezTo>
                    <a:pt x="182" y="281"/>
                    <a:pt x="183" y="281"/>
                    <a:pt x="185" y="281"/>
                  </a:cubicBezTo>
                  <a:cubicBezTo>
                    <a:pt x="186" y="281"/>
                    <a:pt x="187" y="281"/>
                    <a:pt x="188" y="281"/>
                  </a:cubicBezTo>
                  <a:cubicBezTo>
                    <a:pt x="191" y="281"/>
                    <a:pt x="191" y="281"/>
                    <a:pt x="191" y="281"/>
                  </a:cubicBezTo>
                  <a:cubicBezTo>
                    <a:pt x="192" y="281"/>
                    <a:pt x="193" y="281"/>
                    <a:pt x="194" y="281"/>
                  </a:cubicBezTo>
                  <a:cubicBezTo>
                    <a:pt x="201" y="282"/>
                    <a:pt x="201" y="282"/>
                    <a:pt x="201" y="282"/>
                  </a:cubicBezTo>
                  <a:cubicBezTo>
                    <a:pt x="209" y="283"/>
                    <a:pt x="217" y="284"/>
                    <a:pt x="226" y="284"/>
                  </a:cubicBezTo>
                  <a:cubicBezTo>
                    <a:pt x="229" y="284"/>
                    <a:pt x="232" y="284"/>
                    <a:pt x="236" y="283"/>
                  </a:cubicBezTo>
                  <a:cubicBezTo>
                    <a:pt x="270" y="277"/>
                    <a:pt x="270" y="277"/>
                    <a:pt x="270" y="277"/>
                  </a:cubicBezTo>
                  <a:cubicBezTo>
                    <a:pt x="270" y="277"/>
                    <a:pt x="270" y="277"/>
                    <a:pt x="270" y="277"/>
                  </a:cubicBezTo>
                  <a:cubicBezTo>
                    <a:pt x="245" y="255"/>
                    <a:pt x="245" y="255"/>
                    <a:pt x="245" y="255"/>
                  </a:cubicBezTo>
                  <a:cubicBezTo>
                    <a:pt x="242" y="252"/>
                    <a:pt x="241" y="249"/>
                    <a:pt x="240" y="245"/>
                  </a:cubicBezTo>
                  <a:cubicBezTo>
                    <a:pt x="236" y="245"/>
                    <a:pt x="236" y="245"/>
                    <a:pt x="236" y="245"/>
                  </a:cubicBezTo>
                  <a:cubicBezTo>
                    <a:pt x="239" y="243"/>
                    <a:pt x="239" y="243"/>
                    <a:pt x="239" y="243"/>
                  </a:cubicBezTo>
                  <a:cubicBezTo>
                    <a:pt x="239" y="242"/>
                    <a:pt x="239" y="242"/>
                    <a:pt x="239" y="242"/>
                  </a:cubicBezTo>
                  <a:cubicBezTo>
                    <a:pt x="239" y="239"/>
                    <a:pt x="239" y="237"/>
                    <a:pt x="239" y="234"/>
                  </a:cubicBezTo>
                  <a:cubicBezTo>
                    <a:pt x="239" y="232"/>
                    <a:pt x="239" y="232"/>
                    <a:pt x="239" y="232"/>
                  </a:cubicBezTo>
                  <a:cubicBezTo>
                    <a:pt x="239" y="171"/>
                    <a:pt x="239" y="171"/>
                    <a:pt x="239" y="171"/>
                  </a:cubicBezTo>
                  <a:cubicBezTo>
                    <a:pt x="239" y="170"/>
                    <a:pt x="239" y="169"/>
                    <a:pt x="239" y="169"/>
                  </a:cubicBezTo>
                  <a:cubicBezTo>
                    <a:pt x="239" y="168"/>
                    <a:pt x="239" y="167"/>
                    <a:pt x="240" y="166"/>
                  </a:cubicBezTo>
                  <a:cubicBezTo>
                    <a:pt x="241" y="164"/>
                    <a:pt x="243" y="164"/>
                    <a:pt x="246" y="164"/>
                  </a:cubicBezTo>
                  <a:cubicBezTo>
                    <a:pt x="247" y="164"/>
                    <a:pt x="249" y="163"/>
                    <a:pt x="250" y="163"/>
                  </a:cubicBezTo>
                  <a:cubicBezTo>
                    <a:pt x="254" y="163"/>
                    <a:pt x="258" y="164"/>
                    <a:pt x="261" y="164"/>
                  </a:cubicBezTo>
                  <a:cubicBezTo>
                    <a:pt x="262" y="164"/>
                    <a:pt x="262" y="164"/>
                    <a:pt x="262" y="164"/>
                  </a:cubicBezTo>
                  <a:cubicBezTo>
                    <a:pt x="263" y="164"/>
                    <a:pt x="264" y="164"/>
                    <a:pt x="265" y="164"/>
                  </a:cubicBezTo>
                  <a:cubicBezTo>
                    <a:pt x="284" y="164"/>
                    <a:pt x="284" y="164"/>
                    <a:pt x="284" y="164"/>
                  </a:cubicBezTo>
                  <a:cubicBezTo>
                    <a:pt x="284" y="163"/>
                    <a:pt x="283" y="162"/>
                    <a:pt x="284" y="160"/>
                  </a:cubicBezTo>
                  <a:cubicBezTo>
                    <a:pt x="284" y="159"/>
                    <a:pt x="284" y="159"/>
                    <a:pt x="284" y="159"/>
                  </a:cubicBezTo>
                  <a:cubicBezTo>
                    <a:pt x="285" y="158"/>
                    <a:pt x="285" y="156"/>
                    <a:pt x="286" y="155"/>
                  </a:cubicBezTo>
                  <a:cubicBezTo>
                    <a:pt x="286" y="154"/>
                    <a:pt x="287" y="154"/>
                    <a:pt x="287" y="153"/>
                  </a:cubicBezTo>
                  <a:cubicBezTo>
                    <a:pt x="287" y="153"/>
                    <a:pt x="287" y="152"/>
                    <a:pt x="287" y="152"/>
                  </a:cubicBezTo>
                  <a:cubicBezTo>
                    <a:pt x="288" y="149"/>
                    <a:pt x="287" y="145"/>
                    <a:pt x="287" y="141"/>
                  </a:cubicBezTo>
                  <a:cubicBezTo>
                    <a:pt x="287" y="140"/>
                    <a:pt x="287" y="138"/>
                    <a:pt x="287" y="136"/>
                  </a:cubicBezTo>
                  <a:cubicBezTo>
                    <a:pt x="286" y="122"/>
                    <a:pt x="286" y="122"/>
                    <a:pt x="286" y="122"/>
                  </a:cubicBezTo>
                  <a:cubicBezTo>
                    <a:pt x="285" y="122"/>
                    <a:pt x="285" y="122"/>
                    <a:pt x="285" y="122"/>
                  </a:cubicBezTo>
                  <a:cubicBezTo>
                    <a:pt x="283" y="123"/>
                    <a:pt x="281" y="123"/>
                    <a:pt x="279" y="123"/>
                  </a:cubicBezTo>
                  <a:cubicBezTo>
                    <a:pt x="278" y="123"/>
                    <a:pt x="278" y="123"/>
                    <a:pt x="278" y="123"/>
                  </a:cubicBezTo>
                  <a:cubicBezTo>
                    <a:pt x="277" y="123"/>
                    <a:pt x="276" y="123"/>
                    <a:pt x="276" y="123"/>
                  </a:cubicBezTo>
                  <a:cubicBezTo>
                    <a:pt x="274" y="123"/>
                    <a:pt x="272" y="124"/>
                    <a:pt x="270" y="124"/>
                  </a:cubicBezTo>
                  <a:cubicBezTo>
                    <a:pt x="262" y="124"/>
                    <a:pt x="255" y="125"/>
                    <a:pt x="249" y="128"/>
                  </a:cubicBezTo>
                  <a:cubicBezTo>
                    <a:pt x="246" y="129"/>
                    <a:pt x="246" y="129"/>
                    <a:pt x="246" y="129"/>
                  </a:cubicBezTo>
                  <a:cubicBezTo>
                    <a:pt x="245" y="125"/>
                    <a:pt x="245" y="125"/>
                    <a:pt x="245" y="125"/>
                  </a:cubicBezTo>
                  <a:cubicBezTo>
                    <a:pt x="245" y="125"/>
                    <a:pt x="244" y="124"/>
                    <a:pt x="244" y="123"/>
                  </a:cubicBezTo>
                  <a:cubicBezTo>
                    <a:pt x="244" y="123"/>
                    <a:pt x="244" y="123"/>
                    <a:pt x="244" y="123"/>
                  </a:cubicBezTo>
                  <a:cubicBezTo>
                    <a:pt x="243" y="121"/>
                    <a:pt x="243" y="118"/>
                    <a:pt x="243" y="115"/>
                  </a:cubicBezTo>
                  <a:cubicBezTo>
                    <a:pt x="243" y="114"/>
                    <a:pt x="244" y="113"/>
                    <a:pt x="245" y="112"/>
                  </a:cubicBezTo>
                  <a:cubicBezTo>
                    <a:pt x="245" y="111"/>
                    <a:pt x="245" y="111"/>
                    <a:pt x="245" y="111"/>
                  </a:cubicBezTo>
                  <a:cubicBezTo>
                    <a:pt x="246" y="111"/>
                    <a:pt x="246" y="110"/>
                    <a:pt x="246" y="110"/>
                  </a:cubicBezTo>
                  <a:cubicBezTo>
                    <a:pt x="246" y="110"/>
                    <a:pt x="246" y="110"/>
                    <a:pt x="246" y="110"/>
                  </a:cubicBezTo>
                  <a:cubicBezTo>
                    <a:pt x="246" y="110"/>
                    <a:pt x="246" y="110"/>
                    <a:pt x="246" y="110"/>
                  </a:cubicBezTo>
                  <a:cubicBezTo>
                    <a:pt x="246" y="109"/>
                    <a:pt x="246" y="109"/>
                    <a:pt x="246" y="109"/>
                  </a:cubicBezTo>
                  <a:cubicBezTo>
                    <a:pt x="246" y="109"/>
                    <a:pt x="246" y="108"/>
                    <a:pt x="245" y="105"/>
                  </a:cubicBezTo>
                  <a:cubicBezTo>
                    <a:pt x="245" y="102"/>
                    <a:pt x="245" y="99"/>
                    <a:pt x="244" y="97"/>
                  </a:cubicBezTo>
                  <a:cubicBezTo>
                    <a:pt x="243" y="96"/>
                    <a:pt x="243" y="96"/>
                    <a:pt x="243" y="96"/>
                  </a:cubicBezTo>
                  <a:cubicBezTo>
                    <a:pt x="243" y="95"/>
                    <a:pt x="243" y="95"/>
                    <a:pt x="243" y="95"/>
                  </a:cubicBezTo>
                  <a:cubicBezTo>
                    <a:pt x="243" y="94"/>
                    <a:pt x="242" y="93"/>
                    <a:pt x="241" y="93"/>
                  </a:cubicBezTo>
                  <a:cubicBezTo>
                    <a:pt x="239" y="91"/>
                    <a:pt x="237" y="89"/>
                    <a:pt x="236" y="87"/>
                  </a:cubicBezTo>
                  <a:cubicBezTo>
                    <a:pt x="235" y="86"/>
                    <a:pt x="235" y="85"/>
                    <a:pt x="235" y="84"/>
                  </a:cubicBezTo>
                  <a:cubicBezTo>
                    <a:pt x="234" y="83"/>
                    <a:pt x="234" y="81"/>
                    <a:pt x="234" y="80"/>
                  </a:cubicBezTo>
                  <a:cubicBezTo>
                    <a:pt x="235" y="79"/>
                    <a:pt x="235" y="79"/>
                    <a:pt x="235" y="79"/>
                  </a:cubicBezTo>
                  <a:cubicBezTo>
                    <a:pt x="235" y="79"/>
                    <a:pt x="235" y="79"/>
                    <a:pt x="235" y="79"/>
                  </a:cubicBezTo>
                  <a:cubicBezTo>
                    <a:pt x="235" y="75"/>
                    <a:pt x="235" y="75"/>
                    <a:pt x="235" y="75"/>
                  </a:cubicBezTo>
                  <a:cubicBezTo>
                    <a:pt x="236" y="72"/>
                    <a:pt x="236" y="70"/>
                    <a:pt x="236" y="68"/>
                  </a:cubicBezTo>
                  <a:cubicBezTo>
                    <a:pt x="236" y="64"/>
                    <a:pt x="236" y="64"/>
                    <a:pt x="236" y="64"/>
                  </a:cubicBezTo>
                  <a:cubicBezTo>
                    <a:pt x="236" y="64"/>
                    <a:pt x="236" y="63"/>
                    <a:pt x="237" y="62"/>
                  </a:cubicBezTo>
                  <a:cubicBezTo>
                    <a:pt x="237" y="61"/>
                    <a:pt x="237" y="61"/>
                    <a:pt x="237" y="61"/>
                  </a:cubicBezTo>
                  <a:cubicBezTo>
                    <a:pt x="237" y="61"/>
                    <a:pt x="237" y="58"/>
                    <a:pt x="237" y="57"/>
                  </a:cubicBezTo>
                  <a:cubicBezTo>
                    <a:pt x="234" y="50"/>
                    <a:pt x="233" y="48"/>
                    <a:pt x="235" y="40"/>
                  </a:cubicBezTo>
                  <a:cubicBezTo>
                    <a:pt x="235" y="40"/>
                    <a:pt x="235" y="38"/>
                    <a:pt x="235" y="37"/>
                  </a:cubicBezTo>
                  <a:cubicBezTo>
                    <a:pt x="235" y="35"/>
                    <a:pt x="235" y="34"/>
                    <a:pt x="235" y="34"/>
                  </a:cubicBezTo>
                  <a:cubicBezTo>
                    <a:pt x="234" y="34"/>
                    <a:pt x="234" y="34"/>
                    <a:pt x="234" y="34"/>
                  </a:cubicBezTo>
                  <a:cubicBezTo>
                    <a:pt x="232" y="34"/>
                    <a:pt x="232" y="34"/>
                    <a:pt x="232" y="34"/>
                  </a:cubicBezTo>
                  <a:cubicBezTo>
                    <a:pt x="232" y="34"/>
                    <a:pt x="231" y="34"/>
                    <a:pt x="231" y="34"/>
                  </a:cubicBezTo>
                  <a:cubicBezTo>
                    <a:pt x="219" y="34"/>
                    <a:pt x="219" y="34"/>
                    <a:pt x="219" y="34"/>
                  </a:cubicBezTo>
                  <a:cubicBezTo>
                    <a:pt x="218" y="34"/>
                    <a:pt x="217" y="34"/>
                    <a:pt x="216" y="34"/>
                  </a:cubicBezTo>
                  <a:cubicBezTo>
                    <a:pt x="215" y="34"/>
                    <a:pt x="214" y="34"/>
                    <a:pt x="212" y="34"/>
                  </a:cubicBezTo>
                  <a:cubicBezTo>
                    <a:pt x="211" y="34"/>
                    <a:pt x="209" y="34"/>
                    <a:pt x="208" y="34"/>
                  </a:cubicBezTo>
                  <a:cubicBezTo>
                    <a:pt x="206" y="33"/>
                    <a:pt x="205" y="32"/>
                    <a:pt x="205" y="31"/>
                  </a:cubicBezTo>
                  <a:cubicBezTo>
                    <a:pt x="204" y="29"/>
                    <a:pt x="205" y="27"/>
                    <a:pt x="205" y="26"/>
                  </a:cubicBezTo>
                  <a:cubicBezTo>
                    <a:pt x="205" y="25"/>
                    <a:pt x="205" y="25"/>
                    <a:pt x="205" y="25"/>
                  </a:cubicBezTo>
                  <a:cubicBezTo>
                    <a:pt x="205" y="25"/>
                    <a:pt x="205" y="25"/>
                    <a:pt x="205" y="25"/>
                  </a:cubicBezTo>
                  <a:cubicBezTo>
                    <a:pt x="205" y="25"/>
                    <a:pt x="205" y="25"/>
                    <a:pt x="205" y="25"/>
                  </a:cubicBezTo>
                  <a:cubicBezTo>
                    <a:pt x="205" y="25"/>
                    <a:pt x="204" y="25"/>
                    <a:pt x="204" y="25"/>
                  </a:cubicBezTo>
                  <a:cubicBezTo>
                    <a:pt x="204" y="25"/>
                    <a:pt x="204" y="25"/>
                    <a:pt x="204" y="25"/>
                  </a:cubicBezTo>
                  <a:cubicBezTo>
                    <a:pt x="203" y="26"/>
                    <a:pt x="202" y="27"/>
                    <a:pt x="200" y="27"/>
                  </a:cubicBezTo>
                  <a:cubicBezTo>
                    <a:pt x="199" y="27"/>
                    <a:pt x="198" y="27"/>
                    <a:pt x="197" y="27"/>
                  </a:cubicBezTo>
                  <a:cubicBezTo>
                    <a:pt x="194" y="27"/>
                    <a:pt x="194" y="27"/>
                    <a:pt x="194" y="27"/>
                  </a:cubicBezTo>
                  <a:cubicBezTo>
                    <a:pt x="194" y="27"/>
                    <a:pt x="194" y="27"/>
                    <a:pt x="194" y="27"/>
                  </a:cubicBezTo>
                  <a:cubicBezTo>
                    <a:pt x="194" y="28"/>
                    <a:pt x="193" y="28"/>
                    <a:pt x="193" y="28"/>
                  </a:cubicBezTo>
                  <a:cubicBezTo>
                    <a:pt x="193" y="28"/>
                    <a:pt x="192" y="28"/>
                    <a:pt x="192" y="28"/>
                  </a:cubicBezTo>
                  <a:cubicBezTo>
                    <a:pt x="191" y="28"/>
                    <a:pt x="191" y="28"/>
                    <a:pt x="191" y="28"/>
                  </a:cubicBezTo>
                  <a:cubicBezTo>
                    <a:pt x="190" y="28"/>
                    <a:pt x="189" y="28"/>
                    <a:pt x="188" y="28"/>
                  </a:cubicBezTo>
                  <a:cubicBezTo>
                    <a:pt x="188" y="28"/>
                    <a:pt x="187" y="28"/>
                    <a:pt x="187" y="28"/>
                  </a:cubicBezTo>
                  <a:cubicBezTo>
                    <a:pt x="187" y="28"/>
                    <a:pt x="187" y="28"/>
                    <a:pt x="187" y="28"/>
                  </a:cubicBezTo>
                  <a:cubicBezTo>
                    <a:pt x="187" y="29"/>
                    <a:pt x="186" y="31"/>
                    <a:pt x="186" y="35"/>
                  </a:cubicBezTo>
                  <a:cubicBezTo>
                    <a:pt x="185" y="37"/>
                    <a:pt x="185" y="37"/>
                    <a:pt x="185" y="37"/>
                  </a:cubicBezTo>
                  <a:cubicBezTo>
                    <a:pt x="184" y="43"/>
                    <a:pt x="184" y="43"/>
                    <a:pt x="184" y="43"/>
                  </a:cubicBezTo>
                  <a:cubicBezTo>
                    <a:pt x="184" y="43"/>
                    <a:pt x="184" y="44"/>
                    <a:pt x="184" y="44"/>
                  </a:cubicBezTo>
                  <a:cubicBezTo>
                    <a:pt x="184" y="45"/>
                    <a:pt x="184" y="45"/>
                    <a:pt x="184" y="45"/>
                  </a:cubicBezTo>
                  <a:cubicBezTo>
                    <a:pt x="184" y="46"/>
                    <a:pt x="183" y="51"/>
                    <a:pt x="179" y="51"/>
                  </a:cubicBezTo>
                  <a:cubicBezTo>
                    <a:pt x="178" y="51"/>
                    <a:pt x="178" y="51"/>
                    <a:pt x="178" y="51"/>
                  </a:cubicBezTo>
                  <a:cubicBezTo>
                    <a:pt x="163" y="50"/>
                    <a:pt x="163" y="50"/>
                    <a:pt x="163" y="50"/>
                  </a:cubicBezTo>
                  <a:cubicBezTo>
                    <a:pt x="162" y="50"/>
                    <a:pt x="162" y="50"/>
                    <a:pt x="161" y="50"/>
                  </a:cubicBezTo>
                  <a:cubicBezTo>
                    <a:pt x="161" y="50"/>
                    <a:pt x="161" y="50"/>
                    <a:pt x="160" y="50"/>
                  </a:cubicBezTo>
                  <a:cubicBezTo>
                    <a:pt x="158" y="50"/>
                    <a:pt x="157" y="50"/>
                    <a:pt x="155" y="50"/>
                  </a:cubicBezTo>
                  <a:cubicBezTo>
                    <a:pt x="154" y="51"/>
                    <a:pt x="154" y="51"/>
                    <a:pt x="154" y="51"/>
                  </a:cubicBezTo>
                  <a:cubicBezTo>
                    <a:pt x="154" y="51"/>
                    <a:pt x="154" y="51"/>
                    <a:pt x="154" y="51"/>
                  </a:cubicBezTo>
                  <a:cubicBezTo>
                    <a:pt x="153" y="53"/>
                    <a:pt x="151" y="54"/>
                    <a:pt x="150" y="54"/>
                  </a:cubicBezTo>
                  <a:cubicBezTo>
                    <a:pt x="149" y="54"/>
                    <a:pt x="149" y="54"/>
                    <a:pt x="149" y="53"/>
                  </a:cubicBezTo>
                  <a:cubicBezTo>
                    <a:pt x="142" y="53"/>
                    <a:pt x="142" y="53"/>
                    <a:pt x="142" y="53"/>
                  </a:cubicBezTo>
                  <a:cubicBezTo>
                    <a:pt x="136" y="53"/>
                    <a:pt x="135" y="52"/>
                    <a:pt x="132" y="47"/>
                  </a:cubicBezTo>
                  <a:cubicBezTo>
                    <a:pt x="128" y="40"/>
                    <a:pt x="128" y="40"/>
                    <a:pt x="128" y="40"/>
                  </a:cubicBezTo>
                  <a:cubicBezTo>
                    <a:pt x="128" y="40"/>
                    <a:pt x="127" y="39"/>
                    <a:pt x="127" y="38"/>
                  </a:cubicBezTo>
                  <a:cubicBezTo>
                    <a:pt x="126" y="38"/>
                    <a:pt x="126" y="38"/>
                    <a:pt x="126" y="38"/>
                  </a:cubicBezTo>
                  <a:cubicBezTo>
                    <a:pt x="125" y="36"/>
                    <a:pt x="123" y="33"/>
                    <a:pt x="122" y="30"/>
                  </a:cubicBezTo>
                  <a:cubicBezTo>
                    <a:pt x="119" y="23"/>
                    <a:pt x="117" y="18"/>
                    <a:pt x="115" y="10"/>
                  </a:cubicBezTo>
                  <a:cubicBezTo>
                    <a:pt x="114" y="2"/>
                    <a:pt x="113" y="1"/>
                    <a:pt x="113" y="1"/>
                  </a:cubicBezTo>
                  <a:cubicBezTo>
                    <a:pt x="113" y="1"/>
                    <a:pt x="112" y="1"/>
                    <a:pt x="109" y="1"/>
                  </a:cubicBezTo>
                  <a:cubicBezTo>
                    <a:pt x="107" y="1"/>
                    <a:pt x="107" y="1"/>
                    <a:pt x="107" y="1"/>
                  </a:cubicBezTo>
                  <a:cubicBezTo>
                    <a:pt x="106" y="1"/>
                    <a:pt x="105" y="1"/>
                    <a:pt x="104" y="1"/>
                  </a:cubicBezTo>
                  <a:cubicBezTo>
                    <a:pt x="103" y="0"/>
                    <a:pt x="103" y="0"/>
                    <a:pt x="101" y="0"/>
                  </a:cubicBezTo>
                  <a:cubicBezTo>
                    <a:pt x="101" y="0"/>
                    <a:pt x="100" y="0"/>
                    <a:pt x="99" y="0"/>
                  </a:cubicBezTo>
                  <a:cubicBezTo>
                    <a:pt x="73" y="1"/>
                    <a:pt x="73" y="1"/>
                    <a:pt x="73" y="1"/>
                  </a:cubicBezTo>
                  <a:cubicBezTo>
                    <a:pt x="72" y="1"/>
                    <a:pt x="71" y="1"/>
                    <a:pt x="69" y="1"/>
                  </a:cubicBezTo>
                  <a:cubicBezTo>
                    <a:pt x="65" y="1"/>
                    <a:pt x="61" y="1"/>
                    <a:pt x="58" y="1"/>
                  </a:cubicBezTo>
                  <a:cubicBezTo>
                    <a:pt x="56" y="1"/>
                    <a:pt x="56" y="1"/>
                    <a:pt x="56" y="1"/>
                  </a:cubicBezTo>
                  <a:cubicBezTo>
                    <a:pt x="54" y="1"/>
                    <a:pt x="52" y="0"/>
                    <a:pt x="49" y="0"/>
                  </a:cubicBezTo>
                  <a:cubicBezTo>
                    <a:pt x="47" y="0"/>
                    <a:pt x="45" y="0"/>
                    <a:pt x="43" y="0"/>
                  </a:cubicBezTo>
                  <a:cubicBezTo>
                    <a:pt x="41" y="0"/>
                    <a:pt x="41" y="0"/>
                    <a:pt x="41" y="0"/>
                  </a:cubicBezTo>
                  <a:cubicBezTo>
                    <a:pt x="41" y="0"/>
                    <a:pt x="41" y="0"/>
                    <a:pt x="41" y="0"/>
                  </a:cubicBezTo>
                  <a:cubicBezTo>
                    <a:pt x="37" y="0"/>
                    <a:pt x="33" y="0"/>
                    <a:pt x="29" y="0"/>
                  </a:cubicBezTo>
                  <a:cubicBezTo>
                    <a:pt x="29" y="0"/>
                    <a:pt x="29"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 name="Freeform 220">
              <a:extLst>
                <a:ext uri="{FF2B5EF4-FFF2-40B4-BE49-F238E27FC236}">
                  <a16:creationId xmlns:a16="http://schemas.microsoft.com/office/drawing/2014/main" id="{CFBF2E7E-78F8-4EE1-9B99-977C14759314}"/>
                </a:ext>
              </a:extLst>
            </p:cNvPr>
            <p:cNvSpPr>
              <a:spLocks/>
            </p:cNvSpPr>
            <p:nvPr/>
          </p:nvSpPr>
          <p:spPr bwMode="auto">
            <a:xfrm>
              <a:off x="4892" y="3218"/>
              <a:ext cx="633" cy="544"/>
            </a:xfrm>
            <a:custGeom>
              <a:avLst/>
              <a:gdLst>
                <a:gd name="T0" fmla="*/ 163 w 268"/>
                <a:gd name="T1" fmla="*/ 6 h 230"/>
                <a:gd name="T2" fmla="*/ 157 w 268"/>
                <a:gd name="T3" fmla="*/ 16 h 230"/>
                <a:gd name="T4" fmla="*/ 154 w 268"/>
                <a:gd name="T5" fmla="*/ 26 h 230"/>
                <a:gd name="T6" fmla="*/ 155 w 268"/>
                <a:gd name="T7" fmla="*/ 29 h 230"/>
                <a:gd name="T8" fmla="*/ 156 w 268"/>
                <a:gd name="T9" fmla="*/ 39 h 230"/>
                <a:gd name="T10" fmla="*/ 155 w 268"/>
                <a:gd name="T11" fmla="*/ 46 h 230"/>
                <a:gd name="T12" fmla="*/ 154 w 268"/>
                <a:gd name="T13" fmla="*/ 83 h 230"/>
                <a:gd name="T14" fmla="*/ 164 w 268"/>
                <a:gd name="T15" fmla="*/ 93 h 230"/>
                <a:gd name="T16" fmla="*/ 167 w 268"/>
                <a:gd name="T17" fmla="*/ 93 h 230"/>
                <a:gd name="T18" fmla="*/ 177 w 268"/>
                <a:gd name="T19" fmla="*/ 89 h 230"/>
                <a:gd name="T20" fmla="*/ 182 w 268"/>
                <a:gd name="T21" fmla="*/ 124 h 230"/>
                <a:gd name="T22" fmla="*/ 178 w 268"/>
                <a:gd name="T23" fmla="*/ 125 h 230"/>
                <a:gd name="T24" fmla="*/ 173 w 268"/>
                <a:gd name="T25" fmla="*/ 121 h 230"/>
                <a:gd name="T26" fmla="*/ 160 w 268"/>
                <a:gd name="T27" fmla="*/ 121 h 230"/>
                <a:gd name="T28" fmla="*/ 138 w 268"/>
                <a:gd name="T29" fmla="*/ 98 h 230"/>
                <a:gd name="T30" fmla="*/ 123 w 268"/>
                <a:gd name="T31" fmla="*/ 89 h 230"/>
                <a:gd name="T32" fmla="*/ 118 w 268"/>
                <a:gd name="T33" fmla="*/ 80 h 230"/>
                <a:gd name="T34" fmla="*/ 112 w 268"/>
                <a:gd name="T35" fmla="*/ 89 h 230"/>
                <a:gd name="T36" fmla="*/ 85 w 268"/>
                <a:gd name="T37" fmla="*/ 86 h 230"/>
                <a:gd name="T38" fmla="*/ 72 w 268"/>
                <a:gd name="T39" fmla="*/ 72 h 230"/>
                <a:gd name="T40" fmla="*/ 64 w 268"/>
                <a:gd name="T41" fmla="*/ 73 h 230"/>
                <a:gd name="T42" fmla="*/ 52 w 268"/>
                <a:gd name="T43" fmla="*/ 77 h 230"/>
                <a:gd name="T44" fmla="*/ 51 w 268"/>
                <a:gd name="T45" fmla="*/ 69 h 230"/>
                <a:gd name="T46" fmla="*/ 48 w 268"/>
                <a:gd name="T47" fmla="*/ 85 h 230"/>
                <a:gd name="T48" fmla="*/ 45 w 268"/>
                <a:gd name="T49" fmla="*/ 105 h 230"/>
                <a:gd name="T50" fmla="*/ 48 w 268"/>
                <a:gd name="T51" fmla="*/ 114 h 230"/>
                <a:gd name="T52" fmla="*/ 1 w 268"/>
                <a:gd name="T53" fmla="*/ 113 h 230"/>
                <a:gd name="T54" fmla="*/ 0 w 268"/>
                <a:gd name="T55" fmla="*/ 116 h 230"/>
                <a:gd name="T56" fmla="*/ 0 w 268"/>
                <a:gd name="T57" fmla="*/ 185 h 230"/>
                <a:gd name="T58" fmla="*/ 29 w 268"/>
                <a:gd name="T59" fmla="*/ 217 h 230"/>
                <a:gd name="T60" fmla="*/ 32 w 268"/>
                <a:gd name="T61" fmla="*/ 219 h 230"/>
                <a:gd name="T62" fmla="*/ 49 w 268"/>
                <a:gd name="T63" fmla="*/ 216 h 230"/>
                <a:gd name="T64" fmla="*/ 70 w 268"/>
                <a:gd name="T65" fmla="*/ 220 h 230"/>
                <a:gd name="T66" fmla="*/ 75 w 268"/>
                <a:gd name="T67" fmla="*/ 223 h 230"/>
                <a:gd name="T68" fmla="*/ 103 w 268"/>
                <a:gd name="T69" fmla="*/ 230 h 230"/>
                <a:gd name="T70" fmla="*/ 108 w 268"/>
                <a:gd name="T71" fmla="*/ 230 h 230"/>
                <a:gd name="T72" fmla="*/ 115 w 268"/>
                <a:gd name="T73" fmla="*/ 226 h 230"/>
                <a:gd name="T74" fmla="*/ 123 w 268"/>
                <a:gd name="T75" fmla="*/ 217 h 230"/>
                <a:gd name="T76" fmla="*/ 126 w 268"/>
                <a:gd name="T77" fmla="*/ 214 h 230"/>
                <a:gd name="T78" fmla="*/ 133 w 268"/>
                <a:gd name="T79" fmla="*/ 205 h 230"/>
                <a:gd name="T80" fmla="*/ 145 w 268"/>
                <a:gd name="T81" fmla="*/ 199 h 230"/>
                <a:gd name="T82" fmla="*/ 155 w 268"/>
                <a:gd name="T83" fmla="*/ 189 h 230"/>
                <a:gd name="T84" fmla="*/ 158 w 268"/>
                <a:gd name="T85" fmla="*/ 181 h 230"/>
                <a:gd name="T86" fmla="*/ 180 w 268"/>
                <a:gd name="T87" fmla="*/ 171 h 230"/>
                <a:gd name="T88" fmla="*/ 191 w 268"/>
                <a:gd name="T89" fmla="*/ 172 h 230"/>
                <a:gd name="T90" fmla="*/ 188 w 268"/>
                <a:gd name="T91" fmla="*/ 158 h 230"/>
                <a:gd name="T92" fmla="*/ 251 w 268"/>
                <a:gd name="T93" fmla="*/ 134 h 230"/>
                <a:gd name="T94" fmla="*/ 246 w 268"/>
                <a:gd name="T95" fmla="*/ 126 h 230"/>
                <a:gd name="T96" fmla="*/ 250 w 268"/>
                <a:gd name="T97" fmla="*/ 120 h 230"/>
                <a:gd name="T98" fmla="*/ 254 w 268"/>
                <a:gd name="T99" fmla="*/ 103 h 230"/>
                <a:gd name="T100" fmla="*/ 257 w 268"/>
                <a:gd name="T101" fmla="*/ 98 h 230"/>
                <a:gd name="T102" fmla="*/ 260 w 268"/>
                <a:gd name="T103" fmla="*/ 98 h 230"/>
                <a:gd name="T104" fmla="*/ 259 w 268"/>
                <a:gd name="T105" fmla="*/ 84 h 230"/>
                <a:gd name="T106" fmla="*/ 259 w 268"/>
                <a:gd name="T107" fmla="*/ 71 h 230"/>
                <a:gd name="T108" fmla="*/ 260 w 268"/>
                <a:gd name="T109" fmla="*/ 63 h 230"/>
                <a:gd name="T110" fmla="*/ 261 w 268"/>
                <a:gd name="T111" fmla="*/ 57 h 230"/>
                <a:gd name="T112" fmla="*/ 268 w 268"/>
                <a:gd name="T113" fmla="*/ 52 h 230"/>
                <a:gd name="T114" fmla="*/ 252 w 268"/>
                <a:gd name="T115" fmla="*/ 27 h 230"/>
                <a:gd name="T116" fmla="*/ 229 w 268"/>
                <a:gd name="T117" fmla="*/ 19 h 230"/>
                <a:gd name="T118" fmla="*/ 223 w 268"/>
                <a:gd name="T119" fmla="*/ 15 h 230"/>
                <a:gd name="T120" fmla="*/ 211 w 268"/>
                <a:gd name="T121" fmla="*/ 11 h 230"/>
                <a:gd name="T122" fmla="*/ 200 w 268"/>
                <a:gd name="T123" fmla="*/ 4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8" h="230">
                  <a:moveTo>
                    <a:pt x="197" y="0"/>
                  </a:moveTo>
                  <a:cubicBezTo>
                    <a:pt x="189" y="2"/>
                    <a:pt x="189" y="2"/>
                    <a:pt x="189" y="2"/>
                  </a:cubicBezTo>
                  <a:cubicBezTo>
                    <a:pt x="181" y="3"/>
                    <a:pt x="172" y="4"/>
                    <a:pt x="163" y="6"/>
                  </a:cubicBezTo>
                  <a:cubicBezTo>
                    <a:pt x="163" y="6"/>
                    <a:pt x="163" y="6"/>
                    <a:pt x="163" y="6"/>
                  </a:cubicBezTo>
                  <a:cubicBezTo>
                    <a:pt x="163" y="6"/>
                    <a:pt x="163" y="7"/>
                    <a:pt x="163" y="8"/>
                  </a:cubicBezTo>
                  <a:cubicBezTo>
                    <a:pt x="163" y="10"/>
                    <a:pt x="161" y="12"/>
                    <a:pt x="159" y="14"/>
                  </a:cubicBezTo>
                  <a:cubicBezTo>
                    <a:pt x="159" y="15"/>
                    <a:pt x="159" y="15"/>
                    <a:pt x="159" y="15"/>
                  </a:cubicBezTo>
                  <a:cubicBezTo>
                    <a:pt x="158" y="15"/>
                    <a:pt x="158" y="15"/>
                    <a:pt x="157" y="16"/>
                  </a:cubicBezTo>
                  <a:cubicBezTo>
                    <a:pt x="155" y="18"/>
                    <a:pt x="153" y="20"/>
                    <a:pt x="151" y="21"/>
                  </a:cubicBezTo>
                  <a:cubicBezTo>
                    <a:pt x="152" y="22"/>
                    <a:pt x="152" y="22"/>
                    <a:pt x="152" y="22"/>
                  </a:cubicBezTo>
                  <a:cubicBezTo>
                    <a:pt x="155" y="25"/>
                    <a:pt x="155" y="25"/>
                    <a:pt x="155" y="25"/>
                  </a:cubicBezTo>
                  <a:cubicBezTo>
                    <a:pt x="154" y="26"/>
                    <a:pt x="154" y="26"/>
                    <a:pt x="154" y="26"/>
                  </a:cubicBezTo>
                  <a:cubicBezTo>
                    <a:pt x="154" y="26"/>
                    <a:pt x="154" y="26"/>
                    <a:pt x="154" y="26"/>
                  </a:cubicBezTo>
                  <a:cubicBezTo>
                    <a:pt x="154" y="27"/>
                    <a:pt x="154" y="27"/>
                    <a:pt x="154" y="27"/>
                  </a:cubicBezTo>
                  <a:cubicBezTo>
                    <a:pt x="154" y="27"/>
                    <a:pt x="154" y="27"/>
                    <a:pt x="154" y="27"/>
                  </a:cubicBezTo>
                  <a:cubicBezTo>
                    <a:pt x="154" y="28"/>
                    <a:pt x="155" y="28"/>
                    <a:pt x="155" y="29"/>
                  </a:cubicBezTo>
                  <a:cubicBezTo>
                    <a:pt x="155" y="30"/>
                    <a:pt x="155" y="30"/>
                    <a:pt x="155" y="30"/>
                  </a:cubicBezTo>
                  <a:cubicBezTo>
                    <a:pt x="156" y="32"/>
                    <a:pt x="157" y="33"/>
                    <a:pt x="156" y="36"/>
                  </a:cubicBezTo>
                  <a:cubicBezTo>
                    <a:pt x="156" y="36"/>
                    <a:pt x="156" y="37"/>
                    <a:pt x="156" y="38"/>
                  </a:cubicBezTo>
                  <a:cubicBezTo>
                    <a:pt x="156" y="39"/>
                    <a:pt x="156" y="39"/>
                    <a:pt x="156" y="39"/>
                  </a:cubicBezTo>
                  <a:cubicBezTo>
                    <a:pt x="156" y="40"/>
                    <a:pt x="156" y="41"/>
                    <a:pt x="155" y="42"/>
                  </a:cubicBezTo>
                  <a:cubicBezTo>
                    <a:pt x="155" y="44"/>
                    <a:pt x="155" y="44"/>
                    <a:pt x="155" y="44"/>
                  </a:cubicBezTo>
                  <a:cubicBezTo>
                    <a:pt x="155" y="45"/>
                    <a:pt x="155" y="45"/>
                    <a:pt x="155" y="45"/>
                  </a:cubicBezTo>
                  <a:cubicBezTo>
                    <a:pt x="155" y="46"/>
                    <a:pt x="155" y="46"/>
                    <a:pt x="155" y="46"/>
                  </a:cubicBezTo>
                  <a:cubicBezTo>
                    <a:pt x="156" y="50"/>
                    <a:pt x="155" y="54"/>
                    <a:pt x="154" y="59"/>
                  </a:cubicBezTo>
                  <a:cubicBezTo>
                    <a:pt x="154" y="61"/>
                    <a:pt x="153" y="62"/>
                    <a:pt x="152" y="64"/>
                  </a:cubicBezTo>
                  <a:cubicBezTo>
                    <a:pt x="151" y="69"/>
                    <a:pt x="149" y="74"/>
                    <a:pt x="151" y="79"/>
                  </a:cubicBezTo>
                  <a:cubicBezTo>
                    <a:pt x="152" y="81"/>
                    <a:pt x="152" y="81"/>
                    <a:pt x="154" y="83"/>
                  </a:cubicBezTo>
                  <a:cubicBezTo>
                    <a:pt x="157" y="85"/>
                    <a:pt x="160" y="87"/>
                    <a:pt x="162" y="90"/>
                  </a:cubicBezTo>
                  <a:cubicBezTo>
                    <a:pt x="163" y="91"/>
                    <a:pt x="163" y="91"/>
                    <a:pt x="163" y="92"/>
                  </a:cubicBezTo>
                  <a:cubicBezTo>
                    <a:pt x="164" y="93"/>
                    <a:pt x="164" y="93"/>
                    <a:pt x="164" y="93"/>
                  </a:cubicBezTo>
                  <a:cubicBezTo>
                    <a:pt x="164" y="93"/>
                    <a:pt x="164" y="93"/>
                    <a:pt x="164" y="93"/>
                  </a:cubicBezTo>
                  <a:cubicBezTo>
                    <a:pt x="165" y="93"/>
                    <a:pt x="165" y="93"/>
                    <a:pt x="165" y="93"/>
                  </a:cubicBezTo>
                  <a:cubicBezTo>
                    <a:pt x="165" y="93"/>
                    <a:pt x="165" y="93"/>
                    <a:pt x="165" y="93"/>
                  </a:cubicBezTo>
                  <a:cubicBezTo>
                    <a:pt x="165" y="93"/>
                    <a:pt x="166" y="93"/>
                    <a:pt x="166" y="93"/>
                  </a:cubicBezTo>
                  <a:cubicBezTo>
                    <a:pt x="167" y="93"/>
                    <a:pt x="167" y="93"/>
                    <a:pt x="167" y="93"/>
                  </a:cubicBezTo>
                  <a:cubicBezTo>
                    <a:pt x="168" y="93"/>
                    <a:pt x="169" y="94"/>
                    <a:pt x="169" y="94"/>
                  </a:cubicBezTo>
                  <a:cubicBezTo>
                    <a:pt x="170" y="94"/>
                    <a:pt x="170" y="94"/>
                    <a:pt x="170" y="94"/>
                  </a:cubicBezTo>
                  <a:cubicBezTo>
                    <a:pt x="170" y="93"/>
                    <a:pt x="170" y="92"/>
                    <a:pt x="171" y="91"/>
                  </a:cubicBezTo>
                  <a:cubicBezTo>
                    <a:pt x="173" y="89"/>
                    <a:pt x="175" y="89"/>
                    <a:pt x="177" y="89"/>
                  </a:cubicBezTo>
                  <a:cubicBezTo>
                    <a:pt x="178" y="89"/>
                    <a:pt x="179" y="89"/>
                    <a:pt x="179" y="88"/>
                  </a:cubicBezTo>
                  <a:cubicBezTo>
                    <a:pt x="183" y="86"/>
                    <a:pt x="183" y="86"/>
                    <a:pt x="183" y="86"/>
                  </a:cubicBezTo>
                  <a:cubicBezTo>
                    <a:pt x="184" y="123"/>
                    <a:pt x="184" y="123"/>
                    <a:pt x="184" y="123"/>
                  </a:cubicBezTo>
                  <a:cubicBezTo>
                    <a:pt x="182" y="124"/>
                    <a:pt x="182" y="124"/>
                    <a:pt x="182" y="124"/>
                  </a:cubicBezTo>
                  <a:cubicBezTo>
                    <a:pt x="181" y="125"/>
                    <a:pt x="181" y="125"/>
                    <a:pt x="180" y="125"/>
                  </a:cubicBezTo>
                  <a:cubicBezTo>
                    <a:pt x="179" y="125"/>
                    <a:pt x="179" y="125"/>
                    <a:pt x="179" y="125"/>
                  </a:cubicBezTo>
                  <a:cubicBezTo>
                    <a:pt x="179" y="125"/>
                    <a:pt x="178" y="125"/>
                    <a:pt x="178" y="125"/>
                  </a:cubicBezTo>
                  <a:cubicBezTo>
                    <a:pt x="178" y="125"/>
                    <a:pt x="178" y="125"/>
                    <a:pt x="178" y="125"/>
                  </a:cubicBezTo>
                  <a:cubicBezTo>
                    <a:pt x="177" y="124"/>
                    <a:pt x="177" y="124"/>
                    <a:pt x="176" y="124"/>
                  </a:cubicBezTo>
                  <a:cubicBezTo>
                    <a:pt x="175" y="124"/>
                    <a:pt x="174" y="123"/>
                    <a:pt x="174" y="121"/>
                  </a:cubicBezTo>
                  <a:cubicBezTo>
                    <a:pt x="174" y="120"/>
                    <a:pt x="174" y="120"/>
                    <a:pt x="174" y="120"/>
                  </a:cubicBezTo>
                  <a:cubicBezTo>
                    <a:pt x="173" y="121"/>
                    <a:pt x="173" y="121"/>
                    <a:pt x="173" y="121"/>
                  </a:cubicBezTo>
                  <a:cubicBezTo>
                    <a:pt x="172" y="121"/>
                    <a:pt x="172" y="122"/>
                    <a:pt x="171" y="122"/>
                  </a:cubicBezTo>
                  <a:cubicBezTo>
                    <a:pt x="171" y="122"/>
                    <a:pt x="171" y="122"/>
                    <a:pt x="170" y="122"/>
                  </a:cubicBezTo>
                  <a:cubicBezTo>
                    <a:pt x="169" y="123"/>
                    <a:pt x="167" y="124"/>
                    <a:pt x="165" y="124"/>
                  </a:cubicBezTo>
                  <a:cubicBezTo>
                    <a:pt x="164" y="124"/>
                    <a:pt x="162" y="123"/>
                    <a:pt x="160" y="121"/>
                  </a:cubicBezTo>
                  <a:cubicBezTo>
                    <a:pt x="145" y="100"/>
                    <a:pt x="145" y="100"/>
                    <a:pt x="145" y="100"/>
                  </a:cubicBezTo>
                  <a:cubicBezTo>
                    <a:pt x="145" y="100"/>
                    <a:pt x="144" y="100"/>
                    <a:pt x="143" y="100"/>
                  </a:cubicBezTo>
                  <a:cubicBezTo>
                    <a:pt x="142" y="100"/>
                    <a:pt x="142" y="100"/>
                    <a:pt x="142" y="100"/>
                  </a:cubicBezTo>
                  <a:cubicBezTo>
                    <a:pt x="141" y="99"/>
                    <a:pt x="139" y="98"/>
                    <a:pt x="138" y="98"/>
                  </a:cubicBezTo>
                  <a:cubicBezTo>
                    <a:pt x="137" y="97"/>
                    <a:pt x="135" y="96"/>
                    <a:pt x="134" y="96"/>
                  </a:cubicBezTo>
                  <a:cubicBezTo>
                    <a:pt x="134" y="96"/>
                    <a:pt x="133" y="96"/>
                    <a:pt x="132" y="96"/>
                  </a:cubicBezTo>
                  <a:cubicBezTo>
                    <a:pt x="131" y="96"/>
                    <a:pt x="130" y="96"/>
                    <a:pt x="129" y="96"/>
                  </a:cubicBezTo>
                  <a:cubicBezTo>
                    <a:pt x="126" y="95"/>
                    <a:pt x="124" y="92"/>
                    <a:pt x="123" y="89"/>
                  </a:cubicBezTo>
                  <a:cubicBezTo>
                    <a:pt x="123" y="88"/>
                    <a:pt x="123" y="88"/>
                    <a:pt x="123" y="88"/>
                  </a:cubicBezTo>
                  <a:cubicBezTo>
                    <a:pt x="122" y="88"/>
                    <a:pt x="122" y="87"/>
                    <a:pt x="122" y="87"/>
                  </a:cubicBezTo>
                  <a:cubicBezTo>
                    <a:pt x="122" y="86"/>
                    <a:pt x="121" y="86"/>
                    <a:pt x="121" y="85"/>
                  </a:cubicBezTo>
                  <a:cubicBezTo>
                    <a:pt x="119" y="82"/>
                    <a:pt x="118" y="81"/>
                    <a:pt x="118" y="80"/>
                  </a:cubicBezTo>
                  <a:cubicBezTo>
                    <a:pt x="118" y="81"/>
                    <a:pt x="118" y="81"/>
                    <a:pt x="118" y="81"/>
                  </a:cubicBezTo>
                  <a:cubicBezTo>
                    <a:pt x="117" y="83"/>
                    <a:pt x="117" y="83"/>
                    <a:pt x="117" y="83"/>
                  </a:cubicBezTo>
                  <a:cubicBezTo>
                    <a:pt x="117" y="84"/>
                    <a:pt x="117" y="87"/>
                    <a:pt x="115" y="88"/>
                  </a:cubicBezTo>
                  <a:cubicBezTo>
                    <a:pt x="114" y="89"/>
                    <a:pt x="113" y="89"/>
                    <a:pt x="112" y="89"/>
                  </a:cubicBezTo>
                  <a:cubicBezTo>
                    <a:pt x="112" y="89"/>
                    <a:pt x="111" y="89"/>
                    <a:pt x="111" y="89"/>
                  </a:cubicBezTo>
                  <a:cubicBezTo>
                    <a:pt x="87" y="86"/>
                    <a:pt x="87" y="86"/>
                    <a:pt x="87" y="86"/>
                  </a:cubicBezTo>
                  <a:cubicBezTo>
                    <a:pt x="87" y="86"/>
                    <a:pt x="86" y="86"/>
                    <a:pt x="86" y="86"/>
                  </a:cubicBezTo>
                  <a:cubicBezTo>
                    <a:pt x="85" y="86"/>
                    <a:pt x="85" y="86"/>
                    <a:pt x="85" y="86"/>
                  </a:cubicBezTo>
                  <a:cubicBezTo>
                    <a:pt x="83" y="86"/>
                    <a:pt x="80" y="85"/>
                    <a:pt x="78" y="84"/>
                  </a:cubicBezTo>
                  <a:cubicBezTo>
                    <a:pt x="77" y="84"/>
                    <a:pt x="77" y="83"/>
                    <a:pt x="76" y="82"/>
                  </a:cubicBezTo>
                  <a:cubicBezTo>
                    <a:pt x="75" y="81"/>
                    <a:pt x="75" y="81"/>
                    <a:pt x="74" y="80"/>
                  </a:cubicBezTo>
                  <a:cubicBezTo>
                    <a:pt x="72" y="77"/>
                    <a:pt x="72" y="75"/>
                    <a:pt x="72" y="72"/>
                  </a:cubicBezTo>
                  <a:cubicBezTo>
                    <a:pt x="71" y="72"/>
                    <a:pt x="70" y="72"/>
                    <a:pt x="69" y="73"/>
                  </a:cubicBezTo>
                  <a:cubicBezTo>
                    <a:pt x="68" y="73"/>
                    <a:pt x="68" y="73"/>
                    <a:pt x="68" y="73"/>
                  </a:cubicBezTo>
                  <a:cubicBezTo>
                    <a:pt x="67" y="73"/>
                    <a:pt x="66" y="73"/>
                    <a:pt x="65" y="73"/>
                  </a:cubicBezTo>
                  <a:cubicBezTo>
                    <a:pt x="65" y="73"/>
                    <a:pt x="65" y="73"/>
                    <a:pt x="64" y="73"/>
                  </a:cubicBezTo>
                  <a:cubicBezTo>
                    <a:pt x="63" y="74"/>
                    <a:pt x="63" y="74"/>
                    <a:pt x="62" y="75"/>
                  </a:cubicBezTo>
                  <a:cubicBezTo>
                    <a:pt x="60" y="75"/>
                    <a:pt x="60" y="75"/>
                    <a:pt x="60" y="75"/>
                  </a:cubicBezTo>
                  <a:cubicBezTo>
                    <a:pt x="60" y="76"/>
                    <a:pt x="56" y="77"/>
                    <a:pt x="54" y="77"/>
                  </a:cubicBezTo>
                  <a:cubicBezTo>
                    <a:pt x="53" y="77"/>
                    <a:pt x="52" y="77"/>
                    <a:pt x="52" y="77"/>
                  </a:cubicBezTo>
                  <a:cubicBezTo>
                    <a:pt x="50" y="76"/>
                    <a:pt x="49" y="75"/>
                    <a:pt x="48" y="73"/>
                  </a:cubicBezTo>
                  <a:cubicBezTo>
                    <a:pt x="48" y="71"/>
                    <a:pt x="48" y="71"/>
                    <a:pt x="48" y="71"/>
                  </a:cubicBezTo>
                  <a:cubicBezTo>
                    <a:pt x="50" y="70"/>
                    <a:pt x="50" y="70"/>
                    <a:pt x="50" y="70"/>
                  </a:cubicBezTo>
                  <a:cubicBezTo>
                    <a:pt x="50" y="70"/>
                    <a:pt x="50" y="69"/>
                    <a:pt x="51" y="69"/>
                  </a:cubicBezTo>
                  <a:cubicBezTo>
                    <a:pt x="51" y="69"/>
                    <a:pt x="51" y="69"/>
                    <a:pt x="51" y="69"/>
                  </a:cubicBezTo>
                  <a:cubicBezTo>
                    <a:pt x="50" y="68"/>
                    <a:pt x="48" y="67"/>
                    <a:pt x="47" y="66"/>
                  </a:cubicBezTo>
                  <a:cubicBezTo>
                    <a:pt x="47" y="80"/>
                    <a:pt x="47" y="80"/>
                    <a:pt x="47" y="80"/>
                  </a:cubicBezTo>
                  <a:cubicBezTo>
                    <a:pt x="47" y="81"/>
                    <a:pt x="48" y="83"/>
                    <a:pt x="48" y="85"/>
                  </a:cubicBezTo>
                  <a:cubicBezTo>
                    <a:pt x="48" y="89"/>
                    <a:pt x="49" y="94"/>
                    <a:pt x="48" y="97"/>
                  </a:cubicBezTo>
                  <a:cubicBezTo>
                    <a:pt x="48" y="98"/>
                    <a:pt x="47" y="99"/>
                    <a:pt x="47" y="100"/>
                  </a:cubicBezTo>
                  <a:cubicBezTo>
                    <a:pt x="47" y="100"/>
                    <a:pt x="46" y="101"/>
                    <a:pt x="46" y="102"/>
                  </a:cubicBezTo>
                  <a:cubicBezTo>
                    <a:pt x="46" y="103"/>
                    <a:pt x="45" y="104"/>
                    <a:pt x="45" y="105"/>
                  </a:cubicBezTo>
                  <a:cubicBezTo>
                    <a:pt x="45" y="105"/>
                    <a:pt x="45" y="105"/>
                    <a:pt x="45" y="105"/>
                  </a:cubicBezTo>
                  <a:cubicBezTo>
                    <a:pt x="44" y="106"/>
                    <a:pt x="44" y="106"/>
                    <a:pt x="45" y="107"/>
                  </a:cubicBezTo>
                  <a:cubicBezTo>
                    <a:pt x="46" y="108"/>
                    <a:pt x="46" y="109"/>
                    <a:pt x="47" y="110"/>
                  </a:cubicBezTo>
                  <a:cubicBezTo>
                    <a:pt x="48" y="114"/>
                    <a:pt x="48" y="114"/>
                    <a:pt x="48" y="114"/>
                  </a:cubicBezTo>
                  <a:cubicBezTo>
                    <a:pt x="20" y="114"/>
                    <a:pt x="20" y="114"/>
                    <a:pt x="20" y="114"/>
                  </a:cubicBezTo>
                  <a:cubicBezTo>
                    <a:pt x="19" y="114"/>
                    <a:pt x="17" y="114"/>
                    <a:pt x="15" y="114"/>
                  </a:cubicBezTo>
                  <a:cubicBezTo>
                    <a:pt x="12" y="113"/>
                    <a:pt x="8" y="113"/>
                    <a:pt x="5" y="113"/>
                  </a:cubicBezTo>
                  <a:cubicBezTo>
                    <a:pt x="4" y="113"/>
                    <a:pt x="2" y="113"/>
                    <a:pt x="1" y="113"/>
                  </a:cubicBezTo>
                  <a:cubicBezTo>
                    <a:pt x="0" y="113"/>
                    <a:pt x="0" y="114"/>
                    <a:pt x="0" y="114"/>
                  </a:cubicBezTo>
                  <a:cubicBezTo>
                    <a:pt x="0" y="114"/>
                    <a:pt x="0" y="114"/>
                    <a:pt x="0" y="115"/>
                  </a:cubicBezTo>
                  <a:cubicBezTo>
                    <a:pt x="0" y="115"/>
                    <a:pt x="0" y="115"/>
                    <a:pt x="0" y="115"/>
                  </a:cubicBezTo>
                  <a:cubicBezTo>
                    <a:pt x="0" y="115"/>
                    <a:pt x="0" y="116"/>
                    <a:pt x="0" y="116"/>
                  </a:cubicBezTo>
                  <a:cubicBezTo>
                    <a:pt x="0" y="124"/>
                    <a:pt x="0" y="124"/>
                    <a:pt x="0" y="124"/>
                  </a:cubicBezTo>
                  <a:cubicBezTo>
                    <a:pt x="0" y="176"/>
                    <a:pt x="0" y="176"/>
                    <a:pt x="0" y="176"/>
                  </a:cubicBezTo>
                  <a:cubicBezTo>
                    <a:pt x="0" y="178"/>
                    <a:pt x="0" y="178"/>
                    <a:pt x="0" y="178"/>
                  </a:cubicBezTo>
                  <a:cubicBezTo>
                    <a:pt x="0" y="181"/>
                    <a:pt x="0" y="183"/>
                    <a:pt x="0" y="185"/>
                  </a:cubicBezTo>
                  <a:cubicBezTo>
                    <a:pt x="0" y="187"/>
                    <a:pt x="0" y="187"/>
                    <a:pt x="0" y="187"/>
                  </a:cubicBezTo>
                  <a:cubicBezTo>
                    <a:pt x="1" y="190"/>
                    <a:pt x="2" y="193"/>
                    <a:pt x="4" y="195"/>
                  </a:cubicBezTo>
                  <a:cubicBezTo>
                    <a:pt x="29" y="216"/>
                    <a:pt x="29" y="216"/>
                    <a:pt x="29" y="216"/>
                  </a:cubicBezTo>
                  <a:cubicBezTo>
                    <a:pt x="29" y="217"/>
                    <a:pt x="29" y="217"/>
                    <a:pt x="29" y="217"/>
                  </a:cubicBezTo>
                  <a:cubicBezTo>
                    <a:pt x="30" y="217"/>
                    <a:pt x="30" y="217"/>
                    <a:pt x="30" y="217"/>
                  </a:cubicBezTo>
                  <a:cubicBezTo>
                    <a:pt x="30" y="218"/>
                    <a:pt x="30" y="218"/>
                    <a:pt x="30" y="218"/>
                  </a:cubicBezTo>
                  <a:cubicBezTo>
                    <a:pt x="32" y="219"/>
                    <a:pt x="32" y="219"/>
                    <a:pt x="32" y="219"/>
                  </a:cubicBezTo>
                  <a:cubicBezTo>
                    <a:pt x="32" y="219"/>
                    <a:pt x="32" y="219"/>
                    <a:pt x="32" y="219"/>
                  </a:cubicBezTo>
                  <a:cubicBezTo>
                    <a:pt x="32" y="219"/>
                    <a:pt x="32" y="219"/>
                    <a:pt x="32" y="219"/>
                  </a:cubicBezTo>
                  <a:cubicBezTo>
                    <a:pt x="33" y="219"/>
                    <a:pt x="35" y="219"/>
                    <a:pt x="36" y="218"/>
                  </a:cubicBezTo>
                  <a:cubicBezTo>
                    <a:pt x="37" y="218"/>
                    <a:pt x="37" y="218"/>
                    <a:pt x="37" y="218"/>
                  </a:cubicBezTo>
                  <a:cubicBezTo>
                    <a:pt x="40" y="217"/>
                    <a:pt x="45" y="216"/>
                    <a:pt x="49" y="216"/>
                  </a:cubicBezTo>
                  <a:cubicBezTo>
                    <a:pt x="50" y="216"/>
                    <a:pt x="50" y="216"/>
                    <a:pt x="51" y="216"/>
                  </a:cubicBezTo>
                  <a:cubicBezTo>
                    <a:pt x="52" y="216"/>
                    <a:pt x="53" y="216"/>
                    <a:pt x="54" y="216"/>
                  </a:cubicBezTo>
                  <a:cubicBezTo>
                    <a:pt x="58" y="216"/>
                    <a:pt x="62" y="217"/>
                    <a:pt x="66" y="218"/>
                  </a:cubicBezTo>
                  <a:cubicBezTo>
                    <a:pt x="68" y="218"/>
                    <a:pt x="69" y="219"/>
                    <a:pt x="70" y="220"/>
                  </a:cubicBezTo>
                  <a:cubicBezTo>
                    <a:pt x="71" y="220"/>
                    <a:pt x="71" y="220"/>
                    <a:pt x="71" y="220"/>
                  </a:cubicBezTo>
                  <a:cubicBezTo>
                    <a:pt x="71" y="221"/>
                    <a:pt x="72" y="221"/>
                    <a:pt x="72" y="221"/>
                  </a:cubicBezTo>
                  <a:cubicBezTo>
                    <a:pt x="72" y="221"/>
                    <a:pt x="72" y="221"/>
                    <a:pt x="72" y="221"/>
                  </a:cubicBezTo>
                  <a:cubicBezTo>
                    <a:pt x="75" y="223"/>
                    <a:pt x="75" y="223"/>
                    <a:pt x="75" y="223"/>
                  </a:cubicBezTo>
                  <a:cubicBezTo>
                    <a:pt x="75" y="224"/>
                    <a:pt x="75" y="224"/>
                    <a:pt x="75" y="224"/>
                  </a:cubicBezTo>
                  <a:cubicBezTo>
                    <a:pt x="75" y="224"/>
                    <a:pt x="75" y="224"/>
                    <a:pt x="75" y="224"/>
                  </a:cubicBezTo>
                  <a:cubicBezTo>
                    <a:pt x="101" y="229"/>
                    <a:pt x="101" y="229"/>
                    <a:pt x="101" y="229"/>
                  </a:cubicBezTo>
                  <a:cubicBezTo>
                    <a:pt x="102" y="229"/>
                    <a:pt x="102" y="229"/>
                    <a:pt x="103" y="230"/>
                  </a:cubicBezTo>
                  <a:cubicBezTo>
                    <a:pt x="104" y="230"/>
                    <a:pt x="105" y="230"/>
                    <a:pt x="105" y="230"/>
                  </a:cubicBezTo>
                  <a:cubicBezTo>
                    <a:pt x="106" y="230"/>
                    <a:pt x="106" y="230"/>
                    <a:pt x="106" y="230"/>
                  </a:cubicBezTo>
                  <a:cubicBezTo>
                    <a:pt x="105" y="225"/>
                    <a:pt x="105" y="225"/>
                    <a:pt x="105" y="225"/>
                  </a:cubicBezTo>
                  <a:cubicBezTo>
                    <a:pt x="108" y="230"/>
                    <a:pt x="108" y="230"/>
                    <a:pt x="108" y="230"/>
                  </a:cubicBezTo>
                  <a:cubicBezTo>
                    <a:pt x="108" y="230"/>
                    <a:pt x="108" y="230"/>
                    <a:pt x="108" y="230"/>
                  </a:cubicBezTo>
                  <a:cubicBezTo>
                    <a:pt x="109" y="229"/>
                    <a:pt x="109" y="229"/>
                    <a:pt x="110" y="229"/>
                  </a:cubicBezTo>
                  <a:cubicBezTo>
                    <a:pt x="111" y="229"/>
                    <a:pt x="111" y="229"/>
                    <a:pt x="112" y="229"/>
                  </a:cubicBezTo>
                  <a:cubicBezTo>
                    <a:pt x="113" y="228"/>
                    <a:pt x="114" y="227"/>
                    <a:pt x="115" y="226"/>
                  </a:cubicBezTo>
                  <a:cubicBezTo>
                    <a:pt x="115" y="226"/>
                    <a:pt x="115" y="225"/>
                    <a:pt x="116" y="225"/>
                  </a:cubicBezTo>
                  <a:cubicBezTo>
                    <a:pt x="116" y="224"/>
                    <a:pt x="117" y="223"/>
                    <a:pt x="118" y="222"/>
                  </a:cubicBezTo>
                  <a:cubicBezTo>
                    <a:pt x="118" y="222"/>
                    <a:pt x="118" y="222"/>
                    <a:pt x="118" y="222"/>
                  </a:cubicBezTo>
                  <a:cubicBezTo>
                    <a:pt x="120" y="220"/>
                    <a:pt x="121" y="219"/>
                    <a:pt x="123" y="217"/>
                  </a:cubicBezTo>
                  <a:cubicBezTo>
                    <a:pt x="123" y="217"/>
                    <a:pt x="123" y="217"/>
                    <a:pt x="123" y="217"/>
                  </a:cubicBezTo>
                  <a:cubicBezTo>
                    <a:pt x="124" y="216"/>
                    <a:pt x="124" y="216"/>
                    <a:pt x="124" y="216"/>
                  </a:cubicBezTo>
                  <a:cubicBezTo>
                    <a:pt x="124" y="216"/>
                    <a:pt x="125" y="215"/>
                    <a:pt x="125" y="215"/>
                  </a:cubicBezTo>
                  <a:cubicBezTo>
                    <a:pt x="126" y="214"/>
                    <a:pt x="126" y="214"/>
                    <a:pt x="126" y="214"/>
                  </a:cubicBezTo>
                  <a:cubicBezTo>
                    <a:pt x="126" y="214"/>
                    <a:pt x="126" y="213"/>
                    <a:pt x="127" y="212"/>
                  </a:cubicBezTo>
                  <a:cubicBezTo>
                    <a:pt x="127" y="212"/>
                    <a:pt x="127" y="212"/>
                    <a:pt x="127" y="212"/>
                  </a:cubicBezTo>
                  <a:cubicBezTo>
                    <a:pt x="127" y="211"/>
                    <a:pt x="128" y="211"/>
                    <a:pt x="128" y="210"/>
                  </a:cubicBezTo>
                  <a:cubicBezTo>
                    <a:pt x="129" y="208"/>
                    <a:pt x="131" y="206"/>
                    <a:pt x="133" y="205"/>
                  </a:cubicBezTo>
                  <a:cubicBezTo>
                    <a:pt x="134" y="204"/>
                    <a:pt x="136" y="202"/>
                    <a:pt x="138" y="201"/>
                  </a:cubicBezTo>
                  <a:cubicBezTo>
                    <a:pt x="140" y="200"/>
                    <a:pt x="140" y="200"/>
                    <a:pt x="140" y="200"/>
                  </a:cubicBezTo>
                  <a:cubicBezTo>
                    <a:pt x="141" y="200"/>
                    <a:pt x="141" y="200"/>
                    <a:pt x="141" y="200"/>
                  </a:cubicBezTo>
                  <a:cubicBezTo>
                    <a:pt x="142" y="200"/>
                    <a:pt x="143" y="199"/>
                    <a:pt x="145" y="199"/>
                  </a:cubicBezTo>
                  <a:cubicBezTo>
                    <a:pt x="145" y="198"/>
                    <a:pt x="145" y="198"/>
                    <a:pt x="145" y="198"/>
                  </a:cubicBezTo>
                  <a:cubicBezTo>
                    <a:pt x="150" y="197"/>
                    <a:pt x="155" y="195"/>
                    <a:pt x="155" y="191"/>
                  </a:cubicBezTo>
                  <a:cubicBezTo>
                    <a:pt x="155" y="190"/>
                    <a:pt x="155" y="190"/>
                    <a:pt x="155" y="190"/>
                  </a:cubicBezTo>
                  <a:cubicBezTo>
                    <a:pt x="155" y="189"/>
                    <a:pt x="155" y="189"/>
                    <a:pt x="155" y="189"/>
                  </a:cubicBezTo>
                  <a:cubicBezTo>
                    <a:pt x="155" y="188"/>
                    <a:pt x="155" y="188"/>
                    <a:pt x="155" y="187"/>
                  </a:cubicBezTo>
                  <a:cubicBezTo>
                    <a:pt x="156" y="186"/>
                    <a:pt x="156" y="186"/>
                    <a:pt x="156" y="186"/>
                  </a:cubicBezTo>
                  <a:cubicBezTo>
                    <a:pt x="156" y="185"/>
                    <a:pt x="157" y="183"/>
                    <a:pt x="158" y="181"/>
                  </a:cubicBezTo>
                  <a:cubicBezTo>
                    <a:pt x="158" y="181"/>
                    <a:pt x="158" y="181"/>
                    <a:pt x="158" y="181"/>
                  </a:cubicBezTo>
                  <a:cubicBezTo>
                    <a:pt x="159" y="180"/>
                    <a:pt x="159" y="180"/>
                    <a:pt x="159" y="180"/>
                  </a:cubicBezTo>
                  <a:cubicBezTo>
                    <a:pt x="160" y="179"/>
                    <a:pt x="161" y="179"/>
                    <a:pt x="162" y="178"/>
                  </a:cubicBezTo>
                  <a:cubicBezTo>
                    <a:pt x="163" y="177"/>
                    <a:pt x="163" y="177"/>
                    <a:pt x="163" y="177"/>
                  </a:cubicBezTo>
                  <a:cubicBezTo>
                    <a:pt x="168" y="175"/>
                    <a:pt x="174" y="172"/>
                    <a:pt x="180" y="171"/>
                  </a:cubicBezTo>
                  <a:cubicBezTo>
                    <a:pt x="181" y="171"/>
                    <a:pt x="182" y="171"/>
                    <a:pt x="182" y="171"/>
                  </a:cubicBezTo>
                  <a:cubicBezTo>
                    <a:pt x="183" y="171"/>
                    <a:pt x="183" y="171"/>
                    <a:pt x="184" y="171"/>
                  </a:cubicBezTo>
                  <a:cubicBezTo>
                    <a:pt x="185" y="171"/>
                    <a:pt x="186" y="171"/>
                    <a:pt x="187" y="171"/>
                  </a:cubicBezTo>
                  <a:cubicBezTo>
                    <a:pt x="189" y="171"/>
                    <a:pt x="190" y="172"/>
                    <a:pt x="191" y="172"/>
                  </a:cubicBezTo>
                  <a:cubicBezTo>
                    <a:pt x="191" y="171"/>
                    <a:pt x="191" y="171"/>
                    <a:pt x="191" y="171"/>
                  </a:cubicBezTo>
                  <a:cubicBezTo>
                    <a:pt x="190" y="168"/>
                    <a:pt x="188" y="164"/>
                    <a:pt x="188" y="161"/>
                  </a:cubicBezTo>
                  <a:cubicBezTo>
                    <a:pt x="187" y="160"/>
                    <a:pt x="187" y="160"/>
                    <a:pt x="187" y="159"/>
                  </a:cubicBezTo>
                  <a:cubicBezTo>
                    <a:pt x="187" y="159"/>
                    <a:pt x="187" y="158"/>
                    <a:pt x="188" y="158"/>
                  </a:cubicBezTo>
                  <a:cubicBezTo>
                    <a:pt x="188" y="156"/>
                    <a:pt x="190" y="156"/>
                    <a:pt x="191" y="155"/>
                  </a:cubicBezTo>
                  <a:cubicBezTo>
                    <a:pt x="252" y="135"/>
                    <a:pt x="252" y="135"/>
                    <a:pt x="252" y="135"/>
                  </a:cubicBezTo>
                  <a:cubicBezTo>
                    <a:pt x="252" y="135"/>
                    <a:pt x="252" y="135"/>
                    <a:pt x="252" y="135"/>
                  </a:cubicBezTo>
                  <a:cubicBezTo>
                    <a:pt x="251" y="134"/>
                    <a:pt x="251" y="134"/>
                    <a:pt x="251" y="134"/>
                  </a:cubicBezTo>
                  <a:cubicBezTo>
                    <a:pt x="251" y="133"/>
                    <a:pt x="250" y="133"/>
                    <a:pt x="250" y="132"/>
                  </a:cubicBezTo>
                  <a:cubicBezTo>
                    <a:pt x="248" y="130"/>
                    <a:pt x="248" y="130"/>
                    <a:pt x="248" y="130"/>
                  </a:cubicBezTo>
                  <a:cubicBezTo>
                    <a:pt x="248" y="129"/>
                    <a:pt x="247" y="129"/>
                    <a:pt x="247" y="128"/>
                  </a:cubicBezTo>
                  <a:cubicBezTo>
                    <a:pt x="246" y="127"/>
                    <a:pt x="246" y="126"/>
                    <a:pt x="246" y="126"/>
                  </a:cubicBezTo>
                  <a:cubicBezTo>
                    <a:pt x="246" y="125"/>
                    <a:pt x="246" y="124"/>
                    <a:pt x="247" y="123"/>
                  </a:cubicBezTo>
                  <a:cubicBezTo>
                    <a:pt x="248" y="122"/>
                    <a:pt x="249" y="122"/>
                    <a:pt x="250" y="121"/>
                  </a:cubicBezTo>
                  <a:cubicBezTo>
                    <a:pt x="250" y="121"/>
                    <a:pt x="250" y="121"/>
                    <a:pt x="250" y="121"/>
                  </a:cubicBezTo>
                  <a:cubicBezTo>
                    <a:pt x="250" y="120"/>
                    <a:pt x="250" y="120"/>
                    <a:pt x="250" y="120"/>
                  </a:cubicBezTo>
                  <a:cubicBezTo>
                    <a:pt x="251" y="120"/>
                    <a:pt x="251" y="119"/>
                    <a:pt x="251" y="119"/>
                  </a:cubicBezTo>
                  <a:cubicBezTo>
                    <a:pt x="251" y="118"/>
                    <a:pt x="251" y="118"/>
                    <a:pt x="251" y="118"/>
                  </a:cubicBezTo>
                  <a:cubicBezTo>
                    <a:pt x="252" y="115"/>
                    <a:pt x="253" y="111"/>
                    <a:pt x="253" y="108"/>
                  </a:cubicBezTo>
                  <a:cubicBezTo>
                    <a:pt x="254" y="106"/>
                    <a:pt x="254" y="105"/>
                    <a:pt x="254" y="103"/>
                  </a:cubicBezTo>
                  <a:cubicBezTo>
                    <a:pt x="254" y="102"/>
                    <a:pt x="254" y="102"/>
                    <a:pt x="254" y="102"/>
                  </a:cubicBezTo>
                  <a:cubicBezTo>
                    <a:pt x="254" y="101"/>
                    <a:pt x="254" y="101"/>
                    <a:pt x="255" y="100"/>
                  </a:cubicBezTo>
                  <a:cubicBezTo>
                    <a:pt x="255" y="98"/>
                    <a:pt x="255" y="98"/>
                    <a:pt x="255" y="98"/>
                  </a:cubicBezTo>
                  <a:cubicBezTo>
                    <a:pt x="257" y="98"/>
                    <a:pt x="257" y="98"/>
                    <a:pt x="257" y="98"/>
                  </a:cubicBezTo>
                  <a:cubicBezTo>
                    <a:pt x="257" y="98"/>
                    <a:pt x="258" y="98"/>
                    <a:pt x="258" y="98"/>
                  </a:cubicBezTo>
                  <a:cubicBezTo>
                    <a:pt x="258" y="98"/>
                    <a:pt x="258" y="98"/>
                    <a:pt x="259" y="98"/>
                  </a:cubicBezTo>
                  <a:cubicBezTo>
                    <a:pt x="259" y="98"/>
                    <a:pt x="259" y="98"/>
                    <a:pt x="260" y="98"/>
                  </a:cubicBezTo>
                  <a:cubicBezTo>
                    <a:pt x="260" y="98"/>
                    <a:pt x="260" y="98"/>
                    <a:pt x="260" y="98"/>
                  </a:cubicBezTo>
                  <a:cubicBezTo>
                    <a:pt x="261" y="98"/>
                    <a:pt x="262" y="97"/>
                    <a:pt x="264" y="96"/>
                  </a:cubicBezTo>
                  <a:cubicBezTo>
                    <a:pt x="261" y="94"/>
                    <a:pt x="260" y="92"/>
                    <a:pt x="259" y="88"/>
                  </a:cubicBezTo>
                  <a:cubicBezTo>
                    <a:pt x="259" y="86"/>
                    <a:pt x="259" y="86"/>
                    <a:pt x="259" y="86"/>
                  </a:cubicBezTo>
                  <a:cubicBezTo>
                    <a:pt x="259" y="85"/>
                    <a:pt x="259" y="85"/>
                    <a:pt x="259" y="84"/>
                  </a:cubicBezTo>
                  <a:cubicBezTo>
                    <a:pt x="259" y="83"/>
                    <a:pt x="259" y="83"/>
                    <a:pt x="259" y="83"/>
                  </a:cubicBezTo>
                  <a:cubicBezTo>
                    <a:pt x="259" y="81"/>
                    <a:pt x="259" y="79"/>
                    <a:pt x="259" y="77"/>
                  </a:cubicBezTo>
                  <a:cubicBezTo>
                    <a:pt x="259" y="76"/>
                    <a:pt x="259" y="76"/>
                    <a:pt x="259" y="75"/>
                  </a:cubicBezTo>
                  <a:cubicBezTo>
                    <a:pt x="259" y="74"/>
                    <a:pt x="259" y="72"/>
                    <a:pt x="259" y="71"/>
                  </a:cubicBezTo>
                  <a:cubicBezTo>
                    <a:pt x="260" y="69"/>
                    <a:pt x="260" y="67"/>
                    <a:pt x="260" y="65"/>
                  </a:cubicBezTo>
                  <a:cubicBezTo>
                    <a:pt x="260" y="65"/>
                    <a:pt x="260" y="64"/>
                    <a:pt x="260" y="64"/>
                  </a:cubicBezTo>
                  <a:cubicBezTo>
                    <a:pt x="260" y="63"/>
                    <a:pt x="260" y="63"/>
                    <a:pt x="260" y="63"/>
                  </a:cubicBezTo>
                  <a:cubicBezTo>
                    <a:pt x="260" y="63"/>
                    <a:pt x="260" y="63"/>
                    <a:pt x="260" y="63"/>
                  </a:cubicBezTo>
                  <a:cubicBezTo>
                    <a:pt x="260" y="63"/>
                    <a:pt x="260" y="62"/>
                    <a:pt x="260" y="62"/>
                  </a:cubicBezTo>
                  <a:cubicBezTo>
                    <a:pt x="260" y="61"/>
                    <a:pt x="260" y="61"/>
                    <a:pt x="260" y="61"/>
                  </a:cubicBezTo>
                  <a:cubicBezTo>
                    <a:pt x="260" y="60"/>
                    <a:pt x="260" y="60"/>
                    <a:pt x="260" y="60"/>
                  </a:cubicBezTo>
                  <a:cubicBezTo>
                    <a:pt x="260" y="59"/>
                    <a:pt x="261" y="58"/>
                    <a:pt x="261" y="57"/>
                  </a:cubicBezTo>
                  <a:cubicBezTo>
                    <a:pt x="262" y="57"/>
                    <a:pt x="262" y="57"/>
                    <a:pt x="262" y="57"/>
                  </a:cubicBezTo>
                  <a:cubicBezTo>
                    <a:pt x="263" y="56"/>
                    <a:pt x="263" y="56"/>
                    <a:pt x="263" y="56"/>
                  </a:cubicBezTo>
                  <a:cubicBezTo>
                    <a:pt x="268" y="52"/>
                    <a:pt x="268" y="52"/>
                    <a:pt x="268" y="52"/>
                  </a:cubicBezTo>
                  <a:cubicBezTo>
                    <a:pt x="268" y="52"/>
                    <a:pt x="268" y="52"/>
                    <a:pt x="268" y="52"/>
                  </a:cubicBezTo>
                  <a:cubicBezTo>
                    <a:pt x="264" y="48"/>
                    <a:pt x="261" y="44"/>
                    <a:pt x="261" y="38"/>
                  </a:cubicBezTo>
                  <a:cubicBezTo>
                    <a:pt x="261" y="36"/>
                    <a:pt x="260" y="35"/>
                    <a:pt x="260" y="34"/>
                  </a:cubicBezTo>
                  <a:cubicBezTo>
                    <a:pt x="259" y="32"/>
                    <a:pt x="256" y="30"/>
                    <a:pt x="253" y="27"/>
                  </a:cubicBezTo>
                  <a:cubicBezTo>
                    <a:pt x="252" y="27"/>
                    <a:pt x="252" y="27"/>
                    <a:pt x="252" y="27"/>
                  </a:cubicBezTo>
                  <a:cubicBezTo>
                    <a:pt x="250" y="26"/>
                    <a:pt x="247" y="25"/>
                    <a:pt x="244" y="24"/>
                  </a:cubicBezTo>
                  <a:cubicBezTo>
                    <a:pt x="244" y="24"/>
                    <a:pt x="244" y="24"/>
                    <a:pt x="244" y="24"/>
                  </a:cubicBezTo>
                  <a:cubicBezTo>
                    <a:pt x="239" y="23"/>
                    <a:pt x="234" y="21"/>
                    <a:pt x="230" y="19"/>
                  </a:cubicBezTo>
                  <a:cubicBezTo>
                    <a:pt x="229" y="19"/>
                    <a:pt x="229" y="19"/>
                    <a:pt x="229" y="19"/>
                  </a:cubicBezTo>
                  <a:cubicBezTo>
                    <a:pt x="228" y="18"/>
                    <a:pt x="228" y="18"/>
                    <a:pt x="228" y="18"/>
                  </a:cubicBezTo>
                  <a:cubicBezTo>
                    <a:pt x="227" y="17"/>
                    <a:pt x="227" y="17"/>
                    <a:pt x="227" y="17"/>
                  </a:cubicBezTo>
                  <a:cubicBezTo>
                    <a:pt x="227" y="17"/>
                    <a:pt x="227" y="17"/>
                    <a:pt x="227" y="17"/>
                  </a:cubicBezTo>
                  <a:cubicBezTo>
                    <a:pt x="226" y="17"/>
                    <a:pt x="224" y="16"/>
                    <a:pt x="223" y="15"/>
                  </a:cubicBezTo>
                  <a:cubicBezTo>
                    <a:pt x="221" y="14"/>
                    <a:pt x="219" y="13"/>
                    <a:pt x="217" y="12"/>
                  </a:cubicBezTo>
                  <a:cubicBezTo>
                    <a:pt x="217" y="12"/>
                    <a:pt x="217" y="12"/>
                    <a:pt x="217" y="12"/>
                  </a:cubicBezTo>
                  <a:cubicBezTo>
                    <a:pt x="216" y="11"/>
                    <a:pt x="214" y="11"/>
                    <a:pt x="212" y="11"/>
                  </a:cubicBezTo>
                  <a:cubicBezTo>
                    <a:pt x="211" y="11"/>
                    <a:pt x="211" y="11"/>
                    <a:pt x="211" y="11"/>
                  </a:cubicBezTo>
                  <a:cubicBezTo>
                    <a:pt x="211" y="10"/>
                    <a:pt x="211" y="10"/>
                    <a:pt x="211" y="10"/>
                  </a:cubicBezTo>
                  <a:cubicBezTo>
                    <a:pt x="211" y="11"/>
                    <a:pt x="211" y="11"/>
                    <a:pt x="211" y="11"/>
                  </a:cubicBezTo>
                  <a:cubicBezTo>
                    <a:pt x="211" y="11"/>
                    <a:pt x="210" y="11"/>
                    <a:pt x="210" y="11"/>
                  </a:cubicBezTo>
                  <a:cubicBezTo>
                    <a:pt x="207" y="11"/>
                    <a:pt x="204" y="6"/>
                    <a:pt x="200" y="4"/>
                  </a:cubicBezTo>
                  <a:cubicBezTo>
                    <a:pt x="200" y="4"/>
                    <a:pt x="200" y="6"/>
                    <a:pt x="199" y="6"/>
                  </a:cubicBezTo>
                  <a:cubicBezTo>
                    <a:pt x="199" y="6"/>
                    <a:pt x="199" y="6"/>
                    <a:pt x="198" y="6"/>
                  </a:cubicBezTo>
                  <a:cubicBezTo>
                    <a:pt x="195" y="5"/>
                    <a:pt x="196" y="3"/>
                    <a:pt x="19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 name="Freeform 221">
              <a:extLst>
                <a:ext uri="{FF2B5EF4-FFF2-40B4-BE49-F238E27FC236}">
                  <a16:creationId xmlns:a16="http://schemas.microsoft.com/office/drawing/2014/main" id="{9EC149CE-F213-4085-A434-CADF5402FBB0}"/>
                </a:ext>
              </a:extLst>
            </p:cNvPr>
            <p:cNvSpPr>
              <a:spLocks/>
            </p:cNvSpPr>
            <p:nvPr/>
          </p:nvSpPr>
          <p:spPr bwMode="auto">
            <a:xfrm>
              <a:off x="5081" y="3637"/>
              <a:ext cx="411" cy="376"/>
            </a:xfrm>
            <a:custGeom>
              <a:avLst/>
              <a:gdLst>
                <a:gd name="T0" fmla="*/ 86 w 174"/>
                <a:gd name="T1" fmla="*/ 6 h 159"/>
                <a:gd name="T2" fmla="*/ 81 w 174"/>
                <a:gd name="T3" fmla="*/ 12 h 159"/>
                <a:gd name="T4" fmla="*/ 81 w 174"/>
                <a:gd name="T5" fmla="*/ 15 h 159"/>
                <a:gd name="T6" fmla="*/ 63 w 174"/>
                <a:gd name="T7" fmla="*/ 29 h 159"/>
                <a:gd name="T8" fmla="*/ 56 w 174"/>
                <a:gd name="T9" fmla="*/ 32 h 159"/>
                <a:gd name="T10" fmla="*/ 52 w 174"/>
                <a:gd name="T11" fmla="*/ 38 h 159"/>
                <a:gd name="T12" fmla="*/ 48 w 174"/>
                <a:gd name="T13" fmla="*/ 43 h 159"/>
                <a:gd name="T14" fmla="*/ 40 w 174"/>
                <a:gd name="T15" fmla="*/ 52 h 159"/>
                <a:gd name="T16" fmla="*/ 31 w 174"/>
                <a:gd name="T17" fmla="*/ 58 h 159"/>
                <a:gd name="T18" fmla="*/ 30 w 174"/>
                <a:gd name="T19" fmla="*/ 58 h 159"/>
                <a:gd name="T20" fmla="*/ 28 w 174"/>
                <a:gd name="T21" fmla="*/ 59 h 159"/>
                <a:gd name="T22" fmla="*/ 22 w 174"/>
                <a:gd name="T23" fmla="*/ 58 h 159"/>
                <a:gd name="T24" fmla="*/ 4 w 174"/>
                <a:gd name="T25" fmla="*/ 55 h 159"/>
                <a:gd name="T26" fmla="*/ 7 w 174"/>
                <a:gd name="T27" fmla="*/ 67 h 159"/>
                <a:gd name="T28" fmla="*/ 16 w 174"/>
                <a:gd name="T29" fmla="*/ 87 h 159"/>
                <a:gd name="T30" fmla="*/ 32 w 174"/>
                <a:gd name="T31" fmla="*/ 99 h 159"/>
                <a:gd name="T32" fmla="*/ 44 w 174"/>
                <a:gd name="T33" fmla="*/ 107 h 159"/>
                <a:gd name="T34" fmla="*/ 44 w 174"/>
                <a:gd name="T35" fmla="*/ 112 h 159"/>
                <a:gd name="T36" fmla="*/ 47 w 174"/>
                <a:gd name="T37" fmla="*/ 113 h 159"/>
                <a:gd name="T38" fmla="*/ 54 w 174"/>
                <a:gd name="T39" fmla="*/ 119 h 159"/>
                <a:gd name="T40" fmla="*/ 54 w 174"/>
                <a:gd name="T41" fmla="*/ 124 h 159"/>
                <a:gd name="T42" fmla="*/ 58 w 174"/>
                <a:gd name="T43" fmla="*/ 134 h 159"/>
                <a:gd name="T44" fmla="*/ 69 w 174"/>
                <a:gd name="T45" fmla="*/ 141 h 159"/>
                <a:gd name="T46" fmla="*/ 86 w 174"/>
                <a:gd name="T47" fmla="*/ 147 h 159"/>
                <a:gd name="T48" fmla="*/ 87 w 174"/>
                <a:gd name="T49" fmla="*/ 150 h 159"/>
                <a:gd name="T50" fmla="*/ 99 w 174"/>
                <a:gd name="T51" fmla="*/ 155 h 159"/>
                <a:gd name="T52" fmla="*/ 127 w 174"/>
                <a:gd name="T53" fmla="*/ 157 h 159"/>
                <a:gd name="T54" fmla="*/ 135 w 174"/>
                <a:gd name="T55" fmla="*/ 159 h 159"/>
                <a:gd name="T56" fmla="*/ 137 w 174"/>
                <a:gd name="T57" fmla="*/ 157 h 159"/>
                <a:gd name="T58" fmla="*/ 148 w 174"/>
                <a:gd name="T59" fmla="*/ 145 h 159"/>
                <a:gd name="T60" fmla="*/ 159 w 174"/>
                <a:gd name="T61" fmla="*/ 134 h 159"/>
                <a:gd name="T62" fmla="*/ 160 w 174"/>
                <a:gd name="T63" fmla="*/ 122 h 159"/>
                <a:gd name="T64" fmla="*/ 167 w 174"/>
                <a:gd name="T65" fmla="*/ 113 h 159"/>
                <a:gd name="T66" fmla="*/ 174 w 174"/>
                <a:gd name="T67" fmla="*/ 99 h 159"/>
                <a:gd name="T68" fmla="*/ 171 w 174"/>
                <a:gd name="T69" fmla="*/ 98 h 159"/>
                <a:gd name="T70" fmla="*/ 170 w 174"/>
                <a:gd name="T71" fmla="*/ 82 h 159"/>
                <a:gd name="T72" fmla="*/ 169 w 174"/>
                <a:gd name="T73" fmla="*/ 80 h 159"/>
                <a:gd name="T74" fmla="*/ 168 w 174"/>
                <a:gd name="T75" fmla="*/ 72 h 159"/>
                <a:gd name="T76" fmla="*/ 172 w 174"/>
                <a:gd name="T77" fmla="*/ 64 h 159"/>
                <a:gd name="T78" fmla="*/ 173 w 174"/>
                <a:gd name="T79" fmla="*/ 62 h 159"/>
                <a:gd name="T80" fmla="*/ 174 w 174"/>
                <a:gd name="T81" fmla="*/ 45 h 159"/>
                <a:gd name="T82" fmla="*/ 172 w 174"/>
                <a:gd name="T83" fmla="*/ 29 h 159"/>
                <a:gd name="T84" fmla="*/ 171 w 174"/>
                <a:gd name="T85" fmla="*/ 26 h 159"/>
                <a:gd name="T86" fmla="*/ 131 w 174"/>
                <a:gd name="T87" fmla="*/ 11 h 159"/>
                <a:gd name="T88" fmla="*/ 124 w 174"/>
                <a:gd name="T89" fmla="*/ 10 h 159"/>
                <a:gd name="T90" fmla="*/ 112 w 174"/>
                <a:gd name="T91" fmla="*/ 0 h 159"/>
                <a:gd name="T92" fmla="*/ 107 w 174"/>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4" h="159">
                  <a:moveTo>
                    <a:pt x="102" y="0"/>
                  </a:moveTo>
                  <a:cubicBezTo>
                    <a:pt x="102" y="0"/>
                    <a:pt x="101" y="0"/>
                    <a:pt x="101" y="0"/>
                  </a:cubicBezTo>
                  <a:cubicBezTo>
                    <a:pt x="96" y="0"/>
                    <a:pt x="91" y="3"/>
                    <a:pt x="86" y="6"/>
                  </a:cubicBezTo>
                  <a:cubicBezTo>
                    <a:pt x="85" y="6"/>
                    <a:pt x="84" y="7"/>
                    <a:pt x="82" y="7"/>
                  </a:cubicBezTo>
                  <a:cubicBezTo>
                    <a:pt x="82" y="8"/>
                    <a:pt x="82" y="10"/>
                    <a:pt x="81" y="11"/>
                  </a:cubicBezTo>
                  <a:cubicBezTo>
                    <a:pt x="81" y="12"/>
                    <a:pt x="81" y="12"/>
                    <a:pt x="81" y="12"/>
                  </a:cubicBezTo>
                  <a:cubicBezTo>
                    <a:pt x="81" y="13"/>
                    <a:pt x="81" y="13"/>
                    <a:pt x="81" y="13"/>
                  </a:cubicBezTo>
                  <a:cubicBezTo>
                    <a:pt x="81" y="13"/>
                    <a:pt x="81" y="13"/>
                    <a:pt x="81" y="13"/>
                  </a:cubicBezTo>
                  <a:cubicBezTo>
                    <a:pt x="81" y="14"/>
                    <a:pt x="81" y="14"/>
                    <a:pt x="81" y="15"/>
                  </a:cubicBezTo>
                  <a:cubicBezTo>
                    <a:pt x="80" y="22"/>
                    <a:pt x="72" y="25"/>
                    <a:pt x="67" y="27"/>
                  </a:cubicBezTo>
                  <a:cubicBezTo>
                    <a:pt x="66" y="27"/>
                    <a:pt x="64" y="28"/>
                    <a:pt x="63" y="28"/>
                  </a:cubicBezTo>
                  <a:cubicBezTo>
                    <a:pt x="63" y="29"/>
                    <a:pt x="63" y="29"/>
                    <a:pt x="63" y="29"/>
                  </a:cubicBezTo>
                  <a:cubicBezTo>
                    <a:pt x="62" y="29"/>
                    <a:pt x="62" y="29"/>
                    <a:pt x="62" y="29"/>
                  </a:cubicBezTo>
                  <a:cubicBezTo>
                    <a:pt x="61" y="29"/>
                    <a:pt x="61" y="30"/>
                    <a:pt x="60" y="30"/>
                  </a:cubicBezTo>
                  <a:cubicBezTo>
                    <a:pt x="59" y="30"/>
                    <a:pt x="58" y="31"/>
                    <a:pt x="56" y="32"/>
                  </a:cubicBezTo>
                  <a:cubicBezTo>
                    <a:pt x="55" y="34"/>
                    <a:pt x="54" y="35"/>
                    <a:pt x="53" y="36"/>
                  </a:cubicBezTo>
                  <a:cubicBezTo>
                    <a:pt x="53" y="36"/>
                    <a:pt x="52" y="37"/>
                    <a:pt x="52" y="38"/>
                  </a:cubicBezTo>
                  <a:cubicBezTo>
                    <a:pt x="52" y="38"/>
                    <a:pt x="52" y="38"/>
                    <a:pt x="52" y="38"/>
                  </a:cubicBezTo>
                  <a:cubicBezTo>
                    <a:pt x="52" y="39"/>
                    <a:pt x="51" y="40"/>
                    <a:pt x="51" y="40"/>
                  </a:cubicBezTo>
                  <a:cubicBezTo>
                    <a:pt x="50" y="41"/>
                    <a:pt x="50" y="41"/>
                    <a:pt x="50" y="41"/>
                  </a:cubicBezTo>
                  <a:cubicBezTo>
                    <a:pt x="49" y="42"/>
                    <a:pt x="49" y="43"/>
                    <a:pt x="48" y="43"/>
                  </a:cubicBezTo>
                  <a:cubicBezTo>
                    <a:pt x="47" y="45"/>
                    <a:pt x="47" y="45"/>
                    <a:pt x="47" y="45"/>
                  </a:cubicBezTo>
                  <a:cubicBezTo>
                    <a:pt x="44" y="47"/>
                    <a:pt x="42" y="49"/>
                    <a:pt x="40" y="51"/>
                  </a:cubicBezTo>
                  <a:cubicBezTo>
                    <a:pt x="40" y="52"/>
                    <a:pt x="40" y="52"/>
                    <a:pt x="40" y="52"/>
                  </a:cubicBezTo>
                  <a:cubicBezTo>
                    <a:pt x="38" y="54"/>
                    <a:pt x="36" y="56"/>
                    <a:pt x="34" y="57"/>
                  </a:cubicBezTo>
                  <a:cubicBezTo>
                    <a:pt x="33" y="57"/>
                    <a:pt x="32" y="57"/>
                    <a:pt x="32" y="58"/>
                  </a:cubicBezTo>
                  <a:cubicBezTo>
                    <a:pt x="31" y="58"/>
                    <a:pt x="31" y="58"/>
                    <a:pt x="31" y="58"/>
                  </a:cubicBezTo>
                  <a:cubicBezTo>
                    <a:pt x="30" y="58"/>
                    <a:pt x="30" y="58"/>
                    <a:pt x="30" y="58"/>
                  </a:cubicBezTo>
                  <a:cubicBezTo>
                    <a:pt x="30" y="58"/>
                    <a:pt x="30" y="58"/>
                    <a:pt x="30" y="58"/>
                  </a:cubicBezTo>
                  <a:cubicBezTo>
                    <a:pt x="30" y="58"/>
                    <a:pt x="30" y="58"/>
                    <a:pt x="30" y="58"/>
                  </a:cubicBezTo>
                  <a:cubicBezTo>
                    <a:pt x="29" y="58"/>
                    <a:pt x="29" y="58"/>
                    <a:pt x="29" y="58"/>
                  </a:cubicBezTo>
                  <a:cubicBezTo>
                    <a:pt x="28" y="59"/>
                    <a:pt x="28" y="59"/>
                    <a:pt x="28" y="59"/>
                  </a:cubicBezTo>
                  <a:cubicBezTo>
                    <a:pt x="28" y="59"/>
                    <a:pt x="28" y="59"/>
                    <a:pt x="28" y="59"/>
                  </a:cubicBezTo>
                  <a:cubicBezTo>
                    <a:pt x="28" y="59"/>
                    <a:pt x="27" y="59"/>
                    <a:pt x="26" y="59"/>
                  </a:cubicBezTo>
                  <a:cubicBezTo>
                    <a:pt x="26" y="59"/>
                    <a:pt x="26" y="59"/>
                    <a:pt x="26" y="59"/>
                  </a:cubicBezTo>
                  <a:cubicBezTo>
                    <a:pt x="25" y="59"/>
                    <a:pt x="23" y="59"/>
                    <a:pt x="22" y="58"/>
                  </a:cubicBezTo>
                  <a:cubicBezTo>
                    <a:pt x="20" y="58"/>
                    <a:pt x="20" y="58"/>
                    <a:pt x="20" y="58"/>
                  </a:cubicBezTo>
                  <a:cubicBezTo>
                    <a:pt x="3" y="55"/>
                    <a:pt x="3" y="55"/>
                    <a:pt x="3" y="55"/>
                  </a:cubicBezTo>
                  <a:cubicBezTo>
                    <a:pt x="4" y="55"/>
                    <a:pt x="4" y="55"/>
                    <a:pt x="4" y="55"/>
                  </a:cubicBezTo>
                  <a:cubicBezTo>
                    <a:pt x="0" y="54"/>
                    <a:pt x="0" y="54"/>
                    <a:pt x="0" y="54"/>
                  </a:cubicBezTo>
                  <a:cubicBezTo>
                    <a:pt x="5" y="63"/>
                    <a:pt x="5" y="63"/>
                    <a:pt x="5" y="63"/>
                  </a:cubicBezTo>
                  <a:cubicBezTo>
                    <a:pt x="6" y="64"/>
                    <a:pt x="6" y="66"/>
                    <a:pt x="7" y="67"/>
                  </a:cubicBezTo>
                  <a:cubicBezTo>
                    <a:pt x="10" y="71"/>
                    <a:pt x="13" y="76"/>
                    <a:pt x="14" y="81"/>
                  </a:cubicBezTo>
                  <a:cubicBezTo>
                    <a:pt x="15" y="82"/>
                    <a:pt x="15" y="82"/>
                    <a:pt x="15" y="83"/>
                  </a:cubicBezTo>
                  <a:cubicBezTo>
                    <a:pt x="16" y="87"/>
                    <a:pt x="16" y="87"/>
                    <a:pt x="16" y="87"/>
                  </a:cubicBezTo>
                  <a:cubicBezTo>
                    <a:pt x="17" y="89"/>
                    <a:pt x="18" y="90"/>
                    <a:pt x="19" y="91"/>
                  </a:cubicBezTo>
                  <a:cubicBezTo>
                    <a:pt x="20" y="92"/>
                    <a:pt x="22" y="93"/>
                    <a:pt x="23" y="94"/>
                  </a:cubicBezTo>
                  <a:cubicBezTo>
                    <a:pt x="26" y="96"/>
                    <a:pt x="29" y="98"/>
                    <a:pt x="32" y="99"/>
                  </a:cubicBezTo>
                  <a:cubicBezTo>
                    <a:pt x="33" y="99"/>
                    <a:pt x="33" y="99"/>
                    <a:pt x="33" y="99"/>
                  </a:cubicBezTo>
                  <a:cubicBezTo>
                    <a:pt x="35" y="100"/>
                    <a:pt x="38" y="101"/>
                    <a:pt x="40" y="103"/>
                  </a:cubicBezTo>
                  <a:cubicBezTo>
                    <a:pt x="42" y="104"/>
                    <a:pt x="43" y="105"/>
                    <a:pt x="44" y="107"/>
                  </a:cubicBezTo>
                  <a:cubicBezTo>
                    <a:pt x="44" y="108"/>
                    <a:pt x="44" y="108"/>
                    <a:pt x="44" y="109"/>
                  </a:cubicBezTo>
                  <a:cubicBezTo>
                    <a:pt x="44" y="109"/>
                    <a:pt x="44" y="109"/>
                    <a:pt x="44" y="109"/>
                  </a:cubicBezTo>
                  <a:cubicBezTo>
                    <a:pt x="44" y="110"/>
                    <a:pt x="44" y="111"/>
                    <a:pt x="44" y="112"/>
                  </a:cubicBezTo>
                  <a:cubicBezTo>
                    <a:pt x="44" y="113"/>
                    <a:pt x="44" y="113"/>
                    <a:pt x="44" y="113"/>
                  </a:cubicBezTo>
                  <a:cubicBezTo>
                    <a:pt x="44" y="113"/>
                    <a:pt x="44" y="113"/>
                    <a:pt x="44" y="113"/>
                  </a:cubicBezTo>
                  <a:cubicBezTo>
                    <a:pt x="47" y="113"/>
                    <a:pt x="47" y="113"/>
                    <a:pt x="47" y="113"/>
                  </a:cubicBezTo>
                  <a:cubicBezTo>
                    <a:pt x="50" y="113"/>
                    <a:pt x="53" y="113"/>
                    <a:pt x="54" y="115"/>
                  </a:cubicBezTo>
                  <a:cubicBezTo>
                    <a:pt x="54" y="116"/>
                    <a:pt x="55" y="117"/>
                    <a:pt x="54" y="118"/>
                  </a:cubicBezTo>
                  <a:cubicBezTo>
                    <a:pt x="54" y="119"/>
                    <a:pt x="54" y="119"/>
                    <a:pt x="54" y="119"/>
                  </a:cubicBezTo>
                  <a:cubicBezTo>
                    <a:pt x="54" y="120"/>
                    <a:pt x="54" y="120"/>
                    <a:pt x="54" y="120"/>
                  </a:cubicBezTo>
                  <a:cubicBezTo>
                    <a:pt x="54" y="121"/>
                    <a:pt x="54" y="122"/>
                    <a:pt x="54" y="123"/>
                  </a:cubicBezTo>
                  <a:cubicBezTo>
                    <a:pt x="54" y="124"/>
                    <a:pt x="54" y="124"/>
                    <a:pt x="54" y="124"/>
                  </a:cubicBezTo>
                  <a:cubicBezTo>
                    <a:pt x="54" y="126"/>
                    <a:pt x="55" y="128"/>
                    <a:pt x="56" y="130"/>
                  </a:cubicBezTo>
                  <a:cubicBezTo>
                    <a:pt x="56" y="131"/>
                    <a:pt x="56" y="131"/>
                    <a:pt x="56" y="131"/>
                  </a:cubicBezTo>
                  <a:cubicBezTo>
                    <a:pt x="57" y="131"/>
                    <a:pt x="57" y="132"/>
                    <a:pt x="58" y="134"/>
                  </a:cubicBezTo>
                  <a:cubicBezTo>
                    <a:pt x="58" y="135"/>
                    <a:pt x="59" y="139"/>
                    <a:pt x="60" y="139"/>
                  </a:cubicBezTo>
                  <a:cubicBezTo>
                    <a:pt x="61" y="140"/>
                    <a:pt x="64" y="140"/>
                    <a:pt x="66" y="141"/>
                  </a:cubicBezTo>
                  <a:cubicBezTo>
                    <a:pt x="67" y="141"/>
                    <a:pt x="68" y="141"/>
                    <a:pt x="69" y="141"/>
                  </a:cubicBezTo>
                  <a:cubicBezTo>
                    <a:pt x="70" y="141"/>
                    <a:pt x="71" y="141"/>
                    <a:pt x="72" y="142"/>
                  </a:cubicBezTo>
                  <a:cubicBezTo>
                    <a:pt x="76" y="142"/>
                    <a:pt x="81" y="143"/>
                    <a:pt x="84" y="145"/>
                  </a:cubicBezTo>
                  <a:cubicBezTo>
                    <a:pt x="85" y="145"/>
                    <a:pt x="86" y="146"/>
                    <a:pt x="86" y="147"/>
                  </a:cubicBezTo>
                  <a:cubicBezTo>
                    <a:pt x="86" y="147"/>
                    <a:pt x="87" y="148"/>
                    <a:pt x="86" y="150"/>
                  </a:cubicBezTo>
                  <a:cubicBezTo>
                    <a:pt x="86" y="150"/>
                    <a:pt x="86" y="150"/>
                    <a:pt x="86" y="150"/>
                  </a:cubicBezTo>
                  <a:cubicBezTo>
                    <a:pt x="87" y="150"/>
                    <a:pt x="87" y="150"/>
                    <a:pt x="87" y="150"/>
                  </a:cubicBezTo>
                  <a:cubicBezTo>
                    <a:pt x="91" y="154"/>
                    <a:pt x="91" y="154"/>
                    <a:pt x="91" y="154"/>
                  </a:cubicBezTo>
                  <a:cubicBezTo>
                    <a:pt x="92" y="154"/>
                    <a:pt x="92" y="154"/>
                    <a:pt x="92" y="154"/>
                  </a:cubicBezTo>
                  <a:cubicBezTo>
                    <a:pt x="94" y="154"/>
                    <a:pt x="97" y="155"/>
                    <a:pt x="99" y="155"/>
                  </a:cubicBezTo>
                  <a:cubicBezTo>
                    <a:pt x="102" y="155"/>
                    <a:pt x="102" y="155"/>
                    <a:pt x="102" y="155"/>
                  </a:cubicBezTo>
                  <a:cubicBezTo>
                    <a:pt x="110" y="155"/>
                    <a:pt x="118" y="155"/>
                    <a:pt x="126" y="157"/>
                  </a:cubicBezTo>
                  <a:cubicBezTo>
                    <a:pt x="127" y="157"/>
                    <a:pt x="127" y="157"/>
                    <a:pt x="127" y="157"/>
                  </a:cubicBezTo>
                  <a:cubicBezTo>
                    <a:pt x="129" y="157"/>
                    <a:pt x="132" y="157"/>
                    <a:pt x="135" y="159"/>
                  </a:cubicBezTo>
                  <a:cubicBezTo>
                    <a:pt x="135" y="159"/>
                    <a:pt x="135" y="159"/>
                    <a:pt x="135" y="159"/>
                  </a:cubicBezTo>
                  <a:cubicBezTo>
                    <a:pt x="135" y="159"/>
                    <a:pt x="135" y="159"/>
                    <a:pt x="135" y="159"/>
                  </a:cubicBezTo>
                  <a:cubicBezTo>
                    <a:pt x="136" y="158"/>
                    <a:pt x="136" y="158"/>
                    <a:pt x="136" y="158"/>
                  </a:cubicBezTo>
                  <a:cubicBezTo>
                    <a:pt x="136" y="158"/>
                    <a:pt x="137" y="157"/>
                    <a:pt x="137" y="157"/>
                  </a:cubicBezTo>
                  <a:cubicBezTo>
                    <a:pt x="137" y="157"/>
                    <a:pt x="137" y="157"/>
                    <a:pt x="137" y="157"/>
                  </a:cubicBezTo>
                  <a:cubicBezTo>
                    <a:pt x="137" y="157"/>
                    <a:pt x="137" y="157"/>
                    <a:pt x="137" y="157"/>
                  </a:cubicBezTo>
                  <a:cubicBezTo>
                    <a:pt x="147" y="147"/>
                    <a:pt x="147" y="147"/>
                    <a:pt x="147" y="147"/>
                  </a:cubicBezTo>
                  <a:cubicBezTo>
                    <a:pt x="147" y="146"/>
                    <a:pt x="148" y="146"/>
                    <a:pt x="148" y="145"/>
                  </a:cubicBezTo>
                  <a:cubicBezTo>
                    <a:pt x="149" y="145"/>
                    <a:pt x="149" y="145"/>
                    <a:pt x="149" y="145"/>
                  </a:cubicBezTo>
                  <a:cubicBezTo>
                    <a:pt x="151" y="142"/>
                    <a:pt x="154" y="139"/>
                    <a:pt x="156" y="136"/>
                  </a:cubicBezTo>
                  <a:cubicBezTo>
                    <a:pt x="157" y="136"/>
                    <a:pt x="158" y="135"/>
                    <a:pt x="159" y="134"/>
                  </a:cubicBezTo>
                  <a:cubicBezTo>
                    <a:pt x="158" y="133"/>
                    <a:pt x="158" y="132"/>
                    <a:pt x="158" y="131"/>
                  </a:cubicBezTo>
                  <a:cubicBezTo>
                    <a:pt x="158" y="129"/>
                    <a:pt x="159" y="126"/>
                    <a:pt x="160" y="124"/>
                  </a:cubicBezTo>
                  <a:cubicBezTo>
                    <a:pt x="160" y="122"/>
                    <a:pt x="160" y="122"/>
                    <a:pt x="160" y="122"/>
                  </a:cubicBezTo>
                  <a:cubicBezTo>
                    <a:pt x="161" y="119"/>
                    <a:pt x="161" y="116"/>
                    <a:pt x="164" y="115"/>
                  </a:cubicBezTo>
                  <a:cubicBezTo>
                    <a:pt x="165" y="114"/>
                    <a:pt x="166" y="114"/>
                    <a:pt x="166" y="114"/>
                  </a:cubicBezTo>
                  <a:cubicBezTo>
                    <a:pt x="166" y="113"/>
                    <a:pt x="167" y="113"/>
                    <a:pt x="167" y="113"/>
                  </a:cubicBezTo>
                  <a:cubicBezTo>
                    <a:pt x="167" y="112"/>
                    <a:pt x="169" y="110"/>
                    <a:pt x="171" y="107"/>
                  </a:cubicBezTo>
                  <a:cubicBezTo>
                    <a:pt x="172" y="105"/>
                    <a:pt x="173" y="103"/>
                    <a:pt x="173" y="101"/>
                  </a:cubicBezTo>
                  <a:cubicBezTo>
                    <a:pt x="174" y="100"/>
                    <a:pt x="174" y="99"/>
                    <a:pt x="174" y="99"/>
                  </a:cubicBezTo>
                  <a:cubicBezTo>
                    <a:pt x="173" y="99"/>
                    <a:pt x="173" y="99"/>
                    <a:pt x="173" y="99"/>
                  </a:cubicBezTo>
                  <a:cubicBezTo>
                    <a:pt x="173" y="99"/>
                    <a:pt x="173" y="99"/>
                    <a:pt x="173" y="99"/>
                  </a:cubicBezTo>
                  <a:cubicBezTo>
                    <a:pt x="172" y="99"/>
                    <a:pt x="171" y="98"/>
                    <a:pt x="171" y="98"/>
                  </a:cubicBezTo>
                  <a:cubicBezTo>
                    <a:pt x="169" y="97"/>
                    <a:pt x="169" y="95"/>
                    <a:pt x="169" y="93"/>
                  </a:cubicBezTo>
                  <a:cubicBezTo>
                    <a:pt x="169" y="92"/>
                    <a:pt x="169" y="90"/>
                    <a:pt x="169" y="87"/>
                  </a:cubicBezTo>
                  <a:cubicBezTo>
                    <a:pt x="170" y="85"/>
                    <a:pt x="170" y="83"/>
                    <a:pt x="170" y="82"/>
                  </a:cubicBezTo>
                  <a:cubicBezTo>
                    <a:pt x="169" y="81"/>
                    <a:pt x="169" y="81"/>
                    <a:pt x="169" y="81"/>
                  </a:cubicBezTo>
                  <a:cubicBezTo>
                    <a:pt x="169" y="81"/>
                    <a:pt x="169" y="81"/>
                    <a:pt x="169" y="81"/>
                  </a:cubicBezTo>
                  <a:cubicBezTo>
                    <a:pt x="169" y="80"/>
                    <a:pt x="169" y="80"/>
                    <a:pt x="169" y="80"/>
                  </a:cubicBezTo>
                  <a:cubicBezTo>
                    <a:pt x="168" y="80"/>
                    <a:pt x="167" y="79"/>
                    <a:pt x="167" y="78"/>
                  </a:cubicBezTo>
                  <a:cubicBezTo>
                    <a:pt x="166" y="77"/>
                    <a:pt x="165" y="75"/>
                    <a:pt x="167" y="73"/>
                  </a:cubicBezTo>
                  <a:cubicBezTo>
                    <a:pt x="168" y="72"/>
                    <a:pt x="168" y="72"/>
                    <a:pt x="168" y="72"/>
                  </a:cubicBezTo>
                  <a:cubicBezTo>
                    <a:pt x="169" y="72"/>
                    <a:pt x="169" y="71"/>
                    <a:pt x="170" y="70"/>
                  </a:cubicBezTo>
                  <a:cubicBezTo>
                    <a:pt x="170" y="69"/>
                    <a:pt x="170" y="67"/>
                    <a:pt x="171" y="66"/>
                  </a:cubicBezTo>
                  <a:cubicBezTo>
                    <a:pt x="171" y="65"/>
                    <a:pt x="172" y="65"/>
                    <a:pt x="172" y="64"/>
                  </a:cubicBezTo>
                  <a:cubicBezTo>
                    <a:pt x="173" y="63"/>
                    <a:pt x="173" y="63"/>
                    <a:pt x="173" y="63"/>
                  </a:cubicBezTo>
                  <a:cubicBezTo>
                    <a:pt x="173" y="63"/>
                    <a:pt x="173" y="63"/>
                    <a:pt x="173" y="62"/>
                  </a:cubicBezTo>
                  <a:cubicBezTo>
                    <a:pt x="173" y="62"/>
                    <a:pt x="173" y="62"/>
                    <a:pt x="173" y="62"/>
                  </a:cubicBezTo>
                  <a:cubicBezTo>
                    <a:pt x="174" y="60"/>
                    <a:pt x="174" y="58"/>
                    <a:pt x="174" y="56"/>
                  </a:cubicBezTo>
                  <a:cubicBezTo>
                    <a:pt x="174" y="54"/>
                    <a:pt x="174" y="52"/>
                    <a:pt x="174" y="50"/>
                  </a:cubicBezTo>
                  <a:cubicBezTo>
                    <a:pt x="174" y="48"/>
                    <a:pt x="174" y="47"/>
                    <a:pt x="174" y="45"/>
                  </a:cubicBezTo>
                  <a:cubicBezTo>
                    <a:pt x="174" y="42"/>
                    <a:pt x="173" y="39"/>
                    <a:pt x="173" y="35"/>
                  </a:cubicBezTo>
                  <a:cubicBezTo>
                    <a:pt x="172" y="34"/>
                    <a:pt x="172" y="33"/>
                    <a:pt x="172" y="32"/>
                  </a:cubicBezTo>
                  <a:cubicBezTo>
                    <a:pt x="172" y="31"/>
                    <a:pt x="172" y="30"/>
                    <a:pt x="172" y="29"/>
                  </a:cubicBezTo>
                  <a:cubicBezTo>
                    <a:pt x="172" y="28"/>
                    <a:pt x="172" y="28"/>
                    <a:pt x="172" y="28"/>
                  </a:cubicBezTo>
                  <a:cubicBezTo>
                    <a:pt x="171" y="28"/>
                    <a:pt x="171" y="28"/>
                    <a:pt x="171" y="27"/>
                  </a:cubicBezTo>
                  <a:cubicBezTo>
                    <a:pt x="171" y="26"/>
                    <a:pt x="171" y="26"/>
                    <a:pt x="171" y="26"/>
                  </a:cubicBezTo>
                  <a:cubicBezTo>
                    <a:pt x="167" y="26"/>
                    <a:pt x="162" y="24"/>
                    <a:pt x="158" y="22"/>
                  </a:cubicBezTo>
                  <a:cubicBezTo>
                    <a:pt x="156" y="21"/>
                    <a:pt x="155" y="20"/>
                    <a:pt x="154" y="20"/>
                  </a:cubicBezTo>
                  <a:cubicBezTo>
                    <a:pt x="131" y="11"/>
                    <a:pt x="131" y="11"/>
                    <a:pt x="131" y="11"/>
                  </a:cubicBezTo>
                  <a:cubicBezTo>
                    <a:pt x="130" y="10"/>
                    <a:pt x="129" y="10"/>
                    <a:pt x="128" y="10"/>
                  </a:cubicBezTo>
                  <a:cubicBezTo>
                    <a:pt x="128" y="10"/>
                    <a:pt x="126" y="10"/>
                    <a:pt x="125" y="10"/>
                  </a:cubicBezTo>
                  <a:cubicBezTo>
                    <a:pt x="125" y="10"/>
                    <a:pt x="125" y="10"/>
                    <a:pt x="124" y="10"/>
                  </a:cubicBezTo>
                  <a:cubicBezTo>
                    <a:pt x="124" y="10"/>
                    <a:pt x="124" y="10"/>
                    <a:pt x="124" y="10"/>
                  </a:cubicBezTo>
                  <a:cubicBezTo>
                    <a:pt x="118" y="10"/>
                    <a:pt x="115" y="9"/>
                    <a:pt x="114" y="7"/>
                  </a:cubicBezTo>
                  <a:cubicBezTo>
                    <a:pt x="112" y="5"/>
                    <a:pt x="112" y="3"/>
                    <a:pt x="112" y="0"/>
                  </a:cubicBezTo>
                  <a:cubicBezTo>
                    <a:pt x="111" y="0"/>
                    <a:pt x="111" y="0"/>
                    <a:pt x="110" y="0"/>
                  </a:cubicBezTo>
                  <a:cubicBezTo>
                    <a:pt x="109" y="0"/>
                    <a:pt x="108" y="0"/>
                    <a:pt x="107" y="0"/>
                  </a:cubicBezTo>
                  <a:cubicBezTo>
                    <a:pt x="107" y="0"/>
                    <a:pt x="107" y="0"/>
                    <a:pt x="107" y="0"/>
                  </a:cubicBezTo>
                  <a:cubicBezTo>
                    <a:pt x="105" y="0"/>
                    <a:pt x="104" y="0"/>
                    <a:pt x="10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 name="Freeform 222">
              <a:extLst>
                <a:ext uri="{FF2B5EF4-FFF2-40B4-BE49-F238E27FC236}">
                  <a16:creationId xmlns:a16="http://schemas.microsoft.com/office/drawing/2014/main" id="{9C1C894A-AAD1-476A-80FE-A850BA5D9F4C}"/>
                </a:ext>
              </a:extLst>
            </p:cNvPr>
            <p:cNvSpPr>
              <a:spLocks/>
            </p:cNvSpPr>
            <p:nvPr/>
          </p:nvSpPr>
          <p:spPr bwMode="auto">
            <a:xfrm>
              <a:off x="4781" y="3762"/>
              <a:ext cx="496" cy="515"/>
            </a:xfrm>
            <a:custGeom>
              <a:avLst/>
              <a:gdLst>
                <a:gd name="T0" fmla="*/ 92 w 210"/>
                <a:gd name="T1" fmla="*/ 9 h 218"/>
                <a:gd name="T2" fmla="*/ 82 w 210"/>
                <a:gd name="T3" fmla="*/ 16 h 218"/>
                <a:gd name="T4" fmla="*/ 75 w 210"/>
                <a:gd name="T5" fmla="*/ 8 h 218"/>
                <a:gd name="T6" fmla="*/ 73 w 210"/>
                <a:gd name="T7" fmla="*/ 5 h 218"/>
                <a:gd name="T8" fmla="*/ 23 w 210"/>
                <a:gd name="T9" fmla="*/ 12 h 218"/>
                <a:gd name="T10" fmla="*/ 23 w 210"/>
                <a:gd name="T11" fmla="*/ 48 h 218"/>
                <a:gd name="T12" fmla="*/ 23 w 210"/>
                <a:gd name="T13" fmla="*/ 93 h 218"/>
                <a:gd name="T14" fmla="*/ 18 w 210"/>
                <a:gd name="T15" fmla="*/ 102 h 218"/>
                <a:gd name="T16" fmla="*/ 0 w 210"/>
                <a:gd name="T17" fmla="*/ 102 h 218"/>
                <a:gd name="T18" fmla="*/ 2 w 210"/>
                <a:gd name="T19" fmla="*/ 169 h 218"/>
                <a:gd name="T20" fmla="*/ 15 w 210"/>
                <a:gd name="T21" fmla="*/ 185 h 218"/>
                <a:gd name="T22" fmla="*/ 20 w 210"/>
                <a:gd name="T23" fmla="*/ 201 h 218"/>
                <a:gd name="T24" fmla="*/ 17 w 210"/>
                <a:gd name="T25" fmla="*/ 208 h 218"/>
                <a:gd name="T26" fmla="*/ 15 w 210"/>
                <a:gd name="T27" fmla="*/ 215 h 218"/>
                <a:gd name="T28" fmla="*/ 15 w 210"/>
                <a:gd name="T29" fmla="*/ 217 h 218"/>
                <a:gd name="T30" fmla="*/ 20 w 210"/>
                <a:gd name="T31" fmla="*/ 217 h 218"/>
                <a:gd name="T32" fmla="*/ 24 w 210"/>
                <a:gd name="T33" fmla="*/ 218 h 218"/>
                <a:gd name="T34" fmla="*/ 29 w 210"/>
                <a:gd name="T35" fmla="*/ 217 h 218"/>
                <a:gd name="T36" fmla="*/ 34 w 210"/>
                <a:gd name="T37" fmla="*/ 218 h 218"/>
                <a:gd name="T38" fmla="*/ 39 w 210"/>
                <a:gd name="T39" fmla="*/ 215 h 218"/>
                <a:gd name="T40" fmla="*/ 41 w 210"/>
                <a:gd name="T41" fmla="*/ 213 h 218"/>
                <a:gd name="T42" fmla="*/ 56 w 210"/>
                <a:gd name="T43" fmla="*/ 200 h 218"/>
                <a:gd name="T44" fmla="*/ 58 w 210"/>
                <a:gd name="T45" fmla="*/ 197 h 218"/>
                <a:gd name="T46" fmla="*/ 58 w 210"/>
                <a:gd name="T47" fmla="*/ 194 h 218"/>
                <a:gd name="T48" fmla="*/ 60 w 210"/>
                <a:gd name="T49" fmla="*/ 190 h 218"/>
                <a:gd name="T50" fmla="*/ 60 w 210"/>
                <a:gd name="T51" fmla="*/ 188 h 218"/>
                <a:gd name="T52" fmla="*/ 67 w 210"/>
                <a:gd name="T53" fmla="*/ 179 h 218"/>
                <a:gd name="T54" fmla="*/ 87 w 210"/>
                <a:gd name="T55" fmla="*/ 184 h 218"/>
                <a:gd name="T56" fmla="*/ 93 w 210"/>
                <a:gd name="T57" fmla="*/ 186 h 218"/>
                <a:gd name="T58" fmla="*/ 113 w 210"/>
                <a:gd name="T59" fmla="*/ 191 h 218"/>
                <a:gd name="T60" fmla="*/ 122 w 210"/>
                <a:gd name="T61" fmla="*/ 190 h 218"/>
                <a:gd name="T62" fmla="*/ 127 w 210"/>
                <a:gd name="T63" fmla="*/ 185 h 218"/>
                <a:gd name="T64" fmla="*/ 132 w 210"/>
                <a:gd name="T65" fmla="*/ 170 h 218"/>
                <a:gd name="T66" fmla="*/ 135 w 210"/>
                <a:gd name="T67" fmla="*/ 164 h 218"/>
                <a:gd name="T68" fmla="*/ 150 w 210"/>
                <a:gd name="T69" fmla="*/ 159 h 218"/>
                <a:gd name="T70" fmla="*/ 153 w 210"/>
                <a:gd name="T71" fmla="*/ 156 h 218"/>
                <a:gd name="T72" fmla="*/ 156 w 210"/>
                <a:gd name="T73" fmla="*/ 150 h 218"/>
                <a:gd name="T74" fmla="*/ 157 w 210"/>
                <a:gd name="T75" fmla="*/ 146 h 218"/>
                <a:gd name="T76" fmla="*/ 174 w 210"/>
                <a:gd name="T77" fmla="*/ 129 h 218"/>
                <a:gd name="T78" fmla="*/ 193 w 210"/>
                <a:gd name="T79" fmla="*/ 111 h 218"/>
                <a:gd name="T80" fmla="*/ 196 w 210"/>
                <a:gd name="T81" fmla="*/ 111 h 218"/>
                <a:gd name="T82" fmla="*/ 205 w 210"/>
                <a:gd name="T83" fmla="*/ 107 h 218"/>
                <a:gd name="T84" fmla="*/ 208 w 210"/>
                <a:gd name="T85" fmla="*/ 100 h 218"/>
                <a:gd name="T86" fmla="*/ 207 w 210"/>
                <a:gd name="T87" fmla="*/ 98 h 218"/>
                <a:gd name="T88" fmla="*/ 197 w 210"/>
                <a:gd name="T89" fmla="*/ 94 h 218"/>
                <a:gd name="T90" fmla="*/ 192 w 210"/>
                <a:gd name="T91" fmla="*/ 93 h 218"/>
                <a:gd name="T92" fmla="*/ 178 w 210"/>
                <a:gd name="T93" fmla="*/ 80 h 218"/>
                <a:gd name="T94" fmla="*/ 176 w 210"/>
                <a:gd name="T95" fmla="*/ 67 h 218"/>
                <a:gd name="T96" fmla="*/ 173 w 210"/>
                <a:gd name="T97" fmla="*/ 66 h 218"/>
                <a:gd name="T98" fmla="*/ 166 w 210"/>
                <a:gd name="T99" fmla="*/ 59 h 218"/>
                <a:gd name="T100" fmla="*/ 165 w 210"/>
                <a:gd name="T101" fmla="*/ 56 h 218"/>
                <a:gd name="T102" fmla="*/ 157 w 210"/>
                <a:gd name="T103" fmla="*/ 51 h 218"/>
                <a:gd name="T104" fmla="*/ 138 w 210"/>
                <a:gd name="T105" fmla="*/ 36 h 218"/>
                <a:gd name="T106" fmla="*/ 127 w 210"/>
                <a:gd name="T107" fmla="*/ 1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0" h="218">
                  <a:moveTo>
                    <a:pt x="119" y="0"/>
                  </a:moveTo>
                  <a:cubicBezTo>
                    <a:pt x="109" y="0"/>
                    <a:pt x="101" y="3"/>
                    <a:pt x="93" y="8"/>
                  </a:cubicBezTo>
                  <a:cubicBezTo>
                    <a:pt x="92" y="9"/>
                    <a:pt x="92" y="9"/>
                    <a:pt x="92" y="9"/>
                  </a:cubicBezTo>
                  <a:cubicBezTo>
                    <a:pt x="92" y="9"/>
                    <a:pt x="91" y="10"/>
                    <a:pt x="91" y="10"/>
                  </a:cubicBezTo>
                  <a:cubicBezTo>
                    <a:pt x="87" y="14"/>
                    <a:pt x="85" y="16"/>
                    <a:pt x="83" y="16"/>
                  </a:cubicBezTo>
                  <a:cubicBezTo>
                    <a:pt x="82" y="16"/>
                    <a:pt x="82" y="16"/>
                    <a:pt x="82" y="16"/>
                  </a:cubicBezTo>
                  <a:cubicBezTo>
                    <a:pt x="81" y="16"/>
                    <a:pt x="80" y="15"/>
                    <a:pt x="79" y="15"/>
                  </a:cubicBezTo>
                  <a:cubicBezTo>
                    <a:pt x="78" y="14"/>
                    <a:pt x="78" y="14"/>
                    <a:pt x="78" y="13"/>
                  </a:cubicBezTo>
                  <a:cubicBezTo>
                    <a:pt x="77" y="12"/>
                    <a:pt x="76" y="10"/>
                    <a:pt x="75" y="8"/>
                  </a:cubicBezTo>
                  <a:cubicBezTo>
                    <a:pt x="75" y="8"/>
                    <a:pt x="74" y="7"/>
                    <a:pt x="74" y="7"/>
                  </a:cubicBezTo>
                  <a:cubicBezTo>
                    <a:pt x="74" y="6"/>
                    <a:pt x="74" y="6"/>
                    <a:pt x="73" y="5"/>
                  </a:cubicBezTo>
                  <a:cubicBezTo>
                    <a:pt x="73" y="5"/>
                    <a:pt x="73" y="5"/>
                    <a:pt x="73" y="5"/>
                  </a:cubicBezTo>
                  <a:cubicBezTo>
                    <a:pt x="73" y="5"/>
                    <a:pt x="73" y="5"/>
                    <a:pt x="73" y="5"/>
                  </a:cubicBezTo>
                  <a:cubicBezTo>
                    <a:pt x="73" y="5"/>
                    <a:pt x="72" y="5"/>
                    <a:pt x="72" y="5"/>
                  </a:cubicBezTo>
                  <a:cubicBezTo>
                    <a:pt x="23" y="12"/>
                    <a:pt x="23" y="12"/>
                    <a:pt x="23" y="12"/>
                  </a:cubicBezTo>
                  <a:cubicBezTo>
                    <a:pt x="23" y="13"/>
                    <a:pt x="23" y="13"/>
                    <a:pt x="23" y="13"/>
                  </a:cubicBezTo>
                  <a:cubicBezTo>
                    <a:pt x="23" y="46"/>
                    <a:pt x="23" y="46"/>
                    <a:pt x="23" y="46"/>
                  </a:cubicBezTo>
                  <a:cubicBezTo>
                    <a:pt x="23" y="47"/>
                    <a:pt x="23" y="47"/>
                    <a:pt x="23" y="48"/>
                  </a:cubicBezTo>
                  <a:cubicBezTo>
                    <a:pt x="23" y="59"/>
                    <a:pt x="23" y="70"/>
                    <a:pt x="23" y="81"/>
                  </a:cubicBezTo>
                  <a:cubicBezTo>
                    <a:pt x="23" y="92"/>
                    <a:pt x="23" y="92"/>
                    <a:pt x="23" y="92"/>
                  </a:cubicBezTo>
                  <a:cubicBezTo>
                    <a:pt x="23" y="93"/>
                    <a:pt x="23" y="93"/>
                    <a:pt x="23" y="93"/>
                  </a:cubicBezTo>
                  <a:cubicBezTo>
                    <a:pt x="23" y="95"/>
                    <a:pt x="23" y="96"/>
                    <a:pt x="23" y="97"/>
                  </a:cubicBezTo>
                  <a:cubicBezTo>
                    <a:pt x="23" y="97"/>
                    <a:pt x="23" y="97"/>
                    <a:pt x="23" y="97"/>
                  </a:cubicBezTo>
                  <a:cubicBezTo>
                    <a:pt x="23" y="99"/>
                    <a:pt x="23" y="101"/>
                    <a:pt x="18" y="102"/>
                  </a:cubicBezTo>
                  <a:cubicBezTo>
                    <a:pt x="15" y="103"/>
                    <a:pt x="13" y="103"/>
                    <a:pt x="10" y="103"/>
                  </a:cubicBezTo>
                  <a:cubicBezTo>
                    <a:pt x="8" y="103"/>
                    <a:pt x="5" y="103"/>
                    <a:pt x="3" y="103"/>
                  </a:cubicBezTo>
                  <a:cubicBezTo>
                    <a:pt x="2" y="103"/>
                    <a:pt x="1" y="102"/>
                    <a:pt x="0" y="102"/>
                  </a:cubicBezTo>
                  <a:cubicBezTo>
                    <a:pt x="0" y="103"/>
                    <a:pt x="0" y="103"/>
                    <a:pt x="0" y="104"/>
                  </a:cubicBezTo>
                  <a:cubicBezTo>
                    <a:pt x="0" y="167"/>
                    <a:pt x="0" y="167"/>
                    <a:pt x="0" y="167"/>
                  </a:cubicBezTo>
                  <a:cubicBezTo>
                    <a:pt x="2" y="169"/>
                    <a:pt x="2" y="169"/>
                    <a:pt x="2" y="169"/>
                  </a:cubicBezTo>
                  <a:cubicBezTo>
                    <a:pt x="4" y="170"/>
                    <a:pt x="6" y="171"/>
                    <a:pt x="8" y="173"/>
                  </a:cubicBezTo>
                  <a:cubicBezTo>
                    <a:pt x="10" y="175"/>
                    <a:pt x="13" y="179"/>
                    <a:pt x="14" y="182"/>
                  </a:cubicBezTo>
                  <a:cubicBezTo>
                    <a:pt x="15" y="185"/>
                    <a:pt x="15" y="185"/>
                    <a:pt x="15" y="185"/>
                  </a:cubicBezTo>
                  <a:cubicBezTo>
                    <a:pt x="16" y="186"/>
                    <a:pt x="16" y="186"/>
                    <a:pt x="16" y="187"/>
                  </a:cubicBezTo>
                  <a:cubicBezTo>
                    <a:pt x="16" y="188"/>
                    <a:pt x="16" y="188"/>
                    <a:pt x="16" y="188"/>
                  </a:cubicBezTo>
                  <a:cubicBezTo>
                    <a:pt x="18" y="193"/>
                    <a:pt x="20" y="198"/>
                    <a:pt x="20" y="201"/>
                  </a:cubicBezTo>
                  <a:cubicBezTo>
                    <a:pt x="20" y="202"/>
                    <a:pt x="20" y="203"/>
                    <a:pt x="20" y="204"/>
                  </a:cubicBezTo>
                  <a:cubicBezTo>
                    <a:pt x="19" y="205"/>
                    <a:pt x="18" y="206"/>
                    <a:pt x="17" y="208"/>
                  </a:cubicBezTo>
                  <a:cubicBezTo>
                    <a:pt x="17" y="208"/>
                    <a:pt x="17" y="208"/>
                    <a:pt x="17" y="208"/>
                  </a:cubicBezTo>
                  <a:cubicBezTo>
                    <a:pt x="17" y="209"/>
                    <a:pt x="16" y="209"/>
                    <a:pt x="16" y="210"/>
                  </a:cubicBezTo>
                  <a:cubicBezTo>
                    <a:pt x="15" y="211"/>
                    <a:pt x="15" y="212"/>
                    <a:pt x="15" y="214"/>
                  </a:cubicBezTo>
                  <a:cubicBezTo>
                    <a:pt x="15" y="214"/>
                    <a:pt x="15" y="214"/>
                    <a:pt x="15" y="215"/>
                  </a:cubicBezTo>
                  <a:cubicBezTo>
                    <a:pt x="15" y="215"/>
                    <a:pt x="15" y="215"/>
                    <a:pt x="15" y="216"/>
                  </a:cubicBezTo>
                  <a:cubicBezTo>
                    <a:pt x="15" y="217"/>
                    <a:pt x="15" y="217"/>
                    <a:pt x="15" y="217"/>
                  </a:cubicBezTo>
                  <a:cubicBezTo>
                    <a:pt x="15" y="217"/>
                    <a:pt x="15" y="217"/>
                    <a:pt x="15" y="217"/>
                  </a:cubicBezTo>
                  <a:cubicBezTo>
                    <a:pt x="15" y="217"/>
                    <a:pt x="15" y="217"/>
                    <a:pt x="15" y="217"/>
                  </a:cubicBezTo>
                  <a:cubicBezTo>
                    <a:pt x="16" y="217"/>
                    <a:pt x="17" y="217"/>
                    <a:pt x="18" y="217"/>
                  </a:cubicBezTo>
                  <a:cubicBezTo>
                    <a:pt x="19" y="217"/>
                    <a:pt x="19" y="217"/>
                    <a:pt x="20" y="217"/>
                  </a:cubicBezTo>
                  <a:cubicBezTo>
                    <a:pt x="20" y="217"/>
                    <a:pt x="21" y="217"/>
                    <a:pt x="21" y="217"/>
                  </a:cubicBezTo>
                  <a:cubicBezTo>
                    <a:pt x="22" y="217"/>
                    <a:pt x="22" y="217"/>
                    <a:pt x="22" y="217"/>
                  </a:cubicBezTo>
                  <a:cubicBezTo>
                    <a:pt x="23" y="217"/>
                    <a:pt x="24" y="218"/>
                    <a:pt x="24" y="218"/>
                  </a:cubicBezTo>
                  <a:cubicBezTo>
                    <a:pt x="25" y="218"/>
                    <a:pt x="25" y="217"/>
                    <a:pt x="26" y="217"/>
                  </a:cubicBezTo>
                  <a:cubicBezTo>
                    <a:pt x="26" y="217"/>
                    <a:pt x="27" y="217"/>
                    <a:pt x="27" y="217"/>
                  </a:cubicBezTo>
                  <a:cubicBezTo>
                    <a:pt x="28" y="217"/>
                    <a:pt x="28" y="217"/>
                    <a:pt x="29" y="217"/>
                  </a:cubicBezTo>
                  <a:cubicBezTo>
                    <a:pt x="29" y="217"/>
                    <a:pt x="29" y="217"/>
                    <a:pt x="29" y="217"/>
                  </a:cubicBezTo>
                  <a:cubicBezTo>
                    <a:pt x="30" y="217"/>
                    <a:pt x="31" y="218"/>
                    <a:pt x="32" y="218"/>
                  </a:cubicBezTo>
                  <a:cubicBezTo>
                    <a:pt x="33" y="218"/>
                    <a:pt x="33" y="218"/>
                    <a:pt x="34" y="218"/>
                  </a:cubicBezTo>
                  <a:cubicBezTo>
                    <a:pt x="34" y="218"/>
                    <a:pt x="34" y="218"/>
                    <a:pt x="35" y="218"/>
                  </a:cubicBezTo>
                  <a:cubicBezTo>
                    <a:pt x="35" y="218"/>
                    <a:pt x="35" y="218"/>
                    <a:pt x="35" y="218"/>
                  </a:cubicBezTo>
                  <a:cubicBezTo>
                    <a:pt x="36" y="218"/>
                    <a:pt x="37" y="217"/>
                    <a:pt x="39" y="215"/>
                  </a:cubicBezTo>
                  <a:cubicBezTo>
                    <a:pt x="39" y="215"/>
                    <a:pt x="40" y="214"/>
                    <a:pt x="40" y="214"/>
                  </a:cubicBezTo>
                  <a:cubicBezTo>
                    <a:pt x="41" y="214"/>
                    <a:pt x="41" y="214"/>
                    <a:pt x="41" y="214"/>
                  </a:cubicBezTo>
                  <a:cubicBezTo>
                    <a:pt x="41" y="213"/>
                    <a:pt x="41" y="213"/>
                    <a:pt x="41" y="213"/>
                  </a:cubicBezTo>
                  <a:cubicBezTo>
                    <a:pt x="42" y="213"/>
                    <a:pt x="42" y="213"/>
                    <a:pt x="42" y="213"/>
                  </a:cubicBezTo>
                  <a:cubicBezTo>
                    <a:pt x="42" y="212"/>
                    <a:pt x="43" y="212"/>
                    <a:pt x="43" y="211"/>
                  </a:cubicBezTo>
                  <a:cubicBezTo>
                    <a:pt x="56" y="200"/>
                    <a:pt x="56" y="200"/>
                    <a:pt x="56" y="200"/>
                  </a:cubicBezTo>
                  <a:cubicBezTo>
                    <a:pt x="57" y="200"/>
                    <a:pt x="57" y="199"/>
                    <a:pt x="57" y="199"/>
                  </a:cubicBezTo>
                  <a:cubicBezTo>
                    <a:pt x="58" y="198"/>
                    <a:pt x="58" y="198"/>
                    <a:pt x="58" y="198"/>
                  </a:cubicBezTo>
                  <a:cubicBezTo>
                    <a:pt x="58" y="198"/>
                    <a:pt x="58" y="197"/>
                    <a:pt x="58" y="197"/>
                  </a:cubicBezTo>
                  <a:cubicBezTo>
                    <a:pt x="58" y="197"/>
                    <a:pt x="58" y="196"/>
                    <a:pt x="58" y="196"/>
                  </a:cubicBezTo>
                  <a:cubicBezTo>
                    <a:pt x="58" y="195"/>
                    <a:pt x="58" y="195"/>
                    <a:pt x="58" y="194"/>
                  </a:cubicBezTo>
                  <a:cubicBezTo>
                    <a:pt x="58" y="194"/>
                    <a:pt x="58" y="194"/>
                    <a:pt x="58" y="194"/>
                  </a:cubicBezTo>
                  <a:cubicBezTo>
                    <a:pt x="58" y="193"/>
                    <a:pt x="58" y="193"/>
                    <a:pt x="59" y="192"/>
                  </a:cubicBezTo>
                  <a:cubicBezTo>
                    <a:pt x="59" y="192"/>
                    <a:pt x="60" y="191"/>
                    <a:pt x="60" y="190"/>
                  </a:cubicBezTo>
                  <a:cubicBezTo>
                    <a:pt x="60" y="190"/>
                    <a:pt x="60" y="190"/>
                    <a:pt x="60" y="190"/>
                  </a:cubicBezTo>
                  <a:cubicBezTo>
                    <a:pt x="60" y="190"/>
                    <a:pt x="60" y="190"/>
                    <a:pt x="60" y="190"/>
                  </a:cubicBezTo>
                  <a:cubicBezTo>
                    <a:pt x="60" y="189"/>
                    <a:pt x="60" y="189"/>
                    <a:pt x="60" y="189"/>
                  </a:cubicBezTo>
                  <a:cubicBezTo>
                    <a:pt x="60" y="188"/>
                    <a:pt x="60" y="188"/>
                    <a:pt x="60" y="188"/>
                  </a:cubicBezTo>
                  <a:cubicBezTo>
                    <a:pt x="60" y="187"/>
                    <a:pt x="60" y="187"/>
                    <a:pt x="61" y="186"/>
                  </a:cubicBezTo>
                  <a:cubicBezTo>
                    <a:pt x="61" y="186"/>
                    <a:pt x="61" y="186"/>
                    <a:pt x="61" y="185"/>
                  </a:cubicBezTo>
                  <a:cubicBezTo>
                    <a:pt x="62" y="183"/>
                    <a:pt x="65" y="180"/>
                    <a:pt x="67" y="179"/>
                  </a:cubicBezTo>
                  <a:cubicBezTo>
                    <a:pt x="68" y="178"/>
                    <a:pt x="70" y="178"/>
                    <a:pt x="71" y="178"/>
                  </a:cubicBezTo>
                  <a:cubicBezTo>
                    <a:pt x="74" y="178"/>
                    <a:pt x="77" y="179"/>
                    <a:pt x="79" y="180"/>
                  </a:cubicBezTo>
                  <a:cubicBezTo>
                    <a:pt x="82" y="181"/>
                    <a:pt x="84" y="182"/>
                    <a:pt x="87" y="184"/>
                  </a:cubicBezTo>
                  <a:cubicBezTo>
                    <a:pt x="88" y="184"/>
                    <a:pt x="88" y="184"/>
                    <a:pt x="88" y="184"/>
                  </a:cubicBezTo>
                  <a:cubicBezTo>
                    <a:pt x="90" y="185"/>
                    <a:pt x="91" y="185"/>
                    <a:pt x="92" y="186"/>
                  </a:cubicBezTo>
                  <a:cubicBezTo>
                    <a:pt x="93" y="186"/>
                    <a:pt x="93" y="186"/>
                    <a:pt x="93" y="186"/>
                  </a:cubicBezTo>
                  <a:cubicBezTo>
                    <a:pt x="97" y="188"/>
                    <a:pt x="101" y="189"/>
                    <a:pt x="105" y="191"/>
                  </a:cubicBezTo>
                  <a:cubicBezTo>
                    <a:pt x="106" y="191"/>
                    <a:pt x="108" y="192"/>
                    <a:pt x="110" y="192"/>
                  </a:cubicBezTo>
                  <a:cubicBezTo>
                    <a:pt x="111" y="192"/>
                    <a:pt x="112" y="191"/>
                    <a:pt x="113" y="191"/>
                  </a:cubicBezTo>
                  <a:cubicBezTo>
                    <a:pt x="115" y="191"/>
                    <a:pt x="116" y="191"/>
                    <a:pt x="118" y="190"/>
                  </a:cubicBezTo>
                  <a:cubicBezTo>
                    <a:pt x="120" y="190"/>
                    <a:pt x="120" y="190"/>
                    <a:pt x="120" y="190"/>
                  </a:cubicBezTo>
                  <a:cubicBezTo>
                    <a:pt x="121" y="190"/>
                    <a:pt x="121" y="190"/>
                    <a:pt x="122" y="190"/>
                  </a:cubicBezTo>
                  <a:cubicBezTo>
                    <a:pt x="123" y="189"/>
                    <a:pt x="124" y="188"/>
                    <a:pt x="125" y="187"/>
                  </a:cubicBezTo>
                  <a:cubicBezTo>
                    <a:pt x="126" y="186"/>
                    <a:pt x="126" y="186"/>
                    <a:pt x="126" y="186"/>
                  </a:cubicBezTo>
                  <a:cubicBezTo>
                    <a:pt x="126" y="185"/>
                    <a:pt x="127" y="185"/>
                    <a:pt x="127" y="185"/>
                  </a:cubicBezTo>
                  <a:cubicBezTo>
                    <a:pt x="129" y="182"/>
                    <a:pt x="130" y="177"/>
                    <a:pt x="132" y="172"/>
                  </a:cubicBezTo>
                  <a:cubicBezTo>
                    <a:pt x="132" y="171"/>
                    <a:pt x="132" y="171"/>
                    <a:pt x="132" y="170"/>
                  </a:cubicBezTo>
                  <a:cubicBezTo>
                    <a:pt x="132" y="170"/>
                    <a:pt x="132" y="170"/>
                    <a:pt x="132" y="170"/>
                  </a:cubicBezTo>
                  <a:cubicBezTo>
                    <a:pt x="132" y="170"/>
                    <a:pt x="132" y="169"/>
                    <a:pt x="132" y="169"/>
                  </a:cubicBezTo>
                  <a:cubicBezTo>
                    <a:pt x="132" y="167"/>
                    <a:pt x="133" y="166"/>
                    <a:pt x="134" y="165"/>
                  </a:cubicBezTo>
                  <a:cubicBezTo>
                    <a:pt x="135" y="164"/>
                    <a:pt x="135" y="164"/>
                    <a:pt x="135" y="164"/>
                  </a:cubicBezTo>
                  <a:cubicBezTo>
                    <a:pt x="135" y="164"/>
                    <a:pt x="135" y="164"/>
                    <a:pt x="135" y="164"/>
                  </a:cubicBezTo>
                  <a:cubicBezTo>
                    <a:pt x="137" y="164"/>
                    <a:pt x="139" y="163"/>
                    <a:pt x="142" y="163"/>
                  </a:cubicBezTo>
                  <a:cubicBezTo>
                    <a:pt x="146" y="162"/>
                    <a:pt x="147" y="162"/>
                    <a:pt x="150" y="159"/>
                  </a:cubicBezTo>
                  <a:cubicBezTo>
                    <a:pt x="150" y="158"/>
                    <a:pt x="151" y="158"/>
                    <a:pt x="151" y="158"/>
                  </a:cubicBezTo>
                  <a:cubicBezTo>
                    <a:pt x="152" y="157"/>
                    <a:pt x="152" y="157"/>
                    <a:pt x="152" y="157"/>
                  </a:cubicBezTo>
                  <a:cubicBezTo>
                    <a:pt x="153" y="156"/>
                    <a:pt x="153" y="156"/>
                    <a:pt x="153" y="156"/>
                  </a:cubicBezTo>
                  <a:cubicBezTo>
                    <a:pt x="153" y="156"/>
                    <a:pt x="154" y="155"/>
                    <a:pt x="154" y="155"/>
                  </a:cubicBezTo>
                  <a:cubicBezTo>
                    <a:pt x="155" y="154"/>
                    <a:pt x="155" y="153"/>
                    <a:pt x="156" y="152"/>
                  </a:cubicBezTo>
                  <a:cubicBezTo>
                    <a:pt x="156" y="152"/>
                    <a:pt x="156" y="151"/>
                    <a:pt x="156" y="150"/>
                  </a:cubicBezTo>
                  <a:cubicBezTo>
                    <a:pt x="156" y="149"/>
                    <a:pt x="156" y="149"/>
                    <a:pt x="156" y="149"/>
                  </a:cubicBezTo>
                  <a:cubicBezTo>
                    <a:pt x="156" y="149"/>
                    <a:pt x="156" y="148"/>
                    <a:pt x="157" y="147"/>
                  </a:cubicBezTo>
                  <a:cubicBezTo>
                    <a:pt x="157" y="147"/>
                    <a:pt x="157" y="147"/>
                    <a:pt x="157" y="146"/>
                  </a:cubicBezTo>
                  <a:cubicBezTo>
                    <a:pt x="157" y="144"/>
                    <a:pt x="157" y="144"/>
                    <a:pt x="157" y="144"/>
                  </a:cubicBezTo>
                  <a:cubicBezTo>
                    <a:pt x="159" y="139"/>
                    <a:pt x="165" y="135"/>
                    <a:pt x="170" y="131"/>
                  </a:cubicBezTo>
                  <a:cubicBezTo>
                    <a:pt x="172" y="130"/>
                    <a:pt x="173" y="130"/>
                    <a:pt x="174" y="129"/>
                  </a:cubicBezTo>
                  <a:cubicBezTo>
                    <a:pt x="179" y="125"/>
                    <a:pt x="182" y="122"/>
                    <a:pt x="185" y="119"/>
                  </a:cubicBezTo>
                  <a:cubicBezTo>
                    <a:pt x="185" y="118"/>
                    <a:pt x="185" y="118"/>
                    <a:pt x="185" y="118"/>
                  </a:cubicBezTo>
                  <a:cubicBezTo>
                    <a:pt x="187" y="115"/>
                    <a:pt x="190" y="112"/>
                    <a:pt x="193" y="111"/>
                  </a:cubicBezTo>
                  <a:cubicBezTo>
                    <a:pt x="193" y="111"/>
                    <a:pt x="194" y="111"/>
                    <a:pt x="194" y="111"/>
                  </a:cubicBezTo>
                  <a:cubicBezTo>
                    <a:pt x="195" y="111"/>
                    <a:pt x="195" y="111"/>
                    <a:pt x="195" y="111"/>
                  </a:cubicBezTo>
                  <a:cubicBezTo>
                    <a:pt x="196" y="111"/>
                    <a:pt x="196" y="111"/>
                    <a:pt x="196" y="111"/>
                  </a:cubicBezTo>
                  <a:cubicBezTo>
                    <a:pt x="198" y="110"/>
                    <a:pt x="200" y="110"/>
                    <a:pt x="202" y="109"/>
                  </a:cubicBezTo>
                  <a:cubicBezTo>
                    <a:pt x="203" y="109"/>
                    <a:pt x="203" y="109"/>
                    <a:pt x="203" y="109"/>
                  </a:cubicBezTo>
                  <a:cubicBezTo>
                    <a:pt x="204" y="108"/>
                    <a:pt x="205" y="108"/>
                    <a:pt x="205" y="107"/>
                  </a:cubicBezTo>
                  <a:cubicBezTo>
                    <a:pt x="205" y="106"/>
                    <a:pt x="206" y="104"/>
                    <a:pt x="208" y="103"/>
                  </a:cubicBezTo>
                  <a:cubicBezTo>
                    <a:pt x="208" y="102"/>
                    <a:pt x="209" y="102"/>
                    <a:pt x="210" y="102"/>
                  </a:cubicBezTo>
                  <a:cubicBezTo>
                    <a:pt x="209" y="101"/>
                    <a:pt x="209" y="101"/>
                    <a:pt x="208" y="100"/>
                  </a:cubicBezTo>
                  <a:cubicBezTo>
                    <a:pt x="208" y="100"/>
                    <a:pt x="208" y="100"/>
                    <a:pt x="208" y="100"/>
                  </a:cubicBezTo>
                  <a:cubicBezTo>
                    <a:pt x="208" y="99"/>
                    <a:pt x="208" y="99"/>
                    <a:pt x="208" y="99"/>
                  </a:cubicBezTo>
                  <a:cubicBezTo>
                    <a:pt x="207" y="98"/>
                    <a:pt x="207" y="98"/>
                    <a:pt x="207" y="98"/>
                  </a:cubicBezTo>
                  <a:cubicBezTo>
                    <a:pt x="207" y="97"/>
                    <a:pt x="207" y="97"/>
                    <a:pt x="207" y="96"/>
                  </a:cubicBezTo>
                  <a:cubicBezTo>
                    <a:pt x="205" y="95"/>
                    <a:pt x="201" y="95"/>
                    <a:pt x="198" y="94"/>
                  </a:cubicBezTo>
                  <a:cubicBezTo>
                    <a:pt x="197" y="94"/>
                    <a:pt x="197" y="94"/>
                    <a:pt x="197" y="94"/>
                  </a:cubicBezTo>
                  <a:cubicBezTo>
                    <a:pt x="196" y="94"/>
                    <a:pt x="195" y="94"/>
                    <a:pt x="195" y="94"/>
                  </a:cubicBezTo>
                  <a:cubicBezTo>
                    <a:pt x="194" y="94"/>
                    <a:pt x="193" y="94"/>
                    <a:pt x="193" y="93"/>
                  </a:cubicBezTo>
                  <a:cubicBezTo>
                    <a:pt x="192" y="93"/>
                    <a:pt x="192" y="93"/>
                    <a:pt x="192" y="93"/>
                  </a:cubicBezTo>
                  <a:cubicBezTo>
                    <a:pt x="189" y="93"/>
                    <a:pt x="186" y="93"/>
                    <a:pt x="184" y="91"/>
                  </a:cubicBezTo>
                  <a:cubicBezTo>
                    <a:pt x="181" y="89"/>
                    <a:pt x="180" y="86"/>
                    <a:pt x="179" y="83"/>
                  </a:cubicBezTo>
                  <a:cubicBezTo>
                    <a:pt x="179" y="82"/>
                    <a:pt x="178" y="81"/>
                    <a:pt x="178" y="80"/>
                  </a:cubicBezTo>
                  <a:cubicBezTo>
                    <a:pt x="178" y="79"/>
                    <a:pt x="178" y="79"/>
                    <a:pt x="178" y="79"/>
                  </a:cubicBezTo>
                  <a:cubicBezTo>
                    <a:pt x="177" y="77"/>
                    <a:pt x="175" y="74"/>
                    <a:pt x="175" y="71"/>
                  </a:cubicBezTo>
                  <a:cubicBezTo>
                    <a:pt x="176" y="67"/>
                    <a:pt x="176" y="67"/>
                    <a:pt x="176" y="67"/>
                  </a:cubicBezTo>
                  <a:cubicBezTo>
                    <a:pt x="176" y="67"/>
                    <a:pt x="176" y="66"/>
                    <a:pt x="176" y="66"/>
                  </a:cubicBezTo>
                  <a:cubicBezTo>
                    <a:pt x="175" y="66"/>
                    <a:pt x="175" y="66"/>
                    <a:pt x="174" y="66"/>
                  </a:cubicBezTo>
                  <a:cubicBezTo>
                    <a:pt x="174" y="66"/>
                    <a:pt x="173" y="66"/>
                    <a:pt x="173" y="66"/>
                  </a:cubicBezTo>
                  <a:cubicBezTo>
                    <a:pt x="172" y="66"/>
                    <a:pt x="172" y="66"/>
                    <a:pt x="171" y="66"/>
                  </a:cubicBezTo>
                  <a:cubicBezTo>
                    <a:pt x="169" y="65"/>
                    <a:pt x="168" y="65"/>
                    <a:pt x="167" y="64"/>
                  </a:cubicBezTo>
                  <a:cubicBezTo>
                    <a:pt x="165" y="63"/>
                    <a:pt x="165" y="61"/>
                    <a:pt x="166" y="59"/>
                  </a:cubicBezTo>
                  <a:cubicBezTo>
                    <a:pt x="166" y="58"/>
                    <a:pt x="166" y="58"/>
                    <a:pt x="166" y="57"/>
                  </a:cubicBezTo>
                  <a:cubicBezTo>
                    <a:pt x="165" y="57"/>
                    <a:pt x="165" y="57"/>
                    <a:pt x="165" y="57"/>
                  </a:cubicBezTo>
                  <a:cubicBezTo>
                    <a:pt x="165" y="57"/>
                    <a:pt x="165" y="56"/>
                    <a:pt x="165" y="56"/>
                  </a:cubicBezTo>
                  <a:cubicBezTo>
                    <a:pt x="165" y="55"/>
                    <a:pt x="165" y="55"/>
                    <a:pt x="164" y="55"/>
                  </a:cubicBezTo>
                  <a:cubicBezTo>
                    <a:pt x="162" y="53"/>
                    <a:pt x="160" y="53"/>
                    <a:pt x="158" y="52"/>
                  </a:cubicBezTo>
                  <a:cubicBezTo>
                    <a:pt x="157" y="51"/>
                    <a:pt x="157" y="51"/>
                    <a:pt x="157" y="51"/>
                  </a:cubicBezTo>
                  <a:cubicBezTo>
                    <a:pt x="154" y="50"/>
                    <a:pt x="150" y="48"/>
                    <a:pt x="147" y="46"/>
                  </a:cubicBezTo>
                  <a:cubicBezTo>
                    <a:pt x="145" y="45"/>
                    <a:pt x="143" y="43"/>
                    <a:pt x="141" y="42"/>
                  </a:cubicBezTo>
                  <a:cubicBezTo>
                    <a:pt x="140" y="40"/>
                    <a:pt x="139" y="39"/>
                    <a:pt x="138" y="36"/>
                  </a:cubicBezTo>
                  <a:cubicBezTo>
                    <a:pt x="136" y="30"/>
                    <a:pt x="136" y="30"/>
                    <a:pt x="136" y="30"/>
                  </a:cubicBezTo>
                  <a:cubicBezTo>
                    <a:pt x="135" y="25"/>
                    <a:pt x="132" y="21"/>
                    <a:pt x="129" y="17"/>
                  </a:cubicBezTo>
                  <a:cubicBezTo>
                    <a:pt x="128" y="16"/>
                    <a:pt x="128" y="14"/>
                    <a:pt x="127" y="13"/>
                  </a:cubicBezTo>
                  <a:cubicBezTo>
                    <a:pt x="119" y="0"/>
                    <a:pt x="119"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 name="Rectangle 223">
              <a:extLst>
                <a:ext uri="{FF2B5EF4-FFF2-40B4-BE49-F238E27FC236}">
                  <a16:creationId xmlns:a16="http://schemas.microsoft.com/office/drawing/2014/main" id="{03E22882-B4FA-4E87-9E5A-993712978A41}"/>
                </a:ext>
              </a:extLst>
            </p:cNvPr>
            <p:cNvSpPr>
              <a:spLocks noChangeArrowheads="1"/>
            </p:cNvSpPr>
            <p:nvPr/>
          </p:nvSpPr>
          <p:spPr bwMode="auto">
            <a:xfrm>
              <a:off x="4963" y="376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 name="Freeform 224">
              <a:extLst>
                <a:ext uri="{FF2B5EF4-FFF2-40B4-BE49-F238E27FC236}">
                  <a16:creationId xmlns:a16="http://schemas.microsoft.com/office/drawing/2014/main" id="{9F14B500-E0F7-4581-A8BD-74643E94D52D}"/>
                </a:ext>
              </a:extLst>
            </p:cNvPr>
            <p:cNvSpPr>
              <a:spLocks/>
            </p:cNvSpPr>
            <p:nvPr/>
          </p:nvSpPr>
          <p:spPr bwMode="auto">
            <a:xfrm>
              <a:off x="4963" y="376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 name="Freeform 225">
              <a:extLst>
                <a:ext uri="{FF2B5EF4-FFF2-40B4-BE49-F238E27FC236}">
                  <a16:creationId xmlns:a16="http://schemas.microsoft.com/office/drawing/2014/main" id="{AC4E0AF8-FC41-42CD-8CDD-A2EA951B6017}"/>
                </a:ext>
              </a:extLst>
            </p:cNvPr>
            <p:cNvSpPr>
              <a:spLocks/>
            </p:cNvSpPr>
            <p:nvPr/>
          </p:nvSpPr>
          <p:spPr bwMode="auto">
            <a:xfrm>
              <a:off x="4315" y="3715"/>
              <a:ext cx="735" cy="688"/>
            </a:xfrm>
            <a:custGeom>
              <a:avLst/>
              <a:gdLst>
                <a:gd name="T0" fmla="*/ 33 w 311"/>
                <a:gd name="T1" fmla="*/ 0 h 291"/>
                <a:gd name="T2" fmla="*/ 28 w 311"/>
                <a:gd name="T3" fmla="*/ 1 h 291"/>
                <a:gd name="T4" fmla="*/ 11 w 311"/>
                <a:gd name="T5" fmla="*/ 7 h 291"/>
                <a:gd name="T6" fmla="*/ 0 w 311"/>
                <a:gd name="T7" fmla="*/ 6 h 291"/>
                <a:gd name="T8" fmla="*/ 34 w 311"/>
                <a:gd name="T9" fmla="*/ 79 h 291"/>
                <a:gd name="T10" fmla="*/ 65 w 311"/>
                <a:gd name="T11" fmla="*/ 143 h 291"/>
                <a:gd name="T12" fmla="*/ 66 w 311"/>
                <a:gd name="T13" fmla="*/ 179 h 291"/>
                <a:gd name="T14" fmla="*/ 79 w 311"/>
                <a:gd name="T15" fmla="*/ 239 h 291"/>
                <a:gd name="T16" fmla="*/ 107 w 311"/>
                <a:gd name="T17" fmla="*/ 283 h 291"/>
                <a:gd name="T18" fmla="*/ 113 w 311"/>
                <a:gd name="T19" fmla="*/ 278 h 291"/>
                <a:gd name="T20" fmla="*/ 116 w 311"/>
                <a:gd name="T21" fmla="*/ 274 h 291"/>
                <a:gd name="T22" fmla="*/ 119 w 311"/>
                <a:gd name="T23" fmla="*/ 270 h 291"/>
                <a:gd name="T24" fmla="*/ 126 w 311"/>
                <a:gd name="T25" fmla="*/ 269 h 291"/>
                <a:gd name="T26" fmla="*/ 131 w 311"/>
                <a:gd name="T27" fmla="*/ 274 h 291"/>
                <a:gd name="T28" fmla="*/ 134 w 311"/>
                <a:gd name="T29" fmla="*/ 276 h 291"/>
                <a:gd name="T30" fmla="*/ 134 w 311"/>
                <a:gd name="T31" fmla="*/ 282 h 291"/>
                <a:gd name="T32" fmla="*/ 136 w 311"/>
                <a:gd name="T33" fmla="*/ 286 h 291"/>
                <a:gd name="T34" fmla="*/ 141 w 311"/>
                <a:gd name="T35" fmla="*/ 287 h 291"/>
                <a:gd name="T36" fmla="*/ 157 w 311"/>
                <a:gd name="T37" fmla="*/ 290 h 291"/>
                <a:gd name="T38" fmla="*/ 173 w 311"/>
                <a:gd name="T39" fmla="*/ 290 h 291"/>
                <a:gd name="T40" fmla="*/ 183 w 311"/>
                <a:gd name="T41" fmla="*/ 280 h 291"/>
                <a:gd name="T42" fmla="*/ 191 w 311"/>
                <a:gd name="T43" fmla="*/ 274 h 291"/>
                <a:gd name="T44" fmla="*/ 191 w 311"/>
                <a:gd name="T45" fmla="*/ 194 h 291"/>
                <a:gd name="T46" fmla="*/ 190 w 311"/>
                <a:gd name="T47" fmla="*/ 189 h 291"/>
                <a:gd name="T48" fmla="*/ 191 w 311"/>
                <a:gd name="T49" fmla="*/ 119 h 291"/>
                <a:gd name="T50" fmla="*/ 199 w 311"/>
                <a:gd name="T51" fmla="*/ 117 h 291"/>
                <a:gd name="T52" fmla="*/ 213 w 311"/>
                <a:gd name="T53" fmla="*/ 116 h 291"/>
                <a:gd name="T54" fmla="*/ 214 w 311"/>
                <a:gd name="T55" fmla="*/ 112 h 291"/>
                <a:gd name="T56" fmla="*/ 214 w 311"/>
                <a:gd name="T57" fmla="*/ 66 h 291"/>
                <a:gd name="T58" fmla="*/ 216 w 311"/>
                <a:gd name="T59" fmla="*/ 28 h 291"/>
                <a:gd name="T60" fmla="*/ 268 w 311"/>
                <a:gd name="T61" fmla="*/ 19 h 291"/>
                <a:gd name="T62" fmla="*/ 275 w 311"/>
                <a:gd name="T63" fmla="*/ 23 h 291"/>
                <a:gd name="T64" fmla="*/ 277 w 311"/>
                <a:gd name="T65" fmla="*/ 26 h 291"/>
                <a:gd name="T66" fmla="*/ 284 w 311"/>
                <a:gd name="T67" fmla="*/ 26 h 291"/>
                <a:gd name="T68" fmla="*/ 286 w 311"/>
                <a:gd name="T69" fmla="*/ 24 h 291"/>
                <a:gd name="T70" fmla="*/ 310 w 311"/>
                <a:gd name="T71" fmla="*/ 14 h 291"/>
                <a:gd name="T72" fmla="*/ 298 w 311"/>
                <a:gd name="T73" fmla="*/ 12 h 291"/>
                <a:gd name="T74" fmla="*/ 282 w 311"/>
                <a:gd name="T75" fmla="*/ 14 h 291"/>
                <a:gd name="T76" fmla="*/ 235 w 311"/>
                <a:gd name="T77" fmla="*/ 23 h 291"/>
                <a:gd name="T78" fmla="*/ 192 w 311"/>
                <a:gd name="T79" fmla="*/ 21 h 291"/>
                <a:gd name="T80" fmla="*/ 184 w 311"/>
                <a:gd name="T81" fmla="*/ 20 h 291"/>
                <a:gd name="T82" fmla="*/ 176 w 311"/>
                <a:gd name="T83" fmla="*/ 20 h 291"/>
                <a:gd name="T84" fmla="*/ 165 w 311"/>
                <a:gd name="T85" fmla="*/ 18 h 291"/>
                <a:gd name="T86" fmla="*/ 157 w 311"/>
                <a:gd name="T87" fmla="*/ 11 h 291"/>
                <a:gd name="T88" fmla="*/ 156 w 311"/>
                <a:gd name="T89" fmla="*/ 10 h 291"/>
                <a:gd name="T90" fmla="*/ 143 w 311"/>
                <a:gd name="T91" fmla="*/ 10 h 291"/>
                <a:gd name="T92" fmla="*/ 102 w 311"/>
                <a:gd name="T93" fmla="*/ 10 h 291"/>
                <a:gd name="T94" fmla="*/ 64 w 311"/>
                <a:gd name="T95" fmla="*/ 10 h 291"/>
                <a:gd name="T96" fmla="*/ 56 w 311"/>
                <a:gd name="T97" fmla="*/ 10 h 291"/>
                <a:gd name="T98" fmla="*/ 45 w 311"/>
                <a:gd name="T99" fmla="*/ 7 h 291"/>
                <a:gd name="T100" fmla="*/ 42 w 311"/>
                <a:gd name="T101" fmla="*/ 3 h 291"/>
                <a:gd name="T102" fmla="*/ 37 w 311"/>
                <a:gd name="T103"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1" h="291">
                  <a:moveTo>
                    <a:pt x="37" y="0"/>
                  </a:moveTo>
                  <a:cubicBezTo>
                    <a:pt x="35" y="0"/>
                    <a:pt x="35" y="0"/>
                    <a:pt x="35" y="0"/>
                  </a:cubicBezTo>
                  <a:cubicBezTo>
                    <a:pt x="34" y="0"/>
                    <a:pt x="34" y="0"/>
                    <a:pt x="33" y="0"/>
                  </a:cubicBezTo>
                  <a:cubicBezTo>
                    <a:pt x="32" y="0"/>
                    <a:pt x="32" y="0"/>
                    <a:pt x="32" y="0"/>
                  </a:cubicBezTo>
                  <a:cubicBezTo>
                    <a:pt x="31" y="0"/>
                    <a:pt x="31" y="0"/>
                    <a:pt x="30" y="0"/>
                  </a:cubicBezTo>
                  <a:cubicBezTo>
                    <a:pt x="30" y="1"/>
                    <a:pt x="29" y="1"/>
                    <a:pt x="28" y="1"/>
                  </a:cubicBezTo>
                  <a:cubicBezTo>
                    <a:pt x="28" y="2"/>
                    <a:pt x="27" y="2"/>
                    <a:pt x="26" y="3"/>
                  </a:cubicBezTo>
                  <a:cubicBezTo>
                    <a:pt x="24" y="4"/>
                    <a:pt x="21" y="6"/>
                    <a:pt x="18" y="6"/>
                  </a:cubicBezTo>
                  <a:cubicBezTo>
                    <a:pt x="16" y="6"/>
                    <a:pt x="13" y="7"/>
                    <a:pt x="11" y="7"/>
                  </a:cubicBezTo>
                  <a:cubicBezTo>
                    <a:pt x="9" y="7"/>
                    <a:pt x="8" y="6"/>
                    <a:pt x="6" y="6"/>
                  </a:cubicBezTo>
                  <a:cubicBezTo>
                    <a:pt x="4" y="6"/>
                    <a:pt x="3" y="6"/>
                    <a:pt x="2" y="6"/>
                  </a:cubicBezTo>
                  <a:cubicBezTo>
                    <a:pt x="1" y="6"/>
                    <a:pt x="1" y="6"/>
                    <a:pt x="0" y="6"/>
                  </a:cubicBezTo>
                  <a:cubicBezTo>
                    <a:pt x="0" y="6"/>
                    <a:pt x="0" y="6"/>
                    <a:pt x="0" y="6"/>
                  </a:cubicBezTo>
                  <a:cubicBezTo>
                    <a:pt x="0" y="16"/>
                    <a:pt x="0" y="28"/>
                    <a:pt x="8" y="35"/>
                  </a:cubicBezTo>
                  <a:cubicBezTo>
                    <a:pt x="20" y="46"/>
                    <a:pt x="27" y="65"/>
                    <a:pt x="34" y="79"/>
                  </a:cubicBezTo>
                  <a:cubicBezTo>
                    <a:pt x="40" y="91"/>
                    <a:pt x="46" y="103"/>
                    <a:pt x="53" y="115"/>
                  </a:cubicBezTo>
                  <a:cubicBezTo>
                    <a:pt x="57" y="122"/>
                    <a:pt x="61" y="129"/>
                    <a:pt x="65" y="136"/>
                  </a:cubicBezTo>
                  <a:cubicBezTo>
                    <a:pt x="66" y="138"/>
                    <a:pt x="65" y="142"/>
                    <a:pt x="65" y="143"/>
                  </a:cubicBezTo>
                  <a:cubicBezTo>
                    <a:pt x="64" y="148"/>
                    <a:pt x="64" y="152"/>
                    <a:pt x="64" y="156"/>
                  </a:cubicBezTo>
                  <a:cubicBezTo>
                    <a:pt x="64" y="162"/>
                    <a:pt x="63" y="168"/>
                    <a:pt x="64" y="173"/>
                  </a:cubicBezTo>
                  <a:cubicBezTo>
                    <a:pt x="64" y="175"/>
                    <a:pt x="65" y="177"/>
                    <a:pt x="66" y="179"/>
                  </a:cubicBezTo>
                  <a:cubicBezTo>
                    <a:pt x="67" y="184"/>
                    <a:pt x="69" y="188"/>
                    <a:pt x="72" y="193"/>
                  </a:cubicBezTo>
                  <a:cubicBezTo>
                    <a:pt x="74" y="198"/>
                    <a:pt x="72" y="206"/>
                    <a:pt x="72" y="212"/>
                  </a:cubicBezTo>
                  <a:cubicBezTo>
                    <a:pt x="73" y="221"/>
                    <a:pt x="77" y="230"/>
                    <a:pt x="79" y="239"/>
                  </a:cubicBezTo>
                  <a:cubicBezTo>
                    <a:pt x="82" y="247"/>
                    <a:pt x="84" y="256"/>
                    <a:pt x="89" y="263"/>
                  </a:cubicBezTo>
                  <a:cubicBezTo>
                    <a:pt x="92" y="267"/>
                    <a:pt x="94" y="271"/>
                    <a:pt x="98" y="275"/>
                  </a:cubicBezTo>
                  <a:cubicBezTo>
                    <a:pt x="102" y="277"/>
                    <a:pt x="104" y="281"/>
                    <a:pt x="107" y="283"/>
                  </a:cubicBezTo>
                  <a:cubicBezTo>
                    <a:pt x="108" y="284"/>
                    <a:pt x="108" y="284"/>
                    <a:pt x="108" y="284"/>
                  </a:cubicBezTo>
                  <a:cubicBezTo>
                    <a:pt x="110" y="281"/>
                    <a:pt x="110" y="281"/>
                    <a:pt x="110" y="281"/>
                  </a:cubicBezTo>
                  <a:cubicBezTo>
                    <a:pt x="111" y="281"/>
                    <a:pt x="112" y="280"/>
                    <a:pt x="113" y="278"/>
                  </a:cubicBezTo>
                  <a:cubicBezTo>
                    <a:pt x="113" y="278"/>
                    <a:pt x="114" y="277"/>
                    <a:pt x="114" y="276"/>
                  </a:cubicBezTo>
                  <a:cubicBezTo>
                    <a:pt x="115" y="276"/>
                    <a:pt x="115" y="275"/>
                    <a:pt x="115" y="275"/>
                  </a:cubicBezTo>
                  <a:cubicBezTo>
                    <a:pt x="116" y="274"/>
                    <a:pt x="116" y="274"/>
                    <a:pt x="116" y="274"/>
                  </a:cubicBezTo>
                  <a:cubicBezTo>
                    <a:pt x="116" y="273"/>
                    <a:pt x="117" y="272"/>
                    <a:pt x="117" y="272"/>
                  </a:cubicBezTo>
                  <a:cubicBezTo>
                    <a:pt x="118" y="271"/>
                    <a:pt x="118" y="270"/>
                    <a:pt x="119" y="270"/>
                  </a:cubicBezTo>
                  <a:cubicBezTo>
                    <a:pt x="119" y="270"/>
                    <a:pt x="119" y="270"/>
                    <a:pt x="119" y="270"/>
                  </a:cubicBezTo>
                  <a:cubicBezTo>
                    <a:pt x="120" y="269"/>
                    <a:pt x="121" y="269"/>
                    <a:pt x="122" y="269"/>
                  </a:cubicBezTo>
                  <a:cubicBezTo>
                    <a:pt x="123" y="269"/>
                    <a:pt x="123" y="269"/>
                    <a:pt x="123" y="269"/>
                  </a:cubicBezTo>
                  <a:cubicBezTo>
                    <a:pt x="126" y="269"/>
                    <a:pt x="126" y="269"/>
                    <a:pt x="126" y="269"/>
                  </a:cubicBezTo>
                  <a:cubicBezTo>
                    <a:pt x="129" y="270"/>
                    <a:pt x="130" y="272"/>
                    <a:pt x="130" y="273"/>
                  </a:cubicBezTo>
                  <a:cubicBezTo>
                    <a:pt x="130" y="274"/>
                    <a:pt x="130" y="274"/>
                    <a:pt x="130" y="274"/>
                  </a:cubicBezTo>
                  <a:cubicBezTo>
                    <a:pt x="131" y="274"/>
                    <a:pt x="131" y="274"/>
                    <a:pt x="131" y="274"/>
                  </a:cubicBezTo>
                  <a:cubicBezTo>
                    <a:pt x="131" y="274"/>
                    <a:pt x="131" y="274"/>
                    <a:pt x="131" y="274"/>
                  </a:cubicBezTo>
                  <a:cubicBezTo>
                    <a:pt x="131" y="274"/>
                    <a:pt x="131" y="274"/>
                    <a:pt x="131" y="274"/>
                  </a:cubicBezTo>
                  <a:cubicBezTo>
                    <a:pt x="132" y="275"/>
                    <a:pt x="133" y="275"/>
                    <a:pt x="134" y="276"/>
                  </a:cubicBezTo>
                  <a:cubicBezTo>
                    <a:pt x="135" y="277"/>
                    <a:pt x="135" y="277"/>
                    <a:pt x="135" y="277"/>
                  </a:cubicBezTo>
                  <a:cubicBezTo>
                    <a:pt x="135" y="278"/>
                    <a:pt x="135" y="278"/>
                    <a:pt x="135" y="279"/>
                  </a:cubicBezTo>
                  <a:cubicBezTo>
                    <a:pt x="135" y="281"/>
                    <a:pt x="135" y="282"/>
                    <a:pt x="134" y="282"/>
                  </a:cubicBezTo>
                  <a:cubicBezTo>
                    <a:pt x="134" y="282"/>
                    <a:pt x="134" y="282"/>
                    <a:pt x="134" y="282"/>
                  </a:cubicBezTo>
                  <a:cubicBezTo>
                    <a:pt x="135" y="283"/>
                    <a:pt x="136" y="284"/>
                    <a:pt x="136" y="284"/>
                  </a:cubicBezTo>
                  <a:cubicBezTo>
                    <a:pt x="136" y="285"/>
                    <a:pt x="136" y="285"/>
                    <a:pt x="136" y="286"/>
                  </a:cubicBezTo>
                  <a:cubicBezTo>
                    <a:pt x="136" y="286"/>
                    <a:pt x="137" y="286"/>
                    <a:pt x="137" y="286"/>
                  </a:cubicBezTo>
                  <a:cubicBezTo>
                    <a:pt x="138" y="286"/>
                    <a:pt x="138" y="286"/>
                    <a:pt x="138" y="286"/>
                  </a:cubicBezTo>
                  <a:cubicBezTo>
                    <a:pt x="139" y="287"/>
                    <a:pt x="140" y="287"/>
                    <a:pt x="141" y="287"/>
                  </a:cubicBezTo>
                  <a:cubicBezTo>
                    <a:pt x="142" y="287"/>
                    <a:pt x="142" y="287"/>
                    <a:pt x="142" y="287"/>
                  </a:cubicBezTo>
                  <a:cubicBezTo>
                    <a:pt x="146" y="289"/>
                    <a:pt x="150" y="290"/>
                    <a:pt x="154" y="290"/>
                  </a:cubicBezTo>
                  <a:cubicBezTo>
                    <a:pt x="154" y="290"/>
                    <a:pt x="156" y="290"/>
                    <a:pt x="157" y="290"/>
                  </a:cubicBezTo>
                  <a:cubicBezTo>
                    <a:pt x="158" y="290"/>
                    <a:pt x="158" y="290"/>
                    <a:pt x="158" y="290"/>
                  </a:cubicBezTo>
                  <a:cubicBezTo>
                    <a:pt x="160" y="291"/>
                    <a:pt x="164" y="291"/>
                    <a:pt x="168" y="291"/>
                  </a:cubicBezTo>
                  <a:cubicBezTo>
                    <a:pt x="170" y="291"/>
                    <a:pt x="171" y="291"/>
                    <a:pt x="173" y="290"/>
                  </a:cubicBezTo>
                  <a:cubicBezTo>
                    <a:pt x="173" y="290"/>
                    <a:pt x="173" y="290"/>
                    <a:pt x="173" y="290"/>
                  </a:cubicBezTo>
                  <a:cubicBezTo>
                    <a:pt x="174" y="289"/>
                    <a:pt x="175" y="287"/>
                    <a:pt x="176" y="285"/>
                  </a:cubicBezTo>
                  <a:cubicBezTo>
                    <a:pt x="178" y="283"/>
                    <a:pt x="181" y="282"/>
                    <a:pt x="183" y="280"/>
                  </a:cubicBezTo>
                  <a:cubicBezTo>
                    <a:pt x="185" y="280"/>
                    <a:pt x="186" y="280"/>
                    <a:pt x="188" y="279"/>
                  </a:cubicBezTo>
                  <a:cubicBezTo>
                    <a:pt x="190" y="279"/>
                    <a:pt x="191" y="279"/>
                    <a:pt x="191" y="279"/>
                  </a:cubicBezTo>
                  <a:cubicBezTo>
                    <a:pt x="191" y="278"/>
                    <a:pt x="191" y="277"/>
                    <a:pt x="191" y="274"/>
                  </a:cubicBezTo>
                  <a:cubicBezTo>
                    <a:pt x="191" y="273"/>
                    <a:pt x="191" y="273"/>
                    <a:pt x="191" y="272"/>
                  </a:cubicBezTo>
                  <a:cubicBezTo>
                    <a:pt x="191" y="199"/>
                    <a:pt x="191" y="199"/>
                    <a:pt x="191" y="199"/>
                  </a:cubicBezTo>
                  <a:cubicBezTo>
                    <a:pt x="191" y="197"/>
                    <a:pt x="191" y="196"/>
                    <a:pt x="191" y="194"/>
                  </a:cubicBezTo>
                  <a:cubicBezTo>
                    <a:pt x="191" y="193"/>
                    <a:pt x="191" y="193"/>
                    <a:pt x="191" y="193"/>
                  </a:cubicBezTo>
                  <a:cubicBezTo>
                    <a:pt x="191" y="192"/>
                    <a:pt x="191" y="191"/>
                    <a:pt x="190" y="189"/>
                  </a:cubicBezTo>
                  <a:cubicBezTo>
                    <a:pt x="190" y="189"/>
                    <a:pt x="190" y="189"/>
                    <a:pt x="190" y="189"/>
                  </a:cubicBezTo>
                  <a:cubicBezTo>
                    <a:pt x="191" y="186"/>
                    <a:pt x="191" y="186"/>
                    <a:pt x="191" y="186"/>
                  </a:cubicBezTo>
                  <a:cubicBezTo>
                    <a:pt x="191" y="124"/>
                    <a:pt x="191" y="124"/>
                    <a:pt x="191" y="124"/>
                  </a:cubicBezTo>
                  <a:cubicBezTo>
                    <a:pt x="191" y="121"/>
                    <a:pt x="191" y="120"/>
                    <a:pt x="191" y="119"/>
                  </a:cubicBezTo>
                  <a:cubicBezTo>
                    <a:pt x="192" y="118"/>
                    <a:pt x="192" y="118"/>
                    <a:pt x="192" y="118"/>
                  </a:cubicBezTo>
                  <a:cubicBezTo>
                    <a:pt x="192" y="117"/>
                    <a:pt x="193" y="117"/>
                    <a:pt x="195" y="117"/>
                  </a:cubicBezTo>
                  <a:cubicBezTo>
                    <a:pt x="196" y="117"/>
                    <a:pt x="198" y="117"/>
                    <a:pt x="199" y="117"/>
                  </a:cubicBezTo>
                  <a:cubicBezTo>
                    <a:pt x="200" y="117"/>
                    <a:pt x="200" y="117"/>
                    <a:pt x="200" y="117"/>
                  </a:cubicBezTo>
                  <a:cubicBezTo>
                    <a:pt x="202" y="117"/>
                    <a:pt x="205" y="117"/>
                    <a:pt x="207" y="117"/>
                  </a:cubicBezTo>
                  <a:cubicBezTo>
                    <a:pt x="209" y="117"/>
                    <a:pt x="211" y="117"/>
                    <a:pt x="213" y="116"/>
                  </a:cubicBezTo>
                  <a:cubicBezTo>
                    <a:pt x="214" y="116"/>
                    <a:pt x="214" y="116"/>
                    <a:pt x="214" y="116"/>
                  </a:cubicBezTo>
                  <a:cubicBezTo>
                    <a:pt x="215" y="115"/>
                    <a:pt x="215" y="115"/>
                    <a:pt x="215" y="114"/>
                  </a:cubicBezTo>
                  <a:cubicBezTo>
                    <a:pt x="214" y="113"/>
                    <a:pt x="214" y="113"/>
                    <a:pt x="214" y="112"/>
                  </a:cubicBezTo>
                  <a:cubicBezTo>
                    <a:pt x="214" y="101"/>
                    <a:pt x="214" y="101"/>
                    <a:pt x="214" y="101"/>
                  </a:cubicBezTo>
                  <a:cubicBezTo>
                    <a:pt x="214" y="90"/>
                    <a:pt x="214" y="79"/>
                    <a:pt x="214" y="68"/>
                  </a:cubicBezTo>
                  <a:cubicBezTo>
                    <a:pt x="214" y="66"/>
                    <a:pt x="214" y="66"/>
                    <a:pt x="214" y="66"/>
                  </a:cubicBezTo>
                  <a:cubicBezTo>
                    <a:pt x="214" y="55"/>
                    <a:pt x="214" y="44"/>
                    <a:pt x="214" y="32"/>
                  </a:cubicBezTo>
                  <a:cubicBezTo>
                    <a:pt x="214" y="30"/>
                    <a:pt x="215" y="29"/>
                    <a:pt x="215" y="29"/>
                  </a:cubicBezTo>
                  <a:cubicBezTo>
                    <a:pt x="216" y="28"/>
                    <a:pt x="216" y="28"/>
                    <a:pt x="216" y="28"/>
                  </a:cubicBezTo>
                  <a:cubicBezTo>
                    <a:pt x="216" y="27"/>
                    <a:pt x="217" y="27"/>
                    <a:pt x="217" y="26"/>
                  </a:cubicBezTo>
                  <a:cubicBezTo>
                    <a:pt x="218" y="26"/>
                    <a:pt x="218" y="26"/>
                    <a:pt x="218" y="26"/>
                  </a:cubicBezTo>
                  <a:cubicBezTo>
                    <a:pt x="268" y="19"/>
                    <a:pt x="268" y="19"/>
                    <a:pt x="268" y="19"/>
                  </a:cubicBezTo>
                  <a:cubicBezTo>
                    <a:pt x="268" y="19"/>
                    <a:pt x="269" y="19"/>
                    <a:pt x="270" y="19"/>
                  </a:cubicBezTo>
                  <a:cubicBezTo>
                    <a:pt x="271" y="19"/>
                    <a:pt x="273" y="19"/>
                    <a:pt x="275" y="21"/>
                  </a:cubicBezTo>
                  <a:cubicBezTo>
                    <a:pt x="275" y="22"/>
                    <a:pt x="275" y="22"/>
                    <a:pt x="275" y="23"/>
                  </a:cubicBezTo>
                  <a:cubicBezTo>
                    <a:pt x="276" y="23"/>
                    <a:pt x="276" y="23"/>
                    <a:pt x="276" y="23"/>
                  </a:cubicBezTo>
                  <a:cubicBezTo>
                    <a:pt x="276" y="24"/>
                    <a:pt x="276" y="24"/>
                    <a:pt x="276" y="24"/>
                  </a:cubicBezTo>
                  <a:cubicBezTo>
                    <a:pt x="276" y="24"/>
                    <a:pt x="277" y="25"/>
                    <a:pt x="277" y="26"/>
                  </a:cubicBezTo>
                  <a:cubicBezTo>
                    <a:pt x="278" y="27"/>
                    <a:pt x="278" y="29"/>
                    <a:pt x="279" y="30"/>
                  </a:cubicBezTo>
                  <a:cubicBezTo>
                    <a:pt x="279" y="30"/>
                    <a:pt x="279" y="30"/>
                    <a:pt x="279" y="30"/>
                  </a:cubicBezTo>
                  <a:cubicBezTo>
                    <a:pt x="280" y="30"/>
                    <a:pt x="281" y="28"/>
                    <a:pt x="284" y="26"/>
                  </a:cubicBezTo>
                  <a:cubicBezTo>
                    <a:pt x="284" y="26"/>
                    <a:pt x="285" y="25"/>
                    <a:pt x="285" y="25"/>
                  </a:cubicBezTo>
                  <a:cubicBezTo>
                    <a:pt x="282" y="21"/>
                    <a:pt x="282" y="21"/>
                    <a:pt x="282" y="21"/>
                  </a:cubicBezTo>
                  <a:cubicBezTo>
                    <a:pt x="286" y="24"/>
                    <a:pt x="286" y="24"/>
                    <a:pt x="286" y="24"/>
                  </a:cubicBezTo>
                  <a:cubicBezTo>
                    <a:pt x="286" y="24"/>
                    <a:pt x="286" y="24"/>
                    <a:pt x="286" y="24"/>
                  </a:cubicBezTo>
                  <a:cubicBezTo>
                    <a:pt x="294" y="18"/>
                    <a:pt x="302" y="15"/>
                    <a:pt x="311" y="15"/>
                  </a:cubicBezTo>
                  <a:cubicBezTo>
                    <a:pt x="310" y="14"/>
                    <a:pt x="310" y="14"/>
                    <a:pt x="310" y="14"/>
                  </a:cubicBezTo>
                  <a:cubicBezTo>
                    <a:pt x="310" y="14"/>
                    <a:pt x="309" y="14"/>
                    <a:pt x="308" y="13"/>
                  </a:cubicBezTo>
                  <a:cubicBezTo>
                    <a:pt x="305" y="12"/>
                    <a:pt x="302" y="12"/>
                    <a:pt x="298" y="12"/>
                  </a:cubicBezTo>
                  <a:cubicBezTo>
                    <a:pt x="298" y="12"/>
                    <a:pt x="298" y="12"/>
                    <a:pt x="298" y="12"/>
                  </a:cubicBezTo>
                  <a:cubicBezTo>
                    <a:pt x="297" y="12"/>
                    <a:pt x="295" y="12"/>
                    <a:pt x="294" y="12"/>
                  </a:cubicBezTo>
                  <a:cubicBezTo>
                    <a:pt x="294" y="12"/>
                    <a:pt x="294" y="12"/>
                    <a:pt x="293" y="12"/>
                  </a:cubicBezTo>
                  <a:cubicBezTo>
                    <a:pt x="290" y="12"/>
                    <a:pt x="286" y="13"/>
                    <a:pt x="282" y="14"/>
                  </a:cubicBezTo>
                  <a:cubicBezTo>
                    <a:pt x="280" y="14"/>
                    <a:pt x="279" y="15"/>
                    <a:pt x="277" y="15"/>
                  </a:cubicBezTo>
                  <a:cubicBezTo>
                    <a:pt x="275" y="15"/>
                    <a:pt x="275" y="15"/>
                    <a:pt x="275" y="15"/>
                  </a:cubicBezTo>
                  <a:cubicBezTo>
                    <a:pt x="235" y="23"/>
                    <a:pt x="235" y="23"/>
                    <a:pt x="235" y="23"/>
                  </a:cubicBezTo>
                  <a:cubicBezTo>
                    <a:pt x="232" y="23"/>
                    <a:pt x="229" y="24"/>
                    <a:pt x="225" y="24"/>
                  </a:cubicBezTo>
                  <a:cubicBezTo>
                    <a:pt x="216" y="24"/>
                    <a:pt x="208" y="23"/>
                    <a:pt x="199" y="22"/>
                  </a:cubicBezTo>
                  <a:cubicBezTo>
                    <a:pt x="192" y="21"/>
                    <a:pt x="192" y="21"/>
                    <a:pt x="192" y="21"/>
                  </a:cubicBezTo>
                  <a:cubicBezTo>
                    <a:pt x="191" y="21"/>
                    <a:pt x="191" y="21"/>
                    <a:pt x="190" y="21"/>
                  </a:cubicBezTo>
                  <a:cubicBezTo>
                    <a:pt x="188" y="21"/>
                    <a:pt x="188" y="21"/>
                    <a:pt x="188" y="21"/>
                  </a:cubicBezTo>
                  <a:cubicBezTo>
                    <a:pt x="186" y="21"/>
                    <a:pt x="185" y="21"/>
                    <a:pt x="184" y="20"/>
                  </a:cubicBezTo>
                  <a:cubicBezTo>
                    <a:pt x="182" y="20"/>
                    <a:pt x="181" y="20"/>
                    <a:pt x="180" y="20"/>
                  </a:cubicBezTo>
                  <a:cubicBezTo>
                    <a:pt x="177" y="20"/>
                    <a:pt x="177" y="20"/>
                    <a:pt x="177" y="20"/>
                  </a:cubicBezTo>
                  <a:cubicBezTo>
                    <a:pt x="177" y="20"/>
                    <a:pt x="176" y="20"/>
                    <a:pt x="176" y="20"/>
                  </a:cubicBezTo>
                  <a:cubicBezTo>
                    <a:pt x="175" y="20"/>
                    <a:pt x="175" y="20"/>
                    <a:pt x="175" y="20"/>
                  </a:cubicBezTo>
                  <a:cubicBezTo>
                    <a:pt x="173" y="20"/>
                    <a:pt x="173" y="20"/>
                    <a:pt x="173" y="20"/>
                  </a:cubicBezTo>
                  <a:cubicBezTo>
                    <a:pt x="170" y="20"/>
                    <a:pt x="168" y="19"/>
                    <a:pt x="165" y="18"/>
                  </a:cubicBezTo>
                  <a:cubicBezTo>
                    <a:pt x="163" y="17"/>
                    <a:pt x="161" y="15"/>
                    <a:pt x="160" y="14"/>
                  </a:cubicBezTo>
                  <a:cubicBezTo>
                    <a:pt x="159" y="13"/>
                    <a:pt x="158" y="12"/>
                    <a:pt x="158" y="12"/>
                  </a:cubicBezTo>
                  <a:cubicBezTo>
                    <a:pt x="157" y="11"/>
                    <a:pt x="157" y="11"/>
                    <a:pt x="157" y="11"/>
                  </a:cubicBezTo>
                  <a:cubicBezTo>
                    <a:pt x="157" y="11"/>
                    <a:pt x="157" y="10"/>
                    <a:pt x="156" y="10"/>
                  </a:cubicBezTo>
                  <a:cubicBezTo>
                    <a:pt x="156" y="10"/>
                    <a:pt x="156" y="10"/>
                    <a:pt x="156" y="10"/>
                  </a:cubicBezTo>
                  <a:cubicBezTo>
                    <a:pt x="156" y="10"/>
                    <a:pt x="156" y="10"/>
                    <a:pt x="156" y="10"/>
                  </a:cubicBezTo>
                  <a:cubicBezTo>
                    <a:pt x="155" y="9"/>
                    <a:pt x="154" y="9"/>
                    <a:pt x="152" y="9"/>
                  </a:cubicBezTo>
                  <a:cubicBezTo>
                    <a:pt x="150" y="9"/>
                    <a:pt x="148" y="9"/>
                    <a:pt x="147" y="9"/>
                  </a:cubicBezTo>
                  <a:cubicBezTo>
                    <a:pt x="145" y="9"/>
                    <a:pt x="144" y="10"/>
                    <a:pt x="143" y="10"/>
                  </a:cubicBezTo>
                  <a:cubicBezTo>
                    <a:pt x="135" y="10"/>
                    <a:pt x="127" y="10"/>
                    <a:pt x="118" y="10"/>
                  </a:cubicBezTo>
                  <a:cubicBezTo>
                    <a:pt x="116" y="10"/>
                    <a:pt x="114" y="10"/>
                    <a:pt x="112" y="10"/>
                  </a:cubicBezTo>
                  <a:cubicBezTo>
                    <a:pt x="109" y="10"/>
                    <a:pt x="105" y="10"/>
                    <a:pt x="102" y="10"/>
                  </a:cubicBezTo>
                  <a:cubicBezTo>
                    <a:pt x="81" y="10"/>
                    <a:pt x="81" y="10"/>
                    <a:pt x="81" y="10"/>
                  </a:cubicBezTo>
                  <a:cubicBezTo>
                    <a:pt x="77" y="10"/>
                    <a:pt x="73" y="10"/>
                    <a:pt x="69" y="10"/>
                  </a:cubicBezTo>
                  <a:cubicBezTo>
                    <a:pt x="64" y="10"/>
                    <a:pt x="64" y="10"/>
                    <a:pt x="64" y="10"/>
                  </a:cubicBezTo>
                  <a:cubicBezTo>
                    <a:pt x="62" y="10"/>
                    <a:pt x="60" y="9"/>
                    <a:pt x="58" y="9"/>
                  </a:cubicBezTo>
                  <a:cubicBezTo>
                    <a:pt x="58" y="9"/>
                    <a:pt x="58" y="9"/>
                    <a:pt x="58" y="9"/>
                  </a:cubicBezTo>
                  <a:cubicBezTo>
                    <a:pt x="57" y="9"/>
                    <a:pt x="57" y="10"/>
                    <a:pt x="56" y="10"/>
                  </a:cubicBezTo>
                  <a:cubicBezTo>
                    <a:pt x="55" y="10"/>
                    <a:pt x="54" y="10"/>
                    <a:pt x="53" y="10"/>
                  </a:cubicBezTo>
                  <a:cubicBezTo>
                    <a:pt x="52" y="10"/>
                    <a:pt x="52" y="10"/>
                    <a:pt x="51" y="10"/>
                  </a:cubicBezTo>
                  <a:cubicBezTo>
                    <a:pt x="49" y="10"/>
                    <a:pt x="47" y="8"/>
                    <a:pt x="45" y="7"/>
                  </a:cubicBezTo>
                  <a:cubicBezTo>
                    <a:pt x="45" y="6"/>
                    <a:pt x="45" y="6"/>
                    <a:pt x="44" y="6"/>
                  </a:cubicBezTo>
                  <a:cubicBezTo>
                    <a:pt x="43" y="5"/>
                    <a:pt x="43" y="5"/>
                    <a:pt x="43" y="5"/>
                  </a:cubicBezTo>
                  <a:cubicBezTo>
                    <a:pt x="43" y="4"/>
                    <a:pt x="42" y="4"/>
                    <a:pt x="42" y="3"/>
                  </a:cubicBezTo>
                  <a:cubicBezTo>
                    <a:pt x="41" y="3"/>
                    <a:pt x="41" y="3"/>
                    <a:pt x="41" y="3"/>
                  </a:cubicBezTo>
                  <a:cubicBezTo>
                    <a:pt x="40" y="2"/>
                    <a:pt x="38" y="0"/>
                    <a:pt x="37" y="0"/>
                  </a:cubicBezTo>
                  <a:cubicBezTo>
                    <a:pt x="37" y="0"/>
                    <a:pt x="37" y="0"/>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 name="Freeform 226">
              <a:extLst>
                <a:ext uri="{FF2B5EF4-FFF2-40B4-BE49-F238E27FC236}">
                  <a16:creationId xmlns:a16="http://schemas.microsoft.com/office/drawing/2014/main" id="{D4EB72B7-8EB4-44AF-829F-C84017618755}"/>
                </a:ext>
              </a:extLst>
            </p:cNvPr>
            <p:cNvSpPr>
              <a:spLocks/>
            </p:cNvSpPr>
            <p:nvPr/>
          </p:nvSpPr>
          <p:spPr bwMode="auto">
            <a:xfrm>
              <a:off x="5490" y="3292"/>
              <a:ext cx="158" cy="397"/>
            </a:xfrm>
            <a:custGeom>
              <a:avLst/>
              <a:gdLst>
                <a:gd name="T0" fmla="*/ 14 w 67"/>
                <a:gd name="T1" fmla="*/ 6 h 168"/>
                <a:gd name="T2" fmla="*/ 22 w 67"/>
                <a:gd name="T3" fmla="*/ 20 h 168"/>
                <a:gd name="T4" fmla="*/ 13 w 67"/>
                <a:gd name="T5" fmla="*/ 30 h 168"/>
                <a:gd name="T6" fmla="*/ 13 w 67"/>
                <a:gd name="T7" fmla="*/ 32 h 168"/>
                <a:gd name="T8" fmla="*/ 12 w 67"/>
                <a:gd name="T9" fmla="*/ 41 h 168"/>
                <a:gd name="T10" fmla="*/ 11 w 67"/>
                <a:gd name="T11" fmla="*/ 46 h 168"/>
                <a:gd name="T12" fmla="*/ 12 w 67"/>
                <a:gd name="T13" fmla="*/ 52 h 168"/>
                <a:gd name="T14" fmla="*/ 12 w 67"/>
                <a:gd name="T15" fmla="*/ 55 h 168"/>
                <a:gd name="T16" fmla="*/ 12 w 67"/>
                <a:gd name="T17" fmla="*/ 56 h 168"/>
                <a:gd name="T18" fmla="*/ 15 w 67"/>
                <a:gd name="T19" fmla="*/ 61 h 168"/>
                <a:gd name="T20" fmla="*/ 17 w 67"/>
                <a:gd name="T21" fmla="*/ 68 h 168"/>
                <a:gd name="T22" fmla="*/ 15 w 67"/>
                <a:gd name="T23" fmla="*/ 69 h 168"/>
                <a:gd name="T24" fmla="*/ 7 w 67"/>
                <a:gd name="T25" fmla="*/ 73 h 168"/>
                <a:gd name="T26" fmla="*/ 6 w 67"/>
                <a:gd name="T27" fmla="*/ 77 h 168"/>
                <a:gd name="T28" fmla="*/ 4 w 67"/>
                <a:gd name="T29" fmla="*/ 89 h 168"/>
                <a:gd name="T30" fmla="*/ 1 w 67"/>
                <a:gd name="T31" fmla="*/ 94 h 168"/>
                <a:gd name="T32" fmla="*/ 0 w 67"/>
                <a:gd name="T33" fmla="*/ 96 h 168"/>
                <a:gd name="T34" fmla="*/ 3 w 67"/>
                <a:gd name="T35" fmla="*/ 99 h 168"/>
                <a:gd name="T36" fmla="*/ 4 w 67"/>
                <a:gd name="T37" fmla="*/ 101 h 168"/>
                <a:gd name="T38" fmla="*/ 6 w 67"/>
                <a:gd name="T39" fmla="*/ 100 h 168"/>
                <a:gd name="T40" fmla="*/ 8 w 67"/>
                <a:gd name="T41" fmla="*/ 101 h 168"/>
                <a:gd name="T42" fmla="*/ 17 w 67"/>
                <a:gd name="T43" fmla="*/ 107 h 168"/>
                <a:gd name="T44" fmla="*/ 18 w 67"/>
                <a:gd name="T45" fmla="*/ 113 h 168"/>
                <a:gd name="T46" fmla="*/ 26 w 67"/>
                <a:gd name="T47" fmla="*/ 113 h 168"/>
                <a:gd name="T48" fmla="*/ 38 w 67"/>
                <a:gd name="T49" fmla="*/ 113 h 168"/>
                <a:gd name="T50" fmla="*/ 43 w 67"/>
                <a:gd name="T51" fmla="*/ 126 h 168"/>
                <a:gd name="T52" fmla="*/ 43 w 67"/>
                <a:gd name="T53" fmla="*/ 129 h 168"/>
                <a:gd name="T54" fmla="*/ 41 w 67"/>
                <a:gd name="T55" fmla="*/ 138 h 168"/>
                <a:gd name="T56" fmla="*/ 36 w 67"/>
                <a:gd name="T57" fmla="*/ 148 h 168"/>
                <a:gd name="T58" fmla="*/ 38 w 67"/>
                <a:gd name="T59" fmla="*/ 155 h 168"/>
                <a:gd name="T60" fmla="*/ 39 w 67"/>
                <a:gd name="T61" fmla="*/ 156 h 168"/>
                <a:gd name="T62" fmla="*/ 40 w 67"/>
                <a:gd name="T63" fmla="*/ 158 h 168"/>
                <a:gd name="T64" fmla="*/ 47 w 67"/>
                <a:gd name="T65" fmla="*/ 164 h 168"/>
                <a:gd name="T66" fmla="*/ 48 w 67"/>
                <a:gd name="T67" fmla="*/ 165 h 168"/>
                <a:gd name="T68" fmla="*/ 50 w 67"/>
                <a:gd name="T69" fmla="*/ 166 h 168"/>
                <a:gd name="T70" fmla="*/ 51 w 67"/>
                <a:gd name="T71" fmla="*/ 164 h 168"/>
                <a:gd name="T72" fmla="*/ 56 w 67"/>
                <a:gd name="T73" fmla="*/ 155 h 168"/>
                <a:gd name="T74" fmla="*/ 58 w 67"/>
                <a:gd name="T75" fmla="*/ 154 h 168"/>
                <a:gd name="T76" fmla="*/ 61 w 67"/>
                <a:gd name="T77" fmla="*/ 153 h 168"/>
                <a:gd name="T78" fmla="*/ 64 w 67"/>
                <a:gd name="T79" fmla="*/ 152 h 168"/>
                <a:gd name="T80" fmla="*/ 66 w 67"/>
                <a:gd name="T81" fmla="*/ 150 h 168"/>
                <a:gd name="T82" fmla="*/ 67 w 67"/>
                <a:gd name="T83" fmla="*/ 140 h 168"/>
                <a:gd name="T84" fmla="*/ 67 w 67"/>
                <a:gd name="T85" fmla="*/ 134 h 168"/>
                <a:gd name="T86" fmla="*/ 67 w 67"/>
                <a:gd name="T87" fmla="*/ 133 h 168"/>
                <a:gd name="T88" fmla="*/ 67 w 67"/>
                <a:gd name="T89" fmla="*/ 130 h 168"/>
                <a:gd name="T90" fmla="*/ 67 w 67"/>
                <a:gd name="T91" fmla="*/ 124 h 168"/>
                <a:gd name="T92" fmla="*/ 63 w 67"/>
                <a:gd name="T93" fmla="*/ 116 h 168"/>
                <a:gd name="T94" fmla="*/ 53 w 67"/>
                <a:gd name="T95" fmla="*/ 103 h 168"/>
                <a:gd name="T96" fmla="*/ 56 w 67"/>
                <a:gd name="T97" fmla="*/ 112 h 168"/>
                <a:gd name="T98" fmla="*/ 47 w 67"/>
                <a:gd name="T99" fmla="*/ 104 h 168"/>
                <a:gd name="T100" fmla="*/ 39 w 67"/>
                <a:gd name="T101" fmla="*/ 105 h 168"/>
                <a:gd name="T102" fmla="*/ 33 w 67"/>
                <a:gd name="T103" fmla="*/ 102 h 168"/>
                <a:gd name="T104" fmla="*/ 39 w 67"/>
                <a:gd name="T105" fmla="*/ 95 h 168"/>
                <a:gd name="T106" fmla="*/ 34 w 67"/>
                <a:gd name="T107" fmla="*/ 79 h 168"/>
                <a:gd name="T108" fmla="*/ 33 w 67"/>
                <a:gd name="T109" fmla="*/ 50 h 168"/>
                <a:gd name="T110" fmla="*/ 31 w 67"/>
                <a:gd name="T111" fmla="*/ 22 h 168"/>
                <a:gd name="T112" fmla="*/ 26 w 67"/>
                <a:gd name="T113" fmla="*/ 5 h 168"/>
                <a:gd name="T114" fmla="*/ 25 w 67"/>
                <a:gd name="T115" fmla="*/ 5 h 168"/>
                <a:gd name="T116" fmla="*/ 23 w 67"/>
                <a:gd name="T117" fmla="*/ 4 h 168"/>
                <a:gd name="T118" fmla="*/ 21 w 67"/>
                <a:gd name="T119" fmla="*/ 4 h 168"/>
                <a:gd name="T120" fmla="*/ 19 w 67"/>
                <a:gd name="T121" fmla="*/ 3 h 168"/>
                <a:gd name="T122" fmla="*/ 14 w 67"/>
                <a:gd name="T123" fmla="*/ 1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 h="168">
                  <a:moveTo>
                    <a:pt x="11" y="0"/>
                  </a:moveTo>
                  <a:cubicBezTo>
                    <a:pt x="13" y="2"/>
                    <a:pt x="13" y="4"/>
                    <a:pt x="14" y="6"/>
                  </a:cubicBezTo>
                  <a:cubicBezTo>
                    <a:pt x="14" y="10"/>
                    <a:pt x="16" y="13"/>
                    <a:pt x="19" y="17"/>
                  </a:cubicBezTo>
                  <a:cubicBezTo>
                    <a:pt x="20" y="18"/>
                    <a:pt x="21" y="19"/>
                    <a:pt x="22" y="20"/>
                  </a:cubicBezTo>
                  <a:cubicBezTo>
                    <a:pt x="23" y="23"/>
                    <a:pt x="23" y="23"/>
                    <a:pt x="23" y="23"/>
                  </a:cubicBezTo>
                  <a:cubicBezTo>
                    <a:pt x="13" y="30"/>
                    <a:pt x="13" y="30"/>
                    <a:pt x="13" y="30"/>
                  </a:cubicBezTo>
                  <a:cubicBezTo>
                    <a:pt x="13" y="30"/>
                    <a:pt x="13" y="30"/>
                    <a:pt x="13" y="30"/>
                  </a:cubicBezTo>
                  <a:cubicBezTo>
                    <a:pt x="13" y="31"/>
                    <a:pt x="13" y="31"/>
                    <a:pt x="13" y="32"/>
                  </a:cubicBezTo>
                  <a:cubicBezTo>
                    <a:pt x="13" y="32"/>
                    <a:pt x="13" y="33"/>
                    <a:pt x="13" y="34"/>
                  </a:cubicBezTo>
                  <a:cubicBezTo>
                    <a:pt x="13" y="36"/>
                    <a:pt x="13" y="39"/>
                    <a:pt x="12" y="41"/>
                  </a:cubicBezTo>
                  <a:cubicBezTo>
                    <a:pt x="12" y="42"/>
                    <a:pt x="12" y="43"/>
                    <a:pt x="11" y="44"/>
                  </a:cubicBezTo>
                  <a:cubicBezTo>
                    <a:pt x="11" y="45"/>
                    <a:pt x="11" y="45"/>
                    <a:pt x="11" y="46"/>
                  </a:cubicBezTo>
                  <a:cubicBezTo>
                    <a:pt x="11" y="48"/>
                    <a:pt x="12" y="49"/>
                    <a:pt x="12" y="51"/>
                  </a:cubicBezTo>
                  <a:cubicBezTo>
                    <a:pt x="12" y="52"/>
                    <a:pt x="12" y="52"/>
                    <a:pt x="12" y="52"/>
                  </a:cubicBezTo>
                  <a:cubicBezTo>
                    <a:pt x="12" y="53"/>
                    <a:pt x="12" y="54"/>
                    <a:pt x="12" y="55"/>
                  </a:cubicBezTo>
                  <a:cubicBezTo>
                    <a:pt x="12" y="55"/>
                    <a:pt x="12" y="55"/>
                    <a:pt x="12" y="55"/>
                  </a:cubicBezTo>
                  <a:cubicBezTo>
                    <a:pt x="17" y="54"/>
                    <a:pt x="17" y="54"/>
                    <a:pt x="17" y="54"/>
                  </a:cubicBezTo>
                  <a:cubicBezTo>
                    <a:pt x="12" y="56"/>
                    <a:pt x="12" y="56"/>
                    <a:pt x="12" y="56"/>
                  </a:cubicBezTo>
                  <a:cubicBezTo>
                    <a:pt x="12" y="56"/>
                    <a:pt x="12" y="56"/>
                    <a:pt x="12" y="56"/>
                  </a:cubicBezTo>
                  <a:cubicBezTo>
                    <a:pt x="12" y="58"/>
                    <a:pt x="13" y="59"/>
                    <a:pt x="15" y="61"/>
                  </a:cubicBezTo>
                  <a:cubicBezTo>
                    <a:pt x="20" y="66"/>
                    <a:pt x="20" y="66"/>
                    <a:pt x="20" y="66"/>
                  </a:cubicBezTo>
                  <a:cubicBezTo>
                    <a:pt x="17" y="68"/>
                    <a:pt x="17" y="68"/>
                    <a:pt x="17" y="68"/>
                  </a:cubicBezTo>
                  <a:cubicBezTo>
                    <a:pt x="16" y="68"/>
                    <a:pt x="16" y="68"/>
                    <a:pt x="15" y="69"/>
                  </a:cubicBezTo>
                  <a:cubicBezTo>
                    <a:pt x="15" y="69"/>
                    <a:pt x="15" y="69"/>
                    <a:pt x="15" y="69"/>
                  </a:cubicBezTo>
                  <a:cubicBezTo>
                    <a:pt x="13" y="70"/>
                    <a:pt x="11" y="72"/>
                    <a:pt x="9" y="73"/>
                  </a:cubicBezTo>
                  <a:cubicBezTo>
                    <a:pt x="8" y="73"/>
                    <a:pt x="7" y="73"/>
                    <a:pt x="7" y="73"/>
                  </a:cubicBezTo>
                  <a:cubicBezTo>
                    <a:pt x="7" y="73"/>
                    <a:pt x="7" y="73"/>
                    <a:pt x="7" y="73"/>
                  </a:cubicBezTo>
                  <a:cubicBezTo>
                    <a:pt x="6" y="74"/>
                    <a:pt x="6" y="76"/>
                    <a:pt x="6" y="77"/>
                  </a:cubicBezTo>
                  <a:cubicBezTo>
                    <a:pt x="6" y="78"/>
                    <a:pt x="6" y="78"/>
                    <a:pt x="6" y="78"/>
                  </a:cubicBezTo>
                  <a:cubicBezTo>
                    <a:pt x="6" y="82"/>
                    <a:pt x="5" y="86"/>
                    <a:pt x="4" y="89"/>
                  </a:cubicBezTo>
                  <a:cubicBezTo>
                    <a:pt x="3" y="90"/>
                    <a:pt x="3" y="91"/>
                    <a:pt x="2" y="92"/>
                  </a:cubicBezTo>
                  <a:cubicBezTo>
                    <a:pt x="2" y="93"/>
                    <a:pt x="1" y="94"/>
                    <a:pt x="1" y="94"/>
                  </a:cubicBezTo>
                  <a:cubicBezTo>
                    <a:pt x="0" y="95"/>
                    <a:pt x="0" y="95"/>
                    <a:pt x="0" y="95"/>
                  </a:cubicBezTo>
                  <a:cubicBezTo>
                    <a:pt x="0" y="96"/>
                    <a:pt x="0" y="96"/>
                    <a:pt x="0" y="96"/>
                  </a:cubicBezTo>
                  <a:cubicBezTo>
                    <a:pt x="1" y="97"/>
                    <a:pt x="1" y="97"/>
                    <a:pt x="1" y="97"/>
                  </a:cubicBezTo>
                  <a:cubicBezTo>
                    <a:pt x="2" y="98"/>
                    <a:pt x="2" y="99"/>
                    <a:pt x="3" y="99"/>
                  </a:cubicBezTo>
                  <a:cubicBezTo>
                    <a:pt x="3" y="100"/>
                    <a:pt x="3" y="100"/>
                    <a:pt x="4" y="101"/>
                  </a:cubicBezTo>
                  <a:cubicBezTo>
                    <a:pt x="4" y="101"/>
                    <a:pt x="4" y="101"/>
                    <a:pt x="4" y="101"/>
                  </a:cubicBezTo>
                  <a:cubicBezTo>
                    <a:pt x="4" y="101"/>
                    <a:pt x="5" y="100"/>
                    <a:pt x="6" y="100"/>
                  </a:cubicBezTo>
                  <a:cubicBezTo>
                    <a:pt x="6" y="100"/>
                    <a:pt x="6" y="100"/>
                    <a:pt x="6" y="100"/>
                  </a:cubicBezTo>
                  <a:cubicBezTo>
                    <a:pt x="7" y="100"/>
                    <a:pt x="8" y="101"/>
                    <a:pt x="8" y="101"/>
                  </a:cubicBezTo>
                  <a:cubicBezTo>
                    <a:pt x="8" y="101"/>
                    <a:pt x="8" y="101"/>
                    <a:pt x="8" y="101"/>
                  </a:cubicBezTo>
                  <a:cubicBezTo>
                    <a:pt x="10" y="102"/>
                    <a:pt x="10" y="102"/>
                    <a:pt x="10" y="102"/>
                  </a:cubicBezTo>
                  <a:cubicBezTo>
                    <a:pt x="17" y="107"/>
                    <a:pt x="17" y="107"/>
                    <a:pt x="17" y="107"/>
                  </a:cubicBezTo>
                  <a:cubicBezTo>
                    <a:pt x="14" y="107"/>
                    <a:pt x="14" y="107"/>
                    <a:pt x="14" y="107"/>
                  </a:cubicBezTo>
                  <a:cubicBezTo>
                    <a:pt x="15" y="109"/>
                    <a:pt x="17" y="112"/>
                    <a:pt x="18" y="113"/>
                  </a:cubicBezTo>
                  <a:cubicBezTo>
                    <a:pt x="19" y="114"/>
                    <a:pt x="19" y="114"/>
                    <a:pt x="19" y="114"/>
                  </a:cubicBezTo>
                  <a:cubicBezTo>
                    <a:pt x="26" y="113"/>
                    <a:pt x="26" y="113"/>
                    <a:pt x="26" y="113"/>
                  </a:cubicBezTo>
                  <a:cubicBezTo>
                    <a:pt x="29" y="112"/>
                    <a:pt x="32" y="111"/>
                    <a:pt x="34" y="111"/>
                  </a:cubicBezTo>
                  <a:cubicBezTo>
                    <a:pt x="36" y="111"/>
                    <a:pt x="38" y="111"/>
                    <a:pt x="38" y="113"/>
                  </a:cubicBezTo>
                  <a:cubicBezTo>
                    <a:pt x="39" y="114"/>
                    <a:pt x="39" y="116"/>
                    <a:pt x="40" y="117"/>
                  </a:cubicBezTo>
                  <a:cubicBezTo>
                    <a:pt x="41" y="120"/>
                    <a:pt x="42" y="123"/>
                    <a:pt x="43" y="126"/>
                  </a:cubicBezTo>
                  <a:cubicBezTo>
                    <a:pt x="43" y="127"/>
                    <a:pt x="43" y="127"/>
                    <a:pt x="43" y="127"/>
                  </a:cubicBezTo>
                  <a:cubicBezTo>
                    <a:pt x="43" y="127"/>
                    <a:pt x="43" y="128"/>
                    <a:pt x="43" y="129"/>
                  </a:cubicBezTo>
                  <a:cubicBezTo>
                    <a:pt x="43" y="132"/>
                    <a:pt x="42" y="134"/>
                    <a:pt x="41" y="137"/>
                  </a:cubicBezTo>
                  <a:cubicBezTo>
                    <a:pt x="41" y="138"/>
                    <a:pt x="41" y="138"/>
                    <a:pt x="41" y="138"/>
                  </a:cubicBezTo>
                  <a:cubicBezTo>
                    <a:pt x="41" y="138"/>
                    <a:pt x="40" y="139"/>
                    <a:pt x="40" y="140"/>
                  </a:cubicBezTo>
                  <a:cubicBezTo>
                    <a:pt x="39" y="143"/>
                    <a:pt x="38" y="147"/>
                    <a:pt x="36" y="148"/>
                  </a:cubicBezTo>
                  <a:cubicBezTo>
                    <a:pt x="35" y="149"/>
                    <a:pt x="35" y="149"/>
                    <a:pt x="35" y="149"/>
                  </a:cubicBezTo>
                  <a:cubicBezTo>
                    <a:pt x="35" y="151"/>
                    <a:pt x="37" y="153"/>
                    <a:pt x="38" y="155"/>
                  </a:cubicBezTo>
                  <a:cubicBezTo>
                    <a:pt x="38" y="156"/>
                    <a:pt x="38" y="156"/>
                    <a:pt x="38" y="156"/>
                  </a:cubicBezTo>
                  <a:cubicBezTo>
                    <a:pt x="39" y="156"/>
                    <a:pt x="39" y="156"/>
                    <a:pt x="39" y="156"/>
                  </a:cubicBezTo>
                  <a:cubicBezTo>
                    <a:pt x="40" y="157"/>
                    <a:pt x="40" y="157"/>
                    <a:pt x="40" y="157"/>
                  </a:cubicBezTo>
                  <a:cubicBezTo>
                    <a:pt x="40" y="158"/>
                    <a:pt x="40" y="158"/>
                    <a:pt x="40" y="158"/>
                  </a:cubicBezTo>
                  <a:cubicBezTo>
                    <a:pt x="41" y="159"/>
                    <a:pt x="43" y="161"/>
                    <a:pt x="45" y="162"/>
                  </a:cubicBezTo>
                  <a:cubicBezTo>
                    <a:pt x="47" y="164"/>
                    <a:pt x="47" y="164"/>
                    <a:pt x="47" y="164"/>
                  </a:cubicBezTo>
                  <a:cubicBezTo>
                    <a:pt x="48" y="165"/>
                    <a:pt x="48" y="165"/>
                    <a:pt x="48" y="165"/>
                  </a:cubicBezTo>
                  <a:cubicBezTo>
                    <a:pt x="48" y="165"/>
                    <a:pt x="48" y="165"/>
                    <a:pt x="48" y="165"/>
                  </a:cubicBezTo>
                  <a:cubicBezTo>
                    <a:pt x="49" y="166"/>
                    <a:pt x="50" y="167"/>
                    <a:pt x="50" y="168"/>
                  </a:cubicBezTo>
                  <a:cubicBezTo>
                    <a:pt x="50" y="167"/>
                    <a:pt x="50" y="166"/>
                    <a:pt x="50" y="166"/>
                  </a:cubicBezTo>
                  <a:cubicBezTo>
                    <a:pt x="50" y="165"/>
                    <a:pt x="50" y="165"/>
                    <a:pt x="50" y="165"/>
                  </a:cubicBezTo>
                  <a:cubicBezTo>
                    <a:pt x="51" y="164"/>
                    <a:pt x="51" y="164"/>
                    <a:pt x="51" y="164"/>
                  </a:cubicBezTo>
                  <a:cubicBezTo>
                    <a:pt x="51" y="163"/>
                    <a:pt x="53" y="160"/>
                    <a:pt x="54" y="158"/>
                  </a:cubicBezTo>
                  <a:cubicBezTo>
                    <a:pt x="54" y="157"/>
                    <a:pt x="55" y="156"/>
                    <a:pt x="56" y="155"/>
                  </a:cubicBezTo>
                  <a:cubicBezTo>
                    <a:pt x="56" y="155"/>
                    <a:pt x="56" y="154"/>
                    <a:pt x="57" y="154"/>
                  </a:cubicBezTo>
                  <a:cubicBezTo>
                    <a:pt x="58" y="154"/>
                    <a:pt x="58" y="154"/>
                    <a:pt x="58" y="154"/>
                  </a:cubicBezTo>
                  <a:cubicBezTo>
                    <a:pt x="58" y="154"/>
                    <a:pt x="59" y="154"/>
                    <a:pt x="60" y="153"/>
                  </a:cubicBezTo>
                  <a:cubicBezTo>
                    <a:pt x="61" y="153"/>
                    <a:pt x="61" y="153"/>
                    <a:pt x="61" y="153"/>
                  </a:cubicBezTo>
                  <a:cubicBezTo>
                    <a:pt x="62" y="153"/>
                    <a:pt x="62" y="153"/>
                    <a:pt x="63" y="152"/>
                  </a:cubicBezTo>
                  <a:cubicBezTo>
                    <a:pt x="64" y="152"/>
                    <a:pt x="64" y="152"/>
                    <a:pt x="64" y="152"/>
                  </a:cubicBezTo>
                  <a:cubicBezTo>
                    <a:pt x="64" y="152"/>
                    <a:pt x="65" y="152"/>
                    <a:pt x="65" y="152"/>
                  </a:cubicBezTo>
                  <a:cubicBezTo>
                    <a:pt x="66" y="151"/>
                    <a:pt x="66" y="151"/>
                    <a:pt x="66" y="150"/>
                  </a:cubicBezTo>
                  <a:cubicBezTo>
                    <a:pt x="67" y="141"/>
                    <a:pt x="67" y="141"/>
                    <a:pt x="67" y="141"/>
                  </a:cubicBezTo>
                  <a:cubicBezTo>
                    <a:pt x="67" y="141"/>
                    <a:pt x="67" y="140"/>
                    <a:pt x="67" y="140"/>
                  </a:cubicBezTo>
                  <a:cubicBezTo>
                    <a:pt x="67" y="139"/>
                    <a:pt x="67" y="138"/>
                    <a:pt x="67" y="137"/>
                  </a:cubicBezTo>
                  <a:cubicBezTo>
                    <a:pt x="67" y="136"/>
                    <a:pt x="67" y="135"/>
                    <a:pt x="67" y="134"/>
                  </a:cubicBezTo>
                  <a:cubicBezTo>
                    <a:pt x="67" y="133"/>
                    <a:pt x="67" y="133"/>
                    <a:pt x="67" y="133"/>
                  </a:cubicBezTo>
                  <a:cubicBezTo>
                    <a:pt x="67" y="133"/>
                    <a:pt x="67" y="133"/>
                    <a:pt x="67" y="133"/>
                  </a:cubicBezTo>
                  <a:cubicBezTo>
                    <a:pt x="67" y="132"/>
                    <a:pt x="67" y="132"/>
                    <a:pt x="67" y="132"/>
                  </a:cubicBezTo>
                  <a:cubicBezTo>
                    <a:pt x="67" y="132"/>
                    <a:pt x="67" y="131"/>
                    <a:pt x="67" y="130"/>
                  </a:cubicBezTo>
                  <a:cubicBezTo>
                    <a:pt x="67" y="129"/>
                    <a:pt x="67" y="129"/>
                    <a:pt x="67" y="129"/>
                  </a:cubicBezTo>
                  <a:cubicBezTo>
                    <a:pt x="67" y="127"/>
                    <a:pt x="67" y="126"/>
                    <a:pt x="67" y="124"/>
                  </a:cubicBezTo>
                  <a:cubicBezTo>
                    <a:pt x="67" y="121"/>
                    <a:pt x="67" y="120"/>
                    <a:pt x="65" y="118"/>
                  </a:cubicBezTo>
                  <a:cubicBezTo>
                    <a:pt x="63" y="116"/>
                    <a:pt x="63" y="116"/>
                    <a:pt x="63" y="116"/>
                  </a:cubicBezTo>
                  <a:cubicBezTo>
                    <a:pt x="63" y="116"/>
                    <a:pt x="63" y="116"/>
                    <a:pt x="63" y="116"/>
                  </a:cubicBezTo>
                  <a:cubicBezTo>
                    <a:pt x="53" y="103"/>
                    <a:pt x="53" y="103"/>
                    <a:pt x="53" y="103"/>
                  </a:cubicBezTo>
                  <a:cubicBezTo>
                    <a:pt x="53" y="103"/>
                    <a:pt x="53" y="103"/>
                    <a:pt x="53" y="103"/>
                  </a:cubicBezTo>
                  <a:cubicBezTo>
                    <a:pt x="54" y="106"/>
                    <a:pt x="55" y="109"/>
                    <a:pt x="56" y="112"/>
                  </a:cubicBezTo>
                  <a:cubicBezTo>
                    <a:pt x="54" y="111"/>
                    <a:pt x="51" y="109"/>
                    <a:pt x="49" y="108"/>
                  </a:cubicBezTo>
                  <a:cubicBezTo>
                    <a:pt x="48" y="107"/>
                    <a:pt x="48" y="105"/>
                    <a:pt x="47" y="104"/>
                  </a:cubicBezTo>
                  <a:cubicBezTo>
                    <a:pt x="46" y="106"/>
                    <a:pt x="45" y="108"/>
                    <a:pt x="44" y="110"/>
                  </a:cubicBezTo>
                  <a:cubicBezTo>
                    <a:pt x="43" y="109"/>
                    <a:pt x="39" y="107"/>
                    <a:pt x="39" y="105"/>
                  </a:cubicBezTo>
                  <a:cubicBezTo>
                    <a:pt x="40" y="103"/>
                    <a:pt x="41" y="101"/>
                    <a:pt x="40" y="98"/>
                  </a:cubicBezTo>
                  <a:cubicBezTo>
                    <a:pt x="33" y="102"/>
                    <a:pt x="33" y="102"/>
                    <a:pt x="33" y="102"/>
                  </a:cubicBezTo>
                  <a:cubicBezTo>
                    <a:pt x="39" y="95"/>
                    <a:pt x="39" y="95"/>
                    <a:pt x="39" y="95"/>
                  </a:cubicBezTo>
                  <a:cubicBezTo>
                    <a:pt x="39" y="95"/>
                    <a:pt x="39" y="95"/>
                    <a:pt x="39" y="95"/>
                  </a:cubicBezTo>
                  <a:cubicBezTo>
                    <a:pt x="36" y="92"/>
                    <a:pt x="34" y="91"/>
                    <a:pt x="34" y="87"/>
                  </a:cubicBezTo>
                  <a:cubicBezTo>
                    <a:pt x="34" y="84"/>
                    <a:pt x="34" y="82"/>
                    <a:pt x="34" y="79"/>
                  </a:cubicBezTo>
                  <a:cubicBezTo>
                    <a:pt x="33" y="73"/>
                    <a:pt x="28" y="68"/>
                    <a:pt x="27" y="62"/>
                  </a:cubicBezTo>
                  <a:cubicBezTo>
                    <a:pt x="26" y="58"/>
                    <a:pt x="32" y="53"/>
                    <a:pt x="33" y="50"/>
                  </a:cubicBezTo>
                  <a:cubicBezTo>
                    <a:pt x="35" y="45"/>
                    <a:pt x="32" y="37"/>
                    <a:pt x="32" y="32"/>
                  </a:cubicBezTo>
                  <a:cubicBezTo>
                    <a:pt x="31" y="29"/>
                    <a:pt x="30" y="25"/>
                    <a:pt x="31" y="22"/>
                  </a:cubicBezTo>
                  <a:cubicBezTo>
                    <a:pt x="31" y="19"/>
                    <a:pt x="33" y="20"/>
                    <a:pt x="31" y="16"/>
                  </a:cubicBezTo>
                  <a:cubicBezTo>
                    <a:pt x="30" y="12"/>
                    <a:pt x="28" y="9"/>
                    <a:pt x="26" y="5"/>
                  </a:cubicBezTo>
                  <a:cubicBezTo>
                    <a:pt x="26" y="4"/>
                    <a:pt x="25" y="4"/>
                    <a:pt x="25" y="3"/>
                  </a:cubicBezTo>
                  <a:cubicBezTo>
                    <a:pt x="25" y="5"/>
                    <a:pt x="25" y="5"/>
                    <a:pt x="25" y="5"/>
                  </a:cubicBezTo>
                  <a:cubicBezTo>
                    <a:pt x="24" y="4"/>
                    <a:pt x="24" y="4"/>
                    <a:pt x="24" y="4"/>
                  </a:cubicBezTo>
                  <a:cubicBezTo>
                    <a:pt x="23" y="4"/>
                    <a:pt x="23" y="4"/>
                    <a:pt x="23" y="4"/>
                  </a:cubicBezTo>
                  <a:cubicBezTo>
                    <a:pt x="23" y="4"/>
                    <a:pt x="23" y="4"/>
                    <a:pt x="23" y="4"/>
                  </a:cubicBezTo>
                  <a:cubicBezTo>
                    <a:pt x="22" y="4"/>
                    <a:pt x="22" y="4"/>
                    <a:pt x="21" y="4"/>
                  </a:cubicBezTo>
                  <a:cubicBezTo>
                    <a:pt x="21" y="3"/>
                    <a:pt x="20" y="3"/>
                    <a:pt x="19" y="3"/>
                  </a:cubicBezTo>
                  <a:cubicBezTo>
                    <a:pt x="19" y="3"/>
                    <a:pt x="19" y="3"/>
                    <a:pt x="19" y="3"/>
                  </a:cubicBezTo>
                  <a:cubicBezTo>
                    <a:pt x="18" y="2"/>
                    <a:pt x="17" y="2"/>
                    <a:pt x="16" y="1"/>
                  </a:cubicBezTo>
                  <a:cubicBezTo>
                    <a:pt x="14" y="1"/>
                    <a:pt x="14" y="1"/>
                    <a:pt x="14" y="1"/>
                  </a:cubicBezTo>
                  <a:cubicBezTo>
                    <a:pt x="13" y="1"/>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 name="Rectangle 227">
              <a:extLst>
                <a:ext uri="{FF2B5EF4-FFF2-40B4-BE49-F238E27FC236}">
                  <a16:creationId xmlns:a16="http://schemas.microsoft.com/office/drawing/2014/main" id="{F3EB8277-78A2-4DEA-9DCB-A53A9293643E}"/>
                </a:ext>
              </a:extLst>
            </p:cNvPr>
            <p:cNvSpPr>
              <a:spLocks noChangeArrowheads="1"/>
            </p:cNvSpPr>
            <p:nvPr/>
          </p:nvSpPr>
          <p:spPr bwMode="auto">
            <a:xfrm>
              <a:off x="4497" y="2105"/>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 name="Freeform 228">
              <a:extLst>
                <a:ext uri="{FF2B5EF4-FFF2-40B4-BE49-F238E27FC236}">
                  <a16:creationId xmlns:a16="http://schemas.microsoft.com/office/drawing/2014/main" id="{E942D0E0-008D-4D8D-BDF4-3B30707FC750}"/>
                </a:ext>
              </a:extLst>
            </p:cNvPr>
            <p:cNvSpPr>
              <a:spLocks/>
            </p:cNvSpPr>
            <p:nvPr/>
          </p:nvSpPr>
          <p:spPr bwMode="auto">
            <a:xfrm>
              <a:off x="4497" y="2105"/>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 name="Freeform 229">
              <a:extLst>
                <a:ext uri="{FF2B5EF4-FFF2-40B4-BE49-F238E27FC236}">
                  <a16:creationId xmlns:a16="http://schemas.microsoft.com/office/drawing/2014/main" id="{EE22FFD5-5497-4605-B7F4-D91CCC97B1B0}"/>
                </a:ext>
              </a:extLst>
            </p:cNvPr>
            <p:cNvSpPr>
              <a:spLocks/>
            </p:cNvSpPr>
            <p:nvPr/>
          </p:nvSpPr>
          <p:spPr bwMode="auto">
            <a:xfrm>
              <a:off x="4136" y="2495"/>
              <a:ext cx="7" cy="9"/>
            </a:xfrm>
            <a:custGeom>
              <a:avLst/>
              <a:gdLst>
                <a:gd name="T0" fmla="*/ 3 w 3"/>
                <a:gd name="T1" fmla="*/ 0 h 4"/>
                <a:gd name="T2" fmla="*/ 3 w 3"/>
                <a:gd name="T3" fmla="*/ 0 h 4"/>
                <a:gd name="T4" fmla="*/ 1 w 3"/>
                <a:gd name="T5" fmla="*/ 2 h 4"/>
                <a:gd name="T6" fmla="*/ 0 w 3"/>
                <a:gd name="T7" fmla="*/ 2 h 4"/>
                <a:gd name="T8" fmla="*/ 1 w 3"/>
                <a:gd name="T9" fmla="*/ 3 h 4"/>
                <a:gd name="T10" fmla="*/ 2 w 3"/>
                <a:gd name="T11" fmla="*/ 4 h 4"/>
                <a:gd name="T12" fmla="*/ 3 w 3"/>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3" y="0"/>
                  </a:moveTo>
                  <a:cubicBezTo>
                    <a:pt x="3" y="0"/>
                    <a:pt x="3" y="0"/>
                    <a:pt x="3" y="0"/>
                  </a:cubicBezTo>
                  <a:cubicBezTo>
                    <a:pt x="3" y="0"/>
                    <a:pt x="2" y="1"/>
                    <a:pt x="1" y="2"/>
                  </a:cubicBezTo>
                  <a:cubicBezTo>
                    <a:pt x="0" y="2"/>
                    <a:pt x="0" y="2"/>
                    <a:pt x="0" y="2"/>
                  </a:cubicBezTo>
                  <a:cubicBezTo>
                    <a:pt x="0" y="3"/>
                    <a:pt x="1" y="3"/>
                    <a:pt x="1" y="3"/>
                  </a:cubicBezTo>
                  <a:cubicBezTo>
                    <a:pt x="1" y="3"/>
                    <a:pt x="1" y="4"/>
                    <a:pt x="2" y="4"/>
                  </a:cubicBezTo>
                  <a:cubicBezTo>
                    <a:pt x="3" y="4"/>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 name="Freeform 230">
              <a:extLst>
                <a:ext uri="{FF2B5EF4-FFF2-40B4-BE49-F238E27FC236}">
                  <a16:creationId xmlns:a16="http://schemas.microsoft.com/office/drawing/2014/main" id="{2CA7811C-AF0F-435E-8977-A644FC6D42BE}"/>
                </a:ext>
              </a:extLst>
            </p:cNvPr>
            <p:cNvSpPr>
              <a:spLocks/>
            </p:cNvSpPr>
            <p:nvPr/>
          </p:nvSpPr>
          <p:spPr bwMode="auto">
            <a:xfrm>
              <a:off x="4145" y="2032"/>
              <a:ext cx="409" cy="614"/>
            </a:xfrm>
            <a:custGeom>
              <a:avLst/>
              <a:gdLst>
                <a:gd name="T0" fmla="*/ 134 w 173"/>
                <a:gd name="T1" fmla="*/ 11 h 260"/>
                <a:gd name="T2" fmla="*/ 141 w 173"/>
                <a:gd name="T3" fmla="*/ 16 h 260"/>
                <a:gd name="T4" fmla="*/ 142 w 173"/>
                <a:gd name="T5" fmla="*/ 25 h 260"/>
                <a:gd name="T6" fmla="*/ 133 w 173"/>
                <a:gd name="T7" fmla="*/ 41 h 260"/>
                <a:gd name="T8" fmla="*/ 126 w 173"/>
                <a:gd name="T9" fmla="*/ 42 h 260"/>
                <a:gd name="T10" fmla="*/ 122 w 173"/>
                <a:gd name="T11" fmla="*/ 48 h 260"/>
                <a:gd name="T12" fmla="*/ 117 w 173"/>
                <a:gd name="T13" fmla="*/ 55 h 260"/>
                <a:gd name="T14" fmla="*/ 112 w 173"/>
                <a:gd name="T15" fmla="*/ 69 h 260"/>
                <a:gd name="T16" fmla="*/ 110 w 173"/>
                <a:gd name="T17" fmla="*/ 75 h 260"/>
                <a:gd name="T18" fmla="*/ 104 w 173"/>
                <a:gd name="T19" fmla="*/ 84 h 260"/>
                <a:gd name="T20" fmla="*/ 97 w 173"/>
                <a:gd name="T21" fmla="*/ 101 h 260"/>
                <a:gd name="T22" fmla="*/ 85 w 173"/>
                <a:gd name="T23" fmla="*/ 116 h 260"/>
                <a:gd name="T24" fmla="*/ 76 w 173"/>
                <a:gd name="T25" fmla="*/ 136 h 260"/>
                <a:gd name="T26" fmla="*/ 71 w 173"/>
                <a:gd name="T27" fmla="*/ 147 h 260"/>
                <a:gd name="T28" fmla="*/ 61 w 173"/>
                <a:gd name="T29" fmla="*/ 156 h 260"/>
                <a:gd name="T30" fmla="*/ 45 w 173"/>
                <a:gd name="T31" fmla="*/ 144 h 260"/>
                <a:gd name="T32" fmla="*/ 37 w 173"/>
                <a:gd name="T33" fmla="*/ 144 h 260"/>
                <a:gd name="T34" fmla="*/ 27 w 173"/>
                <a:gd name="T35" fmla="*/ 150 h 260"/>
                <a:gd name="T36" fmla="*/ 19 w 173"/>
                <a:gd name="T37" fmla="*/ 158 h 260"/>
                <a:gd name="T38" fmla="*/ 6 w 173"/>
                <a:gd name="T39" fmla="*/ 174 h 260"/>
                <a:gd name="T40" fmla="*/ 2 w 173"/>
                <a:gd name="T41" fmla="*/ 189 h 260"/>
                <a:gd name="T42" fmla="*/ 3 w 173"/>
                <a:gd name="T43" fmla="*/ 196 h 260"/>
                <a:gd name="T44" fmla="*/ 18 w 173"/>
                <a:gd name="T45" fmla="*/ 210 h 260"/>
                <a:gd name="T46" fmla="*/ 23 w 173"/>
                <a:gd name="T47" fmla="*/ 213 h 260"/>
                <a:gd name="T48" fmla="*/ 28 w 173"/>
                <a:gd name="T49" fmla="*/ 238 h 260"/>
                <a:gd name="T50" fmla="*/ 29 w 173"/>
                <a:gd name="T51" fmla="*/ 249 h 260"/>
                <a:gd name="T52" fmla="*/ 59 w 173"/>
                <a:gd name="T53" fmla="*/ 252 h 260"/>
                <a:gd name="T54" fmla="*/ 68 w 173"/>
                <a:gd name="T55" fmla="*/ 248 h 260"/>
                <a:gd name="T56" fmla="*/ 79 w 173"/>
                <a:gd name="T57" fmla="*/ 249 h 260"/>
                <a:gd name="T58" fmla="*/ 104 w 173"/>
                <a:gd name="T59" fmla="*/ 249 h 260"/>
                <a:gd name="T60" fmla="*/ 108 w 173"/>
                <a:gd name="T61" fmla="*/ 251 h 260"/>
                <a:gd name="T62" fmla="*/ 117 w 173"/>
                <a:gd name="T63" fmla="*/ 252 h 260"/>
                <a:gd name="T64" fmla="*/ 143 w 173"/>
                <a:gd name="T65" fmla="*/ 253 h 260"/>
                <a:gd name="T66" fmla="*/ 145 w 173"/>
                <a:gd name="T67" fmla="*/ 254 h 260"/>
                <a:gd name="T68" fmla="*/ 152 w 173"/>
                <a:gd name="T69" fmla="*/ 256 h 260"/>
                <a:gd name="T70" fmla="*/ 159 w 173"/>
                <a:gd name="T71" fmla="*/ 257 h 260"/>
                <a:gd name="T72" fmla="*/ 170 w 173"/>
                <a:gd name="T73" fmla="*/ 260 h 260"/>
                <a:gd name="T74" fmla="*/ 173 w 173"/>
                <a:gd name="T75" fmla="*/ 251 h 260"/>
                <a:gd name="T76" fmla="*/ 170 w 173"/>
                <a:gd name="T77" fmla="*/ 237 h 260"/>
                <a:gd name="T78" fmla="*/ 145 w 173"/>
                <a:gd name="T79" fmla="*/ 209 h 260"/>
                <a:gd name="T80" fmla="*/ 139 w 173"/>
                <a:gd name="T81" fmla="*/ 194 h 260"/>
                <a:gd name="T82" fmla="*/ 136 w 173"/>
                <a:gd name="T83" fmla="*/ 176 h 260"/>
                <a:gd name="T84" fmla="*/ 136 w 173"/>
                <a:gd name="T85" fmla="*/ 168 h 260"/>
                <a:gd name="T86" fmla="*/ 135 w 173"/>
                <a:gd name="T87" fmla="*/ 159 h 260"/>
                <a:gd name="T88" fmla="*/ 147 w 173"/>
                <a:gd name="T89" fmla="*/ 141 h 260"/>
                <a:gd name="T90" fmla="*/ 156 w 173"/>
                <a:gd name="T91" fmla="*/ 127 h 260"/>
                <a:gd name="T92" fmla="*/ 158 w 173"/>
                <a:gd name="T93" fmla="*/ 124 h 260"/>
                <a:gd name="T94" fmla="*/ 153 w 173"/>
                <a:gd name="T95" fmla="*/ 113 h 260"/>
                <a:gd name="T96" fmla="*/ 126 w 173"/>
                <a:gd name="T97" fmla="*/ 84 h 260"/>
                <a:gd name="T98" fmla="*/ 131 w 173"/>
                <a:gd name="T99" fmla="*/ 67 h 260"/>
                <a:gd name="T100" fmla="*/ 140 w 173"/>
                <a:gd name="T101" fmla="*/ 67 h 260"/>
                <a:gd name="T102" fmla="*/ 149 w 173"/>
                <a:gd name="T103" fmla="*/ 61 h 260"/>
                <a:gd name="T104" fmla="*/ 153 w 173"/>
                <a:gd name="T105" fmla="*/ 63 h 260"/>
                <a:gd name="T106" fmla="*/ 148 w 173"/>
                <a:gd name="T107" fmla="*/ 32 h 260"/>
                <a:gd name="T108" fmla="*/ 147 w 173"/>
                <a:gd name="T109" fmla="*/ 27 h 260"/>
                <a:gd name="T110" fmla="*/ 141 w 173"/>
                <a:gd name="T111" fmla="*/ 9 h 260"/>
                <a:gd name="T112" fmla="*/ 135 w 173"/>
                <a:gd name="T113" fmla="*/ 2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 h="260">
                  <a:moveTo>
                    <a:pt x="130" y="0"/>
                  </a:moveTo>
                  <a:cubicBezTo>
                    <a:pt x="131" y="8"/>
                    <a:pt x="131" y="8"/>
                    <a:pt x="131" y="8"/>
                  </a:cubicBezTo>
                  <a:cubicBezTo>
                    <a:pt x="131" y="9"/>
                    <a:pt x="132" y="9"/>
                    <a:pt x="132" y="9"/>
                  </a:cubicBezTo>
                  <a:cubicBezTo>
                    <a:pt x="132" y="10"/>
                    <a:pt x="132" y="10"/>
                    <a:pt x="132" y="10"/>
                  </a:cubicBezTo>
                  <a:cubicBezTo>
                    <a:pt x="132" y="10"/>
                    <a:pt x="133" y="10"/>
                    <a:pt x="134" y="11"/>
                  </a:cubicBezTo>
                  <a:cubicBezTo>
                    <a:pt x="135" y="11"/>
                    <a:pt x="135" y="11"/>
                    <a:pt x="135" y="11"/>
                  </a:cubicBezTo>
                  <a:cubicBezTo>
                    <a:pt x="136" y="11"/>
                    <a:pt x="137" y="12"/>
                    <a:pt x="137" y="12"/>
                  </a:cubicBezTo>
                  <a:cubicBezTo>
                    <a:pt x="137" y="12"/>
                    <a:pt x="137" y="12"/>
                    <a:pt x="137" y="12"/>
                  </a:cubicBezTo>
                  <a:cubicBezTo>
                    <a:pt x="139" y="13"/>
                    <a:pt x="140" y="15"/>
                    <a:pt x="141" y="16"/>
                  </a:cubicBezTo>
                  <a:cubicBezTo>
                    <a:pt x="141" y="16"/>
                    <a:pt x="141" y="16"/>
                    <a:pt x="141" y="16"/>
                  </a:cubicBezTo>
                  <a:cubicBezTo>
                    <a:pt x="142" y="17"/>
                    <a:pt x="142" y="17"/>
                    <a:pt x="142" y="17"/>
                  </a:cubicBezTo>
                  <a:cubicBezTo>
                    <a:pt x="142" y="17"/>
                    <a:pt x="142" y="17"/>
                    <a:pt x="142" y="17"/>
                  </a:cubicBezTo>
                  <a:cubicBezTo>
                    <a:pt x="142" y="19"/>
                    <a:pt x="142" y="21"/>
                    <a:pt x="142" y="22"/>
                  </a:cubicBezTo>
                  <a:cubicBezTo>
                    <a:pt x="142" y="23"/>
                    <a:pt x="142" y="23"/>
                    <a:pt x="142" y="23"/>
                  </a:cubicBezTo>
                  <a:cubicBezTo>
                    <a:pt x="142" y="25"/>
                    <a:pt x="142" y="25"/>
                    <a:pt x="142" y="25"/>
                  </a:cubicBezTo>
                  <a:cubicBezTo>
                    <a:pt x="142" y="27"/>
                    <a:pt x="142" y="28"/>
                    <a:pt x="142" y="30"/>
                  </a:cubicBezTo>
                  <a:cubicBezTo>
                    <a:pt x="143" y="32"/>
                    <a:pt x="142" y="34"/>
                    <a:pt x="140" y="36"/>
                  </a:cubicBezTo>
                  <a:cubicBezTo>
                    <a:pt x="139" y="37"/>
                    <a:pt x="138" y="37"/>
                    <a:pt x="137" y="38"/>
                  </a:cubicBezTo>
                  <a:cubicBezTo>
                    <a:pt x="137" y="38"/>
                    <a:pt x="137" y="38"/>
                    <a:pt x="137" y="38"/>
                  </a:cubicBezTo>
                  <a:cubicBezTo>
                    <a:pt x="135" y="39"/>
                    <a:pt x="134" y="40"/>
                    <a:pt x="133" y="41"/>
                  </a:cubicBezTo>
                  <a:cubicBezTo>
                    <a:pt x="132" y="41"/>
                    <a:pt x="132" y="41"/>
                    <a:pt x="132" y="41"/>
                  </a:cubicBezTo>
                  <a:cubicBezTo>
                    <a:pt x="131" y="42"/>
                    <a:pt x="129" y="42"/>
                    <a:pt x="128" y="42"/>
                  </a:cubicBezTo>
                  <a:cubicBezTo>
                    <a:pt x="128" y="42"/>
                    <a:pt x="127" y="42"/>
                    <a:pt x="127" y="42"/>
                  </a:cubicBezTo>
                  <a:cubicBezTo>
                    <a:pt x="126" y="42"/>
                    <a:pt x="126" y="42"/>
                    <a:pt x="126" y="42"/>
                  </a:cubicBezTo>
                  <a:cubicBezTo>
                    <a:pt x="126" y="42"/>
                    <a:pt x="126" y="42"/>
                    <a:pt x="126" y="42"/>
                  </a:cubicBezTo>
                  <a:cubicBezTo>
                    <a:pt x="126" y="42"/>
                    <a:pt x="126" y="42"/>
                    <a:pt x="126" y="42"/>
                  </a:cubicBezTo>
                  <a:cubicBezTo>
                    <a:pt x="125" y="43"/>
                    <a:pt x="125" y="43"/>
                    <a:pt x="125" y="43"/>
                  </a:cubicBezTo>
                  <a:cubicBezTo>
                    <a:pt x="125" y="43"/>
                    <a:pt x="124" y="44"/>
                    <a:pt x="124" y="44"/>
                  </a:cubicBezTo>
                  <a:cubicBezTo>
                    <a:pt x="123" y="45"/>
                    <a:pt x="123" y="46"/>
                    <a:pt x="123" y="47"/>
                  </a:cubicBezTo>
                  <a:cubicBezTo>
                    <a:pt x="122" y="48"/>
                    <a:pt x="122" y="48"/>
                    <a:pt x="122" y="48"/>
                  </a:cubicBezTo>
                  <a:cubicBezTo>
                    <a:pt x="122" y="48"/>
                    <a:pt x="122" y="48"/>
                    <a:pt x="122" y="48"/>
                  </a:cubicBezTo>
                  <a:cubicBezTo>
                    <a:pt x="122" y="48"/>
                    <a:pt x="122" y="48"/>
                    <a:pt x="122" y="48"/>
                  </a:cubicBezTo>
                  <a:cubicBezTo>
                    <a:pt x="121" y="50"/>
                    <a:pt x="121" y="50"/>
                    <a:pt x="121" y="50"/>
                  </a:cubicBezTo>
                  <a:cubicBezTo>
                    <a:pt x="120" y="51"/>
                    <a:pt x="120" y="51"/>
                    <a:pt x="119" y="52"/>
                  </a:cubicBezTo>
                  <a:cubicBezTo>
                    <a:pt x="118" y="53"/>
                    <a:pt x="117" y="54"/>
                    <a:pt x="117" y="55"/>
                  </a:cubicBezTo>
                  <a:cubicBezTo>
                    <a:pt x="117" y="57"/>
                    <a:pt x="117" y="57"/>
                    <a:pt x="117" y="57"/>
                  </a:cubicBezTo>
                  <a:cubicBezTo>
                    <a:pt x="116" y="58"/>
                    <a:pt x="116" y="59"/>
                    <a:pt x="116" y="60"/>
                  </a:cubicBezTo>
                  <a:cubicBezTo>
                    <a:pt x="115" y="61"/>
                    <a:pt x="115" y="61"/>
                    <a:pt x="115" y="61"/>
                  </a:cubicBezTo>
                  <a:cubicBezTo>
                    <a:pt x="115" y="63"/>
                    <a:pt x="114" y="64"/>
                    <a:pt x="114" y="66"/>
                  </a:cubicBezTo>
                  <a:cubicBezTo>
                    <a:pt x="113" y="68"/>
                    <a:pt x="112" y="69"/>
                    <a:pt x="112" y="69"/>
                  </a:cubicBezTo>
                  <a:cubicBezTo>
                    <a:pt x="111" y="70"/>
                    <a:pt x="111" y="70"/>
                    <a:pt x="111" y="70"/>
                  </a:cubicBezTo>
                  <a:cubicBezTo>
                    <a:pt x="110" y="71"/>
                    <a:pt x="110" y="71"/>
                    <a:pt x="110" y="72"/>
                  </a:cubicBezTo>
                  <a:cubicBezTo>
                    <a:pt x="110" y="73"/>
                    <a:pt x="110" y="73"/>
                    <a:pt x="110" y="73"/>
                  </a:cubicBezTo>
                  <a:cubicBezTo>
                    <a:pt x="110" y="73"/>
                    <a:pt x="110" y="74"/>
                    <a:pt x="110" y="74"/>
                  </a:cubicBezTo>
                  <a:cubicBezTo>
                    <a:pt x="110" y="75"/>
                    <a:pt x="110" y="75"/>
                    <a:pt x="110" y="75"/>
                  </a:cubicBezTo>
                  <a:cubicBezTo>
                    <a:pt x="110" y="78"/>
                    <a:pt x="110" y="81"/>
                    <a:pt x="107" y="83"/>
                  </a:cubicBezTo>
                  <a:cubicBezTo>
                    <a:pt x="106" y="83"/>
                    <a:pt x="106" y="83"/>
                    <a:pt x="106" y="83"/>
                  </a:cubicBezTo>
                  <a:cubicBezTo>
                    <a:pt x="105" y="84"/>
                    <a:pt x="105" y="84"/>
                    <a:pt x="105" y="84"/>
                  </a:cubicBezTo>
                  <a:cubicBezTo>
                    <a:pt x="105" y="84"/>
                    <a:pt x="105" y="84"/>
                    <a:pt x="105" y="84"/>
                  </a:cubicBezTo>
                  <a:cubicBezTo>
                    <a:pt x="104" y="84"/>
                    <a:pt x="104" y="84"/>
                    <a:pt x="104" y="84"/>
                  </a:cubicBezTo>
                  <a:cubicBezTo>
                    <a:pt x="104" y="84"/>
                    <a:pt x="103" y="84"/>
                    <a:pt x="103" y="85"/>
                  </a:cubicBezTo>
                  <a:cubicBezTo>
                    <a:pt x="102" y="85"/>
                    <a:pt x="102" y="86"/>
                    <a:pt x="102" y="87"/>
                  </a:cubicBezTo>
                  <a:cubicBezTo>
                    <a:pt x="101" y="89"/>
                    <a:pt x="101" y="90"/>
                    <a:pt x="101" y="92"/>
                  </a:cubicBezTo>
                  <a:cubicBezTo>
                    <a:pt x="100" y="94"/>
                    <a:pt x="100" y="96"/>
                    <a:pt x="99" y="99"/>
                  </a:cubicBezTo>
                  <a:cubicBezTo>
                    <a:pt x="98" y="100"/>
                    <a:pt x="98" y="100"/>
                    <a:pt x="97" y="101"/>
                  </a:cubicBezTo>
                  <a:cubicBezTo>
                    <a:pt x="96" y="103"/>
                    <a:pt x="93" y="104"/>
                    <a:pt x="91" y="106"/>
                  </a:cubicBezTo>
                  <a:cubicBezTo>
                    <a:pt x="89" y="107"/>
                    <a:pt x="87" y="108"/>
                    <a:pt x="86" y="109"/>
                  </a:cubicBezTo>
                  <a:cubicBezTo>
                    <a:pt x="86" y="109"/>
                    <a:pt x="86" y="109"/>
                    <a:pt x="86" y="109"/>
                  </a:cubicBezTo>
                  <a:cubicBezTo>
                    <a:pt x="86" y="109"/>
                    <a:pt x="86" y="110"/>
                    <a:pt x="86" y="111"/>
                  </a:cubicBezTo>
                  <a:cubicBezTo>
                    <a:pt x="86" y="112"/>
                    <a:pt x="86" y="114"/>
                    <a:pt x="85" y="116"/>
                  </a:cubicBezTo>
                  <a:cubicBezTo>
                    <a:pt x="79" y="128"/>
                    <a:pt x="79" y="128"/>
                    <a:pt x="79" y="128"/>
                  </a:cubicBezTo>
                  <a:cubicBezTo>
                    <a:pt x="78" y="130"/>
                    <a:pt x="78" y="131"/>
                    <a:pt x="77" y="133"/>
                  </a:cubicBezTo>
                  <a:cubicBezTo>
                    <a:pt x="76" y="135"/>
                    <a:pt x="76" y="135"/>
                    <a:pt x="76" y="135"/>
                  </a:cubicBezTo>
                  <a:cubicBezTo>
                    <a:pt x="76" y="135"/>
                    <a:pt x="76" y="135"/>
                    <a:pt x="76" y="135"/>
                  </a:cubicBezTo>
                  <a:cubicBezTo>
                    <a:pt x="76" y="136"/>
                    <a:pt x="76" y="136"/>
                    <a:pt x="76" y="136"/>
                  </a:cubicBezTo>
                  <a:cubicBezTo>
                    <a:pt x="77" y="136"/>
                    <a:pt x="77" y="137"/>
                    <a:pt x="78" y="138"/>
                  </a:cubicBezTo>
                  <a:cubicBezTo>
                    <a:pt x="79" y="143"/>
                    <a:pt x="79" y="143"/>
                    <a:pt x="79" y="143"/>
                  </a:cubicBezTo>
                  <a:cubicBezTo>
                    <a:pt x="74" y="142"/>
                    <a:pt x="74" y="142"/>
                    <a:pt x="74" y="142"/>
                  </a:cubicBezTo>
                  <a:cubicBezTo>
                    <a:pt x="73" y="142"/>
                    <a:pt x="72" y="146"/>
                    <a:pt x="71" y="147"/>
                  </a:cubicBezTo>
                  <a:cubicBezTo>
                    <a:pt x="71" y="147"/>
                    <a:pt x="71" y="147"/>
                    <a:pt x="71" y="147"/>
                  </a:cubicBezTo>
                  <a:cubicBezTo>
                    <a:pt x="69" y="151"/>
                    <a:pt x="67" y="154"/>
                    <a:pt x="64" y="155"/>
                  </a:cubicBezTo>
                  <a:cubicBezTo>
                    <a:pt x="63" y="156"/>
                    <a:pt x="63" y="156"/>
                    <a:pt x="63" y="156"/>
                  </a:cubicBezTo>
                  <a:cubicBezTo>
                    <a:pt x="63" y="156"/>
                    <a:pt x="63" y="156"/>
                    <a:pt x="63" y="156"/>
                  </a:cubicBezTo>
                  <a:cubicBezTo>
                    <a:pt x="62" y="156"/>
                    <a:pt x="62" y="156"/>
                    <a:pt x="62" y="156"/>
                  </a:cubicBezTo>
                  <a:cubicBezTo>
                    <a:pt x="61" y="156"/>
                    <a:pt x="61" y="156"/>
                    <a:pt x="61" y="156"/>
                  </a:cubicBezTo>
                  <a:cubicBezTo>
                    <a:pt x="61" y="156"/>
                    <a:pt x="60" y="156"/>
                    <a:pt x="60" y="156"/>
                  </a:cubicBezTo>
                  <a:cubicBezTo>
                    <a:pt x="58" y="156"/>
                    <a:pt x="56" y="155"/>
                    <a:pt x="56" y="155"/>
                  </a:cubicBezTo>
                  <a:cubicBezTo>
                    <a:pt x="50" y="146"/>
                    <a:pt x="50" y="146"/>
                    <a:pt x="50" y="146"/>
                  </a:cubicBezTo>
                  <a:cubicBezTo>
                    <a:pt x="49" y="145"/>
                    <a:pt x="48" y="143"/>
                    <a:pt x="46" y="142"/>
                  </a:cubicBezTo>
                  <a:cubicBezTo>
                    <a:pt x="46" y="143"/>
                    <a:pt x="45" y="143"/>
                    <a:pt x="45" y="144"/>
                  </a:cubicBezTo>
                  <a:cubicBezTo>
                    <a:pt x="44" y="144"/>
                    <a:pt x="44" y="144"/>
                    <a:pt x="44" y="145"/>
                  </a:cubicBezTo>
                  <a:cubicBezTo>
                    <a:pt x="43" y="146"/>
                    <a:pt x="42" y="146"/>
                    <a:pt x="42" y="146"/>
                  </a:cubicBezTo>
                  <a:cubicBezTo>
                    <a:pt x="41" y="146"/>
                    <a:pt x="41" y="146"/>
                    <a:pt x="41" y="146"/>
                  </a:cubicBezTo>
                  <a:cubicBezTo>
                    <a:pt x="40" y="146"/>
                    <a:pt x="40" y="146"/>
                    <a:pt x="40" y="146"/>
                  </a:cubicBezTo>
                  <a:cubicBezTo>
                    <a:pt x="39" y="145"/>
                    <a:pt x="38" y="145"/>
                    <a:pt x="37" y="144"/>
                  </a:cubicBezTo>
                  <a:cubicBezTo>
                    <a:pt x="36" y="144"/>
                    <a:pt x="35" y="143"/>
                    <a:pt x="35" y="143"/>
                  </a:cubicBezTo>
                  <a:cubicBezTo>
                    <a:pt x="35" y="143"/>
                    <a:pt x="34" y="143"/>
                    <a:pt x="34" y="143"/>
                  </a:cubicBezTo>
                  <a:cubicBezTo>
                    <a:pt x="34" y="143"/>
                    <a:pt x="33" y="144"/>
                    <a:pt x="29" y="148"/>
                  </a:cubicBezTo>
                  <a:cubicBezTo>
                    <a:pt x="29" y="149"/>
                    <a:pt x="28" y="150"/>
                    <a:pt x="28" y="150"/>
                  </a:cubicBezTo>
                  <a:cubicBezTo>
                    <a:pt x="27" y="150"/>
                    <a:pt x="27" y="150"/>
                    <a:pt x="27" y="150"/>
                  </a:cubicBezTo>
                  <a:cubicBezTo>
                    <a:pt x="27" y="151"/>
                    <a:pt x="27" y="151"/>
                    <a:pt x="27" y="151"/>
                  </a:cubicBezTo>
                  <a:cubicBezTo>
                    <a:pt x="27" y="151"/>
                    <a:pt x="27" y="151"/>
                    <a:pt x="27" y="151"/>
                  </a:cubicBezTo>
                  <a:cubicBezTo>
                    <a:pt x="26" y="153"/>
                    <a:pt x="25" y="155"/>
                    <a:pt x="23" y="155"/>
                  </a:cubicBezTo>
                  <a:cubicBezTo>
                    <a:pt x="23" y="155"/>
                    <a:pt x="23" y="155"/>
                    <a:pt x="23" y="155"/>
                  </a:cubicBezTo>
                  <a:cubicBezTo>
                    <a:pt x="21" y="156"/>
                    <a:pt x="20" y="157"/>
                    <a:pt x="19" y="158"/>
                  </a:cubicBezTo>
                  <a:cubicBezTo>
                    <a:pt x="12" y="166"/>
                    <a:pt x="12" y="166"/>
                    <a:pt x="12" y="166"/>
                  </a:cubicBezTo>
                  <a:cubicBezTo>
                    <a:pt x="10" y="167"/>
                    <a:pt x="9" y="168"/>
                    <a:pt x="8" y="169"/>
                  </a:cubicBezTo>
                  <a:cubicBezTo>
                    <a:pt x="7" y="169"/>
                    <a:pt x="7" y="169"/>
                    <a:pt x="7" y="169"/>
                  </a:cubicBezTo>
                  <a:cubicBezTo>
                    <a:pt x="7" y="170"/>
                    <a:pt x="6" y="170"/>
                    <a:pt x="6" y="170"/>
                  </a:cubicBezTo>
                  <a:cubicBezTo>
                    <a:pt x="6" y="171"/>
                    <a:pt x="6" y="173"/>
                    <a:pt x="6" y="174"/>
                  </a:cubicBezTo>
                  <a:cubicBezTo>
                    <a:pt x="6" y="177"/>
                    <a:pt x="6" y="179"/>
                    <a:pt x="5" y="181"/>
                  </a:cubicBezTo>
                  <a:cubicBezTo>
                    <a:pt x="5" y="181"/>
                    <a:pt x="5" y="182"/>
                    <a:pt x="5" y="183"/>
                  </a:cubicBezTo>
                  <a:cubicBezTo>
                    <a:pt x="4" y="185"/>
                    <a:pt x="4" y="185"/>
                    <a:pt x="4" y="185"/>
                  </a:cubicBezTo>
                  <a:cubicBezTo>
                    <a:pt x="4" y="186"/>
                    <a:pt x="3" y="187"/>
                    <a:pt x="2" y="188"/>
                  </a:cubicBezTo>
                  <a:cubicBezTo>
                    <a:pt x="2" y="189"/>
                    <a:pt x="2" y="189"/>
                    <a:pt x="2" y="189"/>
                  </a:cubicBezTo>
                  <a:cubicBezTo>
                    <a:pt x="1" y="190"/>
                    <a:pt x="1" y="192"/>
                    <a:pt x="0" y="193"/>
                  </a:cubicBezTo>
                  <a:cubicBezTo>
                    <a:pt x="0" y="194"/>
                    <a:pt x="0" y="194"/>
                    <a:pt x="0" y="195"/>
                  </a:cubicBezTo>
                  <a:cubicBezTo>
                    <a:pt x="0" y="195"/>
                    <a:pt x="0" y="195"/>
                    <a:pt x="0" y="195"/>
                  </a:cubicBezTo>
                  <a:cubicBezTo>
                    <a:pt x="1" y="196"/>
                    <a:pt x="2" y="197"/>
                    <a:pt x="3" y="198"/>
                  </a:cubicBezTo>
                  <a:cubicBezTo>
                    <a:pt x="3" y="197"/>
                    <a:pt x="3" y="197"/>
                    <a:pt x="3" y="196"/>
                  </a:cubicBezTo>
                  <a:cubicBezTo>
                    <a:pt x="4" y="199"/>
                    <a:pt x="4" y="202"/>
                    <a:pt x="5" y="205"/>
                  </a:cubicBezTo>
                  <a:cubicBezTo>
                    <a:pt x="7" y="209"/>
                    <a:pt x="7" y="210"/>
                    <a:pt x="12" y="211"/>
                  </a:cubicBezTo>
                  <a:cubicBezTo>
                    <a:pt x="14" y="212"/>
                    <a:pt x="15" y="213"/>
                    <a:pt x="16" y="213"/>
                  </a:cubicBezTo>
                  <a:cubicBezTo>
                    <a:pt x="17" y="213"/>
                    <a:pt x="18" y="212"/>
                    <a:pt x="19" y="212"/>
                  </a:cubicBezTo>
                  <a:cubicBezTo>
                    <a:pt x="20" y="211"/>
                    <a:pt x="18" y="210"/>
                    <a:pt x="18" y="210"/>
                  </a:cubicBezTo>
                  <a:cubicBezTo>
                    <a:pt x="18" y="209"/>
                    <a:pt x="18" y="209"/>
                    <a:pt x="19" y="209"/>
                  </a:cubicBezTo>
                  <a:cubicBezTo>
                    <a:pt x="19" y="209"/>
                    <a:pt x="19" y="210"/>
                    <a:pt x="19" y="210"/>
                  </a:cubicBezTo>
                  <a:cubicBezTo>
                    <a:pt x="21" y="209"/>
                    <a:pt x="23" y="209"/>
                    <a:pt x="25" y="208"/>
                  </a:cubicBezTo>
                  <a:cubicBezTo>
                    <a:pt x="24" y="209"/>
                    <a:pt x="23" y="211"/>
                    <a:pt x="22" y="212"/>
                  </a:cubicBezTo>
                  <a:cubicBezTo>
                    <a:pt x="22" y="212"/>
                    <a:pt x="23" y="213"/>
                    <a:pt x="23" y="213"/>
                  </a:cubicBezTo>
                  <a:cubicBezTo>
                    <a:pt x="24" y="213"/>
                    <a:pt x="24" y="212"/>
                    <a:pt x="25" y="212"/>
                  </a:cubicBezTo>
                  <a:cubicBezTo>
                    <a:pt x="23" y="215"/>
                    <a:pt x="23" y="215"/>
                    <a:pt x="20" y="216"/>
                  </a:cubicBezTo>
                  <a:cubicBezTo>
                    <a:pt x="20" y="217"/>
                    <a:pt x="21" y="217"/>
                    <a:pt x="21" y="218"/>
                  </a:cubicBezTo>
                  <a:cubicBezTo>
                    <a:pt x="22" y="222"/>
                    <a:pt x="25" y="225"/>
                    <a:pt x="28" y="228"/>
                  </a:cubicBezTo>
                  <a:cubicBezTo>
                    <a:pt x="30" y="230"/>
                    <a:pt x="28" y="236"/>
                    <a:pt x="28" y="238"/>
                  </a:cubicBezTo>
                  <a:cubicBezTo>
                    <a:pt x="27" y="241"/>
                    <a:pt x="27" y="244"/>
                    <a:pt x="26" y="247"/>
                  </a:cubicBezTo>
                  <a:cubicBezTo>
                    <a:pt x="26" y="248"/>
                    <a:pt x="26" y="248"/>
                    <a:pt x="26" y="248"/>
                  </a:cubicBezTo>
                  <a:cubicBezTo>
                    <a:pt x="27" y="248"/>
                    <a:pt x="27" y="248"/>
                    <a:pt x="27" y="248"/>
                  </a:cubicBezTo>
                  <a:cubicBezTo>
                    <a:pt x="28" y="248"/>
                    <a:pt x="28" y="248"/>
                    <a:pt x="29" y="248"/>
                  </a:cubicBezTo>
                  <a:cubicBezTo>
                    <a:pt x="29" y="249"/>
                    <a:pt x="29" y="249"/>
                    <a:pt x="29" y="249"/>
                  </a:cubicBezTo>
                  <a:cubicBezTo>
                    <a:pt x="30" y="250"/>
                    <a:pt x="32" y="252"/>
                    <a:pt x="40" y="252"/>
                  </a:cubicBezTo>
                  <a:cubicBezTo>
                    <a:pt x="52" y="252"/>
                    <a:pt x="52" y="252"/>
                    <a:pt x="52" y="252"/>
                  </a:cubicBezTo>
                  <a:cubicBezTo>
                    <a:pt x="53" y="252"/>
                    <a:pt x="54" y="252"/>
                    <a:pt x="55" y="252"/>
                  </a:cubicBezTo>
                  <a:cubicBezTo>
                    <a:pt x="55" y="252"/>
                    <a:pt x="55" y="252"/>
                    <a:pt x="55" y="252"/>
                  </a:cubicBezTo>
                  <a:cubicBezTo>
                    <a:pt x="56" y="252"/>
                    <a:pt x="58" y="252"/>
                    <a:pt x="59" y="252"/>
                  </a:cubicBezTo>
                  <a:cubicBezTo>
                    <a:pt x="59" y="252"/>
                    <a:pt x="60" y="252"/>
                    <a:pt x="60" y="252"/>
                  </a:cubicBezTo>
                  <a:cubicBezTo>
                    <a:pt x="60" y="251"/>
                    <a:pt x="61" y="250"/>
                    <a:pt x="62" y="249"/>
                  </a:cubicBezTo>
                  <a:cubicBezTo>
                    <a:pt x="63" y="248"/>
                    <a:pt x="64" y="248"/>
                    <a:pt x="66" y="248"/>
                  </a:cubicBezTo>
                  <a:cubicBezTo>
                    <a:pt x="66" y="248"/>
                    <a:pt x="66" y="248"/>
                    <a:pt x="67" y="248"/>
                  </a:cubicBezTo>
                  <a:cubicBezTo>
                    <a:pt x="67" y="248"/>
                    <a:pt x="68" y="248"/>
                    <a:pt x="68" y="248"/>
                  </a:cubicBezTo>
                  <a:cubicBezTo>
                    <a:pt x="68" y="248"/>
                    <a:pt x="68" y="248"/>
                    <a:pt x="69" y="248"/>
                  </a:cubicBezTo>
                  <a:cubicBezTo>
                    <a:pt x="70" y="248"/>
                    <a:pt x="71" y="248"/>
                    <a:pt x="72" y="248"/>
                  </a:cubicBezTo>
                  <a:cubicBezTo>
                    <a:pt x="74" y="249"/>
                    <a:pt x="75" y="249"/>
                    <a:pt x="76" y="249"/>
                  </a:cubicBezTo>
                  <a:cubicBezTo>
                    <a:pt x="77" y="249"/>
                    <a:pt x="77" y="249"/>
                    <a:pt x="77" y="249"/>
                  </a:cubicBezTo>
                  <a:cubicBezTo>
                    <a:pt x="79" y="249"/>
                    <a:pt x="79" y="249"/>
                    <a:pt x="79" y="249"/>
                  </a:cubicBezTo>
                  <a:cubicBezTo>
                    <a:pt x="82" y="249"/>
                    <a:pt x="86" y="249"/>
                    <a:pt x="90" y="249"/>
                  </a:cubicBezTo>
                  <a:cubicBezTo>
                    <a:pt x="92" y="249"/>
                    <a:pt x="92" y="249"/>
                    <a:pt x="92" y="249"/>
                  </a:cubicBezTo>
                  <a:cubicBezTo>
                    <a:pt x="96" y="249"/>
                    <a:pt x="99" y="249"/>
                    <a:pt x="103" y="249"/>
                  </a:cubicBezTo>
                  <a:cubicBezTo>
                    <a:pt x="103" y="249"/>
                    <a:pt x="103" y="249"/>
                    <a:pt x="103" y="249"/>
                  </a:cubicBezTo>
                  <a:cubicBezTo>
                    <a:pt x="103" y="249"/>
                    <a:pt x="103" y="249"/>
                    <a:pt x="104" y="249"/>
                  </a:cubicBezTo>
                  <a:cubicBezTo>
                    <a:pt x="104" y="249"/>
                    <a:pt x="104" y="249"/>
                    <a:pt x="104" y="249"/>
                  </a:cubicBezTo>
                  <a:cubicBezTo>
                    <a:pt x="105" y="249"/>
                    <a:pt x="105" y="249"/>
                    <a:pt x="106" y="250"/>
                  </a:cubicBezTo>
                  <a:cubicBezTo>
                    <a:pt x="106" y="250"/>
                    <a:pt x="106" y="250"/>
                    <a:pt x="106" y="250"/>
                  </a:cubicBezTo>
                  <a:cubicBezTo>
                    <a:pt x="107" y="250"/>
                    <a:pt x="107" y="250"/>
                    <a:pt x="108" y="250"/>
                  </a:cubicBezTo>
                  <a:cubicBezTo>
                    <a:pt x="108" y="251"/>
                    <a:pt x="108" y="251"/>
                    <a:pt x="108" y="251"/>
                  </a:cubicBezTo>
                  <a:cubicBezTo>
                    <a:pt x="108" y="251"/>
                    <a:pt x="109" y="251"/>
                    <a:pt x="109" y="251"/>
                  </a:cubicBezTo>
                  <a:cubicBezTo>
                    <a:pt x="115" y="249"/>
                    <a:pt x="115" y="249"/>
                    <a:pt x="115" y="249"/>
                  </a:cubicBezTo>
                  <a:cubicBezTo>
                    <a:pt x="113" y="252"/>
                    <a:pt x="113" y="252"/>
                    <a:pt x="113" y="252"/>
                  </a:cubicBezTo>
                  <a:cubicBezTo>
                    <a:pt x="114" y="252"/>
                    <a:pt x="114" y="252"/>
                    <a:pt x="115" y="252"/>
                  </a:cubicBezTo>
                  <a:cubicBezTo>
                    <a:pt x="116" y="252"/>
                    <a:pt x="116" y="252"/>
                    <a:pt x="117" y="252"/>
                  </a:cubicBezTo>
                  <a:cubicBezTo>
                    <a:pt x="122" y="252"/>
                    <a:pt x="127" y="252"/>
                    <a:pt x="132" y="251"/>
                  </a:cubicBezTo>
                  <a:cubicBezTo>
                    <a:pt x="138" y="251"/>
                    <a:pt x="138" y="251"/>
                    <a:pt x="138" y="251"/>
                  </a:cubicBezTo>
                  <a:cubicBezTo>
                    <a:pt x="139" y="251"/>
                    <a:pt x="139" y="251"/>
                    <a:pt x="139" y="251"/>
                  </a:cubicBezTo>
                  <a:cubicBezTo>
                    <a:pt x="139" y="251"/>
                    <a:pt x="140" y="251"/>
                    <a:pt x="141" y="252"/>
                  </a:cubicBezTo>
                  <a:cubicBezTo>
                    <a:pt x="141" y="252"/>
                    <a:pt x="142" y="253"/>
                    <a:pt x="143" y="253"/>
                  </a:cubicBezTo>
                  <a:cubicBezTo>
                    <a:pt x="143" y="254"/>
                    <a:pt x="143" y="254"/>
                    <a:pt x="143" y="254"/>
                  </a:cubicBezTo>
                  <a:cubicBezTo>
                    <a:pt x="144" y="254"/>
                    <a:pt x="144" y="254"/>
                    <a:pt x="144" y="254"/>
                  </a:cubicBezTo>
                  <a:cubicBezTo>
                    <a:pt x="144" y="254"/>
                    <a:pt x="144" y="254"/>
                    <a:pt x="144" y="254"/>
                  </a:cubicBezTo>
                  <a:cubicBezTo>
                    <a:pt x="144" y="254"/>
                    <a:pt x="144" y="254"/>
                    <a:pt x="145" y="254"/>
                  </a:cubicBezTo>
                  <a:cubicBezTo>
                    <a:pt x="145" y="254"/>
                    <a:pt x="145" y="254"/>
                    <a:pt x="145" y="254"/>
                  </a:cubicBezTo>
                  <a:cubicBezTo>
                    <a:pt x="146" y="254"/>
                    <a:pt x="146" y="254"/>
                    <a:pt x="147" y="254"/>
                  </a:cubicBezTo>
                  <a:cubicBezTo>
                    <a:pt x="151" y="255"/>
                    <a:pt x="151" y="255"/>
                    <a:pt x="151" y="255"/>
                  </a:cubicBezTo>
                  <a:cubicBezTo>
                    <a:pt x="150" y="256"/>
                    <a:pt x="150" y="256"/>
                    <a:pt x="150" y="256"/>
                  </a:cubicBezTo>
                  <a:cubicBezTo>
                    <a:pt x="150" y="256"/>
                    <a:pt x="150" y="256"/>
                    <a:pt x="150" y="256"/>
                  </a:cubicBezTo>
                  <a:cubicBezTo>
                    <a:pt x="151" y="256"/>
                    <a:pt x="151" y="256"/>
                    <a:pt x="152" y="256"/>
                  </a:cubicBezTo>
                  <a:cubicBezTo>
                    <a:pt x="152" y="256"/>
                    <a:pt x="152" y="256"/>
                    <a:pt x="152" y="256"/>
                  </a:cubicBezTo>
                  <a:cubicBezTo>
                    <a:pt x="153" y="256"/>
                    <a:pt x="153" y="256"/>
                    <a:pt x="153" y="256"/>
                  </a:cubicBezTo>
                  <a:cubicBezTo>
                    <a:pt x="154" y="256"/>
                    <a:pt x="155" y="256"/>
                    <a:pt x="155" y="256"/>
                  </a:cubicBezTo>
                  <a:cubicBezTo>
                    <a:pt x="156" y="256"/>
                    <a:pt x="157" y="257"/>
                    <a:pt x="157" y="257"/>
                  </a:cubicBezTo>
                  <a:cubicBezTo>
                    <a:pt x="158" y="257"/>
                    <a:pt x="158" y="257"/>
                    <a:pt x="159" y="257"/>
                  </a:cubicBezTo>
                  <a:cubicBezTo>
                    <a:pt x="159" y="257"/>
                    <a:pt x="159" y="257"/>
                    <a:pt x="159" y="257"/>
                  </a:cubicBezTo>
                  <a:cubicBezTo>
                    <a:pt x="159" y="257"/>
                    <a:pt x="160" y="257"/>
                    <a:pt x="160" y="257"/>
                  </a:cubicBezTo>
                  <a:cubicBezTo>
                    <a:pt x="161" y="257"/>
                    <a:pt x="162" y="257"/>
                    <a:pt x="163" y="257"/>
                  </a:cubicBezTo>
                  <a:cubicBezTo>
                    <a:pt x="164" y="257"/>
                    <a:pt x="166" y="257"/>
                    <a:pt x="167" y="258"/>
                  </a:cubicBezTo>
                  <a:cubicBezTo>
                    <a:pt x="168" y="259"/>
                    <a:pt x="169" y="259"/>
                    <a:pt x="170" y="260"/>
                  </a:cubicBezTo>
                  <a:cubicBezTo>
                    <a:pt x="171" y="260"/>
                    <a:pt x="171" y="260"/>
                    <a:pt x="171" y="260"/>
                  </a:cubicBezTo>
                  <a:cubicBezTo>
                    <a:pt x="171" y="260"/>
                    <a:pt x="171" y="259"/>
                    <a:pt x="171" y="259"/>
                  </a:cubicBezTo>
                  <a:cubicBezTo>
                    <a:pt x="171" y="255"/>
                    <a:pt x="171" y="254"/>
                    <a:pt x="173" y="252"/>
                  </a:cubicBezTo>
                  <a:cubicBezTo>
                    <a:pt x="173" y="252"/>
                    <a:pt x="173" y="252"/>
                    <a:pt x="173" y="252"/>
                  </a:cubicBezTo>
                  <a:cubicBezTo>
                    <a:pt x="173" y="252"/>
                    <a:pt x="173" y="251"/>
                    <a:pt x="173" y="251"/>
                  </a:cubicBezTo>
                  <a:cubicBezTo>
                    <a:pt x="173" y="249"/>
                    <a:pt x="173" y="249"/>
                    <a:pt x="173" y="249"/>
                  </a:cubicBezTo>
                  <a:cubicBezTo>
                    <a:pt x="172" y="246"/>
                    <a:pt x="171" y="243"/>
                    <a:pt x="171" y="240"/>
                  </a:cubicBezTo>
                  <a:cubicBezTo>
                    <a:pt x="171" y="239"/>
                    <a:pt x="171" y="239"/>
                    <a:pt x="171" y="239"/>
                  </a:cubicBezTo>
                  <a:cubicBezTo>
                    <a:pt x="171" y="238"/>
                    <a:pt x="171" y="238"/>
                    <a:pt x="171" y="238"/>
                  </a:cubicBezTo>
                  <a:cubicBezTo>
                    <a:pt x="171" y="238"/>
                    <a:pt x="170" y="237"/>
                    <a:pt x="170" y="237"/>
                  </a:cubicBezTo>
                  <a:cubicBezTo>
                    <a:pt x="167" y="234"/>
                    <a:pt x="164" y="231"/>
                    <a:pt x="161" y="229"/>
                  </a:cubicBezTo>
                  <a:cubicBezTo>
                    <a:pt x="161" y="229"/>
                    <a:pt x="160" y="228"/>
                    <a:pt x="160" y="228"/>
                  </a:cubicBezTo>
                  <a:cubicBezTo>
                    <a:pt x="157" y="226"/>
                    <a:pt x="157" y="226"/>
                    <a:pt x="157" y="226"/>
                  </a:cubicBezTo>
                  <a:cubicBezTo>
                    <a:pt x="153" y="222"/>
                    <a:pt x="150" y="218"/>
                    <a:pt x="148" y="214"/>
                  </a:cubicBezTo>
                  <a:cubicBezTo>
                    <a:pt x="145" y="209"/>
                    <a:pt x="145" y="209"/>
                    <a:pt x="145" y="209"/>
                  </a:cubicBezTo>
                  <a:cubicBezTo>
                    <a:pt x="148" y="208"/>
                    <a:pt x="148" y="208"/>
                    <a:pt x="148" y="208"/>
                  </a:cubicBezTo>
                  <a:cubicBezTo>
                    <a:pt x="145" y="205"/>
                    <a:pt x="145" y="205"/>
                    <a:pt x="145" y="205"/>
                  </a:cubicBezTo>
                  <a:cubicBezTo>
                    <a:pt x="145" y="204"/>
                    <a:pt x="144" y="204"/>
                    <a:pt x="144" y="203"/>
                  </a:cubicBezTo>
                  <a:cubicBezTo>
                    <a:pt x="141" y="200"/>
                    <a:pt x="140" y="199"/>
                    <a:pt x="139" y="197"/>
                  </a:cubicBezTo>
                  <a:cubicBezTo>
                    <a:pt x="139" y="194"/>
                    <a:pt x="139" y="194"/>
                    <a:pt x="139" y="194"/>
                  </a:cubicBezTo>
                  <a:cubicBezTo>
                    <a:pt x="138" y="191"/>
                    <a:pt x="138" y="189"/>
                    <a:pt x="137" y="186"/>
                  </a:cubicBezTo>
                  <a:cubicBezTo>
                    <a:pt x="137" y="185"/>
                    <a:pt x="137" y="185"/>
                    <a:pt x="136" y="185"/>
                  </a:cubicBezTo>
                  <a:cubicBezTo>
                    <a:pt x="136" y="183"/>
                    <a:pt x="135" y="181"/>
                    <a:pt x="135" y="180"/>
                  </a:cubicBezTo>
                  <a:cubicBezTo>
                    <a:pt x="135" y="178"/>
                    <a:pt x="135" y="177"/>
                    <a:pt x="136" y="176"/>
                  </a:cubicBezTo>
                  <a:cubicBezTo>
                    <a:pt x="136" y="176"/>
                    <a:pt x="136" y="176"/>
                    <a:pt x="136" y="176"/>
                  </a:cubicBezTo>
                  <a:cubicBezTo>
                    <a:pt x="136" y="175"/>
                    <a:pt x="136" y="175"/>
                    <a:pt x="136" y="175"/>
                  </a:cubicBezTo>
                  <a:cubicBezTo>
                    <a:pt x="136" y="173"/>
                    <a:pt x="136" y="173"/>
                    <a:pt x="136" y="173"/>
                  </a:cubicBezTo>
                  <a:cubicBezTo>
                    <a:pt x="136" y="172"/>
                    <a:pt x="136" y="171"/>
                    <a:pt x="136" y="170"/>
                  </a:cubicBezTo>
                  <a:cubicBezTo>
                    <a:pt x="136" y="169"/>
                    <a:pt x="136" y="169"/>
                    <a:pt x="136" y="169"/>
                  </a:cubicBezTo>
                  <a:cubicBezTo>
                    <a:pt x="136" y="168"/>
                    <a:pt x="136" y="168"/>
                    <a:pt x="136" y="168"/>
                  </a:cubicBezTo>
                  <a:cubicBezTo>
                    <a:pt x="136" y="167"/>
                    <a:pt x="136" y="167"/>
                    <a:pt x="136" y="167"/>
                  </a:cubicBezTo>
                  <a:cubicBezTo>
                    <a:pt x="135" y="167"/>
                    <a:pt x="135" y="167"/>
                    <a:pt x="134" y="166"/>
                  </a:cubicBezTo>
                  <a:cubicBezTo>
                    <a:pt x="134" y="165"/>
                    <a:pt x="133" y="165"/>
                    <a:pt x="132" y="164"/>
                  </a:cubicBezTo>
                  <a:cubicBezTo>
                    <a:pt x="130" y="161"/>
                    <a:pt x="130" y="161"/>
                    <a:pt x="130" y="161"/>
                  </a:cubicBezTo>
                  <a:cubicBezTo>
                    <a:pt x="135" y="159"/>
                    <a:pt x="135" y="159"/>
                    <a:pt x="135" y="159"/>
                  </a:cubicBezTo>
                  <a:cubicBezTo>
                    <a:pt x="139" y="156"/>
                    <a:pt x="140" y="156"/>
                    <a:pt x="142" y="152"/>
                  </a:cubicBezTo>
                  <a:cubicBezTo>
                    <a:pt x="142" y="151"/>
                    <a:pt x="143" y="150"/>
                    <a:pt x="143" y="149"/>
                  </a:cubicBezTo>
                  <a:cubicBezTo>
                    <a:pt x="144" y="148"/>
                    <a:pt x="144" y="148"/>
                    <a:pt x="144" y="148"/>
                  </a:cubicBezTo>
                  <a:cubicBezTo>
                    <a:pt x="144" y="147"/>
                    <a:pt x="144" y="146"/>
                    <a:pt x="145" y="145"/>
                  </a:cubicBezTo>
                  <a:cubicBezTo>
                    <a:pt x="146" y="144"/>
                    <a:pt x="146" y="143"/>
                    <a:pt x="147" y="141"/>
                  </a:cubicBezTo>
                  <a:cubicBezTo>
                    <a:pt x="147" y="141"/>
                    <a:pt x="147" y="141"/>
                    <a:pt x="147" y="141"/>
                  </a:cubicBezTo>
                  <a:cubicBezTo>
                    <a:pt x="148" y="139"/>
                    <a:pt x="150" y="136"/>
                    <a:pt x="151" y="134"/>
                  </a:cubicBezTo>
                  <a:cubicBezTo>
                    <a:pt x="152" y="133"/>
                    <a:pt x="152" y="133"/>
                    <a:pt x="152" y="133"/>
                  </a:cubicBezTo>
                  <a:cubicBezTo>
                    <a:pt x="153" y="131"/>
                    <a:pt x="154" y="129"/>
                    <a:pt x="156" y="128"/>
                  </a:cubicBezTo>
                  <a:cubicBezTo>
                    <a:pt x="156" y="127"/>
                    <a:pt x="156" y="127"/>
                    <a:pt x="156" y="127"/>
                  </a:cubicBezTo>
                  <a:cubicBezTo>
                    <a:pt x="157" y="127"/>
                    <a:pt x="157" y="127"/>
                    <a:pt x="157" y="127"/>
                  </a:cubicBezTo>
                  <a:cubicBezTo>
                    <a:pt x="157" y="127"/>
                    <a:pt x="157" y="127"/>
                    <a:pt x="157" y="127"/>
                  </a:cubicBezTo>
                  <a:cubicBezTo>
                    <a:pt x="157" y="126"/>
                    <a:pt x="157" y="126"/>
                    <a:pt x="157" y="126"/>
                  </a:cubicBezTo>
                  <a:cubicBezTo>
                    <a:pt x="158" y="125"/>
                    <a:pt x="158" y="125"/>
                    <a:pt x="158" y="125"/>
                  </a:cubicBezTo>
                  <a:cubicBezTo>
                    <a:pt x="158" y="125"/>
                    <a:pt x="158" y="124"/>
                    <a:pt x="158" y="124"/>
                  </a:cubicBezTo>
                  <a:cubicBezTo>
                    <a:pt x="158" y="123"/>
                    <a:pt x="158" y="123"/>
                    <a:pt x="158" y="123"/>
                  </a:cubicBezTo>
                  <a:cubicBezTo>
                    <a:pt x="157" y="122"/>
                    <a:pt x="156" y="120"/>
                    <a:pt x="155" y="118"/>
                  </a:cubicBezTo>
                  <a:cubicBezTo>
                    <a:pt x="155" y="117"/>
                    <a:pt x="155" y="117"/>
                    <a:pt x="155" y="117"/>
                  </a:cubicBezTo>
                  <a:cubicBezTo>
                    <a:pt x="154" y="116"/>
                    <a:pt x="154" y="115"/>
                    <a:pt x="154" y="114"/>
                  </a:cubicBezTo>
                  <a:cubicBezTo>
                    <a:pt x="153" y="113"/>
                    <a:pt x="153" y="113"/>
                    <a:pt x="153" y="113"/>
                  </a:cubicBezTo>
                  <a:cubicBezTo>
                    <a:pt x="152" y="110"/>
                    <a:pt x="151" y="107"/>
                    <a:pt x="149" y="106"/>
                  </a:cubicBezTo>
                  <a:cubicBezTo>
                    <a:pt x="146" y="102"/>
                    <a:pt x="142" y="99"/>
                    <a:pt x="139" y="96"/>
                  </a:cubicBezTo>
                  <a:cubicBezTo>
                    <a:pt x="136" y="93"/>
                    <a:pt x="132" y="90"/>
                    <a:pt x="129" y="87"/>
                  </a:cubicBezTo>
                  <a:cubicBezTo>
                    <a:pt x="127" y="85"/>
                    <a:pt x="127" y="85"/>
                    <a:pt x="127" y="85"/>
                  </a:cubicBezTo>
                  <a:cubicBezTo>
                    <a:pt x="127" y="85"/>
                    <a:pt x="126" y="84"/>
                    <a:pt x="126" y="84"/>
                  </a:cubicBezTo>
                  <a:cubicBezTo>
                    <a:pt x="125" y="83"/>
                    <a:pt x="125" y="83"/>
                    <a:pt x="124" y="82"/>
                  </a:cubicBezTo>
                  <a:cubicBezTo>
                    <a:pt x="124" y="82"/>
                    <a:pt x="124" y="82"/>
                    <a:pt x="124" y="82"/>
                  </a:cubicBezTo>
                  <a:cubicBezTo>
                    <a:pt x="121" y="79"/>
                    <a:pt x="121" y="77"/>
                    <a:pt x="124" y="73"/>
                  </a:cubicBezTo>
                  <a:cubicBezTo>
                    <a:pt x="124" y="72"/>
                    <a:pt x="124" y="72"/>
                    <a:pt x="124" y="72"/>
                  </a:cubicBezTo>
                  <a:cubicBezTo>
                    <a:pt x="126" y="70"/>
                    <a:pt x="127" y="67"/>
                    <a:pt x="131" y="67"/>
                  </a:cubicBezTo>
                  <a:cubicBezTo>
                    <a:pt x="132" y="67"/>
                    <a:pt x="132" y="67"/>
                    <a:pt x="132" y="67"/>
                  </a:cubicBezTo>
                  <a:cubicBezTo>
                    <a:pt x="133" y="67"/>
                    <a:pt x="133" y="67"/>
                    <a:pt x="134" y="67"/>
                  </a:cubicBezTo>
                  <a:cubicBezTo>
                    <a:pt x="136" y="67"/>
                    <a:pt x="137" y="67"/>
                    <a:pt x="139" y="67"/>
                  </a:cubicBezTo>
                  <a:cubicBezTo>
                    <a:pt x="140" y="67"/>
                    <a:pt x="140" y="67"/>
                    <a:pt x="140" y="67"/>
                  </a:cubicBezTo>
                  <a:cubicBezTo>
                    <a:pt x="140" y="67"/>
                    <a:pt x="140" y="67"/>
                    <a:pt x="140" y="67"/>
                  </a:cubicBezTo>
                  <a:cubicBezTo>
                    <a:pt x="141" y="67"/>
                    <a:pt x="142" y="68"/>
                    <a:pt x="142" y="68"/>
                  </a:cubicBezTo>
                  <a:cubicBezTo>
                    <a:pt x="142" y="68"/>
                    <a:pt x="142" y="68"/>
                    <a:pt x="142" y="68"/>
                  </a:cubicBezTo>
                  <a:cubicBezTo>
                    <a:pt x="143" y="68"/>
                    <a:pt x="143" y="68"/>
                    <a:pt x="144" y="68"/>
                  </a:cubicBezTo>
                  <a:cubicBezTo>
                    <a:pt x="146" y="68"/>
                    <a:pt x="148" y="67"/>
                    <a:pt x="150" y="67"/>
                  </a:cubicBezTo>
                  <a:cubicBezTo>
                    <a:pt x="149" y="61"/>
                    <a:pt x="149" y="61"/>
                    <a:pt x="149" y="61"/>
                  </a:cubicBezTo>
                  <a:cubicBezTo>
                    <a:pt x="152" y="67"/>
                    <a:pt x="152" y="67"/>
                    <a:pt x="152" y="67"/>
                  </a:cubicBezTo>
                  <a:cubicBezTo>
                    <a:pt x="152" y="67"/>
                    <a:pt x="152" y="67"/>
                    <a:pt x="152" y="67"/>
                  </a:cubicBezTo>
                  <a:cubicBezTo>
                    <a:pt x="153" y="67"/>
                    <a:pt x="154" y="67"/>
                    <a:pt x="155" y="67"/>
                  </a:cubicBezTo>
                  <a:cubicBezTo>
                    <a:pt x="156" y="67"/>
                    <a:pt x="156" y="67"/>
                    <a:pt x="156" y="67"/>
                  </a:cubicBezTo>
                  <a:cubicBezTo>
                    <a:pt x="155" y="66"/>
                    <a:pt x="154" y="64"/>
                    <a:pt x="153" y="63"/>
                  </a:cubicBezTo>
                  <a:cubicBezTo>
                    <a:pt x="150" y="58"/>
                    <a:pt x="148" y="52"/>
                    <a:pt x="146" y="46"/>
                  </a:cubicBezTo>
                  <a:cubicBezTo>
                    <a:pt x="146" y="45"/>
                    <a:pt x="146" y="43"/>
                    <a:pt x="147" y="40"/>
                  </a:cubicBezTo>
                  <a:cubicBezTo>
                    <a:pt x="147" y="40"/>
                    <a:pt x="147" y="39"/>
                    <a:pt x="147" y="38"/>
                  </a:cubicBezTo>
                  <a:cubicBezTo>
                    <a:pt x="147" y="37"/>
                    <a:pt x="148" y="37"/>
                    <a:pt x="148" y="36"/>
                  </a:cubicBezTo>
                  <a:cubicBezTo>
                    <a:pt x="148" y="34"/>
                    <a:pt x="148" y="33"/>
                    <a:pt x="148" y="32"/>
                  </a:cubicBezTo>
                  <a:cubicBezTo>
                    <a:pt x="148" y="32"/>
                    <a:pt x="148" y="32"/>
                    <a:pt x="148" y="32"/>
                  </a:cubicBezTo>
                  <a:cubicBezTo>
                    <a:pt x="148" y="31"/>
                    <a:pt x="148" y="31"/>
                    <a:pt x="148" y="31"/>
                  </a:cubicBezTo>
                  <a:cubicBezTo>
                    <a:pt x="148" y="31"/>
                    <a:pt x="148" y="31"/>
                    <a:pt x="148" y="31"/>
                  </a:cubicBezTo>
                  <a:cubicBezTo>
                    <a:pt x="148" y="30"/>
                    <a:pt x="148" y="30"/>
                    <a:pt x="148" y="30"/>
                  </a:cubicBezTo>
                  <a:cubicBezTo>
                    <a:pt x="148" y="29"/>
                    <a:pt x="147" y="28"/>
                    <a:pt x="147" y="27"/>
                  </a:cubicBezTo>
                  <a:cubicBezTo>
                    <a:pt x="147" y="26"/>
                    <a:pt x="147" y="25"/>
                    <a:pt x="146" y="25"/>
                  </a:cubicBezTo>
                  <a:cubicBezTo>
                    <a:pt x="145" y="22"/>
                    <a:pt x="145" y="22"/>
                    <a:pt x="145" y="22"/>
                  </a:cubicBezTo>
                  <a:cubicBezTo>
                    <a:pt x="144" y="20"/>
                    <a:pt x="143" y="17"/>
                    <a:pt x="142" y="14"/>
                  </a:cubicBezTo>
                  <a:cubicBezTo>
                    <a:pt x="142" y="12"/>
                    <a:pt x="142" y="11"/>
                    <a:pt x="141" y="9"/>
                  </a:cubicBezTo>
                  <a:cubicBezTo>
                    <a:pt x="141" y="9"/>
                    <a:pt x="141" y="9"/>
                    <a:pt x="141" y="9"/>
                  </a:cubicBezTo>
                  <a:cubicBezTo>
                    <a:pt x="141" y="9"/>
                    <a:pt x="141" y="9"/>
                    <a:pt x="138" y="7"/>
                  </a:cubicBezTo>
                  <a:cubicBezTo>
                    <a:pt x="138" y="7"/>
                    <a:pt x="138" y="7"/>
                    <a:pt x="138" y="7"/>
                  </a:cubicBezTo>
                  <a:cubicBezTo>
                    <a:pt x="137" y="6"/>
                    <a:pt x="136" y="6"/>
                    <a:pt x="136" y="5"/>
                  </a:cubicBezTo>
                  <a:cubicBezTo>
                    <a:pt x="135" y="5"/>
                    <a:pt x="135" y="4"/>
                    <a:pt x="135" y="3"/>
                  </a:cubicBezTo>
                  <a:cubicBezTo>
                    <a:pt x="135" y="2"/>
                    <a:pt x="135" y="2"/>
                    <a:pt x="135" y="2"/>
                  </a:cubicBezTo>
                  <a:cubicBezTo>
                    <a:pt x="134" y="2"/>
                    <a:pt x="134" y="1"/>
                    <a:pt x="134" y="0"/>
                  </a:cubicBezTo>
                  <a:cubicBezTo>
                    <a:pt x="130" y="0"/>
                    <a:pt x="130" y="0"/>
                    <a:pt x="1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 name="Freeform 231">
              <a:extLst>
                <a:ext uri="{FF2B5EF4-FFF2-40B4-BE49-F238E27FC236}">
                  <a16:creationId xmlns:a16="http://schemas.microsoft.com/office/drawing/2014/main" id="{ACCD8B81-E16E-4F1D-AFD0-EC708BC75CFD}"/>
                </a:ext>
              </a:extLst>
            </p:cNvPr>
            <p:cNvSpPr>
              <a:spLocks noEditPoints="1"/>
            </p:cNvSpPr>
            <p:nvPr/>
          </p:nvSpPr>
          <p:spPr bwMode="auto">
            <a:xfrm>
              <a:off x="3817" y="1984"/>
              <a:ext cx="652" cy="532"/>
            </a:xfrm>
            <a:custGeom>
              <a:avLst/>
              <a:gdLst>
                <a:gd name="T0" fmla="*/ 64 w 276"/>
                <a:gd name="T1" fmla="*/ 0 h 225"/>
                <a:gd name="T2" fmla="*/ 34 w 276"/>
                <a:gd name="T3" fmla="*/ 10 h 225"/>
                <a:gd name="T4" fmla="*/ 33 w 276"/>
                <a:gd name="T5" fmla="*/ 15 h 225"/>
                <a:gd name="T6" fmla="*/ 25 w 276"/>
                <a:gd name="T7" fmla="*/ 29 h 225"/>
                <a:gd name="T8" fmla="*/ 22 w 276"/>
                <a:gd name="T9" fmla="*/ 44 h 225"/>
                <a:gd name="T10" fmla="*/ 21 w 276"/>
                <a:gd name="T11" fmla="*/ 53 h 225"/>
                <a:gd name="T12" fmla="*/ 23 w 276"/>
                <a:gd name="T13" fmla="*/ 59 h 225"/>
                <a:gd name="T14" fmla="*/ 27 w 276"/>
                <a:gd name="T15" fmla="*/ 73 h 225"/>
                <a:gd name="T16" fmla="*/ 22 w 276"/>
                <a:gd name="T17" fmla="*/ 83 h 225"/>
                <a:gd name="T18" fmla="*/ 11 w 276"/>
                <a:gd name="T19" fmla="*/ 109 h 225"/>
                <a:gd name="T20" fmla="*/ 2 w 276"/>
                <a:gd name="T21" fmla="*/ 114 h 225"/>
                <a:gd name="T22" fmla="*/ 1 w 276"/>
                <a:gd name="T23" fmla="*/ 139 h 225"/>
                <a:gd name="T24" fmla="*/ 2 w 276"/>
                <a:gd name="T25" fmla="*/ 163 h 225"/>
                <a:gd name="T26" fmla="*/ 6 w 276"/>
                <a:gd name="T27" fmla="*/ 174 h 225"/>
                <a:gd name="T28" fmla="*/ 25 w 276"/>
                <a:gd name="T29" fmla="*/ 170 h 225"/>
                <a:gd name="T30" fmla="*/ 37 w 276"/>
                <a:gd name="T31" fmla="*/ 176 h 225"/>
                <a:gd name="T32" fmla="*/ 59 w 276"/>
                <a:gd name="T33" fmla="*/ 186 h 225"/>
                <a:gd name="T34" fmla="*/ 60 w 276"/>
                <a:gd name="T35" fmla="*/ 191 h 225"/>
                <a:gd name="T36" fmla="*/ 65 w 276"/>
                <a:gd name="T37" fmla="*/ 196 h 225"/>
                <a:gd name="T38" fmla="*/ 79 w 276"/>
                <a:gd name="T39" fmla="*/ 225 h 225"/>
                <a:gd name="T40" fmla="*/ 84 w 276"/>
                <a:gd name="T41" fmla="*/ 224 h 225"/>
                <a:gd name="T42" fmla="*/ 96 w 276"/>
                <a:gd name="T43" fmla="*/ 223 h 225"/>
                <a:gd name="T44" fmla="*/ 100 w 276"/>
                <a:gd name="T45" fmla="*/ 222 h 225"/>
                <a:gd name="T46" fmla="*/ 99 w 276"/>
                <a:gd name="T47" fmla="*/ 218 h 225"/>
                <a:gd name="T48" fmla="*/ 101 w 276"/>
                <a:gd name="T49" fmla="*/ 215 h 225"/>
                <a:gd name="T50" fmla="*/ 112 w 276"/>
                <a:gd name="T51" fmla="*/ 215 h 225"/>
                <a:gd name="T52" fmla="*/ 130 w 276"/>
                <a:gd name="T53" fmla="*/ 217 h 225"/>
                <a:gd name="T54" fmla="*/ 133 w 276"/>
                <a:gd name="T55" fmla="*/ 212 h 225"/>
                <a:gd name="T56" fmla="*/ 139 w 276"/>
                <a:gd name="T57" fmla="*/ 199 h 225"/>
                <a:gd name="T58" fmla="*/ 146 w 276"/>
                <a:gd name="T59" fmla="*/ 182 h 225"/>
                <a:gd name="T60" fmla="*/ 161 w 276"/>
                <a:gd name="T61" fmla="*/ 169 h 225"/>
                <a:gd name="T62" fmla="*/ 174 w 276"/>
                <a:gd name="T63" fmla="*/ 157 h 225"/>
                <a:gd name="T64" fmla="*/ 182 w 276"/>
                <a:gd name="T65" fmla="*/ 153 h 225"/>
                <a:gd name="T66" fmla="*/ 200 w 276"/>
                <a:gd name="T67" fmla="*/ 170 h 225"/>
                <a:gd name="T68" fmla="*/ 210 w 276"/>
                <a:gd name="T69" fmla="*/ 151 h 225"/>
                <a:gd name="T70" fmla="*/ 220 w 276"/>
                <a:gd name="T71" fmla="*/ 126 h 225"/>
                <a:gd name="T72" fmla="*/ 234 w 276"/>
                <a:gd name="T73" fmla="*/ 111 h 225"/>
                <a:gd name="T74" fmla="*/ 243 w 276"/>
                <a:gd name="T75" fmla="*/ 98 h 225"/>
                <a:gd name="T76" fmla="*/ 243 w 276"/>
                <a:gd name="T77" fmla="*/ 91 h 225"/>
                <a:gd name="T78" fmla="*/ 250 w 276"/>
                <a:gd name="T79" fmla="*/ 75 h 225"/>
                <a:gd name="T80" fmla="*/ 256 w 276"/>
                <a:gd name="T81" fmla="*/ 66 h 225"/>
                <a:gd name="T82" fmla="*/ 260 w 276"/>
                <a:gd name="T83" fmla="*/ 58 h 225"/>
                <a:gd name="T84" fmla="*/ 267 w 276"/>
                <a:gd name="T85" fmla="*/ 57 h 225"/>
                <a:gd name="T86" fmla="*/ 275 w 276"/>
                <a:gd name="T87" fmla="*/ 52 h 225"/>
                <a:gd name="T88" fmla="*/ 275 w 276"/>
                <a:gd name="T89" fmla="*/ 39 h 225"/>
                <a:gd name="T90" fmla="*/ 265 w 276"/>
                <a:gd name="T91" fmla="*/ 31 h 225"/>
                <a:gd name="T92" fmla="*/ 254 w 276"/>
                <a:gd name="T93" fmla="*/ 5 h 225"/>
                <a:gd name="T94" fmla="*/ 250 w 276"/>
                <a:gd name="T95" fmla="*/ 4 h 225"/>
                <a:gd name="T96" fmla="*/ 243 w 276"/>
                <a:gd name="T97" fmla="*/ 6 h 225"/>
                <a:gd name="T98" fmla="*/ 228 w 276"/>
                <a:gd name="T99" fmla="*/ 18 h 225"/>
                <a:gd name="T100" fmla="*/ 203 w 276"/>
                <a:gd name="T101" fmla="*/ 12 h 225"/>
                <a:gd name="T102" fmla="*/ 189 w 276"/>
                <a:gd name="T103" fmla="*/ 12 h 225"/>
                <a:gd name="T104" fmla="*/ 165 w 276"/>
                <a:gd name="T105" fmla="*/ 23 h 225"/>
                <a:gd name="T106" fmla="*/ 159 w 276"/>
                <a:gd name="T107" fmla="*/ 25 h 225"/>
                <a:gd name="T108" fmla="*/ 152 w 276"/>
                <a:gd name="T109" fmla="*/ 25 h 225"/>
                <a:gd name="T110" fmla="*/ 124 w 276"/>
                <a:gd name="T111" fmla="*/ 13 h 225"/>
                <a:gd name="T112" fmla="*/ 120 w 276"/>
                <a:gd name="T113" fmla="*/ 13 h 225"/>
                <a:gd name="T114" fmla="*/ 105 w 276"/>
                <a:gd name="T115" fmla="*/ 19 h 225"/>
                <a:gd name="T116" fmla="*/ 83 w 276"/>
                <a:gd name="T117" fmla="*/ 6 h 225"/>
                <a:gd name="T118" fmla="*/ 69 w 276"/>
                <a:gd name="T119" fmla="*/ 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6" h="225">
                  <a:moveTo>
                    <a:pt x="65" y="196"/>
                  </a:moveTo>
                  <a:cubicBezTo>
                    <a:pt x="66" y="196"/>
                    <a:pt x="66" y="196"/>
                    <a:pt x="67" y="195"/>
                  </a:cubicBezTo>
                  <a:cubicBezTo>
                    <a:pt x="66" y="196"/>
                    <a:pt x="66" y="196"/>
                    <a:pt x="65" y="196"/>
                  </a:cubicBezTo>
                  <a:moveTo>
                    <a:pt x="65" y="0"/>
                  </a:moveTo>
                  <a:cubicBezTo>
                    <a:pt x="64" y="0"/>
                    <a:pt x="64" y="0"/>
                    <a:pt x="64" y="0"/>
                  </a:cubicBezTo>
                  <a:cubicBezTo>
                    <a:pt x="63" y="0"/>
                    <a:pt x="63" y="0"/>
                    <a:pt x="63" y="0"/>
                  </a:cubicBezTo>
                  <a:cubicBezTo>
                    <a:pt x="59" y="0"/>
                    <a:pt x="54" y="1"/>
                    <a:pt x="50" y="2"/>
                  </a:cubicBezTo>
                  <a:cubicBezTo>
                    <a:pt x="48" y="3"/>
                    <a:pt x="46" y="3"/>
                    <a:pt x="44" y="3"/>
                  </a:cubicBezTo>
                  <a:cubicBezTo>
                    <a:pt x="41" y="4"/>
                    <a:pt x="35" y="8"/>
                    <a:pt x="34" y="9"/>
                  </a:cubicBezTo>
                  <a:cubicBezTo>
                    <a:pt x="34" y="10"/>
                    <a:pt x="34" y="10"/>
                    <a:pt x="34" y="10"/>
                  </a:cubicBezTo>
                  <a:cubicBezTo>
                    <a:pt x="34" y="11"/>
                    <a:pt x="34" y="11"/>
                    <a:pt x="34" y="11"/>
                  </a:cubicBezTo>
                  <a:cubicBezTo>
                    <a:pt x="34" y="11"/>
                    <a:pt x="34" y="12"/>
                    <a:pt x="34" y="12"/>
                  </a:cubicBezTo>
                  <a:cubicBezTo>
                    <a:pt x="34" y="13"/>
                    <a:pt x="34" y="13"/>
                    <a:pt x="34" y="13"/>
                  </a:cubicBezTo>
                  <a:cubicBezTo>
                    <a:pt x="34" y="13"/>
                    <a:pt x="34" y="14"/>
                    <a:pt x="34" y="14"/>
                  </a:cubicBezTo>
                  <a:cubicBezTo>
                    <a:pt x="33" y="15"/>
                    <a:pt x="33" y="15"/>
                    <a:pt x="33" y="15"/>
                  </a:cubicBezTo>
                  <a:cubicBezTo>
                    <a:pt x="28" y="25"/>
                    <a:pt x="28" y="25"/>
                    <a:pt x="28" y="25"/>
                  </a:cubicBezTo>
                  <a:cubicBezTo>
                    <a:pt x="28" y="25"/>
                    <a:pt x="27" y="26"/>
                    <a:pt x="27" y="26"/>
                  </a:cubicBezTo>
                  <a:cubicBezTo>
                    <a:pt x="27" y="27"/>
                    <a:pt x="27" y="27"/>
                    <a:pt x="27" y="27"/>
                  </a:cubicBezTo>
                  <a:cubicBezTo>
                    <a:pt x="26" y="27"/>
                    <a:pt x="26" y="27"/>
                    <a:pt x="26" y="28"/>
                  </a:cubicBezTo>
                  <a:cubicBezTo>
                    <a:pt x="25" y="29"/>
                    <a:pt x="25" y="29"/>
                    <a:pt x="25" y="29"/>
                  </a:cubicBezTo>
                  <a:cubicBezTo>
                    <a:pt x="24" y="30"/>
                    <a:pt x="24" y="30"/>
                    <a:pt x="24" y="30"/>
                  </a:cubicBezTo>
                  <a:cubicBezTo>
                    <a:pt x="24" y="30"/>
                    <a:pt x="24" y="30"/>
                    <a:pt x="24" y="31"/>
                  </a:cubicBezTo>
                  <a:cubicBezTo>
                    <a:pt x="24" y="31"/>
                    <a:pt x="24" y="31"/>
                    <a:pt x="23" y="32"/>
                  </a:cubicBezTo>
                  <a:cubicBezTo>
                    <a:pt x="23" y="33"/>
                    <a:pt x="23" y="33"/>
                    <a:pt x="23" y="33"/>
                  </a:cubicBezTo>
                  <a:cubicBezTo>
                    <a:pt x="23" y="37"/>
                    <a:pt x="22" y="41"/>
                    <a:pt x="22" y="44"/>
                  </a:cubicBezTo>
                  <a:cubicBezTo>
                    <a:pt x="22" y="46"/>
                    <a:pt x="22" y="47"/>
                    <a:pt x="22" y="49"/>
                  </a:cubicBezTo>
                  <a:cubicBezTo>
                    <a:pt x="22" y="49"/>
                    <a:pt x="22" y="50"/>
                    <a:pt x="22" y="50"/>
                  </a:cubicBezTo>
                  <a:cubicBezTo>
                    <a:pt x="21" y="50"/>
                    <a:pt x="21" y="50"/>
                    <a:pt x="21" y="50"/>
                  </a:cubicBezTo>
                  <a:cubicBezTo>
                    <a:pt x="21" y="51"/>
                    <a:pt x="21" y="51"/>
                    <a:pt x="21" y="52"/>
                  </a:cubicBezTo>
                  <a:cubicBezTo>
                    <a:pt x="21" y="52"/>
                    <a:pt x="21" y="53"/>
                    <a:pt x="21" y="53"/>
                  </a:cubicBezTo>
                  <a:cubicBezTo>
                    <a:pt x="24" y="54"/>
                    <a:pt x="24" y="54"/>
                    <a:pt x="24" y="54"/>
                  </a:cubicBezTo>
                  <a:cubicBezTo>
                    <a:pt x="20" y="55"/>
                    <a:pt x="20" y="55"/>
                    <a:pt x="20" y="55"/>
                  </a:cubicBezTo>
                  <a:cubicBezTo>
                    <a:pt x="20" y="55"/>
                    <a:pt x="20" y="55"/>
                    <a:pt x="20" y="55"/>
                  </a:cubicBezTo>
                  <a:cubicBezTo>
                    <a:pt x="20" y="56"/>
                    <a:pt x="20" y="57"/>
                    <a:pt x="22" y="59"/>
                  </a:cubicBezTo>
                  <a:cubicBezTo>
                    <a:pt x="23" y="59"/>
                    <a:pt x="23" y="59"/>
                    <a:pt x="23" y="59"/>
                  </a:cubicBezTo>
                  <a:cubicBezTo>
                    <a:pt x="24" y="61"/>
                    <a:pt x="25" y="63"/>
                    <a:pt x="26" y="65"/>
                  </a:cubicBezTo>
                  <a:cubicBezTo>
                    <a:pt x="26" y="65"/>
                    <a:pt x="26" y="66"/>
                    <a:pt x="26" y="67"/>
                  </a:cubicBezTo>
                  <a:cubicBezTo>
                    <a:pt x="27" y="69"/>
                    <a:pt x="27" y="69"/>
                    <a:pt x="27" y="69"/>
                  </a:cubicBezTo>
                  <a:cubicBezTo>
                    <a:pt x="27" y="70"/>
                    <a:pt x="27" y="71"/>
                    <a:pt x="27" y="72"/>
                  </a:cubicBezTo>
                  <a:cubicBezTo>
                    <a:pt x="27" y="73"/>
                    <a:pt x="27" y="73"/>
                    <a:pt x="27" y="73"/>
                  </a:cubicBezTo>
                  <a:cubicBezTo>
                    <a:pt x="27" y="76"/>
                    <a:pt x="26" y="77"/>
                    <a:pt x="25" y="79"/>
                  </a:cubicBezTo>
                  <a:cubicBezTo>
                    <a:pt x="23" y="80"/>
                    <a:pt x="23" y="80"/>
                    <a:pt x="23" y="80"/>
                  </a:cubicBezTo>
                  <a:cubicBezTo>
                    <a:pt x="23" y="81"/>
                    <a:pt x="23" y="81"/>
                    <a:pt x="22" y="81"/>
                  </a:cubicBezTo>
                  <a:cubicBezTo>
                    <a:pt x="22" y="82"/>
                    <a:pt x="22" y="82"/>
                    <a:pt x="22" y="82"/>
                  </a:cubicBezTo>
                  <a:cubicBezTo>
                    <a:pt x="22" y="82"/>
                    <a:pt x="22" y="82"/>
                    <a:pt x="22" y="83"/>
                  </a:cubicBezTo>
                  <a:cubicBezTo>
                    <a:pt x="22" y="84"/>
                    <a:pt x="22" y="84"/>
                    <a:pt x="22" y="85"/>
                  </a:cubicBezTo>
                  <a:cubicBezTo>
                    <a:pt x="23" y="87"/>
                    <a:pt x="22" y="89"/>
                    <a:pt x="20" y="92"/>
                  </a:cubicBezTo>
                  <a:cubicBezTo>
                    <a:pt x="15" y="99"/>
                    <a:pt x="15" y="99"/>
                    <a:pt x="15" y="99"/>
                  </a:cubicBezTo>
                  <a:cubicBezTo>
                    <a:pt x="14" y="100"/>
                    <a:pt x="13" y="102"/>
                    <a:pt x="13" y="102"/>
                  </a:cubicBezTo>
                  <a:cubicBezTo>
                    <a:pt x="12" y="105"/>
                    <a:pt x="11" y="107"/>
                    <a:pt x="11" y="109"/>
                  </a:cubicBezTo>
                  <a:cubicBezTo>
                    <a:pt x="10" y="111"/>
                    <a:pt x="9" y="113"/>
                    <a:pt x="6" y="114"/>
                  </a:cubicBezTo>
                  <a:cubicBezTo>
                    <a:pt x="5" y="114"/>
                    <a:pt x="5" y="114"/>
                    <a:pt x="4" y="114"/>
                  </a:cubicBezTo>
                  <a:cubicBezTo>
                    <a:pt x="4" y="114"/>
                    <a:pt x="3" y="114"/>
                    <a:pt x="2" y="114"/>
                  </a:cubicBezTo>
                  <a:cubicBezTo>
                    <a:pt x="2" y="114"/>
                    <a:pt x="2" y="114"/>
                    <a:pt x="2" y="114"/>
                  </a:cubicBezTo>
                  <a:cubicBezTo>
                    <a:pt x="2" y="114"/>
                    <a:pt x="2" y="114"/>
                    <a:pt x="2" y="114"/>
                  </a:cubicBezTo>
                  <a:cubicBezTo>
                    <a:pt x="2" y="115"/>
                    <a:pt x="2" y="117"/>
                    <a:pt x="2" y="119"/>
                  </a:cubicBezTo>
                  <a:cubicBezTo>
                    <a:pt x="1" y="123"/>
                    <a:pt x="1" y="126"/>
                    <a:pt x="1" y="130"/>
                  </a:cubicBezTo>
                  <a:cubicBezTo>
                    <a:pt x="1" y="131"/>
                    <a:pt x="1" y="132"/>
                    <a:pt x="1" y="133"/>
                  </a:cubicBezTo>
                  <a:cubicBezTo>
                    <a:pt x="0" y="137"/>
                    <a:pt x="0" y="138"/>
                    <a:pt x="0" y="138"/>
                  </a:cubicBezTo>
                  <a:cubicBezTo>
                    <a:pt x="1" y="139"/>
                    <a:pt x="1" y="139"/>
                    <a:pt x="1" y="139"/>
                  </a:cubicBezTo>
                  <a:cubicBezTo>
                    <a:pt x="1" y="140"/>
                    <a:pt x="1" y="140"/>
                    <a:pt x="1" y="140"/>
                  </a:cubicBezTo>
                  <a:cubicBezTo>
                    <a:pt x="1" y="143"/>
                    <a:pt x="1" y="145"/>
                    <a:pt x="2" y="148"/>
                  </a:cubicBezTo>
                  <a:cubicBezTo>
                    <a:pt x="2" y="149"/>
                    <a:pt x="2" y="150"/>
                    <a:pt x="2" y="152"/>
                  </a:cubicBezTo>
                  <a:cubicBezTo>
                    <a:pt x="2" y="155"/>
                    <a:pt x="2" y="157"/>
                    <a:pt x="2" y="160"/>
                  </a:cubicBezTo>
                  <a:cubicBezTo>
                    <a:pt x="1" y="161"/>
                    <a:pt x="2" y="162"/>
                    <a:pt x="2" y="163"/>
                  </a:cubicBezTo>
                  <a:cubicBezTo>
                    <a:pt x="2" y="165"/>
                    <a:pt x="3" y="167"/>
                    <a:pt x="2" y="169"/>
                  </a:cubicBezTo>
                  <a:cubicBezTo>
                    <a:pt x="2" y="171"/>
                    <a:pt x="1" y="174"/>
                    <a:pt x="1" y="176"/>
                  </a:cubicBezTo>
                  <a:cubicBezTo>
                    <a:pt x="3" y="176"/>
                    <a:pt x="4" y="176"/>
                    <a:pt x="5" y="176"/>
                  </a:cubicBezTo>
                  <a:cubicBezTo>
                    <a:pt x="6" y="176"/>
                    <a:pt x="6" y="176"/>
                    <a:pt x="7" y="176"/>
                  </a:cubicBezTo>
                  <a:cubicBezTo>
                    <a:pt x="6" y="175"/>
                    <a:pt x="6" y="174"/>
                    <a:pt x="6" y="174"/>
                  </a:cubicBezTo>
                  <a:cubicBezTo>
                    <a:pt x="6" y="170"/>
                    <a:pt x="9" y="167"/>
                    <a:pt x="13" y="167"/>
                  </a:cubicBezTo>
                  <a:cubicBezTo>
                    <a:pt x="16" y="167"/>
                    <a:pt x="18" y="169"/>
                    <a:pt x="19" y="172"/>
                  </a:cubicBezTo>
                  <a:cubicBezTo>
                    <a:pt x="20" y="171"/>
                    <a:pt x="22" y="170"/>
                    <a:pt x="24" y="170"/>
                  </a:cubicBezTo>
                  <a:cubicBezTo>
                    <a:pt x="24" y="170"/>
                    <a:pt x="25" y="170"/>
                    <a:pt x="25" y="170"/>
                  </a:cubicBezTo>
                  <a:cubicBezTo>
                    <a:pt x="25" y="170"/>
                    <a:pt x="25" y="170"/>
                    <a:pt x="25" y="170"/>
                  </a:cubicBezTo>
                  <a:cubicBezTo>
                    <a:pt x="23" y="170"/>
                    <a:pt x="22" y="171"/>
                    <a:pt x="21" y="172"/>
                  </a:cubicBezTo>
                  <a:cubicBezTo>
                    <a:pt x="20" y="172"/>
                    <a:pt x="19" y="172"/>
                    <a:pt x="19" y="172"/>
                  </a:cubicBezTo>
                  <a:cubicBezTo>
                    <a:pt x="19" y="173"/>
                    <a:pt x="19" y="173"/>
                    <a:pt x="19" y="173"/>
                  </a:cubicBezTo>
                  <a:cubicBezTo>
                    <a:pt x="21" y="174"/>
                    <a:pt x="26" y="174"/>
                    <a:pt x="26" y="174"/>
                  </a:cubicBezTo>
                  <a:cubicBezTo>
                    <a:pt x="30" y="175"/>
                    <a:pt x="34" y="175"/>
                    <a:pt x="37" y="176"/>
                  </a:cubicBezTo>
                  <a:cubicBezTo>
                    <a:pt x="41" y="177"/>
                    <a:pt x="43" y="180"/>
                    <a:pt x="46" y="182"/>
                  </a:cubicBezTo>
                  <a:cubicBezTo>
                    <a:pt x="47" y="184"/>
                    <a:pt x="49" y="185"/>
                    <a:pt x="51" y="187"/>
                  </a:cubicBezTo>
                  <a:cubicBezTo>
                    <a:pt x="52" y="187"/>
                    <a:pt x="53" y="189"/>
                    <a:pt x="53" y="189"/>
                  </a:cubicBezTo>
                  <a:cubicBezTo>
                    <a:pt x="53" y="189"/>
                    <a:pt x="53" y="189"/>
                    <a:pt x="53" y="189"/>
                  </a:cubicBezTo>
                  <a:cubicBezTo>
                    <a:pt x="55" y="189"/>
                    <a:pt x="57" y="187"/>
                    <a:pt x="59" y="186"/>
                  </a:cubicBezTo>
                  <a:cubicBezTo>
                    <a:pt x="57" y="187"/>
                    <a:pt x="56" y="188"/>
                    <a:pt x="55" y="189"/>
                  </a:cubicBezTo>
                  <a:cubicBezTo>
                    <a:pt x="55" y="189"/>
                    <a:pt x="55" y="189"/>
                    <a:pt x="55" y="189"/>
                  </a:cubicBezTo>
                  <a:cubicBezTo>
                    <a:pt x="54" y="189"/>
                    <a:pt x="54" y="190"/>
                    <a:pt x="54" y="191"/>
                  </a:cubicBezTo>
                  <a:cubicBezTo>
                    <a:pt x="55" y="192"/>
                    <a:pt x="56" y="193"/>
                    <a:pt x="57" y="193"/>
                  </a:cubicBezTo>
                  <a:cubicBezTo>
                    <a:pt x="59" y="193"/>
                    <a:pt x="60" y="192"/>
                    <a:pt x="60" y="191"/>
                  </a:cubicBezTo>
                  <a:cubicBezTo>
                    <a:pt x="61" y="192"/>
                    <a:pt x="62" y="193"/>
                    <a:pt x="63" y="193"/>
                  </a:cubicBezTo>
                  <a:cubicBezTo>
                    <a:pt x="61" y="194"/>
                    <a:pt x="59" y="193"/>
                    <a:pt x="58" y="194"/>
                  </a:cubicBezTo>
                  <a:cubicBezTo>
                    <a:pt x="57" y="194"/>
                    <a:pt x="56" y="194"/>
                    <a:pt x="57" y="195"/>
                  </a:cubicBezTo>
                  <a:cubicBezTo>
                    <a:pt x="59" y="197"/>
                    <a:pt x="60" y="198"/>
                    <a:pt x="61" y="198"/>
                  </a:cubicBezTo>
                  <a:cubicBezTo>
                    <a:pt x="62" y="198"/>
                    <a:pt x="63" y="197"/>
                    <a:pt x="65" y="196"/>
                  </a:cubicBezTo>
                  <a:cubicBezTo>
                    <a:pt x="65" y="197"/>
                    <a:pt x="65" y="198"/>
                    <a:pt x="65" y="199"/>
                  </a:cubicBezTo>
                  <a:cubicBezTo>
                    <a:pt x="65" y="199"/>
                    <a:pt x="65" y="199"/>
                    <a:pt x="65" y="199"/>
                  </a:cubicBezTo>
                  <a:cubicBezTo>
                    <a:pt x="61" y="199"/>
                    <a:pt x="63" y="208"/>
                    <a:pt x="64" y="210"/>
                  </a:cubicBezTo>
                  <a:cubicBezTo>
                    <a:pt x="65" y="214"/>
                    <a:pt x="65" y="216"/>
                    <a:pt x="68" y="218"/>
                  </a:cubicBezTo>
                  <a:cubicBezTo>
                    <a:pt x="71" y="221"/>
                    <a:pt x="75" y="225"/>
                    <a:pt x="79" y="225"/>
                  </a:cubicBezTo>
                  <a:cubicBezTo>
                    <a:pt x="79" y="225"/>
                    <a:pt x="80" y="225"/>
                    <a:pt x="80" y="225"/>
                  </a:cubicBezTo>
                  <a:cubicBezTo>
                    <a:pt x="80" y="223"/>
                    <a:pt x="81" y="222"/>
                    <a:pt x="83" y="221"/>
                  </a:cubicBezTo>
                  <a:cubicBezTo>
                    <a:pt x="82" y="222"/>
                    <a:pt x="82" y="223"/>
                    <a:pt x="82" y="224"/>
                  </a:cubicBezTo>
                  <a:cubicBezTo>
                    <a:pt x="82" y="224"/>
                    <a:pt x="83" y="224"/>
                    <a:pt x="83" y="224"/>
                  </a:cubicBezTo>
                  <a:cubicBezTo>
                    <a:pt x="83" y="224"/>
                    <a:pt x="84" y="224"/>
                    <a:pt x="84" y="224"/>
                  </a:cubicBezTo>
                  <a:cubicBezTo>
                    <a:pt x="84" y="224"/>
                    <a:pt x="84" y="224"/>
                    <a:pt x="85" y="224"/>
                  </a:cubicBezTo>
                  <a:cubicBezTo>
                    <a:pt x="88" y="224"/>
                    <a:pt x="87" y="222"/>
                    <a:pt x="89" y="219"/>
                  </a:cubicBezTo>
                  <a:cubicBezTo>
                    <a:pt x="90" y="221"/>
                    <a:pt x="90" y="222"/>
                    <a:pt x="92" y="223"/>
                  </a:cubicBezTo>
                  <a:cubicBezTo>
                    <a:pt x="91" y="221"/>
                    <a:pt x="92" y="219"/>
                    <a:pt x="93" y="217"/>
                  </a:cubicBezTo>
                  <a:cubicBezTo>
                    <a:pt x="93" y="220"/>
                    <a:pt x="91" y="221"/>
                    <a:pt x="96" y="223"/>
                  </a:cubicBezTo>
                  <a:cubicBezTo>
                    <a:pt x="95" y="222"/>
                    <a:pt x="94" y="220"/>
                    <a:pt x="94" y="219"/>
                  </a:cubicBezTo>
                  <a:cubicBezTo>
                    <a:pt x="94" y="218"/>
                    <a:pt x="94" y="217"/>
                    <a:pt x="94" y="216"/>
                  </a:cubicBezTo>
                  <a:cubicBezTo>
                    <a:pt x="94" y="215"/>
                    <a:pt x="93" y="213"/>
                    <a:pt x="93" y="212"/>
                  </a:cubicBezTo>
                  <a:cubicBezTo>
                    <a:pt x="93" y="212"/>
                    <a:pt x="95" y="215"/>
                    <a:pt x="95" y="216"/>
                  </a:cubicBezTo>
                  <a:cubicBezTo>
                    <a:pt x="96" y="219"/>
                    <a:pt x="94" y="221"/>
                    <a:pt x="100" y="222"/>
                  </a:cubicBezTo>
                  <a:cubicBezTo>
                    <a:pt x="98" y="220"/>
                    <a:pt x="99" y="218"/>
                    <a:pt x="97" y="216"/>
                  </a:cubicBezTo>
                  <a:cubicBezTo>
                    <a:pt x="97" y="216"/>
                    <a:pt x="98" y="216"/>
                    <a:pt x="98" y="217"/>
                  </a:cubicBezTo>
                  <a:cubicBezTo>
                    <a:pt x="98" y="216"/>
                    <a:pt x="98" y="215"/>
                    <a:pt x="98" y="214"/>
                  </a:cubicBezTo>
                  <a:cubicBezTo>
                    <a:pt x="100" y="215"/>
                    <a:pt x="99" y="216"/>
                    <a:pt x="100" y="217"/>
                  </a:cubicBezTo>
                  <a:cubicBezTo>
                    <a:pt x="100" y="217"/>
                    <a:pt x="99" y="218"/>
                    <a:pt x="99" y="218"/>
                  </a:cubicBezTo>
                  <a:cubicBezTo>
                    <a:pt x="99" y="219"/>
                    <a:pt x="102" y="220"/>
                    <a:pt x="103" y="220"/>
                  </a:cubicBezTo>
                  <a:cubicBezTo>
                    <a:pt x="103" y="220"/>
                    <a:pt x="103" y="220"/>
                    <a:pt x="103" y="220"/>
                  </a:cubicBezTo>
                  <a:cubicBezTo>
                    <a:pt x="104" y="219"/>
                    <a:pt x="102" y="217"/>
                    <a:pt x="101" y="215"/>
                  </a:cubicBezTo>
                  <a:cubicBezTo>
                    <a:pt x="101" y="215"/>
                    <a:pt x="101" y="215"/>
                    <a:pt x="101" y="215"/>
                  </a:cubicBezTo>
                  <a:cubicBezTo>
                    <a:pt x="101" y="215"/>
                    <a:pt x="101" y="215"/>
                    <a:pt x="101" y="215"/>
                  </a:cubicBezTo>
                  <a:cubicBezTo>
                    <a:pt x="101" y="215"/>
                    <a:pt x="101" y="215"/>
                    <a:pt x="101" y="215"/>
                  </a:cubicBezTo>
                  <a:cubicBezTo>
                    <a:pt x="102" y="215"/>
                    <a:pt x="102" y="215"/>
                    <a:pt x="103" y="216"/>
                  </a:cubicBezTo>
                  <a:cubicBezTo>
                    <a:pt x="104" y="216"/>
                    <a:pt x="105" y="217"/>
                    <a:pt x="107" y="218"/>
                  </a:cubicBezTo>
                  <a:cubicBezTo>
                    <a:pt x="108" y="218"/>
                    <a:pt x="109" y="218"/>
                    <a:pt x="109" y="218"/>
                  </a:cubicBezTo>
                  <a:cubicBezTo>
                    <a:pt x="111" y="218"/>
                    <a:pt x="111" y="217"/>
                    <a:pt x="112" y="215"/>
                  </a:cubicBezTo>
                  <a:cubicBezTo>
                    <a:pt x="113" y="216"/>
                    <a:pt x="114" y="220"/>
                    <a:pt x="116" y="220"/>
                  </a:cubicBezTo>
                  <a:cubicBezTo>
                    <a:pt x="116" y="220"/>
                    <a:pt x="116" y="220"/>
                    <a:pt x="117" y="219"/>
                  </a:cubicBezTo>
                  <a:cubicBezTo>
                    <a:pt x="116" y="219"/>
                    <a:pt x="116" y="219"/>
                    <a:pt x="116" y="219"/>
                  </a:cubicBezTo>
                  <a:cubicBezTo>
                    <a:pt x="117" y="219"/>
                    <a:pt x="119" y="219"/>
                    <a:pt x="121" y="219"/>
                  </a:cubicBezTo>
                  <a:cubicBezTo>
                    <a:pt x="125" y="219"/>
                    <a:pt x="129" y="219"/>
                    <a:pt x="130" y="217"/>
                  </a:cubicBezTo>
                  <a:cubicBezTo>
                    <a:pt x="132" y="215"/>
                    <a:pt x="128" y="211"/>
                    <a:pt x="127" y="208"/>
                  </a:cubicBezTo>
                  <a:cubicBezTo>
                    <a:pt x="128" y="209"/>
                    <a:pt x="130" y="212"/>
                    <a:pt x="132" y="213"/>
                  </a:cubicBezTo>
                  <a:cubicBezTo>
                    <a:pt x="132" y="213"/>
                    <a:pt x="132" y="213"/>
                    <a:pt x="132" y="213"/>
                  </a:cubicBezTo>
                  <a:cubicBezTo>
                    <a:pt x="133" y="212"/>
                    <a:pt x="133" y="212"/>
                    <a:pt x="133" y="212"/>
                  </a:cubicBezTo>
                  <a:cubicBezTo>
                    <a:pt x="133" y="212"/>
                    <a:pt x="133" y="212"/>
                    <a:pt x="133" y="212"/>
                  </a:cubicBezTo>
                  <a:cubicBezTo>
                    <a:pt x="133" y="212"/>
                    <a:pt x="134" y="211"/>
                    <a:pt x="134" y="211"/>
                  </a:cubicBezTo>
                  <a:cubicBezTo>
                    <a:pt x="134" y="209"/>
                    <a:pt x="135" y="208"/>
                    <a:pt x="136" y="206"/>
                  </a:cubicBezTo>
                  <a:cubicBezTo>
                    <a:pt x="137" y="205"/>
                    <a:pt x="137" y="204"/>
                    <a:pt x="138" y="203"/>
                  </a:cubicBezTo>
                  <a:cubicBezTo>
                    <a:pt x="138" y="201"/>
                    <a:pt x="138" y="201"/>
                    <a:pt x="138" y="201"/>
                  </a:cubicBezTo>
                  <a:cubicBezTo>
                    <a:pt x="139" y="200"/>
                    <a:pt x="139" y="199"/>
                    <a:pt x="139" y="199"/>
                  </a:cubicBezTo>
                  <a:cubicBezTo>
                    <a:pt x="139" y="198"/>
                    <a:pt x="139" y="196"/>
                    <a:pt x="139" y="195"/>
                  </a:cubicBezTo>
                  <a:cubicBezTo>
                    <a:pt x="139" y="192"/>
                    <a:pt x="139" y="189"/>
                    <a:pt x="140" y="186"/>
                  </a:cubicBezTo>
                  <a:cubicBezTo>
                    <a:pt x="141" y="185"/>
                    <a:pt x="142" y="185"/>
                    <a:pt x="143" y="184"/>
                  </a:cubicBezTo>
                  <a:cubicBezTo>
                    <a:pt x="143" y="184"/>
                    <a:pt x="144" y="184"/>
                    <a:pt x="144" y="184"/>
                  </a:cubicBezTo>
                  <a:cubicBezTo>
                    <a:pt x="145" y="183"/>
                    <a:pt x="146" y="183"/>
                    <a:pt x="146" y="182"/>
                  </a:cubicBezTo>
                  <a:cubicBezTo>
                    <a:pt x="154" y="174"/>
                    <a:pt x="154" y="174"/>
                    <a:pt x="154" y="174"/>
                  </a:cubicBezTo>
                  <a:cubicBezTo>
                    <a:pt x="155" y="172"/>
                    <a:pt x="157" y="171"/>
                    <a:pt x="158" y="170"/>
                  </a:cubicBezTo>
                  <a:cubicBezTo>
                    <a:pt x="159" y="170"/>
                    <a:pt x="159" y="170"/>
                    <a:pt x="159" y="170"/>
                  </a:cubicBezTo>
                  <a:cubicBezTo>
                    <a:pt x="160" y="169"/>
                    <a:pt x="160" y="169"/>
                    <a:pt x="161" y="169"/>
                  </a:cubicBezTo>
                  <a:cubicBezTo>
                    <a:pt x="161" y="169"/>
                    <a:pt x="161" y="169"/>
                    <a:pt x="161" y="169"/>
                  </a:cubicBezTo>
                  <a:cubicBezTo>
                    <a:pt x="161" y="168"/>
                    <a:pt x="161" y="167"/>
                    <a:pt x="162" y="167"/>
                  </a:cubicBezTo>
                  <a:cubicBezTo>
                    <a:pt x="162" y="166"/>
                    <a:pt x="162" y="166"/>
                    <a:pt x="162" y="166"/>
                  </a:cubicBezTo>
                  <a:cubicBezTo>
                    <a:pt x="163" y="166"/>
                    <a:pt x="163" y="165"/>
                    <a:pt x="164" y="164"/>
                  </a:cubicBezTo>
                  <a:cubicBezTo>
                    <a:pt x="167" y="161"/>
                    <a:pt x="170" y="158"/>
                    <a:pt x="173" y="158"/>
                  </a:cubicBezTo>
                  <a:cubicBezTo>
                    <a:pt x="173" y="158"/>
                    <a:pt x="173" y="157"/>
                    <a:pt x="174" y="157"/>
                  </a:cubicBezTo>
                  <a:cubicBezTo>
                    <a:pt x="176" y="157"/>
                    <a:pt x="178" y="159"/>
                    <a:pt x="179" y="160"/>
                  </a:cubicBezTo>
                  <a:cubicBezTo>
                    <a:pt x="180" y="160"/>
                    <a:pt x="180" y="160"/>
                    <a:pt x="180" y="160"/>
                  </a:cubicBezTo>
                  <a:cubicBezTo>
                    <a:pt x="180" y="159"/>
                    <a:pt x="180" y="159"/>
                    <a:pt x="180" y="159"/>
                  </a:cubicBezTo>
                  <a:cubicBezTo>
                    <a:pt x="180" y="159"/>
                    <a:pt x="180" y="158"/>
                    <a:pt x="180" y="158"/>
                  </a:cubicBezTo>
                  <a:cubicBezTo>
                    <a:pt x="182" y="153"/>
                    <a:pt x="182" y="153"/>
                    <a:pt x="182" y="153"/>
                  </a:cubicBezTo>
                  <a:cubicBezTo>
                    <a:pt x="185" y="155"/>
                    <a:pt x="185" y="155"/>
                    <a:pt x="185" y="155"/>
                  </a:cubicBezTo>
                  <a:cubicBezTo>
                    <a:pt x="189" y="157"/>
                    <a:pt x="192" y="160"/>
                    <a:pt x="194" y="163"/>
                  </a:cubicBezTo>
                  <a:cubicBezTo>
                    <a:pt x="199" y="171"/>
                    <a:pt x="199" y="171"/>
                    <a:pt x="199" y="171"/>
                  </a:cubicBezTo>
                  <a:cubicBezTo>
                    <a:pt x="199" y="170"/>
                    <a:pt x="200" y="170"/>
                    <a:pt x="200" y="170"/>
                  </a:cubicBezTo>
                  <a:cubicBezTo>
                    <a:pt x="200" y="170"/>
                    <a:pt x="200" y="170"/>
                    <a:pt x="200" y="170"/>
                  </a:cubicBezTo>
                  <a:cubicBezTo>
                    <a:pt x="201" y="170"/>
                    <a:pt x="201" y="170"/>
                    <a:pt x="202" y="170"/>
                  </a:cubicBezTo>
                  <a:cubicBezTo>
                    <a:pt x="202" y="169"/>
                    <a:pt x="204" y="166"/>
                    <a:pt x="205" y="165"/>
                  </a:cubicBezTo>
                  <a:cubicBezTo>
                    <a:pt x="206" y="162"/>
                    <a:pt x="208" y="159"/>
                    <a:pt x="210" y="157"/>
                  </a:cubicBezTo>
                  <a:cubicBezTo>
                    <a:pt x="209" y="156"/>
                    <a:pt x="209" y="155"/>
                    <a:pt x="209" y="153"/>
                  </a:cubicBezTo>
                  <a:cubicBezTo>
                    <a:pt x="210" y="151"/>
                    <a:pt x="210" y="151"/>
                    <a:pt x="210" y="151"/>
                  </a:cubicBezTo>
                  <a:cubicBezTo>
                    <a:pt x="211" y="148"/>
                    <a:pt x="212" y="147"/>
                    <a:pt x="213" y="145"/>
                  </a:cubicBezTo>
                  <a:cubicBezTo>
                    <a:pt x="219" y="133"/>
                    <a:pt x="219" y="133"/>
                    <a:pt x="219" y="133"/>
                  </a:cubicBezTo>
                  <a:cubicBezTo>
                    <a:pt x="219" y="133"/>
                    <a:pt x="219" y="132"/>
                    <a:pt x="219" y="131"/>
                  </a:cubicBezTo>
                  <a:cubicBezTo>
                    <a:pt x="219" y="130"/>
                    <a:pt x="219" y="129"/>
                    <a:pt x="220" y="127"/>
                  </a:cubicBezTo>
                  <a:cubicBezTo>
                    <a:pt x="220" y="126"/>
                    <a:pt x="220" y="126"/>
                    <a:pt x="220" y="126"/>
                  </a:cubicBezTo>
                  <a:cubicBezTo>
                    <a:pt x="220" y="126"/>
                    <a:pt x="220" y="126"/>
                    <a:pt x="220" y="126"/>
                  </a:cubicBezTo>
                  <a:cubicBezTo>
                    <a:pt x="222" y="123"/>
                    <a:pt x="225" y="122"/>
                    <a:pt x="227" y="120"/>
                  </a:cubicBezTo>
                  <a:cubicBezTo>
                    <a:pt x="229" y="119"/>
                    <a:pt x="231" y="119"/>
                    <a:pt x="232" y="118"/>
                  </a:cubicBezTo>
                  <a:cubicBezTo>
                    <a:pt x="232" y="117"/>
                    <a:pt x="232" y="117"/>
                    <a:pt x="233" y="116"/>
                  </a:cubicBezTo>
                  <a:cubicBezTo>
                    <a:pt x="233" y="115"/>
                    <a:pt x="234" y="113"/>
                    <a:pt x="234" y="111"/>
                  </a:cubicBezTo>
                  <a:cubicBezTo>
                    <a:pt x="234" y="109"/>
                    <a:pt x="235" y="107"/>
                    <a:pt x="235" y="105"/>
                  </a:cubicBezTo>
                  <a:cubicBezTo>
                    <a:pt x="235" y="104"/>
                    <a:pt x="237" y="102"/>
                    <a:pt x="238" y="100"/>
                  </a:cubicBezTo>
                  <a:cubicBezTo>
                    <a:pt x="239" y="100"/>
                    <a:pt x="239" y="100"/>
                    <a:pt x="240" y="99"/>
                  </a:cubicBezTo>
                  <a:cubicBezTo>
                    <a:pt x="240" y="99"/>
                    <a:pt x="240" y="99"/>
                    <a:pt x="241" y="98"/>
                  </a:cubicBezTo>
                  <a:cubicBezTo>
                    <a:pt x="242" y="98"/>
                    <a:pt x="242" y="98"/>
                    <a:pt x="243" y="98"/>
                  </a:cubicBezTo>
                  <a:cubicBezTo>
                    <a:pt x="243" y="97"/>
                    <a:pt x="243" y="96"/>
                    <a:pt x="243" y="95"/>
                  </a:cubicBezTo>
                  <a:cubicBezTo>
                    <a:pt x="243" y="94"/>
                    <a:pt x="243" y="94"/>
                    <a:pt x="243" y="94"/>
                  </a:cubicBezTo>
                  <a:cubicBezTo>
                    <a:pt x="243" y="94"/>
                    <a:pt x="243" y="93"/>
                    <a:pt x="243" y="92"/>
                  </a:cubicBezTo>
                  <a:cubicBezTo>
                    <a:pt x="243" y="92"/>
                    <a:pt x="243" y="92"/>
                    <a:pt x="243" y="92"/>
                  </a:cubicBezTo>
                  <a:cubicBezTo>
                    <a:pt x="243" y="91"/>
                    <a:pt x="243" y="91"/>
                    <a:pt x="243" y="91"/>
                  </a:cubicBezTo>
                  <a:cubicBezTo>
                    <a:pt x="244" y="89"/>
                    <a:pt x="245" y="87"/>
                    <a:pt x="246" y="86"/>
                  </a:cubicBezTo>
                  <a:cubicBezTo>
                    <a:pt x="247" y="85"/>
                    <a:pt x="247" y="85"/>
                    <a:pt x="247" y="84"/>
                  </a:cubicBezTo>
                  <a:cubicBezTo>
                    <a:pt x="248" y="83"/>
                    <a:pt x="248" y="82"/>
                    <a:pt x="249" y="80"/>
                  </a:cubicBezTo>
                  <a:cubicBezTo>
                    <a:pt x="249" y="79"/>
                    <a:pt x="249" y="79"/>
                    <a:pt x="249" y="79"/>
                  </a:cubicBezTo>
                  <a:cubicBezTo>
                    <a:pt x="249" y="78"/>
                    <a:pt x="250" y="76"/>
                    <a:pt x="250" y="75"/>
                  </a:cubicBezTo>
                  <a:cubicBezTo>
                    <a:pt x="251" y="73"/>
                    <a:pt x="251" y="73"/>
                    <a:pt x="251" y="73"/>
                  </a:cubicBezTo>
                  <a:cubicBezTo>
                    <a:pt x="251" y="71"/>
                    <a:pt x="252" y="70"/>
                    <a:pt x="253" y="68"/>
                  </a:cubicBezTo>
                  <a:cubicBezTo>
                    <a:pt x="254" y="68"/>
                    <a:pt x="254" y="67"/>
                    <a:pt x="255" y="67"/>
                  </a:cubicBezTo>
                  <a:cubicBezTo>
                    <a:pt x="250" y="64"/>
                    <a:pt x="250" y="64"/>
                    <a:pt x="250" y="64"/>
                  </a:cubicBezTo>
                  <a:cubicBezTo>
                    <a:pt x="256" y="66"/>
                    <a:pt x="256" y="66"/>
                    <a:pt x="256" y="66"/>
                  </a:cubicBezTo>
                  <a:cubicBezTo>
                    <a:pt x="256" y="66"/>
                    <a:pt x="256" y="66"/>
                    <a:pt x="256" y="66"/>
                  </a:cubicBezTo>
                  <a:cubicBezTo>
                    <a:pt x="256" y="65"/>
                    <a:pt x="256" y="65"/>
                    <a:pt x="256" y="65"/>
                  </a:cubicBezTo>
                  <a:cubicBezTo>
                    <a:pt x="257" y="64"/>
                    <a:pt x="257" y="64"/>
                    <a:pt x="257" y="64"/>
                  </a:cubicBezTo>
                  <a:cubicBezTo>
                    <a:pt x="257" y="63"/>
                    <a:pt x="257" y="62"/>
                    <a:pt x="258" y="61"/>
                  </a:cubicBezTo>
                  <a:cubicBezTo>
                    <a:pt x="259" y="60"/>
                    <a:pt x="259" y="59"/>
                    <a:pt x="260" y="58"/>
                  </a:cubicBezTo>
                  <a:cubicBezTo>
                    <a:pt x="261" y="58"/>
                    <a:pt x="261" y="58"/>
                    <a:pt x="261" y="58"/>
                  </a:cubicBezTo>
                  <a:cubicBezTo>
                    <a:pt x="262" y="57"/>
                    <a:pt x="262" y="57"/>
                    <a:pt x="262" y="57"/>
                  </a:cubicBezTo>
                  <a:cubicBezTo>
                    <a:pt x="263" y="57"/>
                    <a:pt x="263" y="56"/>
                    <a:pt x="264" y="56"/>
                  </a:cubicBezTo>
                  <a:cubicBezTo>
                    <a:pt x="264" y="56"/>
                    <a:pt x="265" y="56"/>
                    <a:pt x="265" y="56"/>
                  </a:cubicBezTo>
                  <a:cubicBezTo>
                    <a:pt x="266" y="56"/>
                    <a:pt x="267" y="56"/>
                    <a:pt x="267" y="57"/>
                  </a:cubicBezTo>
                  <a:cubicBezTo>
                    <a:pt x="268" y="56"/>
                    <a:pt x="268" y="56"/>
                    <a:pt x="268" y="56"/>
                  </a:cubicBezTo>
                  <a:cubicBezTo>
                    <a:pt x="270" y="55"/>
                    <a:pt x="270" y="55"/>
                    <a:pt x="270" y="55"/>
                  </a:cubicBezTo>
                  <a:cubicBezTo>
                    <a:pt x="271" y="55"/>
                    <a:pt x="272" y="54"/>
                    <a:pt x="273" y="54"/>
                  </a:cubicBezTo>
                  <a:cubicBezTo>
                    <a:pt x="273" y="53"/>
                    <a:pt x="273" y="53"/>
                    <a:pt x="273" y="53"/>
                  </a:cubicBezTo>
                  <a:cubicBezTo>
                    <a:pt x="274" y="53"/>
                    <a:pt x="275" y="52"/>
                    <a:pt x="275" y="52"/>
                  </a:cubicBezTo>
                  <a:cubicBezTo>
                    <a:pt x="276" y="51"/>
                    <a:pt x="276" y="51"/>
                    <a:pt x="276" y="50"/>
                  </a:cubicBezTo>
                  <a:cubicBezTo>
                    <a:pt x="275" y="48"/>
                    <a:pt x="276" y="47"/>
                    <a:pt x="276" y="45"/>
                  </a:cubicBezTo>
                  <a:cubicBezTo>
                    <a:pt x="276" y="43"/>
                    <a:pt x="276" y="43"/>
                    <a:pt x="276" y="43"/>
                  </a:cubicBezTo>
                  <a:cubicBezTo>
                    <a:pt x="276" y="43"/>
                    <a:pt x="276" y="43"/>
                    <a:pt x="276" y="42"/>
                  </a:cubicBezTo>
                  <a:cubicBezTo>
                    <a:pt x="276" y="41"/>
                    <a:pt x="276" y="40"/>
                    <a:pt x="275" y="39"/>
                  </a:cubicBezTo>
                  <a:cubicBezTo>
                    <a:pt x="275" y="39"/>
                    <a:pt x="275" y="39"/>
                    <a:pt x="275" y="39"/>
                  </a:cubicBezTo>
                  <a:cubicBezTo>
                    <a:pt x="275" y="38"/>
                    <a:pt x="274" y="37"/>
                    <a:pt x="273" y="37"/>
                  </a:cubicBezTo>
                  <a:cubicBezTo>
                    <a:pt x="273" y="37"/>
                    <a:pt x="273" y="37"/>
                    <a:pt x="272" y="36"/>
                  </a:cubicBezTo>
                  <a:cubicBezTo>
                    <a:pt x="271" y="36"/>
                    <a:pt x="271" y="36"/>
                    <a:pt x="271" y="36"/>
                  </a:cubicBezTo>
                  <a:cubicBezTo>
                    <a:pt x="268" y="35"/>
                    <a:pt x="266" y="34"/>
                    <a:pt x="265" y="31"/>
                  </a:cubicBezTo>
                  <a:cubicBezTo>
                    <a:pt x="265" y="30"/>
                    <a:pt x="265" y="30"/>
                    <a:pt x="265" y="29"/>
                  </a:cubicBezTo>
                  <a:cubicBezTo>
                    <a:pt x="263" y="17"/>
                    <a:pt x="263" y="17"/>
                    <a:pt x="263" y="17"/>
                  </a:cubicBezTo>
                  <a:cubicBezTo>
                    <a:pt x="257" y="9"/>
                    <a:pt x="257" y="9"/>
                    <a:pt x="257" y="9"/>
                  </a:cubicBezTo>
                  <a:cubicBezTo>
                    <a:pt x="257" y="9"/>
                    <a:pt x="256" y="8"/>
                    <a:pt x="256" y="7"/>
                  </a:cubicBezTo>
                  <a:cubicBezTo>
                    <a:pt x="255" y="6"/>
                    <a:pt x="255" y="6"/>
                    <a:pt x="254" y="5"/>
                  </a:cubicBezTo>
                  <a:cubicBezTo>
                    <a:pt x="254" y="4"/>
                    <a:pt x="254" y="4"/>
                    <a:pt x="254" y="4"/>
                  </a:cubicBezTo>
                  <a:cubicBezTo>
                    <a:pt x="253" y="4"/>
                    <a:pt x="253" y="4"/>
                    <a:pt x="253" y="4"/>
                  </a:cubicBezTo>
                  <a:cubicBezTo>
                    <a:pt x="253" y="4"/>
                    <a:pt x="253" y="4"/>
                    <a:pt x="253" y="4"/>
                  </a:cubicBezTo>
                  <a:cubicBezTo>
                    <a:pt x="252" y="4"/>
                    <a:pt x="252" y="4"/>
                    <a:pt x="252" y="4"/>
                  </a:cubicBezTo>
                  <a:cubicBezTo>
                    <a:pt x="252" y="4"/>
                    <a:pt x="251" y="4"/>
                    <a:pt x="250" y="4"/>
                  </a:cubicBezTo>
                  <a:cubicBezTo>
                    <a:pt x="250" y="4"/>
                    <a:pt x="250" y="4"/>
                    <a:pt x="250" y="4"/>
                  </a:cubicBezTo>
                  <a:cubicBezTo>
                    <a:pt x="249" y="4"/>
                    <a:pt x="249" y="4"/>
                    <a:pt x="248" y="4"/>
                  </a:cubicBezTo>
                  <a:cubicBezTo>
                    <a:pt x="247" y="4"/>
                    <a:pt x="246" y="5"/>
                    <a:pt x="245" y="6"/>
                  </a:cubicBezTo>
                  <a:cubicBezTo>
                    <a:pt x="244" y="6"/>
                    <a:pt x="244" y="6"/>
                    <a:pt x="244" y="6"/>
                  </a:cubicBezTo>
                  <a:cubicBezTo>
                    <a:pt x="243" y="6"/>
                    <a:pt x="243" y="6"/>
                    <a:pt x="243" y="6"/>
                  </a:cubicBezTo>
                  <a:cubicBezTo>
                    <a:pt x="242" y="7"/>
                    <a:pt x="241" y="7"/>
                    <a:pt x="241" y="8"/>
                  </a:cubicBezTo>
                  <a:cubicBezTo>
                    <a:pt x="240" y="8"/>
                    <a:pt x="240" y="8"/>
                    <a:pt x="240" y="8"/>
                  </a:cubicBezTo>
                  <a:cubicBezTo>
                    <a:pt x="239" y="8"/>
                    <a:pt x="239" y="8"/>
                    <a:pt x="239" y="8"/>
                  </a:cubicBezTo>
                  <a:cubicBezTo>
                    <a:pt x="238" y="9"/>
                    <a:pt x="237" y="10"/>
                    <a:pt x="237" y="10"/>
                  </a:cubicBezTo>
                  <a:cubicBezTo>
                    <a:pt x="228" y="18"/>
                    <a:pt x="228" y="18"/>
                    <a:pt x="228" y="18"/>
                  </a:cubicBezTo>
                  <a:cubicBezTo>
                    <a:pt x="227" y="19"/>
                    <a:pt x="227" y="19"/>
                    <a:pt x="226" y="19"/>
                  </a:cubicBezTo>
                  <a:cubicBezTo>
                    <a:pt x="226" y="19"/>
                    <a:pt x="226" y="19"/>
                    <a:pt x="226" y="19"/>
                  </a:cubicBezTo>
                  <a:cubicBezTo>
                    <a:pt x="225" y="19"/>
                    <a:pt x="225" y="19"/>
                    <a:pt x="225" y="19"/>
                  </a:cubicBezTo>
                  <a:cubicBezTo>
                    <a:pt x="207" y="13"/>
                    <a:pt x="207" y="13"/>
                    <a:pt x="207" y="13"/>
                  </a:cubicBezTo>
                  <a:cubicBezTo>
                    <a:pt x="206" y="13"/>
                    <a:pt x="204" y="12"/>
                    <a:pt x="203" y="12"/>
                  </a:cubicBezTo>
                  <a:cubicBezTo>
                    <a:pt x="202" y="12"/>
                    <a:pt x="202" y="12"/>
                    <a:pt x="202" y="12"/>
                  </a:cubicBezTo>
                  <a:cubicBezTo>
                    <a:pt x="201" y="12"/>
                    <a:pt x="199" y="12"/>
                    <a:pt x="197" y="12"/>
                  </a:cubicBezTo>
                  <a:cubicBezTo>
                    <a:pt x="195" y="12"/>
                    <a:pt x="195" y="12"/>
                    <a:pt x="195" y="12"/>
                  </a:cubicBezTo>
                  <a:cubicBezTo>
                    <a:pt x="194" y="12"/>
                    <a:pt x="192" y="12"/>
                    <a:pt x="191" y="12"/>
                  </a:cubicBezTo>
                  <a:cubicBezTo>
                    <a:pt x="189" y="12"/>
                    <a:pt x="189" y="12"/>
                    <a:pt x="189" y="12"/>
                  </a:cubicBezTo>
                  <a:cubicBezTo>
                    <a:pt x="188" y="12"/>
                    <a:pt x="186" y="12"/>
                    <a:pt x="185" y="12"/>
                  </a:cubicBezTo>
                  <a:cubicBezTo>
                    <a:pt x="183" y="12"/>
                    <a:pt x="181" y="12"/>
                    <a:pt x="179" y="13"/>
                  </a:cubicBezTo>
                  <a:cubicBezTo>
                    <a:pt x="175" y="14"/>
                    <a:pt x="173" y="15"/>
                    <a:pt x="171" y="16"/>
                  </a:cubicBezTo>
                  <a:cubicBezTo>
                    <a:pt x="170" y="17"/>
                    <a:pt x="169" y="18"/>
                    <a:pt x="168" y="20"/>
                  </a:cubicBezTo>
                  <a:cubicBezTo>
                    <a:pt x="165" y="23"/>
                    <a:pt x="165" y="23"/>
                    <a:pt x="165" y="23"/>
                  </a:cubicBezTo>
                  <a:cubicBezTo>
                    <a:pt x="164" y="24"/>
                    <a:pt x="163" y="24"/>
                    <a:pt x="163" y="24"/>
                  </a:cubicBezTo>
                  <a:cubicBezTo>
                    <a:pt x="162" y="25"/>
                    <a:pt x="162" y="25"/>
                    <a:pt x="162" y="25"/>
                  </a:cubicBezTo>
                  <a:cubicBezTo>
                    <a:pt x="162" y="25"/>
                    <a:pt x="161" y="25"/>
                    <a:pt x="161" y="25"/>
                  </a:cubicBezTo>
                  <a:cubicBezTo>
                    <a:pt x="160" y="25"/>
                    <a:pt x="159" y="25"/>
                    <a:pt x="159" y="25"/>
                  </a:cubicBezTo>
                  <a:cubicBezTo>
                    <a:pt x="159" y="25"/>
                    <a:pt x="159" y="25"/>
                    <a:pt x="159" y="25"/>
                  </a:cubicBezTo>
                  <a:cubicBezTo>
                    <a:pt x="158" y="25"/>
                    <a:pt x="157" y="25"/>
                    <a:pt x="156" y="25"/>
                  </a:cubicBezTo>
                  <a:cubicBezTo>
                    <a:pt x="156" y="25"/>
                    <a:pt x="155" y="25"/>
                    <a:pt x="155" y="25"/>
                  </a:cubicBezTo>
                  <a:cubicBezTo>
                    <a:pt x="154" y="25"/>
                    <a:pt x="154" y="25"/>
                    <a:pt x="154" y="25"/>
                  </a:cubicBezTo>
                  <a:cubicBezTo>
                    <a:pt x="153" y="25"/>
                    <a:pt x="153" y="25"/>
                    <a:pt x="153" y="25"/>
                  </a:cubicBezTo>
                  <a:cubicBezTo>
                    <a:pt x="152" y="25"/>
                    <a:pt x="152" y="25"/>
                    <a:pt x="152" y="25"/>
                  </a:cubicBezTo>
                  <a:cubicBezTo>
                    <a:pt x="147" y="25"/>
                    <a:pt x="142" y="23"/>
                    <a:pt x="138" y="21"/>
                  </a:cubicBezTo>
                  <a:cubicBezTo>
                    <a:pt x="133" y="18"/>
                    <a:pt x="133" y="18"/>
                    <a:pt x="133" y="18"/>
                  </a:cubicBezTo>
                  <a:cubicBezTo>
                    <a:pt x="132" y="18"/>
                    <a:pt x="131" y="17"/>
                    <a:pt x="130" y="17"/>
                  </a:cubicBezTo>
                  <a:cubicBezTo>
                    <a:pt x="129" y="16"/>
                    <a:pt x="129" y="16"/>
                    <a:pt x="129" y="16"/>
                  </a:cubicBezTo>
                  <a:cubicBezTo>
                    <a:pt x="127" y="15"/>
                    <a:pt x="126" y="14"/>
                    <a:pt x="124" y="13"/>
                  </a:cubicBezTo>
                  <a:cubicBezTo>
                    <a:pt x="123" y="13"/>
                    <a:pt x="123" y="13"/>
                    <a:pt x="123" y="13"/>
                  </a:cubicBezTo>
                  <a:cubicBezTo>
                    <a:pt x="122" y="16"/>
                    <a:pt x="122" y="16"/>
                    <a:pt x="122" y="16"/>
                  </a:cubicBezTo>
                  <a:cubicBezTo>
                    <a:pt x="122" y="13"/>
                    <a:pt x="122" y="13"/>
                    <a:pt x="122" y="13"/>
                  </a:cubicBezTo>
                  <a:cubicBezTo>
                    <a:pt x="121" y="13"/>
                    <a:pt x="121" y="13"/>
                    <a:pt x="121" y="13"/>
                  </a:cubicBezTo>
                  <a:cubicBezTo>
                    <a:pt x="121" y="13"/>
                    <a:pt x="121" y="13"/>
                    <a:pt x="120" y="13"/>
                  </a:cubicBezTo>
                  <a:cubicBezTo>
                    <a:pt x="120" y="13"/>
                    <a:pt x="119" y="13"/>
                    <a:pt x="119" y="13"/>
                  </a:cubicBezTo>
                  <a:cubicBezTo>
                    <a:pt x="116" y="13"/>
                    <a:pt x="113" y="15"/>
                    <a:pt x="110" y="16"/>
                  </a:cubicBezTo>
                  <a:cubicBezTo>
                    <a:pt x="109" y="17"/>
                    <a:pt x="108" y="17"/>
                    <a:pt x="107" y="18"/>
                  </a:cubicBezTo>
                  <a:cubicBezTo>
                    <a:pt x="107" y="18"/>
                    <a:pt x="106" y="18"/>
                    <a:pt x="106" y="19"/>
                  </a:cubicBezTo>
                  <a:cubicBezTo>
                    <a:pt x="105" y="19"/>
                    <a:pt x="105" y="19"/>
                    <a:pt x="105" y="19"/>
                  </a:cubicBezTo>
                  <a:cubicBezTo>
                    <a:pt x="104" y="20"/>
                    <a:pt x="103" y="20"/>
                    <a:pt x="103" y="20"/>
                  </a:cubicBezTo>
                  <a:cubicBezTo>
                    <a:pt x="102" y="20"/>
                    <a:pt x="101" y="21"/>
                    <a:pt x="100" y="21"/>
                  </a:cubicBezTo>
                  <a:cubicBezTo>
                    <a:pt x="99" y="21"/>
                    <a:pt x="97" y="20"/>
                    <a:pt x="96" y="19"/>
                  </a:cubicBezTo>
                  <a:cubicBezTo>
                    <a:pt x="87" y="9"/>
                    <a:pt x="87" y="9"/>
                    <a:pt x="87" y="9"/>
                  </a:cubicBezTo>
                  <a:cubicBezTo>
                    <a:pt x="86" y="8"/>
                    <a:pt x="85" y="7"/>
                    <a:pt x="83" y="6"/>
                  </a:cubicBezTo>
                  <a:cubicBezTo>
                    <a:pt x="82" y="5"/>
                    <a:pt x="82" y="5"/>
                    <a:pt x="82" y="5"/>
                  </a:cubicBezTo>
                  <a:cubicBezTo>
                    <a:pt x="80" y="4"/>
                    <a:pt x="78" y="3"/>
                    <a:pt x="75" y="3"/>
                  </a:cubicBezTo>
                  <a:cubicBezTo>
                    <a:pt x="74" y="3"/>
                    <a:pt x="73" y="3"/>
                    <a:pt x="72" y="2"/>
                  </a:cubicBezTo>
                  <a:cubicBezTo>
                    <a:pt x="71" y="2"/>
                    <a:pt x="70" y="2"/>
                    <a:pt x="69" y="1"/>
                  </a:cubicBezTo>
                  <a:cubicBezTo>
                    <a:pt x="69" y="1"/>
                    <a:pt x="69" y="1"/>
                    <a:pt x="69" y="1"/>
                  </a:cubicBezTo>
                  <a:cubicBezTo>
                    <a:pt x="68" y="1"/>
                    <a:pt x="66" y="0"/>
                    <a:pt x="6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 name="Freeform 232">
              <a:extLst>
                <a:ext uri="{FF2B5EF4-FFF2-40B4-BE49-F238E27FC236}">
                  <a16:creationId xmlns:a16="http://schemas.microsoft.com/office/drawing/2014/main" id="{7E953B23-4473-4C1D-A6AD-DEE6B59AF352}"/>
                </a:ext>
              </a:extLst>
            </p:cNvPr>
            <p:cNvSpPr>
              <a:spLocks noEditPoints="1"/>
            </p:cNvSpPr>
            <p:nvPr/>
          </p:nvSpPr>
          <p:spPr bwMode="auto">
            <a:xfrm>
              <a:off x="4145" y="2632"/>
              <a:ext cx="317" cy="336"/>
            </a:xfrm>
            <a:custGeom>
              <a:avLst/>
              <a:gdLst>
                <a:gd name="T0" fmla="*/ 31 w 134"/>
                <a:gd name="T1" fmla="*/ 113 h 142"/>
                <a:gd name="T2" fmla="*/ 34 w 134"/>
                <a:gd name="T3" fmla="*/ 112 h 142"/>
                <a:gd name="T4" fmla="*/ 25 w 134"/>
                <a:gd name="T5" fmla="*/ 110 h 142"/>
                <a:gd name="T6" fmla="*/ 67 w 134"/>
                <a:gd name="T7" fmla="*/ 0 h 142"/>
                <a:gd name="T8" fmla="*/ 65 w 134"/>
                <a:gd name="T9" fmla="*/ 1 h 142"/>
                <a:gd name="T10" fmla="*/ 65 w 134"/>
                <a:gd name="T11" fmla="*/ 14 h 142"/>
                <a:gd name="T12" fmla="*/ 53 w 134"/>
                <a:gd name="T13" fmla="*/ 31 h 142"/>
                <a:gd name="T14" fmla="*/ 26 w 134"/>
                <a:gd name="T15" fmla="*/ 30 h 142"/>
                <a:gd name="T16" fmla="*/ 22 w 134"/>
                <a:gd name="T17" fmla="*/ 29 h 142"/>
                <a:gd name="T18" fmla="*/ 21 w 134"/>
                <a:gd name="T19" fmla="*/ 40 h 142"/>
                <a:gd name="T20" fmla="*/ 20 w 134"/>
                <a:gd name="T21" fmla="*/ 38 h 142"/>
                <a:gd name="T22" fmla="*/ 18 w 134"/>
                <a:gd name="T23" fmla="*/ 43 h 142"/>
                <a:gd name="T24" fmla="*/ 28 w 134"/>
                <a:gd name="T25" fmla="*/ 47 h 142"/>
                <a:gd name="T26" fmla="*/ 22 w 134"/>
                <a:gd name="T27" fmla="*/ 48 h 142"/>
                <a:gd name="T28" fmla="*/ 18 w 134"/>
                <a:gd name="T29" fmla="*/ 48 h 142"/>
                <a:gd name="T30" fmla="*/ 15 w 134"/>
                <a:gd name="T31" fmla="*/ 49 h 142"/>
                <a:gd name="T32" fmla="*/ 4 w 134"/>
                <a:gd name="T33" fmla="*/ 70 h 142"/>
                <a:gd name="T34" fmla="*/ 12 w 134"/>
                <a:gd name="T35" fmla="*/ 84 h 142"/>
                <a:gd name="T36" fmla="*/ 18 w 134"/>
                <a:gd name="T37" fmla="*/ 89 h 142"/>
                <a:gd name="T38" fmla="*/ 13 w 134"/>
                <a:gd name="T39" fmla="*/ 88 h 142"/>
                <a:gd name="T40" fmla="*/ 16 w 134"/>
                <a:gd name="T41" fmla="*/ 96 h 142"/>
                <a:gd name="T42" fmla="*/ 55 w 134"/>
                <a:gd name="T43" fmla="*/ 142 h 142"/>
                <a:gd name="T44" fmla="*/ 63 w 134"/>
                <a:gd name="T45" fmla="*/ 133 h 142"/>
                <a:gd name="T46" fmla="*/ 72 w 134"/>
                <a:gd name="T47" fmla="*/ 134 h 142"/>
                <a:gd name="T48" fmla="*/ 73 w 134"/>
                <a:gd name="T49" fmla="*/ 131 h 142"/>
                <a:gd name="T50" fmla="*/ 69 w 134"/>
                <a:gd name="T51" fmla="*/ 123 h 142"/>
                <a:gd name="T52" fmla="*/ 64 w 134"/>
                <a:gd name="T53" fmla="*/ 117 h 142"/>
                <a:gd name="T54" fmla="*/ 65 w 134"/>
                <a:gd name="T55" fmla="*/ 111 h 142"/>
                <a:gd name="T56" fmla="*/ 68 w 134"/>
                <a:gd name="T57" fmla="*/ 104 h 142"/>
                <a:gd name="T58" fmla="*/ 77 w 134"/>
                <a:gd name="T59" fmla="*/ 104 h 142"/>
                <a:gd name="T60" fmla="*/ 81 w 134"/>
                <a:gd name="T61" fmla="*/ 104 h 142"/>
                <a:gd name="T62" fmla="*/ 85 w 134"/>
                <a:gd name="T63" fmla="*/ 98 h 142"/>
                <a:gd name="T64" fmla="*/ 90 w 134"/>
                <a:gd name="T65" fmla="*/ 93 h 142"/>
                <a:gd name="T66" fmla="*/ 101 w 134"/>
                <a:gd name="T67" fmla="*/ 100 h 142"/>
                <a:gd name="T68" fmla="*/ 108 w 134"/>
                <a:gd name="T69" fmla="*/ 104 h 142"/>
                <a:gd name="T70" fmla="*/ 121 w 134"/>
                <a:gd name="T71" fmla="*/ 99 h 142"/>
                <a:gd name="T72" fmla="*/ 129 w 134"/>
                <a:gd name="T73" fmla="*/ 99 h 142"/>
                <a:gd name="T74" fmla="*/ 133 w 134"/>
                <a:gd name="T75" fmla="*/ 85 h 142"/>
                <a:gd name="T76" fmla="*/ 133 w 134"/>
                <a:gd name="T77" fmla="*/ 81 h 142"/>
                <a:gd name="T78" fmla="*/ 132 w 134"/>
                <a:gd name="T79" fmla="*/ 73 h 142"/>
                <a:gd name="T80" fmla="*/ 134 w 134"/>
                <a:gd name="T81" fmla="*/ 67 h 142"/>
                <a:gd name="T82" fmla="*/ 119 w 134"/>
                <a:gd name="T83" fmla="*/ 56 h 142"/>
                <a:gd name="T84" fmla="*/ 126 w 134"/>
                <a:gd name="T85" fmla="*/ 38 h 142"/>
                <a:gd name="T86" fmla="*/ 132 w 134"/>
                <a:gd name="T87" fmla="*/ 31 h 142"/>
                <a:gd name="T88" fmla="*/ 126 w 134"/>
                <a:gd name="T89" fmla="*/ 22 h 142"/>
                <a:gd name="T90" fmla="*/ 111 w 134"/>
                <a:gd name="T91" fmla="*/ 24 h 142"/>
                <a:gd name="T92" fmla="*/ 103 w 134"/>
                <a:gd name="T93" fmla="*/ 6 h 142"/>
                <a:gd name="T94" fmla="*/ 104 w 134"/>
                <a:gd name="T95" fmla="*/ 1 h 142"/>
                <a:gd name="T96" fmla="*/ 79 w 134"/>
                <a:gd name="T97" fmla="*/ 0 h 142"/>
                <a:gd name="T98" fmla="*/ 73 w 134"/>
                <a:gd name="T99" fmla="*/ 0 h 142"/>
                <a:gd name="T100" fmla="*/ 68 w 134"/>
                <a:gd name="T10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 h="142">
                  <a:moveTo>
                    <a:pt x="31" y="113"/>
                  </a:moveTo>
                  <a:cubicBezTo>
                    <a:pt x="31" y="113"/>
                    <a:pt x="30" y="113"/>
                    <a:pt x="30" y="113"/>
                  </a:cubicBezTo>
                  <a:cubicBezTo>
                    <a:pt x="30" y="113"/>
                    <a:pt x="31" y="113"/>
                    <a:pt x="31" y="113"/>
                  </a:cubicBezTo>
                  <a:moveTo>
                    <a:pt x="31" y="113"/>
                  </a:moveTo>
                  <a:cubicBezTo>
                    <a:pt x="32" y="113"/>
                    <a:pt x="33" y="113"/>
                    <a:pt x="33" y="112"/>
                  </a:cubicBezTo>
                  <a:cubicBezTo>
                    <a:pt x="34" y="112"/>
                    <a:pt x="34" y="112"/>
                    <a:pt x="34" y="112"/>
                  </a:cubicBezTo>
                  <a:cubicBezTo>
                    <a:pt x="34" y="112"/>
                    <a:pt x="34" y="112"/>
                    <a:pt x="34" y="112"/>
                  </a:cubicBezTo>
                  <a:cubicBezTo>
                    <a:pt x="34" y="112"/>
                    <a:pt x="34" y="112"/>
                    <a:pt x="34" y="112"/>
                  </a:cubicBezTo>
                  <a:cubicBezTo>
                    <a:pt x="33" y="112"/>
                    <a:pt x="33" y="112"/>
                    <a:pt x="33" y="112"/>
                  </a:cubicBezTo>
                  <a:cubicBezTo>
                    <a:pt x="33" y="113"/>
                    <a:pt x="32" y="113"/>
                    <a:pt x="31" y="113"/>
                  </a:cubicBezTo>
                  <a:cubicBezTo>
                    <a:pt x="31" y="113"/>
                    <a:pt x="31" y="113"/>
                    <a:pt x="31" y="113"/>
                  </a:cubicBezTo>
                  <a:moveTo>
                    <a:pt x="25" y="110"/>
                  </a:moveTo>
                  <a:cubicBezTo>
                    <a:pt x="26" y="109"/>
                    <a:pt x="26" y="109"/>
                    <a:pt x="26" y="109"/>
                  </a:cubicBezTo>
                  <a:cubicBezTo>
                    <a:pt x="26" y="109"/>
                    <a:pt x="26" y="109"/>
                    <a:pt x="26" y="109"/>
                  </a:cubicBezTo>
                  <a:cubicBezTo>
                    <a:pt x="25" y="110"/>
                    <a:pt x="25" y="110"/>
                    <a:pt x="25" y="110"/>
                  </a:cubicBezTo>
                  <a:moveTo>
                    <a:pt x="67" y="0"/>
                  </a:moveTo>
                  <a:cubicBezTo>
                    <a:pt x="67" y="0"/>
                    <a:pt x="67" y="0"/>
                    <a:pt x="67" y="0"/>
                  </a:cubicBezTo>
                  <a:cubicBezTo>
                    <a:pt x="65" y="0"/>
                    <a:pt x="65" y="0"/>
                    <a:pt x="65" y="0"/>
                  </a:cubicBezTo>
                  <a:cubicBezTo>
                    <a:pt x="65" y="1"/>
                    <a:pt x="65" y="1"/>
                    <a:pt x="65" y="1"/>
                  </a:cubicBezTo>
                  <a:cubicBezTo>
                    <a:pt x="65" y="1"/>
                    <a:pt x="65" y="1"/>
                    <a:pt x="65" y="1"/>
                  </a:cubicBezTo>
                  <a:cubicBezTo>
                    <a:pt x="65" y="2"/>
                    <a:pt x="65" y="2"/>
                    <a:pt x="65" y="3"/>
                  </a:cubicBezTo>
                  <a:cubicBezTo>
                    <a:pt x="65" y="7"/>
                    <a:pt x="65" y="7"/>
                    <a:pt x="65" y="7"/>
                  </a:cubicBezTo>
                  <a:cubicBezTo>
                    <a:pt x="65" y="8"/>
                    <a:pt x="65" y="10"/>
                    <a:pt x="65" y="11"/>
                  </a:cubicBezTo>
                  <a:cubicBezTo>
                    <a:pt x="65" y="14"/>
                    <a:pt x="65" y="14"/>
                    <a:pt x="65" y="14"/>
                  </a:cubicBezTo>
                  <a:cubicBezTo>
                    <a:pt x="66" y="24"/>
                    <a:pt x="66" y="28"/>
                    <a:pt x="64" y="30"/>
                  </a:cubicBezTo>
                  <a:cubicBezTo>
                    <a:pt x="63" y="31"/>
                    <a:pt x="62" y="31"/>
                    <a:pt x="60" y="31"/>
                  </a:cubicBezTo>
                  <a:cubicBezTo>
                    <a:pt x="58" y="31"/>
                    <a:pt x="57" y="31"/>
                    <a:pt x="55" y="31"/>
                  </a:cubicBezTo>
                  <a:cubicBezTo>
                    <a:pt x="54" y="31"/>
                    <a:pt x="53" y="31"/>
                    <a:pt x="53" y="31"/>
                  </a:cubicBezTo>
                  <a:cubicBezTo>
                    <a:pt x="38" y="31"/>
                    <a:pt x="38" y="31"/>
                    <a:pt x="38" y="31"/>
                  </a:cubicBezTo>
                  <a:cubicBezTo>
                    <a:pt x="37" y="31"/>
                    <a:pt x="36" y="31"/>
                    <a:pt x="35" y="31"/>
                  </a:cubicBezTo>
                  <a:cubicBezTo>
                    <a:pt x="34" y="31"/>
                    <a:pt x="33" y="31"/>
                    <a:pt x="31" y="31"/>
                  </a:cubicBezTo>
                  <a:cubicBezTo>
                    <a:pt x="30" y="31"/>
                    <a:pt x="28" y="31"/>
                    <a:pt x="26" y="30"/>
                  </a:cubicBezTo>
                  <a:cubicBezTo>
                    <a:pt x="26" y="30"/>
                    <a:pt x="26" y="30"/>
                    <a:pt x="26" y="30"/>
                  </a:cubicBezTo>
                  <a:cubicBezTo>
                    <a:pt x="23" y="30"/>
                    <a:pt x="23" y="30"/>
                    <a:pt x="23" y="30"/>
                  </a:cubicBezTo>
                  <a:cubicBezTo>
                    <a:pt x="23" y="29"/>
                    <a:pt x="23" y="29"/>
                    <a:pt x="23" y="29"/>
                  </a:cubicBezTo>
                  <a:cubicBezTo>
                    <a:pt x="22" y="29"/>
                    <a:pt x="22" y="29"/>
                    <a:pt x="22" y="29"/>
                  </a:cubicBezTo>
                  <a:cubicBezTo>
                    <a:pt x="22" y="28"/>
                    <a:pt x="22" y="28"/>
                    <a:pt x="22" y="28"/>
                  </a:cubicBezTo>
                  <a:cubicBezTo>
                    <a:pt x="21" y="28"/>
                    <a:pt x="20" y="29"/>
                    <a:pt x="20" y="29"/>
                  </a:cubicBezTo>
                  <a:cubicBezTo>
                    <a:pt x="20" y="29"/>
                    <a:pt x="21" y="31"/>
                    <a:pt x="21" y="32"/>
                  </a:cubicBezTo>
                  <a:cubicBezTo>
                    <a:pt x="22" y="34"/>
                    <a:pt x="22" y="37"/>
                    <a:pt x="21" y="40"/>
                  </a:cubicBezTo>
                  <a:cubicBezTo>
                    <a:pt x="21" y="40"/>
                    <a:pt x="21" y="39"/>
                    <a:pt x="21" y="38"/>
                  </a:cubicBezTo>
                  <a:cubicBezTo>
                    <a:pt x="21" y="38"/>
                    <a:pt x="21" y="38"/>
                    <a:pt x="21" y="38"/>
                  </a:cubicBezTo>
                  <a:cubicBezTo>
                    <a:pt x="20" y="38"/>
                    <a:pt x="20" y="38"/>
                    <a:pt x="20" y="38"/>
                  </a:cubicBezTo>
                  <a:cubicBezTo>
                    <a:pt x="20" y="38"/>
                    <a:pt x="20" y="38"/>
                    <a:pt x="20" y="38"/>
                  </a:cubicBezTo>
                  <a:cubicBezTo>
                    <a:pt x="20" y="38"/>
                    <a:pt x="20" y="38"/>
                    <a:pt x="20" y="37"/>
                  </a:cubicBezTo>
                  <a:cubicBezTo>
                    <a:pt x="18" y="37"/>
                    <a:pt x="16" y="38"/>
                    <a:pt x="14" y="39"/>
                  </a:cubicBezTo>
                  <a:cubicBezTo>
                    <a:pt x="15" y="39"/>
                    <a:pt x="15" y="39"/>
                    <a:pt x="15" y="39"/>
                  </a:cubicBezTo>
                  <a:cubicBezTo>
                    <a:pt x="17" y="39"/>
                    <a:pt x="17" y="41"/>
                    <a:pt x="18" y="43"/>
                  </a:cubicBezTo>
                  <a:cubicBezTo>
                    <a:pt x="19" y="45"/>
                    <a:pt x="19" y="44"/>
                    <a:pt x="21" y="45"/>
                  </a:cubicBezTo>
                  <a:cubicBezTo>
                    <a:pt x="22" y="45"/>
                    <a:pt x="23" y="46"/>
                    <a:pt x="24" y="47"/>
                  </a:cubicBezTo>
                  <a:cubicBezTo>
                    <a:pt x="25" y="47"/>
                    <a:pt x="26" y="47"/>
                    <a:pt x="26" y="47"/>
                  </a:cubicBezTo>
                  <a:cubicBezTo>
                    <a:pt x="27" y="47"/>
                    <a:pt x="27" y="47"/>
                    <a:pt x="28" y="47"/>
                  </a:cubicBezTo>
                  <a:cubicBezTo>
                    <a:pt x="28" y="47"/>
                    <a:pt x="29" y="47"/>
                    <a:pt x="29" y="47"/>
                  </a:cubicBezTo>
                  <a:cubicBezTo>
                    <a:pt x="30" y="47"/>
                    <a:pt x="30" y="47"/>
                    <a:pt x="31" y="47"/>
                  </a:cubicBezTo>
                  <a:cubicBezTo>
                    <a:pt x="27" y="48"/>
                    <a:pt x="28" y="48"/>
                    <a:pt x="26" y="51"/>
                  </a:cubicBezTo>
                  <a:cubicBezTo>
                    <a:pt x="24" y="49"/>
                    <a:pt x="23" y="48"/>
                    <a:pt x="22" y="48"/>
                  </a:cubicBezTo>
                  <a:cubicBezTo>
                    <a:pt x="21" y="48"/>
                    <a:pt x="21" y="48"/>
                    <a:pt x="21" y="48"/>
                  </a:cubicBezTo>
                  <a:cubicBezTo>
                    <a:pt x="20" y="48"/>
                    <a:pt x="20" y="48"/>
                    <a:pt x="20" y="48"/>
                  </a:cubicBezTo>
                  <a:cubicBezTo>
                    <a:pt x="19" y="49"/>
                    <a:pt x="19" y="49"/>
                    <a:pt x="19" y="49"/>
                  </a:cubicBezTo>
                  <a:cubicBezTo>
                    <a:pt x="18" y="48"/>
                    <a:pt x="18" y="48"/>
                    <a:pt x="18" y="48"/>
                  </a:cubicBezTo>
                  <a:cubicBezTo>
                    <a:pt x="17" y="48"/>
                    <a:pt x="17" y="47"/>
                    <a:pt x="17" y="47"/>
                  </a:cubicBezTo>
                  <a:cubicBezTo>
                    <a:pt x="16" y="47"/>
                    <a:pt x="16" y="47"/>
                    <a:pt x="16" y="47"/>
                  </a:cubicBezTo>
                  <a:cubicBezTo>
                    <a:pt x="16" y="46"/>
                    <a:pt x="15" y="45"/>
                    <a:pt x="14" y="44"/>
                  </a:cubicBezTo>
                  <a:cubicBezTo>
                    <a:pt x="14" y="46"/>
                    <a:pt x="15" y="48"/>
                    <a:pt x="15" y="49"/>
                  </a:cubicBezTo>
                  <a:cubicBezTo>
                    <a:pt x="15" y="58"/>
                    <a:pt x="11" y="65"/>
                    <a:pt x="7" y="72"/>
                  </a:cubicBezTo>
                  <a:cubicBezTo>
                    <a:pt x="7" y="70"/>
                    <a:pt x="7" y="70"/>
                    <a:pt x="6" y="70"/>
                  </a:cubicBezTo>
                  <a:cubicBezTo>
                    <a:pt x="6" y="70"/>
                    <a:pt x="6" y="70"/>
                    <a:pt x="5" y="70"/>
                  </a:cubicBezTo>
                  <a:cubicBezTo>
                    <a:pt x="5" y="70"/>
                    <a:pt x="4" y="70"/>
                    <a:pt x="4" y="70"/>
                  </a:cubicBezTo>
                  <a:cubicBezTo>
                    <a:pt x="4" y="70"/>
                    <a:pt x="3" y="70"/>
                    <a:pt x="3" y="70"/>
                  </a:cubicBezTo>
                  <a:cubicBezTo>
                    <a:pt x="2" y="70"/>
                    <a:pt x="1" y="66"/>
                    <a:pt x="0" y="65"/>
                  </a:cubicBezTo>
                  <a:cubicBezTo>
                    <a:pt x="3" y="71"/>
                    <a:pt x="5" y="79"/>
                    <a:pt x="9" y="83"/>
                  </a:cubicBezTo>
                  <a:cubicBezTo>
                    <a:pt x="11" y="84"/>
                    <a:pt x="11" y="84"/>
                    <a:pt x="12" y="84"/>
                  </a:cubicBezTo>
                  <a:cubicBezTo>
                    <a:pt x="13" y="84"/>
                    <a:pt x="13" y="83"/>
                    <a:pt x="15" y="82"/>
                  </a:cubicBezTo>
                  <a:cubicBezTo>
                    <a:pt x="16" y="84"/>
                    <a:pt x="13" y="87"/>
                    <a:pt x="14" y="89"/>
                  </a:cubicBezTo>
                  <a:cubicBezTo>
                    <a:pt x="14" y="89"/>
                    <a:pt x="19" y="89"/>
                    <a:pt x="20" y="89"/>
                  </a:cubicBezTo>
                  <a:cubicBezTo>
                    <a:pt x="19" y="89"/>
                    <a:pt x="19" y="89"/>
                    <a:pt x="18" y="89"/>
                  </a:cubicBezTo>
                  <a:cubicBezTo>
                    <a:pt x="18" y="89"/>
                    <a:pt x="17" y="89"/>
                    <a:pt x="17" y="90"/>
                  </a:cubicBezTo>
                  <a:cubicBezTo>
                    <a:pt x="16" y="90"/>
                    <a:pt x="16" y="90"/>
                    <a:pt x="16" y="90"/>
                  </a:cubicBezTo>
                  <a:cubicBezTo>
                    <a:pt x="15" y="90"/>
                    <a:pt x="15" y="90"/>
                    <a:pt x="14" y="90"/>
                  </a:cubicBezTo>
                  <a:cubicBezTo>
                    <a:pt x="14" y="89"/>
                    <a:pt x="13" y="88"/>
                    <a:pt x="13" y="88"/>
                  </a:cubicBezTo>
                  <a:cubicBezTo>
                    <a:pt x="12" y="90"/>
                    <a:pt x="13" y="94"/>
                    <a:pt x="14" y="95"/>
                  </a:cubicBezTo>
                  <a:cubicBezTo>
                    <a:pt x="14" y="96"/>
                    <a:pt x="14" y="96"/>
                    <a:pt x="15" y="96"/>
                  </a:cubicBezTo>
                  <a:cubicBezTo>
                    <a:pt x="15" y="96"/>
                    <a:pt x="15" y="96"/>
                    <a:pt x="15" y="96"/>
                  </a:cubicBezTo>
                  <a:cubicBezTo>
                    <a:pt x="15" y="96"/>
                    <a:pt x="16" y="96"/>
                    <a:pt x="16" y="96"/>
                  </a:cubicBezTo>
                  <a:cubicBezTo>
                    <a:pt x="16" y="96"/>
                    <a:pt x="16" y="96"/>
                    <a:pt x="16" y="96"/>
                  </a:cubicBezTo>
                  <a:cubicBezTo>
                    <a:pt x="23" y="98"/>
                    <a:pt x="18" y="105"/>
                    <a:pt x="22" y="108"/>
                  </a:cubicBezTo>
                  <a:cubicBezTo>
                    <a:pt x="22" y="107"/>
                    <a:pt x="22" y="107"/>
                    <a:pt x="22" y="107"/>
                  </a:cubicBezTo>
                  <a:cubicBezTo>
                    <a:pt x="32" y="119"/>
                    <a:pt x="44" y="130"/>
                    <a:pt x="55" y="142"/>
                  </a:cubicBezTo>
                  <a:cubicBezTo>
                    <a:pt x="56" y="140"/>
                    <a:pt x="57" y="138"/>
                    <a:pt x="57" y="137"/>
                  </a:cubicBezTo>
                  <a:cubicBezTo>
                    <a:pt x="58" y="136"/>
                    <a:pt x="59" y="135"/>
                    <a:pt x="61" y="134"/>
                  </a:cubicBezTo>
                  <a:cubicBezTo>
                    <a:pt x="62" y="133"/>
                    <a:pt x="62" y="133"/>
                    <a:pt x="62" y="133"/>
                  </a:cubicBezTo>
                  <a:cubicBezTo>
                    <a:pt x="62" y="133"/>
                    <a:pt x="63" y="133"/>
                    <a:pt x="63" y="133"/>
                  </a:cubicBezTo>
                  <a:cubicBezTo>
                    <a:pt x="64" y="132"/>
                    <a:pt x="64" y="131"/>
                    <a:pt x="65" y="131"/>
                  </a:cubicBezTo>
                  <a:cubicBezTo>
                    <a:pt x="65" y="131"/>
                    <a:pt x="66" y="131"/>
                    <a:pt x="66" y="131"/>
                  </a:cubicBezTo>
                  <a:cubicBezTo>
                    <a:pt x="67" y="131"/>
                    <a:pt x="69" y="132"/>
                    <a:pt x="71" y="134"/>
                  </a:cubicBezTo>
                  <a:cubicBezTo>
                    <a:pt x="72" y="134"/>
                    <a:pt x="72" y="134"/>
                    <a:pt x="72" y="134"/>
                  </a:cubicBezTo>
                  <a:cubicBezTo>
                    <a:pt x="72" y="134"/>
                    <a:pt x="72" y="134"/>
                    <a:pt x="72" y="134"/>
                  </a:cubicBezTo>
                  <a:cubicBezTo>
                    <a:pt x="72" y="134"/>
                    <a:pt x="72" y="134"/>
                    <a:pt x="72" y="134"/>
                  </a:cubicBezTo>
                  <a:cubicBezTo>
                    <a:pt x="72" y="134"/>
                    <a:pt x="72" y="133"/>
                    <a:pt x="72" y="132"/>
                  </a:cubicBezTo>
                  <a:cubicBezTo>
                    <a:pt x="72" y="132"/>
                    <a:pt x="73" y="131"/>
                    <a:pt x="73" y="131"/>
                  </a:cubicBezTo>
                  <a:cubicBezTo>
                    <a:pt x="73" y="131"/>
                    <a:pt x="73" y="131"/>
                    <a:pt x="73" y="131"/>
                  </a:cubicBezTo>
                  <a:cubicBezTo>
                    <a:pt x="72" y="130"/>
                    <a:pt x="70" y="130"/>
                    <a:pt x="69" y="129"/>
                  </a:cubicBezTo>
                  <a:cubicBezTo>
                    <a:pt x="69" y="128"/>
                    <a:pt x="68" y="127"/>
                    <a:pt x="68" y="126"/>
                  </a:cubicBezTo>
                  <a:cubicBezTo>
                    <a:pt x="68" y="125"/>
                    <a:pt x="68" y="124"/>
                    <a:pt x="69" y="123"/>
                  </a:cubicBezTo>
                  <a:cubicBezTo>
                    <a:pt x="66" y="121"/>
                    <a:pt x="66" y="121"/>
                    <a:pt x="66" y="121"/>
                  </a:cubicBezTo>
                  <a:cubicBezTo>
                    <a:pt x="65" y="120"/>
                    <a:pt x="65" y="120"/>
                    <a:pt x="65" y="120"/>
                  </a:cubicBezTo>
                  <a:cubicBezTo>
                    <a:pt x="65" y="119"/>
                    <a:pt x="65" y="118"/>
                    <a:pt x="64" y="118"/>
                  </a:cubicBezTo>
                  <a:cubicBezTo>
                    <a:pt x="64" y="117"/>
                    <a:pt x="64" y="117"/>
                    <a:pt x="64" y="117"/>
                  </a:cubicBezTo>
                  <a:cubicBezTo>
                    <a:pt x="64" y="116"/>
                    <a:pt x="65" y="115"/>
                    <a:pt x="65" y="114"/>
                  </a:cubicBezTo>
                  <a:cubicBezTo>
                    <a:pt x="66" y="113"/>
                    <a:pt x="66" y="113"/>
                    <a:pt x="66" y="113"/>
                  </a:cubicBezTo>
                  <a:cubicBezTo>
                    <a:pt x="66" y="112"/>
                    <a:pt x="66" y="112"/>
                    <a:pt x="66" y="112"/>
                  </a:cubicBezTo>
                  <a:cubicBezTo>
                    <a:pt x="65" y="112"/>
                    <a:pt x="65" y="111"/>
                    <a:pt x="65" y="111"/>
                  </a:cubicBezTo>
                  <a:cubicBezTo>
                    <a:pt x="65" y="110"/>
                    <a:pt x="65" y="110"/>
                    <a:pt x="65" y="110"/>
                  </a:cubicBezTo>
                  <a:cubicBezTo>
                    <a:pt x="65" y="109"/>
                    <a:pt x="65" y="108"/>
                    <a:pt x="65" y="108"/>
                  </a:cubicBezTo>
                  <a:cubicBezTo>
                    <a:pt x="62" y="103"/>
                    <a:pt x="62" y="103"/>
                    <a:pt x="62" y="103"/>
                  </a:cubicBezTo>
                  <a:cubicBezTo>
                    <a:pt x="68" y="104"/>
                    <a:pt x="68" y="104"/>
                    <a:pt x="68" y="104"/>
                  </a:cubicBezTo>
                  <a:cubicBezTo>
                    <a:pt x="69" y="104"/>
                    <a:pt x="70" y="104"/>
                    <a:pt x="71" y="105"/>
                  </a:cubicBezTo>
                  <a:cubicBezTo>
                    <a:pt x="72" y="105"/>
                    <a:pt x="72" y="105"/>
                    <a:pt x="72" y="105"/>
                  </a:cubicBezTo>
                  <a:cubicBezTo>
                    <a:pt x="72" y="105"/>
                    <a:pt x="73" y="105"/>
                    <a:pt x="74" y="104"/>
                  </a:cubicBezTo>
                  <a:cubicBezTo>
                    <a:pt x="74" y="104"/>
                    <a:pt x="76" y="104"/>
                    <a:pt x="77" y="104"/>
                  </a:cubicBezTo>
                  <a:cubicBezTo>
                    <a:pt x="77" y="104"/>
                    <a:pt x="77" y="104"/>
                    <a:pt x="77" y="104"/>
                  </a:cubicBezTo>
                  <a:cubicBezTo>
                    <a:pt x="79" y="104"/>
                    <a:pt x="79" y="104"/>
                    <a:pt x="79" y="104"/>
                  </a:cubicBezTo>
                  <a:cubicBezTo>
                    <a:pt x="79" y="105"/>
                    <a:pt x="79" y="105"/>
                    <a:pt x="79" y="105"/>
                  </a:cubicBezTo>
                  <a:cubicBezTo>
                    <a:pt x="80" y="104"/>
                    <a:pt x="81" y="104"/>
                    <a:pt x="81" y="104"/>
                  </a:cubicBezTo>
                  <a:cubicBezTo>
                    <a:pt x="82" y="104"/>
                    <a:pt x="82" y="104"/>
                    <a:pt x="82" y="104"/>
                  </a:cubicBezTo>
                  <a:cubicBezTo>
                    <a:pt x="83" y="103"/>
                    <a:pt x="83" y="103"/>
                    <a:pt x="84" y="103"/>
                  </a:cubicBezTo>
                  <a:cubicBezTo>
                    <a:pt x="84" y="102"/>
                    <a:pt x="84" y="101"/>
                    <a:pt x="85" y="98"/>
                  </a:cubicBezTo>
                  <a:cubicBezTo>
                    <a:pt x="85" y="98"/>
                    <a:pt x="85" y="98"/>
                    <a:pt x="85" y="98"/>
                  </a:cubicBezTo>
                  <a:cubicBezTo>
                    <a:pt x="85" y="97"/>
                    <a:pt x="85" y="97"/>
                    <a:pt x="85" y="96"/>
                  </a:cubicBezTo>
                  <a:cubicBezTo>
                    <a:pt x="85" y="96"/>
                    <a:pt x="85" y="96"/>
                    <a:pt x="85" y="96"/>
                  </a:cubicBezTo>
                  <a:cubicBezTo>
                    <a:pt x="86" y="95"/>
                    <a:pt x="86" y="93"/>
                    <a:pt x="89" y="93"/>
                  </a:cubicBezTo>
                  <a:cubicBezTo>
                    <a:pt x="90" y="93"/>
                    <a:pt x="90" y="93"/>
                    <a:pt x="90" y="93"/>
                  </a:cubicBezTo>
                  <a:cubicBezTo>
                    <a:pt x="91" y="93"/>
                    <a:pt x="91" y="93"/>
                    <a:pt x="92" y="93"/>
                  </a:cubicBezTo>
                  <a:cubicBezTo>
                    <a:pt x="92" y="93"/>
                    <a:pt x="93" y="93"/>
                    <a:pt x="94" y="93"/>
                  </a:cubicBezTo>
                  <a:cubicBezTo>
                    <a:pt x="94" y="93"/>
                    <a:pt x="95" y="93"/>
                    <a:pt x="95" y="93"/>
                  </a:cubicBezTo>
                  <a:cubicBezTo>
                    <a:pt x="98" y="93"/>
                    <a:pt x="100" y="97"/>
                    <a:pt x="101" y="100"/>
                  </a:cubicBezTo>
                  <a:cubicBezTo>
                    <a:pt x="102" y="103"/>
                    <a:pt x="102" y="104"/>
                    <a:pt x="103" y="104"/>
                  </a:cubicBezTo>
                  <a:cubicBezTo>
                    <a:pt x="103" y="104"/>
                    <a:pt x="103" y="104"/>
                    <a:pt x="104" y="104"/>
                  </a:cubicBezTo>
                  <a:cubicBezTo>
                    <a:pt x="105" y="104"/>
                    <a:pt x="105" y="104"/>
                    <a:pt x="106" y="104"/>
                  </a:cubicBezTo>
                  <a:cubicBezTo>
                    <a:pt x="107" y="104"/>
                    <a:pt x="108" y="104"/>
                    <a:pt x="108" y="104"/>
                  </a:cubicBezTo>
                  <a:cubicBezTo>
                    <a:pt x="111" y="104"/>
                    <a:pt x="113" y="104"/>
                    <a:pt x="114" y="104"/>
                  </a:cubicBezTo>
                  <a:cubicBezTo>
                    <a:pt x="114" y="103"/>
                    <a:pt x="116" y="102"/>
                    <a:pt x="116" y="100"/>
                  </a:cubicBezTo>
                  <a:cubicBezTo>
                    <a:pt x="118" y="95"/>
                    <a:pt x="118" y="95"/>
                    <a:pt x="118" y="95"/>
                  </a:cubicBezTo>
                  <a:cubicBezTo>
                    <a:pt x="121" y="99"/>
                    <a:pt x="121" y="99"/>
                    <a:pt x="121" y="99"/>
                  </a:cubicBezTo>
                  <a:cubicBezTo>
                    <a:pt x="123" y="102"/>
                    <a:pt x="124" y="104"/>
                    <a:pt x="125" y="107"/>
                  </a:cubicBezTo>
                  <a:cubicBezTo>
                    <a:pt x="125" y="107"/>
                    <a:pt x="125" y="107"/>
                    <a:pt x="125" y="107"/>
                  </a:cubicBezTo>
                  <a:cubicBezTo>
                    <a:pt x="125" y="107"/>
                    <a:pt x="125" y="107"/>
                    <a:pt x="125" y="107"/>
                  </a:cubicBezTo>
                  <a:cubicBezTo>
                    <a:pt x="129" y="99"/>
                    <a:pt x="129" y="99"/>
                    <a:pt x="129" y="99"/>
                  </a:cubicBezTo>
                  <a:cubicBezTo>
                    <a:pt x="130" y="97"/>
                    <a:pt x="131" y="94"/>
                    <a:pt x="132" y="91"/>
                  </a:cubicBezTo>
                  <a:cubicBezTo>
                    <a:pt x="132" y="91"/>
                    <a:pt x="132" y="90"/>
                    <a:pt x="132" y="89"/>
                  </a:cubicBezTo>
                  <a:cubicBezTo>
                    <a:pt x="133" y="88"/>
                    <a:pt x="133" y="88"/>
                    <a:pt x="133" y="88"/>
                  </a:cubicBezTo>
                  <a:cubicBezTo>
                    <a:pt x="133" y="87"/>
                    <a:pt x="133" y="86"/>
                    <a:pt x="133" y="85"/>
                  </a:cubicBezTo>
                  <a:cubicBezTo>
                    <a:pt x="133" y="84"/>
                    <a:pt x="133" y="84"/>
                    <a:pt x="133" y="84"/>
                  </a:cubicBezTo>
                  <a:cubicBezTo>
                    <a:pt x="133" y="84"/>
                    <a:pt x="133" y="83"/>
                    <a:pt x="133" y="82"/>
                  </a:cubicBezTo>
                  <a:cubicBezTo>
                    <a:pt x="133" y="81"/>
                    <a:pt x="133" y="81"/>
                    <a:pt x="133" y="81"/>
                  </a:cubicBezTo>
                  <a:cubicBezTo>
                    <a:pt x="133" y="81"/>
                    <a:pt x="133" y="81"/>
                    <a:pt x="133" y="81"/>
                  </a:cubicBezTo>
                  <a:cubicBezTo>
                    <a:pt x="133" y="80"/>
                    <a:pt x="133" y="80"/>
                    <a:pt x="133" y="79"/>
                  </a:cubicBezTo>
                  <a:cubicBezTo>
                    <a:pt x="133" y="79"/>
                    <a:pt x="133" y="79"/>
                    <a:pt x="133" y="79"/>
                  </a:cubicBezTo>
                  <a:cubicBezTo>
                    <a:pt x="132" y="77"/>
                    <a:pt x="132" y="76"/>
                    <a:pt x="132" y="74"/>
                  </a:cubicBezTo>
                  <a:cubicBezTo>
                    <a:pt x="132" y="73"/>
                    <a:pt x="132" y="73"/>
                    <a:pt x="132" y="73"/>
                  </a:cubicBezTo>
                  <a:cubicBezTo>
                    <a:pt x="132" y="72"/>
                    <a:pt x="133" y="71"/>
                    <a:pt x="133" y="71"/>
                  </a:cubicBezTo>
                  <a:cubicBezTo>
                    <a:pt x="133" y="71"/>
                    <a:pt x="133" y="71"/>
                    <a:pt x="133" y="70"/>
                  </a:cubicBezTo>
                  <a:cubicBezTo>
                    <a:pt x="133" y="70"/>
                    <a:pt x="133" y="70"/>
                    <a:pt x="133" y="70"/>
                  </a:cubicBezTo>
                  <a:cubicBezTo>
                    <a:pt x="134" y="68"/>
                    <a:pt x="134" y="67"/>
                    <a:pt x="134" y="67"/>
                  </a:cubicBezTo>
                  <a:cubicBezTo>
                    <a:pt x="134" y="66"/>
                    <a:pt x="129" y="64"/>
                    <a:pt x="128" y="64"/>
                  </a:cubicBezTo>
                  <a:cubicBezTo>
                    <a:pt x="125" y="63"/>
                    <a:pt x="122" y="61"/>
                    <a:pt x="120" y="59"/>
                  </a:cubicBezTo>
                  <a:cubicBezTo>
                    <a:pt x="120" y="59"/>
                    <a:pt x="119" y="58"/>
                    <a:pt x="119" y="57"/>
                  </a:cubicBezTo>
                  <a:cubicBezTo>
                    <a:pt x="119" y="57"/>
                    <a:pt x="119" y="57"/>
                    <a:pt x="119" y="56"/>
                  </a:cubicBezTo>
                  <a:cubicBezTo>
                    <a:pt x="119" y="56"/>
                    <a:pt x="119" y="56"/>
                    <a:pt x="119" y="56"/>
                  </a:cubicBezTo>
                  <a:cubicBezTo>
                    <a:pt x="119" y="53"/>
                    <a:pt x="121" y="50"/>
                    <a:pt x="122" y="47"/>
                  </a:cubicBezTo>
                  <a:cubicBezTo>
                    <a:pt x="122" y="45"/>
                    <a:pt x="122" y="45"/>
                    <a:pt x="122" y="45"/>
                  </a:cubicBezTo>
                  <a:cubicBezTo>
                    <a:pt x="123" y="43"/>
                    <a:pt x="124" y="40"/>
                    <a:pt x="126" y="38"/>
                  </a:cubicBezTo>
                  <a:cubicBezTo>
                    <a:pt x="126" y="38"/>
                    <a:pt x="127" y="37"/>
                    <a:pt x="127" y="37"/>
                  </a:cubicBezTo>
                  <a:cubicBezTo>
                    <a:pt x="129" y="36"/>
                    <a:pt x="129" y="36"/>
                    <a:pt x="129" y="36"/>
                  </a:cubicBezTo>
                  <a:cubicBezTo>
                    <a:pt x="130" y="35"/>
                    <a:pt x="131" y="34"/>
                    <a:pt x="132" y="32"/>
                  </a:cubicBezTo>
                  <a:cubicBezTo>
                    <a:pt x="132" y="31"/>
                    <a:pt x="132" y="31"/>
                    <a:pt x="132" y="31"/>
                  </a:cubicBezTo>
                  <a:cubicBezTo>
                    <a:pt x="132" y="31"/>
                    <a:pt x="132" y="30"/>
                    <a:pt x="132" y="30"/>
                  </a:cubicBezTo>
                  <a:cubicBezTo>
                    <a:pt x="128" y="22"/>
                    <a:pt x="128" y="22"/>
                    <a:pt x="128" y="22"/>
                  </a:cubicBezTo>
                  <a:cubicBezTo>
                    <a:pt x="128" y="22"/>
                    <a:pt x="128" y="22"/>
                    <a:pt x="128" y="22"/>
                  </a:cubicBezTo>
                  <a:cubicBezTo>
                    <a:pt x="127" y="22"/>
                    <a:pt x="127" y="22"/>
                    <a:pt x="126" y="22"/>
                  </a:cubicBezTo>
                  <a:cubicBezTo>
                    <a:pt x="125" y="22"/>
                    <a:pt x="125" y="22"/>
                    <a:pt x="125" y="22"/>
                  </a:cubicBezTo>
                  <a:cubicBezTo>
                    <a:pt x="124" y="21"/>
                    <a:pt x="123" y="21"/>
                    <a:pt x="122" y="21"/>
                  </a:cubicBezTo>
                  <a:cubicBezTo>
                    <a:pt x="121" y="21"/>
                    <a:pt x="120" y="21"/>
                    <a:pt x="119" y="22"/>
                  </a:cubicBezTo>
                  <a:cubicBezTo>
                    <a:pt x="116" y="22"/>
                    <a:pt x="114" y="23"/>
                    <a:pt x="111" y="24"/>
                  </a:cubicBezTo>
                  <a:cubicBezTo>
                    <a:pt x="103" y="27"/>
                    <a:pt x="103" y="27"/>
                    <a:pt x="103" y="27"/>
                  </a:cubicBezTo>
                  <a:cubicBezTo>
                    <a:pt x="103" y="23"/>
                    <a:pt x="103" y="23"/>
                    <a:pt x="103" y="23"/>
                  </a:cubicBezTo>
                  <a:cubicBezTo>
                    <a:pt x="103" y="21"/>
                    <a:pt x="102" y="20"/>
                    <a:pt x="102" y="18"/>
                  </a:cubicBezTo>
                  <a:cubicBezTo>
                    <a:pt x="102" y="14"/>
                    <a:pt x="102" y="10"/>
                    <a:pt x="103" y="6"/>
                  </a:cubicBezTo>
                  <a:cubicBezTo>
                    <a:pt x="103" y="5"/>
                    <a:pt x="103" y="5"/>
                    <a:pt x="103" y="5"/>
                  </a:cubicBezTo>
                  <a:cubicBezTo>
                    <a:pt x="104" y="4"/>
                    <a:pt x="104" y="3"/>
                    <a:pt x="104" y="3"/>
                  </a:cubicBezTo>
                  <a:cubicBezTo>
                    <a:pt x="104" y="3"/>
                    <a:pt x="104" y="3"/>
                    <a:pt x="104" y="3"/>
                  </a:cubicBezTo>
                  <a:cubicBezTo>
                    <a:pt x="104" y="1"/>
                    <a:pt x="104" y="1"/>
                    <a:pt x="104" y="1"/>
                  </a:cubicBezTo>
                  <a:cubicBezTo>
                    <a:pt x="104" y="1"/>
                    <a:pt x="104" y="1"/>
                    <a:pt x="104" y="1"/>
                  </a:cubicBezTo>
                  <a:cubicBezTo>
                    <a:pt x="104" y="1"/>
                    <a:pt x="103" y="1"/>
                    <a:pt x="103" y="1"/>
                  </a:cubicBezTo>
                  <a:cubicBezTo>
                    <a:pt x="98" y="1"/>
                    <a:pt x="94" y="1"/>
                    <a:pt x="89" y="1"/>
                  </a:cubicBezTo>
                  <a:cubicBezTo>
                    <a:pt x="86" y="1"/>
                    <a:pt x="82" y="1"/>
                    <a:pt x="79" y="0"/>
                  </a:cubicBezTo>
                  <a:cubicBezTo>
                    <a:pt x="77" y="0"/>
                    <a:pt x="77" y="0"/>
                    <a:pt x="77" y="0"/>
                  </a:cubicBezTo>
                  <a:cubicBezTo>
                    <a:pt x="76" y="0"/>
                    <a:pt x="76" y="0"/>
                    <a:pt x="76" y="0"/>
                  </a:cubicBezTo>
                  <a:cubicBezTo>
                    <a:pt x="76" y="0"/>
                    <a:pt x="76" y="0"/>
                    <a:pt x="76" y="0"/>
                  </a:cubicBezTo>
                  <a:cubicBezTo>
                    <a:pt x="75" y="0"/>
                    <a:pt x="74" y="0"/>
                    <a:pt x="73" y="0"/>
                  </a:cubicBezTo>
                  <a:cubicBezTo>
                    <a:pt x="72" y="0"/>
                    <a:pt x="72" y="0"/>
                    <a:pt x="72" y="0"/>
                  </a:cubicBezTo>
                  <a:cubicBezTo>
                    <a:pt x="71" y="0"/>
                    <a:pt x="69" y="0"/>
                    <a:pt x="68" y="0"/>
                  </a:cubicBezTo>
                  <a:cubicBezTo>
                    <a:pt x="68" y="0"/>
                    <a:pt x="68" y="0"/>
                    <a:pt x="68" y="0"/>
                  </a:cubicBezTo>
                  <a:cubicBezTo>
                    <a:pt x="68" y="0"/>
                    <a:pt x="68" y="0"/>
                    <a:pt x="68"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 name="Freeform 233">
              <a:extLst>
                <a:ext uri="{FF2B5EF4-FFF2-40B4-BE49-F238E27FC236}">
                  <a16:creationId xmlns:a16="http://schemas.microsoft.com/office/drawing/2014/main" id="{F0FA5A1F-C9C0-4EA2-9D8E-D7CF942428F9}"/>
                </a:ext>
              </a:extLst>
            </p:cNvPr>
            <p:cNvSpPr>
              <a:spLocks/>
            </p:cNvSpPr>
            <p:nvPr/>
          </p:nvSpPr>
          <p:spPr bwMode="auto">
            <a:xfrm>
              <a:off x="4181" y="2632"/>
              <a:ext cx="106" cy="64"/>
            </a:xfrm>
            <a:custGeom>
              <a:avLst/>
              <a:gdLst>
                <a:gd name="T0" fmla="*/ 11 w 45"/>
                <a:gd name="T1" fmla="*/ 0 h 27"/>
                <a:gd name="T2" fmla="*/ 8 w 45"/>
                <a:gd name="T3" fmla="*/ 10 h 27"/>
                <a:gd name="T4" fmla="*/ 8 w 45"/>
                <a:gd name="T5" fmla="*/ 10 h 27"/>
                <a:gd name="T6" fmla="*/ 18 w 45"/>
                <a:gd name="T7" fmla="*/ 14 h 27"/>
                <a:gd name="T8" fmla="*/ 17 w 45"/>
                <a:gd name="T9" fmla="*/ 16 h 27"/>
                <a:gd name="T10" fmla="*/ 7 w 45"/>
                <a:gd name="T11" fmla="*/ 12 h 27"/>
                <a:gd name="T12" fmla="*/ 8 w 45"/>
                <a:gd name="T13" fmla="*/ 14 h 27"/>
                <a:gd name="T14" fmla="*/ 9 w 45"/>
                <a:gd name="T15" fmla="*/ 14 h 27"/>
                <a:gd name="T16" fmla="*/ 7 w 45"/>
                <a:gd name="T17" fmla="*/ 15 h 27"/>
                <a:gd name="T18" fmla="*/ 3 w 45"/>
                <a:gd name="T19" fmla="*/ 20 h 27"/>
                <a:gd name="T20" fmla="*/ 2 w 45"/>
                <a:gd name="T21" fmla="*/ 25 h 27"/>
                <a:gd name="T22" fmla="*/ 3 w 45"/>
                <a:gd name="T23" fmla="*/ 25 h 27"/>
                <a:gd name="T24" fmla="*/ 3 w 45"/>
                <a:gd name="T25" fmla="*/ 25 h 27"/>
                <a:gd name="T26" fmla="*/ 4 w 45"/>
                <a:gd name="T27" fmla="*/ 25 h 27"/>
                <a:gd name="T28" fmla="*/ 4 w 45"/>
                <a:gd name="T29" fmla="*/ 25 h 27"/>
                <a:gd name="T30" fmla="*/ 5 w 45"/>
                <a:gd name="T31" fmla="*/ 27 h 27"/>
                <a:gd name="T32" fmla="*/ 6 w 45"/>
                <a:gd name="T33" fmla="*/ 27 h 27"/>
                <a:gd name="T34" fmla="*/ 7 w 45"/>
                <a:gd name="T35" fmla="*/ 26 h 27"/>
                <a:gd name="T36" fmla="*/ 7 w 45"/>
                <a:gd name="T37" fmla="*/ 25 h 27"/>
                <a:gd name="T38" fmla="*/ 10 w 45"/>
                <a:gd name="T39" fmla="*/ 25 h 27"/>
                <a:gd name="T40" fmla="*/ 11 w 45"/>
                <a:gd name="T41" fmla="*/ 25 h 27"/>
                <a:gd name="T42" fmla="*/ 12 w 45"/>
                <a:gd name="T43" fmla="*/ 25 h 27"/>
                <a:gd name="T44" fmla="*/ 13 w 45"/>
                <a:gd name="T45" fmla="*/ 25 h 27"/>
                <a:gd name="T46" fmla="*/ 16 w 45"/>
                <a:gd name="T47" fmla="*/ 25 h 27"/>
                <a:gd name="T48" fmla="*/ 19 w 45"/>
                <a:gd name="T49" fmla="*/ 25 h 27"/>
                <a:gd name="T50" fmla="*/ 20 w 45"/>
                <a:gd name="T51" fmla="*/ 25 h 27"/>
                <a:gd name="T52" fmla="*/ 23 w 45"/>
                <a:gd name="T53" fmla="*/ 25 h 27"/>
                <a:gd name="T54" fmla="*/ 38 w 45"/>
                <a:gd name="T55" fmla="*/ 25 h 27"/>
                <a:gd name="T56" fmla="*/ 39 w 45"/>
                <a:gd name="T57" fmla="*/ 25 h 27"/>
                <a:gd name="T58" fmla="*/ 40 w 45"/>
                <a:gd name="T59" fmla="*/ 25 h 27"/>
                <a:gd name="T60" fmla="*/ 45 w 45"/>
                <a:gd name="T61" fmla="*/ 25 h 27"/>
                <a:gd name="T62" fmla="*/ 45 w 45"/>
                <a:gd name="T63" fmla="*/ 25 h 27"/>
                <a:gd name="T64" fmla="*/ 45 w 45"/>
                <a:gd name="T65" fmla="*/ 15 h 27"/>
                <a:gd name="T66" fmla="*/ 45 w 45"/>
                <a:gd name="T67" fmla="*/ 15 h 27"/>
                <a:gd name="T68" fmla="*/ 44 w 45"/>
                <a:gd name="T69" fmla="*/ 11 h 27"/>
                <a:gd name="T70" fmla="*/ 44 w 45"/>
                <a:gd name="T71" fmla="*/ 7 h 27"/>
                <a:gd name="T72" fmla="*/ 44 w 45"/>
                <a:gd name="T73" fmla="*/ 4 h 27"/>
                <a:gd name="T74" fmla="*/ 39 w 45"/>
                <a:gd name="T75" fmla="*/ 4 h 27"/>
                <a:gd name="T76" fmla="*/ 37 w 45"/>
                <a:gd name="T77" fmla="*/ 3 h 27"/>
                <a:gd name="T78" fmla="*/ 25 w 45"/>
                <a:gd name="T79" fmla="*/ 3 h 27"/>
                <a:gd name="T80" fmla="*/ 11 w 45"/>
                <a:gd name="T8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 h="27">
                  <a:moveTo>
                    <a:pt x="11" y="0"/>
                  </a:moveTo>
                  <a:cubicBezTo>
                    <a:pt x="11" y="4"/>
                    <a:pt x="11" y="6"/>
                    <a:pt x="8" y="10"/>
                  </a:cubicBezTo>
                  <a:cubicBezTo>
                    <a:pt x="8" y="10"/>
                    <a:pt x="8" y="10"/>
                    <a:pt x="8" y="10"/>
                  </a:cubicBezTo>
                  <a:cubicBezTo>
                    <a:pt x="18" y="14"/>
                    <a:pt x="18" y="14"/>
                    <a:pt x="18" y="14"/>
                  </a:cubicBezTo>
                  <a:cubicBezTo>
                    <a:pt x="17" y="16"/>
                    <a:pt x="17" y="16"/>
                    <a:pt x="17" y="16"/>
                  </a:cubicBezTo>
                  <a:cubicBezTo>
                    <a:pt x="7" y="12"/>
                    <a:pt x="7" y="12"/>
                    <a:pt x="7" y="12"/>
                  </a:cubicBezTo>
                  <a:cubicBezTo>
                    <a:pt x="7" y="13"/>
                    <a:pt x="7" y="14"/>
                    <a:pt x="8" y="14"/>
                  </a:cubicBezTo>
                  <a:cubicBezTo>
                    <a:pt x="8" y="14"/>
                    <a:pt x="9" y="14"/>
                    <a:pt x="9" y="14"/>
                  </a:cubicBezTo>
                  <a:cubicBezTo>
                    <a:pt x="9" y="14"/>
                    <a:pt x="7" y="14"/>
                    <a:pt x="7" y="15"/>
                  </a:cubicBezTo>
                  <a:cubicBezTo>
                    <a:pt x="6" y="16"/>
                    <a:pt x="4" y="18"/>
                    <a:pt x="3" y="20"/>
                  </a:cubicBezTo>
                  <a:cubicBezTo>
                    <a:pt x="0" y="24"/>
                    <a:pt x="0" y="24"/>
                    <a:pt x="2" y="25"/>
                  </a:cubicBezTo>
                  <a:cubicBezTo>
                    <a:pt x="3" y="25"/>
                    <a:pt x="3" y="25"/>
                    <a:pt x="3" y="25"/>
                  </a:cubicBezTo>
                  <a:cubicBezTo>
                    <a:pt x="3" y="25"/>
                    <a:pt x="3" y="25"/>
                    <a:pt x="3" y="25"/>
                  </a:cubicBezTo>
                  <a:cubicBezTo>
                    <a:pt x="4" y="25"/>
                    <a:pt x="4" y="25"/>
                    <a:pt x="4" y="25"/>
                  </a:cubicBezTo>
                  <a:cubicBezTo>
                    <a:pt x="4" y="25"/>
                    <a:pt x="4" y="25"/>
                    <a:pt x="4" y="25"/>
                  </a:cubicBezTo>
                  <a:cubicBezTo>
                    <a:pt x="5" y="25"/>
                    <a:pt x="5" y="27"/>
                    <a:pt x="5" y="27"/>
                  </a:cubicBezTo>
                  <a:cubicBezTo>
                    <a:pt x="6" y="27"/>
                    <a:pt x="6" y="27"/>
                    <a:pt x="6" y="27"/>
                  </a:cubicBezTo>
                  <a:cubicBezTo>
                    <a:pt x="6" y="27"/>
                    <a:pt x="6" y="27"/>
                    <a:pt x="7" y="26"/>
                  </a:cubicBezTo>
                  <a:cubicBezTo>
                    <a:pt x="7" y="25"/>
                    <a:pt x="7" y="25"/>
                    <a:pt x="7" y="25"/>
                  </a:cubicBezTo>
                  <a:cubicBezTo>
                    <a:pt x="10" y="25"/>
                    <a:pt x="10" y="25"/>
                    <a:pt x="10" y="25"/>
                  </a:cubicBezTo>
                  <a:cubicBezTo>
                    <a:pt x="11" y="25"/>
                    <a:pt x="11" y="25"/>
                    <a:pt x="11" y="25"/>
                  </a:cubicBezTo>
                  <a:cubicBezTo>
                    <a:pt x="11" y="25"/>
                    <a:pt x="12" y="25"/>
                    <a:pt x="12" y="25"/>
                  </a:cubicBezTo>
                  <a:cubicBezTo>
                    <a:pt x="13" y="25"/>
                    <a:pt x="13" y="25"/>
                    <a:pt x="13" y="25"/>
                  </a:cubicBezTo>
                  <a:cubicBezTo>
                    <a:pt x="14" y="25"/>
                    <a:pt x="15" y="25"/>
                    <a:pt x="16" y="25"/>
                  </a:cubicBezTo>
                  <a:cubicBezTo>
                    <a:pt x="17" y="25"/>
                    <a:pt x="18" y="25"/>
                    <a:pt x="19" y="25"/>
                  </a:cubicBezTo>
                  <a:cubicBezTo>
                    <a:pt x="20" y="25"/>
                    <a:pt x="20" y="25"/>
                    <a:pt x="20" y="25"/>
                  </a:cubicBezTo>
                  <a:cubicBezTo>
                    <a:pt x="21" y="25"/>
                    <a:pt x="22" y="25"/>
                    <a:pt x="23" y="25"/>
                  </a:cubicBezTo>
                  <a:cubicBezTo>
                    <a:pt x="38" y="25"/>
                    <a:pt x="38" y="25"/>
                    <a:pt x="38" y="25"/>
                  </a:cubicBezTo>
                  <a:cubicBezTo>
                    <a:pt x="38" y="25"/>
                    <a:pt x="39" y="25"/>
                    <a:pt x="39" y="25"/>
                  </a:cubicBezTo>
                  <a:cubicBezTo>
                    <a:pt x="40" y="25"/>
                    <a:pt x="40" y="25"/>
                    <a:pt x="40" y="25"/>
                  </a:cubicBezTo>
                  <a:cubicBezTo>
                    <a:pt x="42" y="25"/>
                    <a:pt x="44" y="25"/>
                    <a:pt x="45" y="25"/>
                  </a:cubicBezTo>
                  <a:cubicBezTo>
                    <a:pt x="45" y="25"/>
                    <a:pt x="45" y="25"/>
                    <a:pt x="45" y="25"/>
                  </a:cubicBezTo>
                  <a:cubicBezTo>
                    <a:pt x="45" y="24"/>
                    <a:pt x="45" y="22"/>
                    <a:pt x="45" y="15"/>
                  </a:cubicBezTo>
                  <a:cubicBezTo>
                    <a:pt x="45" y="15"/>
                    <a:pt x="45" y="15"/>
                    <a:pt x="45" y="15"/>
                  </a:cubicBezTo>
                  <a:cubicBezTo>
                    <a:pt x="44" y="11"/>
                    <a:pt x="44" y="11"/>
                    <a:pt x="44" y="11"/>
                  </a:cubicBezTo>
                  <a:cubicBezTo>
                    <a:pt x="44" y="10"/>
                    <a:pt x="44" y="8"/>
                    <a:pt x="44" y="7"/>
                  </a:cubicBezTo>
                  <a:cubicBezTo>
                    <a:pt x="44" y="4"/>
                    <a:pt x="44" y="4"/>
                    <a:pt x="44" y="4"/>
                  </a:cubicBezTo>
                  <a:cubicBezTo>
                    <a:pt x="43" y="4"/>
                    <a:pt x="41" y="4"/>
                    <a:pt x="39" y="4"/>
                  </a:cubicBezTo>
                  <a:cubicBezTo>
                    <a:pt x="39" y="3"/>
                    <a:pt x="38" y="3"/>
                    <a:pt x="37" y="3"/>
                  </a:cubicBezTo>
                  <a:cubicBezTo>
                    <a:pt x="25" y="3"/>
                    <a:pt x="25" y="3"/>
                    <a:pt x="25" y="3"/>
                  </a:cubicBezTo>
                  <a:cubicBezTo>
                    <a:pt x="18" y="3"/>
                    <a:pt x="14" y="2"/>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 name="Freeform 234">
              <a:extLst>
                <a:ext uri="{FF2B5EF4-FFF2-40B4-BE49-F238E27FC236}">
                  <a16:creationId xmlns:a16="http://schemas.microsoft.com/office/drawing/2014/main" id="{C135953B-C33C-489A-AE74-2D9AD401E7E1}"/>
                </a:ext>
              </a:extLst>
            </p:cNvPr>
            <p:cNvSpPr>
              <a:spLocks/>
            </p:cNvSpPr>
            <p:nvPr/>
          </p:nvSpPr>
          <p:spPr bwMode="auto">
            <a:xfrm>
              <a:off x="4332" y="3008"/>
              <a:ext cx="45" cy="61"/>
            </a:xfrm>
            <a:custGeom>
              <a:avLst/>
              <a:gdLst>
                <a:gd name="T0" fmla="*/ 17 w 19"/>
                <a:gd name="T1" fmla="*/ 0 h 26"/>
                <a:gd name="T2" fmla="*/ 12 w 19"/>
                <a:gd name="T3" fmla="*/ 4 h 26"/>
                <a:gd name="T4" fmla="*/ 11 w 19"/>
                <a:gd name="T5" fmla="*/ 5 h 26"/>
                <a:gd name="T6" fmla="*/ 7 w 19"/>
                <a:gd name="T7" fmla="*/ 8 h 26"/>
                <a:gd name="T8" fmla="*/ 6 w 19"/>
                <a:gd name="T9" fmla="*/ 9 h 26"/>
                <a:gd name="T10" fmla="*/ 3 w 19"/>
                <a:gd name="T11" fmla="*/ 11 h 26"/>
                <a:gd name="T12" fmla="*/ 1 w 19"/>
                <a:gd name="T13" fmla="*/ 13 h 26"/>
                <a:gd name="T14" fmla="*/ 0 w 19"/>
                <a:gd name="T15" fmla="*/ 13 h 26"/>
                <a:gd name="T16" fmla="*/ 2 w 19"/>
                <a:gd name="T17" fmla="*/ 17 h 26"/>
                <a:gd name="T18" fmla="*/ 3 w 19"/>
                <a:gd name="T19" fmla="*/ 17 h 26"/>
                <a:gd name="T20" fmla="*/ 3 w 19"/>
                <a:gd name="T21" fmla="*/ 26 h 26"/>
                <a:gd name="T22" fmla="*/ 4 w 19"/>
                <a:gd name="T23" fmla="*/ 26 h 26"/>
                <a:gd name="T24" fmla="*/ 8 w 19"/>
                <a:gd name="T25" fmla="*/ 25 h 26"/>
                <a:gd name="T26" fmla="*/ 7 w 19"/>
                <a:gd name="T27" fmla="*/ 17 h 26"/>
                <a:gd name="T28" fmla="*/ 7 w 19"/>
                <a:gd name="T29" fmla="*/ 14 h 26"/>
                <a:gd name="T30" fmla="*/ 7 w 19"/>
                <a:gd name="T31" fmla="*/ 13 h 26"/>
                <a:gd name="T32" fmla="*/ 7 w 19"/>
                <a:gd name="T33" fmla="*/ 13 h 26"/>
                <a:gd name="T34" fmla="*/ 7 w 19"/>
                <a:gd name="T35" fmla="*/ 12 h 26"/>
                <a:gd name="T36" fmla="*/ 8 w 19"/>
                <a:gd name="T37" fmla="*/ 10 h 26"/>
                <a:gd name="T38" fmla="*/ 10 w 19"/>
                <a:gd name="T39" fmla="*/ 8 h 26"/>
                <a:gd name="T40" fmla="*/ 15 w 19"/>
                <a:gd name="T41" fmla="*/ 4 h 26"/>
                <a:gd name="T42" fmla="*/ 15 w 19"/>
                <a:gd name="T43" fmla="*/ 4 h 26"/>
                <a:gd name="T44" fmla="*/ 19 w 19"/>
                <a:gd name="T45" fmla="*/ 1 h 26"/>
                <a:gd name="T46" fmla="*/ 18 w 19"/>
                <a:gd name="T47" fmla="*/ 0 h 26"/>
                <a:gd name="T48" fmla="*/ 17 w 19"/>
                <a:gd name="T4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7" y="0"/>
                  </a:moveTo>
                  <a:cubicBezTo>
                    <a:pt x="15" y="2"/>
                    <a:pt x="13" y="3"/>
                    <a:pt x="12" y="4"/>
                  </a:cubicBezTo>
                  <a:cubicBezTo>
                    <a:pt x="11" y="5"/>
                    <a:pt x="11" y="5"/>
                    <a:pt x="11" y="5"/>
                  </a:cubicBezTo>
                  <a:cubicBezTo>
                    <a:pt x="10" y="6"/>
                    <a:pt x="8" y="7"/>
                    <a:pt x="7" y="8"/>
                  </a:cubicBezTo>
                  <a:cubicBezTo>
                    <a:pt x="6" y="9"/>
                    <a:pt x="6" y="9"/>
                    <a:pt x="6" y="9"/>
                  </a:cubicBezTo>
                  <a:cubicBezTo>
                    <a:pt x="5" y="9"/>
                    <a:pt x="4" y="10"/>
                    <a:pt x="3" y="11"/>
                  </a:cubicBezTo>
                  <a:cubicBezTo>
                    <a:pt x="1" y="13"/>
                    <a:pt x="1" y="13"/>
                    <a:pt x="1" y="13"/>
                  </a:cubicBezTo>
                  <a:cubicBezTo>
                    <a:pt x="0" y="13"/>
                    <a:pt x="0" y="13"/>
                    <a:pt x="0" y="13"/>
                  </a:cubicBezTo>
                  <a:cubicBezTo>
                    <a:pt x="1" y="15"/>
                    <a:pt x="2" y="16"/>
                    <a:pt x="2" y="17"/>
                  </a:cubicBezTo>
                  <a:cubicBezTo>
                    <a:pt x="3" y="17"/>
                    <a:pt x="3" y="17"/>
                    <a:pt x="3" y="17"/>
                  </a:cubicBezTo>
                  <a:cubicBezTo>
                    <a:pt x="3" y="20"/>
                    <a:pt x="3" y="23"/>
                    <a:pt x="3" y="26"/>
                  </a:cubicBezTo>
                  <a:cubicBezTo>
                    <a:pt x="4" y="26"/>
                    <a:pt x="4" y="26"/>
                    <a:pt x="4" y="26"/>
                  </a:cubicBezTo>
                  <a:cubicBezTo>
                    <a:pt x="6" y="25"/>
                    <a:pt x="7" y="25"/>
                    <a:pt x="8" y="25"/>
                  </a:cubicBezTo>
                  <a:cubicBezTo>
                    <a:pt x="8" y="24"/>
                    <a:pt x="8" y="21"/>
                    <a:pt x="7" y="17"/>
                  </a:cubicBezTo>
                  <a:cubicBezTo>
                    <a:pt x="7" y="15"/>
                    <a:pt x="7" y="14"/>
                    <a:pt x="7" y="14"/>
                  </a:cubicBezTo>
                  <a:cubicBezTo>
                    <a:pt x="7" y="13"/>
                    <a:pt x="7" y="13"/>
                    <a:pt x="7" y="13"/>
                  </a:cubicBezTo>
                  <a:cubicBezTo>
                    <a:pt x="7" y="13"/>
                    <a:pt x="7" y="13"/>
                    <a:pt x="7" y="13"/>
                  </a:cubicBezTo>
                  <a:cubicBezTo>
                    <a:pt x="7" y="12"/>
                    <a:pt x="7" y="12"/>
                    <a:pt x="7" y="12"/>
                  </a:cubicBezTo>
                  <a:cubicBezTo>
                    <a:pt x="7" y="11"/>
                    <a:pt x="7" y="11"/>
                    <a:pt x="8" y="10"/>
                  </a:cubicBezTo>
                  <a:cubicBezTo>
                    <a:pt x="8" y="9"/>
                    <a:pt x="9" y="8"/>
                    <a:pt x="10" y="8"/>
                  </a:cubicBezTo>
                  <a:cubicBezTo>
                    <a:pt x="11" y="6"/>
                    <a:pt x="13" y="5"/>
                    <a:pt x="15" y="4"/>
                  </a:cubicBezTo>
                  <a:cubicBezTo>
                    <a:pt x="15" y="4"/>
                    <a:pt x="15" y="4"/>
                    <a:pt x="15" y="4"/>
                  </a:cubicBezTo>
                  <a:cubicBezTo>
                    <a:pt x="16" y="3"/>
                    <a:pt x="18" y="2"/>
                    <a:pt x="19" y="1"/>
                  </a:cubicBezTo>
                  <a:cubicBezTo>
                    <a:pt x="18" y="0"/>
                    <a:pt x="18" y="0"/>
                    <a:pt x="18" y="0"/>
                  </a:cubicBezTo>
                  <a:cubicBezTo>
                    <a:pt x="17" y="0"/>
                    <a:pt x="17"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 name="Freeform 235">
              <a:extLst>
                <a:ext uri="{FF2B5EF4-FFF2-40B4-BE49-F238E27FC236}">
                  <a16:creationId xmlns:a16="http://schemas.microsoft.com/office/drawing/2014/main" id="{39D267CB-F77F-499F-ADCF-E36B4855EC44}"/>
                </a:ext>
              </a:extLst>
            </p:cNvPr>
            <p:cNvSpPr>
              <a:spLocks/>
            </p:cNvSpPr>
            <p:nvPr/>
          </p:nvSpPr>
          <p:spPr bwMode="auto">
            <a:xfrm>
              <a:off x="3713" y="2070"/>
              <a:ext cx="156" cy="335"/>
            </a:xfrm>
            <a:custGeom>
              <a:avLst/>
              <a:gdLst>
                <a:gd name="T0" fmla="*/ 44 w 66"/>
                <a:gd name="T1" fmla="*/ 0 h 142"/>
                <a:gd name="T2" fmla="*/ 39 w 66"/>
                <a:gd name="T3" fmla="*/ 2 h 142"/>
                <a:gd name="T4" fmla="*/ 37 w 66"/>
                <a:gd name="T5" fmla="*/ 2 h 142"/>
                <a:gd name="T6" fmla="*/ 38 w 66"/>
                <a:gd name="T7" fmla="*/ 7 h 142"/>
                <a:gd name="T8" fmla="*/ 38 w 66"/>
                <a:gd name="T9" fmla="*/ 10 h 142"/>
                <a:gd name="T10" fmla="*/ 38 w 66"/>
                <a:gd name="T11" fmla="*/ 13 h 142"/>
                <a:gd name="T12" fmla="*/ 32 w 66"/>
                <a:gd name="T13" fmla="*/ 18 h 142"/>
                <a:gd name="T14" fmla="*/ 29 w 66"/>
                <a:gd name="T15" fmla="*/ 20 h 142"/>
                <a:gd name="T16" fmla="*/ 28 w 66"/>
                <a:gd name="T17" fmla="*/ 21 h 142"/>
                <a:gd name="T18" fmla="*/ 25 w 66"/>
                <a:gd name="T19" fmla="*/ 22 h 142"/>
                <a:gd name="T20" fmla="*/ 23 w 66"/>
                <a:gd name="T21" fmla="*/ 22 h 142"/>
                <a:gd name="T22" fmla="*/ 21 w 66"/>
                <a:gd name="T23" fmla="*/ 22 h 142"/>
                <a:gd name="T24" fmla="*/ 18 w 66"/>
                <a:gd name="T25" fmla="*/ 22 h 142"/>
                <a:gd name="T26" fmla="*/ 14 w 66"/>
                <a:gd name="T27" fmla="*/ 22 h 142"/>
                <a:gd name="T28" fmla="*/ 10 w 66"/>
                <a:gd name="T29" fmla="*/ 24 h 142"/>
                <a:gd name="T30" fmla="*/ 7 w 66"/>
                <a:gd name="T31" fmla="*/ 27 h 142"/>
                <a:gd name="T32" fmla="*/ 5 w 66"/>
                <a:gd name="T33" fmla="*/ 31 h 142"/>
                <a:gd name="T34" fmla="*/ 1 w 66"/>
                <a:gd name="T35" fmla="*/ 34 h 142"/>
                <a:gd name="T36" fmla="*/ 0 w 66"/>
                <a:gd name="T37" fmla="*/ 39 h 142"/>
                <a:gd name="T38" fmla="*/ 2 w 66"/>
                <a:gd name="T39" fmla="*/ 45 h 142"/>
                <a:gd name="T40" fmla="*/ 8 w 66"/>
                <a:gd name="T41" fmla="*/ 49 h 142"/>
                <a:gd name="T42" fmla="*/ 11 w 66"/>
                <a:gd name="T43" fmla="*/ 51 h 142"/>
                <a:gd name="T44" fmla="*/ 14 w 66"/>
                <a:gd name="T45" fmla="*/ 62 h 142"/>
                <a:gd name="T46" fmla="*/ 14 w 66"/>
                <a:gd name="T47" fmla="*/ 66 h 142"/>
                <a:gd name="T48" fmla="*/ 14 w 66"/>
                <a:gd name="T49" fmla="*/ 68 h 142"/>
                <a:gd name="T50" fmla="*/ 16 w 66"/>
                <a:gd name="T51" fmla="*/ 70 h 142"/>
                <a:gd name="T52" fmla="*/ 18 w 66"/>
                <a:gd name="T53" fmla="*/ 73 h 142"/>
                <a:gd name="T54" fmla="*/ 19 w 66"/>
                <a:gd name="T55" fmla="*/ 88 h 142"/>
                <a:gd name="T56" fmla="*/ 20 w 66"/>
                <a:gd name="T57" fmla="*/ 97 h 142"/>
                <a:gd name="T58" fmla="*/ 19 w 66"/>
                <a:gd name="T59" fmla="*/ 120 h 142"/>
                <a:gd name="T60" fmla="*/ 19 w 66"/>
                <a:gd name="T61" fmla="*/ 126 h 142"/>
                <a:gd name="T62" fmla="*/ 19 w 66"/>
                <a:gd name="T63" fmla="*/ 130 h 142"/>
                <a:gd name="T64" fmla="*/ 19 w 66"/>
                <a:gd name="T65" fmla="*/ 131 h 142"/>
                <a:gd name="T66" fmla="*/ 19 w 66"/>
                <a:gd name="T67" fmla="*/ 132 h 142"/>
                <a:gd name="T68" fmla="*/ 27 w 66"/>
                <a:gd name="T69" fmla="*/ 134 h 142"/>
                <a:gd name="T70" fmla="*/ 23 w 66"/>
                <a:gd name="T71" fmla="*/ 138 h 142"/>
                <a:gd name="T72" fmla="*/ 31 w 66"/>
                <a:gd name="T73" fmla="*/ 141 h 142"/>
                <a:gd name="T74" fmla="*/ 40 w 66"/>
                <a:gd name="T75" fmla="*/ 140 h 142"/>
                <a:gd name="T76" fmla="*/ 40 w 66"/>
                <a:gd name="T77" fmla="*/ 128 h 142"/>
                <a:gd name="T78" fmla="*/ 40 w 66"/>
                <a:gd name="T79" fmla="*/ 116 h 142"/>
                <a:gd name="T80" fmla="*/ 39 w 66"/>
                <a:gd name="T81" fmla="*/ 105 h 142"/>
                <a:gd name="T82" fmla="*/ 39 w 66"/>
                <a:gd name="T83" fmla="*/ 95 h 142"/>
                <a:gd name="T84" fmla="*/ 40 w 66"/>
                <a:gd name="T85" fmla="*/ 83 h 142"/>
                <a:gd name="T86" fmla="*/ 39 w 66"/>
                <a:gd name="T87" fmla="*/ 78 h 142"/>
                <a:gd name="T88" fmla="*/ 42 w 66"/>
                <a:gd name="T89" fmla="*/ 73 h 142"/>
                <a:gd name="T90" fmla="*/ 47 w 66"/>
                <a:gd name="T91" fmla="*/ 73 h 142"/>
                <a:gd name="T92" fmla="*/ 49 w 66"/>
                <a:gd name="T93" fmla="*/ 73 h 142"/>
                <a:gd name="T94" fmla="*/ 49 w 66"/>
                <a:gd name="T95" fmla="*/ 71 h 142"/>
                <a:gd name="T96" fmla="*/ 54 w 66"/>
                <a:gd name="T97" fmla="*/ 59 h 142"/>
                <a:gd name="T98" fmla="*/ 60 w 66"/>
                <a:gd name="T99" fmla="*/ 51 h 142"/>
                <a:gd name="T100" fmla="*/ 60 w 66"/>
                <a:gd name="T101" fmla="*/ 46 h 142"/>
                <a:gd name="T102" fmla="*/ 61 w 66"/>
                <a:gd name="T103" fmla="*/ 43 h 142"/>
                <a:gd name="T104" fmla="*/ 64 w 66"/>
                <a:gd name="T105" fmla="*/ 40 h 142"/>
                <a:gd name="T106" fmla="*/ 66 w 66"/>
                <a:gd name="T107" fmla="*/ 37 h 142"/>
                <a:gd name="T108" fmla="*/ 65 w 66"/>
                <a:gd name="T109" fmla="*/ 35 h 142"/>
                <a:gd name="T110" fmla="*/ 64 w 66"/>
                <a:gd name="T111" fmla="*/ 30 h 142"/>
                <a:gd name="T112" fmla="*/ 62 w 66"/>
                <a:gd name="T113" fmla="*/ 27 h 142"/>
                <a:gd name="T114" fmla="*/ 59 w 66"/>
                <a:gd name="T115" fmla="*/ 16 h 142"/>
                <a:gd name="T116" fmla="*/ 57 w 66"/>
                <a:gd name="T117" fmla="*/ 13 h 142"/>
                <a:gd name="T118" fmla="*/ 45 w 66"/>
                <a:gd name="T11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 h="142">
                  <a:moveTo>
                    <a:pt x="44" y="0"/>
                  </a:moveTo>
                  <a:cubicBezTo>
                    <a:pt x="44" y="0"/>
                    <a:pt x="44" y="0"/>
                    <a:pt x="44" y="0"/>
                  </a:cubicBezTo>
                  <a:cubicBezTo>
                    <a:pt x="43" y="1"/>
                    <a:pt x="41" y="1"/>
                    <a:pt x="40" y="1"/>
                  </a:cubicBezTo>
                  <a:cubicBezTo>
                    <a:pt x="39" y="2"/>
                    <a:pt x="39" y="2"/>
                    <a:pt x="39" y="2"/>
                  </a:cubicBezTo>
                  <a:cubicBezTo>
                    <a:pt x="38" y="2"/>
                    <a:pt x="38" y="2"/>
                    <a:pt x="37" y="2"/>
                  </a:cubicBezTo>
                  <a:cubicBezTo>
                    <a:pt x="37" y="2"/>
                    <a:pt x="37" y="2"/>
                    <a:pt x="37" y="2"/>
                  </a:cubicBezTo>
                  <a:cubicBezTo>
                    <a:pt x="37" y="3"/>
                    <a:pt x="37" y="5"/>
                    <a:pt x="37" y="6"/>
                  </a:cubicBezTo>
                  <a:cubicBezTo>
                    <a:pt x="38" y="7"/>
                    <a:pt x="38" y="7"/>
                    <a:pt x="38" y="7"/>
                  </a:cubicBezTo>
                  <a:cubicBezTo>
                    <a:pt x="38" y="8"/>
                    <a:pt x="38" y="8"/>
                    <a:pt x="38" y="8"/>
                  </a:cubicBezTo>
                  <a:cubicBezTo>
                    <a:pt x="38" y="9"/>
                    <a:pt x="38" y="9"/>
                    <a:pt x="38" y="10"/>
                  </a:cubicBezTo>
                  <a:cubicBezTo>
                    <a:pt x="38" y="10"/>
                    <a:pt x="38" y="10"/>
                    <a:pt x="38" y="10"/>
                  </a:cubicBezTo>
                  <a:cubicBezTo>
                    <a:pt x="38" y="13"/>
                    <a:pt x="38" y="13"/>
                    <a:pt x="38" y="13"/>
                  </a:cubicBezTo>
                  <a:cubicBezTo>
                    <a:pt x="37" y="12"/>
                    <a:pt x="37" y="12"/>
                    <a:pt x="37" y="12"/>
                  </a:cubicBezTo>
                  <a:cubicBezTo>
                    <a:pt x="36" y="15"/>
                    <a:pt x="33" y="18"/>
                    <a:pt x="32" y="18"/>
                  </a:cubicBezTo>
                  <a:cubicBezTo>
                    <a:pt x="31" y="19"/>
                    <a:pt x="31" y="19"/>
                    <a:pt x="30" y="20"/>
                  </a:cubicBezTo>
                  <a:cubicBezTo>
                    <a:pt x="29" y="20"/>
                    <a:pt x="29" y="20"/>
                    <a:pt x="29" y="20"/>
                  </a:cubicBezTo>
                  <a:cubicBezTo>
                    <a:pt x="29" y="21"/>
                    <a:pt x="29" y="21"/>
                    <a:pt x="29" y="21"/>
                  </a:cubicBezTo>
                  <a:cubicBezTo>
                    <a:pt x="29" y="21"/>
                    <a:pt x="28" y="21"/>
                    <a:pt x="28" y="21"/>
                  </a:cubicBezTo>
                  <a:cubicBezTo>
                    <a:pt x="27" y="22"/>
                    <a:pt x="27" y="22"/>
                    <a:pt x="26" y="22"/>
                  </a:cubicBezTo>
                  <a:cubicBezTo>
                    <a:pt x="26" y="22"/>
                    <a:pt x="25" y="22"/>
                    <a:pt x="25" y="22"/>
                  </a:cubicBezTo>
                  <a:cubicBezTo>
                    <a:pt x="25" y="22"/>
                    <a:pt x="24" y="22"/>
                    <a:pt x="24" y="22"/>
                  </a:cubicBezTo>
                  <a:cubicBezTo>
                    <a:pt x="23" y="22"/>
                    <a:pt x="23" y="22"/>
                    <a:pt x="23" y="22"/>
                  </a:cubicBezTo>
                  <a:cubicBezTo>
                    <a:pt x="23" y="22"/>
                    <a:pt x="22" y="22"/>
                    <a:pt x="22" y="22"/>
                  </a:cubicBezTo>
                  <a:cubicBezTo>
                    <a:pt x="22" y="22"/>
                    <a:pt x="22" y="22"/>
                    <a:pt x="21" y="22"/>
                  </a:cubicBezTo>
                  <a:cubicBezTo>
                    <a:pt x="20" y="22"/>
                    <a:pt x="19" y="22"/>
                    <a:pt x="18" y="22"/>
                  </a:cubicBezTo>
                  <a:cubicBezTo>
                    <a:pt x="18" y="22"/>
                    <a:pt x="18" y="22"/>
                    <a:pt x="18" y="22"/>
                  </a:cubicBezTo>
                  <a:cubicBezTo>
                    <a:pt x="17" y="22"/>
                    <a:pt x="16" y="22"/>
                    <a:pt x="15" y="22"/>
                  </a:cubicBezTo>
                  <a:cubicBezTo>
                    <a:pt x="14" y="22"/>
                    <a:pt x="14" y="22"/>
                    <a:pt x="14" y="22"/>
                  </a:cubicBezTo>
                  <a:cubicBezTo>
                    <a:pt x="13" y="22"/>
                    <a:pt x="13" y="22"/>
                    <a:pt x="13" y="22"/>
                  </a:cubicBezTo>
                  <a:cubicBezTo>
                    <a:pt x="12" y="22"/>
                    <a:pt x="11" y="23"/>
                    <a:pt x="10" y="24"/>
                  </a:cubicBezTo>
                  <a:cubicBezTo>
                    <a:pt x="10" y="24"/>
                    <a:pt x="10" y="24"/>
                    <a:pt x="10" y="24"/>
                  </a:cubicBezTo>
                  <a:cubicBezTo>
                    <a:pt x="9" y="25"/>
                    <a:pt x="7" y="26"/>
                    <a:pt x="7" y="27"/>
                  </a:cubicBezTo>
                  <a:cubicBezTo>
                    <a:pt x="10" y="30"/>
                    <a:pt x="10" y="30"/>
                    <a:pt x="10" y="30"/>
                  </a:cubicBezTo>
                  <a:cubicBezTo>
                    <a:pt x="5" y="31"/>
                    <a:pt x="5" y="31"/>
                    <a:pt x="5" y="31"/>
                  </a:cubicBezTo>
                  <a:cubicBezTo>
                    <a:pt x="4" y="32"/>
                    <a:pt x="3" y="32"/>
                    <a:pt x="2" y="32"/>
                  </a:cubicBezTo>
                  <a:cubicBezTo>
                    <a:pt x="1" y="34"/>
                    <a:pt x="1" y="34"/>
                    <a:pt x="1" y="34"/>
                  </a:cubicBezTo>
                  <a:cubicBezTo>
                    <a:pt x="1" y="34"/>
                    <a:pt x="1" y="34"/>
                    <a:pt x="1" y="34"/>
                  </a:cubicBezTo>
                  <a:cubicBezTo>
                    <a:pt x="1" y="36"/>
                    <a:pt x="0" y="37"/>
                    <a:pt x="0" y="39"/>
                  </a:cubicBezTo>
                  <a:cubicBezTo>
                    <a:pt x="0" y="39"/>
                    <a:pt x="0" y="40"/>
                    <a:pt x="0" y="41"/>
                  </a:cubicBezTo>
                  <a:cubicBezTo>
                    <a:pt x="0" y="42"/>
                    <a:pt x="1" y="44"/>
                    <a:pt x="2" y="45"/>
                  </a:cubicBezTo>
                  <a:cubicBezTo>
                    <a:pt x="3" y="46"/>
                    <a:pt x="5" y="47"/>
                    <a:pt x="7" y="48"/>
                  </a:cubicBezTo>
                  <a:cubicBezTo>
                    <a:pt x="8" y="49"/>
                    <a:pt x="8" y="49"/>
                    <a:pt x="8" y="49"/>
                  </a:cubicBezTo>
                  <a:cubicBezTo>
                    <a:pt x="9" y="49"/>
                    <a:pt x="10" y="50"/>
                    <a:pt x="10" y="50"/>
                  </a:cubicBezTo>
                  <a:cubicBezTo>
                    <a:pt x="11" y="51"/>
                    <a:pt x="11" y="51"/>
                    <a:pt x="11" y="51"/>
                  </a:cubicBezTo>
                  <a:cubicBezTo>
                    <a:pt x="11" y="51"/>
                    <a:pt x="11" y="51"/>
                    <a:pt x="11" y="51"/>
                  </a:cubicBezTo>
                  <a:cubicBezTo>
                    <a:pt x="14" y="52"/>
                    <a:pt x="14" y="56"/>
                    <a:pt x="14" y="62"/>
                  </a:cubicBezTo>
                  <a:cubicBezTo>
                    <a:pt x="14" y="63"/>
                    <a:pt x="14" y="64"/>
                    <a:pt x="14" y="65"/>
                  </a:cubicBezTo>
                  <a:cubicBezTo>
                    <a:pt x="14" y="66"/>
                    <a:pt x="14" y="66"/>
                    <a:pt x="14" y="66"/>
                  </a:cubicBezTo>
                  <a:cubicBezTo>
                    <a:pt x="14" y="66"/>
                    <a:pt x="14" y="67"/>
                    <a:pt x="14" y="67"/>
                  </a:cubicBezTo>
                  <a:cubicBezTo>
                    <a:pt x="14" y="68"/>
                    <a:pt x="14" y="68"/>
                    <a:pt x="14" y="68"/>
                  </a:cubicBezTo>
                  <a:cubicBezTo>
                    <a:pt x="15" y="69"/>
                    <a:pt x="15" y="69"/>
                    <a:pt x="15" y="69"/>
                  </a:cubicBezTo>
                  <a:cubicBezTo>
                    <a:pt x="15" y="69"/>
                    <a:pt x="15" y="70"/>
                    <a:pt x="16" y="70"/>
                  </a:cubicBezTo>
                  <a:cubicBezTo>
                    <a:pt x="16" y="70"/>
                    <a:pt x="16" y="70"/>
                    <a:pt x="16" y="70"/>
                  </a:cubicBezTo>
                  <a:cubicBezTo>
                    <a:pt x="17" y="71"/>
                    <a:pt x="17" y="72"/>
                    <a:pt x="18" y="73"/>
                  </a:cubicBezTo>
                  <a:cubicBezTo>
                    <a:pt x="20" y="76"/>
                    <a:pt x="20" y="81"/>
                    <a:pt x="20" y="86"/>
                  </a:cubicBezTo>
                  <a:cubicBezTo>
                    <a:pt x="19" y="88"/>
                    <a:pt x="19" y="88"/>
                    <a:pt x="19" y="88"/>
                  </a:cubicBezTo>
                  <a:cubicBezTo>
                    <a:pt x="19" y="90"/>
                    <a:pt x="19" y="93"/>
                    <a:pt x="20" y="95"/>
                  </a:cubicBezTo>
                  <a:cubicBezTo>
                    <a:pt x="20" y="97"/>
                    <a:pt x="20" y="97"/>
                    <a:pt x="20" y="97"/>
                  </a:cubicBezTo>
                  <a:cubicBezTo>
                    <a:pt x="20" y="102"/>
                    <a:pt x="21" y="108"/>
                    <a:pt x="20" y="113"/>
                  </a:cubicBezTo>
                  <a:cubicBezTo>
                    <a:pt x="20" y="115"/>
                    <a:pt x="20" y="117"/>
                    <a:pt x="19" y="120"/>
                  </a:cubicBezTo>
                  <a:cubicBezTo>
                    <a:pt x="19" y="123"/>
                    <a:pt x="19" y="123"/>
                    <a:pt x="19" y="123"/>
                  </a:cubicBezTo>
                  <a:cubicBezTo>
                    <a:pt x="19" y="124"/>
                    <a:pt x="19" y="125"/>
                    <a:pt x="19" y="126"/>
                  </a:cubicBezTo>
                  <a:cubicBezTo>
                    <a:pt x="19" y="127"/>
                    <a:pt x="19" y="128"/>
                    <a:pt x="19" y="129"/>
                  </a:cubicBezTo>
                  <a:cubicBezTo>
                    <a:pt x="19" y="129"/>
                    <a:pt x="19" y="130"/>
                    <a:pt x="19" y="130"/>
                  </a:cubicBezTo>
                  <a:cubicBezTo>
                    <a:pt x="19" y="131"/>
                    <a:pt x="19" y="131"/>
                    <a:pt x="19" y="131"/>
                  </a:cubicBezTo>
                  <a:cubicBezTo>
                    <a:pt x="19" y="131"/>
                    <a:pt x="19" y="131"/>
                    <a:pt x="19" y="131"/>
                  </a:cubicBezTo>
                  <a:cubicBezTo>
                    <a:pt x="19" y="132"/>
                    <a:pt x="19" y="132"/>
                    <a:pt x="19" y="132"/>
                  </a:cubicBezTo>
                  <a:cubicBezTo>
                    <a:pt x="19" y="132"/>
                    <a:pt x="19" y="132"/>
                    <a:pt x="19" y="132"/>
                  </a:cubicBezTo>
                  <a:cubicBezTo>
                    <a:pt x="20" y="133"/>
                    <a:pt x="21" y="135"/>
                    <a:pt x="22" y="136"/>
                  </a:cubicBezTo>
                  <a:cubicBezTo>
                    <a:pt x="27" y="134"/>
                    <a:pt x="27" y="134"/>
                    <a:pt x="27" y="134"/>
                  </a:cubicBezTo>
                  <a:cubicBezTo>
                    <a:pt x="23" y="138"/>
                    <a:pt x="23" y="138"/>
                    <a:pt x="23" y="138"/>
                  </a:cubicBezTo>
                  <a:cubicBezTo>
                    <a:pt x="23" y="138"/>
                    <a:pt x="23" y="138"/>
                    <a:pt x="23" y="138"/>
                  </a:cubicBezTo>
                  <a:cubicBezTo>
                    <a:pt x="23" y="140"/>
                    <a:pt x="23" y="141"/>
                    <a:pt x="23" y="142"/>
                  </a:cubicBezTo>
                  <a:cubicBezTo>
                    <a:pt x="26" y="142"/>
                    <a:pt x="28" y="141"/>
                    <a:pt x="31" y="141"/>
                  </a:cubicBezTo>
                  <a:cubicBezTo>
                    <a:pt x="32" y="140"/>
                    <a:pt x="37" y="141"/>
                    <a:pt x="40" y="140"/>
                  </a:cubicBezTo>
                  <a:cubicBezTo>
                    <a:pt x="40" y="140"/>
                    <a:pt x="40" y="140"/>
                    <a:pt x="40" y="140"/>
                  </a:cubicBezTo>
                  <a:cubicBezTo>
                    <a:pt x="39" y="138"/>
                    <a:pt x="40" y="134"/>
                    <a:pt x="40" y="132"/>
                  </a:cubicBezTo>
                  <a:cubicBezTo>
                    <a:pt x="41" y="131"/>
                    <a:pt x="40" y="130"/>
                    <a:pt x="40" y="128"/>
                  </a:cubicBezTo>
                  <a:cubicBezTo>
                    <a:pt x="40" y="127"/>
                    <a:pt x="40" y="125"/>
                    <a:pt x="40" y="123"/>
                  </a:cubicBezTo>
                  <a:cubicBezTo>
                    <a:pt x="40" y="121"/>
                    <a:pt x="40" y="119"/>
                    <a:pt x="40" y="116"/>
                  </a:cubicBezTo>
                  <a:cubicBezTo>
                    <a:pt x="40" y="111"/>
                    <a:pt x="40" y="111"/>
                    <a:pt x="40" y="111"/>
                  </a:cubicBezTo>
                  <a:cubicBezTo>
                    <a:pt x="39" y="109"/>
                    <a:pt x="39" y="107"/>
                    <a:pt x="39" y="105"/>
                  </a:cubicBezTo>
                  <a:cubicBezTo>
                    <a:pt x="38" y="103"/>
                    <a:pt x="38" y="100"/>
                    <a:pt x="39" y="96"/>
                  </a:cubicBezTo>
                  <a:cubicBezTo>
                    <a:pt x="39" y="95"/>
                    <a:pt x="39" y="95"/>
                    <a:pt x="39" y="95"/>
                  </a:cubicBezTo>
                  <a:cubicBezTo>
                    <a:pt x="39" y="95"/>
                    <a:pt x="39" y="94"/>
                    <a:pt x="39" y="94"/>
                  </a:cubicBezTo>
                  <a:cubicBezTo>
                    <a:pt x="39" y="90"/>
                    <a:pt x="40" y="86"/>
                    <a:pt x="40" y="83"/>
                  </a:cubicBezTo>
                  <a:cubicBezTo>
                    <a:pt x="40" y="81"/>
                    <a:pt x="40" y="79"/>
                    <a:pt x="40" y="78"/>
                  </a:cubicBezTo>
                  <a:cubicBezTo>
                    <a:pt x="39" y="78"/>
                    <a:pt x="39" y="78"/>
                    <a:pt x="39" y="78"/>
                  </a:cubicBezTo>
                  <a:cubicBezTo>
                    <a:pt x="40" y="78"/>
                    <a:pt x="40" y="78"/>
                    <a:pt x="40" y="78"/>
                  </a:cubicBezTo>
                  <a:cubicBezTo>
                    <a:pt x="40" y="76"/>
                    <a:pt x="41" y="74"/>
                    <a:pt x="42" y="73"/>
                  </a:cubicBezTo>
                  <a:cubicBezTo>
                    <a:pt x="43" y="73"/>
                    <a:pt x="44" y="72"/>
                    <a:pt x="45" y="72"/>
                  </a:cubicBezTo>
                  <a:cubicBezTo>
                    <a:pt x="46" y="72"/>
                    <a:pt x="46" y="72"/>
                    <a:pt x="47" y="73"/>
                  </a:cubicBezTo>
                  <a:cubicBezTo>
                    <a:pt x="47" y="73"/>
                    <a:pt x="48" y="73"/>
                    <a:pt x="48" y="73"/>
                  </a:cubicBezTo>
                  <a:cubicBezTo>
                    <a:pt x="48" y="73"/>
                    <a:pt x="49" y="73"/>
                    <a:pt x="49" y="73"/>
                  </a:cubicBezTo>
                  <a:cubicBezTo>
                    <a:pt x="49" y="73"/>
                    <a:pt x="49" y="73"/>
                    <a:pt x="49" y="73"/>
                  </a:cubicBezTo>
                  <a:cubicBezTo>
                    <a:pt x="49" y="73"/>
                    <a:pt x="49" y="72"/>
                    <a:pt x="49" y="71"/>
                  </a:cubicBezTo>
                  <a:cubicBezTo>
                    <a:pt x="50" y="69"/>
                    <a:pt x="51" y="67"/>
                    <a:pt x="52" y="64"/>
                  </a:cubicBezTo>
                  <a:cubicBezTo>
                    <a:pt x="52" y="63"/>
                    <a:pt x="53" y="61"/>
                    <a:pt x="54" y="59"/>
                  </a:cubicBezTo>
                  <a:cubicBezTo>
                    <a:pt x="60" y="52"/>
                    <a:pt x="60" y="52"/>
                    <a:pt x="60" y="52"/>
                  </a:cubicBezTo>
                  <a:cubicBezTo>
                    <a:pt x="60" y="51"/>
                    <a:pt x="60" y="51"/>
                    <a:pt x="60" y="51"/>
                  </a:cubicBezTo>
                  <a:cubicBezTo>
                    <a:pt x="60" y="50"/>
                    <a:pt x="60" y="50"/>
                    <a:pt x="60" y="50"/>
                  </a:cubicBezTo>
                  <a:cubicBezTo>
                    <a:pt x="60" y="50"/>
                    <a:pt x="60" y="48"/>
                    <a:pt x="60" y="46"/>
                  </a:cubicBezTo>
                  <a:cubicBezTo>
                    <a:pt x="60" y="45"/>
                    <a:pt x="60" y="44"/>
                    <a:pt x="61" y="44"/>
                  </a:cubicBezTo>
                  <a:cubicBezTo>
                    <a:pt x="61" y="43"/>
                    <a:pt x="61" y="43"/>
                    <a:pt x="61" y="43"/>
                  </a:cubicBezTo>
                  <a:cubicBezTo>
                    <a:pt x="62" y="42"/>
                    <a:pt x="62" y="41"/>
                    <a:pt x="63" y="40"/>
                  </a:cubicBezTo>
                  <a:cubicBezTo>
                    <a:pt x="64" y="40"/>
                    <a:pt x="64" y="40"/>
                    <a:pt x="64" y="40"/>
                  </a:cubicBezTo>
                  <a:cubicBezTo>
                    <a:pt x="64" y="39"/>
                    <a:pt x="64" y="39"/>
                    <a:pt x="64" y="39"/>
                  </a:cubicBezTo>
                  <a:cubicBezTo>
                    <a:pt x="65" y="38"/>
                    <a:pt x="65" y="37"/>
                    <a:pt x="66" y="37"/>
                  </a:cubicBezTo>
                  <a:cubicBezTo>
                    <a:pt x="66" y="37"/>
                    <a:pt x="66" y="37"/>
                    <a:pt x="66" y="37"/>
                  </a:cubicBezTo>
                  <a:cubicBezTo>
                    <a:pt x="65" y="36"/>
                    <a:pt x="65" y="36"/>
                    <a:pt x="65" y="35"/>
                  </a:cubicBezTo>
                  <a:cubicBezTo>
                    <a:pt x="65" y="33"/>
                    <a:pt x="65" y="33"/>
                    <a:pt x="65" y="33"/>
                  </a:cubicBezTo>
                  <a:cubicBezTo>
                    <a:pt x="64" y="32"/>
                    <a:pt x="64" y="31"/>
                    <a:pt x="64" y="30"/>
                  </a:cubicBezTo>
                  <a:cubicBezTo>
                    <a:pt x="64" y="29"/>
                    <a:pt x="63" y="28"/>
                    <a:pt x="62" y="27"/>
                  </a:cubicBezTo>
                  <a:cubicBezTo>
                    <a:pt x="62" y="27"/>
                    <a:pt x="62" y="27"/>
                    <a:pt x="62" y="27"/>
                  </a:cubicBezTo>
                  <a:cubicBezTo>
                    <a:pt x="60" y="25"/>
                    <a:pt x="57" y="21"/>
                    <a:pt x="58" y="17"/>
                  </a:cubicBezTo>
                  <a:cubicBezTo>
                    <a:pt x="59" y="16"/>
                    <a:pt x="59" y="16"/>
                    <a:pt x="59" y="16"/>
                  </a:cubicBezTo>
                  <a:cubicBezTo>
                    <a:pt x="59" y="16"/>
                    <a:pt x="59" y="15"/>
                    <a:pt x="59" y="14"/>
                  </a:cubicBezTo>
                  <a:cubicBezTo>
                    <a:pt x="59" y="14"/>
                    <a:pt x="59" y="14"/>
                    <a:pt x="57" y="13"/>
                  </a:cubicBezTo>
                  <a:cubicBezTo>
                    <a:pt x="53" y="10"/>
                    <a:pt x="49" y="5"/>
                    <a:pt x="46" y="2"/>
                  </a:cubicBezTo>
                  <a:cubicBezTo>
                    <a:pt x="46" y="1"/>
                    <a:pt x="45" y="1"/>
                    <a:pt x="45" y="0"/>
                  </a:cubicBezTo>
                  <a:cubicBezTo>
                    <a:pt x="44" y="0"/>
                    <a:pt x="44"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 name="Freeform 236">
              <a:extLst>
                <a:ext uri="{FF2B5EF4-FFF2-40B4-BE49-F238E27FC236}">
                  <a16:creationId xmlns:a16="http://schemas.microsoft.com/office/drawing/2014/main" id="{CCC81C18-B842-4795-BBC7-174C76C29134}"/>
                </a:ext>
              </a:extLst>
            </p:cNvPr>
            <p:cNvSpPr>
              <a:spLocks/>
            </p:cNvSpPr>
            <p:nvPr/>
          </p:nvSpPr>
          <p:spPr bwMode="auto">
            <a:xfrm>
              <a:off x="3663" y="2143"/>
              <a:ext cx="90" cy="269"/>
            </a:xfrm>
            <a:custGeom>
              <a:avLst/>
              <a:gdLst>
                <a:gd name="T0" fmla="*/ 2 w 38"/>
                <a:gd name="T1" fmla="*/ 0 h 114"/>
                <a:gd name="T2" fmla="*/ 2 w 38"/>
                <a:gd name="T3" fmla="*/ 6 h 114"/>
                <a:gd name="T4" fmla="*/ 10 w 38"/>
                <a:gd name="T5" fmla="*/ 26 h 114"/>
                <a:gd name="T6" fmla="*/ 9 w 38"/>
                <a:gd name="T7" fmla="*/ 29 h 114"/>
                <a:gd name="T8" fmla="*/ 16 w 38"/>
                <a:gd name="T9" fmla="*/ 30 h 114"/>
                <a:gd name="T10" fmla="*/ 12 w 38"/>
                <a:gd name="T11" fmla="*/ 40 h 114"/>
                <a:gd name="T12" fmla="*/ 13 w 38"/>
                <a:gd name="T13" fmla="*/ 44 h 114"/>
                <a:gd name="T14" fmla="*/ 14 w 38"/>
                <a:gd name="T15" fmla="*/ 48 h 114"/>
                <a:gd name="T16" fmla="*/ 12 w 38"/>
                <a:gd name="T17" fmla="*/ 52 h 114"/>
                <a:gd name="T18" fmla="*/ 17 w 38"/>
                <a:gd name="T19" fmla="*/ 57 h 114"/>
                <a:gd name="T20" fmla="*/ 16 w 38"/>
                <a:gd name="T21" fmla="*/ 67 h 114"/>
                <a:gd name="T22" fmla="*/ 15 w 38"/>
                <a:gd name="T23" fmla="*/ 80 h 114"/>
                <a:gd name="T24" fmla="*/ 14 w 38"/>
                <a:gd name="T25" fmla="*/ 81 h 114"/>
                <a:gd name="T26" fmla="*/ 17 w 38"/>
                <a:gd name="T27" fmla="*/ 91 h 114"/>
                <a:gd name="T28" fmla="*/ 16 w 38"/>
                <a:gd name="T29" fmla="*/ 93 h 114"/>
                <a:gd name="T30" fmla="*/ 15 w 38"/>
                <a:gd name="T31" fmla="*/ 95 h 114"/>
                <a:gd name="T32" fmla="*/ 29 w 38"/>
                <a:gd name="T33" fmla="*/ 112 h 114"/>
                <a:gd name="T34" fmla="*/ 29 w 38"/>
                <a:gd name="T35" fmla="*/ 114 h 114"/>
                <a:gd name="T36" fmla="*/ 36 w 38"/>
                <a:gd name="T37" fmla="*/ 112 h 114"/>
                <a:gd name="T38" fmla="*/ 38 w 38"/>
                <a:gd name="T39" fmla="*/ 109 h 114"/>
                <a:gd name="T40" fmla="*/ 38 w 38"/>
                <a:gd name="T41" fmla="*/ 109 h 114"/>
                <a:gd name="T42" fmla="*/ 35 w 38"/>
                <a:gd name="T43" fmla="*/ 104 h 114"/>
                <a:gd name="T44" fmla="*/ 34 w 38"/>
                <a:gd name="T45" fmla="*/ 103 h 114"/>
                <a:gd name="T46" fmla="*/ 34 w 38"/>
                <a:gd name="T47" fmla="*/ 99 h 114"/>
                <a:gd name="T48" fmla="*/ 34 w 38"/>
                <a:gd name="T49" fmla="*/ 96 h 114"/>
                <a:gd name="T50" fmla="*/ 34 w 38"/>
                <a:gd name="T51" fmla="*/ 89 h 114"/>
                <a:gd name="T52" fmla="*/ 35 w 38"/>
                <a:gd name="T53" fmla="*/ 67 h 114"/>
                <a:gd name="T54" fmla="*/ 35 w 38"/>
                <a:gd name="T55" fmla="*/ 56 h 114"/>
                <a:gd name="T56" fmla="*/ 34 w 38"/>
                <a:gd name="T57" fmla="*/ 45 h 114"/>
                <a:gd name="T58" fmla="*/ 32 w 38"/>
                <a:gd name="T59" fmla="*/ 43 h 114"/>
                <a:gd name="T60" fmla="*/ 30 w 38"/>
                <a:gd name="T61" fmla="*/ 39 h 114"/>
                <a:gd name="T62" fmla="*/ 29 w 38"/>
                <a:gd name="T63" fmla="*/ 36 h 114"/>
                <a:gd name="T64" fmla="*/ 29 w 38"/>
                <a:gd name="T65" fmla="*/ 31 h 114"/>
                <a:gd name="T66" fmla="*/ 29 w 38"/>
                <a:gd name="T67" fmla="*/ 25 h 114"/>
                <a:gd name="T68" fmla="*/ 28 w 38"/>
                <a:gd name="T69" fmla="*/ 24 h 114"/>
                <a:gd name="T70" fmla="*/ 25 w 38"/>
                <a:gd name="T71" fmla="*/ 22 h 114"/>
                <a:gd name="T72" fmla="*/ 15 w 38"/>
                <a:gd name="T73" fmla="*/ 11 h 114"/>
                <a:gd name="T74" fmla="*/ 17 w 38"/>
                <a:gd name="T75" fmla="*/ 1 h 114"/>
                <a:gd name="T76" fmla="*/ 2 w 38"/>
                <a:gd name="T77"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 h="114">
                  <a:moveTo>
                    <a:pt x="2" y="0"/>
                  </a:moveTo>
                  <a:cubicBezTo>
                    <a:pt x="2" y="0"/>
                    <a:pt x="2" y="0"/>
                    <a:pt x="2" y="0"/>
                  </a:cubicBezTo>
                  <a:cubicBezTo>
                    <a:pt x="2" y="1"/>
                    <a:pt x="2" y="1"/>
                    <a:pt x="1" y="2"/>
                  </a:cubicBezTo>
                  <a:cubicBezTo>
                    <a:pt x="0" y="5"/>
                    <a:pt x="0" y="5"/>
                    <a:pt x="2" y="6"/>
                  </a:cubicBezTo>
                  <a:cubicBezTo>
                    <a:pt x="9" y="12"/>
                    <a:pt x="9" y="12"/>
                    <a:pt x="9" y="12"/>
                  </a:cubicBezTo>
                  <a:cubicBezTo>
                    <a:pt x="14" y="17"/>
                    <a:pt x="11" y="24"/>
                    <a:pt x="10" y="26"/>
                  </a:cubicBezTo>
                  <a:cubicBezTo>
                    <a:pt x="10" y="27"/>
                    <a:pt x="10" y="27"/>
                    <a:pt x="9" y="28"/>
                  </a:cubicBezTo>
                  <a:cubicBezTo>
                    <a:pt x="9" y="29"/>
                    <a:pt x="9" y="29"/>
                    <a:pt x="9" y="29"/>
                  </a:cubicBezTo>
                  <a:cubicBezTo>
                    <a:pt x="9" y="30"/>
                    <a:pt x="9" y="30"/>
                    <a:pt x="9" y="30"/>
                  </a:cubicBezTo>
                  <a:cubicBezTo>
                    <a:pt x="16" y="30"/>
                    <a:pt x="16" y="30"/>
                    <a:pt x="16" y="30"/>
                  </a:cubicBezTo>
                  <a:cubicBezTo>
                    <a:pt x="10" y="34"/>
                    <a:pt x="10" y="34"/>
                    <a:pt x="10" y="34"/>
                  </a:cubicBezTo>
                  <a:cubicBezTo>
                    <a:pt x="11" y="36"/>
                    <a:pt x="11" y="38"/>
                    <a:pt x="12" y="40"/>
                  </a:cubicBezTo>
                  <a:cubicBezTo>
                    <a:pt x="12" y="43"/>
                    <a:pt x="12" y="43"/>
                    <a:pt x="12" y="43"/>
                  </a:cubicBezTo>
                  <a:cubicBezTo>
                    <a:pt x="13" y="43"/>
                    <a:pt x="13" y="44"/>
                    <a:pt x="13" y="44"/>
                  </a:cubicBezTo>
                  <a:cubicBezTo>
                    <a:pt x="13" y="45"/>
                    <a:pt x="13" y="45"/>
                    <a:pt x="13" y="45"/>
                  </a:cubicBezTo>
                  <a:cubicBezTo>
                    <a:pt x="13" y="46"/>
                    <a:pt x="14" y="47"/>
                    <a:pt x="14" y="48"/>
                  </a:cubicBezTo>
                  <a:cubicBezTo>
                    <a:pt x="14" y="49"/>
                    <a:pt x="14" y="49"/>
                    <a:pt x="14" y="49"/>
                  </a:cubicBezTo>
                  <a:cubicBezTo>
                    <a:pt x="14" y="50"/>
                    <a:pt x="13" y="51"/>
                    <a:pt x="12" y="52"/>
                  </a:cubicBezTo>
                  <a:cubicBezTo>
                    <a:pt x="13" y="53"/>
                    <a:pt x="14" y="53"/>
                    <a:pt x="14" y="54"/>
                  </a:cubicBezTo>
                  <a:cubicBezTo>
                    <a:pt x="15" y="55"/>
                    <a:pt x="16" y="56"/>
                    <a:pt x="17" y="57"/>
                  </a:cubicBezTo>
                  <a:cubicBezTo>
                    <a:pt x="20" y="60"/>
                    <a:pt x="18" y="63"/>
                    <a:pt x="17" y="65"/>
                  </a:cubicBezTo>
                  <a:cubicBezTo>
                    <a:pt x="17" y="66"/>
                    <a:pt x="16" y="67"/>
                    <a:pt x="16" y="67"/>
                  </a:cubicBezTo>
                  <a:cubicBezTo>
                    <a:pt x="16" y="68"/>
                    <a:pt x="16" y="68"/>
                    <a:pt x="16" y="68"/>
                  </a:cubicBezTo>
                  <a:cubicBezTo>
                    <a:pt x="17" y="72"/>
                    <a:pt x="16" y="75"/>
                    <a:pt x="15" y="80"/>
                  </a:cubicBezTo>
                  <a:cubicBezTo>
                    <a:pt x="15" y="80"/>
                    <a:pt x="14" y="80"/>
                    <a:pt x="14" y="81"/>
                  </a:cubicBezTo>
                  <a:cubicBezTo>
                    <a:pt x="14" y="81"/>
                    <a:pt x="14" y="81"/>
                    <a:pt x="14" y="81"/>
                  </a:cubicBezTo>
                  <a:cubicBezTo>
                    <a:pt x="15" y="81"/>
                    <a:pt x="17" y="82"/>
                    <a:pt x="17" y="84"/>
                  </a:cubicBezTo>
                  <a:cubicBezTo>
                    <a:pt x="18" y="85"/>
                    <a:pt x="17" y="88"/>
                    <a:pt x="17" y="91"/>
                  </a:cubicBezTo>
                  <a:cubicBezTo>
                    <a:pt x="16" y="92"/>
                    <a:pt x="16" y="92"/>
                    <a:pt x="16" y="92"/>
                  </a:cubicBezTo>
                  <a:cubicBezTo>
                    <a:pt x="16" y="93"/>
                    <a:pt x="16" y="93"/>
                    <a:pt x="16" y="93"/>
                  </a:cubicBezTo>
                  <a:cubicBezTo>
                    <a:pt x="16" y="94"/>
                    <a:pt x="16" y="94"/>
                    <a:pt x="15" y="95"/>
                  </a:cubicBezTo>
                  <a:cubicBezTo>
                    <a:pt x="15" y="95"/>
                    <a:pt x="15" y="95"/>
                    <a:pt x="15" y="95"/>
                  </a:cubicBezTo>
                  <a:cubicBezTo>
                    <a:pt x="17" y="101"/>
                    <a:pt x="20" y="105"/>
                    <a:pt x="26" y="110"/>
                  </a:cubicBezTo>
                  <a:cubicBezTo>
                    <a:pt x="26" y="110"/>
                    <a:pt x="27" y="111"/>
                    <a:pt x="29" y="112"/>
                  </a:cubicBezTo>
                  <a:cubicBezTo>
                    <a:pt x="30" y="112"/>
                    <a:pt x="30" y="112"/>
                    <a:pt x="30" y="112"/>
                  </a:cubicBezTo>
                  <a:cubicBezTo>
                    <a:pt x="29" y="114"/>
                    <a:pt x="29" y="114"/>
                    <a:pt x="29" y="114"/>
                  </a:cubicBezTo>
                  <a:cubicBezTo>
                    <a:pt x="30" y="114"/>
                    <a:pt x="31" y="114"/>
                    <a:pt x="32" y="113"/>
                  </a:cubicBezTo>
                  <a:cubicBezTo>
                    <a:pt x="33" y="113"/>
                    <a:pt x="35" y="113"/>
                    <a:pt x="36" y="112"/>
                  </a:cubicBezTo>
                  <a:cubicBezTo>
                    <a:pt x="35" y="111"/>
                    <a:pt x="35" y="111"/>
                    <a:pt x="35" y="111"/>
                  </a:cubicBezTo>
                  <a:cubicBezTo>
                    <a:pt x="38" y="109"/>
                    <a:pt x="38" y="109"/>
                    <a:pt x="38" y="109"/>
                  </a:cubicBezTo>
                  <a:cubicBezTo>
                    <a:pt x="38" y="109"/>
                    <a:pt x="38" y="109"/>
                    <a:pt x="38" y="109"/>
                  </a:cubicBezTo>
                  <a:cubicBezTo>
                    <a:pt x="38" y="109"/>
                    <a:pt x="38" y="109"/>
                    <a:pt x="38" y="109"/>
                  </a:cubicBezTo>
                  <a:cubicBezTo>
                    <a:pt x="37" y="107"/>
                    <a:pt x="36" y="106"/>
                    <a:pt x="36" y="105"/>
                  </a:cubicBezTo>
                  <a:cubicBezTo>
                    <a:pt x="35" y="104"/>
                    <a:pt x="35" y="104"/>
                    <a:pt x="35" y="104"/>
                  </a:cubicBezTo>
                  <a:cubicBezTo>
                    <a:pt x="35" y="104"/>
                    <a:pt x="35" y="103"/>
                    <a:pt x="35" y="103"/>
                  </a:cubicBezTo>
                  <a:cubicBezTo>
                    <a:pt x="34" y="103"/>
                    <a:pt x="34" y="103"/>
                    <a:pt x="34" y="103"/>
                  </a:cubicBezTo>
                  <a:cubicBezTo>
                    <a:pt x="34" y="102"/>
                    <a:pt x="34" y="102"/>
                    <a:pt x="34" y="100"/>
                  </a:cubicBezTo>
                  <a:cubicBezTo>
                    <a:pt x="34" y="100"/>
                    <a:pt x="34" y="99"/>
                    <a:pt x="34" y="99"/>
                  </a:cubicBezTo>
                  <a:cubicBezTo>
                    <a:pt x="34" y="98"/>
                    <a:pt x="34" y="98"/>
                    <a:pt x="34" y="98"/>
                  </a:cubicBezTo>
                  <a:cubicBezTo>
                    <a:pt x="34" y="97"/>
                    <a:pt x="34" y="97"/>
                    <a:pt x="34" y="96"/>
                  </a:cubicBezTo>
                  <a:cubicBezTo>
                    <a:pt x="34" y="95"/>
                    <a:pt x="34" y="93"/>
                    <a:pt x="34" y="91"/>
                  </a:cubicBezTo>
                  <a:cubicBezTo>
                    <a:pt x="34" y="89"/>
                    <a:pt x="34" y="89"/>
                    <a:pt x="34" y="89"/>
                  </a:cubicBezTo>
                  <a:cubicBezTo>
                    <a:pt x="35" y="86"/>
                    <a:pt x="35" y="84"/>
                    <a:pt x="35" y="81"/>
                  </a:cubicBezTo>
                  <a:cubicBezTo>
                    <a:pt x="36" y="77"/>
                    <a:pt x="35" y="71"/>
                    <a:pt x="35" y="67"/>
                  </a:cubicBezTo>
                  <a:cubicBezTo>
                    <a:pt x="35" y="65"/>
                    <a:pt x="35" y="65"/>
                    <a:pt x="35" y="65"/>
                  </a:cubicBezTo>
                  <a:cubicBezTo>
                    <a:pt x="35" y="62"/>
                    <a:pt x="35" y="59"/>
                    <a:pt x="35" y="56"/>
                  </a:cubicBezTo>
                  <a:cubicBezTo>
                    <a:pt x="35" y="54"/>
                    <a:pt x="35" y="54"/>
                    <a:pt x="35" y="54"/>
                  </a:cubicBezTo>
                  <a:cubicBezTo>
                    <a:pt x="35" y="51"/>
                    <a:pt x="35" y="47"/>
                    <a:pt x="34" y="45"/>
                  </a:cubicBezTo>
                  <a:cubicBezTo>
                    <a:pt x="34" y="44"/>
                    <a:pt x="33" y="44"/>
                    <a:pt x="33" y="43"/>
                  </a:cubicBezTo>
                  <a:cubicBezTo>
                    <a:pt x="32" y="43"/>
                    <a:pt x="32" y="43"/>
                    <a:pt x="32" y="43"/>
                  </a:cubicBezTo>
                  <a:cubicBezTo>
                    <a:pt x="32" y="42"/>
                    <a:pt x="31" y="42"/>
                    <a:pt x="31" y="41"/>
                  </a:cubicBezTo>
                  <a:cubicBezTo>
                    <a:pt x="31" y="40"/>
                    <a:pt x="30" y="40"/>
                    <a:pt x="30" y="39"/>
                  </a:cubicBezTo>
                  <a:cubicBezTo>
                    <a:pt x="30" y="39"/>
                    <a:pt x="29" y="38"/>
                    <a:pt x="29" y="37"/>
                  </a:cubicBezTo>
                  <a:cubicBezTo>
                    <a:pt x="29" y="36"/>
                    <a:pt x="29" y="36"/>
                    <a:pt x="29" y="36"/>
                  </a:cubicBezTo>
                  <a:cubicBezTo>
                    <a:pt x="29" y="35"/>
                    <a:pt x="29" y="35"/>
                    <a:pt x="29" y="35"/>
                  </a:cubicBezTo>
                  <a:cubicBezTo>
                    <a:pt x="29" y="33"/>
                    <a:pt x="29" y="32"/>
                    <a:pt x="29" y="31"/>
                  </a:cubicBezTo>
                  <a:cubicBezTo>
                    <a:pt x="29" y="30"/>
                    <a:pt x="29" y="30"/>
                    <a:pt x="29" y="30"/>
                  </a:cubicBezTo>
                  <a:cubicBezTo>
                    <a:pt x="29" y="29"/>
                    <a:pt x="29" y="26"/>
                    <a:pt x="29" y="25"/>
                  </a:cubicBezTo>
                  <a:cubicBezTo>
                    <a:pt x="28" y="24"/>
                    <a:pt x="28" y="24"/>
                    <a:pt x="28" y="24"/>
                  </a:cubicBezTo>
                  <a:cubicBezTo>
                    <a:pt x="28" y="24"/>
                    <a:pt x="28" y="24"/>
                    <a:pt x="28" y="24"/>
                  </a:cubicBezTo>
                  <a:cubicBezTo>
                    <a:pt x="27" y="24"/>
                    <a:pt x="27" y="23"/>
                    <a:pt x="26" y="23"/>
                  </a:cubicBezTo>
                  <a:cubicBezTo>
                    <a:pt x="25" y="22"/>
                    <a:pt x="25" y="22"/>
                    <a:pt x="25" y="22"/>
                  </a:cubicBezTo>
                  <a:cubicBezTo>
                    <a:pt x="23" y="21"/>
                    <a:pt x="21" y="19"/>
                    <a:pt x="19" y="18"/>
                  </a:cubicBezTo>
                  <a:cubicBezTo>
                    <a:pt x="17" y="16"/>
                    <a:pt x="16" y="13"/>
                    <a:pt x="15" y="11"/>
                  </a:cubicBezTo>
                  <a:cubicBezTo>
                    <a:pt x="15" y="9"/>
                    <a:pt x="15" y="8"/>
                    <a:pt x="15" y="7"/>
                  </a:cubicBezTo>
                  <a:cubicBezTo>
                    <a:pt x="16" y="5"/>
                    <a:pt x="16" y="3"/>
                    <a:pt x="17" y="1"/>
                  </a:cubicBezTo>
                  <a:cubicBezTo>
                    <a:pt x="15" y="1"/>
                    <a:pt x="15" y="1"/>
                    <a:pt x="15" y="1"/>
                  </a:cubicBezTo>
                  <a:cubicBezTo>
                    <a:pt x="11" y="1"/>
                    <a:pt x="6"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 name="Freeform 237">
              <a:extLst>
                <a:ext uri="{FF2B5EF4-FFF2-40B4-BE49-F238E27FC236}">
                  <a16:creationId xmlns:a16="http://schemas.microsoft.com/office/drawing/2014/main" id="{4ECE28C9-E1C6-4BEC-8DE2-8D57D49BB52E}"/>
                </a:ext>
              </a:extLst>
            </p:cNvPr>
            <p:cNvSpPr>
              <a:spLocks/>
            </p:cNvSpPr>
            <p:nvPr/>
          </p:nvSpPr>
          <p:spPr bwMode="auto">
            <a:xfrm>
              <a:off x="3488" y="2138"/>
              <a:ext cx="237" cy="352"/>
            </a:xfrm>
            <a:custGeom>
              <a:avLst/>
              <a:gdLst>
                <a:gd name="T0" fmla="*/ 64 w 100"/>
                <a:gd name="T1" fmla="*/ 2 h 149"/>
                <a:gd name="T2" fmla="*/ 63 w 100"/>
                <a:gd name="T3" fmla="*/ 3 h 149"/>
                <a:gd name="T4" fmla="*/ 62 w 100"/>
                <a:gd name="T5" fmla="*/ 2 h 149"/>
                <a:gd name="T6" fmla="*/ 61 w 100"/>
                <a:gd name="T7" fmla="*/ 4 h 149"/>
                <a:gd name="T8" fmla="*/ 60 w 100"/>
                <a:gd name="T9" fmla="*/ 4 h 149"/>
                <a:gd name="T10" fmla="*/ 56 w 100"/>
                <a:gd name="T11" fmla="*/ 4 h 149"/>
                <a:gd name="T12" fmla="*/ 44 w 100"/>
                <a:gd name="T13" fmla="*/ 3 h 149"/>
                <a:gd name="T14" fmla="*/ 22 w 100"/>
                <a:gd name="T15" fmla="*/ 4 h 149"/>
                <a:gd name="T16" fmla="*/ 9 w 100"/>
                <a:gd name="T17" fmla="*/ 4 h 149"/>
                <a:gd name="T18" fmla="*/ 7 w 100"/>
                <a:gd name="T19" fmla="*/ 8 h 149"/>
                <a:gd name="T20" fmla="*/ 11 w 100"/>
                <a:gd name="T21" fmla="*/ 25 h 149"/>
                <a:gd name="T22" fmla="*/ 13 w 100"/>
                <a:gd name="T23" fmla="*/ 29 h 149"/>
                <a:gd name="T24" fmla="*/ 13 w 100"/>
                <a:gd name="T25" fmla="*/ 36 h 149"/>
                <a:gd name="T26" fmla="*/ 13 w 100"/>
                <a:gd name="T27" fmla="*/ 36 h 149"/>
                <a:gd name="T28" fmla="*/ 13 w 100"/>
                <a:gd name="T29" fmla="*/ 38 h 149"/>
                <a:gd name="T30" fmla="*/ 13 w 100"/>
                <a:gd name="T31" fmla="*/ 38 h 149"/>
                <a:gd name="T32" fmla="*/ 11 w 100"/>
                <a:gd name="T33" fmla="*/ 44 h 149"/>
                <a:gd name="T34" fmla="*/ 11 w 100"/>
                <a:gd name="T35" fmla="*/ 46 h 149"/>
                <a:gd name="T36" fmla="*/ 12 w 100"/>
                <a:gd name="T37" fmla="*/ 48 h 149"/>
                <a:gd name="T38" fmla="*/ 17 w 100"/>
                <a:gd name="T39" fmla="*/ 61 h 149"/>
                <a:gd name="T40" fmla="*/ 12 w 100"/>
                <a:gd name="T41" fmla="*/ 75 h 149"/>
                <a:gd name="T42" fmla="*/ 9 w 100"/>
                <a:gd name="T43" fmla="*/ 79 h 149"/>
                <a:gd name="T44" fmla="*/ 7 w 100"/>
                <a:gd name="T45" fmla="*/ 85 h 149"/>
                <a:gd name="T46" fmla="*/ 4 w 100"/>
                <a:gd name="T47" fmla="*/ 92 h 149"/>
                <a:gd name="T48" fmla="*/ 1 w 100"/>
                <a:gd name="T49" fmla="*/ 106 h 149"/>
                <a:gd name="T50" fmla="*/ 5 w 100"/>
                <a:gd name="T51" fmla="*/ 123 h 149"/>
                <a:gd name="T52" fmla="*/ 6 w 100"/>
                <a:gd name="T53" fmla="*/ 126 h 149"/>
                <a:gd name="T54" fmla="*/ 11 w 100"/>
                <a:gd name="T55" fmla="*/ 132 h 149"/>
                <a:gd name="T56" fmla="*/ 11 w 100"/>
                <a:gd name="T57" fmla="*/ 135 h 149"/>
                <a:gd name="T58" fmla="*/ 11 w 100"/>
                <a:gd name="T59" fmla="*/ 137 h 149"/>
                <a:gd name="T60" fmla="*/ 12 w 100"/>
                <a:gd name="T61" fmla="*/ 140 h 149"/>
                <a:gd name="T62" fmla="*/ 10 w 100"/>
                <a:gd name="T63" fmla="*/ 143 h 149"/>
                <a:gd name="T64" fmla="*/ 7 w 100"/>
                <a:gd name="T65" fmla="*/ 143 h 149"/>
                <a:gd name="T66" fmla="*/ 25 w 100"/>
                <a:gd name="T67" fmla="*/ 149 h 149"/>
                <a:gd name="T68" fmla="*/ 31 w 100"/>
                <a:gd name="T69" fmla="*/ 146 h 149"/>
                <a:gd name="T70" fmla="*/ 54 w 100"/>
                <a:gd name="T71" fmla="*/ 138 h 149"/>
                <a:gd name="T72" fmla="*/ 88 w 100"/>
                <a:gd name="T73" fmla="*/ 123 h 149"/>
                <a:gd name="T74" fmla="*/ 88 w 100"/>
                <a:gd name="T75" fmla="*/ 123 h 149"/>
                <a:gd name="T76" fmla="*/ 96 w 100"/>
                <a:gd name="T77" fmla="*/ 124 h 149"/>
                <a:gd name="T78" fmla="*/ 100 w 100"/>
                <a:gd name="T79" fmla="*/ 119 h 149"/>
                <a:gd name="T80" fmla="*/ 83 w 100"/>
                <a:gd name="T81" fmla="*/ 97 h 149"/>
                <a:gd name="T82" fmla="*/ 84 w 100"/>
                <a:gd name="T83" fmla="*/ 93 h 149"/>
                <a:gd name="T84" fmla="*/ 85 w 100"/>
                <a:gd name="T85" fmla="*/ 91 h 149"/>
                <a:gd name="T86" fmla="*/ 83 w 100"/>
                <a:gd name="T87" fmla="*/ 85 h 149"/>
                <a:gd name="T88" fmla="*/ 83 w 100"/>
                <a:gd name="T89" fmla="*/ 80 h 149"/>
                <a:gd name="T90" fmla="*/ 85 w 100"/>
                <a:gd name="T91" fmla="*/ 70 h 149"/>
                <a:gd name="T92" fmla="*/ 86 w 100"/>
                <a:gd name="T93" fmla="*/ 64 h 149"/>
                <a:gd name="T94" fmla="*/ 85 w 100"/>
                <a:gd name="T95" fmla="*/ 61 h 149"/>
                <a:gd name="T96" fmla="*/ 80 w 100"/>
                <a:gd name="T97" fmla="*/ 56 h 149"/>
                <a:gd name="T98" fmla="*/ 81 w 100"/>
                <a:gd name="T99" fmla="*/ 51 h 149"/>
                <a:gd name="T100" fmla="*/ 82 w 100"/>
                <a:gd name="T101" fmla="*/ 49 h 149"/>
                <a:gd name="T102" fmla="*/ 80 w 100"/>
                <a:gd name="T103" fmla="*/ 41 h 149"/>
                <a:gd name="T104" fmla="*/ 76 w 100"/>
                <a:gd name="T105" fmla="*/ 37 h 149"/>
                <a:gd name="T106" fmla="*/ 78 w 100"/>
                <a:gd name="T107" fmla="*/ 28 h 149"/>
                <a:gd name="T108" fmla="*/ 79 w 100"/>
                <a:gd name="T109" fmla="*/ 18 h 149"/>
                <a:gd name="T110" fmla="*/ 70 w 100"/>
                <a:gd name="T111" fmla="*/ 2 h 149"/>
                <a:gd name="T112" fmla="*/ 70 w 100"/>
                <a:gd name="T113" fmla="*/ 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0" h="149">
                  <a:moveTo>
                    <a:pt x="69" y="0"/>
                  </a:moveTo>
                  <a:cubicBezTo>
                    <a:pt x="67" y="0"/>
                    <a:pt x="65" y="2"/>
                    <a:pt x="64" y="2"/>
                  </a:cubicBezTo>
                  <a:cubicBezTo>
                    <a:pt x="63" y="3"/>
                    <a:pt x="63" y="3"/>
                    <a:pt x="63" y="3"/>
                  </a:cubicBezTo>
                  <a:cubicBezTo>
                    <a:pt x="63" y="3"/>
                    <a:pt x="63" y="3"/>
                    <a:pt x="63" y="3"/>
                  </a:cubicBezTo>
                  <a:cubicBezTo>
                    <a:pt x="62" y="3"/>
                    <a:pt x="62" y="3"/>
                    <a:pt x="62" y="3"/>
                  </a:cubicBezTo>
                  <a:cubicBezTo>
                    <a:pt x="62" y="2"/>
                    <a:pt x="62" y="2"/>
                    <a:pt x="62" y="2"/>
                  </a:cubicBezTo>
                  <a:cubicBezTo>
                    <a:pt x="62" y="3"/>
                    <a:pt x="62" y="3"/>
                    <a:pt x="62" y="3"/>
                  </a:cubicBezTo>
                  <a:cubicBezTo>
                    <a:pt x="61" y="3"/>
                    <a:pt x="61" y="3"/>
                    <a:pt x="61" y="4"/>
                  </a:cubicBezTo>
                  <a:cubicBezTo>
                    <a:pt x="60" y="2"/>
                    <a:pt x="60" y="2"/>
                    <a:pt x="60" y="2"/>
                  </a:cubicBezTo>
                  <a:cubicBezTo>
                    <a:pt x="60" y="4"/>
                    <a:pt x="60" y="4"/>
                    <a:pt x="60" y="4"/>
                  </a:cubicBezTo>
                  <a:cubicBezTo>
                    <a:pt x="60" y="4"/>
                    <a:pt x="59" y="4"/>
                    <a:pt x="59" y="4"/>
                  </a:cubicBezTo>
                  <a:cubicBezTo>
                    <a:pt x="58" y="4"/>
                    <a:pt x="57" y="4"/>
                    <a:pt x="56" y="4"/>
                  </a:cubicBezTo>
                  <a:cubicBezTo>
                    <a:pt x="51" y="3"/>
                    <a:pt x="51" y="3"/>
                    <a:pt x="51" y="3"/>
                  </a:cubicBezTo>
                  <a:cubicBezTo>
                    <a:pt x="49" y="3"/>
                    <a:pt x="47" y="3"/>
                    <a:pt x="44" y="3"/>
                  </a:cubicBezTo>
                  <a:cubicBezTo>
                    <a:pt x="39" y="3"/>
                    <a:pt x="32" y="3"/>
                    <a:pt x="24" y="4"/>
                  </a:cubicBezTo>
                  <a:cubicBezTo>
                    <a:pt x="23" y="4"/>
                    <a:pt x="23" y="4"/>
                    <a:pt x="22" y="4"/>
                  </a:cubicBezTo>
                  <a:cubicBezTo>
                    <a:pt x="20" y="4"/>
                    <a:pt x="18" y="4"/>
                    <a:pt x="16" y="4"/>
                  </a:cubicBezTo>
                  <a:cubicBezTo>
                    <a:pt x="13" y="4"/>
                    <a:pt x="10" y="4"/>
                    <a:pt x="9" y="4"/>
                  </a:cubicBezTo>
                  <a:cubicBezTo>
                    <a:pt x="8" y="5"/>
                    <a:pt x="8" y="5"/>
                    <a:pt x="8" y="5"/>
                  </a:cubicBezTo>
                  <a:cubicBezTo>
                    <a:pt x="8" y="6"/>
                    <a:pt x="7" y="7"/>
                    <a:pt x="7" y="8"/>
                  </a:cubicBezTo>
                  <a:cubicBezTo>
                    <a:pt x="8" y="10"/>
                    <a:pt x="8" y="10"/>
                    <a:pt x="8" y="10"/>
                  </a:cubicBezTo>
                  <a:cubicBezTo>
                    <a:pt x="9" y="13"/>
                    <a:pt x="10" y="19"/>
                    <a:pt x="11" y="25"/>
                  </a:cubicBezTo>
                  <a:cubicBezTo>
                    <a:pt x="13" y="16"/>
                    <a:pt x="13" y="16"/>
                    <a:pt x="13" y="16"/>
                  </a:cubicBezTo>
                  <a:cubicBezTo>
                    <a:pt x="13" y="29"/>
                    <a:pt x="13" y="29"/>
                    <a:pt x="13" y="29"/>
                  </a:cubicBezTo>
                  <a:cubicBezTo>
                    <a:pt x="14" y="27"/>
                    <a:pt x="14" y="27"/>
                    <a:pt x="14" y="27"/>
                  </a:cubicBezTo>
                  <a:cubicBezTo>
                    <a:pt x="13" y="36"/>
                    <a:pt x="13" y="36"/>
                    <a:pt x="13" y="36"/>
                  </a:cubicBezTo>
                  <a:cubicBezTo>
                    <a:pt x="13" y="36"/>
                    <a:pt x="13" y="36"/>
                    <a:pt x="13" y="36"/>
                  </a:cubicBezTo>
                  <a:cubicBezTo>
                    <a:pt x="13" y="36"/>
                    <a:pt x="13" y="36"/>
                    <a:pt x="13" y="36"/>
                  </a:cubicBezTo>
                  <a:cubicBezTo>
                    <a:pt x="13" y="37"/>
                    <a:pt x="13" y="37"/>
                    <a:pt x="13" y="37"/>
                  </a:cubicBezTo>
                  <a:cubicBezTo>
                    <a:pt x="13" y="38"/>
                    <a:pt x="13" y="38"/>
                    <a:pt x="13" y="38"/>
                  </a:cubicBezTo>
                  <a:cubicBezTo>
                    <a:pt x="13" y="38"/>
                    <a:pt x="13" y="38"/>
                    <a:pt x="13" y="38"/>
                  </a:cubicBezTo>
                  <a:cubicBezTo>
                    <a:pt x="13" y="38"/>
                    <a:pt x="13" y="38"/>
                    <a:pt x="13" y="38"/>
                  </a:cubicBezTo>
                  <a:cubicBezTo>
                    <a:pt x="12" y="40"/>
                    <a:pt x="12" y="40"/>
                    <a:pt x="12" y="40"/>
                  </a:cubicBezTo>
                  <a:cubicBezTo>
                    <a:pt x="12" y="41"/>
                    <a:pt x="11" y="43"/>
                    <a:pt x="11" y="44"/>
                  </a:cubicBezTo>
                  <a:cubicBezTo>
                    <a:pt x="11" y="45"/>
                    <a:pt x="11" y="45"/>
                    <a:pt x="11" y="46"/>
                  </a:cubicBezTo>
                  <a:cubicBezTo>
                    <a:pt x="11" y="46"/>
                    <a:pt x="11" y="46"/>
                    <a:pt x="11" y="46"/>
                  </a:cubicBezTo>
                  <a:cubicBezTo>
                    <a:pt x="11" y="47"/>
                    <a:pt x="11" y="47"/>
                    <a:pt x="11" y="47"/>
                  </a:cubicBezTo>
                  <a:cubicBezTo>
                    <a:pt x="12" y="47"/>
                    <a:pt x="12" y="48"/>
                    <a:pt x="12" y="48"/>
                  </a:cubicBezTo>
                  <a:cubicBezTo>
                    <a:pt x="14" y="51"/>
                    <a:pt x="14" y="51"/>
                    <a:pt x="14" y="51"/>
                  </a:cubicBezTo>
                  <a:cubicBezTo>
                    <a:pt x="15" y="54"/>
                    <a:pt x="16" y="57"/>
                    <a:pt x="17" y="61"/>
                  </a:cubicBezTo>
                  <a:cubicBezTo>
                    <a:pt x="17" y="65"/>
                    <a:pt x="18" y="68"/>
                    <a:pt x="14" y="72"/>
                  </a:cubicBezTo>
                  <a:cubicBezTo>
                    <a:pt x="13" y="73"/>
                    <a:pt x="13" y="74"/>
                    <a:pt x="12" y="75"/>
                  </a:cubicBezTo>
                  <a:cubicBezTo>
                    <a:pt x="11" y="77"/>
                    <a:pt x="11" y="77"/>
                    <a:pt x="11" y="77"/>
                  </a:cubicBezTo>
                  <a:cubicBezTo>
                    <a:pt x="10" y="77"/>
                    <a:pt x="9" y="78"/>
                    <a:pt x="9" y="79"/>
                  </a:cubicBezTo>
                  <a:cubicBezTo>
                    <a:pt x="8" y="80"/>
                    <a:pt x="7" y="83"/>
                    <a:pt x="7" y="84"/>
                  </a:cubicBezTo>
                  <a:cubicBezTo>
                    <a:pt x="7" y="85"/>
                    <a:pt x="7" y="85"/>
                    <a:pt x="7" y="85"/>
                  </a:cubicBezTo>
                  <a:cubicBezTo>
                    <a:pt x="7" y="85"/>
                    <a:pt x="6" y="86"/>
                    <a:pt x="6" y="87"/>
                  </a:cubicBezTo>
                  <a:cubicBezTo>
                    <a:pt x="6" y="88"/>
                    <a:pt x="5" y="90"/>
                    <a:pt x="4" y="92"/>
                  </a:cubicBezTo>
                  <a:cubicBezTo>
                    <a:pt x="2" y="96"/>
                    <a:pt x="0" y="100"/>
                    <a:pt x="1" y="104"/>
                  </a:cubicBezTo>
                  <a:cubicBezTo>
                    <a:pt x="1" y="106"/>
                    <a:pt x="1" y="106"/>
                    <a:pt x="1" y="106"/>
                  </a:cubicBezTo>
                  <a:cubicBezTo>
                    <a:pt x="1" y="112"/>
                    <a:pt x="2" y="118"/>
                    <a:pt x="5" y="122"/>
                  </a:cubicBezTo>
                  <a:cubicBezTo>
                    <a:pt x="5" y="123"/>
                    <a:pt x="5" y="123"/>
                    <a:pt x="5" y="123"/>
                  </a:cubicBezTo>
                  <a:cubicBezTo>
                    <a:pt x="5" y="124"/>
                    <a:pt x="5" y="124"/>
                    <a:pt x="5" y="124"/>
                  </a:cubicBezTo>
                  <a:cubicBezTo>
                    <a:pt x="6" y="125"/>
                    <a:pt x="6" y="125"/>
                    <a:pt x="6" y="126"/>
                  </a:cubicBezTo>
                  <a:cubicBezTo>
                    <a:pt x="8" y="127"/>
                    <a:pt x="8" y="127"/>
                    <a:pt x="8" y="127"/>
                  </a:cubicBezTo>
                  <a:cubicBezTo>
                    <a:pt x="9" y="129"/>
                    <a:pt x="11" y="130"/>
                    <a:pt x="11" y="132"/>
                  </a:cubicBezTo>
                  <a:cubicBezTo>
                    <a:pt x="11" y="133"/>
                    <a:pt x="11" y="133"/>
                    <a:pt x="11" y="133"/>
                  </a:cubicBezTo>
                  <a:cubicBezTo>
                    <a:pt x="12" y="134"/>
                    <a:pt x="11" y="135"/>
                    <a:pt x="11" y="135"/>
                  </a:cubicBezTo>
                  <a:cubicBezTo>
                    <a:pt x="11" y="136"/>
                    <a:pt x="11" y="136"/>
                    <a:pt x="11" y="136"/>
                  </a:cubicBezTo>
                  <a:cubicBezTo>
                    <a:pt x="11" y="136"/>
                    <a:pt x="11" y="137"/>
                    <a:pt x="11" y="137"/>
                  </a:cubicBezTo>
                  <a:cubicBezTo>
                    <a:pt x="11" y="138"/>
                    <a:pt x="12" y="138"/>
                    <a:pt x="12" y="139"/>
                  </a:cubicBezTo>
                  <a:cubicBezTo>
                    <a:pt x="12" y="140"/>
                    <a:pt x="12" y="140"/>
                    <a:pt x="12" y="140"/>
                  </a:cubicBezTo>
                  <a:cubicBezTo>
                    <a:pt x="11" y="142"/>
                    <a:pt x="11" y="142"/>
                    <a:pt x="11" y="142"/>
                  </a:cubicBezTo>
                  <a:cubicBezTo>
                    <a:pt x="11" y="142"/>
                    <a:pt x="10" y="142"/>
                    <a:pt x="10" y="143"/>
                  </a:cubicBezTo>
                  <a:cubicBezTo>
                    <a:pt x="9" y="143"/>
                    <a:pt x="9" y="143"/>
                    <a:pt x="9" y="143"/>
                  </a:cubicBezTo>
                  <a:cubicBezTo>
                    <a:pt x="8" y="143"/>
                    <a:pt x="8" y="143"/>
                    <a:pt x="7" y="143"/>
                  </a:cubicBezTo>
                  <a:cubicBezTo>
                    <a:pt x="11" y="145"/>
                    <a:pt x="15" y="146"/>
                    <a:pt x="19" y="147"/>
                  </a:cubicBezTo>
                  <a:cubicBezTo>
                    <a:pt x="21" y="148"/>
                    <a:pt x="23" y="149"/>
                    <a:pt x="25" y="149"/>
                  </a:cubicBezTo>
                  <a:cubicBezTo>
                    <a:pt x="26" y="149"/>
                    <a:pt x="26" y="149"/>
                    <a:pt x="27" y="149"/>
                  </a:cubicBezTo>
                  <a:cubicBezTo>
                    <a:pt x="28" y="148"/>
                    <a:pt x="30" y="147"/>
                    <a:pt x="31" y="146"/>
                  </a:cubicBezTo>
                  <a:cubicBezTo>
                    <a:pt x="33" y="145"/>
                    <a:pt x="34" y="143"/>
                    <a:pt x="36" y="142"/>
                  </a:cubicBezTo>
                  <a:cubicBezTo>
                    <a:pt x="42" y="140"/>
                    <a:pt x="49" y="140"/>
                    <a:pt x="54" y="138"/>
                  </a:cubicBezTo>
                  <a:cubicBezTo>
                    <a:pt x="59" y="136"/>
                    <a:pt x="63" y="132"/>
                    <a:pt x="68" y="130"/>
                  </a:cubicBezTo>
                  <a:cubicBezTo>
                    <a:pt x="75" y="128"/>
                    <a:pt x="82" y="125"/>
                    <a:pt x="88" y="123"/>
                  </a:cubicBezTo>
                  <a:cubicBezTo>
                    <a:pt x="85" y="121"/>
                    <a:pt x="82" y="119"/>
                    <a:pt x="78" y="117"/>
                  </a:cubicBezTo>
                  <a:cubicBezTo>
                    <a:pt x="84" y="118"/>
                    <a:pt x="87" y="117"/>
                    <a:pt x="88" y="123"/>
                  </a:cubicBezTo>
                  <a:cubicBezTo>
                    <a:pt x="89" y="124"/>
                    <a:pt x="91" y="125"/>
                    <a:pt x="92" y="125"/>
                  </a:cubicBezTo>
                  <a:cubicBezTo>
                    <a:pt x="94" y="125"/>
                    <a:pt x="95" y="124"/>
                    <a:pt x="96" y="124"/>
                  </a:cubicBezTo>
                  <a:cubicBezTo>
                    <a:pt x="98" y="123"/>
                    <a:pt x="99" y="121"/>
                    <a:pt x="100" y="119"/>
                  </a:cubicBezTo>
                  <a:cubicBezTo>
                    <a:pt x="100" y="119"/>
                    <a:pt x="100" y="119"/>
                    <a:pt x="100" y="119"/>
                  </a:cubicBezTo>
                  <a:cubicBezTo>
                    <a:pt x="98" y="118"/>
                    <a:pt x="96" y="117"/>
                    <a:pt x="96" y="116"/>
                  </a:cubicBezTo>
                  <a:cubicBezTo>
                    <a:pt x="89" y="110"/>
                    <a:pt x="86" y="105"/>
                    <a:pt x="83" y="97"/>
                  </a:cubicBezTo>
                  <a:cubicBezTo>
                    <a:pt x="82" y="94"/>
                    <a:pt x="82" y="94"/>
                    <a:pt x="82" y="94"/>
                  </a:cubicBezTo>
                  <a:cubicBezTo>
                    <a:pt x="84" y="93"/>
                    <a:pt x="84" y="93"/>
                    <a:pt x="84" y="93"/>
                  </a:cubicBezTo>
                  <a:cubicBezTo>
                    <a:pt x="85" y="93"/>
                    <a:pt x="85" y="92"/>
                    <a:pt x="85" y="92"/>
                  </a:cubicBezTo>
                  <a:cubicBezTo>
                    <a:pt x="85" y="91"/>
                    <a:pt x="85" y="91"/>
                    <a:pt x="85" y="91"/>
                  </a:cubicBezTo>
                  <a:cubicBezTo>
                    <a:pt x="85" y="90"/>
                    <a:pt x="86" y="89"/>
                    <a:pt x="86" y="88"/>
                  </a:cubicBezTo>
                  <a:cubicBezTo>
                    <a:pt x="85" y="88"/>
                    <a:pt x="83" y="87"/>
                    <a:pt x="83" y="85"/>
                  </a:cubicBezTo>
                  <a:cubicBezTo>
                    <a:pt x="82" y="84"/>
                    <a:pt x="82" y="83"/>
                    <a:pt x="82" y="82"/>
                  </a:cubicBezTo>
                  <a:cubicBezTo>
                    <a:pt x="83" y="80"/>
                    <a:pt x="83" y="80"/>
                    <a:pt x="83" y="80"/>
                  </a:cubicBezTo>
                  <a:cubicBezTo>
                    <a:pt x="83" y="80"/>
                    <a:pt x="83" y="80"/>
                    <a:pt x="83" y="80"/>
                  </a:cubicBezTo>
                  <a:cubicBezTo>
                    <a:pt x="85" y="76"/>
                    <a:pt x="85" y="74"/>
                    <a:pt x="85" y="70"/>
                  </a:cubicBezTo>
                  <a:cubicBezTo>
                    <a:pt x="85" y="70"/>
                    <a:pt x="85" y="69"/>
                    <a:pt x="85" y="68"/>
                  </a:cubicBezTo>
                  <a:cubicBezTo>
                    <a:pt x="85" y="67"/>
                    <a:pt x="86" y="65"/>
                    <a:pt x="86" y="64"/>
                  </a:cubicBezTo>
                  <a:cubicBezTo>
                    <a:pt x="87" y="63"/>
                    <a:pt x="87" y="63"/>
                    <a:pt x="86" y="62"/>
                  </a:cubicBezTo>
                  <a:cubicBezTo>
                    <a:pt x="86" y="62"/>
                    <a:pt x="85" y="61"/>
                    <a:pt x="85" y="61"/>
                  </a:cubicBezTo>
                  <a:cubicBezTo>
                    <a:pt x="84" y="60"/>
                    <a:pt x="84" y="60"/>
                    <a:pt x="84" y="60"/>
                  </a:cubicBezTo>
                  <a:cubicBezTo>
                    <a:pt x="83" y="59"/>
                    <a:pt x="81" y="57"/>
                    <a:pt x="80" y="56"/>
                  </a:cubicBezTo>
                  <a:cubicBezTo>
                    <a:pt x="78" y="53"/>
                    <a:pt x="78" y="53"/>
                    <a:pt x="78" y="53"/>
                  </a:cubicBezTo>
                  <a:cubicBezTo>
                    <a:pt x="81" y="51"/>
                    <a:pt x="81" y="51"/>
                    <a:pt x="81" y="51"/>
                  </a:cubicBezTo>
                  <a:cubicBezTo>
                    <a:pt x="81" y="51"/>
                    <a:pt x="82" y="51"/>
                    <a:pt x="82" y="50"/>
                  </a:cubicBezTo>
                  <a:cubicBezTo>
                    <a:pt x="82" y="50"/>
                    <a:pt x="82" y="49"/>
                    <a:pt x="82" y="49"/>
                  </a:cubicBezTo>
                  <a:cubicBezTo>
                    <a:pt x="81" y="48"/>
                    <a:pt x="81" y="47"/>
                    <a:pt x="81" y="46"/>
                  </a:cubicBezTo>
                  <a:cubicBezTo>
                    <a:pt x="80" y="41"/>
                    <a:pt x="80" y="41"/>
                    <a:pt x="80" y="41"/>
                  </a:cubicBezTo>
                  <a:cubicBezTo>
                    <a:pt x="79" y="41"/>
                    <a:pt x="78" y="41"/>
                    <a:pt x="78" y="41"/>
                  </a:cubicBezTo>
                  <a:cubicBezTo>
                    <a:pt x="77" y="40"/>
                    <a:pt x="76" y="39"/>
                    <a:pt x="76" y="37"/>
                  </a:cubicBezTo>
                  <a:cubicBezTo>
                    <a:pt x="76" y="36"/>
                    <a:pt x="76" y="35"/>
                    <a:pt x="77" y="35"/>
                  </a:cubicBezTo>
                  <a:cubicBezTo>
                    <a:pt x="76" y="32"/>
                    <a:pt x="77" y="30"/>
                    <a:pt x="78" y="28"/>
                  </a:cubicBezTo>
                  <a:cubicBezTo>
                    <a:pt x="78" y="27"/>
                    <a:pt x="78" y="27"/>
                    <a:pt x="79" y="26"/>
                  </a:cubicBezTo>
                  <a:cubicBezTo>
                    <a:pt x="80" y="22"/>
                    <a:pt x="80" y="20"/>
                    <a:pt x="79" y="18"/>
                  </a:cubicBezTo>
                  <a:cubicBezTo>
                    <a:pt x="72" y="12"/>
                    <a:pt x="72" y="12"/>
                    <a:pt x="72" y="12"/>
                  </a:cubicBezTo>
                  <a:cubicBezTo>
                    <a:pt x="67" y="8"/>
                    <a:pt x="69" y="5"/>
                    <a:pt x="70" y="2"/>
                  </a:cubicBezTo>
                  <a:cubicBezTo>
                    <a:pt x="70" y="1"/>
                    <a:pt x="70" y="1"/>
                    <a:pt x="70" y="1"/>
                  </a:cubicBezTo>
                  <a:cubicBezTo>
                    <a:pt x="70" y="1"/>
                    <a:pt x="70" y="1"/>
                    <a:pt x="70" y="1"/>
                  </a:cubicBezTo>
                  <a:cubicBezTo>
                    <a:pt x="69" y="0"/>
                    <a:pt x="69"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 name="Freeform 238">
              <a:extLst>
                <a:ext uri="{FF2B5EF4-FFF2-40B4-BE49-F238E27FC236}">
                  <a16:creationId xmlns:a16="http://schemas.microsoft.com/office/drawing/2014/main" id="{3CC78139-829F-4F1E-ACAA-A3522905E893}"/>
                </a:ext>
              </a:extLst>
            </p:cNvPr>
            <p:cNvSpPr>
              <a:spLocks/>
            </p:cNvSpPr>
            <p:nvPr/>
          </p:nvSpPr>
          <p:spPr bwMode="auto">
            <a:xfrm>
              <a:off x="3209" y="2287"/>
              <a:ext cx="5" cy="5"/>
            </a:xfrm>
            <a:custGeom>
              <a:avLst/>
              <a:gdLst>
                <a:gd name="T0" fmla="*/ 1 w 2"/>
                <a:gd name="T1" fmla="*/ 0 h 2"/>
                <a:gd name="T2" fmla="*/ 0 w 2"/>
                <a:gd name="T3" fmla="*/ 0 h 2"/>
                <a:gd name="T4" fmla="*/ 0 w 2"/>
                <a:gd name="T5" fmla="*/ 0 h 2"/>
                <a:gd name="T6" fmla="*/ 1 w 2"/>
                <a:gd name="T7" fmla="*/ 2 h 2"/>
                <a:gd name="T8" fmla="*/ 1 w 2"/>
                <a:gd name="T9" fmla="*/ 2 h 2"/>
                <a:gd name="T10" fmla="*/ 2 w 2"/>
                <a:gd name="T11" fmla="*/ 2 h 2"/>
                <a:gd name="T12" fmla="*/ 2 w 2"/>
                <a:gd name="T13" fmla="*/ 0 h 2"/>
                <a:gd name="T14" fmla="*/ 1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0"/>
                  </a:moveTo>
                  <a:cubicBezTo>
                    <a:pt x="1" y="0"/>
                    <a:pt x="1" y="0"/>
                    <a:pt x="0" y="0"/>
                  </a:cubicBezTo>
                  <a:cubicBezTo>
                    <a:pt x="0" y="0"/>
                    <a:pt x="0" y="0"/>
                    <a:pt x="0" y="0"/>
                  </a:cubicBezTo>
                  <a:cubicBezTo>
                    <a:pt x="0" y="1"/>
                    <a:pt x="0" y="1"/>
                    <a:pt x="1" y="2"/>
                  </a:cubicBezTo>
                  <a:cubicBezTo>
                    <a:pt x="1" y="2"/>
                    <a:pt x="1" y="2"/>
                    <a:pt x="1" y="2"/>
                  </a:cubicBezTo>
                  <a:cubicBezTo>
                    <a:pt x="2" y="2"/>
                    <a:pt x="2" y="2"/>
                    <a:pt x="2" y="2"/>
                  </a:cubicBezTo>
                  <a:cubicBezTo>
                    <a:pt x="2" y="0"/>
                    <a:pt x="2" y="0"/>
                    <a:pt x="2"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 name="Freeform 239">
              <a:extLst>
                <a:ext uri="{FF2B5EF4-FFF2-40B4-BE49-F238E27FC236}">
                  <a16:creationId xmlns:a16="http://schemas.microsoft.com/office/drawing/2014/main" id="{C673F89B-6F6E-4CA7-9BF7-8DC646AFAF2E}"/>
                </a:ext>
              </a:extLst>
            </p:cNvPr>
            <p:cNvSpPr>
              <a:spLocks noEditPoints="1"/>
            </p:cNvSpPr>
            <p:nvPr/>
          </p:nvSpPr>
          <p:spPr bwMode="auto">
            <a:xfrm>
              <a:off x="3193" y="2166"/>
              <a:ext cx="324" cy="343"/>
            </a:xfrm>
            <a:custGeom>
              <a:avLst/>
              <a:gdLst>
                <a:gd name="T0" fmla="*/ 77 w 137"/>
                <a:gd name="T1" fmla="*/ 127 h 145"/>
                <a:gd name="T2" fmla="*/ 79 w 137"/>
                <a:gd name="T3" fmla="*/ 126 h 145"/>
                <a:gd name="T4" fmla="*/ 110 w 137"/>
                <a:gd name="T5" fmla="*/ 124 h 145"/>
                <a:gd name="T6" fmla="*/ 110 w 137"/>
                <a:gd name="T7" fmla="*/ 124 h 145"/>
                <a:gd name="T8" fmla="*/ 42 w 137"/>
                <a:gd name="T9" fmla="*/ 7 h 145"/>
                <a:gd name="T10" fmla="*/ 37 w 137"/>
                <a:gd name="T11" fmla="*/ 7 h 145"/>
                <a:gd name="T12" fmla="*/ 35 w 137"/>
                <a:gd name="T13" fmla="*/ 10 h 145"/>
                <a:gd name="T14" fmla="*/ 28 w 137"/>
                <a:gd name="T15" fmla="*/ 10 h 145"/>
                <a:gd name="T16" fmla="*/ 19 w 137"/>
                <a:gd name="T17" fmla="*/ 5 h 145"/>
                <a:gd name="T18" fmla="*/ 18 w 137"/>
                <a:gd name="T19" fmla="*/ 7 h 145"/>
                <a:gd name="T20" fmla="*/ 10 w 137"/>
                <a:gd name="T21" fmla="*/ 13 h 145"/>
                <a:gd name="T22" fmla="*/ 11 w 137"/>
                <a:gd name="T23" fmla="*/ 24 h 145"/>
                <a:gd name="T24" fmla="*/ 14 w 137"/>
                <a:gd name="T25" fmla="*/ 23 h 145"/>
                <a:gd name="T26" fmla="*/ 17 w 137"/>
                <a:gd name="T27" fmla="*/ 38 h 145"/>
                <a:gd name="T28" fmla="*/ 21 w 137"/>
                <a:gd name="T29" fmla="*/ 50 h 145"/>
                <a:gd name="T30" fmla="*/ 16 w 137"/>
                <a:gd name="T31" fmla="*/ 54 h 145"/>
                <a:gd name="T32" fmla="*/ 12 w 137"/>
                <a:gd name="T33" fmla="*/ 52 h 145"/>
                <a:gd name="T34" fmla="*/ 10 w 137"/>
                <a:gd name="T35" fmla="*/ 52 h 145"/>
                <a:gd name="T36" fmla="*/ 17 w 137"/>
                <a:gd name="T37" fmla="*/ 65 h 145"/>
                <a:gd name="T38" fmla="*/ 5 w 137"/>
                <a:gd name="T39" fmla="*/ 73 h 145"/>
                <a:gd name="T40" fmla="*/ 4 w 137"/>
                <a:gd name="T41" fmla="*/ 75 h 145"/>
                <a:gd name="T42" fmla="*/ 6 w 137"/>
                <a:gd name="T43" fmla="*/ 81 h 145"/>
                <a:gd name="T44" fmla="*/ 6 w 137"/>
                <a:gd name="T45" fmla="*/ 85 h 145"/>
                <a:gd name="T46" fmla="*/ 5 w 137"/>
                <a:gd name="T47" fmla="*/ 88 h 145"/>
                <a:gd name="T48" fmla="*/ 3 w 137"/>
                <a:gd name="T49" fmla="*/ 92 h 145"/>
                <a:gd name="T50" fmla="*/ 5 w 137"/>
                <a:gd name="T51" fmla="*/ 97 h 145"/>
                <a:gd name="T52" fmla="*/ 10 w 137"/>
                <a:gd name="T53" fmla="*/ 97 h 145"/>
                <a:gd name="T54" fmla="*/ 27 w 137"/>
                <a:gd name="T55" fmla="*/ 116 h 145"/>
                <a:gd name="T56" fmla="*/ 24 w 137"/>
                <a:gd name="T57" fmla="*/ 144 h 145"/>
                <a:gd name="T58" fmla="*/ 63 w 137"/>
                <a:gd name="T59" fmla="*/ 130 h 145"/>
                <a:gd name="T60" fmla="*/ 104 w 137"/>
                <a:gd name="T61" fmla="*/ 125 h 145"/>
                <a:gd name="T62" fmla="*/ 85 w 137"/>
                <a:gd name="T63" fmla="*/ 126 h 145"/>
                <a:gd name="T64" fmla="*/ 101 w 137"/>
                <a:gd name="T65" fmla="*/ 124 h 145"/>
                <a:gd name="T66" fmla="*/ 104 w 137"/>
                <a:gd name="T67" fmla="*/ 125 h 145"/>
                <a:gd name="T68" fmla="*/ 121 w 137"/>
                <a:gd name="T69" fmla="*/ 128 h 145"/>
                <a:gd name="T70" fmla="*/ 124 w 137"/>
                <a:gd name="T71" fmla="*/ 127 h 145"/>
                <a:gd name="T72" fmla="*/ 131 w 137"/>
                <a:gd name="T73" fmla="*/ 125 h 145"/>
                <a:gd name="T74" fmla="*/ 127 w 137"/>
                <a:gd name="T75" fmla="*/ 117 h 145"/>
                <a:gd name="T76" fmla="*/ 120 w 137"/>
                <a:gd name="T77" fmla="*/ 95 h 145"/>
                <a:gd name="T78" fmla="*/ 126 w 137"/>
                <a:gd name="T79" fmla="*/ 73 h 145"/>
                <a:gd name="T80" fmla="*/ 131 w 137"/>
                <a:gd name="T81" fmla="*/ 61 h 145"/>
                <a:gd name="T82" fmla="*/ 134 w 137"/>
                <a:gd name="T83" fmla="*/ 42 h 145"/>
                <a:gd name="T84" fmla="*/ 131 w 137"/>
                <a:gd name="T85" fmla="*/ 37 h 145"/>
                <a:gd name="T86" fmla="*/ 131 w 137"/>
                <a:gd name="T87" fmla="*/ 31 h 145"/>
                <a:gd name="T88" fmla="*/ 128 w 137"/>
                <a:gd name="T89" fmla="*/ 25 h 145"/>
                <a:gd name="T90" fmla="*/ 121 w 137"/>
                <a:gd name="T91" fmla="*/ 17 h 145"/>
                <a:gd name="T92" fmla="*/ 116 w 137"/>
                <a:gd name="T93" fmla="*/ 17 h 145"/>
                <a:gd name="T94" fmla="*/ 99 w 137"/>
                <a:gd name="T95" fmla="*/ 23 h 145"/>
                <a:gd name="T96" fmla="*/ 95 w 137"/>
                <a:gd name="T97" fmla="*/ 25 h 145"/>
                <a:gd name="T98" fmla="*/ 77 w 137"/>
                <a:gd name="T99" fmla="*/ 12 h 145"/>
                <a:gd name="T100" fmla="*/ 74 w 137"/>
                <a:gd name="T101" fmla="*/ 8 h 145"/>
                <a:gd name="T102" fmla="*/ 63 w 137"/>
                <a:gd name="T103" fmla="*/ 6 h 145"/>
                <a:gd name="T104" fmla="*/ 51 w 137"/>
                <a:gd name="T105" fmla="*/ 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 h="145">
                  <a:moveTo>
                    <a:pt x="77" y="127"/>
                  </a:moveTo>
                  <a:cubicBezTo>
                    <a:pt x="77" y="127"/>
                    <a:pt x="76" y="127"/>
                    <a:pt x="76" y="127"/>
                  </a:cubicBezTo>
                  <a:cubicBezTo>
                    <a:pt x="76" y="127"/>
                    <a:pt x="77" y="127"/>
                    <a:pt x="77" y="127"/>
                  </a:cubicBezTo>
                  <a:moveTo>
                    <a:pt x="77" y="127"/>
                  </a:moveTo>
                  <a:cubicBezTo>
                    <a:pt x="77" y="127"/>
                    <a:pt x="77" y="127"/>
                    <a:pt x="78" y="127"/>
                  </a:cubicBezTo>
                  <a:cubicBezTo>
                    <a:pt x="77" y="127"/>
                    <a:pt x="77" y="127"/>
                    <a:pt x="77" y="127"/>
                  </a:cubicBezTo>
                  <a:cubicBezTo>
                    <a:pt x="77" y="127"/>
                    <a:pt x="77" y="127"/>
                    <a:pt x="77" y="127"/>
                  </a:cubicBezTo>
                  <a:moveTo>
                    <a:pt x="79" y="126"/>
                  </a:moveTo>
                  <a:cubicBezTo>
                    <a:pt x="79" y="126"/>
                    <a:pt x="79" y="126"/>
                    <a:pt x="79" y="126"/>
                  </a:cubicBezTo>
                  <a:moveTo>
                    <a:pt x="109" y="124"/>
                  </a:moveTo>
                  <a:cubicBezTo>
                    <a:pt x="110" y="124"/>
                    <a:pt x="110" y="124"/>
                    <a:pt x="110" y="124"/>
                  </a:cubicBezTo>
                  <a:cubicBezTo>
                    <a:pt x="110" y="124"/>
                    <a:pt x="110" y="124"/>
                    <a:pt x="110" y="124"/>
                  </a:cubicBezTo>
                  <a:cubicBezTo>
                    <a:pt x="109" y="124"/>
                    <a:pt x="109" y="124"/>
                    <a:pt x="109" y="124"/>
                  </a:cubicBezTo>
                  <a:moveTo>
                    <a:pt x="110" y="124"/>
                  </a:moveTo>
                  <a:cubicBezTo>
                    <a:pt x="110" y="123"/>
                    <a:pt x="109" y="122"/>
                    <a:pt x="109" y="122"/>
                  </a:cubicBezTo>
                  <a:cubicBezTo>
                    <a:pt x="109" y="122"/>
                    <a:pt x="110" y="123"/>
                    <a:pt x="110" y="124"/>
                  </a:cubicBezTo>
                  <a:moveTo>
                    <a:pt x="44" y="0"/>
                  </a:moveTo>
                  <a:cubicBezTo>
                    <a:pt x="44" y="1"/>
                    <a:pt x="44" y="2"/>
                    <a:pt x="44" y="2"/>
                  </a:cubicBezTo>
                  <a:cubicBezTo>
                    <a:pt x="45" y="7"/>
                    <a:pt x="45" y="7"/>
                    <a:pt x="45" y="7"/>
                  </a:cubicBezTo>
                  <a:cubicBezTo>
                    <a:pt x="42" y="7"/>
                    <a:pt x="42" y="7"/>
                    <a:pt x="42" y="7"/>
                  </a:cubicBezTo>
                  <a:cubicBezTo>
                    <a:pt x="41" y="7"/>
                    <a:pt x="40" y="7"/>
                    <a:pt x="40" y="7"/>
                  </a:cubicBezTo>
                  <a:cubicBezTo>
                    <a:pt x="39" y="7"/>
                    <a:pt x="39" y="7"/>
                    <a:pt x="39" y="7"/>
                  </a:cubicBezTo>
                  <a:cubicBezTo>
                    <a:pt x="39" y="7"/>
                    <a:pt x="38" y="7"/>
                    <a:pt x="38" y="7"/>
                  </a:cubicBezTo>
                  <a:cubicBezTo>
                    <a:pt x="37" y="7"/>
                    <a:pt x="37" y="7"/>
                    <a:pt x="37" y="7"/>
                  </a:cubicBezTo>
                  <a:cubicBezTo>
                    <a:pt x="37" y="7"/>
                    <a:pt x="37" y="7"/>
                    <a:pt x="37" y="7"/>
                  </a:cubicBezTo>
                  <a:cubicBezTo>
                    <a:pt x="36" y="7"/>
                    <a:pt x="36" y="7"/>
                    <a:pt x="36" y="7"/>
                  </a:cubicBezTo>
                  <a:cubicBezTo>
                    <a:pt x="36" y="8"/>
                    <a:pt x="36" y="8"/>
                    <a:pt x="36" y="8"/>
                  </a:cubicBezTo>
                  <a:cubicBezTo>
                    <a:pt x="36" y="9"/>
                    <a:pt x="36" y="10"/>
                    <a:pt x="35" y="10"/>
                  </a:cubicBezTo>
                  <a:cubicBezTo>
                    <a:pt x="33" y="15"/>
                    <a:pt x="33" y="15"/>
                    <a:pt x="33" y="15"/>
                  </a:cubicBezTo>
                  <a:cubicBezTo>
                    <a:pt x="30" y="10"/>
                    <a:pt x="30" y="10"/>
                    <a:pt x="30" y="10"/>
                  </a:cubicBezTo>
                  <a:cubicBezTo>
                    <a:pt x="29" y="10"/>
                    <a:pt x="29" y="10"/>
                    <a:pt x="29" y="10"/>
                  </a:cubicBezTo>
                  <a:cubicBezTo>
                    <a:pt x="29" y="10"/>
                    <a:pt x="29" y="10"/>
                    <a:pt x="28" y="10"/>
                  </a:cubicBezTo>
                  <a:cubicBezTo>
                    <a:pt x="27" y="10"/>
                    <a:pt x="26" y="10"/>
                    <a:pt x="24" y="9"/>
                  </a:cubicBezTo>
                  <a:cubicBezTo>
                    <a:pt x="24" y="9"/>
                    <a:pt x="23" y="8"/>
                    <a:pt x="23" y="7"/>
                  </a:cubicBezTo>
                  <a:cubicBezTo>
                    <a:pt x="22" y="7"/>
                    <a:pt x="22" y="7"/>
                    <a:pt x="22" y="7"/>
                  </a:cubicBezTo>
                  <a:cubicBezTo>
                    <a:pt x="21" y="6"/>
                    <a:pt x="20" y="5"/>
                    <a:pt x="19" y="5"/>
                  </a:cubicBezTo>
                  <a:cubicBezTo>
                    <a:pt x="19" y="5"/>
                    <a:pt x="19" y="5"/>
                    <a:pt x="19" y="5"/>
                  </a:cubicBezTo>
                  <a:cubicBezTo>
                    <a:pt x="19" y="5"/>
                    <a:pt x="19" y="5"/>
                    <a:pt x="19" y="5"/>
                  </a:cubicBezTo>
                  <a:cubicBezTo>
                    <a:pt x="19" y="7"/>
                    <a:pt x="19" y="7"/>
                    <a:pt x="19" y="7"/>
                  </a:cubicBezTo>
                  <a:cubicBezTo>
                    <a:pt x="18" y="7"/>
                    <a:pt x="18" y="7"/>
                    <a:pt x="18" y="7"/>
                  </a:cubicBezTo>
                  <a:cubicBezTo>
                    <a:pt x="18" y="7"/>
                    <a:pt x="18" y="7"/>
                    <a:pt x="18" y="7"/>
                  </a:cubicBezTo>
                  <a:cubicBezTo>
                    <a:pt x="17" y="8"/>
                    <a:pt x="17" y="8"/>
                    <a:pt x="17" y="8"/>
                  </a:cubicBezTo>
                  <a:cubicBezTo>
                    <a:pt x="14" y="10"/>
                    <a:pt x="14" y="10"/>
                    <a:pt x="14" y="10"/>
                  </a:cubicBezTo>
                  <a:cubicBezTo>
                    <a:pt x="12" y="11"/>
                    <a:pt x="11" y="12"/>
                    <a:pt x="10" y="13"/>
                  </a:cubicBezTo>
                  <a:cubicBezTo>
                    <a:pt x="10" y="13"/>
                    <a:pt x="10" y="13"/>
                    <a:pt x="10" y="14"/>
                  </a:cubicBezTo>
                  <a:cubicBezTo>
                    <a:pt x="9" y="15"/>
                    <a:pt x="9" y="17"/>
                    <a:pt x="9" y="19"/>
                  </a:cubicBezTo>
                  <a:cubicBezTo>
                    <a:pt x="9" y="20"/>
                    <a:pt x="9" y="20"/>
                    <a:pt x="9" y="20"/>
                  </a:cubicBezTo>
                  <a:cubicBezTo>
                    <a:pt x="10" y="21"/>
                    <a:pt x="10" y="23"/>
                    <a:pt x="11" y="24"/>
                  </a:cubicBezTo>
                  <a:cubicBezTo>
                    <a:pt x="11" y="24"/>
                    <a:pt x="11" y="24"/>
                    <a:pt x="11" y="24"/>
                  </a:cubicBezTo>
                  <a:cubicBezTo>
                    <a:pt x="11" y="24"/>
                    <a:pt x="12" y="24"/>
                    <a:pt x="12" y="24"/>
                  </a:cubicBezTo>
                  <a:cubicBezTo>
                    <a:pt x="12" y="24"/>
                    <a:pt x="13" y="23"/>
                    <a:pt x="13" y="23"/>
                  </a:cubicBezTo>
                  <a:cubicBezTo>
                    <a:pt x="13" y="23"/>
                    <a:pt x="14" y="23"/>
                    <a:pt x="14" y="23"/>
                  </a:cubicBezTo>
                  <a:cubicBezTo>
                    <a:pt x="17" y="24"/>
                    <a:pt x="17" y="24"/>
                    <a:pt x="17" y="24"/>
                  </a:cubicBezTo>
                  <a:cubicBezTo>
                    <a:pt x="17" y="26"/>
                    <a:pt x="17" y="26"/>
                    <a:pt x="17" y="26"/>
                  </a:cubicBezTo>
                  <a:cubicBezTo>
                    <a:pt x="17" y="27"/>
                    <a:pt x="17" y="28"/>
                    <a:pt x="17" y="29"/>
                  </a:cubicBezTo>
                  <a:cubicBezTo>
                    <a:pt x="18" y="31"/>
                    <a:pt x="20" y="35"/>
                    <a:pt x="17" y="38"/>
                  </a:cubicBezTo>
                  <a:cubicBezTo>
                    <a:pt x="17" y="38"/>
                    <a:pt x="16" y="39"/>
                    <a:pt x="16" y="39"/>
                  </a:cubicBezTo>
                  <a:cubicBezTo>
                    <a:pt x="16" y="40"/>
                    <a:pt x="16" y="40"/>
                    <a:pt x="16" y="40"/>
                  </a:cubicBezTo>
                  <a:cubicBezTo>
                    <a:pt x="16" y="40"/>
                    <a:pt x="16" y="40"/>
                    <a:pt x="16" y="40"/>
                  </a:cubicBezTo>
                  <a:cubicBezTo>
                    <a:pt x="18" y="42"/>
                    <a:pt x="20" y="45"/>
                    <a:pt x="21" y="50"/>
                  </a:cubicBezTo>
                  <a:cubicBezTo>
                    <a:pt x="22" y="52"/>
                    <a:pt x="22" y="52"/>
                    <a:pt x="22" y="52"/>
                  </a:cubicBezTo>
                  <a:cubicBezTo>
                    <a:pt x="19" y="54"/>
                    <a:pt x="19" y="54"/>
                    <a:pt x="19" y="54"/>
                  </a:cubicBezTo>
                  <a:cubicBezTo>
                    <a:pt x="19" y="54"/>
                    <a:pt x="18" y="54"/>
                    <a:pt x="17" y="54"/>
                  </a:cubicBezTo>
                  <a:cubicBezTo>
                    <a:pt x="17" y="54"/>
                    <a:pt x="16" y="54"/>
                    <a:pt x="16" y="54"/>
                  </a:cubicBezTo>
                  <a:cubicBezTo>
                    <a:pt x="15" y="54"/>
                    <a:pt x="15" y="54"/>
                    <a:pt x="15" y="54"/>
                  </a:cubicBezTo>
                  <a:cubicBezTo>
                    <a:pt x="14" y="53"/>
                    <a:pt x="14" y="53"/>
                    <a:pt x="14" y="53"/>
                  </a:cubicBezTo>
                  <a:cubicBezTo>
                    <a:pt x="13" y="52"/>
                    <a:pt x="13" y="52"/>
                    <a:pt x="13" y="52"/>
                  </a:cubicBezTo>
                  <a:cubicBezTo>
                    <a:pt x="12" y="52"/>
                    <a:pt x="12" y="52"/>
                    <a:pt x="12" y="52"/>
                  </a:cubicBezTo>
                  <a:cubicBezTo>
                    <a:pt x="11" y="52"/>
                    <a:pt x="11" y="52"/>
                    <a:pt x="11" y="52"/>
                  </a:cubicBezTo>
                  <a:cubicBezTo>
                    <a:pt x="11" y="52"/>
                    <a:pt x="11" y="51"/>
                    <a:pt x="10" y="51"/>
                  </a:cubicBezTo>
                  <a:cubicBezTo>
                    <a:pt x="10" y="51"/>
                    <a:pt x="10" y="51"/>
                    <a:pt x="10" y="51"/>
                  </a:cubicBezTo>
                  <a:cubicBezTo>
                    <a:pt x="10" y="52"/>
                    <a:pt x="10" y="52"/>
                    <a:pt x="10" y="52"/>
                  </a:cubicBezTo>
                  <a:cubicBezTo>
                    <a:pt x="10" y="52"/>
                    <a:pt x="10" y="52"/>
                    <a:pt x="10" y="52"/>
                  </a:cubicBezTo>
                  <a:cubicBezTo>
                    <a:pt x="12" y="54"/>
                    <a:pt x="12" y="54"/>
                    <a:pt x="12" y="54"/>
                  </a:cubicBezTo>
                  <a:cubicBezTo>
                    <a:pt x="12" y="55"/>
                    <a:pt x="13" y="56"/>
                    <a:pt x="13" y="57"/>
                  </a:cubicBezTo>
                  <a:cubicBezTo>
                    <a:pt x="17" y="65"/>
                    <a:pt x="17" y="65"/>
                    <a:pt x="17" y="65"/>
                  </a:cubicBezTo>
                  <a:cubicBezTo>
                    <a:pt x="11" y="63"/>
                    <a:pt x="11" y="63"/>
                    <a:pt x="11" y="63"/>
                  </a:cubicBezTo>
                  <a:cubicBezTo>
                    <a:pt x="11" y="67"/>
                    <a:pt x="9" y="72"/>
                    <a:pt x="6" y="73"/>
                  </a:cubicBezTo>
                  <a:cubicBezTo>
                    <a:pt x="5" y="73"/>
                    <a:pt x="5" y="73"/>
                    <a:pt x="5" y="73"/>
                  </a:cubicBezTo>
                  <a:cubicBezTo>
                    <a:pt x="5" y="73"/>
                    <a:pt x="5" y="73"/>
                    <a:pt x="5" y="73"/>
                  </a:cubicBezTo>
                  <a:cubicBezTo>
                    <a:pt x="5" y="74"/>
                    <a:pt x="5" y="74"/>
                    <a:pt x="4" y="74"/>
                  </a:cubicBezTo>
                  <a:cubicBezTo>
                    <a:pt x="3" y="74"/>
                    <a:pt x="3" y="74"/>
                    <a:pt x="3" y="74"/>
                  </a:cubicBezTo>
                  <a:cubicBezTo>
                    <a:pt x="4" y="74"/>
                    <a:pt x="4" y="75"/>
                    <a:pt x="4" y="75"/>
                  </a:cubicBezTo>
                  <a:cubicBezTo>
                    <a:pt x="4" y="75"/>
                    <a:pt x="4" y="75"/>
                    <a:pt x="4" y="75"/>
                  </a:cubicBezTo>
                  <a:cubicBezTo>
                    <a:pt x="4" y="76"/>
                    <a:pt x="5" y="77"/>
                    <a:pt x="5" y="78"/>
                  </a:cubicBezTo>
                  <a:cubicBezTo>
                    <a:pt x="5" y="79"/>
                    <a:pt x="5" y="79"/>
                    <a:pt x="5" y="79"/>
                  </a:cubicBezTo>
                  <a:cubicBezTo>
                    <a:pt x="5" y="80"/>
                    <a:pt x="5" y="80"/>
                    <a:pt x="5" y="80"/>
                  </a:cubicBezTo>
                  <a:cubicBezTo>
                    <a:pt x="6" y="81"/>
                    <a:pt x="6" y="81"/>
                    <a:pt x="6" y="81"/>
                  </a:cubicBezTo>
                  <a:cubicBezTo>
                    <a:pt x="6" y="82"/>
                    <a:pt x="6" y="82"/>
                    <a:pt x="6" y="82"/>
                  </a:cubicBezTo>
                  <a:cubicBezTo>
                    <a:pt x="6" y="83"/>
                    <a:pt x="6" y="83"/>
                    <a:pt x="6" y="83"/>
                  </a:cubicBezTo>
                  <a:cubicBezTo>
                    <a:pt x="6" y="84"/>
                    <a:pt x="6" y="84"/>
                    <a:pt x="6" y="84"/>
                  </a:cubicBezTo>
                  <a:cubicBezTo>
                    <a:pt x="6" y="85"/>
                    <a:pt x="6" y="85"/>
                    <a:pt x="6" y="85"/>
                  </a:cubicBezTo>
                  <a:cubicBezTo>
                    <a:pt x="5" y="86"/>
                    <a:pt x="5" y="86"/>
                    <a:pt x="5" y="86"/>
                  </a:cubicBezTo>
                  <a:cubicBezTo>
                    <a:pt x="5" y="86"/>
                    <a:pt x="5" y="86"/>
                    <a:pt x="5" y="86"/>
                  </a:cubicBezTo>
                  <a:cubicBezTo>
                    <a:pt x="5" y="87"/>
                    <a:pt x="5" y="87"/>
                    <a:pt x="5" y="87"/>
                  </a:cubicBezTo>
                  <a:cubicBezTo>
                    <a:pt x="5" y="87"/>
                    <a:pt x="5" y="88"/>
                    <a:pt x="5" y="88"/>
                  </a:cubicBezTo>
                  <a:cubicBezTo>
                    <a:pt x="4" y="89"/>
                    <a:pt x="4" y="89"/>
                    <a:pt x="4" y="89"/>
                  </a:cubicBezTo>
                  <a:cubicBezTo>
                    <a:pt x="4" y="90"/>
                    <a:pt x="4" y="90"/>
                    <a:pt x="4" y="90"/>
                  </a:cubicBezTo>
                  <a:cubicBezTo>
                    <a:pt x="4" y="91"/>
                    <a:pt x="3" y="91"/>
                    <a:pt x="3" y="92"/>
                  </a:cubicBezTo>
                  <a:cubicBezTo>
                    <a:pt x="3" y="92"/>
                    <a:pt x="3" y="92"/>
                    <a:pt x="3" y="92"/>
                  </a:cubicBezTo>
                  <a:cubicBezTo>
                    <a:pt x="2" y="93"/>
                    <a:pt x="2" y="93"/>
                    <a:pt x="2" y="93"/>
                  </a:cubicBezTo>
                  <a:cubicBezTo>
                    <a:pt x="2" y="93"/>
                    <a:pt x="1" y="94"/>
                    <a:pt x="0" y="95"/>
                  </a:cubicBezTo>
                  <a:cubicBezTo>
                    <a:pt x="2" y="96"/>
                    <a:pt x="3" y="96"/>
                    <a:pt x="4" y="97"/>
                  </a:cubicBezTo>
                  <a:cubicBezTo>
                    <a:pt x="5" y="97"/>
                    <a:pt x="5" y="97"/>
                    <a:pt x="5" y="97"/>
                  </a:cubicBezTo>
                  <a:cubicBezTo>
                    <a:pt x="5" y="97"/>
                    <a:pt x="6" y="97"/>
                    <a:pt x="6" y="97"/>
                  </a:cubicBezTo>
                  <a:cubicBezTo>
                    <a:pt x="6" y="97"/>
                    <a:pt x="7" y="97"/>
                    <a:pt x="7" y="97"/>
                  </a:cubicBezTo>
                  <a:cubicBezTo>
                    <a:pt x="7" y="97"/>
                    <a:pt x="8" y="97"/>
                    <a:pt x="8" y="97"/>
                  </a:cubicBezTo>
                  <a:cubicBezTo>
                    <a:pt x="8" y="97"/>
                    <a:pt x="9" y="97"/>
                    <a:pt x="10" y="97"/>
                  </a:cubicBezTo>
                  <a:cubicBezTo>
                    <a:pt x="13" y="98"/>
                    <a:pt x="15" y="99"/>
                    <a:pt x="17" y="101"/>
                  </a:cubicBezTo>
                  <a:cubicBezTo>
                    <a:pt x="20" y="103"/>
                    <a:pt x="20" y="103"/>
                    <a:pt x="20" y="103"/>
                  </a:cubicBezTo>
                  <a:cubicBezTo>
                    <a:pt x="20" y="104"/>
                    <a:pt x="21" y="105"/>
                    <a:pt x="22" y="105"/>
                  </a:cubicBezTo>
                  <a:cubicBezTo>
                    <a:pt x="25" y="108"/>
                    <a:pt x="27" y="112"/>
                    <a:pt x="27" y="116"/>
                  </a:cubicBezTo>
                  <a:cubicBezTo>
                    <a:pt x="28" y="123"/>
                    <a:pt x="25" y="129"/>
                    <a:pt x="23" y="135"/>
                  </a:cubicBezTo>
                  <a:cubicBezTo>
                    <a:pt x="22" y="136"/>
                    <a:pt x="22" y="136"/>
                    <a:pt x="22" y="136"/>
                  </a:cubicBezTo>
                  <a:cubicBezTo>
                    <a:pt x="22" y="136"/>
                    <a:pt x="22" y="138"/>
                    <a:pt x="24" y="143"/>
                  </a:cubicBezTo>
                  <a:cubicBezTo>
                    <a:pt x="24" y="144"/>
                    <a:pt x="24" y="144"/>
                    <a:pt x="24" y="144"/>
                  </a:cubicBezTo>
                  <a:cubicBezTo>
                    <a:pt x="24" y="144"/>
                    <a:pt x="24" y="145"/>
                    <a:pt x="24" y="145"/>
                  </a:cubicBezTo>
                  <a:cubicBezTo>
                    <a:pt x="25" y="144"/>
                    <a:pt x="27" y="144"/>
                    <a:pt x="27" y="143"/>
                  </a:cubicBezTo>
                  <a:cubicBezTo>
                    <a:pt x="33" y="140"/>
                    <a:pt x="41" y="138"/>
                    <a:pt x="47" y="135"/>
                  </a:cubicBezTo>
                  <a:cubicBezTo>
                    <a:pt x="52" y="133"/>
                    <a:pt x="57" y="131"/>
                    <a:pt x="63" y="130"/>
                  </a:cubicBezTo>
                  <a:cubicBezTo>
                    <a:pt x="68" y="129"/>
                    <a:pt x="74" y="129"/>
                    <a:pt x="80" y="128"/>
                  </a:cubicBezTo>
                  <a:cubicBezTo>
                    <a:pt x="80" y="127"/>
                    <a:pt x="80" y="127"/>
                    <a:pt x="80" y="127"/>
                  </a:cubicBezTo>
                  <a:cubicBezTo>
                    <a:pt x="83" y="127"/>
                    <a:pt x="85" y="127"/>
                    <a:pt x="88" y="127"/>
                  </a:cubicBezTo>
                  <a:cubicBezTo>
                    <a:pt x="94" y="127"/>
                    <a:pt x="99" y="126"/>
                    <a:pt x="104" y="125"/>
                  </a:cubicBezTo>
                  <a:cubicBezTo>
                    <a:pt x="103" y="124"/>
                    <a:pt x="102" y="124"/>
                    <a:pt x="101" y="124"/>
                  </a:cubicBezTo>
                  <a:cubicBezTo>
                    <a:pt x="99" y="124"/>
                    <a:pt x="96" y="125"/>
                    <a:pt x="94" y="125"/>
                  </a:cubicBezTo>
                  <a:cubicBezTo>
                    <a:pt x="91" y="126"/>
                    <a:pt x="89" y="127"/>
                    <a:pt x="87" y="127"/>
                  </a:cubicBezTo>
                  <a:cubicBezTo>
                    <a:pt x="86" y="127"/>
                    <a:pt x="86" y="127"/>
                    <a:pt x="85" y="126"/>
                  </a:cubicBezTo>
                  <a:cubicBezTo>
                    <a:pt x="89" y="125"/>
                    <a:pt x="93" y="124"/>
                    <a:pt x="97" y="124"/>
                  </a:cubicBezTo>
                  <a:cubicBezTo>
                    <a:pt x="97" y="124"/>
                    <a:pt x="97" y="124"/>
                    <a:pt x="98" y="124"/>
                  </a:cubicBezTo>
                  <a:cubicBezTo>
                    <a:pt x="98" y="124"/>
                    <a:pt x="98" y="124"/>
                    <a:pt x="98" y="124"/>
                  </a:cubicBezTo>
                  <a:cubicBezTo>
                    <a:pt x="99" y="124"/>
                    <a:pt x="100" y="124"/>
                    <a:pt x="101" y="124"/>
                  </a:cubicBezTo>
                  <a:cubicBezTo>
                    <a:pt x="102" y="124"/>
                    <a:pt x="103" y="124"/>
                    <a:pt x="104" y="124"/>
                  </a:cubicBezTo>
                  <a:cubicBezTo>
                    <a:pt x="106" y="124"/>
                    <a:pt x="109" y="124"/>
                    <a:pt x="109" y="125"/>
                  </a:cubicBezTo>
                  <a:cubicBezTo>
                    <a:pt x="108" y="125"/>
                    <a:pt x="106" y="125"/>
                    <a:pt x="105" y="125"/>
                  </a:cubicBezTo>
                  <a:cubicBezTo>
                    <a:pt x="104" y="125"/>
                    <a:pt x="104" y="125"/>
                    <a:pt x="104" y="125"/>
                  </a:cubicBezTo>
                  <a:cubicBezTo>
                    <a:pt x="106" y="126"/>
                    <a:pt x="107" y="126"/>
                    <a:pt x="109" y="126"/>
                  </a:cubicBezTo>
                  <a:cubicBezTo>
                    <a:pt x="111" y="126"/>
                    <a:pt x="116" y="128"/>
                    <a:pt x="119" y="128"/>
                  </a:cubicBezTo>
                  <a:cubicBezTo>
                    <a:pt x="120" y="128"/>
                    <a:pt x="121" y="128"/>
                    <a:pt x="121" y="127"/>
                  </a:cubicBezTo>
                  <a:cubicBezTo>
                    <a:pt x="121" y="128"/>
                    <a:pt x="121" y="128"/>
                    <a:pt x="121" y="128"/>
                  </a:cubicBezTo>
                  <a:cubicBezTo>
                    <a:pt x="121" y="128"/>
                    <a:pt x="121" y="126"/>
                    <a:pt x="121" y="126"/>
                  </a:cubicBezTo>
                  <a:cubicBezTo>
                    <a:pt x="121" y="125"/>
                    <a:pt x="122" y="123"/>
                    <a:pt x="123" y="123"/>
                  </a:cubicBezTo>
                  <a:cubicBezTo>
                    <a:pt x="123" y="123"/>
                    <a:pt x="124" y="123"/>
                    <a:pt x="124" y="124"/>
                  </a:cubicBezTo>
                  <a:cubicBezTo>
                    <a:pt x="125" y="124"/>
                    <a:pt x="124" y="126"/>
                    <a:pt x="124" y="127"/>
                  </a:cubicBezTo>
                  <a:cubicBezTo>
                    <a:pt x="125" y="125"/>
                    <a:pt x="125" y="125"/>
                    <a:pt x="125" y="125"/>
                  </a:cubicBezTo>
                  <a:cubicBezTo>
                    <a:pt x="126" y="125"/>
                    <a:pt x="126" y="125"/>
                    <a:pt x="126" y="125"/>
                  </a:cubicBezTo>
                  <a:cubicBezTo>
                    <a:pt x="127" y="125"/>
                    <a:pt x="128" y="125"/>
                    <a:pt x="129" y="125"/>
                  </a:cubicBezTo>
                  <a:cubicBezTo>
                    <a:pt x="130" y="125"/>
                    <a:pt x="130" y="125"/>
                    <a:pt x="131" y="125"/>
                  </a:cubicBezTo>
                  <a:cubicBezTo>
                    <a:pt x="131" y="125"/>
                    <a:pt x="131" y="124"/>
                    <a:pt x="131" y="123"/>
                  </a:cubicBezTo>
                  <a:cubicBezTo>
                    <a:pt x="131" y="123"/>
                    <a:pt x="131" y="122"/>
                    <a:pt x="131" y="122"/>
                  </a:cubicBezTo>
                  <a:cubicBezTo>
                    <a:pt x="130" y="121"/>
                    <a:pt x="129" y="120"/>
                    <a:pt x="128" y="119"/>
                  </a:cubicBezTo>
                  <a:cubicBezTo>
                    <a:pt x="128" y="118"/>
                    <a:pt x="127" y="118"/>
                    <a:pt x="127" y="117"/>
                  </a:cubicBezTo>
                  <a:cubicBezTo>
                    <a:pt x="127" y="117"/>
                    <a:pt x="126" y="116"/>
                    <a:pt x="126" y="115"/>
                  </a:cubicBezTo>
                  <a:cubicBezTo>
                    <a:pt x="125" y="115"/>
                    <a:pt x="125" y="114"/>
                    <a:pt x="125" y="114"/>
                  </a:cubicBezTo>
                  <a:cubicBezTo>
                    <a:pt x="124" y="113"/>
                    <a:pt x="124" y="113"/>
                    <a:pt x="124" y="113"/>
                  </a:cubicBezTo>
                  <a:cubicBezTo>
                    <a:pt x="122" y="107"/>
                    <a:pt x="121" y="101"/>
                    <a:pt x="120" y="95"/>
                  </a:cubicBezTo>
                  <a:cubicBezTo>
                    <a:pt x="120" y="92"/>
                    <a:pt x="120" y="92"/>
                    <a:pt x="120" y="92"/>
                  </a:cubicBezTo>
                  <a:cubicBezTo>
                    <a:pt x="119" y="87"/>
                    <a:pt x="122" y="82"/>
                    <a:pt x="124" y="78"/>
                  </a:cubicBezTo>
                  <a:cubicBezTo>
                    <a:pt x="124" y="77"/>
                    <a:pt x="124" y="77"/>
                    <a:pt x="124" y="77"/>
                  </a:cubicBezTo>
                  <a:cubicBezTo>
                    <a:pt x="125" y="75"/>
                    <a:pt x="125" y="74"/>
                    <a:pt x="126" y="73"/>
                  </a:cubicBezTo>
                  <a:cubicBezTo>
                    <a:pt x="126" y="72"/>
                    <a:pt x="126" y="71"/>
                    <a:pt x="126" y="71"/>
                  </a:cubicBezTo>
                  <a:cubicBezTo>
                    <a:pt x="126" y="70"/>
                    <a:pt x="126" y="70"/>
                    <a:pt x="126" y="70"/>
                  </a:cubicBezTo>
                  <a:cubicBezTo>
                    <a:pt x="127" y="68"/>
                    <a:pt x="128" y="66"/>
                    <a:pt x="129" y="64"/>
                  </a:cubicBezTo>
                  <a:cubicBezTo>
                    <a:pt x="130" y="63"/>
                    <a:pt x="131" y="62"/>
                    <a:pt x="131" y="61"/>
                  </a:cubicBezTo>
                  <a:cubicBezTo>
                    <a:pt x="133" y="59"/>
                    <a:pt x="133" y="59"/>
                    <a:pt x="133" y="59"/>
                  </a:cubicBezTo>
                  <a:cubicBezTo>
                    <a:pt x="134" y="58"/>
                    <a:pt x="134" y="58"/>
                    <a:pt x="135" y="57"/>
                  </a:cubicBezTo>
                  <a:cubicBezTo>
                    <a:pt x="137" y="54"/>
                    <a:pt x="137" y="53"/>
                    <a:pt x="136" y="50"/>
                  </a:cubicBezTo>
                  <a:cubicBezTo>
                    <a:pt x="135" y="46"/>
                    <a:pt x="135" y="44"/>
                    <a:pt x="134" y="42"/>
                  </a:cubicBezTo>
                  <a:cubicBezTo>
                    <a:pt x="134" y="42"/>
                    <a:pt x="134" y="42"/>
                    <a:pt x="134" y="42"/>
                  </a:cubicBezTo>
                  <a:cubicBezTo>
                    <a:pt x="133" y="41"/>
                    <a:pt x="133" y="40"/>
                    <a:pt x="133" y="40"/>
                  </a:cubicBezTo>
                  <a:cubicBezTo>
                    <a:pt x="132" y="39"/>
                    <a:pt x="132" y="39"/>
                    <a:pt x="132" y="39"/>
                  </a:cubicBezTo>
                  <a:cubicBezTo>
                    <a:pt x="132" y="38"/>
                    <a:pt x="131" y="38"/>
                    <a:pt x="131" y="37"/>
                  </a:cubicBezTo>
                  <a:cubicBezTo>
                    <a:pt x="131" y="36"/>
                    <a:pt x="131" y="36"/>
                    <a:pt x="131" y="35"/>
                  </a:cubicBezTo>
                  <a:cubicBezTo>
                    <a:pt x="130" y="34"/>
                    <a:pt x="130" y="34"/>
                    <a:pt x="130" y="34"/>
                  </a:cubicBezTo>
                  <a:cubicBezTo>
                    <a:pt x="130" y="33"/>
                    <a:pt x="130" y="32"/>
                    <a:pt x="130" y="32"/>
                  </a:cubicBezTo>
                  <a:cubicBezTo>
                    <a:pt x="131" y="31"/>
                    <a:pt x="131" y="31"/>
                    <a:pt x="131" y="31"/>
                  </a:cubicBezTo>
                  <a:cubicBezTo>
                    <a:pt x="131" y="30"/>
                    <a:pt x="131" y="29"/>
                    <a:pt x="131" y="29"/>
                  </a:cubicBezTo>
                  <a:cubicBezTo>
                    <a:pt x="131" y="28"/>
                    <a:pt x="131" y="28"/>
                    <a:pt x="131" y="28"/>
                  </a:cubicBezTo>
                  <a:cubicBezTo>
                    <a:pt x="131" y="28"/>
                    <a:pt x="131" y="28"/>
                    <a:pt x="131" y="28"/>
                  </a:cubicBezTo>
                  <a:cubicBezTo>
                    <a:pt x="129" y="28"/>
                    <a:pt x="129" y="26"/>
                    <a:pt x="128" y="25"/>
                  </a:cubicBezTo>
                  <a:cubicBezTo>
                    <a:pt x="128" y="25"/>
                    <a:pt x="127" y="24"/>
                    <a:pt x="127" y="23"/>
                  </a:cubicBezTo>
                  <a:cubicBezTo>
                    <a:pt x="127" y="23"/>
                    <a:pt x="127" y="23"/>
                    <a:pt x="127" y="23"/>
                  </a:cubicBezTo>
                  <a:cubicBezTo>
                    <a:pt x="127" y="22"/>
                    <a:pt x="126" y="22"/>
                    <a:pt x="125" y="21"/>
                  </a:cubicBezTo>
                  <a:cubicBezTo>
                    <a:pt x="123" y="20"/>
                    <a:pt x="121" y="19"/>
                    <a:pt x="121" y="17"/>
                  </a:cubicBezTo>
                  <a:cubicBezTo>
                    <a:pt x="120" y="17"/>
                    <a:pt x="120" y="17"/>
                    <a:pt x="120" y="17"/>
                  </a:cubicBezTo>
                  <a:cubicBezTo>
                    <a:pt x="120" y="17"/>
                    <a:pt x="119" y="17"/>
                    <a:pt x="118" y="17"/>
                  </a:cubicBezTo>
                  <a:cubicBezTo>
                    <a:pt x="118" y="17"/>
                    <a:pt x="118" y="17"/>
                    <a:pt x="118" y="17"/>
                  </a:cubicBezTo>
                  <a:cubicBezTo>
                    <a:pt x="116" y="17"/>
                    <a:pt x="116" y="17"/>
                    <a:pt x="116" y="17"/>
                  </a:cubicBezTo>
                  <a:cubicBezTo>
                    <a:pt x="116" y="17"/>
                    <a:pt x="115" y="17"/>
                    <a:pt x="115" y="17"/>
                  </a:cubicBezTo>
                  <a:cubicBezTo>
                    <a:pt x="115" y="17"/>
                    <a:pt x="114" y="17"/>
                    <a:pt x="114" y="17"/>
                  </a:cubicBezTo>
                  <a:cubicBezTo>
                    <a:pt x="112" y="17"/>
                    <a:pt x="109" y="17"/>
                    <a:pt x="107" y="18"/>
                  </a:cubicBezTo>
                  <a:cubicBezTo>
                    <a:pt x="104" y="19"/>
                    <a:pt x="101" y="21"/>
                    <a:pt x="99" y="23"/>
                  </a:cubicBezTo>
                  <a:cubicBezTo>
                    <a:pt x="98" y="25"/>
                    <a:pt x="98" y="25"/>
                    <a:pt x="98" y="25"/>
                  </a:cubicBezTo>
                  <a:cubicBezTo>
                    <a:pt x="97" y="25"/>
                    <a:pt x="97" y="25"/>
                    <a:pt x="97" y="25"/>
                  </a:cubicBezTo>
                  <a:cubicBezTo>
                    <a:pt x="96" y="25"/>
                    <a:pt x="96" y="25"/>
                    <a:pt x="96" y="25"/>
                  </a:cubicBezTo>
                  <a:cubicBezTo>
                    <a:pt x="95" y="25"/>
                    <a:pt x="95" y="25"/>
                    <a:pt x="95" y="25"/>
                  </a:cubicBezTo>
                  <a:cubicBezTo>
                    <a:pt x="94" y="24"/>
                    <a:pt x="92" y="24"/>
                    <a:pt x="89" y="23"/>
                  </a:cubicBezTo>
                  <a:cubicBezTo>
                    <a:pt x="89" y="22"/>
                    <a:pt x="88" y="22"/>
                    <a:pt x="88" y="22"/>
                  </a:cubicBezTo>
                  <a:cubicBezTo>
                    <a:pt x="87" y="22"/>
                    <a:pt x="86" y="22"/>
                    <a:pt x="85" y="21"/>
                  </a:cubicBezTo>
                  <a:cubicBezTo>
                    <a:pt x="81" y="19"/>
                    <a:pt x="79" y="16"/>
                    <a:pt x="77" y="12"/>
                  </a:cubicBezTo>
                  <a:cubicBezTo>
                    <a:pt x="77" y="10"/>
                    <a:pt x="77" y="10"/>
                    <a:pt x="77" y="10"/>
                  </a:cubicBezTo>
                  <a:cubicBezTo>
                    <a:pt x="76" y="9"/>
                    <a:pt x="76" y="9"/>
                    <a:pt x="76" y="8"/>
                  </a:cubicBezTo>
                  <a:cubicBezTo>
                    <a:pt x="76" y="8"/>
                    <a:pt x="76" y="8"/>
                    <a:pt x="76" y="8"/>
                  </a:cubicBezTo>
                  <a:cubicBezTo>
                    <a:pt x="75" y="8"/>
                    <a:pt x="75" y="8"/>
                    <a:pt x="74" y="8"/>
                  </a:cubicBezTo>
                  <a:cubicBezTo>
                    <a:pt x="73" y="7"/>
                    <a:pt x="72" y="7"/>
                    <a:pt x="71" y="6"/>
                  </a:cubicBezTo>
                  <a:cubicBezTo>
                    <a:pt x="70" y="6"/>
                    <a:pt x="70" y="6"/>
                    <a:pt x="69" y="6"/>
                  </a:cubicBezTo>
                  <a:cubicBezTo>
                    <a:pt x="67" y="5"/>
                    <a:pt x="67" y="5"/>
                    <a:pt x="67" y="5"/>
                  </a:cubicBezTo>
                  <a:cubicBezTo>
                    <a:pt x="64" y="5"/>
                    <a:pt x="64" y="5"/>
                    <a:pt x="63" y="6"/>
                  </a:cubicBezTo>
                  <a:cubicBezTo>
                    <a:pt x="63" y="6"/>
                    <a:pt x="62" y="6"/>
                    <a:pt x="62" y="7"/>
                  </a:cubicBezTo>
                  <a:cubicBezTo>
                    <a:pt x="61" y="8"/>
                    <a:pt x="60" y="10"/>
                    <a:pt x="58" y="11"/>
                  </a:cubicBezTo>
                  <a:cubicBezTo>
                    <a:pt x="57" y="11"/>
                    <a:pt x="56" y="11"/>
                    <a:pt x="55" y="11"/>
                  </a:cubicBezTo>
                  <a:cubicBezTo>
                    <a:pt x="54" y="11"/>
                    <a:pt x="52" y="10"/>
                    <a:pt x="51" y="9"/>
                  </a:cubicBezTo>
                  <a:cubicBezTo>
                    <a:pt x="49" y="7"/>
                    <a:pt x="49" y="4"/>
                    <a:pt x="49" y="2"/>
                  </a:cubicBezTo>
                  <a:cubicBezTo>
                    <a:pt x="47" y="1"/>
                    <a:pt x="47" y="1"/>
                    <a:pt x="47" y="1"/>
                  </a:cubicBezTo>
                  <a:cubicBezTo>
                    <a:pt x="46" y="1"/>
                    <a:pt x="45" y="1"/>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1" name="Freeform 240">
              <a:extLst>
                <a:ext uri="{FF2B5EF4-FFF2-40B4-BE49-F238E27FC236}">
                  <a16:creationId xmlns:a16="http://schemas.microsoft.com/office/drawing/2014/main" id="{96E97F66-B3FF-40BF-83FA-72B1A8925052}"/>
                </a:ext>
              </a:extLst>
            </p:cNvPr>
            <p:cNvSpPr>
              <a:spLocks/>
            </p:cNvSpPr>
            <p:nvPr/>
          </p:nvSpPr>
          <p:spPr bwMode="auto">
            <a:xfrm>
              <a:off x="3028" y="2285"/>
              <a:ext cx="217" cy="224"/>
            </a:xfrm>
            <a:custGeom>
              <a:avLst/>
              <a:gdLst>
                <a:gd name="T0" fmla="*/ 36 w 92"/>
                <a:gd name="T1" fmla="*/ 1 h 95"/>
                <a:gd name="T2" fmla="*/ 34 w 92"/>
                <a:gd name="T3" fmla="*/ 1 h 95"/>
                <a:gd name="T4" fmla="*/ 32 w 92"/>
                <a:gd name="T5" fmla="*/ 1 h 95"/>
                <a:gd name="T6" fmla="*/ 29 w 92"/>
                <a:gd name="T7" fmla="*/ 1 h 95"/>
                <a:gd name="T8" fmla="*/ 28 w 92"/>
                <a:gd name="T9" fmla="*/ 7 h 95"/>
                <a:gd name="T10" fmla="*/ 22 w 92"/>
                <a:gd name="T11" fmla="*/ 10 h 95"/>
                <a:gd name="T12" fmla="*/ 20 w 92"/>
                <a:gd name="T13" fmla="*/ 18 h 95"/>
                <a:gd name="T14" fmla="*/ 11 w 92"/>
                <a:gd name="T15" fmla="*/ 26 h 95"/>
                <a:gd name="T16" fmla="*/ 5 w 92"/>
                <a:gd name="T17" fmla="*/ 32 h 95"/>
                <a:gd name="T18" fmla="*/ 0 w 92"/>
                <a:gd name="T19" fmla="*/ 37 h 95"/>
                <a:gd name="T20" fmla="*/ 20 w 92"/>
                <a:gd name="T21" fmla="*/ 52 h 95"/>
                <a:gd name="T22" fmla="*/ 64 w 92"/>
                <a:gd name="T23" fmla="*/ 85 h 95"/>
                <a:gd name="T24" fmla="*/ 88 w 92"/>
                <a:gd name="T25" fmla="*/ 95 h 95"/>
                <a:gd name="T26" fmla="*/ 88 w 92"/>
                <a:gd name="T27" fmla="*/ 95 h 95"/>
                <a:gd name="T28" fmla="*/ 88 w 92"/>
                <a:gd name="T29" fmla="*/ 82 h 95"/>
                <a:gd name="T30" fmla="*/ 91 w 92"/>
                <a:gd name="T31" fmla="*/ 67 h 95"/>
                <a:gd name="T32" fmla="*/ 86 w 92"/>
                <a:gd name="T33" fmla="*/ 57 h 95"/>
                <a:gd name="T34" fmla="*/ 79 w 92"/>
                <a:gd name="T35" fmla="*/ 53 h 95"/>
                <a:gd name="T36" fmla="*/ 78 w 92"/>
                <a:gd name="T37" fmla="*/ 53 h 95"/>
                <a:gd name="T38" fmla="*/ 76 w 92"/>
                <a:gd name="T39" fmla="*/ 53 h 95"/>
                <a:gd name="T40" fmla="*/ 72 w 92"/>
                <a:gd name="T41" fmla="*/ 52 h 95"/>
                <a:gd name="T42" fmla="*/ 67 w 92"/>
                <a:gd name="T43" fmla="*/ 49 h 95"/>
                <a:gd name="T44" fmla="*/ 61 w 92"/>
                <a:gd name="T45" fmla="*/ 46 h 95"/>
                <a:gd name="T46" fmla="*/ 67 w 92"/>
                <a:gd name="T47" fmla="*/ 24 h 95"/>
                <a:gd name="T48" fmla="*/ 65 w 92"/>
                <a:gd name="T49" fmla="*/ 24 h 95"/>
                <a:gd name="T50" fmla="*/ 63 w 92"/>
                <a:gd name="T51" fmla="*/ 28 h 95"/>
                <a:gd name="T52" fmla="*/ 55 w 92"/>
                <a:gd name="T53" fmla="*/ 32 h 95"/>
                <a:gd name="T54" fmla="*/ 53 w 92"/>
                <a:gd name="T55" fmla="*/ 32 h 95"/>
                <a:gd name="T56" fmla="*/ 52 w 92"/>
                <a:gd name="T57" fmla="*/ 30 h 95"/>
                <a:gd name="T58" fmla="*/ 49 w 92"/>
                <a:gd name="T59" fmla="*/ 27 h 95"/>
                <a:gd name="T60" fmla="*/ 46 w 92"/>
                <a:gd name="T61" fmla="*/ 27 h 95"/>
                <a:gd name="T62" fmla="*/ 45 w 92"/>
                <a:gd name="T63" fmla="*/ 15 h 95"/>
                <a:gd name="T64" fmla="*/ 43 w 92"/>
                <a:gd name="T65" fmla="*/ 8 h 95"/>
                <a:gd name="T66" fmla="*/ 41 w 92"/>
                <a:gd name="T67" fmla="*/ 3 h 95"/>
                <a:gd name="T68" fmla="*/ 39 w 92"/>
                <a:gd name="T69"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2" h="95">
                  <a:moveTo>
                    <a:pt x="38" y="0"/>
                  </a:moveTo>
                  <a:cubicBezTo>
                    <a:pt x="38" y="1"/>
                    <a:pt x="37" y="1"/>
                    <a:pt x="36" y="1"/>
                  </a:cubicBezTo>
                  <a:cubicBezTo>
                    <a:pt x="36" y="1"/>
                    <a:pt x="35" y="1"/>
                    <a:pt x="35" y="1"/>
                  </a:cubicBezTo>
                  <a:cubicBezTo>
                    <a:pt x="34" y="1"/>
                    <a:pt x="34" y="1"/>
                    <a:pt x="34" y="1"/>
                  </a:cubicBezTo>
                  <a:cubicBezTo>
                    <a:pt x="33" y="1"/>
                    <a:pt x="33" y="1"/>
                    <a:pt x="33" y="1"/>
                  </a:cubicBezTo>
                  <a:cubicBezTo>
                    <a:pt x="33" y="1"/>
                    <a:pt x="32" y="1"/>
                    <a:pt x="32" y="1"/>
                  </a:cubicBezTo>
                  <a:cubicBezTo>
                    <a:pt x="31" y="1"/>
                    <a:pt x="31" y="1"/>
                    <a:pt x="30" y="1"/>
                  </a:cubicBezTo>
                  <a:cubicBezTo>
                    <a:pt x="29" y="1"/>
                    <a:pt x="29" y="1"/>
                    <a:pt x="29" y="1"/>
                  </a:cubicBezTo>
                  <a:cubicBezTo>
                    <a:pt x="29" y="2"/>
                    <a:pt x="29" y="3"/>
                    <a:pt x="29" y="3"/>
                  </a:cubicBezTo>
                  <a:cubicBezTo>
                    <a:pt x="29" y="5"/>
                    <a:pt x="29" y="6"/>
                    <a:pt x="28" y="7"/>
                  </a:cubicBezTo>
                  <a:cubicBezTo>
                    <a:pt x="27" y="8"/>
                    <a:pt x="25" y="9"/>
                    <a:pt x="24" y="9"/>
                  </a:cubicBezTo>
                  <a:cubicBezTo>
                    <a:pt x="23" y="9"/>
                    <a:pt x="23" y="9"/>
                    <a:pt x="22" y="10"/>
                  </a:cubicBezTo>
                  <a:cubicBezTo>
                    <a:pt x="22" y="10"/>
                    <a:pt x="22" y="11"/>
                    <a:pt x="22" y="12"/>
                  </a:cubicBezTo>
                  <a:cubicBezTo>
                    <a:pt x="22" y="14"/>
                    <a:pt x="21" y="16"/>
                    <a:pt x="20" y="18"/>
                  </a:cubicBezTo>
                  <a:cubicBezTo>
                    <a:pt x="18" y="21"/>
                    <a:pt x="15" y="23"/>
                    <a:pt x="12" y="26"/>
                  </a:cubicBezTo>
                  <a:cubicBezTo>
                    <a:pt x="11" y="26"/>
                    <a:pt x="11" y="26"/>
                    <a:pt x="11" y="26"/>
                  </a:cubicBezTo>
                  <a:cubicBezTo>
                    <a:pt x="10" y="26"/>
                    <a:pt x="10" y="27"/>
                    <a:pt x="9" y="27"/>
                  </a:cubicBezTo>
                  <a:cubicBezTo>
                    <a:pt x="8" y="29"/>
                    <a:pt x="6" y="30"/>
                    <a:pt x="5" y="32"/>
                  </a:cubicBezTo>
                  <a:cubicBezTo>
                    <a:pt x="3" y="34"/>
                    <a:pt x="2" y="36"/>
                    <a:pt x="0" y="37"/>
                  </a:cubicBezTo>
                  <a:cubicBezTo>
                    <a:pt x="0" y="37"/>
                    <a:pt x="0" y="37"/>
                    <a:pt x="0" y="37"/>
                  </a:cubicBezTo>
                  <a:cubicBezTo>
                    <a:pt x="3" y="40"/>
                    <a:pt x="6" y="42"/>
                    <a:pt x="9" y="44"/>
                  </a:cubicBezTo>
                  <a:cubicBezTo>
                    <a:pt x="12" y="47"/>
                    <a:pt x="16" y="52"/>
                    <a:pt x="20" y="52"/>
                  </a:cubicBezTo>
                  <a:cubicBezTo>
                    <a:pt x="29" y="55"/>
                    <a:pt x="36" y="64"/>
                    <a:pt x="42" y="70"/>
                  </a:cubicBezTo>
                  <a:cubicBezTo>
                    <a:pt x="48" y="76"/>
                    <a:pt x="56" y="82"/>
                    <a:pt x="64" y="85"/>
                  </a:cubicBezTo>
                  <a:cubicBezTo>
                    <a:pt x="69" y="88"/>
                    <a:pt x="75" y="90"/>
                    <a:pt x="80" y="92"/>
                  </a:cubicBezTo>
                  <a:cubicBezTo>
                    <a:pt x="83" y="93"/>
                    <a:pt x="85" y="95"/>
                    <a:pt x="88" y="95"/>
                  </a:cubicBezTo>
                  <a:cubicBezTo>
                    <a:pt x="88" y="95"/>
                    <a:pt x="88" y="95"/>
                    <a:pt x="88" y="95"/>
                  </a:cubicBezTo>
                  <a:cubicBezTo>
                    <a:pt x="88" y="95"/>
                    <a:pt x="88" y="95"/>
                    <a:pt x="88" y="95"/>
                  </a:cubicBezTo>
                  <a:cubicBezTo>
                    <a:pt x="87" y="90"/>
                    <a:pt x="86" y="86"/>
                    <a:pt x="87" y="84"/>
                  </a:cubicBezTo>
                  <a:cubicBezTo>
                    <a:pt x="88" y="82"/>
                    <a:pt x="88" y="82"/>
                    <a:pt x="88" y="82"/>
                  </a:cubicBezTo>
                  <a:cubicBezTo>
                    <a:pt x="88" y="82"/>
                    <a:pt x="88" y="82"/>
                    <a:pt x="88" y="82"/>
                  </a:cubicBezTo>
                  <a:cubicBezTo>
                    <a:pt x="90" y="76"/>
                    <a:pt x="92" y="72"/>
                    <a:pt x="91" y="67"/>
                  </a:cubicBezTo>
                  <a:cubicBezTo>
                    <a:pt x="91" y="64"/>
                    <a:pt x="90" y="61"/>
                    <a:pt x="88" y="59"/>
                  </a:cubicBezTo>
                  <a:cubicBezTo>
                    <a:pt x="87" y="59"/>
                    <a:pt x="86" y="58"/>
                    <a:pt x="86" y="57"/>
                  </a:cubicBezTo>
                  <a:cubicBezTo>
                    <a:pt x="83" y="55"/>
                    <a:pt x="83" y="55"/>
                    <a:pt x="83" y="55"/>
                  </a:cubicBezTo>
                  <a:cubicBezTo>
                    <a:pt x="81" y="54"/>
                    <a:pt x="80" y="53"/>
                    <a:pt x="79" y="53"/>
                  </a:cubicBezTo>
                  <a:cubicBezTo>
                    <a:pt x="79" y="53"/>
                    <a:pt x="78" y="53"/>
                    <a:pt x="78" y="53"/>
                  </a:cubicBezTo>
                  <a:cubicBezTo>
                    <a:pt x="78" y="53"/>
                    <a:pt x="78" y="53"/>
                    <a:pt x="78" y="53"/>
                  </a:cubicBezTo>
                  <a:cubicBezTo>
                    <a:pt x="77" y="53"/>
                    <a:pt x="77" y="53"/>
                    <a:pt x="77" y="53"/>
                  </a:cubicBezTo>
                  <a:cubicBezTo>
                    <a:pt x="77" y="53"/>
                    <a:pt x="76" y="53"/>
                    <a:pt x="76" y="53"/>
                  </a:cubicBezTo>
                  <a:cubicBezTo>
                    <a:pt x="75" y="53"/>
                    <a:pt x="74" y="53"/>
                    <a:pt x="73" y="52"/>
                  </a:cubicBezTo>
                  <a:cubicBezTo>
                    <a:pt x="72" y="52"/>
                    <a:pt x="72" y="52"/>
                    <a:pt x="72" y="52"/>
                  </a:cubicBezTo>
                  <a:cubicBezTo>
                    <a:pt x="71" y="52"/>
                    <a:pt x="69" y="50"/>
                    <a:pt x="67" y="49"/>
                  </a:cubicBezTo>
                  <a:cubicBezTo>
                    <a:pt x="67" y="49"/>
                    <a:pt x="67" y="49"/>
                    <a:pt x="67" y="49"/>
                  </a:cubicBezTo>
                  <a:cubicBezTo>
                    <a:pt x="66" y="49"/>
                    <a:pt x="65" y="48"/>
                    <a:pt x="64" y="48"/>
                  </a:cubicBezTo>
                  <a:cubicBezTo>
                    <a:pt x="61" y="46"/>
                    <a:pt x="61" y="46"/>
                    <a:pt x="61" y="46"/>
                  </a:cubicBezTo>
                  <a:cubicBezTo>
                    <a:pt x="64" y="43"/>
                    <a:pt x="64" y="43"/>
                    <a:pt x="64" y="43"/>
                  </a:cubicBezTo>
                  <a:cubicBezTo>
                    <a:pt x="72" y="36"/>
                    <a:pt x="71" y="33"/>
                    <a:pt x="67" y="24"/>
                  </a:cubicBezTo>
                  <a:cubicBezTo>
                    <a:pt x="67" y="23"/>
                    <a:pt x="67" y="23"/>
                    <a:pt x="66" y="22"/>
                  </a:cubicBezTo>
                  <a:cubicBezTo>
                    <a:pt x="66" y="23"/>
                    <a:pt x="65" y="23"/>
                    <a:pt x="65" y="24"/>
                  </a:cubicBezTo>
                  <a:cubicBezTo>
                    <a:pt x="64" y="26"/>
                    <a:pt x="64" y="26"/>
                    <a:pt x="64" y="26"/>
                  </a:cubicBezTo>
                  <a:cubicBezTo>
                    <a:pt x="64" y="26"/>
                    <a:pt x="64" y="27"/>
                    <a:pt x="63" y="28"/>
                  </a:cubicBezTo>
                  <a:cubicBezTo>
                    <a:pt x="61" y="30"/>
                    <a:pt x="59" y="31"/>
                    <a:pt x="57" y="31"/>
                  </a:cubicBezTo>
                  <a:cubicBezTo>
                    <a:pt x="56" y="31"/>
                    <a:pt x="55" y="32"/>
                    <a:pt x="55" y="32"/>
                  </a:cubicBezTo>
                  <a:cubicBezTo>
                    <a:pt x="55" y="32"/>
                    <a:pt x="55" y="32"/>
                    <a:pt x="54" y="32"/>
                  </a:cubicBezTo>
                  <a:cubicBezTo>
                    <a:pt x="54" y="32"/>
                    <a:pt x="54" y="32"/>
                    <a:pt x="53" y="32"/>
                  </a:cubicBezTo>
                  <a:cubicBezTo>
                    <a:pt x="53" y="31"/>
                    <a:pt x="53" y="31"/>
                    <a:pt x="53" y="31"/>
                  </a:cubicBezTo>
                  <a:cubicBezTo>
                    <a:pt x="53" y="31"/>
                    <a:pt x="52" y="31"/>
                    <a:pt x="52" y="30"/>
                  </a:cubicBezTo>
                  <a:cubicBezTo>
                    <a:pt x="51" y="30"/>
                    <a:pt x="50" y="29"/>
                    <a:pt x="50" y="28"/>
                  </a:cubicBezTo>
                  <a:cubicBezTo>
                    <a:pt x="49" y="27"/>
                    <a:pt x="49" y="27"/>
                    <a:pt x="49" y="27"/>
                  </a:cubicBezTo>
                  <a:cubicBezTo>
                    <a:pt x="49" y="27"/>
                    <a:pt x="49" y="27"/>
                    <a:pt x="49" y="27"/>
                  </a:cubicBezTo>
                  <a:cubicBezTo>
                    <a:pt x="48" y="27"/>
                    <a:pt x="48" y="27"/>
                    <a:pt x="46" y="27"/>
                  </a:cubicBezTo>
                  <a:cubicBezTo>
                    <a:pt x="40" y="31"/>
                    <a:pt x="40" y="31"/>
                    <a:pt x="40" y="31"/>
                  </a:cubicBezTo>
                  <a:cubicBezTo>
                    <a:pt x="45" y="15"/>
                    <a:pt x="45" y="15"/>
                    <a:pt x="45" y="15"/>
                  </a:cubicBezTo>
                  <a:cubicBezTo>
                    <a:pt x="45" y="15"/>
                    <a:pt x="45" y="14"/>
                    <a:pt x="44" y="10"/>
                  </a:cubicBezTo>
                  <a:cubicBezTo>
                    <a:pt x="44" y="9"/>
                    <a:pt x="44" y="8"/>
                    <a:pt x="43" y="8"/>
                  </a:cubicBezTo>
                  <a:cubicBezTo>
                    <a:pt x="43" y="5"/>
                    <a:pt x="43" y="4"/>
                    <a:pt x="42" y="3"/>
                  </a:cubicBezTo>
                  <a:cubicBezTo>
                    <a:pt x="41" y="3"/>
                    <a:pt x="41" y="3"/>
                    <a:pt x="41" y="3"/>
                  </a:cubicBezTo>
                  <a:cubicBezTo>
                    <a:pt x="41" y="2"/>
                    <a:pt x="40" y="2"/>
                    <a:pt x="39" y="1"/>
                  </a:cubicBezTo>
                  <a:cubicBezTo>
                    <a:pt x="39" y="1"/>
                    <a:pt x="39" y="1"/>
                    <a:pt x="39" y="1"/>
                  </a:cubicBezTo>
                  <a:cubicBezTo>
                    <a:pt x="38" y="0"/>
                    <a:pt x="38" y="0"/>
                    <a:pt x="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2" name="Freeform 241">
              <a:extLst>
                <a:ext uri="{FF2B5EF4-FFF2-40B4-BE49-F238E27FC236}">
                  <a16:creationId xmlns:a16="http://schemas.microsoft.com/office/drawing/2014/main" id="{BF3A89C7-FE15-4265-9304-75A509D5FD0B}"/>
                </a:ext>
              </a:extLst>
            </p:cNvPr>
            <p:cNvSpPr>
              <a:spLocks/>
            </p:cNvSpPr>
            <p:nvPr/>
          </p:nvSpPr>
          <p:spPr bwMode="auto">
            <a:xfrm>
              <a:off x="2924" y="2202"/>
              <a:ext cx="148" cy="163"/>
            </a:xfrm>
            <a:custGeom>
              <a:avLst/>
              <a:gdLst>
                <a:gd name="T0" fmla="*/ 46 w 63"/>
                <a:gd name="T1" fmla="*/ 0 h 69"/>
                <a:gd name="T2" fmla="*/ 45 w 63"/>
                <a:gd name="T3" fmla="*/ 0 h 69"/>
                <a:gd name="T4" fmla="*/ 27 w 63"/>
                <a:gd name="T5" fmla="*/ 3 h 69"/>
                <a:gd name="T6" fmla="*/ 25 w 63"/>
                <a:gd name="T7" fmla="*/ 3 h 69"/>
                <a:gd name="T8" fmla="*/ 22 w 63"/>
                <a:gd name="T9" fmla="*/ 3 h 69"/>
                <a:gd name="T10" fmla="*/ 9 w 63"/>
                <a:gd name="T11" fmla="*/ 20 h 69"/>
                <a:gd name="T12" fmla="*/ 8 w 63"/>
                <a:gd name="T13" fmla="*/ 21 h 69"/>
                <a:gd name="T14" fmla="*/ 5 w 63"/>
                <a:gd name="T15" fmla="*/ 22 h 69"/>
                <a:gd name="T16" fmla="*/ 6 w 63"/>
                <a:gd name="T17" fmla="*/ 25 h 69"/>
                <a:gd name="T18" fmla="*/ 5 w 63"/>
                <a:gd name="T19" fmla="*/ 31 h 69"/>
                <a:gd name="T20" fmla="*/ 9 w 63"/>
                <a:gd name="T21" fmla="*/ 29 h 69"/>
                <a:gd name="T22" fmla="*/ 7 w 63"/>
                <a:gd name="T23" fmla="*/ 32 h 69"/>
                <a:gd name="T24" fmla="*/ 0 w 63"/>
                <a:gd name="T25" fmla="*/ 33 h 69"/>
                <a:gd name="T26" fmla="*/ 3 w 63"/>
                <a:gd name="T27" fmla="*/ 41 h 69"/>
                <a:gd name="T28" fmla="*/ 14 w 63"/>
                <a:gd name="T29" fmla="*/ 52 h 69"/>
                <a:gd name="T30" fmla="*/ 19 w 63"/>
                <a:gd name="T31" fmla="*/ 51 h 69"/>
                <a:gd name="T32" fmla="*/ 23 w 63"/>
                <a:gd name="T33" fmla="*/ 55 h 69"/>
                <a:gd name="T34" fmla="*/ 26 w 63"/>
                <a:gd name="T35" fmla="*/ 55 h 69"/>
                <a:gd name="T36" fmla="*/ 21 w 63"/>
                <a:gd name="T37" fmla="*/ 59 h 69"/>
                <a:gd name="T38" fmla="*/ 18 w 63"/>
                <a:gd name="T39" fmla="*/ 59 h 69"/>
                <a:gd name="T40" fmla="*/ 32 w 63"/>
                <a:gd name="T41" fmla="*/ 65 h 69"/>
                <a:gd name="T42" fmla="*/ 41 w 63"/>
                <a:gd name="T43" fmla="*/ 67 h 69"/>
                <a:gd name="T44" fmla="*/ 50 w 63"/>
                <a:gd name="T45" fmla="*/ 58 h 69"/>
                <a:gd name="T46" fmla="*/ 52 w 63"/>
                <a:gd name="T47" fmla="*/ 56 h 69"/>
                <a:gd name="T48" fmla="*/ 60 w 63"/>
                <a:gd name="T49" fmla="*/ 47 h 69"/>
                <a:gd name="T50" fmla="*/ 63 w 63"/>
                <a:gd name="T51" fmla="*/ 40 h 69"/>
                <a:gd name="T52" fmla="*/ 63 w 63"/>
                <a:gd name="T53" fmla="*/ 40 h 69"/>
                <a:gd name="T54" fmla="*/ 62 w 63"/>
                <a:gd name="T55" fmla="*/ 28 h 69"/>
                <a:gd name="T56" fmla="*/ 62 w 63"/>
                <a:gd name="T57" fmla="*/ 27 h 69"/>
                <a:gd name="T58" fmla="*/ 62 w 63"/>
                <a:gd name="T59" fmla="*/ 25 h 69"/>
                <a:gd name="T60" fmla="*/ 61 w 63"/>
                <a:gd name="T61" fmla="*/ 24 h 69"/>
                <a:gd name="T62" fmla="*/ 60 w 63"/>
                <a:gd name="T63" fmla="*/ 22 h 69"/>
                <a:gd name="T64" fmla="*/ 56 w 63"/>
                <a:gd name="T65" fmla="*/ 19 h 69"/>
                <a:gd name="T66" fmla="*/ 52 w 63"/>
                <a:gd name="T67" fmla="*/ 10 h 69"/>
                <a:gd name="T68" fmla="*/ 51 w 63"/>
                <a:gd name="T69" fmla="*/ 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 h="69">
                  <a:moveTo>
                    <a:pt x="47" y="0"/>
                  </a:moveTo>
                  <a:cubicBezTo>
                    <a:pt x="47" y="0"/>
                    <a:pt x="46" y="0"/>
                    <a:pt x="46" y="0"/>
                  </a:cubicBezTo>
                  <a:cubicBezTo>
                    <a:pt x="45" y="0"/>
                    <a:pt x="45" y="0"/>
                    <a:pt x="45" y="0"/>
                  </a:cubicBezTo>
                  <a:cubicBezTo>
                    <a:pt x="45" y="0"/>
                    <a:pt x="45" y="0"/>
                    <a:pt x="45" y="0"/>
                  </a:cubicBezTo>
                  <a:cubicBezTo>
                    <a:pt x="42" y="0"/>
                    <a:pt x="40" y="1"/>
                    <a:pt x="37" y="2"/>
                  </a:cubicBezTo>
                  <a:cubicBezTo>
                    <a:pt x="34" y="2"/>
                    <a:pt x="31" y="3"/>
                    <a:pt x="27" y="3"/>
                  </a:cubicBezTo>
                  <a:cubicBezTo>
                    <a:pt x="27" y="3"/>
                    <a:pt x="26" y="3"/>
                    <a:pt x="25" y="3"/>
                  </a:cubicBezTo>
                  <a:cubicBezTo>
                    <a:pt x="25" y="3"/>
                    <a:pt x="25" y="3"/>
                    <a:pt x="25" y="3"/>
                  </a:cubicBezTo>
                  <a:cubicBezTo>
                    <a:pt x="24" y="3"/>
                    <a:pt x="24" y="3"/>
                    <a:pt x="23" y="3"/>
                  </a:cubicBezTo>
                  <a:cubicBezTo>
                    <a:pt x="23" y="3"/>
                    <a:pt x="23" y="3"/>
                    <a:pt x="22" y="3"/>
                  </a:cubicBezTo>
                  <a:cubicBezTo>
                    <a:pt x="21" y="3"/>
                    <a:pt x="21" y="3"/>
                    <a:pt x="20" y="4"/>
                  </a:cubicBezTo>
                  <a:cubicBezTo>
                    <a:pt x="18" y="9"/>
                    <a:pt x="14" y="14"/>
                    <a:pt x="9" y="20"/>
                  </a:cubicBezTo>
                  <a:cubicBezTo>
                    <a:pt x="8" y="20"/>
                    <a:pt x="8" y="20"/>
                    <a:pt x="8" y="20"/>
                  </a:cubicBezTo>
                  <a:cubicBezTo>
                    <a:pt x="8" y="21"/>
                    <a:pt x="8" y="21"/>
                    <a:pt x="8" y="21"/>
                  </a:cubicBezTo>
                  <a:cubicBezTo>
                    <a:pt x="7" y="21"/>
                    <a:pt x="6" y="22"/>
                    <a:pt x="6" y="22"/>
                  </a:cubicBezTo>
                  <a:cubicBezTo>
                    <a:pt x="5" y="22"/>
                    <a:pt x="5" y="22"/>
                    <a:pt x="5" y="22"/>
                  </a:cubicBezTo>
                  <a:cubicBezTo>
                    <a:pt x="5" y="23"/>
                    <a:pt x="4" y="23"/>
                    <a:pt x="3" y="23"/>
                  </a:cubicBezTo>
                  <a:cubicBezTo>
                    <a:pt x="4" y="23"/>
                    <a:pt x="5" y="24"/>
                    <a:pt x="6" y="25"/>
                  </a:cubicBezTo>
                  <a:cubicBezTo>
                    <a:pt x="6" y="25"/>
                    <a:pt x="6" y="25"/>
                    <a:pt x="6" y="25"/>
                  </a:cubicBezTo>
                  <a:cubicBezTo>
                    <a:pt x="3" y="25"/>
                    <a:pt x="1" y="29"/>
                    <a:pt x="5" y="31"/>
                  </a:cubicBezTo>
                  <a:cubicBezTo>
                    <a:pt x="5" y="31"/>
                    <a:pt x="5" y="31"/>
                    <a:pt x="5" y="31"/>
                  </a:cubicBezTo>
                  <a:cubicBezTo>
                    <a:pt x="7" y="31"/>
                    <a:pt x="9" y="30"/>
                    <a:pt x="9" y="29"/>
                  </a:cubicBezTo>
                  <a:cubicBezTo>
                    <a:pt x="9" y="31"/>
                    <a:pt x="9" y="31"/>
                    <a:pt x="8" y="32"/>
                  </a:cubicBezTo>
                  <a:cubicBezTo>
                    <a:pt x="7" y="32"/>
                    <a:pt x="7" y="32"/>
                    <a:pt x="7" y="32"/>
                  </a:cubicBezTo>
                  <a:cubicBezTo>
                    <a:pt x="6" y="33"/>
                    <a:pt x="6" y="34"/>
                    <a:pt x="5" y="36"/>
                  </a:cubicBezTo>
                  <a:cubicBezTo>
                    <a:pt x="4" y="35"/>
                    <a:pt x="2" y="34"/>
                    <a:pt x="0" y="33"/>
                  </a:cubicBezTo>
                  <a:cubicBezTo>
                    <a:pt x="0" y="35"/>
                    <a:pt x="0" y="35"/>
                    <a:pt x="1" y="36"/>
                  </a:cubicBezTo>
                  <a:cubicBezTo>
                    <a:pt x="1" y="38"/>
                    <a:pt x="2" y="39"/>
                    <a:pt x="3" y="41"/>
                  </a:cubicBezTo>
                  <a:cubicBezTo>
                    <a:pt x="4" y="40"/>
                    <a:pt x="5" y="39"/>
                    <a:pt x="7" y="39"/>
                  </a:cubicBezTo>
                  <a:cubicBezTo>
                    <a:pt x="8" y="44"/>
                    <a:pt x="8" y="50"/>
                    <a:pt x="14" y="52"/>
                  </a:cubicBezTo>
                  <a:cubicBezTo>
                    <a:pt x="14" y="52"/>
                    <a:pt x="15" y="52"/>
                    <a:pt x="16" y="52"/>
                  </a:cubicBezTo>
                  <a:cubicBezTo>
                    <a:pt x="17" y="52"/>
                    <a:pt x="17" y="52"/>
                    <a:pt x="19" y="51"/>
                  </a:cubicBezTo>
                  <a:cubicBezTo>
                    <a:pt x="19" y="54"/>
                    <a:pt x="19" y="55"/>
                    <a:pt x="21" y="55"/>
                  </a:cubicBezTo>
                  <a:cubicBezTo>
                    <a:pt x="21" y="55"/>
                    <a:pt x="22" y="55"/>
                    <a:pt x="23" y="55"/>
                  </a:cubicBezTo>
                  <a:cubicBezTo>
                    <a:pt x="23" y="55"/>
                    <a:pt x="24" y="55"/>
                    <a:pt x="25" y="55"/>
                  </a:cubicBezTo>
                  <a:cubicBezTo>
                    <a:pt x="25" y="55"/>
                    <a:pt x="26" y="55"/>
                    <a:pt x="26" y="55"/>
                  </a:cubicBezTo>
                  <a:cubicBezTo>
                    <a:pt x="24" y="56"/>
                    <a:pt x="22" y="56"/>
                    <a:pt x="20" y="56"/>
                  </a:cubicBezTo>
                  <a:cubicBezTo>
                    <a:pt x="20" y="57"/>
                    <a:pt x="21" y="58"/>
                    <a:pt x="21" y="59"/>
                  </a:cubicBezTo>
                  <a:cubicBezTo>
                    <a:pt x="21" y="59"/>
                    <a:pt x="21" y="59"/>
                    <a:pt x="20" y="59"/>
                  </a:cubicBezTo>
                  <a:cubicBezTo>
                    <a:pt x="20" y="59"/>
                    <a:pt x="19" y="59"/>
                    <a:pt x="18" y="59"/>
                  </a:cubicBezTo>
                  <a:cubicBezTo>
                    <a:pt x="19" y="60"/>
                    <a:pt x="19" y="60"/>
                    <a:pt x="20" y="60"/>
                  </a:cubicBezTo>
                  <a:cubicBezTo>
                    <a:pt x="24" y="62"/>
                    <a:pt x="28" y="62"/>
                    <a:pt x="32" y="65"/>
                  </a:cubicBezTo>
                  <a:cubicBezTo>
                    <a:pt x="34" y="66"/>
                    <a:pt x="37" y="67"/>
                    <a:pt x="39" y="69"/>
                  </a:cubicBezTo>
                  <a:cubicBezTo>
                    <a:pt x="41" y="67"/>
                    <a:pt x="41" y="67"/>
                    <a:pt x="41" y="67"/>
                  </a:cubicBezTo>
                  <a:cubicBezTo>
                    <a:pt x="41" y="67"/>
                    <a:pt x="42" y="66"/>
                    <a:pt x="44" y="63"/>
                  </a:cubicBezTo>
                  <a:cubicBezTo>
                    <a:pt x="46" y="61"/>
                    <a:pt x="48" y="59"/>
                    <a:pt x="50" y="58"/>
                  </a:cubicBezTo>
                  <a:cubicBezTo>
                    <a:pt x="50" y="57"/>
                    <a:pt x="51" y="57"/>
                    <a:pt x="52" y="56"/>
                  </a:cubicBezTo>
                  <a:cubicBezTo>
                    <a:pt x="52" y="56"/>
                    <a:pt x="52" y="56"/>
                    <a:pt x="52" y="56"/>
                  </a:cubicBezTo>
                  <a:cubicBezTo>
                    <a:pt x="55" y="54"/>
                    <a:pt x="58" y="52"/>
                    <a:pt x="59" y="50"/>
                  </a:cubicBezTo>
                  <a:cubicBezTo>
                    <a:pt x="60" y="49"/>
                    <a:pt x="60" y="48"/>
                    <a:pt x="60" y="47"/>
                  </a:cubicBezTo>
                  <a:cubicBezTo>
                    <a:pt x="60" y="45"/>
                    <a:pt x="61" y="42"/>
                    <a:pt x="62" y="40"/>
                  </a:cubicBezTo>
                  <a:cubicBezTo>
                    <a:pt x="63" y="40"/>
                    <a:pt x="63" y="40"/>
                    <a:pt x="63" y="40"/>
                  </a:cubicBezTo>
                  <a:cubicBezTo>
                    <a:pt x="63" y="40"/>
                    <a:pt x="63" y="40"/>
                    <a:pt x="63" y="40"/>
                  </a:cubicBezTo>
                  <a:cubicBezTo>
                    <a:pt x="63" y="40"/>
                    <a:pt x="63" y="40"/>
                    <a:pt x="63" y="40"/>
                  </a:cubicBezTo>
                  <a:cubicBezTo>
                    <a:pt x="54" y="45"/>
                    <a:pt x="54" y="45"/>
                    <a:pt x="54" y="45"/>
                  </a:cubicBezTo>
                  <a:cubicBezTo>
                    <a:pt x="62" y="28"/>
                    <a:pt x="62" y="28"/>
                    <a:pt x="62" y="28"/>
                  </a:cubicBezTo>
                  <a:cubicBezTo>
                    <a:pt x="62" y="28"/>
                    <a:pt x="62" y="28"/>
                    <a:pt x="62" y="28"/>
                  </a:cubicBezTo>
                  <a:cubicBezTo>
                    <a:pt x="62" y="27"/>
                    <a:pt x="62" y="27"/>
                    <a:pt x="62" y="27"/>
                  </a:cubicBezTo>
                  <a:cubicBezTo>
                    <a:pt x="62" y="27"/>
                    <a:pt x="62" y="26"/>
                    <a:pt x="62" y="26"/>
                  </a:cubicBezTo>
                  <a:cubicBezTo>
                    <a:pt x="62" y="25"/>
                    <a:pt x="62" y="25"/>
                    <a:pt x="62" y="25"/>
                  </a:cubicBezTo>
                  <a:cubicBezTo>
                    <a:pt x="61" y="24"/>
                    <a:pt x="61" y="24"/>
                    <a:pt x="61" y="24"/>
                  </a:cubicBezTo>
                  <a:cubicBezTo>
                    <a:pt x="61" y="24"/>
                    <a:pt x="61" y="24"/>
                    <a:pt x="61" y="24"/>
                  </a:cubicBezTo>
                  <a:cubicBezTo>
                    <a:pt x="61" y="23"/>
                    <a:pt x="61" y="23"/>
                    <a:pt x="61" y="22"/>
                  </a:cubicBezTo>
                  <a:cubicBezTo>
                    <a:pt x="60" y="22"/>
                    <a:pt x="60" y="22"/>
                    <a:pt x="60" y="22"/>
                  </a:cubicBezTo>
                  <a:cubicBezTo>
                    <a:pt x="60" y="22"/>
                    <a:pt x="59" y="22"/>
                    <a:pt x="58" y="21"/>
                  </a:cubicBezTo>
                  <a:cubicBezTo>
                    <a:pt x="58" y="21"/>
                    <a:pt x="57" y="20"/>
                    <a:pt x="56" y="19"/>
                  </a:cubicBezTo>
                  <a:cubicBezTo>
                    <a:pt x="55" y="17"/>
                    <a:pt x="53" y="13"/>
                    <a:pt x="52" y="10"/>
                  </a:cubicBezTo>
                  <a:cubicBezTo>
                    <a:pt x="52" y="10"/>
                    <a:pt x="52" y="10"/>
                    <a:pt x="52" y="10"/>
                  </a:cubicBezTo>
                  <a:cubicBezTo>
                    <a:pt x="51" y="9"/>
                    <a:pt x="51" y="8"/>
                    <a:pt x="51" y="8"/>
                  </a:cubicBezTo>
                  <a:cubicBezTo>
                    <a:pt x="51" y="7"/>
                    <a:pt x="51" y="7"/>
                    <a:pt x="51" y="7"/>
                  </a:cubicBezTo>
                  <a:cubicBezTo>
                    <a:pt x="50" y="5"/>
                    <a:pt x="48" y="3"/>
                    <a:pt x="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3" name="Freeform 242">
              <a:extLst>
                <a:ext uri="{FF2B5EF4-FFF2-40B4-BE49-F238E27FC236}">
                  <a16:creationId xmlns:a16="http://schemas.microsoft.com/office/drawing/2014/main" id="{B929076F-2613-4AB5-A449-2CCB6C120CB7}"/>
                </a:ext>
              </a:extLst>
            </p:cNvPr>
            <p:cNvSpPr>
              <a:spLocks/>
            </p:cNvSpPr>
            <p:nvPr/>
          </p:nvSpPr>
          <p:spPr bwMode="auto">
            <a:xfrm>
              <a:off x="2753" y="2051"/>
              <a:ext cx="140" cy="82"/>
            </a:xfrm>
            <a:custGeom>
              <a:avLst/>
              <a:gdLst>
                <a:gd name="T0" fmla="*/ 40 w 59"/>
                <a:gd name="T1" fmla="*/ 0 h 35"/>
                <a:gd name="T2" fmla="*/ 36 w 59"/>
                <a:gd name="T3" fmla="*/ 0 h 35"/>
                <a:gd name="T4" fmla="*/ 34 w 59"/>
                <a:gd name="T5" fmla="*/ 0 h 35"/>
                <a:gd name="T6" fmla="*/ 4 w 59"/>
                <a:gd name="T7" fmla="*/ 7 h 35"/>
                <a:gd name="T8" fmla="*/ 1 w 59"/>
                <a:gd name="T9" fmla="*/ 10 h 35"/>
                <a:gd name="T10" fmla="*/ 3 w 59"/>
                <a:gd name="T11" fmla="*/ 15 h 35"/>
                <a:gd name="T12" fmla="*/ 5 w 59"/>
                <a:gd name="T13" fmla="*/ 16 h 35"/>
                <a:gd name="T14" fmla="*/ 6 w 59"/>
                <a:gd name="T15" fmla="*/ 16 h 35"/>
                <a:gd name="T16" fmla="*/ 15 w 59"/>
                <a:gd name="T17" fmla="*/ 14 h 35"/>
                <a:gd name="T18" fmla="*/ 8 w 59"/>
                <a:gd name="T19" fmla="*/ 19 h 35"/>
                <a:gd name="T20" fmla="*/ 10 w 59"/>
                <a:gd name="T21" fmla="*/ 20 h 35"/>
                <a:gd name="T22" fmla="*/ 14 w 59"/>
                <a:gd name="T23" fmla="*/ 19 h 35"/>
                <a:gd name="T24" fmla="*/ 20 w 59"/>
                <a:gd name="T25" fmla="*/ 16 h 35"/>
                <a:gd name="T26" fmla="*/ 30 w 59"/>
                <a:gd name="T27" fmla="*/ 15 h 35"/>
                <a:gd name="T28" fmla="*/ 31 w 59"/>
                <a:gd name="T29" fmla="*/ 15 h 35"/>
                <a:gd name="T30" fmla="*/ 33 w 59"/>
                <a:gd name="T31" fmla="*/ 19 h 35"/>
                <a:gd name="T32" fmla="*/ 27 w 59"/>
                <a:gd name="T33" fmla="*/ 16 h 35"/>
                <a:gd name="T34" fmla="*/ 22 w 59"/>
                <a:gd name="T35" fmla="*/ 18 h 35"/>
                <a:gd name="T36" fmla="*/ 21 w 59"/>
                <a:gd name="T37" fmla="*/ 24 h 35"/>
                <a:gd name="T38" fmla="*/ 25 w 59"/>
                <a:gd name="T39" fmla="*/ 22 h 35"/>
                <a:gd name="T40" fmla="*/ 31 w 59"/>
                <a:gd name="T41" fmla="*/ 24 h 35"/>
                <a:gd name="T42" fmla="*/ 29 w 59"/>
                <a:gd name="T43" fmla="*/ 25 h 35"/>
                <a:gd name="T44" fmla="*/ 29 w 59"/>
                <a:gd name="T45" fmla="*/ 23 h 35"/>
                <a:gd name="T46" fmla="*/ 28 w 59"/>
                <a:gd name="T47" fmla="*/ 23 h 35"/>
                <a:gd name="T48" fmla="*/ 26 w 59"/>
                <a:gd name="T49" fmla="*/ 24 h 35"/>
                <a:gd name="T50" fmla="*/ 26 w 59"/>
                <a:gd name="T51" fmla="*/ 23 h 35"/>
                <a:gd name="T52" fmla="*/ 20 w 59"/>
                <a:gd name="T53" fmla="*/ 30 h 35"/>
                <a:gd name="T54" fmla="*/ 22 w 59"/>
                <a:gd name="T55" fmla="*/ 28 h 35"/>
                <a:gd name="T56" fmla="*/ 23 w 59"/>
                <a:gd name="T57" fmla="*/ 28 h 35"/>
                <a:gd name="T58" fmla="*/ 24 w 59"/>
                <a:gd name="T59" fmla="*/ 28 h 35"/>
                <a:gd name="T60" fmla="*/ 22 w 59"/>
                <a:gd name="T61" fmla="*/ 31 h 35"/>
                <a:gd name="T62" fmla="*/ 26 w 59"/>
                <a:gd name="T63" fmla="*/ 35 h 35"/>
                <a:gd name="T64" fmla="*/ 30 w 59"/>
                <a:gd name="T65" fmla="*/ 34 h 35"/>
                <a:gd name="T66" fmla="*/ 30 w 59"/>
                <a:gd name="T67" fmla="*/ 34 h 35"/>
                <a:gd name="T68" fmla="*/ 37 w 59"/>
                <a:gd name="T69" fmla="*/ 23 h 35"/>
                <a:gd name="T70" fmla="*/ 42 w 59"/>
                <a:gd name="T71" fmla="*/ 22 h 35"/>
                <a:gd name="T72" fmla="*/ 44 w 59"/>
                <a:gd name="T73" fmla="*/ 22 h 35"/>
                <a:gd name="T74" fmla="*/ 46 w 59"/>
                <a:gd name="T75" fmla="*/ 21 h 35"/>
                <a:gd name="T76" fmla="*/ 48 w 59"/>
                <a:gd name="T77" fmla="*/ 21 h 35"/>
                <a:gd name="T78" fmla="*/ 56 w 59"/>
                <a:gd name="T79" fmla="*/ 19 h 35"/>
                <a:gd name="T80" fmla="*/ 57 w 59"/>
                <a:gd name="T81" fmla="*/ 18 h 35"/>
                <a:gd name="T82" fmla="*/ 58 w 59"/>
                <a:gd name="T83" fmla="*/ 18 h 35"/>
                <a:gd name="T84" fmla="*/ 57 w 59"/>
                <a:gd name="T85" fmla="*/ 15 h 35"/>
                <a:gd name="T86" fmla="*/ 56 w 59"/>
                <a:gd name="T87" fmla="*/ 13 h 35"/>
                <a:gd name="T88" fmla="*/ 47 w 59"/>
                <a:gd name="T89" fmla="*/ 13 h 35"/>
                <a:gd name="T90" fmla="*/ 54 w 59"/>
                <a:gd name="T91" fmla="*/ 8 h 35"/>
                <a:gd name="T92" fmla="*/ 59 w 59"/>
                <a:gd name="T93" fmla="*/ 5 h 35"/>
                <a:gd name="T94" fmla="*/ 59 w 59"/>
                <a:gd name="T95" fmla="*/ 5 h 35"/>
                <a:gd name="T96" fmla="*/ 59 w 59"/>
                <a:gd name="T97" fmla="*/ 3 h 35"/>
                <a:gd name="T98" fmla="*/ 59 w 59"/>
                <a:gd name="T99" fmla="*/ 0 h 35"/>
                <a:gd name="T100" fmla="*/ 57 w 59"/>
                <a:gd name="T101" fmla="*/ 0 h 35"/>
                <a:gd name="T102" fmla="*/ 52 w 59"/>
                <a:gd name="T103" fmla="*/ 1 h 35"/>
                <a:gd name="T104" fmla="*/ 51 w 59"/>
                <a:gd name="T105" fmla="*/ 1 h 35"/>
                <a:gd name="T106" fmla="*/ 46 w 59"/>
                <a:gd name="T107" fmla="*/ 0 h 35"/>
                <a:gd name="T108" fmla="*/ 40 w 59"/>
                <a:gd name="T10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9" h="35">
                  <a:moveTo>
                    <a:pt x="40" y="0"/>
                  </a:moveTo>
                  <a:cubicBezTo>
                    <a:pt x="39" y="0"/>
                    <a:pt x="37" y="0"/>
                    <a:pt x="36" y="0"/>
                  </a:cubicBezTo>
                  <a:cubicBezTo>
                    <a:pt x="34" y="0"/>
                    <a:pt x="34" y="0"/>
                    <a:pt x="34" y="0"/>
                  </a:cubicBezTo>
                  <a:cubicBezTo>
                    <a:pt x="26" y="2"/>
                    <a:pt x="16" y="5"/>
                    <a:pt x="4" y="7"/>
                  </a:cubicBezTo>
                  <a:cubicBezTo>
                    <a:pt x="3" y="8"/>
                    <a:pt x="1" y="9"/>
                    <a:pt x="1" y="10"/>
                  </a:cubicBezTo>
                  <a:cubicBezTo>
                    <a:pt x="0" y="11"/>
                    <a:pt x="2" y="13"/>
                    <a:pt x="3" y="15"/>
                  </a:cubicBezTo>
                  <a:cubicBezTo>
                    <a:pt x="4" y="16"/>
                    <a:pt x="4" y="16"/>
                    <a:pt x="5" y="16"/>
                  </a:cubicBezTo>
                  <a:cubicBezTo>
                    <a:pt x="5" y="16"/>
                    <a:pt x="6" y="16"/>
                    <a:pt x="6" y="16"/>
                  </a:cubicBezTo>
                  <a:cubicBezTo>
                    <a:pt x="9" y="16"/>
                    <a:pt x="12" y="14"/>
                    <a:pt x="15" y="14"/>
                  </a:cubicBezTo>
                  <a:cubicBezTo>
                    <a:pt x="11" y="15"/>
                    <a:pt x="10" y="16"/>
                    <a:pt x="8" y="19"/>
                  </a:cubicBezTo>
                  <a:cubicBezTo>
                    <a:pt x="9" y="19"/>
                    <a:pt x="10" y="20"/>
                    <a:pt x="10" y="20"/>
                  </a:cubicBezTo>
                  <a:cubicBezTo>
                    <a:pt x="12" y="20"/>
                    <a:pt x="13" y="19"/>
                    <a:pt x="14" y="19"/>
                  </a:cubicBezTo>
                  <a:cubicBezTo>
                    <a:pt x="17" y="19"/>
                    <a:pt x="18" y="17"/>
                    <a:pt x="20" y="16"/>
                  </a:cubicBezTo>
                  <a:cubicBezTo>
                    <a:pt x="23" y="16"/>
                    <a:pt x="27" y="15"/>
                    <a:pt x="30" y="15"/>
                  </a:cubicBezTo>
                  <a:cubicBezTo>
                    <a:pt x="30" y="15"/>
                    <a:pt x="31" y="15"/>
                    <a:pt x="31" y="15"/>
                  </a:cubicBezTo>
                  <a:cubicBezTo>
                    <a:pt x="33" y="15"/>
                    <a:pt x="33" y="18"/>
                    <a:pt x="33" y="19"/>
                  </a:cubicBezTo>
                  <a:cubicBezTo>
                    <a:pt x="31" y="17"/>
                    <a:pt x="29" y="16"/>
                    <a:pt x="27" y="16"/>
                  </a:cubicBezTo>
                  <a:cubicBezTo>
                    <a:pt x="25" y="16"/>
                    <a:pt x="24" y="16"/>
                    <a:pt x="22" y="18"/>
                  </a:cubicBezTo>
                  <a:cubicBezTo>
                    <a:pt x="19" y="20"/>
                    <a:pt x="21" y="21"/>
                    <a:pt x="21" y="24"/>
                  </a:cubicBezTo>
                  <a:cubicBezTo>
                    <a:pt x="22" y="22"/>
                    <a:pt x="24" y="22"/>
                    <a:pt x="25" y="22"/>
                  </a:cubicBezTo>
                  <a:cubicBezTo>
                    <a:pt x="27" y="22"/>
                    <a:pt x="29" y="23"/>
                    <a:pt x="31" y="24"/>
                  </a:cubicBezTo>
                  <a:cubicBezTo>
                    <a:pt x="30" y="24"/>
                    <a:pt x="29" y="24"/>
                    <a:pt x="29" y="25"/>
                  </a:cubicBezTo>
                  <a:cubicBezTo>
                    <a:pt x="29" y="24"/>
                    <a:pt x="29" y="23"/>
                    <a:pt x="29" y="23"/>
                  </a:cubicBezTo>
                  <a:cubicBezTo>
                    <a:pt x="29" y="23"/>
                    <a:pt x="28" y="23"/>
                    <a:pt x="28" y="23"/>
                  </a:cubicBezTo>
                  <a:cubicBezTo>
                    <a:pt x="27" y="23"/>
                    <a:pt x="27" y="23"/>
                    <a:pt x="26" y="24"/>
                  </a:cubicBezTo>
                  <a:cubicBezTo>
                    <a:pt x="26" y="24"/>
                    <a:pt x="26" y="24"/>
                    <a:pt x="26" y="23"/>
                  </a:cubicBezTo>
                  <a:cubicBezTo>
                    <a:pt x="24" y="25"/>
                    <a:pt x="21" y="27"/>
                    <a:pt x="20" y="30"/>
                  </a:cubicBezTo>
                  <a:cubicBezTo>
                    <a:pt x="21" y="29"/>
                    <a:pt x="22" y="29"/>
                    <a:pt x="22" y="28"/>
                  </a:cubicBezTo>
                  <a:cubicBezTo>
                    <a:pt x="23" y="28"/>
                    <a:pt x="23" y="28"/>
                    <a:pt x="23" y="28"/>
                  </a:cubicBezTo>
                  <a:cubicBezTo>
                    <a:pt x="24" y="28"/>
                    <a:pt x="24" y="28"/>
                    <a:pt x="24" y="28"/>
                  </a:cubicBezTo>
                  <a:cubicBezTo>
                    <a:pt x="22" y="29"/>
                    <a:pt x="21" y="30"/>
                    <a:pt x="22" y="31"/>
                  </a:cubicBezTo>
                  <a:cubicBezTo>
                    <a:pt x="25" y="32"/>
                    <a:pt x="28" y="31"/>
                    <a:pt x="26" y="35"/>
                  </a:cubicBezTo>
                  <a:cubicBezTo>
                    <a:pt x="28" y="35"/>
                    <a:pt x="29" y="35"/>
                    <a:pt x="30" y="34"/>
                  </a:cubicBezTo>
                  <a:cubicBezTo>
                    <a:pt x="30" y="34"/>
                    <a:pt x="30" y="34"/>
                    <a:pt x="30" y="34"/>
                  </a:cubicBezTo>
                  <a:cubicBezTo>
                    <a:pt x="32" y="30"/>
                    <a:pt x="34" y="25"/>
                    <a:pt x="37" y="23"/>
                  </a:cubicBezTo>
                  <a:cubicBezTo>
                    <a:pt x="38" y="22"/>
                    <a:pt x="40" y="22"/>
                    <a:pt x="42" y="22"/>
                  </a:cubicBezTo>
                  <a:cubicBezTo>
                    <a:pt x="43" y="22"/>
                    <a:pt x="43" y="22"/>
                    <a:pt x="44" y="22"/>
                  </a:cubicBezTo>
                  <a:cubicBezTo>
                    <a:pt x="45" y="21"/>
                    <a:pt x="45" y="21"/>
                    <a:pt x="46" y="21"/>
                  </a:cubicBezTo>
                  <a:cubicBezTo>
                    <a:pt x="48" y="21"/>
                    <a:pt x="48" y="21"/>
                    <a:pt x="48" y="21"/>
                  </a:cubicBezTo>
                  <a:cubicBezTo>
                    <a:pt x="50" y="20"/>
                    <a:pt x="53" y="20"/>
                    <a:pt x="56" y="19"/>
                  </a:cubicBezTo>
                  <a:cubicBezTo>
                    <a:pt x="56" y="19"/>
                    <a:pt x="56" y="18"/>
                    <a:pt x="57" y="18"/>
                  </a:cubicBezTo>
                  <a:cubicBezTo>
                    <a:pt x="58" y="18"/>
                    <a:pt x="58" y="18"/>
                    <a:pt x="58" y="18"/>
                  </a:cubicBezTo>
                  <a:cubicBezTo>
                    <a:pt x="58" y="16"/>
                    <a:pt x="57" y="15"/>
                    <a:pt x="57" y="15"/>
                  </a:cubicBezTo>
                  <a:cubicBezTo>
                    <a:pt x="56" y="13"/>
                    <a:pt x="56" y="13"/>
                    <a:pt x="56" y="13"/>
                  </a:cubicBezTo>
                  <a:cubicBezTo>
                    <a:pt x="47" y="13"/>
                    <a:pt x="47" y="13"/>
                    <a:pt x="47" y="13"/>
                  </a:cubicBezTo>
                  <a:cubicBezTo>
                    <a:pt x="54" y="8"/>
                    <a:pt x="54" y="8"/>
                    <a:pt x="54" y="8"/>
                  </a:cubicBezTo>
                  <a:cubicBezTo>
                    <a:pt x="56" y="7"/>
                    <a:pt x="57" y="6"/>
                    <a:pt x="59" y="5"/>
                  </a:cubicBezTo>
                  <a:cubicBezTo>
                    <a:pt x="59" y="5"/>
                    <a:pt x="59" y="5"/>
                    <a:pt x="59" y="5"/>
                  </a:cubicBezTo>
                  <a:cubicBezTo>
                    <a:pt x="59" y="4"/>
                    <a:pt x="59" y="4"/>
                    <a:pt x="59" y="3"/>
                  </a:cubicBezTo>
                  <a:cubicBezTo>
                    <a:pt x="59" y="0"/>
                    <a:pt x="59" y="0"/>
                    <a:pt x="59" y="0"/>
                  </a:cubicBezTo>
                  <a:cubicBezTo>
                    <a:pt x="58" y="0"/>
                    <a:pt x="58" y="0"/>
                    <a:pt x="57" y="0"/>
                  </a:cubicBezTo>
                  <a:cubicBezTo>
                    <a:pt x="55" y="0"/>
                    <a:pt x="54" y="0"/>
                    <a:pt x="52" y="1"/>
                  </a:cubicBezTo>
                  <a:cubicBezTo>
                    <a:pt x="51" y="1"/>
                    <a:pt x="51" y="1"/>
                    <a:pt x="51" y="1"/>
                  </a:cubicBezTo>
                  <a:cubicBezTo>
                    <a:pt x="50" y="0"/>
                    <a:pt x="48" y="0"/>
                    <a:pt x="46" y="0"/>
                  </a:cubicBezTo>
                  <a:cubicBezTo>
                    <a:pt x="44" y="0"/>
                    <a:pt x="42" y="0"/>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4" name="Freeform 243">
              <a:extLst>
                <a:ext uri="{FF2B5EF4-FFF2-40B4-BE49-F238E27FC236}">
                  <a16:creationId xmlns:a16="http://schemas.microsoft.com/office/drawing/2014/main" id="{1B51F545-D404-468B-A06F-650ACE109C04}"/>
                </a:ext>
              </a:extLst>
            </p:cNvPr>
            <p:cNvSpPr>
              <a:spLocks/>
            </p:cNvSpPr>
            <p:nvPr/>
          </p:nvSpPr>
          <p:spPr bwMode="auto">
            <a:xfrm>
              <a:off x="2742" y="2067"/>
              <a:ext cx="21" cy="5"/>
            </a:xfrm>
            <a:custGeom>
              <a:avLst/>
              <a:gdLst>
                <a:gd name="T0" fmla="*/ 9 w 9"/>
                <a:gd name="T1" fmla="*/ 0 h 2"/>
                <a:gd name="T2" fmla="*/ 0 w 9"/>
                <a:gd name="T3" fmla="*/ 1 h 2"/>
                <a:gd name="T4" fmla="*/ 3 w 9"/>
                <a:gd name="T5" fmla="*/ 2 h 2"/>
                <a:gd name="T6" fmla="*/ 9 w 9"/>
                <a:gd name="T7" fmla="*/ 0 h 2"/>
              </a:gdLst>
              <a:ahLst/>
              <a:cxnLst>
                <a:cxn ang="0">
                  <a:pos x="T0" y="T1"/>
                </a:cxn>
                <a:cxn ang="0">
                  <a:pos x="T2" y="T3"/>
                </a:cxn>
                <a:cxn ang="0">
                  <a:pos x="T4" y="T5"/>
                </a:cxn>
                <a:cxn ang="0">
                  <a:pos x="T6" y="T7"/>
                </a:cxn>
              </a:cxnLst>
              <a:rect l="0" t="0" r="r" b="b"/>
              <a:pathLst>
                <a:path w="9" h="2">
                  <a:moveTo>
                    <a:pt x="9" y="0"/>
                  </a:moveTo>
                  <a:cubicBezTo>
                    <a:pt x="6" y="0"/>
                    <a:pt x="3" y="1"/>
                    <a:pt x="0" y="1"/>
                  </a:cubicBezTo>
                  <a:cubicBezTo>
                    <a:pt x="1" y="2"/>
                    <a:pt x="2" y="2"/>
                    <a:pt x="3" y="2"/>
                  </a:cubicBezTo>
                  <a:cubicBezTo>
                    <a:pt x="5" y="2"/>
                    <a:pt x="6"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5" name="Freeform 244">
              <a:extLst>
                <a:ext uri="{FF2B5EF4-FFF2-40B4-BE49-F238E27FC236}">
                  <a16:creationId xmlns:a16="http://schemas.microsoft.com/office/drawing/2014/main" id="{5846362F-D79B-4B37-8C23-34901BFFE520}"/>
                </a:ext>
              </a:extLst>
            </p:cNvPr>
            <p:cNvSpPr>
              <a:spLocks/>
            </p:cNvSpPr>
            <p:nvPr/>
          </p:nvSpPr>
          <p:spPr bwMode="auto">
            <a:xfrm>
              <a:off x="5282" y="2890"/>
              <a:ext cx="97" cy="106"/>
            </a:xfrm>
            <a:custGeom>
              <a:avLst/>
              <a:gdLst>
                <a:gd name="T0" fmla="*/ 29 w 41"/>
                <a:gd name="T1" fmla="*/ 0 h 45"/>
                <a:gd name="T2" fmla="*/ 24 w 41"/>
                <a:gd name="T3" fmla="*/ 2 h 45"/>
                <a:gd name="T4" fmla="*/ 22 w 41"/>
                <a:gd name="T5" fmla="*/ 1 h 45"/>
                <a:gd name="T6" fmla="*/ 18 w 41"/>
                <a:gd name="T7" fmla="*/ 8 h 45"/>
                <a:gd name="T8" fmla="*/ 17 w 41"/>
                <a:gd name="T9" fmla="*/ 9 h 45"/>
                <a:gd name="T10" fmla="*/ 14 w 41"/>
                <a:gd name="T11" fmla="*/ 10 h 45"/>
                <a:gd name="T12" fmla="*/ 14 w 41"/>
                <a:gd name="T13" fmla="*/ 10 h 45"/>
                <a:gd name="T14" fmla="*/ 13 w 41"/>
                <a:gd name="T15" fmla="*/ 10 h 45"/>
                <a:gd name="T16" fmla="*/ 13 w 41"/>
                <a:gd name="T17" fmla="*/ 11 h 45"/>
                <a:gd name="T18" fmla="*/ 12 w 41"/>
                <a:gd name="T19" fmla="*/ 11 h 45"/>
                <a:gd name="T20" fmla="*/ 12 w 41"/>
                <a:gd name="T21" fmla="*/ 11 h 45"/>
                <a:gd name="T22" fmla="*/ 12 w 41"/>
                <a:gd name="T23" fmla="*/ 11 h 45"/>
                <a:gd name="T24" fmla="*/ 10 w 41"/>
                <a:gd name="T25" fmla="*/ 11 h 45"/>
                <a:gd name="T26" fmla="*/ 9 w 41"/>
                <a:gd name="T27" fmla="*/ 11 h 45"/>
                <a:gd name="T28" fmla="*/ 3 w 41"/>
                <a:gd name="T29" fmla="*/ 9 h 45"/>
                <a:gd name="T30" fmla="*/ 1 w 41"/>
                <a:gd name="T31" fmla="*/ 7 h 45"/>
                <a:gd name="T32" fmla="*/ 1 w 41"/>
                <a:gd name="T33" fmla="*/ 7 h 45"/>
                <a:gd name="T34" fmla="*/ 0 w 41"/>
                <a:gd name="T35" fmla="*/ 7 h 45"/>
                <a:gd name="T36" fmla="*/ 0 w 41"/>
                <a:gd name="T37" fmla="*/ 7 h 45"/>
                <a:gd name="T38" fmla="*/ 1 w 41"/>
                <a:gd name="T39" fmla="*/ 7 h 45"/>
                <a:gd name="T40" fmla="*/ 1 w 41"/>
                <a:gd name="T41" fmla="*/ 8 h 45"/>
                <a:gd name="T42" fmla="*/ 2 w 41"/>
                <a:gd name="T43" fmla="*/ 9 h 45"/>
                <a:gd name="T44" fmla="*/ 2 w 41"/>
                <a:gd name="T45" fmla="*/ 9 h 45"/>
                <a:gd name="T46" fmla="*/ 3 w 41"/>
                <a:gd name="T47" fmla="*/ 10 h 45"/>
                <a:gd name="T48" fmla="*/ 5 w 41"/>
                <a:gd name="T49" fmla="*/ 18 h 45"/>
                <a:gd name="T50" fmla="*/ 5 w 41"/>
                <a:gd name="T51" fmla="*/ 18 h 45"/>
                <a:gd name="T52" fmla="*/ 5 w 41"/>
                <a:gd name="T53" fmla="*/ 19 h 45"/>
                <a:gd name="T54" fmla="*/ 5 w 41"/>
                <a:gd name="T55" fmla="*/ 21 h 45"/>
                <a:gd name="T56" fmla="*/ 4 w 41"/>
                <a:gd name="T57" fmla="*/ 23 h 45"/>
                <a:gd name="T58" fmla="*/ 4 w 41"/>
                <a:gd name="T59" fmla="*/ 24 h 45"/>
                <a:gd name="T60" fmla="*/ 5 w 41"/>
                <a:gd name="T61" fmla="*/ 25 h 45"/>
                <a:gd name="T62" fmla="*/ 3 w 41"/>
                <a:gd name="T63" fmla="*/ 25 h 45"/>
                <a:gd name="T64" fmla="*/ 3 w 41"/>
                <a:gd name="T65" fmla="*/ 25 h 45"/>
                <a:gd name="T66" fmla="*/ 4 w 41"/>
                <a:gd name="T67" fmla="*/ 27 h 45"/>
                <a:gd name="T68" fmla="*/ 3 w 41"/>
                <a:gd name="T69" fmla="*/ 27 h 45"/>
                <a:gd name="T70" fmla="*/ 5 w 41"/>
                <a:gd name="T71" fmla="*/ 32 h 45"/>
                <a:gd name="T72" fmla="*/ 11 w 41"/>
                <a:gd name="T73" fmla="*/ 45 h 45"/>
                <a:gd name="T74" fmla="*/ 11 w 41"/>
                <a:gd name="T75" fmla="*/ 45 h 45"/>
                <a:gd name="T76" fmla="*/ 14 w 41"/>
                <a:gd name="T77" fmla="*/ 45 h 45"/>
                <a:gd name="T78" fmla="*/ 15 w 41"/>
                <a:gd name="T79" fmla="*/ 45 h 45"/>
                <a:gd name="T80" fmla="*/ 22 w 41"/>
                <a:gd name="T81" fmla="*/ 44 h 45"/>
                <a:gd name="T82" fmla="*/ 26 w 41"/>
                <a:gd name="T83" fmla="*/ 44 h 45"/>
                <a:gd name="T84" fmla="*/ 31 w 41"/>
                <a:gd name="T85" fmla="*/ 38 h 45"/>
                <a:gd name="T86" fmla="*/ 32 w 41"/>
                <a:gd name="T87" fmla="*/ 36 h 45"/>
                <a:gd name="T88" fmla="*/ 33 w 41"/>
                <a:gd name="T89" fmla="*/ 32 h 45"/>
                <a:gd name="T90" fmla="*/ 36 w 41"/>
                <a:gd name="T91" fmla="*/ 24 h 45"/>
                <a:gd name="T92" fmla="*/ 37 w 41"/>
                <a:gd name="T93" fmla="*/ 23 h 45"/>
                <a:gd name="T94" fmla="*/ 37 w 41"/>
                <a:gd name="T95" fmla="*/ 23 h 45"/>
                <a:gd name="T96" fmla="*/ 37 w 41"/>
                <a:gd name="T97" fmla="*/ 21 h 45"/>
                <a:gd name="T98" fmla="*/ 39 w 41"/>
                <a:gd name="T99" fmla="*/ 20 h 45"/>
                <a:gd name="T100" fmla="*/ 41 w 41"/>
                <a:gd name="T101" fmla="*/ 18 h 45"/>
                <a:gd name="T102" fmla="*/ 39 w 41"/>
                <a:gd name="T103" fmla="*/ 12 h 45"/>
                <a:gd name="T104" fmla="*/ 38 w 41"/>
                <a:gd name="T105" fmla="*/ 10 h 45"/>
                <a:gd name="T106" fmla="*/ 35 w 41"/>
                <a:gd name="T107" fmla="*/ 10 h 45"/>
                <a:gd name="T108" fmla="*/ 35 w 41"/>
                <a:gd name="T109" fmla="*/ 7 h 45"/>
                <a:gd name="T110" fmla="*/ 35 w 41"/>
                <a:gd name="T111" fmla="*/ 6 h 45"/>
                <a:gd name="T112" fmla="*/ 34 w 41"/>
                <a:gd name="T113" fmla="*/ 2 h 45"/>
                <a:gd name="T114" fmla="*/ 34 w 41"/>
                <a:gd name="T115" fmla="*/ 2 h 45"/>
                <a:gd name="T116" fmla="*/ 34 w 41"/>
                <a:gd name="T117" fmla="*/ 2 h 45"/>
                <a:gd name="T118" fmla="*/ 33 w 41"/>
                <a:gd name="T119" fmla="*/ 2 h 45"/>
                <a:gd name="T120" fmla="*/ 32 w 41"/>
                <a:gd name="T121" fmla="*/ 2 h 45"/>
                <a:gd name="T122" fmla="*/ 31 w 41"/>
                <a:gd name="T123" fmla="*/ 1 h 45"/>
                <a:gd name="T124" fmla="*/ 29 w 41"/>
                <a:gd name="T125"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 h="45">
                  <a:moveTo>
                    <a:pt x="29" y="0"/>
                  </a:moveTo>
                  <a:cubicBezTo>
                    <a:pt x="27" y="1"/>
                    <a:pt x="25" y="2"/>
                    <a:pt x="24" y="2"/>
                  </a:cubicBezTo>
                  <a:cubicBezTo>
                    <a:pt x="23" y="2"/>
                    <a:pt x="23" y="2"/>
                    <a:pt x="22" y="1"/>
                  </a:cubicBezTo>
                  <a:cubicBezTo>
                    <a:pt x="22" y="4"/>
                    <a:pt x="21" y="7"/>
                    <a:pt x="18" y="8"/>
                  </a:cubicBezTo>
                  <a:cubicBezTo>
                    <a:pt x="17" y="9"/>
                    <a:pt x="17" y="9"/>
                    <a:pt x="17" y="9"/>
                  </a:cubicBezTo>
                  <a:cubicBezTo>
                    <a:pt x="17" y="9"/>
                    <a:pt x="15" y="10"/>
                    <a:pt x="14" y="10"/>
                  </a:cubicBezTo>
                  <a:cubicBezTo>
                    <a:pt x="14" y="10"/>
                    <a:pt x="14" y="10"/>
                    <a:pt x="14" y="10"/>
                  </a:cubicBezTo>
                  <a:cubicBezTo>
                    <a:pt x="13" y="10"/>
                    <a:pt x="13" y="10"/>
                    <a:pt x="13" y="10"/>
                  </a:cubicBezTo>
                  <a:cubicBezTo>
                    <a:pt x="13" y="11"/>
                    <a:pt x="13" y="11"/>
                    <a:pt x="13" y="11"/>
                  </a:cubicBezTo>
                  <a:cubicBezTo>
                    <a:pt x="12" y="11"/>
                    <a:pt x="12" y="11"/>
                    <a:pt x="12" y="11"/>
                  </a:cubicBezTo>
                  <a:cubicBezTo>
                    <a:pt x="12" y="11"/>
                    <a:pt x="12" y="11"/>
                    <a:pt x="12" y="11"/>
                  </a:cubicBezTo>
                  <a:cubicBezTo>
                    <a:pt x="12" y="11"/>
                    <a:pt x="12" y="11"/>
                    <a:pt x="12" y="11"/>
                  </a:cubicBezTo>
                  <a:cubicBezTo>
                    <a:pt x="11" y="11"/>
                    <a:pt x="11" y="11"/>
                    <a:pt x="10" y="11"/>
                  </a:cubicBezTo>
                  <a:cubicBezTo>
                    <a:pt x="10" y="11"/>
                    <a:pt x="10" y="11"/>
                    <a:pt x="9" y="11"/>
                  </a:cubicBezTo>
                  <a:cubicBezTo>
                    <a:pt x="6" y="11"/>
                    <a:pt x="4" y="10"/>
                    <a:pt x="3" y="9"/>
                  </a:cubicBezTo>
                  <a:cubicBezTo>
                    <a:pt x="2" y="8"/>
                    <a:pt x="2" y="7"/>
                    <a:pt x="1" y="7"/>
                  </a:cubicBezTo>
                  <a:cubicBezTo>
                    <a:pt x="1" y="7"/>
                    <a:pt x="1" y="7"/>
                    <a:pt x="1" y="7"/>
                  </a:cubicBezTo>
                  <a:cubicBezTo>
                    <a:pt x="1" y="7"/>
                    <a:pt x="1" y="7"/>
                    <a:pt x="0" y="7"/>
                  </a:cubicBezTo>
                  <a:cubicBezTo>
                    <a:pt x="0" y="7"/>
                    <a:pt x="0" y="7"/>
                    <a:pt x="0" y="7"/>
                  </a:cubicBezTo>
                  <a:cubicBezTo>
                    <a:pt x="1" y="7"/>
                    <a:pt x="1" y="7"/>
                    <a:pt x="1" y="7"/>
                  </a:cubicBezTo>
                  <a:cubicBezTo>
                    <a:pt x="1" y="7"/>
                    <a:pt x="1" y="8"/>
                    <a:pt x="1" y="8"/>
                  </a:cubicBezTo>
                  <a:cubicBezTo>
                    <a:pt x="2" y="9"/>
                    <a:pt x="2" y="9"/>
                    <a:pt x="2" y="9"/>
                  </a:cubicBezTo>
                  <a:cubicBezTo>
                    <a:pt x="2" y="9"/>
                    <a:pt x="2" y="9"/>
                    <a:pt x="2" y="9"/>
                  </a:cubicBezTo>
                  <a:cubicBezTo>
                    <a:pt x="3" y="10"/>
                    <a:pt x="3" y="10"/>
                    <a:pt x="3" y="10"/>
                  </a:cubicBezTo>
                  <a:cubicBezTo>
                    <a:pt x="4" y="13"/>
                    <a:pt x="5" y="15"/>
                    <a:pt x="5" y="18"/>
                  </a:cubicBezTo>
                  <a:cubicBezTo>
                    <a:pt x="5" y="18"/>
                    <a:pt x="5" y="18"/>
                    <a:pt x="5" y="18"/>
                  </a:cubicBezTo>
                  <a:cubicBezTo>
                    <a:pt x="5" y="19"/>
                    <a:pt x="5" y="19"/>
                    <a:pt x="5" y="19"/>
                  </a:cubicBezTo>
                  <a:cubicBezTo>
                    <a:pt x="5" y="21"/>
                    <a:pt x="5" y="21"/>
                    <a:pt x="5" y="21"/>
                  </a:cubicBezTo>
                  <a:cubicBezTo>
                    <a:pt x="5" y="22"/>
                    <a:pt x="5" y="23"/>
                    <a:pt x="4" y="23"/>
                  </a:cubicBezTo>
                  <a:cubicBezTo>
                    <a:pt x="4" y="24"/>
                    <a:pt x="4" y="24"/>
                    <a:pt x="4" y="24"/>
                  </a:cubicBezTo>
                  <a:cubicBezTo>
                    <a:pt x="5" y="25"/>
                    <a:pt x="5" y="25"/>
                    <a:pt x="5" y="25"/>
                  </a:cubicBezTo>
                  <a:cubicBezTo>
                    <a:pt x="3" y="25"/>
                    <a:pt x="3" y="25"/>
                    <a:pt x="3" y="25"/>
                  </a:cubicBezTo>
                  <a:cubicBezTo>
                    <a:pt x="3" y="25"/>
                    <a:pt x="3" y="25"/>
                    <a:pt x="3" y="25"/>
                  </a:cubicBezTo>
                  <a:cubicBezTo>
                    <a:pt x="4" y="27"/>
                    <a:pt x="4" y="27"/>
                    <a:pt x="4" y="27"/>
                  </a:cubicBezTo>
                  <a:cubicBezTo>
                    <a:pt x="3" y="27"/>
                    <a:pt x="3" y="27"/>
                    <a:pt x="3" y="27"/>
                  </a:cubicBezTo>
                  <a:cubicBezTo>
                    <a:pt x="4" y="29"/>
                    <a:pt x="5" y="31"/>
                    <a:pt x="5" y="32"/>
                  </a:cubicBezTo>
                  <a:cubicBezTo>
                    <a:pt x="7" y="36"/>
                    <a:pt x="9" y="41"/>
                    <a:pt x="11" y="45"/>
                  </a:cubicBezTo>
                  <a:cubicBezTo>
                    <a:pt x="11" y="45"/>
                    <a:pt x="11" y="45"/>
                    <a:pt x="11" y="45"/>
                  </a:cubicBezTo>
                  <a:cubicBezTo>
                    <a:pt x="14" y="45"/>
                    <a:pt x="14" y="45"/>
                    <a:pt x="14" y="45"/>
                  </a:cubicBezTo>
                  <a:cubicBezTo>
                    <a:pt x="15" y="45"/>
                    <a:pt x="15" y="45"/>
                    <a:pt x="15" y="45"/>
                  </a:cubicBezTo>
                  <a:cubicBezTo>
                    <a:pt x="15" y="45"/>
                    <a:pt x="16" y="45"/>
                    <a:pt x="22" y="44"/>
                  </a:cubicBezTo>
                  <a:cubicBezTo>
                    <a:pt x="24" y="44"/>
                    <a:pt x="25" y="44"/>
                    <a:pt x="26" y="44"/>
                  </a:cubicBezTo>
                  <a:cubicBezTo>
                    <a:pt x="29" y="42"/>
                    <a:pt x="29" y="41"/>
                    <a:pt x="31" y="38"/>
                  </a:cubicBezTo>
                  <a:cubicBezTo>
                    <a:pt x="32" y="36"/>
                    <a:pt x="32" y="36"/>
                    <a:pt x="32" y="36"/>
                  </a:cubicBezTo>
                  <a:cubicBezTo>
                    <a:pt x="33" y="35"/>
                    <a:pt x="33" y="33"/>
                    <a:pt x="33" y="32"/>
                  </a:cubicBezTo>
                  <a:cubicBezTo>
                    <a:pt x="33" y="29"/>
                    <a:pt x="33" y="26"/>
                    <a:pt x="36" y="24"/>
                  </a:cubicBezTo>
                  <a:cubicBezTo>
                    <a:pt x="37" y="23"/>
                    <a:pt x="37" y="23"/>
                    <a:pt x="37" y="23"/>
                  </a:cubicBezTo>
                  <a:cubicBezTo>
                    <a:pt x="37" y="23"/>
                    <a:pt x="37" y="23"/>
                    <a:pt x="37" y="23"/>
                  </a:cubicBezTo>
                  <a:cubicBezTo>
                    <a:pt x="37" y="21"/>
                    <a:pt x="37" y="21"/>
                    <a:pt x="37" y="21"/>
                  </a:cubicBezTo>
                  <a:cubicBezTo>
                    <a:pt x="39" y="20"/>
                    <a:pt x="39" y="20"/>
                    <a:pt x="39" y="20"/>
                  </a:cubicBezTo>
                  <a:cubicBezTo>
                    <a:pt x="39" y="20"/>
                    <a:pt x="40" y="18"/>
                    <a:pt x="41" y="18"/>
                  </a:cubicBezTo>
                  <a:cubicBezTo>
                    <a:pt x="40" y="17"/>
                    <a:pt x="40" y="14"/>
                    <a:pt x="39" y="12"/>
                  </a:cubicBezTo>
                  <a:cubicBezTo>
                    <a:pt x="38" y="11"/>
                    <a:pt x="38" y="11"/>
                    <a:pt x="38" y="10"/>
                  </a:cubicBezTo>
                  <a:cubicBezTo>
                    <a:pt x="35" y="10"/>
                    <a:pt x="35" y="10"/>
                    <a:pt x="35" y="10"/>
                  </a:cubicBezTo>
                  <a:cubicBezTo>
                    <a:pt x="35" y="7"/>
                    <a:pt x="35" y="7"/>
                    <a:pt x="35" y="7"/>
                  </a:cubicBezTo>
                  <a:cubicBezTo>
                    <a:pt x="35" y="6"/>
                    <a:pt x="35" y="6"/>
                    <a:pt x="35" y="6"/>
                  </a:cubicBezTo>
                  <a:cubicBezTo>
                    <a:pt x="35" y="5"/>
                    <a:pt x="34" y="4"/>
                    <a:pt x="34" y="2"/>
                  </a:cubicBezTo>
                  <a:cubicBezTo>
                    <a:pt x="34" y="2"/>
                    <a:pt x="34" y="2"/>
                    <a:pt x="34" y="2"/>
                  </a:cubicBezTo>
                  <a:cubicBezTo>
                    <a:pt x="34" y="2"/>
                    <a:pt x="34" y="2"/>
                    <a:pt x="34" y="2"/>
                  </a:cubicBezTo>
                  <a:cubicBezTo>
                    <a:pt x="33" y="2"/>
                    <a:pt x="33" y="2"/>
                    <a:pt x="33" y="2"/>
                  </a:cubicBezTo>
                  <a:cubicBezTo>
                    <a:pt x="32" y="2"/>
                    <a:pt x="32" y="2"/>
                    <a:pt x="32" y="2"/>
                  </a:cubicBezTo>
                  <a:cubicBezTo>
                    <a:pt x="32" y="1"/>
                    <a:pt x="32" y="1"/>
                    <a:pt x="31" y="1"/>
                  </a:cubicBezTo>
                  <a:cubicBezTo>
                    <a:pt x="31" y="1"/>
                    <a:pt x="30" y="1"/>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6" name="Freeform 245">
              <a:extLst>
                <a:ext uri="{FF2B5EF4-FFF2-40B4-BE49-F238E27FC236}">
                  <a16:creationId xmlns:a16="http://schemas.microsoft.com/office/drawing/2014/main" id="{07A960C8-55FE-43C1-8CA1-90DA16E6AE03}"/>
                </a:ext>
              </a:extLst>
            </p:cNvPr>
            <p:cNvSpPr>
              <a:spLocks/>
            </p:cNvSpPr>
            <p:nvPr/>
          </p:nvSpPr>
          <p:spPr bwMode="auto">
            <a:xfrm>
              <a:off x="5277" y="2824"/>
              <a:ext cx="95" cy="80"/>
            </a:xfrm>
            <a:custGeom>
              <a:avLst/>
              <a:gdLst>
                <a:gd name="T0" fmla="*/ 33 w 40"/>
                <a:gd name="T1" fmla="*/ 0 h 34"/>
                <a:gd name="T2" fmla="*/ 29 w 40"/>
                <a:gd name="T3" fmla="*/ 2 h 34"/>
                <a:gd name="T4" fmla="*/ 29 w 40"/>
                <a:gd name="T5" fmla="*/ 3 h 34"/>
                <a:gd name="T6" fmla="*/ 26 w 40"/>
                <a:gd name="T7" fmla="*/ 5 h 34"/>
                <a:gd name="T8" fmla="*/ 23 w 40"/>
                <a:gd name="T9" fmla="*/ 7 h 34"/>
                <a:gd name="T10" fmla="*/ 22 w 40"/>
                <a:gd name="T11" fmla="*/ 7 h 34"/>
                <a:gd name="T12" fmla="*/ 18 w 40"/>
                <a:gd name="T13" fmla="*/ 5 h 34"/>
                <a:gd name="T14" fmla="*/ 17 w 40"/>
                <a:gd name="T15" fmla="*/ 4 h 34"/>
                <a:gd name="T16" fmla="*/ 16 w 40"/>
                <a:gd name="T17" fmla="*/ 5 h 34"/>
                <a:gd name="T18" fmla="*/ 15 w 40"/>
                <a:gd name="T19" fmla="*/ 5 h 34"/>
                <a:gd name="T20" fmla="*/ 12 w 40"/>
                <a:gd name="T21" fmla="*/ 7 h 34"/>
                <a:gd name="T22" fmla="*/ 11 w 40"/>
                <a:gd name="T23" fmla="*/ 8 h 34"/>
                <a:gd name="T24" fmla="*/ 10 w 40"/>
                <a:gd name="T25" fmla="*/ 9 h 34"/>
                <a:gd name="T26" fmla="*/ 8 w 40"/>
                <a:gd name="T27" fmla="*/ 11 h 34"/>
                <a:gd name="T28" fmla="*/ 8 w 40"/>
                <a:gd name="T29" fmla="*/ 11 h 34"/>
                <a:gd name="T30" fmla="*/ 8 w 40"/>
                <a:gd name="T31" fmla="*/ 11 h 34"/>
                <a:gd name="T32" fmla="*/ 6 w 40"/>
                <a:gd name="T33" fmla="*/ 12 h 34"/>
                <a:gd name="T34" fmla="*/ 5 w 40"/>
                <a:gd name="T35" fmla="*/ 17 h 34"/>
                <a:gd name="T36" fmla="*/ 5 w 40"/>
                <a:gd name="T37" fmla="*/ 22 h 34"/>
                <a:gd name="T38" fmla="*/ 3 w 40"/>
                <a:gd name="T39" fmla="*/ 26 h 34"/>
                <a:gd name="T40" fmla="*/ 0 w 40"/>
                <a:gd name="T41" fmla="*/ 29 h 34"/>
                <a:gd name="T42" fmla="*/ 0 w 40"/>
                <a:gd name="T43" fmla="*/ 29 h 34"/>
                <a:gd name="T44" fmla="*/ 0 w 40"/>
                <a:gd name="T45" fmla="*/ 29 h 34"/>
                <a:gd name="T46" fmla="*/ 2 w 40"/>
                <a:gd name="T47" fmla="*/ 29 h 34"/>
                <a:gd name="T48" fmla="*/ 3 w 40"/>
                <a:gd name="T49" fmla="*/ 29 h 34"/>
                <a:gd name="T50" fmla="*/ 5 w 40"/>
                <a:gd name="T51" fmla="*/ 29 h 34"/>
                <a:gd name="T52" fmla="*/ 7 w 40"/>
                <a:gd name="T53" fmla="*/ 25 h 34"/>
                <a:gd name="T54" fmla="*/ 6 w 40"/>
                <a:gd name="T55" fmla="*/ 30 h 34"/>
                <a:gd name="T56" fmla="*/ 6 w 40"/>
                <a:gd name="T57" fmla="*/ 30 h 34"/>
                <a:gd name="T58" fmla="*/ 9 w 40"/>
                <a:gd name="T59" fmla="*/ 32 h 34"/>
                <a:gd name="T60" fmla="*/ 11 w 40"/>
                <a:gd name="T61" fmla="*/ 34 h 34"/>
                <a:gd name="T62" fmla="*/ 10 w 40"/>
                <a:gd name="T63" fmla="*/ 31 h 34"/>
                <a:gd name="T64" fmla="*/ 12 w 40"/>
                <a:gd name="T65" fmla="*/ 33 h 34"/>
                <a:gd name="T66" fmla="*/ 13 w 40"/>
                <a:gd name="T67" fmla="*/ 33 h 34"/>
                <a:gd name="T68" fmla="*/ 13 w 40"/>
                <a:gd name="T69" fmla="*/ 34 h 34"/>
                <a:gd name="T70" fmla="*/ 13 w 40"/>
                <a:gd name="T71" fmla="*/ 34 h 34"/>
                <a:gd name="T72" fmla="*/ 13 w 40"/>
                <a:gd name="T73" fmla="*/ 33 h 34"/>
                <a:gd name="T74" fmla="*/ 16 w 40"/>
                <a:gd name="T75" fmla="*/ 31 h 34"/>
                <a:gd name="T76" fmla="*/ 17 w 40"/>
                <a:gd name="T77" fmla="*/ 31 h 34"/>
                <a:gd name="T78" fmla="*/ 18 w 40"/>
                <a:gd name="T79" fmla="*/ 27 h 34"/>
                <a:gd name="T80" fmla="*/ 18 w 40"/>
                <a:gd name="T81" fmla="*/ 25 h 34"/>
                <a:gd name="T82" fmla="*/ 19 w 40"/>
                <a:gd name="T83" fmla="*/ 20 h 34"/>
                <a:gd name="T84" fmla="*/ 22 w 40"/>
                <a:gd name="T85" fmla="*/ 22 h 34"/>
                <a:gd name="T86" fmla="*/ 26 w 40"/>
                <a:gd name="T87" fmla="*/ 24 h 34"/>
                <a:gd name="T88" fmla="*/ 29 w 40"/>
                <a:gd name="T89" fmla="*/ 23 h 34"/>
                <a:gd name="T90" fmla="*/ 31 w 40"/>
                <a:gd name="T91" fmla="*/ 23 h 34"/>
                <a:gd name="T92" fmla="*/ 31 w 40"/>
                <a:gd name="T93" fmla="*/ 23 h 34"/>
                <a:gd name="T94" fmla="*/ 35 w 40"/>
                <a:gd name="T95" fmla="*/ 24 h 34"/>
                <a:gd name="T96" fmla="*/ 35 w 40"/>
                <a:gd name="T97" fmla="*/ 24 h 34"/>
                <a:gd name="T98" fmla="*/ 36 w 40"/>
                <a:gd name="T99" fmla="*/ 24 h 34"/>
                <a:gd name="T100" fmla="*/ 38 w 40"/>
                <a:gd name="T101" fmla="*/ 24 h 34"/>
                <a:gd name="T102" fmla="*/ 39 w 40"/>
                <a:gd name="T103" fmla="*/ 23 h 34"/>
                <a:gd name="T104" fmla="*/ 39 w 40"/>
                <a:gd name="T105" fmla="*/ 23 h 34"/>
                <a:gd name="T106" fmla="*/ 39 w 40"/>
                <a:gd name="T107" fmla="*/ 23 h 34"/>
                <a:gd name="T108" fmla="*/ 40 w 40"/>
                <a:gd name="T109" fmla="*/ 23 h 34"/>
                <a:gd name="T110" fmla="*/ 40 w 40"/>
                <a:gd name="T111" fmla="*/ 20 h 34"/>
                <a:gd name="T112" fmla="*/ 40 w 40"/>
                <a:gd name="T113" fmla="*/ 19 h 34"/>
                <a:gd name="T114" fmla="*/ 39 w 40"/>
                <a:gd name="T115" fmla="*/ 15 h 34"/>
                <a:gd name="T116" fmla="*/ 38 w 40"/>
                <a:gd name="T117" fmla="*/ 11 h 34"/>
                <a:gd name="T118" fmla="*/ 37 w 40"/>
                <a:gd name="T119" fmla="*/ 7 h 34"/>
                <a:gd name="T120" fmla="*/ 33 w 40"/>
                <a:gd name="T1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 h="34">
                  <a:moveTo>
                    <a:pt x="33" y="0"/>
                  </a:moveTo>
                  <a:cubicBezTo>
                    <a:pt x="32" y="0"/>
                    <a:pt x="31" y="1"/>
                    <a:pt x="29" y="2"/>
                  </a:cubicBezTo>
                  <a:cubicBezTo>
                    <a:pt x="29" y="3"/>
                    <a:pt x="29" y="3"/>
                    <a:pt x="29" y="3"/>
                  </a:cubicBezTo>
                  <a:cubicBezTo>
                    <a:pt x="28" y="4"/>
                    <a:pt x="27" y="5"/>
                    <a:pt x="26" y="5"/>
                  </a:cubicBezTo>
                  <a:cubicBezTo>
                    <a:pt x="25" y="6"/>
                    <a:pt x="24" y="7"/>
                    <a:pt x="23" y="7"/>
                  </a:cubicBezTo>
                  <a:cubicBezTo>
                    <a:pt x="22" y="7"/>
                    <a:pt x="22" y="7"/>
                    <a:pt x="22" y="7"/>
                  </a:cubicBezTo>
                  <a:cubicBezTo>
                    <a:pt x="21" y="7"/>
                    <a:pt x="19" y="7"/>
                    <a:pt x="18" y="5"/>
                  </a:cubicBezTo>
                  <a:cubicBezTo>
                    <a:pt x="18" y="5"/>
                    <a:pt x="18" y="5"/>
                    <a:pt x="17" y="4"/>
                  </a:cubicBezTo>
                  <a:cubicBezTo>
                    <a:pt x="16" y="5"/>
                    <a:pt x="16" y="5"/>
                    <a:pt x="16" y="5"/>
                  </a:cubicBezTo>
                  <a:cubicBezTo>
                    <a:pt x="15" y="5"/>
                    <a:pt x="15" y="5"/>
                    <a:pt x="15" y="5"/>
                  </a:cubicBezTo>
                  <a:cubicBezTo>
                    <a:pt x="15" y="6"/>
                    <a:pt x="13" y="7"/>
                    <a:pt x="12" y="7"/>
                  </a:cubicBezTo>
                  <a:cubicBezTo>
                    <a:pt x="11" y="8"/>
                    <a:pt x="11" y="8"/>
                    <a:pt x="11" y="8"/>
                  </a:cubicBezTo>
                  <a:cubicBezTo>
                    <a:pt x="10" y="9"/>
                    <a:pt x="10" y="9"/>
                    <a:pt x="10" y="9"/>
                  </a:cubicBezTo>
                  <a:cubicBezTo>
                    <a:pt x="10" y="9"/>
                    <a:pt x="9" y="10"/>
                    <a:pt x="8" y="11"/>
                  </a:cubicBezTo>
                  <a:cubicBezTo>
                    <a:pt x="8" y="11"/>
                    <a:pt x="8" y="11"/>
                    <a:pt x="8" y="11"/>
                  </a:cubicBezTo>
                  <a:cubicBezTo>
                    <a:pt x="8" y="11"/>
                    <a:pt x="8" y="11"/>
                    <a:pt x="8" y="11"/>
                  </a:cubicBezTo>
                  <a:cubicBezTo>
                    <a:pt x="6" y="12"/>
                    <a:pt x="6" y="12"/>
                    <a:pt x="6" y="12"/>
                  </a:cubicBezTo>
                  <a:cubicBezTo>
                    <a:pt x="6" y="13"/>
                    <a:pt x="5" y="16"/>
                    <a:pt x="5" y="17"/>
                  </a:cubicBezTo>
                  <a:cubicBezTo>
                    <a:pt x="5" y="19"/>
                    <a:pt x="5" y="20"/>
                    <a:pt x="5" y="22"/>
                  </a:cubicBezTo>
                  <a:cubicBezTo>
                    <a:pt x="4" y="24"/>
                    <a:pt x="3" y="25"/>
                    <a:pt x="3" y="26"/>
                  </a:cubicBezTo>
                  <a:cubicBezTo>
                    <a:pt x="2" y="27"/>
                    <a:pt x="1" y="28"/>
                    <a:pt x="0" y="29"/>
                  </a:cubicBezTo>
                  <a:cubicBezTo>
                    <a:pt x="0" y="29"/>
                    <a:pt x="0" y="29"/>
                    <a:pt x="0" y="29"/>
                  </a:cubicBezTo>
                  <a:cubicBezTo>
                    <a:pt x="0" y="29"/>
                    <a:pt x="0" y="29"/>
                    <a:pt x="0" y="29"/>
                  </a:cubicBezTo>
                  <a:cubicBezTo>
                    <a:pt x="1" y="29"/>
                    <a:pt x="1" y="29"/>
                    <a:pt x="2" y="29"/>
                  </a:cubicBezTo>
                  <a:cubicBezTo>
                    <a:pt x="2" y="29"/>
                    <a:pt x="2" y="29"/>
                    <a:pt x="3" y="29"/>
                  </a:cubicBezTo>
                  <a:cubicBezTo>
                    <a:pt x="3" y="29"/>
                    <a:pt x="4" y="29"/>
                    <a:pt x="5" y="29"/>
                  </a:cubicBezTo>
                  <a:cubicBezTo>
                    <a:pt x="7" y="25"/>
                    <a:pt x="7" y="25"/>
                    <a:pt x="7" y="25"/>
                  </a:cubicBezTo>
                  <a:cubicBezTo>
                    <a:pt x="6" y="30"/>
                    <a:pt x="6" y="30"/>
                    <a:pt x="6" y="30"/>
                  </a:cubicBezTo>
                  <a:cubicBezTo>
                    <a:pt x="6" y="30"/>
                    <a:pt x="6" y="30"/>
                    <a:pt x="6" y="30"/>
                  </a:cubicBezTo>
                  <a:cubicBezTo>
                    <a:pt x="7" y="31"/>
                    <a:pt x="8" y="32"/>
                    <a:pt x="9" y="32"/>
                  </a:cubicBezTo>
                  <a:cubicBezTo>
                    <a:pt x="10" y="33"/>
                    <a:pt x="11" y="34"/>
                    <a:pt x="11" y="34"/>
                  </a:cubicBezTo>
                  <a:cubicBezTo>
                    <a:pt x="10" y="31"/>
                    <a:pt x="10" y="31"/>
                    <a:pt x="10" y="31"/>
                  </a:cubicBezTo>
                  <a:cubicBezTo>
                    <a:pt x="12" y="33"/>
                    <a:pt x="12" y="33"/>
                    <a:pt x="12" y="33"/>
                  </a:cubicBezTo>
                  <a:cubicBezTo>
                    <a:pt x="13" y="33"/>
                    <a:pt x="13" y="33"/>
                    <a:pt x="13" y="33"/>
                  </a:cubicBezTo>
                  <a:cubicBezTo>
                    <a:pt x="13" y="34"/>
                    <a:pt x="13" y="34"/>
                    <a:pt x="13" y="34"/>
                  </a:cubicBezTo>
                  <a:cubicBezTo>
                    <a:pt x="13" y="34"/>
                    <a:pt x="13" y="34"/>
                    <a:pt x="13" y="34"/>
                  </a:cubicBezTo>
                  <a:cubicBezTo>
                    <a:pt x="13" y="33"/>
                    <a:pt x="13" y="33"/>
                    <a:pt x="13" y="33"/>
                  </a:cubicBezTo>
                  <a:cubicBezTo>
                    <a:pt x="14" y="33"/>
                    <a:pt x="16" y="32"/>
                    <a:pt x="16" y="31"/>
                  </a:cubicBezTo>
                  <a:cubicBezTo>
                    <a:pt x="17" y="31"/>
                    <a:pt x="17" y="31"/>
                    <a:pt x="17" y="31"/>
                  </a:cubicBezTo>
                  <a:cubicBezTo>
                    <a:pt x="18" y="31"/>
                    <a:pt x="18" y="28"/>
                    <a:pt x="18" y="27"/>
                  </a:cubicBezTo>
                  <a:cubicBezTo>
                    <a:pt x="18" y="26"/>
                    <a:pt x="18" y="25"/>
                    <a:pt x="18" y="25"/>
                  </a:cubicBezTo>
                  <a:cubicBezTo>
                    <a:pt x="19" y="20"/>
                    <a:pt x="19" y="20"/>
                    <a:pt x="19" y="20"/>
                  </a:cubicBezTo>
                  <a:cubicBezTo>
                    <a:pt x="22" y="22"/>
                    <a:pt x="22" y="22"/>
                    <a:pt x="22" y="22"/>
                  </a:cubicBezTo>
                  <a:cubicBezTo>
                    <a:pt x="24" y="23"/>
                    <a:pt x="25" y="24"/>
                    <a:pt x="26" y="24"/>
                  </a:cubicBezTo>
                  <a:cubicBezTo>
                    <a:pt x="27" y="24"/>
                    <a:pt x="28" y="24"/>
                    <a:pt x="29" y="23"/>
                  </a:cubicBezTo>
                  <a:cubicBezTo>
                    <a:pt x="29" y="23"/>
                    <a:pt x="30" y="23"/>
                    <a:pt x="31" y="23"/>
                  </a:cubicBezTo>
                  <a:cubicBezTo>
                    <a:pt x="31" y="23"/>
                    <a:pt x="31" y="23"/>
                    <a:pt x="31" y="23"/>
                  </a:cubicBezTo>
                  <a:cubicBezTo>
                    <a:pt x="33" y="23"/>
                    <a:pt x="34" y="23"/>
                    <a:pt x="35" y="24"/>
                  </a:cubicBezTo>
                  <a:cubicBezTo>
                    <a:pt x="35" y="24"/>
                    <a:pt x="35" y="24"/>
                    <a:pt x="35" y="24"/>
                  </a:cubicBezTo>
                  <a:cubicBezTo>
                    <a:pt x="36" y="24"/>
                    <a:pt x="36" y="24"/>
                    <a:pt x="36" y="24"/>
                  </a:cubicBezTo>
                  <a:cubicBezTo>
                    <a:pt x="38" y="24"/>
                    <a:pt x="38" y="24"/>
                    <a:pt x="38" y="24"/>
                  </a:cubicBezTo>
                  <a:cubicBezTo>
                    <a:pt x="38" y="24"/>
                    <a:pt x="38" y="23"/>
                    <a:pt x="39" y="23"/>
                  </a:cubicBezTo>
                  <a:cubicBezTo>
                    <a:pt x="39" y="23"/>
                    <a:pt x="39" y="23"/>
                    <a:pt x="39" y="23"/>
                  </a:cubicBezTo>
                  <a:cubicBezTo>
                    <a:pt x="39" y="23"/>
                    <a:pt x="39" y="23"/>
                    <a:pt x="39" y="23"/>
                  </a:cubicBezTo>
                  <a:cubicBezTo>
                    <a:pt x="40" y="23"/>
                    <a:pt x="40" y="23"/>
                    <a:pt x="40" y="23"/>
                  </a:cubicBezTo>
                  <a:cubicBezTo>
                    <a:pt x="40" y="21"/>
                    <a:pt x="40" y="21"/>
                    <a:pt x="40" y="20"/>
                  </a:cubicBezTo>
                  <a:cubicBezTo>
                    <a:pt x="40" y="19"/>
                    <a:pt x="40" y="19"/>
                    <a:pt x="40" y="19"/>
                  </a:cubicBezTo>
                  <a:cubicBezTo>
                    <a:pt x="39" y="18"/>
                    <a:pt x="39" y="17"/>
                    <a:pt x="39" y="15"/>
                  </a:cubicBezTo>
                  <a:cubicBezTo>
                    <a:pt x="39" y="14"/>
                    <a:pt x="39" y="12"/>
                    <a:pt x="38" y="11"/>
                  </a:cubicBezTo>
                  <a:cubicBezTo>
                    <a:pt x="38" y="10"/>
                    <a:pt x="38" y="9"/>
                    <a:pt x="37" y="7"/>
                  </a:cubicBezTo>
                  <a:cubicBezTo>
                    <a:pt x="33" y="0"/>
                    <a:pt x="33" y="0"/>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7" name="Freeform 246">
              <a:extLst>
                <a:ext uri="{FF2B5EF4-FFF2-40B4-BE49-F238E27FC236}">
                  <a16:creationId xmlns:a16="http://schemas.microsoft.com/office/drawing/2014/main" id="{B281BF89-419E-4AA0-B995-0AA43E2B30A1}"/>
                </a:ext>
              </a:extLst>
            </p:cNvPr>
            <p:cNvSpPr>
              <a:spLocks noEditPoints="1"/>
            </p:cNvSpPr>
            <p:nvPr/>
          </p:nvSpPr>
          <p:spPr bwMode="auto">
            <a:xfrm>
              <a:off x="2687" y="1826"/>
              <a:ext cx="336" cy="232"/>
            </a:xfrm>
            <a:custGeom>
              <a:avLst/>
              <a:gdLst>
                <a:gd name="T0" fmla="*/ 30 w 142"/>
                <a:gd name="T1" fmla="*/ 94 h 98"/>
                <a:gd name="T2" fmla="*/ 30 w 142"/>
                <a:gd name="T3" fmla="*/ 94 h 98"/>
                <a:gd name="T4" fmla="*/ 30 w 142"/>
                <a:gd name="T5" fmla="*/ 94 h 98"/>
                <a:gd name="T6" fmla="*/ 23 w 142"/>
                <a:gd name="T7" fmla="*/ 94 h 98"/>
                <a:gd name="T8" fmla="*/ 26 w 142"/>
                <a:gd name="T9" fmla="*/ 95 h 98"/>
                <a:gd name="T10" fmla="*/ 52 w 142"/>
                <a:gd name="T11" fmla="*/ 1 h 98"/>
                <a:gd name="T12" fmla="*/ 41 w 142"/>
                <a:gd name="T13" fmla="*/ 4 h 98"/>
                <a:gd name="T14" fmla="*/ 34 w 142"/>
                <a:gd name="T15" fmla="*/ 4 h 98"/>
                <a:gd name="T16" fmla="*/ 25 w 142"/>
                <a:gd name="T17" fmla="*/ 14 h 98"/>
                <a:gd name="T18" fmla="*/ 15 w 142"/>
                <a:gd name="T19" fmla="*/ 30 h 98"/>
                <a:gd name="T20" fmla="*/ 2 w 142"/>
                <a:gd name="T21" fmla="*/ 45 h 98"/>
                <a:gd name="T22" fmla="*/ 14 w 142"/>
                <a:gd name="T23" fmla="*/ 54 h 98"/>
                <a:gd name="T24" fmla="*/ 20 w 142"/>
                <a:gd name="T25" fmla="*/ 61 h 98"/>
                <a:gd name="T26" fmla="*/ 21 w 142"/>
                <a:gd name="T27" fmla="*/ 65 h 98"/>
                <a:gd name="T28" fmla="*/ 47 w 142"/>
                <a:gd name="T29" fmla="*/ 67 h 98"/>
                <a:gd name="T30" fmla="*/ 55 w 142"/>
                <a:gd name="T31" fmla="*/ 63 h 98"/>
                <a:gd name="T32" fmla="*/ 62 w 142"/>
                <a:gd name="T33" fmla="*/ 63 h 98"/>
                <a:gd name="T34" fmla="*/ 72 w 142"/>
                <a:gd name="T35" fmla="*/ 69 h 98"/>
                <a:gd name="T36" fmla="*/ 76 w 142"/>
                <a:gd name="T37" fmla="*/ 70 h 98"/>
                <a:gd name="T38" fmla="*/ 80 w 142"/>
                <a:gd name="T39" fmla="*/ 70 h 98"/>
                <a:gd name="T40" fmla="*/ 85 w 142"/>
                <a:gd name="T41" fmla="*/ 65 h 98"/>
                <a:gd name="T42" fmla="*/ 88 w 142"/>
                <a:gd name="T43" fmla="*/ 64 h 98"/>
                <a:gd name="T44" fmla="*/ 90 w 142"/>
                <a:gd name="T45" fmla="*/ 74 h 98"/>
                <a:gd name="T46" fmla="*/ 88 w 142"/>
                <a:gd name="T47" fmla="*/ 79 h 98"/>
                <a:gd name="T48" fmla="*/ 86 w 142"/>
                <a:gd name="T49" fmla="*/ 80 h 98"/>
                <a:gd name="T50" fmla="*/ 76 w 142"/>
                <a:gd name="T51" fmla="*/ 82 h 98"/>
                <a:gd name="T52" fmla="*/ 58 w 142"/>
                <a:gd name="T53" fmla="*/ 75 h 98"/>
                <a:gd name="T54" fmla="*/ 46 w 142"/>
                <a:gd name="T55" fmla="*/ 81 h 98"/>
                <a:gd name="T56" fmla="*/ 43 w 142"/>
                <a:gd name="T57" fmla="*/ 81 h 98"/>
                <a:gd name="T58" fmla="*/ 38 w 142"/>
                <a:gd name="T59" fmla="*/ 84 h 98"/>
                <a:gd name="T60" fmla="*/ 18 w 142"/>
                <a:gd name="T61" fmla="*/ 86 h 98"/>
                <a:gd name="T62" fmla="*/ 23 w 142"/>
                <a:gd name="T63" fmla="*/ 94 h 98"/>
                <a:gd name="T64" fmla="*/ 17 w 142"/>
                <a:gd name="T65" fmla="*/ 98 h 98"/>
                <a:gd name="T66" fmla="*/ 63 w 142"/>
                <a:gd name="T67" fmla="*/ 90 h 98"/>
                <a:gd name="T68" fmla="*/ 79 w 142"/>
                <a:gd name="T69" fmla="*/ 90 h 98"/>
                <a:gd name="T70" fmla="*/ 86 w 142"/>
                <a:gd name="T71" fmla="*/ 89 h 98"/>
                <a:gd name="T72" fmla="*/ 100 w 142"/>
                <a:gd name="T73" fmla="*/ 91 h 98"/>
                <a:gd name="T74" fmla="*/ 103 w 142"/>
                <a:gd name="T75" fmla="*/ 92 h 98"/>
                <a:gd name="T76" fmla="*/ 118 w 142"/>
                <a:gd name="T77" fmla="*/ 97 h 98"/>
                <a:gd name="T78" fmla="*/ 139 w 142"/>
                <a:gd name="T79" fmla="*/ 96 h 98"/>
                <a:gd name="T80" fmla="*/ 138 w 142"/>
                <a:gd name="T81" fmla="*/ 79 h 98"/>
                <a:gd name="T82" fmla="*/ 126 w 142"/>
                <a:gd name="T83" fmla="*/ 70 h 98"/>
                <a:gd name="T84" fmla="*/ 121 w 142"/>
                <a:gd name="T85" fmla="*/ 44 h 98"/>
                <a:gd name="T86" fmla="*/ 116 w 142"/>
                <a:gd name="T87" fmla="*/ 40 h 98"/>
                <a:gd name="T88" fmla="*/ 113 w 142"/>
                <a:gd name="T89" fmla="*/ 37 h 98"/>
                <a:gd name="T90" fmla="*/ 108 w 142"/>
                <a:gd name="T91" fmla="*/ 32 h 98"/>
                <a:gd name="T92" fmla="*/ 98 w 142"/>
                <a:gd name="T93" fmla="*/ 23 h 98"/>
                <a:gd name="T94" fmla="*/ 95 w 142"/>
                <a:gd name="T95" fmla="*/ 15 h 98"/>
                <a:gd name="T96" fmla="*/ 92 w 142"/>
                <a:gd name="T97" fmla="*/ 12 h 98"/>
                <a:gd name="T98" fmla="*/ 87 w 142"/>
                <a:gd name="T99" fmla="*/ 12 h 98"/>
                <a:gd name="T100" fmla="*/ 85 w 142"/>
                <a:gd name="T101" fmla="*/ 11 h 98"/>
                <a:gd name="T102" fmla="*/ 78 w 142"/>
                <a:gd name="T103" fmla="*/ 4 h 98"/>
                <a:gd name="T104" fmla="*/ 69 w 142"/>
                <a:gd name="T105" fmla="*/ 0 h 98"/>
                <a:gd name="T106" fmla="*/ 59 w 142"/>
                <a:gd name="T10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 h="98">
                  <a:moveTo>
                    <a:pt x="30" y="94"/>
                  </a:moveTo>
                  <a:cubicBezTo>
                    <a:pt x="30" y="94"/>
                    <a:pt x="30" y="94"/>
                    <a:pt x="30" y="94"/>
                  </a:cubicBezTo>
                  <a:cubicBezTo>
                    <a:pt x="30" y="94"/>
                    <a:pt x="30" y="94"/>
                    <a:pt x="30" y="94"/>
                  </a:cubicBezTo>
                  <a:moveTo>
                    <a:pt x="30" y="94"/>
                  </a:moveTo>
                  <a:cubicBezTo>
                    <a:pt x="30" y="94"/>
                    <a:pt x="30" y="94"/>
                    <a:pt x="30" y="94"/>
                  </a:cubicBezTo>
                  <a:cubicBezTo>
                    <a:pt x="30" y="94"/>
                    <a:pt x="30" y="94"/>
                    <a:pt x="30" y="94"/>
                  </a:cubicBezTo>
                  <a:moveTo>
                    <a:pt x="29" y="94"/>
                  </a:moveTo>
                  <a:cubicBezTo>
                    <a:pt x="30" y="94"/>
                    <a:pt x="30" y="94"/>
                    <a:pt x="30" y="94"/>
                  </a:cubicBezTo>
                  <a:cubicBezTo>
                    <a:pt x="30" y="94"/>
                    <a:pt x="30" y="94"/>
                    <a:pt x="30" y="94"/>
                  </a:cubicBezTo>
                  <a:cubicBezTo>
                    <a:pt x="30" y="94"/>
                    <a:pt x="30" y="94"/>
                    <a:pt x="29" y="94"/>
                  </a:cubicBezTo>
                  <a:moveTo>
                    <a:pt x="26" y="95"/>
                  </a:moveTo>
                  <a:cubicBezTo>
                    <a:pt x="26" y="95"/>
                    <a:pt x="25" y="95"/>
                    <a:pt x="23" y="94"/>
                  </a:cubicBezTo>
                  <a:cubicBezTo>
                    <a:pt x="25" y="95"/>
                    <a:pt x="26" y="95"/>
                    <a:pt x="26" y="95"/>
                  </a:cubicBezTo>
                  <a:cubicBezTo>
                    <a:pt x="27" y="95"/>
                    <a:pt x="27" y="95"/>
                    <a:pt x="28" y="94"/>
                  </a:cubicBezTo>
                  <a:cubicBezTo>
                    <a:pt x="27" y="95"/>
                    <a:pt x="27" y="95"/>
                    <a:pt x="26" y="95"/>
                  </a:cubicBezTo>
                  <a:moveTo>
                    <a:pt x="59" y="0"/>
                  </a:moveTo>
                  <a:cubicBezTo>
                    <a:pt x="57" y="0"/>
                    <a:pt x="56" y="0"/>
                    <a:pt x="55" y="1"/>
                  </a:cubicBezTo>
                  <a:cubicBezTo>
                    <a:pt x="54" y="1"/>
                    <a:pt x="53" y="1"/>
                    <a:pt x="52" y="1"/>
                  </a:cubicBezTo>
                  <a:cubicBezTo>
                    <a:pt x="51" y="2"/>
                    <a:pt x="50" y="2"/>
                    <a:pt x="49" y="2"/>
                  </a:cubicBezTo>
                  <a:cubicBezTo>
                    <a:pt x="48" y="2"/>
                    <a:pt x="48" y="2"/>
                    <a:pt x="48" y="2"/>
                  </a:cubicBezTo>
                  <a:cubicBezTo>
                    <a:pt x="46" y="3"/>
                    <a:pt x="44" y="4"/>
                    <a:pt x="41" y="4"/>
                  </a:cubicBezTo>
                  <a:cubicBezTo>
                    <a:pt x="40" y="4"/>
                    <a:pt x="40" y="4"/>
                    <a:pt x="40" y="4"/>
                  </a:cubicBezTo>
                  <a:cubicBezTo>
                    <a:pt x="39" y="4"/>
                    <a:pt x="38" y="4"/>
                    <a:pt x="37" y="4"/>
                  </a:cubicBezTo>
                  <a:cubicBezTo>
                    <a:pt x="36" y="4"/>
                    <a:pt x="35" y="4"/>
                    <a:pt x="34" y="4"/>
                  </a:cubicBezTo>
                  <a:cubicBezTo>
                    <a:pt x="33" y="4"/>
                    <a:pt x="32" y="3"/>
                    <a:pt x="32" y="3"/>
                  </a:cubicBezTo>
                  <a:cubicBezTo>
                    <a:pt x="29" y="4"/>
                    <a:pt x="28" y="8"/>
                    <a:pt x="26" y="11"/>
                  </a:cubicBezTo>
                  <a:cubicBezTo>
                    <a:pt x="25" y="14"/>
                    <a:pt x="25" y="14"/>
                    <a:pt x="25" y="14"/>
                  </a:cubicBezTo>
                  <a:cubicBezTo>
                    <a:pt x="23" y="13"/>
                    <a:pt x="23" y="13"/>
                    <a:pt x="23" y="13"/>
                  </a:cubicBezTo>
                  <a:cubicBezTo>
                    <a:pt x="23" y="17"/>
                    <a:pt x="23" y="19"/>
                    <a:pt x="21" y="22"/>
                  </a:cubicBezTo>
                  <a:cubicBezTo>
                    <a:pt x="19" y="25"/>
                    <a:pt x="17" y="27"/>
                    <a:pt x="15" y="30"/>
                  </a:cubicBezTo>
                  <a:cubicBezTo>
                    <a:pt x="13" y="33"/>
                    <a:pt x="11" y="37"/>
                    <a:pt x="8" y="39"/>
                  </a:cubicBezTo>
                  <a:cubicBezTo>
                    <a:pt x="6" y="41"/>
                    <a:pt x="2" y="42"/>
                    <a:pt x="0" y="43"/>
                  </a:cubicBezTo>
                  <a:cubicBezTo>
                    <a:pt x="0" y="44"/>
                    <a:pt x="1" y="44"/>
                    <a:pt x="2" y="45"/>
                  </a:cubicBezTo>
                  <a:cubicBezTo>
                    <a:pt x="2" y="44"/>
                    <a:pt x="2" y="43"/>
                    <a:pt x="3" y="43"/>
                  </a:cubicBezTo>
                  <a:cubicBezTo>
                    <a:pt x="4" y="43"/>
                    <a:pt x="5" y="44"/>
                    <a:pt x="6" y="44"/>
                  </a:cubicBezTo>
                  <a:cubicBezTo>
                    <a:pt x="10" y="46"/>
                    <a:pt x="12" y="50"/>
                    <a:pt x="14" y="54"/>
                  </a:cubicBezTo>
                  <a:cubicBezTo>
                    <a:pt x="16" y="58"/>
                    <a:pt x="17" y="60"/>
                    <a:pt x="18" y="65"/>
                  </a:cubicBezTo>
                  <a:cubicBezTo>
                    <a:pt x="18" y="63"/>
                    <a:pt x="17" y="61"/>
                    <a:pt x="20" y="61"/>
                  </a:cubicBezTo>
                  <a:cubicBezTo>
                    <a:pt x="20" y="61"/>
                    <a:pt x="20" y="61"/>
                    <a:pt x="20" y="61"/>
                  </a:cubicBezTo>
                  <a:cubicBezTo>
                    <a:pt x="19" y="62"/>
                    <a:pt x="17" y="64"/>
                    <a:pt x="19" y="65"/>
                  </a:cubicBezTo>
                  <a:cubicBezTo>
                    <a:pt x="19" y="66"/>
                    <a:pt x="19" y="66"/>
                    <a:pt x="20" y="66"/>
                  </a:cubicBezTo>
                  <a:cubicBezTo>
                    <a:pt x="20" y="66"/>
                    <a:pt x="20" y="65"/>
                    <a:pt x="21" y="65"/>
                  </a:cubicBezTo>
                  <a:cubicBezTo>
                    <a:pt x="21" y="66"/>
                    <a:pt x="21" y="67"/>
                    <a:pt x="21" y="68"/>
                  </a:cubicBezTo>
                  <a:cubicBezTo>
                    <a:pt x="22" y="68"/>
                    <a:pt x="22" y="68"/>
                    <a:pt x="22" y="68"/>
                  </a:cubicBezTo>
                  <a:cubicBezTo>
                    <a:pt x="23" y="68"/>
                    <a:pt x="33" y="68"/>
                    <a:pt x="47" y="67"/>
                  </a:cubicBezTo>
                  <a:cubicBezTo>
                    <a:pt x="47" y="67"/>
                    <a:pt x="47" y="67"/>
                    <a:pt x="47" y="67"/>
                  </a:cubicBezTo>
                  <a:cubicBezTo>
                    <a:pt x="48" y="65"/>
                    <a:pt x="49" y="64"/>
                    <a:pt x="51" y="63"/>
                  </a:cubicBezTo>
                  <a:cubicBezTo>
                    <a:pt x="52" y="63"/>
                    <a:pt x="54" y="63"/>
                    <a:pt x="55" y="63"/>
                  </a:cubicBezTo>
                  <a:cubicBezTo>
                    <a:pt x="56" y="63"/>
                    <a:pt x="58" y="63"/>
                    <a:pt x="59" y="63"/>
                  </a:cubicBezTo>
                  <a:cubicBezTo>
                    <a:pt x="60" y="63"/>
                    <a:pt x="60" y="63"/>
                    <a:pt x="60" y="63"/>
                  </a:cubicBezTo>
                  <a:cubicBezTo>
                    <a:pt x="61" y="63"/>
                    <a:pt x="61" y="63"/>
                    <a:pt x="62" y="63"/>
                  </a:cubicBezTo>
                  <a:cubicBezTo>
                    <a:pt x="65" y="63"/>
                    <a:pt x="68" y="65"/>
                    <a:pt x="70" y="67"/>
                  </a:cubicBezTo>
                  <a:cubicBezTo>
                    <a:pt x="70" y="67"/>
                    <a:pt x="70" y="67"/>
                    <a:pt x="70" y="67"/>
                  </a:cubicBezTo>
                  <a:cubicBezTo>
                    <a:pt x="71" y="68"/>
                    <a:pt x="71" y="68"/>
                    <a:pt x="72" y="69"/>
                  </a:cubicBezTo>
                  <a:cubicBezTo>
                    <a:pt x="72" y="69"/>
                    <a:pt x="73" y="69"/>
                    <a:pt x="73" y="69"/>
                  </a:cubicBezTo>
                  <a:cubicBezTo>
                    <a:pt x="75" y="70"/>
                    <a:pt x="75" y="70"/>
                    <a:pt x="75" y="70"/>
                  </a:cubicBezTo>
                  <a:cubicBezTo>
                    <a:pt x="75" y="70"/>
                    <a:pt x="76" y="70"/>
                    <a:pt x="76" y="70"/>
                  </a:cubicBezTo>
                  <a:cubicBezTo>
                    <a:pt x="77" y="70"/>
                    <a:pt x="77" y="70"/>
                    <a:pt x="77" y="70"/>
                  </a:cubicBezTo>
                  <a:cubicBezTo>
                    <a:pt x="79" y="70"/>
                    <a:pt x="79" y="70"/>
                    <a:pt x="79" y="70"/>
                  </a:cubicBezTo>
                  <a:cubicBezTo>
                    <a:pt x="79" y="70"/>
                    <a:pt x="79" y="70"/>
                    <a:pt x="80" y="70"/>
                  </a:cubicBezTo>
                  <a:cubicBezTo>
                    <a:pt x="80" y="70"/>
                    <a:pt x="81" y="70"/>
                    <a:pt x="82" y="70"/>
                  </a:cubicBezTo>
                  <a:cubicBezTo>
                    <a:pt x="83" y="70"/>
                    <a:pt x="83" y="70"/>
                    <a:pt x="84" y="70"/>
                  </a:cubicBezTo>
                  <a:cubicBezTo>
                    <a:pt x="85" y="65"/>
                    <a:pt x="85" y="65"/>
                    <a:pt x="85" y="65"/>
                  </a:cubicBezTo>
                  <a:cubicBezTo>
                    <a:pt x="85" y="70"/>
                    <a:pt x="85" y="70"/>
                    <a:pt x="85" y="70"/>
                  </a:cubicBezTo>
                  <a:cubicBezTo>
                    <a:pt x="85" y="70"/>
                    <a:pt x="85" y="70"/>
                    <a:pt x="85" y="70"/>
                  </a:cubicBezTo>
                  <a:cubicBezTo>
                    <a:pt x="88" y="64"/>
                    <a:pt x="88" y="64"/>
                    <a:pt x="88" y="64"/>
                  </a:cubicBezTo>
                  <a:cubicBezTo>
                    <a:pt x="87" y="70"/>
                    <a:pt x="87" y="70"/>
                    <a:pt x="87" y="70"/>
                  </a:cubicBezTo>
                  <a:cubicBezTo>
                    <a:pt x="88" y="71"/>
                    <a:pt x="88" y="71"/>
                    <a:pt x="88" y="71"/>
                  </a:cubicBezTo>
                  <a:cubicBezTo>
                    <a:pt x="89" y="72"/>
                    <a:pt x="89" y="73"/>
                    <a:pt x="90" y="74"/>
                  </a:cubicBezTo>
                  <a:cubicBezTo>
                    <a:pt x="90" y="74"/>
                    <a:pt x="90" y="74"/>
                    <a:pt x="90" y="74"/>
                  </a:cubicBezTo>
                  <a:cubicBezTo>
                    <a:pt x="90" y="75"/>
                    <a:pt x="90" y="76"/>
                    <a:pt x="89" y="77"/>
                  </a:cubicBezTo>
                  <a:cubicBezTo>
                    <a:pt x="89" y="78"/>
                    <a:pt x="89" y="78"/>
                    <a:pt x="88" y="79"/>
                  </a:cubicBezTo>
                  <a:cubicBezTo>
                    <a:pt x="88" y="79"/>
                    <a:pt x="88" y="79"/>
                    <a:pt x="88" y="79"/>
                  </a:cubicBezTo>
                  <a:cubicBezTo>
                    <a:pt x="88" y="79"/>
                    <a:pt x="88" y="79"/>
                    <a:pt x="88" y="79"/>
                  </a:cubicBezTo>
                  <a:cubicBezTo>
                    <a:pt x="87" y="80"/>
                    <a:pt x="87" y="80"/>
                    <a:pt x="86" y="80"/>
                  </a:cubicBezTo>
                  <a:cubicBezTo>
                    <a:pt x="86" y="80"/>
                    <a:pt x="85" y="80"/>
                    <a:pt x="85" y="80"/>
                  </a:cubicBezTo>
                  <a:cubicBezTo>
                    <a:pt x="83" y="81"/>
                    <a:pt x="83" y="81"/>
                    <a:pt x="83" y="81"/>
                  </a:cubicBezTo>
                  <a:cubicBezTo>
                    <a:pt x="81" y="82"/>
                    <a:pt x="79" y="82"/>
                    <a:pt x="76" y="82"/>
                  </a:cubicBezTo>
                  <a:cubicBezTo>
                    <a:pt x="75" y="82"/>
                    <a:pt x="74" y="82"/>
                    <a:pt x="73" y="82"/>
                  </a:cubicBezTo>
                  <a:cubicBezTo>
                    <a:pt x="70" y="81"/>
                    <a:pt x="67" y="80"/>
                    <a:pt x="65" y="78"/>
                  </a:cubicBezTo>
                  <a:cubicBezTo>
                    <a:pt x="62" y="77"/>
                    <a:pt x="60" y="76"/>
                    <a:pt x="58" y="75"/>
                  </a:cubicBezTo>
                  <a:cubicBezTo>
                    <a:pt x="57" y="75"/>
                    <a:pt x="57" y="75"/>
                    <a:pt x="57" y="75"/>
                  </a:cubicBezTo>
                  <a:cubicBezTo>
                    <a:pt x="56" y="76"/>
                    <a:pt x="56" y="77"/>
                    <a:pt x="55" y="77"/>
                  </a:cubicBezTo>
                  <a:cubicBezTo>
                    <a:pt x="53" y="79"/>
                    <a:pt x="50" y="80"/>
                    <a:pt x="46" y="81"/>
                  </a:cubicBezTo>
                  <a:cubicBezTo>
                    <a:pt x="46" y="81"/>
                    <a:pt x="45" y="81"/>
                    <a:pt x="45" y="81"/>
                  </a:cubicBezTo>
                  <a:cubicBezTo>
                    <a:pt x="44" y="81"/>
                    <a:pt x="44" y="81"/>
                    <a:pt x="44" y="81"/>
                  </a:cubicBezTo>
                  <a:cubicBezTo>
                    <a:pt x="43" y="81"/>
                    <a:pt x="43" y="81"/>
                    <a:pt x="43" y="81"/>
                  </a:cubicBezTo>
                  <a:cubicBezTo>
                    <a:pt x="43" y="81"/>
                    <a:pt x="42" y="81"/>
                    <a:pt x="42" y="82"/>
                  </a:cubicBezTo>
                  <a:cubicBezTo>
                    <a:pt x="42" y="82"/>
                    <a:pt x="42" y="82"/>
                    <a:pt x="42" y="82"/>
                  </a:cubicBezTo>
                  <a:cubicBezTo>
                    <a:pt x="41" y="83"/>
                    <a:pt x="40" y="84"/>
                    <a:pt x="38" y="84"/>
                  </a:cubicBezTo>
                  <a:cubicBezTo>
                    <a:pt x="22" y="86"/>
                    <a:pt x="22" y="86"/>
                    <a:pt x="22" y="86"/>
                  </a:cubicBezTo>
                  <a:cubicBezTo>
                    <a:pt x="21" y="86"/>
                    <a:pt x="19" y="86"/>
                    <a:pt x="18" y="86"/>
                  </a:cubicBezTo>
                  <a:cubicBezTo>
                    <a:pt x="18" y="86"/>
                    <a:pt x="18" y="86"/>
                    <a:pt x="18" y="86"/>
                  </a:cubicBezTo>
                  <a:cubicBezTo>
                    <a:pt x="18" y="89"/>
                    <a:pt x="18" y="92"/>
                    <a:pt x="18" y="95"/>
                  </a:cubicBezTo>
                  <a:cubicBezTo>
                    <a:pt x="20" y="95"/>
                    <a:pt x="20" y="93"/>
                    <a:pt x="22" y="93"/>
                  </a:cubicBezTo>
                  <a:cubicBezTo>
                    <a:pt x="22" y="93"/>
                    <a:pt x="23" y="93"/>
                    <a:pt x="23" y="94"/>
                  </a:cubicBezTo>
                  <a:cubicBezTo>
                    <a:pt x="23" y="94"/>
                    <a:pt x="23" y="94"/>
                    <a:pt x="23" y="94"/>
                  </a:cubicBezTo>
                  <a:cubicBezTo>
                    <a:pt x="21" y="94"/>
                    <a:pt x="17" y="96"/>
                    <a:pt x="17" y="98"/>
                  </a:cubicBezTo>
                  <a:cubicBezTo>
                    <a:pt x="17" y="98"/>
                    <a:pt x="17" y="98"/>
                    <a:pt x="17" y="98"/>
                  </a:cubicBezTo>
                  <a:cubicBezTo>
                    <a:pt x="18" y="98"/>
                    <a:pt x="18" y="98"/>
                    <a:pt x="18" y="98"/>
                  </a:cubicBezTo>
                  <a:cubicBezTo>
                    <a:pt x="34" y="96"/>
                    <a:pt x="49" y="93"/>
                    <a:pt x="62" y="90"/>
                  </a:cubicBezTo>
                  <a:cubicBezTo>
                    <a:pt x="63" y="90"/>
                    <a:pt x="63" y="90"/>
                    <a:pt x="63" y="90"/>
                  </a:cubicBezTo>
                  <a:cubicBezTo>
                    <a:pt x="65" y="89"/>
                    <a:pt x="66" y="89"/>
                    <a:pt x="68" y="89"/>
                  </a:cubicBezTo>
                  <a:cubicBezTo>
                    <a:pt x="70" y="89"/>
                    <a:pt x="72" y="89"/>
                    <a:pt x="74" y="89"/>
                  </a:cubicBezTo>
                  <a:cubicBezTo>
                    <a:pt x="76" y="90"/>
                    <a:pt x="78" y="90"/>
                    <a:pt x="79" y="90"/>
                  </a:cubicBezTo>
                  <a:cubicBezTo>
                    <a:pt x="80" y="90"/>
                    <a:pt x="80" y="90"/>
                    <a:pt x="80" y="90"/>
                  </a:cubicBezTo>
                  <a:cubicBezTo>
                    <a:pt x="81" y="90"/>
                    <a:pt x="83" y="90"/>
                    <a:pt x="85" y="90"/>
                  </a:cubicBezTo>
                  <a:cubicBezTo>
                    <a:pt x="86" y="89"/>
                    <a:pt x="86" y="89"/>
                    <a:pt x="86" y="89"/>
                  </a:cubicBezTo>
                  <a:cubicBezTo>
                    <a:pt x="86" y="89"/>
                    <a:pt x="86" y="89"/>
                    <a:pt x="86" y="89"/>
                  </a:cubicBezTo>
                  <a:cubicBezTo>
                    <a:pt x="90" y="89"/>
                    <a:pt x="90" y="89"/>
                    <a:pt x="90" y="89"/>
                  </a:cubicBezTo>
                  <a:cubicBezTo>
                    <a:pt x="95" y="89"/>
                    <a:pt x="98" y="90"/>
                    <a:pt x="100" y="91"/>
                  </a:cubicBezTo>
                  <a:cubicBezTo>
                    <a:pt x="101" y="91"/>
                    <a:pt x="101" y="91"/>
                    <a:pt x="102" y="91"/>
                  </a:cubicBezTo>
                  <a:cubicBezTo>
                    <a:pt x="102" y="92"/>
                    <a:pt x="102" y="92"/>
                    <a:pt x="102" y="92"/>
                  </a:cubicBezTo>
                  <a:cubicBezTo>
                    <a:pt x="103" y="92"/>
                    <a:pt x="103" y="92"/>
                    <a:pt x="103" y="92"/>
                  </a:cubicBezTo>
                  <a:cubicBezTo>
                    <a:pt x="104" y="92"/>
                    <a:pt x="106" y="93"/>
                    <a:pt x="107" y="94"/>
                  </a:cubicBezTo>
                  <a:cubicBezTo>
                    <a:pt x="110" y="95"/>
                    <a:pt x="113" y="96"/>
                    <a:pt x="116" y="97"/>
                  </a:cubicBezTo>
                  <a:cubicBezTo>
                    <a:pt x="117" y="97"/>
                    <a:pt x="117" y="97"/>
                    <a:pt x="118" y="97"/>
                  </a:cubicBezTo>
                  <a:cubicBezTo>
                    <a:pt x="121" y="97"/>
                    <a:pt x="124" y="97"/>
                    <a:pt x="127" y="97"/>
                  </a:cubicBezTo>
                  <a:cubicBezTo>
                    <a:pt x="132" y="97"/>
                    <a:pt x="132" y="97"/>
                    <a:pt x="132" y="97"/>
                  </a:cubicBezTo>
                  <a:cubicBezTo>
                    <a:pt x="134" y="96"/>
                    <a:pt x="137" y="96"/>
                    <a:pt x="139" y="96"/>
                  </a:cubicBezTo>
                  <a:cubicBezTo>
                    <a:pt x="142" y="96"/>
                    <a:pt x="142" y="96"/>
                    <a:pt x="142" y="96"/>
                  </a:cubicBezTo>
                  <a:cubicBezTo>
                    <a:pt x="142" y="94"/>
                    <a:pt x="142" y="91"/>
                    <a:pt x="141" y="87"/>
                  </a:cubicBezTo>
                  <a:cubicBezTo>
                    <a:pt x="141" y="84"/>
                    <a:pt x="140" y="81"/>
                    <a:pt x="138" y="79"/>
                  </a:cubicBezTo>
                  <a:cubicBezTo>
                    <a:pt x="138" y="82"/>
                    <a:pt x="138" y="82"/>
                    <a:pt x="138" y="82"/>
                  </a:cubicBezTo>
                  <a:cubicBezTo>
                    <a:pt x="134" y="79"/>
                    <a:pt x="134" y="79"/>
                    <a:pt x="134" y="79"/>
                  </a:cubicBezTo>
                  <a:cubicBezTo>
                    <a:pt x="131" y="76"/>
                    <a:pt x="128" y="73"/>
                    <a:pt x="126" y="70"/>
                  </a:cubicBezTo>
                  <a:cubicBezTo>
                    <a:pt x="123" y="66"/>
                    <a:pt x="123" y="66"/>
                    <a:pt x="123" y="66"/>
                  </a:cubicBezTo>
                  <a:cubicBezTo>
                    <a:pt x="127" y="65"/>
                    <a:pt x="127" y="65"/>
                    <a:pt x="127" y="65"/>
                  </a:cubicBezTo>
                  <a:cubicBezTo>
                    <a:pt x="121" y="44"/>
                    <a:pt x="121" y="44"/>
                    <a:pt x="121" y="44"/>
                  </a:cubicBezTo>
                  <a:cubicBezTo>
                    <a:pt x="121" y="44"/>
                    <a:pt x="121" y="44"/>
                    <a:pt x="121" y="44"/>
                  </a:cubicBezTo>
                  <a:cubicBezTo>
                    <a:pt x="115" y="40"/>
                    <a:pt x="115" y="40"/>
                    <a:pt x="115" y="40"/>
                  </a:cubicBezTo>
                  <a:cubicBezTo>
                    <a:pt x="116" y="40"/>
                    <a:pt x="116" y="40"/>
                    <a:pt x="116" y="40"/>
                  </a:cubicBezTo>
                  <a:cubicBezTo>
                    <a:pt x="116" y="40"/>
                    <a:pt x="116" y="40"/>
                    <a:pt x="116" y="40"/>
                  </a:cubicBezTo>
                  <a:cubicBezTo>
                    <a:pt x="115" y="40"/>
                    <a:pt x="115" y="39"/>
                    <a:pt x="114" y="39"/>
                  </a:cubicBezTo>
                  <a:cubicBezTo>
                    <a:pt x="114" y="38"/>
                    <a:pt x="113" y="38"/>
                    <a:pt x="113" y="37"/>
                  </a:cubicBezTo>
                  <a:cubicBezTo>
                    <a:pt x="112" y="37"/>
                    <a:pt x="112" y="37"/>
                    <a:pt x="112" y="37"/>
                  </a:cubicBezTo>
                  <a:cubicBezTo>
                    <a:pt x="112" y="37"/>
                    <a:pt x="112" y="36"/>
                    <a:pt x="111" y="36"/>
                  </a:cubicBezTo>
                  <a:cubicBezTo>
                    <a:pt x="110" y="35"/>
                    <a:pt x="109" y="34"/>
                    <a:pt x="108" y="32"/>
                  </a:cubicBezTo>
                  <a:cubicBezTo>
                    <a:pt x="108" y="32"/>
                    <a:pt x="108" y="32"/>
                    <a:pt x="108" y="32"/>
                  </a:cubicBezTo>
                  <a:cubicBezTo>
                    <a:pt x="106" y="30"/>
                    <a:pt x="105" y="28"/>
                    <a:pt x="102" y="26"/>
                  </a:cubicBezTo>
                  <a:cubicBezTo>
                    <a:pt x="101" y="25"/>
                    <a:pt x="99" y="25"/>
                    <a:pt x="98" y="23"/>
                  </a:cubicBezTo>
                  <a:cubicBezTo>
                    <a:pt x="97" y="22"/>
                    <a:pt x="96" y="19"/>
                    <a:pt x="96" y="17"/>
                  </a:cubicBezTo>
                  <a:cubicBezTo>
                    <a:pt x="96" y="16"/>
                    <a:pt x="96" y="16"/>
                    <a:pt x="96" y="16"/>
                  </a:cubicBezTo>
                  <a:cubicBezTo>
                    <a:pt x="96" y="16"/>
                    <a:pt x="95" y="15"/>
                    <a:pt x="95" y="15"/>
                  </a:cubicBezTo>
                  <a:cubicBezTo>
                    <a:pt x="95" y="14"/>
                    <a:pt x="94" y="13"/>
                    <a:pt x="93" y="12"/>
                  </a:cubicBezTo>
                  <a:cubicBezTo>
                    <a:pt x="92" y="18"/>
                    <a:pt x="92" y="18"/>
                    <a:pt x="92" y="18"/>
                  </a:cubicBezTo>
                  <a:cubicBezTo>
                    <a:pt x="92" y="12"/>
                    <a:pt x="92" y="12"/>
                    <a:pt x="92" y="12"/>
                  </a:cubicBezTo>
                  <a:cubicBezTo>
                    <a:pt x="90" y="12"/>
                    <a:pt x="90" y="12"/>
                    <a:pt x="90" y="12"/>
                  </a:cubicBezTo>
                  <a:cubicBezTo>
                    <a:pt x="90" y="12"/>
                    <a:pt x="90" y="12"/>
                    <a:pt x="90" y="12"/>
                  </a:cubicBezTo>
                  <a:cubicBezTo>
                    <a:pt x="89" y="12"/>
                    <a:pt x="88" y="12"/>
                    <a:pt x="87" y="12"/>
                  </a:cubicBezTo>
                  <a:cubicBezTo>
                    <a:pt x="87" y="12"/>
                    <a:pt x="87" y="12"/>
                    <a:pt x="87" y="12"/>
                  </a:cubicBezTo>
                  <a:cubicBezTo>
                    <a:pt x="86" y="12"/>
                    <a:pt x="86" y="12"/>
                    <a:pt x="85" y="12"/>
                  </a:cubicBezTo>
                  <a:cubicBezTo>
                    <a:pt x="85" y="11"/>
                    <a:pt x="85" y="11"/>
                    <a:pt x="85" y="11"/>
                  </a:cubicBezTo>
                  <a:cubicBezTo>
                    <a:pt x="82" y="10"/>
                    <a:pt x="82" y="8"/>
                    <a:pt x="81" y="7"/>
                  </a:cubicBezTo>
                  <a:cubicBezTo>
                    <a:pt x="81" y="6"/>
                    <a:pt x="81" y="6"/>
                    <a:pt x="81" y="6"/>
                  </a:cubicBezTo>
                  <a:cubicBezTo>
                    <a:pt x="80" y="6"/>
                    <a:pt x="79" y="5"/>
                    <a:pt x="78" y="4"/>
                  </a:cubicBezTo>
                  <a:cubicBezTo>
                    <a:pt x="77" y="4"/>
                    <a:pt x="77" y="4"/>
                    <a:pt x="77" y="4"/>
                  </a:cubicBezTo>
                  <a:cubicBezTo>
                    <a:pt x="75" y="1"/>
                    <a:pt x="74" y="0"/>
                    <a:pt x="71" y="0"/>
                  </a:cubicBezTo>
                  <a:cubicBezTo>
                    <a:pt x="69" y="0"/>
                    <a:pt x="69" y="0"/>
                    <a:pt x="69" y="0"/>
                  </a:cubicBezTo>
                  <a:cubicBezTo>
                    <a:pt x="68" y="0"/>
                    <a:pt x="67" y="0"/>
                    <a:pt x="66" y="0"/>
                  </a:cubicBezTo>
                  <a:cubicBezTo>
                    <a:pt x="64" y="0"/>
                    <a:pt x="62" y="0"/>
                    <a:pt x="60" y="0"/>
                  </a:cubicBezTo>
                  <a:cubicBezTo>
                    <a:pt x="60" y="0"/>
                    <a:pt x="59" y="0"/>
                    <a:pt x="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8" name="Freeform 247">
              <a:extLst>
                <a:ext uri="{FF2B5EF4-FFF2-40B4-BE49-F238E27FC236}">
                  <a16:creationId xmlns:a16="http://schemas.microsoft.com/office/drawing/2014/main" id="{436FE62A-0DF1-4B65-92F6-4BACD69D368D}"/>
                </a:ext>
              </a:extLst>
            </p:cNvPr>
            <p:cNvSpPr>
              <a:spLocks/>
            </p:cNvSpPr>
            <p:nvPr/>
          </p:nvSpPr>
          <p:spPr bwMode="auto">
            <a:xfrm>
              <a:off x="2744" y="1989"/>
              <a:ext cx="135" cy="19"/>
            </a:xfrm>
            <a:custGeom>
              <a:avLst/>
              <a:gdLst>
                <a:gd name="T0" fmla="*/ 31 w 57"/>
                <a:gd name="T1" fmla="*/ 0 h 8"/>
                <a:gd name="T2" fmla="*/ 29 w 57"/>
                <a:gd name="T3" fmla="*/ 0 h 8"/>
                <a:gd name="T4" fmla="*/ 27 w 57"/>
                <a:gd name="T5" fmla="*/ 1 h 8"/>
                <a:gd name="T6" fmla="*/ 27 w 57"/>
                <a:gd name="T7" fmla="*/ 2 h 8"/>
                <a:gd name="T8" fmla="*/ 26 w 57"/>
                <a:gd name="T9" fmla="*/ 3 h 8"/>
                <a:gd name="T10" fmla="*/ 24 w 57"/>
                <a:gd name="T11" fmla="*/ 4 h 8"/>
                <a:gd name="T12" fmla="*/ 24 w 57"/>
                <a:gd name="T13" fmla="*/ 3 h 8"/>
                <a:gd name="T14" fmla="*/ 0 w 57"/>
                <a:gd name="T15" fmla="*/ 5 h 8"/>
                <a:gd name="T16" fmla="*/ 4 w 57"/>
                <a:gd name="T17" fmla="*/ 8 h 8"/>
                <a:gd name="T18" fmla="*/ 5 w 57"/>
                <a:gd name="T19" fmla="*/ 8 h 8"/>
                <a:gd name="T20" fmla="*/ 7 w 57"/>
                <a:gd name="T21" fmla="*/ 6 h 8"/>
                <a:gd name="T22" fmla="*/ 27 w 57"/>
                <a:gd name="T23" fmla="*/ 4 h 8"/>
                <a:gd name="T24" fmla="*/ 28 w 57"/>
                <a:gd name="T25" fmla="*/ 3 h 8"/>
                <a:gd name="T26" fmla="*/ 32 w 57"/>
                <a:gd name="T27" fmla="*/ 0 h 8"/>
                <a:gd name="T28" fmla="*/ 35 w 57"/>
                <a:gd name="T29" fmla="*/ 1 h 8"/>
                <a:gd name="T30" fmla="*/ 43 w 57"/>
                <a:gd name="T31" fmla="*/ 4 h 8"/>
                <a:gd name="T32" fmla="*/ 43 w 57"/>
                <a:gd name="T33" fmla="*/ 4 h 8"/>
                <a:gd name="T34" fmla="*/ 51 w 57"/>
                <a:gd name="T35" fmla="*/ 7 h 8"/>
                <a:gd name="T36" fmla="*/ 52 w 57"/>
                <a:gd name="T37" fmla="*/ 7 h 8"/>
                <a:gd name="T38" fmla="*/ 57 w 57"/>
                <a:gd name="T39" fmla="*/ 6 h 8"/>
                <a:gd name="T40" fmla="*/ 57 w 57"/>
                <a:gd name="T41" fmla="*/ 6 h 8"/>
                <a:gd name="T42" fmla="*/ 56 w 57"/>
                <a:gd name="T43" fmla="*/ 6 h 8"/>
                <a:gd name="T44" fmla="*/ 55 w 57"/>
                <a:gd name="T45" fmla="*/ 6 h 8"/>
                <a:gd name="T46" fmla="*/ 54 w 57"/>
                <a:gd name="T47" fmla="*/ 6 h 8"/>
                <a:gd name="T48" fmla="*/ 53 w 57"/>
                <a:gd name="T49" fmla="*/ 6 h 8"/>
                <a:gd name="T50" fmla="*/ 53 w 57"/>
                <a:gd name="T51" fmla="*/ 6 h 8"/>
                <a:gd name="T52" fmla="*/ 50 w 57"/>
                <a:gd name="T53" fmla="*/ 6 h 8"/>
                <a:gd name="T54" fmla="*/ 49 w 57"/>
                <a:gd name="T55" fmla="*/ 6 h 8"/>
                <a:gd name="T56" fmla="*/ 49 w 57"/>
                <a:gd name="T57" fmla="*/ 6 h 8"/>
                <a:gd name="T58" fmla="*/ 48 w 57"/>
                <a:gd name="T59" fmla="*/ 6 h 8"/>
                <a:gd name="T60" fmla="*/ 45 w 57"/>
                <a:gd name="T61" fmla="*/ 5 h 8"/>
                <a:gd name="T62" fmla="*/ 43 w 57"/>
                <a:gd name="T63" fmla="*/ 3 h 8"/>
                <a:gd name="T64" fmla="*/ 38 w 57"/>
                <a:gd name="T65" fmla="*/ 0 h 8"/>
                <a:gd name="T66" fmla="*/ 35 w 57"/>
                <a:gd name="T67" fmla="*/ 0 h 8"/>
                <a:gd name="T68" fmla="*/ 31 w 57"/>
                <a:gd name="T6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 h="8">
                  <a:moveTo>
                    <a:pt x="31" y="0"/>
                  </a:moveTo>
                  <a:cubicBezTo>
                    <a:pt x="30" y="0"/>
                    <a:pt x="29" y="0"/>
                    <a:pt x="29" y="0"/>
                  </a:cubicBezTo>
                  <a:cubicBezTo>
                    <a:pt x="29" y="0"/>
                    <a:pt x="28" y="1"/>
                    <a:pt x="27" y="1"/>
                  </a:cubicBezTo>
                  <a:cubicBezTo>
                    <a:pt x="27" y="2"/>
                    <a:pt x="27" y="2"/>
                    <a:pt x="27" y="2"/>
                  </a:cubicBezTo>
                  <a:cubicBezTo>
                    <a:pt x="26" y="3"/>
                    <a:pt x="26" y="3"/>
                    <a:pt x="26" y="3"/>
                  </a:cubicBezTo>
                  <a:cubicBezTo>
                    <a:pt x="24" y="4"/>
                    <a:pt x="24" y="4"/>
                    <a:pt x="24" y="4"/>
                  </a:cubicBezTo>
                  <a:cubicBezTo>
                    <a:pt x="24" y="3"/>
                    <a:pt x="24" y="3"/>
                    <a:pt x="24" y="3"/>
                  </a:cubicBezTo>
                  <a:cubicBezTo>
                    <a:pt x="13" y="4"/>
                    <a:pt x="4" y="5"/>
                    <a:pt x="0" y="5"/>
                  </a:cubicBezTo>
                  <a:cubicBezTo>
                    <a:pt x="1" y="6"/>
                    <a:pt x="2" y="8"/>
                    <a:pt x="4" y="8"/>
                  </a:cubicBezTo>
                  <a:cubicBezTo>
                    <a:pt x="4" y="8"/>
                    <a:pt x="4" y="8"/>
                    <a:pt x="5" y="8"/>
                  </a:cubicBezTo>
                  <a:cubicBezTo>
                    <a:pt x="6" y="7"/>
                    <a:pt x="6" y="6"/>
                    <a:pt x="7" y="6"/>
                  </a:cubicBezTo>
                  <a:cubicBezTo>
                    <a:pt x="13" y="4"/>
                    <a:pt x="21" y="4"/>
                    <a:pt x="27" y="4"/>
                  </a:cubicBezTo>
                  <a:cubicBezTo>
                    <a:pt x="27" y="4"/>
                    <a:pt x="28" y="3"/>
                    <a:pt x="28" y="3"/>
                  </a:cubicBezTo>
                  <a:cubicBezTo>
                    <a:pt x="29" y="1"/>
                    <a:pt x="31" y="0"/>
                    <a:pt x="32" y="0"/>
                  </a:cubicBezTo>
                  <a:cubicBezTo>
                    <a:pt x="33" y="0"/>
                    <a:pt x="34" y="1"/>
                    <a:pt x="35" y="1"/>
                  </a:cubicBezTo>
                  <a:cubicBezTo>
                    <a:pt x="38" y="2"/>
                    <a:pt x="40" y="3"/>
                    <a:pt x="43" y="4"/>
                  </a:cubicBezTo>
                  <a:cubicBezTo>
                    <a:pt x="43" y="4"/>
                    <a:pt x="43" y="4"/>
                    <a:pt x="43" y="4"/>
                  </a:cubicBezTo>
                  <a:cubicBezTo>
                    <a:pt x="46" y="5"/>
                    <a:pt x="48" y="7"/>
                    <a:pt x="51" y="7"/>
                  </a:cubicBezTo>
                  <a:cubicBezTo>
                    <a:pt x="51" y="7"/>
                    <a:pt x="52" y="7"/>
                    <a:pt x="52" y="7"/>
                  </a:cubicBezTo>
                  <a:cubicBezTo>
                    <a:pt x="54" y="7"/>
                    <a:pt x="55" y="7"/>
                    <a:pt x="57" y="6"/>
                  </a:cubicBezTo>
                  <a:cubicBezTo>
                    <a:pt x="57" y="6"/>
                    <a:pt x="57" y="6"/>
                    <a:pt x="57" y="6"/>
                  </a:cubicBezTo>
                  <a:cubicBezTo>
                    <a:pt x="57" y="6"/>
                    <a:pt x="56" y="6"/>
                    <a:pt x="56" y="6"/>
                  </a:cubicBezTo>
                  <a:cubicBezTo>
                    <a:pt x="56" y="6"/>
                    <a:pt x="55" y="6"/>
                    <a:pt x="55" y="6"/>
                  </a:cubicBezTo>
                  <a:cubicBezTo>
                    <a:pt x="55" y="6"/>
                    <a:pt x="55" y="6"/>
                    <a:pt x="54" y="6"/>
                  </a:cubicBezTo>
                  <a:cubicBezTo>
                    <a:pt x="53" y="6"/>
                    <a:pt x="53" y="6"/>
                    <a:pt x="53" y="6"/>
                  </a:cubicBezTo>
                  <a:cubicBezTo>
                    <a:pt x="53" y="6"/>
                    <a:pt x="53" y="6"/>
                    <a:pt x="53" y="6"/>
                  </a:cubicBezTo>
                  <a:cubicBezTo>
                    <a:pt x="52" y="6"/>
                    <a:pt x="51" y="6"/>
                    <a:pt x="50" y="6"/>
                  </a:cubicBezTo>
                  <a:cubicBezTo>
                    <a:pt x="49" y="6"/>
                    <a:pt x="49" y="6"/>
                    <a:pt x="49" y="6"/>
                  </a:cubicBezTo>
                  <a:cubicBezTo>
                    <a:pt x="49" y="6"/>
                    <a:pt x="49" y="6"/>
                    <a:pt x="49" y="6"/>
                  </a:cubicBezTo>
                  <a:cubicBezTo>
                    <a:pt x="48" y="6"/>
                    <a:pt x="48" y="6"/>
                    <a:pt x="48" y="6"/>
                  </a:cubicBezTo>
                  <a:cubicBezTo>
                    <a:pt x="47" y="6"/>
                    <a:pt x="46" y="5"/>
                    <a:pt x="45" y="5"/>
                  </a:cubicBezTo>
                  <a:cubicBezTo>
                    <a:pt x="44" y="4"/>
                    <a:pt x="43" y="4"/>
                    <a:pt x="43" y="3"/>
                  </a:cubicBezTo>
                  <a:cubicBezTo>
                    <a:pt x="41" y="2"/>
                    <a:pt x="39" y="0"/>
                    <a:pt x="38" y="0"/>
                  </a:cubicBezTo>
                  <a:cubicBezTo>
                    <a:pt x="37" y="0"/>
                    <a:pt x="36" y="0"/>
                    <a:pt x="35" y="0"/>
                  </a:cubicBezTo>
                  <a:cubicBezTo>
                    <a:pt x="34" y="0"/>
                    <a:pt x="32"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9" name="Freeform 248">
              <a:extLst>
                <a:ext uri="{FF2B5EF4-FFF2-40B4-BE49-F238E27FC236}">
                  <a16:creationId xmlns:a16="http://schemas.microsoft.com/office/drawing/2014/main" id="{E777FD54-7E4A-49D6-BA1A-879EC28A53A4}"/>
                </a:ext>
              </a:extLst>
            </p:cNvPr>
            <p:cNvSpPr>
              <a:spLocks/>
            </p:cNvSpPr>
            <p:nvPr/>
          </p:nvSpPr>
          <p:spPr bwMode="auto">
            <a:xfrm>
              <a:off x="2725" y="1999"/>
              <a:ext cx="83" cy="16"/>
            </a:xfrm>
            <a:custGeom>
              <a:avLst/>
              <a:gdLst>
                <a:gd name="T0" fmla="*/ 35 w 35"/>
                <a:gd name="T1" fmla="*/ 0 h 7"/>
                <a:gd name="T2" fmla="*/ 19 w 35"/>
                <a:gd name="T3" fmla="*/ 2 h 7"/>
                <a:gd name="T4" fmla="*/ 16 w 35"/>
                <a:gd name="T5" fmla="*/ 5 h 7"/>
                <a:gd name="T6" fmla="*/ 11 w 35"/>
                <a:gd name="T7" fmla="*/ 6 h 7"/>
                <a:gd name="T8" fmla="*/ 6 w 35"/>
                <a:gd name="T9" fmla="*/ 4 h 7"/>
                <a:gd name="T10" fmla="*/ 4 w 35"/>
                <a:gd name="T11" fmla="*/ 1 h 7"/>
                <a:gd name="T12" fmla="*/ 2 w 35"/>
                <a:gd name="T13" fmla="*/ 1 h 7"/>
                <a:gd name="T14" fmla="*/ 1 w 35"/>
                <a:gd name="T15" fmla="*/ 7 h 7"/>
                <a:gd name="T16" fmla="*/ 1 w 35"/>
                <a:gd name="T17" fmla="*/ 7 h 7"/>
                <a:gd name="T18" fmla="*/ 2 w 35"/>
                <a:gd name="T19" fmla="*/ 7 h 7"/>
                <a:gd name="T20" fmla="*/ 6 w 35"/>
                <a:gd name="T21" fmla="*/ 7 h 7"/>
                <a:gd name="T22" fmla="*/ 21 w 35"/>
                <a:gd name="T23" fmla="*/ 5 h 7"/>
                <a:gd name="T24" fmla="*/ 21 w 35"/>
                <a:gd name="T25" fmla="*/ 5 h 7"/>
                <a:gd name="T26" fmla="*/ 22 w 35"/>
                <a:gd name="T27" fmla="*/ 4 h 7"/>
                <a:gd name="T28" fmla="*/ 24 w 35"/>
                <a:gd name="T29" fmla="*/ 3 h 7"/>
                <a:gd name="T30" fmla="*/ 26 w 35"/>
                <a:gd name="T31" fmla="*/ 2 h 7"/>
                <a:gd name="T32" fmla="*/ 27 w 35"/>
                <a:gd name="T33" fmla="*/ 2 h 7"/>
                <a:gd name="T34" fmla="*/ 27 w 35"/>
                <a:gd name="T35" fmla="*/ 2 h 7"/>
                <a:gd name="T36" fmla="*/ 30 w 35"/>
                <a:gd name="T37" fmla="*/ 2 h 7"/>
                <a:gd name="T38" fmla="*/ 35 w 35"/>
                <a:gd name="T39" fmla="*/ 1 h 7"/>
                <a:gd name="T40" fmla="*/ 35 w 35"/>
                <a:gd name="T4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7">
                  <a:moveTo>
                    <a:pt x="35" y="0"/>
                  </a:moveTo>
                  <a:cubicBezTo>
                    <a:pt x="30" y="1"/>
                    <a:pt x="25" y="1"/>
                    <a:pt x="19" y="2"/>
                  </a:cubicBezTo>
                  <a:cubicBezTo>
                    <a:pt x="17" y="2"/>
                    <a:pt x="13" y="2"/>
                    <a:pt x="16" y="5"/>
                  </a:cubicBezTo>
                  <a:cubicBezTo>
                    <a:pt x="14" y="6"/>
                    <a:pt x="12" y="6"/>
                    <a:pt x="11" y="6"/>
                  </a:cubicBezTo>
                  <a:cubicBezTo>
                    <a:pt x="9" y="6"/>
                    <a:pt x="8" y="6"/>
                    <a:pt x="6" y="4"/>
                  </a:cubicBezTo>
                  <a:cubicBezTo>
                    <a:pt x="5" y="3"/>
                    <a:pt x="5" y="1"/>
                    <a:pt x="4" y="1"/>
                  </a:cubicBezTo>
                  <a:cubicBezTo>
                    <a:pt x="3" y="1"/>
                    <a:pt x="3" y="1"/>
                    <a:pt x="2" y="1"/>
                  </a:cubicBezTo>
                  <a:cubicBezTo>
                    <a:pt x="0" y="3"/>
                    <a:pt x="1" y="4"/>
                    <a:pt x="1" y="7"/>
                  </a:cubicBezTo>
                  <a:cubicBezTo>
                    <a:pt x="1" y="7"/>
                    <a:pt x="1" y="7"/>
                    <a:pt x="1" y="7"/>
                  </a:cubicBezTo>
                  <a:cubicBezTo>
                    <a:pt x="2" y="7"/>
                    <a:pt x="2" y="7"/>
                    <a:pt x="2" y="7"/>
                  </a:cubicBezTo>
                  <a:cubicBezTo>
                    <a:pt x="3" y="7"/>
                    <a:pt x="5" y="7"/>
                    <a:pt x="6" y="7"/>
                  </a:cubicBezTo>
                  <a:cubicBezTo>
                    <a:pt x="21" y="5"/>
                    <a:pt x="21" y="5"/>
                    <a:pt x="21" y="5"/>
                  </a:cubicBezTo>
                  <a:cubicBezTo>
                    <a:pt x="21" y="5"/>
                    <a:pt x="21" y="5"/>
                    <a:pt x="21" y="5"/>
                  </a:cubicBezTo>
                  <a:cubicBezTo>
                    <a:pt x="22" y="4"/>
                    <a:pt x="22" y="4"/>
                    <a:pt x="22" y="4"/>
                  </a:cubicBezTo>
                  <a:cubicBezTo>
                    <a:pt x="22" y="4"/>
                    <a:pt x="23" y="3"/>
                    <a:pt x="24" y="3"/>
                  </a:cubicBezTo>
                  <a:cubicBezTo>
                    <a:pt x="25" y="3"/>
                    <a:pt x="26" y="3"/>
                    <a:pt x="26" y="2"/>
                  </a:cubicBezTo>
                  <a:cubicBezTo>
                    <a:pt x="27" y="2"/>
                    <a:pt x="27" y="2"/>
                    <a:pt x="27" y="2"/>
                  </a:cubicBezTo>
                  <a:cubicBezTo>
                    <a:pt x="27" y="2"/>
                    <a:pt x="27" y="2"/>
                    <a:pt x="27" y="2"/>
                  </a:cubicBezTo>
                  <a:cubicBezTo>
                    <a:pt x="28" y="2"/>
                    <a:pt x="29" y="2"/>
                    <a:pt x="30" y="2"/>
                  </a:cubicBezTo>
                  <a:cubicBezTo>
                    <a:pt x="34" y="1"/>
                    <a:pt x="35" y="1"/>
                    <a:pt x="35" y="1"/>
                  </a:cubicBezTo>
                  <a:cubicBezTo>
                    <a:pt x="35" y="0"/>
                    <a:pt x="35" y="0"/>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0" name="Freeform 249">
              <a:extLst>
                <a:ext uri="{FF2B5EF4-FFF2-40B4-BE49-F238E27FC236}">
                  <a16:creationId xmlns:a16="http://schemas.microsoft.com/office/drawing/2014/main" id="{A00BF197-CC58-4C1F-9BAD-C7CB5E8D4152}"/>
                </a:ext>
              </a:extLst>
            </p:cNvPr>
            <p:cNvSpPr>
              <a:spLocks/>
            </p:cNvSpPr>
            <p:nvPr/>
          </p:nvSpPr>
          <p:spPr bwMode="auto">
            <a:xfrm>
              <a:off x="3146" y="153"/>
              <a:ext cx="699" cy="508"/>
            </a:xfrm>
            <a:custGeom>
              <a:avLst/>
              <a:gdLst>
                <a:gd name="T0" fmla="*/ 25 w 296"/>
                <a:gd name="T1" fmla="*/ 8 h 215"/>
                <a:gd name="T2" fmla="*/ 15 w 296"/>
                <a:gd name="T3" fmla="*/ 13 h 215"/>
                <a:gd name="T4" fmla="*/ 4 w 296"/>
                <a:gd name="T5" fmla="*/ 17 h 215"/>
                <a:gd name="T6" fmla="*/ 0 w 296"/>
                <a:gd name="T7" fmla="*/ 23 h 215"/>
                <a:gd name="T8" fmla="*/ 10 w 296"/>
                <a:gd name="T9" fmla="*/ 37 h 215"/>
                <a:gd name="T10" fmla="*/ 14 w 296"/>
                <a:gd name="T11" fmla="*/ 38 h 215"/>
                <a:gd name="T12" fmla="*/ 10 w 296"/>
                <a:gd name="T13" fmla="*/ 47 h 215"/>
                <a:gd name="T14" fmla="*/ 25 w 296"/>
                <a:gd name="T15" fmla="*/ 43 h 215"/>
                <a:gd name="T16" fmla="*/ 33 w 296"/>
                <a:gd name="T17" fmla="*/ 50 h 215"/>
                <a:gd name="T18" fmla="*/ 44 w 296"/>
                <a:gd name="T19" fmla="*/ 51 h 215"/>
                <a:gd name="T20" fmla="*/ 55 w 296"/>
                <a:gd name="T21" fmla="*/ 49 h 215"/>
                <a:gd name="T22" fmla="*/ 59 w 296"/>
                <a:gd name="T23" fmla="*/ 49 h 215"/>
                <a:gd name="T24" fmla="*/ 68 w 296"/>
                <a:gd name="T25" fmla="*/ 54 h 215"/>
                <a:gd name="T26" fmla="*/ 71 w 296"/>
                <a:gd name="T27" fmla="*/ 58 h 215"/>
                <a:gd name="T28" fmla="*/ 64 w 296"/>
                <a:gd name="T29" fmla="*/ 75 h 215"/>
                <a:gd name="T30" fmla="*/ 59 w 296"/>
                <a:gd name="T31" fmla="*/ 81 h 215"/>
                <a:gd name="T32" fmla="*/ 60 w 296"/>
                <a:gd name="T33" fmla="*/ 99 h 215"/>
                <a:gd name="T34" fmla="*/ 48 w 296"/>
                <a:gd name="T35" fmla="*/ 121 h 215"/>
                <a:gd name="T36" fmla="*/ 52 w 296"/>
                <a:gd name="T37" fmla="*/ 127 h 215"/>
                <a:gd name="T38" fmla="*/ 53 w 296"/>
                <a:gd name="T39" fmla="*/ 140 h 215"/>
                <a:gd name="T40" fmla="*/ 49 w 296"/>
                <a:gd name="T41" fmla="*/ 148 h 215"/>
                <a:gd name="T42" fmla="*/ 58 w 296"/>
                <a:gd name="T43" fmla="*/ 152 h 215"/>
                <a:gd name="T44" fmla="*/ 50 w 296"/>
                <a:gd name="T45" fmla="*/ 164 h 215"/>
                <a:gd name="T46" fmla="*/ 52 w 296"/>
                <a:gd name="T47" fmla="*/ 182 h 215"/>
                <a:gd name="T48" fmla="*/ 62 w 296"/>
                <a:gd name="T49" fmla="*/ 189 h 215"/>
                <a:gd name="T50" fmla="*/ 71 w 296"/>
                <a:gd name="T51" fmla="*/ 191 h 215"/>
                <a:gd name="T52" fmla="*/ 86 w 296"/>
                <a:gd name="T53" fmla="*/ 215 h 215"/>
                <a:gd name="T54" fmla="*/ 97 w 296"/>
                <a:gd name="T55" fmla="*/ 206 h 215"/>
                <a:gd name="T56" fmla="*/ 127 w 296"/>
                <a:gd name="T57" fmla="*/ 196 h 215"/>
                <a:gd name="T58" fmla="*/ 154 w 296"/>
                <a:gd name="T59" fmla="*/ 197 h 215"/>
                <a:gd name="T60" fmla="*/ 173 w 296"/>
                <a:gd name="T61" fmla="*/ 189 h 215"/>
                <a:gd name="T62" fmla="*/ 196 w 296"/>
                <a:gd name="T63" fmla="*/ 173 h 215"/>
                <a:gd name="T64" fmla="*/ 202 w 296"/>
                <a:gd name="T65" fmla="*/ 162 h 215"/>
                <a:gd name="T66" fmla="*/ 236 w 296"/>
                <a:gd name="T67" fmla="*/ 84 h 215"/>
                <a:gd name="T68" fmla="*/ 263 w 296"/>
                <a:gd name="T69" fmla="*/ 68 h 215"/>
                <a:gd name="T70" fmla="*/ 292 w 296"/>
                <a:gd name="T71" fmla="*/ 46 h 215"/>
                <a:gd name="T72" fmla="*/ 292 w 296"/>
                <a:gd name="T73" fmla="*/ 41 h 215"/>
                <a:gd name="T74" fmla="*/ 275 w 296"/>
                <a:gd name="T75" fmla="*/ 43 h 215"/>
                <a:gd name="T76" fmla="*/ 257 w 296"/>
                <a:gd name="T77" fmla="*/ 36 h 215"/>
                <a:gd name="T78" fmla="*/ 237 w 296"/>
                <a:gd name="T79" fmla="*/ 30 h 215"/>
                <a:gd name="T80" fmla="*/ 223 w 296"/>
                <a:gd name="T81" fmla="*/ 34 h 215"/>
                <a:gd name="T82" fmla="*/ 212 w 296"/>
                <a:gd name="T83" fmla="*/ 31 h 215"/>
                <a:gd name="T84" fmla="*/ 202 w 296"/>
                <a:gd name="T85" fmla="*/ 28 h 215"/>
                <a:gd name="T86" fmla="*/ 190 w 296"/>
                <a:gd name="T87" fmla="*/ 24 h 215"/>
                <a:gd name="T88" fmla="*/ 183 w 296"/>
                <a:gd name="T89" fmla="*/ 16 h 215"/>
                <a:gd name="T90" fmla="*/ 174 w 296"/>
                <a:gd name="T91" fmla="*/ 13 h 215"/>
                <a:gd name="T92" fmla="*/ 161 w 296"/>
                <a:gd name="T93" fmla="*/ 13 h 215"/>
                <a:gd name="T94" fmla="*/ 136 w 296"/>
                <a:gd name="T95" fmla="*/ 8 h 215"/>
                <a:gd name="T96" fmla="*/ 100 w 296"/>
                <a:gd name="T97" fmla="*/ 8 h 215"/>
                <a:gd name="T98" fmla="*/ 62 w 296"/>
                <a:gd name="T99" fmla="*/ 6 h 215"/>
                <a:gd name="T100" fmla="*/ 34 w 296"/>
                <a:gd name="T101" fmla="*/ 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6" h="215">
                  <a:moveTo>
                    <a:pt x="33" y="0"/>
                  </a:moveTo>
                  <a:cubicBezTo>
                    <a:pt x="30" y="1"/>
                    <a:pt x="28" y="2"/>
                    <a:pt x="26" y="4"/>
                  </a:cubicBezTo>
                  <a:cubicBezTo>
                    <a:pt x="25" y="5"/>
                    <a:pt x="24" y="6"/>
                    <a:pt x="23" y="6"/>
                  </a:cubicBezTo>
                  <a:cubicBezTo>
                    <a:pt x="23" y="6"/>
                    <a:pt x="23" y="6"/>
                    <a:pt x="23" y="6"/>
                  </a:cubicBezTo>
                  <a:cubicBezTo>
                    <a:pt x="23" y="7"/>
                    <a:pt x="24" y="8"/>
                    <a:pt x="25" y="8"/>
                  </a:cubicBezTo>
                  <a:cubicBezTo>
                    <a:pt x="25" y="8"/>
                    <a:pt x="26" y="8"/>
                    <a:pt x="26" y="7"/>
                  </a:cubicBezTo>
                  <a:cubicBezTo>
                    <a:pt x="26" y="8"/>
                    <a:pt x="26" y="9"/>
                    <a:pt x="26" y="10"/>
                  </a:cubicBezTo>
                  <a:cubicBezTo>
                    <a:pt x="24" y="11"/>
                    <a:pt x="22" y="10"/>
                    <a:pt x="21" y="12"/>
                  </a:cubicBezTo>
                  <a:cubicBezTo>
                    <a:pt x="21" y="11"/>
                    <a:pt x="21" y="11"/>
                    <a:pt x="21" y="11"/>
                  </a:cubicBezTo>
                  <a:cubicBezTo>
                    <a:pt x="19" y="11"/>
                    <a:pt x="17" y="13"/>
                    <a:pt x="15" y="13"/>
                  </a:cubicBezTo>
                  <a:cubicBezTo>
                    <a:pt x="15" y="13"/>
                    <a:pt x="15" y="13"/>
                    <a:pt x="14" y="13"/>
                  </a:cubicBezTo>
                  <a:cubicBezTo>
                    <a:pt x="13" y="13"/>
                    <a:pt x="12" y="13"/>
                    <a:pt x="11" y="12"/>
                  </a:cubicBezTo>
                  <a:cubicBezTo>
                    <a:pt x="11" y="12"/>
                    <a:pt x="11" y="12"/>
                    <a:pt x="10" y="12"/>
                  </a:cubicBezTo>
                  <a:cubicBezTo>
                    <a:pt x="8" y="12"/>
                    <a:pt x="7" y="15"/>
                    <a:pt x="5" y="17"/>
                  </a:cubicBezTo>
                  <a:cubicBezTo>
                    <a:pt x="5" y="17"/>
                    <a:pt x="4" y="17"/>
                    <a:pt x="4" y="17"/>
                  </a:cubicBezTo>
                  <a:cubicBezTo>
                    <a:pt x="4" y="17"/>
                    <a:pt x="4" y="17"/>
                    <a:pt x="4" y="17"/>
                  </a:cubicBezTo>
                  <a:cubicBezTo>
                    <a:pt x="4" y="17"/>
                    <a:pt x="3" y="16"/>
                    <a:pt x="3" y="16"/>
                  </a:cubicBezTo>
                  <a:cubicBezTo>
                    <a:pt x="3" y="16"/>
                    <a:pt x="3" y="17"/>
                    <a:pt x="2" y="17"/>
                  </a:cubicBezTo>
                  <a:cubicBezTo>
                    <a:pt x="1" y="18"/>
                    <a:pt x="1" y="20"/>
                    <a:pt x="0" y="20"/>
                  </a:cubicBezTo>
                  <a:cubicBezTo>
                    <a:pt x="0" y="22"/>
                    <a:pt x="0" y="23"/>
                    <a:pt x="0" y="23"/>
                  </a:cubicBezTo>
                  <a:cubicBezTo>
                    <a:pt x="0" y="25"/>
                    <a:pt x="2" y="26"/>
                    <a:pt x="3" y="28"/>
                  </a:cubicBezTo>
                  <a:cubicBezTo>
                    <a:pt x="6" y="31"/>
                    <a:pt x="6" y="31"/>
                    <a:pt x="5" y="34"/>
                  </a:cubicBezTo>
                  <a:cubicBezTo>
                    <a:pt x="5" y="34"/>
                    <a:pt x="5" y="34"/>
                    <a:pt x="5" y="34"/>
                  </a:cubicBezTo>
                  <a:cubicBezTo>
                    <a:pt x="8" y="34"/>
                    <a:pt x="11" y="32"/>
                    <a:pt x="13" y="30"/>
                  </a:cubicBezTo>
                  <a:cubicBezTo>
                    <a:pt x="12" y="32"/>
                    <a:pt x="11" y="36"/>
                    <a:pt x="10" y="37"/>
                  </a:cubicBezTo>
                  <a:cubicBezTo>
                    <a:pt x="10" y="37"/>
                    <a:pt x="9" y="36"/>
                    <a:pt x="9" y="36"/>
                  </a:cubicBezTo>
                  <a:cubicBezTo>
                    <a:pt x="9" y="36"/>
                    <a:pt x="9" y="36"/>
                    <a:pt x="8" y="37"/>
                  </a:cubicBezTo>
                  <a:cubicBezTo>
                    <a:pt x="9" y="38"/>
                    <a:pt x="10" y="39"/>
                    <a:pt x="11" y="39"/>
                  </a:cubicBezTo>
                  <a:cubicBezTo>
                    <a:pt x="11" y="39"/>
                    <a:pt x="12" y="38"/>
                    <a:pt x="12" y="38"/>
                  </a:cubicBezTo>
                  <a:cubicBezTo>
                    <a:pt x="13" y="38"/>
                    <a:pt x="13" y="38"/>
                    <a:pt x="14" y="38"/>
                  </a:cubicBezTo>
                  <a:cubicBezTo>
                    <a:pt x="14" y="38"/>
                    <a:pt x="14" y="38"/>
                    <a:pt x="14" y="38"/>
                  </a:cubicBezTo>
                  <a:cubicBezTo>
                    <a:pt x="13" y="40"/>
                    <a:pt x="11" y="41"/>
                    <a:pt x="10" y="42"/>
                  </a:cubicBezTo>
                  <a:cubicBezTo>
                    <a:pt x="10" y="43"/>
                    <a:pt x="10" y="43"/>
                    <a:pt x="11" y="43"/>
                  </a:cubicBezTo>
                  <a:cubicBezTo>
                    <a:pt x="12" y="43"/>
                    <a:pt x="14" y="42"/>
                    <a:pt x="14" y="42"/>
                  </a:cubicBezTo>
                  <a:cubicBezTo>
                    <a:pt x="13" y="44"/>
                    <a:pt x="11" y="45"/>
                    <a:pt x="10" y="47"/>
                  </a:cubicBezTo>
                  <a:cubicBezTo>
                    <a:pt x="9" y="48"/>
                    <a:pt x="9" y="49"/>
                    <a:pt x="9" y="51"/>
                  </a:cubicBezTo>
                  <a:cubicBezTo>
                    <a:pt x="12" y="49"/>
                    <a:pt x="16" y="46"/>
                    <a:pt x="18" y="46"/>
                  </a:cubicBezTo>
                  <a:cubicBezTo>
                    <a:pt x="20" y="45"/>
                    <a:pt x="21" y="45"/>
                    <a:pt x="22" y="45"/>
                  </a:cubicBezTo>
                  <a:cubicBezTo>
                    <a:pt x="22" y="45"/>
                    <a:pt x="22" y="45"/>
                    <a:pt x="22" y="45"/>
                  </a:cubicBezTo>
                  <a:cubicBezTo>
                    <a:pt x="23" y="44"/>
                    <a:pt x="24" y="44"/>
                    <a:pt x="25" y="43"/>
                  </a:cubicBezTo>
                  <a:cubicBezTo>
                    <a:pt x="27" y="43"/>
                    <a:pt x="27" y="43"/>
                    <a:pt x="27" y="43"/>
                  </a:cubicBezTo>
                  <a:cubicBezTo>
                    <a:pt x="28" y="45"/>
                    <a:pt x="28" y="45"/>
                    <a:pt x="28" y="45"/>
                  </a:cubicBezTo>
                  <a:cubicBezTo>
                    <a:pt x="29" y="46"/>
                    <a:pt x="31" y="47"/>
                    <a:pt x="30" y="50"/>
                  </a:cubicBezTo>
                  <a:cubicBezTo>
                    <a:pt x="30" y="50"/>
                    <a:pt x="30" y="50"/>
                    <a:pt x="30" y="50"/>
                  </a:cubicBezTo>
                  <a:cubicBezTo>
                    <a:pt x="31" y="50"/>
                    <a:pt x="32" y="50"/>
                    <a:pt x="33" y="50"/>
                  </a:cubicBezTo>
                  <a:cubicBezTo>
                    <a:pt x="34" y="50"/>
                    <a:pt x="36" y="50"/>
                    <a:pt x="37" y="51"/>
                  </a:cubicBezTo>
                  <a:cubicBezTo>
                    <a:pt x="38" y="51"/>
                    <a:pt x="38" y="51"/>
                    <a:pt x="38" y="51"/>
                  </a:cubicBezTo>
                  <a:cubicBezTo>
                    <a:pt x="39" y="52"/>
                    <a:pt x="39" y="52"/>
                    <a:pt x="40" y="52"/>
                  </a:cubicBezTo>
                  <a:cubicBezTo>
                    <a:pt x="40" y="52"/>
                    <a:pt x="40" y="52"/>
                    <a:pt x="40" y="52"/>
                  </a:cubicBezTo>
                  <a:cubicBezTo>
                    <a:pt x="41" y="52"/>
                    <a:pt x="42" y="52"/>
                    <a:pt x="44" y="51"/>
                  </a:cubicBezTo>
                  <a:cubicBezTo>
                    <a:pt x="45" y="51"/>
                    <a:pt x="46" y="51"/>
                    <a:pt x="47" y="51"/>
                  </a:cubicBezTo>
                  <a:cubicBezTo>
                    <a:pt x="47" y="51"/>
                    <a:pt x="47" y="51"/>
                    <a:pt x="47" y="51"/>
                  </a:cubicBezTo>
                  <a:cubicBezTo>
                    <a:pt x="49" y="50"/>
                    <a:pt x="49" y="50"/>
                    <a:pt x="51" y="49"/>
                  </a:cubicBezTo>
                  <a:cubicBezTo>
                    <a:pt x="52" y="49"/>
                    <a:pt x="53" y="49"/>
                    <a:pt x="53" y="49"/>
                  </a:cubicBezTo>
                  <a:cubicBezTo>
                    <a:pt x="54" y="49"/>
                    <a:pt x="55" y="49"/>
                    <a:pt x="55" y="49"/>
                  </a:cubicBezTo>
                  <a:cubicBezTo>
                    <a:pt x="55" y="49"/>
                    <a:pt x="55" y="49"/>
                    <a:pt x="55" y="49"/>
                  </a:cubicBezTo>
                  <a:cubicBezTo>
                    <a:pt x="56" y="49"/>
                    <a:pt x="56" y="49"/>
                    <a:pt x="56" y="49"/>
                  </a:cubicBezTo>
                  <a:cubicBezTo>
                    <a:pt x="56" y="49"/>
                    <a:pt x="56" y="49"/>
                    <a:pt x="57" y="49"/>
                  </a:cubicBezTo>
                  <a:cubicBezTo>
                    <a:pt x="57" y="49"/>
                    <a:pt x="58" y="49"/>
                    <a:pt x="59" y="49"/>
                  </a:cubicBezTo>
                  <a:cubicBezTo>
                    <a:pt x="59" y="49"/>
                    <a:pt x="59" y="49"/>
                    <a:pt x="59" y="49"/>
                  </a:cubicBezTo>
                  <a:cubicBezTo>
                    <a:pt x="60" y="48"/>
                    <a:pt x="61" y="48"/>
                    <a:pt x="61" y="48"/>
                  </a:cubicBezTo>
                  <a:cubicBezTo>
                    <a:pt x="62" y="48"/>
                    <a:pt x="62" y="48"/>
                    <a:pt x="62" y="48"/>
                  </a:cubicBezTo>
                  <a:cubicBezTo>
                    <a:pt x="62" y="48"/>
                    <a:pt x="62" y="48"/>
                    <a:pt x="62" y="48"/>
                  </a:cubicBezTo>
                  <a:cubicBezTo>
                    <a:pt x="64" y="48"/>
                    <a:pt x="65" y="49"/>
                    <a:pt x="66" y="49"/>
                  </a:cubicBezTo>
                  <a:cubicBezTo>
                    <a:pt x="67" y="50"/>
                    <a:pt x="67" y="52"/>
                    <a:pt x="68" y="54"/>
                  </a:cubicBezTo>
                  <a:cubicBezTo>
                    <a:pt x="68" y="55"/>
                    <a:pt x="68" y="55"/>
                    <a:pt x="68" y="55"/>
                  </a:cubicBezTo>
                  <a:cubicBezTo>
                    <a:pt x="67" y="56"/>
                    <a:pt x="67" y="56"/>
                    <a:pt x="67" y="56"/>
                  </a:cubicBezTo>
                  <a:cubicBezTo>
                    <a:pt x="68" y="57"/>
                    <a:pt x="68" y="57"/>
                    <a:pt x="68" y="57"/>
                  </a:cubicBezTo>
                  <a:cubicBezTo>
                    <a:pt x="69" y="57"/>
                    <a:pt x="69" y="57"/>
                    <a:pt x="69" y="57"/>
                  </a:cubicBezTo>
                  <a:cubicBezTo>
                    <a:pt x="71" y="58"/>
                    <a:pt x="71" y="58"/>
                    <a:pt x="71" y="58"/>
                  </a:cubicBezTo>
                  <a:cubicBezTo>
                    <a:pt x="73" y="59"/>
                    <a:pt x="74" y="59"/>
                    <a:pt x="75" y="61"/>
                  </a:cubicBezTo>
                  <a:cubicBezTo>
                    <a:pt x="75" y="63"/>
                    <a:pt x="74" y="64"/>
                    <a:pt x="74" y="66"/>
                  </a:cubicBezTo>
                  <a:cubicBezTo>
                    <a:pt x="72" y="68"/>
                    <a:pt x="71" y="70"/>
                    <a:pt x="69" y="71"/>
                  </a:cubicBezTo>
                  <a:cubicBezTo>
                    <a:pt x="68" y="72"/>
                    <a:pt x="68" y="72"/>
                    <a:pt x="68" y="72"/>
                  </a:cubicBezTo>
                  <a:cubicBezTo>
                    <a:pt x="67" y="73"/>
                    <a:pt x="65" y="74"/>
                    <a:pt x="64" y="75"/>
                  </a:cubicBezTo>
                  <a:cubicBezTo>
                    <a:pt x="63" y="75"/>
                    <a:pt x="61" y="76"/>
                    <a:pt x="60" y="77"/>
                  </a:cubicBezTo>
                  <a:cubicBezTo>
                    <a:pt x="60" y="77"/>
                    <a:pt x="60" y="77"/>
                    <a:pt x="60" y="77"/>
                  </a:cubicBezTo>
                  <a:cubicBezTo>
                    <a:pt x="63" y="82"/>
                    <a:pt x="63" y="82"/>
                    <a:pt x="63" y="82"/>
                  </a:cubicBezTo>
                  <a:cubicBezTo>
                    <a:pt x="59" y="78"/>
                    <a:pt x="59" y="78"/>
                    <a:pt x="59" y="78"/>
                  </a:cubicBezTo>
                  <a:cubicBezTo>
                    <a:pt x="59" y="79"/>
                    <a:pt x="59" y="79"/>
                    <a:pt x="59" y="81"/>
                  </a:cubicBezTo>
                  <a:cubicBezTo>
                    <a:pt x="60" y="81"/>
                    <a:pt x="60" y="82"/>
                    <a:pt x="60" y="83"/>
                  </a:cubicBezTo>
                  <a:cubicBezTo>
                    <a:pt x="61" y="86"/>
                    <a:pt x="61" y="89"/>
                    <a:pt x="61" y="92"/>
                  </a:cubicBezTo>
                  <a:cubicBezTo>
                    <a:pt x="60" y="94"/>
                    <a:pt x="60" y="94"/>
                    <a:pt x="60" y="94"/>
                  </a:cubicBezTo>
                  <a:cubicBezTo>
                    <a:pt x="60" y="95"/>
                    <a:pt x="60" y="96"/>
                    <a:pt x="60" y="97"/>
                  </a:cubicBezTo>
                  <a:cubicBezTo>
                    <a:pt x="60" y="99"/>
                    <a:pt x="60" y="99"/>
                    <a:pt x="60" y="99"/>
                  </a:cubicBezTo>
                  <a:cubicBezTo>
                    <a:pt x="60" y="100"/>
                    <a:pt x="59" y="101"/>
                    <a:pt x="58" y="101"/>
                  </a:cubicBezTo>
                  <a:cubicBezTo>
                    <a:pt x="58" y="104"/>
                    <a:pt x="58" y="115"/>
                    <a:pt x="54" y="118"/>
                  </a:cubicBezTo>
                  <a:cubicBezTo>
                    <a:pt x="53" y="119"/>
                    <a:pt x="51" y="119"/>
                    <a:pt x="49" y="119"/>
                  </a:cubicBezTo>
                  <a:cubicBezTo>
                    <a:pt x="48" y="119"/>
                    <a:pt x="47" y="119"/>
                    <a:pt x="46" y="119"/>
                  </a:cubicBezTo>
                  <a:cubicBezTo>
                    <a:pt x="48" y="121"/>
                    <a:pt x="48" y="121"/>
                    <a:pt x="48" y="121"/>
                  </a:cubicBezTo>
                  <a:cubicBezTo>
                    <a:pt x="48" y="122"/>
                    <a:pt x="48" y="123"/>
                    <a:pt x="49" y="123"/>
                  </a:cubicBezTo>
                  <a:cubicBezTo>
                    <a:pt x="50" y="124"/>
                    <a:pt x="50" y="125"/>
                    <a:pt x="50" y="126"/>
                  </a:cubicBezTo>
                  <a:cubicBezTo>
                    <a:pt x="51" y="127"/>
                    <a:pt x="51" y="127"/>
                    <a:pt x="51" y="127"/>
                  </a:cubicBezTo>
                  <a:cubicBezTo>
                    <a:pt x="51" y="127"/>
                    <a:pt x="51" y="127"/>
                    <a:pt x="51" y="127"/>
                  </a:cubicBezTo>
                  <a:cubicBezTo>
                    <a:pt x="51" y="127"/>
                    <a:pt x="51" y="127"/>
                    <a:pt x="52" y="127"/>
                  </a:cubicBezTo>
                  <a:cubicBezTo>
                    <a:pt x="54" y="128"/>
                    <a:pt x="56" y="129"/>
                    <a:pt x="57" y="132"/>
                  </a:cubicBezTo>
                  <a:cubicBezTo>
                    <a:pt x="57" y="133"/>
                    <a:pt x="57" y="133"/>
                    <a:pt x="57" y="134"/>
                  </a:cubicBezTo>
                  <a:cubicBezTo>
                    <a:pt x="57" y="135"/>
                    <a:pt x="56" y="136"/>
                    <a:pt x="56" y="137"/>
                  </a:cubicBezTo>
                  <a:cubicBezTo>
                    <a:pt x="55" y="138"/>
                    <a:pt x="54" y="139"/>
                    <a:pt x="54" y="140"/>
                  </a:cubicBezTo>
                  <a:cubicBezTo>
                    <a:pt x="53" y="140"/>
                    <a:pt x="53" y="140"/>
                    <a:pt x="53" y="140"/>
                  </a:cubicBezTo>
                  <a:cubicBezTo>
                    <a:pt x="53" y="140"/>
                    <a:pt x="53" y="140"/>
                    <a:pt x="53" y="140"/>
                  </a:cubicBezTo>
                  <a:cubicBezTo>
                    <a:pt x="52" y="141"/>
                    <a:pt x="52" y="141"/>
                    <a:pt x="52" y="141"/>
                  </a:cubicBezTo>
                  <a:cubicBezTo>
                    <a:pt x="52" y="141"/>
                    <a:pt x="52" y="141"/>
                    <a:pt x="52" y="141"/>
                  </a:cubicBezTo>
                  <a:cubicBezTo>
                    <a:pt x="51" y="143"/>
                    <a:pt x="50" y="144"/>
                    <a:pt x="50" y="146"/>
                  </a:cubicBezTo>
                  <a:cubicBezTo>
                    <a:pt x="50" y="147"/>
                    <a:pt x="49" y="147"/>
                    <a:pt x="49" y="148"/>
                  </a:cubicBezTo>
                  <a:cubicBezTo>
                    <a:pt x="49" y="148"/>
                    <a:pt x="50" y="149"/>
                    <a:pt x="51" y="151"/>
                  </a:cubicBezTo>
                  <a:cubicBezTo>
                    <a:pt x="52" y="151"/>
                    <a:pt x="52" y="152"/>
                    <a:pt x="52" y="152"/>
                  </a:cubicBezTo>
                  <a:cubicBezTo>
                    <a:pt x="53" y="153"/>
                    <a:pt x="53" y="153"/>
                    <a:pt x="53" y="153"/>
                  </a:cubicBezTo>
                  <a:cubicBezTo>
                    <a:pt x="54" y="153"/>
                    <a:pt x="54" y="153"/>
                    <a:pt x="54" y="153"/>
                  </a:cubicBezTo>
                  <a:cubicBezTo>
                    <a:pt x="58" y="152"/>
                    <a:pt x="58" y="152"/>
                    <a:pt x="58" y="152"/>
                  </a:cubicBezTo>
                  <a:cubicBezTo>
                    <a:pt x="58" y="156"/>
                    <a:pt x="58" y="156"/>
                    <a:pt x="58" y="156"/>
                  </a:cubicBezTo>
                  <a:cubicBezTo>
                    <a:pt x="58" y="157"/>
                    <a:pt x="57" y="158"/>
                    <a:pt x="57" y="159"/>
                  </a:cubicBezTo>
                  <a:cubicBezTo>
                    <a:pt x="56" y="160"/>
                    <a:pt x="56" y="160"/>
                    <a:pt x="56" y="160"/>
                  </a:cubicBezTo>
                  <a:cubicBezTo>
                    <a:pt x="55" y="161"/>
                    <a:pt x="53" y="162"/>
                    <a:pt x="51" y="163"/>
                  </a:cubicBezTo>
                  <a:cubicBezTo>
                    <a:pt x="51" y="163"/>
                    <a:pt x="50" y="164"/>
                    <a:pt x="50" y="164"/>
                  </a:cubicBezTo>
                  <a:cubicBezTo>
                    <a:pt x="49" y="164"/>
                    <a:pt x="47" y="167"/>
                    <a:pt x="46" y="169"/>
                  </a:cubicBezTo>
                  <a:cubicBezTo>
                    <a:pt x="45" y="172"/>
                    <a:pt x="44" y="174"/>
                    <a:pt x="45" y="175"/>
                  </a:cubicBezTo>
                  <a:cubicBezTo>
                    <a:pt x="45" y="176"/>
                    <a:pt x="46" y="180"/>
                    <a:pt x="46" y="180"/>
                  </a:cubicBezTo>
                  <a:cubicBezTo>
                    <a:pt x="46" y="182"/>
                    <a:pt x="46" y="182"/>
                    <a:pt x="46" y="182"/>
                  </a:cubicBezTo>
                  <a:cubicBezTo>
                    <a:pt x="48" y="182"/>
                    <a:pt x="50" y="182"/>
                    <a:pt x="52" y="182"/>
                  </a:cubicBezTo>
                  <a:cubicBezTo>
                    <a:pt x="52" y="182"/>
                    <a:pt x="53" y="182"/>
                    <a:pt x="53" y="182"/>
                  </a:cubicBezTo>
                  <a:cubicBezTo>
                    <a:pt x="54" y="182"/>
                    <a:pt x="55" y="182"/>
                    <a:pt x="54" y="181"/>
                  </a:cubicBezTo>
                  <a:cubicBezTo>
                    <a:pt x="54" y="181"/>
                    <a:pt x="54" y="181"/>
                    <a:pt x="54" y="181"/>
                  </a:cubicBezTo>
                  <a:cubicBezTo>
                    <a:pt x="55" y="181"/>
                    <a:pt x="56" y="181"/>
                    <a:pt x="56" y="181"/>
                  </a:cubicBezTo>
                  <a:cubicBezTo>
                    <a:pt x="54" y="184"/>
                    <a:pt x="60" y="187"/>
                    <a:pt x="62" y="189"/>
                  </a:cubicBezTo>
                  <a:cubicBezTo>
                    <a:pt x="64" y="190"/>
                    <a:pt x="65" y="192"/>
                    <a:pt x="67" y="193"/>
                  </a:cubicBezTo>
                  <a:cubicBezTo>
                    <a:pt x="67" y="193"/>
                    <a:pt x="67" y="193"/>
                    <a:pt x="68" y="193"/>
                  </a:cubicBezTo>
                  <a:cubicBezTo>
                    <a:pt x="68" y="193"/>
                    <a:pt x="68" y="192"/>
                    <a:pt x="69" y="192"/>
                  </a:cubicBezTo>
                  <a:cubicBezTo>
                    <a:pt x="69" y="192"/>
                    <a:pt x="70" y="191"/>
                    <a:pt x="70" y="191"/>
                  </a:cubicBezTo>
                  <a:cubicBezTo>
                    <a:pt x="71" y="191"/>
                    <a:pt x="71" y="191"/>
                    <a:pt x="71" y="191"/>
                  </a:cubicBezTo>
                  <a:cubicBezTo>
                    <a:pt x="70" y="191"/>
                    <a:pt x="68" y="194"/>
                    <a:pt x="68" y="195"/>
                  </a:cubicBezTo>
                  <a:cubicBezTo>
                    <a:pt x="68" y="195"/>
                    <a:pt x="67" y="195"/>
                    <a:pt x="67" y="196"/>
                  </a:cubicBezTo>
                  <a:cubicBezTo>
                    <a:pt x="67" y="197"/>
                    <a:pt x="69" y="200"/>
                    <a:pt x="70" y="201"/>
                  </a:cubicBezTo>
                  <a:cubicBezTo>
                    <a:pt x="74" y="207"/>
                    <a:pt x="78" y="214"/>
                    <a:pt x="86" y="215"/>
                  </a:cubicBezTo>
                  <a:cubicBezTo>
                    <a:pt x="86" y="215"/>
                    <a:pt x="86" y="215"/>
                    <a:pt x="86" y="215"/>
                  </a:cubicBezTo>
                  <a:cubicBezTo>
                    <a:pt x="88" y="215"/>
                    <a:pt x="91" y="213"/>
                    <a:pt x="93" y="211"/>
                  </a:cubicBezTo>
                  <a:cubicBezTo>
                    <a:pt x="93" y="212"/>
                    <a:pt x="93" y="212"/>
                    <a:pt x="93" y="212"/>
                  </a:cubicBezTo>
                  <a:cubicBezTo>
                    <a:pt x="93" y="211"/>
                    <a:pt x="93" y="211"/>
                    <a:pt x="93" y="211"/>
                  </a:cubicBezTo>
                  <a:cubicBezTo>
                    <a:pt x="93" y="211"/>
                    <a:pt x="93" y="211"/>
                    <a:pt x="93" y="211"/>
                  </a:cubicBezTo>
                  <a:cubicBezTo>
                    <a:pt x="95" y="209"/>
                    <a:pt x="94" y="207"/>
                    <a:pt x="97" y="206"/>
                  </a:cubicBezTo>
                  <a:cubicBezTo>
                    <a:pt x="101" y="204"/>
                    <a:pt x="104" y="202"/>
                    <a:pt x="108" y="201"/>
                  </a:cubicBezTo>
                  <a:cubicBezTo>
                    <a:pt x="110" y="200"/>
                    <a:pt x="112" y="197"/>
                    <a:pt x="114" y="196"/>
                  </a:cubicBezTo>
                  <a:cubicBezTo>
                    <a:pt x="116" y="196"/>
                    <a:pt x="118" y="195"/>
                    <a:pt x="121" y="195"/>
                  </a:cubicBezTo>
                  <a:cubicBezTo>
                    <a:pt x="122" y="195"/>
                    <a:pt x="123" y="195"/>
                    <a:pt x="124" y="195"/>
                  </a:cubicBezTo>
                  <a:cubicBezTo>
                    <a:pt x="125" y="195"/>
                    <a:pt x="126" y="196"/>
                    <a:pt x="127" y="196"/>
                  </a:cubicBezTo>
                  <a:cubicBezTo>
                    <a:pt x="128" y="196"/>
                    <a:pt x="128" y="196"/>
                    <a:pt x="128" y="196"/>
                  </a:cubicBezTo>
                  <a:cubicBezTo>
                    <a:pt x="132" y="195"/>
                    <a:pt x="136" y="195"/>
                    <a:pt x="140" y="195"/>
                  </a:cubicBezTo>
                  <a:cubicBezTo>
                    <a:pt x="142" y="195"/>
                    <a:pt x="145" y="195"/>
                    <a:pt x="147" y="195"/>
                  </a:cubicBezTo>
                  <a:cubicBezTo>
                    <a:pt x="149" y="196"/>
                    <a:pt x="151" y="197"/>
                    <a:pt x="153" y="197"/>
                  </a:cubicBezTo>
                  <a:cubicBezTo>
                    <a:pt x="153" y="197"/>
                    <a:pt x="153" y="197"/>
                    <a:pt x="154" y="197"/>
                  </a:cubicBezTo>
                  <a:cubicBezTo>
                    <a:pt x="156" y="197"/>
                    <a:pt x="159" y="195"/>
                    <a:pt x="162" y="194"/>
                  </a:cubicBezTo>
                  <a:cubicBezTo>
                    <a:pt x="163" y="194"/>
                    <a:pt x="163" y="193"/>
                    <a:pt x="164" y="193"/>
                  </a:cubicBezTo>
                  <a:cubicBezTo>
                    <a:pt x="165" y="193"/>
                    <a:pt x="164" y="194"/>
                    <a:pt x="166" y="195"/>
                  </a:cubicBezTo>
                  <a:cubicBezTo>
                    <a:pt x="166" y="195"/>
                    <a:pt x="167" y="195"/>
                    <a:pt x="167" y="195"/>
                  </a:cubicBezTo>
                  <a:cubicBezTo>
                    <a:pt x="170" y="195"/>
                    <a:pt x="171" y="191"/>
                    <a:pt x="173" y="189"/>
                  </a:cubicBezTo>
                  <a:cubicBezTo>
                    <a:pt x="175" y="185"/>
                    <a:pt x="177" y="182"/>
                    <a:pt x="180" y="178"/>
                  </a:cubicBezTo>
                  <a:cubicBezTo>
                    <a:pt x="181" y="177"/>
                    <a:pt x="187" y="176"/>
                    <a:pt x="189" y="175"/>
                  </a:cubicBezTo>
                  <a:cubicBezTo>
                    <a:pt x="191" y="174"/>
                    <a:pt x="193" y="173"/>
                    <a:pt x="195" y="173"/>
                  </a:cubicBezTo>
                  <a:cubicBezTo>
                    <a:pt x="195" y="173"/>
                    <a:pt x="195" y="173"/>
                    <a:pt x="195" y="173"/>
                  </a:cubicBezTo>
                  <a:cubicBezTo>
                    <a:pt x="195" y="173"/>
                    <a:pt x="195" y="173"/>
                    <a:pt x="196" y="173"/>
                  </a:cubicBezTo>
                  <a:cubicBezTo>
                    <a:pt x="196" y="173"/>
                    <a:pt x="196" y="173"/>
                    <a:pt x="196" y="173"/>
                  </a:cubicBezTo>
                  <a:cubicBezTo>
                    <a:pt x="196" y="173"/>
                    <a:pt x="196" y="173"/>
                    <a:pt x="196" y="173"/>
                  </a:cubicBezTo>
                  <a:cubicBezTo>
                    <a:pt x="198" y="173"/>
                    <a:pt x="199" y="173"/>
                    <a:pt x="201" y="172"/>
                  </a:cubicBezTo>
                  <a:cubicBezTo>
                    <a:pt x="200" y="172"/>
                    <a:pt x="198" y="170"/>
                    <a:pt x="198" y="169"/>
                  </a:cubicBezTo>
                  <a:cubicBezTo>
                    <a:pt x="199" y="167"/>
                    <a:pt x="201" y="164"/>
                    <a:pt x="202" y="162"/>
                  </a:cubicBezTo>
                  <a:cubicBezTo>
                    <a:pt x="202" y="160"/>
                    <a:pt x="203" y="158"/>
                    <a:pt x="204" y="157"/>
                  </a:cubicBezTo>
                  <a:cubicBezTo>
                    <a:pt x="208" y="149"/>
                    <a:pt x="217" y="145"/>
                    <a:pt x="224" y="141"/>
                  </a:cubicBezTo>
                  <a:cubicBezTo>
                    <a:pt x="217" y="137"/>
                    <a:pt x="212" y="132"/>
                    <a:pt x="211" y="124"/>
                  </a:cubicBezTo>
                  <a:cubicBezTo>
                    <a:pt x="210" y="118"/>
                    <a:pt x="216" y="110"/>
                    <a:pt x="220" y="106"/>
                  </a:cubicBezTo>
                  <a:cubicBezTo>
                    <a:pt x="225" y="99"/>
                    <a:pt x="232" y="92"/>
                    <a:pt x="236" y="84"/>
                  </a:cubicBezTo>
                  <a:cubicBezTo>
                    <a:pt x="235" y="84"/>
                    <a:pt x="235" y="84"/>
                    <a:pt x="235" y="84"/>
                  </a:cubicBezTo>
                  <a:cubicBezTo>
                    <a:pt x="236" y="83"/>
                    <a:pt x="238" y="79"/>
                    <a:pt x="240" y="78"/>
                  </a:cubicBezTo>
                  <a:cubicBezTo>
                    <a:pt x="245" y="75"/>
                    <a:pt x="252" y="74"/>
                    <a:pt x="257" y="73"/>
                  </a:cubicBezTo>
                  <a:cubicBezTo>
                    <a:pt x="259" y="72"/>
                    <a:pt x="261" y="71"/>
                    <a:pt x="264" y="70"/>
                  </a:cubicBezTo>
                  <a:cubicBezTo>
                    <a:pt x="263" y="69"/>
                    <a:pt x="263" y="68"/>
                    <a:pt x="263" y="68"/>
                  </a:cubicBezTo>
                  <a:cubicBezTo>
                    <a:pt x="263" y="64"/>
                    <a:pt x="266" y="61"/>
                    <a:pt x="270" y="61"/>
                  </a:cubicBezTo>
                  <a:cubicBezTo>
                    <a:pt x="272" y="61"/>
                    <a:pt x="274" y="62"/>
                    <a:pt x="275" y="64"/>
                  </a:cubicBezTo>
                  <a:cubicBezTo>
                    <a:pt x="276" y="64"/>
                    <a:pt x="276" y="64"/>
                    <a:pt x="277" y="63"/>
                  </a:cubicBezTo>
                  <a:cubicBezTo>
                    <a:pt x="281" y="61"/>
                    <a:pt x="290" y="58"/>
                    <a:pt x="293" y="54"/>
                  </a:cubicBezTo>
                  <a:cubicBezTo>
                    <a:pt x="294" y="51"/>
                    <a:pt x="292" y="49"/>
                    <a:pt x="292" y="46"/>
                  </a:cubicBezTo>
                  <a:cubicBezTo>
                    <a:pt x="292" y="43"/>
                    <a:pt x="294" y="43"/>
                    <a:pt x="296" y="41"/>
                  </a:cubicBezTo>
                  <a:cubicBezTo>
                    <a:pt x="296" y="41"/>
                    <a:pt x="295" y="40"/>
                    <a:pt x="295" y="40"/>
                  </a:cubicBezTo>
                  <a:cubicBezTo>
                    <a:pt x="295" y="40"/>
                    <a:pt x="295" y="40"/>
                    <a:pt x="295" y="40"/>
                  </a:cubicBezTo>
                  <a:cubicBezTo>
                    <a:pt x="292" y="41"/>
                    <a:pt x="292" y="41"/>
                    <a:pt x="292" y="41"/>
                  </a:cubicBezTo>
                  <a:cubicBezTo>
                    <a:pt x="292" y="41"/>
                    <a:pt x="292" y="41"/>
                    <a:pt x="292" y="41"/>
                  </a:cubicBezTo>
                  <a:cubicBezTo>
                    <a:pt x="283" y="43"/>
                    <a:pt x="283" y="43"/>
                    <a:pt x="283" y="43"/>
                  </a:cubicBezTo>
                  <a:cubicBezTo>
                    <a:pt x="282" y="43"/>
                    <a:pt x="282" y="43"/>
                    <a:pt x="281" y="43"/>
                  </a:cubicBezTo>
                  <a:cubicBezTo>
                    <a:pt x="280" y="43"/>
                    <a:pt x="280" y="43"/>
                    <a:pt x="280" y="43"/>
                  </a:cubicBezTo>
                  <a:cubicBezTo>
                    <a:pt x="280" y="43"/>
                    <a:pt x="279" y="44"/>
                    <a:pt x="278" y="44"/>
                  </a:cubicBezTo>
                  <a:cubicBezTo>
                    <a:pt x="277" y="44"/>
                    <a:pt x="276" y="43"/>
                    <a:pt x="275" y="43"/>
                  </a:cubicBezTo>
                  <a:cubicBezTo>
                    <a:pt x="271" y="43"/>
                    <a:pt x="267" y="42"/>
                    <a:pt x="264" y="41"/>
                  </a:cubicBezTo>
                  <a:cubicBezTo>
                    <a:pt x="263" y="41"/>
                    <a:pt x="263" y="41"/>
                    <a:pt x="263" y="41"/>
                  </a:cubicBezTo>
                  <a:cubicBezTo>
                    <a:pt x="262" y="41"/>
                    <a:pt x="262" y="41"/>
                    <a:pt x="262" y="41"/>
                  </a:cubicBezTo>
                  <a:cubicBezTo>
                    <a:pt x="259" y="40"/>
                    <a:pt x="258" y="39"/>
                    <a:pt x="257" y="37"/>
                  </a:cubicBezTo>
                  <a:cubicBezTo>
                    <a:pt x="257" y="36"/>
                    <a:pt x="257" y="36"/>
                    <a:pt x="257" y="36"/>
                  </a:cubicBezTo>
                  <a:cubicBezTo>
                    <a:pt x="252" y="36"/>
                    <a:pt x="248" y="34"/>
                    <a:pt x="243" y="32"/>
                  </a:cubicBezTo>
                  <a:cubicBezTo>
                    <a:pt x="243" y="32"/>
                    <a:pt x="242" y="32"/>
                    <a:pt x="241" y="31"/>
                  </a:cubicBezTo>
                  <a:cubicBezTo>
                    <a:pt x="239" y="30"/>
                    <a:pt x="239" y="30"/>
                    <a:pt x="239" y="30"/>
                  </a:cubicBezTo>
                  <a:cubicBezTo>
                    <a:pt x="238" y="30"/>
                    <a:pt x="238" y="30"/>
                    <a:pt x="237" y="29"/>
                  </a:cubicBezTo>
                  <a:cubicBezTo>
                    <a:pt x="237" y="30"/>
                    <a:pt x="237" y="30"/>
                    <a:pt x="237" y="30"/>
                  </a:cubicBezTo>
                  <a:cubicBezTo>
                    <a:pt x="237" y="31"/>
                    <a:pt x="237" y="31"/>
                    <a:pt x="237" y="31"/>
                  </a:cubicBezTo>
                  <a:cubicBezTo>
                    <a:pt x="237" y="34"/>
                    <a:pt x="237" y="34"/>
                    <a:pt x="237" y="34"/>
                  </a:cubicBezTo>
                  <a:cubicBezTo>
                    <a:pt x="234" y="34"/>
                    <a:pt x="234" y="34"/>
                    <a:pt x="234" y="34"/>
                  </a:cubicBezTo>
                  <a:cubicBezTo>
                    <a:pt x="232" y="34"/>
                    <a:pt x="231" y="34"/>
                    <a:pt x="229" y="34"/>
                  </a:cubicBezTo>
                  <a:cubicBezTo>
                    <a:pt x="227" y="34"/>
                    <a:pt x="225" y="34"/>
                    <a:pt x="223" y="34"/>
                  </a:cubicBezTo>
                  <a:cubicBezTo>
                    <a:pt x="219" y="34"/>
                    <a:pt x="219" y="34"/>
                    <a:pt x="219" y="34"/>
                  </a:cubicBezTo>
                  <a:cubicBezTo>
                    <a:pt x="219" y="34"/>
                    <a:pt x="219" y="34"/>
                    <a:pt x="218" y="34"/>
                  </a:cubicBezTo>
                  <a:cubicBezTo>
                    <a:pt x="218" y="34"/>
                    <a:pt x="218" y="34"/>
                    <a:pt x="218" y="34"/>
                  </a:cubicBezTo>
                  <a:cubicBezTo>
                    <a:pt x="216" y="33"/>
                    <a:pt x="216" y="33"/>
                    <a:pt x="215" y="33"/>
                  </a:cubicBezTo>
                  <a:cubicBezTo>
                    <a:pt x="214" y="32"/>
                    <a:pt x="213" y="31"/>
                    <a:pt x="212" y="31"/>
                  </a:cubicBezTo>
                  <a:cubicBezTo>
                    <a:pt x="212" y="30"/>
                    <a:pt x="211" y="30"/>
                    <a:pt x="211" y="30"/>
                  </a:cubicBezTo>
                  <a:cubicBezTo>
                    <a:pt x="210" y="30"/>
                    <a:pt x="210" y="30"/>
                    <a:pt x="210" y="30"/>
                  </a:cubicBezTo>
                  <a:cubicBezTo>
                    <a:pt x="210" y="30"/>
                    <a:pt x="210" y="30"/>
                    <a:pt x="209" y="30"/>
                  </a:cubicBezTo>
                  <a:cubicBezTo>
                    <a:pt x="208" y="30"/>
                    <a:pt x="207" y="30"/>
                    <a:pt x="206" y="30"/>
                  </a:cubicBezTo>
                  <a:cubicBezTo>
                    <a:pt x="204" y="30"/>
                    <a:pt x="203" y="29"/>
                    <a:pt x="202" y="28"/>
                  </a:cubicBezTo>
                  <a:cubicBezTo>
                    <a:pt x="201" y="28"/>
                    <a:pt x="201" y="27"/>
                    <a:pt x="200" y="27"/>
                  </a:cubicBezTo>
                  <a:cubicBezTo>
                    <a:pt x="199" y="26"/>
                    <a:pt x="199" y="26"/>
                    <a:pt x="199" y="26"/>
                  </a:cubicBezTo>
                  <a:cubicBezTo>
                    <a:pt x="199" y="26"/>
                    <a:pt x="199" y="26"/>
                    <a:pt x="198" y="26"/>
                  </a:cubicBezTo>
                  <a:cubicBezTo>
                    <a:pt x="197" y="26"/>
                    <a:pt x="195" y="25"/>
                    <a:pt x="193" y="25"/>
                  </a:cubicBezTo>
                  <a:cubicBezTo>
                    <a:pt x="192" y="25"/>
                    <a:pt x="191" y="25"/>
                    <a:pt x="190" y="24"/>
                  </a:cubicBezTo>
                  <a:cubicBezTo>
                    <a:pt x="190" y="24"/>
                    <a:pt x="189" y="24"/>
                    <a:pt x="189" y="24"/>
                  </a:cubicBezTo>
                  <a:cubicBezTo>
                    <a:pt x="188" y="24"/>
                    <a:pt x="188" y="24"/>
                    <a:pt x="188" y="24"/>
                  </a:cubicBezTo>
                  <a:cubicBezTo>
                    <a:pt x="187" y="24"/>
                    <a:pt x="185" y="24"/>
                    <a:pt x="184" y="23"/>
                  </a:cubicBezTo>
                  <a:cubicBezTo>
                    <a:pt x="181" y="21"/>
                    <a:pt x="182" y="18"/>
                    <a:pt x="183" y="16"/>
                  </a:cubicBezTo>
                  <a:cubicBezTo>
                    <a:pt x="183" y="16"/>
                    <a:pt x="183" y="16"/>
                    <a:pt x="183" y="16"/>
                  </a:cubicBezTo>
                  <a:cubicBezTo>
                    <a:pt x="182" y="17"/>
                    <a:pt x="182" y="17"/>
                    <a:pt x="182" y="17"/>
                  </a:cubicBezTo>
                  <a:cubicBezTo>
                    <a:pt x="181" y="17"/>
                    <a:pt x="181" y="17"/>
                    <a:pt x="181" y="17"/>
                  </a:cubicBezTo>
                  <a:cubicBezTo>
                    <a:pt x="180" y="17"/>
                    <a:pt x="180" y="17"/>
                    <a:pt x="180" y="17"/>
                  </a:cubicBezTo>
                  <a:cubicBezTo>
                    <a:pt x="177" y="16"/>
                    <a:pt x="176" y="15"/>
                    <a:pt x="174" y="14"/>
                  </a:cubicBezTo>
                  <a:cubicBezTo>
                    <a:pt x="174" y="13"/>
                    <a:pt x="174" y="13"/>
                    <a:pt x="174" y="13"/>
                  </a:cubicBezTo>
                  <a:cubicBezTo>
                    <a:pt x="175" y="12"/>
                    <a:pt x="175" y="12"/>
                    <a:pt x="175" y="12"/>
                  </a:cubicBezTo>
                  <a:cubicBezTo>
                    <a:pt x="174" y="12"/>
                    <a:pt x="174" y="11"/>
                    <a:pt x="173" y="11"/>
                  </a:cubicBezTo>
                  <a:cubicBezTo>
                    <a:pt x="171" y="11"/>
                    <a:pt x="169" y="12"/>
                    <a:pt x="168" y="12"/>
                  </a:cubicBezTo>
                  <a:cubicBezTo>
                    <a:pt x="166" y="12"/>
                    <a:pt x="164" y="13"/>
                    <a:pt x="163" y="13"/>
                  </a:cubicBezTo>
                  <a:cubicBezTo>
                    <a:pt x="162" y="13"/>
                    <a:pt x="162" y="13"/>
                    <a:pt x="161" y="13"/>
                  </a:cubicBezTo>
                  <a:cubicBezTo>
                    <a:pt x="157" y="12"/>
                    <a:pt x="155" y="10"/>
                    <a:pt x="152" y="10"/>
                  </a:cubicBezTo>
                  <a:cubicBezTo>
                    <a:pt x="151" y="10"/>
                    <a:pt x="150" y="10"/>
                    <a:pt x="149" y="10"/>
                  </a:cubicBezTo>
                  <a:cubicBezTo>
                    <a:pt x="147" y="11"/>
                    <a:pt x="146" y="11"/>
                    <a:pt x="145" y="11"/>
                  </a:cubicBezTo>
                  <a:cubicBezTo>
                    <a:pt x="143" y="11"/>
                    <a:pt x="142" y="11"/>
                    <a:pt x="139" y="9"/>
                  </a:cubicBezTo>
                  <a:cubicBezTo>
                    <a:pt x="138" y="9"/>
                    <a:pt x="137" y="8"/>
                    <a:pt x="136" y="8"/>
                  </a:cubicBezTo>
                  <a:cubicBezTo>
                    <a:pt x="135" y="8"/>
                    <a:pt x="134" y="8"/>
                    <a:pt x="133" y="8"/>
                  </a:cubicBezTo>
                  <a:cubicBezTo>
                    <a:pt x="129" y="8"/>
                    <a:pt x="126" y="9"/>
                    <a:pt x="122" y="9"/>
                  </a:cubicBezTo>
                  <a:cubicBezTo>
                    <a:pt x="120" y="9"/>
                    <a:pt x="116" y="11"/>
                    <a:pt x="113" y="11"/>
                  </a:cubicBezTo>
                  <a:cubicBezTo>
                    <a:pt x="113" y="11"/>
                    <a:pt x="112" y="11"/>
                    <a:pt x="112" y="10"/>
                  </a:cubicBezTo>
                  <a:cubicBezTo>
                    <a:pt x="108" y="10"/>
                    <a:pt x="104" y="9"/>
                    <a:pt x="100" y="8"/>
                  </a:cubicBezTo>
                  <a:cubicBezTo>
                    <a:pt x="96" y="7"/>
                    <a:pt x="91" y="6"/>
                    <a:pt x="87" y="6"/>
                  </a:cubicBezTo>
                  <a:cubicBezTo>
                    <a:pt x="83" y="5"/>
                    <a:pt x="83" y="4"/>
                    <a:pt x="81" y="3"/>
                  </a:cubicBezTo>
                  <a:cubicBezTo>
                    <a:pt x="81" y="3"/>
                    <a:pt x="80" y="3"/>
                    <a:pt x="80" y="3"/>
                  </a:cubicBezTo>
                  <a:cubicBezTo>
                    <a:pt x="79" y="3"/>
                    <a:pt x="77" y="4"/>
                    <a:pt x="76" y="4"/>
                  </a:cubicBezTo>
                  <a:cubicBezTo>
                    <a:pt x="71" y="5"/>
                    <a:pt x="66" y="6"/>
                    <a:pt x="62" y="6"/>
                  </a:cubicBezTo>
                  <a:cubicBezTo>
                    <a:pt x="60" y="7"/>
                    <a:pt x="56" y="8"/>
                    <a:pt x="54" y="8"/>
                  </a:cubicBezTo>
                  <a:cubicBezTo>
                    <a:pt x="53" y="8"/>
                    <a:pt x="53" y="8"/>
                    <a:pt x="53" y="8"/>
                  </a:cubicBezTo>
                  <a:cubicBezTo>
                    <a:pt x="49" y="7"/>
                    <a:pt x="46" y="4"/>
                    <a:pt x="43" y="2"/>
                  </a:cubicBezTo>
                  <a:cubicBezTo>
                    <a:pt x="42" y="1"/>
                    <a:pt x="41" y="1"/>
                    <a:pt x="39" y="1"/>
                  </a:cubicBezTo>
                  <a:cubicBezTo>
                    <a:pt x="38" y="1"/>
                    <a:pt x="36" y="2"/>
                    <a:pt x="34" y="2"/>
                  </a:cubicBezTo>
                  <a:cubicBezTo>
                    <a:pt x="34" y="3"/>
                    <a:pt x="34" y="3"/>
                    <a:pt x="33" y="3"/>
                  </a:cubicBezTo>
                  <a:cubicBezTo>
                    <a:pt x="32" y="3"/>
                    <a:pt x="33" y="1"/>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1" name="Freeform 250">
              <a:extLst>
                <a:ext uri="{FF2B5EF4-FFF2-40B4-BE49-F238E27FC236}">
                  <a16:creationId xmlns:a16="http://schemas.microsoft.com/office/drawing/2014/main" id="{9BD6B1FE-5208-4909-BF52-97367F5D0DE0}"/>
                </a:ext>
              </a:extLst>
            </p:cNvPr>
            <p:cNvSpPr>
              <a:spLocks/>
            </p:cNvSpPr>
            <p:nvPr/>
          </p:nvSpPr>
          <p:spPr bwMode="auto">
            <a:xfrm>
              <a:off x="3569" y="-27"/>
              <a:ext cx="512" cy="269"/>
            </a:xfrm>
            <a:custGeom>
              <a:avLst/>
              <a:gdLst>
                <a:gd name="T0" fmla="*/ 13 w 217"/>
                <a:gd name="T1" fmla="*/ 2 h 114"/>
                <a:gd name="T2" fmla="*/ 12 w 217"/>
                <a:gd name="T3" fmla="*/ 17 h 114"/>
                <a:gd name="T4" fmla="*/ 13 w 217"/>
                <a:gd name="T5" fmla="*/ 25 h 114"/>
                <a:gd name="T6" fmla="*/ 15 w 217"/>
                <a:gd name="T7" fmla="*/ 49 h 114"/>
                <a:gd name="T8" fmla="*/ 1 w 217"/>
                <a:gd name="T9" fmla="*/ 84 h 114"/>
                <a:gd name="T10" fmla="*/ 4 w 217"/>
                <a:gd name="T11" fmla="*/ 87 h 114"/>
                <a:gd name="T12" fmla="*/ 10 w 217"/>
                <a:gd name="T13" fmla="*/ 94 h 114"/>
                <a:gd name="T14" fmla="*/ 15 w 217"/>
                <a:gd name="T15" fmla="*/ 95 h 114"/>
                <a:gd name="T16" fmla="*/ 24 w 217"/>
                <a:gd name="T17" fmla="*/ 98 h 114"/>
                <a:gd name="T18" fmla="*/ 28 w 217"/>
                <a:gd name="T19" fmla="*/ 101 h 114"/>
                <a:gd name="T20" fmla="*/ 32 w 217"/>
                <a:gd name="T21" fmla="*/ 100 h 114"/>
                <a:gd name="T22" fmla="*/ 37 w 217"/>
                <a:gd name="T23" fmla="*/ 102 h 114"/>
                <a:gd name="T24" fmla="*/ 44 w 217"/>
                <a:gd name="T25" fmla="*/ 104 h 114"/>
                <a:gd name="T26" fmla="*/ 54 w 217"/>
                <a:gd name="T27" fmla="*/ 100 h 114"/>
                <a:gd name="T28" fmla="*/ 63 w 217"/>
                <a:gd name="T29" fmla="*/ 101 h 114"/>
                <a:gd name="T30" fmla="*/ 82 w 217"/>
                <a:gd name="T31" fmla="*/ 107 h 114"/>
                <a:gd name="T32" fmla="*/ 85 w 217"/>
                <a:gd name="T33" fmla="*/ 111 h 114"/>
                <a:gd name="T34" fmla="*/ 97 w 217"/>
                <a:gd name="T35" fmla="*/ 114 h 114"/>
                <a:gd name="T36" fmla="*/ 101 w 217"/>
                <a:gd name="T37" fmla="*/ 114 h 114"/>
                <a:gd name="T38" fmla="*/ 111 w 217"/>
                <a:gd name="T39" fmla="*/ 103 h 114"/>
                <a:gd name="T40" fmla="*/ 130 w 217"/>
                <a:gd name="T41" fmla="*/ 84 h 114"/>
                <a:gd name="T42" fmla="*/ 143 w 217"/>
                <a:gd name="T43" fmla="*/ 84 h 114"/>
                <a:gd name="T44" fmla="*/ 147 w 217"/>
                <a:gd name="T45" fmla="*/ 84 h 114"/>
                <a:gd name="T46" fmla="*/ 150 w 217"/>
                <a:gd name="T47" fmla="*/ 84 h 114"/>
                <a:gd name="T48" fmla="*/ 158 w 217"/>
                <a:gd name="T49" fmla="*/ 85 h 114"/>
                <a:gd name="T50" fmla="*/ 163 w 217"/>
                <a:gd name="T51" fmla="*/ 87 h 114"/>
                <a:gd name="T52" fmla="*/ 171 w 217"/>
                <a:gd name="T53" fmla="*/ 92 h 114"/>
                <a:gd name="T54" fmla="*/ 175 w 217"/>
                <a:gd name="T55" fmla="*/ 95 h 114"/>
                <a:gd name="T56" fmla="*/ 182 w 217"/>
                <a:gd name="T57" fmla="*/ 95 h 114"/>
                <a:gd name="T58" fmla="*/ 201 w 217"/>
                <a:gd name="T59" fmla="*/ 85 h 114"/>
                <a:gd name="T60" fmla="*/ 215 w 217"/>
                <a:gd name="T61" fmla="*/ 76 h 114"/>
                <a:gd name="T62" fmla="*/ 216 w 217"/>
                <a:gd name="T63" fmla="*/ 71 h 114"/>
                <a:gd name="T64" fmla="*/ 202 w 217"/>
                <a:gd name="T65" fmla="*/ 62 h 114"/>
                <a:gd name="T66" fmla="*/ 190 w 217"/>
                <a:gd name="T67" fmla="*/ 35 h 114"/>
                <a:gd name="T68" fmla="*/ 204 w 217"/>
                <a:gd name="T69" fmla="*/ 31 h 114"/>
                <a:gd name="T70" fmla="*/ 203 w 217"/>
                <a:gd name="T71" fmla="*/ 28 h 114"/>
                <a:gd name="T72" fmla="*/ 201 w 217"/>
                <a:gd name="T73" fmla="*/ 13 h 114"/>
                <a:gd name="T74" fmla="*/ 200 w 217"/>
                <a:gd name="T75" fmla="*/ 11 h 114"/>
                <a:gd name="T76" fmla="*/ 197 w 217"/>
                <a:gd name="T77" fmla="*/ 1 h 114"/>
                <a:gd name="T78" fmla="*/ 195 w 217"/>
                <a:gd name="T79" fmla="*/ 0 h 114"/>
                <a:gd name="T80" fmla="*/ 190 w 217"/>
                <a:gd name="T81" fmla="*/ 2 h 114"/>
                <a:gd name="T82" fmla="*/ 185 w 217"/>
                <a:gd name="T83" fmla="*/ 6 h 114"/>
                <a:gd name="T84" fmla="*/ 181 w 217"/>
                <a:gd name="T85" fmla="*/ 10 h 114"/>
                <a:gd name="T86" fmla="*/ 178 w 217"/>
                <a:gd name="T87" fmla="*/ 4 h 114"/>
                <a:gd name="T88" fmla="*/ 180 w 217"/>
                <a:gd name="T89" fmla="*/ 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7" h="114">
                  <a:moveTo>
                    <a:pt x="180" y="0"/>
                  </a:moveTo>
                  <a:cubicBezTo>
                    <a:pt x="4" y="0"/>
                    <a:pt x="4" y="0"/>
                    <a:pt x="4" y="0"/>
                  </a:cubicBezTo>
                  <a:cubicBezTo>
                    <a:pt x="7" y="0"/>
                    <a:pt x="11" y="1"/>
                    <a:pt x="13" y="2"/>
                  </a:cubicBezTo>
                  <a:cubicBezTo>
                    <a:pt x="10" y="6"/>
                    <a:pt x="11" y="7"/>
                    <a:pt x="13" y="13"/>
                  </a:cubicBezTo>
                  <a:cubicBezTo>
                    <a:pt x="13" y="15"/>
                    <a:pt x="12" y="15"/>
                    <a:pt x="13" y="18"/>
                  </a:cubicBezTo>
                  <a:cubicBezTo>
                    <a:pt x="13" y="17"/>
                    <a:pt x="12" y="17"/>
                    <a:pt x="12" y="17"/>
                  </a:cubicBezTo>
                  <a:cubicBezTo>
                    <a:pt x="11" y="17"/>
                    <a:pt x="11" y="17"/>
                    <a:pt x="10" y="18"/>
                  </a:cubicBezTo>
                  <a:cubicBezTo>
                    <a:pt x="10" y="19"/>
                    <a:pt x="11" y="22"/>
                    <a:pt x="14" y="24"/>
                  </a:cubicBezTo>
                  <a:cubicBezTo>
                    <a:pt x="14" y="24"/>
                    <a:pt x="13" y="24"/>
                    <a:pt x="13" y="25"/>
                  </a:cubicBezTo>
                  <a:cubicBezTo>
                    <a:pt x="11" y="28"/>
                    <a:pt x="13" y="34"/>
                    <a:pt x="13" y="37"/>
                  </a:cubicBezTo>
                  <a:cubicBezTo>
                    <a:pt x="13" y="40"/>
                    <a:pt x="13" y="44"/>
                    <a:pt x="13" y="47"/>
                  </a:cubicBezTo>
                  <a:cubicBezTo>
                    <a:pt x="13" y="48"/>
                    <a:pt x="15" y="49"/>
                    <a:pt x="15" y="49"/>
                  </a:cubicBezTo>
                  <a:cubicBezTo>
                    <a:pt x="14" y="52"/>
                    <a:pt x="11" y="53"/>
                    <a:pt x="10" y="55"/>
                  </a:cubicBezTo>
                  <a:cubicBezTo>
                    <a:pt x="9" y="58"/>
                    <a:pt x="8" y="61"/>
                    <a:pt x="8" y="64"/>
                  </a:cubicBezTo>
                  <a:cubicBezTo>
                    <a:pt x="7" y="70"/>
                    <a:pt x="6" y="80"/>
                    <a:pt x="1" y="84"/>
                  </a:cubicBezTo>
                  <a:cubicBezTo>
                    <a:pt x="1" y="85"/>
                    <a:pt x="0" y="85"/>
                    <a:pt x="0" y="86"/>
                  </a:cubicBezTo>
                  <a:cubicBezTo>
                    <a:pt x="0" y="86"/>
                    <a:pt x="1" y="87"/>
                    <a:pt x="1" y="87"/>
                  </a:cubicBezTo>
                  <a:cubicBezTo>
                    <a:pt x="2" y="87"/>
                    <a:pt x="3" y="87"/>
                    <a:pt x="4" y="87"/>
                  </a:cubicBezTo>
                  <a:cubicBezTo>
                    <a:pt x="6" y="87"/>
                    <a:pt x="8" y="88"/>
                    <a:pt x="9" y="90"/>
                  </a:cubicBezTo>
                  <a:cubicBezTo>
                    <a:pt x="10" y="92"/>
                    <a:pt x="10" y="93"/>
                    <a:pt x="9" y="94"/>
                  </a:cubicBezTo>
                  <a:cubicBezTo>
                    <a:pt x="10" y="94"/>
                    <a:pt x="10" y="94"/>
                    <a:pt x="10" y="94"/>
                  </a:cubicBezTo>
                  <a:cubicBezTo>
                    <a:pt x="11" y="95"/>
                    <a:pt x="11" y="95"/>
                    <a:pt x="12" y="95"/>
                  </a:cubicBezTo>
                  <a:cubicBezTo>
                    <a:pt x="13" y="95"/>
                    <a:pt x="14" y="95"/>
                    <a:pt x="15" y="95"/>
                  </a:cubicBezTo>
                  <a:cubicBezTo>
                    <a:pt x="15" y="95"/>
                    <a:pt x="15" y="95"/>
                    <a:pt x="15" y="95"/>
                  </a:cubicBezTo>
                  <a:cubicBezTo>
                    <a:pt x="17" y="96"/>
                    <a:pt x="19" y="96"/>
                    <a:pt x="21" y="97"/>
                  </a:cubicBezTo>
                  <a:cubicBezTo>
                    <a:pt x="22" y="97"/>
                    <a:pt x="22" y="97"/>
                    <a:pt x="23" y="97"/>
                  </a:cubicBezTo>
                  <a:cubicBezTo>
                    <a:pt x="24" y="98"/>
                    <a:pt x="24" y="98"/>
                    <a:pt x="24" y="98"/>
                  </a:cubicBezTo>
                  <a:cubicBezTo>
                    <a:pt x="25" y="98"/>
                    <a:pt x="26" y="99"/>
                    <a:pt x="27" y="100"/>
                  </a:cubicBezTo>
                  <a:cubicBezTo>
                    <a:pt x="27" y="101"/>
                    <a:pt x="27" y="101"/>
                    <a:pt x="27" y="101"/>
                  </a:cubicBezTo>
                  <a:cubicBezTo>
                    <a:pt x="27" y="101"/>
                    <a:pt x="28" y="101"/>
                    <a:pt x="28" y="101"/>
                  </a:cubicBezTo>
                  <a:cubicBezTo>
                    <a:pt x="28" y="101"/>
                    <a:pt x="28" y="100"/>
                    <a:pt x="29" y="100"/>
                  </a:cubicBezTo>
                  <a:cubicBezTo>
                    <a:pt x="30" y="100"/>
                    <a:pt x="30" y="100"/>
                    <a:pt x="31" y="100"/>
                  </a:cubicBezTo>
                  <a:cubicBezTo>
                    <a:pt x="32" y="100"/>
                    <a:pt x="32" y="100"/>
                    <a:pt x="32" y="100"/>
                  </a:cubicBezTo>
                  <a:cubicBezTo>
                    <a:pt x="33" y="100"/>
                    <a:pt x="33" y="100"/>
                    <a:pt x="33" y="100"/>
                  </a:cubicBezTo>
                  <a:cubicBezTo>
                    <a:pt x="33" y="100"/>
                    <a:pt x="34" y="100"/>
                    <a:pt x="35" y="101"/>
                  </a:cubicBezTo>
                  <a:cubicBezTo>
                    <a:pt x="35" y="101"/>
                    <a:pt x="36" y="102"/>
                    <a:pt x="37" y="102"/>
                  </a:cubicBezTo>
                  <a:cubicBezTo>
                    <a:pt x="37" y="103"/>
                    <a:pt x="38" y="103"/>
                    <a:pt x="39" y="104"/>
                  </a:cubicBezTo>
                  <a:cubicBezTo>
                    <a:pt x="40" y="104"/>
                    <a:pt x="40" y="104"/>
                    <a:pt x="40" y="104"/>
                  </a:cubicBezTo>
                  <a:cubicBezTo>
                    <a:pt x="44" y="104"/>
                    <a:pt x="44" y="104"/>
                    <a:pt x="44" y="104"/>
                  </a:cubicBezTo>
                  <a:cubicBezTo>
                    <a:pt x="46" y="104"/>
                    <a:pt x="48" y="104"/>
                    <a:pt x="50" y="104"/>
                  </a:cubicBezTo>
                  <a:cubicBezTo>
                    <a:pt x="51" y="104"/>
                    <a:pt x="51" y="104"/>
                    <a:pt x="52" y="104"/>
                  </a:cubicBezTo>
                  <a:cubicBezTo>
                    <a:pt x="52" y="102"/>
                    <a:pt x="52" y="101"/>
                    <a:pt x="54" y="100"/>
                  </a:cubicBezTo>
                  <a:cubicBezTo>
                    <a:pt x="54" y="100"/>
                    <a:pt x="55" y="99"/>
                    <a:pt x="56" y="99"/>
                  </a:cubicBezTo>
                  <a:cubicBezTo>
                    <a:pt x="57" y="99"/>
                    <a:pt x="57" y="99"/>
                    <a:pt x="58" y="99"/>
                  </a:cubicBezTo>
                  <a:cubicBezTo>
                    <a:pt x="59" y="99"/>
                    <a:pt x="61" y="100"/>
                    <a:pt x="63" y="101"/>
                  </a:cubicBezTo>
                  <a:cubicBezTo>
                    <a:pt x="65" y="102"/>
                    <a:pt x="65" y="102"/>
                    <a:pt x="65" y="102"/>
                  </a:cubicBezTo>
                  <a:cubicBezTo>
                    <a:pt x="65" y="102"/>
                    <a:pt x="66" y="103"/>
                    <a:pt x="67" y="103"/>
                  </a:cubicBezTo>
                  <a:cubicBezTo>
                    <a:pt x="72" y="105"/>
                    <a:pt x="76" y="107"/>
                    <a:pt x="82" y="107"/>
                  </a:cubicBezTo>
                  <a:cubicBezTo>
                    <a:pt x="86" y="108"/>
                    <a:pt x="86" y="108"/>
                    <a:pt x="86" y="108"/>
                  </a:cubicBezTo>
                  <a:cubicBezTo>
                    <a:pt x="84" y="111"/>
                    <a:pt x="84" y="111"/>
                    <a:pt x="84" y="111"/>
                  </a:cubicBezTo>
                  <a:cubicBezTo>
                    <a:pt x="85" y="111"/>
                    <a:pt x="85" y="111"/>
                    <a:pt x="85" y="111"/>
                  </a:cubicBezTo>
                  <a:cubicBezTo>
                    <a:pt x="85" y="111"/>
                    <a:pt x="85" y="111"/>
                    <a:pt x="85" y="111"/>
                  </a:cubicBezTo>
                  <a:cubicBezTo>
                    <a:pt x="86" y="111"/>
                    <a:pt x="86" y="112"/>
                    <a:pt x="87" y="112"/>
                  </a:cubicBezTo>
                  <a:cubicBezTo>
                    <a:pt x="88" y="112"/>
                    <a:pt x="91" y="113"/>
                    <a:pt x="97" y="114"/>
                  </a:cubicBezTo>
                  <a:cubicBezTo>
                    <a:pt x="98" y="114"/>
                    <a:pt x="98" y="114"/>
                    <a:pt x="99" y="114"/>
                  </a:cubicBezTo>
                  <a:cubicBezTo>
                    <a:pt x="100" y="114"/>
                    <a:pt x="100" y="114"/>
                    <a:pt x="101" y="114"/>
                  </a:cubicBezTo>
                  <a:cubicBezTo>
                    <a:pt x="101" y="114"/>
                    <a:pt x="101" y="114"/>
                    <a:pt x="101" y="114"/>
                  </a:cubicBezTo>
                  <a:cubicBezTo>
                    <a:pt x="102" y="114"/>
                    <a:pt x="102" y="113"/>
                    <a:pt x="103" y="113"/>
                  </a:cubicBezTo>
                  <a:cubicBezTo>
                    <a:pt x="113" y="111"/>
                    <a:pt x="113" y="111"/>
                    <a:pt x="113" y="111"/>
                  </a:cubicBezTo>
                  <a:cubicBezTo>
                    <a:pt x="112" y="108"/>
                    <a:pt x="112" y="106"/>
                    <a:pt x="111" y="103"/>
                  </a:cubicBezTo>
                  <a:cubicBezTo>
                    <a:pt x="111" y="102"/>
                    <a:pt x="109" y="102"/>
                    <a:pt x="110" y="101"/>
                  </a:cubicBezTo>
                  <a:cubicBezTo>
                    <a:pt x="111" y="99"/>
                    <a:pt x="112" y="98"/>
                    <a:pt x="113" y="96"/>
                  </a:cubicBezTo>
                  <a:cubicBezTo>
                    <a:pt x="117" y="89"/>
                    <a:pt x="124" y="88"/>
                    <a:pt x="130" y="84"/>
                  </a:cubicBezTo>
                  <a:cubicBezTo>
                    <a:pt x="132" y="83"/>
                    <a:pt x="133" y="82"/>
                    <a:pt x="135" y="82"/>
                  </a:cubicBezTo>
                  <a:cubicBezTo>
                    <a:pt x="136" y="82"/>
                    <a:pt x="136" y="82"/>
                    <a:pt x="137" y="83"/>
                  </a:cubicBezTo>
                  <a:cubicBezTo>
                    <a:pt x="139" y="84"/>
                    <a:pt x="141" y="84"/>
                    <a:pt x="143" y="84"/>
                  </a:cubicBezTo>
                  <a:cubicBezTo>
                    <a:pt x="144" y="84"/>
                    <a:pt x="144" y="84"/>
                    <a:pt x="145" y="84"/>
                  </a:cubicBezTo>
                  <a:cubicBezTo>
                    <a:pt x="145" y="84"/>
                    <a:pt x="146" y="84"/>
                    <a:pt x="147" y="84"/>
                  </a:cubicBezTo>
                  <a:cubicBezTo>
                    <a:pt x="147" y="84"/>
                    <a:pt x="147" y="84"/>
                    <a:pt x="147" y="84"/>
                  </a:cubicBezTo>
                  <a:cubicBezTo>
                    <a:pt x="147" y="84"/>
                    <a:pt x="148" y="84"/>
                    <a:pt x="148" y="84"/>
                  </a:cubicBezTo>
                  <a:cubicBezTo>
                    <a:pt x="149" y="84"/>
                    <a:pt x="149" y="84"/>
                    <a:pt x="150" y="84"/>
                  </a:cubicBezTo>
                  <a:cubicBezTo>
                    <a:pt x="150" y="84"/>
                    <a:pt x="150" y="84"/>
                    <a:pt x="150" y="84"/>
                  </a:cubicBezTo>
                  <a:cubicBezTo>
                    <a:pt x="151" y="84"/>
                    <a:pt x="150" y="85"/>
                    <a:pt x="151" y="86"/>
                  </a:cubicBezTo>
                  <a:cubicBezTo>
                    <a:pt x="152" y="86"/>
                    <a:pt x="153" y="86"/>
                    <a:pt x="153" y="86"/>
                  </a:cubicBezTo>
                  <a:cubicBezTo>
                    <a:pt x="155" y="86"/>
                    <a:pt x="156" y="86"/>
                    <a:pt x="158" y="85"/>
                  </a:cubicBezTo>
                  <a:cubicBezTo>
                    <a:pt x="157" y="87"/>
                    <a:pt x="158" y="88"/>
                    <a:pt x="159" y="88"/>
                  </a:cubicBezTo>
                  <a:cubicBezTo>
                    <a:pt x="160" y="88"/>
                    <a:pt x="160" y="88"/>
                    <a:pt x="161" y="88"/>
                  </a:cubicBezTo>
                  <a:cubicBezTo>
                    <a:pt x="162" y="87"/>
                    <a:pt x="162" y="87"/>
                    <a:pt x="163" y="87"/>
                  </a:cubicBezTo>
                  <a:cubicBezTo>
                    <a:pt x="164" y="87"/>
                    <a:pt x="164" y="87"/>
                    <a:pt x="164" y="88"/>
                  </a:cubicBezTo>
                  <a:cubicBezTo>
                    <a:pt x="165" y="88"/>
                    <a:pt x="164" y="91"/>
                    <a:pt x="165" y="91"/>
                  </a:cubicBezTo>
                  <a:cubicBezTo>
                    <a:pt x="167" y="92"/>
                    <a:pt x="169" y="92"/>
                    <a:pt x="171" y="92"/>
                  </a:cubicBezTo>
                  <a:cubicBezTo>
                    <a:pt x="173" y="92"/>
                    <a:pt x="174" y="93"/>
                    <a:pt x="175" y="94"/>
                  </a:cubicBezTo>
                  <a:cubicBezTo>
                    <a:pt x="176" y="94"/>
                    <a:pt x="176" y="95"/>
                    <a:pt x="175" y="95"/>
                  </a:cubicBezTo>
                  <a:cubicBezTo>
                    <a:pt x="175" y="95"/>
                    <a:pt x="175" y="95"/>
                    <a:pt x="175" y="95"/>
                  </a:cubicBezTo>
                  <a:cubicBezTo>
                    <a:pt x="176" y="96"/>
                    <a:pt x="177" y="96"/>
                    <a:pt x="177" y="96"/>
                  </a:cubicBezTo>
                  <a:cubicBezTo>
                    <a:pt x="178" y="96"/>
                    <a:pt x="179" y="96"/>
                    <a:pt x="180" y="95"/>
                  </a:cubicBezTo>
                  <a:cubicBezTo>
                    <a:pt x="181" y="95"/>
                    <a:pt x="182" y="95"/>
                    <a:pt x="182" y="95"/>
                  </a:cubicBezTo>
                  <a:cubicBezTo>
                    <a:pt x="183" y="95"/>
                    <a:pt x="184" y="95"/>
                    <a:pt x="183" y="96"/>
                  </a:cubicBezTo>
                  <a:cubicBezTo>
                    <a:pt x="183" y="96"/>
                    <a:pt x="183" y="96"/>
                    <a:pt x="183" y="96"/>
                  </a:cubicBezTo>
                  <a:cubicBezTo>
                    <a:pt x="190" y="96"/>
                    <a:pt x="196" y="89"/>
                    <a:pt x="201" y="85"/>
                  </a:cubicBezTo>
                  <a:cubicBezTo>
                    <a:pt x="203" y="83"/>
                    <a:pt x="203" y="82"/>
                    <a:pt x="207" y="82"/>
                  </a:cubicBezTo>
                  <a:cubicBezTo>
                    <a:pt x="209" y="82"/>
                    <a:pt x="211" y="79"/>
                    <a:pt x="213" y="78"/>
                  </a:cubicBezTo>
                  <a:cubicBezTo>
                    <a:pt x="213" y="77"/>
                    <a:pt x="214" y="76"/>
                    <a:pt x="215" y="76"/>
                  </a:cubicBezTo>
                  <a:cubicBezTo>
                    <a:pt x="214" y="75"/>
                    <a:pt x="214" y="75"/>
                    <a:pt x="214" y="75"/>
                  </a:cubicBezTo>
                  <a:cubicBezTo>
                    <a:pt x="214" y="74"/>
                    <a:pt x="214" y="74"/>
                    <a:pt x="214" y="74"/>
                  </a:cubicBezTo>
                  <a:cubicBezTo>
                    <a:pt x="215" y="73"/>
                    <a:pt x="215" y="72"/>
                    <a:pt x="216" y="71"/>
                  </a:cubicBezTo>
                  <a:cubicBezTo>
                    <a:pt x="216" y="70"/>
                    <a:pt x="216" y="70"/>
                    <a:pt x="216" y="70"/>
                  </a:cubicBezTo>
                  <a:cubicBezTo>
                    <a:pt x="216" y="69"/>
                    <a:pt x="217" y="69"/>
                    <a:pt x="217" y="68"/>
                  </a:cubicBezTo>
                  <a:cubicBezTo>
                    <a:pt x="202" y="62"/>
                    <a:pt x="202" y="62"/>
                    <a:pt x="202" y="62"/>
                  </a:cubicBezTo>
                  <a:cubicBezTo>
                    <a:pt x="200" y="61"/>
                    <a:pt x="199" y="59"/>
                    <a:pt x="199" y="57"/>
                  </a:cubicBezTo>
                  <a:cubicBezTo>
                    <a:pt x="198" y="54"/>
                    <a:pt x="200" y="50"/>
                    <a:pt x="201" y="48"/>
                  </a:cubicBezTo>
                  <a:cubicBezTo>
                    <a:pt x="190" y="35"/>
                    <a:pt x="190" y="35"/>
                    <a:pt x="190" y="35"/>
                  </a:cubicBezTo>
                  <a:cubicBezTo>
                    <a:pt x="194" y="34"/>
                    <a:pt x="194" y="34"/>
                    <a:pt x="194" y="34"/>
                  </a:cubicBezTo>
                  <a:cubicBezTo>
                    <a:pt x="195" y="34"/>
                    <a:pt x="196" y="33"/>
                    <a:pt x="198" y="33"/>
                  </a:cubicBezTo>
                  <a:cubicBezTo>
                    <a:pt x="200" y="33"/>
                    <a:pt x="202" y="32"/>
                    <a:pt x="204" y="31"/>
                  </a:cubicBezTo>
                  <a:cubicBezTo>
                    <a:pt x="204" y="31"/>
                    <a:pt x="204" y="30"/>
                    <a:pt x="204" y="30"/>
                  </a:cubicBezTo>
                  <a:cubicBezTo>
                    <a:pt x="205" y="29"/>
                    <a:pt x="205" y="29"/>
                    <a:pt x="205" y="29"/>
                  </a:cubicBezTo>
                  <a:cubicBezTo>
                    <a:pt x="204" y="28"/>
                    <a:pt x="204" y="28"/>
                    <a:pt x="203" y="28"/>
                  </a:cubicBezTo>
                  <a:cubicBezTo>
                    <a:pt x="198" y="21"/>
                    <a:pt x="198" y="21"/>
                    <a:pt x="198" y="21"/>
                  </a:cubicBezTo>
                  <a:cubicBezTo>
                    <a:pt x="197" y="20"/>
                    <a:pt x="197" y="18"/>
                    <a:pt x="197" y="17"/>
                  </a:cubicBezTo>
                  <a:cubicBezTo>
                    <a:pt x="197" y="15"/>
                    <a:pt x="199" y="13"/>
                    <a:pt x="201" y="13"/>
                  </a:cubicBezTo>
                  <a:cubicBezTo>
                    <a:pt x="201" y="12"/>
                    <a:pt x="201" y="12"/>
                    <a:pt x="201" y="12"/>
                  </a:cubicBezTo>
                  <a:cubicBezTo>
                    <a:pt x="200" y="11"/>
                    <a:pt x="200" y="11"/>
                    <a:pt x="200" y="11"/>
                  </a:cubicBezTo>
                  <a:cubicBezTo>
                    <a:pt x="200" y="11"/>
                    <a:pt x="200" y="11"/>
                    <a:pt x="200" y="11"/>
                  </a:cubicBezTo>
                  <a:cubicBezTo>
                    <a:pt x="198" y="8"/>
                    <a:pt x="197" y="7"/>
                    <a:pt x="197" y="7"/>
                  </a:cubicBezTo>
                  <a:cubicBezTo>
                    <a:pt x="197" y="6"/>
                    <a:pt x="197" y="5"/>
                    <a:pt x="197" y="4"/>
                  </a:cubicBezTo>
                  <a:cubicBezTo>
                    <a:pt x="197" y="2"/>
                    <a:pt x="197" y="1"/>
                    <a:pt x="197" y="1"/>
                  </a:cubicBezTo>
                  <a:cubicBezTo>
                    <a:pt x="197" y="1"/>
                    <a:pt x="197" y="0"/>
                    <a:pt x="195" y="0"/>
                  </a:cubicBezTo>
                  <a:cubicBezTo>
                    <a:pt x="195" y="0"/>
                    <a:pt x="195" y="0"/>
                    <a:pt x="195" y="0"/>
                  </a:cubicBezTo>
                  <a:cubicBezTo>
                    <a:pt x="195" y="0"/>
                    <a:pt x="195" y="0"/>
                    <a:pt x="195" y="0"/>
                  </a:cubicBezTo>
                  <a:cubicBezTo>
                    <a:pt x="194" y="0"/>
                    <a:pt x="193" y="1"/>
                    <a:pt x="192" y="1"/>
                  </a:cubicBezTo>
                  <a:cubicBezTo>
                    <a:pt x="192" y="1"/>
                    <a:pt x="192" y="1"/>
                    <a:pt x="192" y="1"/>
                  </a:cubicBezTo>
                  <a:cubicBezTo>
                    <a:pt x="191" y="1"/>
                    <a:pt x="190" y="2"/>
                    <a:pt x="190" y="2"/>
                  </a:cubicBezTo>
                  <a:cubicBezTo>
                    <a:pt x="189" y="1"/>
                    <a:pt x="189" y="1"/>
                    <a:pt x="189" y="1"/>
                  </a:cubicBezTo>
                  <a:cubicBezTo>
                    <a:pt x="189" y="2"/>
                    <a:pt x="189" y="2"/>
                    <a:pt x="189" y="2"/>
                  </a:cubicBezTo>
                  <a:cubicBezTo>
                    <a:pt x="188" y="4"/>
                    <a:pt x="186" y="5"/>
                    <a:pt x="185" y="6"/>
                  </a:cubicBezTo>
                  <a:cubicBezTo>
                    <a:pt x="183" y="7"/>
                    <a:pt x="183" y="7"/>
                    <a:pt x="183" y="7"/>
                  </a:cubicBezTo>
                  <a:cubicBezTo>
                    <a:pt x="183" y="8"/>
                    <a:pt x="182" y="9"/>
                    <a:pt x="181" y="9"/>
                  </a:cubicBezTo>
                  <a:cubicBezTo>
                    <a:pt x="181" y="10"/>
                    <a:pt x="181" y="10"/>
                    <a:pt x="181" y="10"/>
                  </a:cubicBezTo>
                  <a:cubicBezTo>
                    <a:pt x="177" y="6"/>
                    <a:pt x="177" y="6"/>
                    <a:pt x="177" y="6"/>
                  </a:cubicBezTo>
                  <a:cubicBezTo>
                    <a:pt x="177" y="5"/>
                    <a:pt x="177" y="5"/>
                    <a:pt x="177" y="5"/>
                  </a:cubicBezTo>
                  <a:cubicBezTo>
                    <a:pt x="178" y="5"/>
                    <a:pt x="178" y="4"/>
                    <a:pt x="178" y="4"/>
                  </a:cubicBezTo>
                  <a:cubicBezTo>
                    <a:pt x="179" y="4"/>
                    <a:pt x="179" y="4"/>
                    <a:pt x="179" y="4"/>
                  </a:cubicBezTo>
                  <a:cubicBezTo>
                    <a:pt x="180" y="2"/>
                    <a:pt x="181" y="1"/>
                    <a:pt x="181" y="1"/>
                  </a:cubicBezTo>
                  <a:cubicBezTo>
                    <a:pt x="180" y="1"/>
                    <a:pt x="180" y="1"/>
                    <a:pt x="180" y="1"/>
                  </a:cubicBezTo>
                  <a:cubicBezTo>
                    <a:pt x="180" y="0"/>
                    <a:pt x="180" y="0"/>
                    <a:pt x="1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2" name="Freeform 251">
              <a:extLst>
                <a:ext uri="{FF2B5EF4-FFF2-40B4-BE49-F238E27FC236}">
                  <a16:creationId xmlns:a16="http://schemas.microsoft.com/office/drawing/2014/main" id="{782E7CE8-5B7A-4C58-BDFF-80231623EACD}"/>
                </a:ext>
              </a:extLst>
            </p:cNvPr>
            <p:cNvSpPr>
              <a:spLocks noEditPoints="1"/>
            </p:cNvSpPr>
            <p:nvPr/>
          </p:nvSpPr>
          <p:spPr bwMode="auto">
            <a:xfrm>
              <a:off x="4048" y="-27"/>
              <a:ext cx="168" cy="24"/>
            </a:xfrm>
            <a:custGeom>
              <a:avLst/>
              <a:gdLst>
                <a:gd name="T0" fmla="*/ 27 w 71"/>
                <a:gd name="T1" fmla="*/ 0 h 10"/>
                <a:gd name="T2" fmla="*/ 0 w 71"/>
                <a:gd name="T3" fmla="*/ 0 h 10"/>
                <a:gd name="T4" fmla="*/ 0 w 71"/>
                <a:gd name="T5" fmla="*/ 4 h 10"/>
                <a:gd name="T6" fmla="*/ 0 w 71"/>
                <a:gd name="T7" fmla="*/ 5 h 10"/>
                <a:gd name="T8" fmla="*/ 0 w 71"/>
                <a:gd name="T9" fmla="*/ 6 h 10"/>
                <a:gd name="T10" fmla="*/ 0 w 71"/>
                <a:gd name="T11" fmla="*/ 6 h 10"/>
                <a:gd name="T12" fmla="*/ 1 w 71"/>
                <a:gd name="T13" fmla="*/ 7 h 10"/>
                <a:gd name="T14" fmla="*/ 3 w 71"/>
                <a:gd name="T15" fmla="*/ 9 h 10"/>
                <a:gd name="T16" fmla="*/ 3 w 71"/>
                <a:gd name="T17" fmla="*/ 10 h 10"/>
                <a:gd name="T18" fmla="*/ 5 w 71"/>
                <a:gd name="T19" fmla="*/ 10 h 10"/>
                <a:gd name="T20" fmla="*/ 12 w 71"/>
                <a:gd name="T21" fmla="*/ 9 h 10"/>
                <a:gd name="T22" fmla="*/ 14 w 71"/>
                <a:gd name="T23" fmla="*/ 9 h 10"/>
                <a:gd name="T24" fmla="*/ 19 w 71"/>
                <a:gd name="T25" fmla="*/ 10 h 10"/>
                <a:gd name="T26" fmla="*/ 20 w 71"/>
                <a:gd name="T27" fmla="*/ 10 h 10"/>
                <a:gd name="T28" fmla="*/ 20 w 71"/>
                <a:gd name="T29" fmla="*/ 10 h 10"/>
                <a:gd name="T30" fmla="*/ 21 w 71"/>
                <a:gd name="T31" fmla="*/ 9 h 10"/>
                <a:gd name="T32" fmla="*/ 24 w 71"/>
                <a:gd name="T33" fmla="*/ 5 h 10"/>
                <a:gd name="T34" fmla="*/ 27 w 71"/>
                <a:gd name="T35" fmla="*/ 0 h 10"/>
                <a:gd name="T36" fmla="*/ 51 w 71"/>
                <a:gd name="T37" fmla="*/ 0 h 10"/>
                <a:gd name="T38" fmla="*/ 38 w 71"/>
                <a:gd name="T39" fmla="*/ 0 h 10"/>
                <a:gd name="T40" fmla="*/ 38 w 71"/>
                <a:gd name="T41" fmla="*/ 0 h 10"/>
                <a:gd name="T42" fmla="*/ 38 w 71"/>
                <a:gd name="T43" fmla="*/ 2 h 10"/>
                <a:gd name="T44" fmla="*/ 41 w 71"/>
                <a:gd name="T45" fmla="*/ 4 h 10"/>
                <a:gd name="T46" fmla="*/ 42 w 71"/>
                <a:gd name="T47" fmla="*/ 5 h 10"/>
                <a:gd name="T48" fmla="*/ 43 w 71"/>
                <a:gd name="T49" fmla="*/ 5 h 10"/>
                <a:gd name="T50" fmla="*/ 47 w 71"/>
                <a:gd name="T51" fmla="*/ 8 h 10"/>
                <a:gd name="T52" fmla="*/ 49 w 71"/>
                <a:gd name="T53" fmla="*/ 5 h 10"/>
                <a:gd name="T54" fmla="*/ 50 w 71"/>
                <a:gd name="T55" fmla="*/ 4 h 10"/>
                <a:gd name="T56" fmla="*/ 51 w 71"/>
                <a:gd name="T57" fmla="*/ 0 h 10"/>
                <a:gd name="T58" fmla="*/ 71 w 71"/>
                <a:gd name="T59" fmla="*/ 0 h 10"/>
                <a:gd name="T60" fmla="*/ 68 w 71"/>
                <a:gd name="T61" fmla="*/ 0 h 10"/>
                <a:gd name="T62" fmla="*/ 71 w 71"/>
                <a:gd name="T63" fmla="*/ 1 h 10"/>
                <a:gd name="T64" fmla="*/ 71 w 71"/>
                <a:gd name="T65" fmla="*/ 0 h 10"/>
                <a:gd name="T66" fmla="*/ 71 w 71"/>
                <a:gd name="T67" fmla="*/ 0 h 10"/>
                <a:gd name="T68" fmla="*/ 71 w 71"/>
                <a:gd name="T6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 h="10">
                  <a:moveTo>
                    <a:pt x="27" y="0"/>
                  </a:moveTo>
                  <a:cubicBezTo>
                    <a:pt x="0" y="0"/>
                    <a:pt x="0" y="0"/>
                    <a:pt x="0" y="0"/>
                  </a:cubicBezTo>
                  <a:cubicBezTo>
                    <a:pt x="0" y="1"/>
                    <a:pt x="0" y="2"/>
                    <a:pt x="0" y="4"/>
                  </a:cubicBezTo>
                  <a:cubicBezTo>
                    <a:pt x="0" y="5"/>
                    <a:pt x="0" y="5"/>
                    <a:pt x="0" y="5"/>
                  </a:cubicBezTo>
                  <a:cubicBezTo>
                    <a:pt x="0" y="5"/>
                    <a:pt x="0" y="5"/>
                    <a:pt x="0" y="6"/>
                  </a:cubicBezTo>
                  <a:cubicBezTo>
                    <a:pt x="0" y="6"/>
                    <a:pt x="0" y="6"/>
                    <a:pt x="0" y="6"/>
                  </a:cubicBezTo>
                  <a:cubicBezTo>
                    <a:pt x="1" y="6"/>
                    <a:pt x="1" y="7"/>
                    <a:pt x="1" y="7"/>
                  </a:cubicBezTo>
                  <a:cubicBezTo>
                    <a:pt x="2" y="8"/>
                    <a:pt x="2" y="8"/>
                    <a:pt x="3" y="9"/>
                  </a:cubicBezTo>
                  <a:cubicBezTo>
                    <a:pt x="3" y="9"/>
                    <a:pt x="3" y="9"/>
                    <a:pt x="3" y="10"/>
                  </a:cubicBezTo>
                  <a:cubicBezTo>
                    <a:pt x="4" y="10"/>
                    <a:pt x="4" y="10"/>
                    <a:pt x="5" y="10"/>
                  </a:cubicBezTo>
                  <a:cubicBezTo>
                    <a:pt x="7" y="10"/>
                    <a:pt x="10" y="10"/>
                    <a:pt x="12" y="9"/>
                  </a:cubicBezTo>
                  <a:cubicBezTo>
                    <a:pt x="13" y="9"/>
                    <a:pt x="13" y="9"/>
                    <a:pt x="14" y="9"/>
                  </a:cubicBezTo>
                  <a:cubicBezTo>
                    <a:pt x="16" y="9"/>
                    <a:pt x="18" y="9"/>
                    <a:pt x="19" y="10"/>
                  </a:cubicBezTo>
                  <a:cubicBezTo>
                    <a:pt x="20" y="10"/>
                    <a:pt x="20" y="10"/>
                    <a:pt x="20" y="10"/>
                  </a:cubicBezTo>
                  <a:cubicBezTo>
                    <a:pt x="20" y="10"/>
                    <a:pt x="20" y="10"/>
                    <a:pt x="20" y="10"/>
                  </a:cubicBezTo>
                  <a:cubicBezTo>
                    <a:pt x="21" y="9"/>
                    <a:pt x="21" y="9"/>
                    <a:pt x="21" y="9"/>
                  </a:cubicBezTo>
                  <a:cubicBezTo>
                    <a:pt x="22" y="7"/>
                    <a:pt x="23" y="6"/>
                    <a:pt x="24" y="5"/>
                  </a:cubicBezTo>
                  <a:cubicBezTo>
                    <a:pt x="24" y="4"/>
                    <a:pt x="25" y="2"/>
                    <a:pt x="27" y="0"/>
                  </a:cubicBezTo>
                  <a:moveTo>
                    <a:pt x="51" y="0"/>
                  </a:moveTo>
                  <a:cubicBezTo>
                    <a:pt x="38" y="0"/>
                    <a:pt x="38" y="0"/>
                    <a:pt x="38" y="0"/>
                  </a:cubicBezTo>
                  <a:cubicBezTo>
                    <a:pt x="38" y="0"/>
                    <a:pt x="38" y="0"/>
                    <a:pt x="38" y="0"/>
                  </a:cubicBezTo>
                  <a:cubicBezTo>
                    <a:pt x="38" y="1"/>
                    <a:pt x="38" y="2"/>
                    <a:pt x="38" y="2"/>
                  </a:cubicBezTo>
                  <a:cubicBezTo>
                    <a:pt x="38" y="3"/>
                    <a:pt x="39" y="3"/>
                    <a:pt x="41" y="4"/>
                  </a:cubicBezTo>
                  <a:cubicBezTo>
                    <a:pt x="41" y="4"/>
                    <a:pt x="42" y="5"/>
                    <a:pt x="42" y="5"/>
                  </a:cubicBezTo>
                  <a:cubicBezTo>
                    <a:pt x="43" y="5"/>
                    <a:pt x="43" y="5"/>
                    <a:pt x="43" y="5"/>
                  </a:cubicBezTo>
                  <a:cubicBezTo>
                    <a:pt x="44" y="5"/>
                    <a:pt x="46" y="6"/>
                    <a:pt x="47" y="8"/>
                  </a:cubicBezTo>
                  <a:cubicBezTo>
                    <a:pt x="48" y="7"/>
                    <a:pt x="48" y="6"/>
                    <a:pt x="49" y="5"/>
                  </a:cubicBezTo>
                  <a:cubicBezTo>
                    <a:pt x="50" y="4"/>
                    <a:pt x="50" y="4"/>
                    <a:pt x="50" y="4"/>
                  </a:cubicBezTo>
                  <a:cubicBezTo>
                    <a:pt x="51" y="2"/>
                    <a:pt x="51" y="1"/>
                    <a:pt x="51" y="0"/>
                  </a:cubicBezTo>
                  <a:moveTo>
                    <a:pt x="71" y="0"/>
                  </a:moveTo>
                  <a:cubicBezTo>
                    <a:pt x="68" y="0"/>
                    <a:pt x="68" y="0"/>
                    <a:pt x="68" y="0"/>
                  </a:cubicBezTo>
                  <a:cubicBezTo>
                    <a:pt x="69" y="0"/>
                    <a:pt x="70" y="0"/>
                    <a:pt x="71" y="1"/>
                  </a:cubicBezTo>
                  <a:cubicBezTo>
                    <a:pt x="71" y="0"/>
                    <a:pt x="71" y="0"/>
                    <a:pt x="71" y="0"/>
                  </a:cubicBezTo>
                  <a:cubicBezTo>
                    <a:pt x="71" y="0"/>
                    <a:pt x="71" y="0"/>
                    <a:pt x="71"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3" name="Freeform 252">
              <a:extLst>
                <a:ext uri="{FF2B5EF4-FFF2-40B4-BE49-F238E27FC236}">
                  <a16:creationId xmlns:a16="http://schemas.microsoft.com/office/drawing/2014/main" id="{18D85EBA-56DC-4BB2-961A-8DF5F9821C87}"/>
                </a:ext>
              </a:extLst>
            </p:cNvPr>
            <p:cNvSpPr>
              <a:spLocks/>
            </p:cNvSpPr>
            <p:nvPr/>
          </p:nvSpPr>
          <p:spPr bwMode="auto">
            <a:xfrm>
              <a:off x="4044" y="-27"/>
              <a:ext cx="650" cy="567"/>
            </a:xfrm>
            <a:custGeom>
              <a:avLst/>
              <a:gdLst>
                <a:gd name="T0" fmla="*/ 80 w 275"/>
                <a:gd name="T1" fmla="*/ 1 h 240"/>
                <a:gd name="T2" fmla="*/ 78 w 275"/>
                <a:gd name="T3" fmla="*/ 6 h 240"/>
                <a:gd name="T4" fmla="*/ 76 w 275"/>
                <a:gd name="T5" fmla="*/ 7 h 240"/>
                <a:gd name="T6" fmla="*/ 57 w 275"/>
                <a:gd name="T7" fmla="*/ 7 h 240"/>
                <a:gd name="T8" fmla="*/ 54 w 275"/>
                <a:gd name="T9" fmla="*/ 11 h 240"/>
                <a:gd name="T10" fmla="*/ 43 w 275"/>
                <a:gd name="T11" fmla="*/ 26 h 240"/>
                <a:gd name="T12" fmla="*/ 44 w 275"/>
                <a:gd name="T13" fmla="*/ 12 h 240"/>
                <a:gd name="T14" fmla="*/ 41 w 275"/>
                <a:gd name="T15" fmla="*/ 10 h 240"/>
                <a:gd name="T16" fmla="*/ 34 w 275"/>
                <a:gd name="T17" fmla="*/ 3 h 240"/>
                <a:gd name="T18" fmla="*/ 26 w 275"/>
                <a:gd name="T19" fmla="*/ 14 h 240"/>
                <a:gd name="T20" fmla="*/ 20 w 275"/>
                <a:gd name="T21" fmla="*/ 15 h 240"/>
                <a:gd name="T22" fmla="*/ 7 w 275"/>
                <a:gd name="T23" fmla="*/ 16 h 240"/>
                <a:gd name="T24" fmla="*/ 3 w 275"/>
                <a:gd name="T25" fmla="*/ 17 h 240"/>
                <a:gd name="T26" fmla="*/ 7 w 275"/>
                <a:gd name="T27" fmla="*/ 24 h 240"/>
                <a:gd name="T28" fmla="*/ 9 w 275"/>
                <a:gd name="T29" fmla="*/ 32 h 240"/>
                <a:gd name="T30" fmla="*/ 9 w 275"/>
                <a:gd name="T31" fmla="*/ 49 h 240"/>
                <a:gd name="T32" fmla="*/ 4 w 275"/>
                <a:gd name="T33" fmla="*/ 57 h 240"/>
                <a:gd name="T34" fmla="*/ 20 w 275"/>
                <a:gd name="T35" fmla="*/ 72 h 240"/>
                <a:gd name="T36" fmla="*/ 41 w 275"/>
                <a:gd name="T37" fmla="*/ 59 h 240"/>
                <a:gd name="T38" fmla="*/ 70 w 275"/>
                <a:gd name="T39" fmla="*/ 66 h 240"/>
                <a:gd name="T40" fmla="*/ 86 w 275"/>
                <a:gd name="T41" fmla="*/ 98 h 240"/>
                <a:gd name="T42" fmla="*/ 89 w 275"/>
                <a:gd name="T43" fmla="*/ 100 h 240"/>
                <a:gd name="T44" fmla="*/ 97 w 275"/>
                <a:gd name="T45" fmla="*/ 108 h 240"/>
                <a:gd name="T46" fmla="*/ 99 w 275"/>
                <a:gd name="T47" fmla="*/ 115 h 240"/>
                <a:gd name="T48" fmla="*/ 104 w 275"/>
                <a:gd name="T49" fmla="*/ 115 h 240"/>
                <a:gd name="T50" fmla="*/ 126 w 275"/>
                <a:gd name="T51" fmla="*/ 132 h 240"/>
                <a:gd name="T52" fmla="*/ 144 w 275"/>
                <a:gd name="T53" fmla="*/ 146 h 240"/>
                <a:gd name="T54" fmla="*/ 153 w 275"/>
                <a:gd name="T55" fmla="*/ 148 h 240"/>
                <a:gd name="T56" fmla="*/ 170 w 275"/>
                <a:gd name="T57" fmla="*/ 157 h 240"/>
                <a:gd name="T58" fmla="*/ 184 w 275"/>
                <a:gd name="T59" fmla="*/ 164 h 240"/>
                <a:gd name="T60" fmla="*/ 191 w 275"/>
                <a:gd name="T61" fmla="*/ 172 h 240"/>
                <a:gd name="T62" fmla="*/ 200 w 275"/>
                <a:gd name="T63" fmla="*/ 182 h 240"/>
                <a:gd name="T64" fmla="*/ 209 w 275"/>
                <a:gd name="T65" fmla="*/ 184 h 240"/>
                <a:gd name="T66" fmla="*/ 220 w 275"/>
                <a:gd name="T67" fmla="*/ 213 h 240"/>
                <a:gd name="T68" fmla="*/ 211 w 275"/>
                <a:gd name="T69" fmla="*/ 220 h 240"/>
                <a:gd name="T70" fmla="*/ 210 w 275"/>
                <a:gd name="T71" fmla="*/ 239 h 240"/>
                <a:gd name="T72" fmla="*/ 221 w 275"/>
                <a:gd name="T73" fmla="*/ 233 h 240"/>
                <a:gd name="T74" fmla="*/ 236 w 275"/>
                <a:gd name="T75" fmla="*/ 212 h 240"/>
                <a:gd name="T76" fmla="*/ 241 w 275"/>
                <a:gd name="T77" fmla="*/ 212 h 240"/>
                <a:gd name="T78" fmla="*/ 232 w 275"/>
                <a:gd name="T79" fmla="*/ 193 h 240"/>
                <a:gd name="T80" fmla="*/ 230 w 275"/>
                <a:gd name="T81" fmla="*/ 193 h 240"/>
                <a:gd name="T82" fmla="*/ 238 w 275"/>
                <a:gd name="T83" fmla="*/ 169 h 240"/>
                <a:gd name="T84" fmla="*/ 253 w 275"/>
                <a:gd name="T85" fmla="*/ 173 h 240"/>
                <a:gd name="T86" fmla="*/ 273 w 275"/>
                <a:gd name="T87" fmla="*/ 181 h 240"/>
                <a:gd name="T88" fmla="*/ 239 w 275"/>
                <a:gd name="T89" fmla="*/ 154 h 240"/>
                <a:gd name="T90" fmla="*/ 218 w 275"/>
                <a:gd name="T91" fmla="*/ 129 h 240"/>
                <a:gd name="T92" fmla="*/ 177 w 275"/>
                <a:gd name="T93" fmla="*/ 117 h 240"/>
                <a:gd name="T94" fmla="*/ 141 w 275"/>
                <a:gd name="T95" fmla="*/ 72 h 240"/>
                <a:gd name="T96" fmla="*/ 129 w 275"/>
                <a:gd name="T97" fmla="*/ 46 h 240"/>
                <a:gd name="T98" fmla="*/ 124 w 275"/>
                <a:gd name="T99" fmla="*/ 31 h 240"/>
                <a:gd name="T100" fmla="*/ 130 w 275"/>
                <a:gd name="T101" fmla="*/ 28 h 240"/>
                <a:gd name="T102" fmla="*/ 148 w 275"/>
                <a:gd name="T103" fmla="*/ 18 h 240"/>
                <a:gd name="T104" fmla="*/ 154 w 275"/>
                <a:gd name="T105" fmla="*/ 19 h 240"/>
                <a:gd name="T106" fmla="*/ 156 w 275"/>
                <a:gd name="T107" fmla="*/ 18 h 240"/>
                <a:gd name="T108" fmla="*/ 156 w 275"/>
                <a:gd name="T109" fmla="*/ 13 h 240"/>
                <a:gd name="T110" fmla="*/ 155 w 275"/>
                <a:gd name="T111" fmla="*/ 7 h 240"/>
                <a:gd name="T112" fmla="*/ 148 w 275"/>
                <a:gd name="T113" fmla="*/ 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5" h="240">
                  <a:moveTo>
                    <a:pt x="152" y="0"/>
                  </a:moveTo>
                  <a:cubicBezTo>
                    <a:pt x="80" y="0"/>
                    <a:pt x="80" y="0"/>
                    <a:pt x="80" y="0"/>
                  </a:cubicBezTo>
                  <a:cubicBezTo>
                    <a:pt x="80" y="0"/>
                    <a:pt x="80" y="0"/>
                    <a:pt x="80" y="1"/>
                  </a:cubicBezTo>
                  <a:cubicBezTo>
                    <a:pt x="80" y="2"/>
                    <a:pt x="81" y="3"/>
                    <a:pt x="80" y="5"/>
                  </a:cubicBezTo>
                  <a:cubicBezTo>
                    <a:pt x="79" y="6"/>
                    <a:pt x="79" y="6"/>
                    <a:pt x="79" y="6"/>
                  </a:cubicBezTo>
                  <a:cubicBezTo>
                    <a:pt x="78" y="6"/>
                    <a:pt x="78" y="6"/>
                    <a:pt x="78" y="6"/>
                  </a:cubicBezTo>
                  <a:cubicBezTo>
                    <a:pt x="77" y="7"/>
                    <a:pt x="77" y="7"/>
                    <a:pt x="77" y="7"/>
                  </a:cubicBezTo>
                  <a:cubicBezTo>
                    <a:pt x="77" y="7"/>
                    <a:pt x="77" y="7"/>
                    <a:pt x="77" y="7"/>
                  </a:cubicBezTo>
                  <a:cubicBezTo>
                    <a:pt x="76" y="7"/>
                    <a:pt x="76" y="7"/>
                    <a:pt x="76" y="7"/>
                  </a:cubicBezTo>
                  <a:cubicBezTo>
                    <a:pt x="76" y="7"/>
                    <a:pt x="76" y="7"/>
                    <a:pt x="76" y="7"/>
                  </a:cubicBezTo>
                  <a:cubicBezTo>
                    <a:pt x="72" y="7"/>
                    <a:pt x="65" y="4"/>
                    <a:pt x="59" y="1"/>
                  </a:cubicBezTo>
                  <a:cubicBezTo>
                    <a:pt x="59" y="3"/>
                    <a:pt x="58" y="5"/>
                    <a:pt x="57" y="7"/>
                  </a:cubicBezTo>
                  <a:cubicBezTo>
                    <a:pt x="56" y="8"/>
                    <a:pt x="56" y="8"/>
                    <a:pt x="56" y="8"/>
                  </a:cubicBezTo>
                  <a:cubicBezTo>
                    <a:pt x="56" y="8"/>
                    <a:pt x="55" y="9"/>
                    <a:pt x="55" y="9"/>
                  </a:cubicBezTo>
                  <a:cubicBezTo>
                    <a:pt x="54" y="10"/>
                    <a:pt x="54" y="10"/>
                    <a:pt x="54" y="11"/>
                  </a:cubicBezTo>
                  <a:cubicBezTo>
                    <a:pt x="54" y="13"/>
                    <a:pt x="54" y="13"/>
                    <a:pt x="54" y="13"/>
                  </a:cubicBezTo>
                  <a:cubicBezTo>
                    <a:pt x="53" y="15"/>
                    <a:pt x="52" y="16"/>
                    <a:pt x="51" y="17"/>
                  </a:cubicBezTo>
                  <a:cubicBezTo>
                    <a:pt x="43" y="26"/>
                    <a:pt x="43" y="26"/>
                    <a:pt x="43" y="26"/>
                  </a:cubicBezTo>
                  <a:cubicBezTo>
                    <a:pt x="45" y="15"/>
                    <a:pt x="45" y="15"/>
                    <a:pt x="45" y="15"/>
                  </a:cubicBezTo>
                  <a:cubicBezTo>
                    <a:pt x="45" y="15"/>
                    <a:pt x="45" y="15"/>
                    <a:pt x="45" y="15"/>
                  </a:cubicBezTo>
                  <a:cubicBezTo>
                    <a:pt x="45" y="14"/>
                    <a:pt x="45" y="13"/>
                    <a:pt x="44" y="12"/>
                  </a:cubicBezTo>
                  <a:cubicBezTo>
                    <a:pt x="44" y="11"/>
                    <a:pt x="44" y="11"/>
                    <a:pt x="44" y="11"/>
                  </a:cubicBezTo>
                  <a:cubicBezTo>
                    <a:pt x="44" y="11"/>
                    <a:pt x="44" y="11"/>
                    <a:pt x="44" y="11"/>
                  </a:cubicBezTo>
                  <a:cubicBezTo>
                    <a:pt x="43" y="11"/>
                    <a:pt x="42" y="10"/>
                    <a:pt x="41" y="10"/>
                  </a:cubicBezTo>
                  <a:cubicBezTo>
                    <a:pt x="41" y="10"/>
                    <a:pt x="41" y="9"/>
                    <a:pt x="40" y="9"/>
                  </a:cubicBezTo>
                  <a:cubicBezTo>
                    <a:pt x="37" y="8"/>
                    <a:pt x="35" y="7"/>
                    <a:pt x="34" y="5"/>
                  </a:cubicBezTo>
                  <a:cubicBezTo>
                    <a:pt x="34" y="4"/>
                    <a:pt x="34" y="4"/>
                    <a:pt x="34" y="3"/>
                  </a:cubicBezTo>
                  <a:cubicBezTo>
                    <a:pt x="33" y="4"/>
                    <a:pt x="32" y="6"/>
                    <a:pt x="31" y="7"/>
                  </a:cubicBezTo>
                  <a:cubicBezTo>
                    <a:pt x="30" y="10"/>
                    <a:pt x="29" y="11"/>
                    <a:pt x="28" y="13"/>
                  </a:cubicBezTo>
                  <a:cubicBezTo>
                    <a:pt x="26" y="14"/>
                    <a:pt x="26" y="14"/>
                    <a:pt x="26" y="14"/>
                  </a:cubicBezTo>
                  <a:cubicBezTo>
                    <a:pt x="26" y="15"/>
                    <a:pt x="25" y="16"/>
                    <a:pt x="23" y="16"/>
                  </a:cubicBezTo>
                  <a:cubicBezTo>
                    <a:pt x="21" y="16"/>
                    <a:pt x="21" y="16"/>
                    <a:pt x="21" y="16"/>
                  </a:cubicBezTo>
                  <a:cubicBezTo>
                    <a:pt x="21" y="16"/>
                    <a:pt x="20" y="16"/>
                    <a:pt x="20" y="15"/>
                  </a:cubicBezTo>
                  <a:cubicBezTo>
                    <a:pt x="18" y="15"/>
                    <a:pt x="17" y="15"/>
                    <a:pt x="16" y="15"/>
                  </a:cubicBezTo>
                  <a:cubicBezTo>
                    <a:pt x="15" y="15"/>
                    <a:pt x="15" y="15"/>
                    <a:pt x="15" y="15"/>
                  </a:cubicBezTo>
                  <a:cubicBezTo>
                    <a:pt x="13" y="16"/>
                    <a:pt x="10" y="16"/>
                    <a:pt x="7" y="16"/>
                  </a:cubicBezTo>
                  <a:cubicBezTo>
                    <a:pt x="6" y="16"/>
                    <a:pt x="6" y="16"/>
                    <a:pt x="6" y="16"/>
                  </a:cubicBezTo>
                  <a:cubicBezTo>
                    <a:pt x="6" y="16"/>
                    <a:pt x="5" y="16"/>
                    <a:pt x="4" y="16"/>
                  </a:cubicBezTo>
                  <a:cubicBezTo>
                    <a:pt x="4" y="17"/>
                    <a:pt x="3" y="17"/>
                    <a:pt x="3" y="17"/>
                  </a:cubicBezTo>
                  <a:cubicBezTo>
                    <a:pt x="2" y="18"/>
                    <a:pt x="2" y="18"/>
                    <a:pt x="2" y="18"/>
                  </a:cubicBezTo>
                  <a:cubicBezTo>
                    <a:pt x="7" y="24"/>
                    <a:pt x="7" y="24"/>
                    <a:pt x="7" y="24"/>
                  </a:cubicBezTo>
                  <a:cubicBezTo>
                    <a:pt x="7" y="24"/>
                    <a:pt x="7" y="24"/>
                    <a:pt x="7" y="24"/>
                  </a:cubicBezTo>
                  <a:cubicBezTo>
                    <a:pt x="8" y="25"/>
                    <a:pt x="10" y="26"/>
                    <a:pt x="10" y="28"/>
                  </a:cubicBezTo>
                  <a:cubicBezTo>
                    <a:pt x="10" y="29"/>
                    <a:pt x="10" y="30"/>
                    <a:pt x="9" y="31"/>
                  </a:cubicBezTo>
                  <a:cubicBezTo>
                    <a:pt x="9" y="32"/>
                    <a:pt x="9" y="32"/>
                    <a:pt x="9" y="32"/>
                  </a:cubicBezTo>
                  <a:cubicBezTo>
                    <a:pt x="9" y="33"/>
                    <a:pt x="9" y="34"/>
                    <a:pt x="8" y="34"/>
                  </a:cubicBezTo>
                  <a:cubicBezTo>
                    <a:pt x="7" y="36"/>
                    <a:pt x="4" y="37"/>
                    <a:pt x="0" y="38"/>
                  </a:cubicBezTo>
                  <a:cubicBezTo>
                    <a:pt x="9" y="49"/>
                    <a:pt x="9" y="49"/>
                    <a:pt x="9" y="49"/>
                  </a:cubicBezTo>
                  <a:cubicBezTo>
                    <a:pt x="6" y="51"/>
                    <a:pt x="6" y="51"/>
                    <a:pt x="6" y="51"/>
                  </a:cubicBezTo>
                  <a:cubicBezTo>
                    <a:pt x="5" y="52"/>
                    <a:pt x="3" y="55"/>
                    <a:pt x="3" y="56"/>
                  </a:cubicBezTo>
                  <a:cubicBezTo>
                    <a:pt x="3" y="57"/>
                    <a:pt x="4" y="57"/>
                    <a:pt x="4" y="57"/>
                  </a:cubicBezTo>
                  <a:cubicBezTo>
                    <a:pt x="24" y="65"/>
                    <a:pt x="24" y="65"/>
                    <a:pt x="24" y="65"/>
                  </a:cubicBezTo>
                  <a:cubicBezTo>
                    <a:pt x="22" y="68"/>
                    <a:pt x="22" y="68"/>
                    <a:pt x="22" y="68"/>
                  </a:cubicBezTo>
                  <a:cubicBezTo>
                    <a:pt x="22" y="69"/>
                    <a:pt x="21" y="71"/>
                    <a:pt x="20" y="72"/>
                  </a:cubicBezTo>
                  <a:cubicBezTo>
                    <a:pt x="20" y="73"/>
                    <a:pt x="20" y="74"/>
                    <a:pt x="19" y="75"/>
                  </a:cubicBezTo>
                  <a:cubicBezTo>
                    <a:pt x="23" y="74"/>
                    <a:pt x="28" y="73"/>
                    <a:pt x="30" y="71"/>
                  </a:cubicBezTo>
                  <a:cubicBezTo>
                    <a:pt x="33" y="67"/>
                    <a:pt x="37" y="63"/>
                    <a:pt x="41" y="59"/>
                  </a:cubicBezTo>
                  <a:cubicBezTo>
                    <a:pt x="41" y="58"/>
                    <a:pt x="42" y="58"/>
                    <a:pt x="42" y="58"/>
                  </a:cubicBezTo>
                  <a:cubicBezTo>
                    <a:pt x="46" y="58"/>
                    <a:pt x="54" y="60"/>
                    <a:pt x="55" y="61"/>
                  </a:cubicBezTo>
                  <a:cubicBezTo>
                    <a:pt x="60" y="62"/>
                    <a:pt x="65" y="64"/>
                    <a:pt x="70" y="66"/>
                  </a:cubicBezTo>
                  <a:cubicBezTo>
                    <a:pt x="74" y="68"/>
                    <a:pt x="79" y="70"/>
                    <a:pt x="80" y="75"/>
                  </a:cubicBezTo>
                  <a:cubicBezTo>
                    <a:pt x="80" y="81"/>
                    <a:pt x="82" y="86"/>
                    <a:pt x="84" y="92"/>
                  </a:cubicBezTo>
                  <a:cubicBezTo>
                    <a:pt x="85" y="94"/>
                    <a:pt x="85" y="96"/>
                    <a:pt x="86" y="98"/>
                  </a:cubicBezTo>
                  <a:cubicBezTo>
                    <a:pt x="86" y="98"/>
                    <a:pt x="84" y="98"/>
                    <a:pt x="85" y="99"/>
                  </a:cubicBezTo>
                  <a:cubicBezTo>
                    <a:pt x="85" y="100"/>
                    <a:pt x="87" y="100"/>
                    <a:pt x="88" y="100"/>
                  </a:cubicBezTo>
                  <a:cubicBezTo>
                    <a:pt x="88" y="100"/>
                    <a:pt x="89" y="100"/>
                    <a:pt x="89" y="100"/>
                  </a:cubicBezTo>
                  <a:cubicBezTo>
                    <a:pt x="89" y="100"/>
                    <a:pt x="90" y="100"/>
                    <a:pt x="90" y="100"/>
                  </a:cubicBezTo>
                  <a:cubicBezTo>
                    <a:pt x="90" y="100"/>
                    <a:pt x="90" y="100"/>
                    <a:pt x="90" y="100"/>
                  </a:cubicBezTo>
                  <a:cubicBezTo>
                    <a:pt x="92" y="100"/>
                    <a:pt x="96" y="106"/>
                    <a:pt x="97" y="108"/>
                  </a:cubicBezTo>
                  <a:cubicBezTo>
                    <a:pt x="98" y="109"/>
                    <a:pt x="101" y="112"/>
                    <a:pt x="101" y="114"/>
                  </a:cubicBezTo>
                  <a:cubicBezTo>
                    <a:pt x="100" y="114"/>
                    <a:pt x="100" y="114"/>
                    <a:pt x="100" y="114"/>
                  </a:cubicBezTo>
                  <a:cubicBezTo>
                    <a:pt x="100" y="114"/>
                    <a:pt x="99" y="114"/>
                    <a:pt x="99" y="115"/>
                  </a:cubicBezTo>
                  <a:cubicBezTo>
                    <a:pt x="100" y="115"/>
                    <a:pt x="102" y="115"/>
                    <a:pt x="103" y="115"/>
                  </a:cubicBezTo>
                  <a:cubicBezTo>
                    <a:pt x="103" y="115"/>
                    <a:pt x="103" y="115"/>
                    <a:pt x="104" y="115"/>
                  </a:cubicBezTo>
                  <a:cubicBezTo>
                    <a:pt x="104" y="115"/>
                    <a:pt x="104" y="115"/>
                    <a:pt x="104" y="115"/>
                  </a:cubicBezTo>
                  <a:cubicBezTo>
                    <a:pt x="104" y="115"/>
                    <a:pt x="105" y="115"/>
                    <a:pt x="105" y="115"/>
                  </a:cubicBezTo>
                  <a:cubicBezTo>
                    <a:pt x="110" y="116"/>
                    <a:pt x="114" y="122"/>
                    <a:pt x="118" y="125"/>
                  </a:cubicBezTo>
                  <a:cubicBezTo>
                    <a:pt x="121" y="128"/>
                    <a:pt x="124" y="130"/>
                    <a:pt x="126" y="132"/>
                  </a:cubicBezTo>
                  <a:cubicBezTo>
                    <a:pt x="130" y="135"/>
                    <a:pt x="130" y="135"/>
                    <a:pt x="130" y="135"/>
                  </a:cubicBezTo>
                  <a:cubicBezTo>
                    <a:pt x="133" y="137"/>
                    <a:pt x="135" y="140"/>
                    <a:pt x="138" y="142"/>
                  </a:cubicBezTo>
                  <a:cubicBezTo>
                    <a:pt x="140" y="144"/>
                    <a:pt x="142" y="145"/>
                    <a:pt x="144" y="146"/>
                  </a:cubicBezTo>
                  <a:cubicBezTo>
                    <a:pt x="145" y="148"/>
                    <a:pt x="145" y="148"/>
                    <a:pt x="145" y="148"/>
                  </a:cubicBezTo>
                  <a:cubicBezTo>
                    <a:pt x="146" y="148"/>
                    <a:pt x="147" y="149"/>
                    <a:pt x="148" y="149"/>
                  </a:cubicBezTo>
                  <a:cubicBezTo>
                    <a:pt x="150" y="149"/>
                    <a:pt x="151" y="148"/>
                    <a:pt x="153" y="148"/>
                  </a:cubicBezTo>
                  <a:cubicBezTo>
                    <a:pt x="155" y="148"/>
                    <a:pt x="156" y="147"/>
                    <a:pt x="158" y="147"/>
                  </a:cubicBezTo>
                  <a:cubicBezTo>
                    <a:pt x="160" y="147"/>
                    <a:pt x="162" y="148"/>
                    <a:pt x="163" y="150"/>
                  </a:cubicBezTo>
                  <a:cubicBezTo>
                    <a:pt x="165" y="153"/>
                    <a:pt x="167" y="156"/>
                    <a:pt x="170" y="157"/>
                  </a:cubicBezTo>
                  <a:cubicBezTo>
                    <a:pt x="173" y="159"/>
                    <a:pt x="175" y="160"/>
                    <a:pt x="178" y="161"/>
                  </a:cubicBezTo>
                  <a:cubicBezTo>
                    <a:pt x="177" y="163"/>
                    <a:pt x="176" y="164"/>
                    <a:pt x="175" y="166"/>
                  </a:cubicBezTo>
                  <a:cubicBezTo>
                    <a:pt x="178" y="165"/>
                    <a:pt x="181" y="165"/>
                    <a:pt x="184" y="164"/>
                  </a:cubicBezTo>
                  <a:cubicBezTo>
                    <a:pt x="184" y="164"/>
                    <a:pt x="185" y="163"/>
                    <a:pt x="185" y="163"/>
                  </a:cubicBezTo>
                  <a:cubicBezTo>
                    <a:pt x="185" y="163"/>
                    <a:pt x="186" y="163"/>
                    <a:pt x="186" y="163"/>
                  </a:cubicBezTo>
                  <a:cubicBezTo>
                    <a:pt x="188" y="164"/>
                    <a:pt x="191" y="171"/>
                    <a:pt x="191" y="172"/>
                  </a:cubicBezTo>
                  <a:cubicBezTo>
                    <a:pt x="191" y="173"/>
                    <a:pt x="190" y="174"/>
                    <a:pt x="190" y="174"/>
                  </a:cubicBezTo>
                  <a:cubicBezTo>
                    <a:pt x="189" y="176"/>
                    <a:pt x="189" y="175"/>
                    <a:pt x="192" y="177"/>
                  </a:cubicBezTo>
                  <a:cubicBezTo>
                    <a:pt x="194" y="179"/>
                    <a:pt x="197" y="182"/>
                    <a:pt x="200" y="182"/>
                  </a:cubicBezTo>
                  <a:cubicBezTo>
                    <a:pt x="200" y="182"/>
                    <a:pt x="201" y="182"/>
                    <a:pt x="201" y="182"/>
                  </a:cubicBezTo>
                  <a:cubicBezTo>
                    <a:pt x="203" y="182"/>
                    <a:pt x="204" y="181"/>
                    <a:pt x="205" y="181"/>
                  </a:cubicBezTo>
                  <a:cubicBezTo>
                    <a:pt x="207" y="181"/>
                    <a:pt x="208" y="182"/>
                    <a:pt x="209" y="184"/>
                  </a:cubicBezTo>
                  <a:cubicBezTo>
                    <a:pt x="210" y="187"/>
                    <a:pt x="211" y="190"/>
                    <a:pt x="211" y="192"/>
                  </a:cubicBezTo>
                  <a:cubicBezTo>
                    <a:pt x="214" y="198"/>
                    <a:pt x="215" y="205"/>
                    <a:pt x="218" y="211"/>
                  </a:cubicBezTo>
                  <a:cubicBezTo>
                    <a:pt x="219" y="212"/>
                    <a:pt x="220" y="211"/>
                    <a:pt x="220" y="213"/>
                  </a:cubicBezTo>
                  <a:cubicBezTo>
                    <a:pt x="220" y="216"/>
                    <a:pt x="217" y="216"/>
                    <a:pt x="215" y="217"/>
                  </a:cubicBezTo>
                  <a:cubicBezTo>
                    <a:pt x="214" y="218"/>
                    <a:pt x="212" y="218"/>
                    <a:pt x="212" y="219"/>
                  </a:cubicBezTo>
                  <a:cubicBezTo>
                    <a:pt x="212" y="219"/>
                    <a:pt x="211" y="219"/>
                    <a:pt x="211" y="220"/>
                  </a:cubicBezTo>
                  <a:cubicBezTo>
                    <a:pt x="211" y="221"/>
                    <a:pt x="213" y="222"/>
                    <a:pt x="213" y="223"/>
                  </a:cubicBezTo>
                  <a:cubicBezTo>
                    <a:pt x="213" y="224"/>
                    <a:pt x="211" y="226"/>
                    <a:pt x="210" y="227"/>
                  </a:cubicBezTo>
                  <a:cubicBezTo>
                    <a:pt x="208" y="230"/>
                    <a:pt x="203" y="238"/>
                    <a:pt x="210" y="239"/>
                  </a:cubicBezTo>
                  <a:cubicBezTo>
                    <a:pt x="210" y="240"/>
                    <a:pt x="211" y="240"/>
                    <a:pt x="213" y="240"/>
                  </a:cubicBezTo>
                  <a:cubicBezTo>
                    <a:pt x="214" y="240"/>
                    <a:pt x="215" y="240"/>
                    <a:pt x="216" y="239"/>
                  </a:cubicBezTo>
                  <a:cubicBezTo>
                    <a:pt x="218" y="239"/>
                    <a:pt x="220" y="235"/>
                    <a:pt x="221" y="233"/>
                  </a:cubicBezTo>
                  <a:cubicBezTo>
                    <a:pt x="223" y="231"/>
                    <a:pt x="228" y="227"/>
                    <a:pt x="228" y="225"/>
                  </a:cubicBezTo>
                  <a:cubicBezTo>
                    <a:pt x="229" y="223"/>
                    <a:pt x="227" y="219"/>
                    <a:pt x="227" y="218"/>
                  </a:cubicBezTo>
                  <a:cubicBezTo>
                    <a:pt x="228" y="215"/>
                    <a:pt x="233" y="212"/>
                    <a:pt x="236" y="212"/>
                  </a:cubicBezTo>
                  <a:cubicBezTo>
                    <a:pt x="237" y="212"/>
                    <a:pt x="237" y="212"/>
                    <a:pt x="237" y="212"/>
                  </a:cubicBezTo>
                  <a:cubicBezTo>
                    <a:pt x="238" y="212"/>
                    <a:pt x="240" y="212"/>
                    <a:pt x="241" y="213"/>
                  </a:cubicBezTo>
                  <a:cubicBezTo>
                    <a:pt x="241" y="212"/>
                    <a:pt x="241" y="212"/>
                    <a:pt x="241" y="212"/>
                  </a:cubicBezTo>
                  <a:cubicBezTo>
                    <a:pt x="244" y="210"/>
                    <a:pt x="242" y="205"/>
                    <a:pt x="242" y="202"/>
                  </a:cubicBezTo>
                  <a:cubicBezTo>
                    <a:pt x="241" y="198"/>
                    <a:pt x="238" y="196"/>
                    <a:pt x="234" y="194"/>
                  </a:cubicBezTo>
                  <a:cubicBezTo>
                    <a:pt x="233" y="194"/>
                    <a:pt x="233" y="193"/>
                    <a:pt x="232" y="193"/>
                  </a:cubicBezTo>
                  <a:cubicBezTo>
                    <a:pt x="232" y="193"/>
                    <a:pt x="231" y="193"/>
                    <a:pt x="231" y="193"/>
                  </a:cubicBezTo>
                  <a:cubicBezTo>
                    <a:pt x="231" y="193"/>
                    <a:pt x="231" y="193"/>
                    <a:pt x="230" y="193"/>
                  </a:cubicBezTo>
                  <a:cubicBezTo>
                    <a:pt x="230" y="193"/>
                    <a:pt x="230" y="193"/>
                    <a:pt x="230" y="193"/>
                  </a:cubicBezTo>
                  <a:cubicBezTo>
                    <a:pt x="229" y="193"/>
                    <a:pt x="229" y="193"/>
                    <a:pt x="229" y="192"/>
                  </a:cubicBezTo>
                  <a:cubicBezTo>
                    <a:pt x="226" y="191"/>
                    <a:pt x="228" y="189"/>
                    <a:pt x="228" y="186"/>
                  </a:cubicBezTo>
                  <a:cubicBezTo>
                    <a:pt x="230" y="179"/>
                    <a:pt x="232" y="174"/>
                    <a:pt x="238" y="169"/>
                  </a:cubicBezTo>
                  <a:cubicBezTo>
                    <a:pt x="238" y="168"/>
                    <a:pt x="240" y="168"/>
                    <a:pt x="241" y="168"/>
                  </a:cubicBezTo>
                  <a:cubicBezTo>
                    <a:pt x="244" y="168"/>
                    <a:pt x="246" y="169"/>
                    <a:pt x="243" y="171"/>
                  </a:cubicBezTo>
                  <a:cubicBezTo>
                    <a:pt x="246" y="172"/>
                    <a:pt x="250" y="172"/>
                    <a:pt x="253" y="173"/>
                  </a:cubicBezTo>
                  <a:cubicBezTo>
                    <a:pt x="257" y="174"/>
                    <a:pt x="257" y="176"/>
                    <a:pt x="260" y="179"/>
                  </a:cubicBezTo>
                  <a:cubicBezTo>
                    <a:pt x="263" y="184"/>
                    <a:pt x="265" y="185"/>
                    <a:pt x="271" y="188"/>
                  </a:cubicBezTo>
                  <a:cubicBezTo>
                    <a:pt x="271" y="184"/>
                    <a:pt x="272" y="183"/>
                    <a:pt x="273" y="181"/>
                  </a:cubicBezTo>
                  <a:cubicBezTo>
                    <a:pt x="275" y="176"/>
                    <a:pt x="267" y="171"/>
                    <a:pt x="264" y="168"/>
                  </a:cubicBezTo>
                  <a:cubicBezTo>
                    <a:pt x="260" y="164"/>
                    <a:pt x="254" y="162"/>
                    <a:pt x="250" y="159"/>
                  </a:cubicBezTo>
                  <a:cubicBezTo>
                    <a:pt x="247" y="157"/>
                    <a:pt x="243" y="155"/>
                    <a:pt x="239" y="154"/>
                  </a:cubicBezTo>
                  <a:cubicBezTo>
                    <a:pt x="229" y="149"/>
                    <a:pt x="219" y="146"/>
                    <a:pt x="213" y="137"/>
                  </a:cubicBezTo>
                  <a:cubicBezTo>
                    <a:pt x="215" y="136"/>
                    <a:pt x="219" y="133"/>
                    <a:pt x="219" y="131"/>
                  </a:cubicBezTo>
                  <a:cubicBezTo>
                    <a:pt x="219" y="130"/>
                    <a:pt x="219" y="129"/>
                    <a:pt x="218" y="129"/>
                  </a:cubicBezTo>
                  <a:cubicBezTo>
                    <a:pt x="210" y="129"/>
                    <a:pt x="202" y="128"/>
                    <a:pt x="195" y="128"/>
                  </a:cubicBezTo>
                  <a:cubicBezTo>
                    <a:pt x="192" y="128"/>
                    <a:pt x="188" y="125"/>
                    <a:pt x="186" y="124"/>
                  </a:cubicBezTo>
                  <a:cubicBezTo>
                    <a:pt x="183" y="122"/>
                    <a:pt x="180" y="119"/>
                    <a:pt x="177" y="117"/>
                  </a:cubicBezTo>
                  <a:cubicBezTo>
                    <a:pt x="172" y="112"/>
                    <a:pt x="169" y="108"/>
                    <a:pt x="166" y="101"/>
                  </a:cubicBezTo>
                  <a:cubicBezTo>
                    <a:pt x="163" y="97"/>
                    <a:pt x="163" y="88"/>
                    <a:pt x="159" y="85"/>
                  </a:cubicBezTo>
                  <a:cubicBezTo>
                    <a:pt x="153" y="80"/>
                    <a:pt x="148" y="76"/>
                    <a:pt x="141" y="72"/>
                  </a:cubicBezTo>
                  <a:cubicBezTo>
                    <a:pt x="136" y="68"/>
                    <a:pt x="130" y="65"/>
                    <a:pt x="129" y="58"/>
                  </a:cubicBezTo>
                  <a:cubicBezTo>
                    <a:pt x="128" y="54"/>
                    <a:pt x="127" y="49"/>
                    <a:pt x="127" y="46"/>
                  </a:cubicBezTo>
                  <a:cubicBezTo>
                    <a:pt x="128" y="46"/>
                    <a:pt x="128" y="46"/>
                    <a:pt x="129" y="46"/>
                  </a:cubicBezTo>
                  <a:cubicBezTo>
                    <a:pt x="131" y="46"/>
                    <a:pt x="132" y="45"/>
                    <a:pt x="132" y="43"/>
                  </a:cubicBezTo>
                  <a:cubicBezTo>
                    <a:pt x="133" y="41"/>
                    <a:pt x="132" y="40"/>
                    <a:pt x="130" y="38"/>
                  </a:cubicBezTo>
                  <a:cubicBezTo>
                    <a:pt x="129" y="37"/>
                    <a:pt x="124" y="33"/>
                    <a:pt x="124" y="31"/>
                  </a:cubicBezTo>
                  <a:cubicBezTo>
                    <a:pt x="124" y="30"/>
                    <a:pt x="126" y="27"/>
                    <a:pt x="127" y="27"/>
                  </a:cubicBezTo>
                  <a:cubicBezTo>
                    <a:pt x="128" y="26"/>
                    <a:pt x="130" y="25"/>
                    <a:pt x="131" y="24"/>
                  </a:cubicBezTo>
                  <a:cubicBezTo>
                    <a:pt x="131" y="25"/>
                    <a:pt x="131" y="27"/>
                    <a:pt x="130" y="28"/>
                  </a:cubicBezTo>
                  <a:cubicBezTo>
                    <a:pt x="133" y="27"/>
                    <a:pt x="135" y="26"/>
                    <a:pt x="138" y="25"/>
                  </a:cubicBezTo>
                  <a:cubicBezTo>
                    <a:pt x="140" y="24"/>
                    <a:pt x="145" y="23"/>
                    <a:pt x="146" y="21"/>
                  </a:cubicBezTo>
                  <a:cubicBezTo>
                    <a:pt x="148" y="19"/>
                    <a:pt x="146" y="19"/>
                    <a:pt x="148" y="18"/>
                  </a:cubicBezTo>
                  <a:cubicBezTo>
                    <a:pt x="149" y="18"/>
                    <a:pt x="149" y="18"/>
                    <a:pt x="149" y="18"/>
                  </a:cubicBezTo>
                  <a:cubicBezTo>
                    <a:pt x="150" y="18"/>
                    <a:pt x="151" y="18"/>
                    <a:pt x="152" y="18"/>
                  </a:cubicBezTo>
                  <a:cubicBezTo>
                    <a:pt x="152" y="18"/>
                    <a:pt x="153" y="19"/>
                    <a:pt x="154" y="19"/>
                  </a:cubicBezTo>
                  <a:cubicBezTo>
                    <a:pt x="154" y="19"/>
                    <a:pt x="155" y="19"/>
                    <a:pt x="156" y="18"/>
                  </a:cubicBezTo>
                  <a:cubicBezTo>
                    <a:pt x="156" y="18"/>
                    <a:pt x="156" y="18"/>
                    <a:pt x="156" y="18"/>
                  </a:cubicBezTo>
                  <a:cubicBezTo>
                    <a:pt x="156" y="18"/>
                    <a:pt x="156" y="18"/>
                    <a:pt x="156" y="18"/>
                  </a:cubicBezTo>
                  <a:cubicBezTo>
                    <a:pt x="156" y="17"/>
                    <a:pt x="156" y="17"/>
                    <a:pt x="156" y="17"/>
                  </a:cubicBezTo>
                  <a:cubicBezTo>
                    <a:pt x="155" y="16"/>
                    <a:pt x="155" y="15"/>
                    <a:pt x="156" y="14"/>
                  </a:cubicBezTo>
                  <a:cubicBezTo>
                    <a:pt x="156" y="13"/>
                    <a:pt x="156" y="13"/>
                    <a:pt x="156" y="13"/>
                  </a:cubicBezTo>
                  <a:cubicBezTo>
                    <a:pt x="156" y="13"/>
                    <a:pt x="155" y="12"/>
                    <a:pt x="154" y="12"/>
                  </a:cubicBezTo>
                  <a:cubicBezTo>
                    <a:pt x="150" y="9"/>
                    <a:pt x="150" y="9"/>
                    <a:pt x="150" y="9"/>
                  </a:cubicBezTo>
                  <a:cubicBezTo>
                    <a:pt x="155" y="7"/>
                    <a:pt x="155" y="7"/>
                    <a:pt x="155" y="7"/>
                  </a:cubicBezTo>
                  <a:cubicBezTo>
                    <a:pt x="155" y="6"/>
                    <a:pt x="155" y="6"/>
                    <a:pt x="155" y="6"/>
                  </a:cubicBezTo>
                  <a:cubicBezTo>
                    <a:pt x="155" y="6"/>
                    <a:pt x="155" y="6"/>
                    <a:pt x="155" y="6"/>
                  </a:cubicBezTo>
                  <a:cubicBezTo>
                    <a:pt x="148" y="2"/>
                    <a:pt x="148" y="2"/>
                    <a:pt x="148" y="2"/>
                  </a:cubicBezTo>
                  <a:cubicBezTo>
                    <a:pt x="152" y="0"/>
                    <a:pt x="152" y="0"/>
                    <a:pt x="152" y="0"/>
                  </a:cubicBezTo>
                  <a:cubicBezTo>
                    <a:pt x="152" y="0"/>
                    <a:pt x="152" y="0"/>
                    <a:pt x="15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4" name="Freeform 253">
              <a:extLst>
                <a:ext uri="{FF2B5EF4-FFF2-40B4-BE49-F238E27FC236}">
                  <a16:creationId xmlns:a16="http://schemas.microsoft.com/office/drawing/2014/main" id="{08CFEDC1-5B06-42E8-B03E-9FA987A273AE}"/>
                </a:ext>
              </a:extLst>
            </p:cNvPr>
            <p:cNvSpPr>
              <a:spLocks/>
            </p:cNvSpPr>
            <p:nvPr/>
          </p:nvSpPr>
          <p:spPr bwMode="auto">
            <a:xfrm>
              <a:off x="4419" y="-27"/>
              <a:ext cx="128" cy="57"/>
            </a:xfrm>
            <a:custGeom>
              <a:avLst/>
              <a:gdLst>
                <a:gd name="T0" fmla="*/ 28 w 54"/>
                <a:gd name="T1" fmla="*/ 0 h 24"/>
                <a:gd name="T2" fmla="*/ 22 w 54"/>
                <a:gd name="T3" fmla="*/ 3 h 24"/>
                <a:gd name="T4" fmla="*/ 18 w 54"/>
                <a:gd name="T5" fmla="*/ 1 h 24"/>
                <a:gd name="T6" fmla="*/ 17 w 54"/>
                <a:gd name="T7" fmla="*/ 1 h 24"/>
                <a:gd name="T8" fmla="*/ 15 w 54"/>
                <a:gd name="T9" fmla="*/ 1 h 24"/>
                <a:gd name="T10" fmla="*/ 12 w 54"/>
                <a:gd name="T11" fmla="*/ 1 h 24"/>
                <a:gd name="T12" fmla="*/ 9 w 54"/>
                <a:gd name="T13" fmla="*/ 0 h 24"/>
                <a:gd name="T14" fmla="*/ 3 w 54"/>
                <a:gd name="T15" fmla="*/ 0 h 24"/>
                <a:gd name="T16" fmla="*/ 2 w 54"/>
                <a:gd name="T17" fmla="*/ 3 h 24"/>
                <a:gd name="T18" fmla="*/ 3 w 54"/>
                <a:gd name="T19" fmla="*/ 8 h 24"/>
                <a:gd name="T20" fmla="*/ 2 w 54"/>
                <a:gd name="T21" fmla="*/ 9 h 24"/>
                <a:gd name="T22" fmla="*/ 2 w 54"/>
                <a:gd name="T23" fmla="*/ 11 h 24"/>
                <a:gd name="T24" fmla="*/ 2 w 54"/>
                <a:gd name="T25" fmla="*/ 15 h 24"/>
                <a:gd name="T26" fmla="*/ 4 w 54"/>
                <a:gd name="T27" fmla="*/ 16 h 24"/>
                <a:gd name="T28" fmla="*/ 8 w 54"/>
                <a:gd name="T29" fmla="*/ 19 h 24"/>
                <a:gd name="T30" fmla="*/ 9 w 54"/>
                <a:gd name="T31" fmla="*/ 23 h 24"/>
                <a:gd name="T32" fmla="*/ 11 w 54"/>
                <a:gd name="T33" fmla="*/ 23 h 24"/>
                <a:gd name="T34" fmla="*/ 19 w 54"/>
                <a:gd name="T35" fmla="*/ 19 h 24"/>
                <a:gd name="T36" fmla="*/ 24 w 54"/>
                <a:gd name="T37" fmla="*/ 19 h 24"/>
                <a:gd name="T38" fmla="*/ 26 w 54"/>
                <a:gd name="T39" fmla="*/ 20 h 24"/>
                <a:gd name="T40" fmla="*/ 30 w 54"/>
                <a:gd name="T41" fmla="*/ 23 h 24"/>
                <a:gd name="T42" fmla="*/ 31 w 54"/>
                <a:gd name="T43" fmla="*/ 23 h 24"/>
                <a:gd name="T44" fmla="*/ 33 w 54"/>
                <a:gd name="T45" fmla="*/ 23 h 24"/>
                <a:gd name="T46" fmla="*/ 36 w 54"/>
                <a:gd name="T47" fmla="*/ 24 h 24"/>
                <a:gd name="T48" fmla="*/ 37 w 54"/>
                <a:gd name="T49" fmla="*/ 22 h 24"/>
                <a:gd name="T50" fmla="*/ 37 w 54"/>
                <a:gd name="T51" fmla="*/ 17 h 24"/>
                <a:gd name="T52" fmla="*/ 45 w 54"/>
                <a:gd name="T53" fmla="*/ 12 h 24"/>
                <a:gd name="T54" fmla="*/ 44 w 54"/>
                <a:gd name="T55" fmla="*/ 8 h 24"/>
                <a:gd name="T56" fmla="*/ 45 w 54"/>
                <a:gd name="T57" fmla="*/ 3 h 24"/>
                <a:gd name="T58" fmla="*/ 48 w 54"/>
                <a:gd name="T59" fmla="*/ 2 h 24"/>
                <a:gd name="T60" fmla="*/ 51 w 54"/>
                <a:gd name="T61" fmla="*/ 1 h 24"/>
                <a:gd name="T62" fmla="*/ 53 w 54"/>
                <a:gd name="T63" fmla="*/ 0 h 24"/>
                <a:gd name="T64" fmla="*/ 54 w 54"/>
                <a:gd name="T6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24">
                  <a:moveTo>
                    <a:pt x="54" y="0"/>
                  </a:moveTo>
                  <a:cubicBezTo>
                    <a:pt x="28" y="0"/>
                    <a:pt x="28" y="0"/>
                    <a:pt x="28" y="0"/>
                  </a:cubicBezTo>
                  <a:cubicBezTo>
                    <a:pt x="25" y="1"/>
                    <a:pt x="23" y="2"/>
                    <a:pt x="22" y="3"/>
                  </a:cubicBezTo>
                  <a:cubicBezTo>
                    <a:pt x="22" y="3"/>
                    <a:pt x="22" y="3"/>
                    <a:pt x="22" y="3"/>
                  </a:cubicBezTo>
                  <a:cubicBezTo>
                    <a:pt x="21" y="2"/>
                    <a:pt x="21" y="2"/>
                    <a:pt x="21" y="2"/>
                  </a:cubicBezTo>
                  <a:cubicBezTo>
                    <a:pt x="20" y="2"/>
                    <a:pt x="19" y="2"/>
                    <a:pt x="18" y="1"/>
                  </a:cubicBezTo>
                  <a:cubicBezTo>
                    <a:pt x="17" y="1"/>
                    <a:pt x="17" y="1"/>
                    <a:pt x="17" y="1"/>
                  </a:cubicBezTo>
                  <a:cubicBezTo>
                    <a:pt x="17" y="1"/>
                    <a:pt x="17" y="1"/>
                    <a:pt x="17" y="1"/>
                  </a:cubicBezTo>
                  <a:cubicBezTo>
                    <a:pt x="17" y="1"/>
                    <a:pt x="16" y="1"/>
                    <a:pt x="16" y="1"/>
                  </a:cubicBezTo>
                  <a:cubicBezTo>
                    <a:pt x="16" y="1"/>
                    <a:pt x="15" y="1"/>
                    <a:pt x="15" y="1"/>
                  </a:cubicBezTo>
                  <a:cubicBezTo>
                    <a:pt x="15" y="1"/>
                    <a:pt x="15" y="1"/>
                    <a:pt x="15" y="1"/>
                  </a:cubicBezTo>
                  <a:cubicBezTo>
                    <a:pt x="14" y="1"/>
                    <a:pt x="13" y="1"/>
                    <a:pt x="12" y="1"/>
                  </a:cubicBezTo>
                  <a:cubicBezTo>
                    <a:pt x="12" y="1"/>
                    <a:pt x="11" y="0"/>
                    <a:pt x="10" y="0"/>
                  </a:cubicBezTo>
                  <a:cubicBezTo>
                    <a:pt x="9" y="0"/>
                    <a:pt x="9" y="0"/>
                    <a:pt x="9" y="0"/>
                  </a:cubicBezTo>
                  <a:cubicBezTo>
                    <a:pt x="8" y="0"/>
                    <a:pt x="8" y="0"/>
                    <a:pt x="8" y="0"/>
                  </a:cubicBezTo>
                  <a:cubicBezTo>
                    <a:pt x="3" y="0"/>
                    <a:pt x="3" y="0"/>
                    <a:pt x="3" y="0"/>
                  </a:cubicBezTo>
                  <a:cubicBezTo>
                    <a:pt x="3" y="1"/>
                    <a:pt x="2" y="1"/>
                    <a:pt x="0" y="2"/>
                  </a:cubicBezTo>
                  <a:cubicBezTo>
                    <a:pt x="1" y="3"/>
                    <a:pt x="2" y="3"/>
                    <a:pt x="2" y="3"/>
                  </a:cubicBezTo>
                  <a:cubicBezTo>
                    <a:pt x="6" y="5"/>
                    <a:pt x="6" y="5"/>
                    <a:pt x="6" y="5"/>
                  </a:cubicBezTo>
                  <a:cubicBezTo>
                    <a:pt x="3" y="8"/>
                    <a:pt x="3" y="8"/>
                    <a:pt x="3" y="8"/>
                  </a:cubicBezTo>
                  <a:cubicBezTo>
                    <a:pt x="2" y="8"/>
                    <a:pt x="2" y="8"/>
                    <a:pt x="2" y="8"/>
                  </a:cubicBezTo>
                  <a:cubicBezTo>
                    <a:pt x="2" y="9"/>
                    <a:pt x="2" y="9"/>
                    <a:pt x="2" y="9"/>
                  </a:cubicBezTo>
                  <a:cubicBezTo>
                    <a:pt x="1" y="9"/>
                    <a:pt x="1" y="9"/>
                    <a:pt x="1" y="9"/>
                  </a:cubicBezTo>
                  <a:cubicBezTo>
                    <a:pt x="2" y="10"/>
                    <a:pt x="2" y="10"/>
                    <a:pt x="2" y="11"/>
                  </a:cubicBezTo>
                  <a:cubicBezTo>
                    <a:pt x="2" y="12"/>
                    <a:pt x="3" y="13"/>
                    <a:pt x="2" y="14"/>
                  </a:cubicBezTo>
                  <a:cubicBezTo>
                    <a:pt x="2" y="15"/>
                    <a:pt x="2" y="15"/>
                    <a:pt x="2" y="15"/>
                  </a:cubicBezTo>
                  <a:cubicBezTo>
                    <a:pt x="2" y="15"/>
                    <a:pt x="2" y="15"/>
                    <a:pt x="2" y="15"/>
                  </a:cubicBezTo>
                  <a:cubicBezTo>
                    <a:pt x="3" y="15"/>
                    <a:pt x="4" y="15"/>
                    <a:pt x="4" y="16"/>
                  </a:cubicBezTo>
                  <a:cubicBezTo>
                    <a:pt x="5" y="16"/>
                    <a:pt x="6" y="17"/>
                    <a:pt x="7" y="18"/>
                  </a:cubicBezTo>
                  <a:cubicBezTo>
                    <a:pt x="8" y="19"/>
                    <a:pt x="8" y="19"/>
                    <a:pt x="8" y="19"/>
                  </a:cubicBezTo>
                  <a:cubicBezTo>
                    <a:pt x="8" y="19"/>
                    <a:pt x="8" y="19"/>
                    <a:pt x="8" y="20"/>
                  </a:cubicBezTo>
                  <a:cubicBezTo>
                    <a:pt x="9" y="20"/>
                    <a:pt x="9" y="22"/>
                    <a:pt x="9" y="23"/>
                  </a:cubicBezTo>
                  <a:cubicBezTo>
                    <a:pt x="9" y="23"/>
                    <a:pt x="9" y="23"/>
                    <a:pt x="9" y="23"/>
                  </a:cubicBezTo>
                  <a:cubicBezTo>
                    <a:pt x="10" y="23"/>
                    <a:pt x="10" y="23"/>
                    <a:pt x="11" y="23"/>
                  </a:cubicBezTo>
                  <a:cubicBezTo>
                    <a:pt x="11" y="23"/>
                    <a:pt x="12" y="23"/>
                    <a:pt x="12" y="23"/>
                  </a:cubicBezTo>
                  <a:cubicBezTo>
                    <a:pt x="15" y="23"/>
                    <a:pt x="18" y="21"/>
                    <a:pt x="19" y="19"/>
                  </a:cubicBezTo>
                  <a:cubicBezTo>
                    <a:pt x="21" y="16"/>
                    <a:pt x="21" y="16"/>
                    <a:pt x="21" y="16"/>
                  </a:cubicBezTo>
                  <a:cubicBezTo>
                    <a:pt x="24" y="19"/>
                    <a:pt x="24" y="19"/>
                    <a:pt x="24" y="19"/>
                  </a:cubicBezTo>
                  <a:cubicBezTo>
                    <a:pt x="25" y="19"/>
                    <a:pt x="25" y="20"/>
                    <a:pt x="25" y="20"/>
                  </a:cubicBezTo>
                  <a:cubicBezTo>
                    <a:pt x="26" y="20"/>
                    <a:pt x="26" y="20"/>
                    <a:pt x="26" y="20"/>
                  </a:cubicBezTo>
                  <a:cubicBezTo>
                    <a:pt x="26" y="21"/>
                    <a:pt x="27" y="22"/>
                    <a:pt x="28" y="23"/>
                  </a:cubicBezTo>
                  <a:cubicBezTo>
                    <a:pt x="29" y="23"/>
                    <a:pt x="29" y="23"/>
                    <a:pt x="30" y="23"/>
                  </a:cubicBezTo>
                  <a:cubicBezTo>
                    <a:pt x="30" y="23"/>
                    <a:pt x="30" y="23"/>
                    <a:pt x="30" y="23"/>
                  </a:cubicBezTo>
                  <a:cubicBezTo>
                    <a:pt x="31" y="23"/>
                    <a:pt x="31" y="23"/>
                    <a:pt x="31" y="23"/>
                  </a:cubicBezTo>
                  <a:cubicBezTo>
                    <a:pt x="31" y="23"/>
                    <a:pt x="32" y="23"/>
                    <a:pt x="32" y="23"/>
                  </a:cubicBezTo>
                  <a:cubicBezTo>
                    <a:pt x="33" y="23"/>
                    <a:pt x="33" y="23"/>
                    <a:pt x="33" y="23"/>
                  </a:cubicBezTo>
                  <a:cubicBezTo>
                    <a:pt x="34" y="23"/>
                    <a:pt x="35" y="23"/>
                    <a:pt x="36" y="24"/>
                  </a:cubicBezTo>
                  <a:cubicBezTo>
                    <a:pt x="36" y="24"/>
                    <a:pt x="36" y="24"/>
                    <a:pt x="36" y="24"/>
                  </a:cubicBezTo>
                  <a:cubicBezTo>
                    <a:pt x="36" y="23"/>
                    <a:pt x="36" y="23"/>
                    <a:pt x="36" y="23"/>
                  </a:cubicBezTo>
                  <a:cubicBezTo>
                    <a:pt x="37" y="22"/>
                    <a:pt x="37" y="22"/>
                    <a:pt x="37" y="22"/>
                  </a:cubicBezTo>
                  <a:cubicBezTo>
                    <a:pt x="33" y="20"/>
                    <a:pt x="33" y="20"/>
                    <a:pt x="33" y="20"/>
                  </a:cubicBezTo>
                  <a:cubicBezTo>
                    <a:pt x="37" y="17"/>
                    <a:pt x="37" y="17"/>
                    <a:pt x="37" y="17"/>
                  </a:cubicBezTo>
                  <a:cubicBezTo>
                    <a:pt x="38" y="16"/>
                    <a:pt x="39" y="15"/>
                    <a:pt x="41" y="14"/>
                  </a:cubicBezTo>
                  <a:cubicBezTo>
                    <a:pt x="42" y="14"/>
                    <a:pt x="44" y="13"/>
                    <a:pt x="45" y="12"/>
                  </a:cubicBezTo>
                  <a:cubicBezTo>
                    <a:pt x="45" y="11"/>
                    <a:pt x="45" y="11"/>
                    <a:pt x="45" y="11"/>
                  </a:cubicBezTo>
                  <a:cubicBezTo>
                    <a:pt x="45" y="10"/>
                    <a:pt x="44" y="9"/>
                    <a:pt x="44" y="8"/>
                  </a:cubicBezTo>
                  <a:cubicBezTo>
                    <a:pt x="44" y="7"/>
                    <a:pt x="44" y="5"/>
                    <a:pt x="45" y="4"/>
                  </a:cubicBezTo>
                  <a:cubicBezTo>
                    <a:pt x="45" y="3"/>
                    <a:pt x="45" y="3"/>
                    <a:pt x="45" y="3"/>
                  </a:cubicBezTo>
                  <a:cubicBezTo>
                    <a:pt x="46" y="3"/>
                    <a:pt x="46" y="2"/>
                    <a:pt x="47" y="2"/>
                  </a:cubicBezTo>
                  <a:cubicBezTo>
                    <a:pt x="48" y="2"/>
                    <a:pt x="48" y="2"/>
                    <a:pt x="48" y="2"/>
                  </a:cubicBezTo>
                  <a:cubicBezTo>
                    <a:pt x="48" y="1"/>
                    <a:pt x="49" y="1"/>
                    <a:pt x="49" y="1"/>
                  </a:cubicBezTo>
                  <a:cubicBezTo>
                    <a:pt x="50" y="1"/>
                    <a:pt x="50" y="1"/>
                    <a:pt x="51" y="1"/>
                  </a:cubicBezTo>
                  <a:cubicBezTo>
                    <a:pt x="51" y="1"/>
                    <a:pt x="51" y="1"/>
                    <a:pt x="51" y="1"/>
                  </a:cubicBezTo>
                  <a:cubicBezTo>
                    <a:pt x="52" y="0"/>
                    <a:pt x="53" y="0"/>
                    <a:pt x="53" y="0"/>
                  </a:cubicBezTo>
                  <a:cubicBezTo>
                    <a:pt x="54" y="0"/>
                    <a:pt x="54" y="0"/>
                    <a:pt x="54" y="0"/>
                  </a:cubicBezTo>
                  <a:cubicBezTo>
                    <a:pt x="54" y="0"/>
                    <a:pt x="54" y="0"/>
                    <a:pt x="54" y="0"/>
                  </a:cubicBezTo>
                  <a:cubicBezTo>
                    <a:pt x="54" y="0"/>
                    <a:pt x="54" y="0"/>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5" name="Freeform 254">
              <a:extLst>
                <a:ext uri="{FF2B5EF4-FFF2-40B4-BE49-F238E27FC236}">
                  <a16:creationId xmlns:a16="http://schemas.microsoft.com/office/drawing/2014/main" id="{1813FBA8-00F9-43C3-8AD2-4B68B71E9D18}"/>
                </a:ext>
              </a:extLst>
            </p:cNvPr>
            <p:cNvSpPr>
              <a:spLocks/>
            </p:cNvSpPr>
            <p:nvPr/>
          </p:nvSpPr>
          <p:spPr bwMode="auto">
            <a:xfrm>
              <a:off x="4712" y="63"/>
              <a:ext cx="5" cy="7"/>
            </a:xfrm>
            <a:custGeom>
              <a:avLst/>
              <a:gdLst>
                <a:gd name="T0" fmla="*/ 1 w 2"/>
                <a:gd name="T1" fmla="*/ 0 h 3"/>
                <a:gd name="T2" fmla="*/ 0 w 2"/>
                <a:gd name="T3" fmla="*/ 2 h 3"/>
                <a:gd name="T4" fmla="*/ 1 w 2"/>
                <a:gd name="T5" fmla="*/ 3 h 3"/>
                <a:gd name="T6" fmla="*/ 2 w 2"/>
                <a:gd name="T7" fmla="*/ 3 h 3"/>
                <a:gd name="T8" fmla="*/ 1 w 2"/>
                <a:gd name="T9" fmla="*/ 0 h 3"/>
              </a:gdLst>
              <a:ahLst/>
              <a:cxnLst>
                <a:cxn ang="0">
                  <a:pos x="T0" y="T1"/>
                </a:cxn>
                <a:cxn ang="0">
                  <a:pos x="T2" y="T3"/>
                </a:cxn>
                <a:cxn ang="0">
                  <a:pos x="T4" y="T5"/>
                </a:cxn>
                <a:cxn ang="0">
                  <a:pos x="T6" y="T7"/>
                </a:cxn>
                <a:cxn ang="0">
                  <a:pos x="T8" y="T9"/>
                </a:cxn>
              </a:cxnLst>
              <a:rect l="0" t="0" r="r" b="b"/>
              <a:pathLst>
                <a:path w="2" h="3">
                  <a:moveTo>
                    <a:pt x="1" y="0"/>
                  </a:moveTo>
                  <a:cubicBezTo>
                    <a:pt x="0" y="2"/>
                    <a:pt x="0" y="2"/>
                    <a:pt x="0" y="2"/>
                  </a:cubicBezTo>
                  <a:cubicBezTo>
                    <a:pt x="1" y="3"/>
                    <a:pt x="1" y="3"/>
                    <a:pt x="1" y="3"/>
                  </a:cubicBezTo>
                  <a:cubicBezTo>
                    <a:pt x="2" y="3"/>
                    <a:pt x="2" y="3"/>
                    <a:pt x="2" y="3"/>
                  </a:cubicBezTo>
                  <a:cubicBezTo>
                    <a:pt x="2"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6" name="Rectangle 255">
              <a:extLst>
                <a:ext uri="{FF2B5EF4-FFF2-40B4-BE49-F238E27FC236}">
                  <a16:creationId xmlns:a16="http://schemas.microsoft.com/office/drawing/2014/main" id="{9C36B0EE-DA78-4C63-A286-BBB4A26E61DC}"/>
                </a:ext>
              </a:extLst>
            </p:cNvPr>
            <p:cNvSpPr>
              <a:spLocks noChangeArrowheads="1"/>
            </p:cNvSpPr>
            <p:nvPr/>
          </p:nvSpPr>
          <p:spPr bwMode="auto">
            <a:xfrm>
              <a:off x="4722" y="53"/>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7" name="Rectangle 256">
              <a:extLst>
                <a:ext uri="{FF2B5EF4-FFF2-40B4-BE49-F238E27FC236}">
                  <a16:creationId xmlns:a16="http://schemas.microsoft.com/office/drawing/2014/main" id="{F7FA7B06-FBDB-4F08-9459-76164AC7E666}"/>
                </a:ext>
              </a:extLst>
            </p:cNvPr>
            <p:cNvSpPr>
              <a:spLocks noChangeArrowheads="1"/>
            </p:cNvSpPr>
            <p:nvPr/>
          </p:nvSpPr>
          <p:spPr bwMode="auto">
            <a:xfrm>
              <a:off x="4722" y="53"/>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8" name="Freeform 257">
              <a:extLst>
                <a:ext uri="{FF2B5EF4-FFF2-40B4-BE49-F238E27FC236}">
                  <a16:creationId xmlns:a16="http://schemas.microsoft.com/office/drawing/2014/main" id="{2F430E33-7422-4CAD-893F-C42E13DF5AF4}"/>
                </a:ext>
              </a:extLst>
            </p:cNvPr>
            <p:cNvSpPr>
              <a:spLocks/>
            </p:cNvSpPr>
            <p:nvPr/>
          </p:nvSpPr>
          <p:spPr bwMode="auto">
            <a:xfrm>
              <a:off x="4412" y="-27"/>
              <a:ext cx="310" cy="232"/>
            </a:xfrm>
            <a:custGeom>
              <a:avLst/>
              <a:gdLst>
                <a:gd name="T0" fmla="*/ 69 w 131"/>
                <a:gd name="T1" fmla="*/ 3 h 98"/>
                <a:gd name="T2" fmla="*/ 64 w 131"/>
                <a:gd name="T3" fmla="*/ 3 h 98"/>
                <a:gd name="T4" fmla="*/ 59 w 131"/>
                <a:gd name="T5" fmla="*/ 5 h 98"/>
                <a:gd name="T6" fmla="*/ 54 w 131"/>
                <a:gd name="T7" fmla="*/ 7 h 98"/>
                <a:gd name="T8" fmla="*/ 53 w 131"/>
                <a:gd name="T9" fmla="*/ 7 h 98"/>
                <a:gd name="T10" fmla="*/ 55 w 131"/>
                <a:gd name="T11" fmla="*/ 11 h 98"/>
                <a:gd name="T12" fmla="*/ 46 w 131"/>
                <a:gd name="T13" fmla="*/ 20 h 98"/>
                <a:gd name="T14" fmla="*/ 46 w 131"/>
                <a:gd name="T15" fmla="*/ 25 h 98"/>
                <a:gd name="T16" fmla="*/ 42 w 131"/>
                <a:gd name="T17" fmla="*/ 30 h 98"/>
                <a:gd name="T18" fmla="*/ 39 w 131"/>
                <a:gd name="T19" fmla="*/ 30 h 98"/>
                <a:gd name="T20" fmla="*/ 33 w 131"/>
                <a:gd name="T21" fmla="*/ 28 h 98"/>
                <a:gd name="T22" fmla="*/ 29 w 131"/>
                <a:gd name="T23" fmla="*/ 28 h 98"/>
                <a:gd name="T24" fmla="*/ 12 w 131"/>
                <a:gd name="T25" fmla="*/ 28 h 98"/>
                <a:gd name="T26" fmla="*/ 2 w 131"/>
                <a:gd name="T27" fmla="*/ 30 h 98"/>
                <a:gd name="T28" fmla="*/ 2 w 131"/>
                <a:gd name="T29" fmla="*/ 33 h 98"/>
                <a:gd name="T30" fmla="*/ 7 w 131"/>
                <a:gd name="T31" fmla="*/ 44 h 98"/>
                <a:gd name="T32" fmla="*/ 16 w 131"/>
                <a:gd name="T33" fmla="*/ 40 h 98"/>
                <a:gd name="T34" fmla="*/ 25 w 131"/>
                <a:gd name="T35" fmla="*/ 34 h 98"/>
                <a:gd name="T36" fmla="*/ 38 w 131"/>
                <a:gd name="T37" fmla="*/ 55 h 98"/>
                <a:gd name="T38" fmla="*/ 40 w 131"/>
                <a:gd name="T39" fmla="*/ 62 h 98"/>
                <a:gd name="T40" fmla="*/ 50 w 131"/>
                <a:gd name="T41" fmla="*/ 74 h 98"/>
                <a:gd name="T42" fmla="*/ 62 w 131"/>
                <a:gd name="T43" fmla="*/ 83 h 98"/>
                <a:gd name="T44" fmla="*/ 67 w 131"/>
                <a:gd name="T45" fmla="*/ 82 h 98"/>
                <a:gd name="T46" fmla="*/ 94 w 131"/>
                <a:gd name="T47" fmla="*/ 98 h 98"/>
                <a:gd name="T48" fmla="*/ 87 w 131"/>
                <a:gd name="T49" fmla="*/ 87 h 98"/>
                <a:gd name="T50" fmla="*/ 73 w 131"/>
                <a:gd name="T51" fmla="*/ 75 h 98"/>
                <a:gd name="T52" fmla="*/ 65 w 131"/>
                <a:gd name="T53" fmla="*/ 68 h 98"/>
                <a:gd name="T54" fmla="*/ 60 w 131"/>
                <a:gd name="T55" fmla="*/ 60 h 98"/>
                <a:gd name="T56" fmla="*/ 57 w 131"/>
                <a:gd name="T57" fmla="*/ 52 h 98"/>
                <a:gd name="T58" fmla="*/ 51 w 131"/>
                <a:gd name="T59" fmla="*/ 49 h 98"/>
                <a:gd name="T60" fmla="*/ 51 w 131"/>
                <a:gd name="T61" fmla="*/ 40 h 98"/>
                <a:gd name="T62" fmla="*/ 56 w 131"/>
                <a:gd name="T63" fmla="*/ 31 h 98"/>
                <a:gd name="T64" fmla="*/ 60 w 131"/>
                <a:gd name="T65" fmla="*/ 32 h 98"/>
                <a:gd name="T66" fmla="*/ 71 w 131"/>
                <a:gd name="T67" fmla="*/ 31 h 98"/>
                <a:gd name="T68" fmla="*/ 76 w 131"/>
                <a:gd name="T69" fmla="*/ 31 h 98"/>
                <a:gd name="T70" fmla="*/ 78 w 131"/>
                <a:gd name="T71" fmla="*/ 31 h 98"/>
                <a:gd name="T72" fmla="*/ 82 w 131"/>
                <a:gd name="T73" fmla="*/ 30 h 98"/>
                <a:gd name="T74" fmla="*/ 83 w 131"/>
                <a:gd name="T75" fmla="*/ 31 h 98"/>
                <a:gd name="T76" fmla="*/ 116 w 131"/>
                <a:gd name="T77" fmla="*/ 35 h 98"/>
                <a:gd name="T78" fmla="*/ 124 w 131"/>
                <a:gd name="T79" fmla="*/ 37 h 98"/>
                <a:gd name="T80" fmla="*/ 130 w 131"/>
                <a:gd name="T81" fmla="*/ 32 h 98"/>
                <a:gd name="T82" fmla="*/ 125 w 131"/>
                <a:gd name="T83" fmla="*/ 26 h 98"/>
                <a:gd name="T84" fmla="*/ 116 w 131"/>
                <a:gd name="T85" fmla="*/ 26 h 98"/>
                <a:gd name="T86" fmla="*/ 110 w 131"/>
                <a:gd name="T87" fmla="*/ 21 h 98"/>
                <a:gd name="T88" fmla="*/ 104 w 131"/>
                <a:gd name="T89" fmla="*/ 20 h 98"/>
                <a:gd name="T90" fmla="*/ 93 w 131"/>
                <a:gd name="T91" fmla="*/ 16 h 98"/>
                <a:gd name="T92" fmla="*/ 90 w 131"/>
                <a:gd name="T93" fmla="*/ 1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1" h="98">
                  <a:moveTo>
                    <a:pt x="71" y="0"/>
                  </a:moveTo>
                  <a:cubicBezTo>
                    <a:pt x="68" y="0"/>
                    <a:pt x="68" y="0"/>
                    <a:pt x="68" y="0"/>
                  </a:cubicBezTo>
                  <a:cubicBezTo>
                    <a:pt x="69" y="3"/>
                    <a:pt x="69" y="3"/>
                    <a:pt x="69" y="3"/>
                  </a:cubicBezTo>
                  <a:cubicBezTo>
                    <a:pt x="65" y="3"/>
                    <a:pt x="65" y="3"/>
                    <a:pt x="65" y="3"/>
                  </a:cubicBezTo>
                  <a:cubicBezTo>
                    <a:pt x="65" y="3"/>
                    <a:pt x="65" y="3"/>
                    <a:pt x="65" y="3"/>
                  </a:cubicBezTo>
                  <a:cubicBezTo>
                    <a:pt x="65" y="3"/>
                    <a:pt x="65" y="3"/>
                    <a:pt x="64" y="3"/>
                  </a:cubicBezTo>
                  <a:cubicBezTo>
                    <a:pt x="63" y="3"/>
                    <a:pt x="63" y="3"/>
                    <a:pt x="63" y="3"/>
                  </a:cubicBezTo>
                  <a:cubicBezTo>
                    <a:pt x="63" y="2"/>
                    <a:pt x="63" y="2"/>
                    <a:pt x="63" y="2"/>
                  </a:cubicBezTo>
                  <a:cubicBezTo>
                    <a:pt x="62" y="4"/>
                    <a:pt x="60" y="5"/>
                    <a:pt x="59" y="5"/>
                  </a:cubicBezTo>
                  <a:cubicBezTo>
                    <a:pt x="59" y="5"/>
                    <a:pt x="58" y="5"/>
                    <a:pt x="58" y="5"/>
                  </a:cubicBezTo>
                  <a:cubicBezTo>
                    <a:pt x="57" y="6"/>
                    <a:pt x="57" y="6"/>
                    <a:pt x="56" y="6"/>
                  </a:cubicBezTo>
                  <a:cubicBezTo>
                    <a:pt x="54" y="7"/>
                    <a:pt x="54" y="7"/>
                    <a:pt x="54" y="7"/>
                  </a:cubicBezTo>
                  <a:cubicBezTo>
                    <a:pt x="53" y="7"/>
                    <a:pt x="53" y="7"/>
                    <a:pt x="53" y="7"/>
                  </a:cubicBezTo>
                  <a:cubicBezTo>
                    <a:pt x="53" y="7"/>
                    <a:pt x="53" y="7"/>
                    <a:pt x="53" y="7"/>
                  </a:cubicBezTo>
                  <a:cubicBezTo>
                    <a:pt x="53" y="7"/>
                    <a:pt x="53" y="7"/>
                    <a:pt x="53" y="7"/>
                  </a:cubicBezTo>
                  <a:cubicBezTo>
                    <a:pt x="54" y="7"/>
                    <a:pt x="55" y="8"/>
                    <a:pt x="55" y="9"/>
                  </a:cubicBezTo>
                  <a:cubicBezTo>
                    <a:pt x="55" y="11"/>
                    <a:pt x="55" y="11"/>
                    <a:pt x="55" y="11"/>
                  </a:cubicBezTo>
                  <a:cubicBezTo>
                    <a:pt x="55" y="11"/>
                    <a:pt x="55" y="11"/>
                    <a:pt x="55" y="11"/>
                  </a:cubicBezTo>
                  <a:cubicBezTo>
                    <a:pt x="54" y="13"/>
                    <a:pt x="53" y="14"/>
                    <a:pt x="52" y="15"/>
                  </a:cubicBezTo>
                  <a:cubicBezTo>
                    <a:pt x="50" y="17"/>
                    <a:pt x="48" y="19"/>
                    <a:pt x="47" y="19"/>
                  </a:cubicBezTo>
                  <a:cubicBezTo>
                    <a:pt x="46" y="20"/>
                    <a:pt x="46" y="20"/>
                    <a:pt x="46" y="20"/>
                  </a:cubicBezTo>
                  <a:cubicBezTo>
                    <a:pt x="47" y="20"/>
                    <a:pt x="47" y="20"/>
                    <a:pt x="47" y="20"/>
                  </a:cubicBezTo>
                  <a:cubicBezTo>
                    <a:pt x="47" y="22"/>
                    <a:pt x="46" y="24"/>
                    <a:pt x="45" y="24"/>
                  </a:cubicBezTo>
                  <a:cubicBezTo>
                    <a:pt x="45" y="24"/>
                    <a:pt x="46" y="25"/>
                    <a:pt x="46" y="25"/>
                  </a:cubicBezTo>
                  <a:cubicBezTo>
                    <a:pt x="46" y="27"/>
                    <a:pt x="44" y="28"/>
                    <a:pt x="44" y="29"/>
                  </a:cubicBezTo>
                  <a:cubicBezTo>
                    <a:pt x="43" y="29"/>
                    <a:pt x="43" y="29"/>
                    <a:pt x="43" y="29"/>
                  </a:cubicBezTo>
                  <a:cubicBezTo>
                    <a:pt x="42" y="30"/>
                    <a:pt x="42" y="30"/>
                    <a:pt x="42" y="30"/>
                  </a:cubicBezTo>
                  <a:cubicBezTo>
                    <a:pt x="41" y="30"/>
                    <a:pt x="41" y="30"/>
                    <a:pt x="41" y="30"/>
                  </a:cubicBezTo>
                  <a:cubicBezTo>
                    <a:pt x="40" y="30"/>
                    <a:pt x="40" y="30"/>
                    <a:pt x="39" y="30"/>
                  </a:cubicBezTo>
                  <a:cubicBezTo>
                    <a:pt x="39" y="30"/>
                    <a:pt x="39" y="30"/>
                    <a:pt x="39" y="30"/>
                  </a:cubicBezTo>
                  <a:cubicBezTo>
                    <a:pt x="38" y="30"/>
                    <a:pt x="38" y="30"/>
                    <a:pt x="38" y="30"/>
                  </a:cubicBezTo>
                  <a:cubicBezTo>
                    <a:pt x="38" y="29"/>
                    <a:pt x="37" y="29"/>
                    <a:pt x="36" y="29"/>
                  </a:cubicBezTo>
                  <a:cubicBezTo>
                    <a:pt x="35" y="28"/>
                    <a:pt x="34" y="28"/>
                    <a:pt x="33" y="28"/>
                  </a:cubicBezTo>
                  <a:cubicBezTo>
                    <a:pt x="33" y="28"/>
                    <a:pt x="32" y="28"/>
                    <a:pt x="31" y="28"/>
                  </a:cubicBezTo>
                  <a:cubicBezTo>
                    <a:pt x="31" y="28"/>
                    <a:pt x="31" y="28"/>
                    <a:pt x="31" y="28"/>
                  </a:cubicBezTo>
                  <a:cubicBezTo>
                    <a:pt x="30" y="28"/>
                    <a:pt x="29" y="28"/>
                    <a:pt x="29" y="28"/>
                  </a:cubicBezTo>
                  <a:cubicBezTo>
                    <a:pt x="27" y="27"/>
                    <a:pt x="26" y="26"/>
                    <a:pt x="25" y="25"/>
                  </a:cubicBezTo>
                  <a:cubicBezTo>
                    <a:pt x="23" y="27"/>
                    <a:pt x="19" y="29"/>
                    <a:pt x="15" y="29"/>
                  </a:cubicBezTo>
                  <a:cubicBezTo>
                    <a:pt x="14" y="29"/>
                    <a:pt x="13" y="29"/>
                    <a:pt x="12" y="28"/>
                  </a:cubicBezTo>
                  <a:cubicBezTo>
                    <a:pt x="12" y="28"/>
                    <a:pt x="11" y="28"/>
                    <a:pt x="11" y="28"/>
                  </a:cubicBezTo>
                  <a:cubicBezTo>
                    <a:pt x="9" y="28"/>
                    <a:pt x="5" y="29"/>
                    <a:pt x="3" y="29"/>
                  </a:cubicBezTo>
                  <a:cubicBezTo>
                    <a:pt x="2" y="30"/>
                    <a:pt x="2" y="30"/>
                    <a:pt x="2" y="30"/>
                  </a:cubicBezTo>
                  <a:cubicBezTo>
                    <a:pt x="1" y="28"/>
                    <a:pt x="1" y="28"/>
                    <a:pt x="1" y="28"/>
                  </a:cubicBezTo>
                  <a:cubicBezTo>
                    <a:pt x="1" y="28"/>
                    <a:pt x="1" y="28"/>
                    <a:pt x="1" y="28"/>
                  </a:cubicBezTo>
                  <a:cubicBezTo>
                    <a:pt x="0" y="30"/>
                    <a:pt x="2" y="32"/>
                    <a:pt x="2" y="33"/>
                  </a:cubicBezTo>
                  <a:cubicBezTo>
                    <a:pt x="2" y="35"/>
                    <a:pt x="2" y="36"/>
                    <a:pt x="3" y="38"/>
                  </a:cubicBezTo>
                  <a:cubicBezTo>
                    <a:pt x="4" y="40"/>
                    <a:pt x="7" y="41"/>
                    <a:pt x="7" y="44"/>
                  </a:cubicBezTo>
                  <a:cubicBezTo>
                    <a:pt x="7" y="44"/>
                    <a:pt x="7" y="44"/>
                    <a:pt x="7" y="44"/>
                  </a:cubicBezTo>
                  <a:cubicBezTo>
                    <a:pt x="8" y="45"/>
                    <a:pt x="9" y="46"/>
                    <a:pt x="9" y="47"/>
                  </a:cubicBezTo>
                  <a:cubicBezTo>
                    <a:pt x="10" y="44"/>
                    <a:pt x="11" y="40"/>
                    <a:pt x="14" y="40"/>
                  </a:cubicBezTo>
                  <a:cubicBezTo>
                    <a:pt x="14" y="40"/>
                    <a:pt x="15" y="40"/>
                    <a:pt x="16" y="40"/>
                  </a:cubicBezTo>
                  <a:cubicBezTo>
                    <a:pt x="16" y="38"/>
                    <a:pt x="17" y="33"/>
                    <a:pt x="18" y="31"/>
                  </a:cubicBezTo>
                  <a:cubicBezTo>
                    <a:pt x="19" y="31"/>
                    <a:pt x="19" y="31"/>
                    <a:pt x="20" y="31"/>
                  </a:cubicBezTo>
                  <a:cubicBezTo>
                    <a:pt x="21" y="31"/>
                    <a:pt x="23" y="32"/>
                    <a:pt x="25" y="34"/>
                  </a:cubicBezTo>
                  <a:cubicBezTo>
                    <a:pt x="25" y="34"/>
                    <a:pt x="25" y="34"/>
                    <a:pt x="25" y="34"/>
                  </a:cubicBezTo>
                  <a:cubicBezTo>
                    <a:pt x="26" y="34"/>
                    <a:pt x="33" y="39"/>
                    <a:pt x="33" y="40"/>
                  </a:cubicBezTo>
                  <a:cubicBezTo>
                    <a:pt x="34" y="46"/>
                    <a:pt x="34" y="51"/>
                    <a:pt x="38" y="55"/>
                  </a:cubicBezTo>
                  <a:cubicBezTo>
                    <a:pt x="42" y="59"/>
                    <a:pt x="47" y="60"/>
                    <a:pt x="49" y="65"/>
                  </a:cubicBezTo>
                  <a:cubicBezTo>
                    <a:pt x="49" y="65"/>
                    <a:pt x="43" y="60"/>
                    <a:pt x="41" y="60"/>
                  </a:cubicBezTo>
                  <a:cubicBezTo>
                    <a:pt x="40" y="60"/>
                    <a:pt x="40" y="61"/>
                    <a:pt x="40" y="62"/>
                  </a:cubicBezTo>
                  <a:cubicBezTo>
                    <a:pt x="39" y="61"/>
                    <a:pt x="39" y="61"/>
                    <a:pt x="39" y="61"/>
                  </a:cubicBezTo>
                  <a:cubicBezTo>
                    <a:pt x="38" y="61"/>
                    <a:pt x="39" y="64"/>
                    <a:pt x="40" y="65"/>
                  </a:cubicBezTo>
                  <a:cubicBezTo>
                    <a:pt x="43" y="68"/>
                    <a:pt x="47" y="72"/>
                    <a:pt x="50" y="74"/>
                  </a:cubicBezTo>
                  <a:cubicBezTo>
                    <a:pt x="52" y="75"/>
                    <a:pt x="57" y="77"/>
                    <a:pt x="58" y="79"/>
                  </a:cubicBezTo>
                  <a:cubicBezTo>
                    <a:pt x="59" y="82"/>
                    <a:pt x="58" y="83"/>
                    <a:pt x="60" y="83"/>
                  </a:cubicBezTo>
                  <a:cubicBezTo>
                    <a:pt x="61" y="83"/>
                    <a:pt x="61" y="83"/>
                    <a:pt x="62" y="83"/>
                  </a:cubicBezTo>
                  <a:cubicBezTo>
                    <a:pt x="63" y="83"/>
                    <a:pt x="64" y="83"/>
                    <a:pt x="65" y="83"/>
                  </a:cubicBezTo>
                  <a:cubicBezTo>
                    <a:pt x="66" y="83"/>
                    <a:pt x="66" y="82"/>
                    <a:pt x="67" y="82"/>
                  </a:cubicBezTo>
                  <a:cubicBezTo>
                    <a:pt x="67" y="82"/>
                    <a:pt x="67" y="82"/>
                    <a:pt x="67" y="82"/>
                  </a:cubicBezTo>
                  <a:cubicBezTo>
                    <a:pt x="72" y="82"/>
                    <a:pt x="76" y="86"/>
                    <a:pt x="79" y="88"/>
                  </a:cubicBezTo>
                  <a:cubicBezTo>
                    <a:pt x="83" y="91"/>
                    <a:pt x="87" y="93"/>
                    <a:pt x="90" y="95"/>
                  </a:cubicBezTo>
                  <a:cubicBezTo>
                    <a:pt x="91" y="96"/>
                    <a:pt x="92" y="97"/>
                    <a:pt x="94" y="98"/>
                  </a:cubicBezTo>
                  <a:cubicBezTo>
                    <a:pt x="93" y="97"/>
                    <a:pt x="93" y="97"/>
                    <a:pt x="93" y="97"/>
                  </a:cubicBezTo>
                  <a:cubicBezTo>
                    <a:pt x="92" y="97"/>
                    <a:pt x="91" y="96"/>
                    <a:pt x="90" y="94"/>
                  </a:cubicBezTo>
                  <a:cubicBezTo>
                    <a:pt x="87" y="87"/>
                    <a:pt x="87" y="87"/>
                    <a:pt x="87" y="87"/>
                  </a:cubicBezTo>
                  <a:cubicBezTo>
                    <a:pt x="86" y="86"/>
                    <a:pt x="84" y="84"/>
                    <a:pt x="82" y="83"/>
                  </a:cubicBezTo>
                  <a:cubicBezTo>
                    <a:pt x="82" y="82"/>
                    <a:pt x="81" y="82"/>
                    <a:pt x="80" y="81"/>
                  </a:cubicBezTo>
                  <a:cubicBezTo>
                    <a:pt x="78" y="79"/>
                    <a:pt x="75" y="77"/>
                    <a:pt x="73" y="75"/>
                  </a:cubicBezTo>
                  <a:cubicBezTo>
                    <a:pt x="72" y="74"/>
                    <a:pt x="72" y="74"/>
                    <a:pt x="72" y="74"/>
                  </a:cubicBezTo>
                  <a:cubicBezTo>
                    <a:pt x="69" y="72"/>
                    <a:pt x="68" y="71"/>
                    <a:pt x="66" y="69"/>
                  </a:cubicBezTo>
                  <a:cubicBezTo>
                    <a:pt x="65" y="68"/>
                    <a:pt x="65" y="68"/>
                    <a:pt x="65" y="68"/>
                  </a:cubicBezTo>
                  <a:cubicBezTo>
                    <a:pt x="63" y="66"/>
                    <a:pt x="62" y="63"/>
                    <a:pt x="61" y="61"/>
                  </a:cubicBezTo>
                  <a:cubicBezTo>
                    <a:pt x="61" y="61"/>
                    <a:pt x="61" y="61"/>
                    <a:pt x="61" y="61"/>
                  </a:cubicBezTo>
                  <a:cubicBezTo>
                    <a:pt x="60" y="61"/>
                    <a:pt x="60" y="60"/>
                    <a:pt x="60" y="60"/>
                  </a:cubicBezTo>
                  <a:cubicBezTo>
                    <a:pt x="59" y="57"/>
                    <a:pt x="59" y="57"/>
                    <a:pt x="59" y="57"/>
                  </a:cubicBezTo>
                  <a:cubicBezTo>
                    <a:pt x="59" y="56"/>
                    <a:pt x="58" y="54"/>
                    <a:pt x="57" y="53"/>
                  </a:cubicBezTo>
                  <a:cubicBezTo>
                    <a:pt x="57" y="52"/>
                    <a:pt x="57" y="52"/>
                    <a:pt x="57" y="52"/>
                  </a:cubicBezTo>
                  <a:cubicBezTo>
                    <a:pt x="56" y="52"/>
                    <a:pt x="56" y="52"/>
                    <a:pt x="56" y="52"/>
                  </a:cubicBezTo>
                  <a:cubicBezTo>
                    <a:pt x="55" y="51"/>
                    <a:pt x="54" y="51"/>
                    <a:pt x="54" y="50"/>
                  </a:cubicBezTo>
                  <a:cubicBezTo>
                    <a:pt x="53" y="50"/>
                    <a:pt x="52" y="50"/>
                    <a:pt x="51" y="49"/>
                  </a:cubicBezTo>
                  <a:cubicBezTo>
                    <a:pt x="49" y="46"/>
                    <a:pt x="50" y="43"/>
                    <a:pt x="50" y="42"/>
                  </a:cubicBezTo>
                  <a:cubicBezTo>
                    <a:pt x="50" y="42"/>
                    <a:pt x="50" y="41"/>
                    <a:pt x="51" y="40"/>
                  </a:cubicBezTo>
                  <a:cubicBezTo>
                    <a:pt x="51" y="40"/>
                    <a:pt x="51" y="40"/>
                    <a:pt x="51" y="40"/>
                  </a:cubicBezTo>
                  <a:cubicBezTo>
                    <a:pt x="51" y="39"/>
                    <a:pt x="51" y="38"/>
                    <a:pt x="51" y="37"/>
                  </a:cubicBezTo>
                  <a:cubicBezTo>
                    <a:pt x="51" y="34"/>
                    <a:pt x="53" y="32"/>
                    <a:pt x="54" y="32"/>
                  </a:cubicBezTo>
                  <a:cubicBezTo>
                    <a:pt x="55" y="31"/>
                    <a:pt x="55" y="31"/>
                    <a:pt x="56" y="31"/>
                  </a:cubicBezTo>
                  <a:cubicBezTo>
                    <a:pt x="56" y="31"/>
                    <a:pt x="56" y="31"/>
                    <a:pt x="56" y="31"/>
                  </a:cubicBezTo>
                  <a:cubicBezTo>
                    <a:pt x="57" y="31"/>
                    <a:pt x="58" y="31"/>
                    <a:pt x="59" y="31"/>
                  </a:cubicBezTo>
                  <a:cubicBezTo>
                    <a:pt x="59" y="31"/>
                    <a:pt x="60" y="31"/>
                    <a:pt x="60" y="32"/>
                  </a:cubicBezTo>
                  <a:cubicBezTo>
                    <a:pt x="63" y="32"/>
                    <a:pt x="65" y="34"/>
                    <a:pt x="66" y="36"/>
                  </a:cubicBezTo>
                  <a:cubicBezTo>
                    <a:pt x="67" y="35"/>
                    <a:pt x="67" y="35"/>
                    <a:pt x="67" y="35"/>
                  </a:cubicBezTo>
                  <a:cubicBezTo>
                    <a:pt x="68" y="33"/>
                    <a:pt x="69" y="32"/>
                    <a:pt x="71" y="31"/>
                  </a:cubicBezTo>
                  <a:cubicBezTo>
                    <a:pt x="72" y="31"/>
                    <a:pt x="72" y="31"/>
                    <a:pt x="72" y="31"/>
                  </a:cubicBezTo>
                  <a:cubicBezTo>
                    <a:pt x="73" y="31"/>
                    <a:pt x="73" y="31"/>
                    <a:pt x="74" y="31"/>
                  </a:cubicBezTo>
                  <a:cubicBezTo>
                    <a:pt x="74" y="31"/>
                    <a:pt x="75" y="31"/>
                    <a:pt x="76" y="31"/>
                  </a:cubicBezTo>
                  <a:cubicBezTo>
                    <a:pt x="76" y="31"/>
                    <a:pt x="76" y="31"/>
                    <a:pt x="76" y="31"/>
                  </a:cubicBezTo>
                  <a:cubicBezTo>
                    <a:pt x="77" y="31"/>
                    <a:pt x="77" y="31"/>
                    <a:pt x="77" y="31"/>
                  </a:cubicBezTo>
                  <a:cubicBezTo>
                    <a:pt x="77" y="31"/>
                    <a:pt x="78" y="31"/>
                    <a:pt x="78" y="31"/>
                  </a:cubicBezTo>
                  <a:cubicBezTo>
                    <a:pt x="78" y="31"/>
                    <a:pt x="78" y="31"/>
                    <a:pt x="78" y="31"/>
                  </a:cubicBezTo>
                  <a:cubicBezTo>
                    <a:pt x="79" y="28"/>
                    <a:pt x="79" y="28"/>
                    <a:pt x="79" y="28"/>
                  </a:cubicBezTo>
                  <a:cubicBezTo>
                    <a:pt x="82" y="30"/>
                    <a:pt x="82" y="30"/>
                    <a:pt x="82" y="30"/>
                  </a:cubicBezTo>
                  <a:cubicBezTo>
                    <a:pt x="82" y="30"/>
                    <a:pt x="82" y="30"/>
                    <a:pt x="82" y="30"/>
                  </a:cubicBezTo>
                  <a:cubicBezTo>
                    <a:pt x="83" y="30"/>
                    <a:pt x="83" y="30"/>
                    <a:pt x="83" y="30"/>
                  </a:cubicBezTo>
                  <a:cubicBezTo>
                    <a:pt x="83" y="31"/>
                    <a:pt x="83" y="31"/>
                    <a:pt x="83" y="31"/>
                  </a:cubicBezTo>
                  <a:cubicBezTo>
                    <a:pt x="85" y="32"/>
                    <a:pt x="88" y="32"/>
                    <a:pt x="90" y="33"/>
                  </a:cubicBezTo>
                  <a:cubicBezTo>
                    <a:pt x="106" y="35"/>
                    <a:pt x="106" y="35"/>
                    <a:pt x="106" y="35"/>
                  </a:cubicBezTo>
                  <a:cubicBezTo>
                    <a:pt x="110" y="35"/>
                    <a:pt x="113" y="35"/>
                    <a:pt x="116" y="35"/>
                  </a:cubicBezTo>
                  <a:cubicBezTo>
                    <a:pt x="117" y="35"/>
                    <a:pt x="118" y="35"/>
                    <a:pt x="118" y="35"/>
                  </a:cubicBezTo>
                  <a:cubicBezTo>
                    <a:pt x="120" y="35"/>
                    <a:pt x="122" y="36"/>
                    <a:pt x="123" y="37"/>
                  </a:cubicBezTo>
                  <a:cubicBezTo>
                    <a:pt x="123" y="37"/>
                    <a:pt x="124" y="37"/>
                    <a:pt x="124" y="37"/>
                  </a:cubicBezTo>
                  <a:cubicBezTo>
                    <a:pt x="128" y="37"/>
                    <a:pt x="128" y="37"/>
                    <a:pt x="128" y="37"/>
                  </a:cubicBezTo>
                  <a:cubicBezTo>
                    <a:pt x="128" y="35"/>
                    <a:pt x="129" y="34"/>
                    <a:pt x="130" y="33"/>
                  </a:cubicBezTo>
                  <a:cubicBezTo>
                    <a:pt x="130" y="32"/>
                    <a:pt x="130" y="32"/>
                    <a:pt x="130" y="32"/>
                  </a:cubicBezTo>
                  <a:cubicBezTo>
                    <a:pt x="131" y="32"/>
                    <a:pt x="131" y="32"/>
                    <a:pt x="131" y="32"/>
                  </a:cubicBezTo>
                  <a:cubicBezTo>
                    <a:pt x="123" y="27"/>
                    <a:pt x="123" y="27"/>
                    <a:pt x="123" y="27"/>
                  </a:cubicBezTo>
                  <a:cubicBezTo>
                    <a:pt x="125" y="26"/>
                    <a:pt x="125" y="26"/>
                    <a:pt x="125" y="26"/>
                  </a:cubicBezTo>
                  <a:cubicBezTo>
                    <a:pt x="124" y="24"/>
                    <a:pt x="124" y="23"/>
                    <a:pt x="124" y="22"/>
                  </a:cubicBezTo>
                  <a:cubicBezTo>
                    <a:pt x="125" y="19"/>
                    <a:pt x="125" y="19"/>
                    <a:pt x="125" y="19"/>
                  </a:cubicBezTo>
                  <a:cubicBezTo>
                    <a:pt x="116" y="26"/>
                    <a:pt x="116" y="26"/>
                    <a:pt x="116" y="26"/>
                  </a:cubicBezTo>
                  <a:cubicBezTo>
                    <a:pt x="120" y="19"/>
                    <a:pt x="120" y="19"/>
                    <a:pt x="120" y="19"/>
                  </a:cubicBezTo>
                  <a:cubicBezTo>
                    <a:pt x="118" y="20"/>
                    <a:pt x="115" y="21"/>
                    <a:pt x="112" y="21"/>
                  </a:cubicBezTo>
                  <a:cubicBezTo>
                    <a:pt x="111" y="21"/>
                    <a:pt x="111" y="21"/>
                    <a:pt x="110" y="21"/>
                  </a:cubicBezTo>
                  <a:cubicBezTo>
                    <a:pt x="109" y="21"/>
                    <a:pt x="108" y="21"/>
                    <a:pt x="107" y="20"/>
                  </a:cubicBezTo>
                  <a:cubicBezTo>
                    <a:pt x="106" y="20"/>
                    <a:pt x="106" y="20"/>
                    <a:pt x="106" y="20"/>
                  </a:cubicBezTo>
                  <a:cubicBezTo>
                    <a:pt x="105" y="20"/>
                    <a:pt x="105" y="20"/>
                    <a:pt x="104" y="20"/>
                  </a:cubicBezTo>
                  <a:cubicBezTo>
                    <a:pt x="100" y="20"/>
                    <a:pt x="96" y="18"/>
                    <a:pt x="93" y="16"/>
                  </a:cubicBezTo>
                  <a:cubicBezTo>
                    <a:pt x="94" y="15"/>
                    <a:pt x="94" y="15"/>
                    <a:pt x="94" y="15"/>
                  </a:cubicBezTo>
                  <a:cubicBezTo>
                    <a:pt x="93" y="16"/>
                    <a:pt x="93" y="16"/>
                    <a:pt x="93" y="16"/>
                  </a:cubicBezTo>
                  <a:cubicBezTo>
                    <a:pt x="92" y="16"/>
                    <a:pt x="92" y="16"/>
                    <a:pt x="92" y="16"/>
                  </a:cubicBezTo>
                  <a:cubicBezTo>
                    <a:pt x="91" y="15"/>
                    <a:pt x="91" y="15"/>
                    <a:pt x="91" y="15"/>
                  </a:cubicBezTo>
                  <a:cubicBezTo>
                    <a:pt x="91" y="15"/>
                    <a:pt x="90" y="15"/>
                    <a:pt x="90" y="14"/>
                  </a:cubicBezTo>
                  <a:cubicBezTo>
                    <a:pt x="86" y="13"/>
                    <a:pt x="80" y="9"/>
                    <a:pt x="77" y="4"/>
                  </a:cubicBezTo>
                  <a:cubicBezTo>
                    <a:pt x="75" y="2"/>
                    <a:pt x="75" y="1"/>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9" name="Freeform 258">
              <a:extLst>
                <a:ext uri="{FF2B5EF4-FFF2-40B4-BE49-F238E27FC236}">
                  <a16:creationId xmlns:a16="http://schemas.microsoft.com/office/drawing/2014/main" id="{B582248F-07CB-430D-A559-AFC0510DF8B1}"/>
                </a:ext>
              </a:extLst>
            </p:cNvPr>
            <p:cNvSpPr>
              <a:spLocks/>
            </p:cNvSpPr>
            <p:nvPr/>
          </p:nvSpPr>
          <p:spPr bwMode="auto">
            <a:xfrm>
              <a:off x="4696" y="7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0" name="Freeform 259">
              <a:extLst>
                <a:ext uri="{FF2B5EF4-FFF2-40B4-BE49-F238E27FC236}">
                  <a16:creationId xmlns:a16="http://schemas.microsoft.com/office/drawing/2014/main" id="{73966521-FE05-4872-B0E0-89AE92D137C1}"/>
                </a:ext>
              </a:extLst>
            </p:cNvPr>
            <p:cNvSpPr>
              <a:spLocks/>
            </p:cNvSpPr>
            <p:nvPr/>
          </p:nvSpPr>
          <p:spPr bwMode="auto">
            <a:xfrm>
              <a:off x="4696" y="70"/>
              <a:ext cx="0" cy="0"/>
            </a:xfrm>
            <a:custGeom>
              <a:avLst/>
              <a:gdLst/>
              <a:ahLst/>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1" name="Freeform 260">
              <a:extLst>
                <a:ext uri="{FF2B5EF4-FFF2-40B4-BE49-F238E27FC236}">
                  <a16:creationId xmlns:a16="http://schemas.microsoft.com/office/drawing/2014/main" id="{F03E9F9E-FE41-49AD-8405-CFC718C147A3}"/>
                </a:ext>
              </a:extLst>
            </p:cNvPr>
            <p:cNvSpPr>
              <a:spLocks/>
            </p:cNvSpPr>
            <p:nvPr/>
          </p:nvSpPr>
          <p:spPr bwMode="auto">
            <a:xfrm>
              <a:off x="4542" y="58"/>
              <a:ext cx="196" cy="180"/>
            </a:xfrm>
            <a:custGeom>
              <a:avLst/>
              <a:gdLst>
                <a:gd name="T0" fmla="*/ 24 w 83"/>
                <a:gd name="T1" fmla="*/ 0 h 76"/>
                <a:gd name="T2" fmla="*/ 20 w 83"/>
                <a:gd name="T3" fmla="*/ 0 h 76"/>
                <a:gd name="T4" fmla="*/ 18 w 83"/>
                <a:gd name="T5" fmla="*/ 0 h 76"/>
                <a:gd name="T6" fmla="*/ 15 w 83"/>
                <a:gd name="T7" fmla="*/ 4 h 76"/>
                <a:gd name="T8" fmla="*/ 13 w 83"/>
                <a:gd name="T9" fmla="*/ 9 h 76"/>
                <a:gd name="T10" fmla="*/ 8 w 83"/>
                <a:gd name="T11" fmla="*/ 5 h 76"/>
                <a:gd name="T12" fmla="*/ 4 w 83"/>
                <a:gd name="T13" fmla="*/ 1 h 76"/>
                <a:gd name="T14" fmla="*/ 2 w 83"/>
                <a:gd name="T15" fmla="*/ 1 h 76"/>
                <a:gd name="T16" fmla="*/ 1 w 83"/>
                <a:gd name="T17" fmla="*/ 5 h 76"/>
                <a:gd name="T18" fmla="*/ 1 w 83"/>
                <a:gd name="T19" fmla="*/ 9 h 76"/>
                <a:gd name="T20" fmla="*/ 3 w 83"/>
                <a:gd name="T21" fmla="*/ 10 h 76"/>
                <a:gd name="T22" fmla="*/ 7 w 83"/>
                <a:gd name="T23" fmla="*/ 13 h 76"/>
                <a:gd name="T24" fmla="*/ 10 w 83"/>
                <a:gd name="T25" fmla="*/ 20 h 76"/>
                <a:gd name="T26" fmla="*/ 11 w 83"/>
                <a:gd name="T27" fmla="*/ 22 h 76"/>
                <a:gd name="T28" fmla="*/ 14 w 83"/>
                <a:gd name="T29" fmla="*/ 28 h 76"/>
                <a:gd name="T30" fmla="*/ 20 w 83"/>
                <a:gd name="T31" fmla="*/ 33 h 76"/>
                <a:gd name="T32" fmla="*/ 29 w 83"/>
                <a:gd name="T33" fmla="*/ 41 h 76"/>
                <a:gd name="T34" fmla="*/ 31 w 83"/>
                <a:gd name="T35" fmla="*/ 42 h 76"/>
                <a:gd name="T36" fmla="*/ 41 w 83"/>
                <a:gd name="T37" fmla="*/ 56 h 76"/>
                <a:gd name="T38" fmla="*/ 44 w 83"/>
                <a:gd name="T39" fmla="*/ 58 h 76"/>
                <a:gd name="T40" fmla="*/ 46 w 83"/>
                <a:gd name="T41" fmla="*/ 62 h 76"/>
                <a:gd name="T42" fmla="*/ 44 w 83"/>
                <a:gd name="T43" fmla="*/ 66 h 76"/>
                <a:gd name="T44" fmla="*/ 44 w 83"/>
                <a:gd name="T45" fmla="*/ 66 h 76"/>
                <a:gd name="T46" fmla="*/ 41 w 83"/>
                <a:gd name="T47" fmla="*/ 66 h 76"/>
                <a:gd name="T48" fmla="*/ 59 w 83"/>
                <a:gd name="T49" fmla="*/ 76 h 76"/>
                <a:gd name="T50" fmla="*/ 61 w 83"/>
                <a:gd name="T51" fmla="*/ 71 h 76"/>
                <a:gd name="T52" fmla="*/ 61 w 83"/>
                <a:gd name="T53" fmla="*/ 70 h 76"/>
                <a:gd name="T54" fmla="*/ 60 w 83"/>
                <a:gd name="T55" fmla="*/ 64 h 76"/>
                <a:gd name="T56" fmla="*/ 67 w 83"/>
                <a:gd name="T57" fmla="*/ 51 h 76"/>
                <a:gd name="T58" fmla="*/ 71 w 83"/>
                <a:gd name="T59" fmla="*/ 49 h 76"/>
                <a:gd name="T60" fmla="*/ 71 w 83"/>
                <a:gd name="T61" fmla="*/ 45 h 76"/>
                <a:gd name="T62" fmla="*/ 75 w 83"/>
                <a:gd name="T63" fmla="*/ 43 h 76"/>
                <a:gd name="T64" fmla="*/ 77 w 83"/>
                <a:gd name="T65" fmla="*/ 44 h 76"/>
                <a:gd name="T66" fmla="*/ 78 w 83"/>
                <a:gd name="T67" fmla="*/ 44 h 76"/>
                <a:gd name="T68" fmla="*/ 79 w 83"/>
                <a:gd name="T69" fmla="*/ 44 h 76"/>
                <a:gd name="T70" fmla="*/ 83 w 83"/>
                <a:gd name="T71" fmla="*/ 41 h 76"/>
                <a:gd name="T72" fmla="*/ 81 w 83"/>
                <a:gd name="T73" fmla="*/ 39 h 76"/>
                <a:gd name="T74" fmla="*/ 74 w 83"/>
                <a:gd name="T75" fmla="*/ 28 h 76"/>
                <a:gd name="T76" fmla="*/ 82 w 83"/>
                <a:gd name="T77" fmla="*/ 31 h 76"/>
                <a:gd name="T78" fmla="*/ 81 w 83"/>
                <a:gd name="T79" fmla="*/ 28 h 76"/>
                <a:gd name="T80" fmla="*/ 79 w 83"/>
                <a:gd name="T81" fmla="*/ 28 h 76"/>
                <a:gd name="T82" fmla="*/ 76 w 83"/>
                <a:gd name="T83" fmla="*/ 26 h 76"/>
                <a:gd name="T84" fmla="*/ 76 w 83"/>
                <a:gd name="T85" fmla="*/ 15 h 76"/>
                <a:gd name="T86" fmla="*/ 78 w 83"/>
                <a:gd name="T87" fmla="*/ 11 h 76"/>
                <a:gd name="T88" fmla="*/ 77 w 83"/>
                <a:gd name="T89" fmla="*/ 11 h 76"/>
                <a:gd name="T90" fmla="*/ 77 w 83"/>
                <a:gd name="T91" fmla="*/ 11 h 76"/>
                <a:gd name="T92" fmla="*/ 76 w 83"/>
                <a:gd name="T93" fmla="*/ 11 h 76"/>
                <a:gd name="T94" fmla="*/ 66 w 83"/>
                <a:gd name="T95" fmla="*/ 7 h 76"/>
                <a:gd name="T96" fmla="*/ 65 w 83"/>
                <a:gd name="T97" fmla="*/ 5 h 76"/>
                <a:gd name="T98" fmla="*/ 63 w 83"/>
                <a:gd name="T99" fmla="*/ 5 h 76"/>
                <a:gd name="T100" fmla="*/ 62 w 83"/>
                <a:gd name="T101" fmla="*/ 5 h 76"/>
                <a:gd name="T102" fmla="*/ 34 w 83"/>
                <a:gd name="T103" fmla="*/ 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3" h="76">
                  <a:moveTo>
                    <a:pt x="26" y="0"/>
                  </a:moveTo>
                  <a:cubicBezTo>
                    <a:pt x="25" y="0"/>
                    <a:pt x="25" y="0"/>
                    <a:pt x="24" y="0"/>
                  </a:cubicBezTo>
                  <a:cubicBezTo>
                    <a:pt x="23" y="1"/>
                    <a:pt x="23" y="1"/>
                    <a:pt x="22" y="1"/>
                  </a:cubicBezTo>
                  <a:cubicBezTo>
                    <a:pt x="21" y="1"/>
                    <a:pt x="21" y="1"/>
                    <a:pt x="20" y="0"/>
                  </a:cubicBezTo>
                  <a:cubicBezTo>
                    <a:pt x="20" y="0"/>
                    <a:pt x="19" y="0"/>
                    <a:pt x="19" y="0"/>
                  </a:cubicBezTo>
                  <a:cubicBezTo>
                    <a:pt x="19" y="0"/>
                    <a:pt x="18" y="0"/>
                    <a:pt x="18" y="0"/>
                  </a:cubicBezTo>
                  <a:cubicBezTo>
                    <a:pt x="18" y="1"/>
                    <a:pt x="17" y="1"/>
                    <a:pt x="17" y="2"/>
                  </a:cubicBezTo>
                  <a:cubicBezTo>
                    <a:pt x="16" y="2"/>
                    <a:pt x="16" y="3"/>
                    <a:pt x="15" y="4"/>
                  </a:cubicBezTo>
                  <a:cubicBezTo>
                    <a:pt x="15" y="5"/>
                    <a:pt x="15" y="5"/>
                    <a:pt x="14" y="6"/>
                  </a:cubicBezTo>
                  <a:cubicBezTo>
                    <a:pt x="13" y="9"/>
                    <a:pt x="13" y="9"/>
                    <a:pt x="13" y="9"/>
                  </a:cubicBezTo>
                  <a:cubicBezTo>
                    <a:pt x="10" y="6"/>
                    <a:pt x="10" y="6"/>
                    <a:pt x="10" y="6"/>
                  </a:cubicBezTo>
                  <a:cubicBezTo>
                    <a:pt x="10" y="6"/>
                    <a:pt x="9" y="5"/>
                    <a:pt x="8" y="5"/>
                  </a:cubicBezTo>
                  <a:cubicBezTo>
                    <a:pt x="8" y="5"/>
                    <a:pt x="8" y="5"/>
                    <a:pt x="8" y="5"/>
                  </a:cubicBezTo>
                  <a:cubicBezTo>
                    <a:pt x="7" y="3"/>
                    <a:pt x="5" y="2"/>
                    <a:pt x="4" y="1"/>
                  </a:cubicBezTo>
                  <a:cubicBezTo>
                    <a:pt x="3" y="1"/>
                    <a:pt x="3" y="1"/>
                    <a:pt x="3" y="1"/>
                  </a:cubicBezTo>
                  <a:cubicBezTo>
                    <a:pt x="2" y="1"/>
                    <a:pt x="2" y="1"/>
                    <a:pt x="2" y="1"/>
                  </a:cubicBezTo>
                  <a:cubicBezTo>
                    <a:pt x="2" y="1"/>
                    <a:pt x="2" y="1"/>
                    <a:pt x="2" y="1"/>
                  </a:cubicBezTo>
                  <a:cubicBezTo>
                    <a:pt x="2" y="2"/>
                    <a:pt x="1" y="4"/>
                    <a:pt x="1" y="5"/>
                  </a:cubicBezTo>
                  <a:cubicBezTo>
                    <a:pt x="1" y="6"/>
                    <a:pt x="1" y="6"/>
                    <a:pt x="1" y="7"/>
                  </a:cubicBezTo>
                  <a:cubicBezTo>
                    <a:pt x="0" y="9"/>
                    <a:pt x="1" y="9"/>
                    <a:pt x="1" y="9"/>
                  </a:cubicBezTo>
                  <a:cubicBezTo>
                    <a:pt x="1" y="9"/>
                    <a:pt x="1" y="9"/>
                    <a:pt x="1" y="9"/>
                  </a:cubicBezTo>
                  <a:cubicBezTo>
                    <a:pt x="2" y="10"/>
                    <a:pt x="3" y="10"/>
                    <a:pt x="3" y="10"/>
                  </a:cubicBezTo>
                  <a:cubicBezTo>
                    <a:pt x="4" y="11"/>
                    <a:pt x="5" y="11"/>
                    <a:pt x="6" y="12"/>
                  </a:cubicBezTo>
                  <a:cubicBezTo>
                    <a:pt x="6" y="12"/>
                    <a:pt x="6" y="13"/>
                    <a:pt x="7" y="13"/>
                  </a:cubicBezTo>
                  <a:cubicBezTo>
                    <a:pt x="7" y="13"/>
                    <a:pt x="7" y="14"/>
                    <a:pt x="8" y="14"/>
                  </a:cubicBezTo>
                  <a:cubicBezTo>
                    <a:pt x="8" y="16"/>
                    <a:pt x="9" y="18"/>
                    <a:pt x="10" y="20"/>
                  </a:cubicBezTo>
                  <a:cubicBezTo>
                    <a:pt x="10" y="20"/>
                    <a:pt x="10" y="21"/>
                    <a:pt x="10" y="21"/>
                  </a:cubicBezTo>
                  <a:cubicBezTo>
                    <a:pt x="10" y="22"/>
                    <a:pt x="11" y="22"/>
                    <a:pt x="11" y="22"/>
                  </a:cubicBezTo>
                  <a:cubicBezTo>
                    <a:pt x="11" y="23"/>
                    <a:pt x="11" y="23"/>
                    <a:pt x="11" y="23"/>
                  </a:cubicBezTo>
                  <a:cubicBezTo>
                    <a:pt x="12" y="25"/>
                    <a:pt x="13" y="27"/>
                    <a:pt x="14" y="28"/>
                  </a:cubicBezTo>
                  <a:cubicBezTo>
                    <a:pt x="15" y="29"/>
                    <a:pt x="15" y="29"/>
                    <a:pt x="15" y="29"/>
                  </a:cubicBezTo>
                  <a:cubicBezTo>
                    <a:pt x="17" y="30"/>
                    <a:pt x="18" y="32"/>
                    <a:pt x="20" y="33"/>
                  </a:cubicBezTo>
                  <a:cubicBezTo>
                    <a:pt x="21" y="34"/>
                    <a:pt x="21" y="34"/>
                    <a:pt x="21" y="34"/>
                  </a:cubicBezTo>
                  <a:cubicBezTo>
                    <a:pt x="24" y="36"/>
                    <a:pt x="26" y="38"/>
                    <a:pt x="29" y="41"/>
                  </a:cubicBezTo>
                  <a:cubicBezTo>
                    <a:pt x="30" y="41"/>
                    <a:pt x="30" y="41"/>
                    <a:pt x="31" y="42"/>
                  </a:cubicBezTo>
                  <a:cubicBezTo>
                    <a:pt x="31" y="42"/>
                    <a:pt x="31" y="42"/>
                    <a:pt x="31" y="42"/>
                  </a:cubicBezTo>
                  <a:cubicBezTo>
                    <a:pt x="33" y="44"/>
                    <a:pt x="36" y="46"/>
                    <a:pt x="37" y="49"/>
                  </a:cubicBezTo>
                  <a:cubicBezTo>
                    <a:pt x="41" y="56"/>
                    <a:pt x="41" y="56"/>
                    <a:pt x="41" y="56"/>
                  </a:cubicBezTo>
                  <a:cubicBezTo>
                    <a:pt x="42" y="56"/>
                    <a:pt x="42" y="56"/>
                    <a:pt x="42" y="56"/>
                  </a:cubicBezTo>
                  <a:cubicBezTo>
                    <a:pt x="42" y="57"/>
                    <a:pt x="44" y="57"/>
                    <a:pt x="44" y="58"/>
                  </a:cubicBezTo>
                  <a:cubicBezTo>
                    <a:pt x="45" y="59"/>
                    <a:pt x="45" y="60"/>
                    <a:pt x="46" y="61"/>
                  </a:cubicBezTo>
                  <a:cubicBezTo>
                    <a:pt x="46" y="62"/>
                    <a:pt x="46" y="62"/>
                    <a:pt x="46" y="62"/>
                  </a:cubicBezTo>
                  <a:cubicBezTo>
                    <a:pt x="46" y="64"/>
                    <a:pt x="45" y="65"/>
                    <a:pt x="43" y="66"/>
                  </a:cubicBezTo>
                  <a:cubicBezTo>
                    <a:pt x="44" y="66"/>
                    <a:pt x="44" y="66"/>
                    <a:pt x="44" y="66"/>
                  </a:cubicBezTo>
                  <a:cubicBezTo>
                    <a:pt x="44" y="66"/>
                    <a:pt x="44" y="66"/>
                    <a:pt x="44" y="66"/>
                  </a:cubicBezTo>
                  <a:cubicBezTo>
                    <a:pt x="44" y="66"/>
                    <a:pt x="44" y="66"/>
                    <a:pt x="44" y="66"/>
                  </a:cubicBezTo>
                  <a:cubicBezTo>
                    <a:pt x="44" y="66"/>
                    <a:pt x="43" y="66"/>
                    <a:pt x="43" y="66"/>
                  </a:cubicBezTo>
                  <a:cubicBezTo>
                    <a:pt x="43" y="66"/>
                    <a:pt x="42" y="66"/>
                    <a:pt x="41" y="66"/>
                  </a:cubicBezTo>
                  <a:cubicBezTo>
                    <a:pt x="40" y="67"/>
                    <a:pt x="40" y="67"/>
                    <a:pt x="40" y="67"/>
                  </a:cubicBezTo>
                  <a:cubicBezTo>
                    <a:pt x="47" y="70"/>
                    <a:pt x="53" y="73"/>
                    <a:pt x="59" y="76"/>
                  </a:cubicBezTo>
                  <a:cubicBezTo>
                    <a:pt x="58" y="73"/>
                    <a:pt x="58" y="73"/>
                    <a:pt x="58" y="73"/>
                  </a:cubicBezTo>
                  <a:cubicBezTo>
                    <a:pt x="61" y="71"/>
                    <a:pt x="61" y="71"/>
                    <a:pt x="61" y="71"/>
                  </a:cubicBezTo>
                  <a:cubicBezTo>
                    <a:pt x="61" y="71"/>
                    <a:pt x="61" y="71"/>
                    <a:pt x="61" y="71"/>
                  </a:cubicBezTo>
                  <a:cubicBezTo>
                    <a:pt x="61" y="71"/>
                    <a:pt x="61" y="70"/>
                    <a:pt x="61" y="70"/>
                  </a:cubicBezTo>
                  <a:cubicBezTo>
                    <a:pt x="61" y="69"/>
                    <a:pt x="61" y="68"/>
                    <a:pt x="60" y="67"/>
                  </a:cubicBezTo>
                  <a:cubicBezTo>
                    <a:pt x="60" y="66"/>
                    <a:pt x="60" y="65"/>
                    <a:pt x="60" y="64"/>
                  </a:cubicBezTo>
                  <a:cubicBezTo>
                    <a:pt x="60" y="61"/>
                    <a:pt x="61" y="57"/>
                    <a:pt x="64" y="54"/>
                  </a:cubicBezTo>
                  <a:cubicBezTo>
                    <a:pt x="65" y="53"/>
                    <a:pt x="66" y="52"/>
                    <a:pt x="67" y="51"/>
                  </a:cubicBezTo>
                  <a:cubicBezTo>
                    <a:pt x="68" y="51"/>
                    <a:pt x="68" y="51"/>
                    <a:pt x="68" y="51"/>
                  </a:cubicBezTo>
                  <a:cubicBezTo>
                    <a:pt x="68" y="50"/>
                    <a:pt x="69" y="49"/>
                    <a:pt x="71" y="49"/>
                  </a:cubicBezTo>
                  <a:cubicBezTo>
                    <a:pt x="69" y="47"/>
                    <a:pt x="69" y="47"/>
                    <a:pt x="69" y="47"/>
                  </a:cubicBezTo>
                  <a:cubicBezTo>
                    <a:pt x="71" y="45"/>
                    <a:pt x="71" y="45"/>
                    <a:pt x="71" y="45"/>
                  </a:cubicBezTo>
                  <a:cubicBezTo>
                    <a:pt x="71" y="44"/>
                    <a:pt x="73" y="44"/>
                    <a:pt x="73" y="44"/>
                  </a:cubicBezTo>
                  <a:cubicBezTo>
                    <a:pt x="74" y="43"/>
                    <a:pt x="74" y="43"/>
                    <a:pt x="75" y="43"/>
                  </a:cubicBezTo>
                  <a:cubicBezTo>
                    <a:pt x="75" y="43"/>
                    <a:pt x="76" y="44"/>
                    <a:pt x="76" y="44"/>
                  </a:cubicBezTo>
                  <a:cubicBezTo>
                    <a:pt x="77" y="44"/>
                    <a:pt x="77" y="44"/>
                    <a:pt x="77" y="44"/>
                  </a:cubicBezTo>
                  <a:cubicBezTo>
                    <a:pt x="77" y="44"/>
                    <a:pt x="77" y="44"/>
                    <a:pt x="77" y="44"/>
                  </a:cubicBezTo>
                  <a:cubicBezTo>
                    <a:pt x="78" y="44"/>
                    <a:pt x="78" y="44"/>
                    <a:pt x="78" y="44"/>
                  </a:cubicBezTo>
                  <a:cubicBezTo>
                    <a:pt x="78" y="44"/>
                    <a:pt x="78" y="44"/>
                    <a:pt x="78" y="44"/>
                  </a:cubicBezTo>
                  <a:cubicBezTo>
                    <a:pt x="79" y="44"/>
                    <a:pt x="79" y="44"/>
                    <a:pt x="79" y="44"/>
                  </a:cubicBezTo>
                  <a:cubicBezTo>
                    <a:pt x="81" y="43"/>
                    <a:pt x="83" y="42"/>
                    <a:pt x="83" y="41"/>
                  </a:cubicBezTo>
                  <a:cubicBezTo>
                    <a:pt x="83" y="41"/>
                    <a:pt x="83" y="41"/>
                    <a:pt x="83" y="41"/>
                  </a:cubicBezTo>
                  <a:cubicBezTo>
                    <a:pt x="83" y="41"/>
                    <a:pt x="83" y="41"/>
                    <a:pt x="83" y="41"/>
                  </a:cubicBezTo>
                  <a:cubicBezTo>
                    <a:pt x="83" y="41"/>
                    <a:pt x="82" y="39"/>
                    <a:pt x="81" y="39"/>
                  </a:cubicBezTo>
                  <a:cubicBezTo>
                    <a:pt x="80" y="37"/>
                    <a:pt x="78" y="36"/>
                    <a:pt x="78" y="34"/>
                  </a:cubicBezTo>
                  <a:cubicBezTo>
                    <a:pt x="74" y="28"/>
                    <a:pt x="74" y="28"/>
                    <a:pt x="74" y="28"/>
                  </a:cubicBezTo>
                  <a:cubicBezTo>
                    <a:pt x="81" y="30"/>
                    <a:pt x="81" y="30"/>
                    <a:pt x="81" y="30"/>
                  </a:cubicBezTo>
                  <a:cubicBezTo>
                    <a:pt x="81" y="30"/>
                    <a:pt x="82" y="31"/>
                    <a:pt x="82" y="31"/>
                  </a:cubicBezTo>
                  <a:cubicBezTo>
                    <a:pt x="82" y="30"/>
                    <a:pt x="82" y="30"/>
                    <a:pt x="82" y="30"/>
                  </a:cubicBezTo>
                  <a:cubicBezTo>
                    <a:pt x="81" y="29"/>
                    <a:pt x="81" y="29"/>
                    <a:pt x="81" y="28"/>
                  </a:cubicBezTo>
                  <a:cubicBezTo>
                    <a:pt x="80" y="28"/>
                    <a:pt x="80" y="28"/>
                    <a:pt x="80" y="28"/>
                  </a:cubicBezTo>
                  <a:cubicBezTo>
                    <a:pt x="79" y="28"/>
                    <a:pt x="79" y="28"/>
                    <a:pt x="79" y="28"/>
                  </a:cubicBezTo>
                  <a:cubicBezTo>
                    <a:pt x="79" y="28"/>
                    <a:pt x="79" y="28"/>
                    <a:pt x="79" y="28"/>
                  </a:cubicBezTo>
                  <a:cubicBezTo>
                    <a:pt x="77" y="27"/>
                    <a:pt x="77" y="27"/>
                    <a:pt x="76" y="26"/>
                  </a:cubicBezTo>
                  <a:cubicBezTo>
                    <a:pt x="74" y="24"/>
                    <a:pt x="74" y="21"/>
                    <a:pt x="74" y="19"/>
                  </a:cubicBezTo>
                  <a:cubicBezTo>
                    <a:pt x="74" y="18"/>
                    <a:pt x="75" y="17"/>
                    <a:pt x="76" y="15"/>
                  </a:cubicBezTo>
                  <a:cubicBezTo>
                    <a:pt x="76" y="15"/>
                    <a:pt x="76" y="15"/>
                    <a:pt x="76" y="15"/>
                  </a:cubicBezTo>
                  <a:cubicBezTo>
                    <a:pt x="77" y="14"/>
                    <a:pt x="78" y="13"/>
                    <a:pt x="78" y="11"/>
                  </a:cubicBezTo>
                  <a:cubicBezTo>
                    <a:pt x="78" y="11"/>
                    <a:pt x="78" y="11"/>
                    <a:pt x="78" y="11"/>
                  </a:cubicBezTo>
                  <a:cubicBezTo>
                    <a:pt x="77" y="11"/>
                    <a:pt x="77" y="11"/>
                    <a:pt x="77" y="11"/>
                  </a:cubicBezTo>
                  <a:cubicBezTo>
                    <a:pt x="77" y="11"/>
                    <a:pt x="77" y="11"/>
                    <a:pt x="77" y="11"/>
                  </a:cubicBezTo>
                  <a:cubicBezTo>
                    <a:pt x="77" y="11"/>
                    <a:pt x="77" y="11"/>
                    <a:pt x="77" y="11"/>
                  </a:cubicBezTo>
                  <a:cubicBezTo>
                    <a:pt x="76" y="11"/>
                    <a:pt x="76" y="11"/>
                    <a:pt x="76" y="11"/>
                  </a:cubicBezTo>
                  <a:cubicBezTo>
                    <a:pt x="76" y="11"/>
                    <a:pt x="76" y="11"/>
                    <a:pt x="76" y="11"/>
                  </a:cubicBezTo>
                  <a:cubicBezTo>
                    <a:pt x="74" y="11"/>
                    <a:pt x="73" y="11"/>
                    <a:pt x="73" y="11"/>
                  </a:cubicBezTo>
                  <a:cubicBezTo>
                    <a:pt x="70" y="10"/>
                    <a:pt x="67" y="9"/>
                    <a:pt x="66" y="7"/>
                  </a:cubicBezTo>
                  <a:cubicBezTo>
                    <a:pt x="66" y="6"/>
                    <a:pt x="66" y="6"/>
                    <a:pt x="66" y="6"/>
                  </a:cubicBezTo>
                  <a:cubicBezTo>
                    <a:pt x="66" y="6"/>
                    <a:pt x="65" y="6"/>
                    <a:pt x="65" y="5"/>
                  </a:cubicBezTo>
                  <a:cubicBezTo>
                    <a:pt x="64" y="5"/>
                    <a:pt x="64" y="5"/>
                    <a:pt x="64" y="5"/>
                  </a:cubicBezTo>
                  <a:cubicBezTo>
                    <a:pt x="63" y="5"/>
                    <a:pt x="63" y="5"/>
                    <a:pt x="63" y="5"/>
                  </a:cubicBezTo>
                  <a:cubicBezTo>
                    <a:pt x="63" y="5"/>
                    <a:pt x="63" y="5"/>
                    <a:pt x="63" y="5"/>
                  </a:cubicBezTo>
                  <a:cubicBezTo>
                    <a:pt x="62" y="5"/>
                    <a:pt x="62" y="5"/>
                    <a:pt x="62" y="5"/>
                  </a:cubicBezTo>
                  <a:cubicBezTo>
                    <a:pt x="58" y="5"/>
                    <a:pt x="54" y="5"/>
                    <a:pt x="51" y="4"/>
                  </a:cubicBezTo>
                  <a:cubicBezTo>
                    <a:pt x="34" y="3"/>
                    <a:pt x="34" y="3"/>
                    <a:pt x="34" y="3"/>
                  </a:cubicBezTo>
                  <a:cubicBezTo>
                    <a:pt x="31" y="2"/>
                    <a:pt x="28" y="1"/>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2" name="Freeform 261">
              <a:extLst>
                <a:ext uri="{FF2B5EF4-FFF2-40B4-BE49-F238E27FC236}">
                  <a16:creationId xmlns:a16="http://schemas.microsoft.com/office/drawing/2014/main" id="{42828435-84B8-4DAF-A071-B37D0BBD1193}"/>
                </a:ext>
              </a:extLst>
            </p:cNvPr>
            <p:cNvSpPr>
              <a:spLocks/>
            </p:cNvSpPr>
            <p:nvPr/>
          </p:nvSpPr>
          <p:spPr bwMode="auto">
            <a:xfrm>
              <a:off x="4620" y="207"/>
              <a:ext cx="17" cy="7"/>
            </a:xfrm>
            <a:custGeom>
              <a:avLst/>
              <a:gdLst>
                <a:gd name="T0" fmla="*/ 0 w 7"/>
                <a:gd name="T1" fmla="*/ 0 h 3"/>
                <a:gd name="T2" fmla="*/ 7 w 7"/>
                <a:gd name="T3" fmla="*/ 3 h 3"/>
                <a:gd name="T4" fmla="*/ 7 w 7"/>
                <a:gd name="T5" fmla="*/ 2 h 3"/>
                <a:gd name="T6" fmla="*/ 0 w 7"/>
                <a:gd name="T7" fmla="*/ 0 h 3"/>
              </a:gdLst>
              <a:ahLst/>
              <a:cxnLst>
                <a:cxn ang="0">
                  <a:pos x="T0" y="T1"/>
                </a:cxn>
                <a:cxn ang="0">
                  <a:pos x="T2" y="T3"/>
                </a:cxn>
                <a:cxn ang="0">
                  <a:pos x="T4" y="T5"/>
                </a:cxn>
                <a:cxn ang="0">
                  <a:pos x="T6" y="T7"/>
                </a:cxn>
              </a:cxnLst>
              <a:rect l="0" t="0" r="r" b="b"/>
              <a:pathLst>
                <a:path w="7" h="3">
                  <a:moveTo>
                    <a:pt x="0" y="0"/>
                  </a:moveTo>
                  <a:cubicBezTo>
                    <a:pt x="3" y="1"/>
                    <a:pt x="5" y="2"/>
                    <a:pt x="7" y="3"/>
                  </a:cubicBezTo>
                  <a:cubicBezTo>
                    <a:pt x="7" y="2"/>
                    <a:pt x="7" y="2"/>
                    <a:pt x="7" y="2"/>
                  </a:cubicBezTo>
                  <a:cubicBezTo>
                    <a:pt x="5" y="1"/>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3" name="Freeform 262">
              <a:extLst>
                <a:ext uri="{FF2B5EF4-FFF2-40B4-BE49-F238E27FC236}">
                  <a16:creationId xmlns:a16="http://schemas.microsoft.com/office/drawing/2014/main" id="{EE5A79BC-3A23-4978-9EE7-02EF1DEAE255}"/>
                </a:ext>
              </a:extLst>
            </p:cNvPr>
            <p:cNvSpPr>
              <a:spLocks/>
            </p:cNvSpPr>
            <p:nvPr/>
          </p:nvSpPr>
          <p:spPr bwMode="auto">
            <a:xfrm>
              <a:off x="4689" y="240"/>
              <a:ext cx="2" cy="2"/>
            </a:xfrm>
            <a:custGeom>
              <a:avLst/>
              <a:gdLst>
                <a:gd name="T0" fmla="*/ 0 w 2"/>
                <a:gd name="T1" fmla="*/ 0 h 2"/>
                <a:gd name="T2" fmla="*/ 0 w 2"/>
                <a:gd name="T3" fmla="*/ 0 h 2"/>
                <a:gd name="T4" fmla="*/ 2 w 2"/>
                <a:gd name="T5" fmla="*/ 2 h 2"/>
                <a:gd name="T6" fmla="*/ 0 w 2"/>
                <a:gd name="T7" fmla="*/ 0 h 2"/>
              </a:gdLst>
              <a:ahLst/>
              <a:cxnLst>
                <a:cxn ang="0">
                  <a:pos x="T0" y="T1"/>
                </a:cxn>
                <a:cxn ang="0">
                  <a:pos x="T2" y="T3"/>
                </a:cxn>
                <a:cxn ang="0">
                  <a:pos x="T4" y="T5"/>
                </a:cxn>
                <a:cxn ang="0">
                  <a:pos x="T6" y="T7"/>
                </a:cxn>
              </a:cxnLst>
              <a:rect l="0" t="0" r="r" b="b"/>
              <a:pathLst>
                <a:path w="2" h="2">
                  <a:moveTo>
                    <a:pt x="0" y="0"/>
                  </a:moveTo>
                  <a:lnTo>
                    <a:pt x="0" y="0"/>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4" name="Freeform 263">
              <a:extLst>
                <a:ext uri="{FF2B5EF4-FFF2-40B4-BE49-F238E27FC236}">
                  <a16:creationId xmlns:a16="http://schemas.microsoft.com/office/drawing/2014/main" id="{921B9C56-59F8-46DC-876A-45BF45A265BD}"/>
                </a:ext>
              </a:extLst>
            </p:cNvPr>
            <p:cNvSpPr>
              <a:spLocks/>
            </p:cNvSpPr>
            <p:nvPr/>
          </p:nvSpPr>
          <p:spPr bwMode="auto">
            <a:xfrm>
              <a:off x="4689" y="240"/>
              <a:ext cx="2" cy="2"/>
            </a:xfrm>
            <a:custGeom>
              <a:avLst/>
              <a:gdLst>
                <a:gd name="T0" fmla="*/ 0 w 2"/>
                <a:gd name="T1" fmla="*/ 0 h 2"/>
                <a:gd name="T2" fmla="*/ 0 w 2"/>
                <a:gd name="T3" fmla="*/ 0 h 2"/>
                <a:gd name="T4" fmla="*/ 2 w 2"/>
                <a:gd name="T5" fmla="*/ 2 h 2"/>
                <a:gd name="T6" fmla="*/ 0 w 2"/>
                <a:gd name="T7" fmla="*/ 0 h 2"/>
              </a:gdLst>
              <a:ahLst/>
              <a:cxnLst>
                <a:cxn ang="0">
                  <a:pos x="T0" y="T1"/>
                </a:cxn>
                <a:cxn ang="0">
                  <a:pos x="T2" y="T3"/>
                </a:cxn>
                <a:cxn ang="0">
                  <a:pos x="T4" y="T5"/>
                </a:cxn>
                <a:cxn ang="0">
                  <a:pos x="T6" y="T7"/>
                </a:cxn>
              </a:cxnLst>
              <a:rect l="0" t="0" r="r" b="b"/>
              <a:pathLst>
                <a:path w="2" h="2">
                  <a:moveTo>
                    <a:pt x="0" y="0"/>
                  </a:moveTo>
                  <a:lnTo>
                    <a:pt x="0" y="0"/>
                  </a:lnTo>
                  <a:lnTo>
                    <a:pt x="2"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5" name="Rectangle 264">
              <a:extLst>
                <a:ext uri="{FF2B5EF4-FFF2-40B4-BE49-F238E27FC236}">
                  <a16:creationId xmlns:a16="http://schemas.microsoft.com/office/drawing/2014/main" id="{9721C8E5-8D1E-4E3E-B9BD-30EDBF84B6BC}"/>
                </a:ext>
              </a:extLst>
            </p:cNvPr>
            <p:cNvSpPr>
              <a:spLocks noChangeArrowheads="1"/>
            </p:cNvSpPr>
            <p:nvPr/>
          </p:nvSpPr>
          <p:spPr bwMode="auto">
            <a:xfrm>
              <a:off x="4776" y="216"/>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6" name="Freeform 265">
              <a:extLst>
                <a:ext uri="{FF2B5EF4-FFF2-40B4-BE49-F238E27FC236}">
                  <a16:creationId xmlns:a16="http://schemas.microsoft.com/office/drawing/2014/main" id="{846AA614-0B09-412D-B3F5-EEE2C35668D6}"/>
                </a:ext>
              </a:extLst>
            </p:cNvPr>
            <p:cNvSpPr>
              <a:spLocks/>
            </p:cNvSpPr>
            <p:nvPr/>
          </p:nvSpPr>
          <p:spPr bwMode="auto">
            <a:xfrm>
              <a:off x="4776" y="21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7" name="Freeform 266">
              <a:extLst>
                <a:ext uri="{FF2B5EF4-FFF2-40B4-BE49-F238E27FC236}">
                  <a16:creationId xmlns:a16="http://schemas.microsoft.com/office/drawing/2014/main" id="{4B900E87-3603-4CFE-93C0-02FDB6C1A685}"/>
                </a:ext>
              </a:extLst>
            </p:cNvPr>
            <p:cNvSpPr>
              <a:spLocks/>
            </p:cNvSpPr>
            <p:nvPr/>
          </p:nvSpPr>
          <p:spPr bwMode="auto">
            <a:xfrm>
              <a:off x="4691" y="176"/>
              <a:ext cx="88" cy="99"/>
            </a:xfrm>
            <a:custGeom>
              <a:avLst/>
              <a:gdLst>
                <a:gd name="T0" fmla="*/ 15 w 37"/>
                <a:gd name="T1" fmla="*/ 0 h 42"/>
                <a:gd name="T2" fmla="*/ 15 w 37"/>
                <a:gd name="T3" fmla="*/ 0 h 42"/>
                <a:gd name="T4" fmla="*/ 15 w 37"/>
                <a:gd name="T5" fmla="*/ 1 h 42"/>
                <a:gd name="T6" fmla="*/ 18 w 37"/>
                <a:gd name="T7" fmla="*/ 3 h 42"/>
                <a:gd name="T8" fmla="*/ 14 w 37"/>
                <a:gd name="T9" fmla="*/ 5 h 42"/>
                <a:gd name="T10" fmla="*/ 12 w 37"/>
                <a:gd name="T11" fmla="*/ 6 h 42"/>
                <a:gd name="T12" fmla="*/ 11 w 37"/>
                <a:gd name="T13" fmla="*/ 6 h 42"/>
                <a:gd name="T14" fmla="*/ 9 w 37"/>
                <a:gd name="T15" fmla="*/ 5 h 42"/>
                <a:gd name="T16" fmla="*/ 9 w 37"/>
                <a:gd name="T17" fmla="*/ 5 h 42"/>
                <a:gd name="T18" fmla="*/ 8 w 37"/>
                <a:gd name="T19" fmla="*/ 5 h 42"/>
                <a:gd name="T20" fmla="*/ 8 w 37"/>
                <a:gd name="T21" fmla="*/ 6 h 42"/>
                <a:gd name="T22" fmla="*/ 5 w 37"/>
                <a:gd name="T23" fmla="*/ 8 h 42"/>
                <a:gd name="T24" fmla="*/ 2 w 37"/>
                <a:gd name="T25" fmla="*/ 13 h 42"/>
                <a:gd name="T26" fmla="*/ 3 w 37"/>
                <a:gd name="T27" fmla="*/ 15 h 42"/>
                <a:gd name="T28" fmla="*/ 4 w 37"/>
                <a:gd name="T29" fmla="*/ 18 h 42"/>
                <a:gd name="T30" fmla="*/ 4 w 37"/>
                <a:gd name="T31" fmla="*/ 23 h 42"/>
                <a:gd name="T32" fmla="*/ 1 w 37"/>
                <a:gd name="T33" fmla="*/ 26 h 42"/>
                <a:gd name="T34" fmla="*/ 0 w 37"/>
                <a:gd name="T35" fmla="*/ 27 h 42"/>
                <a:gd name="T36" fmla="*/ 1 w 37"/>
                <a:gd name="T37" fmla="*/ 27 h 42"/>
                <a:gd name="T38" fmla="*/ 4 w 37"/>
                <a:gd name="T39" fmla="*/ 27 h 42"/>
                <a:gd name="T40" fmla="*/ 4 w 37"/>
                <a:gd name="T41" fmla="*/ 27 h 42"/>
                <a:gd name="T42" fmla="*/ 4 w 37"/>
                <a:gd name="T43" fmla="*/ 26 h 42"/>
                <a:gd name="T44" fmla="*/ 5 w 37"/>
                <a:gd name="T45" fmla="*/ 26 h 42"/>
                <a:gd name="T46" fmla="*/ 6 w 37"/>
                <a:gd name="T47" fmla="*/ 26 h 42"/>
                <a:gd name="T48" fmla="*/ 4 w 37"/>
                <a:gd name="T49" fmla="*/ 29 h 42"/>
                <a:gd name="T50" fmla="*/ 3 w 37"/>
                <a:gd name="T51" fmla="*/ 28 h 42"/>
                <a:gd name="T52" fmla="*/ 2 w 37"/>
                <a:gd name="T53" fmla="*/ 28 h 42"/>
                <a:gd name="T54" fmla="*/ 1 w 37"/>
                <a:gd name="T55" fmla="*/ 28 h 42"/>
                <a:gd name="T56" fmla="*/ 17 w 37"/>
                <a:gd name="T57" fmla="*/ 42 h 42"/>
                <a:gd name="T58" fmla="*/ 17 w 37"/>
                <a:gd name="T59" fmla="*/ 41 h 42"/>
                <a:gd name="T60" fmla="*/ 17 w 37"/>
                <a:gd name="T61" fmla="*/ 38 h 42"/>
                <a:gd name="T62" fmla="*/ 16 w 37"/>
                <a:gd name="T63" fmla="*/ 34 h 42"/>
                <a:gd name="T64" fmla="*/ 18 w 37"/>
                <a:gd name="T65" fmla="*/ 30 h 42"/>
                <a:gd name="T66" fmla="*/ 19 w 37"/>
                <a:gd name="T67" fmla="*/ 29 h 42"/>
                <a:gd name="T68" fmla="*/ 20 w 37"/>
                <a:gd name="T69" fmla="*/ 27 h 42"/>
                <a:gd name="T70" fmla="*/ 20 w 37"/>
                <a:gd name="T71" fmla="*/ 27 h 42"/>
                <a:gd name="T72" fmla="*/ 24 w 37"/>
                <a:gd name="T73" fmla="*/ 21 h 42"/>
                <a:gd name="T74" fmla="*/ 26 w 37"/>
                <a:gd name="T75" fmla="*/ 19 h 42"/>
                <a:gd name="T76" fmla="*/ 29 w 37"/>
                <a:gd name="T77" fmla="*/ 18 h 42"/>
                <a:gd name="T78" fmla="*/ 30 w 37"/>
                <a:gd name="T79" fmla="*/ 20 h 42"/>
                <a:gd name="T80" fmla="*/ 31 w 37"/>
                <a:gd name="T81" fmla="*/ 22 h 42"/>
                <a:gd name="T82" fmla="*/ 32 w 37"/>
                <a:gd name="T83" fmla="*/ 23 h 42"/>
                <a:gd name="T84" fmla="*/ 32 w 37"/>
                <a:gd name="T85" fmla="*/ 23 h 42"/>
                <a:gd name="T86" fmla="*/ 33 w 37"/>
                <a:gd name="T87" fmla="*/ 23 h 42"/>
                <a:gd name="T88" fmla="*/ 33 w 37"/>
                <a:gd name="T89" fmla="*/ 23 h 42"/>
                <a:gd name="T90" fmla="*/ 33 w 37"/>
                <a:gd name="T91" fmla="*/ 20 h 42"/>
                <a:gd name="T92" fmla="*/ 35 w 37"/>
                <a:gd name="T93" fmla="*/ 16 h 42"/>
                <a:gd name="T94" fmla="*/ 35 w 37"/>
                <a:gd name="T95" fmla="*/ 16 h 42"/>
                <a:gd name="T96" fmla="*/ 36 w 37"/>
                <a:gd name="T97" fmla="*/ 16 h 42"/>
                <a:gd name="T98" fmla="*/ 37 w 37"/>
                <a:gd name="T99" fmla="*/ 15 h 42"/>
                <a:gd name="T100" fmla="*/ 37 w 37"/>
                <a:gd name="T101" fmla="*/ 15 h 42"/>
                <a:gd name="T102" fmla="*/ 16 w 37"/>
                <a:gd name="T103" fmla="*/ 0 h 42"/>
                <a:gd name="T104" fmla="*/ 15 w 37"/>
                <a:gd name="T10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 h="42">
                  <a:moveTo>
                    <a:pt x="15" y="0"/>
                  </a:moveTo>
                  <a:cubicBezTo>
                    <a:pt x="15" y="0"/>
                    <a:pt x="15" y="0"/>
                    <a:pt x="15" y="0"/>
                  </a:cubicBezTo>
                  <a:cubicBezTo>
                    <a:pt x="15" y="0"/>
                    <a:pt x="15" y="0"/>
                    <a:pt x="15" y="1"/>
                  </a:cubicBezTo>
                  <a:cubicBezTo>
                    <a:pt x="18" y="3"/>
                    <a:pt x="18" y="3"/>
                    <a:pt x="18" y="3"/>
                  </a:cubicBezTo>
                  <a:cubicBezTo>
                    <a:pt x="14" y="5"/>
                    <a:pt x="14" y="5"/>
                    <a:pt x="14" y="5"/>
                  </a:cubicBezTo>
                  <a:cubicBezTo>
                    <a:pt x="14" y="6"/>
                    <a:pt x="13" y="6"/>
                    <a:pt x="12" y="6"/>
                  </a:cubicBezTo>
                  <a:cubicBezTo>
                    <a:pt x="11" y="6"/>
                    <a:pt x="11" y="6"/>
                    <a:pt x="11" y="6"/>
                  </a:cubicBezTo>
                  <a:cubicBezTo>
                    <a:pt x="10" y="5"/>
                    <a:pt x="9" y="5"/>
                    <a:pt x="9" y="5"/>
                  </a:cubicBezTo>
                  <a:cubicBezTo>
                    <a:pt x="9" y="5"/>
                    <a:pt x="9" y="5"/>
                    <a:pt x="9" y="5"/>
                  </a:cubicBezTo>
                  <a:cubicBezTo>
                    <a:pt x="8" y="5"/>
                    <a:pt x="8" y="5"/>
                    <a:pt x="8" y="5"/>
                  </a:cubicBezTo>
                  <a:cubicBezTo>
                    <a:pt x="8" y="6"/>
                    <a:pt x="8" y="6"/>
                    <a:pt x="8" y="6"/>
                  </a:cubicBezTo>
                  <a:cubicBezTo>
                    <a:pt x="7" y="6"/>
                    <a:pt x="6" y="7"/>
                    <a:pt x="5" y="8"/>
                  </a:cubicBezTo>
                  <a:cubicBezTo>
                    <a:pt x="3" y="10"/>
                    <a:pt x="2" y="12"/>
                    <a:pt x="2" y="13"/>
                  </a:cubicBezTo>
                  <a:cubicBezTo>
                    <a:pt x="2" y="14"/>
                    <a:pt x="3" y="15"/>
                    <a:pt x="3" y="15"/>
                  </a:cubicBezTo>
                  <a:cubicBezTo>
                    <a:pt x="3" y="16"/>
                    <a:pt x="3" y="17"/>
                    <a:pt x="4" y="18"/>
                  </a:cubicBezTo>
                  <a:cubicBezTo>
                    <a:pt x="4" y="20"/>
                    <a:pt x="4" y="21"/>
                    <a:pt x="4" y="23"/>
                  </a:cubicBezTo>
                  <a:cubicBezTo>
                    <a:pt x="3" y="25"/>
                    <a:pt x="2" y="26"/>
                    <a:pt x="1" y="26"/>
                  </a:cubicBezTo>
                  <a:cubicBezTo>
                    <a:pt x="0" y="27"/>
                    <a:pt x="0" y="27"/>
                    <a:pt x="0" y="27"/>
                  </a:cubicBezTo>
                  <a:cubicBezTo>
                    <a:pt x="0" y="27"/>
                    <a:pt x="1" y="27"/>
                    <a:pt x="1" y="27"/>
                  </a:cubicBezTo>
                  <a:cubicBezTo>
                    <a:pt x="2" y="27"/>
                    <a:pt x="3" y="27"/>
                    <a:pt x="4" y="27"/>
                  </a:cubicBezTo>
                  <a:cubicBezTo>
                    <a:pt x="4" y="27"/>
                    <a:pt x="4" y="27"/>
                    <a:pt x="4" y="27"/>
                  </a:cubicBezTo>
                  <a:cubicBezTo>
                    <a:pt x="4" y="27"/>
                    <a:pt x="4" y="26"/>
                    <a:pt x="4" y="26"/>
                  </a:cubicBezTo>
                  <a:cubicBezTo>
                    <a:pt x="4" y="26"/>
                    <a:pt x="4" y="26"/>
                    <a:pt x="5" y="26"/>
                  </a:cubicBezTo>
                  <a:cubicBezTo>
                    <a:pt x="5" y="26"/>
                    <a:pt x="5" y="26"/>
                    <a:pt x="6" y="26"/>
                  </a:cubicBezTo>
                  <a:cubicBezTo>
                    <a:pt x="5" y="28"/>
                    <a:pt x="4" y="29"/>
                    <a:pt x="4" y="29"/>
                  </a:cubicBezTo>
                  <a:cubicBezTo>
                    <a:pt x="4" y="29"/>
                    <a:pt x="3" y="29"/>
                    <a:pt x="3" y="28"/>
                  </a:cubicBezTo>
                  <a:cubicBezTo>
                    <a:pt x="3" y="28"/>
                    <a:pt x="2" y="28"/>
                    <a:pt x="2" y="28"/>
                  </a:cubicBezTo>
                  <a:cubicBezTo>
                    <a:pt x="1" y="28"/>
                    <a:pt x="1" y="28"/>
                    <a:pt x="1" y="28"/>
                  </a:cubicBezTo>
                  <a:cubicBezTo>
                    <a:pt x="6" y="33"/>
                    <a:pt x="12" y="38"/>
                    <a:pt x="17" y="42"/>
                  </a:cubicBezTo>
                  <a:cubicBezTo>
                    <a:pt x="17" y="42"/>
                    <a:pt x="17" y="41"/>
                    <a:pt x="17" y="41"/>
                  </a:cubicBezTo>
                  <a:cubicBezTo>
                    <a:pt x="17" y="40"/>
                    <a:pt x="17" y="38"/>
                    <a:pt x="17" y="38"/>
                  </a:cubicBezTo>
                  <a:cubicBezTo>
                    <a:pt x="16" y="37"/>
                    <a:pt x="15" y="35"/>
                    <a:pt x="16" y="34"/>
                  </a:cubicBezTo>
                  <a:cubicBezTo>
                    <a:pt x="16" y="32"/>
                    <a:pt x="17" y="31"/>
                    <a:pt x="18" y="30"/>
                  </a:cubicBezTo>
                  <a:cubicBezTo>
                    <a:pt x="19" y="29"/>
                    <a:pt x="19" y="29"/>
                    <a:pt x="19" y="29"/>
                  </a:cubicBezTo>
                  <a:cubicBezTo>
                    <a:pt x="19" y="29"/>
                    <a:pt x="20" y="28"/>
                    <a:pt x="20" y="27"/>
                  </a:cubicBezTo>
                  <a:cubicBezTo>
                    <a:pt x="20" y="27"/>
                    <a:pt x="20" y="27"/>
                    <a:pt x="20" y="27"/>
                  </a:cubicBezTo>
                  <a:cubicBezTo>
                    <a:pt x="21" y="25"/>
                    <a:pt x="23" y="23"/>
                    <a:pt x="24" y="21"/>
                  </a:cubicBezTo>
                  <a:cubicBezTo>
                    <a:pt x="25" y="20"/>
                    <a:pt x="25" y="20"/>
                    <a:pt x="26" y="19"/>
                  </a:cubicBezTo>
                  <a:cubicBezTo>
                    <a:pt x="29" y="18"/>
                    <a:pt x="29" y="18"/>
                    <a:pt x="29" y="18"/>
                  </a:cubicBezTo>
                  <a:cubicBezTo>
                    <a:pt x="30" y="20"/>
                    <a:pt x="30" y="20"/>
                    <a:pt x="30" y="20"/>
                  </a:cubicBezTo>
                  <a:cubicBezTo>
                    <a:pt x="31" y="21"/>
                    <a:pt x="31" y="22"/>
                    <a:pt x="31" y="22"/>
                  </a:cubicBezTo>
                  <a:cubicBezTo>
                    <a:pt x="32" y="23"/>
                    <a:pt x="32" y="23"/>
                    <a:pt x="32" y="23"/>
                  </a:cubicBezTo>
                  <a:cubicBezTo>
                    <a:pt x="32" y="23"/>
                    <a:pt x="32" y="23"/>
                    <a:pt x="32" y="23"/>
                  </a:cubicBezTo>
                  <a:cubicBezTo>
                    <a:pt x="32" y="23"/>
                    <a:pt x="33" y="23"/>
                    <a:pt x="33" y="23"/>
                  </a:cubicBezTo>
                  <a:cubicBezTo>
                    <a:pt x="33" y="23"/>
                    <a:pt x="33" y="23"/>
                    <a:pt x="33" y="23"/>
                  </a:cubicBezTo>
                  <a:cubicBezTo>
                    <a:pt x="33" y="22"/>
                    <a:pt x="33" y="21"/>
                    <a:pt x="33" y="20"/>
                  </a:cubicBezTo>
                  <a:cubicBezTo>
                    <a:pt x="33" y="18"/>
                    <a:pt x="34" y="17"/>
                    <a:pt x="35" y="16"/>
                  </a:cubicBezTo>
                  <a:cubicBezTo>
                    <a:pt x="35" y="16"/>
                    <a:pt x="35" y="16"/>
                    <a:pt x="35" y="16"/>
                  </a:cubicBezTo>
                  <a:cubicBezTo>
                    <a:pt x="36" y="16"/>
                    <a:pt x="36" y="16"/>
                    <a:pt x="36" y="16"/>
                  </a:cubicBezTo>
                  <a:cubicBezTo>
                    <a:pt x="37" y="15"/>
                    <a:pt x="37" y="15"/>
                    <a:pt x="37" y="15"/>
                  </a:cubicBezTo>
                  <a:cubicBezTo>
                    <a:pt x="37" y="15"/>
                    <a:pt x="37" y="15"/>
                    <a:pt x="37" y="15"/>
                  </a:cubicBezTo>
                  <a:cubicBezTo>
                    <a:pt x="16" y="0"/>
                    <a:pt x="16" y="0"/>
                    <a:pt x="16" y="0"/>
                  </a:cubicBezTo>
                  <a:cubicBezTo>
                    <a:pt x="16" y="0"/>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8" name="Freeform 267">
              <a:extLst>
                <a:ext uri="{FF2B5EF4-FFF2-40B4-BE49-F238E27FC236}">
                  <a16:creationId xmlns:a16="http://schemas.microsoft.com/office/drawing/2014/main" id="{DCCC4423-6119-4C6E-8543-292D2628FB0C}"/>
                </a:ext>
              </a:extLst>
            </p:cNvPr>
            <p:cNvSpPr>
              <a:spLocks noEditPoints="1"/>
            </p:cNvSpPr>
            <p:nvPr/>
          </p:nvSpPr>
          <p:spPr bwMode="auto">
            <a:xfrm>
              <a:off x="4734" y="240"/>
              <a:ext cx="90" cy="180"/>
            </a:xfrm>
            <a:custGeom>
              <a:avLst/>
              <a:gdLst>
                <a:gd name="T0" fmla="*/ 38 w 38"/>
                <a:gd name="T1" fmla="*/ 51 h 76"/>
                <a:gd name="T2" fmla="*/ 9 w 38"/>
                <a:gd name="T3" fmla="*/ 0 h 76"/>
                <a:gd name="T4" fmla="*/ 7 w 38"/>
                <a:gd name="T5" fmla="*/ 4 h 76"/>
                <a:gd name="T6" fmla="*/ 4 w 38"/>
                <a:gd name="T7" fmla="*/ 7 h 76"/>
                <a:gd name="T8" fmla="*/ 5 w 38"/>
                <a:gd name="T9" fmla="*/ 14 h 76"/>
                <a:gd name="T10" fmla="*/ 5 w 38"/>
                <a:gd name="T11" fmla="*/ 16 h 76"/>
                <a:gd name="T12" fmla="*/ 5 w 38"/>
                <a:gd name="T13" fmla="*/ 18 h 76"/>
                <a:gd name="T14" fmla="*/ 6 w 38"/>
                <a:gd name="T15" fmla="*/ 25 h 76"/>
                <a:gd name="T16" fmla="*/ 6 w 38"/>
                <a:gd name="T17" fmla="*/ 25 h 76"/>
                <a:gd name="T18" fmla="*/ 3 w 38"/>
                <a:gd name="T19" fmla="*/ 30 h 76"/>
                <a:gd name="T20" fmla="*/ 4 w 38"/>
                <a:gd name="T21" fmla="*/ 45 h 76"/>
                <a:gd name="T22" fmla="*/ 4 w 38"/>
                <a:gd name="T23" fmla="*/ 60 h 76"/>
                <a:gd name="T24" fmla="*/ 0 w 38"/>
                <a:gd name="T25" fmla="*/ 58 h 76"/>
                <a:gd name="T26" fmla="*/ 15 w 38"/>
                <a:gd name="T27" fmla="*/ 72 h 76"/>
                <a:gd name="T28" fmla="*/ 18 w 38"/>
                <a:gd name="T29" fmla="*/ 75 h 76"/>
                <a:gd name="T30" fmla="*/ 21 w 38"/>
                <a:gd name="T31" fmla="*/ 76 h 76"/>
                <a:gd name="T32" fmla="*/ 22 w 38"/>
                <a:gd name="T33" fmla="*/ 72 h 76"/>
                <a:gd name="T34" fmla="*/ 22 w 38"/>
                <a:gd name="T35" fmla="*/ 70 h 76"/>
                <a:gd name="T36" fmla="*/ 24 w 38"/>
                <a:gd name="T37" fmla="*/ 66 h 76"/>
                <a:gd name="T38" fmla="*/ 29 w 38"/>
                <a:gd name="T39" fmla="*/ 64 h 76"/>
                <a:gd name="T40" fmla="*/ 29 w 38"/>
                <a:gd name="T41" fmla="*/ 64 h 76"/>
                <a:gd name="T42" fmla="*/ 31 w 38"/>
                <a:gd name="T43" fmla="*/ 61 h 76"/>
                <a:gd name="T44" fmla="*/ 37 w 38"/>
                <a:gd name="T45" fmla="*/ 52 h 76"/>
                <a:gd name="T46" fmla="*/ 38 w 38"/>
                <a:gd name="T47" fmla="*/ 51 h 76"/>
                <a:gd name="T48" fmla="*/ 37 w 38"/>
                <a:gd name="T49" fmla="*/ 47 h 76"/>
                <a:gd name="T50" fmla="*/ 37 w 38"/>
                <a:gd name="T51" fmla="*/ 47 h 76"/>
                <a:gd name="T52" fmla="*/ 33 w 38"/>
                <a:gd name="T53" fmla="*/ 44 h 76"/>
                <a:gd name="T54" fmla="*/ 30 w 38"/>
                <a:gd name="T55" fmla="*/ 41 h 76"/>
                <a:gd name="T56" fmla="*/ 27 w 38"/>
                <a:gd name="T57" fmla="*/ 36 h 76"/>
                <a:gd name="T58" fmla="*/ 27 w 38"/>
                <a:gd name="T59" fmla="*/ 31 h 76"/>
                <a:gd name="T60" fmla="*/ 26 w 38"/>
                <a:gd name="T61" fmla="*/ 29 h 76"/>
                <a:gd name="T62" fmla="*/ 24 w 38"/>
                <a:gd name="T63" fmla="*/ 23 h 76"/>
                <a:gd name="T64" fmla="*/ 27 w 38"/>
                <a:gd name="T65" fmla="*/ 22 h 76"/>
                <a:gd name="T66" fmla="*/ 27 w 38"/>
                <a:gd name="T67" fmla="*/ 20 h 76"/>
                <a:gd name="T68" fmla="*/ 27 w 38"/>
                <a:gd name="T69" fmla="*/ 20 h 76"/>
                <a:gd name="T70" fmla="*/ 28 w 38"/>
                <a:gd name="T71" fmla="*/ 17 h 76"/>
                <a:gd name="T72" fmla="*/ 27 w 38"/>
                <a:gd name="T73" fmla="*/ 13 h 76"/>
                <a:gd name="T74" fmla="*/ 26 w 38"/>
                <a:gd name="T75" fmla="*/ 9 h 76"/>
                <a:gd name="T76" fmla="*/ 24 w 38"/>
                <a:gd name="T77" fmla="*/ 7 h 76"/>
                <a:gd name="T78" fmla="*/ 22 w 38"/>
                <a:gd name="T79" fmla="*/ 6 h 76"/>
                <a:gd name="T80" fmla="*/ 21 w 38"/>
                <a:gd name="T81" fmla="*/ 4 h 76"/>
                <a:gd name="T82" fmla="*/ 19 w 38"/>
                <a:gd name="T83" fmla="*/ 2 h 76"/>
                <a:gd name="T84" fmla="*/ 18 w 38"/>
                <a:gd name="T85" fmla="*/ 1 h 76"/>
                <a:gd name="T86" fmla="*/ 9 w 38"/>
                <a:gd name="T8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 h="76">
                  <a:moveTo>
                    <a:pt x="38" y="51"/>
                  </a:moveTo>
                  <a:cubicBezTo>
                    <a:pt x="38" y="51"/>
                    <a:pt x="38" y="51"/>
                    <a:pt x="38" y="51"/>
                  </a:cubicBezTo>
                  <a:cubicBezTo>
                    <a:pt x="38" y="51"/>
                    <a:pt x="38" y="51"/>
                    <a:pt x="38" y="51"/>
                  </a:cubicBezTo>
                  <a:moveTo>
                    <a:pt x="9" y="0"/>
                  </a:moveTo>
                  <a:cubicBezTo>
                    <a:pt x="8" y="1"/>
                    <a:pt x="8" y="2"/>
                    <a:pt x="7" y="3"/>
                  </a:cubicBezTo>
                  <a:cubicBezTo>
                    <a:pt x="7" y="4"/>
                    <a:pt x="7" y="4"/>
                    <a:pt x="7" y="4"/>
                  </a:cubicBezTo>
                  <a:cubicBezTo>
                    <a:pt x="6" y="4"/>
                    <a:pt x="6" y="5"/>
                    <a:pt x="6" y="5"/>
                  </a:cubicBezTo>
                  <a:cubicBezTo>
                    <a:pt x="5" y="6"/>
                    <a:pt x="5" y="6"/>
                    <a:pt x="4" y="7"/>
                  </a:cubicBezTo>
                  <a:cubicBezTo>
                    <a:pt x="4" y="8"/>
                    <a:pt x="4" y="8"/>
                    <a:pt x="4" y="8"/>
                  </a:cubicBezTo>
                  <a:cubicBezTo>
                    <a:pt x="5" y="10"/>
                    <a:pt x="5" y="12"/>
                    <a:pt x="5" y="14"/>
                  </a:cubicBezTo>
                  <a:cubicBezTo>
                    <a:pt x="5" y="15"/>
                    <a:pt x="5" y="16"/>
                    <a:pt x="5" y="16"/>
                  </a:cubicBezTo>
                  <a:cubicBezTo>
                    <a:pt x="5" y="16"/>
                    <a:pt x="5" y="16"/>
                    <a:pt x="5" y="16"/>
                  </a:cubicBezTo>
                  <a:cubicBezTo>
                    <a:pt x="5" y="17"/>
                    <a:pt x="5" y="17"/>
                    <a:pt x="5" y="17"/>
                  </a:cubicBezTo>
                  <a:cubicBezTo>
                    <a:pt x="5" y="17"/>
                    <a:pt x="5" y="18"/>
                    <a:pt x="5" y="18"/>
                  </a:cubicBezTo>
                  <a:cubicBezTo>
                    <a:pt x="6" y="18"/>
                    <a:pt x="6" y="19"/>
                    <a:pt x="6" y="21"/>
                  </a:cubicBezTo>
                  <a:cubicBezTo>
                    <a:pt x="7" y="22"/>
                    <a:pt x="7" y="25"/>
                    <a:pt x="6" y="25"/>
                  </a:cubicBezTo>
                  <a:cubicBezTo>
                    <a:pt x="6" y="25"/>
                    <a:pt x="6" y="25"/>
                    <a:pt x="6" y="25"/>
                  </a:cubicBezTo>
                  <a:cubicBezTo>
                    <a:pt x="6" y="25"/>
                    <a:pt x="6" y="25"/>
                    <a:pt x="6" y="25"/>
                  </a:cubicBezTo>
                  <a:cubicBezTo>
                    <a:pt x="3" y="25"/>
                    <a:pt x="4" y="28"/>
                    <a:pt x="3" y="30"/>
                  </a:cubicBezTo>
                  <a:cubicBezTo>
                    <a:pt x="3" y="30"/>
                    <a:pt x="3" y="30"/>
                    <a:pt x="3" y="30"/>
                  </a:cubicBezTo>
                  <a:cubicBezTo>
                    <a:pt x="5" y="34"/>
                    <a:pt x="5" y="34"/>
                    <a:pt x="4" y="38"/>
                  </a:cubicBezTo>
                  <a:cubicBezTo>
                    <a:pt x="4" y="40"/>
                    <a:pt x="4" y="42"/>
                    <a:pt x="4" y="45"/>
                  </a:cubicBezTo>
                  <a:cubicBezTo>
                    <a:pt x="2" y="45"/>
                    <a:pt x="0" y="50"/>
                    <a:pt x="1" y="52"/>
                  </a:cubicBezTo>
                  <a:cubicBezTo>
                    <a:pt x="2" y="55"/>
                    <a:pt x="3" y="57"/>
                    <a:pt x="4" y="60"/>
                  </a:cubicBezTo>
                  <a:cubicBezTo>
                    <a:pt x="3" y="60"/>
                    <a:pt x="1" y="58"/>
                    <a:pt x="0" y="58"/>
                  </a:cubicBezTo>
                  <a:cubicBezTo>
                    <a:pt x="0" y="58"/>
                    <a:pt x="0" y="58"/>
                    <a:pt x="0" y="58"/>
                  </a:cubicBezTo>
                  <a:cubicBezTo>
                    <a:pt x="3" y="62"/>
                    <a:pt x="5" y="63"/>
                    <a:pt x="9" y="65"/>
                  </a:cubicBezTo>
                  <a:cubicBezTo>
                    <a:pt x="13" y="67"/>
                    <a:pt x="13" y="68"/>
                    <a:pt x="15" y="72"/>
                  </a:cubicBezTo>
                  <a:cubicBezTo>
                    <a:pt x="15" y="73"/>
                    <a:pt x="15" y="74"/>
                    <a:pt x="16" y="75"/>
                  </a:cubicBezTo>
                  <a:cubicBezTo>
                    <a:pt x="18" y="75"/>
                    <a:pt x="18" y="75"/>
                    <a:pt x="18" y="75"/>
                  </a:cubicBezTo>
                  <a:cubicBezTo>
                    <a:pt x="19" y="75"/>
                    <a:pt x="19" y="75"/>
                    <a:pt x="19" y="75"/>
                  </a:cubicBezTo>
                  <a:cubicBezTo>
                    <a:pt x="20" y="75"/>
                    <a:pt x="20" y="76"/>
                    <a:pt x="21" y="76"/>
                  </a:cubicBezTo>
                  <a:cubicBezTo>
                    <a:pt x="21" y="75"/>
                    <a:pt x="21" y="74"/>
                    <a:pt x="21" y="73"/>
                  </a:cubicBezTo>
                  <a:cubicBezTo>
                    <a:pt x="22" y="72"/>
                    <a:pt x="22" y="72"/>
                    <a:pt x="22" y="72"/>
                  </a:cubicBezTo>
                  <a:cubicBezTo>
                    <a:pt x="22" y="72"/>
                    <a:pt x="22" y="72"/>
                    <a:pt x="22" y="71"/>
                  </a:cubicBezTo>
                  <a:cubicBezTo>
                    <a:pt x="22" y="71"/>
                    <a:pt x="22" y="70"/>
                    <a:pt x="22" y="70"/>
                  </a:cubicBezTo>
                  <a:cubicBezTo>
                    <a:pt x="22" y="68"/>
                    <a:pt x="23" y="67"/>
                    <a:pt x="23" y="67"/>
                  </a:cubicBezTo>
                  <a:cubicBezTo>
                    <a:pt x="23" y="67"/>
                    <a:pt x="24" y="67"/>
                    <a:pt x="24" y="66"/>
                  </a:cubicBezTo>
                  <a:cubicBezTo>
                    <a:pt x="25" y="66"/>
                    <a:pt x="25" y="65"/>
                    <a:pt x="27" y="64"/>
                  </a:cubicBezTo>
                  <a:cubicBezTo>
                    <a:pt x="27" y="64"/>
                    <a:pt x="28" y="64"/>
                    <a:pt x="29" y="64"/>
                  </a:cubicBezTo>
                  <a:cubicBezTo>
                    <a:pt x="29" y="64"/>
                    <a:pt x="29" y="64"/>
                    <a:pt x="29" y="64"/>
                  </a:cubicBezTo>
                  <a:cubicBezTo>
                    <a:pt x="29" y="64"/>
                    <a:pt x="29" y="64"/>
                    <a:pt x="29" y="64"/>
                  </a:cubicBezTo>
                  <a:cubicBezTo>
                    <a:pt x="30" y="63"/>
                    <a:pt x="30" y="62"/>
                    <a:pt x="30" y="61"/>
                  </a:cubicBezTo>
                  <a:cubicBezTo>
                    <a:pt x="31" y="61"/>
                    <a:pt x="31" y="61"/>
                    <a:pt x="31" y="61"/>
                  </a:cubicBezTo>
                  <a:cubicBezTo>
                    <a:pt x="31" y="59"/>
                    <a:pt x="32" y="57"/>
                    <a:pt x="33" y="55"/>
                  </a:cubicBezTo>
                  <a:cubicBezTo>
                    <a:pt x="35" y="53"/>
                    <a:pt x="36" y="53"/>
                    <a:pt x="37" y="52"/>
                  </a:cubicBezTo>
                  <a:cubicBezTo>
                    <a:pt x="38" y="51"/>
                    <a:pt x="38" y="51"/>
                    <a:pt x="38" y="51"/>
                  </a:cubicBezTo>
                  <a:cubicBezTo>
                    <a:pt x="38" y="51"/>
                    <a:pt x="38" y="51"/>
                    <a:pt x="38" y="51"/>
                  </a:cubicBezTo>
                  <a:cubicBezTo>
                    <a:pt x="38" y="51"/>
                    <a:pt x="38" y="51"/>
                    <a:pt x="38" y="51"/>
                  </a:cubicBezTo>
                  <a:cubicBezTo>
                    <a:pt x="37" y="49"/>
                    <a:pt x="37" y="48"/>
                    <a:pt x="37" y="47"/>
                  </a:cubicBezTo>
                  <a:cubicBezTo>
                    <a:pt x="37" y="47"/>
                    <a:pt x="37" y="47"/>
                    <a:pt x="37" y="47"/>
                  </a:cubicBezTo>
                  <a:cubicBezTo>
                    <a:pt x="37" y="47"/>
                    <a:pt x="37" y="47"/>
                    <a:pt x="37" y="47"/>
                  </a:cubicBezTo>
                  <a:cubicBezTo>
                    <a:pt x="35" y="48"/>
                    <a:pt x="35" y="48"/>
                    <a:pt x="35" y="48"/>
                  </a:cubicBezTo>
                  <a:cubicBezTo>
                    <a:pt x="33" y="44"/>
                    <a:pt x="33" y="44"/>
                    <a:pt x="33" y="44"/>
                  </a:cubicBezTo>
                  <a:cubicBezTo>
                    <a:pt x="32" y="43"/>
                    <a:pt x="31" y="42"/>
                    <a:pt x="31" y="41"/>
                  </a:cubicBezTo>
                  <a:cubicBezTo>
                    <a:pt x="30" y="41"/>
                    <a:pt x="30" y="41"/>
                    <a:pt x="30" y="41"/>
                  </a:cubicBezTo>
                  <a:cubicBezTo>
                    <a:pt x="29" y="40"/>
                    <a:pt x="29" y="40"/>
                    <a:pt x="29" y="40"/>
                  </a:cubicBezTo>
                  <a:cubicBezTo>
                    <a:pt x="28" y="39"/>
                    <a:pt x="27" y="38"/>
                    <a:pt x="27" y="36"/>
                  </a:cubicBezTo>
                  <a:cubicBezTo>
                    <a:pt x="26" y="36"/>
                    <a:pt x="26" y="36"/>
                    <a:pt x="26" y="36"/>
                  </a:cubicBezTo>
                  <a:cubicBezTo>
                    <a:pt x="26" y="33"/>
                    <a:pt x="26" y="32"/>
                    <a:pt x="27" y="31"/>
                  </a:cubicBezTo>
                  <a:cubicBezTo>
                    <a:pt x="27" y="30"/>
                    <a:pt x="27" y="30"/>
                    <a:pt x="27" y="30"/>
                  </a:cubicBezTo>
                  <a:cubicBezTo>
                    <a:pt x="27" y="30"/>
                    <a:pt x="27" y="30"/>
                    <a:pt x="26" y="29"/>
                  </a:cubicBezTo>
                  <a:cubicBezTo>
                    <a:pt x="26" y="28"/>
                    <a:pt x="25" y="27"/>
                    <a:pt x="25" y="27"/>
                  </a:cubicBezTo>
                  <a:cubicBezTo>
                    <a:pt x="24" y="23"/>
                    <a:pt x="24" y="23"/>
                    <a:pt x="24" y="23"/>
                  </a:cubicBezTo>
                  <a:cubicBezTo>
                    <a:pt x="27" y="23"/>
                    <a:pt x="27" y="23"/>
                    <a:pt x="27" y="23"/>
                  </a:cubicBezTo>
                  <a:cubicBezTo>
                    <a:pt x="27" y="22"/>
                    <a:pt x="27" y="22"/>
                    <a:pt x="27" y="22"/>
                  </a:cubicBezTo>
                  <a:cubicBezTo>
                    <a:pt x="27" y="22"/>
                    <a:pt x="27" y="21"/>
                    <a:pt x="27" y="21"/>
                  </a:cubicBezTo>
                  <a:cubicBezTo>
                    <a:pt x="27" y="20"/>
                    <a:pt x="27" y="20"/>
                    <a:pt x="27" y="20"/>
                  </a:cubicBezTo>
                  <a:cubicBezTo>
                    <a:pt x="27" y="20"/>
                    <a:pt x="27" y="20"/>
                    <a:pt x="27" y="20"/>
                  </a:cubicBezTo>
                  <a:cubicBezTo>
                    <a:pt x="27" y="20"/>
                    <a:pt x="27" y="20"/>
                    <a:pt x="27" y="20"/>
                  </a:cubicBezTo>
                  <a:cubicBezTo>
                    <a:pt x="27" y="17"/>
                    <a:pt x="27" y="17"/>
                    <a:pt x="27" y="17"/>
                  </a:cubicBezTo>
                  <a:cubicBezTo>
                    <a:pt x="28" y="17"/>
                    <a:pt x="28" y="17"/>
                    <a:pt x="28" y="17"/>
                  </a:cubicBezTo>
                  <a:cubicBezTo>
                    <a:pt x="27" y="14"/>
                    <a:pt x="27" y="14"/>
                    <a:pt x="27" y="14"/>
                  </a:cubicBezTo>
                  <a:cubicBezTo>
                    <a:pt x="27" y="14"/>
                    <a:pt x="27" y="13"/>
                    <a:pt x="27" y="13"/>
                  </a:cubicBezTo>
                  <a:cubicBezTo>
                    <a:pt x="27" y="11"/>
                    <a:pt x="27" y="10"/>
                    <a:pt x="27" y="9"/>
                  </a:cubicBezTo>
                  <a:cubicBezTo>
                    <a:pt x="26" y="9"/>
                    <a:pt x="26" y="9"/>
                    <a:pt x="26" y="9"/>
                  </a:cubicBezTo>
                  <a:cubicBezTo>
                    <a:pt x="26" y="8"/>
                    <a:pt x="26" y="8"/>
                    <a:pt x="26" y="8"/>
                  </a:cubicBezTo>
                  <a:cubicBezTo>
                    <a:pt x="25" y="8"/>
                    <a:pt x="25" y="8"/>
                    <a:pt x="24" y="7"/>
                  </a:cubicBezTo>
                  <a:cubicBezTo>
                    <a:pt x="24" y="7"/>
                    <a:pt x="23" y="7"/>
                    <a:pt x="23" y="6"/>
                  </a:cubicBezTo>
                  <a:cubicBezTo>
                    <a:pt x="22" y="6"/>
                    <a:pt x="22" y="6"/>
                    <a:pt x="22" y="6"/>
                  </a:cubicBezTo>
                  <a:cubicBezTo>
                    <a:pt x="22" y="5"/>
                    <a:pt x="22" y="5"/>
                    <a:pt x="22" y="5"/>
                  </a:cubicBezTo>
                  <a:cubicBezTo>
                    <a:pt x="21" y="5"/>
                    <a:pt x="21" y="5"/>
                    <a:pt x="21" y="4"/>
                  </a:cubicBezTo>
                  <a:cubicBezTo>
                    <a:pt x="20" y="4"/>
                    <a:pt x="20" y="4"/>
                    <a:pt x="20" y="4"/>
                  </a:cubicBezTo>
                  <a:cubicBezTo>
                    <a:pt x="20" y="3"/>
                    <a:pt x="19" y="3"/>
                    <a:pt x="19" y="2"/>
                  </a:cubicBezTo>
                  <a:cubicBezTo>
                    <a:pt x="18" y="2"/>
                    <a:pt x="18" y="2"/>
                    <a:pt x="18" y="2"/>
                  </a:cubicBezTo>
                  <a:cubicBezTo>
                    <a:pt x="18" y="1"/>
                    <a:pt x="18" y="1"/>
                    <a:pt x="18" y="1"/>
                  </a:cubicBezTo>
                  <a:cubicBezTo>
                    <a:pt x="16" y="2"/>
                    <a:pt x="14" y="2"/>
                    <a:pt x="13" y="2"/>
                  </a:cubicBezTo>
                  <a:cubicBezTo>
                    <a:pt x="12" y="2"/>
                    <a:pt x="10" y="2"/>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9" name="Freeform 268">
              <a:extLst>
                <a:ext uri="{FF2B5EF4-FFF2-40B4-BE49-F238E27FC236}">
                  <a16:creationId xmlns:a16="http://schemas.microsoft.com/office/drawing/2014/main" id="{3F866245-342B-4592-96B9-BB25C717F922}"/>
                </a:ext>
              </a:extLst>
            </p:cNvPr>
            <p:cNvSpPr>
              <a:spLocks/>
            </p:cNvSpPr>
            <p:nvPr/>
          </p:nvSpPr>
          <p:spPr bwMode="auto">
            <a:xfrm>
              <a:off x="4783" y="193"/>
              <a:ext cx="81" cy="78"/>
            </a:xfrm>
            <a:custGeom>
              <a:avLst/>
              <a:gdLst>
                <a:gd name="T0" fmla="*/ 14 w 34"/>
                <a:gd name="T1" fmla="*/ 0 h 33"/>
                <a:gd name="T2" fmla="*/ 15 w 34"/>
                <a:gd name="T3" fmla="*/ 4 h 33"/>
                <a:gd name="T4" fmla="*/ 12 w 34"/>
                <a:gd name="T5" fmla="*/ 7 h 33"/>
                <a:gd name="T6" fmla="*/ 9 w 34"/>
                <a:gd name="T7" fmla="*/ 8 h 33"/>
                <a:gd name="T8" fmla="*/ 9 w 34"/>
                <a:gd name="T9" fmla="*/ 8 h 33"/>
                <a:gd name="T10" fmla="*/ 9 w 34"/>
                <a:gd name="T11" fmla="*/ 8 h 33"/>
                <a:gd name="T12" fmla="*/ 9 w 34"/>
                <a:gd name="T13" fmla="*/ 9 h 33"/>
                <a:gd name="T14" fmla="*/ 11 w 34"/>
                <a:gd name="T15" fmla="*/ 11 h 33"/>
                <a:gd name="T16" fmla="*/ 5 w 34"/>
                <a:gd name="T17" fmla="*/ 12 h 33"/>
                <a:gd name="T18" fmla="*/ 2 w 34"/>
                <a:gd name="T19" fmla="*/ 13 h 33"/>
                <a:gd name="T20" fmla="*/ 0 w 34"/>
                <a:gd name="T21" fmla="*/ 14 h 33"/>
                <a:gd name="T22" fmla="*/ 0 w 34"/>
                <a:gd name="T23" fmla="*/ 16 h 33"/>
                <a:gd name="T24" fmla="*/ 1 w 34"/>
                <a:gd name="T25" fmla="*/ 17 h 33"/>
                <a:gd name="T26" fmla="*/ 6 w 34"/>
                <a:gd name="T27" fmla="*/ 22 h 33"/>
                <a:gd name="T28" fmla="*/ 9 w 34"/>
                <a:gd name="T29" fmla="*/ 24 h 33"/>
                <a:gd name="T30" fmla="*/ 10 w 34"/>
                <a:gd name="T31" fmla="*/ 25 h 33"/>
                <a:gd name="T32" fmla="*/ 10 w 34"/>
                <a:gd name="T33" fmla="*/ 25 h 33"/>
                <a:gd name="T34" fmla="*/ 10 w 34"/>
                <a:gd name="T35" fmla="*/ 26 h 33"/>
                <a:gd name="T36" fmla="*/ 11 w 34"/>
                <a:gd name="T37" fmla="*/ 27 h 33"/>
                <a:gd name="T38" fmla="*/ 12 w 34"/>
                <a:gd name="T39" fmla="*/ 32 h 33"/>
                <a:gd name="T40" fmla="*/ 12 w 34"/>
                <a:gd name="T41" fmla="*/ 33 h 33"/>
                <a:gd name="T42" fmla="*/ 13 w 34"/>
                <a:gd name="T43" fmla="*/ 32 h 33"/>
                <a:gd name="T44" fmla="*/ 15 w 34"/>
                <a:gd name="T45" fmla="*/ 29 h 33"/>
                <a:gd name="T46" fmla="*/ 16 w 34"/>
                <a:gd name="T47" fmla="*/ 28 h 33"/>
                <a:gd name="T48" fmla="*/ 18 w 34"/>
                <a:gd name="T49" fmla="*/ 27 h 33"/>
                <a:gd name="T50" fmla="*/ 18 w 34"/>
                <a:gd name="T51" fmla="*/ 27 h 33"/>
                <a:gd name="T52" fmla="*/ 17 w 34"/>
                <a:gd name="T53" fmla="*/ 20 h 33"/>
                <a:gd name="T54" fmla="*/ 20 w 34"/>
                <a:gd name="T55" fmla="*/ 26 h 33"/>
                <a:gd name="T56" fmla="*/ 20 w 34"/>
                <a:gd name="T57" fmla="*/ 26 h 33"/>
                <a:gd name="T58" fmla="*/ 20 w 34"/>
                <a:gd name="T59" fmla="*/ 26 h 33"/>
                <a:gd name="T60" fmla="*/ 21 w 34"/>
                <a:gd name="T61" fmla="*/ 26 h 33"/>
                <a:gd name="T62" fmla="*/ 24 w 34"/>
                <a:gd name="T63" fmla="*/ 27 h 33"/>
                <a:gd name="T64" fmla="*/ 25 w 34"/>
                <a:gd name="T65" fmla="*/ 27 h 33"/>
                <a:gd name="T66" fmla="*/ 28 w 34"/>
                <a:gd name="T67" fmla="*/ 24 h 33"/>
                <a:gd name="T68" fmla="*/ 30 w 34"/>
                <a:gd name="T69" fmla="*/ 24 h 33"/>
                <a:gd name="T70" fmla="*/ 31 w 34"/>
                <a:gd name="T71" fmla="*/ 24 h 33"/>
                <a:gd name="T72" fmla="*/ 31 w 34"/>
                <a:gd name="T73" fmla="*/ 23 h 33"/>
                <a:gd name="T74" fmla="*/ 32 w 34"/>
                <a:gd name="T75" fmla="*/ 20 h 33"/>
                <a:gd name="T76" fmla="*/ 34 w 34"/>
                <a:gd name="T77" fmla="*/ 17 h 33"/>
                <a:gd name="T78" fmla="*/ 34 w 34"/>
                <a:gd name="T79" fmla="*/ 17 h 33"/>
                <a:gd name="T80" fmla="*/ 28 w 34"/>
                <a:gd name="T81" fmla="*/ 13 h 33"/>
                <a:gd name="T82" fmla="*/ 27 w 34"/>
                <a:gd name="T83" fmla="*/ 10 h 33"/>
                <a:gd name="T84" fmla="*/ 27 w 34"/>
                <a:gd name="T85" fmla="*/ 10 h 33"/>
                <a:gd name="T86" fmla="*/ 27 w 34"/>
                <a:gd name="T87" fmla="*/ 8 h 33"/>
                <a:gd name="T88" fmla="*/ 26 w 34"/>
                <a:gd name="T89" fmla="*/ 8 h 33"/>
                <a:gd name="T90" fmla="*/ 20 w 34"/>
                <a:gd name="T91" fmla="*/ 1 h 33"/>
                <a:gd name="T92" fmla="*/ 18 w 34"/>
                <a:gd name="T93" fmla="*/ 0 h 33"/>
                <a:gd name="T94" fmla="*/ 16 w 34"/>
                <a:gd name="T95" fmla="*/ 0 h 33"/>
                <a:gd name="T96" fmla="*/ 15 w 34"/>
                <a:gd name="T97" fmla="*/ 0 h 33"/>
                <a:gd name="T98" fmla="*/ 14 w 34"/>
                <a:gd name="T9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33">
                  <a:moveTo>
                    <a:pt x="14" y="0"/>
                  </a:moveTo>
                  <a:cubicBezTo>
                    <a:pt x="15" y="1"/>
                    <a:pt x="16" y="2"/>
                    <a:pt x="15" y="4"/>
                  </a:cubicBezTo>
                  <a:cubicBezTo>
                    <a:pt x="15" y="6"/>
                    <a:pt x="13" y="7"/>
                    <a:pt x="12" y="7"/>
                  </a:cubicBezTo>
                  <a:cubicBezTo>
                    <a:pt x="11" y="8"/>
                    <a:pt x="10" y="8"/>
                    <a:pt x="9" y="8"/>
                  </a:cubicBezTo>
                  <a:cubicBezTo>
                    <a:pt x="9" y="8"/>
                    <a:pt x="9" y="8"/>
                    <a:pt x="9" y="8"/>
                  </a:cubicBezTo>
                  <a:cubicBezTo>
                    <a:pt x="9" y="8"/>
                    <a:pt x="9" y="8"/>
                    <a:pt x="9" y="8"/>
                  </a:cubicBezTo>
                  <a:cubicBezTo>
                    <a:pt x="9" y="9"/>
                    <a:pt x="9" y="9"/>
                    <a:pt x="9" y="9"/>
                  </a:cubicBezTo>
                  <a:cubicBezTo>
                    <a:pt x="11" y="11"/>
                    <a:pt x="11" y="11"/>
                    <a:pt x="11" y="11"/>
                  </a:cubicBezTo>
                  <a:cubicBezTo>
                    <a:pt x="5" y="12"/>
                    <a:pt x="5" y="12"/>
                    <a:pt x="5" y="12"/>
                  </a:cubicBezTo>
                  <a:cubicBezTo>
                    <a:pt x="4" y="13"/>
                    <a:pt x="3" y="13"/>
                    <a:pt x="2" y="13"/>
                  </a:cubicBezTo>
                  <a:cubicBezTo>
                    <a:pt x="1" y="13"/>
                    <a:pt x="0" y="14"/>
                    <a:pt x="0" y="14"/>
                  </a:cubicBezTo>
                  <a:cubicBezTo>
                    <a:pt x="0" y="15"/>
                    <a:pt x="0" y="15"/>
                    <a:pt x="0" y="16"/>
                  </a:cubicBezTo>
                  <a:cubicBezTo>
                    <a:pt x="1" y="17"/>
                    <a:pt x="1" y="17"/>
                    <a:pt x="1" y="17"/>
                  </a:cubicBezTo>
                  <a:cubicBezTo>
                    <a:pt x="2" y="19"/>
                    <a:pt x="5" y="21"/>
                    <a:pt x="6" y="22"/>
                  </a:cubicBezTo>
                  <a:cubicBezTo>
                    <a:pt x="7" y="23"/>
                    <a:pt x="8" y="23"/>
                    <a:pt x="9" y="24"/>
                  </a:cubicBezTo>
                  <a:cubicBezTo>
                    <a:pt x="9" y="24"/>
                    <a:pt x="9" y="25"/>
                    <a:pt x="10" y="25"/>
                  </a:cubicBezTo>
                  <a:cubicBezTo>
                    <a:pt x="10" y="25"/>
                    <a:pt x="10" y="25"/>
                    <a:pt x="10" y="25"/>
                  </a:cubicBezTo>
                  <a:cubicBezTo>
                    <a:pt x="10" y="26"/>
                    <a:pt x="10" y="26"/>
                    <a:pt x="10" y="26"/>
                  </a:cubicBezTo>
                  <a:cubicBezTo>
                    <a:pt x="10" y="26"/>
                    <a:pt x="11" y="27"/>
                    <a:pt x="11" y="27"/>
                  </a:cubicBezTo>
                  <a:cubicBezTo>
                    <a:pt x="12" y="29"/>
                    <a:pt x="12" y="30"/>
                    <a:pt x="12" y="32"/>
                  </a:cubicBezTo>
                  <a:cubicBezTo>
                    <a:pt x="12" y="32"/>
                    <a:pt x="12" y="33"/>
                    <a:pt x="12" y="33"/>
                  </a:cubicBezTo>
                  <a:cubicBezTo>
                    <a:pt x="12" y="33"/>
                    <a:pt x="13" y="32"/>
                    <a:pt x="13" y="32"/>
                  </a:cubicBezTo>
                  <a:cubicBezTo>
                    <a:pt x="13" y="31"/>
                    <a:pt x="14" y="30"/>
                    <a:pt x="15" y="29"/>
                  </a:cubicBezTo>
                  <a:cubicBezTo>
                    <a:pt x="16" y="28"/>
                    <a:pt x="16" y="28"/>
                    <a:pt x="16" y="28"/>
                  </a:cubicBezTo>
                  <a:cubicBezTo>
                    <a:pt x="16" y="27"/>
                    <a:pt x="17" y="27"/>
                    <a:pt x="18" y="27"/>
                  </a:cubicBezTo>
                  <a:cubicBezTo>
                    <a:pt x="18" y="27"/>
                    <a:pt x="18" y="27"/>
                    <a:pt x="18" y="27"/>
                  </a:cubicBezTo>
                  <a:cubicBezTo>
                    <a:pt x="17" y="20"/>
                    <a:pt x="17" y="20"/>
                    <a:pt x="17" y="20"/>
                  </a:cubicBezTo>
                  <a:cubicBezTo>
                    <a:pt x="20" y="26"/>
                    <a:pt x="20" y="26"/>
                    <a:pt x="20" y="26"/>
                  </a:cubicBezTo>
                  <a:cubicBezTo>
                    <a:pt x="20" y="26"/>
                    <a:pt x="20" y="26"/>
                    <a:pt x="20" y="26"/>
                  </a:cubicBezTo>
                  <a:cubicBezTo>
                    <a:pt x="20" y="26"/>
                    <a:pt x="20" y="26"/>
                    <a:pt x="20" y="26"/>
                  </a:cubicBezTo>
                  <a:cubicBezTo>
                    <a:pt x="20" y="26"/>
                    <a:pt x="21" y="26"/>
                    <a:pt x="21" y="26"/>
                  </a:cubicBezTo>
                  <a:cubicBezTo>
                    <a:pt x="22" y="26"/>
                    <a:pt x="24" y="27"/>
                    <a:pt x="24" y="27"/>
                  </a:cubicBezTo>
                  <a:cubicBezTo>
                    <a:pt x="25" y="27"/>
                    <a:pt x="25" y="27"/>
                    <a:pt x="25" y="27"/>
                  </a:cubicBezTo>
                  <a:cubicBezTo>
                    <a:pt x="25" y="26"/>
                    <a:pt x="26" y="25"/>
                    <a:pt x="28" y="24"/>
                  </a:cubicBezTo>
                  <a:cubicBezTo>
                    <a:pt x="29" y="24"/>
                    <a:pt x="30" y="24"/>
                    <a:pt x="30" y="24"/>
                  </a:cubicBezTo>
                  <a:cubicBezTo>
                    <a:pt x="31" y="24"/>
                    <a:pt x="31" y="24"/>
                    <a:pt x="31" y="24"/>
                  </a:cubicBezTo>
                  <a:cubicBezTo>
                    <a:pt x="31" y="23"/>
                    <a:pt x="31" y="23"/>
                    <a:pt x="31" y="23"/>
                  </a:cubicBezTo>
                  <a:cubicBezTo>
                    <a:pt x="31" y="22"/>
                    <a:pt x="32" y="21"/>
                    <a:pt x="32" y="20"/>
                  </a:cubicBezTo>
                  <a:cubicBezTo>
                    <a:pt x="33" y="19"/>
                    <a:pt x="34" y="18"/>
                    <a:pt x="34" y="17"/>
                  </a:cubicBezTo>
                  <a:cubicBezTo>
                    <a:pt x="34" y="17"/>
                    <a:pt x="34" y="17"/>
                    <a:pt x="34" y="17"/>
                  </a:cubicBezTo>
                  <a:cubicBezTo>
                    <a:pt x="33" y="17"/>
                    <a:pt x="30" y="16"/>
                    <a:pt x="28" y="13"/>
                  </a:cubicBezTo>
                  <a:cubicBezTo>
                    <a:pt x="28" y="12"/>
                    <a:pt x="27" y="11"/>
                    <a:pt x="27" y="10"/>
                  </a:cubicBezTo>
                  <a:cubicBezTo>
                    <a:pt x="27" y="10"/>
                    <a:pt x="27" y="10"/>
                    <a:pt x="27" y="10"/>
                  </a:cubicBezTo>
                  <a:cubicBezTo>
                    <a:pt x="27" y="10"/>
                    <a:pt x="27" y="9"/>
                    <a:pt x="27" y="8"/>
                  </a:cubicBezTo>
                  <a:cubicBezTo>
                    <a:pt x="26" y="8"/>
                    <a:pt x="26" y="8"/>
                    <a:pt x="26" y="8"/>
                  </a:cubicBezTo>
                  <a:cubicBezTo>
                    <a:pt x="22" y="8"/>
                    <a:pt x="20" y="5"/>
                    <a:pt x="20" y="1"/>
                  </a:cubicBezTo>
                  <a:cubicBezTo>
                    <a:pt x="20" y="1"/>
                    <a:pt x="19" y="1"/>
                    <a:pt x="18" y="0"/>
                  </a:cubicBezTo>
                  <a:cubicBezTo>
                    <a:pt x="17" y="0"/>
                    <a:pt x="17" y="0"/>
                    <a:pt x="16" y="0"/>
                  </a:cubicBezTo>
                  <a:cubicBezTo>
                    <a:pt x="15" y="0"/>
                    <a:pt x="15" y="0"/>
                    <a:pt x="15" y="0"/>
                  </a:cubicBezTo>
                  <a:cubicBezTo>
                    <a:pt x="15" y="0"/>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0" name="Freeform 269">
              <a:extLst>
                <a:ext uri="{FF2B5EF4-FFF2-40B4-BE49-F238E27FC236}">
                  <a16:creationId xmlns:a16="http://schemas.microsoft.com/office/drawing/2014/main" id="{373DF97A-4162-4CED-A56D-F554F5813CAB}"/>
                </a:ext>
              </a:extLst>
            </p:cNvPr>
            <p:cNvSpPr>
              <a:spLocks/>
            </p:cNvSpPr>
            <p:nvPr/>
          </p:nvSpPr>
          <p:spPr bwMode="auto">
            <a:xfrm>
              <a:off x="4809" y="257"/>
              <a:ext cx="126" cy="85"/>
            </a:xfrm>
            <a:custGeom>
              <a:avLst/>
              <a:gdLst>
                <a:gd name="T0" fmla="*/ 34 w 53"/>
                <a:gd name="T1" fmla="*/ 1 h 36"/>
                <a:gd name="T2" fmla="*/ 27 w 53"/>
                <a:gd name="T3" fmla="*/ 2 h 36"/>
                <a:gd name="T4" fmla="*/ 24 w 53"/>
                <a:gd name="T5" fmla="*/ 2 h 36"/>
                <a:gd name="T6" fmla="*/ 21 w 53"/>
                <a:gd name="T7" fmla="*/ 2 h 36"/>
                <a:gd name="T8" fmla="*/ 20 w 53"/>
                <a:gd name="T9" fmla="*/ 3 h 36"/>
                <a:gd name="T10" fmla="*/ 15 w 53"/>
                <a:gd name="T11" fmla="*/ 7 h 36"/>
                <a:gd name="T12" fmla="*/ 9 w 53"/>
                <a:gd name="T13" fmla="*/ 5 h 36"/>
                <a:gd name="T14" fmla="*/ 9 w 53"/>
                <a:gd name="T15" fmla="*/ 5 h 36"/>
                <a:gd name="T16" fmla="*/ 7 w 53"/>
                <a:gd name="T17" fmla="*/ 8 h 36"/>
                <a:gd name="T18" fmla="*/ 3 w 53"/>
                <a:gd name="T19" fmla="*/ 13 h 36"/>
                <a:gd name="T20" fmla="*/ 1 w 53"/>
                <a:gd name="T21" fmla="*/ 14 h 36"/>
                <a:gd name="T22" fmla="*/ 1 w 53"/>
                <a:gd name="T23" fmla="*/ 18 h 36"/>
                <a:gd name="T24" fmla="*/ 1 w 53"/>
                <a:gd name="T25" fmla="*/ 23 h 36"/>
                <a:gd name="T26" fmla="*/ 0 w 53"/>
                <a:gd name="T27" fmla="*/ 27 h 36"/>
                <a:gd name="T28" fmla="*/ 2 w 53"/>
                <a:gd name="T29" fmla="*/ 30 h 36"/>
                <a:gd name="T30" fmla="*/ 6 w 53"/>
                <a:gd name="T31" fmla="*/ 34 h 36"/>
                <a:gd name="T32" fmla="*/ 8 w 53"/>
                <a:gd name="T33" fmla="*/ 35 h 36"/>
                <a:gd name="T34" fmla="*/ 9 w 53"/>
                <a:gd name="T35" fmla="*/ 36 h 36"/>
                <a:gd name="T36" fmla="*/ 10 w 53"/>
                <a:gd name="T37" fmla="*/ 35 h 36"/>
                <a:gd name="T38" fmla="*/ 14 w 53"/>
                <a:gd name="T39" fmla="*/ 35 h 36"/>
                <a:gd name="T40" fmla="*/ 18 w 53"/>
                <a:gd name="T41" fmla="*/ 34 h 36"/>
                <a:gd name="T42" fmla="*/ 23 w 53"/>
                <a:gd name="T43" fmla="*/ 34 h 36"/>
                <a:gd name="T44" fmla="*/ 26 w 53"/>
                <a:gd name="T45" fmla="*/ 33 h 36"/>
                <a:gd name="T46" fmla="*/ 28 w 53"/>
                <a:gd name="T47" fmla="*/ 30 h 36"/>
                <a:gd name="T48" fmla="*/ 36 w 53"/>
                <a:gd name="T49" fmla="*/ 27 h 36"/>
                <a:gd name="T50" fmla="*/ 41 w 53"/>
                <a:gd name="T51" fmla="*/ 28 h 36"/>
                <a:gd name="T52" fmla="*/ 43 w 53"/>
                <a:gd name="T53" fmla="*/ 28 h 36"/>
                <a:gd name="T54" fmla="*/ 46 w 53"/>
                <a:gd name="T55" fmla="*/ 27 h 36"/>
                <a:gd name="T56" fmla="*/ 47 w 53"/>
                <a:gd name="T57" fmla="*/ 24 h 36"/>
                <a:gd name="T58" fmla="*/ 50 w 53"/>
                <a:gd name="T59" fmla="*/ 22 h 36"/>
                <a:gd name="T60" fmla="*/ 52 w 53"/>
                <a:gd name="T61" fmla="*/ 21 h 36"/>
                <a:gd name="T62" fmla="*/ 53 w 53"/>
                <a:gd name="T63" fmla="*/ 15 h 36"/>
                <a:gd name="T64" fmla="*/ 53 w 53"/>
                <a:gd name="T65" fmla="*/ 14 h 36"/>
                <a:gd name="T66" fmla="*/ 47 w 53"/>
                <a:gd name="T67" fmla="*/ 7 h 36"/>
                <a:gd name="T68" fmla="*/ 46 w 53"/>
                <a:gd name="T69" fmla="*/ 7 h 36"/>
                <a:gd name="T70" fmla="*/ 45 w 53"/>
                <a:gd name="T71" fmla="*/ 6 h 36"/>
                <a:gd name="T72" fmla="*/ 39 w 53"/>
                <a:gd name="T7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 h="36">
                  <a:moveTo>
                    <a:pt x="39" y="0"/>
                  </a:moveTo>
                  <a:cubicBezTo>
                    <a:pt x="34" y="1"/>
                    <a:pt x="34" y="1"/>
                    <a:pt x="34" y="1"/>
                  </a:cubicBezTo>
                  <a:cubicBezTo>
                    <a:pt x="35" y="1"/>
                    <a:pt x="35" y="1"/>
                    <a:pt x="35" y="1"/>
                  </a:cubicBezTo>
                  <a:cubicBezTo>
                    <a:pt x="32" y="1"/>
                    <a:pt x="30" y="1"/>
                    <a:pt x="27" y="2"/>
                  </a:cubicBezTo>
                  <a:cubicBezTo>
                    <a:pt x="25" y="2"/>
                    <a:pt x="25" y="2"/>
                    <a:pt x="25" y="2"/>
                  </a:cubicBezTo>
                  <a:cubicBezTo>
                    <a:pt x="24" y="2"/>
                    <a:pt x="24" y="2"/>
                    <a:pt x="24" y="2"/>
                  </a:cubicBezTo>
                  <a:cubicBezTo>
                    <a:pt x="24" y="2"/>
                    <a:pt x="24" y="2"/>
                    <a:pt x="24" y="2"/>
                  </a:cubicBezTo>
                  <a:cubicBezTo>
                    <a:pt x="21" y="2"/>
                    <a:pt x="21" y="2"/>
                    <a:pt x="21" y="2"/>
                  </a:cubicBezTo>
                  <a:cubicBezTo>
                    <a:pt x="20" y="2"/>
                    <a:pt x="20" y="2"/>
                    <a:pt x="20" y="2"/>
                  </a:cubicBezTo>
                  <a:cubicBezTo>
                    <a:pt x="20" y="2"/>
                    <a:pt x="20" y="2"/>
                    <a:pt x="20" y="3"/>
                  </a:cubicBezTo>
                  <a:cubicBezTo>
                    <a:pt x="19" y="3"/>
                    <a:pt x="19" y="5"/>
                    <a:pt x="17" y="6"/>
                  </a:cubicBezTo>
                  <a:cubicBezTo>
                    <a:pt x="17" y="6"/>
                    <a:pt x="16" y="7"/>
                    <a:pt x="15" y="7"/>
                  </a:cubicBezTo>
                  <a:cubicBezTo>
                    <a:pt x="14" y="7"/>
                    <a:pt x="12" y="6"/>
                    <a:pt x="11" y="6"/>
                  </a:cubicBezTo>
                  <a:cubicBezTo>
                    <a:pt x="11" y="5"/>
                    <a:pt x="10" y="5"/>
                    <a:pt x="9" y="5"/>
                  </a:cubicBezTo>
                  <a:cubicBezTo>
                    <a:pt x="9" y="5"/>
                    <a:pt x="9" y="5"/>
                    <a:pt x="9" y="5"/>
                  </a:cubicBezTo>
                  <a:cubicBezTo>
                    <a:pt x="9" y="5"/>
                    <a:pt x="9" y="5"/>
                    <a:pt x="9" y="5"/>
                  </a:cubicBezTo>
                  <a:cubicBezTo>
                    <a:pt x="8" y="6"/>
                    <a:pt x="8" y="6"/>
                    <a:pt x="8" y="6"/>
                  </a:cubicBezTo>
                  <a:cubicBezTo>
                    <a:pt x="8" y="6"/>
                    <a:pt x="7" y="7"/>
                    <a:pt x="7" y="8"/>
                  </a:cubicBezTo>
                  <a:cubicBezTo>
                    <a:pt x="6" y="9"/>
                    <a:pt x="6" y="9"/>
                    <a:pt x="5" y="10"/>
                  </a:cubicBezTo>
                  <a:cubicBezTo>
                    <a:pt x="5" y="11"/>
                    <a:pt x="4" y="12"/>
                    <a:pt x="3" y="13"/>
                  </a:cubicBezTo>
                  <a:cubicBezTo>
                    <a:pt x="3" y="13"/>
                    <a:pt x="2" y="13"/>
                    <a:pt x="1" y="13"/>
                  </a:cubicBezTo>
                  <a:cubicBezTo>
                    <a:pt x="1" y="14"/>
                    <a:pt x="1" y="14"/>
                    <a:pt x="1" y="14"/>
                  </a:cubicBezTo>
                  <a:cubicBezTo>
                    <a:pt x="1" y="15"/>
                    <a:pt x="1" y="15"/>
                    <a:pt x="1" y="15"/>
                  </a:cubicBezTo>
                  <a:cubicBezTo>
                    <a:pt x="1" y="16"/>
                    <a:pt x="1" y="17"/>
                    <a:pt x="1" y="18"/>
                  </a:cubicBezTo>
                  <a:cubicBezTo>
                    <a:pt x="0" y="20"/>
                    <a:pt x="0" y="20"/>
                    <a:pt x="0" y="20"/>
                  </a:cubicBezTo>
                  <a:cubicBezTo>
                    <a:pt x="0" y="21"/>
                    <a:pt x="1" y="22"/>
                    <a:pt x="1" y="23"/>
                  </a:cubicBezTo>
                  <a:cubicBezTo>
                    <a:pt x="1" y="24"/>
                    <a:pt x="0" y="25"/>
                    <a:pt x="0" y="26"/>
                  </a:cubicBezTo>
                  <a:cubicBezTo>
                    <a:pt x="0" y="27"/>
                    <a:pt x="0" y="27"/>
                    <a:pt x="0" y="27"/>
                  </a:cubicBezTo>
                  <a:cubicBezTo>
                    <a:pt x="0" y="28"/>
                    <a:pt x="1" y="28"/>
                    <a:pt x="1" y="29"/>
                  </a:cubicBezTo>
                  <a:cubicBezTo>
                    <a:pt x="2" y="29"/>
                    <a:pt x="2" y="29"/>
                    <a:pt x="2" y="30"/>
                  </a:cubicBezTo>
                  <a:cubicBezTo>
                    <a:pt x="4" y="31"/>
                    <a:pt x="4" y="32"/>
                    <a:pt x="5" y="34"/>
                  </a:cubicBezTo>
                  <a:cubicBezTo>
                    <a:pt x="6" y="34"/>
                    <a:pt x="6" y="34"/>
                    <a:pt x="6" y="34"/>
                  </a:cubicBezTo>
                  <a:cubicBezTo>
                    <a:pt x="7" y="34"/>
                    <a:pt x="7" y="34"/>
                    <a:pt x="8" y="35"/>
                  </a:cubicBezTo>
                  <a:cubicBezTo>
                    <a:pt x="8" y="35"/>
                    <a:pt x="8" y="35"/>
                    <a:pt x="8" y="35"/>
                  </a:cubicBezTo>
                  <a:cubicBezTo>
                    <a:pt x="9" y="35"/>
                    <a:pt x="9" y="35"/>
                    <a:pt x="9" y="35"/>
                  </a:cubicBezTo>
                  <a:cubicBezTo>
                    <a:pt x="9" y="36"/>
                    <a:pt x="9" y="36"/>
                    <a:pt x="9" y="36"/>
                  </a:cubicBezTo>
                  <a:cubicBezTo>
                    <a:pt x="9" y="36"/>
                    <a:pt x="9" y="36"/>
                    <a:pt x="9" y="36"/>
                  </a:cubicBezTo>
                  <a:cubicBezTo>
                    <a:pt x="10" y="36"/>
                    <a:pt x="10" y="36"/>
                    <a:pt x="10" y="35"/>
                  </a:cubicBezTo>
                  <a:cubicBezTo>
                    <a:pt x="11" y="35"/>
                    <a:pt x="11" y="35"/>
                    <a:pt x="12" y="35"/>
                  </a:cubicBezTo>
                  <a:cubicBezTo>
                    <a:pt x="14" y="35"/>
                    <a:pt x="14" y="35"/>
                    <a:pt x="14" y="35"/>
                  </a:cubicBezTo>
                  <a:cubicBezTo>
                    <a:pt x="15" y="35"/>
                    <a:pt x="15" y="35"/>
                    <a:pt x="15" y="35"/>
                  </a:cubicBezTo>
                  <a:cubicBezTo>
                    <a:pt x="18" y="34"/>
                    <a:pt x="18" y="34"/>
                    <a:pt x="18" y="34"/>
                  </a:cubicBezTo>
                  <a:cubicBezTo>
                    <a:pt x="19" y="34"/>
                    <a:pt x="20" y="34"/>
                    <a:pt x="22" y="34"/>
                  </a:cubicBezTo>
                  <a:cubicBezTo>
                    <a:pt x="22" y="34"/>
                    <a:pt x="23" y="34"/>
                    <a:pt x="23" y="34"/>
                  </a:cubicBezTo>
                  <a:cubicBezTo>
                    <a:pt x="26" y="33"/>
                    <a:pt x="26" y="33"/>
                    <a:pt x="26" y="33"/>
                  </a:cubicBezTo>
                  <a:cubicBezTo>
                    <a:pt x="26" y="33"/>
                    <a:pt x="26" y="33"/>
                    <a:pt x="26" y="33"/>
                  </a:cubicBezTo>
                  <a:cubicBezTo>
                    <a:pt x="26" y="33"/>
                    <a:pt x="26" y="33"/>
                    <a:pt x="26" y="33"/>
                  </a:cubicBezTo>
                  <a:cubicBezTo>
                    <a:pt x="26" y="32"/>
                    <a:pt x="27" y="31"/>
                    <a:pt x="28" y="30"/>
                  </a:cubicBezTo>
                  <a:cubicBezTo>
                    <a:pt x="29" y="29"/>
                    <a:pt x="31" y="28"/>
                    <a:pt x="32" y="28"/>
                  </a:cubicBezTo>
                  <a:cubicBezTo>
                    <a:pt x="33" y="27"/>
                    <a:pt x="34" y="27"/>
                    <a:pt x="36" y="27"/>
                  </a:cubicBezTo>
                  <a:cubicBezTo>
                    <a:pt x="36" y="27"/>
                    <a:pt x="37" y="27"/>
                    <a:pt x="37" y="27"/>
                  </a:cubicBezTo>
                  <a:cubicBezTo>
                    <a:pt x="38" y="27"/>
                    <a:pt x="40" y="27"/>
                    <a:pt x="41" y="28"/>
                  </a:cubicBezTo>
                  <a:cubicBezTo>
                    <a:pt x="42" y="28"/>
                    <a:pt x="42" y="28"/>
                    <a:pt x="42" y="28"/>
                  </a:cubicBezTo>
                  <a:cubicBezTo>
                    <a:pt x="43" y="28"/>
                    <a:pt x="43" y="28"/>
                    <a:pt x="43" y="28"/>
                  </a:cubicBezTo>
                  <a:cubicBezTo>
                    <a:pt x="44" y="28"/>
                    <a:pt x="45" y="28"/>
                    <a:pt x="45" y="28"/>
                  </a:cubicBezTo>
                  <a:cubicBezTo>
                    <a:pt x="45" y="27"/>
                    <a:pt x="46" y="27"/>
                    <a:pt x="46" y="27"/>
                  </a:cubicBezTo>
                  <a:cubicBezTo>
                    <a:pt x="46" y="26"/>
                    <a:pt x="46" y="26"/>
                    <a:pt x="46" y="26"/>
                  </a:cubicBezTo>
                  <a:cubicBezTo>
                    <a:pt x="46" y="26"/>
                    <a:pt x="47" y="25"/>
                    <a:pt x="47" y="24"/>
                  </a:cubicBezTo>
                  <a:cubicBezTo>
                    <a:pt x="48" y="23"/>
                    <a:pt x="49" y="22"/>
                    <a:pt x="50" y="22"/>
                  </a:cubicBezTo>
                  <a:cubicBezTo>
                    <a:pt x="50" y="22"/>
                    <a:pt x="50" y="22"/>
                    <a:pt x="50" y="22"/>
                  </a:cubicBezTo>
                  <a:cubicBezTo>
                    <a:pt x="52" y="22"/>
                    <a:pt x="52" y="22"/>
                    <a:pt x="52" y="22"/>
                  </a:cubicBezTo>
                  <a:cubicBezTo>
                    <a:pt x="52" y="21"/>
                    <a:pt x="52" y="21"/>
                    <a:pt x="52" y="21"/>
                  </a:cubicBezTo>
                  <a:cubicBezTo>
                    <a:pt x="52" y="20"/>
                    <a:pt x="53" y="16"/>
                    <a:pt x="53" y="15"/>
                  </a:cubicBezTo>
                  <a:cubicBezTo>
                    <a:pt x="53" y="15"/>
                    <a:pt x="53" y="15"/>
                    <a:pt x="53" y="15"/>
                  </a:cubicBezTo>
                  <a:cubicBezTo>
                    <a:pt x="53" y="14"/>
                    <a:pt x="53" y="14"/>
                    <a:pt x="53" y="14"/>
                  </a:cubicBezTo>
                  <a:cubicBezTo>
                    <a:pt x="53" y="14"/>
                    <a:pt x="53" y="14"/>
                    <a:pt x="53" y="14"/>
                  </a:cubicBezTo>
                  <a:cubicBezTo>
                    <a:pt x="53" y="14"/>
                    <a:pt x="53" y="13"/>
                    <a:pt x="47" y="8"/>
                  </a:cubicBezTo>
                  <a:cubicBezTo>
                    <a:pt x="47" y="7"/>
                    <a:pt x="47" y="7"/>
                    <a:pt x="47" y="7"/>
                  </a:cubicBezTo>
                  <a:cubicBezTo>
                    <a:pt x="43" y="11"/>
                    <a:pt x="43" y="11"/>
                    <a:pt x="43" y="11"/>
                  </a:cubicBezTo>
                  <a:cubicBezTo>
                    <a:pt x="46" y="7"/>
                    <a:pt x="46" y="7"/>
                    <a:pt x="46" y="7"/>
                  </a:cubicBezTo>
                  <a:cubicBezTo>
                    <a:pt x="45" y="6"/>
                    <a:pt x="45" y="6"/>
                    <a:pt x="45" y="6"/>
                  </a:cubicBezTo>
                  <a:cubicBezTo>
                    <a:pt x="45" y="6"/>
                    <a:pt x="45" y="6"/>
                    <a:pt x="45" y="6"/>
                  </a:cubicBezTo>
                  <a:cubicBezTo>
                    <a:pt x="44" y="5"/>
                    <a:pt x="44" y="5"/>
                    <a:pt x="44" y="5"/>
                  </a:cubicBezTo>
                  <a:cubicBezTo>
                    <a:pt x="43" y="4"/>
                    <a:pt x="41" y="2"/>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1" name="Freeform 270">
              <a:extLst>
                <a:ext uri="{FF2B5EF4-FFF2-40B4-BE49-F238E27FC236}">
                  <a16:creationId xmlns:a16="http://schemas.microsoft.com/office/drawing/2014/main" id="{5260D658-3552-482C-96AF-8C6F56D9A645}"/>
                </a:ext>
              </a:extLst>
            </p:cNvPr>
            <p:cNvSpPr>
              <a:spLocks/>
            </p:cNvSpPr>
            <p:nvPr/>
          </p:nvSpPr>
          <p:spPr bwMode="auto">
            <a:xfrm>
              <a:off x="4779" y="297"/>
              <a:ext cx="356" cy="340"/>
            </a:xfrm>
            <a:custGeom>
              <a:avLst/>
              <a:gdLst>
                <a:gd name="T0" fmla="*/ 145 w 151"/>
                <a:gd name="T1" fmla="*/ 8 h 144"/>
                <a:gd name="T2" fmla="*/ 129 w 151"/>
                <a:gd name="T3" fmla="*/ 12 h 144"/>
                <a:gd name="T4" fmla="*/ 120 w 151"/>
                <a:gd name="T5" fmla="*/ 13 h 144"/>
                <a:gd name="T6" fmla="*/ 116 w 151"/>
                <a:gd name="T7" fmla="*/ 11 h 144"/>
                <a:gd name="T8" fmla="*/ 104 w 151"/>
                <a:gd name="T9" fmla="*/ 4 h 144"/>
                <a:gd name="T10" fmla="*/ 98 w 151"/>
                <a:gd name="T11" fmla="*/ 5 h 144"/>
                <a:gd name="T12" fmla="*/ 84 w 151"/>
                <a:gd name="T13" fmla="*/ 10 h 144"/>
                <a:gd name="T14" fmla="*/ 65 w 151"/>
                <a:gd name="T15" fmla="*/ 11 h 144"/>
                <a:gd name="T16" fmla="*/ 54 w 151"/>
                <a:gd name="T17" fmla="*/ 17 h 144"/>
                <a:gd name="T18" fmla="*/ 49 w 151"/>
                <a:gd name="T19" fmla="*/ 16 h 144"/>
                <a:gd name="T20" fmla="*/ 44 w 151"/>
                <a:gd name="T21" fmla="*/ 18 h 144"/>
                <a:gd name="T22" fmla="*/ 38 w 151"/>
                <a:gd name="T23" fmla="*/ 22 h 144"/>
                <a:gd name="T24" fmla="*/ 29 w 151"/>
                <a:gd name="T25" fmla="*/ 23 h 144"/>
                <a:gd name="T26" fmla="*/ 24 w 151"/>
                <a:gd name="T27" fmla="*/ 24 h 144"/>
                <a:gd name="T28" fmla="*/ 17 w 151"/>
                <a:gd name="T29" fmla="*/ 39 h 144"/>
                <a:gd name="T30" fmla="*/ 11 w 151"/>
                <a:gd name="T31" fmla="*/ 46 h 144"/>
                <a:gd name="T32" fmla="*/ 9 w 151"/>
                <a:gd name="T33" fmla="*/ 46 h 144"/>
                <a:gd name="T34" fmla="*/ 12 w 151"/>
                <a:gd name="T35" fmla="*/ 55 h 144"/>
                <a:gd name="T36" fmla="*/ 3 w 151"/>
                <a:gd name="T37" fmla="*/ 58 h 144"/>
                <a:gd name="T38" fmla="*/ 14 w 151"/>
                <a:gd name="T39" fmla="*/ 72 h 144"/>
                <a:gd name="T40" fmla="*/ 24 w 151"/>
                <a:gd name="T41" fmla="*/ 73 h 144"/>
                <a:gd name="T42" fmla="*/ 19 w 151"/>
                <a:gd name="T43" fmla="*/ 75 h 144"/>
                <a:gd name="T44" fmla="*/ 16 w 151"/>
                <a:gd name="T45" fmla="*/ 77 h 144"/>
                <a:gd name="T46" fmla="*/ 23 w 151"/>
                <a:gd name="T47" fmla="*/ 89 h 144"/>
                <a:gd name="T48" fmla="*/ 33 w 151"/>
                <a:gd name="T49" fmla="*/ 92 h 144"/>
                <a:gd name="T50" fmla="*/ 54 w 151"/>
                <a:gd name="T51" fmla="*/ 90 h 144"/>
                <a:gd name="T52" fmla="*/ 73 w 151"/>
                <a:gd name="T53" fmla="*/ 96 h 144"/>
                <a:gd name="T54" fmla="*/ 50 w 151"/>
                <a:gd name="T55" fmla="*/ 94 h 144"/>
                <a:gd name="T56" fmla="*/ 24 w 151"/>
                <a:gd name="T57" fmla="*/ 103 h 144"/>
                <a:gd name="T58" fmla="*/ 37 w 151"/>
                <a:gd name="T59" fmla="*/ 129 h 144"/>
                <a:gd name="T60" fmla="*/ 44 w 151"/>
                <a:gd name="T61" fmla="*/ 127 h 144"/>
                <a:gd name="T62" fmla="*/ 58 w 151"/>
                <a:gd name="T63" fmla="*/ 136 h 144"/>
                <a:gd name="T64" fmla="*/ 62 w 151"/>
                <a:gd name="T65" fmla="*/ 113 h 144"/>
                <a:gd name="T66" fmla="*/ 78 w 151"/>
                <a:gd name="T67" fmla="*/ 112 h 144"/>
                <a:gd name="T68" fmla="*/ 74 w 151"/>
                <a:gd name="T69" fmla="*/ 111 h 144"/>
                <a:gd name="T70" fmla="*/ 82 w 151"/>
                <a:gd name="T71" fmla="*/ 99 h 144"/>
                <a:gd name="T72" fmla="*/ 84 w 151"/>
                <a:gd name="T73" fmla="*/ 102 h 144"/>
                <a:gd name="T74" fmla="*/ 89 w 151"/>
                <a:gd name="T75" fmla="*/ 106 h 144"/>
                <a:gd name="T76" fmla="*/ 94 w 151"/>
                <a:gd name="T77" fmla="*/ 105 h 144"/>
                <a:gd name="T78" fmla="*/ 66 w 151"/>
                <a:gd name="T79" fmla="*/ 79 h 144"/>
                <a:gd name="T80" fmla="*/ 65 w 151"/>
                <a:gd name="T81" fmla="*/ 68 h 144"/>
                <a:gd name="T82" fmla="*/ 73 w 151"/>
                <a:gd name="T83" fmla="*/ 67 h 144"/>
                <a:gd name="T84" fmla="*/ 70 w 151"/>
                <a:gd name="T85" fmla="*/ 70 h 144"/>
                <a:gd name="T86" fmla="*/ 60 w 151"/>
                <a:gd name="T87" fmla="*/ 45 h 144"/>
                <a:gd name="T88" fmla="*/ 65 w 151"/>
                <a:gd name="T89" fmla="*/ 28 h 144"/>
                <a:gd name="T90" fmla="*/ 65 w 151"/>
                <a:gd name="T91" fmla="*/ 31 h 144"/>
                <a:gd name="T92" fmla="*/ 75 w 151"/>
                <a:gd name="T93" fmla="*/ 38 h 144"/>
                <a:gd name="T94" fmla="*/ 81 w 151"/>
                <a:gd name="T95" fmla="*/ 47 h 144"/>
                <a:gd name="T96" fmla="*/ 81 w 151"/>
                <a:gd name="T97" fmla="*/ 39 h 144"/>
                <a:gd name="T98" fmla="*/ 91 w 151"/>
                <a:gd name="T99" fmla="*/ 47 h 144"/>
                <a:gd name="T100" fmla="*/ 95 w 151"/>
                <a:gd name="T101" fmla="*/ 37 h 144"/>
                <a:gd name="T102" fmla="*/ 106 w 151"/>
                <a:gd name="T103" fmla="*/ 19 h 144"/>
                <a:gd name="T104" fmla="*/ 119 w 151"/>
                <a:gd name="T105" fmla="*/ 17 h 144"/>
                <a:gd name="T106" fmla="*/ 142 w 151"/>
                <a:gd name="T107" fmla="*/ 19 h 144"/>
                <a:gd name="T108" fmla="*/ 144 w 151"/>
                <a:gd name="T109" fmla="*/ 15 h 144"/>
                <a:gd name="T110" fmla="*/ 144 w 151"/>
                <a:gd name="T111" fmla="*/ 10 h 144"/>
                <a:gd name="T112" fmla="*/ 151 w 151"/>
                <a:gd name="T113" fmla="*/ 3 h 144"/>
                <a:gd name="T114" fmla="*/ 149 w 151"/>
                <a:gd name="T115" fmla="*/ 1 h 144"/>
                <a:gd name="T116" fmla="*/ 147 w 151"/>
                <a:gd name="T11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1" h="144">
                  <a:moveTo>
                    <a:pt x="145" y="0"/>
                  </a:moveTo>
                  <a:cubicBezTo>
                    <a:pt x="146" y="2"/>
                    <a:pt x="145" y="4"/>
                    <a:pt x="145" y="6"/>
                  </a:cubicBezTo>
                  <a:cubicBezTo>
                    <a:pt x="145" y="7"/>
                    <a:pt x="145" y="7"/>
                    <a:pt x="145" y="7"/>
                  </a:cubicBezTo>
                  <a:cubicBezTo>
                    <a:pt x="145" y="8"/>
                    <a:pt x="145" y="8"/>
                    <a:pt x="145" y="8"/>
                  </a:cubicBezTo>
                  <a:cubicBezTo>
                    <a:pt x="143" y="10"/>
                    <a:pt x="140" y="11"/>
                    <a:pt x="137" y="11"/>
                  </a:cubicBezTo>
                  <a:cubicBezTo>
                    <a:pt x="135" y="12"/>
                    <a:pt x="134" y="12"/>
                    <a:pt x="132" y="12"/>
                  </a:cubicBezTo>
                  <a:cubicBezTo>
                    <a:pt x="129" y="12"/>
                    <a:pt x="129" y="12"/>
                    <a:pt x="129" y="12"/>
                  </a:cubicBezTo>
                  <a:cubicBezTo>
                    <a:pt x="129" y="12"/>
                    <a:pt x="129" y="12"/>
                    <a:pt x="129" y="12"/>
                  </a:cubicBezTo>
                  <a:cubicBezTo>
                    <a:pt x="124" y="13"/>
                    <a:pt x="124" y="13"/>
                    <a:pt x="124" y="13"/>
                  </a:cubicBezTo>
                  <a:cubicBezTo>
                    <a:pt x="123" y="13"/>
                    <a:pt x="123" y="13"/>
                    <a:pt x="123" y="13"/>
                  </a:cubicBezTo>
                  <a:cubicBezTo>
                    <a:pt x="123" y="13"/>
                    <a:pt x="123" y="13"/>
                    <a:pt x="123" y="13"/>
                  </a:cubicBezTo>
                  <a:cubicBezTo>
                    <a:pt x="122" y="13"/>
                    <a:pt x="121" y="13"/>
                    <a:pt x="120" y="13"/>
                  </a:cubicBezTo>
                  <a:cubicBezTo>
                    <a:pt x="119" y="12"/>
                    <a:pt x="119" y="12"/>
                    <a:pt x="119" y="12"/>
                  </a:cubicBezTo>
                  <a:cubicBezTo>
                    <a:pt x="119" y="12"/>
                    <a:pt x="119" y="12"/>
                    <a:pt x="119" y="12"/>
                  </a:cubicBezTo>
                  <a:cubicBezTo>
                    <a:pt x="118" y="11"/>
                    <a:pt x="117" y="11"/>
                    <a:pt x="116" y="11"/>
                  </a:cubicBezTo>
                  <a:cubicBezTo>
                    <a:pt x="116" y="11"/>
                    <a:pt x="116" y="11"/>
                    <a:pt x="116" y="11"/>
                  </a:cubicBezTo>
                  <a:cubicBezTo>
                    <a:pt x="115" y="11"/>
                    <a:pt x="115" y="11"/>
                    <a:pt x="114" y="11"/>
                  </a:cubicBezTo>
                  <a:cubicBezTo>
                    <a:pt x="112" y="10"/>
                    <a:pt x="110" y="10"/>
                    <a:pt x="108" y="8"/>
                  </a:cubicBezTo>
                  <a:cubicBezTo>
                    <a:pt x="106" y="7"/>
                    <a:pt x="106" y="7"/>
                    <a:pt x="106" y="7"/>
                  </a:cubicBezTo>
                  <a:cubicBezTo>
                    <a:pt x="105" y="6"/>
                    <a:pt x="104" y="5"/>
                    <a:pt x="104" y="4"/>
                  </a:cubicBezTo>
                  <a:cubicBezTo>
                    <a:pt x="103" y="4"/>
                    <a:pt x="103" y="4"/>
                    <a:pt x="103" y="4"/>
                  </a:cubicBezTo>
                  <a:cubicBezTo>
                    <a:pt x="103" y="4"/>
                    <a:pt x="103" y="4"/>
                    <a:pt x="103" y="4"/>
                  </a:cubicBezTo>
                  <a:cubicBezTo>
                    <a:pt x="102" y="4"/>
                    <a:pt x="101" y="4"/>
                    <a:pt x="100" y="5"/>
                  </a:cubicBezTo>
                  <a:cubicBezTo>
                    <a:pt x="98" y="5"/>
                    <a:pt x="98" y="5"/>
                    <a:pt x="98" y="5"/>
                  </a:cubicBezTo>
                  <a:cubicBezTo>
                    <a:pt x="96" y="5"/>
                    <a:pt x="94" y="6"/>
                    <a:pt x="92" y="7"/>
                  </a:cubicBezTo>
                  <a:cubicBezTo>
                    <a:pt x="88" y="8"/>
                    <a:pt x="88" y="8"/>
                    <a:pt x="88" y="8"/>
                  </a:cubicBezTo>
                  <a:cubicBezTo>
                    <a:pt x="87" y="9"/>
                    <a:pt x="86" y="9"/>
                    <a:pt x="84" y="9"/>
                  </a:cubicBezTo>
                  <a:cubicBezTo>
                    <a:pt x="84" y="10"/>
                    <a:pt x="84" y="10"/>
                    <a:pt x="84" y="10"/>
                  </a:cubicBezTo>
                  <a:cubicBezTo>
                    <a:pt x="80" y="10"/>
                    <a:pt x="76" y="10"/>
                    <a:pt x="72" y="10"/>
                  </a:cubicBezTo>
                  <a:cubicBezTo>
                    <a:pt x="71" y="10"/>
                    <a:pt x="71" y="10"/>
                    <a:pt x="71" y="10"/>
                  </a:cubicBezTo>
                  <a:cubicBezTo>
                    <a:pt x="70" y="11"/>
                    <a:pt x="68" y="11"/>
                    <a:pt x="67" y="11"/>
                  </a:cubicBezTo>
                  <a:cubicBezTo>
                    <a:pt x="65" y="11"/>
                    <a:pt x="65" y="11"/>
                    <a:pt x="65" y="11"/>
                  </a:cubicBezTo>
                  <a:cubicBezTo>
                    <a:pt x="65" y="11"/>
                    <a:pt x="64" y="12"/>
                    <a:pt x="64" y="12"/>
                  </a:cubicBezTo>
                  <a:cubicBezTo>
                    <a:pt x="64" y="13"/>
                    <a:pt x="63" y="14"/>
                    <a:pt x="62" y="14"/>
                  </a:cubicBezTo>
                  <a:cubicBezTo>
                    <a:pt x="61" y="16"/>
                    <a:pt x="59" y="17"/>
                    <a:pt x="56" y="17"/>
                  </a:cubicBezTo>
                  <a:cubicBezTo>
                    <a:pt x="56" y="17"/>
                    <a:pt x="55" y="17"/>
                    <a:pt x="54" y="17"/>
                  </a:cubicBezTo>
                  <a:cubicBezTo>
                    <a:pt x="52" y="16"/>
                    <a:pt x="52" y="16"/>
                    <a:pt x="52" y="16"/>
                  </a:cubicBezTo>
                  <a:cubicBezTo>
                    <a:pt x="52" y="16"/>
                    <a:pt x="50" y="16"/>
                    <a:pt x="50" y="16"/>
                  </a:cubicBezTo>
                  <a:cubicBezTo>
                    <a:pt x="50" y="16"/>
                    <a:pt x="50" y="16"/>
                    <a:pt x="50" y="16"/>
                  </a:cubicBezTo>
                  <a:cubicBezTo>
                    <a:pt x="49" y="16"/>
                    <a:pt x="49" y="16"/>
                    <a:pt x="49" y="16"/>
                  </a:cubicBezTo>
                  <a:cubicBezTo>
                    <a:pt x="48" y="16"/>
                    <a:pt x="48" y="16"/>
                    <a:pt x="47" y="16"/>
                  </a:cubicBezTo>
                  <a:cubicBezTo>
                    <a:pt x="45" y="17"/>
                    <a:pt x="45" y="17"/>
                    <a:pt x="45" y="17"/>
                  </a:cubicBezTo>
                  <a:cubicBezTo>
                    <a:pt x="45" y="17"/>
                    <a:pt x="45" y="17"/>
                    <a:pt x="45" y="17"/>
                  </a:cubicBezTo>
                  <a:cubicBezTo>
                    <a:pt x="44" y="18"/>
                    <a:pt x="44" y="18"/>
                    <a:pt x="44" y="18"/>
                  </a:cubicBezTo>
                  <a:cubicBezTo>
                    <a:pt x="44" y="19"/>
                    <a:pt x="44" y="19"/>
                    <a:pt x="43" y="20"/>
                  </a:cubicBezTo>
                  <a:cubicBezTo>
                    <a:pt x="43" y="20"/>
                    <a:pt x="43" y="21"/>
                    <a:pt x="43" y="21"/>
                  </a:cubicBezTo>
                  <a:cubicBezTo>
                    <a:pt x="42" y="21"/>
                    <a:pt x="41" y="22"/>
                    <a:pt x="40" y="22"/>
                  </a:cubicBezTo>
                  <a:cubicBezTo>
                    <a:pt x="39" y="22"/>
                    <a:pt x="39" y="22"/>
                    <a:pt x="38" y="22"/>
                  </a:cubicBezTo>
                  <a:cubicBezTo>
                    <a:pt x="36" y="23"/>
                    <a:pt x="36" y="23"/>
                    <a:pt x="36" y="23"/>
                  </a:cubicBezTo>
                  <a:cubicBezTo>
                    <a:pt x="35" y="23"/>
                    <a:pt x="35" y="23"/>
                    <a:pt x="35" y="23"/>
                  </a:cubicBezTo>
                  <a:cubicBezTo>
                    <a:pt x="34" y="23"/>
                    <a:pt x="33" y="23"/>
                    <a:pt x="32" y="23"/>
                  </a:cubicBezTo>
                  <a:cubicBezTo>
                    <a:pt x="29" y="23"/>
                    <a:pt x="29" y="23"/>
                    <a:pt x="29" y="23"/>
                  </a:cubicBezTo>
                  <a:cubicBezTo>
                    <a:pt x="28" y="24"/>
                    <a:pt x="28" y="24"/>
                    <a:pt x="27" y="24"/>
                  </a:cubicBezTo>
                  <a:cubicBezTo>
                    <a:pt x="27" y="24"/>
                    <a:pt x="27" y="24"/>
                    <a:pt x="26" y="24"/>
                  </a:cubicBezTo>
                  <a:cubicBezTo>
                    <a:pt x="25" y="24"/>
                    <a:pt x="25" y="24"/>
                    <a:pt x="24" y="24"/>
                  </a:cubicBezTo>
                  <a:cubicBezTo>
                    <a:pt x="24" y="24"/>
                    <a:pt x="24" y="24"/>
                    <a:pt x="24" y="24"/>
                  </a:cubicBezTo>
                  <a:cubicBezTo>
                    <a:pt x="24" y="24"/>
                    <a:pt x="24" y="24"/>
                    <a:pt x="24" y="24"/>
                  </a:cubicBezTo>
                  <a:cubicBezTo>
                    <a:pt x="26" y="29"/>
                    <a:pt x="24" y="31"/>
                    <a:pt x="21" y="33"/>
                  </a:cubicBezTo>
                  <a:cubicBezTo>
                    <a:pt x="20" y="33"/>
                    <a:pt x="20" y="34"/>
                    <a:pt x="19" y="35"/>
                  </a:cubicBezTo>
                  <a:cubicBezTo>
                    <a:pt x="18" y="36"/>
                    <a:pt x="18" y="38"/>
                    <a:pt x="17" y="39"/>
                  </a:cubicBezTo>
                  <a:cubicBezTo>
                    <a:pt x="17" y="40"/>
                    <a:pt x="17" y="40"/>
                    <a:pt x="17" y="40"/>
                  </a:cubicBezTo>
                  <a:cubicBezTo>
                    <a:pt x="16" y="41"/>
                    <a:pt x="16" y="42"/>
                    <a:pt x="15" y="43"/>
                  </a:cubicBezTo>
                  <a:cubicBezTo>
                    <a:pt x="15" y="44"/>
                    <a:pt x="15" y="44"/>
                    <a:pt x="15" y="44"/>
                  </a:cubicBezTo>
                  <a:cubicBezTo>
                    <a:pt x="14" y="46"/>
                    <a:pt x="12" y="46"/>
                    <a:pt x="11" y="46"/>
                  </a:cubicBezTo>
                  <a:cubicBezTo>
                    <a:pt x="11" y="46"/>
                    <a:pt x="10" y="46"/>
                    <a:pt x="10" y="46"/>
                  </a:cubicBezTo>
                  <a:cubicBezTo>
                    <a:pt x="10" y="46"/>
                    <a:pt x="10" y="46"/>
                    <a:pt x="10" y="46"/>
                  </a:cubicBezTo>
                  <a:cubicBezTo>
                    <a:pt x="10" y="46"/>
                    <a:pt x="10" y="46"/>
                    <a:pt x="10" y="46"/>
                  </a:cubicBezTo>
                  <a:cubicBezTo>
                    <a:pt x="10" y="46"/>
                    <a:pt x="9" y="46"/>
                    <a:pt x="9" y="46"/>
                  </a:cubicBezTo>
                  <a:cubicBezTo>
                    <a:pt x="9" y="47"/>
                    <a:pt x="9" y="47"/>
                    <a:pt x="9" y="47"/>
                  </a:cubicBezTo>
                  <a:cubicBezTo>
                    <a:pt x="9" y="47"/>
                    <a:pt x="9" y="48"/>
                    <a:pt x="10" y="48"/>
                  </a:cubicBezTo>
                  <a:cubicBezTo>
                    <a:pt x="10" y="49"/>
                    <a:pt x="10" y="49"/>
                    <a:pt x="10" y="49"/>
                  </a:cubicBezTo>
                  <a:cubicBezTo>
                    <a:pt x="12" y="55"/>
                    <a:pt x="12" y="55"/>
                    <a:pt x="12" y="55"/>
                  </a:cubicBezTo>
                  <a:cubicBezTo>
                    <a:pt x="7" y="54"/>
                    <a:pt x="7" y="54"/>
                    <a:pt x="7" y="54"/>
                  </a:cubicBezTo>
                  <a:cubicBezTo>
                    <a:pt x="7" y="54"/>
                    <a:pt x="7" y="54"/>
                    <a:pt x="7" y="54"/>
                  </a:cubicBezTo>
                  <a:cubicBezTo>
                    <a:pt x="7" y="55"/>
                    <a:pt x="6" y="56"/>
                    <a:pt x="5" y="57"/>
                  </a:cubicBezTo>
                  <a:cubicBezTo>
                    <a:pt x="4" y="57"/>
                    <a:pt x="4" y="57"/>
                    <a:pt x="3" y="58"/>
                  </a:cubicBezTo>
                  <a:cubicBezTo>
                    <a:pt x="3" y="58"/>
                    <a:pt x="3" y="58"/>
                    <a:pt x="3" y="58"/>
                  </a:cubicBezTo>
                  <a:cubicBezTo>
                    <a:pt x="2" y="58"/>
                    <a:pt x="1" y="57"/>
                    <a:pt x="0" y="57"/>
                  </a:cubicBezTo>
                  <a:cubicBezTo>
                    <a:pt x="2" y="60"/>
                    <a:pt x="3" y="62"/>
                    <a:pt x="5" y="64"/>
                  </a:cubicBezTo>
                  <a:cubicBezTo>
                    <a:pt x="8" y="67"/>
                    <a:pt x="12" y="69"/>
                    <a:pt x="14" y="72"/>
                  </a:cubicBezTo>
                  <a:cubicBezTo>
                    <a:pt x="15" y="72"/>
                    <a:pt x="15" y="73"/>
                    <a:pt x="15" y="74"/>
                  </a:cubicBezTo>
                  <a:cubicBezTo>
                    <a:pt x="16" y="73"/>
                    <a:pt x="16" y="70"/>
                    <a:pt x="18" y="70"/>
                  </a:cubicBezTo>
                  <a:cubicBezTo>
                    <a:pt x="18" y="70"/>
                    <a:pt x="18" y="70"/>
                    <a:pt x="18" y="70"/>
                  </a:cubicBezTo>
                  <a:cubicBezTo>
                    <a:pt x="20" y="71"/>
                    <a:pt x="24" y="71"/>
                    <a:pt x="24" y="73"/>
                  </a:cubicBezTo>
                  <a:cubicBezTo>
                    <a:pt x="24" y="74"/>
                    <a:pt x="24" y="76"/>
                    <a:pt x="23" y="77"/>
                  </a:cubicBezTo>
                  <a:cubicBezTo>
                    <a:pt x="22" y="76"/>
                    <a:pt x="21" y="75"/>
                    <a:pt x="20" y="75"/>
                  </a:cubicBezTo>
                  <a:cubicBezTo>
                    <a:pt x="20" y="75"/>
                    <a:pt x="20" y="74"/>
                    <a:pt x="20" y="74"/>
                  </a:cubicBezTo>
                  <a:cubicBezTo>
                    <a:pt x="20" y="74"/>
                    <a:pt x="19" y="75"/>
                    <a:pt x="19" y="75"/>
                  </a:cubicBezTo>
                  <a:cubicBezTo>
                    <a:pt x="19" y="75"/>
                    <a:pt x="19" y="75"/>
                    <a:pt x="19" y="75"/>
                  </a:cubicBezTo>
                  <a:cubicBezTo>
                    <a:pt x="19" y="75"/>
                    <a:pt x="19" y="75"/>
                    <a:pt x="19" y="75"/>
                  </a:cubicBezTo>
                  <a:cubicBezTo>
                    <a:pt x="18" y="75"/>
                    <a:pt x="17" y="75"/>
                    <a:pt x="16" y="75"/>
                  </a:cubicBezTo>
                  <a:cubicBezTo>
                    <a:pt x="16" y="75"/>
                    <a:pt x="15" y="75"/>
                    <a:pt x="16" y="77"/>
                  </a:cubicBezTo>
                  <a:cubicBezTo>
                    <a:pt x="14" y="77"/>
                    <a:pt x="16" y="79"/>
                    <a:pt x="16" y="80"/>
                  </a:cubicBezTo>
                  <a:cubicBezTo>
                    <a:pt x="18" y="82"/>
                    <a:pt x="20" y="84"/>
                    <a:pt x="22" y="86"/>
                  </a:cubicBezTo>
                  <a:cubicBezTo>
                    <a:pt x="22" y="87"/>
                    <a:pt x="23" y="88"/>
                    <a:pt x="24" y="89"/>
                  </a:cubicBezTo>
                  <a:cubicBezTo>
                    <a:pt x="23" y="89"/>
                    <a:pt x="23" y="89"/>
                    <a:pt x="23" y="89"/>
                  </a:cubicBezTo>
                  <a:cubicBezTo>
                    <a:pt x="24" y="90"/>
                    <a:pt x="24" y="90"/>
                    <a:pt x="24" y="91"/>
                  </a:cubicBezTo>
                  <a:cubicBezTo>
                    <a:pt x="26" y="90"/>
                    <a:pt x="28" y="89"/>
                    <a:pt x="29" y="88"/>
                  </a:cubicBezTo>
                  <a:cubicBezTo>
                    <a:pt x="29" y="87"/>
                    <a:pt x="29" y="87"/>
                    <a:pt x="29" y="87"/>
                  </a:cubicBezTo>
                  <a:cubicBezTo>
                    <a:pt x="30" y="88"/>
                    <a:pt x="33" y="91"/>
                    <a:pt x="33" y="92"/>
                  </a:cubicBezTo>
                  <a:cubicBezTo>
                    <a:pt x="35" y="92"/>
                    <a:pt x="38" y="91"/>
                    <a:pt x="41" y="90"/>
                  </a:cubicBezTo>
                  <a:cubicBezTo>
                    <a:pt x="42" y="90"/>
                    <a:pt x="44" y="90"/>
                    <a:pt x="45" y="90"/>
                  </a:cubicBezTo>
                  <a:cubicBezTo>
                    <a:pt x="47" y="90"/>
                    <a:pt x="50" y="90"/>
                    <a:pt x="52" y="90"/>
                  </a:cubicBezTo>
                  <a:cubicBezTo>
                    <a:pt x="53" y="90"/>
                    <a:pt x="53" y="90"/>
                    <a:pt x="54" y="90"/>
                  </a:cubicBezTo>
                  <a:cubicBezTo>
                    <a:pt x="54" y="90"/>
                    <a:pt x="54" y="90"/>
                    <a:pt x="54" y="90"/>
                  </a:cubicBezTo>
                  <a:cubicBezTo>
                    <a:pt x="55" y="90"/>
                    <a:pt x="55" y="90"/>
                    <a:pt x="55" y="90"/>
                  </a:cubicBezTo>
                  <a:cubicBezTo>
                    <a:pt x="57" y="90"/>
                    <a:pt x="60" y="90"/>
                    <a:pt x="62" y="91"/>
                  </a:cubicBezTo>
                  <a:cubicBezTo>
                    <a:pt x="66" y="93"/>
                    <a:pt x="70" y="94"/>
                    <a:pt x="73" y="96"/>
                  </a:cubicBezTo>
                  <a:cubicBezTo>
                    <a:pt x="73" y="98"/>
                    <a:pt x="69" y="101"/>
                    <a:pt x="67" y="102"/>
                  </a:cubicBezTo>
                  <a:cubicBezTo>
                    <a:pt x="66" y="102"/>
                    <a:pt x="66" y="102"/>
                    <a:pt x="66" y="102"/>
                  </a:cubicBezTo>
                  <a:cubicBezTo>
                    <a:pt x="65" y="102"/>
                    <a:pt x="63" y="101"/>
                    <a:pt x="62" y="100"/>
                  </a:cubicBezTo>
                  <a:cubicBezTo>
                    <a:pt x="58" y="98"/>
                    <a:pt x="54" y="96"/>
                    <a:pt x="50" y="94"/>
                  </a:cubicBezTo>
                  <a:cubicBezTo>
                    <a:pt x="47" y="93"/>
                    <a:pt x="45" y="91"/>
                    <a:pt x="43" y="91"/>
                  </a:cubicBezTo>
                  <a:cubicBezTo>
                    <a:pt x="38" y="91"/>
                    <a:pt x="32" y="95"/>
                    <a:pt x="29" y="99"/>
                  </a:cubicBezTo>
                  <a:cubicBezTo>
                    <a:pt x="28" y="100"/>
                    <a:pt x="28" y="100"/>
                    <a:pt x="28" y="101"/>
                  </a:cubicBezTo>
                  <a:cubicBezTo>
                    <a:pt x="26" y="102"/>
                    <a:pt x="24" y="102"/>
                    <a:pt x="24" y="103"/>
                  </a:cubicBezTo>
                  <a:cubicBezTo>
                    <a:pt x="23" y="105"/>
                    <a:pt x="28" y="108"/>
                    <a:pt x="29" y="109"/>
                  </a:cubicBezTo>
                  <a:cubicBezTo>
                    <a:pt x="33" y="113"/>
                    <a:pt x="39" y="115"/>
                    <a:pt x="36" y="121"/>
                  </a:cubicBezTo>
                  <a:cubicBezTo>
                    <a:pt x="36" y="123"/>
                    <a:pt x="34" y="122"/>
                    <a:pt x="35" y="125"/>
                  </a:cubicBezTo>
                  <a:cubicBezTo>
                    <a:pt x="35" y="126"/>
                    <a:pt x="36" y="128"/>
                    <a:pt x="37" y="129"/>
                  </a:cubicBezTo>
                  <a:cubicBezTo>
                    <a:pt x="38" y="130"/>
                    <a:pt x="37" y="132"/>
                    <a:pt x="38" y="132"/>
                  </a:cubicBezTo>
                  <a:cubicBezTo>
                    <a:pt x="38" y="132"/>
                    <a:pt x="38" y="132"/>
                    <a:pt x="39" y="132"/>
                  </a:cubicBezTo>
                  <a:cubicBezTo>
                    <a:pt x="41" y="132"/>
                    <a:pt x="43" y="129"/>
                    <a:pt x="43" y="129"/>
                  </a:cubicBezTo>
                  <a:cubicBezTo>
                    <a:pt x="44" y="128"/>
                    <a:pt x="44" y="128"/>
                    <a:pt x="44" y="127"/>
                  </a:cubicBezTo>
                  <a:cubicBezTo>
                    <a:pt x="45" y="127"/>
                    <a:pt x="46" y="127"/>
                    <a:pt x="46" y="127"/>
                  </a:cubicBezTo>
                  <a:cubicBezTo>
                    <a:pt x="51" y="127"/>
                    <a:pt x="55" y="141"/>
                    <a:pt x="56" y="144"/>
                  </a:cubicBezTo>
                  <a:cubicBezTo>
                    <a:pt x="57" y="142"/>
                    <a:pt x="56" y="140"/>
                    <a:pt x="56" y="139"/>
                  </a:cubicBezTo>
                  <a:cubicBezTo>
                    <a:pt x="56" y="138"/>
                    <a:pt x="57" y="137"/>
                    <a:pt x="58" y="136"/>
                  </a:cubicBezTo>
                  <a:cubicBezTo>
                    <a:pt x="58" y="136"/>
                    <a:pt x="58" y="134"/>
                    <a:pt x="58" y="133"/>
                  </a:cubicBezTo>
                  <a:cubicBezTo>
                    <a:pt x="59" y="133"/>
                    <a:pt x="59" y="133"/>
                    <a:pt x="60" y="133"/>
                  </a:cubicBezTo>
                  <a:cubicBezTo>
                    <a:pt x="63" y="133"/>
                    <a:pt x="71" y="141"/>
                    <a:pt x="73" y="143"/>
                  </a:cubicBezTo>
                  <a:cubicBezTo>
                    <a:pt x="70" y="132"/>
                    <a:pt x="67" y="123"/>
                    <a:pt x="62" y="113"/>
                  </a:cubicBezTo>
                  <a:cubicBezTo>
                    <a:pt x="65" y="115"/>
                    <a:pt x="70" y="117"/>
                    <a:pt x="71" y="119"/>
                  </a:cubicBezTo>
                  <a:cubicBezTo>
                    <a:pt x="72" y="119"/>
                    <a:pt x="72" y="119"/>
                    <a:pt x="72" y="119"/>
                  </a:cubicBezTo>
                  <a:cubicBezTo>
                    <a:pt x="73" y="119"/>
                    <a:pt x="74" y="119"/>
                    <a:pt x="76" y="118"/>
                  </a:cubicBezTo>
                  <a:cubicBezTo>
                    <a:pt x="79" y="116"/>
                    <a:pt x="80" y="116"/>
                    <a:pt x="78" y="112"/>
                  </a:cubicBezTo>
                  <a:cubicBezTo>
                    <a:pt x="78" y="111"/>
                    <a:pt x="78" y="111"/>
                    <a:pt x="78" y="111"/>
                  </a:cubicBezTo>
                  <a:cubicBezTo>
                    <a:pt x="78" y="110"/>
                    <a:pt x="78" y="110"/>
                    <a:pt x="77" y="110"/>
                  </a:cubicBezTo>
                  <a:cubicBezTo>
                    <a:pt x="76" y="110"/>
                    <a:pt x="75" y="111"/>
                    <a:pt x="74" y="111"/>
                  </a:cubicBezTo>
                  <a:cubicBezTo>
                    <a:pt x="74" y="111"/>
                    <a:pt x="74" y="111"/>
                    <a:pt x="74" y="111"/>
                  </a:cubicBezTo>
                  <a:cubicBezTo>
                    <a:pt x="73" y="111"/>
                    <a:pt x="71" y="106"/>
                    <a:pt x="70" y="105"/>
                  </a:cubicBezTo>
                  <a:cubicBezTo>
                    <a:pt x="70" y="105"/>
                    <a:pt x="68" y="105"/>
                    <a:pt x="68" y="104"/>
                  </a:cubicBezTo>
                  <a:cubicBezTo>
                    <a:pt x="69" y="101"/>
                    <a:pt x="76" y="102"/>
                    <a:pt x="78" y="101"/>
                  </a:cubicBezTo>
                  <a:cubicBezTo>
                    <a:pt x="79" y="101"/>
                    <a:pt x="80" y="99"/>
                    <a:pt x="82" y="99"/>
                  </a:cubicBezTo>
                  <a:cubicBezTo>
                    <a:pt x="82" y="99"/>
                    <a:pt x="82" y="99"/>
                    <a:pt x="82" y="99"/>
                  </a:cubicBezTo>
                  <a:cubicBezTo>
                    <a:pt x="83" y="100"/>
                    <a:pt x="81" y="101"/>
                    <a:pt x="84" y="102"/>
                  </a:cubicBezTo>
                  <a:cubicBezTo>
                    <a:pt x="83" y="102"/>
                    <a:pt x="83" y="102"/>
                    <a:pt x="83" y="102"/>
                  </a:cubicBezTo>
                  <a:cubicBezTo>
                    <a:pt x="84" y="102"/>
                    <a:pt x="84" y="102"/>
                    <a:pt x="84" y="102"/>
                  </a:cubicBezTo>
                  <a:cubicBezTo>
                    <a:pt x="84" y="102"/>
                    <a:pt x="85" y="102"/>
                    <a:pt x="85" y="102"/>
                  </a:cubicBezTo>
                  <a:cubicBezTo>
                    <a:pt x="86" y="103"/>
                    <a:pt x="86" y="105"/>
                    <a:pt x="87" y="106"/>
                  </a:cubicBezTo>
                  <a:cubicBezTo>
                    <a:pt x="87" y="106"/>
                    <a:pt x="87" y="106"/>
                    <a:pt x="88" y="106"/>
                  </a:cubicBezTo>
                  <a:cubicBezTo>
                    <a:pt x="88" y="106"/>
                    <a:pt x="89" y="106"/>
                    <a:pt x="89" y="106"/>
                  </a:cubicBezTo>
                  <a:cubicBezTo>
                    <a:pt x="90" y="106"/>
                    <a:pt x="90" y="107"/>
                    <a:pt x="90" y="108"/>
                  </a:cubicBezTo>
                  <a:cubicBezTo>
                    <a:pt x="91" y="108"/>
                    <a:pt x="90" y="109"/>
                    <a:pt x="91" y="109"/>
                  </a:cubicBezTo>
                  <a:cubicBezTo>
                    <a:pt x="92" y="109"/>
                    <a:pt x="92" y="109"/>
                    <a:pt x="92" y="109"/>
                  </a:cubicBezTo>
                  <a:cubicBezTo>
                    <a:pt x="94" y="109"/>
                    <a:pt x="94" y="107"/>
                    <a:pt x="94" y="105"/>
                  </a:cubicBezTo>
                  <a:cubicBezTo>
                    <a:pt x="93" y="103"/>
                    <a:pt x="91" y="97"/>
                    <a:pt x="93" y="97"/>
                  </a:cubicBezTo>
                  <a:cubicBezTo>
                    <a:pt x="93" y="97"/>
                    <a:pt x="93" y="97"/>
                    <a:pt x="93" y="97"/>
                  </a:cubicBezTo>
                  <a:cubicBezTo>
                    <a:pt x="95" y="94"/>
                    <a:pt x="76" y="87"/>
                    <a:pt x="74" y="85"/>
                  </a:cubicBezTo>
                  <a:cubicBezTo>
                    <a:pt x="71" y="83"/>
                    <a:pt x="69" y="80"/>
                    <a:pt x="66" y="79"/>
                  </a:cubicBezTo>
                  <a:cubicBezTo>
                    <a:pt x="65" y="79"/>
                    <a:pt x="63" y="78"/>
                    <a:pt x="62" y="78"/>
                  </a:cubicBezTo>
                  <a:cubicBezTo>
                    <a:pt x="61" y="78"/>
                    <a:pt x="59" y="78"/>
                    <a:pt x="57" y="77"/>
                  </a:cubicBezTo>
                  <a:cubicBezTo>
                    <a:pt x="61" y="75"/>
                    <a:pt x="65" y="74"/>
                    <a:pt x="69" y="73"/>
                  </a:cubicBezTo>
                  <a:cubicBezTo>
                    <a:pt x="68" y="71"/>
                    <a:pt x="67" y="69"/>
                    <a:pt x="65" y="68"/>
                  </a:cubicBezTo>
                  <a:cubicBezTo>
                    <a:pt x="65" y="69"/>
                    <a:pt x="65" y="69"/>
                    <a:pt x="65" y="69"/>
                  </a:cubicBezTo>
                  <a:cubicBezTo>
                    <a:pt x="63" y="66"/>
                    <a:pt x="66" y="64"/>
                    <a:pt x="69" y="64"/>
                  </a:cubicBezTo>
                  <a:cubicBezTo>
                    <a:pt x="69" y="64"/>
                    <a:pt x="70" y="64"/>
                    <a:pt x="71" y="64"/>
                  </a:cubicBezTo>
                  <a:cubicBezTo>
                    <a:pt x="72" y="65"/>
                    <a:pt x="72" y="65"/>
                    <a:pt x="73" y="67"/>
                  </a:cubicBezTo>
                  <a:cubicBezTo>
                    <a:pt x="73" y="68"/>
                    <a:pt x="74" y="68"/>
                    <a:pt x="72" y="69"/>
                  </a:cubicBezTo>
                  <a:cubicBezTo>
                    <a:pt x="72" y="70"/>
                    <a:pt x="71" y="70"/>
                    <a:pt x="71" y="70"/>
                  </a:cubicBezTo>
                  <a:cubicBezTo>
                    <a:pt x="71" y="70"/>
                    <a:pt x="70" y="70"/>
                    <a:pt x="70" y="69"/>
                  </a:cubicBezTo>
                  <a:cubicBezTo>
                    <a:pt x="70" y="70"/>
                    <a:pt x="70" y="70"/>
                    <a:pt x="70" y="70"/>
                  </a:cubicBezTo>
                  <a:cubicBezTo>
                    <a:pt x="70" y="70"/>
                    <a:pt x="71" y="70"/>
                    <a:pt x="71" y="70"/>
                  </a:cubicBezTo>
                  <a:cubicBezTo>
                    <a:pt x="72" y="70"/>
                    <a:pt x="73" y="70"/>
                    <a:pt x="74" y="69"/>
                  </a:cubicBezTo>
                  <a:cubicBezTo>
                    <a:pt x="76" y="68"/>
                    <a:pt x="77" y="69"/>
                    <a:pt x="75" y="66"/>
                  </a:cubicBezTo>
                  <a:cubicBezTo>
                    <a:pt x="69" y="59"/>
                    <a:pt x="65" y="52"/>
                    <a:pt x="60" y="45"/>
                  </a:cubicBezTo>
                  <a:cubicBezTo>
                    <a:pt x="58" y="43"/>
                    <a:pt x="58" y="42"/>
                    <a:pt x="58" y="40"/>
                  </a:cubicBezTo>
                  <a:cubicBezTo>
                    <a:pt x="58" y="38"/>
                    <a:pt x="60" y="31"/>
                    <a:pt x="62" y="30"/>
                  </a:cubicBezTo>
                  <a:cubicBezTo>
                    <a:pt x="63" y="30"/>
                    <a:pt x="64" y="29"/>
                    <a:pt x="65" y="29"/>
                  </a:cubicBezTo>
                  <a:cubicBezTo>
                    <a:pt x="65" y="28"/>
                    <a:pt x="65" y="28"/>
                    <a:pt x="65" y="28"/>
                  </a:cubicBezTo>
                  <a:cubicBezTo>
                    <a:pt x="65" y="28"/>
                    <a:pt x="66" y="28"/>
                    <a:pt x="66" y="28"/>
                  </a:cubicBezTo>
                  <a:cubicBezTo>
                    <a:pt x="67" y="28"/>
                    <a:pt x="65" y="30"/>
                    <a:pt x="65" y="31"/>
                  </a:cubicBezTo>
                  <a:cubicBezTo>
                    <a:pt x="65" y="31"/>
                    <a:pt x="65" y="31"/>
                    <a:pt x="65" y="31"/>
                  </a:cubicBezTo>
                  <a:cubicBezTo>
                    <a:pt x="65" y="31"/>
                    <a:pt x="65" y="31"/>
                    <a:pt x="65" y="31"/>
                  </a:cubicBezTo>
                  <a:cubicBezTo>
                    <a:pt x="65" y="31"/>
                    <a:pt x="65" y="31"/>
                    <a:pt x="64" y="31"/>
                  </a:cubicBezTo>
                  <a:cubicBezTo>
                    <a:pt x="64" y="31"/>
                    <a:pt x="64" y="31"/>
                    <a:pt x="64" y="31"/>
                  </a:cubicBezTo>
                  <a:cubicBezTo>
                    <a:pt x="64" y="33"/>
                    <a:pt x="68" y="35"/>
                    <a:pt x="69" y="36"/>
                  </a:cubicBezTo>
                  <a:cubicBezTo>
                    <a:pt x="70" y="37"/>
                    <a:pt x="73" y="37"/>
                    <a:pt x="75" y="38"/>
                  </a:cubicBezTo>
                  <a:cubicBezTo>
                    <a:pt x="77" y="40"/>
                    <a:pt x="75" y="41"/>
                    <a:pt x="76" y="43"/>
                  </a:cubicBezTo>
                  <a:cubicBezTo>
                    <a:pt x="76" y="44"/>
                    <a:pt x="78" y="45"/>
                    <a:pt x="77" y="46"/>
                  </a:cubicBezTo>
                  <a:cubicBezTo>
                    <a:pt x="77" y="46"/>
                    <a:pt x="78" y="46"/>
                    <a:pt x="78" y="46"/>
                  </a:cubicBezTo>
                  <a:cubicBezTo>
                    <a:pt x="79" y="46"/>
                    <a:pt x="80" y="47"/>
                    <a:pt x="81" y="47"/>
                  </a:cubicBezTo>
                  <a:cubicBezTo>
                    <a:pt x="83" y="47"/>
                    <a:pt x="84" y="48"/>
                    <a:pt x="85" y="48"/>
                  </a:cubicBezTo>
                  <a:cubicBezTo>
                    <a:pt x="85" y="48"/>
                    <a:pt x="85" y="48"/>
                    <a:pt x="86" y="47"/>
                  </a:cubicBezTo>
                  <a:cubicBezTo>
                    <a:pt x="83" y="44"/>
                    <a:pt x="78" y="44"/>
                    <a:pt x="76" y="40"/>
                  </a:cubicBezTo>
                  <a:cubicBezTo>
                    <a:pt x="78" y="39"/>
                    <a:pt x="79" y="39"/>
                    <a:pt x="81" y="39"/>
                  </a:cubicBezTo>
                  <a:cubicBezTo>
                    <a:pt x="83" y="39"/>
                    <a:pt x="85" y="39"/>
                    <a:pt x="86" y="42"/>
                  </a:cubicBezTo>
                  <a:cubicBezTo>
                    <a:pt x="87" y="43"/>
                    <a:pt x="87" y="44"/>
                    <a:pt x="88" y="45"/>
                  </a:cubicBezTo>
                  <a:cubicBezTo>
                    <a:pt x="90" y="46"/>
                    <a:pt x="90" y="46"/>
                    <a:pt x="90" y="46"/>
                  </a:cubicBezTo>
                  <a:cubicBezTo>
                    <a:pt x="90" y="46"/>
                    <a:pt x="90" y="47"/>
                    <a:pt x="91" y="47"/>
                  </a:cubicBezTo>
                  <a:cubicBezTo>
                    <a:pt x="91" y="47"/>
                    <a:pt x="91" y="47"/>
                    <a:pt x="91" y="47"/>
                  </a:cubicBezTo>
                  <a:cubicBezTo>
                    <a:pt x="91" y="45"/>
                    <a:pt x="80" y="35"/>
                    <a:pt x="89" y="35"/>
                  </a:cubicBezTo>
                  <a:cubicBezTo>
                    <a:pt x="89" y="35"/>
                    <a:pt x="89" y="35"/>
                    <a:pt x="89" y="35"/>
                  </a:cubicBezTo>
                  <a:cubicBezTo>
                    <a:pt x="91" y="35"/>
                    <a:pt x="92" y="37"/>
                    <a:pt x="95" y="37"/>
                  </a:cubicBezTo>
                  <a:cubicBezTo>
                    <a:pt x="95" y="37"/>
                    <a:pt x="95" y="37"/>
                    <a:pt x="95" y="37"/>
                  </a:cubicBezTo>
                  <a:cubicBezTo>
                    <a:pt x="89" y="34"/>
                    <a:pt x="88" y="31"/>
                    <a:pt x="86" y="24"/>
                  </a:cubicBezTo>
                  <a:cubicBezTo>
                    <a:pt x="91" y="23"/>
                    <a:pt x="98" y="19"/>
                    <a:pt x="103" y="19"/>
                  </a:cubicBezTo>
                  <a:cubicBezTo>
                    <a:pt x="104" y="19"/>
                    <a:pt x="105" y="19"/>
                    <a:pt x="106" y="19"/>
                  </a:cubicBezTo>
                  <a:cubicBezTo>
                    <a:pt x="108" y="20"/>
                    <a:pt x="109" y="21"/>
                    <a:pt x="111" y="21"/>
                  </a:cubicBezTo>
                  <a:cubicBezTo>
                    <a:pt x="112" y="21"/>
                    <a:pt x="112" y="21"/>
                    <a:pt x="113" y="20"/>
                  </a:cubicBezTo>
                  <a:cubicBezTo>
                    <a:pt x="114" y="20"/>
                    <a:pt x="118" y="17"/>
                    <a:pt x="119" y="17"/>
                  </a:cubicBezTo>
                  <a:cubicBezTo>
                    <a:pt x="119" y="17"/>
                    <a:pt x="119" y="17"/>
                    <a:pt x="119" y="17"/>
                  </a:cubicBezTo>
                  <a:cubicBezTo>
                    <a:pt x="123" y="19"/>
                    <a:pt x="128" y="20"/>
                    <a:pt x="132" y="22"/>
                  </a:cubicBezTo>
                  <a:cubicBezTo>
                    <a:pt x="134" y="22"/>
                    <a:pt x="135" y="23"/>
                    <a:pt x="137" y="24"/>
                  </a:cubicBezTo>
                  <a:cubicBezTo>
                    <a:pt x="138" y="23"/>
                    <a:pt x="138" y="23"/>
                    <a:pt x="138" y="23"/>
                  </a:cubicBezTo>
                  <a:cubicBezTo>
                    <a:pt x="139" y="22"/>
                    <a:pt x="141" y="19"/>
                    <a:pt x="142" y="19"/>
                  </a:cubicBezTo>
                  <a:cubicBezTo>
                    <a:pt x="143" y="18"/>
                    <a:pt x="143" y="18"/>
                    <a:pt x="143" y="18"/>
                  </a:cubicBezTo>
                  <a:cubicBezTo>
                    <a:pt x="143" y="17"/>
                    <a:pt x="144" y="17"/>
                    <a:pt x="144" y="16"/>
                  </a:cubicBezTo>
                  <a:cubicBezTo>
                    <a:pt x="144" y="15"/>
                    <a:pt x="144" y="15"/>
                    <a:pt x="144" y="15"/>
                  </a:cubicBezTo>
                  <a:cubicBezTo>
                    <a:pt x="144" y="15"/>
                    <a:pt x="144" y="15"/>
                    <a:pt x="144" y="15"/>
                  </a:cubicBezTo>
                  <a:cubicBezTo>
                    <a:pt x="144" y="14"/>
                    <a:pt x="144" y="14"/>
                    <a:pt x="144" y="14"/>
                  </a:cubicBezTo>
                  <a:cubicBezTo>
                    <a:pt x="144" y="14"/>
                    <a:pt x="144" y="14"/>
                    <a:pt x="144" y="14"/>
                  </a:cubicBezTo>
                  <a:cubicBezTo>
                    <a:pt x="144" y="14"/>
                    <a:pt x="144" y="14"/>
                    <a:pt x="144" y="14"/>
                  </a:cubicBezTo>
                  <a:cubicBezTo>
                    <a:pt x="144" y="13"/>
                    <a:pt x="144" y="11"/>
                    <a:pt x="144" y="10"/>
                  </a:cubicBezTo>
                  <a:cubicBezTo>
                    <a:pt x="145" y="9"/>
                    <a:pt x="146" y="8"/>
                    <a:pt x="147" y="7"/>
                  </a:cubicBezTo>
                  <a:cubicBezTo>
                    <a:pt x="148" y="6"/>
                    <a:pt x="148" y="6"/>
                    <a:pt x="148" y="6"/>
                  </a:cubicBezTo>
                  <a:cubicBezTo>
                    <a:pt x="150" y="5"/>
                    <a:pt x="151" y="5"/>
                    <a:pt x="151" y="4"/>
                  </a:cubicBezTo>
                  <a:cubicBezTo>
                    <a:pt x="151" y="3"/>
                    <a:pt x="151" y="3"/>
                    <a:pt x="151" y="3"/>
                  </a:cubicBezTo>
                  <a:cubicBezTo>
                    <a:pt x="151" y="3"/>
                    <a:pt x="151" y="3"/>
                    <a:pt x="151" y="3"/>
                  </a:cubicBezTo>
                  <a:cubicBezTo>
                    <a:pt x="150" y="2"/>
                    <a:pt x="150" y="2"/>
                    <a:pt x="150" y="2"/>
                  </a:cubicBezTo>
                  <a:cubicBezTo>
                    <a:pt x="150" y="2"/>
                    <a:pt x="150" y="2"/>
                    <a:pt x="150" y="2"/>
                  </a:cubicBezTo>
                  <a:cubicBezTo>
                    <a:pt x="149" y="1"/>
                    <a:pt x="149" y="1"/>
                    <a:pt x="149" y="1"/>
                  </a:cubicBezTo>
                  <a:cubicBezTo>
                    <a:pt x="148" y="1"/>
                    <a:pt x="148" y="1"/>
                    <a:pt x="148" y="1"/>
                  </a:cubicBezTo>
                  <a:cubicBezTo>
                    <a:pt x="148" y="1"/>
                    <a:pt x="148" y="1"/>
                    <a:pt x="148" y="1"/>
                  </a:cubicBezTo>
                  <a:cubicBezTo>
                    <a:pt x="147" y="0"/>
                    <a:pt x="147" y="0"/>
                    <a:pt x="147" y="0"/>
                  </a:cubicBezTo>
                  <a:cubicBezTo>
                    <a:pt x="147" y="0"/>
                    <a:pt x="147" y="0"/>
                    <a:pt x="147" y="0"/>
                  </a:cubicBezTo>
                  <a:cubicBezTo>
                    <a:pt x="145" y="0"/>
                    <a:pt x="145" y="0"/>
                    <a:pt x="14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2" name="Freeform 271">
              <a:extLst>
                <a:ext uri="{FF2B5EF4-FFF2-40B4-BE49-F238E27FC236}">
                  <a16:creationId xmlns:a16="http://schemas.microsoft.com/office/drawing/2014/main" id="{43E4F462-5E64-48D7-9168-31426D8467CD}"/>
                </a:ext>
              </a:extLst>
            </p:cNvPr>
            <p:cNvSpPr>
              <a:spLocks/>
            </p:cNvSpPr>
            <p:nvPr/>
          </p:nvSpPr>
          <p:spPr bwMode="auto">
            <a:xfrm>
              <a:off x="4913" y="129"/>
              <a:ext cx="338" cy="184"/>
            </a:xfrm>
            <a:custGeom>
              <a:avLst/>
              <a:gdLst>
                <a:gd name="T0" fmla="*/ 3 w 143"/>
                <a:gd name="T1" fmla="*/ 4 h 78"/>
                <a:gd name="T2" fmla="*/ 0 w 143"/>
                <a:gd name="T3" fmla="*/ 9 h 78"/>
                <a:gd name="T4" fmla="*/ 4 w 143"/>
                <a:gd name="T5" fmla="*/ 18 h 78"/>
                <a:gd name="T6" fmla="*/ 10 w 143"/>
                <a:gd name="T7" fmla="*/ 22 h 78"/>
                <a:gd name="T8" fmla="*/ 13 w 143"/>
                <a:gd name="T9" fmla="*/ 29 h 78"/>
                <a:gd name="T10" fmla="*/ 4 w 143"/>
                <a:gd name="T11" fmla="*/ 37 h 78"/>
                <a:gd name="T12" fmla="*/ 1 w 143"/>
                <a:gd name="T13" fmla="*/ 38 h 78"/>
                <a:gd name="T14" fmla="*/ 2 w 143"/>
                <a:gd name="T15" fmla="*/ 42 h 78"/>
                <a:gd name="T16" fmla="*/ 1 w 143"/>
                <a:gd name="T17" fmla="*/ 51 h 78"/>
                <a:gd name="T18" fmla="*/ 4 w 143"/>
                <a:gd name="T19" fmla="*/ 55 h 78"/>
                <a:gd name="T20" fmla="*/ 6 w 143"/>
                <a:gd name="T21" fmla="*/ 56 h 78"/>
                <a:gd name="T22" fmla="*/ 7 w 143"/>
                <a:gd name="T23" fmla="*/ 58 h 78"/>
                <a:gd name="T24" fmla="*/ 15 w 143"/>
                <a:gd name="T25" fmla="*/ 76 h 78"/>
                <a:gd name="T26" fmla="*/ 29 w 143"/>
                <a:gd name="T27" fmla="*/ 74 h 78"/>
                <a:gd name="T28" fmla="*/ 40 w 143"/>
                <a:gd name="T29" fmla="*/ 70 h 78"/>
                <a:gd name="T30" fmla="*/ 47 w 143"/>
                <a:gd name="T31" fmla="*/ 70 h 78"/>
                <a:gd name="T32" fmla="*/ 54 w 143"/>
                <a:gd name="T33" fmla="*/ 74 h 78"/>
                <a:gd name="T34" fmla="*/ 60 w 143"/>
                <a:gd name="T35" fmla="*/ 77 h 78"/>
                <a:gd name="T36" fmla="*/ 66 w 143"/>
                <a:gd name="T37" fmla="*/ 78 h 78"/>
                <a:gd name="T38" fmla="*/ 75 w 143"/>
                <a:gd name="T39" fmla="*/ 77 h 78"/>
                <a:gd name="T40" fmla="*/ 83 w 143"/>
                <a:gd name="T41" fmla="*/ 73 h 78"/>
                <a:gd name="T42" fmla="*/ 83 w 143"/>
                <a:gd name="T43" fmla="*/ 66 h 78"/>
                <a:gd name="T44" fmla="*/ 89 w 143"/>
                <a:gd name="T45" fmla="*/ 65 h 78"/>
                <a:gd name="T46" fmla="*/ 92 w 143"/>
                <a:gd name="T47" fmla="*/ 63 h 78"/>
                <a:gd name="T48" fmla="*/ 101 w 143"/>
                <a:gd name="T49" fmla="*/ 58 h 78"/>
                <a:gd name="T50" fmla="*/ 115 w 143"/>
                <a:gd name="T51" fmla="*/ 56 h 78"/>
                <a:gd name="T52" fmla="*/ 118 w 143"/>
                <a:gd name="T53" fmla="*/ 58 h 78"/>
                <a:gd name="T54" fmla="*/ 122 w 143"/>
                <a:gd name="T55" fmla="*/ 48 h 78"/>
                <a:gd name="T56" fmla="*/ 120 w 143"/>
                <a:gd name="T57" fmla="*/ 47 h 78"/>
                <a:gd name="T58" fmla="*/ 117 w 143"/>
                <a:gd name="T59" fmla="*/ 47 h 78"/>
                <a:gd name="T60" fmla="*/ 126 w 143"/>
                <a:gd name="T61" fmla="*/ 37 h 78"/>
                <a:gd name="T62" fmla="*/ 137 w 143"/>
                <a:gd name="T63" fmla="*/ 20 h 78"/>
                <a:gd name="T64" fmla="*/ 121 w 143"/>
                <a:gd name="T65" fmla="*/ 6 h 78"/>
                <a:gd name="T66" fmla="*/ 112 w 143"/>
                <a:gd name="T67" fmla="*/ 3 h 78"/>
                <a:gd name="T68" fmla="*/ 109 w 143"/>
                <a:gd name="T69" fmla="*/ 3 h 78"/>
                <a:gd name="T70" fmla="*/ 88 w 143"/>
                <a:gd name="T71" fmla="*/ 8 h 78"/>
                <a:gd name="T72" fmla="*/ 68 w 143"/>
                <a:gd name="T73" fmla="*/ 17 h 78"/>
                <a:gd name="T74" fmla="*/ 53 w 143"/>
                <a:gd name="T75" fmla="*/ 14 h 78"/>
                <a:gd name="T76" fmla="*/ 38 w 143"/>
                <a:gd name="T77" fmla="*/ 15 h 78"/>
                <a:gd name="T78" fmla="*/ 19 w 143"/>
                <a:gd name="T79" fmla="*/ 11 h 78"/>
                <a:gd name="T80" fmla="*/ 13 w 143"/>
                <a:gd name="T81" fmla="*/ 12 h 78"/>
                <a:gd name="T82" fmla="*/ 6 w 143"/>
                <a:gd name="T83" fmla="*/ 5 h 78"/>
                <a:gd name="T84" fmla="*/ 8 w 143"/>
                <a:gd name="T85" fmla="*/ 2 h 78"/>
                <a:gd name="T86" fmla="*/ 5 w 143"/>
                <a:gd name="T87"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3" h="78">
                  <a:moveTo>
                    <a:pt x="5" y="0"/>
                  </a:moveTo>
                  <a:cubicBezTo>
                    <a:pt x="5" y="1"/>
                    <a:pt x="5" y="1"/>
                    <a:pt x="4" y="2"/>
                  </a:cubicBezTo>
                  <a:cubicBezTo>
                    <a:pt x="3" y="4"/>
                    <a:pt x="3" y="4"/>
                    <a:pt x="3" y="4"/>
                  </a:cubicBezTo>
                  <a:cubicBezTo>
                    <a:pt x="1" y="8"/>
                    <a:pt x="1" y="8"/>
                    <a:pt x="1" y="8"/>
                  </a:cubicBezTo>
                  <a:cubicBezTo>
                    <a:pt x="1" y="8"/>
                    <a:pt x="1" y="8"/>
                    <a:pt x="1" y="8"/>
                  </a:cubicBezTo>
                  <a:cubicBezTo>
                    <a:pt x="0" y="9"/>
                    <a:pt x="0" y="9"/>
                    <a:pt x="0" y="9"/>
                  </a:cubicBezTo>
                  <a:cubicBezTo>
                    <a:pt x="0" y="10"/>
                    <a:pt x="1" y="11"/>
                    <a:pt x="1" y="11"/>
                  </a:cubicBezTo>
                  <a:cubicBezTo>
                    <a:pt x="1" y="13"/>
                    <a:pt x="2" y="15"/>
                    <a:pt x="3" y="16"/>
                  </a:cubicBezTo>
                  <a:cubicBezTo>
                    <a:pt x="3" y="16"/>
                    <a:pt x="4" y="17"/>
                    <a:pt x="4" y="18"/>
                  </a:cubicBezTo>
                  <a:cubicBezTo>
                    <a:pt x="5" y="18"/>
                    <a:pt x="6" y="19"/>
                    <a:pt x="7" y="20"/>
                  </a:cubicBezTo>
                  <a:cubicBezTo>
                    <a:pt x="8" y="20"/>
                    <a:pt x="8" y="21"/>
                    <a:pt x="9" y="21"/>
                  </a:cubicBezTo>
                  <a:cubicBezTo>
                    <a:pt x="10" y="22"/>
                    <a:pt x="10" y="22"/>
                    <a:pt x="10" y="22"/>
                  </a:cubicBezTo>
                  <a:cubicBezTo>
                    <a:pt x="11" y="23"/>
                    <a:pt x="12" y="23"/>
                    <a:pt x="13" y="24"/>
                  </a:cubicBezTo>
                  <a:cubicBezTo>
                    <a:pt x="16" y="26"/>
                    <a:pt x="16" y="26"/>
                    <a:pt x="16" y="26"/>
                  </a:cubicBezTo>
                  <a:cubicBezTo>
                    <a:pt x="13" y="29"/>
                    <a:pt x="13" y="29"/>
                    <a:pt x="13" y="29"/>
                  </a:cubicBezTo>
                  <a:cubicBezTo>
                    <a:pt x="12" y="29"/>
                    <a:pt x="12" y="30"/>
                    <a:pt x="11" y="31"/>
                  </a:cubicBezTo>
                  <a:cubicBezTo>
                    <a:pt x="10" y="32"/>
                    <a:pt x="10" y="32"/>
                    <a:pt x="10" y="32"/>
                  </a:cubicBezTo>
                  <a:cubicBezTo>
                    <a:pt x="8" y="33"/>
                    <a:pt x="6" y="35"/>
                    <a:pt x="4" y="37"/>
                  </a:cubicBezTo>
                  <a:cubicBezTo>
                    <a:pt x="3" y="37"/>
                    <a:pt x="3" y="38"/>
                    <a:pt x="2" y="38"/>
                  </a:cubicBezTo>
                  <a:cubicBezTo>
                    <a:pt x="2" y="38"/>
                    <a:pt x="1" y="38"/>
                    <a:pt x="1" y="38"/>
                  </a:cubicBezTo>
                  <a:cubicBezTo>
                    <a:pt x="1" y="38"/>
                    <a:pt x="1" y="38"/>
                    <a:pt x="1" y="38"/>
                  </a:cubicBezTo>
                  <a:cubicBezTo>
                    <a:pt x="1" y="39"/>
                    <a:pt x="1" y="39"/>
                    <a:pt x="1" y="40"/>
                  </a:cubicBezTo>
                  <a:cubicBezTo>
                    <a:pt x="1" y="40"/>
                    <a:pt x="1" y="41"/>
                    <a:pt x="2" y="42"/>
                  </a:cubicBezTo>
                  <a:cubicBezTo>
                    <a:pt x="2" y="42"/>
                    <a:pt x="2" y="42"/>
                    <a:pt x="2" y="42"/>
                  </a:cubicBezTo>
                  <a:cubicBezTo>
                    <a:pt x="2" y="43"/>
                    <a:pt x="2" y="43"/>
                    <a:pt x="2" y="43"/>
                  </a:cubicBezTo>
                  <a:cubicBezTo>
                    <a:pt x="3" y="44"/>
                    <a:pt x="4" y="45"/>
                    <a:pt x="4" y="46"/>
                  </a:cubicBezTo>
                  <a:cubicBezTo>
                    <a:pt x="4" y="48"/>
                    <a:pt x="2" y="50"/>
                    <a:pt x="1" y="51"/>
                  </a:cubicBezTo>
                  <a:cubicBezTo>
                    <a:pt x="1" y="52"/>
                    <a:pt x="1" y="52"/>
                    <a:pt x="1" y="52"/>
                  </a:cubicBezTo>
                  <a:cubicBezTo>
                    <a:pt x="2" y="53"/>
                    <a:pt x="2" y="53"/>
                    <a:pt x="2" y="53"/>
                  </a:cubicBezTo>
                  <a:cubicBezTo>
                    <a:pt x="3" y="54"/>
                    <a:pt x="3" y="54"/>
                    <a:pt x="4" y="55"/>
                  </a:cubicBezTo>
                  <a:cubicBezTo>
                    <a:pt x="5" y="55"/>
                    <a:pt x="5" y="55"/>
                    <a:pt x="5" y="55"/>
                  </a:cubicBezTo>
                  <a:cubicBezTo>
                    <a:pt x="9" y="50"/>
                    <a:pt x="9" y="50"/>
                    <a:pt x="9" y="50"/>
                  </a:cubicBezTo>
                  <a:cubicBezTo>
                    <a:pt x="6" y="56"/>
                    <a:pt x="6" y="56"/>
                    <a:pt x="6" y="56"/>
                  </a:cubicBezTo>
                  <a:cubicBezTo>
                    <a:pt x="6" y="57"/>
                    <a:pt x="6" y="57"/>
                    <a:pt x="6" y="57"/>
                  </a:cubicBezTo>
                  <a:cubicBezTo>
                    <a:pt x="6" y="57"/>
                    <a:pt x="6" y="57"/>
                    <a:pt x="6" y="57"/>
                  </a:cubicBezTo>
                  <a:cubicBezTo>
                    <a:pt x="7" y="58"/>
                    <a:pt x="7" y="58"/>
                    <a:pt x="7" y="58"/>
                  </a:cubicBezTo>
                  <a:cubicBezTo>
                    <a:pt x="11" y="61"/>
                    <a:pt x="15" y="65"/>
                    <a:pt x="15" y="69"/>
                  </a:cubicBezTo>
                  <a:cubicBezTo>
                    <a:pt x="15" y="70"/>
                    <a:pt x="14" y="72"/>
                    <a:pt x="13" y="76"/>
                  </a:cubicBezTo>
                  <a:cubicBezTo>
                    <a:pt x="14" y="76"/>
                    <a:pt x="15" y="76"/>
                    <a:pt x="15" y="76"/>
                  </a:cubicBezTo>
                  <a:cubicBezTo>
                    <a:pt x="16" y="76"/>
                    <a:pt x="16" y="76"/>
                    <a:pt x="16" y="76"/>
                  </a:cubicBezTo>
                  <a:cubicBezTo>
                    <a:pt x="19" y="76"/>
                    <a:pt x="22" y="75"/>
                    <a:pt x="25" y="75"/>
                  </a:cubicBezTo>
                  <a:cubicBezTo>
                    <a:pt x="26" y="75"/>
                    <a:pt x="27" y="74"/>
                    <a:pt x="29" y="74"/>
                  </a:cubicBezTo>
                  <a:cubicBezTo>
                    <a:pt x="29" y="74"/>
                    <a:pt x="29" y="74"/>
                    <a:pt x="29" y="74"/>
                  </a:cubicBezTo>
                  <a:cubicBezTo>
                    <a:pt x="30" y="73"/>
                    <a:pt x="32" y="73"/>
                    <a:pt x="33" y="72"/>
                  </a:cubicBezTo>
                  <a:cubicBezTo>
                    <a:pt x="35" y="71"/>
                    <a:pt x="38" y="70"/>
                    <a:pt x="40" y="70"/>
                  </a:cubicBezTo>
                  <a:cubicBezTo>
                    <a:pt x="41" y="70"/>
                    <a:pt x="41" y="70"/>
                    <a:pt x="42" y="70"/>
                  </a:cubicBezTo>
                  <a:cubicBezTo>
                    <a:pt x="43" y="70"/>
                    <a:pt x="44" y="70"/>
                    <a:pt x="46" y="70"/>
                  </a:cubicBezTo>
                  <a:cubicBezTo>
                    <a:pt x="46" y="70"/>
                    <a:pt x="47" y="70"/>
                    <a:pt x="47" y="70"/>
                  </a:cubicBezTo>
                  <a:cubicBezTo>
                    <a:pt x="48" y="70"/>
                    <a:pt x="48" y="70"/>
                    <a:pt x="49" y="70"/>
                  </a:cubicBezTo>
                  <a:cubicBezTo>
                    <a:pt x="49" y="70"/>
                    <a:pt x="49" y="70"/>
                    <a:pt x="49" y="70"/>
                  </a:cubicBezTo>
                  <a:cubicBezTo>
                    <a:pt x="51" y="71"/>
                    <a:pt x="52" y="73"/>
                    <a:pt x="54" y="74"/>
                  </a:cubicBezTo>
                  <a:cubicBezTo>
                    <a:pt x="54" y="75"/>
                    <a:pt x="54" y="75"/>
                    <a:pt x="54" y="75"/>
                  </a:cubicBezTo>
                  <a:cubicBezTo>
                    <a:pt x="55" y="75"/>
                    <a:pt x="56" y="76"/>
                    <a:pt x="58" y="76"/>
                  </a:cubicBezTo>
                  <a:cubicBezTo>
                    <a:pt x="59" y="76"/>
                    <a:pt x="60" y="76"/>
                    <a:pt x="60" y="77"/>
                  </a:cubicBezTo>
                  <a:cubicBezTo>
                    <a:pt x="61" y="77"/>
                    <a:pt x="63" y="77"/>
                    <a:pt x="64" y="77"/>
                  </a:cubicBezTo>
                  <a:cubicBezTo>
                    <a:pt x="65" y="77"/>
                    <a:pt x="65" y="78"/>
                    <a:pt x="65" y="78"/>
                  </a:cubicBezTo>
                  <a:cubicBezTo>
                    <a:pt x="66" y="78"/>
                    <a:pt x="66" y="78"/>
                    <a:pt x="66" y="78"/>
                  </a:cubicBezTo>
                  <a:cubicBezTo>
                    <a:pt x="71" y="78"/>
                    <a:pt x="71" y="78"/>
                    <a:pt x="71" y="78"/>
                  </a:cubicBezTo>
                  <a:cubicBezTo>
                    <a:pt x="71" y="78"/>
                    <a:pt x="72" y="78"/>
                    <a:pt x="72" y="78"/>
                  </a:cubicBezTo>
                  <a:cubicBezTo>
                    <a:pt x="75" y="77"/>
                    <a:pt x="75" y="77"/>
                    <a:pt x="75" y="77"/>
                  </a:cubicBezTo>
                  <a:cubicBezTo>
                    <a:pt x="76" y="77"/>
                    <a:pt x="78" y="77"/>
                    <a:pt x="79" y="77"/>
                  </a:cubicBezTo>
                  <a:cubicBezTo>
                    <a:pt x="80" y="77"/>
                    <a:pt x="82" y="76"/>
                    <a:pt x="83" y="76"/>
                  </a:cubicBezTo>
                  <a:cubicBezTo>
                    <a:pt x="83" y="75"/>
                    <a:pt x="83" y="74"/>
                    <a:pt x="83" y="73"/>
                  </a:cubicBezTo>
                  <a:cubicBezTo>
                    <a:pt x="82" y="73"/>
                    <a:pt x="82" y="72"/>
                    <a:pt x="82" y="72"/>
                  </a:cubicBezTo>
                  <a:cubicBezTo>
                    <a:pt x="81" y="72"/>
                    <a:pt x="81" y="70"/>
                    <a:pt x="81" y="69"/>
                  </a:cubicBezTo>
                  <a:cubicBezTo>
                    <a:pt x="81" y="68"/>
                    <a:pt x="81" y="66"/>
                    <a:pt x="83" y="66"/>
                  </a:cubicBezTo>
                  <a:cubicBezTo>
                    <a:pt x="84" y="65"/>
                    <a:pt x="85" y="65"/>
                    <a:pt x="86" y="65"/>
                  </a:cubicBezTo>
                  <a:cubicBezTo>
                    <a:pt x="87" y="65"/>
                    <a:pt x="87" y="65"/>
                    <a:pt x="88" y="65"/>
                  </a:cubicBezTo>
                  <a:cubicBezTo>
                    <a:pt x="89" y="65"/>
                    <a:pt x="89" y="65"/>
                    <a:pt x="89" y="65"/>
                  </a:cubicBezTo>
                  <a:cubicBezTo>
                    <a:pt x="90" y="65"/>
                    <a:pt x="90" y="65"/>
                    <a:pt x="91" y="64"/>
                  </a:cubicBezTo>
                  <a:cubicBezTo>
                    <a:pt x="91" y="64"/>
                    <a:pt x="91" y="64"/>
                    <a:pt x="91" y="64"/>
                  </a:cubicBezTo>
                  <a:cubicBezTo>
                    <a:pt x="92" y="63"/>
                    <a:pt x="92" y="63"/>
                    <a:pt x="92" y="63"/>
                  </a:cubicBezTo>
                  <a:cubicBezTo>
                    <a:pt x="92" y="63"/>
                    <a:pt x="92" y="63"/>
                    <a:pt x="92" y="63"/>
                  </a:cubicBezTo>
                  <a:cubicBezTo>
                    <a:pt x="93" y="62"/>
                    <a:pt x="94" y="61"/>
                    <a:pt x="95" y="60"/>
                  </a:cubicBezTo>
                  <a:cubicBezTo>
                    <a:pt x="101" y="58"/>
                    <a:pt x="101" y="58"/>
                    <a:pt x="101" y="58"/>
                  </a:cubicBezTo>
                  <a:cubicBezTo>
                    <a:pt x="104" y="57"/>
                    <a:pt x="106" y="57"/>
                    <a:pt x="109" y="56"/>
                  </a:cubicBezTo>
                  <a:cubicBezTo>
                    <a:pt x="114" y="55"/>
                    <a:pt x="114" y="55"/>
                    <a:pt x="114" y="55"/>
                  </a:cubicBezTo>
                  <a:cubicBezTo>
                    <a:pt x="115" y="56"/>
                    <a:pt x="115" y="56"/>
                    <a:pt x="115" y="56"/>
                  </a:cubicBezTo>
                  <a:cubicBezTo>
                    <a:pt x="116" y="57"/>
                    <a:pt x="116" y="57"/>
                    <a:pt x="116" y="57"/>
                  </a:cubicBezTo>
                  <a:cubicBezTo>
                    <a:pt x="116" y="57"/>
                    <a:pt x="116" y="57"/>
                    <a:pt x="116" y="57"/>
                  </a:cubicBezTo>
                  <a:cubicBezTo>
                    <a:pt x="116" y="57"/>
                    <a:pt x="117" y="58"/>
                    <a:pt x="118" y="58"/>
                  </a:cubicBezTo>
                  <a:cubicBezTo>
                    <a:pt x="119" y="59"/>
                    <a:pt x="119" y="59"/>
                    <a:pt x="119" y="59"/>
                  </a:cubicBezTo>
                  <a:cubicBezTo>
                    <a:pt x="127" y="58"/>
                    <a:pt x="127" y="58"/>
                    <a:pt x="127" y="58"/>
                  </a:cubicBezTo>
                  <a:cubicBezTo>
                    <a:pt x="125" y="55"/>
                    <a:pt x="123" y="52"/>
                    <a:pt x="122" y="48"/>
                  </a:cubicBezTo>
                  <a:cubicBezTo>
                    <a:pt x="121" y="48"/>
                    <a:pt x="121" y="48"/>
                    <a:pt x="121" y="48"/>
                  </a:cubicBezTo>
                  <a:cubicBezTo>
                    <a:pt x="121" y="48"/>
                    <a:pt x="121" y="48"/>
                    <a:pt x="120" y="47"/>
                  </a:cubicBezTo>
                  <a:cubicBezTo>
                    <a:pt x="120" y="47"/>
                    <a:pt x="120" y="47"/>
                    <a:pt x="120" y="47"/>
                  </a:cubicBezTo>
                  <a:cubicBezTo>
                    <a:pt x="120" y="47"/>
                    <a:pt x="119" y="47"/>
                    <a:pt x="119" y="47"/>
                  </a:cubicBezTo>
                  <a:cubicBezTo>
                    <a:pt x="119" y="48"/>
                    <a:pt x="118" y="48"/>
                    <a:pt x="118" y="48"/>
                  </a:cubicBezTo>
                  <a:cubicBezTo>
                    <a:pt x="117" y="48"/>
                    <a:pt x="117" y="48"/>
                    <a:pt x="117" y="47"/>
                  </a:cubicBezTo>
                  <a:cubicBezTo>
                    <a:pt x="116" y="48"/>
                    <a:pt x="116" y="48"/>
                    <a:pt x="116" y="48"/>
                  </a:cubicBezTo>
                  <a:cubicBezTo>
                    <a:pt x="116" y="46"/>
                    <a:pt x="122" y="43"/>
                    <a:pt x="124" y="42"/>
                  </a:cubicBezTo>
                  <a:cubicBezTo>
                    <a:pt x="126" y="40"/>
                    <a:pt x="127" y="40"/>
                    <a:pt x="126" y="37"/>
                  </a:cubicBezTo>
                  <a:cubicBezTo>
                    <a:pt x="126" y="35"/>
                    <a:pt x="126" y="33"/>
                    <a:pt x="126" y="32"/>
                  </a:cubicBezTo>
                  <a:cubicBezTo>
                    <a:pt x="126" y="30"/>
                    <a:pt x="129" y="28"/>
                    <a:pt x="127" y="26"/>
                  </a:cubicBezTo>
                  <a:cubicBezTo>
                    <a:pt x="130" y="24"/>
                    <a:pt x="134" y="20"/>
                    <a:pt x="137" y="20"/>
                  </a:cubicBezTo>
                  <a:cubicBezTo>
                    <a:pt x="138" y="20"/>
                    <a:pt x="139" y="21"/>
                    <a:pt x="140" y="21"/>
                  </a:cubicBezTo>
                  <a:cubicBezTo>
                    <a:pt x="141" y="20"/>
                    <a:pt x="142" y="16"/>
                    <a:pt x="143" y="13"/>
                  </a:cubicBezTo>
                  <a:cubicBezTo>
                    <a:pt x="121" y="6"/>
                    <a:pt x="121" y="6"/>
                    <a:pt x="121" y="6"/>
                  </a:cubicBezTo>
                  <a:cubicBezTo>
                    <a:pt x="119" y="6"/>
                    <a:pt x="117" y="5"/>
                    <a:pt x="115" y="4"/>
                  </a:cubicBezTo>
                  <a:cubicBezTo>
                    <a:pt x="113" y="3"/>
                    <a:pt x="113" y="3"/>
                    <a:pt x="113" y="3"/>
                  </a:cubicBezTo>
                  <a:cubicBezTo>
                    <a:pt x="112" y="3"/>
                    <a:pt x="112" y="3"/>
                    <a:pt x="112" y="3"/>
                  </a:cubicBezTo>
                  <a:cubicBezTo>
                    <a:pt x="111" y="3"/>
                    <a:pt x="111" y="3"/>
                    <a:pt x="111" y="3"/>
                  </a:cubicBezTo>
                  <a:cubicBezTo>
                    <a:pt x="111" y="3"/>
                    <a:pt x="111" y="3"/>
                    <a:pt x="110" y="3"/>
                  </a:cubicBezTo>
                  <a:cubicBezTo>
                    <a:pt x="110" y="3"/>
                    <a:pt x="110" y="3"/>
                    <a:pt x="109" y="3"/>
                  </a:cubicBezTo>
                  <a:cubicBezTo>
                    <a:pt x="94" y="5"/>
                    <a:pt x="94" y="5"/>
                    <a:pt x="94" y="5"/>
                  </a:cubicBezTo>
                  <a:cubicBezTo>
                    <a:pt x="92" y="5"/>
                    <a:pt x="91" y="6"/>
                    <a:pt x="90" y="7"/>
                  </a:cubicBezTo>
                  <a:cubicBezTo>
                    <a:pt x="89" y="7"/>
                    <a:pt x="88" y="7"/>
                    <a:pt x="88" y="8"/>
                  </a:cubicBezTo>
                  <a:cubicBezTo>
                    <a:pt x="87" y="8"/>
                    <a:pt x="86" y="9"/>
                    <a:pt x="85" y="10"/>
                  </a:cubicBezTo>
                  <a:cubicBezTo>
                    <a:pt x="81" y="13"/>
                    <a:pt x="75" y="16"/>
                    <a:pt x="70" y="16"/>
                  </a:cubicBezTo>
                  <a:cubicBezTo>
                    <a:pt x="69" y="16"/>
                    <a:pt x="69" y="17"/>
                    <a:pt x="68" y="17"/>
                  </a:cubicBezTo>
                  <a:cubicBezTo>
                    <a:pt x="65" y="17"/>
                    <a:pt x="62" y="16"/>
                    <a:pt x="59" y="15"/>
                  </a:cubicBezTo>
                  <a:cubicBezTo>
                    <a:pt x="58" y="15"/>
                    <a:pt x="57" y="15"/>
                    <a:pt x="56" y="15"/>
                  </a:cubicBezTo>
                  <a:cubicBezTo>
                    <a:pt x="55" y="14"/>
                    <a:pt x="54" y="14"/>
                    <a:pt x="53" y="14"/>
                  </a:cubicBezTo>
                  <a:cubicBezTo>
                    <a:pt x="52" y="14"/>
                    <a:pt x="49" y="13"/>
                    <a:pt x="49" y="13"/>
                  </a:cubicBezTo>
                  <a:cubicBezTo>
                    <a:pt x="45" y="14"/>
                    <a:pt x="43" y="15"/>
                    <a:pt x="39" y="15"/>
                  </a:cubicBezTo>
                  <a:cubicBezTo>
                    <a:pt x="38" y="15"/>
                    <a:pt x="38" y="15"/>
                    <a:pt x="38" y="15"/>
                  </a:cubicBezTo>
                  <a:cubicBezTo>
                    <a:pt x="34" y="15"/>
                    <a:pt x="31" y="13"/>
                    <a:pt x="28" y="12"/>
                  </a:cubicBezTo>
                  <a:cubicBezTo>
                    <a:pt x="26" y="12"/>
                    <a:pt x="26" y="12"/>
                    <a:pt x="26" y="12"/>
                  </a:cubicBezTo>
                  <a:cubicBezTo>
                    <a:pt x="23" y="11"/>
                    <a:pt x="21" y="11"/>
                    <a:pt x="19" y="11"/>
                  </a:cubicBezTo>
                  <a:cubicBezTo>
                    <a:pt x="19" y="11"/>
                    <a:pt x="18" y="11"/>
                    <a:pt x="18" y="11"/>
                  </a:cubicBezTo>
                  <a:cubicBezTo>
                    <a:pt x="16" y="11"/>
                    <a:pt x="16" y="11"/>
                    <a:pt x="16" y="11"/>
                  </a:cubicBezTo>
                  <a:cubicBezTo>
                    <a:pt x="15" y="11"/>
                    <a:pt x="14" y="12"/>
                    <a:pt x="13" y="12"/>
                  </a:cubicBezTo>
                  <a:cubicBezTo>
                    <a:pt x="12" y="12"/>
                    <a:pt x="11" y="12"/>
                    <a:pt x="10" y="11"/>
                  </a:cubicBezTo>
                  <a:cubicBezTo>
                    <a:pt x="9" y="11"/>
                    <a:pt x="7" y="11"/>
                    <a:pt x="7" y="10"/>
                  </a:cubicBezTo>
                  <a:cubicBezTo>
                    <a:pt x="5" y="8"/>
                    <a:pt x="6" y="6"/>
                    <a:pt x="6" y="5"/>
                  </a:cubicBezTo>
                  <a:cubicBezTo>
                    <a:pt x="6" y="4"/>
                    <a:pt x="7" y="3"/>
                    <a:pt x="8" y="2"/>
                  </a:cubicBezTo>
                  <a:cubicBezTo>
                    <a:pt x="8" y="2"/>
                    <a:pt x="8" y="2"/>
                    <a:pt x="8" y="2"/>
                  </a:cubicBezTo>
                  <a:cubicBezTo>
                    <a:pt x="8" y="2"/>
                    <a:pt x="8" y="2"/>
                    <a:pt x="8" y="2"/>
                  </a:cubicBezTo>
                  <a:cubicBezTo>
                    <a:pt x="7" y="1"/>
                    <a:pt x="7" y="1"/>
                    <a:pt x="7" y="1"/>
                  </a:cubicBezTo>
                  <a:cubicBezTo>
                    <a:pt x="6" y="1"/>
                    <a:pt x="6" y="1"/>
                    <a:pt x="6" y="1"/>
                  </a:cubicBezTo>
                  <a:cubicBezTo>
                    <a:pt x="5" y="1"/>
                    <a:pt x="5" y="1"/>
                    <a:pt x="5"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3" name="Freeform 272">
              <a:extLst>
                <a:ext uri="{FF2B5EF4-FFF2-40B4-BE49-F238E27FC236}">
                  <a16:creationId xmlns:a16="http://schemas.microsoft.com/office/drawing/2014/main" id="{0AFAF55F-2D08-4865-B8FF-50607FB17268}"/>
                </a:ext>
              </a:extLst>
            </p:cNvPr>
            <p:cNvSpPr>
              <a:spLocks/>
            </p:cNvSpPr>
            <p:nvPr/>
          </p:nvSpPr>
          <p:spPr bwMode="auto">
            <a:xfrm>
              <a:off x="5112" y="273"/>
              <a:ext cx="168" cy="128"/>
            </a:xfrm>
            <a:custGeom>
              <a:avLst/>
              <a:gdLst>
                <a:gd name="T0" fmla="*/ 28 w 71"/>
                <a:gd name="T1" fmla="*/ 0 h 54"/>
                <a:gd name="T2" fmla="*/ 27 w 71"/>
                <a:gd name="T3" fmla="*/ 1 h 54"/>
                <a:gd name="T4" fmla="*/ 19 w 71"/>
                <a:gd name="T5" fmla="*/ 3 h 54"/>
                <a:gd name="T6" fmla="*/ 14 w 71"/>
                <a:gd name="T7" fmla="*/ 4 h 54"/>
                <a:gd name="T8" fmla="*/ 13 w 71"/>
                <a:gd name="T9" fmla="*/ 5 h 54"/>
                <a:gd name="T10" fmla="*/ 12 w 71"/>
                <a:gd name="T11" fmla="*/ 6 h 54"/>
                <a:gd name="T12" fmla="*/ 12 w 71"/>
                <a:gd name="T13" fmla="*/ 7 h 54"/>
                <a:gd name="T14" fmla="*/ 13 w 71"/>
                <a:gd name="T15" fmla="*/ 7 h 54"/>
                <a:gd name="T16" fmla="*/ 13 w 71"/>
                <a:gd name="T17" fmla="*/ 8 h 54"/>
                <a:gd name="T18" fmla="*/ 14 w 71"/>
                <a:gd name="T19" fmla="*/ 10 h 54"/>
                <a:gd name="T20" fmla="*/ 15 w 71"/>
                <a:gd name="T21" fmla="*/ 16 h 54"/>
                <a:gd name="T22" fmla="*/ 10 w 71"/>
                <a:gd name="T23" fmla="*/ 21 h 54"/>
                <a:gd name="T24" fmla="*/ 9 w 71"/>
                <a:gd name="T25" fmla="*/ 22 h 54"/>
                <a:gd name="T26" fmla="*/ 9 w 71"/>
                <a:gd name="T27" fmla="*/ 22 h 54"/>
                <a:gd name="T28" fmla="*/ 9 w 71"/>
                <a:gd name="T29" fmla="*/ 23 h 54"/>
                <a:gd name="T30" fmla="*/ 9 w 71"/>
                <a:gd name="T31" fmla="*/ 24 h 54"/>
                <a:gd name="T32" fmla="*/ 8 w 71"/>
                <a:gd name="T33" fmla="*/ 29 h 54"/>
                <a:gd name="T34" fmla="*/ 8 w 71"/>
                <a:gd name="T35" fmla="*/ 29 h 54"/>
                <a:gd name="T36" fmla="*/ 6 w 71"/>
                <a:gd name="T37" fmla="*/ 31 h 54"/>
                <a:gd name="T38" fmla="*/ 6 w 71"/>
                <a:gd name="T39" fmla="*/ 32 h 54"/>
                <a:gd name="T40" fmla="*/ 1 w 71"/>
                <a:gd name="T41" fmla="*/ 38 h 54"/>
                <a:gd name="T42" fmla="*/ 0 w 71"/>
                <a:gd name="T43" fmla="*/ 38 h 54"/>
                <a:gd name="T44" fmla="*/ 4 w 71"/>
                <a:gd name="T45" fmla="*/ 39 h 54"/>
                <a:gd name="T46" fmla="*/ 11 w 71"/>
                <a:gd name="T47" fmla="*/ 38 h 54"/>
                <a:gd name="T48" fmla="*/ 14 w 71"/>
                <a:gd name="T49" fmla="*/ 37 h 54"/>
                <a:gd name="T50" fmla="*/ 16 w 71"/>
                <a:gd name="T51" fmla="*/ 39 h 54"/>
                <a:gd name="T52" fmla="*/ 12 w 71"/>
                <a:gd name="T53" fmla="*/ 41 h 54"/>
                <a:gd name="T54" fmla="*/ 3 w 71"/>
                <a:gd name="T55" fmla="*/ 46 h 54"/>
                <a:gd name="T56" fmla="*/ 2 w 71"/>
                <a:gd name="T57" fmla="*/ 54 h 54"/>
                <a:gd name="T58" fmla="*/ 27 w 71"/>
                <a:gd name="T59" fmla="*/ 35 h 54"/>
                <a:gd name="T60" fmla="*/ 39 w 71"/>
                <a:gd name="T61" fmla="*/ 27 h 54"/>
                <a:gd name="T62" fmla="*/ 51 w 71"/>
                <a:gd name="T63" fmla="*/ 26 h 54"/>
                <a:gd name="T64" fmla="*/ 55 w 71"/>
                <a:gd name="T65" fmla="*/ 26 h 54"/>
                <a:gd name="T66" fmla="*/ 62 w 71"/>
                <a:gd name="T67" fmla="*/ 28 h 54"/>
                <a:gd name="T68" fmla="*/ 61 w 71"/>
                <a:gd name="T69" fmla="*/ 27 h 54"/>
                <a:gd name="T70" fmla="*/ 68 w 71"/>
                <a:gd name="T71" fmla="*/ 20 h 54"/>
                <a:gd name="T72" fmla="*/ 71 w 71"/>
                <a:gd name="T73" fmla="*/ 21 h 54"/>
                <a:gd name="T74" fmla="*/ 71 w 71"/>
                <a:gd name="T75" fmla="*/ 21 h 54"/>
                <a:gd name="T76" fmla="*/ 65 w 71"/>
                <a:gd name="T77" fmla="*/ 19 h 54"/>
                <a:gd name="T78" fmla="*/ 50 w 71"/>
                <a:gd name="T79" fmla="*/ 12 h 54"/>
                <a:gd name="T80" fmla="*/ 46 w 71"/>
                <a:gd name="T81" fmla="*/ 2 h 54"/>
                <a:gd name="T82" fmla="*/ 36 w 71"/>
                <a:gd name="T83" fmla="*/ 4 h 54"/>
                <a:gd name="T84" fmla="*/ 35 w 71"/>
                <a:gd name="T85" fmla="*/ 4 h 54"/>
                <a:gd name="T86" fmla="*/ 29 w 71"/>
                <a:gd name="T87" fmla="*/ 1 h 54"/>
                <a:gd name="T88" fmla="*/ 28 w 71"/>
                <a:gd name="T89" fmla="*/ 0 h 54"/>
                <a:gd name="T90" fmla="*/ 28 w 71"/>
                <a:gd name="T9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1" h="54">
                  <a:moveTo>
                    <a:pt x="28" y="0"/>
                  </a:moveTo>
                  <a:cubicBezTo>
                    <a:pt x="27" y="1"/>
                    <a:pt x="27" y="1"/>
                    <a:pt x="27" y="1"/>
                  </a:cubicBezTo>
                  <a:cubicBezTo>
                    <a:pt x="24" y="1"/>
                    <a:pt x="22" y="2"/>
                    <a:pt x="19" y="3"/>
                  </a:cubicBezTo>
                  <a:cubicBezTo>
                    <a:pt x="14" y="4"/>
                    <a:pt x="14" y="4"/>
                    <a:pt x="14" y="4"/>
                  </a:cubicBezTo>
                  <a:cubicBezTo>
                    <a:pt x="13" y="5"/>
                    <a:pt x="13" y="5"/>
                    <a:pt x="13" y="5"/>
                  </a:cubicBezTo>
                  <a:cubicBezTo>
                    <a:pt x="12" y="6"/>
                    <a:pt x="12" y="6"/>
                    <a:pt x="12" y="6"/>
                  </a:cubicBezTo>
                  <a:cubicBezTo>
                    <a:pt x="12" y="7"/>
                    <a:pt x="12" y="7"/>
                    <a:pt x="12" y="7"/>
                  </a:cubicBezTo>
                  <a:cubicBezTo>
                    <a:pt x="13" y="7"/>
                    <a:pt x="13" y="7"/>
                    <a:pt x="13" y="7"/>
                  </a:cubicBezTo>
                  <a:cubicBezTo>
                    <a:pt x="13" y="8"/>
                    <a:pt x="13" y="8"/>
                    <a:pt x="13" y="8"/>
                  </a:cubicBezTo>
                  <a:cubicBezTo>
                    <a:pt x="13" y="8"/>
                    <a:pt x="14" y="9"/>
                    <a:pt x="14" y="10"/>
                  </a:cubicBezTo>
                  <a:cubicBezTo>
                    <a:pt x="16" y="11"/>
                    <a:pt x="16" y="14"/>
                    <a:pt x="15" y="16"/>
                  </a:cubicBezTo>
                  <a:cubicBezTo>
                    <a:pt x="14" y="19"/>
                    <a:pt x="12" y="20"/>
                    <a:pt x="10" y="21"/>
                  </a:cubicBezTo>
                  <a:cubicBezTo>
                    <a:pt x="9" y="22"/>
                    <a:pt x="9" y="22"/>
                    <a:pt x="9" y="22"/>
                  </a:cubicBezTo>
                  <a:cubicBezTo>
                    <a:pt x="9" y="22"/>
                    <a:pt x="9" y="22"/>
                    <a:pt x="9" y="22"/>
                  </a:cubicBezTo>
                  <a:cubicBezTo>
                    <a:pt x="9" y="23"/>
                    <a:pt x="9" y="23"/>
                    <a:pt x="9" y="23"/>
                  </a:cubicBezTo>
                  <a:cubicBezTo>
                    <a:pt x="9" y="24"/>
                    <a:pt x="9" y="24"/>
                    <a:pt x="9" y="24"/>
                  </a:cubicBezTo>
                  <a:cubicBezTo>
                    <a:pt x="9" y="25"/>
                    <a:pt x="9" y="27"/>
                    <a:pt x="8" y="29"/>
                  </a:cubicBezTo>
                  <a:cubicBezTo>
                    <a:pt x="8" y="29"/>
                    <a:pt x="8" y="29"/>
                    <a:pt x="8" y="29"/>
                  </a:cubicBezTo>
                  <a:cubicBezTo>
                    <a:pt x="8" y="29"/>
                    <a:pt x="7" y="30"/>
                    <a:pt x="6" y="31"/>
                  </a:cubicBezTo>
                  <a:cubicBezTo>
                    <a:pt x="6" y="32"/>
                    <a:pt x="6" y="32"/>
                    <a:pt x="6" y="32"/>
                  </a:cubicBezTo>
                  <a:cubicBezTo>
                    <a:pt x="5" y="33"/>
                    <a:pt x="2" y="36"/>
                    <a:pt x="1" y="38"/>
                  </a:cubicBezTo>
                  <a:cubicBezTo>
                    <a:pt x="0" y="38"/>
                    <a:pt x="0" y="38"/>
                    <a:pt x="0" y="38"/>
                  </a:cubicBezTo>
                  <a:cubicBezTo>
                    <a:pt x="1" y="38"/>
                    <a:pt x="2" y="39"/>
                    <a:pt x="4" y="39"/>
                  </a:cubicBezTo>
                  <a:cubicBezTo>
                    <a:pt x="6" y="39"/>
                    <a:pt x="9" y="38"/>
                    <a:pt x="11" y="38"/>
                  </a:cubicBezTo>
                  <a:cubicBezTo>
                    <a:pt x="12" y="38"/>
                    <a:pt x="13" y="37"/>
                    <a:pt x="14" y="37"/>
                  </a:cubicBezTo>
                  <a:cubicBezTo>
                    <a:pt x="15" y="37"/>
                    <a:pt x="16" y="37"/>
                    <a:pt x="16" y="39"/>
                  </a:cubicBezTo>
                  <a:cubicBezTo>
                    <a:pt x="16" y="40"/>
                    <a:pt x="13" y="41"/>
                    <a:pt x="12" y="41"/>
                  </a:cubicBezTo>
                  <a:cubicBezTo>
                    <a:pt x="10" y="42"/>
                    <a:pt x="5" y="44"/>
                    <a:pt x="3" y="46"/>
                  </a:cubicBezTo>
                  <a:cubicBezTo>
                    <a:pt x="2" y="48"/>
                    <a:pt x="2" y="52"/>
                    <a:pt x="2" y="54"/>
                  </a:cubicBezTo>
                  <a:cubicBezTo>
                    <a:pt x="10" y="47"/>
                    <a:pt x="19" y="41"/>
                    <a:pt x="27" y="35"/>
                  </a:cubicBezTo>
                  <a:cubicBezTo>
                    <a:pt x="30" y="33"/>
                    <a:pt x="35" y="27"/>
                    <a:pt x="39" y="27"/>
                  </a:cubicBezTo>
                  <a:cubicBezTo>
                    <a:pt x="43" y="27"/>
                    <a:pt x="47" y="26"/>
                    <a:pt x="51" y="26"/>
                  </a:cubicBezTo>
                  <a:cubicBezTo>
                    <a:pt x="53" y="26"/>
                    <a:pt x="54" y="26"/>
                    <a:pt x="55" y="26"/>
                  </a:cubicBezTo>
                  <a:cubicBezTo>
                    <a:pt x="57" y="26"/>
                    <a:pt x="59" y="27"/>
                    <a:pt x="62" y="28"/>
                  </a:cubicBezTo>
                  <a:cubicBezTo>
                    <a:pt x="61" y="27"/>
                    <a:pt x="61" y="27"/>
                    <a:pt x="61" y="27"/>
                  </a:cubicBezTo>
                  <a:cubicBezTo>
                    <a:pt x="61" y="23"/>
                    <a:pt x="64" y="20"/>
                    <a:pt x="68" y="20"/>
                  </a:cubicBezTo>
                  <a:cubicBezTo>
                    <a:pt x="69" y="20"/>
                    <a:pt x="70" y="21"/>
                    <a:pt x="71" y="21"/>
                  </a:cubicBezTo>
                  <a:cubicBezTo>
                    <a:pt x="71" y="21"/>
                    <a:pt x="71" y="21"/>
                    <a:pt x="71" y="21"/>
                  </a:cubicBezTo>
                  <a:cubicBezTo>
                    <a:pt x="71" y="20"/>
                    <a:pt x="66" y="20"/>
                    <a:pt x="65" y="19"/>
                  </a:cubicBezTo>
                  <a:cubicBezTo>
                    <a:pt x="60" y="18"/>
                    <a:pt x="55" y="15"/>
                    <a:pt x="50" y="12"/>
                  </a:cubicBezTo>
                  <a:cubicBezTo>
                    <a:pt x="46" y="10"/>
                    <a:pt x="46" y="6"/>
                    <a:pt x="46" y="2"/>
                  </a:cubicBezTo>
                  <a:cubicBezTo>
                    <a:pt x="36" y="4"/>
                    <a:pt x="36" y="4"/>
                    <a:pt x="36" y="4"/>
                  </a:cubicBezTo>
                  <a:cubicBezTo>
                    <a:pt x="36" y="4"/>
                    <a:pt x="35" y="4"/>
                    <a:pt x="35" y="4"/>
                  </a:cubicBezTo>
                  <a:cubicBezTo>
                    <a:pt x="33" y="4"/>
                    <a:pt x="31" y="3"/>
                    <a:pt x="29" y="1"/>
                  </a:cubicBezTo>
                  <a:cubicBezTo>
                    <a:pt x="29" y="1"/>
                    <a:pt x="29" y="0"/>
                    <a:pt x="28" y="0"/>
                  </a:cubicBez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4" name="Freeform 273">
              <a:extLst>
                <a:ext uri="{FF2B5EF4-FFF2-40B4-BE49-F238E27FC236}">
                  <a16:creationId xmlns:a16="http://schemas.microsoft.com/office/drawing/2014/main" id="{047DB8D9-6ED5-4694-8523-C22AE0195A17}"/>
                </a:ext>
              </a:extLst>
            </p:cNvPr>
            <p:cNvSpPr>
              <a:spLocks/>
            </p:cNvSpPr>
            <p:nvPr/>
          </p:nvSpPr>
          <p:spPr bwMode="auto">
            <a:xfrm>
              <a:off x="4717" y="-6"/>
              <a:ext cx="213" cy="253"/>
            </a:xfrm>
            <a:custGeom>
              <a:avLst/>
              <a:gdLst>
                <a:gd name="T0" fmla="*/ 17 w 90"/>
                <a:gd name="T1" fmla="*/ 0 h 107"/>
                <a:gd name="T2" fmla="*/ 2 w 90"/>
                <a:gd name="T3" fmla="*/ 8 h 107"/>
                <a:gd name="T4" fmla="*/ 1 w 90"/>
                <a:gd name="T5" fmla="*/ 13 h 107"/>
                <a:gd name="T6" fmla="*/ 5 w 90"/>
                <a:gd name="T7" fmla="*/ 18 h 107"/>
                <a:gd name="T8" fmla="*/ 8 w 90"/>
                <a:gd name="T9" fmla="*/ 27 h 107"/>
                <a:gd name="T10" fmla="*/ 5 w 90"/>
                <a:gd name="T11" fmla="*/ 32 h 107"/>
                <a:gd name="T12" fmla="*/ 11 w 90"/>
                <a:gd name="T13" fmla="*/ 37 h 107"/>
                <a:gd name="T14" fmla="*/ 9 w 90"/>
                <a:gd name="T15" fmla="*/ 41 h 107"/>
                <a:gd name="T16" fmla="*/ 6 w 90"/>
                <a:gd name="T17" fmla="*/ 47 h 107"/>
                <a:gd name="T18" fmla="*/ 7 w 90"/>
                <a:gd name="T19" fmla="*/ 49 h 107"/>
                <a:gd name="T20" fmla="*/ 12 w 90"/>
                <a:gd name="T21" fmla="*/ 53 h 107"/>
                <a:gd name="T22" fmla="*/ 14 w 90"/>
                <a:gd name="T23" fmla="*/ 54 h 107"/>
                <a:gd name="T24" fmla="*/ 17 w 90"/>
                <a:gd name="T25" fmla="*/ 61 h 107"/>
                <a:gd name="T26" fmla="*/ 14 w 90"/>
                <a:gd name="T27" fmla="*/ 63 h 107"/>
                <a:gd name="T28" fmla="*/ 13 w 90"/>
                <a:gd name="T29" fmla="*/ 64 h 107"/>
                <a:gd name="T30" fmla="*/ 15 w 90"/>
                <a:gd name="T31" fmla="*/ 68 h 107"/>
                <a:gd name="T32" fmla="*/ 14 w 90"/>
                <a:gd name="T33" fmla="*/ 72 h 107"/>
                <a:gd name="T34" fmla="*/ 11 w 90"/>
                <a:gd name="T35" fmla="*/ 74 h 107"/>
                <a:gd name="T36" fmla="*/ 37 w 90"/>
                <a:gd name="T37" fmla="*/ 86 h 107"/>
                <a:gd name="T38" fmla="*/ 38 w 90"/>
                <a:gd name="T39" fmla="*/ 79 h 107"/>
                <a:gd name="T40" fmla="*/ 41 w 90"/>
                <a:gd name="T41" fmla="*/ 78 h 107"/>
                <a:gd name="T42" fmla="*/ 45 w 90"/>
                <a:gd name="T43" fmla="*/ 78 h 107"/>
                <a:gd name="T44" fmla="*/ 55 w 90"/>
                <a:gd name="T45" fmla="*/ 87 h 107"/>
                <a:gd name="T46" fmla="*/ 63 w 90"/>
                <a:gd name="T47" fmla="*/ 95 h 107"/>
                <a:gd name="T48" fmla="*/ 66 w 90"/>
                <a:gd name="T49" fmla="*/ 107 h 107"/>
                <a:gd name="T50" fmla="*/ 78 w 90"/>
                <a:gd name="T51" fmla="*/ 105 h 107"/>
                <a:gd name="T52" fmla="*/ 79 w 90"/>
                <a:gd name="T53" fmla="*/ 105 h 107"/>
                <a:gd name="T54" fmla="*/ 78 w 90"/>
                <a:gd name="T55" fmla="*/ 98 h 107"/>
                <a:gd name="T56" fmla="*/ 82 w 90"/>
                <a:gd name="T57" fmla="*/ 90 h 107"/>
                <a:gd name="T58" fmla="*/ 90 w 90"/>
                <a:gd name="T59" fmla="*/ 84 h 107"/>
                <a:gd name="T60" fmla="*/ 86 w 90"/>
                <a:gd name="T61" fmla="*/ 81 h 107"/>
                <a:gd name="T62" fmla="*/ 78 w 90"/>
                <a:gd name="T63" fmla="*/ 70 h 107"/>
                <a:gd name="T64" fmla="*/ 77 w 90"/>
                <a:gd name="T65" fmla="*/ 65 h 107"/>
                <a:gd name="T66" fmla="*/ 83 w 90"/>
                <a:gd name="T67" fmla="*/ 54 h 107"/>
                <a:gd name="T68" fmla="*/ 81 w 90"/>
                <a:gd name="T69" fmla="*/ 45 h 107"/>
                <a:gd name="T70" fmla="*/ 78 w 90"/>
                <a:gd name="T71" fmla="*/ 47 h 107"/>
                <a:gd name="T72" fmla="*/ 77 w 90"/>
                <a:gd name="T73" fmla="*/ 48 h 107"/>
                <a:gd name="T74" fmla="*/ 75 w 90"/>
                <a:gd name="T75" fmla="*/ 49 h 107"/>
                <a:gd name="T76" fmla="*/ 73 w 90"/>
                <a:gd name="T77" fmla="*/ 48 h 107"/>
                <a:gd name="T78" fmla="*/ 49 w 90"/>
                <a:gd name="T79" fmla="*/ 37 h 107"/>
                <a:gd name="T80" fmla="*/ 57 w 90"/>
                <a:gd name="T81" fmla="*/ 32 h 107"/>
                <a:gd name="T82" fmla="*/ 49 w 90"/>
                <a:gd name="T83" fmla="*/ 24 h 107"/>
                <a:gd name="T84" fmla="*/ 44 w 90"/>
                <a:gd name="T85" fmla="*/ 22 h 107"/>
                <a:gd name="T86" fmla="*/ 42 w 90"/>
                <a:gd name="T87" fmla="*/ 21 h 107"/>
                <a:gd name="T88" fmla="*/ 41 w 90"/>
                <a:gd name="T89" fmla="*/ 20 h 107"/>
                <a:gd name="T90" fmla="*/ 39 w 90"/>
                <a:gd name="T91" fmla="*/ 17 h 107"/>
                <a:gd name="T92" fmla="*/ 38 w 90"/>
                <a:gd name="T93" fmla="*/ 13 h 107"/>
                <a:gd name="T94" fmla="*/ 25 w 90"/>
                <a:gd name="T9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107">
                  <a:moveTo>
                    <a:pt x="22" y="0"/>
                  </a:moveTo>
                  <a:cubicBezTo>
                    <a:pt x="18" y="0"/>
                    <a:pt x="18" y="0"/>
                    <a:pt x="18" y="0"/>
                  </a:cubicBezTo>
                  <a:cubicBezTo>
                    <a:pt x="17" y="0"/>
                    <a:pt x="17" y="0"/>
                    <a:pt x="17" y="0"/>
                  </a:cubicBezTo>
                  <a:cubicBezTo>
                    <a:pt x="16" y="0"/>
                    <a:pt x="16" y="0"/>
                    <a:pt x="16" y="0"/>
                  </a:cubicBezTo>
                  <a:cubicBezTo>
                    <a:pt x="0" y="6"/>
                    <a:pt x="0" y="6"/>
                    <a:pt x="0" y="6"/>
                  </a:cubicBezTo>
                  <a:cubicBezTo>
                    <a:pt x="1" y="7"/>
                    <a:pt x="1" y="7"/>
                    <a:pt x="2" y="8"/>
                  </a:cubicBezTo>
                  <a:cubicBezTo>
                    <a:pt x="2" y="9"/>
                    <a:pt x="2" y="9"/>
                    <a:pt x="2" y="9"/>
                  </a:cubicBezTo>
                  <a:cubicBezTo>
                    <a:pt x="1" y="13"/>
                    <a:pt x="1" y="13"/>
                    <a:pt x="1" y="13"/>
                  </a:cubicBezTo>
                  <a:cubicBezTo>
                    <a:pt x="1" y="13"/>
                    <a:pt x="1" y="13"/>
                    <a:pt x="1" y="13"/>
                  </a:cubicBezTo>
                  <a:cubicBezTo>
                    <a:pt x="3" y="14"/>
                    <a:pt x="3" y="14"/>
                    <a:pt x="3" y="14"/>
                  </a:cubicBezTo>
                  <a:cubicBezTo>
                    <a:pt x="3" y="14"/>
                    <a:pt x="5" y="15"/>
                    <a:pt x="5" y="17"/>
                  </a:cubicBezTo>
                  <a:cubicBezTo>
                    <a:pt x="5" y="18"/>
                    <a:pt x="5" y="18"/>
                    <a:pt x="5" y="18"/>
                  </a:cubicBezTo>
                  <a:cubicBezTo>
                    <a:pt x="17" y="26"/>
                    <a:pt x="17" y="26"/>
                    <a:pt x="17" y="26"/>
                  </a:cubicBezTo>
                  <a:cubicBezTo>
                    <a:pt x="10" y="27"/>
                    <a:pt x="10" y="27"/>
                    <a:pt x="10" y="27"/>
                  </a:cubicBezTo>
                  <a:cubicBezTo>
                    <a:pt x="10" y="27"/>
                    <a:pt x="9" y="27"/>
                    <a:pt x="8" y="27"/>
                  </a:cubicBezTo>
                  <a:cubicBezTo>
                    <a:pt x="6" y="28"/>
                    <a:pt x="6" y="28"/>
                    <a:pt x="5" y="28"/>
                  </a:cubicBezTo>
                  <a:cubicBezTo>
                    <a:pt x="5" y="28"/>
                    <a:pt x="5" y="28"/>
                    <a:pt x="5" y="29"/>
                  </a:cubicBezTo>
                  <a:cubicBezTo>
                    <a:pt x="5" y="30"/>
                    <a:pt x="5" y="31"/>
                    <a:pt x="5" y="32"/>
                  </a:cubicBezTo>
                  <a:cubicBezTo>
                    <a:pt x="6" y="32"/>
                    <a:pt x="7" y="32"/>
                    <a:pt x="8" y="32"/>
                  </a:cubicBezTo>
                  <a:cubicBezTo>
                    <a:pt x="13" y="31"/>
                    <a:pt x="13" y="31"/>
                    <a:pt x="13" y="31"/>
                  </a:cubicBezTo>
                  <a:cubicBezTo>
                    <a:pt x="11" y="37"/>
                    <a:pt x="11" y="37"/>
                    <a:pt x="11" y="37"/>
                  </a:cubicBezTo>
                  <a:cubicBezTo>
                    <a:pt x="10" y="38"/>
                    <a:pt x="10" y="39"/>
                    <a:pt x="10" y="40"/>
                  </a:cubicBezTo>
                  <a:cubicBezTo>
                    <a:pt x="10" y="41"/>
                    <a:pt x="10" y="41"/>
                    <a:pt x="10" y="41"/>
                  </a:cubicBezTo>
                  <a:cubicBezTo>
                    <a:pt x="9" y="41"/>
                    <a:pt x="9" y="41"/>
                    <a:pt x="9" y="41"/>
                  </a:cubicBezTo>
                  <a:cubicBezTo>
                    <a:pt x="8" y="43"/>
                    <a:pt x="8" y="44"/>
                    <a:pt x="7" y="45"/>
                  </a:cubicBezTo>
                  <a:cubicBezTo>
                    <a:pt x="7" y="46"/>
                    <a:pt x="7" y="46"/>
                    <a:pt x="7" y="46"/>
                  </a:cubicBezTo>
                  <a:cubicBezTo>
                    <a:pt x="6" y="47"/>
                    <a:pt x="6" y="47"/>
                    <a:pt x="6" y="47"/>
                  </a:cubicBezTo>
                  <a:cubicBezTo>
                    <a:pt x="6" y="48"/>
                    <a:pt x="6" y="49"/>
                    <a:pt x="6" y="49"/>
                  </a:cubicBezTo>
                  <a:cubicBezTo>
                    <a:pt x="7" y="50"/>
                    <a:pt x="7" y="50"/>
                    <a:pt x="7" y="50"/>
                  </a:cubicBezTo>
                  <a:cubicBezTo>
                    <a:pt x="7" y="49"/>
                    <a:pt x="7" y="49"/>
                    <a:pt x="7" y="49"/>
                  </a:cubicBezTo>
                  <a:cubicBezTo>
                    <a:pt x="7" y="49"/>
                    <a:pt x="8" y="49"/>
                    <a:pt x="8" y="50"/>
                  </a:cubicBezTo>
                  <a:cubicBezTo>
                    <a:pt x="9" y="50"/>
                    <a:pt x="9" y="50"/>
                    <a:pt x="10" y="50"/>
                  </a:cubicBezTo>
                  <a:cubicBezTo>
                    <a:pt x="11" y="51"/>
                    <a:pt x="11" y="52"/>
                    <a:pt x="12" y="53"/>
                  </a:cubicBezTo>
                  <a:cubicBezTo>
                    <a:pt x="13" y="54"/>
                    <a:pt x="13" y="54"/>
                    <a:pt x="13" y="54"/>
                  </a:cubicBezTo>
                  <a:cubicBezTo>
                    <a:pt x="14" y="55"/>
                    <a:pt x="14" y="55"/>
                    <a:pt x="14" y="55"/>
                  </a:cubicBezTo>
                  <a:cubicBezTo>
                    <a:pt x="14" y="54"/>
                    <a:pt x="14" y="54"/>
                    <a:pt x="14" y="54"/>
                  </a:cubicBezTo>
                  <a:cubicBezTo>
                    <a:pt x="16" y="56"/>
                    <a:pt x="16" y="56"/>
                    <a:pt x="16" y="56"/>
                  </a:cubicBezTo>
                  <a:cubicBezTo>
                    <a:pt x="17" y="57"/>
                    <a:pt x="18" y="58"/>
                    <a:pt x="17" y="60"/>
                  </a:cubicBezTo>
                  <a:cubicBezTo>
                    <a:pt x="17" y="61"/>
                    <a:pt x="17" y="61"/>
                    <a:pt x="17" y="61"/>
                  </a:cubicBezTo>
                  <a:cubicBezTo>
                    <a:pt x="16" y="62"/>
                    <a:pt x="16" y="62"/>
                    <a:pt x="16" y="62"/>
                  </a:cubicBezTo>
                  <a:cubicBezTo>
                    <a:pt x="16" y="62"/>
                    <a:pt x="16" y="62"/>
                    <a:pt x="15" y="62"/>
                  </a:cubicBezTo>
                  <a:cubicBezTo>
                    <a:pt x="15" y="63"/>
                    <a:pt x="15" y="63"/>
                    <a:pt x="14" y="63"/>
                  </a:cubicBezTo>
                  <a:cubicBezTo>
                    <a:pt x="14" y="63"/>
                    <a:pt x="14" y="63"/>
                    <a:pt x="14" y="63"/>
                  </a:cubicBezTo>
                  <a:cubicBezTo>
                    <a:pt x="13" y="63"/>
                    <a:pt x="13" y="63"/>
                    <a:pt x="13" y="63"/>
                  </a:cubicBezTo>
                  <a:cubicBezTo>
                    <a:pt x="13" y="64"/>
                    <a:pt x="13" y="64"/>
                    <a:pt x="13" y="64"/>
                  </a:cubicBezTo>
                  <a:cubicBezTo>
                    <a:pt x="14" y="65"/>
                    <a:pt x="14" y="65"/>
                    <a:pt x="15" y="66"/>
                  </a:cubicBezTo>
                  <a:cubicBezTo>
                    <a:pt x="15" y="67"/>
                    <a:pt x="15" y="67"/>
                    <a:pt x="15" y="67"/>
                  </a:cubicBezTo>
                  <a:cubicBezTo>
                    <a:pt x="15" y="68"/>
                    <a:pt x="15" y="68"/>
                    <a:pt x="15" y="68"/>
                  </a:cubicBezTo>
                  <a:cubicBezTo>
                    <a:pt x="15" y="69"/>
                    <a:pt x="15" y="69"/>
                    <a:pt x="15" y="69"/>
                  </a:cubicBezTo>
                  <a:cubicBezTo>
                    <a:pt x="15" y="70"/>
                    <a:pt x="15" y="71"/>
                    <a:pt x="14" y="71"/>
                  </a:cubicBezTo>
                  <a:cubicBezTo>
                    <a:pt x="14" y="72"/>
                    <a:pt x="14" y="72"/>
                    <a:pt x="14" y="72"/>
                  </a:cubicBezTo>
                  <a:cubicBezTo>
                    <a:pt x="13" y="72"/>
                    <a:pt x="13" y="73"/>
                    <a:pt x="12" y="74"/>
                  </a:cubicBezTo>
                  <a:cubicBezTo>
                    <a:pt x="11" y="74"/>
                    <a:pt x="11" y="74"/>
                    <a:pt x="11" y="74"/>
                  </a:cubicBezTo>
                  <a:cubicBezTo>
                    <a:pt x="11" y="74"/>
                    <a:pt x="11" y="74"/>
                    <a:pt x="11" y="74"/>
                  </a:cubicBezTo>
                  <a:cubicBezTo>
                    <a:pt x="32" y="89"/>
                    <a:pt x="32" y="89"/>
                    <a:pt x="32" y="89"/>
                  </a:cubicBezTo>
                  <a:cubicBezTo>
                    <a:pt x="32" y="88"/>
                    <a:pt x="33" y="86"/>
                    <a:pt x="37" y="86"/>
                  </a:cubicBezTo>
                  <a:cubicBezTo>
                    <a:pt x="37" y="86"/>
                    <a:pt x="37" y="86"/>
                    <a:pt x="37" y="86"/>
                  </a:cubicBezTo>
                  <a:cubicBezTo>
                    <a:pt x="37" y="86"/>
                    <a:pt x="37" y="86"/>
                    <a:pt x="37" y="86"/>
                  </a:cubicBezTo>
                  <a:cubicBezTo>
                    <a:pt x="36" y="84"/>
                    <a:pt x="35" y="83"/>
                    <a:pt x="36" y="82"/>
                  </a:cubicBezTo>
                  <a:cubicBezTo>
                    <a:pt x="36" y="80"/>
                    <a:pt x="37" y="80"/>
                    <a:pt x="38" y="79"/>
                  </a:cubicBezTo>
                  <a:cubicBezTo>
                    <a:pt x="38" y="79"/>
                    <a:pt x="38" y="79"/>
                    <a:pt x="38" y="79"/>
                  </a:cubicBezTo>
                  <a:cubicBezTo>
                    <a:pt x="39" y="79"/>
                    <a:pt x="39" y="78"/>
                    <a:pt x="40" y="78"/>
                  </a:cubicBezTo>
                  <a:cubicBezTo>
                    <a:pt x="40" y="78"/>
                    <a:pt x="40" y="78"/>
                    <a:pt x="41" y="78"/>
                  </a:cubicBezTo>
                  <a:cubicBezTo>
                    <a:pt x="42" y="78"/>
                    <a:pt x="42" y="78"/>
                    <a:pt x="42" y="78"/>
                  </a:cubicBezTo>
                  <a:cubicBezTo>
                    <a:pt x="42" y="78"/>
                    <a:pt x="42" y="78"/>
                    <a:pt x="42" y="78"/>
                  </a:cubicBezTo>
                  <a:cubicBezTo>
                    <a:pt x="43" y="78"/>
                    <a:pt x="44" y="78"/>
                    <a:pt x="45" y="78"/>
                  </a:cubicBezTo>
                  <a:cubicBezTo>
                    <a:pt x="45" y="79"/>
                    <a:pt x="46" y="79"/>
                    <a:pt x="47" y="79"/>
                  </a:cubicBezTo>
                  <a:cubicBezTo>
                    <a:pt x="53" y="80"/>
                    <a:pt x="54" y="83"/>
                    <a:pt x="54" y="84"/>
                  </a:cubicBezTo>
                  <a:cubicBezTo>
                    <a:pt x="54" y="86"/>
                    <a:pt x="54" y="87"/>
                    <a:pt x="55" y="87"/>
                  </a:cubicBezTo>
                  <a:cubicBezTo>
                    <a:pt x="59" y="87"/>
                    <a:pt x="60" y="90"/>
                    <a:pt x="61" y="92"/>
                  </a:cubicBezTo>
                  <a:cubicBezTo>
                    <a:pt x="61" y="93"/>
                    <a:pt x="61" y="94"/>
                    <a:pt x="61" y="94"/>
                  </a:cubicBezTo>
                  <a:cubicBezTo>
                    <a:pt x="62" y="95"/>
                    <a:pt x="62" y="95"/>
                    <a:pt x="63" y="95"/>
                  </a:cubicBezTo>
                  <a:cubicBezTo>
                    <a:pt x="64" y="96"/>
                    <a:pt x="65" y="96"/>
                    <a:pt x="66" y="96"/>
                  </a:cubicBezTo>
                  <a:cubicBezTo>
                    <a:pt x="67" y="97"/>
                    <a:pt x="68" y="98"/>
                    <a:pt x="68" y="99"/>
                  </a:cubicBezTo>
                  <a:cubicBezTo>
                    <a:pt x="69" y="102"/>
                    <a:pt x="67" y="105"/>
                    <a:pt x="66" y="107"/>
                  </a:cubicBezTo>
                  <a:cubicBezTo>
                    <a:pt x="66" y="107"/>
                    <a:pt x="66" y="107"/>
                    <a:pt x="66" y="107"/>
                  </a:cubicBezTo>
                  <a:cubicBezTo>
                    <a:pt x="69" y="106"/>
                    <a:pt x="73" y="106"/>
                    <a:pt x="77" y="106"/>
                  </a:cubicBezTo>
                  <a:cubicBezTo>
                    <a:pt x="78" y="105"/>
                    <a:pt x="78" y="105"/>
                    <a:pt x="78" y="105"/>
                  </a:cubicBezTo>
                  <a:cubicBezTo>
                    <a:pt x="78" y="105"/>
                    <a:pt x="78" y="105"/>
                    <a:pt x="78" y="105"/>
                  </a:cubicBezTo>
                  <a:cubicBezTo>
                    <a:pt x="78" y="105"/>
                    <a:pt x="78" y="105"/>
                    <a:pt x="78" y="105"/>
                  </a:cubicBezTo>
                  <a:cubicBezTo>
                    <a:pt x="79" y="105"/>
                    <a:pt x="79" y="105"/>
                    <a:pt x="79" y="105"/>
                  </a:cubicBezTo>
                  <a:cubicBezTo>
                    <a:pt x="80" y="104"/>
                    <a:pt x="80" y="103"/>
                    <a:pt x="81" y="103"/>
                  </a:cubicBezTo>
                  <a:cubicBezTo>
                    <a:pt x="80" y="101"/>
                    <a:pt x="80" y="101"/>
                    <a:pt x="80" y="101"/>
                  </a:cubicBezTo>
                  <a:cubicBezTo>
                    <a:pt x="79" y="100"/>
                    <a:pt x="79" y="99"/>
                    <a:pt x="78" y="98"/>
                  </a:cubicBezTo>
                  <a:cubicBezTo>
                    <a:pt x="78" y="96"/>
                    <a:pt x="78" y="94"/>
                    <a:pt x="79" y="93"/>
                  </a:cubicBezTo>
                  <a:cubicBezTo>
                    <a:pt x="80" y="92"/>
                    <a:pt x="80" y="92"/>
                    <a:pt x="80" y="91"/>
                  </a:cubicBezTo>
                  <a:cubicBezTo>
                    <a:pt x="81" y="90"/>
                    <a:pt x="82" y="90"/>
                    <a:pt x="82" y="90"/>
                  </a:cubicBezTo>
                  <a:cubicBezTo>
                    <a:pt x="83" y="89"/>
                    <a:pt x="83" y="89"/>
                    <a:pt x="83" y="89"/>
                  </a:cubicBezTo>
                  <a:cubicBezTo>
                    <a:pt x="85" y="88"/>
                    <a:pt x="87" y="86"/>
                    <a:pt x="89" y="84"/>
                  </a:cubicBezTo>
                  <a:cubicBezTo>
                    <a:pt x="90" y="84"/>
                    <a:pt x="90" y="84"/>
                    <a:pt x="90" y="84"/>
                  </a:cubicBezTo>
                  <a:cubicBezTo>
                    <a:pt x="89" y="83"/>
                    <a:pt x="89" y="83"/>
                    <a:pt x="89" y="83"/>
                  </a:cubicBezTo>
                  <a:cubicBezTo>
                    <a:pt x="88" y="82"/>
                    <a:pt x="87" y="82"/>
                    <a:pt x="87" y="82"/>
                  </a:cubicBezTo>
                  <a:cubicBezTo>
                    <a:pt x="86" y="81"/>
                    <a:pt x="86" y="81"/>
                    <a:pt x="86" y="81"/>
                  </a:cubicBezTo>
                  <a:cubicBezTo>
                    <a:pt x="85" y="80"/>
                    <a:pt x="84" y="80"/>
                    <a:pt x="84" y="79"/>
                  </a:cubicBezTo>
                  <a:cubicBezTo>
                    <a:pt x="82" y="78"/>
                    <a:pt x="82" y="77"/>
                    <a:pt x="81" y="76"/>
                  </a:cubicBezTo>
                  <a:cubicBezTo>
                    <a:pt x="80" y="74"/>
                    <a:pt x="79" y="73"/>
                    <a:pt x="78" y="70"/>
                  </a:cubicBezTo>
                  <a:cubicBezTo>
                    <a:pt x="78" y="70"/>
                    <a:pt x="78" y="70"/>
                    <a:pt x="78" y="70"/>
                  </a:cubicBezTo>
                  <a:cubicBezTo>
                    <a:pt x="78" y="70"/>
                    <a:pt x="78" y="69"/>
                    <a:pt x="78" y="68"/>
                  </a:cubicBezTo>
                  <a:cubicBezTo>
                    <a:pt x="77" y="67"/>
                    <a:pt x="77" y="66"/>
                    <a:pt x="77" y="65"/>
                  </a:cubicBezTo>
                  <a:cubicBezTo>
                    <a:pt x="78" y="65"/>
                    <a:pt x="78" y="65"/>
                    <a:pt x="78" y="65"/>
                  </a:cubicBezTo>
                  <a:cubicBezTo>
                    <a:pt x="83" y="55"/>
                    <a:pt x="83" y="55"/>
                    <a:pt x="83" y="55"/>
                  </a:cubicBezTo>
                  <a:cubicBezTo>
                    <a:pt x="83" y="55"/>
                    <a:pt x="83" y="55"/>
                    <a:pt x="83" y="54"/>
                  </a:cubicBezTo>
                  <a:cubicBezTo>
                    <a:pt x="81" y="53"/>
                    <a:pt x="80" y="51"/>
                    <a:pt x="80" y="48"/>
                  </a:cubicBezTo>
                  <a:cubicBezTo>
                    <a:pt x="80" y="47"/>
                    <a:pt x="80" y="46"/>
                    <a:pt x="81" y="45"/>
                  </a:cubicBezTo>
                  <a:cubicBezTo>
                    <a:pt x="81" y="45"/>
                    <a:pt x="81" y="45"/>
                    <a:pt x="81" y="45"/>
                  </a:cubicBezTo>
                  <a:cubicBezTo>
                    <a:pt x="81" y="45"/>
                    <a:pt x="81" y="45"/>
                    <a:pt x="81" y="45"/>
                  </a:cubicBezTo>
                  <a:cubicBezTo>
                    <a:pt x="80" y="46"/>
                    <a:pt x="80" y="46"/>
                    <a:pt x="79" y="47"/>
                  </a:cubicBezTo>
                  <a:cubicBezTo>
                    <a:pt x="78" y="47"/>
                    <a:pt x="78" y="47"/>
                    <a:pt x="78" y="47"/>
                  </a:cubicBezTo>
                  <a:cubicBezTo>
                    <a:pt x="77" y="47"/>
                    <a:pt x="77" y="47"/>
                    <a:pt x="77" y="47"/>
                  </a:cubicBezTo>
                  <a:cubicBezTo>
                    <a:pt x="78" y="48"/>
                    <a:pt x="78" y="48"/>
                    <a:pt x="78" y="48"/>
                  </a:cubicBezTo>
                  <a:cubicBezTo>
                    <a:pt x="77" y="48"/>
                    <a:pt x="77" y="48"/>
                    <a:pt x="77" y="48"/>
                  </a:cubicBezTo>
                  <a:cubicBezTo>
                    <a:pt x="77" y="48"/>
                    <a:pt x="77" y="49"/>
                    <a:pt x="76" y="49"/>
                  </a:cubicBezTo>
                  <a:cubicBezTo>
                    <a:pt x="76" y="49"/>
                    <a:pt x="76" y="49"/>
                    <a:pt x="76" y="49"/>
                  </a:cubicBezTo>
                  <a:cubicBezTo>
                    <a:pt x="75" y="49"/>
                    <a:pt x="75" y="49"/>
                    <a:pt x="75" y="49"/>
                  </a:cubicBezTo>
                  <a:cubicBezTo>
                    <a:pt x="74" y="49"/>
                    <a:pt x="74" y="49"/>
                    <a:pt x="74" y="49"/>
                  </a:cubicBezTo>
                  <a:cubicBezTo>
                    <a:pt x="74" y="49"/>
                    <a:pt x="74" y="49"/>
                    <a:pt x="73" y="49"/>
                  </a:cubicBezTo>
                  <a:cubicBezTo>
                    <a:pt x="73" y="48"/>
                    <a:pt x="73" y="48"/>
                    <a:pt x="73" y="48"/>
                  </a:cubicBezTo>
                  <a:cubicBezTo>
                    <a:pt x="72" y="48"/>
                    <a:pt x="72" y="48"/>
                    <a:pt x="72" y="48"/>
                  </a:cubicBezTo>
                  <a:cubicBezTo>
                    <a:pt x="71" y="47"/>
                    <a:pt x="70" y="46"/>
                    <a:pt x="68" y="45"/>
                  </a:cubicBezTo>
                  <a:cubicBezTo>
                    <a:pt x="49" y="37"/>
                    <a:pt x="49" y="37"/>
                    <a:pt x="49" y="37"/>
                  </a:cubicBezTo>
                  <a:cubicBezTo>
                    <a:pt x="55" y="34"/>
                    <a:pt x="55" y="34"/>
                    <a:pt x="55" y="34"/>
                  </a:cubicBezTo>
                  <a:cubicBezTo>
                    <a:pt x="55" y="33"/>
                    <a:pt x="56" y="33"/>
                    <a:pt x="57" y="33"/>
                  </a:cubicBezTo>
                  <a:cubicBezTo>
                    <a:pt x="57" y="32"/>
                    <a:pt x="57" y="32"/>
                    <a:pt x="57" y="32"/>
                  </a:cubicBezTo>
                  <a:cubicBezTo>
                    <a:pt x="57" y="31"/>
                    <a:pt x="57" y="30"/>
                    <a:pt x="57" y="29"/>
                  </a:cubicBezTo>
                  <a:cubicBezTo>
                    <a:pt x="56" y="28"/>
                    <a:pt x="56" y="28"/>
                    <a:pt x="56" y="28"/>
                  </a:cubicBezTo>
                  <a:cubicBezTo>
                    <a:pt x="49" y="24"/>
                    <a:pt x="49" y="24"/>
                    <a:pt x="49" y="24"/>
                  </a:cubicBezTo>
                  <a:cubicBezTo>
                    <a:pt x="49" y="24"/>
                    <a:pt x="48" y="24"/>
                    <a:pt x="47" y="23"/>
                  </a:cubicBezTo>
                  <a:cubicBezTo>
                    <a:pt x="46" y="23"/>
                    <a:pt x="46" y="23"/>
                    <a:pt x="46" y="23"/>
                  </a:cubicBezTo>
                  <a:cubicBezTo>
                    <a:pt x="46" y="23"/>
                    <a:pt x="45" y="23"/>
                    <a:pt x="44" y="22"/>
                  </a:cubicBezTo>
                  <a:cubicBezTo>
                    <a:pt x="44" y="22"/>
                    <a:pt x="44" y="22"/>
                    <a:pt x="44" y="22"/>
                  </a:cubicBezTo>
                  <a:cubicBezTo>
                    <a:pt x="43" y="22"/>
                    <a:pt x="43" y="22"/>
                    <a:pt x="43" y="22"/>
                  </a:cubicBezTo>
                  <a:cubicBezTo>
                    <a:pt x="43" y="21"/>
                    <a:pt x="43" y="21"/>
                    <a:pt x="42" y="21"/>
                  </a:cubicBezTo>
                  <a:cubicBezTo>
                    <a:pt x="42" y="20"/>
                    <a:pt x="42" y="20"/>
                    <a:pt x="42" y="20"/>
                  </a:cubicBezTo>
                  <a:cubicBezTo>
                    <a:pt x="41" y="20"/>
                    <a:pt x="41" y="20"/>
                    <a:pt x="41" y="20"/>
                  </a:cubicBezTo>
                  <a:cubicBezTo>
                    <a:pt x="41" y="20"/>
                    <a:pt x="41" y="20"/>
                    <a:pt x="41" y="20"/>
                  </a:cubicBezTo>
                  <a:cubicBezTo>
                    <a:pt x="41" y="20"/>
                    <a:pt x="41" y="20"/>
                    <a:pt x="41" y="20"/>
                  </a:cubicBezTo>
                  <a:cubicBezTo>
                    <a:pt x="40" y="18"/>
                    <a:pt x="40" y="18"/>
                    <a:pt x="40" y="18"/>
                  </a:cubicBezTo>
                  <a:cubicBezTo>
                    <a:pt x="39" y="17"/>
                    <a:pt x="39" y="17"/>
                    <a:pt x="39" y="17"/>
                  </a:cubicBezTo>
                  <a:cubicBezTo>
                    <a:pt x="39" y="17"/>
                    <a:pt x="39" y="17"/>
                    <a:pt x="39" y="17"/>
                  </a:cubicBezTo>
                  <a:cubicBezTo>
                    <a:pt x="40" y="15"/>
                    <a:pt x="40" y="15"/>
                    <a:pt x="40" y="15"/>
                  </a:cubicBezTo>
                  <a:cubicBezTo>
                    <a:pt x="39" y="15"/>
                    <a:pt x="39" y="14"/>
                    <a:pt x="38" y="13"/>
                  </a:cubicBezTo>
                  <a:cubicBezTo>
                    <a:pt x="38" y="13"/>
                    <a:pt x="37" y="12"/>
                    <a:pt x="37" y="12"/>
                  </a:cubicBezTo>
                  <a:cubicBezTo>
                    <a:pt x="28" y="1"/>
                    <a:pt x="28" y="1"/>
                    <a:pt x="28" y="1"/>
                  </a:cubicBezTo>
                  <a:cubicBezTo>
                    <a:pt x="27" y="1"/>
                    <a:pt x="26" y="0"/>
                    <a:pt x="25" y="0"/>
                  </a:cubicBezTo>
                  <a:cubicBezTo>
                    <a:pt x="24" y="0"/>
                    <a:pt x="23"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5" name="Rectangle 274">
              <a:extLst>
                <a:ext uri="{FF2B5EF4-FFF2-40B4-BE49-F238E27FC236}">
                  <a16:creationId xmlns:a16="http://schemas.microsoft.com/office/drawing/2014/main" id="{554C876D-772E-450B-82CE-57B22BFC8385}"/>
                </a:ext>
              </a:extLst>
            </p:cNvPr>
            <p:cNvSpPr>
              <a:spLocks noChangeArrowheads="1"/>
            </p:cNvSpPr>
            <p:nvPr/>
          </p:nvSpPr>
          <p:spPr bwMode="auto">
            <a:xfrm>
              <a:off x="4715" y="6"/>
              <a:ext cx="2"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6" name="Freeform 275">
              <a:extLst>
                <a:ext uri="{FF2B5EF4-FFF2-40B4-BE49-F238E27FC236}">
                  <a16:creationId xmlns:a16="http://schemas.microsoft.com/office/drawing/2014/main" id="{BCE73904-3CE5-4554-B437-FAB1DB21B546}"/>
                </a:ext>
              </a:extLst>
            </p:cNvPr>
            <p:cNvSpPr>
              <a:spLocks/>
            </p:cNvSpPr>
            <p:nvPr/>
          </p:nvSpPr>
          <p:spPr bwMode="auto">
            <a:xfrm>
              <a:off x="4715" y="6"/>
              <a:ext cx="2" cy="0"/>
            </a:xfrm>
            <a:custGeom>
              <a:avLst/>
              <a:gdLst>
                <a:gd name="T0" fmla="*/ 0 w 2"/>
                <a:gd name="T1" fmla="*/ 2 w 2"/>
                <a:gd name="T2" fmla="*/ 2 w 2"/>
                <a:gd name="T3" fmla="*/ 0 w 2"/>
              </a:gdLst>
              <a:ahLst/>
              <a:cxnLst>
                <a:cxn ang="0">
                  <a:pos x="T0" y="0"/>
                </a:cxn>
                <a:cxn ang="0">
                  <a:pos x="T1" y="0"/>
                </a:cxn>
                <a:cxn ang="0">
                  <a:pos x="T2" y="0"/>
                </a:cxn>
                <a:cxn ang="0">
                  <a:pos x="T3" y="0"/>
                </a:cxn>
              </a:cxnLst>
              <a:rect l="0" t="0" r="r" b="b"/>
              <a:pathLst>
                <a:path w="2">
                  <a:moveTo>
                    <a:pt x="0" y="0"/>
                  </a:moveTo>
                  <a:lnTo>
                    <a:pt x="2" y="0"/>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7" name="Freeform 276">
              <a:extLst>
                <a:ext uri="{FF2B5EF4-FFF2-40B4-BE49-F238E27FC236}">
                  <a16:creationId xmlns:a16="http://schemas.microsoft.com/office/drawing/2014/main" id="{223CA545-2271-4996-8920-C4755261A51A}"/>
                </a:ext>
              </a:extLst>
            </p:cNvPr>
            <p:cNvSpPr>
              <a:spLocks/>
            </p:cNvSpPr>
            <p:nvPr/>
          </p:nvSpPr>
          <p:spPr bwMode="auto">
            <a:xfrm>
              <a:off x="4800" y="-27"/>
              <a:ext cx="510" cy="182"/>
            </a:xfrm>
            <a:custGeom>
              <a:avLst/>
              <a:gdLst>
                <a:gd name="T0" fmla="*/ 22 w 216"/>
                <a:gd name="T1" fmla="*/ 0 h 77"/>
                <a:gd name="T2" fmla="*/ 14 w 216"/>
                <a:gd name="T3" fmla="*/ 5 h 77"/>
                <a:gd name="T4" fmla="*/ 9 w 216"/>
                <a:gd name="T5" fmla="*/ 6 h 77"/>
                <a:gd name="T6" fmla="*/ 5 w 216"/>
                <a:gd name="T7" fmla="*/ 9 h 77"/>
                <a:gd name="T8" fmla="*/ 6 w 216"/>
                <a:gd name="T9" fmla="*/ 17 h 77"/>
                <a:gd name="T10" fmla="*/ 10 w 216"/>
                <a:gd name="T11" fmla="*/ 22 h 77"/>
                <a:gd name="T12" fmla="*/ 10 w 216"/>
                <a:gd name="T13" fmla="*/ 25 h 77"/>
                <a:gd name="T14" fmla="*/ 17 w 216"/>
                <a:gd name="T15" fmla="*/ 28 h 77"/>
                <a:gd name="T16" fmla="*/ 27 w 216"/>
                <a:gd name="T17" fmla="*/ 37 h 77"/>
                <a:gd name="T18" fmla="*/ 28 w 216"/>
                <a:gd name="T19" fmla="*/ 40 h 77"/>
                <a:gd name="T20" fmla="*/ 35 w 216"/>
                <a:gd name="T21" fmla="*/ 48 h 77"/>
                <a:gd name="T22" fmla="*/ 42 w 216"/>
                <a:gd name="T23" fmla="*/ 50 h 77"/>
                <a:gd name="T24" fmla="*/ 48 w 216"/>
                <a:gd name="T25" fmla="*/ 46 h 77"/>
                <a:gd name="T26" fmla="*/ 54 w 216"/>
                <a:gd name="T27" fmla="*/ 49 h 77"/>
                <a:gd name="T28" fmla="*/ 56 w 216"/>
                <a:gd name="T29" fmla="*/ 51 h 77"/>
                <a:gd name="T30" fmla="*/ 56 w 216"/>
                <a:gd name="T31" fmla="*/ 53 h 77"/>
                <a:gd name="T32" fmla="*/ 56 w 216"/>
                <a:gd name="T33" fmla="*/ 55 h 77"/>
                <a:gd name="T34" fmla="*/ 55 w 216"/>
                <a:gd name="T35" fmla="*/ 57 h 77"/>
                <a:gd name="T36" fmla="*/ 53 w 216"/>
                <a:gd name="T37" fmla="*/ 57 h 77"/>
                <a:gd name="T38" fmla="*/ 51 w 216"/>
                <a:gd name="T39" fmla="*/ 56 h 77"/>
                <a:gd name="T40" fmla="*/ 51 w 216"/>
                <a:gd name="T41" fmla="*/ 57 h 77"/>
                <a:gd name="T42" fmla="*/ 53 w 216"/>
                <a:gd name="T43" fmla="*/ 60 h 77"/>
                <a:gd name="T44" fmla="*/ 54 w 216"/>
                <a:gd name="T45" fmla="*/ 61 h 77"/>
                <a:gd name="T46" fmla="*/ 61 w 216"/>
                <a:gd name="T47" fmla="*/ 69 h 77"/>
                <a:gd name="T48" fmla="*/ 60 w 216"/>
                <a:gd name="T49" fmla="*/ 72 h 77"/>
                <a:gd name="T50" fmla="*/ 62 w 216"/>
                <a:gd name="T51" fmla="*/ 72 h 77"/>
                <a:gd name="T52" fmla="*/ 67 w 216"/>
                <a:gd name="T53" fmla="*/ 71 h 77"/>
                <a:gd name="T54" fmla="*/ 78 w 216"/>
                <a:gd name="T55" fmla="*/ 73 h 77"/>
                <a:gd name="T56" fmla="*/ 95 w 216"/>
                <a:gd name="T57" fmla="*/ 73 h 77"/>
                <a:gd name="T58" fmla="*/ 103 w 216"/>
                <a:gd name="T59" fmla="*/ 74 h 77"/>
                <a:gd name="T60" fmla="*/ 109 w 216"/>
                <a:gd name="T61" fmla="*/ 76 h 77"/>
                <a:gd name="T62" fmla="*/ 109 w 216"/>
                <a:gd name="T63" fmla="*/ 76 h 77"/>
                <a:gd name="T64" fmla="*/ 117 w 216"/>
                <a:gd name="T65" fmla="*/ 77 h 77"/>
                <a:gd name="T66" fmla="*/ 130 w 216"/>
                <a:gd name="T67" fmla="*/ 71 h 77"/>
                <a:gd name="T68" fmla="*/ 133 w 216"/>
                <a:gd name="T69" fmla="*/ 69 h 77"/>
                <a:gd name="T70" fmla="*/ 141 w 216"/>
                <a:gd name="T71" fmla="*/ 65 h 77"/>
                <a:gd name="T72" fmla="*/ 158 w 216"/>
                <a:gd name="T73" fmla="*/ 63 h 77"/>
                <a:gd name="T74" fmla="*/ 160 w 216"/>
                <a:gd name="T75" fmla="*/ 63 h 77"/>
                <a:gd name="T76" fmla="*/ 165 w 216"/>
                <a:gd name="T77" fmla="*/ 65 h 77"/>
                <a:gd name="T78" fmla="*/ 191 w 216"/>
                <a:gd name="T79" fmla="*/ 73 h 77"/>
                <a:gd name="T80" fmla="*/ 198 w 216"/>
                <a:gd name="T81" fmla="*/ 53 h 77"/>
                <a:gd name="T82" fmla="*/ 195 w 216"/>
                <a:gd name="T83" fmla="*/ 51 h 77"/>
                <a:gd name="T84" fmla="*/ 200 w 216"/>
                <a:gd name="T85" fmla="*/ 49 h 77"/>
                <a:gd name="T86" fmla="*/ 198 w 216"/>
                <a:gd name="T87" fmla="*/ 49 h 77"/>
                <a:gd name="T88" fmla="*/ 196 w 216"/>
                <a:gd name="T89" fmla="*/ 49 h 77"/>
                <a:gd name="T90" fmla="*/ 203 w 216"/>
                <a:gd name="T91" fmla="*/ 41 h 77"/>
                <a:gd name="T92" fmla="*/ 210 w 216"/>
                <a:gd name="T93" fmla="*/ 45 h 77"/>
                <a:gd name="T94" fmla="*/ 216 w 216"/>
                <a:gd name="T95" fmla="*/ 41 h 77"/>
                <a:gd name="T96" fmla="*/ 215 w 216"/>
                <a:gd name="T97" fmla="*/ 36 h 77"/>
                <a:gd name="T98" fmla="*/ 213 w 216"/>
                <a:gd name="T99" fmla="*/ 32 h 77"/>
                <a:gd name="T100" fmla="*/ 203 w 216"/>
                <a:gd name="T101" fmla="*/ 33 h 77"/>
                <a:gd name="T102" fmla="*/ 199 w 216"/>
                <a:gd name="T103" fmla="*/ 34 h 77"/>
                <a:gd name="T104" fmla="*/ 195 w 216"/>
                <a:gd name="T105" fmla="*/ 37 h 77"/>
                <a:gd name="T106" fmla="*/ 192 w 216"/>
                <a:gd name="T107" fmla="*/ 36 h 77"/>
                <a:gd name="T108" fmla="*/ 183 w 216"/>
                <a:gd name="T109" fmla="*/ 32 h 77"/>
                <a:gd name="T110" fmla="*/ 181 w 216"/>
                <a:gd name="T111" fmla="*/ 30 h 77"/>
                <a:gd name="T112" fmla="*/ 178 w 216"/>
                <a:gd name="T113" fmla="*/ 27 h 77"/>
                <a:gd name="T114" fmla="*/ 177 w 216"/>
                <a:gd name="T115" fmla="*/ 27 h 77"/>
                <a:gd name="T116" fmla="*/ 176 w 216"/>
                <a:gd name="T117" fmla="*/ 22 h 77"/>
                <a:gd name="T118" fmla="*/ 176 w 216"/>
                <a:gd name="T119" fmla="*/ 1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6" h="77">
                  <a:moveTo>
                    <a:pt x="179" y="0"/>
                  </a:moveTo>
                  <a:cubicBezTo>
                    <a:pt x="22" y="0"/>
                    <a:pt x="22" y="0"/>
                    <a:pt x="22" y="0"/>
                  </a:cubicBezTo>
                  <a:cubicBezTo>
                    <a:pt x="22" y="0"/>
                    <a:pt x="22" y="0"/>
                    <a:pt x="22" y="0"/>
                  </a:cubicBezTo>
                  <a:cubicBezTo>
                    <a:pt x="20" y="2"/>
                    <a:pt x="18" y="5"/>
                    <a:pt x="14" y="5"/>
                  </a:cubicBezTo>
                  <a:cubicBezTo>
                    <a:pt x="13" y="5"/>
                    <a:pt x="12" y="5"/>
                    <a:pt x="11" y="6"/>
                  </a:cubicBezTo>
                  <a:cubicBezTo>
                    <a:pt x="10" y="6"/>
                    <a:pt x="10" y="6"/>
                    <a:pt x="9" y="6"/>
                  </a:cubicBezTo>
                  <a:cubicBezTo>
                    <a:pt x="9" y="6"/>
                    <a:pt x="9" y="6"/>
                    <a:pt x="9" y="6"/>
                  </a:cubicBezTo>
                  <a:cubicBezTo>
                    <a:pt x="8" y="7"/>
                    <a:pt x="7" y="9"/>
                    <a:pt x="5" y="9"/>
                  </a:cubicBezTo>
                  <a:cubicBezTo>
                    <a:pt x="3" y="9"/>
                    <a:pt x="2" y="10"/>
                    <a:pt x="0" y="10"/>
                  </a:cubicBezTo>
                  <a:cubicBezTo>
                    <a:pt x="6" y="17"/>
                    <a:pt x="6" y="17"/>
                    <a:pt x="6" y="17"/>
                  </a:cubicBezTo>
                  <a:cubicBezTo>
                    <a:pt x="7" y="18"/>
                    <a:pt x="7" y="18"/>
                    <a:pt x="7" y="18"/>
                  </a:cubicBezTo>
                  <a:cubicBezTo>
                    <a:pt x="8" y="19"/>
                    <a:pt x="9" y="21"/>
                    <a:pt x="10" y="22"/>
                  </a:cubicBezTo>
                  <a:cubicBezTo>
                    <a:pt x="10" y="22"/>
                    <a:pt x="10" y="22"/>
                    <a:pt x="10" y="23"/>
                  </a:cubicBezTo>
                  <a:cubicBezTo>
                    <a:pt x="11" y="24"/>
                    <a:pt x="10" y="25"/>
                    <a:pt x="10" y="25"/>
                  </a:cubicBezTo>
                  <a:cubicBezTo>
                    <a:pt x="12" y="26"/>
                    <a:pt x="14" y="27"/>
                    <a:pt x="16" y="28"/>
                  </a:cubicBezTo>
                  <a:cubicBezTo>
                    <a:pt x="17" y="28"/>
                    <a:pt x="17" y="28"/>
                    <a:pt x="17" y="28"/>
                  </a:cubicBezTo>
                  <a:cubicBezTo>
                    <a:pt x="26" y="33"/>
                    <a:pt x="26" y="33"/>
                    <a:pt x="26" y="33"/>
                  </a:cubicBezTo>
                  <a:cubicBezTo>
                    <a:pt x="27" y="35"/>
                    <a:pt x="27" y="36"/>
                    <a:pt x="27" y="37"/>
                  </a:cubicBezTo>
                  <a:cubicBezTo>
                    <a:pt x="27" y="38"/>
                    <a:pt x="28" y="39"/>
                    <a:pt x="28" y="40"/>
                  </a:cubicBezTo>
                  <a:cubicBezTo>
                    <a:pt x="28" y="40"/>
                    <a:pt x="28" y="40"/>
                    <a:pt x="28" y="40"/>
                  </a:cubicBezTo>
                  <a:cubicBezTo>
                    <a:pt x="28" y="42"/>
                    <a:pt x="28" y="44"/>
                    <a:pt x="27" y="45"/>
                  </a:cubicBezTo>
                  <a:cubicBezTo>
                    <a:pt x="35" y="48"/>
                    <a:pt x="35" y="48"/>
                    <a:pt x="35" y="48"/>
                  </a:cubicBezTo>
                  <a:cubicBezTo>
                    <a:pt x="37" y="49"/>
                    <a:pt x="39" y="50"/>
                    <a:pt x="40" y="51"/>
                  </a:cubicBezTo>
                  <a:cubicBezTo>
                    <a:pt x="41" y="51"/>
                    <a:pt x="41" y="50"/>
                    <a:pt x="42" y="50"/>
                  </a:cubicBezTo>
                  <a:cubicBezTo>
                    <a:pt x="44" y="48"/>
                    <a:pt x="46" y="47"/>
                    <a:pt x="48" y="47"/>
                  </a:cubicBezTo>
                  <a:cubicBezTo>
                    <a:pt x="48" y="46"/>
                    <a:pt x="48" y="46"/>
                    <a:pt x="48" y="46"/>
                  </a:cubicBezTo>
                  <a:cubicBezTo>
                    <a:pt x="49" y="47"/>
                    <a:pt x="49" y="47"/>
                    <a:pt x="49" y="47"/>
                  </a:cubicBezTo>
                  <a:cubicBezTo>
                    <a:pt x="51" y="47"/>
                    <a:pt x="53" y="48"/>
                    <a:pt x="54" y="49"/>
                  </a:cubicBezTo>
                  <a:cubicBezTo>
                    <a:pt x="55" y="50"/>
                    <a:pt x="55" y="50"/>
                    <a:pt x="55" y="50"/>
                  </a:cubicBezTo>
                  <a:cubicBezTo>
                    <a:pt x="55" y="51"/>
                    <a:pt x="56" y="51"/>
                    <a:pt x="56" y="51"/>
                  </a:cubicBezTo>
                  <a:cubicBezTo>
                    <a:pt x="56" y="52"/>
                    <a:pt x="56" y="52"/>
                    <a:pt x="56" y="52"/>
                  </a:cubicBezTo>
                  <a:cubicBezTo>
                    <a:pt x="56" y="52"/>
                    <a:pt x="56" y="53"/>
                    <a:pt x="56" y="53"/>
                  </a:cubicBezTo>
                  <a:cubicBezTo>
                    <a:pt x="56" y="53"/>
                    <a:pt x="56" y="54"/>
                    <a:pt x="56" y="54"/>
                  </a:cubicBezTo>
                  <a:cubicBezTo>
                    <a:pt x="56" y="55"/>
                    <a:pt x="56" y="55"/>
                    <a:pt x="56" y="55"/>
                  </a:cubicBezTo>
                  <a:cubicBezTo>
                    <a:pt x="56" y="55"/>
                    <a:pt x="56" y="55"/>
                    <a:pt x="56" y="55"/>
                  </a:cubicBezTo>
                  <a:cubicBezTo>
                    <a:pt x="55" y="57"/>
                    <a:pt x="55" y="57"/>
                    <a:pt x="55" y="57"/>
                  </a:cubicBezTo>
                  <a:cubicBezTo>
                    <a:pt x="53" y="57"/>
                    <a:pt x="53" y="57"/>
                    <a:pt x="53" y="57"/>
                  </a:cubicBezTo>
                  <a:cubicBezTo>
                    <a:pt x="53" y="57"/>
                    <a:pt x="53" y="57"/>
                    <a:pt x="53" y="57"/>
                  </a:cubicBezTo>
                  <a:cubicBezTo>
                    <a:pt x="52" y="57"/>
                    <a:pt x="52" y="56"/>
                    <a:pt x="51" y="56"/>
                  </a:cubicBezTo>
                  <a:cubicBezTo>
                    <a:pt x="51" y="56"/>
                    <a:pt x="51" y="56"/>
                    <a:pt x="51" y="56"/>
                  </a:cubicBezTo>
                  <a:cubicBezTo>
                    <a:pt x="51" y="57"/>
                    <a:pt x="51" y="57"/>
                    <a:pt x="51" y="57"/>
                  </a:cubicBezTo>
                  <a:cubicBezTo>
                    <a:pt x="51" y="57"/>
                    <a:pt x="51" y="57"/>
                    <a:pt x="51" y="57"/>
                  </a:cubicBezTo>
                  <a:cubicBezTo>
                    <a:pt x="51" y="58"/>
                    <a:pt x="51" y="58"/>
                    <a:pt x="52" y="59"/>
                  </a:cubicBezTo>
                  <a:cubicBezTo>
                    <a:pt x="53" y="60"/>
                    <a:pt x="53" y="60"/>
                    <a:pt x="53" y="60"/>
                  </a:cubicBezTo>
                  <a:cubicBezTo>
                    <a:pt x="53" y="60"/>
                    <a:pt x="53" y="60"/>
                    <a:pt x="53" y="60"/>
                  </a:cubicBezTo>
                  <a:cubicBezTo>
                    <a:pt x="54" y="61"/>
                    <a:pt x="54" y="61"/>
                    <a:pt x="54" y="61"/>
                  </a:cubicBezTo>
                  <a:cubicBezTo>
                    <a:pt x="61" y="63"/>
                    <a:pt x="63" y="65"/>
                    <a:pt x="62" y="68"/>
                  </a:cubicBezTo>
                  <a:cubicBezTo>
                    <a:pt x="62" y="68"/>
                    <a:pt x="62" y="69"/>
                    <a:pt x="61" y="69"/>
                  </a:cubicBezTo>
                  <a:cubicBezTo>
                    <a:pt x="61" y="70"/>
                    <a:pt x="61" y="70"/>
                    <a:pt x="61" y="70"/>
                  </a:cubicBezTo>
                  <a:cubicBezTo>
                    <a:pt x="61" y="70"/>
                    <a:pt x="60" y="71"/>
                    <a:pt x="60" y="72"/>
                  </a:cubicBezTo>
                  <a:cubicBezTo>
                    <a:pt x="61" y="72"/>
                    <a:pt x="61" y="72"/>
                    <a:pt x="61" y="72"/>
                  </a:cubicBezTo>
                  <a:cubicBezTo>
                    <a:pt x="61" y="72"/>
                    <a:pt x="62" y="72"/>
                    <a:pt x="62" y="72"/>
                  </a:cubicBezTo>
                  <a:cubicBezTo>
                    <a:pt x="65" y="71"/>
                    <a:pt x="65" y="71"/>
                    <a:pt x="65" y="71"/>
                  </a:cubicBezTo>
                  <a:cubicBezTo>
                    <a:pt x="66" y="71"/>
                    <a:pt x="66" y="71"/>
                    <a:pt x="67" y="71"/>
                  </a:cubicBezTo>
                  <a:cubicBezTo>
                    <a:pt x="70" y="71"/>
                    <a:pt x="72" y="71"/>
                    <a:pt x="75" y="72"/>
                  </a:cubicBezTo>
                  <a:cubicBezTo>
                    <a:pt x="78" y="73"/>
                    <a:pt x="78" y="73"/>
                    <a:pt x="78" y="73"/>
                  </a:cubicBezTo>
                  <a:cubicBezTo>
                    <a:pt x="81" y="74"/>
                    <a:pt x="83" y="75"/>
                    <a:pt x="86" y="75"/>
                  </a:cubicBezTo>
                  <a:cubicBezTo>
                    <a:pt x="90" y="75"/>
                    <a:pt x="92" y="75"/>
                    <a:pt x="95" y="73"/>
                  </a:cubicBezTo>
                  <a:cubicBezTo>
                    <a:pt x="96" y="73"/>
                    <a:pt x="96" y="73"/>
                    <a:pt x="97" y="73"/>
                  </a:cubicBezTo>
                  <a:cubicBezTo>
                    <a:pt x="98" y="73"/>
                    <a:pt x="100" y="74"/>
                    <a:pt x="103" y="74"/>
                  </a:cubicBezTo>
                  <a:cubicBezTo>
                    <a:pt x="103" y="75"/>
                    <a:pt x="104" y="75"/>
                    <a:pt x="105" y="75"/>
                  </a:cubicBezTo>
                  <a:cubicBezTo>
                    <a:pt x="106" y="75"/>
                    <a:pt x="107" y="75"/>
                    <a:pt x="109" y="76"/>
                  </a:cubicBezTo>
                  <a:cubicBezTo>
                    <a:pt x="109" y="77"/>
                    <a:pt x="109" y="77"/>
                    <a:pt x="109" y="77"/>
                  </a:cubicBezTo>
                  <a:cubicBezTo>
                    <a:pt x="109" y="76"/>
                    <a:pt x="109" y="76"/>
                    <a:pt x="109" y="76"/>
                  </a:cubicBezTo>
                  <a:cubicBezTo>
                    <a:pt x="111" y="76"/>
                    <a:pt x="114" y="77"/>
                    <a:pt x="116" y="77"/>
                  </a:cubicBezTo>
                  <a:cubicBezTo>
                    <a:pt x="116" y="77"/>
                    <a:pt x="117" y="77"/>
                    <a:pt x="117" y="77"/>
                  </a:cubicBezTo>
                  <a:cubicBezTo>
                    <a:pt x="118" y="77"/>
                    <a:pt x="118" y="77"/>
                    <a:pt x="118" y="77"/>
                  </a:cubicBezTo>
                  <a:cubicBezTo>
                    <a:pt x="122" y="77"/>
                    <a:pt x="126" y="73"/>
                    <a:pt x="130" y="71"/>
                  </a:cubicBezTo>
                  <a:cubicBezTo>
                    <a:pt x="131" y="70"/>
                    <a:pt x="131" y="70"/>
                    <a:pt x="131" y="70"/>
                  </a:cubicBezTo>
                  <a:cubicBezTo>
                    <a:pt x="131" y="70"/>
                    <a:pt x="132" y="69"/>
                    <a:pt x="133" y="69"/>
                  </a:cubicBezTo>
                  <a:cubicBezTo>
                    <a:pt x="133" y="69"/>
                    <a:pt x="134" y="68"/>
                    <a:pt x="134" y="68"/>
                  </a:cubicBezTo>
                  <a:cubicBezTo>
                    <a:pt x="136" y="67"/>
                    <a:pt x="138" y="65"/>
                    <a:pt x="141" y="65"/>
                  </a:cubicBezTo>
                  <a:cubicBezTo>
                    <a:pt x="156" y="63"/>
                    <a:pt x="156" y="63"/>
                    <a:pt x="156" y="63"/>
                  </a:cubicBezTo>
                  <a:cubicBezTo>
                    <a:pt x="157" y="63"/>
                    <a:pt x="158" y="63"/>
                    <a:pt x="158" y="63"/>
                  </a:cubicBezTo>
                  <a:cubicBezTo>
                    <a:pt x="159" y="63"/>
                    <a:pt x="159" y="63"/>
                    <a:pt x="159" y="63"/>
                  </a:cubicBezTo>
                  <a:cubicBezTo>
                    <a:pt x="160" y="63"/>
                    <a:pt x="160" y="63"/>
                    <a:pt x="160" y="63"/>
                  </a:cubicBezTo>
                  <a:cubicBezTo>
                    <a:pt x="161" y="63"/>
                    <a:pt x="162" y="63"/>
                    <a:pt x="163" y="64"/>
                  </a:cubicBezTo>
                  <a:cubicBezTo>
                    <a:pt x="165" y="65"/>
                    <a:pt x="165" y="65"/>
                    <a:pt x="165" y="65"/>
                  </a:cubicBezTo>
                  <a:cubicBezTo>
                    <a:pt x="167" y="65"/>
                    <a:pt x="169" y="66"/>
                    <a:pt x="171" y="67"/>
                  </a:cubicBezTo>
                  <a:cubicBezTo>
                    <a:pt x="191" y="73"/>
                    <a:pt x="191" y="73"/>
                    <a:pt x="191" y="73"/>
                  </a:cubicBezTo>
                  <a:cubicBezTo>
                    <a:pt x="191" y="69"/>
                    <a:pt x="191" y="63"/>
                    <a:pt x="193" y="59"/>
                  </a:cubicBezTo>
                  <a:cubicBezTo>
                    <a:pt x="194" y="57"/>
                    <a:pt x="197" y="55"/>
                    <a:pt x="198" y="53"/>
                  </a:cubicBezTo>
                  <a:cubicBezTo>
                    <a:pt x="197" y="53"/>
                    <a:pt x="197" y="53"/>
                    <a:pt x="196" y="53"/>
                  </a:cubicBezTo>
                  <a:cubicBezTo>
                    <a:pt x="195" y="53"/>
                    <a:pt x="194" y="52"/>
                    <a:pt x="195" y="51"/>
                  </a:cubicBezTo>
                  <a:cubicBezTo>
                    <a:pt x="195" y="52"/>
                    <a:pt x="195" y="52"/>
                    <a:pt x="195" y="52"/>
                  </a:cubicBezTo>
                  <a:cubicBezTo>
                    <a:pt x="197" y="51"/>
                    <a:pt x="199" y="50"/>
                    <a:pt x="200" y="49"/>
                  </a:cubicBezTo>
                  <a:cubicBezTo>
                    <a:pt x="200" y="49"/>
                    <a:pt x="200" y="49"/>
                    <a:pt x="199" y="49"/>
                  </a:cubicBezTo>
                  <a:cubicBezTo>
                    <a:pt x="199" y="49"/>
                    <a:pt x="199" y="49"/>
                    <a:pt x="198" y="49"/>
                  </a:cubicBezTo>
                  <a:cubicBezTo>
                    <a:pt x="198" y="49"/>
                    <a:pt x="198" y="49"/>
                    <a:pt x="197" y="49"/>
                  </a:cubicBezTo>
                  <a:cubicBezTo>
                    <a:pt x="197" y="49"/>
                    <a:pt x="196" y="49"/>
                    <a:pt x="196" y="49"/>
                  </a:cubicBezTo>
                  <a:cubicBezTo>
                    <a:pt x="196" y="49"/>
                    <a:pt x="200" y="40"/>
                    <a:pt x="202" y="40"/>
                  </a:cubicBezTo>
                  <a:cubicBezTo>
                    <a:pt x="202" y="40"/>
                    <a:pt x="203" y="40"/>
                    <a:pt x="203" y="41"/>
                  </a:cubicBezTo>
                  <a:cubicBezTo>
                    <a:pt x="204" y="43"/>
                    <a:pt x="199" y="43"/>
                    <a:pt x="204" y="44"/>
                  </a:cubicBezTo>
                  <a:cubicBezTo>
                    <a:pt x="206" y="45"/>
                    <a:pt x="208" y="45"/>
                    <a:pt x="210" y="45"/>
                  </a:cubicBezTo>
                  <a:cubicBezTo>
                    <a:pt x="212" y="45"/>
                    <a:pt x="214" y="45"/>
                    <a:pt x="215" y="43"/>
                  </a:cubicBezTo>
                  <a:cubicBezTo>
                    <a:pt x="216" y="43"/>
                    <a:pt x="216" y="41"/>
                    <a:pt x="216" y="41"/>
                  </a:cubicBezTo>
                  <a:cubicBezTo>
                    <a:pt x="216" y="39"/>
                    <a:pt x="216" y="37"/>
                    <a:pt x="216" y="35"/>
                  </a:cubicBezTo>
                  <a:cubicBezTo>
                    <a:pt x="215" y="36"/>
                    <a:pt x="215" y="36"/>
                    <a:pt x="215" y="36"/>
                  </a:cubicBezTo>
                  <a:cubicBezTo>
                    <a:pt x="215" y="34"/>
                    <a:pt x="215" y="34"/>
                    <a:pt x="215" y="34"/>
                  </a:cubicBezTo>
                  <a:cubicBezTo>
                    <a:pt x="214" y="33"/>
                    <a:pt x="214" y="32"/>
                    <a:pt x="213" y="32"/>
                  </a:cubicBezTo>
                  <a:cubicBezTo>
                    <a:pt x="213" y="31"/>
                    <a:pt x="211" y="31"/>
                    <a:pt x="211" y="31"/>
                  </a:cubicBezTo>
                  <a:cubicBezTo>
                    <a:pt x="208" y="31"/>
                    <a:pt x="204" y="32"/>
                    <a:pt x="203" y="33"/>
                  </a:cubicBezTo>
                  <a:cubicBezTo>
                    <a:pt x="202" y="34"/>
                    <a:pt x="202" y="34"/>
                    <a:pt x="202" y="34"/>
                  </a:cubicBezTo>
                  <a:cubicBezTo>
                    <a:pt x="201" y="34"/>
                    <a:pt x="200" y="34"/>
                    <a:pt x="199" y="34"/>
                  </a:cubicBezTo>
                  <a:cubicBezTo>
                    <a:pt x="197" y="36"/>
                    <a:pt x="197" y="36"/>
                    <a:pt x="197" y="36"/>
                  </a:cubicBezTo>
                  <a:cubicBezTo>
                    <a:pt x="196" y="36"/>
                    <a:pt x="196" y="36"/>
                    <a:pt x="195" y="37"/>
                  </a:cubicBezTo>
                  <a:cubicBezTo>
                    <a:pt x="195" y="37"/>
                    <a:pt x="195" y="37"/>
                    <a:pt x="195" y="37"/>
                  </a:cubicBezTo>
                  <a:cubicBezTo>
                    <a:pt x="193" y="37"/>
                    <a:pt x="193" y="36"/>
                    <a:pt x="192" y="36"/>
                  </a:cubicBezTo>
                  <a:cubicBezTo>
                    <a:pt x="190" y="36"/>
                    <a:pt x="189" y="35"/>
                    <a:pt x="187" y="34"/>
                  </a:cubicBezTo>
                  <a:cubicBezTo>
                    <a:pt x="186" y="33"/>
                    <a:pt x="184" y="32"/>
                    <a:pt x="183" y="32"/>
                  </a:cubicBezTo>
                  <a:cubicBezTo>
                    <a:pt x="183" y="31"/>
                    <a:pt x="183" y="31"/>
                    <a:pt x="183" y="31"/>
                  </a:cubicBezTo>
                  <a:cubicBezTo>
                    <a:pt x="182" y="30"/>
                    <a:pt x="181" y="30"/>
                    <a:pt x="181" y="30"/>
                  </a:cubicBezTo>
                  <a:cubicBezTo>
                    <a:pt x="177" y="28"/>
                    <a:pt x="177" y="28"/>
                    <a:pt x="177" y="28"/>
                  </a:cubicBezTo>
                  <a:cubicBezTo>
                    <a:pt x="178" y="27"/>
                    <a:pt x="178" y="27"/>
                    <a:pt x="178" y="27"/>
                  </a:cubicBezTo>
                  <a:cubicBezTo>
                    <a:pt x="178" y="27"/>
                    <a:pt x="178" y="27"/>
                    <a:pt x="178" y="27"/>
                  </a:cubicBezTo>
                  <a:cubicBezTo>
                    <a:pt x="177" y="27"/>
                    <a:pt x="177" y="27"/>
                    <a:pt x="177" y="27"/>
                  </a:cubicBezTo>
                  <a:cubicBezTo>
                    <a:pt x="177" y="26"/>
                    <a:pt x="177" y="25"/>
                    <a:pt x="176" y="25"/>
                  </a:cubicBezTo>
                  <a:cubicBezTo>
                    <a:pt x="176" y="24"/>
                    <a:pt x="176" y="23"/>
                    <a:pt x="176" y="22"/>
                  </a:cubicBezTo>
                  <a:cubicBezTo>
                    <a:pt x="176" y="20"/>
                    <a:pt x="176" y="18"/>
                    <a:pt x="176" y="16"/>
                  </a:cubicBezTo>
                  <a:cubicBezTo>
                    <a:pt x="176" y="15"/>
                    <a:pt x="176" y="14"/>
                    <a:pt x="176" y="14"/>
                  </a:cubicBezTo>
                  <a:cubicBezTo>
                    <a:pt x="177" y="8"/>
                    <a:pt x="178" y="5"/>
                    <a:pt x="17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8" name="Freeform 277">
              <a:extLst>
                <a:ext uri="{FF2B5EF4-FFF2-40B4-BE49-F238E27FC236}">
                  <a16:creationId xmlns:a16="http://schemas.microsoft.com/office/drawing/2014/main" id="{DF26F091-D461-43EB-930D-302CFCDAEDFB}"/>
                </a:ext>
              </a:extLst>
            </p:cNvPr>
            <p:cNvSpPr>
              <a:spLocks noEditPoints="1"/>
            </p:cNvSpPr>
            <p:nvPr/>
          </p:nvSpPr>
          <p:spPr bwMode="auto">
            <a:xfrm>
              <a:off x="4604" y="-27"/>
              <a:ext cx="229" cy="35"/>
            </a:xfrm>
            <a:custGeom>
              <a:avLst/>
              <a:gdLst>
                <a:gd name="T0" fmla="*/ 58 w 97"/>
                <a:gd name="T1" fmla="*/ 0 h 15"/>
                <a:gd name="T2" fmla="*/ 0 w 97"/>
                <a:gd name="T3" fmla="*/ 0 h 15"/>
                <a:gd name="T4" fmla="*/ 1 w 97"/>
                <a:gd name="T5" fmla="*/ 1 h 15"/>
                <a:gd name="T6" fmla="*/ 11 w 97"/>
                <a:gd name="T7" fmla="*/ 9 h 15"/>
                <a:gd name="T8" fmla="*/ 14 w 97"/>
                <a:gd name="T9" fmla="*/ 10 h 15"/>
                <a:gd name="T10" fmla="*/ 15 w 97"/>
                <a:gd name="T11" fmla="*/ 11 h 15"/>
                <a:gd name="T12" fmla="*/ 24 w 97"/>
                <a:gd name="T13" fmla="*/ 14 h 15"/>
                <a:gd name="T14" fmla="*/ 24 w 97"/>
                <a:gd name="T15" fmla="*/ 14 h 15"/>
                <a:gd name="T16" fmla="*/ 26 w 97"/>
                <a:gd name="T17" fmla="*/ 15 h 15"/>
                <a:gd name="T18" fmla="*/ 26 w 97"/>
                <a:gd name="T19" fmla="*/ 15 h 15"/>
                <a:gd name="T20" fmla="*/ 30 w 97"/>
                <a:gd name="T21" fmla="*/ 15 h 15"/>
                <a:gd name="T22" fmla="*/ 30 w 97"/>
                <a:gd name="T23" fmla="*/ 15 h 15"/>
                <a:gd name="T24" fmla="*/ 32 w 97"/>
                <a:gd name="T25" fmla="*/ 15 h 15"/>
                <a:gd name="T26" fmla="*/ 34 w 97"/>
                <a:gd name="T27" fmla="*/ 14 h 15"/>
                <a:gd name="T28" fmla="*/ 35 w 97"/>
                <a:gd name="T29" fmla="*/ 14 h 15"/>
                <a:gd name="T30" fmla="*/ 35 w 97"/>
                <a:gd name="T31" fmla="*/ 14 h 15"/>
                <a:gd name="T32" fmla="*/ 37 w 97"/>
                <a:gd name="T33" fmla="*/ 13 h 15"/>
                <a:gd name="T34" fmla="*/ 40 w 97"/>
                <a:gd name="T35" fmla="*/ 12 h 15"/>
                <a:gd name="T36" fmla="*/ 41 w 97"/>
                <a:gd name="T37" fmla="*/ 12 h 15"/>
                <a:gd name="T38" fmla="*/ 45 w 97"/>
                <a:gd name="T39" fmla="*/ 10 h 15"/>
                <a:gd name="T40" fmla="*/ 58 w 97"/>
                <a:gd name="T41" fmla="*/ 0 h 15"/>
                <a:gd name="T42" fmla="*/ 97 w 97"/>
                <a:gd name="T43" fmla="*/ 0 h 15"/>
                <a:gd name="T44" fmla="*/ 58 w 97"/>
                <a:gd name="T45" fmla="*/ 0 h 15"/>
                <a:gd name="T46" fmla="*/ 53 w 97"/>
                <a:gd name="T47" fmla="*/ 7 h 15"/>
                <a:gd name="T48" fmla="*/ 65 w 97"/>
                <a:gd name="T49" fmla="*/ 3 h 15"/>
                <a:gd name="T50" fmla="*/ 66 w 97"/>
                <a:gd name="T51" fmla="*/ 3 h 15"/>
                <a:gd name="T52" fmla="*/ 70 w 97"/>
                <a:gd name="T53" fmla="*/ 3 h 15"/>
                <a:gd name="T54" fmla="*/ 71 w 97"/>
                <a:gd name="T55" fmla="*/ 3 h 15"/>
                <a:gd name="T56" fmla="*/ 74 w 97"/>
                <a:gd name="T57" fmla="*/ 3 h 15"/>
                <a:gd name="T58" fmla="*/ 74 w 97"/>
                <a:gd name="T59" fmla="*/ 4 h 15"/>
                <a:gd name="T60" fmla="*/ 78 w 97"/>
                <a:gd name="T61" fmla="*/ 4 h 15"/>
                <a:gd name="T62" fmla="*/ 78 w 97"/>
                <a:gd name="T63" fmla="*/ 5 h 15"/>
                <a:gd name="T64" fmla="*/ 83 w 97"/>
                <a:gd name="T65" fmla="*/ 4 h 15"/>
                <a:gd name="T66" fmla="*/ 86 w 97"/>
                <a:gd name="T67" fmla="*/ 4 h 15"/>
                <a:gd name="T68" fmla="*/ 88 w 97"/>
                <a:gd name="T69" fmla="*/ 3 h 15"/>
                <a:gd name="T70" fmla="*/ 89 w 97"/>
                <a:gd name="T71" fmla="*/ 1 h 15"/>
                <a:gd name="T72" fmla="*/ 90 w 97"/>
                <a:gd name="T73" fmla="*/ 0 h 15"/>
                <a:gd name="T74" fmla="*/ 93 w 97"/>
                <a:gd name="T75" fmla="*/ 0 h 15"/>
                <a:gd name="T76" fmla="*/ 97 w 97"/>
                <a:gd name="T77" fmla="*/ 0 h 15"/>
                <a:gd name="T78" fmla="*/ 97 w 97"/>
                <a:gd name="T7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7" h="15">
                  <a:moveTo>
                    <a:pt x="58" y="0"/>
                  </a:moveTo>
                  <a:cubicBezTo>
                    <a:pt x="0" y="0"/>
                    <a:pt x="0" y="0"/>
                    <a:pt x="0" y="0"/>
                  </a:cubicBezTo>
                  <a:cubicBezTo>
                    <a:pt x="0" y="0"/>
                    <a:pt x="1" y="0"/>
                    <a:pt x="1" y="1"/>
                  </a:cubicBezTo>
                  <a:cubicBezTo>
                    <a:pt x="3" y="4"/>
                    <a:pt x="8" y="8"/>
                    <a:pt x="11" y="9"/>
                  </a:cubicBezTo>
                  <a:cubicBezTo>
                    <a:pt x="12" y="10"/>
                    <a:pt x="13" y="10"/>
                    <a:pt x="14" y="10"/>
                  </a:cubicBezTo>
                  <a:cubicBezTo>
                    <a:pt x="15" y="11"/>
                    <a:pt x="15" y="11"/>
                    <a:pt x="15" y="11"/>
                  </a:cubicBezTo>
                  <a:cubicBezTo>
                    <a:pt x="18" y="13"/>
                    <a:pt x="21" y="14"/>
                    <a:pt x="24" y="14"/>
                  </a:cubicBezTo>
                  <a:cubicBezTo>
                    <a:pt x="24" y="14"/>
                    <a:pt x="24" y="14"/>
                    <a:pt x="24" y="14"/>
                  </a:cubicBezTo>
                  <a:cubicBezTo>
                    <a:pt x="25" y="14"/>
                    <a:pt x="25" y="15"/>
                    <a:pt x="26" y="15"/>
                  </a:cubicBezTo>
                  <a:cubicBezTo>
                    <a:pt x="26" y="15"/>
                    <a:pt x="26" y="15"/>
                    <a:pt x="26" y="15"/>
                  </a:cubicBezTo>
                  <a:cubicBezTo>
                    <a:pt x="27" y="15"/>
                    <a:pt x="28" y="15"/>
                    <a:pt x="30" y="15"/>
                  </a:cubicBezTo>
                  <a:cubicBezTo>
                    <a:pt x="30" y="15"/>
                    <a:pt x="30" y="15"/>
                    <a:pt x="30" y="15"/>
                  </a:cubicBezTo>
                  <a:cubicBezTo>
                    <a:pt x="31" y="15"/>
                    <a:pt x="31" y="15"/>
                    <a:pt x="32" y="15"/>
                  </a:cubicBezTo>
                  <a:cubicBezTo>
                    <a:pt x="33" y="15"/>
                    <a:pt x="34" y="15"/>
                    <a:pt x="34" y="14"/>
                  </a:cubicBezTo>
                  <a:cubicBezTo>
                    <a:pt x="35" y="14"/>
                    <a:pt x="35" y="14"/>
                    <a:pt x="35" y="14"/>
                  </a:cubicBezTo>
                  <a:cubicBezTo>
                    <a:pt x="35" y="14"/>
                    <a:pt x="35" y="14"/>
                    <a:pt x="35" y="14"/>
                  </a:cubicBezTo>
                  <a:cubicBezTo>
                    <a:pt x="36" y="14"/>
                    <a:pt x="36" y="14"/>
                    <a:pt x="37" y="13"/>
                  </a:cubicBezTo>
                  <a:cubicBezTo>
                    <a:pt x="38" y="13"/>
                    <a:pt x="39" y="13"/>
                    <a:pt x="40" y="12"/>
                  </a:cubicBezTo>
                  <a:cubicBezTo>
                    <a:pt x="41" y="12"/>
                    <a:pt x="41" y="12"/>
                    <a:pt x="41" y="12"/>
                  </a:cubicBezTo>
                  <a:cubicBezTo>
                    <a:pt x="42" y="11"/>
                    <a:pt x="44" y="11"/>
                    <a:pt x="45" y="10"/>
                  </a:cubicBezTo>
                  <a:cubicBezTo>
                    <a:pt x="58" y="0"/>
                    <a:pt x="58" y="0"/>
                    <a:pt x="58" y="0"/>
                  </a:cubicBezTo>
                  <a:moveTo>
                    <a:pt x="97" y="0"/>
                  </a:moveTo>
                  <a:cubicBezTo>
                    <a:pt x="58" y="0"/>
                    <a:pt x="58" y="0"/>
                    <a:pt x="58" y="0"/>
                  </a:cubicBezTo>
                  <a:cubicBezTo>
                    <a:pt x="53" y="7"/>
                    <a:pt x="53" y="7"/>
                    <a:pt x="53" y="7"/>
                  </a:cubicBezTo>
                  <a:cubicBezTo>
                    <a:pt x="65" y="3"/>
                    <a:pt x="65" y="3"/>
                    <a:pt x="65" y="3"/>
                  </a:cubicBezTo>
                  <a:cubicBezTo>
                    <a:pt x="66" y="3"/>
                    <a:pt x="66" y="3"/>
                    <a:pt x="66" y="3"/>
                  </a:cubicBezTo>
                  <a:cubicBezTo>
                    <a:pt x="70" y="3"/>
                    <a:pt x="70" y="3"/>
                    <a:pt x="70" y="3"/>
                  </a:cubicBezTo>
                  <a:cubicBezTo>
                    <a:pt x="71" y="3"/>
                    <a:pt x="71" y="3"/>
                    <a:pt x="71" y="3"/>
                  </a:cubicBezTo>
                  <a:cubicBezTo>
                    <a:pt x="72" y="3"/>
                    <a:pt x="73" y="3"/>
                    <a:pt x="74" y="3"/>
                  </a:cubicBezTo>
                  <a:cubicBezTo>
                    <a:pt x="74" y="4"/>
                    <a:pt x="74" y="4"/>
                    <a:pt x="74" y="4"/>
                  </a:cubicBezTo>
                  <a:cubicBezTo>
                    <a:pt x="75" y="4"/>
                    <a:pt x="77" y="4"/>
                    <a:pt x="78" y="4"/>
                  </a:cubicBezTo>
                  <a:cubicBezTo>
                    <a:pt x="78" y="5"/>
                    <a:pt x="78" y="5"/>
                    <a:pt x="78" y="5"/>
                  </a:cubicBezTo>
                  <a:cubicBezTo>
                    <a:pt x="83" y="4"/>
                    <a:pt x="83" y="4"/>
                    <a:pt x="83" y="4"/>
                  </a:cubicBezTo>
                  <a:cubicBezTo>
                    <a:pt x="85" y="4"/>
                    <a:pt x="86" y="4"/>
                    <a:pt x="86" y="4"/>
                  </a:cubicBezTo>
                  <a:cubicBezTo>
                    <a:pt x="86" y="4"/>
                    <a:pt x="87" y="3"/>
                    <a:pt x="88" y="3"/>
                  </a:cubicBezTo>
                  <a:cubicBezTo>
                    <a:pt x="88" y="2"/>
                    <a:pt x="88" y="1"/>
                    <a:pt x="89" y="1"/>
                  </a:cubicBezTo>
                  <a:cubicBezTo>
                    <a:pt x="90" y="0"/>
                    <a:pt x="90" y="0"/>
                    <a:pt x="90" y="0"/>
                  </a:cubicBezTo>
                  <a:cubicBezTo>
                    <a:pt x="91" y="0"/>
                    <a:pt x="92" y="0"/>
                    <a:pt x="93" y="0"/>
                  </a:cubicBezTo>
                  <a:cubicBezTo>
                    <a:pt x="94" y="0"/>
                    <a:pt x="96" y="0"/>
                    <a:pt x="97" y="0"/>
                  </a:cubicBezTo>
                  <a:cubicBezTo>
                    <a:pt x="97" y="0"/>
                    <a:pt x="97" y="0"/>
                    <a:pt x="9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9" name="Freeform 278">
              <a:extLst>
                <a:ext uri="{FF2B5EF4-FFF2-40B4-BE49-F238E27FC236}">
                  <a16:creationId xmlns:a16="http://schemas.microsoft.com/office/drawing/2014/main" id="{711AC03D-BBEC-4173-B874-1D54DFD4BCE2}"/>
                </a:ext>
              </a:extLst>
            </p:cNvPr>
            <p:cNvSpPr>
              <a:spLocks/>
            </p:cNvSpPr>
            <p:nvPr/>
          </p:nvSpPr>
          <p:spPr bwMode="auto">
            <a:xfrm>
              <a:off x="5230" y="-27"/>
              <a:ext cx="35" cy="54"/>
            </a:xfrm>
            <a:custGeom>
              <a:avLst/>
              <a:gdLst>
                <a:gd name="T0" fmla="*/ 15 w 15"/>
                <a:gd name="T1" fmla="*/ 0 h 23"/>
                <a:gd name="T2" fmla="*/ 3 w 15"/>
                <a:gd name="T3" fmla="*/ 0 h 23"/>
                <a:gd name="T4" fmla="*/ 3 w 15"/>
                <a:gd name="T5" fmla="*/ 1 h 23"/>
                <a:gd name="T6" fmla="*/ 0 w 15"/>
                <a:gd name="T7" fmla="*/ 14 h 23"/>
                <a:gd name="T8" fmla="*/ 0 w 15"/>
                <a:gd name="T9" fmla="*/ 16 h 23"/>
                <a:gd name="T10" fmla="*/ 0 w 15"/>
                <a:gd name="T11" fmla="*/ 17 h 23"/>
                <a:gd name="T12" fmla="*/ 0 w 15"/>
                <a:gd name="T13" fmla="*/ 21 h 23"/>
                <a:gd name="T14" fmla="*/ 0 w 15"/>
                <a:gd name="T15" fmla="*/ 23 h 23"/>
                <a:gd name="T16" fmla="*/ 0 w 15"/>
                <a:gd name="T17" fmla="*/ 23 h 23"/>
                <a:gd name="T18" fmla="*/ 2 w 15"/>
                <a:gd name="T19" fmla="*/ 22 h 23"/>
                <a:gd name="T20" fmla="*/ 2 w 15"/>
                <a:gd name="T21" fmla="*/ 22 h 23"/>
                <a:gd name="T22" fmla="*/ 4 w 15"/>
                <a:gd name="T23" fmla="*/ 21 h 23"/>
                <a:gd name="T24" fmla="*/ 5 w 15"/>
                <a:gd name="T25" fmla="*/ 18 h 23"/>
                <a:gd name="T26" fmla="*/ 8 w 15"/>
                <a:gd name="T27" fmla="*/ 15 h 23"/>
                <a:gd name="T28" fmla="*/ 8 w 15"/>
                <a:gd name="T29" fmla="*/ 15 h 23"/>
                <a:gd name="T30" fmla="*/ 9 w 15"/>
                <a:gd name="T31" fmla="*/ 14 h 23"/>
                <a:gd name="T32" fmla="*/ 10 w 15"/>
                <a:gd name="T33" fmla="*/ 14 h 23"/>
                <a:gd name="T34" fmla="*/ 10 w 15"/>
                <a:gd name="T35" fmla="*/ 13 h 23"/>
                <a:gd name="T36" fmla="*/ 11 w 15"/>
                <a:gd name="T37" fmla="*/ 11 h 23"/>
                <a:gd name="T38" fmla="*/ 14 w 15"/>
                <a:gd name="T39" fmla="*/ 9 h 23"/>
                <a:gd name="T40" fmla="*/ 14 w 15"/>
                <a:gd name="T41" fmla="*/ 9 h 23"/>
                <a:gd name="T42" fmla="*/ 14 w 15"/>
                <a:gd name="T43" fmla="*/ 8 h 23"/>
                <a:gd name="T44" fmla="*/ 15 w 15"/>
                <a:gd name="T45" fmla="*/ 8 h 23"/>
                <a:gd name="T46" fmla="*/ 15 w 15"/>
                <a:gd name="T47" fmla="*/ 6 h 23"/>
                <a:gd name="T48" fmla="*/ 15 w 15"/>
                <a:gd name="T49" fmla="*/ 5 h 23"/>
                <a:gd name="T50" fmla="*/ 15 w 15"/>
                <a:gd name="T51" fmla="*/ 5 h 23"/>
                <a:gd name="T52" fmla="*/ 15 w 15"/>
                <a:gd name="T53" fmla="*/ 4 h 23"/>
                <a:gd name="T54" fmla="*/ 15 w 15"/>
                <a:gd name="T55" fmla="*/ 0 h 23"/>
                <a:gd name="T56" fmla="*/ 15 w 15"/>
                <a:gd name="T5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 h="23">
                  <a:moveTo>
                    <a:pt x="15" y="0"/>
                  </a:moveTo>
                  <a:cubicBezTo>
                    <a:pt x="3" y="0"/>
                    <a:pt x="3" y="0"/>
                    <a:pt x="3" y="0"/>
                  </a:cubicBezTo>
                  <a:cubicBezTo>
                    <a:pt x="3" y="0"/>
                    <a:pt x="3" y="1"/>
                    <a:pt x="3" y="1"/>
                  </a:cubicBezTo>
                  <a:cubicBezTo>
                    <a:pt x="1" y="6"/>
                    <a:pt x="0" y="9"/>
                    <a:pt x="0" y="14"/>
                  </a:cubicBezTo>
                  <a:cubicBezTo>
                    <a:pt x="0" y="14"/>
                    <a:pt x="0" y="15"/>
                    <a:pt x="0" y="16"/>
                  </a:cubicBezTo>
                  <a:cubicBezTo>
                    <a:pt x="0" y="17"/>
                    <a:pt x="0" y="17"/>
                    <a:pt x="0" y="17"/>
                  </a:cubicBezTo>
                  <a:cubicBezTo>
                    <a:pt x="0" y="18"/>
                    <a:pt x="0" y="20"/>
                    <a:pt x="0" y="21"/>
                  </a:cubicBezTo>
                  <a:cubicBezTo>
                    <a:pt x="0" y="22"/>
                    <a:pt x="0" y="23"/>
                    <a:pt x="0" y="23"/>
                  </a:cubicBezTo>
                  <a:cubicBezTo>
                    <a:pt x="0" y="23"/>
                    <a:pt x="0" y="23"/>
                    <a:pt x="0" y="23"/>
                  </a:cubicBezTo>
                  <a:cubicBezTo>
                    <a:pt x="1" y="23"/>
                    <a:pt x="1" y="23"/>
                    <a:pt x="2" y="22"/>
                  </a:cubicBezTo>
                  <a:cubicBezTo>
                    <a:pt x="2" y="22"/>
                    <a:pt x="2" y="22"/>
                    <a:pt x="2" y="22"/>
                  </a:cubicBezTo>
                  <a:cubicBezTo>
                    <a:pt x="3" y="22"/>
                    <a:pt x="3" y="21"/>
                    <a:pt x="4" y="21"/>
                  </a:cubicBezTo>
                  <a:cubicBezTo>
                    <a:pt x="4" y="20"/>
                    <a:pt x="4" y="19"/>
                    <a:pt x="5" y="18"/>
                  </a:cubicBezTo>
                  <a:cubicBezTo>
                    <a:pt x="6" y="17"/>
                    <a:pt x="7" y="16"/>
                    <a:pt x="8" y="15"/>
                  </a:cubicBezTo>
                  <a:cubicBezTo>
                    <a:pt x="8" y="15"/>
                    <a:pt x="8" y="15"/>
                    <a:pt x="8" y="15"/>
                  </a:cubicBezTo>
                  <a:cubicBezTo>
                    <a:pt x="9" y="14"/>
                    <a:pt x="9" y="14"/>
                    <a:pt x="9" y="14"/>
                  </a:cubicBezTo>
                  <a:cubicBezTo>
                    <a:pt x="10" y="14"/>
                    <a:pt x="10" y="14"/>
                    <a:pt x="10" y="14"/>
                  </a:cubicBezTo>
                  <a:cubicBezTo>
                    <a:pt x="10" y="13"/>
                    <a:pt x="10" y="13"/>
                    <a:pt x="10" y="13"/>
                  </a:cubicBezTo>
                  <a:cubicBezTo>
                    <a:pt x="10" y="13"/>
                    <a:pt x="11" y="12"/>
                    <a:pt x="11" y="11"/>
                  </a:cubicBezTo>
                  <a:cubicBezTo>
                    <a:pt x="12" y="10"/>
                    <a:pt x="12" y="9"/>
                    <a:pt x="14" y="9"/>
                  </a:cubicBezTo>
                  <a:cubicBezTo>
                    <a:pt x="14" y="9"/>
                    <a:pt x="14" y="9"/>
                    <a:pt x="14" y="9"/>
                  </a:cubicBezTo>
                  <a:cubicBezTo>
                    <a:pt x="14" y="8"/>
                    <a:pt x="14" y="8"/>
                    <a:pt x="14" y="8"/>
                  </a:cubicBezTo>
                  <a:cubicBezTo>
                    <a:pt x="14" y="8"/>
                    <a:pt x="14" y="8"/>
                    <a:pt x="15" y="8"/>
                  </a:cubicBezTo>
                  <a:cubicBezTo>
                    <a:pt x="15" y="6"/>
                    <a:pt x="15" y="6"/>
                    <a:pt x="15" y="6"/>
                  </a:cubicBezTo>
                  <a:cubicBezTo>
                    <a:pt x="15" y="6"/>
                    <a:pt x="15" y="6"/>
                    <a:pt x="15" y="5"/>
                  </a:cubicBezTo>
                  <a:cubicBezTo>
                    <a:pt x="15" y="5"/>
                    <a:pt x="15" y="5"/>
                    <a:pt x="15" y="5"/>
                  </a:cubicBezTo>
                  <a:cubicBezTo>
                    <a:pt x="15" y="4"/>
                    <a:pt x="15" y="4"/>
                    <a:pt x="15" y="4"/>
                  </a:cubicBezTo>
                  <a:cubicBezTo>
                    <a:pt x="15" y="2"/>
                    <a:pt x="15" y="1"/>
                    <a:pt x="15" y="0"/>
                  </a:cubicBezTo>
                  <a:cubicBezTo>
                    <a:pt x="15" y="0"/>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0" name="Freeform 279">
              <a:extLst>
                <a:ext uri="{FF2B5EF4-FFF2-40B4-BE49-F238E27FC236}">
                  <a16:creationId xmlns:a16="http://schemas.microsoft.com/office/drawing/2014/main" id="{B2FBA299-D113-46F5-A481-5AE66EFA5641}"/>
                </a:ext>
              </a:extLst>
            </p:cNvPr>
            <p:cNvSpPr>
              <a:spLocks/>
            </p:cNvSpPr>
            <p:nvPr/>
          </p:nvSpPr>
          <p:spPr bwMode="auto">
            <a:xfrm>
              <a:off x="6452" y="-27"/>
              <a:ext cx="1226" cy="383"/>
            </a:xfrm>
            <a:custGeom>
              <a:avLst/>
              <a:gdLst>
                <a:gd name="T0" fmla="*/ 68 w 519"/>
                <a:gd name="T1" fmla="*/ 26 h 162"/>
                <a:gd name="T2" fmla="*/ 90 w 519"/>
                <a:gd name="T3" fmla="*/ 25 h 162"/>
                <a:gd name="T4" fmla="*/ 93 w 519"/>
                <a:gd name="T5" fmla="*/ 40 h 162"/>
                <a:gd name="T6" fmla="*/ 85 w 519"/>
                <a:gd name="T7" fmla="*/ 42 h 162"/>
                <a:gd name="T8" fmla="*/ 79 w 519"/>
                <a:gd name="T9" fmla="*/ 42 h 162"/>
                <a:gd name="T10" fmla="*/ 78 w 519"/>
                <a:gd name="T11" fmla="*/ 34 h 162"/>
                <a:gd name="T12" fmla="*/ 36 w 519"/>
                <a:gd name="T13" fmla="*/ 28 h 162"/>
                <a:gd name="T14" fmla="*/ 24 w 519"/>
                <a:gd name="T15" fmla="*/ 39 h 162"/>
                <a:gd name="T16" fmla="*/ 27 w 519"/>
                <a:gd name="T17" fmla="*/ 52 h 162"/>
                <a:gd name="T18" fmla="*/ 32 w 519"/>
                <a:gd name="T19" fmla="*/ 54 h 162"/>
                <a:gd name="T20" fmla="*/ 27 w 519"/>
                <a:gd name="T21" fmla="*/ 53 h 162"/>
                <a:gd name="T22" fmla="*/ 11 w 519"/>
                <a:gd name="T23" fmla="*/ 51 h 162"/>
                <a:gd name="T24" fmla="*/ 6 w 519"/>
                <a:gd name="T25" fmla="*/ 61 h 162"/>
                <a:gd name="T26" fmla="*/ 25 w 519"/>
                <a:gd name="T27" fmla="*/ 93 h 162"/>
                <a:gd name="T28" fmla="*/ 41 w 519"/>
                <a:gd name="T29" fmla="*/ 102 h 162"/>
                <a:gd name="T30" fmla="*/ 48 w 519"/>
                <a:gd name="T31" fmla="*/ 102 h 162"/>
                <a:gd name="T32" fmla="*/ 50 w 519"/>
                <a:gd name="T33" fmla="*/ 103 h 162"/>
                <a:gd name="T34" fmla="*/ 60 w 519"/>
                <a:gd name="T35" fmla="*/ 106 h 162"/>
                <a:gd name="T36" fmla="*/ 53 w 519"/>
                <a:gd name="T37" fmla="*/ 130 h 162"/>
                <a:gd name="T38" fmla="*/ 86 w 519"/>
                <a:gd name="T39" fmla="*/ 114 h 162"/>
                <a:gd name="T40" fmla="*/ 107 w 519"/>
                <a:gd name="T41" fmla="*/ 123 h 162"/>
                <a:gd name="T42" fmla="*/ 120 w 519"/>
                <a:gd name="T43" fmla="*/ 137 h 162"/>
                <a:gd name="T44" fmla="*/ 134 w 519"/>
                <a:gd name="T45" fmla="*/ 142 h 162"/>
                <a:gd name="T46" fmla="*/ 144 w 519"/>
                <a:gd name="T47" fmla="*/ 35 h 162"/>
                <a:gd name="T48" fmla="*/ 195 w 519"/>
                <a:gd name="T49" fmla="*/ 21 h 162"/>
                <a:gd name="T50" fmla="*/ 205 w 519"/>
                <a:gd name="T51" fmla="*/ 14 h 162"/>
                <a:gd name="T52" fmla="*/ 207 w 519"/>
                <a:gd name="T53" fmla="*/ 14 h 162"/>
                <a:gd name="T54" fmla="*/ 210 w 519"/>
                <a:gd name="T55" fmla="*/ 14 h 162"/>
                <a:gd name="T56" fmla="*/ 213 w 519"/>
                <a:gd name="T57" fmla="*/ 16 h 162"/>
                <a:gd name="T58" fmla="*/ 217 w 519"/>
                <a:gd name="T59" fmla="*/ 22 h 162"/>
                <a:gd name="T60" fmla="*/ 224 w 519"/>
                <a:gd name="T61" fmla="*/ 14 h 162"/>
                <a:gd name="T62" fmla="*/ 221 w 519"/>
                <a:gd name="T63" fmla="*/ 3 h 162"/>
                <a:gd name="T64" fmla="*/ 225 w 519"/>
                <a:gd name="T65" fmla="*/ 11 h 162"/>
                <a:gd name="T66" fmla="*/ 233 w 519"/>
                <a:gd name="T67" fmla="*/ 10 h 162"/>
                <a:gd name="T68" fmla="*/ 243 w 519"/>
                <a:gd name="T69" fmla="*/ 14 h 162"/>
                <a:gd name="T70" fmla="*/ 228 w 519"/>
                <a:gd name="T71" fmla="*/ 15 h 162"/>
                <a:gd name="T72" fmla="*/ 228 w 519"/>
                <a:gd name="T73" fmla="*/ 17 h 162"/>
                <a:gd name="T74" fmla="*/ 229 w 519"/>
                <a:gd name="T75" fmla="*/ 25 h 162"/>
                <a:gd name="T76" fmla="*/ 239 w 519"/>
                <a:gd name="T77" fmla="*/ 44 h 162"/>
                <a:gd name="T78" fmla="*/ 277 w 519"/>
                <a:gd name="T79" fmla="*/ 78 h 162"/>
                <a:gd name="T80" fmla="*/ 292 w 519"/>
                <a:gd name="T81" fmla="*/ 79 h 162"/>
                <a:gd name="T82" fmla="*/ 328 w 519"/>
                <a:gd name="T83" fmla="*/ 78 h 162"/>
                <a:gd name="T84" fmla="*/ 347 w 519"/>
                <a:gd name="T85" fmla="*/ 74 h 162"/>
                <a:gd name="T86" fmla="*/ 358 w 519"/>
                <a:gd name="T87" fmla="*/ 83 h 162"/>
                <a:gd name="T88" fmla="*/ 371 w 519"/>
                <a:gd name="T89" fmla="*/ 97 h 162"/>
                <a:gd name="T90" fmla="*/ 378 w 519"/>
                <a:gd name="T91" fmla="*/ 106 h 162"/>
                <a:gd name="T92" fmla="*/ 376 w 519"/>
                <a:gd name="T93" fmla="*/ 121 h 162"/>
                <a:gd name="T94" fmla="*/ 379 w 519"/>
                <a:gd name="T95" fmla="*/ 123 h 162"/>
                <a:gd name="T96" fmla="*/ 388 w 519"/>
                <a:gd name="T97" fmla="*/ 130 h 162"/>
                <a:gd name="T98" fmla="*/ 392 w 519"/>
                <a:gd name="T99" fmla="*/ 147 h 162"/>
                <a:gd name="T100" fmla="*/ 417 w 519"/>
                <a:gd name="T101" fmla="*/ 146 h 162"/>
                <a:gd name="T102" fmla="*/ 421 w 519"/>
                <a:gd name="T103" fmla="*/ 148 h 162"/>
                <a:gd name="T104" fmla="*/ 424 w 519"/>
                <a:gd name="T105" fmla="*/ 159 h 162"/>
                <a:gd name="T106" fmla="*/ 438 w 519"/>
                <a:gd name="T107" fmla="*/ 148 h 162"/>
                <a:gd name="T108" fmla="*/ 446 w 519"/>
                <a:gd name="T109" fmla="*/ 142 h 162"/>
                <a:gd name="T110" fmla="*/ 485 w 519"/>
                <a:gd name="T111" fmla="*/ 118 h 162"/>
                <a:gd name="T112" fmla="*/ 492 w 519"/>
                <a:gd name="T113" fmla="*/ 107 h 162"/>
                <a:gd name="T114" fmla="*/ 503 w 519"/>
                <a:gd name="T115" fmla="*/ 102 h 162"/>
                <a:gd name="T116" fmla="*/ 519 w 519"/>
                <a:gd name="T117"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9" h="162">
                  <a:moveTo>
                    <a:pt x="519" y="0"/>
                  </a:moveTo>
                  <a:cubicBezTo>
                    <a:pt x="72" y="0"/>
                    <a:pt x="72" y="0"/>
                    <a:pt x="72" y="0"/>
                  </a:cubicBezTo>
                  <a:cubicBezTo>
                    <a:pt x="73" y="2"/>
                    <a:pt x="73" y="4"/>
                    <a:pt x="72" y="7"/>
                  </a:cubicBezTo>
                  <a:cubicBezTo>
                    <a:pt x="72" y="12"/>
                    <a:pt x="68" y="16"/>
                    <a:pt x="67" y="21"/>
                  </a:cubicBezTo>
                  <a:cubicBezTo>
                    <a:pt x="67" y="23"/>
                    <a:pt x="67" y="24"/>
                    <a:pt x="68" y="26"/>
                  </a:cubicBezTo>
                  <a:cubicBezTo>
                    <a:pt x="70" y="29"/>
                    <a:pt x="70" y="28"/>
                    <a:pt x="73" y="29"/>
                  </a:cubicBezTo>
                  <a:cubicBezTo>
                    <a:pt x="75" y="30"/>
                    <a:pt x="77" y="31"/>
                    <a:pt x="80" y="31"/>
                  </a:cubicBezTo>
                  <a:cubicBezTo>
                    <a:pt x="80" y="31"/>
                    <a:pt x="81" y="31"/>
                    <a:pt x="82" y="31"/>
                  </a:cubicBezTo>
                  <a:cubicBezTo>
                    <a:pt x="84" y="30"/>
                    <a:pt x="87" y="30"/>
                    <a:pt x="88" y="28"/>
                  </a:cubicBezTo>
                  <a:cubicBezTo>
                    <a:pt x="89" y="27"/>
                    <a:pt x="89" y="25"/>
                    <a:pt x="90" y="25"/>
                  </a:cubicBezTo>
                  <a:cubicBezTo>
                    <a:pt x="91" y="25"/>
                    <a:pt x="91" y="25"/>
                    <a:pt x="91" y="25"/>
                  </a:cubicBezTo>
                  <a:cubicBezTo>
                    <a:pt x="97" y="25"/>
                    <a:pt x="94" y="32"/>
                    <a:pt x="96" y="35"/>
                  </a:cubicBezTo>
                  <a:cubicBezTo>
                    <a:pt x="96" y="36"/>
                    <a:pt x="98" y="37"/>
                    <a:pt x="98" y="38"/>
                  </a:cubicBezTo>
                  <a:cubicBezTo>
                    <a:pt x="98" y="40"/>
                    <a:pt x="95" y="40"/>
                    <a:pt x="93" y="40"/>
                  </a:cubicBezTo>
                  <a:cubicBezTo>
                    <a:pt x="93" y="40"/>
                    <a:pt x="93" y="40"/>
                    <a:pt x="93" y="40"/>
                  </a:cubicBezTo>
                  <a:cubicBezTo>
                    <a:pt x="92" y="40"/>
                    <a:pt x="92" y="40"/>
                    <a:pt x="92" y="40"/>
                  </a:cubicBezTo>
                  <a:cubicBezTo>
                    <a:pt x="91" y="40"/>
                    <a:pt x="90" y="41"/>
                    <a:pt x="89" y="41"/>
                  </a:cubicBezTo>
                  <a:cubicBezTo>
                    <a:pt x="88" y="42"/>
                    <a:pt x="88" y="42"/>
                    <a:pt x="87" y="42"/>
                  </a:cubicBezTo>
                  <a:cubicBezTo>
                    <a:pt x="87" y="42"/>
                    <a:pt x="86" y="42"/>
                    <a:pt x="86" y="42"/>
                  </a:cubicBezTo>
                  <a:cubicBezTo>
                    <a:pt x="86" y="42"/>
                    <a:pt x="86" y="42"/>
                    <a:pt x="85" y="42"/>
                  </a:cubicBezTo>
                  <a:cubicBezTo>
                    <a:pt x="85" y="42"/>
                    <a:pt x="84" y="42"/>
                    <a:pt x="84" y="42"/>
                  </a:cubicBezTo>
                  <a:cubicBezTo>
                    <a:pt x="80" y="42"/>
                    <a:pt x="78" y="46"/>
                    <a:pt x="77" y="49"/>
                  </a:cubicBezTo>
                  <a:cubicBezTo>
                    <a:pt x="76" y="50"/>
                    <a:pt x="73" y="57"/>
                    <a:pt x="72" y="57"/>
                  </a:cubicBezTo>
                  <a:cubicBezTo>
                    <a:pt x="70" y="57"/>
                    <a:pt x="71" y="54"/>
                    <a:pt x="71" y="53"/>
                  </a:cubicBezTo>
                  <a:cubicBezTo>
                    <a:pt x="74" y="49"/>
                    <a:pt x="76" y="45"/>
                    <a:pt x="79" y="42"/>
                  </a:cubicBezTo>
                  <a:cubicBezTo>
                    <a:pt x="82" y="39"/>
                    <a:pt x="84" y="40"/>
                    <a:pt x="87" y="39"/>
                  </a:cubicBezTo>
                  <a:cubicBezTo>
                    <a:pt x="91" y="38"/>
                    <a:pt x="91" y="33"/>
                    <a:pt x="88" y="33"/>
                  </a:cubicBezTo>
                  <a:cubicBezTo>
                    <a:pt x="87" y="33"/>
                    <a:pt x="87" y="33"/>
                    <a:pt x="86" y="33"/>
                  </a:cubicBezTo>
                  <a:cubicBezTo>
                    <a:pt x="84" y="34"/>
                    <a:pt x="83" y="34"/>
                    <a:pt x="82" y="34"/>
                  </a:cubicBezTo>
                  <a:cubicBezTo>
                    <a:pt x="81" y="34"/>
                    <a:pt x="80" y="34"/>
                    <a:pt x="78" y="34"/>
                  </a:cubicBezTo>
                  <a:cubicBezTo>
                    <a:pt x="75" y="33"/>
                    <a:pt x="71" y="33"/>
                    <a:pt x="68" y="33"/>
                  </a:cubicBezTo>
                  <a:cubicBezTo>
                    <a:pt x="64" y="33"/>
                    <a:pt x="60" y="32"/>
                    <a:pt x="55" y="31"/>
                  </a:cubicBezTo>
                  <a:cubicBezTo>
                    <a:pt x="50" y="30"/>
                    <a:pt x="44" y="31"/>
                    <a:pt x="39" y="29"/>
                  </a:cubicBezTo>
                  <a:cubicBezTo>
                    <a:pt x="38" y="28"/>
                    <a:pt x="38" y="27"/>
                    <a:pt x="37" y="27"/>
                  </a:cubicBezTo>
                  <a:cubicBezTo>
                    <a:pt x="37" y="27"/>
                    <a:pt x="36" y="28"/>
                    <a:pt x="36" y="28"/>
                  </a:cubicBezTo>
                  <a:cubicBezTo>
                    <a:pt x="36" y="29"/>
                    <a:pt x="34" y="30"/>
                    <a:pt x="33" y="31"/>
                  </a:cubicBezTo>
                  <a:cubicBezTo>
                    <a:pt x="33" y="31"/>
                    <a:pt x="33" y="31"/>
                    <a:pt x="33" y="31"/>
                  </a:cubicBezTo>
                  <a:cubicBezTo>
                    <a:pt x="31" y="31"/>
                    <a:pt x="29" y="29"/>
                    <a:pt x="29" y="29"/>
                  </a:cubicBezTo>
                  <a:cubicBezTo>
                    <a:pt x="29" y="29"/>
                    <a:pt x="27" y="32"/>
                    <a:pt x="27" y="33"/>
                  </a:cubicBezTo>
                  <a:cubicBezTo>
                    <a:pt x="25" y="34"/>
                    <a:pt x="25" y="38"/>
                    <a:pt x="24" y="39"/>
                  </a:cubicBezTo>
                  <a:cubicBezTo>
                    <a:pt x="21" y="40"/>
                    <a:pt x="21" y="40"/>
                    <a:pt x="21" y="40"/>
                  </a:cubicBezTo>
                  <a:cubicBezTo>
                    <a:pt x="20" y="41"/>
                    <a:pt x="17" y="40"/>
                    <a:pt x="19" y="42"/>
                  </a:cubicBezTo>
                  <a:cubicBezTo>
                    <a:pt x="21" y="45"/>
                    <a:pt x="23" y="46"/>
                    <a:pt x="25" y="49"/>
                  </a:cubicBezTo>
                  <a:cubicBezTo>
                    <a:pt x="25" y="49"/>
                    <a:pt x="26" y="51"/>
                    <a:pt x="26" y="52"/>
                  </a:cubicBezTo>
                  <a:cubicBezTo>
                    <a:pt x="27" y="52"/>
                    <a:pt x="27" y="52"/>
                    <a:pt x="27" y="52"/>
                  </a:cubicBezTo>
                  <a:cubicBezTo>
                    <a:pt x="27" y="52"/>
                    <a:pt x="27" y="52"/>
                    <a:pt x="28" y="52"/>
                  </a:cubicBezTo>
                  <a:cubicBezTo>
                    <a:pt x="28" y="52"/>
                    <a:pt x="28" y="52"/>
                    <a:pt x="28" y="52"/>
                  </a:cubicBezTo>
                  <a:cubicBezTo>
                    <a:pt x="28" y="52"/>
                    <a:pt x="29" y="52"/>
                    <a:pt x="29" y="52"/>
                  </a:cubicBezTo>
                  <a:cubicBezTo>
                    <a:pt x="29" y="52"/>
                    <a:pt x="32" y="52"/>
                    <a:pt x="32" y="53"/>
                  </a:cubicBezTo>
                  <a:cubicBezTo>
                    <a:pt x="32" y="54"/>
                    <a:pt x="32" y="54"/>
                    <a:pt x="32" y="54"/>
                  </a:cubicBezTo>
                  <a:cubicBezTo>
                    <a:pt x="32" y="54"/>
                    <a:pt x="32" y="54"/>
                    <a:pt x="32" y="54"/>
                  </a:cubicBezTo>
                  <a:cubicBezTo>
                    <a:pt x="32" y="54"/>
                    <a:pt x="31" y="54"/>
                    <a:pt x="31" y="54"/>
                  </a:cubicBezTo>
                  <a:cubicBezTo>
                    <a:pt x="30" y="54"/>
                    <a:pt x="30" y="54"/>
                    <a:pt x="29" y="54"/>
                  </a:cubicBezTo>
                  <a:cubicBezTo>
                    <a:pt x="28" y="54"/>
                    <a:pt x="28" y="54"/>
                    <a:pt x="28" y="54"/>
                  </a:cubicBezTo>
                  <a:cubicBezTo>
                    <a:pt x="27" y="53"/>
                    <a:pt x="27" y="53"/>
                    <a:pt x="27" y="53"/>
                  </a:cubicBezTo>
                  <a:cubicBezTo>
                    <a:pt x="26" y="53"/>
                    <a:pt x="25" y="55"/>
                    <a:pt x="25" y="55"/>
                  </a:cubicBezTo>
                  <a:cubicBezTo>
                    <a:pt x="24" y="55"/>
                    <a:pt x="23" y="55"/>
                    <a:pt x="23" y="55"/>
                  </a:cubicBezTo>
                  <a:cubicBezTo>
                    <a:pt x="21" y="55"/>
                    <a:pt x="20" y="54"/>
                    <a:pt x="18" y="53"/>
                  </a:cubicBezTo>
                  <a:cubicBezTo>
                    <a:pt x="16" y="52"/>
                    <a:pt x="15" y="51"/>
                    <a:pt x="14" y="51"/>
                  </a:cubicBezTo>
                  <a:cubicBezTo>
                    <a:pt x="14" y="51"/>
                    <a:pt x="13" y="51"/>
                    <a:pt x="11" y="51"/>
                  </a:cubicBezTo>
                  <a:cubicBezTo>
                    <a:pt x="10" y="51"/>
                    <a:pt x="7" y="50"/>
                    <a:pt x="5" y="50"/>
                  </a:cubicBezTo>
                  <a:cubicBezTo>
                    <a:pt x="4" y="50"/>
                    <a:pt x="4" y="50"/>
                    <a:pt x="4" y="50"/>
                  </a:cubicBezTo>
                  <a:cubicBezTo>
                    <a:pt x="2" y="51"/>
                    <a:pt x="2" y="52"/>
                    <a:pt x="2" y="53"/>
                  </a:cubicBezTo>
                  <a:cubicBezTo>
                    <a:pt x="1" y="53"/>
                    <a:pt x="1" y="53"/>
                    <a:pt x="1" y="53"/>
                  </a:cubicBezTo>
                  <a:cubicBezTo>
                    <a:pt x="0" y="57"/>
                    <a:pt x="1" y="60"/>
                    <a:pt x="6" y="61"/>
                  </a:cubicBezTo>
                  <a:cubicBezTo>
                    <a:pt x="8" y="61"/>
                    <a:pt x="9" y="61"/>
                    <a:pt x="11" y="61"/>
                  </a:cubicBezTo>
                  <a:cubicBezTo>
                    <a:pt x="18" y="63"/>
                    <a:pt x="19" y="72"/>
                    <a:pt x="22" y="79"/>
                  </a:cubicBezTo>
                  <a:cubicBezTo>
                    <a:pt x="23" y="82"/>
                    <a:pt x="25" y="86"/>
                    <a:pt x="26" y="89"/>
                  </a:cubicBezTo>
                  <a:cubicBezTo>
                    <a:pt x="27" y="90"/>
                    <a:pt x="26" y="90"/>
                    <a:pt x="26" y="91"/>
                  </a:cubicBezTo>
                  <a:cubicBezTo>
                    <a:pt x="26" y="92"/>
                    <a:pt x="25" y="93"/>
                    <a:pt x="25" y="93"/>
                  </a:cubicBezTo>
                  <a:cubicBezTo>
                    <a:pt x="26" y="93"/>
                    <a:pt x="26" y="93"/>
                    <a:pt x="27" y="93"/>
                  </a:cubicBezTo>
                  <a:cubicBezTo>
                    <a:pt x="28" y="93"/>
                    <a:pt x="29" y="93"/>
                    <a:pt x="30" y="93"/>
                  </a:cubicBezTo>
                  <a:cubicBezTo>
                    <a:pt x="31" y="93"/>
                    <a:pt x="32" y="93"/>
                    <a:pt x="33" y="93"/>
                  </a:cubicBezTo>
                  <a:cubicBezTo>
                    <a:pt x="33" y="93"/>
                    <a:pt x="33" y="93"/>
                    <a:pt x="33" y="93"/>
                  </a:cubicBezTo>
                  <a:cubicBezTo>
                    <a:pt x="37" y="94"/>
                    <a:pt x="37" y="99"/>
                    <a:pt x="41" y="102"/>
                  </a:cubicBezTo>
                  <a:cubicBezTo>
                    <a:pt x="41" y="102"/>
                    <a:pt x="42" y="102"/>
                    <a:pt x="42" y="102"/>
                  </a:cubicBezTo>
                  <a:cubicBezTo>
                    <a:pt x="42" y="102"/>
                    <a:pt x="43" y="102"/>
                    <a:pt x="43" y="102"/>
                  </a:cubicBezTo>
                  <a:cubicBezTo>
                    <a:pt x="44" y="101"/>
                    <a:pt x="45" y="101"/>
                    <a:pt x="45" y="101"/>
                  </a:cubicBezTo>
                  <a:cubicBezTo>
                    <a:pt x="45" y="101"/>
                    <a:pt x="46" y="101"/>
                    <a:pt x="46" y="101"/>
                  </a:cubicBezTo>
                  <a:cubicBezTo>
                    <a:pt x="47" y="101"/>
                    <a:pt x="47" y="101"/>
                    <a:pt x="48" y="102"/>
                  </a:cubicBezTo>
                  <a:cubicBezTo>
                    <a:pt x="48" y="102"/>
                    <a:pt x="49" y="103"/>
                    <a:pt x="49" y="103"/>
                  </a:cubicBezTo>
                  <a:cubicBezTo>
                    <a:pt x="49" y="104"/>
                    <a:pt x="50" y="104"/>
                    <a:pt x="50" y="104"/>
                  </a:cubicBezTo>
                  <a:cubicBezTo>
                    <a:pt x="50" y="104"/>
                    <a:pt x="50" y="104"/>
                    <a:pt x="50" y="103"/>
                  </a:cubicBezTo>
                  <a:cubicBezTo>
                    <a:pt x="50" y="103"/>
                    <a:pt x="50" y="103"/>
                    <a:pt x="50" y="103"/>
                  </a:cubicBezTo>
                  <a:cubicBezTo>
                    <a:pt x="50" y="103"/>
                    <a:pt x="50" y="103"/>
                    <a:pt x="50" y="103"/>
                  </a:cubicBezTo>
                  <a:cubicBezTo>
                    <a:pt x="50" y="103"/>
                    <a:pt x="51" y="103"/>
                    <a:pt x="51" y="103"/>
                  </a:cubicBezTo>
                  <a:cubicBezTo>
                    <a:pt x="51" y="103"/>
                    <a:pt x="52" y="103"/>
                    <a:pt x="52" y="103"/>
                  </a:cubicBezTo>
                  <a:cubicBezTo>
                    <a:pt x="53" y="103"/>
                    <a:pt x="53" y="103"/>
                    <a:pt x="53" y="103"/>
                  </a:cubicBezTo>
                  <a:cubicBezTo>
                    <a:pt x="54" y="103"/>
                    <a:pt x="55" y="103"/>
                    <a:pt x="55" y="103"/>
                  </a:cubicBezTo>
                  <a:cubicBezTo>
                    <a:pt x="57" y="104"/>
                    <a:pt x="58" y="105"/>
                    <a:pt x="60" y="106"/>
                  </a:cubicBezTo>
                  <a:cubicBezTo>
                    <a:pt x="59" y="106"/>
                    <a:pt x="58" y="107"/>
                    <a:pt x="58" y="107"/>
                  </a:cubicBezTo>
                  <a:cubicBezTo>
                    <a:pt x="57" y="107"/>
                    <a:pt x="57" y="107"/>
                    <a:pt x="57" y="107"/>
                  </a:cubicBezTo>
                  <a:cubicBezTo>
                    <a:pt x="60" y="110"/>
                    <a:pt x="58" y="112"/>
                    <a:pt x="56" y="117"/>
                  </a:cubicBezTo>
                  <a:cubicBezTo>
                    <a:pt x="55" y="118"/>
                    <a:pt x="53" y="121"/>
                    <a:pt x="53" y="122"/>
                  </a:cubicBezTo>
                  <a:cubicBezTo>
                    <a:pt x="52" y="125"/>
                    <a:pt x="53" y="127"/>
                    <a:pt x="53" y="130"/>
                  </a:cubicBezTo>
                  <a:cubicBezTo>
                    <a:pt x="53" y="129"/>
                    <a:pt x="54" y="129"/>
                    <a:pt x="55" y="128"/>
                  </a:cubicBezTo>
                  <a:cubicBezTo>
                    <a:pt x="56" y="127"/>
                    <a:pt x="57" y="126"/>
                    <a:pt x="59" y="124"/>
                  </a:cubicBezTo>
                  <a:cubicBezTo>
                    <a:pt x="60" y="123"/>
                    <a:pt x="62" y="122"/>
                    <a:pt x="64" y="121"/>
                  </a:cubicBezTo>
                  <a:cubicBezTo>
                    <a:pt x="68" y="118"/>
                    <a:pt x="74" y="116"/>
                    <a:pt x="79" y="115"/>
                  </a:cubicBezTo>
                  <a:cubicBezTo>
                    <a:pt x="82" y="115"/>
                    <a:pt x="84" y="115"/>
                    <a:pt x="86" y="114"/>
                  </a:cubicBezTo>
                  <a:cubicBezTo>
                    <a:pt x="88" y="114"/>
                    <a:pt x="88" y="114"/>
                    <a:pt x="88" y="114"/>
                  </a:cubicBezTo>
                  <a:cubicBezTo>
                    <a:pt x="89" y="114"/>
                    <a:pt x="90" y="114"/>
                    <a:pt x="91" y="114"/>
                  </a:cubicBezTo>
                  <a:cubicBezTo>
                    <a:pt x="92" y="114"/>
                    <a:pt x="93" y="114"/>
                    <a:pt x="93" y="114"/>
                  </a:cubicBezTo>
                  <a:cubicBezTo>
                    <a:pt x="95" y="114"/>
                    <a:pt x="97" y="115"/>
                    <a:pt x="98" y="116"/>
                  </a:cubicBezTo>
                  <a:cubicBezTo>
                    <a:pt x="101" y="118"/>
                    <a:pt x="104" y="120"/>
                    <a:pt x="107" y="123"/>
                  </a:cubicBezTo>
                  <a:cubicBezTo>
                    <a:pt x="107" y="124"/>
                    <a:pt x="107" y="124"/>
                    <a:pt x="107" y="124"/>
                  </a:cubicBezTo>
                  <a:cubicBezTo>
                    <a:pt x="108" y="125"/>
                    <a:pt x="110" y="126"/>
                    <a:pt x="111" y="127"/>
                  </a:cubicBezTo>
                  <a:cubicBezTo>
                    <a:pt x="112" y="128"/>
                    <a:pt x="112" y="128"/>
                    <a:pt x="112" y="128"/>
                  </a:cubicBezTo>
                  <a:cubicBezTo>
                    <a:pt x="114" y="130"/>
                    <a:pt x="116" y="131"/>
                    <a:pt x="118" y="133"/>
                  </a:cubicBezTo>
                  <a:cubicBezTo>
                    <a:pt x="119" y="134"/>
                    <a:pt x="119" y="135"/>
                    <a:pt x="120" y="137"/>
                  </a:cubicBezTo>
                  <a:cubicBezTo>
                    <a:pt x="120" y="137"/>
                    <a:pt x="120" y="137"/>
                    <a:pt x="120" y="137"/>
                  </a:cubicBezTo>
                  <a:cubicBezTo>
                    <a:pt x="122" y="139"/>
                    <a:pt x="123" y="141"/>
                    <a:pt x="125" y="142"/>
                  </a:cubicBezTo>
                  <a:cubicBezTo>
                    <a:pt x="125" y="142"/>
                    <a:pt x="126" y="143"/>
                    <a:pt x="126" y="143"/>
                  </a:cubicBezTo>
                  <a:cubicBezTo>
                    <a:pt x="127" y="143"/>
                    <a:pt x="128" y="143"/>
                    <a:pt x="129" y="143"/>
                  </a:cubicBezTo>
                  <a:cubicBezTo>
                    <a:pt x="131" y="143"/>
                    <a:pt x="132" y="142"/>
                    <a:pt x="134" y="142"/>
                  </a:cubicBezTo>
                  <a:cubicBezTo>
                    <a:pt x="134" y="90"/>
                    <a:pt x="134" y="90"/>
                    <a:pt x="134" y="90"/>
                  </a:cubicBezTo>
                  <a:cubicBezTo>
                    <a:pt x="134" y="74"/>
                    <a:pt x="134" y="58"/>
                    <a:pt x="134" y="42"/>
                  </a:cubicBezTo>
                  <a:cubicBezTo>
                    <a:pt x="134" y="41"/>
                    <a:pt x="134" y="41"/>
                    <a:pt x="134" y="41"/>
                  </a:cubicBezTo>
                  <a:cubicBezTo>
                    <a:pt x="134" y="39"/>
                    <a:pt x="135" y="37"/>
                    <a:pt x="138" y="37"/>
                  </a:cubicBezTo>
                  <a:cubicBezTo>
                    <a:pt x="140" y="36"/>
                    <a:pt x="142" y="35"/>
                    <a:pt x="144" y="35"/>
                  </a:cubicBezTo>
                  <a:cubicBezTo>
                    <a:pt x="145" y="35"/>
                    <a:pt x="146" y="35"/>
                    <a:pt x="146" y="34"/>
                  </a:cubicBezTo>
                  <a:cubicBezTo>
                    <a:pt x="156" y="32"/>
                    <a:pt x="167" y="29"/>
                    <a:pt x="177" y="26"/>
                  </a:cubicBezTo>
                  <a:cubicBezTo>
                    <a:pt x="187" y="23"/>
                    <a:pt x="187" y="23"/>
                    <a:pt x="187" y="23"/>
                  </a:cubicBezTo>
                  <a:cubicBezTo>
                    <a:pt x="189" y="23"/>
                    <a:pt x="191" y="22"/>
                    <a:pt x="193" y="22"/>
                  </a:cubicBezTo>
                  <a:cubicBezTo>
                    <a:pt x="195" y="21"/>
                    <a:pt x="195" y="21"/>
                    <a:pt x="195" y="21"/>
                  </a:cubicBezTo>
                  <a:cubicBezTo>
                    <a:pt x="196" y="21"/>
                    <a:pt x="196" y="21"/>
                    <a:pt x="196" y="21"/>
                  </a:cubicBezTo>
                  <a:cubicBezTo>
                    <a:pt x="197" y="21"/>
                    <a:pt x="198" y="21"/>
                    <a:pt x="199" y="22"/>
                  </a:cubicBezTo>
                  <a:cubicBezTo>
                    <a:pt x="199" y="20"/>
                    <a:pt x="199" y="19"/>
                    <a:pt x="200" y="17"/>
                  </a:cubicBezTo>
                  <a:cubicBezTo>
                    <a:pt x="201" y="16"/>
                    <a:pt x="203" y="15"/>
                    <a:pt x="204" y="14"/>
                  </a:cubicBezTo>
                  <a:cubicBezTo>
                    <a:pt x="204" y="14"/>
                    <a:pt x="204" y="14"/>
                    <a:pt x="205" y="14"/>
                  </a:cubicBezTo>
                  <a:cubicBezTo>
                    <a:pt x="205" y="14"/>
                    <a:pt x="206" y="14"/>
                    <a:pt x="206" y="14"/>
                  </a:cubicBezTo>
                  <a:cubicBezTo>
                    <a:pt x="206" y="14"/>
                    <a:pt x="206" y="14"/>
                    <a:pt x="206" y="14"/>
                  </a:cubicBezTo>
                  <a:cubicBezTo>
                    <a:pt x="207" y="14"/>
                    <a:pt x="207" y="14"/>
                    <a:pt x="207" y="14"/>
                  </a:cubicBezTo>
                  <a:cubicBezTo>
                    <a:pt x="207" y="14"/>
                    <a:pt x="207" y="14"/>
                    <a:pt x="207" y="14"/>
                  </a:cubicBezTo>
                  <a:cubicBezTo>
                    <a:pt x="207" y="14"/>
                    <a:pt x="207" y="14"/>
                    <a:pt x="207" y="14"/>
                  </a:cubicBezTo>
                  <a:cubicBezTo>
                    <a:pt x="207" y="13"/>
                    <a:pt x="207" y="13"/>
                    <a:pt x="207" y="13"/>
                  </a:cubicBezTo>
                  <a:cubicBezTo>
                    <a:pt x="208" y="14"/>
                    <a:pt x="208" y="14"/>
                    <a:pt x="209" y="14"/>
                  </a:cubicBezTo>
                  <a:cubicBezTo>
                    <a:pt x="209" y="14"/>
                    <a:pt x="209" y="14"/>
                    <a:pt x="209" y="14"/>
                  </a:cubicBezTo>
                  <a:cubicBezTo>
                    <a:pt x="209" y="14"/>
                    <a:pt x="209" y="14"/>
                    <a:pt x="209" y="14"/>
                  </a:cubicBezTo>
                  <a:cubicBezTo>
                    <a:pt x="210" y="14"/>
                    <a:pt x="210" y="14"/>
                    <a:pt x="210" y="14"/>
                  </a:cubicBezTo>
                  <a:cubicBezTo>
                    <a:pt x="211" y="14"/>
                    <a:pt x="211" y="14"/>
                    <a:pt x="211" y="14"/>
                  </a:cubicBezTo>
                  <a:cubicBezTo>
                    <a:pt x="211" y="14"/>
                    <a:pt x="211" y="14"/>
                    <a:pt x="212" y="14"/>
                  </a:cubicBezTo>
                  <a:cubicBezTo>
                    <a:pt x="212" y="14"/>
                    <a:pt x="213" y="12"/>
                    <a:pt x="214" y="12"/>
                  </a:cubicBezTo>
                  <a:cubicBezTo>
                    <a:pt x="214" y="12"/>
                    <a:pt x="214" y="12"/>
                    <a:pt x="214" y="12"/>
                  </a:cubicBezTo>
                  <a:cubicBezTo>
                    <a:pt x="217" y="12"/>
                    <a:pt x="214" y="15"/>
                    <a:pt x="213" y="16"/>
                  </a:cubicBezTo>
                  <a:cubicBezTo>
                    <a:pt x="213" y="18"/>
                    <a:pt x="212" y="20"/>
                    <a:pt x="214" y="21"/>
                  </a:cubicBezTo>
                  <a:cubicBezTo>
                    <a:pt x="214" y="21"/>
                    <a:pt x="214" y="21"/>
                    <a:pt x="214" y="21"/>
                  </a:cubicBezTo>
                  <a:cubicBezTo>
                    <a:pt x="214" y="21"/>
                    <a:pt x="215" y="21"/>
                    <a:pt x="215" y="20"/>
                  </a:cubicBezTo>
                  <a:cubicBezTo>
                    <a:pt x="216" y="20"/>
                    <a:pt x="216" y="20"/>
                    <a:pt x="217" y="20"/>
                  </a:cubicBezTo>
                  <a:cubicBezTo>
                    <a:pt x="217" y="20"/>
                    <a:pt x="218" y="20"/>
                    <a:pt x="217" y="22"/>
                  </a:cubicBezTo>
                  <a:cubicBezTo>
                    <a:pt x="218" y="21"/>
                    <a:pt x="219" y="20"/>
                    <a:pt x="220" y="19"/>
                  </a:cubicBezTo>
                  <a:cubicBezTo>
                    <a:pt x="220" y="19"/>
                    <a:pt x="220" y="19"/>
                    <a:pt x="220" y="19"/>
                  </a:cubicBezTo>
                  <a:cubicBezTo>
                    <a:pt x="221" y="19"/>
                    <a:pt x="222" y="20"/>
                    <a:pt x="222" y="20"/>
                  </a:cubicBezTo>
                  <a:cubicBezTo>
                    <a:pt x="223" y="19"/>
                    <a:pt x="222" y="18"/>
                    <a:pt x="222" y="17"/>
                  </a:cubicBezTo>
                  <a:cubicBezTo>
                    <a:pt x="222" y="16"/>
                    <a:pt x="223" y="15"/>
                    <a:pt x="224" y="14"/>
                  </a:cubicBezTo>
                  <a:cubicBezTo>
                    <a:pt x="225" y="11"/>
                    <a:pt x="224" y="10"/>
                    <a:pt x="223" y="7"/>
                  </a:cubicBezTo>
                  <a:cubicBezTo>
                    <a:pt x="222" y="6"/>
                    <a:pt x="221" y="5"/>
                    <a:pt x="220" y="4"/>
                  </a:cubicBezTo>
                  <a:cubicBezTo>
                    <a:pt x="220" y="3"/>
                    <a:pt x="220" y="3"/>
                    <a:pt x="220" y="3"/>
                  </a:cubicBezTo>
                  <a:cubicBezTo>
                    <a:pt x="220" y="3"/>
                    <a:pt x="220" y="3"/>
                    <a:pt x="220" y="3"/>
                  </a:cubicBezTo>
                  <a:cubicBezTo>
                    <a:pt x="220" y="3"/>
                    <a:pt x="221" y="3"/>
                    <a:pt x="221" y="3"/>
                  </a:cubicBezTo>
                  <a:cubicBezTo>
                    <a:pt x="221" y="3"/>
                    <a:pt x="221" y="3"/>
                    <a:pt x="221" y="3"/>
                  </a:cubicBezTo>
                  <a:cubicBezTo>
                    <a:pt x="222" y="3"/>
                    <a:pt x="223" y="3"/>
                    <a:pt x="223" y="3"/>
                  </a:cubicBezTo>
                  <a:cubicBezTo>
                    <a:pt x="225" y="3"/>
                    <a:pt x="226" y="4"/>
                    <a:pt x="226" y="6"/>
                  </a:cubicBezTo>
                  <a:cubicBezTo>
                    <a:pt x="227" y="6"/>
                    <a:pt x="227" y="8"/>
                    <a:pt x="226" y="9"/>
                  </a:cubicBezTo>
                  <a:cubicBezTo>
                    <a:pt x="226" y="10"/>
                    <a:pt x="223" y="10"/>
                    <a:pt x="225" y="11"/>
                  </a:cubicBezTo>
                  <a:cubicBezTo>
                    <a:pt x="226" y="12"/>
                    <a:pt x="226" y="12"/>
                    <a:pt x="226" y="12"/>
                  </a:cubicBezTo>
                  <a:cubicBezTo>
                    <a:pt x="227" y="12"/>
                    <a:pt x="229" y="10"/>
                    <a:pt x="229" y="10"/>
                  </a:cubicBezTo>
                  <a:cubicBezTo>
                    <a:pt x="230" y="10"/>
                    <a:pt x="230" y="10"/>
                    <a:pt x="231" y="10"/>
                  </a:cubicBezTo>
                  <a:cubicBezTo>
                    <a:pt x="231" y="10"/>
                    <a:pt x="231" y="10"/>
                    <a:pt x="232" y="10"/>
                  </a:cubicBezTo>
                  <a:cubicBezTo>
                    <a:pt x="232" y="10"/>
                    <a:pt x="232" y="10"/>
                    <a:pt x="233" y="10"/>
                  </a:cubicBezTo>
                  <a:cubicBezTo>
                    <a:pt x="233" y="10"/>
                    <a:pt x="233" y="10"/>
                    <a:pt x="233" y="10"/>
                  </a:cubicBezTo>
                  <a:cubicBezTo>
                    <a:pt x="235" y="10"/>
                    <a:pt x="236" y="9"/>
                    <a:pt x="238" y="9"/>
                  </a:cubicBezTo>
                  <a:cubicBezTo>
                    <a:pt x="238" y="9"/>
                    <a:pt x="239" y="9"/>
                    <a:pt x="239" y="10"/>
                  </a:cubicBezTo>
                  <a:cubicBezTo>
                    <a:pt x="242" y="10"/>
                    <a:pt x="246" y="10"/>
                    <a:pt x="248" y="11"/>
                  </a:cubicBezTo>
                  <a:cubicBezTo>
                    <a:pt x="247" y="13"/>
                    <a:pt x="245" y="12"/>
                    <a:pt x="243" y="14"/>
                  </a:cubicBezTo>
                  <a:cubicBezTo>
                    <a:pt x="242" y="16"/>
                    <a:pt x="242" y="16"/>
                    <a:pt x="241" y="16"/>
                  </a:cubicBezTo>
                  <a:cubicBezTo>
                    <a:pt x="240" y="16"/>
                    <a:pt x="240" y="16"/>
                    <a:pt x="239" y="16"/>
                  </a:cubicBezTo>
                  <a:cubicBezTo>
                    <a:pt x="237" y="16"/>
                    <a:pt x="235" y="15"/>
                    <a:pt x="233" y="15"/>
                  </a:cubicBezTo>
                  <a:cubicBezTo>
                    <a:pt x="232" y="15"/>
                    <a:pt x="231" y="15"/>
                    <a:pt x="229" y="15"/>
                  </a:cubicBezTo>
                  <a:cubicBezTo>
                    <a:pt x="229" y="15"/>
                    <a:pt x="228" y="15"/>
                    <a:pt x="228" y="15"/>
                  </a:cubicBezTo>
                  <a:cubicBezTo>
                    <a:pt x="229" y="14"/>
                    <a:pt x="229" y="14"/>
                    <a:pt x="229" y="14"/>
                  </a:cubicBezTo>
                  <a:cubicBezTo>
                    <a:pt x="228" y="14"/>
                    <a:pt x="227" y="14"/>
                    <a:pt x="226" y="14"/>
                  </a:cubicBezTo>
                  <a:cubicBezTo>
                    <a:pt x="226" y="14"/>
                    <a:pt x="226" y="14"/>
                    <a:pt x="226" y="14"/>
                  </a:cubicBezTo>
                  <a:cubicBezTo>
                    <a:pt x="227" y="14"/>
                    <a:pt x="227" y="15"/>
                    <a:pt x="226" y="16"/>
                  </a:cubicBezTo>
                  <a:cubicBezTo>
                    <a:pt x="227" y="16"/>
                    <a:pt x="227" y="16"/>
                    <a:pt x="228" y="17"/>
                  </a:cubicBezTo>
                  <a:cubicBezTo>
                    <a:pt x="227" y="17"/>
                    <a:pt x="225" y="17"/>
                    <a:pt x="225" y="17"/>
                  </a:cubicBezTo>
                  <a:cubicBezTo>
                    <a:pt x="225" y="17"/>
                    <a:pt x="228" y="18"/>
                    <a:pt x="225" y="19"/>
                  </a:cubicBezTo>
                  <a:cubicBezTo>
                    <a:pt x="227" y="20"/>
                    <a:pt x="222" y="23"/>
                    <a:pt x="225" y="25"/>
                  </a:cubicBezTo>
                  <a:cubicBezTo>
                    <a:pt x="226" y="25"/>
                    <a:pt x="226" y="25"/>
                    <a:pt x="227" y="25"/>
                  </a:cubicBezTo>
                  <a:cubicBezTo>
                    <a:pt x="227" y="25"/>
                    <a:pt x="228" y="25"/>
                    <a:pt x="229" y="25"/>
                  </a:cubicBezTo>
                  <a:cubicBezTo>
                    <a:pt x="229" y="25"/>
                    <a:pt x="230" y="24"/>
                    <a:pt x="231" y="24"/>
                  </a:cubicBezTo>
                  <a:cubicBezTo>
                    <a:pt x="232" y="24"/>
                    <a:pt x="233" y="25"/>
                    <a:pt x="233" y="26"/>
                  </a:cubicBezTo>
                  <a:cubicBezTo>
                    <a:pt x="235" y="30"/>
                    <a:pt x="234" y="37"/>
                    <a:pt x="234" y="41"/>
                  </a:cubicBezTo>
                  <a:cubicBezTo>
                    <a:pt x="236" y="42"/>
                    <a:pt x="236" y="42"/>
                    <a:pt x="236" y="42"/>
                  </a:cubicBezTo>
                  <a:cubicBezTo>
                    <a:pt x="236" y="43"/>
                    <a:pt x="238" y="43"/>
                    <a:pt x="239" y="44"/>
                  </a:cubicBezTo>
                  <a:cubicBezTo>
                    <a:pt x="249" y="50"/>
                    <a:pt x="257" y="55"/>
                    <a:pt x="260" y="59"/>
                  </a:cubicBezTo>
                  <a:cubicBezTo>
                    <a:pt x="262" y="62"/>
                    <a:pt x="266" y="67"/>
                    <a:pt x="266" y="67"/>
                  </a:cubicBezTo>
                  <a:cubicBezTo>
                    <a:pt x="269" y="70"/>
                    <a:pt x="272" y="73"/>
                    <a:pt x="274" y="76"/>
                  </a:cubicBezTo>
                  <a:cubicBezTo>
                    <a:pt x="275" y="76"/>
                    <a:pt x="275" y="77"/>
                    <a:pt x="276" y="77"/>
                  </a:cubicBezTo>
                  <a:cubicBezTo>
                    <a:pt x="277" y="78"/>
                    <a:pt x="277" y="78"/>
                    <a:pt x="277" y="78"/>
                  </a:cubicBezTo>
                  <a:cubicBezTo>
                    <a:pt x="277" y="78"/>
                    <a:pt x="278" y="79"/>
                    <a:pt x="278" y="80"/>
                  </a:cubicBezTo>
                  <a:cubicBezTo>
                    <a:pt x="279" y="80"/>
                    <a:pt x="279" y="80"/>
                    <a:pt x="280" y="80"/>
                  </a:cubicBezTo>
                  <a:cubicBezTo>
                    <a:pt x="280" y="81"/>
                    <a:pt x="281" y="81"/>
                    <a:pt x="281" y="81"/>
                  </a:cubicBezTo>
                  <a:cubicBezTo>
                    <a:pt x="281" y="81"/>
                    <a:pt x="281" y="81"/>
                    <a:pt x="281" y="81"/>
                  </a:cubicBezTo>
                  <a:cubicBezTo>
                    <a:pt x="285" y="80"/>
                    <a:pt x="288" y="80"/>
                    <a:pt x="292" y="79"/>
                  </a:cubicBezTo>
                  <a:cubicBezTo>
                    <a:pt x="296" y="78"/>
                    <a:pt x="301" y="77"/>
                    <a:pt x="306" y="77"/>
                  </a:cubicBezTo>
                  <a:cubicBezTo>
                    <a:pt x="307" y="77"/>
                    <a:pt x="308" y="77"/>
                    <a:pt x="310" y="77"/>
                  </a:cubicBezTo>
                  <a:cubicBezTo>
                    <a:pt x="313" y="77"/>
                    <a:pt x="317" y="77"/>
                    <a:pt x="320" y="77"/>
                  </a:cubicBezTo>
                  <a:cubicBezTo>
                    <a:pt x="321" y="77"/>
                    <a:pt x="321" y="77"/>
                    <a:pt x="321" y="77"/>
                  </a:cubicBezTo>
                  <a:cubicBezTo>
                    <a:pt x="324" y="78"/>
                    <a:pt x="326" y="78"/>
                    <a:pt x="328" y="78"/>
                  </a:cubicBezTo>
                  <a:cubicBezTo>
                    <a:pt x="335" y="78"/>
                    <a:pt x="335" y="78"/>
                    <a:pt x="335" y="78"/>
                  </a:cubicBezTo>
                  <a:cubicBezTo>
                    <a:pt x="337" y="78"/>
                    <a:pt x="338" y="78"/>
                    <a:pt x="339" y="77"/>
                  </a:cubicBezTo>
                  <a:cubicBezTo>
                    <a:pt x="340" y="77"/>
                    <a:pt x="340" y="77"/>
                    <a:pt x="340" y="77"/>
                  </a:cubicBezTo>
                  <a:cubicBezTo>
                    <a:pt x="341" y="76"/>
                    <a:pt x="341" y="76"/>
                    <a:pt x="341" y="76"/>
                  </a:cubicBezTo>
                  <a:cubicBezTo>
                    <a:pt x="343" y="75"/>
                    <a:pt x="345" y="74"/>
                    <a:pt x="347" y="74"/>
                  </a:cubicBezTo>
                  <a:cubicBezTo>
                    <a:pt x="347" y="74"/>
                    <a:pt x="347" y="74"/>
                    <a:pt x="347" y="74"/>
                  </a:cubicBezTo>
                  <a:cubicBezTo>
                    <a:pt x="349" y="74"/>
                    <a:pt x="350" y="75"/>
                    <a:pt x="351" y="77"/>
                  </a:cubicBezTo>
                  <a:cubicBezTo>
                    <a:pt x="352" y="78"/>
                    <a:pt x="354" y="79"/>
                    <a:pt x="355" y="81"/>
                  </a:cubicBezTo>
                  <a:cubicBezTo>
                    <a:pt x="358" y="83"/>
                    <a:pt x="358" y="83"/>
                    <a:pt x="358" y="83"/>
                  </a:cubicBezTo>
                  <a:cubicBezTo>
                    <a:pt x="358" y="83"/>
                    <a:pt x="358" y="83"/>
                    <a:pt x="358" y="83"/>
                  </a:cubicBezTo>
                  <a:cubicBezTo>
                    <a:pt x="360" y="85"/>
                    <a:pt x="360" y="85"/>
                    <a:pt x="360" y="85"/>
                  </a:cubicBezTo>
                  <a:cubicBezTo>
                    <a:pt x="362" y="87"/>
                    <a:pt x="365" y="89"/>
                    <a:pt x="367" y="92"/>
                  </a:cubicBezTo>
                  <a:cubicBezTo>
                    <a:pt x="369" y="94"/>
                    <a:pt x="369" y="94"/>
                    <a:pt x="369" y="94"/>
                  </a:cubicBezTo>
                  <a:cubicBezTo>
                    <a:pt x="369" y="95"/>
                    <a:pt x="370" y="95"/>
                    <a:pt x="370" y="95"/>
                  </a:cubicBezTo>
                  <a:cubicBezTo>
                    <a:pt x="370" y="96"/>
                    <a:pt x="371" y="96"/>
                    <a:pt x="371" y="97"/>
                  </a:cubicBezTo>
                  <a:cubicBezTo>
                    <a:pt x="373" y="96"/>
                    <a:pt x="373" y="96"/>
                    <a:pt x="373" y="96"/>
                  </a:cubicBezTo>
                  <a:cubicBezTo>
                    <a:pt x="374" y="96"/>
                    <a:pt x="374" y="96"/>
                    <a:pt x="375" y="96"/>
                  </a:cubicBezTo>
                  <a:cubicBezTo>
                    <a:pt x="376" y="96"/>
                    <a:pt x="377" y="96"/>
                    <a:pt x="377" y="97"/>
                  </a:cubicBezTo>
                  <a:cubicBezTo>
                    <a:pt x="379" y="98"/>
                    <a:pt x="379" y="101"/>
                    <a:pt x="378" y="106"/>
                  </a:cubicBezTo>
                  <a:cubicBezTo>
                    <a:pt x="378" y="106"/>
                    <a:pt x="378" y="106"/>
                    <a:pt x="378" y="106"/>
                  </a:cubicBezTo>
                  <a:cubicBezTo>
                    <a:pt x="378" y="108"/>
                    <a:pt x="377" y="110"/>
                    <a:pt x="377" y="111"/>
                  </a:cubicBezTo>
                  <a:cubicBezTo>
                    <a:pt x="377" y="113"/>
                    <a:pt x="377" y="115"/>
                    <a:pt x="377" y="117"/>
                  </a:cubicBezTo>
                  <a:cubicBezTo>
                    <a:pt x="377" y="117"/>
                    <a:pt x="376" y="118"/>
                    <a:pt x="376" y="119"/>
                  </a:cubicBezTo>
                  <a:cubicBezTo>
                    <a:pt x="376" y="119"/>
                    <a:pt x="376" y="119"/>
                    <a:pt x="376" y="119"/>
                  </a:cubicBezTo>
                  <a:cubicBezTo>
                    <a:pt x="376" y="120"/>
                    <a:pt x="376" y="121"/>
                    <a:pt x="376" y="121"/>
                  </a:cubicBezTo>
                  <a:cubicBezTo>
                    <a:pt x="376" y="122"/>
                    <a:pt x="376" y="123"/>
                    <a:pt x="376" y="123"/>
                  </a:cubicBezTo>
                  <a:cubicBezTo>
                    <a:pt x="377" y="123"/>
                    <a:pt x="377" y="123"/>
                    <a:pt x="377" y="123"/>
                  </a:cubicBezTo>
                  <a:cubicBezTo>
                    <a:pt x="377" y="123"/>
                    <a:pt x="377" y="123"/>
                    <a:pt x="377" y="123"/>
                  </a:cubicBezTo>
                  <a:cubicBezTo>
                    <a:pt x="377" y="123"/>
                    <a:pt x="378" y="123"/>
                    <a:pt x="378" y="123"/>
                  </a:cubicBezTo>
                  <a:cubicBezTo>
                    <a:pt x="379" y="123"/>
                    <a:pt x="379" y="123"/>
                    <a:pt x="379" y="123"/>
                  </a:cubicBezTo>
                  <a:cubicBezTo>
                    <a:pt x="380" y="123"/>
                    <a:pt x="381" y="123"/>
                    <a:pt x="382" y="123"/>
                  </a:cubicBezTo>
                  <a:cubicBezTo>
                    <a:pt x="384" y="123"/>
                    <a:pt x="385" y="123"/>
                    <a:pt x="386" y="124"/>
                  </a:cubicBezTo>
                  <a:cubicBezTo>
                    <a:pt x="387" y="125"/>
                    <a:pt x="388" y="126"/>
                    <a:pt x="388" y="127"/>
                  </a:cubicBezTo>
                  <a:cubicBezTo>
                    <a:pt x="388" y="128"/>
                    <a:pt x="388" y="129"/>
                    <a:pt x="388" y="130"/>
                  </a:cubicBezTo>
                  <a:cubicBezTo>
                    <a:pt x="388" y="130"/>
                    <a:pt x="388" y="130"/>
                    <a:pt x="388" y="130"/>
                  </a:cubicBezTo>
                  <a:cubicBezTo>
                    <a:pt x="388" y="131"/>
                    <a:pt x="388" y="131"/>
                    <a:pt x="388" y="131"/>
                  </a:cubicBezTo>
                  <a:cubicBezTo>
                    <a:pt x="388" y="134"/>
                    <a:pt x="389" y="137"/>
                    <a:pt x="390" y="140"/>
                  </a:cubicBezTo>
                  <a:cubicBezTo>
                    <a:pt x="391" y="143"/>
                    <a:pt x="391" y="143"/>
                    <a:pt x="391" y="143"/>
                  </a:cubicBezTo>
                  <a:cubicBezTo>
                    <a:pt x="391" y="144"/>
                    <a:pt x="391" y="144"/>
                    <a:pt x="391" y="144"/>
                  </a:cubicBezTo>
                  <a:cubicBezTo>
                    <a:pt x="392" y="147"/>
                    <a:pt x="392" y="147"/>
                    <a:pt x="392" y="147"/>
                  </a:cubicBezTo>
                  <a:cubicBezTo>
                    <a:pt x="410" y="146"/>
                    <a:pt x="410" y="146"/>
                    <a:pt x="410" y="146"/>
                  </a:cubicBezTo>
                  <a:cubicBezTo>
                    <a:pt x="411" y="146"/>
                    <a:pt x="411" y="146"/>
                    <a:pt x="412" y="146"/>
                  </a:cubicBezTo>
                  <a:cubicBezTo>
                    <a:pt x="413" y="146"/>
                    <a:pt x="414" y="146"/>
                    <a:pt x="415" y="146"/>
                  </a:cubicBezTo>
                  <a:cubicBezTo>
                    <a:pt x="416" y="146"/>
                    <a:pt x="417" y="146"/>
                    <a:pt x="417" y="146"/>
                  </a:cubicBezTo>
                  <a:cubicBezTo>
                    <a:pt x="417" y="146"/>
                    <a:pt x="417" y="146"/>
                    <a:pt x="417" y="146"/>
                  </a:cubicBezTo>
                  <a:cubicBezTo>
                    <a:pt x="418" y="146"/>
                    <a:pt x="419" y="146"/>
                    <a:pt x="419" y="146"/>
                  </a:cubicBezTo>
                  <a:cubicBezTo>
                    <a:pt x="420" y="147"/>
                    <a:pt x="420" y="147"/>
                    <a:pt x="420" y="147"/>
                  </a:cubicBezTo>
                  <a:cubicBezTo>
                    <a:pt x="420" y="148"/>
                    <a:pt x="420" y="148"/>
                    <a:pt x="420" y="148"/>
                  </a:cubicBezTo>
                  <a:cubicBezTo>
                    <a:pt x="420" y="148"/>
                    <a:pt x="420" y="148"/>
                    <a:pt x="420" y="148"/>
                  </a:cubicBezTo>
                  <a:cubicBezTo>
                    <a:pt x="421" y="148"/>
                    <a:pt x="421" y="148"/>
                    <a:pt x="421" y="148"/>
                  </a:cubicBezTo>
                  <a:cubicBezTo>
                    <a:pt x="421" y="149"/>
                    <a:pt x="421" y="149"/>
                    <a:pt x="421" y="149"/>
                  </a:cubicBezTo>
                  <a:cubicBezTo>
                    <a:pt x="422" y="149"/>
                    <a:pt x="423" y="150"/>
                    <a:pt x="424" y="150"/>
                  </a:cubicBezTo>
                  <a:cubicBezTo>
                    <a:pt x="424" y="151"/>
                    <a:pt x="425" y="151"/>
                    <a:pt x="425" y="153"/>
                  </a:cubicBezTo>
                  <a:cubicBezTo>
                    <a:pt x="425" y="154"/>
                    <a:pt x="425" y="154"/>
                    <a:pt x="425" y="154"/>
                  </a:cubicBezTo>
                  <a:cubicBezTo>
                    <a:pt x="426" y="155"/>
                    <a:pt x="425" y="157"/>
                    <a:pt x="424" y="159"/>
                  </a:cubicBezTo>
                  <a:cubicBezTo>
                    <a:pt x="426" y="160"/>
                    <a:pt x="428" y="161"/>
                    <a:pt x="431" y="162"/>
                  </a:cubicBezTo>
                  <a:cubicBezTo>
                    <a:pt x="432" y="162"/>
                    <a:pt x="432" y="162"/>
                    <a:pt x="432" y="162"/>
                  </a:cubicBezTo>
                  <a:cubicBezTo>
                    <a:pt x="432" y="162"/>
                    <a:pt x="432" y="161"/>
                    <a:pt x="432" y="160"/>
                  </a:cubicBezTo>
                  <a:cubicBezTo>
                    <a:pt x="432" y="158"/>
                    <a:pt x="432" y="158"/>
                    <a:pt x="432" y="158"/>
                  </a:cubicBezTo>
                  <a:cubicBezTo>
                    <a:pt x="432" y="153"/>
                    <a:pt x="435" y="150"/>
                    <a:pt x="438" y="148"/>
                  </a:cubicBezTo>
                  <a:cubicBezTo>
                    <a:pt x="439" y="148"/>
                    <a:pt x="440" y="148"/>
                    <a:pt x="440" y="147"/>
                  </a:cubicBezTo>
                  <a:cubicBezTo>
                    <a:pt x="441" y="147"/>
                    <a:pt x="441" y="147"/>
                    <a:pt x="441" y="147"/>
                  </a:cubicBezTo>
                  <a:cubicBezTo>
                    <a:pt x="442" y="146"/>
                    <a:pt x="442" y="146"/>
                    <a:pt x="442" y="146"/>
                  </a:cubicBezTo>
                  <a:cubicBezTo>
                    <a:pt x="442" y="145"/>
                    <a:pt x="442" y="145"/>
                    <a:pt x="442" y="145"/>
                  </a:cubicBezTo>
                  <a:cubicBezTo>
                    <a:pt x="443" y="144"/>
                    <a:pt x="445" y="143"/>
                    <a:pt x="446" y="142"/>
                  </a:cubicBezTo>
                  <a:cubicBezTo>
                    <a:pt x="446" y="142"/>
                    <a:pt x="446" y="142"/>
                    <a:pt x="446" y="142"/>
                  </a:cubicBezTo>
                  <a:cubicBezTo>
                    <a:pt x="447" y="141"/>
                    <a:pt x="447" y="141"/>
                    <a:pt x="447" y="141"/>
                  </a:cubicBezTo>
                  <a:cubicBezTo>
                    <a:pt x="450" y="139"/>
                    <a:pt x="452" y="138"/>
                    <a:pt x="454" y="136"/>
                  </a:cubicBezTo>
                  <a:cubicBezTo>
                    <a:pt x="457" y="134"/>
                    <a:pt x="460" y="132"/>
                    <a:pt x="464" y="130"/>
                  </a:cubicBezTo>
                  <a:cubicBezTo>
                    <a:pt x="485" y="118"/>
                    <a:pt x="485" y="118"/>
                    <a:pt x="485" y="118"/>
                  </a:cubicBezTo>
                  <a:cubicBezTo>
                    <a:pt x="484" y="117"/>
                    <a:pt x="485" y="117"/>
                    <a:pt x="485" y="116"/>
                  </a:cubicBezTo>
                  <a:cubicBezTo>
                    <a:pt x="485" y="115"/>
                    <a:pt x="486" y="114"/>
                    <a:pt x="487" y="113"/>
                  </a:cubicBezTo>
                  <a:cubicBezTo>
                    <a:pt x="487" y="112"/>
                    <a:pt x="489" y="111"/>
                    <a:pt x="490" y="110"/>
                  </a:cubicBezTo>
                  <a:cubicBezTo>
                    <a:pt x="491" y="108"/>
                    <a:pt x="491" y="108"/>
                    <a:pt x="491" y="108"/>
                  </a:cubicBezTo>
                  <a:cubicBezTo>
                    <a:pt x="492" y="108"/>
                    <a:pt x="492" y="108"/>
                    <a:pt x="492" y="107"/>
                  </a:cubicBezTo>
                  <a:cubicBezTo>
                    <a:pt x="493" y="106"/>
                    <a:pt x="494" y="104"/>
                    <a:pt x="496" y="103"/>
                  </a:cubicBezTo>
                  <a:cubicBezTo>
                    <a:pt x="496" y="103"/>
                    <a:pt x="497" y="103"/>
                    <a:pt x="497" y="102"/>
                  </a:cubicBezTo>
                  <a:cubicBezTo>
                    <a:pt x="498" y="102"/>
                    <a:pt x="499" y="102"/>
                    <a:pt x="500" y="102"/>
                  </a:cubicBezTo>
                  <a:cubicBezTo>
                    <a:pt x="501" y="102"/>
                    <a:pt x="502" y="102"/>
                    <a:pt x="502" y="102"/>
                  </a:cubicBezTo>
                  <a:cubicBezTo>
                    <a:pt x="503" y="102"/>
                    <a:pt x="503" y="102"/>
                    <a:pt x="503" y="102"/>
                  </a:cubicBezTo>
                  <a:cubicBezTo>
                    <a:pt x="504" y="102"/>
                    <a:pt x="504" y="102"/>
                    <a:pt x="504" y="102"/>
                  </a:cubicBezTo>
                  <a:cubicBezTo>
                    <a:pt x="516" y="102"/>
                    <a:pt x="516" y="102"/>
                    <a:pt x="516" y="102"/>
                  </a:cubicBezTo>
                  <a:cubicBezTo>
                    <a:pt x="516" y="102"/>
                    <a:pt x="516" y="102"/>
                    <a:pt x="516" y="102"/>
                  </a:cubicBezTo>
                  <a:cubicBezTo>
                    <a:pt x="517" y="102"/>
                    <a:pt x="518" y="102"/>
                    <a:pt x="519" y="102"/>
                  </a:cubicBezTo>
                  <a:cubicBezTo>
                    <a:pt x="519" y="0"/>
                    <a:pt x="519" y="0"/>
                    <a:pt x="5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1" name="Freeform 280">
              <a:extLst>
                <a:ext uri="{FF2B5EF4-FFF2-40B4-BE49-F238E27FC236}">
                  <a16:creationId xmlns:a16="http://schemas.microsoft.com/office/drawing/2014/main" id="{018CF5A4-D174-40B8-A3FE-C348F3489562}"/>
                </a:ext>
              </a:extLst>
            </p:cNvPr>
            <p:cNvSpPr>
              <a:spLocks/>
            </p:cNvSpPr>
            <p:nvPr/>
          </p:nvSpPr>
          <p:spPr bwMode="auto">
            <a:xfrm>
              <a:off x="7454" y="1136"/>
              <a:ext cx="224" cy="449"/>
            </a:xfrm>
            <a:custGeom>
              <a:avLst/>
              <a:gdLst>
                <a:gd name="T0" fmla="*/ 82 w 95"/>
                <a:gd name="T1" fmla="*/ 14 h 190"/>
                <a:gd name="T2" fmla="*/ 74 w 95"/>
                <a:gd name="T3" fmla="*/ 15 h 190"/>
                <a:gd name="T4" fmla="*/ 72 w 95"/>
                <a:gd name="T5" fmla="*/ 15 h 190"/>
                <a:gd name="T6" fmla="*/ 63 w 95"/>
                <a:gd name="T7" fmla="*/ 18 h 190"/>
                <a:gd name="T8" fmla="*/ 58 w 95"/>
                <a:gd name="T9" fmla="*/ 16 h 190"/>
                <a:gd name="T10" fmla="*/ 55 w 95"/>
                <a:gd name="T11" fmla="*/ 11 h 190"/>
                <a:gd name="T12" fmla="*/ 53 w 95"/>
                <a:gd name="T13" fmla="*/ 10 h 190"/>
                <a:gd name="T14" fmla="*/ 51 w 95"/>
                <a:gd name="T15" fmla="*/ 12 h 190"/>
                <a:gd name="T16" fmla="*/ 48 w 95"/>
                <a:gd name="T17" fmla="*/ 15 h 190"/>
                <a:gd name="T18" fmla="*/ 46 w 95"/>
                <a:gd name="T19" fmla="*/ 18 h 190"/>
                <a:gd name="T20" fmla="*/ 33 w 95"/>
                <a:gd name="T21" fmla="*/ 38 h 190"/>
                <a:gd name="T22" fmla="*/ 38 w 95"/>
                <a:gd name="T23" fmla="*/ 41 h 190"/>
                <a:gd name="T24" fmla="*/ 47 w 95"/>
                <a:gd name="T25" fmla="*/ 42 h 190"/>
                <a:gd name="T26" fmla="*/ 49 w 95"/>
                <a:gd name="T27" fmla="*/ 57 h 190"/>
                <a:gd name="T28" fmla="*/ 51 w 95"/>
                <a:gd name="T29" fmla="*/ 63 h 190"/>
                <a:gd name="T30" fmla="*/ 53 w 95"/>
                <a:gd name="T31" fmla="*/ 64 h 190"/>
                <a:gd name="T32" fmla="*/ 54 w 95"/>
                <a:gd name="T33" fmla="*/ 64 h 190"/>
                <a:gd name="T34" fmla="*/ 57 w 95"/>
                <a:gd name="T35" fmla="*/ 63 h 190"/>
                <a:gd name="T36" fmla="*/ 63 w 95"/>
                <a:gd name="T37" fmla="*/ 74 h 190"/>
                <a:gd name="T38" fmla="*/ 64 w 95"/>
                <a:gd name="T39" fmla="*/ 77 h 190"/>
                <a:gd name="T40" fmla="*/ 69 w 95"/>
                <a:gd name="T41" fmla="*/ 94 h 190"/>
                <a:gd name="T42" fmla="*/ 70 w 95"/>
                <a:gd name="T43" fmla="*/ 96 h 190"/>
                <a:gd name="T44" fmla="*/ 69 w 95"/>
                <a:gd name="T45" fmla="*/ 101 h 190"/>
                <a:gd name="T46" fmla="*/ 65 w 95"/>
                <a:gd name="T47" fmla="*/ 103 h 190"/>
                <a:gd name="T48" fmla="*/ 64 w 95"/>
                <a:gd name="T49" fmla="*/ 105 h 190"/>
                <a:gd name="T50" fmla="*/ 55 w 95"/>
                <a:gd name="T51" fmla="*/ 103 h 190"/>
                <a:gd name="T52" fmla="*/ 54 w 95"/>
                <a:gd name="T53" fmla="*/ 102 h 190"/>
                <a:gd name="T54" fmla="*/ 47 w 95"/>
                <a:gd name="T55" fmla="*/ 104 h 190"/>
                <a:gd name="T56" fmla="*/ 41 w 95"/>
                <a:gd name="T57" fmla="*/ 107 h 190"/>
                <a:gd name="T58" fmla="*/ 34 w 95"/>
                <a:gd name="T59" fmla="*/ 106 h 190"/>
                <a:gd name="T60" fmla="*/ 16 w 95"/>
                <a:gd name="T61" fmla="*/ 108 h 190"/>
                <a:gd name="T62" fmla="*/ 15 w 95"/>
                <a:gd name="T63" fmla="*/ 111 h 190"/>
                <a:gd name="T64" fmla="*/ 10 w 95"/>
                <a:gd name="T65" fmla="*/ 113 h 190"/>
                <a:gd name="T66" fmla="*/ 0 w 95"/>
                <a:gd name="T67" fmla="*/ 119 h 190"/>
                <a:gd name="T68" fmla="*/ 14 w 95"/>
                <a:gd name="T69" fmla="*/ 113 h 190"/>
                <a:gd name="T70" fmla="*/ 9 w 95"/>
                <a:gd name="T71" fmla="*/ 115 h 190"/>
                <a:gd name="T72" fmla="*/ 6 w 95"/>
                <a:gd name="T73" fmla="*/ 119 h 190"/>
                <a:gd name="T74" fmla="*/ 13 w 95"/>
                <a:gd name="T75" fmla="*/ 131 h 190"/>
                <a:gd name="T76" fmla="*/ 25 w 95"/>
                <a:gd name="T77" fmla="*/ 138 h 190"/>
                <a:gd name="T78" fmla="*/ 34 w 95"/>
                <a:gd name="T79" fmla="*/ 140 h 190"/>
                <a:gd name="T80" fmla="*/ 45 w 95"/>
                <a:gd name="T81" fmla="*/ 135 h 190"/>
                <a:gd name="T82" fmla="*/ 51 w 95"/>
                <a:gd name="T83" fmla="*/ 135 h 190"/>
                <a:gd name="T84" fmla="*/ 46 w 95"/>
                <a:gd name="T85" fmla="*/ 145 h 190"/>
                <a:gd name="T86" fmla="*/ 31 w 95"/>
                <a:gd name="T87" fmla="*/ 150 h 190"/>
                <a:gd name="T88" fmla="*/ 23 w 95"/>
                <a:gd name="T89" fmla="*/ 149 h 190"/>
                <a:gd name="T90" fmla="*/ 20 w 95"/>
                <a:gd name="T91" fmla="*/ 155 h 190"/>
                <a:gd name="T92" fmla="*/ 27 w 95"/>
                <a:gd name="T93" fmla="*/ 162 h 190"/>
                <a:gd name="T94" fmla="*/ 41 w 95"/>
                <a:gd name="T95" fmla="*/ 175 h 190"/>
                <a:gd name="T96" fmla="*/ 50 w 95"/>
                <a:gd name="T97" fmla="*/ 185 h 190"/>
                <a:gd name="T98" fmla="*/ 64 w 95"/>
                <a:gd name="T99" fmla="*/ 190 h 190"/>
                <a:gd name="T100" fmla="*/ 76 w 95"/>
                <a:gd name="T101" fmla="*/ 185 h 190"/>
                <a:gd name="T102" fmla="*/ 95 w 95"/>
                <a:gd name="T103" fmla="*/ 172 h 190"/>
                <a:gd name="T104" fmla="*/ 89 w 95"/>
                <a:gd name="T105" fmla="*/ 162 h 190"/>
                <a:gd name="T106" fmla="*/ 93 w 95"/>
                <a:gd name="T107" fmla="*/ 162 h 190"/>
                <a:gd name="T108" fmla="*/ 95 w 95"/>
                <a:gd name="T109" fmla="*/ 157 h 190"/>
                <a:gd name="T110" fmla="*/ 93 w 95"/>
                <a:gd name="T111" fmla="*/ 152 h 190"/>
                <a:gd name="T112" fmla="*/ 95 w 95"/>
                <a:gd name="T113"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5" h="190">
                  <a:moveTo>
                    <a:pt x="95" y="0"/>
                  </a:moveTo>
                  <a:cubicBezTo>
                    <a:pt x="85" y="13"/>
                    <a:pt x="85" y="13"/>
                    <a:pt x="85" y="13"/>
                  </a:cubicBezTo>
                  <a:cubicBezTo>
                    <a:pt x="84" y="13"/>
                    <a:pt x="83" y="14"/>
                    <a:pt x="82" y="14"/>
                  </a:cubicBezTo>
                  <a:cubicBezTo>
                    <a:pt x="81" y="14"/>
                    <a:pt x="79" y="15"/>
                    <a:pt x="76" y="15"/>
                  </a:cubicBezTo>
                  <a:cubicBezTo>
                    <a:pt x="76" y="15"/>
                    <a:pt x="76" y="15"/>
                    <a:pt x="76" y="15"/>
                  </a:cubicBezTo>
                  <a:cubicBezTo>
                    <a:pt x="75" y="15"/>
                    <a:pt x="75" y="15"/>
                    <a:pt x="74" y="15"/>
                  </a:cubicBezTo>
                  <a:cubicBezTo>
                    <a:pt x="74" y="15"/>
                    <a:pt x="73" y="15"/>
                    <a:pt x="73" y="15"/>
                  </a:cubicBezTo>
                  <a:cubicBezTo>
                    <a:pt x="72" y="16"/>
                    <a:pt x="72" y="16"/>
                    <a:pt x="72" y="16"/>
                  </a:cubicBezTo>
                  <a:cubicBezTo>
                    <a:pt x="72" y="15"/>
                    <a:pt x="72" y="15"/>
                    <a:pt x="72" y="15"/>
                  </a:cubicBezTo>
                  <a:cubicBezTo>
                    <a:pt x="70" y="16"/>
                    <a:pt x="68" y="16"/>
                    <a:pt x="67" y="17"/>
                  </a:cubicBezTo>
                  <a:cubicBezTo>
                    <a:pt x="66" y="18"/>
                    <a:pt x="66" y="18"/>
                    <a:pt x="66" y="18"/>
                  </a:cubicBezTo>
                  <a:cubicBezTo>
                    <a:pt x="65" y="18"/>
                    <a:pt x="64" y="18"/>
                    <a:pt x="63" y="18"/>
                  </a:cubicBezTo>
                  <a:cubicBezTo>
                    <a:pt x="61" y="18"/>
                    <a:pt x="60" y="18"/>
                    <a:pt x="59" y="17"/>
                  </a:cubicBezTo>
                  <a:cubicBezTo>
                    <a:pt x="59" y="17"/>
                    <a:pt x="59" y="17"/>
                    <a:pt x="59" y="17"/>
                  </a:cubicBezTo>
                  <a:cubicBezTo>
                    <a:pt x="58" y="16"/>
                    <a:pt x="58" y="16"/>
                    <a:pt x="58" y="16"/>
                  </a:cubicBezTo>
                  <a:cubicBezTo>
                    <a:pt x="57" y="15"/>
                    <a:pt x="56" y="14"/>
                    <a:pt x="56" y="13"/>
                  </a:cubicBezTo>
                  <a:cubicBezTo>
                    <a:pt x="56" y="12"/>
                    <a:pt x="55" y="12"/>
                    <a:pt x="55" y="11"/>
                  </a:cubicBezTo>
                  <a:cubicBezTo>
                    <a:pt x="55" y="11"/>
                    <a:pt x="55" y="11"/>
                    <a:pt x="55" y="11"/>
                  </a:cubicBezTo>
                  <a:cubicBezTo>
                    <a:pt x="54" y="11"/>
                    <a:pt x="54" y="11"/>
                    <a:pt x="54" y="11"/>
                  </a:cubicBezTo>
                  <a:cubicBezTo>
                    <a:pt x="54" y="10"/>
                    <a:pt x="54" y="10"/>
                    <a:pt x="54" y="10"/>
                  </a:cubicBezTo>
                  <a:cubicBezTo>
                    <a:pt x="53" y="10"/>
                    <a:pt x="53" y="10"/>
                    <a:pt x="53" y="10"/>
                  </a:cubicBezTo>
                  <a:cubicBezTo>
                    <a:pt x="53" y="11"/>
                    <a:pt x="53" y="11"/>
                    <a:pt x="53" y="11"/>
                  </a:cubicBezTo>
                  <a:cubicBezTo>
                    <a:pt x="52" y="11"/>
                    <a:pt x="52" y="11"/>
                    <a:pt x="52" y="11"/>
                  </a:cubicBezTo>
                  <a:cubicBezTo>
                    <a:pt x="51" y="12"/>
                    <a:pt x="51" y="12"/>
                    <a:pt x="51" y="12"/>
                  </a:cubicBezTo>
                  <a:cubicBezTo>
                    <a:pt x="51" y="12"/>
                    <a:pt x="51" y="12"/>
                    <a:pt x="51" y="12"/>
                  </a:cubicBezTo>
                  <a:cubicBezTo>
                    <a:pt x="50" y="13"/>
                    <a:pt x="50" y="13"/>
                    <a:pt x="50" y="13"/>
                  </a:cubicBezTo>
                  <a:cubicBezTo>
                    <a:pt x="48" y="15"/>
                    <a:pt x="48" y="15"/>
                    <a:pt x="48" y="15"/>
                  </a:cubicBezTo>
                  <a:cubicBezTo>
                    <a:pt x="48" y="15"/>
                    <a:pt x="48" y="15"/>
                    <a:pt x="48" y="15"/>
                  </a:cubicBezTo>
                  <a:cubicBezTo>
                    <a:pt x="47" y="16"/>
                    <a:pt x="47" y="16"/>
                    <a:pt x="47" y="16"/>
                  </a:cubicBezTo>
                  <a:cubicBezTo>
                    <a:pt x="47" y="17"/>
                    <a:pt x="46" y="17"/>
                    <a:pt x="46" y="18"/>
                  </a:cubicBezTo>
                  <a:cubicBezTo>
                    <a:pt x="45" y="19"/>
                    <a:pt x="43" y="21"/>
                    <a:pt x="42" y="22"/>
                  </a:cubicBezTo>
                  <a:cubicBezTo>
                    <a:pt x="40" y="25"/>
                    <a:pt x="37" y="28"/>
                    <a:pt x="35" y="31"/>
                  </a:cubicBezTo>
                  <a:cubicBezTo>
                    <a:pt x="33" y="34"/>
                    <a:pt x="33" y="36"/>
                    <a:pt x="33" y="38"/>
                  </a:cubicBezTo>
                  <a:cubicBezTo>
                    <a:pt x="33" y="38"/>
                    <a:pt x="33" y="38"/>
                    <a:pt x="33" y="38"/>
                  </a:cubicBezTo>
                  <a:cubicBezTo>
                    <a:pt x="34" y="39"/>
                    <a:pt x="35" y="40"/>
                    <a:pt x="37" y="40"/>
                  </a:cubicBezTo>
                  <a:cubicBezTo>
                    <a:pt x="38" y="41"/>
                    <a:pt x="38" y="41"/>
                    <a:pt x="38" y="41"/>
                  </a:cubicBezTo>
                  <a:cubicBezTo>
                    <a:pt x="39" y="41"/>
                    <a:pt x="41" y="41"/>
                    <a:pt x="42" y="41"/>
                  </a:cubicBezTo>
                  <a:cubicBezTo>
                    <a:pt x="43" y="41"/>
                    <a:pt x="43" y="41"/>
                    <a:pt x="44" y="41"/>
                  </a:cubicBezTo>
                  <a:cubicBezTo>
                    <a:pt x="45" y="41"/>
                    <a:pt x="46" y="42"/>
                    <a:pt x="47" y="42"/>
                  </a:cubicBezTo>
                  <a:cubicBezTo>
                    <a:pt x="48" y="43"/>
                    <a:pt x="49" y="45"/>
                    <a:pt x="49" y="46"/>
                  </a:cubicBezTo>
                  <a:cubicBezTo>
                    <a:pt x="49" y="48"/>
                    <a:pt x="49" y="50"/>
                    <a:pt x="49" y="52"/>
                  </a:cubicBezTo>
                  <a:cubicBezTo>
                    <a:pt x="49" y="54"/>
                    <a:pt x="48" y="55"/>
                    <a:pt x="49" y="57"/>
                  </a:cubicBezTo>
                  <a:cubicBezTo>
                    <a:pt x="49" y="57"/>
                    <a:pt x="49" y="58"/>
                    <a:pt x="49" y="58"/>
                  </a:cubicBezTo>
                  <a:cubicBezTo>
                    <a:pt x="49" y="59"/>
                    <a:pt x="49" y="59"/>
                    <a:pt x="49" y="59"/>
                  </a:cubicBezTo>
                  <a:cubicBezTo>
                    <a:pt x="50" y="61"/>
                    <a:pt x="50" y="63"/>
                    <a:pt x="51" y="63"/>
                  </a:cubicBezTo>
                  <a:cubicBezTo>
                    <a:pt x="52" y="64"/>
                    <a:pt x="52" y="64"/>
                    <a:pt x="52" y="64"/>
                  </a:cubicBezTo>
                  <a:cubicBezTo>
                    <a:pt x="52" y="64"/>
                    <a:pt x="52" y="64"/>
                    <a:pt x="53" y="64"/>
                  </a:cubicBezTo>
                  <a:cubicBezTo>
                    <a:pt x="53" y="64"/>
                    <a:pt x="53" y="64"/>
                    <a:pt x="53" y="64"/>
                  </a:cubicBezTo>
                  <a:cubicBezTo>
                    <a:pt x="54" y="64"/>
                    <a:pt x="54" y="64"/>
                    <a:pt x="54" y="64"/>
                  </a:cubicBezTo>
                  <a:cubicBezTo>
                    <a:pt x="54" y="64"/>
                    <a:pt x="54" y="64"/>
                    <a:pt x="54" y="64"/>
                  </a:cubicBezTo>
                  <a:cubicBezTo>
                    <a:pt x="54" y="64"/>
                    <a:pt x="54" y="64"/>
                    <a:pt x="54" y="64"/>
                  </a:cubicBezTo>
                  <a:cubicBezTo>
                    <a:pt x="55" y="63"/>
                    <a:pt x="55" y="63"/>
                    <a:pt x="55" y="63"/>
                  </a:cubicBezTo>
                  <a:cubicBezTo>
                    <a:pt x="56" y="63"/>
                    <a:pt x="56" y="63"/>
                    <a:pt x="57" y="63"/>
                  </a:cubicBezTo>
                  <a:cubicBezTo>
                    <a:pt x="57" y="63"/>
                    <a:pt x="57" y="63"/>
                    <a:pt x="57" y="63"/>
                  </a:cubicBezTo>
                  <a:cubicBezTo>
                    <a:pt x="59" y="64"/>
                    <a:pt x="60" y="65"/>
                    <a:pt x="61" y="67"/>
                  </a:cubicBezTo>
                  <a:cubicBezTo>
                    <a:pt x="61" y="68"/>
                    <a:pt x="62" y="69"/>
                    <a:pt x="62" y="70"/>
                  </a:cubicBezTo>
                  <a:cubicBezTo>
                    <a:pt x="62" y="71"/>
                    <a:pt x="62" y="73"/>
                    <a:pt x="63" y="74"/>
                  </a:cubicBezTo>
                  <a:cubicBezTo>
                    <a:pt x="63" y="75"/>
                    <a:pt x="63" y="75"/>
                    <a:pt x="64" y="76"/>
                  </a:cubicBezTo>
                  <a:cubicBezTo>
                    <a:pt x="64" y="77"/>
                    <a:pt x="64" y="77"/>
                    <a:pt x="64" y="77"/>
                  </a:cubicBezTo>
                  <a:cubicBezTo>
                    <a:pt x="64" y="77"/>
                    <a:pt x="64" y="77"/>
                    <a:pt x="64" y="77"/>
                  </a:cubicBezTo>
                  <a:cubicBezTo>
                    <a:pt x="69" y="88"/>
                    <a:pt x="69" y="88"/>
                    <a:pt x="69" y="88"/>
                  </a:cubicBezTo>
                  <a:cubicBezTo>
                    <a:pt x="70" y="89"/>
                    <a:pt x="70" y="90"/>
                    <a:pt x="70" y="92"/>
                  </a:cubicBezTo>
                  <a:cubicBezTo>
                    <a:pt x="70" y="93"/>
                    <a:pt x="69" y="94"/>
                    <a:pt x="69" y="94"/>
                  </a:cubicBezTo>
                  <a:cubicBezTo>
                    <a:pt x="69" y="95"/>
                    <a:pt x="69" y="95"/>
                    <a:pt x="69" y="95"/>
                  </a:cubicBezTo>
                  <a:cubicBezTo>
                    <a:pt x="69" y="96"/>
                    <a:pt x="69" y="96"/>
                    <a:pt x="69" y="96"/>
                  </a:cubicBezTo>
                  <a:cubicBezTo>
                    <a:pt x="70" y="96"/>
                    <a:pt x="70" y="96"/>
                    <a:pt x="70" y="96"/>
                  </a:cubicBezTo>
                  <a:cubicBezTo>
                    <a:pt x="71" y="97"/>
                    <a:pt x="71" y="97"/>
                    <a:pt x="71" y="97"/>
                  </a:cubicBezTo>
                  <a:cubicBezTo>
                    <a:pt x="71" y="98"/>
                    <a:pt x="71" y="98"/>
                    <a:pt x="71" y="98"/>
                  </a:cubicBezTo>
                  <a:cubicBezTo>
                    <a:pt x="71" y="100"/>
                    <a:pt x="69" y="101"/>
                    <a:pt x="69" y="101"/>
                  </a:cubicBezTo>
                  <a:cubicBezTo>
                    <a:pt x="68" y="102"/>
                    <a:pt x="67" y="102"/>
                    <a:pt x="67" y="103"/>
                  </a:cubicBezTo>
                  <a:cubicBezTo>
                    <a:pt x="66" y="103"/>
                    <a:pt x="66" y="103"/>
                    <a:pt x="65" y="103"/>
                  </a:cubicBezTo>
                  <a:cubicBezTo>
                    <a:pt x="65" y="103"/>
                    <a:pt x="65" y="103"/>
                    <a:pt x="65" y="103"/>
                  </a:cubicBezTo>
                  <a:cubicBezTo>
                    <a:pt x="65" y="103"/>
                    <a:pt x="65" y="103"/>
                    <a:pt x="65" y="103"/>
                  </a:cubicBezTo>
                  <a:cubicBezTo>
                    <a:pt x="65" y="104"/>
                    <a:pt x="65" y="104"/>
                    <a:pt x="65" y="104"/>
                  </a:cubicBezTo>
                  <a:cubicBezTo>
                    <a:pt x="64" y="105"/>
                    <a:pt x="64" y="105"/>
                    <a:pt x="64" y="105"/>
                  </a:cubicBezTo>
                  <a:cubicBezTo>
                    <a:pt x="63" y="105"/>
                    <a:pt x="62" y="105"/>
                    <a:pt x="61" y="105"/>
                  </a:cubicBezTo>
                  <a:cubicBezTo>
                    <a:pt x="60" y="105"/>
                    <a:pt x="60" y="105"/>
                    <a:pt x="60" y="105"/>
                  </a:cubicBezTo>
                  <a:cubicBezTo>
                    <a:pt x="58" y="105"/>
                    <a:pt x="57" y="104"/>
                    <a:pt x="55" y="103"/>
                  </a:cubicBezTo>
                  <a:cubicBezTo>
                    <a:pt x="55" y="103"/>
                    <a:pt x="55" y="103"/>
                    <a:pt x="54" y="102"/>
                  </a:cubicBezTo>
                  <a:cubicBezTo>
                    <a:pt x="54" y="102"/>
                    <a:pt x="54" y="102"/>
                    <a:pt x="54" y="102"/>
                  </a:cubicBezTo>
                  <a:cubicBezTo>
                    <a:pt x="54" y="102"/>
                    <a:pt x="54" y="102"/>
                    <a:pt x="54" y="102"/>
                  </a:cubicBezTo>
                  <a:cubicBezTo>
                    <a:pt x="52" y="102"/>
                    <a:pt x="52" y="102"/>
                    <a:pt x="52" y="102"/>
                  </a:cubicBezTo>
                  <a:cubicBezTo>
                    <a:pt x="50" y="103"/>
                    <a:pt x="48" y="103"/>
                    <a:pt x="47" y="104"/>
                  </a:cubicBezTo>
                  <a:cubicBezTo>
                    <a:pt x="47" y="104"/>
                    <a:pt x="47" y="104"/>
                    <a:pt x="47" y="104"/>
                  </a:cubicBezTo>
                  <a:cubicBezTo>
                    <a:pt x="46" y="106"/>
                    <a:pt x="46" y="106"/>
                    <a:pt x="46" y="106"/>
                  </a:cubicBezTo>
                  <a:cubicBezTo>
                    <a:pt x="45" y="107"/>
                    <a:pt x="45" y="107"/>
                    <a:pt x="45" y="107"/>
                  </a:cubicBezTo>
                  <a:cubicBezTo>
                    <a:pt x="44" y="107"/>
                    <a:pt x="42" y="107"/>
                    <a:pt x="41" y="107"/>
                  </a:cubicBezTo>
                  <a:cubicBezTo>
                    <a:pt x="41" y="107"/>
                    <a:pt x="40" y="107"/>
                    <a:pt x="40" y="107"/>
                  </a:cubicBezTo>
                  <a:cubicBezTo>
                    <a:pt x="38" y="107"/>
                    <a:pt x="37" y="107"/>
                    <a:pt x="36" y="107"/>
                  </a:cubicBezTo>
                  <a:cubicBezTo>
                    <a:pt x="36" y="107"/>
                    <a:pt x="35" y="107"/>
                    <a:pt x="34" y="106"/>
                  </a:cubicBezTo>
                  <a:cubicBezTo>
                    <a:pt x="27" y="106"/>
                    <a:pt x="27" y="106"/>
                    <a:pt x="27" y="106"/>
                  </a:cubicBezTo>
                  <a:cubicBezTo>
                    <a:pt x="23" y="105"/>
                    <a:pt x="20" y="105"/>
                    <a:pt x="16" y="104"/>
                  </a:cubicBezTo>
                  <a:cubicBezTo>
                    <a:pt x="16" y="106"/>
                    <a:pt x="16" y="107"/>
                    <a:pt x="16" y="108"/>
                  </a:cubicBezTo>
                  <a:cubicBezTo>
                    <a:pt x="16" y="109"/>
                    <a:pt x="16" y="109"/>
                    <a:pt x="16" y="109"/>
                  </a:cubicBezTo>
                  <a:cubicBezTo>
                    <a:pt x="16" y="109"/>
                    <a:pt x="15" y="110"/>
                    <a:pt x="15" y="110"/>
                  </a:cubicBezTo>
                  <a:cubicBezTo>
                    <a:pt x="15" y="111"/>
                    <a:pt x="15" y="111"/>
                    <a:pt x="15" y="111"/>
                  </a:cubicBezTo>
                  <a:cubicBezTo>
                    <a:pt x="14" y="112"/>
                    <a:pt x="13" y="112"/>
                    <a:pt x="13" y="112"/>
                  </a:cubicBezTo>
                  <a:cubicBezTo>
                    <a:pt x="12" y="113"/>
                    <a:pt x="11" y="113"/>
                    <a:pt x="10" y="113"/>
                  </a:cubicBezTo>
                  <a:cubicBezTo>
                    <a:pt x="10" y="113"/>
                    <a:pt x="10" y="113"/>
                    <a:pt x="10" y="113"/>
                  </a:cubicBezTo>
                  <a:cubicBezTo>
                    <a:pt x="10" y="113"/>
                    <a:pt x="9" y="113"/>
                    <a:pt x="9" y="112"/>
                  </a:cubicBezTo>
                  <a:cubicBezTo>
                    <a:pt x="8" y="112"/>
                    <a:pt x="8" y="112"/>
                    <a:pt x="8" y="112"/>
                  </a:cubicBezTo>
                  <a:cubicBezTo>
                    <a:pt x="0" y="119"/>
                    <a:pt x="0" y="119"/>
                    <a:pt x="0" y="119"/>
                  </a:cubicBezTo>
                  <a:cubicBezTo>
                    <a:pt x="0" y="119"/>
                    <a:pt x="0" y="119"/>
                    <a:pt x="1" y="119"/>
                  </a:cubicBezTo>
                  <a:cubicBezTo>
                    <a:pt x="2" y="119"/>
                    <a:pt x="3" y="119"/>
                    <a:pt x="4" y="118"/>
                  </a:cubicBezTo>
                  <a:cubicBezTo>
                    <a:pt x="7" y="116"/>
                    <a:pt x="10" y="114"/>
                    <a:pt x="14" y="113"/>
                  </a:cubicBezTo>
                  <a:cubicBezTo>
                    <a:pt x="14" y="112"/>
                    <a:pt x="14" y="112"/>
                    <a:pt x="14" y="112"/>
                  </a:cubicBezTo>
                  <a:cubicBezTo>
                    <a:pt x="13" y="113"/>
                    <a:pt x="13" y="113"/>
                    <a:pt x="13" y="113"/>
                  </a:cubicBezTo>
                  <a:cubicBezTo>
                    <a:pt x="12" y="114"/>
                    <a:pt x="11" y="114"/>
                    <a:pt x="9" y="115"/>
                  </a:cubicBezTo>
                  <a:cubicBezTo>
                    <a:pt x="8" y="116"/>
                    <a:pt x="7" y="118"/>
                    <a:pt x="6" y="118"/>
                  </a:cubicBezTo>
                  <a:cubicBezTo>
                    <a:pt x="6" y="118"/>
                    <a:pt x="6" y="118"/>
                    <a:pt x="6" y="118"/>
                  </a:cubicBezTo>
                  <a:cubicBezTo>
                    <a:pt x="6" y="119"/>
                    <a:pt x="6" y="119"/>
                    <a:pt x="6" y="119"/>
                  </a:cubicBezTo>
                  <a:cubicBezTo>
                    <a:pt x="6" y="119"/>
                    <a:pt x="6" y="119"/>
                    <a:pt x="6" y="120"/>
                  </a:cubicBezTo>
                  <a:cubicBezTo>
                    <a:pt x="7" y="122"/>
                    <a:pt x="8" y="124"/>
                    <a:pt x="9" y="126"/>
                  </a:cubicBezTo>
                  <a:cubicBezTo>
                    <a:pt x="10" y="128"/>
                    <a:pt x="11" y="130"/>
                    <a:pt x="13" y="131"/>
                  </a:cubicBezTo>
                  <a:cubicBezTo>
                    <a:pt x="14" y="132"/>
                    <a:pt x="14" y="132"/>
                    <a:pt x="15" y="133"/>
                  </a:cubicBezTo>
                  <a:cubicBezTo>
                    <a:pt x="16" y="134"/>
                    <a:pt x="17" y="134"/>
                    <a:pt x="19" y="135"/>
                  </a:cubicBezTo>
                  <a:cubicBezTo>
                    <a:pt x="21" y="136"/>
                    <a:pt x="23" y="137"/>
                    <a:pt x="25" y="138"/>
                  </a:cubicBezTo>
                  <a:cubicBezTo>
                    <a:pt x="26" y="138"/>
                    <a:pt x="26" y="138"/>
                    <a:pt x="27" y="138"/>
                  </a:cubicBezTo>
                  <a:cubicBezTo>
                    <a:pt x="28" y="139"/>
                    <a:pt x="30" y="139"/>
                    <a:pt x="32" y="140"/>
                  </a:cubicBezTo>
                  <a:cubicBezTo>
                    <a:pt x="33" y="140"/>
                    <a:pt x="34" y="140"/>
                    <a:pt x="34" y="140"/>
                  </a:cubicBezTo>
                  <a:cubicBezTo>
                    <a:pt x="35" y="140"/>
                    <a:pt x="35" y="140"/>
                    <a:pt x="35" y="140"/>
                  </a:cubicBezTo>
                  <a:cubicBezTo>
                    <a:pt x="37" y="140"/>
                    <a:pt x="38" y="138"/>
                    <a:pt x="40" y="137"/>
                  </a:cubicBezTo>
                  <a:cubicBezTo>
                    <a:pt x="42" y="137"/>
                    <a:pt x="46" y="136"/>
                    <a:pt x="45" y="135"/>
                  </a:cubicBezTo>
                  <a:cubicBezTo>
                    <a:pt x="46" y="135"/>
                    <a:pt x="46" y="135"/>
                    <a:pt x="46" y="135"/>
                  </a:cubicBezTo>
                  <a:cubicBezTo>
                    <a:pt x="47" y="135"/>
                    <a:pt x="49" y="136"/>
                    <a:pt x="50" y="136"/>
                  </a:cubicBezTo>
                  <a:cubicBezTo>
                    <a:pt x="50" y="136"/>
                    <a:pt x="51" y="136"/>
                    <a:pt x="51" y="135"/>
                  </a:cubicBezTo>
                  <a:cubicBezTo>
                    <a:pt x="52" y="135"/>
                    <a:pt x="52" y="132"/>
                    <a:pt x="54" y="131"/>
                  </a:cubicBezTo>
                  <a:cubicBezTo>
                    <a:pt x="52" y="133"/>
                    <a:pt x="51" y="137"/>
                    <a:pt x="49" y="141"/>
                  </a:cubicBezTo>
                  <a:cubicBezTo>
                    <a:pt x="48" y="143"/>
                    <a:pt x="47" y="144"/>
                    <a:pt x="46" y="145"/>
                  </a:cubicBezTo>
                  <a:cubicBezTo>
                    <a:pt x="45" y="145"/>
                    <a:pt x="44" y="146"/>
                    <a:pt x="44" y="146"/>
                  </a:cubicBezTo>
                  <a:cubicBezTo>
                    <a:pt x="40" y="148"/>
                    <a:pt x="35" y="149"/>
                    <a:pt x="32" y="150"/>
                  </a:cubicBezTo>
                  <a:cubicBezTo>
                    <a:pt x="32" y="150"/>
                    <a:pt x="31" y="150"/>
                    <a:pt x="31" y="150"/>
                  </a:cubicBezTo>
                  <a:cubicBezTo>
                    <a:pt x="29" y="150"/>
                    <a:pt x="26" y="151"/>
                    <a:pt x="24" y="151"/>
                  </a:cubicBezTo>
                  <a:cubicBezTo>
                    <a:pt x="22" y="151"/>
                    <a:pt x="22" y="151"/>
                    <a:pt x="23" y="149"/>
                  </a:cubicBezTo>
                  <a:cubicBezTo>
                    <a:pt x="23" y="149"/>
                    <a:pt x="23" y="149"/>
                    <a:pt x="23" y="149"/>
                  </a:cubicBezTo>
                  <a:cubicBezTo>
                    <a:pt x="22" y="148"/>
                    <a:pt x="21" y="148"/>
                    <a:pt x="20" y="148"/>
                  </a:cubicBezTo>
                  <a:cubicBezTo>
                    <a:pt x="18" y="148"/>
                    <a:pt x="17" y="150"/>
                    <a:pt x="19" y="153"/>
                  </a:cubicBezTo>
                  <a:cubicBezTo>
                    <a:pt x="19" y="154"/>
                    <a:pt x="19" y="154"/>
                    <a:pt x="20" y="155"/>
                  </a:cubicBezTo>
                  <a:cubicBezTo>
                    <a:pt x="21" y="156"/>
                    <a:pt x="22" y="157"/>
                    <a:pt x="23" y="158"/>
                  </a:cubicBezTo>
                  <a:cubicBezTo>
                    <a:pt x="24" y="159"/>
                    <a:pt x="25" y="160"/>
                    <a:pt x="26" y="161"/>
                  </a:cubicBezTo>
                  <a:cubicBezTo>
                    <a:pt x="26" y="162"/>
                    <a:pt x="27" y="162"/>
                    <a:pt x="27" y="162"/>
                  </a:cubicBezTo>
                  <a:cubicBezTo>
                    <a:pt x="29" y="164"/>
                    <a:pt x="31" y="165"/>
                    <a:pt x="32" y="167"/>
                  </a:cubicBezTo>
                  <a:cubicBezTo>
                    <a:pt x="34" y="168"/>
                    <a:pt x="35" y="170"/>
                    <a:pt x="37" y="171"/>
                  </a:cubicBezTo>
                  <a:cubicBezTo>
                    <a:pt x="38" y="173"/>
                    <a:pt x="39" y="174"/>
                    <a:pt x="41" y="175"/>
                  </a:cubicBezTo>
                  <a:cubicBezTo>
                    <a:pt x="41" y="176"/>
                    <a:pt x="41" y="176"/>
                    <a:pt x="41" y="176"/>
                  </a:cubicBezTo>
                  <a:cubicBezTo>
                    <a:pt x="43" y="177"/>
                    <a:pt x="44" y="179"/>
                    <a:pt x="46" y="181"/>
                  </a:cubicBezTo>
                  <a:cubicBezTo>
                    <a:pt x="47" y="182"/>
                    <a:pt x="49" y="184"/>
                    <a:pt x="50" y="185"/>
                  </a:cubicBezTo>
                  <a:cubicBezTo>
                    <a:pt x="52" y="187"/>
                    <a:pt x="54" y="188"/>
                    <a:pt x="55" y="188"/>
                  </a:cubicBezTo>
                  <a:cubicBezTo>
                    <a:pt x="55" y="188"/>
                    <a:pt x="56" y="188"/>
                    <a:pt x="56" y="188"/>
                  </a:cubicBezTo>
                  <a:cubicBezTo>
                    <a:pt x="58" y="189"/>
                    <a:pt x="62" y="190"/>
                    <a:pt x="64" y="190"/>
                  </a:cubicBezTo>
                  <a:cubicBezTo>
                    <a:pt x="64" y="190"/>
                    <a:pt x="64" y="190"/>
                    <a:pt x="65" y="190"/>
                  </a:cubicBezTo>
                  <a:cubicBezTo>
                    <a:pt x="65" y="190"/>
                    <a:pt x="65" y="190"/>
                    <a:pt x="65" y="190"/>
                  </a:cubicBezTo>
                  <a:cubicBezTo>
                    <a:pt x="69" y="188"/>
                    <a:pt x="73" y="187"/>
                    <a:pt x="76" y="185"/>
                  </a:cubicBezTo>
                  <a:cubicBezTo>
                    <a:pt x="77" y="185"/>
                    <a:pt x="77" y="185"/>
                    <a:pt x="78" y="185"/>
                  </a:cubicBezTo>
                  <a:cubicBezTo>
                    <a:pt x="83" y="183"/>
                    <a:pt x="89" y="181"/>
                    <a:pt x="92" y="178"/>
                  </a:cubicBezTo>
                  <a:cubicBezTo>
                    <a:pt x="93" y="176"/>
                    <a:pt x="94" y="174"/>
                    <a:pt x="95" y="172"/>
                  </a:cubicBezTo>
                  <a:cubicBezTo>
                    <a:pt x="95" y="165"/>
                    <a:pt x="95" y="165"/>
                    <a:pt x="95" y="165"/>
                  </a:cubicBezTo>
                  <a:cubicBezTo>
                    <a:pt x="93" y="164"/>
                    <a:pt x="92" y="164"/>
                    <a:pt x="91" y="163"/>
                  </a:cubicBezTo>
                  <a:cubicBezTo>
                    <a:pt x="90" y="163"/>
                    <a:pt x="90" y="163"/>
                    <a:pt x="89" y="162"/>
                  </a:cubicBezTo>
                  <a:cubicBezTo>
                    <a:pt x="90" y="161"/>
                    <a:pt x="91" y="161"/>
                    <a:pt x="91" y="161"/>
                  </a:cubicBezTo>
                  <a:cubicBezTo>
                    <a:pt x="92" y="161"/>
                    <a:pt x="92" y="161"/>
                    <a:pt x="92" y="161"/>
                  </a:cubicBezTo>
                  <a:cubicBezTo>
                    <a:pt x="93" y="162"/>
                    <a:pt x="93" y="162"/>
                    <a:pt x="93" y="162"/>
                  </a:cubicBezTo>
                  <a:cubicBezTo>
                    <a:pt x="93" y="162"/>
                    <a:pt x="93" y="161"/>
                    <a:pt x="93" y="161"/>
                  </a:cubicBezTo>
                  <a:cubicBezTo>
                    <a:pt x="92" y="161"/>
                    <a:pt x="92" y="160"/>
                    <a:pt x="91" y="159"/>
                  </a:cubicBezTo>
                  <a:cubicBezTo>
                    <a:pt x="92" y="159"/>
                    <a:pt x="93" y="158"/>
                    <a:pt x="95" y="157"/>
                  </a:cubicBezTo>
                  <a:cubicBezTo>
                    <a:pt x="95" y="152"/>
                    <a:pt x="95" y="152"/>
                    <a:pt x="95" y="152"/>
                  </a:cubicBezTo>
                  <a:cubicBezTo>
                    <a:pt x="94" y="152"/>
                    <a:pt x="94" y="152"/>
                    <a:pt x="93" y="152"/>
                  </a:cubicBezTo>
                  <a:cubicBezTo>
                    <a:pt x="93" y="152"/>
                    <a:pt x="93" y="152"/>
                    <a:pt x="93" y="152"/>
                  </a:cubicBezTo>
                  <a:cubicBezTo>
                    <a:pt x="93" y="152"/>
                    <a:pt x="93" y="152"/>
                    <a:pt x="93" y="152"/>
                  </a:cubicBezTo>
                  <a:cubicBezTo>
                    <a:pt x="94" y="152"/>
                    <a:pt x="94" y="152"/>
                    <a:pt x="95" y="152"/>
                  </a:cubicBezTo>
                  <a:cubicBezTo>
                    <a:pt x="95" y="0"/>
                    <a:pt x="95" y="0"/>
                    <a:pt x="9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2" name="Rectangle 281">
              <a:extLst>
                <a:ext uri="{FF2B5EF4-FFF2-40B4-BE49-F238E27FC236}">
                  <a16:creationId xmlns:a16="http://schemas.microsoft.com/office/drawing/2014/main" id="{147EB560-7622-4886-BF0F-22DDB84B553A}"/>
                </a:ext>
              </a:extLst>
            </p:cNvPr>
            <p:cNvSpPr>
              <a:spLocks noChangeArrowheads="1"/>
            </p:cNvSpPr>
            <p:nvPr/>
          </p:nvSpPr>
          <p:spPr bwMode="auto">
            <a:xfrm>
              <a:off x="7451" y="1417"/>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3" name="Freeform 282">
              <a:extLst>
                <a:ext uri="{FF2B5EF4-FFF2-40B4-BE49-F238E27FC236}">
                  <a16:creationId xmlns:a16="http://schemas.microsoft.com/office/drawing/2014/main" id="{8BEA524C-D284-428C-8BDB-66F0211A1450}"/>
                </a:ext>
              </a:extLst>
            </p:cNvPr>
            <p:cNvSpPr>
              <a:spLocks/>
            </p:cNvSpPr>
            <p:nvPr/>
          </p:nvSpPr>
          <p:spPr bwMode="auto">
            <a:xfrm>
              <a:off x="7451" y="1417"/>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4" name="Rectangle 283">
              <a:extLst>
                <a:ext uri="{FF2B5EF4-FFF2-40B4-BE49-F238E27FC236}">
                  <a16:creationId xmlns:a16="http://schemas.microsoft.com/office/drawing/2014/main" id="{8C1E82E1-06A0-488E-B169-6C8E3015DAB4}"/>
                </a:ext>
              </a:extLst>
            </p:cNvPr>
            <p:cNvSpPr>
              <a:spLocks noChangeArrowheads="1"/>
            </p:cNvSpPr>
            <p:nvPr/>
          </p:nvSpPr>
          <p:spPr bwMode="auto">
            <a:xfrm>
              <a:off x="7489" y="937"/>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5" name="Freeform 284">
              <a:extLst>
                <a:ext uri="{FF2B5EF4-FFF2-40B4-BE49-F238E27FC236}">
                  <a16:creationId xmlns:a16="http://schemas.microsoft.com/office/drawing/2014/main" id="{34BECD01-9231-4C6E-8B1F-9E1645441DD3}"/>
                </a:ext>
              </a:extLst>
            </p:cNvPr>
            <p:cNvSpPr>
              <a:spLocks/>
            </p:cNvSpPr>
            <p:nvPr/>
          </p:nvSpPr>
          <p:spPr bwMode="auto">
            <a:xfrm>
              <a:off x="7489" y="937"/>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6" name="Freeform 285">
              <a:extLst>
                <a:ext uri="{FF2B5EF4-FFF2-40B4-BE49-F238E27FC236}">
                  <a16:creationId xmlns:a16="http://schemas.microsoft.com/office/drawing/2014/main" id="{8137FF34-74D8-497B-800C-CA69C6EC1406}"/>
                </a:ext>
              </a:extLst>
            </p:cNvPr>
            <p:cNvSpPr>
              <a:spLocks noEditPoints="1"/>
            </p:cNvSpPr>
            <p:nvPr/>
          </p:nvSpPr>
          <p:spPr bwMode="auto">
            <a:xfrm>
              <a:off x="7062" y="630"/>
              <a:ext cx="616" cy="780"/>
            </a:xfrm>
            <a:custGeom>
              <a:avLst/>
              <a:gdLst>
                <a:gd name="T0" fmla="*/ 254 w 261"/>
                <a:gd name="T1" fmla="*/ 4 h 330"/>
                <a:gd name="T2" fmla="*/ 244 w 261"/>
                <a:gd name="T3" fmla="*/ 17 h 330"/>
                <a:gd name="T4" fmla="*/ 247 w 261"/>
                <a:gd name="T5" fmla="*/ 23 h 330"/>
                <a:gd name="T6" fmla="*/ 250 w 261"/>
                <a:gd name="T7" fmla="*/ 35 h 330"/>
                <a:gd name="T8" fmla="*/ 241 w 261"/>
                <a:gd name="T9" fmla="*/ 45 h 330"/>
                <a:gd name="T10" fmla="*/ 236 w 261"/>
                <a:gd name="T11" fmla="*/ 55 h 330"/>
                <a:gd name="T12" fmla="*/ 236 w 261"/>
                <a:gd name="T13" fmla="*/ 64 h 330"/>
                <a:gd name="T14" fmla="*/ 209 w 261"/>
                <a:gd name="T15" fmla="*/ 69 h 330"/>
                <a:gd name="T16" fmla="*/ 216 w 261"/>
                <a:gd name="T17" fmla="*/ 88 h 330"/>
                <a:gd name="T18" fmla="*/ 204 w 261"/>
                <a:gd name="T19" fmla="*/ 94 h 330"/>
                <a:gd name="T20" fmla="*/ 200 w 261"/>
                <a:gd name="T21" fmla="*/ 93 h 330"/>
                <a:gd name="T22" fmla="*/ 198 w 261"/>
                <a:gd name="T23" fmla="*/ 103 h 330"/>
                <a:gd name="T24" fmla="*/ 193 w 261"/>
                <a:gd name="T25" fmla="*/ 124 h 330"/>
                <a:gd name="T26" fmla="*/ 181 w 261"/>
                <a:gd name="T27" fmla="*/ 131 h 330"/>
                <a:gd name="T28" fmla="*/ 174 w 261"/>
                <a:gd name="T29" fmla="*/ 127 h 330"/>
                <a:gd name="T30" fmla="*/ 167 w 261"/>
                <a:gd name="T31" fmla="*/ 128 h 330"/>
                <a:gd name="T32" fmla="*/ 158 w 261"/>
                <a:gd name="T33" fmla="*/ 138 h 330"/>
                <a:gd name="T34" fmla="*/ 138 w 261"/>
                <a:gd name="T35" fmla="*/ 140 h 330"/>
                <a:gd name="T36" fmla="*/ 131 w 261"/>
                <a:gd name="T37" fmla="*/ 145 h 330"/>
                <a:gd name="T38" fmla="*/ 124 w 261"/>
                <a:gd name="T39" fmla="*/ 160 h 330"/>
                <a:gd name="T40" fmla="*/ 123 w 261"/>
                <a:gd name="T41" fmla="*/ 176 h 330"/>
                <a:gd name="T42" fmla="*/ 88 w 261"/>
                <a:gd name="T43" fmla="*/ 183 h 330"/>
                <a:gd name="T44" fmla="*/ 72 w 261"/>
                <a:gd name="T45" fmla="*/ 188 h 330"/>
                <a:gd name="T46" fmla="*/ 65 w 261"/>
                <a:gd name="T47" fmla="*/ 189 h 330"/>
                <a:gd name="T48" fmla="*/ 47 w 261"/>
                <a:gd name="T49" fmla="*/ 188 h 330"/>
                <a:gd name="T50" fmla="*/ 37 w 261"/>
                <a:gd name="T51" fmla="*/ 189 h 330"/>
                <a:gd name="T52" fmla="*/ 5 w 261"/>
                <a:gd name="T53" fmla="*/ 186 h 330"/>
                <a:gd name="T54" fmla="*/ 29 w 261"/>
                <a:gd name="T55" fmla="*/ 210 h 330"/>
                <a:gd name="T56" fmla="*/ 41 w 261"/>
                <a:gd name="T57" fmla="*/ 224 h 330"/>
                <a:gd name="T58" fmla="*/ 41 w 261"/>
                <a:gd name="T59" fmla="*/ 239 h 330"/>
                <a:gd name="T60" fmla="*/ 51 w 261"/>
                <a:gd name="T61" fmla="*/ 254 h 330"/>
                <a:gd name="T62" fmla="*/ 30 w 261"/>
                <a:gd name="T63" fmla="*/ 262 h 330"/>
                <a:gd name="T64" fmla="*/ 19 w 261"/>
                <a:gd name="T65" fmla="*/ 272 h 330"/>
                <a:gd name="T66" fmla="*/ 15 w 261"/>
                <a:gd name="T67" fmla="*/ 297 h 330"/>
                <a:gd name="T68" fmla="*/ 39 w 261"/>
                <a:gd name="T69" fmla="*/ 292 h 330"/>
                <a:gd name="T70" fmla="*/ 70 w 261"/>
                <a:gd name="T71" fmla="*/ 287 h 330"/>
                <a:gd name="T72" fmla="*/ 84 w 261"/>
                <a:gd name="T73" fmla="*/ 293 h 330"/>
                <a:gd name="T74" fmla="*/ 126 w 261"/>
                <a:gd name="T75" fmla="*/ 287 h 330"/>
                <a:gd name="T76" fmla="*/ 125 w 261"/>
                <a:gd name="T77" fmla="*/ 283 h 330"/>
                <a:gd name="T78" fmla="*/ 138 w 261"/>
                <a:gd name="T79" fmla="*/ 300 h 330"/>
                <a:gd name="T80" fmla="*/ 155 w 261"/>
                <a:gd name="T81" fmla="*/ 321 h 330"/>
                <a:gd name="T82" fmla="*/ 165 w 261"/>
                <a:gd name="T83" fmla="*/ 326 h 330"/>
                <a:gd name="T84" fmla="*/ 176 w 261"/>
                <a:gd name="T85" fmla="*/ 314 h 330"/>
                <a:gd name="T86" fmla="*/ 201 w 261"/>
                <a:gd name="T87" fmla="*/ 315 h 330"/>
                <a:gd name="T88" fmla="*/ 209 w 261"/>
                <a:gd name="T89" fmla="*/ 314 h 330"/>
                <a:gd name="T90" fmla="*/ 225 w 261"/>
                <a:gd name="T91" fmla="*/ 311 h 330"/>
                <a:gd name="T92" fmla="*/ 229 w 261"/>
                <a:gd name="T93" fmla="*/ 309 h 330"/>
                <a:gd name="T94" fmla="*/ 221 w 261"/>
                <a:gd name="T95" fmla="*/ 296 h 330"/>
                <a:gd name="T96" fmla="*/ 220 w 261"/>
                <a:gd name="T97" fmla="*/ 284 h 330"/>
                <a:gd name="T98" fmla="*/ 214 w 261"/>
                <a:gd name="T99" fmla="*/ 282 h 330"/>
                <a:gd name="T100" fmla="*/ 209 w 261"/>
                <a:gd name="T101" fmla="*/ 264 h 330"/>
                <a:gd name="T102" fmla="*/ 203 w 261"/>
                <a:gd name="T103" fmla="*/ 265 h 330"/>
                <a:gd name="T104" fmla="*/ 204 w 261"/>
                <a:gd name="T105" fmla="*/ 232 h 330"/>
                <a:gd name="T106" fmla="*/ 212 w 261"/>
                <a:gd name="T107" fmla="*/ 223 h 330"/>
                <a:gd name="T108" fmla="*/ 216 w 261"/>
                <a:gd name="T109" fmla="*/ 219 h 330"/>
                <a:gd name="T110" fmla="*/ 222 w 261"/>
                <a:gd name="T111" fmla="*/ 219 h 330"/>
                <a:gd name="T112" fmla="*/ 229 w 261"/>
                <a:gd name="T113" fmla="*/ 226 h 330"/>
                <a:gd name="T114" fmla="*/ 238 w 261"/>
                <a:gd name="T115" fmla="*/ 223 h 330"/>
                <a:gd name="T116" fmla="*/ 261 w 261"/>
                <a:gd name="T117" fmla="*/ 20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1" h="330">
                  <a:moveTo>
                    <a:pt x="126" y="287"/>
                  </a:moveTo>
                  <a:cubicBezTo>
                    <a:pt x="126" y="287"/>
                    <a:pt x="126" y="287"/>
                    <a:pt x="126" y="287"/>
                  </a:cubicBezTo>
                  <a:cubicBezTo>
                    <a:pt x="126" y="287"/>
                    <a:pt x="126" y="287"/>
                    <a:pt x="126" y="287"/>
                  </a:cubicBezTo>
                  <a:moveTo>
                    <a:pt x="261" y="0"/>
                  </a:moveTo>
                  <a:cubicBezTo>
                    <a:pt x="259" y="0"/>
                    <a:pt x="259" y="0"/>
                    <a:pt x="259" y="0"/>
                  </a:cubicBezTo>
                  <a:cubicBezTo>
                    <a:pt x="257" y="2"/>
                    <a:pt x="256" y="3"/>
                    <a:pt x="254" y="4"/>
                  </a:cubicBezTo>
                  <a:cubicBezTo>
                    <a:pt x="253" y="4"/>
                    <a:pt x="252" y="5"/>
                    <a:pt x="252" y="5"/>
                  </a:cubicBezTo>
                  <a:cubicBezTo>
                    <a:pt x="251" y="5"/>
                    <a:pt x="251" y="5"/>
                    <a:pt x="251" y="5"/>
                  </a:cubicBezTo>
                  <a:cubicBezTo>
                    <a:pt x="250" y="5"/>
                    <a:pt x="249" y="4"/>
                    <a:pt x="248" y="4"/>
                  </a:cubicBezTo>
                  <a:cubicBezTo>
                    <a:pt x="248" y="4"/>
                    <a:pt x="248" y="4"/>
                    <a:pt x="248" y="4"/>
                  </a:cubicBezTo>
                  <a:cubicBezTo>
                    <a:pt x="245" y="7"/>
                    <a:pt x="243" y="9"/>
                    <a:pt x="240" y="12"/>
                  </a:cubicBezTo>
                  <a:cubicBezTo>
                    <a:pt x="242" y="14"/>
                    <a:pt x="243" y="15"/>
                    <a:pt x="244" y="17"/>
                  </a:cubicBezTo>
                  <a:cubicBezTo>
                    <a:pt x="244" y="17"/>
                    <a:pt x="244" y="18"/>
                    <a:pt x="244" y="18"/>
                  </a:cubicBezTo>
                  <a:cubicBezTo>
                    <a:pt x="244" y="18"/>
                    <a:pt x="245" y="19"/>
                    <a:pt x="245" y="19"/>
                  </a:cubicBezTo>
                  <a:cubicBezTo>
                    <a:pt x="246" y="20"/>
                    <a:pt x="246" y="21"/>
                    <a:pt x="247" y="21"/>
                  </a:cubicBezTo>
                  <a:cubicBezTo>
                    <a:pt x="247" y="22"/>
                    <a:pt x="247" y="22"/>
                    <a:pt x="247" y="22"/>
                  </a:cubicBezTo>
                  <a:cubicBezTo>
                    <a:pt x="250" y="20"/>
                    <a:pt x="250" y="20"/>
                    <a:pt x="250" y="20"/>
                  </a:cubicBezTo>
                  <a:cubicBezTo>
                    <a:pt x="247" y="23"/>
                    <a:pt x="247" y="23"/>
                    <a:pt x="247" y="23"/>
                  </a:cubicBezTo>
                  <a:cubicBezTo>
                    <a:pt x="248" y="24"/>
                    <a:pt x="248" y="24"/>
                    <a:pt x="248" y="24"/>
                  </a:cubicBezTo>
                  <a:cubicBezTo>
                    <a:pt x="249" y="26"/>
                    <a:pt x="249" y="28"/>
                    <a:pt x="249" y="30"/>
                  </a:cubicBezTo>
                  <a:cubicBezTo>
                    <a:pt x="248" y="31"/>
                    <a:pt x="248" y="31"/>
                    <a:pt x="248" y="31"/>
                  </a:cubicBezTo>
                  <a:cubicBezTo>
                    <a:pt x="249" y="32"/>
                    <a:pt x="249" y="32"/>
                    <a:pt x="249" y="32"/>
                  </a:cubicBezTo>
                  <a:cubicBezTo>
                    <a:pt x="249" y="33"/>
                    <a:pt x="249" y="33"/>
                    <a:pt x="249" y="33"/>
                  </a:cubicBezTo>
                  <a:cubicBezTo>
                    <a:pt x="250" y="33"/>
                    <a:pt x="250" y="34"/>
                    <a:pt x="250" y="35"/>
                  </a:cubicBezTo>
                  <a:cubicBezTo>
                    <a:pt x="250" y="36"/>
                    <a:pt x="250" y="36"/>
                    <a:pt x="250" y="36"/>
                  </a:cubicBezTo>
                  <a:cubicBezTo>
                    <a:pt x="249" y="36"/>
                    <a:pt x="249" y="37"/>
                    <a:pt x="249" y="37"/>
                  </a:cubicBezTo>
                  <a:cubicBezTo>
                    <a:pt x="248" y="38"/>
                    <a:pt x="248" y="38"/>
                    <a:pt x="248" y="38"/>
                  </a:cubicBezTo>
                  <a:cubicBezTo>
                    <a:pt x="247" y="39"/>
                    <a:pt x="247" y="39"/>
                    <a:pt x="247" y="39"/>
                  </a:cubicBezTo>
                  <a:cubicBezTo>
                    <a:pt x="246" y="43"/>
                    <a:pt x="244" y="44"/>
                    <a:pt x="243" y="44"/>
                  </a:cubicBezTo>
                  <a:cubicBezTo>
                    <a:pt x="242" y="45"/>
                    <a:pt x="241" y="45"/>
                    <a:pt x="241" y="45"/>
                  </a:cubicBezTo>
                  <a:cubicBezTo>
                    <a:pt x="240" y="46"/>
                    <a:pt x="240" y="46"/>
                    <a:pt x="240" y="47"/>
                  </a:cubicBezTo>
                  <a:cubicBezTo>
                    <a:pt x="239" y="48"/>
                    <a:pt x="238" y="49"/>
                    <a:pt x="237" y="51"/>
                  </a:cubicBezTo>
                  <a:cubicBezTo>
                    <a:pt x="236" y="51"/>
                    <a:pt x="235" y="52"/>
                    <a:pt x="235" y="52"/>
                  </a:cubicBezTo>
                  <a:cubicBezTo>
                    <a:pt x="234" y="53"/>
                    <a:pt x="235" y="53"/>
                    <a:pt x="235" y="53"/>
                  </a:cubicBezTo>
                  <a:cubicBezTo>
                    <a:pt x="235" y="54"/>
                    <a:pt x="236" y="55"/>
                    <a:pt x="236" y="55"/>
                  </a:cubicBezTo>
                  <a:cubicBezTo>
                    <a:pt x="236" y="55"/>
                    <a:pt x="236" y="55"/>
                    <a:pt x="236" y="55"/>
                  </a:cubicBezTo>
                  <a:cubicBezTo>
                    <a:pt x="237" y="56"/>
                    <a:pt x="237" y="56"/>
                    <a:pt x="237" y="57"/>
                  </a:cubicBezTo>
                  <a:cubicBezTo>
                    <a:pt x="238" y="58"/>
                    <a:pt x="238" y="59"/>
                    <a:pt x="238" y="60"/>
                  </a:cubicBezTo>
                  <a:cubicBezTo>
                    <a:pt x="238" y="60"/>
                    <a:pt x="238" y="61"/>
                    <a:pt x="237" y="62"/>
                  </a:cubicBezTo>
                  <a:cubicBezTo>
                    <a:pt x="237" y="63"/>
                    <a:pt x="237" y="63"/>
                    <a:pt x="237" y="63"/>
                  </a:cubicBezTo>
                  <a:cubicBezTo>
                    <a:pt x="237" y="63"/>
                    <a:pt x="237" y="63"/>
                    <a:pt x="237" y="63"/>
                  </a:cubicBezTo>
                  <a:cubicBezTo>
                    <a:pt x="237" y="64"/>
                    <a:pt x="236" y="64"/>
                    <a:pt x="236" y="64"/>
                  </a:cubicBezTo>
                  <a:cubicBezTo>
                    <a:pt x="235" y="66"/>
                    <a:pt x="234" y="67"/>
                    <a:pt x="233" y="68"/>
                  </a:cubicBezTo>
                  <a:cubicBezTo>
                    <a:pt x="230" y="70"/>
                    <a:pt x="226" y="71"/>
                    <a:pt x="222" y="71"/>
                  </a:cubicBezTo>
                  <a:cubicBezTo>
                    <a:pt x="221" y="71"/>
                    <a:pt x="220" y="71"/>
                    <a:pt x="219" y="71"/>
                  </a:cubicBezTo>
                  <a:cubicBezTo>
                    <a:pt x="218" y="71"/>
                    <a:pt x="218" y="71"/>
                    <a:pt x="218" y="71"/>
                  </a:cubicBezTo>
                  <a:cubicBezTo>
                    <a:pt x="217" y="71"/>
                    <a:pt x="216" y="70"/>
                    <a:pt x="215" y="70"/>
                  </a:cubicBezTo>
                  <a:cubicBezTo>
                    <a:pt x="212" y="69"/>
                    <a:pt x="210" y="69"/>
                    <a:pt x="209" y="69"/>
                  </a:cubicBezTo>
                  <a:cubicBezTo>
                    <a:pt x="210" y="71"/>
                    <a:pt x="210" y="71"/>
                    <a:pt x="210" y="71"/>
                  </a:cubicBezTo>
                  <a:cubicBezTo>
                    <a:pt x="211" y="71"/>
                    <a:pt x="212" y="72"/>
                    <a:pt x="212" y="72"/>
                  </a:cubicBezTo>
                  <a:cubicBezTo>
                    <a:pt x="214" y="76"/>
                    <a:pt x="214" y="76"/>
                    <a:pt x="214" y="76"/>
                  </a:cubicBezTo>
                  <a:cubicBezTo>
                    <a:pt x="218" y="82"/>
                    <a:pt x="220" y="85"/>
                    <a:pt x="218" y="87"/>
                  </a:cubicBezTo>
                  <a:cubicBezTo>
                    <a:pt x="217" y="87"/>
                    <a:pt x="217" y="87"/>
                    <a:pt x="217" y="87"/>
                  </a:cubicBezTo>
                  <a:cubicBezTo>
                    <a:pt x="216" y="88"/>
                    <a:pt x="216" y="88"/>
                    <a:pt x="216" y="88"/>
                  </a:cubicBezTo>
                  <a:cubicBezTo>
                    <a:pt x="216" y="88"/>
                    <a:pt x="216" y="88"/>
                    <a:pt x="216" y="88"/>
                  </a:cubicBezTo>
                  <a:cubicBezTo>
                    <a:pt x="214" y="89"/>
                    <a:pt x="211" y="92"/>
                    <a:pt x="208" y="93"/>
                  </a:cubicBezTo>
                  <a:cubicBezTo>
                    <a:pt x="209" y="98"/>
                    <a:pt x="209" y="98"/>
                    <a:pt x="209" y="98"/>
                  </a:cubicBezTo>
                  <a:cubicBezTo>
                    <a:pt x="207" y="93"/>
                    <a:pt x="207" y="93"/>
                    <a:pt x="207" y="93"/>
                  </a:cubicBezTo>
                  <a:cubicBezTo>
                    <a:pt x="206" y="93"/>
                    <a:pt x="206" y="93"/>
                    <a:pt x="206" y="93"/>
                  </a:cubicBezTo>
                  <a:cubicBezTo>
                    <a:pt x="205" y="94"/>
                    <a:pt x="205" y="94"/>
                    <a:pt x="204" y="94"/>
                  </a:cubicBezTo>
                  <a:cubicBezTo>
                    <a:pt x="203" y="94"/>
                    <a:pt x="203" y="94"/>
                    <a:pt x="203" y="94"/>
                  </a:cubicBezTo>
                  <a:cubicBezTo>
                    <a:pt x="203" y="94"/>
                    <a:pt x="203" y="94"/>
                    <a:pt x="203" y="94"/>
                  </a:cubicBezTo>
                  <a:cubicBezTo>
                    <a:pt x="202" y="94"/>
                    <a:pt x="202" y="94"/>
                    <a:pt x="202" y="94"/>
                  </a:cubicBezTo>
                  <a:cubicBezTo>
                    <a:pt x="202" y="94"/>
                    <a:pt x="202" y="94"/>
                    <a:pt x="202" y="94"/>
                  </a:cubicBezTo>
                  <a:cubicBezTo>
                    <a:pt x="202" y="94"/>
                    <a:pt x="201" y="94"/>
                    <a:pt x="201" y="94"/>
                  </a:cubicBezTo>
                  <a:cubicBezTo>
                    <a:pt x="200" y="93"/>
                    <a:pt x="200" y="93"/>
                    <a:pt x="200" y="93"/>
                  </a:cubicBezTo>
                  <a:cubicBezTo>
                    <a:pt x="200" y="94"/>
                    <a:pt x="200" y="94"/>
                    <a:pt x="200" y="94"/>
                  </a:cubicBezTo>
                  <a:cubicBezTo>
                    <a:pt x="200" y="94"/>
                    <a:pt x="200" y="94"/>
                    <a:pt x="200" y="94"/>
                  </a:cubicBezTo>
                  <a:cubicBezTo>
                    <a:pt x="199" y="95"/>
                    <a:pt x="199" y="97"/>
                    <a:pt x="199" y="98"/>
                  </a:cubicBezTo>
                  <a:cubicBezTo>
                    <a:pt x="198" y="99"/>
                    <a:pt x="198" y="100"/>
                    <a:pt x="198" y="101"/>
                  </a:cubicBezTo>
                  <a:cubicBezTo>
                    <a:pt x="198" y="102"/>
                    <a:pt x="198" y="102"/>
                    <a:pt x="198" y="102"/>
                  </a:cubicBezTo>
                  <a:cubicBezTo>
                    <a:pt x="198" y="102"/>
                    <a:pt x="198" y="103"/>
                    <a:pt x="198" y="103"/>
                  </a:cubicBezTo>
                  <a:cubicBezTo>
                    <a:pt x="197" y="105"/>
                    <a:pt x="196" y="106"/>
                    <a:pt x="194" y="107"/>
                  </a:cubicBezTo>
                  <a:cubicBezTo>
                    <a:pt x="194" y="108"/>
                    <a:pt x="194" y="108"/>
                    <a:pt x="194" y="108"/>
                  </a:cubicBezTo>
                  <a:cubicBezTo>
                    <a:pt x="195" y="115"/>
                    <a:pt x="195" y="115"/>
                    <a:pt x="195" y="115"/>
                  </a:cubicBezTo>
                  <a:cubicBezTo>
                    <a:pt x="195" y="115"/>
                    <a:pt x="195" y="115"/>
                    <a:pt x="195" y="115"/>
                  </a:cubicBezTo>
                  <a:cubicBezTo>
                    <a:pt x="195" y="119"/>
                    <a:pt x="195" y="119"/>
                    <a:pt x="195" y="119"/>
                  </a:cubicBezTo>
                  <a:cubicBezTo>
                    <a:pt x="195" y="122"/>
                    <a:pt x="194" y="123"/>
                    <a:pt x="193" y="124"/>
                  </a:cubicBezTo>
                  <a:cubicBezTo>
                    <a:pt x="190" y="126"/>
                    <a:pt x="188" y="128"/>
                    <a:pt x="186" y="130"/>
                  </a:cubicBezTo>
                  <a:cubicBezTo>
                    <a:pt x="185" y="131"/>
                    <a:pt x="185" y="131"/>
                    <a:pt x="185" y="131"/>
                  </a:cubicBezTo>
                  <a:cubicBezTo>
                    <a:pt x="184" y="131"/>
                    <a:pt x="183" y="131"/>
                    <a:pt x="183" y="131"/>
                  </a:cubicBezTo>
                  <a:cubicBezTo>
                    <a:pt x="182" y="131"/>
                    <a:pt x="182" y="131"/>
                    <a:pt x="182" y="131"/>
                  </a:cubicBezTo>
                  <a:cubicBezTo>
                    <a:pt x="182" y="131"/>
                    <a:pt x="182" y="131"/>
                    <a:pt x="182" y="131"/>
                  </a:cubicBezTo>
                  <a:cubicBezTo>
                    <a:pt x="182" y="131"/>
                    <a:pt x="181" y="131"/>
                    <a:pt x="181" y="131"/>
                  </a:cubicBezTo>
                  <a:cubicBezTo>
                    <a:pt x="180" y="131"/>
                    <a:pt x="180" y="131"/>
                    <a:pt x="180" y="131"/>
                  </a:cubicBezTo>
                  <a:cubicBezTo>
                    <a:pt x="179" y="131"/>
                    <a:pt x="179" y="131"/>
                    <a:pt x="179" y="131"/>
                  </a:cubicBezTo>
                  <a:cubicBezTo>
                    <a:pt x="179" y="130"/>
                    <a:pt x="178" y="130"/>
                    <a:pt x="177" y="130"/>
                  </a:cubicBezTo>
                  <a:cubicBezTo>
                    <a:pt x="177" y="129"/>
                    <a:pt x="177" y="129"/>
                    <a:pt x="177" y="129"/>
                  </a:cubicBezTo>
                  <a:cubicBezTo>
                    <a:pt x="176" y="128"/>
                    <a:pt x="175" y="128"/>
                    <a:pt x="174" y="127"/>
                  </a:cubicBezTo>
                  <a:cubicBezTo>
                    <a:pt x="174" y="127"/>
                    <a:pt x="174" y="127"/>
                    <a:pt x="174" y="127"/>
                  </a:cubicBezTo>
                  <a:cubicBezTo>
                    <a:pt x="174" y="127"/>
                    <a:pt x="173" y="127"/>
                    <a:pt x="173" y="127"/>
                  </a:cubicBezTo>
                  <a:cubicBezTo>
                    <a:pt x="173" y="127"/>
                    <a:pt x="173" y="127"/>
                    <a:pt x="172" y="127"/>
                  </a:cubicBezTo>
                  <a:cubicBezTo>
                    <a:pt x="172" y="127"/>
                    <a:pt x="171" y="127"/>
                    <a:pt x="170" y="127"/>
                  </a:cubicBezTo>
                  <a:cubicBezTo>
                    <a:pt x="169" y="127"/>
                    <a:pt x="169" y="127"/>
                    <a:pt x="169" y="127"/>
                  </a:cubicBezTo>
                  <a:cubicBezTo>
                    <a:pt x="169" y="128"/>
                    <a:pt x="168" y="128"/>
                    <a:pt x="168" y="128"/>
                  </a:cubicBezTo>
                  <a:cubicBezTo>
                    <a:pt x="167" y="128"/>
                    <a:pt x="167" y="128"/>
                    <a:pt x="167" y="128"/>
                  </a:cubicBezTo>
                  <a:cubicBezTo>
                    <a:pt x="166" y="128"/>
                    <a:pt x="166" y="128"/>
                    <a:pt x="165" y="129"/>
                  </a:cubicBezTo>
                  <a:cubicBezTo>
                    <a:pt x="164" y="129"/>
                    <a:pt x="164" y="129"/>
                    <a:pt x="163" y="130"/>
                  </a:cubicBezTo>
                  <a:cubicBezTo>
                    <a:pt x="162" y="130"/>
                    <a:pt x="162" y="130"/>
                    <a:pt x="162" y="130"/>
                  </a:cubicBezTo>
                  <a:cubicBezTo>
                    <a:pt x="160" y="131"/>
                    <a:pt x="159" y="132"/>
                    <a:pt x="158" y="133"/>
                  </a:cubicBezTo>
                  <a:cubicBezTo>
                    <a:pt x="162" y="136"/>
                    <a:pt x="162" y="136"/>
                    <a:pt x="162" y="136"/>
                  </a:cubicBezTo>
                  <a:cubicBezTo>
                    <a:pt x="158" y="138"/>
                    <a:pt x="158" y="138"/>
                    <a:pt x="158" y="138"/>
                  </a:cubicBezTo>
                  <a:cubicBezTo>
                    <a:pt x="157" y="139"/>
                    <a:pt x="156" y="139"/>
                    <a:pt x="155" y="139"/>
                  </a:cubicBezTo>
                  <a:cubicBezTo>
                    <a:pt x="153" y="140"/>
                    <a:pt x="151" y="141"/>
                    <a:pt x="149" y="142"/>
                  </a:cubicBezTo>
                  <a:cubicBezTo>
                    <a:pt x="148" y="142"/>
                    <a:pt x="148" y="142"/>
                    <a:pt x="148" y="142"/>
                  </a:cubicBezTo>
                  <a:cubicBezTo>
                    <a:pt x="148" y="142"/>
                    <a:pt x="147" y="142"/>
                    <a:pt x="146" y="142"/>
                  </a:cubicBezTo>
                  <a:cubicBezTo>
                    <a:pt x="144" y="142"/>
                    <a:pt x="142" y="142"/>
                    <a:pt x="139" y="141"/>
                  </a:cubicBezTo>
                  <a:cubicBezTo>
                    <a:pt x="138" y="140"/>
                    <a:pt x="138" y="140"/>
                    <a:pt x="138" y="140"/>
                  </a:cubicBezTo>
                  <a:cubicBezTo>
                    <a:pt x="138" y="140"/>
                    <a:pt x="138" y="140"/>
                    <a:pt x="138" y="140"/>
                  </a:cubicBezTo>
                  <a:cubicBezTo>
                    <a:pt x="137" y="140"/>
                    <a:pt x="137" y="140"/>
                    <a:pt x="136" y="141"/>
                  </a:cubicBezTo>
                  <a:cubicBezTo>
                    <a:pt x="136" y="141"/>
                    <a:pt x="136" y="141"/>
                    <a:pt x="135" y="141"/>
                  </a:cubicBezTo>
                  <a:cubicBezTo>
                    <a:pt x="135" y="141"/>
                    <a:pt x="134" y="142"/>
                    <a:pt x="134" y="142"/>
                  </a:cubicBezTo>
                  <a:cubicBezTo>
                    <a:pt x="133" y="142"/>
                    <a:pt x="133" y="142"/>
                    <a:pt x="133" y="142"/>
                  </a:cubicBezTo>
                  <a:cubicBezTo>
                    <a:pt x="132" y="143"/>
                    <a:pt x="131" y="144"/>
                    <a:pt x="131" y="145"/>
                  </a:cubicBezTo>
                  <a:cubicBezTo>
                    <a:pt x="129" y="146"/>
                    <a:pt x="128" y="147"/>
                    <a:pt x="127" y="148"/>
                  </a:cubicBezTo>
                  <a:cubicBezTo>
                    <a:pt x="127" y="148"/>
                    <a:pt x="127" y="148"/>
                    <a:pt x="127" y="148"/>
                  </a:cubicBezTo>
                  <a:cubicBezTo>
                    <a:pt x="127" y="148"/>
                    <a:pt x="126" y="149"/>
                    <a:pt x="126" y="150"/>
                  </a:cubicBezTo>
                  <a:cubicBezTo>
                    <a:pt x="126" y="150"/>
                    <a:pt x="126" y="150"/>
                    <a:pt x="126" y="151"/>
                  </a:cubicBezTo>
                  <a:cubicBezTo>
                    <a:pt x="125" y="152"/>
                    <a:pt x="125" y="152"/>
                    <a:pt x="125" y="152"/>
                  </a:cubicBezTo>
                  <a:cubicBezTo>
                    <a:pt x="125" y="155"/>
                    <a:pt x="124" y="157"/>
                    <a:pt x="124" y="160"/>
                  </a:cubicBezTo>
                  <a:cubicBezTo>
                    <a:pt x="125" y="161"/>
                    <a:pt x="124" y="162"/>
                    <a:pt x="124" y="163"/>
                  </a:cubicBezTo>
                  <a:cubicBezTo>
                    <a:pt x="124" y="164"/>
                    <a:pt x="124" y="166"/>
                    <a:pt x="123" y="167"/>
                  </a:cubicBezTo>
                  <a:cubicBezTo>
                    <a:pt x="123" y="168"/>
                    <a:pt x="123" y="168"/>
                    <a:pt x="123" y="168"/>
                  </a:cubicBezTo>
                  <a:cubicBezTo>
                    <a:pt x="123" y="168"/>
                    <a:pt x="123" y="168"/>
                    <a:pt x="123" y="168"/>
                  </a:cubicBezTo>
                  <a:cubicBezTo>
                    <a:pt x="124" y="169"/>
                    <a:pt x="124" y="170"/>
                    <a:pt x="124" y="171"/>
                  </a:cubicBezTo>
                  <a:cubicBezTo>
                    <a:pt x="124" y="172"/>
                    <a:pt x="124" y="174"/>
                    <a:pt x="123" y="176"/>
                  </a:cubicBezTo>
                  <a:cubicBezTo>
                    <a:pt x="122" y="178"/>
                    <a:pt x="120" y="178"/>
                    <a:pt x="118" y="178"/>
                  </a:cubicBezTo>
                  <a:cubicBezTo>
                    <a:pt x="116" y="179"/>
                    <a:pt x="116" y="179"/>
                    <a:pt x="116" y="179"/>
                  </a:cubicBezTo>
                  <a:cubicBezTo>
                    <a:pt x="114" y="180"/>
                    <a:pt x="112" y="180"/>
                    <a:pt x="110" y="181"/>
                  </a:cubicBezTo>
                  <a:cubicBezTo>
                    <a:pt x="107" y="182"/>
                    <a:pt x="105" y="182"/>
                    <a:pt x="102" y="183"/>
                  </a:cubicBezTo>
                  <a:cubicBezTo>
                    <a:pt x="95" y="183"/>
                    <a:pt x="95" y="183"/>
                    <a:pt x="95" y="183"/>
                  </a:cubicBezTo>
                  <a:cubicBezTo>
                    <a:pt x="93" y="183"/>
                    <a:pt x="91" y="183"/>
                    <a:pt x="88" y="183"/>
                  </a:cubicBezTo>
                  <a:cubicBezTo>
                    <a:pt x="86" y="184"/>
                    <a:pt x="83" y="184"/>
                    <a:pt x="80" y="185"/>
                  </a:cubicBezTo>
                  <a:cubicBezTo>
                    <a:pt x="79" y="185"/>
                    <a:pt x="79" y="185"/>
                    <a:pt x="78" y="185"/>
                  </a:cubicBezTo>
                  <a:cubicBezTo>
                    <a:pt x="77" y="186"/>
                    <a:pt x="76" y="186"/>
                    <a:pt x="76" y="187"/>
                  </a:cubicBezTo>
                  <a:cubicBezTo>
                    <a:pt x="74" y="188"/>
                    <a:pt x="74" y="188"/>
                    <a:pt x="74" y="188"/>
                  </a:cubicBezTo>
                  <a:cubicBezTo>
                    <a:pt x="74" y="188"/>
                    <a:pt x="74" y="188"/>
                    <a:pt x="73" y="188"/>
                  </a:cubicBezTo>
                  <a:cubicBezTo>
                    <a:pt x="73" y="188"/>
                    <a:pt x="73" y="188"/>
                    <a:pt x="72" y="188"/>
                  </a:cubicBezTo>
                  <a:cubicBezTo>
                    <a:pt x="71" y="189"/>
                    <a:pt x="71" y="189"/>
                    <a:pt x="71" y="189"/>
                  </a:cubicBezTo>
                  <a:cubicBezTo>
                    <a:pt x="71" y="189"/>
                    <a:pt x="70" y="189"/>
                    <a:pt x="70" y="189"/>
                  </a:cubicBezTo>
                  <a:cubicBezTo>
                    <a:pt x="69" y="189"/>
                    <a:pt x="69" y="189"/>
                    <a:pt x="69" y="189"/>
                  </a:cubicBezTo>
                  <a:cubicBezTo>
                    <a:pt x="69" y="189"/>
                    <a:pt x="69" y="189"/>
                    <a:pt x="69" y="189"/>
                  </a:cubicBezTo>
                  <a:cubicBezTo>
                    <a:pt x="68" y="189"/>
                    <a:pt x="67" y="189"/>
                    <a:pt x="67" y="189"/>
                  </a:cubicBezTo>
                  <a:cubicBezTo>
                    <a:pt x="66" y="189"/>
                    <a:pt x="66" y="189"/>
                    <a:pt x="65" y="189"/>
                  </a:cubicBezTo>
                  <a:cubicBezTo>
                    <a:pt x="63" y="188"/>
                    <a:pt x="63" y="188"/>
                    <a:pt x="63" y="188"/>
                  </a:cubicBezTo>
                  <a:cubicBezTo>
                    <a:pt x="62" y="188"/>
                    <a:pt x="61" y="188"/>
                    <a:pt x="60" y="188"/>
                  </a:cubicBezTo>
                  <a:cubicBezTo>
                    <a:pt x="59" y="187"/>
                    <a:pt x="59" y="187"/>
                    <a:pt x="59" y="187"/>
                  </a:cubicBezTo>
                  <a:cubicBezTo>
                    <a:pt x="59" y="187"/>
                    <a:pt x="58" y="187"/>
                    <a:pt x="57" y="187"/>
                  </a:cubicBezTo>
                  <a:cubicBezTo>
                    <a:pt x="57" y="187"/>
                    <a:pt x="57" y="187"/>
                    <a:pt x="57" y="187"/>
                  </a:cubicBezTo>
                  <a:cubicBezTo>
                    <a:pt x="47" y="188"/>
                    <a:pt x="47" y="188"/>
                    <a:pt x="47" y="188"/>
                  </a:cubicBezTo>
                  <a:cubicBezTo>
                    <a:pt x="48" y="193"/>
                    <a:pt x="48" y="193"/>
                    <a:pt x="48" y="193"/>
                  </a:cubicBezTo>
                  <a:cubicBezTo>
                    <a:pt x="46" y="188"/>
                    <a:pt x="46" y="188"/>
                    <a:pt x="46" y="188"/>
                  </a:cubicBezTo>
                  <a:cubicBezTo>
                    <a:pt x="42" y="188"/>
                    <a:pt x="42" y="188"/>
                    <a:pt x="42" y="188"/>
                  </a:cubicBezTo>
                  <a:cubicBezTo>
                    <a:pt x="41" y="188"/>
                    <a:pt x="41" y="188"/>
                    <a:pt x="40" y="189"/>
                  </a:cubicBezTo>
                  <a:cubicBezTo>
                    <a:pt x="40" y="189"/>
                    <a:pt x="40" y="189"/>
                    <a:pt x="40" y="189"/>
                  </a:cubicBezTo>
                  <a:cubicBezTo>
                    <a:pt x="39" y="189"/>
                    <a:pt x="38" y="189"/>
                    <a:pt x="37" y="189"/>
                  </a:cubicBezTo>
                  <a:cubicBezTo>
                    <a:pt x="37" y="189"/>
                    <a:pt x="36" y="189"/>
                    <a:pt x="36" y="189"/>
                  </a:cubicBezTo>
                  <a:cubicBezTo>
                    <a:pt x="35" y="189"/>
                    <a:pt x="34" y="189"/>
                    <a:pt x="33" y="189"/>
                  </a:cubicBezTo>
                  <a:cubicBezTo>
                    <a:pt x="0" y="180"/>
                    <a:pt x="0" y="180"/>
                    <a:pt x="0" y="180"/>
                  </a:cubicBezTo>
                  <a:cubicBezTo>
                    <a:pt x="1" y="181"/>
                    <a:pt x="2" y="182"/>
                    <a:pt x="3" y="183"/>
                  </a:cubicBezTo>
                  <a:cubicBezTo>
                    <a:pt x="3" y="183"/>
                    <a:pt x="3" y="183"/>
                    <a:pt x="4" y="184"/>
                  </a:cubicBezTo>
                  <a:cubicBezTo>
                    <a:pt x="4" y="185"/>
                    <a:pt x="4" y="185"/>
                    <a:pt x="5" y="186"/>
                  </a:cubicBezTo>
                  <a:cubicBezTo>
                    <a:pt x="7" y="189"/>
                    <a:pt x="9" y="192"/>
                    <a:pt x="12" y="195"/>
                  </a:cubicBezTo>
                  <a:cubicBezTo>
                    <a:pt x="14" y="198"/>
                    <a:pt x="17" y="202"/>
                    <a:pt x="19" y="205"/>
                  </a:cubicBezTo>
                  <a:cubicBezTo>
                    <a:pt x="20" y="207"/>
                    <a:pt x="22" y="208"/>
                    <a:pt x="24" y="208"/>
                  </a:cubicBezTo>
                  <a:cubicBezTo>
                    <a:pt x="25" y="209"/>
                    <a:pt x="26" y="209"/>
                    <a:pt x="27" y="209"/>
                  </a:cubicBezTo>
                  <a:cubicBezTo>
                    <a:pt x="28" y="210"/>
                    <a:pt x="28" y="210"/>
                    <a:pt x="28" y="210"/>
                  </a:cubicBezTo>
                  <a:cubicBezTo>
                    <a:pt x="28" y="210"/>
                    <a:pt x="29" y="210"/>
                    <a:pt x="29" y="210"/>
                  </a:cubicBezTo>
                  <a:cubicBezTo>
                    <a:pt x="30" y="210"/>
                    <a:pt x="30" y="210"/>
                    <a:pt x="30" y="210"/>
                  </a:cubicBezTo>
                  <a:cubicBezTo>
                    <a:pt x="31" y="211"/>
                    <a:pt x="31" y="211"/>
                    <a:pt x="32" y="211"/>
                  </a:cubicBezTo>
                  <a:cubicBezTo>
                    <a:pt x="34" y="212"/>
                    <a:pt x="35" y="212"/>
                    <a:pt x="36" y="213"/>
                  </a:cubicBezTo>
                  <a:cubicBezTo>
                    <a:pt x="39" y="214"/>
                    <a:pt x="40" y="215"/>
                    <a:pt x="41" y="216"/>
                  </a:cubicBezTo>
                  <a:cubicBezTo>
                    <a:pt x="42" y="218"/>
                    <a:pt x="42" y="220"/>
                    <a:pt x="41" y="223"/>
                  </a:cubicBezTo>
                  <a:cubicBezTo>
                    <a:pt x="41" y="224"/>
                    <a:pt x="41" y="224"/>
                    <a:pt x="41" y="224"/>
                  </a:cubicBezTo>
                  <a:cubicBezTo>
                    <a:pt x="46" y="224"/>
                    <a:pt x="46" y="224"/>
                    <a:pt x="46" y="224"/>
                  </a:cubicBezTo>
                  <a:cubicBezTo>
                    <a:pt x="41" y="225"/>
                    <a:pt x="41" y="225"/>
                    <a:pt x="41" y="225"/>
                  </a:cubicBezTo>
                  <a:cubicBezTo>
                    <a:pt x="41" y="234"/>
                    <a:pt x="41" y="234"/>
                    <a:pt x="41" y="234"/>
                  </a:cubicBezTo>
                  <a:cubicBezTo>
                    <a:pt x="41" y="234"/>
                    <a:pt x="41" y="235"/>
                    <a:pt x="41" y="235"/>
                  </a:cubicBezTo>
                  <a:cubicBezTo>
                    <a:pt x="41" y="236"/>
                    <a:pt x="41" y="238"/>
                    <a:pt x="41" y="239"/>
                  </a:cubicBezTo>
                  <a:cubicBezTo>
                    <a:pt x="41" y="239"/>
                    <a:pt x="41" y="239"/>
                    <a:pt x="41" y="239"/>
                  </a:cubicBezTo>
                  <a:cubicBezTo>
                    <a:pt x="42" y="239"/>
                    <a:pt x="42" y="239"/>
                    <a:pt x="42" y="239"/>
                  </a:cubicBezTo>
                  <a:cubicBezTo>
                    <a:pt x="45" y="239"/>
                    <a:pt x="45" y="239"/>
                    <a:pt x="45" y="239"/>
                  </a:cubicBezTo>
                  <a:cubicBezTo>
                    <a:pt x="47" y="239"/>
                    <a:pt x="48" y="239"/>
                    <a:pt x="51" y="239"/>
                  </a:cubicBezTo>
                  <a:cubicBezTo>
                    <a:pt x="54" y="240"/>
                    <a:pt x="54" y="240"/>
                    <a:pt x="54" y="240"/>
                  </a:cubicBezTo>
                  <a:cubicBezTo>
                    <a:pt x="53" y="243"/>
                    <a:pt x="53" y="243"/>
                    <a:pt x="53" y="243"/>
                  </a:cubicBezTo>
                  <a:cubicBezTo>
                    <a:pt x="52" y="247"/>
                    <a:pt x="51" y="250"/>
                    <a:pt x="51" y="254"/>
                  </a:cubicBezTo>
                  <a:cubicBezTo>
                    <a:pt x="50" y="256"/>
                    <a:pt x="50" y="256"/>
                    <a:pt x="50" y="256"/>
                  </a:cubicBezTo>
                  <a:cubicBezTo>
                    <a:pt x="50" y="257"/>
                    <a:pt x="49" y="258"/>
                    <a:pt x="48" y="259"/>
                  </a:cubicBezTo>
                  <a:cubicBezTo>
                    <a:pt x="46" y="260"/>
                    <a:pt x="44" y="261"/>
                    <a:pt x="42" y="261"/>
                  </a:cubicBezTo>
                  <a:cubicBezTo>
                    <a:pt x="41" y="261"/>
                    <a:pt x="41" y="261"/>
                    <a:pt x="41" y="261"/>
                  </a:cubicBezTo>
                  <a:cubicBezTo>
                    <a:pt x="41" y="261"/>
                    <a:pt x="40" y="261"/>
                    <a:pt x="40" y="261"/>
                  </a:cubicBezTo>
                  <a:cubicBezTo>
                    <a:pt x="30" y="262"/>
                    <a:pt x="30" y="262"/>
                    <a:pt x="30" y="262"/>
                  </a:cubicBezTo>
                  <a:cubicBezTo>
                    <a:pt x="29" y="263"/>
                    <a:pt x="28" y="263"/>
                    <a:pt x="28" y="263"/>
                  </a:cubicBezTo>
                  <a:cubicBezTo>
                    <a:pt x="27" y="264"/>
                    <a:pt x="26" y="265"/>
                    <a:pt x="25" y="265"/>
                  </a:cubicBezTo>
                  <a:cubicBezTo>
                    <a:pt x="24" y="266"/>
                    <a:pt x="24" y="266"/>
                    <a:pt x="24" y="266"/>
                  </a:cubicBezTo>
                  <a:cubicBezTo>
                    <a:pt x="23" y="267"/>
                    <a:pt x="22" y="268"/>
                    <a:pt x="22" y="268"/>
                  </a:cubicBezTo>
                  <a:cubicBezTo>
                    <a:pt x="21" y="269"/>
                    <a:pt x="21" y="269"/>
                    <a:pt x="21" y="269"/>
                  </a:cubicBezTo>
                  <a:cubicBezTo>
                    <a:pt x="19" y="269"/>
                    <a:pt x="19" y="269"/>
                    <a:pt x="19" y="272"/>
                  </a:cubicBezTo>
                  <a:cubicBezTo>
                    <a:pt x="18" y="277"/>
                    <a:pt x="17" y="281"/>
                    <a:pt x="16" y="285"/>
                  </a:cubicBezTo>
                  <a:cubicBezTo>
                    <a:pt x="15" y="287"/>
                    <a:pt x="15" y="287"/>
                    <a:pt x="15" y="287"/>
                  </a:cubicBezTo>
                  <a:cubicBezTo>
                    <a:pt x="15" y="287"/>
                    <a:pt x="15" y="288"/>
                    <a:pt x="15" y="288"/>
                  </a:cubicBezTo>
                  <a:cubicBezTo>
                    <a:pt x="15" y="290"/>
                    <a:pt x="15" y="291"/>
                    <a:pt x="14" y="293"/>
                  </a:cubicBezTo>
                  <a:cubicBezTo>
                    <a:pt x="14" y="293"/>
                    <a:pt x="14" y="293"/>
                    <a:pt x="14" y="293"/>
                  </a:cubicBezTo>
                  <a:cubicBezTo>
                    <a:pt x="15" y="294"/>
                    <a:pt x="14" y="294"/>
                    <a:pt x="15" y="297"/>
                  </a:cubicBezTo>
                  <a:cubicBezTo>
                    <a:pt x="15" y="297"/>
                    <a:pt x="15" y="297"/>
                    <a:pt x="15" y="297"/>
                  </a:cubicBezTo>
                  <a:cubicBezTo>
                    <a:pt x="17" y="297"/>
                    <a:pt x="18" y="296"/>
                    <a:pt x="21" y="295"/>
                  </a:cubicBezTo>
                  <a:cubicBezTo>
                    <a:pt x="23" y="295"/>
                    <a:pt x="25" y="293"/>
                    <a:pt x="26" y="293"/>
                  </a:cubicBezTo>
                  <a:cubicBezTo>
                    <a:pt x="27" y="293"/>
                    <a:pt x="27" y="294"/>
                    <a:pt x="28" y="296"/>
                  </a:cubicBezTo>
                  <a:cubicBezTo>
                    <a:pt x="32" y="293"/>
                    <a:pt x="33" y="292"/>
                    <a:pt x="37" y="292"/>
                  </a:cubicBezTo>
                  <a:cubicBezTo>
                    <a:pt x="38" y="292"/>
                    <a:pt x="38" y="292"/>
                    <a:pt x="39" y="292"/>
                  </a:cubicBezTo>
                  <a:cubicBezTo>
                    <a:pt x="43" y="292"/>
                    <a:pt x="47" y="292"/>
                    <a:pt x="51" y="293"/>
                  </a:cubicBezTo>
                  <a:cubicBezTo>
                    <a:pt x="51" y="293"/>
                    <a:pt x="53" y="293"/>
                    <a:pt x="54" y="293"/>
                  </a:cubicBezTo>
                  <a:cubicBezTo>
                    <a:pt x="55" y="293"/>
                    <a:pt x="56" y="293"/>
                    <a:pt x="55" y="292"/>
                  </a:cubicBezTo>
                  <a:cubicBezTo>
                    <a:pt x="59" y="290"/>
                    <a:pt x="63" y="289"/>
                    <a:pt x="67" y="289"/>
                  </a:cubicBezTo>
                  <a:cubicBezTo>
                    <a:pt x="68" y="289"/>
                    <a:pt x="68" y="289"/>
                    <a:pt x="69" y="289"/>
                  </a:cubicBezTo>
                  <a:cubicBezTo>
                    <a:pt x="68" y="288"/>
                    <a:pt x="68" y="287"/>
                    <a:pt x="70" y="287"/>
                  </a:cubicBezTo>
                  <a:cubicBezTo>
                    <a:pt x="70" y="287"/>
                    <a:pt x="70" y="287"/>
                    <a:pt x="71" y="287"/>
                  </a:cubicBezTo>
                  <a:cubicBezTo>
                    <a:pt x="69" y="287"/>
                    <a:pt x="69" y="288"/>
                    <a:pt x="69" y="289"/>
                  </a:cubicBezTo>
                  <a:cubicBezTo>
                    <a:pt x="70" y="290"/>
                    <a:pt x="72" y="290"/>
                    <a:pt x="73" y="290"/>
                  </a:cubicBezTo>
                  <a:cubicBezTo>
                    <a:pt x="75" y="291"/>
                    <a:pt x="77" y="291"/>
                    <a:pt x="79" y="291"/>
                  </a:cubicBezTo>
                  <a:cubicBezTo>
                    <a:pt x="80" y="292"/>
                    <a:pt x="82" y="294"/>
                    <a:pt x="83" y="294"/>
                  </a:cubicBezTo>
                  <a:cubicBezTo>
                    <a:pt x="83" y="294"/>
                    <a:pt x="83" y="293"/>
                    <a:pt x="84" y="293"/>
                  </a:cubicBezTo>
                  <a:cubicBezTo>
                    <a:pt x="83" y="293"/>
                    <a:pt x="83" y="293"/>
                    <a:pt x="83" y="293"/>
                  </a:cubicBezTo>
                  <a:cubicBezTo>
                    <a:pt x="94" y="289"/>
                    <a:pt x="104" y="288"/>
                    <a:pt x="116" y="288"/>
                  </a:cubicBezTo>
                  <a:cubicBezTo>
                    <a:pt x="116" y="288"/>
                    <a:pt x="116" y="288"/>
                    <a:pt x="116" y="288"/>
                  </a:cubicBezTo>
                  <a:cubicBezTo>
                    <a:pt x="117" y="288"/>
                    <a:pt x="118" y="288"/>
                    <a:pt x="119" y="288"/>
                  </a:cubicBezTo>
                  <a:cubicBezTo>
                    <a:pt x="120" y="288"/>
                    <a:pt x="121" y="288"/>
                    <a:pt x="122" y="288"/>
                  </a:cubicBezTo>
                  <a:cubicBezTo>
                    <a:pt x="124" y="288"/>
                    <a:pt x="125" y="288"/>
                    <a:pt x="126" y="287"/>
                  </a:cubicBezTo>
                  <a:cubicBezTo>
                    <a:pt x="126" y="287"/>
                    <a:pt x="126" y="287"/>
                    <a:pt x="126" y="287"/>
                  </a:cubicBezTo>
                  <a:cubicBezTo>
                    <a:pt x="126" y="287"/>
                    <a:pt x="126" y="286"/>
                    <a:pt x="126" y="286"/>
                  </a:cubicBezTo>
                  <a:cubicBezTo>
                    <a:pt x="125" y="286"/>
                    <a:pt x="125" y="286"/>
                    <a:pt x="125" y="286"/>
                  </a:cubicBezTo>
                  <a:cubicBezTo>
                    <a:pt x="124" y="286"/>
                    <a:pt x="124" y="285"/>
                    <a:pt x="123" y="285"/>
                  </a:cubicBezTo>
                  <a:cubicBezTo>
                    <a:pt x="123" y="284"/>
                    <a:pt x="124" y="283"/>
                    <a:pt x="125" y="283"/>
                  </a:cubicBezTo>
                  <a:cubicBezTo>
                    <a:pt x="125" y="283"/>
                    <a:pt x="125" y="283"/>
                    <a:pt x="125" y="283"/>
                  </a:cubicBezTo>
                  <a:cubicBezTo>
                    <a:pt x="125" y="283"/>
                    <a:pt x="127" y="285"/>
                    <a:pt x="127" y="286"/>
                  </a:cubicBezTo>
                  <a:cubicBezTo>
                    <a:pt x="128" y="288"/>
                    <a:pt x="127" y="288"/>
                    <a:pt x="128" y="290"/>
                  </a:cubicBezTo>
                  <a:cubicBezTo>
                    <a:pt x="130" y="293"/>
                    <a:pt x="131" y="292"/>
                    <a:pt x="131" y="295"/>
                  </a:cubicBezTo>
                  <a:cubicBezTo>
                    <a:pt x="131" y="296"/>
                    <a:pt x="130" y="300"/>
                    <a:pt x="131" y="301"/>
                  </a:cubicBezTo>
                  <a:cubicBezTo>
                    <a:pt x="131" y="301"/>
                    <a:pt x="132" y="301"/>
                    <a:pt x="133" y="301"/>
                  </a:cubicBezTo>
                  <a:cubicBezTo>
                    <a:pt x="138" y="300"/>
                    <a:pt x="138" y="300"/>
                    <a:pt x="138" y="300"/>
                  </a:cubicBezTo>
                  <a:cubicBezTo>
                    <a:pt x="140" y="304"/>
                    <a:pt x="140" y="304"/>
                    <a:pt x="140" y="304"/>
                  </a:cubicBezTo>
                  <a:cubicBezTo>
                    <a:pt x="142" y="306"/>
                    <a:pt x="142" y="306"/>
                    <a:pt x="142" y="306"/>
                  </a:cubicBezTo>
                  <a:cubicBezTo>
                    <a:pt x="143" y="309"/>
                    <a:pt x="143" y="311"/>
                    <a:pt x="144" y="313"/>
                  </a:cubicBezTo>
                  <a:cubicBezTo>
                    <a:pt x="145" y="318"/>
                    <a:pt x="145" y="321"/>
                    <a:pt x="149" y="321"/>
                  </a:cubicBezTo>
                  <a:cubicBezTo>
                    <a:pt x="150" y="321"/>
                    <a:pt x="150" y="321"/>
                    <a:pt x="151" y="321"/>
                  </a:cubicBezTo>
                  <a:cubicBezTo>
                    <a:pt x="152" y="321"/>
                    <a:pt x="153" y="321"/>
                    <a:pt x="155" y="321"/>
                  </a:cubicBezTo>
                  <a:cubicBezTo>
                    <a:pt x="160" y="321"/>
                    <a:pt x="164" y="323"/>
                    <a:pt x="162" y="330"/>
                  </a:cubicBezTo>
                  <a:cubicBezTo>
                    <a:pt x="163" y="329"/>
                    <a:pt x="163" y="329"/>
                    <a:pt x="164" y="328"/>
                  </a:cubicBezTo>
                  <a:cubicBezTo>
                    <a:pt x="163" y="327"/>
                    <a:pt x="163" y="327"/>
                    <a:pt x="163" y="327"/>
                  </a:cubicBezTo>
                  <a:cubicBezTo>
                    <a:pt x="164" y="327"/>
                    <a:pt x="164" y="327"/>
                    <a:pt x="164" y="327"/>
                  </a:cubicBezTo>
                  <a:cubicBezTo>
                    <a:pt x="165" y="326"/>
                    <a:pt x="165" y="326"/>
                    <a:pt x="165" y="326"/>
                  </a:cubicBezTo>
                  <a:cubicBezTo>
                    <a:pt x="165" y="326"/>
                    <a:pt x="165" y="326"/>
                    <a:pt x="165" y="326"/>
                  </a:cubicBezTo>
                  <a:cubicBezTo>
                    <a:pt x="172" y="321"/>
                    <a:pt x="172" y="321"/>
                    <a:pt x="172" y="321"/>
                  </a:cubicBezTo>
                  <a:cubicBezTo>
                    <a:pt x="173" y="321"/>
                    <a:pt x="173" y="321"/>
                    <a:pt x="173" y="321"/>
                  </a:cubicBezTo>
                  <a:cubicBezTo>
                    <a:pt x="174" y="321"/>
                    <a:pt x="174" y="321"/>
                    <a:pt x="175" y="321"/>
                  </a:cubicBezTo>
                  <a:cubicBezTo>
                    <a:pt x="176" y="321"/>
                    <a:pt x="176" y="321"/>
                    <a:pt x="176" y="321"/>
                  </a:cubicBezTo>
                  <a:cubicBezTo>
                    <a:pt x="176" y="320"/>
                    <a:pt x="176" y="319"/>
                    <a:pt x="176" y="318"/>
                  </a:cubicBezTo>
                  <a:cubicBezTo>
                    <a:pt x="176" y="316"/>
                    <a:pt x="176" y="315"/>
                    <a:pt x="176" y="314"/>
                  </a:cubicBezTo>
                  <a:cubicBezTo>
                    <a:pt x="177" y="312"/>
                    <a:pt x="177" y="312"/>
                    <a:pt x="177" y="312"/>
                  </a:cubicBezTo>
                  <a:cubicBezTo>
                    <a:pt x="180" y="312"/>
                    <a:pt x="180" y="312"/>
                    <a:pt x="180" y="312"/>
                  </a:cubicBezTo>
                  <a:cubicBezTo>
                    <a:pt x="184" y="312"/>
                    <a:pt x="189" y="313"/>
                    <a:pt x="193" y="314"/>
                  </a:cubicBezTo>
                  <a:cubicBezTo>
                    <a:pt x="194" y="309"/>
                    <a:pt x="194" y="309"/>
                    <a:pt x="194" y="309"/>
                  </a:cubicBezTo>
                  <a:cubicBezTo>
                    <a:pt x="194" y="314"/>
                    <a:pt x="194" y="314"/>
                    <a:pt x="194" y="314"/>
                  </a:cubicBezTo>
                  <a:cubicBezTo>
                    <a:pt x="201" y="315"/>
                    <a:pt x="201" y="315"/>
                    <a:pt x="201" y="315"/>
                  </a:cubicBezTo>
                  <a:cubicBezTo>
                    <a:pt x="202" y="315"/>
                    <a:pt x="203" y="315"/>
                    <a:pt x="203" y="315"/>
                  </a:cubicBezTo>
                  <a:cubicBezTo>
                    <a:pt x="204" y="315"/>
                    <a:pt x="205" y="315"/>
                    <a:pt x="206" y="316"/>
                  </a:cubicBezTo>
                  <a:cubicBezTo>
                    <a:pt x="206" y="316"/>
                    <a:pt x="207" y="316"/>
                    <a:pt x="207" y="316"/>
                  </a:cubicBezTo>
                  <a:cubicBezTo>
                    <a:pt x="207" y="316"/>
                    <a:pt x="207" y="316"/>
                    <a:pt x="208" y="316"/>
                  </a:cubicBezTo>
                  <a:cubicBezTo>
                    <a:pt x="208" y="315"/>
                    <a:pt x="208" y="315"/>
                    <a:pt x="208" y="315"/>
                  </a:cubicBezTo>
                  <a:cubicBezTo>
                    <a:pt x="208" y="315"/>
                    <a:pt x="208" y="314"/>
                    <a:pt x="209" y="314"/>
                  </a:cubicBezTo>
                  <a:cubicBezTo>
                    <a:pt x="211" y="312"/>
                    <a:pt x="214" y="311"/>
                    <a:pt x="216" y="311"/>
                  </a:cubicBezTo>
                  <a:cubicBezTo>
                    <a:pt x="217" y="311"/>
                    <a:pt x="217" y="311"/>
                    <a:pt x="217" y="311"/>
                  </a:cubicBezTo>
                  <a:cubicBezTo>
                    <a:pt x="217" y="310"/>
                    <a:pt x="218" y="310"/>
                    <a:pt x="218" y="310"/>
                  </a:cubicBezTo>
                  <a:cubicBezTo>
                    <a:pt x="219" y="310"/>
                    <a:pt x="219" y="310"/>
                    <a:pt x="219" y="310"/>
                  </a:cubicBezTo>
                  <a:cubicBezTo>
                    <a:pt x="220" y="310"/>
                    <a:pt x="221" y="309"/>
                    <a:pt x="222" y="309"/>
                  </a:cubicBezTo>
                  <a:cubicBezTo>
                    <a:pt x="223" y="309"/>
                    <a:pt x="224" y="310"/>
                    <a:pt x="225" y="311"/>
                  </a:cubicBezTo>
                  <a:cubicBezTo>
                    <a:pt x="225" y="311"/>
                    <a:pt x="225" y="312"/>
                    <a:pt x="225" y="313"/>
                  </a:cubicBezTo>
                  <a:cubicBezTo>
                    <a:pt x="226" y="313"/>
                    <a:pt x="226" y="313"/>
                    <a:pt x="226" y="313"/>
                  </a:cubicBezTo>
                  <a:cubicBezTo>
                    <a:pt x="227" y="313"/>
                    <a:pt x="227" y="313"/>
                    <a:pt x="227" y="313"/>
                  </a:cubicBezTo>
                  <a:cubicBezTo>
                    <a:pt x="227" y="312"/>
                    <a:pt x="227" y="312"/>
                    <a:pt x="227" y="312"/>
                  </a:cubicBezTo>
                  <a:cubicBezTo>
                    <a:pt x="228" y="312"/>
                    <a:pt x="228" y="312"/>
                    <a:pt x="229" y="312"/>
                  </a:cubicBezTo>
                  <a:cubicBezTo>
                    <a:pt x="229" y="311"/>
                    <a:pt x="228" y="310"/>
                    <a:pt x="229" y="309"/>
                  </a:cubicBezTo>
                  <a:cubicBezTo>
                    <a:pt x="229" y="308"/>
                    <a:pt x="229" y="308"/>
                    <a:pt x="229" y="307"/>
                  </a:cubicBezTo>
                  <a:cubicBezTo>
                    <a:pt x="229" y="306"/>
                    <a:pt x="230" y="306"/>
                    <a:pt x="230" y="305"/>
                  </a:cubicBezTo>
                  <a:cubicBezTo>
                    <a:pt x="230" y="305"/>
                    <a:pt x="230" y="305"/>
                    <a:pt x="230" y="304"/>
                  </a:cubicBezTo>
                  <a:cubicBezTo>
                    <a:pt x="226" y="296"/>
                    <a:pt x="226" y="296"/>
                    <a:pt x="226" y="296"/>
                  </a:cubicBezTo>
                  <a:cubicBezTo>
                    <a:pt x="226" y="295"/>
                    <a:pt x="225" y="295"/>
                    <a:pt x="225" y="294"/>
                  </a:cubicBezTo>
                  <a:cubicBezTo>
                    <a:pt x="221" y="296"/>
                    <a:pt x="221" y="296"/>
                    <a:pt x="221" y="296"/>
                  </a:cubicBezTo>
                  <a:cubicBezTo>
                    <a:pt x="224" y="293"/>
                    <a:pt x="224" y="293"/>
                    <a:pt x="224" y="293"/>
                  </a:cubicBezTo>
                  <a:cubicBezTo>
                    <a:pt x="224" y="292"/>
                    <a:pt x="224" y="292"/>
                    <a:pt x="224" y="292"/>
                  </a:cubicBezTo>
                  <a:cubicBezTo>
                    <a:pt x="224" y="291"/>
                    <a:pt x="224" y="291"/>
                    <a:pt x="223" y="290"/>
                  </a:cubicBezTo>
                  <a:cubicBezTo>
                    <a:pt x="223" y="288"/>
                    <a:pt x="222" y="287"/>
                    <a:pt x="222" y="285"/>
                  </a:cubicBezTo>
                  <a:cubicBezTo>
                    <a:pt x="222" y="284"/>
                    <a:pt x="222" y="284"/>
                    <a:pt x="222" y="283"/>
                  </a:cubicBezTo>
                  <a:cubicBezTo>
                    <a:pt x="221" y="283"/>
                    <a:pt x="221" y="284"/>
                    <a:pt x="220" y="284"/>
                  </a:cubicBezTo>
                  <a:cubicBezTo>
                    <a:pt x="220" y="284"/>
                    <a:pt x="220" y="284"/>
                    <a:pt x="220" y="284"/>
                  </a:cubicBezTo>
                  <a:cubicBezTo>
                    <a:pt x="218" y="284"/>
                    <a:pt x="218" y="284"/>
                    <a:pt x="217" y="284"/>
                  </a:cubicBezTo>
                  <a:cubicBezTo>
                    <a:pt x="217" y="283"/>
                    <a:pt x="217" y="283"/>
                    <a:pt x="217" y="283"/>
                  </a:cubicBezTo>
                  <a:cubicBezTo>
                    <a:pt x="216" y="283"/>
                    <a:pt x="216" y="283"/>
                    <a:pt x="215" y="283"/>
                  </a:cubicBezTo>
                  <a:cubicBezTo>
                    <a:pt x="215" y="283"/>
                    <a:pt x="215" y="283"/>
                    <a:pt x="215" y="283"/>
                  </a:cubicBezTo>
                  <a:cubicBezTo>
                    <a:pt x="214" y="282"/>
                    <a:pt x="214" y="282"/>
                    <a:pt x="214" y="282"/>
                  </a:cubicBezTo>
                  <a:cubicBezTo>
                    <a:pt x="214" y="282"/>
                    <a:pt x="214" y="282"/>
                    <a:pt x="214" y="282"/>
                  </a:cubicBezTo>
                  <a:cubicBezTo>
                    <a:pt x="213" y="282"/>
                    <a:pt x="213" y="282"/>
                    <a:pt x="213" y="282"/>
                  </a:cubicBezTo>
                  <a:cubicBezTo>
                    <a:pt x="211" y="280"/>
                    <a:pt x="210" y="277"/>
                    <a:pt x="210" y="274"/>
                  </a:cubicBezTo>
                  <a:cubicBezTo>
                    <a:pt x="210" y="274"/>
                    <a:pt x="209" y="273"/>
                    <a:pt x="209" y="272"/>
                  </a:cubicBezTo>
                  <a:cubicBezTo>
                    <a:pt x="208" y="270"/>
                    <a:pt x="209" y="267"/>
                    <a:pt x="209" y="265"/>
                  </a:cubicBezTo>
                  <a:cubicBezTo>
                    <a:pt x="209" y="264"/>
                    <a:pt x="209" y="264"/>
                    <a:pt x="209" y="264"/>
                  </a:cubicBezTo>
                  <a:cubicBezTo>
                    <a:pt x="209" y="263"/>
                    <a:pt x="210" y="262"/>
                    <a:pt x="210" y="261"/>
                  </a:cubicBezTo>
                  <a:cubicBezTo>
                    <a:pt x="209" y="261"/>
                    <a:pt x="209" y="261"/>
                    <a:pt x="209" y="261"/>
                  </a:cubicBezTo>
                  <a:cubicBezTo>
                    <a:pt x="209" y="261"/>
                    <a:pt x="209" y="261"/>
                    <a:pt x="209" y="261"/>
                  </a:cubicBezTo>
                  <a:cubicBezTo>
                    <a:pt x="208" y="261"/>
                    <a:pt x="208" y="261"/>
                    <a:pt x="208" y="261"/>
                  </a:cubicBezTo>
                  <a:cubicBezTo>
                    <a:pt x="207" y="261"/>
                    <a:pt x="205" y="261"/>
                    <a:pt x="204" y="260"/>
                  </a:cubicBezTo>
                  <a:cubicBezTo>
                    <a:pt x="203" y="265"/>
                    <a:pt x="203" y="265"/>
                    <a:pt x="203" y="265"/>
                  </a:cubicBezTo>
                  <a:cubicBezTo>
                    <a:pt x="202" y="260"/>
                    <a:pt x="202" y="260"/>
                    <a:pt x="202" y="260"/>
                  </a:cubicBezTo>
                  <a:cubicBezTo>
                    <a:pt x="202" y="260"/>
                    <a:pt x="202" y="260"/>
                    <a:pt x="202" y="260"/>
                  </a:cubicBezTo>
                  <a:cubicBezTo>
                    <a:pt x="199" y="259"/>
                    <a:pt x="196" y="258"/>
                    <a:pt x="195" y="256"/>
                  </a:cubicBezTo>
                  <a:cubicBezTo>
                    <a:pt x="194" y="255"/>
                    <a:pt x="194" y="254"/>
                    <a:pt x="193" y="253"/>
                  </a:cubicBezTo>
                  <a:cubicBezTo>
                    <a:pt x="192" y="250"/>
                    <a:pt x="193" y="246"/>
                    <a:pt x="196" y="242"/>
                  </a:cubicBezTo>
                  <a:cubicBezTo>
                    <a:pt x="198" y="238"/>
                    <a:pt x="201" y="235"/>
                    <a:pt x="204" y="232"/>
                  </a:cubicBezTo>
                  <a:cubicBezTo>
                    <a:pt x="205" y="231"/>
                    <a:pt x="205" y="231"/>
                    <a:pt x="205" y="231"/>
                  </a:cubicBezTo>
                  <a:cubicBezTo>
                    <a:pt x="205" y="230"/>
                    <a:pt x="206" y="229"/>
                    <a:pt x="207" y="228"/>
                  </a:cubicBezTo>
                  <a:cubicBezTo>
                    <a:pt x="207" y="228"/>
                    <a:pt x="208" y="227"/>
                    <a:pt x="209" y="226"/>
                  </a:cubicBezTo>
                  <a:cubicBezTo>
                    <a:pt x="209" y="226"/>
                    <a:pt x="209" y="226"/>
                    <a:pt x="209" y="226"/>
                  </a:cubicBezTo>
                  <a:cubicBezTo>
                    <a:pt x="209" y="225"/>
                    <a:pt x="210" y="225"/>
                    <a:pt x="210" y="225"/>
                  </a:cubicBezTo>
                  <a:cubicBezTo>
                    <a:pt x="212" y="223"/>
                    <a:pt x="212" y="223"/>
                    <a:pt x="212" y="223"/>
                  </a:cubicBezTo>
                  <a:cubicBezTo>
                    <a:pt x="213" y="222"/>
                    <a:pt x="213" y="222"/>
                    <a:pt x="213" y="222"/>
                  </a:cubicBezTo>
                  <a:cubicBezTo>
                    <a:pt x="213" y="222"/>
                    <a:pt x="213" y="222"/>
                    <a:pt x="213" y="222"/>
                  </a:cubicBezTo>
                  <a:cubicBezTo>
                    <a:pt x="210" y="218"/>
                    <a:pt x="210" y="218"/>
                    <a:pt x="210" y="218"/>
                  </a:cubicBezTo>
                  <a:cubicBezTo>
                    <a:pt x="214" y="221"/>
                    <a:pt x="214" y="221"/>
                    <a:pt x="214" y="221"/>
                  </a:cubicBezTo>
                  <a:cubicBezTo>
                    <a:pt x="214" y="221"/>
                    <a:pt x="214" y="221"/>
                    <a:pt x="214" y="221"/>
                  </a:cubicBezTo>
                  <a:cubicBezTo>
                    <a:pt x="215" y="220"/>
                    <a:pt x="216" y="220"/>
                    <a:pt x="216" y="219"/>
                  </a:cubicBezTo>
                  <a:cubicBezTo>
                    <a:pt x="217" y="219"/>
                    <a:pt x="217" y="219"/>
                    <a:pt x="217" y="219"/>
                  </a:cubicBezTo>
                  <a:cubicBezTo>
                    <a:pt x="217" y="219"/>
                    <a:pt x="218" y="219"/>
                    <a:pt x="219" y="219"/>
                  </a:cubicBezTo>
                  <a:cubicBezTo>
                    <a:pt x="219" y="216"/>
                    <a:pt x="219" y="216"/>
                    <a:pt x="219" y="216"/>
                  </a:cubicBezTo>
                  <a:cubicBezTo>
                    <a:pt x="220" y="219"/>
                    <a:pt x="220" y="219"/>
                    <a:pt x="220" y="219"/>
                  </a:cubicBezTo>
                  <a:cubicBezTo>
                    <a:pt x="220" y="219"/>
                    <a:pt x="221" y="219"/>
                    <a:pt x="221" y="219"/>
                  </a:cubicBezTo>
                  <a:cubicBezTo>
                    <a:pt x="221" y="219"/>
                    <a:pt x="222" y="219"/>
                    <a:pt x="222" y="219"/>
                  </a:cubicBezTo>
                  <a:cubicBezTo>
                    <a:pt x="223" y="219"/>
                    <a:pt x="223" y="220"/>
                    <a:pt x="224" y="220"/>
                  </a:cubicBezTo>
                  <a:cubicBezTo>
                    <a:pt x="224" y="220"/>
                    <a:pt x="225" y="221"/>
                    <a:pt x="225" y="221"/>
                  </a:cubicBezTo>
                  <a:cubicBezTo>
                    <a:pt x="226" y="222"/>
                    <a:pt x="226" y="223"/>
                    <a:pt x="227" y="224"/>
                  </a:cubicBezTo>
                  <a:cubicBezTo>
                    <a:pt x="227" y="224"/>
                    <a:pt x="227" y="224"/>
                    <a:pt x="227" y="224"/>
                  </a:cubicBezTo>
                  <a:cubicBezTo>
                    <a:pt x="227" y="225"/>
                    <a:pt x="228" y="226"/>
                    <a:pt x="228" y="226"/>
                  </a:cubicBezTo>
                  <a:cubicBezTo>
                    <a:pt x="228" y="226"/>
                    <a:pt x="229" y="226"/>
                    <a:pt x="229" y="226"/>
                  </a:cubicBezTo>
                  <a:cubicBezTo>
                    <a:pt x="229" y="226"/>
                    <a:pt x="229" y="226"/>
                    <a:pt x="230" y="226"/>
                  </a:cubicBezTo>
                  <a:cubicBezTo>
                    <a:pt x="230" y="226"/>
                    <a:pt x="230" y="226"/>
                    <a:pt x="230" y="226"/>
                  </a:cubicBezTo>
                  <a:cubicBezTo>
                    <a:pt x="232" y="225"/>
                    <a:pt x="234" y="224"/>
                    <a:pt x="236" y="224"/>
                  </a:cubicBezTo>
                  <a:cubicBezTo>
                    <a:pt x="237" y="224"/>
                    <a:pt x="237" y="224"/>
                    <a:pt x="237" y="224"/>
                  </a:cubicBezTo>
                  <a:cubicBezTo>
                    <a:pt x="237" y="219"/>
                    <a:pt x="237" y="219"/>
                    <a:pt x="237" y="219"/>
                  </a:cubicBezTo>
                  <a:cubicBezTo>
                    <a:pt x="238" y="223"/>
                    <a:pt x="238" y="223"/>
                    <a:pt x="238" y="223"/>
                  </a:cubicBezTo>
                  <a:cubicBezTo>
                    <a:pt x="240" y="223"/>
                    <a:pt x="240" y="223"/>
                    <a:pt x="240" y="223"/>
                  </a:cubicBezTo>
                  <a:cubicBezTo>
                    <a:pt x="240" y="223"/>
                    <a:pt x="240" y="223"/>
                    <a:pt x="241" y="223"/>
                  </a:cubicBezTo>
                  <a:cubicBezTo>
                    <a:pt x="242" y="223"/>
                    <a:pt x="242" y="223"/>
                    <a:pt x="242" y="223"/>
                  </a:cubicBezTo>
                  <a:cubicBezTo>
                    <a:pt x="243" y="223"/>
                    <a:pt x="246" y="223"/>
                    <a:pt x="247" y="222"/>
                  </a:cubicBezTo>
                  <a:cubicBezTo>
                    <a:pt x="248" y="222"/>
                    <a:pt x="248" y="222"/>
                    <a:pt x="248" y="222"/>
                  </a:cubicBezTo>
                  <a:cubicBezTo>
                    <a:pt x="261" y="205"/>
                    <a:pt x="261" y="205"/>
                    <a:pt x="261" y="205"/>
                  </a:cubicBezTo>
                  <a:cubicBezTo>
                    <a:pt x="261" y="0"/>
                    <a:pt x="261" y="0"/>
                    <a:pt x="26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7" name="Freeform 286">
              <a:extLst>
                <a:ext uri="{FF2B5EF4-FFF2-40B4-BE49-F238E27FC236}">
                  <a16:creationId xmlns:a16="http://schemas.microsoft.com/office/drawing/2014/main" id="{D6CD5B5D-327D-4073-8AFE-C3FF82E25C93}"/>
                </a:ext>
              </a:extLst>
            </p:cNvPr>
            <p:cNvSpPr>
              <a:spLocks/>
            </p:cNvSpPr>
            <p:nvPr/>
          </p:nvSpPr>
          <p:spPr bwMode="auto">
            <a:xfrm>
              <a:off x="7033" y="512"/>
              <a:ext cx="645" cy="551"/>
            </a:xfrm>
            <a:custGeom>
              <a:avLst/>
              <a:gdLst>
                <a:gd name="T0" fmla="*/ 230 w 273"/>
                <a:gd name="T1" fmla="*/ 10 h 233"/>
                <a:gd name="T2" fmla="*/ 228 w 273"/>
                <a:gd name="T3" fmla="*/ 21 h 233"/>
                <a:gd name="T4" fmla="*/ 222 w 273"/>
                <a:gd name="T5" fmla="*/ 25 h 233"/>
                <a:gd name="T6" fmla="*/ 210 w 273"/>
                <a:gd name="T7" fmla="*/ 26 h 233"/>
                <a:gd name="T8" fmla="*/ 207 w 273"/>
                <a:gd name="T9" fmla="*/ 35 h 233"/>
                <a:gd name="T10" fmla="*/ 195 w 273"/>
                <a:gd name="T11" fmla="*/ 31 h 233"/>
                <a:gd name="T12" fmla="*/ 184 w 273"/>
                <a:gd name="T13" fmla="*/ 35 h 233"/>
                <a:gd name="T14" fmla="*/ 174 w 273"/>
                <a:gd name="T15" fmla="*/ 41 h 233"/>
                <a:gd name="T16" fmla="*/ 165 w 273"/>
                <a:gd name="T17" fmla="*/ 34 h 233"/>
                <a:gd name="T18" fmla="*/ 156 w 273"/>
                <a:gd name="T19" fmla="*/ 34 h 233"/>
                <a:gd name="T20" fmla="*/ 142 w 273"/>
                <a:gd name="T21" fmla="*/ 30 h 233"/>
                <a:gd name="T22" fmla="*/ 137 w 273"/>
                <a:gd name="T23" fmla="*/ 30 h 233"/>
                <a:gd name="T24" fmla="*/ 125 w 273"/>
                <a:gd name="T25" fmla="*/ 27 h 233"/>
                <a:gd name="T26" fmla="*/ 110 w 273"/>
                <a:gd name="T27" fmla="*/ 33 h 233"/>
                <a:gd name="T28" fmla="*/ 93 w 273"/>
                <a:gd name="T29" fmla="*/ 57 h 233"/>
                <a:gd name="T30" fmla="*/ 63 w 273"/>
                <a:gd name="T31" fmla="*/ 71 h 233"/>
                <a:gd name="T32" fmla="*/ 54 w 273"/>
                <a:gd name="T33" fmla="*/ 84 h 233"/>
                <a:gd name="T34" fmla="*/ 40 w 273"/>
                <a:gd name="T35" fmla="*/ 89 h 233"/>
                <a:gd name="T36" fmla="*/ 32 w 273"/>
                <a:gd name="T37" fmla="*/ 83 h 233"/>
                <a:gd name="T38" fmla="*/ 20 w 273"/>
                <a:gd name="T39" fmla="*/ 79 h 233"/>
                <a:gd name="T40" fmla="*/ 13 w 273"/>
                <a:gd name="T41" fmla="*/ 94 h 233"/>
                <a:gd name="T42" fmla="*/ 9 w 273"/>
                <a:gd name="T43" fmla="*/ 107 h 233"/>
                <a:gd name="T44" fmla="*/ 2 w 273"/>
                <a:gd name="T45" fmla="*/ 125 h 233"/>
                <a:gd name="T46" fmla="*/ 9 w 273"/>
                <a:gd name="T47" fmla="*/ 132 h 233"/>
                <a:gd name="T48" fmla="*/ 7 w 273"/>
                <a:gd name="T49" fmla="*/ 159 h 233"/>
                <a:gd name="T50" fmla="*/ 7 w 273"/>
                <a:gd name="T51" fmla="*/ 174 h 233"/>
                <a:gd name="T52" fmla="*/ 9 w 273"/>
                <a:gd name="T53" fmla="*/ 180 h 233"/>
                <a:gd name="T54" fmla="*/ 29 w 273"/>
                <a:gd name="T55" fmla="*/ 201 h 233"/>
                <a:gd name="T56" fmla="*/ 47 w 273"/>
                <a:gd name="T57" fmla="*/ 233 h 233"/>
                <a:gd name="T58" fmla="*/ 58 w 273"/>
                <a:gd name="T59" fmla="*/ 232 h 233"/>
                <a:gd name="T60" fmla="*/ 72 w 273"/>
                <a:gd name="T61" fmla="*/ 232 h 233"/>
                <a:gd name="T62" fmla="*/ 81 w 273"/>
                <a:gd name="T63" fmla="*/ 233 h 233"/>
                <a:gd name="T64" fmla="*/ 112 w 273"/>
                <a:gd name="T65" fmla="*/ 227 h 233"/>
                <a:gd name="T66" fmla="*/ 131 w 273"/>
                <a:gd name="T67" fmla="*/ 222 h 233"/>
                <a:gd name="T68" fmla="*/ 132 w 273"/>
                <a:gd name="T69" fmla="*/ 198 h 233"/>
                <a:gd name="T70" fmla="*/ 142 w 273"/>
                <a:gd name="T71" fmla="*/ 187 h 233"/>
                <a:gd name="T72" fmla="*/ 150 w 273"/>
                <a:gd name="T73" fmla="*/ 185 h 233"/>
                <a:gd name="T74" fmla="*/ 158 w 273"/>
                <a:gd name="T75" fmla="*/ 187 h 233"/>
                <a:gd name="T76" fmla="*/ 171 w 273"/>
                <a:gd name="T77" fmla="*/ 176 h 233"/>
                <a:gd name="T78" fmla="*/ 180 w 273"/>
                <a:gd name="T79" fmla="*/ 172 h 233"/>
                <a:gd name="T80" fmla="*/ 189 w 273"/>
                <a:gd name="T81" fmla="*/ 172 h 233"/>
                <a:gd name="T82" fmla="*/ 196 w 273"/>
                <a:gd name="T83" fmla="*/ 174 h 233"/>
                <a:gd name="T84" fmla="*/ 201 w 273"/>
                <a:gd name="T85" fmla="*/ 155 h 233"/>
                <a:gd name="T86" fmla="*/ 205 w 273"/>
                <a:gd name="T87" fmla="*/ 147 h 233"/>
                <a:gd name="T88" fmla="*/ 214 w 273"/>
                <a:gd name="T89" fmla="*/ 138 h 233"/>
                <a:gd name="T90" fmla="*/ 219 w 273"/>
                <a:gd name="T91" fmla="*/ 125 h 233"/>
                <a:gd name="T92" fmla="*/ 217 w 273"/>
                <a:gd name="T93" fmla="*/ 114 h 233"/>
                <a:gd name="T94" fmla="*/ 234 w 273"/>
                <a:gd name="T95" fmla="*/ 115 h 233"/>
                <a:gd name="T96" fmla="*/ 244 w 273"/>
                <a:gd name="T97" fmla="*/ 109 h 233"/>
                <a:gd name="T98" fmla="*/ 249 w 273"/>
                <a:gd name="T99" fmla="*/ 91 h 233"/>
                <a:gd name="T100" fmla="*/ 255 w 273"/>
                <a:gd name="T101" fmla="*/ 83 h 233"/>
                <a:gd name="T102" fmla="*/ 252 w 273"/>
                <a:gd name="T103" fmla="*/ 73 h 233"/>
                <a:gd name="T104" fmla="*/ 247 w 273"/>
                <a:gd name="T105" fmla="*/ 65 h 233"/>
                <a:gd name="T106" fmla="*/ 259 w 273"/>
                <a:gd name="T107" fmla="*/ 48 h 233"/>
                <a:gd name="T108" fmla="*/ 273 w 273"/>
                <a:gd name="T109" fmla="*/ 43 h 233"/>
                <a:gd name="T110" fmla="*/ 258 w 273"/>
                <a:gd name="T111" fmla="*/ 47 h 233"/>
                <a:gd name="T112" fmla="*/ 252 w 273"/>
                <a:gd name="T113" fmla="*/ 30 h 233"/>
                <a:gd name="T114" fmla="*/ 250 w 273"/>
                <a:gd name="T115" fmla="*/ 12 h 233"/>
                <a:gd name="T116" fmla="*/ 247 w 273"/>
                <a:gd name="T117" fmla="*/ 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3" h="233">
                  <a:moveTo>
                    <a:pt x="243" y="0"/>
                  </a:moveTo>
                  <a:cubicBezTo>
                    <a:pt x="243" y="0"/>
                    <a:pt x="243" y="0"/>
                    <a:pt x="243" y="0"/>
                  </a:cubicBezTo>
                  <a:cubicBezTo>
                    <a:pt x="241" y="0"/>
                    <a:pt x="240" y="0"/>
                    <a:pt x="240" y="0"/>
                  </a:cubicBezTo>
                  <a:cubicBezTo>
                    <a:pt x="238" y="2"/>
                    <a:pt x="236" y="4"/>
                    <a:pt x="235" y="6"/>
                  </a:cubicBezTo>
                  <a:cubicBezTo>
                    <a:pt x="234" y="7"/>
                    <a:pt x="232" y="8"/>
                    <a:pt x="231" y="10"/>
                  </a:cubicBezTo>
                  <a:cubicBezTo>
                    <a:pt x="230" y="10"/>
                    <a:pt x="230" y="10"/>
                    <a:pt x="230" y="10"/>
                  </a:cubicBezTo>
                  <a:cubicBezTo>
                    <a:pt x="229" y="11"/>
                    <a:pt x="228" y="12"/>
                    <a:pt x="227" y="13"/>
                  </a:cubicBezTo>
                  <a:cubicBezTo>
                    <a:pt x="227" y="13"/>
                    <a:pt x="227" y="13"/>
                    <a:pt x="227" y="13"/>
                  </a:cubicBezTo>
                  <a:cubicBezTo>
                    <a:pt x="228" y="13"/>
                    <a:pt x="228" y="13"/>
                    <a:pt x="228" y="13"/>
                  </a:cubicBezTo>
                  <a:cubicBezTo>
                    <a:pt x="228" y="14"/>
                    <a:pt x="229" y="15"/>
                    <a:pt x="229" y="16"/>
                  </a:cubicBezTo>
                  <a:cubicBezTo>
                    <a:pt x="230" y="17"/>
                    <a:pt x="230" y="17"/>
                    <a:pt x="230" y="18"/>
                  </a:cubicBezTo>
                  <a:cubicBezTo>
                    <a:pt x="229" y="19"/>
                    <a:pt x="229" y="20"/>
                    <a:pt x="228" y="21"/>
                  </a:cubicBezTo>
                  <a:cubicBezTo>
                    <a:pt x="228" y="22"/>
                    <a:pt x="227" y="23"/>
                    <a:pt x="226" y="24"/>
                  </a:cubicBezTo>
                  <a:cubicBezTo>
                    <a:pt x="225" y="24"/>
                    <a:pt x="225" y="24"/>
                    <a:pt x="225" y="24"/>
                  </a:cubicBezTo>
                  <a:cubicBezTo>
                    <a:pt x="227" y="29"/>
                    <a:pt x="227" y="29"/>
                    <a:pt x="227" y="29"/>
                  </a:cubicBezTo>
                  <a:cubicBezTo>
                    <a:pt x="224" y="24"/>
                    <a:pt x="224" y="24"/>
                    <a:pt x="224" y="24"/>
                  </a:cubicBezTo>
                  <a:cubicBezTo>
                    <a:pt x="224" y="24"/>
                    <a:pt x="224" y="24"/>
                    <a:pt x="224" y="24"/>
                  </a:cubicBezTo>
                  <a:cubicBezTo>
                    <a:pt x="223" y="25"/>
                    <a:pt x="223" y="25"/>
                    <a:pt x="222" y="25"/>
                  </a:cubicBezTo>
                  <a:cubicBezTo>
                    <a:pt x="222" y="25"/>
                    <a:pt x="222" y="25"/>
                    <a:pt x="222" y="25"/>
                  </a:cubicBezTo>
                  <a:cubicBezTo>
                    <a:pt x="221" y="25"/>
                    <a:pt x="219" y="24"/>
                    <a:pt x="218" y="24"/>
                  </a:cubicBezTo>
                  <a:cubicBezTo>
                    <a:pt x="217" y="24"/>
                    <a:pt x="217" y="24"/>
                    <a:pt x="216" y="24"/>
                  </a:cubicBezTo>
                  <a:cubicBezTo>
                    <a:pt x="215" y="24"/>
                    <a:pt x="213" y="23"/>
                    <a:pt x="211" y="23"/>
                  </a:cubicBezTo>
                  <a:cubicBezTo>
                    <a:pt x="211" y="24"/>
                    <a:pt x="211" y="24"/>
                    <a:pt x="211" y="24"/>
                  </a:cubicBezTo>
                  <a:cubicBezTo>
                    <a:pt x="211" y="24"/>
                    <a:pt x="211" y="25"/>
                    <a:pt x="210" y="26"/>
                  </a:cubicBezTo>
                  <a:cubicBezTo>
                    <a:pt x="210" y="29"/>
                    <a:pt x="210" y="29"/>
                    <a:pt x="210" y="29"/>
                  </a:cubicBezTo>
                  <a:cubicBezTo>
                    <a:pt x="210" y="29"/>
                    <a:pt x="210" y="29"/>
                    <a:pt x="209" y="30"/>
                  </a:cubicBezTo>
                  <a:cubicBezTo>
                    <a:pt x="209" y="30"/>
                    <a:pt x="209" y="31"/>
                    <a:pt x="209" y="32"/>
                  </a:cubicBezTo>
                  <a:cubicBezTo>
                    <a:pt x="209" y="32"/>
                    <a:pt x="208" y="33"/>
                    <a:pt x="208" y="34"/>
                  </a:cubicBezTo>
                  <a:cubicBezTo>
                    <a:pt x="213" y="37"/>
                    <a:pt x="213" y="37"/>
                    <a:pt x="213" y="37"/>
                  </a:cubicBezTo>
                  <a:cubicBezTo>
                    <a:pt x="207" y="35"/>
                    <a:pt x="207" y="35"/>
                    <a:pt x="207" y="35"/>
                  </a:cubicBezTo>
                  <a:cubicBezTo>
                    <a:pt x="206" y="35"/>
                    <a:pt x="206" y="36"/>
                    <a:pt x="205" y="36"/>
                  </a:cubicBezTo>
                  <a:cubicBezTo>
                    <a:pt x="204" y="36"/>
                    <a:pt x="204" y="36"/>
                    <a:pt x="203" y="36"/>
                  </a:cubicBezTo>
                  <a:cubicBezTo>
                    <a:pt x="203" y="36"/>
                    <a:pt x="202" y="36"/>
                    <a:pt x="202" y="36"/>
                  </a:cubicBezTo>
                  <a:cubicBezTo>
                    <a:pt x="200" y="35"/>
                    <a:pt x="199" y="34"/>
                    <a:pt x="198" y="33"/>
                  </a:cubicBezTo>
                  <a:cubicBezTo>
                    <a:pt x="195" y="31"/>
                    <a:pt x="195" y="31"/>
                    <a:pt x="195" y="31"/>
                  </a:cubicBezTo>
                  <a:cubicBezTo>
                    <a:pt x="195" y="31"/>
                    <a:pt x="195" y="31"/>
                    <a:pt x="195" y="31"/>
                  </a:cubicBezTo>
                  <a:cubicBezTo>
                    <a:pt x="195" y="31"/>
                    <a:pt x="195" y="31"/>
                    <a:pt x="194" y="31"/>
                  </a:cubicBezTo>
                  <a:cubicBezTo>
                    <a:pt x="193" y="32"/>
                    <a:pt x="193" y="32"/>
                    <a:pt x="193" y="32"/>
                  </a:cubicBezTo>
                  <a:cubicBezTo>
                    <a:pt x="193" y="32"/>
                    <a:pt x="193" y="32"/>
                    <a:pt x="193" y="32"/>
                  </a:cubicBezTo>
                  <a:cubicBezTo>
                    <a:pt x="192" y="32"/>
                    <a:pt x="191" y="32"/>
                    <a:pt x="191" y="33"/>
                  </a:cubicBezTo>
                  <a:cubicBezTo>
                    <a:pt x="189" y="34"/>
                    <a:pt x="186" y="34"/>
                    <a:pt x="184" y="35"/>
                  </a:cubicBezTo>
                  <a:cubicBezTo>
                    <a:pt x="184" y="35"/>
                    <a:pt x="184" y="35"/>
                    <a:pt x="184" y="35"/>
                  </a:cubicBezTo>
                  <a:cubicBezTo>
                    <a:pt x="183" y="35"/>
                    <a:pt x="183" y="36"/>
                    <a:pt x="183" y="36"/>
                  </a:cubicBezTo>
                  <a:cubicBezTo>
                    <a:pt x="181" y="37"/>
                    <a:pt x="180" y="38"/>
                    <a:pt x="179" y="38"/>
                  </a:cubicBezTo>
                  <a:cubicBezTo>
                    <a:pt x="179" y="39"/>
                    <a:pt x="179" y="39"/>
                    <a:pt x="179" y="39"/>
                  </a:cubicBezTo>
                  <a:cubicBezTo>
                    <a:pt x="180" y="39"/>
                    <a:pt x="180" y="39"/>
                    <a:pt x="180" y="39"/>
                  </a:cubicBezTo>
                  <a:cubicBezTo>
                    <a:pt x="178" y="39"/>
                    <a:pt x="178" y="39"/>
                    <a:pt x="178" y="39"/>
                  </a:cubicBezTo>
                  <a:cubicBezTo>
                    <a:pt x="177" y="40"/>
                    <a:pt x="176" y="41"/>
                    <a:pt x="174" y="41"/>
                  </a:cubicBezTo>
                  <a:cubicBezTo>
                    <a:pt x="174" y="41"/>
                    <a:pt x="174" y="41"/>
                    <a:pt x="174" y="41"/>
                  </a:cubicBezTo>
                  <a:cubicBezTo>
                    <a:pt x="172" y="41"/>
                    <a:pt x="171" y="40"/>
                    <a:pt x="170" y="39"/>
                  </a:cubicBezTo>
                  <a:cubicBezTo>
                    <a:pt x="167" y="37"/>
                    <a:pt x="167" y="37"/>
                    <a:pt x="167" y="37"/>
                  </a:cubicBezTo>
                  <a:cubicBezTo>
                    <a:pt x="166" y="36"/>
                    <a:pt x="166" y="35"/>
                    <a:pt x="166" y="35"/>
                  </a:cubicBezTo>
                  <a:cubicBezTo>
                    <a:pt x="166" y="34"/>
                    <a:pt x="166" y="34"/>
                    <a:pt x="166" y="34"/>
                  </a:cubicBezTo>
                  <a:cubicBezTo>
                    <a:pt x="165" y="34"/>
                    <a:pt x="165" y="34"/>
                    <a:pt x="165" y="34"/>
                  </a:cubicBezTo>
                  <a:cubicBezTo>
                    <a:pt x="165" y="34"/>
                    <a:pt x="165" y="34"/>
                    <a:pt x="165" y="34"/>
                  </a:cubicBezTo>
                  <a:cubicBezTo>
                    <a:pt x="164" y="34"/>
                    <a:pt x="164" y="34"/>
                    <a:pt x="163" y="34"/>
                  </a:cubicBezTo>
                  <a:cubicBezTo>
                    <a:pt x="162" y="34"/>
                    <a:pt x="161" y="34"/>
                    <a:pt x="160" y="34"/>
                  </a:cubicBezTo>
                  <a:cubicBezTo>
                    <a:pt x="160" y="34"/>
                    <a:pt x="160" y="34"/>
                    <a:pt x="160" y="34"/>
                  </a:cubicBezTo>
                  <a:cubicBezTo>
                    <a:pt x="159" y="34"/>
                    <a:pt x="158" y="34"/>
                    <a:pt x="157" y="34"/>
                  </a:cubicBezTo>
                  <a:cubicBezTo>
                    <a:pt x="156" y="34"/>
                    <a:pt x="156" y="34"/>
                    <a:pt x="156" y="34"/>
                  </a:cubicBezTo>
                  <a:cubicBezTo>
                    <a:pt x="154" y="34"/>
                    <a:pt x="153" y="33"/>
                    <a:pt x="152" y="32"/>
                  </a:cubicBezTo>
                  <a:cubicBezTo>
                    <a:pt x="152" y="32"/>
                    <a:pt x="152" y="31"/>
                    <a:pt x="151" y="31"/>
                  </a:cubicBezTo>
                  <a:cubicBezTo>
                    <a:pt x="150" y="30"/>
                    <a:pt x="149" y="30"/>
                    <a:pt x="148" y="30"/>
                  </a:cubicBezTo>
                  <a:cubicBezTo>
                    <a:pt x="148" y="30"/>
                    <a:pt x="147" y="30"/>
                    <a:pt x="146" y="30"/>
                  </a:cubicBezTo>
                  <a:cubicBezTo>
                    <a:pt x="142" y="29"/>
                    <a:pt x="142" y="29"/>
                    <a:pt x="142" y="29"/>
                  </a:cubicBezTo>
                  <a:cubicBezTo>
                    <a:pt x="142" y="30"/>
                    <a:pt x="142" y="30"/>
                    <a:pt x="142" y="30"/>
                  </a:cubicBezTo>
                  <a:cubicBezTo>
                    <a:pt x="139" y="30"/>
                    <a:pt x="139" y="30"/>
                    <a:pt x="139" y="30"/>
                  </a:cubicBezTo>
                  <a:cubicBezTo>
                    <a:pt x="139" y="30"/>
                    <a:pt x="139" y="30"/>
                    <a:pt x="139" y="30"/>
                  </a:cubicBezTo>
                  <a:cubicBezTo>
                    <a:pt x="138" y="30"/>
                    <a:pt x="138" y="30"/>
                    <a:pt x="138" y="30"/>
                  </a:cubicBezTo>
                  <a:cubicBezTo>
                    <a:pt x="138" y="30"/>
                    <a:pt x="138" y="30"/>
                    <a:pt x="138" y="30"/>
                  </a:cubicBezTo>
                  <a:cubicBezTo>
                    <a:pt x="137" y="30"/>
                    <a:pt x="137" y="30"/>
                    <a:pt x="137" y="30"/>
                  </a:cubicBezTo>
                  <a:cubicBezTo>
                    <a:pt x="137" y="30"/>
                    <a:pt x="137" y="30"/>
                    <a:pt x="137" y="30"/>
                  </a:cubicBezTo>
                  <a:cubicBezTo>
                    <a:pt x="136" y="30"/>
                    <a:pt x="135" y="30"/>
                    <a:pt x="134" y="30"/>
                  </a:cubicBezTo>
                  <a:cubicBezTo>
                    <a:pt x="134" y="30"/>
                    <a:pt x="134" y="30"/>
                    <a:pt x="133" y="30"/>
                  </a:cubicBezTo>
                  <a:cubicBezTo>
                    <a:pt x="132" y="30"/>
                    <a:pt x="131" y="29"/>
                    <a:pt x="130" y="29"/>
                  </a:cubicBezTo>
                  <a:cubicBezTo>
                    <a:pt x="130" y="29"/>
                    <a:pt x="130" y="29"/>
                    <a:pt x="130" y="29"/>
                  </a:cubicBezTo>
                  <a:cubicBezTo>
                    <a:pt x="129" y="29"/>
                    <a:pt x="128" y="28"/>
                    <a:pt x="127" y="28"/>
                  </a:cubicBezTo>
                  <a:cubicBezTo>
                    <a:pt x="125" y="27"/>
                    <a:pt x="125" y="27"/>
                    <a:pt x="125" y="27"/>
                  </a:cubicBezTo>
                  <a:cubicBezTo>
                    <a:pt x="125" y="27"/>
                    <a:pt x="124" y="27"/>
                    <a:pt x="124" y="26"/>
                  </a:cubicBezTo>
                  <a:cubicBezTo>
                    <a:pt x="122" y="25"/>
                    <a:pt x="122" y="25"/>
                    <a:pt x="122" y="25"/>
                  </a:cubicBezTo>
                  <a:cubicBezTo>
                    <a:pt x="121" y="26"/>
                    <a:pt x="121" y="26"/>
                    <a:pt x="121" y="26"/>
                  </a:cubicBezTo>
                  <a:cubicBezTo>
                    <a:pt x="120" y="29"/>
                    <a:pt x="118" y="31"/>
                    <a:pt x="115" y="32"/>
                  </a:cubicBezTo>
                  <a:cubicBezTo>
                    <a:pt x="115" y="33"/>
                    <a:pt x="114" y="33"/>
                    <a:pt x="112" y="33"/>
                  </a:cubicBezTo>
                  <a:cubicBezTo>
                    <a:pt x="112" y="33"/>
                    <a:pt x="111" y="33"/>
                    <a:pt x="110" y="33"/>
                  </a:cubicBezTo>
                  <a:cubicBezTo>
                    <a:pt x="110" y="33"/>
                    <a:pt x="110" y="33"/>
                    <a:pt x="110" y="33"/>
                  </a:cubicBezTo>
                  <a:cubicBezTo>
                    <a:pt x="97" y="46"/>
                    <a:pt x="97" y="46"/>
                    <a:pt x="97" y="46"/>
                  </a:cubicBezTo>
                  <a:cubicBezTo>
                    <a:pt x="97" y="47"/>
                    <a:pt x="97" y="47"/>
                    <a:pt x="97" y="47"/>
                  </a:cubicBezTo>
                  <a:cubicBezTo>
                    <a:pt x="96" y="47"/>
                    <a:pt x="96" y="48"/>
                    <a:pt x="96" y="48"/>
                  </a:cubicBezTo>
                  <a:cubicBezTo>
                    <a:pt x="96" y="51"/>
                    <a:pt x="96" y="54"/>
                    <a:pt x="93" y="57"/>
                  </a:cubicBezTo>
                  <a:cubicBezTo>
                    <a:pt x="93" y="57"/>
                    <a:pt x="93" y="57"/>
                    <a:pt x="93" y="57"/>
                  </a:cubicBezTo>
                  <a:cubicBezTo>
                    <a:pt x="90" y="60"/>
                    <a:pt x="88" y="61"/>
                    <a:pt x="84" y="63"/>
                  </a:cubicBezTo>
                  <a:cubicBezTo>
                    <a:pt x="82" y="63"/>
                    <a:pt x="80" y="65"/>
                    <a:pt x="77" y="65"/>
                  </a:cubicBezTo>
                  <a:cubicBezTo>
                    <a:pt x="75" y="66"/>
                    <a:pt x="75" y="66"/>
                    <a:pt x="75" y="66"/>
                  </a:cubicBezTo>
                  <a:cubicBezTo>
                    <a:pt x="73" y="67"/>
                    <a:pt x="71" y="68"/>
                    <a:pt x="69" y="69"/>
                  </a:cubicBezTo>
                  <a:cubicBezTo>
                    <a:pt x="67" y="69"/>
                    <a:pt x="66" y="70"/>
                    <a:pt x="64" y="70"/>
                  </a:cubicBezTo>
                  <a:cubicBezTo>
                    <a:pt x="63" y="71"/>
                    <a:pt x="63" y="71"/>
                    <a:pt x="63" y="71"/>
                  </a:cubicBezTo>
                  <a:cubicBezTo>
                    <a:pt x="63" y="71"/>
                    <a:pt x="63" y="71"/>
                    <a:pt x="63" y="71"/>
                  </a:cubicBezTo>
                  <a:cubicBezTo>
                    <a:pt x="64" y="73"/>
                    <a:pt x="62" y="75"/>
                    <a:pt x="61" y="77"/>
                  </a:cubicBezTo>
                  <a:cubicBezTo>
                    <a:pt x="60" y="78"/>
                    <a:pt x="60" y="78"/>
                    <a:pt x="60" y="78"/>
                  </a:cubicBezTo>
                  <a:cubicBezTo>
                    <a:pt x="59" y="79"/>
                    <a:pt x="57" y="82"/>
                    <a:pt x="55" y="83"/>
                  </a:cubicBezTo>
                  <a:cubicBezTo>
                    <a:pt x="54" y="84"/>
                    <a:pt x="54" y="84"/>
                    <a:pt x="54" y="84"/>
                  </a:cubicBezTo>
                  <a:cubicBezTo>
                    <a:pt x="54" y="84"/>
                    <a:pt x="54" y="84"/>
                    <a:pt x="54" y="84"/>
                  </a:cubicBezTo>
                  <a:cubicBezTo>
                    <a:pt x="53" y="84"/>
                    <a:pt x="52" y="84"/>
                    <a:pt x="52" y="84"/>
                  </a:cubicBezTo>
                  <a:cubicBezTo>
                    <a:pt x="51" y="85"/>
                    <a:pt x="50" y="85"/>
                    <a:pt x="49" y="85"/>
                  </a:cubicBezTo>
                  <a:cubicBezTo>
                    <a:pt x="47" y="85"/>
                    <a:pt x="47" y="85"/>
                    <a:pt x="47" y="85"/>
                  </a:cubicBezTo>
                  <a:cubicBezTo>
                    <a:pt x="46" y="85"/>
                    <a:pt x="44" y="85"/>
                    <a:pt x="43" y="86"/>
                  </a:cubicBezTo>
                  <a:cubicBezTo>
                    <a:pt x="43" y="87"/>
                    <a:pt x="43" y="87"/>
                    <a:pt x="43" y="87"/>
                  </a:cubicBezTo>
                  <a:cubicBezTo>
                    <a:pt x="42" y="88"/>
                    <a:pt x="42" y="89"/>
                    <a:pt x="40" y="89"/>
                  </a:cubicBezTo>
                  <a:cubicBezTo>
                    <a:pt x="40" y="89"/>
                    <a:pt x="40" y="89"/>
                    <a:pt x="40" y="89"/>
                  </a:cubicBezTo>
                  <a:cubicBezTo>
                    <a:pt x="38" y="89"/>
                    <a:pt x="37" y="88"/>
                    <a:pt x="35" y="86"/>
                  </a:cubicBezTo>
                  <a:cubicBezTo>
                    <a:pt x="34" y="86"/>
                    <a:pt x="34" y="85"/>
                    <a:pt x="34" y="85"/>
                  </a:cubicBezTo>
                  <a:cubicBezTo>
                    <a:pt x="33" y="84"/>
                    <a:pt x="33" y="84"/>
                    <a:pt x="32" y="84"/>
                  </a:cubicBezTo>
                  <a:cubicBezTo>
                    <a:pt x="32" y="83"/>
                    <a:pt x="32" y="83"/>
                    <a:pt x="32" y="83"/>
                  </a:cubicBezTo>
                  <a:cubicBezTo>
                    <a:pt x="32" y="83"/>
                    <a:pt x="32" y="83"/>
                    <a:pt x="32" y="83"/>
                  </a:cubicBezTo>
                  <a:cubicBezTo>
                    <a:pt x="31" y="82"/>
                    <a:pt x="31" y="82"/>
                    <a:pt x="31" y="82"/>
                  </a:cubicBezTo>
                  <a:cubicBezTo>
                    <a:pt x="30" y="81"/>
                    <a:pt x="29" y="81"/>
                    <a:pt x="27" y="80"/>
                  </a:cubicBezTo>
                  <a:cubicBezTo>
                    <a:pt x="27" y="80"/>
                    <a:pt x="27" y="80"/>
                    <a:pt x="27" y="80"/>
                  </a:cubicBezTo>
                  <a:cubicBezTo>
                    <a:pt x="27" y="80"/>
                    <a:pt x="26" y="80"/>
                    <a:pt x="25" y="80"/>
                  </a:cubicBezTo>
                  <a:cubicBezTo>
                    <a:pt x="24" y="80"/>
                    <a:pt x="23" y="79"/>
                    <a:pt x="22" y="79"/>
                  </a:cubicBezTo>
                  <a:cubicBezTo>
                    <a:pt x="20" y="79"/>
                    <a:pt x="20" y="79"/>
                    <a:pt x="20" y="79"/>
                  </a:cubicBezTo>
                  <a:cubicBezTo>
                    <a:pt x="19" y="78"/>
                    <a:pt x="19" y="78"/>
                    <a:pt x="19" y="78"/>
                  </a:cubicBezTo>
                  <a:cubicBezTo>
                    <a:pt x="16" y="82"/>
                    <a:pt x="16" y="82"/>
                    <a:pt x="16" y="82"/>
                  </a:cubicBezTo>
                  <a:cubicBezTo>
                    <a:pt x="14" y="88"/>
                    <a:pt x="14" y="88"/>
                    <a:pt x="14" y="88"/>
                  </a:cubicBezTo>
                  <a:cubicBezTo>
                    <a:pt x="14" y="89"/>
                    <a:pt x="14" y="90"/>
                    <a:pt x="14" y="91"/>
                  </a:cubicBezTo>
                  <a:cubicBezTo>
                    <a:pt x="14" y="93"/>
                    <a:pt x="14" y="93"/>
                    <a:pt x="14" y="93"/>
                  </a:cubicBezTo>
                  <a:cubicBezTo>
                    <a:pt x="13" y="94"/>
                    <a:pt x="13" y="94"/>
                    <a:pt x="13" y="94"/>
                  </a:cubicBezTo>
                  <a:cubicBezTo>
                    <a:pt x="13" y="94"/>
                    <a:pt x="13" y="94"/>
                    <a:pt x="13" y="94"/>
                  </a:cubicBezTo>
                  <a:cubicBezTo>
                    <a:pt x="12" y="97"/>
                    <a:pt x="12" y="98"/>
                    <a:pt x="9" y="100"/>
                  </a:cubicBezTo>
                  <a:cubicBezTo>
                    <a:pt x="8" y="101"/>
                    <a:pt x="8" y="101"/>
                    <a:pt x="8" y="101"/>
                  </a:cubicBezTo>
                  <a:cubicBezTo>
                    <a:pt x="7" y="102"/>
                    <a:pt x="7" y="102"/>
                    <a:pt x="6" y="103"/>
                  </a:cubicBezTo>
                  <a:cubicBezTo>
                    <a:pt x="7" y="104"/>
                    <a:pt x="7" y="104"/>
                    <a:pt x="7" y="105"/>
                  </a:cubicBezTo>
                  <a:cubicBezTo>
                    <a:pt x="9" y="107"/>
                    <a:pt x="9" y="107"/>
                    <a:pt x="9" y="107"/>
                  </a:cubicBezTo>
                  <a:cubicBezTo>
                    <a:pt x="0" y="116"/>
                    <a:pt x="0" y="116"/>
                    <a:pt x="0" y="116"/>
                  </a:cubicBezTo>
                  <a:cubicBezTo>
                    <a:pt x="0" y="117"/>
                    <a:pt x="0" y="118"/>
                    <a:pt x="0" y="120"/>
                  </a:cubicBezTo>
                  <a:cubicBezTo>
                    <a:pt x="0" y="121"/>
                    <a:pt x="0" y="122"/>
                    <a:pt x="0" y="123"/>
                  </a:cubicBezTo>
                  <a:cubicBezTo>
                    <a:pt x="0" y="124"/>
                    <a:pt x="0" y="124"/>
                    <a:pt x="0" y="124"/>
                  </a:cubicBezTo>
                  <a:cubicBezTo>
                    <a:pt x="0" y="124"/>
                    <a:pt x="0" y="125"/>
                    <a:pt x="0" y="125"/>
                  </a:cubicBezTo>
                  <a:cubicBezTo>
                    <a:pt x="0" y="125"/>
                    <a:pt x="1" y="125"/>
                    <a:pt x="2" y="125"/>
                  </a:cubicBezTo>
                  <a:cubicBezTo>
                    <a:pt x="3" y="126"/>
                    <a:pt x="3" y="126"/>
                    <a:pt x="3" y="126"/>
                  </a:cubicBezTo>
                  <a:cubicBezTo>
                    <a:pt x="3" y="126"/>
                    <a:pt x="4" y="126"/>
                    <a:pt x="5" y="126"/>
                  </a:cubicBezTo>
                  <a:cubicBezTo>
                    <a:pt x="5" y="126"/>
                    <a:pt x="5" y="126"/>
                    <a:pt x="5" y="126"/>
                  </a:cubicBezTo>
                  <a:cubicBezTo>
                    <a:pt x="6" y="126"/>
                    <a:pt x="7" y="127"/>
                    <a:pt x="8" y="127"/>
                  </a:cubicBezTo>
                  <a:cubicBezTo>
                    <a:pt x="12" y="128"/>
                    <a:pt x="12" y="128"/>
                    <a:pt x="12" y="128"/>
                  </a:cubicBezTo>
                  <a:cubicBezTo>
                    <a:pt x="9" y="132"/>
                    <a:pt x="9" y="132"/>
                    <a:pt x="9" y="132"/>
                  </a:cubicBezTo>
                  <a:cubicBezTo>
                    <a:pt x="9" y="132"/>
                    <a:pt x="8" y="133"/>
                    <a:pt x="7" y="134"/>
                  </a:cubicBezTo>
                  <a:cubicBezTo>
                    <a:pt x="7" y="134"/>
                    <a:pt x="7" y="134"/>
                    <a:pt x="7" y="134"/>
                  </a:cubicBezTo>
                  <a:cubicBezTo>
                    <a:pt x="4" y="137"/>
                    <a:pt x="2" y="139"/>
                    <a:pt x="2" y="139"/>
                  </a:cubicBezTo>
                  <a:cubicBezTo>
                    <a:pt x="6" y="155"/>
                    <a:pt x="6" y="155"/>
                    <a:pt x="6" y="155"/>
                  </a:cubicBezTo>
                  <a:cubicBezTo>
                    <a:pt x="6" y="155"/>
                    <a:pt x="6" y="156"/>
                    <a:pt x="6" y="157"/>
                  </a:cubicBezTo>
                  <a:cubicBezTo>
                    <a:pt x="7" y="159"/>
                    <a:pt x="7" y="159"/>
                    <a:pt x="7" y="159"/>
                  </a:cubicBezTo>
                  <a:cubicBezTo>
                    <a:pt x="7" y="160"/>
                    <a:pt x="8" y="161"/>
                    <a:pt x="8" y="162"/>
                  </a:cubicBezTo>
                  <a:cubicBezTo>
                    <a:pt x="8" y="164"/>
                    <a:pt x="8" y="165"/>
                    <a:pt x="7" y="167"/>
                  </a:cubicBezTo>
                  <a:cubicBezTo>
                    <a:pt x="7" y="168"/>
                    <a:pt x="7" y="170"/>
                    <a:pt x="7" y="171"/>
                  </a:cubicBezTo>
                  <a:cubicBezTo>
                    <a:pt x="7" y="172"/>
                    <a:pt x="7" y="172"/>
                    <a:pt x="7" y="172"/>
                  </a:cubicBezTo>
                  <a:cubicBezTo>
                    <a:pt x="7" y="172"/>
                    <a:pt x="7" y="173"/>
                    <a:pt x="7" y="173"/>
                  </a:cubicBezTo>
                  <a:cubicBezTo>
                    <a:pt x="7" y="174"/>
                    <a:pt x="7" y="174"/>
                    <a:pt x="7" y="174"/>
                  </a:cubicBezTo>
                  <a:cubicBezTo>
                    <a:pt x="12" y="174"/>
                    <a:pt x="12" y="174"/>
                    <a:pt x="12" y="174"/>
                  </a:cubicBezTo>
                  <a:cubicBezTo>
                    <a:pt x="7" y="175"/>
                    <a:pt x="7" y="175"/>
                    <a:pt x="7" y="175"/>
                  </a:cubicBezTo>
                  <a:cubicBezTo>
                    <a:pt x="7" y="176"/>
                    <a:pt x="7" y="176"/>
                    <a:pt x="7" y="176"/>
                  </a:cubicBezTo>
                  <a:cubicBezTo>
                    <a:pt x="7" y="177"/>
                    <a:pt x="7" y="178"/>
                    <a:pt x="7" y="178"/>
                  </a:cubicBezTo>
                  <a:cubicBezTo>
                    <a:pt x="7" y="179"/>
                    <a:pt x="7" y="179"/>
                    <a:pt x="7" y="180"/>
                  </a:cubicBezTo>
                  <a:cubicBezTo>
                    <a:pt x="8" y="180"/>
                    <a:pt x="8" y="180"/>
                    <a:pt x="9" y="180"/>
                  </a:cubicBezTo>
                  <a:cubicBezTo>
                    <a:pt x="21" y="182"/>
                    <a:pt x="21" y="182"/>
                    <a:pt x="21" y="182"/>
                  </a:cubicBezTo>
                  <a:cubicBezTo>
                    <a:pt x="24" y="182"/>
                    <a:pt x="25" y="183"/>
                    <a:pt x="26" y="184"/>
                  </a:cubicBezTo>
                  <a:cubicBezTo>
                    <a:pt x="28" y="188"/>
                    <a:pt x="28" y="188"/>
                    <a:pt x="28" y="188"/>
                  </a:cubicBezTo>
                  <a:cubicBezTo>
                    <a:pt x="29" y="188"/>
                    <a:pt x="29" y="189"/>
                    <a:pt x="29" y="189"/>
                  </a:cubicBezTo>
                  <a:cubicBezTo>
                    <a:pt x="30" y="191"/>
                    <a:pt x="30" y="192"/>
                    <a:pt x="31" y="193"/>
                  </a:cubicBezTo>
                  <a:cubicBezTo>
                    <a:pt x="31" y="196"/>
                    <a:pt x="31" y="198"/>
                    <a:pt x="29" y="201"/>
                  </a:cubicBezTo>
                  <a:cubicBezTo>
                    <a:pt x="27" y="204"/>
                    <a:pt x="25" y="206"/>
                    <a:pt x="24" y="207"/>
                  </a:cubicBezTo>
                  <a:cubicBezTo>
                    <a:pt x="23" y="208"/>
                    <a:pt x="23" y="209"/>
                    <a:pt x="22" y="210"/>
                  </a:cubicBezTo>
                  <a:cubicBezTo>
                    <a:pt x="20" y="213"/>
                    <a:pt x="20" y="213"/>
                    <a:pt x="20" y="213"/>
                  </a:cubicBezTo>
                  <a:cubicBezTo>
                    <a:pt x="18" y="214"/>
                    <a:pt x="17" y="216"/>
                    <a:pt x="15" y="217"/>
                  </a:cubicBezTo>
                  <a:cubicBezTo>
                    <a:pt x="11" y="223"/>
                    <a:pt x="11" y="223"/>
                    <a:pt x="11" y="223"/>
                  </a:cubicBezTo>
                  <a:cubicBezTo>
                    <a:pt x="47" y="233"/>
                    <a:pt x="47" y="233"/>
                    <a:pt x="47" y="233"/>
                  </a:cubicBezTo>
                  <a:cubicBezTo>
                    <a:pt x="47" y="233"/>
                    <a:pt x="48" y="233"/>
                    <a:pt x="48" y="233"/>
                  </a:cubicBezTo>
                  <a:cubicBezTo>
                    <a:pt x="48" y="233"/>
                    <a:pt x="48" y="233"/>
                    <a:pt x="48" y="233"/>
                  </a:cubicBezTo>
                  <a:cubicBezTo>
                    <a:pt x="49" y="233"/>
                    <a:pt x="50" y="233"/>
                    <a:pt x="51" y="233"/>
                  </a:cubicBezTo>
                  <a:cubicBezTo>
                    <a:pt x="51" y="233"/>
                    <a:pt x="51" y="233"/>
                    <a:pt x="51" y="233"/>
                  </a:cubicBezTo>
                  <a:cubicBezTo>
                    <a:pt x="52" y="233"/>
                    <a:pt x="53" y="233"/>
                    <a:pt x="54" y="233"/>
                  </a:cubicBezTo>
                  <a:cubicBezTo>
                    <a:pt x="58" y="232"/>
                    <a:pt x="58" y="232"/>
                    <a:pt x="58" y="232"/>
                  </a:cubicBezTo>
                  <a:cubicBezTo>
                    <a:pt x="58" y="232"/>
                    <a:pt x="58" y="232"/>
                    <a:pt x="58" y="232"/>
                  </a:cubicBezTo>
                  <a:cubicBezTo>
                    <a:pt x="69" y="231"/>
                    <a:pt x="69" y="231"/>
                    <a:pt x="69" y="231"/>
                  </a:cubicBezTo>
                  <a:cubicBezTo>
                    <a:pt x="69" y="231"/>
                    <a:pt x="69" y="231"/>
                    <a:pt x="70" y="231"/>
                  </a:cubicBezTo>
                  <a:cubicBezTo>
                    <a:pt x="70" y="231"/>
                    <a:pt x="71" y="232"/>
                    <a:pt x="71" y="232"/>
                  </a:cubicBezTo>
                  <a:cubicBezTo>
                    <a:pt x="72" y="232"/>
                    <a:pt x="72" y="232"/>
                    <a:pt x="72" y="232"/>
                  </a:cubicBezTo>
                  <a:cubicBezTo>
                    <a:pt x="72" y="232"/>
                    <a:pt x="72" y="232"/>
                    <a:pt x="72" y="232"/>
                  </a:cubicBezTo>
                  <a:cubicBezTo>
                    <a:pt x="73" y="232"/>
                    <a:pt x="73" y="232"/>
                    <a:pt x="73" y="232"/>
                  </a:cubicBezTo>
                  <a:cubicBezTo>
                    <a:pt x="74" y="232"/>
                    <a:pt x="75" y="232"/>
                    <a:pt x="76" y="233"/>
                  </a:cubicBezTo>
                  <a:cubicBezTo>
                    <a:pt x="76" y="233"/>
                    <a:pt x="77" y="233"/>
                    <a:pt x="77" y="233"/>
                  </a:cubicBezTo>
                  <a:cubicBezTo>
                    <a:pt x="78" y="233"/>
                    <a:pt x="78" y="233"/>
                    <a:pt x="78" y="233"/>
                  </a:cubicBezTo>
                  <a:cubicBezTo>
                    <a:pt x="79" y="233"/>
                    <a:pt x="79" y="233"/>
                    <a:pt x="80" y="233"/>
                  </a:cubicBezTo>
                  <a:cubicBezTo>
                    <a:pt x="80" y="233"/>
                    <a:pt x="80" y="233"/>
                    <a:pt x="81" y="233"/>
                  </a:cubicBezTo>
                  <a:cubicBezTo>
                    <a:pt x="82" y="233"/>
                    <a:pt x="83" y="232"/>
                    <a:pt x="85" y="232"/>
                  </a:cubicBezTo>
                  <a:cubicBezTo>
                    <a:pt x="86" y="231"/>
                    <a:pt x="87" y="231"/>
                    <a:pt x="88" y="230"/>
                  </a:cubicBezTo>
                  <a:cubicBezTo>
                    <a:pt x="88" y="230"/>
                    <a:pt x="89" y="229"/>
                    <a:pt x="90" y="229"/>
                  </a:cubicBezTo>
                  <a:cubicBezTo>
                    <a:pt x="94" y="228"/>
                    <a:pt x="97" y="228"/>
                    <a:pt x="100" y="228"/>
                  </a:cubicBezTo>
                  <a:cubicBezTo>
                    <a:pt x="102" y="228"/>
                    <a:pt x="105" y="227"/>
                    <a:pt x="107" y="227"/>
                  </a:cubicBezTo>
                  <a:cubicBezTo>
                    <a:pt x="112" y="227"/>
                    <a:pt x="112" y="227"/>
                    <a:pt x="112" y="227"/>
                  </a:cubicBezTo>
                  <a:cubicBezTo>
                    <a:pt x="112" y="227"/>
                    <a:pt x="113" y="227"/>
                    <a:pt x="113" y="227"/>
                  </a:cubicBezTo>
                  <a:cubicBezTo>
                    <a:pt x="116" y="227"/>
                    <a:pt x="118" y="226"/>
                    <a:pt x="120" y="225"/>
                  </a:cubicBezTo>
                  <a:cubicBezTo>
                    <a:pt x="122" y="225"/>
                    <a:pt x="124" y="224"/>
                    <a:pt x="126" y="223"/>
                  </a:cubicBezTo>
                  <a:cubicBezTo>
                    <a:pt x="129" y="223"/>
                    <a:pt x="129" y="223"/>
                    <a:pt x="129" y="223"/>
                  </a:cubicBezTo>
                  <a:cubicBezTo>
                    <a:pt x="129" y="223"/>
                    <a:pt x="130" y="222"/>
                    <a:pt x="130" y="222"/>
                  </a:cubicBezTo>
                  <a:cubicBezTo>
                    <a:pt x="131" y="222"/>
                    <a:pt x="131" y="222"/>
                    <a:pt x="131" y="222"/>
                  </a:cubicBezTo>
                  <a:cubicBezTo>
                    <a:pt x="129" y="220"/>
                    <a:pt x="129" y="218"/>
                    <a:pt x="130" y="216"/>
                  </a:cubicBezTo>
                  <a:cubicBezTo>
                    <a:pt x="130" y="216"/>
                    <a:pt x="130" y="216"/>
                    <a:pt x="130" y="216"/>
                  </a:cubicBezTo>
                  <a:cubicBezTo>
                    <a:pt x="130" y="214"/>
                    <a:pt x="130" y="213"/>
                    <a:pt x="130" y="212"/>
                  </a:cubicBezTo>
                  <a:cubicBezTo>
                    <a:pt x="131" y="211"/>
                    <a:pt x="131" y="211"/>
                    <a:pt x="131" y="210"/>
                  </a:cubicBezTo>
                  <a:cubicBezTo>
                    <a:pt x="131" y="207"/>
                    <a:pt x="131" y="204"/>
                    <a:pt x="132" y="201"/>
                  </a:cubicBezTo>
                  <a:cubicBezTo>
                    <a:pt x="132" y="198"/>
                    <a:pt x="132" y="198"/>
                    <a:pt x="132" y="198"/>
                  </a:cubicBezTo>
                  <a:cubicBezTo>
                    <a:pt x="132" y="198"/>
                    <a:pt x="133" y="198"/>
                    <a:pt x="133" y="197"/>
                  </a:cubicBezTo>
                  <a:cubicBezTo>
                    <a:pt x="133" y="196"/>
                    <a:pt x="134" y="195"/>
                    <a:pt x="135" y="194"/>
                  </a:cubicBezTo>
                  <a:cubicBezTo>
                    <a:pt x="135" y="194"/>
                    <a:pt x="135" y="194"/>
                    <a:pt x="135" y="194"/>
                  </a:cubicBezTo>
                  <a:cubicBezTo>
                    <a:pt x="136" y="193"/>
                    <a:pt x="137" y="192"/>
                    <a:pt x="139" y="190"/>
                  </a:cubicBezTo>
                  <a:cubicBezTo>
                    <a:pt x="140" y="189"/>
                    <a:pt x="141" y="188"/>
                    <a:pt x="142" y="188"/>
                  </a:cubicBezTo>
                  <a:cubicBezTo>
                    <a:pt x="142" y="187"/>
                    <a:pt x="142" y="187"/>
                    <a:pt x="142" y="187"/>
                  </a:cubicBezTo>
                  <a:cubicBezTo>
                    <a:pt x="143" y="187"/>
                    <a:pt x="143" y="187"/>
                    <a:pt x="144" y="186"/>
                  </a:cubicBezTo>
                  <a:cubicBezTo>
                    <a:pt x="140" y="184"/>
                    <a:pt x="140" y="184"/>
                    <a:pt x="140" y="184"/>
                  </a:cubicBezTo>
                  <a:cubicBezTo>
                    <a:pt x="145" y="186"/>
                    <a:pt x="145" y="186"/>
                    <a:pt x="145" y="186"/>
                  </a:cubicBezTo>
                  <a:cubicBezTo>
                    <a:pt x="145" y="186"/>
                    <a:pt x="145" y="186"/>
                    <a:pt x="145" y="186"/>
                  </a:cubicBezTo>
                  <a:cubicBezTo>
                    <a:pt x="146" y="185"/>
                    <a:pt x="148" y="185"/>
                    <a:pt x="149" y="185"/>
                  </a:cubicBezTo>
                  <a:cubicBezTo>
                    <a:pt x="149" y="185"/>
                    <a:pt x="149" y="185"/>
                    <a:pt x="150" y="185"/>
                  </a:cubicBezTo>
                  <a:cubicBezTo>
                    <a:pt x="150" y="185"/>
                    <a:pt x="151" y="185"/>
                    <a:pt x="151" y="185"/>
                  </a:cubicBezTo>
                  <a:cubicBezTo>
                    <a:pt x="153" y="185"/>
                    <a:pt x="153" y="185"/>
                    <a:pt x="153" y="185"/>
                  </a:cubicBezTo>
                  <a:cubicBezTo>
                    <a:pt x="153" y="185"/>
                    <a:pt x="154" y="186"/>
                    <a:pt x="155" y="186"/>
                  </a:cubicBezTo>
                  <a:cubicBezTo>
                    <a:pt x="155" y="186"/>
                    <a:pt x="155" y="186"/>
                    <a:pt x="155" y="186"/>
                  </a:cubicBezTo>
                  <a:cubicBezTo>
                    <a:pt x="156" y="186"/>
                    <a:pt x="156" y="186"/>
                    <a:pt x="156" y="186"/>
                  </a:cubicBezTo>
                  <a:cubicBezTo>
                    <a:pt x="157" y="186"/>
                    <a:pt x="157" y="187"/>
                    <a:pt x="158" y="187"/>
                  </a:cubicBezTo>
                  <a:cubicBezTo>
                    <a:pt x="158" y="187"/>
                    <a:pt x="158" y="187"/>
                    <a:pt x="158" y="187"/>
                  </a:cubicBezTo>
                  <a:cubicBezTo>
                    <a:pt x="160" y="186"/>
                    <a:pt x="160" y="186"/>
                    <a:pt x="160" y="186"/>
                  </a:cubicBezTo>
                  <a:cubicBezTo>
                    <a:pt x="161" y="186"/>
                    <a:pt x="162" y="185"/>
                    <a:pt x="163" y="185"/>
                  </a:cubicBezTo>
                  <a:cubicBezTo>
                    <a:pt x="156" y="179"/>
                    <a:pt x="156" y="179"/>
                    <a:pt x="156" y="179"/>
                  </a:cubicBezTo>
                  <a:cubicBezTo>
                    <a:pt x="163" y="178"/>
                    <a:pt x="163" y="178"/>
                    <a:pt x="163" y="178"/>
                  </a:cubicBezTo>
                  <a:cubicBezTo>
                    <a:pt x="166" y="178"/>
                    <a:pt x="167" y="178"/>
                    <a:pt x="171" y="176"/>
                  </a:cubicBezTo>
                  <a:cubicBezTo>
                    <a:pt x="171" y="175"/>
                    <a:pt x="171" y="175"/>
                    <a:pt x="171" y="175"/>
                  </a:cubicBezTo>
                  <a:cubicBezTo>
                    <a:pt x="171" y="175"/>
                    <a:pt x="172" y="175"/>
                    <a:pt x="172" y="175"/>
                  </a:cubicBezTo>
                  <a:cubicBezTo>
                    <a:pt x="173" y="174"/>
                    <a:pt x="174" y="174"/>
                    <a:pt x="175" y="173"/>
                  </a:cubicBezTo>
                  <a:cubicBezTo>
                    <a:pt x="175" y="173"/>
                    <a:pt x="176" y="173"/>
                    <a:pt x="176" y="173"/>
                  </a:cubicBezTo>
                  <a:cubicBezTo>
                    <a:pt x="177" y="172"/>
                    <a:pt x="178" y="172"/>
                    <a:pt x="179" y="172"/>
                  </a:cubicBezTo>
                  <a:cubicBezTo>
                    <a:pt x="179" y="172"/>
                    <a:pt x="180" y="172"/>
                    <a:pt x="180" y="172"/>
                  </a:cubicBezTo>
                  <a:cubicBezTo>
                    <a:pt x="181" y="172"/>
                    <a:pt x="181" y="172"/>
                    <a:pt x="181" y="172"/>
                  </a:cubicBezTo>
                  <a:cubicBezTo>
                    <a:pt x="182" y="171"/>
                    <a:pt x="183" y="171"/>
                    <a:pt x="184" y="171"/>
                  </a:cubicBezTo>
                  <a:cubicBezTo>
                    <a:pt x="184" y="171"/>
                    <a:pt x="184" y="171"/>
                    <a:pt x="185" y="171"/>
                  </a:cubicBezTo>
                  <a:cubicBezTo>
                    <a:pt x="185" y="171"/>
                    <a:pt x="186" y="171"/>
                    <a:pt x="186" y="171"/>
                  </a:cubicBezTo>
                  <a:cubicBezTo>
                    <a:pt x="187" y="171"/>
                    <a:pt x="187" y="171"/>
                    <a:pt x="187" y="171"/>
                  </a:cubicBezTo>
                  <a:cubicBezTo>
                    <a:pt x="187" y="171"/>
                    <a:pt x="188" y="172"/>
                    <a:pt x="189" y="172"/>
                  </a:cubicBezTo>
                  <a:cubicBezTo>
                    <a:pt x="190" y="173"/>
                    <a:pt x="190" y="173"/>
                    <a:pt x="190" y="173"/>
                  </a:cubicBezTo>
                  <a:cubicBezTo>
                    <a:pt x="190" y="173"/>
                    <a:pt x="191" y="174"/>
                    <a:pt x="192" y="174"/>
                  </a:cubicBezTo>
                  <a:cubicBezTo>
                    <a:pt x="193" y="175"/>
                    <a:pt x="193" y="175"/>
                    <a:pt x="193" y="175"/>
                  </a:cubicBezTo>
                  <a:cubicBezTo>
                    <a:pt x="193" y="175"/>
                    <a:pt x="194" y="175"/>
                    <a:pt x="194" y="176"/>
                  </a:cubicBezTo>
                  <a:cubicBezTo>
                    <a:pt x="194" y="176"/>
                    <a:pt x="194" y="176"/>
                    <a:pt x="194" y="176"/>
                  </a:cubicBezTo>
                  <a:cubicBezTo>
                    <a:pt x="196" y="174"/>
                    <a:pt x="196" y="174"/>
                    <a:pt x="196" y="174"/>
                  </a:cubicBezTo>
                  <a:cubicBezTo>
                    <a:pt x="197" y="173"/>
                    <a:pt x="199" y="171"/>
                    <a:pt x="201" y="170"/>
                  </a:cubicBezTo>
                  <a:cubicBezTo>
                    <a:pt x="201" y="169"/>
                    <a:pt x="201" y="169"/>
                    <a:pt x="201" y="169"/>
                  </a:cubicBezTo>
                  <a:cubicBezTo>
                    <a:pt x="200" y="162"/>
                    <a:pt x="200" y="162"/>
                    <a:pt x="200" y="162"/>
                  </a:cubicBezTo>
                  <a:cubicBezTo>
                    <a:pt x="200" y="162"/>
                    <a:pt x="200" y="162"/>
                    <a:pt x="200" y="162"/>
                  </a:cubicBezTo>
                  <a:cubicBezTo>
                    <a:pt x="200" y="157"/>
                    <a:pt x="200" y="157"/>
                    <a:pt x="200" y="157"/>
                  </a:cubicBezTo>
                  <a:cubicBezTo>
                    <a:pt x="200" y="156"/>
                    <a:pt x="200" y="155"/>
                    <a:pt x="201" y="155"/>
                  </a:cubicBezTo>
                  <a:cubicBezTo>
                    <a:pt x="201" y="154"/>
                    <a:pt x="201" y="154"/>
                    <a:pt x="201" y="154"/>
                  </a:cubicBezTo>
                  <a:cubicBezTo>
                    <a:pt x="202" y="153"/>
                    <a:pt x="202" y="153"/>
                    <a:pt x="203" y="153"/>
                  </a:cubicBezTo>
                  <a:cubicBezTo>
                    <a:pt x="204" y="152"/>
                    <a:pt x="204" y="152"/>
                    <a:pt x="204" y="152"/>
                  </a:cubicBezTo>
                  <a:cubicBezTo>
                    <a:pt x="204" y="151"/>
                    <a:pt x="204" y="151"/>
                    <a:pt x="204" y="151"/>
                  </a:cubicBezTo>
                  <a:cubicBezTo>
                    <a:pt x="204" y="150"/>
                    <a:pt x="204" y="150"/>
                    <a:pt x="204" y="150"/>
                  </a:cubicBezTo>
                  <a:cubicBezTo>
                    <a:pt x="205" y="149"/>
                    <a:pt x="205" y="148"/>
                    <a:pt x="205" y="147"/>
                  </a:cubicBezTo>
                  <a:cubicBezTo>
                    <a:pt x="205" y="145"/>
                    <a:pt x="206" y="142"/>
                    <a:pt x="208" y="140"/>
                  </a:cubicBezTo>
                  <a:cubicBezTo>
                    <a:pt x="208" y="139"/>
                    <a:pt x="208" y="139"/>
                    <a:pt x="208" y="139"/>
                  </a:cubicBezTo>
                  <a:cubicBezTo>
                    <a:pt x="209" y="139"/>
                    <a:pt x="210" y="138"/>
                    <a:pt x="211" y="138"/>
                  </a:cubicBezTo>
                  <a:cubicBezTo>
                    <a:pt x="211" y="138"/>
                    <a:pt x="211" y="138"/>
                    <a:pt x="211" y="138"/>
                  </a:cubicBezTo>
                  <a:cubicBezTo>
                    <a:pt x="212" y="138"/>
                    <a:pt x="212" y="138"/>
                    <a:pt x="213" y="138"/>
                  </a:cubicBezTo>
                  <a:cubicBezTo>
                    <a:pt x="214" y="138"/>
                    <a:pt x="214" y="138"/>
                    <a:pt x="214" y="138"/>
                  </a:cubicBezTo>
                  <a:cubicBezTo>
                    <a:pt x="215" y="138"/>
                    <a:pt x="216" y="138"/>
                    <a:pt x="217" y="138"/>
                  </a:cubicBezTo>
                  <a:cubicBezTo>
                    <a:pt x="217" y="138"/>
                    <a:pt x="217" y="138"/>
                    <a:pt x="217" y="138"/>
                  </a:cubicBezTo>
                  <a:cubicBezTo>
                    <a:pt x="219" y="137"/>
                    <a:pt x="223" y="135"/>
                    <a:pt x="224" y="134"/>
                  </a:cubicBezTo>
                  <a:cubicBezTo>
                    <a:pt x="224" y="134"/>
                    <a:pt x="224" y="134"/>
                    <a:pt x="224" y="134"/>
                  </a:cubicBezTo>
                  <a:cubicBezTo>
                    <a:pt x="224" y="133"/>
                    <a:pt x="223" y="131"/>
                    <a:pt x="221" y="129"/>
                  </a:cubicBezTo>
                  <a:cubicBezTo>
                    <a:pt x="219" y="125"/>
                    <a:pt x="219" y="125"/>
                    <a:pt x="219" y="125"/>
                  </a:cubicBezTo>
                  <a:cubicBezTo>
                    <a:pt x="219" y="125"/>
                    <a:pt x="219" y="125"/>
                    <a:pt x="219" y="125"/>
                  </a:cubicBezTo>
                  <a:cubicBezTo>
                    <a:pt x="219" y="125"/>
                    <a:pt x="219" y="125"/>
                    <a:pt x="219" y="125"/>
                  </a:cubicBezTo>
                  <a:cubicBezTo>
                    <a:pt x="218" y="124"/>
                    <a:pt x="218" y="124"/>
                    <a:pt x="218" y="124"/>
                  </a:cubicBezTo>
                  <a:cubicBezTo>
                    <a:pt x="216" y="121"/>
                    <a:pt x="216" y="121"/>
                    <a:pt x="216" y="121"/>
                  </a:cubicBezTo>
                  <a:cubicBezTo>
                    <a:pt x="214" y="117"/>
                    <a:pt x="215" y="115"/>
                    <a:pt x="216" y="114"/>
                  </a:cubicBezTo>
                  <a:cubicBezTo>
                    <a:pt x="217" y="114"/>
                    <a:pt x="217" y="114"/>
                    <a:pt x="217" y="114"/>
                  </a:cubicBezTo>
                  <a:cubicBezTo>
                    <a:pt x="218" y="113"/>
                    <a:pt x="219" y="113"/>
                    <a:pt x="220" y="113"/>
                  </a:cubicBezTo>
                  <a:cubicBezTo>
                    <a:pt x="223" y="113"/>
                    <a:pt x="225" y="113"/>
                    <a:pt x="229" y="114"/>
                  </a:cubicBezTo>
                  <a:cubicBezTo>
                    <a:pt x="229" y="114"/>
                    <a:pt x="229" y="114"/>
                    <a:pt x="229" y="114"/>
                  </a:cubicBezTo>
                  <a:cubicBezTo>
                    <a:pt x="230" y="115"/>
                    <a:pt x="231" y="115"/>
                    <a:pt x="231" y="115"/>
                  </a:cubicBezTo>
                  <a:cubicBezTo>
                    <a:pt x="232" y="115"/>
                    <a:pt x="232" y="115"/>
                    <a:pt x="232" y="115"/>
                  </a:cubicBezTo>
                  <a:cubicBezTo>
                    <a:pt x="233" y="115"/>
                    <a:pt x="233" y="115"/>
                    <a:pt x="234" y="115"/>
                  </a:cubicBezTo>
                  <a:cubicBezTo>
                    <a:pt x="234" y="115"/>
                    <a:pt x="235" y="115"/>
                    <a:pt x="235" y="115"/>
                  </a:cubicBezTo>
                  <a:cubicBezTo>
                    <a:pt x="237" y="115"/>
                    <a:pt x="240" y="114"/>
                    <a:pt x="241" y="113"/>
                  </a:cubicBezTo>
                  <a:cubicBezTo>
                    <a:pt x="242" y="113"/>
                    <a:pt x="243" y="112"/>
                    <a:pt x="243" y="111"/>
                  </a:cubicBezTo>
                  <a:cubicBezTo>
                    <a:pt x="243" y="111"/>
                    <a:pt x="244" y="111"/>
                    <a:pt x="244" y="111"/>
                  </a:cubicBezTo>
                  <a:cubicBezTo>
                    <a:pt x="244" y="110"/>
                    <a:pt x="244" y="110"/>
                    <a:pt x="244" y="110"/>
                  </a:cubicBezTo>
                  <a:cubicBezTo>
                    <a:pt x="244" y="110"/>
                    <a:pt x="244" y="110"/>
                    <a:pt x="244" y="109"/>
                  </a:cubicBezTo>
                  <a:cubicBezTo>
                    <a:pt x="244" y="109"/>
                    <a:pt x="244" y="109"/>
                    <a:pt x="244" y="109"/>
                  </a:cubicBezTo>
                  <a:cubicBezTo>
                    <a:pt x="243" y="109"/>
                    <a:pt x="242" y="108"/>
                    <a:pt x="242" y="106"/>
                  </a:cubicBezTo>
                  <a:cubicBezTo>
                    <a:pt x="240" y="103"/>
                    <a:pt x="241" y="101"/>
                    <a:pt x="243" y="98"/>
                  </a:cubicBezTo>
                  <a:cubicBezTo>
                    <a:pt x="243" y="98"/>
                    <a:pt x="244" y="97"/>
                    <a:pt x="245" y="96"/>
                  </a:cubicBezTo>
                  <a:cubicBezTo>
                    <a:pt x="246" y="95"/>
                    <a:pt x="246" y="95"/>
                    <a:pt x="247" y="94"/>
                  </a:cubicBezTo>
                  <a:cubicBezTo>
                    <a:pt x="247" y="93"/>
                    <a:pt x="248" y="92"/>
                    <a:pt x="249" y="91"/>
                  </a:cubicBezTo>
                  <a:cubicBezTo>
                    <a:pt x="250" y="90"/>
                    <a:pt x="251" y="89"/>
                    <a:pt x="252" y="89"/>
                  </a:cubicBezTo>
                  <a:cubicBezTo>
                    <a:pt x="253" y="89"/>
                    <a:pt x="253" y="89"/>
                    <a:pt x="253" y="89"/>
                  </a:cubicBezTo>
                  <a:cubicBezTo>
                    <a:pt x="253" y="89"/>
                    <a:pt x="253" y="89"/>
                    <a:pt x="253" y="88"/>
                  </a:cubicBezTo>
                  <a:cubicBezTo>
                    <a:pt x="254" y="86"/>
                    <a:pt x="255" y="85"/>
                    <a:pt x="255" y="85"/>
                  </a:cubicBezTo>
                  <a:cubicBezTo>
                    <a:pt x="255" y="84"/>
                    <a:pt x="255" y="84"/>
                    <a:pt x="255" y="83"/>
                  </a:cubicBezTo>
                  <a:cubicBezTo>
                    <a:pt x="255" y="83"/>
                    <a:pt x="255" y="83"/>
                    <a:pt x="255" y="83"/>
                  </a:cubicBezTo>
                  <a:cubicBezTo>
                    <a:pt x="255" y="82"/>
                    <a:pt x="255" y="81"/>
                    <a:pt x="255" y="79"/>
                  </a:cubicBezTo>
                  <a:cubicBezTo>
                    <a:pt x="255" y="79"/>
                    <a:pt x="255" y="77"/>
                    <a:pt x="255" y="77"/>
                  </a:cubicBezTo>
                  <a:cubicBezTo>
                    <a:pt x="254" y="75"/>
                    <a:pt x="254" y="75"/>
                    <a:pt x="254" y="75"/>
                  </a:cubicBezTo>
                  <a:cubicBezTo>
                    <a:pt x="254" y="75"/>
                    <a:pt x="254" y="75"/>
                    <a:pt x="254" y="75"/>
                  </a:cubicBezTo>
                  <a:cubicBezTo>
                    <a:pt x="254" y="74"/>
                    <a:pt x="254" y="74"/>
                    <a:pt x="254" y="74"/>
                  </a:cubicBezTo>
                  <a:cubicBezTo>
                    <a:pt x="252" y="73"/>
                    <a:pt x="252" y="73"/>
                    <a:pt x="252" y="73"/>
                  </a:cubicBezTo>
                  <a:cubicBezTo>
                    <a:pt x="252" y="72"/>
                    <a:pt x="252" y="72"/>
                    <a:pt x="251" y="71"/>
                  </a:cubicBezTo>
                  <a:cubicBezTo>
                    <a:pt x="251" y="70"/>
                    <a:pt x="251" y="70"/>
                    <a:pt x="251" y="70"/>
                  </a:cubicBezTo>
                  <a:cubicBezTo>
                    <a:pt x="251" y="70"/>
                    <a:pt x="251" y="70"/>
                    <a:pt x="251" y="70"/>
                  </a:cubicBezTo>
                  <a:cubicBezTo>
                    <a:pt x="250" y="68"/>
                    <a:pt x="249" y="66"/>
                    <a:pt x="247" y="65"/>
                  </a:cubicBezTo>
                  <a:cubicBezTo>
                    <a:pt x="247" y="65"/>
                    <a:pt x="247" y="65"/>
                    <a:pt x="247" y="65"/>
                  </a:cubicBezTo>
                  <a:cubicBezTo>
                    <a:pt x="247" y="65"/>
                    <a:pt x="247" y="65"/>
                    <a:pt x="247" y="65"/>
                  </a:cubicBezTo>
                  <a:cubicBezTo>
                    <a:pt x="244" y="63"/>
                    <a:pt x="244" y="63"/>
                    <a:pt x="244" y="63"/>
                  </a:cubicBezTo>
                  <a:cubicBezTo>
                    <a:pt x="246" y="60"/>
                    <a:pt x="246" y="60"/>
                    <a:pt x="246" y="60"/>
                  </a:cubicBezTo>
                  <a:cubicBezTo>
                    <a:pt x="249" y="56"/>
                    <a:pt x="253" y="52"/>
                    <a:pt x="257" y="49"/>
                  </a:cubicBezTo>
                  <a:cubicBezTo>
                    <a:pt x="258" y="48"/>
                    <a:pt x="258" y="48"/>
                    <a:pt x="258" y="48"/>
                  </a:cubicBezTo>
                  <a:cubicBezTo>
                    <a:pt x="259" y="48"/>
                    <a:pt x="259" y="48"/>
                    <a:pt x="259" y="48"/>
                  </a:cubicBezTo>
                  <a:cubicBezTo>
                    <a:pt x="259" y="48"/>
                    <a:pt x="259" y="48"/>
                    <a:pt x="259" y="48"/>
                  </a:cubicBezTo>
                  <a:cubicBezTo>
                    <a:pt x="260" y="48"/>
                    <a:pt x="261" y="48"/>
                    <a:pt x="261" y="48"/>
                  </a:cubicBezTo>
                  <a:cubicBezTo>
                    <a:pt x="262" y="49"/>
                    <a:pt x="262" y="49"/>
                    <a:pt x="262" y="49"/>
                  </a:cubicBezTo>
                  <a:cubicBezTo>
                    <a:pt x="263" y="49"/>
                    <a:pt x="263" y="49"/>
                    <a:pt x="263" y="49"/>
                  </a:cubicBezTo>
                  <a:cubicBezTo>
                    <a:pt x="264" y="48"/>
                    <a:pt x="265" y="47"/>
                    <a:pt x="267" y="46"/>
                  </a:cubicBezTo>
                  <a:cubicBezTo>
                    <a:pt x="270" y="44"/>
                    <a:pt x="270" y="44"/>
                    <a:pt x="270" y="44"/>
                  </a:cubicBezTo>
                  <a:cubicBezTo>
                    <a:pt x="271" y="44"/>
                    <a:pt x="272" y="43"/>
                    <a:pt x="273" y="43"/>
                  </a:cubicBezTo>
                  <a:cubicBezTo>
                    <a:pt x="273" y="43"/>
                    <a:pt x="273" y="43"/>
                    <a:pt x="273" y="43"/>
                  </a:cubicBezTo>
                  <a:cubicBezTo>
                    <a:pt x="270" y="44"/>
                    <a:pt x="267" y="45"/>
                    <a:pt x="264" y="46"/>
                  </a:cubicBezTo>
                  <a:cubicBezTo>
                    <a:pt x="261" y="47"/>
                    <a:pt x="261" y="47"/>
                    <a:pt x="261" y="47"/>
                  </a:cubicBezTo>
                  <a:cubicBezTo>
                    <a:pt x="261" y="47"/>
                    <a:pt x="260" y="47"/>
                    <a:pt x="260" y="47"/>
                  </a:cubicBezTo>
                  <a:cubicBezTo>
                    <a:pt x="259" y="47"/>
                    <a:pt x="259" y="47"/>
                    <a:pt x="259" y="47"/>
                  </a:cubicBezTo>
                  <a:cubicBezTo>
                    <a:pt x="259" y="47"/>
                    <a:pt x="258" y="47"/>
                    <a:pt x="258" y="47"/>
                  </a:cubicBezTo>
                  <a:cubicBezTo>
                    <a:pt x="256" y="46"/>
                    <a:pt x="255" y="44"/>
                    <a:pt x="254" y="42"/>
                  </a:cubicBezTo>
                  <a:cubicBezTo>
                    <a:pt x="253" y="41"/>
                    <a:pt x="253" y="41"/>
                    <a:pt x="253" y="41"/>
                  </a:cubicBezTo>
                  <a:cubicBezTo>
                    <a:pt x="253" y="40"/>
                    <a:pt x="253" y="40"/>
                    <a:pt x="253" y="40"/>
                  </a:cubicBezTo>
                  <a:cubicBezTo>
                    <a:pt x="252" y="39"/>
                    <a:pt x="251" y="37"/>
                    <a:pt x="251" y="35"/>
                  </a:cubicBezTo>
                  <a:cubicBezTo>
                    <a:pt x="251" y="34"/>
                    <a:pt x="251" y="33"/>
                    <a:pt x="251" y="32"/>
                  </a:cubicBezTo>
                  <a:cubicBezTo>
                    <a:pt x="252" y="31"/>
                    <a:pt x="252" y="31"/>
                    <a:pt x="252" y="30"/>
                  </a:cubicBezTo>
                  <a:cubicBezTo>
                    <a:pt x="252" y="29"/>
                    <a:pt x="252" y="29"/>
                    <a:pt x="252" y="29"/>
                  </a:cubicBezTo>
                  <a:cubicBezTo>
                    <a:pt x="253" y="26"/>
                    <a:pt x="253" y="23"/>
                    <a:pt x="254" y="19"/>
                  </a:cubicBezTo>
                  <a:cubicBezTo>
                    <a:pt x="254" y="17"/>
                    <a:pt x="254" y="15"/>
                    <a:pt x="254" y="13"/>
                  </a:cubicBezTo>
                  <a:cubicBezTo>
                    <a:pt x="253" y="13"/>
                    <a:pt x="252" y="13"/>
                    <a:pt x="252" y="13"/>
                  </a:cubicBezTo>
                  <a:cubicBezTo>
                    <a:pt x="251" y="13"/>
                    <a:pt x="251" y="13"/>
                    <a:pt x="251" y="13"/>
                  </a:cubicBezTo>
                  <a:cubicBezTo>
                    <a:pt x="251" y="13"/>
                    <a:pt x="250" y="12"/>
                    <a:pt x="250" y="12"/>
                  </a:cubicBezTo>
                  <a:cubicBezTo>
                    <a:pt x="246" y="12"/>
                    <a:pt x="246" y="12"/>
                    <a:pt x="246" y="12"/>
                  </a:cubicBezTo>
                  <a:cubicBezTo>
                    <a:pt x="248" y="8"/>
                    <a:pt x="248" y="8"/>
                    <a:pt x="248" y="8"/>
                  </a:cubicBezTo>
                  <a:cubicBezTo>
                    <a:pt x="248" y="7"/>
                    <a:pt x="248" y="6"/>
                    <a:pt x="249" y="6"/>
                  </a:cubicBezTo>
                  <a:cubicBezTo>
                    <a:pt x="248" y="6"/>
                    <a:pt x="248" y="6"/>
                    <a:pt x="248" y="6"/>
                  </a:cubicBezTo>
                  <a:cubicBezTo>
                    <a:pt x="248" y="5"/>
                    <a:pt x="248" y="5"/>
                    <a:pt x="247" y="4"/>
                  </a:cubicBezTo>
                  <a:cubicBezTo>
                    <a:pt x="247" y="4"/>
                    <a:pt x="247" y="4"/>
                    <a:pt x="247" y="4"/>
                  </a:cubicBezTo>
                  <a:cubicBezTo>
                    <a:pt x="242" y="8"/>
                    <a:pt x="242" y="8"/>
                    <a:pt x="242" y="8"/>
                  </a:cubicBezTo>
                  <a:cubicBezTo>
                    <a:pt x="246" y="2"/>
                    <a:pt x="246" y="2"/>
                    <a:pt x="246" y="2"/>
                  </a:cubicBezTo>
                  <a:cubicBezTo>
                    <a:pt x="245" y="1"/>
                    <a:pt x="245" y="1"/>
                    <a:pt x="244" y="1"/>
                  </a:cubicBezTo>
                  <a:cubicBezTo>
                    <a:pt x="244" y="0"/>
                    <a:pt x="243" y="0"/>
                    <a:pt x="24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8" name="Freeform 287">
              <a:extLst>
                <a:ext uri="{FF2B5EF4-FFF2-40B4-BE49-F238E27FC236}">
                  <a16:creationId xmlns:a16="http://schemas.microsoft.com/office/drawing/2014/main" id="{932A987D-FD59-4573-9F29-9DBEA9D3B8C6}"/>
                </a:ext>
              </a:extLst>
            </p:cNvPr>
            <p:cNvSpPr>
              <a:spLocks noEditPoints="1"/>
            </p:cNvSpPr>
            <p:nvPr/>
          </p:nvSpPr>
          <p:spPr bwMode="auto">
            <a:xfrm>
              <a:off x="6119" y="427"/>
              <a:ext cx="1054" cy="900"/>
            </a:xfrm>
            <a:custGeom>
              <a:avLst/>
              <a:gdLst>
                <a:gd name="T0" fmla="*/ 113 w 446"/>
                <a:gd name="T1" fmla="*/ 247 h 381"/>
                <a:gd name="T2" fmla="*/ 7 w 446"/>
                <a:gd name="T3" fmla="*/ 32 h 381"/>
                <a:gd name="T4" fmla="*/ 12 w 446"/>
                <a:gd name="T5" fmla="*/ 51 h 381"/>
                <a:gd name="T6" fmla="*/ 17 w 446"/>
                <a:gd name="T7" fmla="*/ 68 h 381"/>
                <a:gd name="T8" fmla="*/ 21 w 446"/>
                <a:gd name="T9" fmla="*/ 77 h 381"/>
                <a:gd name="T10" fmla="*/ 27 w 446"/>
                <a:gd name="T11" fmla="*/ 87 h 381"/>
                <a:gd name="T12" fmla="*/ 39 w 446"/>
                <a:gd name="T13" fmla="*/ 101 h 381"/>
                <a:gd name="T14" fmla="*/ 52 w 446"/>
                <a:gd name="T15" fmla="*/ 107 h 381"/>
                <a:gd name="T16" fmla="*/ 50 w 446"/>
                <a:gd name="T17" fmla="*/ 121 h 381"/>
                <a:gd name="T18" fmla="*/ 39 w 446"/>
                <a:gd name="T19" fmla="*/ 138 h 381"/>
                <a:gd name="T20" fmla="*/ 32 w 446"/>
                <a:gd name="T21" fmla="*/ 153 h 381"/>
                <a:gd name="T22" fmla="*/ 39 w 446"/>
                <a:gd name="T23" fmla="*/ 160 h 381"/>
                <a:gd name="T24" fmla="*/ 48 w 446"/>
                <a:gd name="T25" fmla="*/ 177 h 381"/>
                <a:gd name="T26" fmla="*/ 78 w 446"/>
                <a:gd name="T27" fmla="*/ 192 h 381"/>
                <a:gd name="T28" fmla="*/ 88 w 446"/>
                <a:gd name="T29" fmla="*/ 215 h 381"/>
                <a:gd name="T30" fmla="*/ 92 w 446"/>
                <a:gd name="T31" fmla="*/ 230 h 381"/>
                <a:gd name="T32" fmla="*/ 102 w 446"/>
                <a:gd name="T33" fmla="*/ 251 h 381"/>
                <a:gd name="T34" fmla="*/ 118 w 446"/>
                <a:gd name="T35" fmla="*/ 250 h 381"/>
                <a:gd name="T36" fmla="*/ 137 w 446"/>
                <a:gd name="T37" fmla="*/ 253 h 381"/>
                <a:gd name="T38" fmla="*/ 159 w 446"/>
                <a:gd name="T39" fmla="*/ 285 h 381"/>
                <a:gd name="T40" fmla="*/ 179 w 446"/>
                <a:gd name="T41" fmla="*/ 312 h 381"/>
                <a:gd name="T42" fmla="*/ 201 w 446"/>
                <a:gd name="T43" fmla="*/ 325 h 381"/>
                <a:gd name="T44" fmla="*/ 229 w 446"/>
                <a:gd name="T45" fmla="*/ 342 h 381"/>
                <a:gd name="T46" fmla="*/ 277 w 446"/>
                <a:gd name="T47" fmla="*/ 331 h 381"/>
                <a:gd name="T48" fmla="*/ 304 w 446"/>
                <a:gd name="T49" fmla="*/ 351 h 381"/>
                <a:gd name="T50" fmla="*/ 342 w 446"/>
                <a:gd name="T51" fmla="*/ 370 h 381"/>
                <a:gd name="T52" fmla="*/ 372 w 446"/>
                <a:gd name="T53" fmla="*/ 373 h 381"/>
                <a:gd name="T54" fmla="*/ 401 w 446"/>
                <a:gd name="T55" fmla="*/ 381 h 381"/>
                <a:gd name="T56" fmla="*/ 412 w 446"/>
                <a:gd name="T57" fmla="*/ 357 h 381"/>
                <a:gd name="T58" fmla="*/ 443 w 446"/>
                <a:gd name="T59" fmla="*/ 340 h 381"/>
                <a:gd name="T60" fmla="*/ 434 w 446"/>
                <a:gd name="T61" fmla="*/ 326 h 381"/>
                <a:gd name="T62" fmla="*/ 427 w 446"/>
                <a:gd name="T63" fmla="*/ 302 h 381"/>
                <a:gd name="T64" fmla="*/ 386 w 446"/>
                <a:gd name="T65" fmla="*/ 262 h 381"/>
                <a:gd name="T66" fmla="*/ 407 w 446"/>
                <a:gd name="T67" fmla="*/ 240 h 381"/>
                <a:gd name="T68" fmla="*/ 389 w 446"/>
                <a:gd name="T69" fmla="*/ 218 h 381"/>
                <a:gd name="T70" fmla="*/ 388 w 446"/>
                <a:gd name="T71" fmla="*/ 195 h 381"/>
                <a:gd name="T72" fmla="*/ 381 w 446"/>
                <a:gd name="T73" fmla="*/ 160 h 381"/>
                <a:gd name="T74" fmla="*/ 391 w 446"/>
                <a:gd name="T75" fmla="*/ 133 h 381"/>
                <a:gd name="T76" fmla="*/ 401 w 446"/>
                <a:gd name="T77" fmla="*/ 112 h 381"/>
                <a:gd name="T78" fmla="*/ 397 w 446"/>
                <a:gd name="T79" fmla="*/ 91 h 381"/>
                <a:gd name="T80" fmla="*/ 383 w 446"/>
                <a:gd name="T81" fmla="*/ 85 h 381"/>
                <a:gd name="T82" fmla="*/ 370 w 446"/>
                <a:gd name="T83" fmla="*/ 74 h 381"/>
                <a:gd name="T84" fmla="*/ 356 w 446"/>
                <a:gd name="T85" fmla="*/ 62 h 381"/>
                <a:gd name="T86" fmla="*/ 334 w 446"/>
                <a:gd name="T87" fmla="*/ 58 h 381"/>
                <a:gd name="T88" fmla="*/ 312 w 446"/>
                <a:gd name="T89" fmla="*/ 50 h 381"/>
                <a:gd name="T90" fmla="*/ 297 w 446"/>
                <a:gd name="T91" fmla="*/ 41 h 381"/>
                <a:gd name="T92" fmla="*/ 281 w 446"/>
                <a:gd name="T93" fmla="*/ 51 h 381"/>
                <a:gd name="T94" fmla="*/ 222 w 446"/>
                <a:gd name="T95" fmla="*/ 76 h 381"/>
                <a:gd name="T96" fmla="*/ 178 w 446"/>
                <a:gd name="T97" fmla="*/ 83 h 381"/>
                <a:gd name="T98" fmla="*/ 142 w 446"/>
                <a:gd name="T99" fmla="*/ 64 h 381"/>
                <a:gd name="T100" fmla="*/ 111 w 446"/>
                <a:gd name="T101" fmla="*/ 36 h 381"/>
                <a:gd name="T102" fmla="*/ 104 w 446"/>
                <a:gd name="T103" fmla="*/ 37 h 381"/>
                <a:gd name="T104" fmla="*/ 85 w 446"/>
                <a:gd name="T105" fmla="*/ 21 h 381"/>
                <a:gd name="T106" fmla="*/ 84 w 446"/>
                <a:gd name="T107" fmla="*/ 4 h 381"/>
                <a:gd name="T108" fmla="*/ 57 w 446"/>
                <a:gd name="T109" fmla="*/ 23 h 381"/>
                <a:gd name="T110" fmla="*/ 50 w 446"/>
                <a:gd name="T111" fmla="*/ 24 h 381"/>
                <a:gd name="T112" fmla="*/ 13 w 446"/>
                <a:gd name="T113" fmla="*/ 4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6" h="381">
                  <a:moveTo>
                    <a:pt x="113" y="247"/>
                  </a:moveTo>
                  <a:cubicBezTo>
                    <a:pt x="114" y="246"/>
                    <a:pt x="114" y="245"/>
                    <a:pt x="112" y="244"/>
                  </a:cubicBezTo>
                  <a:cubicBezTo>
                    <a:pt x="113" y="244"/>
                    <a:pt x="114" y="244"/>
                    <a:pt x="115" y="244"/>
                  </a:cubicBezTo>
                  <a:cubicBezTo>
                    <a:pt x="116" y="244"/>
                    <a:pt x="117" y="244"/>
                    <a:pt x="117" y="244"/>
                  </a:cubicBezTo>
                  <a:cubicBezTo>
                    <a:pt x="119" y="244"/>
                    <a:pt x="120" y="245"/>
                    <a:pt x="119" y="246"/>
                  </a:cubicBezTo>
                  <a:cubicBezTo>
                    <a:pt x="119" y="247"/>
                    <a:pt x="118" y="247"/>
                    <a:pt x="118" y="247"/>
                  </a:cubicBezTo>
                  <a:cubicBezTo>
                    <a:pt x="117" y="247"/>
                    <a:pt x="115" y="247"/>
                    <a:pt x="114" y="247"/>
                  </a:cubicBezTo>
                  <a:cubicBezTo>
                    <a:pt x="114" y="247"/>
                    <a:pt x="114" y="247"/>
                    <a:pt x="113" y="247"/>
                  </a:cubicBezTo>
                  <a:cubicBezTo>
                    <a:pt x="113" y="247"/>
                    <a:pt x="113" y="247"/>
                    <a:pt x="113" y="247"/>
                  </a:cubicBezTo>
                  <a:moveTo>
                    <a:pt x="10" y="0"/>
                  </a:moveTo>
                  <a:cubicBezTo>
                    <a:pt x="9" y="0"/>
                    <a:pt x="9" y="0"/>
                    <a:pt x="9" y="0"/>
                  </a:cubicBezTo>
                  <a:cubicBezTo>
                    <a:pt x="9" y="1"/>
                    <a:pt x="9" y="1"/>
                    <a:pt x="9" y="1"/>
                  </a:cubicBezTo>
                  <a:cubicBezTo>
                    <a:pt x="10" y="6"/>
                    <a:pt x="7" y="8"/>
                    <a:pt x="5" y="9"/>
                  </a:cubicBezTo>
                  <a:cubicBezTo>
                    <a:pt x="4" y="10"/>
                    <a:pt x="2" y="10"/>
                    <a:pt x="0" y="10"/>
                  </a:cubicBezTo>
                  <a:cubicBezTo>
                    <a:pt x="0" y="11"/>
                    <a:pt x="0" y="11"/>
                    <a:pt x="0" y="11"/>
                  </a:cubicBezTo>
                  <a:cubicBezTo>
                    <a:pt x="1" y="13"/>
                    <a:pt x="1" y="14"/>
                    <a:pt x="1" y="15"/>
                  </a:cubicBezTo>
                  <a:cubicBezTo>
                    <a:pt x="2" y="17"/>
                    <a:pt x="3" y="19"/>
                    <a:pt x="4" y="20"/>
                  </a:cubicBezTo>
                  <a:cubicBezTo>
                    <a:pt x="6" y="22"/>
                    <a:pt x="7" y="27"/>
                    <a:pt x="7" y="32"/>
                  </a:cubicBezTo>
                  <a:cubicBezTo>
                    <a:pt x="8" y="32"/>
                    <a:pt x="8" y="33"/>
                    <a:pt x="9" y="34"/>
                  </a:cubicBezTo>
                  <a:cubicBezTo>
                    <a:pt x="11" y="36"/>
                    <a:pt x="9" y="40"/>
                    <a:pt x="8" y="41"/>
                  </a:cubicBezTo>
                  <a:cubicBezTo>
                    <a:pt x="7" y="42"/>
                    <a:pt x="5" y="45"/>
                    <a:pt x="5" y="45"/>
                  </a:cubicBezTo>
                  <a:cubicBezTo>
                    <a:pt x="5" y="45"/>
                    <a:pt x="5" y="45"/>
                    <a:pt x="5" y="45"/>
                  </a:cubicBezTo>
                  <a:cubicBezTo>
                    <a:pt x="5" y="46"/>
                    <a:pt x="5" y="46"/>
                    <a:pt x="5" y="46"/>
                  </a:cubicBezTo>
                  <a:cubicBezTo>
                    <a:pt x="6" y="46"/>
                    <a:pt x="6" y="46"/>
                    <a:pt x="7" y="48"/>
                  </a:cubicBezTo>
                  <a:cubicBezTo>
                    <a:pt x="8" y="48"/>
                    <a:pt x="9" y="48"/>
                    <a:pt x="11" y="49"/>
                  </a:cubicBezTo>
                  <a:cubicBezTo>
                    <a:pt x="11" y="49"/>
                    <a:pt x="11" y="50"/>
                    <a:pt x="12" y="50"/>
                  </a:cubicBezTo>
                  <a:cubicBezTo>
                    <a:pt x="12" y="51"/>
                    <a:pt x="12" y="51"/>
                    <a:pt x="12" y="51"/>
                  </a:cubicBezTo>
                  <a:cubicBezTo>
                    <a:pt x="13" y="52"/>
                    <a:pt x="13" y="53"/>
                    <a:pt x="13" y="54"/>
                  </a:cubicBezTo>
                  <a:cubicBezTo>
                    <a:pt x="13" y="55"/>
                    <a:pt x="13" y="55"/>
                    <a:pt x="13" y="56"/>
                  </a:cubicBezTo>
                  <a:cubicBezTo>
                    <a:pt x="13" y="57"/>
                    <a:pt x="13" y="57"/>
                    <a:pt x="13" y="57"/>
                  </a:cubicBezTo>
                  <a:cubicBezTo>
                    <a:pt x="12" y="57"/>
                    <a:pt x="12" y="58"/>
                    <a:pt x="12" y="58"/>
                  </a:cubicBezTo>
                  <a:cubicBezTo>
                    <a:pt x="13" y="59"/>
                    <a:pt x="13" y="59"/>
                    <a:pt x="13" y="59"/>
                  </a:cubicBezTo>
                  <a:cubicBezTo>
                    <a:pt x="15" y="60"/>
                    <a:pt x="16" y="61"/>
                    <a:pt x="17" y="63"/>
                  </a:cubicBezTo>
                  <a:cubicBezTo>
                    <a:pt x="17" y="63"/>
                    <a:pt x="17" y="63"/>
                    <a:pt x="17" y="63"/>
                  </a:cubicBezTo>
                  <a:cubicBezTo>
                    <a:pt x="18" y="65"/>
                    <a:pt x="17" y="67"/>
                    <a:pt x="17" y="68"/>
                  </a:cubicBezTo>
                  <a:cubicBezTo>
                    <a:pt x="17" y="68"/>
                    <a:pt x="17" y="68"/>
                    <a:pt x="17" y="68"/>
                  </a:cubicBezTo>
                  <a:cubicBezTo>
                    <a:pt x="17" y="69"/>
                    <a:pt x="18" y="70"/>
                    <a:pt x="18" y="70"/>
                  </a:cubicBezTo>
                  <a:cubicBezTo>
                    <a:pt x="19" y="73"/>
                    <a:pt x="19" y="73"/>
                    <a:pt x="20" y="74"/>
                  </a:cubicBezTo>
                  <a:cubicBezTo>
                    <a:pt x="20" y="74"/>
                    <a:pt x="19" y="75"/>
                    <a:pt x="19" y="76"/>
                  </a:cubicBezTo>
                  <a:cubicBezTo>
                    <a:pt x="19" y="76"/>
                    <a:pt x="19" y="76"/>
                    <a:pt x="19" y="76"/>
                  </a:cubicBezTo>
                  <a:cubicBezTo>
                    <a:pt x="20" y="76"/>
                    <a:pt x="20" y="76"/>
                    <a:pt x="20" y="76"/>
                  </a:cubicBezTo>
                  <a:cubicBezTo>
                    <a:pt x="20" y="75"/>
                    <a:pt x="20" y="75"/>
                    <a:pt x="20" y="75"/>
                  </a:cubicBezTo>
                  <a:cubicBezTo>
                    <a:pt x="20" y="76"/>
                    <a:pt x="20" y="76"/>
                    <a:pt x="20" y="76"/>
                  </a:cubicBezTo>
                  <a:cubicBezTo>
                    <a:pt x="20" y="77"/>
                    <a:pt x="20" y="77"/>
                    <a:pt x="20" y="77"/>
                  </a:cubicBezTo>
                  <a:cubicBezTo>
                    <a:pt x="21" y="77"/>
                    <a:pt x="21" y="77"/>
                    <a:pt x="21" y="77"/>
                  </a:cubicBezTo>
                  <a:cubicBezTo>
                    <a:pt x="23" y="78"/>
                    <a:pt x="23" y="80"/>
                    <a:pt x="23" y="81"/>
                  </a:cubicBezTo>
                  <a:cubicBezTo>
                    <a:pt x="23" y="82"/>
                    <a:pt x="23" y="82"/>
                    <a:pt x="23" y="83"/>
                  </a:cubicBezTo>
                  <a:cubicBezTo>
                    <a:pt x="23" y="83"/>
                    <a:pt x="23" y="83"/>
                    <a:pt x="23" y="83"/>
                  </a:cubicBezTo>
                  <a:cubicBezTo>
                    <a:pt x="23" y="84"/>
                    <a:pt x="23" y="84"/>
                    <a:pt x="23" y="84"/>
                  </a:cubicBezTo>
                  <a:cubicBezTo>
                    <a:pt x="24" y="84"/>
                    <a:pt x="24" y="84"/>
                    <a:pt x="24" y="84"/>
                  </a:cubicBezTo>
                  <a:cubicBezTo>
                    <a:pt x="24" y="84"/>
                    <a:pt x="26" y="85"/>
                    <a:pt x="27" y="86"/>
                  </a:cubicBezTo>
                  <a:cubicBezTo>
                    <a:pt x="32" y="85"/>
                    <a:pt x="32" y="85"/>
                    <a:pt x="32" y="85"/>
                  </a:cubicBezTo>
                  <a:cubicBezTo>
                    <a:pt x="27" y="87"/>
                    <a:pt x="27" y="87"/>
                    <a:pt x="27" y="87"/>
                  </a:cubicBezTo>
                  <a:cubicBezTo>
                    <a:pt x="27" y="87"/>
                    <a:pt x="27" y="87"/>
                    <a:pt x="27" y="87"/>
                  </a:cubicBezTo>
                  <a:cubicBezTo>
                    <a:pt x="28" y="88"/>
                    <a:pt x="28" y="88"/>
                    <a:pt x="28" y="89"/>
                  </a:cubicBezTo>
                  <a:cubicBezTo>
                    <a:pt x="29" y="90"/>
                    <a:pt x="29" y="92"/>
                    <a:pt x="30" y="95"/>
                  </a:cubicBezTo>
                  <a:cubicBezTo>
                    <a:pt x="30" y="96"/>
                    <a:pt x="30" y="96"/>
                    <a:pt x="30" y="96"/>
                  </a:cubicBezTo>
                  <a:cubicBezTo>
                    <a:pt x="30" y="96"/>
                    <a:pt x="30" y="96"/>
                    <a:pt x="30" y="96"/>
                  </a:cubicBezTo>
                  <a:cubicBezTo>
                    <a:pt x="31" y="96"/>
                    <a:pt x="31" y="96"/>
                    <a:pt x="32" y="96"/>
                  </a:cubicBezTo>
                  <a:cubicBezTo>
                    <a:pt x="33" y="96"/>
                    <a:pt x="34" y="97"/>
                    <a:pt x="35" y="98"/>
                  </a:cubicBezTo>
                  <a:cubicBezTo>
                    <a:pt x="36" y="99"/>
                    <a:pt x="37" y="100"/>
                    <a:pt x="38" y="101"/>
                  </a:cubicBezTo>
                  <a:cubicBezTo>
                    <a:pt x="38" y="101"/>
                    <a:pt x="38" y="101"/>
                    <a:pt x="38" y="101"/>
                  </a:cubicBezTo>
                  <a:cubicBezTo>
                    <a:pt x="39" y="101"/>
                    <a:pt x="39" y="101"/>
                    <a:pt x="39" y="101"/>
                  </a:cubicBezTo>
                  <a:cubicBezTo>
                    <a:pt x="40" y="101"/>
                    <a:pt x="40" y="101"/>
                    <a:pt x="42" y="101"/>
                  </a:cubicBezTo>
                  <a:cubicBezTo>
                    <a:pt x="43" y="101"/>
                    <a:pt x="43" y="101"/>
                    <a:pt x="43" y="101"/>
                  </a:cubicBezTo>
                  <a:cubicBezTo>
                    <a:pt x="43" y="101"/>
                    <a:pt x="43" y="101"/>
                    <a:pt x="43" y="101"/>
                  </a:cubicBezTo>
                  <a:cubicBezTo>
                    <a:pt x="44" y="101"/>
                    <a:pt x="44" y="101"/>
                    <a:pt x="44" y="101"/>
                  </a:cubicBezTo>
                  <a:cubicBezTo>
                    <a:pt x="44" y="101"/>
                    <a:pt x="45" y="101"/>
                    <a:pt x="45" y="101"/>
                  </a:cubicBezTo>
                  <a:cubicBezTo>
                    <a:pt x="46" y="101"/>
                    <a:pt x="47" y="101"/>
                    <a:pt x="48" y="101"/>
                  </a:cubicBezTo>
                  <a:cubicBezTo>
                    <a:pt x="49" y="101"/>
                    <a:pt x="49" y="101"/>
                    <a:pt x="50" y="101"/>
                  </a:cubicBezTo>
                  <a:cubicBezTo>
                    <a:pt x="59" y="104"/>
                    <a:pt x="59" y="104"/>
                    <a:pt x="59" y="104"/>
                  </a:cubicBezTo>
                  <a:cubicBezTo>
                    <a:pt x="52" y="107"/>
                    <a:pt x="52" y="107"/>
                    <a:pt x="52" y="107"/>
                  </a:cubicBezTo>
                  <a:cubicBezTo>
                    <a:pt x="51" y="108"/>
                    <a:pt x="50" y="108"/>
                    <a:pt x="49" y="108"/>
                  </a:cubicBezTo>
                  <a:cubicBezTo>
                    <a:pt x="47" y="109"/>
                    <a:pt x="46" y="110"/>
                    <a:pt x="46" y="110"/>
                  </a:cubicBezTo>
                  <a:cubicBezTo>
                    <a:pt x="46" y="110"/>
                    <a:pt x="46" y="110"/>
                    <a:pt x="46" y="110"/>
                  </a:cubicBezTo>
                  <a:cubicBezTo>
                    <a:pt x="46" y="111"/>
                    <a:pt x="46" y="111"/>
                    <a:pt x="46" y="111"/>
                  </a:cubicBezTo>
                  <a:cubicBezTo>
                    <a:pt x="46" y="112"/>
                    <a:pt x="46" y="112"/>
                    <a:pt x="46" y="112"/>
                  </a:cubicBezTo>
                  <a:cubicBezTo>
                    <a:pt x="46" y="112"/>
                    <a:pt x="46" y="113"/>
                    <a:pt x="46" y="113"/>
                  </a:cubicBezTo>
                  <a:cubicBezTo>
                    <a:pt x="46" y="114"/>
                    <a:pt x="47" y="114"/>
                    <a:pt x="47" y="114"/>
                  </a:cubicBezTo>
                  <a:cubicBezTo>
                    <a:pt x="47" y="115"/>
                    <a:pt x="47" y="115"/>
                    <a:pt x="47" y="115"/>
                  </a:cubicBezTo>
                  <a:cubicBezTo>
                    <a:pt x="48" y="116"/>
                    <a:pt x="50" y="118"/>
                    <a:pt x="50" y="121"/>
                  </a:cubicBezTo>
                  <a:cubicBezTo>
                    <a:pt x="50" y="121"/>
                    <a:pt x="50" y="122"/>
                    <a:pt x="50" y="122"/>
                  </a:cubicBezTo>
                  <a:cubicBezTo>
                    <a:pt x="49" y="123"/>
                    <a:pt x="49" y="123"/>
                    <a:pt x="49" y="123"/>
                  </a:cubicBezTo>
                  <a:cubicBezTo>
                    <a:pt x="49" y="125"/>
                    <a:pt x="49" y="125"/>
                    <a:pt x="49" y="125"/>
                  </a:cubicBezTo>
                  <a:cubicBezTo>
                    <a:pt x="47" y="126"/>
                    <a:pt x="47" y="126"/>
                    <a:pt x="47" y="126"/>
                  </a:cubicBezTo>
                  <a:cubicBezTo>
                    <a:pt x="47" y="126"/>
                    <a:pt x="46" y="126"/>
                    <a:pt x="45" y="126"/>
                  </a:cubicBezTo>
                  <a:cubicBezTo>
                    <a:pt x="44" y="127"/>
                    <a:pt x="43" y="127"/>
                    <a:pt x="42" y="127"/>
                  </a:cubicBezTo>
                  <a:cubicBezTo>
                    <a:pt x="40" y="130"/>
                    <a:pt x="40" y="131"/>
                    <a:pt x="40" y="133"/>
                  </a:cubicBezTo>
                  <a:cubicBezTo>
                    <a:pt x="39" y="136"/>
                    <a:pt x="39" y="136"/>
                    <a:pt x="39" y="136"/>
                  </a:cubicBezTo>
                  <a:cubicBezTo>
                    <a:pt x="39" y="137"/>
                    <a:pt x="39" y="138"/>
                    <a:pt x="39" y="138"/>
                  </a:cubicBezTo>
                  <a:cubicBezTo>
                    <a:pt x="38" y="139"/>
                    <a:pt x="37" y="141"/>
                    <a:pt x="35" y="141"/>
                  </a:cubicBezTo>
                  <a:cubicBezTo>
                    <a:pt x="35" y="141"/>
                    <a:pt x="35" y="141"/>
                    <a:pt x="34" y="141"/>
                  </a:cubicBezTo>
                  <a:cubicBezTo>
                    <a:pt x="34" y="141"/>
                    <a:pt x="34" y="141"/>
                    <a:pt x="34" y="141"/>
                  </a:cubicBezTo>
                  <a:cubicBezTo>
                    <a:pt x="34" y="141"/>
                    <a:pt x="34" y="141"/>
                    <a:pt x="34" y="141"/>
                  </a:cubicBezTo>
                  <a:cubicBezTo>
                    <a:pt x="34" y="141"/>
                    <a:pt x="34" y="142"/>
                    <a:pt x="35" y="142"/>
                  </a:cubicBezTo>
                  <a:cubicBezTo>
                    <a:pt x="36" y="143"/>
                    <a:pt x="36" y="145"/>
                    <a:pt x="35" y="146"/>
                  </a:cubicBezTo>
                  <a:cubicBezTo>
                    <a:pt x="35" y="146"/>
                    <a:pt x="35" y="147"/>
                    <a:pt x="35" y="147"/>
                  </a:cubicBezTo>
                  <a:cubicBezTo>
                    <a:pt x="34" y="148"/>
                    <a:pt x="34" y="148"/>
                    <a:pt x="34" y="148"/>
                  </a:cubicBezTo>
                  <a:cubicBezTo>
                    <a:pt x="34" y="150"/>
                    <a:pt x="33" y="151"/>
                    <a:pt x="32" y="153"/>
                  </a:cubicBezTo>
                  <a:cubicBezTo>
                    <a:pt x="32" y="153"/>
                    <a:pt x="32" y="153"/>
                    <a:pt x="32" y="153"/>
                  </a:cubicBezTo>
                  <a:cubicBezTo>
                    <a:pt x="39" y="153"/>
                    <a:pt x="39" y="153"/>
                    <a:pt x="39" y="153"/>
                  </a:cubicBezTo>
                  <a:cubicBezTo>
                    <a:pt x="35" y="157"/>
                    <a:pt x="35" y="157"/>
                    <a:pt x="35" y="157"/>
                  </a:cubicBezTo>
                  <a:cubicBezTo>
                    <a:pt x="37" y="158"/>
                    <a:pt x="37" y="158"/>
                    <a:pt x="37" y="158"/>
                  </a:cubicBezTo>
                  <a:cubicBezTo>
                    <a:pt x="41" y="154"/>
                    <a:pt x="41" y="154"/>
                    <a:pt x="41" y="154"/>
                  </a:cubicBezTo>
                  <a:cubicBezTo>
                    <a:pt x="38" y="160"/>
                    <a:pt x="38" y="160"/>
                    <a:pt x="38" y="160"/>
                  </a:cubicBezTo>
                  <a:cubicBezTo>
                    <a:pt x="38" y="160"/>
                    <a:pt x="38" y="160"/>
                    <a:pt x="38" y="160"/>
                  </a:cubicBezTo>
                  <a:cubicBezTo>
                    <a:pt x="38" y="160"/>
                    <a:pt x="38" y="160"/>
                    <a:pt x="39" y="160"/>
                  </a:cubicBezTo>
                  <a:cubicBezTo>
                    <a:pt x="39" y="160"/>
                    <a:pt x="39" y="160"/>
                    <a:pt x="39" y="160"/>
                  </a:cubicBezTo>
                  <a:cubicBezTo>
                    <a:pt x="41" y="161"/>
                    <a:pt x="42" y="161"/>
                    <a:pt x="44" y="162"/>
                  </a:cubicBezTo>
                  <a:cubicBezTo>
                    <a:pt x="44" y="163"/>
                    <a:pt x="44" y="163"/>
                    <a:pt x="44" y="164"/>
                  </a:cubicBezTo>
                  <a:cubicBezTo>
                    <a:pt x="44" y="165"/>
                    <a:pt x="45" y="166"/>
                    <a:pt x="45" y="167"/>
                  </a:cubicBezTo>
                  <a:cubicBezTo>
                    <a:pt x="45" y="168"/>
                    <a:pt x="45" y="168"/>
                    <a:pt x="45" y="168"/>
                  </a:cubicBezTo>
                  <a:cubicBezTo>
                    <a:pt x="45" y="169"/>
                    <a:pt x="45" y="170"/>
                    <a:pt x="45" y="171"/>
                  </a:cubicBezTo>
                  <a:cubicBezTo>
                    <a:pt x="46" y="172"/>
                    <a:pt x="46" y="172"/>
                    <a:pt x="46" y="172"/>
                  </a:cubicBezTo>
                  <a:cubicBezTo>
                    <a:pt x="46" y="173"/>
                    <a:pt x="46" y="175"/>
                    <a:pt x="47" y="176"/>
                  </a:cubicBezTo>
                  <a:cubicBezTo>
                    <a:pt x="47" y="177"/>
                    <a:pt x="47" y="177"/>
                    <a:pt x="47" y="177"/>
                  </a:cubicBezTo>
                  <a:cubicBezTo>
                    <a:pt x="48" y="177"/>
                    <a:pt x="48" y="177"/>
                    <a:pt x="48" y="177"/>
                  </a:cubicBezTo>
                  <a:cubicBezTo>
                    <a:pt x="48" y="177"/>
                    <a:pt x="49" y="177"/>
                    <a:pt x="50" y="177"/>
                  </a:cubicBezTo>
                  <a:cubicBezTo>
                    <a:pt x="51" y="177"/>
                    <a:pt x="52" y="178"/>
                    <a:pt x="54" y="178"/>
                  </a:cubicBezTo>
                  <a:cubicBezTo>
                    <a:pt x="56" y="179"/>
                    <a:pt x="57" y="180"/>
                    <a:pt x="59" y="181"/>
                  </a:cubicBezTo>
                  <a:cubicBezTo>
                    <a:pt x="69" y="189"/>
                    <a:pt x="69" y="189"/>
                    <a:pt x="69" y="189"/>
                  </a:cubicBezTo>
                  <a:cubicBezTo>
                    <a:pt x="70" y="190"/>
                    <a:pt x="70" y="190"/>
                    <a:pt x="70" y="190"/>
                  </a:cubicBezTo>
                  <a:cubicBezTo>
                    <a:pt x="70" y="190"/>
                    <a:pt x="70" y="190"/>
                    <a:pt x="70" y="190"/>
                  </a:cubicBezTo>
                  <a:cubicBezTo>
                    <a:pt x="70" y="190"/>
                    <a:pt x="71" y="189"/>
                    <a:pt x="72" y="189"/>
                  </a:cubicBezTo>
                  <a:cubicBezTo>
                    <a:pt x="72" y="189"/>
                    <a:pt x="73" y="189"/>
                    <a:pt x="74" y="190"/>
                  </a:cubicBezTo>
                  <a:cubicBezTo>
                    <a:pt x="75" y="190"/>
                    <a:pt x="76" y="191"/>
                    <a:pt x="78" y="192"/>
                  </a:cubicBezTo>
                  <a:cubicBezTo>
                    <a:pt x="79" y="194"/>
                    <a:pt x="81" y="197"/>
                    <a:pt x="82" y="198"/>
                  </a:cubicBezTo>
                  <a:cubicBezTo>
                    <a:pt x="83" y="200"/>
                    <a:pt x="83" y="200"/>
                    <a:pt x="83" y="200"/>
                  </a:cubicBezTo>
                  <a:cubicBezTo>
                    <a:pt x="84" y="201"/>
                    <a:pt x="85" y="202"/>
                    <a:pt x="85" y="203"/>
                  </a:cubicBezTo>
                  <a:cubicBezTo>
                    <a:pt x="88" y="207"/>
                    <a:pt x="89" y="209"/>
                    <a:pt x="89" y="211"/>
                  </a:cubicBezTo>
                  <a:cubicBezTo>
                    <a:pt x="89" y="211"/>
                    <a:pt x="89" y="211"/>
                    <a:pt x="89" y="211"/>
                  </a:cubicBezTo>
                  <a:cubicBezTo>
                    <a:pt x="89" y="211"/>
                    <a:pt x="89" y="211"/>
                    <a:pt x="89" y="211"/>
                  </a:cubicBezTo>
                  <a:cubicBezTo>
                    <a:pt x="89" y="212"/>
                    <a:pt x="89" y="213"/>
                    <a:pt x="89" y="213"/>
                  </a:cubicBezTo>
                  <a:cubicBezTo>
                    <a:pt x="89" y="213"/>
                    <a:pt x="89" y="213"/>
                    <a:pt x="89" y="213"/>
                  </a:cubicBezTo>
                  <a:cubicBezTo>
                    <a:pt x="88" y="215"/>
                    <a:pt x="88" y="215"/>
                    <a:pt x="88" y="215"/>
                  </a:cubicBezTo>
                  <a:cubicBezTo>
                    <a:pt x="88" y="216"/>
                    <a:pt x="87" y="217"/>
                    <a:pt x="87" y="218"/>
                  </a:cubicBezTo>
                  <a:cubicBezTo>
                    <a:pt x="86" y="219"/>
                    <a:pt x="86" y="219"/>
                    <a:pt x="86" y="219"/>
                  </a:cubicBezTo>
                  <a:cubicBezTo>
                    <a:pt x="86" y="219"/>
                    <a:pt x="86" y="219"/>
                    <a:pt x="86" y="219"/>
                  </a:cubicBezTo>
                  <a:cubicBezTo>
                    <a:pt x="86" y="221"/>
                    <a:pt x="86" y="222"/>
                    <a:pt x="86" y="224"/>
                  </a:cubicBezTo>
                  <a:cubicBezTo>
                    <a:pt x="86" y="225"/>
                    <a:pt x="85" y="227"/>
                    <a:pt x="85" y="228"/>
                  </a:cubicBezTo>
                  <a:cubicBezTo>
                    <a:pt x="86" y="228"/>
                    <a:pt x="87" y="228"/>
                    <a:pt x="88" y="228"/>
                  </a:cubicBezTo>
                  <a:cubicBezTo>
                    <a:pt x="89" y="228"/>
                    <a:pt x="90" y="228"/>
                    <a:pt x="91" y="229"/>
                  </a:cubicBezTo>
                  <a:cubicBezTo>
                    <a:pt x="92" y="229"/>
                    <a:pt x="92" y="229"/>
                    <a:pt x="92" y="229"/>
                  </a:cubicBezTo>
                  <a:cubicBezTo>
                    <a:pt x="92" y="230"/>
                    <a:pt x="92" y="230"/>
                    <a:pt x="92" y="230"/>
                  </a:cubicBezTo>
                  <a:cubicBezTo>
                    <a:pt x="93" y="231"/>
                    <a:pt x="93" y="231"/>
                    <a:pt x="93" y="232"/>
                  </a:cubicBezTo>
                  <a:cubicBezTo>
                    <a:pt x="93" y="232"/>
                    <a:pt x="94" y="233"/>
                    <a:pt x="94" y="233"/>
                  </a:cubicBezTo>
                  <a:cubicBezTo>
                    <a:pt x="94" y="236"/>
                    <a:pt x="94" y="238"/>
                    <a:pt x="93" y="240"/>
                  </a:cubicBezTo>
                  <a:cubicBezTo>
                    <a:pt x="93" y="241"/>
                    <a:pt x="93" y="242"/>
                    <a:pt x="93" y="243"/>
                  </a:cubicBezTo>
                  <a:cubicBezTo>
                    <a:pt x="94" y="243"/>
                    <a:pt x="94" y="243"/>
                    <a:pt x="94" y="243"/>
                  </a:cubicBezTo>
                  <a:cubicBezTo>
                    <a:pt x="95" y="244"/>
                    <a:pt x="96" y="244"/>
                    <a:pt x="97" y="246"/>
                  </a:cubicBezTo>
                  <a:cubicBezTo>
                    <a:pt x="98" y="247"/>
                    <a:pt x="99" y="248"/>
                    <a:pt x="100" y="249"/>
                  </a:cubicBezTo>
                  <a:cubicBezTo>
                    <a:pt x="101" y="250"/>
                    <a:pt x="101" y="250"/>
                    <a:pt x="102" y="251"/>
                  </a:cubicBezTo>
                  <a:cubicBezTo>
                    <a:pt x="102" y="251"/>
                    <a:pt x="102" y="251"/>
                    <a:pt x="102" y="251"/>
                  </a:cubicBezTo>
                  <a:cubicBezTo>
                    <a:pt x="102" y="252"/>
                    <a:pt x="104" y="253"/>
                    <a:pt x="106" y="255"/>
                  </a:cubicBezTo>
                  <a:cubicBezTo>
                    <a:pt x="109" y="257"/>
                    <a:pt x="109" y="257"/>
                    <a:pt x="109" y="257"/>
                  </a:cubicBezTo>
                  <a:cubicBezTo>
                    <a:pt x="110" y="257"/>
                    <a:pt x="111" y="256"/>
                    <a:pt x="111" y="256"/>
                  </a:cubicBezTo>
                  <a:cubicBezTo>
                    <a:pt x="112" y="255"/>
                    <a:pt x="112" y="253"/>
                    <a:pt x="112" y="252"/>
                  </a:cubicBezTo>
                  <a:cubicBezTo>
                    <a:pt x="112" y="252"/>
                    <a:pt x="111" y="251"/>
                    <a:pt x="111" y="250"/>
                  </a:cubicBezTo>
                  <a:cubicBezTo>
                    <a:pt x="110" y="250"/>
                    <a:pt x="110" y="249"/>
                    <a:pt x="110" y="249"/>
                  </a:cubicBezTo>
                  <a:cubicBezTo>
                    <a:pt x="111" y="248"/>
                    <a:pt x="112" y="248"/>
                    <a:pt x="113" y="248"/>
                  </a:cubicBezTo>
                  <a:cubicBezTo>
                    <a:pt x="113" y="248"/>
                    <a:pt x="113" y="248"/>
                    <a:pt x="114" y="248"/>
                  </a:cubicBezTo>
                  <a:cubicBezTo>
                    <a:pt x="115" y="248"/>
                    <a:pt x="116" y="249"/>
                    <a:pt x="118" y="250"/>
                  </a:cubicBezTo>
                  <a:cubicBezTo>
                    <a:pt x="119" y="250"/>
                    <a:pt x="119" y="250"/>
                    <a:pt x="120" y="251"/>
                  </a:cubicBezTo>
                  <a:cubicBezTo>
                    <a:pt x="122" y="252"/>
                    <a:pt x="124" y="253"/>
                    <a:pt x="125" y="254"/>
                  </a:cubicBezTo>
                  <a:cubicBezTo>
                    <a:pt x="126" y="255"/>
                    <a:pt x="126" y="255"/>
                    <a:pt x="126" y="255"/>
                  </a:cubicBezTo>
                  <a:cubicBezTo>
                    <a:pt x="126" y="256"/>
                    <a:pt x="126" y="257"/>
                    <a:pt x="126" y="257"/>
                  </a:cubicBezTo>
                  <a:cubicBezTo>
                    <a:pt x="127" y="257"/>
                    <a:pt x="127" y="256"/>
                    <a:pt x="127" y="256"/>
                  </a:cubicBezTo>
                  <a:cubicBezTo>
                    <a:pt x="128" y="256"/>
                    <a:pt x="129" y="255"/>
                    <a:pt x="130" y="255"/>
                  </a:cubicBezTo>
                  <a:cubicBezTo>
                    <a:pt x="132" y="254"/>
                    <a:pt x="134" y="254"/>
                    <a:pt x="135" y="253"/>
                  </a:cubicBezTo>
                  <a:cubicBezTo>
                    <a:pt x="136" y="253"/>
                    <a:pt x="136" y="253"/>
                    <a:pt x="137" y="253"/>
                  </a:cubicBezTo>
                  <a:cubicBezTo>
                    <a:pt x="137" y="253"/>
                    <a:pt x="137" y="253"/>
                    <a:pt x="137" y="253"/>
                  </a:cubicBezTo>
                  <a:cubicBezTo>
                    <a:pt x="139" y="253"/>
                    <a:pt x="140" y="255"/>
                    <a:pt x="141" y="257"/>
                  </a:cubicBezTo>
                  <a:cubicBezTo>
                    <a:pt x="142" y="258"/>
                    <a:pt x="142" y="259"/>
                    <a:pt x="143" y="260"/>
                  </a:cubicBezTo>
                  <a:cubicBezTo>
                    <a:pt x="143" y="261"/>
                    <a:pt x="144" y="262"/>
                    <a:pt x="144" y="263"/>
                  </a:cubicBezTo>
                  <a:cubicBezTo>
                    <a:pt x="146" y="264"/>
                    <a:pt x="147" y="266"/>
                    <a:pt x="149" y="267"/>
                  </a:cubicBezTo>
                  <a:cubicBezTo>
                    <a:pt x="150" y="269"/>
                    <a:pt x="152" y="271"/>
                    <a:pt x="152" y="273"/>
                  </a:cubicBezTo>
                  <a:cubicBezTo>
                    <a:pt x="153" y="275"/>
                    <a:pt x="153" y="276"/>
                    <a:pt x="152" y="278"/>
                  </a:cubicBezTo>
                  <a:cubicBezTo>
                    <a:pt x="153" y="279"/>
                    <a:pt x="154" y="279"/>
                    <a:pt x="155" y="279"/>
                  </a:cubicBezTo>
                  <a:cubicBezTo>
                    <a:pt x="157" y="280"/>
                    <a:pt x="158" y="281"/>
                    <a:pt x="159" y="284"/>
                  </a:cubicBezTo>
                  <a:cubicBezTo>
                    <a:pt x="159" y="285"/>
                    <a:pt x="159" y="285"/>
                    <a:pt x="159" y="285"/>
                  </a:cubicBezTo>
                  <a:cubicBezTo>
                    <a:pt x="159" y="287"/>
                    <a:pt x="160" y="289"/>
                    <a:pt x="161" y="292"/>
                  </a:cubicBezTo>
                  <a:cubicBezTo>
                    <a:pt x="162" y="294"/>
                    <a:pt x="163" y="296"/>
                    <a:pt x="164" y="298"/>
                  </a:cubicBezTo>
                  <a:cubicBezTo>
                    <a:pt x="165" y="300"/>
                    <a:pt x="166" y="302"/>
                    <a:pt x="167" y="304"/>
                  </a:cubicBezTo>
                  <a:cubicBezTo>
                    <a:pt x="167" y="304"/>
                    <a:pt x="167" y="304"/>
                    <a:pt x="167" y="304"/>
                  </a:cubicBezTo>
                  <a:cubicBezTo>
                    <a:pt x="168" y="306"/>
                    <a:pt x="169" y="308"/>
                    <a:pt x="170" y="310"/>
                  </a:cubicBezTo>
                  <a:cubicBezTo>
                    <a:pt x="172" y="310"/>
                    <a:pt x="173" y="311"/>
                    <a:pt x="174" y="312"/>
                  </a:cubicBezTo>
                  <a:cubicBezTo>
                    <a:pt x="175" y="312"/>
                    <a:pt x="176" y="312"/>
                    <a:pt x="177" y="312"/>
                  </a:cubicBezTo>
                  <a:cubicBezTo>
                    <a:pt x="177" y="312"/>
                    <a:pt x="178" y="312"/>
                    <a:pt x="178" y="312"/>
                  </a:cubicBezTo>
                  <a:cubicBezTo>
                    <a:pt x="178" y="312"/>
                    <a:pt x="179" y="312"/>
                    <a:pt x="179" y="312"/>
                  </a:cubicBezTo>
                  <a:cubicBezTo>
                    <a:pt x="179" y="312"/>
                    <a:pt x="179" y="312"/>
                    <a:pt x="180" y="312"/>
                  </a:cubicBezTo>
                  <a:cubicBezTo>
                    <a:pt x="181" y="312"/>
                    <a:pt x="183" y="312"/>
                    <a:pt x="184" y="313"/>
                  </a:cubicBezTo>
                  <a:cubicBezTo>
                    <a:pt x="184" y="313"/>
                    <a:pt x="185" y="313"/>
                    <a:pt x="185" y="313"/>
                  </a:cubicBezTo>
                  <a:cubicBezTo>
                    <a:pt x="187" y="314"/>
                    <a:pt x="189" y="315"/>
                    <a:pt x="191" y="316"/>
                  </a:cubicBezTo>
                  <a:cubicBezTo>
                    <a:pt x="192" y="317"/>
                    <a:pt x="192" y="317"/>
                    <a:pt x="192" y="317"/>
                  </a:cubicBezTo>
                  <a:cubicBezTo>
                    <a:pt x="193" y="317"/>
                    <a:pt x="193" y="317"/>
                    <a:pt x="193" y="317"/>
                  </a:cubicBezTo>
                  <a:cubicBezTo>
                    <a:pt x="194" y="317"/>
                    <a:pt x="195" y="318"/>
                    <a:pt x="195" y="318"/>
                  </a:cubicBezTo>
                  <a:cubicBezTo>
                    <a:pt x="196" y="319"/>
                    <a:pt x="196" y="319"/>
                    <a:pt x="197" y="320"/>
                  </a:cubicBezTo>
                  <a:cubicBezTo>
                    <a:pt x="198" y="321"/>
                    <a:pt x="199" y="323"/>
                    <a:pt x="201" y="325"/>
                  </a:cubicBezTo>
                  <a:cubicBezTo>
                    <a:pt x="202" y="327"/>
                    <a:pt x="203" y="328"/>
                    <a:pt x="206" y="329"/>
                  </a:cubicBezTo>
                  <a:cubicBezTo>
                    <a:pt x="206" y="329"/>
                    <a:pt x="206" y="329"/>
                    <a:pt x="206" y="329"/>
                  </a:cubicBezTo>
                  <a:cubicBezTo>
                    <a:pt x="208" y="330"/>
                    <a:pt x="209" y="331"/>
                    <a:pt x="212" y="332"/>
                  </a:cubicBezTo>
                  <a:cubicBezTo>
                    <a:pt x="212" y="332"/>
                    <a:pt x="212" y="332"/>
                    <a:pt x="212" y="332"/>
                  </a:cubicBezTo>
                  <a:cubicBezTo>
                    <a:pt x="215" y="333"/>
                    <a:pt x="216" y="334"/>
                    <a:pt x="218" y="335"/>
                  </a:cubicBezTo>
                  <a:cubicBezTo>
                    <a:pt x="218" y="336"/>
                    <a:pt x="218" y="336"/>
                    <a:pt x="218" y="336"/>
                  </a:cubicBezTo>
                  <a:cubicBezTo>
                    <a:pt x="220" y="337"/>
                    <a:pt x="220" y="339"/>
                    <a:pt x="222" y="340"/>
                  </a:cubicBezTo>
                  <a:cubicBezTo>
                    <a:pt x="223" y="340"/>
                    <a:pt x="223" y="340"/>
                    <a:pt x="223" y="340"/>
                  </a:cubicBezTo>
                  <a:cubicBezTo>
                    <a:pt x="225" y="341"/>
                    <a:pt x="227" y="342"/>
                    <a:pt x="229" y="342"/>
                  </a:cubicBezTo>
                  <a:cubicBezTo>
                    <a:pt x="232" y="342"/>
                    <a:pt x="235" y="343"/>
                    <a:pt x="237" y="343"/>
                  </a:cubicBezTo>
                  <a:cubicBezTo>
                    <a:pt x="238" y="343"/>
                    <a:pt x="239" y="343"/>
                    <a:pt x="239" y="343"/>
                  </a:cubicBezTo>
                  <a:cubicBezTo>
                    <a:pt x="241" y="344"/>
                    <a:pt x="243" y="344"/>
                    <a:pt x="245" y="345"/>
                  </a:cubicBezTo>
                  <a:cubicBezTo>
                    <a:pt x="245" y="345"/>
                    <a:pt x="245" y="346"/>
                    <a:pt x="245" y="346"/>
                  </a:cubicBezTo>
                  <a:cubicBezTo>
                    <a:pt x="249" y="345"/>
                    <a:pt x="252" y="344"/>
                    <a:pt x="255" y="343"/>
                  </a:cubicBezTo>
                  <a:cubicBezTo>
                    <a:pt x="257" y="343"/>
                    <a:pt x="258" y="342"/>
                    <a:pt x="259" y="342"/>
                  </a:cubicBezTo>
                  <a:cubicBezTo>
                    <a:pt x="261" y="341"/>
                    <a:pt x="263" y="340"/>
                    <a:pt x="266" y="340"/>
                  </a:cubicBezTo>
                  <a:cubicBezTo>
                    <a:pt x="267" y="339"/>
                    <a:pt x="267" y="336"/>
                    <a:pt x="268" y="336"/>
                  </a:cubicBezTo>
                  <a:cubicBezTo>
                    <a:pt x="270" y="333"/>
                    <a:pt x="273" y="332"/>
                    <a:pt x="277" y="331"/>
                  </a:cubicBezTo>
                  <a:cubicBezTo>
                    <a:pt x="280" y="330"/>
                    <a:pt x="283" y="330"/>
                    <a:pt x="285" y="330"/>
                  </a:cubicBezTo>
                  <a:cubicBezTo>
                    <a:pt x="286" y="330"/>
                    <a:pt x="286" y="330"/>
                    <a:pt x="287" y="330"/>
                  </a:cubicBezTo>
                  <a:cubicBezTo>
                    <a:pt x="287" y="330"/>
                    <a:pt x="287" y="330"/>
                    <a:pt x="287" y="330"/>
                  </a:cubicBezTo>
                  <a:cubicBezTo>
                    <a:pt x="289" y="330"/>
                    <a:pt x="293" y="330"/>
                    <a:pt x="295" y="331"/>
                  </a:cubicBezTo>
                  <a:cubicBezTo>
                    <a:pt x="297" y="331"/>
                    <a:pt x="299" y="332"/>
                    <a:pt x="300" y="334"/>
                  </a:cubicBezTo>
                  <a:cubicBezTo>
                    <a:pt x="300" y="334"/>
                    <a:pt x="300" y="334"/>
                    <a:pt x="300" y="334"/>
                  </a:cubicBezTo>
                  <a:cubicBezTo>
                    <a:pt x="302" y="336"/>
                    <a:pt x="302" y="339"/>
                    <a:pt x="303" y="342"/>
                  </a:cubicBezTo>
                  <a:cubicBezTo>
                    <a:pt x="303" y="344"/>
                    <a:pt x="303" y="347"/>
                    <a:pt x="304" y="349"/>
                  </a:cubicBezTo>
                  <a:cubicBezTo>
                    <a:pt x="304" y="350"/>
                    <a:pt x="304" y="351"/>
                    <a:pt x="304" y="351"/>
                  </a:cubicBezTo>
                  <a:cubicBezTo>
                    <a:pt x="305" y="353"/>
                    <a:pt x="305" y="355"/>
                    <a:pt x="306" y="357"/>
                  </a:cubicBezTo>
                  <a:cubicBezTo>
                    <a:pt x="306" y="359"/>
                    <a:pt x="307" y="361"/>
                    <a:pt x="308" y="363"/>
                  </a:cubicBezTo>
                  <a:cubicBezTo>
                    <a:pt x="308" y="363"/>
                    <a:pt x="308" y="363"/>
                    <a:pt x="308" y="363"/>
                  </a:cubicBezTo>
                  <a:cubicBezTo>
                    <a:pt x="310" y="365"/>
                    <a:pt x="312" y="365"/>
                    <a:pt x="315" y="366"/>
                  </a:cubicBezTo>
                  <a:cubicBezTo>
                    <a:pt x="316" y="366"/>
                    <a:pt x="316" y="366"/>
                    <a:pt x="316" y="366"/>
                  </a:cubicBezTo>
                  <a:cubicBezTo>
                    <a:pt x="318" y="366"/>
                    <a:pt x="321" y="366"/>
                    <a:pt x="323" y="367"/>
                  </a:cubicBezTo>
                  <a:cubicBezTo>
                    <a:pt x="326" y="367"/>
                    <a:pt x="328" y="368"/>
                    <a:pt x="331" y="368"/>
                  </a:cubicBezTo>
                  <a:cubicBezTo>
                    <a:pt x="334" y="368"/>
                    <a:pt x="336" y="369"/>
                    <a:pt x="339" y="369"/>
                  </a:cubicBezTo>
                  <a:cubicBezTo>
                    <a:pt x="340" y="369"/>
                    <a:pt x="341" y="369"/>
                    <a:pt x="342" y="370"/>
                  </a:cubicBezTo>
                  <a:cubicBezTo>
                    <a:pt x="343" y="370"/>
                    <a:pt x="344" y="370"/>
                    <a:pt x="345" y="371"/>
                  </a:cubicBezTo>
                  <a:cubicBezTo>
                    <a:pt x="346" y="371"/>
                    <a:pt x="346" y="371"/>
                    <a:pt x="346" y="371"/>
                  </a:cubicBezTo>
                  <a:cubicBezTo>
                    <a:pt x="348" y="373"/>
                    <a:pt x="349" y="373"/>
                    <a:pt x="351" y="373"/>
                  </a:cubicBezTo>
                  <a:cubicBezTo>
                    <a:pt x="352" y="373"/>
                    <a:pt x="352" y="373"/>
                    <a:pt x="353" y="373"/>
                  </a:cubicBezTo>
                  <a:cubicBezTo>
                    <a:pt x="353" y="373"/>
                    <a:pt x="354" y="373"/>
                    <a:pt x="354" y="373"/>
                  </a:cubicBezTo>
                  <a:cubicBezTo>
                    <a:pt x="357" y="372"/>
                    <a:pt x="359" y="372"/>
                    <a:pt x="361" y="372"/>
                  </a:cubicBezTo>
                  <a:cubicBezTo>
                    <a:pt x="362" y="372"/>
                    <a:pt x="362" y="372"/>
                    <a:pt x="363" y="372"/>
                  </a:cubicBezTo>
                  <a:cubicBezTo>
                    <a:pt x="365" y="372"/>
                    <a:pt x="366" y="372"/>
                    <a:pt x="368" y="373"/>
                  </a:cubicBezTo>
                  <a:cubicBezTo>
                    <a:pt x="369" y="373"/>
                    <a:pt x="370" y="373"/>
                    <a:pt x="372" y="373"/>
                  </a:cubicBezTo>
                  <a:cubicBezTo>
                    <a:pt x="375" y="373"/>
                    <a:pt x="378" y="373"/>
                    <a:pt x="381" y="373"/>
                  </a:cubicBezTo>
                  <a:cubicBezTo>
                    <a:pt x="381" y="373"/>
                    <a:pt x="382" y="373"/>
                    <a:pt x="383" y="373"/>
                  </a:cubicBezTo>
                  <a:cubicBezTo>
                    <a:pt x="383" y="373"/>
                    <a:pt x="383" y="373"/>
                    <a:pt x="383" y="373"/>
                  </a:cubicBezTo>
                  <a:cubicBezTo>
                    <a:pt x="385" y="374"/>
                    <a:pt x="385" y="374"/>
                    <a:pt x="386" y="376"/>
                  </a:cubicBezTo>
                  <a:cubicBezTo>
                    <a:pt x="387" y="376"/>
                    <a:pt x="387" y="376"/>
                    <a:pt x="387" y="376"/>
                  </a:cubicBezTo>
                  <a:cubicBezTo>
                    <a:pt x="388" y="378"/>
                    <a:pt x="390" y="378"/>
                    <a:pt x="393" y="379"/>
                  </a:cubicBezTo>
                  <a:cubicBezTo>
                    <a:pt x="395" y="380"/>
                    <a:pt x="398" y="380"/>
                    <a:pt x="400" y="381"/>
                  </a:cubicBezTo>
                  <a:cubicBezTo>
                    <a:pt x="400" y="381"/>
                    <a:pt x="400" y="381"/>
                    <a:pt x="400" y="381"/>
                  </a:cubicBezTo>
                  <a:cubicBezTo>
                    <a:pt x="401" y="381"/>
                    <a:pt x="401" y="381"/>
                    <a:pt x="401" y="381"/>
                  </a:cubicBezTo>
                  <a:cubicBezTo>
                    <a:pt x="403" y="381"/>
                    <a:pt x="405" y="380"/>
                    <a:pt x="407" y="380"/>
                  </a:cubicBezTo>
                  <a:cubicBezTo>
                    <a:pt x="407" y="379"/>
                    <a:pt x="407" y="378"/>
                    <a:pt x="407" y="378"/>
                  </a:cubicBezTo>
                  <a:cubicBezTo>
                    <a:pt x="407" y="377"/>
                    <a:pt x="407" y="377"/>
                    <a:pt x="407" y="377"/>
                  </a:cubicBezTo>
                  <a:cubicBezTo>
                    <a:pt x="408" y="377"/>
                    <a:pt x="408" y="377"/>
                    <a:pt x="408" y="377"/>
                  </a:cubicBezTo>
                  <a:cubicBezTo>
                    <a:pt x="408" y="376"/>
                    <a:pt x="408" y="374"/>
                    <a:pt x="408" y="373"/>
                  </a:cubicBezTo>
                  <a:cubicBezTo>
                    <a:pt x="408" y="373"/>
                    <a:pt x="408" y="373"/>
                    <a:pt x="408" y="373"/>
                  </a:cubicBezTo>
                  <a:cubicBezTo>
                    <a:pt x="409" y="372"/>
                    <a:pt x="409" y="372"/>
                    <a:pt x="409" y="371"/>
                  </a:cubicBezTo>
                  <a:cubicBezTo>
                    <a:pt x="409" y="370"/>
                    <a:pt x="409" y="370"/>
                    <a:pt x="409" y="370"/>
                  </a:cubicBezTo>
                  <a:cubicBezTo>
                    <a:pt x="410" y="365"/>
                    <a:pt x="411" y="361"/>
                    <a:pt x="412" y="357"/>
                  </a:cubicBezTo>
                  <a:cubicBezTo>
                    <a:pt x="413" y="352"/>
                    <a:pt x="414" y="351"/>
                    <a:pt x="417" y="349"/>
                  </a:cubicBezTo>
                  <a:cubicBezTo>
                    <a:pt x="418" y="349"/>
                    <a:pt x="418" y="349"/>
                    <a:pt x="418" y="349"/>
                  </a:cubicBezTo>
                  <a:cubicBezTo>
                    <a:pt x="418" y="349"/>
                    <a:pt x="419" y="348"/>
                    <a:pt x="420" y="347"/>
                  </a:cubicBezTo>
                  <a:cubicBezTo>
                    <a:pt x="420" y="347"/>
                    <a:pt x="420" y="347"/>
                    <a:pt x="420" y="347"/>
                  </a:cubicBezTo>
                  <a:cubicBezTo>
                    <a:pt x="421" y="346"/>
                    <a:pt x="422" y="345"/>
                    <a:pt x="423" y="345"/>
                  </a:cubicBezTo>
                  <a:cubicBezTo>
                    <a:pt x="425" y="344"/>
                    <a:pt x="427" y="343"/>
                    <a:pt x="428" y="343"/>
                  </a:cubicBezTo>
                  <a:cubicBezTo>
                    <a:pt x="438" y="341"/>
                    <a:pt x="438" y="341"/>
                    <a:pt x="438" y="341"/>
                  </a:cubicBezTo>
                  <a:cubicBezTo>
                    <a:pt x="439" y="341"/>
                    <a:pt x="440" y="341"/>
                    <a:pt x="441" y="341"/>
                  </a:cubicBezTo>
                  <a:cubicBezTo>
                    <a:pt x="442" y="341"/>
                    <a:pt x="443" y="341"/>
                    <a:pt x="443" y="340"/>
                  </a:cubicBezTo>
                  <a:cubicBezTo>
                    <a:pt x="445" y="335"/>
                    <a:pt x="445" y="335"/>
                    <a:pt x="445" y="335"/>
                  </a:cubicBezTo>
                  <a:cubicBezTo>
                    <a:pt x="445" y="334"/>
                    <a:pt x="445" y="332"/>
                    <a:pt x="446" y="331"/>
                  </a:cubicBezTo>
                  <a:cubicBezTo>
                    <a:pt x="446" y="331"/>
                    <a:pt x="445" y="331"/>
                    <a:pt x="445" y="331"/>
                  </a:cubicBezTo>
                  <a:cubicBezTo>
                    <a:pt x="445" y="331"/>
                    <a:pt x="445" y="331"/>
                    <a:pt x="444" y="331"/>
                  </a:cubicBezTo>
                  <a:cubicBezTo>
                    <a:pt x="444" y="331"/>
                    <a:pt x="443" y="331"/>
                    <a:pt x="443" y="331"/>
                  </a:cubicBezTo>
                  <a:cubicBezTo>
                    <a:pt x="442" y="331"/>
                    <a:pt x="442" y="331"/>
                    <a:pt x="442" y="331"/>
                  </a:cubicBezTo>
                  <a:cubicBezTo>
                    <a:pt x="441" y="331"/>
                    <a:pt x="441" y="331"/>
                    <a:pt x="440" y="331"/>
                  </a:cubicBezTo>
                  <a:cubicBezTo>
                    <a:pt x="440" y="331"/>
                    <a:pt x="440" y="331"/>
                    <a:pt x="440" y="331"/>
                  </a:cubicBezTo>
                  <a:cubicBezTo>
                    <a:pt x="437" y="330"/>
                    <a:pt x="435" y="329"/>
                    <a:pt x="434" y="326"/>
                  </a:cubicBezTo>
                  <a:cubicBezTo>
                    <a:pt x="434" y="324"/>
                    <a:pt x="434" y="322"/>
                    <a:pt x="434" y="321"/>
                  </a:cubicBezTo>
                  <a:cubicBezTo>
                    <a:pt x="434" y="320"/>
                    <a:pt x="434" y="320"/>
                    <a:pt x="434" y="320"/>
                  </a:cubicBezTo>
                  <a:cubicBezTo>
                    <a:pt x="435" y="311"/>
                    <a:pt x="435" y="311"/>
                    <a:pt x="435" y="311"/>
                  </a:cubicBezTo>
                  <a:cubicBezTo>
                    <a:pt x="435" y="310"/>
                    <a:pt x="435" y="309"/>
                    <a:pt x="435" y="309"/>
                  </a:cubicBezTo>
                  <a:cubicBezTo>
                    <a:pt x="435" y="307"/>
                    <a:pt x="435" y="306"/>
                    <a:pt x="435" y="305"/>
                  </a:cubicBezTo>
                  <a:cubicBezTo>
                    <a:pt x="435" y="305"/>
                    <a:pt x="434" y="305"/>
                    <a:pt x="433" y="304"/>
                  </a:cubicBezTo>
                  <a:cubicBezTo>
                    <a:pt x="433" y="304"/>
                    <a:pt x="433" y="304"/>
                    <a:pt x="433" y="304"/>
                  </a:cubicBezTo>
                  <a:cubicBezTo>
                    <a:pt x="432" y="304"/>
                    <a:pt x="431" y="303"/>
                    <a:pt x="430" y="303"/>
                  </a:cubicBezTo>
                  <a:cubicBezTo>
                    <a:pt x="428" y="302"/>
                    <a:pt x="427" y="302"/>
                    <a:pt x="427" y="302"/>
                  </a:cubicBezTo>
                  <a:cubicBezTo>
                    <a:pt x="426" y="301"/>
                    <a:pt x="425" y="301"/>
                    <a:pt x="425" y="301"/>
                  </a:cubicBezTo>
                  <a:cubicBezTo>
                    <a:pt x="424" y="301"/>
                    <a:pt x="424" y="301"/>
                    <a:pt x="424" y="301"/>
                  </a:cubicBezTo>
                  <a:cubicBezTo>
                    <a:pt x="423" y="300"/>
                    <a:pt x="422" y="300"/>
                    <a:pt x="421" y="300"/>
                  </a:cubicBezTo>
                  <a:cubicBezTo>
                    <a:pt x="419" y="299"/>
                    <a:pt x="415" y="297"/>
                    <a:pt x="414" y="295"/>
                  </a:cubicBezTo>
                  <a:cubicBezTo>
                    <a:pt x="411" y="291"/>
                    <a:pt x="409" y="288"/>
                    <a:pt x="407" y="285"/>
                  </a:cubicBezTo>
                  <a:cubicBezTo>
                    <a:pt x="406" y="284"/>
                    <a:pt x="406" y="284"/>
                    <a:pt x="406" y="284"/>
                  </a:cubicBezTo>
                  <a:cubicBezTo>
                    <a:pt x="401" y="278"/>
                    <a:pt x="396" y="271"/>
                    <a:pt x="391" y="263"/>
                  </a:cubicBezTo>
                  <a:cubicBezTo>
                    <a:pt x="390" y="263"/>
                    <a:pt x="390" y="263"/>
                    <a:pt x="390" y="263"/>
                  </a:cubicBezTo>
                  <a:cubicBezTo>
                    <a:pt x="386" y="262"/>
                    <a:pt x="386" y="262"/>
                    <a:pt x="386" y="262"/>
                  </a:cubicBezTo>
                  <a:cubicBezTo>
                    <a:pt x="390" y="259"/>
                    <a:pt x="390" y="259"/>
                    <a:pt x="390" y="259"/>
                  </a:cubicBezTo>
                  <a:cubicBezTo>
                    <a:pt x="390" y="259"/>
                    <a:pt x="390" y="259"/>
                    <a:pt x="390" y="259"/>
                  </a:cubicBezTo>
                  <a:cubicBezTo>
                    <a:pt x="391" y="258"/>
                    <a:pt x="391" y="258"/>
                    <a:pt x="391" y="258"/>
                  </a:cubicBezTo>
                  <a:cubicBezTo>
                    <a:pt x="392" y="257"/>
                    <a:pt x="393" y="255"/>
                    <a:pt x="394" y="254"/>
                  </a:cubicBezTo>
                  <a:cubicBezTo>
                    <a:pt x="399" y="248"/>
                    <a:pt x="399" y="248"/>
                    <a:pt x="399" y="248"/>
                  </a:cubicBezTo>
                  <a:cubicBezTo>
                    <a:pt x="400" y="247"/>
                    <a:pt x="401" y="246"/>
                    <a:pt x="402" y="245"/>
                  </a:cubicBezTo>
                  <a:cubicBezTo>
                    <a:pt x="403" y="244"/>
                    <a:pt x="403" y="244"/>
                    <a:pt x="403" y="244"/>
                  </a:cubicBezTo>
                  <a:cubicBezTo>
                    <a:pt x="404" y="243"/>
                    <a:pt x="404" y="243"/>
                    <a:pt x="404" y="242"/>
                  </a:cubicBezTo>
                  <a:cubicBezTo>
                    <a:pt x="405" y="241"/>
                    <a:pt x="406" y="240"/>
                    <a:pt x="407" y="240"/>
                  </a:cubicBezTo>
                  <a:cubicBezTo>
                    <a:pt x="408" y="238"/>
                    <a:pt x="410" y="236"/>
                    <a:pt x="411" y="234"/>
                  </a:cubicBezTo>
                  <a:cubicBezTo>
                    <a:pt x="412" y="233"/>
                    <a:pt x="412" y="231"/>
                    <a:pt x="412" y="230"/>
                  </a:cubicBezTo>
                  <a:cubicBezTo>
                    <a:pt x="412" y="230"/>
                    <a:pt x="412" y="229"/>
                    <a:pt x="411" y="229"/>
                  </a:cubicBezTo>
                  <a:cubicBezTo>
                    <a:pt x="411" y="228"/>
                    <a:pt x="411" y="228"/>
                    <a:pt x="410" y="227"/>
                  </a:cubicBezTo>
                  <a:cubicBezTo>
                    <a:pt x="408" y="224"/>
                    <a:pt x="408" y="224"/>
                    <a:pt x="408" y="224"/>
                  </a:cubicBezTo>
                  <a:cubicBezTo>
                    <a:pt x="408" y="224"/>
                    <a:pt x="408" y="224"/>
                    <a:pt x="407" y="223"/>
                  </a:cubicBezTo>
                  <a:cubicBezTo>
                    <a:pt x="395" y="222"/>
                    <a:pt x="395" y="222"/>
                    <a:pt x="395" y="222"/>
                  </a:cubicBezTo>
                  <a:cubicBezTo>
                    <a:pt x="394" y="222"/>
                    <a:pt x="394" y="222"/>
                    <a:pt x="394" y="222"/>
                  </a:cubicBezTo>
                  <a:cubicBezTo>
                    <a:pt x="393" y="221"/>
                    <a:pt x="390" y="221"/>
                    <a:pt x="389" y="218"/>
                  </a:cubicBezTo>
                  <a:cubicBezTo>
                    <a:pt x="389" y="218"/>
                    <a:pt x="389" y="217"/>
                    <a:pt x="389" y="217"/>
                  </a:cubicBezTo>
                  <a:cubicBezTo>
                    <a:pt x="389" y="216"/>
                    <a:pt x="389" y="215"/>
                    <a:pt x="389" y="214"/>
                  </a:cubicBezTo>
                  <a:cubicBezTo>
                    <a:pt x="389" y="214"/>
                    <a:pt x="389" y="214"/>
                    <a:pt x="389" y="214"/>
                  </a:cubicBezTo>
                  <a:cubicBezTo>
                    <a:pt x="389" y="213"/>
                    <a:pt x="389" y="213"/>
                    <a:pt x="389" y="212"/>
                  </a:cubicBezTo>
                  <a:cubicBezTo>
                    <a:pt x="388" y="208"/>
                    <a:pt x="388" y="208"/>
                    <a:pt x="388" y="208"/>
                  </a:cubicBezTo>
                  <a:cubicBezTo>
                    <a:pt x="388" y="206"/>
                    <a:pt x="388" y="204"/>
                    <a:pt x="389" y="202"/>
                  </a:cubicBezTo>
                  <a:cubicBezTo>
                    <a:pt x="389" y="201"/>
                    <a:pt x="389" y="200"/>
                    <a:pt x="389" y="198"/>
                  </a:cubicBezTo>
                  <a:cubicBezTo>
                    <a:pt x="389" y="198"/>
                    <a:pt x="389" y="197"/>
                    <a:pt x="389" y="196"/>
                  </a:cubicBezTo>
                  <a:cubicBezTo>
                    <a:pt x="388" y="195"/>
                    <a:pt x="388" y="195"/>
                    <a:pt x="388" y="195"/>
                  </a:cubicBezTo>
                  <a:cubicBezTo>
                    <a:pt x="388" y="194"/>
                    <a:pt x="387" y="193"/>
                    <a:pt x="387" y="192"/>
                  </a:cubicBezTo>
                  <a:cubicBezTo>
                    <a:pt x="385" y="184"/>
                    <a:pt x="385" y="184"/>
                    <a:pt x="385" y="184"/>
                  </a:cubicBezTo>
                  <a:cubicBezTo>
                    <a:pt x="385" y="183"/>
                    <a:pt x="385" y="183"/>
                    <a:pt x="385" y="182"/>
                  </a:cubicBezTo>
                  <a:cubicBezTo>
                    <a:pt x="383" y="176"/>
                    <a:pt x="383" y="176"/>
                    <a:pt x="383" y="176"/>
                  </a:cubicBezTo>
                  <a:cubicBezTo>
                    <a:pt x="383" y="173"/>
                    <a:pt x="385" y="170"/>
                    <a:pt x="388" y="167"/>
                  </a:cubicBezTo>
                  <a:cubicBezTo>
                    <a:pt x="388" y="167"/>
                    <a:pt x="388" y="167"/>
                    <a:pt x="388" y="167"/>
                  </a:cubicBezTo>
                  <a:cubicBezTo>
                    <a:pt x="386" y="167"/>
                    <a:pt x="384" y="166"/>
                    <a:pt x="383" y="164"/>
                  </a:cubicBezTo>
                  <a:cubicBezTo>
                    <a:pt x="382" y="163"/>
                    <a:pt x="382" y="162"/>
                    <a:pt x="381" y="161"/>
                  </a:cubicBezTo>
                  <a:cubicBezTo>
                    <a:pt x="381" y="160"/>
                    <a:pt x="381" y="160"/>
                    <a:pt x="381" y="160"/>
                  </a:cubicBezTo>
                  <a:cubicBezTo>
                    <a:pt x="381" y="159"/>
                    <a:pt x="381" y="157"/>
                    <a:pt x="381" y="156"/>
                  </a:cubicBezTo>
                  <a:cubicBezTo>
                    <a:pt x="381" y="153"/>
                    <a:pt x="381" y="151"/>
                    <a:pt x="381" y="150"/>
                  </a:cubicBezTo>
                  <a:cubicBezTo>
                    <a:pt x="381" y="150"/>
                    <a:pt x="381" y="150"/>
                    <a:pt x="381" y="150"/>
                  </a:cubicBezTo>
                  <a:cubicBezTo>
                    <a:pt x="380" y="150"/>
                    <a:pt x="380" y="150"/>
                    <a:pt x="380" y="150"/>
                  </a:cubicBezTo>
                  <a:cubicBezTo>
                    <a:pt x="388" y="142"/>
                    <a:pt x="388" y="142"/>
                    <a:pt x="388" y="142"/>
                  </a:cubicBezTo>
                  <a:cubicBezTo>
                    <a:pt x="388" y="142"/>
                    <a:pt x="387" y="141"/>
                    <a:pt x="387" y="141"/>
                  </a:cubicBezTo>
                  <a:cubicBezTo>
                    <a:pt x="385" y="139"/>
                    <a:pt x="385" y="139"/>
                    <a:pt x="385" y="139"/>
                  </a:cubicBezTo>
                  <a:cubicBezTo>
                    <a:pt x="387" y="137"/>
                    <a:pt x="387" y="137"/>
                    <a:pt x="387" y="137"/>
                  </a:cubicBezTo>
                  <a:cubicBezTo>
                    <a:pt x="388" y="136"/>
                    <a:pt x="389" y="134"/>
                    <a:pt x="391" y="133"/>
                  </a:cubicBezTo>
                  <a:cubicBezTo>
                    <a:pt x="392" y="132"/>
                    <a:pt x="392" y="132"/>
                    <a:pt x="392" y="132"/>
                  </a:cubicBezTo>
                  <a:cubicBezTo>
                    <a:pt x="394" y="130"/>
                    <a:pt x="394" y="130"/>
                    <a:pt x="394" y="129"/>
                  </a:cubicBezTo>
                  <a:cubicBezTo>
                    <a:pt x="394" y="127"/>
                    <a:pt x="394" y="127"/>
                    <a:pt x="394" y="127"/>
                  </a:cubicBezTo>
                  <a:cubicBezTo>
                    <a:pt x="395" y="126"/>
                    <a:pt x="395" y="126"/>
                    <a:pt x="395" y="126"/>
                  </a:cubicBezTo>
                  <a:cubicBezTo>
                    <a:pt x="395" y="126"/>
                    <a:pt x="395" y="126"/>
                    <a:pt x="395" y="126"/>
                  </a:cubicBezTo>
                  <a:cubicBezTo>
                    <a:pt x="395" y="125"/>
                    <a:pt x="395" y="124"/>
                    <a:pt x="396" y="123"/>
                  </a:cubicBezTo>
                  <a:cubicBezTo>
                    <a:pt x="398" y="115"/>
                    <a:pt x="398" y="115"/>
                    <a:pt x="398" y="115"/>
                  </a:cubicBezTo>
                  <a:cubicBezTo>
                    <a:pt x="401" y="112"/>
                    <a:pt x="401" y="112"/>
                    <a:pt x="401" y="112"/>
                  </a:cubicBezTo>
                  <a:cubicBezTo>
                    <a:pt x="401" y="112"/>
                    <a:pt x="401" y="112"/>
                    <a:pt x="401" y="112"/>
                  </a:cubicBezTo>
                  <a:cubicBezTo>
                    <a:pt x="400" y="111"/>
                    <a:pt x="400" y="111"/>
                    <a:pt x="399" y="110"/>
                  </a:cubicBezTo>
                  <a:cubicBezTo>
                    <a:pt x="399" y="109"/>
                    <a:pt x="399" y="109"/>
                    <a:pt x="399" y="109"/>
                  </a:cubicBezTo>
                  <a:cubicBezTo>
                    <a:pt x="399" y="108"/>
                    <a:pt x="399" y="107"/>
                    <a:pt x="399" y="107"/>
                  </a:cubicBezTo>
                  <a:cubicBezTo>
                    <a:pt x="398" y="106"/>
                    <a:pt x="398" y="106"/>
                    <a:pt x="398" y="105"/>
                  </a:cubicBezTo>
                  <a:cubicBezTo>
                    <a:pt x="397" y="103"/>
                    <a:pt x="397" y="103"/>
                    <a:pt x="397" y="103"/>
                  </a:cubicBezTo>
                  <a:cubicBezTo>
                    <a:pt x="397" y="100"/>
                    <a:pt x="397" y="97"/>
                    <a:pt x="397" y="95"/>
                  </a:cubicBezTo>
                  <a:cubicBezTo>
                    <a:pt x="397" y="94"/>
                    <a:pt x="397" y="94"/>
                    <a:pt x="397" y="94"/>
                  </a:cubicBezTo>
                  <a:cubicBezTo>
                    <a:pt x="397" y="93"/>
                    <a:pt x="397" y="92"/>
                    <a:pt x="397" y="92"/>
                  </a:cubicBezTo>
                  <a:cubicBezTo>
                    <a:pt x="397" y="91"/>
                    <a:pt x="397" y="91"/>
                    <a:pt x="397" y="91"/>
                  </a:cubicBezTo>
                  <a:cubicBezTo>
                    <a:pt x="397" y="89"/>
                    <a:pt x="397" y="86"/>
                    <a:pt x="397" y="85"/>
                  </a:cubicBezTo>
                  <a:cubicBezTo>
                    <a:pt x="397" y="85"/>
                    <a:pt x="397" y="85"/>
                    <a:pt x="397" y="85"/>
                  </a:cubicBezTo>
                  <a:cubicBezTo>
                    <a:pt x="396" y="84"/>
                    <a:pt x="394" y="84"/>
                    <a:pt x="393" y="84"/>
                  </a:cubicBezTo>
                  <a:cubicBezTo>
                    <a:pt x="393" y="84"/>
                    <a:pt x="392" y="84"/>
                    <a:pt x="391" y="84"/>
                  </a:cubicBezTo>
                  <a:cubicBezTo>
                    <a:pt x="389" y="84"/>
                    <a:pt x="389" y="84"/>
                    <a:pt x="389" y="84"/>
                  </a:cubicBezTo>
                  <a:cubicBezTo>
                    <a:pt x="387" y="85"/>
                    <a:pt x="386" y="85"/>
                    <a:pt x="385" y="85"/>
                  </a:cubicBezTo>
                  <a:cubicBezTo>
                    <a:pt x="385" y="88"/>
                    <a:pt x="385" y="88"/>
                    <a:pt x="385" y="88"/>
                  </a:cubicBezTo>
                  <a:cubicBezTo>
                    <a:pt x="384" y="85"/>
                    <a:pt x="384" y="85"/>
                    <a:pt x="384" y="85"/>
                  </a:cubicBezTo>
                  <a:cubicBezTo>
                    <a:pt x="383" y="85"/>
                    <a:pt x="383" y="85"/>
                    <a:pt x="383" y="85"/>
                  </a:cubicBezTo>
                  <a:cubicBezTo>
                    <a:pt x="382" y="85"/>
                    <a:pt x="380" y="84"/>
                    <a:pt x="379" y="84"/>
                  </a:cubicBezTo>
                  <a:cubicBezTo>
                    <a:pt x="379" y="84"/>
                    <a:pt x="378" y="83"/>
                    <a:pt x="378" y="83"/>
                  </a:cubicBezTo>
                  <a:cubicBezTo>
                    <a:pt x="377" y="82"/>
                    <a:pt x="377" y="82"/>
                    <a:pt x="377" y="82"/>
                  </a:cubicBezTo>
                  <a:cubicBezTo>
                    <a:pt x="376" y="82"/>
                    <a:pt x="376" y="81"/>
                    <a:pt x="375" y="80"/>
                  </a:cubicBezTo>
                  <a:cubicBezTo>
                    <a:pt x="374" y="78"/>
                    <a:pt x="374" y="78"/>
                    <a:pt x="374" y="78"/>
                  </a:cubicBezTo>
                  <a:cubicBezTo>
                    <a:pt x="373" y="77"/>
                    <a:pt x="373" y="77"/>
                    <a:pt x="372" y="76"/>
                  </a:cubicBezTo>
                  <a:cubicBezTo>
                    <a:pt x="372" y="75"/>
                    <a:pt x="372" y="75"/>
                    <a:pt x="372" y="75"/>
                  </a:cubicBezTo>
                  <a:cubicBezTo>
                    <a:pt x="372" y="75"/>
                    <a:pt x="371" y="75"/>
                    <a:pt x="371" y="74"/>
                  </a:cubicBezTo>
                  <a:cubicBezTo>
                    <a:pt x="370" y="74"/>
                    <a:pt x="370" y="74"/>
                    <a:pt x="370" y="74"/>
                  </a:cubicBezTo>
                  <a:cubicBezTo>
                    <a:pt x="369" y="73"/>
                    <a:pt x="367" y="73"/>
                    <a:pt x="365" y="72"/>
                  </a:cubicBezTo>
                  <a:cubicBezTo>
                    <a:pt x="365" y="72"/>
                    <a:pt x="365" y="72"/>
                    <a:pt x="365" y="72"/>
                  </a:cubicBezTo>
                  <a:cubicBezTo>
                    <a:pt x="364" y="72"/>
                    <a:pt x="363" y="72"/>
                    <a:pt x="362" y="72"/>
                  </a:cubicBezTo>
                  <a:cubicBezTo>
                    <a:pt x="362" y="71"/>
                    <a:pt x="362" y="71"/>
                    <a:pt x="362" y="71"/>
                  </a:cubicBezTo>
                  <a:cubicBezTo>
                    <a:pt x="361" y="71"/>
                    <a:pt x="361" y="71"/>
                    <a:pt x="361" y="71"/>
                  </a:cubicBezTo>
                  <a:cubicBezTo>
                    <a:pt x="360" y="70"/>
                    <a:pt x="360" y="70"/>
                    <a:pt x="360" y="70"/>
                  </a:cubicBezTo>
                  <a:cubicBezTo>
                    <a:pt x="360" y="69"/>
                    <a:pt x="360" y="69"/>
                    <a:pt x="359" y="68"/>
                  </a:cubicBezTo>
                  <a:cubicBezTo>
                    <a:pt x="358" y="66"/>
                    <a:pt x="358" y="66"/>
                    <a:pt x="358" y="66"/>
                  </a:cubicBezTo>
                  <a:cubicBezTo>
                    <a:pt x="357" y="65"/>
                    <a:pt x="357" y="63"/>
                    <a:pt x="356" y="62"/>
                  </a:cubicBezTo>
                  <a:cubicBezTo>
                    <a:pt x="355" y="61"/>
                    <a:pt x="355" y="61"/>
                    <a:pt x="355" y="61"/>
                  </a:cubicBezTo>
                  <a:cubicBezTo>
                    <a:pt x="354" y="59"/>
                    <a:pt x="351" y="58"/>
                    <a:pt x="347" y="58"/>
                  </a:cubicBezTo>
                  <a:cubicBezTo>
                    <a:pt x="347" y="58"/>
                    <a:pt x="346" y="58"/>
                    <a:pt x="346" y="58"/>
                  </a:cubicBezTo>
                  <a:cubicBezTo>
                    <a:pt x="345" y="58"/>
                    <a:pt x="344" y="58"/>
                    <a:pt x="343" y="58"/>
                  </a:cubicBezTo>
                  <a:cubicBezTo>
                    <a:pt x="337" y="58"/>
                    <a:pt x="337" y="58"/>
                    <a:pt x="337" y="58"/>
                  </a:cubicBezTo>
                  <a:cubicBezTo>
                    <a:pt x="337" y="58"/>
                    <a:pt x="337" y="58"/>
                    <a:pt x="337" y="58"/>
                  </a:cubicBezTo>
                  <a:cubicBezTo>
                    <a:pt x="336" y="58"/>
                    <a:pt x="336" y="58"/>
                    <a:pt x="336" y="58"/>
                  </a:cubicBezTo>
                  <a:cubicBezTo>
                    <a:pt x="334" y="58"/>
                    <a:pt x="334" y="58"/>
                    <a:pt x="334" y="58"/>
                  </a:cubicBezTo>
                  <a:cubicBezTo>
                    <a:pt x="334" y="58"/>
                    <a:pt x="334" y="58"/>
                    <a:pt x="334" y="58"/>
                  </a:cubicBezTo>
                  <a:cubicBezTo>
                    <a:pt x="333" y="58"/>
                    <a:pt x="333" y="58"/>
                    <a:pt x="332" y="58"/>
                  </a:cubicBezTo>
                  <a:cubicBezTo>
                    <a:pt x="331" y="57"/>
                    <a:pt x="331" y="57"/>
                    <a:pt x="330" y="57"/>
                  </a:cubicBezTo>
                  <a:cubicBezTo>
                    <a:pt x="329" y="57"/>
                    <a:pt x="329" y="57"/>
                    <a:pt x="329" y="56"/>
                  </a:cubicBezTo>
                  <a:cubicBezTo>
                    <a:pt x="325" y="53"/>
                    <a:pt x="325" y="53"/>
                    <a:pt x="325" y="53"/>
                  </a:cubicBezTo>
                  <a:cubicBezTo>
                    <a:pt x="324" y="53"/>
                    <a:pt x="323" y="52"/>
                    <a:pt x="322" y="52"/>
                  </a:cubicBezTo>
                  <a:cubicBezTo>
                    <a:pt x="320" y="51"/>
                    <a:pt x="320" y="51"/>
                    <a:pt x="320" y="51"/>
                  </a:cubicBezTo>
                  <a:cubicBezTo>
                    <a:pt x="320" y="51"/>
                    <a:pt x="319" y="51"/>
                    <a:pt x="318" y="51"/>
                  </a:cubicBezTo>
                  <a:cubicBezTo>
                    <a:pt x="316" y="50"/>
                    <a:pt x="315" y="50"/>
                    <a:pt x="313" y="50"/>
                  </a:cubicBezTo>
                  <a:cubicBezTo>
                    <a:pt x="312" y="50"/>
                    <a:pt x="312" y="50"/>
                    <a:pt x="312" y="50"/>
                  </a:cubicBezTo>
                  <a:cubicBezTo>
                    <a:pt x="310" y="49"/>
                    <a:pt x="308" y="48"/>
                    <a:pt x="307" y="46"/>
                  </a:cubicBezTo>
                  <a:cubicBezTo>
                    <a:pt x="307" y="45"/>
                    <a:pt x="307" y="45"/>
                    <a:pt x="307" y="45"/>
                  </a:cubicBezTo>
                  <a:cubicBezTo>
                    <a:pt x="302" y="48"/>
                    <a:pt x="302" y="48"/>
                    <a:pt x="302" y="48"/>
                  </a:cubicBezTo>
                  <a:cubicBezTo>
                    <a:pt x="306" y="44"/>
                    <a:pt x="306" y="44"/>
                    <a:pt x="306" y="44"/>
                  </a:cubicBezTo>
                  <a:cubicBezTo>
                    <a:pt x="306" y="44"/>
                    <a:pt x="306" y="44"/>
                    <a:pt x="306" y="44"/>
                  </a:cubicBezTo>
                  <a:cubicBezTo>
                    <a:pt x="305" y="41"/>
                    <a:pt x="305" y="41"/>
                    <a:pt x="304" y="41"/>
                  </a:cubicBezTo>
                  <a:cubicBezTo>
                    <a:pt x="303" y="41"/>
                    <a:pt x="302" y="41"/>
                    <a:pt x="301" y="41"/>
                  </a:cubicBezTo>
                  <a:cubicBezTo>
                    <a:pt x="300" y="41"/>
                    <a:pt x="300" y="41"/>
                    <a:pt x="300" y="41"/>
                  </a:cubicBezTo>
                  <a:cubicBezTo>
                    <a:pt x="299" y="41"/>
                    <a:pt x="298" y="41"/>
                    <a:pt x="297" y="41"/>
                  </a:cubicBezTo>
                  <a:cubicBezTo>
                    <a:pt x="296" y="41"/>
                    <a:pt x="296" y="41"/>
                    <a:pt x="296" y="41"/>
                  </a:cubicBezTo>
                  <a:cubicBezTo>
                    <a:pt x="296" y="41"/>
                    <a:pt x="295" y="41"/>
                    <a:pt x="295" y="41"/>
                  </a:cubicBezTo>
                  <a:cubicBezTo>
                    <a:pt x="293" y="41"/>
                    <a:pt x="292" y="41"/>
                    <a:pt x="291" y="41"/>
                  </a:cubicBezTo>
                  <a:cubicBezTo>
                    <a:pt x="290" y="41"/>
                    <a:pt x="290" y="41"/>
                    <a:pt x="290" y="41"/>
                  </a:cubicBezTo>
                  <a:cubicBezTo>
                    <a:pt x="290" y="41"/>
                    <a:pt x="290" y="41"/>
                    <a:pt x="290" y="41"/>
                  </a:cubicBezTo>
                  <a:cubicBezTo>
                    <a:pt x="289" y="41"/>
                    <a:pt x="289" y="41"/>
                    <a:pt x="289" y="41"/>
                  </a:cubicBezTo>
                  <a:cubicBezTo>
                    <a:pt x="287" y="44"/>
                    <a:pt x="285" y="46"/>
                    <a:pt x="282" y="46"/>
                  </a:cubicBezTo>
                  <a:cubicBezTo>
                    <a:pt x="281" y="46"/>
                    <a:pt x="281" y="46"/>
                    <a:pt x="281" y="46"/>
                  </a:cubicBezTo>
                  <a:cubicBezTo>
                    <a:pt x="281" y="51"/>
                    <a:pt x="281" y="51"/>
                    <a:pt x="281" y="51"/>
                  </a:cubicBezTo>
                  <a:cubicBezTo>
                    <a:pt x="280" y="46"/>
                    <a:pt x="280" y="46"/>
                    <a:pt x="280" y="46"/>
                  </a:cubicBezTo>
                  <a:cubicBezTo>
                    <a:pt x="278" y="46"/>
                    <a:pt x="277" y="46"/>
                    <a:pt x="275" y="46"/>
                  </a:cubicBezTo>
                  <a:cubicBezTo>
                    <a:pt x="275" y="46"/>
                    <a:pt x="274" y="46"/>
                    <a:pt x="273" y="46"/>
                  </a:cubicBezTo>
                  <a:cubicBezTo>
                    <a:pt x="269" y="46"/>
                    <a:pt x="266" y="47"/>
                    <a:pt x="263" y="48"/>
                  </a:cubicBezTo>
                  <a:cubicBezTo>
                    <a:pt x="232" y="78"/>
                    <a:pt x="232" y="78"/>
                    <a:pt x="232" y="78"/>
                  </a:cubicBezTo>
                  <a:cubicBezTo>
                    <a:pt x="231" y="77"/>
                    <a:pt x="231" y="77"/>
                    <a:pt x="231" y="77"/>
                  </a:cubicBezTo>
                  <a:cubicBezTo>
                    <a:pt x="230" y="77"/>
                    <a:pt x="230" y="77"/>
                    <a:pt x="229" y="77"/>
                  </a:cubicBezTo>
                  <a:cubicBezTo>
                    <a:pt x="229" y="77"/>
                    <a:pt x="228" y="77"/>
                    <a:pt x="228" y="77"/>
                  </a:cubicBezTo>
                  <a:cubicBezTo>
                    <a:pt x="226" y="77"/>
                    <a:pt x="224" y="77"/>
                    <a:pt x="222" y="76"/>
                  </a:cubicBezTo>
                  <a:cubicBezTo>
                    <a:pt x="222" y="76"/>
                    <a:pt x="223" y="76"/>
                    <a:pt x="223" y="76"/>
                  </a:cubicBezTo>
                  <a:cubicBezTo>
                    <a:pt x="225" y="76"/>
                    <a:pt x="226" y="75"/>
                    <a:pt x="228" y="75"/>
                  </a:cubicBezTo>
                  <a:cubicBezTo>
                    <a:pt x="226" y="75"/>
                    <a:pt x="224" y="75"/>
                    <a:pt x="222" y="75"/>
                  </a:cubicBezTo>
                  <a:cubicBezTo>
                    <a:pt x="218" y="76"/>
                    <a:pt x="215" y="76"/>
                    <a:pt x="211" y="77"/>
                  </a:cubicBezTo>
                  <a:cubicBezTo>
                    <a:pt x="207" y="78"/>
                    <a:pt x="203" y="79"/>
                    <a:pt x="200" y="80"/>
                  </a:cubicBezTo>
                  <a:cubicBezTo>
                    <a:pt x="198" y="80"/>
                    <a:pt x="196" y="80"/>
                    <a:pt x="194" y="81"/>
                  </a:cubicBezTo>
                  <a:cubicBezTo>
                    <a:pt x="192" y="81"/>
                    <a:pt x="190" y="82"/>
                    <a:pt x="188" y="82"/>
                  </a:cubicBezTo>
                  <a:cubicBezTo>
                    <a:pt x="186" y="83"/>
                    <a:pt x="184" y="83"/>
                    <a:pt x="182" y="83"/>
                  </a:cubicBezTo>
                  <a:cubicBezTo>
                    <a:pt x="180" y="83"/>
                    <a:pt x="179" y="83"/>
                    <a:pt x="178" y="83"/>
                  </a:cubicBezTo>
                  <a:cubicBezTo>
                    <a:pt x="177" y="83"/>
                    <a:pt x="176" y="83"/>
                    <a:pt x="175" y="82"/>
                  </a:cubicBezTo>
                  <a:cubicBezTo>
                    <a:pt x="173" y="82"/>
                    <a:pt x="172" y="81"/>
                    <a:pt x="171" y="81"/>
                  </a:cubicBezTo>
                  <a:cubicBezTo>
                    <a:pt x="168" y="80"/>
                    <a:pt x="166" y="80"/>
                    <a:pt x="164" y="79"/>
                  </a:cubicBezTo>
                  <a:cubicBezTo>
                    <a:pt x="162" y="78"/>
                    <a:pt x="159" y="77"/>
                    <a:pt x="157" y="76"/>
                  </a:cubicBezTo>
                  <a:cubicBezTo>
                    <a:pt x="157" y="76"/>
                    <a:pt x="157" y="76"/>
                    <a:pt x="157" y="76"/>
                  </a:cubicBezTo>
                  <a:cubicBezTo>
                    <a:pt x="155" y="76"/>
                    <a:pt x="153" y="75"/>
                    <a:pt x="151" y="73"/>
                  </a:cubicBezTo>
                  <a:cubicBezTo>
                    <a:pt x="149" y="72"/>
                    <a:pt x="147" y="71"/>
                    <a:pt x="146" y="70"/>
                  </a:cubicBezTo>
                  <a:cubicBezTo>
                    <a:pt x="145" y="68"/>
                    <a:pt x="144" y="67"/>
                    <a:pt x="143" y="66"/>
                  </a:cubicBezTo>
                  <a:cubicBezTo>
                    <a:pt x="143" y="66"/>
                    <a:pt x="142" y="65"/>
                    <a:pt x="142" y="64"/>
                  </a:cubicBezTo>
                  <a:cubicBezTo>
                    <a:pt x="140" y="63"/>
                    <a:pt x="138" y="62"/>
                    <a:pt x="136" y="61"/>
                  </a:cubicBezTo>
                  <a:cubicBezTo>
                    <a:pt x="133" y="61"/>
                    <a:pt x="130" y="60"/>
                    <a:pt x="128" y="59"/>
                  </a:cubicBezTo>
                  <a:cubicBezTo>
                    <a:pt x="128" y="59"/>
                    <a:pt x="128" y="59"/>
                    <a:pt x="128" y="59"/>
                  </a:cubicBezTo>
                  <a:cubicBezTo>
                    <a:pt x="126" y="59"/>
                    <a:pt x="123" y="58"/>
                    <a:pt x="121" y="58"/>
                  </a:cubicBezTo>
                  <a:cubicBezTo>
                    <a:pt x="119" y="57"/>
                    <a:pt x="117" y="56"/>
                    <a:pt x="115" y="54"/>
                  </a:cubicBezTo>
                  <a:cubicBezTo>
                    <a:pt x="115" y="54"/>
                    <a:pt x="114" y="53"/>
                    <a:pt x="114" y="52"/>
                  </a:cubicBezTo>
                  <a:cubicBezTo>
                    <a:pt x="114" y="50"/>
                    <a:pt x="113" y="49"/>
                    <a:pt x="113" y="48"/>
                  </a:cubicBezTo>
                  <a:cubicBezTo>
                    <a:pt x="112" y="45"/>
                    <a:pt x="112" y="43"/>
                    <a:pt x="111" y="40"/>
                  </a:cubicBezTo>
                  <a:cubicBezTo>
                    <a:pt x="111" y="39"/>
                    <a:pt x="111" y="37"/>
                    <a:pt x="111" y="36"/>
                  </a:cubicBezTo>
                  <a:cubicBezTo>
                    <a:pt x="109" y="36"/>
                    <a:pt x="109" y="36"/>
                    <a:pt x="109" y="36"/>
                  </a:cubicBezTo>
                  <a:cubicBezTo>
                    <a:pt x="109" y="36"/>
                    <a:pt x="108" y="36"/>
                    <a:pt x="108" y="36"/>
                  </a:cubicBezTo>
                  <a:cubicBezTo>
                    <a:pt x="108" y="36"/>
                    <a:pt x="108" y="36"/>
                    <a:pt x="108" y="36"/>
                  </a:cubicBezTo>
                  <a:cubicBezTo>
                    <a:pt x="107" y="37"/>
                    <a:pt x="106" y="37"/>
                    <a:pt x="106" y="37"/>
                  </a:cubicBezTo>
                  <a:cubicBezTo>
                    <a:pt x="106" y="37"/>
                    <a:pt x="106" y="37"/>
                    <a:pt x="106" y="37"/>
                  </a:cubicBezTo>
                  <a:cubicBezTo>
                    <a:pt x="105" y="37"/>
                    <a:pt x="105" y="37"/>
                    <a:pt x="105" y="37"/>
                  </a:cubicBezTo>
                  <a:cubicBezTo>
                    <a:pt x="105" y="37"/>
                    <a:pt x="105" y="37"/>
                    <a:pt x="104" y="37"/>
                  </a:cubicBezTo>
                  <a:cubicBezTo>
                    <a:pt x="104" y="37"/>
                    <a:pt x="104" y="37"/>
                    <a:pt x="104" y="37"/>
                  </a:cubicBezTo>
                  <a:cubicBezTo>
                    <a:pt x="104" y="37"/>
                    <a:pt x="104" y="37"/>
                    <a:pt x="104" y="37"/>
                  </a:cubicBezTo>
                  <a:cubicBezTo>
                    <a:pt x="103" y="37"/>
                    <a:pt x="103" y="37"/>
                    <a:pt x="102" y="36"/>
                  </a:cubicBezTo>
                  <a:cubicBezTo>
                    <a:pt x="101" y="36"/>
                    <a:pt x="100" y="34"/>
                    <a:pt x="100" y="33"/>
                  </a:cubicBezTo>
                  <a:cubicBezTo>
                    <a:pt x="99" y="33"/>
                    <a:pt x="99" y="32"/>
                    <a:pt x="99" y="32"/>
                  </a:cubicBezTo>
                  <a:cubicBezTo>
                    <a:pt x="99" y="32"/>
                    <a:pt x="98" y="32"/>
                    <a:pt x="98" y="31"/>
                  </a:cubicBezTo>
                  <a:cubicBezTo>
                    <a:pt x="96" y="31"/>
                    <a:pt x="96" y="30"/>
                    <a:pt x="95" y="29"/>
                  </a:cubicBezTo>
                  <a:cubicBezTo>
                    <a:pt x="94" y="29"/>
                    <a:pt x="94" y="29"/>
                    <a:pt x="93" y="28"/>
                  </a:cubicBezTo>
                  <a:cubicBezTo>
                    <a:pt x="93" y="28"/>
                    <a:pt x="93" y="28"/>
                    <a:pt x="93" y="28"/>
                  </a:cubicBezTo>
                  <a:cubicBezTo>
                    <a:pt x="93" y="27"/>
                    <a:pt x="93" y="27"/>
                    <a:pt x="93" y="27"/>
                  </a:cubicBezTo>
                  <a:cubicBezTo>
                    <a:pt x="85" y="21"/>
                    <a:pt x="85" y="21"/>
                    <a:pt x="85" y="21"/>
                  </a:cubicBezTo>
                  <a:cubicBezTo>
                    <a:pt x="93" y="16"/>
                    <a:pt x="93" y="16"/>
                    <a:pt x="93" y="16"/>
                  </a:cubicBezTo>
                  <a:cubicBezTo>
                    <a:pt x="91" y="15"/>
                    <a:pt x="90" y="13"/>
                    <a:pt x="91" y="10"/>
                  </a:cubicBezTo>
                  <a:cubicBezTo>
                    <a:pt x="92" y="10"/>
                    <a:pt x="92" y="9"/>
                    <a:pt x="93" y="8"/>
                  </a:cubicBezTo>
                  <a:cubicBezTo>
                    <a:pt x="93" y="7"/>
                    <a:pt x="93" y="7"/>
                    <a:pt x="93" y="7"/>
                  </a:cubicBezTo>
                  <a:cubicBezTo>
                    <a:pt x="93" y="7"/>
                    <a:pt x="93" y="7"/>
                    <a:pt x="93" y="7"/>
                  </a:cubicBezTo>
                  <a:cubicBezTo>
                    <a:pt x="92" y="5"/>
                    <a:pt x="92" y="5"/>
                    <a:pt x="92" y="5"/>
                  </a:cubicBezTo>
                  <a:cubicBezTo>
                    <a:pt x="90" y="2"/>
                    <a:pt x="89" y="1"/>
                    <a:pt x="89" y="1"/>
                  </a:cubicBezTo>
                  <a:cubicBezTo>
                    <a:pt x="88" y="1"/>
                    <a:pt x="87" y="2"/>
                    <a:pt x="84" y="3"/>
                  </a:cubicBezTo>
                  <a:cubicBezTo>
                    <a:pt x="84" y="4"/>
                    <a:pt x="84" y="4"/>
                    <a:pt x="84" y="4"/>
                  </a:cubicBezTo>
                  <a:cubicBezTo>
                    <a:pt x="80" y="6"/>
                    <a:pt x="77" y="8"/>
                    <a:pt x="74" y="10"/>
                  </a:cubicBezTo>
                  <a:cubicBezTo>
                    <a:pt x="72" y="11"/>
                    <a:pt x="72" y="11"/>
                    <a:pt x="72" y="11"/>
                  </a:cubicBezTo>
                  <a:cubicBezTo>
                    <a:pt x="71" y="12"/>
                    <a:pt x="70" y="12"/>
                    <a:pt x="69" y="13"/>
                  </a:cubicBezTo>
                  <a:cubicBezTo>
                    <a:pt x="67" y="14"/>
                    <a:pt x="66" y="15"/>
                    <a:pt x="64" y="17"/>
                  </a:cubicBezTo>
                  <a:cubicBezTo>
                    <a:pt x="64" y="17"/>
                    <a:pt x="63" y="18"/>
                    <a:pt x="63" y="18"/>
                  </a:cubicBezTo>
                  <a:cubicBezTo>
                    <a:pt x="62" y="19"/>
                    <a:pt x="62" y="19"/>
                    <a:pt x="62" y="19"/>
                  </a:cubicBezTo>
                  <a:cubicBezTo>
                    <a:pt x="60" y="21"/>
                    <a:pt x="60" y="21"/>
                    <a:pt x="60" y="21"/>
                  </a:cubicBezTo>
                  <a:cubicBezTo>
                    <a:pt x="59" y="21"/>
                    <a:pt x="59" y="22"/>
                    <a:pt x="58" y="23"/>
                  </a:cubicBezTo>
                  <a:cubicBezTo>
                    <a:pt x="57" y="23"/>
                    <a:pt x="57" y="23"/>
                    <a:pt x="57" y="23"/>
                  </a:cubicBezTo>
                  <a:cubicBezTo>
                    <a:pt x="54" y="29"/>
                    <a:pt x="54" y="29"/>
                    <a:pt x="54" y="29"/>
                  </a:cubicBezTo>
                  <a:cubicBezTo>
                    <a:pt x="54" y="27"/>
                    <a:pt x="54" y="27"/>
                    <a:pt x="54" y="27"/>
                  </a:cubicBezTo>
                  <a:cubicBezTo>
                    <a:pt x="54" y="27"/>
                    <a:pt x="54" y="27"/>
                    <a:pt x="54" y="27"/>
                  </a:cubicBezTo>
                  <a:cubicBezTo>
                    <a:pt x="53" y="24"/>
                    <a:pt x="53" y="24"/>
                    <a:pt x="53" y="24"/>
                  </a:cubicBezTo>
                  <a:cubicBezTo>
                    <a:pt x="53" y="24"/>
                    <a:pt x="53" y="24"/>
                    <a:pt x="53" y="24"/>
                  </a:cubicBezTo>
                  <a:cubicBezTo>
                    <a:pt x="53" y="24"/>
                    <a:pt x="53" y="24"/>
                    <a:pt x="53" y="24"/>
                  </a:cubicBezTo>
                  <a:cubicBezTo>
                    <a:pt x="53" y="24"/>
                    <a:pt x="53" y="24"/>
                    <a:pt x="53" y="24"/>
                  </a:cubicBezTo>
                  <a:cubicBezTo>
                    <a:pt x="52" y="24"/>
                    <a:pt x="51" y="24"/>
                    <a:pt x="51" y="24"/>
                  </a:cubicBezTo>
                  <a:cubicBezTo>
                    <a:pt x="50" y="24"/>
                    <a:pt x="50" y="24"/>
                    <a:pt x="50" y="24"/>
                  </a:cubicBezTo>
                  <a:cubicBezTo>
                    <a:pt x="50" y="25"/>
                    <a:pt x="50" y="25"/>
                    <a:pt x="50" y="25"/>
                  </a:cubicBezTo>
                  <a:cubicBezTo>
                    <a:pt x="47" y="25"/>
                    <a:pt x="47" y="25"/>
                    <a:pt x="47" y="25"/>
                  </a:cubicBezTo>
                  <a:cubicBezTo>
                    <a:pt x="47" y="25"/>
                    <a:pt x="43" y="24"/>
                    <a:pt x="40" y="24"/>
                  </a:cubicBezTo>
                  <a:cubicBezTo>
                    <a:pt x="36" y="24"/>
                    <a:pt x="28" y="21"/>
                    <a:pt x="26" y="19"/>
                  </a:cubicBezTo>
                  <a:cubicBezTo>
                    <a:pt x="26" y="18"/>
                    <a:pt x="24" y="16"/>
                    <a:pt x="23" y="15"/>
                  </a:cubicBezTo>
                  <a:cubicBezTo>
                    <a:pt x="23" y="15"/>
                    <a:pt x="23" y="15"/>
                    <a:pt x="23" y="15"/>
                  </a:cubicBezTo>
                  <a:cubicBezTo>
                    <a:pt x="22" y="14"/>
                    <a:pt x="21" y="14"/>
                    <a:pt x="21" y="13"/>
                  </a:cubicBezTo>
                  <a:cubicBezTo>
                    <a:pt x="17" y="9"/>
                    <a:pt x="14" y="6"/>
                    <a:pt x="13" y="4"/>
                  </a:cubicBezTo>
                  <a:cubicBezTo>
                    <a:pt x="13" y="4"/>
                    <a:pt x="13" y="4"/>
                    <a:pt x="13" y="4"/>
                  </a:cubicBezTo>
                  <a:cubicBezTo>
                    <a:pt x="12" y="4"/>
                    <a:pt x="12" y="4"/>
                    <a:pt x="12" y="4"/>
                  </a:cubicBezTo>
                  <a:cubicBezTo>
                    <a:pt x="12" y="3"/>
                    <a:pt x="12" y="3"/>
                    <a:pt x="12" y="3"/>
                  </a:cubicBezTo>
                  <a:cubicBezTo>
                    <a:pt x="12" y="2"/>
                    <a:pt x="12" y="2"/>
                    <a:pt x="12" y="2"/>
                  </a:cubicBezTo>
                  <a:cubicBezTo>
                    <a:pt x="12" y="2"/>
                    <a:pt x="12" y="2"/>
                    <a:pt x="12" y="2"/>
                  </a:cubicBezTo>
                  <a:cubicBezTo>
                    <a:pt x="11" y="1"/>
                    <a:pt x="11" y="1"/>
                    <a:pt x="11" y="1"/>
                  </a:cubicBezTo>
                  <a:cubicBezTo>
                    <a:pt x="10" y="0"/>
                    <a:pt x="10" y="0"/>
                    <a:pt x="10" y="0"/>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9" name="Freeform 288">
              <a:extLst>
                <a:ext uri="{FF2B5EF4-FFF2-40B4-BE49-F238E27FC236}">
                  <a16:creationId xmlns:a16="http://schemas.microsoft.com/office/drawing/2014/main" id="{225C320A-B967-4C28-A757-60BF8D3C3878}"/>
                </a:ext>
              </a:extLst>
            </p:cNvPr>
            <p:cNvSpPr>
              <a:spLocks/>
            </p:cNvSpPr>
            <p:nvPr/>
          </p:nvSpPr>
          <p:spPr bwMode="auto">
            <a:xfrm>
              <a:off x="6582" y="268"/>
              <a:ext cx="31" cy="67"/>
            </a:xfrm>
            <a:custGeom>
              <a:avLst/>
              <a:gdLst>
                <a:gd name="T0" fmla="*/ 13 w 13"/>
                <a:gd name="T1" fmla="*/ 0 h 28"/>
                <a:gd name="T2" fmla="*/ 12 w 13"/>
                <a:gd name="T3" fmla="*/ 1 h 28"/>
                <a:gd name="T4" fmla="*/ 8 w 13"/>
                <a:gd name="T5" fmla="*/ 4 h 28"/>
                <a:gd name="T6" fmla="*/ 4 w 13"/>
                <a:gd name="T7" fmla="*/ 7 h 28"/>
                <a:gd name="T8" fmla="*/ 1 w 13"/>
                <a:gd name="T9" fmla="*/ 10 h 28"/>
                <a:gd name="T10" fmla="*/ 0 w 13"/>
                <a:gd name="T11" fmla="*/ 11 h 28"/>
                <a:gd name="T12" fmla="*/ 9 w 13"/>
                <a:gd name="T13" fmla="*/ 28 h 28"/>
                <a:gd name="T14" fmla="*/ 7 w 13"/>
                <a:gd name="T15" fmla="*/ 20 h 28"/>
                <a:gd name="T16" fmla="*/ 9 w 13"/>
                <a:gd name="T17" fmla="*/ 13 h 28"/>
                <a:gd name="T18" fmla="*/ 8 w 13"/>
                <a:gd name="T19" fmla="*/ 10 h 28"/>
                <a:gd name="T20" fmla="*/ 7 w 13"/>
                <a:gd name="T21" fmla="*/ 10 h 28"/>
                <a:gd name="T22" fmla="*/ 6 w 13"/>
                <a:gd name="T23" fmla="*/ 10 h 28"/>
                <a:gd name="T24" fmla="*/ 8 w 13"/>
                <a:gd name="T25" fmla="*/ 7 h 28"/>
                <a:gd name="T26" fmla="*/ 12 w 13"/>
                <a:gd name="T27" fmla="*/ 1 h 28"/>
                <a:gd name="T28" fmla="*/ 13 w 13"/>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28">
                  <a:moveTo>
                    <a:pt x="13" y="0"/>
                  </a:moveTo>
                  <a:cubicBezTo>
                    <a:pt x="12" y="1"/>
                    <a:pt x="12" y="1"/>
                    <a:pt x="12" y="1"/>
                  </a:cubicBezTo>
                  <a:cubicBezTo>
                    <a:pt x="10" y="1"/>
                    <a:pt x="9" y="3"/>
                    <a:pt x="8" y="4"/>
                  </a:cubicBezTo>
                  <a:cubicBezTo>
                    <a:pt x="6" y="5"/>
                    <a:pt x="5" y="6"/>
                    <a:pt x="4" y="7"/>
                  </a:cubicBezTo>
                  <a:cubicBezTo>
                    <a:pt x="1" y="10"/>
                    <a:pt x="1" y="10"/>
                    <a:pt x="1" y="10"/>
                  </a:cubicBezTo>
                  <a:cubicBezTo>
                    <a:pt x="0" y="10"/>
                    <a:pt x="0" y="11"/>
                    <a:pt x="0" y="11"/>
                  </a:cubicBezTo>
                  <a:cubicBezTo>
                    <a:pt x="3" y="17"/>
                    <a:pt x="6" y="22"/>
                    <a:pt x="9" y="28"/>
                  </a:cubicBezTo>
                  <a:cubicBezTo>
                    <a:pt x="8" y="25"/>
                    <a:pt x="7" y="23"/>
                    <a:pt x="7" y="20"/>
                  </a:cubicBezTo>
                  <a:cubicBezTo>
                    <a:pt x="7" y="17"/>
                    <a:pt x="9" y="15"/>
                    <a:pt x="9" y="13"/>
                  </a:cubicBezTo>
                  <a:cubicBezTo>
                    <a:pt x="9" y="11"/>
                    <a:pt x="9" y="10"/>
                    <a:pt x="8" y="10"/>
                  </a:cubicBezTo>
                  <a:cubicBezTo>
                    <a:pt x="8" y="10"/>
                    <a:pt x="8" y="10"/>
                    <a:pt x="7" y="10"/>
                  </a:cubicBezTo>
                  <a:cubicBezTo>
                    <a:pt x="7" y="10"/>
                    <a:pt x="6" y="10"/>
                    <a:pt x="6" y="10"/>
                  </a:cubicBezTo>
                  <a:cubicBezTo>
                    <a:pt x="5" y="10"/>
                    <a:pt x="7" y="7"/>
                    <a:pt x="8" y="7"/>
                  </a:cubicBezTo>
                  <a:cubicBezTo>
                    <a:pt x="9" y="5"/>
                    <a:pt x="10" y="3"/>
                    <a:pt x="12" y="1"/>
                  </a:cubicBezTo>
                  <a:cubicBezTo>
                    <a:pt x="12" y="1"/>
                    <a:pt x="12"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0" name="Freeform 289">
              <a:extLst>
                <a:ext uri="{FF2B5EF4-FFF2-40B4-BE49-F238E27FC236}">
                  <a16:creationId xmlns:a16="http://schemas.microsoft.com/office/drawing/2014/main" id="{291C7384-D787-48DF-8200-E1C2EAD3F250}"/>
                </a:ext>
              </a:extLst>
            </p:cNvPr>
            <p:cNvSpPr>
              <a:spLocks/>
            </p:cNvSpPr>
            <p:nvPr/>
          </p:nvSpPr>
          <p:spPr bwMode="auto">
            <a:xfrm>
              <a:off x="6591" y="228"/>
              <a:ext cx="771" cy="478"/>
            </a:xfrm>
            <a:custGeom>
              <a:avLst/>
              <a:gdLst>
                <a:gd name="T0" fmla="*/ 136 w 326"/>
                <a:gd name="T1" fmla="*/ 12 h 202"/>
                <a:gd name="T2" fmla="*/ 127 w 326"/>
                <a:gd name="T3" fmla="*/ 7 h 202"/>
                <a:gd name="T4" fmla="*/ 108 w 326"/>
                <a:gd name="T5" fmla="*/ 19 h 202"/>
                <a:gd name="T6" fmla="*/ 105 w 326"/>
                <a:gd name="T7" fmla="*/ 29 h 202"/>
                <a:gd name="T8" fmla="*/ 89 w 326"/>
                <a:gd name="T9" fmla="*/ 40 h 202"/>
                <a:gd name="T10" fmla="*/ 71 w 326"/>
                <a:gd name="T11" fmla="*/ 40 h 202"/>
                <a:gd name="T12" fmla="*/ 62 w 326"/>
                <a:gd name="T13" fmla="*/ 38 h 202"/>
                <a:gd name="T14" fmla="*/ 44 w 326"/>
                <a:gd name="T15" fmla="*/ 20 h 202"/>
                <a:gd name="T16" fmla="*/ 30 w 326"/>
                <a:gd name="T17" fmla="*/ 12 h 202"/>
                <a:gd name="T18" fmla="*/ 25 w 326"/>
                <a:gd name="T19" fmla="*/ 15 h 202"/>
                <a:gd name="T20" fmla="*/ 44 w 326"/>
                <a:gd name="T21" fmla="*/ 50 h 202"/>
                <a:gd name="T22" fmla="*/ 39 w 326"/>
                <a:gd name="T23" fmla="*/ 55 h 202"/>
                <a:gd name="T24" fmla="*/ 26 w 326"/>
                <a:gd name="T25" fmla="*/ 57 h 202"/>
                <a:gd name="T26" fmla="*/ 18 w 326"/>
                <a:gd name="T27" fmla="*/ 54 h 202"/>
                <a:gd name="T28" fmla="*/ 6 w 326"/>
                <a:gd name="T29" fmla="*/ 74 h 202"/>
                <a:gd name="T30" fmla="*/ 14 w 326"/>
                <a:gd name="T31" fmla="*/ 75 h 202"/>
                <a:gd name="T32" fmla="*/ 17 w 326"/>
                <a:gd name="T33" fmla="*/ 74 h 202"/>
                <a:gd name="T34" fmla="*/ 14 w 326"/>
                <a:gd name="T35" fmla="*/ 87 h 202"/>
                <a:gd name="T36" fmla="*/ 12 w 326"/>
                <a:gd name="T37" fmla="*/ 92 h 202"/>
                <a:gd name="T38" fmla="*/ 30 w 326"/>
                <a:gd name="T39" fmla="*/ 152 h 202"/>
                <a:gd name="T40" fmla="*/ 81 w 326"/>
                <a:gd name="T41" fmla="*/ 124 h 202"/>
                <a:gd name="T42" fmla="*/ 89 w 326"/>
                <a:gd name="T43" fmla="*/ 119 h 202"/>
                <a:gd name="T44" fmla="*/ 105 w 326"/>
                <a:gd name="T45" fmla="*/ 119 h 202"/>
                <a:gd name="T46" fmla="*/ 123 w 326"/>
                <a:gd name="T47" fmla="*/ 130 h 202"/>
                <a:gd name="T48" fmla="*/ 132 w 326"/>
                <a:gd name="T49" fmla="*/ 136 h 202"/>
                <a:gd name="T50" fmla="*/ 137 w 326"/>
                <a:gd name="T51" fmla="*/ 136 h 202"/>
                <a:gd name="T52" fmla="*/ 156 w 326"/>
                <a:gd name="T53" fmla="*/ 138 h 202"/>
                <a:gd name="T54" fmla="*/ 166 w 326"/>
                <a:gd name="T55" fmla="*/ 151 h 202"/>
                <a:gd name="T56" fmla="*/ 181 w 326"/>
                <a:gd name="T57" fmla="*/ 162 h 202"/>
                <a:gd name="T58" fmla="*/ 191 w 326"/>
                <a:gd name="T59" fmla="*/ 163 h 202"/>
                <a:gd name="T60" fmla="*/ 202 w 326"/>
                <a:gd name="T61" fmla="*/ 167 h 202"/>
                <a:gd name="T62" fmla="*/ 205 w 326"/>
                <a:gd name="T63" fmla="*/ 192 h 202"/>
                <a:gd name="T64" fmla="*/ 213 w 326"/>
                <a:gd name="T65" fmla="*/ 194 h 202"/>
                <a:gd name="T66" fmla="*/ 226 w 326"/>
                <a:gd name="T67" fmla="*/ 202 h 202"/>
                <a:gd name="T68" fmla="*/ 242 w 326"/>
                <a:gd name="T69" fmla="*/ 194 h 202"/>
                <a:gd name="T70" fmla="*/ 254 w 326"/>
                <a:gd name="T71" fmla="*/ 183 h 202"/>
                <a:gd name="T72" fmla="*/ 278 w 326"/>
                <a:gd name="T73" fmla="*/ 168 h 202"/>
                <a:gd name="T74" fmla="*/ 296 w 326"/>
                <a:gd name="T75" fmla="*/ 147 h 202"/>
                <a:gd name="T76" fmla="*/ 306 w 326"/>
                <a:gd name="T77" fmla="*/ 140 h 202"/>
                <a:gd name="T78" fmla="*/ 313 w 326"/>
                <a:gd name="T79" fmla="*/ 141 h 202"/>
                <a:gd name="T80" fmla="*/ 320 w 326"/>
                <a:gd name="T81" fmla="*/ 144 h 202"/>
                <a:gd name="T82" fmla="*/ 324 w 326"/>
                <a:gd name="T83" fmla="*/ 141 h 202"/>
                <a:gd name="T84" fmla="*/ 322 w 326"/>
                <a:gd name="T85" fmla="*/ 130 h 202"/>
                <a:gd name="T86" fmla="*/ 307 w 326"/>
                <a:gd name="T87" fmla="*/ 126 h 202"/>
                <a:gd name="T88" fmla="*/ 285 w 326"/>
                <a:gd name="T89" fmla="*/ 113 h 202"/>
                <a:gd name="T90" fmla="*/ 243 w 326"/>
                <a:gd name="T91" fmla="*/ 87 h 202"/>
                <a:gd name="T92" fmla="*/ 228 w 326"/>
                <a:gd name="T93" fmla="*/ 76 h 202"/>
                <a:gd name="T94" fmla="*/ 223 w 326"/>
                <a:gd name="T95" fmla="*/ 64 h 202"/>
                <a:gd name="T96" fmla="*/ 201 w 326"/>
                <a:gd name="T97" fmla="*/ 44 h 202"/>
                <a:gd name="T98" fmla="*/ 184 w 326"/>
                <a:gd name="T99" fmla="*/ 42 h 202"/>
                <a:gd name="T100" fmla="*/ 171 w 326"/>
                <a:gd name="T101" fmla="*/ 32 h 202"/>
                <a:gd name="T102" fmla="*/ 169 w 326"/>
                <a:gd name="T103" fmla="*/ 22 h 202"/>
                <a:gd name="T104" fmla="*/ 164 w 326"/>
                <a:gd name="T105" fmla="*/ 12 h 202"/>
                <a:gd name="T106" fmla="*/ 152 w 326"/>
                <a:gd name="T107" fmla="*/ 8 h 202"/>
                <a:gd name="T108" fmla="*/ 149 w 326"/>
                <a:gd name="T109" fmla="*/ 6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6" h="202">
                  <a:moveTo>
                    <a:pt x="140" y="0"/>
                  </a:moveTo>
                  <a:cubicBezTo>
                    <a:pt x="139" y="0"/>
                    <a:pt x="139" y="0"/>
                    <a:pt x="139" y="0"/>
                  </a:cubicBezTo>
                  <a:cubicBezTo>
                    <a:pt x="137" y="3"/>
                    <a:pt x="136" y="3"/>
                    <a:pt x="137" y="4"/>
                  </a:cubicBezTo>
                  <a:cubicBezTo>
                    <a:pt x="137" y="5"/>
                    <a:pt x="138" y="6"/>
                    <a:pt x="139" y="7"/>
                  </a:cubicBezTo>
                  <a:cubicBezTo>
                    <a:pt x="151" y="21"/>
                    <a:pt x="151" y="21"/>
                    <a:pt x="151" y="21"/>
                  </a:cubicBezTo>
                  <a:cubicBezTo>
                    <a:pt x="136" y="12"/>
                    <a:pt x="136" y="12"/>
                    <a:pt x="136" y="12"/>
                  </a:cubicBezTo>
                  <a:cubicBezTo>
                    <a:pt x="135" y="11"/>
                    <a:pt x="134" y="10"/>
                    <a:pt x="133" y="10"/>
                  </a:cubicBezTo>
                  <a:cubicBezTo>
                    <a:pt x="133" y="9"/>
                    <a:pt x="133" y="9"/>
                    <a:pt x="133" y="9"/>
                  </a:cubicBezTo>
                  <a:cubicBezTo>
                    <a:pt x="132" y="8"/>
                    <a:pt x="131" y="8"/>
                    <a:pt x="130" y="8"/>
                  </a:cubicBezTo>
                  <a:cubicBezTo>
                    <a:pt x="129" y="8"/>
                    <a:pt x="129" y="8"/>
                    <a:pt x="129" y="8"/>
                  </a:cubicBezTo>
                  <a:cubicBezTo>
                    <a:pt x="129" y="7"/>
                    <a:pt x="128" y="7"/>
                    <a:pt x="128" y="7"/>
                  </a:cubicBezTo>
                  <a:cubicBezTo>
                    <a:pt x="127" y="7"/>
                    <a:pt x="127" y="7"/>
                    <a:pt x="127" y="7"/>
                  </a:cubicBezTo>
                  <a:cubicBezTo>
                    <a:pt x="127" y="8"/>
                    <a:pt x="127" y="8"/>
                    <a:pt x="126" y="9"/>
                  </a:cubicBezTo>
                  <a:cubicBezTo>
                    <a:pt x="126" y="10"/>
                    <a:pt x="126" y="11"/>
                    <a:pt x="126" y="11"/>
                  </a:cubicBezTo>
                  <a:cubicBezTo>
                    <a:pt x="124" y="15"/>
                    <a:pt x="121" y="16"/>
                    <a:pt x="118" y="17"/>
                  </a:cubicBezTo>
                  <a:cubicBezTo>
                    <a:pt x="117" y="17"/>
                    <a:pt x="116" y="17"/>
                    <a:pt x="115" y="17"/>
                  </a:cubicBezTo>
                  <a:cubicBezTo>
                    <a:pt x="112" y="18"/>
                    <a:pt x="110" y="18"/>
                    <a:pt x="109" y="19"/>
                  </a:cubicBezTo>
                  <a:cubicBezTo>
                    <a:pt x="108" y="19"/>
                    <a:pt x="108" y="19"/>
                    <a:pt x="108" y="19"/>
                  </a:cubicBezTo>
                  <a:cubicBezTo>
                    <a:pt x="108" y="19"/>
                    <a:pt x="108" y="19"/>
                    <a:pt x="108" y="19"/>
                  </a:cubicBezTo>
                  <a:cubicBezTo>
                    <a:pt x="107" y="20"/>
                    <a:pt x="106" y="23"/>
                    <a:pt x="106" y="24"/>
                  </a:cubicBezTo>
                  <a:cubicBezTo>
                    <a:pt x="105" y="25"/>
                    <a:pt x="105" y="27"/>
                    <a:pt x="105" y="27"/>
                  </a:cubicBezTo>
                  <a:cubicBezTo>
                    <a:pt x="104" y="28"/>
                    <a:pt x="104" y="28"/>
                    <a:pt x="104" y="28"/>
                  </a:cubicBezTo>
                  <a:cubicBezTo>
                    <a:pt x="105" y="29"/>
                    <a:pt x="105" y="29"/>
                    <a:pt x="105" y="29"/>
                  </a:cubicBezTo>
                  <a:cubicBezTo>
                    <a:pt x="105" y="29"/>
                    <a:pt x="105" y="29"/>
                    <a:pt x="105" y="29"/>
                  </a:cubicBezTo>
                  <a:cubicBezTo>
                    <a:pt x="105" y="30"/>
                    <a:pt x="105" y="31"/>
                    <a:pt x="105" y="32"/>
                  </a:cubicBezTo>
                  <a:cubicBezTo>
                    <a:pt x="105" y="32"/>
                    <a:pt x="106" y="33"/>
                    <a:pt x="106" y="33"/>
                  </a:cubicBezTo>
                  <a:cubicBezTo>
                    <a:pt x="106" y="33"/>
                    <a:pt x="106" y="33"/>
                    <a:pt x="106" y="33"/>
                  </a:cubicBezTo>
                  <a:cubicBezTo>
                    <a:pt x="123" y="35"/>
                    <a:pt x="123" y="35"/>
                    <a:pt x="123" y="35"/>
                  </a:cubicBezTo>
                  <a:cubicBezTo>
                    <a:pt x="106" y="39"/>
                    <a:pt x="106" y="39"/>
                    <a:pt x="106" y="39"/>
                  </a:cubicBezTo>
                  <a:cubicBezTo>
                    <a:pt x="100" y="40"/>
                    <a:pt x="94" y="40"/>
                    <a:pt x="89" y="40"/>
                  </a:cubicBezTo>
                  <a:cubicBezTo>
                    <a:pt x="85" y="40"/>
                    <a:pt x="81" y="40"/>
                    <a:pt x="78" y="40"/>
                  </a:cubicBezTo>
                  <a:cubicBezTo>
                    <a:pt x="77" y="40"/>
                    <a:pt x="77" y="40"/>
                    <a:pt x="77" y="40"/>
                  </a:cubicBezTo>
                  <a:cubicBezTo>
                    <a:pt x="77" y="40"/>
                    <a:pt x="77" y="40"/>
                    <a:pt x="76" y="40"/>
                  </a:cubicBezTo>
                  <a:cubicBezTo>
                    <a:pt x="75" y="41"/>
                    <a:pt x="75" y="41"/>
                    <a:pt x="75" y="41"/>
                  </a:cubicBezTo>
                  <a:cubicBezTo>
                    <a:pt x="75" y="40"/>
                    <a:pt x="75" y="40"/>
                    <a:pt x="75" y="40"/>
                  </a:cubicBezTo>
                  <a:cubicBezTo>
                    <a:pt x="74" y="40"/>
                    <a:pt x="72" y="40"/>
                    <a:pt x="71" y="40"/>
                  </a:cubicBezTo>
                  <a:cubicBezTo>
                    <a:pt x="69" y="41"/>
                    <a:pt x="68" y="41"/>
                    <a:pt x="66" y="41"/>
                  </a:cubicBezTo>
                  <a:cubicBezTo>
                    <a:pt x="66" y="41"/>
                    <a:pt x="66" y="41"/>
                    <a:pt x="66" y="41"/>
                  </a:cubicBezTo>
                  <a:cubicBezTo>
                    <a:pt x="65" y="41"/>
                    <a:pt x="65" y="41"/>
                    <a:pt x="65" y="41"/>
                  </a:cubicBezTo>
                  <a:cubicBezTo>
                    <a:pt x="64" y="41"/>
                    <a:pt x="64" y="41"/>
                    <a:pt x="63" y="40"/>
                  </a:cubicBezTo>
                  <a:cubicBezTo>
                    <a:pt x="63" y="40"/>
                    <a:pt x="63" y="40"/>
                    <a:pt x="63" y="40"/>
                  </a:cubicBezTo>
                  <a:cubicBezTo>
                    <a:pt x="62" y="39"/>
                    <a:pt x="62" y="39"/>
                    <a:pt x="62" y="38"/>
                  </a:cubicBezTo>
                  <a:cubicBezTo>
                    <a:pt x="60" y="36"/>
                    <a:pt x="58" y="34"/>
                    <a:pt x="57" y="33"/>
                  </a:cubicBezTo>
                  <a:cubicBezTo>
                    <a:pt x="56" y="32"/>
                    <a:pt x="56" y="32"/>
                    <a:pt x="56" y="32"/>
                  </a:cubicBezTo>
                  <a:cubicBezTo>
                    <a:pt x="55" y="31"/>
                    <a:pt x="55" y="30"/>
                    <a:pt x="54" y="29"/>
                  </a:cubicBezTo>
                  <a:cubicBezTo>
                    <a:pt x="53" y="27"/>
                    <a:pt x="51" y="26"/>
                    <a:pt x="50" y="25"/>
                  </a:cubicBezTo>
                  <a:cubicBezTo>
                    <a:pt x="48" y="23"/>
                    <a:pt x="48" y="23"/>
                    <a:pt x="48" y="23"/>
                  </a:cubicBezTo>
                  <a:cubicBezTo>
                    <a:pt x="47" y="22"/>
                    <a:pt x="45" y="21"/>
                    <a:pt x="44" y="20"/>
                  </a:cubicBezTo>
                  <a:cubicBezTo>
                    <a:pt x="41" y="17"/>
                    <a:pt x="39" y="14"/>
                    <a:pt x="36" y="13"/>
                  </a:cubicBezTo>
                  <a:cubicBezTo>
                    <a:pt x="35" y="13"/>
                    <a:pt x="35" y="13"/>
                    <a:pt x="35" y="13"/>
                  </a:cubicBezTo>
                  <a:cubicBezTo>
                    <a:pt x="35" y="12"/>
                    <a:pt x="34" y="12"/>
                    <a:pt x="34" y="11"/>
                  </a:cubicBezTo>
                  <a:cubicBezTo>
                    <a:pt x="33" y="11"/>
                    <a:pt x="33" y="11"/>
                    <a:pt x="33" y="11"/>
                  </a:cubicBezTo>
                  <a:cubicBezTo>
                    <a:pt x="32" y="11"/>
                    <a:pt x="32" y="11"/>
                    <a:pt x="32" y="11"/>
                  </a:cubicBezTo>
                  <a:cubicBezTo>
                    <a:pt x="31" y="11"/>
                    <a:pt x="31" y="12"/>
                    <a:pt x="30" y="12"/>
                  </a:cubicBezTo>
                  <a:cubicBezTo>
                    <a:pt x="29" y="12"/>
                    <a:pt x="29" y="12"/>
                    <a:pt x="29" y="12"/>
                  </a:cubicBezTo>
                  <a:cubicBezTo>
                    <a:pt x="27" y="12"/>
                    <a:pt x="24" y="13"/>
                    <a:pt x="21" y="13"/>
                  </a:cubicBezTo>
                  <a:cubicBezTo>
                    <a:pt x="17" y="14"/>
                    <a:pt x="14" y="15"/>
                    <a:pt x="10" y="16"/>
                  </a:cubicBezTo>
                  <a:cubicBezTo>
                    <a:pt x="12" y="16"/>
                    <a:pt x="14" y="16"/>
                    <a:pt x="16" y="15"/>
                  </a:cubicBezTo>
                  <a:cubicBezTo>
                    <a:pt x="18" y="15"/>
                    <a:pt x="20" y="14"/>
                    <a:pt x="23" y="14"/>
                  </a:cubicBezTo>
                  <a:cubicBezTo>
                    <a:pt x="24" y="14"/>
                    <a:pt x="24" y="14"/>
                    <a:pt x="25" y="15"/>
                  </a:cubicBezTo>
                  <a:cubicBezTo>
                    <a:pt x="30" y="16"/>
                    <a:pt x="28" y="18"/>
                    <a:pt x="28" y="21"/>
                  </a:cubicBezTo>
                  <a:cubicBezTo>
                    <a:pt x="29" y="23"/>
                    <a:pt x="31" y="25"/>
                    <a:pt x="31" y="27"/>
                  </a:cubicBezTo>
                  <a:cubicBezTo>
                    <a:pt x="32" y="30"/>
                    <a:pt x="32" y="31"/>
                    <a:pt x="33" y="33"/>
                  </a:cubicBezTo>
                  <a:cubicBezTo>
                    <a:pt x="37" y="37"/>
                    <a:pt x="42" y="39"/>
                    <a:pt x="46" y="42"/>
                  </a:cubicBezTo>
                  <a:cubicBezTo>
                    <a:pt x="47" y="43"/>
                    <a:pt x="50" y="46"/>
                    <a:pt x="48" y="48"/>
                  </a:cubicBezTo>
                  <a:cubicBezTo>
                    <a:pt x="48" y="50"/>
                    <a:pt x="46" y="50"/>
                    <a:pt x="44" y="50"/>
                  </a:cubicBezTo>
                  <a:cubicBezTo>
                    <a:pt x="44" y="50"/>
                    <a:pt x="43" y="50"/>
                    <a:pt x="42" y="50"/>
                  </a:cubicBezTo>
                  <a:cubicBezTo>
                    <a:pt x="42" y="50"/>
                    <a:pt x="41" y="50"/>
                    <a:pt x="40" y="50"/>
                  </a:cubicBezTo>
                  <a:cubicBezTo>
                    <a:pt x="39" y="50"/>
                    <a:pt x="38" y="50"/>
                    <a:pt x="37" y="52"/>
                  </a:cubicBezTo>
                  <a:cubicBezTo>
                    <a:pt x="37" y="53"/>
                    <a:pt x="39" y="55"/>
                    <a:pt x="40" y="55"/>
                  </a:cubicBezTo>
                  <a:cubicBezTo>
                    <a:pt x="40" y="55"/>
                    <a:pt x="40" y="55"/>
                    <a:pt x="40" y="55"/>
                  </a:cubicBezTo>
                  <a:cubicBezTo>
                    <a:pt x="39" y="55"/>
                    <a:pt x="39" y="55"/>
                    <a:pt x="39" y="55"/>
                  </a:cubicBezTo>
                  <a:cubicBezTo>
                    <a:pt x="40" y="55"/>
                    <a:pt x="40" y="55"/>
                    <a:pt x="40" y="55"/>
                  </a:cubicBezTo>
                  <a:cubicBezTo>
                    <a:pt x="39" y="56"/>
                    <a:pt x="37" y="56"/>
                    <a:pt x="36" y="56"/>
                  </a:cubicBezTo>
                  <a:cubicBezTo>
                    <a:pt x="36" y="56"/>
                    <a:pt x="35" y="56"/>
                    <a:pt x="35" y="56"/>
                  </a:cubicBezTo>
                  <a:cubicBezTo>
                    <a:pt x="34" y="56"/>
                    <a:pt x="34" y="56"/>
                    <a:pt x="33" y="56"/>
                  </a:cubicBezTo>
                  <a:cubicBezTo>
                    <a:pt x="32" y="56"/>
                    <a:pt x="30" y="56"/>
                    <a:pt x="29" y="56"/>
                  </a:cubicBezTo>
                  <a:cubicBezTo>
                    <a:pt x="28" y="56"/>
                    <a:pt x="27" y="57"/>
                    <a:pt x="26" y="57"/>
                  </a:cubicBezTo>
                  <a:cubicBezTo>
                    <a:pt x="25" y="57"/>
                    <a:pt x="25" y="57"/>
                    <a:pt x="25" y="57"/>
                  </a:cubicBezTo>
                  <a:cubicBezTo>
                    <a:pt x="23" y="56"/>
                    <a:pt x="24" y="53"/>
                    <a:pt x="23" y="51"/>
                  </a:cubicBezTo>
                  <a:cubicBezTo>
                    <a:pt x="22" y="51"/>
                    <a:pt x="22" y="50"/>
                    <a:pt x="22" y="50"/>
                  </a:cubicBezTo>
                  <a:cubicBezTo>
                    <a:pt x="22" y="50"/>
                    <a:pt x="22" y="51"/>
                    <a:pt x="20" y="53"/>
                  </a:cubicBezTo>
                  <a:cubicBezTo>
                    <a:pt x="20" y="53"/>
                    <a:pt x="19" y="54"/>
                    <a:pt x="18" y="54"/>
                  </a:cubicBezTo>
                  <a:cubicBezTo>
                    <a:pt x="18" y="54"/>
                    <a:pt x="18" y="54"/>
                    <a:pt x="18" y="54"/>
                  </a:cubicBezTo>
                  <a:cubicBezTo>
                    <a:pt x="16" y="54"/>
                    <a:pt x="13" y="53"/>
                    <a:pt x="12" y="53"/>
                  </a:cubicBezTo>
                  <a:cubicBezTo>
                    <a:pt x="9" y="52"/>
                    <a:pt x="7" y="48"/>
                    <a:pt x="5" y="45"/>
                  </a:cubicBezTo>
                  <a:cubicBezTo>
                    <a:pt x="5" y="50"/>
                    <a:pt x="4" y="54"/>
                    <a:pt x="2" y="58"/>
                  </a:cubicBezTo>
                  <a:cubicBezTo>
                    <a:pt x="1" y="60"/>
                    <a:pt x="0" y="63"/>
                    <a:pt x="0" y="65"/>
                  </a:cubicBezTo>
                  <a:cubicBezTo>
                    <a:pt x="0" y="67"/>
                    <a:pt x="1" y="69"/>
                    <a:pt x="2" y="70"/>
                  </a:cubicBezTo>
                  <a:cubicBezTo>
                    <a:pt x="2" y="74"/>
                    <a:pt x="1" y="74"/>
                    <a:pt x="6" y="74"/>
                  </a:cubicBezTo>
                  <a:cubicBezTo>
                    <a:pt x="7" y="74"/>
                    <a:pt x="7" y="74"/>
                    <a:pt x="7" y="74"/>
                  </a:cubicBezTo>
                  <a:cubicBezTo>
                    <a:pt x="8" y="74"/>
                    <a:pt x="8" y="74"/>
                    <a:pt x="9" y="74"/>
                  </a:cubicBezTo>
                  <a:cubicBezTo>
                    <a:pt x="9" y="74"/>
                    <a:pt x="10" y="74"/>
                    <a:pt x="10" y="74"/>
                  </a:cubicBezTo>
                  <a:cubicBezTo>
                    <a:pt x="10" y="74"/>
                    <a:pt x="10" y="74"/>
                    <a:pt x="11" y="74"/>
                  </a:cubicBezTo>
                  <a:cubicBezTo>
                    <a:pt x="12" y="74"/>
                    <a:pt x="12" y="74"/>
                    <a:pt x="13" y="75"/>
                  </a:cubicBezTo>
                  <a:cubicBezTo>
                    <a:pt x="14" y="75"/>
                    <a:pt x="14" y="75"/>
                    <a:pt x="14" y="75"/>
                  </a:cubicBezTo>
                  <a:cubicBezTo>
                    <a:pt x="14" y="75"/>
                    <a:pt x="15" y="75"/>
                    <a:pt x="15" y="75"/>
                  </a:cubicBezTo>
                  <a:cubicBezTo>
                    <a:pt x="15" y="75"/>
                    <a:pt x="15" y="75"/>
                    <a:pt x="15" y="75"/>
                  </a:cubicBezTo>
                  <a:cubicBezTo>
                    <a:pt x="16" y="75"/>
                    <a:pt x="16" y="75"/>
                    <a:pt x="16" y="75"/>
                  </a:cubicBezTo>
                  <a:cubicBezTo>
                    <a:pt x="16" y="75"/>
                    <a:pt x="16" y="75"/>
                    <a:pt x="16" y="75"/>
                  </a:cubicBezTo>
                  <a:cubicBezTo>
                    <a:pt x="16" y="75"/>
                    <a:pt x="16" y="75"/>
                    <a:pt x="16" y="75"/>
                  </a:cubicBezTo>
                  <a:cubicBezTo>
                    <a:pt x="17" y="75"/>
                    <a:pt x="17" y="74"/>
                    <a:pt x="17" y="74"/>
                  </a:cubicBezTo>
                  <a:cubicBezTo>
                    <a:pt x="17" y="74"/>
                    <a:pt x="17" y="75"/>
                    <a:pt x="17" y="75"/>
                  </a:cubicBezTo>
                  <a:cubicBezTo>
                    <a:pt x="18" y="75"/>
                    <a:pt x="17" y="79"/>
                    <a:pt x="17" y="80"/>
                  </a:cubicBezTo>
                  <a:cubicBezTo>
                    <a:pt x="17" y="83"/>
                    <a:pt x="21" y="84"/>
                    <a:pt x="24" y="86"/>
                  </a:cubicBezTo>
                  <a:cubicBezTo>
                    <a:pt x="22" y="87"/>
                    <a:pt x="21" y="87"/>
                    <a:pt x="19" y="88"/>
                  </a:cubicBezTo>
                  <a:cubicBezTo>
                    <a:pt x="19" y="87"/>
                    <a:pt x="19" y="86"/>
                    <a:pt x="19" y="84"/>
                  </a:cubicBezTo>
                  <a:cubicBezTo>
                    <a:pt x="18" y="85"/>
                    <a:pt x="16" y="87"/>
                    <a:pt x="14" y="87"/>
                  </a:cubicBezTo>
                  <a:cubicBezTo>
                    <a:pt x="14" y="87"/>
                    <a:pt x="13" y="87"/>
                    <a:pt x="13" y="87"/>
                  </a:cubicBezTo>
                  <a:cubicBezTo>
                    <a:pt x="12" y="86"/>
                    <a:pt x="14" y="83"/>
                    <a:pt x="15" y="83"/>
                  </a:cubicBezTo>
                  <a:cubicBezTo>
                    <a:pt x="14" y="83"/>
                    <a:pt x="11" y="87"/>
                    <a:pt x="10" y="89"/>
                  </a:cubicBezTo>
                  <a:cubicBezTo>
                    <a:pt x="9" y="91"/>
                    <a:pt x="11" y="93"/>
                    <a:pt x="11" y="96"/>
                  </a:cubicBezTo>
                  <a:cubicBezTo>
                    <a:pt x="12" y="94"/>
                    <a:pt x="12" y="92"/>
                    <a:pt x="11" y="92"/>
                  </a:cubicBezTo>
                  <a:cubicBezTo>
                    <a:pt x="11" y="92"/>
                    <a:pt x="12" y="92"/>
                    <a:pt x="12" y="92"/>
                  </a:cubicBezTo>
                  <a:cubicBezTo>
                    <a:pt x="18" y="92"/>
                    <a:pt x="22" y="97"/>
                    <a:pt x="26" y="101"/>
                  </a:cubicBezTo>
                  <a:cubicBezTo>
                    <a:pt x="29" y="103"/>
                    <a:pt x="30" y="103"/>
                    <a:pt x="29" y="106"/>
                  </a:cubicBezTo>
                  <a:cubicBezTo>
                    <a:pt x="28" y="108"/>
                    <a:pt x="28" y="110"/>
                    <a:pt x="27" y="113"/>
                  </a:cubicBezTo>
                  <a:cubicBezTo>
                    <a:pt x="26" y="120"/>
                    <a:pt x="26" y="129"/>
                    <a:pt x="27" y="137"/>
                  </a:cubicBezTo>
                  <a:cubicBezTo>
                    <a:pt x="27" y="138"/>
                    <a:pt x="27" y="146"/>
                    <a:pt x="29" y="147"/>
                  </a:cubicBezTo>
                  <a:cubicBezTo>
                    <a:pt x="29" y="149"/>
                    <a:pt x="29" y="150"/>
                    <a:pt x="30" y="152"/>
                  </a:cubicBezTo>
                  <a:cubicBezTo>
                    <a:pt x="30" y="153"/>
                    <a:pt x="30" y="155"/>
                    <a:pt x="30" y="156"/>
                  </a:cubicBezTo>
                  <a:cubicBezTo>
                    <a:pt x="60" y="127"/>
                    <a:pt x="60" y="127"/>
                    <a:pt x="60" y="127"/>
                  </a:cubicBezTo>
                  <a:cubicBezTo>
                    <a:pt x="63" y="125"/>
                    <a:pt x="68" y="124"/>
                    <a:pt x="73" y="124"/>
                  </a:cubicBezTo>
                  <a:cubicBezTo>
                    <a:pt x="74" y="124"/>
                    <a:pt x="74" y="124"/>
                    <a:pt x="75" y="124"/>
                  </a:cubicBezTo>
                  <a:cubicBezTo>
                    <a:pt x="77" y="124"/>
                    <a:pt x="78" y="124"/>
                    <a:pt x="80" y="124"/>
                  </a:cubicBezTo>
                  <a:cubicBezTo>
                    <a:pt x="81" y="124"/>
                    <a:pt x="81" y="124"/>
                    <a:pt x="81" y="124"/>
                  </a:cubicBezTo>
                  <a:cubicBezTo>
                    <a:pt x="82" y="124"/>
                    <a:pt x="82" y="124"/>
                    <a:pt x="82" y="124"/>
                  </a:cubicBezTo>
                  <a:cubicBezTo>
                    <a:pt x="83" y="124"/>
                    <a:pt x="83" y="124"/>
                    <a:pt x="85" y="122"/>
                  </a:cubicBezTo>
                  <a:cubicBezTo>
                    <a:pt x="86" y="121"/>
                    <a:pt x="86" y="121"/>
                    <a:pt x="86" y="120"/>
                  </a:cubicBezTo>
                  <a:cubicBezTo>
                    <a:pt x="87" y="120"/>
                    <a:pt x="87" y="120"/>
                    <a:pt x="87" y="120"/>
                  </a:cubicBezTo>
                  <a:cubicBezTo>
                    <a:pt x="87" y="120"/>
                    <a:pt x="88" y="120"/>
                    <a:pt x="89" y="119"/>
                  </a:cubicBezTo>
                  <a:cubicBezTo>
                    <a:pt x="89" y="119"/>
                    <a:pt x="89" y="119"/>
                    <a:pt x="89" y="119"/>
                  </a:cubicBezTo>
                  <a:cubicBezTo>
                    <a:pt x="91" y="119"/>
                    <a:pt x="93" y="119"/>
                    <a:pt x="94" y="119"/>
                  </a:cubicBezTo>
                  <a:cubicBezTo>
                    <a:pt x="95" y="119"/>
                    <a:pt x="95" y="119"/>
                    <a:pt x="95" y="119"/>
                  </a:cubicBezTo>
                  <a:cubicBezTo>
                    <a:pt x="96" y="119"/>
                    <a:pt x="96" y="119"/>
                    <a:pt x="96" y="119"/>
                  </a:cubicBezTo>
                  <a:cubicBezTo>
                    <a:pt x="98" y="119"/>
                    <a:pt x="100" y="119"/>
                    <a:pt x="101" y="119"/>
                  </a:cubicBezTo>
                  <a:cubicBezTo>
                    <a:pt x="102" y="119"/>
                    <a:pt x="102" y="119"/>
                    <a:pt x="102" y="119"/>
                  </a:cubicBezTo>
                  <a:cubicBezTo>
                    <a:pt x="103" y="119"/>
                    <a:pt x="104" y="119"/>
                    <a:pt x="105" y="119"/>
                  </a:cubicBezTo>
                  <a:cubicBezTo>
                    <a:pt x="109" y="120"/>
                    <a:pt x="111" y="123"/>
                    <a:pt x="112" y="126"/>
                  </a:cubicBezTo>
                  <a:cubicBezTo>
                    <a:pt x="112" y="126"/>
                    <a:pt x="112" y="126"/>
                    <a:pt x="112" y="126"/>
                  </a:cubicBezTo>
                  <a:cubicBezTo>
                    <a:pt x="112" y="127"/>
                    <a:pt x="113" y="128"/>
                    <a:pt x="114" y="128"/>
                  </a:cubicBezTo>
                  <a:cubicBezTo>
                    <a:pt x="116" y="128"/>
                    <a:pt x="117" y="129"/>
                    <a:pt x="119" y="129"/>
                  </a:cubicBezTo>
                  <a:cubicBezTo>
                    <a:pt x="120" y="129"/>
                    <a:pt x="121" y="129"/>
                    <a:pt x="122" y="130"/>
                  </a:cubicBezTo>
                  <a:cubicBezTo>
                    <a:pt x="123" y="130"/>
                    <a:pt x="123" y="130"/>
                    <a:pt x="123" y="130"/>
                  </a:cubicBezTo>
                  <a:cubicBezTo>
                    <a:pt x="124" y="130"/>
                    <a:pt x="124" y="130"/>
                    <a:pt x="124" y="130"/>
                  </a:cubicBezTo>
                  <a:cubicBezTo>
                    <a:pt x="126" y="131"/>
                    <a:pt x="127" y="132"/>
                    <a:pt x="128" y="133"/>
                  </a:cubicBezTo>
                  <a:cubicBezTo>
                    <a:pt x="129" y="134"/>
                    <a:pt x="129" y="134"/>
                    <a:pt x="129" y="134"/>
                  </a:cubicBezTo>
                  <a:cubicBezTo>
                    <a:pt x="130" y="134"/>
                    <a:pt x="130" y="134"/>
                    <a:pt x="131" y="135"/>
                  </a:cubicBezTo>
                  <a:cubicBezTo>
                    <a:pt x="132" y="135"/>
                    <a:pt x="132" y="135"/>
                    <a:pt x="132" y="135"/>
                  </a:cubicBezTo>
                  <a:cubicBezTo>
                    <a:pt x="132" y="136"/>
                    <a:pt x="132" y="136"/>
                    <a:pt x="132" y="136"/>
                  </a:cubicBezTo>
                  <a:cubicBezTo>
                    <a:pt x="132" y="136"/>
                    <a:pt x="133" y="136"/>
                    <a:pt x="133" y="136"/>
                  </a:cubicBezTo>
                  <a:cubicBezTo>
                    <a:pt x="134" y="136"/>
                    <a:pt x="134" y="136"/>
                    <a:pt x="134" y="136"/>
                  </a:cubicBezTo>
                  <a:cubicBezTo>
                    <a:pt x="135" y="136"/>
                    <a:pt x="135" y="136"/>
                    <a:pt x="135" y="136"/>
                  </a:cubicBezTo>
                  <a:cubicBezTo>
                    <a:pt x="136" y="136"/>
                    <a:pt x="136" y="136"/>
                    <a:pt x="136" y="136"/>
                  </a:cubicBezTo>
                  <a:cubicBezTo>
                    <a:pt x="136" y="136"/>
                    <a:pt x="136" y="136"/>
                    <a:pt x="137" y="136"/>
                  </a:cubicBezTo>
                  <a:cubicBezTo>
                    <a:pt x="137" y="136"/>
                    <a:pt x="137" y="136"/>
                    <a:pt x="137" y="136"/>
                  </a:cubicBezTo>
                  <a:cubicBezTo>
                    <a:pt x="143" y="136"/>
                    <a:pt x="143" y="136"/>
                    <a:pt x="143" y="136"/>
                  </a:cubicBezTo>
                  <a:cubicBezTo>
                    <a:pt x="144" y="136"/>
                    <a:pt x="144" y="136"/>
                    <a:pt x="145" y="136"/>
                  </a:cubicBezTo>
                  <a:cubicBezTo>
                    <a:pt x="148" y="136"/>
                    <a:pt x="151" y="136"/>
                    <a:pt x="154" y="137"/>
                  </a:cubicBezTo>
                  <a:cubicBezTo>
                    <a:pt x="154" y="137"/>
                    <a:pt x="155" y="138"/>
                    <a:pt x="155" y="138"/>
                  </a:cubicBezTo>
                  <a:cubicBezTo>
                    <a:pt x="155" y="138"/>
                    <a:pt x="155" y="138"/>
                    <a:pt x="155" y="138"/>
                  </a:cubicBezTo>
                  <a:cubicBezTo>
                    <a:pt x="156" y="138"/>
                    <a:pt x="156" y="138"/>
                    <a:pt x="156" y="138"/>
                  </a:cubicBezTo>
                  <a:cubicBezTo>
                    <a:pt x="158" y="139"/>
                    <a:pt x="159" y="140"/>
                    <a:pt x="160" y="142"/>
                  </a:cubicBezTo>
                  <a:cubicBezTo>
                    <a:pt x="160" y="142"/>
                    <a:pt x="160" y="142"/>
                    <a:pt x="160" y="142"/>
                  </a:cubicBezTo>
                  <a:cubicBezTo>
                    <a:pt x="161" y="144"/>
                    <a:pt x="162" y="145"/>
                    <a:pt x="163" y="147"/>
                  </a:cubicBezTo>
                  <a:cubicBezTo>
                    <a:pt x="164" y="148"/>
                    <a:pt x="164" y="148"/>
                    <a:pt x="164" y="148"/>
                  </a:cubicBezTo>
                  <a:cubicBezTo>
                    <a:pt x="164" y="149"/>
                    <a:pt x="164" y="150"/>
                    <a:pt x="165" y="150"/>
                  </a:cubicBezTo>
                  <a:cubicBezTo>
                    <a:pt x="166" y="151"/>
                    <a:pt x="166" y="151"/>
                    <a:pt x="166" y="151"/>
                  </a:cubicBezTo>
                  <a:cubicBezTo>
                    <a:pt x="169" y="151"/>
                    <a:pt x="171" y="152"/>
                    <a:pt x="173" y="153"/>
                  </a:cubicBezTo>
                  <a:cubicBezTo>
                    <a:pt x="175" y="153"/>
                    <a:pt x="175" y="154"/>
                    <a:pt x="176" y="155"/>
                  </a:cubicBezTo>
                  <a:cubicBezTo>
                    <a:pt x="177" y="156"/>
                    <a:pt x="177" y="156"/>
                    <a:pt x="177" y="156"/>
                  </a:cubicBezTo>
                  <a:cubicBezTo>
                    <a:pt x="177" y="157"/>
                    <a:pt x="178" y="158"/>
                    <a:pt x="179" y="159"/>
                  </a:cubicBezTo>
                  <a:cubicBezTo>
                    <a:pt x="180" y="160"/>
                    <a:pt x="180" y="160"/>
                    <a:pt x="180" y="160"/>
                  </a:cubicBezTo>
                  <a:cubicBezTo>
                    <a:pt x="180" y="162"/>
                    <a:pt x="181" y="162"/>
                    <a:pt x="181" y="162"/>
                  </a:cubicBezTo>
                  <a:cubicBezTo>
                    <a:pt x="181" y="163"/>
                    <a:pt x="181" y="163"/>
                    <a:pt x="181" y="163"/>
                  </a:cubicBezTo>
                  <a:cubicBezTo>
                    <a:pt x="182" y="163"/>
                    <a:pt x="182" y="163"/>
                    <a:pt x="184" y="163"/>
                  </a:cubicBezTo>
                  <a:cubicBezTo>
                    <a:pt x="184" y="163"/>
                    <a:pt x="184" y="163"/>
                    <a:pt x="184" y="163"/>
                  </a:cubicBezTo>
                  <a:cubicBezTo>
                    <a:pt x="185" y="163"/>
                    <a:pt x="187" y="163"/>
                    <a:pt x="188" y="163"/>
                  </a:cubicBezTo>
                  <a:cubicBezTo>
                    <a:pt x="189" y="163"/>
                    <a:pt x="189" y="163"/>
                    <a:pt x="189" y="163"/>
                  </a:cubicBezTo>
                  <a:cubicBezTo>
                    <a:pt x="190" y="163"/>
                    <a:pt x="190" y="163"/>
                    <a:pt x="191" y="163"/>
                  </a:cubicBezTo>
                  <a:cubicBezTo>
                    <a:pt x="192" y="163"/>
                    <a:pt x="193" y="163"/>
                    <a:pt x="193" y="163"/>
                  </a:cubicBezTo>
                  <a:cubicBezTo>
                    <a:pt x="195" y="163"/>
                    <a:pt x="196" y="163"/>
                    <a:pt x="198" y="163"/>
                  </a:cubicBezTo>
                  <a:cubicBezTo>
                    <a:pt x="198" y="163"/>
                    <a:pt x="198" y="163"/>
                    <a:pt x="198" y="163"/>
                  </a:cubicBezTo>
                  <a:cubicBezTo>
                    <a:pt x="199" y="163"/>
                    <a:pt x="200" y="163"/>
                    <a:pt x="201" y="164"/>
                  </a:cubicBezTo>
                  <a:cubicBezTo>
                    <a:pt x="202" y="164"/>
                    <a:pt x="202" y="165"/>
                    <a:pt x="202" y="166"/>
                  </a:cubicBezTo>
                  <a:cubicBezTo>
                    <a:pt x="202" y="167"/>
                    <a:pt x="202" y="167"/>
                    <a:pt x="202" y="167"/>
                  </a:cubicBezTo>
                  <a:cubicBezTo>
                    <a:pt x="203" y="170"/>
                    <a:pt x="203" y="172"/>
                    <a:pt x="203" y="175"/>
                  </a:cubicBezTo>
                  <a:cubicBezTo>
                    <a:pt x="203" y="176"/>
                    <a:pt x="203" y="177"/>
                    <a:pt x="203" y="178"/>
                  </a:cubicBezTo>
                  <a:cubicBezTo>
                    <a:pt x="203" y="179"/>
                    <a:pt x="203" y="179"/>
                    <a:pt x="203" y="179"/>
                  </a:cubicBezTo>
                  <a:cubicBezTo>
                    <a:pt x="203" y="181"/>
                    <a:pt x="203" y="183"/>
                    <a:pt x="203" y="186"/>
                  </a:cubicBezTo>
                  <a:cubicBezTo>
                    <a:pt x="204" y="189"/>
                    <a:pt x="204" y="189"/>
                    <a:pt x="204" y="189"/>
                  </a:cubicBezTo>
                  <a:cubicBezTo>
                    <a:pt x="204" y="190"/>
                    <a:pt x="205" y="191"/>
                    <a:pt x="205" y="192"/>
                  </a:cubicBezTo>
                  <a:cubicBezTo>
                    <a:pt x="205" y="192"/>
                    <a:pt x="205" y="192"/>
                    <a:pt x="205" y="192"/>
                  </a:cubicBezTo>
                  <a:cubicBezTo>
                    <a:pt x="206" y="192"/>
                    <a:pt x="206" y="192"/>
                    <a:pt x="206" y="192"/>
                  </a:cubicBezTo>
                  <a:cubicBezTo>
                    <a:pt x="208" y="193"/>
                    <a:pt x="208" y="193"/>
                    <a:pt x="208" y="193"/>
                  </a:cubicBezTo>
                  <a:cubicBezTo>
                    <a:pt x="208" y="193"/>
                    <a:pt x="208" y="193"/>
                    <a:pt x="208" y="193"/>
                  </a:cubicBezTo>
                  <a:cubicBezTo>
                    <a:pt x="210" y="193"/>
                    <a:pt x="211" y="194"/>
                    <a:pt x="213" y="194"/>
                  </a:cubicBezTo>
                  <a:cubicBezTo>
                    <a:pt x="213" y="194"/>
                    <a:pt x="213" y="194"/>
                    <a:pt x="213" y="194"/>
                  </a:cubicBezTo>
                  <a:cubicBezTo>
                    <a:pt x="214" y="194"/>
                    <a:pt x="215" y="194"/>
                    <a:pt x="216" y="195"/>
                  </a:cubicBezTo>
                  <a:cubicBezTo>
                    <a:pt x="218" y="195"/>
                    <a:pt x="220" y="196"/>
                    <a:pt x="221" y="197"/>
                  </a:cubicBezTo>
                  <a:cubicBezTo>
                    <a:pt x="222" y="198"/>
                    <a:pt x="222" y="198"/>
                    <a:pt x="223" y="198"/>
                  </a:cubicBezTo>
                  <a:cubicBezTo>
                    <a:pt x="224" y="200"/>
                    <a:pt x="224" y="200"/>
                    <a:pt x="224" y="200"/>
                  </a:cubicBezTo>
                  <a:cubicBezTo>
                    <a:pt x="225" y="201"/>
                    <a:pt x="225" y="201"/>
                    <a:pt x="226" y="202"/>
                  </a:cubicBezTo>
                  <a:cubicBezTo>
                    <a:pt x="226" y="202"/>
                    <a:pt x="226" y="202"/>
                    <a:pt x="226" y="202"/>
                  </a:cubicBezTo>
                  <a:cubicBezTo>
                    <a:pt x="226" y="202"/>
                    <a:pt x="226" y="202"/>
                    <a:pt x="226" y="202"/>
                  </a:cubicBezTo>
                  <a:cubicBezTo>
                    <a:pt x="229" y="200"/>
                    <a:pt x="232" y="199"/>
                    <a:pt x="234" y="199"/>
                  </a:cubicBezTo>
                  <a:cubicBezTo>
                    <a:pt x="236" y="199"/>
                    <a:pt x="236" y="199"/>
                    <a:pt x="236" y="199"/>
                  </a:cubicBezTo>
                  <a:cubicBezTo>
                    <a:pt x="237" y="199"/>
                    <a:pt x="237" y="199"/>
                    <a:pt x="237" y="199"/>
                  </a:cubicBezTo>
                  <a:cubicBezTo>
                    <a:pt x="238" y="199"/>
                    <a:pt x="238" y="199"/>
                    <a:pt x="238" y="199"/>
                  </a:cubicBezTo>
                  <a:cubicBezTo>
                    <a:pt x="239" y="199"/>
                    <a:pt x="240" y="197"/>
                    <a:pt x="242" y="194"/>
                  </a:cubicBezTo>
                  <a:cubicBezTo>
                    <a:pt x="243" y="193"/>
                    <a:pt x="243" y="193"/>
                    <a:pt x="243" y="193"/>
                  </a:cubicBezTo>
                  <a:cubicBezTo>
                    <a:pt x="244" y="193"/>
                    <a:pt x="244" y="192"/>
                    <a:pt x="245" y="191"/>
                  </a:cubicBezTo>
                  <a:cubicBezTo>
                    <a:pt x="243" y="189"/>
                    <a:pt x="243" y="189"/>
                    <a:pt x="243" y="189"/>
                  </a:cubicBezTo>
                  <a:cubicBezTo>
                    <a:pt x="249" y="184"/>
                    <a:pt x="249" y="184"/>
                    <a:pt x="249" y="184"/>
                  </a:cubicBezTo>
                  <a:cubicBezTo>
                    <a:pt x="250" y="184"/>
                    <a:pt x="250" y="184"/>
                    <a:pt x="250" y="184"/>
                  </a:cubicBezTo>
                  <a:cubicBezTo>
                    <a:pt x="251" y="184"/>
                    <a:pt x="253" y="184"/>
                    <a:pt x="254" y="183"/>
                  </a:cubicBezTo>
                  <a:cubicBezTo>
                    <a:pt x="255" y="183"/>
                    <a:pt x="256" y="182"/>
                    <a:pt x="258" y="182"/>
                  </a:cubicBezTo>
                  <a:cubicBezTo>
                    <a:pt x="262" y="180"/>
                    <a:pt x="262" y="180"/>
                    <a:pt x="262" y="180"/>
                  </a:cubicBezTo>
                  <a:cubicBezTo>
                    <a:pt x="265" y="179"/>
                    <a:pt x="267" y="178"/>
                    <a:pt x="269" y="177"/>
                  </a:cubicBezTo>
                  <a:cubicBezTo>
                    <a:pt x="272" y="176"/>
                    <a:pt x="273" y="175"/>
                    <a:pt x="276" y="173"/>
                  </a:cubicBezTo>
                  <a:cubicBezTo>
                    <a:pt x="277" y="172"/>
                    <a:pt x="277" y="172"/>
                    <a:pt x="277" y="172"/>
                  </a:cubicBezTo>
                  <a:cubicBezTo>
                    <a:pt x="277" y="172"/>
                    <a:pt x="278" y="171"/>
                    <a:pt x="278" y="168"/>
                  </a:cubicBezTo>
                  <a:cubicBezTo>
                    <a:pt x="278" y="168"/>
                    <a:pt x="278" y="167"/>
                    <a:pt x="278" y="166"/>
                  </a:cubicBezTo>
                  <a:cubicBezTo>
                    <a:pt x="278" y="165"/>
                    <a:pt x="278" y="165"/>
                    <a:pt x="278" y="165"/>
                  </a:cubicBezTo>
                  <a:cubicBezTo>
                    <a:pt x="278" y="165"/>
                    <a:pt x="278" y="164"/>
                    <a:pt x="278" y="164"/>
                  </a:cubicBezTo>
                  <a:cubicBezTo>
                    <a:pt x="279" y="163"/>
                    <a:pt x="279" y="163"/>
                    <a:pt x="279" y="163"/>
                  </a:cubicBezTo>
                  <a:cubicBezTo>
                    <a:pt x="294" y="147"/>
                    <a:pt x="294" y="147"/>
                    <a:pt x="294" y="147"/>
                  </a:cubicBezTo>
                  <a:cubicBezTo>
                    <a:pt x="296" y="147"/>
                    <a:pt x="296" y="147"/>
                    <a:pt x="296" y="147"/>
                  </a:cubicBezTo>
                  <a:cubicBezTo>
                    <a:pt x="296" y="147"/>
                    <a:pt x="297" y="147"/>
                    <a:pt x="298" y="147"/>
                  </a:cubicBezTo>
                  <a:cubicBezTo>
                    <a:pt x="298" y="147"/>
                    <a:pt x="298" y="147"/>
                    <a:pt x="298" y="147"/>
                  </a:cubicBezTo>
                  <a:cubicBezTo>
                    <a:pt x="299" y="147"/>
                    <a:pt x="300" y="147"/>
                    <a:pt x="300" y="147"/>
                  </a:cubicBezTo>
                  <a:cubicBezTo>
                    <a:pt x="301" y="147"/>
                    <a:pt x="302" y="144"/>
                    <a:pt x="303" y="143"/>
                  </a:cubicBezTo>
                  <a:cubicBezTo>
                    <a:pt x="305" y="141"/>
                    <a:pt x="305" y="141"/>
                    <a:pt x="305" y="141"/>
                  </a:cubicBezTo>
                  <a:cubicBezTo>
                    <a:pt x="305" y="140"/>
                    <a:pt x="306" y="140"/>
                    <a:pt x="306" y="140"/>
                  </a:cubicBezTo>
                  <a:cubicBezTo>
                    <a:pt x="307" y="140"/>
                    <a:pt x="307" y="140"/>
                    <a:pt x="307" y="140"/>
                  </a:cubicBezTo>
                  <a:cubicBezTo>
                    <a:pt x="308" y="139"/>
                    <a:pt x="308" y="139"/>
                    <a:pt x="308" y="139"/>
                  </a:cubicBezTo>
                  <a:cubicBezTo>
                    <a:pt x="308" y="139"/>
                    <a:pt x="308" y="139"/>
                    <a:pt x="308" y="139"/>
                  </a:cubicBezTo>
                  <a:cubicBezTo>
                    <a:pt x="310" y="139"/>
                    <a:pt x="310" y="139"/>
                    <a:pt x="310" y="139"/>
                  </a:cubicBezTo>
                  <a:cubicBezTo>
                    <a:pt x="311" y="140"/>
                    <a:pt x="312" y="140"/>
                    <a:pt x="313" y="141"/>
                  </a:cubicBezTo>
                  <a:cubicBezTo>
                    <a:pt x="313" y="141"/>
                    <a:pt x="313" y="141"/>
                    <a:pt x="313" y="141"/>
                  </a:cubicBezTo>
                  <a:cubicBezTo>
                    <a:pt x="314" y="141"/>
                    <a:pt x="314" y="141"/>
                    <a:pt x="314" y="142"/>
                  </a:cubicBezTo>
                  <a:cubicBezTo>
                    <a:pt x="315" y="142"/>
                    <a:pt x="316" y="142"/>
                    <a:pt x="316" y="142"/>
                  </a:cubicBezTo>
                  <a:cubicBezTo>
                    <a:pt x="318" y="143"/>
                    <a:pt x="318" y="143"/>
                    <a:pt x="318" y="143"/>
                  </a:cubicBezTo>
                  <a:cubicBezTo>
                    <a:pt x="318" y="143"/>
                    <a:pt x="319" y="144"/>
                    <a:pt x="319" y="144"/>
                  </a:cubicBezTo>
                  <a:cubicBezTo>
                    <a:pt x="319" y="144"/>
                    <a:pt x="320" y="144"/>
                    <a:pt x="320" y="144"/>
                  </a:cubicBezTo>
                  <a:cubicBezTo>
                    <a:pt x="320" y="144"/>
                    <a:pt x="320" y="144"/>
                    <a:pt x="320" y="144"/>
                  </a:cubicBezTo>
                  <a:cubicBezTo>
                    <a:pt x="321" y="144"/>
                    <a:pt x="321" y="144"/>
                    <a:pt x="321" y="144"/>
                  </a:cubicBezTo>
                  <a:cubicBezTo>
                    <a:pt x="323" y="144"/>
                    <a:pt x="323" y="144"/>
                    <a:pt x="323" y="144"/>
                  </a:cubicBezTo>
                  <a:cubicBezTo>
                    <a:pt x="323" y="144"/>
                    <a:pt x="323" y="144"/>
                    <a:pt x="323" y="144"/>
                  </a:cubicBezTo>
                  <a:cubicBezTo>
                    <a:pt x="324" y="144"/>
                    <a:pt x="324" y="144"/>
                    <a:pt x="324" y="144"/>
                  </a:cubicBezTo>
                  <a:cubicBezTo>
                    <a:pt x="324" y="143"/>
                    <a:pt x="324" y="142"/>
                    <a:pt x="324" y="141"/>
                  </a:cubicBezTo>
                  <a:cubicBezTo>
                    <a:pt x="324" y="141"/>
                    <a:pt x="324" y="141"/>
                    <a:pt x="324" y="141"/>
                  </a:cubicBezTo>
                  <a:cubicBezTo>
                    <a:pt x="324" y="141"/>
                    <a:pt x="324" y="140"/>
                    <a:pt x="324" y="140"/>
                  </a:cubicBezTo>
                  <a:cubicBezTo>
                    <a:pt x="325" y="136"/>
                    <a:pt x="325" y="136"/>
                    <a:pt x="325" y="136"/>
                  </a:cubicBezTo>
                  <a:cubicBezTo>
                    <a:pt x="325" y="136"/>
                    <a:pt x="325" y="135"/>
                    <a:pt x="325" y="134"/>
                  </a:cubicBezTo>
                  <a:cubicBezTo>
                    <a:pt x="326" y="133"/>
                    <a:pt x="326" y="133"/>
                    <a:pt x="326" y="133"/>
                  </a:cubicBezTo>
                  <a:cubicBezTo>
                    <a:pt x="326" y="133"/>
                    <a:pt x="326" y="132"/>
                    <a:pt x="326" y="131"/>
                  </a:cubicBezTo>
                  <a:cubicBezTo>
                    <a:pt x="322" y="130"/>
                    <a:pt x="322" y="130"/>
                    <a:pt x="322" y="130"/>
                  </a:cubicBezTo>
                  <a:cubicBezTo>
                    <a:pt x="320" y="129"/>
                    <a:pt x="319" y="128"/>
                    <a:pt x="317" y="127"/>
                  </a:cubicBezTo>
                  <a:cubicBezTo>
                    <a:pt x="316" y="127"/>
                    <a:pt x="316" y="127"/>
                    <a:pt x="316" y="127"/>
                  </a:cubicBezTo>
                  <a:cubicBezTo>
                    <a:pt x="312" y="125"/>
                    <a:pt x="311" y="124"/>
                    <a:pt x="311" y="124"/>
                  </a:cubicBezTo>
                  <a:cubicBezTo>
                    <a:pt x="311" y="125"/>
                    <a:pt x="311" y="125"/>
                    <a:pt x="311" y="125"/>
                  </a:cubicBezTo>
                  <a:cubicBezTo>
                    <a:pt x="310" y="125"/>
                    <a:pt x="309" y="125"/>
                    <a:pt x="308" y="126"/>
                  </a:cubicBezTo>
                  <a:cubicBezTo>
                    <a:pt x="308" y="126"/>
                    <a:pt x="307" y="126"/>
                    <a:pt x="307" y="126"/>
                  </a:cubicBezTo>
                  <a:cubicBezTo>
                    <a:pt x="304" y="126"/>
                    <a:pt x="301" y="124"/>
                    <a:pt x="299" y="123"/>
                  </a:cubicBezTo>
                  <a:cubicBezTo>
                    <a:pt x="298" y="122"/>
                    <a:pt x="298" y="122"/>
                    <a:pt x="298" y="122"/>
                  </a:cubicBezTo>
                  <a:cubicBezTo>
                    <a:pt x="298" y="121"/>
                    <a:pt x="297" y="121"/>
                    <a:pt x="296" y="120"/>
                  </a:cubicBezTo>
                  <a:cubicBezTo>
                    <a:pt x="294" y="119"/>
                    <a:pt x="292" y="118"/>
                    <a:pt x="290" y="116"/>
                  </a:cubicBezTo>
                  <a:cubicBezTo>
                    <a:pt x="289" y="116"/>
                    <a:pt x="289" y="115"/>
                    <a:pt x="288" y="115"/>
                  </a:cubicBezTo>
                  <a:cubicBezTo>
                    <a:pt x="286" y="114"/>
                    <a:pt x="286" y="114"/>
                    <a:pt x="285" y="113"/>
                  </a:cubicBezTo>
                  <a:cubicBezTo>
                    <a:pt x="281" y="111"/>
                    <a:pt x="278" y="110"/>
                    <a:pt x="275" y="107"/>
                  </a:cubicBezTo>
                  <a:cubicBezTo>
                    <a:pt x="271" y="104"/>
                    <a:pt x="267" y="101"/>
                    <a:pt x="262" y="99"/>
                  </a:cubicBezTo>
                  <a:cubicBezTo>
                    <a:pt x="259" y="98"/>
                    <a:pt x="259" y="98"/>
                    <a:pt x="259" y="98"/>
                  </a:cubicBezTo>
                  <a:cubicBezTo>
                    <a:pt x="258" y="97"/>
                    <a:pt x="257" y="97"/>
                    <a:pt x="256" y="96"/>
                  </a:cubicBezTo>
                  <a:cubicBezTo>
                    <a:pt x="252" y="94"/>
                    <a:pt x="248" y="91"/>
                    <a:pt x="245" y="88"/>
                  </a:cubicBezTo>
                  <a:cubicBezTo>
                    <a:pt x="243" y="87"/>
                    <a:pt x="243" y="87"/>
                    <a:pt x="243" y="87"/>
                  </a:cubicBezTo>
                  <a:cubicBezTo>
                    <a:pt x="242" y="87"/>
                    <a:pt x="242" y="86"/>
                    <a:pt x="241" y="85"/>
                  </a:cubicBezTo>
                  <a:cubicBezTo>
                    <a:pt x="237" y="83"/>
                    <a:pt x="237" y="83"/>
                    <a:pt x="237" y="83"/>
                  </a:cubicBezTo>
                  <a:cubicBezTo>
                    <a:pt x="236" y="82"/>
                    <a:pt x="235" y="82"/>
                    <a:pt x="235" y="81"/>
                  </a:cubicBezTo>
                  <a:cubicBezTo>
                    <a:pt x="234" y="81"/>
                    <a:pt x="234" y="81"/>
                    <a:pt x="234" y="81"/>
                  </a:cubicBezTo>
                  <a:cubicBezTo>
                    <a:pt x="233" y="80"/>
                    <a:pt x="230" y="79"/>
                    <a:pt x="229" y="77"/>
                  </a:cubicBezTo>
                  <a:cubicBezTo>
                    <a:pt x="229" y="77"/>
                    <a:pt x="229" y="76"/>
                    <a:pt x="228" y="76"/>
                  </a:cubicBezTo>
                  <a:cubicBezTo>
                    <a:pt x="228" y="76"/>
                    <a:pt x="228" y="76"/>
                    <a:pt x="228" y="76"/>
                  </a:cubicBezTo>
                  <a:cubicBezTo>
                    <a:pt x="228" y="75"/>
                    <a:pt x="228" y="75"/>
                    <a:pt x="228" y="75"/>
                  </a:cubicBezTo>
                  <a:cubicBezTo>
                    <a:pt x="227" y="73"/>
                    <a:pt x="227" y="72"/>
                    <a:pt x="226" y="70"/>
                  </a:cubicBezTo>
                  <a:cubicBezTo>
                    <a:pt x="226" y="69"/>
                    <a:pt x="226" y="69"/>
                    <a:pt x="226" y="68"/>
                  </a:cubicBezTo>
                  <a:cubicBezTo>
                    <a:pt x="225" y="67"/>
                    <a:pt x="225" y="67"/>
                    <a:pt x="225" y="67"/>
                  </a:cubicBezTo>
                  <a:cubicBezTo>
                    <a:pt x="225" y="66"/>
                    <a:pt x="224" y="65"/>
                    <a:pt x="223" y="64"/>
                  </a:cubicBezTo>
                  <a:cubicBezTo>
                    <a:pt x="222" y="64"/>
                    <a:pt x="221" y="62"/>
                    <a:pt x="220" y="60"/>
                  </a:cubicBezTo>
                  <a:cubicBezTo>
                    <a:pt x="220" y="59"/>
                    <a:pt x="219" y="58"/>
                    <a:pt x="218" y="56"/>
                  </a:cubicBezTo>
                  <a:cubicBezTo>
                    <a:pt x="216" y="51"/>
                    <a:pt x="214" y="46"/>
                    <a:pt x="211" y="43"/>
                  </a:cubicBezTo>
                  <a:cubicBezTo>
                    <a:pt x="209" y="41"/>
                    <a:pt x="208" y="41"/>
                    <a:pt x="207" y="41"/>
                  </a:cubicBezTo>
                  <a:cubicBezTo>
                    <a:pt x="207" y="41"/>
                    <a:pt x="207" y="41"/>
                    <a:pt x="207" y="42"/>
                  </a:cubicBezTo>
                  <a:cubicBezTo>
                    <a:pt x="205" y="43"/>
                    <a:pt x="203" y="44"/>
                    <a:pt x="201" y="44"/>
                  </a:cubicBezTo>
                  <a:cubicBezTo>
                    <a:pt x="198" y="44"/>
                    <a:pt x="198" y="44"/>
                    <a:pt x="198" y="44"/>
                  </a:cubicBezTo>
                  <a:cubicBezTo>
                    <a:pt x="197" y="44"/>
                    <a:pt x="196" y="44"/>
                    <a:pt x="195" y="43"/>
                  </a:cubicBezTo>
                  <a:cubicBezTo>
                    <a:pt x="193" y="43"/>
                    <a:pt x="190" y="42"/>
                    <a:pt x="188" y="42"/>
                  </a:cubicBezTo>
                  <a:cubicBezTo>
                    <a:pt x="188" y="42"/>
                    <a:pt x="188" y="42"/>
                    <a:pt x="187" y="42"/>
                  </a:cubicBezTo>
                  <a:cubicBezTo>
                    <a:pt x="187" y="42"/>
                    <a:pt x="186" y="42"/>
                    <a:pt x="186" y="42"/>
                  </a:cubicBezTo>
                  <a:cubicBezTo>
                    <a:pt x="185" y="42"/>
                    <a:pt x="184" y="42"/>
                    <a:pt x="184" y="42"/>
                  </a:cubicBezTo>
                  <a:cubicBezTo>
                    <a:pt x="182" y="42"/>
                    <a:pt x="180" y="42"/>
                    <a:pt x="178" y="40"/>
                  </a:cubicBezTo>
                  <a:cubicBezTo>
                    <a:pt x="177" y="40"/>
                    <a:pt x="177" y="40"/>
                    <a:pt x="177" y="40"/>
                  </a:cubicBezTo>
                  <a:cubicBezTo>
                    <a:pt x="177" y="40"/>
                    <a:pt x="176" y="39"/>
                    <a:pt x="176" y="39"/>
                  </a:cubicBezTo>
                  <a:cubicBezTo>
                    <a:pt x="174" y="38"/>
                    <a:pt x="174" y="38"/>
                    <a:pt x="174" y="38"/>
                  </a:cubicBezTo>
                  <a:cubicBezTo>
                    <a:pt x="174" y="38"/>
                    <a:pt x="174" y="38"/>
                    <a:pt x="174" y="38"/>
                  </a:cubicBezTo>
                  <a:cubicBezTo>
                    <a:pt x="173" y="37"/>
                    <a:pt x="170" y="35"/>
                    <a:pt x="171" y="32"/>
                  </a:cubicBezTo>
                  <a:cubicBezTo>
                    <a:pt x="172" y="30"/>
                    <a:pt x="172" y="30"/>
                    <a:pt x="172" y="30"/>
                  </a:cubicBezTo>
                  <a:cubicBezTo>
                    <a:pt x="172" y="29"/>
                    <a:pt x="172" y="29"/>
                    <a:pt x="172" y="29"/>
                  </a:cubicBezTo>
                  <a:cubicBezTo>
                    <a:pt x="172" y="29"/>
                    <a:pt x="172" y="29"/>
                    <a:pt x="172" y="28"/>
                  </a:cubicBezTo>
                  <a:cubicBezTo>
                    <a:pt x="169" y="25"/>
                    <a:pt x="169" y="25"/>
                    <a:pt x="169" y="25"/>
                  </a:cubicBezTo>
                  <a:cubicBezTo>
                    <a:pt x="173" y="24"/>
                    <a:pt x="173" y="24"/>
                    <a:pt x="173" y="24"/>
                  </a:cubicBezTo>
                  <a:cubicBezTo>
                    <a:pt x="172" y="23"/>
                    <a:pt x="171" y="22"/>
                    <a:pt x="169" y="22"/>
                  </a:cubicBezTo>
                  <a:cubicBezTo>
                    <a:pt x="163" y="19"/>
                    <a:pt x="163" y="19"/>
                    <a:pt x="163" y="19"/>
                  </a:cubicBezTo>
                  <a:cubicBezTo>
                    <a:pt x="169" y="17"/>
                    <a:pt x="169" y="17"/>
                    <a:pt x="169" y="17"/>
                  </a:cubicBezTo>
                  <a:cubicBezTo>
                    <a:pt x="169" y="16"/>
                    <a:pt x="169" y="16"/>
                    <a:pt x="169" y="16"/>
                  </a:cubicBezTo>
                  <a:cubicBezTo>
                    <a:pt x="169" y="16"/>
                    <a:pt x="169" y="16"/>
                    <a:pt x="169" y="16"/>
                  </a:cubicBezTo>
                  <a:cubicBezTo>
                    <a:pt x="169" y="16"/>
                    <a:pt x="169" y="15"/>
                    <a:pt x="169" y="14"/>
                  </a:cubicBezTo>
                  <a:cubicBezTo>
                    <a:pt x="167" y="13"/>
                    <a:pt x="165" y="13"/>
                    <a:pt x="164" y="12"/>
                  </a:cubicBezTo>
                  <a:cubicBezTo>
                    <a:pt x="163" y="12"/>
                    <a:pt x="163" y="12"/>
                    <a:pt x="163" y="12"/>
                  </a:cubicBezTo>
                  <a:cubicBezTo>
                    <a:pt x="162" y="12"/>
                    <a:pt x="159" y="12"/>
                    <a:pt x="157" y="12"/>
                  </a:cubicBezTo>
                  <a:cubicBezTo>
                    <a:pt x="157" y="12"/>
                    <a:pt x="157" y="12"/>
                    <a:pt x="157" y="12"/>
                  </a:cubicBezTo>
                  <a:cubicBezTo>
                    <a:pt x="156" y="12"/>
                    <a:pt x="156" y="12"/>
                    <a:pt x="156" y="12"/>
                  </a:cubicBezTo>
                  <a:cubicBezTo>
                    <a:pt x="155" y="12"/>
                    <a:pt x="154" y="11"/>
                    <a:pt x="153" y="10"/>
                  </a:cubicBezTo>
                  <a:cubicBezTo>
                    <a:pt x="153" y="9"/>
                    <a:pt x="152" y="9"/>
                    <a:pt x="152" y="8"/>
                  </a:cubicBezTo>
                  <a:cubicBezTo>
                    <a:pt x="151" y="7"/>
                    <a:pt x="151" y="7"/>
                    <a:pt x="151" y="7"/>
                  </a:cubicBezTo>
                  <a:cubicBezTo>
                    <a:pt x="151" y="7"/>
                    <a:pt x="151" y="7"/>
                    <a:pt x="150" y="6"/>
                  </a:cubicBezTo>
                  <a:cubicBezTo>
                    <a:pt x="150" y="6"/>
                    <a:pt x="150" y="6"/>
                    <a:pt x="150" y="6"/>
                  </a:cubicBezTo>
                  <a:cubicBezTo>
                    <a:pt x="150" y="6"/>
                    <a:pt x="150" y="6"/>
                    <a:pt x="150" y="6"/>
                  </a:cubicBezTo>
                  <a:cubicBezTo>
                    <a:pt x="150" y="6"/>
                    <a:pt x="149" y="6"/>
                    <a:pt x="149" y="6"/>
                  </a:cubicBezTo>
                  <a:cubicBezTo>
                    <a:pt x="149" y="6"/>
                    <a:pt x="149" y="6"/>
                    <a:pt x="149" y="6"/>
                  </a:cubicBezTo>
                  <a:cubicBezTo>
                    <a:pt x="148" y="6"/>
                    <a:pt x="148" y="6"/>
                    <a:pt x="148" y="6"/>
                  </a:cubicBezTo>
                  <a:cubicBezTo>
                    <a:pt x="148" y="6"/>
                    <a:pt x="147" y="6"/>
                    <a:pt x="147" y="6"/>
                  </a:cubicBezTo>
                  <a:cubicBezTo>
                    <a:pt x="146" y="5"/>
                    <a:pt x="145" y="5"/>
                    <a:pt x="144" y="5"/>
                  </a:cubicBezTo>
                  <a:cubicBezTo>
                    <a:pt x="143" y="3"/>
                    <a:pt x="141" y="2"/>
                    <a:pt x="140" y="0"/>
                  </a:cubicBezTo>
                  <a:cubicBezTo>
                    <a:pt x="140" y="0"/>
                    <a:pt x="140" y="0"/>
                    <a:pt x="1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1" name="Freeform 290">
              <a:extLst>
                <a:ext uri="{FF2B5EF4-FFF2-40B4-BE49-F238E27FC236}">
                  <a16:creationId xmlns:a16="http://schemas.microsoft.com/office/drawing/2014/main" id="{43C0B3FD-77B1-4DA4-9C87-2FD00BAB53C8}"/>
                </a:ext>
              </a:extLst>
            </p:cNvPr>
            <p:cNvSpPr>
              <a:spLocks/>
            </p:cNvSpPr>
            <p:nvPr/>
          </p:nvSpPr>
          <p:spPr bwMode="auto">
            <a:xfrm>
              <a:off x="7518" y="396"/>
              <a:ext cx="2" cy="0"/>
            </a:xfrm>
            <a:custGeom>
              <a:avLst/>
              <a:gdLst>
                <a:gd name="T0" fmla="*/ 2 w 2"/>
                <a:gd name="T1" fmla="*/ 0 w 2"/>
                <a:gd name="T2" fmla="*/ 2 w 2"/>
                <a:gd name="T3" fmla="*/ 2 w 2"/>
              </a:gdLst>
              <a:ahLst/>
              <a:cxnLst>
                <a:cxn ang="0">
                  <a:pos x="T0" y="0"/>
                </a:cxn>
                <a:cxn ang="0">
                  <a:pos x="T1" y="0"/>
                </a:cxn>
                <a:cxn ang="0">
                  <a:pos x="T2" y="0"/>
                </a:cxn>
                <a:cxn ang="0">
                  <a:pos x="T3" y="0"/>
                </a:cxn>
              </a:cxnLst>
              <a:rect l="0" t="0" r="r" b="b"/>
              <a:pathLst>
                <a:path w="2">
                  <a:moveTo>
                    <a:pt x="2" y="0"/>
                  </a:moveTo>
                  <a:lnTo>
                    <a:pt x="0"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2" name="Freeform 291">
              <a:extLst>
                <a:ext uri="{FF2B5EF4-FFF2-40B4-BE49-F238E27FC236}">
                  <a16:creationId xmlns:a16="http://schemas.microsoft.com/office/drawing/2014/main" id="{B978BA02-52F6-42F6-B7E7-E2E024E30450}"/>
                </a:ext>
              </a:extLst>
            </p:cNvPr>
            <p:cNvSpPr>
              <a:spLocks/>
            </p:cNvSpPr>
            <p:nvPr/>
          </p:nvSpPr>
          <p:spPr bwMode="auto">
            <a:xfrm>
              <a:off x="7518" y="396"/>
              <a:ext cx="2" cy="0"/>
            </a:xfrm>
            <a:custGeom>
              <a:avLst/>
              <a:gdLst>
                <a:gd name="T0" fmla="*/ 2 w 2"/>
                <a:gd name="T1" fmla="*/ 0 w 2"/>
                <a:gd name="T2" fmla="*/ 2 w 2"/>
                <a:gd name="T3" fmla="*/ 2 w 2"/>
              </a:gdLst>
              <a:ahLst/>
              <a:cxnLst>
                <a:cxn ang="0">
                  <a:pos x="T0" y="0"/>
                </a:cxn>
                <a:cxn ang="0">
                  <a:pos x="T1" y="0"/>
                </a:cxn>
                <a:cxn ang="0">
                  <a:pos x="T2" y="0"/>
                </a:cxn>
                <a:cxn ang="0">
                  <a:pos x="T3" y="0"/>
                </a:cxn>
              </a:cxnLst>
              <a:rect l="0" t="0" r="r" b="b"/>
              <a:pathLst>
                <a:path w="2">
                  <a:moveTo>
                    <a:pt x="2" y="0"/>
                  </a:moveTo>
                  <a:lnTo>
                    <a:pt x="0" y="0"/>
                  </a:lnTo>
                  <a:lnTo>
                    <a:pt x="2"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3" name="Freeform 292">
              <a:extLst>
                <a:ext uri="{FF2B5EF4-FFF2-40B4-BE49-F238E27FC236}">
                  <a16:creationId xmlns:a16="http://schemas.microsoft.com/office/drawing/2014/main" id="{2FFD64ED-743B-4063-857F-DA7F2B304DB6}"/>
                </a:ext>
              </a:extLst>
            </p:cNvPr>
            <p:cNvSpPr>
              <a:spLocks/>
            </p:cNvSpPr>
            <p:nvPr/>
          </p:nvSpPr>
          <p:spPr bwMode="auto">
            <a:xfrm>
              <a:off x="7416" y="396"/>
              <a:ext cx="262" cy="213"/>
            </a:xfrm>
            <a:custGeom>
              <a:avLst/>
              <a:gdLst>
                <a:gd name="T0" fmla="*/ 36 w 111"/>
                <a:gd name="T1" fmla="*/ 4 h 90"/>
                <a:gd name="T2" fmla="*/ 34 w 111"/>
                <a:gd name="T3" fmla="*/ 4 h 90"/>
                <a:gd name="T4" fmla="*/ 33 w 111"/>
                <a:gd name="T5" fmla="*/ 20 h 90"/>
                <a:gd name="T6" fmla="*/ 29 w 111"/>
                <a:gd name="T7" fmla="*/ 10 h 90"/>
                <a:gd name="T8" fmla="*/ 22 w 111"/>
                <a:gd name="T9" fmla="*/ 19 h 90"/>
                <a:gd name="T10" fmla="*/ 15 w 111"/>
                <a:gd name="T11" fmla="*/ 18 h 90"/>
                <a:gd name="T12" fmla="*/ 5 w 111"/>
                <a:gd name="T13" fmla="*/ 17 h 90"/>
                <a:gd name="T14" fmla="*/ 3 w 111"/>
                <a:gd name="T15" fmla="*/ 18 h 90"/>
                <a:gd name="T16" fmla="*/ 0 w 111"/>
                <a:gd name="T17" fmla="*/ 22 h 90"/>
                <a:gd name="T18" fmla="*/ 3 w 111"/>
                <a:gd name="T19" fmla="*/ 26 h 90"/>
                <a:gd name="T20" fmla="*/ 18 w 111"/>
                <a:gd name="T21" fmla="*/ 32 h 90"/>
                <a:gd name="T22" fmla="*/ 17 w 111"/>
                <a:gd name="T23" fmla="*/ 44 h 90"/>
                <a:gd name="T24" fmla="*/ 20 w 111"/>
                <a:gd name="T25" fmla="*/ 47 h 90"/>
                <a:gd name="T26" fmla="*/ 14 w 111"/>
                <a:gd name="T27" fmla="*/ 68 h 90"/>
                <a:gd name="T28" fmla="*/ 10 w 111"/>
                <a:gd name="T29" fmla="*/ 76 h 90"/>
                <a:gd name="T30" fmla="*/ 12 w 111"/>
                <a:gd name="T31" fmla="*/ 83 h 90"/>
                <a:gd name="T32" fmla="*/ 17 w 111"/>
                <a:gd name="T33" fmla="*/ 80 h 90"/>
                <a:gd name="T34" fmla="*/ 28 w 111"/>
                <a:gd name="T35" fmla="*/ 76 h 90"/>
                <a:gd name="T36" fmla="*/ 30 w 111"/>
                <a:gd name="T37" fmla="*/ 75 h 90"/>
                <a:gd name="T38" fmla="*/ 38 w 111"/>
                <a:gd name="T39" fmla="*/ 76 h 90"/>
                <a:gd name="T40" fmla="*/ 42 w 111"/>
                <a:gd name="T41" fmla="*/ 79 h 90"/>
                <a:gd name="T42" fmla="*/ 42 w 111"/>
                <a:gd name="T43" fmla="*/ 76 h 90"/>
                <a:gd name="T44" fmla="*/ 44 w 111"/>
                <a:gd name="T45" fmla="*/ 69 h 90"/>
                <a:gd name="T46" fmla="*/ 57 w 111"/>
                <a:gd name="T47" fmla="*/ 67 h 90"/>
                <a:gd name="T48" fmla="*/ 61 w 111"/>
                <a:gd name="T49" fmla="*/ 68 h 90"/>
                <a:gd name="T50" fmla="*/ 61 w 111"/>
                <a:gd name="T51" fmla="*/ 66 h 90"/>
                <a:gd name="T52" fmla="*/ 61 w 111"/>
                <a:gd name="T53" fmla="*/ 57 h 90"/>
                <a:gd name="T54" fmla="*/ 69 w 111"/>
                <a:gd name="T55" fmla="*/ 52 h 90"/>
                <a:gd name="T56" fmla="*/ 80 w 111"/>
                <a:gd name="T57" fmla="*/ 43 h 90"/>
                <a:gd name="T58" fmla="*/ 86 w 111"/>
                <a:gd name="T59" fmla="*/ 45 h 90"/>
                <a:gd name="T60" fmla="*/ 90 w 111"/>
                <a:gd name="T61" fmla="*/ 45 h 90"/>
                <a:gd name="T62" fmla="*/ 90 w 111"/>
                <a:gd name="T63" fmla="*/ 50 h 90"/>
                <a:gd name="T64" fmla="*/ 96 w 111"/>
                <a:gd name="T65" fmla="*/ 57 h 90"/>
                <a:gd name="T66" fmla="*/ 96 w 111"/>
                <a:gd name="T67" fmla="*/ 79 h 90"/>
                <a:gd name="T68" fmla="*/ 96 w 111"/>
                <a:gd name="T69" fmla="*/ 80 h 90"/>
                <a:gd name="T70" fmla="*/ 96 w 111"/>
                <a:gd name="T71" fmla="*/ 86 h 90"/>
                <a:gd name="T72" fmla="*/ 98 w 111"/>
                <a:gd name="T73" fmla="*/ 90 h 90"/>
                <a:gd name="T74" fmla="*/ 111 w 111"/>
                <a:gd name="T75" fmla="*/ 86 h 90"/>
                <a:gd name="T76" fmla="*/ 104 w 111"/>
                <a:gd name="T77" fmla="*/ 26 h 90"/>
                <a:gd name="T78" fmla="*/ 99 w 111"/>
                <a:gd name="T79" fmla="*/ 26 h 90"/>
                <a:gd name="T80" fmla="*/ 96 w 111"/>
                <a:gd name="T81" fmla="*/ 21 h 90"/>
                <a:gd name="T82" fmla="*/ 92 w 111"/>
                <a:gd name="T83" fmla="*/ 19 h 90"/>
                <a:gd name="T84" fmla="*/ 82 w 111"/>
                <a:gd name="T85" fmla="*/ 22 h 90"/>
                <a:gd name="T86" fmla="*/ 82 w 111"/>
                <a:gd name="T87" fmla="*/ 22 h 90"/>
                <a:gd name="T88" fmla="*/ 58 w 111"/>
                <a:gd name="T89" fmla="*/ 18 h 90"/>
                <a:gd name="T90" fmla="*/ 39 w 111"/>
                <a:gd name="T91" fmla="*/ 16 h 90"/>
                <a:gd name="T92" fmla="*/ 39 w 111"/>
                <a:gd name="T93" fmla="*/ 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 h="90">
                  <a:moveTo>
                    <a:pt x="38" y="0"/>
                  </a:moveTo>
                  <a:cubicBezTo>
                    <a:pt x="38" y="1"/>
                    <a:pt x="37" y="2"/>
                    <a:pt x="37" y="3"/>
                  </a:cubicBezTo>
                  <a:cubicBezTo>
                    <a:pt x="36" y="4"/>
                    <a:pt x="36" y="4"/>
                    <a:pt x="36" y="4"/>
                  </a:cubicBezTo>
                  <a:cubicBezTo>
                    <a:pt x="35" y="4"/>
                    <a:pt x="35" y="4"/>
                    <a:pt x="35" y="4"/>
                  </a:cubicBezTo>
                  <a:cubicBezTo>
                    <a:pt x="34" y="4"/>
                    <a:pt x="34" y="4"/>
                    <a:pt x="34" y="4"/>
                  </a:cubicBezTo>
                  <a:cubicBezTo>
                    <a:pt x="34" y="4"/>
                    <a:pt x="34" y="4"/>
                    <a:pt x="34" y="4"/>
                  </a:cubicBezTo>
                  <a:cubicBezTo>
                    <a:pt x="34" y="5"/>
                    <a:pt x="34" y="5"/>
                    <a:pt x="34" y="5"/>
                  </a:cubicBezTo>
                  <a:cubicBezTo>
                    <a:pt x="34" y="6"/>
                    <a:pt x="34" y="6"/>
                    <a:pt x="34" y="7"/>
                  </a:cubicBezTo>
                  <a:cubicBezTo>
                    <a:pt x="33" y="20"/>
                    <a:pt x="33" y="20"/>
                    <a:pt x="33" y="20"/>
                  </a:cubicBezTo>
                  <a:cubicBezTo>
                    <a:pt x="29" y="9"/>
                    <a:pt x="29" y="9"/>
                    <a:pt x="29" y="9"/>
                  </a:cubicBezTo>
                  <a:cubicBezTo>
                    <a:pt x="29" y="9"/>
                    <a:pt x="29" y="9"/>
                    <a:pt x="29" y="9"/>
                  </a:cubicBezTo>
                  <a:cubicBezTo>
                    <a:pt x="29" y="10"/>
                    <a:pt x="29" y="10"/>
                    <a:pt x="29" y="10"/>
                  </a:cubicBezTo>
                  <a:cubicBezTo>
                    <a:pt x="27" y="15"/>
                    <a:pt x="26" y="18"/>
                    <a:pt x="24" y="18"/>
                  </a:cubicBezTo>
                  <a:cubicBezTo>
                    <a:pt x="24" y="19"/>
                    <a:pt x="24" y="19"/>
                    <a:pt x="24" y="19"/>
                  </a:cubicBezTo>
                  <a:cubicBezTo>
                    <a:pt x="23" y="19"/>
                    <a:pt x="23" y="19"/>
                    <a:pt x="22" y="19"/>
                  </a:cubicBezTo>
                  <a:cubicBezTo>
                    <a:pt x="21" y="19"/>
                    <a:pt x="21" y="19"/>
                    <a:pt x="20" y="19"/>
                  </a:cubicBezTo>
                  <a:cubicBezTo>
                    <a:pt x="19" y="19"/>
                    <a:pt x="19" y="19"/>
                    <a:pt x="19" y="19"/>
                  </a:cubicBezTo>
                  <a:cubicBezTo>
                    <a:pt x="18" y="19"/>
                    <a:pt x="17" y="18"/>
                    <a:pt x="15" y="18"/>
                  </a:cubicBezTo>
                  <a:cubicBezTo>
                    <a:pt x="13" y="18"/>
                    <a:pt x="10" y="17"/>
                    <a:pt x="7" y="17"/>
                  </a:cubicBezTo>
                  <a:cubicBezTo>
                    <a:pt x="6" y="17"/>
                    <a:pt x="6" y="17"/>
                    <a:pt x="5" y="17"/>
                  </a:cubicBezTo>
                  <a:cubicBezTo>
                    <a:pt x="5" y="17"/>
                    <a:pt x="5" y="17"/>
                    <a:pt x="5" y="17"/>
                  </a:cubicBezTo>
                  <a:cubicBezTo>
                    <a:pt x="4" y="17"/>
                    <a:pt x="4" y="17"/>
                    <a:pt x="4" y="17"/>
                  </a:cubicBezTo>
                  <a:cubicBezTo>
                    <a:pt x="4" y="17"/>
                    <a:pt x="4" y="17"/>
                    <a:pt x="4" y="17"/>
                  </a:cubicBezTo>
                  <a:cubicBezTo>
                    <a:pt x="4" y="17"/>
                    <a:pt x="3" y="18"/>
                    <a:pt x="3" y="18"/>
                  </a:cubicBezTo>
                  <a:cubicBezTo>
                    <a:pt x="2" y="18"/>
                    <a:pt x="2" y="18"/>
                    <a:pt x="2" y="18"/>
                  </a:cubicBezTo>
                  <a:cubicBezTo>
                    <a:pt x="1" y="19"/>
                    <a:pt x="0" y="20"/>
                    <a:pt x="0" y="22"/>
                  </a:cubicBezTo>
                  <a:cubicBezTo>
                    <a:pt x="0" y="22"/>
                    <a:pt x="0" y="22"/>
                    <a:pt x="0" y="22"/>
                  </a:cubicBezTo>
                  <a:cubicBezTo>
                    <a:pt x="0" y="23"/>
                    <a:pt x="1" y="23"/>
                    <a:pt x="1" y="24"/>
                  </a:cubicBezTo>
                  <a:cubicBezTo>
                    <a:pt x="2" y="24"/>
                    <a:pt x="2" y="24"/>
                    <a:pt x="2" y="24"/>
                  </a:cubicBezTo>
                  <a:cubicBezTo>
                    <a:pt x="2" y="25"/>
                    <a:pt x="3" y="25"/>
                    <a:pt x="3" y="26"/>
                  </a:cubicBezTo>
                  <a:cubicBezTo>
                    <a:pt x="5" y="28"/>
                    <a:pt x="5" y="28"/>
                    <a:pt x="9" y="28"/>
                  </a:cubicBezTo>
                  <a:cubicBezTo>
                    <a:pt x="9" y="28"/>
                    <a:pt x="10" y="28"/>
                    <a:pt x="12" y="28"/>
                  </a:cubicBezTo>
                  <a:cubicBezTo>
                    <a:pt x="14" y="29"/>
                    <a:pt x="17" y="30"/>
                    <a:pt x="18" y="32"/>
                  </a:cubicBezTo>
                  <a:cubicBezTo>
                    <a:pt x="18" y="33"/>
                    <a:pt x="18" y="33"/>
                    <a:pt x="19" y="34"/>
                  </a:cubicBezTo>
                  <a:cubicBezTo>
                    <a:pt x="19" y="36"/>
                    <a:pt x="18" y="38"/>
                    <a:pt x="18" y="41"/>
                  </a:cubicBezTo>
                  <a:cubicBezTo>
                    <a:pt x="17" y="44"/>
                    <a:pt x="17" y="44"/>
                    <a:pt x="17" y="44"/>
                  </a:cubicBezTo>
                  <a:cubicBezTo>
                    <a:pt x="17" y="44"/>
                    <a:pt x="17" y="45"/>
                    <a:pt x="18" y="45"/>
                  </a:cubicBezTo>
                  <a:cubicBezTo>
                    <a:pt x="18" y="46"/>
                    <a:pt x="18" y="46"/>
                    <a:pt x="18" y="46"/>
                  </a:cubicBezTo>
                  <a:cubicBezTo>
                    <a:pt x="20" y="47"/>
                    <a:pt x="20" y="47"/>
                    <a:pt x="20" y="47"/>
                  </a:cubicBezTo>
                  <a:cubicBezTo>
                    <a:pt x="20" y="48"/>
                    <a:pt x="21" y="49"/>
                    <a:pt x="22" y="50"/>
                  </a:cubicBezTo>
                  <a:cubicBezTo>
                    <a:pt x="25" y="54"/>
                    <a:pt x="20" y="61"/>
                    <a:pt x="15" y="66"/>
                  </a:cubicBezTo>
                  <a:cubicBezTo>
                    <a:pt x="15" y="67"/>
                    <a:pt x="14" y="68"/>
                    <a:pt x="14" y="68"/>
                  </a:cubicBezTo>
                  <a:cubicBezTo>
                    <a:pt x="13" y="70"/>
                    <a:pt x="13" y="70"/>
                    <a:pt x="13" y="70"/>
                  </a:cubicBezTo>
                  <a:cubicBezTo>
                    <a:pt x="12" y="71"/>
                    <a:pt x="11" y="72"/>
                    <a:pt x="10" y="74"/>
                  </a:cubicBezTo>
                  <a:cubicBezTo>
                    <a:pt x="10" y="74"/>
                    <a:pt x="10" y="75"/>
                    <a:pt x="10" y="76"/>
                  </a:cubicBezTo>
                  <a:cubicBezTo>
                    <a:pt x="10" y="78"/>
                    <a:pt x="10" y="79"/>
                    <a:pt x="9" y="80"/>
                  </a:cubicBezTo>
                  <a:cubicBezTo>
                    <a:pt x="9" y="81"/>
                    <a:pt x="9" y="81"/>
                    <a:pt x="9" y="82"/>
                  </a:cubicBezTo>
                  <a:cubicBezTo>
                    <a:pt x="12" y="83"/>
                    <a:pt x="12" y="83"/>
                    <a:pt x="12" y="83"/>
                  </a:cubicBezTo>
                  <a:cubicBezTo>
                    <a:pt x="12" y="84"/>
                    <a:pt x="12" y="84"/>
                    <a:pt x="12" y="84"/>
                  </a:cubicBezTo>
                  <a:cubicBezTo>
                    <a:pt x="13" y="83"/>
                    <a:pt x="13" y="83"/>
                    <a:pt x="13" y="83"/>
                  </a:cubicBezTo>
                  <a:cubicBezTo>
                    <a:pt x="15" y="82"/>
                    <a:pt x="17" y="81"/>
                    <a:pt x="17" y="80"/>
                  </a:cubicBezTo>
                  <a:cubicBezTo>
                    <a:pt x="18" y="80"/>
                    <a:pt x="19" y="79"/>
                    <a:pt x="20" y="79"/>
                  </a:cubicBezTo>
                  <a:cubicBezTo>
                    <a:pt x="22" y="78"/>
                    <a:pt x="24" y="77"/>
                    <a:pt x="27" y="76"/>
                  </a:cubicBezTo>
                  <a:cubicBezTo>
                    <a:pt x="27" y="76"/>
                    <a:pt x="27" y="76"/>
                    <a:pt x="28" y="76"/>
                  </a:cubicBezTo>
                  <a:cubicBezTo>
                    <a:pt x="29" y="77"/>
                    <a:pt x="29" y="77"/>
                    <a:pt x="29" y="77"/>
                  </a:cubicBezTo>
                  <a:cubicBezTo>
                    <a:pt x="28" y="76"/>
                    <a:pt x="28" y="76"/>
                    <a:pt x="28" y="76"/>
                  </a:cubicBezTo>
                  <a:cubicBezTo>
                    <a:pt x="29" y="75"/>
                    <a:pt x="29" y="75"/>
                    <a:pt x="30" y="75"/>
                  </a:cubicBezTo>
                  <a:cubicBezTo>
                    <a:pt x="31" y="74"/>
                    <a:pt x="32" y="74"/>
                    <a:pt x="33" y="74"/>
                  </a:cubicBezTo>
                  <a:cubicBezTo>
                    <a:pt x="34" y="74"/>
                    <a:pt x="35" y="74"/>
                    <a:pt x="37" y="75"/>
                  </a:cubicBezTo>
                  <a:cubicBezTo>
                    <a:pt x="37" y="76"/>
                    <a:pt x="37" y="76"/>
                    <a:pt x="38" y="76"/>
                  </a:cubicBezTo>
                  <a:cubicBezTo>
                    <a:pt x="40" y="78"/>
                    <a:pt x="40" y="78"/>
                    <a:pt x="40" y="78"/>
                  </a:cubicBezTo>
                  <a:cubicBezTo>
                    <a:pt x="40" y="79"/>
                    <a:pt x="41" y="79"/>
                    <a:pt x="41" y="80"/>
                  </a:cubicBezTo>
                  <a:cubicBezTo>
                    <a:pt x="42" y="79"/>
                    <a:pt x="42" y="79"/>
                    <a:pt x="42" y="79"/>
                  </a:cubicBezTo>
                  <a:cubicBezTo>
                    <a:pt x="42" y="78"/>
                    <a:pt x="42" y="78"/>
                    <a:pt x="42" y="78"/>
                  </a:cubicBezTo>
                  <a:cubicBezTo>
                    <a:pt x="42" y="78"/>
                    <a:pt x="42" y="78"/>
                    <a:pt x="42" y="78"/>
                  </a:cubicBezTo>
                  <a:cubicBezTo>
                    <a:pt x="42" y="77"/>
                    <a:pt x="42" y="76"/>
                    <a:pt x="42" y="76"/>
                  </a:cubicBezTo>
                  <a:cubicBezTo>
                    <a:pt x="43" y="74"/>
                    <a:pt x="43" y="74"/>
                    <a:pt x="43" y="74"/>
                  </a:cubicBezTo>
                  <a:cubicBezTo>
                    <a:pt x="43" y="73"/>
                    <a:pt x="43" y="71"/>
                    <a:pt x="44" y="70"/>
                  </a:cubicBezTo>
                  <a:cubicBezTo>
                    <a:pt x="44" y="69"/>
                    <a:pt x="44" y="69"/>
                    <a:pt x="44" y="69"/>
                  </a:cubicBezTo>
                  <a:cubicBezTo>
                    <a:pt x="45" y="67"/>
                    <a:pt x="47" y="66"/>
                    <a:pt x="50" y="66"/>
                  </a:cubicBezTo>
                  <a:cubicBezTo>
                    <a:pt x="52" y="66"/>
                    <a:pt x="54" y="67"/>
                    <a:pt x="55" y="67"/>
                  </a:cubicBezTo>
                  <a:cubicBezTo>
                    <a:pt x="56" y="67"/>
                    <a:pt x="56" y="67"/>
                    <a:pt x="57" y="67"/>
                  </a:cubicBezTo>
                  <a:cubicBezTo>
                    <a:pt x="58" y="68"/>
                    <a:pt x="59" y="68"/>
                    <a:pt x="60" y="68"/>
                  </a:cubicBezTo>
                  <a:cubicBezTo>
                    <a:pt x="61" y="68"/>
                    <a:pt x="61" y="68"/>
                    <a:pt x="61" y="68"/>
                  </a:cubicBezTo>
                  <a:cubicBezTo>
                    <a:pt x="61" y="68"/>
                    <a:pt x="61" y="68"/>
                    <a:pt x="61" y="68"/>
                  </a:cubicBezTo>
                  <a:cubicBezTo>
                    <a:pt x="61" y="67"/>
                    <a:pt x="61" y="67"/>
                    <a:pt x="61" y="67"/>
                  </a:cubicBezTo>
                  <a:cubicBezTo>
                    <a:pt x="62" y="67"/>
                    <a:pt x="62" y="67"/>
                    <a:pt x="62" y="67"/>
                  </a:cubicBezTo>
                  <a:cubicBezTo>
                    <a:pt x="61" y="66"/>
                    <a:pt x="61" y="66"/>
                    <a:pt x="61" y="66"/>
                  </a:cubicBezTo>
                  <a:cubicBezTo>
                    <a:pt x="61" y="65"/>
                    <a:pt x="61" y="65"/>
                    <a:pt x="61" y="65"/>
                  </a:cubicBezTo>
                  <a:cubicBezTo>
                    <a:pt x="60" y="64"/>
                    <a:pt x="59" y="63"/>
                    <a:pt x="59" y="62"/>
                  </a:cubicBezTo>
                  <a:cubicBezTo>
                    <a:pt x="59" y="61"/>
                    <a:pt x="59" y="59"/>
                    <a:pt x="61" y="57"/>
                  </a:cubicBezTo>
                  <a:cubicBezTo>
                    <a:pt x="62" y="57"/>
                    <a:pt x="64" y="55"/>
                    <a:pt x="65" y="54"/>
                  </a:cubicBezTo>
                  <a:cubicBezTo>
                    <a:pt x="66" y="54"/>
                    <a:pt x="67" y="52"/>
                    <a:pt x="68" y="51"/>
                  </a:cubicBezTo>
                  <a:cubicBezTo>
                    <a:pt x="69" y="52"/>
                    <a:pt x="69" y="52"/>
                    <a:pt x="69" y="52"/>
                  </a:cubicBezTo>
                  <a:cubicBezTo>
                    <a:pt x="68" y="51"/>
                    <a:pt x="68" y="51"/>
                    <a:pt x="68" y="51"/>
                  </a:cubicBezTo>
                  <a:cubicBezTo>
                    <a:pt x="70" y="49"/>
                    <a:pt x="72" y="46"/>
                    <a:pt x="74" y="45"/>
                  </a:cubicBezTo>
                  <a:cubicBezTo>
                    <a:pt x="76" y="43"/>
                    <a:pt x="78" y="43"/>
                    <a:pt x="80" y="43"/>
                  </a:cubicBezTo>
                  <a:cubicBezTo>
                    <a:pt x="81" y="43"/>
                    <a:pt x="81" y="43"/>
                    <a:pt x="81" y="43"/>
                  </a:cubicBezTo>
                  <a:cubicBezTo>
                    <a:pt x="83" y="43"/>
                    <a:pt x="83" y="43"/>
                    <a:pt x="83" y="43"/>
                  </a:cubicBezTo>
                  <a:cubicBezTo>
                    <a:pt x="84" y="44"/>
                    <a:pt x="85" y="44"/>
                    <a:pt x="86" y="45"/>
                  </a:cubicBezTo>
                  <a:cubicBezTo>
                    <a:pt x="87" y="46"/>
                    <a:pt x="87" y="46"/>
                    <a:pt x="87" y="47"/>
                  </a:cubicBezTo>
                  <a:cubicBezTo>
                    <a:pt x="92" y="43"/>
                    <a:pt x="92" y="43"/>
                    <a:pt x="92" y="43"/>
                  </a:cubicBezTo>
                  <a:cubicBezTo>
                    <a:pt x="90" y="45"/>
                    <a:pt x="90" y="45"/>
                    <a:pt x="90" y="45"/>
                  </a:cubicBezTo>
                  <a:cubicBezTo>
                    <a:pt x="91" y="44"/>
                    <a:pt x="91" y="44"/>
                    <a:pt x="91" y="44"/>
                  </a:cubicBezTo>
                  <a:cubicBezTo>
                    <a:pt x="89" y="48"/>
                    <a:pt x="89" y="48"/>
                    <a:pt x="89" y="48"/>
                  </a:cubicBezTo>
                  <a:cubicBezTo>
                    <a:pt x="90" y="50"/>
                    <a:pt x="90" y="50"/>
                    <a:pt x="90" y="50"/>
                  </a:cubicBezTo>
                  <a:cubicBezTo>
                    <a:pt x="90" y="50"/>
                    <a:pt x="91" y="51"/>
                    <a:pt x="91" y="51"/>
                  </a:cubicBezTo>
                  <a:cubicBezTo>
                    <a:pt x="92" y="53"/>
                    <a:pt x="93" y="54"/>
                    <a:pt x="92" y="56"/>
                  </a:cubicBezTo>
                  <a:cubicBezTo>
                    <a:pt x="93" y="56"/>
                    <a:pt x="95" y="57"/>
                    <a:pt x="96" y="57"/>
                  </a:cubicBezTo>
                  <a:cubicBezTo>
                    <a:pt x="97" y="58"/>
                    <a:pt x="98" y="60"/>
                    <a:pt x="98" y="61"/>
                  </a:cubicBezTo>
                  <a:cubicBezTo>
                    <a:pt x="98" y="64"/>
                    <a:pt x="98" y="66"/>
                    <a:pt x="97" y="69"/>
                  </a:cubicBezTo>
                  <a:cubicBezTo>
                    <a:pt x="97" y="73"/>
                    <a:pt x="97" y="76"/>
                    <a:pt x="96" y="79"/>
                  </a:cubicBezTo>
                  <a:cubicBezTo>
                    <a:pt x="102" y="80"/>
                    <a:pt x="102" y="80"/>
                    <a:pt x="102" y="80"/>
                  </a:cubicBezTo>
                  <a:cubicBezTo>
                    <a:pt x="96" y="80"/>
                    <a:pt x="96" y="80"/>
                    <a:pt x="96" y="80"/>
                  </a:cubicBezTo>
                  <a:cubicBezTo>
                    <a:pt x="96" y="80"/>
                    <a:pt x="96" y="80"/>
                    <a:pt x="96" y="80"/>
                  </a:cubicBezTo>
                  <a:cubicBezTo>
                    <a:pt x="95" y="81"/>
                    <a:pt x="95" y="82"/>
                    <a:pt x="95" y="82"/>
                  </a:cubicBezTo>
                  <a:cubicBezTo>
                    <a:pt x="95" y="83"/>
                    <a:pt x="95" y="83"/>
                    <a:pt x="95" y="84"/>
                  </a:cubicBezTo>
                  <a:cubicBezTo>
                    <a:pt x="95" y="85"/>
                    <a:pt x="95" y="86"/>
                    <a:pt x="96" y="86"/>
                  </a:cubicBezTo>
                  <a:cubicBezTo>
                    <a:pt x="96" y="87"/>
                    <a:pt x="97" y="88"/>
                    <a:pt x="97" y="88"/>
                  </a:cubicBezTo>
                  <a:cubicBezTo>
                    <a:pt x="97" y="89"/>
                    <a:pt x="97" y="89"/>
                    <a:pt x="97" y="89"/>
                  </a:cubicBezTo>
                  <a:cubicBezTo>
                    <a:pt x="97" y="89"/>
                    <a:pt x="98" y="90"/>
                    <a:pt x="98" y="90"/>
                  </a:cubicBezTo>
                  <a:cubicBezTo>
                    <a:pt x="109" y="86"/>
                    <a:pt x="109" y="86"/>
                    <a:pt x="109" y="86"/>
                  </a:cubicBezTo>
                  <a:cubicBezTo>
                    <a:pt x="110" y="86"/>
                    <a:pt x="110" y="86"/>
                    <a:pt x="110" y="86"/>
                  </a:cubicBezTo>
                  <a:cubicBezTo>
                    <a:pt x="111" y="86"/>
                    <a:pt x="111" y="86"/>
                    <a:pt x="111" y="86"/>
                  </a:cubicBezTo>
                  <a:cubicBezTo>
                    <a:pt x="111" y="29"/>
                    <a:pt x="111" y="29"/>
                    <a:pt x="111" y="29"/>
                  </a:cubicBezTo>
                  <a:cubicBezTo>
                    <a:pt x="109" y="28"/>
                    <a:pt x="109" y="28"/>
                    <a:pt x="109" y="28"/>
                  </a:cubicBezTo>
                  <a:cubicBezTo>
                    <a:pt x="108" y="27"/>
                    <a:pt x="105" y="26"/>
                    <a:pt x="104" y="26"/>
                  </a:cubicBezTo>
                  <a:cubicBezTo>
                    <a:pt x="103" y="26"/>
                    <a:pt x="103" y="26"/>
                    <a:pt x="103" y="26"/>
                  </a:cubicBezTo>
                  <a:cubicBezTo>
                    <a:pt x="99" y="26"/>
                    <a:pt x="99" y="26"/>
                    <a:pt x="99" y="26"/>
                  </a:cubicBezTo>
                  <a:cubicBezTo>
                    <a:pt x="99" y="26"/>
                    <a:pt x="99" y="26"/>
                    <a:pt x="99" y="26"/>
                  </a:cubicBezTo>
                  <a:cubicBezTo>
                    <a:pt x="97" y="24"/>
                    <a:pt x="97" y="22"/>
                    <a:pt x="97" y="21"/>
                  </a:cubicBezTo>
                  <a:cubicBezTo>
                    <a:pt x="96" y="21"/>
                    <a:pt x="96" y="21"/>
                    <a:pt x="96" y="21"/>
                  </a:cubicBezTo>
                  <a:cubicBezTo>
                    <a:pt x="96" y="21"/>
                    <a:pt x="96" y="21"/>
                    <a:pt x="96" y="21"/>
                  </a:cubicBezTo>
                  <a:cubicBezTo>
                    <a:pt x="96" y="21"/>
                    <a:pt x="95" y="21"/>
                    <a:pt x="95" y="21"/>
                  </a:cubicBezTo>
                  <a:cubicBezTo>
                    <a:pt x="94" y="21"/>
                    <a:pt x="94" y="21"/>
                    <a:pt x="94" y="21"/>
                  </a:cubicBezTo>
                  <a:cubicBezTo>
                    <a:pt x="93" y="20"/>
                    <a:pt x="93" y="20"/>
                    <a:pt x="92" y="19"/>
                  </a:cubicBezTo>
                  <a:cubicBezTo>
                    <a:pt x="92" y="19"/>
                    <a:pt x="92" y="19"/>
                    <a:pt x="92" y="19"/>
                  </a:cubicBezTo>
                  <a:cubicBezTo>
                    <a:pt x="88" y="21"/>
                    <a:pt x="86" y="22"/>
                    <a:pt x="83" y="22"/>
                  </a:cubicBezTo>
                  <a:cubicBezTo>
                    <a:pt x="83" y="22"/>
                    <a:pt x="83" y="22"/>
                    <a:pt x="82" y="22"/>
                  </a:cubicBezTo>
                  <a:cubicBezTo>
                    <a:pt x="82" y="22"/>
                    <a:pt x="82" y="22"/>
                    <a:pt x="82" y="22"/>
                  </a:cubicBezTo>
                  <a:cubicBezTo>
                    <a:pt x="82" y="22"/>
                    <a:pt x="82" y="22"/>
                    <a:pt x="82" y="22"/>
                  </a:cubicBezTo>
                  <a:cubicBezTo>
                    <a:pt x="82" y="22"/>
                    <a:pt x="82" y="22"/>
                    <a:pt x="82" y="22"/>
                  </a:cubicBezTo>
                  <a:cubicBezTo>
                    <a:pt x="81" y="22"/>
                    <a:pt x="81" y="22"/>
                    <a:pt x="81" y="22"/>
                  </a:cubicBezTo>
                  <a:cubicBezTo>
                    <a:pt x="77" y="21"/>
                    <a:pt x="73" y="20"/>
                    <a:pt x="69" y="19"/>
                  </a:cubicBezTo>
                  <a:cubicBezTo>
                    <a:pt x="65" y="19"/>
                    <a:pt x="62" y="18"/>
                    <a:pt x="58" y="18"/>
                  </a:cubicBezTo>
                  <a:cubicBezTo>
                    <a:pt x="53" y="18"/>
                    <a:pt x="48" y="19"/>
                    <a:pt x="43" y="19"/>
                  </a:cubicBezTo>
                  <a:cubicBezTo>
                    <a:pt x="39" y="19"/>
                    <a:pt x="39" y="19"/>
                    <a:pt x="39" y="19"/>
                  </a:cubicBezTo>
                  <a:cubicBezTo>
                    <a:pt x="39" y="16"/>
                    <a:pt x="39" y="16"/>
                    <a:pt x="39" y="16"/>
                  </a:cubicBezTo>
                  <a:cubicBezTo>
                    <a:pt x="39" y="13"/>
                    <a:pt x="39" y="10"/>
                    <a:pt x="39" y="7"/>
                  </a:cubicBezTo>
                  <a:cubicBezTo>
                    <a:pt x="40" y="1"/>
                    <a:pt x="40" y="1"/>
                    <a:pt x="40" y="1"/>
                  </a:cubicBezTo>
                  <a:cubicBezTo>
                    <a:pt x="39" y="1"/>
                    <a:pt x="39" y="1"/>
                    <a:pt x="39" y="1"/>
                  </a:cubicBezTo>
                  <a:cubicBezTo>
                    <a:pt x="39" y="1"/>
                    <a:pt x="38" y="0"/>
                    <a:pt x="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4" name="Freeform 293">
              <a:extLst>
                <a:ext uri="{FF2B5EF4-FFF2-40B4-BE49-F238E27FC236}">
                  <a16:creationId xmlns:a16="http://schemas.microsoft.com/office/drawing/2014/main" id="{637E3A07-32C3-4D82-A323-907DE6B28F4D}"/>
                </a:ext>
              </a:extLst>
            </p:cNvPr>
            <p:cNvSpPr>
              <a:spLocks/>
            </p:cNvSpPr>
            <p:nvPr/>
          </p:nvSpPr>
          <p:spPr bwMode="auto">
            <a:xfrm>
              <a:off x="7515" y="344"/>
              <a:ext cx="74" cy="52"/>
            </a:xfrm>
            <a:custGeom>
              <a:avLst/>
              <a:gdLst>
                <a:gd name="T0" fmla="*/ 27 w 31"/>
                <a:gd name="T1" fmla="*/ 0 h 22"/>
                <a:gd name="T2" fmla="*/ 27 w 31"/>
                <a:gd name="T3" fmla="*/ 0 h 22"/>
                <a:gd name="T4" fmla="*/ 26 w 31"/>
                <a:gd name="T5" fmla="*/ 1 h 22"/>
                <a:gd name="T6" fmla="*/ 25 w 31"/>
                <a:gd name="T7" fmla="*/ 2 h 22"/>
                <a:gd name="T8" fmla="*/ 23 w 31"/>
                <a:gd name="T9" fmla="*/ 3 h 22"/>
                <a:gd name="T10" fmla="*/ 23 w 31"/>
                <a:gd name="T11" fmla="*/ 3 h 22"/>
                <a:gd name="T12" fmla="*/ 19 w 31"/>
                <a:gd name="T13" fmla="*/ 6 h 22"/>
                <a:gd name="T14" fmla="*/ 18 w 31"/>
                <a:gd name="T15" fmla="*/ 7 h 22"/>
                <a:gd name="T16" fmla="*/ 16 w 31"/>
                <a:gd name="T17" fmla="*/ 7 h 22"/>
                <a:gd name="T18" fmla="*/ 14 w 31"/>
                <a:gd name="T19" fmla="*/ 8 h 22"/>
                <a:gd name="T20" fmla="*/ 9 w 31"/>
                <a:gd name="T21" fmla="*/ 10 h 22"/>
                <a:gd name="T22" fmla="*/ 6 w 31"/>
                <a:gd name="T23" fmla="*/ 9 h 22"/>
                <a:gd name="T24" fmla="*/ 6 w 31"/>
                <a:gd name="T25" fmla="*/ 9 h 22"/>
                <a:gd name="T26" fmla="*/ 5 w 31"/>
                <a:gd name="T27" fmla="*/ 9 h 22"/>
                <a:gd name="T28" fmla="*/ 2 w 31"/>
                <a:gd name="T29" fmla="*/ 7 h 22"/>
                <a:gd name="T30" fmla="*/ 2 w 31"/>
                <a:gd name="T31" fmla="*/ 8 h 22"/>
                <a:gd name="T32" fmla="*/ 1 w 31"/>
                <a:gd name="T33" fmla="*/ 10 h 22"/>
                <a:gd name="T34" fmla="*/ 2 w 31"/>
                <a:gd name="T35" fmla="*/ 16 h 22"/>
                <a:gd name="T36" fmla="*/ 2 w 31"/>
                <a:gd name="T37" fmla="*/ 17 h 22"/>
                <a:gd name="T38" fmla="*/ 3 w 31"/>
                <a:gd name="T39" fmla="*/ 19 h 22"/>
                <a:gd name="T40" fmla="*/ 3 w 31"/>
                <a:gd name="T41" fmla="*/ 21 h 22"/>
                <a:gd name="T42" fmla="*/ 6 w 31"/>
                <a:gd name="T43" fmla="*/ 19 h 22"/>
                <a:gd name="T44" fmla="*/ 7 w 31"/>
                <a:gd name="T45" fmla="*/ 18 h 22"/>
                <a:gd name="T46" fmla="*/ 8 w 31"/>
                <a:gd name="T47" fmla="*/ 18 h 22"/>
                <a:gd name="T48" fmla="*/ 15 w 31"/>
                <a:gd name="T49" fmla="*/ 17 h 22"/>
                <a:gd name="T50" fmla="*/ 30 w 31"/>
                <a:gd name="T51" fmla="*/ 22 h 22"/>
                <a:gd name="T52" fmla="*/ 31 w 31"/>
                <a:gd name="T53" fmla="*/ 21 h 22"/>
                <a:gd name="T54" fmla="*/ 30 w 31"/>
                <a:gd name="T55" fmla="*/ 21 h 22"/>
                <a:gd name="T56" fmla="*/ 30 w 31"/>
                <a:gd name="T57" fmla="*/ 21 h 22"/>
                <a:gd name="T58" fmla="*/ 24 w 31"/>
                <a:gd name="T59" fmla="*/ 16 h 22"/>
                <a:gd name="T60" fmla="*/ 20 w 31"/>
                <a:gd name="T61" fmla="*/ 14 h 22"/>
                <a:gd name="T62" fmla="*/ 23 w 31"/>
                <a:gd name="T63" fmla="*/ 11 h 22"/>
                <a:gd name="T64" fmla="*/ 31 w 31"/>
                <a:gd name="T65" fmla="*/ 5 h 22"/>
                <a:gd name="T66" fmla="*/ 27 w 31"/>
                <a:gd name="T6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 h="22">
                  <a:moveTo>
                    <a:pt x="27" y="0"/>
                  </a:moveTo>
                  <a:cubicBezTo>
                    <a:pt x="27" y="0"/>
                    <a:pt x="27" y="0"/>
                    <a:pt x="27" y="0"/>
                  </a:cubicBezTo>
                  <a:cubicBezTo>
                    <a:pt x="26" y="1"/>
                    <a:pt x="26" y="1"/>
                    <a:pt x="26" y="1"/>
                  </a:cubicBezTo>
                  <a:cubicBezTo>
                    <a:pt x="26" y="1"/>
                    <a:pt x="25" y="1"/>
                    <a:pt x="25" y="2"/>
                  </a:cubicBezTo>
                  <a:cubicBezTo>
                    <a:pt x="24" y="2"/>
                    <a:pt x="24" y="2"/>
                    <a:pt x="23" y="3"/>
                  </a:cubicBezTo>
                  <a:cubicBezTo>
                    <a:pt x="23" y="3"/>
                    <a:pt x="23" y="3"/>
                    <a:pt x="23" y="3"/>
                  </a:cubicBezTo>
                  <a:cubicBezTo>
                    <a:pt x="21" y="4"/>
                    <a:pt x="20" y="5"/>
                    <a:pt x="19" y="6"/>
                  </a:cubicBezTo>
                  <a:cubicBezTo>
                    <a:pt x="18" y="7"/>
                    <a:pt x="18" y="7"/>
                    <a:pt x="18" y="7"/>
                  </a:cubicBezTo>
                  <a:cubicBezTo>
                    <a:pt x="17" y="7"/>
                    <a:pt x="17" y="7"/>
                    <a:pt x="16" y="7"/>
                  </a:cubicBezTo>
                  <a:cubicBezTo>
                    <a:pt x="16" y="7"/>
                    <a:pt x="15" y="8"/>
                    <a:pt x="14" y="8"/>
                  </a:cubicBezTo>
                  <a:cubicBezTo>
                    <a:pt x="13" y="9"/>
                    <a:pt x="11" y="10"/>
                    <a:pt x="9" y="10"/>
                  </a:cubicBezTo>
                  <a:cubicBezTo>
                    <a:pt x="8" y="10"/>
                    <a:pt x="7" y="10"/>
                    <a:pt x="6" y="9"/>
                  </a:cubicBezTo>
                  <a:cubicBezTo>
                    <a:pt x="6" y="9"/>
                    <a:pt x="6" y="9"/>
                    <a:pt x="6" y="9"/>
                  </a:cubicBezTo>
                  <a:cubicBezTo>
                    <a:pt x="5" y="9"/>
                    <a:pt x="5" y="9"/>
                    <a:pt x="5" y="9"/>
                  </a:cubicBezTo>
                  <a:cubicBezTo>
                    <a:pt x="4" y="8"/>
                    <a:pt x="3" y="8"/>
                    <a:pt x="2" y="7"/>
                  </a:cubicBezTo>
                  <a:cubicBezTo>
                    <a:pt x="2" y="8"/>
                    <a:pt x="2" y="8"/>
                    <a:pt x="2" y="8"/>
                  </a:cubicBezTo>
                  <a:cubicBezTo>
                    <a:pt x="1" y="9"/>
                    <a:pt x="1" y="10"/>
                    <a:pt x="1" y="10"/>
                  </a:cubicBezTo>
                  <a:cubicBezTo>
                    <a:pt x="0" y="11"/>
                    <a:pt x="1" y="14"/>
                    <a:pt x="2" y="16"/>
                  </a:cubicBezTo>
                  <a:cubicBezTo>
                    <a:pt x="2" y="17"/>
                    <a:pt x="2" y="17"/>
                    <a:pt x="2" y="17"/>
                  </a:cubicBezTo>
                  <a:cubicBezTo>
                    <a:pt x="2" y="17"/>
                    <a:pt x="2" y="18"/>
                    <a:pt x="3" y="19"/>
                  </a:cubicBezTo>
                  <a:cubicBezTo>
                    <a:pt x="3" y="21"/>
                    <a:pt x="3" y="21"/>
                    <a:pt x="3" y="21"/>
                  </a:cubicBezTo>
                  <a:cubicBezTo>
                    <a:pt x="4" y="20"/>
                    <a:pt x="5" y="19"/>
                    <a:pt x="6" y="19"/>
                  </a:cubicBezTo>
                  <a:cubicBezTo>
                    <a:pt x="6" y="19"/>
                    <a:pt x="7" y="19"/>
                    <a:pt x="7" y="18"/>
                  </a:cubicBezTo>
                  <a:cubicBezTo>
                    <a:pt x="8" y="18"/>
                    <a:pt x="8" y="18"/>
                    <a:pt x="8" y="18"/>
                  </a:cubicBezTo>
                  <a:cubicBezTo>
                    <a:pt x="11" y="17"/>
                    <a:pt x="13" y="17"/>
                    <a:pt x="15" y="17"/>
                  </a:cubicBezTo>
                  <a:cubicBezTo>
                    <a:pt x="20" y="17"/>
                    <a:pt x="27" y="20"/>
                    <a:pt x="30" y="22"/>
                  </a:cubicBezTo>
                  <a:cubicBezTo>
                    <a:pt x="31" y="21"/>
                    <a:pt x="31" y="21"/>
                    <a:pt x="31" y="21"/>
                  </a:cubicBezTo>
                  <a:cubicBezTo>
                    <a:pt x="30" y="21"/>
                    <a:pt x="30" y="21"/>
                    <a:pt x="30" y="21"/>
                  </a:cubicBezTo>
                  <a:cubicBezTo>
                    <a:pt x="30" y="21"/>
                    <a:pt x="30" y="21"/>
                    <a:pt x="30" y="21"/>
                  </a:cubicBezTo>
                  <a:cubicBezTo>
                    <a:pt x="28" y="19"/>
                    <a:pt x="26" y="18"/>
                    <a:pt x="24" y="16"/>
                  </a:cubicBezTo>
                  <a:cubicBezTo>
                    <a:pt x="20" y="14"/>
                    <a:pt x="20" y="14"/>
                    <a:pt x="20" y="14"/>
                  </a:cubicBezTo>
                  <a:cubicBezTo>
                    <a:pt x="23" y="11"/>
                    <a:pt x="23" y="11"/>
                    <a:pt x="23" y="11"/>
                  </a:cubicBezTo>
                  <a:cubicBezTo>
                    <a:pt x="25" y="9"/>
                    <a:pt x="28" y="7"/>
                    <a:pt x="31" y="5"/>
                  </a:cubicBezTo>
                  <a:cubicBezTo>
                    <a:pt x="27" y="0"/>
                    <a:pt x="27"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5" name="Freeform 294">
              <a:extLst>
                <a:ext uri="{FF2B5EF4-FFF2-40B4-BE49-F238E27FC236}">
                  <a16:creationId xmlns:a16="http://schemas.microsoft.com/office/drawing/2014/main" id="{BB82E3D3-9FB6-4792-B3CA-4C139F428803}"/>
                </a:ext>
              </a:extLst>
            </p:cNvPr>
            <p:cNvSpPr>
              <a:spLocks noEditPoints="1"/>
            </p:cNvSpPr>
            <p:nvPr/>
          </p:nvSpPr>
          <p:spPr bwMode="auto">
            <a:xfrm>
              <a:off x="7522" y="228"/>
              <a:ext cx="156" cy="220"/>
            </a:xfrm>
            <a:custGeom>
              <a:avLst/>
              <a:gdLst>
                <a:gd name="T0" fmla="*/ 65 w 66"/>
                <a:gd name="T1" fmla="*/ 65 h 93"/>
                <a:gd name="T2" fmla="*/ 61 w 66"/>
                <a:gd name="T3" fmla="*/ 70 h 93"/>
                <a:gd name="T4" fmla="*/ 54 w 66"/>
                <a:gd name="T5" fmla="*/ 72 h 93"/>
                <a:gd name="T6" fmla="*/ 47 w 66"/>
                <a:gd name="T7" fmla="*/ 70 h 93"/>
                <a:gd name="T8" fmla="*/ 45 w 66"/>
                <a:gd name="T9" fmla="*/ 69 h 93"/>
                <a:gd name="T10" fmla="*/ 44 w 66"/>
                <a:gd name="T11" fmla="*/ 69 h 93"/>
                <a:gd name="T12" fmla="*/ 42 w 66"/>
                <a:gd name="T13" fmla="*/ 69 h 93"/>
                <a:gd name="T14" fmla="*/ 39 w 66"/>
                <a:gd name="T15" fmla="*/ 69 h 93"/>
                <a:gd name="T16" fmla="*/ 37 w 66"/>
                <a:gd name="T17" fmla="*/ 70 h 93"/>
                <a:gd name="T18" fmla="*/ 34 w 66"/>
                <a:gd name="T19" fmla="*/ 73 h 93"/>
                <a:gd name="T20" fmla="*/ 32 w 66"/>
                <a:gd name="T21" fmla="*/ 74 h 93"/>
                <a:gd name="T22" fmla="*/ 31 w 66"/>
                <a:gd name="T23" fmla="*/ 75 h 93"/>
                <a:gd name="T24" fmla="*/ 29 w 66"/>
                <a:gd name="T25" fmla="*/ 76 h 93"/>
                <a:gd name="T26" fmla="*/ 28 w 66"/>
                <a:gd name="T27" fmla="*/ 77 h 93"/>
                <a:gd name="T28" fmla="*/ 28 w 66"/>
                <a:gd name="T29" fmla="*/ 78 h 93"/>
                <a:gd name="T30" fmla="*/ 27 w 66"/>
                <a:gd name="T31" fmla="*/ 78 h 93"/>
                <a:gd name="T32" fmla="*/ 22 w 66"/>
                <a:gd name="T33" fmla="*/ 79 h 93"/>
                <a:gd name="T34" fmla="*/ 22 w 66"/>
                <a:gd name="T35" fmla="*/ 75 h 93"/>
                <a:gd name="T36" fmla="*/ 7 w 66"/>
                <a:gd name="T37" fmla="*/ 73 h 93"/>
                <a:gd name="T38" fmla="*/ 4 w 66"/>
                <a:gd name="T39" fmla="*/ 74 h 93"/>
                <a:gd name="T40" fmla="*/ 3 w 66"/>
                <a:gd name="T41" fmla="*/ 76 h 93"/>
                <a:gd name="T42" fmla="*/ 0 w 66"/>
                <a:gd name="T43" fmla="*/ 80 h 93"/>
                <a:gd name="T44" fmla="*/ 13 w 66"/>
                <a:gd name="T45" fmla="*/ 84 h 93"/>
                <a:gd name="T46" fmla="*/ 37 w 66"/>
                <a:gd name="T47" fmla="*/ 87 h 93"/>
                <a:gd name="T48" fmla="*/ 38 w 66"/>
                <a:gd name="T49" fmla="*/ 87 h 93"/>
                <a:gd name="T50" fmla="*/ 45 w 66"/>
                <a:gd name="T51" fmla="*/ 84 h 93"/>
                <a:gd name="T52" fmla="*/ 51 w 66"/>
                <a:gd name="T53" fmla="*/ 81 h 93"/>
                <a:gd name="T54" fmla="*/ 52 w 66"/>
                <a:gd name="T55" fmla="*/ 86 h 93"/>
                <a:gd name="T56" fmla="*/ 58 w 66"/>
                <a:gd name="T57" fmla="*/ 91 h 93"/>
                <a:gd name="T58" fmla="*/ 66 w 66"/>
                <a:gd name="T59" fmla="*/ 93 h 93"/>
                <a:gd name="T60" fmla="*/ 66 w 66"/>
                <a:gd name="T61" fmla="*/ 65 h 93"/>
                <a:gd name="T62" fmla="*/ 63 w 66"/>
                <a:gd name="T63" fmla="*/ 0 h 93"/>
                <a:gd name="T64" fmla="*/ 51 w 66"/>
                <a:gd name="T65" fmla="*/ 0 h 93"/>
                <a:gd name="T66" fmla="*/ 48 w 66"/>
                <a:gd name="T67" fmla="*/ 0 h 93"/>
                <a:gd name="T68" fmla="*/ 47 w 66"/>
                <a:gd name="T69" fmla="*/ 0 h 93"/>
                <a:gd name="T70" fmla="*/ 44 w 66"/>
                <a:gd name="T71" fmla="*/ 3 h 93"/>
                <a:gd name="T72" fmla="*/ 44 w 66"/>
                <a:gd name="T73" fmla="*/ 3 h 93"/>
                <a:gd name="T74" fmla="*/ 41 w 66"/>
                <a:gd name="T75" fmla="*/ 6 h 93"/>
                <a:gd name="T76" fmla="*/ 39 w 66"/>
                <a:gd name="T77" fmla="*/ 9 h 93"/>
                <a:gd name="T78" fmla="*/ 42 w 66"/>
                <a:gd name="T79" fmla="*/ 9 h 93"/>
                <a:gd name="T80" fmla="*/ 51 w 66"/>
                <a:gd name="T81" fmla="*/ 11 h 93"/>
                <a:gd name="T82" fmla="*/ 23 w 66"/>
                <a:gd name="T83" fmla="*/ 30 h 93"/>
                <a:gd name="T84" fmla="*/ 24 w 66"/>
                <a:gd name="T85" fmla="*/ 30 h 93"/>
                <a:gd name="T86" fmla="*/ 26 w 66"/>
                <a:gd name="T87" fmla="*/ 31 h 93"/>
                <a:gd name="T88" fmla="*/ 32 w 66"/>
                <a:gd name="T89" fmla="*/ 32 h 93"/>
                <a:gd name="T90" fmla="*/ 34 w 66"/>
                <a:gd name="T91" fmla="*/ 37 h 93"/>
                <a:gd name="T92" fmla="*/ 44 w 66"/>
                <a:gd name="T93" fmla="*/ 39 h 93"/>
                <a:gd name="T94" fmla="*/ 46 w 66"/>
                <a:gd name="T95" fmla="*/ 32 h 93"/>
                <a:gd name="T96" fmla="*/ 49 w 66"/>
                <a:gd name="T97" fmla="*/ 29 h 93"/>
                <a:gd name="T98" fmla="*/ 61 w 66"/>
                <a:gd name="T99" fmla="*/ 37 h 93"/>
                <a:gd name="T100" fmla="*/ 61 w 66"/>
                <a:gd name="T101" fmla="*/ 38 h 93"/>
                <a:gd name="T102" fmla="*/ 66 w 66"/>
                <a:gd name="T103" fmla="*/ 38 h 93"/>
                <a:gd name="T104" fmla="*/ 66 w 66"/>
                <a:gd name="T105" fmla="*/ 0 h 93"/>
                <a:gd name="T106" fmla="*/ 63 w 66"/>
                <a:gd name="T107"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 h="93">
                  <a:moveTo>
                    <a:pt x="65" y="65"/>
                  </a:moveTo>
                  <a:cubicBezTo>
                    <a:pt x="65" y="65"/>
                    <a:pt x="65" y="65"/>
                    <a:pt x="65" y="65"/>
                  </a:cubicBezTo>
                  <a:cubicBezTo>
                    <a:pt x="64" y="66"/>
                    <a:pt x="64" y="66"/>
                    <a:pt x="64" y="66"/>
                  </a:cubicBezTo>
                  <a:cubicBezTo>
                    <a:pt x="64" y="68"/>
                    <a:pt x="63" y="69"/>
                    <a:pt x="61" y="70"/>
                  </a:cubicBezTo>
                  <a:cubicBezTo>
                    <a:pt x="60" y="71"/>
                    <a:pt x="60" y="71"/>
                    <a:pt x="60" y="71"/>
                  </a:cubicBezTo>
                  <a:cubicBezTo>
                    <a:pt x="58" y="71"/>
                    <a:pt x="56" y="72"/>
                    <a:pt x="54" y="72"/>
                  </a:cubicBezTo>
                  <a:cubicBezTo>
                    <a:pt x="53" y="72"/>
                    <a:pt x="51" y="72"/>
                    <a:pt x="50" y="71"/>
                  </a:cubicBezTo>
                  <a:cubicBezTo>
                    <a:pt x="49" y="70"/>
                    <a:pt x="48" y="70"/>
                    <a:pt x="47" y="70"/>
                  </a:cubicBezTo>
                  <a:cubicBezTo>
                    <a:pt x="46" y="69"/>
                    <a:pt x="46" y="69"/>
                    <a:pt x="46" y="69"/>
                  </a:cubicBezTo>
                  <a:cubicBezTo>
                    <a:pt x="46" y="69"/>
                    <a:pt x="45" y="69"/>
                    <a:pt x="45" y="69"/>
                  </a:cubicBezTo>
                  <a:cubicBezTo>
                    <a:pt x="45" y="69"/>
                    <a:pt x="45" y="69"/>
                    <a:pt x="45" y="69"/>
                  </a:cubicBezTo>
                  <a:cubicBezTo>
                    <a:pt x="45" y="69"/>
                    <a:pt x="44" y="69"/>
                    <a:pt x="44" y="69"/>
                  </a:cubicBezTo>
                  <a:cubicBezTo>
                    <a:pt x="44" y="69"/>
                    <a:pt x="44" y="69"/>
                    <a:pt x="44" y="69"/>
                  </a:cubicBezTo>
                  <a:cubicBezTo>
                    <a:pt x="43" y="69"/>
                    <a:pt x="42" y="69"/>
                    <a:pt x="42" y="69"/>
                  </a:cubicBezTo>
                  <a:cubicBezTo>
                    <a:pt x="41" y="69"/>
                    <a:pt x="40" y="69"/>
                    <a:pt x="40" y="69"/>
                  </a:cubicBezTo>
                  <a:cubicBezTo>
                    <a:pt x="39" y="69"/>
                    <a:pt x="39" y="69"/>
                    <a:pt x="39" y="69"/>
                  </a:cubicBezTo>
                  <a:cubicBezTo>
                    <a:pt x="38" y="70"/>
                    <a:pt x="38" y="70"/>
                    <a:pt x="38" y="70"/>
                  </a:cubicBezTo>
                  <a:cubicBezTo>
                    <a:pt x="37" y="70"/>
                    <a:pt x="37" y="70"/>
                    <a:pt x="37" y="70"/>
                  </a:cubicBezTo>
                  <a:cubicBezTo>
                    <a:pt x="35" y="72"/>
                    <a:pt x="35" y="72"/>
                    <a:pt x="35" y="72"/>
                  </a:cubicBezTo>
                  <a:cubicBezTo>
                    <a:pt x="34" y="73"/>
                    <a:pt x="34" y="73"/>
                    <a:pt x="34" y="73"/>
                  </a:cubicBezTo>
                  <a:cubicBezTo>
                    <a:pt x="34" y="73"/>
                    <a:pt x="34" y="73"/>
                    <a:pt x="34" y="73"/>
                  </a:cubicBezTo>
                  <a:cubicBezTo>
                    <a:pt x="33" y="73"/>
                    <a:pt x="33" y="74"/>
                    <a:pt x="32" y="74"/>
                  </a:cubicBezTo>
                  <a:cubicBezTo>
                    <a:pt x="32" y="75"/>
                    <a:pt x="32" y="75"/>
                    <a:pt x="32" y="75"/>
                  </a:cubicBezTo>
                  <a:cubicBezTo>
                    <a:pt x="31" y="75"/>
                    <a:pt x="31" y="75"/>
                    <a:pt x="31" y="75"/>
                  </a:cubicBezTo>
                  <a:cubicBezTo>
                    <a:pt x="30" y="76"/>
                    <a:pt x="30" y="76"/>
                    <a:pt x="30" y="76"/>
                  </a:cubicBezTo>
                  <a:cubicBezTo>
                    <a:pt x="29" y="76"/>
                    <a:pt x="29" y="76"/>
                    <a:pt x="29" y="76"/>
                  </a:cubicBezTo>
                  <a:cubicBezTo>
                    <a:pt x="29" y="77"/>
                    <a:pt x="29" y="77"/>
                    <a:pt x="29" y="77"/>
                  </a:cubicBezTo>
                  <a:cubicBezTo>
                    <a:pt x="28" y="77"/>
                    <a:pt x="28" y="77"/>
                    <a:pt x="28" y="77"/>
                  </a:cubicBezTo>
                  <a:cubicBezTo>
                    <a:pt x="28" y="78"/>
                    <a:pt x="28" y="78"/>
                    <a:pt x="28" y="78"/>
                  </a:cubicBezTo>
                  <a:cubicBezTo>
                    <a:pt x="28" y="78"/>
                    <a:pt x="28" y="78"/>
                    <a:pt x="28" y="78"/>
                  </a:cubicBezTo>
                  <a:cubicBezTo>
                    <a:pt x="27" y="78"/>
                    <a:pt x="27" y="78"/>
                    <a:pt x="27" y="78"/>
                  </a:cubicBezTo>
                  <a:cubicBezTo>
                    <a:pt x="27" y="78"/>
                    <a:pt x="27" y="78"/>
                    <a:pt x="27" y="78"/>
                  </a:cubicBezTo>
                  <a:cubicBezTo>
                    <a:pt x="26" y="79"/>
                    <a:pt x="25" y="79"/>
                    <a:pt x="24" y="79"/>
                  </a:cubicBezTo>
                  <a:cubicBezTo>
                    <a:pt x="22" y="79"/>
                    <a:pt x="22" y="79"/>
                    <a:pt x="22" y="79"/>
                  </a:cubicBezTo>
                  <a:cubicBezTo>
                    <a:pt x="21" y="76"/>
                    <a:pt x="21" y="76"/>
                    <a:pt x="21" y="76"/>
                  </a:cubicBezTo>
                  <a:cubicBezTo>
                    <a:pt x="21" y="76"/>
                    <a:pt x="21" y="75"/>
                    <a:pt x="22" y="75"/>
                  </a:cubicBezTo>
                  <a:cubicBezTo>
                    <a:pt x="18" y="73"/>
                    <a:pt x="14" y="71"/>
                    <a:pt x="12" y="71"/>
                  </a:cubicBezTo>
                  <a:cubicBezTo>
                    <a:pt x="11" y="71"/>
                    <a:pt x="9" y="72"/>
                    <a:pt x="7" y="73"/>
                  </a:cubicBezTo>
                  <a:cubicBezTo>
                    <a:pt x="7" y="73"/>
                    <a:pt x="7" y="73"/>
                    <a:pt x="7" y="73"/>
                  </a:cubicBezTo>
                  <a:cubicBezTo>
                    <a:pt x="6" y="73"/>
                    <a:pt x="5" y="73"/>
                    <a:pt x="4" y="74"/>
                  </a:cubicBezTo>
                  <a:cubicBezTo>
                    <a:pt x="4" y="74"/>
                    <a:pt x="4" y="74"/>
                    <a:pt x="4" y="74"/>
                  </a:cubicBezTo>
                  <a:cubicBezTo>
                    <a:pt x="4" y="74"/>
                    <a:pt x="4" y="74"/>
                    <a:pt x="3" y="76"/>
                  </a:cubicBezTo>
                  <a:cubicBezTo>
                    <a:pt x="2" y="77"/>
                    <a:pt x="2" y="77"/>
                    <a:pt x="2" y="78"/>
                  </a:cubicBezTo>
                  <a:cubicBezTo>
                    <a:pt x="0" y="80"/>
                    <a:pt x="0" y="80"/>
                    <a:pt x="0" y="80"/>
                  </a:cubicBezTo>
                  <a:cubicBezTo>
                    <a:pt x="0" y="84"/>
                    <a:pt x="0" y="84"/>
                    <a:pt x="0" y="84"/>
                  </a:cubicBezTo>
                  <a:cubicBezTo>
                    <a:pt x="4" y="84"/>
                    <a:pt x="8" y="84"/>
                    <a:pt x="13" y="84"/>
                  </a:cubicBezTo>
                  <a:cubicBezTo>
                    <a:pt x="17" y="84"/>
                    <a:pt x="21" y="84"/>
                    <a:pt x="25" y="84"/>
                  </a:cubicBezTo>
                  <a:cubicBezTo>
                    <a:pt x="29" y="85"/>
                    <a:pt x="33" y="86"/>
                    <a:pt x="37" y="87"/>
                  </a:cubicBezTo>
                  <a:cubicBezTo>
                    <a:pt x="38" y="83"/>
                    <a:pt x="38" y="83"/>
                    <a:pt x="38" y="83"/>
                  </a:cubicBezTo>
                  <a:cubicBezTo>
                    <a:pt x="38" y="87"/>
                    <a:pt x="38" y="87"/>
                    <a:pt x="38" y="87"/>
                  </a:cubicBezTo>
                  <a:cubicBezTo>
                    <a:pt x="39" y="87"/>
                    <a:pt x="43" y="85"/>
                    <a:pt x="44" y="84"/>
                  </a:cubicBezTo>
                  <a:cubicBezTo>
                    <a:pt x="45" y="84"/>
                    <a:pt x="45" y="84"/>
                    <a:pt x="45" y="84"/>
                  </a:cubicBezTo>
                  <a:cubicBezTo>
                    <a:pt x="46" y="83"/>
                    <a:pt x="47" y="83"/>
                    <a:pt x="48" y="83"/>
                  </a:cubicBezTo>
                  <a:cubicBezTo>
                    <a:pt x="51" y="81"/>
                    <a:pt x="51" y="81"/>
                    <a:pt x="51" y="81"/>
                  </a:cubicBezTo>
                  <a:cubicBezTo>
                    <a:pt x="52" y="86"/>
                    <a:pt x="52" y="86"/>
                    <a:pt x="52" y="86"/>
                  </a:cubicBezTo>
                  <a:cubicBezTo>
                    <a:pt x="52" y="86"/>
                    <a:pt x="52" y="86"/>
                    <a:pt x="52" y="86"/>
                  </a:cubicBezTo>
                  <a:cubicBezTo>
                    <a:pt x="57" y="86"/>
                    <a:pt x="57" y="90"/>
                    <a:pt x="58" y="91"/>
                  </a:cubicBezTo>
                  <a:cubicBezTo>
                    <a:pt x="58" y="91"/>
                    <a:pt x="58" y="91"/>
                    <a:pt x="58" y="91"/>
                  </a:cubicBezTo>
                  <a:cubicBezTo>
                    <a:pt x="59" y="91"/>
                    <a:pt x="59" y="91"/>
                    <a:pt x="59" y="91"/>
                  </a:cubicBezTo>
                  <a:cubicBezTo>
                    <a:pt x="62" y="92"/>
                    <a:pt x="64" y="92"/>
                    <a:pt x="66" y="93"/>
                  </a:cubicBezTo>
                  <a:cubicBezTo>
                    <a:pt x="66" y="93"/>
                    <a:pt x="66" y="93"/>
                    <a:pt x="66" y="93"/>
                  </a:cubicBezTo>
                  <a:cubicBezTo>
                    <a:pt x="66" y="65"/>
                    <a:pt x="66" y="65"/>
                    <a:pt x="66" y="65"/>
                  </a:cubicBezTo>
                  <a:cubicBezTo>
                    <a:pt x="65" y="65"/>
                    <a:pt x="65" y="65"/>
                    <a:pt x="65" y="65"/>
                  </a:cubicBezTo>
                  <a:moveTo>
                    <a:pt x="63" y="0"/>
                  </a:moveTo>
                  <a:cubicBezTo>
                    <a:pt x="51" y="0"/>
                    <a:pt x="51" y="0"/>
                    <a:pt x="51" y="0"/>
                  </a:cubicBezTo>
                  <a:cubicBezTo>
                    <a:pt x="51" y="0"/>
                    <a:pt x="51" y="0"/>
                    <a:pt x="51" y="0"/>
                  </a:cubicBezTo>
                  <a:cubicBezTo>
                    <a:pt x="51" y="0"/>
                    <a:pt x="50" y="0"/>
                    <a:pt x="50" y="0"/>
                  </a:cubicBezTo>
                  <a:cubicBezTo>
                    <a:pt x="49" y="0"/>
                    <a:pt x="48" y="0"/>
                    <a:pt x="48" y="0"/>
                  </a:cubicBezTo>
                  <a:cubicBezTo>
                    <a:pt x="47" y="0"/>
                    <a:pt x="47" y="0"/>
                    <a:pt x="47" y="0"/>
                  </a:cubicBezTo>
                  <a:cubicBezTo>
                    <a:pt x="47" y="0"/>
                    <a:pt x="47" y="0"/>
                    <a:pt x="47" y="0"/>
                  </a:cubicBezTo>
                  <a:cubicBezTo>
                    <a:pt x="46" y="0"/>
                    <a:pt x="46" y="0"/>
                    <a:pt x="46" y="0"/>
                  </a:cubicBezTo>
                  <a:cubicBezTo>
                    <a:pt x="45" y="1"/>
                    <a:pt x="45" y="2"/>
                    <a:pt x="44" y="3"/>
                  </a:cubicBezTo>
                  <a:cubicBezTo>
                    <a:pt x="43" y="2"/>
                    <a:pt x="43" y="2"/>
                    <a:pt x="43" y="2"/>
                  </a:cubicBezTo>
                  <a:cubicBezTo>
                    <a:pt x="44" y="3"/>
                    <a:pt x="44" y="3"/>
                    <a:pt x="44" y="3"/>
                  </a:cubicBezTo>
                  <a:cubicBezTo>
                    <a:pt x="43" y="3"/>
                    <a:pt x="43" y="4"/>
                    <a:pt x="43" y="4"/>
                  </a:cubicBezTo>
                  <a:cubicBezTo>
                    <a:pt x="41" y="6"/>
                    <a:pt x="41" y="6"/>
                    <a:pt x="41" y="6"/>
                  </a:cubicBezTo>
                  <a:cubicBezTo>
                    <a:pt x="40" y="7"/>
                    <a:pt x="39" y="8"/>
                    <a:pt x="38" y="8"/>
                  </a:cubicBezTo>
                  <a:cubicBezTo>
                    <a:pt x="39" y="9"/>
                    <a:pt x="39" y="9"/>
                    <a:pt x="39" y="9"/>
                  </a:cubicBezTo>
                  <a:cubicBezTo>
                    <a:pt x="39" y="9"/>
                    <a:pt x="39" y="9"/>
                    <a:pt x="39" y="9"/>
                  </a:cubicBezTo>
                  <a:cubicBezTo>
                    <a:pt x="39" y="9"/>
                    <a:pt x="40" y="9"/>
                    <a:pt x="42" y="9"/>
                  </a:cubicBezTo>
                  <a:cubicBezTo>
                    <a:pt x="43" y="9"/>
                    <a:pt x="43" y="9"/>
                    <a:pt x="44" y="10"/>
                  </a:cubicBezTo>
                  <a:cubicBezTo>
                    <a:pt x="51" y="11"/>
                    <a:pt x="51" y="11"/>
                    <a:pt x="51" y="11"/>
                  </a:cubicBezTo>
                  <a:cubicBezTo>
                    <a:pt x="41" y="17"/>
                    <a:pt x="41" y="17"/>
                    <a:pt x="41" y="17"/>
                  </a:cubicBezTo>
                  <a:cubicBezTo>
                    <a:pt x="38" y="19"/>
                    <a:pt x="28" y="26"/>
                    <a:pt x="23" y="30"/>
                  </a:cubicBezTo>
                  <a:cubicBezTo>
                    <a:pt x="23" y="30"/>
                    <a:pt x="23" y="30"/>
                    <a:pt x="23" y="30"/>
                  </a:cubicBezTo>
                  <a:cubicBezTo>
                    <a:pt x="23" y="30"/>
                    <a:pt x="23" y="30"/>
                    <a:pt x="24" y="30"/>
                  </a:cubicBezTo>
                  <a:cubicBezTo>
                    <a:pt x="24" y="30"/>
                    <a:pt x="24" y="30"/>
                    <a:pt x="24" y="30"/>
                  </a:cubicBezTo>
                  <a:cubicBezTo>
                    <a:pt x="25" y="31"/>
                    <a:pt x="25" y="31"/>
                    <a:pt x="26" y="31"/>
                  </a:cubicBezTo>
                  <a:cubicBezTo>
                    <a:pt x="31" y="29"/>
                    <a:pt x="31" y="29"/>
                    <a:pt x="31" y="29"/>
                  </a:cubicBezTo>
                  <a:cubicBezTo>
                    <a:pt x="32" y="32"/>
                    <a:pt x="32" y="32"/>
                    <a:pt x="32" y="32"/>
                  </a:cubicBezTo>
                  <a:cubicBezTo>
                    <a:pt x="33" y="33"/>
                    <a:pt x="33" y="33"/>
                    <a:pt x="33" y="34"/>
                  </a:cubicBezTo>
                  <a:cubicBezTo>
                    <a:pt x="33" y="36"/>
                    <a:pt x="34" y="36"/>
                    <a:pt x="34" y="37"/>
                  </a:cubicBezTo>
                  <a:cubicBezTo>
                    <a:pt x="35" y="37"/>
                    <a:pt x="35" y="37"/>
                    <a:pt x="35" y="37"/>
                  </a:cubicBezTo>
                  <a:cubicBezTo>
                    <a:pt x="38" y="38"/>
                    <a:pt x="41" y="39"/>
                    <a:pt x="44" y="39"/>
                  </a:cubicBezTo>
                  <a:cubicBezTo>
                    <a:pt x="44" y="38"/>
                    <a:pt x="44" y="37"/>
                    <a:pt x="45" y="36"/>
                  </a:cubicBezTo>
                  <a:cubicBezTo>
                    <a:pt x="46" y="32"/>
                    <a:pt x="46" y="32"/>
                    <a:pt x="46" y="32"/>
                  </a:cubicBezTo>
                  <a:cubicBezTo>
                    <a:pt x="48" y="34"/>
                    <a:pt x="48" y="34"/>
                    <a:pt x="48" y="34"/>
                  </a:cubicBezTo>
                  <a:cubicBezTo>
                    <a:pt x="49" y="29"/>
                    <a:pt x="49" y="29"/>
                    <a:pt x="49" y="29"/>
                  </a:cubicBezTo>
                  <a:cubicBezTo>
                    <a:pt x="52" y="30"/>
                    <a:pt x="52" y="30"/>
                    <a:pt x="52" y="30"/>
                  </a:cubicBezTo>
                  <a:cubicBezTo>
                    <a:pt x="57" y="31"/>
                    <a:pt x="59" y="34"/>
                    <a:pt x="61" y="37"/>
                  </a:cubicBezTo>
                  <a:cubicBezTo>
                    <a:pt x="61" y="38"/>
                    <a:pt x="61" y="38"/>
                    <a:pt x="61" y="38"/>
                  </a:cubicBezTo>
                  <a:cubicBezTo>
                    <a:pt x="61" y="38"/>
                    <a:pt x="61" y="38"/>
                    <a:pt x="61" y="38"/>
                  </a:cubicBezTo>
                  <a:cubicBezTo>
                    <a:pt x="62" y="38"/>
                    <a:pt x="63" y="38"/>
                    <a:pt x="63" y="38"/>
                  </a:cubicBezTo>
                  <a:cubicBezTo>
                    <a:pt x="64" y="38"/>
                    <a:pt x="65" y="38"/>
                    <a:pt x="66" y="38"/>
                  </a:cubicBezTo>
                  <a:cubicBezTo>
                    <a:pt x="66" y="0"/>
                    <a:pt x="66" y="0"/>
                    <a:pt x="66" y="0"/>
                  </a:cubicBezTo>
                  <a:cubicBezTo>
                    <a:pt x="66" y="0"/>
                    <a:pt x="66" y="0"/>
                    <a:pt x="66" y="0"/>
                  </a:cubicBezTo>
                  <a:cubicBezTo>
                    <a:pt x="65" y="0"/>
                    <a:pt x="65" y="0"/>
                    <a:pt x="65" y="0"/>
                  </a:cubicBezTo>
                  <a:cubicBezTo>
                    <a:pt x="64" y="0"/>
                    <a:pt x="64"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6" name="Rectangle 295">
              <a:extLst>
                <a:ext uri="{FF2B5EF4-FFF2-40B4-BE49-F238E27FC236}">
                  <a16:creationId xmlns:a16="http://schemas.microsoft.com/office/drawing/2014/main" id="{ED68362A-759E-4846-945C-6084D2E97FFF}"/>
                </a:ext>
              </a:extLst>
            </p:cNvPr>
            <p:cNvSpPr>
              <a:spLocks noChangeArrowheads="1"/>
            </p:cNvSpPr>
            <p:nvPr/>
          </p:nvSpPr>
          <p:spPr bwMode="auto">
            <a:xfrm>
              <a:off x="7631" y="226"/>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7" name="Rectangle 296">
              <a:extLst>
                <a:ext uri="{FF2B5EF4-FFF2-40B4-BE49-F238E27FC236}">
                  <a16:creationId xmlns:a16="http://schemas.microsoft.com/office/drawing/2014/main" id="{AD0B3DC6-C3E3-4C5C-814A-663B2A9D4615}"/>
                </a:ext>
              </a:extLst>
            </p:cNvPr>
            <p:cNvSpPr>
              <a:spLocks noChangeArrowheads="1"/>
            </p:cNvSpPr>
            <p:nvPr/>
          </p:nvSpPr>
          <p:spPr bwMode="auto">
            <a:xfrm>
              <a:off x="7631" y="226"/>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8" name="Freeform 297">
              <a:extLst>
                <a:ext uri="{FF2B5EF4-FFF2-40B4-BE49-F238E27FC236}">
                  <a16:creationId xmlns:a16="http://schemas.microsoft.com/office/drawing/2014/main" id="{364F4164-0D6D-496D-A795-65090CF23383}"/>
                </a:ext>
              </a:extLst>
            </p:cNvPr>
            <p:cNvSpPr>
              <a:spLocks noEditPoints="1"/>
            </p:cNvSpPr>
            <p:nvPr/>
          </p:nvSpPr>
          <p:spPr bwMode="auto">
            <a:xfrm>
              <a:off x="6783" y="13"/>
              <a:ext cx="895" cy="567"/>
            </a:xfrm>
            <a:custGeom>
              <a:avLst/>
              <a:gdLst>
                <a:gd name="T0" fmla="*/ 75 w 379"/>
                <a:gd name="T1" fmla="*/ 11 h 240"/>
                <a:gd name="T2" fmla="*/ 67 w 379"/>
                <a:gd name="T3" fmla="*/ 1 h 240"/>
                <a:gd name="T4" fmla="*/ 62 w 379"/>
                <a:gd name="T5" fmla="*/ 9 h 240"/>
                <a:gd name="T6" fmla="*/ 60 w 379"/>
                <a:gd name="T7" fmla="*/ 25 h 240"/>
                <a:gd name="T8" fmla="*/ 61 w 379"/>
                <a:gd name="T9" fmla="*/ 32 h 240"/>
                <a:gd name="T10" fmla="*/ 52 w 379"/>
                <a:gd name="T11" fmla="*/ 41 h 240"/>
                <a:gd name="T12" fmla="*/ 57 w 379"/>
                <a:gd name="T13" fmla="*/ 10 h 240"/>
                <a:gd name="T14" fmla="*/ 0 w 379"/>
                <a:gd name="T15" fmla="*/ 25 h 240"/>
                <a:gd name="T16" fmla="*/ 9 w 379"/>
                <a:gd name="T17" fmla="*/ 126 h 240"/>
                <a:gd name="T18" fmla="*/ 19 w 379"/>
                <a:gd name="T19" fmla="*/ 125 h 240"/>
                <a:gd name="T20" fmla="*/ 33 w 379"/>
                <a:gd name="T21" fmla="*/ 103 h 240"/>
                <a:gd name="T22" fmla="*/ 50 w 379"/>
                <a:gd name="T23" fmla="*/ 93 h 240"/>
                <a:gd name="T24" fmla="*/ 67 w 379"/>
                <a:gd name="T25" fmla="*/ 91 h 240"/>
                <a:gd name="T26" fmla="*/ 84 w 379"/>
                <a:gd name="T27" fmla="*/ 98 h 240"/>
                <a:gd name="T28" fmla="*/ 99 w 379"/>
                <a:gd name="T29" fmla="*/ 118 h 240"/>
                <a:gd name="T30" fmla="*/ 99 w 379"/>
                <a:gd name="T31" fmla="*/ 126 h 240"/>
                <a:gd name="T32" fmla="*/ 120 w 379"/>
                <a:gd name="T33" fmla="*/ 130 h 240"/>
                <a:gd name="T34" fmla="*/ 145 w 379"/>
                <a:gd name="T35" fmla="*/ 149 h 240"/>
                <a:gd name="T36" fmla="*/ 157 w 379"/>
                <a:gd name="T37" fmla="*/ 167 h 240"/>
                <a:gd name="T38" fmla="*/ 206 w 379"/>
                <a:gd name="T39" fmla="*/ 199 h 240"/>
                <a:gd name="T40" fmla="*/ 226 w 379"/>
                <a:gd name="T41" fmla="*/ 211 h 240"/>
                <a:gd name="T42" fmla="*/ 251 w 379"/>
                <a:gd name="T43" fmla="*/ 222 h 240"/>
                <a:gd name="T44" fmla="*/ 255 w 379"/>
                <a:gd name="T45" fmla="*/ 235 h 240"/>
                <a:gd name="T46" fmla="*/ 268 w 379"/>
                <a:gd name="T47" fmla="*/ 240 h 240"/>
                <a:gd name="T48" fmla="*/ 273 w 379"/>
                <a:gd name="T49" fmla="*/ 234 h 240"/>
                <a:gd name="T50" fmla="*/ 284 w 379"/>
                <a:gd name="T51" fmla="*/ 214 h 240"/>
                <a:gd name="T52" fmla="*/ 276 w 379"/>
                <a:gd name="T53" fmla="*/ 195 h 240"/>
                <a:gd name="T54" fmla="*/ 268 w 379"/>
                <a:gd name="T55" fmla="*/ 175 h 240"/>
                <a:gd name="T56" fmla="*/ 289 w 379"/>
                <a:gd name="T57" fmla="*/ 175 h 240"/>
                <a:gd name="T58" fmla="*/ 303 w 379"/>
                <a:gd name="T59" fmla="*/ 156 h 240"/>
                <a:gd name="T60" fmla="*/ 311 w 379"/>
                <a:gd name="T61" fmla="*/ 141 h 240"/>
                <a:gd name="T62" fmla="*/ 319 w 379"/>
                <a:gd name="T63" fmla="*/ 144 h 240"/>
                <a:gd name="T64" fmla="*/ 329 w 379"/>
                <a:gd name="T65" fmla="*/ 139 h 240"/>
                <a:gd name="T66" fmla="*/ 347 w 379"/>
                <a:gd name="T67" fmla="*/ 147 h 240"/>
                <a:gd name="T68" fmla="*/ 351 w 379"/>
                <a:gd name="T69" fmla="*/ 155 h 240"/>
                <a:gd name="T70" fmla="*/ 370 w 379"/>
                <a:gd name="T71" fmla="*/ 157 h 240"/>
                <a:gd name="T72" fmla="*/ 377 w 379"/>
                <a:gd name="T73" fmla="*/ 150 h 240"/>
                <a:gd name="T74" fmla="*/ 375 w 379"/>
                <a:gd name="T75" fmla="*/ 137 h 240"/>
                <a:gd name="T76" fmla="*/ 367 w 379"/>
                <a:gd name="T77" fmla="*/ 128 h 240"/>
                <a:gd name="T78" fmla="*/ 363 w 379"/>
                <a:gd name="T79" fmla="*/ 137 h 240"/>
                <a:gd name="T80" fmla="*/ 341 w 379"/>
                <a:gd name="T81" fmla="*/ 128 h 240"/>
                <a:gd name="T82" fmla="*/ 330 w 379"/>
                <a:gd name="T83" fmla="*/ 126 h 240"/>
                <a:gd name="T84" fmla="*/ 311 w 379"/>
                <a:gd name="T85" fmla="*/ 128 h 240"/>
                <a:gd name="T86" fmla="*/ 297 w 379"/>
                <a:gd name="T87" fmla="*/ 142 h 240"/>
                <a:gd name="T88" fmla="*/ 292 w 379"/>
                <a:gd name="T89" fmla="*/ 151 h 240"/>
                <a:gd name="T90" fmla="*/ 278 w 379"/>
                <a:gd name="T91" fmla="*/ 140 h 240"/>
                <a:gd name="T92" fmla="*/ 273 w 379"/>
                <a:gd name="T93" fmla="*/ 135 h 240"/>
                <a:gd name="T94" fmla="*/ 245 w 379"/>
                <a:gd name="T95" fmla="*/ 127 h 240"/>
                <a:gd name="T96" fmla="*/ 237 w 379"/>
                <a:gd name="T97" fmla="*/ 112 h 240"/>
                <a:gd name="T98" fmla="*/ 231 w 379"/>
                <a:gd name="T99" fmla="*/ 94 h 240"/>
                <a:gd name="T100" fmla="*/ 224 w 379"/>
                <a:gd name="T101" fmla="*/ 80 h 240"/>
                <a:gd name="T102" fmla="*/ 204 w 379"/>
                <a:gd name="T103" fmla="*/ 64 h 240"/>
                <a:gd name="T104" fmla="*/ 181 w 379"/>
                <a:gd name="T105" fmla="*/ 66 h 240"/>
                <a:gd name="T106" fmla="*/ 135 w 379"/>
                <a:gd name="T107" fmla="*/ 67 h 240"/>
                <a:gd name="T108" fmla="*/ 94 w 379"/>
                <a:gd name="T109" fmla="*/ 31 h 240"/>
                <a:gd name="T110" fmla="*/ 84 w 379"/>
                <a:gd name="T111" fmla="*/ 50 h 240"/>
                <a:gd name="T112" fmla="*/ 79 w 379"/>
                <a:gd name="T113" fmla="*/ 19 h 240"/>
                <a:gd name="T114" fmla="*/ 77 w 379"/>
                <a:gd name="T115" fmla="*/ 11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9" h="240">
                  <a:moveTo>
                    <a:pt x="75" y="11"/>
                  </a:moveTo>
                  <a:cubicBezTo>
                    <a:pt x="75" y="11"/>
                    <a:pt x="75" y="11"/>
                    <a:pt x="75" y="11"/>
                  </a:cubicBezTo>
                  <a:cubicBezTo>
                    <a:pt x="75" y="11"/>
                    <a:pt x="75" y="11"/>
                    <a:pt x="75" y="11"/>
                  </a:cubicBezTo>
                  <a:cubicBezTo>
                    <a:pt x="75" y="11"/>
                    <a:pt x="75" y="11"/>
                    <a:pt x="75" y="11"/>
                  </a:cubicBezTo>
                  <a:moveTo>
                    <a:pt x="75" y="13"/>
                  </a:moveTo>
                  <a:cubicBezTo>
                    <a:pt x="75" y="13"/>
                    <a:pt x="75" y="13"/>
                    <a:pt x="75" y="13"/>
                  </a:cubicBezTo>
                  <a:cubicBezTo>
                    <a:pt x="75" y="12"/>
                    <a:pt x="75" y="10"/>
                    <a:pt x="75" y="8"/>
                  </a:cubicBezTo>
                  <a:cubicBezTo>
                    <a:pt x="77" y="9"/>
                    <a:pt x="75" y="9"/>
                    <a:pt x="75" y="11"/>
                  </a:cubicBezTo>
                  <a:cubicBezTo>
                    <a:pt x="75" y="11"/>
                    <a:pt x="75" y="11"/>
                    <a:pt x="75" y="12"/>
                  </a:cubicBezTo>
                  <a:cubicBezTo>
                    <a:pt x="75" y="13"/>
                    <a:pt x="75" y="13"/>
                    <a:pt x="75" y="13"/>
                  </a:cubicBezTo>
                  <a:moveTo>
                    <a:pt x="70" y="0"/>
                  </a:moveTo>
                  <a:cubicBezTo>
                    <a:pt x="69" y="0"/>
                    <a:pt x="69" y="1"/>
                    <a:pt x="69" y="2"/>
                  </a:cubicBezTo>
                  <a:cubicBezTo>
                    <a:pt x="69" y="3"/>
                    <a:pt x="69" y="4"/>
                    <a:pt x="68" y="4"/>
                  </a:cubicBezTo>
                  <a:cubicBezTo>
                    <a:pt x="68" y="4"/>
                    <a:pt x="68" y="4"/>
                    <a:pt x="68" y="4"/>
                  </a:cubicBezTo>
                  <a:cubicBezTo>
                    <a:pt x="67" y="3"/>
                    <a:pt x="69" y="1"/>
                    <a:pt x="68" y="1"/>
                  </a:cubicBezTo>
                  <a:cubicBezTo>
                    <a:pt x="68" y="1"/>
                    <a:pt x="68" y="1"/>
                    <a:pt x="67" y="1"/>
                  </a:cubicBezTo>
                  <a:cubicBezTo>
                    <a:pt x="66" y="1"/>
                    <a:pt x="67" y="4"/>
                    <a:pt x="67" y="4"/>
                  </a:cubicBezTo>
                  <a:cubicBezTo>
                    <a:pt x="67" y="6"/>
                    <a:pt x="65" y="7"/>
                    <a:pt x="64" y="8"/>
                  </a:cubicBezTo>
                  <a:cubicBezTo>
                    <a:pt x="64" y="8"/>
                    <a:pt x="64" y="8"/>
                    <a:pt x="64" y="8"/>
                  </a:cubicBezTo>
                  <a:cubicBezTo>
                    <a:pt x="62" y="9"/>
                    <a:pt x="62" y="9"/>
                    <a:pt x="62" y="9"/>
                  </a:cubicBezTo>
                  <a:cubicBezTo>
                    <a:pt x="62" y="9"/>
                    <a:pt x="62" y="9"/>
                    <a:pt x="62" y="9"/>
                  </a:cubicBezTo>
                  <a:cubicBezTo>
                    <a:pt x="62" y="9"/>
                    <a:pt x="62" y="9"/>
                    <a:pt x="62" y="9"/>
                  </a:cubicBezTo>
                  <a:cubicBezTo>
                    <a:pt x="62" y="9"/>
                    <a:pt x="62" y="9"/>
                    <a:pt x="62" y="9"/>
                  </a:cubicBezTo>
                  <a:cubicBezTo>
                    <a:pt x="62" y="9"/>
                    <a:pt x="62" y="9"/>
                    <a:pt x="62" y="9"/>
                  </a:cubicBezTo>
                  <a:cubicBezTo>
                    <a:pt x="62" y="9"/>
                    <a:pt x="62" y="9"/>
                    <a:pt x="62" y="9"/>
                  </a:cubicBezTo>
                  <a:cubicBezTo>
                    <a:pt x="61" y="11"/>
                    <a:pt x="61" y="11"/>
                    <a:pt x="61" y="11"/>
                  </a:cubicBezTo>
                  <a:cubicBezTo>
                    <a:pt x="61" y="11"/>
                    <a:pt x="61" y="11"/>
                    <a:pt x="61" y="11"/>
                  </a:cubicBezTo>
                  <a:cubicBezTo>
                    <a:pt x="60" y="13"/>
                    <a:pt x="60" y="14"/>
                    <a:pt x="60" y="16"/>
                  </a:cubicBezTo>
                  <a:cubicBezTo>
                    <a:pt x="61" y="17"/>
                    <a:pt x="62" y="18"/>
                    <a:pt x="62" y="19"/>
                  </a:cubicBezTo>
                  <a:cubicBezTo>
                    <a:pt x="62" y="20"/>
                    <a:pt x="60" y="21"/>
                    <a:pt x="59" y="22"/>
                  </a:cubicBezTo>
                  <a:cubicBezTo>
                    <a:pt x="59" y="23"/>
                    <a:pt x="58" y="25"/>
                    <a:pt x="59" y="25"/>
                  </a:cubicBezTo>
                  <a:cubicBezTo>
                    <a:pt x="60" y="25"/>
                    <a:pt x="60" y="25"/>
                    <a:pt x="60" y="25"/>
                  </a:cubicBezTo>
                  <a:cubicBezTo>
                    <a:pt x="61" y="24"/>
                    <a:pt x="63" y="23"/>
                    <a:pt x="63" y="23"/>
                  </a:cubicBezTo>
                  <a:cubicBezTo>
                    <a:pt x="63" y="23"/>
                    <a:pt x="63" y="23"/>
                    <a:pt x="62" y="24"/>
                  </a:cubicBezTo>
                  <a:cubicBezTo>
                    <a:pt x="63" y="25"/>
                    <a:pt x="62" y="25"/>
                    <a:pt x="61" y="26"/>
                  </a:cubicBezTo>
                  <a:cubicBezTo>
                    <a:pt x="61" y="26"/>
                    <a:pt x="61" y="27"/>
                    <a:pt x="61" y="28"/>
                  </a:cubicBezTo>
                  <a:cubicBezTo>
                    <a:pt x="61" y="31"/>
                    <a:pt x="63" y="30"/>
                    <a:pt x="63" y="32"/>
                  </a:cubicBezTo>
                  <a:cubicBezTo>
                    <a:pt x="63" y="32"/>
                    <a:pt x="63" y="32"/>
                    <a:pt x="62" y="32"/>
                  </a:cubicBezTo>
                  <a:cubicBezTo>
                    <a:pt x="62" y="32"/>
                    <a:pt x="62" y="32"/>
                    <a:pt x="62" y="32"/>
                  </a:cubicBezTo>
                  <a:cubicBezTo>
                    <a:pt x="61" y="32"/>
                    <a:pt x="61" y="32"/>
                    <a:pt x="61" y="32"/>
                  </a:cubicBezTo>
                  <a:cubicBezTo>
                    <a:pt x="61" y="32"/>
                    <a:pt x="61" y="32"/>
                    <a:pt x="60" y="32"/>
                  </a:cubicBezTo>
                  <a:cubicBezTo>
                    <a:pt x="60" y="32"/>
                    <a:pt x="59" y="31"/>
                    <a:pt x="59" y="31"/>
                  </a:cubicBezTo>
                  <a:cubicBezTo>
                    <a:pt x="58" y="31"/>
                    <a:pt x="58" y="31"/>
                    <a:pt x="58" y="32"/>
                  </a:cubicBezTo>
                  <a:cubicBezTo>
                    <a:pt x="58" y="33"/>
                    <a:pt x="58" y="33"/>
                    <a:pt x="58" y="33"/>
                  </a:cubicBezTo>
                  <a:cubicBezTo>
                    <a:pt x="58" y="33"/>
                    <a:pt x="59" y="33"/>
                    <a:pt x="59" y="33"/>
                  </a:cubicBezTo>
                  <a:cubicBezTo>
                    <a:pt x="59" y="33"/>
                    <a:pt x="59" y="33"/>
                    <a:pt x="59" y="33"/>
                  </a:cubicBezTo>
                  <a:cubicBezTo>
                    <a:pt x="59" y="33"/>
                    <a:pt x="60" y="34"/>
                    <a:pt x="59" y="35"/>
                  </a:cubicBezTo>
                  <a:cubicBezTo>
                    <a:pt x="58" y="38"/>
                    <a:pt x="54" y="41"/>
                    <a:pt x="52" y="41"/>
                  </a:cubicBezTo>
                  <a:cubicBezTo>
                    <a:pt x="50" y="41"/>
                    <a:pt x="49" y="40"/>
                    <a:pt x="49" y="37"/>
                  </a:cubicBezTo>
                  <a:cubicBezTo>
                    <a:pt x="50" y="36"/>
                    <a:pt x="51" y="36"/>
                    <a:pt x="51" y="34"/>
                  </a:cubicBezTo>
                  <a:cubicBezTo>
                    <a:pt x="51" y="33"/>
                    <a:pt x="50" y="32"/>
                    <a:pt x="49" y="31"/>
                  </a:cubicBezTo>
                  <a:cubicBezTo>
                    <a:pt x="48" y="28"/>
                    <a:pt x="50" y="27"/>
                    <a:pt x="51" y="24"/>
                  </a:cubicBezTo>
                  <a:cubicBezTo>
                    <a:pt x="51" y="22"/>
                    <a:pt x="52" y="19"/>
                    <a:pt x="53" y="18"/>
                  </a:cubicBezTo>
                  <a:cubicBezTo>
                    <a:pt x="53" y="17"/>
                    <a:pt x="53" y="16"/>
                    <a:pt x="54" y="14"/>
                  </a:cubicBezTo>
                  <a:cubicBezTo>
                    <a:pt x="55" y="13"/>
                    <a:pt x="56" y="13"/>
                    <a:pt x="57" y="12"/>
                  </a:cubicBezTo>
                  <a:cubicBezTo>
                    <a:pt x="57" y="11"/>
                    <a:pt x="57" y="11"/>
                    <a:pt x="57" y="10"/>
                  </a:cubicBezTo>
                  <a:cubicBezTo>
                    <a:pt x="57" y="10"/>
                    <a:pt x="57" y="10"/>
                    <a:pt x="57" y="10"/>
                  </a:cubicBezTo>
                  <a:cubicBezTo>
                    <a:pt x="54" y="10"/>
                    <a:pt x="54" y="10"/>
                    <a:pt x="54" y="10"/>
                  </a:cubicBezTo>
                  <a:cubicBezTo>
                    <a:pt x="53" y="11"/>
                    <a:pt x="51" y="11"/>
                    <a:pt x="49" y="12"/>
                  </a:cubicBezTo>
                  <a:cubicBezTo>
                    <a:pt x="47" y="12"/>
                    <a:pt x="47" y="12"/>
                    <a:pt x="47" y="12"/>
                  </a:cubicBezTo>
                  <a:cubicBezTo>
                    <a:pt x="41" y="14"/>
                    <a:pt x="41" y="14"/>
                    <a:pt x="41" y="14"/>
                  </a:cubicBezTo>
                  <a:cubicBezTo>
                    <a:pt x="29" y="17"/>
                    <a:pt x="18" y="20"/>
                    <a:pt x="8" y="23"/>
                  </a:cubicBezTo>
                  <a:cubicBezTo>
                    <a:pt x="7" y="23"/>
                    <a:pt x="6" y="23"/>
                    <a:pt x="5" y="24"/>
                  </a:cubicBezTo>
                  <a:cubicBezTo>
                    <a:pt x="3" y="24"/>
                    <a:pt x="1" y="24"/>
                    <a:pt x="0" y="25"/>
                  </a:cubicBezTo>
                  <a:cubicBezTo>
                    <a:pt x="0" y="25"/>
                    <a:pt x="0" y="25"/>
                    <a:pt x="0" y="25"/>
                  </a:cubicBezTo>
                  <a:cubicBezTo>
                    <a:pt x="0" y="26"/>
                    <a:pt x="0" y="26"/>
                    <a:pt x="0" y="26"/>
                  </a:cubicBezTo>
                  <a:cubicBezTo>
                    <a:pt x="0" y="41"/>
                    <a:pt x="0" y="57"/>
                    <a:pt x="0" y="73"/>
                  </a:cubicBezTo>
                  <a:cubicBezTo>
                    <a:pt x="0" y="125"/>
                    <a:pt x="0" y="125"/>
                    <a:pt x="0" y="125"/>
                  </a:cubicBezTo>
                  <a:cubicBezTo>
                    <a:pt x="6" y="125"/>
                    <a:pt x="6" y="125"/>
                    <a:pt x="6" y="125"/>
                  </a:cubicBezTo>
                  <a:cubicBezTo>
                    <a:pt x="5" y="126"/>
                    <a:pt x="5" y="126"/>
                    <a:pt x="5" y="126"/>
                  </a:cubicBezTo>
                  <a:cubicBezTo>
                    <a:pt x="5" y="126"/>
                    <a:pt x="5" y="126"/>
                    <a:pt x="5" y="126"/>
                  </a:cubicBezTo>
                  <a:cubicBezTo>
                    <a:pt x="6" y="126"/>
                    <a:pt x="8" y="126"/>
                    <a:pt x="9" y="126"/>
                  </a:cubicBezTo>
                  <a:cubicBezTo>
                    <a:pt x="9" y="126"/>
                    <a:pt x="9" y="126"/>
                    <a:pt x="9" y="126"/>
                  </a:cubicBezTo>
                  <a:cubicBezTo>
                    <a:pt x="9" y="126"/>
                    <a:pt x="10" y="126"/>
                    <a:pt x="10" y="126"/>
                  </a:cubicBezTo>
                  <a:cubicBezTo>
                    <a:pt x="10" y="126"/>
                    <a:pt x="10" y="126"/>
                    <a:pt x="10" y="126"/>
                  </a:cubicBezTo>
                  <a:cubicBezTo>
                    <a:pt x="10" y="126"/>
                    <a:pt x="10" y="126"/>
                    <a:pt x="10" y="126"/>
                  </a:cubicBezTo>
                  <a:cubicBezTo>
                    <a:pt x="11" y="126"/>
                    <a:pt x="12" y="126"/>
                    <a:pt x="13" y="126"/>
                  </a:cubicBezTo>
                  <a:cubicBezTo>
                    <a:pt x="15" y="125"/>
                    <a:pt x="15" y="125"/>
                    <a:pt x="15" y="125"/>
                  </a:cubicBezTo>
                  <a:cubicBezTo>
                    <a:pt x="17" y="125"/>
                    <a:pt x="18" y="125"/>
                    <a:pt x="19" y="125"/>
                  </a:cubicBezTo>
                  <a:cubicBezTo>
                    <a:pt x="19" y="125"/>
                    <a:pt x="19" y="125"/>
                    <a:pt x="19" y="125"/>
                  </a:cubicBezTo>
                  <a:cubicBezTo>
                    <a:pt x="18" y="124"/>
                    <a:pt x="18" y="122"/>
                    <a:pt x="18" y="121"/>
                  </a:cubicBezTo>
                  <a:cubicBezTo>
                    <a:pt x="17" y="119"/>
                    <a:pt x="17" y="118"/>
                    <a:pt x="18" y="116"/>
                  </a:cubicBezTo>
                  <a:cubicBezTo>
                    <a:pt x="19" y="115"/>
                    <a:pt x="19" y="115"/>
                    <a:pt x="19" y="114"/>
                  </a:cubicBezTo>
                  <a:cubicBezTo>
                    <a:pt x="20" y="111"/>
                    <a:pt x="21" y="108"/>
                    <a:pt x="23" y="106"/>
                  </a:cubicBezTo>
                  <a:cubicBezTo>
                    <a:pt x="24" y="105"/>
                    <a:pt x="24" y="105"/>
                    <a:pt x="24" y="105"/>
                  </a:cubicBezTo>
                  <a:cubicBezTo>
                    <a:pt x="25" y="105"/>
                    <a:pt x="25" y="105"/>
                    <a:pt x="26" y="104"/>
                  </a:cubicBezTo>
                  <a:cubicBezTo>
                    <a:pt x="28" y="104"/>
                    <a:pt x="30" y="103"/>
                    <a:pt x="33" y="103"/>
                  </a:cubicBezTo>
                  <a:cubicBezTo>
                    <a:pt x="33" y="103"/>
                    <a:pt x="33" y="103"/>
                    <a:pt x="33" y="103"/>
                  </a:cubicBezTo>
                  <a:cubicBezTo>
                    <a:pt x="34" y="103"/>
                    <a:pt x="35" y="102"/>
                    <a:pt x="36" y="102"/>
                  </a:cubicBezTo>
                  <a:cubicBezTo>
                    <a:pt x="39" y="101"/>
                    <a:pt x="39" y="101"/>
                    <a:pt x="39" y="100"/>
                  </a:cubicBezTo>
                  <a:cubicBezTo>
                    <a:pt x="40" y="99"/>
                    <a:pt x="40" y="99"/>
                    <a:pt x="40" y="98"/>
                  </a:cubicBezTo>
                  <a:cubicBezTo>
                    <a:pt x="41" y="96"/>
                    <a:pt x="42" y="93"/>
                    <a:pt x="45" y="92"/>
                  </a:cubicBezTo>
                  <a:cubicBezTo>
                    <a:pt x="45" y="92"/>
                    <a:pt x="46" y="92"/>
                    <a:pt x="46" y="92"/>
                  </a:cubicBezTo>
                  <a:cubicBezTo>
                    <a:pt x="47" y="92"/>
                    <a:pt x="47" y="92"/>
                    <a:pt x="48" y="93"/>
                  </a:cubicBezTo>
                  <a:cubicBezTo>
                    <a:pt x="48" y="93"/>
                    <a:pt x="49" y="93"/>
                    <a:pt x="49" y="93"/>
                  </a:cubicBezTo>
                  <a:cubicBezTo>
                    <a:pt x="50" y="93"/>
                    <a:pt x="50" y="93"/>
                    <a:pt x="50" y="93"/>
                  </a:cubicBezTo>
                  <a:cubicBezTo>
                    <a:pt x="51" y="90"/>
                    <a:pt x="53" y="88"/>
                    <a:pt x="54" y="87"/>
                  </a:cubicBezTo>
                  <a:cubicBezTo>
                    <a:pt x="55" y="86"/>
                    <a:pt x="56" y="86"/>
                    <a:pt x="56" y="85"/>
                  </a:cubicBezTo>
                  <a:cubicBezTo>
                    <a:pt x="58" y="83"/>
                    <a:pt x="58" y="83"/>
                    <a:pt x="58" y="83"/>
                  </a:cubicBezTo>
                  <a:cubicBezTo>
                    <a:pt x="61" y="85"/>
                    <a:pt x="61" y="85"/>
                    <a:pt x="61" y="85"/>
                  </a:cubicBezTo>
                  <a:cubicBezTo>
                    <a:pt x="61" y="85"/>
                    <a:pt x="61" y="85"/>
                    <a:pt x="62" y="86"/>
                  </a:cubicBezTo>
                  <a:cubicBezTo>
                    <a:pt x="63" y="87"/>
                    <a:pt x="63" y="87"/>
                    <a:pt x="63" y="87"/>
                  </a:cubicBezTo>
                  <a:cubicBezTo>
                    <a:pt x="64" y="88"/>
                    <a:pt x="66" y="90"/>
                    <a:pt x="67" y="91"/>
                  </a:cubicBezTo>
                  <a:cubicBezTo>
                    <a:pt x="67" y="91"/>
                    <a:pt x="67" y="91"/>
                    <a:pt x="67" y="91"/>
                  </a:cubicBezTo>
                  <a:cubicBezTo>
                    <a:pt x="68" y="91"/>
                    <a:pt x="68" y="91"/>
                    <a:pt x="68" y="91"/>
                  </a:cubicBezTo>
                  <a:cubicBezTo>
                    <a:pt x="69" y="91"/>
                    <a:pt x="69" y="91"/>
                    <a:pt x="70" y="91"/>
                  </a:cubicBezTo>
                  <a:cubicBezTo>
                    <a:pt x="71" y="91"/>
                    <a:pt x="73" y="92"/>
                    <a:pt x="73" y="93"/>
                  </a:cubicBezTo>
                  <a:cubicBezTo>
                    <a:pt x="75" y="96"/>
                    <a:pt x="75" y="96"/>
                    <a:pt x="75" y="96"/>
                  </a:cubicBezTo>
                  <a:cubicBezTo>
                    <a:pt x="76" y="96"/>
                    <a:pt x="76" y="97"/>
                    <a:pt x="76" y="97"/>
                  </a:cubicBezTo>
                  <a:cubicBezTo>
                    <a:pt x="77" y="97"/>
                    <a:pt x="77" y="97"/>
                    <a:pt x="77" y="97"/>
                  </a:cubicBezTo>
                  <a:cubicBezTo>
                    <a:pt x="77" y="97"/>
                    <a:pt x="77" y="97"/>
                    <a:pt x="77" y="97"/>
                  </a:cubicBezTo>
                  <a:cubicBezTo>
                    <a:pt x="79" y="98"/>
                    <a:pt x="82" y="97"/>
                    <a:pt x="84" y="98"/>
                  </a:cubicBezTo>
                  <a:cubicBezTo>
                    <a:pt x="84" y="98"/>
                    <a:pt x="84" y="98"/>
                    <a:pt x="84" y="98"/>
                  </a:cubicBezTo>
                  <a:cubicBezTo>
                    <a:pt x="87" y="98"/>
                    <a:pt x="91" y="100"/>
                    <a:pt x="94" y="101"/>
                  </a:cubicBezTo>
                  <a:cubicBezTo>
                    <a:pt x="99" y="104"/>
                    <a:pt x="99" y="104"/>
                    <a:pt x="99" y="104"/>
                  </a:cubicBezTo>
                  <a:cubicBezTo>
                    <a:pt x="94" y="106"/>
                    <a:pt x="94" y="106"/>
                    <a:pt x="94" y="106"/>
                  </a:cubicBezTo>
                  <a:cubicBezTo>
                    <a:pt x="94" y="107"/>
                    <a:pt x="94" y="108"/>
                    <a:pt x="94" y="109"/>
                  </a:cubicBezTo>
                  <a:cubicBezTo>
                    <a:pt x="96" y="110"/>
                    <a:pt x="98" y="112"/>
                    <a:pt x="99" y="113"/>
                  </a:cubicBezTo>
                  <a:cubicBezTo>
                    <a:pt x="102" y="116"/>
                    <a:pt x="102" y="116"/>
                    <a:pt x="102" y="116"/>
                  </a:cubicBezTo>
                  <a:cubicBezTo>
                    <a:pt x="99" y="118"/>
                    <a:pt x="99" y="118"/>
                    <a:pt x="99" y="118"/>
                  </a:cubicBezTo>
                  <a:cubicBezTo>
                    <a:pt x="98" y="118"/>
                    <a:pt x="98" y="118"/>
                    <a:pt x="97" y="119"/>
                  </a:cubicBezTo>
                  <a:cubicBezTo>
                    <a:pt x="97" y="119"/>
                    <a:pt x="97" y="120"/>
                    <a:pt x="97" y="121"/>
                  </a:cubicBezTo>
                  <a:cubicBezTo>
                    <a:pt x="97" y="122"/>
                    <a:pt x="97" y="122"/>
                    <a:pt x="97" y="122"/>
                  </a:cubicBezTo>
                  <a:cubicBezTo>
                    <a:pt x="97" y="122"/>
                    <a:pt x="97" y="123"/>
                    <a:pt x="97" y="123"/>
                  </a:cubicBezTo>
                  <a:cubicBezTo>
                    <a:pt x="96" y="124"/>
                    <a:pt x="96" y="124"/>
                    <a:pt x="96" y="124"/>
                  </a:cubicBezTo>
                  <a:cubicBezTo>
                    <a:pt x="96" y="124"/>
                    <a:pt x="96" y="124"/>
                    <a:pt x="96" y="124"/>
                  </a:cubicBezTo>
                  <a:cubicBezTo>
                    <a:pt x="98" y="125"/>
                    <a:pt x="98" y="125"/>
                    <a:pt x="98" y="125"/>
                  </a:cubicBezTo>
                  <a:cubicBezTo>
                    <a:pt x="98" y="125"/>
                    <a:pt x="99" y="126"/>
                    <a:pt x="99" y="126"/>
                  </a:cubicBezTo>
                  <a:cubicBezTo>
                    <a:pt x="100" y="126"/>
                    <a:pt x="100" y="126"/>
                    <a:pt x="100" y="126"/>
                  </a:cubicBezTo>
                  <a:cubicBezTo>
                    <a:pt x="101" y="127"/>
                    <a:pt x="102" y="127"/>
                    <a:pt x="103" y="127"/>
                  </a:cubicBezTo>
                  <a:cubicBezTo>
                    <a:pt x="103" y="127"/>
                    <a:pt x="104" y="127"/>
                    <a:pt x="104" y="127"/>
                  </a:cubicBezTo>
                  <a:cubicBezTo>
                    <a:pt x="105" y="127"/>
                    <a:pt x="106" y="127"/>
                    <a:pt x="107" y="127"/>
                  </a:cubicBezTo>
                  <a:cubicBezTo>
                    <a:pt x="107" y="127"/>
                    <a:pt x="107" y="127"/>
                    <a:pt x="108" y="127"/>
                  </a:cubicBezTo>
                  <a:cubicBezTo>
                    <a:pt x="110" y="127"/>
                    <a:pt x="113" y="128"/>
                    <a:pt x="115" y="129"/>
                  </a:cubicBezTo>
                  <a:cubicBezTo>
                    <a:pt x="116" y="129"/>
                    <a:pt x="117" y="129"/>
                    <a:pt x="118" y="129"/>
                  </a:cubicBezTo>
                  <a:cubicBezTo>
                    <a:pt x="120" y="130"/>
                    <a:pt x="120" y="130"/>
                    <a:pt x="120" y="130"/>
                  </a:cubicBezTo>
                  <a:cubicBezTo>
                    <a:pt x="120" y="130"/>
                    <a:pt x="121" y="129"/>
                    <a:pt x="121" y="129"/>
                  </a:cubicBezTo>
                  <a:cubicBezTo>
                    <a:pt x="121" y="128"/>
                    <a:pt x="122" y="128"/>
                    <a:pt x="122" y="127"/>
                  </a:cubicBezTo>
                  <a:cubicBezTo>
                    <a:pt x="123" y="127"/>
                    <a:pt x="124" y="126"/>
                    <a:pt x="124" y="126"/>
                  </a:cubicBezTo>
                  <a:cubicBezTo>
                    <a:pt x="125" y="126"/>
                    <a:pt x="126" y="126"/>
                    <a:pt x="126" y="126"/>
                  </a:cubicBezTo>
                  <a:cubicBezTo>
                    <a:pt x="129" y="126"/>
                    <a:pt x="132" y="127"/>
                    <a:pt x="134" y="130"/>
                  </a:cubicBezTo>
                  <a:cubicBezTo>
                    <a:pt x="138" y="133"/>
                    <a:pt x="141" y="140"/>
                    <a:pt x="143" y="145"/>
                  </a:cubicBezTo>
                  <a:cubicBezTo>
                    <a:pt x="143" y="146"/>
                    <a:pt x="143" y="146"/>
                    <a:pt x="143" y="146"/>
                  </a:cubicBezTo>
                  <a:cubicBezTo>
                    <a:pt x="144" y="147"/>
                    <a:pt x="144" y="148"/>
                    <a:pt x="145" y="149"/>
                  </a:cubicBezTo>
                  <a:cubicBezTo>
                    <a:pt x="145" y="150"/>
                    <a:pt x="146" y="150"/>
                    <a:pt x="146" y="151"/>
                  </a:cubicBezTo>
                  <a:cubicBezTo>
                    <a:pt x="148" y="152"/>
                    <a:pt x="149" y="154"/>
                    <a:pt x="150" y="156"/>
                  </a:cubicBezTo>
                  <a:cubicBezTo>
                    <a:pt x="150" y="157"/>
                    <a:pt x="150" y="157"/>
                    <a:pt x="150" y="157"/>
                  </a:cubicBezTo>
                  <a:cubicBezTo>
                    <a:pt x="150" y="158"/>
                    <a:pt x="151" y="159"/>
                    <a:pt x="151" y="160"/>
                  </a:cubicBezTo>
                  <a:cubicBezTo>
                    <a:pt x="151" y="160"/>
                    <a:pt x="151" y="160"/>
                    <a:pt x="151" y="160"/>
                  </a:cubicBezTo>
                  <a:cubicBezTo>
                    <a:pt x="151" y="161"/>
                    <a:pt x="152" y="163"/>
                    <a:pt x="152" y="164"/>
                  </a:cubicBezTo>
                  <a:cubicBezTo>
                    <a:pt x="153" y="164"/>
                    <a:pt x="153" y="164"/>
                    <a:pt x="153" y="164"/>
                  </a:cubicBezTo>
                  <a:cubicBezTo>
                    <a:pt x="153" y="165"/>
                    <a:pt x="155" y="166"/>
                    <a:pt x="157" y="167"/>
                  </a:cubicBezTo>
                  <a:cubicBezTo>
                    <a:pt x="157" y="168"/>
                    <a:pt x="158" y="168"/>
                    <a:pt x="159" y="169"/>
                  </a:cubicBezTo>
                  <a:cubicBezTo>
                    <a:pt x="163" y="172"/>
                    <a:pt x="163" y="172"/>
                    <a:pt x="163" y="172"/>
                  </a:cubicBezTo>
                  <a:cubicBezTo>
                    <a:pt x="164" y="173"/>
                    <a:pt x="166" y="174"/>
                    <a:pt x="167" y="175"/>
                  </a:cubicBezTo>
                  <a:cubicBezTo>
                    <a:pt x="170" y="177"/>
                    <a:pt x="174" y="180"/>
                    <a:pt x="178" y="182"/>
                  </a:cubicBezTo>
                  <a:cubicBezTo>
                    <a:pt x="179" y="183"/>
                    <a:pt x="180" y="183"/>
                    <a:pt x="181" y="184"/>
                  </a:cubicBezTo>
                  <a:cubicBezTo>
                    <a:pt x="184" y="185"/>
                    <a:pt x="184" y="185"/>
                    <a:pt x="184" y="185"/>
                  </a:cubicBezTo>
                  <a:cubicBezTo>
                    <a:pt x="189" y="187"/>
                    <a:pt x="194" y="190"/>
                    <a:pt x="198" y="194"/>
                  </a:cubicBezTo>
                  <a:cubicBezTo>
                    <a:pt x="200" y="196"/>
                    <a:pt x="203" y="197"/>
                    <a:pt x="206" y="199"/>
                  </a:cubicBezTo>
                  <a:cubicBezTo>
                    <a:pt x="209" y="201"/>
                    <a:pt x="209" y="201"/>
                    <a:pt x="209" y="201"/>
                  </a:cubicBezTo>
                  <a:cubicBezTo>
                    <a:pt x="210" y="201"/>
                    <a:pt x="211" y="202"/>
                    <a:pt x="212" y="202"/>
                  </a:cubicBezTo>
                  <a:cubicBezTo>
                    <a:pt x="214" y="204"/>
                    <a:pt x="216" y="205"/>
                    <a:pt x="218" y="206"/>
                  </a:cubicBezTo>
                  <a:cubicBezTo>
                    <a:pt x="219" y="207"/>
                    <a:pt x="219" y="207"/>
                    <a:pt x="219" y="207"/>
                  </a:cubicBezTo>
                  <a:cubicBezTo>
                    <a:pt x="220" y="208"/>
                    <a:pt x="220" y="208"/>
                    <a:pt x="221" y="208"/>
                  </a:cubicBezTo>
                  <a:cubicBezTo>
                    <a:pt x="222" y="209"/>
                    <a:pt x="222" y="209"/>
                    <a:pt x="222" y="209"/>
                  </a:cubicBezTo>
                  <a:cubicBezTo>
                    <a:pt x="224" y="210"/>
                    <a:pt x="225" y="211"/>
                    <a:pt x="226" y="211"/>
                  </a:cubicBezTo>
                  <a:cubicBezTo>
                    <a:pt x="226" y="211"/>
                    <a:pt x="226" y="211"/>
                    <a:pt x="226" y="211"/>
                  </a:cubicBezTo>
                  <a:cubicBezTo>
                    <a:pt x="227" y="211"/>
                    <a:pt x="227" y="211"/>
                    <a:pt x="227" y="211"/>
                  </a:cubicBezTo>
                  <a:cubicBezTo>
                    <a:pt x="228" y="210"/>
                    <a:pt x="228" y="210"/>
                    <a:pt x="228" y="210"/>
                  </a:cubicBezTo>
                  <a:cubicBezTo>
                    <a:pt x="229" y="210"/>
                    <a:pt x="229" y="210"/>
                    <a:pt x="230" y="210"/>
                  </a:cubicBezTo>
                  <a:cubicBezTo>
                    <a:pt x="233" y="210"/>
                    <a:pt x="236" y="211"/>
                    <a:pt x="238" y="213"/>
                  </a:cubicBezTo>
                  <a:cubicBezTo>
                    <a:pt x="239" y="213"/>
                    <a:pt x="239" y="213"/>
                    <a:pt x="239" y="213"/>
                  </a:cubicBezTo>
                  <a:cubicBezTo>
                    <a:pt x="240" y="214"/>
                    <a:pt x="242" y="215"/>
                    <a:pt x="243" y="215"/>
                  </a:cubicBezTo>
                  <a:cubicBezTo>
                    <a:pt x="249" y="218"/>
                    <a:pt x="249" y="218"/>
                    <a:pt x="249" y="218"/>
                  </a:cubicBezTo>
                  <a:cubicBezTo>
                    <a:pt x="251" y="219"/>
                    <a:pt x="251" y="221"/>
                    <a:pt x="251" y="222"/>
                  </a:cubicBezTo>
                  <a:cubicBezTo>
                    <a:pt x="251" y="222"/>
                    <a:pt x="251" y="223"/>
                    <a:pt x="251" y="223"/>
                  </a:cubicBezTo>
                  <a:cubicBezTo>
                    <a:pt x="250" y="224"/>
                    <a:pt x="250" y="225"/>
                    <a:pt x="250" y="225"/>
                  </a:cubicBezTo>
                  <a:cubicBezTo>
                    <a:pt x="250" y="226"/>
                    <a:pt x="250" y="226"/>
                    <a:pt x="250" y="226"/>
                  </a:cubicBezTo>
                  <a:cubicBezTo>
                    <a:pt x="250" y="227"/>
                    <a:pt x="250" y="228"/>
                    <a:pt x="250" y="228"/>
                  </a:cubicBezTo>
                  <a:cubicBezTo>
                    <a:pt x="249" y="233"/>
                    <a:pt x="249" y="233"/>
                    <a:pt x="249" y="233"/>
                  </a:cubicBezTo>
                  <a:cubicBezTo>
                    <a:pt x="249" y="234"/>
                    <a:pt x="249" y="234"/>
                    <a:pt x="249" y="235"/>
                  </a:cubicBezTo>
                  <a:cubicBezTo>
                    <a:pt x="252" y="235"/>
                    <a:pt x="252" y="235"/>
                    <a:pt x="252" y="235"/>
                  </a:cubicBezTo>
                  <a:cubicBezTo>
                    <a:pt x="253" y="235"/>
                    <a:pt x="254" y="235"/>
                    <a:pt x="255" y="235"/>
                  </a:cubicBezTo>
                  <a:cubicBezTo>
                    <a:pt x="258" y="235"/>
                    <a:pt x="259" y="236"/>
                    <a:pt x="262" y="238"/>
                  </a:cubicBezTo>
                  <a:cubicBezTo>
                    <a:pt x="262" y="239"/>
                    <a:pt x="262" y="239"/>
                    <a:pt x="262" y="239"/>
                  </a:cubicBezTo>
                  <a:cubicBezTo>
                    <a:pt x="263" y="239"/>
                    <a:pt x="263" y="239"/>
                    <a:pt x="263" y="239"/>
                  </a:cubicBezTo>
                  <a:cubicBezTo>
                    <a:pt x="263" y="239"/>
                    <a:pt x="263" y="239"/>
                    <a:pt x="263" y="239"/>
                  </a:cubicBezTo>
                  <a:cubicBezTo>
                    <a:pt x="263" y="239"/>
                    <a:pt x="263" y="239"/>
                    <a:pt x="263" y="239"/>
                  </a:cubicBezTo>
                  <a:cubicBezTo>
                    <a:pt x="264" y="239"/>
                    <a:pt x="264" y="239"/>
                    <a:pt x="264" y="239"/>
                  </a:cubicBezTo>
                  <a:cubicBezTo>
                    <a:pt x="264" y="240"/>
                    <a:pt x="265" y="240"/>
                    <a:pt x="266" y="240"/>
                  </a:cubicBezTo>
                  <a:cubicBezTo>
                    <a:pt x="267" y="240"/>
                    <a:pt x="267" y="240"/>
                    <a:pt x="268" y="240"/>
                  </a:cubicBezTo>
                  <a:cubicBezTo>
                    <a:pt x="270" y="239"/>
                    <a:pt x="270" y="239"/>
                    <a:pt x="271" y="239"/>
                  </a:cubicBezTo>
                  <a:cubicBezTo>
                    <a:pt x="271" y="238"/>
                    <a:pt x="271" y="238"/>
                    <a:pt x="271" y="238"/>
                  </a:cubicBezTo>
                  <a:cubicBezTo>
                    <a:pt x="272" y="238"/>
                    <a:pt x="272" y="238"/>
                    <a:pt x="272" y="238"/>
                  </a:cubicBezTo>
                  <a:cubicBezTo>
                    <a:pt x="272" y="238"/>
                    <a:pt x="272" y="238"/>
                    <a:pt x="273" y="237"/>
                  </a:cubicBezTo>
                  <a:cubicBezTo>
                    <a:pt x="272" y="237"/>
                    <a:pt x="272" y="237"/>
                    <a:pt x="272" y="237"/>
                  </a:cubicBezTo>
                  <a:cubicBezTo>
                    <a:pt x="272" y="236"/>
                    <a:pt x="272" y="236"/>
                    <a:pt x="272" y="236"/>
                  </a:cubicBezTo>
                  <a:cubicBezTo>
                    <a:pt x="272" y="235"/>
                    <a:pt x="273" y="234"/>
                    <a:pt x="273" y="234"/>
                  </a:cubicBezTo>
                  <a:cubicBezTo>
                    <a:pt x="273" y="234"/>
                    <a:pt x="273" y="234"/>
                    <a:pt x="273" y="234"/>
                  </a:cubicBezTo>
                  <a:cubicBezTo>
                    <a:pt x="273" y="233"/>
                    <a:pt x="273" y="233"/>
                    <a:pt x="273" y="233"/>
                  </a:cubicBezTo>
                  <a:cubicBezTo>
                    <a:pt x="274" y="231"/>
                    <a:pt x="275" y="230"/>
                    <a:pt x="276" y="229"/>
                  </a:cubicBezTo>
                  <a:cubicBezTo>
                    <a:pt x="277" y="227"/>
                    <a:pt x="277" y="227"/>
                    <a:pt x="277" y="227"/>
                  </a:cubicBezTo>
                  <a:cubicBezTo>
                    <a:pt x="277" y="227"/>
                    <a:pt x="278" y="226"/>
                    <a:pt x="278" y="226"/>
                  </a:cubicBezTo>
                  <a:cubicBezTo>
                    <a:pt x="279" y="225"/>
                    <a:pt x="279" y="225"/>
                    <a:pt x="279" y="225"/>
                  </a:cubicBezTo>
                  <a:cubicBezTo>
                    <a:pt x="284" y="218"/>
                    <a:pt x="285" y="216"/>
                    <a:pt x="285" y="215"/>
                  </a:cubicBezTo>
                  <a:cubicBezTo>
                    <a:pt x="285" y="215"/>
                    <a:pt x="285" y="215"/>
                    <a:pt x="285" y="215"/>
                  </a:cubicBezTo>
                  <a:cubicBezTo>
                    <a:pt x="285" y="214"/>
                    <a:pt x="284" y="214"/>
                    <a:pt x="284" y="214"/>
                  </a:cubicBezTo>
                  <a:cubicBezTo>
                    <a:pt x="283" y="213"/>
                    <a:pt x="283" y="213"/>
                    <a:pt x="282" y="212"/>
                  </a:cubicBezTo>
                  <a:cubicBezTo>
                    <a:pt x="282" y="212"/>
                    <a:pt x="282" y="212"/>
                    <a:pt x="282" y="212"/>
                  </a:cubicBezTo>
                  <a:cubicBezTo>
                    <a:pt x="282" y="212"/>
                    <a:pt x="281" y="211"/>
                    <a:pt x="281" y="211"/>
                  </a:cubicBezTo>
                  <a:cubicBezTo>
                    <a:pt x="280" y="210"/>
                    <a:pt x="280" y="209"/>
                    <a:pt x="279" y="207"/>
                  </a:cubicBezTo>
                  <a:cubicBezTo>
                    <a:pt x="279" y="207"/>
                    <a:pt x="279" y="206"/>
                    <a:pt x="279" y="205"/>
                  </a:cubicBezTo>
                  <a:cubicBezTo>
                    <a:pt x="280" y="202"/>
                    <a:pt x="280" y="202"/>
                    <a:pt x="280" y="202"/>
                  </a:cubicBezTo>
                  <a:cubicBezTo>
                    <a:pt x="281" y="198"/>
                    <a:pt x="281" y="197"/>
                    <a:pt x="281" y="197"/>
                  </a:cubicBezTo>
                  <a:cubicBezTo>
                    <a:pt x="281" y="196"/>
                    <a:pt x="278" y="196"/>
                    <a:pt x="276" y="195"/>
                  </a:cubicBezTo>
                  <a:cubicBezTo>
                    <a:pt x="272" y="195"/>
                    <a:pt x="271" y="195"/>
                    <a:pt x="267" y="192"/>
                  </a:cubicBezTo>
                  <a:cubicBezTo>
                    <a:pt x="266" y="191"/>
                    <a:pt x="266" y="191"/>
                    <a:pt x="266" y="191"/>
                  </a:cubicBezTo>
                  <a:cubicBezTo>
                    <a:pt x="265" y="190"/>
                    <a:pt x="265" y="190"/>
                    <a:pt x="265" y="190"/>
                  </a:cubicBezTo>
                  <a:cubicBezTo>
                    <a:pt x="265" y="189"/>
                    <a:pt x="264" y="189"/>
                    <a:pt x="264" y="189"/>
                  </a:cubicBezTo>
                  <a:cubicBezTo>
                    <a:pt x="263" y="187"/>
                    <a:pt x="262" y="185"/>
                    <a:pt x="262" y="183"/>
                  </a:cubicBezTo>
                  <a:cubicBezTo>
                    <a:pt x="262" y="183"/>
                    <a:pt x="262" y="183"/>
                    <a:pt x="262" y="183"/>
                  </a:cubicBezTo>
                  <a:cubicBezTo>
                    <a:pt x="263" y="180"/>
                    <a:pt x="264" y="178"/>
                    <a:pt x="267" y="175"/>
                  </a:cubicBezTo>
                  <a:cubicBezTo>
                    <a:pt x="268" y="175"/>
                    <a:pt x="268" y="175"/>
                    <a:pt x="268" y="175"/>
                  </a:cubicBezTo>
                  <a:cubicBezTo>
                    <a:pt x="269" y="174"/>
                    <a:pt x="270" y="174"/>
                    <a:pt x="271" y="173"/>
                  </a:cubicBezTo>
                  <a:cubicBezTo>
                    <a:pt x="271" y="173"/>
                    <a:pt x="271" y="173"/>
                    <a:pt x="271" y="173"/>
                  </a:cubicBezTo>
                  <a:cubicBezTo>
                    <a:pt x="272" y="173"/>
                    <a:pt x="273" y="173"/>
                    <a:pt x="274" y="173"/>
                  </a:cubicBezTo>
                  <a:cubicBezTo>
                    <a:pt x="274" y="173"/>
                    <a:pt x="275" y="173"/>
                    <a:pt x="276" y="173"/>
                  </a:cubicBezTo>
                  <a:cubicBezTo>
                    <a:pt x="279" y="174"/>
                    <a:pt x="281" y="174"/>
                    <a:pt x="284" y="174"/>
                  </a:cubicBezTo>
                  <a:cubicBezTo>
                    <a:pt x="286" y="175"/>
                    <a:pt x="287" y="175"/>
                    <a:pt x="287" y="175"/>
                  </a:cubicBezTo>
                  <a:cubicBezTo>
                    <a:pt x="288" y="175"/>
                    <a:pt x="288" y="175"/>
                    <a:pt x="289" y="175"/>
                  </a:cubicBezTo>
                  <a:cubicBezTo>
                    <a:pt x="289" y="175"/>
                    <a:pt x="289" y="175"/>
                    <a:pt x="289" y="175"/>
                  </a:cubicBezTo>
                  <a:cubicBezTo>
                    <a:pt x="290" y="175"/>
                    <a:pt x="290" y="175"/>
                    <a:pt x="290" y="175"/>
                  </a:cubicBezTo>
                  <a:cubicBezTo>
                    <a:pt x="290" y="174"/>
                    <a:pt x="290" y="173"/>
                    <a:pt x="291" y="170"/>
                  </a:cubicBezTo>
                  <a:cubicBezTo>
                    <a:pt x="291" y="170"/>
                    <a:pt x="291" y="170"/>
                    <a:pt x="291" y="170"/>
                  </a:cubicBezTo>
                  <a:cubicBezTo>
                    <a:pt x="292" y="168"/>
                    <a:pt x="293" y="166"/>
                    <a:pt x="294" y="165"/>
                  </a:cubicBezTo>
                  <a:cubicBezTo>
                    <a:pt x="294" y="165"/>
                    <a:pt x="295" y="165"/>
                    <a:pt x="295" y="164"/>
                  </a:cubicBezTo>
                  <a:cubicBezTo>
                    <a:pt x="294" y="164"/>
                    <a:pt x="292" y="163"/>
                    <a:pt x="292" y="161"/>
                  </a:cubicBezTo>
                  <a:cubicBezTo>
                    <a:pt x="290" y="158"/>
                    <a:pt x="290" y="158"/>
                    <a:pt x="290" y="158"/>
                  </a:cubicBezTo>
                  <a:cubicBezTo>
                    <a:pt x="303" y="156"/>
                    <a:pt x="303" y="156"/>
                    <a:pt x="303" y="156"/>
                  </a:cubicBezTo>
                  <a:cubicBezTo>
                    <a:pt x="303" y="156"/>
                    <a:pt x="303" y="156"/>
                    <a:pt x="304" y="156"/>
                  </a:cubicBezTo>
                  <a:cubicBezTo>
                    <a:pt x="305" y="156"/>
                    <a:pt x="305" y="156"/>
                    <a:pt x="306" y="156"/>
                  </a:cubicBezTo>
                  <a:cubicBezTo>
                    <a:pt x="305" y="154"/>
                    <a:pt x="305" y="151"/>
                    <a:pt x="305" y="149"/>
                  </a:cubicBezTo>
                  <a:cubicBezTo>
                    <a:pt x="306" y="147"/>
                    <a:pt x="306" y="146"/>
                    <a:pt x="307" y="144"/>
                  </a:cubicBezTo>
                  <a:cubicBezTo>
                    <a:pt x="308" y="143"/>
                    <a:pt x="308" y="143"/>
                    <a:pt x="308" y="143"/>
                  </a:cubicBezTo>
                  <a:cubicBezTo>
                    <a:pt x="308" y="143"/>
                    <a:pt x="308" y="143"/>
                    <a:pt x="308" y="143"/>
                  </a:cubicBezTo>
                  <a:cubicBezTo>
                    <a:pt x="309" y="141"/>
                    <a:pt x="309" y="141"/>
                    <a:pt x="309" y="141"/>
                  </a:cubicBezTo>
                  <a:cubicBezTo>
                    <a:pt x="311" y="141"/>
                    <a:pt x="311" y="141"/>
                    <a:pt x="311" y="141"/>
                  </a:cubicBezTo>
                  <a:cubicBezTo>
                    <a:pt x="311" y="141"/>
                    <a:pt x="311" y="141"/>
                    <a:pt x="311" y="141"/>
                  </a:cubicBezTo>
                  <a:cubicBezTo>
                    <a:pt x="312" y="141"/>
                    <a:pt x="312" y="141"/>
                    <a:pt x="312" y="141"/>
                  </a:cubicBezTo>
                  <a:cubicBezTo>
                    <a:pt x="313" y="141"/>
                    <a:pt x="313" y="141"/>
                    <a:pt x="313" y="141"/>
                  </a:cubicBezTo>
                  <a:cubicBezTo>
                    <a:pt x="313" y="141"/>
                    <a:pt x="314" y="142"/>
                    <a:pt x="314" y="142"/>
                  </a:cubicBezTo>
                  <a:cubicBezTo>
                    <a:pt x="315" y="142"/>
                    <a:pt x="315" y="142"/>
                    <a:pt x="315" y="142"/>
                  </a:cubicBezTo>
                  <a:cubicBezTo>
                    <a:pt x="316" y="142"/>
                    <a:pt x="316" y="142"/>
                    <a:pt x="316" y="142"/>
                  </a:cubicBezTo>
                  <a:cubicBezTo>
                    <a:pt x="316" y="143"/>
                    <a:pt x="317" y="143"/>
                    <a:pt x="318" y="143"/>
                  </a:cubicBezTo>
                  <a:cubicBezTo>
                    <a:pt x="318" y="144"/>
                    <a:pt x="318" y="144"/>
                    <a:pt x="319" y="144"/>
                  </a:cubicBezTo>
                  <a:cubicBezTo>
                    <a:pt x="319" y="144"/>
                    <a:pt x="319" y="144"/>
                    <a:pt x="319" y="144"/>
                  </a:cubicBezTo>
                  <a:cubicBezTo>
                    <a:pt x="319" y="144"/>
                    <a:pt x="319" y="144"/>
                    <a:pt x="319" y="144"/>
                  </a:cubicBezTo>
                  <a:cubicBezTo>
                    <a:pt x="320" y="144"/>
                    <a:pt x="320" y="144"/>
                    <a:pt x="320" y="144"/>
                  </a:cubicBezTo>
                  <a:cubicBezTo>
                    <a:pt x="320" y="144"/>
                    <a:pt x="321" y="144"/>
                    <a:pt x="321" y="143"/>
                  </a:cubicBezTo>
                  <a:cubicBezTo>
                    <a:pt x="322" y="143"/>
                    <a:pt x="323" y="142"/>
                    <a:pt x="325" y="142"/>
                  </a:cubicBezTo>
                  <a:cubicBezTo>
                    <a:pt x="325" y="142"/>
                    <a:pt x="325" y="142"/>
                    <a:pt x="325" y="142"/>
                  </a:cubicBezTo>
                  <a:cubicBezTo>
                    <a:pt x="326" y="141"/>
                    <a:pt x="326" y="141"/>
                    <a:pt x="326" y="141"/>
                  </a:cubicBezTo>
                  <a:cubicBezTo>
                    <a:pt x="327" y="140"/>
                    <a:pt x="328" y="139"/>
                    <a:pt x="329" y="139"/>
                  </a:cubicBezTo>
                  <a:cubicBezTo>
                    <a:pt x="330" y="138"/>
                    <a:pt x="330" y="138"/>
                    <a:pt x="330" y="138"/>
                  </a:cubicBezTo>
                  <a:cubicBezTo>
                    <a:pt x="331" y="138"/>
                    <a:pt x="331" y="137"/>
                    <a:pt x="331" y="137"/>
                  </a:cubicBezTo>
                  <a:cubicBezTo>
                    <a:pt x="332" y="136"/>
                    <a:pt x="332" y="136"/>
                    <a:pt x="333" y="136"/>
                  </a:cubicBezTo>
                  <a:cubicBezTo>
                    <a:pt x="334" y="135"/>
                    <a:pt x="334" y="135"/>
                    <a:pt x="335" y="134"/>
                  </a:cubicBezTo>
                  <a:cubicBezTo>
                    <a:pt x="335" y="134"/>
                    <a:pt x="335" y="134"/>
                    <a:pt x="335" y="134"/>
                  </a:cubicBezTo>
                  <a:cubicBezTo>
                    <a:pt x="338" y="132"/>
                    <a:pt x="338" y="132"/>
                    <a:pt x="338" y="132"/>
                  </a:cubicBezTo>
                  <a:cubicBezTo>
                    <a:pt x="349" y="145"/>
                    <a:pt x="349" y="145"/>
                    <a:pt x="349" y="145"/>
                  </a:cubicBezTo>
                  <a:cubicBezTo>
                    <a:pt x="347" y="147"/>
                    <a:pt x="347" y="147"/>
                    <a:pt x="347" y="147"/>
                  </a:cubicBezTo>
                  <a:cubicBezTo>
                    <a:pt x="345" y="149"/>
                    <a:pt x="342" y="151"/>
                    <a:pt x="340" y="153"/>
                  </a:cubicBezTo>
                  <a:cubicBezTo>
                    <a:pt x="341" y="154"/>
                    <a:pt x="342" y="155"/>
                    <a:pt x="343" y="156"/>
                  </a:cubicBezTo>
                  <a:cubicBezTo>
                    <a:pt x="344" y="156"/>
                    <a:pt x="344" y="156"/>
                    <a:pt x="346" y="156"/>
                  </a:cubicBezTo>
                  <a:cubicBezTo>
                    <a:pt x="346" y="156"/>
                    <a:pt x="346" y="156"/>
                    <a:pt x="346" y="156"/>
                  </a:cubicBezTo>
                  <a:cubicBezTo>
                    <a:pt x="347" y="156"/>
                    <a:pt x="347" y="156"/>
                    <a:pt x="348" y="156"/>
                  </a:cubicBezTo>
                  <a:cubicBezTo>
                    <a:pt x="349" y="155"/>
                    <a:pt x="349" y="155"/>
                    <a:pt x="349" y="155"/>
                  </a:cubicBezTo>
                  <a:cubicBezTo>
                    <a:pt x="349" y="155"/>
                    <a:pt x="349" y="155"/>
                    <a:pt x="349" y="155"/>
                  </a:cubicBezTo>
                  <a:cubicBezTo>
                    <a:pt x="350" y="155"/>
                    <a:pt x="351" y="155"/>
                    <a:pt x="351" y="155"/>
                  </a:cubicBezTo>
                  <a:cubicBezTo>
                    <a:pt x="352" y="154"/>
                    <a:pt x="352" y="154"/>
                    <a:pt x="352" y="154"/>
                  </a:cubicBezTo>
                  <a:cubicBezTo>
                    <a:pt x="353" y="154"/>
                    <a:pt x="355" y="154"/>
                    <a:pt x="357" y="154"/>
                  </a:cubicBezTo>
                  <a:cubicBezTo>
                    <a:pt x="358" y="154"/>
                    <a:pt x="358" y="154"/>
                    <a:pt x="358" y="154"/>
                  </a:cubicBezTo>
                  <a:cubicBezTo>
                    <a:pt x="359" y="154"/>
                    <a:pt x="359" y="154"/>
                    <a:pt x="360" y="154"/>
                  </a:cubicBezTo>
                  <a:cubicBezTo>
                    <a:pt x="361" y="155"/>
                    <a:pt x="362" y="155"/>
                    <a:pt x="363" y="156"/>
                  </a:cubicBezTo>
                  <a:cubicBezTo>
                    <a:pt x="364" y="156"/>
                    <a:pt x="365" y="156"/>
                    <a:pt x="365" y="157"/>
                  </a:cubicBezTo>
                  <a:cubicBezTo>
                    <a:pt x="366" y="157"/>
                    <a:pt x="367" y="158"/>
                    <a:pt x="367" y="158"/>
                  </a:cubicBezTo>
                  <a:cubicBezTo>
                    <a:pt x="368" y="158"/>
                    <a:pt x="369" y="157"/>
                    <a:pt x="370" y="157"/>
                  </a:cubicBezTo>
                  <a:cubicBezTo>
                    <a:pt x="370" y="156"/>
                    <a:pt x="370" y="156"/>
                    <a:pt x="370" y="156"/>
                  </a:cubicBezTo>
                  <a:cubicBezTo>
                    <a:pt x="371" y="156"/>
                    <a:pt x="371" y="156"/>
                    <a:pt x="371" y="156"/>
                  </a:cubicBezTo>
                  <a:cubicBezTo>
                    <a:pt x="372" y="155"/>
                    <a:pt x="372" y="155"/>
                    <a:pt x="372" y="155"/>
                  </a:cubicBezTo>
                  <a:cubicBezTo>
                    <a:pt x="372" y="155"/>
                    <a:pt x="372" y="154"/>
                    <a:pt x="372" y="154"/>
                  </a:cubicBezTo>
                  <a:cubicBezTo>
                    <a:pt x="373" y="153"/>
                    <a:pt x="374" y="152"/>
                    <a:pt x="374" y="151"/>
                  </a:cubicBezTo>
                  <a:cubicBezTo>
                    <a:pt x="376" y="150"/>
                    <a:pt x="376" y="150"/>
                    <a:pt x="376" y="150"/>
                  </a:cubicBezTo>
                  <a:cubicBezTo>
                    <a:pt x="376" y="150"/>
                    <a:pt x="376" y="150"/>
                    <a:pt x="376" y="150"/>
                  </a:cubicBezTo>
                  <a:cubicBezTo>
                    <a:pt x="377" y="150"/>
                    <a:pt x="377" y="150"/>
                    <a:pt x="377" y="150"/>
                  </a:cubicBezTo>
                  <a:cubicBezTo>
                    <a:pt x="377" y="151"/>
                    <a:pt x="377" y="151"/>
                    <a:pt x="377" y="151"/>
                  </a:cubicBezTo>
                  <a:cubicBezTo>
                    <a:pt x="377" y="150"/>
                    <a:pt x="377" y="150"/>
                    <a:pt x="377" y="150"/>
                  </a:cubicBezTo>
                  <a:cubicBezTo>
                    <a:pt x="377" y="150"/>
                    <a:pt x="377" y="150"/>
                    <a:pt x="378" y="150"/>
                  </a:cubicBezTo>
                  <a:cubicBezTo>
                    <a:pt x="378" y="150"/>
                    <a:pt x="378" y="150"/>
                    <a:pt x="378" y="150"/>
                  </a:cubicBezTo>
                  <a:cubicBezTo>
                    <a:pt x="378" y="150"/>
                    <a:pt x="379" y="150"/>
                    <a:pt x="379" y="150"/>
                  </a:cubicBezTo>
                  <a:cubicBezTo>
                    <a:pt x="379" y="140"/>
                    <a:pt x="379" y="140"/>
                    <a:pt x="379" y="140"/>
                  </a:cubicBezTo>
                  <a:cubicBezTo>
                    <a:pt x="375" y="141"/>
                    <a:pt x="375" y="141"/>
                    <a:pt x="375" y="141"/>
                  </a:cubicBezTo>
                  <a:cubicBezTo>
                    <a:pt x="375" y="137"/>
                    <a:pt x="375" y="137"/>
                    <a:pt x="375" y="137"/>
                  </a:cubicBezTo>
                  <a:cubicBezTo>
                    <a:pt x="375" y="137"/>
                    <a:pt x="375" y="137"/>
                    <a:pt x="375" y="136"/>
                  </a:cubicBezTo>
                  <a:cubicBezTo>
                    <a:pt x="375" y="136"/>
                    <a:pt x="375" y="135"/>
                    <a:pt x="375" y="135"/>
                  </a:cubicBezTo>
                  <a:cubicBezTo>
                    <a:pt x="374" y="135"/>
                    <a:pt x="374" y="135"/>
                    <a:pt x="374" y="135"/>
                  </a:cubicBezTo>
                  <a:cubicBezTo>
                    <a:pt x="374" y="135"/>
                    <a:pt x="374" y="135"/>
                    <a:pt x="374" y="135"/>
                  </a:cubicBezTo>
                  <a:cubicBezTo>
                    <a:pt x="373" y="135"/>
                    <a:pt x="373" y="135"/>
                    <a:pt x="373" y="135"/>
                  </a:cubicBezTo>
                  <a:cubicBezTo>
                    <a:pt x="372" y="135"/>
                    <a:pt x="371" y="134"/>
                    <a:pt x="370" y="133"/>
                  </a:cubicBezTo>
                  <a:cubicBezTo>
                    <a:pt x="370" y="132"/>
                    <a:pt x="369" y="132"/>
                    <a:pt x="369" y="131"/>
                  </a:cubicBezTo>
                  <a:cubicBezTo>
                    <a:pt x="368" y="130"/>
                    <a:pt x="368" y="129"/>
                    <a:pt x="367" y="128"/>
                  </a:cubicBezTo>
                  <a:cubicBezTo>
                    <a:pt x="367" y="131"/>
                    <a:pt x="367" y="131"/>
                    <a:pt x="367" y="131"/>
                  </a:cubicBezTo>
                  <a:cubicBezTo>
                    <a:pt x="364" y="131"/>
                    <a:pt x="364" y="131"/>
                    <a:pt x="364" y="131"/>
                  </a:cubicBezTo>
                  <a:cubicBezTo>
                    <a:pt x="364" y="131"/>
                    <a:pt x="364" y="131"/>
                    <a:pt x="364" y="131"/>
                  </a:cubicBezTo>
                  <a:cubicBezTo>
                    <a:pt x="364" y="131"/>
                    <a:pt x="364" y="131"/>
                    <a:pt x="363" y="131"/>
                  </a:cubicBezTo>
                  <a:cubicBezTo>
                    <a:pt x="363" y="131"/>
                    <a:pt x="363" y="131"/>
                    <a:pt x="363" y="131"/>
                  </a:cubicBezTo>
                  <a:cubicBezTo>
                    <a:pt x="363" y="132"/>
                    <a:pt x="363" y="132"/>
                    <a:pt x="363" y="132"/>
                  </a:cubicBezTo>
                  <a:cubicBezTo>
                    <a:pt x="363" y="133"/>
                    <a:pt x="363" y="133"/>
                    <a:pt x="363" y="134"/>
                  </a:cubicBezTo>
                  <a:cubicBezTo>
                    <a:pt x="363" y="137"/>
                    <a:pt x="363" y="137"/>
                    <a:pt x="363" y="137"/>
                  </a:cubicBezTo>
                  <a:cubicBezTo>
                    <a:pt x="360" y="136"/>
                    <a:pt x="360" y="136"/>
                    <a:pt x="360" y="136"/>
                  </a:cubicBezTo>
                  <a:cubicBezTo>
                    <a:pt x="359" y="136"/>
                    <a:pt x="359" y="136"/>
                    <a:pt x="358" y="136"/>
                  </a:cubicBezTo>
                  <a:cubicBezTo>
                    <a:pt x="358" y="136"/>
                    <a:pt x="357" y="136"/>
                    <a:pt x="357" y="136"/>
                  </a:cubicBezTo>
                  <a:cubicBezTo>
                    <a:pt x="356" y="136"/>
                    <a:pt x="356" y="136"/>
                    <a:pt x="356" y="136"/>
                  </a:cubicBezTo>
                  <a:cubicBezTo>
                    <a:pt x="355" y="136"/>
                    <a:pt x="355" y="136"/>
                    <a:pt x="354" y="136"/>
                  </a:cubicBezTo>
                  <a:cubicBezTo>
                    <a:pt x="351" y="135"/>
                    <a:pt x="348" y="135"/>
                    <a:pt x="345" y="133"/>
                  </a:cubicBezTo>
                  <a:cubicBezTo>
                    <a:pt x="343" y="132"/>
                    <a:pt x="342" y="130"/>
                    <a:pt x="341" y="128"/>
                  </a:cubicBezTo>
                  <a:cubicBezTo>
                    <a:pt x="341" y="128"/>
                    <a:pt x="341" y="128"/>
                    <a:pt x="341" y="128"/>
                  </a:cubicBezTo>
                  <a:cubicBezTo>
                    <a:pt x="339" y="128"/>
                    <a:pt x="339" y="128"/>
                    <a:pt x="339" y="128"/>
                  </a:cubicBezTo>
                  <a:cubicBezTo>
                    <a:pt x="339" y="128"/>
                    <a:pt x="338" y="128"/>
                    <a:pt x="338" y="128"/>
                  </a:cubicBezTo>
                  <a:cubicBezTo>
                    <a:pt x="337" y="128"/>
                    <a:pt x="335" y="128"/>
                    <a:pt x="334" y="126"/>
                  </a:cubicBezTo>
                  <a:cubicBezTo>
                    <a:pt x="334" y="126"/>
                    <a:pt x="334" y="126"/>
                    <a:pt x="334" y="126"/>
                  </a:cubicBezTo>
                  <a:cubicBezTo>
                    <a:pt x="333" y="126"/>
                    <a:pt x="333" y="126"/>
                    <a:pt x="333" y="126"/>
                  </a:cubicBezTo>
                  <a:cubicBezTo>
                    <a:pt x="333" y="126"/>
                    <a:pt x="333" y="126"/>
                    <a:pt x="333" y="126"/>
                  </a:cubicBezTo>
                  <a:cubicBezTo>
                    <a:pt x="333" y="126"/>
                    <a:pt x="332" y="126"/>
                    <a:pt x="332" y="126"/>
                  </a:cubicBezTo>
                  <a:cubicBezTo>
                    <a:pt x="332" y="126"/>
                    <a:pt x="331" y="126"/>
                    <a:pt x="330" y="126"/>
                  </a:cubicBezTo>
                  <a:cubicBezTo>
                    <a:pt x="330" y="125"/>
                    <a:pt x="330" y="125"/>
                    <a:pt x="330" y="125"/>
                  </a:cubicBezTo>
                  <a:cubicBezTo>
                    <a:pt x="329" y="125"/>
                    <a:pt x="329" y="124"/>
                    <a:pt x="328" y="124"/>
                  </a:cubicBezTo>
                  <a:cubicBezTo>
                    <a:pt x="327" y="121"/>
                    <a:pt x="329" y="119"/>
                    <a:pt x="331" y="117"/>
                  </a:cubicBezTo>
                  <a:cubicBezTo>
                    <a:pt x="333" y="115"/>
                    <a:pt x="337" y="113"/>
                    <a:pt x="340" y="110"/>
                  </a:cubicBezTo>
                  <a:cubicBezTo>
                    <a:pt x="327" y="118"/>
                    <a:pt x="327" y="118"/>
                    <a:pt x="327" y="118"/>
                  </a:cubicBezTo>
                  <a:cubicBezTo>
                    <a:pt x="324" y="119"/>
                    <a:pt x="321" y="121"/>
                    <a:pt x="317" y="124"/>
                  </a:cubicBezTo>
                  <a:cubicBezTo>
                    <a:pt x="316" y="125"/>
                    <a:pt x="316" y="125"/>
                    <a:pt x="316" y="125"/>
                  </a:cubicBezTo>
                  <a:cubicBezTo>
                    <a:pt x="315" y="126"/>
                    <a:pt x="313" y="127"/>
                    <a:pt x="311" y="128"/>
                  </a:cubicBezTo>
                  <a:cubicBezTo>
                    <a:pt x="315" y="133"/>
                    <a:pt x="315" y="133"/>
                    <a:pt x="315" y="133"/>
                  </a:cubicBezTo>
                  <a:cubicBezTo>
                    <a:pt x="310" y="129"/>
                    <a:pt x="310" y="129"/>
                    <a:pt x="310" y="129"/>
                  </a:cubicBezTo>
                  <a:cubicBezTo>
                    <a:pt x="310" y="129"/>
                    <a:pt x="310" y="129"/>
                    <a:pt x="310" y="129"/>
                  </a:cubicBezTo>
                  <a:cubicBezTo>
                    <a:pt x="309" y="130"/>
                    <a:pt x="308" y="131"/>
                    <a:pt x="307" y="132"/>
                  </a:cubicBezTo>
                  <a:cubicBezTo>
                    <a:pt x="306" y="133"/>
                    <a:pt x="306" y="134"/>
                    <a:pt x="304" y="135"/>
                  </a:cubicBezTo>
                  <a:cubicBezTo>
                    <a:pt x="302" y="136"/>
                    <a:pt x="302" y="136"/>
                    <a:pt x="302" y="136"/>
                  </a:cubicBezTo>
                  <a:cubicBezTo>
                    <a:pt x="299" y="138"/>
                    <a:pt x="298" y="140"/>
                    <a:pt x="297" y="141"/>
                  </a:cubicBezTo>
                  <a:cubicBezTo>
                    <a:pt x="297" y="142"/>
                    <a:pt x="297" y="142"/>
                    <a:pt x="297" y="142"/>
                  </a:cubicBezTo>
                  <a:cubicBezTo>
                    <a:pt x="297" y="143"/>
                    <a:pt x="297" y="143"/>
                    <a:pt x="297" y="143"/>
                  </a:cubicBezTo>
                  <a:cubicBezTo>
                    <a:pt x="297" y="146"/>
                    <a:pt x="297" y="149"/>
                    <a:pt x="295" y="150"/>
                  </a:cubicBezTo>
                  <a:cubicBezTo>
                    <a:pt x="295" y="151"/>
                    <a:pt x="294" y="151"/>
                    <a:pt x="294" y="151"/>
                  </a:cubicBezTo>
                  <a:cubicBezTo>
                    <a:pt x="293" y="151"/>
                    <a:pt x="293" y="151"/>
                    <a:pt x="293" y="151"/>
                  </a:cubicBezTo>
                  <a:cubicBezTo>
                    <a:pt x="293" y="150"/>
                    <a:pt x="293" y="150"/>
                    <a:pt x="293" y="150"/>
                  </a:cubicBezTo>
                  <a:cubicBezTo>
                    <a:pt x="293" y="151"/>
                    <a:pt x="293" y="151"/>
                    <a:pt x="293" y="151"/>
                  </a:cubicBezTo>
                  <a:cubicBezTo>
                    <a:pt x="292" y="151"/>
                    <a:pt x="292" y="151"/>
                    <a:pt x="292" y="151"/>
                  </a:cubicBezTo>
                  <a:cubicBezTo>
                    <a:pt x="292" y="151"/>
                    <a:pt x="292" y="151"/>
                    <a:pt x="292" y="151"/>
                  </a:cubicBezTo>
                  <a:cubicBezTo>
                    <a:pt x="291" y="151"/>
                    <a:pt x="291" y="151"/>
                    <a:pt x="291" y="151"/>
                  </a:cubicBezTo>
                  <a:cubicBezTo>
                    <a:pt x="291" y="150"/>
                    <a:pt x="291" y="150"/>
                    <a:pt x="291" y="150"/>
                  </a:cubicBezTo>
                  <a:cubicBezTo>
                    <a:pt x="291" y="150"/>
                    <a:pt x="291" y="150"/>
                    <a:pt x="291" y="150"/>
                  </a:cubicBezTo>
                  <a:cubicBezTo>
                    <a:pt x="290" y="151"/>
                    <a:pt x="290" y="151"/>
                    <a:pt x="290" y="151"/>
                  </a:cubicBezTo>
                  <a:cubicBezTo>
                    <a:pt x="290" y="151"/>
                    <a:pt x="289" y="151"/>
                    <a:pt x="289" y="151"/>
                  </a:cubicBezTo>
                  <a:cubicBezTo>
                    <a:pt x="285" y="149"/>
                    <a:pt x="282" y="147"/>
                    <a:pt x="278" y="145"/>
                  </a:cubicBezTo>
                  <a:cubicBezTo>
                    <a:pt x="275" y="143"/>
                    <a:pt x="275" y="143"/>
                    <a:pt x="275" y="143"/>
                  </a:cubicBezTo>
                  <a:cubicBezTo>
                    <a:pt x="278" y="140"/>
                    <a:pt x="278" y="140"/>
                    <a:pt x="278" y="140"/>
                  </a:cubicBezTo>
                  <a:cubicBezTo>
                    <a:pt x="278" y="140"/>
                    <a:pt x="279" y="139"/>
                    <a:pt x="280" y="138"/>
                  </a:cubicBezTo>
                  <a:cubicBezTo>
                    <a:pt x="279" y="137"/>
                    <a:pt x="279" y="137"/>
                    <a:pt x="279" y="137"/>
                  </a:cubicBezTo>
                  <a:cubicBezTo>
                    <a:pt x="279" y="137"/>
                    <a:pt x="279" y="137"/>
                    <a:pt x="279" y="137"/>
                  </a:cubicBezTo>
                  <a:cubicBezTo>
                    <a:pt x="278" y="137"/>
                    <a:pt x="278" y="137"/>
                    <a:pt x="278" y="137"/>
                  </a:cubicBezTo>
                  <a:cubicBezTo>
                    <a:pt x="278" y="136"/>
                    <a:pt x="277" y="136"/>
                    <a:pt x="277" y="136"/>
                  </a:cubicBezTo>
                  <a:cubicBezTo>
                    <a:pt x="277" y="136"/>
                    <a:pt x="276" y="135"/>
                    <a:pt x="276" y="135"/>
                  </a:cubicBezTo>
                  <a:cubicBezTo>
                    <a:pt x="276" y="135"/>
                    <a:pt x="276" y="135"/>
                    <a:pt x="275" y="135"/>
                  </a:cubicBezTo>
                  <a:cubicBezTo>
                    <a:pt x="274" y="135"/>
                    <a:pt x="273" y="135"/>
                    <a:pt x="273" y="135"/>
                  </a:cubicBezTo>
                  <a:cubicBezTo>
                    <a:pt x="272" y="135"/>
                    <a:pt x="272" y="135"/>
                    <a:pt x="272" y="135"/>
                  </a:cubicBezTo>
                  <a:cubicBezTo>
                    <a:pt x="271" y="135"/>
                    <a:pt x="271" y="135"/>
                    <a:pt x="271" y="135"/>
                  </a:cubicBezTo>
                  <a:cubicBezTo>
                    <a:pt x="250" y="136"/>
                    <a:pt x="250" y="136"/>
                    <a:pt x="250" y="136"/>
                  </a:cubicBezTo>
                  <a:cubicBezTo>
                    <a:pt x="250" y="136"/>
                    <a:pt x="250" y="136"/>
                    <a:pt x="250" y="136"/>
                  </a:cubicBezTo>
                  <a:cubicBezTo>
                    <a:pt x="249" y="135"/>
                    <a:pt x="247" y="134"/>
                    <a:pt x="247" y="133"/>
                  </a:cubicBezTo>
                  <a:cubicBezTo>
                    <a:pt x="247" y="132"/>
                    <a:pt x="246" y="131"/>
                    <a:pt x="246" y="130"/>
                  </a:cubicBezTo>
                  <a:cubicBezTo>
                    <a:pt x="246" y="128"/>
                    <a:pt x="246" y="128"/>
                    <a:pt x="246" y="128"/>
                  </a:cubicBezTo>
                  <a:cubicBezTo>
                    <a:pt x="245" y="127"/>
                    <a:pt x="245" y="127"/>
                    <a:pt x="245" y="127"/>
                  </a:cubicBezTo>
                  <a:cubicBezTo>
                    <a:pt x="244" y="124"/>
                    <a:pt x="244" y="124"/>
                    <a:pt x="244" y="124"/>
                  </a:cubicBezTo>
                  <a:cubicBezTo>
                    <a:pt x="244" y="121"/>
                    <a:pt x="243" y="118"/>
                    <a:pt x="242" y="115"/>
                  </a:cubicBezTo>
                  <a:cubicBezTo>
                    <a:pt x="242" y="114"/>
                    <a:pt x="242" y="114"/>
                    <a:pt x="242" y="113"/>
                  </a:cubicBezTo>
                  <a:cubicBezTo>
                    <a:pt x="242" y="113"/>
                    <a:pt x="242" y="113"/>
                    <a:pt x="242" y="113"/>
                  </a:cubicBezTo>
                  <a:cubicBezTo>
                    <a:pt x="242" y="113"/>
                    <a:pt x="242" y="112"/>
                    <a:pt x="242" y="112"/>
                  </a:cubicBezTo>
                  <a:cubicBezTo>
                    <a:pt x="241" y="112"/>
                    <a:pt x="241" y="112"/>
                    <a:pt x="241" y="112"/>
                  </a:cubicBezTo>
                  <a:cubicBezTo>
                    <a:pt x="241" y="112"/>
                    <a:pt x="240" y="112"/>
                    <a:pt x="240" y="112"/>
                  </a:cubicBezTo>
                  <a:cubicBezTo>
                    <a:pt x="239" y="112"/>
                    <a:pt x="238" y="112"/>
                    <a:pt x="237" y="112"/>
                  </a:cubicBezTo>
                  <a:cubicBezTo>
                    <a:pt x="237" y="112"/>
                    <a:pt x="236" y="112"/>
                    <a:pt x="236" y="112"/>
                  </a:cubicBezTo>
                  <a:cubicBezTo>
                    <a:pt x="236" y="112"/>
                    <a:pt x="236" y="112"/>
                    <a:pt x="236" y="112"/>
                  </a:cubicBezTo>
                  <a:cubicBezTo>
                    <a:pt x="235" y="112"/>
                    <a:pt x="235" y="112"/>
                    <a:pt x="235" y="112"/>
                  </a:cubicBezTo>
                  <a:cubicBezTo>
                    <a:pt x="233" y="112"/>
                    <a:pt x="231" y="111"/>
                    <a:pt x="231" y="109"/>
                  </a:cubicBezTo>
                  <a:cubicBezTo>
                    <a:pt x="230" y="108"/>
                    <a:pt x="230" y="106"/>
                    <a:pt x="230" y="104"/>
                  </a:cubicBezTo>
                  <a:cubicBezTo>
                    <a:pt x="230" y="103"/>
                    <a:pt x="230" y="102"/>
                    <a:pt x="231" y="101"/>
                  </a:cubicBezTo>
                  <a:cubicBezTo>
                    <a:pt x="231" y="100"/>
                    <a:pt x="231" y="100"/>
                    <a:pt x="231" y="100"/>
                  </a:cubicBezTo>
                  <a:cubicBezTo>
                    <a:pt x="231" y="98"/>
                    <a:pt x="231" y="96"/>
                    <a:pt x="231" y="94"/>
                  </a:cubicBezTo>
                  <a:cubicBezTo>
                    <a:pt x="232" y="92"/>
                    <a:pt x="232" y="91"/>
                    <a:pt x="232" y="89"/>
                  </a:cubicBezTo>
                  <a:cubicBezTo>
                    <a:pt x="232" y="88"/>
                    <a:pt x="232" y="88"/>
                    <a:pt x="232" y="88"/>
                  </a:cubicBezTo>
                  <a:cubicBezTo>
                    <a:pt x="232" y="87"/>
                    <a:pt x="233" y="86"/>
                    <a:pt x="233" y="85"/>
                  </a:cubicBezTo>
                  <a:cubicBezTo>
                    <a:pt x="232" y="85"/>
                    <a:pt x="232" y="85"/>
                    <a:pt x="231" y="85"/>
                  </a:cubicBezTo>
                  <a:cubicBezTo>
                    <a:pt x="228" y="85"/>
                    <a:pt x="226" y="83"/>
                    <a:pt x="225" y="82"/>
                  </a:cubicBezTo>
                  <a:cubicBezTo>
                    <a:pt x="225" y="81"/>
                    <a:pt x="225" y="81"/>
                    <a:pt x="225" y="81"/>
                  </a:cubicBezTo>
                  <a:cubicBezTo>
                    <a:pt x="224" y="81"/>
                    <a:pt x="224" y="81"/>
                    <a:pt x="224" y="81"/>
                  </a:cubicBezTo>
                  <a:cubicBezTo>
                    <a:pt x="224" y="80"/>
                    <a:pt x="224" y="80"/>
                    <a:pt x="224" y="80"/>
                  </a:cubicBezTo>
                  <a:cubicBezTo>
                    <a:pt x="223" y="79"/>
                    <a:pt x="223" y="79"/>
                    <a:pt x="223" y="79"/>
                  </a:cubicBezTo>
                  <a:cubicBezTo>
                    <a:pt x="221" y="76"/>
                    <a:pt x="219" y="74"/>
                    <a:pt x="216" y="72"/>
                  </a:cubicBezTo>
                  <a:cubicBezTo>
                    <a:pt x="214" y="71"/>
                    <a:pt x="214" y="71"/>
                    <a:pt x="214" y="71"/>
                  </a:cubicBezTo>
                  <a:cubicBezTo>
                    <a:pt x="214" y="70"/>
                    <a:pt x="213" y="70"/>
                    <a:pt x="213" y="69"/>
                  </a:cubicBezTo>
                  <a:cubicBezTo>
                    <a:pt x="211" y="67"/>
                    <a:pt x="211" y="67"/>
                    <a:pt x="211" y="67"/>
                  </a:cubicBezTo>
                  <a:cubicBezTo>
                    <a:pt x="210" y="66"/>
                    <a:pt x="209" y="65"/>
                    <a:pt x="208" y="64"/>
                  </a:cubicBezTo>
                  <a:cubicBezTo>
                    <a:pt x="207" y="64"/>
                    <a:pt x="207" y="63"/>
                    <a:pt x="206" y="63"/>
                  </a:cubicBezTo>
                  <a:cubicBezTo>
                    <a:pt x="205" y="63"/>
                    <a:pt x="204" y="64"/>
                    <a:pt x="204" y="64"/>
                  </a:cubicBezTo>
                  <a:cubicBezTo>
                    <a:pt x="203" y="65"/>
                    <a:pt x="203" y="65"/>
                    <a:pt x="203" y="65"/>
                  </a:cubicBezTo>
                  <a:cubicBezTo>
                    <a:pt x="206" y="69"/>
                    <a:pt x="206" y="69"/>
                    <a:pt x="206" y="69"/>
                  </a:cubicBezTo>
                  <a:cubicBezTo>
                    <a:pt x="202" y="65"/>
                    <a:pt x="202" y="65"/>
                    <a:pt x="202" y="65"/>
                  </a:cubicBezTo>
                  <a:cubicBezTo>
                    <a:pt x="201" y="66"/>
                    <a:pt x="201" y="66"/>
                    <a:pt x="201" y="66"/>
                  </a:cubicBezTo>
                  <a:cubicBezTo>
                    <a:pt x="200" y="66"/>
                    <a:pt x="198" y="67"/>
                    <a:pt x="196" y="67"/>
                  </a:cubicBezTo>
                  <a:cubicBezTo>
                    <a:pt x="195" y="67"/>
                    <a:pt x="195" y="67"/>
                    <a:pt x="195" y="67"/>
                  </a:cubicBezTo>
                  <a:cubicBezTo>
                    <a:pt x="188" y="67"/>
                    <a:pt x="188" y="67"/>
                    <a:pt x="188" y="67"/>
                  </a:cubicBezTo>
                  <a:cubicBezTo>
                    <a:pt x="186" y="66"/>
                    <a:pt x="183" y="66"/>
                    <a:pt x="181" y="66"/>
                  </a:cubicBezTo>
                  <a:cubicBezTo>
                    <a:pt x="177" y="66"/>
                    <a:pt x="173" y="65"/>
                    <a:pt x="170" y="65"/>
                  </a:cubicBezTo>
                  <a:cubicBezTo>
                    <a:pt x="169" y="65"/>
                    <a:pt x="167" y="66"/>
                    <a:pt x="166" y="66"/>
                  </a:cubicBezTo>
                  <a:cubicBezTo>
                    <a:pt x="162" y="66"/>
                    <a:pt x="158" y="67"/>
                    <a:pt x="153" y="68"/>
                  </a:cubicBezTo>
                  <a:cubicBezTo>
                    <a:pt x="149" y="68"/>
                    <a:pt x="146" y="69"/>
                    <a:pt x="142" y="69"/>
                  </a:cubicBezTo>
                  <a:cubicBezTo>
                    <a:pt x="142" y="69"/>
                    <a:pt x="141" y="69"/>
                    <a:pt x="141" y="69"/>
                  </a:cubicBezTo>
                  <a:cubicBezTo>
                    <a:pt x="140" y="69"/>
                    <a:pt x="139" y="69"/>
                    <a:pt x="138" y="69"/>
                  </a:cubicBezTo>
                  <a:cubicBezTo>
                    <a:pt x="138" y="69"/>
                    <a:pt x="138" y="69"/>
                    <a:pt x="138" y="69"/>
                  </a:cubicBezTo>
                  <a:cubicBezTo>
                    <a:pt x="137" y="69"/>
                    <a:pt x="136" y="68"/>
                    <a:pt x="135" y="67"/>
                  </a:cubicBezTo>
                  <a:cubicBezTo>
                    <a:pt x="134" y="67"/>
                    <a:pt x="134" y="67"/>
                    <a:pt x="134" y="67"/>
                  </a:cubicBezTo>
                  <a:cubicBezTo>
                    <a:pt x="134" y="66"/>
                    <a:pt x="133" y="66"/>
                    <a:pt x="132" y="65"/>
                  </a:cubicBezTo>
                  <a:cubicBezTo>
                    <a:pt x="131" y="64"/>
                    <a:pt x="131" y="64"/>
                    <a:pt x="131" y="64"/>
                  </a:cubicBezTo>
                  <a:cubicBezTo>
                    <a:pt x="131" y="63"/>
                    <a:pt x="131" y="63"/>
                    <a:pt x="130" y="63"/>
                  </a:cubicBezTo>
                  <a:cubicBezTo>
                    <a:pt x="128" y="60"/>
                    <a:pt x="125" y="57"/>
                    <a:pt x="122" y="54"/>
                  </a:cubicBezTo>
                  <a:cubicBezTo>
                    <a:pt x="122" y="54"/>
                    <a:pt x="117" y="49"/>
                    <a:pt x="115" y="45"/>
                  </a:cubicBezTo>
                  <a:cubicBezTo>
                    <a:pt x="113" y="42"/>
                    <a:pt x="101" y="35"/>
                    <a:pt x="96" y="32"/>
                  </a:cubicBezTo>
                  <a:cubicBezTo>
                    <a:pt x="94" y="31"/>
                    <a:pt x="94" y="31"/>
                    <a:pt x="94" y="31"/>
                  </a:cubicBezTo>
                  <a:cubicBezTo>
                    <a:pt x="94" y="35"/>
                    <a:pt x="94" y="39"/>
                    <a:pt x="93" y="42"/>
                  </a:cubicBezTo>
                  <a:cubicBezTo>
                    <a:pt x="93" y="43"/>
                    <a:pt x="93" y="44"/>
                    <a:pt x="92" y="45"/>
                  </a:cubicBezTo>
                  <a:cubicBezTo>
                    <a:pt x="91" y="46"/>
                    <a:pt x="88" y="47"/>
                    <a:pt x="88" y="48"/>
                  </a:cubicBezTo>
                  <a:cubicBezTo>
                    <a:pt x="88" y="48"/>
                    <a:pt x="89" y="51"/>
                    <a:pt x="89" y="51"/>
                  </a:cubicBezTo>
                  <a:cubicBezTo>
                    <a:pt x="88" y="51"/>
                    <a:pt x="88" y="51"/>
                    <a:pt x="88" y="51"/>
                  </a:cubicBezTo>
                  <a:cubicBezTo>
                    <a:pt x="87" y="51"/>
                    <a:pt x="87" y="49"/>
                    <a:pt x="86" y="49"/>
                  </a:cubicBezTo>
                  <a:cubicBezTo>
                    <a:pt x="86" y="49"/>
                    <a:pt x="86" y="49"/>
                    <a:pt x="86" y="49"/>
                  </a:cubicBezTo>
                  <a:cubicBezTo>
                    <a:pt x="85" y="49"/>
                    <a:pt x="85" y="49"/>
                    <a:pt x="84" y="50"/>
                  </a:cubicBezTo>
                  <a:cubicBezTo>
                    <a:pt x="83" y="50"/>
                    <a:pt x="83" y="50"/>
                    <a:pt x="82" y="50"/>
                  </a:cubicBezTo>
                  <a:cubicBezTo>
                    <a:pt x="82" y="50"/>
                    <a:pt x="82" y="50"/>
                    <a:pt x="81" y="50"/>
                  </a:cubicBezTo>
                  <a:cubicBezTo>
                    <a:pt x="78" y="50"/>
                    <a:pt x="80" y="48"/>
                    <a:pt x="78" y="46"/>
                  </a:cubicBezTo>
                  <a:cubicBezTo>
                    <a:pt x="75" y="43"/>
                    <a:pt x="73" y="40"/>
                    <a:pt x="72" y="35"/>
                  </a:cubicBezTo>
                  <a:cubicBezTo>
                    <a:pt x="71" y="30"/>
                    <a:pt x="75" y="26"/>
                    <a:pt x="77" y="20"/>
                  </a:cubicBezTo>
                  <a:cubicBezTo>
                    <a:pt x="78" y="21"/>
                    <a:pt x="78" y="21"/>
                    <a:pt x="78" y="21"/>
                  </a:cubicBezTo>
                  <a:cubicBezTo>
                    <a:pt x="78" y="19"/>
                    <a:pt x="78" y="19"/>
                    <a:pt x="78" y="19"/>
                  </a:cubicBezTo>
                  <a:cubicBezTo>
                    <a:pt x="79" y="19"/>
                    <a:pt x="79" y="19"/>
                    <a:pt x="79" y="19"/>
                  </a:cubicBezTo>
                  <a:cubicBezTo>
                    <a:pt x="83" y="21"/>
                    <a:pt x="87" y="24"/>
                    <a:pt x="91" y="26"/>
                  </a:cubicBezTo>
                  <a:cubicBezTo>
                    <a:pt x="87" y="24"/>
                    <a:pt x="83" y="21"/>
                    <a:pt x="79" y="19"/>
                  </a:cubicBezTo>
                  <a:cubicBezTo>
                    <a:pt x="79" y="19"/>
                    <a:pt x="79" y="18"/>
                    <a:pt x="79" y="18"/>
                  </a:cubicBezTo>
                  <a:cubicBezTo>
                    <a:pt x="79" y="17"/>
                    <a:pt x="79" y="17"/>
                    <a:pt x="79" y="17"/>
                  </a:cubicBezTo>
                  <a:cubicBezTo>
                    <a:pt x="78" y="17"/>
                    <a:pt x="78" y="17"/>
                    <a:pt x="78" y="17"/>
                  </a:cubicBezTo>
                  <a:cubicBezTo>
                    <a:pt x="79" y="16"/>
                    <a:pt x="79" y="16"/>
                    <a:pt x="79" y="15"/>
                  </a:cubicBezTo>
                  <a:cubicBezTo>
                    <a:pt x="78" y="16"/>
                    <a:pt x="78" y="16"/>
                    <a:pt x="78" y="16"/>
                  </a:cubicBezTo>
                  <a:cubicBezTo>
                    <a:pt x="77" y="15"/>
                    <a:pt x="77" y="12"/>
                    <a:pt x="77" y="11"/>
                  </a:cubicBezTo>
                  <a:cubicBezTo>
                    <a:pt x="77" y="9"/>
                    <a:pt x="77" y="7"/>
                    <a:pt x="76" y="7"/>
                  </a:cubicBezTo>
                  <a:cubicBezTo>
                    <a:pt x="76" y="7"/>
                    <a:pt x="76" y="7"/>
                    <a:pt x="75" y="8"/>
                  </a:cubicBezTo>
                  <a:cubicBezTo>
                    <a:pt x="75" y="7"/>
                    <a:pt x="75" y="6"/>
                    <a:pt x="75" y="6"/>
                  </a:cubicBezTo>
                  <a:cubicBezTo>
                    <a:pt x="74" y="5"/>
                    <a:pt x="73" y="5"/>
                    <a:pt x="72" y="4"/>
                  </a:cubicBezTo>
                  <a:cubicBezTo>
                    <a:pt x="72" y="3"/>
                    <a:pt x="72" y="1"/>
                    <a:pt x="71" y="0"/>
                  </a:cubicBezTo>
                  <a:cubicBezTo>
                    <a:pt x="71" y="0"/>
                    <a:pt x="70" y="0"/>
                    <a:pt x="7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9" name="Freeform 298">
              <a:extLst>
                <a:ext uri="{FF2B5EF4-FFF2-40B4-BE49-F238E27FC236}">
                  <a16:creationId xmlns:a16="http://schemas.microsoft.com/office/drawing/2014/main" id="{EB1590F0-FDA9-41AC-888D-AF455B6D754E}"/>
                </a:ext>
              </a:extLst>
            </p:cNvPr>
            <p:cNvSpPr>
              <a:spLocks noEditPoints="1"/>
            </p:cNvSpPr>
            <p:nvPr/>
          </p:nvSpPr>
          <p:spPr bwMode="auto">
            <a:xfrm>
              <a:off x="6563" y="1344"/>
              <a:ext cx="425" cy="475"/>
            </a:xfrm>
            <a:custGeom>
              <a:avLst/>
              <a:gdLst>
                <a:gd name="T0" fmla="*/ 133 w 180"/>
                <a:gd name="T1" fmla="*/ 143 h 201"/>
                <a:gd name="T2" fmla="*/ 100 w 180"/>
                <a:gd name="T3" fmla="*/ 0 h 201"/>
                <a:gd name="T4" fmla="*/ 94 w 180"/>
                <a:gd name="T5" fmla="*/ 4 h 201"/>
                <a:gd name="T6" fmla="*/ 89 w 180"/>
                <a:gd name="T7" fmla="*/ 5 h 201"/>
                <a:gd name="T8" fmla="*/ 88 w 180"/>
                <a:gd name="T9" fmla="*/ 13 h 201"/>
                <a:gd name="T10" fmla="*/ 89 w 180"/>
                <a:gd name="T11" fmla="*/ 14 h 201"/>
                <a:gd name="T12" fmla="*/ 95 w 180"/>
                <a:gd name="T13" fmla="*/ 21 h 201"/>
                <a:gd name="T14" fmla="*/ 84 w 180"/>
                <a:gd name="T15" fmla="*/ 23 h 201"/>
                <a:gd name="T16" fmla="*/ 84 w 180"/>
                <a:gd name="T17" fmla="*/ 28 h 201"/>
                <a:gd name="T18" fmla="*/ 82 w 180"/>
                <a:gd name="T19" fmla="*/ 23 h 201"/>
                <a:gd name="T20" fmla="*/ 79 w 180"/>
                <a:gd name="T21" fmla="*/ 28 h 201"/>
                <a:gd name="T22" fmla="*/ 77 w 180"/>
                <a:gd name="T23" fmla="*/ 40 h 201"/>
                <a:gd name="T24" fmla="*/ 75 w 180"/>
                <a:gd name="T25" fmla="*/ 49 h 201"/>
                <a:gd name="T26" fmla="*/ 74 w 180"/>
                <a:gd name="T27" fmla="*/ 52 h 201"/>
                <a:gd name="T28" fmla="*/ 77 w 180"/>
                <a:gd name="T29" fmla="*/ 56 h 201"/>
                <a:gd name="T30" fmla="*/ 80 w 180"/>
                <a:gd name="T31" fmla="*/ 62 h 201"/>
                <a:gd name="T32" fmla="*/ 82 w 180"/>
                <a:gd name="T33" fmla="*/ 67 h 201"/>
                <a:gd name="T34" fmla="*/ 82 w 180"/>
                <a:gd name="T35" fmla="*/ 77 h 201"/>
                <a:gd name="T36" fmla="*/ 77 w 180"/>
                <a:gd name="T37" fmla="*/ 96 h 201"/>
                <a:gd name="T38" fmla="*/ 74 w 180"/>
                <a:gd name="T39" fmla="*/ 105 h 201"/>
                <a:gd name="T40" fmla="*/ 73 w 180"/>
                <a:gd name="T41" fmla="*/ 107 h 201"/>
                <a:gd name="T42" fmla="*/ 72 w 180"/>
                <a:gd name="T43" fmla="*/ 111 h 201"/>
                <a:gd name="T44" fmla="*/ 72 w 180"/>
                <a:gd name="T45" fmla="*/ 113 h 201"/>
                <a:gd name="T46" fmla="*/ 68 w 180"/>
                <a:gd name="T47" fmla="*/ 122 h 201"/>
                <a:gd name="T48" fmla="*/ 67 w 180"/>
                <a:gd name="T49" fmla="*/ 123 h 201"/>
                <a:gd name="T50" fmla="*/ 40 w 180"/>
                <a:gd name="T51" fmla="*/ 132 h 201"/>
                <a:gd name="T52" fmla="*/ 0 w 180"/>
                <a:gd name="T53" fmla="*/ 146 h 201"/>
                <a:gd name="T54" fmla="*/ 25 w 180"/>
                <a:gd name="T55" fmla="*/ 201 h 201"/>
                <a:gd name="T56" fmla="*/ 52 w 180"/>
                <a:gd name="T57" fmla="*/ 192 h 201"/>
                <a:gd name="T58" fmla="*/ 58 w 180"/>
                <a:gd name="T59" fmla="*/ 193 h 201"/>
                <a:gd name="T60" fmla="*/ 66 w 180"/>
                <a:gd name="T61" fmla="*/ 193 h 201"/>
                <a:gd name="T62" fmla="*/ 79 w 180"/>
                <a:gd name="T63" fmla="*/ 172 h 201"/>
                <a:gd name="T64" fmla="*/ 93 w 180"/>
                <a:gd name="T65" fmla="*/ 170 h 201"/>
                <a:gd name="T66" fmla="*/ 103 w 180"/>
                <a:gd name="T67" fmla="*/ 164 h 201"/>
                <a:gd name="T68" fmla="*/ 109 w 180"/>
                <a:gd name="T69" fmla="*/ 150 h 201"/>
                <a:gd name="T70" fmla="*/ 133 w 180"/>
                <a:gd name="T71" fmla="*/ 143 h 201"/>
                <a:gd name="T72" fmla="*/ 133 w 180"/>
                <a:gd name="T73" fmla="*/ 142 h 201"/>
                <a:gd name="T74" fmla="*/ 132 w 180"/>
                <a:gd name="T75" fmla="*/ 140 h 201"/>
                <a:gd name="T76" fmla="*/ 131 w 180"/>
                <a:gd name="T77" fmla="*/ 134 h 201"/>
                <a:gd name="T78" fmla="*/ 133 w 180"/>
                <a:gd name="T79" fmla="*/ 120 h 201"/>
                <a:gd name="T80" fmla="*/ 142 w 180"/>
                <a:gd name="T81" fmla="*/ 105 h 201"/>
                <a:gd name="T82" fmla="*/ 144 w 180"/>
                <a:gd name="T83" fmla="*/ 110 h 201"/>
                <a:gd name="T84" fmla="*/ 149 w 180"/>
                <a:gd name="T85" fmla="*/ 107 h 201"/>
                <a:gd name="T86" fmla="*/ 162 w 180"/>
                <a:gd name="T87" fmla="*/ 89 h 201"/>
                <a:gd name="T88" fmla="*/ 176 w 180"/>
                <a:gd name="T89" fmla="*/ 71 h 201"/>
                <a:gd name="T90" fmla="*/ 176 w 180"/>
                <a:gd name="T91" fmla="*/ 57 h 201"/>
                <a:gd name="T92" fmla="*/ 167 w 180"/>
                <a:gd name="T93" fmla="*/ 50 h 201"/>
                <a:gd name="T94" fmla="*/ 156 w 180"/>
                <a:gd name="T95" fmla="*/ 36 h 201"/>
                <a:gd name="T96" fmla="*/ 150 w 180"/>
                <a:gd name="T97" fmla="*/ 30 h 201"/>
                <a:gd name="T98" fmla="*/ 147 w 180"/>
                <a:gd name="T99" fmla="*/ 30 h 201"/>
                <a:gd name="T100" fmla="*/ 132 w 180"/>
                <a:gd name="T101" fmla="*/ 27 h 201"/>
                <a:gd name="T102" fmla="*/ 109 w 180"/>
                <a:gd name="T103" fmla="*/ 14 h 201"/>
                <a:gd name="T104" fmla="*/ 102 w 180"/>
                <a:gd name="T105" fmla="*/ 4 h 201"/>
                <a:gd name="T106" fmla="*/ 100 w 180"/>
                <a:gd name="T10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0" h="201">
                  <a:moveTo>
                    <a:pt x="133" y="143"/>
                  </a:moveTo>
                  <a:cubicBezTo>
                    <a:pt x="133" y="143"/>
                    <a:pt x="133" y="143"/>
                    <a:pt x="133" y="143"/>
                  </a:cubicBezTo>
                  <a:cubicBezTo>
                    <a:pt x="133" y="143"/>
                    <a:pt x="133" y="143"/>
                    <a:pt x="133" y="143"/>
                  </a:cubicBezTo>
                  <a:moveTo>
                    <a:pt x="100" y="0"/>
                  </a:moveTo>
                  <a:cubicBezTo>
                    <a:pt x="99" y="2"/>
                    <a:pt x="98" y="2"/>
                    <a:pt x="97" y="3"/>
                  </a:cubicBezTo>
                  <a:cubicBezTo>
                    <a:pt x="96" y="3"/>
                    <a:pt x="95" y="4"/>
                    <a:pt x="94" y="4"/>
                  </a:cubicBezTo>
                  <a:cubicBezTo>
                    <a:pt x="90" y="8"/>
                    <a:pt x="90" y="8"/>
                    <a:pt x="90" y="8"/>
                  </a:cubicBezTo>
                  <a:cubicBezTo>
                    <a:pt x="89" y="5"/>
                    <a:pt x="89" y="5"/>
                    <a:pt x="89" y="5"/>
                  </a:cubicBezTo>
                  <a:cubicBezTo>
                    <a:pt x="89" y="5"/>
                    <a:pt x="89" y="5"/>
                    <a:pt x="89" y="5"/>
                  </a:cubicBezTo>
                  <a:cubicBezTo>
                    <a:pt x="88" y="7"/>
                    <a:pt x="88" y="10"/>
                    <a:pt x="88" y="13"/>
                  </a:cubicBezTo>
                  <a:cubicBezTo>
                    <a:pt x="88" y="14"/>
                    <a:pt x="88" y="14"/>
                    <a:pt x="88" y="14"/>
                  </a:cubicBezTo>
                  <a:cubicBezTo>
                    <a:pt x="89" y="14"/>
                    <a:pt x="89" y="14"/>
                    <a:pt x="89" y="14"/>
                  </a:cubicBezTo>
                  <a:cubicBezTo>
                    <a:pt x="91" y="16"/>
                    <a:pt x="92" y="17"/>
                    <a:pt x="93" y="18"/>
                  </a:cubicBezTo>
                  <a:cubicBezTo>
                    <a:pt x="95" y="21"/>
                    <a:pt x="95" y="21"/>
                    <a:pt x="95" y="21"/>
                  </a:cubicBezTo>
                  <a:cubicBezTo>
                    <a:pt x="89" y="22"/>
                    <a:pt x="89" y="22"/>
                    <a:pt x="89" y="22"/>
                  </a:cubicBezTo>
                  <a:cubicBezTo>
                    <a:pt x="87" y="23"/>
                    <a:pt x="86" y="23"/>
                    <a:pt x="84" y="23"/>
                  </a:cubicBezTo>
                  <a:cubicBezTo>
                    <a:pt x="84" y="23"/>
                    <a:pt x="84" y="23"/>
                    <a:pt x="84" y="23"/>
                  </a:cubicBezTo>
                  <a:cubicBezTo>
                    <a:pt x="84" y="28"/>
                    <a:pt x="84" y="28"/>
                    <a:pt x="84" y="28"/>
                  </a:cubicBezTo>
                  <a:cubicBezTo>
                    <a:pt x="82" y="23"/>
                    <a:pt x="82" y="23"/>
                    <a:pt x="82" y="23"/>
                  </a:cubicBezTo>
                  <a:cubicBezTo>
                    <a:pt x="82" y="23"/>
                    <a:pt x="82" y="23"/>
                    <a:pt x="82" y="23"/>
                  </a:cubicBezTo>
                  <a:cubicBezTo>
                    <a:pt x="80" y="24"/>
                    <a:pt x="80" y="25"/>
                    <a:pt x="79" y="27"/>
                  </a:cubicBezTo>
                  <a:cubicBezTo>
                    <a:pt x="79" y="28"/>
                    <a:pt x="79" y="28"/>
                    <a:pt x="79" y="28"/>
                  </a:cubicBezTo>
                  <a:cubicBezTo>
                    <a:pt x="79" y="29"/>
                    <a:pt x="79" y="30"/>
                    <a:pt x="79" y="31"/>
                  </a:cubicBezTo>
                  <a:cubicBezTo>
                    <a:pt x="78" y="34"/>
                    <a:pt x="77" y="37"/>
                    <a:pt x="77" y="40"/>
                  </a:cubicBezTo>
                  <a:cubicBezTo>
                    <a:pt x="75" y="47"/>
                    <a:pt x="75" y="47"/>
                    <a:pt x="75" y="47"/>
                  </a:cubicBezTo>
                  <a:cubicBezTo>
                    <a:pt x="75" y="48"/>
                    <a:pt x="75" y="48"/>
                    <a:pt x="75" y="49"/>
                  </a:cubicBezTo>
                  <a:cubicBezTo>
                    <a:pt x="75" y="50"/>
                    <a:pt x="75" y="50"/>
                    <a:pt x="75" y="50"/>
                  </a:cubicBezTo>
                  <a:cubicBezTo>
                    <a:pt x="75" y="50"/>
                    <a:pt x="74" y="52"/>
                    <a:pt x="74" y="52"/>
                  </a:cubicBezTo>
                  <a:cubicBezTo>
                    <a:pt x="75" y="54"/>
                    <a:pt x="76" y="55"/>
                    <a:pt x="76" y="56"/>
                  </a:cubicBezTo>
                  <a:cubicBezTo>
                    <a:pt x="77" y="56"/>
                    <a:pt x="77" y="56"/>
                    <a:pt x="77" y="56"/>
                  </a:cubicBezTo>
                  <a:cubicBezTo>
                    <a:pt x="77" y="58"/>
                    <a:pt x="78" y="59"/>
                    <a:pt x="79" y="61"/>
                  </a:cubicBezTo>
                  <a:cubicBezTo>
                    <a:pt x="80" y="62"/>
                    <a:pt x="80" y="62"/>
                    <a:pt x="80" y="62"/>
                  </a:cubicBezTo>
                  <a:cubicBezTo>
                    <a:pt x="80" y="64"/>
                    <a:pt x="81" y="65"/>
                    <a:pt x="81" y="66"/>
                  </a:cubicBezTo>
                  <a:cubicBezTo>
                    <a:pt x="81" y="66"/>
                    <a:pt x="81" y="67"/>
                    <a:pt x="82" y="67"/>
                  </a:cubicBezTo>
                  <a:cubicBezTo>
                    <a:pt x="82" y="69"/>
                    <a:pt x="83" y="71"/>
                    <a:pt x="83" y="73"/>
                  </a:cubicBezTo>
                  <a:cubicBezTo>
                    <a:pt x="83" y="74"/>
                    <a:pt x="82" y="76"/>
                    <a:pt x="82" y="77"/>
                  </a:cubicBezTo>
                  <a:cubicBezTo>
                    <a:pt x="82" y="81"/>
                    <a:pt x="81" y="83"/>
                    <a:pt x="80" y="86"/>
                  </a:cubicBezTo>
                  <a:cubicBezTo>
                    <a:pt x="77" y="96"/>
                    <a:pt x="77" y="96"/>
                    <a:pt x="77" y="96"/>
                  </a:cubicBezTo>
                  <a:cubicBezTo>
                    <a:pt x="76" y="98"/>
                    <a:pt x="75" y="101"/>
                    <a:pt x="74" y="104"/>
                  </a:cubicBezTo>
                  <a:cubicBezTo>
                    <a:pt x="74" y="105"/>
                    <a:pt x="74" y="105"/>
                    <a:pt x="74" y="105"/>
                  </a:cubicBezTo>
                  <a:cubicBezTo>
                    <a:pt x="74" y="106"/>
                    <a:pt x="74" y="106"/>
                    <a:pt x="74" y="106"/>
                  </a:cubicBezTo>
                  <a:cubicBezTo>
                    <a:pt x="73" y="107"/>
                    <a:pt x="73" y="107"/>
                    <a:pt x="73" y="107"/>
                  </a:cubicBezTo>
                  <a:cubicBezTo>
                    <a:pt x="73" y="109"/>
                    <a:pt x="73" y="109"/>
                    <a:pt x="73" y="109"/>
                  </a:cubicBezTo>
                  <a:cubicBezTo>
                    <a:pt x="73" y="110"/>
                    <a:pt x="72" y="111"/>
                    <a:pt x="72" y="111"/>
                  </a:cubicBezTo>
                  <a:cubicBezTo>
                    <a:pt x="72" y="112"/>
                    <a:pt x="72" y="112"/>
                    <a:pt x="72" y="112"/>
                  </a:cubicBezTo>
                  <a:cubicBezTo>
                    <a:pt x="72" y="113"/>
                    <a:pt x="72" y="113"/>
                    <a:pt x="72" y="113"/>
                  </a:cubicBezTo>
                  <a:cubicBezTo>
                    <a:pt x="71" y="115"/>
                    <a:pt x="71" y="118"/>
                    <a:pt x="70" y="119"/>
                  </a:cubicBezTo>
                  <a:cubicBezTo>
                    <a:pt x="69" y="120"/>
                    <a:pt x="69" y="121"/>
                    <a:pt x="68" y="122"/>
                  </a:cubicBezTo>
                  <a:cubicBezTo>
                    <a:pt x="69" y="125"/>
                    <a:pt x="69" y="125"/>
                    <a:pt x="69" y="125"/>
                  </a:cubicBezTo>
                  <a:cubicBezTo>
                    <a:pt x="67" y="123"/>
                    <a:pt x="67" y="123"/>
                    <a:pt x="67" y="123"/>
                  </a:cubicBezTo>
                  <a:cubicBezTo>
                    <a:pt x="63" y="124"/>
                    <a:pt x="63" y="124"/>
                    <a:pt x="63" y="124"/>
                  </a:cubicBezTo>
                  <a:cubicBezTo>
                    <a:pt x="55" y="127"/>
                    <a:pt x="48" y="129"/>
                    <a:pt x="40" y="132"/>
                  </a:cubicBezTo>
                  <a:cubicBezTo>
                    <a:pt x="3" y="145"/>
                    <a:pt x="3" y="145"/>
                    <a:pt x="3" y="145"/>
                  </a:cubicBezTo>
                  <a:cubicBezTo>
                    <a:pt x="1" y="145"/>
                    <a:pt x="1" y="145"/>
                    <a:pt x="0" y="146"/>
                  </a:cubicBezTo>
                  <a:cubicBezTo>
                    <a:pt x="7" y="162"/>
                    <a:pt x="7" y="162"/>
                    <a:pt x="7" y="162"/>
                  </a:cubicBezTo>
                  <a:cubicBezTo>
                    <a:pt x="13" y="175"/>
                    <a:pt x="19" y="188"/>
                    <a:pt x="25" y="201"/>
                  </a:cubicBezTo>
                  <a:cubicBezTo>
                    <a:pt x="28" y="200"/>
                    <a:pt x="33" y="197"/>
                    <a:pt x="35" y="196"/>
                  </a:cubicBezTo>
                  <a:cubicBezTo>
                    <a:pt x="41" y="194"/>
                    <a:pt x="46" y="192"/>
                    <a:pt x="52" y="192"/>
                  </a:cubicBezTo>
                  <a:cubicBezTo>
                    <a:pt x="52" y="192"/>
                    <a:pt x="52" y="192"/>
                    <a:pt x="52" y="192"/>
                  </a:cubicBezTo>
                  <a:cubicBezTo>
                    <a:pt x="54" y="192"/>
                    <a:pt x="56" y="192"/>
                    <a:pt x="58" y="193"/>
                  </a:cubicBezTo>
                  <a:cubicBezTo>
                    <a:pt x="60" y="193"/>
                    <a:pt x="62" y="193"/>
                    <a:pt x="63" y="193"/>
                  </a:cubicBezTo>
                  <a:cubicBezTo>
                    <a:pt x="64" y="193"/>
                    <a:pt x="65" y="193"/>
                    <a:pt x="66" y="193"/>
                  </a:cubicBezTo>
                  <a:cubicBezTo>
                    <a:pt x="66" y="193"/>
                    <a:pt x="67" y="192"/>
                    <a:pt x="67" y="192"/>
                  </a:cubicBezTo>
                  <a:cubicBezTo>
                    <a:pt x="75" y="188"/>
                    <a:pt x="70" y="175"/>
                    <a:pt x="79" y="172"/>
                  </a:cubicBezTo>
                  <a:cubicBezTo>
                    <a:pt x="81" y="171"/>
                    <a:pt x="84" y="171"/>
                    <a:pt x="86" y="171"/>
                  </a:cubicBezTo>
                  <a:cubicBezTo>
                    <a:pt x="88" y="171"/>
                    <a:pt x="91" y="171"/>
                    <a:pt x="93" y="170"/>
                  </a:cubicBezTo>
                  <a:cubicBezTo>
                    <a:pt x="96" y="169"/>
                    <a:pt x="100" y="168"/>
                    <a:pt x="102" y="166"/>
                  </a:cubicBezTo>
                  <a:cubicBezTo>
                    <a:pt x="103" y="164"/>
                    <a:pt x="102" y="165"/>
                    <a:pt x="103" y="164"/>
                  </a:cubicBezTo>
                  <a:cubicBezTo>
                    <a:pt x="104" y="162"/>
                    <a:pt x="104" y="161"/>
                    <a:pt x="104" y="160"/>
                  </a:cubicBezTo>
                  <a:cubicBezTo>
                    <a:pt x="106" y="157"/>
                    <a:pt x="107" y="153"/>
                    <a:pt x="109" y="150"/>
                  </a:cubicBezTo>
                  <a:cubicBezTo>
                    <a:pt x="109" y="149"/>
                    <a:pt x="115" y="149"/>
                    <a:pt x="116" y="148"/>
                  </a:cubicBezTo>
                  <a:cubicBezTo>
                    <a:pt x="120" y="147"/>
                    <a:pt x="132" y="146"/>
                    <a:pt x="133" y="143"/>
                  </a:cubicBezTo>
                  <a:cubicBezTo>
                    <a:pt x="133" y="143"/>
                    <a:pt x="133" y="143"/>
                    <a:pt x="133" y="143"/>
                  </a:cubicBezTo>
                  <a:cubicBezTo>
                    <a:pt x="133" y="143"/>
                    <a:pt x="133" y="142"/>
                    <a:pt x="133" y="142"/>
                  </a:cubicBezTo>
                  <a:cubicBezTo>
                    <a:pt x="132" y="141"/>
                    <a:pt x="132" y="140"/>
                    <a:pt x="132" y="140"/>
                  </a:cubicBezTo>
                  <a:cubicBezTo>
                    <a:pt x="132" y="140"/>
                    <a:pt x="132" y="140"/>
                    <a:pt x="132" y="140"/>
                  </a:cubicBezTo>
                  <a:cubicBezTo>
                    <a:pt x="132" y="139"/>
                    <a:pt x="131" y="139"/>
                    <a:pt x="131" y="137"/>
                  </a:cubicBezTo>
                  <a:cubicBezTo>
                    <a:pt x="131" y="136"/>
                    <a:pt x="132" y="135"/>
                    <a:pt x="131" y="134"/>
                  </a:cubicBezTo>
                  <a:cubicBezTo>
                    <a:pt x="131" y="132"/>
                    <a:pt x="130" y="130"/>
                    <a:pt x="130" y="128"/>
                  </a:cubicBezTo>
                  <a:cubicBezTo>
                    <a:pt x="130" y="125"/>
                    <a:pt x="132" y="122"/>
                    <a:pt x="133" y="120"/>
                  </a:cubicBezTo>
                  <a:cubicBezTo>
                    <a:pt x="134" y="116"/>
                    <a:pt x="137" y="106"/>
                    <a:pt x="141" y="105"/>
                  </a:cubicBezTo>
                  <a:cubicBezTo>
                    <a:pt x="141" y="105"/>
                    <a:pt x="142" y="105"/>
                    <a:pt x="142" y="105"/>
                  </a:cubicBezTo>
                  <a:cubicBezTo>
                    <a:pt x="143" y="105"/>
                    <a:pt x="144" y="106"/>
                    <a:pt x="142" y="107"/>
                  </a:cubicBezTo>
                  <a:cubicBezTo>
                    <a:pt x="140" y="110"/>
                    <a:pt x="142" y="110"/>
                    <a:pt x="144" y="110"/>
                  </a:cubicBezTo>
                  <a:cubicBezTo>
                    <a:pt x="145" y="110"/>
                    <a:pt x="145" y="110"/>
                    <a:pt x="146" y="110"/>
                  </a:cubicBezTo>
                  <a:cubicBezTo>
                    <a:pt x="149" y="109"/>
                    <a:pt x="148" y="109"/>
                    <a:pt x="149" y="107"/>
                  </a:cubicBezTo>
                  <a:cubicBezTo>
                    <a:pt x="151" y="105"/>
                    <a:pt x="152" y="103"/>
                    <a:pt x="154" y="101"/>
                  </a:cubicBezTo>
                  <a:cubicBezTo>
                    <a:pt x="157" y="97"/>
                    <a:pt x="158" y="92"/>
                    <a:pt x="162" y="89"/>
                  </a:cubicBezTo>
                  <a:cubicBezTo>
                    <a:pt x="166" y="86"/>
                    <a:pt x="168" y="85"/>
                    <a:pt x="170" y="81"/>
                  </a:cubicBezTo>
                  <a:cubicBezTo>
                    <a:pt x="172" y="78"/>
                    <a:pt x="176" y="74"/>
                    <a:pt x="176" y="71"/>
                  </a:cubicBezTo>
                  <a:cubicBezTo>
                    <a:pt x="178" y="67"/>
                    <a:pt x="180" y="65"/>
                    <a:pt x="180" y="61"/>
                  </a:cubicBezTo>
                  <a:cubicBezTo>
                    <a:pt x="180" y="58"/>
                    <a:pt x="179" y="57"/>
                    <a:pt x="176" y="57"/>
                  </a:cubicBezTo>
                  <a:cubicBezTo>
                    <a:pt x="173" y="57"/>
                    <a:pt x="172" y="56"/>
                    <a:pt x="171" y="54"/>
                  </a:cubicBezTo>
                  <a:cubicBezTo>
                    <a:pt x="169" y="53"/>
                    <a:pt x="168" y="51"/>
                    <a:pt x="167" y="50"/>
                  </a:cubicBezTo>
                  <a:cubicBezTo>
                    <a:pt x="165" y="48"/>
                    <a:pt x="164" y="46"/>
                    <a:pt x="162" y="44"/>
                  </a:cubicBezTo>
                  <a:cubicBezTo>
                    <a:pt x="160" y="41"/>
                    <a:pt x="158" y="38"/>
                    <a:pt x="156" y="36"/>
                  </a:cubicBezTo>
                  <a:cubicBezTo>
                    <a:pt x="154" y="34"/>
                    <a:pt x="152" y="30"/>
                    <a:pt x="151" y="30"/>
                  </a:cubicBezTo>
                  <a:cubicBezTo>
                    <a:pt x="150" y="30"/>
                    <a:pt x="150" y="30"/>
                    <a:pt x="150" y="30"/>
                  </a:cubicBezTo>
                  <a:cubicBezTo>
                    <a:pt x="149" y="30"/>
                    <a:pt x="148" y="30"/>
                    <a:pt x="147" y="30"/>
                  </a:cubicBezTo>
                  <a:cubicBezTo>
                    <a:pt x="147" y="30"/>
                    <a:pt x="147" y="30"/>
                    <a:pt x="147" y="30"/>
                  </a:cubicBezTo>
                  <a:cubicBezTo>
                    <a:pt x="145" y="30"/>
                    <a:pt x="144" y="30"/>
                    <a:pt x="142" y="29"/>
                  </a:cubicBezTo>
                  <a:cubicBezTo>
                    <a:pt x="138" y="27"/>
                    <a:pt x="136" y="28"/>
                    <a:pt x="132" y="27"/>
                  </a:cubicBezTo>
                  <a:cubicBezTo>
                    <a:pt x="127" y="24"/>
                    <a:pt x="119" y="24"/>
                    <a:pt x="114" y="20"/>
                  </a:cubicBezTo>
                  <a:cubicBezTo>
                    <a:pt x="112" y="18"/>
                    <a:pt x="111" y="16"/>
                    <a:pt x="109" y="14"/>
                  </a:cubicBezTo>
                  <a:cubicBezTo>
                    <a:pt x="108" y="12"/>
                    <a:pt x="105" y="11"/>
                    <a:pt x="104" y="8"/>
                  </a:cubicBezTo>
                  <a:cubicBezTo>
                    <a:pt x="103" y="7"/>
                    <a:pt x="102" y="5"/>
                    <a:pt x="102" y="4"/>
                  </a:cubicBezTo>
                  <a:cubicBezTo>
                    <a:pt x="101" y="3"/>
                    <a:pt x="101" y="2"/>
                    <a:pt x="100" y="1"/>
                  </a:cubicBezTo>
                  <a:cubicBezTo>
                    <a:pt x="100" y="0"/>
                    <a:pt x="100" y="0"/>
                    <a:pt x="10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0" name="Freeform 299">
              <a:extLst>
                <a:ext uri="{FF2B5EF4-FFF2-40B4-BE49-F238E27FC236}">
                  <a16:creationId xmlns:a16="http://schemas.microsoft.com/office/drawing/2014/main" id="{64EEFC60-5425-4AF0-9770-70DC5A806940}"/>
                </a:ext>
              </a:extLst>
            </p:cNvPr>
            <p:cNvSpPr>
              <a:spLocks/>
            </p:cNvSpPr>
            <p:nvPr/>
          </p:nvSpPr>
          <p:spPr bwMode="auto">
            <a:xfrm>
              <a:off x="6031" y="1691"/>
              <a:ext cx="577" cy="355"/>
            </a:xfrm>
            <a:custGeom>
              <a:avLst/>
              <a:gdLst>
                <a:gd name="T0" fmla="*/ 209 w 244"/>
                <a:gd name="T1" fmla="*/ 2 h 150"/>
                <a:gd name="T2" fmla="*/ 174 w 244"/>
                <a:gd name="T3" fmla="*/ 7 h 150"/>
                <a:gd name="T4" fmla="*/ 144 w 244"/>
                <a:gd name="T5" fmla="*/ 14 h 150"/>
                <a:gd name="T6" fmla="*/ 133 w 244"/>
                <a:gd name="T7" fmla="*/ 20 h 150"/>
                <a:gd name="T8" fmla="*/ 111 w 244"/>
                <a:gd name="T9" fmla="*/ 48 h 150"/>
                <a:gd name="T10" fmla="*/ 107 w 244"/>
                <a:gd name="T11" fmla="*/ 49 h 150"/>
                <a:gd name="T12" fmla="*/ 105 w 244"/>
                <a:gd name="T13" fmla="*/ 49 h 150"/>
                <a:gd name="T14" fmla="*/ 99 w 244"/>
                <a:gd name="T15" fmla="*/ 46 h 150"/>
                <a:gd name="T16" fmla="*/ 96 w 244"/>
                <a:gd name="T17" fmla="*/ 42 h 150"/>
                <a:gd name="T18" fmla="*/ 94 w 244"/>
                <a:gd name="T19" fmla="*/ 41 h 150"/>
                <a:gd name="T20" fmla="*/ 81 w 244"/>
                <a:gd name="T21" fmla="*/ 40 h 150"/>
                <a:gd name="T22" fmla="*/ 55 w 244"/>
                <a:gd name="T23" fmla="*/ 38 h 150"/>
                <a:gd name="T24" fmla="*/ 43 w 244"/>
                <a:gd name="T25" fmla="*/ 40 h 150"/>
                <a:gd name="T26" fmla="*/ 39 w 244"/>
                <a:gd name="T27" fmla="*/ 40 h 150"/>
                <a:gd name="T28" fmla="*/ 33 w 244"/>
                <a:gd name="T29" fmla="*/ 41 h 150"/>
                <a:gd name="T30" fmla="*/ 28 w 244"/>
                <a:gd name="T31" fmla="*/ 40 h 150"/>
                <a:gd name="T32" fmla="*/ 23 w 244"/>
                <a:gd name="T33" fmla="*/ 37 h 150"/>
                <a:gd name="T34" fmla="*/ 19 w 244"/>
                <a:gd name="T35" fmla="*/ 37 h 150"/>
                <a:gd name="T36" fmla="*/ 18 w 244"/>
                <a:gd name="T37" fmla="*/ 37 h 150"/>
                <a:gd name="T38" fmla="*/ 15 w 244"/>
                <a:gd name="T39" fmla="*/ 44 h 150"/>
                <a:gd name="T40" fmla="*/ 15 w 244"/>
                <a:gd name="T41" fmla="*/ 45 h 150"/>
                <a:gd name="T42" fmla="*/ 15 w 244"/>
                <a:gd name="T43" fmla="*/ 47 h 150"/>
                <a:gd name="T44" fmla="*/ 16 w 244"/>
                <a:gd name="T45" fmla="*/ 49 h 150"/>
                <a:gd name="T46" fmla="*/ 13 w 244"/>
                <a:gd name="T47" fmla="*/ 58 h 150"/>
                <a:gd name="T48" fmla="*/ 8 w 244"/>
                <a:gd name="T49" fmla="*/ 61 h 150"/>
                <a:gd name="T50" fmla="*/ 5 w 244"/>
                <a:gd name="T51" fmla="*/ 64 h 150"/>
                <a:gd name="T52" fmla="*/ 5 w 244"/>
                <a:gd name="T53" fmla="*/ 72 h 150"/>
                <a:gd name="T54" fmla="*/ 4 w 244"/>
                <a:gd name="T55" fmla="*/ 81 h 150"/>
                <a:gd name="T56" fmla="*/ 3 w 244"/>
                <a:gd name="T57" fmla="*/ 87 h 150"/>
                <a:gd name="T58" fmla="*/ 1 w 244"/>
                <a:gd name="T59" fmla="*/ 89 h 150"/>
                <a:gd name="T60" fmla="*/ 2 w 244"/>
                <a:gd name="T61" fmla="*/ 89 h 150"/>
                <a:gd name="T62" fmla="*/ 4 w 244"/>
                <a:gd name="T63" fmla="*/ 90 h 150"/>
                <a:gd name="T64" fmla="*/ 9 w 244"/>
                <a:gd name="T65" fmla="*/ 109 h 150"/>
                <a:gd name="T66" fmla="*/ 15 w 244"/>
                <a:gd name="T67" fmla="*/ 133 h 150"/>
                <a:gd name="T68" fmla="*/ 20 w 244"/>
                <a:gd name="T69" fmla="*/ 149 h 150"/>
                <a:gd name="T70" fmla="*/ 35 w 244"/>
                <a:gd name="T71" fmla="*/ 150 h 150"/>
                <a:gd name="T72" fmla="*/ 41 w 244"/>
                <a:gd name="T73" fmla="*/ 150 h 150"/>
                <a:gd name="T74" fmla="*/ 45 w 244"/>
                <a:gd name="T75" fmla="*/ 148 h 150"/>
                <a:gd name="T76" fmla="*/ 49 w 244"/>
                <a:gd name="T77" fmla="*/ 147 h 150"/>
                <a:gd name="T78" fmla="*/ 58 w 244"/>
                <a:gd name="T79" fmla="*/ 148 h 150"/>
                <a:gd name="T80" fmla="*/ 78 w 244"/>
                <a:gd name="T81" fmla="*/ 133 h 150"/>
                <a:gd name="T82" fmla="*/ 122 w 244"/>
                <a:gd name="T83" fmla="*/ 119 h 150"/>
                <a:gd name="T84" fmla="*/ 133 w 244"/>
                <a:gd name="T85" fmla="*/ 118 h 150"/>
                <a:gd name="T86" fmla="*/ 143 w 244"/>
                <a:gd name="T87" fmla="*/ 117 h 150"/>
                <a:gd name="T88" fmla="*/ 160 w 244"/>
                <a:gd name="T89" fmla="*/ 102 h 150"/>
                <a:gd name="T90" fmla="*/ 189 w 244"/>
                <a:gd name="T91" fmla="*/ 93 h 150"/>
                <a:gd name="T92" fmla="*/ 219 w 244"/>
                <a:gd name="T93" fmla="*/ 82 h 150"/>
                <a:gd name="T94" fmla="*/ 226 w 244"/>
                <a:gd name="T95" fmla="*/ 76 h 150"/>
                <a:gd name="T96" fmla="*/ 225 w 244"/>
                <a:gd name="T97" fmla="*/ 73 h 150"/>
                <a:gd name="T98" fmla="*/ 237 w 244"/>
                <a:gd name="T99" fmla="*/ 58 h 150"/>
                <a:gd name="T100" fmla="*/ 226 w 244"/>
                <a:gd name="T101" fmla="*/ 1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4" h="150">
                  <a:moveTo>
                    <a:pt x="219" y="0"/>
                  </a:moveTo>
                  <a:cubicBezTo>
                    <a:pt x="215" y="1"/>
                    <a:pt x="212" y="2"/>
                    <a:pt x="209" y="2"/>
                  </a:cubicBezTo>
                  <a:cubicBezTo>
                    <a:pt x="198" y="4"/>
                    <a:pt x="187" y="5"/>
                    <a:pt x="178" y="7"/>
                  </a:cubicBezTo>
                  <a:cubicBezTo>
                    <a:pt x="174" y="7"/>
                    <a:pt x="174" y="7"/>
                    <a:pt x="174" y="7"/>
                  </a:cubicBezTo>
                  <a:cubicBezTo>
                    <a:pt x="165" y="7"/>
                    <a:pt x="156" y="8"/>
                    <a:pt x="149" y="12"/>
                  </a:cubicBezTo>
                  <a:cubicBezTo>
                    <a:pt x="148" y="12"/>
                    <a:pt x="146" y="13"/>
                    <a:pt x="144" y="14"/>
                  </a:cubicBezTo>
                  <a:cubicBezTo>
                    <a:pt x="140" y="15"/>
                    <a:pt x="136" y="17"/>
                    <a:pt x="134" y="19"/>
                  </a:cubicBezTo>
                  <a:cubicBezTo>
                    <a:pt x="133" y="20"/>
                    <a:pt x="133" y="20"/>
                    <a:pt x="133" y="20"/>
                  </a:cubicBezTo>
                  <a:cubicBezTo>
                    <a:pt x="118" y="42"/>
                    <a:pt x="118" y="42"/>
                    <a:pt x="118" y="42"/>
                  </a:cubicBezTo>
                  <a:cubicBezTo>
                    <a:pt x="116" y="44"/>
                    <a:pt x="114" y="46"/>
                    <a:pt x="111" y="48"/>
                  </a:cubicBezTo>
                  <a:cubicBezTo>
                    <a:pt x="110" y="48"/>
                    <a:pt x="109" y="48"/>
                    <a:pt x="108" y="49"/>
                  </a:cubicBezTo>
                  <a:cubicBezTo>
                    <a:pt x="107" y="49"/>
                    <a:pt x="107" y="49"/>
                    <a:pt x="107" y="49"/>
                  </a:cubicBezTo>
                  <a:cubicBezTo>
                    <a:pt x="107" y="49"/>
                    <a:pt x="106" y="49"/>
                    <a:pt x="105" y="49"/>
                  </a:cubicBezTo>
                  <a:cubicBezTo>
                    <a:pt x="105" y="49"/>
                    <a:pt x="105" y="49"/>
                    <a:pt x="105" y="49"/>
                  </a:cubicBezTo>
                  <a:cubicBezTo>
                    <a:pt x="104" y="49"/>
                    <a:pt x="104" y="49"/>
                    <a:pt x="104" y="49"/>
                  </a:cubicBezTo>
                  <a:cubicBezTo>
                    <a:pt x="102" y="49"/>
                    <a:pt x="100" y="48"/>
                    <a:pt x="99" y="46"/>
                  </a:cubicBezTo>
                  <a:cubicBezTo>
                    <a:pt x="99" y="46"/>
                    <a:pt x="98" y="45"/>
                    <a:pt x="98" y="45"/>
                  </a:cubicBezTo>
                  <a:cubicBezTo>
                    <a:pt x="97" y="43"/>
                    <a:pt x="96" y="42"/>
                    <a:pt x="96" y="42"/>
                  </a:cubicBezTo>
                  <a:cubicBezTo>
                    <a:pt x="95" y="42"/>
                    <a:pt x="95" y="42"/>
                    <a:pt x="95" y="42"/>
                  </a:cubicBezTo>
                  <a:cubicBezTo>
                    <a:pt x="94" y="41"/>
                    <a:pt x="94" y="41"/>
                    <a:pt x="94" y="41"/>
                  </a:cubicBezTo>
                  <a:cubicBezTo>
                    <a:pt x="90" y="41"/>
                    <a:pt x="86" y="41"/>
                    <a:pt x="82" y="40"/>
                  </a:cubicBezTo>
                  <a:cubicBezTo>
                    <a:pt x="81" y="40"/>
                    <a:pt x="81" y="40"/>
                    <a:pt x="81" y="40"/>
                  </a:cubicBezTo>
                  <a:cubicBezTo>
                    <a:pt x="74" y="39"/>
                    <a:pt x="67" y="38"/>
                    <a:pt x="60" y="38"/>
                  </a:cubicBezTo>
                  <a:cubicBezTo>
                    <a:pt x="58" y="38"/>
                    <a:pt x="57" y="38"/>
                    <a:pt x="55" y="38"/>
                  </a:cubicBezTo>
                  <a:cubicBezTo>
                    <a:pt x="52" y="38"/>
                    <a:pt x="49" y="39"/>
                    <a:pt x="45" y="39"/>
                  </a:cubicBezTo>
                  <a:cubicBezTo>
                    <a:pt x="43" y="40"/>
                    <a:pt x="43" y="40"/>
                    <a:pt x="43" y="40"/>
                  </a:cubicBezTo>
                  <a:cubicBezTo>
                    <a:pt x="42" y="40"/>
                    <a:pt x="41" y="40"/>
                    <a:pt x="41" y="40"/>
                  </a:cubicBezTo>
                  <a:cubicBezTo>
                    <a:pt x="40" y="40"/>
                    <a:pt x="39" y="40"/>
                    <a:pt x="39" y="40"/>
                  </a:cubicBezTo>
                  <a:cubicBezTo>
                    <a:pt x="37" y="41"/>
                    <a:pt x="37" y="41"/>
                    <a:pt x="37" y="41"/>
                  </a:cubicBezTo>
                  <a:cubicBezTo>
                    <a:pt x="36" y="41"/>
                    <a:pt x="35" y="41"/>
                    <a:pt x="33" y="41"/>
                  </a:cubicBezTo>
                  <a:cubicBezTo>
                    <a:pt x="32" y="41"/>
                    <a:pt x="30" y="41"/>
                    <a:pt x="29" y="41"/>
                  </a:cubicBezTo>
                  <a:cubicBezTo>
                    <a:pt x="28" y="40"/>
                    <a:pt x="28" y="40"/>
                    <a:pt x="28" y="40"/>
                  </a:cubicBezTo>
                  <a:cubicBezTo>
                    <a:pt x="26" y="40"/>
                    <a:pt x="24" y="39"/>
                    <a:pt x="23" y="37"/>
                  </a:cubicBezTo>
                  <a:cubicBezTo>
                    <a:pt x="23" y="37"/>
                    <a:pt x="23" y="37"/>
                    <a:pt x="23" y="37"/>
                  </a:cubicBezTo>
                  <a:cubicBezTo>
                    <a:pt x="22" y="37"/>
                    <a:pt x="22" y="37"/>
                    <a:pt x="21" y="37"/>
                  </a:cubicBezTo>
                  <a:cubicBezTo>
                    <a:pt x="21" y="37"/>
                    <a:pt x="20" y="37"/>
                    <a:pt x="19" y="37"/>
                  </a:cubicBezTo>
                  <a:cubicBezTo>
                    <a:pt x="19" y="37"/>
                    <a:pt x="19" y="37"/>
                    <a:pt x="19" y="37"/>
                  </a:cubicBezTo>
                  <a:cubicBezTo>
                    <a:pt x="18" y="37"/>
                    <a:pt x="18" y="37"/>
                    <a:pt x="18" y="37"/>
                  </a:cubicBezTo>
                  <a:cubicBezTo>
                    <a:pt x="18" y="38"/>
                    <a:pt x="17" y="39"/>
                    <a:pt x="16" y="42"/>
                  </a:cubicBezTo>
                  <a:cubicBezTo>
                    <a:pt x="15" y="43"/>
                    <a:pt x="15" y="44"/>
                    <a:pt x="15" y="44"/>
                  </a:cubicBezTo>
                  <a:cubicBezTo>
                    <a:pt x="15" y="44"/>
                    <a:pt x="15" y="45"/>
                    <a:pt x="15" y="45"/>
                  </a:cubicBezTo>
                  <a:cubicBezTo>
                    <a:pt x="15" y="45"/>
                    <a:pt x="15" y="45"/>
                    <a:pt x="15" y="45"/>
                  </a:cubicBezTo>
                  <a:cubicBezTo>
                    <a:pt x="15" y="46"/>
                    <a:pt x="15" y="46"/>
                    <a:pt x="15" y="46"/>
                  </a:cubicBezTo>
                  <a:cubicBezTo>
                    <a:pt x="15" y="47"/>
                    <a:pt x="15" y="47"/>
                    <a:pt x="15" y="47"/>
                  </a:cubicBezTo>
                  <a:cubicBezTo>
                    <a:pt x="15" y="47"/>
                    <a:pt x="15" y="48"/>
                    <a:pt x="15" y="49"/>
                  </a:cubicBezTo>
                  <a:cubicBezTo>
                    <a:pt x="16" y="49"/>
                    <a:pt x="16" y="49"/>
                    <a:pt x="16" y="49"/>
                  </a:cubicBezTo>
                  <a:cubicBezTo>
                    <a:pt x="16" y="52"/>
                    <a:pt x="17" y="55"/>
                    <a:pt x="15" y="57"/>
                  </a:cubicBezTo>
                  <a:cubicBezTo>
                    <a:pt x="14" y="57"/>
                    <a:pt x="14" y="57"/>
                    <a:pt x="13" y="58"/>
                  </a:cubicBezTo>
                  <a:cubicBezTo>
                    <a:pt x="12" y="58"/>
                    <a:pt x="12" y="58"/>
                    <a:pt x="12" y="58"/>
                  </a:cubicBezTo>
                  <a:cubicBezTo>
                    <a:pt x="8" y="60"/>
                    <a:pt x="8" y="61"/>
                    <a:pt x="8" y="61"/>
                  </a:cubicBezTo>
                  <a:cubicBezTo>
                    <a:pt x="7" y="62"/>
                    <a:pt x="7" y="62"/>
                    <a:pt x="7" y="62"/>
                  </a:cubicBezTo>
                  <a:cubicBezTo>
                    <a:pt x="5" y="64"/>
                    <a:pt x="5" y="64"/>
                    <a:pt x="5" y="64"/>
                  </a:cubicBezTo>
                  <a:cubicBezTo>
                    <a:pt x="4" y="64"/>
                    <a:pt x="4" y="64"/>
                    <a:pt x="4" y="64"/>
                  </a:cubicBezTo>
                  <a:cubicBezTo>
                    <a:pt x="5" y="66"/>
                    <a:pt x="5" y="69"/>
                    <a:pt x="5" y="72"/>
                  </a:cubicBezTo>
                  <a:cubicBezTo>
                    <a:pt x="5" y="73"/>
                    <a:pt x="4" y="74"/>
                    <a:pt x="4" y="75"/>
                  </a:cubicBezTo>
                  <a:cubicBezTo>
                    <a:pt x="4" y="77"/>
                    <a:pt x="4" y="79"/>
                    <a:pt x="4" y="81"/>
                  </a:cubicBezTo>
                  <a:cubicBezTo>
                    <a:pt x="4" y="84"/>
                    <a:pt x="4" y="86"/>
                    <a:pt x="4" y="89"/>
                  </a:cubicBezTo>
                  <a:cubicBezTo>
                    <a:pt x="4" y="89"/>
                    <a:pt x="4" y="87"/>
                    <a:pt x="3" y="87"/>
                  </a:cubicBezTo>
                  <a:cubicBezTo>
                    <a:pt x="3" y="87"/>
                    <a:pt x="3" y="87"/>
                    <a:pt x="3" y="87"/>
                  </a:cubicBezTo>
                  <a:cubicBezTo>
                    <a:pt x="0" y="88"/>
                    <a:pt x="0" y="89"/>
                    <a:pt x="1" y="89"/>
                  </a:cubicBezTo>
                  <a:cubicBezTo>
                    <a:pt x="1" y="89"/>
                    <a:pt x="1" y="89"/>
                    <a:pt x="1" y="89"/>
                  </a:cubicBezTo>
                  <a:cubicBezTo>
                    <a:pt x="2" y="89"/>
                    <a:pt x="2" y="89"/>
                    <a:pt x="2" y="89"/>
                  </a:cubicBezTo>
                  <a:cubicBezTo>
                    <a:pt x="2" y="89"/>
                    <a:pt x="2" y="89"/>
                    <a:pt x="3" y="89"/>
                  </a:cubicBezTo>
                  <a:cubicBezTo>
                    <a:pt x="3" y="89"/>
                    <a:pt x="4" y="89"/>
                    <a:pt x="4" y="90"/>
                  </a:cubicBezTo>
                  <a:cubicBezTo>
                    <a:pt x="6" y="91"/>
                    <a:pt x="6" y="98"/>
                    <a:pt x="7" y="100"/>
                  </a:cubicBezTo>
                  <a:cubicBezTo>
                    <a:pt x="7" y="103"/>
                    <a:pt x="8" y="106"/>
                    <a:pt x="9" y="109"/>
                  </a:cubicBezTo>
                  <a:cubicBezTo>
                    <a:pt x="10" y="114"/>
                    <a:pt x="11" y="118"/>
                    <a:pt x="14" y="122"/>
                  </a:cubicBezTo>
                  <a:cubicBezTo>
                    <a:pt x="16" y="127"/>
                    <a:pt x="15" y="128"/>
                    <a:pt x="15" y="133"/>
                  </a:cubicBezTo>
                  <a:cubicBezTo>
                    <a:pt x="15" y="134"/>
                    <a:pt x="14" y="135"/>
                    <a:pt x="15" y="136"/>
                  </a:cubicBezTo>
                  <a:cubicBezTo>
                    <a:pt x="16" y="141"/>
                    <a:pt x="18" y="145"/>
                    <a:pt x="20" y="149"/>
                  </a:cubicBezTo>
                  <a:cubicBezTo>
                    <a:pt x="20" y="150"/>
                    <a:pt x="23" y="150"/>
                    <a:pt x="27" y="150"/>
                  </a:cubicBezTo>
                  <a:cubicBezTo>
                    <a:pt x="29" y="150"/>
                    <a:pt x="33" y="150"/>
                    <a:pt x="35" y="150"/>
                  </a:cubicBezTo>
                  <a:cubicBezTo>
                    <a:pt x="38" y="150"/>
                    <a:pt x="41" y="150"/>
                    <a:pt x="41" y="150"/>
                  </a:cubicBezTo>
                  <a:cubicBezTo>
                    <a:pt x="41" y="150"/>
                    <a:pt x="41" y="150"/>
                    <a:pt x="41" y="150"/>
                  </a:cubicBezTo>
                  <a:cubicBezTo>
                    <a:pt x="42" y="150"/>
                    <a:pt x="42" y="150"/>
                    <a:pt x="42" y="150"/>
                  </a:cubicBezTo>
                  <a:cubicBezTo>
                    <a:pt x="43" y="150"/>
                    <a:pt x="44" y="149"/>
                    <a:pt x="45" y="148"/>
                  </a:cubicBezTo>
                  <a:cubicBezTo>
                    <a:pt x="47" y="148"/>
                    <a:pt x="48" y="147"/>
                    <a:pt x="49" y="147"/>
                  </a:cubicBezTo>
                  <a:cubicBezTo>
                    <a:pt x="49" y="147"/>
                    <a:pt x="49" y="147"/>
                    <a:pt x="49" y="147"/>
                  </a:cubicBezTo>
                  <a:cubicBezTo>
                    <a:pt x="52" y="147"/>
                    <a:pt x="54" y="148"/>
                    <a:pt x="56" y="148"/>
                  </a:cubicBezTo>
                  <a:cubicBezTo>
                    <a:pt x="57" y="148"/>
                    <a:pt x="57" y="148"/>
                    <a:pt x="58" y="148"/>
                  </a:cubicBezTo>
                  <a:cubicBezTo>
                    <a:pt x="57" y="142"/>
                    <a:pt x="65" y="140"/>
                    <a:pt x="69" y="136"/>
                  </a:cubicBezTo>
                  <a:cubicBezTo>
                    <a:pt x="72" y="133"/>
                    <a:pt x="74" y="133"/>
                    <a:pt x="78" y="133"/>
                  </a:cubicBezTo>
                  <a:cubicBezTo>
                    <a:pt x="87" y="131"/>
                    <a:pt x="97" y="129"/>
                    <a:pt x="106" y="128"/>
                  </a:cubicBezTo>
                  <a:cubicBezTo>
                    <a:pt x="112" y="126"/>
                    <a:pt x="117" y="123"/>
                    <a:pt x="122" y="119"/>
                  </a:cubicBezTo>
                  <a:cubicBezTo>
                    <a:pt x="125" y="118"/>
                    <a:pt x="126" y="117"/>
                    <a:pt x="128" y="117"/>
                  </a:cubicBezTo>
                  <a:cubicBezTo>
                    <a:pt x="129" y="117"/>
                    <a:pt x="131" y="118"/>
                    <a:pt x="133" y="118"/>
                  </a:cubicBezTo>
                  <a:cubicBezTo>
                    <a:pt x="133" y="118"/>
                    <a:pt x="134" y="118"/>
                    <a:pt x="136" y="118"/>
                  </a:cubicBezTo>
                  <a:cubicBezTo>
                    <a:pt x="138" y="118"/>
                    <a:pt x="142" y="118"/>
                    <a:pt x="143" y="117"/>
                  </a:cubicBezTo>
                  <a:cubicBezTo>
                    <a:pt x="145" y="114"/>
                    <a:pt x="148" y="111"/>
                    <a:pt x="150" y="108"/>
                  </a:cubicBezTo>
                  <a:cubicBezTo>
                    <a:pt x="153" y="105"/>
                    <a:pt x="156" y="104"/>
                    <a:pt x="160" y="102"/>
                  </a:cubicBezTo>
                  <a:cubicBezTo>
                    <a:pt x="163" y="101"/>
                    <a:pt x="166" y="100"/>
                    <a:pt x="169" y="99"/>
                  </a:cubicBezTo>
                  <a:cubicBezTo>
                    <a:pt x="176" y="97"/>
                    <a:pt x="182" y="95"/>
                    <a:pt x="189" y="93"/>
                  </a:cubicBezTo>
                  <a:cubicBezTo>
                    <a:pt x="195" y="91"/>
                    <a:pt x="200" y="91"/>
                    <a:pt x="206" y="88"/>
                  </a:cubicBezTo>
                  <a:cubicBezTo>
                    <a:pt x="210" y="86"/>
                    <a:pt x="214" y="84"/>
                    <a:pt x="219" y="82"/>
                  </a:cubicBezTo>
                  <a:cubicBezTo>
                    <a:pt x="220" y="82"/>
                    <a:pt x="226" y="80"/>
                    <a:pt x="226" y="79"/>
                  </a:cubicBezTo>
                  <a:cubicBezTo>
                    <a:pt x="227" y="78"/>
                    <a:pt x="226" y="77"/>
                    <a:pt x="226" y="76"/>
                  </a:cubicBezTo>
                  <a:cubicBezTo>
                    <a:pt x="226" y="75"/>
                    <a:pt x="226" y="74"/>
                    <a:pt x="226" y="74"/>
                  </a:cubicBezTo>
                  <a:cubicBezTo>
                    <a:pt x="226" y="73"/>
                    <a:pt x="225" y="73"/>
                    <a:pt x="225" y="73"/>
                  </a:cubicBezTo>
                  <a:cubicBezTo>
                    <a:pt x="225" y="69"/>
                    <a:pt x="228" y="66"/>
                    <a:pt x="230" y="63"/>
                  </a:cubicBezTo>
                  <a:cubicBezTo>
                    <a:pt x="232" y="60"/>
                    <a:pt x="233" y="59"/>
                    <a:pt x="237" y="58"/>
                  </a:cubicBezTo>
                  <a:cubicBezTo>
                    <a:pt x="239" y="57"/>
                    <a:pt x="242" y="56"/>
                    <a:pt x="244" y="55"/>
                  </a:cubicBezTo>
                  <a:cubicBezTo>
                    <a:pt x="238" y="43"/>
                    <a:pt x="232" y="29"/>
                    <a:pt x="226" y="16"/>
                  </a:cubicBezTo>
                  <a:cubicBezTo>
                    <a:pt x="219" y="0"/>
                    <a:pt x="219" y="0"/>
                    <a:pt x="2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1" name="Freeform 300">
              <a:extLst>
                <a:ext uri="{FF2B5EF4-FFF2-40B4-BE49-F238E27FC236}">
                  <a16:creationId xmlns:a16="http://schemas.microsoft.com/office/drawing/2014/main" id="{5DDAA1E5-546B-4F2F-BBAF-352A3CF5B909}"/>
                </a:ext>
              </a:extLst>
            </p:cNvPr>
            <p:cNvSpPr>
              <a:spLocks/>
            </p:cNvSpPr>
            <p:nvPr/>
          </p:nvSpPr>
          <p:spPr bwMode="auto">
            <a:xfrm>
              <a:off x="6544" y="1278"/>
              <a:ext cx="253" cy="184"/>
            </a:xfrm>
            <a:custGeom>
              <a:avLst/>
              <a:gdLst>
                <a:gd name="T0" fmla="*/ 97 w 107"/>
                <a:gd name="T1" fmla="*/ 0 h 78"/>
                <a:gd name="T2" fmla="*/ 92 w 107"/>
                <a:gd name="T3" fmla="*/ 7 h 78"/>
                <a:gd name="T4" fmla="*/ 86 w 107"/>
                <a:gd name="T5" fmla="*/ 13 h 78"/>
                <a:gd name="T6" fmla="*/ 70 w 107"/>
                <a:gd name="T7" fmla="*/ 28 h 78"/>
                <a:gd name="T8" fmla="*/ 65 w 107"/>
                <a:gd name="T9" fmla="*/ 34 h 78"/>
                <a:gd name="T10" fmla="*/ 60 w 107"/>
                <a:gd name="T11" fmla="*/ 42 h 78"/>
                <a:gd name="T12" fmla="*/ 58 w 107"/>
                <a:gd name="T13" fmla="*/ 43 h 78"/>
                <a:gd name="T14" fmla="*/ 53 w 107"/>
                <a:gd name="T15" fmla="*/ 42 h 78"/>
                <a:gd name="T16" fmla="*/ 45 w 107"/>
                <a:gd name="T17" fmla="*/ 47 h 78"/>
                <a:gd name="T18" fmla="*/ 44 w 107"/>
                <a:gd name="T19" fmla="*/ 48 h 78"/>
                <a:gd name="T20" fmla="*/ 39 w 107"/>
                <a:gd name="T21" fmla="*/ 47 h 78"/>
                <a:gd name="T22" fmla="*/ 31 w 107"/>
                <a:gd name="T23" fmla="*/ 46 h 78"/>
                <a:gd name="T24" fmla="*/ 21 w 107"/>
                <a:gd name="T25" fmla="*/ 47 h 78"/>
                <a:gd name="T26" fmla="*/ 4 w 107"/>
                <a:gd name="T27" fmla="*/ 50 h 78"/>
                <a:gd name="T28" fmla="*/ 0 w 107"/>
                <a:gd name="T29" fmla="*/ 49 h 78"/>
                <a:gd name="T30" fmla="*/ 3 w 107"/>
                <a:gd name="T31" fmla="*/ 52 h 78"/>
                <a:gd name="T32" fmla="*/ 4 w 107"/>
                <a:gd name="T33" fmla="*/ 54 h 78"/>
                <a:gd name="T34" fmla="*/ 7 w 107"/>
                <a:gd name="T35" fmla="*/ 58 h 78"/>
                <a:gd name="T36" fmla="*/ 11 w 107"/>
                <a:gd name="T37" fmla="*/ 62 h 78"/>
                <a:gd name="T38" fmla="*/ 19 w 107"/>
                <a:gd name="T39" fmla="*/ 72 h 78"/>
                <a:gd name="T40" fmla="*/ 77 w 107"/>
                <a:gd name="T41" fmla="*/ 78 h 78"/>
                <a:gd name="T42" fmla="*/ 77 w 107"/>
                <a:gd name="T43" fmla="*/ 75 h 78"/>
                <a:gd name="T44" fmla="*/ 78 w 107"/>
                <a:gd name="T45" fmla="*/ 74 h 78"/>
                <a:gd name="T46" fmla="*/ 79 w 107"/>
                <a:gd name="T47" fmla="*/ 68 h 78"/>
                <a:gd name="T48" fmla="*/ 81 w 107"/>
                <a:gd name="T49" fmla="*/ 58 h 78"/>
                <a:gd name="T50" fmla="*/ 81 w 107"/>
                <a:gd name="T51" fmla="*/ 56 h 78"/>
                <a:gd name="T52" fmla="*/ 81 w 107"/>
                <a:gd name="T53" fmla="*/ 55 h 78"/>
                <a:gd name="T54" fmla="*/ 82 w 107"/>
                <a:gd name="T55" fmla="*/ 54 h 78"/>
                <a:gd name="T56" fmla="*/ 87 w 107"/>
                <a:gd name="T57" fmla="*/ 46 h 78"/>
                <a:gd name="T58" fmla="*/ 89 w 107"/>
                <a:gd name="T59" fmla="*/ 45 h 78"/>
                <a:gd name="T60" fmla="*/ 90 w 107"/>
                <a:gd name="T61" fmla="*/ 45 h 78"/>
                <a:gd name="T62" fmla="*/ 91 w 107"/>
                <a:gd name="T63" fmla="*/ 45 h 78"/>
                <a:gd name="T64" fmla="*/ 91 w 107"/>
                <a:gd name="T65" fmla="*/ 45 h 78"/>
                <a:gd name="T66" fmla="*/ 91 w 107"/>
                <a:gd name="T67" fmla="*/ 45 h 78"/>
                <a:gd name="T68" fmla="*/ 90 w 107"/>
                <a:gd name="T69" fmla="*/ 43 h 78"/>
                <a:gd name="T70" fmla="*/ 92 w 107"/>
                <a:gd name="T71" fmla="*/ 29 h 78"/>
                <a:gd name="T72" fmla="*/ 93 w 107"/>
                <a:gd name="T73" fmla="*/ 27 h 78"/>
                <a:gd name="T74" fmla="*/ 99 w 107"/>
                <a:gd name="T75" fmla="*/ 27 h 78"/>
                <a:gd name="T76" fmla="*/ 103 w 107"/>
                <a:gd name="T77" fmla="*/ 25 h 78"/>
                <a:gd name="T78" fmla="*/ 104 w 107"/>
                <a:gd name="T79" fmla="*/ 22 h 78"/>
                <a:gd name="T80" fmla="*/ 105 w 107"/>
                <a:gd name="T81" fmla="*/ 21 h 78"/>
                <a:gd name="T82" fmla="*/ 106 w 107"/>
                <a:gd name="T83" fmla="*/ 22 h 78"/>
                <a:gd name="T84" fmla="*/ 106 w 107"/>
                <a:gd name="T85" fmla="*/ 21 h 78"/>
                <a:gd name="T86" fmla="*/ 107 w 107"/>
                <a:gd name="T87" fmla="*/ 21 h 78"/>
                <a:gd name="T88" fmla="*/ 107 w 107"/>
                <a:gd name="T89" fmla="*/ 15 h 78"/>
                <a:gd name="T90" fmla="*/ 105 w 107"/>
                <a:gd name="T91" fmla="*/ 11 h 78"/>
                <a:gd name="T92" fmla="*/ 103 w 107"/>
                <a:gd name="T93" fmla="*/ 11 h 78"/>
                <a:gd name="T94" fmla="*/ 101 w 107"/>
                <a:gd name="T95" fmla="*/ 11 h 78"/>
                <a:gd name="T96" fmla="*/ 97 w 107"/>
                <a:gd name="T97" fmla="*/ 0 h 78"/>
                <a:gd name="T98" fmla="*/ 97 w 107"/>
                <a:gd name="T9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7" h="78">
                  <a:moveTo>
                    <a:pt x="97" y="0"/>
                  </a:moveTo>
                  <a:cubicBezTo>
                    <a:pt x="96" y="2"/>
                    <a:pt x="94" y="5"/>
                    <a:pt x="92" y="7"/>
                  </a:cubicBezTo>
                  <a:cubicBezTo>
                    <a:pt x="91" y="9"/>
                    <a:pt x="87" y="11"/>
                    <a:pt x="86" y="13"/>
                  </a:cubicBezTo>
                  <a:cubicBezTo>
                    <a:pt x="80" y="18"/>
                    <a:pt x="76" y="24"/>
                    <a:pt x="70" y="28"/>
                  </a:cubicBezTo>
                  <a:cubicBezTo>
                    <a:pt x="67" y="30"/>
                    <a:pt x="66" y="31"/>
                    <a:pt x="65" y="34"/>
                  </a:cubicBezTo>
                  <a:cubicBezTo>
                    <a:pt x="63" y="37"/>
                    <a:pt x="62" y="41"/>
                    <a:pt x="60" y="42"/>
                  </a:cubicBezTo>
                  <a:cubicBezTo>
                    <a:pt x="59" y="43"/>
                    <a:pt x="58" y="43"/>
                    <a:pt x="58" y="43"/>
                  </a:cubicBezTo>
                  <a:cubicBezTo>
                    <a:pt x="56" y="43"/>
                    <a:pt x="54" y="42"/>
                    <a:pt x="53" y="42"/>
                  </a:cubicBezTo>
                  <a:cubicBezTo>
                    <a:pt x="56" y="45"/>
                    <a:pt x="48" y="47"/>
                    <a:pt x="45" y="47"/>
                  </a:cubicBezTo>
                  <a:cubicBezTo>
                    <a:pt x="45" y="48"/>
                    <a:pt x="44" y="48"/>
                    <a:pt x="44" y="48"/>
                  </a:cubicBezTo>
                  <a:cubicBezTo>
                    <a:pt x="42" y="48"/>
                    <a:pt x="41" y="47"/>
                    <a:pt x="39" y="47"/>
                  </a:cubicBezTo>
                  <a:cubicBezTo>
                    <a:pt x="37" y="46"/>
                    <a:pt x="34" y="46"/>
                    <a:pt x="31" y="46"/>
                  </a:cubicBezTo>
                  <a:cubicBezTo>
                    <a:pt x="27" y="46"/>
                    <a:pt x="24" y="46"/>
                    <a:pt x="21" y="47"/>
                  </a:cubicBezTo>
                  <a:cubicBezTo>
                    <a:pt x="18" y="47"/>
                    <a:pt x="10" y="50"/>
                    <a:pt x="4" y="50"/>
                  </a:cubicBezTo>
                  <a:cubicBezTo>
                    <a:pt x="3" y="50"/>
                    <a:pt x="1" y="50"/>
                    <a:pt x="0" y="49"/>
                  </a:cubicBezTo>
                  <a:cubicBezTo>
                    <a:pt x="1" y="50"/>
                    <a:pt x="2" y="51"/>
                    <a:pt x="3" y="52"/>
                  </a:cubicBezTo>
                  <a:cubicBezTo>
                    <a:pt x="4" y="54"/>
                    <a:pt x="4" y="54"/>
                    <a:pt x="4" y="54"/>
                  </a:cubicBezTo>
                  <a:cubicBezTo>
                    <a:pt x="5" y="55"/>
                    <a:pt x="7" y="58"/>
                    <a:pt x="7" y="58"/>
                  </a:cubicBezTo>
                  <a:cubicBezTo>
                    <a:pt x="11" y="62"/>
                    <a:pt x="11" y="62"/>
                    <a:pt x="11" y="62"/>
                  </a:cubicBezTo>
                  <a:cubicBezTo>
                    <a:pt x="13" y="66"/>
                    <a:pt x="16" y="69"/>
                    <a:pt x="19" y="72"/>
                  </a:cubicBezTo>
                  <a:cubicBezTo>
                    <a:pt x="77" y="78"/>
                    <a:pt x="77" y="78"/>
                    <a:pt x="77" y="78"/>
                  </a:cubicBezTo>
                  <a:cubicBezTo>
                    <a:pt x="77" y="77"/>
                    <a:pt x="77" y="76"/>
                    <a:pt x="77" y="75"/>
                  </a:cubicBezTo>
                  <a:cubicBezTo>
                    <a:pt x="78" y="75"/>
                    <a:pt x="78" y="74"/>
                    <a:pt x="78" y="74"/>
                  </a:cubicBezTo>
                  <a:cubicBezTo>
                    <a:pt x="79" y="68"/>
                    <a:pt x="79" y="68"/>
                    <a:pt x="79" y="68"/>
                  </a:cubicBezTo>
                  <a:cubicBezTo>
                    <a:pt x="80" y="65"/>
                    <a:pt x="80" y="61"/>
                    <a:pt x="81" y="58"/>
                  </a:cubicBezTo>
                  <a:cubicBezTo>
                    <a:pt x="81" y="57"/>
                    <a:pt x="81" y="57"/>
                    <a:pt x="81" y="56"/>
                  </a:cubicBezTo>
                  <a:cubicBezTo>
                    <a:pt x="81" y="55"/>
                    <a:pt x="81" y="55"/>
                    <a:pt x="81" y="55"/>
                  </a:cubicBezTo>
                  <a:cubicBezTo>
                    <a:pt x="82" y="55"/>
                    <a:pt x="82" y="54"/>
                    <a:pt x="82" y="54"/>
                  </a:cubicBezTo>
                  <a:cubicBezTo>
                    <a:pt x="82" y="51"/>
                    <a:pt x="83" y="48"/>
                    <a:pt x="87" y="46"/>
                  </a:cubicBezTo>
                  <a:cubicBezTo>
                    <a:pt x="88" y="46"/>
                    <a:pt x="89" y="45"/>
                    <a:pt x="89" y="45"/>
                  </a:cubicBezTo>
                  <a:cubicBezTo>
                    <a:pt x="90" y="45"/>
                    <a:pt x="90" y="45"/>
                    <a:pt x="90" y="45"/>
                  </a:cubicBezTo>
                  <a:cubicBezTo>
                    <a:pt x="91" y="45"/>
                    <a:pt x="91" y="45"/>
                    <a:pt x="91" y="45"/>
                  </a:cubicBezTo>
                  <a:cubicBezTo>
                    <a:pt x="91" y="45"/>
                    <a:pt x="91" y="45"/>
                    <a:pt x="91" y="45"/>
                  </a:cubicBezTo>
                  <a:cubicBezTo>
                    <a:pt x="91" y="45"/>
                    <a:pt x="91" y="45"/>
                    <a:pt x="91" y="45"/>
                  </a:cubicBezTo>
                  <a:cubicBezTo>
                    <a:pt x="90" y="44"/>
                    <a:pt x="90" y="44"/>
                    <a:pt x="90" y="43"/>
                  </a:cubicBezTo>
                  <a:cubicBezTo>
                    <a:pt x="90" y="37"/>
                    <a:pt x="91" y="33"/>
                    <a:pt x="92" y="29"/>
                  </a:cubicBezTo>
                  <a:cubicBezTo>
                    <a:pt x="93" y="27"/>
                    <a:pt x="93" y="27"/>
                    <a:pt x="93" y="27"/>
                  </a:cubicBezTo>
                  <a:cubicBezTo>
                    <a:pt x="99" y="27"/>
                    <a:pt x="99" y="27"/>
                    <a:pt x="99" y="27"/>
                  </a:cubicBezTo>
                  <a:cubicBezTo>
                    <a:pt x="101" y="26"/>
                    <a:pt x="102" y="25"/>
                    <a:pt x="103" y="25"/>
                  </a:cubicBezTo>
                  <a:cubicBezTo>
                    <a:pt x="103" y="25"/>
                    <a:pt x="104" y="24"/>
                    <a:pt x="104" y="22"/>
                  </a:cubicBezTo>
                  <a:cubicBezTo>
                    <a:pt x="105" y="21"/>
                    <a:pt x="105" y="21"/>
                    <a:pt x="105" y="21"/>
                  </a:cubicBezTo>
                  <a:cubicBezTo>
                    <a:pt x="106" y="22"/>
                    <a:pt x="106" y="22"/>
                    <a:pt x="106" y="22"/>
                  </a:cubicBezTo>
                  <a:cubicBezTo>
                    <a:pt x="106" y="21"/>
                    <a:pt x="106" y="21"/>
                    <a:pt x="106" y="21"/>
                  </a:cubicBezTo>
                  <a:cubicBezTo>
                    <a:pt x="107" y="21"/>
                    <a:pt x="107" y="21"/>
                    <a:pt x="107" y="21"/>
                  </a:cubicBezTo>
                  <a:cubicBezTo>
                    <a:pt x="107" y="19"/>
                    <a:pt x="107" y="16"/>
                    <a:pt x="107" y="15"/>
                  </a:cubicBezTo>
                  <a:cubicBezTo>
                    <a:pt x="106" y="14"/>
                    <a:pt x="106" y="12"/>
                    <a:pt x="105" y="11"/>
                  </a:cubicBezTo>
                  <a:cubicBezTo>
                    <a:pt x="104" y="11"/>
                    <a:pt x="104" y="11"/>
                    <a:pt x="103" y="11"/>
                  </a:cubicBezTo>
                  <a:cubicBezTo>
                    <a:pt x="102" y="11"/>
                    <a:pt x="102" y="11"/>
                    <a:pt x="101" y="11"/>
                  </a:cubicBezTo>
                  <a:cubicBezTo>
                    <a:pt x="98" y="9"/>
                    <a:pt x="98" y="4"/>
                    <a:pt x="97" y="0"/>
                  </a:cubicBezTo>
                  <a:cubicBezTo>
                    <a:pt x="97" y="0"/>
                    <a:pt x="97" y="0"/>
                    <a:pt x="9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2" name="Freeform 301">
              <a:extLst>
                <a:ext uri="{FF2B5EF4-FFF2-40B4-BE49-F238E27FC236}">
                  <a16:creationId xmlns:a16="http://schemas.microsoft.com/office/drawing/2014/main" id="{19EE16B3-7EBC-4AAA-98D1-CE2206572849}"/>
                </a:ext>
              </a:extLst>
            </p:cNvPr>
            <p:cNvSpPr>
              <a:spLocks/>
            </p:cNvSpPr>
            <p:nvPr/>
          </p:nvSpPr>
          <p:spPr bwMode="auto">
            <a:xfrm>
              <a:off x="5580" y="911"/>
              <a:ext cx="1165" cy="915"/>
            </a:xfrm>
            <a:custGeom>
              <a:avLst/>
              <a:gdLst>
                <a:gd name="T0" fmla="*/ 96 w 493"/>
                <a:gd name="T1" fmla="*/ 5 h 387"/>
                <a:gd name="T2" fmla="*/ 79 w 493"/>
                <a:gd name="T3" fmla="*/ 31 h 387"/>
                <a:gd name="T4" fmla="*/ 83 w 493"/>
                <a:gd name="T5" fmla="*/ 35 h 387"/>
                <a:gd name="T6" fmla="*/ 65 w 493"/>
                <a:gd name="T7" fmla="*/ 56 h 387"/>
                <a:gd name="T8" fmla="*/ 59 w 493"/>
                <a:gd name="T9" fmla="*/ 57 h 387"/>
                <a:gd name="T10" fmla="*/ 44 w 493"/>
                <a:gd name="T11" fmla="*/ 70 h 387"/>
                <a:gd name="T12" fmla="*/ 29 w 493"/>
                <a:gd name="T13" fmla="*/ 75 h 387"/>
                <a:gd name="T14" fmla="*/ 12 w 493"/>
                <a:gd name="T15" fmla="*/ 72 h 387"/>
                <a:gd name="T16" fmla="*/ 3 w 493"/>
                <a:gd name="T17" fmla="*/ 103 h 387"/>
                <a:gd name="T18" fmla="*/ 6 w 493"/>
                <a:gd name="T19" fmla="*/ 101 h 387"/>
                <a:gd name="T20" fmla="*/ 10 w 493"/>
                <a:gd name="T21" fmla="*/ 101 h 387"/>
                <a:gd name="T22" fmla="*/ 33 w 493"/>
                <a:gd name="T23" fmla="*/ 128 h 387"/>
                <a:gd name="T24" fmla="*/ 65 w 493"/>
                <a:gd name="T25" fmla="*/ 176 h 387"/>
                <a:gd name="T26" fmla="*/ 90 w 493"/>
                <a:gd name="T27" fmla="*/ 207 h 387"/>
                <a:gd name="T28" fmla="*/ 109 w 493"/>
                <a:gd name="T29" fmla="*/ 244 h 387"/>
                <a:gd name="T30" fmla="*/ 116 w 493"/>
                <a:gd name="T31" fmla="*/ 284 h 387"/>
                <a:gd name="T32" fmla="*/ 138 w 493"/>
                <a:gd name="T33" fmla="*/ 301 h 387"/>
                <a:gd name="T34" fmla="*/ 181 w 493"/>
                <a:gd name="T35" fmla="*/ 362 h 387"/>
                <a:gd name="T36" fmla="*/ 200 w 493"/>
                <a:gd name="T37" fmla="*/ 383 h 387"/>
                <a:gd name="T38" fmla="*/ 200 w 493"/>
                <a:gd name="T39" fmla="*/ 375 h 387"/>
                <a:gd name="T40" fmla="*/ 209 w 493"/>
                <a:gd name="T41" fmla="*/ 361 h 387"/>
                <a:gd name="T42" fmla="*/ 221 w 493"/>
                <a:gd name="T43" fmla="*/ 365 h 387"/>
                <a:gd name="T44" fmla="*/ 227 w 493"/>
                <a:gd name="T45" fmla="*/ 365 h 387"/>
                <a:gd name="T46" fmla="*/ 246 w 493"/>
                <a:gd name="T47" fmla="*/ 363 h 387"/>
                <a:gd name="T48" fmla="*/ 286 w 493"/>
                <a:gd name="T49" fmla="*/ 366 h 387"/>
                <a:gd name="T50" fmla="*/ 294 w 493"/>
                <a:gd name="T51" fmla="*/ 372 h 387"/>
                <a:gd name="T52" fmla="*/ 297 w 493"/>
                <a:gd name="T53" fmla="*/ 373 h 387"/>
                <a:gd name="T54" fmla="*/ 321 w 493"/>
                <a:gd name="T55" fmla="*/ 345 h 387"/>
                <a:gd name="T56" fmla="*/ 365 w 493"/>
                <a:gd name="T57" fmla="*/ 331 h 387"/>
                <a:gd name="T58" fmla="*/ 412 w 493"/>
                <a:gd name="T59" fmla="*/ 324 h 387"/>
                <a:gd name="T60" fmla="*/ 480 w 493"/>
                <a:gd name="T61" fmla="*/ 300 h 387"/>
                <a:gd name="T62" fmla="*/ 483 w 493"/>
                <a:gd name="T63" fmla="*/ 292 h 387"/>
                <a:gd name="T64" fmla="*/ 491 w 493"/>
                <a:gd name="T65" fmla="*/ 267 h 387"/>
                <a:gd name="T66" fmla="*/ 492 w 493"/>
                <a:gd name="T67" fmla="*/ 252 h 387"/>
                <a:gd name="T68" fmla="*/ 487 w 493"/>
                <a:gd name="T69" fmla="*/ 242 h 387"/>
                <a:gd name="T70" fmla="*/ 425 w 493"/>
                <a:gd name="T71" fmla="*/ 233 h 387"/>
                <a:gd name="T72" fmla="*/ 406 w 493"/>
                <a:gd name="T73" fmla="*/ 211 h 387"/>
                <a:gd name="T74" fmla="*/ 396 w 493"/>
                <a:gd name="T75" fmla="*/ 193 h 387"/>
                <a:gd name="T76" fmla="*/ 399 w 493"/>
                <a:gd name="T77" fmla="*/ 188 h 387"/>
                <a:gd name="T78" fmla="*/ 394 w 493"/>
                <a:gd name="T79" fmla="*/ 189 h 387"/>
                <a:gd name="T80" fmla="*/ 389 w 493"/>
                <a:gd name="T81" fmla="*/ 189 h 387"/>
                <a:gd name="T82" fmla="*/ 384 w 493"/>
                <a:gd name="T83" fmla="*/ 185 h 387"/>
                <a:gd name="T84" fmla="*/ 364 w 493"/>
                <a:gd name="T85" fmla="*/ 154 h 387"/>
                <a:gd name="T86" fmla="*/ 369 w 493"/>
                <a:gd name="T87" fmla="*/ 144 h 387"/>
                <a:gd name="T88" fmla="*/ 363 w 493"/>
                <a:gd name="T89" fmla="*/ 132 h 387"/>
                <a:gd name="T90" fmla="*/ 353 w 493"/>
                <a:gd name="T91" fmla="*/ 125 h 387"/>
                <a:gd name="T92" fmla="*/ 345 w 493"/>
                <a:gd name="T93" fmla="*/ 115 h 387"/>
                <a:gd name="T94" fmla="*/ 336 w 493"/>
                <a:gd name="T95" fmla="*/ 111 h 387"/>
                <a:gd name="T96" fmla="*/ 327 w 493"/>
                <a:gd name="T97" fmla="*/ 92 h 387"/>
                <a:gd name="T98" fmla="*/ 323 w 493"/>
                <a:gd name="T99" fmla="*/ 93 h 387"/>
                <a:gd name="T100" fmla="*/ 305 w 493"/>
                <a:gd name="T101" fmla="*/ 86 h 387"/>
                <a:gd name="T102" fmla="*/ 305 w 493"/>
                <a:gd name="T103" fmla="*/ 85 h 387"/>
                <a:gd name="T104" fmla="*/ 304 w 493"/>
                <a:gd name="T105" fmla="*/ 83 h 387"/>
                <a:gd name="T106" fmla="*/ 283 w 493"/>
                <a:gd name="T107" fmla="*/ 78 h 387"/>
                <a:gd name="T108" fmla="*/ 277 w 493"/>
                <a:gd name="T109" fmla="*/ 79 h 387"/>
                <a:gd name="T110" fmla="*/ 227 w 493"/>
                <a:gd name="T111" fmla="*/ 65 h 387"/>
                <a:gd name="T112" fmla="*/ 177 w 493"/>
                <a:gd name="T113" fmla="*/ 27 h 387"/>
                <a:gd name="T114" fmla="*/ 143 w 493"/>
                <a:gd name="T115" fmla="*/ 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3" h="387">
                  <a:moveTo>
                    <a:pt x="110" y="0"/>
                  </a:moveTo>
                  <a:cubicBezTo>
                    <a:pt x="109" y="0"/>
                    <a:pt x="109" y="0"/>
                    <a:pt x="109" y="0"/>
                  </a:cubicBezTo>
                  <a:cubicBezTo>
                    <a:pt x="105" y="2"/>
                    <a:pt x="101" y="3"/>
                    <a:pt x="97" y="5"/>
                  </a:cubicBezTo>
                  <a:cubicBezTo>
                    <a:pt x="96" y="5"/>
                    <a:pt x="96" y="5"/>
                    <a:pt x="96" y="5"/>
                  </a:cubicBezTo>
                  <a:cubicBezTo>
                    <a:pt x="94" y="5"/>
                    <a:pt x="92" y="6"/>
                    <a:pt x="91" y="7"/>
                  </a:cubicBezTo>
                  <a:cubicBezTo>
                    <a:pt x="83" y="9"/>
                    <a:pt x="75" y="12"/>
                    <a:pt x="67" y="14"/>
                  </a:cubicBezTo>
                  <a:cubicBezTo>
                    <a:pt x="64" y="15"/>
                    <a:pt x="64" y="15"/>
                    <a:pt x="64" y="15"/>
                  </a:cubicBezTo>
                  <a:cubicBezTo>
                    <a:pt x="69" y="20"/>
                    <a:pt x="74" y="25"/>
                    <a:pt x="79" y="31"/>
                  </a:cubicBezTo>
                  <a:cubicBezTo>
                    <a:pt x="79" y="31"/>
                    <a:pt x="80" y="32"/>
                    <a:pt x="80" y="32"/>
                  </a:cubicBezTo>
                  <a:cubicBezTo>
                    <a:pt x="81" y="33"/>
                    <a:pt x="81" y="33"/>
                    <a:pt x="81" y="33"/>
                  </a:cubicBezTo>
                  <a:cubicBezTo>
                    <a:pt x="81" y="33"/>
                    <a:pt x="82" y="34"/>
                    <a:pt x="82" y="34"/>
                  </a:cubicBezTo>
                  <a:cubicBezTo>
                    <a:pt x="83" y="34"/>
                    <a:pt x="83" y="35"/>
                    <a:pt x="83" y="35"/>
                  </a:cubicBezTo>
                  <a:cubicBezTo>
                    <a:pt x="85" y="37"/>
                    <a:pt x="85" y="38"/>
                    <a:pt x="85" y="39"/>
                  </a:cubicBezTo>
                  <a:cubicBezTo>
                    <a:pt x="85" y="40"/>
                    <a:pt x="85" y="42"/>
                    <a:pt x="74" y="52"/>
                  </a:cubicBezTo>
                  <a:cubicBezTo>
                    <a:pt x="73" y="53"/>
                    <a:pt x="73" y="54"/>
                    <a:pt x="72" y="54"/>
                  </a:cubicBezTo>
                  <a:cubicBezTo>
                    <a:pt x="70" y="56"/>
                    <a:pt x="67" y="56"/>
                    <a:pt x="65" y="56"/>
                  </a:cubicBezTo>
                  <a:cubicBezTo>
                    <a:pt x="64" y="56"/>
                    <a:pt x="64" y="56"/>
                    <a:pt x="64" y="56"/>
                  </a:cubicBezTo>
                  <a:cubicBezTo>
                    <a:pt x="63" y="56"/>
                    <a:pt x="63" y="57"/>
                    <a:pt x="62" y="57"/>
                  </a:cubicBezTo>
                  <a:cubicBezTo>
                    <a:pt x="61" y="57"/>
                    <a:pt x="60" y="57"/>
                    <a:pt x="60" y="57"/>
                  </a:cubicBezTo>
                  <a:cubicBezTo>
                    <a:pt x="59" y="57"/>
                    <a:pt x="59" y="57"/>
                    <a:pt x="59" y="57"/>
                  </a:cubicBezTo>
                  <a:cubicBezTo>
                    <a:pt x="58" y="57"/>
                    <a:pt x="57" y="58"/>
                    <a:pt x="56" y="58"/>
                  </a:cubicBezTo>
                  <a:cubicBezTo>
                    <a:pt x="53" y="59"/>
                    <a:pt x="51" y="61"/>
                    <a:pt x="49" y="63"/>
                  </a:cubicBezTo>
                  <a:cubicBezTo>
                    <a:pt x="49" y="64"/>
                    <a:pt x="48" y="65"/>
                    <a:pt x="47" y="66"/>
                  </a:cubicBezTo>
                  <a:cubicBezTo>
                    <a:pt x="44" y="70"/>
                    <a:pt x="44" y="70"/>
                    <a:pt x="44" y="70"/>
                  </a:cubicBezTo>
                  <a:cubicBezTo>
                    <a:pt x="42" y="73"/>
                    <a:pt x="40" y="74"/>
                    <a:pt x="39" y="75"/>
                  </a:cubicBezTo>
                  <a:cubicBezTo>
                    <a:pt x="38" y="76"/>
                    <a:pt x="37" y="76"/>
                    <a:pt x="36" y="76"/>
                  </a:cubicBezTo>
                  <a:cubicBezTo>
                    <a:pt x="35" y="76"/>
                    <a:pt x="33" y="75"/>
                    <a:pt x="30" y="75"/>
                  </a:cubicBezTo>
                  <a:cubicBezTo>
                    <a:pt x="29" y="75"/>
                    <a:pt x="29" y="75"/>
                    <a:pt x="29" y="75"/>
                  </a:cubicBezTo>
                  <a:cubicBezTo>
                    <a:pt x="29" y="74"/>
                    <a:pt x="29" y="74"/>
                    <a:pt x="29" y="74"/>
                  </a:cubicBezTo>
                  <a:cubicBezTo>
                    <a:pt x="14" y="72"/>
                    <a:pt x="14" y="72"/>
                    <a:pt x="14" y="72"/>
                  </a:cubicBezTo>
                  <a:cubicBezTo>
                    <a:pt x="13" y="72"/>
                    <a:pt x="13" y="72"/>
                    <a:pt x="13" y="72"/>
                  </a:cubicBezTo>
                  <a:cubicBezTo>
                    <a:pt x="12" y="72"/>
                    <a:pt x="12" y="72"/>
                    <a:pt x="12" y="72"/>
                  </a:cubicBezTo>
                  <a:cubicBezTo>
                    <a:pt x="11" y="73"/>
                    <a:pt x="11" y="73"/>
                    <a:pt x="11" y="73"/>
                  </a:cubicBezTo>
                  <a:cubicBezTo>
                    <a:pt x="10" y="73"/>
                    <a:pt x="10" y="73"/>
                    <a:pt x="10" y="73"/>
                  </a:cubicBezTo>
                  <a:cubicBezTo>
                    <a:pt x="8" y="79"/>
                    <a:pt x="7" y="86"/>
                    <a:pt x="4" y="92"/>
                  </a:cubicBezTo>
                  <a:cubicBezTo>
                    <a:pt x="4" y="93"/>
                    <a:pt x="0" y="102"/>
                    <a:pt x="3" y="103"/>
                  </a:cubicBezTo>
                  <a:cubicBezTo>
                    <a:pt x="3" y="103"/>
                    <a:pt x="3" y="103"/>
                    <a:pt x="3" y="103"/>
                  </a:cubicBezTo>
                  <a:cubicBezTo>
                    <a:pt x="4" y="103"/>
                    <a:pt x="3" y="101"/>
                    <a:pt x="4" y="101"/>
                  </a:cubicBezTo>
                  <a:cubicBezTo>
                    <a:pt x="4" y="100"/>
                    <a:pt x="4" y="100"/>
                    <a:pt x="5" y="100"/>
                  </a:cubicBezTo>
                  <a:cubicBezTo>
                    <a:pt x="5" y="100"/>
                    <a:pt x="5" y="101"/>
                    <a:pt x="6" y="101"/>
                  </a:cubicBezTo>
                  <a:cubicBezTo>
                    <a:pt x="6" y="101"/>
                    <a:pt x="7" y="101"/>
                    <a:pt x="7" y="101"/>
                  </a:cubicBezTo>
                  <a:cubicBezTo>
                    <a:pt x="7" y="101"/>
                    <a:pt x="7" y="101"/>
                    <a:pt x="8" y="101"/>
                  </a:cubicBezTo>
                  <a:cubicBezTo>
                    <a:pt x="8" y="101"/>
                    <a:pt x="8" y="101"/>
                    <a:pt x="9" y="101"/>
                  </a:cubicBezTo>
                  <a:cubicBezTo>
                    <a:pt x="9" y="101"/>
                    <a:pt x="10" y="101"/>
                    <a:pt x="10" y="101"/>
                  </a:cubicBezTo>
                  <a:cubicBezTo>
                    <a:pt x="10" y="101"/>
                    <a:pt x="11" y="100"/>
                    <a:pt x="12" y="100"/>
                  </a:cubicBezTo>
                  <a:cubicBezTo>
                    <a:pt x="12" y="100"/>
                    <a:pt x="12" y="100"/>
                    <a:pt x="12" y="100"/>
                  </a:cubicBezTo>
                  <a:cubicBezTo>
                    <a:pt x="14" y="100"/>
                    <a:pt x="15" y="102"/>
                    <a:pt x="17" y="104"/>
                  </a:cubicBezTo>
                  <a:cubicBezTo>
                    <a:pt x="23" y="111"/>
                    <a:pt x="27" y="121"/>
                    <a:pt x="33" y="128"/>
                  </a:cubicBezTo>
                  <a:cubicBezTo>
                    <a:pt x="39" y="136"/>
                    <a:pt x="43" y="148"/>
                    <a:pt x="51" y="153"/>
                  </a:cubicBezTo>
                  <a:cubicBezTo>
                    <a:pt x="52" y="154"/>
                    <a:pt x="52" y="155"/>
                    <a:pt x="52" y="157"/>
                  </a:cubicBezTo>
                  <a:cubicBezTo>
                    <a:pt x="52" y="160"/>
                    <a:pt x="53" y="161"/>
                    <a:pt x="56" y="164"/>
                  </a:cubicBezTo>
                  <a:cubicBezTo>
                    <a:pt x="59" y="167"/>
                    <a:pt x="63" y="172"/>
                    <a:pt x="65" y="176"/>
                  </a:cubicBezTo>
                  <a:cubicBezTo>
                    <a:pt x="66" y="179"/>
                    <a:pt x="66" y="183"/>
                    <a:pt x="67" y="186"/>
                  </a:cubicBezTo>
                  <a:cubicBezTo>
                    <a:pt x="68" y="190"/>
                    <a:pt x="69" y="192"/>
                    <a:pt x="71" y="195"/>
                  </a:cubicBezTo>
                  <a:cubicBezTo>
                    <a:pt x="73" y="198"/>
                    <a:pt x="76" y="198"/>
                    <a:pt x="79" y="198"/>
                  </a:cubicBezTo>
                  <a:cubicBezTo>
                    <a:pt x="83" y="199"/>
                    <a:pt x="87" y="204"/>
                    <a:pt x="90" y="207"/>
                  </a:cubicBezTo>
                  <a:cubicBezTo>
                    <a:pt x="92" y="208"/>
                    <a:pt x="92" y="209"/>
                    <a:pt x="94" y="211"/>
                  </a:cubicBezTo>
                  <a:cubicBezTo>
                    <a:pt x="97" y="216"/>
                    <a:pt x="99" y="221"/>
                    <a:pt x="102" y="226"/>
                  </a:cubicBezTo>
                  <a:cubicBezTo>
                    <a:pt x="104" y="231"/>
                    <a:pt x="106" y="235"/>
                    <a:pt x="108" y="240"/>
                  </a:cubicBezTo>
                  <a:cubicBezTo>
                    <a:pt x="108" y="241"/>
                    <a:pt x="109" y="243"/>
                    <a:pt x="109" y="244"/>
                  </a:cubicBezTo>
                  <a:cubicBezTo>
                    <a:pt x="109" y="245"/>
                    <a:pt x="108" y="246"/>
                    <a:pt x="108" y="247"/>
                  </a:cubicBezTo>
                  <a:cubicBezTo>
                    <a:pt x="106" y="250"/>
                    <a:pt x="108" y="254"/>
                    <a:pt x="108" y="258"/>
                  </a:cubicBezTo>
                  <a:cubicBezTo>
                    <a:pt x="109" y="264"/>
                    <a:pt x="108" y="272"/>
                    <a:pt x="111" y="277"/>
                  </a:cubicBezTo>
                  <a:cubicBezTo>
                    <a:pt x="112" y="280"/>
                    <a:pt x="114" y="281"/>
                    <a:pt x="116" y="284"/>
                  </a:cubicBezTo>
                  <a:cubicBezTo>
                    <a:pt x="119" y="289"/>
                    <a:pt x="122" y="293"/>
                    <a:pt x="127" y="296"/>
                  </a:cubicBezTo>
                  <a:cubicBezTo>
                    <a:pt x="127" y="295"/>
                    <a:pt x="127" y="295"/>
                    <a:pt x="127" y="295"/>
                  </a:cubicBezTo>
                  <a:cubicBezTo>
                    <a:pt x="129" y="296"/>
                    <a:pt x="130" y="296"/>
                    <a:pt x="132" y="296"/>
                  </a:cubicBezTo>
                  <a:cubicBezTo>
                    <a:pt x="133" y="297"/>
                    <a:pt x="136" y="300"/>
                    <a:pt x="138" y="301"/>
                  </a:cubicBezTo>
                  <a:cubicBezTo>
                    <a:pt x="140" y="302"/>
                    <a:pt x="140" y="303"/>
                    <a:pt x="141" y="305"/>
                  </a:cubicBezTo>
                  <a:cubicBezTo>
                    <a:pt x="146" y="313"/>
                    <a:pt x="151" y="321"/>
                    <a:pt x="155" y="329"/>
                  </a:cubicBezTo>
                  <a:cubicBezTo>
                    <a:pt x="159" y="335"/>
                    <a:pt x="163" y="341"/>
                    <a:pt x="167" y="348"/>
                  </a:cubicBezTo>
                  <a:cubicBezTo>
                    <a:pt x="170" y="353"/>
                    <a:pt x="176" y="358"/>
                    <a:pt x="181" y="362"/>
                  </a:cubicBezTo>
                  <a:cubicBezTo>
                    <a:pt x="185" y="366"/>
                    <a:pt x="183" y="369"/>
                    <a:pt x="185" y="375"/>
                  </a:cubicBezTo>
                  <a:cubicBezTo>
                    <a:pt x="185" y="375"/>
                    <a:pt x="185" y="375"/>
                    <a:pt x="185" y="375"/>
                  </a:cubicBezTo>
                  <a:cubicBezTo>
                    <a:pt x="191" y="375"/>
                    <a:pt x="193" y="382"/>
                    <a:pt x="194" y="387"/>
                  </a:cubicBezTo>
                  <a:cubicBezTo>
                    <a:pt x="195" y="386"/>
                    <a:pt x="197" y="385"/>
                    <a:pt x="200" y="383"/>
                  </a:cubicBezTo>
                  <a:cubicBezTo>
                    <a:pt x="201" y="383"/>
                    <a:pt x="201" y="383"/>
                    <a:pt x="201" y="382"/>
                  </a:cubicBezTo>
                  <a:cubicBezTo>
                    <a:pt x="201" y="382"/>
                    <a:pt x="201" y="382"/>
                    <a:pt x="201" y="381"/>
                  </a:cubicBezTo>
                  <a:cubicBezTo>
                    <a:pt x="201" y="380"/>
                    <a:pt x="200" y="379"/>
                    <a:pt x="200" y="378"/>
                  </a:cubicBezTo>
                  <a:cubicBezTo>
                    <a:pt x="200" y="377"/>
                    <a:pt x="200" y="376"/>
                    <a:pt x="200" y="375"/>
                  </a:cubicBezTo>
                  <a:cubicBezTo>
                    <a:pt x="200" y="375"/>
                    <a:pt x="200" y="374"/>
                    <a:pt x="200" y="373"/>
                  </a:cubicBezTo>
                  <a:cubicBezTo>
                    <a:pt x="201" y="372"/>
                    <a:pt x="201" y="371"/>
                    <a:pt x="202" y="370"/>
                  </a:cubicBezTo>
                  <a:cubicBezTo>
                    <a:pt x="204" y="362"/>
                    <a:pt x="206" y="361"/>
                    <a:pt x="208" y="361"/>
                  </a:cubicBezTo>
                  <a:cubicBezTo>
                    <a:pt x="209" y="361"/>
                    <a:pt x="209" y="361"/>
                    <a:pt x="209" y="361"/>
                  </a:cubicBezTo>
                  <a:cubicBezTo>
                    <a:pt x="210" y="361"/>
                    <a:pt x="211" y="361"/>
                    <a:pt x="212" y="361"/>
                  </a:cubicBezTo>
                  <a:cubicBezTo>
                    <a:pt x="214" y="361"/>
                    <a:pt x="215" y="361"/>
                    <a:pt x="216" y="362"/>
                  </a:cubicBezTo>
                  <a:cubicBezTo>
                    <a:pt x="217" y="362"/>
                    <a:pt x="218" y="363"/>
                    <a:pt x="218" y="363"/>
                  </a:cubicBezTo>
                  <a:cubicBezTo>
                    <a:pt x="219" y="364"/>
                    <a:pt x="220" y="364"/>
                    <a:pt x="221" y="365"/>
                  </a:cubicBezTo>
                  <a:cubicBezTo>
                    <a:pt x="221" y="365"/>
                    <a:pt x="221" y="365"/>
                    <a:pt x="221" y="365"/>
                  </a:cubicBezTo>
                  <a:cubicBezTo>
                    <a:pt x="221" y="365"/>
                    <a:pt x="222" y="365"/>
                    <a:pt x="222" y="365"/>
                  </a:cubicBezTo>
                  <a:cubicBezTo>
                    <a:pt x="223" y="365"/>
                    <a:pt x="224" y="365"/>
                    <a:pt x="224" y="365"/>
                  </a:cubicBezTo>
                  <a:cubicBezTo>
                    <a:pt x="225" y="365"/>
                    <a:pt x="226" y="365"/>
                    <a:pt x="227" y="365"/>
                  </a:cubicBezTo>
                  <a:cubicBezTo>
                    <a:pt x="228" y="365"/>
                    <a:pt x="228" y="365"/>
                    <a:pt x="228" y="365"/>
                  </a:cubicBezTo>
                  <a:cubicBezTo>
                    <a:pt x="229" y="365"/>
                    <a:pt x="230" y="364"/>
                    <a:pt x="231" y="364"/>
                  </a:cubicBezTo>
                  <a:cubicBezTo>
                    <a:pt x="232" y="364"/>
                    <a:pt x="234" y="364"/>
                    <a:pt x="235" y="364"/>
                  </a:cubicBezTo>
                  <a:cubicBezTo>
                    <a:pt x="239" y="363"/>
                    <a:pt x="242" y="363"/>
                    <a:pt x="246" y="363"/>
                  </a:cubicBezTo>
                  <a:cubicBezTo>
                    <a:pt x="248" y="362"/>
                    <a:pt x="249" y="362"/>
                    <a:pt x="251" y="362"/>
                  </a:cubicBezTo>
                  <a:cubicBezTo>
                    <a:pt x="258" y="362"/>
                    <a:pt x="266" y="363"/>
                    <a:pt x="273" y="364"/>
                  </a:cubicBezTo>
                  <a:cubicBezTo>
                    <a:pt x="278" y="365"/>
                    <a:pt x="282" y="365"/>
                    <a:pt x="285" y="366"/>
                  </a:cubicBezTo>
                  <a:cubicBezTo>
                    <a:pt x="286" y="366"/>
                    <a:pt x="286" y="366"/>
                    <a:pt x="286" y="366"/>
                  </a:cubicBezTo>
                  <a:cubicBezTo>
                    <a:pt x="287" y="366"/>
                    <a:pt x="287" y="366"/>
                    <a:pt x="287" y="366"/>
                  </a:cubicBezTo>
                  <a:cubicBezTo>
                    <a:pt x="288" y="366"/>
                    <a:pt x="288" y="366"/>
                    <a:pt x="288" y="366"/>
                  </a:cubicBezTo>
                  <a:cubicBezTo>
                    <a:pt x="291" y="367"/>
                    <a:pt x="293" y="370"/>
                    <a:pt x="294" y="372"/>
                  </a:cubicBezTo>
                  <a:cubicBezTo>
                    <a:pt x="294" y="372"/>
                    <a:pt x="294" y="372"/>
                    <a:pt x="294" y="372"/>
                  </a:cubicBezTo>
                  <a:cubicBezTo>
                    <a:pt x="294" y="372"/>
                    <a:pt x="295" y="373"/>
                    <a:pt x="295" y="373"/>
                  </a:cubicBezTo>
                  <a:cubicBezTo>
                    <a:pt x="295" y="373"/>
                    <a:pt x="295" y="373"/>
                    <a:pt x="295" y="373"/>
                  </a:cubicBezTo>
                  <a:cubicBezTo>
                    <a:pt x="296" y="373"/>
                    <a:pt x="296" y="373"/>
                    <a:pt x="296" y="373"/>
                  </a:cubicBezTo>
                  <a:cubicBezTo>
                    <a:pt x="297" y="373"/>
                    <a:pt x="297" y="373"/>
                    <a:pt x="297" y="373"/>
                  </a:cubicBezTo>
                  <a:cubicBezTo>
                    <a:pt x="298" y="373"/>
                    <a:pt x="299" y="373"/>
                    <a:pt x="300" y="372"/>
                  </a:cubicBezTo>
                  <a:cubicBezTo>
                    <a:pt x="302" y="371"/>
                    <a:pt x="303" y="370"/>
                    <a:pt x="304" y="369"/>
                  </a:cubicBezTo>
                  <a:cubicBezTo>
                    <a:pt x="319" y="346"/>
                    <a:pt x="319" y="346"/>
                    <a:pt x="319" y="346"/>
                  </a:cubicBezTo>
                  <a:cubicBezTo>
                    <a:pt x="320" y="346"/>
                    <a:pt x="320" y="345"/>
                    <a:pt x="321" y="345"/>
                  </a:cubicBezTo>
                  <a:cubicBezTo>
                    <a:pt x="324" y="342"/>
                    <a:pt x="329" y="340"/>
                    <a:pt x="333" y="339"/>
                  </a:cubicBezTo>
                  <a:cubicBezTo>
                    <a:pt x="333" y="338"/>
                    <a:pt x="333" y="338"/>
                    <a:pt x="333" y="338"/>
                  </a:cubicBezTo>
                  <a:cubicBezTo>
                    <a:pt x="335" y="338"/>
                    <a:pt x="336" y="337"/>
                    <a:pt x="338" y="336"/>
                  </a:cubicBezTo>
                  <a:cubicBezTo>
                    <a:pt x="346" y="332"/>
                    <a:pt x="355" y="332"/>
                    <a:pt x="365" y="331"/>
                  </a:cubicBezTo>
                  <a:cubicBezTo>
                    <a:pt x="369" y="331"/>
                    <a:pt x="369" y="331"/>
                    <a:pt x="369" y="331"/>
                  </a:cubicBezTo>
                  <a:cubicBezTo>
                    <a:pt x="377" y="330"/>
                    <a:pt x="388" y="328"/>
                    <a:pt x="399" y="326"/>
                  </a:cubicBezTo>
                  <a:cubicBezTo>
                    <a:pt x="402" y="326"/>
                    <a:pt x="406" y="325"/>
                    <a:pt x="411" y="324"/>
                  </a:cubicBezTo>
                  <a:cubicBezTo>
                    <a:pt x="412" y="324"/>
                    <a:pt x="412" y="324"/>
                    <a:pt x="412" y="324"/>
                  </a:cubicBezTo>
                  <a:cubicBezTo>
                    <a:pt x="414" y="323"/>
                    <a:pt x="415" y="323"/>
                    <a:pt x="417" y="322"/>
                  </a:cubicBezTo>
                  <a:cubicBezTo>
                    <a:pt x="453" y="310"/>
                    <a:pt x="453" y="310"/>
                    <a:pt x="453" y="310"/>
                  </a:cubicBezTo>
                  <a:cubicBezTo>
                    <a:pt x="461" y="307"/>
                    <a:pt x="469" y="304"/>
                    <a:pt x="477" y="302"/>
                  </a:cubicBezTo>
                  <a:cubicBezTo>
                    <a:pt x="480" y="300"/>
                    <a:pt x="480" y="300"/>
                    <a:pt x="480" y="300"/>
                  </a:cubicBezTo>
                  <a:cubicBezTo>
                    <a:pt x="481" y="299"/>
                    <a:pt x="481" y="299"/>
                    <a:pt x="481" y="299"/>
                  </a:cubicBezTo>
                  <a:cubicBezTo>
                    <a:pt x="481" y="298"/>
                    <a:pt x="481" y="297"/>
                    <a:pt x="482" y="296"/>
                  </a:cubicBezTo>
                  <a:cubicBezTo>
                    <a:pt x="482" y="295"/>
                    <a:pt x="482" y="295"/>
                    <a:pt x="482" y="295"/>
                  </a:cubicBezTo>
                  <a:cubicBezTo>
                    <a:pt x="482" y="294"/>
                    <a:pt x="482" y="293"/>
                    <a:pt x="483" y="292"/>
                  </a:cubicBezTo>
                  <a:cubicBezTo>
                    <a:pt x="483" y="291"/>
                    <a:pt x="483" y="290"/>
                    <a:pt x="484" y="288"/>
                  </a:cubicBezTo>
                  <a:cubicBezTo>
                    <a:pt x="484" y="288"/>
                    <a:pt x="484" y="287"/>
                    <a:pt x="484" y="287"/>
                  </a:cubicBezTo>
                  <a:cubicBezTo>
                    <a:pt x="485" y="285"/>
                    <a:pt x="486" y="283"/>
                    <a:pt x="486" y="280"/>
                  </a:cubicBezTo>
                  <a:cubicBezTo>
                    <a:pt x="491" y="267"/>
                    <a:pt x="491" y="267"/>
                    <a:pt x="491" y="267"/>
                  </a:cubicBezTo>
                  <a:cubicBezTo>
                    <a:pt x="491" y="265"/>
                    <a:pt x="492" y="262"/>
                    <a:pt x="493" y="260"/>
                  </a:cubicBezTo>
                  <a:cubicBezTo>
                    <a:pt x="493" y="258"/>
                    <a:pt x="493" y="257"/>
                    <a:pt x="493" y="256"/>
                  </a:cubicBezTo>
                  <a:cubicBezTo>
                    <a:pt x="493" y="255"/>
                    <a:pt x="493" y="253"/>
                    <a:pt x="492" y="252"/>
                  </a:cubicBezTo>
                  <a:cubicBezTo>
                    <a:pt x="492" y="252"/>
                    <a:pt x="492" y="252"/>
                    <a:pt x="492" y="252"/>
                  </a:cubicBezTo>
                  <a:cubicBezTo>
                    <a:pt x="492" y="251"/>
                    <a:pt x="492" y="251"/>
                    <a:pt x="492" y="251"/>
                  </a:cubicBezTo>
                  <a:cubicBezTo>
                    <a:pt x="491" y="250"/>
                    <a:pt x="491" y="249"/>
                    <a:pt x="490" y="248"/>
                  </a:cubicBezTo>
                  <a:cubicBezTo>
                    <a:pt x="490" y="246"/>
                    <a:pt x="490" y="246"/>
                    <a:pt x="490" y="246"/>
                  </a:cubicBezTo>
                  <a:cubicBezTo>
                    <a:pt x="489" y="245"/>
                    <a:pt x="488" y="244"/>
                    <a:pt x="487" y="242"/>
                  </a:cubicBezTo>
                  <a:cubicBezTo>
                    <a:pt x="487" y="242"/>
                    <a:pt x="487" y="242"/>
                    <a:pt x="487" y="242"/>
                  </a:cubicBezTo>
                  <a:cubicBezTo>
                    <a:pt x="487" y="241"/>
                    <a:pt x="486" y="240"/>
                    <a:pt x="486" y="239"/>
                  </a:cubicBezTo>
                  <a:cubicBezTo>
                    <a:pt x="485" y="239"/>
                    <a:pt x="485" y="239"/>
                    <a:pt x="485" y="239"/>
                  </a:cubicBezTo>
                  <a:cubicBezTo>
                    <a:pt x="425" y="233"/>
                    <a:pt x="425" y="233"/>
                    <a:pt x="425" y="233"/>
                  </a:cubicBezTo>
                  <a:cubicBezTo>
                    <a:pt x="424" y="232"/>
                    <a:pt x="423" y="232"/>
                    <a:pt x="423" y="231"/>
                  </a:cubicBezTo>
                  <a:cubicBezTo>
                    <a:pt x="419" y="228"/>
                    <a:pt x="416" y="224"/>
                    <a:pt x="413" y="220"/>
                  </a:cubicBezTo>
                  <a:cubicBezTo>
                    <a:pt x="408" y="213"/>
                    <a:pt x="408" y="213"/>
                    <a:pt x="408" y="213"/>
                  </a:cubicBezTo>
                  <a:cubicBezTo>
                    <a:pt x="406" y="211"/>
                    <a:pt x="406" y="211"/>
                    <a:pt x="406" y="211"/>
                  </a:cubicBezTo>
                  <a:cubicBezTo>
                    <a:pt x="403" y="208"/>
                    <a:pt x="400" y="204"/>
                    <a:pt x="399" y="201"/>
                  </a:cubicBezTo>
                  <a:cubicBezTo>
                    <a:pt x="398" y="197"/>
                    <a:pt x="398" y="197"/>
                    <a:pt x="398" y="197"/>
                  </a:cubicBezTo>
                  <a:cubicBezTo>
                    <a:pt x="397" y="197"/>
                    <a:pt x="396" y="197"/>
                    <a:pt x="395" y="196"/>
                  </a:cubicBezTo>
                  <a:cubicBezTo>
                    <a:pt x="395" y="196"/>
                    <a:pt x="395" y="194"/>
                    <a:pt x="396" y="193"/>
                  </a:cubicBezTo>
                  <a:cubicBezTo>
                    <a:pt x="397" y="192"/>
                    <a:pt x="398" y="192"/>
                    <a:pt x="399" y="190"/>
                  </a:cubicBezTo>
                  <a:cubicBezTo>
                    <a:pt x="399" y="190"/>
                    <a:pt x="399" y="190"/>
                    <a:pt x="399" y="190"/>
                  </a:cubicBezTo>
                  <a:cubicBezTo>
                    <a:pt x="399" y="188"/>
                    <a:pt x="399" y="188"/>
                    <a:pt x="399" y="188"/>
                  </a:cubicBezTo>
                  <a:cubicBezTo>
                    <a:pt x="399" y="188"/>
                    <a:pt x="399" y="188"/>
                    <a:pt x="399" y="188"/>
                  </a:cubicBezTo>
                  <a:cubicBezTo>
                    <a:pt x="398" y="188"/>
                    <a:pt x="397" y="189"/>
                    <a:pt x="397" y="189"/>
                  </a:cubicBezTo>
                  <a:cubicBezTo>
                    <a:pt x="396" y="189"/>
                    <a:pt x="396" y="189"/>
                    <a:pt x="396" y="189"/>
                  </a:cubicBezTo>
                  <a:cubicBezTo>
                    <a:pt x="396" y="189"/>
                    <a:pt x="395" y="189"/>
                    <a:pt x="395" y="189"/>
                  </a:cubicBezTo>
                  <a:cubicBezTo>
                    <a:pt x="395" y="189"/>
                    <a:pt x="394" y="189"/>
                    <a:pt x="394" y="189"/>
                  </a:cubicBezTo>
                  <a:cubicBezTo>
                    <a:pt x="393" y="189"/>
                    <a:pt x="392" y="189"/>
                    <a:pt x="391" y="189"/>
                  </a:cubicBezTo>
                  <a:cubicBezTo>
                    <a:pt x="390" y="189"/>
                    <a:pt x="390" y="189"/>
                    <a:pt x="389" y="189"/>
                  </a:cubicBezTo>
                  <a:cubicBezTo>
                    <a:pt x="389" y="189"/>
                    <a:pt x="389" y="189"/>
                    <a:pt x="389" y="189"/>
                  </a:cubicBezTo>
                  <a:cubicBezTo>
                    <a:pt x="389" y="189"/>
                    <a:pt x="389" y="189"/>
                    <a:pt x="389" y="189"/>
                  </a:cubicBezTo>
                  <a:cubicBezTo>
                    <a:pt x="388" y="189"/>
                    <a:pt x="388" y="189"/>
                    <a:pt x="388" y="189"/>
                  </a:cubicBezTo>
                  <a:cubicBezTo>
                    <a:pt x="388" y="189"/>
                    <a:pt x="388" y="189"/>
                    <a:pt x="388" y="189"/>
                  </a:cubicBezTo>
                  <a:cubicBezTo>
                    <a:pt x="387" y="189"/>
                    <a:pt x="387" y="189"/>
                    <a:pt x="387" y="189"/>
                  </a:cubicBezTo>
                  <a:cubicBezTo>
                    <a:pt x="386" y="188"/>
                    <a:pt x="385" y="187"/>
                    <a:pt x="384" y="185"/>
                  </a:cubicBezTo>
                  <a:cubicBezTo>
                    <a:pt x="384" y="184"/>
                    <a:pt x="384" y="184"/>
                    <a:pt x="384" y="184"/>
                  </a:cubicBezTo>
                  <a:cubicBezTo>
                    <a:pt x="383" y="184"/>
                    <a:pt x="383" y="184"/>
                    <a:pt x="383" y="184"/>
                  </a:cubicBezTo>
                  <a:cubicBezTo>
                    <a:pt x="380" y="179"/>
                    <a:pt x="377" y="174"/>
                    <a:pt x="374" y="168"/>
                  </a:cubicBezTo>
                  <a:cubicBezTo>
                    <a:pt x="371" y="164"/>
                    <a:pt x="366" y="159"/>
                    <a:pt x="364" y="154"/>
                  </a:cubicBezTo>
                  <a:cubicBezTo>
                    <a:pt x="364" y="153"/>
                    <a:pt x="364" y="150"/>
                    <a:pt x="365" y="150"/>
                  </a:cubicBezTo>
                  <a:cubicBezTo>
                    <a:pt x="365" y="149"/>
                    <a:pt x="365" y="149"/>
                    <a:pt x="365" y="149"/>
                  </a:cubicBezTo>
                  <a:cubicBezTo>
                    <a:pt x="366" y="149"/>
                    <a:pt x="367" y="152"/>
                    <a:pt x="368" y="153"/>
                  </a:cubicBezTo>
                  <a:cubicBezTo>
                    <a:pt x="369" y="151"/>
                    <a:pt x="370" y="146"/>
                    <a:pt x="369" y="144"/>
                  </a:cubicBezTo>
                  <a:cubicBezTo>
                    <a:pt x="368" y="141"/>
                    <a:pt x="363" y="140"/>
                    <a:pt x="365" y="135"/>
                  </a:cubicBezTo>
                  <a:cubicBezTo>
                    <a:pt x="365" y="137"/>
                    <a:pt x="366" y="137"/>
                    <a:pt x="368" y="137"/>
                  </a:cubicBezTo>
                  <a:cubicBezTo>
                    <a:pt x="368" y="137"/>
                    <a:pt x="368" y="137"/>
                    <a:pt x="368" y="137"/>
                  </a:cubicBezTo>
                  <a:cubicBezTo>
                    <a:pt x="366" y="136"/>
                    <a:pt x="365" y="133"/>
                    <a:pt x="363" y="132"/>
                  </a:cubicBezTo>
                  <a:cubicBezTo>
                    <a:pt x="362" y="132"/>
                    <a:pt x="360" y="132"/>
                    <a:pt x="359" y="131"/>
                  </a:cubicBezTo>
                  <a:cubicBezTo>
                    <a:pt x="357" y="129"/>
                    <a:pt x="356" y="124"/>
                    <a:pt x="353" y="124"/>
                  </a:cubicBezTo>
                  <a:cubicBezTo>
                    <a:pt x="353" y="124"/>
                    <a:pt x="353" y="124"/>
                    <a:pt x="353" y="124"/>
                  </a:cubicBezTo>
                  <a:cubicBezTo>
                    <a:pt x="353" y="124"/>
                    <a:pt x="353" y="125"/>
                    <a:pt x="353" y="125"/>
                  </a:cubicBezTo>
                  <a:cubicBezTo>
                    <a:pt x="350" y="125"/>
                    <a:pt x="348" y="119"/>
                    <a:pt x="344" y="117"/>
                  </a:cubicBezTo>
                  <a:cubicBezTo>
                    <a:pt x="345" y="117"/>
                    <a:pt x="347" y="117"/>
                    <a:pt x="348" y="116"/>
                  </a:cubicBezTo>
                  <a:cubicBezTo>
                    <a:pt x="347" y="115"/>
                    <a:pt x="347" y="115"/>
                    <a:pt x="346" y="115"/>
                  </a:cubicBezTo>
                  <a:cubicBezTo>
                    <a:pt x="346" y="115"/>
                    <a:pt x="345" y="115"/>
                    <a:pt x="345" y="115"/>
                  </a:cubicBezTo>
                  <a:cubicBezTo>
                    <a:pt x="345" y="115"/>
                    <a:pt x="345" y="115"/>
                    <a:pt x="345" y="115"/>
                  </a:cubicBezTo>
                  <a:cubicBezTo>
                    <a:pt x="344" y="115"/>
                    <a:pt x="344" y="115"/>
                    <a:pt x="343" y="115"/>
                  </a:cubicBezTo>
                  <a:cubicBezTo>
                    <a:pt x="342" y="114"/>
                    <a:pt x="342" y="113"/>
                    <a:pt x="341" y="113"/>
                  </a:cubicBezTo>
                  <a:cubicBezTo>
                    <a:pt x="338" y="112"/>
                    <a:pt x="338" y="114"/>
                    <a:pt x="336" y="111"/>
                  </a:cubicBezTo>
                  <a:cubicBezTo>
                    <a:pt x="335" y="109"/>
                    <a:pt x="335" y="105"/>
                    <a:pt x="333" y="103"/>
                  </a:cubicBezTo>
                  <a:cubicBezTo>
                    <a:pt x="332" y="99"/>
                    <a:pt x="330" y="96"/>
                    <a:pt x="329" y="92"/>
                  </a:cubicBezTo>
                  <a:cubicBezTo>
                    <a:pt x="328" y="93"/>
                    <a:pt x="328" y="93"/>
                    <a:pt x="328" y="93"/>
                  </a:cubicBezTo>
                  <a:cubicBezTo>
                    <a:pt x="327" y="92"/>
                    <a:pt x="327" y="92"/>
                    <a:pt x="327" y="92"/>
                  </a:cubicBezTo>
                  <a:cubicBezTo>
                    <a:pt x="326" y="92"/>
                    <a:pt x="326" y="92"/>
                    <a:pt x="326" y="92"/>
                  </a:cubicBezTo>
                  <a:cubicBezTo>
                    <a:pt x="326" y="92"/>
                    <a:pt x="326" y="92"/>
                    <a:pt x="326" y="92"/>
                  </a:cubicBezTo>
                  <a:cubicBezTo>
                    <a:pt x="325" y="92"/>
                    <a:pt x="324" y="92"/>
                    <a:pt x="323" y="93"/>
                  </a:cubicBezTo>
                  <a:cubicBezTo>
                    <a:pt x="323" y="93"/>
                    <a:pt x="323" y="93"/>
                    <a:pt x="323" y="93"/>
                  </a:cubicBezTo>
                  <a:cubicBezTo>
                    <a:pt x="321" y="93"/>
                    <a:pt x="319" y="93"/>
                    <a:pt x="317" y="93"/>
                  </a:cubicBezTo>
                  <a:cubicBezTo>
                    <a:pt x="314" y="93"/>
                    <a:pt x="312" y="92"/>
                    <a:pt x="310" y="91"/>
                  </a:cubicBezTo>
                  <a:cubicBezTo>
                    <a:pt x="308" y="91"/>
                    <a:pt x="307" y="90"/>
                    <a:pt x="306" y="88"/>
                  </a:cubicBezTo>
                  <a:cubicBezTo>
                    <a:pt x="305" y="87"/>
                    <a:pt x="305" y="87"/>
                    <a:pt x="305" y="86"/>
                  </a:cubicBezTo>
                  <a:cubicBezTo>
                    <a:pt x="305" y="86"/>
                    <a:pt x="305" y="86"/>
                    <a:pt x="305" y="86"/>
                  </a:cubicBezTo>
                  <a:cubicBezTo>
                    <a:pt x="305" y="86"/>
                    <a:pt x="305" y="86"/>
                    <a:pt x="305" y="86"/>
                  </a:cubicBezTo>
                  <a:cubicBezTo>
                    <a:pt x="305" y="85"/>
                    <a:pt x="305" y="85"/>
                    <a:pt x="305" y="85"/>
                  </a:cubicBezTo>
                  <a:cubicBezTo>
                    <a:pt x="305" y="85"/>
                    <a:pt x="305" y="85"/>
                    <a:pt x="305" y="85"/>
                  </a:cubicBezTo>
                  <a:cubicBezTo>
                    <a:pt x="304" y="84"/>
                    <a:pt x="304" y="84"/>
                    <a:pt x="304" y="84"/>
                  </a:cubicBezTo>
                  <a:cubicBezTo>
                    <a:pt x="304" y="84"/>
                    <a:pt x="304" y="84"/>
                    <a:pt x="304" y="84"/>
                  </a:cubicBezTo>
                  <a:cubicBezTo>
                    <a:pt x="304" y="83"/>
                    <a:pt x="304" y="83"/>
                    <a:pt x="304" y="83"/>
                  </a:cubicBezTo>
                  <a:cubicBezTo>
                    <a:pt x="304" y="83"/>
                    <a:pt x="304" y="83"/>
                    <a:pt x="304" y="83"/>
                  </a:cubicBezTo>
                  <a:cubicBezTo>
                    <a:pt x="285" y="78"/>
                    <a:pt x="285" y="78"/>
                    <a:pt x="285" y="78"/>
                  </a:cubicBezTo>
                  <a:cubicBezTo>
                    <a:pt x="284" y="78"/>
                    <a:pt x="284" y="78"/>
                    <a:pt x="284" y="78"/>
                  </a:cubicBezTo>
                  <a:cubicBezTo>
                    <a:pt x="283" y="78"/>
                    <a:pt x="283" y="78"/>
                    <a:pt x="283" y="78"/>
                  </a:cubicBezTo>
                  <a:cubicBezTo>
                    <a:pt x="283" y="78"/>
                    <a:pt x="283" y="78"/>
                    <a:pt x="283" y="78"/>
                  </a:cubicBezTo>
                  <a:cubicBezTo>
                    <a:pt x="282" y="79"/>
                    <a:pt x="281" y="79"/>
                    <a:pt x="281" y="79"/>
                  </a:cubicBezTo>
                  <a:cubicBezTo>
                    <a:pt x="280" y="79"/>
                    <a:pt x="280" y="79"/>
                    <a:pt x="280" y="79"/>
                  </a:cubicBezTo>
                  <a:cubicBezTo>
                    <a:pt x="279" y="79"/>
                    <a:pt x="278" y="79"/>
                    <a:pt x="277" y="79"/>
                  </a:cubicBezTo>
                  <a:cubicBezTo>
                    <a:pt x="277" y="79"/>
                    <a:pt x="277" y="79"/>
                    <a:pt x="277" y="79"/>
                  </a:cubicBezTo>
                  <a:cubicBezTo>
                    <a:pt x="276" y="79"/>
                    <a:pt x="276" y="79"/>
                    <a:pt x="276" y="79"/>
                  </a:cubicBezTo>
                  <a:cubicBezTo>
                    <a:pt x="244" y="76"/>
                    <a:pt x="244" y="76"/>
                    <a:pt x="244" y="76"/>
                  </a:cubicBezTo>
                  <a:cubicBezTo>
                    <a:pt x="242" y="76"/>
                    <a:pt x="240" y="75"/>
                    <a:pt x="238" y="74"/>
                  </a:cubicBezTo>
                  <a:cubicBezTo>
                    <a:pt x="234" y="71"/>
                    <a:pt x="230" y="68"/>
                    <a:pt x="227" y="65"/>
                  </a:cubicBezTo>
                  <a:cubicBezTo>
                    <a:pt x="224" y="63"/>
                    <a:pt x="221" y="61"/>
                    <a:pt x="218" y="59"/>
                  </a:cubicBezTo>
                  <a:cubicBezTo>
                    <a:pt x="202" y="47"/>
                    <a:pt x="202" y="47"/>
                    <a:pt x="202" y="47"/>
                  </a:cubicBezTo>
                  <a:cubicBezTo>
                    <a:pt x="199" y="44"/>
                    <a:pt x="196" y="41"/>
                    <a:pt x="193" y="39"/>
                  </a:cubicBezTo>
                  <a:cubicBezTo>
                    <a:pt x="188" y="34"/>
                    <a:pt x="182" y="30"/>
                    <a:pt x="177" y="27"/>
                  </a:cubicBezTo>
                  <a:cubicBezTo>
                    <a:pt x="171" y="23"/>
                    <a:pt x="171" y="23"/>
                    <a:pt x="171" y="23"/>
                  </a:cubicBezTo>
                  <a:cubicBezTo>
                    <a:pt x="169" y="22"/>
                    <a:pt x="167" y="21"/>
                    <a:pt x="165" y="20"/>
                  </a:cubicBezTo>
                  <a:cubicBezTo>
                    <a:pt x="159" y="17"/>
                    <a:pt x="152" y="13"/>
                    <a:pt x="145" y="9"/>
                  </a:cubicBezTo>
                  <a:cubicBezTo>
                    <a:pt x="145" y="8"/>
                    <a:pt x="144" y="8"/>
                    <a:pt x="143" y="7"/>
                  </a:cubicBezTo>
                  <a:cubicBezTo>
                    <a:pt x="142" y="6"/>
                    <a:pt x="140" y="5"/>
                    <a:pt x="139" y="4"/>
                  </a:cubicBezTo>
                  <a:cubicBezTo>
                    <a:pt x="110" y="0"/>
                    <a:pt x="110" y="0"/>
                    <a:pt x="1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3" name="Freeform 302">
              <a:extLst>
                <a:ext uri="{FF2B5EF4-FFF2-40B4-BE49-F238E27FC236}">
                  <a16:creationId xmlns:a16="http://schemas.microsoft.com/office/drawing/2014/main" id="{5D161B51-58AB-4451-8181-4F6FFB1FAAA8}"/>
                </a:ext>
              </a:extLst>
            </p:cNvPr>
            <p:cNvSpPr>
              <a:spLocks/>
            </p:cNvSpPr>
            <p:nvPr/>
          </p:nvSpPr>
          <p:spPr bwMode="auto">
            <a:xfrm>
              <a:off x="6783" y="1254"/>
              <a:ext cx="21" cy="38"/>
            </a:xfrm>
            <a:custGeom>
              <a:avLst/>
              <a:gdLst>
                <a:gd name="T0" fmla="*/ 6 w 9"/>
                <a:gd name="T1" fmla="*/ 0 h 16"/>
                <a:gd name="T2" fmla="*/ 0 w 9"/>
                <a:gd name="T3" fmla="*/ 5 h 16"/>
                <a:gd name="T4" fmla="*/ 2 w 9"/>
                <a:gd name="T5" fmla="*/ 5 h 16"/>
                <a:gd name="T6" fmla="*/ 2 w 9"/>
                <a:gd name="T7" fmla="*/ 6 h 16"/>
                <a:gd name="T8" fmla="*/ 2 w 9"/>
                <a:gd name="T9" fmla="*/ 8 h 16"/>
                <a:gd name="T10" fmla="*/ 2 w 9"/>
                <a:gd name="T11" fmla="*/ 10 h 16"/>
                <a:gd name="T12" fmla="*/ 3 w 9"/>
                <a:gd name="T13" fmla="*/ 15 h 16"/>
                <a:gd name="T14" fmla="*/ 3 w 9"/>
                <a:gd name="T15" fmla="*/ 14 h 16"/>
                <a:gd name="T16" fmla="*/ 4 w 9"/>
                <a:gd name="T17" fmla="*/ 16 h 16"/>
                <a:gd name="T18" fmla="*/ 8 w 9"/>
                <a:gd name="T19" fmla="*/ 7 h 16"/>
                <a:gd name="T20" fmla="*/ 5 w 9"/>
                <a:gd name="T21" fmla="*/ 4 h 16"/>
                <a:gd name="T22" fmla="*/ 9 w 9"/>
                <a:gd name="T23" fmla="*/ 1 h 16"/>
                <a:gd name="T24" fmla="*/ 6 w 9"/>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6">
                  <a:moveTo>
                    <a:pt x="6" y="0"/>
                  </a:moveTo>
                  <a:cubicBezTo>
                    <a:pt x="3" y="0"/>
                    <a:pt x="2" y="2"/>
                    <a:pt x="0" y="5"/>
                  </a:cubicBezTo>
                  <a:cubicBezTo>
                    <a:pt x="2" y="5"/>
                    <a:pt x="2" y="5"/>
                    <a:pt x="2" y="5"/>
                  </a:cubicBezTo>
                  <a:cubicBezTo>
                    <a:pt x="2" y="6"/>
                    <a:pt x="2" y="6"/>
                    <a:pt x="2" y="6"/>
                  </a:cubicBezTo>
                  <a:cubicBezTo>
                    <a:pt x="2" y="6"/>
                    <a:pt x="2" y="7"/>
                    <a:pt x="2" y="8"/>
                  </a:cubicBezTo>
                  <a:cubicBezTo>
                    <a:pt x="2" y="10"/>
                    <a:pt x="2" y="10"/>
                    <a:pt x="2" y="10"/>
                  </a:cubicBezTo>
                  <a:cubicBezTo>
                    <a:pt x="2" y="12"/>
                    <a:pt x="3" y="14"/>
                    <a:pt x="3" y="15"/>
                  </a:cubicBezTo>
                  <a:cubicBezTo>
                    <a:pt x="3" y="14"/>
                    <a:pt x="3" y="14"/>
                    <a:pt x="3" y="14"/>
                  </a:cubicBezTo>
                  <a:cubicBezTo>
                    <a:pt x="4" y="16"/>
                    <a:pt x="4" y="16"/>
                    <a:pt x="4" y="16"/>
                  </a:cubicBezTo>
                  <a:cubicBezTo>
                    <a:pt x="6" y="13"/>
                    <a:pt x="7" y="8"/>
                    <a:pt x="8" y="7"/>
                  </a:cubicBezTo>
                  <a:cubicBezTo>
                    <a:pt x="6" y="6"/>
                    <a:pt x="5" y="6"/>
                    <a:pt x="5" y="4"/>
                  </a:cubicBezTo>
                  <a:cubicBezTo>
                    <a:pt x="6" y="3"/>
                    <a:pt x="8" y="2"/>
                    <a:pt x="9" y="1"/>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4" name="Freeform 303">
              <a:extLst>
                <a:ext uri="{FF2B5EF4-FFF2-40B4-BE49-F238E27FC236}">
                  <a16:creationId xmlns:a16="http://schemas.microsoft.com/office/drawing/2014/main" id="{5ECA1355-5E87-4B17-BFC4-345CDADC6975}"/>
                </a:ext>
              </a:extLst>
            </p:cNvPr>
            <p:cNvSpPr>
              <a:spLocks/>
            </p:cNvSpPr>
            <p:nvPr/>
          </p:nvSpPr>
          <p:spPr bwMode="auto">
            <a:xfrm>
              <a:off x="5892" y="171"/>
              <a:ext cx="357" cy="152"/>
            </a:xfrm>
            <a:custGeom>
              <a:avLst/>
              <a:gdLst>
                <a:gd name="T0" fmla="*/ 0 w 151"/>
                <a:gd name="T1" fmla="*/ 4 h 64"/>
                <a:gd name="T2" fmla="*/ 10 w 151"/>
                <a:gd name="T3" fmla="*/ 10 h 64"/>
                <a:gd name="T4" fmla="*/ 33 w 151"/>
                <a:gd name="T5" fmla="*/ 27 h 64"/>
                <a:gd name="T6" fmla="*/ 39 w 151"/>
                <a:gd name="T7" fmla="*/ 46 h 64"/>
                <a:gd name="T8" fmla="*/ 35 w 151"/>
                <a:gd name="T9" fmla="*/ 53 h 64"/>
                <a:gd name="T10" fmla="*/ 41 w 151"/>
                <a:gd name="T11" fmla="*/ 54 h 64"/>
                <a:gd name="T12" fmla="*/ 46 w 151"/>
                <a:gd name="T13" fmla="*/ 54 h 64"/>
                <a:gd name="T14" fmla="*/ 55 w 151"/>
                <a:gd name="T15" fmla="*/ 55 h 64"/>
                <a:gd name="T16" fmla="*/ 61 w 151"/>
                <a:gd name="T17" fmla="*/ 51 h 64"/>
                <a:gd name="T18" fmla="*/ 68 w 151"/>
                <a:gd name="T19" fmla="*/ 56 h 64"/>
                <a:gd name="T20" fmla="*/ 69 w 151"/>
                <a:gd name="T21" fmla="*/ 56 h 64"/>
                <a:gd name="T22" fmla="*/ 71 w 151"/>
                <a:gd name="T23" fmla="*/ 57 h 64"/>
                <a:gd name="T24" fmla="*/ 76 w 151"/>
                <a:gd name="T25" fmla="*/ 60 h 64"/>
                <a:gd name="T26" fmla="*/ 79 w 151"/>
                <a:gd name="T27" fmla="*/ 63 h 64"/>
                <a:gd name="T28" fmla="*/ 80 w 151"/>
                <a:gd name="T29" fmla="*/ 64 h 64"/>
                <a:gd name="T30" fmla="*/ 83 w 151"/>
                <a:gd name="T31" fmla="*/ 64 h 64"/>
                <a:gd name="T32" fmla="*/ 102 w 151"/>
                <a:gd name="T33" fmla="*/ 61 h 64"/>
                <a:gd name="T34" fmla="*/ 106 w 151"/>
                <a:gd name="T35" fmla="*/ 61 h 64"/>
                <a:gd name="T36" fmla="*/ 109 w 151"/>
                <a:gd name="T37" fmla="*/ 61 h 64"/>
                <a:gd name="T38" fmla="*/ 109 w 151"/>
                <a:gd name="T39" fmla="*/ 60 h 64"/>
                <a:gd name="T40" fmla="*/ 117 w 151"/>
                <a:gd name="T41" fmla="*/ 57 h 64"/>
                <a:gd name="T42" fmla="*/ 123 w 151"/>
                <a:gd name="T43" fmla="*/ 55 h 64"/>
                <a:gd name="T44" fmla="*/ 131 w 151"/>
                <a:gd name="T45" fmla="*/ 58 h 64"/>
                <a:gd name="T46" fmla="*/ 134 w 151"/>
                <a:gd name="T47" fmla="*/ 61 h 64"/>
                <a:gd name="T48" fmla="*/ 148 w 151"/>
                <a:gd name="T49" fmla="*/ 64 h 64"/>
                <a:gd name="T50" fmla="*/ 151 w 151"/>
                <a:gd name="T51" fmla="*/ 62 h 64"/>
                <a:gd name="T52" fmla="*/ 142 w 151"/>
                <a:gd name="T53" fmla="*/ 55 h 64"/>
                <a:gd name="T54" fmla="*/ 145 w 151"/>
                <a:gd name="T55" fmla="*/ 46 h 64"/>
                <a:gd name="T56" fmla="*/ 130 w 151"/>
                <a:gd name="T57" fmla="*/ 40 h 64"/>
                <a:gd name="T58" fmla="*/ 128 w 151"/>
                <a:gd name="T59" fmla="*/ 31 h 64"/>
                <a:gd name="T60" fmla="*/ 114 w 151"/>
                <a:gd name="T61" fmla="*/ 24 h 64"/>
                <a:gd name="T62" fmla="*/ 111 w 151"/>
                <a:gd name="T63" fmla="*/ 33 h 64"/>
                <a:gd name="T64" fmla="*/ 105 w 151"/>
                <a:gd name="T65" fmla="*/ 24 h 64"/>
                <a:gd name="T66" fmla="*/ 99 w 151"/>
                <a:gd name="T67" fmla="*/ 26 h 64"/>
                <a:gd name="T68" fmla="*/ 89 w 151"/>
                <a:gd name="T69" fmla="*/ 28 h 64"/>
                <a:gd name="T70" fmla="*/ 82 w 151"/>
                <a:gd name="T71" fmla="*/ 24 h 64"/>
                <a:gd name="T72" fmla="*/ 83 w 151"/>
                <a:gd name="T73" fmla="*/ 22 h 64"/>
                <a:gd name="T74" fmla="*/ 55 w 151"/>
                <a:gd name="T75" fmla="*/ 10 h 64"/>
                <a:gd name="T76" fmla="*/ 46 w 151"/>
                <a:gd name="T77" fmla="*/ 11 h 64"/>
                <a:gd name="T78" fmla="*/ 12 w 151"/>
                <a:gd name="T79" fmla="*/ 2 h 64"/>
                <a:gd name="T80" fmla="*/ 9 w 151"/>
                <a:gd name="T81" fmla="*/ 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1" h="64">
                  <a:moveTo>
                    <a:pt x="1" y="0"/>
                  </a:moveTo>
                  <a:cubicBezTo>
                    <a:pt x="1" y="1"/>
                    <a:pt x="1" y="2"/>
                    <a:pt x="0" y="4"/>
                  </a:cubicBezTo>
                  <a:cubicBezTo>
                    <a:pt x="0" y="5"/>
                    <a:pt x="0" y="5"/>
                    <a:pt x="0" y="5"/>
                  </a:cubicBezTo>
                  <a:cubicBezTo>
                    <a:pt x="3" y="7"/>
                    <a:pt x="6" y="9"/>
                    <a:pt x="10" y="10"/>
                  </a:cubicBezTo>
                  <a:cubicBezTo>
                    <a:pt x="15" y="12"/>
                    <a:pt x="21" y="12"/>
                    <a:pt x="23" y="17"/>
                  </a:cubicBezTo>
                  <a:cubicBezTo>
                    <a:pt x="25" y="22"/>
                    <a:pt x="32" y="21"/>
                    <a:pt x="33" y="27"/>
                  </a:cubicBezTo>
                  <a:cubicBezTo>
                    <a:pt x="34" y="30"/>
                    <a:pt x="35" y="38"/>
                    <a:pt x="39" y="38"/>
                  </a:cubicBezTo>
                  <a:cubicBezTo>
                    <a:pt x="37" y="41"/>
                    <a:pt x="40" y="43"/>
                    <a:pt x="39" y="46"/>
                  </a:cubicBezTo>
                  <a:cubicBezTo>
                    <a:pt x="38" y="49"/>
                    <a:pt x="37" y="51"/>
                    <a:pt x="35" y="53"/>
                  </a:cubicBezTo>
                  <a:cubicBezTo>
                    <a:pt x="35" y="53"/>
                    <a:pt x="35" y="53"/>
                    <a:pt x="35" y="53"/>
                  </a:cubicBezTo>
                  <a:cubicBezTo>
                    <a:pt x="36" y="54"/>
                    <a:pt x="37" y="54"/>
                    <a:pt x="38" y="54"/>
                  </a:cubicBezTo>
                  <a:cubicBezTo>
                    <a:pt x="39" y="54"/>
                    <a:pt x="40" y="54"/>
                    <a:pt x="41" y="54"/>
                  </a:cubicBezTo>
                  <a:cubicBezTo>
                    <a:pt x="42" y="53"/>
                    <a:pt x="43" y="53"/>
                    <a:pt x="44" y="53"/>
                  </a:cubicBezTo>
                  <a:cubicBezTo>
                    <a:pt x="44" y="53"/>
                    <a:pt x="45" y="53"/>
                    <a:pt x="46" y="54"/>
                  </a:cubicBezTo>
                  <a:cubicBezTo>
                    <a:pt x="48" y="54"/>
                    <a:pt x="48" y="54"/>
                    <a:pt x="48" y="54"/>
                  </a:cubicBezTo>
                  <a:cubicBezTo>
                    <a:pt x="50" y="54"/>
                    <a:pt x="52" y="54"/>
                    <a:pt x="55" y="55"/>
                  </a:cubicBezTo>
                  <a:cubicBezTo>
                    <a:pt x="55" y="53"/>
                    <a:pt x="57" y="52"/>
                    <a:pt x="59" y="51"/>
                  </a:cubicBezTo>
                  <a:cubicBezTo>
                    <a:pt x="59" y="51"/>
                    <a:pt x="60" y="51"/>
                    <a:pt x="61" y="51"/>
                  </a:cubicBezTo>
                  <a:cubicBezTo>
                    <a:pt x="64" y="51"/>
                    <a:pt x="66" y="52"/>
                    <a:pt x="69" y="55"/>
                  </a:cubicBezTo>
                  <a:cubicBezTo>
                    <a:pt x="68" y="56"/>
                    <a:pt x="68" y="56"/>
                    <a:pt x="68" y="56"/>
                  </a:cubicBezTo>
                  <a:cubicBezTo>
                    <a:pt x="69" y="55"/>
                    <a:pt x="69" y="55"/>
                    <a:pt x="69" y="55"/>
                  </a:cubicBezTo>
                  <a:cubicBezTo>
                    <a:pt x="69" y="56"/>
                    <a:pt x="69" y="56"/>
                    <a:pt x="69" y="56"/>
                  </a:cubicBezTo>
                  <a:cubicBezTo>
                    <a:pt x="70" y="56"/>
                    <a:pt x="70" y="56"/>
                    <a:pt x="70" y="57"/>
                  </a:cubicBezTo>
                  <a:cubicBezTo>
                    <a:pt x="71" y="57"/>
                    <a:pt x="71" y="57"/>
                    <a:pt x="71" y="57"/>
                  </a:cubicBezTo>
                  <a:cubicBezTo>
                    <a:pt x="72" y="58"/>
                    <a:pt x="72" y="58"/>
                    <a:pt x="72" y="58"/>
                  </a:cubicBezTo>
                  <a:cubicBezTo>
                    <a:pt x="73" y="59"/>
                    <a:pt x="75" y="60"/>
                    <a:pt x="76" y="60"/>
                  </a:cubicBezTo>
                  <a:cubicBezTo>
                    <a:pt x="77" y="61"/>
                    <a:pt x="77" y="61"/>
                    <a:pt x="77" y="61"/>
                  </a:cubicBezTo>
                  <a:cubicBezTo>
                    <a:pt x="78" y="62"/>
                    <a:pt x="79" y="63"/>
                    <a:pt x="79" y="63"/>
                  </a:cubicBezTo>
                  <a:cubicBezTo>
                    <a:pt x="80" y="64"/>
                    <a:pt x="80" y="64"/>
                    <a:pt x="80" y="64"/>
                  </a:cubicBezTo>
                  <a:cubicBezTo>
                    <a:pt x="80" y="64"/>
                    <a:pt x="80" y="64"/>
                    <a:pt x="80" y="64"/>
                  </a:cubicBezTo>
                  <a:cubicBezTo>
                    <a:pt x="81" y="64"/>
                    <a:pt x="81" y="64"/>
                    <a:pt x="81" y="64"/>
                  </a:cubicBezTo>
                  <a:cubicBezTo>
                    <a:pt x="83" y="64"/>
                    <a:pt x="83" y="64"/>
                    <a:pt x="83" y="64"/>
                  </a:cubicBezTo>
                  <a:cubicBezTo>
                    <a:pt x="88" y="63"/>
                    <a:pt x="93" y="63"/>
                    <a:pt x="98" y="62"/>
                  </a:cubicBezTo>
                  <a:cubicBezTo>
                    <a:pt x="99" y="62"/>
                    <a:pt x="101" y="61"/>
                    <a:pt x="102" y="61"/>
                  </a:cubicBezTo>
                  <a:cubicBezTo>
                    <a:pt x="103" y="61"/>
                    <a:pt x="104" y="61"/>
                    <a:pt x="105" y="61"/>
                  </a:cubicBezTo>
                  <a:cubicBezTo>
                    <a:pt x="106" y="61"/>
                    <a:pt x="106" y="61"/>
                    <a:pt x="106" y="61"/>
                  </a:cubicBezTo>
                  <a:cubicBezTo>
                    <a:pt x="107" y="61"/>
                    <a:pt x="108" y="61"/>
                    <a:pt x="108" y="61"/>
                  </a:cubicBezTo>
                  <a:cubicBezTo>
                    <a:pt x="109" y="61"/>
                    <a:pt x="109" y="61"/>
                    <a:pt x="109" y="61"/>
                  </a:cubicBezTo>
                  <a:cubicBezTo>
                    <a:pt x="110" y="61"/>
                    <a:pt x="110" y="61"/>
                    <a:pt x="110" y="61"/>
                  </a:cubicBezTo>
                  <a:cubicBezTo>
                    <a:pt x="109" y="60"/>
                    <a:pt x="109" y="60"/>
                    <a:pt x="109" y="60"/>
                  </a:cubicBezTo>
                  <a:cubicBezTo>
                    <a:pt x="114" y="59"/>
                    <a:pt x="114" y="59"/>
                    <a:pt x="114" y="59"/>
                  </a:cubicBezTo>
                  <a:cubicBezTo>
                    <a:pt x="115" y="59"/>
                    <a:pt x="116" y="58"/>
                    <a:pt x="117" y="57"/>
                  </a:cubicBezTo>
                  <a:cubicBezTo>
                    <a:pt x="119" y="56"/>
                    <a:pt x="119" y="56"/>
                    <a:pt x="119" y="56"/>
                  </a:cubicBezTo>
                  <a:cubicBezTo>
                    <a:pt x="120" y="55"/>
                    <a:pt x="122" y="55"/>
                    <a:pt x="123" y="55"/>
                  </a:cubicBezTo>
                  <a:cubicBezTo>
                    <a:pt x="123" y="55"/>
                    <a:pt x="124" y="55"/>
                    <a:pt x="124" y="55"/>
                  </a:cubicBezTo>
                  <a:cubicBezTo>
                    <a:pt x="127" y="56"/>
                    <a:pt x="129" y="57"/>
                    <a:pt x="131" y="58"/>
                  </a:cubicBezTo>
                  <a:cubicBezTo>
                    <a:pt x="132" y="59"/>
                    <a:pt x="132" y="59"/>
                    <a:pt x="132" y="59"/>
                  </a:cubicBezTo>
                  <a:cubicBezTo>
                    <a:pt x="132" y="59"/>
                    <a:pt x="133" y="60"/>
                    <a:pt x="134" y="61"/>
                  </a:cubicBezTo>
                  <a:cubicBezTo>
                    <a:pt x="135" y="61"/>
                    <a:pt x="135" y="61"/>
                    <a:pt x="136" y="61"/>
                  </a:cubicBezTo>
                  <a:cubicBezTo>
                    <a:pt x="140" y="63"/>
                    <a:pt x="144" y="63"/>
                    <a:pt x="148" y="64"/>
                  </a:cubicBezTo>
                  <a:cubicBezTo>
                    <a:pt x="149" y="64"/>
                    <a:pt x="150" y="64"/>
                    <a:pt x="151" y="64"/>
                  </a:cubicBezTo>
                  <a:cubicBezTo>
                    <a:pt x="151" y="62"/>
                    <a:pt x="151" y="62"/>
                    <a:pt x="151" y="62"/>
                  </a:cubicBezTo>
                  <a:cubicBezTo>
                    <a:pt x="149" y="61"/>
                    <a:pt x="147" y="59"/>
                    <a:pt x="146" y="58"/>
                  </a:cubicBezTo>
                  <a:cubicBezTo>
                    <a:pt x="145" y="57"/>
                    <a:pt x="144" y="56"/>
                    <a:pt x="142" y="55"/>
                  </a:cubicBezTo>
                  <a:cubicBezTo>
                    <a:pt x="139" y="54"/>
                    <a:pt x="139" y="54"/>
                    <a:pt x="139" y="54"/>
                  </a:cubicBezTo>
                  <a:cubicBezTo>
                    <a:pt x="145" y="46"/>
                    <a:pt x="145" y="46"/>
                    <a:pt x="145" y="46"/>
                  </a:cubicBezTo>
                  <a:cubicBezTo>
                    <a:pt x="144" y="46"/>
                    <a:pt x="144" y="46"/>
                    <a:pt x="143" y="45"/>
                  </a:cubicBezTo>
                  <a:cubicBezTo>
                    <a:pt x="139" y="45"/>
                    <a:pt x="130" y="40"/>
                    <a:pt x="130" y="40"/>
                  </a:cubicBezTo>
                  <a:cubicBezTo>
                    <a:pt x="129" y="39"/>
                    <a:pt x="128" y="38"/>
                    <a:pt x="128" y="36"/>
                  </a:cubicBezTo>
                  <a:cubicBezTo>
                    <a:pt x="127" y="35"/>
                    <a:pt x="128" y="33"/>
                    <a:pt x="128" y="31"/>
                  </a:cubicBezTo>
                  <a:cubicBezTo>
                    <a:pt x="124" y="29"/>
                    <a:pt x="117" y="27"/>
                    <a:pt x="114" y="25"/>
                  </a:cubicBezTo>
                  <a:cubicBezTo>
                    <a:pt x="114" y="24"/>
                    <a:pt x="114" y="24"/>
                    <a:pt x="114" y="24"/>
                  </a:cubicBezTo>
                  <a:cubicBezTo>
                    <a:pt x="114" y="25"/>
                    <a:pt x="113" y="25"/>
                    <a:pt x="113" y="26"/>
                  </a:cubicBezTo>
                  <a:cubicBezTo>
                    <a:pt x="111" y="33"/>
                    <a:pt x="111" y="33"/>
                    <a:pt x="111" y="33"/>
                  </a:cubicBezTo>
                  <a:cubicBezTo>
                    <a:pt x="108" y="26"/>
                    <a:pt x="108" y="26"/>
                    <a:pt x="108" y="26"/>
                  </a:cubicBezTo>
                  <a:cubicBezTo>
                    <a:pt x="107" y="25"/>
                    <a:pt x="106" y="24"/>
                    <a:pt x="105" y="24"/>
                  </a:cubicBezTo>
                  <a:cubicBezTo>
                    <a:pt x="105" y="24"/>
                    <a:pt x="105" y="24"/>
                    <a:pt x="105" y="24"/>
                  </a:cubicBezTo>
                  <a:cubicBezTo>
                    <a:pt x="103" y="24"/>
                    <a:pt x="101" y="25"/>
                    <a:pt x="99" y="26"/>
                  </a:cubicBezTo>
                  <a:cubicBezTo>
                    <a:pt x="96" y="28"/>
                    <a:pt x="93" y="29"/>
                    <a:pt x="91" y="29"/>
                  </a:cubicBezTo>
                  <a:cubicBezTo>
                    <a:pt x="90" y="29"/>
                    <a:pt x="89" y="29"/>
                    <a:pt x="89" y="28"/>
                  </a:cubicBezTo>
                  <a:cubicBezTo>
                    <a:pt x="89" y="28"/>
                    <a:pt x="84" y="27"/>
                    <a:pt x="83" y="25"/>
                  </a:cubicBezTo>
                  <a:cubicBezTo>
                    <a:pt x="82" y="24"/>
                    <a:pt x="82" y="24"/>
                    <a:pt x="82" y="24"/>
                  </a:cubicBezTo>
                  <a:cubicBezTo>
                    <a:pt x="83" y="22"/>
                    <a:pt x="83" y="22"/>
                    <a:pt x="83" y="22"/>
                  </a:cubicBezTo>
                  <a:cubicBezTo>
                    <a:pt x="83" y="22"/>
                    <a:pt x="83" y="22"/>
                    <a:pt x="83" y="22"/>
                  </a:cubicBezTo>
                  <a:cubicBezTo>
                    <a:pt x="78" y="21"/>
                    <a:pt x="67" y="16"/>
                    <a:pt x="65" y="13"/>
                  </a:cubicBezTo>
                  <a:cubicBezTo>
                    <a:pt x="64" y="12"/>
                    <a:pt x="60" y="10"/>
                    <a:pt x="55" y="10"/>
                  </a:cubicBezTo>
                  <a:cubicBezTo>
                    <a:pt x="54" y="10"/>
                    <a:pt x="52" y="10"/>
                    <a:pt x="51" y="10"/>
                  </a:cubicBezTo>
                  <a:cubicBezTo>
                    <a:pt x="50" y="11"/>
                    <a:pt x="48" y="11"/>
                    <a:pt x="46" y="11"/>
                  </a:cubicBezTo>
                  <a:cubicBezTo>
                    <a:pt x="37" y="11"/>
                    <a:pt x="21" y="6"/>
                    <a:pt x="18" y="4"/>
                  </a:cubicBezTo>
                  <a:cubicBezTo>
                    <a:pt x="16" y="3"/>
                    <a:pt x="13" y="2"/>
                    <a:pt x="12" y="2"/>
                  </a:cubicBezTo>
                  <a:cubicBezTo>
                    <a:pt x="12" y="2"/>
                    <a:pt x="12" y="2"/>
                    <a:pt x="11" y="2"/>
                  </a:cubicBezTo>
                  <a:cubicBezTo>
                    <a:pt x="11" y="2"/>
                    <a:pt x="10" y="2"/>
                    <a:pt x="9" y="2"/>
                  </a:cubicBezTo>
                  <a:cubicBezTo>
                    <a:pt x="7" y="2"/>
                    <a:pt x="4"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5" name="Freeform 304">
              <a:extLst>
                <a:ext uri="{FF2B5EF4-FFF2-40B4-BE49-F238E27FC236}">
                  <a16:creationId xmlns:a16="http://schemas.microsoft.com/office/drawing/2014/main" id="{48C210F0-9C11-48BB-8BD2-E8BB3E2675E9}"/>
                </a:ext>
              </a:extLst>
            </p:cNvPr>
            <p:cNvSpPr>
              <a:spLocks/>
            </p:cNvSpPr>
            <p:nvPr/>
          </p:nvSpPr>
          <p:spPr bwMode="auto">
            <a:xfrm>
              <a:off x="6400" y="-20"/>
              <a:ext cx="2"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0" y="0"/>
                  </a:cubicBezTo>
                  <a:cubicBezTo>
                    <a:pt x="0"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6" name="Freeform 305">
              <a:extLst>
                <a:ext uri="{FF2B5EF4-FFF2-40B4-BE49-F238E27FC236}">
                  <a16:creationId xmlns:a16="http://schemas.microsoft.com/office/drawing/2014/main" id="{2A84CBB3-753F-4403-803C-7F0D0C80EA93}"/>
                </a:ext>
              </a:extLst>
            </p:cNvPr>
            <p:cNvSpPr>
              <a:spLocks noEditPoints="1"/>
            </p:cNvSpPr>
            <p:nvPr/>
          </p:nvSpPr>
          <p:spPr bwMode="auto">
            <a:xfrm>
              <a:off x="5696" y="-27"/>
              <a:ext cx="697" cy="345"/>
            </a:xfrm>
            <a:custGeom>
              <a:avLst/>
              <a:gdLst>
                <a:gd name="T0" fmla="*/ 2 w 295"/>
                <a:gd name="T1" fmla="*/ 30 h 146"/>
                <a:gd name="T2" fmla="*/ 288 w 295"/>
                <a:gd name="T3" fmla="*/ 0 h 146"/>
                <a:gd name="T4" fmla="*/ 46 w 295"/>
                <a:gd name="T5" fmla="*/ 10 h 146"/>
                <a:gd name="T6" fmla="*/ 40 w 295"/>
                <a:gd name="T7" fmla="*/ 7 h 146"/>
                <a:gd name="T8" fmla="*/ 35 w 295"/>
                <a:gd name="T9" fmla="*/ 16 h 146"/>
                <a:gd name="T10" fmla="*/ 35 w 295"/>
                <a:gd name="T11" fmla="*/ 9 h 146"/>
                <a:gd name="T12" fmla="*/ 32 w 295"/>
                <a:gd name="T13" fmla="*/ 11 h 146"/>
                <a:gd name="T14" fmla="*/ 24 w 295"/>
                <a:gd name="T15" fmla="*/ 21 h 146"/>
                <a:gd name="T16" fmla="*/ 24 w 295"/>
                <a:gd name="T17" fmla="*/ 31 h 146"/>
                <a:gd name="T18" fmla="*/ 7 w 295"/>
                <a:gd name="T19" fmla="*/ 28 h 146"/>
                <a:gd name="T20" fmla="*/ 4 w 295"/>
                <a:gd name="T21" fmla="*/ 29 h 146"/>
                <a:gd name="T22" fmla="*/ 8 w 295"/>
                <a:gd name="T23" fmla="*/ 31 h 146"/>
                <a:gd name="T24" fmla="*/ 0 w 295"/>
                <a:gd name="T25" fmla="*/ 34 h 146"/>
                <a:gd name="T26" fmla="*/ 21 w 295"/>
                <a:gd name="T27" fmla="*/ 49 h 146"/>
                <a:gd name="T28" fmla="*/ 28 w 295"/>
                <a:gd name="T29" fmla="*/ 49 h 146"/>
                <a:gd name="T30" fmla="*/ 33 w 295"/>
                <a:gd name="T31" fmla="*/ 52 h 146"/>
                <a:gd name="T32" fmla="*/ 47 w 295"/>
                <a:gd name="T33" fmla="*/ 60 h 146"/>
                <a:gd name="T34" fmla="*/ 78 w 295"/>
                <a:gd name="T35" fmla="*/ 85 h 146"/>
                <a:gd name="T36" fmla="*/ 84 w 295"/>
                <a:gd name="T37" fmla="*/ 78 h 146"/>
                <a:gd name="T38" fmla="*/ 85 w 295"/>
                <a:gd name="T39" fmla="*/ 79 h 146"/>
                <a:gd name="T40" fmla="*/ 93 w 295"/>
                <a:gd name="T41" fmla="*/ 80 h 146"/>
                <a:gd name="T42" fmla="*/ 104 w 295"/>
                <a:gd name="T43" fmla="*/ 83 h 146"/>
                <a:gd name="T44" fmla="*/ 129 w 295"/>
                <a:gd name="T45" fmla="*/ 89 h 146"/>
                <a:gd name="T46" fmla="*/ 138 w 295"/>
                <a:gd name="T47" fmla="*/ 88 h 146"/>
                <a:gd name="T48" fmla="*/ 167 w 295"/>
                <a:gd name="T49" fmla="*/ 100 h 146"/>
                <a:gd name="T50" fmla="*/ 172 w 295"/>
                <a:gd name="T51" fmla="*/ 106 h 146"/>
                <a:gd name="T52" fmla="*/ 175 w 295"/>
                <a:gd name="T53" fmla="*/ 107 h 146"/>
                <a:gd name="T54" fmla="*/ 188 w 295"/>
                <a:gd name="T55" fmla="*/ 102 h 146"/>
                <a:gd name="T56" fmla="*/ 193 w 295"/>
                <a:gd name="T57" fmla="*/ 104 h 146"/>
                <a:gd name="T58" fmla="*/ 196 w 295"/>
                <a:gd name="T59" fmla="*/ 102 h 146"/>
                <a:gd name="T60" fmla="*/ 216 w 295"/>
                <a:gd name="T61" fmla="*/ 110 h 146"/>
                <a:gd name="T62" fmla="*/ 218 w 295"/>
                <a:gd name="T63" fmla="*/ 114 h 146"/>
                <a:gd name="T64" fmla="*/ 227 w 295"/>
                <a:gd name="T65" fmla="*/ 123 h 146"/>
                <a:gd name="T66" fmla="*/ 229 w 295"/>
                <a:gd name="T67" fmla="*/ 124 h 146"/>
                <a:gd name="T68" fmla="*/ 231 w 295"/>
                <a:gd name="T69" fmla="*/ 126 h 146"/>
                <a:gd name="T70" fmla="*/ 236 w 295"/>
                <a:gd name="T71" fmla="*/ 126 h 146"/>
                <a:gd name="T72" fmla="*/ 246 w 295"/>
                <a:gd name="T73" fmla="*/ 133 h 146"/>
                <a:gd name="T74" fmla="*/ 253 w 295"/>
                <a:gd name="T75" fmla="*/ 141 h 146"/>
                <a:gd name="T76" fmla="*/ 263 w 295"/>
                <a:gd name="T77" fmla="*/ 146 h 146"/>
                <a:gd name="T78" fmla="*/ 270 w 295"/>
                <a:gd name="T79" fmla="*/ 138 h 146"/>
                <a:gd name="T80" fmla="*/ 274 w 295"/>
                <a:gd name="T81" fmla="*/ 135 h 146"/>
                <a:gd name="T82" fmla="*/ 280 w 295"/>
                <a:gd name="T83" fmla="*/ 128 h 146"/>
                <a:gd name="T84" fmla="*/ 268 w 295"/>
                <a:gd name="T85" fmla="*/ 113 h 146"/>
                <a:gd name="T86" fmla="*/ 260 w 295"/>
                <a:gd name="T87" fmla="*/ 101 h 146"/>
                <a:gd name="T88" fmla="*/ 260 w 295"/>
                <a:gd name="T89" fmla="*/ 77 h 146"/>
                <a:gd name="T90" fmla="*/ 260 w 295"/>
                <a:gd name="T91" fmla="*/ 73 h 146"/>
                <a:gd name="T92" fmla="*/ 254 w 295"/>
                <a:gd name="T93" fmla="*/ 80 h 146"/>
                <a:gd name="T94" fmla="*/ 255 w 295"/>
                <a:gd name="T95" fmla="*/ 71 h 146"/>
                <a:gd name="T96" fmla="*/ 239 w 295"/>
                <a:gd name="T97" fmla="*/ 57 h 146"/>
                <a:gd name="T98" fmla="*/ 253 w 295"/>
                <a:gd name="T99" fmla="*/ 34 h 146"/>
                <a:gd name="T100" fmla="*/ 256 w 295"/>
                <a:gd name="T101" fmla="*/ 23 h 146"/>
                <a:gd name="T102" fmla="*/ 256 w 295"/>
                <a:gd name="T103" fmla="*/ 23 h 146"/>
                <a:gd name="T104" fmla="*/ 260 w 295"/>
                <a:gd name="T105" fmla="*/ 24 h 146"/>
                <a:gd name="T106" fmla="*/ 265 w 295"/>
                <a:gd name="T107" fmla="*/ 22 h 146"/>
                <a:gd name="T108" fmla="*/ 271 w 295"/>
                <a:gd name="T109" fmla="*/ 19 h 146"/>
                <a:gd name="T110" fmla="*/ 275 w 295"/>
                <a:gd name="T111" fmla="*/ 18 h 146"/>
                <a:gd name="T112" fmla="*/ 282 w 295"/>
                <a:gd name="T113" fmla="*/ 12 h 146"/>
                <a:gd name="T114" fmla="*/ 285 w 295"/>
                <a:gd name="T115" fmla="*/ 9 h 146"/>
                <a:gd name="T116" fmla="*/ 290 w 295"/>
                <a:gd name="T117" fmla="*/ 7 h 146"/>
                <a:gd name="T118" fmla="*/ 294 w 295"/>
                <a:gd name="T119" fmla="*/ 7 h 146"/>
                <a:gd name="T120" fmla="*/ 293 w 295"/>
                <a:gd name="T121" fmla="*/ 2 h 146"/>
                <a:gd name="T122" fmla="*/ 287 w 295"/>
                <a:gd name="T12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5" h="146">
                  <a:moveTo>
                    <a:pt x="2" y="30"/>
                  </a:moveTo>
                  <a:cubicBezTo>
                    <a:pt x="2" y="30"/>
                    <a:pt x="2" y="30"/>
                    <a:pt x="2" y="30"/>
                  </a:cubicBezTo>
                  <a:cubicBezTo>
                    <a:pt x="2" y="30"/>
                    <a:pt x="2" y="30"/>
                    <a:pt x="2" y="30"/>
                  </a:cubicBezTo>
                  <a:moveTo>
                    <a:pt x="288" y="0"/>
                  </a:moveTo>
                  <a:cubicBezTo>
                    <a:pt x="33" y="0"/>
                    <a:pt x="33" y="0"/>
                    <a:pt x="33" y="0"/>
                  </a:cubicBezTo>
                  <a:cubicBezTo>
                    <a:pt x="38" y="2"/>
                    <a:pt x="47" y="6"/>
                    <a:pt x="46" y="10"/>
                  </a:cubicBezTo>
                  <a:cubicBezTo>
                    <a:pt x="45" y="10"/>
                    <a:pt x="43" y="9"/>
                    <a:pt x="41" y="8"/>
                  </a:cubicBezTo>
                  <a:cubicBezTo>
                    <a:pt x="40" y="7"/>
                    <a:pt x="40" y="7"/>
                    <a:pt x="40" y="7"/>
                  </a:cubicBezTo>
                  <a:cubicBezTo>
                    <a:pt x="40" y="7"/>
                    <a:pt x="40" y="7"/>
                    <a:pt x="40" y="7"/>
                  </a:cubicBezTo>
                  <a:cubicBezTo>
                    <a:pt x="36" y="7"/>
                    <a:pt x="35" y="13"/>
                    <a:pt x="35" y="16"/>
                  </a:cubicBezTo>
                  <a:cubicBezTo>
                    <a:pt x="35" y="14"/>
                    <a:pt x="35" y="11"/>
                    <a:pt x="34" y="10"/>
                  </a:cubicBezTo>
                  <a:cubicBezTo>
                    <a:pt x="35" y="10"/>
                    <a:pt x="35" y="10"/>
                    <a:pt x="35" y="9"/>
                  </a:cubicBezTo>
                  <a:cubicBezTo>
                    <a:pt x="35" y="9"/>
                    <a:pt x="35" y="9"/>
                    <a:pt x="35" y="9"/>
                  </a:cubicBezTo>
                  <a:cubicBezTo>
                    <a:pt x="34" y="9"/>
                    <a:pt x="33" y="10"/>
                    <a:pt x="32" y="11"/>
                  </a:cubicBezTo>
                  <a:cubicBezTo>
                    <a:pt x="32" y="11"/>
                    <a:pt x="27" y="22"/>
                    <a:pt x="25" y="22"/>
                  </a:cubicBezTo>
                  <a:cubicBezTo>
                    <a:pt x="25" y="22"/>
                    <a:pt x="24" y="21"/>
                    <a:pt x="24" y="21"/>
                  </a:cubicBezTo>
                  <a:cubicBezTo>
                    <a:pt x="23" y="23"/>
                    <a:pt x="31" y="31"/>
                    <a:pt x="24" y="31"/>
                  </a:cubicBezTo>
                  <a:cubicBezTo>
                    <a:pt x="24" y="31"/>
                    <a:pt x="24" y="31"/>
                    <a:pt x="24" y="31"/>
                  </a:cubicBezTo>
                  <a:cubicBezTo>
                    <a:pt x="19" y="31"/>
                    <a:pt x="15" y="30"/>
                    <a:pt x="11" y="29"/>
                  </a:cubicBezTo>
                  <a:cubicBezTo>
                    <a:pt x="9" y="28"/>
                    <a:pt x="8" y="28"/>
                    <a:pt x="7" y="28"/>
                  </a:cubicBezTo>
                  <a:cubicBezTo>
                    <a:pt x="5" y="28"/>
                    <a:pt x="4" y="29"/>
                    <a:pt x="2" y="30"/>
                  </a:cubicBezTo>
                  <a:cubicBezTo>
                    <a:pt x="3" y="30"/>
                    <a:pt x="4" y="29"/>
                    <a:pt x="4" y="29"/>
                  </a:cubicBezTo>
                  <a:cubicBezTo>
                    <a:pt x="5" y="29"/>
                    <a:pt x="5" y="30"/>
                    <a:pt x="6" y="30"/>
                  </a:cubicBezTo>
                  <a:cubicBezTo>
                    <a:pt x="7" y="31"/>
                    <a:pt x="7" y="31"/>
                    <a:pt x="8" y="31"/>
                  </a:cubicBezTo>
                  <a:cubicBezTo>
                    <a:pt x="8" y="31"/>
                    <a:pt x="9" y="31"/>
                    <a:pt x="9" y="31"/>
                  </a:cubicBezTo>
                  <a:cubicBezTo>
                    <a:pt x="6" y="34"/>
                    <a:pt x="3" y="34"/>
                    <a:pt x="0" y="34"/>
                  </a:cubicBezTo>
                  <a:cubicBezTo>
                    <a:pt x="3" y="36"/>
                    <a:pt x="7" y="38"/>
                    <a:pt x="10" y="39"/>
                  </a:cubicBezTo>
                  <a:cubicBezTo>
                    <a:pt x="14" y="40"/>
                    <a:pt x="18" y="46"/>
                    <a:pt x="21" y="49"/>
                  </a:cubicBezTo>
                  <a:cubicBezTo>
                    <a:pt x="21" y="50"/>
                    <a:pt x="22" y="50"/>
                    <a:pt x="22" y="50"/>
                  </a:cubicBezTo>
                  <a:cubicBezTo>
                    <a:pt x="24" y="50"/>
                    <a:pt x="27" y="49"/>
                    <a:pt x="28" y="49"/>
                  </a:cubicBezTo>
                  <a:cubicBezTo>
                    <a:pt x="28" y="49"/>
                    <a:pt x="28" y="49"/>
                    <a:pt x="28" y="49"/>
                  </a:cubicBezTo>
                  <a:cubicBezTo>
                    <a:pt x="31" y="49"/>
                    <a:pt x="31" y="50"/>
                    <a:pt x="33" y="52"/>
                  </a:cubicBezTo>
                  <a:cubicBezTo>
                    <a:pt x="34" y="53"/>
                    <a:pt x="36" y="56"/>
                    <a:pt x="37" y="57"/>
                  </a:cubicBezTo>
                  <a:cubicBezTo>
                    <a:pt x="40" y="59"/>
                    <a:pt x="44" y="59"/>
                    <a:pt x="47" y="60"/>
                  </a:cubicBezTo>
                  <a:cubicBezTo>
                    <a:pt x="51" y="61"/>
                    <a:pt x="55" y="65"/>
                    <a:pt x="59" y="68"/>
                  </a:cubicBezTo>
                  <a:cubicBezTo>
                    <a:pt x="66" y="73"/>
                    <a:pt x="72" y="79"/>
                    <a:pt x="78" y="85"/>
                  </a:cubicBezTo>
                  <a:cubicBezTo>
                    <a:pt x="79" y="81"/>
                    <a:pt x="81" y="79"/>
                    <a:pt x="82" y="79"/>
                  </a:cubicBezTo>
                  <a:cubicBezTo>
                    <a:pt x="83" y="79"/>
                    <a:pt x="83" y="78"/>
                    <a:pt x="84" y="78"/>
                  </a:cubicBezTo>
                  <a:cubicBezTo>
                    <a:pt x="84" y="78"/>
                    <a:pt x="85" y="78"/>
                    <a:pt x="85" y="79"/>
                  </a:cubicBezTo>
                  <a:cubicBezTo>
                    <a:pt x="85" y="79"/>
                    <a:pt x="85" y="79"/>
                    <a:pt x="85" y="79"/>
                  </a:cubicBezTo>
                  <a:cubicBezTo>
                    <a:pt x="89" y="80"/>
                    <a:pt x="91" y="80"/>
                    <a:pt x="92" y="80"/>
                  </a:cubicBezTo>
                  <a:cubicBezTo>
                    <a:pt x="93" y="80"/>
                    <a:pt x="93" y="80"/>
                    <a:pt x="93" y="80"/>
                  </a:cubicBezTo>
                  <a:cubicBezTo>
                    <a:pt x="94" y="80"/>
                    <a:pt x="94" y="80"/>
                    <a:pt x="95" y="80"/>
                  </a:cubicBezTo>
                  <a:cubicBezTo>
                    <a:pt x="98" y="80"/>
                    <a:pt x="102" y="82"/>
                    <a:pt x="104" y="83"/>
                  </a:cubicBezTo>
                  <a:cubicBezTo>
                    <a:pt x="104" y="83"/>
                    <a:pt x="105" y="84"/>
                    <a:pt x="107" y="84"/>
                  </a:cubicBezTo>
                  <a:cubicBezTo>
                    <a:pt x="112" y="86"/>
                    <a:pt x="123" y="89"/>
                    <a:pt x="129" y="89"/>
                  </a:cubicBezTo>
                  <a:cubicBezTo>
                    <a:pt x="130" y="89"/>
                    <a:pt x="131" y="89"/>
                    <a:pt x="132" y="89"/>
                  </a:cubicBezTo>
                  <a:cubicBezTo>
                    <a:pt x="134" y="88"/>
                    <a:pt x="136" y="88"/>
                    <a:pt x="138" y="88"/>
                  </a:cubicBezTo>
                  <a:cubicBezTo>
                    <a:pt x="144" y="88"/>
                    <a:pt x="150" y="91"/>
                    <a:pt x="152" y="93"/>
                  </a:cubicBezTo>
                  <a:cubicBezTo>
                    <a:pt x="154" y="95"/>
                    <a:pt x="165" y="100"/>
                    <a:pt x="167" y="100"/>
                  </a:cubicBezTo>
                  <a:cubicBezTo>
                    <a:pt x="169" y="100"/>
                    <a:pt x="170" y="101"/>
                    <a:pt x="171" y="102"/>
                  </a:cubicBezTo>
                  <a:cubicBezTo>
                    <a:pt x="172" y="104"/>
                    <a:pt x="172" y="105"/>
                    <a:pt x="172" y="106"/>
                  </a:cubicBezTo>
                  <a:cubicBezTo>
                    <a:pt x="172" y="106"/>
                    <a:pt x="173" y="107"/>
                    <a:pt x="173" y="107"/>
                  </a:cubicBezTo>
                  <a:cubicBezTo>
                    <a:pt x="174" y="107"/>
                    <a:pt x="174" y="107"/>
                    <a:pt x="175" y="107"/>
                  </a:cubicBezTo>
                  <a:cubicBezTo>
                    <a:pt x="176" y="107"/>
                    <a:pt x="177" y="107"/>
                    <a:pt x="179" y="105"/>
                  </a:cubicBezTo>
                  <a:cubicBezTo>
                    <a:pt x="182" y="103"/>
                    <a:pt x="185" y="102"/>
                    <a:pt x="188" y="102"/>
                  </a:cubicBezTo>
                  <a:cubicBezTo>
                    <a:pt x="188" y="102"/>
                    <a:pt x="189" y="102"/>
                    <a:pt x="190" y="103"/>
                  </a:cubicBezTo>
                  <a:cubicBezTo>
                    <a:pt x="191" y="103"/>
                    <a:pt x="192" y="103"/>
                    <a:pt x="193" y="104"/>
                  </a:cubicBezTo>
                  <a:cubicBezTo>
                    <a:pt x="193" y="103"/>
                    <a:pt x="194" y="103"/>
                    <a:pt x="195" y="103"/>
                  </a:cubicBezTo>
                  <a:cubicBezTo>
                    <a:pt x="195" y="102"/>
                    <a:pt x="196" y="102"/>
                    <a:pt x="196" y="102"/>
                  </a:cubicBezTo>
                  <a:cubicBezTo>
                    <a:pt x="198" y="102"/>
                    <a:pt x="199" y="103"/>
                    <a:pt x="201" y="104"/>
                  </a:cubicBezTo>
                  <a:cubicBezTo>
                    <a:pt x="204" y="106"/>
                    <a:pt x="214" y="110"/>
                    <a:pt x="216" y="110"/>
                  </a:cubicBezTo>
                  <a:cubicBezTo>
                    <a:pt x="221" y="110"/>
                    <a:pt x="221" y="110"/>
                    <a:pt x="221" y="110"/>
                  </a:cubicBezTo>
                  <a:cubicBezTo>
                    <a:pt x="218" y="114"/>
                    <a:pt x="218" y="114"/>
                    <a:pt x="218" y="114"/>
                  </a:cubicBezTo>
                  <a:cubicBezTo>
                    <a:pt x="217" y="117"/>
                    <a:pt x="216" y="118"/>
                    <a:pt x="216" y="119"/>
                  </a:cubicBezTo>
                  <a:cubicBezTo>
                    <a:pt x="219" y="121"/>
                    <a:pt x="226" y="123"/>
                    <a:pt x="227" y="123"/>
                  </a:cubicBezTo>
                  <a:cubicBezTo>
                    <a:pt x="228" y="123"/>
                    <a:pt x="228" y="123"/>
                    <a:pt x="228" y="123"/>
                  </a:cubicBezTo>
                  <a:cubicBezTo>
                    <a:pt x="229" y="124"/>
                    <a:pt x="229" y="124"/>
                    <a:pt x="229" y="124"/>
                  </a:cubicBezTo>
                  <a:cubicBezTo>
                    <a:pt x="229" y="124"/>
                    <a:pt x="230" y="125"/>
                    <a:pt x="231" y="126"/>
                  </a:cubicBezTo>
                  <a:cubicBezTo>
                    <a:pt x="231" y="126"/>
                    <a:pt x="231" y="126"/>
                    <a:pt x="231" y="126"/>
                  </a:cubicBezTo>
                  <a:cubicBezTo>
                    <a:pt x="232" y="126"/>
                    <a:pt x="232" y="126"/>
                    <a:pt x="232" y="126"/>
                  </a:cubicBezTo>
                  <a:cubicBezTo>
                    <a:pt x="234" y="126"/>
                    <a:pt x="235" y="126"/>
                    <a:pt x="236" y="126"/>
                  </a:cubicBezTo>
                  <a:cubicBezTo>
                    <a:pt x="236" y="127"/>
                    <a:pt x="236" y="127"/>
                    <a:pt x="237" y="127"/>
                  </a:cubicBezTo>
                  <a:cubicBezTo>
                    <a:pt x="241" y="127"/>
                    <a:pt x="245" y="130"/>
                    <a:pt x="246" y="133"/>
                  </a:cubicBezTo>
                  <a:cubicBezTo>
                    <a:pt x="247" y="135"/>
                    <a:pt x="248" y="137"/>
                    <a:pt x="249" y="137"/>
                  </a:cubicBezTo>
                  <a:cubicBezTo>
                    <a:pt x="251" y="138"/>
                    <a:pt x="253" y="141"/>
                    <a:pt x="253" y="141"/>
                  </a:cubicBezTo>
                  <a:cubicBezTo>
                    <a:pt x="254" y="142"/>
                    <a:pt x="255" y="144"/>
                    <a:pt x="259" y="145"/>
                  </a:cubicBezTo>
                  <a:cubicBezTo>
                    <a:pt x="261" y="145"/>
                    <a:pt x="262" y="146"/>
                    <a:pt x="263" y="146"/>
                  </a:cubicBezTo>
                  <a:cubicBezTo>
                    <a:pt x="265" y="146"/>
                    <a:pt x="265" y="145"/>
                    <a:pt x="266" y="144"/>
                  </a:cubicBezTo>
                  <a:cubicBezTo>
                    <a:pt x="267" y="140"/>
                    <a:pt x="269" y="139"/>
                    <a:pt x="270" y="138"/>
                  </a:cubicBezTo>
                  <a:cubicBezTo>
                    <a:pt x="271" y="138"/>
                    <a:pt x="271" y="137"/>
                    <a:pt x="272" y="137"/>
                  </a:cubicBezTo>
                  <a:cubicBezTo>
                    <a:pt x="272" y="137"/>
                    <a:pt x="273" y="136"/>
                    <a:pt x="274" y="135"/>
                  </a:cubicBezTo>
                  <a:cubicBezTo>
                    <a:pt x="275" y="134"/>
                    <a:pt x="279" y="131"/>
                    <a:pt x="280" y="129"/>
                  </a:cubicBezTo>
                  <a:cubicBezTo>
                    <a:pt x="280" y="128"/>
                    <a:pt x="280" y="128"/>
                    <a:pt x="280" y="128"/>
                  </a:cubicBezTo>
                  <a:cubicBezTo>
                    <a:pt x="280" y="128"/>
                    <a:pt x="280" y="128"/>
                    <a:pt x="280" y="128"/>
                  </a:cubicBezTo>
                  <a:cubicBezTo>
                    <a:pt x="274" y="124"/>
                    <a:pt x="272" y="118"/>
                    <a:pt x="268" y="113"/>
                  </a:cubicBezTo>
                  <a:cubicBezTo>
                    <a:pt x="266" y="111"/>
                    <a:pt x="264" y="109"/>
                    <a:pt x="262" y="105"/>
                  </a:cubicBezTo>
                  <a:cubicBezTo>
                    <a:pt x="262" y="104"/>
                    <a:pt x="261" y="102"/>
                    <a:pt x="260" y="101"/>
                  </a:cubicBezTo>
                  <a:cubicBezTo>
                    <a:pt x="260" y="100"/>
                    <a:pt x="258" y="100"/>
                    <a:pt x="258" y="99"/>
                  </a:cubicBezTo>
                  <a:cubicBezTo>
                    <a:pt x="259" y="92"/>
                    <a:pt x="259" y="84"/>
                    <a:pt x="260" y="77"/>
                  </a:cubicBezTo>
                  <a:cubicBezTo>
                    <a:pt x="260" y="76"/>
                    <a:pt x="260" y="74"/>
                    <a:pt x="261" y="73"/>
                  </a:cubicBezTo>
                  <a:cubicBezTo>
                    <a:pt x="261" y="73"/>
                    <a:pt x="260" y="73"/>
                    <a:pt x="260" y="73"/>
                  </a:cubicBezTo>
                  <a:cubicBezTo>
                    <a:pt x="257" y="73"/>
                    <a:pt x="256" y="79"/>
                    <a:pt x="256" y="82"/>
                  </a:cubicBezTo>
                  <a:cubicBezTo>
                    <a:pt x="255" y="82"/>
                    <a:pt x="254" y="81"/>
                    <a:pt x="254" y="80"/>
                  </a:cubicBezTo>
                  <a:cubicBezTo>
                    <a:pt x="255" y="80"/>
                    <a:pt x="256" y="77"/>
                    <a:pt x="256" y="76"/>
                  </a:cubicBezTo>
                  <a:cubicBezTo>
                    <a:pt x="257" y="75"/>
                    <a:pt x="256" y="73"/>
                    <a:pt x="255" y="71"/>
                  </a:cubicBezTo>
                  <a:cubicBezTo>
                    <a:pt x="252" y="66"/>
                    <a:pt x="251" y="63"/>
                    <a:pt x="246" y="60"/>
                  </a:cubicBezTo>
                  <a:cubicBezTo>
                    <a:pt x="244" y="59"/>
                    <a:pt x="241" y="59"/>
                    <a:pt x="239" y="57"/>
                  </a:cubicBezTo>
                  <a:cubicBezTo>
                    <a:pt x="235" y="55"/>
                    <a:pt x="241" y="49"/>
                    <a:pt x="243" y="47"/>
                  </a:cubicBezTo>
                  <a:cubicBezTo>
                    <a:pt x="248" y="42"/>
                    <a:pt x="250" y="40"/>
                    <a:pt x="253" y="34"/>
                  </a:cubicBezTo>
                  <a:cubicBezTo>
                    <a:pt x="254" y="31"/>
                    <a:pt x="255" y="28"/>
                    <a:pt x="256" y="24"/>
                  </a:cubicBezTo>
                  <a:cubicBezTo>
                    <a:pt x="256" y="24"/>
                    <a:pt x="256" y="23"/>
                    <a:pt x="256" y="23"/>
                  </a:cubicBezTo>
                  <a:cubicBezTo>
                    <a:pt x="257" y="24"/>
                    <a:pt x="257" y="24"/>
                    <a:pt x="257" y="24"/>
                  </a:cubicBezTo>
                  <a:cubicBezTo>
                    <a:pt x="256" y="23"/>
                    <a:pt x="256" y="23"/>
                    <a:pt x="256" y="23"/>
                  </a:cubicBezTo>
                  <a:cubicBezTo>
                    <a:pt x="257" y="21"/>
                    <a:pt x="257" y="21"/>
                    <a:pt x="257" y="21"/>
                  </a:cubicBezTo>
                  <a:cubicBezTo>
                    <a:pt x="258" y="22"/>
                    <a:pt x="260" y="23"/>
                    <a:pt x="260" y="24"/>
                  </a:cubicBezTo>
                  <a:cubicBezTo>
                    <a:pt x="261" y="22"/>
                    <a:pt x="260" y="20"/>
                    <a:pt x="259" y="18"/>
                  </a:cubicBezTo>
                  <a:cubicBezTo>
                    <a:pt x="261" y="20"/>
                    <a:pt x="263" y="21"/>
                    <a:pt x="265" y="22"/>
                  </a:cubicBezTo>
                  <a:cubicBezTo>
                    <a:pt x="266" y="20"/>
                    <a:pt x="266" y="19"/>
                    <a:pt x="268" y="19"/>
                  </a:cubicBezTo>
                  <a:cubicBezTo>
                    <a:pt x="269" y="19"/>
                    <a:pt x="270" y="19"/>
                    <a:pt x="271" y="19"/>
                  </a:cubicBezTo>
                  <a:cubicBezTo>
                    <a:pt x="271" y="19"/>
                    <a:pt x="272" y="19"/>
                    <a:pt x="272" y="19"/>
                  </a:cubicBezTo>
                  <a:cubicBezTo>
                    <a:pt x="273" y="19"/>
                    <a:pt x="274" y="19"/>
                    <a:pt x="275" y="18"/>
                  </a:cubicBezTo>
                  <a:cubicBezTo>
                    <a:pt x="277" y="16"/>
                    <a:pt x="280" y="14"/>
                    <a:pt x="282" y="12"/>
                  </a:cubicBezTo>
                  <a:cubicBezTo>
                    <a:pt x="282" y="12"/>
                    <a:pt x="282" y="12"/>
                    <a:pt x="282" y="12"/>
                  </a:cubicBezTo>
                  <a:cubicBezTo>
                    <a:pt x="283" y="12"/>
                    <a:pt x="286" y="15"/>
                    <a:pt x="287" y="16"/>
                  </a:cubicBezTo>
                  <a:cubicBezTo>
                    <a:pt x="286" y="14"/>
                    <a:pt x="286" y="11"/>
                    <a:pt x="285" y="9"/>
                  </a:cubicBezTo>
                  <a:cubicBezTo>
                    <a:pt x="285" y="7"/>
                    <a:pt x="287" y="7"/>
                    <a:pt x="288" y="7"/>
                  </a:cubicBezTo>
                  <a:cubicBezTo>
                    <a:pt x="289" y="7"/>
                    <a:pt x="289" y="7"/>
                    <a:pt x="290" y="7"/>
                  </a:cubicBezTo>
                  <a:cubicBezTo>
                    <a:pt x="291" y="7"/>
                    <a:pt x="291" y="7"/>
                    <a:pt x="292" y="7"/>
                  </a:cubicBezTo>
                  <a:cubicBezTo>
                    <a:pt x="293" y="7"/>
                    <a:pt x="294" y="7"/>
                    <a:pt x="294" y="7"/>
                  </a:cubicBezTo>
                  <a:cubicBezTo>
                    <a:pt x="295" y="6"/>
                    <a:pt x="295" y="4"/>
                    <a:pt x="295" y="3"/>
                  </a:cubicBezTo>
                  <a:cubicBezTo>
                    <a:pt x="295" y="3"/>
                    <a:pt x="294" y="2"/>
                    <a:pt x="293" y="2"/>
                  </a:cubicBezTo>
                  <a:cubicBezTo>
                    <a:pt x="292" y="1"/>
                    <a:pt x="291" y="1"/>
                    <a:pt x="289" y="0"/>
                  </a:cubicBezTo>
                  <a:cubicBezTo>
                    <a:pt x="287" y="4"/>
                    <a:pt x="287" y="4"/>
                    <a:pt x="287" y="4"/>
                  </a:cubicBezTo>
                  <a:cubicBezTo>
                    <a:pt x="288" y="0"/>
                    <a:pt x="288" y="0"/>
                    <a:pt x="28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7" name="Freeform 306">
              <a:extLst>
                <a:ext uri="{FF2B5EF4-FFF2-40B4-BE49-F238E27FC236}">
                  <a16:creationId xmlns:a16="http://schemas.microsoft.com/office/drawing/2014/main" id="{74C1BD11-631B-4573-979C-C20BFA08288A}"/>
                </a:ext>
              </a:extLst>
            </p:cNvPr>
            <p:cNvSpPr>
              <a:spLocks/>
            </p:cNvSpPr>
            <p:nvPr/>
          </p:nvSpPr>
          <p:spPr bwMode="auto">
            <a:xfrm>
              <a:off x="5381" y="4223"/>
              <a:ext cx="59" cy="78"/>
            </a:xfrm>
            <a:custGeom>
              <a:avLst/>
              <a:gdLst>
                <a:gd name="T0" fmla="*/ 12 w 25"/>
                <a:gd name="T1" fmla="*/ 0 h 33"/>
                <a:gd name="T2" fmla="*/ 12 w 25"/>
                <a:gd name="T3" fmla="*/ 1 h 33"/>
                <a:gd name="T4" fmla="*/ 3 w 25"/>
                <a:gd name="T5" fmla="*/ 11 h 33"/>
                <a:gd name="T6" fmla="*/ 0 w 25"/>
                <a:gd name="T7" fmla="*/ 17 h 33"/>
                <a:gd name="T8" fmla="*/ 0 w 25"/>
                <a:gd name="T9" fmla="*/ 20 h 33"/>
                <a:gd name="T10" fmla="*/ 1 w 25"/>
                <a:gd name="T11" fmla="*/ 22 h 33"/>
                <a:gd name="T12" fmla="*/ 5 w 25"/>
                <a:gd name="T13" fmla="*/ 27 h 33"/>
                <a:gd name="T14" fmla="*/ 9 w 25"/>
                <a:gd name="T15" fmla="*/ 32 h 33"/>
                <a:gd name="T16" fmla="*/ 9 w 25"/>
                <a:gd name="T17" fmla="*/ 32 h 33"/>
                <a:gd name="T18" fmla="*/ 22 w 25"/>
                <a:gd name="T19" fmla="*/ 33 h 33"/>
                <a:gd name="T20" fmla="*/ 23 w 25"/>
                <a:gd name="T21" fmla="*/ 23 h 33"/>
                <a:gd name="T22" fmla="*/ 24 w 25"/>
                <a:gd name="T23" fmla="*/ 20 h 33"/>
                <a:gd name="T24" fmla="*/ 25 w 25"/>
                <a:gd name="T25" fmla="*/ 21 h 33"/>
                <a:gd name="T26" fmla="*/ 24 w 25"/>
                <a:gd name="T27" fmla="*/ 6 h 33"/>
                <a:gd name="T28" fmla="*/ 24 w 25"/>
                <a:gd name="T29" fmla="*/ 6 h 33"/>
                <a:gd name="T30" fmla="*/ 21 w 25"/>
                <a:gd name="T31" fmla="*/ 5 h 33"/>
                <a:gd name="T32" fmla="*/ 21 w 25"/>
                <a:gd name="T33" fmla="*/ 5 h 33"/>
                <a:gd name="T34" fmla="*/ 21 w 25"/>
                <a:gd name="T35" fmla="*/ 5 h 33"/>
                <a:gd name="T36" fmla="*/ 18 w 25"/>
                <a:gd name="T37" fmla="*/ 4 h 33"/>
                <a:gd name="T38" fmla="*/ 12 w 25"/>
                <a:gd name="T39" fmla="*/ 1 h 33"/>
                <a:gd name="T40" fmla="*/ 12 w 25"/>
                <a:gd name="T4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33">
                  <a:moveTo>
                    <a:pt x="12" y="0"/>
                  </a:moveTo>
                  <a:cubicBezTo>
                    <a:pt x="12" y="1"/>
                    <a:pt x="12" y="1"/>
                    <a:pt x="12" y="1"/>
                  </a:cubicBezTo>
                  <a:cubicBezTo>
                    <a:pt x="8" y="4"/>
                    <a:pt x="6" y="6"/>
                    <a:pt x="3" y="11"/>
                  </a:cubicBezTo>
                  <a:cubicBezTo>
                    <a:pt x="2" y="12"/>
                    <a:pt x="1" y="15"/>
                    <a:pt x="0" y="17"/>
                  </a:cubicBezTo>
                  <a:cubicBezTo>
                    <a:pt x="0" y="20"/>
                    <a:pt x="0" y="20"/>
                    <a:pt x="0" y="20"/>
                  </a:cubicBezTo>
                  <a:cubicBezTo>
                    <a:pt x="0" y="21"/>
                    <a:pt x="1" y="21"/>
                    <a:pt x="1" y="22"/>
                  </a:cubicBezTo>
                  <a:cubicBezTo>
                    <a:pt x="3" y="23"/>
                    <a:pt x="4" y="25"/>
                    <a:pt x="5" y="27"/>
                  </a:cubicBezTo>
                  <a:cubicBezTo>
                    <a:pt x="9" y="32"/>
                    <a:pt x="9" y="32"/>
                    <a:pt x="9" y="32"/>
                  </a:cubicBezTo>
                  <a:cubicBezTo>
                    <a:pt x="9" y="32"/>
                    <a:pt x="9" y="32"/>
                    <a:pt x="9" y="32"/>
                  </a:cubicBezTo>
                  <a:cubicBezTo>
                    <a:pt x="22" y="33"/>
                    <a:pt x="22" y="33"/>
                    <a:pt x="22" y="33"/>
                  </a:cubicBezTo>
                  <a:cubicBezTo>
                    <a:pt x="21" y="30"/>
                    <a:pt x="22" y="27"/>
                    <a:pt x="23" y="23"/>
                  </a:cubicBezTo>
                  <a:cubicBezTo>
                    <a:pt x="24" y="20"/>
                    <a:pt x="24" y="20"/>
                    <a:pt x="24" y="20"/>
                  </a:cubicBezTo>
                  <a:cubicBezTo>
                    <a:pt x="25" y="21"/>
                    <a:pt x="25" y="21"/>
                    <a:pt x="25" y="21"/>
                  </a:cubicBezTo>
                  <a:cubicBezTo>
                    <a:pt x="24" y="6"/>
                    <a:pt x="24" y="6"/>
                    <a:pt x="24" y="6"/>
                  </a:cubicBezTo>
                  <a:cubicBezTo>
                    <a:pt x="24" y="6"/>
                    <a:pt x="24" y="6"/>
                    <a:pt x="24" y="6"/>
                  </a:cubicBezTo>
                  <a:cubicBezTo>
                    <a:pt x="21" y="5"/>
                    <a:pt x="21" y="5"/>
                    <a:pt x="21" y="5"/>
                  </a:cubicBezTo>
                  <a:cubicBezTo>
                    <a:pt x="21" y="5"/>
                    <a:pt x="21" y="5"/>
                    <a:pt x="21" y="5"/>
                  </a:cubicBezTo>
                  <a:cubicBezTo>
                    <a:pt x="21" y="5"/>
                    <a:pt x="21" y="5"/>
                    <a:pt x="21" y="5"/>
                  </a:cubicBezTo>
                  <a:cubicBezTo>
                    <a:pt x="19" y="5"/>
                    <a:pt x="19" y="5"/>
                    <a:pt x="18" y="4"/>
                  </a:cubicBezTo>
                  <a:cubicBezTo>
                    <a:pt x="16" y="4"/>
                    <a:pt x="14" y="2"/>
                    <a:pt x="12" y="1"/>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8" name="Freeform 307">
              <a:extLst>
                <a:ext uri="{FF2B5EF4-FFF2-40B4-BE49-F238E27FC236}">
                  <a16:creationId xmlns:a16="http://schemas.microsoft.com/office/drawing/2014/main" id="{39B2A75B-7F7F-4A5B-BDF2-B325547CF922}"/>
                </a:ext>
              </a:extLst>
            </p:cNvPr>
            <p:cNvSpPr>
              <a:spLocks/>
            </p:cNvSpPr>
            <p:nvPr/>
          </p:nvSpPr>
          <p:spPr bwMode="auto">
            <a:xfrm>
              <a:off x="5169" y="4391"/>
              <a:ext cx="125" cy="118"/>
            </a:xfrm>
            <a:custGeom>
              <a:avLst/>
              <a:gdLst>
                <a:gd name="T0" fmla="*/ 36 w 53"/>
                <a:gd name="T1" fmla="*/ 0 h 50"/>
                <a:gd name="T2" fmla="*/ 36 w 53"/>
                <a:gd name="T3" fmla="*/ 0 h 50"/>
                <a:gd name="T4" fmla="*/ 27 w 53"/>
                <a:gd name="T5" fmla="*/ 3 h 50"/>
                <a:gd name="T6" fmla="*/ 23 w 53"/>
                <a:gd name="T7" fmla="*/ 5 h 50"/>
                <a:gd name="T8" fmla="*/ 21 w 53"/>
                <a:gd name="T9" fmla="*/ 6 h 50"/>
                <a:gd name="T10" fmla="*/ 20 w 53"/>
                <a:gd name="T11" fmla="*/ 6 h 50"/>
                <a:gd name="T12" fmla="*/ 16 w 53"/>
                <a:gd name="T13" fmla="*/ 9 h 50"/>
                <a:gd name="T14" fmla="*/ 15 w 53"/>
                <a:gd name="T15" fmla="*/ 10 h 50"/>
                <a:gd name="T16" fmla="*/ 10 w 53"/>
                <a:gd name="T17" fmla="*/ 17 h 50"/>
                <a:gd name="T18" fmla="*/ 7 w 53"/>
                <a:gd name="T19" fmla="*/ 22 h 50"/>
                <a:gd name="T20" fmla="*/ 4 w 53"/>
                <a:gd name="T21" fmla="*/ 24 h 50"/>
                <a:gd name="T22" fmla="*/ 3 w 53"/>
                <a:gd name="T23" fmla="*/ 25 h 50"/>
                <a:gd name="T24" fmla="*/ 0 w 53"/>
                <a:gd name="T25" fmla="*/ 26 h 50"/>
                <a:gd name="T26" fmla="*/ 0 w 53"/>
                <a:gd name="T27" fmla="*/ 26 h 50"/>
                <a:gd name="T28" fmla="*/ 0 w 53"/>
                <a:gd name="T29" fmla="*/ 26 h 50"/>
                <a:gd name="T30" fmla="*/ 0 w 53"/>
                <a:gd name="T31" fmla="*/ 26 h 50"/>
                <a:gd name="T32" fmla="*/ 0 w 53"/>
                <a:gd name="T33" fmla="*/ 26 h 50"/>
                <a:gd name="T34" fmla="*/ 2 w 53"/>
                <a:gd name="T35" fmla="*/ 30 h 50"/>
                <a:gd name="T36" fmla="*/ 4 w 53"/>
                <a:gd name="T37" fmla="*/ 32 h 50"/>
                <a:gd name="T38" fmla="*/ 6 w 53"/>
                <a:gd name="T39" fmla="*/ 37 h 50"/>
                <a:gd name="T40" fmla="*/ 8 w 53"/>
                <a:gd name="T41" fmla="*/ 42 h 50"/>
                <a:gd name="T42" fmla="*/ 13 w 53"/>
                <a:gd name="T43" fmla="*/ 45 h 50"/>
                <a:gd name="T44" fmla="*/ 15 w 53"/>
                <a:gd name="T45" fmla="*/ 46 h 50"/>
                <a:gd name="T46" fmla="*/ 21 w 53"/>
                <a:gd name="T47" fmla="*/ 49 h 50"/>
                <a:gd name="T48" fmla="*/ 22 w 53"/>
                <a:gd name="T49" fmla="*/ 50 h 50"/>
                <a:gd name="T50" fmla="*/ 22 w 53"/>
                <a:gd name="T51" fmla="*/ 50 h 50"/>
                <a:gd name="T52" fmla="*/ 22 w 53"/>
                <a:gd name="T53" fmla="*/ 50 h 50"/>
                <a:gd name="T54" fmla="*/ 23 w 53"/>
                <a:gd name="T55" fmla="*/ 50 h 50"/>
                <a:gd name="T56" fmla="*/ 23 w 53"/>
                <a:gd name="T57" fmla="*/ 49 h 50"/>
                <a:gd name="T58" fmla="*/ 26 w 53"/>
                <a:gd name="T59" fmla="*/ 43 h 50"/>
                <a:gd name="T60" fmla="*/ 26 w 53"/>
                <a:gd name="T61" fmla="*/ 42 h 50"/>
                <a:gd name="T62" fmla="*/ 27 w 53"/>
                <a:gd name="T63" fmla="*/ 40 h 50"/>
                <a:gd name="T64" fmla="*/ 29 w 53"/>
                <a:gd name="T65" fmla="*/ 38 h 50"/>
                <a:gd name="T66" fmla="*/ 29 w 53"/>
                <a:gd name="T67" fmla="*/ 38 h 50"/>
                <a:gd name="T68" fmla="*/ 30 w 53"/>
                <a:gd name="T69" fmla="*/ 37 h 50"/>
                <a:gd name="T70" fmla="*/ 35 w 53"/>
                <a:gd name="T71" fmla="*/ 36 h 50"/>
                <a:gd name="T72" fmla="*/ 38 w 53"/>
                <a:gd name="T73" fmla="*/ 35 h 50"/>
                <a:gd name="T74" fmla="*/ 44 w 53"/>
                <a:gd name="T75" fmla="*/ 33 h 50"/>
                <a:gd name="T76" fmla="*/ 45 w 53"/>
                <a:gd name="T77" fmla="*/ 32 h 50"/>
                <a:gd name="T78" fmla="*/ 46 w 53"/>
                <a:gd name="T79" fmla="*/ 32 h 50"/>
                <a:gd name="T80" fmla="*/ 46 w 53"/>
                <a:gd name="T81" fmla="*/ 31 h 50"/>
                <a:gd name="T82" fmla="*/ 47 w 53"/>
                <a:gd name="T83" fmla="*/ 31 h 50"/>
                <a:gd name="T84" fmla="*/ 46 w 53"/>
                <a:gd name="T85" fmla="*/ 29 h 50"/>
                <a:gd name="T86" fmla="*/ 46 w 53"/>
                <a:gd name="T87" fmla="*/ 29 h 50"/>
                <a:gd name="T88" fmla="*/ 46 w 53"/>
                <a:gd name="T89" fmla="*/ 29 h 50"/>
                <a:gd name="T90" fmla="*/ 47 w 53"/>
                <a:gd name="T91" fmla="*/ 27 h 50"/>
                <a:gd name="T92" fmla="*/ 47 w 53"/>
                <a:gd name="T93" fmla="*/ 26 h 50"/>
                <a:gd name="T94" fmla="*/ 47 w 53"/>
                <a:gd name="T95" fmla="*/ 26 h 50"/>
                <a:gd name="T96" fmla="*/ 47 w 53"/>
                <a:gd name="T97" fmla="*/ 25 h 50"/>
                <a:gd name="T98" fmla="*/ 49 w 53"/>
                <a:gd name="T99" fmla="*/ 23 h 50"/>
                <a:gd name="T100" fmla="*/ 51 w 53"/>
                <a:gd name="T101" fmla="*/ 20 h 50"/>
                <a:gd name="T102" fmla="*/ 52 w 53"/>
                <a:gd name="T103" fmla="*/ 19 h 50"/>
                <a:gd name="T104" fmla="*/ 53 w 53"/>
                <a:gd name="T105" fmla="*/ 17 h 50"/>
                <a:gd name="T106" fmla="*/ 52 w 53"/>
                <a:gd name="T107" fmla="*/ 13 h 50"/>
                <a:gd name="T108" fmla="*/ 51 w 53"/>
                <a:gd name="T109" fmla="*/ 12 h 50"/>
                <a:gd name="T110" fmla="*/ 49 w 53"/>
                <a:gd name="T111" fmla="*/ 11 h 50"/>
                <a:gd name="T112" fmla="*/ 46 w 53"/>
                <a:gd name="T113" fmla="*/ 8 h 50"/>
                <a:gd name="T114" fmla="*/ 45 w 53"/>
                <a:gd name="T115" fmla="*/ 7 h 50"/>
                <a:gd name="T116" fmla="*/ 43 w 53"/>
                <a:gd name="T117" fmla="*/ 6 h 50"/>
                <a:gd name="T118" fmla="*/ 36 w 53"/>
                <a:gd name="T1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 h="50">
                  <a:moveTo>
                    <a:pt x="36" y="0"/>
                  </a:moveTo>
                  <a:cubicBezTo>
                    <a:pt x="36" y="0"/>
                    <a:pt x="36" y="0"/>
                    <a:pt x="36" y="0"/>
                  </a:cubicBezTo>
                  <a:cubicBezTo>
                    <a:pt x="33" y="1"/>
                    <a:pt x="30" y="2"/>
                    <a:pt x="27" y="3"/>
                  </a:cubicBezTo>
                  <a:cubicBezTo>
                    <a:pt x="26" y="4"/>
                    <a:pt x="24" y="4"/>
                    <a:pt x="23" y="5"/>
                  </a:cubicBezTo>
                  <a:cubicBezTo>
                    <a:pt x="21" y="6"/>
                    <a:pt x="21" y="6"/>
                    <a:pt x="21" y="6"/>
                  </a:cubicBezTo>
                  <a:cubicBezTo>
                    <a:pt x="21" y="6"/>
                    <a:pt x="20" y="6"/>
                    <a:pt x="20" y="6"/>
                  </a:cubicBezTo>
                  <a:cubicBezTo>
                    <a:pt x="18" y="7"/>
                    <a:pt x="16" y="8"/>
                    <a:pt x="16" y="9"/>
                  </a:cubicBezTo>
                  <a:cubicBezTo>
                    <a:pt x="15" y="10"/>
                    <a:pt x="15" y="10"/>
                    <a:pt x="15" y="10"/>
                  </a:cubicBezTo>
                  <a:cubicBezTo>
                    <a:pt x="13" y="12"/>
                    <a:pt x="12" y="15"/>
                    <a:pt x="10" y="17"/>
                  </a:cubicBezTo>
                  <a:cubicBezTo>
                    <a:pt x="9" y="19"/>
                    <a:pt x="8" y="20"/>
                    <a:pt x="7" y="22"/>
                  </a:cubicBezTo>
                  <a:cubicBezTo>
                    <a:pt x="6" y="23"/>
                    <a:pt x="5" y="24"/>
                    <a:pt x="4" y="24"/>
                  </a:cubicBezTo>
                  <a:cubicBezTo>
                    <a:pt x="3" y="25"/>
                    <a:pt x="3" y="25"/>
                    <a:pt x="3" y="25"/>
                  </a:cubicBezTo>
                  <a:cubicBezTo>
                    <a:pt x="2" y="25"/>
                    <a:pt x="1" y="25"/>
                    <a:pt x="0" y="26"/>
                  </a:cubicBezTo>
                  <a:cubicBezTo>
                    <a:pt x="0" y="26"/>
                    <a:pt x="0" y="26"/>
                    <a:pt x="0" y="26"/>
                  </a:cubicBezTo>
                  <a:cubicBezTo>
                    <a:pt x="0" y="26"/>
                    <a:pt x="0" y="26"/>
                    <a:pt x="0" y="26"/>
                  </a:cubicBezTo>
                  <a:cubicBezTo>
                    <a:pt x="0" y="26"/>
                    <a:pt x="0" y="26"/>
                    <a:pt x="0" y="26"/>
                  </a:cubicBezTo>
                  <a:cubicBezTo>
                    <a:pt x="0" y="26"/>
                    <a:pt x="0" y="26"/>
                    <a:pt x="0" y="26"/>
                  </a:cubicBezTo>
                  <a:cubicBezTo>
                    <a:pt x="0" y="27"/>
                    <a:pt x="2" y="29"/>
                    <a:pt x="2" y="30"/>
                  </a:cubicBezTo>
                  <a:cubicBezTo>
                    <a:pt x="3" y="31"/>
                    <a:pt x="3" y="31"/>
                    <a:pt x="4" y="32"/>
                  </a:cubicBezTo>
                  <a:cubicBezTo>
                    <a:pt x="5" y="34"/>
                    <a:pt x="5" y="35"/>
                    <a:pt x="6" y="37"/>
                  </a:cubicBezTo>
                  <a:cubicBezTo>
                    <a:pt x="8" y="42"/>
                    <a:pt x="8" y="42"/>
                    <a:pt x="8" y="42"/>
                  </a:cubicBezTo>
                  <a:cubicBezTo>
                    <a:pt x="9" y="42"/>
                    <a:pt x="12" y="44"/>
                    <a:pt x="13" y="45"/>
                  </a:cubicBezTo>
                  <a:cubicBezTo>
                    <a:pt x="15" y="46"/>
                    <a:pt x="15" y="46"/>
                    <a:pt x="15" y="46"/>
                  </a:cubicBezTo>
                  <a:cubicBezTo>
                    <a:pt x="17" y="47"/>
                    <a:pt x="19" y="49"/>
                    <a:pt x="21" y="49"/>
                  </a:cubicBezTo>
                  <a:cubicBezTo>
                    <a:pt x="21" y="49"/>
                    <a:pt x="21" y="50"/>
                    <a:pt x="22" y="50"/>
                  </a:cubicBezTo>
                  <a:cubicBezTo>
                    <a:pt x="22" y="50"/>
                    <a:pt x="22" y="50"/>
                    <a:pt x="22" y="50"/>
                  </a:cubicBezTo>
                  <a:cubicBezTo>
                    <a:pt x="22" y="50"/>
                    <a:pt x="22" y="50"/>
                    <a:pt x="22" y="50"/>
                  </a:cubicBezTo>
                  <a:cubicBezTo>
                    <a:pt x="23" y="50"/>
                    <a:pt x="23" y="50"/>
                    <a:pt x="23" y="50"/>
                  </a:cubicBezTo>
                  <a:cubicBezTo>
                    <a:pt x="23" y="49"/>
                    <a:pt x="23" y="49"/>
                    <a:pt x="23" y="49"/>
                  </a:cubicBezTo>
                  <a:cubicBezTo>
                    <a:pt x="24" y="48"/>
                    <a:pt x="25" y="45"/>
                    <a:pt x="26" y="43"/>
                  </a:cubicBezTo>
                  <a:cubicBezTo>
                    <a:pt x="26" y="42"/>
                    <a:pt x="26" y="42"/>
                    <a:pt x="26" y="42"/>
                  </a:cubicBezTo>
                  <a:cubicBezTo>
                    <a:pt x="27" y="41"/>
                    <a:pt x="27" y="40"/>
                    <a:pt x="27" y="40"/>
                  </a:cubicBezTo>
                  <a:cubicBezTo>
                    <a:pt x="28" y="39"/>
                    <a:pt x="28" y="38"/>
                    <a:pt x="29" y="38"/>
                  </a:cubicBezTo>
                  <a:cubicBezTo>
                    <a:pt x="29" y="38"/>
                    <a:pt x="29" y="38"/>
                    <a:pt x="29" y="38"/>
                  </a:cubicBezTo>
                  <a:cubicBezTo>
                    <a:pt x="30" y="37"/>
                    <a:pt x="30" y="37"/>
                    <a:pt x="30" y="37"/>
                  </a:cubicBezTo>
                  <a:cubicBezTo>
                    <a:pt x="35" y="36"/>
                    <a:pt x="35" y="36"/>
                    <a:pt x="35" y="36"/>
                  </a:cubicBezTo>
                  <a:cubicBezTo>
                    <a:pt x="36" y="35"/>
                    <a:pt x="37" y="35"/>
                    <a:pt x="38" y="35"/>
                  </a:cubicBezTo>
                  <a:cubicBezTo>
                    <a:pt x="40" y="34"/>
                    <a:pt x="43" y="34"/>
                    <a:pt x="44" y="33"/>
                  </a:cubicBezTo>
                  <a:cubicBezTo>
                    <a:pt x="45" y="32"/>
                    <a:pt x="45" y="32"/>
                    <a:pt x="45" y="32"/>
                  </a:cubicBezTo>
                  <a:cubicBezTo>
                    <a:pt x="46" y="32"/>
                    <a:pt x="46" y="32"/>
                    <a:pt x="46" y="32"/>
                  </a:cubicBezTo>
                  <a:cubicBezTo>
                    <a:pt x="46" y="31"/>
                    <a:pt x="46" y="31"/>
                    <a:pt x="46" y="31"/>
                  </a:cubicBezTo>
                  <a:cubicBezTo>
                    <a:pt x="47" y="31"/>
                    <a:pt x="47" y="31"/>
                    <a:pt x="47" y="31"/>
                  </a:cubicBezTo>
                  <a:cubicBezTo>
                    <a:pt x="46" y="29"/>
                    <a:pt x="46" y="29"/>
                    <a:pt x="46" y="29"/>
                  </a:cubicBezTo>
                  <a:cubicBezTo>
                    <a:pt x="46" y="29"/>
                    <a:pt x="46" y="29"/>
                    <a:pt x="46" y="29"/>
                  </a:cubicBezTo>
                  <a:cubicBezTo>
                    <a:pt x="46" y="29"/>
                    <a:pt x="46" y="29"/>
                    <a:pt x="46" y="29"/>
                  </a:cubicBezTo>
                  <a:cubicBezTo>
                    <a:pt x="46" y="29"/>
                    <a:pt x="46" y="28"/>
                    <a:pt x="47" y="27"/>
                  </a:cubicBezTo>
                  <a:cubicBezTo>
                    <a:pt x="47" y="26"/>
                    <a:pt x="47" y="26"/>
                    <a:pt x="47" y="26"/>
                  </a:cubicBezTo>
                  <a:cubicBezTo>
                    <a:pt x="47" y="26"/>
                    <a:pt x="47" y="26"/>
                    <a:pt x="47" y="26"/>
                  </a:cubicBezTo>
                  <a:cubicBezTo>
                    <a:pt x="47" y="25"/>
                    <a:pt x="47" y="25"/>
                    <a:pt x="47" y="25"/>
                  </a:cubicBezTo>
                  <a:cubicBezTo>
                    <a:pt x="48" y="25"/>
                    <a:pt x="49" y="24"/>
                    <a:pt x="49" y="23"/>
                  </a:cubicBezTo>
                  <a:cubicBezTo>
                    <a:pt x="50" y="22"/>
                    <a:pt x="50" y="21"/>
                    <a:pt x="51" y="20"/>
                  </a:cubicBezTo>
                  <a:cubicBezTo>
                    <a:pt x="52" y="19"/>
                    <a:pt x="52" y="19"/>
                    <a:pt x="52" y="19"/>
                  </a:cubicBezTo>
                  <a:cubicBezTo>
                    <a:pt x="52" y="19"/>
                    <a:pt x="53" y="18"/>
                    <a:pt x="53" y="17"/>
                  </a:cubicBezTo>
                  <a:cubicBezTo>
                    <a:pt x="53" y="17"/>
                    <a:pt x="53" y="14"/>
                    <a:pt x="52" y="13"/>
                  </a:cubicBezTo>
                  <a:cubicBezTo>
                    <a:pt x="51" y="13"/>
                    <a:pt x="51" y="12"/>
                    <a:pt x="51" y="12"/>
                  </a:cubicBezTo>
                  <a:cubicBezTo>
                    <a:pt x="49" y="11"/>
                    <a:pt x="49" y="11"/>
                    <a:pt x="49" y="11"/>
                  </a:cubicBezTo>
                  <a:cubicBezTo>
                    <a:pt x="48" y="10"/>
                    <a:pt x="47" y="9"/>
                    <a:pt x="46" y="8"/>
                  </a:cubicBezTo>
                  <a:cubicBezTo>
                    <a:pt x="45" y="7"/>
                    <a:pt x="45" y="7"/>
                    <a:pt x="45" y="7"/>
                  </a:cubicBezTo>
                  <a:cubicBezTo>
                    <a:pt x="44" y="7"/>
                    <a:pt x="44" y="7"/>
                    <a:pt x="43" y="6"/>
                  </a:cubicBezTo>
                  <a:cubicBezTo>
                    <a:pt x="41" y="5"/>
                    <a:pt x="38" y="3"/>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9" name="Freeform 308">
              <a:extLst>
                <a:ext uri="{FF2B5EF4-FFF2-40B4-BE49-F238E27FC236}">
                  <a16:creationId xmlns:a16="http://schemas.microsoft.com/office/drawing/2014/main" id="{08958F51-7179-4A1D-8AC0-6009388EE24F}"/>
                </a:ext>
              </a:extLst>
            </p:cNvPr>
            <p:cNvSpPr>
              <a:spLocks noEditPoints="1"/>
            </p:cNvSpPr>
            <p:nvPr/>
          </p:nvSpPr>
          <p:spPr bwMode="auto">
            <a:xfrm>
              <a:off x="4583" y="4015"/>
              <a:ext cx="905" cy="754"/>
            </a:xfrm>
            <a:custGeom>
              <a:avLst/>
              <a:gdLst>
                <a:gd name="T0" fmla="*/ 295 w 383"/>
                <a:gd name="T1" fmla="*/ 164 h 319"/>
                <a:gd name="T2" fmla="*/ 304 w 383"/>
                <a:gd name="T3" fmla="*/ 179 h 319"/>
                <a:gd name="T4" fmla="*/ 298 w 383"/>
                <a:gd name="T5" fmla="*/ 189 h 319"/>
                <a:gd name="T6" fmla="*/ 280 w 383"/>
                <a:gd name="T7" fmla="*/ 199 h 319"/>
                <a:gd name="T8" fmla="*/ 268 w 383"/>
                <a:gd name="T9" fmla="*/ 212 h 319"/>
                <a:gd name="T10" fmla="*/ 249 w 383"/>
                <a:gd name="T11" fmla="*/ 193 h 319"/>
                <a:gd name="T12" fmla="*/ 245 w 383"/>
                <a:gd name="T13" fmla="*/ 184 h 319"/>
                <a:gd name="T14" fmla="*/ 260 w 383"/>
                <a:gd name="T15" fmla="*/ 167 h 319"/>
                <a:gd name="T16" fmla="*/ 283 w 383"/>
                <a:gd name="T17" fmla="*/ 156 h 319"/>
                <a:gd name="T18" fmla="*/ 297 w 383"/>
                <a:gd name="T19" fmla="*/ 0 h 319"/>
                <a:gd name="T20" fmla="*/ 280 w 383"/>
                <a:gd name="T21" fmla="*/ 10 h 319"/>
                <a:gd name="T22" fmla="*/ 273 w 383"/>
                <a:gd name="T23" fmla="*/ 15 h 319"/>
                <a:gd name="T24" fmla="*/ 246 w 383"/>
                <a:gd name="T25" fmla="*/ 44 h 319"/>
                <a:gd name="T26" fmla="*/ 227 w 383"/>
                <a:gd name="T27" fmla="*/ 61 h 319"/>
                <a:gd name="T28" fmla="*/ 214 w 383"/>
                <a:gd name="T29" fmla="*/ 83 h 319"/>
                <a:gd name="T30" fmla="*/ 198 w 383"/>
                <a:gd name="T31" fmla="*/ 90 h 319"/>
                <a:gd name="T32" fmla="*/ 168 w 383"/>
                <a:gd name="T33" fmla="*/ 81 h 319"/>
                <a:gd name="T34" fmla="*/ 150 w 383"/>
                <a:gd name="T35" fmla="*/ 81 h 319"/>
                <a:gd name="T36" fmla="*/ 149 w 383"/>
                <a:gd name="T37" fmla="*/ 87 h 319"/>
                <a:gd name="T38" fmla="*/ 147 w 383"/>
                <a:gd name="T39" fmla="*/ 91 h 319"/>
                <a:gd name="T40" fmla="*/ 130 w 383"/>
                <a:gd name="T41" fmla="*/ 109 h 319"/>
                <a:gd name="T42" fmla="*/ 118 w 383"/>
                <a:gd name="T43" fmla="*/ 117 h 319"/>
                <a:gd name="T44" fmla="*/ 111 w 383"/>
                <a:gd name="T45" fmla="*/ 116 h 319"/>
                <a:gd name="T46" fmla="*/ 102 w 383"/>
                <a:gd name="T47" fmla="*/ 115 h 319"/>
                <a:gd name="T48" fmla="*/ 93 w 383"/>
                <a:gd name="T49" fmla="*/ 112 h 319"/>
                <a:gd name="T50" fmla="*/ 93 w 383"/>
                <a:gd name="T51" fmla="*/ 108 h 319"/>
                <a:gd name="T52" fmla="*/ 97 w 383"/>
                <a:gd name="T53" fmla="*/ 98 h 319"/>
                <a:gd name="T54" fmla="*/ 94 w 383"/>
                <a:gd name="T55" fmla="*/ 80 h 319"/>
                <a:gd name="T56" fmla="*/ 84 w 383"/>
                <a:gd name="T57" fmla="*/ 145 h 319"/>
                <a:gd name="T58" fmla="*/ 75 w 383"/>
                <a:gd name="T59" fmla="*/ 158 h 319"/>
                <a:gd name="T60" fmla="*/ 60 w 383"/>
                <a:gd name="T61" fmla="*/ 169 h 319"/>
                <a:gd name="T62" fmla="*/ 26 w 383"/>
                <a:gd name="T63" fmla="*/ 166 h 319"/>
                <a:gd name="T64" fmla="*/ 17 w 383"/>
                <a:gd name="T65" fmla="*/ 159 h 319"/>
                <a:gd name="T66" fmla="*/ 13 w 383"/>
                <a:gd name="T67" fmla="*/ 150 h 319"/>
                <a:gd name="T68" fmla="*/ 9 w 383"/>
                <a:gd name="T69" fmla="*/ 148 h 319"/>
                <a:gd name="T70" fmla="*/ 4 w 383"/>
                <a:gd name="T71" fmla="*/ 155 h 319"/>
                <a:gd name="T72" fmla="*/ 13 w 383"/>
                <a:gd name="T73" fmla="*/ 190 h 319"/>
                <a:gd name="T74" fmla="*/ 37 w 383"/>
                <a:gd name="T75" fmla="*/ 266 h 319"/>
                <a:gd name="T76" fmla="*/ 30 w 383"/>
                <a:gd name="T77" fmla="*/ 269 h 319"/>
                <a:gd name="T78" fmla="*/ 44 w 383"/>
                <a:gd name="T79" fmla="*/ 291 h 319"/>
                <a:gd name="T80" fmla="*/ 50 w 383"/>
                <a:gd name="T81" fmla="*/ 300 h 319"/>
                <a:gd name="T82" fmla="*/ 59 w 383"/>
                <a:gd name="T83" fmla="*/ 308 h 319"/>
                <a:gd name="T84" fmla="*/ 86 w 383"/>
                <a:gd name="T85" fmla="*/ 317 h 319"/>
                <a:gd name="T86" fmla="*/ 121 w 383"/>
                <a:gd name="T87" fmla="*/ 308 h 319"/>
                <a:gd name="T88" fmla="*/ 160 w 383"/>
                <a:gd name="T89" fmla="*/ 301 h 319"/>
                <a:gd name="T90" fmla="*/ 195 w 383"/>
                <a:gd name="T91" fmla="*/ 303 h 319"/>
                <a:gd name="T92" fmla="*/ 214 w 383"/>
                <a:gd name="T93" fmla="*/ 297 h 319"/>
                <a:gd name="T94" fmla="*/ 225 w 383"/>
                <a:gd name="T95" fmla="*/ 291 h 319"/>
                <a:gd name="T96" fmla="*/ 275 w 383"/>
                <a:gd name="T97" fmla="*/ 265 h 319"/>
                <a:gd name="T98" fmla="*/ 363 w 383"/>
                <a:gd name="T99" fmla="*/ 164 h 319"/>
                <a:gd name="T100" fmla="*/ 383 w 383"/>
                <a:gd name="T101" fmla="*/ 116 h 319"/>
                <a:gd name="T102" fmla="*/ 366 w 383"/>
                <a:gd name="T103" fmla="*/ 116 h 319"/>
                <a:gd name="T104" fmla="*/ 342 w 383"/>
                <a:gd name="T105" fmla="*/ 123 h 319"/>
                <a:gd name="T106" fmla="*/ 333 w 383"/>
                <a:gd name="T107" fmla="*/ 111 h 319"/>
                <a:gd name="T108" fmla="*/ 336 w 383"/>
                <a:gd name="T109" fmla="*/ 96 h 319"/>
                <a:gd name="T110" fmla="*/ 358 w 383"/>
                <a:gd name="T111" fmla="*/ 87 h 319"/>
                <a:gd name="T112" fmla="*/ 360 w 383"/>
                <a:gd name="T113" fmla="*/ 80 h 319"/>
                <a:gd name="T114" fmla="*/ 359 w 383"/>
                <a:gd name="T115" fmla="*/ 53 h 319"/>
                <a:gd name="T116" fmla="*/ 350 w 383"/>
                <a:gd name="T117" fmla="*/ 24 h 319"/>
                <a:gd name="T118" fmla="*/ 344 w 383"/>
                <a:gd name="T119" fmla="*/ 5 h 319"/>
                <a:gd name="T120" fmla="*/ 310 w 383"/>
                <a:gd name="T121"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3" h="319">
                  <a:moveTo>
                    <a:pt x="284" y="155"/>
                  </a:moveTo>
                  <a:cubicBezTo>
                    <a:pt x="286" y="155"/>
                    <a:pt x="286" y="155"/>
                    <a:pt x="286" y="155"/>
                  </a:cubicBezTo>
                  <a:cubicBezTo>
                    <a:pt x="286" y="156"/>
                    <a:pt x="286" y="156"/>
                    <a:pt x="286" y="156"/>
                  </a:cubicBezTo>
                  <a:cubicBezTo>
                    <a:pt x="288" y="159"/>
                    <a:pt x="291" y="161"/>
                    <a:pt x="293" y="162"/>
                  </a:cubicBezTo>
                  <a:cubicBezTo>
                    <a:pt x="294" y="163"/>
                    <a:pt x="294" y="163"/>
                    <a:pt x="295" y="164"/>
                  </a:cubicBezTo>
                  <a:cubicBezTo>
                    <a:pt x="296" y="165"/>
                    <a:pt x="296" y="165"/>
                    <a:pt x="296" y="165"/>
                  </a:cubicBezTo>
                  <a:cubicBezTo>
                    <a:pt x="297" y="165"/>
                    <a:pt x="299" y="166"/>
                    <a:pt x="299" y="167"/>
                  </a:cubicBezTo>
                  <a:cubicBezTo>
                    <a:pt x="301" y="168"/>
                    <a:pt x="301" y="168"/>
                    <a:pt x="301" y="168"/>
                  </a:cubicBezTo>
                  <a:cubicBezTo>
                    <a:pt x="303" y="170"/>
                    <a:pt x="305" y="173"/>
                    <a:pt x="305" y="176"/>
                  </a:cubicBezTo>
                  <a:cubicBezTo>
                    <a:pt x="305" y="177"/>
                    <a:pt x="305" y="178"/>
                    <a:pt x="304" y="179"/>
                  </a:cubicBezTo>
                  <a:cubicBezTo>
                    <a:pt x="302" y="180"/>
                    <a:pt x="301" y="182"/>
                    <a:pt x="300" y="184"/>
                  </a:cubicBezTo>
                  <a:cubicBezTo>
                    <a:pt x="300" y="185"/>
                    <a:pt x="299" y="186"/>
                    <a:pt x="298" y="187"/>
                  </a:cubicBezTo>
                  <a:cubicBezTo>
                    <a:pt x="298" y="187"/>
                    <a:pt x="298" y="187"/>
                    <a:pt x="298" y="187"/>
                  </a:cubicBezTo>
                  <a:cubicBezTo>
                    <a:pt x="298" y="188"/>
                    <a:pt x="298" y="188"/>
                    <a:pt x="298" y="188"/>
                  </a:cubicBezTo>
                  <a:cubicBezTo>
                    <a:pt x="298" y="189"/>
                    <a:pt x="298" y="189"/>
                    <a:pt x="298" y="189"/>
                  </a:cubicBezTo>
                  <a:cubicBezTo>
                    <a:pt x="299" y="192"/>
                    <a:pt x="297" y="193"/>
                    <a:pt x="296" y="193"/>
                  </a:cubicBezTo>
                  <a:cubicBezTo>
                    <a:pt x="296" y="194"/>
                    <a:pt x="295" y="194"/>
                    <a:pt x="294" y="195"/>
                  </a:cubicBezTo>
                  <a:cubicBezTo>
                    <a:pt x="292" y="196"/>
                    <a:pt x="289" y="197"/>
                    <a:pt x="287" y="197"/>
                  </a:cubicBezTo>
                  <a:cubicBezTo>
                    <a:pt x="286" y="197"/>
                    <a:pt x="285" y="198"/>
                    <a:pt x="284" y="198"/>
                  </a:cubicBezTo>
                  <a:cubicBezTo>
                    <a:pt x="280" y="199"/>
                    <a:pt x="280" y="199"/>
                    <a:pt x="280" y="199"/>
                  </a:cubicBezTo>
                  <a:cubicBezTo>
                    <a:pt x="279" y="199"/>
                    <a:pt x="279" y="200"/>
                    <a:pt x="278" y="201"/>
                  </a:cubicBezTo>
                  <a:cubicBezTo>
                    <a:pt x="278" y="201"/>
                    <a:pt x="278" y="202"/>
                    <a:pt x="277" y="203"/>
                  </a:cubicBezTo>
                  <a:cubicBezTo>
                    <a:pt x="276" y="208"/>
                    <a:pt x="274" y="211"/>
                    <a:pt x="272" y="212"/>
                  </a:cubicBezTo>
                  <a:cubicBezTo>
                    <a:pt x="272" y="212"/>
                    <a:pt x="271" y="212"/>
                    <a:pt x="270" y="212"/>
                  </a:cubicBezTo>
                  <a:cubicBezTo>
                    <a:pt x="269" y="212"/>
                    <a:pt x="269" y="212"/>
                    <a:pt x="268" y="212"/>
                  </a:cubicBezTo>
                  <a:cubicBezTo>
                    <a:pt x="265" y="211"/>
                    <a:pt x="263" y="209"/>
                    <a:pt x="261" y="207"/>
                  </a:cubicBezTo>
                  <a:cubicBezTo>
                    <a:pt x="260" y="207"/>
                    <a:pt x="260" y="207"/>
                    <a:pt x="260" y="207"/>
                  </a:cubicBezTo>
                  <a:cubicBezTo>
                    <a:pt x="255" y="204"/>
                    <a:pt x="253" y="203"/>
                    <a:pt x="253" y="202"/>
                  </a:cubicBezTo>
                  <a:cubicBezTo>
                    <a:pt x="251" y="198"/>
                    <a:pt x="251" y="198"/>
                    <a:pt x="251" y="198"/>
                  </a:cubicBezTo>
                  <a:cubicBezTo>
                    <a:pt x="250" y="196"/>
                    <a:pt x="249" y="194"/>
                    <a:pt x="249" y="193"/>
                  </a:cubicBezTo>
                  <a:cubicBezTo>
                    <a:pt x="248" y="192"/>
                    <a:pt x="248" y="191"/>
                    <a:pt x="247" y="191"/>
                  </a:cubicBezTo>
                  <a:cubicBezTo>
                    <a:pt x="246" y="189"/>
                    <a:pt x="245" y="187"/>
                    <a:pt x="245" y="186"/>
                  </a:cubicBezTo>
                  <a:cubicBezTo>
                    <a:pt x="245" y="186"/>
                    <a:pt x="245" y="186"/>
                    <a:pt x="245" y="186"/>
                  </a:cubicBezTo>
                  <a:cubicBezTo>
                    <a:pt x="245" y="185"/>
                    <a:pt x="245" y="185"/>
                    <a:pt x="245" y="185"/>
                  </a:cubicBezTo>
                  <a:cubicBezTo>
                    <a:pt x="245" y="185"/>
                    <a:pt x="244" y="184"/>
                    <a:pt x="245" y="184"/>
                  </a:cubicBezTo>
                  <a:cubicBezTo>
                    <a:pt x="245" y="181"/>
                    <a:pt x="248" y="181"/>
                    <a:pt x="250" y="180"/>
                  </a:cubicBezTo>
                  <a:cubicBezTo>
                    <a:pt x="250" y="180"/>
                    <a:pt x="250" y="180"/>
                    <a:pt x="250" y="180"/>
                  </a:cubicBezTo>
                  <a:cubicBezTo>
                    <a:pt x="251" y="180"/>
                    <a:pt x="252" y="179"/>
                    <a:pt x="253" y="179"/>
                  </a:cubicBezTo>
                  <a:cubicBezTo>
                    <a:pt x="253" y="178"/>
                    <a:pt x="254" y="176"/>
                    <a:pt x="255" y="174"/>
                  </a:cubicBezTo>
                  <a:cubicBezTo>
                    <a:pt x="257" y="172"/>
                    <a:pt x="258" y="169"/>
                    <a:pt x="260" y="167"/>
                  </a:cubicBezTo>
                  <a:cubicBezTo>
                    <a:pt x="261" y="166"/>
                    <a:pt x="261" y="166"/>
                    <a:pt x="261" y="166"/>
                  </a:cubicBezTo>
                  <a:cubicBezTo>
                    <a:pt x="262" y="164"/>
                    <a:pt x="265" y="163"/>
                    <a:pt x="268" y="162"/>
                  </a:cubicBezTo>
                  <a:cubicBezTo>
                    <a:pt x="269" y="161"/>
                    <a:pt x="269" y="161"/>
                    <a:pt x="269" y="161"/>
                  </a:cubicBezTo>
                  <a:cubicBezTo>
                    <a:pt x="271" y="160"/>
                    <a:pt x="272" y="160"/>
                    <a:pt x="274" y="159"/>
                  </a:cubicBezTo>
                  <a:cubicBezTo>
                    <a:pt x="277" y="157"/>
                    <a:pt x="280" y="156"/>
                    <a:pt x="283" y="156"/>
                  </a:cubicBezTo>
                  <a:cubicBezTo>
                    <a:pt x="283" y="155"/>
                    <a:pt x="283" y="155"/>
                    <a:pt x="284" y="155"/>
                  </a:cubicBezTo>
                  <a:cubicBezTo>
                    <a:pt x="284" y="155"/>
                    <a:pt x="284" y="155"/>
                    <a:pt x="284" y="155"/>
                  </a:cubicBezTo>
                  <a:cubicBezTo>
                    <a:pt x="284" y="155"/>
                    <a:pt x="284" y="155"/>
                    <a:pt x="284" y="155"/>
                  </a:cubicBezTo>
                  <a:moveTo>
                    <a:pt x="300" y="0"/>
                  </a:moveTo>
                  <a:cubicBezTo>
                    <a:pt x="299" y="0"/>
                    <a:pt x="298" y="0"/>
                    <a:pt x="297" y="0"/>
                  </a:cubicBezTo>
                  <a:cubicBezTo>
                    <a:pt x="296" y="0"/>
                    <a:pt x="295" y="0"/>
                    <a:pt x="295" y="0"/>
                  </a:cubicBezTo>
                  <a:cubicBezTo>
                    <a:pt x="295" y="1"/>
                    <a:pt x="295" y="1"/>
                    <a:pt x="294" y="2"/>
                  </a:cubicBezTo>
                  <a:cubicBezTo>
                    <a:pt x="293" y="4"/>
                    <a:pt x="292" y="6"/>
                    <a:pt x="289" y="7"/>
                  </a:cubicBezTo>
                  <a:cubicBezTo>
                    <a:pt x="287" y="8"/>
                    <a:pt x="287" y="8"/>
                    <a:pt x="287" y="8"/>
                  </a:cubicBezTo>
                  <a:cubicBezTo>
                    <a:pt x="286" y="8"/>
                    <a:pt x="283" y="9"/>
                    <a:pt x="280" y="10"/>
                  </a:cubicBezTo>
                  <a:cubicBezTo>
                    <a:pt x="280" y="10"/>
                    <a:pt x="280" y="10"/>
                    <a:pt x="280" y="10"/>
                  </a:cubicBezTo>
                  <a:cubicBezTo>
                    <a:pt x="279" y="10"/>
                    <a:pt x="279" y="10"/>
                    <a:pt x="279" y="9"/>
                  </a:cubicBezTo>
                  <a:cubicBezTo>
                    <a:pt x="278" y="9"/>
                    <a:pt x="278" y="9"/>
                    <a:pt x="278" y="9"/>
                  </a:cubicBezTo>
                  <a:cubicBezTo>
                    <a:pt x="277" y="10"/>
                    <a:pt x="275" y="13"/>
                    <a:pt x="274" y="14"/>
                  </a:cubicBezTo>
                  <a:cubicBezTo>
                    <a:pt x="273" y="15"/>
                    <a:pt x="273" y="15"/>
                    <a:pt x="273" y="15"/>
                  </a:cubicBezTo>
                  <a:cubicBezTo>
                    <a:pt x="270" y="19"/>
                    <a:pt x="267" y="23"/>
                    <a:pt x="262" y="26"/>
                  </a:cubicBezTo>
                  <a:cubicBezTo>
                    <a:pt x="260" y="27"/>
                    <a:pt x="259" y="28"/>
                    <a:pt x="257" y="29"/>
                  </a:cubicBezTo>
                  <a:cubicBezTo>
                    <a:pt x="254" y="32"/>
                    <a:pt x="248" y="35"/>
                    <a:pt x="247" y="38"/>
                  </a:cubicBezTo>
                  <a:cubicBezTo>
                    <a:pt x="246" y="42"/>
                    <a:pt x="246" y="42"/>
                    <a:pt x="246" y="42"/>
                  </a:cubicBezTo>
                  <a:cubicBezTo>
                    <a:pt x="246" y="42"/>
                    <a:pt x="246" y="43"/>
                    <a:pt x="246" y="44"/>
                  </a:cubicBezTo>
                  <a:cubicBezTo>
                    <a:pt x="246" y="45"/>
                    <a:pt x="245" y="46"/>
                    <a:pt x="245" y="47"/>
                  </a:cubicBezTo>
                  <a:cubicBezTo>
                    <a:pt x="245" y="49"/>
                    <a:pt x="244" y="51"/>
                    <a:pt x="242" y="52"/>
                  </a:cubicBezTo>
                  <a:cubicBezTo>
                    <a:pt x="242" y="53"/>
                    <a:pt x="241" y="53"/>
                    <a:pt x="240" y="54"/>
                  </a:cubicBezTo>
                  <a:cubicBezTo>
                    <a:pt x="238" y="56"/>
                    <a:pt x="238" y="56"/>
                    <a:pt x="238" y="56"/>
                  </a:cubicBezTo>
                  <a:cubicBezTo>
                    <a:pt x="234" y="60"/>
                    <a:pt x="232" y="61"/>
                    <a:pt x="227" y="61"/>
                  </a:cubicBezTo>
                  <a:cubicBezTo>
                    <a:pt x="225" y="62"/>
                    <a:pt x="223" y="62"/>
                    <a:pt x="222" y="62"/>
                  </a:cubicBezTo>
                  <a:cubicBezTo>
                    <a:pt x="222" y="63"/>
                    <a:pt x="222" y="63"/>
                    <a:pt x="222" y="63"/>
                  </a:cubicBezTo>
                  <a:cubicBezTo>
                    <a:pt x="222" y="64"/>
                    <a:pt x="222" y="65"/>
                    <a:pt x="221" y="66"/>
                  </a:cubicBezTo>
                  <a:cubicBezTo>
                    <a:pt x="220" y="72"/>
                    <a:pt x="218" y="77"/>
                    <a:pt x="216" y="81"/>
                  </a:cubicBezTo>
                  <a:cubicBezTo>
                    <a:pt x="215" y="82"/>
                    <a:pt x="215" y="82"/>
                    <a:pt x="214" y="83"/>
                  </a:cubicBezTo>
                  <a:cubicBezTo>
                    <a:pt x="213" y="84"/>
                    <a:pt x="213" y="84"/>
                    <a:pt x="213" y="84"/>
                  </a:cubicBezTo>
                  <a:cubicBezTo>
                    <a:pt x="212" y="85"/>
                    <a:pt x="210" y="87"/>
                    <a:pt x="208" y="88"/>
                  </a:cubicBezTo>
                  <a:cubicBezTo>
                    <a:pt x="207" y="88"/>
                    <a:pt x="206" y="89"/>
                    <a:pt x="204" y="89"/>
                  </a:cubicBezTo>
                  <a:cubicBezTo>
                    <a:pt x="203" y="89"/>
                    <a:pt x="203" y="89"/>
                    <a:pt x="203" y="89"/>
                  </a:cubicBezTo>
                  <a:cubicBezTo>
                    <a:pt x="201" y="89"/>
                    <a:pt x="200" y="89"/>
                    <a:pt x="198" y="90"/>
                  </a:cubicBezTo>
                  <a:cubicBezTo>
                    <a:pt x="197" y="90"/>
                    <a:pt x="195" y="90"/>
                    <a:pt x="194" y="90"/>
                  </a:cubicBezTo>
                  <a:cubicBezTo>
                    <a:pt x="191" y="90"/>
                    <a:pt x="189" y="90"/>
                    <a:pt x="187" y="89"/>
                  </a:cubicBezTo>
                  <a:cubicBezTo>
                    <a:pt x="174" y="84"/>
                    <a:pt x="174" y="84"/>
                    <a:pt x="174" y="84"/>
                  </a:cubicBezTo>
                  <a:cubicBezTo>
                    <a:pt x="173" y="84"/>
                    <a:pt x="171" y="83"/>
                    <a:pt x="170" y="82"/>
                  </a:cubicBezTo>
                  <a:cubicBezTo>
                    <a:pt x="168" y="81"/>
                    <a:pt x="168" y="81"/>
                    <a:pt x="168" y="81"/>
                  </a:cubicBezTo>
                  <a:cubicBezTo>
                    <a:pt x="166" y="80"/>
                    <a:pt x="163" y="79"/>
                    <a:pt x="161" y="78"/>
                  </a:cubicBezTo>
                  <a:cubicBezTo>
                    <a:pt x="158" y="77"/>
                    <a:pt x="157" y="77"/>
                    <a:pt x="155" y="77"/>
                  </a:cubicBezTo>
                  <a:cubicBezTo>
                    <a:pt x="154" y="77"/>
                    <a:pt x="154" y="77"/>
                    <a:pt x="153" y="77"/>
                  </a:cubicBezTo>
                  <a:cubicBezTo>
                    <a:pt x="153" y="77"/>
                    <a:pt x="151" y="80"/>
                    <a:pt x="150" y="80"/>
                  </a:cubicBezTo>
                  <a:cubicBezTo>
                    <a:pt x="150" y="81"/>
                    <a:pt x="150" y="81"/>
                    <a:pt x="150" y="81"/>
                  </a:cubicBezTo>
                  <a:cubicBezTo>
                    <a:pt x="150" y="81"/>
                    <a:pt x="150" y="82"/>
                    <a:pt x="150" y="82"/>
                  </a:cubicBezTo>
                  <a:cubicBezTo>
                    <a:pt x="150" y="82"/>
                    <a:pt x="150" y="82"/>
                    <a:pt x="150" y="82"/>
                  </a:cubicBezTo>
                  <a:cubicBezTo>
                    <a:pt x="150" y="83"/>
                    <a:pt x="150" y="83"/>
                    <a:pt x="150" y="83"/>
                  </a:cubicBezTo>
                  <a:cubicBezTo>
                    <a:pt x="150" y="84"/>
                    <a:pt x="150" y="85"/>
                    <a:pt x="149" y="85"/>
                  </a:cubicBezTo>
                  <a:cubicBezTo>
                    <a:pt x="149" y="86"/>
                    <a:pt x="149" y="86"/>
                    <a:pt x="149" y="87"/>
                  </a:cubicBezTo>
                  <a:cubicBezTo>
                    <a:pt x="148" y="87"/>
                    <a:pt x="148" y="87"/>
                    <a:pt x="148" y="87"/>
                  </a:cubicBezTo>
                  <a:cubicBezTo>
                    <a:pt x="149" y="88"/>
                    <a:pt x="149" y="88"/>
                    <a:pt x="149" y="88"/>
                  </a:cubicBezTo>
                  <a:cubicBezTo>
                    <a:pt x="149" y="89"/>
                    <a:pt x="149" y="89"/>
                    <a:pt x="149" y="89"/>
                  </a:cubicBezTo>
                  <a:cubicBezTo>
                    <a:pt x="147" y="90"/>
                    <a:pt x="147" y="90"/>
                    <a:pt x="147" y="90"/>
                  </a:cubicBezTo>
                  <a:cubicBezTo>
                    <a:pt x="147" y="91"/>
                    <a:pt x="147" y="91"/>
                    <a:pt x="147" y="91"/>
                  </a:cubicBezTo>
                  <a:cubicBezTo>
                    <a:pt x="147" y="92"/>
                    <a:pt x="147" y="94"/>
                    <a:pt x="146" y="95"/>
                  </a:cubicBezTo>
                  <a:cubicBezTo>
                    <a:pt x="145" y="96"/>
                    <a:pt x="145" y="96"/>
                    <a:pt x="144" y="97"/>
                  </a:cubicBezTo>
                  <a:cubicBezTo>
                    <a:pt x="142" y="99"/>
                    <a:pt x="142" y="99"/>
                    <a:pt x="142" y="99"/>
                  </a:cubicBezTo>
                  <a:cubicBezTo>
                    <a:pt x="131" y="109"/>
                    <a:pt x="131" y="109"/>
                    <a:pt x="131" y="109"/>
                  </a:cubicBezTo>
                  <a:cubicBezTo>
                    <a:pt x="130" y="109"/>
                    <a:pt x="130" y="109"/>
                    <a:pt x="130" y="109"/>
                  </a:cubicBezTo>
                  <a:cubicBezTo>
                    <a:pt x="130" y="110"/>
                    <a:pt x="130" y="110"/>
                    <a:pt x="130" y="110"/>
                  </a:cubicBezTo>
                  <a:cubicBezTo>
                    <a:pt x="127" y="112"/>
                    <a:pt x="127" y="112"/>
                    <a:pt x="127" y="112"/>
                  </a:cubicBezTo>
                  <a:cubicBezTo>
                    <a:pt x="125" y="114"/>
                    <a:pt x="123" y="116"/>
                    <a:pt x="119" y="117"/>
                  </a:cubicBezTo>
                  <a:cubicBezTo>
                    <a:pt x="119" y="117"/>
                    <a:pt x="119" y="117"/>
                    <a:pt x="119" y="117"/>
                  </a:cubicBezTo>
                  <a:cubicBezTo>
                    <a:pt x="118" y="117"/>
                    <a:pt x="118" y="117"/>
                    <a:pt x="118" y="117"/>
                  </a:cubicBezTo>
                  <a:cubicBezTo>
                    <a:pt x="117" y="117"/>
                    <a:pt x="116" y="117"/>
                    <a:pt x="116" y="116"/>
                  </a:cubicBezTo>
                  <a:cubicBezTo>
                    <a:pt x="115" y="116"/>
                    <a:pt x="115" y="116"/>
                    <a:pt x="115" y="116"/>
                  </a:cubicBezTo>
                  <a:cubicBezTo>
                    <a:pt x="114" y="116"/>
                    <a:pt x="114" y="116"/>
                    <a:pt x="113" y="116"/>
                  </a:cubicBezTo>
                  <a:cubicBezTo>
                    <a:pt x="113" y="116"/>
                    <a:pt x="113" y="116"/>
                    <a:pt x="113" y="116"/>
                  </a:cubicBezTo>
                  <a:cubicBezTo>
                    <a:pt x="112" y="116"/>
                    <a:pt x="112" y="116"/>
                    <a:pt x="111" y="116"/>
                  </a:cubicBezTo>
                  <a:cubicBezTo>
                    <a:pt x="111" y="116"/>
                    <a:pt x="111" y="116"/>
                    <a:pt x="110" y="116"/>
                  </a:cubicBezTo>
                  <a:cubicBezTo>
                    <a:pt x="110" y="116"/>
                    <a:pt x="109" y="116"/>
                    <a:pt x="108" y="116"/>
                  </a:cubicBezTo>
                  <a:cubicBezTo>
                    <a:pt x="107" y="116"/>
                    <a:pt x="106" y="116"/>
                    <a:pt x="105" y="116"/>
                  </a:cubicBezTo>
                  <a:cubicBezTo>
                    <a:pt x="104" y="116"/>
                    <a:pt x="103" y="115"/>
                    <a:pt x="103" y="115"/>
                  </a:cubicBezTo>
                  <a:cubicBezTo>
                    <a:pt x="103" y="115"/>
                    <a:pt x="102" y="115"/>
                    <a:pt x="102" y="115"/>
                  </a:cubicBezTo>
                  <a:cubicBezTo>
                    <a:pt x="102" y="115"/>
                    <a:pt x="101" y="116"/>
                    <a:pt x="101" y="116"/>
                  </a:cubicBezTo>
                  <a:cubicBezTo>
                    <a:pt x="100" y="116"/>
                    <a:pt x="99" y="117"/>
                    <a:pt x="99" y="117"/>
                  </a:cubicBezTo>
                  <a:cubicBezTo>
                    <a:pt x="96" y="119"/>
                    <a:pt x="96" y="119"/>
                    <a:pt x="96" y="119"/>
                  </a:cubicBezTo>
                  <a:cubicBezTo>
                    <a:pt x="94" y="116"/>
                    <a:pt x="94" y="116"/>
                    <a:pt x="94" y="116"/>
                  </a:cubicBezTo>
                  <a:cubicBezTo>
                    <a:pt x="94" y="115"/>
                    <a:pt x="94" y="114"/>
                    <a:pt x="93" y="112"/>
                  </a:cubicBezTo>
                  <a:cubicBezTo>
                    <a:pt x="93" y="112"/>
                    <a:pt x="93" y="111"/>
                    <a:pt x="93" y="111"/>
                  </a:cubicBezTo>
                  <a:cubicBezTo>
                    <a:pt x="88" y="112"/>
                    <a:pt x="88" y="112"/>
                    <a:pt x="88" y="112"/>
                  </a:cubicBezTo>
                  <a:cubicBezTo>
                    <a:pt x="93" y="110"/>
                    <a:pt x="93" y="110"/>
                    <a:pt x="93" y="110"/>
                  </a:cubicBezTo>
                  <a:cubicBezTo>
                    <a:pt x="93" y="109"/>
                    <a:pt x="93" y="109"/>
                    <a:pt x="93" y="109"/>
                  </a:cubicBezTo>
                  <a:cubicBezTo>
                    <a:pt x="93" y="109"/>
                    <a:pt x="93" y="108"/>
                    <a:pt x="93" y="108"/>
                  </a:cubicBezTo>
                  <a:cubicBezTo>
                    <a:pt x="93" y="106"/>
                    <a:pt x="93" y="106"/>
                    <a:pt x="93" y="106"/>
                  </a:cubicBezTo>
                  <a:cubicBezTo>
                    <a:pt x="93" y="104"/>
                    <a:pt x="94" y="101"/>
                    <a:pt x="95" y="99"/>
                  </a:cubicBezTo>
                  <a:cubicBezTo>
                    <a:pt x="96" y="99"/>
                    <a:pt x="96" y="99"/>
                    <a:pt x="96" y="99"/>
                  </a:cubicBezTo>
                  <a:cubicBezTo>
                    <a:pt x="96" y="98"/>
                    <a:pt x="96" y="98"/>
                    <a:pt x="96" y="98"/>
                  </a:cubicBezTo>
                  <a:cubicBezTo>
                    <a:pt x="97" y="98"/>
                    <a:pt x="97" y="98"/>
                    <a:pt x="97" y="98"/>
                  </a:cubicBezTo>
                  <a:cubicBezTo>
                    <a:pt x="98" y="96"/>
                    <a:pt x="98" y="96"/>
                    <a:pt x="98" y="95"/>
                  </a:cubicBezTo>
                  <a:cubicBezTo>
                    <a:pt x="98" y="95"/>
                    <a:pt x="98" y="95"/>
                    <a:pt x="98" y="94"/>
                  </a:cubicBezTo>
                  <a:cubicBezTo>
                    <a:pt x="98" y="91"/>
                    <a:pt x="96" y="86"/>
                    <a:pt x="95" y="83"/>
                  </a:cubicBezTo>
                  <a:cubicBezTo>
                    <a:pt x="94" y="81"/>
                    <a:pt x="94" y="81"/>
                    <a:pt x="94" y="81"/>
                  </a:cubicBezTo>
                  <a:cubicBezTo>
                    <a:pt x="94" y="81"/>
                    <a:pt x="94" y="80"/>
                    <a:pt x="94" y="80"/>
                  </a:cubicBezTo>
                  <a:cubicBezTo>
                    <a:pt x="93" y="78"/>
                    <a:pt x="93" y="78"/>
                    <a:pt x="93" y="78"/>
                  </a:cubicBezTo>
                  <a:cubicBezTo>
                    <a:pt x="92" y="75"/>
                    <a:pt x="89" y="71"/>
                    <a:pt x="88" y="70"/>
                  </a:cubicBezTo>
                  <a:cubicBezTo>
                    <a:pt x="86" y="69"/>
                    <a:pt x="85" y="68"/>
                    <a:pt x="83" y="67"/>
                  </a:cubicBezTo>
                  <a:cubicBezTo>
                    <a:pt x="84" y="69"/>
                    <a:pt x="84" y="70"/>
                    <a:pt x="84" y="72"/>
                  </a:cubicBezTo>
                  <a:cubicBezTo>
                    <a:pt x="84" y="145"/>
                    <a:pt x="84" y="145"/>
                    <a:pt x="84" y="145"/>
                  </a:cubicBezTo>
                  <a:cubicBezTo>
                    <a:pt x="84" y="145"/>
                    <a:pt x="84" y="146"/>
                    <a:pt x="84" y="146"/>
                  </a:cubicBezTo>
                  <a:cubicBezTo>
                    <a:pt x="84" y="147"/>
                    <a:pt x="84" y="147"/>
                    <a:pt x="84" y="147"/>
                  </a:cubicBezTo>
                  <a:cubicBezTo>
                    <a:pt x="84" y="151"/>
                    <a:pt x="84" y="153"/>
                    <a:pt x="83" y="155"/>
                  </a:cubicBezTo>
                  <a:cubicBezTo>
                    <a:pt x="82" y="157"/>
                    <a:pt x="79" y="158"/>
                    <a:pt x="76" y="158"/>
                  </a:cubicBezTo>
                  <a:cubicBezTo>
                    <a:pt x="75" y="158"/>
                    <a:pt x="75" y="158"/>
                    <a:pt x="75" y="158"/>
                  </a:cubicBezTo>
                  <a:cubicBezTo>
                    <a:pt x="74" y="158"/>
                    <a:pt x="73" y="158"/>
                    <a:pt x="73" y="159"/>
                  </a:cubicBezTo>
                  <a:cubicBezTo>
                    <a:pt x="71" y="160"/>
                    <a:pt x="69" y="161"/>
                    <a:pt x="67" y="162"/>
                  </a:cubicBezTo>
                  <a:cubicBezTo>
                    <a:pt x="66" y="163"/>
                    <a:pt x="66" y="164"/>
                    <a:pt x="65" y="165"/>
                  </a:cubicBezTo>
                  <a:cubicBezTo>
                    <a:pt x="65" y="166"/>
                    <a:pt x="65" y="167"/>
                    <a:pt x="64" y="168"/>
                  </a:cubicBezTo>
                  <a:cubicBezTo>
                    <a:pt x="63" y="169"/>
                    <a:pt x="62" y="169"/>
                    <a:pt x="60" y="169"/>
                  </a:cubicBezTo>
                  <a:cubicBezTo>
                    <a:pt x="59" y="169"/>
                    <a:pt x="57" y="170"/>
                    <a:pt x="54" y="170"/>
                  </a:cubicBezTo>
                  <a:cubicBezTo>
                    <a:pt x="51" y="170"/>
                    <a:pt x="47" y="169"/>
                    <a:pt x="44" y="169"/>
                  </a:cubicBezTo>
                  <a:cubicBezTo>
                    <a:pt x="43" y="169"/>
                    <a:pt x="41" y="169"/>
                    <a:pt x="41" y="169"/>
                  </a:cubicBezTo>
                  <a:cubicBezTo>
                    <a:pt x="36" y="169"/>
                    <a:pt x="31" y="167"/>
                    <a:pt x="27" y="166"/>
                  </a:cubicBezTo>
                  <a:cubicBezTo>
                    <a:pt x="26" y="166"/>
                    <a:pt x="26" y="166"/>
                    <a:pt x="26" y="166"/>
                  </a:cubicBezTo>
                  <a:cubicBezTo>
                    <a:pt x="25" y="165"/>
                    <a:pt x="24" y="165"/>
                    <a:pt x="24" y="165"/>
                  </a:cubicBezTo>
                  <a:cubicBezTo>
                    <a:pt x="23" y="165"/>
                    <a:pt x="23" y="165"/>
                    <a:pt x="23" y="165"/>
                  </a:cubicBezTo>
                  <a:cubicBezTo>
                    <a:pt x="21" y="164"/>
                    <a:pt x="18" y="164"/>
                    <a:pt x="17" y="162"/>
                  </a:cubicBezTo>
                  <a:cubicBezTo>
                    <a:pt x="16" y="161"/>
                    <a:pt x="17" y="160"/>
                    <a:pt x="17" y="159"/>
                  </a:cubicBezTo>
                  <a:cubicBezTo>
                    <a:pt x="17" y="159"/>
                    <a:pt x="17" y="159"/>
                    <a:pt x="17" y="159"/>
                  </a:cubicBezTo>
                  <a:cubicBezTo>
                    <a:pt x="17" y="158"/>
                    <a:pt x="16" y="158"/>
                    <a:pt x="16" y="157"/>
                  </a:cubicBezTo>
                  <a:cubicBezTo>
                    <a:pt x="15" y="156"/>
                    <a:pt x="15" y="156"/>
                    <a:pt x="15" y="155"/>
                  </a:cubicBezTo>
                  <a:cubicBezTo>
                    <a:pt x="15" y="154"/>
                    <a:pt x="15" y="153"/>
                    <a:pt x="16" y="153"/>
                  </a:cubicBezTo>
                  <a:cubicBezTo>
                    <a:pt x="15" y="152"/>
                    <a:pt x="14" y="152"/>
                    <a:pt x="13" y="151"/>
                  </a:cubicBezTo>
                  <a:cubicBezTo>
                    <a:pt x="13" y="150"/>
                    <a:pt x="13" y="150"/>
                    <a:pt x="13" y="150"/>
                  </a:cubicBezTo>
                  <a:cubicBezTo>
                    <a:pt x="12" y="150"/>
                    <a:pt x="12" y="150"/>
                    <a:pt x="12" y="150"/>
                  </a:cubicBezTo>
                  <a:cubicBezTo>
                    <a:pt x="12" y="149"/>
                    <a:pt x="12" y="148"/>
                    <a:pt x="12" y="148"/>
                  </a:cubicBezTo>
                  <a:cubicBezTo>
                    <a:pt x="10" y="148"/>
                    <a:pt x="10" y="148"/>
                    <a:pt x="10" y="148"/>
                  </a:cubicBezTo>
                  <a:cubicBezTo>
                    <a:pt x="9" y="148"/>
                    <a:pt x="9" y="148"/>
                    <a:pt x="9" y="148"/>
                  </a:cubicBezTo>
                  <a:cubicBezTo>
                    <a:pt x="9" y="148"/>
                    <a:pt x="9" y="148"/>
                    <a:pt x="9" y="148"/>
                  </a:cubicBezTo>
                  <a:cubicBezTo>
                    <a:pt x="9" y="148"/>
                    <a:pt x="8" y="149"/>
                    <a:pt x="8" y="149"/>
                  </a:cubicBezTo>
                  <a:cubicBezTo>
                    <a:pt x="8" y="150"/>
                    <a:pt x="8" y="150"/>
                    <a:pt x="8" y="150"/>
                  </a:cubicBezTo>
                  <a:cubicBezTo>
                    <a:pt x="7" y="151"/>
                    <a:pt x="6" y="152"/>
                    <a:pt x="6" y="153"/>
                  </a:cubicBezTo>
                  <a:cubicBezTo>
                    <a:pt x="5" y="154"/>
                    <a:pt x="5" y="154"/>
                    <a:pt x="4" y="155"/>
                  </a:cubicBezTo>
                  <a:cubicBezTo>
                    <a:pt x="4" y="155"/>
                    <a:pt x="4" y="155"/>
                    <a:pt x="4" y="155"/>
                  </a:cubicBezTo>
                  <a:cubicBezTo>
                    <a:pt x="3" y="156"/>
                    <a:pt x="2" y="158"/>
                    <a:pt x="1" y="159"/>
                  </a:cubicBezTo>
                  <a:cubicBezTo>
                    <a:pt x="0" y="160"/>
                    <a:pt x="0" y="160"/>
                    <a:pt x="0" y="160"/>
                  </a:cubicBezTo>
                  <a:cubicBezTo>
                    <a:pt x="0" y="160"/>
                    <a:pt x="0" y="160"/>
                    <a:pt x="0" y="160"/>
                  </a:cubicBezTo>
                  <a:cubicBezTo>
                    <a:pt x="0" y="162"/>
                    <a:pt x="1" y="163"/>
                    <a:pt x="2" y="165"/>
                  </a:cubicBezTo>
                  <a:cubicBezTo>
                    <a:pt x="5" y="173"/>
                    <a:pt x="9" y="182"/>
                    <a:pt x="13" y="190"/>
                  </a:cubicBezTo>
                  <a:cubicBezTo>
                    <a:pt x="18" y="202"/>
                    <a:pt x="23" y="215"/>
                    <a:pt x="30" y="226"/>
                  </a:cubicBezTo>
                  <a:cubicBezTo>
                    <a:pt x="32" y="231"/>
                    <a:pt x="35" y="235"/>
                    <a:pt x="37" y="239"/>
                  </a:cubicBezTo>
                  <a:cubicBezTo>
                    <a:pt x="38" y="241"/>
                    <a:pt x="40" y="244"/>
                    <a:pt x="40" y="246"/>
                  </a:cubicBezTo>
                  <a:cubicBezTo>
                    <a:pt x="41" y="249"/>
                    <a:pt x="43" y="252"/>
                    <a:pt x="41" y="255"/>
                  </a:cubicBezTo>
                  <a:cubicBezTo>
                    <a:pt x="40" y="259"/>
                    <a:pt x="38" y="262"/>
                    <a:pt x="37" y="266"/>
                  </a:cubicBezTo>
                  <a:cubicBezTo>
                    <a:pt x="37" y="266"/>
                    <a:pt x="37" y="266"/>
                    <a:pt x="37" y="266"/>
                  </a:cubicBezTo>
                  <a:cubicBezTo>
                    <a:pt x="37" y="266"/>
                    <a:pt x="36" y="266"/>
                    <a:pt x="36" y="266"/>
                  </a:cubicBezTo>
                  <a:cubicBezTo>
                    <a:pt x="35" y="266"/>
                    <a:pt x="34" y="266"/>
                    <a:pt x="34" y="266"/>
                  </a:cubicBezTo>
                  <a:cubicBezTo>
                    <a:pt x="32" y="266"/>
                    <a:pt x="31" y="266"/>
                    <a:pt x="30" y="267"/>
                  </a:cubicBezTo>
                  <a:cubicBezTo>
                    <a:pt x="30" y="269"/>
                    <a:pt x="30" y="269"/>
                    <a:pt x="30" y="269"/>
                  </a:cubicBezTo>
                  <a:cubicBezTo>
                    <a:pt x="31" y="271"/>
                    <a:pt x="31" y="273"/>
                    <a:pt x="32" y="273"/>
                  </a:cubicBezTo>
                  <a:cubicBezTo>
                    <a:pt x="32" y="273"/>
                    <a:pt x="32" y="273"/>
                    <a:pt x="32" y="273"/>
                  </a:cubicBezTo>
                  <a:cubicBezTo>
                    <a:pt x="33" y="273"/>
                    <a:pt x="33" y="273"/>
                    <a:pt x="33" y="273"/>
                  </a:cubicBezTo>
                  <a:cubicBezTo>
                    <a:pt x="36" y="273"/>
                    <a:pt x="36" y="277"/>
                    <a:pt x="37" y="280"/>
                  </a:cubicBezTo>
                  <a:cubicBezTo>
                    <a:pt x="39" y="283"/>
                    <a:pt x="41" y="287"/>
                    <a:pt x="44" y="291"/>
                  </a:cubicBezTo>
                  <a:cubicBezTo>
                    <a:pt x="45" y="293"/>
                    <a:pt x="42" y="296"/>
                    <a:pt x="42" y="299"/>
                  </a:cubicBezTo>
                  <a:cubicBezTo>
                    <a:pt x="42" y="302"/>
                    <a:pt x="44" y="305"/>
                    <a:pt x="45" y="307"/>
                  </a:cubicBezTo>
                  <a:cubicBezTo>
                    <a:pt x="45" y="306"/>
                    <a:pt x="45" y="306"/>
                    <a:pt x="45" y="306"/>
                  </a:cubicBezTo>
                  <a:cubicBezTo>
                    <a:pt x="45" y="305"/>
                    <a:pt x="44" y="304"/>
                    <a:pt x="45" y="302"/>
                  </a:cubicBezTo>
                  <a:cubicBezTo>
                    <a:pt x="46" y="301"/>
                    <a:pt x="48" y="300"/>
                    <a:pt x="50" y="300"/>
                  </a:cubicBezTo>
                  <a:cubicBezTo>
                    <a:pt x="51" y="300"/>
                    <a:pt x="52" y="300"/>
                    <a:pt x="53" y="301"/>
                  </a:cubicBezTo>
                  <a:cubicBezTo>
                    <a:pt x="55" y="303"/>
                    <a:pt x="52" y="307"/>
                    <a:pt x="54" y="308"/>
                  </a:cubicBezTo>
                  <a:cubicBezTo>
                    <a:pt x="54" y="309"/>
                    <a:pt x="54" y="309"/>
                    <a:pt x="54" y="309"/>
                  </a:cubicBezTo>
                  <a:cubicBezTo>
                    <a:pt x="55" y="309"/>
                    <a:pt x="56" y="308"/>
                    <a:pt x="56" y="308"/>
                  </a:cubicBezTo>
                  <a:cubicBezTo>
                    <a:pt x="57" y="308"/>
                    <a:pt x="58" y="308"/>
                    <a:pt x="59" y="308"/>
                  </a:cubicBezTo>
                  <a:cubicBezTo>
                    <a:pt x="59" y="308"/>
                    <a:pt x="60" y="308"/>
                    <a:pt x="60" y="308"/>
                  </a:cubicBezTo>
                  <a:cubicBezTo>
                    <a:pt x="62" y="310"/>
                    <a:pt x="65" y="314"/>
                    <a:pt x="67" y="315"/>
                  </a:cubicBezTo>
                  <a:cubicBezTo>
                    <a:pt x="71" y="316"/>
                    <a:pt x="76" y="317"/>
                    <a:pt x="80" y="319"/>
                  </a:cubicBezTo>
                  <a:cubicBezTo>
                    <a:pt x="81" y="319"/>
                    <a:pt x="81" y="319"/>
                    <a:pt x="82" y="319"/>
                  </a:cubicBezTo>
                  <a:cubicBezTo>
                    <a:pt x="83" y="319"/>
                    <a:pt x="84" y="319"/>
                    <a:pt x="86" y="317"/>
                  </a:cubicBezTo>
                  <a:cubicBezTo>
                    <a:pt x="92" y="313"/>
                    <a:pt x="97" y="309"/>
                    <a:pt x="105" y="308"/>
                  </a:cubicBezTo>
                  <a:cubicBezTo>
                    <a:pt x="108" y="308"/>
                    <a:pt x="112" y="308"/>
                    <a:pt x="115" y="308"/>
                  </a:cubicBezTo>
                  <a:cubicBezTo>
                    <a:pt x="116" y="308"/>
                    <a:pt x="116" y="308"/>
                    <a:pt x="116" y="308"/>
                  </a:cubicBezTo>
                  <a:cubicBezTo>
                    <a:pt x="117" y="308"/>
                    <a:pt x="117" y="308"/>
                    <a:pt x="118" y="308"/>
                  </a:cubicBezTo>
                  <a:cubicBezTo>
                    <a:pt x="119" y="308"/>
                    <a:pt x="120" y="308"/>
                    <a:pt x="121" y="308"/>
                  </a:cubicBezTo>
                  <a:cubicBezTo>
                    <a:pt x="123" y="308"/>
                    <a:pt x="124" y="308"/>
                    <a:pt x="125" y="307"/>
                  </a:cubicBezTo>
                  <a:cubicBezTo>
                    <a:pt x="128" y="306"/>
                    <a:pt x="131" y="302"/>
                    <a:pt x="133" y="300"/>
                  </a:cubicBezTo>
                  <a:cubicBezTo>
                    <a:pt x="135" y="299"/>
                    <a:pt x="140" y="299"/>
                    <a:pt x="142" y="299"/>
                  </a:cubicBezTo>
                  <a:cubicBezTo>
                    <a:pt x="143" y="299"/>
                    <a:pt x="145" y="299"/>
                    <a:pt x="146" y="299"/>
                  </a:cubicBezTo>
                  <a:cubicBezTo>
                    <a:pt x="151" y="299"/>
                    <a:pt x="155" y="300"/>
                    <a:pt x="160" y="301"/>
                  </a:cubicBezTo>
                  <a:cubicBezTo>
                    <a:pt x="161" y="299"/>
                    <a:pt x="164" y="298"/>
                    <a:pt x="166" y="298"/>
                  </a:cubicBezTo>
                  <a:cubicBezTo>
                    <a:pt x="170" y="298"/>
                    <a:pt x="175" y="300"/>
                    <a:pt x="178" y="300"/>
                  </a:cubicBezTo>
                  <a:cubicBezTo>
                    <a:pt x="181" y="301"/>
                    <a:pt x="189" y="303"/>
                    <a:pt x="193" y="303"/>
                  </a:cubicBezTo>
                  <a:cubicBezTo>
                    <a:pt x="194" y="303"/>
                    <a:pt x="194" y="303"/>
                    <a:pt x="195" y="303"/>
                  </a:cubicBezTo>
                  <a:cubicBezTo>
                    <a:pt x="195" y="303"/>
                    <a:pt x="195" y="303"/>
                    <a:pt x="195" y="303"/>
                  </a:cubicBezTo>
                  <a:cubicBezTo>
                    <a:pt x="195" y="303"/>
                    <a:pt x="196" y="300"/>
                    <a:pt x="197" y="300"/>
                  </a:cubicBezTo>
                  <a:cubicBezTo>
                    <a:pt x="199" y="298"/>
                    <a:pt x="199" y="297"/>
                    <a:pt x="201" y="297"/>
                  </a:cubicBezTo>
                  <a:cubicBezTo>
                    <a:pt x="202" y="297"/>
                    <a:pt x="203" y="297"/>
                    <a:pt x="204" y="298"/>
                  </a:cubicBezTo>
                  <a:cubicBezTo>
                    <a:pt x="208" y="298"/>
                    <a:pt x="211" y="299"/>
                    <a:pt x="215" y="299"/>
                  </a:cubicBezTo>
                  <a:cubicBezTo>
                    <a:pt x="214" y="297"/>
                    <a:pt x="214" y="297"/>
                    <a:pt x="214" y="297"/>
                  </a:cubicBezTo>
                  <a:cubicBezTo>
                    <a:pt x="214" y="297"/>
                    <a:pt x="213" y="297"/>
                    <a:pt x="213" y="296"/>
                  </a:cubicBezTo>
                  <a:cubicBezTo>
                    <a:pt x="214" y="295"/>
                    <a:pt x="217" y="292"/>
                    <a:pt x="218" y="291"/>
                  </a:cubicBezTo>
                  <a:cubicBezTo>
                    <a:pt x="219" y="291"/>
                    <a:pt x="221" y="291"/>
                    <a:pt x="222" y="291"/>
                  </a:cubicBezTo>
                  <a:cubicBezTo>
                    <a:pt x="222" y="291"/>
                    <a:pt x="223" y="291"/>
                    <a:pt x="224" y="291"/>
                  </a:cubicBezTo>
                  <a:cubicBezTo>
                    <a:pt x="224" y="291"/>
                    <a:pt x="225" y="291"/>
                    <a:pt x="225" y="291"/>
                  </a:cubicBezTo>
                  <a:cubicBezTo>
                    <a:pt x="226" y="291"/>
                    <a:pt x="226" y="291"/>
                    <a:pt x="226" y="291"/>
                  </a:cubicBezTo>
                  <a:cubicBezTo>
                    <a:pt x="229" y="290"/>
                    <a:pt x="233" y="290"/>
                    <a:pt x="236" y="290"/>
                  </a:cubicBezTo>
                  <a:cubicBezTo>
                    <a:pt x="240" y="290"/>
                    <a:pt x="245" y="287"/>
                    <a:pt x="248" y="285"/>
                  </a:cubicBezTo>
                  <a:cubicBezTo>
                    <a:pt x="253" y="282"/>
                    <a:pt x="258" y="279"/>
                    <a:pt x="262" y="276"/>
                  </a:cubicBezTo>
                  <a:cubicBezTo>
                    <a:pt x="266" y="272"/>
                    <a:pt x="270" y="268"/>
                    <a:pt x="275" y="265"/>
                  </a:cubicBezTo>
                  <a:cubicBezTo>
                    <a:pt x="284" y="260"/>
                    <a:pt x="291" y="251"/>
                    <a:pt x="298" y="244"/>
                  </a:cubicBezTo>
                  <a:cubicBezTo>
                    <a:pt x="309" y="233"/>
                    <a:pt x="319" y="224"/>
                    <a:pt x="327" y="212"/>
                  </a:cubicBezTo>
                  <a:cubicBezTo>
                    <a:pt x="334" y="202"/>
                    <a:pt x="338" y="190"/>
                    <a:pt x="346" y="181"/>
                  </a:cubicBezTo>
                  <a:cubicBezTo>
                    <a:pt x="350" y="176"/>
                    <a:pt x="354" y="170"/>
                    <a:pt x="359" y="167"/>
                  </a:cubicBezTo>
                  <a:cubicBezTo>
                    <a:pt x="360" y="166"/>
                    <a:pt x="364" y="165"/>
                    <a:pt x="363" y="164"/>
                  </a:cubicBezTo>
                  <a:cubicBezTo>
                    <a:pt x="363" y="163"/>
                    <a:pt x="364" y="162"/>
                    <a:pt x="365" y="161"/>
                  </a:cubicBezTo>
                  <a:cubicBezTo>
                    <a:pt x="367" y="159"/>
                    <a:pt x="371" y="156"/>
                    <a:pt x="373" y="153"/>
                  </a:cubicBezTo>
                  <a:cubicBezTo>
                    <a:pt x="376" y="147"/>
                    <a:pt x="377" y="139"/>
                    <a:pt x="379" y="132"/>
                  </a:cubicBezTo>
                  <a:cubicBezTo>
                    <a:pt x="380" y="127"/>
                    <a:pt x="382" y="122"/>
                    <a:pt x="383" y="116"/>
                  </a:cubicBezTo>
                  <a:cubicBezTo>
                    <a:pt x="383" y="116"/>
                    <a:pt x="383" y="116"/>
                    <a:pt x="383" y="116"/>
                  </a:cubicBezTo>
                  <a:cubicBezTo>
                    <a:pt x="379" y="117"/>
                    <a:pt x="379" y="117"/>
                    <a:pt x="379" y="117"/>
                  </a:cubicBezTo>
                  <a:cubicBezTo>
                    <a:pt x="378" y="117"/>
                    <a:pt x="376" y="117"/>
                    <a:pt x="374" y="117"/>
                  </a:cubicBezTo>
                  <a:cubicBezTo>
                    <a:pt x="374" y="117"/>
                    <a:pt x="374" y="117"/>
                    <a:pt x="374" y="117"/>
                  </a:cubicBezTo>
                  <a:cubicBezTo>
                    <a:pt x="373" y="117"/>
                    <a:pt x="371" y="117"/>
                    <a:pt x="370" y="117"/>
                  </a:cubicBezTo>
                  <a:cubicBezTo>
                    <a:pt x="369" y="116"/>
                    <a:pt x="367" y="116"/>
                    <a:pt x="366" y="116"/>
                  </a:cubicBezTo>
                  <a:cubicBezTo>
                    <a:pt x="366" y="116"/>
                    <a:pt x="366" y="116"/>
                    <a:pt x="366" y="116"/>
                  </a:cubicBezTo>
                  <a:cubicBezTo>
                    <a:pt x="365" y="118"/>
                    <a:pt x="365" y="121"/>
                    <a:pt x="366" y="124"/>
                  </a:cubicBezTo>
                  <a:cubicBezTo>
                    <a:pt x="366" y="128"/>
                    <a:pt x="366" y="128"/>
                    <a:pt x="366" y="128"/>
                  </a:cubicBezTo>
                  <a:cubicBezTo>
                    <a:pt x="346" y="126"/>
                    <a:pt x="346" y="126"/>
                    <a:pt x="346" y="126"/>
                  </a:cubicBezTo>
                  <a:cubicBezTo>
                    <a:pt x="344" y="125"/>
                    <a:pt x="343" y="124"/>
                    <a:pt x="342" y="123"/>
                  </a:cubicBezTo>
                  <a:cubicBezTo>
                    <a:pt x="338" y="118"/>
                    <a:pt x="338" y="118"/>
                    <a:pt x="338" y="118"/>
                  </a:cubicBezTo>
                  <a:cubicBezTo>
                    <a:pt x="338" y="117"/>
                    <a:pt x="337" y="114"/>
                    <a:pt x="336" y="114"/>
                  </a:cubicBezTo>
                  <a:cubicBezTo>
                    <a:pt x="335" y="113"/>
                    <a:pt x="335" y="113"/>
                    <a:pt x="335" y="113"/>
                  </a:cubicBezTo>
                  <a:cubicBezTo>
                    <a:pt x="334" y="113"/>
                    <a:pt x="334" y="113"/>
                    <a:pt x="333" y="112"/>
                  </a:cubicBezTo>
                  <a:cubicBezTo>
                    <a:pt x="333" y="111"/>
                    <a:pt x="333" y="111"/>
                    <a:pt x="333" y="111"/>
                  </a:cubicBezTo>
                  <a:cubicBezTo>
                    <a:pt x="332" y="111"/>
                    <a:pt x="332" y="110"/>
                    <a:pt x="332" y="110"/>
                  </a:cubicBezTo>
                  <a:cubicBezTo>
                    <a:pt x="332" y="108"/>
                    <a:pt x="332" y="107"/>
                    <a:pt x="332" y="106"/>
                  </a:cubicBezTo>
                  <a:cubicBezTo>
                    <a:pt x="332" y="104"/>
                    <a:pt x="332" y="104"/>
                    <a:pt x="332" y="104"/>
                  </a:cubicBezTo>
                  <a:cubicBezTo>
                    <a:pt x="332" y="104"/>
                    <a:pt x="332" y="104"/>
                    <a:pt x="332" y="104"/>
                  </a:cubicBezTo>
                  <a:cubicBezTo>
                    <a:pt x="333" y="101"/>
                    <a:pt x="335" y="97"/>
                    <a:pt x="336" y="96"/>
                  </a:cubicBezTo>
                  <a:cubicBezTo>
                    <a:pt x="339" y="91"/>
                    <a:pt x="342" y="88"/>
                    <a:pt x="346" y="84"/>
                  </a:cubicBezTo>
                  <a:cubicBezTo>
                    <a:pt x="347" y="83"/>
                    <a:pt x="348" y="83"/>
                    <a:pt x="350" y="83"/>
                  </a:cubicBezTo>
                  <a:cubicBezTo>
                    <a:pt x="350" y="83"/>
                    <a:pt x="351" y="83"/>
                    <a:pt x="352" y="83"/>
                  </a:cubicBezTo>
                  <a:cubicBezTo>
                    <a:pt x="354" y="84"/>
                    <a:pt x="354" y="84"/>
                    <a:pt x="354" y="84"/>
                  </a:cubicBezTo>
                  <a:cubicBezTo>
                    <a:pt x="355" y="85"/>
                    <a:pt x="357" y="86"/>
                    <a:pt x="358" y="87"/>
                  </a:cubicBezTo>
                  <a:cubicBezTo>
                    <a:pt x="360" y="87"/>
                    <a:pt x="360" y="87"/>
                    <a:pt x="360" y="87"/>
                  </a:cubicBezTo>
                  <a:cubicBezTo>
                    <a:pt x="360" y="85"/>
                    <a:pt x="360" y="85"/>
                    <a:pt x="360" y="85"/>
                  </a:cubicBezTo>
                  <a:cubicBezTo>
                    <a:pt x="360" y="84"/>
                    <a:pt x="361" y="83"/>
                    <a:pt x="361" y="83"/>
                  </a:cubicBezTo>
                  <a:cubicBezTo>
                    <a:pt x="361" y="82"/>
                    <a:pt x="360" y="81"/>
                    <a:pt x="360" y="80"/>
                  </a:cubicBezTo>
                  <a:cubicBezTo>
                    <a:pt x="360" y="80"/>
                    <a:pt x="360" y="80"/>
                    <a:pt x="360" y="80"/>
                  </a:cubicBezTo>
                  <a:cubicBezTo>
                    <a:pt x="360" y="79"/>
                    <a:pt x="360" y="77"/>
                    <a:pt x="360" y="76"/>
                  </a:cubicBezTo>
                  <a:cubicBezTo>
                    <a:pt x="361" y="74"/>
                    <a:pt x="361" y="74"/>
                    <a:pt x="361" y="74"/>
                  </a:cubicBezTo>
                  <a:cubicBezTo>
                    <a:pt x="361" y="73"/>
                    <a:pt x="361" y="72"/>
                    <a:pt x="361" y="72"/>
                  </a:cubicBezTo>
                  <a:cubicBezTo>
                    <a:pt x="361" y="67"/>
                    <a:pt x="360" y="62"/>
                    <a:pt x="360" y="57"/>
                  </a:cubicBezTo>
                  <a:cubicBezTo>
                    <a:pt x="359" y="53"/>
                    <a:pt x="359" y="53"/>
                    <a:pt x="359" y="53"/>
                  </a:cubicBezTo>
                  <a:cubicBezTo>
                    <a:pt x="359" y="49"/>
                    <a:pt x="359" y="44"/>
                    <a:pt x="358" y="42"/>
                  </a:cubicBezTo>
                  <a:cubicBezTo>
                    <a:pt x="352" y="33"/>
                    <a:pt x="352" y="33"/>
                    <a:pt x="352" y="33"/>
                  </a:cubicBezTo>
                  <a:cubicBezTo>
                    <a:pt x="350" y="30"/>
                    <a:pt x="350" y="28"/>
                    <a:pt x="350" y="25"/>
                  </a:cubicBezTo>
                  <a:cubicBezTo>
                    <a:pt x="347" y="25"/>
                    <a:pt x="347" y="25"/>
                    <a:pt x="347" y="25"/>
                  </a:cubicBezTo>
                  <a:cubicBezTo>
                    <a:pt x="350" y="24"/>
                    <a:pt x="350" y="24"/>
                    <a:pt x="350" y="24"/>
                  </a:cubicBezTo>
                  <a:cubicBezTo>
                    <a:pt x="350" y="24"/>
                    <a:pt x="350" y="24"/>
                    <a:pt x="350" y="24"/>
                  </a:cubicBezTo>
                  <a:cubicBezTo>
                    <a:pt x="350" y="23"/>
                    <a:pt x="350" y="22"/>
                    <a:pt x="349" y="21"/>
                  </a:cubicBezTo>
                  <a:cubicBezTo>
                    <a:pt x="349" y="18"/>
                    <a:pt x="348" y="15"/>
                    <a:pt x="347" y="12"/>
                  </a:cubicBezTo>
                  <a:cubicBezTo>
                    <a:pt x="346" y="10"/>
                    <a:pt x="345" y="8"/>
                    <a:pt x="345" y="6"/>
                  </a:cubicBezTo>
                  <a:cubicBezTo>
                    <a:pt x="344" y="5"/>
                    <a:pt x="344" y="5"/>
                    <a:pt x="344" y="5"/>
                  </a:cubicBezTo>
                  <a:cubicBezTo>
                    <a:pt x="344" y="5"/>
                    <a:pt x="344" y="5"/>
                    <a:pt x="344" y="5"/>
                  </a:cubicBezTo>
                  <a:cubicBezTo>
                    <a:pt x="342" y="3"/>
                    <a:pt x="340" y="3"/>
                    <a:pt x="337" y="3"/>
                  </a:cubicBezTo>
                  <a:cubicBezTo>
                    <a:pt x="336" y="2"/>
                    <a:pt x="336" y="2"/>
                    <a:pt x="336" y="2"/>
                  </a:cubicBezTo>
                  <a:cubicBezTo>
                    <a:pt x="329" y="1"/>
                    <a:pt x="321" y="1"/>
                    <a:pt x="313" y="1"/>
                  </a:cubicBezTo>
                  <a:cubicBezTo>
                    <a:pt x="310" y="0"/>
                    <a:pt x="310" y="0"/>
                    <a:pt x="310" y="0"/>
                  </a:cubicBezTo>
                  <a:cubicBezTo>
                    <a:pt x="307" y="0"/>
                    <a:pt x="305" y="0"/>
                    <a:pt x="302" y="0"/>
                  </a:cubicBezTo>
                  <a:cubicBezTo>
                    <a:pt x="302" y="0"/>
                    <a:pt x="302" y="0"/>
                    <a:pt x="302" y="0"/>
                  </a:cubicBezTo>
                  <a:cubicBezTo>
                    <a:pt x="301" y="0"/>
                    <a:pt x="301" y="0"/>
                    <a:pt x="301" y="0"/>
                  </a:cubicBezTo>
                  <a:cubicBezTo>
                    <a:pt x="300" y="0"/>
                    <a:pt x="300" y="0"/>
                    <a:pt x="30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0" name="Freeform 309">
              <a:extLst>
                <a:ext uri="{FF2B5EF4-FFF2-40B4-BE49-F238E27FC236}">
                  <a16:creationId xmlns:a16="http://schemas.microsoft.com/office/drawing/2014/main" id="{8459115D-B2D9-4C20-95F5-0D981947F77C}"/>
                </a:ext>
              </a:extLst>
            </p:cNvPr>
            <p:cNvSpPr>
              <a:spLocks/>
            </p:cNvSpPr>
            <p:nvPr/>
          </p:nvSpPr>
          <p:spPr bwMode="auto">
            <a:xfrm>
              <a:off x="5348" y="3344"/>
              <a:ext cx="586" cy="933"/>
            </a:xfrm>
            <a:custGeom>
              <a:avLst/>
              <a:gdLst>
                <a:gd name="T0" fmla="*/ 209 w 248"/>
                <a:gd name="T1" fmla="*/ 17 h 395"/>
                <a:gd name="T2" fmla="*/ 194 w 248"/>
                <a:gd name="T3" fmla="*/ 23 h 395"/>
                <a:gd name="T4" fmla="*/ 180 w 248"/>
                <a:gd name="T5" fmla="*/ 21 h 395"/>
                <a:gd name="T6" fmla="*/ 170 w 248"/>
                <a:gd name="T7" fmla="*/ 29 h 395"/>
                <a:gd name="T8" fmla="*/ 156 w 248"/>
                <a:gd name="T9" fmla="*/ 28 h 395"/>
                <a:gd name="T10" fmla="*/ 136 w 248"/>
                <a:gd name="T11" fmla="*/ 27 h 395"/>
                <a:gd name="T12" fmla="*/ 128 w 248"/>
                <a:gd name="T13" fmla="*/ 25 h 395"/>
                <a:gd name="T14" fmla="*/ 107 w 248"/>
                <a:gd name="T15" fmla="*/ 26 h 395"/>
                <a:gd name="T16" fmla="*/ 102 w 248"/>
                <a:gd name="T17" fmla="*/ 53 h 395"/>
                <a:gd name="T18" fmla="*/ 104 w 248"/>
                <a:gd name="T19" fmla="*/ 68 h 395"/>
                <a:gd name="T20" fmla="*/ 127 w 248"/>
                <a:gd name="T21" fmla="*/ 90 h 395"/>
                <a:gd name="T22" fmla="*/ 133 w 248"/>
                <a:gd name="T23" fmla="*/ 107 h 395"/>
                <a:gd name="T24" fmla="*/ 133 w 248"/>
                <a:gd name="T25" fmla="*/ 118 h 395"/>
                <a:gd name="T26" fmla="*/ 125 w 248"/>
                <a:gd name="T27" fmla="*/ 136 h 395"/>
                <a:gd name="T28" fmla="*/ 120 w 248"/>
                <a:gd name="T29" fmla="*/ 137 h 395"/>
                <a:gd name="T30" fmla="*/ 117 w 248"/>
                <a:gd name="T31" fmla="*/ 146 h 395"/>
                <a:gd name="T32" fmla="*/ 107 w 248"/>
                <a:gd name="T33" fmla="*/ 151 h 395"/>
                <a:gd name="T34" fmla="*/ 96 w 248"/>
                <a:gd name="T35" fmla="*/ 140 h 395"/>
                <a:gd name="T36" fmla="*/ 90 w 248"/>
                <a:gd name="T37" fmla="*/ 127 h 395"/>
                <a:gd name="T38" fmla="*/ 95 w 248"/>
                <a:gd name="T39" fmla="*/ 112 h 395"/>
                <a:gd name="T40" fmla="*/ 94 w 248"/>
                <a:gd name="T41" fmla="*/ 97 h 395"/>
                <a:gd name="T42" fmla="*/ 79 w 248"/>
                <a:gd name="T43" fmla="*/ 98 h 395"/>
                <a:gd name="T44" fmla="*/ 74 w 248"/>
                <a:gd name="T45" fmla="*/ 95 h 395"/>
                <a:gd name="T46" fmla="*/ 3 w 248"/>
                <a:gd name="T47" fmla="*/ 116 h 395"/>
                <a:gd name="T48" fmla="*/ 5 w 248"/>
                <a:gd name="T49" fmla="*/ 121 h 395"/>
                <a:gd name="T50" fmla="*/ 6 w 248"/>
                <a:gd name="T51" fmla="*/ 128 h 395"/>
                <a:gd name="T52" fmla="*/ 43 w 248"/>
                <a:gd name="T53" fmla="*/ 138 h 395"/>
                <a:gd name="T54" fmla="*/ 62 w 248"/>
                <a:gd name="T55" fmla="*/ 145 h 395"/>
                <a:gd name="T56" fmla="*/ 65 w 248"/>
                <a:gd name="T57" fmla="*/ 149 h 395"/>
                <a:gd name="T58" fmla="*/ 64 w 248"/>
                <a:gd name="T59" fmla="*/ 153 h 395"/>
                <a:gd name="T60" fmla="*/ 66 w 248"/>
                <a:gd name="T61" fmla="*/ 185 h 395"/>
                <a:gd name="T62" fmla="*/ 63 w 248"/>
                <a:gd name="T63" fmla="*/ 193 h 395"/>
                <a:gd name="T64" fmla="*/ 59 w 248"/>
                <a:gd name="T65" fmla="*/ 200 h 395"/>
                <a:gd name="T66" fmla="*/ 62 w 248"/>
                <a:gd name="T67" fmla="*/ 217 h 395"/>
                <a:gd name="T68" fmla="*/ 66 w 248"/>
                <a:gd name="T69" fmla="*/ 227 h 395"/>
                <a:gd name="T70" fmla="*/ 54 w 248"/>
                <a:gd name="T71" fmla="*/ 243 h 395"/>
                <a:gd name="T72" fmla="*/ 52 w 248"/>
                <a:gd name="T73" fmla="*/ 257 h 395"/>
                <a:gd name="T74" fmla="*/ 38 w 248"/>
                <a:gd name="T75" fmla="*/ 275 h 395"/>
                <a:gd name="T76" fmla="*/ 26 w 248"/>
                <a:gd name="T77" fmla="*/ 289 h 395"/>
                <a:gd name="T78" fmla="*/ 35 w 248"/>
                <a:gd name="T79" fmla="*/ 307 h 395"/>
                <a:gd name="T80" fmla="*/ 41 w 248"/>
                <a:gd name="T81" fmla="*/ 336 h 395"/>
                <a:gd name="T82" fmla="*/ 42 w 248"/>
                <a:gd name="T83" fmla="*/ 364 h 395"/>
                <a:gd name="T84" fmla="*/ 43 w 248"/>
                <a:gd name="T85" fmla="*/ 374 h 395"/>
                <a:gd name="T86" fmla="*/ 45 w 248"/>
                <a:gd name="T87" fmla="*/ 395 h 395"/>
                <a:gd name="T88" fmla="*/ 58 w 248"/>
                <a:gd name="T89" fmla="*/ 395 h 395"/>
                <a:gd name="T90" fmla="*/ 50 w 248"/>
                <a:gd name="T91" fmla="*/ 376 h 395"/>
                <a:gd name="T92" fmla="*/ 57 w 248"/>
                <a:gd name="T93" fmla="*/ 370 h 395"/>
                <a:gd name="T94" fmla="*/ 122 w 248"/>
                <a:gd name="T95" fmla="*/ 321 h 395"/>
                <a:gd name="T96" fmla="*/ 119 w 248"/>
                <a:gd name="T97" fmla="*/ 320 h 395"/>
                <a:gd name="T98" fmla="*/ 120 w 248"/>
                <a:gd name="T99" fmla="*/ 282 h 395"/>
                <a:gd name="T100" fmla="*/ 111 w 248"/>
                <a:gd name="T101" fmla="*/ 253 h 395"/>
                <a:gd name="T102" fmla="*/ 102 w 248"/>
                <a:gd name="T103" fmla="*/ 231 h 395"/>
                <a:gd name="T104" fmla="*/ 99 w 248"/>
                <a:gd name="T105" fmla="*/ 217 h 395"/>
                <a:gd name="T106" fmla="*/ 113 w 248"/>
                <a:gd name="T107" fmla="*/ 220 h 395"/>
                <a:gd name="T108" fmla="*/ 131 w 248"/>
                <a:gd name="T109" fmla="*/ 202 h 395"/>
                <a:gd name="T110" fmla="*/ 143 w 248"/>
                <a:gd name="T111" fmla="*/ 197 h 395"/>
                <a:gd name="T112" fmla="*/ 155 w 248"/>
                <a:gd name="T113" fmla="*/ 177 h 395"/>
                <a:gd name="T114" fmla="*/ 205 w 248"/>
                <a:gd name="T115" fmla="*/ 152 h 395"/>
                <a:gd name="T116" fmla="*/ 247 w 248"/>
                <a:gd name="T117" fmla="*/ 101 h 395"/>
                <a:gd name="T118" fmla="*/ 243 w 248"/>
                <a:gd name="T119" fmla="*/ 87 h 395"/>
                <a:gd name="T120" fmla="*/ 241 w 248"/>
                <a:gd name="T121" fmla="*/ 60 h 395"/>
                <a:gd name="T122" fmla="*/ 238 w 248"/>
                <a:gd name="T123" fmla="*/ 56 h 395"/>
                <a:gd name="T124" fmla="*/ 236 w 248"/>
                <a:gd name="T125" fmla="*/ 18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8" h="395">
                  <a:moveTo>
                    <a:pt x="240" y="0"/>
                  </a:moveTo>
                  <a:cubicBezTo>
                    <a:pt x="239" y="0"/>
                    <a:pt x="239" y="0"/>
                    <a:pt x="239" y="1"/>
                  </a:cubicBezTo>
                  <a:cubicBezTo>
                    <a:pt x="233" y="5"/>
                    <a:pt x="233" y="5"/>
                    <a:pt x="233" y="5"/>
                  </a:cubicBezTo>
                  <a:cubicBezTo>
                    <a:pt x="227" y="9"/>
                    <a:pt x="220" y="14"/>
                    <a:pt x="213" y="16"/>
                  </a:cubicBezTo>
                  <a:cubicBezTo>
                    <a:pt x="212" y="17"/>
                    <a:pt x="210" y="17"/>
                    <a:pt x="209" y="17"/>
                  </a:cubicBezTo>
                  <a:cubicBezTo>
                    <a:pt x="208" y="17"/>
                    <a:pt x="207" y="17"/>
                    <a:pt x="207" y="17"/>
                  </a:cubicBezTo>
                  <a:cubicBezTo>
                    <a:pt x="206" y="17"/>
                    <a:pt x="206" y="17"/>
                    <a:pt x="206" y="17"/>
                  </a:cubicBezTo>
                  <a:cubicBezTo>
                    <a:pt x="203" y="17"/>
                    <a:pt x="201" y="18"/>
                    <a:pt x="198" y="20"/>
                  </a:cubicBezTo>
                  <a:cubicBezTo>
                    <a:pt x="195" y="22"/>
                    <a:pt x="195" y="22"/>
                    <a:pt x="195" y="22"/>
                  </a:cubicBezTo>
                  <a:cubicBezTo>
                    <a:pt x="195" y="22"/>
                    <a:pt x="194" y="22"/>
                    <a:pt x="194" y="23"/>
                  </a:cubicBezTo>
                  <a:cubicBezTo>
                    <a:pt x="193" y="23"/>
                    <a:pt x="192" y="23"/>
                    <a:pt x="192" y="23"/>
                  </a:cubicBezTo>
                  <a:cubicBezTo>
                    <a:pt x="190" y="23"/>
                    <a:pt x="187" y="22"/>
                    <a:pt x="184" y="20"/>
                  </a:cubicBezTo>
                  <a:cubicBezTo>
                    <a:pt x="184" y="20"/>
                    <a:pt x="183" y="20"/>
                    <a:pt x="183" y="20"/>
                  </a:cubicBezTo>
                  <a:cubicBezTo>
                    <a:pt x="182" y="20"/>
                    <a:pt x="181" y="20"/>
                    <a:pt x="180" y="21"/>
                  </a:cubicBezTo>
                  <a:cubicBezTo>
                    <a:pt x="180" y="21"/>
                    <a:pt x="180" y="21"/>
                    <a:pt x="180" y="21"/>
                  </a:cubicBezTo>
                  <a:cubicBezTo>
                    <a:pt x="179" y="21"/>
                    <a:pt x="179" y="22"/>
                    <a:pt x="179" y="22"/>
                  </a:cubicBezTo>
                  <a:cubicBezTo>
                    <a:pt x="179" y="23"/>
                    <a:pt x="179" y="23"/>
                    <a:pt x="178" y="23"/>
                  </a:cubicBezTo>
                  <a:cubicBezTo>
                    <a:pt x="178" y="24"/>
                    <a:pt x="178" y="25"/>
                    <a:pt x="177" y="26"/>
                  </a:cubicBezTo>
                  <a:cubicBezTo>
                    <a:pt x="176" y="26"/>
                    <a:pt x="176" y="26"/>
                    <a:pt x="176" y="26"/>
                  </a:cubicBezTo>
                  <a:cubicBezTo>
                    <a:pt x="175" y="28"/>
                    <a:pt x="172" y="29"/>
                    <a:pt x="170" y="29"/>
                  </a:cubicBezTo>
                  <a:cubicBezTo>
                    <a:pt x="170" y="30"/>
                    <a:pt x="169" y="30"/>
                    <a:pt x="167" y="30"/>
                  </a:cubicBezTo>
                  <a:cubicBezTo>
                    <a:pt x="167" y="30"/>
                    <a:pt x="167" y="30"/>
                    <a:pt x="167" y="30"/>
                  </a:cubicBezTo>
                  <a:cubicBezTo>
                    <a:pt x="165" y="30"/>
                    <a:pt x="164" y="29"/>
                    <a:pt x="162" y="29"/>
                  </a:cubicBezTo>
                  <a:cubicBezTo>
                    <a:pt x="160" y="28"/>
                    <a:pt x="159" y="27"/>
                    <a:pt x="157" y="27"/>
                  </a:cubicBezTo>
                  <a:cubicBezTo>
                    <a:pt x="157" y="27"/>
                    <a:pt x="156" y="27"/>
                    <a:pt x="156" y="28"/>
                  </a:cubicBezTo>
                  <a:cubicBezTo>
                    <a:pt x="155" y="28"/>
                    <a:pt x="154" y="28"/>
                    <a:pt x="154" y="28"/>
                  </a:cubicBezTo>
                  <a:cubicBezTo>
                    <a:pt x="153" y="29"/>
                    <a:pt x="153" y="29"/>
                    <a:pt x="153" y="29"/>
                  </a:cubicBezTo>
                  <a:cubicBezTo>
                    <a:pt x="152" y="29"/>
                    <a:pt x="151" y="30"/>
                    <a:pt x="149" y="30"/>
                  </a:cubicBezTo>
                  <a:cubicBezTo>
                    <a:pt x="148" y="30"/>
                    <a:pt x="148" y="31"/>
                    <a:pt x="147" y="31"/>
                  </a:cubicBezTo>
                  <a:cubicBezTo>
                    <a:pt x="143" y="31"/>
                    <a:pt x="138" y="28"/>
                    <a:pt x="136" y="27"/>
                  </a:cubicBezTo>
                  <a:cubicBezTo>
                    <a:pt x="134" y="26"/>
                    <a:pt x="134" y="26"/>
                    <a:pt x="134" y="26"/>
                  </a:cubicBezTo>
                  <a:cubicBezTo>
                    <a:pt x="133" y="26"/>
                    <a:pt x="133" y="26"/>
                    <a:pt x="133" y="26"/>
                  </a:cubicBezTo>
                  <a:cubicBezTo>
                    <a:pt x="132" y="25"/>
                    <a:pt x="132" y="25"/>
                    <a:pt x="131" y="25"/>
                  </a:cubicBezTo>
                  <a:cubicBezTo>
                    <a:pt x="131" y="24"/>
                    <a:pt x="130" y="24"/>
                    <a:pt x="130" y="24"/>
                  </a:cubicBezTo>
                  <a:cubicBezTo>
                    <a:pt x="130" y="24"/>
                    <a:pt x="129" y="24"/>
                    <a:pt x="128" y="25"/>
                  </a:cubicBezTo>
                  <a:cubicBezTo>
                    <a:pt x="127" y="26"/>
                    <a:pt x="127" y="26"/>
                    <a:pt x="127" y="26"/>
                  </a:cubicBezTo>
                  <a:cubicBezTo>
                    <a:pt x="127" y="26"/>
                    <a:pt x="126" y="27"/>
                    <a:pt x="125" y="27"/>
                  </a:cubicBezTo>
                  <a:cubicBezTo>
                    <a:pt x="124" y="28"/>
                    <a:pt x="123" y="28"/>
                    <a:pt x="121" y="28"/>
                  </a:cubicBezTo>
                  <a:cubicBezTo>
                    <a:pt x="117" y="28"/>
                    <a:pt x="110" y="27"/>
                    <a:pt x="107" y="26"/>
                  </a:cubicBezTo>
                  <a:cubicBezTo>
                    <a:pt x="107" y="26"/>
                    <a:pt x="107" y="26"/>
                    <a:pt x="107" y="26"/>
                  </a:cubicBezTo>
                  <a:cubicBezTo>
                    <a:pt x="106" y="27"/>
                    <a:pt x="106" y="27"/>
                    <a:pt x="106" y="27"/>
                  </a:cubicBezTo>
                  <a:cubicBezTo>
                    <a:pt x="106" y="30"/>
                    <a:pt x="106" y="33"/>
                    <a:pt x="104" y="35"/>
                  </a:cubicBezTo>
                  <a:cubicBezTo>
                    <a:pt x="104" y="36"/>
                    <a:pt x="104" y="36"/>
                    <a:pt x="104" y="36"/>
                  </a:cubicBezTo>
                  <a:cubicBezTo>
                    <a:pt x="102" y="40"/>
                    <a:pt x="100" y="42"/>
                    <a:pt x="102" y="47"/>
                  </a:cubicBezTo>
                  <a:cubicBezTo>
                    <a:pt x="102" y="49"/>
                    <a:pt x="102" y="51"/>
                    <a:pt x="102" y="53"/>
                  </a:cubicBezTo>
                  <a:cubicBezTo>
                    <a:pt x="102" y="55"/>
                    <a:pt x="102" y="57"/>
                    <a:pt x="103" y="58"/>
                  </a:cubicBezTo>
                  <a:cubicBezTo>
                    <a:pt x="103" y="60"/>
                    <a:pt x="103" y="60"/>
                    <a:pt x="103" y="60"/>
                  </a:cubicBezTo>
                  <a:cubicBezTo>
                    <a:pt x="103" y="62"/>
                    <a:pt x="104" y="64"/>
                    <a:pt x="104" y="66"/>
                  </a:cubicBezTo>
                  <a:cubicBezTo>
                    <a:pt x="104" y="67"/>
                    <a:pt x="104" y="67"/>
                    <a:pt x="104" y="68"/>
                  </a:cubicBezTo>
                  <a:cubicBezTo>
                    <a:pt x="104" y="68"/>
                    <a:pt x="104" y="68"/>
                    <a:pt x="104" y="68"/>
                  </a:cubicBezTo>
                  <a:cubicBezTo>
                    <a:pt x="106" y="66"/>
                    <a:pt x="106" y="66"/>
                    <a:pt x="106" y="66"/>
                  </a:cubicBezTo>
                  <a:cubicBezTo>
                    <a:pt x="108" y="68"/>
                    <a:pt x="108" y="68"/>
                    <a:pt x="108" y="68"/>
                  </a:cubicBezTo>
                  <a:cubicBezTo>
                    <a:pt x="110" y="69"/>
                    <a:pt x="112" y="71"/>
                    <a:pt x="113" y="72"/>
                  </a:cubicBezTo>
                  <a:cubicBezTo>
                    <a:pt x="113" y="72"/>
                    <a:pt x="113" y="72"/>
                    <a:pt x="113" y="72"/>
                  </a:cubicBezTo>
                  <a:cubicBezTo>
                    <a:pt x="127" y="90"/>
                    <a:pt x="127" y="90"/>
                    <a:pt x="127" y="90"/>
                  </a:cubicBezTo>
                  <a:cubicBezTo>
                    <a:pt x="131" y="87"/>
                    <a:pt x="131" y="87"/>
                    <a:pt x="131" y="87"/>
                  </a:cubicBezTo>
                  <a:cubicBezTo>
                    <a:pt x="128" y="91"/>
                    <a:pt x="128" y="91"/>
                    <a:pt x="128" y="91"/>
                  </a:cubicBezTo>
                  <a:cubicBezTo>
                    <a:pt x="129" y="92"/>
                    <a:pt x="129" y="92"/>
                    <a:pt x="129" y="92"/>
                  </a:cubicBezTo>
                  <a:cubicBezTo>
                    <a:pt x="131" y="95"/>
                    <a:pt x="133" y="97"/>
                    <a:pt x="133" y="102"/>
                  </a:cubicBezTo>
                  <a:cubicBezTo>
                    <a:pt x="133" y="104"/>
                    <a:pt x="133" y="106"/>
                    <a:pt x="133" y="107"/>
                  </a:cubicBezTo>
                  <a:cubicBezTo>
                    <a:pt x="133" y="109"/>
                    <a:pt x="133" y="109"/>
                    <a:pt x="133" y="109"/>
                  </a:cubicBezTo>
                  <a:cubicBezTo>
                    <a:pt x="132" y="110"/>
                    <a:pt x="132" y="110"/>
                    <a:pt x="132" y="111"/>
                  </a:cubicBezTo>
                  <a:cubicBezTo>
                    <a:pt x="132" y="112"/>
                    <a:pt x="132" y="112"/>
                    <a:pt x="132" y="112"/>
                  </a:cubicBezTo>
                  <a:cubicBezTo>
                    <a:pt x="132" y="113"/>
                    <a:pt x="132" y="113"/>
                    <a:pt x="132" y="114"/>
                  </a:cubicBezTo>
                  <a:cubicBezTo>
                    <a:pt x="133" y="115"/>
                    <a:pt x="133" y="116"/>
                    <a:pt x="133" y="118"/>
                  </a:cubicBezTo>
                  <a:cubicBezTo>
                    <a:pt x="133" y="119"/>
                    <a:pt x="133" y="119"/>
                    <a:pt x="133" y="120"/>
                  </a:cubicBezTo>
                  <a:cubicBezTo>
                    <a:pt x="132" y="129"/>
                    <a:pt x="132" y="129"/>
                    <a:pt x="132" y="129"/>
                  </a:cubicBezTo>
                  <a:cubicBezTo>
                    <a:pt x="132" y="131"/>
                    <a:pt x="130" y="133"/>
                    <a:pt x="128" y="135"/>
                  </a:cubicBezTo>
                  <a:cubicBezTo>
                    <a:pt x="127" y="135"/>
                    <a:pt x="126" y="136"/>
                    <a:pt x="125" y="136"/>
                  </a:cubicBezTo>
                  <a:cubicBezTo>
                    <a:pt x="125" y="136"/>
                    <a:pt x="125" y="136"/>
                    <a:pt x="125" y="136"/>
                  </a:cubicBezTo>
                  <a:cubicBezTo>
                    <a:pt x="125" y="136"/>
                    <a:pt x="125" y="136"/>
                    <a:pt x="125" y="136"/>
                  </a:cubicBezTo>
                  <a:cubicBezTo>
                    <a:pt x="124" y="136"/>
                    <a:pt x="124" y="136"/>
                    <a:pt x="123" y="136"/>
                  </a:cubicBezTo>
                  <a:cubicBezTo>
                    <a:pt x="121" y="137"/>
                    <a:pt x="121" y="137"/>
                    <a:pt x="121" y="137"/>
                  </a:cubicBezTo>
                  <a:cubicBezTo>
                    <a:pt x="121" y="137"/>
                    <a:pt x="120" y="137"/>
                    <a:pt x="120" y="137"/>
                  </a:cubicBezTo>
                  <a:cubicBezTo>
                    <a:pt x="120" y="137"/>
                    <a:pt x="120" y="137"/>
                    <a:pt x="120" y="137"/>
                  </a:cubicBezTo>
                  <a:cubicBezTo>
                    <a:pt x="119" y="138"/>
                    <a:pt x="119" y="138"/>
                    <a:pt x="119" y="138"/>
                  </a:cubicBezTo>
                  <a:cubicBezTo>
                    <a:pt x="118" y="141"/>
                    <a:pt x="116" y="143"/>
                    <a:pt x="116" y="144"/>
                  </a:cubicBezTo>
                  <a:cubicBezTo>
                    <a:pt x="116" y="145"/>
                    <a:pt x="116" y="145"/>
                    <a:pt x="116" y="145"/>
                  </a:cubicBezTo>
                  <a:cubicBezTo>
                    <a:pt x="116" y="145"/>
                    <a:pt x="116" y="145"/>
                    <a:pt x="116" y="145"/>
                  </a:cubicBezTo>
                  <a:cubicBezTo>
                    <a:pt x="117" y="146"/>
                    <a:pt x="117" y="146"/>
                    <a:pt x="117" y="146"/>
                  </a:cubicBezTo>
                  <a:cubicBezTo>
                    <a:pt x="120" y="161"/>
                    <a:pt x="120" y="161"/>
                    <a:pt x="120" y="161"/>
                  </a:cubicBezTo>
                  <a:cubicBezTo>
                    <a:pt x="116" y="160"/>
                    <a:pt x="116" y="160"/>
                    <a:pt x="116" y="160"/>
                  </a:cubicBezTo>
                  <a:cubicBezTo>
                    <a:pt x="111" y="160"/>
                    <a:pt x="109" y="158"/>
                    <a:pt x="108" y="154"/>
                  </a:cubicBezTo>
                  <a:cubicBezTo>
                    <a:pt x="108" y="153"/>
                    <a:pt x="108" y="153"/>
                    <a:pt x="108" y="153"/>
                  </a:cubicBezTo>
                  <a:cubicBezTo>
                    <a:pt x="108" y="152"/>
                    <a:pt x="108" y="151"/>
                    <a:pt x="107" y="151"/>
                  </a:cubicBezTo>
                  <a:cubicBezTo>
                    <a:pt x="107" y="150"/>
                    <a:pt x="107" y="150"/>
                    <a:pt x="107" y="150"/>
                  </a:cubicBezTo>
                  <a:cubicBezTo>
                    <a:pt x="107" y="150"/>
                    <a:pt x="105" y="148"/>
                    <a:pt x="104" y="148"/>
                  </a:cubicBezTo>
                  <a:cubicBezTo>
                    <a:pt x="104" y="147"/>
                    <a:pt x="103" y="147"/>
                    <a:pt x="103" y="147"/>
                  </a:cubicBezTo>
                  <a:cubicBezTo>
                    <a:pt x="101" y="144"/>
                    <a:pt x="101" y="144"/>
                    <a:pt x="101" y="144"/>
                  </a:cubicBezTo>
                  <a:cubicBezTo>
                    <a:pt x="99" y="143"/>
                    <a:pt x="97" y="141"/>
                    <a:pt x="96" y="140"/>
                  </a:cubicBezTo>
                  <a:cubicBezTo>
                    <a:pt x="95" y="139"/>
                    <a:pt x="95" y="139"/>
                    <a:pt x="95" y="139"/>
                  </a:cubicBezTo>
                  <a:cubicBezTo>
                    <a:pt x="94" y="138"/>
                    <a:pt x="94" y="138"/>
                    <a:pt x="94" y="138"/>
                  </a:cubicBezTo>
                  <a:cubicBezTo>
                    <a:pt x="94" y="138"/>
                    <a:pt x="94" y="137"/>
                    <a:pt x="94" y="137"/>
                  </a:cubicBezTo>
                  <a:cubicBezTo>
                    <a:pt x="93" y="136"/>
                    <a:pt x="93" y="136"/>
                    <a:pt x="93" y="136"/>
                  </a:cubicBezTo>
                  <a:cubicBezTo>
                    <a:pt x="92" y="134"/>
                    <a:pt x="90" y="130"/>
                    <a:pt x="90" y="127"/>
                  </a:cubicBezTo>
                  <a:cubicBezTo>
                    <a:pt x="90" y="125"/>
                    <a:pt x="91" y="123"/>
                    <a:pt x="92" y="122"/>
                  </a:cubicBezTo>
                  <a:cubicBezTo>
                    <a:pt x="93" y="121"/>
                    <a:pt x="94" y="118"/>
                    <a:pt x="95" y="117"/>
                  </a:cubicBezTo>
                  <a:cubicBezTo>
                    <a:pt x="95" y="116"/>
                    <a:pt x="95" y="116"/>
                    <a:pt x="95" y="116"/>
                  </a:cubicBezTo>
                  <a:cubicBezTo>
                    <a:pt x="95" y="115"/>
                    <a:pt x="95" y="115"/>
                    <a:pt x="95" y="114"/>
                  </a:cubicBezTo>
                  <a:cubicBezTo>
                    <a:pt x="95" y="112"/>
                    <a:pt x="95" y="112"/>
                    <a:pt x="95" y="112"/>
                  </a:cubicBezTo>
                  <a:cubicBezTo>
                    <a:pt x="96" y="112"/>
                    <a:pt x="96" y="112"/>
                    <a:pt x="96" y="112"/>
                  </a:cubicBezTo>
                  <a:cubicBezTo>
                    <a:pt x="97" y="110"/>
                    <a:pt x="98" y="108"/>
                    <a:pt x="98" y="107"/>
                  </a:cubicBezTo>
                  <a:cubicBezTo>
                    <a:pt x="98" y="107"/>
                    <a:pt x="98" y="107"/>
                    <a:pt x="98" y="107"/>
                  </a:cubicBezTo>
                  <a:cubicBezTo>
                    <a:pt x="97" y="105"/>
                    <a:pt x="97" y="105"/>
                    <a:pt x="97" y="105"/>
                  </a:cubicBezTo>
                  <a:cubicBezTo>
                    <a:pt x="97" y="102"/>
                    <a:pt x="95" y="100"/>
                    <a:pt x="94" y="97"/>
                  </a:cubicBezTo>
                  <a:cubicBezTo>
                    <a:pt x="94" y="96"/>
                    <a:pt x="94" y="96"/>
                    <a:pt x="94" y="96"/>
                  </a:cubicBezTo>
                  <a:cubicBezTo>
                    <a:pt x="94" y="96"/>
                    <a:pt x="94" y="95"/>
                    <a:pt x="93" y="95"/>
                  </a:cubicBezTo>
                  <a:cubicBezTo>
                    <a:pt x="92" y="95"/>
                    <a:pt x="90" y="96"/>
                    <a:pt x="89" y="96"/>
                  </a:cubicBezTo>
                  <a:cubicBezTo>
                    <a:pt x="88" y="96"/>
                    <a:pt x="88" y="96"/>
                    <a:pt x="88" y="96"/>
                  </a:cubicBezTo>
                  <a:cubicBezTo>
                    <a:pt x="79" y="98"/>
                    <a:pt x="79" y="98"/>
                    <a:pt x="79" y="98"/>
                  </a:cubicBezTo>
                  <a:cubicBezTo>
                    <a:pt x="78" y="98"/>
                    <a:pt x="78" y="98"/>
                    <a:pt x="78" y="98"/>
                  </a:cubicBezTo>
                  <a:cubicBezTo>
                    <a:pt x="77" y="98"/>
                    <a:pt x="77" y="98"/>
                    <a:pt x="76" y="98"/>
                  </a:cubicBezTo>
                  <a:cubicBezTo>
                    <a:pt x="75" y="97"/>
                    <a:pt x="75" y="97"/>
                    <a:pt x="75" y="97"/>
                  </a:cubicBezTo>
                  <a:cubicBezTo>
                    <a:pt x="75" y="96"/>
                    <a:pt x="74" y="96"/>
                    <a:pt x="74" y="95"/>
                  </a:cubicBezTo>
                  <a:cubicBezTo>
                    <a:pt x="74" y="95"/>
                    <a:pt x="74" y="95"/>
                    <a:pt x="74" y="95"/>
                  </a:cubicBezTo>
                  <a:cubicBezTo>
                    <a:pt x="72" y="92"/>
                    <a:pt x="70" y="89"/>
                    <a:pt x="68" y="87"/>
                  </a:cubicBezTo>
                  <a:cubicBezTo>
                    <a:pt x="67" y="86"/>
                    <a:pt x="67" y="86"/>
                    <a:pt x="67" y="86"/>
                  </a:cubicBezTo>
                  <a:cubicBezTo>
                    <a:pt x="67" y="86"/>
                    <a:pt x="67" y="86"/>
                    <a:pt x="67" y="86"/>
                  </a:cubicBezTo>
                  <a:cubicBezTo>
                    <a:pt x="0" y="108"/>
                    <a:pt x="0" y="108"/>
                    <a:pt x="0" y="108"/>
                  </a:cubicBezTo>
                  <a:cubicBezTo>
                    <a:pt x="1" y="110"/>
                    <a:pt x="2" y="114"/>
                    <a:pt x="3" y="116"/>
                  </a:cubicBezTo>
                  <a:cubicBezTo>
                    <a:pt x="3" y="117"/>
                    <a:pt x="4" y="117"/>
                    <a:pt x="4" y="118"/>
                  </a:cubicBezTo>
                  <a:cubicBezTo>
                    <a:pt x="4" y="118"/>
                    <a:pt x="4" y="118"/>
                    <a:pt x="4" y="118"/>
                  </a:cubicBezTo>
                  <a:cubicBezTo>
                    <a:pt x="4" y="119"/>
                    <a:pt x="4" y="119"/>
                    <a:pt x="4" y="119"/>
                  </a:cubicBezTo>
                  <a:cubicBezTo>
                    <a:pt x="5" y="120"/>
                    <a:pt x="5" y="120"/>
                    <a:pt x="5" y="120"/>
                  </a:cubicBezTo>
                  <a:cubicBezTo>
                    <a:pt x="5" y="121"/>
                    <a:pt x="5" y="121"/>
                    <a:pt x="5" y="121"/>
                  </a:cubicBezTo>
                  <a:cubicBezTo>
                    <a:pt x="5" y="122"/>
                    <a:pt x="5" y="122"/>
                    <a:pt x="5" y="122"/>
                  </a:cubicBezTo>
                  <a:cubicBezTo>
                    <a:pt x="5" y="123"/>
                    <a:pt x="5" y="123"/>
                    <a:pt x="5" y="124"/>
                  </a:cubicBezTo>
                  <a:cubicBezTo>
                    <a:pt x="5" y="126"/>
                    <a:pt x="5" y="126"/>
                    <a:pt x="5" y="127"/>
                  </a:cubicBezTo>
                  <a:cubicBezTo>
                    <a:pt x="5" y="127"/>
                    <a:pt x="5" y="127"/>
                    <a:pt x="5" y="127"/>
                  </a:cubicBezTo>
                  <a:cubicBezTo>
                    <a:pt x="6" y="128"/>
                    <a:pt x="6" y="128"/>
                    <a:pt x="6" y="128"/>
                  </a:cubicBezTo>
                  <a:cubicBezTo>
                    <a:pt x="6" y="128"/>
                    <a:pt x="8" y="128"/>
                    <a:pt x="11" y="128"/>
                  </a:cubicBezTo>
                  <a:cubicBezTo>
                    <a:pt x="12" y="128"/>
                    <a:pt x="13" y="128"/>
                    <a:pt x="13" y="128"/>
                  </a:cubicBezTo>
                  <a:cubicBezTo>
                    <a:pt x="14" y="128"/>
                    <a:pt x="15" y="128"/>
                    <a:pt x="15" y="128"/>
                  </a:cubicBezTo>
                  <a:cubicBezTo>
                    <a:pt x="17" y="128"/>
                    <a:pt x="18" y="129"/>
                    <a:pt x="20" y="129"/>
                  </a:cubicBezTo>
                  <a:cubicBezTo>
                    <a:pt x="43" y="138"/>
                    <a:pt x="43" y="138"/>
                    <a:pt x="43" y="138"/>
                  </a:cubicBezTo>
                  <a:cubicBezTo>
                    <a:pt x="44" y="139"/>
                    <a:pt x="46" y="140"/>
                    <a:pt x="47" y="141"/>
                  </a:cubicBezTo>
                  <a:cubicBezTo>
                    <a:pt x="52" y="143"/>
                    <a:pt x="56" y="144"/>
                    <a:pt x="60" y="144"/>
                  </a:cubicBezTo>
                  <a:cubicBezTo>
                    <a:pt x="60" y="144"/>
                    <a:pt x="60" y="144"/>
                    <a:pt x="60" y="144"/>
                  </a:cubicBezTo>
                  <a:cubicBezTo>
                    <a:pt x="61" y="145"/>
                    <a:pt x="61" y="145"/>
                    <a:pt x="61" y="145"/>
                  </a:cubicBezTo>
                  <a:cubicBezTo>
                    <a:pt x="61" y="145"/>
                    <a:pt x="62" y="145"/>
                    <a:pt x="62" y="145"/>
                  </a:cubicBezTo>
                  <a:cubicBezTo>
                    <a:pt x="62" y="145"/>
                    <a:pt x="63" y="145"/>
                    <a:pt x="63" y="145"/>
                  </a:cubicBezTo>
                  <a:cubicBezTo>
                    <a:pt x="64" y="146"/>
                    <a:pt x="64" y="146"/>
                    <a:pt x="64" y="146"/>
                  </a:cubicBezTo>
                  <a:cubicBezTo>
                    <a:pt x="65" y="146"/>
                    <a:pt x="65" y="147"/>
                    <a:pt x="65" y="148"/>
                  </a:cubicBezTo>
                  <a:cubicBezTo>
                    <a:pt x="65" y="148"/>
                    <a:pt x="65" y="148"/>
                    <a:pt x="65" y="148"/>
                  </a:cubicBezTo>
                  <a:cubicBezTo>
                    <a:pt x="65" y="149"/>
                    <a:pt x="65" y="149"/>
                    <a:pt x="65" y="149"/>
                  </a:cubicBezTo>
                  <a:cubicBezTo>
                    <a:pt x="65" y="149"/>
                    <a:pt x="65" y="149"/>
                    <a:pt x="65" y="149"/>
                  </a:cubicBezTo>
                  <a:cubicBezTo>
                    <a:pt x="64" y="150"/>
                    <a:pt x="64" y="150"/>
                    <a:pt x="64" y="150"/>
                  </a:cubicBezTo>
                  <a:cubicBezTo>
                    <a:pt x="64" y="151"/>
                    <a:pt x="64" y="151"/>
                    <a:pt x="64" y="151"/>
                  </a:cubicBezTo>
                  <a:cubicBezTo>
                    <a:pt x="64" y="152"/>
                    <a:pt x="64" y="152"/>
                    <a:pt x="64" y="152"/>
                  </a:cubicBezTo>
                  <a:cubicBezTo>
                    <a:pt x="64" y="153"/>
                    <a:pt x="64" y="153"/>
                    <a:pt x="64" y="153"/>
                  </a:cubicBezTo>
                  <a:cubicBezTo>
                    <a:pt x="64" y="153"/>
                    <a:pt x="64" y="154"/>
                    <a:pt x="65" y="155"/>
                  </a:cubicBezTo>
                  <a:cubicBezTo>
                    <a:pt x="65" y="156"/>
                    <a:pt x="65" y="157"/>
                    <a:pt x="65" y="158"/>
                  </a:cubicBezTo>
                  <a:cubicBezTo>
                    <a:pt x="66" y="162"/>
                    <a:pt x="66" y="165"/>
                    <a:pt x="66" y="169"/>
                  </a:cubicBezTo>
                  <a:cubicBezTo>
                    <a:pt x="66" y="171"/>
                    <a:pt x="66" y="172"/>
                    <a:pt x="66" y="174"/>
                  </a:cubicBezTo>
                  <a:cubicBezTo>
                    <a:pt x="66" y="178"/>
                    <a:pt x="66" y="182"/>
                    <a:pt x="66" y="185"/>
                  </a:cubicBezTo>
                  <a:cubicBezTo>
                    <a:pt x="67" y="186"/>
                    <a:pt x="67" y="186"/>
                    <a:pt x="67" y="186"/>
                  </a:cubicBezTo>
                  <a:cubicBezTo>
                    <a:pt x="66" y="187"/>
                    <a:pt x="66" y="187"/>
                    <a:pt x="66" y="187"/>
                  </a:cubicBezTo>
                  <a:cubicBezTo>
                    <a:pt x="66" y="189"/>
                    <a:pt x="65" y="190"/>
                    <a:pt x="64" y="191"/>
                  </a:cubicBezTo>
                  <a:cubicBezTo>
                    <a:pt x="63" y="192"/>
                    <a:pt x="63" y="192"/>
                    <a:pt x="63" y="192"/>
                  </a:cubicBezTo>
                  <a:cubicBezTo>
                    <a:pt x="63" y="193"/>
                    <a:pt x="63" y="193"/>
                    <a:pt x="63" y="193"/>
                  </a:cubicBezTo>
                  <a:cubicBezTo>
                    <a:pt x="63" y="193"/>
                    <a:pt x="63" y="193"/>
                    <a:pt x="62" y="194"/>
                  </a:cubicBezTo>
                  <a:cubicBezTo>
                    <a:pt x="61" y="194"/>
                    <a:pt x="61" y="194"/>
                    <a:pt x="61" y="194"/>
                  </a:cubicBezTo>
                  <a:cubicBezTo>
                    <a:pt x="62" y="194"/>
                    <a:pt x="62" y="194"/>
                    <a:pt x="62" y="194"/>
                  </a:cubicBezTo>
                  <a:cubicBezTo>
                    <a:pt x="62" y="197"/>
                    <a:pt x="61" y="198"/>
                    <a:pt x="60" y="200"/>
                  </a:cubicBezTo>
                  <a:cubicBezTo>
                    <a:pt x="59" y="200"/>
                    <a:pt x="59" y="200"/>
                    <a:pt x="59" y="200"/>
                  </a:cubicBezTo>
                  <a:cubicBezTo>
                    <a:pt x="60" y="200"/>
                    <a:pt x="60" y="200"/>
                    <a:pt x="60" y="200"/>
                  </a:cubicBezTo>
                  <a:cubicBezTo>
                    <a:pt x="60" y="201"/>
                    <a:pt x="61" y="201"/>
                    <a:pt x="61" y="202"/>
                  </a:cubicBezTo>
                  <a:cubicBezTo>
                    <a:pt x="61" y="202"/>
                    <a:pt x="62" y="203"/>
                    <a:pt x="62" y="203"/>
                  </a:cubicBezTo>
                  <a:cubicBezTo>
                    <a:pt x="63" y="206"/>
                    <a:pt x="62" y="209"/>
                    <a:pt x="62" y="212"/>
                  </a:cubicBezTo>
                  <a:cubicBezTo>
                    <a:pt x="62" y="214"/>
                    <a:pt x="62" y="215"/>
                    <a:pt x="62" y="217"/>
                  </a:cubicBezTo>
                  <a:cubicBezTo>
                    <a:pt x="62" y="217"/>
                    <a:pt x="62" y="217"/>
                    <a:pt x="62" y="217"/>
                  </a:cubicBezTo>
                  <a:cubicBezTo>
                    <a:pt x="63" y="217"/>
                    <a:pt x="63" y="217"/>
                    <a:pt x="64" y="217"/>
                  </a:cubicBezTo>
                  <a:cubicBezTo>
                    <a:pt x="64" y="218"/>
                    <a:pt x="64" y="218"/>
                    <a:pt x="64" y="218"/>
                  </a:cubicBezTo>
                  <a:cubicBezTo>
                    <a:pt x="66" y="220"/>
                    <a:pt x="66" y="220"/>
                    <a:pt x="66" y="220"/>
                  </a:cubicBezTo>
                  <a:cubicBezTo>
                    <a:pt x="67" y="223"/>
                    <a:pt x="67" y="224"/>
                    <a:pt x="66" y="227"/>
                  </a:cubicBezTo>
                  <a:cubicBezTo>
                    <a:pt x="65" y="229"/>
                    <a:pt x="64" y="232"/>
                    <a:pt x="63" y="234"/>
                  </a:cubicBezTo>
                  <a:cubicBezTo>
                    <a:pt x="61" y="237"/>
                    <a:pt x="59" y="240"/>
                    <a:pt x="58" y="241"/>
                  </a:cubicBezTo>
                  <a:cubicBezTo>
                    <a:pt x="57" y="242"/>
                    <a:pt x="56" y="243"/>
                    <a:pt x="56" y="243"/>
                  </a:cubicBezTo>
                  <a:cubicBezTo>
                    <a:pt x="55" y="243"/>
                    <a:pt x="55" y="243"/>
                    <a:pt x="55" y="243"/>
                  </a:cubicBezTo>
                  <a:cubicBezTo>
                    <a:pt x="54" y="243"/>
                    <a:pt x="54" y="243"/>
                    <a:pt x="54" y="243"/>
                  </a:cubicBezTo>
                  <a:cubicBezTo>
                    <a:pt x="53" y="244"/>
                    <a:pt x="53" y="247"/>
                    <a:pt x="53" y="248"/>
                  </a:cubicBezTo>
                  <a:cubicBezTo>
                    <a:pt x="52" y="248"/>
                    <a:pt x="52" y="249"/>
                    <a:pt x="52" y="249"/>
                  </a:cubicBezTo>
                  <a:cubicBezTo>
                    <a:pt x="52" y="250"/>
                    <a:pt x="52" y="250"/>
                    <a:pt x="52" y="250"/>
                  </a:cubicBezTo>
                  <a:cubicBezTo>
                    <a:pt x="52" y="251"/>
                    <a:pt x="51" y="253"/>
                    <a:pt x="51" y="255"/>
                  </a:cubicBezTo>
                  <a:cubicBezTo>
                    <a:pt x="51" y="255"/>
                    <a:pt x="52" y="257"/>
                    <a:pt x="52" y="257"/>
                  </a:cubicBezTo>
                  <a:cubicBezTo>
                    <a:pt x="56" y="264"/>
                    <a:pt x="56" y="264"/>
                    <a:pt x="56" y="264"/>
                  </a:cubicBezTo>
                  <a:cubicBezTo>
                    <a:pt x="49" y="263"/>
                    <a:pt x="49" y="263"/>
                    <a:pt x="49" y="263"/>
                  </a:cubicBezTo>
                  <a:cubicBezTo>
                    <a:pt x="49" y="263"/>
                    <a:pt x="48" y="264"/>
                    <a:pt x="48" y="264"/>
                  </a:cubicBezTo>
                  <a:cubicBezTo>
                    <a:pt x="45" y="267"/>
                    <a:pt x="42" y="271"/>
                    <a:pt x="40" y="272"/>
                  </a:cubicBezTo>
                  <a:cubicBezTo>
                    <a:pt x="39" y="273"/>
                    <a:pt x="39" y="274"/>
                    <a:pt x="38" y="275"/>
                  </a:cubicBezTo>
                  <a:cubicBezTo>
                    <a:pt x="29" y="285"/>
                    <a:pt x="29" y="285"/>
                    <a:pt x="29" y="285"/>
                  </a:cubicBezTo>
                  <a:cubicBezTo>
                    <a:pt x="28" y="285"/>
                    <a:pt x="28" y="285"/>
                    <a:pt x="28" y="285"/>
                  </a:cubicBezTo>
                  <a:cubicBezTo>
                    <a:pt x="27" y="286"/>
                    <a:pt x="27" y="286"/>
                    <a:pt x="26" y="287"/>
                  </a:cubicBezTo>
                  <a:cubicBezTo>
                    <a:pt x="26" y="287"/>
                    <a:pt x="26" y="287"/>
                    <a:pt x="26" y="287"/>
                  </a:cubicBezTo>
                  <a:cubicBezTo>
                    <a:pt x="26" y="289"/>
                    <a:pt x="26" y="289"/>
                    <a:pt x="26" y="289"/>
                  </a:cubicBezTo>
                  <a:cubicBezTo>
                    <a:pt x="27" y="290"/>
                    <a:pt x="27" y="291"/>
                    <a:pt x="28" y="293"/>
                  </a:cubicBezTo>
                  <a:cubicBezTo>
                    <a:pt x="28" y="294"/>
                    <a:pt x="28" y="294"/>
                    <a:pt x="28" y="294"/>
                  </a:cubicBezTo>
                  <a:cubicBezTo>
                    <a:pt x="29" y="297"/>
                    <a:pt x="31" y="301"/>
                    <a:pt x="31" y="304"/>
                  </a:cubicBezTo>
                  <a:cubicBezTo>
                    <a:pt x="31" y="305"/>
                    <a:pt x="31" y="306"/>
                    <a:pt x="32" y="307"/>
                  </a:cubicBezTo>
                  <a:cubicBezTo>
                    <a:pt x="35" y="307"/>
                    <a:pt x="35" y="307"/>
                    <a:pt x="35" y="307"/>
                  </a:cubicBezTo>
                  <a:cubicBezTo>
                    <a:pt x="32" y="308"/>
                    <a:pt x="32" y="308"/>
                    <a:pt x="32" y="308"/>
                  </a:cubicBezTo>
                  <a:cubicBezTo>
                    <a:pt x="32" y="308"/>
                    <a:pt x="32" y="308"/>
                    <a:pt x="32" y="308"/>
                  </a:cubicBezTo>
                  <a:cubicBezTo>
                    <a:pt x="31" y="311"/>
                    <a:pt x="31" y="312"/>
                    <a:pt x="33" y="314"/>
                  </a:cubicBezTo>
                  <a:cubicBezTo>
                    <a:pt x="38" y="323"/>
                    <a:pt x="38" y="323"/>
                    <a:pt x="38" y="323"/>
                  </a:cubicBezTo>
                  <a:cubicBezTo>
                    <a:pt x="41" y="326"/>
                    <a:pt x="41" y="332"/>
                    <a:pt x="41" y="336"/>
                  </a:cubicBezTo>
                  <a:cubicBezTo>
                    <a:pt x="41" y="340"/>
                    <a:pt x="41" y="340"/>
                    <a:pt x="41" y="340"/>
                  </a:cubicBezTo>
                  <a:cubicBezTo>
                    <a:pt x="42" y="345"/>
                    <a:pt x="42" y="351"/>
                    <a:pt x="42" y="356"/>
                  </a:cubicBezTo>
                  <a:cubicBezTo>
                    <a:pt x="42" y="357"/>
                    <a:pt x="42" y="358"/>
                    <a:pt x="42" y="359"/>
                  </a:cubicBezTo>
                  <a:cubicBezTo>
                    <a:pt x="42" y="360"/>
                    <a:pt x="42" y="360"/>
                    <a:pt x="42" y="360"/>
                  </a:cubicBezTo>
                  <a:cubicBezTo>
                    <a:pt x="42" y="361"/>
                    <a:pt x="42" y="363"/>
                    <a:pt x="42" y="364"/>
                  </a:cubicBezTo>
                  <a:cubicBezTo>
                    <a:pt x="42" y="365"/>
                    <a:pt x="42" y="365"/>
                    <a:pt x="42" y="366"/>
                  </a:cubicBezTo>
                  <a:cubicBezTo>
                    <a:pt x="43" y="367"/>
                    <a:pt x="42" y="369"/>
                    <a:pt x="42" y="371"/>
                  </a:cubicBezTo>
                  <a:cubicBezTo>
                    <a:pt x="42" y="371"/>
                    <a:pt x="42" y="371"/>
                    <a:pt x="42" y="371"/>
                  </a:cubicBezTo>
                  <a:cubicBezTo>
                    <a:pt x="42" y="372"/>
                    <a:pt x="42" y="372"/>
                    <a:pt x="42" y="373"/>
                  </a:cubicBezTo>
                  <a:cubicBezTo>
                    <a:pt x="42" y="373"/>
                    <a:pt x="42" y="373"/>
                    <a:pt x="43" y="374"/>
                  </a:cubicBezTo>
                  <a:cubicBezTo>
                    <a:pt x="43" y="374"/>
                    <a:pt x="43" y="374"/>
                    <a:pt x="43" y="374"/>
                  </a:cubicBezTo>
                  <a:cubicBezTo>
                    <a:pt x="43" y="374"/>
                    <a:pt x="44" y="375"/>
                    <a:pt x="44" y="376"/>
                  </a:cubicBezTo>
                  <a:cubicBezTo>
                    <a:pt x="44" y="376"/>
                    <a:pt x="44" y="376"/>
                    <a:pt x="44" y="376"/>
                  </a:cubicBezTo>
                  <a:cubicBezTo>
                    <a:pt x="44" y="376"/>
                    <a:pt x="44" y="376"/>
                    <a:pt x="44" y="376"/>
                  </a:cubicBezTo>
                  <a:cubicBezTo>
                    <a:pt x="45" y="395"/>
                    <a:pt x="45" y="395"/>
                    <a:pt x="45" y="395"/>
                  </a:cubicBezTo>
                  <a:cubicBezTo>
                    <a:pt x="45" y="395"/>
                    <a:pt x="46" y="395"/>
                    <a:pt x="47" y="395"/>
                  </a:cubicBezTo>
                  <a:cubicBezTo>
                    <a:pt x="48" y="395"/>
                    <a:pt x="49" y="395"/>
                    <a:pt x="50" y="395"/>
                  </a:cubicBezTo>
                  <a:cubicBezTo>
                    <a:pt x="50" y="395"/>
                    <a:pt x="50" y="395"/>
                    <a:pt x="51" y="395"/>
                  </a:cubicBezTo>
                  <a:cubicBezTo>
                    <a:pt x="52" y="395"/>
                    <a:pt x="54" y="395"/>
                    <a:pt x="55" y="395"/>
                  </a:cubicBezTo>
                  <a:cubicBezTo>
                    <a:pt x="58" y="395"/>
                    <a:pt x="58" y="395"/>
                    <a:pt x="58" y="395"/>
                  </a:cubicBezTo>
                  <a:cubicBezTo>
                    <a:pt x="59" y="395"/>
                    <a:pt x="60" y="395"/>
                    <a:pt x="60" y="395"/>
                  </a:cubicBezTo>
                  <a:cubicBezTo>
                    <a:pt x="61" y="390"/>
                    <a:pt x="61" y="380"/>
                    <a:pt x="61" y="378"/>
                  </a:cubicBezTo>
                  <a:cubicBezTo>
                    <a:pt x="59" y="379"/>
                    <a:pt x="60" y="383"/>
                    <a:pt x="59" y="383"/>
                  </a:cubicBezTo>
                  <a:cubicBezTo>
                    <a:pt x="56" y="381"/>
                    <a:pt x="56" y="381"/>
                    <a:pt x="56" y="381"/>
                  </a:cubicBezTo>
                  <a:cubicBezTo>
                    <a:pt x="54" y="379"/>
                    <a:pt x="53" y="377"/>
                    <a:pt x="50" y="376"/>
                  </a:cubicBezTo>
                  <a:cubicBezTo>
                    <a:pt x="51" y="375"/>
                    <a:pt x="51" y="375"/>
                    <a:pt x="52" y="375"/>
                  </a:cubicBezTo>
                  <a:cubicBezTo>
                    <a:pt x="52" y="375"/>
                    <a:pt x="52" y="375"/>
                    <a:pt x="52" y="375"/>
                  </a:cubicBezTo>
                  <a:cubicBezTo>
                    <a:pt x="52" y="375"/>
                    <a:pt x="52" y="375"/>
                    <a:pt x="53" y="375"/>
                  </a:cubicBezTo>
                  <a:cubicBezTo>
                    <a:pt x="53" y="375"/>
                    <a:pt x="54" y="375"/>
                    <a:pt x="54" y="374"/>
                  </a:cubicBezTo>
                  <a:cubicBezTo>
                    <a:pt x="56" y="373"/>
                    <a:pt x="56" y="371"/>
                    <a:pt x="57" y="370"/>
                  </a:cubicBezTo>
                  <a:cubicBezTo>
                    <a:pt x="58" y="367"/>
                    <a:pt x="59" y="365"/>
                    <a:pt x="62" y="363"/>
                  </a:cubicBezTo>
                  <a:cubicBezTo>
                    <a:pt x="71" y="357"/>
                    <a:pt x="83" y="353"/>
                    <a:pt x="94" y="349"/>
                  </a:cubicBezTo>
                  <a:cubicBezTo>
                    <a:pt x="101" y="346"/>
                    <a:pt x="110" y="343"/>
                    <a:pt x="115" y="337"/>
                  </a:cubicBezTo>
                  <a:cubicBezTo>
                    <a:pt x="117" y="335"/>
                    <a:pt x="119" y="333"/>
                    <a:pt x="120" y="330"/>
                  </a:cubicBezTo>
                  <a:cubicBezTo>
                    <a:pt x="122" y="327"/>
                    <a:pt x="122" y="324"/>
                    <a:pt x="122" y="321"/>
                  </a:cubicBezTo>
                  <a:cubicBezTo>
                    <a:pt x="121" y="322"/>
                    <a:pt x="120" y="324"/>
                    <a:pt x="119" y="324"/>
                  </a:cubicBezTo>
                  <a:cubicBezTo>
                    <a:pt x="118" y="324"/>
                    <a:pt x="118" y="324"/>
                    <a:pt x="118" y="323"/>
                  </a:cubicBezTo>
                  <a:cubicBezTo>
                    <a:pt x="118" y="322"/>
                    <a:pt x="118" y="322"/>
                    <a:pt x="118" y="322"/>
                  </a:cubicBezTo>
                  <a:cubicBezTo>
                    <a:pt x="118" y="320"/>
                    <a:pt x="118" y="318"/>
                    <a:pt x="118" y="318"/>
                  </a:cubicBezTo>
                  <a:cubicBezTo>
                    <a:pt x="118" y="318"/>
                    <a:pt x="119" y="319"/>
                    <a:pt x="119" y="320"/>
                  </a:cubicBezTo>
                  <a:cubicBezTo>
                    <a:pt x="120" y="317"/>
                    <a:pt x="120" y="314"/>
                    <a:pt x="120" y="312"/>
                  </a:cubicBezTo>
                  <a:cubicBezTo>
                    <a:pt x="121" y="301"/>
                    <a:pt x="122" y="291"/>
                    <a:pt x="123" y="281"/>
                  </a:cubicBezTo>
                  <a:cubicBezTo>
                    <a:pt x="122" y="282"/>
                    <a:pt x="122" y="282"/>
                    <a:pt x="122" y="283"/>
                  </a:cubicBezTo>
                  <a:cubicBezTo>
                    <a:pt x="122" y="281"/>
                    <a:pt x="121" y="279"/>
                    <a:pt x="121" y="279"/>
                  </a:cubicBezTo>
                  <a:cubicBezTo>
                    <a:pt x="120" y="279"/>
                    <a:pt x="120" y="280"/>
                    <a:pt x="120" y="282"/>
                  </a:cubicBezTo>
                  <a:cubicBezTo>
                    <a:pt x="119" y="282"/>
                    <a:pt x="119" y="282"/>
                    <a:pt x="119" y="282"/>
                  </a:cubicBezTo>
                  <a:cubicBezTo>
                    <a:pt x="119" y="282"/>
                    <a:pt x="119" y="283"/>
                    <a:pt x="119" y="284"/>
                  </a:cubicBezTo>
                  <a:cubicBezTo>
                    <a:pt x="118" y="279"/>
                    <a:pt x="118" y="272"/>
                    <a:pt x="116" y="267"/>
                  </a:cubicBezTo>
                  <a:cubicBezTo>
                    <a:pt x="115" y="265"/>
                    <a:pt x="114" y="263"/>
                    <a:pt x="113" y="260"/>
                  </a:cubicBezTo>
                  <a:cubicBezTo>
                    <a:pt x="112" y="258"/>
                    <a:pt x="110" y="255"/>
                    <a:pt x="111" y="253"/>
                  </a:cubicBezTo>
                  <a:cubicBezTo>
                    <a:pt x="112" y="252"/>
                    <a:pt x="113" y="251"/>
                    <a:pt x="111" y="250"/>
                  </a:cubicBezTo>
                  <a:cubicBezTo>
                    <a:pt x="110" y="248"/>
                    <a:pt x="108" y="247"/>
                    <a:pt x="107" y="245"/>
                  </a:cubicBezTo>
                  <a:cubicBezTo>
                    <a:pt x="103" y="242"/>
                    <a:pt x="102" y="241"/>
                    <a:pt x="101" y="237"/>
                  </a:cubicBezTo>
                  <a:cubicBezTo>
                    <a:pt x="101" y="237"/>
                    <a:pt x="101" y="237"/>
                    <a:pt x="102" y="237"/>
                  </a:cubicBezTo>
                  <a:cubicBezTo>
                    <a:pt x="103" y="237"/>
                    <a:pt x="102" y="233"/>
                    <a:pt x="102" y="231"/>
                  </a:cubicBezTo>
                  <a:cubicBezTo>
                    <a:pt x="103" y="232"/>
                    <a:pt x="103" y="232"/>
                    <a:pt x="103" y="232"/>
                  </a:cubicBezTo>
                  <a:cubicBezTo>
                    <a:pt x="104" y="232"/>
                    <a:pt x="104" y="232"/>
                    <a:pt x="104" y="232"/>
                  </a:cubicBezTo>
                  <a:cubicBezTo>
                    <a:pt x="105" y="231"/>
                    <a:pt x="104" y="228"/>
                    <a:pt x="104" y="228"/>
                  </a:cubicBezTo>
                  <a:cubicBezTo>
                    <a:pt x="104" y="226"/>
                    <a:pt x="105" y="223"/>
                    <a:pt x="104" y="222"/>
                  </a:cubicBezTo>
                  <a:cubicBezTo>
                    <a:pt x="103" y="221"/>
                    <a:pt x="98" y="217"/>
                    <a:pt x="99" y="217"/>
                  </a:cubicBezTo>
                  <a:cubicBezTo>
                    <a:pt x="99" y="217"/>
                    <a:pt x="100" y="217"/>
                    <a:pt x="100" y="217"/>
                  </a:cubicBezTo>
                  <a:cubicBezTo>
                    <a:pt x="101" y="217"/>
                    <a:pt x="103" y="220"/>
                    <a:pt x="104" y="221"/>
                  </a:cubicBezTo>
                  <a:cubicBezTo>
                    <a:pt x="106" y="222"/>
                    <a:pt x="106" y="223"/>
                    <a:pt x="107" y="223"/>
                  </a:cubicBezTo>
                  <a:cubicBezTo>
                    <a:pt x="107" y="223"/>
                    <a:pt x="108" y="223"/>
                    <a:pt x="109" y="223"/>
                  </a:cubicBezTo>
                  <a:cubicBezTo>
                    <a:pt x="110" y="222"/>
                    <a:pt x="112" y="221"/>
                    <a:pt x="113" y="220"/>
                  </a:cubicBezTo>
                  <a:cubicBezTo>
                    <a:pt x="117" y="217"/>
                    <a:pt x="120" y="214"/>
                    <a:pt x="123" y="210"/>
                  </a:cubicBezTo>
                  <a:cubicBezTo>
                    <a:pt x="124" y="208"/>
                    <a:pt x="126" y="206"/>
                    <a:pt x="128" y="204"/>
                  </a:cubicBezTo>
                  <a:cubicBezTo>
                    <a:pt x="129" y="203"/>
                    <a:pt x="129" y="202"/>
                    <a:pt x="130" y="202"/>
                  </a:cubicBezTo>
                  <a:cubicBezTo>
                    <a:pt x="130" y="202"/>
                    <a:pt x="130" y="202"/>
                    <a:pt x="130" y="202"/>
                  </a:cubicBezTo>
                  <a:cubicBezTo>
                    <a:pt x="131" y="202"/>
                    <a:pt x="131" y="202"/>
                    <a:pt x="131" y="202"/>
                  </a:cubicBezTo>
                  <a:cubicBezTo>
                    <a:pt x="132" y="202"/>
                    <a:pt x="132" y="201"/>
                    <a:pt x="133" y="200"/>
                  </a:cubicBezTo>
                  <a:cubicBezTo>
                    <a:pt x="134" y="199"/>
                    <a:pt x="135" y="199"/>
                    <a:pt x="136" y="199"/>
                  </a:cubicBezTo>
                  <a:cubicBezTo>
                    <a:pt x="137" y="199"/>
                    <a:pt x="138" y="199"/>
                    <a:pt x="140" y="200"/>
                  </a:cubicBezTo>
                  <a:cubicBezTo>
                    <a:pt x="139" y="198"/>
                    <a:pt x="140" y="197"/>
                    <a:pt x="142" y="197"/>
                  </a:cubicBezTo>
                  <a:cubicBezTo>
                    <a:pt x="142" y="197"/>
                    <a:pt x="142" y="197"/>
                    <a:pt x="143" y="197"/>
                  </a:cubicBezTo>
                  <a:cubicBezTo>
                    <a:pt x="143" y="195"/>
                    <a:pt x="149" y="189"/>
                    <a:pt x="151" y="187"/>
                  </a:cubicBezTo>
                  <a:cubicBezTo>
                    <a:pt x="152" y="186"/>
                    <a:pt x="156" y="182"/>
                    <a:pt x="156" y="180"/>
                  </a:cubicBezTo>
                  <a:cubicBezTo>
                    <a:pt x="156" y="179"/>
                    <a:pt x="155" y="179"/>
                    <a:pt x="154" y="178"/>
                  </a:cubicBezTo>
                  <a:cubicBezTo>
                    <a:pt x="153" y="176"/>
                    <a:pt x="153" y="176"/>
                    <a:pt x="154" y="176"/>
                  </a:cubicBezTo>
                  <a:cubicBezTo>
                    <a:pt x="154" y="176"/>
                    <a:pt x="155" y="176"/>
                    <a:pt x="155" y="177"/>
                  </a:cubicBezTo>
                  <a:cubicBezTo>
                    <a:pt x="160" y="175"/>
                    <a:pt x="165" y="170"/>
                    <a:pt x="170" y="167"/>
                  </a:cubicBezTo>
                  <a:cubicBezTo>
                    <a:pt x="174" y="166"/>
                    <a:pt x="177" y="165"/>
                    <a:pt x="181" y="163"/>
                  </a:cubicBezTo>
                  <a:cubicBezTo>
                    <a:pt x="183" y="161"/>
                    <a:pt x="182" y="160"/>
                    <a:pt x="184" y="159"/>
                  </a:cubicBezTo>
                  <a:cubicBezTo>
                    <a:pt x="185" y="157"/>
                    <a:pt x="191" y="156"/>
                    <a:pt x="193" y="156"/>
                  </a:cubicBezTo>
                  <a:cubicBezTo>
                    <a:pt x="197" y="154"/>
                    <a:pt x="201" y="153"/>
                    <a:pt x="205" y="152"/>
                  </a:cubicBezTo>
                  <a:cubicBezTo>
                    <a:pt x="211" y="150"/>
                    <a:pt x="216" y="146"/>
                    <a:pt x="221" y="142"/>
                  </a:cubicBezTo>
                  <a:cubicBezTo>
                    <a:pt x="227" y="139"/>
                    <a:pt x="230" y="131"/>
                    <a:pt x="234" y="125"/>
                  </a:cubicBezTo>
                  <a:cubicBezTo>
                    <a:pt x="238" y="119"/>
                    <a:pt x="243" y="114"/>
                    <a:pt x="245" y="108"/>
                  </a:cubicBezTo>
                  <a:cubicBezTo>
                    <a:pt x="246" y="105"/>
                    <a:pt x="244" y="105"/>
                    <a:pt x="244" y="104"/>
                  </a:cubicBezTo>
                  <a:cubicBezTo>
                    <a:pt x="244" y="102"/>
                    <a:pt x="246" y="103"/>
                    <a:pt x="247" y="101"/>
                  </a:cubicBezTo>
                  <a:cubicBezTo>
                    <a:pt x="248" y="100"/>
                    <a:pt x="247" y="95"/>
                    <a:pt x="247" y="94"/>
                  </a:cubicBezTo>
                  <a:cubicBezTo>
                    <a:pt x="247" y="92"/>
                    <a:pt x="246" y="92"/>
                    <a:pt x="246" y="92"/>
                  </a:cubicBezTo>
                  <a:cubicBezTo>
                    <a:pt x="245" y="92"/>
                    <a:pt x="244" y="94"/>
                    <a:pt x="243" y="95"/>
                  </a:cubicBezTo>
                  <a:cubicBezTo>
                    <a:pt x="243" y="93"/>
                    <a:pt x="246" y="90"/>
                    <a:pt x="244" y="88"/>
                  </a:cubicBezTo>
                  <a:cubicBezTo>
                    <a:pt x="244" y="87"/>
                    <a:pt x="244" y="87"/>
                    <a:pt x="243" y="87"/>
                  </a:cubicBezTo>
                  <a:cubicBezTo>
                    <a:pt x="243" y="87"/>
                    <a:pt x="242" y="87"/>
                    <a:pt x="241" y="88"/>
                  </a:cubicBezTo>
                  <a:cubicBezTo>
                    <a:pt x="241" y="86"/>
                    <a:pt x="243" y="84"/>
                    <a:pt x="242" y="82"/>
                  </a:cubicBezTo>
                  <a:cubicBezTo>
                    <a:pt x="242" y="80"/>
                    <a:pt x="242" y="79"/>
                    <a:pt x="241" y="77"/>
                  </a:cubicBezTo>
                  <a:cubicBezTo>
                    <a:pt x="241" y="75"/>
                    <a:pt x="240" y="72"/>
                    <a:pt x="240" y="70"/>
                  </a:cubicBezTo>
                  <a:cubicBezTo>
                    <a:pt x="240" y="66"/>
                    <a:pt x="241" y="63"/>
                    <a:pt x="241" y="60"/>
                  </a:cubicBezTo>
                  <a:cubicBezTo>
                    <a:pt x="241" y="58"/>
                    <a:pt x="241" y="58"/>
                    <a:pt x="240" y="57"/>
                  </a:cubicBezTo>
                  <a:cubicBezTo>
                    <a:pt x="240" y="57"/>
                    <a:pt x="239" y="57"/>
                    <a:pt x="239" y="57"/>
                  </a:cubicBezTo>
                  <a:cubicBezTo>
                    <a:pt x="239" y="57"/>
                    <a:pt x="239" y="57"/>
                    <a:pt x="239" y="57"/>
                  </a:cubicBezTo>
                  <a:cubicBezTo>
                    <a:pt x="239" y="57"/>
                    <a:pt x="238" y="57"/>
                    <a:pt x="238" y="57"/>
                  </a:cubicBezTo>
                  <a:cubicBezTo>
                    <a:pt x="238" y="57"/>
                    <a:pt x="238" y="57"/>
                    <a:pt x="238" y="56"/>
                  </a:cubicBezTo>
                  <a:cubicBezTo>
                    <a:pt x="241" y="53"/>
                    <a:pt x="241" y="53"/>
                    <a:pt x="241" y="53"/>
                  </a:cubicBezTo>
                  <a:cubicBezTo>
                    <a:pt x="242" y="51"/>
                    <a:pt x="242" y="52"/>
                    <a:pt x="242" y="50"/>
                  </a:cubicBezTo>
                  <a:cubicBezTo>
                    <a:pt x="242" y="48"/>
                    <a:pt x="241" y="46"/>
                    <a:pt x="241" y="44"/>
                  </a:cubicBezTo>
                  <a:cubicBezTo>
                    <a:pt x="240" y="39"/>
                    <a:pt x="240" y="33"/>
                    <a:pt x="239" y="28"/>
                  </a:cubicBezTo>
                  <a:cubicBezTo>
                    <a:pt x="239" y="23"/>
                    <a:pt x="239" y="21"/>
                    <a:pt x="236" y="18"/>
                  </a:cubicBezTo>
                  <a:cubicBezTo>
                    <a:pt x="239" y="16"/>
                    <a:pt x="239" y="13"/>
                    <a:pt x="239" y="9"/>
                  </a:cubicBezTo>
                  <a:cubicBezTo>
                    <a:pt x="239" y="8"/>
                    <a:pt x="243" y="7"/>
                    <a:pt x="240" y="5"/>
                  </a:cubicBezTo>
                  <a:cubicBezTo>
                    <a:pt x="238" y="4"/>
                    <a:pt x="241" y="3"/>
                    <a:pt x="243" y="3"/>
                  </a:cubicBezTo>
                  <a:cubicBezTo>
                    <a:pt x="242" y="2"/>
                    <a:pt x="241" y="1"/>
                    <a:pt x="2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1" name="Freeform 310">
              <a:extLst>
                <a:ext uri="{FF2B5EF4-FFF2-40B4-BE49-F238E27FC236}">
                  <a16:creationId xmlns:a16="http://schemas.microsoft.com/office/drawing/2014/main" id="{90A3541E-C28B-452A-B2FD-B4E8E036BA36}"/>
                </a:ext>
              </a:extLst>
            </p:cNvPr>
            <p:cNvSpPr>
              <a:spLocks/>
            </p:cNvSpPr>
            <p:nvPr/>
          </p:nvSpPr>
          <p:spPr bwMode="auto">
            <a:xfrm>
              <a:off x="5306" y="2816"/>
              <a:ext cx="602" cy="587"/>
            </a:xfrm>
            <a:custGeom>
              <a:avLst/>
              <a:gdLst>
                <a:gd name="T0" fmla="*/ 30 w 255"/>
                <a:gd name="T1" fmla="*/ 7 h 248"/>
                <a:gd name="T2" fmla="*/ 33 w 255"/>
                <a:gd name="T3" fmla="*/ 19 h 248"/>
                <a:gd name="T4" fmla="*/ 30 w 255"/>
                <a:gd name="T5" fmla="*/ 31 h 248"/>
                <a:gd name="T6" fmla="*/ 30 w 255"/>
                <a:gd name="T7" fmla="*/ 33 h 248"/>
                <a:gd name="T8" fmla="*/ 34 w 255"/>
                <a:gd name="T9" fmla="*/ 39 h 248"/>
                <a:gd name="T10" fmla="*/ 34 w 255"/>
                <a:gd name="T11" fmla="*/ 55 h 248"/>
                <a:gd name="T12" fmla="*/ 30 w 255"/>
                <a:gd name="T13" fmla="*/ 59 h 248"/>
                <a:gd name="T14" fmla="*/ 19 w 255"/>
                <a:gd name="T15" fmla="*/ 80 h 248"/>
                <a:gd name="T16" fmla="*/ 5 w 255"/>
                <a:gd name="T17" fmla="*/ 83 h 248"/>
                <a:gd name="T18" fmla="*/ 3 w 255"/>
                <a:gd name="T19" fmla="*/ 91 h 248"/>
                <a:gd name="T20" fmla="*/ 7 w 255"/>
                <a:gd name="T21" fmla="*/ 114 h 248"/>
                <a:gd name="T22" fmla="*/ 9 w 255"/>
                <a:gd name="T23" fmla="*/ 127 h 248"/>
                <a:gd name="T24" fmla="*/ 22 w 255"/>
                <a:gd name="T25" fmla="*/ 136 h 248"/>
                <a:gd name="T26" fmla="*/ 36 w 255"/>
                <a:gd name="T27" fmla="*/ 176 h 248"/>
                <a:gd name="T28" fmla="*/ 37 w 255"/>
                <a:gd name="T29" fmla="*/ 175 h 248"/>
                <a:gd name="T30" fmla="*/ 46 w 255"/>
                <a:gd name="T31" fmla="*/ 177 h 248"/>
                <a:gd name="T32" fmla="*/ 56 w 255"/>
                <a:gd name="T33" fmla="*/ 183 h 248"/>
                <a:gd name="T34" fmla="*/ 70 w 255"/>
                <a:gd name="T35" fmla="*/ 188 h 248"/>
                <a:gd name="T36" fmla="*/ 83 w 255"/>
                <a:gd name="T37" fmla="*/ 193 h 248"/>
                <a:gd name="T38" fmla="*/ 101 w 255"/>
                <a:gd name="T39" fmla="*/ 199 h 248"/>
                <a:gd name="T40" fmla="*/ 105 w 255"/>
                <a:gd name="T41" fmla="*/ 197 h 248"/>
                <a:gd name="T42" fmla="*/ 125 w 255"/>
                <a:gd name="T43" fmla="*/ 244 h 248"/>
                <a:gd name="T44" fmla="*/ 141 w 255"/>
                <a:gd name="T45" fmla="*/ 245 h 248"/>
                <a:gd name="T46" fmla="*/ 151 w 255"/>
                <a:gd name="T47" fmla="*/ 242 h 248"/>
                <a:gd name="T48" fmla="*/ 155 w 255"/>
                <a:gd name="T49" fmla="*/ 244 h 248"/>
                <a:gd name="T50" fmla="*/ 169 w 255"/>
                <a:gd name="T51" fmla="*/ 246 h 248"/>
                <a:gd name="T52" fmla="*/ 185 w 255"/>
                <a:gd name="T53" fmla="*/ 247 h 248"/>
                <a:gd name="T54" fmla="*/ 192 w 255"/>
                <a:gd name="T55" fmla="*/ 242 h 248"/>
                <a:gd name="T56" fmla="*/ 195 w 255"/>
                <a:gd name="T57" fmla="*/ 239 h 248"/>
                <a:gd name="T58" fmla="*/ 211 w 255"/>
                <a:gd name="T59" fmla="*/ 239 h 248"/>
                <a:gd name="T60" fmla="*/ 224 w 255"/>
                <a:gd name="T61" fmla="*/ 234 h 248"/>
                <a:gd name="T62" fmla="*/ 227 w 255"/>
                <a:gd name="T63" fmla="*/ 234 h 248"/>
                <a:gd name="T64" fmla="*/ 255 w 255"/>
                <a:gd name="T65" fmla="*/ 218 h 248"/>
                <a:gd name="T66" fmla="*/ 246 w 255"/>
                <a:gd name="T67" fmla="*/ 214 h 248"/>
                <a:gd name="T68" fmla="*/ 239 w 255"/>
                <a:gd name="T69" fmla="*/ 210 h 248"/>
                <a:gd name="T70" fmla="*/ 230 w 255"/>
                <a:gd name="T71" fmla="*/ 175 h 248"/>
                <a:gd name="T72" fmla="*/ 221 w 255"/>
                <a:gd name="T73" fmla="*/ 125 h 248"/>
                <a:gd name="T74" fmla="*/ 226 w 255"/>
                <a:gd name="T75" fmla="*/ 86 h 248"/>
                <a:gd name="T76" fmla="*/ 211 w 255"/>
                <a:gd name="T77" fmla="*/ 76 h 248"/>
                <a:gd name="T78" fmla="*/ 189 w 255"/>
                <a:gd name="T79" fmla="*/ 59 h 248"/>
                <a:gd name="T80" fmla="*/ 188 w 255"/>
                <a:gd name="T81" fmla="*/ 49 h 248"/>
                <a:gd name="T82" fmla="*/ 185 w 255"/>
                <a:gd name="T83" fmla="*/ 47 h 248"/>
                <a:gd name="T84" fmla="*/ 143 w 255"/>
                <a:gd name="T85" fmla="*/ 22 h 248"/>
                <a:gd name="T86" fmla="*/ 100 w 255"/>
                <a:gd name="T87" fmla="*/ 5 h 248"/>
                <a:gd name="T88" fmla="*/ 97 w 255"/>
                <a:gd name="T89" fmla="*/ 9 h 248"/>
                <a:gd name="T90" fmla="*/ 96 w 255"/>
                <a:gd name="T91" fmla="*/ 15 h 248"/>
                <a:gd name="T92" fmla="*/ 88 w 255"/>
                <a:gd name="T93" fmla="*/ 22 h 248"/>
                <a:gd name="T94" fmla="*/ 90 w 255"/>
                <a:gd name="T95" fmla="*/ 34 h 248"/>
                <a:gd name="T96" fmla="*/ 86 w 255"/>
                <a:gd name="T97" fmla="*/ 32 h 248"/>
                <a:gd name="T98" fmla="*/ 80 w 255"/>
                <a:gd name="T99" fmla="*/ 31 h 248"/>
                <a:gd name="T100" fmla="*/ 75 w 255"/>
                <a:gd name="T101" fmla="*/ 44 h 248"/>
                <a:gd name="T102" fmla="*/ 77 w 255"/>
                <a:gd name="T103" fmla="*/ 33 h 248"/>
                <a:gd name="T104" fmla="*/ 69 w 255"/>
                <a:gd name="T105" fmla="*/ 34 h 248"/>
                <a:gd name="T106" fmla="*/ 60 w 255"/>
                <a:gd name="T107" fmla="*/ 33 h 248"/>
                <a:gd name="T108" fmla="*/ 57 w 255"/>
                <a:gd name="T109" fmla="*/ 38 h 248"/>
                <a:gd name="T110" fmla="*/ 50 w 255"/>
                <a:gd name="T11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5" h="248">
                  <a:moveTo>
                    <a:pt x="53" y="0"/>
                  </a:moveTo>
                  <a:cubicBezTo>
                    <a:pt x="53" y="0"/>
                    <a:pt x="52" y="0"/>
                    <a:pt x="52" y="0"/>
                  </a:cubicBezTo>
                  <a:cubicBezTo>
                    <a:pt x="42" y="0"/>
                    <a:pt x="33" y="1"/>
                    <a:pt x="26" y="1"/>
                  </a:cubicBezTo>
                  <a:cubicBezTo>
                    <a:pt x="30" y="7"/>
                    <a:pt x="30" y="7"/>
                    <a:pt x="30" y="7"/>
                  </a:cubicBezTo>
                  <a:cubicBezTo>
                    <a:pt x="31" y="10"/>
                    <a:pt x="32" y="11"/>
                    <a:pt x="32" y="13"/>
                  </a:cubicBezTo>
                  <a:cubicBezTo>
                    <a:pt x="32" y="15"/>
                    <a:pt x="32" y="16"/>
                    <a:pt x="32" y="18"/>
                  </a:cubicBezTo>
                  <a:cubicBezTo>
                    <a:pt x="32" y="18"/>
                    <a:pt x="32" y="18"/>
                    <a:pt x="32" y="18"/>
                  </a:cubicBezTo>
                  <a:cubicBezTo>
                    <a:pt x="32" y="18"/>
                    <a:pt x="33" y="18"/>
                    <a:pt x="33" y="19"/>
                  </a:cubicBezTo>
                  <a:cubicBezTo>
                    <a:pt x="33" y="20"/>
                    <a:pt x="34" y="21"/>
                    <a:pt x="34" y="22"/>
                  </a:cubicBezTo>
                  <a:cubicBezTo>
                    <a:pt x="34" y="24"/>
                    <a:pt x="34" y="26"/>
                    <a:pt x="33" y="28"/>
                  </a:cubicBezTo>
                  <a:cubicBezTo>
                    <a:pt x="33" y="29"/>
                    <a:pt x="32" y="30"/>
                    <a:pt x="32" y="30"/>
                  </a:cubicBezTo>
                  <a:cubicBezTo>
                    <a:pt x="31" y="31"/>
                    <a:pt x="31" y="31"/>
                    <a:pt x="30" y="31"/>
                  </a:cubicBezTo>
                  <a:cubicBezTo>
                    <a:pt x="30" y="31"/>
                    <a:pt x="30" y="31"/>
                    <a:pt x="30" y="31"/>
                  </a:cubicBezTo>
                  <a:cubicBezTo>
                    <a:pt x="30" y="32"/>
                    <a:pt x="30" y="32"/>
                    <a:pt x="30" y="32"/>
                  </a:cubicBezTo>
                  <a:cubicBezTo>
                    <a:pt x="30" y="33"/>
                    <a:pt x="30" y="33"/>
                    <a:pt x="30" y="33"/>
                  </a:cubicBezTo>
                  <a:cubicBezTo>
                    <a:pt x="30" y="33"/>
                    <a:pt x="30" y="33"/>
                    <a:pt x="30" y="33"/>
                  </a:cubicBezTo>
                  <a:cubicBezTo>
                    <a:pt x="30" y="34"/>
                    <a:pt x="31" y="35"/>
                    <a:pt x="31" y="36"/>
                  </a:cubicBezTo>
                  <a:cubicBezTo>
                    <a:pt x="32" y="36"/>
                    <a:pt x="32" y="37"/>
                    <a:pt x="32" y="38"/>
                  </a:cubicBezTo>
                  <a:cubicBezTo>
                    <a:pt x="34" y="38"/>
                    <a:pt x="34" y="38"/>
                    <a:pt x="34" y="38"/>
                  </a:cubicBezTo>
                  <a:cubicBezTo>
                    <a:pt x="34" y="39"/>
                    <a:pt x="34" y="39"/>
                    <a:pt x="34" y="39"/>
                  </a:cubicBezTo>
                  <a:cubicBezTo>
                    <a:pt x="35" y="40"/>
                    <a:pt x="36" y="46"/>
                    <a:pt x="36" y="49"/>
                  </a:cubicBezTo>
                  <a:cubicBezTo>
                    <a:pt x="36" y="50"/>
                    <a:pt x="36" y="51"/>
                    <a:pt x="36" y="51"/>
                  </a:cubicBezTo>
                  <a:cubicBezTo>
                    <a:pt x="35" y="52"/>
                    <a:pt x="35" y="53"/>
                    <a:pt x="34" y="54"/>
                  </a:cubicBezTo>
                  <a:cubicBezTo>
                    <a:pt x="34" y="55"/>
                    <a:pt x="34" y="55"/>
                    <a:pt x="34" y="55"/>
                  </a:cubicBezTo>
                  <a:cubicBezTo>
                    <a:pt x="34" y="56"/>
                    <a:pt x="34" y="56"/>
                    <a:pt x="34" y="56"/>
                  </a:cubicBezTo>
                  <a:cubicBezTo>
                    <a:pt x="33" y="57"/>
                    <a:pt x="33" y="57"/>
                    <a:pt x="33" y="57"/>
                  </a:cubicBezTo>
                  <a:cubicBezTo>
                    <a:pt x="32" y="58"/>
                    <a:pt x="32" y="58"/>
                    <a:pt x="31" y="59"/>
                  </a:cubicBezTo>
                  <a:cubicBezTo>
                    <a:pt x="31" y="59"/>
                    <a:pt x="30" y="59"/>
                    <a:pt x="30" y="59"/>
                  </a:cubicBezTo>
                  <a:cubicBezTo>
                    <a:pt x="29" y="60"/>
                    <a:pt x="29" y="61"/>
                    <a:pt x="29" y="63"/>
                  </a:cubicBezTo>
                  <a:cubicBezTo>
                    <a:pt x="29" y="65"/>
                    <a:pt x="28" y="68"/>
                    <a:pt x="27" y="70"/>
                  </a:cubicBezTo>
                  <a:cubicBezTo>
                    <a:pt x="26" y="72"/>
                    <a:pt x="26" y="72"/>
                    <a:pt x="26" y="72"/>
                  </a:cubicBezTo>
                  <a:cubicBezTo>
                    <a:pt x="24" y="75"/>
                    <a:pt x="23" y="77"/>
                    <a:pt x="19" y="80"/>
                  </a:cubicBezTo>
                  <a:cubicBezTo>
                    <a:pt x="18" y="80"/>
                    <a:pt x="18" y="80"/>
                    <a:pt x="13" y="81"/>
                  </a:cubicBezTo>
                  <a:cubicBezTo>
                    <a:pt x="11" y="81"/>
                    <a:pt x="8" y="81"/>
                    <a:pt x="7" y="81"/>
                  </a:cubicBezTo>
                  <a:cubicBezTo>
                    <a:pt x="7" y="82"/>
                    <a:pt x="6" y="82"/>
                    <a:pt x="6" y="82"/>
                  </a:cubicBezTo>
                  <a:cubicBezTo>
                    <a:pt x="5" y="82"/>
                    <a:pt x="5" y="83"/>
                    <a:pt x="5" y="83"/>
                  </a:cubicBezTo>
                  <a:cubicBezTo>
                    <a:pt x="2" y="84"/>
                    <a:pt x="2" y="84"/>
                    <a:pt x="2" y="84"/>
                  </a:cubicBezTo>
                  <a:cubicBezTo>
                    <a:pt x="1" y="83"/>
                    <a:pt x="1" y="83"/>
                    <a:pt x="1" y="83"/>
                  </a:cubicBezTo>
                  <a:cubicBezTo>
                    <a:pt x="0" y="85"/>
                    <a:pt x="0" y="88"/>
                    <a:pt x="1" y="89"/>
                  </a:cubicBezTo>
                  <a:cubicBezTo>
                    <a:pt x="1" y="89"/>
                    <a:pt x="3" y="91"/>
                    <a:pt x="3" y="91"/>
                  </a:cubicBezTo>
                  <a:cubicBezTo>
                    <a:pt x="5" y="93"/>
                    <a:pt x="6" y="94"/>
                    <a:pt x="6" y="96"/>
                  </a:cubicBezTo>
                  <a:cubicBezTo>
                    <a:pt x="6" y="98"/>
                    <a:pt x="4" y="100"/>
                    <a:pt x="4" y="102"/>
                  </a:cubicBezTo>
                  <a:cubicBezTo>
                    <a:pt x="5" y="104"/>
                    <a:pt x="7" y="107"/>
                    <a:pt x="7" y="108"/>
                  </a:cubicBezTo>
                  <a:cubicBezTo>
                    <a:pt x="9" y="112"/>
                    <a:pt x="9" y="111"/>
                    <a:pt x="7" y="114"/>
                  </a:cubicBezTo>
                  <a:cubicBezTo>
                    <a:pt x="7" y="115"/>
                    <a:pt x="6" y="115"/>
                    <a:pt x="5" y="116"/>
                  </a:cubicBezTo>
                  <a:cubicBezTo>
                    <a:pt x="4" y="119"/>
                    <a:pt x="3" y="120"/>
                    <a:pt x="5" y="122"/>
                  </a:cubicBezTo>
                  <a:cubicBezTo>
                    <a:pt x="6" y="123"/>
                    <a:pt x="8" y="127"/>
                    <a:pt x="9" y="127"/>
                  </a:cubicBezTo>
                  <a:cubicBezTo>
                    <a:pt x="9" y="127"/>
                    <a:pt x="9" y="127"/>
                    <a:pt x="9" y="127"/>
                  </a:cubicBezTo>
                  <a:cubicBezTo>
                    <a:pt x="10" y="127"/>
                    <a:pt x="10" y="126"/>
                    <a:pt x="10" y="126"/>
                  </a:cubicBezTo>
                  <a:cubicBezTo>
                    <a:pt x="11" y="126"/>
                    <a:pt x="11" y="126"/>
                    <a:pt x="12" y="126"/>
                  </a:cubicBezTo>
                  <a:cubicBezTo>
                    <a:pt x="12" y="126"/>
                    <a:pt x="12" y="126"/>
                    <a:pt x="12" y="126"/>
                  </a:cubicBezTo>
                  <a:cubicBezTo>
                    <a:pt x="16" y="126"/>
                    <a:pt x="20" y="133"/>
                    <a:pt x="22" y="136"/>
                  </a:cubicBezTo>
                  <a:cubicBezTo>
                    <a:pt x="24" y="138"/>
                    <a:pt x="24" y="141"/>
                    <a:pt x="26" y="144"/>
                  </a:cubicBezTo>
                  <a:cubicBezTo>
                    <a:pt x="29" y="153"/>
                    <a:pt x="32" y="162"/>
                    <a:pt x="36" y="171"/>
                  </a:cubicBezTo>
                  <a:cubicBezTo>
                    <a:pt x="36" y="172"/>
                    <a:pt x="36" y="173"/>
                    <a:pt x="36" y="173"/>
                  </a:cubicBezTo>
                  <a:cubicBezTo>
                    <a:pt x="36" y="176"/>
                    <a:pt x="36" y="176"/>
                    <a:pt x="36" y="176"/>
                  </a:cubicBezTo>
                  <a:cubicBezTo>
                    <a:pt x="36" y="176"/>
                    <a:pt x="36" y="176"/>
                    <a:pt x="36" y="176"/>
                  </a:cubicBezTo>
                  <a:cubicBezTo>
                    <a:pt x="36" y="177"/>
                    <a:pt x="36" y="177"/>
                    <a:pt x="36" y="177"/>
                  </a:cubicBezTo>
                  <a:cubicBezTo>
                    <a:pt x="36" y="175"/>
                    <a:pt x="36" y="175"/>
                    <a:pt x="36" y="175"/>
                  </a:cubicBezTo>
                  <a:cubicBezTo>
                    <a:pt x="37" y="175"/>
                    <a:pt x="37" y="175"/>
                    <a:pt x="37" y="175"/>
                  </a:cubicBezTo>
                  <a:cubicBezTo>
                    <a:pt x="40" y="175"/>
                    <a:pt x="42" y="175"/>
                    <a:pt x="44" y="176"/>
                  </a:cubicBezTo>
                  <a:cubicBezTo>
                    <a:pt x="46" y="171"/>
                    <a:pt x="46" y="171"/>
                    <a:pt x="46" y="171"/>
                  </a:cubicBezTo>
                  <a:cubicBezTo>
                    <a:pt x="45" y="177"/>
                    <a:pt x="45" y="177"/>
                    <a:pt x="45" y="177"/>
                  </a:cubicBezTo>
                  <a:cubicBezTo>
                    <a:pt x="46" y="177"/>
                    <a:pt x="46" y="177"/>
                    <a:pt x="46" y="177"/>
                  </a:cubicBezTo>
                  <a:cubicBezTo>
                    <a:pt x="47" y="178"/>
                    <a:pt x="49" y="179"/>
                    <a:pt x="51" y="180"/>
                  </a:cubicBezTo>
                  <a:cubicBezTo>
                    <a:pt x="52" y="181"/>
                    <a:pt x="53" y="181"/>
                    <a:pt x="55" y="182"/>
                  </a:cubicBezTo>
                  <a:cubicBezTo>
                    <a:pt x="58" y="177"/>
                    <a:pt x="58" y="177"/>
                    <a:pt x="58" y="177"/>
                  </a:cubicBezTo>
                  <a:cubicBezTo>
                    <a:pt x="56" y="183"/>
                    <a:pt x="56" y="183"/>
                    <a:pt x="56" y="183"/>
                  </a:cubicBezTo>
                  <a:cubicBezTo>
                    <a:pt x="56" y="183"/>
                    <a:pt x="56" y="183"/>
                    <a:pt x="56" y="183"/>
                  </a:cubicBezTo>
                  <a:cubicBezTo>
                    <a:pt x="57" y="183"/>
                    <a:pt x="57" y="183"/>
                    <a:pt x="57" y="183"/>
                  </a:cubicBezTo>
                  <a:cubicBezTo>
                    <a:pt x="58" y="184"/>
                    <a:pt x="58" y="184"/>
                    <a:pt x="58" y="184"/>
                  </a:cubicBezTo>
                  <a:cubicBezTo>
                    <a:pt x="61" y="186"/>
                    <a:pt x="66" y="187"/>
                    <a:pt x="70" y="188"/>
                  </a:cubicBezTo>
                  <a:cubicBezTo>
                    <a:pt x="73" y="189"/>
                    <a:pt x="76" y="190"/>
                    <a:pt x="79" y="191"/>
                  </a:cubicBezTo>
                  <a:cubicBezTo>
                    <a:pt x="79" y="191"/>
                    <a:pt x="80" y="192"/>
                    <a:pt x="80" y="192"/>
                  </a:cubicBezTo>
                  <a:cubicBezTo>
                    <a:pt x="81" y="192"/>
                    <a:pt x="81" y="192"/>
                    <a:pt x="81" y="192"/>
                  </a:cubicBezTo>
                  <a:cubicBezTo>
                    <a:pt x="83" y="193"/>
                    <a:pt x="83" y="193"/>
                    <a:pt x="83" y="193"/>
                  </a:cubicBezTo>
                  <a:cubicBezTo>
                    <a:pt x="87" y="194"/>
                    <a:pt x="91" y="195"/>
                    <a:pt x="95" y="197"/>
                  </a:cubicBezTo>
                  <a:cubicBezTo>
                    <a:pt x="96" y="197"/>
                    <a:pt x="97" y="198"/>
                    <a:pt x="99" y="198"/>
                  </a:cubicBezTo>
                  <a:cubicBezTo>
                    <a:pt x="100" y="198"/>
                    <a:pt x="100" y="198"/>
                    <a:pt x="100" y="198"/>
                  </a:cubicBezTo>
                  <a:cubicBezTo>
                    <a:pt x="100" y="199"/>
                    <a:pt x="101" y="199"/>
                    <a:pt x="101" y="199"/>
                  </a:cubicBezTo>
                  <a:cubicBezTo>
                    <a:pt x="103" y="200"/>
                    <a:pt x="103" y="200"/>
                    <a:pt x="103" y="200"/>
                  </a:cubicBezTo>
                  <a:cubicBezTo>
                    <a:pt x="103" y="200"/>
                    <a:pt x="103" y="200"/>
                    <a:pt x="103" y="200"/>
                  </a:cubicBezTo>
                  <a:cubicBezTo>
                    <a:pt x="103" y="199"/>
                    <a:pt x="103" y="198"/>
                    <a:pt x="104" y="198"/>
                  </a:cubicBezTo>
                  <a:cubicBezTo>
                    <a:pt x="104" y="198"/>
                    <a:pt x="104" y="197"/>
                    <a:pt x="105" y="197"/>
                  </a:cubicBezTo>
                  <a:cubicBezTo>
                    <a:pt x="107" y="197"/>
                    <a:pt x="112" y="203"/>
                    <a:pt x="113" y="205"/>
                  </a:cubicBezTo>
                  <a:cubicBezTo>
                    <a:pt x="114" y="207"/>
                    <a:pt x="116" y="208"/>
                    <a:pt x="117" y="210"/>
                  </a:cubicBezTo>
                  <a:cubicBezTo>
                    <a:pt x="117" y="216"/>
                    <a:pt x="119" y="222"/>
                    <a:pt x="119" y="227"/>
                  </a:cubicBezTo>
                  <a:cubicBezTo>
                    <a:pt x="119" y="234"/>
                    <a:pt x="122" y="239"/>
                    <a:pt x="125" y="244"/>
                  </a:cubicBezTo>
                  <a:cubicBezTo>
                    <a:pt x="126" y="243"/>
                    <a:pt x="126" y="243"/>
                    <a:pt x="126" y="243"/>
                  </a:cubicBezTo>
                  <a:cubicBezTo>
                    <a:pt x="127" y="244"/>
                    <a:pt x="127" y="244"/>
                    <a:pt x="127" y="244"/>
                  </a:cubicBezTo>
                  <a:cubicBezTo>
                    <a:pt x="130" y="244"/>
                    <a:pt x="136" y="245"/>
                    <a:pt x="139" y="245"/>
                  </a:cubicBezTo>
                  <a:cubicBezTo>
                    <a:pt x="140" y="245"/>
                    <a:pt x="141" y="245"/>
                    <a:pt x="141" y="245"/>
                  </a:cubicBezTo>
                  <a:cubicBezTo>
                    <a:pt x="141" y="245"/>
                    <a:pt x="141" y="245"/>
                    <a:pt x="142" y="244"/>
                  </a:cubicBezTo>
                  <a:cubicBezTo>
                    <a:pt x="142" y="244"/>
                    <a:pt x="142" y="244"/>
                    <a:pt x="142" y="244"/>
                  </a:cubicBezTo>
                  <a:cubicBezTo>
                    <a:pt x="144" y="242"/>
                    <a:pt x="146" y="241"/>
                    <a:pt x="148" y="241"/>
                  </a:cubicBezTo>
                  <a:cubicBezTo>
                    <a:pt x="149" y="241"/>
                    <a:pt x="150" y="241"/>
                    <a:pt x="151" y="242"/>
                  </a:cubicBezTo>
                  <a:cubicBezTo>
                    <a:pt x="152" y="242"/>
                    <a:pt x="152" y="242"/>
                    <a:pt x="152" y="242"/>
                  </a:cubicBezTo>
                  <a:cubicBezTo>
                    <a:pt x="152" y="243"/>
                    <a:pt x="152" y="243"/>
                    <a:pt x="152" y="243"/>
                  </a:cubicBezTo>
                  <a:cubicBezTo>
                    <a:pt x="153" y="243"/>
                    <a:pt x="153" y="243"/>
                    <a:pt x="153" y="243"/>
                  </a:cubicBezTo>
                  <a:cubicBezTo>
                    <a:pt x="154" y="243"/>
                    <a:pt x="154" y="244"/>
                    <a:pt x="155" y="244"/>
                  </a:cubicBezTo>
                  <a:cubicBezTo>
                    <a:pt x="156" y="245"/>
                    <a:pt x="156" y="245"/>
                    <a:pt x="156" y="245"/>
                  </a:cubicBezTo>
                  <a:cubicBezTo>
                    <a:pt x="159" y="246"/>
                    <a:pt x="162" y="248"/>
                    <a:pt x="165" y="248"/>
                  </a:cubicBezTo>
                  <a:cubicBezTo>
                    <a:pt x="165" y="248"/>
                    <a:pt x="165" y="248"/>
                    <a:pt x="166" y="248"/>
                  </a:cubicBezTo>
                  <a:cubicBezTo>
                    <a:pt x="167" y="247"/>
                    <a:pt x="168" y="247"/>
                    <a:pt x="169" y="246"/>
                  </a:cubicBezTo>
                  <a:cubicBezTo>
                    <a:pt x="170" y="246"/>
                    <a:pt x="171" y="246"/>
                    <a:pt x="172" y="245"/>
                  </a:cubicBezTo>
                  <a:cubicBezTo>
                    <a:pt x="173" y="245"/>
                    <a:pt x="174" y="245"/>
                    <a:pt x="175" y="245"/>
                  </a:cubicBezTo>
                  <a:cubicBezTo>
                    <a:pt x="178" y="245"/>
                    <a:pt x="180" y="246"/>
                    <a:pt x="182" y="246"/>
                  </a:cubicBezTo>
                  <a:cubicBezTo>
                    <a:pt x="183" y="247"/>
                    <a:pt x="184" y="247"/>
                    <a:pt x="185" y="247"/>
                  </a:cubicBezTo>
                  <a:cubicBezTo>
                    <a:pt x="186" y="247"/>
                    <a:pt x="186" y="247"/>
                    <a:pt x="186" y="247"/>
                  </a:cubicBezTo>
                  <a:cubicBezTo>
                    <a:pt x="188" y="246"/>
                    <a:pt x="190" y="246"/>
                    <a:pt x="190" y="245"/>
                  </a:cubicBezTo>
                  <a:cubicBezTo>
                    <a:pt x="191" y="244"/>
                    <a:pt x="191" y="244"/>
                    <a:pt x="191" y="244"/>
                  </a:cubicBezTo>
                  <a:cubicBezTo>
                    <a:pt x="191" y="244"/>
                    <a:pt x="191" y="243"/>
                    <a:pt x="192" y="242"/>
                  </a:cubicBezTo>
                  <a:cubicBezTo>
                    <a:pt x="192" y="241"/>
                    <a:pt x="193" y="241"/>
                    <a:pt x="194" y="240"/>
                  </a:cubicBezTo>
                  <a:cubicBezTo>
                    <a:pt x="190" y="235"/>
                    <a:pt x="190" y="235"/>
                    <a:pt x="190" y="235"/>
                  </a:cubicBezTo>
                  <a:cubicBezTo>
                    <a:pt x="195" y="239"/>
                    <a:pt x="195" y="239"/>
                    <a:pt x="195" y="239"/>
                  </a:cubicBezTo>
                  <a:cubicBezTo>
                    <a:pt x="195" y="239"/>
                    <a:pt x="195" y="239"/>
                    <a:pt x="195" y="239"/>
                  </a:cubicBezTo>
                  <a:cubicBezTo>
                    <a:pt x="197" y="238"/>
                    <a:pt x="199" y="237"/>
                    <a:pt x="200" y="237"/>
                  </a:cubicBezTo>
                  <a:cubicBezTo>
                    <a:pt x="202" y="237"/>
                    <a:pt x="203" y="237"/>
                    <a:pt x="204" y="238"/>
                  </a:cubicBezTo>
                  <a:cubicBezTo>
                    <a:pt x="207" y="239"/>
                    <a:pt x="209" y="240"/>
                    <a:pt x="209" y="240"/>
                  </a:cubicBezTo>
                  <a:cubicBezTo>
                    <a:pt x="210" y="240"/>
                    <a:pt x="210" y="240"/>
                    <a:pt x="211" y="239"/>
                  </a:cubicBezTo>
                  <a:cubicBezTo>
                    <a:pt x="211" y="239"/>
                    <a:pt x="211" y="239"/>
                    <a:pt x="211" y="239"/>
                  </a:cubicBezTo>
                  <a:cubicBezTo>
                    <a:pt x="212" y="238"/>
                    <a:pt x="212" y="238"/>
                    <a:pt x="212" y="238"/>
                  </a:cubicBezTo>
                  <a:cubicBezTo>
                    <a:pt x="213" y="238"/>
                    <a:pt x="213" y="238"/>
                    <a:pt x="213" y="238"/>
                  </a:cubicBezTo>
                  <a:cubicBezTo>
                    <a:pt x="216" y="236"/>
                    <a:pt x="219" y="234"/>
                    <a:pt x="224" y="234"/>
                  </a:cubicBezTo>
                  <a:cubicBezTo>
                    <a:pt x="225" y="234"/>
                    <a:pt x="225" y="234"/>
                    <a:pt x="225" y="234"/>
                  </a:cubicBezTo>
                  <a:cubicBezTo>
                    <a:pt x="225" y="234"/>
                    <a:pt x="225" y="234"/>
                    <a:pt x="225" y="234"/>
                  </a:cubicBezTo>
                  <a:cubicBezTo>
                    <a:pt x="226" y="234"/>
                    <a:pt x="226" y="234"/>
                    <a:pt x="226" y="234"/>
                  </a:cubicBezTo>
                  <a:cubicBezTo>
                    <a:pt x="226" y="234"/>
                    <a:pt x="227" y="234"/>
                    <a:pt x="227" y="234"/>
                  </a:cubicBezTo>
                  <a:cubicBezTo>
                    <a:pt x="228" y="234"/>
                    <a:pt x="228" y="234"/>
                    <a:pt x="229" y="234"/>
                  </a:cubicBezTo>
                  <a:cubicBezTo>
                    <a:pt x="236" y="232"/>
                    <a:pt x="242" y="227"/>
                    <a:pt x="247" y="224"/>
                  </a:cubicBezTo>
                  <a:cubicBezTo>
                    <a:pt x="255" y="218"/>
                    <a:pt x="255" y="218"/>
                    <a:pt x="255" y="218"/>
                  </a:cubicBezTo>
                  <a:cubicBezTo>
                    <a:pt x="255" y="218"/>
                    <a:pt x="255" y="218"/>
                    <a:pt x="255" y="218"/>
                  </a:cubicBezTo>
                  <a:cubicBezTo>
                    <a:pt x="254" y="217"/>
                    <a:pt x="253" y="216"/>
                    <a:pt x="253" y="215"/>
                  </a:cubicBezTo>
                  <a:cubicBezTo>
                    <a:pt x="251" y="214"/>
                    <a:pt x="250" y="214"/>
                    <a:pt x="249" y="214"/>
                  </a:cubicBezTo>
                  <a:cubicBezTo>
                    <a:pt x="248" y="213"/>
                    <a:pt x="248" y="213"/>
                    <a:pt x="248" y="213"/>
                  </a:cubicBezTo>
                  <a:cubicBezTo>
                    <a:pt x="247" y="213"/>
                    <a:pt x="247" y="213"/>
                    <a:pt x="246" y="214"/>
                  </a:cubicBezTo>
                  <a:cubicBezTo>
                    <a:pt x="246" y="214"/>
                    <a:pt x="246" y="214"/>
                    <a:pt x="245" y="214"/>
                  </a:cubicBezTo>
                  <a:cubicBezTo>
                    <a:pt x="245" y="214"/>
                    <a:pt x="244" y="213"/>
                    <a:pt x="244" y="212"/>
                  </a:cubicBezTo>
                  <a:cubicBezTo>
                    <a:pt x="243" y="211"/>
                    <a:pt x="242" y="210"/>
                    <a:pt x="241" y="210"/>
                  </a:cubicBezTo>
                  <a:cubicBezTo>
                    <a:pt x="240" y="210"/>
                    <a:pt x="239" y="210"/>
                    <a:pt x="239" y="210"/>
                  </a:cubicBezTo>
                  <a:cubicBezTo>
                    <a:pt x="239" y="205"/>
                    <a:pt x="235" y="200"/>
                    <a:pt x="235" y="196"/>
                  </a:cubicBezTo>
                  <a:cubicBezTo>
                    <a:pt x="235" y="194"/>
                    <a:pt x="237" y="193"/>
                    <a:pt x="237" y="191"/>
                  </a:cubicBezTo>
                  <a:cubicBezTo>
                    <a:pt x="236" y="188"/>
                    <a:pt x="233" y="186"/>
                    <a:pt x="232" y="184"/>
                  </a:cubicBezTo>
                  <a:cubicBezTo>
                    <a:pt x="230" y="182"/>
                    <a:pt x="230" y="178"/>
                    <a:pt x="230" y="175"/>
                  </a:cubicBezTo>
                  <a:cubicBezTo>
                    <a:pt x="229" y="171"/>
                    <a:pt x="228" y="169"/>
                    <a:pt x="230" y="166"/>
                  </a:cubicBezTo>
                  <a:cubicBezTo>
                    <a:pt x="233" y="160"/>
                    <a:pt x="231" y="158"/>
                    <a:pt x="230" y="152"/>
                  </a:cubicBezTo>
                  <a:cubicBezTo>
                    <a:pt x="228" y="147"/>
                    <a:pt x="232" y="144"/>
                    <a:pt x="234" y="139"/>
                  </a:cubicBezTo>
                  <a:cubicBezTo>
                    <a:pt x="236" y="136"/>
                    <a:pt x="223" y="127"/>
                    <a:pt x="221" y="125"/>
                  </a:cubicBezTo>
                  <a:cubicBezTo>
                    <a:pt x="218" y="123"/>
                    <a:pt x="216" y="116"/>
                    <a:pt x="217" y="114"/>
                  </a:cubicBezTo>
                  <a:cubicBezTo>
                    <a:pt x="220" y="106"/>
                    <a:pt x="222" y="98"/>
                    <a:pt x="225" y="90"/>
                  </a:cubicBezTo>
                  <a:cubicBezTo>
                    <a:pt x="225" y="89"/>
                    <a:pt x="226" y="88"/>
                    <a:pt x="226" y="86"/>
                  </a:cubicBezTo>
                  <a:cubicBezTo>
                    <a:pt x="226" y="86"/>
                    <a:pt x="226" y="86"/>
                    <a:pt x="226" y="86"/>
                  </a:cubicBezTo>
                  <a:cubicBezTo>
                    <a:pt x="225" y="86"/>
                    <a:pt x="225" y="86"/>
                    <a:pt x="225" y="86"/>
                  </a:cubicBezTo>
                  <a:cubicBezTo>
                    <a:pt x="222" y="84"/>
                    <a:pt x="219" y="82"/>
                    <a:pt x="217" y="80"/>
                  </a:cubicBezTo>
                  <a:cubicBezTo>
                    <a:pt x="215" y="79"/>
                    <a:pt x="215" y="79"/>
                    <a:pt x="215" y="79"/>
                  </a:cubicBezTo>
                  <a:cubicBezTo>
                    <a:pt x="214" y="78"/>
                    <a:pt x="212" y="77"/>
                    <a:pt x="211" y="76"/>
                  </a:cubicBezTo>
                  <a:cubicBezTo>
                    <a:pt x="210" y="75"/>
                    <a:pt x="210" y="75"/>
                    <a:pt x="210" y="75"/>
                  </a:cubicBezTo>
                  <a:cubicBezTo>
                    <a:pt x="209" y="74"/>
                    <a:pt x="208" y="74"/>
                    <a:pt x="208" y="74"/>
                  </a:cubicBezTo>
                  <a:cubicBezTo>
                    <a:pt x="205" y="71"/>
                    <a:pt x="205" y="71"/>
                    <a:pt x="205" y="71"/>
                  </a:cubicBezTo>
                  <a:cubicBezTo>
                    <a:pt x="200" y="68"/>
                    <a:pt x="194" y="64"/>
                    <a:pt x="189" y="59"/>
                  </a:cubicBezTo>
                  <a:cubicBezTo>
                    <a:pt x="188" y="58"/>
                    <a:pt x="188" y="58"/>
                    <a:pt x="188" y="58"/>
                  </a:cubicBezTo>
                  <a:cubicBezTo>
                    <a:pt x="187" y="56"/>
                    <a:pt x="187" y="54"/>
                    <a:pt x="187" y="52"/>
                  </a:cubicBezTo>
                  <a:cubicBezTo>
                    <a:pt x="188" y="51"/>
                    <a:pt x="188" y="50"/>
                    <a:pt x="188" y="50"/>
                  </a:cubicBezTo>
                  <a:cubicBezTo>
                    <a:pt x="188" y="49"/>
                    <a:pt x="188" y="49"/>
                    <a:pt x="188" y="49"/>
                  </a:cubicBezTo>
                  <a:cubicBezTo>
                    <a:pt x="188" y="49"/>
                    <a:pt x="187" y="49"/>
                    <a:pt x="186" y="48"/>
                  </a:cubicBezTo>
                  <a:cubicBezTo>
                    <a:pt x="186" y="48"/>
                    <a:pt x="186" y="48"/>
                    <a:pt x="186" y="48"/>
                  </a:cubicBezTo>
                  <a:cubicBezTo>
                    <a:pt x="183" y="52"/>
                    <a:pt x="183" y="52"/>
                    <a:pt x="183" y="52"/>
                  </a:cubicBezTo>
                  <a:cubicBezTo>
                    <a:pt x="185" y="47"/>
                    <a:pt x="185" y="47"/>
                    <a:pt x="185" y="47"/>
                  </a:cubicBezTo>
                  <a:cubicBezTo>
                    <a:pt x="184" y="47"/>
                    <a:pt x="184" y="47"/>
                    <a:pt x="184" y="47"/>
                  </a:cubicBezTo>
                  <a:cubicBezTo>
                    <a:pt x="184" y="46"/>
                    <a:pt x="183" y="45"/>
                    <a:pt x="183" y="45"/>
                  </a:cubicBezTo>
                  <a:cubicBezTo>
                    <a:pt x="181" y="44"/>
                    <a:pt x="180" y="42"/>
                    <a:pt x="179" y="42"/>
                  </a:cubicBezTo>
                  <a:cubicBezTo>
                    <a:pt x="167" y="35"/>
                    <a:pt x="155" y="28"/>
                    <a:pt x="143" y="22"/>
                  </a:cubicBezTo>
                  <a:cubicBezTo>
                    <a:pt x="130" y="14"/>
                    <a:pt x="117" y="7"/>
                    <a:pt x="105" y="0"/>
                  </a:cubicBezTo>
                  <a:cubicBezTo>
                    <a:pt x="104" y="2"/>
                    <a:pt x="103" y="4"/>
                    <a:pt x="104" y="5"/>
                  </a:cubicBezTo>
                  <a:cubicBezTo>
                    <a:pt x="103" y="5"/>
                    <a:pt x="102" y="5"/>
                    <a:pt x="101" y="5"/>
                  </a:cubicBezTo>
                  <a:cubicBezTo>
                    <a:pt x="100" y="5"/>
                    <a:pt x="100" y="5"/>
                    <a:pt x="100" y="5"/>
                  </a:cubicBezTo>
                  <a:cubicBezTo>
                    <a:pt x="100" y="8"/>
                    <a:pt x="102" y="8"/>
                    <a:pt x="103" y="9"/>
                  </a:cubicBezTo>
                  <a:cubicBezTo>
                    <a:pt x="102" y="9"/>
                    <a:pt x="100" y="8"/>
                    <a:pt x="99" y="8"/>
                  </a:cubicBezTo>
                  <a:cubicBezTo>
                    <a:pt x="99" y="8"/>
                    <a:pt x="98" y="8"/>
                    <a:pt x="98" y="9"/>
                  </a:cubicBezTo>
                  <a:cubicBezTo>
                    <a:pt x="97" y="9"/>
                    <a:pt x="97" y="9"/>
                    <a:pt x="97" y="9"/>
                  </a:cubicBezTo>
                  <a:cubicBezTo>
                    <a:pt x="97" y="9"/>
                    <a:pt x="97" y="9"/>
                    <a:pt x="97" y="9"/>
                  </a:cubicBezTo>
                  <a:cubicBezTo>
                    <a:pt x="97" y="9"/>
                    <a:pt x="97" y="9"/>
                    <a:pt x="97" y="9"/>
                  </a:cubicBezTo>
                  <a:cubicBezTo>
                    <a:pt x="96" y="9"/>
                    <a:pt x="97" y="9"/>
                    <a:pt x="97" y="11"/>
                  </a:cubicBezTo>
                  <a:cubicBezTo>
                    <a:pt x="97" y="12"/>
                    <a:pt x="98" y="13"/>
                    <a:pt x="96" y="15"/>
                  </a:cubicBezTo>
                  <a:cubicBezTo>
                    <a:pt x="94" y="17"/>
                    <a:pt x="88" y="14"/>
                    <a:pt x="88" y="19"/>
                  </a:cubicBezTo>
                  <a:cubicBezTo>
                    <a:pt x="89" y="19"/>
                    <a:pt x="90" y="18"/>
                    <a:pt x="91" y="18"/>
                  </a:cubicBezTo>
                  <a:cubicBezTo>
                    <a:pt x="90" y="22"/>
                    <a:pt x="90" y="22"/>
                    <a:pt x="90" y="22"/>
                  </a:cubicBezTo>
                  <a:cubicBezTo>
                    <a:pt x="89" y="22"/>
                    <a:pt x="89" y="22"/>
                    <a:pt x="88" y="22"/>
                  </a:cubicBezTo>
                  <a:cubicBezTo>
                    <a:pt x="87" y="22"/>
                    <a:pt x="86" y="22"/>
                    <a:pt x="86" y="22"/>
                  </a:cubicBezTo>
                  <a:cubicBezTo>
                    <a:pt x="85" y="24"/>
                    <a:pt x="88" y="24"/>
                    <a:pt x="91" y="24"/>
                  </a:cubicBezTo>
                  <a:cubicBezTo>
                    <a:pt x="95" y="24"/>
                    <a:pt x="99" y="24"/>
                    <a:pt x="100" y="24"/>
                  </a:cubicBezTo>
                  <a:cubicBezTo>
                    <a:pt x="98" y="26"/>
                    <a:pt x="93" y="33"/>
                    <a:pt x="90" y="34"/>
                  </a:cubicBezTo>
                  <a:cubicBezTo>
                    <a:pt x="90" y="34"/>
                    <a:pt x="90" y="34"/>
                    <a:pt x="90" y="34"/>
                  </a:cubicBezTo>
                  <a:cubicBezTo>
                    <a:pt x="90" y="34"/>
                    <a:pt x="88" y="33"/>
                    <a:pt x="88" y="33"/>
                  </a:cubicBezTo>
                  <a:cubicBezTo>
                    <a:pt x="88" y="32"/>
                    <a:pt x="87" y="32"/>
                    <a:pt x="87" y="32"/>
                  </a:cubicBezTo>
                  <a:cubicBezTo>
                    <a:pt x="87" y="32"/>
                    <a:pt x="87" y="32"/>
                    <a:pt x="86" y="32"/>
                  </a:cubicBezTo>
                  <a:cubicBezTo>
                    <a:pt x="86" y="32"/>
                    <a:pt x="86" y="32"/>
                    <a:pt x="86" y="32"/>
                  </a:cubicBezTo>
                  <a:cubicBezTo>
                    <a:pt x="86" y="32"/>
                    <a:pt x="85" y="32"/>
                    <a:pt x="85" y="32"/>
                  </a:cubicBezTo>
                  <a:cubicBezTo>
                    <a:pt x="84" y="32"/>
                    <a:pt x="83" y="31"/>
                    <a:pt x="82" y="31"/>
                  </a:cubicBezTo>
                  <a:cubicBezTo>
                    <a:pt x="81" y="31"/>
                    <a:pt x="80" y="31"/>
                    <a:pt x="80" y="31"/>
                  </a:cubicBezTo>
                  <a:cubicBezTo>
                    <a:pt x="79" y="31"/>
                    <a:pt x="79" y="31"/>
                    <a:pt x="78" y="33"/>
                  </a:cubicBezTo>
                  <a:cubicBezTo>
                    <a:pt x="78" y="35"/>
                    <a:pt x="78" y="35"/>
                    <a:pt x="78" y="35"/>
                  </a:cubicBezTo>
                  <a:cubicBezTo>
                    <a:pt x="78" y="36"/>
                    <a:pt x="78" y="36"/>
                    <a:pt x="78" y="37"/>
                  </a:cubicBezTo>
                  <a:cubicBezTo>
                    <a:pt x="78" y="40"/>
                    <a:pt x="77" y="42"/>
                    <a:pt x="75" y="44"/>
                  </a:cubicBezTo>
                  <a:cubicBezTo>
                    <a:pt x="75" y="43"/>
                    <a:pt x="75" y="43"/>
                    <a:pt x="76" y="42"/>
                  </a:cubicBezTo>
                  <a:cubicBezTo>
                    <a:pt x="75" y="42"/>
                    <a:pt x="75" y="41"/>
                    <a:pt x="74" y="41"/>
                  </a:cubicBezTo>
                  <a:cubicBezTo>
                    <a:pt x="78" y="39"/>
                    <a:pt x="77" y="39"/>
                    <a:pt x="77" y="37"/>
                  </a:cubicBezTo>
                  <a:cubicBezTo>
                    <a:pt x="76" y="36"/>
                    <a:pt x="76" y="34"/>
                    <a:pt x="77" y="33"/>
                  </a:cubicBezTo>
                  <a:cubicBezTo>
                    <a:pt x="76" y="33"/>
                    <a:pt x="76" y="33"/>
                    <a:pt x="76" y="33"/>
                  </a:cubicBezTo>
                  <a:cubicBezTo>
                    <a:pt x="75" y="33"/>
                    <a:pt x="74" y="33"/>
                    <a:pt x="73" y="33"/>
                  </a:cubicBezTo>
                  <a:cubicBezTo>
                    <a:pt x="74" y="32"/>
                    <a:pt x="73" y="31"/>
                    <a:pt x="72" y="30"/>
                  </a:cubicBezTo>
                  <a:cubicBezTo>
                    <a:pt x="72" y="31"/>
                    <a:pt x="71" y="33"/>
                    <a:pt x="69" y="34"/>
                  </a:cubicBezTo>
                  <a:cubicBezTo>
                    <a:pt x="70" y="31"/>
                    <a:pt x="69" y="32"/>
                    <a:pt x="67" y="31"/>
                  </a:cubicBezTo>
                  <a:cubicBezTo>
                    <a:pt x="65" y="30"/>
                    <a:pt x="65" y="28"/>
                    <a:pt x="62" y="27"/>
                  </a:cubicBezTo>
                  <a:cubicBezTo>
                    <a:pt x="63" y="29"/>
                    <a:pt x="59" y="28"/>
                    <a:pt x="59" y="30"/>
                  </a:cubicBezTo>
                  <a:cubicBezTo>
                    <a:pt x="59" y="30"/>
                    <a:pt x="60" y="32"/>
                    <a:pt x="60" y="33"/>
                  </a:cubicBezTo>
                  <a:cubicBezTo>
                    <a:pt x="59" y="33"/>
                    <a:pt x="58" y="33"/>
                    <a:pt x="58" y="33"/>
                  </a:cubicBezTo>
                  <a:cubicBezTo>
                    <a:pt x="57" y="33"/>
                    <a:pt x="57" y="33"/>
                    <a:pt x="57" y="33"/>
                  </a:cubicBezTo>
                  <a:cubicBezTo>
                    <a:pt x="57" y="33"/>
                    <a:pt x="57" y="34"/>
                    <a:pt x="56" y="35"/>
                  </a:cubicBezTo>
                  <a:cubicBezTo>
                    <a:pt x="56" y="35"/>
                    <a:pt x="57" y="37"/>
                    <a:pt x="57" y="38"/>
                  </a:cubicBezTo>
                  <a:cubicBezTo>
                    <a:pt x="57" y="38"/>
                    <a:pt x="57" y="38"/>
                    <a:pt x="57" y="38"/>
                  </a:cubicBezTo>
                  <a:cubicBezTo>
                    <a:pt x="56" y="38"/>
                    <a:pt x="55" y="36"/>
                    <a:pt x="55" y="36"/>
                  </a:cubicBezTo>
                  <a:cubicBezTo>
                    <a:pt x="53" y="36"/>
                    <a:pt x="53" y="38"/>
                    <a:pt x="53" y="39"/>
                  </a:cubicBezTo>
                  <a:cubicBezTo>
                    <a:pt x="52" y="36"/>
                    <a:pt x="51" y="32"/>
                    <a:pt x="50" y="28"/>
                  </a:cubicBezTo>
                  <a:cubicBezTo>
                    <a:pt x="50" y="27"/>
                    <a:pt x="48" y="22"/>
                    <a:pt x="48" y="21"/>
                  </a:cubicBezTo>
                  <a:cubicBezTo>
                    <a:pt x="48" y="19"/>
                    <a:pt x="49" y="19"/>
                    <a:pt x="50" y="18"/>
                  </a:cubicBezTo>
                  <a:cubicBezTo>
                    <a:pt x="52" y="13"/>
                    <a:pt x="52" y="6"/>
                    <a:pt x="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2" name="Freeform 311">
              <a:extLst>
                <a:ext uri="{FF2B5EF4-FFF2-40B4-BE49-F238E27FC236}">
                  <a16:creationId xmlns:a16="http://schemas.microsoft.com/office/drawing/2014/main" id="{1DD0417D-FDC9-4068-BF88-68358BF8B60A}"/>
                </a:ext>
              </a:extLst>
            </p:cNvPr>
            <p:cNvSpPr>
              <a:spLocks noEditPoints="1"/>
            </p:cNvSpPr>
            <p:nvPr/>
          </p:nvSpPr>
          <p:spPr bwMode="auto">
            <a:xfrm>
              <a:off x="5551" y="2504"/>
              <a:ext cx="426" cy="506"/>
            </a:xfrm>
            <a:custGeom>
              <a:avLst/>
              <a:gdLst>
                <a:gd name="T0" fmla="*/ 44 w 180"/>
                <a:gd name="T1" fmla="*/ 0 h 214"/>
                <a:gd name="T2" fmla="*/ 8 w 180"/>
                <a:gd name="T3" fmla="*/ 3 h 214"/>
                <a:gd name="T4" fmla="*/ 4 w 180"/>
                <a:gd name="T5" fmla="*/ 7 h 214"/>
                <a:gd name="T6" fmla="*/ 7 w 180"/>
                <a:gd name="T7" fmla="*/ 14 h 214"/>
                <a:gd name="T8" fmla="*/ 11 w 180"/>
                <a:gd name="T9" fmla="*/ 16 h 214"/>
                <a:gd name="T10" fmla="*/ 14 w 180"/>
                <a:gd name="T11" fmla="*/ 20 h 214"/>
                <a:gd name="T12" fmla="*/ 20 w 180"/>
                <a:gd name="T13" fmla="*/ 37 h 214"/>
                <a:gd name="T14" fmla="*/ 32 w 180"/>
                <a:gd name="T15" fmla="*/ 55 h 214"/>
                <a:gd name="T16" fmla="*/ 26 w 180"/>
                <a:gd name="T17" fmla="*/ 59 h 214"/>
                <a:gd name="T18" fmla="*/ 22 w 180"/>
                <a:gd name="T19" fmla="*/ 73 h 214"/>
                <a:gd name="T20" fmla="*/ 17 w 180"/>
                <a:gd name="T21" fmla="*/ 81 h 214"/>
                <a:gd name="T22" fmla="*/ 13 w 180"/>
                <a:gd name="T23" fmla="*/ 83 h 214"/>
                <a:gd name="T24" fmla="*/ 9 w 180"/>
                <a:gd name="T25" fmla="*/ 91 h 214"/>
                <a:gd name="T26" fmla="*/ 3 w 180"/>
                <a:gd name="T27" fmla="*/ 100 h 214"/>
                <a:gd name="T28" fmla="*/ 1 w 180"/>
                <a:gd name="T29" fmla="*/ 103 h 214"/>
                <a:gd name="T30" fmla="*/ 5 w 180"/>
                <a:gd name="T31" fmla="*/ 113 h 214"/>
                <a:gd name="T32" fmla="*/ 18 w 180"/>
                <a:gd name="T33" fmla="*/ 108 h 214"/>
                <a:gd name="T34" fmla="*/ 19 w 180"/>
                <a:gd name="T35" fmla="*/ 112 h 214"/>
                <a:gd name="T36" fmla="*/ 15 w 180"/>
                <a:gd name="T37" fmla="*/ 114 h 214"/>
                <a:gd name="T38" fmla="*/ 13 w 180"/>
                <a:gd name="T39" fmla="*/ 113 h 214"/>
                <a:gd name="T40" fmla="*/ 11 w 180"/>
                <a:gd name="T41" fmla="*/ 118 h 214"/>
                <a:gd name="T42" fmla="*/ 8 w 180"/>
                <a:gd name="T43" fmla="*/ 116 h 214"/>
                <a:gd name="T44" fmla="*/ 6 w 180"/>
                <a:gd name="T45" fmla="*/ 116 h 214"/>
                <a:gd name="T46" fmla="*/ 4 w 180"/>
                <a:gd name="T47" fmla="*/ 126 h 214"/>
                <a:gd name="T48" fmla="*/ 77 w 180"/>
                <a:gd name="T49" fmla="*/ 169 h 214"/>
                <a:gd name="T50" fmla="*/ 83 w 180"/>
                <a:gd name="T51" fmla="*/ 173 h 214"/>
                <a:gd name="T52" fmla="*/ 90 w 180"/>
                <a:gd name="T53" fmla="*/ 182 h 214"/>
                <a:gd name="T54" fmla="*/ 108 w 180"/>
                <a:gd name="T55" fmla="*/ 201 h 214"/>
                <a:gd name="T56" fmla="*/ 116 w 180"/>
                <a:gd name="T57" fmla="*/ 207 h 214"/>
                <a:gd name="T58" fmla="*/ 132 w 180"/>
                <a:gd name="T59" fmla="*/ 206 h 214"/>
                <a:gd name="T60" fmla="*/ 136 w 180"/>
                <a:gd name="T61" fmla="*/ 190 h 214"/>
                <a:gd name="T62" fmla="*/ 158 w 180"/>
                <a:gd name="T63" fmla="*/ 162 h 214"/>
                <a:gd name="T64" fmla="*/ 164 w 180"/>
                <a:gd name="T65" fmla="*/ 159 h 214"/>
                <a:gd name="T66" fmla="*/ 163 w 180"/>
                <a:gd name="T67" fmla="*/ 156 h 214"/>
                <a:gd name="T68" fmla="*/ 165 w 180"/>
                <a:gd name="T69" fmla="*/ 150 h 214"/>
                <a:gd name="T70" fmla="*/ 176 w 180"/>
                <a:gd name="T71" fmla="*/ 147 h 214"/>
                <a:gd name="T72" fmla="*/ 165 w 180"/>
                <a:gd name="T73" fmla="*/ 131 h 214"/>
                <a:gd name="T74" fmla="*/ 162 w 180"/>
                <a:gd name="T75" fmla="*/ 110 h 214"/>
                <a:gd name="T76" fmla="*/ 162 w 180"/>
                <a:gd name="T77" fmla="*/ 47 h 214"/>
                <a:gd name="T78" fmla="*/ 165 w 180"/>
                <a:gd name="T79" fmla="*/ 33 h 214"/>
                <a:gd name="T80" fmla="*/ 170 w 180"/>
                <a:gd name="T81" fmla="*/ 27 h 214"/>
                <a:gd name="T82" fmla="*/ 172 w 180"/>
                <a:gd name="T83" fmla="*/ 16 h 214"/>
                <a:gd name="T84" fmla="*/ 159 w 180"/>
                <a:gd name="T85" fmla="*/ 8 h 214"/>
                <a:gd name="T86" fmla="*/ 132 w 180"/>
                <a:gd name="T87" fmla="*/ 28 h 214"/>
                <a:gd name="T88" fmla="*/ 128 w 180"/>
                <a:gd name="T89" fmla="*/ 28 h 214"/>
                <a:gd name="T90" fmla="*/ 115 w 180"/>
                <a:gd name="T91" fmla="*/ 25 h 214"/>
                <a:gd name="T92" fmla="*/ 91 w 180"/>
                <a:gd name="T93" fmla="*/ 20 h 214"/>
                <a:gd name="T94" fmla="*/ 75 w 180"/>
                <a:gd name="T95" fmla="*/ 9 h 214"/>
                <a:gd name="T96" fmla="*/ 68 w 180"/>
                <a:gd name="T97" fmla="*/ 6 h 214"/>
                <a:gd name="T98" fmla="*/ 62 w 180"/>
                <a:gd name="T99" fmla="*/ 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 h="214">
                  <a:moveTo>
                    <a:pt x="164" y="158"/>
                  </a:moveTo>
                  <a:cubicBezTo>
                    <a:pt x="164" y="158"/>
                    <a:pt x="164" y="158"/>
                    <a:pt x="164" y="158"/>
                  </a:cubicBezTo>
                  <a:cubicBezTo>
                    <a:pt x="164" y="158"/>
                    <a:pt x="164" y="158"/>
                    <a:pt x="164" y="158"/>
                  </a:cubicBezTo>
                  <a:moveTo>
                    <a:pt x="44" y="0"/>
                  </a:moveTo>
                  <a:cubicBezTo>
                    <a:pt x="41" y="0"/>
                    <a:pt x="41" y="0"/>
                    <a:pt x="41" y="0"/>
                  </a:cubicBezTo>
                  <a:cubicBezTo>
                    <a:pt x="11" y="0"/>
                    <a:pt x="11" y="0"/>
                    <a:pt x="11" y="0"/>
                  </a:cubicBezTo>
                  <a:cubicBezTo>
                    <a:pt x="10" y="0"/>
                    <a:pt x="10" y="0"/>
                    <a:pt x="9" y="1"/>
                  </a:cubicBezTo>
                  <a:cubicBezTo>
                    <a:pt x="8" y="2"/>
                    <a:pt x="8" y="2"/>
                    <a:pt x="8" y="3"/>
                  </a:cubicBezTo>
                  <a:cubicBezTo>
                    <a:pt x="7" y="3"/>
                    <a:pt x="7" y="4"/>
                    <a:pt x="6" y="4"/>
                  </a:cubicBezTo>
                  <a:cubicBezTo>
                    <a:pt x="6" y="4"/>
                    <a:pt x="6" y="4"/>
                    <a:pt x="6" y="4"/>
                  </a:cubicBezTo>
                  <a:cubicBezTo>
                    <a:pt x="4" y="7"/>
                    <a:pt x="4" y="7"/>
                    <a:pt x="4" y="7"/>
                  </a:cubicBezTo>
                  <a:cubicBezTo>
                    <a:pt x="4" y="7"/>
                    <a:pt x="4" y="7"/>
                    <a:pt x="4" y="7"/>
                  </a:cubicBezTo>
                  <a:cubicBezTo>
                    <a:pt x="4" y="8"/>
                    <a:pt x="4" y="8"/>
                    <a:pt x="4" y="9"/>
                  </a:cubicBezTo>
                  <a:cubicBezTo>
                    <a:pt x="5" y="10"/>
                    <a:pt x="5" y="10"/>
                    <a:pt x="5" y="10"/>
                  </a:cubicBezTo>
                  <a:cubicBezTo>
                    <a:pt x="5" y="11"/>
                    <a:pt x="5" y="12"/>
                    <a:pt x="6" y="13"/>
                  </a:cubicBezTo>
                  <a:cubicBezTo>
                    <a:pt x="6" y="14"/>
                    <a:pt x="6" y="14"/>
                    <a:pt x="7" y="14"/>
                  </a:cubicBezTo>
                  <a:cubicBezTo>
                    <a:pt x="7" y="15"/>
                    <a:pt x="7" y="15"/>
                    <a:pt x="8" y="15"/>
                  </a:cubicBezTo>
                  <a:cubicBezTo>
                    <a:pt x="8" y="15"/>
                    <a:pt x="8" y="15"/>
                    <a:pt x="8" y="15"/>
                  </a:cubicBezTo>
                  <a:cubicBezTo>
                    <a:pt x="9" y="15"/>
                    <a:pt x="10" y="16"/>
                    <a:pt x="11" y="16"/>
                  </a:cubicBezTo>
                  <a:cubicBezTo>
                    <a:pt x="11" y="16"/>
                    <a:pt x="11" y="16"/>
                    <a:pt x="11" y="16"/>
                  </a:cubicBezTo>
                  <a:cubicBezTo>
                    <a:pt x="12" y="17"/>
                    <a:pt x="13" y="17"/>
                    <a:pt x="13" y="18"/>
                  </a:cubicBezTo>
                  <a:cubicBezTo>
                    <a:pt x="13" y="18"/>
                    <a:pt x="13" y="18"/>
                    <a:pt x="13" y="18"/>
                  </a:cubicBezTo>
                  <a:cubicBezTo>
                    <a:pt x="14" y="19"/>
                    <a:pt x="14" y="19"/>
                    <a:pt x="14" y="19"/>
                  </a:cubicBezTo>
                  <a:cubicBezTo>
                    <a:pt x="14" y="20"/>
                    <a:pt x="14" y="20"/>
                    <a:pt x="14" y="20"/>
                  </a:cubicBezTo>
                  <a:cubicBezTo>
                    <a:pt x="15" y="22"/>
                    <a:pt x="15" y="25"/>
                    <a:pt x="16" y="28"/>
                  </a:cubicBezTo>
                  <a:cubicBezTo>
                    <a:pt x="16" y="30"/>
                    <a:pt x="16" y="30"/>
                    <a:pt x="16" y="30"/>
                  </a:cubicBezTo>
                  <a:cubicBezTo>
                    <a:pt x="16" y="32"/>
                    <a:pt x="17" y="33"/>
                    <a:pt x="19" y="35"/>
                  </a:cubicBezTo>
                  <a:cubicBezTo>
                    <a:pt x="20" y="37"/>
                    <a:pt x="20" y="37"/>
                    <a:pt x="20" y="37"/>
                  </a:cubicBezTo>
                  <a:cubicBezTo>
                    <a:pt x="20" y="37"/>
                    <a:pt x="20" y="38"/>
                    <a:pt x="21" y="38"/>
                  </a:cubicBezTo>
                  <a:cubicBezTo>
                    <a:pt x="23" y="42"/>
                    <a:pt x="25" y="45"/>
                    <a:pt x="25" y="47"/>
                  </a:cubicBezTo>
                  <a:cubicBezTo>
                    <a:pt x="25" y="51"/>
                    <a:pt x="25" y="53"/>
                    <a:pt x="26" y="57"/>
                  </a:cubicBezTo>
                  <a:cubicBezTo>
                    <a:pt x="32" y="55"/>
                    <a:pt x="32" y="55"/>
                    <a:pt x="32" y="55"/>
                  </a:cubicBezTo>
                  <a:cubicBezTo>
                    <a:pt x="26" y="58"/>
                    <a:pt x="26" y="58"/>
                    <a:pt x="26" y="58"/>
                  </a:cubicBezTo>
                  <a:cubicBezTo>
                    <a:pt x="26" y="59"/>
                    <a:pt x="26" y="59"/>
                    <a:pt x="26" y="59"/>
                  </a:cubicBezTo>
                  <a:cubicBezTo>
                    <a:pt x="26" y="59"/>
                    <a:pt x="26" y="59"/>
                    <a:pt x="26" y="59"/>
                  </a:cubicBezTo>
                  <a:cubicBezTo>
                    <a:pt x="26" y="59"/>
                    <a:pt x="26" y="59"/>
                    <a:pt x="26" y="59"/>
                  </a:cubicBezTo>
                  <a:cubicBezTo>
                    <a:pt x="27" y="62"/>
                    <a:pt x="26" y="65"/>
                    <a:pt x="24" y="69"/>
                  </a:cubicBezTo>
                  <a:cubicBezTo>
                    <a:pt x="23" y="70"/>
                    <a:pt x="23" y="70"/>
                    <a:pt x="23" y="70"/>
                  </a:cubicBezTo>
                  <a:cubicBezTo>
                    <a:pt x="23" y="71"/>
                    <a:pt x="23" y="71"/>
                    <a:pt x="23" y="72"/>
                  </a:cubicBezTo>
                  <a:cubicBezTo>
                    <a:pt x="22" y="72"/>
                    <a:pt x="22" y="73"/>
                    <a:pt x="22" y="73"/>
                  </a:cubicBezTo>
                  <a:cubicBezTo>
                    <a:pt x="22" y="73"/>
                    <a:pt x="22" y="73"/>
                    <a:pt x="22" y="73"/>
                  </a:cubicBezTo>
                  <a:cubicBezTo>
                    <a:pt x="22" y="74"/>
                    <a:pt x="22" y="74"/>
                    <a:pt x="22" y="74"/>
                  </a:cubicBezTo>
                  <a:cubicBezTo>
                    <a:pt x="22" y="75"/>
                    <a:pt x="23" y="77"/>
                    <a:pt x="22" y="78"/>
                  </a:cubicBezTo>
                  <a:cubicBezTo>
                    <a:pt x="21" y="80"/>
                    <a:pt x="19" y="80"/>
                    <a:pt x="17" y="81"/>
                  </a:cubicBezTo>
                  <a:cubicBezTo>
                    <a:pt x="17" y="81"/>
                    <a:pt x="17" y="81"/>
                    <a:pt x="17" y="81"/>
                  </a:cubicBezTo>
                  <a:cubicBezTo>
                    <a:pt x="16" y="84"/>
                    <a:pt x="16" y="84"/>
                    <a:pt x="16" y="84"/>
                  </a:cubicBezTo>
                  <a:cubicBezTo>
                    <a:pt x="14" y="83"/>
                    <a:pt x="14" y="83"/>
                    <a:pt x="14" y="83"/>
                  </a:cubicBezTo>
                  <a:cubicBezTo>
                    <a:pt x="13" y="83"/>
                    <a:pt x="13" y="83"/>
                    <a:pt x="13" y="83"/>
                  </a:cubicBezTo>
                  <a:cubicBezTo>
                    <a:pt x="13" y="84"/>
                    <a:pt x="12" y="85"/>
                    <a:pt x="12" y="86"/>
                  </a:cubicBezTo>
                  <a:cubicBezTo>
                    <a:pt x="11" y="87"/>
                    <a:pt x="11" y="87"/>
                    <a:pt x="11" y="87"/>
                  </a:cubicBezTo>
                  <a:cubicBezTo>
                    <a:pt x="11" y="88"/>
                    <a:pt x="11" y="88"/>
                    <a:pt x="10" y="89"/>
                  </a:cubicBezTo>
                  <a:cubicBezTo>
                    <a:pt x="10" y="89"/>
                    <a:pt x="9" y="90"/>
                    <a:pt x="9" y="91"/>
                  </a:cubicBezTo>
                  <a:cubicBezTo>
                    <a:pt x="8" y="92"/>
                    <a:pt x="8" y="92"/>
                    <a:pt x="8" y="92"/>
                  </a:cubicBezTo>
                  <a:cubicBezTo>
                    <a:pt x="7" y="93"/>
                    <a:pt x="6" y="94"/>
                    <a:pt x="6" y="95"/>
                  </a:cubicBezTo>
                  <a:cubicBezTo>
                    <a:pt x="5" y="96"/>
                    <a:pt x="5" y="96"/>
                    <a:pt x="5" y="97"/>
                  </a:cubicBezTo>
                  <a:cubicBezTo>
                    <a:pt x="5" y="98"/>
                    <a:pt x="4" y="99"/>
                    <a:pt x="3" y="100"/>
                  </a:cubicBezTo>
                  <a:cubicBezTo>
                    <a:pt x="3" y="100"/>
                    <a:pt x="3" y="100"/>
                    <a:pt x="3" y="100"/>
                  </a:cubicBezTo>
                  <a:cubicBezTo>
                    <a:pt x="3" y="101"/>
                    <a:pt x="3" y="102"/>
                    <a:pt x="3" y="102"/>
                  </a:cubicBezTo>
                  <a:cubicBezTo>
                    <a:pt x="2" y="103"/>
                    <a:pt x="2" y="103"/>
                    <a:pt x="2" y="103"/>
                  </a:cubicBezTo>
                  <a:cubicBezTo>
                    <a:pt x="1" y="103"/>
                    <a:pt x="1" y="103"/>
                    <a:pt x="1" y="103"/>
                  </a:cubicBezTo>
                  <a:cubicBezTo>
                    <a:pt x="1" y="104"/>
                    <a:pt x="1" y="104"/>
                    <a:pt x="1" y="104"/>
                  </a:cubicBezTo>
                  <a:cubicBezTo>
                    <a:pt x="0" y="104"/>
                    <a:pt x="0" y="104"/>
                    <a:pt x="0" y="104"/>
                  </a:cubicBezTo>
                  <a:cubicBezTo>
                    <a:pt x="0" y="105"/>
                    <a:pt x="0" y="106"/>
                    <a:pt x="1" y="106"/>
                  </a:cubicBezTo>
                  <a:cubicBezTo>
                    <a:pt x="2" y="108"/>
                    <a:pt x="4" y="111"/>
                    <a:pt x="5" y="113"/>
                  </a:cubicBezTo>
                  <a:cubicBezTo>
                    <a:pt x="6" y="114"/>
                    <a:pt x="7" y="114"/>
                    <a:pt x="7" y="114"/>
                  </a:cubicBezTo>
                  <a:cubicBezTo>
                    <a:pt x="7" y="114"/>
                    <a:pt x="7" y="114"/>
                    <a:pt x="8" y="114"/>
                  </a:cubicBezTo>
                  <a:cubicBezTo>
                    <a:pt x="10" y="112"/>
                    <a:pt x="8" y="111"/>
                    <a:pt x="8" y="111"/>
                  </a:cubicBezTo>
                  <a:cubicBezTo>
                    <a:pt x="9" y="110"/>
                    <a:pt x="16" y="108"/>
                    <a:pt x="18" y="108"/>
                  </a:cubicBezTo>
                  <a:cubicBezTo>
                    <a:pt x="17" y="110"/>
                    <a:pt x="20" y="111"/>
                    <a:pt x="20" y="112"/>
                  </a:cubicBezTo>
                  <a:cubicBezTo>
                    <a:pt x="20" y="113"/>
                    <a:pt x="20" y="113"/>
                    <a:pt x="20" y="113"/>
                  </a:cubicBezTo>
                  <a:cubicBezTo>
                    <a:pt x="20" y="113"/>
                    <a:pt x="19" y="113"/>
                    <a:pt x="19" y="113"/>
                  </a:cubicBezTo>
                  <a:cubicBezTo>
                    <a:pt x="19" y="112"/>
                    <a:pt x="19" y="112"/>
                    <a:pt x="19" y="112"/>
                  </a:cubicBezTo>
                  <a:cubicBezTo>
                    <a:pt x="19" y="112"/>
                    <a:pt x="19" y="112"/>
                    <a:pt x="19" y="112"/>
                  </a:cubicBezTo>
                  <a:cubicBezTo>
                    <a:pt x="17" y="113"/>
                    <a:pt x="18" y="113"/>
                    <a:pt x="16" y="114"/>
                  </a:cubicBezTo>
                  <a:cubicBezTo>
                    <a:pt x="16" y="114"/>
                    <a:pt x="16" y="114"/>
                    <a:pt x="16" y="114"/>
                  </a:cubicBezTo>
                  <a:cubicBezTo>
                    <a:pt x="16" y="114"/>
                    <a:pt x="15" y="114"/>
                    <a:pt x="15" y="114"/>
                  </a:cubicBezTo>
                  <a:cubicBezTo>
                    <a:pt x="15" y="113"/>
                    <a:pt x="14" y="113"/>
                    <a:pt x="14" y="113"/>
                  </a:cubicBezTo>
                  <a:cubicBezTo>
                    <a:pt x="14" y="113"/>
                    <a:pt x="14" y="113"/>
                    <a:pt x="14" y="113"/>
                  </a:cubicBezTo>
                  <a:cubicBezTo>
                    <a:pt x="14" y="113"/>
                    <a:pt x="14" y="113"/>
                    <a:pt x="13" y="113"/>
                  </a:cubicBezTo>
                  <a:cubicBezTo>
                    <a:pt x="13" y="113"/>
                    <a:pt x="13" y="113"/>
                    <a:pt x="13" y="113"/>
                  </a:cubicBezTo>
                  <a:cubicBezTo>
                    <a:pt x="13" y="113"/>
                    <a:pt x="13" y="113"/>
                    <a:pt x="13" y="113"/>
                  </a:cubicBezTo>
                  <a:cubicBezTo>
                    <a:pt x="12" y="113"/>
                    <a:pt x="12" y="114"/>
                    <a:pt x="12" y="115"/>
                  </a:cubicBezTo>
                  <a:cubicBezTo>
                    <a:pt x="12" y="116"/>
                    <a:pt x="12" y="117"/>
                    <a:pt x="11" y="117"/>
                  </a:cubicBezTo>
                  <a:cubicBezTo>
                    <a:pt x="11" y="118"/>
                    <a:pt x="11" y="118"/>
                    <a:pt x="11" y="118"/>
                  </a:cubicBezTo>
                  <a:cubicBezTo>
                    <a:pt x="10" y="118"/>
                    <a:pt x="10" y="116"/>
                    <a:pt x="9" y="116"/>
                  </a:cubicBezTo>
                  <a:cubicBezTo>
                    <a:pt x="9" y="116"/>
                    <a:pt x="9" y="116"/>
                    <a:pt x="9" y="116"/>
                  </a:cubicBezTo>
                  <a:cubicBezTo>
                    <a:pt x="9" y="116"/>
                    <a:pt x="9" y="116"/>
                    <a:pt x="9" y="116"/>
                  </a:cubicBezTo>
                  <a:cubicBezTo>
                    <a:pt x="9" y="116"/>
                    <a:pt x="8" y="116"/>
                    <a:pt x="8" y="116"/>
                  </a:cubicBezTo>
                  <a:cubicBezTo>
                    <a:pt x="8" y="116"/>
                    <a:pt x="8" y="116"/>
                    <a:pt x="8" y="116"/>
                  </a:cubicBezTo>
                  <a:cubicBezTo>
                    <a:pt x="7" y="116"/>
                    <a:pt x="7" y="116"/>
                    <a:pt x="7" y="116"/>
                  </a:cubicBezTo>
                  <a:cubicBezTo>
                    <a:pt x="7" y="116"/>
                    <a:pt x="7" y="116"/>
                    <a:pt x="7" y="116"/>
                  </a:cubicBezTo>
                  <a:cubicBezTo>
                    <a:pt x="6" y="116"/>
                    <a:pt x="6" y="116"/>
                    <a:pt x="6" y="116"/>
                  </a:cubicBezTo>
                  <a:cubicBezTo>
                    <a:pt x="6" y="116"/>
                    <a:pt x="6" y="116"/>
                    <a:pt x="6" y="116"/>
                  </a:cubicBezTo>
                  <a:cubicBezTo>
                    <a:pt x="4" y="116"/>
                    <a:pt x="5" y="116"/>
                    <a:pt x="4" y="117"/>
                  </a:cubicBezTo>
                  <a:cubicBezTo>
                    <a:pt x="3" y="118"/>
                    <a:pt x="1" y="122"/>
                    <a:pt x="2" y="123"/>
                  </a:cubicBezTo>
                  <a:cubicBezTo>
                    <a:pt x="2" y="124"/>
                    <a:pt x="4" y="125"/>
                    <a:pt x="4" y="126"/>
                  </a:cubicBezTo>
                  <a:cubicBezTo>
                    <a:pt x="4" y="126"/>
                    <a:pt x="4" y="127"/>
                    <a:pt x="4" y="127"/>
                  </a:cubicBezTo>
                  <a:cubicBezTo>
                    <a:pt x="16" y="134"/>
                    <a:pt x="29" y="141"/>
                    <a:pt x="41" y="149"/>
                  </a:cubicBezTo>
                  <a:cubicBezTo>
                    <a:pt x="53" y="155"/>
                    <a:pt x="64" y="161"/>
                    <a:pt x="75" y="167"/>
                  </a:cubicBezTo>
                  <a:cubicBezTo>
                    <a:pt x="77" y="169"/>
                    <a:pt x="77" y="169"/>
                    <a:pt x="77" y="169"/>
                  </a:cubicBezTo>
                  <a:cubicBezTo>
                    <a:pt x="79" y="170"/>
                    <a:pt x="81" y="171"/>
                    <a:pt x="82" y="173"/>
                  </a:cubicBezTo>
                  <a:cubicBezTo>
                    <a:pt x="82" y="174"/>
                    <a:pt x="82" y="174"/>
                    <a:pt x="82" y="174"/>
                  </a:cubicBezTo>
                  <a:cubicBezTo>
                    <a:pt x="82" y="173"/>
                    <a:pt x="82" y="173"/>
                    <a:pt x="82" y="173"/>
                  </a:cubicBezTo>
                  <a:cubicBezTo>
                    <a:pt x="83" y="173"/>
                    <a:pt x="83" y="173"/>
                    <a:pt x="83" y="173"/>
                  </a:cubicBezTo>
                  <a:cubicBezTo>
                    <a:pt x="83" y="173"/>
                    <a:pt x="84" y="174"/>
                    <a:pt x="84" y="174"/>
                  </a:cubicBezTo>
                  <a:cubicBezTo>
                    <a:pt x="86" y="175"/>
                    <a:pt x="86" y="175"/>
                    <a:pt x="86" y="175"/>
                  </a:cubicBezTo>
                  <a:cubicBezTo>
                    <a:pt x="87" y="177"/>
                    <a:pt x="89" y="178"/>
                    <a:pt x="89" y="179"/>
                  </a:cubicBezTo>
                  <a:cubicBezTo>
                    <a:pt x="90" y="180"/>
                    <a:pt x="90" y="181"/>
                    <a:pt x="90" y="182"/>
                  </a:cubicBezTo>
                  <a:cubicBezTo>
                    <a:pt x="90" y="183"/>
                    <a:pt x="89" y="184"/>
                    <a:pt x="89" y="185"/>
                  </a:cubicBezTo>
                  <a:cubicBezTo>
                    <a:pt x="89" y="186"/>
                    <a:pt x="89" y="186"/>
                    <a:pt x="89" y="187"/>
                  </a:cubicBezTo>
                  <a:cubicBezTo>
                    <a:pt x="94" y="191"/>
                    <a:pt x="99" y="195"/>
                    <a:pt x="104" y="199"/>
                  </a:cubicBezTo>
                  <a:cubicBezTo>
                    <a:pt x="108" y="201"/>
                    <a:pt x="108" y="201"/>
                    <a:pt x="108" y="201"/>
                  </a:cubicBezTo>
                  <a:cubicBezTo>
                    <a:pt x="108" y="201"/>
                    <a:pt x="109" y="202"/>
                    <a:pt x="110" y="203"/>
                  </a:cubicBezTo>
                  <a:cubicBezTo>
                    <a:pt x="111" y="203"/>
                    <a:pt x="111" y="203"/>
                    <a:pt x="111" y="203"/>
                  </a:cubicBezTo>
                  <a:cubicBezTo>
                    <a:pt x="112" y="204"/>
                    <a:pt x="113" y="205"/>
                    <a:pt x="114" y="206"/>
                  </a:cubicBezTo>
                  <a:cubicBezTo>
                    <a:pt x="116" y="207"/>
                    <a:pt x="116" y="207"/>
                    <a:pt x="116" y="207"/>
                  </a:cubicBezTo>
                  <a:cubicBezTo>
                    <a:pt x="119" y="209"/>
                    <a:pt x="121" y="211"/>
                    <a:pt x="124" y="213"/>
                  </a:cubicBezTo>
                  <a:cubicBezTo>
                    <a:pt x="124" y="213"/>
                    <a:pt x="124" y="213"/>
                    <a:pt x="124" y="213"/>
                  </a:cubicBezTo>
                  <a:cubicBezTo>
                    <a:pt x="125" y="214"/>
                    <a:pt x="125" y="214"/>
                    <a:pt x="125" y="214"/>
                  </a:cubicBezTo>
                  <a:cubicBezTo>
                    <a:pt x="128" y="211"/>
                    <a:pt x="130" y="210"/>
                    <a:pt x="132" y="206"/>
                  </a:cubicBezTo>
                  <a:cubicBezTo>
                    <a:pt x="132" y="205"/>
                    <a:pt x="133" y="204"/>
                    <a:pt x="133" y="202"/>
                  </a:cubicBezTo>
                  <a:cubicBezTo>
                    <a:pt x="134" y="201"/>
                    <a:pt x="131" y="199"/>
                    <a:pt x="133" y="199"/>
                  </a:cubicBezTo>
                  <a:cubicBezTo>
                    <a:pt x="136" y="198"/>
                    <a:pt x="138" y="196"/>
                    <a:pt x="138" y="193"/>
                  </a:cubicBezTo>
                  <a:cubicBezTo>
                    <a:pt x="138" y="191"/>
                    <a:pt x="136" y="191"/>
                    <a:pt x="136" y="190"/>
                  </a:cubicBezTo>
                  <a:cubicBezTo>
                    <a:pt x="136" y="188"/>
                    <a:pt x="140" y="185"/>
                    <a:pt x="141" y="184"/>
                  </a:cubicBezTo>
                  <a:cubicBezTo>
                    <a:pt x="144" y="182"/>
                    <a:pt x="144" y="183"/>
                    <a:pt x="145" y="180"/>
                  </a:cubicBezTo>
                  <a:cubicBezTo>
                    <a:pt x="146" y="177"/>
                    <a:pt x="146" y="176"/>
                    <a:pt x="146" y="174"/>
                  </a:cubicBezTo>
                  <a:cubicBezTo>
                    <a:pt x="147" y="164"/>
                    <a:pt x="153" y="167"/>
                    <a:pt x="158" y="162"/>
                  </a:cubicBezTo>
                  <a:cubicBezTo>
                    <a:pt x="158" y="161"/>
                    <a:pt x="160" y="158"/>
                    <a:pt x="162" y="158"/>
                  </a:cubicBezTo>
                  <a:cubicBezTo>
                    <a:pt x="162" y="158"/>
                    <a:pt x="162" y="158"/>
                    <a:pt x="162" y="158"/>
                  </a:cubicBezTo>
                  <a:cubicBezTo>
                    <a:pt x="162" y="158"/>
                    <a:pt x="163" y="158"/>
                    <a:pt x="163" y="159"/>
                  </a:cubicBezTo>
                  <a:cubicBezTo>
                    <a:pt x="163" y="159"/>
                    <a:pt x="164" y="159"/>
                    <a:pt x="164" y="159"/>
                  </a:cubicBezTo>
                  <a:cubicBezTo>
                    <a:pt x="164" y="159"/>
                    <a:pt x="164" y="159"/>
                    <a:pt x="164" y="158"/>
                  </a:cubicBezTo>
                  <a:cubicBezTo>
                    <a:pt x="164" y="158"/>
                    <a:pt x="164" y="158"/>
                    <a:pt x="164" y="158"/>
                  </a:cubicBezTo>
                  <a:cubicBezTo>
                    <a:pt x="164" y="158"/>
                    <a:pt x="164" y="158"/>
                    <a:pt x="163" y="157"/>
                  </a:cubicBezTo>
                  <a:cubicBezTo>
                    <a:pt x="163" y="157"/>
                    <a:pt x="163" y="156"/>
                    <a:pt x="163" y="156"/>
                  </a:cubicBezTo>
                  <a:cubicBezTo>
                    <a:pt x="163" y="156"/>
                    <a:pt x="163" y="156"/>
                    <a:pt x="163" y="156"/>
                  </a:cubicBezTo>
                  <a:cubicBezTo>
                    <a:pt x="162" y="155"/>
                    <a:pt x="162" y="153"/>
                    <a:pt x="162" y="152"/>
                  </a:cubicBezTo>
                  <a:cubicBezTo>
                    <a:pt x="162" y="152"/>
                    <a:pt x="162" y="152"/>
                    <a:pt x="163" y="152"/>
                  </a:cubicBezTo>
                  <a:cubicBezTo>
                    <a:pt x="163" y="152"/>
                    <a:pt x="164" y="151"/>
                    <a:pt x="165" y="150"/>
                  </a:cubicBezTo>
                  <a:cubicBezTo>
                    <a:pt x="164" y="152"/>
                    <a:pt x="164" y="153"/>
                    <a:pt x="165" y="153"/>
                  </a:cubicBezTo>
                  <a:cubicBezTo>
                    <a:pt x="166" y="153"/>
                    <a:pt x="166" y="153"/>
                    <a:pt x="167" y="153"/>
                  </a:cubicBezTo>
                  <a:cubicBezTo>
                    <a:pt x="168" y="152"/>
                    <a:pt x="169" y="151"/>
                    <a:pt x="171" y="150"/>
                  </a:cubicBezTo>
                  <a:cubicBezTo>
                    <a:pt x="172" y="149"/>
                    <a:pt x="174" y="148"/>
                    <a:pt x="176" y="147"/>
                  </a:cubicBezTo>
                  <a:cubicBezTo>
                    <a:pt x="175" y="147"/>
                    <a:pt x="175" y="147"/>
                    <a:pt x="175" y="147"/>
                  </a:cubicBezTo>
                  <a:cubicBezTo>
                    <a:pt x="174" y="145"/>
                    <a:pt x="174" y="145"/>
                    <a:pt x="174" y="145"/>
                  </a:cubicBezTo>
                  <a:cubicBezTo>
                    <a:pt x="173" y="142"/>
                    <a:pt x="172" y="140"/>
                    <a:pt x="170" y="138"/>
                  </a:cubicBezTo>
                  <a:cubicBezTo>
                    <a:pt x="168" y="136"/>
                    <a:pt x="166" y="133"/>
                    <a:pt x="165" y="131"/>
                  </a:cubicBezTo>
                  <a:cubicBezTo>
                    <a:pt x="164" y="130"/>
                    <a:pt x="163" y="128"/>
                    <a:pt x="162" y="127"/>
                  </a:cubicBezTo>
                  <a:cubicBezTo>
                    <a:pt x="161" y="124"/>
                    <a:pt x="161" y="118"/>
                    <a:pt x="162" y="114"/>
                  </a:cubicBezTo>
                  <a:cubicBezTo>
                    <a:pt x="162" y="114"/>
                    <a:pt x="162" y="114"/>
                    <a:pt x="162" y="114"/>
                  </a:cubicBezTo>
                  <a:cubicBezTo>
                    <a:pt x="162" y="112"/>
                    <a:pt x="162" y="111"/>
                    <a:pt x="162" y="110"/>
                  </a:cubicBezTo>
                  <a:cubicBezTo>
                    <a:pt x="162" y="101"/>
                    <a:pt x="162" y="92"/>
                    <a:pt x="162" y="83"/>
                  </a:cubicBezTo>
                  <a:cubicBezTo>
                    <a:pt x="162" y="81"/>
                    <a:pt x="162" y="81"/>
                    <a:pt x="162" y="81"/>
                  </a:cubicBezTo>
                  <a:cubicBezTo>
                    <a:pt x="162" y="73"/>
                    <a:pt x="162" y="66"/>
                    <a:pt x="162" y="58"/>
                  </a:cubicBezTo>
                  <a:cubicBezTo>
                    <a:pt x="162" y="47"/>
                    <a:pt x="162" y="47"/>
                    <a:pt x="162" y="47"/>
                  </a:cubicBezTo>
                  <a:cubicBezTo>
                    <a:pt x="162" y="46"/>
                    <a:pt x="162" y="46"/>
                    <a:pt x="162" y="45"/>
                  </a:cubicBezTo>
                  <a:cubicBezTo>
                    <a:pt x="161" y="41"/>
                    <a:pt x="161" y="39"/>
                    <a:pt x="162" y="37"/>
                  </a:cubicBezTo>
                  <a:cubicBezTo>
                    <a:pt x="163" y="36"/>
                    <a:pt x="163" y="36"/>
                    <a:pt x="163" y="36"/>
                  </a:cubicBezTo>
                  <a:cubicBezTo>
                    <a:pt x="164" y="35"/>
                    <a:pt x="165" y="34"/>
                    <a:pt x="165" y="33"/>
                  </a:cubicBezTo>
                  <a:cubicBezTo>
                    <a:pt x="167" y="31"/>
                    <a:pt x="167" y="31"/>
                    <a:pt x="167" y="31"/>
                  </a:cubicBezTo>
                  <a:cubicBezTo>
                    <a:pt x="163" y="28"/>
                    <a:pt x="163" y="28"/>
                    <a:pt x="163" y="28"/>
                  </a:cubicBezTo>
                  <a:cubicBezTo>
                    <a:pt x="168" y="30"/>
                    <a:pt x="168" y="30"/>
                    <a:pt x="168" y="30"/>
                  </a:cubicBezTo>
                  <a:cubicBezTo>
                    <a:pt x="170" y="27"/>
                    <a:pt x="170" y="27"/>
                    <a:pt x="170" y="27"/>
                  </a:cubicBezTo>
                  <a:cubicBezTo>
                    <a:pt x="170" y="27"/>
                    <a:pt x="176" y="20"/>
                    <a:pt x="180" y="15"/>
                  </a:cubicBezTo>
                  <a:cubicBezTo>
                    <a:pt x="178" y="15"/>
                    <a:pt x="176" y="16"/>
                    <a:pt x="174" y="16"/>
                  </a:cubicBezTo>
                  <a:cubicBezTo>
                    <a:pt x="173" y="16"/>
                    <a:pt x="173" y="16"/>
                    <a:pt x="172" y="16"/>
                  </a:cubicBezTo>
                  <a:cubicBezTo>
                    <a:pt x="172" y="16"/>
                    <a:pt x="172" y="16"/>
                    <a:pt x="172" y="16"/>
                  </a:cubicBezTo>
                  <a:cubicBezTo>
                    <a:pt x="171" y="16"/>
                    <a:pt x="170" y="16"/>
                    <a:pt x="169" y="15"/>
                  </a:cubicBezTo>
                  <a:cubicBezTo>
                    <a:pt x="169" y="15"/>
                    <a:pt x="168" y="15"/>
                    <a:pt x="167" y="14"/>
                  </a:cubicBezTo>
                  <a:cubicBezTo>
                    <a:pt x="165" y="13"/>
                    <a:pt x="162" y="11"/>
                    <a:pt x="161" y="9"/>
                  </a:cubicBezTo>
                  <a:cubicBezTo>
                    <a:pt x="160" y="9"/>
                    <a:pt x="160" y="8"/>
                    <a:pt x="159" y="8"/>
                  </a:cubicBezTo>
                  <a:cubicBezTo>
                    <a:pt x="142" y="16"/>
                    <a:pt x="142" y="16"/>
                    <a:pt x="142" y="16"/>
                  </a:cubicBezTo>
                  <a:cubicBezTo>
                    <a:pt x="140" y="17"/>
                    <a:pt x="139" y="19"/>
                    <a:pt x="138" y="21"/>
                  </a:cubicBezTo>
                  <a:cubicBezTo>
                    <a:pt x="136" y="23"/>
                    <a:pt x="135" y="26"/>
                    <a:pt x="132" y="27"/>
                  </a:cubicBezTo>
                  <a:cubicBezTo>
                    <a:pt x="132" y="28"/>
                    <a:pt x="132" y="28"/>
                    <a:pt x="132" y="28"/>
                  </a:cubicBezTo>
                  <a:cubicBezTo>
                    <a:pt x="131" y="28"/>
                    <a:pt x="131" y="28"/>
                    <a:pt x="131" y="28"/>
                  </a:cubicBezTo>
                  <a:cubicBezTo>
                    <a:pt x="131" y="28"/>
                    <a:pt x="130" y="28"/>
                    <a:pt x="130" y="28"/>
                  </a:cubicBezTo>
                  <a:cubicBezTo>
                    <a:pt x="129" y="28"/>
                    <a:pt x="129" y="28"/>
                    <a:pt x="129" y="28"/>
                  </a:cubicBezTo>
                  <a:cubicBezTo>
                    <a:pt x="128" y="28"/>
                    <a:pt x="128" y="28"/>
                    <a:pt x="128" y="28"/>
                  </a:cubicBezTo>
                  <a:cubicBezTo>
                    <a:pt x="126" y="28"/>
                    <a:pt x="126" y="28"/>
                    <a:pt x="126" y="28"/>
                  </a:cubicBezTo>
                  <a:cubicBezTo>
                    <a:pt x="126" y="27"/>
                    <a:pt x="126" y="27"/>
                    <a:pt x="126" y="27"/>
                  </a:cubicBezTo>
                  <a:cubicBezTo>
                    <a:pt x="124" y="27"/>
                    <a:pt x="121" y="26"/>
                    <a:pt x="118" y="26"/>
                  </a:cubicBezTo>
                  <a:cubicBezTo>
                    <a:pt x="115" y="25"/>
                    <a:pt x="115" y="25"/>
                    <a:pt x="115" y="25"/>
                  </a:cubicBezTo>
                  <a:cubicBezTo>
                    <a:pt x="114" y="25"/>
                    <a:pt x="114" y="25"/>
                    <a:pt x="113" y="25"/>
                  </a:cubicBezTo>
                  <a:cubicBezTo>
                    <a:pt x="112" y="25"/>
                    <a:pt x="112" y="25"/>
                    <a:pt x="112" y="25"/>
                  </a:cubicBezTo>
                  <a:cubicBezTo>
                    <a:pt x="106" y="25"/>
                    <a:pt x="99" y="25"/>
                    <a:pt x="95" y="22"/>
                  </a:cubicBezTo>
                  <a:cubicBezTo>
                    <a:pt x="93" y="21"/>
                    <a:pt x="92" y="20"/>
                    <a:pt x="91" y="20"/>
                  </a:cubicBezTo>
                  <a:cubicBezTo>
                    <a:pt x="90" y="19"/>
                    <a:pt x="90" y="19"/>
                    <a:pt x="90" y="19"/>
                  </a:cubicBezTo>
                  <a:cubicBezTo>
                    <a:pt x="87" y="17"/>
                    <a:pt x="84" y="15"/>
                    <a:pt x="81" y="13"/>
                  </a:cubicBezTo>
                  <a:cubicBezTo>
                    <a:pt x="80" y="12"/>
                    <a:pt x="80" y="12"/>
                    <a:pt x="80" y="12"/>
                  </a:cubicBezTo>
                  <a:cubicBezTo>
                    <a:pt x="78" y="11"/>
                    <a:pt x="76" y="10"/>
                    <a:pt x="75" y="9"/>
                  </a:cubicBezTo>
                  <a:cubicBezTo>
                    <a:pt x="74" y="9"/>
                    <a:pt x="74" y="9"/>
                    <a:pt x="74" y="9"/>
                  </a:cubicBezTo>
                  <a:cubicBezTo>
                    <a:pt x="73" y="8"/>
                    <a:pt x="72" y="8"/>
                    <a:pt x="71" y="7"/>
                  </a:cubicBezTo>
                  <a:cubicBezTo>
                    <a:pt x="70" y="7"/>
                    <a:pt x="70" y="7"/>
                    <a:pt x="70" y="7"/>
                  </a:cubicBezTo>
                  <a:cubicBezTo>
                    <a:pt x="69" y="6"/>
                    <a:pt x="69" y="6"/>
                    <a:pt x="68" y="6"/>
                  </a:cubicBezTo>
                  <a:cubicBezTo>
                    <a:pt x="68" y="6"/>
                    <a:pt x="68" y="6"/>
                    <a:pt x="68" y="6"/>
                  </a:cubicBezTo>
                  <a:cubicBezTo>
                    <a:pt x="67" y="5"/>
                    <a:pt x="67" y="5"/>
                    <a:pt x="67" y="5"/>
                  </a:cubicBezTo>
                  <a:cubicBezTo>
                    <a:pt x="66" y="5"/>
                    <a:pt x="66" y="5"/>
                    <a:pt x="65" y="4"/>
                  </a:cubicBezTo>
                  <a:cubicBezTo>
                    <a:pt x="64" y="4"/>
                    <a:pt x="63" y="4"/>
                    <a:pt x="62" y="4"/>
                  </a:cubicBezTo>
                  <a:cubicBezTo>
                    <a:pt x="49" y="4"/>
                    <a:pt x="49" y="4"/>
                    <a:pt x="49" y="4"/>
                  </a:cubicBezTo>
                  <a:cubicBezTo>
                    <a:pt x="47" y="4"/>
                    <a:pt x="45" y="2"/>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3" name="Freeform 312">
              <a:extLst>
                <a:ext uri="{FF2B5EF4-FFF2-40B4-BE49-F238E27FC236}">
                  <a16:creationId xmlns:a16="http://schemas.microsoft.com/office/drawing/2014/main" id="{CCEC42AA-6FC3-439E-B2AF-4585A46E0FED}"/>
                </a:ext>
              </a:extLst>
            </p:cNvPr>
            <p:cNvSpPr>
              <a:spLocks/>
            </p:cNvSpPr>
            <p:nvPr/>
          </p:nvSpPr>
          <p:spPr bwMode="auto">
            <a:xfrm>
              <a:off x="5313" y="49"/>
              <a:ext cx="4" cy="2"/>
            </a:xfrm>
            <a:custGeom>
              <a:avLst/>
              <a:gdLst>
                <a:gd name="T0" fmla="*/ 2 w 4"/>
                <a:gd name="T1" fmla="*/ 0 h 2"/>
                <a:gd name="T2" fmla="*/ 0 w 4"/>
                <a:gd name="T3" fmla="*/ 2 h 2"/>
                <a:gd name="T4" fmla="*/ 0 w 4"/>
                <a:gd name="T5" fmla="*/ 2 h 2"/>
                <a:gd name="T6" fmla="*/ 4 w 4"/>
                <a:gd name="T7" fmla="*/ 2 h 2"/>
                <a:gd name="T8" fmla="*/ 2 w 4"/>
                <a:gd name="T9" fmla="*/ 0 h 2"/>
              </a:gdLst>
              <a:ahLst/>
              <a:cxnLst>
                <a:cxn ang="0">
                  <a:pos x="T0" y="T1"/>
                </a:cxn>
                <a:cxn ang="0">
                  <a:pos x="T2" y="T3"/>
                </a:cxn>
                <a:cxn ang="0">
                  <a:pos x="T4" y="T5"/>
                </a:cxn>
                <a:cxn ang="0">
                  <a:pos x="T6" y="T7"/>
                </a:cxn>
                <a:cxn ang="0">
                  <a:pos x="T8" y="T9"/>
                </a:cxn>
              </a:cxnLst>
              <a:rect l="0" t="0" r="r" b="b"/>
              <a:pathLst>
                <a:path w="4" h="2">
                  <a:moveTo>
                    <a:pt x="2" y="0"/>
                  </a:moveTo>
                  <a:lnTo>
                    <a:pt x="0" y="2"/>
                  </a:lnTo>
                  <a:lnTo>
                    <a:pt x="0" y="2"/>
                  </a:lnTo>
                  <a:lnTo>
                    <a:pt x="4"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4" name="Freeform 313">
              <a:extLst>
                <a:ext uri="{FF2B5EF4-FFF2-40B4-BE49-F238E27FC236}">
                  <a16:creationId xmlns:a16="http://schemas.microsoft.com/office/drawing/2014/main" id="{B5A89FCE-3F1B-43A7-9F29-F5587997765E}"/>
                </a:ext>
              </a:extLst>
            </p:cNvPr>
            <p:cNvSpPr>
              <a:spLocks/>
            </p:cNvSpPr>
            <p:nvPr/>
          </p:nvSpPr>
          <p:spPr bwMode="auto">
            <a:xfrm>
              <a:off x="5313" y="49"/>
              <a:ext cx="4" cy="2"/>
            </a:xfrm>
            <a:custGeom>
              <a:avLst/>
              <a:gdLst>
                <a:gd name="T0" fmla="*/ 2 w 4"/>
                <a:gd name="T1" fmla="*/ 0 h 2"/>
                <a:gd name="T2" fmla="*/ 0 w 4"/>
                <a:gd name="T3" fmla="*/ 2 h 2"/>
                <a:gd name="T4" fmla="*/ 0 w 4"/>
                <a:gd name="T5" fmla="*/ 2 h 2"/>
                <a:gd name="T6" fmla="*/ 4 w 4"/>
                <a:gd name="T7" fmla="*/ 2 h 2"/>
                <a:gd name="T8" fmla="*/ 2 w 4"/>
                <a:gd name="T9" fmla="*/ 0 h 2"/>
              </a:gdLst>
              <a:ahLst/>
              <a:cxnLst>
                <a:cxn ang="0">
                  <a:pos x="T0" y="T1"/>
                </a:cxn>
                <a:cxn ang="0">
                  <a:pos x="T2" y="T3"/>
                </a:cxn>
                <a:cxn ang="0">
                  <a:pos x="T4" y="T5"/>
                </a:cxn>
                <a:cxn ang="0">
                  <a:pos x="T6" y="T7"/>
                </a:cxn>
                <a:cxn ang="0">
                  <a:pos x="T8" y="T9"/>
                </a:cxn>
              </a:cxnLst>
              <a:rect l="0" t="0" r="r" b="b"/>
              <a:pathLst>
                <a:path w="4" h="2">
                  <a:moveTo>
                    <a:pt x="2" y="0"/>
                  </a:moveTo>
                  <a:lnTo>
                    <a:pt x="0" y="2"/>
                  </a:lnTo>
                  <a:lnTo>
                    <a:pt x="0" y="2"/>
                  </a:lnTo>
                  <a:lnTo>
                    <a:pt x="4" y="2"/>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5" name="Freeform 314">
              <a:extLst>
                <a:ext uri="{FF2B5EF4-FFF2-40B4-BE49-F238E27FC236}">
                  <a16:creationId xmlns:a16="http://schemas.microsoft.com/office/drawing/2014/main" id="{A2BC7D88-FCD2-4BD7-9FB9-5574CBFE7DC9}"/>
                </a:ext>
              </a:extLst>
            </p:cNvPr>
            <p:cNvSpPr>
              <a:spLocks noEditPoints="1"/>
            </p:cNvSpPr>
            <p:nvPr/>
          </p:nvSpPr>
          <p:spPr bwMode="auto">
            <a:xfrm>
              <a:off x="5237" y="-27"/>
              <a:ext cx="461" cy="135"/>
            </a:xfrm>
            <a:custGeom>
              <a:avLst/>
              <a:gdLst>
                <a:gd name="T0" fmla="*/ 41 w 195"/>
                <a:gd name="T1" fmla="*/ 1 h 57"/>
                <a:gd name="T2" fmla="*/ 37 w 195"/>
                <a:gd name="T3" fmla="*/ 2 h 57"/>
                <a:gd name="T4" fmla="*/ 34 w 195"/>
                <a:gd name="T5" fmla="*/ 1 h 57"/>
                <a:gd name="T6" fmla="*/ 34 w 195"/>
                <a:gd name="T7" fmla="*/ 1 h 57"/>
                <a:gd name="T8" fmla="*/ 28 w 195"/>
                <a:gd name="T9" fmla="*/ 0 h 57"/>
                <a:gd name="T10" fmla="*/ 23 w 195"/>
                <a:gd name="T11" fmla="*/ 1 h 57"/>
                <a:gd name="T12" fmla="*/ 21 w 195"/>
                <a:gd name="T13" fmla="*/ 1 h 57"/>
                <a:gd name="T14" fmla="*/ 18 w 195"/>
                <a:gd name="T15" fmla="*/ 0 h 57"/>
                <a:gd name="T16" fmla="*/ 17 w 195"/>
                <a:gd name="T17" fmla="*/ 3 h 57"/>
                <a:gd name="T18" fmla="*/ 16 w 195"/>
                <a:gd name="T19" fmla="*/ 8 h 57"/>
                <a:gd name="T20" fmla="*/ 13 w 195"/>
                <a:gd name="T21" fmla="*/ 13 h 57"/>
                <a:gd name="T22" fmla="*/ 10 w 195"/>
                <a:gd name="T23" fmla="*/ 16 h 57"/>
                <a:gd name="T24" fmla="*/ 8 w 195"/>
                <a:gd name="T25" fmla="*/ 19 h 57"/>
                <a:gd name="T26" fmla="*/ 8 w 195"/>
                <a:gd name="T27" fmla="*/ 23 h 57"/>
                <a:gd name="T28" fmla="*/ 1 w 195"/>
                <a:gd name="T29" fmla="*/ 27 h 57"/>
                <a:gd name="T30" fmla="*/ 10 w 195"/>
                <a:gd name="T31" fmla="*/ 30 h 57"/>
                <a:gd name="T32" fmla="*/ 25 w 195"/>
                <a:gd name="T33" fmla="*/ 26 h 57"/>
                <a:gd name="T34" fmla="*/ 32 w 195"/>
                <a:gd name="T35" fmla="*/ 29 h 57"/>
                <a:gd name="T36" fmla="*/ 35 w 195"/>
                <a:gd name="T37" fmla="*/ 19 h 57"/>
                <a:gd name="T38" fmla="*/ 41 w 195"/>
                <a:gd name="T39" fmla="*/ 16 h 57"/>
                <a:gd name="T40" fmla="*/ 49 w 195"/>
                <a:gd name="T41" fmla="*/ 10 h 57"/>
                <a:gd name="T42" fmla="*/ 44 w 195"/>
                <a:gd name="T43" fmla="*/ 0 h 57"/>
                <a:gd name="T44" fmla="*/ 44 w 195"/>
                <a:gd name="T45" fmla="*/ 0 h 57"/>
                <a:gd name="T46" fmla="*/ 45 w 195"/>
                <a:gd name="T47" fmla="*/ 1 h 57"/>
                <a:gd name="T48" fmla="*/ 46 w 195"/>
                <a:gd name="T49" fmla="*/ 1 h 57"/>
                <a:gd name="T50" fmla="*/ 49 w 195"/>
                <a:gd name="T51" fmla="*/ 4 h 57"/>
                <a:gd name="T52" fmla="*/ 52 w 195"/>
                <a:gd name="T53" fmla="*/ 2 h 57"/>
                <a:gd name="T54" fmla="*/ 84 w 195"/>
                <a:gd name="T55" fmla="*/ 0 h 57"/>
                <a:gd name="T56" fmla="*/ 84 w 195"/>
                <a:gd name="T57" fmla="*/ 1 h 57"/>
                <a:gd name="T58" fmla="*/ 85 w 195"/>
                <a:gd name="T59" fmla="*/ 4 h 57"/>
                <a:gd name="T60" fmla="*/ 94 w 195"/>
                <a:gd name="T61" fmla="*/ 8 h 57"/>
                <a:gd name="T62" fmla="*/ 99 w 195"/>
                <a:gd name="T63" fmla="*/ 8 h 57"/>
                <a:gd name="T64" fmla="*/ 113 w 195"/>
                <a:gd name="T65" fmla="*/ 5 h 57"/>
                <a:gd name="T66" fmla="*/ 117 w 195"/>
                <a:gd name="T67" fmla="*/ 8 h 57"/>
                <a:gd name="T68" fmla="*/ 122 w 195"/>
                <a:gd name="T69" fmla="*/ 8 h 57"/>
                <a:gd name="T70" fmla="*/ 126 w 195"/>
                <a:gd name="T71" fmla="*/ 14 h 57"/>
                <a:gd name="T72" fmla="*/ 117 w 195"/>
                <a:gd name="T73" fmla="*/ 18 h 57"/>
                <a:gd name="T74" fmla="*/ 114 w 195"/>
                <a:gd name="T75" fmla="*/ 18 h 57"/>
                <a:gd name="T76" fmla="*/ 105 w 195"/>
                <a:gd name="T77" fmla="*/ 24 h 57"/>
                <a:gd name="T78" fmla="*/ 98 w 195"/>
                <a:gd name="T79" fmla="*/ 28 h 57"/>
                <a:gd name="T80" fmla="*/ 115 w 195"/>
                <a:gd name="T81" fmla="*/ 35 h 57"/>
                <a:gd name="T82" fmla="*/ 123 w 195"/>
                <a:gd name="T83" fmla="*/ 45 h 57"/>
                <a:gd name="T84" fmla="*/ 123 w 195"/>
                <a:gd name="T85" fmla="*/ 52 h 57"/>
                <a:gd name="T86" fmla="*/ 122 w 195"/>
                <a:gd name="T87" fmla="*/ 55 h 57"/>
                <a:gd name="T88" fmla="*/ 130 w 195"/>
                <a:gd name="T89" fmla="*/ 56 h 57"/>
                <a:gd name="T90" fmla="*/ 170 w 195"/>
                <a:gd name="T91" fmla="*/ 37 h 57"/>
                <a:gd name="T92" fmla="*/ 178 w 195"/>
                <a:gd name="T93" fmla="*/ 40 h 57"/>
                <a:gd name="T94" fmla="*/ 184 w 195"/>
                <a:gd name="T95" fmla="*/ 40 h 57"/>
                <a:gd name="T96" fmla="*/ 186 w 195"/>
                <a:gd name="T97" fmla="*/ 40 h 57"/>
                <a:gd name="T98" fmla="*/ 192 w 195"/>
                <a:gd name="T99" fmla="*/ 32 h 57"/>
                <a:gd name="T100" fmla="*/ 192 w 195"/>
                <a:gd name="T101" fmla="*/ 30 h 57"/>
                <a:gd name="T102" fmla="*/ 186 w 195"/>
                <a:gd name="T103" fmla="*/ 30 h 57"/>
                <a:gd name="T104" fmla="*/ 177 w 195"/>
                <a:gd name="T105" fmla="*/ 29 h 57"/>
                <a:gd name="T106" fmla="*/ 174 w 195"/>
                <a:gd name="T107" fmla="*/ 29 h 57"/>
                <a:gd name="T108" fmla="*/ 164 w 195"/>
                <a:gd name="T109" fmla="*/ 27 h 57"/>
                <a:gd name="T110" fmla="*/ 153 w 195"/>
                <a:gd name="T111" fmla="*/ 6 h 57"/>
                <a:gd name="T112" fmla="*/ 159 w 195"/>
                <a:gd name="T113" fmla="*/ 3 h 57"/>
                <a:gd name="T114" fmla="*/ 163 w 195"/>
                <a:gd name="T115" fmla="*/ 0 h 57"/>
                <a:gd name="T116" fmla="*/ 167 w 195"/>
                <a:gd name="T11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5" h="57">
                  <a:moveTo>
                    <a:pt x="44" y="0"/>
                  </a:moveTo>
                  <a:cubicBezTo>
                    <a:pt x="43" y="0"/>
                    <a:pt x="43" y="0"/>
                    <a:pt x="43" y="0"/>
                  </a:cubicBezTo>
                  <a:cubicBezTo>
                    <a:pt x="43" y="0"/>
                    <a:pt x="42" y="1"/>
                    <a:pt x="41" y="1"/>
                  </a:cubicBezTo>
                  <a:cubicBezTo>
                    <a:pt x="41" y="1"/>
                    <a:pt x="41" y="1"/>
                    <a:pt x="41" y="1"/>
                  </a:cubicBezTo>
                  <a:cubicBezTo>
                    <a:pt x="40" y="1"/>
                    <a:pt x="39" y="2"/>
                    <a:pt x="37" y="2"/>
                  </a:cubicBezTo>
                  <a:cubicBezTo>
                    <a:pt x="37" y="2"/>
                    <a:pt x="37" y="2"/>
                    <a:pt x="37" y="2"/>
                  </a:cubicBezTo>
                  <a:cubicBezTo>
                    <a:pt x="36" y="2"/>
                    <a:pt x="36" y="2"/>
                    <a:pt x="36" y="2"/>
                  </a:cubicBezTo>
                  <a:cubicBezTo>
                    <a:pt x="36" y="2"/>
                    <a:pt x="36" y="2"/>
                    <a:pt x="36" y="2"/>
                  </a:cubicBezTo>
                  <a:cubicBezTo>
                    <a:pt x="35" y="2"/>
                    <a:pt x="35" y="2"/>
                    <a:pt x="34" y="1"/>
                  </a:cubicBezTo>
                  <a:cubicBezTo>
                    <a:pt x="34" y="1"/>
                    <a:pt x="34" y="1"/>
                    <a:pt x="34" y="1"/>
                  </a:cubicBezTo>
                  <a:cubicBezTo>
                    <a:pt x="34" y="1"/>
                    <a:pt x="34" y="1"/>
                    <a:pt x="34" y="1"/>
                  </a:cubicBezTo>
                  <a:cubicBezTo>
                    <a:pt x="34" y="1"/>
                    <a:pt x="34" y="1"/>
                    <a:pt x="34" y="1"/>
                  </a:cubicBezTo>
                  <a:cubicBezTo>
                    <a:pt x="33" y="1"/>
                    <a:pt x="33" y="1"/>
                    <a:pt x="33" y="1"/>
                  </a:cubicBezTo>
                  <a:cubicBezTo>
                    <a:pt x="33" y="1"/>
                    <a:pt x="32" y="1"/>
                    <a:pt x="32" y="1"/>
                  </a:cubicBezTo>
                  <a:cubicBezTo>
                    <a:pt x="31" y="1"/>
                    <a:pt x="30" y="1"/>
                    <a:pt x="28" y="0"/>
                  </a:cubicBezTo>
                  <a:cubicBezTo>
                    <a:pt x="28" y="0"/>
                    <a:pt x="28" y="0"/>
                    <a:pt x="27" y="0"/>
                  </a:cubicBezTo>
                  <a:cubicBezTo>
                    <a:pt x="25" y="0"/>
                    <a:pt x="25" y="0"/>
                    <a:pt x="25" y="0"/>
                  </a:cubicBezTo>
                  <a:cubicBezTo>
                    <a:pt x="24" y="0"/>
                    <a:pt x="24" y="0"/>
                    <a:pt x="23" y="1"/>
                  </a:cubicBezTo>
                  <a:cubicBezTo>
                    <a:pt x="22" y="1"/>
                    <a:pt x="22" y="1"/>
                    <a:pt x="22" y="1"/>
                  </a:cubicBezTo>
                  <a:cubicBezTo>
                    <a:pt x="22" y="1"/>
                    <a:pt x="22" y="1"/>
                    <a:pt x="21" y="1"/>
                  </a:cubicBezTo>
                  <a:cubicBezTo>
                    <a:pt x="21" y="1"/>
                    <a:pt x="21" y="1"/>
                    <a:pt x="21" y="1"/>
                  </a:cubicBezTo>
                  <a:cubicBezTo>
                    <a:pt x="20" y="1"/>
                    <a:pt x="20" y="1"/>
                    <a:pt x="19" y="0"/>
                  </a:cubicBezTo>
                  <a:cubicBezTo>
                    <a:pt x="19" y="0"/>
                    <a:pt x="19" y="0"/>
                    <a:pt x="19" y="0"/>
                  </a:cubicBezTo>
                  <a:cubicBezTo>
                    <a:pt x="18" y="0"/>
                    <a:pt x="18" y="0"/>
                    <a:pt x="18" y="0"/>
                  </a:cubicBezTo>
                  <a:cubicBezTo>
                    <a:pt x="17" y="0"/>
                    <a:pt x="17" y="0"/>
                    <a:pt x="17" y="0"/>
                  </a:cubicBezTo>
                  <a:cubicBezTo>
                    <a:pt x="17" y="0"/>
                    <a:pt x="17" y="0"/>
                    <a:pt x="17" y="0"/>
                  </a:cubicBezTo>
                  <a:cubicBezTo>
                    <a:pt x="17" y="1"/>
                    <a:pt x="17" y="2"/>
                    <a:pt x="17" y="3"/>
                  </a:cubicBezTo>
                  <a:cubicBezTo>
                    <a:pt x="17" y="4"/>
                    <a:pt x="17" y="4"/>
                    <a:pt x="17" y="6"/>
                  </a:cubicBezTo>
                  <a:cubicBezTo>
                    <a:pt x="17" y="6"/>
                    <a:pt x="17" y="7"/>
                    <a:pt x="16" y="8"/>
                  </a:cubicBezTo>
                  <a:cubicBezTo>
                    <a:pt x="16" y="8"/>
                    <a:pt x="16" y="8"/>
                    <a:pt x="16" y="8"/>
                  </a:cubicBezTo>
                  <a:cubicBezTo>
                    <a:pt x="16" y="9"/>
                    <a:pt x="16" y="9"/>
                    <a:pt x="16" y="9"/>
                  </a:cubicBezTo>
                  <a:cubicBezTo>
                    <a:pt x="15" y="10"/>
                    <a:pt x="15" y="10"/>
                    <a:pt x="15" y="10"/>
                  </a:cubicBezTo>
                  <a:cubicBezTo>
                    <a:pt x="15" y="12"/>
                    <a:pt x="14" y="12"/>
                    <a:pt x="13" y="13"/>
                  </a:cubicBezTo>
                  <a:cubicBezTo>
                    <a:pt x="13" y="13"/>
                    <a:pt x="13" y="13"/>
                    <a:pt x="13" y="13"/>
                  </a:cubicBezTo>
                  <a:cubicBezTo>
                    <a:pt x="12" y="14"/>
                    <a:pt x="12" y="15"/>
                    <a:pt x="11" y="16"/>
                  </a:cubicBezTo>
                  <a:cubicBezTo>
                    <a:pt x="10" y="16"/>
                    <a:pt x="10" y="16"/>
                    <a:pt x="10" y="16"/>
                  </a:cubicBezTo>
                  <a:cubicBezTo>
                    <a:pt x="10" y="17"/>
                    <a:pt x="10" y="17"/>
                    <a:pt x="10" y="17"/>
                  </a:cubicBezTo>
                  <a:cubicBezTo>
                    <a:pt x="10" y="17"/>
                    <a:pt x="10" y="17"/>
                    <a:pt x="10" y="17"/>
                  </a:cubicBezTo>
                  <a:cubicBezTo>
                    <a:pt x="9" y="18"/>
                    <a:pt x="9" y="18"/>
                    <a:pt x="8" y="19"/>
                  </a:cubicBezTo>
                  <a:cubicBezTo>
                    <a:pt x="7" y="19"/>
                    <a:pt x="6" y="20"/>
                    <a:pt x="6" y="20"/>
                  </a:cubicBezTo>
                  <a:cubicBezTo>
                    <a:pt x="6" y="21"/>
                    <a:pt x="6" y="21"/>
                    <a:pt x="6" y="21"/>
                  </a:cubicBezTo>
                  <a:cubicBezTo>
                    <a:pt x="8" y="23"/>
                    <a:pt x="8" y="23"/>
                    <a:pt x="8" y="23"/>
                  </a:cubicBezTo>
                  <a:cubicBezTo>
                    <a:pt x="6" y="24"/>
                    <a:pt x="6" y="24"/>
                    <a:pt x="6" y="24"/>
                  </a:cubicBezTo>
                  <a:cubicBezTo>
                    <a:pt x="3" y="25"/>
                    <a:pt x="2" y="26"/>
                    <a:pt x="0" y="27"/>
                  </a:cubicBezTo>
                  <a:cubicBezTo>
                    <a:pt x="1" y="27"/>
                    <a:pt x="1" y="27"/>
                    <a:pt x="1" y="27"/>
                  </a:cubicBezTo>
                  <a:cubicBezTo>
                    <a:pt x="2" y="28"/>
                    <a:pt x="3" y="29"/>
                    <a:pt x="4" y="30"/>
                  </a:cubicBezTo>
                  <a:cubicBezTo>
                    <a:pt x="5" y="30"/>
                    <a:pt x="6" y="30"/>
                    <a:pt x="7" y="31"/>
                  </a:cubicBezTo>
                  <a:cubicBezTo>
                    <a:pt x="10" y="30"/>
                    <a:pt x="10" y="30"/>
                    <a:pt x="10" y="30"/>
                  </a:cubicBezTo>
                  <a:cubicBezTo>
                    <a:pt x="12" y="30"/>
                    <a:pt x="13" y="30"/>
                    <a:pt x="15" y="29"/>
                  </a:cubicBezTo>
                  <a:cubicBezTo>
                    <a:pt x="16" y="29"/>
                    <a:pt x="16" y="29"/>
                    <a:pt x="16" y="29"/>
                  </a:cubicBezTo>
                  <a:cubicBezTo>
                    <a:pt x="19" y="27"/>
                    <a:pt x="22" y="26"/>
                    <a:pt x="25" y="26"/>
                  </a:cubicBezTo>
                  <a:cubicBezTo>
                    <a:pt x="26" y="26"/>
                    <a:pt x="26" y="26"/>
                    <a:pt x="26" y="26"/>
                  </a:cubicBezTo>
                  <a:cubicBezTo>
                    <a:pt x="28" y="26"/>
                    <a:pt x="31" y="27"/>
                    <a:pt x="32" y="29"/>
                  </a:cubicBezTo>
                  <a:cubicBezTo>
                    <a:pt x="32" y="29"/>
                    <a:pt x="32" y="29"/>
                    <a:pt x="32" y="29"/>
                  </a:cubicBezTo>
                  <a:cubicBezTo>
                    <a:pt x="33" y="25"/>
                    <a:pt x="31" y="21"/>
                    <a:pt x="30" y="16"/>
                  </a:cubicBezTo>
                  <a:cubicBezTo>
                    <a:pt x="32" y="18"/>
                    <a:pt x="31" y="21"/>
                    <a:pt x="32" y="21"/>
                  </a:cubicBezTo>
                  <a:cubicBezTo>
                    <a:pt x="32" y="21"/>
                    <a:pt x="33" y="20"/>
                    <a:pt x="35" y="19"/>
                  </a:cubicBezTo>
                  <a:cubicBezTo>
                    <a:pt x="36" y="18"/>
                    <a:pt x="37" y="16"/>
                    <a:pt x="39" y="16"/>
                  </a:cubicBezTo>
                  <a:cubicBezTo>
                    <a:pt x="39" y="16"/>
                    <a:pt x="39" y="16"/>
                    <a:pt x="40" y="16"/>
                  </a:cubicBezTo>
                  <a:cubicBezTo>
                    <a:pt x="40" y="16"/>
                    <a:pt x="40" y="16"/>
                    <a:pt x="41" y="16"/>
                  </a:cubicBezTo>
                  <a:cubicBezTo>
                    <a:pt x="41" y="16"/>
                    <a:pt x="41" y="16"/>
                    <a:pt x="42" y="16"/>
                  </a:cubicBezTo>
                  <a:cubicBezTo>
                    <a:pt x="42" y="16"/>
                    <a:pt x="43" y="16"/>
                    <a:pt x="43" y="15"/>
                  </a:cubicBezTo>
                  <a:cubicBezTo>
                    <a:pt x="44" y="14"/>
                    <a:pt x="49" y="11"/>
                    <a:pt x="49" y="10"/>
                  </a:cubicBezTo>
                  <a:cubicBezTo>
                    <a:pt x="47" y="8"/>
                    <a:pt x="46" y="6"/>
                    <a:pt x="44" y="3"/>
                  </a:cubicBezTo>
                  <a:cubicBezTo>
                    <a:pt x="44" y="2"/>
                    <a:pt x="43" y="1"/>
                    <a:pt x="43" y="1"/>
                  </a:cubicBezTo>
                  <a:cubicBezTo>
                    <a:pt x="43" y="0"/>
                    <a:pt x="43" y="0"/>
                    <a:pt x="44" y="0"/>
                  </a:cubicBezTo>
                  <a:cubicBezTo>
                    <a:pt x="44" y="0"/>
                    <a:pt x="44" y="0"/>
                    <a:pt x="44" y="0"/>
                  </a:cubicBezTo>
                  <a:moveTo>
                    <a:pt x="53" y="0"/>
                  </a:moveTo>
                  <a:cubicBezTo>
                    <a:pt x="44" y="0"/>
                    <a:pt x="44" y="0"/>
                    <a:pt x="44" y="0"/>
                  </a:cubicBezTo>
                  <a:cubicBezTo>
                    <a:pt x="44" y="0"/>
                    <a:pt x="44" y="0"/>
                    <a:pt x="45" y="0"/>
                  </a:cubicBezTo>
                  <a:cubicBezTo>
                    <a:pt x="45" y="1"/>
                    <a:pt x="45" y="1"/>
                    <a:pt x="45" y="1"/>
                  </a:cubicBezTo>
                  <a:cubicBezTo>
                    <a:pt x="45" y="1"/>
                    <a:pt x="45" y="1"/>
                    <a:pt x="45" y="1"/>
                  </a:cubicBezTo>
                  <a:cubicBezTo>
                    <a:pt x="45" y="1"/>
                    <a:pt x="45" y="1"/>
                    <a:pt x="45" y="1"/>
                  </a:cubicBezTo>
                  <a:cubicBezTo>
                    <a:pt x="45" y="1"/>
                    <a:pt x="45" y="1"/>
                    <a:pt x="45" y="1"/>
                  </a:cubicBezTo>
                  <a:cubicBezTo>
                    <a:pt x="46" y="1"/>
                    <a:pt x="46" y="1"/>
                    <a:pt x="46" y="1"/>
                  </a:cubicBezTo>
                  <a:cubicBezTo>
                    <a:pt x="46" y="1"/>
                    <a:pt x="46" y="1"/>
                    <a:pt x="47" y="0"/>
                  </a:cubicBezTo>
                  <a:cubicBezTo>
                    <a:pt x="47" y="1"/>
                    <a:pt x="47" y="1"/>
                    <a:pt x="47" y="2"/>
                  </a:cubicBezTo>
                  <a:cubicBezTo>
                    <a:pt x="47" y="2"/>
                    <a:pt x="48" y="3"/>
                    <a:pt x="49" y="4"/>
                  </a:cubicBezTo>
                  <a:cubicBezTo>
                    <a:pt x="49" y="4"/>
                    <a:pt x="49" y="4"/>
                    <a:pt x="49" y="5"/>
                  </a:cubicBezTo>
                  <a:cubicBezTo>
                    <a:pt x="49" y="5"/>
                    <a:pt x="49" y="5"/>
                    <a:pt x="49" y="5"/>
                  </a:cubicBezTo>
                  <a:cubicBezTo>
                    <a:pt x="50" y="4"/>
                    <a:pt x="51" y="3"/>
                    <a:pt x="52" y="2"/>
                  </a:cubicBezTo>
                  <a:cubicBezTo>
                    <a:pt x="52" y="1"/>
                    <a:pt x="53" y="0"/>
                    <a:pt x="53" y="0"/>
                  </a:cubicBezTo>
                  <a:moveTo>
                    <a:pt x="160" y="0"/>
                  </a:moveTo>
                  <a:cubicBezTo>
                    <a:pt x="84" y="0"/>
                    <a:pt x="84" y="0"/>
                    <a:pt x="84" y="0"/>
                  </a:cubicBezTo>
                  <a:cubicBezTo>
                    <a:pt x="85" y="0"/>
                    <a:pt x="85" y="0"/>
                    <a:pt x="85" y="1"/>
                  </a:cubicBezTo>
                  <a:cubicBezTo>
                    <a:pt x="85" y="1"/>
                    <a:pt x="85" y="1"/>
                    <a:pt x="85" y="1"/>
                  </a:cubicBezTo>
                  <a:cubicBezTo>
                    <a:pt x="84" y="1"/>
                    <a:pt x="84" y="1"/>
                    <a:pt x="84" y="1"/>
                  </a:cubicBezTo>
                  <a:cubicBezTo>
                    <a:pt x="84" y="1"/>
                    <a:pt x="84" y="1"/>
                    <a:pt x="84" y="1"/>
                  </a:cubicBezTo>
                  <a:cubicBezTo>
                    <a:pt x="82" y="1"/>
                    <a:pt x="81" y="1"/>
                    <a:pt x="81" y="2"/>
                  </a:cubicBezTo>
                  <a:cubicBezTo>
                    <a:pt x="80" y="3"/>
                    <a:pt x="83" y="3"/>
                    <a:pt x="85" y="4"/>
                  </a:cubicBezTo>
                  <a:cubicBezTo>
                    <a:pt x="88" y="5"/>
                    <a:pt x="91" y="5"/>
                    <a:pt x="92" y="6"/>
                  </a:cubicBezTo>
                  <a:cubicBezTo>
                    <a:pt x="92" y="6"/>
                    <a:pt x="92" y="7"/>
                    <a:pt x="93" y="7"/>
                  </a:cubicBezTo>
                  <a:cubicBezTo>
                    <a:pt x="93" y="7"/>
                    <a:pt x="93" y="7"/>
                    <a:pt x="94" y="8"/>
                  </a:cubicBezTo>
                  <a:cubicBezTo>
                    <a:pt x="95" y="8"/>
                    <a:pt x="95" y="8"/>
                    <a:pt x="96" y="8"/>
                  </a:cubicBezTo>
                  <a:cubicBezTo>
                    <a:pt x="96" y="8"/>
                    <a:pt x="96" y="8"/>
                    <a:pt x="96" y="8"/>
                  </a:cubicBezTo>
                  <a:cubicBezTo>
                    <a:pt x="97" y="8"/>
                    <a:pt x="98" y="8"/>
                    <a:pt x="99" y="8"/>
                  </a:cubicBezTo>
                  <a:cubicBezTo>
                    <a:pt x="101" y="8"/>
                    <a:pt x="103" y="7"/>
                    <a:pt x="104" y="7"/>
                  </a:cubicBezTo>
                  <a:cubicBezTo>
                    <a:pt x="105" y="7"/>
                    <a:pt x="105" y="7"/>
                    <a:pt x="105" y="7"/>
                  </a:cubicBezTo>
                  <a:cubicBezTo>
                    <a:pt x="108" y="6"/>
                    <a:pt x="110" y="6"/>
                    <a:pt x="113" y="5"/>
                  </a:cubicBezTo>
                  <a:cubicBezTo>
                    <a:pt x="113" y="5"/>
                    <a:pt x="113" y="5"/>
                    <a:pt x="114" y="5"/>
                  </a:cubicBezTo>
                  <a:cubicBezTo>
                    <a:pt x="115" y="5"/>
                    <a:pt x="115" y="6"/>
                    <a:pt x="116" y="7"/>
                  </a:cubicBezTo>
                  <a:cubicBezTo>
                    <a:pt x="116" y="7"/>
                    <a:pt x="116" y="8"/>
                    <a:pt x="117" y="8"/>
                  </a:cubicBezTo>
                  <a:cubicBezTo>
                    <a:pt x="117" y="9"/>
                    <a:pt x="118" y="9"/>
                    <a:pt x="119" y="9"/>
                  </a:cubicBezTo>
                  <a:cubicBezTo>
                    <a:pt x="119" y="9"/>
                    <a:pt x="119" y="9"/>
                    <a:pt x="119" y="9"/>
                  </a:cubicBezTo>
                  <a:cubicBezTo>
                    <a:pt x="120" y="9"/>
                    <a:pt x="121" y="9"/>
                    <a:pt x="122" y="8"/>
                  </a:cubicBezTo>
                  <a:cubicBezTo>
                    <a:pt x="123" y="8"/>
                    <a:pt x="124" y="8"/>
                    <a:pt x="124" y="7"/>
                  </a:cubicBezTo>
                  <a:cubicBezTo>
                    <a:pt x="124" y="8"/>
                    <a:pt x="124" y="9"/>
                    <a:pt x="124" y="9"/>
                  </a:cubicBezTo>
                  <a:cubicBezTo>
                    <a:pt x="124" y="11"/>
                    <a:pt x="124" y="13"/>
                    <a:pt x="126" y="14"/>
                  </a:cubicBezTo>
                  <a:cubicBezTo>
                    <a:pt x="126" y="15"/>
                    <a:pt x="124" y="15"/>
                    <a:pt x="122" y="16"/>
                  </a:cubicBezTo>
                  <a:cubicBezTo>
                    <a:pt x="121" y="16"/>
                    <a:pt x="120" y="16"/>
                    <a:pt x="120" y="16"/>
                  </a:cubicBezTo>
                  <a:cubicBezTo>
                    <a:pt x="119" y="16"/>
                    <a:pt x="118" y="17"/>
                    <a:pt x="117" y="18"/>
                  </a:cubicBezTo>
                  <a:cubicBezTo>
                    <a:pt x="117" y="18"/>
                    <a:pt x="116" y="18"/>
                    <a:pt x="116" y="18"/>
                  </a:cubicBezTo>
                  <a:cubicBezTo>
                    <a:pt x="115" y="18"/>
                    <a:pt x="115" y="19"/>
                    <a:pt x="115" y="19"/>
                  </a:cubicBezTo>
                  <a:cubicBezTo>
                    <a:pt x="115" y="19"/>
                    <a:pt x="114" y="18"/>
                    <a:pt x="114" y="18"/>
                  </a:cubicBezTo>
                  <a:cubicBezTo>
                    <a:pt x="114" y="19"/>
                    <a:pt x="110" y="20"/>
                    <a:pt x="108" y="21"/>
                  </a:cubicBezTo>
                  <a:cubicBezTo>
                    <a:pt x="107" y="21"/>
                    <a:pt x="107" y="22"/>
                    <a:pt x="106" y="23"/>
                  </a:cubicBezTo>
                  <a:cubicBezTo>
                    <a:pt x="106" y="23"/>
                    <a:pt x="105" y="24"/>
                    <a:pt x="105" y="24"/>
                  </a:cubicBezTo>
                  <a:cubicBezTo>
                    <a:pt x="104" y="24"/>
                    <a:pt x="103" y="25"/>
                    <a:pt x="102" y="25"/>
                  </a:cubicBezTo>
                  <a:cubicBezTo>
                    <a:pt x="101" y="25"/>
                    <a:pt x="101" y="26"/>
                    <a:pt x="100" y="26"/>
                  </a:cubicBezTo>
                  <a:cubicBezTo>
                    <a:pt x="99" y="27"/>
                    <a:pt x="98" y="27"/>
                    <a:pt x="98" y="28"/>
                  </a:cubicBezTo>
                  <a:cubicBezTo>
                    <a:pt x="98" y="29"/>
                    <a:pt x="98" y="29"/>
                    <a:pt x="98" y="29"/>
                  </a:cubicBezTo>
                  <a:cubicBezTo>
                    <a:pt x="98" y="31"/>
                    <a:pt x="107" y="33"/>
                    <a:pt x="112" y="34"/>
                  </a:cubicBezTo>
                  <a:cubicBezTo>
                    <a:pt x="113" y="35"/>
                    <a:pt x="114" y="35"/>
                    <a:pt x="115" y="35"/>
                  </a:cubicBezTo>
                  <a:cubicBezTo>
                    <a:pt x="118" y="36"/>
                    <a:pt x="122" y="36"/>
                    <a:pt x="123" y="39"/>
                  </a:cubicBezTo>
                  <a:cubicBezTo>
                    <a:pt x="124" y="39"/>
                    <a:pt x="124" y="41"/>
                    <a:pt x="124" y="42"/>
                  </a:cubicBezTo>
                  <a:cubicBezTo>
                    <a:pt x="124" y="44"/>
                    <a:pt x="123" y="44"/>
                    <a:pt x="123" y="45"/>
                  </a:cubicBezTo>
                  <a:cubicBezTo>
                    <a:pt x="122" y="46"/>
                    <a:pt x="122" y="46"/>
                    <a:pt x="122" y="47"/>
                  </a:cubicBezTo>
                  <a:cubicBezTo>
                    <a:pt x="122" y="47"/>
                    <a:pt x="122" y="48"/>
                    <a:pt x="122" y="49"/>
                  </a:cubicBezTo>
                  <a:cubicBezTo>
                    <a:pt x="122" y="50"/>
                    <a:pt x="123" y="51"/>
                    <a:pt x="123" y="52"/>
                  </a:cubicBezTo>
                  <a:cubicBezTo>
                    <a:pt x="121" y="52"/>
                    <a:pt x="120" y="52"/>
                    <a:pt x="118" y="52"/>
                  </a:cubicBezTo>
                  <a:cubicBezTo>
                    <a:pt x="119" y="53"/>
                    <a:pt x="119" y="53"/>
                    <a:pt x="120" y="54"/>
                  </a:cubicBezTo>
                  <a:cubicBezTo>
                    <a:pt x="120" y="54"/>
                    <a:pt x="121" y="55"/>
                    <a:pt x="122" y="55"/>
                  </a:cubicBezTo>
                  <a:cubicBezTo>
                    <a:pt x="124" y="56"/>
                    <a:pt x="125" y="57"/>
                    <a:pt x="127" y="57"/>
                  </a:cubicBezTo>
                  <a:cubicBezTo>
                    <a:pt x="127" y="57"/>
                    <a:pt x="127" y="57"/>
                    <a:pt x="127" y="57"/>
                  </a:cubicBezTo>
                  <a:cubicBezTo>
                    <a:pt x="128" y="57"/>
                    <a:pt x="129" y="57"/>
                    <a:pt x="130" y="56"/>
                  </a:cubicBezTo>
                  <a:cubicBezTo>
                    <a:pt x="136" y="53"/>
                    <a:pt x="142" y="50"/>
                    <a:pt x="148" y="47"/>
                  </a:cubicBezTo>
                  <a:cubicBezTo>
                    <a:pt x="154" y="44"/>
                    <a:pt x="161" y="41"/>
                    <a:pt x="167" y="38"/>
                  </a:cubicBezTo>
                  <a:cubicBezTo>
                    <a:pt x="168" y="38"/>
                    <a:pt x="169" y="37"/>
                    <a:pt x="170" y="37"/>
                  </a:cubicBezTo>
                  <a:cubicBezTo>
                    <a:pt x="172" y="37"/>
                    <a:pt x="174" y="38"/>
                    <a:pt x="176" y="40"/>
                  </a:cubicBezTo>
                  <a:cubicBezTo>
                    <a:pt x="177" y="40"/>
                    <a:pt x="177" y="40"/>
                    <a:pt x="177" y="40"/>
                  </a:cubicBezTo>
                  <a:cubicBezTo>
                    <a:pt x="178" y="40"/>
                    <a:pt x="178" y="40"/>
                    <a:pt x="178" y="40"/>
                  </a:cubicBezTo>
                  <a:cubicBezTo>
                    <a:pt x="178" y="41"/>
                    <a:pt x="178" y="41"/>
                    <a:pt x="179" y="41"/>
                  </a:cubicBezTo>
                  <a:cubicBezTo>
                    <a:pt x="180" y="41"/>
                    <a:pt x="182" y="40"/>
                    <a:pt x="183" y="40"/>
                  </a:cubicBezTo>
                  <a:cubicBezTo>
                    <a:pt x="183" y="40"/>
                    <a:pt x="184" y="40"/>
                    <a:pt x="184" y="40"/>
                  </a:cubicBezTo>
                  <a:cubicBezTo>
                    <a:pt x="184" y="40"/>
                    <a:pt x="184" y="40"/>
                    <a:pt x="184" y="40"/>
                  </a:cubicBezTo>
                  <a:cubicBezTo>
                    <a:pt x="185" y="40"/>
                    <a:pt x="185" y="40"/>
                    <a:pt x="185" y="40"/>
                  </a:cubicBezTo>
                  <a:cubicBezTo>
                    <a:pt x="186" y="40"/>
                    <a:pt x="186" y="40"/>
                    <a:pt x="186" y="40"/>
                  </a:cubicBezTo>
                  <a:cubicBezTo>
                    <a:pt x="187" y="40"/>
                    <a:pt x="187" y="40"/>
                    <a:pt x="188" y="39"/>
                  </a:cubicBezTo>
                  <a:cubicBezTo>
                    <a:pt x="190" y="38"/>
                    <a:pt x="189" y="37"/>
                    <a:pt x="190" y="34"/>
                  </a:cubicBezTo>
                  <a:cubicBezTo>
                    <a:pt x="191" y="33"/>
                    <a:pt x="191" y="32"/>
                    <a:pt x="192" y="32"/>
                  </a:cubicBezTo>
                  <a:cubicBezTo>
                    <a:pt x="192" y="31"/>
                    <a:pt x="193" y="31"/>
                    <a:pt x="193" y="31"/>
                  </a:cubicBezTo>
                  <a:cubicBezTo>
                    <a:pt x="194" y="31"/>
                    <a:pt x="195" y="30"/>
                    <a:pt x="195" y="30"/>
                  </a:cubicBezTo>
                  <a:cubicBezTo>
                    <a:pt x="194" y="30"/>
                    <a:pt x="193" y="30"/>
                    <a:pt x="192" y="30"/>
                  </a:cubicBezTo>
                  <a:cubicBezTo>
                    <a:pt x="192" y="30"/>
                    <a:pt x="192" y="30"/>
                    <a:pt x="192" y="30"/>
                  </a:cubicBezTo>
                  <a:cubicBezTo>
                    <a:pt x="190" y="30"/>
                    <a:pt x="189" y="30"/>
                    <a:pt x="188" y="30"/>
                  </a:cubicBezTo>
                  <a:cubicBezTo>
                    <a:pt x="187" y="30"/>
                    <a:pt x="186" y="30"/>
                    <a:pt x="186" y="30"/>
                  </a:cubicBezTo>
                  <a:cubicBezTo>
                    <a:pt x="185" y="30"/>
                    <a:pt x="183" y="30"/>
                    <a:pt x="182" y="30"/>
                  </a:cubicBezTo>
                  <a:cubicBezTo>
                    <a:pt x="181" y="30"/>
                    <a:pt x="181" y="30"/>
                    <a:pt x="180" y="30"/>
                  </a:cubicBezTo>
                  <a:cubicBezTo>
                    <a:pt x="179" y="30"/>
                    <a:pt x="178" y="29"/>
                    <a:pt x="177" y="29"/>
                  </a:cubicBezTo>
                  <a:cubicBezTo>
                    <a:pt x="177" y="29"/>
                    <a:pt x="176" y="29"/>
                    <a:pt x="176" y="29"/>
                  </a:cubicBezTo>
                  <a:cubicBezTo>
                    <a:pt x="176" y="29"/>
                    <a:pt x="176" y="29"/>
                    <a:pt x="176" y="29"/>
                  </a:cubicBezTo>
                  <a:cubicBezTo>
                    <a:pt x="175" y="29"/>
                    <a:pt x="175" y="29"/>
                    <a:pt x="174" y="29"/>
                  </a:cubicBezTo>
                  <a:cubicBezTo>
                    <a:pt x="173" y="30"/>
                    <a:pt x="172" y="31"/>
                    <a:pt x="170" y="32"/>
                  </a:cubicBezTo>
                  <a:cubicBezTo>
                    <a:pt x="170" y="32"/>
                    <a:pt x="170" y="32"/>
                    <a:pt x="170" y="32"/>
                  </a:cubicBezTo>
                  <a:cubicBezTo>
                    <a:pt x="167" y="32"/>
                    <a:pt x="166" y="29"/>
                    <a:pt x="164" y="27"/>
                  </a:cubicBezTo>
                  <a:cubicBezTo>
                    <a:pt x="160" y="22"/>
                    <a:pt x="157" y="19"/>
                    <a:pt x="155" y="14"/>
                  </a:cubicBezTo>
                  <a:cubicBezTo>
                    <a:pt x="154" y="12"/>
                    <a:pt x="153" y="10"/>
                    <a:pt x="153" y="8"/>
                  </a:cubicBezTo>
                  <a:cubicBezTo>
                    <a:pt x="153" y="7"/>
                    <a:pt x="153" y="6"/>
                    <a:pt x="153" y="6"/>
                  </a:cubicBezTo>
                  <a:cubicBezTo>
                    <a:pt x="153" y="5"/>
                    <a:pt x="153" y="5"/>
                    <a:pt x="154" y="4"/>
                  </a:cubicBezTo>
                  <a:cubicBezTo>
                    <a:pt x="155" y="4"/>
                    <a:pt x="155" y="4"/>
                    <a:pt x="156" y="4"/>
                  </a:cubicBezTo>
                  <a:cubicBezTo>
                    <a:pt x="157" y="3"/>
                    <a:pt x="158" y="3"/>
                    <a:pt x="159" y="3"/>
                  </a:cubicBezTo>
                  <a:cubicBezTo>
                    <a:pt x="160" y="2"/>
                    <a:pt x="160" y="1"/>
                    <a:pt x="160" y="0"/>
                  </a:cubicBezTo>
                  <a:moveTo>
                    <a:pt x="168" y="0"/>
                  </a:moveTo>
                  <a:cubicBezTo>
                    <a:pt x="163" y="0"/>
                    <a:pt x="163" y="0"/>
                    <a:pt x="163" y="0"/>
                  </a:cubicBezTo>
                  <a:cubicBezTo>
                    <a:pt x="163" y="0"/>
                    <a:pt x="163" y="0"/>
                    <a:pt x="164" y="0"/>
                  </a:cubicBezTo>
                  <a:cubicBezTo>
                    <a:pt x="167" y="1"/>
                    <a:pt x="157" y="8"/>
                    <a:pt x="157" y="8"/>
                  </a:cubicBezTo>
                  <a:cubicBezTo>
                    <a:pt x="160" y="6"/>
                    <a:pt x="164" y="3"/>
                    <a:pt x="167" y="0"/>
                  </a:cubicBezTo>
                  <a:cubicBezTo>
                    <a:pt x="168" y="0"/>
                    <a:pt x="168" y="0"/>
                    <a:pt x="1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sp>
        <p:nvSpPr>
          <p:cNvPr id="316" name="Footer Placeholder 315">
            <a:extLst>
              <a:ext uri="{FF2B5EF4-FFF2-40B4-BE49-F238E27FC236}">
                <a16:creationId xmlns:a16="http://schemas.microsoft.com/office/drawing/2014/main" id="{2BB4DDC9-4F72-4B33-8B72-AB25FA7ADAF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319" name="Slide Number Placeholder 318">
            <a:extLst>
              <a:ext uri="{FF2B5EF4-FFF2-40B4-BE49-F238E27FC236}">
                <a16:creationId xmlns:a16="http://schemas.microsoft.com/office/drawing/2014/main" id="{BAF2FE4E-3F24-4E9A-BE5B-100CE0655894}"/>
              </a:ext>
            </a:extLst>
          </p:cNvPr>
          <p:cNvSpPr>
            <a:spLocks noGrp="1"/>
          </p:cNvSpPr>
          <p:nvPr>
            <p:ph type="sldNum" sz="quarter" idx="10"/>
          </p:nvPr>
        </p:nvSpPr>
        <p:spPr/>
        <p:txBody>
          <a:bodyPr/>
          <a:lstStyle/>
          <a:p>
            <a:fld id="{1F90F471-3972-4120-B8B3-0237DE626C35}" type="slidenum">
              <a:rPr lang="en-US" smtClean="0"/>
              <a:pPr/>
              <a:t>359</a:t>
            </a:fld>
            <a:endParaRPr lang="en-US" dirty="0"/>
          </a:p>
        </p:txBody>
      </p:sp>
    </p:spTree>
    <p:extLst>
      <p:ext uri="{BB962C8B-B14F-4D97-AF65-F5344CB8AC3E}">
        <p14:creationId xmlns:p14="http://schemas.microsoft.com/office/powerpoint/2010/main" val="40550474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BBE49-9DD9-4C7A-92B6-A459DFB69365}"/>
              </a:ext>
            </a:extLst>
          </p:cNvPr>
          <p:cNvSpPr>
            <a:spLocks noGrp="1"/>
          </p:cNvSpPr>
          <p:nvPr>
            <p:ph type="title"/>
          </p:nvPr>
        </p:nvSpPr>
        <p:spPr/>
        <p:txBody>
          <a:bodyPr/>
          <a:lstStyle/>
          <a:p>
            <a:r>
              <a:rPr lang="en-US" dirty="0"/>
              <a:t>Section title 54pt</a:t>
            </a:r>
          </a:p>
        </p:txBody>
      </p:sp>
      <p:sp>
        <p:nvSpPr>
          <p:cNvPr id="3" name="Text Placeholder 2">
            <a:extLst>
              <a:ext uri="{FF2B5EF4-FFF2-40B4-BE49-F238E27FC236}">
                <a16:creationId xmlns:a16="http://schemas.microsoft.com/office/drawing/2014/main" id="{F80676CF-9290-46E6-AEF6-2CE39CA73445}"/>
              </a:ext>
            </a:extLst>
          </p:cNvPr>
          <p:cNvSpPr>
            <a:spLocks noGrp="1"/>
          </p:cNvSpPr>
          <p:nvPr>
            <p:ph type="body" idx="10"/>
          </p:nvPr>
        </p:nvSpPr>
        <p:spPr/>
        <p:txBody>
          <a:bodyPr/>
          <a:lstStyle/>
          <a:p>
            <a:endParaRPr lang="en-US"/>
          </a:p>
        </p:txBody>
      </p:sp>
      <p:sp>
        <p:nvSpPr>
          <p:cNvPr id="4" name="Text Placeholder 3">
            <a:extLst>
              <a:ext uri="{FF2B5EF4-FFF2-40B4-BE49-F238E27FC236}">
                <a16:creationId xmlns:a16="http://schemas.microsoft.com/office/drawing/2014/main" id="{D92A32B0-073F-4560-8E57-795244EFB7A1}"/>
              </a:ext>
            </a:extLst>
          </p:cNvPr>
          <p:cNvSpPr>
            <a:spLocks noGrp="1"/>
          </p:cNvSpPr>
          <p:nvPr>
            <p:ph type="body" sz="quarter" idx="15"/>
          </p:nvPr>
        </p:nvSpPr>
        <p:spPr/>
        <p:txBody>
          <a:bodyPr/>
          <a:lstStyle/>
          <a:p>
            <a:r>
              <a:rPr lang="en-GB" dirty="0"/>
              <a:t>Place subtitle here in GT Sectra Fine </a:t>
            </a:r>
            <a:r>
              <a:rPr lang="en-GB" dirty="0" err="1"/>
              <a:t>Rg</a:t>
            </a:r>
            <a:r>
              <a:rPr lang="en-GB" dirty="0"/>
              <a:t> 24pt</a:t>
            </a:r>
            <a:endParaRPr lang="en-US" dirty="0"/>
          </a:p>
        </p:txBody>
      </p:sp>
      <p:sp>
        <p:nvSpPr>
          <p:cNvPr id="5" name="Footer Placeholder 4">
            <a:extLst>
              <a:ext uri="{FF2B5EF4-FFF2-40B4-BE49-F238E27FC236}">
                <a16:creationId xmlns:a16="http://schemas.microsoft.com/office/drawing/2014/main" id="{C9595819-DF70-49ED-B32F-D7C5F04EF78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5D602EBC-A356-4477-A2E0-602973630475}"/>
              </a:ext>
            </a:extLst>
          </p:cNvPr>
          <p:cNvSpPr>
            <a:spLocks noGrp="1"/>
          </p:cNvSpPr>
          <p:nvPr>
            <p:ph type="sldNum" sz="quarter" idx="17"/>
          </p:nvPr>
        </p:nvSpPr>
        <p:spPr/>
        <p:txBody>
          <a:bodyPr/>
          <a:lstStyle/>
          <a:p>
            <a:fld id="{1F90F471-3972-4120-B8B3-0237DE626C35}" type="slidenum">
              <a:rPr lang="en-US" smtClean="0"/>
              <a:pPr/>
              <a:t>36</a:t>
            </a:fld>
            <a:endParaRPr lang="en-US" dirty="0"/>
          </a:p>
        </p:txBody>
      </p:sp>
    </p:spTree>
    <p:extLst>
      <p:ext uri="{BB962C8B-B14F-4D97-AF65-F5344CB8AC3E}">
        <p14:creationId xmlns:p14="http://schemas.microsoft.com/office/powerpoint/2010/main" val="3830480285"/>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Europe</a:t>
            </a:r>
            <a:endParaRPr lang="de-DE" dirty="0"/>
          </a:p>
        </p:txBody>
      </p:sp>
      <p:sp>
        <p:nvSpPr>
          <p:cNvPr id="3" name="TextBox 2">
            <a:extLst>
              <a:ext uri="{FF2B5EF4-FFF2-40B4-BE49-F238E27FC236}">
                <a16:creationId xmlns:a16="http://schemas.microsoft.com/office/drawing/2014/main" id="{57FF76E3-A3A0-4572-A6A8-E70C1E23B7DF}"/>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shade one or more countries</a:t>
            </a:r>
          </a:p>
        </p:txBody>
      </p:sp>
      <p:grpSp>
        <p:nvGrpSpPr>
          <p:cNvPr id="365" name="Group 364" descr="Europe: describe map here">
            <a:extLst>
              <a:ext uri="{FF2B5EF4-FFF2-40B4-BE49-F238E27FC236}">
                <a16:creationId xmlns:a16="http://schemas.microsoft.com/office/drawing/2014/main" id="{1FC7FCD2-50F6-40D7-B158-9E3D03F758E2}"/>
              </a:ext>
            </a:extLst>
          </p:cNvPr>
          <p:cNvGrpSpPr/>
          <p:nvPr/>
        </p:nvGrpSpPr>
        <p:grpSpPr>
          <a:xfrm>
            <a:off x="2336799" y="294744"/>
            <a:ext cx="9855207" cy="6563257"/>
            <a:chOff x="1533009" y="-232098"/>
            <a:chExt cx="10646298" cy="7090099"/>
          </a:xfrm>
          <a:solidFill>
            <a:srgbClr val="96968C">
              <a:lumMod val="40000"/>
              <a:lumOff val="60000"/>
            </a:srgbClr>
          </a:solidFill>
        </p:grpSpPr>
        <p:grpSp>
          <p:nvGrpSpPr>
            <p:cNvPr id="366" name="Group 365">
              <a:extLst>
                <a:ext uri="{FF2B5EF4-FFF2-40B4-BE49-F238E27FC236}">
                  <a16:creationId xmlns:a16="http://schemas.microsoft.com/office/drawing/2014/main" id="{DEA683A3-E736-4506-9058-DAC7431F3D85}"/>
                </a:ext>
              </a:extLst>
            </p:cNvPr>
            <p:cNvGrpSpPr/>
            <p:nvPr/>
          </p:nvGrpSpPr>
          <p:grpSpPr>
            <a:xfrm>
              <a:off x="1533009" y="40537"/>
              <a:ext cx="10646298" cy="6817464"/>
              <a:chOff x="1533009" y="40537"/>
              <a:chExt cx="10646298" cy="6817464"/>
            </a:xfrm>
            <a:grpFill/>
          </p:grpSpPr>
          <p:grpSp>
            <p:nvGrpSpPr>
              <p:cNvPr id="377" name="Group 376">
                <a:extLst>
                  <a:ext uri="{FF2B5EF4-FFF2-40B4-BE49-F238E27FC236}">
                    <a16:creationId xmlns:a16="http://schemas.microsoft.com/office/drawing/2014/main" id="{AB76AADD-93CB-4592-A9BD-3C2558E41885}"/>
                  </a:ext>
                </a:extLst>
              </p:cNvPr>
              <p:cNvGrpSpPr/>
              <p:nvPr/>
            </p:nvGrpSpPr>
            <p:grpSpPr>
              <a:xfrm>
                <a:off x="1533009" y="40537"/>
                <a:ext cx="9054328" cy="6666374"/>
                <a:chOff x="1533009" y="40537"/>
                <a:chExt cx="9054328" cy="6666374"/>
              </a:xfrm>
              <a:grpFill/>
            </p:grpSpPr>
            <p:sp>
              <p:nvSpPr>
                <p:cNvPr id="553" name="Freeform 5">
                  <a:extLst>
                    <a:ext uri="{FF2B5EF4-FFF2-40B4-BE49-F238E27FC236}">
                      <a16:creationId xmlns:a16="http://schemas.microsoft.com/office/drawing/2014/main" id="{D1B1A180-AAC8-4946-A7A0-0C72E7D40B5B}"/>
                    </a:ext>
                  </a:extLst>
                </p:cNvPr>
                <p:cNvSpPr>
                  <a:spLocks/>
                </p:cNvSpPr>
                <p:nvPr/>
              </p:nvSpPr>
              <p:spPr bwMode="auto">
                <a:xfrm>
                  <a:off x="3534026" y="1076054"/>
                  <a:ext cx="106868" cy="51592"/>
                </a:xfrm>
                <a:custGeom>
                  <a:avLst/>
                  <a:gdLst>
                    <a:gd name="T0" fmla="*/ 34 w 34"/>
                    <a:gd name="T1" fmla="*/ 0 h 16"/>
                    <a:gd name="T2" fmla="*/ 0 w 34"/>
                    <a:gd name="T3" fmla="*/ 16 h 16"/>
                    <a:gd name="T4" fmla="*/ 21 w 34"/>
                    <a:gd name="T5" fmla="*/ 9 h 16"/>
                    <a:gd name="T6" fmla="*/ 34 w 34"/>
                    <a:gd name="T7" fmla="*/ 0 h 16"/>
                  </a:gdLst>
                  <a:ahLst/>
                  <a:cxnLst>
                    <a:cxn ang="0">
                      <a:pos x="T0" y="T1"/>
                    </a:cxn>
                    <a:cxn ang="0">
                      <a:pos x="T2" y="T3"/>
                    </a:cxn>
                    <a:cxn ang="0">
                      <a:pos x="T4" y="T5"/>
                    </a:cxn>
                    <a:cxn ang="0">
                      <a:pos x="T6" y="T7"/>
                    </a:cxn>
                  </a:cxnLst>
                  <a:rect l="0" t="0" r="r" b="b"/>
                  <a:pathLst>
                    <a:path w="34" h="16">
                      <a:moveTo>
                        <a:pt x="34" y="0"/>
                      </a:moveTo>
                      <a:cubicBezTo>
                        <a:pt x="23" y="5"/>
                        <a:pt x="12" y="10"/>
                        <a:pt x="0" y="16"/>
                      </a:cubicBezTo>
                      <a:cubicBezTo>
                        <a:pt x="7" y="14"/>
                        <a:pt x="14" y="12"/>
                        <a:pt x="21" y="9"/>
                      </a:cubicBezTo>
                      <a:cubicBezTo>
                        <a:pt x="27" y="8"/>
                        <a:pt x="30" y="4"/>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54" name="Freeform 8">
                  <a:extLst>
                    <a:ext uri="{FF2B5EF4-FFF2-40B4-BE49-F238E27FC236}">
                      <a16:creationId xmlns:a16="http://schemas.microsoft.com/office/drawing/2014/main" id="{BC17ECD5-0F64-4A3C-B805-0F41DE58E1AC}"/>
                    </a:ext>
                  </a:extLst>
                </p:cNvPr>
                <p:cNvSpPr>
                  <a:spLocks/>
                </p:cNvSpPr>
                <p:nvPr/>
              </p:nvSpPr>
              <p:spPr bwMode="auto">
                <a:xfrm>
                  <a:off x="2141053" y="2068290"/>
                  <a:ext cx="998666" cy="456954"/>
                </a:xfrm>
                <a:custGeom>
                  <a:avLst/>
                  <a:gdLst>
                    <a:gd name="T0" fmla="*/ 231 w 314"/>
                    <a:gd name="T1" fmla="*/ 12 h 144"/>
                    <a:gd name="T2" fmla="*/ 195 w 314"/>
                    <a:gd name="T3" fmla="*/ 24 h 144"/>
                    <a:gd name="T4" fmla="*/ 184 w 314"/>
                    <a:gd name="T5" fmla="*/ 40 h 144"/>
                    <a:gd name="T6" fmla="*/ 146 w 314"/>
                    <a:gd name="T7" fmla="*/ 22 h 144"/>
                    <a:gd name="T8" fmla="*/ 146 w 314"/>
                    <a:gd name="T9" fmla="*/ 35 h 144"/>
                    <a:gd name="T10" fmla="*/ 124 w 314"/>
                    <a:gd name="T11" fmla="*/ 20 h 144"/>
                    <a:gd name="T12" fmla="*/ 116 w 314"/>
                    <a:gd name="T13" fmla="*/ 49 h 144"/>
                    <a:gd name="T14" fmla="*/ 108 w 314"/>
                    <a:gd name="T15" fmla="*/ 40 h 144"/>
                    <a:gd name="T16" fmla="*/ 98 w 314"/>
                    <a:gd name="T17" fmla="*/ 64 h 144"/>
                    <a:gd name="T18" fmla="*/ 87 w 314"/>
                    <a:gd name="T19" fmla="*/ 46 h 144"/>
                    <a:gd name="T20" fmla="*/ 83 w 314"/>
                    <a:gd name="T21" fmla="*/ 38 h 144"/>
                    <a:gd name="T22" fmla="*/ 84 w 314"/>
                    <a:gd name="T23" fmla="*/ 28 h 144"/>
                    <a:gd name="T24" fmla="*/ 58 w 314"/>
                    <a:gd name="T25" fmla="*/ 3 h 144"/>
                    <a:gd name="T26" fmla="*/ 44 w 314"/>
                    <a:gd name="T27" fmla="*/ 11 h 144"/>
                    <a:gd name="T28" fmla="*/ 54 w 314"/>
                    <a:gd name="T29" fmla="*/ 11 h 144"/>
                    <a:gd name="T30" fmla="*/ 61 w 314"/>
                    <a:gd name="T31" fmla="*/ 12 h 144"/>
                    <a:gd name="T32" fmla="*/ 61 w 314"/>
                    <a:gd name="T33" fmla="*/ 27 h 144"/>
                    <a:gd name="T34" fmla="*/ 54 w 314"/>
                    <a:gd name="T35" fmla="*/ 33 h 144"/>
                    <a:gd name="T36" fmla="*/ 28 w 314"/>
                    <a:gd name="T37" fmla="*/ 17 h 144"/>
                    <a:gd name="T38" fmla="*/ 33 w 314"/>
                    <a:gd name="T39" fmla="*/ 25 h 144"/>
                    <a:gd name="T40" fmla="*/ 36 w 314"/>
                    <a:gd name="T41" fmla="*/ 32 h 144"/>
                    <a:gd name="T42" fmla="*/ 19 w 314"/>
                    <a:gd name="T43" fmla="*/ 30 h 144"/>
                    <a:gd name="T44" fmla="*/ 29 w 314"/>
                    <a:gd name="T45" fmla="*/ 38 h 144"/>
                    <a:gd name="T46" fmla="*/ 13 w 314"/>
                    <a:gd name="T47" fmla="*/ 34 h 144"/>
                    <a:gd name="T48" fmla="*/ 19 w 314"/>
                    <a:gd name="T49" fmla="*/ 47 h 144"/>
                    <a:gd name="T50" fmla="*/ 3 w 314"/>
                    <a:gd name="T51" fmla="*/ 46 h 144"/>
                    <a:gd name="T52" fmla="*/ 34 w 314"/>
                    <a:gd name="T53" fmla="*/ 48 h 144"/>
                    <a:gd name="T54" fmla="*/ 81 w 314"/>
                    <a:gd name="T55" fmla="*/ 51 h 144"/>
                    <a:gd name="T56" fmla="*/ 74 w 314"/>
                    <a:gd name="T57" fmla="*/ 65 h 144"/>
                    <a:gd name="T58" fmla="*/ 69 w 314"/>
                    <a:gd name="T59" fmla="*/ 70 h 144"/>
                    <a:gd name="T60" fmla="*/ 53 w 314"/>
                    <a:gd name="T61" fmla="*/ 72 h 144"/>
                    <a:gd name="T62" fmla="*/ 46 w 314"/>
                    <a:gd name="T63" fmla="*/ 72 h 144"/>
                    <a:gd name="T64" fmla="*/ 42 w 314"/>
                    <a:gd name="T65" fmla="*/ 72 h 144"/>
                    <a:gd name="T66" fmla="*/ 39 w 314"/>
                    <a:gd name="T67" fmla="*/ 71 h 144"/>
                    <a:gd name="T68" fmla="*/ 25 w 314"/>
                    <a:gd name="T69" fmla="*/ 76 h 144"/>
                    <a:gd name="T70" fmla="*/ 14 w 314"/>
                    <a:gd name="T71" fmla="*/ 77 h 144"/>
                    <a:gd name="T72" fmla="*/ 61 w 314"/>
                    <a:gd name="T73" fmla="*/ 88 h 144"/>
                    <a:gd name="T74" fmla="*/ 66 w 314"/>
                    <a:gd name="T75" fmla="*/ 96 h 144"/>
                    <a:gd name="T76" fmla="*/ 69 w 314"/>
                    <a:gd name="T77" fmla="*/ 103 h 144"/>
                    <a:gd name="T78" fmla="*/ 63 w 314"/>
                    <a:gd name="T79" fmla="*/ 115 h 144"/>
                    <a:gd name="T80" fmla="*/ 52 w 314"/>
                    <a:gd name="T81" fmla="*/ 125 h 144"/>
                    <a:gd name="T82" fmla="*/ 116 w 314"/>
                    <a:gd name="T83" fmla="*/ 127 h 144"/>
                    <a:gd name="T84" fmla="*/ 163 w 314"/>
                    <a:gd name="T85" fmla="*/ 144 h 144"/>
                    <a:gd name="T86" fmla="*/ 183 w 314"/>
                    <a:gd name="T87" fmla="*/ 140 h 144"/>
                    <a:gd name="T88" fmla="*/ 239 w 314"/>
                    <a:gd name="T89" fmla="*/ 113 h 144"/>
                    <a:gd name="T90" fmla="*/ 266 w 314"/>
                    <a:gd name="T91" fmla="*/ 105 h 144"/>
                    <a:gd name="T92" fmla="*/ 283 w 314"/>
                    <a:gd name="T93" fmla="*/ 98 h 144"/>
                    <a:gd name="T94" fmla="*/ 293 w 314"/>
                    <a:gd name="T95" fmla="*/ 86 h 144"/>
                    <a:gd name="T96" fmla="*/ 299 w 314"/>
                    <a:gd name="T97" fmla="*/ 75 h 144"/>
                    <a:gd name="T98" fmla="*/ 302 w 314"/>
                    <a:gd name="T99" fmla="*/ 71 h 144"/>
                    <a:gd name="T100" fmla="*/ 293 w 314"/>
                    <a:gd name="T101" fmla="*/ 70 h 144"/>
                    <a:gd name="T102" fmla="*/ 303 w 314"/>
                    <a:gd name="T103" fmla="*/ 62 h 144"/>
                    <a:gd name="T104" fmla="*/ 312 w 314"/>
                    <a:gd name="T105" fmla="*/ 59 h 144"/>
                    <a:gd name="T106" fmla="*/ 307 w 314"/>
                    <a:gd name="T107" fmla="*/ 56 h 144"/>
                    <a:gd name="T108" fmla="*/ 292 w 314"/>
                    <a:gd name="T109" fmla="*/ 41 h 144"/>
                    <a:gd name="T110" fmla="*/ 289 w 314"/>
                    <a:gd name="T111" fmla="*/ 41 h 144"/>
                    <a:gd name="T112" fmla="*/ 277 w 314"/>
                    <a:gd name="T113" fmla="*/ 37 h 144"/>
                    <a:gd name="T114" fmla="*/ 269 w 314"/>
                    <a:gd name="T115" fmla="*/ 18 h 144"/>
                    <a:gd name="T116" fmla="*/ 281 w 314"/>
                    <a:gd name="T117" fmla="*/ 7 h 144"/>
                    <a:gd name="T118" fmla="*/ 250 w 314"/>
                    <a:gd name="T119"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4" h="144">
                      <a:moveTo>
                        <a:pt x="239" y="0"/>
                      </a:moveTo>
                      <a:cubicBezTo>
                        <a:pt x="237" y="0"/>
                        <a:pt x="234" y="1"/>
                        <a:pt x="231" y="1"/>
                      </a:cubicBezTo>
                      <a:cubicBezTo>
                        <a:pt x="227" y="1"/>
                        <a:pt x="226" y="2"/>
                        <a:pt x="228" y="7"/>
                      </a:cubicBezTo>
                      <a:cubicBezTo>
                        <a:pt x="229" y="9"/>
                        <a:pt x="231" y="11"/>
                        <a:pt x="231" y="12"/>
                      </a:cubicBezTo>
                      <a:cubicBezTo>
                        <a:pt x="231" y="15"/>
                        <a:pt x="227" y="16"/>
                        <a:pt x="230" y="18"/>
                      </a:cubicBezTo>
                      <a:cubicBezTo>
                        <a:pt x="225" y="18"/>
                        <a:pt x="219" y="17"/>
                        <a:pt x="214" y="16"/>
                      </a:cubicBezTo>
                      <a:cubicBezTo>
                        <a:pt x="210" y="18"/>
                        <a:pt x="201" y="24"/>
                        <a:pt x="196" y="24"/>
                      </a:cubicBezTo>
                      <a:cubicBezTo>
                        <a:pt x="196" y="24"/>
                        <a:pt x="195" y="24"/>
                        <a:pt x="195" y="24"/>
                      </a:cubicBezTo>
                      <a:cubicBezTo>
                        <a:pt x="193" y="23"/>
                        <a:pt x="192" y="21"/>
                        <a:pt x="190" y="20"/>
                      </a:cubicBezTo>
                      <a:cubicBezTo>
                        <a:pt x="188" y="18"/>
                        <a:pt x="183" y="17"/>
                        <a:pt x="179" y="17"/>
                      </a:cubicBezTo>
                      <a:cubicBezTo>
                        <a:pt x="179" y="17"/>
                        <a:pt x="178" y="17"/>
                        <a:pt x="178" y="17"/>
                      </a:cubicBezTo>
                      <a:cubicBezTo>
                        <a:pt x="179" y="25"/>
                        <a:pt x="182" y="32"/>
                        <a:pt x="184" y="40"/>
                      </a:cubicBezTo>
                      <a:cubicBezTo>
                        <a:pt x="179" y="32"/>
                        <a:pt x="174" y="26"/>
                        <a:pt x="169" y="20"/>
                      </a:cubicBezTo>
                      <a:cubicBezTo>
                        <a:pt x="167" y="18"/>
                        <a:pt x="164" y="17"/>
                        <a:pt x="162" y="17"/>
                      </a:cubicBezTo>
                      <a:cubicBezTo>
                        <a:pt x="160" y="17"/>
                        <a:pt x="158" y="17"/>
                        <a:pt x="155" y="18"/>
                      </a:cubicBezTo>
                      <a:cubicBezTo>
                        <a:pt x="153" y="18"/>
                        <a:pt x="148" y="21"/>
                        <a:pt x="146" y="22"/>
                      </a:cubicBezTo>
                      <a:cubicBezTo>
                        <a:pt x="144" y="24"/>
                        <a:pt x="146" y="24"/>
                        <a:pt x="145" y="25"/>
                      </a:cubicBezTo>
                      <a:cubicBezTo>
                        <a:pt x="145" y="26"/>
                        <a:pt x="143" y="26"/>
                        <a:pt x="143" y="27"/>
                      </a:cubicBezTo>
                      <a:cubicBezTo>
                        <a:pt x="143" y="27"/>
                        <a:pt x="145" y="30"/>
                        <a:pt x="146" y="31"/>
                      </a:cubicBezTo>
                      <a:cubicBezTo>
                        <a:pt x="146" y="32"/>
                        <a:pt x="146" y="34"/>
                        <a:pt x="146" y="35"/>
                      </a:cubicBezTo>
                      <a:cubicBezTo>
                        <a:pt x="145" y="37"/>
                        <a:pt x="145" y="37"/>
                        <a:pt x="144" y="37"/>
                      </a:cubicBezTo>
                      <a:cubicBezTo>
                        <a:pt x="143" y="37"/>
                        <a:pt x="141" y="34"/>
                        <a:pt x="139" y="33"/>
                      </a:cubicBezTo>
                      <a:cubicBezTo>
                        <a:pt x="135" y="29"/>
                        <a:pt x="131" y="25"/>
                        <a:pt x="127" y="21"/>
                      </a:cubicBezTo>
                      <a:cubicBezTo>
                        <a:pt x="126" y="20"/>
                        <a:pt x="125" y="20"/>
                        <a:pt x="124" y="20"/>
                      </a:cubicBezTo>
                      <a:cubicBezTo>
                        <a:pt x="123" y="20"/>
                        <a:pt x="122" y="20"/>
                        <a:pt x="121" y="20"/>
                      </a:cubicBezTo>
                      <a:cubicBezTo>
                        <a:pt x="117" y="21"/>
                        <a:pt x="117" y="21"/>
                        <a:pt x="118" y="25"/>
                      </a:cubicBezTo>
                      <a:cubicBezTo>
                        <a:pt x="119" y="28"/>
                        <a:pt x="121" y="33"/>
                        <a:pt x="121" y="36"/>
                      </a:cubicBezTo>
                      <a:cubicBezTo>
                        <a:pt x="121" y="40"/>
                        <a:pt x="118" y="45"/>
                        <a:pt x="116" y="49"/>
                      </a:cubicBezTo>
                      <a:cubicBezTo>
                        <a:pt x="114" y="48"/>
                        <a:pt x="113" y="45"/>
                        <a:pt x="111" y="45"/>
                      </a:cubicBezTo>
                      <a:cubicBezTo>
                        <a:pt x="111" y="45"/>
                        <a:pt x="111" y="45"/>
                        <a:pt x="111" y="45"/>
                      </a:cubicBezTo>
                      <a:cubicBezTo>
                        <a:pt x="111" y="42"/>
                        <a:pt x="112" y="40"/>
                        <a:pt x="110" y="40"/>
                      </a:cubicBezTo>
                      <a:cubicBezTo>
                        <a:pt x="109" y="40"/>
                        <a:pt x="109" y="40"/>
                        <a:pt x="108" y="40"/>
                      </a:cubicBezTo>
                      <a:cubicBezTo>
                        <a:pt x="107" y="40"/>
                        <a:pt x="105" y="42"/>
                        <a:pt x="104" y="43"/>
                      </a:cubicBezTo>
                      <a:cubicBezTo>
                        <a:pt x="101" y="46"/>
                        <a:pt x="104" y="51"/>
                        <a:pt x="100" y="53"/>
                      </a:cubicBezTo>
                      <a:cubicBezTo>
                        <a:pt x="100" y="52"/>
                        <a:pt x="99" y="51"/>
                        <a:pt x="98" y="50"/>
                      </a:cubicBezTo>
                      <a:cubicBezTo>
                        <a:pt x="97" y="55"/>
                        <a:pt x="98" y="60"/>
                        <a:pt x="98" y="64"/>
                      </a:cubicBezTo>
                      <a:cubicBezTo>
                        <a:pt x="95" y="60"/>
                        <a:pt x="92" y="55"/>
                        <a:pt x="88" y="52"/>
                      </a:cubicBezTo>
                      <a:cubicBezTo>
                        <a:pt x="86" y="50"/>
                        <a:pt x="90" y="49"/>
                        <a:pt x="91" y="48"/>
                      </a:cubicBezTo>
                      <a:cubicBezTo>
                        <a:pt x="92" y="46"/>
                        <a:pt x="92" y="45"/>
                        <a:pt x="90" y="45"/>
                      </a:cubicBezTo>
                      <a:cubicBezTo>
                        <a:pt x="89" y="45"/>
                        <a:pt x="88" y="45"/>
                        <a:pt x="87" y="46"/>
                      </a:cubicBezTo>
                      <a:cubicBezTo>
                        <a:pt x="91" y="41"/>
                        <a:pt x="86" y="43"/>
                        <a:pt x="83" y="42"/>
                      </a:cubicBezTo>
                      <a:cubicBezTo>
                        <a:pt x="81" y="41"/>
                        <a:pt x="80" y="38"/>
                        <a:pt x="79" y="36"/>
                      </a:cubicBezTo>
                      <a:cubicBezTo>
                        <a:pt x="79" y="36"/>
                        <a:pt x="79" y="36"/>
                        <a:pt x="79" y="36"/>
                      </a:cubicBezTo>
                      <a:cubicBezTo>
                        <a:pt x="80" y="36"/>
                        <a:pt x="82" y="37"/>
                        <a:pt x="83" y="38"/>
                      </a:cubicBezTo>
                      <a:cubicBezTo>
                        <a:pt x="84" y="39"/>
                        <a:pt x="85" y="40"/>
                        <a:pt x="87" y="40"/>
                      </a:cubicBezTo>
                      <a:cubicBezTo>
                        <a:pt x="88" y="40"/>
                        <a:pt x="89" y="39"/>
                        <a:pt x="90" y="38"/>
                      </a:cubicBezTo>
                      <a:cubicBezTo>
                        <a:pt x="90" y="37"/>
                        <a:pt x="92" y="34"/>
                        <a:pt x="92" y="32"/>
                      </a:cubicBezTo>
                      <a:cubicBezTo>
                        <a:pt x="93" y="27"/>
                        <a:pt x="88" y="28"/>
                        <a:pt x="84" y="28"/>
                      </a:cubicBezTo>
                      <a:cubicBezTo>
                        <a:pt x="86" y="26"/>
                        <a:pt x="89" y="26"/>
                        <a:pt x="91" y="25"/>
                      </a:cubicBezTo>
                      <a:cubicBezTo>
                        <a:pt x="86" y="24"/>
                        <a:pt x="82" y="25"/>
                        <a:pt x="79" y="21"/>
                      </a:cubicBezTo>
                      <a:cubicBezTo>
                        <a:pt x="74" y="14"/>
                        <a:pt x="71" y="11"/>
                        <a:pt x="65" y="7"/>
                      </a:cubicBezTo>
                      <a:cubicBezTo>
                        <a:pt x="62" y="5"/>
                        <a:pt x="61" y="4"/>
                        <a:pt x="58" y="3"/>
                      </a:cubicBezTo>
                      <a:cubicBezTo>
                        <a:pt x="57" y="3"/>
                        <a:pt x="56" y="3"/>
                        <a:pt x="54" y="3"/>
                      </a:cubicBezTo>
                      <a:cubicBezTo>
                        <a:pt x="50" y="3"/>
                        <a:pt x="45" y="4"/>
                        <a:pt x="40" y="4"/>
                      </a:cubicBezTo>
                      <a:cubicBezTo>
                        <a:pt x="43" y="7"/>
                        <a:pt x="39" y="11"/>
                        <a:pt x="44" y="11"/>
                      </a:cubicBezTo>
                      <a:cubicBezTo>
                        <a:pt x="44" y="11"/>
                        <a:pt x="44" y="11"/>
                        <a:pt x="44" y="11"/>
                      </a:cubicBezTo>
                      <a:cubicBezTo>
                        <a:pt x="46" y="11"/>
                        <a:pt x="47" y="9"/>
                        <a:pt x="49" y="8"/>
                      </a:cubicBezTo>
                      <a:cubicBezTo>
                        <a:pt x="48" y="9"/>
                        <a:pt x="48" y="10"/>
                        <a:pt x="49" y="10"/>
                      </a:cubicBezTo>
                      <a:cubicBezTo>
                        <a:pt x="50" y="10"/>
                        <a:pt x="54" y="8"/>
                        <a:pt x="54" y="8"/>
                      </a:cubicBezTo>
                      <a:cubicBezTo>
                        <a:pt x="53" y="10"/>
                        <a:pt x="51" y="11"/>
                        <a:pt x="54" y="11"/>
                      </a:cubicBezTo>
                      <a:cubicBezTo>
                        <a:pt x="54" y="11"/>
                        <a:pt x="55" y="11"/>
                        <a:pt x="55" y="11"/>
                      </a:cubicBezTo>
                      <a:cubicBezTo>
                        <a:pt x="56" y="11"/>
                        <a:pt x="58" y="10"/>
                        <a:pt x="58" y="10"/>
                      </a:cubicBezTo>
                      <a:cubicBezTo>
                        <a:pt x="59" y="10"/>
                        <a:pt x="59" y="11"/>
                        <a:pt x="57" y="12"/>
                      </a:cubicBezTo>
                      <a:cubicBezTo>
                        <a:pt x="59" y="12"/>
                        <a:pt x="60" y="12"/>
                        <a:pt x="61" y="12"/>
                      </a:cubicBezTo>
                      <a:cubicBezTo>
                        <a:pt x="58" y="15"/>
                        <a:pt x="54" y="16"/>
                        <a:pt x="50" y="19"/>
                      </a:cubicBezTo>
                      <a:cubicBezTo>
                        <a:pt x="54" y="19"/>
                        <a:pt x="56" y="21"/>
                        <a:pt x="59" y="21"/>
                      </a:cubicBezTo>
                      <a:cubicBezTo>
                        <a:pt x="60" y="21"/>
                        <a:pt x="60" y="21"/>
                        <a:pt x="61" y="21"/>
                      </a:cubicBezTo>
                      <a:cubicBezTo>
                        <a:pt x="58" y="24"/>
                        <a:pt x="60" y="24"/>
                        <a:pt x="61" y="27"/>
                      </a:cubicBezTo>
                      <a:cubicBezTo>
                        <a:pt x="61" y="29"/>
                        <a:pt x="61" y="30"/>
                        <a:pt x="60" y="32"/>
                      </a:cubicBezTo>
                      <a:cubicBezTo>
                        <a:pt x="59" y="30"/>
                        <a:pt x="58" y="28"/>
                        <a:pt x="57" y="28"/>
                      </a:cubicBezTo>
                      <a:cubicBezTo>
                        <a:pt x="57" y="28"/>
                        <a:pt x="56" y="28"/>
                        <a:pt x="55" y="30"/>
                      </a:cubicBezTo>
                      <a:cubicBezTo>
                        <a:pt x="55" y="31"/>
                        <a:pt x="54" y="32"/>
                        <a:pt x="54" y="33"/>
                      </a:cubicBezTo>
                      <a:cubicBezTo>
                        <a:pt x="55" y="27"/>
                        <a:pt x="56" y="27"/>
                        <a:pt x="53" y="23"/>
                      </a:cubicBezTo>
                      <a:cubicBezTo>
                        <a:pt x="51" y="25"/>
                        <a:pt x="50" y="27"/>
                        <a:pt x="49" y="29"/>
                      </a:cubicBezTo>
                      <a:cubicBezTo>
                        <a:pt x="47" y="26"/>
                        <a:pt x="46" y="22"/>
                        <a:pt x="43" y="20"/>
                      </a:cubicBezTo>
                      <a:cubicBezTo>
                        <a:pt x="39" y="18"/>
                        <a:pt x="32" y="18"/>
                        <a:pt x="28" y="17"/>
                      </a:cubicBezTo>
                      <a:cubicBezTo>
                        <a:pt x="29" y="18"/>
                        <a:pt x="31" y="19"/>
                        <a:pt x="32" y="20"/>
                      </a:cubicBezTo>
                      <a:cubicBezTo>
                        <a:pt x="30" y="19"/>
                        <a:pt x="29" y="19"/>
                        <a:pt x="28" y="19"/>
                      </a:cubicBezTo>
                      <a:cubicBezTo>
                        <a:pt x="27" y="19"/>
                        <a:pt x="26" y="19"/>
                        <a:pt x="25" y="19"/>
                      </a:cubicBezTo>
                      <a:cubicBezTo>
                        <a:pt x="27" y="22"/>
                        <a:pt x="31" y="22"/>
                        <a:pt x="33" y="25"/>
                      </a:cubicBezTo>
                      <a:cubicBezTo>
                        <a:pt x="31" y="25"/>
                        <a:pt x="26" y="22"/>
                        <a:pt x="23" y="22"/>
                      </a:cubicBezTo>
                      <a:cubicBezTo>
                        <a:pt x="22" y="22"/>
                        <a:pt x="21" y="22"/>
                        <a:pt x="21" y="23"/>
                      </a:cubicBezTo>
                      <a:cubicBezTo>
                        <a:pt x="20" y="26"/>
                        <a:pt x="28" y="29"/>
                        <a:pt x="31" y="30"/>
                      </a:cubicBezTo>
                      <a:cubicBezTo>
                        <a:pt x="32" y="31"/>
                        <a:pt x="34" y="31"/>
                        <a:pt x="36" y="32"/>
                      </a:cubicBezTo>
                      <a:cubicBezTo>
                        <a:pt x="33" y="32"/>
                        <a:pt x="30" y="32"/>
                        <a:pt x="27" y="31"/>
                      </a:cubicBezTo>
                      <a:cubicBezTo>
                        <a:pt x="26" y="31"/>
                        <a:pt x="24" y="29"/>
                        <a:pt x="22" y="29"/>
                      </a:cubicBezTo>
                      <a:cubicBezTo>
                        <a:pt x="22" y="29"/>
                        <a:pt x="21" y="29"/>
                        <a:pt x="20" y="29"/>
                      </a:cubicBezTo>
                      <a:cubicBezTo>
                        <a:pt x="20" y="29"/>
                        <a:pt x="20" y="29"/>
                        <a:pt x="19" y="30"/>
                      </a:cubicBezTo>
                      <a:cubicBezTo>
                        <a:pt x="18" y="32"/>
                        <a:pt x="26" y="34"/>
                        <a:pt x="28" y="34"/>
                      </a:cubicBezTo>
                      <a:cubicBezTo>
                        <a:pt x="30" y="35"/>
                        <a:pt x="32" y="36"/>
                        <a:pt x="34" y="36"/>
                      </a:cubicBezTo>
                      <a:cubicBezTo>
                        <a:pt x="35" y="36"/>
                        <a:pt x="36" y="36"/>
                        <a:pt x="38" y="35"/>
                      </a:cubicBezTo>
                      <a:cubicBezTo>
                        <a:pt x="35" y="37"/>
                        <a:pt x="32" y="37"/>
                        <a:pt x="29" y="38"/>
                      </a:cubicBezTo>
                      <a:cubicBezTo>
                        <a:pt x="28" y="39"/>
                        <a:pt x="28" y="43"/>
                        <a:pt x="27" y="43"/>
                      </a:cubicBezTo>
                      <a:cubicBezTo>
                        <a:pt x="27" y="43"/>
                        <a:pt x="27" y="42"/>
                        <a:pt x="26" y="41"/>
                      </a:cubicBezTo>
                      <a:cubicBezTo>
                        <a:pt x="25" y="39"/>
                        <a:pt x="24" y="39"/>
                        <a:pt x="21" y="37"/>
                      </a:cubicBezTo>
                      <a:cubicBezTo>
                        <a:pt x="18" y="36"/>
                        <a:pt x="16" y="35"/>
                        <a:pt x="13" y="34"/>
                      </a:cubicBezTo>
                      <a:cubicBezTo>
                        <a:pt x="11" y="41"/>
                        <a:pt x="17" y="40"/>
                        <a:pt x="21" y="43"/>
                      </a:cubicBezTo>
                      <a:cubicBezTo>
                        <a:pt x="18" y="43"/>
                        <a:pt x="16" y="42"/>
                        <a:pt x="13" y="42"/>
                      </a:cubicBezTo>
                      <a:cubicBezTo>
                        <a:pt x="14" y="44"/>
                        <a:pt x="17" y="46"/>
                        <a:pt x="20" y="47"/>
                      </a:cubicBezTo>
                      <a:cubicBezTo>
                        <a:pt x="19" y="47"/>
                        <a:pt x="19" y="47"/>
                        <a:pt x="19" y="47"/>
                      </a:cubicBezTo>
                      <a:cubicBezTo>
                        <a:pt x="17" y="47"/>
                        <a:pt x="15" y="46"/>
                        <a:pt x="13" y="45"/>
                      </a:cubicBezTo>
                      <a:cubicBezTo>
                        <a:pt x="11" y="44"/>
                        <a:pt x="9" y="42"/>
                        <a:pt x="7" y="42"/>
                      </a:cubicBezTo>
                      <a:cubicBezTo>
                        <a:pt x="6" y="42"/>
                        <a:pt x="6" y="43"/>
                        <a:pt x="5" y="43"/>
                      </a:cubicBezTo>
                      <a:cubicBezTo>
                        <a:pt x="5" y="43"/>
                        <a:pt x="4" y="45"/>
                        <a:pt x="3" y="46"/>
                      </a:cubicBezTo>
                      <a:cubicBezTo>
                        <a:pt x="2" y="47"/>
                        <a:pt x="1" y="48"/>
                        <a:pt x="0" y="48"/>
                      </a:cubicBezTo>
                      <a:cubicBezTo>
                        <a:pt x="5" y="50"/>
                        <a:pt x="12" y="52"/>
                        <a:pt x="17" y="53"/>
                      </a:cubicBezTo>
                      <a:cubicBezTo>
                        <a:pt x="17" y="53"/>
                        <a:pt x="17" y="53"/>
                        <a:pt x="18" y="53"/>
                      </a:cubicBezTo>
                      <a:cubicBezTo>
                        <a:pt x="23" y="53"/>
                        <a:pt x="29" y="49"/>
                        <a:pt x="34" y="48"/>
                      </a:cubicBezTo>
                      <a:cubicBezTo>
                        <a:pt x="38" y="47"/>
                        <a:pt x="42" y="44"/>
                        <a:pt x="45" y="44"/>
                      </a:cubicBezTo>
                      <a:cubicBezTo>
                        <a:pt x="46" y="44"/>
                        <a:pt x="46" y="44"/>
                        <a:pt x="46" y="44"/>
                      </a:cubicBezTo>
                      <a:cubicBezTo>
                        <a:pt x="49" y="44"/>
                        <a:pt x="52" y="45"/>
                        <a:pt x="55" y="46"/>
                      </a:cubicBezTo>
                      <a:cubicBezTo>
                        <a:pt x="63" y="47"/>
                        <a:pt x="72" y="49"/>
                        <a:pt x="81" y="51"/>
                      </a:cubicBezTo>
                      <a:cubicBezTo>
                        <a:pt x="75" y="52"/>
                        <a:pt x="72" y="54"/>
                        <a:pt x="68" y="56"/>
                      </a:cubicBezTo>
                      <a:cubicBezTo>
                        <a:pt x="64" y="58"/>
                        <a:pt x="59" y="59"/>
                        <a:pt x="57" y="62"/>
                      </a:cubicBezTo>
                      <a:cubicBezTo>
                        <a:pt x="60" y="63"/>
                        <a:pt x="67" y="66"/>
                        <a:pt x="71" y="66"/>
                      </a:cubicBezTo>
                      <a:cubicBezTo>
                        <a:pt x="72" y="66"/>
                        <a:pt x="73" y="65"/>
                        <a:pt x="74" y="65"/>
                      </a:cubicBezTo>
                      <a:cubicBezTo>
                        <a:pt x="75" y="65"/>
                        <a:pt x="76" y="63"/>
                        <a:pt x="77" y="63"/>
                      </a:cubicBezTo>
                      <a:cubicBezTo>
                        <a:pt x="77" y="63"/>
                        <a:pt x="77" y="63"/>
                        <a:pt x="78" y="63"/>
                      </a:cubicBezTo>
                      <a:cubicBezTo>
                        <a:pt x="81" y="63"/>
                        <a:pt x="78" y="69"/>
                        <a:pt x="77" y="69"/>
                      </a:cubicBezTo>
                      <a:cubicBezTo>
                        <a:pt x="74" y="70"/>
                        <a:pt x="72" y="70"/>
                        <a:pt x="69" y="70"/>
                      </a:cubicBezTo>
                      <a:cubicBezTo>
                        <a:pt x="68" y="70"/>
                        <a:pt x="67" y="70"/>
                        <a:pt x="66" y="70"/>
                      </a:cubicBezTo>
                      <a:cubicBezTo>
                        <a:pt x="64" y="70"/>
                        <a:pt x="62" y="69"/>
                        <a:pt x="60" y="69"/>
                      </a:cubicBezTo>
                      <a:cubicBezTo>
                        <a:pt x="59" y="69"/>
                        <a:pt x="58" y="69"/>
                        <a:pt x="58" y="69"/>
                      </a:cubicBezTo>
                      <a:cubicBezTo>
                        <a:pt x="56" y="70"/>
                        <a:pt x="54" y="72"/>
                        <a:pt x="53" y="72"/>
                      </a:cubicBezTo>
                      <a:cubicBezTo>
                        <a:pt x="53" y="72"/>
                        <a:pt x="53" y="72"/>
                        <a:pt x="53" y="72"/>
                      </a:cubicBezTo>
                      <a:cubicBezTo>
                        <a:pt x="53" y="72"/>
                        <a:pt x="52" y="71"/>
                        <a:pt x="51" y="70"/>
                      </a:cubicBezTo>
                      <a:cubicBezTo>
                        <a:pt x="51" y="70"/>
                        <a:pt x="51" y="69"/>
                        <a:pt x="51" y="68"/>
                      </a:cubicBezTo>
                      <a:cubicBezTo>
                        <a:pt x="50" y="69"/>
                        <a:pt x="47" y="71"/>
                        <a:pt x="46" y="72"/>
                      </a:cubicBezTo>
                      <a:cubicBezTo>
                        <a:pt x="46" y="72"/>
                        <a:pt x="46" y="72"/>
                        <a:pt x="45" y="72"/>
                      </a:cubicBezTo>
                      <a:cubicBezTo>
                        <a:pt x="45" y="72"/>
                        <a:pt x="45" y="72"/>
                        <a:pt x="45" y="72"/>
                      </a:cubicBezTo>
                      <a:cubicBezTo>
                        <a:pt x="44" y="71"/>
                        <a:pt x="44" y="71"/>
                        <a:pt x="43" y="71"/>
                      </a:cubicBezTo>
                      <a:cubicBezTo>
                        <a:pt x="43" y="71"/>
                        <a:pt x="43" y="71"/>
                        <a:pt x="42" y="72"/>
                      </a:cubicBezTo>
                      <a:cubicBezTo>
                        <a:pt x="42" y="72"/>
                        <a:pt x="40" y="74"/>
                        <a:pt x="40" y="74"/>
                      </a:cubicBezTo>
                      <a:cubicBezTo>
                        <a:pt x="40" y="74"/>
                        <a:pt x="40" y="74"/>
                        <a:pt x="40" y="74"/>
                      </a:cubicBezTo>
                      <a:cubicBezTo>
                        <a:pt x="38" y="74"/>
                        <a:pt x="41" y="72"/>
                        <a:pt x="39" y="71"/>
                      </a:cubicBezTo>
                      <a:cubicBezTo>
                        <a:pt x="39" y="71"/>
                        <a:pt x="39" y="71"/>
                        <a:pt x="39" y="71"/>
                      </a:cubicBezTo>
                      <a:cubicBezTo>
                        <a:pt x="37" y="71"/>
                        <a:pt x="36" y="74"/>
                        <a:pt x="35" y="75"/>
                      </a:cubicBezTo>
                      <a:cubicBezTo>
                        <a:pt x="34" y="74"/>
                        <a:pt x="34" y="73"/>
                        <a:pt x="33" y="73"/>
                      </a:cubicBezTo>
                      <a:cubicBezTo>
                        <a:pt x="31" y="73"/>
                        <a:pt x="28" y="76"/>
                        <a:pt x="25" y="76"/>
                      </a:cubicBezTo>
                      <a:cubicBezTo>
                        <a:pt x="25" y="76"/>
                        <a:pt x="25" y="76"/>
                        <a:pt x="25" y="76"/>
                      </a:cubicBezTo>
                      <a:cubicBezTo>
                        <a:pt x="24" y="76"/>
                        <a:pt x="23" y="76"/>
                        <a:pt x="22" y="76"/>
                      </a:cubicBezTo>
                      <a:cubicBezTo>
                        <a:pt x="21" y="75"/>
                        <a:pt x="20" y="75"/>
                        <a:pt x="19" y="75"/>
                      </a:cubicBezTo>
                      <a:cubicBezTo>
                        <a:pt x="19" y="75"/>
                        <a:pt x="19" y="75"/>
                        <a:pt x="19" y="75"/>
                      </a:cubicBezTo>
                      <a:cubicBezTo>
                        <a:pt x="17" y="75"/>
                        <a:pt x="16" y="76"/>
                        <a:pt x="14" y="77"/>
                      </a:cubicBezTo>
                      <a:cubicBezTo>
                        <a:pt x="16" y="83"/>
                        <a:pt x="18" y="84"/>
                        <a:pt x="24" y="84"/>
                      </a:cubicBezTo>
                      <a:cubicBezTo>
                        <a:pt x="24" y="84"/>
                        <a:pt x="24" y="84"/>
                        <a:pt x="24" y="84"/>
                      </a:cubicBezTo>
                      <a:cubicBezTo>
                        <a:pt x="38" y="84"/>
                        <a:pt x="53" y="84"/>
                        <a:pt x="67" y="84"/>
                      </a:cubicBezTo>
                      <a:cubicBezTo>
                        <a:pt x="65" y="85"/>
                        <a:pt x="63" y="88"/>
                        <a:pt x="61" y="88"/>
                      </a:cubicBezTo>
                      <a:cubicBezTo>
                        <a:pt x="61" y="88"/>
                        <a:pt x="60" y="88"/>
                        <a:pt x="60" y="88"/>
                      </a:cubicBezTo>
                      <a:cubicBezTo>
                        <a:pt x="61" y="89"/>
                        <a:pt x="61" y="90"/>
                        <a:pt x="62" y="90"/>
                      </a:cubicBezTo>
                      <a:cubicBezTo>
                        <a:pt x="63" y="92"/>
                        <a:pt x="64" y="92"/>
                        <a:pt x="66" y="93"/>
                      </a:cubicBezTo>
                      <a:cubicBezTo>
                        <a:pt x="66" y="94"/>
                        <a:pt x="64" y="95"/>
                        <a:pt x="66" y="96"/>
                      </a:cubicBezTo>
                      <a:cubicBezTo>
                        <a:pt x="67" y="96"/>
                        <a:pt x="67" y="96"/>
                        <a:pt x="67" y="96"/>
                      </a:cubicBezTo>
                      <a:cubicBezTo>
                        <a:pt x="70" y="96"/>
                        <a:pt x="76" y="92"/>
                        <a:pt x="78" y="91"/>
                      </a:cubicBezTo>
                      <a:cubicBezTo>
                        <a:pt x="77" y="94"/>
                        <a:pt x="74" y="94"/>
                        <a:pt x="72" y="96"/>
                      </a:cubicBezTo>
                      <a:cubicBezTo>
                        <a:pt x="71" y="98"/>
                        <a:pt x="72" y="102"/>
                        <a:pt x="69" y="103"/>
                      </a:cubicBezTo>
                      <a:cubicBezTo>
                        <a:pt x="73" y="102"/>
                        <a:pt x="77" y="102"/>
                        <a:pt x="81" y="101"/>
                      </a:cubicBezTo>
                      <a:cubicBezTo>
                        <a:pt x="78" y="102"/>
                        <a:pt x="76" y="105"/>
                        <a:pt x="74" y="107"/>
                      </a:cubicBezTo>
                      <a:cubicBezTo>
                        <a:pt x="76" y="108"/>
                        <a:pt x="78" y="109"/>
                        <a:pt x="79" y="110"/>
                      </a:cubicBezTo>
                      <a:cubicBezTo>
                        <a:pt x="74" y="111"/>
                        <a:pt x="69" y="113"/>
                        <a:pt x="63" y="115"/>
                      </a:cubicBezTo>
                      <a:cubicBezTo>
                        <a:pt x="62" y="116"/>
                        <a:pt x="59" y="117"/>
                        <a:pt x="57" y="117"/>
                      </a:cubicBezTo>
                      <a:cubicBezTo>
                        <a:pt x="57" y="117"/>
                        <a:pt x="56" y="117"/>
                        <a:pt x="56" y="117"/>
                      </a:cubicBezTo>
                      <a:cubicBezTo>
                        <a:pt x="55" y="117"/>
                        <a:pt x="54" y="114"/>
                        <a:pt x="53" y="114"/>
                      </a:cubicBezTo>
                      <a:cubicBezTo>
                        <a:pt x="52" y="117"/>
                        <a:pt x="52" y="121"/>
                        <a:pt x="52" y="125"/>
                      </a:cubicBezTo>
                      <a:cubicBezTo>
                        <a:pt x="71" y="125"/>
                        <a:pt x="90" y="124"/>
                        <a:pt x="109" y="123"/>
                      </a:cubicBezTo>
                      <a:cubicBezTo>
                        <a:pt x="108" y="125"/>
                        <a:pt x="109" y="127"/>
                        <a:pt x="107" y="128"/>
                      </a:cubicBezTo>
                      <a:cubicBezTo>
                        <a:pt x="108" y="129"/>
                        <a:pt x="109" y="129"/>
                        <a:pt x="110" y="129"/>
                      </a:cubicBezTo>
                      <a:cubicBezTo>
                        <a:pt x="112" y="129"/>
                        <a:pt x="114" y="128"/>
                        <a:pt x="116" y="127"/>
                      </a:cubicBezTo>
                      <a:cubicBezTo>
                        <a:pt x="113" y="130"/>
                        <a:pt x="112" y="130"/>
                        <a:pt x="116" y="133"/>
                      </a:cubicBezTo>
                      <a:cubicBezTo>
                        <a:pt x="120" y="137"/>
                        <a:pt x="124" y="138"/>
                        <a:pt x="129" y="139"/>
                      </a:cubicBezTo>
                      <a:cubicBezTo>
                        <a:pt x="140" y="141"/>
                        <a:pt x="150" y="143"/>
                        <a:pt x="160" y="144"/>
                      </a:cubicBezTo>
                      <a:cubicBezTo>
                        <a:pt x="161" y="144"/>
                        <a:pt x="162" y="144"/>
                        <a:pt x="163" y="144"/>
                      </a:cubicBezTo>
                      <a:cubicBezTo>
                        <a:pt x="169" y="144"/>
                        <a:pt x="174" y="142"/>
                        <a:pt x="180" y="142"/>
                      </a:cubicBezTo>
                      <a:cubicBezTo>
                        <a:pt x="179" y="140"/>
                        <a:pt x="177" y="140"/>
                        <a:pt x="177" y="138"/>
                      </a:cubicBezTo>
                      <a:cubicBezTo>
                        <a:pt x="179" y="140"/>
                        <a:pt x="179" y="141"/>
                        <a:pt x="181" y="141"/>
                      </a:cubicBezTo>
                      <a:cubicBezTo>
                        <a:pt x="181" y="141"/>
                        <a:pt x="182" y="141"/>
                        <a:pt x="183" y="140"/>
                      </a:cubicBezTo>
                      <a:cubicBezTo>
                        <a:pt x="185" y="138"/>
                        <a:pt x="186" y="134"/>
                        <a:pt x="187" y="132"/>
                      </a:cubicBezTo>
                      <a:cubicBezTo>
                        <a:pt x="191" y="126"/>
                        <a:pt x="204" y="128"/>
                        <a:pt x="210" y="127"/>
                      </a:cubicBezTo>
                      <a:cubicBezTo>
                        <a:pt x="216" y="126"/>
                        <a:pt x="220" y="126"/>
                        <a:pt x="226" y="122"/>
                      </a:cubicBezTo>
                      <a:cubicBezTo>
                        <a:pt x="230" y="119"/>
                        <a:pt x="235" y="116"/>
                        <a:pt x="239" y="113"/>
                      </a:cubicBezTo>
                      <a:cubicBezTo>
                        <a:pt x="245" y="109"/>
                        <a:pt x="257" y="107"/>
                        <a:pt x="260" y="102"/>
                      </a:cubicBezTo>
                      <a:cubicBezTo>
                        <a:pt x="261" y="103"/>
                        <a:pt x="265" y="105"/>
                        <a:pt x="266" y="105"/>
                      </a:cubicBezTo>
                      <a:cubicBezTo>
                        <a:pt x="266" y="105"/>
                        <a:pt x="266" y="105"/>
                        <a:pt x="266" y="105"/>
                      </a:cubicBezTo>
                      <a:cubicBezTo>
                        <a:pt x="266" y="105"/>
                        <a:pt x="266" y="105"/>
                        <a:pt x="266" y="105"/>
                      </a:cubicBezTo>
                      <a:cubicBezTo>
                        <a:pt x="267" y="105"/>
                        <a:pt x="268" y="105"/>
                        <a:pt x="268" y="105"/>
                      </a:cubicBezTo>
                      <a:cubicBezTo>
                        <a:pt x="269" y="106"/>
                        <a:pt x="270" y="106"/>
                        <a:pt x="271" y="106"/>
                      </a:cubicBezTo>
                      <a:cubicBezTo>
                        <a:pt x="271" y="106"/>
                        <a:pt x="271" y="106"/>
                        <a:pt x="272" y="106"/>
                      </a:cubicBezTo>
                      <a:cubicBezTo>
                        <a:pt x="276" y="105"/>
                        <a:pt x="280" y="100"/>
                        <a:pt x="283" y="98"/>
                      </a:cubicBezTo>
                      <a:cubicBezTo>
                        <a:pt x="286" y="96"/>
                        <a:pt x="283" y="93"/>
                        <a:pt x="283" y="91"/>
                      </a:cubicBezTo>
                      <a:cubicBezTo>
                        <a:pt x="283" y="90"/>
                        <a:pt x="284" y="89"/>
                        <a:pt x="286" y="87"/>
                      </a:cubicBezTo>
                      <a:cubicBezTo>
                        <a:pt x="289" y="83"/>
                        <a:pt x="287" y="85"/>
                        <a:pt x="286" y="82"/>
                      </a:cubicBezTo>
                      <a:cubicBezTo>
                        <a:pt x="289" y="84"/>
                        <a:pt x="290" y="86"/>
                        <a:pt x="293" y="86"/>
                      </a:cubicBezTo>
                      <a:cubicBezTo>
                        <a:pt x="294" y="86"/>
                        <a:pt x="295" y="85"/>
                        <a:pt x="296" y="85"/>
                      </a:cubicBezTo>
                      <a:cubicBezTo>
                        <a:pt x="298" y="84"/>
                        <a:pt x="302" y="80"/>
                        <a:pt x="301" y="77"/>
                      </a:cubicBezTo>
                      <a:cubicBezTo>
                        <a:pt x="300" y="76"/>
                        <a:pt x="299" y="75"/>
                        <a:pt x="298" y="75"/>
                      </a:cubicBezTo>
                      <a:cubicBezTo>
                        <a:pt x="298" y="75"/>
                        <a:pt x="299" y="75"/>
                        <a:pt x="299" y="75"/>
                      </a:cubicBezTo>
                      <a:cubicBezTo>
                        <a:pt x="300" y="75"/>
                        <a:pt x="300" y="75"/>
                        <a:pt x="301" y="75"/>
                      </a:cubicBezTo>
                      <a:cubicBezTo>
                        <a:pt x="301" y="75"/>
                        <a:pt x="301" y="75"/>
                        <a:pt x="302" y="75"/>
                      </a:cubicBezTo>
                      <a:cubicBezTo>
                        <a:pt x="304" y="75"/>
                        <a:pt x="305" y="75"/>
                        <a:pt x="303" y="73"/>
                      </a:cubicBezTo>
                      <a:cubicBezTo>
                        <a:pt x="303" y="72"/>
                        <a:pt x="302" y="71"/>
                        <a:pt x="302" y="71"/>
                      </a:cubicBezTo>
                      <a:cubicBezTo>
                        <a:pt x="301" y="71"/>
                        <a:pt x="300" y="70"/>
                        <a:pt x="298" y="70"/>
                      </a:cubicBezTo>
                      <a:cubicBezTo>
                        <a:pt x="298" y="70"/>
                        <a:pt x="297" y="71"/>
                        <a:pt x="297" y="71"/>
                      </a:cubicBezTo>
                      <a:cubicBezTo>
                        <a:pt x="296" y="71"/>
                        <a:pt x="296" y="71"/>
                        <a:pt x="295" y="71"/>
                      </a:cubicBezTo>
                      <a:cubicBezTo>
                        <a:pt x="294" y="71"/>
                        <a:pt x="294" y="71"/>
                        <a:pt x="293" y="70"/>
                      </a:cubicBezTo>
                      <a:cubicBezTo>
                        <a:pt x="300" y="69"/>
                        <a:pt x="307" y="69"/>
                        <a:pt x="314" y="68"/>
                      </a:cubicBezTo>
                      <a:cubicBezTo>
                        <a:pt x="312" y="67"/>
                        <a:pt x="310" y="67"/>
                        <a:pt x="308" y="66"/>
                      </a:cubicBezTo>
                      <a:cubicBezTo>
                        <a:pt x="307" y="65"/>
                        <a:pt x="307" y="63"/>
                        <a:pt x="306" y="63"/>
                      </a:cubicBezTo>
                      <a:cubicBezTo>
                        <a:pt x="305" y="62"/>
                        <a:pt x="304" y="62"/>
                        <a:pt x="303" y="62"/>
                      </a:cubicBezTo>
                      <a:cubicBezTo>
                        <a:pt x="303" y="62"/>
                        <a:pt x="302" y="62"/>
                        <a:pt x="301" y="63"/>
                      </a:cubicBezTo>
                      <a:cubicBezTo>
                        <a:pt x="300" y="63"/>
                        <a:pt x="300" y="63"/>
                        <a:pt x="299" y="63"/>
                      </a:cubicBezTo>
                      <a:cubicBezTo>
                        <a:pt x="299" y="63"/>
                        <a:pt x="299" y="63"/>
                        <a:pt x="299" y="63"/>
                      </a:cubicBezTo>
                      <a:cubicBezTo>
                        <a:pt x="303" y="61"/>
                        <a:pt x="307" y="60"/>
                        <a:pt x="312" y="59"/>
                      </a:cubicBezTo>
                      <a:cubicBezTo>
                        <a:pt x="309" y="59"/>
                        <a:pt x="307" y="58"/>
                        <a:pt x="304" y="58"/>
                      </a:cubicBezTo>
                      <a:cubicBezTo>
                        <a:pt x="303" y="58"/>
                        <a:pt x="301" y="58"/>
                        <a:pt x="300" y="59"/>
                      </a:cubicBezTo>
                      <a:cubicBezTo>
                        <a:pt x="301" y="58"/>
                        <a:pt x="303" y="58"/>
                        <a:pt x="305" y="57"/>
                      </a:cubicBezTo>
                      <a:cubicBezTo>
                        <a:pt x="306" y="57"/>
                        <a:pt x="306" y="56"/>
                        <a:pt x="307" y="56"/>
                      </a:cubicBezTo>
                      <a:cubicBezTo>
                        <a:pt x="308" y="55"/>
                        <a:pt x="309" y="53"/>
                        <a:pt x="309" y="51"/>
                      </a:cubicBezTo>
                      <a:cubicBezTo>
                        <a:pt x="310" y="51"/>
                        <a:pt x="311" y="49"/>
                        <a:pt x="310" y="49"/>
                      </a:cubicBezTo>
                      <a:cubicBezTo>
                        <a:pt x="310" y="46"/>
                        <a:pt x="302" y="45"/>
                        <a:pt x="300" y="44"/>
                      </a:cubicBezTo>
                      <a:cubicBezTo>
                        <a:pt x="298" y="43"/>
                        <a:pt x="295" y="42"/>
                        <a:pt x="292" y="41"/>
                      </a:cubicBezTo>
                      <a:cubicBezTo>
                        <a:pt x="293" y="41"/>
                        <a:pt x="293" y="42"/>
                        <a:pt x="293" y="42"/>
                      </a:cubicBezTo>
                      <a:cubicBezTo>
                        <a:pt x="293" y="42"/>
                        <a:pt x="292" y="41"/>
                        <a:pt x="291" y="41"/>
                      </a:cubicBezTo>
                      <a:cubicBezTo>
                        <a:pt x="289" y="41"/>
                        <a:pt x="287" y="46"/>
                        <a:pt x="285" y="47"/>
                      </a:cubicBezTo>
                      <a:cubicBezTo>
                        <a:pt x="286" y="45"/>
                        <a:pt x="288" y="43"/>
                        <a:pt x="289" y="41"/>
                      </a:cubicBezTo>
                      <a:cubicBezTo>
                        <a:pt x="291" y="39"/>
                        <a:pt x="292" y="41"/>
                        <a:pt x="290" y="37"/>
                      </a:cubicBezTo>
                      <a:cubicBezTo>
                        <a:pt x="290" y="36"/>
                        <a:pt x="289" y="35"/>
                        <a:pt x="288" y="35"/>
                      </a:cubicBezTo>
                      <a:cubicBezTo>
                        <a:pt x="286" y="35"/>
                        <a:pt x="285" y="36"/>
                        <a:pt x="283" y="36"/>
                      </a:cubicBezTo>
                      <a:cubicBezTo>
                        <a:pt x="281" y="37"/>
                        <a:pt x="279" y="37"/>
                        <a:pt x="277" y="37"/>
                      </a:cubicBezTo>
                      <a:cubicBezTo>
                        <a:pt x="275" y="37"/>
                        <a:pt x="275" y="36"/>
                        <a:pt x="279" y="32"/>
                      </a:cubicBezTo>
                      <a:cubicBezTo>
                        <a:pt x="280" y="31"/>
                        <a:pt x="281" y="31"/>
                        <a:pt x="282" y="29"/>
                      </a:cubicBezTo>
                      <a:cubicBezTo>
                        <a:pt x="283" y="25"/>
                        <a:pt x="276" y="24"/>
                        <a:pt x="273" y="23"/>
                      </a:cubicBezTo>
                      <a:cubicBezTo>
                        <a:pt x="270" y="22"/>
                        <a:pt x="263" y="21"/>
                        <a:pt x="269" y="18"/>
                      </a:cubicBezTo>
                      <a:cubicBezTo>
                        <a:pt x="272" y="17"/>
                        <a:pt x="270" y="14"/>
                        <a:pt x="271" y="12"/>
                      </a:cubicBezTo>
                      <a:cubicBezTo>
                        <a:pt x="271" y="11"/>
                        <a:pt x="272" y="11"/>
                        <a:pt x="273" y="11"/>
                      </a:cubicBezTo>
                      <a:cubicBezTo>
                        <a:pt x="276" y="9"/>
                        <a:pt x="281" y="9"/>
                        <a:pt x="283" y="7"/>
                      </a:cubicBezTo>
                      <a:cubicBezTo>
                        <a:pt x="282" y="7"/>
                        <a:pt x="282" y="7"/>
                        <a:pt x="281" y="7"/>
                      </a:cubicBezTo>
                      <a:cubicBezTo>
                        <a:pt x="274" y="7"/>
                        <a:pt x="265" y="9"/>
                        <a:pt x="261" y="14"/>
                      </a:cubicBezTo>
                      <a:cubicBezTo>
                        <a:pt x="261" y="14"/>
                        <a:pt x="261" y="17"/>
                        <a:pt x="260" y="18"/>
                      </a:cubicBezTo>
                      <a:cubicBezTo>
                        <a:pt x="256" y="16"/>
                        <a:pt x="253" y="13"/>
                        <a:pt x="249" y="11"/>
                      </a:cubicBezTo>
                      <a:cubicBezTo>
                        <a:pt x="251" y="10"/>
                        <a:pt x="252" y="8"/>
                        <a:pt x="250" y="6"/>
                      </a:cubicBezTo>
                      <a:cubicBezTo>
                        <a:pt x="249" y="5"/>
                        <a:pt x="241" y="5"/>
                        <a:pt x="245" y="2"/>
                      </a:cubicBezTo>
                      <a:cubicBezTo>
                        <a:pt x="243" y="1"/>
                        <a:pt x="241" y="0"/>
                        <a:pt x="2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55" name="Freeform 32">
                  <a:extLst>
                    <a:ext uri="{FF2B5EF4-FFF2-40B4-BE49-F238E27FC236}">
                      <a16:creationId xmlns:a16="http://schemas.microsoft.com/office/drawing/2014/main" id="{D2764C7D-1B10-4CF1-8FDC-6323F6A26084}"/>
                    </a:ext>
                  </a:extLst>
                </p:cNvPr>
                <p:cNvSpPr>
                  <a:spLocks/>
                </p:cNvSpPr>
                <p:nvPr/>
              </p:nvSpPr>
              <p:spPr bwMode="auto">
                <a:xfrm>
                  <a:off x="2391641" y="1171867"/>
                  <a:ext cx="18426" cy="22111"/>
                </a:xfrm>
                <a:custGeom>
                  <a:avLst/>
                  <a:gdLst>
                    <a:gd name="T0" fmla="*/ 1 w 5"/>
                    <a:gd name="T1" fmla="*/ 0 h 7"/>
                    <a:gd name="T2" fmla="*/ 0 w 5"/>
                    <a:gd name="T3" fmla="*/ 0 h 7"/>
                    <a:gd name="T4" fmla="*/ 2 w 5"/>
                    <a:gd name="T5" fmla="*/ 5 h 7"/>
                    <a:gd name="T6" fmla="*/ 1 w 5"/>
                    <a:gd name="T7" fmla="*/ 7 h 7"/>
                    <a:gd name="T8" fmla="*/ 2 w 5"/>
                    <a:gd name="T9" fmla="*/ 7 h 7"/>
                    <a:gd name="T10" fmla="*/ 5 w 5"/>
                    <a:gd name="T11" fmla="*/ 5 h 7"/>
                    <a:gd name="T12" fmla="*/ 1 w 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5" h="7">
                      <a:moveTo>
                        <a:pt x="1" y="0"/>
                      </a:moveTo>
                      <a:cubicBezTo>
                        <a:pt x="1" y="0"/>
                        <a:pt x="0" y="0"/>
                        <a:pt x="0" y="0"/>
                      </a:cubicBezTo>
                      <a:cubicBezTo>
                        <a:pt x="1" y="1"/>
                        <a:pt x="2" y="3"/>
                        <a:pt x="2" y="5"/>
                      </a:cubicBezTo>
                      <a:cubicBezTo>
                        <a:pt x="2" y="6"/>
                        <a:pt x="1" y="7"/>
                        <a:pt x="1" y="7"/>
                      </a:cubicBezTo>
                      <a:cubicBezTo>
                        <a:pt x="1" y="7"/>
                        <a:pt x="2" y="7"/>
                        <a:pt x="2" y="7"/>
                      </a:cubicBezTo>
                      <a:cubicBezTo>
                        <a:pt x="3" y="7"/>
                        <a:pt x="5" y="7"/>
                        <a:pt x="5" y="5"/>
                      </a:cubicBezTo>
                      <a:cubicBezTo>
                        <a:pt x="5" y="3"/>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56" name="Freeform 34">
                  <a:extLst>
                    <a:ext uri="{FF2B5EF4-FFF2-40B4-BE49-F238E27FC236}">
                      <a16:creationId xmlns:a16="http://schemas.microsoft.com/office/drawing/2014/main" id="{C768C3E2-8AEE-4FB6-B4FC-B88B5A62F9F2}"/>
                    </a:ext>
                  </a:extLst>
                </p:cNvPr>
                <p:cNvSpPr>
                  <a:spLocks/>
                </p:cNvSpPr>
                <p:nvPr/>
              </p:nvSpPr>
              <p:spPr bwMode="auto">
                <a:xfrm>
                  <a:off x="1533009" y="5162848"/>
                  <a:ext cx="7370" cy="14740"/>
                </a:xfrm>
                <a:custGeom>
                  <a:avLst/>
                  <a:gdLst>
                    <a:gd name="T0" fmla="*/ 2 w 2"/>
                    <a:gd name="T1" fmla="*/ 0 h 5"/>
                    <a:gd name="T2" fmla="*/ 2 w 2"/>
                    <a:gd name="T3" fmla="*/ 5 h 5"/>
                    <a:gd name="T4" fmla="*/ 2 w 2"/>
                    <a:gd name="T5" fmla="*/ 0 h 5"/>
                  </a:gdLst>
                  <a:ahLst/>
                  <a:cxnLst>
                    <a:cxn ang="0">
                      <a:pos x="T0" y="T1"/>
                    </a:cxn>
                    <a:cxn ang="0">
                      <a:pos x="T2" y="T3"/>
                    </a:cxn>
                    <a:cxn ang="0">
                      <a:pos x="T4" y="T5"/>
                    </a:cxn>
                  </a:cxnLst>
                  <a:rect l="0" t="0" r="r" b="b"/>
                  <a:pathLst>
                    <a:path w="2" h="5">
                      <a:moveTo>
                        <a:pt x="2" y="0"/>
                      </a:moveTo>
                      <a:cubicBezTo>
                        <a:pt x="0" y="1"/>
                        <a:pt x="0" y="3"/>
                        <a:pt x="2" y="5"/>
                      </a:cubicBezTo>
                      <a:cubicBezTo>
                        <a:pt x="2" y="3"/>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57" name="Freeform 35">
                  <a:extLst>
                    <a:ext uri="{FF2B5EF4-FFF2-40B4-BE49-F238E27FC236}">
                      <a16:creationId xmlns:a16="http://schemas.microsoft.com/office/drawing/2014/main" id="{142CF798-DDC4-40DD-A749-528B514225A4}"/>
                    </a:ext>
                  </a:extLst>
                </p:cNvPr>
                <p:cNvSpPr>
                  <a:spLocks/>
                </p:cNvSpPr>
                <p:nvPr/>
              </p:nvSpPr>
              <p:spPr bwMode="auto">
                <a:xfrm>
                  <a:off x="1772541" y="5262346"/>
                  <a:ext cx="51592" cy="18426"/>
                </a:xfrm>
                <a:custGeom>
                  <a:avLst/>
                  <a:gdLst>
                    <a:gd name="T0" fmla="*/ 7 w 16"/>
                    <a:gd name="T1" fmla="*/ 0 h 5"/>
                    <a:gd name="T2" fmla="*/ 6 w 16"/>
                    <a:gd name="T3" fmla="*/ 5 h 5"/>
                    <a:gd name="T4" fmla="*/ 11 w 16"/>
                    <a:gd name="T5" fmla="*/ 5 h 5"/>
                    <a:gd name="T6" fmla="*/ 16 w 16"/>
                    <a:gd name="T7" fmla="*/ 4 h 5"/>
                    <a:gd name="T8" fmla="*/ 7 w 16"/>
                    <a:gd name="T9" fmla="*/ 0 h 5"/>
                  </a:gdLst>
                  <a:ahLst/>
                  <a:cxnLst>
                    <a:cxn ang="0">
                      <a:pos x="T0" y="T1"/>
                    </a:cxn>
                    <a:cxn ang="0">
                      <a:pos x="T2" y="T3"/>
                    </a:cxn>
                    <a:cxn ang="0">
                      <a:pos x="T4" y="T5"/>
                    </a:cxn>
                    <a:cxn ang="0">
                      <a:pos x="T6" y="T7"/>
                    </a:cxn>
                    <a:cxn ang="0">
                      <a:pos x="T8" y="T9"/>
                    </a:cxn>
                  </a:cxnLst>
                  <a:rect l="0" t="0" r="r" b="b"/>
                  <a:pathLst>
                    <a:path w="16" h="5">
                      <a:moveTo>
                        <a:pt x="7" y="0"/>
                      </a:moveTo>
                      <a:cubicBezTo>
                        <a:pt x="2" y="1"/>
                        <a:pt x="0" y="2"/>
                        <a:pt x="6" y="5"/>
                      </a:cubicBezTo>
                      <a:cubicBezTo>
                        <a:pt x="7" y="5"/>
                        <a:pt x="9" y="5"/>
                        <a:pt x="11" y="5"/>
                      </a:cubicBezTo>
                      <a:cubicBezTo>
                        <a:pt x="13" y="5"/>
                        <a:pt x="15" y="5"/>
                        <a:pt x="16" y="4"/>
                      </a:cubicBezTo>
                      <a:cubicBezTo>
                        <a:pt x="15" y="3"/>
                        <a:pt x="9" y="1"/>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58" name="Freeform 36">
                  <a:extLst>
                    <a:ext uri="{FF2B5EF4-FFF2-40B4-BE49-F238E27FC236}">
                      <a16:creationId xmlns:a16="http://schemas.microsoft.com/office/drawing/2014/main" id="{218F3738-B9B5-4441-A454-56F24F2F4EEC}"/>
                    </a:ext>
                  </a:extLst>
                </p:cNvPr>
                <p:cNvSpPr>
                  <a:spLocks/>
                </p:cNvSpPr>
                <p:nvPr/>
              </p:nvSpPr>
              <p:spPr bwMode="auto">
                <a:xfrm>
                  <a:off x="1875724" y="5240235"/>
                  <a:ext cx="40536" cy="14740"/>
                </a:xfrm>
                <a:custGeom>
                  <a:avLst/>
                  <a:gdLst>
                    <a:gd name="T0" fmla="*/ 8 w 13"/>
                    <a:gd name="T1" fmla="*/ 0 h 5"/>
                    <a:gd name="T2" fmla="*/ 3 w 13"/>
                    <a:gd name="T3" fmla="*/ 1 h 5"/>
                    <a:gd name="T4" fmla="*/ 10 w 13"/>
                    <a:gd name="T5" fmla="*/ 5 h 5"/>
                    <a:gd name="T6" fmla="*/ 9 w 13"/>
                    <a:gd name="T7" fmla="*/ 0 h 5"/>
                    <a:gd name="T8" fmla="*/ 8 w 13"/>
                    <a:gd name="T9" fmla="*/ 0 h 5"/>
                  </a:gdLst>
                  <a:ahLst/>
                  <a:cxnLst>
                    <a:cxn ang="0">
                      <a:pos x="T0" y="T1"/>
                    </a:cxn>
                    <a:cxn ang="0">
                      <a:pos x="T2" y="T3"/>
                    </a:cxn>
                    <a:cxn ang="0">
                      <a:pos x="T4" y="T5"/>
                    </a:cxn>
                    <a:cxn ang="0">
                      <a:pos x="T6" y="T7"/>
                    </a:cxn>
                    <a:cxn ang="0">
                      <a:pos x="T8" y="T9"/>
                    </a:cxn>
                  </a:cxnLst>
                  <a:rect l="0" t="0" r="r" b="b"/>
                  <a:pathLst>
                    <a:path w="13" h="5">
                      <a:moveTo>
                        <a:pt x="8" y="0"/>
                      </a:moveTo>
                      <a:cubicBezTo>
                        <a:pt x="6" y="0"/>
                        <a:pt x="4" y="0"/>
                        <a:pt x="3" y="1"/>
                      </a:cubicBezTo>
                      <a:cubicBezTo>
                        <a:pt x="0" y="4"/>
                        <a:pt x="10" y="5"/>
                        <a:pt x="10" y="5"/>
                      </a:cubicBezTo>
                      <a:cubicBezTo>
                        <a:pt x="12" y="2"/>
                        <a:pt x="13" y="1"/>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59" name="Freeform 37">
                  <a:extLst>
                    <a:ext uri="{FF2B5EF4-FFF2-40B4-BE49-F238E27FC236}">
                      <a16:creationId xmlns:a16="http://schemas.microsoft.com/office/drawing/2014/main" id="{E13D2BD9-88DF-4EB2-AD33-18BA90E9A547}"/>
                    </a:ext>
                  </a:extLst>
                </p:cNvPr>
                <p:cNvSpPr>
                  <a:spLocks/>
                </p:cNvSpPr>
                <p:nvPr/>
              </p:nvSpPr>
              <p:spPr bwMode="auto">
                <a:xfrm>
                  <a:off x="2023129" y="5332363"/>
                  <a:ext cx="66332" cy="22111"/>
                </a:xfrm>
                <a:custGeom>
                  <a:avLst/>
                  <a:gdLst>
                    <a:gd name="T0" fmla="*/ 3 w 21"/>
                    <a:gd name="T1" fmla="*/ 0 h 7"/>
                    <a:gd name="T2" fmla="*/ 0 w 21"/>
                    <a:gd name="T3" fmla="*/ 2 h 7"/>
                    <a:gd name="T4" fmla="*/ 12 w 21"/>
                    <a:gd name="T5" fmla="*/ 7 h 7"/>
                    <a:gd name="T6" fmla="*/ 13 w 21"/>
                    <a:gd name="T7" fmla="*/ 7 h 7"/>
                    <a:gd name="T8" fmla="*/ 21 w 21"/>
                    <a:gd name="T9" fmla="*/ 3 h 7"/>
                    <a:gd name="T10" fmla="*/ 18 w 21"/>
                    <a:gd name="T11" fmla="*/ 2 h 7"/>
                    <a:gd name="T12" fmla="*/ 14 w 21"/>
                    <a:gd name="T13" fmla="*/ 2 h 7"/>
                    <a:gd name="T14" fmla="*/ 9 w 21"/>
                    <a:gd name="T15" fmla="*/ 3 h 7"/>
                    <a:gd name="T16" fmla="*/ 8 w 21"/>
                    <a:gd name="T17" fmla="*/ 3 h 7"/>
                    <a:gd name="T18" fmla="*/ 3 w 21"/>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7">
                      <a:moveTo>
                        <a:pt x="3" y="0"/>
                      </a:moveTo>
                      <a:cubicBezTo>
                        <a:pt x="2" y="0"/>
                        <a:pt x="1" y="1"/>
                        <a:pt x="0" y="2"/>
                      </a:cubicBezTo>
                      <a:cubicBezTo>
                        <a:pt x="4" y="4"/>
                        <a:pt x="8" y="7"/>
                        <a:pt x="12" y="7"/>
                      </a:cubicBezTo>
                      <a:cubicBezTo>
                        <a:pt x="13" y="7"/>
                        <a:pt x="13" y="7"/>
                        <a:pt x="13" y="7"/>
                      </a:cubicBezTo>
                      <a:cubicBezTo>
                        <a:pt x="15" y="6"/>
                        <a:pt x="21" y="4"/>
                        <a:pt x="21" y="3"/>
                      </a:cubicBezTo>
                      <a:cubicBezTo>
                        <a:pt x="21" y="2"/>
                        <a:pt x="20" y="2"/>
                        <a:pt x="18" y="2"/>
                      </a:cubicBezTo>
                      <a:cubicBezTo>
                        <a:pt x="17" y="2"/>
                        <a:pt x="15" y="2"/>
                        <a:pt x="14" y="2"/>
                      </a:cubicBezTo>
                      <a:cubicBezTo>
                        <a:pt x="13" y="2"/>
                        <a:pt x="11" y="3"/>
                        <a:pt x="9" y="3"/>
                      </a:cubicBezTo>
                      <a:cubicBezTo>
                        <a:pt x="9" y="3"/>
                        <a:pt x="8" y="3"/>
                        <a:pt x="8" y="3"/>
                      </a:cubicBezTo>
                      <a:cubicBezTo>
                        <a:pt x="6" y="2"/>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60" name="Freeform 38">
                  <a:extLst>
                    <a:ext uri="{FF2B5EF4-FFF2-40B4-BE49-F238E27FC236}">
                      <a16:creationId xmlns:a16="http://schemas.microsoft.com/office/drawing/2014/main" id="{B0E6EC54-4DFA-42D9-850A-19AF0FD8702B}"/>
                    </a:ext>
                  </a:extLst>
                </p:cNvPr>
                <p:cNvSpPr>
                  <a:spLocks noEditPoints="1"/>
                </p:cNvSpPr>
                <p:nvPr/>
              </p:nvSpPr>
              <p:spPr bwMode="auto">
                <a:xfrm>
                  <a:off x="2082091" y="5428176"/>
                  <a:ext cx="14740" cy="3685"/>
                </a:xfrm>
                <a:custGeom>
                  <a:avLst/>
                  <a:gdLst>
                    <a:gd name="T0" fmla="*/ 5 w 5"/>
                    <a:gd name="T1" fmla="*/ 1 h 1"/>
                    <a:gd name="T2" fmla="*/ 5 w 5"/>
                    <a:gd name="T3" fmla="*/ 1 h 1"/>
                    <a:gd name="T4" fmla="*/ 5 w 5"/>
                    <a:gd name="T5" fmla="*/ 1 h 1"/>
                    <a:gd name="T6" fmla="*/ 0 w 5"/>
                    <a:gd name="T7" fmla="*/ 0 h 1"/>
                    <a:gd name="T8" fmla="*/ 5 w 5"/>
                    <a:gd name="T9" fmla="*/ 1 h 1"/>
                    <a:gd name="T10" fmla="*/ 0 w 5"/>
                    <a:gd name="T11" fmla="*/ 0 h 1"/>
                  </a:gdLst>
                  <a:ahLst/>
                  <a:cxnLst>
                    <a:cxn ang="0">
                      <a:pos x="T0" y="T1"/>
                    </a:cxn>
                    <a:cxn ang="0">
                      <a:pos x="T2" y="T3"/>
                    </a:cxn>
                    <a:cxn ang="0">
                      <a:pos x="T4" y="T5"/>
                    </a:cxn>
                    <a:cxn ang="0">
                      <a:pos x="T6" y="T7"/>
                    </a:cxn>
                    <a:cxn ang="0">
                      <a:pos x="T8" y="T9"/>
                    </a:cxn>
                    <a:cxn ang="0">
                      <a:pos x="T10" y="T11"/>
                    </a:cxn>
                  </a:cxnLst>
                  <a:rect l="0" t="0" r="r" b="b"/>
                  <a:pathLst>
                    <a:path w="5" h="1">
                      <a:moveTo>
                        <a:pt x="5" y="1"/>
                      </a:moveTo>
                      <a:cubicBezTo>
                        <a:pt x="5" y="1"/>
                        <a:pt x="5" y="1"/>
                        <a:pt x="5" y="1"/>
                      </a:cubicBezTo>
                      <a:cubicBezTo>
                        <a:pt x="5" y="1"/>
                        <a:pt x="5" y="1"/>
                        <a:pt x="5" y="1"/>
                      </a:cubicBezTo>
                      <a:moveTo>
                        <a:pt x="0" y="0"/>
                      </a:moveTo>
                      <a:cubicBezTo>
                        <a:pt x="1" y="1"/>
                        <a:pt x="3" y="0"/>
                        <a:pt x="5" y="1"/>
                      </a:cubicBezTo>
                      <a:cubicBezTo>
                        <a:pt x="3"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61" name="Rectangle 39">
                  <a:extLst>
                    <a:ext uri="{FF2B5EF4-FFF2-40B4-BE49-F238E27FC236}">
                      <a16:creationId xmlns:a16="http://schemas.microsoft.com/office/drawing/2014/main" id="{75AF082F-13EA-4615-BDF7-2D4DCB6856BB}"/>
                    </a:ext>
                  </a:extLst>
                </p:cNvPr>
                <p:cNvSpPr>
                  <a:spLocks noChangeArrowheads="1"/>
                </p:cNvSpPr>
                <p:nvPr/>
              </p:nvSpPr>
              <p:spPr bwMode="auto">
                <a:xfrm>
                  <a:off x="6014109" y="4831187"/>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62" name="Freeform 40">
                  <a:extLst>
                    <a:ext uri="{FF2B5EF4-FFF2-40B4-BE49-F238E27FC236}">
                      <a16:creationId xmlns:a16="http://schemas.microsoft.com/office/drawing/2014/main" id="{96C32F70-B4F8-4BD6-AC56-2F97A8BF976E}"/>
                    </a:ext>
                  </a:extLst>
                </p:cNvPr>
                <p:cNvSpPr>
                  <a:spLocks/>
                </p:cNvSpPr>
                <p:nvPr/>
              </p:nvSpPr>
              <p:spPr bwMode="auto">
                <a:xfrm>
                  <a:off x="6014109" y="4831187"/>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63" name="Freeform 41">
                  <a:extLst>
                    <a:ext uri="{FF2B5EF4-FFF2-40B4-BE49-F238E27FC236}">
                      <a16:creationId xmlns:a16="http://schemas.microsoft.com/office/drawing/2014/main" id="{99578E9F-02EA-4C0D-BC9E-8F2C47EFC70D}"/>
                    </a:ext>
                  </a:extLst>
                </p:cNvPr>
                <p:cNvSpPr>
                  <a:spLocks/>
                </p:cNvSpPr>
                <p:nvPr/>
              </p:nvSpPr>
              <p:spPr bwMode="auto">
                <a:xfrm>
                  <a:off x="5944092" y="4801706"/>
                  <a:ext cx="11055" cy="0"/>
                </a:xfrm>
                <a:custGeom>
                  <a:avLst/>
                  <a:gdLst>
                    <a:gd name="T0" fmla="*/ 1 w 3"/>
                    <a:gd name="T1" fmla="*/ 0 h 1"/>
                    <a:gd name="T2" fmla="*/ 0 w 3"/>
                    <a:gd name="T3" fmla="*/ 0 h 1"/>
                    <a:gd name="T4" fmla="*/ 3 w 3"/>
                    <a:gd name="T5" fmla="*/ 1 h 1"/>
                    <a:gd name="T6" fmla="*/ 3 w 3"/>
                    <a:gd name="T7" fmla="*/ 1 h 1"/>
                    <a:gd name="T8" fmla="*/ 1 w 3"/>
                    <a:gd name="T9" fmla="*/ 0 h 1"/>
                  </a:gdLst>
                  <a:ahLst/>
                  <a:cxnLst>
                    <a:cxn ang="0">
                      <a:pos x="T0" y="T1"/>
                    </a:cxn>
                    <a:cxn ang="0">
                      <a:pos x="T2" y="T3"/>
                    </a:cxn>
                    <a:cxn ang="0">
                      <a:pos x="T4" y="T5"/>
                    </a:cxn>
                    <a:cxn ang="0">
                      <a:pos x="T6" y="T7"/>
                    </a:cxn>
                    <a:cxn ang="0">
                      <a:pos x="T8" y="T9"/>
                    </a:cxn>
                  </a:cxnLst>
                  <a:rect l="0" t="0" r="r" b="b"/>
                  <a:pathLst>
                    <a:path w="3" h="1">
                      <a:moveTo>
                        <a:pt x="1" y="0"/>
                      </a:moveTo>
                      <a:cubicBezTo>
                        <a:pt x="0" y="0"/>
                        <a:pt x="0" y="0"/>
                        <a:pt x="0" y="0"/>
                      </a:cubicBezTo>
                      <a:cubicBezTo>
                        <a:pt x="1" y="0"/>
                        <a:pt x="2" y="0"/>
                        <a:pt x="3" y="1"/>
                      </a:cubicBezTo>
                      <a:cubicBezTo>
                        <a:pt x="3" y="1"/>
                        <a:pt x="3" y="1"/>
                        <a:pt x="3" y="1"/>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64" name="Rectangle 42">
                  <a:extLst>
                    <a:ext uri="{FF2B5EF4-FFF2-40B4-BE49-F238E27FC236}">
                      <a16:creationId xmlns:a16="http://schemas.microsoft.com/office/drawing/2014/main" id="{29F1793F-3117-43DE-AEFE-1B1F569A23AE}"/>
                    </a:ext>
                  </a:extLst>
                </p:cNvPr>
                <p:cNvSpPr>
                  <a:spLocks noChangeArrowheads="1"/>
                </p:cNvSpPr>
                <p:nvPr/>
              </p:nvSpPr>
              <p:spPr bwMode="auto">
                <a:xfrm>
                  <a:off x="8774260" y="436686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65" name="Rectangle 43">
                  <a:extLst>
                    <a:ext uri="{FF2B5EF4-FFF2-40B4-BE49-F238E27FC236}">
                      <a16:creationId xmlns:a16="http://schemas.microsoft.com/office/drawing/2014/main" id="{AF4D06DA-BD48-46F6-94E6-5188CF11CEF3}"/>
                    </a:ext>
                  </a:extLst>
                </p:cNvPr>
                <p:cNvSpPr>
                  <a:spLocks noChangeArrowheads="1"/>
                </p:cNvSpPr>
                <p:nvPr/>
              </p:nvSpPr>
              <p:spPr bwMode="auto">
                <a:xfrm>
                  <a:off x="8774260" y="436686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66" name="Freeform 44">
                  <a:extLst>
                    <a:ext uri="{FF2B5EF4-FFF2-40B4-BE49-F238E27FC236}">
                      <a16:creationId xmlns:a16="http://schemas.microsoft.com/office/drawing/2014/main" id="{DCD2EFC6-8A84-44A4-B35F-A5FE39082D41}"/>
                    </a:ext>
                  </a:extLst>
                </p:cNvPr>
                <p:cNvSpPr>
                  <a:spLocks/>
                </p:cNvSpPr>
                <p:nvPr/>
              </p:nvSpPr>
              <p:spPr bwMode="auto">
                <a:xfrm>
                  <a:off x="7200716" y="4411084"/>
                  <a:ext cx="51592" cy="25796"/>
                </a:xfrm>
                <a:custGeom>
                  <a:avLst/>
                  <a:gdLst>
                    <a:gd name="T0" fmla="*/ 0 w 16"/>
                    <a:gd name="T1" fmla="*/ 0 h 7"/>
                    <a:gd name="T2" fmla="*/ 16 w 16"/>
                    <a:gd name="T3" fmla="*/ 7 h 7"/>
                    <a:gd name="T4" fmla="*/ 0 w 16"/>
                    <a:gd name="T5" fmla="*/ 0 h 7"/>
                  </a:gdLst>
                  <a:ahLst/>
                  <a:cxnLst>
                    <a:cxn ang="0">
                      <a:pos x="T0" y="T1"/>
                    </a:cxn>
                    <a:cxn ang="0">
                      <a:pos x="T2" y="T3"/>
                    </a:cxn>
                    <a:cxn ang="0">
                      <a:pos x="T4" y="T5"/>
                    </a:cxn>
                  </a:cxnLst>
                  <a:rect l="0" t="0" r="r" b="b"/>
                  <a:pathLst>
                    <a:path w="16" h="7">
                      <a:moveTo>
                        <a:pt x="0" y="0"/>
                      </a:moveTo>
                      <a:cubicBezTo>
                        <a:pt x="1" y="6"/>
                        <a:pt x="11" y="6"/>
                        <a:pt x="16" y="7"/>
                      </a:cubicBezTo>
                      <a:cubicBezTo>
                        <a:pt x="10" y="4"/>
                        <a:pt x="5"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67" name="Freeform 45">
                  <a:extLst>
                    <a:ext uri="{FF2B5EF4-FFF2-40B4-BE49-F238E27FC236}">
                      <a16:creationId xmlns:a16="http://schemas.microsoft.com/office/drawing/2014/main" id="{FFD60CD8-1869-4B48-8DFC-707BBC708203}"/>
                    </a:ext>
                  </a:extLst>
                </p:cNvPr>
                <p:cNvSpPr>
                  <a:spLocks/>
                </p:cNvSpPr>
                <p:nvPr/>
              </p:nvSpPr>
              <p:spPr bwMode="auto">
                <a:xfrm>
                  <a:off x="4248939" y="2634858"/>
                  <a:ext cx="18426" cy="33166"/>
                </a:xfrm>
                <a:custGeom>
                  <a:avLst/>
                  <a:gdLst>
                    <a:gd name="T0" fmla="*/ 4 w 6"/>
                    <a:gd name="T1" fmla="*/ 0 h 11"/>
                    <a:gd name="T2" fmla="*/ 2 w 6"/>
                    <a:gd name="T3" fmla="*/ 4 h 11"/>
                    <a:gd name="T4" fmla="*/ 3 w 6"/>
                    <a:gd name="T5" fmla="*/ 11 h 11"/>
                    <a:gd name="T6" fmla="*/ 6 w 6"/>
                    <a:gd name="T7" fmla="*/ 1 h 11"/>
                    <a:gd name="T8" fmla="*/ 4 w 6"/>
                    <a:gd name="T9" fmla="*/ 0 h 11"/>
                  </a:gdLst>
                  <a:ahLst/>
                  <a:cxnLst>
                    <a:cxn ang="0">
                      <a:pos x="T0" y="T1"/>
                    </a:cxn>
                    <a:cxn ang="0">
                      <a:pos x="T2" y="T3"/>
                    </a:cxn>
                    <a:cxn ang="0">
                      <a:pos x="T4" y="T5"/>
                    </a:cxn>
                    <a:cxn ang="0">
                      <a:pos x="T6" y="T7"/>
                    </a:cxn>
                    <a:cxn ang="0">
                      <a:pos x="T8" y="T9"/>
                    </a:cxn>
                  </a:cxnLst>
                  <a:rect l="0" t="0" r="r" b="b"/>
                  <a:pathLst>
                    <a:path w="6" h="11">
                      <a:moveTo>
                        <a:pt x="4" y="0"/>
                      </a:moveTo>
                      <a:cubicBezTo>
                        <a:pt x="3" y="0"/>
                        <a:pt x="3" y="2"/>
                        <a:pt x="2" y="4"/>
                      </a:cubicBezTo>
                      <a:cubicBezTo>
                        <a:pt x="1" y="7"/>
                        <a:pt x="0" y="7"/>
                        <a:pt x="3" y="11"/>
                      </a:cubicBezTo>
                      <a:cubicBezTo>
                        <a:pt x="4" y="8"/>
                        <a:pt x="5" y="4"/>
                        <a:pt x="6" y="1"/>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68" name="Freeform 46">
                  <a:extLst>
                    <a:ext uri="{FF2B5EF4-FFF2-40B4-BE49-F238E27FC236}">
                      <a16:creationId xmlns:a16="http://schemas.microsoft.com/office/drawing/2014/main" id="{7BFA2BA3-9D64-47E3-B203-D760DFFAC30E}"/>
                    </a:ext>
                  </a:extLst>
                </p:cNvPr>
                <p:cNvSpPr>
                  <a:spLocks/>
                </p:cNvSpPr>
                <p:nvPr/>
              </p:nvSpPr>
              <p:spPr bwMode="auto">
                <a:xfrm>
                  <a:off x="4201032" y="2649599"/>
                  <a:ext cx="58962" cy="106868"/>
                </a:xfrm>
                <a:custGeom>
                  <a:avLst/>
                  <a:gdLst>
                    <a:gd name="T0" fmla="*/ 10 w 18"/>
                    <a:gd name="T1" fmla="*/ 0 h 33"/>
                    <a:gd name="T2" fmla="*/ 8 w 18"/>
                    <a:gd name="T3" fmla="*/ 1 h 33"/>
                    <a:gd name="T4" fmla="*/ 9 w 18"/>
                    <a:gd name="T5" fmla="*/ 5 h 33"/>
                    <a:gd name="T6" fmla="*/ 4 w 18"/>
                    <a:gd name="T7" fmla="*/ 4 h 33"/>
                    <a:gd name="T8" fmla="*/ 3 w 18"/>
                    <a:gd name="T9" fmla="*/ 7 h 33"/>
                    <a:gd name="T10" fmla="*/ 7 w 18"/>
                    <a:gd name="T11" fmla="*/ 6 h 33"/>
                    <a:gd name="T12" fmla="*/ 12 w 18"/>
                    <a:gd name="T13" fmla="*/ 12 h 33"/>
                    <a:gd name="T14" fmla="*/ 11 w 18"/>
                    <a:gd name="T15" fmla="*/ 12 h 33"/>
                    <a:gd name="T16" fmla="*/ 11 w 18"/>
                    <a:gd name="T17" fmla="*/ 12 h 33"/>
                    <a:gd name="T18" fmla="*/ 7 w 18"/>
                    <a:gd name="T19" fmla="*/ 14 h 33"/>
                    <a:gd name="T20" fmla="*/ 0 w 18"/>
                    <a:gd name="T21" fmla="*/ 15 h 33"/>
                    <a:gd name="T22" fmla="*/ 3 w 18"/>
                    <a:gd name="T23" fmla="*/ 17 h 33"/>
                    <a:gd name="T24" fmla="*/ 6 w 18"/>
                    <a:gd name="T25" fmla="*/ 17 h 33"/>
                    <a:gd name="T26" fmla="*/ 5 w 18"/>
                    <a:gd name="T27" fmla="*/ 19 h 33"/>
                    <a:gd name="T28" fmla="*/ 6 w 18"/>
                    <a:gd name="T29" fmla="*/ 19 h 33"/>
                    <a:gd name="T30" fmla="*/ 10 w 18"/>
                    <a:gd name="T31" fmla="*/ 16 h 33"/>
                    <a:gd name="T32" fmla="*/ 12 w 18"/>
                    <a:gd name="T33" fmla="*/ 16 h 33"/>
                    <a:gd name="T34" fmla="*/ 12 w 18"/>
                    <a:gd name="T35" fmla="*/ 23 h 33"/>
                    <a:gd name="T36" fmla="*/ 12 w 18"/>
                    <a:gd name="T37" fmla="*/ 33 h 33"/>
                    <a:gd name="T38" fmla="*/ 18 w 18"/>
                    <a:gd name="T39" fmla="*/ 8 h 33"/>
                    <a:gd name="T40" fmla="*/ 16 w 18"/>
                    <a:gd name="T41" fmla="*/ 10 h 33"/>
                    <a:gd name="T42" fmla="*/ 12 w 18"/>
                    <a:gd name="T43" fmla="*/ 1 h 33"/>
                    <a:gd name="T44" fmla="*/ 10 w 18"/>
                    <a:gd name="T4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33">
                      <a:moveTo>
                        <a:pt x="10" y="0"/>
                      </a:moveTo>
                      <a:cubicBezTo>
                        <a:pt x="9" y="0"/>
                        <a:pt x="8" y="0"/>
                        <a:pt x="8" y="1"/>
                      </a:cubicBezTo>
                      <a:cubicBezTo>
                        <a:pt x="7" y="2"/>
                        <a:pt x="8" y="4"/>
                        <a:pt x="9" y="5"/>
                      </a:cubicBezTo>
                      <a:cubicBezTo>
                        <a:pt x="8" y="5"/>
                        <a:pt x="6" y="4"/>
                        <a:pt x="4" y="4"/>
                      </a:cubicBezTo>
                      <a:cubicBezTo>
                        <a:pt x="3" y="4"/>
                        <a:pt x="2" y="5"/>
                        <a:pt x="3" y="7"/>
                      </a:cubicBezTo>
                      <a:cubicBezTo>
                        <a:pt x="7" y="6"/>
                        <a:pt x="7" y="6"/>
                        <a:pt x="7" y="6"/>
                      </a:cubicBezTo>
                      <a:cubicBezTo>
                        <a:pt x="7" y="10"/>
                        <a:pt x="10" y="10"/>
                        <a:pt x="12" y="12"/>
                      </a:cubicBezTo>
                      <a:cubicBezTo>
                        <a:pt x="12" y="12"/>
                        <a:pt x="12" y="12"/>
                        <a:pt x="11" y="12"/>
                      </a:cubicBezTo>
                      <a:cubicBezTo>
                        <a:pt x="11" y="12"/>
                        <a:pt x="11" y="12"/>
                        <a:pt x="11" y="12"/>
                      </a:cubicBezTo>
                      <a:cubicBezTo>
                        <a:pt x="10" y="14"/>
                        <a:pt x="9" y="14"/>
                        <a:pt x="7" y="14"/>
                      </a:cubicBezTo>
                      <a:cubicBezTo>
                        <a:pt x="5" y="14"/>
                        <a:pt x="3" y="14"/>
                        <a:pt x="0" y="15"/>
                      </a:cubicBezTo>
                      <a:cubicBezTo>
                        <a:pt x="0" y="17"/>
                        <a:pt x="1" y="17"/>
                        <a:pt x="3" y="17"/>
                      </a:cubicBezTo>
                      <a:cubicBezTo>
                        <a:pt x="4" y="17"/>
                        <a:pt x="5" y="17"/>
                        <a:pt x="6" y="17"/>
                      </a:cubicBezTo>
                      <a:cubicBezTo>
                        <a:pt x="5" y="18"/>
                        <a:pt x="5" y="19"/>
                        <a:pt x="5" y="19"/>
                      </a:cubicBezTo>
                      <a:cubicBezTo>
                        <a:pt x="6" y="19"/>
                        <a:pt x="6" y="19"/>
                        <a:pt x="6" y="19"/>
                      </a:cubicBezTo>
                      <a:cubicBezTo>
                        <a:pt x="9" y="17"/>
                        <a:pt x="8" y="16"/>
                        <a:pt x="10" y="16"/>
                      </a:cubicBezTo>
                      <a:cubicBezTo>
                        <a:pt x="11" y="16"/>
                        <a:pt x="11" y="16"/>
                        <a:pt x="12" y="16"/>
                      </a:cubicBezTo>
                      <a:cubicBezTo>
                        <a:pt x="10" y="19"/>
                        <a:pt x="12" y="21"/>
                        <a:pt x="12" y="23"/>
                      </a:cubicBezTo>
                      <a:cubicBezTo>
                        <a:pt x="11" y="27"/>
                        <a:pt x="7" y="31"/>
                        <a:pt x="12" y="33"/>
                      </a:cubicBezTo>
                      <a:cubicBezTo>
                        <a:pt x="14" y="25"/>
                        <a:pt x="17" y="16"/>
                        <a:pt x="18" y="8"/>
                      </a:cubicBezTo>
                      <a:cubicBezTo>
                        <a:pt x="17" y="9"/>
                        <a:pt x="17" y="9"/>
                        <a:pt x="16" y="10"/>
                      </a:cubicBezTo>
                      <a:cubicBezTo>
                        <a:pt x="16" y="7"/>
                        <a:pt x="13" y="3"/>
                        <a:pt x="12" y="1"/>
                      </a:cubicBezTo>
                      <a:cubicBezTo>
                        <a:pt x="11" y="0"/>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69" name="Freeform 47">
                  <a:extLst>
                    <a:ext uri="{FF2B5EF4-FFF2-40B4-BE49-F238E27FC236}">
                      <a16:creationId xmlns:a16="http://schemas.microsoft.com/office/drawing/2014/main" id="{3A4CAAF6-B0E7-4974-86C9-8DB4260AD40E}"/>
                    </a:ext>
                  </a:extLst>
                </p:cNvPr>
                <p:cNvSpPr>
                  <a:spLocks/>
                </p:cNvSpPr>
                <p:nvPr/>
              </p:nvSpPr>
              <p:spPr bwMode="auto">
                <a:xfrm>
                  <a:off x="3858316" y="3294494"/>
                  <a:ext cx="44221" cy="36851"/>
                </a:xfrm>
                <a:custGeom>
                  <a:avLst/>
                  <a:gdLst>
                    <a:gd name="T0" fmla="*/ 6 w 13"/>
                    <a:gd name="T1" fmla="*/ 0 h 11"/>
                    <a:gd name="T2" fmla="*/ 9 w 13"/>
                    <a:gd name="T3" fmla="*/ 11 h 11"/>
                    <a:gd name="T4" fmla="*/ 11 w 13"/>
                    <a:gd name="T5" fmla="*/ 6 h 11"/>
                    <a:gd name="T6" fmla="*/ 10 w 13"/>
                    <a:gd name="T7" fmla="*/ 2 h 11"/>
                    <a:gd name="T8" fmla="*/ 7 w 13"/>
                    <a:gd name="T9" fmla="*/ 0 h 11"/>
                    <a:gd name="T10" fmla="*/ 6 w 13"/>
                    <a:gd name="T11" fmla="*/ 0 h 11"/>
                  </a:gdLst>
                  <a:ahLst/>
                  <a:cxnLst>
                    <a:cxn ang="0">
                      <a:pos x="T0" y="T1"/>
                    </a:cxn>
                    <a:cxn ang="0">
                      <a:pos x="T2" y="T3"/>
                    </a:cxn>
                    <a:cxn ang="0">
                      <a:pos x="T4" y="T5"/>
                    </a:cxn>
                    <a:cxn ang="0">
                      <a:pos x="T6" y="T7"/>
                    </a:cxn>
                    <a:cxn ang="0">
                      <a:pos x="T8" y="T9"/>
                    </a:cxn>
                    <a:cxn ang="0">
                      <a:pos x="T10" y="T11"/>
                    </a:cxn>
                  </a:cxnLst>
                  <a:rect l="0" t="0" r="r" b="b"/>
                  <a:pathLst>
                    <a:path w="13" h="11">
                      <a:moveTo>
                        <a:pt x="6" y="0"/>
                      </a:moveTo>
                      <a:cubicBezTo>
                        <a:pt x="0" y="0"/>
                        <a:pt x="8" y="10"/>
                        <a:pt x="9" y="11"/>
                      </a:cubicBezTo>
                      <a:cubicBezTo>
                        <a:pt x="13" y="11"/>
                        <a:pt x="12" y="8"/>
                        <a:pt x="11" y="6"/>
                      </a:cubicBezTo>
                      <a:cubicBezTo>
                        <a:pt x="11" y="6"/>
                        <a:pt x="10" y="3"/>
                        <a:pt x="10" y="2"/>
                      </a:cubicBezTo>
                      <a:cubicBezTo>
                        <a:pt x="9" y="1"/>
                        <a:pt x="8" y="0"/>
                        <a:pt x="7" y="0"/>
                      </a:cubicBezTo>
                      <a:cubicBezTo>
                        <a:pt x="7"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70" name="Freeform 48">
                  <a:extLst>
                    <a:ext uri="{FF2B5EF4-FFF2-40B4-BE49-F238E27FC236}">
                      <a16:creationId xmlns:a16="http://schemas.microsoft.com/office/drawing/2014/main" id="{E9810259-EB68-4864-8C3C-83D4F50374C3}"/>
                    </a:ext>
                  </a:extLst>
                </p:cNvPr>
                <p:cNvSpPr>
                  <a:spLocks/>
                </p:cNvSpPr>
                <p:nvPr/>
              </p:nvSpPr>
              <p:spPr bwMode="auto">
                <a:xfrm>
                  <a:off x="3740393" y="3043906"/>
                  <a:ext cx="106868" cy="81073"/>
                </a:xfrm>
                <a:custGeom>
                  <a:avLst/>
                  <a:gdLst>
                    <a:gd name="T0" fmla="*/ 15 w 34"/>
                    <a:gd name="T1" fmla="*/ 0 h 26"/>
                    <a:gd name="T2" fmla="*/ 13 w 34"/>
                    <a:gd name="T3" fmla="*/ 6 h 26"/>
                    <a:gd name="T4" fmla="*/ 11 w 34"/>
                    <a:gd name="T5" fmla="*/ 7 h 26"/>
                    <a:gd name="T6" fmla="*/ 6 w 34"/>
                    <a:gd name="T7" fmla="*/ 3 h 26"/>
                    <a:gd name="T8" fmla="*/ 6 w 34"/>
                    <a:gd name="T9" fmla="*/ 9 h 26"/>
                    <a:gd name="T10" fmla="*/ 3 w 34"/>
                    <a:gd name="T11" fmla="*/ 7 h 26"/>
                    <a:gd name="T12" fmla="*/ 3 w 34"/>
                    <a:gd name="T13" fmla="*/ 7 h 26"/>
                    <a:gd name="T14" fmla="*/ 5 w 34"/>
                    <a:gd name="T15" fmla="*/ 10 h 26"/>
                    <a:gd name="T16" fmla="*/ 13 w 34"/>
                    <a:gd name="T17" fmla="*/ 14 h 26"/>
                    <a:gd name="T18" fmla="*/ 13 w 34"/>
                    <a:gd name="T19" fmla="*/ 14 h 26"/>
                    <a:gd name="T20" fmla="*/ 10 w 34"/>
                    <a:gd name="T21" fmla="*/ 15 h 26"/>
                    <a:gd name="T22" fmla="*/ 21 w 34"/>
                    <a:gd name="T23" fmla="*/ 20 h 26"/>
                    <a:gd name="T24" fmla="*/ 23 w 34"/>
                    <a:gd name="T25" fmla="*/ 18 h 26"/>
                    <a:gd name="T26" fmla="*/ 26 w 34"/>
                    <a:gd name="T27" fmla="*/ 20 h 26"/>
                    <a:gd name="T28" fmla="*/ 28 w 34"/>
                    <a:gd name="T29" fmla="*/ 20 h 26"/>
                    <a:gd name="T30" fmla="*/ 23 w 34"/>
                    <a:gd name="T31" fmla="*/ 26 h 26"/>
                    <a:gd name="T32" fmla="*/ 28 w 34"/>
                    <a:gd name="T33" fmla="*/ 23 h 26"/>
                    <a:gd name="T34" fmla="*/ 30 w 34"/>
                    <a:gd name="T35" fmla="*/ 21 h 26"/>
                    <a:gd name="T36" fmla="*/ 34 w 34"/>
                    <a:gd name="T37" fmla="*/ 17 h 26"/>
                    <a:gd name="T38" fmla="*/ 25 w 34"/>
                    <a:gd name="T39" fmla="*/ 17 h 26"/>
                    <a:gd name="T40" fmla="*/ 23 w 34"/>
                    <a:gd name="T41" fmla="*/ 16 h 26"/>
                    <a:gd name="T42" fmla="*/ 22 w 34"/>
                    <a:gd name="T43" fmla="*/ 16 h 26"/>
                    <a:gd name="T44" fmla="*/ 22 w 34"/>
                    <a:gd name="T45" fmla="*/ 15 h 26"/>
                    <a:gd name="T46" fmla="*/ 20 w 34"/>
                    <a:gd name="T47" fmla="*/ 15 h 26"/>
                    <a:gd name="T48" fmla="*/ 19 w 34"/>
                    <a:gd name="T49" fmla="*/ 11 h 26"/>
                    <a:gd name="T50" fmla="*/ 18 w 34"/>
                    <a:gd name="T51" fmla="*/ 11 h 26"/>
                    <a:gd name="T52" fmla="*/ 19 w 34"/>
                    <a:gd name="T53" fmla="*/ 2 h 26"/>
                    <a:gd name="T54" fmla="*/ 16 w 34"/>
                    <a:gd name="T55" fmla="*/ 0 h 26"/>
                    <a:gd name="T56" fmla="*/ 15 w 34"/>
                    <a:gd name="T5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 h="26">
                      <a:moveTo>
                        <a:pt x="15" y="0"/>
                      </a:moveTo>
                      <a:cubicBezTo>
                        <a:pt x="13" y="0"/>
                        <a:pt x="12" y="3"/>
                        <a:pt x="13" y="6"/>
                      </a:cubicBezTo>
                      <a:cubicBezTo>
                        <a:pt x="12" y="7"/>
                        <a:pt x="12" y="7"/>
                        <a:pt x="11" y="7"/>
                      </a:cubicBezTo>
                      <a:cubicBezTo>
                        <a:pt x="10" y="7"/>
                        <a:pt x="8" y="4"/>
                        <a:pt x="6" y="3"/>
                      </a:cubicBezTo>
                      <a:cubicBezTo>
                        <a:pt x="6" y="5"/>
                        <a:pt x="6" y="7"/>
                        <a:pt x="6" y="9"/>
                      </a:cubicBezTo>
                      <a:cubicBezTo>
                        <a:pt x="5" y="8"/>
                        <a:pt x="4" y="7"/>
                        <a:pt x="3" y="7"/>
                      </a:cubicBezTo>
                      <a:cubicBezTo>
                        <a:pt x="3" y="7"/>
                        <a:pt x="3" y="7"/>
                        <a:pt x="3" y="7"/>
                      </a:cubicBezTo>
                      <a:cubicBezTo>
                        <a:pt x="0" y="7"/>
                        <a:pt x="4" y="10"/>
                        <a:pt x="5" y="10"/>
                      </a:cubicBezTo>
                      <a:cubicBezTo>
                        <a:pt x="8" y="11"/>
                        <a:pt x="11" y="12"/>
                        <a:pt x="13" y="14"/>
                      </a:cubicBezTo>
                      <a:cubicBezTo>
                        <a:pt x="13" y="14"/>
                        <a:pt x="13" y="14"/>
                        <a:pt x="13" y="14"/>
                      </a:cubicBezTo>
                      <a:cubicBezTo>
                        <a:pt x="12" y="14"/>
                        <a:pt x="11" y="15"/>
                        <a:pt x="10" y="15"/>
                      </a:cubicBezTo>
                      <a:cubicBezTo>
                        <a:pt x="11" y="17"/>
                        <a:pt x="18" y="20"/>
                        <a:pt x="21" y="20"/>
                      </a:cubicBezTo>
                      <a:cubicBezTo>
                        <a:pt x="23" y="20"/>
                        <a:pt x="23" y="20"/>
                        <a:pt x="23" y="18"/>
                      </a:cubicBezTo>
                      <a:cubicBezTo>
                        <a:pt x="24" y="19"/>
                        <a:pt x="25" y="20"/>
                        <a:pt x="26" y="20"/>
                      </a:cubicBezTo>
                      <a:cubicBezTo>
                        <a:pt x="27" y="20"/>
                        <a:pt x="27" y="20"/>
                        <a:pt x="28" y="20"/>
                      </a:cubicBezTo>
                      <a:cubicBezTo>
                        <a:pt x="27" y="22"/>
                        <a:pt x="25" y="24"/>
                        <a:pt x="23" y="26"/>
                      </a:cubicBezTo>
                      <a:cubicBezTo>
                        <a:pt x="26" y="25"/>
                        <a:pt x="26" y="25"/>
                        <a:pt x="28" y="23"/>
                      </a:cubicBezTo>
                      <a:cubicBezTo>
                        <a:pt x="30" y="21"/>
                        <a:pt x="30" y="21"/>
                        <a:pt x="30" y="21"/>
                      </a:cubicBezTo>
                      <a:cubicBezTo>
                        <a:pt x="31" y="20"/>
                        <a:pt x="34" y="20"/>
                        <a:pt x="34" y="17"/>
                      </a:cubicBezTo>
                      <a:cubicBezTo>
                        <a:pt x="31" y="17"/>
                        <a:pt x="28" y="17"/>
                        <a:pt x="25" y="17"/>
                      </a:cubicBezTo>
                      <a:cubicBezTo>
                        <a:pt x="24" y="16"/>
                        <a:pt x="24" y="16"/>
                        <a:pt x="23" y="16"/>
                      </a:cubicBezTo>
                      <a:cubicBezTo>
                        <a:pt x="22" y="16"/>
                        <a:pt x="22" y="16"/>
                        <a:pt x="22" y="16"/>
                      </a:cubicBezTo>
                      <a:cubicBezTo>
                        <a:pt x="22" y="16"/>
                        <a:pt x="22" y="15"/>
                        <a:pt x="22" y="15"/>
                      </a:cubicBezTo>
                      <a:cubicBezTo>
                        <a:pt x="21" y="15"/>
                        <a:pt x="21" y="15"/>
                        <a:pt x="20" y="15"/>
                      </a:cubicBezTo>
                      <a:cubicBezTo>
                        <a:pt x="20" y="14"/>
                        <a:pt x="21" y="11"/>
                        <a:pt x="19" y="11"/>
                      </a:cubicBezTo>
                      <a:cubicBezTo>
                        <a:pt x="19" y="11"/>
                        <a:pt x="19" y="11"/>
                        <a:pt x="18" y="11"/>
                      </a:cubicBezTo>
                      <a:cubicBezTo>
                        <a:pt x="21" y="9"/>
                        <a:pt x="20" y="5"/>
                        <a:pt x="19" y="2"/>
                      </a:cubicBezTo>
                      <a:cubicBezTo>
                        <a:pt x="18" y="2"/>
                        <a:pt x="16" y="0"/>
                        <a:pt x="16" y="0"/>
                      </a:cubicBezTo>
                      <a:cubicBezTo>
                        <a:pt x="16" y="0"/>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71" name="Freeform 49">
                  <a:extLst>
                    <a:ext uri="{FF2B5EF4-FFF2-40B4-BE49-F238E27FC236}">
                      <a16:creationId xmlns:a16="http://schemas.microsoft.com/office/drawing/2014/main" id="{27547240-68FE-4F3B-B35D-8FB2D779E6D4}"/>
                    </a:ext>
                  </a:extLst>
                </p:cNvPr>
                <p:cNvSpPr>
                  <a:spLocks/>
                </p:cNvSpPr>
                <p:nvPr/>
              </p:nvSpPr>
              <p:spPr bwMode="auto">
                <a:xfrm>
                  <a:off x="4215773" y="3906223"/>
                  <a:ext cx="44221" cy="18426"/>
                </a:xfrm>
                <a:custGeom>
                  <a:avLst/>
                  <a:gdLst>
                    <a:gd name="T0" fmla="*/ 7 w 14"/>
                    <a:gd name="T1" fmla="*/ 0 h 6"/>
                    <a:gd name="T2" fmla="*/ 0 w 14"/>
                    <a:gd name="T3" fmla="*/ 3 h 6"/>
                    <a:gd name="T4" fmla="*/ 8 w 14"/>
                    <a:gd name="T5" fmla="*/ 6 h 6"/>
                    <a:gd name="T6" fmla="*/ 14 w 14"/>
                    <a:gd name="T7" fmla="*/ 2 h 6"/>
                    <a:gd name="T8" fmla="*/ 7 w 14"/>
                    <a:gd name="T9" fmla="*/ 0 h 6"/>
                  </a:gdLst>
                  <a:ahLst/>
                  <a:cxnLst>
                    <a:cxn ang="0">
                      <a:pos x="T0" y="T1"/>
                    </a:cxn>
                    <a:cxn ang="0">
                      <a:pos x="T2" y="T3"/>
                    </a:cxn>
                    <a:cxn ang="0">
                      <a:pos x="T4" y="T5"/>
                    </a:cxn>
                    <a:cxn ang="0">
                      <a:pos x="T6" y="T7"/>
                    </a:cxn>
                    <a:cxn ang="0">
                      <a:pos x="T8" y="T9"/>
                    </a:cxn>
                  </a:cxnLst>
                  <a:rect l="0" t="0" r="r" b="b"/>
                  <a:pathLst>
                    <a:path w="14" h="6">
                      <a:moveTo>
                        <a:pt x="7" y="0"/>
                      </a:moveTo>
                      <a:cubicBezTo>
                        <a:pt x="4" y="0"/>
                        <a:pt x="2" y="1"/>
                        <a:pt x="0" y="3"/>
                      </a:cubicBezTo>
                      <a:cubicBezTo>
                        <a:pt x="2" y="4"/>
                        <a:pt x="5" y="5"/>
                        <a:pt x="8" y="6"/>
                      </a:cubicBezTo>
                      <a:cubicBezTo>
                        <a:pt x="12" y="6"/>
                        <a:pt x="11" y="3"/>
                        <a:pt x="14" y="2"/>
                      </a:cubicBezTo>
                      <a:cubicBezTo>
                        <a:pt x="12" y="1"/>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72" name="Freeform 50">
                  <a:extLst>
                    <a:ext uri="{FF2B5EF4-FFF2-40B4-BE49-F238E27FC236}">
                      <a16:creationId xmlns:a16="http://schemas.microsoft.com/office/drawing/2014/main" id="{A232CCDF-A59F-4B48-9F44-C3B15DD625F6}"/>
                    </a:ext>
                  </a:extLst>
                </p:cNvPr>
                <p:cNvSpPr>
                  <a:spLocks/>
                </p:cNvSpPr>
                <p:nvPr/>
              </p:nvSpPr>
              <p:spPr bwMode="auto">
                <a:xfrm>
                  <a:off x="3714597" y="3010740"/>
                  <a:ext cx="36851" cy="25796"/>
                </a:xfrm>
                <a:custGeom>
                  <a:avLst/>
                  <a:gdLst>
                    <a:gd name="T0" fmla="*/ 7 w 12"/>
                    <a:gd name="T1" fmla="*/ 0 h 8"/>
                    <a:gd name="T2" fmla="*/ 1 w 12"/>
                    <a:gd name="T3" fmla="*/ 4 h 8"/>
                    <a:gd name="T4" fmla="*/ 0 w 12"/>
                    <a:gd name="T5" fmla="*/ 3 h 8"/>
                    <a:gd name="T6" fmla="*/ 4 w 12"/>
                    <a:gd name="T7" fmla="*/ 8 h 8"/>
                    <a:gd name="T8" fmla="*/ 4 w 12"/>
                    <a:gd name="T9" fmla="*/ 8 h 8"/>
                    <a:gd name="T10" fmla="*/ 9 w 12"/>
                    <a:gd name="T11" fmla="*/ 1 h 8"/>
                    <a:gd name="T12" fmla="*/ 7 w 12"/>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2" h="8">
                      <a:moveTo>
                        <a:pt x="7" y="0"/>
                      </a:moveTo>
                      <a:cubicBezTo>
                        <a:pt x="4" y="0"/>
                        <a:pt x="3" y="2"/>
                        <a:pt x="1" y="4"/>
                      </a:cubicBezTo>
                      <a:cubicBezTo>
                        <a:pt x="1" y="4"/>
                        <a:pt x="0" y="3"/>
                        <a:pt x="0" y="3"/>
                      </a:cubicBezTo>
                      <a:cubicBezTo>
                        <a:pt x="0" y="4"/>
                        <a:pt x="3" y="7"/>
                        <a:pt x="4" y="8"/>
                      </a:cubicBezTo>
                      <a:cubicBezTo>
                        <a:pt x="4" y="8"/>
                        <a:pt x="4" y="8"/>
                        <a:pt x="4" y="8"/>
                      </a:cubicBezTo>
                      <a:cubicBezTo>
                        <a:pt x="7" y="8"/>
                        <a:pt x="12" y="3"/>
                        <a:pt x="9" y="1"/>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73" name="Freeform 51">
                  <a:extLst>
                    <a:ext uri="{FF2B5EF4-FFF2-40B4-BE49-F238E27FC236}">
                      <a16:creationId xmlns:a16="http://schemas.microsoft.com/office/drawing/2014/main" id="{DF1C6D7C-CA60-4AA6-83E2-A3115D0C81D2}"/>
                    </a:ext>
                  </a:extLst>
                </p:cNvPr>
                <p:cNvSpPr>
                  <a:spLocks/>
                </p:cNvSpPr>
                <p:nvPr/>
              </p:nvSpPr>
              <p:spPr bwMode="auto">
                <a:xfrm>
                  <a:off x="3707227" y="2940723"/>
                  <a:ext cx="95813" cy="73702"/>
                </a:xfrm>
                <a:custGeom>
                  <a:avLst/>
                  <a:gdLst>
                    <a:gd name="T0" fmla="*/ 26 w 30"/>
                    <a:gd name="T1" fmla="*/ 0 h 24"/>
                    <a:gd name="T2" fmla="*/ 24 w 30"/>
                    <a:gd name="T3" fmla="*/ 0 h 24"/>
                    <a:gd name="T4" fmla="*/ 16 w 30"/>
                    <a:gd name="T5" fmla="*/ 5 h 24"/>
                    <a:gd name="T6" fmla="*/ 13 w 30"/>
                    <a:gd name="T7" fmla="*/ 6 h 24"/>
                    <a:gd name="T8" fmla="*/ 7 w 30"/>
                    <a:gd name="T9" fmla="*/ 12 h 24"/>
                    <a:gd name="T10" fmla="*/ 5 w 30"/>
                    <a:gd name="T11" fmla="*/ 10 h 24"/>
                    <a:gd name="T12" fmla="*/ 4 w 30"/>
                    <a:gd name="T13" fmla="*/ 10 h 24"/>
                    <a:gd name="T14" fmla="*/ 2 w 30"/>
                    <a:gd name="T15" fmla="*/ 20 h 24"/>
                    <a:gd name="T16" fmla="*/ 11 w 30"/>
                    <a:gd name="T17" fmla="*/ 24 h 24"/>
                    <a:gd name="T18" fmla="*/ 15 w 30"/>
                    <a:gd name="T19" fmla="*/ 24 h 24"/>
                    <a:gd name="T20" fmla="*/ 14 w 30"/>
                    <a:gd name="T21" fmla="*/ 18 h 24"/>
                    <a:gd name="T22" fmla="*/ 16 w 30"/>
                    <a:gd name="T23" fmla="*/ 17 h 24"/>
                    <a:gd name="T24" fmla="*/ 17 w 30"/>
                    <a:gd name="T25" fmla="*/ 22 h 24"/>
                    <a:gd name="T26" fmla="*/ 17 w 30"/>
                    <a:gd name="T27" fmla="*/ 23 h 24"/>
                    <a:gd name="T28" fmla="*/ 23 w 30"/>
                    <a:gd name="T29" fmla="*/ 18 h 24"/>
                    <a:gd name="T30" fmla="*/ 17 w 30"/>
                    <a:gd name="T31" fmla="*/ 16 h 24"/>
                    <a:gd name="T32" fmla="*/ 16 w 30"/>
                    <a:gd name="T33" fmla="*/ 16 h 24"/>
                    <a:gd name="T34" fmla="*/ 23 w 30"/>
                    <a:gd name="T35" fmla="*/ 11 h 24"/>
                    <a:gd name="T36" fmla="*/ 27 w 30"/>
                    <a:gd name="T37" fmla="*/ 12 h 24"/>
                    <a:gd name="T38" fmla="*/ 29 w 30"/>
                    <a:gd name="T39" fmla="*/ 11 h 24"/>
                    <a:gd name="T40" fmla="*/ 28 w 30"/>
                    <a:gd name="T41" fmla="*/ 4 h 24"/>
                    <a:gd name="T42" fmla="*/ 26 w 30"/>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24">
                      <a:moveTo>
                        <a:pt x="26" y="0"/>
                      </a:moveTo>
                      <a:cubicBezTo>
                        <a:pt x="26" y="0"/>
                        <a:pt x="25" y="0"/>
                        <a:pt x="24" y="0"/>
                      </a:cubicBezTo>
                      <a:cubicBezTo>
                        <a:pt x="21" y="1"/>
                        <a:pt x="19" y="4"/>
                        <a:pt x="16" y="5"/>
                      </a:cubicBezTo>
                      <a:cubicBezTo>
                        <a:pt x="15" y="6"/>
                        <a:pt x="14" y="5"/>
                        <a:pt x="13" y="6"/>
                      </a:cubicBezTo>
                      <a:cubicBezTo>
                        <a:pt x="11" y="7"/>
                        <a:pt x="9" y="11"/>
                        <a:pt x="7" y="12"/>
                      </a:cubicBezTo>
                      <a:cubicBezTo>
                        <a:pt x="8" y="12"/>
                        <a:pt x="6" y="10"/>
                        <a:pt x="5" y="10"/>
                      </a:cubicBezTo>
                      <a:cubicBezTo>
                        <a:pt x="5" y="10"/>
                        <a:pt x="5" y="10"/>
                        <a:pt x="4" y="10"/>
                      </a:cubicBezTo>
                      <a:cubicBezTo>
                        <a:pt x="0" y="11"/>
                        <a:pt x="4" y="18"/>
                        <a:pt x="2" y="20"/>
                      </a:cubicBezTo>
                      <a:cubicBezTo>
                        <a:pt x="5" y="21"/>
                        <a:pt x="8" y="22"/>
                        <a:pt x="11" y="24"/>
                      </a:cubicBezTo>
                      <a:cubicBezTo>
                        <a:pt x="12" y="24"/>
                        <a:pt x="13" y="24"/>
                        <a:pt x="15" y="24"/>
                      </a:cubicBezTo>
                      <a:cubicBezTo>
                        <a:pt x="13" y="21"/>
                        <a:pt x="11" y="20"/>
                        <a:pt x="14" y="18"/>
                      </a:cubicBezTo>
                      <a:cubicBezTo>
                        <a:pt x="15" y="17"/>
                        <a:pt x="15" y="17"/>
                        <a:pt x="16" y="17"/>
                      </a:cubicBezTo>
                      <a:cubicBezTo>
                        <a:pt x="17" y="17"/>
                        <a:pt x="17" y="20"/>
                        <a:pt x="17" y="22"/>
                      </a:cubicBezTo>
                      <a:cubicBezTo>
                        <a:pt x="17" y="23"/>
                        <a:pt x="17" y="23"/>
                        <a:pt x="17" y="23"/>
                      </a:cubicBezTo>
                      <a:cubicBezTo>
                        <a:pt x="19" y="23"/>
                        <a:pt x="23" y="19"/>
                        <a:pt x="23" y="18"/>
                      </a:cubicBezTo>
                      <a:cubicBezTo>
                        <a:pt x="22" y="17"/>
                        <a:pt x="20" y="16"/>
                        <a:pt x="17" y="16"/>
                      </a:cubicBezTo>
                      <a:cubicBezTo>
                        <a:pt x="17" y="16"/>
                        <a:pt x="17" y="16"/>
                        <a:pt x="16" y="16"/>
                      </a:cubicBezTo>
                      <a:cubicBezTo>
                        <a:pt x="19" y="15"/>
                        <a:pt x="25" y="15"/>
                        <a:pt x="23" y="11"/>
                      </a:cubicBezTo>
                      <a:cubicBezTo>
                        <a:pt x="24" y="11"/>
                        <a:pt x="25" y="12"/>
                        <a:pt x="27" y="12"/>
                      </a:cubicBezTo>
                      <a:cubicBezTo>
                        <a:pt x="27" y="12"/>
                        <a:pt x="28" y="12"/>
                        <a:pt x="29" y="11"/>
                      </a:cubicBezTo>
                      <a:cubicBezTo>
                        <a:pt x="30" y="9"/>
                        <a:pt x="29" y="5"/>
                        <a:pt x="28" y="4"/>
                      </a:cubicBezTo>
                      <a:cubicBezTo>
                        <a:pt x="28" y="2"/>
                        <a:pt x="29"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74" name="Freeform 52">
                  <a:extLst>
                    <a:ext uri="{FF2B5EF4-FFF2-40B4-BE49-F238E27FC236}">
                      <a16:creationId xmlns:a16="http://schemas.microsoft.com/office/drawing/2014/main" id="{28E040D0-703F-41DD-92CC-002997CFDB88}"/>
                    </a:ext>
                  </a:extLst>
                </p:cNvPr>
                <p:cNvSpPr>
                  <a:spLocks/>
                </p:cNvSpPr>
                <p:nvPr/>
              </p:nvSpPr>
              <p:spPr bwMode="auto">
                <a:xfrm>
                  <a:off x="3773559" y="3124979"/>
                  <a:ext cx="22111" cy="14740"/>
                </a:xfrm>
                <a:custGeom>
                  <a:avLst/>
                  <a:gdLst>
                    <a:gd name="T0" fmla="*/ 2 w 7"/>
                    <a:gd name="T1" fmla="*/ 0 h 5"/>
                    <a:gd name="T2" fmla="*/ 4 w 7"/>
                    <a:gd name="T3" fmla="*/ 5 h 5"/>
                    <a:gd name="T4" fmla="*/ 2 w 7"/>
                    <a:gd name="T5" fmla="*/ 0 h 5"/>
                  </a:gdLst>
                  <a:ahLst/>
                  <a:cxnLst>
                    <a:cxn ang="0">
                      <a:pos x="T0" y="T1"/>
                    </a:cxn>
                    <a:cxn ang="0">
                      <a:pos x="T2" y="T3"/>
                    </a:cxn>
                    <a:cxn ang="0">
                      <a:pos x="T4" y="T5"/>
                    </a:cxn>
                  </a:cxnLst>
                  <a:rect l="0" t="0" r="r" b="b"/>
                  <a:pathLst>
                    <a:path w="7" h="5">
                      <a:moveTo>
                        <a:pt x="2" y="0"/>
                      </a:moveTo>
                      <a:cubicBezTo>
                        <a:pt x="1" y="0"/>
                        <a:pt x="0" y="2"/>
                        <a:pt x="4" y="5"/>
                      </a:cubicBezTo>
                      <a:cubicBezTo>
                        <a:pt x="7" y="2"/>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75" name="Freeform 53">
                  <a:extLst>
                    <a:ext uri="{FF2B5EF4-FFF2-40B4-BE49-F238E27FC236}">
                      <a16:creationId xmlns:a16="http://schemas.microsoft.com/office/drawing/2014/main" id="{7B923D09-7992-485C-A516-B3AAE60079E2}"/>
                    </a:ext>
                  </a:extLst>
                </p:cNvPr>
                <p:cNvSpPr>
                  <a:spLocks/>
                </p:cNvSpPr>
                <p:nvPr/>
              </p:nvSpPr>
              <p:spPr bwMode="auto">
                <a:xfrm>
                  <a:off x="3777244" y="3176570"/>
                  <a:ext cx="77387" cy="47907"/>
                </a:xfrm>
                <a:custGeom>
                  <a:avLst/>
                  <a:gdLst>
                    <a:gd name="T0" fmla="*/ 8 w 24"/>
                    <a:gd name="T1" fmla="*/ 0 h 15"/>
                    <a:gd name="T2" fmla="*/ 7 w 24"/>
                    <a:gd name="T3" fmla="*/ 0 h 15"/>
                    <a:gd name="T4" fmla="*/ 3 w 24"/>
                    <a:gd name="T5" fmla="*/ 1 h 15"/>
                    <a:gd name="T6" fmla="*/ 5 w 24"/>
                    <a:gd name="T7" fmla="*/ 5 h 15"/>
                    <a:gd name="T8" fmla="*/ 9 w 24"/>
                    <a:gd name="T9" fmla="*/ 6 h 15"/>
                    <a:gd name="T10" fmla="*/ 11 w 24"/>
                    <a:gd name="T11" fmla="*/ 6 h 15"/>
                    <a:gd name="T12" fmla="*/ 8 w 24"/>
                    <a:gd name="T13" fmla="*/ 11 h 15"/>
                    <a:gd name="T14" fmla="*/ 4 w 24"/>
                    <a:gd name="T15" fmla="*/ 15 h 15"/>
                    <a:gd name="T16" fmla="*/ 14 w 24"/>
                    <a:gd name="T17" fmla="*/ 12 h 15"/>
                    <a:gd name="T18" fmla="*/ 15 w 24"/>
                    <a:gd name="T19" fmla="*/ 12 h 15"/>
                    <a:gd name="T20" fmla="*/ 16 w 24"/>
                    <a:gd name="T21" fmla="*/ 12 h 15"/>
                    <a:gd name="T22" fmla="*/ 16 w 24"/>
                    <a:gd name="T23" fmla="*/ 12 h 15"/>
                    <a:gd name="T24" fmla="*/ 17 w 24"/>
                    <a:gd name="T25" fmla="*/ 13 h 15"/>
                    <a:gd name="T26" fmla="*/ 17 w 24"/>
                    <a:gd name="T27" fmla="*/ 13 h 15"/>
                    <a:gd name="T28" fmla="*/ 20 w 24"/>
                    <a:gd name="T29" fmla="*/ 11 h 15"/>
                    <a:gd name="T30" fmla="*/ 15 w 24"/>
                    <a:gd name="T31" fmla="*/ 5 h 15"/>
                    <a:gd name="T32" fmla="*/ 10 w 24"/>
                    <a:gd name="T33" fmla="*/ 1 h 15"/>
                    <a:gd name="T34" fmla="*/ 8 w 24"/>
                    <a:gd name="T3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15">
                      <a:moveTo>
                        <a:pt x="8" y="0"/>
                      </a:moveTo>
                      <a:cubicBezTo>
                        <a:pt x="7" y="0"/>
                        <a:pt x="7" y="0"/>
                        <a:pt x="7" y="0"/>
                      </a:cubicBezTo>
                      <a:cubicBezTo>
                        <a:pt x="6" y="0"/>
                        <a:pt x="4" y="1"/>
                        <a:pt x="3" y="1"/>
                      </a:cubicBezTo>
                      <a:cubicBezTo>
                        <a:pt x="2" y="4"/>
                        <a:pt x="4" y="3"/>
                        <a:pt x="5" y="5"/>
                      </a:cubicBezTo>
                      <a:cubicBezTo>
                        <a:pt x="6" y="6"/>
                        <a:pt x="8" y="6"/>
                        <a:pt x="9" y="6"/>
                      </a:cubicBezTo>
                      <a:cubicBezTo>
                        <a:pt x="10" y="6"/>
                        <a:pt x="11" y="6"/>
                        <a:pt x="11" y="6"/>
                      </a:cubicBezTo>
                      <a:cubicBezTo>
                        <a:pt x="12" y="9"/>
                        <a:pt x="12" y="11"/>
                        <a:pt x="8" y="11"/>
                      </a:cubicBezTo>
                      <a:cubicBezTo>
                        <a:pt x="5" y="12"/>
                        <a:pt x="0" y="11"/>
                        <a:pt x="4" y="15"/>
                      </a:cubicBezTo>
                      <a:cubicBezTo>
                        <a:pt x="7" y="14"/>
                        <a:pt x="11" y="13"/>
                        <a:pt x="14" y="12"/>
                      </a:cubicBezTo>
                      <a:cubicBezTo>
                        <a:pt x="14" y="12"/>
                        <a:pt x="15" y="12"/>
                        <a:pt x="15" y="12"/>
                      </a:cubicBezTo>
                      <a:cubicBezTo>
                        <a:pt x="15" y="12"/>
                        <a:pt x="16" y="12"/>
                        <a:pt x="16" y="12"/>
                      </a:cubicBezTo>
                      <a:cubicBezTo>
                        <a:pt x="16" y="12"/>
                        <a:pt x="16" y="12"/>
                        <a:pt x="16" y="12"/>
                      </a:cubicBezTo>
                      <a:cubicBezTo>
                        <a:pt x="16" y="13"/>
                        <a:pt x="16" y="13"/>
                        <a:pt x="17" y="13"/>
                      </a:cubicBezTo>
                      <a:cubicBezTo>
                        <a:pt x="17" y="13"/>
                        <a:pt x="17" y="13"/>
                        <a:pt x="17" y="13"/>
                      </a:cubicBezTo>
                      <a:cubicBezTo>
                        <a:pt x="18" y="13"/>
                        <a:pt x="20" y="12"/>
                        <a:pt x="20" y="11"/>
                      </a:cubicBezTo>
                      <a:cubicBezTo>
                        <a:pt x="24" y="7"/>
                        <a:pt x="18" y="6"/>
                        <a:pt x="15" y="5"/>
                      </a:cubicBezTo>
                      <a:cubicBezTo>
                        <a:pt x="12" y="4"/>
                        <a:pt x="12" y="1"/>
                        <a:pt x="10"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76" name="Freeform 54">
                  <a:extLst>
                    <a:ext uri="{FF2B5EF4-FFF2-40B4-BE49-F238E27FC236}">
                      <a16:creationId xmlns:a16="http://schemas.microsoft.com/office/drawing/2014/main" id="{963783FD-34DD-4BF2-B1DE-C5395F23AF8E}"/>
                    </a:ext>
                  </a:extLst>
                </p:cNvPr>
                <p:cNvSpPr>
                  <a:spLocks/>
                </p:cNvSpPr>
                <p:nvPr/>
              </p:nvSpPr>
              <p:spPr bwMode="auto">
                <a:xfrm>
                  <a:off x="3674061" y="3047591"/>
                  <a:ext cx="44221" cy="18426"/>
                </a:xfrm>
                <a:custGeom>
                  <a:avLst/>
                  <a:gdLst>
                    <a:gd name="T0" fmla="*/ 1 w 13"/>
                    <a:gd name="T1" fmla="*/ 0 h 6"/>
                    <a:gd name="T2" fmla="*/ 6 w 13"/>
                    <a:gd name="T3" fmla="*/ 4 h 6"/>
                    <a:gd name="T4" fmla="*/ 8 w 13"/>
                    <a:gd name="T5" fmla="*/ 6 h 6"/>
                    <a:gd name="T6" fmla="*/ 9 w 13"/>
                    <a:gd name="T7" fmla="*/ 6 h 6"/>
                    <a:gd name="T8" fmla="*/ 13 w 13"/>
                    <a:gd name="T9" fmla="*/ 1 h 6"/>
                    <a:gd name="T10" fmla="*/ 6 w 13"/>
                    <a:gd name="T11" fmla="*/ 0 h 6"/>
                    <a:gd name="T12" fmla="*/ 5 w 13"/>
                    <a:gd name="T13" fmla="*/ 0 h 6"/>
                    <a:gd name="T14" fmla="*/ 3 w 13"/>
                    <a:gd name="T15" fmla="*/ 0 h 6"/>
                    <a:gd name="T16" fmla="*/ 1 w 13"/>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6">
                      <a:moveTo>
                        <a:pt x="1" y="0"/>
                      </a:moveTo>
                      <a:cubicBezTo>
                        <a:pt x="0" y="3"/>
                        <a:pt x="4" y="4"/>
                        <a:pt x="6" y="4"/>
                      </a:cubicBezTo>
                      <a:cubicBezTo>
                        <a:pt x="7" y="5"/>
                        <a:pt x="7" y="6"/>
                        <a:pt x="8" y="6"/>
                      </a:cubicBezTo>
                      <a:cubicBezTo>
                        <a:pt x="9" y="6"/>
                        <a:pt x="9" y="6"/>
                        <a:pt x="9" y="6"/>
                      </a:cubicBezTo>
                      <a:cubicBezTo>
                        <a:pt x="12" y="5"/>
                        <a:pt x="12" y="3"/>
                        <a:pt x="13" y="1"/>
                      </a:cubicBezTo>
                      <a:cubicBezTo>
                        <a:pt x="11" y="0"/>
                        <a:pt x="8" y="0"/>
                        <a:pt x="6" y="0"/>
                      </a:cubicBezTo>
                      <a:cubicBezTo>
                        <a:pt x="6" y="0"/>
                        <a:pt x="5" y="0"/>
                        <a:pt x="5" y="0"/>
                      </a:cubicBezTo>
                      <a:cubicBezTo>
                        <a:pt x="4" y="0"/>
                        <a:pt x="4" y="0"/>
                        <a:pt x="3"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77" name="Freeform 55">
                  <a:extLst>
                    <a:ext uri="{FF2B5EF4-FFF2-40B4-BE49-F238E27FC236}">
                      <a16:creationId xmlns:a16="http://schemas.microsoft.com/office/drawing/2014/main" id="{446948D1-F61D-442E-9B2F-06242EA4CB9C}"/>
                    </a:ext>
                  </a:extLst>
                </p:cNvPr>
                <p:cNvSpPr>
                  <a:spLocks/>
                </p:cNvSpPr>
                <p:nvPr/>
              </p:nvSpPr>
              <p:spPr bwMode="auto">
                <a:xfrm>
                  <a:off x="4267364" y="2620118"/>
                  <a:ext cx="25796" cy="22111"/>
                </a:xfrm>
                <a:custGeom>
                  <a:avLst/>
                  <a:gdLst>
                    <a:gd name="T0" fmla="*/ 4 w 8"/>
                    <a:gd name="T1" fmla="*/ 0 h 7"/>
                    <a:gd name="T2" fmla="*/ 2 w 8"/>
                    <a:gd name="T3" fmla="*/ 2 h 7"/>
                    <a:gd name="T4" fmla="*/ 4 w 8"/>
                    <a:gd name="T5" fmla="*/ 7 h 7"/>
                    <a:gd name="T6" fmla="*/ 5 w 8"/>
                    <a:gd name="T7" fmla="*/ 7 h 7"/>
                    <a:gd name="T8" fmla="*/ 5 w 8"/>
                    <a:gd name="T9" fmla="*/ 0 h 7"/>
                    <a:gd name="T10" fmla="*/ 4 w 8"/>
                    <a:gd name="T11" fmla="*/ 0 h 7"/>
                  </a:gdLst>
                  <a:ahLst/>
                  <a:cxnLst>
                    <a:cxn ang="0">
                      <a:pos x="T0" y="T1"/>
                    </a:cxn>
                    <a:cxn ang="0">
                      <a:pos x="T2" y="T3"/>
                    </a:cxn>
                    <a:cxn ang="0">
                      <a:pos x="T4" y="T5"/>
                    </a:cxn>
                    <a:cxn ang="0">
                      <a:pos x="T6" y="T7"/>
                    </a:cxn>
                    <a:cxn ang="0">
                      <a:pos x="T8" y="T9"/>
                    </a:cxn>
                    <a:cxn ang="0">
                      <a:pos x="T10" y="T11"/>
                    </a:cxn>
                  </a:cxnLst>
                  <a:rect l="0" t="0" r="r" b="b"/>
                  <a:pathLst>
                    <a:path w="8" h="7">
                      <a:moveTo>
                        <a:pt x="4" y="0"/>
                      </a:moveTo>
                      <a:cubicBezTo>
                        <a:pt x="3" y="0"/>
                        <a:pt x="3" y="1"/>
                        <a:pt x="2" y="2"/>
                      </a:cubicBezTo>
                      <a:cubicBezTo>
                        <a:pt x="0" y="4"/>
                        <a:pt x="1" y="7"/>
                        <a:pt x="4" y="7"/>
                      </a:cubicBezTo>
                      <a:cubicBezTo>
                        <a:pt x="4" y="7"/>
                        <a:pt x="4" y="7"/>
                        <a:pt x="5" y="7"/>
                      </a:cubicBezTo>
                      <a:cubicBezTo>
                        <a:pt x="5" y="5"/>
                        <a:pt x="8" y="1"/>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78" name="Freeform 56">
                  <a:extLst>
                    <a:ext uri="{FF2B5EF4-FFF2-40B4-BE49-F238E27FC236}">
                      <a16:creationId xmlns:a16="http://schemas.microsoft.com/office/drawing/2014/main" id="{259F9031-47EF-400D-9996-0FC22F813874}"/>
                    </a:ext>
                  </a:extLst>
                </p:cNvPr>
                <p:cNvSpPr>
                  <a:spLocks/>
                </p:cNvSpPr>
                <p:nvPr/>
              </p:nvSpPr>
              <p:spPr bwMode="auto">
                <a:xfrm>
                  <a:off x="4046257" y="2878076"/>
                  <a:ext cx="18426" cy="18426"/>
                </a:xfrm>
                <a:custGeom>
                  <a:avLst/>
                  <a:gdLst>
                    <a:gd name="T0" fmla="*/ 2 w 6"/>
                    <a:gd name="T1" fmla="*/ 0 h 6"/>
                    <a:gd name="T2" fmla="*/ 0 w 6"/>
                    <a:gd name="T3" fmla="*/ 1 h 6"/>
                    <a:gd name="T4" fmla="*/ 5 w 6"/>
                    <a:gd name="T5" fmla="*/ 6 h 6"/>
                    <a:gd name="T6" fmla="*/ 3 w 6"/>
                    <a:gd name="T7" fmla="*/ 1 h 6"/>
                    <a:gd name="T8" fmla="*/ 2 w 6"/>
                    <a:gd name="T9" fmla="*/ 0 h 6"/>
                  </a:gdLst>
                  <a:ahLst/>
                  <a:cxnLst>
                    <a:cxn ang="0">
                      <a:pos x="T0" y="T1"/>
                    </a:cxn>
                    <a:cxn ang="0">
                      <a:pos x="T2" y="T3"/>
                    </a:cxn>
                    <a:cxn ang="0">
                      <a:pos x="T4" y="T5"/>
                    </a:cxn>
                    <a:cxn ang="0">
                      <a:pos x="T6" y="T7"/>
                    </a:cxn>
                    <a:cxn ang="0">
                      <a:pos x="T8" y="T9"/>
                    </a:cxn>
                  </a:cxnLst>
                  <a:rect l="0" t="0" r="r" b="b"/>
                  <a:pathLst>
                    <a:path w="6" h="6">
                      <a:moveTo>
                        <a:pt x="2" y="0"/>
                      </a:moveTo>
                      <a:cubicBezTo>
                        <a:pt x="1" y="0"/>
                        <a:pt x="1" y="0"/>
                        <a:pt x="0" y="1"/>
                      </a:cubicBezTo>
                      <a:cubicBezTo>
                        <a:pt x="2" y="3"/>
                        <a:pt x="4" y="4"/>
                        <a:pt x="5" y="6"/>
                      </a:cubicBezTo>
                      <a:cubicBezTo>
                        <a:pt x="6" y="3"/>
                        <a:pt x="6" y="2"/>
                        <a:pt x="3" y="1"/>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79" name="Freeform 57">
                  <a:extLst>
                    <a:ext uri="{FF2B5EF4-FFF2-40B4-BE49-F238E27FC236}">
                      <a16:creationId xmlns:a16="http://schemas.microsoft.com/office/drawing/2014/main" id="{6545FDEB-DF38-47F2-B14F-652A5FE3C7CB}"/>
                    </a:ext>
                  </a:extLst>
                </p:cNvPr>
                <p:cNvSpPr>
                  <a:spLocks/>
                </p:cNvSpPr>
                <p:nvPr/>
              </p:nvSpPr>
              <p:spPr bwMode="auto">
                <a:xfrm>
                  <a:off x="3791984" y="2914927"/>
                  <a:ext cx="725968" cy="1083424"/>
                </a:xfrm>
                <a:custGeom>
                  <a:avLst/>
                  <a:gdLst>
                    <a:gd name="T0" fmla="*/ 75 w 228"/>
                    <a:gd name="T1" fmla="*/ 2 h 341"/>
                    <a:gd name="T2" fmla="*/ 42 w 228"/>
                    <a:gd name="T3" fmla="*/ 9 h 341"/>
                    <a:gd name="T4" fmla="*/ 31 w 228"/>
                    <a:gd name="T5" fmla="*/ 10 h 341"/>
                    <a:gd name="T6" fmla="*/ 29 w 228"/>
                    <a:gd name="T7" fmla="*/ 17 h 341"/>
                    <a:gd name="T8" fmla="*/ 23 w 228"/>
                    <a:gd name="T9" fmla="*/ 24 h 341"/>
                    <a:gd name="T10" fmla="*/ 23 w 228"/>
                    <a:gd name="T11" fmla="*/ 31 h 341"/>
                    <a:gd name="T12" fmla="*/ 16 w 228"/>
                    <a:gd name="T13" fmla="*/ 35 h 341"/>
                    <a:gd name="T14" fmla="*/ 11 w 228"/>
                    <a:gd name="T15" fmla="*/ 45 h 341"/>
                    <a:gd name="T16" fmla="*/ 22 w 228"/>
                    <a:gd name="T17" fmla="*/ 55 h 341"/>
                    <a:gd name="T18" fmla="*/ 17 w 228"/>
                    <a:gd name="T19" fmla="*/ 64 h 341"/>
                    <a:gd name="T20" fmla="*/ 12 w 228"/>
                    <a:gd name="T21" fmla="*/ 68 h 341"/>
                    <a:gd name="T22" fmla="*/ 16 w 228"/>
                    <a:gd name="T23" fmla="*/ 89 h 341"/>
                    <a:gd name="T24" fmla="*/ 25 w 228"/>
                    <a:gd name="T25" fmla="*/ 87 h 341"/>
                    <a:gd name="T26" fmla="*/ 26 w 228"/>
                    <a:gd name="T27" fmla="*/ 90 h 341"/>
                    <a:gd name="T28" fmla="*/ 15 w 228"/>
                    <a:gd name="T29" fmla="*/ 111 h 341"/>
                    <a:gd name="T30" fmla="*/ 22 w 228"/>
                    <a:gd name="T31" fmla="*/ 115 h 341"/>
                    <a:gd name="T32" fmla="*/ 19 w 228"/>
                    <a:gd name="T33" fmla="*/ 132 h 341"/>
                    <a:gd name="T34" fmla="*/ 22 w 228"/>
                    <a:gd name="T35" fmla="*/ 110 h 341"/>
                    <a:gd name="T36" fmla="*/ 36 w 228"/>
                    <a:gd name="T37" fmla="*/ 99 h 341"/>
                    <a:gd name="T38" fmla="*/ 33 w 228"/>
                    <a:gd name="T39" fmla="*/ 110 h 341"/>
                    <a:gd name="T40" fmla="*/ 45 w 228"/>
                    <a:gd name="T41" fmla="*/ 111 h 341"/>
                    <a:gd name="T42" fmla="*/ 40 w 228"/>
                    <a:gd name="T43" fmla="*/ 120 h 341"/>
                    <a:gd name="T44" fmla="*/ 35 w 228"/>
                    <a:gd name="T45" fmla="*/ 158 h 341"/>
                    <a:gd name="T46" fmla="*/ 53 w 228"/>
                    <a:gd name="T47" fmla="*/ 160 h 341"/>
                    <a:gd name="T48" fmla="*/ 78 w 228"/>
                    <a:gd name="T49" fmla="*/ 149 h 341"/>
                    <a:gd name="T50" fmla="*/ 75 w 228"/>
                    <a:gd name="T51" fmla="*/ 166 h 341"/>
                    <a:gd name="T52" fmla="*/ 89 w 228"/>
                    <a:gd name="T53" fmla="*/ 182 h 341"/>
                    <a:gd name="T54" fmla="*/ 91 w 228"/>
                    <a:gd name="T55" fmla="*/ 202 h 341"/>
                    <a:gd name="T56" fmla="*/ 87 w 228"/>
                    <a:gd name="T57" fmla="*/ 211 h 341"/>
                    <a:gd name="T58" fmla="*/ 59 w 228"/>
                    <a:gd name="T59" fmla="*/ 218 h 341"/>
                    <a:gd name="T60" fmla="*/ 54 w 228"/>
                    <a:gd name="T61" fmla="*/ 222 h 341"/>
                    <a:gd name="T62" fmla="*/ 61 w 228"/>
                    <a:gd name="T63" fmla="*/ 230 h 341"/>
                    <a:gd name="T64" fmla="*/ 32 w 228"/>
                    <a:gd name="T65" fmla="*/ 274 h 341"/>
                    <a:gd name="T66" fmla="*/ 37 w 228"/>
                    <a:gd name="T67" fmla="*/ 279 h 341"/>
                    <a:gd name="T68" fmla="*/ 70 w 228"/>
                    <a:gd name="T69" fmla="*/ 282 h 341"/>
                    <a:gd name="T70" fmla="*/ 89 w 228"/>
                    <a:gd name="T71" fmla="*/ 295 h 341"/>
                    <a:gd name="T72" fmla="*/ 38 w 228"/>
                    <a:gd name="T73" fmla="*/ 320 h 341"/>
                    <a:gd name="T74" fmla="*/ 49 w 228"/>
                    <a:gd name="T75" fmla="*/ 329 h 341"/>
                    <a:gd name="T76" fmla="*/ 63 w 228"/>
                    <a:gd name="T77" fmla="*/ 328 h 341"/>
                    <a:gd name="T78" fmla="*/ 79 w 228"/>
                    <a:gd name="T79" fmla="*/ 315 h 341"/>
                    <a:gd name="T80" fmla="*/ 121 w 228"/>
                    <a:gd name="T81" fmla="*/ 317 h 341"/>
                    <a:gd name="T82" fmla="*/ 125 w 228"/>
                    <a:gd name="T83" fmla="*/ 312 h 341"/>
                    <a:gd name="T84" fmla="*/ 164 w 228"/>
                    <a:gd name="T85" fmla="*/ 311 h 341"/>
                    <a:gd name="T86" fmla="*/ 217 w 228"/>
                    <a:gd name="T87" fmla="*/ 297 h 341"/>
                    <a:gd name="T88" fmla="*/ 214 w 228"/>
                    <a:gd name="T89" fmla="*/ 287 h 341"/>
                    <a:gd name="T90" fmla="*/ 200 w 228"/>
                    <a:gd name="T91" fmla="*/ 283 h 341"/>
                    <a:gd name="T92" fmla="*/ 197 w 228"/>
                    <a:gd name="T93" fmla="*/ 276 h 341"/>
                    <a:gd name="T94" fmla="*/ 208 w 228"/>
                    <a:gd name="T95" fmla="*/ 267 h 341"/>
                    <a:gd name="T96" fmla="*/ 218 w 228"/>
                    <a:gd name="T97" fmla="*/ 264 h 341"/>
                    <a:gd name="T98" fmla="*/ 192 w 228"/>
                    <a:gd name="T99" fmla="*/ 230 h 341"/>
                    <a:gd name="T100" fmla="*/ 181 w 228"/>
                    <a:gd name="T101" fmla="*/ 228 h 341"/>
                    <a:gd name="T102" fmla="*/ 162 w 228"/>
                    <a:gd name="T103" fmla="*/ 200 h 341"/>
                    <a:gd name="T104" fmla="*/ 177 w 228"/>
                    <a:gd name="T105" fmla="*/ 202 h 341"/>
                    <a:gd name="T106" fmla="*/ 142 w 228"/>
                    <a:gd name="T107" fmla="*/ 160 h 341"/>
                    <a:gd name="T108" fmla="*/ 82 w 228"/>
                    <a:gd name="T109" fmla="*/ 108 h 341"/>
                    <a:gd name="T110" fmla="*/ 96 w 228"/>
                    <a:gd name="T111" fmla="*/ 91 h 341"/>
                    <a:gd name="T112" fmla="*/ 126 w 228"/>
                    <a:gd name="T113" fmla="*/ 50 h 341"/>
                    <a:gd name="T114" fmla="*/ 58 w 228"/>
                    <a:gd name="T115" fmla="*/ 49 h 341"/>
                    <a:gd name="T116" fmla="*/ 63 w 228"/>
                    <a:gd name="T117" fmla="*/ 40 h 341"/>
                    <a:gd name="T118" fmla="*/ 75 w 228"/>
                    <a:gd name="T119" fmla="*/ 22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8" h="341">
                      <a:moveTo>
                        <a:pt x="82" y="0"/>
                      </a:moveTo>
                      <a:cubicBezTo>
                        <a:pt x="80" y="0"/>
                        <a:pt x="79" y="2"/>
                        <a:pt x="77" y="3"/>
                      </a:cubicBezTo>
                      <a:cubicBezTo>
                        <a:pt x="77" y="3"/>
                        <a:pt x="77" y="3"/>
                        <a:pt x="77" y="3"/>
                      </a:cubicBezTo>
                      <a:cubicBezTo>
                        <a:pt x="77" y="3"/>
                        <a:pt x="76" y="2"/>
                        <a:pt x="76" y="2"/>
                      </a:cubicBezTo>
                      <a:cubicBezTo>
                        <a:pt x="76" y="2"/>
                        <a:pt x="75" y="2"/>
                        <a:pt x="75" y="2"/>
                      </a:cubicBezTo>
                      <a:cubicBezTo>
                        <a:pt x="75" y="2"/>
                        <a:pt x="75" y="2"/>
                        <a:pt x="75" y="2"/>
                      </a:cubicBezTo>
                      <a:cubicBezTo>
                        <a:pt x="73" y="2"/>
                        <a:pt x="68" y="4"/>
                        <a:pt x="65" y="4"/>
                      </a:cubicBezTo>
                      <a:cubicBezTo>
                        <a:pt x="64" y="4"/>
                        <a:pt x="63" y="4"/>
                        <a:pt x="63" y="3"/>
                      </a:cubicBezTo>
                      <a:cubicBezTo>
                        <a:pt x="60" y="7"/>
                        <a:pt x="54" y="4"/>
                        <a:pt x="50" y="9"/>
                      </a:cubicBezTo>
                      <a:cubicBezTo>
                        <a:pt x="51" y="7"/>
                        <a:pt x="52" y="5"/>
                        <a:pt x="50" y="4"/>
                      </a:cubicBezTo>
                      <a:cubicBezTo>
                        <a:pt x="49" y="4"/>
                        <a:pt x="49" y="4"/>
                        <a:pt x="48" y="4"/>
                      </a:cubicBezTo>
                      <a:cubicBezTo>
                        <a:pt x="46" y="4"/>
                        <a:pt x="44" y="8"/>
                        <a:pt x="42" y="9"/>
                      </a:cubicBezTo>
                      <a:cubicBezTo>
                        <a:pt x="43" y="7"/>
                        <a:pt x="45" y="5"/>
                        <a:pt x="44" y="4"/>
                      </a:cubicBezTo>
                      <a:cubicBezTo>
                        <a:pt x="44" y="3"/>
                        <a:pt x="43" y="3"/>
                        <a:pt x="42" y="3"/>
                      </a:cubicBezTo>
                      <a:cubicBezTo>
                        <a:pt x="41" y="3"/>
                        <a:pt x="41" y="3"/>
                        <a:pt x="40" y="4"/>
                      </a:cubicBezTo>
                      <a:cubicBezTo>
                        <a:pt x="40" y="2"/>
                        <a:pt x="39" y="2"/>
                        <a:pt x="37" y="2"/>
                      </a:cubicBezTo>
                      <a:cubicBezTo>
                        <a:pt x="37" y="2"/>
                        <a:pt x="37" y="2"/>
                        <a:pt x="37" y="2"/>
                      </a:cubicBezTo>
                      <a:cubicBezTo>
                        <a:pt x="34" y="2"/>
                        <a:pt x="32" y="6"/>
                        <a:pt x="31" y="10"/>
                      </a:cubicBezTo>
                      <a:cubicBezTo>
                        <a:pt x="30" y="15"/>
                        <a:pt x="33" y="17"/>
                        <a:pt x="37" y="17"/>
                      </a:cubicBezTo>
                      <a:cubicBezTo>
                        <a:pt x="37" y="17"/>
                        <a:pt x="37" y="17"/>
                        <a:pt x="37" y="17"/>
                      </a:cubicBezTo>
                      <a:cubicBezTo>
                        <a:pt x="36" y="17"/>
                        <a:pt x="35" y="17"/>
                        <a:pt x="34" y="17"/>
                      </a:cubicBezTo>
                      <a:cubicBezTo>
                        <a:pt x="33" y="17"/>
                        <a:pt x="33" y="17"/>
                        <a:pt x="32" y="17"/>
                      </a:cubicBezTo>
                      <a:cubicBezTo>
                        <a:pt x="32" y="17"/>
                        <a:pt x="31" y="17"/>
                        <a:pt x="30" y="17"/>
                      </a:cubicBezTo>
                      <a:cubicBezTo>
                        <a:pt x="30" y="17"/>
                        <a:pt x="30" y="17"/>
                        <a:pt x="29" y="17"/>
                      </a:cubicBezTo>
                      <a:cubicBezTo>
                        <a:pt x="28" y="17"/>
                        <a:pt x="27" y="17"/>
                        <a:pt x="26" y="17"/>
                      </a:cubicBezTo>
                      <a:cubicBezTo>
                        <a:pt x="26" y="17"/>
                        <a:pt x="25" y="17"/>
                        <a:pt x="24" y="17"/>
                      </a:cubicBezTo>
                      <a:cubicBezTo>
                        <a:pt x="25" y="19"/>
                        <a:pt x="26" y="21"/>
                        <a:pt x="28" y="21"/>
                      </a:cubicBezTo>
                      <a:cubicBezTo>
                        <a:pt x="27" y="22"/>
                        <a:pt x="26" y="24"/>
                        <a:pt x="25" y="25"/>
                      </a:cubicBezTo>
                      <a:cubicBezTo>
                        <a:pt x="25" y="24"/>
                        <a:pt x="23" y="23"/>
                        <a:pt x="23" y="23"/>
                      </a:cubicBezTo>
                      <a:cubicBezTo>
                        <a:pt x="23" y="23"/>
                        <a:pt x="22" y="24"/>
                        <a:pt x="23" y="24"/>
                      </a:cubicBezTo>
                      <a:cubicBezTo>
                        <a:pt x="23" y="26"/>
                        <a:pt x="26" y="28"/>
                        <a:pt x="27" y="28"/>
                      </a:cubicBezTo>
                      <a:cubicBezTo>
                        <a:pt x="29" y="30"/>
                        <a:pt x="32" y="31"/>
                        <a:pt x="33" y="34"/>
                      </a:cubicBezTo>
                      <a:cubicBezTo>
                        <a:pt x="30" y="32"/>
                        <a:pt x="27" y="30"/>
                        <a:pt x="24" y="30"/>
                      </a:cubicBezTo>
                      <a:cubicBezTo>
                        <a:pt x="24" y="30"/>
                        <a:pt x="24" y="30"/>
                        <a:pt x="24" y="30"/>
                      </a:cubicBezTo>
                      <a:cubicBezTo>
                        <a:pt x="25" y="32"/>
                        <a:pt x="27" y="32"/>
                        <a:pt x="29" y="34"/>
                      </a:cubicBezTo>
                      <a:cubicBezTo>
                        <a:pt x="27" y="33"/>
                        <a:pt x="25" y="31"/>
                        <a:pt x="23" y="31"/>
                      </a:cubicBezTo>
                      <a:cubicBezTo>
                        <a:pt x="23" y="31"/>
                        <a:pt x="23" y="31"/>
                        <a:pt x="23" y="31"/>
                      </a:cubicBezTo>
                      <a:cubicBezTo>
                        <a:pt x="22" y="32"/>
                        <a:pt x="23" y="33"/>
                        <a:pt x="21" y="33"/>
                      </a:cubicBezTo>
                      <a:cubicBezTo>
                        <a:pt x="21" y="33"/>
                        <a:pt x="21" y="33"/>
                        <a:pt x="21" y="33"/>
                      </a:cubicBezTo>
                      <a:cubicBezTo>
                        <a:pt x="19" y="33"/>
                        <a:pt x="20" y="31"/>
                        <a:pt x="18" y="31"/>
                      </a:cubicBezTo>
                      <a:cubicBezTo>
                        <a:pt x="18" y="31"/>
                        <a:pt x="18" y="31"/>
                        <a:pt x="18" y="31"/>
                      </a:cubicBezTo>
                      <a:cubicBezTo>
                        <a:pt x="16" y="31"/>
                        <a:pt x="17" y="33"/>
                        <a:pt x="16" y="35"/>
                      </a:cubicBezTo>
                      <a:cubicBezTo>
                        <a:pt x="16" y="34"/>
                        <a:pt x="15" y="33"/>
                        <a:pt x="14" y="33"/>
                      </a:cubicBezTo>
                      <a:cubicBezTo>
                        <a:pt x="13" y="33"/>
                        <a:pt x="13" y="33"/>
                        <a:pt x="12" y="33"/>
                      </a:cubicBezTo>
                      <a:cubicBezTo>
                        <a:pt x="10" y="36"/>
                        <a:pt x="18" y="46"/>
                        <a:pt x="21" y="46"/>
                      </a:cubicBezTo>
                      <a:cubicBezTo>
                        <a:pt x="19" y="47"/>
                        <a:pt x="18" y="47"/>
                        <a:pt x="17" y="47"/>
                      </a:cubicBezTo>
                      <a:cubicBezTo>
                        <a:pt x="16" y="47"/>
                        <a:pt x="16" y="47"/>
                        <a:pt x="14" y="46"/>
                      </a:cubicBezTo>
                      <a:cubicBezTo>
                        <a:pt x="13" y="46"/>
                        <a:pt x="12" y="45"/>
                        <a:pt x="11" y="45"/>
                      </a:cubicBezTo>
                      <a:cubicBezTo>
                        <a:pt x="11" y="45"/>
                        <a:pt x="11" y="46"/>
                        <a:pt x="11" y="48"/>
                      </a:cubicBezTo>
                      <a:cubicBezTo>
                        <a:pt x="11" y="52"/>
                        <a:pt x="17" y="51"/>
                        <a:pt x="18" y="53"/>
                      </a:cubicBezTo>
                      <a:cubicBezTo>
                        <a:pt x="19" y="53"/>
                        <a:pt x="19" y="53"/>
                        <a:pt x="19" y="53"/>
                      </a:cubicBezTo>
                      <a:cubicBezTo>
                        <a:pt x="17" y="54"/>
                        <a:pt x="15" y="54"/>
                        <a:pt x="14" y="56"/>
                      </a:cubicBezTo>
                      <a:cubicBezTo>
                        <a:pt x="16" y="57"/>
                        <a:pt x="17" y="57"/>
                        <a:pt x="18" y="57"/>
                      </a:cubicBezTo>
                      <a:cubicBezTo>
                        <a:pt x="19" y="57"/>
                        <a:pt x="20" y="56"/>
                        <a:pt x="22" y="55"/>
                      </a:cubicBezTo>
                      <a:cubicBezTo>
                        <a:pt x="20" y="58"/>
                        <a:pt x="16" y="58"/>
                        <a:pt x="16" y="61"/>
                      </a:cubicBezTo>
                      <a:cubicBezTo>
                        <a:pt x="16" y="63"/>
                        <a:pt x="19" y="64"/>
                        <a:pt x="21" y="64"/>
                      </a:cubicBezTo>
                      <a:cubicBezTo>
                        <a:pt x="22" y="64"/>
                        <a:pt x="23" y="64"/>
                        <a:pt x="24" y="64"/>
                      </a:cubicBezTo>
                      <a:cubicBezTo>
                        <a:pt x="22" y="64"/>
                        <a:pt x="22" y="64"/>
                        <a:pt x="21" y="64"/>
                      </a:cubicBezTo>
                      <a:cubicBezTo>
                        <a:pt x="20" y="64"/>
                        <a:pt x="20" y="64"/>
                        <a:pt x="19" y="64"/>
                      </a:cubicBezTo>
                      <a:cubicBezTo>
                        <a:pt x="18" y="64"/>
                        <a:pt x="18" y="64"/>
                        <a:pt x="17" y="64"/>
                      </a:cubicBezTo>
                      <a:cubicBezTo>
                        <a:pt x="16" y="64"/>
                        <a:pt x="16" y="64"/>
                        <a:pt x="16" y="64"/>
                      </a:cubicBezTo>
                      <a:cubicBezTo>
                        <a:pt x="10" y="65"/>
                        <a:pt x="16" y="68"/>
                        <a:pt x="20" y="68"/>
                      </a:cubicBezTo>
                      <a:cubicBezTo>
                        <a:pt x="19" y="69"/>
                        <a:pt x="18" y="69"/>
                        <a:pt x="18" y="69"/>
                      </a:cubicBezTo>
                      <a:cubicBezTo>
                        <a:pt x="17" y="69"/>
                        <a:pt x="16" y="69"/>
                        <a:pt x="15" y="68"/>
                      </a:cubicBezTo>
                      <a:cubicBezTo>
                        <a:pt x="15" y="68"/>
                        <a:pt x="14" y="68"/>
                        <a:pt x="13" y="68"/>
                      </a:cubicBezTo>
                      <a:cubicBezTo>
                        <a:pt x="13" y="68"/>
                        <a:pt x="12" y="68"/>
                        <a:pt x="12" y="68"/>
                      </a:cubicBezTo>
                      <a:cubicBezTo>
                        <a:pt x="9" y="70"/>
                        <a:pt x="10" y="75"/>
                        <a:pt x="11" y="77"/>
                      </a:cubicBezTo>
                      <a:cubicBezTo>
                        <a:pt x="10" y="78"/>
                        <a:pt x="10" y="78"/>
                        <a:pt x="10" y="78"/>
                      </a:cubicBezTo>
                      <a:cubicBezTo>
                        <a:pt x="9" y="78"/>
                        <a:pt x="8" y="78"/>
                        <a:pt x="7" y="78"/>
                      </a:cubicBezTo>
                      <a:cubicBezTo>
                        <a:pt x="4" y="78"/>
                        <a:pt x="1" y="78"/>
                        <a:pt x="0" y="80"/>
                      </a:cubicBezTo>
                      <a:cubicBezTo>
                        <a:pt x="3" y="82"/>
                        <a:pt x="7" y="85"/>
                        <a:pt x="10" y="86"/>
                      </a:cubicBezTo>
                      <a:cubicBezTo>
                        <a:pt x="12" y="87"/>
                        <a:pt x="14" y="87"/>
                        <a:pt x="16" y="89"/>
                      </a:cubicBezTo>
                      <a:cubicBezTo>
                        <a:pt x="21" y="85"/>
                        <a:pt x="26" y="80"/>
                        <a:pt x="32" y="76"/>
                      </a:cubicBezTo>
                      <a:cubicBezTo>
                        <a:pt x="32" y="78"/>
                        <a:pt x="32" y="80"/>
                        <a:pt x="34" y="80"/>
                      </a:cubicBezTo>
                      <a:cubicBezTo>
                        <a:pt x="34" y="80"/>
                        <a:pt x="34" y="80"/>
                        <a:pt x="35" y="80"/>
                      </a:cubicBezTo>
                      <a:cubicBezTo>
                        <a:pt x="32" y="81"/>
                        <a:pt x="29" y="82"/>
                        <a:pt x="27" y="83"/>
                      </a:cubicBezTo>
                      <a:cubicBezTo>
                        <a:pt x="26" y="84"/>
                        <a:pt x="25" y="85"/>
                        <a:pt x="23" y="86"/>
                      </a:cubicBezTo>
                      <a:cubicBezTo>
                        <a:pt x="24" y="87"/>
                        <a:pt x="25" y="87"/>
                        <a:pt x="25" y="87"/>
                      </a:cubicBezTo>
                      <a:cubicBezTo>
                        <a:pt x="26" y="87"/>
                        <a:pt x="27" y="86"/>
                        <a:pt x="28" y="86"/>
                      </a:cubicBezTo>
                      <a:cubicBezTo>
                        <a:pt x="26" y="88"/>
                        <a:pt x="23" y="86"/>
                        <a:pt x="22" y="89"/>
                      </a:cubicBezTo>
                      <a:cubicBezTo>
                        <a:pt x="24" y="90"/>
                        <a:pt x="26" y="90"/>
                        <a:pt x="27" y="90"/>
                      </a:cubicBezTo>
                      <a:cubicBezTo>
                        <a:pt x="28" y="90"/>
                        <a:pt x="30" y="90"/>
                        <a:pt x="32" y="88"/>
                      </a:cubicBezTo>
                      <a:cubicBezTo>
                        <a:pt x="30" y="90"/>
                        <a:pt x="29" y="91"/>
                        <a:pt x="28" y="91"/>
                      </a:cubicBezTo>
                      <a:cubicBezTo>
                        <a:pt x="28" y="91"/>
                        <a:pt x="27" y="91"/>
                        <a:pt x="26" y="90"/>
                      </a:cubicBezTo>
                      <a:cubicBezTo>
                        <a:pt x="26" y="90"/>
                        <a:pt x="25" y="90"/>
                        <a:pt x="25" y="90"/>
                      </a:cubicBezTo>
                      <a:cubicBezTo>
                        <a:pt x="24" y="90"/>
                        <a:pt x="23" y="90"/>
                        <a:pt x="22" y="91"/>
                      </a:cubicBezTo>
                      <a:cubicBezTo>
                        <a:pt x="20" y="92"/>
                        <a:pt x="17" y="98"/>
                        <a:pt x="20" y="99"/>
                      </a:cubicBezTo>
                      <a:cubicBezTo>
                        <a:pt x="19" y="100"/>
                        <a:pt x="19" y="102"/>
                        <a:pt x="18" y="103"/>
                      </a:cubicBezTo>
                      <a:cubicBezTo>
                        <a:pt x="18" y="103"/>
                        <a:pt x="19" y="102"/>
                        <a:pt x="20" y="102"/>
                      </a:cubicBezTo>
                      <a:cubicBezTo>
                        <a:pt x="19" y="105"/>
                        <a:pt x="15" y="108"/>
                        <a:pt x="15" y="111"/>
                      </a:cubicBezTo>
                      <a:cubicBezTo>
                        <a:pt x="17" y="110"/>
                        <a:pt x="17" y="108"/>
                        <a:pt x="19" y="107"/>
                      </a:cubicBezTo>
                      <a:cubicBezTo>
                        <a:pt x="18" y="109"/>
                        <a:pt x="16" y="111"/>
                        <a:pt x="15" y="113"/>
                      </a:cubicBezTo>
                      <a:cubicBezTo>
                        <a:pt x="16" y="112"/>
                        <a:pt x="18" y="112"/>
                        <a:pt x="18" y="112"/>
                      </a:cubicBezTo>
                      <a:cubicBezTo>
                        <a:pt x="17" y="114"/>
                        <a:pt x="14" y="117"/>
                        <a:pt x="18" y="117"/>
                      </a:cubicBezTo>
                      <a:cubicBezTo>
                        <a:pt x="19" y="117"/>
                        <a:pt x="19" y="117"/>
                        <a:pt x="19" y="117"/>
                      </a:cubicBezTo>
                      <a:cubicBezTo>
                        <a:pt x="20" y="117"/>
                        <a:pt x="21" y="116"/>
                        <a:pt x="22" y="115"/>
                      </a:cubicBezTo>
                      <a:cubicBezTo>
                        <a:pt x="20" y="119"/>
                        <a:pt x="17" y="120"/>
                        <a:pt x="15" y="124"/>
                      </a:cubicBezTo>
                      <a:cubicBezTo>
                        <a:pt x="15" y="126"/>
                        <a:pt x="15" y="128"/>
                        <a:pt x="15" y="130"/>
                      </a:cubicBezTo>
                      <a:cubicBezTo>
                        <a:pt x="14" y="131"/>
                        <a:pt x="13" y="132"/>
                        <a:pt x="13" y="133"/>
                      </a:cubicBezTo>
                      <a:cubicBezTo>
                        <a:pt x="12" y="135"/>
                        <a:pt x="15" y="136"/>
                        <a:pt x="17" y="136"/>
                      </a:cubicBezTo>
                      <a:cubicBezTo>
                        <a:pt x="18" y="136"/>
                        <a:pt x="19" y="136"/>
                        <a:pt x="20" y="135"/>
                      </a:cubicBezTo>
                      <a:cubicBezTo>
                        <a:pt x="21" y="133"/>
                        <a:pt x="19" y="133"/>
                        <a:pt x="19" y="132"/>
                      </a:cubicBezTo>
                      <a:cubicBezTo>
                        <a:pt x="19" y="130"/>
                        <a:pt x="22" y="127"/>
                        <a:pt x="22" y="126"/>
                      </a:cubicBezTo>
                      <a:cubicBezTo>
                        <a:pt x="22" y="125"/>
                        <a:pt x="21" y="124"/>
                        <a:pt x="22" y="122"/>
                      </a:cubicBezTo>
                      <a:cubicBezTo>
                        <a:pt x="22" y="121"/>
                        <a:pt x="23" y="120"/>
                        <a:pt x="24" y="119"/>
                      </a:cubicBezTo>
                      <a:cubicBezTo>
                        <a:pt x="25" y="118"/>
                        <a:pt x="26" y="119"/>
                        <a:pt x="26" y="117"/>
                      </a:cubicBezTo>
                      <a:cubicBezTo>
                        <a:pt x="26" y="116"/>
                        <a:pt x="24" y="114"/>
                        <a:pt x="24" y="114"/>
                      </a:cubicBezTo>
                      <a:cubicBezTo>
                        <a:pt x="24" y="113"/>
                        <a:pt x="22" y="111"/>
                        <a:pt x="22" y="110"/>
                      </a:cubicBezTo>
                      <a:cubicBezTo>
                        <a:pt x="22" y="109"/>
                        <a:pt x="22" y="108"/>
                        <a:pt x="23" y="108"/>
                      </a:cubicBezTo>
                      <a:cubicBezTo>
                        <a:pt x="23" y="108"/>
                        <a:pt x="23" y="109"/>
                        <a:pt x="23" y="109"/>
                      </a:cubicBezTo>
                      <a:cubicBezTo>
                        <a:pt x="23" y="109"/>
                        <a:pt x="24" y="109"/>
                        <a:pt x="24" y="109"/>
                      </a:cubicBezTo>
                      <a:cubicBezTo>
                        <a:pt x="24" y="109"/>
                        <a:pt x="24" y="109"/>
                        <a:pt x="25" y="108"/>
                      </a:cubicBezTo>
                      <a:cubicBezTo>
                        <a:pt x="26" y="107"/>
                        <a:pt x="28" y="105"/>
                        <a:pt x="30" y="103"/>
                      </a:cubicBezTo>
                      <a:cubicBezTo>
                        <a:pt x="31" y="102"/>
                        <a:pt x="34" y="99"/>
                        <a:pt x="36" y="99"/>
                      </a:cubicBezTo>
                      <a:cubicBezTo>
                        <a:pt x="34" y="100"/>
                        <a:pt x="34" y="101"/>
                        <a:pt x="32" y="103"/>
                      </a:cubicBezTo>
                      <a:cubicBezTo>
                        <a:pt x="31" y="103"/>
                        <a:pt x="30" y="104"/>
                        <a:pt x="29" y="104"/>
                      </a:cubicBezTo>
                      <a:cubicBezTo>
                        <a:pt x="26" y="107"/>
                        <a:pt x="24" y="111"/>
                        <a:pt x="28" y="113"/>
                      </a:cubicBezTo>
                      <a:cubicBezTo>
                        <a:pt x="29" y="112"/>
                        <a:pt x="30" y="111"/>
                        <a:pt x="30" y="110"/>
                      </a:cubicBezTo>
                      <a:cubicBezTo>
                        <a:pt x="30" y="111"/>
                        <a:pt x="32" y="112"/>
                        <a:pt x="32" y="112"/>
                      </a:cubicBezTo>
                      <a:cubicBezTo>
                        <a:pt x="33" y="112"/>
                        <a:pt x="33" y="112"/>
                        <a:pt x="33" y="110"/>
                      </a:cubicBezTo>
                      <a:cubicBezTo>
                        <a:pt x="34" y="112"/>
                        <a:pt x="35" y="114"/>
                        <a:pt x="35" y="114"/>
                      </a:cubicBezTo>
                      <a:cubicBezTo>
                        <a:pt x="36" y="114"/>
                        <a:pt x="36" y="113"/>
                        <a:pt x="37" y="111"/>
                      </a:cubicBezTo>
                      <a:cubicBezTo>
                        <a:pt x="39" y="108"/>
                        <a:pt x="38" y="105"/>
                        <a:pt x="38" y="102"/>
                      </a:cubicBezTo>
                      <a:cubicBezTo>
                        <a:pt x="38" y="103"/>
                        <a:pt x="39" y="104"/>
                        <a:pt x="39" y="104"/>
                      </a:cubicBezTo>
                      <a:cubicBezTo>
                        <a:pt x="40" y="103"/>
                        <a:pt x="41" y="102"/>
                        <a:pt x="42" y="101"/>
                      </a:cubicBezTo>
                      <a:cubicBezTo>
                        <a:pt x="43" y="104"/>
                        <a:pt x="42" y="109"/>
                        <a:pt x="45" y="111"/>
                      </a:cubicBezTo>
                      <a:cubicBezTo>
                        <a:pt x="46" y="111"/>
                        <a:pt x="48" y="111"/>
                        <a:pt x="50" y="112"/>
                      </a:cubicBezTo>
                      <a:cubicBezTo>
                        <a:pt x="49" y="112"/>
                        <a:pt x="49" y="112"/>
                        <a:pt x="49" y="112"/>
                      </a:cubicBezTo>
                      <a:cubicBezTo>
                        <a:pt x="48" y="112"/>
                        <a:pt x="47" y="111"/>
                        <a:pt x="45" y="111"/>
                      </a:cubicBezTo>
                      <a:cubicBezTo>
                        <a:pt x="44" y="111"/>
                        <a:pt x="43" y="110"/>
                        <a:pt x="42" y="110"/>
                      </a:cubicBezTo>
                      <a:cubicBezTo>
                        <a:pt x="41" y="110"/>
                        <a:pt x="41" y="110"/>
                        <a:pt x="41" y="110"/>
                      </a:cubicBezTo>
                      <a:cubicBezTo>
                        <a:pt x="37" y="111"/>
                        <a:pt x="39" y="117"/>
                        <a:pt x="40" y="120"/>
                      </a:cubicBezTo>
                      <a:cubicBezTo>
                        <a:pt x="41" y="125"/>
                        <a:pt x="41" y="122"/>
                        <a:pt x="44" y="124"/>
                      </a:cubicBezTo>
                      <a:cubicBezTo>
                        <a:pt x="49" y="130"/>
                        <a:pt x="41" y="138"/>
                        <a:pt x="38" y="142"/>
                      </a:cubicBezTo>
                      <a:cubicBezTo>
                        <a:pt x="37" y="145"/>
                        <a:pt x="35" y="147"/>
                        <a:pt x="34" y="149"/>
                      </a:cubicBezTo>
                      <a:cubicBezTo>
                        <a:pt x="34" y="150"/>
                        <a:pt x="30" y="150"/>
                        <a:pt x="30" y="151"/>
                      </a:cubicBezTo>
                      <a:cubicBezTo>
                        <a:pt x="30" y="152"/>
                        <a:pt x="32" y="155"/>
                        <a:pt x="32" y="156"/>
                      </a:cubicBezTo>
                      <a:cubicBezTo>
                        <a:pt x="33" y="157"/>
                        <a:pt x="34" y="157"/>
                        <a:pt x="35" y="158"/>
                      </a:cubicBezTo>
                      <a:cubicBezTo>
                        <a:pt x="36" y="160"/>
                        <a:pt x="36" y="163"/>
                        <a:pt x="39" y="163"/>
                      </a:cubicBezTo>
                      <a:cubicBezTo>
                        <a:pt x="38" y="160"/>
                        <a:pt x="35" y="156"/>
                        <a:pt x="38" y="155"/>
                      </a:cubicBezTo>
                      <a:cubicBezTo>
                        <a:pt x="38" y="154"/>
                        <a:pt x="39" y="154"/>
                        <a:pt x="40" y="154"/>
                      </a:cubicBezTo>
                      <a:cubicBezTo>
                        <a:pt x="43" y="154"/>
                        <a:pt x="46" y="158"/>
                        <a:pt x="49" y="160"/>
                      </a:cubicBezTo>
                      <a:cubicBezTo>
                        <a:pt x="50" y="160"/>
                        <a:pt x="51" y="161"/>
                        <a:pt x="51" y="161"/>
                      </a:cubicBezTo>
                      <a:cubicBezTo>
                        <a:pt x="52" y="161"/>
                        <a:pt x="52" y="161"/>
                        <a:pt x="53" y="160"/>
                      </a:cubicBezTo>
                      <a:cubicBezTo>
                        <a:pt x="56" y="157"/>
                        <a:pt x="52" y="157"/>
                        <a:pt x="52" y="155"/>
                      </a:cubicBezTo>
                      <a:cubicBezTo>
                        <a:pt x="52" y="153"/>
                        <a:pt x="52" y="153"/>
                        <a:pt x="53" y="153"/>
                      </a:cubicBezTo>
                      <a:cubicBezTo>
                        <a:pt x="54" y="153"/>
                        <a:pt x="58" y="157"/>
                        <a:pt x="60" y="157"/>
                      </a:cubicBezTo>
                      <a:cubicBezTo>
                        <a:pt x="61" y="158"/>
                        <a:pt x="62" y="158"/>
                        <a:pt x="62" y="158"/>
                      </a:cubicBezTo>
                      <a:cubicBezTo>
                        <a:pt x="66" y="158"/>
                        <a:pt x="70" y="154"/>
                        <a:pt x="73" y="152"/>
                      </a:cubicBezTo>
                      <a:cubicBezTo>
                        <a:pt x="75" y="150"/>
                        <a:pt x="76" y="149"/>
                        <a:pt x="78" y="149"/>
                      </a:cubicBezTo>
                      <a:cubicBezTo>
                        <a:pt x="78" y="149"/>
                        <a:pt x="78" y="149"/>
                        <a:pt x="78" y="149"/>
                      </a:cubicBezTo>
                      <a:cubicBezTo>
                        <a:pt x="82" y="149"/>
                        <a:pt x="87" y="149"/>
                        <a:pt x="91" y="149"/>
                      </a:cubicBezTo>
                      <a:cubicBezTo>
                        <a:pt x="88" y="151"/>
                        <a:pt x="83" y="149"/>
                        <a:pt x="83" y="153"/>
                      </a:cubicBezTo>
                      <a:cubicBezTo>
                        <a:pt x="82" y="152"/>
                        <a:pt x="82" y="152"/>
                        <a:pt x="82" y="152"/>
                      </a:cubicBezTo>
                      <a:cubicBezTo>
                        <a:pt x="80" y="154"/>
                        <a:pt x="80" y="157"/>
                        <a:pt x="78" y="159"/>
                      </a:cubicBezTo>
                      <a:cubicBezTo>
                        <a:pt x="77" y="162"/>
                        <a:pt x="75" y="163"/>
                        <a:pt x="75" y="166"/>
                      </a:cubicBezTo>
                      <a:cubicBezTo>
                        <a:pt x="75" y="167"/>
                        <a:pt x="74" y="167"/>
                        <a:pt x="75" y="168"/>
                      </a:cubicBezTo>
                      <a:cubicBezTo>
                        <a:pt x="75" y="171"/>
                        <a:pt x="79" y="174"/>
                        <a:pt x="80" y="176"/>
                      </a:cubicBezTo>
                      <a:cubicBezTo>
                        <a:pt x="81" y="177"/>
                        <a:pt x="81" y="178"/>
                        <a:pt x="82" y="179"/>
                      </a:cubicBezTo>
                      <a:cubicBezTo>
                        <a:pt x="83" y="180"/>
                        <a:pt x="85" y="183"/>
                        <a:pt x="85" y="183"/>
                      </a:cubicBezTo>
                      <a:cubicBezTo>
                        <a:pt x="86" y="184"/>
                        <a:pt x="87" y="184"/>
                        <a:pt x="87" y="184"/>
                      </a:cubicBezTo>
                      <a:cubicBezTo>
                        <a:pt x="88" y="184"/>
                        <a:pt x="88" y="184"/>
                        <a:pt x="89" y="182"/>
                      </a:cubicBezTo>
                      <a:cubicBezTo>
                        <a:pt x="90" y="180"/>
                        <a:pt x="91" y="180"/>
                        <a:pt x="92" y="180"/>
                      </a:cubicBezTo>
                      <a:cubicBezTo>
                        <a:pt x="93" y="180"/>
                        <a:pt x="94" y="180"/>
                        <a:pt x="96" y="181"/>
                      </a:cubicBezTo>
                      <a:cubicBezTo>
                        <a:pt x="95" y="184"/>
                        <a:pt x="94" y="187"/>
                        <a:pt x="92" y="189"/>
                      </a:cubicBezTo>
                      <a:cubicBezTo>
                        <a:pt x="91" y="191"/>
                        <a:pt x="91" y="191"/>
                        <a:pt x="91" y="191"/>
                      </a:cubicBezTo>
                      <a:cubicBezTo>
                        <a:pt x="90" y="193"/>
                        <a:pt x="92" y="196"/>
                        <a:pt x="93" y="198"/>
                      </a:cubicBezTo>
                      <a:cubicBezTo>
                        <a:pt x="94" y="200"/>
                        <a:pt x="92" y="200"/>
                        <a:pt x="91" y="202"/>
                      </a:cubicBezTo>
                      <a:cubicBezTo>
                        <a:pt x="90" y="203"/>
                        <a:pt x="89" y="204"/>
                        <a:pt x="89" y="204"/>
                      </a:cubicBezTo>
                      <a:cubicBezTo>
                        <a:pt x="89" y="207"/>
                        <a:pt x="96" y="212"/>
                        <a:pt x="97" y="214"/>
                      </a:cubicBezTo>
                      <a:cubicBezTo>
                        <a:pt x="96" y="214"/>
                        <a:pt x="96" y="215"/>
                        <a:pt x="95" y="215"/>
                      </a:cubicBezTo>
                      <a:cubicBezTo>
                        <a:pt x="93" y="215"/>
                        <a:pt x="94" y="211"/>
                        <a:pt x="91" y="210"/>
                      </a:cubicBezTo>
                      <a:cubicBezTo>
                        <a:pt x="91" y="210"/>
                        <a:pt x="91" y="210"/>
                        <a:pt x="91" y="210"/>
                      </a:cubicBezTo>
                      <a:cubicBezTo>
                        <a:pt x="90" y="210"/>
                        <a:pt x="87" y="211"/>
                        <a:pt x="87" y="211"/>
                      </a:cubicBezTo>
                      <a:cubicBezTo>
                        <a:pt x="86" y="212"/>
                        <a:pt x="89" y="215"/>
                        <a:pt x="89" y="216"/>
                      </a:cubicBezTo>
                      <a:cubicBezTo>
                        <a:pt x="86" y="216"/>
                        <a:pt x="82" y="216"/>
                        <a:pt x="78" y="215"/>
                      </a:cubicBezTo>
                      <a:cubicBezTo>
                        <a:pt x="76" y="215"/>
                        <a:pt x="71" y="214"/>
                        <a:pt x="69" y="214"/>
                      </a:cubicBezTo>
                      <a:cubicBezTo>
                        <a:pt x="69" y="214"/>
                        <a:pt x="68" y="214"/>
                        <a:pt x="68" y="214"/>
                      </a:cubicBezTo>
                      <a:cubicBezTo>
                        <a:pt x="67" y="214"/>
                        <a:pt x="66" y="216"/>
                        <a:pt x="65" y="216"/>
                      </a:cubicBezTo>
                      <a:cubicBezTo>
                        <a:pt x="63" y="218"/>
                        <a:pt x="61" y="217"/>
                        <a:pt x="59" y="218"/>
                      </a:cubicBezTo>
                      <a:cubicBezTo>
                        <a:pt x="60" y="217"/>
                        <a:pt x="62" y="216"/>
                        <a:pt x="62" y="215"/>
                      </a:cubicBezTo>
                      <a:cubicBezTo>
                        <a:pt x="60" y="214"/>
                        <a:pt x="58" y="214"/>
                        <a:pt x="57" y="213"/>
                      </a:cubicBezTo>
                      <a:cubicBezTo>
                        <a:pt x="56" y="212"/>
                        <a:pt x="56" y="211"/>
                        <a:pt x="55" y="211"/>
                      </a:cubicBezTo>
                      <a:cubicBezTo>
                        <a:pt x="55" y="210"/>
                        <a:pt x="54" y="210"/>
                        <a:pt x="53" y="210"/>
                      </a:cubicBezTo>
                      <a:cubicBezTo>
                        <a:pt x="51" y="210"/>
                        <a:pt x="49" y="211"/>
                        <a:pt x="48" y="211"/>
                      </a:cubicBezTo>
                      <a:cubicBezTo>
                        <a:pt x="49" y="215"/>
                        <a:pt x="52" y="218"/>
                        <a:pt x="54" y="222"/>
                      </a:cubicBezTo>
                      <a:cubicBezTo>
                        <a:pt x="54" y="221"/>
                        <a:pt x="55" y="221"/>
                        <a:pt x="56" y="220"/>
                      </a:cubicBezTo>
                      <a:cubicBezTo>
                        <a:pt x="55" y="222"/>
                        <a:pt x="54" y="224"/>
                        <a:pt x="53" y="225"/>
                      </a:cubicBezTo>
                      <a:cubicBezTo>
                        <a:pt x="52" y="229"/>
                        <a:pt x="44" y="230"/>
                        <a:pt x="42" y="234"/>
                      </a:cubicBezTo>
                      <a:cubicBezTo>
                        <a:pt x="43" y="234"/>
                        <a:pt x="43" y="234"/>
                        <a:pt x="44" y="234"/>
                      </a:cubicBezTo>
                      <a:cubicBezTo>
                        <a:pt x="48" y="234"/>
                        <a:pt x="50" y="232"/>
                        <a:pt x="53" y="231"/>
                      </a:cubicBezTo>
                      <a:cubicBezTo>
                        <a:pt x="56" y="230"/>
                        <a:pt x="59" y="230"/>
                        <a:pt x="61" y="230"/>
                      </a:cubicBezTo>
                      <a:cubicBezTo>
                        <a:pt x="60" y="234"/>
                        <a:pt x="59" y="234"/>
                        <a:pt x="60" y="239"/>
                      </a:cubicBezTo>
                      <a:cubicBezTo>
                        <a:pt x="61" y="243"/>
                        <a:pt x="60" y="242"/>
                        <a:pt x="65" y="244"/>
                      </a:cubicBezTo>
                      <a:cubicBezTo>
                        <a:pt x="63" y="247"/>
                        <a:pt x="61" y="252"/>
                        <a:pt x="58" y="255"/>
                      </a:cubicBezTo>
                      <a:cubicBezTo>
                        <a:pt x="55" y="257"/>
                        <a:pt x="50" y="258"/>
                        <a:pt x="47" y="260"/>
                      </a:cubicBezTo>
                      <a:cubicBezTo>
                        <a:pt x="40" y="262"/>
                        <a:pt x="33" y="265"/>
                        <a:pt x="27" y="268"/>
                      </a:cubicBezTo>
                      <a:cubicBezTo>
                        <a:pt x="28" y="270"/>
                        <a:pt x="30" y="272"/>
                        <a:pt x="32" y="274"/>
                      </a:cubicBezTo>
                      <a:cubicBezTo>
                        <a:pt x="30" y="274"/>
                        <a:pt x="29" y="274"/>
                        <a:pt x="28" y="275"/>
                      </a:cubicBezTo>
                      <a:cubicBezTo>
                        <a:pt x="29" y="275"/>
                        <a:pt x="30" y="276"/>
                        <a:pt x="30" y="277"/>
                      </a:cubicBezTo>
                      <a:cubicBezTo>
                        <a:pt x="33" y="276"/>
                        <a:pt x="36" y="274"/>
                        <a:pt x="40" y="273"/>
                      </a:cubicBezTo>
                      <a:cubicBezTo>
                        <a:pt x="38" y="277"/>
                        <a:pt x="35" y="277"/>
                        <a:pt x="32" y="277"/>
                      </a:cubicBezTo>
                      <a:cubicBezTo>
                        <a:pt x="34" y="278"/>
                        <a:pt x="34" y="279"/>
                        <a:pt x="35" y="279"/>
                      </a:cubicBezTo>
                      <a:cubicBezTo>
                        <a:pt x="36" y="279"/>
                        <a:pt x="36" y="279"/>
                        <a:pt x="37" y="279"/>
                      </a:cubicBezTo>
                      <a:cubicBezTo>
                        <a:pt x="40" y="278"/>
                        <a:pt x="42" y="276"/>
                        <a:pt x="45" y="275"/>
                      </a:cubicBezTo>
                      <a:cubicBezTo>
                        <a:pt x="47" y="274"/>
                        <a:pt x="49" y="274"/>
                        <a:pt x="51" y="274"/>
                      </a:cubicBezTo>
                      <a:cubicBezTo>
                        <a:pt x="51" y="274"/>
                        <a:pt x="51" y="273"/>
                        <a:pt x="52" y="273"/>
                      </a:cubicBezTo>
                      <a:cubicBezTo>
                        <a:pt x="54" y="273"/>
                        <a:pt x="61" y="277"/>
                        <a:pt x="62" y="277"/>
                      </a:cubicBezTo>
                      <a:cubicBezTo>
                        <a:pt x="59" y="278"/>
                        <a:pt x="55" y="278"/>
                        <a:pt x="55" y="281"/>
                      </a:cubicBezTo>
                      <a:cubicBezTo>
                        <a:pt x="60" y="282"/>
                        <a:pt x="65" y="282"/>
                        <a:pt x="70" y="282"/>
                      </a:cubicBezTo>
                      <a:cubicBezTo>
                        <a:pt x="72" y="282"/>
                        <a:pt x="73" y="285"/>
                        <a:pt x="75" y="286"/>
                      </a:cubicBezTo>
                      <a:cubicBezTo>
                        <a:pt x="75" y="286"/>
                        <a:pt x="76" y="286"/>
                        <a:pt x="76" y="286"/>
                      </a:cubicBezTo>
                      <a:cubicBezTo>
                        <a:pt x="77" y="286"/>
                        <a:pt x="78" y="286"/>
                        <a:pt x="79" y="286"/>
                      </a:cubicBezTo>
                      <a:cubicBezTo>
                        <a:pt x="88" y="284"/>
                        <a:pt x="97" y="282"/>
                        <a:pt x="105" y="277"/>
                      </a:cubicBezTo>
                      <a:cubicBezTo>
                        <a:pt x="101" y="282"/>
                        <a:pt x="97" y="286"/>
                        <a:pt x="92" y="290"/>
                      </a:cubicBezTo>
                      <a:cubicBezTo>
                        <a:pt x="89" y="294"/>
                        <a:pt x="94" y="295"/>
                        <a:pt x="89" y="295"/>
                      </a:cubicBezTo>
                      <a:cubicBezTo>
                        <a:pt x="89" y="295"/>
                        <a:pt x="88" y="295"/>
                        <a:pt x="88" y="295"/>
                      </a:cubicBezTo>
                      <a:cubicBezTo>
                        <a:pt x="82" y="295"/>
                        <a:pt x="75" y="294"/>
                        <a:pt x="69" y="294"/>
                      </a:cubicBezTo>
                      <a:cubicBezTo>
                        <a:pt x="66" y="294"/>
                        <a:pt x="63" y="294"/>
                        <a:pt x="61" y="294"/>
                      </a:cubicBezTo>
                      <a:cubicBezTo>
                        <a:pt x="55" y="296"/>
                        <a:pt x="48" y="303"/>
                        <a:pt x="48" y="309"/>
                      </a:cubicBezTo>
                      <a:cubicBezTo>
                        <a:pt x="48" y="314"/>
                        <a:pt x="40" y="316"/>
                        <a:pt x="39" y="320"/>
                      </a:cubicBezTo>
                      <a:cubicBezTo>
                        <a:pt x="39" y="320"/>
                        <a:pt x="38" y="320"/>
                        <a:pt x="38" y="320"/>
                      </a:cubicBezTo>
                      <a:cubicBezTo>
                        <a:pt x="29" y="320"/>
                        <a:pt x="20" y="332"/>
                        <a:pt x="15" y="337"/>
                      </a:cubicBezTo>
                      <a:cubicBezTo>
                        <a:pt x="17" y="337"/>
                        <a:pt x="19" y="337"/>
                        <a:pt x="21" y="337"/>
                      </a:cubicBezTo>
                      <a:cubicBezTo>
                        <a:pt x="24" y="337"/>
                        <a:pt x="26" y="337"/>
                        <a:pt x="28" y="339"/>
                      </a:cubicBezTo>
                      <a:cubicBezTo>
                        <a:pt x="28" y="339"/>
                        <a:pt x="28" y="341"/>
                        <a:pt x="29" y="341"/>
                      </a:cubicBezTo>
                      <a:cubicBezTo>
                        <a:pt x="31" y="339"/>
                        <a:pt x="34" y="335"/>
                        <a:pt x="34" y="333"/>
                      </a:cubicBezTo>
                      <a:cubicBezTo>
                        <a:pt x="39" y="331"/>
                        <a:pt x="44" y="330"/>
                        <a:pt x="49" y="329"/>
                      </a:cubicBezTo>
                      <a:cubicBezTo>
                        <a:pt x="51" y="329"/>
                        <a:pt x="54" y="328"/>
                        <a:pt x="56" y="328"/>
                      </a:cubicBezTo>
                      <a:cubicBezTo>
                        <a:pt x="57" y="328"/>
                        <a:pt x="57" y="328"/>
                        <a:pt x="58" y="328"/>
                      </a:cubicBezTo>
                      <a:cubicBezTo>
                        <a:pt x="58" y="326"/>
                        <a:pt x="58" y="325"/>
                        <a:pt x="58" y="323"/>
                      </a:cubicBezTo>
                      <a:cubicBezTo>
                        <a:pt x="58" y="324"/>
                        <a:pt x="60" y="327"/>
                        <a:pt x="61" y="328"/>
                      </a:cubicBezTo>
                      <a:cubicBezTo>
                        <a:pt x="61" y="328"/>
                        <a:pt x="62" y="328"/>
                        <a:pt x="62" y="328"/>
                      </a:cubicBezTo>
                      <a:cubicBezTo>
                        <a:pt x="62" y="328"/>
                        <a:pt x="63" y="328"/>
                        <a:pt x="63" y="328"/>
                      </a:cubicBezTo>
                      <a:cubicBezTo>
                        <a:pt x="63" y="328"/>
                        <a:pt x="63" y="328"/>
                        <a:pt x="63" y="328"/>
                      </a:cubicBezTo>
                      <a:cubicBezTo>
                        <a:pt x="64" y="328"/>
                        <a:pt x="64" y="328"/>
                        <a:pt x="65" y="328"/>
                      </a:cubicBezTo>
                      <a:cubicBezTo>
                        <a:pt x="67" y="329"/>
                        <a:pt x="68" y="331"/>
                        <a:pt x="70" y="332"/>
                      </a:cubicBezTo>
                      <a:cubicBezTo>
                        <a:pt x="70" y="332"/>
                        <a:pt x="70" y="332"/>
                        <a:pt x="70" y="332"/>
                      </a:cubicBezTo>
                      <a:cubicBezTo>
                        <a:pt x="75" y="332"/>
                        <a:pt x="76" y="324"/>
                        <a:pt x="78" y="321"/>
                      </a:cubicBezTo>
                      <a:cubicBezTo>
                        <a:pt x="78" y="319"/>
                        <a:pt x="80" y="317"/>
                        <a:pt x="79" y="315"/>
                      </a:cubicBezTo>
                      <a:cubicBezTo>
                        <a:pt x="83" y="314"/>
                        <a:pt x="87" y="313"/>
                        <a:pt x="92" y="313"/>
                      </a:cubicBezTo>
                      <a:cubicBezTo>
                        <a:pt x="97" y="313"/>
                        <a:pt x="101" y="314"/>
                        <a:pt x="105" y="317"/>
                      </a:cubicBezTo>
                      <a:cubicBezTo>
                        <a:pt x="106" y="318"/>
                        <a:pt x="107" y="318"/>
                        <a:pt x="107" y="320"/>
                      </a:cubicBezTo>
                      <a:cubicBezTo>
                        <a:pt x="110" y="319"/>
                        <a:pt x="111" y="318"/>
                        <a:pt x="114" y="318"/>
                      </a:cubicBezTo>
                      <a:cubicBezTo>
                        <a:pt x="114" y="318"/>
                        <a:pt x="115" y="318"/>
                        <a:pt x="117" y="318"/>
                      </a:cubicBezTo>
                      <a:cubicBezTo>
                        <a:pt x="118" y="318"/>
                        <a:pt x="120" y="318"/>
                        <a:pt x="121" y="317"/>
                      </a:cubicBezTo>
                      <a:cubicBezTo>
                        <a:pt x="122" y="315"/>
                        <a:pt x="120" y="314"/>
                        <a:pt x="119" y="314"/>
                      </a:cubicBezTo>
                      <a:cubicBezTo>
                        <a:pt x="119" y="314"/>
                        <a:pt x="118" y="314"/>
                        <a:pt x="118" y="314"/>
                      </a:cubicBezTo>
                      <a:cubicBezTo>
                        <a:pt x="119" y="313"/>
                        <a:pt x="120" y="312"/>
                        <a:pt x="122" y="312"/>
                      </a:cubicBezTo>
                      <a:cubicBezTo>
                        <a:pt x="122" y="312"/>
                        <a:pt x="123" y="312"/>
                        <a:pt x="123" y="312"/>
                      </a:cubicBezTo>
                      <a:cubicBezTo>
                        <a:pt x="124" y="312"/>
                        <a:pt x="124" y="312"/>
                        <a:pt x="124" y="312"/>
                      </a:cubicBezTo>
                      <a:cubicBezTo>
                        <a:pt x="124" y="312"/>
                        <a:pt x="125" y="312"/>
                        <a:pt x="125" y="312"/>
                      </a:cubicBezTo>
                      <a:cubicBezTo>
                        <a:pt x="130" y="312"/>
                        <a:pt x="133" y="311"/>
                        <a:pt x="137" y="307"/>
                      </a:cubicBezTo>
                      <a:cubicBezTo>
                        <a:pt x="137" y="307"/>
                        <a:pt x="136" y="306"/>
                        <a:pt x="136" y="306"/>
                      </a:cubicBezTo>
                      <a:cubicBezTo>
                        <a:pt x="139" y="306"/>
                        <a:pt x="143" y="307"/>
                        <a:pt x="147" y="308"/>
                      </a:cubicBezTo>
                      <a:cubicBezTo>
                        <a:pt x="151" y="308"/>
                        <a:pt x="151" y="309"/>
                        <a:pt x="154" y="312"/>
                      </a:cubicBezTo>
                      <a:cubicBezTo>
                        <a:pt x="154" y="313"/>
                        <a:pt x="155" y="313"/>
                        <a:pt x="156" y="313"/>
                      </a:cubicBezTo>
                      <a:cubicBezTo>
                        <a:pt x="158" y="313"/>
                        <a:pt x="161" y="312"/>
                        <a:pt x="164" y="311"/>
                      </a:cubicBezTo>
                      <a:cubicBezTo>
                        <a:pt x="168" y="310"/>
                        <a:pt x="171" y="309"/>
                        <a:pt x="173" y="309"/>
                      </a:cubicBezTo>
                      <a:cubicBezTo>
                        <a:pt x="173" y="309"/>
                        <a:pt x="173" y="309"/>
                        <a:pt x="174" y="309"/>
                      </a:cubicBezTo>
                      <a:cubicBezTo>
                        <a:pt x="177" y="310"/>
                        <a:pt x="181" y="312"/>
                        <a:pt x="184" y="312"/>
                      </a:cubicBezTo>
                      <a:cubicBezTo>
                        <a:pt x="185" y="312"/>
                        <a:pt x="185" y="312"/>
                        <a:pt x="186" y="312"/>
                      </a:cubicBezTo>
                      <a:cubicBezTo>
                        <a:pt x="192" y="310"/>
                        <a:pt x="199" y="307"/>
                        <a:pt x="205" y="304"/>
                      </a:cubicBezTo>
                      <a:cubicBezTo>
                        <a:pt x="208" y="302"/>
                        <a:pt x="215" y="299"/>
                        <a:pt x="217" y="297"/>
                      </a:cubicBezTo>
                      <a:cubicBezTo>
                        <a:pt x="218" y="295"/>
                        <a:pt x="216" y="293"/>
                        <a:pt x="217" y="292"/>
                      </a:cubicBezTo>
                      <a:cubicBezTo>
                        <a:pt x="217" y="292"/>
                        <a:pt x="217" y="292"/>
                        <a:pt x="217" y="292"/>
                      </a:cubicBezTo>
                      <a:cubicBezTo>
                        <a:pt x="217" y="292"/>
                        <a:pt x="217" y="291"/>
                        <a:pt x="217" y="291"/>
                      </a:cubicBezTo>
                      <a:cubicBezTo>
                        <a:pt x="217" y="290"/>
                        <a:pt x="218" y="290"/>
                        <a:pt x="218" y="290"/>
                      </a:cubicBezTo>
                      <a:cubicBezTo>
                        <a:pt x="218" y="290"/>
                        <a:pt x="218" y="290"/>
                        <a:pt x="218" y="290"/>
                      </a:cubicBezTo>
                      <a:cubicBezTo>
                        <a:pt x="218" y="287"/>
                        <a:pt x="218" y="288"/>
                        <a:pt x="214" y="287"/>
                      </a:cubicBezTo>
                      <a:cubicBezTo>
                        <a:pt x="205" y="287"/>
                        <a:pt x="197" y="286"/>
                        <a:pt x="188" y="286"/>
                      </a:cubicBezTo>
                      <a:cubicBezTo>
                        <a:pt x="191" y="284"/>
                        <a:pt x="194" y="283"/>
                        <a:pt x="197" y="283"/>
                      </a:cubicBezTo>
                      <a:cubicBezTo>
                        <a:pt x="197" y="283"/>
                        <a:pt x="198" y="282"/>
                        <a:pt x="198" y="282"/>
                      </a:cubicBezTo>
                      <a:cubicBezTo>
                        <a:pt x="198" y="282"/>
                        <a:pt x="198" y="283"/>
                        <a:pt x="198" y="283"/>
                      </a:cubicBezTo>
                      <a:cubicBezTo>
                        <a:pt x="199" y="283"/>
                        <a:pt x="199" y="283"/>
                        <a:pt x="199" y="283"/>
                      </a:cubicBezTo>
                      <a:cubicBezTo>
                        <a:pt x="199" y="283"/>
                        <a:pt x="200" y="283"/>
                        <a:pt x="200" y="283"/>
                      </a:cubicBezTo>
                      <a:cubicBezTo>
                        <a:pt x="201" y="282"/>
                        <a:pt x="202" y="281"/>
                        <a:pt x="203" y="281"/>
                      </a:cubicBezTo>
                      <a:cubicBezTo>
                        <a:pt x="205" y="278"/>
                        <a:pt x="203" y="276"/>
                        <a:pt x="201" y="276"/>
                      </a:cubicBezTo>
                      <a:cubicBezTo>
                        <a:pt x="201" y="276"/>
                        <a:pt x="200" y="275"/>
                        <a:pt x="200" y="275"/>
                      </a:cubicBezTo>
                      <a:cubicBezTo>
                        <a:pt x="200" y="275"/>
                        <a:pt x="200" y="276"/>
                        <a:pt x="199" y="276"/>
                      </a:cubicBezTo>
                      <a:cubicBezTo>
                        <a:pt x="199" y="276"/>
                        <a:pt x="199" y="276"/>
                        <a:pt x="198" y="276"/>
                      </a:cubicBezTo>
                      <a:cubicBezTo>
                        <a:pt x="198" y="276"/>
                        <a:pt x="198" y="276"/>
                        <a:pt x="197" y="276"/>
                      </a:cubicBezTo>
                      <a:cubicBezTo>
                        <a:pt x="200" y="274"/>
                        <a:pt x="204" y="273"/>
                        <a:pt x="207" y="273"/>
                      </a:cubicBezTo>
                      <a:cubicBezTo>
                        <a:pt x="207" y="273"/>
                        <a:pt x="207" y="273"/>
                        <a:pt x="207" y="273"/>
                      </a:cubicBezTo>
                      <a:cubicBezTo>
                        <a:pt x="207" y="273"/>
                        <a:pt x="207" y="273"/>
                        <a:pt x="207" y="273"/>
                      </a:cubicBezTo>
                      <a:cubicBezTo>
                        <a:pt x="208" y="273"/>
                        <a:pt x="208" y="273"/>
                        <a:pt x="209" y="273"/>
                      </a:cubicBezTo>
                      <a:cubicBezTo>
                        <a:pt x="209" y="273"/>
                        <a:pt x="209" y="273"/>
                        <a:pt x="209" y="273"/>
                      </a:cubicBezTo>
                      <a:cubicBezTo>
                        <a:pt x="215" y="272"/>
                        <a:pt x="211" y="269"/>
                        <a:pt x="208" y="267"/>
                      </a:cubicBezTo>
                      <a:cubicBezTo>
                        <a:pt x="209" y="267"/>
                        <a:pt x="211" y="266"/>
                        <a:pt x="212" y="266"/>
                      </a:cubicBezTo>
                      <a:cubicBezTo>
                        <a:pt x="212" y="266"/>
                        <a:pt x="213" y="266"/>
                        <a:pt x="213" y="266"/>
                      </a:cubicBezTo>
                      <a:cubicBezTo>
                        <a:pt x="212" y="266"/>
                        <a:pt x="211" y="265"/>
                        <a:pt x="210" y="264"/>
                      </a:cubicBezTo>
                      <a:cubicBezTo>
                        <a:pt x="212" y="264"/>
                        <a:pt x="213" y="266"/>
                        <a:pt x="215" y="267"/>
                      </a:cubicBezTo>
                      <a:cubicBezTo>
                        <a:pt x="215" y="267"/>
                        <a:pt x="215" y="267"/>
                        <a:pt x="215" y="267"/>
                      </a:cubicBezTo>
                      <a:cubicBezTo>
                        <a:pt x="216" y="267"/>
                        <a:pt x="217" y="266"/>
                        <a:pt x="218" y="264"/>
                      </a:cubicBezTo>
                      <a:cubicBezTo>
                        <a:pt x="219" y="264"/>
                        <a:pt x="221" y="262"/>
                        <a:pt x="222" y="262"/>
                      </a:cubicBezTo>
                      <a:cubicBezTo>
                        <a:pt x="225" y="259"/>
                        <a:pt x="227" y="249"/>
                        <a:pt x="227" y="244"/>
                      </a:cubicBezTo>
                      <a:cubicBezTo>
                        <a:pt x="228" y="237"/>
                        <a:pt x="223" y="234"/>
                        <a:pt x="218" y="231"/>
                      </a:cubicBezTo>
                      <a:cubicBezTo>
                        <a:pt x="213" y="228"/>
                        <a:pt x="206" y="227"/>
                        <a:pt x="200" y="227"/>
                      </a:cubicBezTo>
                      <a:cubicBezTo>
                        <a:pt x="199" y="227"/>
                        <a:pt x="198" y="227"/>
                        <a:pt x="198" y="227"/>
                      </a:cubicBezTo>
                      <a:cubicBezTo>
                        <a:pt x="195" y="227"/>
                        <a:pt x="194" y="229"/>
                        <a:pt x="192" y="230"/>
                      </a:cubicBezTo>
                      <a:cubicBezTo>
                        <a:pt x="189" y="231"/>
                        <a:pt x="187" y="233"/>
                        <a:pt x="185" y="234"/>
                      </a:cubicBezTo>
                      <a:cubicBezTo>
                        <a:pt x="185" y="234"/>
                        <a:pt x="185" y="234"/>
                        <a:pt x="185" y="234"/>
                      </a:cubicBezTo>
                      <a:cubicBezTo>
                        <a:pt x="184" y="234"/>
                        <a:pt x="182" y="232"/>
                        <a:pt x="181" y="232"/>
                      </a:cubicBezTo>
                      <a:cubicBezTo>
                        <a:pt x="180" y="231"/>
                        <a:pt x="180" y="231"/>
                        <a:pt x="179" y="231"/>
                      </a:cubicBezTo>
                      <a:cubicBezTo>
                        <a:pt x="179" y="231"/>
                        <a:pt x="178" y="231"/>
                        <a:pt x="178" y="231"/>
                      </a:cubicBezTo>
                      <a:cubicBezTo>
                        <a:pt x="178" y="230"/>
                        <a:pt x="180" y="229"/>
                        <a:pt x="181" y="228"/>
                      </a:cubicBezTo>
                      <a:cubicBezTo>
                        <a:pt x="182" y="226"/>
                        <a:pt x="184" y="225"/>
                        <a:pt x="186" y="223"/>
                      </a:cubicBezTo>
                      <a:cubicBezTo>
                        <a:pt x="190" y="218"/>
                        <a:pt x="178" y="207"/>
                        <a:pt x="173" y="203"/>
                      </a:cubicBezTo>
                      <a:cubicBezTo>
                        <a:pt x="171" y="201"/>
                        <a:pt x="170" y="199"/>
                        <a:pt x="167" y="199"/>
                      </a:cubicBezTo>
                      <a:cubicBezTo>
                        <a:pt x="167" y="199"/>
                        <a:pt x="167" y="199"/>
                        <a:pt x="167" y="199"/>
                      </a:cubicBezTo>
                      <a:cubicBezTo>
                        <a:pt x="166" y="199"/>
                        <a:pt x="165" y="199"/>
                        <a:pt x="164" y="200"/>
                      </a:cubicBezTo>
                      <a:cubicBezTo>
                        <a:pt x="164" y="200"/>
                        <a:pt x="163" y="200"/>
                        <a:pt x="162" y="200"/>
                      </a:cubicBezTo>
                      <a:cubicBezTo>
                        <a:pt x="162" y="200"/>
                        <a:pt x="161" y="200"/>
                        <a:pt x="160" y="199"/>
                      </a:cubicBezTo>
                      <a:cubicBezTo>
                        <a:pt x="163" y="199"/>
                        <a:pt x="165" y="198"/>
                        <a:pt x="167" y="198"/>
                      </a:cubicBezTo>
                      <a:cubicBezTo>
                        <a:pt x="169" y="198"/>
                        <a:pt x="170" y="198"/>
                        <a:pt x="171" y="199"/>
                      </a:cubicBezTo>
                      <a:cubicBezTo>
                        <a:pt x="173" y="200"/>
                        <a:pt x="173" y="202"/>
                        <a:pt x="175" y="202"/>
                      </a:cubicBezTo>
                      <a:cubicBezTo>
                        <a:pt x="175" y="202"/>
                        <a:pt x="175" y="202"/>
                        <a:pt x="176" y="202"/>
                      </a:cubicBezTo>
                      <a:cubicBezTo>
                        <a:pt x="176" y="202"/>
                        <a:pt x="177" y="202"/>
                        <a:pt x="177" y="202"/>
                      </a:cubicBezTo>
                      <a:cubicBezTo>
                        <a:pt x="178" y="202"/>
                        <a:pt x="178" y="202"/>
                        <a:pt x="179" y="202"/>
                      </a:cubicBezTo>
                      <a:cubicBezTo>
                        <a:pt x="179" y="202"/>
                        <a:pt x="180" y="202"/>
                        <a:pt x="180" y="203"/>
                      </a:cubicBezTo>
                      <a:cubicBezTo>
                        <a:pt x="178" y="196"/>
                        <a:pt x="176" y="187"/>
                        <a:pt x="172" y="182"/>
                      </a:cubicBezTo>
                      <a:cubicBezTo>
                        <a:pt x="169" y="179"/>
                        <a:pt x="166" y="176"/>
                        <a:pt x="163" y="173"/>
                      </a:cubicBezTo>
                      <a:cubicBezTo>
                        <a:pt x="161" y="171"/>
                        <a:pt x="158" y="167"/>
                        <a:pt x="155" y="166"/>
                      </a:cubicBezTo>
                      <a:cubicBezTo>
                        <a:pt x="151" y="164"/>
                        <a:pt x="147" y="162"/>
                        <a:pt x="142" y="160"/>
                      </a:cubicBezTo>
                      <a:cubicBezTo>
                        <a:pt x="140" y="159"/>
                        <a:pt x="139" y="153"/>
                        <a:pt x="138" y="151"/>
                      </a:cubicBezTo>
                      <a:cubicBezTo>
                        <a:pt x="136" y="145"/>
                        <a:pt x="134" y="139"/>
                        <a:pt x="132" y="132"/>
                      </a:cubicBezTo>
                      <a:cubicBezTo>
                        <a:pt x="131" y="123"/>
                        <a:pt x="123" y="118"/>
                        <a:pt x="115" y="114"/>
                      </a:cubicBezTo>
                      <a:cubicBezTo>
                        <a:pt x="102" y="106"/>
                        <a:pt x="85" y="112"/>
                        <a:pt x="71" y="106"/>
                      </a:cubicBezTo>
                      <a:cubicBezTo>
                        <a:pt x="74" y="106"/>
                        <a:pt x="77" y="108"/>
                        <a:pt x="80" y="108"/>
                      </a:cubicBezTo>
                      <a:cubicBezTo>
                        <a:pt x="81" y="108"/>
                        <a:pt x="81" y="108"/>
                        <a:pt x="82" y="108"/>
                      </a:cubicBezTo>
                      <a:cubicBezTo>
                        <a:pt x="86" y="107"/>
                        <a:pt x="88" y="105"/>
                        <a:pt x="91" y="102"/>
                      </a:cubicBezTo>
                      <a:cubicBezTo>
                        <a:pt x="92" y="101"/>
                        <a:pt x="93" y="101"/>
                        <a:pt x="94" y="101"/>
                      </a:cubicBezTo>
                      <a:cubicBezTo>
                        <a:pt x="95" y="101"/>
                        <a:pt x="95" y="101"/>
                        <a:pt x="95" y="101"/>
                      </a:cubicBezTo>
                      <a:cubicBezTo>
                        <a:pt x="96" y="101"/>
                        <a:pt x="96" y="101"/>
                        <a:pt x="97" y="101"/>
                      </a:cubicBezTo>
                      <a:cubicBezTo>
                        <a:pt x="97" y="101"/>
                        <a:pt x="98" y="101"/>
                        <a:pt x="98" y="101"/>
                      </a:cubicBezTo>
                      <a:cubicBezTo>
                        <a:pt x="104" y="101"/>
                        <a:pt x="99" y="92"/>
                        <a:pt x="96" y="91"/>
                      </a:cubicBezTo>
                      <a:cubicBezTo>
                        <a:pt x="102" y="90"/>
                        <a:pt x="104" y="84"/>
                        <a:pt x="108" y="80"/>
                      </a:cubicBezTo>
                      <a:cubicBezTo>
                        <a:pt x="109" y="78"/>
                        <a:pt x="111" y="77"/>
                        <a:pt x="113" y="75"/>
                      </a:cubicBezTo>
                      <a:cubicBezTo>
                        <a:pt x="115" y="73"/>
                        <a:pt x="114" y="72"/>
                        <a:pt x="115" y="69"/>
                      </a:cubicBezTo>
                      <a:cubicBezTo>
                        <a:pt x="116" y="67"/>
                        <a:pt x="118" y="66"/>
                        <a:pt x="119" y="63"/>
                      </a:cubicBezTo>
                      <a:cubicBezTo>
                        <a:pt x="119" y="61"/>
                        <a:pt x="119" y="59"/>
                        <a:pt x="121" y="56"/>
                      </a:cubicBezTo>
                      <a:cubicBezTo>
                        <a:pt x="122" y="54"/>
                        <a:pt x="125" y="53"/>
                        <a:pt x="126" y="50"/>
                      </a:cubicBezTo>
                      <a:cubicBezTo>
                        <a:pt x="127" y="49"/>
                        <a:pt x="127" y="44"/>
                        <a:pt x="125" y="44"/>
                      </a:cubicBezTo>
                      <a:cubicBezTo>
                        <a:pt x="114" y="42"/>
                        <a:pt x="104" y="41"/>
                        <a:pt x="94" y="40"/>
                      </a:cubicBezTo>
                      <a:cubicBezTo>
                        <a:pt x="91" y="40"/>
                        <a:pt x="89" y="40"/>
                        <a:pt x="87" y="40"/>
                      </a:cubicBezTo>
                      <a:cubicBezTo>
                        <a:pt x="82" y="40"/>
                        <a:pt x="79" y="40"/>
                        <a:pt x="73" y="42"/>
                      </a:cubicBezTo>
                      <a:cubicBezTo>
                        <a:pt x="70" y="43"/>
                        <a:pt x="66" y="43"/>
                        <a:pt x="63" y="44"/>
                      </a:cubicBezTo>
                      <a:cubicBezTo>
                        <a:pt x="61" y="45"/>
                        <a:pt x="60" y="49"/>
                        <a:pt x="58" y="49"/>
                      </a:cubicBezTo>
                      <a:cubicBezTo>
                        <a:pt x="58" y="49"/>
                        <a:pt x="58" y="49"/>
                        <a:pt x="58" y="49"/>
                      </a:cubicBezTo>
                      <a:cubicBezTo>
                        <a:pt x="55" y="48"/>
                        <a:pt x="57" y="41"/>
                        <a:pt x="59" y="41"/>
                      </a:cubicBezTo>
                      <a:cubicBezTo>
                        <a:pt x="60" y="40"/>
                        <a:pt x="61" y="39"/>
                        <a:pt x="63" y="39"/>
                      </a:cubicBezTo>
                      <a:cubicBezTo>
                        <a:pt x="63" y="39"/>
                        <a:pt x="63" y="39"/>
                        <a:pt x="63" y="39"/>
                      </a:cubicBezTo>
                      <a:cubicBezTo>
                        <a:pt x="63" y="39"/>
                        <a:pt x="63" y="39"/>
                        <a:pt x="63" y="39"/>
                      </a:cubicBezTo>
                      <a:cubicBezTo>
                        <a:pt x="63" y="40"/>
                        <a:pt x="63" y="40"/>
                        <a:pt x="63" y="40"/>
                      </a:cubicBezTo>
                      <a:cubicBezTo>
                        <a:pt x="63" y="40"/>
                        <a:pt x="63" y="40"/>
                        <a:pt x="63" y="40"/>
                      </a:cubicBezTo>
                      <a:cubicBezTo>
                        <a:pt x="65" y="40"/>
                        <a:pt x="66" y="39"/>
                        <a:pt x="66" y="37"/>
                      </a:cubicBezTo>
                      <a:cubicBezTo>
                        <a:pt x="67" y="33"/>
                        <a:pt x="55" y="35"/>
                        <a:pt x="53" y="32"/>
                      </a:cubicBezTo>
                      <a:cubicBezTo>
                        <a:pt x="54" y="32"/>
                        <a:pt x="58" y="33"/>
                        <a:pt x="60" y="33"/>
                      </a:cubicBezTo>
                      <a:cubicBezTo>
                        <a:pt x="62" y="33"/>
                        <a:pt x="63" y="32"/>
                        <a:pt x="61" y="30"/>
                      </a:cubicBezTo>
                      <a:cubicBezTo>
                        <a:pt x="61" y="29"/>
                        <a:pt x="73" y="24"/>
                        <a:pt x="75" y="22"/>
                      </a:cubicBezTo>
                      <a:cubicBezTo>
                        <a:pt x="78" y="20"/>
                        <a:pt x="81" y="18"/>
                        <a:pt x="84" y="16"/>
                      </a:cubicBezTo>
                      <a:cubicBezTo>
                        <a:pt x="89" y="12"/>
                        <a:pt x="90" y="7"/>
                        <a:pt x="92" y="1"/>
                      </a:cubicBezTo>
                      <a:cubicBezTo>
                        <a:pt x="91" y="1"/>
                        <a:pt x="90" y="1"/>
                        <a:pt x="90" y="1"/>
                      </a:cubicBezTo>
                      <a:cubicBezTo>
                        <a:pt x="88" y="1"/>
                        <a:pt x="86" y="1"/>
                        <a:pt x="84" y="0"/>
                      </a:cubicBezTo>
                      <a:cubicBezTo>
                        <a:pt x="84" y="0"/>
                        <a:pt x="81" y="0"/>
                        <a:pt x="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80" name="Freeform 58">
                  <a:extLst>
                    <a:ext uri="{FF2B5EF4-FFF2-40B4-BE49-F238E27FC236}">
                      <a16:creationId xmlns:a16="http://schemas.microsoft.com/office/drawing/2014/main" id="{F4534902-C4B9-4F95-A648-E095F624F984}"/>
                    </a:ext>
                  </a:extLst>
                </p:cNvPr>
                <p:cNvSpPr>
                  <a:spLocks/>
                </p:cNvSpPr>
                <p:nvPr/>
              </p:nvSpPr>
              <p:spPr bwMode="auto">
                <a:xfrm>
                  <a:off x="3681431" y="3080757"/>
                  <a:ext cx="33166" cy="36851"/>
                </a:xfrm>
                <a:custGeom>
                  <a:avLst/>
                  <a:gdLst>
                    <a:gd name="T0" fmla="*/ 3 w 10"/>
                    <a:gd name="T1" fmla="*/ 0 h 12"/>
                    <a:gd name="T2" fmla="*/ 1 w 10"/>
                    <a:gd name="T3" fmla="*/ 3 h 12"/>
                    <a:gd name="T4" fmla="*/ 7 w 10"/>
                    <a:gd name="T5" fmla="*/ 12 h 12"/>
                    <a:gd name="T6" fmla="*/ 5 w 10"/>
                    <a:gd name="T7" fmla="*/ 8 h 12"/>
                    <a:gd name="T8" fmla="*/ 3 w 10"/>
                    <a:gd name="T9" fmla="*/ 7 h 12"/>
                    <a:gd name="T10" fmla="*/ 2 w 10"/>
                    <a:gd name="T11" fmla="*/ 1 h 12"/>
                    <a:gd name="T12" fmla="*/ 7 w 10"/>
                    <a:gd name="T13" fmla="*/ 3 h 12"/>
                    <a:gd name="T14" fmla="*/ 3 w 10"/>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2">
                      <a:moveTo>
                        <a:pt x="3" y="0"/>
                      </a:moveTo>
                      <a:cubicBezTo>
                        <a:pt x="2" y="0"/>
                        <a:pt x="1" y="1"/>
                        <a:pt x="1" y="3"/>
                      </a:cubicBezTo>
                      <a:cubicBezTo>
                        <a:pt x="0" y="9"/>
                        <a:pt x="1" y="11"/>
                        <a:pt x="7" y="12"/>
                      </a:cubicBezTo>
                      <a:cubicBezTo>
                        <a:pt x="4" y="10"/>
                        <a:pt x="4" y="11"/>
                        <a:pt x="5" y="8"/>
                      </a:cubicBezTo>
                      <a:cubicBezTo>
                        <a:pt x="5" y="7"/>
                        <a:pt x="4" y="7"/>
                        <a:pt x="3" y="7"/>
                      </a:cubicBezTo>
                      <a:cubicBezTo>
                        <a:pt x="10" y="3"/>
                        <a:pt x="6" y="5"/>
                        <a:pt x="2" y="1"/>
                      </a:cubicBezTo>
                      <a:cubicBezTo>
                        <a:pt x="4" y="2"/>
                        <a:pt x="5" y="2"/>
                        <a:pt x="7" y="3"/>
                      </a:cubicBezTo>
                      <a:cubicBezTo>
                        <a:pt x="5"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81" name="Freeform 59">
                  <a:extLst>
                    <a:ext uri="{FF2B5EF4-FFF2-40B4-BE49-F238E27FC236}">
                      <a16:creationId xmlns:a16="http://schemas.microsoft.com/office/drawing/2014/main" id="{E4EDBDB1-188C-4D86-986F-4C7065E9BDAC}"/>
                    </a:ext>
                  </a:extLst>
                </p:cNvPr>
                <p:cNvSpPr>
                  <a:spLocks/>
                </p:cNvSpPr>
                <p:nvPr/>
              </p:nvSpPr>
              <p:spPr bwMode="auto">
                <a:xfrm>
                  <a:off x="3751448" y="3172885"/>
                  <a:ext cx="22111" cy="14740"/>
                </a:xfrm>
                <a:custGeom>
                  <a:avLst/>
                  <a:gdLst>
                    <a:gd name="T0" fmla="*/ 7 w 7"/>
                    <a:gd name="T1" fmla="*/ 0 h 5"/>
                    <a:gd name="T2" fmla="*/ 0 w 7"/>
                    <a:gd name="T3" fmla="*/ 5 h 5"/>
                    <a:gd name="T4" fmla="*/ 7 w 7"/>
                    <a:gd name="T5" fmla="*/ 0 h 5"/>
                  </a:gdLst>
                  <a:ahLst/>
                  <a:cxnLst>
                    <a:cxn ang="0">
                      <a:pos x="T0" y="T1"/>
                    </a:cxn>
                    <a:cxn ang="0">
                      <a:pos x="T2" y="T3"/>
                    </a:cxn>
                    <a:cxn ang="0">
                      <a:pos x="T4" y="T5"/>
                    </a:cxn>
                  </a:cxnLst>
                  <a:rect l="0" t="0" r="r" b="b"/>
                  <a:pathLst>
                    <a:path w="7" h="5">
                      <a:moveTo>
                        <a:pt x="7" y="0"/>
                      </a:moveTo>
                      <a:cubicBezTo>
                        <a:pt x="5" y="2"/>
                        <a:pt x="3" y="4"/>
                        <a:pt x="0" y="5"/>
                      </a:cubicBezTo>
                      <a:cubicBezTo>
                        <a:pt x="3" y="5"/>
                        <a:pt x="6" y="3"/>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82" name="Freeform 60">
                  <a:extLst>
                    <a:ext uri="{FF2B5EF4-FFF2-40B4-BE49-F238E27FC236}">
                      <a16:creationId xmlns:a16="http://schemas.microsoft.com/office/drawing/2014/main" id="{5A97E7FB-4019-49FB-8F68-96561F692106}"/>
                    </a:ext>
                  </a:extLst>
                </p:cNvPr>
                <p:cNvSpPr>
                  <a:spLocks/>
                </p:cNvSpPr>
                <p:nvPr/>
              </p:nvSpPr>
              <p:spPr bwMode="auto">
                <a:xfrm>
                  <a:off x="3688801" y="3069702"/>
                  <a:ext cx="18426" cy="11055"/>
                </a:xfrm>
                <a:custGeom>
                  <a:avLst/>
                  <a:gdLst>
                    <a:gd name="T0" fmla="*/ 2 w 6"/>
                    <a:gd name="T1" fmla="*/ 0 h 3"/>
                    <a:gd name="T2" fmla="*/ 0 w 6"/>
                    <a:gd name="T3" fmla="*/ 0 h 3"/>
                    <a:gd name="T4" fmla="*/ 3 w 6"/>
                    <a:gd name="T5" fmla="*/ 3 h 3"/>
                    <a:gd name="T6" fmla="*/ 2 w 6"/>
                    <a:gd name="T7" fmla="*/ 0 h 3"/>
                  </a:gdLst>
                  <a:ahLst/>
                  <a:cxnLst>
                    <a:cxn ang="0">
                      <a:pos x="T0" y="T1"/>
                    </a:cxn>
                    <a:cxn ang="0">
                      <a:pos x="T2" y="T3"/>
                    </a:cxn>
                    <a:cxn ang="0">
                      <a:pos x="T4" y="T5"/>
                    </a:cxn>
                    <a:cxn ang="0">
                      <a:pos x="T6" y="T7"/>
                    </a:cxn>
                  </a:cxnLst>
                  <a:rect l="0" t="0" r="r" b="b"/>
                  <a:pathLst>
                    <a:path w="6" h="3">
                      <a:moveTo>
                        <a:pt x="2" y="0"/>
                      </a:moveTo>
                      <a:cubicBezTo>
                        <a:pt x="1" y="0"/>
                        <a:pt x="0" y="0"/>
                        <a:pt x="0" y="0"/>
                      </a:cubicBezTo>
                      <a:cubicBezTo>
                        <a:pt x="1" y="1"/>
                        <a:pt x="2" y="2"/>
                        <a:pt x="3" y="3"/>
                      </a:cubicBezTo>
                      <a:cubicBezTo>
                        <a:pt x="6" y="1"/>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83" name="Freeform 61">
                  <a:extLst>
                    <a:ext uri="{FF2B5EF4-FFF2-40B4-BE49-F238E27FC236}">
                      <a16:creationId xmlns:a16="http://schemas.microsoft.com/office/drawing/2014/main" id="{9C3DA8A6-2780-4B89-BA3E-5E7F0B41C12B}"/>
                    </a:ext>
                  </a:extLst>
                </p:cNvPr>
                <p:cNvSpPr>
                  <a:spLocks/>
                </p:cNvSpPr>
                <p:nvPr/>
              </p:nvSpPr>
              <p:spPr bwMode="auto">
                <a:xfrm>
                  <a:off x="3677746" y="3128664"/>
                  <a:ext cx="11055" cy="11055"/>
                </a:xfrm>
                <a:custGeom>
                  <a:avLst/>
                  <a:gdLst>
                    <a:gd name="T0" fmla="*/ 0 w 3"/>
                    <a:gd name="T1" fmla="*/ 0 h 3"/>
                    <a:gd name="T2" fmla="*/ 0 w 3"/>
                    <a:gd name="T3" fmla="*/ 3 h 3"/>
                    <a:gd name="T4" fmla="*/ 3 w 3"/>
                    <a:gd name="T5" fmla="*/ 1 h 3"/>
                    <a:gd name="T6" fmla="*/ 0 w 3"/>
                    <a:gd name="T7" fmla="*/ 0 h 3"/>
                  </a:gdLst>
                  <a:ahLst/>
                  <a:cxnLst>
                    <a:cxn ang="0">
                      <a:pos x="T0" y="T1"/>
                    </a:cxn>
                    <a:cxn ang="0">
                      <a:pos x="T2" y="T3"/>
                    </a:cxn>
                    <a:cxn ang="0">
                      <a:pos x="T4" y="T5"/>
                    </a:cxn>
                    <a:cxn ang="0">
                      <a:pos x="T6" y="T7"/>
                    </a:cxn>
                  </a:cxnLst>
                  <a:rect l="0" t="0" r="r" b="b"/>
                  <a:pathLst>
                    <a:path w="3" h="3">
                      <a:moveTo>
                        <a:pt x="0" y="0"/>
                      </a:moveTo>
                      <a:cubicBezTo>
                        <a:pt x="0" y="1"/>
                        <a:pt x="0" y="2"/>
                        <a:pt x="0" y="3"/>
                      </a:cubicBezTo>
                      <a:cubicBezTo>
                        <a:pt x="1" y="2"/>
                        <a:pt x="2" y="2"/>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84" name="Freeform 62">
                  <a:extLst>
                    <a:ext uri="{FF2B5EF4-FFF2-40B4-BE49-F238E27FC236}">
                      <a16:creationId xmlns:a16="http://schemas.microsoft.com/office/drawing/2014/main" id="{6A1DEC1F-DD5B-473F-AAEB-84FC3A6DAD6C}"/>
                    </a:ext>
                  </a:extLst>
                </p:cNvPr>
                <p:cNvSpPr>
                  <a:spLocks noEditPoints="1"/>
                </p:cNvSpPr>
                <p:nvPr/>
              </p:nvSpPr>
              <p:spPr bwMode="auto">
                <a:xfrm>
                  <a:off x="3733023" y="3194996"/>
                  <a:ext cx="14740" cy="7370"/>
                </a:xfrm>
                <a:custGeom>
                  <a:avLst/>
                  <a:gdLst>
                    <a:gd name="T0" fmla="*/ 0 w 5"/>
                    <a:gd name="T1" fmla="*/ 3 h 3"/>
                    <a:gd name="T2" fmla="*/ 0 w 5"/>
                    <a:gd name="T3" fmla="*/ 3 h 3"/>
                    <a:gd name="T4" fmla="*/ 0 w 5"/>
                    <a:gd name="T5" fmla="*/ 3 h 3"/>
                    <a:gd name="T6" fmla="*/ 5 w 5"/>
                    <a:gd name="T7" fmla="*/ 0 h 3"/>
                    <a:gd name="T8" fmla="*/ 0 w 5"/>
                    <a:gd name="T9" fmla="*/ 3 h 3"/>
                    <a:gd name="T10" fmla="*/ 5 w 5"/>
                    <a:gd name="T11" fmla="*/ 0 h 3"/>
                    <a:gd name="T12" fmla="*/ 5 w 5"/>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 h="3">
                      <a:moveTo>
                        <a:pt x="0" y="3"/>
                      </a:moveTo>
                      <a:cubicBezTo>
                        <a:pt x="0" y="3"/>
                        <a:pt x="0" y="3"/>
                        <a:pt x="0" y="3"/>
                      </a:cubicBezTo>
                      <a:cubicBezTo>
                        <a:pt x="0" y="3"/>
                        <a:pt x="0" y="3"/>
                        <a:pt x="0" y="3"/>
                      </a:cubicBezTo>
                      <a:moveTo>
                        <a:pt x="5" y="0"/>
                      </a:moveTo>
                      <a:cubicBezTo>
                        <a:pt x="2" y="0"/>
                        <a:pt x="2" y="2"/>
                        <a:pt x="0" y="3"/>
                      </a:cubicBezTo>
                      <a:cubicBezTo>
                        <a:pt x="2" y="2"/>
                        <a:pt x="3" y="1"/>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85" name="Freeform 63">
                  <a:extLst>
                    <a:ext uri="{FF2B5EF4-FFF2-40B4-BE49-F238E27FC236}">
                      <a16:creationId xmlns:a16="http://schemas.microsoft.com/office/drawing/2014/main" id="{B331DB92-0E39-4B58-AE1B-A9BFF6229FE3}"/>
                    </a:ext>
                  </a:extLst>
                </p:cNvPr>
                <p:cNvSpPr>
                  <a:spLocks/>
                </p:cNvSpPr>
                <p:nvPr/>
              </p:nvSpPr>
              <p:spPr bwMode="auto">
                <a:xfrm>
                  <a:off x="4049942" y="2852280"/>
                  <a:ext cx="77387" cy="33166"/>
                </a:xfrm>
                <a:custGeom>
                  <a:avLst/>
                  <a:gdLst>
                    <a:gd name="T0" fmla="*/ 5 w 24"/>
                    <a:gd name="T1" fmla="*/ 0 h 11"/>
                    <a:gd name="T2" fmla="*/ 4 w 24"/>
                    <a:gd name="T3" fmla="*/ 0 h 11"/>
                    <a:gd name="T4" fmla="*/ 1 w 24"/>
                    <a:gd name="T5" fmla="*/ 6 h 11"/>
                    <a:gd name="T6" fmla="*/ 16 w 24"/>
                    <a:gd name="T7" fmla="*/ 11 h 11"/>
                    <a:gd name="T8" fmla="*/ 14 w 24"/>
                    <a:gd name="T9" fmla="*/ 6 h 11"/>
                    <a:gd name="T10" fmla="*/ 13 w 24"/>
                    <a:gd name="T11" fmla="*/ 6 h 11"/>
                    <a:gd name="T12" fmla="*/ 11 w 24"/>
                    <a:gd name="T13" fmla="*/ 6 h 11"/>
                    <a:gd name="T14" fmla="*/ 9 w 24"/>
                    <a:gd name="T15" fmla="*/ 6 h 11"/>
                    <a:gd name="T16" fmla="*/ 7 w 24"/>
                    <a:gd name="T17" fmla="*/ 6 h 11"/>
                    <a:gd name="T18" fmla="*/ 9 w 24"/>
                    <a:gd name="T19" fmla="*/ 1 h 11"/>
                    <a:gd name="T20" fmla="*/ 5 w 24"/>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1">
                      <a:moveTo>
                        <a:pt x="5" y="0"/>
                      </a:moveTo>
                      <a:cubicBezTo>
                        <a:pt x="4" y="0"/>
                        <a:pt x="4" y="0"/>
                        <a:pt x="4" y="0"/>
                      </a:cubicBezTo>
                      <a:cubicBezTo>
                        <a:pt x="2" y="0"/>
                        <a:pt x="0" y="3"/>
                        <a:pt x="1" y="6"/>
                      </a:cubicBezTo>
                      <a:cubicBezTo>
                        <a:pt x="2" y="10"/>
                        <a:pt x="12" y="10"/>
                        <a:pt x="16" y="11"/>
                      </a:cubicBezTo>
                      <a:cubicBezTo>
                        <a:pt x="24" y="8"/>
                        <a:pt x="15" y="8"/>
                        <a:pt x="14" y="6"/>
                      </a:cubicBezTo>
                      <a:cubicBezTo>
                        <a:pt x="14" y="6"/>
                        <a:pt x="13" y="6"/>
                        <a:pt x="13" y="6"/>
                      </a:cubicBezTo>
                      <a:cubicBezTo>
                        <a:pt x="12" y="6"/>
                        <a:pt x="11" y="6"/>
                        <a:pt x="11" y="6"/>
                      </a:cubicBezTo>
                      <a:cubicBezTo>
                        <a:pt x="10" y="6"/>
                        <a:pt x="9" y="6"/>
                        <a:pt x="9" y="6"/>
                      </a:cubicBezTo>
                      <a:cubicBezTo>
                        <a:pt x="8" y="6"/>
                        <a:pt x="8" y="6"/>
                        <a:pt x="7" y="6"/>
                      </a:cubicBezTo>
                      <a:cubicBezTo>
                        <a:pt x="10" y="4"/>
                        <a:pt x="12" y="4"/>
                        <a:pt x="9" y="1"/>
                      </a:cubicBezTo>
                      <a:cubicBezTo>
                        <a:pt x="8"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86" name="Freeform 64">
                  <a:extLst>
                    <a:ext uri="{FF2B5EF4-FFF2-40B4-BE49-F238E27FC236}">
                      <a16:creationId xmlns:a16="http://schemas.microsoft.com/office/drawing/2014/main" id="{789A38B9-A119-474A-BF00-9E6B2B2174F6}"/>
                    </a:ext>
                  </a:extLst>
                </p:cNvPr>
                <p:cNvSpPr>
                  <a:spLocks/>
                </p:cNvSpPr>
                <p:nvPr/>
              </p:nvSpPr>
              <p:spPr bwMode="auto">
                <a:xfrm>
                  <a:off x="3806725" y="3239217"/>
                  <a:ext cx="36851" cy="47907"/>
                </a:xfrm>
                <a:custGeom>
                  <a:avLst/>
                  <a:gdLst>
                    <a:gd name="T0" fmla="*/ 11 w 12"/>
                    <a:gd name="T1" fmla="*/ 0 h 14"/>
                    <a:gd name="T2" fmla="*/ 5 w 12"/>
                    <a:gd name="T3" fmla="*/ 4 h 14"/>
                    <a:gd name="T4" fmla="*/ 4 w 12"/>
                    <a:gd name="T5" fmla="*/ 14 h 14"/>
                    <a:gd name="T6" fmla="*/ 10 w 12"/>
                    <a:gd name="T7" fmla="*/ 3 h 14"/>
                    <a:gd name="T8" fmla="*/ 12 w 12"/>
                    <a:gd name="T9" fmla="*/ 0 h 14"/>
                    <a:gd name="T10" fmla="*/ 11 w 12"/>
                    <a:gd name="T11" fmla="*/ 0 h 14"/>
                  </a:gdLst>
                  <a:ahLst/>
                  <a:cxnLst>
                    <a:cxn ang="0">
                      <a:pos x="T0" y="T1"/>
                    </a:cxn>
                    <a:cxn ang="0">
                      <a:pos x="T2" y="T3"/>
                    </a:cxn>
                    <a:cxn ang="0">
                      <a:pos x="T4" y="T5"/>
                    </a:cxn>
                    <a:cxn ang="0">
                      <a:pos x="T6" y="T7"/>
                    </a:cxn>
                    <a:cxn ang="0">
                      <a:pos x="T8" y="T9"/>
                    </a:cxn>
                    <a:cxn ang="0">
                      <a:pos x="T10" y="T11"/>
                    </a:cxn>
                  </a:cxnLst>
                  <a:rect l="0" t="0" r="r" b="b"/>
                  <a:pathLst>
                    <a:path w="12" h="14">
                      <a:moveTo>
                        <a:pt x="11" y="0"/>
                      </a:moveTo>
                      <a:cubicBezTo>
                        <a:pt x="10" y="0"/>
                        <a:pt x="6" y="3"/>
                        <a:pt x="5" y="4"/>
                      </a:cubicBezTo>
                      <a:cubicBezTo>
                        <a:pt x="1" y="7"/>
                        <a:pt x="0" y="9"/>
                        <a:pt x="4" y="14"/>
                      </a:cubicBezTo>
                      <a:cubicBezTo>
                        <a:pt x="6" y="11"/>
                        <a:pt x="9" y="7"/>
                        <a:pt x="10" y="3"/>
                      </a:cubicBezTo>
                      <a:cubicBezTo>
                        <a:pt x="11" y="2"/>
                        <a:pt x="12" y="1"/>
                        <a:pt x="12" y="0"/>
                      </a:cubicBezTo>
                      <a:cubicBezTo>
                        <a:pt x="12"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87" name="Freeform 65">
                  <a:extLst>
                    <a:ext uri="{FF2B5EF4-FFF2-40B4-BE49-F238E27FC236}">
                      <a16:creationId xmlns:a16="http://schemas.microsoft.com/office/drawing/2014/main" id="{97FDFD06-DBCE-4DD4-BBE8-4FCD818C7B55}"/>
                    </a:ext>
                  </a:extLst>
                </p:cNvPr>
                <p:cNvSpPr>
                  <a:spLocks/>
                </p:cNvSpPr>
                <p:nvPr/>
              </p:nvSpPr>
              <p:spPr bwMode="auto">
                <a:xfrm>
                  <a:off x="3766189" y="3268698"/>
                  <a:ext cx="44221" cy="44221"/>
                </a:xfrm>
                <a:custGeom>
                  <a:avLst/>
                  <a:gdLst>
                    <a:gd name="T0" fmla="*/ 11 w 14"/>
                    <a:gd name="T1" fmla="*/ 0 h 14"/>
                    <a:gd name="T2" fmla="*/ 5 w 14"/>
                    <a:gd name="T3" fmla="*/ 4 h 14"/>
                    <a:gd name="T4" fmla="*/ 5 w 14"/>
                    <a:gd name="T5" fmla="*/ 1 h 14"/>
                    <a:gd name="T6" fmla="*/ 2 w 14"/>
                    <a:gd name="T7" fmla="*/ 5 h 14"/>
                    <a:gd name="T8" fmla="*/ 3 w 14"/>
                    <a:gd name="T9" fmla="*/ 5 h 14"/>
                    <a:gd name="T10" fmla="*/ 4 w 14"/>
                    <a:gd name="T11" fmla="*/ 5 h 14"/>
                    <a:gd name="T12" fmla="*/ 6 w 14"/>
                    <a:gd name="T13" fmla="*/ 5 h 14"/>
                    <a:gd name="T14" fmla="*/ 7 w 14"/>
                    <a:gd name="T15" fmla="*/ 6 h 14"/>
                    <a:gd name="T16" fmla="*/ 7 w 14"/>
                    <a:gd name="T17" fmla="*/ 14 h 14"/>
                    <a:gd name="T18" fmla="*/ 14 w 14"/>
                    <a:gd name="T19" fmla="*/ 8 h 14"/>
                    <a:gd name="T20" fmla="*/ 11 w 14"/>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4">
                      <a:moveTo>
                        <a:pt x="11" y="0"/>
                      </a:moveTo>
                      <a:cubicBezTo>
                        <a:pt x="9" y="0"/>
                        <a:pt x="6" y="1"/>
                        <a:pt x="5" y="4"/>
                      </a:cubicBezTo>
                      <a:cubicBezTo>
                        <a:pt x="5" y="3"/>
                        <a:pt x="5" y="2"/>
                        <a:pt x="5" y="1"/>
                      </a:cubicBezTo>
                      <a:cubicBezTo>
                        <a:pt x="4" y="2"/>
                        <a:pt x="0" y="3"/>
                        <a:pt x="2" y="5"/>
                      </a:cubicBezTo>
                      <a:cubicBezTo>
                        <a:pt x="2" y="5"/>
                        <a:pt x="2" y="5"/>
                        <a:pt x="3" y="5"/>
                      </a:cubicBezTo>
                      <a:cubicBezTo>
                        <a:pt x="3" y="5"/>
                        <a:pt x="4" y="5"/>
                        <a:pt x="4" y="5"/>
                      </a:cubicBezTo>
                      <a:cubicBezTo>
                        <a:pt x="5" y="5"/>
                        <a:pt x="5" y="5"/>
                        <a:pt x="6" y="5"/>
                      </a:cubicBezTo>
                      <a:cubicBezTo>
                        <a:pt x="6" y="5"/>
                        <a:pt x="6" y="5"/>
                        <a:pt x="7" y="6"/>
                      </a:cubicBezTo>
                      <a:cubicBezTo>
                        <a:pt x="8" y="7"/>
                        <a:pt x="7" y="12"/>
                        <a:pt x="7" y="14"/>
                      </a:cubicBezTo>
                      <a:cubicBezTo>
                        <a:pt x="9" y="11"/>
                        <a:pt x="14" y="12"/>
                        <a:pt x="14" y="8"/>
                      </a:cubicBezTo>
                      <a:cubicBezTo>
                        <a:pt x="14" y="5"/>
                        <a:pt x="11" y="3"/>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88" name="Freeform 66">
                  <a:extLst>
                    <a:ext uri="{FF2B5EF4-FFF2-40B4-BE49-F238E27FC236}">
                      <a16:creationId xmlns:a16="http://schemas.microsoft.com/office/drawing/2014/main" id="{435DDD65-2E79-47AC-A9C4-B4906FAAD71E}"/>
                    </a:ext>
                  </a:extLst>
                </p:cNvPr>
                <p:cNvSpPr>
                  <a:spLocks/>
                </p:cNvSpPr>
                <p:nvPr/>
              </p:nvSpPr>
              <p:spPr bwMode="auto">
                <a:xfrm>
                  <a:off x="9139087" y="5207069"/>
                  <a:ext cx="7370" cy="33166"/>
                </a:xfrm>
                <a:custGeom>
                  <a:avLst/>
                  <a:gdLst>
                    <a:gd name="T0" fmla="*/ 2 w 2"/>
                    <a:gd name="T1" fmla="*/ 0 h 11"/>
                    <a:gd name="T2" fmla="*/ 2 w 2"/>
                    <a:gd name="T3" fmla="*/ 11 h 11"/>
                    <a:gd name="T4" fmla="*/ 2 w 2"/>
                    <a:gd name="T5" fmla="*/ 0 h 11"/>
                  </a:gdLst>
                  <a:ahLst/>
                  <a:cxnLst>
                    <a:cxn ang="0">
                      <a:pos x="T0" y="T1"/>
                    </a:cxn>
                    <a:cxn ang="0">
                      <a:pos x="T2" y="T3"/>
                    </a:cxn>
                    <a:cxn ang="0">
                      <a:pos x="T4" y="T5"/>
                    </a:cxn>
                  </a:cxnLst>
                  <a:rect l="0" t="0" r="r" b="b"/>
                  <a:pathLst>
                    <a:path w="2" h="11">
                      <a:moveTo>
                        <a:pt x="2" y="0"/>
                      </a:moveTo>
                      <a:cubicBezTo>
                        <a:pt x="0" y="3"/>
                        <a:pt x="2" y="9"/>
                        <a:pt x="2" y="11"/>
                      </a:cubicBezTo>
                      <a:cubicBezTo>
                        <a:pt x="2" y="8"/>
                        <a:pt x="1" y="4"/>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89" name="Freeform 67">
                  <a:extLst>
                    <a:ext uri="{FF2B5EF4-FFF2-40B4-BE49-F238E27FC236}">
                      <a16:creationId xmlns:a16="http://schemas.microsoft.com/office/drawing/2014/main" id="{9DEE294A-0850-494A-A31F-C8AB00A9319B}"/>
                    </a:ext>
                  </a:extLst>
                </p:cNvPr>
                <p:cNvSpPr>
                  <a:spLocks/>
                </p:cNvSpPr>
                <p:nvPr/>
              </p:nvSpPr>
              <p:spPr bwMode="auto">
                <a:xfrm>
                  <a:off x="6673745" y="5096516"/>
                  <a:ext cx="25796" cy="3685"/>
                </a:xfrm>
                <a:custGeom>
                  <a:avLst/>
                  <a:gdLst>
                    <a:gd name="T0" fmla="*/ 9 w 9"/>
                    <a:gd name="T1" fmla="*/ 0 h 1"/>
                    <a:gd name="T2" fmla="*/ 0 w 9"/>
                    <a:gd name="T3" fmla="*/ 0 h 1"/>
                    <a:gd name="T4" fmla="*/ 4 w 9"/>
                    <a:gd name="T5" fmla="*/ 1 h 1"/>
                    <a:gd name="T6" fmla="*/ 9 w 9"/>
                    <a:gd name="T7" fmla="*/ 0 h 1"/>
                    <a:gd name="T8" fmla="*/ 9 w 9"/>
                    <a:gd name="T9" fmla="*/ 0 h 1"/>
                  </a:gdLst>
                  <a:ahLst/>
                  <a:cxnLst>
                    <a:cxn ang="0">
                      <a:pos x="T0" y="T1"/>
                    </a:cxn>
                    <a:cxn ang="0">
                      <a:pos x="T2" y="T3"/>
                    </a:cxn>
                    <a:cxn ang="0">
                      <a:pos x="T4" y="T5"/>
                    </a:cxn>
                    <a:cxn ang="0">
                      <a:pos x="T6" y="T7"/>
                    </a:cxn>
                    <a:cxn ang="0">
                      <a:pos x="T8" y="T9"/>
                    </a:cxn>
                  </a:cxnLst>
                  <a:rect l="0" t="0" r="r" b="b"/>
                  <a:pathLst>
                    <a:path w="9" h="1">
                      <a:moveTo>
                        <a:pt x="9" y="0"/>
                      </a:moveTo>
                      <a:cubicBezTo>
                        <a:pt x="6" y="0"/>
                        <a:pt x="3" y="0"/>
                        <a:pt x="0" y="0"/>
                      </a:cubicBezTo>
                      <a:cubicBezTo>
                        <a:pt x="1" y="1"/>
                        <a:pt x="2" y="1"/>
                        <a:pt x="4" y="1"/>
                      </a:cubicBezTo>
                      <a:cubicBezTo>
                        <a:pt x="6" y="1"/>
                        <a:pt x="8" y="1"/>
                        <a:pt x="9"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90" name="Freeform 68">
                  <a:extLst>
                    <a:ext uri="{FF2B5EF4-FFF2-40B4-BE49-F238E27FC236}">
                      <a16:creationId xmlns:a16="http://schemas.microsoft.com/office/drawing/2014/main" id="{ACCC751D-435C-4EFB-A321-5764259459E1}"/>
                    </a:ext>
                  </a:extLst>
                </p:cNvPr>
                <p:cNvSpPr>
                  <a:spLocks/>
                </p:cNvSpPr>
                <p:nvPr/>
              </p:nvSpPr>
              <p:spPr bwMode="auto">
                <a:xfrm>
                  <a:off x="5361844" y="5652968"/>
                  <a:ext cx="11055" cy="11055"/>
                </a:xfrm>
                <a:custGeom>
                  <a:avLst/>
                  <a:gdLst>
                    <a:gd name="T0" fmla="*/ 4 w 4"/>
                    <a:gd name="T1" fmla="*/ 0 h 3"/>
                    <a:gd name="T2" fmla="*/ 0 w 4"/>
                    <a:gd name="T3" fmla="*/ 3 h 3"/>
                    <a:gd name="T4" fmla="*/ 4 w 4"/>
                    <a:gd name="T5" fmla="*/ 0 h 3"/>
                  </a:gdLst>
                  <a:ahLst/>
                  <a:cxnLst>
                    <a:cxn ang="0">
                      <a:pos x="T0" y="T1"/>
                    </a:cxn>
                    <a:cxn ang="0">
                      <a:pos x="T2" y="T3"/>
                    </a:cxn>
                    <a:cxn ang="0">
                      <a:pos x="T4" y="T5"/>
                    </a:cxn>
                  </a:cxnLst>
                  <a:rect l="0" t="0" r="r" b="b"/>
                  <a:pathLst>
                    <a:path w="4" h="3">
                      <a:moveTo>
                        <a:pt x="4" y="0"/>
                      </a:moveTo>
                      <a:cubicBezTo>
                        <a:pt x="2" y="1"/>
                        <a:pt x="1" y="2"/>
                        <a:pt x="0" y="3"/>
                      </a:cubicBezTo>
                      <a:cubicBezTo>
                        <a:pt x="1" y="2"/>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91" name="Freeform 69">
                  <a:extLst>
                    <a:ext uri="{FF2B5EF4-FFF2-40B4-BE49-F238E27FC236}">
                      <a16:creationId xmlns:a16="http://schemas.microsoft.com/office/drawing/2014/main" id="{323E6CBB-F8C4-407E-BF37-E85C2D47A838}"/>
                    </a:ext>
                  </a:extLst>
                </p:cNvPr>
                <p:cNvSpPr>
                  <a:spLocks/>
                </p:cNvSpPr>
                <p:nvPr/>
              </p:nvSpPr>
              <p:spPr bwMode="auto">
                <a:xfrm>
                  <a:off x="5988313" y="3010740"/>
                  <a:ext cx="92128" cy="132664"/>
                </a:xfrm>
                <a:custGeom>
                  <a:avLst/>
                  <a:gdLst>
                    <a:gd name="T0" fmla="*/ 25 w 29"/>
                    <a:gd name="T1" fmla="*/ 0 h 41"/>
                    <a:gd name="T2" fmla="*/ 20 w 29"/>
                    <a:gd name="T3" fmla="*/ 2 h 41"/>
                    <a:gd name="T4" fmla="*/ 19 w 29"/>
                    <a:gd name="T5" fmla="*/ 0 h 41"/>
                    <a:gd name="T6" fmla="*/ 15 w 29"/>
                    <a:gd name="T7" fmla="*/ 2 h 41"/>
                    <a:gd name="T8" fmla="*/ 11 w 29"/>
                    <a:gd name="T9" fmla="*/ 4 h 41"/>
                    <a:gd name="T10" fmla="*/ 7 w 29"/>
                    <a:gd name="T11" fmla="*/ 10 h 41"/>
                    <a:gd name="T12" fmla="*/ 3 w 29"/>
                    <a:gd name="T13" fmla="*/ 14 h 41"/>
                    <a:gd name="T14" fmla="*/ 1 w 29"/>
                    <a:gd name="T15" fmla="*/ 27 h 41"/>
                    <a:gd name="T16" fmla="*/ 2 w 29"/>
                    <a:gd name="T17" fmla="*/ 41 h 41"/>
                    <a:gd name="T18" fmla="*/ 8 w 29"/>
                    <a:gd name="T19" fmla="*/ 37 h 41"/>
                    <a:gd name="T20" fmla="*/ 12 w 29"/>
                    <a:gd name="T21" fmla="*/ 30 h 41"/>
                    <a:gd name="T22" fmla="*/ 18 w 29"/>
                    <a:gd name="T23" fmla="*/ 28 h 41"/>
                    <a:gd name="T24" fmla="*/ 19 w 29"/>
                    <a:gd name="T25" fmla="*/ 24 h 41"/>
                    <a:gd name="T26" fmla="*/ 23 w 29"/>
                    <a:gd name="T27" fmla="*/ 22 h 41"/>
                    <a:gd name="T28" fmla="*/ 23 w 29"/>
                    <a:gd name="T29" fmla="*/ 22 h 41"/>
                    <a:gd name="T30" fmla="*/ 20 w 29"/>
                    <a:gd name="T31" fmla="*/ 17 h 41"/>
                    <a:gd name="T32" fmla="*/ 21 w 29"/>
                    <a:gd name="T33" fmla="*/ 14 h 41"/>
                    <a:gd name="T34" fmla="*/ 20 w 29"/>
                    <a:gd name="T35" fmla="*/ 11 h 41"/>
                    <a:gd name="T36" fmla="*/ 21 w 29"/>
                    <a:gd name="T37" fmla="*/ 8 h 41"/>
                    <a:gd name="T38" fmla="*/ 22 w 29"/>
                    <a:gd name="T39" fmla="*/ 8 h 41"/>
                    <a:gd name="T40" fmla="*/ 22 w 29"/>
                    <a:gd name="T41" fmla="*/ 8 h 41"/>
                    <a:gd name="T42" fmla="*/ 23 w 29"/>
                    <a:gd name="T43" fmla="*/ 7 h 41"/>
                    <a:gd name="T44" fmla="*/ 24 w 29"/>
                    <a:gd name="T45" fmla="*/ 7 h 41"/>
                    <a:gd name="T46" fmla="*/ 24 w 29"/>
                    <a:gd name="T47" fmla="*/ 7 h 41"/>
                    <a:gd name="T48" fmla="*/ 25 w 29"/>
                    <a:gd name="T49" fmla="*/ 7 h 41"/>
                    <a:gd name="T50" fmla="*/ 25 w 29"/>
                    <a:gd name="T51" fmla="*/ 5 h 41"/>
                    <a:gd name="T52" fmla="*/ 26 w 29"/>
                    <a:gd name="T53" fmla="*/ 5 h 41"/>
                    <a:gd name="T54" fmla="*/ 27 w 29"/>
                    <a:gd name="T55" fmla="*/ 4 h 41"/>
                    <a:gd name="T56" fmla="*/ 28 w 29"/>
                    <a:gd name="T57" fmla="*/ 3 h 41"/>
                    <a:gd name="T58" fmla="*/ 29 w 29"/>
                    <a:gd name="T59" fmla="*/ 4 h 41"/>
                    <a:gd name="T60" fmla="*/ 25 w 29"/>
                    <a:gd name="T61"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25" y="0"/>
                      </a:moveTo>
                      <a:cubicBezTo>
                        <a:pt x="23" y="0"/>
                        <a:pt x="21" y="1"/>
                        <a:pt x="20" y="2"/>
                      </a:cubicBezTo>
                      <a:cubicBezTo>
                        <a:pt x="20" y="0"/>
                        <a:pt x="20" y="0"/>
                        <a:pt x="19" y="0"/>
                      </a:cubicBezTo>
                      <a:cubicBezTo>
                        <a:pt x="18" y="0"/>
                        <a:pt x="16" y="1"/>
                        <a:pt x="15" y="2"/>
                      </a:cubicBezTo>
                      <a:cubicBezTo>
                        <a:pt x="14" y="2"/>
                        <a:pt x="12" y="3"/>
                        <a:pt x="11" y="4"/>
                      </a:cubicBezTo>
                      <a:cubicBezTo>
                        <a:pt x="9" y="5"/>
                        <a:pt x="9" y="8"/>
                        <a:pt x="7" y="10"/>
                      </a:cubicBezTo>
                      <a:cubicBezTo>
                        <a:pt x="6" y="12"/>
                        <a:pt x="4" y="12"/>
                        <a:pt x="3" y="14"/>
                      </a:cubicBezTo>
                      <a:cubicBezTo>
                        <a:pt x="1" y="16"/>
                        <a:pt x="0" y="23"/>
                        <a:pt x="1" y="27"/>
                      </a:cubicBezTo>
                      <a:cubicBezTo>
                        <a:pt x="2" y="33"/>
                        <a:pt x="5" y="36"/>
                        <a:pt x="2" y="41"/>
                      </a:cubicBezTo>
                      <a:cubicBezTo>
                        <a:pt x="4" y="40"/>
                        <a:pt x="6" y="38"/>
                        <a:pt x="8" y="37"/>
                      </a:cubicBezTo>
                      <a:cubicBezTo>
                        <a:pt x="9" y="34"/>
                        <a:pt x="11" y="32"/>
                        <a:pt x="12" y="30"/>
                      </a:cubicBezTo>
                      <a:cubicBezTo>
                        <a:pt x="14" y="29"/>
                        <a:pt x="17" y="29"/>
                        <a:pt x="18" y="28"/>
                      </a:cubicBezTo>
                      <a:cubicBezTo>
                        <a:pt x="19" y="27"/>
                        <a:pt x="18" y="25"/>
                        <a:pt x="19" y="24"/>
                      </a:cubicBezTo>
                      <a:cubicBezTo>
                        <a:pt x="20" y="23"/>
                        <a:pt x="22" y="22"/>
                        <a:pt x="23" y="22"/>
                      </a:cubicBezTo>
                      <a:cubicBezTo>
                        <a:pt x="23" y="22"/>
                        <a:pt x="23" y="22"/>
                        <a:pt x="23" y="22"/>
                      </a:cubicBezTo>
                      <a:cubicBezTo>
                        <a:pt x="26" y="20"/>
                        <a:pt x="20" y="19"/>
                        <a:pt x="20" y="17"/>
                      </a:cubicBezTo>
                      <a:cubicBezTo>
                        <a:pt x="20" y="16"/>
                        <a:pt x="21" y="15"/>
                        <a:pt x="21" y="14"/>
                      </a:cubicBezTo>
                      <a:cubicBezTo>
                        <a:pt x="21" y="13"/>
                        <a:pt x="20" y="12"/>
                        <a:pt x="20" y="11"/>
                      </a:cubicBezTo>
                      <a:cubicBezTo>
                        <a:pt x="21" y="8"/>
                        <a:pt x="21" y="8"/>
                        <a:pt x="21" y="8"/>
                      </a:cubicBezTo>
                      <a:cubicBezTo>
                        <a:pt x="22" y="8"/>
                        <a:pt x="22" y="8"/>
                        <a:pt x="22" y="8"/>
                      </a:cubicBezTo>
                      <a:cubicBezTo>
                        <a:pt x="22" y="8"/>
                        <a:pt x="22" y="8"/>
                        <a:pt x="22" y="8"/>
                      </a:cubicBezTo>
                      <a:cubicBezTo>
                        <a:pt x="22" y="8"/>
                        <a:pt x="22" y="8"/>
                        <a:pt x="23" y="7"/>
                      </a:cubicBezTo>
                      <a:cubicBezTo>
                        <a:pt x="23" y="7"/>
                        <a:pt x="23" y="7"/>
                        <a:pt x="24" y="7"/>
                      </a:cubicBezTo>
                      <a:cubicBezTo>
                        <a:pt x="24" y="7"/>
                        <a:pt x="24" y="7"/>
                        <a:pt x="24" y="7"/>
                      </a:cubicBezTo>
                      <a:cubicBezTo>
                        <a:pt x="24" y="7"/>
                        <a:pt x="25" y="7"/>
                        <a:pt x="25" y="7"/>
                      </a:cubicBezTo>
                      <a:cubicBezTo>
                        <a:pt x="25" y="7"/>
                        <a:pt x="26" y="7"/>
                        <a:pt x="25" y="5"/>
                      </a:cubicBezTo>
                      <a:cubicBezTo>
                        <a:pt x="25" y="5"/>
                        <a:pt x="26" y="5"/>
                        <a:pt x="26" y="5"/>
                      </a:cubicBezTo>
                      <a:cubicBezTo>
                        <a:pt x="26" y="5"/>
                        <a:pt x="27" y="5"/>
                        <a:pt x="27" y="4"/>
                      </a:cubicBezTo>
                      <a:cubicBezTo>
                        <a:pt x="27" y="4"/>
                        <a:pt x="27" y="3"/>
                        <a:pt x="28" y="3"/>
                      </a:cubicBezTo>
                      <a:cubicBezTo>
                        <a:pt x="28" y="3"/>
                        <a:pt x="29" y="3"/>
                        <a:pt x="29" y="4"/>
                      </a:cubicBezTo>
                      <a:cubicBezTo>
                        <a:pt x="29" y="1"/>
                        <a:pt x="27" y="0"/>
                        <a:pt x="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92" name="Freeform 70">
                  <a:extLst>
                    <a:ext uri="{FF2B5EF4-FFF2-40B4-BE49-F238E27FC236}">
                      <a16:creationId xmlns:a16="http://schemas.microsoft.com/office/drawing/2014/main" id="{356ED53A-BD35-4B10-B808-360E752C0976}"/>
                    </a:ext>
                  </a:extLst>
                </p:cNvPr>
                <p:cNvSpPr>
                  <a:spLocks/>
                </p:cNvSpPr>
                <p:nvPr/>
              </p:nvSpPr>
              <p:spPr bwMode="auto">
                <a:xfrm>
                  <a:off x="5387639" y="2966519"/>
                  <a:ext cx="44221" cy="18426"/>
                </a:xfrm>
                <a:custGeom>
                  <a:avLst/>
                  <a:gdLst>
                    <a:gd name="T0" fmla="*/ 10 w 14"/>
                    <a:gd name="T1" fmla="*/ 0 h 5"/>
                    <a:gd name="T2" fmla="*/ 3 w 14"/>
                    <a:gd name="T3" fmla="*/ 2 h 5"/>
                    <a:gd name="T4" fmla="*/ 0 w 14"/>
                    <a:gd name="T5" fmla="*/ 4 h 5"/>
                    <a:gd name="T6" fmla="*/ 8 w 14"/>
                    <a:gd name="T7" fmla="*/ 5 h 5"/>
                    <a:gd name="T8" fmla="*/ 12 w 14"/>
                    <a:gd name="T9" fmla="*/ 1 h 5"/>
                    <a:gd name="T10" fmla="*/ 10 w 14"/>
                    <a:gd name="T11" fmla="*/ 0 h 5"/>
                  </a:gdLst>
                  <a:ahLst/>
                  <a:cxnLst>
                    <a:cxn ang="0">
                      <a:pos x="T0" y="T1"/>
                    </a:cxn>
                    <a:cxn ang="0">
                      <a:pos x="T2" y="T3"/>
                    </a:cxn>
                    <a:cxn ang="0">
                      <a:pos x="T4" y="T5"/>
                    </a:cxn>
                    <a:cxn ang="0">
                      <a:pos x="T6" y="T7"/>
                    </a:cxn>
                    <a:cxn ang="0">
                      <a:pos x="T8" y="T9"/>
                    </a:cxn>
                    <a:cxn ang="0">
                      <a:pos x="T10" y="T11"/>
                    </a:cxn>
                  </a:cxnLst>
                  <a:rect l="0" t="0" r="r" b="b"/>
                  <a:pathLst>
                    <a:path w="14" h="5">
                      <a:moveTo>
                        <a:pt x="10" y="0"/>
                      </a:moveTo>
                      <a:cubicBezTo>
                        <a:pt x="8" y="0"/>
                        <a:pt x="5" y="1"/>
                        <a:pt x="3" y="2"/>
                      </a:cubicBezTo>
                      <a:cubicBezTo>
                        <a:pt x="2" y="3"/>
                        <a:pt x="1" y="4"/>
                        <a:pt x="0" y="4"/>
                      </a:cubicBezTo>
                      <a:cubicBezTo>
                        <a:pt x="2" y="4"/>
                        <a:pt x="5" y="5"/>
                        <a:pt x="8" y="5"/>
                      </a:cubicBezTo>
                      <a:cubicBezTo>
                        <a:pt x="11" y="5"/>
                        <a:pt x="14" y="4"/>
                        <a:pt x="12" y="1"/>
                      </a:cubicBezTo>
                      <a:cubicBezTo>
                        <a:pt x="12" y="0"/>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93" name="Freeform 71">
                  <a:extLst>
                    <a:ext uri="{FF2B5EF4-FFF2-40B4-BE49-F238E27FC236}">
                      <a16:creationId xmlns:a16="http://schemas.microsoft.com/office/drawing/2014/main" id="{94848574-4E48-4A5F-8761-9D7B8DA8F157}"/>
                    </a:ext>
                  </a:extLst>
                </p:cNvPr>
                <p:cNvSpPr>
                  <a:spLocks/>
                </p:cNvSpPr>
                <p:nvPr/>
              </p:nvSpPr>
              <p:spPr bwMode="auto">
                <a:xfrm>
                  <a:off x="5398695" y="2992315"/>
                  <a:ext cx="22111" cy="14740"/>
                </a:xfrm>
                <a:custGeom>
                  <a:avLst/>
                  <a:gdLst>
                    <a:gd name="T0" fmla="*/ 5 w 7"/>
                    <a:gd name="T1" fmla="*/ 0 h 4"/>
                    <a:gd name="T2" fmla="*/ 2 w 7"/>
                    <a:gd name="T3" fmla="*/ 0 h 4"/>
                    <a:gd name="T4" fmla="*/ 2 w 7"/>
                    <a:gd name="T5" fmla="*/ 0 h 4"/>
                    <a:gd name="T6" fmla="*/ 0 w 7"/>
                    <a:gd name="T7" fmla="*/ 2 h 4"/>
                    <a:gd name="T8" fmla="*/ 2 w 7"/>
                    <a:gd name="T9" fmla="*/ 4 h 4"/>
                    <a:gd name="T10" fmla="*/ 4 w 7"/>
                    <a:gd name="T11" fmla="*/ 3 h 4"/>
                    <a:gd name="T12" fmla="*/ 5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5" y="0"/>
                      </a:moveTo>
                      <a:cubicBezTo>
                        <a:pt x="4" y="0"/>
                        <a:pt x="3" y="0"/>
                        <a:pt x="2" y="0"/>
                      </a:cubicBezTo>
                      <a:cubicBezTo>
                        <a:pt x="2" y="0"/>
                        <a:pt x="2" y="0"/>
                        <a:pt x="2" y="0"/>
                      </a:cubicBezTo>
                      <a:cubicBezTo>
                        <a:pt x="0" y="0"/>
                        <a:pt x="0" y="1"/>
                        <a:pt x="0" y="2"/>
                      </a:cubicBezTo>
                      <a:cubicBezTo>
                        <a:pt x="0" y="3"/>
                        <a:pt x="1" y="4"/>
                        <a:pt x="2" y="4"/>
                      </a:cubicBezTo>
                      <a:cubicBezTo>
                        <a:pt x="2" y="4"/>
                        <a:pt x="3" y="4"/>
                        <a:pt x="4" y="3"/>
                      </a:cubicBezTo>
                      <a:cubicBezTo>
                        <a:pt x="7" y="1"/>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94" name="Freeform 72">
                  <a:extLst>
                    <a:ext uri="{FF2B5EF4-FFF2-40B4-BE49-F238E27FC236}">
                      <a16:creationId xmlns:a16="http://schemas.microsoft.com/office/drawing/2014/main" id="{781C171D-CA00-4AFF-9AAB-B588A37BCECA}"/>
                    </a:ext>
                  </a:extLst>
                </p:cNvPr>
                <p:cNvSpPr>
                  <a:spLocks/>
                </p:cNvSpPr>
                <p:nvPr/>
              </p:nvSpPr>
              <p:spPr bwMode="auto">
                <a:xfrm>
                  <a:off x="5837223" y="3084442"/>
                  <a:ext cx="66332" cy="136349"/>
                </a:xfrm>
                <a:custGeom>
                  <a:avLst/>
                  <a:gdLst>
                    <a:gd name="T0" fmla="*/ 19 w 21"/>
                    <a:gd name="T1" fmla="*/ 0 h 43"/>
                    <a:gd name="T2" fmla="*/ 16 w 21"/>
                    <a:gd name="T3" fmla="*/ 4 h 43"/>
                    <a:gd name="T4" fmla="*/ 11 w 21"/>
                    <a:gd name="T5" fmla="*/ 14 h 43"/>
                    <a:gd name="T6" fmla="*/ 8 w 21"/>
                    <a:gd name="T7" fmla="*/ 19 h 43"/>
                    <a:gd name="T8" fmla="*/ 3 w 21"/>
                    <a:gd name="T9" fmla="*/ 25 h 43"/>
                    <a:gd name="T10" fmla="*/ 0 w 21"/>
                    <a:gd name="T11" fmla="*/ 37 h 43"/>
                    <a:gd name="T12" fmla="*/ 2 w 21"/>
                    <a:gd name="T13" fmla="*/ 43 h 43"/>
                    <a:gd name="T14" fmla="*/ 4 w 21"/>
                    <a:gd name="T15" fmla="*/ 41 h 43"/>
                    <a:gd name="T16" fmla="*/ 6 w 21"/>
                    <a:gd name="T17" fmla="*/ 36 h 43"/>
                    <a:gd name="T18" fmla="*/ 13 w 21"/>
                    <a:gd name="T19" fmla="*/ 19 h 43"/>
                    <a:gd name="T20" fmla="*/ 19 w 21"/>
                    <a:gd name="T21" fmla="*/ 0 h 43"/>
                    <a:gd name="T22" fmla="*/ 19 w 2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3">
                      <a:moveTo>
                        <a:pt x="19" y="0"/>
                      </a:moveTo>
                      <a:cubicBezTo>
                        <a:pt x="17" y="0"/>
                        <a:pt x="16" y="3"/>
                        <a:pt x="16" y="4"/>
                      </a:cubicBezTo>
                      <a:cubicBezTo>
                        <a:pt x="14" y="7"/>
                        <a:pt x="13" y="11"/>
                        <a:pt x="11" y="14"/>
                      </a:cubicBezTo>
                      <a:cubicBezTo>
                        <a:pt x="10" y="16"/>
                        <a:pt x="9" y="18"/>
                        <a:pt x="8" y="19"/>
                      </a:cubicBezTo>
                      <a:cubicBezTo>
                        <a:pt x="6" y="21"/>
                        <a:pt x="4" y="22"/>
                        <a:pt x="3" y="25"/>
                      </a:cubicBezTo>
                      <a:cubicBezTo>
                        <a:pt x="1" y="29"/>
                        <a:pt x="0" y="32"/>
                        <a:pt x="0" y="37"/>
                      </a:cubicBezTo>
                      <a:cubicBezTo>
                        <a:pt x="0" y="40"/>
                        <a:pt x="1" y="43"/>
                        <a:pt x="2" y="43"/>
                      </a:cubicBezTo>
                      <a:cubicBezTo>
                        <a:pt x="3" y="43"/>
                        <a:pt x="3" y="43"/>
                        <a:pt x="4" y="41"/>
                      </a:cubicBezTo>
                      <a:cubicBezTo>
                        <a:pt x="5" y="39"/>
                        <a:pt x="5" y="38"/>
                        <a:pt x="6" y="36"/>
                      </a:cubicBezTo>
                      <a:cubicBezTo>
                        <a:pt x="8" y="30"/>
                        <a:pt x="11" y="25"/>
                        <a:pt x="13" y="19"/>
                      </a:cubicBezTo>
                      <a:cubicBezTo>
                        <a:pt x="14" y="16"/>
                        <a:pt x="21" y="1"/>
                        <a:pt x="19" y="0"/>
                      </a:cubicBezTo>
                      <a:cubicBezTo>
                        <a:pt x="19" y="0"/>
                        <a:pt x="19"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95" name="Freeform 75">
                  <a:extLst>
                    <a:ext uri="{FF2B5EF4-FFF2-40B4-BE49-F238E27FC236}">
                      <a16:creationId xmlns:a16="http://schemas.microsoft.com/office/drawing/2014/main" id="{B02F4624-DECF-4CAA-AAA0-9B54FCB44719}"/>
                    </a:ext>
                  </a:extLst>
                </p:cNvPr>
                <p:cNvSpPr>
                  <a:spLocks/>
                </p:cNvSpPr>
                <p:nvPr/>
              </p:nvSpPr>
              <p:spPr bwMode="auto">
                <a:xfrm>
                  <a:off x="6607412" y="117924"/>
                  <a:ext cx="36851" cy="29481"/>
                </a:xfrm>
                <a:custGeom>
                  <a:avLst/>
                  <a:gdLst>
                    <a:gd name="T0" fmla="*/ 11 w 11"/>
                    <a:gd name="T1" fmla="*/ 0 h 10"/>
                    <a:gd name="T2" fmla="*/ 0 w 11"/>
                    <a:gd name="T3" fmla="*/ 10 h 10"/>
                    <a:gd name="T4" fmla="*/ 11 w 11"/>
                    <a:gd name="T5" fmla="*/ 0 h 10"/>
                  </a:gdLst>
                  <a:ahLst/>
                  <a:cxnLst>
                    <a:cxn ang="0">
                      <a:pos x="T0" y="T1"/>
                    </a:cxn>
                    <a:cxn ang="0">
                      <a:pos x="T2" y="T3"/>
                    </a:cxn>
                    <a:cxn ang="0">
                      <a:pos x="T4" y="T5"/>
                    </a:cxn>
                  </a:cxnLst>
                  <a:rect l="0" t="0" r="r" b="b"/>
                  <a:pathLst>
                    <a:path w="11" h="10">
                      <a:moveTo>
                        <a:pt x="11" y="0"/>
                      </a:moveTo>
                      <a:cubicBezTo>
                        <a:pt x="7" y="2"/>
                        <a:pt x="3" y="6"/>
                        <a:pt x="0" y="10"/>
                      </a:cubicBezTo>
                      <a:cubicBezTo>
                        <a:pt x="4" y="7"/>
                        <a:pt x="8" y="3"/>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96" name="Freeform 76">
                  <a:extLst>
                    <a:ext uri="{FF2B5EF4-FFF2-40B4-BE49-F238E27FC236}">
                      <a16:creationId xmlns:a16="http://schemas.microsoft.com/office/drawing/2014/main" id="{5FB89EE6-7C2B-4868-9D90-909884982B64}"/>
                    </a:ext>
                  </a:extLst>
                </p:cNvPr>
                <p:cNvSpPr>
                  <a:spLocks/>
                </p:cNvSpPr>
                <p:nvPr/>
              </p:nvSpPr>
              <p:spPr bwMode="auto">
                <a:xfrm>
                  <a:off x="4702208" y="5100201"/>
                  <a:ext cx="44221" cy="29481"/>
                </a:xfrm>
                <a:custGeom>
                  <a:avLst/>
                  <a:gdLst>
                    <a:gd name="T0" fmla="*/ 7 w 14"/>
                    <a:gd name="T1" fmla="*/ 0 h 9"/>
                    <a:gd name="T2" fmla="*/ 0 w 14"/>
                    <a:gd name="T3" fmla="*/ 2 h 9"/>
                    <a:gd name="T4" fmla="*/ 13 w 14"/>
                    <a:gd name="T5" fmla="*/ 9 h 9"/>
                    <a:gd name="T6" fmla="*/ 9 w 14"/>
                    <a:gd name="T7" fmla="*/ 0 h 9"/>
                    <a:gd name="T8" fmla="*/ 7 w 14"/>
                    <a:gd name="T9" fmla="*/ 0 h 9"/>
                  </a:gdLst>
                  <a:ahLst/>
                  <a:cxnLst>
                    <a:cxn ang="0">
                      <a:pos x="T0" y="T1"/>
                    </a:cxn>
                    <a:cxn ang="0">
                      <a:pos x="T2" y="T3"/>
                    </a:cxn>
                    <a:cxn ang="0">
                      <a:pos x="T4" y="T5"/>
                    </a:cxn>
                    <a:cxn ang="0">
                      <a:pos x="T6" y="T7"/>
                    </a:cxn>
                    <a:cxn ang="0">
                      <a:pos x="T8" y="T9"/>
                    </a:cxn>
                  </a:cxnLst>
                  <a:rect l="0" t="0" r="r" b="b"/>
                  <a:pathLst>
                    <a:path w="14" h="9">
                      <a:moveTo>
                        <a:pt x="7" y="0"/>
                      </a:moveTo>
                      <a:cubicBezTo>
                        <a:pt x="4" y="0"/>
                        <a:pt x="1" y="1"/>
                        <a:pt x="0" y="2"/>
                      </a:cubicBezTo>
                      <a:cubicBezTo>
                        <a:pt x="3" y="5"/>
                        <a:pt x="9" y="7"/>
                        <a:pt x="13" y="9"/>
                      </a:cubicBezTo>
                      <a:cubicBezTo>
                        <a:pt x="14" y="5"/>
                        <a:pt x="12" y="2"/>
                        <a:pt x="9" y="0"/>
                      </a:cubicBezTo>
                      <a:cubicBezTo>
                        <a:pt x="9"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97" name="Freeform 77">
                  <a:extLst>
                    <a:ext uri="{FF2B5EF4-FFF2-40B4-BE49-F238E27FC236}">
                      <a16:creationId xmlns:a16="http://schemas.microsoft.com/office/drawing/2014/main" id="{A6AEE5A2-10B1-4DBF-90E0-B1FA15E9418E}"/>
                    </a:ext>
                  </a:extLst>
                </p:cNvPr>
                <p:cNvSpPr>
                  <a:spLocks/>
                </p:cNvSpPr>
                <p:nvPr/>
              </p:nvSpPr>
              <p:spPr bwMode="auto">
                <a:xfrm>
                  <a:off x="4462675" y="5207069"/>
                  <a:ext cx="40536" cy="29481"/>
                </a:xfrm>
                <a:custGeom>
                  <a:avLst/>
                  <a:gdLst>
                    <a:gd name="T0" fmla="*/ 9 w 13"/>
                    <a:gd name="T1" fmla="*/ 0 h 9"/>
                    <a:gd name="T2" fmla="*/ 5 w 13"/>
                    <a:gd name="T3" fmla="*/ 1 h 9"/>
                    <a:gd name="T4" fmla="*/ 5 w 13"/>
                    <a:gd name="T5" fmla="*/ 9 h 9"/>
                    <a:gd name="T6" fmla="*/ 12 w 13"/>
                    <a:gd name="T7" fmla="*/ 1 h 9"/>
                    <a:gd name="T8" fmla="*/ 9 w 13"/>
                    <a:gd name="T9" fmla="*/ 0 h 9"/>
                  </a:gdLst>
                  <a:ahLst/>
                  <a:cxnLst>
                    <a:cxn ang="0">
                      <a:pos x="T0" y="T1"/>
                    </a:cxn>
                    <a:cxn ang="0">
                      <a:pos x="T2" y="T3"/>
                    </a:cxn>
                    <a:cxn ang="0">
                      <a:pos x="T4" y="T5"/>
                    </a:cxn>
                    <a:cxn ang="0">
                      <a:pos x="T6" y="T7"/>
                    </a:cxn>
                    <a:cxn ang="0">
                      <a:pos x="T8" y="T9"/>
                    </a:cxn>
                  </a:cxnLst>
                  <a:rect l="0" t="0" r="r" b="b"/>
                  <a:pathLst>
                    <a:path w="13" h="9">
                      <a:moveTo>
                        <a:pt x="9" y="0"/>
                      </a:moveTo>
                      <a:cubicBezTo>
                        <a:pt x="8" y="0"/>
                        <a:pt x="6" y="0"/>
                        <a:pt x="5" y="1"/>
                      </a:cubicBezTo>
                      <a:cubicBezTo>
                        <a:pt x="0" y="3"/>
                        <a:pt x="2" y="5"/>
                        <a:pt x="5" y="9"/>
                      </a:cubicBezTo>
                      <a:cubicBezTo>
                        <a:pt x="7" y="7"/>
                        <a:pt x="13" y="3"/>
                        <a:pt x="12" y="1"/>
                      </a:cubicBezTo>
                      <a:cubicBezTo>
                        <a:pt x="12" y="0"/>
                        <a:pt x="11"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98" name="Freeform 78">
                  <a:extLst>
                    <a:ext uri="{FF2B5EF4-FFF2-40B4-BE49-F238E27FC236}">
                      <a16:creationId xmlns:a16="http://schemas.microsoft.com/office/drawing/2014/main" id="{66E4135F-72A9-4B5F-A636-1F322A0F5A30}"/>
                    </a:ext>
                  </a:extLst>
                </p:cNvPr>
                <p:cNvSpPr>
                  <a:spLocks/>
                </p:cNvSpPr>
                <p:nvPr/>
              </p:nvSpPr>
              <p:spPr bwMode="auto">
                <a:xfrm>
                  <a:off x="4569544" y="5114941"/>
                  <a:ext cx="103183" cy="70017"/>
                </a:xfrm>
                <a:custGeom>
                  <a:avLst/>
                  <a:gdLst>
                    <a:gd name="T0" fmla="*/ 23 w 33"/>
                    <a:gd name="T1" fmla="*/ 0 h 22"/>
                    <a:gd name="T2" fmla="*/ 0 w 33"/>
                    <a:gd name="T3" fmla="*/ 12 h 22"/>
                    <a:gd name="T4" fmla="*/ 5 w 33"/>
                    <a:gd name="T5" fmla="*/ 15 h 22"/>
                    <a:gd name="T6" fmla="*/ 6 w 33"/>
                    <a:gd name="T7" fmla="*/ 14 h 22"/>
                    <a:gd name="T8" fmla="*/ 8 w 33"/>
                    <a:gd name="T9" fmla="*/ 14 h 22"/>
                    <a:gd name="T10" fmla="*/ 10 w 33"/>
                    <a:gd name="T11" fmla="*/ 15 h 22"/>
                    <a:gd name="T12" fmla="*/ 12 w 33"/>
                    <a:gd name="T13" fmla="*/ 20 h 22"/>
                    <a:gd name="T14" fmla="*/ 19 w 33"/>
                    <a:gd name="T15" fmla="*/ 22 h 22"/>
                    <a:gd name="T16" fmla="*/ 20 w 33"/>
                    <a:gd name="T17" fmla="*/ 22 h 22"/>
                    <a:gd name="T18" fmla="*/ 27 w 33"/>
                    <a:gd name="T19" fmla="*/ 18 h 22"/>
                    <a:gd name="T20" fmla="*/ 32 w 33"/>
                    <a:gd name="T21" fmla="*/ 8 h 22"/>
                    <a:gd name="T22" fmla="*/ 24 w 33"/>
                    <a:gd name="T23" fmla="*/ 2 h 22"/>
                    <a:gd name="T24" fmla="*/ 22 w 33"/>
                    <a:gd name="T25" fmla="*/ 3 h 22"/>
                    <a:gd name="T26" fmla="*/ 25 w 33"/>
                    <a:gd name="T27" fmla="*/ 0 h 22"/>
                    <a:gd name="T28" fmla="*/ 23 w 33"/>
                    <a:gd name="T2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22">
                      <a:moveTo>
                        <a:pt x="23" y="0"/>
                      </a:moveTo>
                      <a:cubicBezTo>
                        <a:pt x="15" y="0"/>
                        <a:pt x="7" y="8"/>
                        <a:pt x="0" y="12"/>
                      </a:cubicBezTo>
                      <a:cubicBezTo>
                        <a:pt x="2" y="13"/>
                        <a:pt x="3" y="15"/>
                        <a:pt x="5" y="15"/>
                      </a:cubicBezTo>
                      <a:cubicBezTo>
                        <a:pt x="5" y="15"/>
                        <a:pt x="6" y="14"/>
                        <a:pt x="6" y="14"/>
                      </a:cubicBezTo>
                      <a:cubicBezTo>
                        <a:pt x="7" y="14"/>
                        <a:pt x="8" y="14"/>
                        <a:pt x="8" y="14"/>
                      </a:cubicBezTo>
                      <a:cubicBezTo>
                        <a:pt x="9" y="14"/>
                        <a:pt x="9" y="14"/>
                        <a:pt x="10" y="15"/>
                      </a:cubicBezTo>
                      <a:cubicBezTo>
                        <a:pt x="11" y="16"/>
                        <a:pt x="11" y="18"/>
                        <a:pt x="12" y="20"/>
                      </a:cubicBezTo>
                      <a:cubicBezTo>
                        <a:pt x="13" y="21"/>
                        <a:pt x="18" y="22"/>
                        <a:pt x="19" y="22"/>
                      </a:cubicBezTo>
                      <a:cubicBezTo>
                        <a:pt x="19" y="22"/>
                        <a:pt x="19" y="22"/>
                        <a:pt x="20" y="22"/>
                      </a:cubicBezTo>
                      <a:cubicBezTo>
                        <a:pt x="22" y="22"/>
                        <a:pt x="24" y="20"/>
                        <a:pt x="27" y="18"/>
                      </a:cubicBezTo>
                      <a:cubicBezTo>
                        <a:pt x="27" y="15"/>
                        <a:pt x="33" y="10"/>
                        <a:pt x="32" y="8"/>
                      </a:cubicBezTo>
                      <a:cubicBezTo>
                        <a:pt x="31" y="5"/>
                        <a:pt x="17" y="9"/>
                        <a:pt x="24" y="2"/>
                      </a:cubicBezTo>
                      <a:cubicBezTo>
                        <a:pt x="23" y="3"/>
                        <a:pt x="22" y="3"/>
                        <a:pt x="22" y="3"/>
                      </a:cubicBezTo>
                      <a:cubicBezTo>
                        <a:pt x="21" y="3"/>
                        <a:pt x="23" y="1"/>
                        <a:pt x="25" y="0"/>
                      </a:cubicBezTo>
                      <a:cubicBezTo>
                        <a:pt x="24" y="0"/>
                        <a:pt x="24"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99" name="Freeform 79">
                  <a:extLst>
                    <a:ext uri="{FF2B5EF4-FFF2-40B4-BE49-F238E27FC236}">
                      <a16:creationId xmlns:a16="http://schemas.microsoft.com/office/drawing/2014/main" id="{06C21ED8-B386-44BA-874C-9AD0C53417DA}"/>
                    </a:ext>
                  </a:extLst>
                </p:cNvPr>
                <p:cNvSpPr>
                  <a:spLocks/>
                </p:cNvSpPr>
                <p:nvPr/>
              </p:nvSpPr>
              <p:spPr bwMode="auto">
                <a:xfrm>
                  <a:off x="2878076" y="5826168"/>
                  <a:ext cx="7370" cy="7370"/>
                </a:xfrm>
                <a:custGeom>
                  <a:avLst/>
                  <a:gdLst>
                    <a:gd name="T0" fmla="*/ 2 w 2"/>
                    <a:gd name="T1" fmla="*/ 0 h 2"/>
                    <a:gd name="T2" fmla="*/ 0 w 2"/>
                    <a:gd name="T3" fmla="*/ 2 h 2"/>
                    <a:gd name="T4" fmla="*/ 2 w 2"/>
                    <a:gd name="T5" fmla="*/ 0 h 2"/>
                    <a:gd name="T6" fmla="*/ 2 w 2"/>
                    <a:gd name="T7" fmla="*/ 0 h 2"/>
                  </a:gdLst>
                  <a:ahLst/>
                  <a:cxnLst>
                    <a:cxn ang="0">
                      <a:pos x="T0" y="T1"/>
                    </a:cxn>
                    <a:cxn ang="0">
                      <a:pos x="T2" y="T3"/>
                    </a:cxn>
                    <a:cxn ang="0">
                      <a:pos x="T4" y="T5"/>
                    </a:cxn>
                    <a:cxn ang="0">
                      <a:pos x="T6" y="T7"/>
                    </a:cxn>
                  </a:cxnLst>
                  <a:rect l="0" t="0" r="r" b="b"/>
                  <a:pathLst>
                    <a:path w="2" h="2">
                      <a:moveTo>
                        <a:pt x="2" y="0"/>
                      </a:moveTo>
                      <a:cubicBezTo>
                        <a:pt x="1" y="0"/>
                        <a:pt x="1" y="1"/>
                        <a:pt x="0" y="2"/>
                      </a:cubicBezTo>
                      <a:cubicBezTo>
                        <a:pt x="1" y="1"/>
                        <a:pt x="1"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00" name="Freeform 80">
                  <a:extLst>
                    <a:ext uri="{FF2B5EF4-FFF2-40B4-BE49-F238E27FC236}">
                      <a16:creationId xmlns:a16="http://schemas.microsoft.com/office/drawing/2014/main" id="{01D5B9A5-A7B9-4D7E-9115-A3E8FC9A7AFD}"/>
                    </a:ext>
                  </a:extLst>
                </p:cNvPr>
                <p:cNvSpPr>
                  <a:spLocks/>
                </p:cNvSpPr>
                <p:nvPr/>
              </p:nvSpPr>
              <p:spPr bwMode="auto">
                <a:xfrm>
                  <a:off x="6194680" y="1230829"/>
                  <a:ext cx="44221" cy="25796"/>
                </a:xfrm>
                <a:custGeom>
                  <a:avLst/>
                  <a:gdLst>
                    <a:gd name="T0" fmla="*/ 10 w 13"/>
                    <a:gd name="T1" fmla="*/ 0 h 8"/>
                    <a:gd name="T2" fmla="*/ 0 w 13"/>
                    <a:gd name="T3" fmla="*/ 3 h 8"/>
                    <a:gd name="T4" fmla="*/ 3 w 13"/>
                    <a:gd name="T5" fmla="*/ 8 h 8"/>
                    <a:gd name="T6" fmla="*/ 5 w 13"/>
                    <a:gd name="T7" fmla="*/ 6 h 8"/>
                    <a:gd name="T8" fmla="*/ 7 w 13"/>
                    <a:gd name="T9" fmla="*/ 8 h 8"/>
                    <a:gd name="T10" fmla="*/ 9 w 13"/>
                    <a:gd name="T11" fmla="*/ 8 h 8"/>
                    <a:gd name="T12" fmla="*/ 10 w 13"/>
                    <a:gd name="T13" fmla="*/ 8 h 8"/>
                    <a:gd name="T14" fmla="*/ 12 w 13"/>
                    <a:gd name="T15" fmla="*/ 0 h 8"/>
                    <a:gd name="T16" fmla="*/ 10 w 13"/>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8">
                      <a:moveTo>
                        <a:pt x="10" y="0"/>
                      </a:moveTo>
                      <a:cubicBezTo>
                        <a:pt x="7" y="0"/>
                        <a:pt x="3" y="2"/>
                        <a:pt x="0" y="3"/>
                      </a:cubicBezTo>
                      <a:cubicBezTo>
                        <a:pt x="1" y="5"/>
                        <a:pt x="2" y="8"/>
                        <a:pt x="3" y="8"/>
                      </a:cubicBezTo>
                      <a:cubicBezTo>
                        <a:pt x="4" y="8"/>
                        <a:pt x="5" y="7"/>
                        <a:pt x="5" y="6"/>
                      </a:cubicBezTo>
                      <a:cubicBezTo>
                        <a:pt x="5" y="7"/>
                        <a:pt x="6" y="8"/>
                        <a:pt x="7" y="8"/>
                      </a:cubicBezTo>
                      <a:cubicBezTo>
                        <a:pt x="6" y="8"/>
                        <a:pt x="9" y="8"/>
                        <a:pt x="9" y="8"/>
                      </a:cubicBezTo>
                      <a:cubicBezTo>
                        <a:pt x="10" y="8"/>
                        <a:pt x="10" y="8"/>
                        <a:pt x="10" y="8"/>
                      </a:cubicBezTo>
                      <a:cubicBezTo>
                        <a:pt x="13" y="6"/>
                        <a:pt x="12" y="4"/>
                        <a:pt x="12" y="0"/>
                      </a:cubicBezTo>
                      <a:cubicBezTo>
                        <a:pt x="12" y="0"/>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01" name="Freeform 81">
                  <a:extLst>
                    <a:ext uri="{FF2B5EF4-FFF2-40B4-BE49-F238E27FC236}">
                      <a16:creationId xmlns:a16="http://schemas.microsoft.com/office/drawing/2014/main" id="{A35C9EEA-0DF0-40FA-866E-4C5E6EDC878B}"/>
                    </a:ext>
                  </a:extLst>
                </p:cNvPr>
                <p:cNvSpPr>
                  <a:spLocks/>
                </p:cNvSpPr>
                <p:nvPr/>
              </p:nvSpPr>
              <p:spPr bwMode="auto">
                <a:xfrm>
                  <a:off x="6419472" y="1160812"/>
                  <a:ext cx="73702" cy="55277"/>
                </a:xfrm>
                <a:custGeom>
                  <a:avLst/>
                  <a:gdLst>
                    <a:gd name="T0" fmla="*/ 18 w 24"/>
                    <a:gd name="T1" fmla="*/ 0 h 17"/>
                    <a:gd name="T2" fmla="*/ 19 w 24"/>
                    <a:gd name="T3" fmla="*/ 4 h 17"/>
                    <a:gd name="T4" fmla="*/ 0 w 24"/>
                    <a:gd name="T5" fmla="*/ 11 h 17"/>
                    <a:gd name="T6" fmla="*/ 9 w 24"/>
                    <a:gd name="T7" fmla="*/ 17 h 17"/>
                    <a:gd name="T8" fmla="*/ 12 w 24"/>
                    <a:gd name="T9" fmla="*/ 16 h 17"/>
                    <a:gd name="T10" fmla="*/ 22 w 24"/>
                    <a:gd name="T11" fmla="*/ 5 h 17"/>
                    <a:gd name="T12" fmla="*/ 19 w 24"/>
                    <a:gd name="T13" fmla="*/ 0 h 17"/>
                    <a:gd name="T14" fmla="*/ 18 w 24"/>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7">
                      <a:moveTo>
                        <a:pt x="18" y="0"/>
                      </a:moveTo>
                      <a:cubicBezTo>
                        <a:pt x="15" y="0"/>
                        <a:pt x="17" y="3"/>
                        <a:pt x="19" y="4"/>
                      </a:cubicBezTo>
                      <a:cubicBezTo>
                        <a:pt x="14" y="8"/>
                        <a:pt x="6" y="9"/>
                        <a:pt x="0" y="11"/>
                      </a:cubicBezTo>
                      <a:cubicBezTo>
                        <a:pt x="3" y="14"/>
                        <a:pt x="5" y="17"/>
                        <a:pt x="9" y="17"/>
                      </a:cubicBezTo>
                      <a:cubicBezTo>
                        <a:pt x="10" y="17"/>
                        <a:pt x="11" y="17"/>
                        <a:pt x="12" y="16"/>
                      </a:cubicBezTo>
                      <a:cubicBezTo>
                        <a:pt x="15" y="14"/>
                        <a:pt x="24" y="9"/>
                        <a:pt x="22" y="5"/>
                      </a:cubicBezTo>
                      <a:cubicBezTo>
                        <a:pt x="21" y="2"/>
                        <a:pt x="22" y="1"/>
                        <a:pt x="19" y="0"/>
                      </a:cubicBezTo>
                      <a:cubicBezTo>
                        <a:pt x="18" y="0"/>
                        <a:pt x="18"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02" name="Freeform 82">
                  <a:extLst>
                    <a:ext uri="{FF2B5EF4-FFF2-40B4-BE49-F238E27FC236}">
                      <a16:creationId xmlns:a16="http://schemas.microsoft.com/office/drawing/2014/main" id="{9C28D8CA-F964-4FA3-8ACA-E8C501DAF0D3}"/>
                    </a:ext>
                  </a:extLst>
                </p:cNvPr>
                <p:cNvSpPr>
                  <a:spLocks/>
                </p:cNvSpPr>
                <p:nvPr/>
              </p:nvSpPr>
              <p:spPr bwMode="auto">
                <a:xfrm>
                  <a:off x="4853298" y="2417437"/>
                  <a:ext cx="33166" cy="18426"/>
                </a:xfrm>
                <a:custGeom>
                  <a:avLst/>
                  <a:gdLst>
                    <a:gd name="T0" fmla="*/ 10 w 10"/>
                    <a:gd name="T1" fmla="*/ 0 h 5"/>
                    <a:gd name="T2" fmla="*/ 4 w 10"/>
                    <a:gd name="T3" fmla="*/ 5 h 5"/>
                    <a:gd name="T4" fmla="*/ 5 w 10"/>
                    <a:gd name="T5" fmla="*/ 5 h 5"/>
                    <a:gd name="T6" fmla="*/ 10 w 10"/>
                    <a:gd name="T7" fmla="*/ 0 h 5"/>
                  </a:gdLst>
                  <a:ahLst/>
                  <a:cxnLst>
                    <a:cxn ang="0">
                      <a:pos x="T0" y="T1"/>
                    </a:cxn>
                    <a:cxn ang="0">
                      <a:pos x="T2" y="T3"/>
                    </a:cxn>
                    <a:cxn ang="0">
                      <a:pos x="T4" y="T5"/>
                    </a:cxn>
                    <a:cxn ang="0">
                      <a:pos x="T6" y="T7"/>
                    </a:cxn>
                  </a:cxnLst>
                  <a:rect l="0" t="0" r="r" b="b"/>
                  <a:pathLst>
                    <a:path w="10" h="5">
                      <a:moveTo>
                        <a:pt x="10" y="0"/>
                      </a:moveTo>
                      <a:cubicBezTo>
                        <a:pt x="9" y="1"/>
                        <a:pt x="0" y="3"/>
                        <a:pt x="4" y="5"/>
                      </a:cubicBezTo>
                      <a:cubicBezTo>
                        <a:pt x="4" y="5"/>
                        <a:pt x="4" y="5"/>
                        <a:pt x="5" y="5"/>
                      </a:cubicBezTo>
                      <a:cubicBezTo>
                        <a:pt x="7" y="5"/>
                        <a:pt x="9" y="2"/>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03" name="Freeform 83">
                  <a:extLst>
                    <a:ext uri="{FF2B5EF4-FFF2-40B4-BE49-F238E27FC236}">
                      <a16:creationId xmlns:a16="http://schemas.microsoft.com/office/drawing/2014/main" id="{C93145CA-A671-4970-A8CF-216FBC1FD36B}"/>
                    </a:ext>
                  </a:extLst>
                </p:cNvPr>
                <p:cNvSpPr>
                  <a:spLocks/>
                </p:cNvSpPr>
                <p:nvPr/>
              </p:nvSpPr>
              <p:spPr bwMode="auto">
                <a:xfrm>
                  <a:off x="4820132" y="2815429"/>
                  <a:ext cx="22111" cy="33166"/>
                </a:xfrm>
                <a:custGeom>
                  <a:avLst/>
                  <a:gdLst>
                    <a:gd name="T0" fmla="*/ 3 w 7"/>
                    <a:gd name="T1" fmla="*/ 0 h 10"/>
                    <a:gd name="T2" fmla="*/ 1 w 7"/>
                    <a:gd name="T3" fmla="*/ 9 h 10"/>
                    <a:gd name="T4" fmla="*/ 3 w 7"/>
                    <a:gd name="T5" fmla="*/ 10 h 10"/>
                    <a:gd name="T6" fmla="*/ 5 w 7"/>
                    <a:gd name="T7" fmla="*/ 9 h 10"/>
                    <a:gd name="T8" fmla="*/ 3 w 7"/>
                    <a:gd name="T9" fmla="*/ 0 h 10"/>
                  </a:gdLst>
                  <a:ahLst/>
                  <a:cxnLst>
                    <a:cxn ang="0">
                      <a:pos x="T0" y="T1"/>
                    </a:cxn>
                    <a:cxn ang="0">
                      <a:pos x="T2" y="T3"/>
                    </a:cxn>
                    <a:cxn ang="0">
                      <a:pos x="T4" y="T5"/>
                    </a:cxn>
                    <a:cxn ang="0">
                      <a:pos x="T6" y="T7"/>
                    </a:cxn>
                    <a:cxn ang="0">
                      <a:pos x="T8" y="T9"/>
                    </a:cxn>
                  </a:cxnLst>
                  <a:rect l="0" t="0" r="r" b="b"/>
                  <a:pathLst>
                    <a:path w="7" h="10">
                      <a:moveTo>
                        <a:pt x="3" y="0"/>
                      </a:moveTo>
                      <a:cubicBezTo>
                        <a:pt x="2" y="2"/>
                        <a:pt x="0" y="7"/>
                        <a:pt x="1" y="9"/>
                      </a:cubicBezTo>
                      <a:cubicBezTo>
                        <a:pt x="2" y="10"/>
                        <a:pt x="2" y="10"/>
                        <a:pt x="3" y="10"/>
                      </a:cubicBezTo>
                      <a:cubicBezTo>
                        <a:pt x="4" y="10"/>
                        <a:pt x="4" y="10"/>
                        <a:pt x="5" y="9"/>
                      </a:cubicBezTo>
                      <a:cubicBezTo>
                        <a:pt x="7" y="6"/>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04" name="Freeform 84">
                  <a:extLst>
                    <a:ext uri="{FF2B5EF4-FFF2-40B4-BE49-F238E27FC236}">
                      <a16:creationId xmlns:a16="http://schemas.microsoft.com/office/drawing/2014/main" id="{ABD56090-65B4-4A0E-8A6B-4779B8C6CDAE}"/>
                    </a:ext>
                  </a:extLst>
                </p:cNvPr>
                <p:cNvSpPr>
                  <a:spLocks/>
                </p:cNvSpPr>
                <p:nvPr/>
              </p:nvSpPr>
              <p:spPr bwMode="auto">
                <a:xfrm>
                  <a:off x="6043590" y="1249255"/>
                  <a:ext cx="92128" cy="44221"/>
                </a:xfrm>
                <a:custGeom>
                  <a:avLst/>
                  <a:gdLst>
                    <a:gd name="T0" fmla="*/ 14 w 29"/>
                    <a:gd name="T1" fmla="*/ 0 h 14"/>
                    <a:gd name="T2" fmla="*/ 12 w 29"/>
                    <a:gd name="T3" fmla="*/ 2 h 14"/>
                    <a:gd name="T4" fmla="*/ 10 w 29"/>
                    <a:gd name="T5" fmla="*/ 2 h 14"/>
                    <a:gd name="T6" fmla="*/ 4 w 29"/>
                    <a:gd name="T7" fmla="*/ 5 h 14"/>
                    <a:gd name="T8" fmla="*/ 7 w 29"/>
                    <a:gd name="T9" fmla="*/ 11 h 14"/>
                    <a:gd name="T10" fmla="*/ 15 w 29"/>
                    <a:gd name="T11" fmla="*/ 14 h 14"/>
                    <a:gd name="T12" fmla="*/ 18 w 29"/>
                    <a:gd name="T13" fmla="*/ 13 h 14"/>
                    <a:gd name="T14" fmla="*/ 27 w 29"/>
                    <a:gd name="T15" fmla="*/ 6 h 14"/>
                    <a:gd name="T16" fmla="*/ 26 w 29"/>
                    <a:gd name="T17" fmla="*/ 2 h 14"/>
                    <a:gd name="T18" fmla="*/ 14 w 29"/>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14">
                      <a:moveTo>
                        <a:pt x="14" y="0"/>
                      </a:moveTo>
                      <a:cubicBezTo>
                        <a:pt x="12" y="0"/>
                        <a:pt x="10" y="0"/>
                        <a:pt x="12" y="2"/>
                      </a:cubicBezTo>
                      <a:cubicBezTo>
                        <a:pt x="11" y="2"/>
                        <a:pt x="11" y="2"/>
                        <a:pt x="10" y="2"/>
                      </a:cubicBezTo>
                      <a:cubicBezTo>
                        <a:pt x="8" y="2"/>
                        <a:pt x="6" y="4"/>
                        <a:pt x="4" y="5"/>
                      </a:cubicBezTo>
                      <a:cubicBezTo>
                        <a:pt x="0" y="8"/>
                        <a:pt x="4" y="10"/>
                        <a:pt x="7" y="11"/>
                      </a:cubicBezTo>
                      <a:cubicBezTo>
                        <a:pt x="10" y="13"/>
                        <a:pt x="12" y="14"/>
                        <a:pt x="15" y="14"/>
                      </a:cubicBezTo>
                      <a:cubicBezTo>
                        <a:pt x="16" y="14"/>
                        <a:pt x="17" y="14"/>
                        <a:pt x="18" y="13"/>
                      </a:cubicBezTo>
                      <a:cubicBezTo>
                        <a:pt x="22" y="13"/>
                        <a:pt x="25" y="9"/>
                        <a:pt x="27" y="6"/>
                      </a:cubicBezTo>
                      <a:cubicBezTo>
                        <a:pt x="29" y="4"/>
                        <a:pt x="28" y="4"/>
                        <a:pt x="26" y="2"/>
                      </a:cubicBezTo>
                      <a:cubicBezTo>
                        <a:pt x="24" y="1"/>
                        <a:pt x="18"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05" name="Freeform 85">
                  <a:extLst>
                    <a:ext uri="{FF2B5EF4-FFF2-40B4-BE49-F238E27FC236}">
                      <a16:creationId xmlns:a16="http://schemas.microsoft.com/office/drawing/2014/main" id="{2C0D4386-CD95-410A-A624-6E4ECADFEC20}"/>
                    </a:ext>
                  </a:extLst>
                </p:cNvPr>
                <p:cNvSpPr>
                  <a:spLocks/>
                </p:cNvSpPr>
                <p:nvPr/>
              </p:nvSpPr>
              <p:spPr bwMode="auto">
                <a:xfrm>
                  <a:off x="5652968" y="1422455"/>
                  <a:ext cx="95813" cy="66332"/>
                </a:xfrm>
                <a:custGeom>
                  <a:avLst/>
                  <a:gdLst>
                    <a:gd name="T0" fmla="*/ 20 w 30"/>
                    <a:gd name="T1" fmla="*/ 0 h 21"/>
                    <a:gd name="T2" fmla="*/ 19 w 30"/>
                    <a:gd name="T3" fmla="*/ 2 h 21"/>
                    <a:gd name="T4" fmla="*/ 20 w 30"/>
                    <a:gd name="T5" fmla="*/ 5 h 21"/>
                    <a:gd name="T6" fmla="*/ 12 w 30"/>
                    <a:gd name="T7" fmla="*/ 12 h 21"/>
                    <a:gd name="T8" fmla="*/ 2 w 30"/>
                    <a:gd name="T9" fmla="*/ 19 h 21"/>
                    <a:gd name="T10" fmla="*/ 4 w 30"/>
                    <a:gd name="T11" fmla="*/ 20 h 21"/>
                    <a:gd name="T12" fmla="*/ 6 w 30"/>
                    <a:gd name="T13" fmla="*/ 20 h 21"/>
                    <a:gd name="T14" fmla="*/ 9 w 30"/>
                    <a:gd name="T15" fmla="*/ 17 h 21"/>
                    <a:gd name="T16" fmla="*/ 13 w 30"/>
                    <a:gd name="T17" fmla="*/ 16 h 21"/>
                    <a:gd name="T18" fmla="*/ 19 w 30"/>
                    <a:gd name="T19" fmla="*/ 17 h 21"/>
                    <a:gd name="T20" fmla="*/ 18 w 30"/>
                    <a:gd name="T21" fmla="*/ 21 h 21"/>
                    <a:gd name="T22" fmla="*/ 18 w 30"/>
                    <a:gd name="T23" fmla="*/ 21 h 21"/>
                    <a:gd name="T24" fmla="*/ 27 w 30"/>
                    <a:gd name="T25" fmla="*/ 18 h 21"/>
                    <a:gd name="T26" fmla="*/ 29 w 30"/>
                    <a:gd name="T27" fmla="*/ 13 h 21"/>
                    <a:gd name="T28" fmla="*/ 29 w 30"/>
                    <a:gd name="T29" fmla="*/ 9 h 21"/>
                    <a:gd name="T30" fmla="*/ 28 w 30"/>
                    <a:gd name="T31" fmla="*/ 8 h 21"/>
                    <a:gd name="T32" fmla="*/ 27 w 30"/>
                    <a:gd name="T33" fmla="*/ 9 h 21"/>
                    <a:gd name="T34" fmla="*/ 26 w 30"/>
                    <a:gd name="T35" fmla="*/ 9 h 21"/>
                    <a:gd name="T36" fmla="*/ 26 w 30"/>
                    <a:gd name="T37" fmla="*/ 9 h 21"/>
                    <a:gd name="T38" fmla="*/ 20 w 30"/>
                    <a:gd name="T3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 h="21">
                      <a:moveTo>
                        <a:pt x="20" y="0"/>
                      </a:moveTo>
                      <a:cubicBezTo>
                        <a:pt x="20" y="0"/>
                        <a:pt x="19" y="1"/>
                        <a:pt x="19" y="2"/>
                      </a:cubicBezTo>
                      <a:cubicBezTo>
                        <a:pt x="19" y="4"/>
                        <a:pt x="21" y="4"/>
                        <a:pt x="20" y="5"/>
                      </a:cubicBezTo>
                      <a:cubicBezTo>
                        <a:pt x="17" y="7"/>
                        <a:pt x="14" y="10"/>
                        <a:pt x="12" y="12"/>
                      </a:cubicBezTo>
                      <a:cubicBezTo>
                        <a:pt x="9" y="13"/>
                        <a:pt x="0" y="15"/>
                        <a:pt x="2" y="19"/>
                      </a:cubicBezTo>
                      <a:cubicBezTo>
                        <a:pt x="3" y="20"/>
                        <a:pt x="3" y="20"/>
                        <a:pt x="4" y="20"/>
                      </a:cubicBezTo>
                      <a:cubicBezTo>
                        <a:pt x="5" y="20"/>
                        <a:pt x="6" y="20"/>
                        <a:pt x="6" y="20"/>
                      </a:cubicBezTo>
                      <a:cubicBezTo>
                        <a:pt x="8" y="19"/>
                        <a:pt x="8" y="18"/>
                        <a:pt x="9" y="17"/>
                      </a:cubicBezTo>
                      <a:cubicBezTo>
                        <a:pt x="11" y="16"/>
                        <a:pt x="12" y="16"/>
                        <a:pt x="13" y="16"/>
                      </a:cubicBezTo>
                      <a:cubicBezTo>
                        <a:pt x="15" y="16"/>
                        <a:pt x="17" y="16"/>
                        <a:pt x="19" y="17"/>
                      </a:cubicBezTo>
                      <a:cubicBezTo>
                        <a:pt x="17" y="18"/>
                        <a:pt x="13" y="21"/>
                        <a:pt x="18" y="21"/>
                      </a:cubicBezTo>
                      <a:cubicBezTo>
                        <a:pt x="18" y="21"/>
                        <a:pt x="18" y="21"/>
                        <a:pt x="18" y="21"/>
                      </a:cubicBezTo>
                      <a:cubicBezTo>
                        <a:pt x="21" y="21"/>
                        <a:pt x="24" y="19"/>
                        <a:pt x="27" y="18"/>
                      </a:cubicBezTo>
                      <a:cubicBezTo>
                        <a:pt x="29" y="16"/>
                        <a:pt x="30" y="16"/>
                        <a:pt x="29" y="13"/>
                      </a:cubicBezTo>
                      <a:cubicBezTo>
                        <a:pt x="29" y="12"/>
                        <a:pt x="30" y="10"/>
                        <a:pt x="29" y="9"/>
                      </a:cubicBezTo>
                      <a:cubicBezTo>
                        <a:pt x="29" y="8"/>
                        <a:pt x="29" y="8"/>
                        <a:pt x="28" y="8"/>
                      </a:cubicBezTo>
                      <a:cubicBezTo>
                        <a:pt x="28" y="8"/>
                        <a:pt x="28" y="9"/>
                        <a:pt x="27" y="9"/>
                      </a:cubicBezTo>
                      <a:cubicBezTo>
                        <a:pt x="27" y="9"/>
                        <a:pt x="27" y="9"/>
                        <a:pt x="26" y="9"/>
                      </a:cubicBezTo>
                      <a:cubicBezTo>
                        <a:pt x="26" y="9"/>
                        <a:pt x="26" y="9"/>
                        <a:pt x="26" y="9"/>
                      </a:cubicBezTo>
                      <a:cubicBezTo>
                        <a:pt x="25" y="7"/>
                        <a:pt x="23"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06" name="Freeform 86">
                  <a:extLst>
                    <a:ext uri="{FF2B5EF4-FFF2-40B4-BE49-F238E27FC236}">
                      <a16:creationId xmlns:a16="http://schemas.microsoft.com/office/drawing/2014/main" id="{53226F50-2742-484B-B9E3-6A7B2F524098}"/>
                    </a:ext>
                  </a:extLst>
                </p:cNvPr>
                <p:cNvSpPr>
                  <a:spLocks/>
                </p:cNvSpPr>
                <p:nvPr/>
              </p:nvSpPr>
              <p:spPr bwMode="auto">
                <a:xfrm>
                  <a:off x="5074405" y="2295828"/>
                  <a:ext cx="22111" cy="3685"/>
                </a:xfrm>
                <a:custGeom>
                  <a:avLst/>
                  <a:gdLst>
                    <a:gd name="T0" fmla="*/ 2 w 7"/>
                    <a:gd name="T1" fmla="*/ 0 h 1"/>
                    <a:gd name="T2" fmla="*/ 0 w 7"/>
                    <a:gd name="T3" fmla="*/ 0 h 1"/>
                    <a:gd name="T4" fmla="*/ 4 w 7"/>
                    <a:gd name="T5" fmla="*/ 1 h 1"/>
                    <a:gd name="T6" fmla="*/ 4 w 7"/>
                    <a:gd name="T7" fmla="*/ 1 h 1"/>
                    <a:gd name="T8" fmla="*/ 7 w 7"/>
                    <a:gd name="T9" fmla="*/ 1 h 1"/>
                    <a:gd name="T10" fmla="*/ 2 w 7"/>
                    <a:gd name="T11" fmla="*/ 0 h 1"/>
                  </a:gdLst>
                  <a:ahLst/>
                  <a:cxnLst>
                    <a:cxn ang="0">
                      <a:pos x="T0" y="T1"/>
                    </a:cxn>
                    <a:cxn ang="0">
                      <a:pos x="T2" y="T3"/>
                    </a:cxn>
                    <a:cxn ang="0">
                      <a:pos x="T4" y="T5"/>
                    </a:cxn>
                    <a:cxn ang="0">
                      <a:pos x="T6" y="T7"/>
                    </a:cxn>
                    <a:cxn ang="0">
                      <a:pos x="T8" y="T9"/>
                    </a:cxn>
                    <a:cxn ang="0">
                      <a:pos x="T10" y="T11"/>
                    </a:cxn>
                  </a:cxnLst>
                  <a:rect l="0" t="0" r="r" b="b"/>
                  <a:pathLst>
                    <a:path w="7" h="1">
                      <a:moveTo>
                        <a:pt x="2" y="0"/>
                      </a:moveTo>
                      <a:cubicBezTo>
                        <a:pt x="1" y="0"/>
                        <a:pt x="1" y="0"/>
                        <a:pt x="0" y="0"/>
                      </a:cubicBezTo>
                      <a:cubicBezTo>
                        <a:pt x="1" y="0"/>
                        <a:pt x="3" y="1"/>
                        <a:pt x="4" y="1"/>
                      </a:cubicBezTo>
                      <a:cubicBezTo>
                        <a:pt x="4" y="1"/>
                        <a:pt x="4" y="1"/>
                        <a:pt x="4" y="1"/>
                      </a:cubicBezTo>
                      <a:cubicBezTo>
                        <a:pt x="5" y="1"/>
                        <a:pt x="6" y="1"/>
                        <a:pt x="7" y="1"/>
                      </a:cubicBezTo>
                      <a:cubicBezTo>
                        <a:pt x="5"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07" name="Freeform 87">
                  <a:extLst>
                    <a:ext uri="{FF2B5EF4-FFF2-40B4-BE49-F238E27FC236}">
                      <a16:creationId xmlns:a16="http://schemas.microsoft.com/office/drawing/2014/main" id="{BDEBFD6A-273B-45FC-835A-7DD8FDB209B3}"/>
                    </a:ext>
                  </a:extLst>
                </p:cNvPr>
                <p:cNvSpPr>
                  <a:spLocks/>
                </p:cNvSpPr>
                <p:nvPr/>
              </p:nvSpPr>
              <p:spPr bwMode="auto">
                <a:xfrm>
                  <a:off x="5756151" y="1381919"/>
                  <a:ext cx="62647" cy="62647"/>
                </a:xfrm>
                <a:custGeom>
                  <a:avLst/>
                  <a:gdLst>
                    <a:gd name="T0" fmla="*/ 20 w 20"/>
                    <a:gd name="T1" fmla="*/ 0 h 19"/>
                    <a:gd name="T2" fmla="*/ 0 w 20"/>
                    <a:gd name="T3" fmla="*/ 18 h 19"/>
                    <a:gd name="T4" fmla="*/ 0 w 20"/>
                    <a:gd name="T5" fmla="*/ 19 h 19"/>
                    <a:gd name="T6" fmla="*/ 2 w 20"/>
                    <a:gd name="T7" fmla="*/ 15 h 19"/>
                    <a:gd name="T8" fmla="*/ 3 w 20"/>
                    <a:gd name="T9" fmla="*/ 13 h 19"/>
                    <a:gd name="T10" fmla="*/ 4 w 20"/>
                    <a:gd name="T11" fmla="*/ 13 h 19"/>
                    <a:gd name="T12" fmla="*/ 5 w 20"/>
                    <a:gd name="T13" fmla="*/ 14 h 19"/>
                    <a:gd name="T14" fmla="*/ 5 w 20"/>
                    <a:gd name="T15" fmla="*/ 14 h 19"/>
                    <a:gd name="T16" fmla="*/ 13 w 20"/>
                    <a:gd name="T17" fmla="*/ 9 h 19"/>
                    <a:gd name="T18" fmla="*/ 17 w 20"/>
                    <a:gd name="T19" fmla="*/ 6 h 19"/>
                    <a:gd name="T20" fmla="*/ 20 w 20"/>
                    <a:gd name="T2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9">
                      <a:moveTo>
                        <a:pt x="20" y="0"/>
                      </a:moveTo>
                      <a:cubicBezTo>
                        <a:pt x="11" y="4"/>
                        <a:pt x="0" y="6"/>
                        <a:pt x="0" y="18"/>
                      </a:cubicBezTo>
                      <a:cubicBezTo>
                        <a:pt x="0" y="18"/>
                        <a:pt x="0" y="19"/>
                        <a:pt x="0" y="19"/>
                      </a:cubicBezTo>
                      <a:cubicBezTo>
                        <a:pt x="1" y="19"/>
                        <a:pt x="3" y="17"/>
                        <a:pt x="2" y="15"/>
                      </a:cubicBezTo>
                      <a:cubicBezTo>
                        <a:pt x="2" y="13"/>
                        <a:pt x="2" y="13"/>
                        <a:pt x="3" y="13"/>
                      </a:cubicBezTo>
                      <a:cubicBezTo>
                        <a:pt x="3" y="13"/>
                        <a:pt x="3" y="13"/>
                        <a:pt x="4" y="13"/>
                      </a:cubicBezTo>
                      <a:cubicBezTo>
                        <a:pt x="4" y="14"/>
                        <a:pt x="5" y="14"/>
                        <a:pt x="5" y="14"/>
                      </a:cubicBezTo>
                      <a:cubicBezTo>
                        <a:pt x="5" y="14"/>
                        <a:pt x="5" y="14"/>
                        <a:pt x="5" y="14"/>
                      </a:cubicBezTo>
                      <a:cubicBezTo>
                        <a:pt x="8" y="14"/>
                        <a:pt x="11" y="11"/>
                        <a:pt x="13" y="9"/>
                      </a:cubicBezTo>
                      <a:cubicBezTo>
                        <a:pt x="14" y="8"/>
                        <a:pt x="16" y="7"/>
                        <a:pt x="17" y="6"/>
                      </a:cubicBezTo>
                      <a:cubicBezTo>
                        <a:pt x="18" y="4"/>
                        <a:pt x="19" y="2"/>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08" name="Freeform 88">
                  <a:extLst>
                    <a:ext uri="{FF2B5EF4-FFF2-40B4-BE49-F238E27FC236}">
                      <a16:creationId xmlns:a16="http://schemas.microsoft.com/office/drawing/2014/main" id="{E0B88EDF-C01D-4DD8-B3DB-F73E605C39A1}"/>
                    </a:ext>
                  </a:extLst>
                </p:cNvPr>
                <p:cNvSpPr>
                  <a:spLocks/>
                </p:cNvSpPr>
                <p:nvPr/>
              </p:nvSpPr>
              <p:spPr bwMode="auto">
                <a:xfrm>
                  <a:off x="5715615" y="1429826"/>
                  <a:ext cx="140034" cy="103183"/>
                </a:xfrm>
                <a:custGeom>
                  <a:avLst/>
                  <a:gdLst>
                    <a:gd name="T0" fmla="*/ 24 w 44"/>
                    <a:gd name="T1" fmla="*/ 0 h 32"/>
                    <a:gd name="T2" fmla="*/ 18 w 44"/>
                    <a:gd name="T3" fmla="*/ 7 h 32"/>
                    <a:gd name="T4" fmla="*/ 15 w 44"/>
                    <a:gd name="T5" fmla="*/ 11 h 32"/>
                    <a:gd name="T6" fmla="*/ 19 w 44"/>
                    <a:gd name="T7" fmla="*/ 12 h 32"/>
                    <a:gd name="T8" fmla="*/ 13 w 44"/>
                    <a:gd name="T9" fmla="*/ 11 h 32"/>
                    <a:gd name="T10" fmla="*/ 12 w 44"/>
                    <a:gd name="T11" fmla="*/ 11 h 32"/>
                    <a:gd name="T12" fmla="*/ 13 w 44"/>
                    <a:gd name="T13" fmla="*/ 16 h 32"/>
                    <a:gd name="T14" fmla="*/ 8 w 44"/>
                    <a:gd name="T15" fmla="*/ 19 h 32"/>
                    <a:gd name="T16" fmla="*/ 8 w 44"/>
                    <a:gd name="T17" fmla="*/ 24 h 32"/>
                    <a:gd name="T18" fmla="*/ 0 w 44"/>
                    <a:gd name="T19" fmla="*/ 30 h 32"/>
                    <a:gd name="T20" fmla="*/ 3 w 44"/>
                    <a:gd name="T21" fmla="*/ 30 h 32"/>
                    <a:gd name="T22" fmla="*/ 15 w 44"/>
                    <a:gd name="T23" fmla="*/ 31 h 32"/>
                    <a:gd name="T24" fmla="*/ 16 w 44"/>
                    <a:gd name="T25" fmla="*/ 32 h 32"/>
                    <a:gd name="T26" fmla="*/ 18 w 44"/>
                    <a:gd name="T27" fmla="*/ 31 h 32"/>
                    <a:gd name="T28" fmla="*/ 23 w 44"/>
                    <a:gd name="T29" fmla="*/ 26 h 32"/>
                    <a:gd name="T30" fmla="*/ 30 w 44"/>
                    <a:gd name="T31" fmla="*/ 20 h 32"/>
                    <a:gd name="T32" fmla="*/ 41 w 44"/>
                    <a:gd name="T33" fmla="*/ 19 h 32"/>
                    <a:gd name="T34" fmla="*/ 44 w 44"/>
                    <a:gd name="T35" fmla="*/ 6 h 32"/>
                    <a:gd name="T36" fmla="*/ 43 w 44"/>
                    <a:gd name="T37" fmla="*/ 6 h 32"/>
                    <a:gd name="T38" fmla="*/ 40 w 44"/>
                    <a:gd name="T39" fmla="*/ 5 h 32"/>
                    <a:gd name="T40" fmla="*/ 36 w 44"/>
                    <a:gd name="T41" fmla="*/ 4 h 32"/>
                    <a:gd name="T42" fmla="*/ 33 w 44"/>
                    <a:gd name="T43" fmla="*/ 5 h 32"/>
                    <a:gd name="T44" fmla="*/ 32 w 44"/>
                    <a:gd name="T45" fmla="*/ 9 h 32"/>
                    <a:gd name="T46" fmla="*/ 29 w 44"/>
                    <a:gd name="T47" fmla="*/ 14 h 32"/>
                    <a:gd name="T48" fmla="*/ 19 w 44"/>
                    <a:gd name="T49" fmla="*/ 20 h 32"/>
                    <a:gd name="T50" fmla="*/ 22 w 44"/>
                    <a:gd name="T51" fmla="*/ 15 h 32"/>
                    <a:gd name="T52" fmla="*/ 25 w 44"/>
                    <a:gd name="T53" fmla="*/ 14 h 32"/>
                    <a:gd name="T54" fmla="*/ 21 w 44"/>
                    <a:gd name="T55" fmla="*/ 10 h 32"/>
                    <a:gd name="T56" fmla="*/ 24 w 44"/>
                    <a:gd name="T5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 h="32">
                      <a:moveTo>
                        <a:pt x="24" y="0"/>
                      </a:moveTo>
                      <a:cubicBezTo>
                        <a:pt x="17" y="0"/>
                        <a:pt x="17" y="0"/>
                        <a:pt x="18" y="7"/>
                      </a:cubicBezTo>
                      <a:cubicBezTo>
                        <a:pt x="15" y="7"/>
                        <a:pt x="11" y="7"/>
                        <a:pt x="15" y="11"/>
                      </a:cubicBezTo>
                      <a:cubicBezTo>
                        <a:pt x="15" y="11"/>
                        <a:pt x="17" y="11"/>
                        <a:pt x="19" y="12"/>
                      </a:cubicBezTo>
                      <a:cubicBezTo>
                        <a:pt x="18" y="12"/>
                        <a:pt x="14" y="11"/>
                        <a:pt x="13" y="11"/>
                      </a:cubicBezTo>
                      <a:cubicBezTo>
                        <a:pt x="12" y="11"/>
                        <a:pt x="12" y="11"/>
                        <a:pt x="12" y="11"/>
                      </a:cubicBezTo>
                      <a:cubicBezTo>
                        <a:pt x="11" y="13"/>
                        <a:pt x="15" y="15"/>
                        <a:pt x="13" y="16"/>
                      </a:cubicBezTo>
                      <a:cubicBezTo>
                        <a:pt x="12" y="17"/>
                        <a:pt x="8" y="18"/>
                        <a:pt x="8" y="19"/>
                      </a:cubicBezTo>
                      <a:cubicBezTo>
                        <a:pt x="8" y="21"/>
                        <a:pt x="8" y="23"/>
                        <a:pt x="8" y="24"/>
                      </a:cubicBezTo>
                      <a:cubicBezTo>
                        <a:pt x="7" y="26"/>
                        <a:pt x="2" y="29"/>
                        <a:pt x="0" y="30"/>
                      </a:cubicBezTo>
                      <a:cubicBezTo>
                        <a:pt x="1" y="30"/>
                        <a:pt x="2" y="30"/>
                        <a:pt x="3" y="30"/>
                      </a:cubicBezTo>
                      <a:cubicBezTo>
                        <a:pt x="7" y="30"/>
                        <a:pt x="10" y="31"/>
                        <a:pt x="15" y="31"/>
                      </a:cubicBezTo>
                      <a:cubicBezTo>
                        <a:pt x="16" y="31"/>
                        <a:pt x="16" y="32"/>
                        <a:pt x="16" y="32"/>
                      </a:cubicBezTo>
                      <a:cubicBezTo>
                        <a:pt x="17" y="32"/>
                        <a:pt x="17" y="31"/>
                        <a:pt x="18" y="31"/>
                      </a:cubicBezTo>
                      <a:cubicBezTo>
                        <a:pt x="20" y="30"/>
                        <a:pt x="22" y="28"/>
                        <a:pt x="23" y="26"/>
                      </a:cubicBezTo>
                      <a:cubicBezTo>
                        <a:pt x="25" y="25"/>
                        <a:pt x="28" y="20"/>
                        <a:pt x="30" y="20"/>
                      </a:cubicBezTo>
                      <a:cubicBezTo>
                        <a:pt x="33" y="20"/>
                        <a:pt x="37" y="20"/>
                        <a:pt x="41" y="19"/>
                      </a:cubicBezTo>
                      <a:cubicBezTo>
                        <a:pt x="43" y="19"/>
                        <a:pt x="44" y="9"/>
                        <a:pt x="44" y="6"/>
                      </a:cubicBezTo>
                      <a:cubicBezTo>
                        <a:pt x="44" y="6"/>
                        <a:pt x="44" y="6"/>
                        <a:pt x="43" y="6"/>
                      </a:cubicBezTo>
                      <a:cubicBezTo>
                        <a:pt x="42" y="6"/>
                        <a:pt x="41" y="5"/>
                        <a:pt x="40" y="5"/>
                      </a:cubicBezTo>
                      <a:cubicBezTo>
                        <a:pt x="38" y="4"/>
                        <a:pt x="37" y="4"/>
                        <a:pt x="36" y="4"/>
                      </a:cubicBezTo>
                      <a:cubicBezTo>
                        <a:pt x="35" y="4"/>
                        <a:pt x="34" y="4"/>
                        <a:pt x="33" y="5"/>
                      </a:cubicBezTo>
                      <a:cubicBezTo>
                        <a:pt x="31" y="7"/>
                        <a:pt x="30" y="7"/>
                        <a:pt x="32" y="9"/>
                      </a:cubicBezTo>
                      <a:cubicBezTo>
                        <a:pt x="33" y="11"/>
                        <a:pt x="30" y="13"/>
                        <a:pt x="29" y="14"/>
                      </a:cubicBezTo>
                      <a:cubicBezTo>
                        <a:pt x="26" y="17"/>
                        <a:pt x="23" y="19"/>
                        <a:pt x="19" y="20"/>
                      </a:cubicBezTo>
                      <a:cubicBezTo>
                        <a:pt x="21" y="19"/>
                        <a:pt x="21" y="17"/>
                        <a:pt x="22" y="15"/>
                      </a:cubicBezTo>
                      <a:cubicBezTo>
                        <a:pt x="22" y="15"/>
                        <a:pt x="25" y="15"/>
                        <a:pt x="25" y="14"/>
                      </a:cubicBezTo>
                      <a:cubicBezTo>
                        <a:pt x="25" y="12"/>
                        <a:pt x="22" y="11"/>
                        <a:pt x="21" y="10"/>
                      </a:cubicBezTo>
                      <a:cubicBezTo>
                        <a:pt x="25" y="7"/>
                        <a:pt x="25" y="4"/>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09" name="Freeform 89">
                  <a:extLst>
                    <a:ext uri="{FF2B5EF4-FFF2-40B4-BE49-F238E27FC236}">
                      <a16:creationId xmlns:a16="http://schemas.microsoft.com/office/drawing/2014/main" id="{D4F84308-62CC-4E53-B9E0-9EAFF2AF004C}"/>
                    </a:ext>
                  </a:extLst>
                </p:cNvPr>
                <p:cNvSpPr>
                  <a:spLocks/>
                </p:cNvSpPr>
                <p:nvPr/>
              </p:nvSpPr>
              <p:spPr bwMode="auto">
                <a:xfrm>
                  <a:off x="5984628" y="1282421"/>
                  <a:ext cx="95813" cy="51592"/>
                </a:xfrm>
                <a:custGeom>
                  <a:avLst/>
                  <a:gdLst>
                    <a:gd name="T0" fmla="*/ 21 w 30"/>
                    <a:gd name="T1" fmla="*/ 0 h 17"/>
                    <a:gd name="T2" fmla="*/ 20 w 30"/>
                    <a:gd name="T3" fmla="*/ 1 h 17"/>
                    <a:gd name="T4" fmla="*/ 18 w 30"/>
                    <a:gd name="T5" fmla="*/ 9 h 17"/>
                    <a:gd name="T6" fmla="*/ 17 w 30"/>
                    <a:gd name="T7" fmla="*/ 5 h 17"/>
                    <a:gd name="T8" fmla="*/ 15 w 30"/>
                    <a:gd name="T9" fmla="*/ 5 h 17"/>
                    <a:gd name="T10" fmla="*/ 14 w 30"/>
                    <a:gd name="T11" fmla="*/ 7 h 17"/>
                    <a:gd name="T12" fmla="*/ 14 w 30"/>
                    <a:gd name="T13" fmla="*/ 7 h 17"/>
                    <a:gd name="T14" fmla="*/ 13 w 30"/>
                    <a:gd name="T15" fmla="*/ 6 h 17"/>
                    <a:gd name="T16" fmla="*/ 10 w 30"/>
                    <a:gd name="T17" fmla="*/ 5 h 17"/>
                    <a:gd name="T18" fmla="*/ 9 w 30"/>
                    <a:gd name="T19" fmla="*/ 5 h 17"/>
                    <a:gd name="T20" fmla="*/ 6 w 30"/>
                    <a:gd name="T21" fmla="*/ 9 h 17"/>
                    <a:gd name="T22" fmla="*/ 6 w 30"/>
                    <a:gd name="T23" fmla="*/ 9 h 17"/>
                    <a:gd name="T24" fmla="*/ 8 w 30"/>
                    <a:gd name="T25" fmla="*/ 15 h 17"/>
                    <a:gd name="T26" fmla="*/ 3 w 30"/>
                    <a:gd name="T27" fmla="*/ 13 h 17"/>
                    <a:gd name="T28" fmla="*/ 0 w 30"/>
                    <a:gd name="T29" fmla="*/ 16 h 17"/>
                    <a:gd name="T30" fmla="*/ 15 w 30"/>
                    <a:gd name="T31" fmla="*/ 16 h 17"/>
                    <a:gd name="T32" fmla="*/ 16 w 30"/>
                    <a:gd name="T33" fmla="*/ 16 h 17"/>
                    <a:gd name="T34" fmla="*/ 23 w 30"/>
                    <a:gd name="T35" fmla="*/ 11 h 17"/>
                    <a:gd name="T36" fmla="*/ 29 w 30"/>
                    <a:gd name="T37" fmla="*/ 6 h 17"/>
                    <a:gd name="T38" fmla="*/ 23 w 30"/>
                    <a:gd name="T39" fmla="*/ 2 h 17"/>
                    <a:gd name="T40" fmla="*/ 23 w 30"/>
                    <a:gd name="T41" fmla="*/ 2 h 17"/>
                    <a:gd name="T42" fmla="*/ 21 w 30"/>
                    <a:gd name="T4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17">
                      <a:moveTo>
                        <a:pt x="21" y="0"/>
                      </a:moveTo>
                      <a:cubicBezTo>
                        <a:pt x="21" y="0"/>
                        <a:pt x="20" y="0"/>
                        <a:pt x="20" y="1"/>
                      </a:cubicBezTo>
                      <a:cubicBezTo>
                        <a:pt x="18" y="2"/>
                        <a:pt x="19" y="7"/>
                        <a:pt x="18" y="9"/>
                      </a:cubicBezTo>
                      <a:cubicBezTo>
                        <a:pt x="18" y="7"/>
                        <a:pt x="19" y="5"/>
                        <a:pt x="17" y="5"/>
                      </a:cubicBezTo>
                      <a:cubicBezTo>
                        <a:pt x="16" y="5"/>
                        <a:pt x="16" y="5"/>
                        <a:pt x="15" y="5"/>
                      </a:cubicBezTo>
                      <a:cubicBezTo>
                        <a:pt x="15" y="5"/>
                        <a:pt x="15" y="7"/>
                        <a:pt x="14" y="7"/>
                      </a:cubicBezTo>
                      <a:cubicBezTo>
                        <a:pt x="14" y="7"/>
                        <a:pt x="14" y="7"/>
                        <a:pt x="14" y="7"/>
                      </a:cubicBezTo>
                      <a:cubicBezTo>
                        <a:pt x="13" y="7"/>
                        <a:pt x="14" y="6"/>
                        <a:pt x="13" y="6"/>
                      </a:cubicBezTo>
                      <a:cubicBezTo>
                        <a:pt x="12" y="6"/>
                        <a:pt x="11" y="5"/>
                        <a:pt x="10" y="5"/>
                      </a:cubicBezTo>
                      <a:cubicBezTo>
                        <a:pt x="10" y="5"/>
                        <a:pt x="10" y="5"/>
                        <a:pt x="9" y="5"/>
                      </a:cubicBezTo>
                      <a:cubicBezTo>
                        <a:pt x="8" y="6"/>
                        <a:pt x="9" y="9"/>
                        <a:pt x="6" y="9"/>
                      </a:cubicBezTo>
                      <a:cubicBezTo>
                        <a:pt x="6" y="9"/>
                        <a:pt x="6" y="9"/>
                        <a:pt x="6" y="9"/>
                      </a:cubicBezTo>
                      <a:cubicBezTo>
                        <a:pt x="6" y="11"/>
                        <a:pt x="8" y="13"/>
                        <a:pt x="8" y="15"/>
                      </a:cubicBezTo>
                      <a:cubicBezTo>
                        <a:pt x="7" y="14"/>
                        <a:pt x="5" y="13"/>
                        <a:pt x="3" y="13"/>
                      </a:cubicBezTo>
                      <a:cubicBezTo>
                        <a:pt x="2" y="13"/>
                        <a:pt x="1" y="14"/>
                        <a:pt x="0" y="16"/>
                      </a:cubicBezTo>
                      <a:cubicBezTo>
                        <a:pt x="5" y="17"/>
                        <a:pt x="10" y="16"/>
                        <a:pt x="15" y="16"/>
                      </a:cubicBezTo>
                      <a:cubicBezTo>
                        <a:pt x="15" y="16"/>
                        <a:pt x="16" y="16"/>
                        <a:pt x="16" y="16"/>
                      </a:cubicBezTo>
                      <a:cubicBezTo>
                        <a:pt x="21" y="16"/>
                        <a:pt x="22" y="16"/>
                        <a:pt x="23" y="11"/>
                      </a:cubicBezTo>
                      <a:cubicBezTo>
                        <a:pt x="25" y="10"/>
                        <a:pt x="30" y="8"/>
                        <a:pt x="29" y="6"/>
                      </a:cubicBezTo>
                      <a:cubicBezTo>
                        <a:pt x="29" y="4"/>
                        <a:pt x="25" y="2"/>
                        <a:pt x="23" y="2"/>
                      </a:cubicBezTo>
                      <a:cubicBezTo>
                        <a:pt x="23" y="2"/>
                        <a:pt x="23" y="2"/>
                        <a:pt x="23" y="2"/>
                      </a:cubicBezTo>
                      <a:cubicBezTo>
                        <a:pt x="23" y="1"/>
                        <a:pt x="22"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10" name="Freeform 90">
                  <a:extLst>
                    <a:ext uri="{FF2B5EF4-FFF2-40B4-BE49-F238E27FC236}">
                      <a16:creationId xmlns:a16="http://schemas.microsoft.com/office/drawing/2014/main" id="{D42EE90D-479D-4AE5-B3DE-E922D31A0792}"/>
                    </a:ext>
                  </a:extLst>
                </p:cNvPr>
                <p:cNvSpPr>
                  <a:spLocks/>
                </p:cNvSpPr>
                <p:nvPr/>
              </p:nvSpPr>
              <p:spPr bwMode="auto">
                <a:xfrm>
                  <a:off x="5863019" y="1330327"/>
                  <a:ext cx="125294" cy="92128"/>
                </a:xfrm>
                <a:custGeom>
                  <a:avLst/>
                  <a:gdLst>
                    <a:gd name="T0" fmla="*/ 24 w 40"/>
                    <a:gd name="T1" fmla="*/ 0 h 29"/>
                    <a:gd name="T2" fmla="*/ 28 w 40"/>
                    <a:gd name="T3" fmla="*/ 7 h 29"/>
                    <a:gd name="T4" fmla="*/ 27 w 40"/>
                    <a:gd name="T5" fmla="*/ 7 h 29"/>
                    <a:gd name="T6" fmla="*/ 25 w 40"/>
                    <a:gd name="T7" fmla="*/ 6 h 29"/>
                    <a:gd name="T8" fmla="*/ 24 w 40"/>
                    <a:gd name="T9" fmla="*/ 5 h 29"/>
                    <a:gd name="T10" fmla="*/ 24 w 40"/>
                    <a:gd name="T11" fmla="*/ 5 h 29"/>
                    <a:gd name="T12" fmla="*/ 23 w 40"/>
                    <a:gd name="T13" fmla="*/ 5 h 29"/>
                    <a:gd name="T14" fmla="*/ 21 w 40"/>
                    <a:gd name="T15" fmla="*/ 5 h 29"/>
                    <a:gd name="T16" fmla="*/ 19 w 40"/>
                    <a:gd name="T17" fmla="*/ 5 h 29"/>
                    <a:gd name="T18" fmla="*/ 15 w 40"/>
                    <a:gd name="T19" fmla="*/ 6 h 29"/>
                    <a:gd name="T20" fmla="*/ 23 w 40"/>
                    <a:gd name="T21" fmla="*/ 9 h 29"/>
                    <a:gd name="T22" fmla="*/ 20 w 40"/>
                    <a:gd name="T23" fmla="*/ 11 h 29"/>
                    <a:gd name="T24" fmla="*/ 13 w 40"/>
                    <a:gd name="T25" fmla="*/ 10 h 29"/>
                    <a:gd name="T26" fmla="*/ 7 w 40"/>
                    <a:gd name="T27" fmla="*/ 12 h 29"/>
                    <a:gd name="T28" fmla="*/ 13 w 40"/>
                    <a:gd name="T29" fmla="*/ 18 h 29"/>
                    <a:gd name="T30" fmla="*/ 11 w 40"/>
                    <a:gd name="T31" fmla="*/ 21 h 29"/>
                    <a:gd name="T32" fmla="*/ 5 w 40"/>
                    <a:gd name="T33" fmla="*/ 27 h 29"/>
                    <a:gd name="T34" fmla="*/ 5 w 40"/>
                    <a:gd name="T35" fmla="*/ 27 h 29"/>
                    <a:gd name="T36" fmla="*/ 10 w 40"/>
                    <a:gd name="T37" fmla="*/ 26 h 29"/>
                    <a:gd name="T38" fmla="*/ 12 w 40"/>
                    <a:gd name="T39" fmla="*/ 27 h 29"/>
                    <a:gd name="T40" fmla="*/ 13 w 40"/>
                    <a:gd name="T41" fmla="*/ 29 h 29"/>
                    <a:gd name="T42" fmla="*/ 13 w 40"/>
                    <a:gd name="T43" fmla="*/ 29 h 29"/>
                    <a:gd name="T44" fmla="*/ 15 w 40"/>
                    <a:gd name="T45" fmla="*/ 28 h 29"/>
                    <a:gd name="T46" fmla="*/ 29 w 40"/>
                    <a:gd name="T47" fmla="*/ 23 h 29"/>
                    <a:gd name="T48" fmla="*/ 37 w 40"/>
                    <a:gd name="T49" fmla="*/ 20 h 29"/>
                    <a:gd name="T50" fmla="*/ 38 w 40"/>
                    <a:gd name="T51" fmla="*/ 15 h 29"/>
                    <a:gd name="T52" fmla="*/ 39 w 40"/>
                    <a:gd name="T53" fmla="*/ 8 h 29"/>
                    <a:gd name="T54" fmla="*/ 38 w 40"/>
                    <a:gd name="T55" fmla="*/ 9 h 29"/>
                    <a:gd name="T56" fmla="*/ 39 w 40"/>
                    <a:gd name="T57" fmla="*/ 5 h 29"/>
                    <a:gd name="T58" fmla="*/ 32 w 40"/>
                    <a:gd name="T59" fmla="*/ 1 h 29"/>
                    <a:gd name="T60" fmla="*/ 32 w 40"/>
                    <a:gd name="T61" fmla="*/ 1 h 29"/>
                    <a:gd name="T62" fmla="*/ 32 w 40"/>
                    <a:gd name="T63" fmla="*/ 2 h 29"/>
                    <a:gd name="T64" fmla="*/ 32 w 40"/>
                    <a:gd name="T65" fmla="*/ 3 h 29"/>
                    <a:gd name="T66" fmla="*/ 32 w 40"/>
                    <a:gd name="T67" fmla="*/ 3 h 29"/>
                    <a:gd name="T68" fmla="*/ 30 w 40"/>
                    <a:gd name="T69" fmla="*/ 1 h 29"/>
                    <a:gd name="T70" fmla="*/ 28 w 40"/>
                    <a:gd name="T71" fmla="*/ 1 h 29"/>
                    <a:gd name="T72" fmla="*/ 28 w 40"/>
                    <a:gd name="T73" fmla="*/ 3 h 29"/>
                    <a:gd name="T74" fmla="*/ 24 w 40"/>
                    <a:gd name="T7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29">
                      <a:moveTo>
                        <a:pt x="24" y="0"/>
                      </a:moveTo>
                      <a:cubicBezTo>
                        <a:pt x="25" y="2"/>
                        <a:pt x="27" y="4"/>
                        <a:pt x="28" y="7"/>
                      </a:cubicBezTo>
                      <a:cubicBezTo>
                        <a:pt x="27" y="7"/>
                        <a:pt x="27" y="7"/>
                        <a:pt x="27" y="7"/>
                      </a:cubicBezTo>
                      <a:cubicBezTo>
                        <a:pt x="26" y="7"/>
                        <a:pt x="26" y="6"/>
                        <a:pt x="25" y="6"/>
                      </a:cubicBezTo>
                      <a:cubicBezTo>
                        <a:pt x="25" y="6"/>
                        <a:pt x="24" y="5"/>
                        <a:pt x="24" y="5"/>
                      </a:cubicBezTo>
                      <a:cubicBezTo>
                        <a:pt x="24" y="5"/>
                        <a:pt x="24" y="5"/>
                        <a:pt x="24" y="5"/>
                      </a:cubicBezTo>
                      <a:cubicBezTo>
                        <a:pt x="24" y="5"/>
                        <a:pt x="24" y="5"/>
                        <a:pt x="23" y="5"/>
                      </a:cubicBezTo>
                      <a:cubicBezTo>
                        <a:pt x="23" y="5"/>
                        <a:pt x="22" y="5"/>
                        <a:pt x="21" y="5"/>
                      </a:cubicBezTo>
                      <a:cubicBezTo>
                        <a:pt x="21" y="5"/>
                        <a:pt x="20" y="5"/>
                        <a:pt x="19" y="5"/>
                      </a:cubicBezTo>
                      <a:cubicBezTo>
                        <a:pt x="18" y="5"/>
                        <a:pt x="16" y="5"/>
                        <a:pt x="15" y="6"/>
                      </a:cubicBezTo>
                      <a:cubicBezTo>
                        <a:pt x="16" y="8"/>
                        <a:pt x="20" y="8"/>
                        <a:pt x="23" y="9"/>
                      </a:cubicBezTo>
                      <a:cubicBezTo>
                        <a:pt x="21" y="9"/>
                        <a:pt x="19" y="9"/>
                        <a:pt x="20" y="11"/>
                      </a:cubicBezTo>
                      <a:cubicBezTo>
                        <a:pt x="19" y="10"/>
                        <a:pt x="16" y="10"/>
                        <a:pt x="13" y="10"/>
                      </a:cubicBezTo>
                      <a:cubicBezTo>
                        <a:pt x="10" y="10"/>
                        <a:pt x="7" y="10"/>
                        <a:pt x="7" y="12"/>
                      </a:cubicBezTo>
                      <a:cubicBezTo>
                        <a:pt x="6" y="16"/>
                        <a:pt x="11" y="17"/>
                        <a:pt x="13" y="18"/>
                      </a:cubicBezTo>
                      <a:cubicBezTo>
                        <a:pt x="8" y="19"/>
                        <a:pt x="3" y="19"/>
                        <a:pt x="11" y="21"/>
                      </a:cubicBezTo>
                      <a:cubicBezTo>
                        <a:pt x="10" y="21"/>
                        <a:pt x="0" y="27"/>
                        <a:pt x="5" y="27"/>
                      </a:cubicBezTo>
                      <a:cubicBezTo>
                        <a:pt x="5" y="27"/>
                        <a:pt x="5" y="27"/>
                        <a:pt x="5" y="27"/>
                      </a:cubicBezTo>
                      <a:cubicBezTo>
                        <a:pt x="7" y="27"/>
                        <a:pt x="8" y="26"/>
                        <a:pt x="10" y="26"/>
                      </a:cubicBezTo>
                      <a:cubicBezTo>
                        <a:pt x="10" y="26"/>
                        <a:pt x="11" y="26"/>
                        <a:pt x="12" y="27"/>
                      </a:cubicBezTo>
                      <a:cubicBezTo>
                        <a:pt x="11" y="29"/>
                        <a:pt x="11" y="29"/>
                        <a:pt x="13" y="29"/>
                      </a:cubicBezTo>
                      <a:cubicBezTo>
                        <a:pt x="13" y="29"/>
                        <a:pt x="13" y="29"/>
                        <a:pt x="13" y="29"/>
                      </a:cubicBezTo>
                      <a:cubicBezTo>
                        <a:pt x="16" y="29"/>
                        <a:pt x="15" y="28"/>
                        <a:pt x="15" y="28"/>
                      </a:cubicBezTo>
                      <a:cubicBezTo>
                        <a:pt x="18" y="26"/>
                        <a:pt x="24" y="24"/>
                        <a:pt x="29" y="23"/>
                      </a:cubicBezTo>
                      <a:cubicBezTo>
                        <a:pt x="32" y="22"/>
                        <a:pt x="34" y="21"/>
                        <a:pt x="37" y="20"/>
                      </a:cubicBezTo>
                      <a:cubicBezTo>
                        <a:pt x="38" y="19"/>
                        <a:pt x="38" y="16"/>
                        <a:pt x="38" y="15"/>
                      </a:cubicBezTo>
                      <a:cubicBezTo>
                        <a:pt x="39" y="14"/>
                        <a:pt x="40" y="8"/>
                        <a:pt x="39" y="8"/>
                      </a:cubicBezTo>
                      <a:cubicBezTo>
                        <a:pt x="39" y="8"/>
                        <a:pt x="38" y="8"/>
                        <a:pt x="38" y="9"/>
                      </a:cubicBezTo>
                      <a:cubicBezTo>
                        <a:pt x="36" y="8"/>
                        <a:pt x="38" y="7"/>
                        <a:pt x="39" y="5"/>
                      </a:cubicBezTo>
                      <a:cubicBezTo>
                        <a:pt x="36" y="4"/>
                        <a:pt x="35" y="1"/>
                        <a:pt x="32" y="1"/>
                      </a:cubicBezTo>
                      <a:cubicBezTo>
                        <a:pt x="32" y="1"/>
                        <a:pt x="32" y="1"/>
                        <a:pt x="32" y="1"/>
                      </a:cubicBezTo>
                      <a:cubicBezTo>
                        <a:pt x="32" y="1"/>
                        <a:pt x="32" y="2"/>
                        <a:pt x="32" y="2"/>
                      </a:cubicBezTo>
                      <a:cubicBezTo>
                        <a:pt x="32" y="3"/>
                        <a:pt x="32" y="3"/>
                        <a:pt x="32" y="3"/>
                      </a:cubicBezTo>
                      <a:cubicBezTo>
                        <a:pt x="32" y="3"/>
                        <a:pt x="32" y="3"/>
                        <a:pt x="32" y="3"/>
                      </a:cubicBezTo>
                      <a:cubicBezTo>
                        <a:pt x="31" y="3"/>
                        <a:pt x="30" y="1"/>
                        <a:pt x="30" y="1"/>
                      </a:cubicBezTo>
                      <a:cubicBezTo>
                        <a:pt x="29" y="1"/>
                        <a:pt x="29" y="1"/>
                        <a:pt x="28" y="1"/>
                      </a:cubicBezTo>
                      <a:cubicBezTo>
                        <a:pt x="28" y="1"/>
                        <a:pt x="28" y="1"/>
                        <a:pt x="28" y="3"/>
                      </a:cubicBezTo>
                      <a:cubicBezTo>
                        <a:pt x="27" y="2"/>
                        <a:pt x="25" y="1"/>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11" name="Freeform 91">
                  <a:extLst>
                    <a:ext uri="{FF2B5EF4-FFF2-40B4-BE49-F238E27FC236}">
                      <a16:creationId xmlns:a16="http://schemas.microsoft.com/office/drawing/2014/main" id="{6E877661-6468-4447-A689-3E60E514766A}"/>
                    </a:ext>
                  </a:extLst>
                </p:cNvPr>
                <p:cNvSpPr>
                  <a:spLocks/>
                </p:cNvSpPr>
                <p:nvPr/>
              </p:nvSpPr>
              <p:spPr bwMode="auto">
                <a:xfrm>
                  <a:off x="5107571" y="2214755"/>
                  <a:ext cx="51592" cy="14740"/>
                </a:xfrm>
                <a:custGeom>
                  <a:avLst/>
                  <a:gdLst>
                    <a:gd name="T0" fmla="*/ 16 w 16"/>
                    <a:gd name="T1" fmla="*/ 0 h 4"/>
                    <a:gd name="T2" fmla="*/ 0 w 16"/>
                    <a:gd name="T3" fmla="*/ 3 h 4"/>
                    <a:gd name="T4" fmla="*/ 3 w 16"/>
                    <a:gd name="T5" fmla="*/ 4 h 4"/>
                    <a:gd name="T6" fmla="*/ 16 w 16"/>
                    <a:gd name="T7" fmla="*/ 0 h 4"/>
                  </a:gdLst>
                  <a:ahLst/>
                  <a:cxnLst>
                    <a:cxn ang="0">
                      <a:pos x="T0" y="T1"/>
                    </a:cxn>
                    <a:cxn ang="0">
                      <a:pos x="T2" y="T3"/>
                    </a:cxn>
                    <a:cxn ang="0">
                      <a:pos x="T4" y="T5"/>
                    </a:cxn>
                    <a:cxn ang="0">
                      <a:pos x="T6" y="T7"/>
                    </a:cxn>
                  </a:cxnLst>
                  <a:rect l="0" t="0" r="r" b="b"/>
                  <a:pathLst>
                    <a:path w="16" h="4">
                      <a:moveTo>
                        <a:pt x="16" y="0"/>
                      </a:moveTo>
                      <a:cubicBezTo>
                        <a:pt x="11" y="1"/>
                        <a:pt x="5" y="1"/>
                        <a:pt x="0" y="3"/>
                      </a:cubicBezTo>
                      <a:cubicBezTo>
                        <a:pt x="1" y="3"/>
                        <a:pt x="2" y="4"/>
                        <a:pt x="3" y="4"/>
                      </a:cubicBezTo>
                      <a:cubicBezTo>
                        <a:pt x="8" y="4"/>
                        <a:pt x="13" y="3"/>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12" name="Freeform 92">
                  <a:extLst>
                    <a:ext uri="{FF2B5EF4-FFF2-40B4-BE49-F238E27FC236}">
                      <a16:creationId xmlns:a16="http://schemas.microsoft.com/office/drawing/2014/main" id="{5740FB26-F998-4F17-B275-76E883FD2693}"/>
                    </a:ext>
                  </a:extLst>
                </p:cNvPr>
                <p:cNvSpPr>
                  <a:spLocks/>
                </p:cNvSpPr>
                <p:nvPr/>
              </p:nvSpPr>
              <p:spPr bwMode="auto">
                <a:xfrm>
                  <a:off x="6334714" y="1127646"/>
                  <a:ext cx="143719" cy="58962"/>
                </a:xfrm>
                <a:custGeom>
                  <a:avLst/>
                  <a:gdLst>
                    <a:gd name="T0" fmla="*/ 42 w 46"/>
                    <a:gd name="T1" fmla="*/ 0 h 18"/>
                    <a:gd name="T2" fmla="*/ 39 w 46"/>
                    <a:gd name="T3" fmla="*/ 1 h 18"/>
                    <a:gd name="T4" fmla="*/ 25 w 46"/>
                    <a:gd name="T5" fmla="*/ 8 h 18"/>
                    <a:gd name="T6" fmla="*/ 17 w 46"/>
                    <a:gd name="T7" fmla="*/ 8 h 18"/>
                    <a:gd name="T8" fmla="*/ 14 w 46"/>
                    <a:gd name="T9" fmla="*/ 6 h 18"/>
                    <a:gd name="T10" fmla="*/ 13 w 46"/>
                    <a:gd name="T11" fmla="*/ 7 h 18"/>
                    <a:gd name="T12" fmla="*/ 12 w 46"/>
                    <a:gd name="T13" fmla="*/ 9 h 18"/>
                    <a:gd name="T14" fmla="*/ 11 w 46"/>
                    <a:gd name="T15" fmla="*/ 8 h 18"/>
                    <a:gd name="T16" fmla="*/ 10 w 46"/>
                    <a:gd name="T17" fmla="*/ 8 h 18"/>
                    <a:gd name="T18" fmla="*/ 7 w 46"/>
                    <a:gd name="T19" fmla="*/ 10 h 18"/>
                    <a:gd name="T20" fmla="*/ 7 w 46"/>
                    <a:gd name="T21" fmla="*/ 10 h 18"/>
                    <a:gd name="T22" fmla="*/ 5 w 46"/>
                    <a:gd name="T23" fmla="*/ 9 h 18"/>
                    <a:gd name="T24" fmla="*/ 3 w 46"/>
                    <a:gd name="T25" fmla="*/ 8 h 18"/>
                    <a:gd name="T26" fmla="*/ 2 w 46"/>
                    <a:gd name="T27" fmla="*/ 9 h 18"/>
                    <a:gd name="T28" fmla="*/ 6 w 46"/>
                    <a:gd name="T29" fmla="*/ 18 h 18"/>
                    <a:gd name="T30" fmla="*/ 20 w 46"/>
                    <a:gd name="T31" fmla="*/ 16 h 18"/>
                    <a:gd name="T32" fmla="*/ 22 w 46"/>
                    <a:gd name="T33" fmla="*/ 14 h 18"/>
                    <a:gd name="T34" fmla="*/ 23 w 46"/>
                    <a:gd name="T35" fmla="*/ 16 h 18"/>
                    <a:gd name="T36" fmla="*/ 24 w 46"/>
                    <a:gd name="T37" fmla="*/ 15 h 18"/>
                    <a:gd name="T38" fmla="*/ 27 w 46"/>
                    <a:gd name="T39" fmla="*/ 16 h 18"/>
                    <a:gd name="T40" fmla="*/ 29 w 46"/>
                    <a:gd name="T41" fmla="*/ 15 h 18"/>
                    <a:gd name="T42" fmla="*/ 31 w 46"/>
                    <a:gd name="T43" fmla="*/ 14 h 18"/>
                    <a:gd name="T44" fmla="*/ 34 w 46"/>
                    <a:gd name="T45" fmla="*/ 13 h 18"/>
                    <a:gd name="T46" fmla="*/ 38 w 46"/>
                    <a:gd name="T47" fmla="*/ 8 h 18"/>
                    <a:gd name="T48" fmla="*/ 42 w 46"/>
                    <a:gd name="T49" fmla="*/ 5 h 18"/>
                    <a:gd name="T50" fmla="*/ 42 w 46"/>
                    <a:gd name="T51" fmla="*/ 5 h 18"/>
                    <a:gd name="T52" fmla="*/ 45 w 46"/>
                    <a:gd name="T53" fmla="*/ 3 h 18"/>
                    <a:gd name="T54" fmla="*/ 42 w 46"/>
                    <a:gd name="T5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18">
                      <a:moveTo>
                        <a:pt x="42" y="0"/>
                      </a:moveTo>
                      <a:cubicBezTo>
                        <a:pt x="41" y="0"/>
                        <a:pt x="40" y="0"/>
                        <a:pt x="39" y="1"/>
                      </a:cubicBezTo>
                      <a:cubicBezTo>
                        <a:pt x="35" y="7"/>
                        <a:pt x="31" y="8"/>
                        <a:pt x="25" y="8"/>
                      </a:cubicBezTo>
                      <a:cubicBezTo>
                        <a:pt x="23" y="8"/>
                        <a:pt x="20" y="8"/>
                        <a:pt x="17" y="8"/>
                      </a:cubicBezTo>
                      <a:cubicBezTo>
                        <a:pt x="16" y="6"/>
                        <a:pt x="15" y="6"/>
                        <a:pt x="14" y="6"/>
                      </a:cubicBezTo>
                      <a:cubicBezTo>
                        <a:pt x="14" y="6"/>
                        <a:pt x="13" y="7"/>
                        <a:pt x="13" y="7"/>
                      </a:cubicBezTo>
                      <a:cubicBezTo>
                        <a:pt x="13" y="8"/>
                        <a:pt x="12" y="9"/>
                        <a:pt x="12" y="9"/>
                      </a:cubicBezTo>
                      <a:cubicBezTo>
                        <a:pt x="12" y="9"/>
                        <a:pt x="11" y="9"/>
                        <a:pt x="11" y="8"/>
                      </a:cubicBezTo>
                      <a:cubicBezTo>
                        <a:pt x="10" y="8"/>
                        <a:pt x="10" y="8"/>
                        <a:pt x="10" y="8"/>
                      </a:cubicBezTo>
                      <a:cubicBezTo>
                        <a:pt x="9" y="8"/>
                        <a:pt x="8" y="9"/>
                        <a:pt x="7" y="10"/>
                      </a:cubicBezTo>
                      <a:cubicBezTo>
                        <a:pt x="7" y="10"/>
                        <a:pt x="7" y="10"/>
                        <a:pt x="7" y="10"/>
                      </a:cubicBezTo>
                      <a:cubicBezTo>
                        <a:pt x="7" y="10"/>
                        <a:pt x="6" y="9"/>
                        <a:pt x="5" y="9"/>
                      </a:cubicBezTo>
                      <a:cubicBezTo>
                        <a:pt x="4" y="9"/>
                        <a:pt x="3" y="8"/>
                        <a:pt x="3" y="8"/>
                      </a:cubicBezTo>
                      <a:cubicBezTo>
                        <a:pt x="3" y="8"/>
                        <a:pt x="2" y="8"/>
                        <a:pt x="2" y="9"/>
                      </a:cubicBezTo>
                      <a:cubicBezTo>
                        <a:pt x="0" y="10"/>
                        <a:pt x="8" y="16"/>
                        <a:pt x="6" y="18"/>
                      </a:cubicBezTo>
                      <a:cubicBezTo>
                        <a:pt x="10" y="18"/>
                        <a:pt x="17" y="17"/>
                        <a:pt x="20" y="16"/>
                      </a:cubicBezTo>
                      <a:cubicBezTo>
                        <a:pt x="21" y="16"/>
                        <a:pt x="22" y="14"/>
                        <a:pt x="22" y="14"/>
                      </a:cubicBezTo>
                      <a:cubicBezTo>
                        <a:pt x="23" y="14"/>
                        <a:pt x="23" y="15"/>
                        <a:pt x="23" y="16"/>
                      </a:cubicBezTo>
                      <a:cubicBezTo>
                        <a:pt x="23" y="16"/>
                        <a:pt x="24" y="15"/>
                        <a:pt x="24" y="15"/>
                      </a:cubicBezTo>
                      <a:cubicBezTo>
                        <a:pt x="25" y="15"/>
                        <a:pt x="26" y="16"/>
                        <a:pt x="27" y="16"/>
                      </a:cubicBezTo>
                      <a:cubicBezTo>
                        <a:pt x="27" y="16"/>
                        <a:pt x="28" y="16"/>
                        <a:pt x="29" y="15"/>
                      </a:cubicBezTo>
                      <a:cubicBezTo>
                        <a:pt x="30" y="15"/>
                        <a:pt x="30" y="14"/>
                        <a:pt x="31" y="14"/>
                      </a:cubicBezTo>
                      <a:cubicBezTo>
                        <a:pt x="32" y="13"/>
                        <a:pt x="34" y="13"/>
                        <a:pt x="34" y="13"/>
                      </a:cubicBezTo>
                      <a:cubicBezTo>
                        <a:pt x="35" y="12"/>
                        <a:pt x="36" y="9"/>
                        <a:pt x="38" y="8"/>
                      </a:cubicBezTo>
                      <a:cubicBezTo>
                        <a:pt x="39" y="6"/>
                        <a:pt x="41" y="7"/>
                        <a:pt x="42" y="5"/>
                      </a:cubicBezTo>
                      <a:cubicBezTo>
                        <a:pt x="42" y="5"/>
                        <a:pt x="42" y="5"/>
                        <a:pt x="42" y="5"/>
                      </a:cubicBezTo>
                      <a:cubicBezTo>
                        <a:pt x="43" y="5"/>
                        <a:pt x="45" y="4"/>
                        <a:pt x="45" y="3"/>
                      </a:cubicBezTo>
                      <a:cubicBezTo>
                        <a:pt x="46" y="1"/>
                        <a:pt x="44" y="0"/>
                        <a:pt x="4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13" name="Freeform 93">
                  <a:extLst>
                    <a:ext uri="{FF2B5EF4-FFF2-40B4-BE49-F238E27FC236}">
                      <a16:creationId xmlns:a16="http://schemas.microsoft.com/office/drawing/2014/main" id="{8FBCE9F2-7CE8-4119-B1AA-358F92D73AE0}"/>
                    </a:ext>
                  </a:extLst>
                </p:cNvPr>
                <p:cNvSpPr>
                  <a:spLocks/>
                </p:cNvSpPr>
                <p:nvPr/>
              </p:nvSpPr>
              <p:spPr bwMode="auto">
                <a:xfrm>
                  <a:off x="6117292" y="1223459"/>
                  <a:ext cx="58962" cy="29481"/>
                </a:xfrm>
                <a:custGeom>
                  <a:avLst/>
                  <a:gdLst>
                    <a:gd name="T0" fmla="*/ 2 w 19"/>
                    <a:gd name="T1" fmla="*/ 0 h 9"/>
                    <a:gd name="T2" fmla="*/ 0 w 19"/>
                    <a:gd name="T3" fmla="*/ 0 h 9"/>
                    <a:gd name="T4" fmla="*/ 5 w 19"/>
                    <a:gd name="T5" fmla="*/ 6 h 9"/>
                    <a:gd name="T6" fmla="*/ 7 w 19"/>
                    <a:gd name="T7" fmla="*/ 9 h 9"/>
                    <a:gd name="T8" fmla="*/ 11 w 19"/>
                    <a:gd name="T9" fmla="*/ 9 h 9"/>
                    <a:gd name="T10" fmla="*/ 14 w 19"/>
                    <a:gd name="T11" fmla="*/ 9 h 9"/>
                    <a:gd name="T12" fmla="*/ 13 w 19"/>
                    <a:gd name="T13" fmla="*/ 4 h 9"/>
                    <a:gd name="T14" fmla="*/ 2 w 19"/>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9">
                      <a:moveTo>
                        <a:pt x="2" y="0"/>
                      </a:moveTo>
                      <a:cubicBezTo>
                        <a:pt x="1" y="0"/>
                        <a:pt x="1" y="0"/>
                        <a:pt x="0" y="0"/>
                      </a:cubicBezTo>
                      <a:cubicBezTo>
                        <a:pt x="3" y="2"/>
                        <a:pt x="4" y="3"/>
                        <a:pt x="5" y="6"/>
                      </a:cubicBezTo>
                      <a:cubicBezTo>
                        <a:pt x="6" y="7"/>
                        <a:pt x="5" y="9"/>
                        <a:pt x="7" y="9"/>
                      </a:cubicBezTo>
                      <a:cubicBezTo>
                        <a:pt x="8" y="9"/>
                        <a:pt x="9" y="9"/>
                        <a:pt x="11" y="9"/>
                      </a:cubicBezTo>
                      <a:cubicBezTo>
                        <a:pt x="12" y="9"/>
                        <a:pt x="13" y="9"/>
                        <a:pt x="14" y="9"/>
                      </a:cubicBezTo>
                      <a:cubicBezTo>
                        <a:pt x="19" y="6"/>
                        <a:pt x="17" y="6"/>
                        <a:pt x="13" y="4"/>
                      </a:cubicBezTo>
                      <a:cubicBezTo>
                        <a:pt x="10" y="2"/>
                        <a:pt x="5"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14" name="Freeform 94">
                  <a:extLst>
                    <a:ext uri="{FF2B5EF4-FFF2-40B4-BE49-F238E27FC236}">
                      <a16:creationId xmlns:a16="http://schemas.microsoft.com/office/drawing/2014/main" id="{03DD0311-B813-42FB-9505-366B94361CB3}"/>
                    </a:ext>
                  </a:extLst>
                </p:cNvPr>
                <p:cNvSpPr>
                  <a:spLocks/>
                </p:cNvSpPr>
                <p:nvPr/>
              </p:nvSpPr>
              <p:spPr bwMode="auto">
                <a:xfrm>
                  <a:off x="4838557" y="2741727"/>
                  <a:ext cx="22111" cy="18426"/>
                </a:xfrm>
                <a:custGeom>
                  <a:avLst/>
                  <a:gdLst>
                    <a:gd name="T0" fmla="*/ 0 w 7"/>
                    <a:gd name="T1" fmla="*/ 0 h 6"/>
                    <a:gd name="T2" fmla="*/ 0 w 7"/>
                    <a:gd name="T3" fmla="*/ 5 h 6"/>
                    <a:gd name="T4" fmla="*/ 6 w 7"/>
                    <a:gd name="T5" fmla="*/ 6 h 6"/>
                    <a:gd name="T6" fmla="*/ 7 w 7"/>
                    <a:gd name="T7" fmla="*/ 6 h 6"/>
                    <a:gd name="T8" fmla="*/ 0 w 7"/>
                    <a:gd name="T9" fmla="*/ 0 h 6"/>
                  </a:gdLst>
                  <a:ahLst/>
                  <a:cxnLst>
                    <a:cxn ang="0">
                      <a:pos x="T0" y="T1"/>
                    </a:cxn>
                    <a:cxn ang="0">
                      <a:pos x="T2" y="T3"/>
                    </a:cxn>
                    <a:cxn ang="0">
                      <a:pos x="T4" y="T5"/>
                    </a:cxn>
                    <a:cxn ang="0">
                      <a:pos x="T6" y="T7"/>
                    </a:cxn>
                    <a:cxn ang="0">
                      <a:pos x="T8" y="T9"/>
                    </a:cxn>
                  </a:cxnLst>
                  <a:rect l="0" t="0" r="r" b="b"/>
                  <a:pathLst>
                    <a:path w="7" h="6">
                      <a:moveTo>
                        <a:pt x="0" y="0"/>
                      </a:moveTo>
                      <a:cubicBezTo>
                        <a:pt x="0" y="1"/>
                        <a:pt x="0" y="3"/>
                        <a:pt x="0" y="5"/>
                      </a:cubicBezTo>
                      <a:cubicBezTo>
                        <a:pt x="2" y="6"/>
                        <a:pt x="4" y="6"/>
                        <a:pt x="6" y="6"/>
                      </a:cubicBezTo>
                      <a:cubicBezTo>
                        <a:pt x="7" y="6"/>
                        <a:pt x="7" y="6"/>
                        <a:pt x="7" y="6"/>
                      </a:cubicBezTo>
                      <a:cubicBezTo>
                        <a:pt x="6" y="2"/>
                        <a:pt x="4"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15" name="Freeform 95">
                  <a:extLst>
                    <a:ext uri="{FF2B5EF4-FFF2-40B4-BE49-F238E27FC236}">
                      <a16:creationId xmlns:a16="http://schemas.microsoft.com/office/drawing/2014/main" id="{FF0DC579-C34F-4387-B894-50270C701355}"/>
                    </a:ext>
                  </a:extLst>
                </p:cNvPr>
                <p:cNvSpPr>
                  <a:spLocks/>
                </p:cNvSpPr>
                <p:nvPr/>
              </p:nvSpPr>
              <p:spPr bwMode="auto">
                <a:xfrm>
                  <a:off x="5063349" y="2251606"/>
                  <a:ext cx="33166" cy="18426"/>
                </a:xfrm>
                <a:custGeom>
                  <a:avLst/>
                  <a:gdLst>
                    <a:gd name="T0" fmla="*/ 8 w 11"/>
                    <a:gd name="T1" fmla="*/ 0 h 5"/>
                    <a:gd name="T2" fmla="*/ 5 w 11"/>
                    <a:gd name="T3" fmla="*/ 1 h 5"/>
                    <a:gd name="T4" fmla="*/ 0 w 11"/>
                    <a:gd name="T5" fmla="*/ 3 h 5"/>
                    <a:gd name="T6" fmla="*/ 11 w 11"/>
                    <a:gd name="T7" fmla="*/ 5 h 5"/>
                    <a:gd name="T8" fmla="*/ 8 w 11"/>
                    <a:gd name="T9" fmla="*/ 0 h 5"/>
                  </a:gdLst>
                  <a:ahLst/>
                  <a:cxnLst>
                    <a:cxn ang="0">
                      <a:pos x="T0" y="T1"/>
                    </a:cxn>
                    <a:cxn ang="0">
                      <a:pos x="T2" y="T3"/>
                    </a:cxn>
                    <a:cxn ang="0">
                      <a:pos x="T4" y="T5"/>
                    </a:cxn>
                    <a:cxn ang="0">
                      <a:pos x="T6" y="T7"/>
                    </a:cxn>
                    <a:cxn ang="0">
                      <a:pos x="T8" y="T9"/>
                    </a:cxn>
                  </a:cxnLst>
                  <a:rect l="0" t="0" r="r" b="b"/>
                  <a:pathLst>
                    <a:path w="11" h="5">
                      <a:moveTo>
                        <a:pt x="8" y="0"/>
                      </a:moveTo>
                      <a:cubicBezTo>
                        <a:pt x="7" y="0"/>
                        <a:pt x="6" y="1"/>
                        <a:pt x="5" y="1"/>
                      </a:cubicBezTo>
                      <a:cubicBezTo>
                        <a:pt x="4" y="1"/>
                        <a:pt x="2" y="2"/>
                        <a:pt x="0" y="3"/>
                      </a:cubicBezTo>
                      <a:cubicBezTo>
                        <a:pt x="4" y="4"/>
                        <a:pt x="8" y="4"/>
                        <a:pt x="11" y="5"/>
                      </a:cubicBezTo>
                      <a:cubicBezTo>
                        <a:pt x="10" y="2"/>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16" name="Freeform 96">
                  <a:extLst>
                    <a:ext uri="{FF2B5EF4-FFF2-40B4-BE49-F238E27FC236}">
                      <a16:creationId xmlns:a16="http://schemas.microsoft.com/office/drawing/2014/main" id="{7B566629-51F8-4F81-864E-261AF692C967}"/>
                    </a:ext>
                  </a:extLst>
                </p:cNvPr>
                <p:cNvSpPr>
                  <a:spLocks/>
                </p:cNvSpPr>
                <p:nvPr/>
              </p:nvSpPr>
              <p:spPr bwMode="auto">
                <a:xfrm>
                  <a:off x="5111256" y="2229496"/>
                  <a:ext cx="84758" cy="29481"/>
                </a:xfrm>
                <a:custGeom>
                  <a:avLst/>
                  <a:gdLst>
                    <a:gd name="T0" fmla="*/ 18 w 27"/>
                    <a:gd name="T1" fmla="*/ 0 h 10"/>
                    <a:gd name="T2" fmla="*/ 0 w 27"/>
                    <a:gd name="T3" fmla="*/ 8 h 10"/>
                    <a:gd name="T4" fmla="*/ 5 w 27"/>
                    <a:gd name="T5" fmla="*/ 10 h 10"/>
                    <a:gd name="T6" fmla="*/ 18 w 27"/>
                    <a:gd name="T7" fmla="*/ 7 h 10"/>
                    <a:gd name="T8" fmla="*/ 21 w 27"/>
                    <a:gd name="T9" fmla="*/ 1 h 10"/>
                    <a:gd name="T10" fmla="*/ 18 w 27"/>
                    <a:gd name="T11" fmla="*/ 0 h 10"/>
                  </a:gdLst>
                  <a:ahLst/>
                  <a:cxnLst>
                    <a:cxn ang="0">
                      <a:pos x="T0" y="T1"/>
                    </a:cxn>
                    <a:cxn ang="0">
                      <a:pos x="T2" y="T3"/>
                    </a:cxn>
                    <a:cxn ang="0">
                      <a:pos x="T4" y="T5"/>
                    </a:cxn>
                    <a:cxn ang="0">
                      <a:pos x="T6" y="T7"/>
                    </a:cxn>
                    <a:cxn ang="0">
                      <a:pos x="T8" y="T9"/>
                    </a:cxn>
                    <a:cxn ang="0">
                      <a:pos x="T10" y="T11"/>
                    </a:cxn>
                  </a:cxnLst>
                  <a:rect l="0" t="0" r="r" b="b"/>
                  <a:pathLst>
                    <a:path w="27" h="10">
                      <a:moveTo>
                        <a:pt x="18" y="0"/>
                      </a:moveTo>
                      <a:cubicBezTo>
                        <a:pt x="12" y="0"/>
                        <a:pt x="4" y="6"/>
                        <a:pt x="0" y="8"/>
                      </a:cubicBezTo>
                      <a:cubicBezTo>
                        <a:pt x="1" y="9"/>
                        <a:pt x="3" y="10"/>
                        <a:pt x="5" y="10"/>
                      </a:cubicBezTo>
                      <a:cubicBezTo>
                        <a:pt x="10" y="10"/>
                        <a:pt x="14" y="8"/>
                        <a:pt x="18" y="7"/>
                      </a:cubicBezTo>
                      <a:cubicBezTo>
                        <a:pt x="22" y="6"/>
                        <a:pt x="27" y="4"/>
                        <a:pt x="21" y="1"/>
                      </a:cubicBezTo>
                      <a:cubicBezTo>
                        <a:pt x="20" y="1"/>
                        <a:pt x="19"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17" name="Freeform 97">
                  <a:extLst>
                    <a:ext uri="{FF2B5EF4-FFF2-40B4-BE49-F238E27FC236}">
                      <a16:creationId xmlns:a16="http://schemas.microsoft.com/office/drawing/2014/main" id="{384F6E61-54E6-4DC3-9E13-6C547B1F26E2}"/>
                    </a:ext>
                  </a:extLst>
                </p:cNvPr>
                <p:cNvSpPr>
                  <a:spLocks/>
                </p:cNvSpPr>
                <p:nvPr/>
              </p:nvSpPr>
              <p:spPr bwMode="auto">
                <a:xfrm>
                  <a:off x="6375250" y="1201348"/>
                  <a:ext cx="58962" cy="22111"/>
                </a:xfrm>
                <a:custGeom>
                  <a:avLst/>
                  <a:gdLst>
                    <a:gd name="T0" fmla="*/ 4 w 19"/>
                    <a:gd name="T1" fmla="*/ 0 h 7"/>
                    <a:gd name="T2" fmla="*/ 4 w 19"/>
                    <a:gd name="T3" fmla="*/ 2 h 7"/>
                    <a:gd name="T4" fmla="*/ 0 w 19"/>
                    <a:gd name="T5" fmla="*/ 2 h 7"/>
                    <a:gd name="T6" fmla="*/ 14 w 19"/>
                    <a:gd name="T7" fmla="*/ 7 h 7"/>
                    <a:gd name="T8" fmla="*/ 19 w 19"/>
                    <a:gd name="T9" fmla="*/ 5 h 7"/>
                    <a:gd name="T10" fmla="*/ 4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4" y="0"/>
                      </a:moveTo>
                      <a:cubicBezTo>
                        <a:pt x="4" y="1"/>
                        <a:pt x="4" y="2"/>
                        <a:pt x="4" y="2"/>
                      </a:cubicBezTo>
                      <a:cubicBezTo>
                        <a:pt x="2" y="2"/>
                        <a:pt x="1" y="2"/>
                        <a:pt x="0" y="2"/>
                      </a:cubicBezTo>
                      <a:cubicBezTo>
                        <a:pt x="3" y="4"/>
                        <a:pt x="9" y="7"/>
                        <a:pt x="14" y="7"/>
                      </a:cubicBezTo>
                      <a:cubicBezTo>
                        <a:pt x="16" y="7"/>
                        <a:pt x="17" y="6"/>
                        <a:pt x="19" y="5"/>
                      </a:cubicBezTo>
                      <a:cubicBezTo>
                        <a:pt x="17" y="2"/>
                        <a:pt x="7"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18" name="Freeform 98">
                  <a:extLst>
                    <a:ext uri="{FF2B5EF4-FFF2-40B4-BE49-F238E27FC236}">
                      <a16:creationId xmlns:a16="http://schemas.microsoft.com/office/drawing/2014/main" id="{42E2ADEE-4BA0-42FD-BC71-870D4D890995}"/>
                    </a:ext>
                  </a:extLst>
                </p:cNvPr>
                <p:cNvSpPr>
                  <a:spLocks/>
                </p:cNvSpPr>
                <p:nvPr/>
              </p:nvSpPr>
              <p:spPr bwMode="auto">
                <a:xfrm>
                  <a:off x="4886464" y="2402696"/>
                  <a:ext cx="18426" cy="22111"/>
                </a:xfrm>
                <a:custGeom>
                  <a:avLst/>
                  <a:gdLst>
                    <a:gd name="T0" fmla="*/ 2 w 6"/>
                    <a:gd name="T1" fmla="*/ 0 h 7"/>
                    <a:gd name="T2" fmla="*/ 0 w 6"/>
                    <a:gd name="T3" fmla="*/ 1 h 7"/>
                    <a:gd name="T4" fmla="*/ 1 w 6"/>
                    <a:gd name="T5" fmla="*/ 7 h 7"/>
                    <a:gd name="T6" fmla="*/ 2 w 6"/>
                    <a:gd name="T7" fmla="*/ 7 h 7"/>
                    <a:gd name="T8" fmla="*/ 6 w 6"/>
                    <a:gd name="T9" fmla="*/ 1 h 7"/>
                    <a:gd name="T10" fmla="*/ 2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2" y="0"/>
                      </a:moveTo>
                      <a:cubicBezTo>
                        <a:pt x="2" y="0"/>
                        <a:pt x="1" y="1"/>
                        <a:pt x="0" y="1"/>
                      </a:cubicBezTo>
                      <a:cubicBezTo>
                        <a:pt x="0" y="2"/>
                        <a:pt x="0" y="6"/>
                        <a:pt x="1" y="7"/>
                      </a:cubicBezTo>
                      <a:cubicBezTo>
                        <a:pt x="1" y="7"/>
                        <a:pt x="2" y="7"/>
                        <a:pt x="2" y="7"/>
                      </a:cubicBezTo>
                      <a:cubicBezTo>
                        <a:pt x="4" y="7"/>
                        <a:pt x="5" y="3"/>
                        <a:pt x="6" y="1"/>
                      </a:cubicBezTo>
                      <a:cubicBezTo>
                        <a:pt x="5"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19" name="Freeform 99">
                  <a:extLst>
                    <a:ext uri="{FF2B5EF4-FFF2-40B4-BE49-F238E27FC236}">
                      <a16:creationId xmlns:a16="http://schemas.microsoft.com/office/drawing/2014/main" id="{F01B3D8F-32FA-4865-8ABA-688CFAFC79FD}"/>
                    </a:ext>
                  </a:extLst>
                </p:cNvPr>
                <p:cNvSpPr>
                  <a:spLocks/>
                </p:cNvSpPr>
                <p:nvPr/>
              </p:nvSpPr>
              <p:spPr bwMode="auto">
                <a:xfrm>
                  <a:off x="5575580" y="1525639"/>
                  <a:ext cx="62647" cy="40536"/>
                </a:xfrm>
                <a:custGeom>
                  <a:avLst/>
                  <a:gdLst>
                    <a:gd name="T0" fmla="*/ 14 w 20"/>
                    <a:gd name="T1" fmla="*/ 0 h 13"/>
                    <a:gd name="T2" fmla="*/ 13 w 20"/>
                    <a:gd name="T3" fmla="*/ 1 h 13"/>
                    <a:gd name="T4" fmla="*/ 10 w 20"/>
                    <a:gd name="T5" fmla="*/ 3 h 13"/>
                    <a:gd name="T6" fmla="*/ 4 w 20"/>
                    <a:gd name="T7" fmla="*/ 5 h 13"/>
                    <a:gd name="T8" fmla="*/ 6 w 20"/>
                    <a:gd name="T9" fmla="*/ 6 h 13"/>
                    <a:gd name="T10" fmla="*/ 3 w 20"/>
                    <a:gd name="T11" fmla="*/ 13 h 13"/>
                    <a:gd name="T12" fmla="*/ 5 w 20"/>
                    <a:gd name="T13" fmla="*/ 11 h 13"/>
                    <a:gd name="T14" fmla="*/ 6 w 20"/>
                    <a:gd name="T15" fmla="*/ 12 h 13"/>
                    <a:gd name="T16" fmla="*/ 8 w 20"/>
                    <a:gd name="T17" fmla="*/ 12 h 13"/>
                    <a:gd name="T18" fmla="*/ 10 w 20"/>
                    <a:gd name="T19" fmla="*/ 11 h 13"/>
                    <a:gd name="T20" fmla="*/ 20 w 20"/>
                    <a:gd name="T21" fmla="*/ 4 h 13"/>
                    <a:gd name="T22" fmla="*/ 18 w 20"/>
                    <a:gd name="T23" fmla="*/ 3 h 13"/>
                    <a:gd name="T24" fmla="*/ 18 w 20"/>
                    <a:gd name="T25" fmla="*/ 3 h 13"/>
                    <a:gd name="T26" fmla="*/ 18 w 20"/>
                    <a:gd name="T27" fmla="*/ 3 h 13"/>
                    <a:gd name="T28" fmla="*/ 17 w 20"/>
                    <a:gd name="T29" fmla="*/ 2 h 13"/>
                    <a:gd name="T30" fmla="*/ 16 w 20"/>
                    <a:gd name="T31" fmla="*/ 2 h 13"/>
                    <a:gd name="T32" fmla="*/ 16 w 20"/>
                    <a:gd name="T33" fmla="*/ 2 h 13"/>
                    <a:gd name="T34" fmla="*/ 14 w 20"/>
                    <a:gd name="T3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13">
                      <a:moveTo>
                        <a:pt x="14" y="0"/>
                      </a:moveTo>
                      <a:cubicBezTo>
                        <a:pt x="14" y="0"/>
                        <a:pt x="14" y="0"/>
                        <a:pt x="13" y="1"/>
                      </a:cubicBezTo>
                      <a:cubicBezTo>
                        <a:pt x="12" y="1"/>
                        <a:pt x="11" y="2"/>
                        <a:pt x="10" y="3"/>
                      </a:cubicBezTo>
                      <a:cubicBezTo>
                        <a:pt x="8" y="4"/>
                        <a:pt x="6" y="4"/>
                        <a:pt x="4" y="5"/>
                      </a:cubicBezTo>
                      <a:cubicBezTo>
                        <a:pt x="4" y="5"/>
                        <a:pt x="5" y="5"/>
                        <a:pt x="6" y="6"/>
                      </a:cubicBezTo>
                      <a:cubicBezTo>
                        <a:pt x="1" y="7"/>
                        <a:pt x="0" y="9"/>
                        <a:pt x="3" y="13"/>
                      </a:cubicBezTo>
                      <a:cubicBezTo>
                        <a:pt x="3" y="12"/>
                        <a:pt x="4" y="11"/>
                        <a:pt x="5" y="11"/>
                      </a:cubicBezTo>
                      <a:cubicBezTo>
                        <a:pt x="5" y="11"/>
                        <a:pt x="6" y="12"/>
                        <a:pt x="6" y="12"/>
                      </a:cubicBezTo>
                      <a:cubicBezTo>
                        <a:pt x="7" y="12"/>
                        <a:pt x="8" y="12"/>
                        <a:pt x="8" y="12"/>
                      </a:cubicBezTo>
                      <a:cubicBezTo>
                        <a:pt x="9" y="12"/>
                        <a:pt x="9" y="12"/>
                        <a:pt x="10" y="11"/>
                      </a:cubicBezTo>
                      <a:cubicBezTo>
                        <a:pt x="13" y="10"/>
                        <a:pt x="17" y="7"/>
                        <a:pt x="20" y="4"/>
                      </a:cubicBezTo>
                      <a:cubicBezTo>
                        <a:pt x="20" y="4"/>
                        <a:pt x="18" y="3"/>
                        <a:pt x="18" y="3"/>
                      </a:cubicBezTo>
                      <a:cubicBezTo>
                        <a:pt x="18" y="3"/>
                        <a:pt x="18" y="3"/>
                        <a:pt x="18" y="3"/>
                      </a:cubicBezTo>
                      <a:cubicBezTo>
                        <a:pt x="18" y="3"/>
                        <a:pt x="18" y="3"/>
                        <a:pt x="18" y="3"/>
                      </a:cubicBezTo>
                      <a:cubicBezTo>
                        <a:pt x="18" y="3"/>
                        <a:pt x="17" y="3"/>
                        <a:pt x="17" y="2"/>
                      </a:cubicBezTo>
                      <a:cubicBezTo>
                        <a:pt x="16" y="2"/>
                        <a:pt x="16" y="2"/>
                        <a:pt x="16" y="2"/>
                      </a:cubicBezTo>
                      <a:cubicBezTo>
                        <a:pt x="16" y="2"/>
                        <a:pt x="16" y="2"/>
                        <a:pt x="16" y="2"/>
                      </a:cubicBezTo>
                      <a:cubicBezTo>
                        <a:pt x="15" y="1"/>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20" name="Freeform 100">
                  <a:extLst>
                    <a:ext uri="{FF2B5EF4-FFF2-40B4-BE49-F238E27FC236}">
                      <a16:creationId xmlns:a16="http://schemas.microsoft.com/office/drawing/2014/main" id="{234DFAB8-9A1E-4392-95A2-0F877F53B6E7}"/>
                    </a:ext>
                  </a:extLst>
                </p:cNvPr>
                <p:cNvSpPr>
                  <a:spLocks/>
                </p:cNvSpPr>
                <p:nvPr/>
              </p:nvSpPr>
              <p:spPr bwMode="auto">
                <a:xfrm>
                  <a:off x="5516618" y="1562490"/>
                  <a:ext cx="36851" cy="44221"/>
                </a:xfrm>
                <a:custGeom>
                  <a:avLst/>
                  <a:gdLst>
                    <a:gd name="T0" fmla="*/ 8 w 11"/>
                    <a:gd name="T1" fmla="*/ 0 h 14"/>
                    <a:gd name="T2" fmla="*/ 5 w 11"/>
                    <a:gd name="T3" fmla="*/ 5 h 14"/>
                    <a:gd name="T4" fmla="*/ 0 w 11"/>
                    <a:gd name="T5" fmla="*/ 14 h 14"/>
                    <a:gd name="T6" fmla="*/ 9 w 11"/>
                    <a:gd name="T7" fmla="*/ 8 h 14"/>
                    <a:gd name="T8" fmla="*/ 8 w 11"/>
                    <a:gd name="T9" fmla="*/ 4 h 14"/>
                    <a:gd name="T10" fmla="*/ 9 w 11"/>
                    <a:gd name="T11" fmla="*/ 1 h 14"/>
                    <a:gd name="T12" fmla="*/ 8 w 11"/>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1" h="14">
                      <a:moveTo>
                        <a:pt x="8" y="0"/>
                      </a:moveTo>
                      <a:cubicBezTo>
                        <a:pt x="7" y="0"/>
                        <a:pt x="5" y="4"/>
                        <a:pt x="5" y="5"/>
                      </a:cubicBezTo>
                      <a:cubicBezTo>
                        <a:pt x="3" y="7"/>
                        <a:pt x="0" y="11"/>
                        <a:pt x="0" y="14"/>
                      </a:cubicBezTo>
                      <a:cubicBezTo>
                        <a:pt x="3" y="14"/>
                        <a:pt x="7" y="11"/>
                        <a:pt x="9" y="8"/>
                      </a:cubicBezTo>
                      <a:cubicBezTo>
                        <a:pt x="11" y="6"/>
                        <a:pt x="7" y="6"/>
                        <a:pt x="8" y="4"/>
                      </a:cubicBezTo>
                      <a:cubicBezTo>
                        <a:pt x="8" y="3"/>
                        <a:pt x="9" y="2"/>
                        <a:pt x="9" y="1"/>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21" name="Freeform 101">
                  <a:extLst>
                    <a:ext uri="{FF2B5EF4-FFF2-40B4-BE49-F238E27FC236}">
                      <a16:creationId xmlns:a16="http://schemas.microsoft.com/office/drawing/2014/main" id="{DF543680-E104-4ED4-9A0F-99624316A28A}"/>
                    </a:ext>
                  </a:extLst>
                </p:cNvPr>
                <p:cNvSpPr>
                  <a:spLocks/>
                </p:cNvSpPr>
                <p:nvPr/>
              </p:nvSpPr>
              <p:spPr bwMode="auto">
                <a:xfrm>
                  <a:off x="6489489" y="1146072"/>
                  <a:ext cx="44221" cy="29481"/>
                </a:xfrm>
                <a:custGeom>
                  <a:avLst/>
                  <a:gdLst>
                    <a:gd name="T0" fmla="*/ 3 w 14"/>
                    <a:gd name="T1" fmla="*/ 0 h 10"/>
                    <a:gd name="T2" fmla="*/ 2 w 14"/>
                    <a:gd name="T3" fmla="*/ 9 h 10"/>
                    <a:gd name="T4" fmla="*/ 9 w 14"/>
                    <a:gd name="T5" fmla="*/ 10 h 10"/>
                    <a:gd name="T6" fmla="*/ 12 w 14"/>
                    <a:gd name="T7" fmla="*/ 9 h 10"/>
                    <a:gd name="T8" fmla="*/ 6 w 14"/>
                    <a:gd name="T9" fmla="*/ 1 h 10"/>
                    <a:gd name="T10" fmla="*/ 3 w 14"/>
                    <a:gd name="T11" fmla="*/ 0 h 10"/>
                  </a:gdLst>
                  <a:ahLst/>
                  <a:cxnLst>
                    <a:cxn ang="0">
                      <a:pos x="T0" y="T1"/>
                    </a:cxn>
                    <a:cxn ang="0">
                      <a:pos x="T2" y="T3"/>
                    </a:cxn>
                    <a:cxn ang="0">
                      <a:pos x="T4" y="T5"/>
                    </a:cxn>
                    <a:cxn ang="0">
                      <a:pos x="T6" y="T7"/>
                    </a:cxn>
                    <a:cxn ang="0">
                      <a:pos x="T8" y="T9"/>
                    </a:cxn>
                    <a:cxn ang="0">
                      <a:pos x="T10" y="T11"/>
                    </a:cxn>
                  </a:cxnLst>
                  <a:rect l="0" t="0" r="r" b="b"/>
                  <a:pathLst>
                    <a:path w="14" h="10">
                      <a:moveTo>
                        <a:pt x="3" y="0"/>
                      </a:moveTo>
                      <a:cubicBezTo>
                        <a:pt x="0" y="0"/>
                        <a:pt x="2" y="5"/>
                        <a:pt x="2" y="9"/>
                      </a:cubicBezTo>
                      <a:cubicBezTo>
                        <a:pt x="3" y="9"/>
                        <a:pt x="7" y="10"/>
                        <a:pt x="9" y="10"/>
                      </a:cubicBezTo>
                      <a:cubicBezTo>
                        <a:pt x="11" y="10"/>
                        <a:pt x="12" y="10"/>
                        <a:pt x="12" y="9"/>
                      </a:cubicBezTo>
                      <a:cubicBezTo>
                        <a:pt x="14" y="3"/>
                        <a:pt x="12" y="4"/>
                        <a:pt x="6" y="1"/>
                      </a:cubicBezTo>
                      <a:cubicBezTo>
                        <a:pt x="5"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22" name="Freeform 102">
                  <a:extLst>
                    <a:ext uri="{FF2B5EF4-FFF2-40B4-BE49-F238E27FC236}">
                      <a16:creationId xmlns:a16="http://schemas.microsoft.com/office/drawing/2014/main" id="{70BA1792-7838-4249-9DD4-C51096191132}"/>
                    </a:ext>
                  </a:extLst>
                </p:cNvPr>
                <p:cNvSpPr>
                  <a:spLocks/>
                </p:cNvSpPr>
                <p:nvPr/>
              </p:nvSpPr>
              <p:spPr bwMode="auto">
                <a:xfrm>
                  <a:off x="4842242" y="2723301"/>
                  <a:ext cx="36851" cy="25796"/>
                </a:xfrm>
                <a:custGeom>
                  <a:avLst/>
                  <a:gdLst>
                    <a:gd name="T0" fmla="*/ 7 w 11"/>
                    <a:gd name="T1" fmla="*/ 0 h 8"/>
                    <a:gd name="T2" fmla="*/ 0 w 11"/>
                    <a:gd name="T3" fmla="*/ 4 h 8"/>
                    <a:gd name="T4" fmla="*/ 5 w 11"/>
                    <a:gd name="T5" fmla="*/ 8 h 8"/>
                    <a:gd name="T6" fmla="*/ 5 w 11"/>
                    <a:gd name="T7" fmla="*/ 8 h 8"/>
                    <a:gd name="T8" fmla="*/ 9 w 11"/>
                    <a:gd name="T9" fmla="*/ 1 h 8"/>
                    <a:gd name="T10" fmla="*/ 7 w 11"/>
                    <a:gd name="T11" fmla="*/ 0 h 8"/>
                  </a:gdLst>
                  <a:ahLst/>
                  <a:cxnLst>
                    <a:cxn ang="0">
                      <a:pos x="T0" y="T1"/>
                    </a:cxn>
                    <a:cxn ang="0">
                      <a:pos x="T2" y="T3"/>
                    </a:cxn>
                    <a:cxn ang="0">
                      <a:pos x="T4" y="T5"/>
                    </a:cxn>
                    <a:cxn ang="0">
                      <a:pos x="T6" y="T7"/>
                    </a:cxn>
                    <a:cxn ang="0">
                      <a:pos x="T8" y="T9"/>
                    </a:cxn>
                    <a:cxn ang="0">
                      <a:pos x="T10" y="T11"/>
                    </a:cxn>
                  </a:cxnLst>
                  <a:rect l="0" t="0" r="r" b="b"/>
                  <a:pathLst>
                    <a:path w="11" h="8">
                      <a:moveTo>
                        <a:pt x="7" y="0"/>
                      </a:moveTo>
                      <a:cubicBezTo>
                        <a:pt x="4" y="0"/>
                        <a:pt x="2" y="4"/>
                        <a:pt x="0" y="4"/>
                      </a:cubicBezTo>
                      <a:cubicBezTo>
                        <a:pt x="2" y="6"/>
                        <a:pt x="3" y="7"/>
                        <a:pt x="5" y="8"/>
                      </a:cubicBezTo>
                      <a:cubicBezTo>
                        <a:pt x="5" y="8"/>
                        <a:pt x="5" y="8"/>
                        <a:pt x="5" y="8"/>
                      </a:cubicBezTo>
                      <a:cubicBezTo>
                        <a:pt x="8" y="8"/>
                        <a:pt x="11" y="3"/>
                        <a:pt x="9" y="1"/>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23" name="Freeform 103">
                  <a:extLst>
                    <a:ext uri="{FF2B5EF4-FFF2-40B4-BE49-F238E27FC236}">
                      <a16:creationId xmlns:a16="http://schemas.microsoft.com/office/drawing/2014/main" id="{9310A064-EF1C-4562-842F-11824814B5FC}"/>
                    </a:ext>
                  </a:extLst>
                </p:cNvPr>
                <p:cNvSpPr>
                  <a:spLocks/>
                </p:cNvSpPr>
                <p:nvPr/>
              </p:nvSpPr>
              <p:spPr bwMode="auto">
                <a:xfrm>
                  <a:off x="6633208" y="1072369"/>
                  <a:ext cx="77387" cy="36851"/>
                </a:xfrm>
                <a:custGeom>
                  <a:avLst/>
                  <a:gdLst>
                    <a:gd name="T0" fmla="*/ 13 w 24"/>
                    <a:gd name="T1" fmla="*/ 0 h 12"/>
                    <a:gd name="T2" fmla="*/ 13 w 24"/>
                    <a:gd name="T3" fmla="*/ 0 h 12"/>
                    <a:gd name="T4" fmla="*/ 10 w 24"/>
                    <a:gd name="T5" fmla="*/ 1 h 12"/>
                    <a:gd name="T6" fmla="*/ 14 w 24"/>
                    <a:gd name="T7" fmla="*/ 5 h 12"/>
                    <a:gd name="T8" fmla="*/ 13 w 24"/>
                    <a:gd name="T9" fmla="*/ 5 h 12"/>
                    <a:gd name="T10" fmla="*/ 11 w 24"/>
                    <a:gd name="T11" fmla="*/ 5 h 12"/>
                    <a:gd name="T12" fmla="*/ 8 w 24"/>
                    <a:gd name="T13" fmla="*/ 5 h 12"/>
                    <a:gd name="T14" fmla="*/ 3 w 24"/>
                    <a:gd name="T15" fmla="*/ 6 h 12"/>
                    <a:gd name="T16" fmla="*/ 5 w 24"/>
                    <a:gd name="T17" fmla="*/ 9 h 12"/>
                    <a:gd name="T18" fmla="*/ 10 w 24"/>
                    <a:gd name="T19" fmla="*/ 12 h 12"/>
                    <a:gd name="T20" fmla="*/ 11 w 24"/>
                    <a:gd name="T21" fmla="*/ 12 h 12"/>
                    <a:gd name="T22" fmla="*/ 24 w 24"/>
                    <a:gd name="T23" fmla="*/ 8 h 12"/>
                    <a:gd name="T24" fmla="*/ 23 w 24"/>
                    <a:gd name="T25" fmla="*/ 9 h 12"/>
                    <a:gd name="T26" fmla="*/ 22 w 24"/>
                    <a:gd name="T27" fmla="*/ 3 h 12"/>
                    <a:gd name="T28" fmla="*/ 20 w 24"/>
                    <a:gd name="T29" fmla="*/ 3 h 12"/>
                    <a:gd name="T30" fmla="*/ 13 w 24"/>
                    <a:gd name="T3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2">
                      <a:moveTo>
                        <a:pt x="13" y="0"/>
                      </a:moveTo>
                      <a:cubicBezTo>
                        <a:pt x="13" y="0"/>
                        <a:pt x="13" y="0"/>
                        <a:pt x="13" y="0"/>
                      </a:cubicBezTo>
                      <a:cubicBezTo>
                        <a:pt x="12" y="0"/>
                        <a:pt x="11" y="1"/>
                        <a:pt x="10" y="1"/>
                      </a:cubicBezTo>
                      <a:cubicBezTo>
                        <a:pt x="11" y="3"/>
                        <a:pt x="13" y="4"/>
                        <a:pt x="14" y="5"/>
                      </a:cubicBezTo>
                      <a:cubicBezTo>
                        <a:pt x="14" y="5"/>
                        <a:pt x="13" y="5"/>
                        <a:pt x="13" y="5"/>
                      </a:cubicBezTo>
                      <a:cubicBezTo>
                        <a:pt x="12" y="5"/>
                        <a:pt x="12" y="5"/>
                        <a:pt x="11" y="5"/>
                      </a:cubicBezTo>
                      <a:cubicBezTo>
                        <a:pt x="10" y="5"/>
                        <a:pt x="9" y="5"/>
                        <a:pt x="8" y="5"/>
                      </a:cubicBezTo>
                      <a:cubicBezTo>
                        <a:pt x="6" y="5"/>
                        <a:pt x="5" y="5"/>
                        <a:pt x="3" y="6"/>
                      </a:cubicBezTo>
                      <a:cubicBezTo>
                        <a:pt x="0" y="8"/>
                        <a:pt x="3" y="8"/>
                        <a:pt x="5" y="9"/>
                      </a:cubicBezTo>
                      <a:cubicBezTo>
                        <a:pt x="6" y="11"/>
                        <a:pt x="8" y="12"/>
                        <a:pt x="10" y="12"/>
                      </a:cubicBezTo>
                      <a:cubicBezTo>
                        <a:pt x="10" y="12"/>
                        <a:pt x="11" y="12"/>
                        <a:pt x="11" y="12"/>
                      </a:cubicBezTo>
                      <a:cubicBezTo>
                        <a:pt x="15" y="11"/>
                        <a:pt x="20" y="10"/>
                        <a:pt x="24" y="8"/>
                      </a:cubicBezTo>
                      <a:cubicBezTo>
                        <a:pt x="24" y="9"/>
                        <a:pt x="23" y="9"/>
                        <a:pt x="23" y="9"/>
                      </a:cubicBezTo>
                      <a:cubicBezTo>
                        <a:pt x="21" y="9"/>
                        <a:pt x="24" y="4"/>
                        <a:pt x="22" y="3"/>
                      </a:cubicBezTo>
                      <a:cubicBezTo>
                        <a:pt x="20" y="3"/>
                        <a:pt x="20" y="3"/>
                        <a:pt x="20" y="3"/>
                      </a:cubicBezTo>
                      <a:cubicBezTo>
                        <a:pt x="17" y="2"/>
                        <a:pt x="17"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24" name="Freeform 104">
                  <a:extLst>
                    <a:ext uri="{FF2B5EF4-FFF2-40B4-BE49-F238E27FC236}">
                      <a16:creationId xmlns:a16="http://schemas.microsoft.com/office/drawing/2014/main" id="{C1320F0E-E324-4D59-A409-7BD9CED71614}"/>
                    </a:ext>
                  </a:extLst>
                </p:cNvPr>
                <p:cNvSpPr>
                  <a:spLocks/>
                </p:cNvSpPr>
                <p:nvPr/>
              </p:nvSpPr>
              <p:spPr bwMode="auto">
                <a:xfrm>
                  <a:off x="5107571" y="2281087"/>
                  <a:ext cx="25796" cy="11055"/>
                </a:xfrm>
                <a:custGeom>
                  <a:avLst/>
                  <a:gdLst>
                    <a:gd name="T0" fmla="*/ 4 w 8"/>
                    <a:gd name="T1" fmla="*/ 0 h 3"/>
                    <a:gd name="T2" fmla="*/ 3 w 8"/>
                    <a:gd name="T3" fmla="*/ 2 h 3"/>
                    <a:gd name="T4" fmla="*/ 2 w 8"/>
                    <a:gd name="T5" fmla="*/ 1 h 3"/>
                    <a:gd name="T6" fmla="*/ 0 w 8"/>
                    <a:gd name="T7" fmla="*/ 3 h 3"/>
                    <a:gd name="T8" fmla="*/ 5 w 8"/>
                    <a:gd name="T9" fmla="*/ 3 h 3"/>
                    <a:gd name="T10" fmla="*/ 8 w 8"/>
                    <a:gd name="T11" fmla="*/ 3 h 3"/>
                    <a:gd name="T12" fmla="*/ 4 w 8"/>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8" h="3">
                      <a:moveTo>
                        <a:pt x="4" y="0"/>
                      </a:moveTo>
                      <a:cubicBezTo>
                        <a:pt x="3" y="0"/>
                        <a:pt x="3" y="0"/>
                        <a:pt x="3" y="2"/>
                      </a:cubicBezTo>
                      <a:cubicBezTo>
                        <a:pt x="3" y="1"/>
                        <a:pt x="3" y="1"/>
                        <a:pt x="2" y="1"/>
                      </a:cubicBezTo>
                      <a:cubicBezTo>
                        <a:pt x="1" y="1"/>
                        <a:pt x="1" y="1"/>
                        <a:pt x="0" y="3"/>
                      </a:cubicBezTo>
                      <a:cubicBezTo>
                        <a:pt x="2" y="3"/>
                        <a:pt x="4" y="3"/>
                        <a:pt x="5" y="3"/>
                      </a:cubicBezTo>
                      <a:cubicBezTo>
                        <a:pt x="6" y="3"/>
                        <a:pt x="7" y="3"/>
                        <a:pt x="8" y="3"/>
                      </a:cubicBezTo>
                      <a:cubicBezTo>
                        <a:pt x="7" y="2"/>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25" name="Freeform 105">
                  <a:extLst>
                    <a:ext uri="{FF2B5EF4-FFF2-40B4-BE49-F238E27FC236}">
                      <a16:creationId xmlns:a16="http://schemas.microsoft.com/office/drawing/2014/main" id="{3317EDAA-6362-4CED-98A4-27C57B4B51EB}"/>
                    </a:ext>
                  </a:extLst>
                </p:cNvPr>
                <p:cNvSpPr>
                  <a:spLocks/>
                </p:cNvSpPr>
                <p:nvPr/>
              </p:nvSpPr>
              <p:spPr bwMode="auto">
                <a:xfrm>
                  <a:off x="4820132" y="2760152"/>
                  <a:ext cx="14740" cy="29481"/>
                </a:xfrm>
                <a:custGeom>
                  <a:avLst/>
                  <a:gdLst>
                    <a:gd name="T0" fmla="*/ 2 w 5"/>
                    <a:gd name="T1" fmla="*/ 0 h 10"/>
                    <a:gd name="T2" fmla="*/ 1 w 5"/>
                    <a:gd name="T3" fmla="*/ 3 h 10"/>
                    <a:gd name="T4" fmla="*/ 2 w 5"/>
                    <a:gd name="T5" fmla="*/ 2 h 10"/>
                    <a:gd name="T6" fmla="*/ 3 w 5"/>
                    <a:gd name="T7" fmla="*/ 10 h 10"/>
                    <a:gd name="T8" fmla="*/ 5 w 5"/>
                    <a:gd name="T9" fmla="*/ 4 h 10"/>
                    <a:gd name="T10" fmla="*/ 2 w 5"/>
                    <a:gd name="T11" fmla="*/ 0 h 10"/>
                  </a:gdLst>
                  <a:ahLst/>
                  <a:cxnLst>
                    <a:cxn ang="0">
                      <a:pos x="T0" y="T1"/>
                    </a:cxn>
                    <a:cxn ang="0">
                      <a:pos x="T2" y="T3"/>
                    </a:cxn>
                    <a:cxn ang="0">
                      <a:pos x="T4" y="T5"/>
                    </a:cxn>
                    <a:cxn ang="0">
                      <a:pos x="T6" y="T7"/>
                    </a:cxn>
                    <a:cxn ang="0">
                      <a:pos x="T8" y="T9"/>
                    </a:cxn>
                    <a:cxn ang="0">
                      <a:pos x="T10" y="T11"/>
                    </a:cxn>
                  </a:cxnLst>
                  <a:rect l="0" t="0" r="r" b="b"/>
                  <a:pathLst>
                    <a:path w="5" h="10">
                      <a:moveTo>
                        <a:pt x="2" y="0"/>
                      </a:moveTo>
                      <a:cubicBezTo>
                        <a:pt x="1" y="2"/>
                        <a:pt x="0" y="2"/>
                        <a:pt x="1" y="3"/>
                      </a:cubicBezTo>
                      <a:cubicBezTo>
                        <a:pt x="2" y="2"/>
                        <a:pt x="2" y="2"/>
                        <a:pt x="2" y="2"/>
                      </a:cubicBezTo>
                      <a:cubicBezTo>
                        <a:pt x="2" y="5"/>
                        <a:pt x="2" y="8"/>
                        <a:pt x="3" y="10"/>
                      </a:cubicBezTo>
                      <a:cubicBezTo>
                        <a:pt x="5" y="9"/>
                        <a:pt x="4" y="6"/>
                        <a:pt x="5" y="4"/>
                      </a:cubicBezTo>
                      <a:cubicBezTo>
                        <a:pt x="4" y="3"/>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26" name="Freeform 106">
                  <a:extLst>
                    <a:ext uri="{FF2B5EF4-FFF2-40B4-BE49-F238E27FC236}">
                      <a16:creationId xmlns:a16="http://schemas.microsoft.com/office/drawing/2014/main" id="{0D03F104-6917-4CA9-B969-489CCC0A4C74}"/>
                    </a:ext>
                  </a:extLst>
                </p:cNvPr>
                <p:cNvSpPr>
                  <a:spLocks/>
                </p:cNvSpPr>
                <p:nvPr/>
              </p:nvSpPr>
              <p:spPr bwMode="auto">
                <a:xfrm>
                  <a:off x="5641912" y="1507213"/>
                  <a:ext cx="88443" cy="44221"/>
                </a:xfrm>
                <a:custGeom>
                  <a:avLst/>
                  <a:gdLst>
                    <a:gd name="T0" fmla="*/ 28 w 28"/>
                    <a:gd name="T1" fmla="*/ 0 h 14"/>
                    <a:gd name="T2" fmla="*/ 9 w 28"/>
                    <a:gd name="T3" fmla="*/ 3 h 14"/>
                    <a:gd name="T4" fmla="*/ 5 w 28"/>
                    <a:gd name="T5" fmla="*/ 8 h 14"/>
                    <a:gd name="T6" fmla="*/ 5 w 28"/>
                    <a:gd name="T7" fmla="*/ 8 h 14"/>
                    <a:gd name="T8" fmla="*/ 4 w 28"/>
                    <a:gd name="T9" fmla="*/ 8 h 14"/>
                    <a:gd name="T10" fmla="*/ 4 w 28"/>
                    <a:gd name="T11" fmla="*/ 8 h 14"/>
                    <a:gd name="T12" fmla="*/ 4 w 28"/>
                    <a:gd name="T13" fmla="*/ 9 h 14"/>
                    <a:gd name="T14" fmla="*/ 3 w 28"/>
                    <a:gd name="T15" fmla="*/ 11 h 14"/>
                    <a:gd name="T16" fmla="*/ 0 w 28"/>
                    <a:gd name="T17" fmla="*/ 14 h 14"/>
                    <a:gd name="T18" fmla="*/ 28 w 28"/>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14">
                      <a:moveTo>
                        <a:pt x="28" y="0"/>
                      </a:moveTo>
                      <a:cubicBezTo>
                        <a:pt x="21" y="0"/>
                        <a:pt x="15" y="2"/>
                        <a:pt x="9" y="3"/>
                      </a:cubicBezTo>
                      <a:cubicBezTo>
                        <a:pt x="8" y="5"/>
                        <a:pt x="7" y="6"/>
                        <a:pt x="5" y="8"/>
                      </a:cubicBezTo>
                      <a:cubicBezTo>
                        <a:pt x="5" y="8"/>
                        <a:pt x="5" y="8"/>
                        <a:pt x="5" y="8"/>
                      </a:cubicBezTo>
                      <a:cubicBezTo>
                        <a:pt x="4" y="8"/>
                        <a:pt x="4" y="8"/>
                        <a:pt x="4" y="8"/>
                      </a:cubicBezTo>
                      <a:cubicBezTo>
                        <a:pt x="4" y="8"/>
                        <a:pt x="4" y="8"/>
                        <a:pt x="4" y="8"/>
                      </a:cubicBezTo>
                      <a:cubicBezTo>
                        <a:pt x="3" y="8"/>
                        <a:pt x="3" y="8"/>
                        <a:pt x="4" y="9"/>
                      </a:cubicBezTo>
                      <a:cubicBezTo>
                        <a:pt x="2" y="10"/>
                        <a:pt x="3" y="10"/>
                        <a:pt x="3" y="11"/>
                      </a:cubicBezTo>
                      <a:cubicBezTo>
                        <a:pt x="1" y="11"/>
                        <a:pt x="0" y="12"/>
                        <a:pt x="0" y="14"/>
                      </a:cubicBezTo>
                      <a:cubicBezTo>
                        <a:pt x="10" y="12"/>
                        <a:pt x="22" y="8"/>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27" name="Freeform 107">
                  <a:extLst>
                    <a:ext uri="{FF2B5EF4-FFF2-40B4-BE49-F238E27FC236}">
                      <a16:creationId xmlns:a16="http://schemas.microsoft.com/office/drawing/2014/main" id="{2C863556-5F11-4481-B25C-77DBA9181795}"/>
                    </a:ext>
                  </a:extLst>
                </p:cNvPr>
                <p:cNvSpPr>
                  <a:spLocks/>
                </p:cNvSpPr>
                <p:nvPr/>
              </p:nvSpPr>
              <p:spPr bwMode="auto">
                <a:xfrm>
                  <a:off x="4705893" y="3773559"/>
                  <a:ext cx="33166" cy="18426"/>
                </a:xfrm>
                <a:custGeom>
                  <a:avLst/>
                  <a:gdLst>
                    <a:gd name="T0" fmla="*/ 2 w 11"/>
                    <a:gd name="T1" fmla="*/ 0 h 5"/>
                    <a:gd name="T2" fmla="*/ 0 w 11"/>
                    <a:gd name="T3" fmla="*/ 0 h 5"/>
                    <a:gd name="T4" fmla="*/ 5 w 11"/>
                    <a:gd name="T5" fmla="*/ 2 h 5"/>
                    <a:gd name="T6" fmla="*/ 9 w 11"/>
                    <a:gd name="T7" fmla="*/ 5 h 5"/>
                    <a:gd name="T8" fmla="*/ 11 w 11"/>
                    <a:gd name="T9" fmla="*/ 4 h 5"/>
                    <a:gd name="T10" fmla="*/ 2 w 11"/>
                    <a:gd name="T11" fmla="*/ 0 h 5"/>
                  </a:gdLst>
                  <a:ahLst/>
                  <a:cxnLst>
                    <a:cxn ang="0">
                      <a:pos x="T0" y="T1"/>
                    </a:cxn>
                    <a:cxn ang="0">
                      <a:pos x="T2" y="T3"/>
                    </a:cxn>
                    <a:cxn ang="0">
                      <a:pos x="T4" y="T5"/>
                    </a:cxn>
                    <a:cxn ang="0">
                      <a:pos x="T6" y="T7"/>
                    </a:cxn>
                    <a:cxn ang="0">
                      <a:pos x="T8" y="T9"/>
                    </a:cxn>
                    <a:cxn ang="0">
                      <a:pos x="T10" y="T11"/>
                    </a:cxn>
                  </a:cxnLst>
                  <a:rect l="0" t="0" r="r" b="b"/>
                  <a:pathLst>
                    <a:path w="11" h="5">
                      <a:moveTo>
                        <a:pt x="2" y="0"/>
                      </a:moveTo>
                      <a:cubicBezTo>
                        <a:pt x="1" y="0"/>
                        <a:pt x="1" y="0"/>
                        <a:pt x="0" y="0"/>
                      </a:cubicBezTo>
                      <a:cubicBezTo>
                        <a:pt x="2" y="1"/>
                        <a:pt x="3" y="2"/>
                        <a:pt x="5" y="2"/>
                      </a:cubicBezTo>
                      <a:cubicBezTo>
                        <a:pt x="6" y="4"/>
                        <a:pt x="7" y="5"/>
                        <a:pt x="9" y="5"/>
                      </a:cubicBezTo>
                      <a:cubicBezTo>
                        <a:pt x="10" y="5"/>
                        <a:pt x="10" y="5"/>
                        <a:pt x="11" y="4"/>
                      </a:cubicBezTo>
                      <a:cubicBezTo>
                        <a:pt x="8" y="2"/>
                        <a:pt x="5"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28" name="Freeform 108">
                  <a:extLst>
                    <a:ext uri="{FF2B5EF4-FFF2-40B4-BE49-F238E27FC236}">
                      <a16:creationId xmlns:a16="http://schemas.microsoft.com/office/drawing/2014/main" id="{75D73746-2682-4953-8111-1C66CA51F006}"/>
                    </a:ext>
                  </a:extLst>
                </p:cNvPr>
                <p:cNvSpPr>
                  <a:spLocks/>
                </p:cNvSpPr>
                <p:nvPr/>
              </p:nvSpPr>
              <p:spPr bwMode="auto">
                <a:xfrm>
                  <a:off x="4908574" y="3570878"/>
                  <a:ext cx="18426" cy="3685"/>
                </a:xfrm>
                <a:custGeom>
                  <a:avLst/>
                  <a:gdLst>
                    <a:gd name="T0" fmla="*/ 6 w 6"/>
                    <a:gd name="T1" fmla="*/ 0 h 1"/>
                    <a:gd name="T2" fmla="*/ 0 w 6"/>
                    <a:gd name="T3" fmla="*/ 1 h 1"/>
                    <a:gd name="T4" fmla="*/ 2 w 6"/>
                    <a:gd name="T5" fmla="*/ 1 h 1"/>
                    <a:gd name="T6" fmla="*/ 3 w 6"/>
                    <a:gd name="T7" fmla="*/ 1 h 1"/>
                    <a:gd name="T8" fmla="*/ 6 w 6"/>
                    <a:gd name="T9" fmla="*/ 0 h 1"/>
                  </a:gdLst>
                  <a:ahLst/>
                  <a:cxnLst>
                    <a:cxn ang="0">
                      <a:pos x="T0" y="T1"/>
                    </a:cxn>
                    <a:cxn ang="0">
                      <a:pos x="T2" y="T3"/>
                    </a:cxn>
                    <a:cxn ang="0">
                      <a:pos x="T4" y="T5"/>
                    </a:cxn>
                    <a:cxn ang="0">
                      <a:pos x="T6" y="T7"/>
                    </a:cxn>
                    <a:cxn ang="0">
                      <a:pos x="T8" y="T9"/>
                    </a:cxn>
                  </a:cxnLst>
                  <a:rect l="0" t="0" r="r" b="b"/>
                  <a:pathLst>
                    <a:path w="6" h="1">
                      <a:moveTo>
                        <a:pt x="6" y="0"/>
                      </a:moveTo>
                      <a:cubicBezTo>
                        <a:pt x="4" y="0"/>
                        <a:pt x="2" y="1"/>
                        <a:pt x="0" y="1"/>
                      </a:cubicBezTo>
                      <a:cubicBezTo>
                        <a:pt x="1" y="1"/>
                        <a:pt x="1" y="1"/>
                        <a:pt x="2" y="1"/>
                      </a:cubicBezTo>
                      <a:cubicBezTo>
                        <a:pt x="2" y="1"/>
                        <a:pt x="3" y="1"/>
                        <a:pt x="3" y="1"/>
                      </a:cubicBezTo>
                      <a:cubicBezTo>
                        <a:pt x="4" y="1"/>
                        <a:pt x="5"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29" name="Freeform 109">
                  <a:extLst>
                    <a:ext uri="{FF2B5EF4-FFF2-40B4-BE49-F238E27FC236}">
                      <a16:creationId xmlns:a16="http://schemas.microsoft.com/office/drawing/2014/main" id="{512CCEBB-189F-43E7-AAE2-E400CA77D86D}"/>
                    </a:ext>
                  </a:extLst>
                </p:cNvPr>
                <p:cNvSpPr>
                  <a:spLocks/>
                </p:cNvSpPr>
                <p:nvPr/>
              </p:nvSpPr>
              <p:spPr bwMode="auto">
                <a:xfrm>
                  <a:off x="4823817" y="3585618"/>
                  <a:ext cx="18426" cy="3685"/>
                </a:xfrm>
                <a:custGeom>
                  <a:avLst/>
                  <a:gdLst>
                    <a:gd name="T0" fmla="*/ 6 w 6"/>
                    <a:gd name="T1" fmla="*/ 0 h 2"/>
                    <a:gd name="T2" fmla="*/ 0 w 6"/>
                    <a:gd name="T3" fmla="*/ 2 h 2"/>
                    <a:gd name="T4" fmla="*/ 6 w 6"/>
                    <a:gd name="T5" fmla="*/ 0 h 2"/>
                  </a:gdLst>
                  <a:ahLst/>
                  <a:cxnLst>
                    <a:cxn ang="0">
                      <a:pos x="T0" y="T1"/>
                    </a:cxn>
                    <a:cxn ang="0">
                      <a:pos x="T2" y="T3"/>
                    </a:cxn>
                    <a:cxn ang="0">
                      <a:pos x="T4" y="T5"/>
                    </a:cxn>
                  </a:cxnLst>
                  <a:rect l="0" t="0" r="r" b="b"/>
                  <a:pathLst>
                    <a:path w="6" h="2">
                      <a:moveTo>
                        <a:pt x="6" y="0"/>
                      </a:moveTo>
                      <a:cubicBezTo>
                        <a:pt x="4" y="1"/>
                        <a:pt x="2" y="1"/>
                        <a:pt x="0" y="2"/>
                      </a:cubicBezTo>
                      <a:cubicBezTo>
                        <a:pt x="2" y="1"/>
                        <a:pt x="4"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30" name="Freeform 110">
                  <a:extLst>
                    <a:ext uri="{FF2B5EF4-FFF2-40B4-BE49-F238E27FC236}">
                      <a16:creationId xmlns:a16="http://schemas.microsoft.com/office/drawing/2014/main" id="{2D949CE0-C926-46A2-B024-CA7ECCA3A043}"/>
                    </a:ext>
                  </a:extLst>
                </p:cNvPr>
                <p:cNvSpPr>
                  <a:spLocks/>
                </p:cNvSpPr>
                <p:nvPr/>
              </p:nvSpPr>
              <p:spPr bwMode="auto">
                <a:xfrm>
                  <a:off x="4783280" y="3611414"/>
                  <a:ext cx="18426" cy="22111"/>
                </a:xfrm>
                <a:custGeom>
                  <a:avLst/>
                  <a:gdLst>
                    <a:gd name="T0" fmla="*/ 4 w 6"/>
                    <a:gd name="T1" fmla="*/ 0 h 7"/>
                    <a:gd name="T2" fmla="*/ 0 w 6"/>
                    <a:gd name="T3" fmla="*/ 7 h 7"/>
                    <a:gd name="T4" fmla="*/ 4 w 6"/>
                    <a:gd name="T5" fmla="*/ 0 h 7"/>
                  </a:gdLst>
                  <a:ahLst/>
                  <a:cxnLst>
                    <a:cxn ang="0">
                      <a:pos x="T0" y="T1"/>
                    </a:cxn>
                    <a:cxn ang="0">
                      <a:pos x="T2" y="T3"/>
                    </a:cxn>
                    <a:cxn ang="0">
                      <a:pos x="T4" y="T5"/>
                    </a:cxn>
                  </a:cxnLst>
                  <a:rect l="0" t="0" r="r" b="b"/>
                  <a:pathLst>
                    <a:path w="6" h="7">
                      <a:moveTo>
                        <a:pt x="4" y="0"/>
                      </a:moveTo>
                      <a:cubicBezTo>
                        <a:pt x="3" y="2"/>
                        <a:pt x="2" y="4"/>
                        <a:pt x="0" y="7"/>
                      </a:cubicBezTo>
                      <a:cubicBezTo>
                        <a:pt x="3" y="5"/>
                        <a:pt x="6"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31" name="Freeform 111">
                  <a:extLst>
                    <a:ext uri="{FF2B5EF4-FFF2-40B4-BE49-F238E27FC236}">
                      <a16:creationId xmlns:a16="http://schemas.microsoft.com/office/drawing/2014/main" id="{53B6C25C-C988-4FC8-B6E9-7003576DD00E}"/>
                    </a:ext>
                  </a:extLst>
                </p:cNvPr>
                <p:cNvSpPr>
                  <a:spLocks/>
                </p:cNvSpPr>
                <p:nvPr/>
              </p:nvSpPr>
              <p:spPr bwMode="auto">
                <a:xfrm>
                  <a:off x="4687467" y="3784614"/>
                  <a:ext cx="36851" cy="14740"/>
                </a:xfrm>
                <a:custGeom>
                  <a:avLst/>
                  <a:gdLst>
                    <a:gd name="T0" fmla="*/ 5 w 11"/>
                    <a:gd name="T1" fmla="*/ 0 h 5"/>
                    <a:gd name="T2" fmla="*/ 0 w 11"/>
                    <a:gd name="T3" fmla="*/ 2 h 5"/>
                    <a:gd name="T4" fmla="*/ 3 w 11"/>
                    <a:gd name="T5" fmla="*/ 3 h 5"/>
                    <a:gd name="T6" fmla="*/ 3 w 11"/>
                    <a:gd name="T7" fmla="*/ 3 h 5"/>
                    <a:gd name="T8" fmla="*/ 4 w 11"/>
                    <a:gd name="T9" fmla="*/ 3 h 5"/>
                    <a:gd name="T10" fmla="*/ 6 w 11"/>
                    <a:gd name="T11" fmla="*/ 3 h 5"/>
                    <a:gd name="T12" fmla="*/ 10 w 11"/>
                    <a:gd name="T13" fmla="*/ 5 h 5"/>
                    <a:gd name="T14" fmla="*/ 11 w 11"/>
                    <a:gd name="T15" fmla="*/ 3 h 5"/>
                    <a:gd name="T16" fmla="*/ 5 w 11"/>
                    <a:gd name="T17" fmla="*/ 0 h 5"/>
                    <a:gd name="T18" fmla="*/ 5 w 11"/>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5">
                      <a:moveTo>
                        <a:pt x="5" y="0"/>
                      </a:moveTo>
                      <a:cubicBezTo>
                        <a:pt x="3" y="0"/>
                        <a:pt x="2" y="1"/>
                        <a:pt x="0" y="2"/>
                      </a:cubicBezTo>
                      <a:cubicBezTo>
                        <a:pt x="1" y="3"/>
                        <a:pt x="2" y="3"/>
                        <a:pt x="3" y="3"/>
                      </a:cubicBezTo>
                      <a:cubicBezTo>
                        <a:pt x="3" y="3"/>
                        <a:pt x="3" y="3"/>
                        <a:pt x="3" y="3"/>
                      </a:cubicBezTo>
                      <a:cubicBezTo>
                        <a:pt x="4" y="3"/>
                        <a:pt x="4" y="3"/>
                        <a:pt x="4" y="3"/>
                      </a:cubicBezTo>
                      <a:cubicBezTo>
                        <a:pt x="5" y="3"/>
                        <a:pt x="5" y="3"/>
                        <a:pt x="6" y="3"/>
                      </a:cubicBezTo>
                      <a:cubicBezTo>
                        <a:pt x="6" y="3"/>
                        <a:pt x="9" y="5"/>
                        <a:pt x="10" y="5"/>
                      </a:cubicBezTo>
                      <a:cubicBezTo>
                        <a:pt x="11" y="5"/>
                        <a:pt x="11" y="4"/>
                        <a:pt x="11" y="3"/>
                      </a:cubicBezTo>
                      <a:cubicBezTo>
                        <a:pt x="10" y="2"/>
                        <a:pt x="6" y="1"/>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32" name="Freeform 112">
                  <a:extLst>
                    <a:ext uri="{FF2B5EF4-FFF2-40B4-BE49-F238E27FC236}">
                      <a16:creationId xmlns:a16="http://schemas.microsoft.com/office/drawing/2014/main" id="{2984F0F8-A548-4B4F-A363-09DC190CD923}"/>
                    </a:ext>
                  </a:extLst>
                </p:cNvPr>
                <p:cNvSpPr>
                  <a:spLocks/>
                </p:cNvSpPr>
                <p:nvPr/>
              </p:nvSpPr>
              <p:spPr bwMode="auto">
                <a:xfrm>
                  <a:off x="5649283" y="5531359"/>
                  <a:ext cx="18426" cy="18426"/>
                </a:xfrm>
                <a:custGeom>
                  <a:avLst/>
                  <a:gdLst>
                    <a:gd name="T0" fmla="*/ 0 w 5"/>
                    <a:gd name="T1" fmla="*/ 0 h 6"/>
                    <a:gd name="T2" fmla="*/ 0 w 5"/>
                    <a:gd name="T3" fmla="*/ 0 h 6"/>
                    <a:gd name="T4" fmla="*/ 5 w 5"/>
                    <a:gd name="T5" fmla="*/ 6 h 6"/>
                    <a:gd name="T6" fmla="*/ 0 w 5"/>
                    <a:gd name="T7" fmla="*/ 0 h 6"/>
                  </a:gdLst>
                  <a:ahLst/>
                  <a:cxnLst>
                    <a:cxn ang="0">
                      <a:pos x="T0" y="T1"/>
                    </a:cxn>
                    <a:cxn ang="0">
                      <a:pos x="T2" y="T3"/>
                    </a:cxn>
                    <a:cxn ang="0">
                      <a:pos x="T4" y="T5"/>
                    </a:cxn>
                    <a:cxn ang="0">
                      <a:pos x="T6" y="T7"/>
                    </a:cxn>
                  </a:cxnLst>
                  <a:rect l="0" t="0" r="r" b="b"/>
                  <a:pathLst>
                    <a:path w="5" h="6">
                      <a:moveTo>
                        <a:pt x="0" y="0"/>
                      </a:moveTo>
                      <a:cubicBezTo>
                        <a:pt x="0" y="0"/>
                        <a:pt x="0" y="0"/>
                        <a:pt x="0" y="0"/>
                      </a:cubicBezTo>
                      <a:cubicBezTo>
                        <a:pt x="1" y="2"/>
                        <a:pt x="3" y="4"/>
                        <a:pt x="5" y="6"/>
                      </a:cubicBezTo>
                      <a:cubicBezTo>
                        <a:pt x="4" y="0"/>
                        <a:pt x="2"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33" name="Freeform 113">
                  <a:extLst>
                    <a:ext uri="{FF2B5EF4-FFF2-40B4-BE49-F238E27FC236}">
                      <a16:creationId xmlns:a16="http://schemas.microsoft.com/office/drawing/2014/main" id="{4426D1A6-9180-48A8-9254-D301DFAF4EB8}"/>
                    </a:ext>
                  </a:extLst>
                </p:cNvPr>
                <p:cNvSpPr>
                  <a:spLocks/>
                </p:cNvSpPr>
                <p:nvPr/>
              </p:nvSpPr>
              <p:spPr bwMode="auto">
                <a:xfrm>
                  <a:off x="4149441" y="4079424"/>
                  <a:ext cx="22111" cy="11055"/>
                </a:xfrm>
                <a:custGeom>
                  <a:avLst/>
                  <a:gdLst>
                    <a:gd name="T0" fmla="*/ 2 w 7"/>
                    <a:gd name="T1" fmla="*/ 0 h 3"/>
                    <a:gd name="T2" fmla="*/ 6 w 7"/>
                    <a:gd name="T3" fmla="*/ 3 h 3"/>
                    <a:gd name="T4" fmla="*/ 7 w 7"/>
                    <a:gd name="T5" fmla="*/ 3 h 3"/>
                    <a:gd name="T6" fmla="*/ 6 w 7"/>
                    <a:gd name="T7" fmla="*/ 0 h 3"/>
                    <a:gd name="T8" fmla="*/ 2 w 7"/>
                    <a:gd name="T9" fmla="*/ 0 h 3"/>
                  </a:gdLst>
                  <a:ahLst/>
                  <a:cxnLst>
                    <a:cxn ang="0">
                      <a:pos x="T0" y="T1"/>
                    </a:cxn>
                    <a:cxn ang="0">
                      <a:pos x="T2" y="T3"/>
                    </a:cxn>
                    <a:cxn ang="0">
                      <a:pos x="T4" y="T5"/>
                    </a:cxn>
                    <a:cxn ang="0">
                      <a:pos x="T6" y="T7"/>
                    </a:cxn>
                    <a:cxn ang="0">
                      <a:pos x="T8" y="T9"/>
                    </a:cxn>
                  </a:cxnLst>
                  <a:rect l="0" t="0" r="r" b="b"/>
                  <a:pathLst>
                    <a:path w="7" h="3">
                      <a:moveTo>
                        <a:pt x="2" y="0"/>
                      </a:moveTo>
                      <a:cubicBezTo>
                        <a:pt x="0" y="2"/>
                        <a:pt x="4" y="3"/>
                        <a:pt x="6" y="3"/>
                      </a:cubicBezTo>
                      <a:cubicBezTo>
                        <a:pt x="6" y="3"/>
                        <a:pt x="7" y="3"/>
                        <a:pt x="7" y="3"/>
                      </a:cubicBezTo>
                      <a:cubicBezTo>
                        <a:pt x="7" y="2"/>
                        <a:pt x="6" y="1"/>
                        <a:pt x="6"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34" name="Freeform 114">
                  <a:extLst>
                    <a:ext uri="{FF2B5EF4-FFF2-40B4-BE49-F238E27FC236}">
                      <a16:creationId xmlns:a16="http://schemas.microsoft.com/office/drawing/2014/main" id="{3D6AF797-97F0-46BA-ADE6-264B0C75F128}"/>
                    </a:ext>
                  </a:extLst>
                </p:cNvPr>
                <p:cNvSpPr>
                  <a:spLocks/>
                </p:cNvSpPr>
                <p:nvPr/>
              </p:nvSpPr>
              <p:spPr bwMode="auto">
                <a:xfrm>
                  <a:off x="5092830" y="4974907"/>
                  <a:ext cx="147405" cy="257958"/>
                </a:xfrm>
                <a:custGeom>
                  <a:avLst/>
                  <a:gdLst>
                    <a:gd name="T0" fmla="*/ 30 w 47"/>
                    <a:gd name="T1" fmla="*/ 0 h 81"/>
                    <a:gd name="T2" fmla="*/ 8 w 47"/>
                    <a:gd name="T3" fmla="*/ 15 h 81"/>
                    <a:gd name="T4" fmla="*/ 8 w 47"/>
                    <a:gd name="T5" fmla="*/ 15 h 81"/>
                    <a:gd name="T6" fmla="*/ 1 w 47"/>
                    <a:gd name="T7" fmla="*/ 11 h 81"/>
                    <a:gd name="T8" fmla="*/ 0 w 47"/>
                    <a:gd name="T9" fmla="*/ 16 h 81"/>
                    <a:gd name="T10" fmla="*/ 0 w 47"/>
                    <a:gd name="T11" fmla="*/ 19 h 81"/>
                    <a:gd name="T12" fmla="*/ 0 w 47"/>
                    <a:gd name="T13" fmla="*/ 23 h 81"/>
                    <a:gd name="T14" fmla="*/ 1 w 47"/>
                    <a:gd name="T15" fmla="*/ 23 h 81"/>
                    <a:gd name="T16" fmla="*/ 4 w 47"/>
                    <a:gd name="T17" fmla="*/ 24 h 81"/>
                    <a:gd name="T18" fmla="*/ 7 w 47"/>
                    <a:gd name="T19" fmla="*/ 30 h 81"/>
                    <a:gd name="T20" fmla="*/ 7 w 47"/>
                    <a:gd name="T21" fmla="*/ 40 h 81"/>
                    <a:gd name="T22" fmla="*/ 7 w 47"/>
                    <a:gd name="T23" fmla="*/ 43 h 81"/>
                    <a:gd name="T24" fmla="*/ 11 w 47"/>
                    <a:gd name="T25" fmla="*/ 53 h 81"/>
                    <a:gd name="T26" fmla="*/ 11 w 47"/>
                    <a:gd name="T27" fmla="*/ 52 h 81"/>
                    <a:gd name="T28" fmla="*/ 9 w 47"/>
                    <a:gd name="T29" fmla="*/ 55 h 81"/>
                    <a:gd name="T30" fmla="*/ 8 w 47"/>
                    <a:gd name="T31" fmla="*/ 58 h 81"/>
                    <a:gd name="T32" fmla="*/ 8 w 47"/>
                    <a:gd name="T33" fmla="*/ 58 h 81"/>
                    <a:gd name="T34" fmla="*/ 7 w 47"/>
                    <a:gd name="T35" fmla="*/ 59 h 81"/>
                    <a:gd name="T36" fmla="*/ 6 w 47"/>
                    <a:gd name="T37" fmla="*/ 73 h 81"/>
                    <a:gd name="T38" fmla="*/ 6 w 47"/>
                    <a:gd name="T39" fmla="*/ 73 h 81"/>
                    <a:gd name="T40" fmla="*/ 14 w 47"/>
                    <a:gd name="T41" fmla="*/ 80 h 81"/>
                    <a:gd name="T42" fmla="*/ 16 w 47"/>
                    <a:gd name="T43" fmla="*/ 81 h 81"/>
                    <a:gd name="T44" fmla="*/ 21 w 47"/>
                    <a:gd name="T45" fmla="*/ 80 h 81"/>
                    <a:gd name="T46" fmla="*/ 26 w 47"/>
                    <a:gd name="T47" fmla="*/ 69 h 81"/>
                    <a:gd name="T48" fmla="*/ 28 w 47"/>
                    <a:gd name="T49" fmla="*/ 70 h 81"/>
                    <a:gd name="T50" fmla="*/ 28 w 47"/>
                    <a:gd name="T51" fmla="*/ 70 h 81"/>
                    <a:gd name="T52" fmla="*/ 30 w 47"/>
                    <a:gd name="T53" fmla="*/ 69 h 81"/>
                    <a:gd name="T54" fmla="*/ 31 w 47"/>
                    <a:gd name="T55" fmla="*/ 69 h 81"/>
                    <a:gd name="T56" fmla="*/ 31 w 47"/>
                    <a:gd name="T57" fmla="*/ 69 h 81"/>
                    <a:gd name="T58" fmla="*/ 34 w 47"/>
                    <a:gd name="T59" fmla="*/ 70 h 81"/>
                    <a:gd name="T60" fmla="*/ 39 w 47"/>
                    <a:gd name="T61" fmla="*/ 73 h 81"/>
                    <a:gd name="T62" fmla="*/ 47 w 47"/>
                    <a:gd name="T63" fmla="*/ 28 h 81"/>
                    <a:gd name="T64" fmla="*/ 46 w 47"/>
                    <a:gd name="T65" fmla="*/ 22 h 81"/>
                    <a:gd name="T66" fmla="*/ 43 w 47"/>
                    <a:gd name="T67" fmla="*/ 14 h 81"/>
                    <a:gd name="T68" fmla="*/ 38 w 47"/>
                    <a:gd name="T69" fmla="*/ 12 h 81"/>
                    <a:gd name="T70" fmla="*/ 39 w 47"/>
                    <a:gd name="T71" fmla="*/ 4 h 81"/>
                    <a:gd name="T72" fmla="*/ 38 w 47"/>
                    <a:gd name="T73" fmla="*/ 4 h 81"/>
                    <a:gd name="T74" fmla="*/ 30 w 47"/>
                    <a:gd name="T75"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 h="81">
                      <a:moveTo>
                        <a:pt x="30" y="0"/>
                      </a:moveTo>
                      <a:cubicBezTo>
                        <a:pt x="25" y="5"/>
                        <a:pt x="16" y="15"/>
                        <a:pt x="8" y="15"/>
                      </a:cubicBezTo>
                      <a:cubicBezTo>
                        <a:pt x="8" y="15"/>
                        <a:pt x="8" y="15"/>
                        <a:pt x="8" y="15"/>
                      </a:cubicBezTo>
                      <a:cubicBezTo>
                        <a:pt x="4" y="15"/>
                        <a:pt x="4" y="13"/>
                        <a:pt x="1" y="11"/>
                      </a:cubicBezTo>
                      <a:cubicBezTo>
                        <a:pt x="2" y="13"/>
                        <a:pt x="1" y="13"/>
                        <a:pt x="0" y="16"/>
                      </a:cubicBezTo>
                      <a:cubicBezTo>
                        <a:pt x="0" y="18"/>
                        <a:pt x="1" y="18"/>
                        <a:pt x="0" y="19"/>
                      </a:cubicBezTo>
                      <a:cubicBezTo>
                        <a:pt x="0" y="20"/>
                        <a:pt x="0" y="22"/>
                        <a:pt x="0" y="23"/>
                      </a:cubicBezTo>
                      <a:cubicBezTo>
                        <a:pt x="0" y="23"/>
                        <a:pt x="1" y="23"/>
                        <a:pt x="1" y="23"/>
                      </a:cubicBezTo>
                      <a:cubicBezTo>
                        <a:pt x="2" y="23"/>
                        <a:pt x="4" y="23"/>
                        <a:pt x="4" y="24"/>
                      </a:cubicBezTo>
                      <a:cubicBezTo>
                        <a:pt x="5" y="24"/>
                        <a:pt x="7" y="29"/>
                        <a:pt x="7" y="30"/>
                      </a:cubicBezTo>
                      <a:cubicBezTo>
                        <a:pt x="10" y="34"/>
                        <a:pt x="8" y="35"/>
                        <a:pt x="7" y="40"/>
                      </a:cubicBezTo>
                      <a:cubicBezTo>
                        <a:pt x="7" y="42"/>
                        <a:pt x="7" y="41"/>
                        <a:pt x="7" y="43"/>
                      </a:cubicBezTo>
                      <a:cubicBezTo>
                        <a:pt x="7" y="46"/>
                        <a:pt x="10" y="50"/>
                        <a:pt x="11" y="53"/>
                      </a:cubicBezTo>
                      <a:cubicBezTo>
                        <a:pt x="11" y="53"/>
                        <a:pt x="11" y="52"/>
                        <a:pt x="11" y="52"/>
                      </a:cubicBezTo>
                      <a:cubicBezTo>
                        <a:pt x="10" y="52"/>
                        <a:pt x="10" y="54"/>
                        <a:pt x="9" y="55"/>
                      </a:cubicBezTo>
                      <a:cubicBezTo>
                        <a:pt x="9" y="56"/>
                        <a:pt x="8" y="58"/>
                        <a:pt x="8" y="58"/>
                      </a:cubicBezTo>
                      <a:cubicBezTo>
                        <a:pt x="8" y="58"/>
                        <a:pt x="8" y="58"/>
                        <a:pt x="8" y="58"/>
                      </a:cubicBezTo>
                      <a:cubicBezTo>
                        <a:pt x="8" y="58"/>
                        <a:pt x="8" y="59"/>
                        <a:pt x="7" y="59"/>
                      </a:cubicBezTo>
                      <a:cubicBezTo>
                        <a:pt x="6" y="64"/>
                        <a:pt x="6" y="68"/>
                        <a:pt x="6" y="73"/>
                      </a:cubicBezTo>
                      <a:cubicBezTo>
                        <a:pt x="6" y="73"/>
                        <a:pt x="6" y="73"/>
                        <a:pt x="6" y="73"/>
                      </a:cubicBezTo>
                      <a:cubicBezTo>
                        <a:pt x="11" y="74"/>
                        <a:pt x="11" y="76"/>
                        <a:pt x="14" y="80"/>
                      </a:cubicBezTo>
                      <a:cubicBezTo>
                        <a:pt x="14" y="80"/>
                        <a:pt x="15" y="81"/>
                        <a:pt x="16" y="81"/>
                      </a:cubicBezTo>
                      <a:cubicBezTo>
                        <a:pt x="18" y="81"/>
                        <a:pt x="20" y="80"/>
                        <a:pt x="21" y="80"/>
                      </a:cubicBezTo>
                      <a:cubicBezTo>
                        <a:pt x="24" y="78"/>
                        <a:pt x="24" y="72"/>
                        <a:pt x="26" y="69"/>
                      </a:cubicBezTo>
                      <a:cubicBezTo>
                        <a:pt x="27" y="69"/>
                        <a:pt x="27" y="70"/>
                        <a:pt x="28" y="70"/>
                      </a:cubicBezTo>
                      <a:cubicBezTo>
                        <a:pt x="28" y="70"/>
                        <a:pt x="28" y="70"/>
                        <a:pt x="28" y="70"/>
                      </a:cubicBezTo>
                      <a:cubicBezTo>
                        <a:pt x="29" y="70"/>
                        <a:pt x="29" y="70"/>
                        <a:pt x="30" y="69"/>
                      </a:cubicBezTo>
                      <a:cubicBezTo>
                        <a:pt x="30" y="69"/>
                        <a:pt x="31" y="69"/>
                        <a:pt x="31" y="69"/>
                      </a:cubicBezTo>
                      <a:cubicBezTo>
                        <a:pt x="31" y="69"/>
                        <a:pt x="31" y="69"/>
                        <a:pt x="31" y="69"/>
                      </a:cubicBezTo>
                      <a:cubicBezTo>
                        <a:pt x="33" y="69"/>
                        <a:pt x="33" y="70"/>
                        <a:pt x="34" y="70"/>
                      </a:cubicBezTo>
                      <a:cubicBezTo>
                        <a:pt x="35" y="71"/>
                        <a:pt x="38" y="72"/>
                        <a:pt x="39" y="73"/>
                      </a:cubicBezTo>
                      <a:cubicBezTo>
                        <a:pt x="44" y="58"/>
                        <a:pt x="43" y="43"/>
                        <a:pt x="47" y="28"/>
                      </a:cubicBezTo>
                      <a:cubicBezTo>
                        <a:pt x="47" y="26"/>
                        <a:pt x="47" y="25"/>
                        <a:pt x="46" y="22"/>
                      </a:cubicBezTo>
                      <a:cubicBezTo>
                        <a:pt x="45" y="20"/>
                        <a:pt x="45" y="16"/>
                        <a:pt x="43" y="14"/>
                      </a:cubicBezTo>
                      <a:cubicBezTo>
                        <a:pt x="42" y="13"/>
                        <a:pt x="39" y="13"/>
                        <a:pt x="38" y="12"/>
                      </a:cubicBezTo>
                      <a:cubicBezTo>
                        <a:pt x="38" y="10"/>
                        <a:pt x="40" y="6"/>
                        <a:pt x="39" y="4"/>
                      </a:cubicBezTo>
                      <a:cubicBezTo>
                        <a:pt x="39" y="4"/>
                        <a:pt x="38" y="4"/>
                        <a:pt x="38" y="4"/>
                      </a:cubicBezTo>
                      <a:cubicBezTo>
                        <a:pt x="36" y="4"/>
                        <a:pt x="32" y="1"/>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35" name="Freeform 115">
                  <a:extLst>
                    <a:ext uri="{FF2B5EF4-FFF2-40B4-BE49-F238E27FC236}">
                      <a16:creationId xmlns:a16="http://schemas.microsoft.com/office/drawing/2014/main" id="{DAC60C43-8E6A-4B5E-8399-97A625A84C96}"/>
                    </a:ext>
                  </a:extLst>
                </p:cNvPr>
                <p:cNvSpPr>
                  <a:spLocks/>
                </p:cNvSpPr>
                <p:nvPr/>
              </p:nvSpPr>
              <p:spPr bwMode="auto">
                <a:xfrm>
                  <a:off x="5435546" y="5442916"/>
                  <a:ext cx="3685" cy="7370"/>
                </a:xfrm>
                <a:custGeom>
                  <a:avLst/>
                  <a:gdLst>
                    <a:gd name="T0" fmla="*/ 0 w 1"/>
                    <a:gd name="T1" fmla="*/ 0 h 3"/>
                    <a:gd name="T2" fmla="*/ 1 w 1"/>
                    <a:gd name="T3" fmla="*/ 3 h 3"/>
                    <a:gd name="T4" fmla="*/ 0 w 1"/>
                    <a:gd name="T5" fmla="*/ 0 h 3"/>
                  </a:gdLst>
                  <a:ahLst/>
                  <a:cxnLst>
                    <a:cxn ang="0">
                      <a:pos x="T0" y="T1"/>
                    </a:cxn>
                    <a:cxn ang="0">
                      <a:pos x="T2" y="T3"/>
                    </a:cxn>
                    <a:cxn ang="0">
                      <a:pos x="T4" y="T5"/>
                    </a:cxn>
                  </a:cxnLst>
                  <a:rect l="0" t="0" r="r" b="b"/>
                  <a:pathLst>
                    <a:path w="1" h="3">
                      <a:moveTo>
                        <a:pt x="0" y="0"/>
                      </a:moveTo>
                      <a:cubicBezTo>
                        <a:pt x="0" y="1"/>
                        <a:pt x="1" y="3"/>
                        <a:pt x="1"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36" name="Freeform 116">
                  <a:extLst>
                    <a:ext uri="{FF2B5EF4-FFF2-40B4-BE49-F238E27FC236}">
                      <a16:creationId xmlns:a16="http://schemas.microsoft.com/office/drawing/2014/main" id="{508DB007-27C6-4EB7-B930-00578C93BABC}"/>
                    </a:ext>
                  </a:extLst>
                </p:cNvPr>
                <p:cNvSpPr>
                  <a:spLocks/>
                </p:cNvSpPr>
                <p:nvPr/>
              </p:nvSpPr>
              <p:spPr bwMode="auto">
                <a:xfrm>
                  <a:off x="5266031" y="4801706"/>
                  <a:ext cx="33166" cy="18426"/>
                </a:xfrm>
                <a:custGeom>
                  <a:avLst/>
                  <a:gdLst>
                    <a:gd name="T0" fmla="*/ 9 w 10"/>
                    <a:gd name="T1" fmla="*/ 0 h 5"/>
                    <a:gd name="T2" fmla="*/ 5 w 10"/>
                    <a:gd name="T3" fmla="*/ 1 h 5"/>
                    <a:gd name="T4" fmla="*/ 3 w 10"/>
                    <a:gd name="T5" fmla="*/ 1 h 5"/>
                    <a:gd name="T6" fmla="*/ 0 w 10"/>
                    <a:gd name="T7" fmla="*/ 2 h 5"/>
                    <a:gd name="T8" fmla="*/ 9 w 10"/>
                    <a:gd name="T9" fmla="*/ 5 h 5"/>
                    <a:gd name="T10" fmla="*/ 9 w 10"/>
                    <a:gd name="T11" fmla="*/ 0 h 5"/>
                  </a:gdLst>
                  <a:ahLst/>
                  <a:cxnLst>
                    <a:cxn ang="0">
                      <a:pos x="T0" y="T1"/>
                    </a:cxn>
                    <a:cxn ang="0">
                      <a:pos x="T2" y="T3"/>
                    </a:cxn>
                    <a:cxn ang="0">
                      <a:pos x="T4" y="T5"/>
                    </a:cxn>
                    <a:cxn ang="0">
                      <a:pos x="T6" y="T7"/>
                    </a:cxn>
                    <a:cxn ang="0">
                      <a:pos x="T8" y="T9"/>
                    </a:cxn>
                    <a:cxn ang="0">
                      <a:pos x="T10" y="T11"/>
                    </a:cxn>
                  </a:cxnLst>
                  <a:rect l="0" t="0" r="r" b="b"/>
                  <a:pathLst>
                    <a:path w="10" h="5">
                      <a:moveTo>
                        <a:pt x="9" y="0"/>
                      </a:moveTo>
                      <a:cubicBezTo>
                        <a:pt x="8" y="0"/>
                        <a:pt x="7" y="0"/>
                        <a:pt x="5" y="1"/>
                      </a:cubicBezTo>
                      <a:cubicBezTo>
                        <a:pt x="3" y="1"/>
                        <a:pt x="3" y="1"/>
                        <a:pt x="3" y="1"/>
                      </a:cubicBezTo>
                      <a:cubicBezTo>
                        <a:pt x="2" y="1"/>
                        <a:pt x="1" y="1"/>
                        <a:pt x="0" y="2"/>
                      </a:cubicBezTo>
                      <a:cubicBezTo>
                        <a:pt x="3" y="3"/>
                        <a:pt x="6" y="4"/>
                        <a:pt x="9" y="5"/>
                      </a:cubicBezTo>
                      <a:cubicBezTo>
                        <a:pt x="10" y="1"/>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37" name="Freeform 117">
                  <a:extLst>
                    <a:ext uri="{FF2B5EF4-FFF2-40B4-BE49-F238E27FC236}">
                      <a16:creationId xmlns:a16="http://schemas.microsoft.com/office/drawing/2014/main" id="{8ED13754-BD63-4446-A94E-DD5D9917FE98}"/>
                    </a:ext>
                  </a:extLst>
                </p:cNvPr>
                <p:cNvSpPr>
                  <a:spLocks/>
                </p:cNvSpPr>
                <p:nvPr/>
              </p:nvSpPr>
              <p:spPr bwMode="auto">
                <a:xfrm>
                  <a:off x="5472397" y="5291827"/>
                  <a:ext cx="294809" cy="169515"/>
                </a:xfrm>
                <a:custGeom>
                  <a:avLst/>
                  <a:gdLst>
                    <a:gd name="T0" fmla="*/ 93 w 93"/>
                    <a:gd name="T1" fmla="*/ 0 h 53"/>
                    <a:gd name="T2" fmla="*/ 71 w 93"/>
                    <a:gd name="T3" fmla="*/ 5 h 53"/>
                    <a:gd name="T4" fmla="*/ 53 w 93"/>
                    <a:gd name="T5" fmla="*/ 9 h 53"/>
                    <a:gd name="T6" fmla="*/ 51 w 93"/>
                    <a:gd name="T7" fmla="*/ 8 h 53"/>
                    <a:gd name="T8" fmla="*/ 30 w 93"/>
                    <a:gd name="T9" fmla="*/ 5 h 53"/>
                    <a:gd name="T10" fmla="*/ 27 w 93"/>
                    <a:gd name="T11" fmla="*/ 3 h 53"/>
                    <a:gd name="T12" fmla="*/ 26 w 93"/>
                    <a:gd name="T13" fmla="*/ 3 h 53"/>
                    <a:gd name="T14" fmla="*/ 21 w 93"/>
                    <a:gd name="T15" fmla="*/ 5 h 53"/>
                    <a:gd name="T16" fmla="*/ 15 w 93"/>
                    <a:gd name="T17" fmla="*/ 7 h 53"/>
                    <a:gd name="T18" fmla="*/ 14 w 93"/>
                    <a:gd name="T19" fmla="*/ 7 h 53"/>
                    <a:gd name="T20" fmla="*/ 11 w 93"/>
                    <a:gd name="T21" fmla="*/ 4 h 53"/>
                    <a:gd name="T22" fmla="*/ 10 w 93"/>
                    <a:gd name="T23" fmla="*/ 4 h 53"/>
                    <a:gd name="T24" fmla="*/ 8 w 93"/>
                    <a:gd name="T25" fmla="*/ 6 h 53"/>
                    <a:gd name="T26" fmla="*/ 2 w 93"/>
                    <a:gd name="T27" fmla="*/ 17 h 53"/>
                    <a:gd name="T28" fmla="*/ 7 w 93"/>
                    <a:gd name="T29" fmla="*/ 23 h 53"/>
                    <a:gd name="T30" fmla="*/ 10 w 93"/>
                    <a:gd name="T31" fmla="*/ 24 h 53"/>
                    <a:gd name="T32" fmla="*/ 14 w 93"/>
                    <a:gd name="T33" fmla="*/ 23 h 53"/>
                    <a:gd name="T34" fmla="*/ 14 w 93"/>
                    <a:gd name="T35" fmla="*/ 23 h 53"/>
                    <a:gd name="T36" fmla="*/ 22 w 93"/>
                    <a:gd name="T37" fmla="*/ 27 h 53"/>
                    <a:gd name="T38" fmla="*/ 47 w 93"/>
                    <a:gd name="T39" fmla="*/ 38 h 53"/>
                    <a:gd name="T40" fmla="*/ 58 w 93"/>
                    <a:gd name="T41" fmla="*/ 45 h 53"/>
                    <a:gd name="T42" fmla="*/ 60 w 93"/>
                    <a:gd name="T43" fmla="*/ 48 h 53"/>
                    <a:gd name="T44" fmla="*/ 78 w 93"/>
                    <a:gd name="T45" fmla="*/ 53 h 53"/>
                    <a:gd name="T46" fmla="*/ 84 w 93"/>
                    <a:gd name="T47" fmla="*/ 42 h 53"/>
                    <a:gd name="T48" fmla="*/ 84 w 93"/>
                    <a:gd name="T49" fmla="*/ 42 h 53"/>
                    <a:gd name="T50" fmla="*/ 78 w 93"/>
                    <a:gd name="T51" fmla="*/ 31 h 53"/>
                    <a:gd name="T52" fmla="*/ 80 w 93"/>
                    <a:gd name="T53" fmla="*/ 20 h 53"/>
                    <a:gd name="T54" fmla="*/ 93 w 93"/>
                    <a:gd name="T5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3" h="53">
                      <a:moveTo>
                        <a:pt x="93" y="0"/>
                      </a:moveTo>
                      <a:cubicBezTo>
                        <a:pt x="86" y="2"/>
                        <a:pt x="78" y="3"/>
                        <a:pt x="71" y="5"/>
                      </a:cubicBezTo>
                      <a:cubicBezTo>
                        <a:pt x="66" y="6"/>
                        <a:pt x="59" y="9"/>
                        <a:pt x="53" y="9"/>
                      </a:cubicBezTo>
                      <a:cubicBezTo>
                        <a:pt x="52" y="9"/>
                        <a:pt x="52" y="9"/>
                        <a:pt x="51" y="8"/>
                      </a:cubicBezTo>
                      <a:cubicBezTo>
                        <a:pt x="44" y="7"/>
                        <a:pt x="37" y="6"/>
                        <a:pt x="30" y="5"/>
                      </a:cubicBezTo>
                      <a:cubicBezTo>
                        <a:pt x="28" y="4"/>
                        <a:pt x="29" y="3"/>
                        <a:pt x="27" y="3"/>
                      </a:cubicBezTo>
                      <a:cubicBezTo>
                        <a:pt x="27" y="3"/>
                        <a:pt x="27" y="3"/>
                        <a:pt x="26" y="3"/>
                      </a:cubicBezTo>
                      <a:cubicBezTo>
                        <a:pt x="25" y="3"/>
                        <a:pt x="23" y="4"/>
                        <a:pt x="21" y="5"/>
                      </a:cubicBezTo>
                      <a:cubicBezTo>
                        <a:pt x="19" y="6"/>
                        <a:pt x="18" y="7"/>
                        <a:pt x="15" y="7"/>
                      </a:cubicBezTo>
                      <a:cubicBezTo>
                        <a:pt x="15" y="7"/>
                        <a:pt x="14" y="7"/>
                        <a:pt x="14" y="7"/>
                      </a:cubicBezTo>
                      <a:cubicBezTo>
                        <a:pt x="12" y="6"/>
                        <a:pt x="13" y="5"/>
                        <a:pt x="11" y="4"/>
                      </a:cubicBezTo>
                      <a:cubicBezTo>
                        <a:pt x="11" y="4"/>
                        <a:pt x="10" y="4"/>
                        <a:pt x="10" y="4"/>
                      </a:cubicBezTo>
                      <a:cubicBezTo>
                        <a:pt x="10" y="4"/>
                        <a:pt x="9" y="4"/>
                        <a:pt x="8" y="6"/>
                      </a:cubicBezTo>
                      <a:cubicBezTo>
                        <a:pt x="7" y="8"/>
                        <a:pt x="0" y="15"/>
                        <a:pt x="2" y="17"/>
                      </a:cubicBezTo>
                      <a:cubicBezTo>
                        <a:pt x="3" y="18"/>
                        <a:pt x="6" y="22"/>
                        <a:pt x="7" y="23"/>
                      </a:cubicBezTo>
                      <a:cubicBezTo>
                        <a:pt x="8" y="23"/>
                        <a:pt x="9" y="24"/>
                        <a:pt x="10" y="24"/>
                      </a:cubicBezTo>
                      <a:cubicBezTo>
                        <a:pt x="11" y="24"/>
                        <a:pt x="13" y="23"/>
                        <a:pt x="14" y="23"/>
                      </a:cubicBezTo>
                      <a:cubicBezTo>
                        <a:pt x="14" y="23"/>
                        <a:pt x="14" y="23"/>
                        <a:pt x="14" y="23"/>
                      </a:cubicBezTo>
                      <a:cubicBezTo>
                        <a:pt x="17" y="23"/>
                        <a:pt x="20" y="26"/>
                        <a:pt x="22" y="27"/>
                      </a:cubicBezTo>
                      <a:cubicBezTo>
                        <a:pt x="30" y="30"/>
                        <a:pt x="39" y="34"/>
                        <a:pt x="47" y="38"/>
                      </a:cubicBezTo>
                      <a:cubicBezTo>
                        <a:pt x="51" y="40"/>
                        <a:pt x="55" y="41"/>
                        <a:pt x="58" y="45"/>
                      </a:cubicBezTo>
                      <a:cubicBezTo>
                        <a:pt x="58" y="46"/>
                        <a:pt x="59" y="48"/>
                        <a:pt x="60" y="48"/>
                      </a:cubicBezTo>
                      <a:cubicBezTo>
                        <a:pt x="64" y="52"/>
                        <a:pt x="73" y="51"/>
                        <a:pt x="78" y="53"/>
                      </a:cubicBezTo>
                      <a:cubicBezTo>
                        <a:pt x="79" y="50"/>
                        <a:pt x="80" y="42"/>
                        <a:pt x="84" y="42"/>
                      </a:cubicBezTo>
                      <a:cubicBezTo>
                        <a:pt x="84" y="42"/>
                        <a:pt x="84" y="42"/>
                        <a:pt x="84" y="42"/>
                      </a:cubicBezTo>
                      <a:cubicBezTo>
                        <a:pt x="82" y="38"/>
                        <a:pt x="80" y="35"/>
                        <a:pt x="78" y="31"/>
                      </a:cubicBezTo>
                      <a:cubicBezTo>
                        <a:pt x="76" y="29"/>
                        <a:pt x="80" y="23"/>
                        <a:pt x="80" y="20"/>
                      </a:cubicBezTo>
                      <a:cubicBezTo>
                        <a:pt x="83" y="13"/>
                        <a:pt x="88" y="7"/>
                        <a:pt x="9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38" name="Freeform 118">
                  <a:extLst>
                    <a:ext uri="{FF2B5EF4-FFF2-40B4-BE49-F238E27FC236}">
                      <a16:creationId xmlns:a16="http://schemas.microsoft.com/office/drawing/2014/main" id="{B401C854-D525-439C-8373-5C76DE9DDB49}"/>
                    </a:ext>
                  </a:extLst>
                </p:cNvPr>
                <p:cNvSpPr>
                  <a:spLocks/>
                </p:cNvSpPr>
                <p:nvPr/>
              </p:nvSpPr>
              <p:spPr bwMode="auto">
                <a:xfrm>
                  <a:off x="3924649" y="3460324"/>
                  <a:ext cx="44221" cy="40536"/>
                </a:xfrm>
                <a:custGeom>
                  <a:avLst/>
                  <a:gdLst>
                    <a:gd name="T0" fmla="*/ 12 w 14"/>
                    <a:gd name="T1" fmla="*/ 0 h 13"/>
                    <a:gd name="T2" fmla="*/ 6 w 14"/>
                    <a:gd name="T3" fmla="*/ 3 h 13"/>
                    <a:gd name="T4" fmla="*/ 2 w 14"/>
                    <a:gd name="T5" fmla="*/ 9 h 13"/>
                    <a:gd name="T6" fmla="*/ 0 w 14"/>
                    <a:gd name="T7" fmla="*/ 13 h 13"/>
                    <a:gd name="T8" fmla="*/ 2 w 14"/>
                    <a:gd name="T9" fmla="*/ 13 h 13"/>
                    <a:gd name="T10" fmla="*/ 10 w 14"/>
                    <a:gd name="T11" fmla="*/ 9 h 13"/>
                    <a:gd name="T12" fmla="*/ 14 w 14"/>
                    <a:gd name="T13" fmla="*/ 4 h 13"/>
                    <a:gd name="T14" fmla="*/ 12 w 14"/>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3">
                      <a:moveTo>
                        <a:pt x="12" y="0"/>
                      </a:moveTo>
                      <a:cubicBezTo>
                        <a:pt x="10" y="1"/>
                        <a:pt x="8" y="2"/>
                        <a:pt x="6" y="3"/>
                      </a:cubicBezTo>
                      <a:cubicBezTo>
                        <a:pt x="5" y="6"/>
                        <a:pt x="3" y="7"/>
                        <a:pt x="2" y="9"/>
                      </a:cubicBezTo>
                      <a:cubicBezTo>
                        <a:pt x="1" y="10"/>
                        <a:pt x="1" y="12"/>
                        <a:pt x="0" y="13"/>
                      </a:cubicBezTo>
                      <a:cubicBezTo>
                        <a:pt x="1" y="13"/>
                        <a:pt x="2" y="13"/>
                        <a:pt x="2" y="13"/>
                      </a:cubicBezTo>
                      <a:cubicBezTo>
                        <a:pt x="6" y="13"/>
                        <a:pt x="8" y="12"/>
                        <a:pt x="10" y="9"/>
                      </a:cubicBezTo>
                      <a:cubicBezTo>
                        <a:pt x="11" y="8"/>
                        <a:pt x="14" y="6"/>
                        <a:pt x="14" y="4"/>
                      </a:cubicBezTo>
                      <a:cubicBezTo>
                        <a:pt x="14" y="2"/>
                        <a:pt x="11" y="2"/>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39" name="Freeform 119">
                  <a:extLst>
                    <a:ext uri="{FF2B5EF4-FFF2-40B4-BE49-F238E27FC236}">
                      <a16:creationId xmlns:a16="http://schemas.microsoft.com/office/drawing/2014/main" id="{05B90338-8388-4AE3-A376-1632C8F785FB}"/>
                    </a:ext>
                  </a:extLst>
                </p:cNvPr>
                <p:cNvSpPr>
                  <a:spLocks/>
                </p:cNvSpPr>
                <p:nvPr/>
              </p:nvSpPr>
              <p:spPr bwMode="auto">
                <a:xfrm>
                  <a:off x="5645597" y="4547433"/>
                  <a:ext cx="18426" cy="62647"/>
                </a:xfrm>
                <a:custGeom>
                  <a:avLst/>
                  <a:gdLst>
                    <a:gd name="T0" fmla="*/ 0 w 5"/>
                    <a:gd name="T1" fmla="*/ 0 h 20"/>
                    <a:gd name="T2" fmla="*/ 5 w 5"/>
                    <a:gd name="T3" fmla="*/ 20 h 20"/>
                    <a:gd name="T4" fmla="*/ 4 w 5"/>
                    <a:gd name="T5" fmla="*/ 12 h 20"/>
                    <a:gd name="T6" fmla="*/ 5 w 5"/>
                    <a:gd name="T7" fmla="*/ 7 h 20"/>
                    <a:gd name="T8" fmla="*/ 2 w 5"/>
                    <a:gd name="T9" fmla="*/ 4 h 20"/>
                    <a:gd name="T10" fmla="*/ 0 w 5"/>
                    <a:gd name="T11" fmla="*/ 0 h 20"/>
                  </a:gdLst>
                  <a:ahLst/>
                  <a:cxnLst>
                    <a:cxn ang="0">
                      <a:pos x="T0" y="T1"/>
                    </a:cxn>
                    <a:cxn ang="0">
                      <a:pos x="T2" y="T3"/>
                    </a:cxn>
                    <a:cxn ang="0">
                      <a:pos x="T4" y="T5"/>
                    </a:cxn>
                    <a:cxn ang="0">
                      <a:pos x="T6" y="T7"/>
                    </a:cxn>
                    <a:cxn ang="0">
                      <a:pos x="T8" y="T9"/>
                    </a:cxn>
                    <a:cxn ang="0">
                      <a:pos x="T10" y="T11"/>
                    </a:cxn>
                  </a:cxnLst>
                  <a:rect l="0" t="0" r="r" b="b"/>
                  <a:pathLst>
                    <a:path w="5" h="20">
                      <a:moveTo>
                        <a:pt x="0" y="0"/>
                      </a:moveTo>
                      <a:cubicBezTo>
                        <a:pt x="2" y="7"/>
                        <a:pt x="3" y="13"/>
                        <a:pt x="5" y="20"/>
                      </a:cubicBezTo>
                      <a:cubicBezTo>
                        <a:pt x="5" y="17"/>
                        <a:pt x="4" y="15"/>
                        <a:pt x="4" y="12"/>
                      </a:cubicBezTo>
                      <a:cubicBezTo>
                        <a:pt x="4" y="11"/>
                        <a:pt x="5" y="8"/>
                        <a:pt x="5" y="7"/>
                      </a:cubicBezTo>
                      <a:cubicBezTo>
                        <a:pt x="4" y="7"/>
                        <a:pt x="2" y="5"/>
                        <a:pt x="2" y="4"/>
                      </a:cubicBezTo>
                      <a:cubicBezTo>
                        <a:pt x="1"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40" name="Freeform 120">
                  <a:extLst>
                    <a:ext uri="{FF2B5EF4-FFF2-40B4-BE49-F238E27FC236}">
                      <a16:creationId xmlns:a16="http://schemas.microsoft.com/office/drawing/2014/main" id="{D3315605-4DDD-4039-AF8D-AF320CEDA1FB}"/>
                    </a:ext>
                  </a:extLst>
                </p:cNvPr>
                <p:cNvSpPr>
                  <a:spLocks/>
                </p:cNvSpPr>
                <p:nvPr/>
              </p:nvSpPr>
              <p:spPr bwMode="auto">
                <a:xfrm>
                  <a:off x="5870389" y="4790651"/>
                  <a:ext cx="33166" cy="7370"/>
                </a:xfrm>
                <a:custGeom>
                  <a:avLst/>
                  <a:gdLst>
                    <a:gd name="T0" fmla="*/ 0 w 11"/>
                    <a:gd name="T1" fmla="*/ 0 h 2"/>
                    <a:gd name="T2" fmla="*/ 3 w 11"/>
                    <a:gd name="T3" fmla="*/ 2 h 2"/>
                    <a:gd name="T4" fmla="*/ 6 w 11"/>
                    <a:gd name="T5" fmla="*/ 2 h 2"/>
                    <a:gd name="T6" fmla="*/ 8 w 11"/>
                    <a:gd name="T7" fmla="*/ 2 h 2"/>
                    <a:gd name="T8" fmla="*/ 9 w 11"/>
                    <a:gd name="T9" fmla="*/ 2 h 2"/>
                    <a:gd name="T10" fmla="*/ 11 w 11"/>
                    <a:gd name="T11" fmla="*/ 2 h 2"/>
                    <a:gd name="T12" fmla="*/ 0 w 1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1" h="2">
                      <a:moveTo>
                        <a:pt x="0" y="0"/>
                      </a:moveTo>
                      <a:cubicBezTo>
                        <a:pt x="1" y="1"/>
                        <a:pt x="2" y="2"/>
                        <a:pt x="3" y="2"/>
                      </a:cubicBezTo>
                      <a:cubicBezTo>
                        <a:pt x="4" y="2"/>
                        <a:pt x="5" y="2"/>
                        <a:pt x="6" y="2"/>
                      </a:cubicBezTo>
                      <a:cubicBezTo>
                        <a:pt x="6" y="2"/>
                        <a:pt x="7" y="2"/>
                        <a:pt x="8" y="2"/>
                      </a:cubicBezTo>
                      <a:cubicBezTo>
                        <a:pt x="8" y="2"/>
                        <a:pt x="9" y="2"/>
                        <a:pt x="9" y="2"/>
                      </a:cubicBezTo>
                      <a:cubicBezTo>
                        <a:pt x="10" y="2"/>
                        <a:pt x="11" y="2"/>
                        <a:pt x="11" y="2"/>
                      </a:cubicBezTo>
                      <a:cubicBezTo>
                        <a:pt x="8" y="1"/>
                        <a:pt x="4"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41" name="Freeform 121">
                  <a:extLst>
                    <a:ext uri="{FF2B5EF4-FFF2-40B4-BE49-F238E27FC236}">
                      <a16:creationId xmlns:a16="http://schemas.microsoft.com/office/drawing/2014/main" id="{AC3A639B-2BB9-4C1C-B3FF-8A92E31891B6}"/>
                    </a:ext>
                  </a:extLst>
                </p:cNvPr>
                <p:cNvSpPr>
                  <a:spLocks/>
                </p:cNvSpPr>
                <p:nvPr/>
              </p:nvSpPr>
              <p:spPr bwMode="auto">
                <a:xfrm>
                  <a:off x="5874075" y="4812762"/>
                  <a:ext cx="3685" cy="3685"/>
                </a:xfrm>
                <a:custGeom>
                  <a:avLst/>
                  <a:gdLst>
                    <a:gd name="T0" fmla="*/ 0 w 2"/>
                    <a:gd name="T1" fmla="*/ 0 h 1"/>
                    <a:gd name="T2" fmla="*/ 0 w 2"/>
                    <a:gd name="T3" fmla="*/ 0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0" y="0"/>
                        <a:pt x="0" y="0"/>
                        <a:pt x="0" y="0"/>
                      </a:cubicBezTo>
                      <a:cubicBezTo>
                        <a:pt x="1" y="0"/>
                        <a:pt x="2" y="1"/>
                        <a:pt x="2"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42" name="Freeform 122">
                  <a:extLst>
                    <a:ext uri="{FF2B5EF4-FFF2-40B4-BE49-F238E27FC236}">
                      <a16:creationId xmlns:a16="http://schemas.microsoft.com/office/drawing/2014/main" id="{3F0EB07D-DFD6-4CEB-8A9B-7B8EB46983DB}"/>
                    </a:ext>
                  </a:extLst>
                </p:cNvPr>
                <p:cNvSpPr>
                  <a:spLocks/>
                </p:cNvSpPr>
                <p:nvPr/>
              </p:nvSpPr>
              <p:spPr bwMode="auto">
                <a:xfrm>
                  <a:off x="5837223" y="4742744"/>
                  <a:ext cx="47906" cy="14740"/>
                </a:xfrm>
                <a:custGeom>
                  <a:avLst/>
                  <a:gdLst>
                    <a:gd name="T0" fmla="*/ 2 w 15"/>
                    <a:gd name="T1" fmla="*/ 0 h 5"/>
                    <a:gd name="T2" fmla="*/ 0 w 15"/>
                    <a:gd name="T3" fmla="*/ 0 h 5"/>
                    <a:gd name="T4" fmla="*/ 7 w 15"/>
                    <a:gd name="T5" fmla="*/ 5 h 5"/>
                    <a:gd name="T6" fmla="*/ 7 w 15"/>
                    <a:gd name="T7" fmla="*/ 1 h 5"/>
                    <a:gd name="T8" fmla="*/ 2 w 15"/>
                    <a:gd name="T9" fmla="*/ 0 h 5"/>
                  </a:gdLst>
                  <a:ahLst/>
                  <a:cxnLst>
                    <a:cxn ang="0">
                      <a:pos x="T0" y="T1"/>
                    </a:cxn>
                    <a:cxn ang="0">
                      <a:pos x="T2" y="T3"/>
                    </a:cxn>
                    <a:cxn ang="0">
                      <a:pos x="T4" y="T5"/>
                    </a:cxn>
                    <a:cxn ang="0">
                      <a:pos x="T6" y="T7"/>
                    </a:cxn>
                    <a:cxn ang="0">
                      <a:pos x="T8" y="T9"/>
                    </a:cxn>
                  </a:cxnLst>
                  <a:rect l="0" t="0" r="r" b="b"/>
                  <a:pathLst>
                    <a:path w="15" h="5">
                      <a:moveTo>
                        <a:pt x="2" y="0"/>
                      </a:moveTo>
                      <a:cubicBezTo>
                        <a:pt x="1" y="0"/>
                        <a:pt x="1" y="0"/>
                        <a:pt x="0" y="0"/>
                      </a:cubicBezTo>
                      <a:cubicBezTo>
                        <a:pt x="1" y="3"/>
                        <a:pt x="5" y="4"/>
                        <a:pt x="7" y="5"/>
                      </a:cubicBezTo>
                      <a:cubicBezTo>
                        <a:pt x="14" y="4"/>
                        <a:pt x="15" y="3"/>
                        <a:pt x="7" y="1"/>
                      </a:cubicBezTo>
                      <a:cubicBezTo>
                        <a:pt x="5"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43" name="Freeform 123">
                  <a:extLst>
                    <a:ext uri="{FF2B5EF4-FFF2-40B4-BE49-F238E27FC236}">
                      <a16:creationId xmlns:a16="http://schemas.microsoft.com/office/drawing/2014/main" id="{E257AC3C-0D4C-4685-9FA8-234EAC133EDF}"/>
                    </a:ext>
                  </a:extLst>
                </p:cNvPr>
                <p:cNvSpPr>
                  <a:spLocks/>
                </p:cNvSpPr>
                <p:nvPr/>
              </p:nvSpPr>
              <p:spPr bwMode="auto">
                <a:xfrm>
                  <a:off x="5921981" y="4805391"/>
                  <a:ext cx="33166" cy="14740"/>
                </a:xfrm>
                <a:custGeom>
                  <a:avLst/>
                  <a:gdLst>
                    <a:gd name="T0" fmla="*/ 0 w 10"/>
                    <a:gd name="T1" fmla="*/ 0 h 4"/>
                    <a:gd name="T2" fmla="*/ 10 w 10"/>
                    <a:gd name="T3" fmla="*/ 4 h 4"/>
                    <a:gd name="T4" fmla="*/ 0 w 10"/>
                    <a:gd name="T5" fmla="*/ 0 h 4"/>
                  </a:gdLst>
                  <a:ahLst/>
                  <a:cxnLst>
                    <a:cxn ang="0">
                      <a:pos x="T0" y="T1"/>
                    </a:cxn>
                    <a:cxn ang="0">
                      <a:pos x="T2" y="T3"/>
                    </a:cxn>
                    <a:cxn ang="0">
                      <a:pos x="T4" y="T5"/>
                    </a:cxn>
                  </a:cxnLst>
                  <a:rect l="0" t="0" r="r" b="b"/>
                  <a:pathLst>
                    <a:path w="10" h="4">
                      <a:moveTo>
                        <a:pt x="0" y="0"/>
                      </a:moveTo>
                      <a:cubicBezTo>
                        <a:pt x="2" y="3"/>
                        <a:pt x="7" y="4"/>
                        <a:pt x="10" y="4"/>
                      </a:cubicBezTo>
                      <a:cubicBezTo>
                        <a:pt x="7" y="3"/>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44" name="Freeform 124">
                  <a:extLst>
                    <a:ext uri="{FF2B5EF4-FFF2-40B4-BE49-F238E27FC236}">
                      <a16:creationId xmlns:a16="http://schemas.microsoft.com/office/drawing/2014/main" id="{5482DA6F-A81B-4C31-B64E-BF86AB5A9950}"/>
                    </a:ext>
                  </a:extLst>
                </p:cNvPr>
                <p:cNvSpPr>
                  <a:spLocks/>
                </p:cNvSpPr>
                <p:nvPr/>
              </p:nvSpPr>
              <p:spPr bwMode="auto">
                <a:xfrm>
                  <a:off x="5804057" y="4779596"/>
                  <a:ext cx="11055" cy="3685"/>
                </a:xfrm>
                <a:custGeom>
                  <a:avLst/>
                  <a:gdLst>
                    <a:gd name="T0" fmla="*/ 3 w 4"/>
                    <a:gd name="T1" fmla="*/ 0 h 2"/>
                    <a:gd name="T2" fmla="*/ 1 w 4"/>
                    <a:gd name="T3" fmla="*/ 1 h 2"/>
                    <a:gd name="T4" fmla="*/ 1 w 4"/>
                    <a:gd name="T5" fmla="*/ 2 h 2"/>
                    <a:gd name="T6" fmla="*/ 4 w 4"/>
                    <a:gd name="T7" fmla="*/ 0 h 2"/>
                    <a:gd name="T8" fmla="*/ 3 w 4"/>
                    <a:gd name="T9" fmla="*/ 0 h 2"/>
                  </a:gdLst>
                  <a:ahLst/>
                  <a:cxnLst>
                    <a:cxn ang="0">
                      <a:pos x="T0" y="T1"/>
                    </a:cxn>
                    <a:cxn ang="0">
                      <a:pos x="T2" y="T3"/>
                    </a:cxn>
                    <a:cxn ang="0">
                      <a:pos x="T4" y="T5"/>
                    </a:cxn>
                    <a:cxn ang="0">
                      <a:pos x="T6" y="T7"/>
                    </a:cxn>
                    <a:cxn ang="0">
                      <a:pos x="T8" y="T9"/>
                    </a:cxn>
                  </a:cxnLst>
                  <a:rect l="0" t="0" r="r" b="b"/>
                  <a:pathLst>
                    <a:path w="4" h="2">
                      <a:moveTo>
                        <a:pt x="3" y="0"/>
                      </a:moveTo>
                      <a:cubicBezTo>
                        <a:pt x="2" y="0"/>
                        <a:pt x="1" y="0"/>
                        <a:pt x="1" y="1"/>
                      </a:cubicBezTo>
                      <a:cubicBezTo>
                        <a:pt x="0" y="1"/>
                        <a:pt x="1" y="2"/>
                        <a:pt x="1" y="2"/>
                      </a:cubicBezTo>
                      <a:cubicBezTo>
                        <a:pt x="2" y="2"/>
                        <a:pt x="3" y="1"/>
                        <a:pt x="4"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45" name="Freeform 125">
                  <a:extLst>
                    <a:ext uri="{FF2B5EF4-FFF2-40B4-BE49-F238E27FC236}">
                      <a16:creationId xmlns:a16="http://schemas.microsoft.com/office/drawing/2014/main" id="{EF003A87-CC64-4E99-9ED6-49EE703E085A}"/>
                    </a:ext>
                  </a:extLst>
                </p:cNvPr>
                <p:cNvSpPr>
                  <a:spLocks/>
                </p:cNvSpPr>
                <p:nvPr/>
              </p:nvSpPr>
              <p:spPr bwMode="auto">
                <a:xfrm>
                  <a:off x="5715615" y="4680097"/>
                  <a:ext cx="11055" cy="11055"/>
                </a:xfrm>
                <a:custGeom>
                  <a:avLst/>
                  <a:gdLst>
                    <a:gd name="T0" fmla="*/ 0 w 3"/>
                    <a:gd name="T1" fmla="*/ 0 h 4"/>
                    <a:gd name="T2" fmla="*/ 3 w 3"/>
                    <a:gd name="T3" fmla="*/ 4 h 4"/>
                    <a:gd name="T4" fmla="*/ 0 w 3"/>
                    <a:gd name="T5" fmla="*/ 0 h 4"/>
                  </a:gdLst>
                  <a:ahLst/>
                  <a:cxnLst>
                    <a:cxn ang="0">
                      <a:pos x="T0" y="T1"/>
                    </a:cxn>
                    <a:cxn ang="0">
                      <a:pos x="T2" y="T3"/>
                    </a:cxn>
                    <a:cxn ang="0">
                      <a:pos x="T4" y="T5"/>
                    </a:cxn>
                  </a:cxnLst>
                  <a:rect l="0" t="0" r="r" b="b"/>
                  <a:pathLst>
                    <a:path w="3" h="4">
                      <a:moveTo>
                        <a:pt x="0" y="0"/>
                      </a:moveTo>
                      <a:cubicBezTo>
                        <a:pt x="0" y="2"/>
                        <a:pt x="2" y="3"/>
                        <a:pt x="3" y="4"/>
                      </a:cubicBezTo>
                      <a:cubicBezTo>
                        <a:pt x="2"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46" name="Freeform 126">
                  <a:extLst>
                    <a:ext uri="{FF2B5EF4-FFF2-40B4-BE49-F238E27FC236}">
                      <a16:creationId xmlns:a16="http://schemas.microsoft.com/office/drawing/2014/main" id="{CA86DAEA-6D32-4A58-A7B4-E55B386EBB13}"/>
                    </a:ext>
                  </a:extLst>
                </p:cNvPr>
                <p:cNvSpPr>
                  <a:spLocks/>
                </p:cNvSpPr>
                <p:nvPr/>
              </p:nvSpPr>
              <p:spPr bwMode="auto">
                <a:xfrm>
                  <a:off x="5693504" y="4665357"/>
                  <a:ext cx="22111" cy="14740"/>
                </a:xfrm>
                <a:custGeom>
                  <a:avLst/>
                  <a:gdLst>
                    <a:gd name="T0" fmla="*/ 0 w 7"/>
                    <a:gd name="T1" fmla="*/ 0 h 5"/>
                    <a:gd name="T2" fmla="*/ 7 w 7"/>
                    <a:gd name="T3" fmla="*/ 5 h 5"/>
                    <a:gd name="T4" fmla="*/ 0 w 7"/>
                    <a:gd name="T5" fmla="*/ 0 h 5"/>
                  </a:gdLst>
                  <a:ahLst/>
                  <a:cxnLst>
                    <a:cxn ang="0">
                      <a:pos x="T0" y="T1"/>
                    </a:cxn>
                    <a:cxn ang="0">
                      <a:pos x="T2" y="T3"/>
                    </a:cxn>
                    <a:cxn ang="0">
                      <a:pos x="T4" y="T5"/>
                    </a:cxn>
                  </a:cxnLst>
                  <a:rect l="0" t="0" r="r" b="b"/>
                  <a:pathLst>
                    <a:path w="7" h="5">
                      <a:moveTo>
                        <a:pt x="0" y="0"/>
                      </a:moveTo>
                      <a:cubicBezTo>
                        <a:pt x="3" y="1"/>
                        <a:pt x="5" y="3"/>
                        <a:pt x="7" y="5"/>
                      </a:cubicBezTo>
                      <a:cubicBezTo>
                        <a:pt x="5" y="3"/>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47" name="Freeform 127">
                  <a:extLst>
                    <a:ext uri="{FF2B5EF4-FFF2-40B4-BE49-F238E27FC236}">
                      <a16:creationId xmlns:a16="http://schemas.microsoft.com/office/drawing/2014/main" id="{EF2CF76B-3330-4AB4-9602-11A550313DED}"/>
                    </a:ext>
                  </a:extLst>
                </p:cNvPr>
                <p:cNvSpPr>
                  <a:spLocks/>
                </p:cNvSpPr>
                <p:nvPr/>
              </p:nvSpPr>
              <p:spPr bwMode="auto">
                <a:xfrm>
                  <a:off x="5686134" y="4599025"/>
                  <a:ext cx="40536" cy="44221"/>
                </a:xfrm>
                <a:custGeom>
                  <a:avLst/>
                  <a:gdLst>
                    <a:gd name="T0" fmla="*/ 0 w 13"/>
                    <a:gd name="T1" fmla="*/ 0 h 14"/>
                    <a:gd name="T2" fmla="*/ 12 w 13"/>
                    <a:gd name="T3" fmla="*/ 14 h 14"/>
                    <a:gd name="T4" fmla="*/ 5 w 13"/>
                    <a:gd name="T5" fmla="*/ 5 h 14"/>
                    <a:gd name="T6" fmla="*/ 5 w 13"/>
                    <a:gd name="T7" fmla="*/ 3 h 14"/>
                    <a:gd name="T8" fmla="*/ 5 w 13"/>
                    <a:gd name="T9" fmla="*/ 3 h 14"/>
                    <a:gd name="T10" fmla="*/ 4 w 13"/>
                    <a:gd name="T11" fmla="*/ 3 h 14"/>
                    <a:gd name="T12" fmla="*/ 4 w 13"/>
                    <a:gd name="T13" fmla="*/ 3 h 14"/>
                    <a:gd name="T14" fmla="*/ 3 w 13"/>
                    <a:gd name="T15" fmla="*/ 3 h 14"/>
                    <a:gd name="T16" fmla="*/ 0 w 13"/>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4">
                      <a:moveTo>
                        <a:pt x="0" y="0"/>
                      </a:moveTo>
                      <a:cubicBezTo>
                        <a:pt x="4" y="5"/>
                        <a:pt x="8" y="9"/>
                        <a:pt x="12" y="14"/>
                      </a:cubicBezTo>
                      <a:cubicBezTo>
                        <a:pt x="13" y="7"/>
                        <a:pt x="8" y="10"/>
                        <a:pt x="5" y="5"/>
                      </a:cubicBezTo>
                      <a:cubicBezTo>
                        <a:pt x="5" y="5"/>
                        <a:pt x="6" y="4"/>
                        <a:pt x="5" y="3"/>
                      </a:cubicBezTo>
                      <a:cubicBezTo>
                        <a:pt x="5" y="3"/>
                        <a:pt x="5" y="3"/>
                        <a:pt x="5" y="3"/>
                      </a:cubicBezTo>
                      <a:cubicBezTo>
                        <a:pt x="5" y="3"/>
                        <a:pt x="4" y="3"/>
                        <a:pt x="4" y="3"/>
                      </a:cubicBezTo>
                      <a:cubicBezTo>
                        <a:pt x="4" y="3"/>
                        <a:pt x="4" y="3"/>
                        <a:pt x="4" y="3"/>
                      </a:cubicBezTo>
                      <a:cubicBezTo>
                        <a:pt x="3" y="3"/>
                        <a:pt x="3"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48" name="Freeform 128">
                  <a:extLst>
                    <a:ext uri="{FF2B5EF4-FFF2-40B4-BE49-F238E27FC236}">
                      <a16:creationId xmlns:a16="http://schemas.microsoft.com/office/drawing/2014/main" id="{AF10BF3C-C69D-4B03-A5D4-08314CD06C26}"/>
                    </a:ext>
                  </a:extLst>
                </p:cNvPr>
                <p:cNvSpPr>
                  <a:spLocks/>
                </p:cNvSpPr>
                <p:nvPr/>
              </p:nvSpPr>
              <p:spPr bwMode="auto">
                <a:xfrm>
                  <a:off x="5656653" y="4540063"/>
                  <a:ext cx="29481" cy="33166"/>
                </a:xfrm>
                <a:custGeom>
                  <a:avLst/>
                  <a:gdLst>
                    <a:gd name="T0" fmla="*/ 4 w 9"/>
                    <a:gd name="T1" fmla="*/ 0 h 10"/>
                    <a:gd name="T2" fmla="*/ 0 w 9"/>
                    <a:gd name="T3" fmla="*/ 5 h 10"/>
                    <a:gd name="T4" fmla="*/ 9 w 9"/>
                    <a:gd name="T5" fmla="*/ 10 h 10"/>
                    <a:gd name="T6" fmla="*/ 5 w 9"/>
                    <a:gd name="T7" fmla="*/ 3 h 10"/>
                    <a:gd name="T8" fmla="*/ 5 w 9"/>
                    <a:gd name="T9" fmla="*/ 3 h 10"/>
                    <a:gd name="T10" fmla="*/ 4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4" y="0"/>
                      </a:moveTo>
                      <a:cubicBezTo>
                        <a:pt x="3" y="3"/>
                        <a:pt x="2" y="4"/>
                        <a:pt x="0" y="5"/>
                      </a:cubicBezTo>
                      <a:cubicBezTo>
                        <a:pt x="3" y="7"/>
                        <a:pt x="6" y="9"/>
                        <a:pt x="9" y="10"/>
                      </a:cubicBezTo>
                      <a:cubicBezTo>
                        <a:pt x="9" y="8"/>
                        <a:pt x="8" y="3"/>
                        <a:pt x="5" y="3"/>
                      </a:cubicBezTo>
                      <a:cubicBezTo>
                        <a:pt x="5" y="3"/>
                        <a:pt x="5" y="3"/>
                        <a:pt x="5" y="3"/>
                      </a:cubicBezTo>
                      <a:cubicBezTo>
                        <a:pt x="6" y="2"/>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49" name="Freeform 129">
                  <a:extLst>
                    <a:ext uri="{FF2B5EF4-FFF2-40B4-BE49-F238E27FC236}">
                      <a16:creationId xmlns:a16="http://schemas.microsoft.com/office/drawing/2014/main" id="{7F8C4AB1-B9C7-49AD-B984-D9E06EF338C7}"/>
                    </a:ext>
                  </a:extLst>
                </p:cNvPr>
                <p:cNvSpPr>
                  <a:spLocks/>
                </p:cNvSpPr>
                <p:nvPr/>
              </p:nvSpPr>
              <p:spPr bwMode="auto">
                <a:xfrm>
                  <a:off x="5837223" y="4761170"/>
                  <a:ext cx="66332" cy="14740"/>
                </a:xfrm>
                <a:custGeom>
                  <a:avLst/>
                  <a:gdLst>
                    <a:gd name="T0" fmla="*/ 3 w 21"/>
                    <a:gd name="T1" fmla="*/ 0 h 4"/>
                    <a:gd name="T2" fmla="*/ 0 w 21"/>
                    <a:gd name="T3" fmla="*/ 1 h 4"/>
                    <a:gd name="T4" fmla="*/ 17 w 21"/>
                    <a:gd name="T5" fmla="*/ 4 h 4"/>
                    <a:gd name="T6" fmla="*/ 21 w 21"/>
                    <a:gd name="T7" fmla="*/ 3 h 4"/>
                    <a:gd name="T8" fmla="*/ 7 w 21"/>
                    <a:gd name="T9" fmla="*/ 1 h 4"/>
                    <a:gd name="T10" fmla="*/ 3 w 21"/>
                    <a:gd name="T11" fmla="*/ 0 h 4"/>
                  </a:gdLst>
                  <a:ahLst/>
                  <a:cxnLst>
                    <a:cxn ang="0">
                      <a:pos x="T0" y="T1"/>
                    </a:cxn>
                    <a:cxn ang="0">
                      <a:pos x="T2" y="T3"/>
                    </a:cxn>
                    <a:cxn ang="0">
                      <a:pos x="T4" y="T5"/>
                    </a:cxn>
                    <a:cxn ang="0">
                      <a:pos x="T6" y="T7"/>
                    </a:cxn>
                    <a:cxn ang="0">
                      <a:pos x="T8" y="T9"/>
                    </a:cxn>
                    <a:cxn ang="0">
                      <a:pos x="T10" y="T11"/>
                    </a:cxn>
                  </a:cxnLst>
                  <a:rect l="0" t="0" r="r" b="b"/>
                  <a:pathLst>
                    <a:path w="21" h="4">
                      <a:moveTo>
                        <a:pt x="3" y="0"/>
                      </a:moveTo>
                      <a:cubicBezTo>
                        <a:pt x="2" y="0"/>
                        <a:pt x="1" y="1"/>
                        <a:pt x="0" y="1"/>
                      </a:cubicBezTo>
                      <a:cubicBezTo>
                        <a:pt x="5" y="2"/>
                        <a:pt x="11" y="4"/>
                        <a:pt x="17" y="4"/>
                      </a:cubicBezTo>
                      <a:cubicBezTo>
                        <a:pt x="18" y="4"/>
                        <a:pt x="20" y="4"/>
                        <a:pt x="21" y="3"/>
                      </a:cubicBezTo>
                      <a:cubicBezTo>
                        <a:pt x="16" y="3"/>
                        <a:pt x="11" y="3"/>
                        <a:pt x="7" y="1"/>
                      </a:cubicBezTo>
                      <a:cubicBezTo>
                        <a:pt x="6" y="1"/>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50" name="Freeform 130">
                  <a:extLst>
                    <a:ext uri="{FF2B5EF4-FFF2-40B4-BE49-F238E27FC236}">
                      <a16:creationId xmlns:a16="http://schemas.microsoft.com/office/drawing/2014/main" id="{7054105B-6D9C-4B04-8D48-AEFE8B0240BE}"/>
                    </a:ext>
                  </a:extLst>
                </p:cNvPr>
                <p:cNvSpPr>
                  <a:spLocks/>
                </p:cNvSpPr>
                <p:nvPr/>
              </p:nvSpPr>
              <p:spPr bwMode="auto">
                <a:xfrm>
                  <a:off x="6644264" y="5406065"/>
                  <a:ext cx="25796" cy="29481"/>
                </a:xfrm>
                <a:custGeom>
                  <a:avLst/>
                  <a:gdLst>
                    <a:gd name="T0" fmla="*/ 5 w 8"/>
                    <a:gd name="T1" fmla="*/ 0 h 9"/>
                    <a:gd name="T2" fmla="*/ 0 w 8"/>
                    <a:gd name="T3" fmla="*/ 3 h 9"/>
                    <a:gd name="T4" fmla="*/ 3 w 8"/>
                    <a:gd name="T5" fmla="*/ 9 h 9"/>
                    <a:gd name="T6" fmla="*/ 7 w 8"/>
                    <a:gd name="T7" fmla="*/ 2 h 9"/>
                    <a:gd name="T8" fmla="*/ 5 w 8"/>
                    <a:gd name="T9" fmla="*/ 0 h 9"/>
                  </a:gdLst>
                  <a:ahLst/>
                  <a:cxnLst>
                    <a:cxn ang="0">
                      <a:pos x="T0" y="T1"/>
                    </a:cxn>
                    <a:cxn ang="0">
                      <a:pos x="T2" y="T3"/>
                    </a:cxn>
                    <a:cxn ang="0">
                      <a:pos x="T4" y="T5"/>
                    </a:cxn>
                    <a:cxn ang="0">
                      <a:pos x="T6" y="T7"/>
                    </a:cxn>
                    <a:cxn ang="0">
                      <a:pos x="T8" y="T9"/>
                    </a:cxn>
                  </a:cxnLst>
                  <a:rect l="0" t="0" r="r" b="b"/>
                  <a:pathLst>
                    <a:path w="8" h="9">
                      <a:moveTo>
                        <a:pt x="5" y="0"/>
                      </a:moveTo>
                      <a:cubicBezTo>
                        <a:pt x="3" y="0"/>
                        <a:pt x="1" y="3"/>
                        <a:pt x="0" y="3"/>
                      </a:cubicBezTo>
                      <a:cubicBezTo>
                        <a:pt x="0" y="5"/>
                        <a:pt x="2" y="7"/>
                        <a:pt x="3" y="9"/>
                      </a:cubicBezTo>
                      <a:cubicBezTo>
                        <a:pt x="5" y="8"/>
                        <a:pt x="8" y="4"/>
                        <a:pt x="7" y="2"/>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51" name="Freeform 131">
                  <a:extLst>
                    <a:ext uri="{FF2B5EF4-FFF2-40B4-BE49-F238E27FC236}">
                      <a16:creationId xmlns:a16="http://schemas.microsoft.com/office/drawing/2014/main" id="{CCF8C9CE-2711-401F-909F-3F7D137836C7}"/>
                    </a:ext>
                  </a:extLst>
                </p:cNvPr>
                <p:cNvSpPr>
                  <a:spLocks/>
                </p:cNvSpPr>
                <p:nvPr/>
              </p:nvSpPr>
              <p:spPr bwMode="auto">
                <a:xfrm>
                  <a:off x="6636893" y="5446601"/>
                  <a:ext cx="7370" cy="18426"/>
                </a:xfrm>
                <a:custGeom>
                  <a:avLst/>
                  <a:gdLst>
                    <a:gd name="T0" fmla="*/ 0 w 2"/>
                    <a:gd name="T1" fmla="*/ 0 h 5"/>
                    <a:gd name="T2" fmla="*/ 2 w 2"/>
                    <a:gd name="T3" fmla="*/ 5 h 5"/>
                    <a:gd name="T4" fmla="*/ 0 w 2"/>
                    <a:gd name="T5" fmla="*/ 0 h 5"/>
                  </a:gdLst>
                  <a:ahLst/>
                  <a:cxnLst>
                    <a:cxn ang="0">
                      <a:pos x="T0" y="T1"/>
                    </a:cxn>
                    <a:cxn ang="0">
                      <a:pos x="T2" y="T3"/>
                    </a:cxn>
                    <a:cxn ang="0">
                      <a:pos x="T4" y="T5"/>
                    </a:cxn>
                  </a:cxnLst>
                  <a:rect l="0" t="0" r="r" b="b"/>
                  <a:pathLst>
                    <a:path w="2" h="5">
                      <a:moveTo>
                        <a:pt x="0" y="0"/>
                      </a:moveTo>
                      <a:cubicBezTo>
                        <a:pt x="0" y="2"/>
                        <a:pt x="1" y="3"/>
                        <a:pt x="2" y="5"/>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52" name="Freeform 132">
                  <a:extLst>
                    <a:ext uri="{FF2B5EF4-FFF2-40B4-BE49-F238E27FC236}">
                      <a16:creationId xmlns:a16="http://schemas.microsoft.com/office/drawing/2014/main" id="{BF65C97B-141F-4637-B00D-FF71E078780E}"/>
                    </a:ext>
                  </a:extLst>
                </p:cNvPr>
                <p:cNvSpPr>
                  <a:spLocks/>
                </p:cNvSpPr>
                <p:nvPr/>
              </p:nvSpPr>
              <p:spPr bwMode="auto">
                <a:xfrm>
                  <a:off x="6467378" y="5321308"/>
                  <a:ext cx="7370" cy="11055"/>
                </a:xfrm>
                <a:custGeom>
                  <a:avLst/>
                  <a:gdLst>
                    <a:gd name="T0" fmla="*/ 3 w 3"/>
                    <a:gd name="T1" fmla="*/ 0 h 3"/>
                    <a:gd name="T2" fmla="*/ 0 w 3"/>
                    <a:gd name="T3" fmla="*/ 3 h 3"/>
                    <a:gd name="T4" fmla="*/ 3 w 3"/>
                    <a:gd name="T5" fmla="*/ 0 h 3"/>
                  </a:gdLst>
                  <a:ahLst/>
                  <a:cxnLst>
                    <a:cxn ang="0">
                      <a:pos x="T0" y="T1"/>
                    </a:cxn>
                    <a:cxn ang="0">
                      <a:pos x="T2" y="T3"/>
                    </a:cxn>
                    <a:cxn ang="0">
                      <a:pos x="T4" y="T5"/>
                    </a:cxn>
                  </a:cxnLst>
                  <a:rect l="0" t="0" r="r" b="b"/>
                  <a:pathLst>
                    <a:path w="3" h="3">
                      <a:moveTo>
                        <a:pt x="3" y="0"/>
                      </a:moveTo>
                      <a:cubicBezTo>
                        <a:pt x="2" y="1"/>
                        <a:pt x="1" y="2"/>
                        <a:pt x="0" y="3"/>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53" name="Freeform 133">
                  <a:extLst>
                    <a:ext uri="{FF2B5EF4-FFF2-40B4-BE49-F238E27FC236}">
                      <a16:creationId xmlns:a16="http://schemas.microsoft.com/office/drawing/2014/main" id="{AAC1CD5A-1A4D-4107-A9B4-F458C24CB700}"/>
                    </a:ext>
                  </a:extLst>
                </p:cNvPr>
                <p:cNvSpPr>
                  <a:spLocks/>
                </p:cNvSpPr>
                <p:nvPr/>
              </p:nvSpPr>
              <p:spPr bwMode="auto">
                <a:xfrm>
                  <a:off x="6611098" y="5107571"/>
                  <a:ext cx="44221" cy="25796"/>
                </a:xfrm>
                <a:custGeom>
                  <a:avLst/>
                  <a:gdLst>
                    <a:gd name="T0" fmla="*/ 13 w 13"/>
                    <a:gd name="T1" fmla="*/ 0 h 8"/>
                    <a:gd name="T2" fmla="*/ 8 w 13"/>
                    <a:gd name="T3" fmla="*/ 2 h 8"/>
                    <a:gd name="T4" fmla="*/ 8 w 13"/>
                    <a:gd name="T5" fmla="*/ 2 h 8"/>
                    <a:gd name="T6" fmla="*/ 7 w 13"/>
                    <a:gd name="T7" fmla="*/ 1 h 8"/>
                    <a:gd name="T8" fmla="*/ 5 w 13"/>
                    <a:gd name="T9" fmla="*/ 1 h 8"/>
                    <a:gd name="T10" fmla="*/ 4 w 13"/>
                    <a:gd name="T11" fmla="*/ 1 h 8"/>
                    <a:gd name="T12" fmla="*/ 3 w 13"/>
                    <a:gd name="T13" fmla="*/ 1 h 8"/>
                    <a:gd name="T14" fmla="*/ 1 w 13"/>
                    <a:gd name="T15" fmla="*/ 6 h 8"/>
                    <a:gd name="T16" fmla="*/ 6 w 13"/>
                    <a:gd name="T17" fmla="*/ 4 h 8"/>
                    <a:gd name="T18" fmla="*/ 10 w 13"/>
                    <a:gd name="T19" fmla="*/ 8 h 8"/>
                    <a:gd name="T20" fmla="*/ 13 w 13"/>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8">
                      <a:moveTo>
                        <a:pt x="13" y="0"/>
                      </a:moveTo>
                      <a:cubicBezTo>
                        <a:pt x="12" y="0"/>
                        <a:pt x="9" y="2"/>
                        <a:pt x="8" y="2"/>
                      </a:cubicBezTo>
                      <a:cubicBezTo>
                        <a:pt x="8" y="2"/>
                        <a:pt x="8" y="2"/>
                        <a:pt x="8" y="2"/>
                      </a:cubicBezTo>
                      <a:cubicBezTo>
                        <a:pt x="7" y="2"/>
                        <a:pt x="8" y="1"/>
                        <a:pt x="7" y="1"/>
                      </a:cubicBezTo>
                      <a:cubicBezTo>
                        <a:pt x="7" y="1"/>
                        <a:pt x="6" y="1"/>
                        <a:pt x="5" y="1"/>
                      </a:cubicBezTo>
                      <a:cubicBezTo>
                        <a:pt x="5" y="1"/>
                        <a:pt x="4" y="1"/>
                        <a:pt x="4" y="1"/>
                      </a:cubicBezTo>
                      <a:cubicBezTo>
                        <a:pt x="3" y="1"/>
                        <a:pt x="3" y="1"/>
                        <a:pt x="3" y="1"/>
                      </a:cubicBezTo>
                      <a:cubicBezTo>
                        <a:pt x="0" y="2"/>
                        <a:pt x="2" y="3"/>
                        <a:pt x="1" y="6"/>
                      </a:cubicBezTo>
                      <a:cubicBezTo>
                        <a:pt x="4" y="5"/>
                        <a:pt x="5" y="4"/>
                        <a:pt x="6" y="4"/>
                      </a:cubicBezTo>
                      <a:cubicBezTo>
                        <a:pt x="7" y="4"/>
                        <a:pt x="8" y="5"/>
                        <a:pt x="10" y="8"/>
                      </a:cubicBezTo>
                      <a:cubicBezTo>
                        <a:pt x="9" y="3"/>
                        <a:pt x="12" y="3"/>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54" name="Freeform 134">
                  <a:extLst>
                    <a:ext uri="{FF2B5EF4-FFF2-40B4-BE49-F238E27FC236}">
                      <a16:creationId xmlns:a16="http://schemas.microsoft.com/office/drawing/2014/main" id="{90493FCB-670F-4BF0-BF0B-F32A580D9912}"/>
                    </a:ext>
                  </a:extLst>
                </p:cNvPr>
                <p:cNvSpPr>
                  <a:spLocks/>
                </p:cNvSpPr>
                <p:nvPr/>
              </p:nvSpPr>
              <p:spPr bwMode="auto">
                <a:xfrm>
                  <a:off x="6614783" y="5409750"/>
                  <a:ext cx="22111" cy="18426"/>
                </a:xfrm>
                <a:custGeom>
                  <a:avLst/>
                  <a:gdLst>
                    <a:gd name="T0" fmla="*/ 7 w 7"/>
                    <a:gd name="T1" fmla="*/ 0 h 6"/>
                    <a:gd name="T2" fmla="*/ 4 w 7"/>
                    <a:gd name="T3" fmla="*/ 6 h 6"/>
                    <a:gd name="T4" fmla="*/ 7 w 7"/>
                    <a:gd name="T5" fmla="*/ 0 h 6"/>
                  </a:gdLst>
                  <a:ahLst/>
                  <a:cxnLst>
                    <a:cxn ang="0">
                      <a:pos x="T0" y="T1"/>
                    </a:cxn>
                    <a:cxn ang="0">
                      <a:pos x="T2" y="T3"/>
                    </a:cxn>
                    <a:cxn ang="0">
                      <a:pos x="T4" y="T5"/>
                    </a:cxn>
                  </a:cxnLst>
                  <a:rect l="0" t="0" r="r" b="b"/>
                  <a:pathLst>
                    <a:path w="7" h="6">
                      <a:moveTo>
                        <a:pt x="7" y="0"/>
                      </a:moveTo>
                      <a:cubicBezTo>
                        <a:pt x="3" y="1"/>
                        <a:pt x="0" y="2"/>
                        <a:pt x="4" y="6"/>
                      </a:cubicBezTo>
                      <a:cubicBezTo>
                        <a:pt x="7" y="4"/>
                        <a:pt x="6"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55" name="Freeform 135">
                  <a:extLst>
                    <a:ext uri="{FF2B5EF4-FFF2-40B4-BE49-F238E27FC236}">
                      <a16:creationId xmlns:a16="http://schemas.microsoft.com/office/drawing/2014/main" id="{45521229-5E81-4EBC-8458-5DF23A44D508}"/>
                    </a:ext>
                  </a:extLst>
                </p:cNvPr>
                <p:cNvSpPr>
                  <a:spLocks/>
                </p:cNvSpPr>
                <p:nvPr/>
              </p:nvSpPr>
              <p:spPr bwMode="auto">
                <a:xfrm>
                  <a:off x="6647949" y="5479768"/>
                  <a:ext cx="7370" cy="14740"/>
                </a:xfrm>
                <a:custGeom>
                  <a:avLst/>
                  <a:gdLst>
                    <a:gd name="T0" fmla="*/ 0 w 2"/>
                    <a:gd name="T1" fmla="*/ 0 h 5"/>
                    <a:gd name="T2" fmla="*/ 1 w 2"/>
                    <a:gd name="T3" fmla="*/ 5 h 5"/>
                    <a:gd name="T4" fmla="*/ 0 w 2"/>
                    <a:gd name="T5" fmla="*/ 0 h 5"/>
                  </a:gdLst>
                  <a:ahLst/>
                  <a:cxnLst>
                    <a:cxn ang="0">
                      <a:pos x="T0" y="T1"/>
                    </a:cxn>
                    <a:cxn ang="0">
                      <a:pos x="T2" y="T3"/>
                    </a:cxn>
                    <a:cxn ang="0">
                      <a:pos x="T4" y="T5"/>
                    </a:cxn>
                  </a:cxnLst>
                  <a:rect l="0" t="0" r="r" b="b"/>
                  <a:pathLst>
                    <a:path w="2" h="5">
                      <a:moveTo>
                        <a:pt x="0" y="0"/>
                      </a:moveTo>
                      <a:cubicBezTo>
                        <a:pt x="0" y="2"/>
                        <a:pt x="1" y="3"/>
                        <a:pt x="1" y="5"/>
                      </a:cubicBezTo>
                      <a:cubicBezTo>
                        <a:pt x="2" y="3"/>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56" name="Freeform 136">
                  <a:extLst>
                    <a:ext uri="{FF2B5EF4-FFF2-40B4-BE49-F238E27FC236}">
                      <a16:creationId xmlns:a16="http://schemas.microsoft.com/office/drawing/2014/main" id="{D06E5B42-AC34-49EE-A266-058113947C16}"/>
                    </a:ext>
                  </a:extLst>
                </p:cNvPr>
                <p:cNvSpPr>
                  <a:spLocks/>
                </p:cNvSpPr>
                <p:nvPr/>
              </p:nvSpPr>
              <p:spPr bwMode="auto">
                <a:xfrm>
                  <a:off x="6699540" y="5354474"/>
                  <a:ext cx="33166" cy="18426"/>
                </a:xfrm>
                <a:custGeom>
                  <a:avLst/>
                  <a:gdLst>
                    <a:gd name="T0" fmla="*/ 10 w 10"/>
                    <a:gd name="T1" fmla="*/ 0 h 5"/>
                    <a:gd name="T2" fmla="*/ 0 w 10"/>
                    <a:gd name="T3" fmla="*/ 5 h 5"/>
                    <a:gd name="T4" fmla="*/ 10 w 10"/>
                    <a:gd name="T5" fmla="*/ 0 h 5"/>
                  </a:gdLst>
                  <a:ahLst/>
                  <a:cxnLst>
                    <a:cxn ang="0">
                      <a:pos x="T0" y="T1"/>
                    </a:cxn>
                    <a:cxn ang="0">
                      <a:pos x="T2" y="T3"/>
                    </a:cxn>
                    <a:cxn ang="0">
                      <a:pos x="T4" y="T5"/>
                    </a:cxn>
                  </a:cxnLst>
                  <a:rect l="0" t="0" r="r" b="b"/>
                  <a:pathLst>
                    <a:path w="10" h="5">
                      <a:moveTo>
                        <a:pt x="10" y="0"/>
                      </a:moveTo>
                      <a:cubicBezTo>
                        <a:pt x="7" y="1"/>
                        <a:pt x="3" y="3"/>
                        <a:pt x="0" y="5"/>
                      </a:cubicBezTo>
                      <a:cubicBezTo>
                        <a:pt x="4" y="5"/>
                        <a:pt x="8" y="3"/>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57" name="Freeform 137">
                  <a:extLst>
                    <a:ext uri="{FF2B5EF4-FFF2-40B4-BE49-F238E27FC236}">
                      <a16:creationId xmlns:a16="http://schemas.microsoft.com/office/drawing/2014/main" id="{265664F0-50B3-410A-946A-AC3521B667E1}"/>
                    </a:ext>
                  </a:extLst>
                </p:cNvPr>
                <p:cNvSpPr>
                  <a:spLocks/>
                </p:cNvSpPr>
                <p:nvPr/>
              </p:nvSpPr>
              <p:spPr bwMode="auto">
                <a:xfrm>
                  <a:off x="6600042" y="5376584"/>
                  <a:ext cx="7370" cy="11055"/>
                </a:xfrm>
                <a:custGeom>
                  <a:avLst/>
                  <a:gdLst>
                    <a:gd name="T0" fmla="*/ 2 w 2"/>
                    <a:gd name="T1" fmla="*/ 0 h 4"/>
                    <a:gd name="T2" fmla="*/ 0 w 2"/>
                    <a:gd name="T3" fmla="*/ 4 h 4"/>
                    <a:gd name="T4" fmla="*/ 2 w 2"/>
                    <a:gd name="T5" fmla="*/ 0 h 4"/>
                  </a:gdLst>
                  <a:ahLst/>
                  <a:cxnLst>
                    <a:cxn ang="0">
                      <a:pos x="T0" y="T1"/>
                    </a:cxn>
                    <a:cxn ang="0">
                      <a:pos x="T2" y="T3"/>
                    </a:cxn>
                    <a:cxn ang="0">
                      <a:pos x="T4" y="T5"/>
                    </a:cxn>
                  </a:cxnLst>
                  <a:rect l="0" t="0" r="r" b="b"/>
                  <a:pathLst>
                    <a:path w="2" h="4">
                      <a:moveTo>
                        <a:pt x="2" y="0"/>
                      </a:moveTo>
                      <a:cubicBezTo>
                        <a:pt x="1" y="0"/>
                        <a:pt x="1" y="1"/>
                        <a:pt x="0" y="4"/>
                      </a:cubicBezTo>
                      <a:cubicBezTo>
                        <a:pt x="2" y="2"/>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58" name="Freeform 138">
                  <a:extLst>
                    <a:ext uri="{FF2B5EF4-FFF2-40B4-BE49-F238E27FC236}">
                      <a16:creationId xmlns:a16="http://schemas.microsoft.com/office/drawing/2014/main" id="{3D201995-A4BA-406C-9F56-01AB0AFB380A}"/>
                    </a:ext>
                  </a:extLst>
                </p:cNvPr>
                <p:cNvSpPr>
                  <a:spLocks/>
                </p:cNvSpPr>
                <p:nvPr/>
              </p:nvSpPr>
              <p:spPr bwMode="auto">
                <a:xfrm>
                  <a:off x="6485804" y="5192329"/>
                  <a:ext cx="7370" cy="18426"/>
                </a:xfrm>
                <a:custGeom>
                  <a:avLst/>
                  <a:gdLst>
                    <a:gd name="T0" fmla="*/ 0 w 3"/>
                    <a:gd name="T1" fmla="*/ 0 h 5"/>
                    <a:gd name="T2" fmla="*/ 3 w 3"/>
                    <a:gd name="T3" fmla="*/ 5 h 5"/>
                    <a:gd name="T4" fmla="*/ 0 w 3"/>
                    <a:gd name="T5" fmla="*/ 0 h 5"/>
                  </a:gdLst>
                  <a:ahLst/>
                  <a:cxnLst>
                    <a:cxn ang="0">
                      <a:pos x="T0" y="T1"/>
                    </a:cxn>
                    <a:cxn ang="0">
                      <a:pos x="T2" y="T3"/>
                    </a:cxn>
                    <a:cxn ang="0">
                      <a:pos x="T4" y="T5"/>
                    </a:cxn>
                  </a:cxnLst>
                  <a:rect l="0" t="0" r="r" b="b"/>
                  <a:pathLst>
                    <a:path w="3" h="5">
                      <a:moveTo>
                        <a:pt x="0" y="0"/>
                      </a:moveTo>
                      <a:cubicBezTo>
                        <a:pt x="1" y="2"/>
                        <a:pt x="2" y="3"/>
                        <a:pt x="3" y="5"/>
                      </a:cubicBezTo>
                      <a:cubicBezTo>
                        <a:pt x="3"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59" name="Freeform 139">
                  <a:extLst>
                    <a:ext uri="{FF2B5EF4-FFF2-40B4-BE49-F238E27FC236}">
                      <a16:creationId xmlns:a16="http://schemas.microsoft.com/office/drawing/2014/main" id="{EA465065-6019-434C-B3CD-895C85E8D6B7}"/>
                    </a:ext>
                  </a:extLst>
                </p:cNvPr>
                <p:cNvSpPr>
                  <a:spLocks/>
                </p:cNvSpPr>
                <p:nvPr/>
              </p:nvSpPr>
              <p:spPr bwMode="auto">
                <a:xfrm>
                  <a:off x="6688485" y="5173903"/>
                  <a:ext cx="73702" cy="44221"/>
                </a:xfrm>
                <a:custGeom>
                  <a:avLst/>
                  <a:gdLst>
                    <a:gd name="T0" fmla="*/ 12 w 23"/>
                    <a:gd name="T1" fmla="*/ 0 h 14"/>
                    <a:gd name="T2" fmla="*/ 6 w 23"/>
                    <a:gd name="T3" fmla="*/ 3 h 14"/>
                    <a:gd name="T4" fmla="*/ 4 w 23"/>
                    <a:gd name="T5" fmla="*/ 4 h 14"/>
                    <a:gd name="T6" fmla="*/ 3 w 23"/>
                    <a:gd name="T7" fmla="*/ 4 h 14"/>
                    <a:gd name="T8" fmla="*/ 3 w 23"/>
                    <a:gd name="T9" fmla="*/ 4 h 14"/>
                    <a:gd name="T10" fmla="*/ 0 w 23"/>
                    <a:gd name="T11" fmla="*/ 5 h 14"/>
                    <a:gd name="T12" fmla="*/ 10 w 23"/>
                    <a:gd name="T13" fmla="*/ 6 h 14"/>
                    <a:gd name="T14" fmla="*/ 11 w 23"/>
                    <a:gd name="T15" fmla="*/ 6 h 14"/>
                    <a:gd name="T16" fmla="*/ 7 w 23"/>
                    <a:gd name="T17" fmla="*/ 10 h 14"/>
                    <a:gd name="T18" fmla="*/ 16 w 23"/>
                    <a:gd name="T19" fmla="*/ 14 h 14"/>
                    <a:gd name="T20" fmla="*/ 17 w 23"/>
                    <a:gd name="T21" fmla="*/ 14 h 14"/>
                    <a:gd name="T22" fmla="*/ 17 w 23"/>
                    <a:gd name="T23" fmla="*/ 9 h 14"/>
                    <a:gd name="T24" fmla="*/ 17 w 23"/>
                    <a:gd name="T25" fmla="*/ 9 h 14"/>
                    <a:gd name="T26" fmla="*/ 19 w 23"/>
                    <a:gd name="T27" fmla="*/ 11 h 14"/>
                    <a:gd name="T28" fmla="*/ 21 w 23"/>
                    <a:gd name="T29" fmla="*/ 13 h 14"/>
                    <a:gd name="T30" fmla="*/ 22 w 23"/>
                    <a:gd name="T31" fmla="*/ 12 h 14"/>
                    <a:gd name="T32" fmla="*/ 16 w 23"/>
                    <a:gd name="T33" fmla="*/ 5 h 14"/>
                    <a:gd name="T34" fmla="*/ 14 w 23"/>
                    <a:gd name="T35" fmla="*/ 1 h 14"/>
                    <a:gd name="T36" fmla="*/ 12 w 23"/>
                    <a:gd name="T3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14">
                      <a:moveTo>
                        <a:pt x="12" y="0"/>
                      </a:moveTo>
                      <a:cubicBezTo>
                        <a:pt x="10" y="0"/>
                        <a:pt x="8" y="2"/>
                        <a:pt x="6" y="3"/>
                      </a:cubicBezTo>
                      <a:cubicBezTo>
                        <a:pt x="5" y="4"/>
                        <a:pt x="4" y="4"/>
                        <a:pt x="4" y="4"/>
                      </a:cubicBezTo>
                      <a:cubicBezTo>
                        <a:pt x="3" y="4"/>
                        <a:pt x="3" y="4"/>
                        <a:pt x="3" y="4"/>
                      </a:cubicBezTo>
                      <a:cubicBezTo>
                        <a:pt x="3" y="4"/>
                        <a:pt x="3" y="4"/>
                        <a:pt x="3" y="4"/>
                      </a:cubicBezTo>
                      <a:cubicBezTo>
                        <a:pt x="2" y="4"/>
                        <a:pt x="1" y="4"/>
                        <a:pt x="0" y="5"/>
                      </a:cubicBezTo>
                      <a:cubicBezTo>
                        <a:pt x="3" y="5"/>
                        <a:pt x="6" y="6"/>
                        <a:pt x="10" y="6"/>
                      </a:cubicBezTo>
                      <a:cubicBezTo>
                        <a:pt x="10" y="6"/>
                        <a:pt x="11" y="6"/>
                        <a:pt x="11" y="6"/>
                      </a:cubicBezTo>
                      <a:cubicBezTo>
                        <a:pt x="10" y="8"/>
                        <a:pt x="9" y="10"/>
                        <a:pt x="7" y="10"/>
                      </a:cubicBezTo>
                      <a:cubicBezTo>
                        <a:pt x="10" y="12"/>
                        <a:pt x="13" y="13"/>
                        <a:pt x="16" y="14"/>
                      </a:cubicBezTo>
                      <a:cubicBezTo>
                        <a:pt x="17" y="14"/>
                        <a:pt x="17" y="14"/>
                        <a:pt x="17" y="14"/>
                      </a:cubicBezTo>
                      <a:cubicBezTo>
                        <a:pt x="23" y="14"/>
                        <a:pt x="15" y="11"/>
                        <a:pt x="17" y="9"/>
                      </a:cubicBezTo>
                      <a:cubicBezTo>
                        <a:pt x="17" y="9"/>
                        <a:pt x="17" y="9"/>
                        <a:pt x="17" y="9"/>
                      </a:cubicBezTo>
                      <a:cubicBezTo>
                        <a:pt x="18" y="9"/>
                        <a:pt x="19" y="10"/>
                        <a:pt x="19" y="11"/>
                      </a:cubicBezTo>
                      <a:cubicBezTo>
                        <a:pt x="20" y="12"/>
                        <a:pt x="21" y="13"/>
                        <a:pt x="21" y="13"/>
                      </a:cubicBezTo>
                      <a:cubicBezTo>
                        <a:pt x="21" y="13"/>
                        <a:pt x="22" y="13"/>
                        <a:pt x="22" y="12"/>
                      </a:cubicBezTo>
                      <a:cubicBezTo>
                        <a:pt x="23" y="9"/>
                        <a:pt x="17" y="6"/>
                        <a:pt x="16" y="5"/>
                      </a:cubicBezTo>
                      <a:cubicBezTo>
                        <a:pt x="15" y="3"/>
                        <a:pt x="16" y="2"/>
                        <a:pt x="14" y="1"/>
                      </a:cubicBezTo>
                      <a:cubicBezTo>
                        <a:pt x="14" y="0"/>
                        <a:pt x="13"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60" name="Freeform 140">
                  <a:extLst>
                    <a:ext uri="{FF2B5EF4-FFF2-40B4-BE49-F238E27FC236}">
                      <a16:creationId xmlns:a16="http://schemas.microsoft.com/office/drawing/2014/main" id="{95FB36F2-7F4F-4560-9826-CF7B99BCE5C3}"/>
                    </a:ext>
                  </a:extLst>
                </p:cNvPr>
                <p:cNvSpPr>
                  <a:spLocks/>
                </p:cNvSpPr>
                <p:nvPr/>
              </p:nvSpPr>
              <p:spPr bwMode="auto">
                <a:xfrm>
                  <a:off x="6655319" y="5059664"/>
                  <a:ext cx="18426" cy="7370"/>
                </a:xfrm>
                <a:custGeom>
                  <a:avLst/>
                  <a:gdLst>
                    <a:gd name="T0" fmla="*/ 0 w 6"/>
                    <a:gd name="T1" fmla="*/ 0 h 2"/>
                    <a:gd name="T2" fmla="*/ 4 w 6"/>
                    <a:gd name="T3" fmla="*/ 2 h 2"/>
                    <a:gd name="T4" fmla="*/ 6 w 6"/>
                    <a:gd name="T5" fmla="*/ 1 h 2"/>
                    <a:gd name="T6" fmla="*/ 0 w 6"/>
                    <a:gd name="T7" fmla="*/ 0 h 2"/>
                  </a:gdLst>
                  <a:ahLst/>
                  <a:cxnLst>
                    <a:cxn ang="0">
                      <a:pos x="T0" y="T1"/>
                    </a:cxn>
                    <a:cxn ang="0">
                      <a:pos x="T2" y="T3"/>
                    </a:cxn>
                    <a:cxn ang="0">
                      <a:pos x="T4" y="T5"/>
                    </a:cxn>
                    <a:cxn ang="0">
                      <a:pos x="T6" y="T7"/>
                    </a:cxn>
                  </a:cxnLst>
                  <a:rect l="0" t="0" r="r" b="b"/>
                  <a:pathLst>
                    <a:path w="6" h="2">
                      <a:moveTo>
                        <a:pt x="0" y="0"/>
                      </a:moveTo>
                      <a:cubicBezTo>
                        <a:pt x="2" y="1"/>
                        <a:pt x="3" y="2"/>
                        <a:pt x="4" y="2"/>
                      </a:cubicBezTo>
                      <a:cubicBezTo>
                        <a:pt x="5" y="2"/>
                        <a:pt x="5" y="2"/>
                        <a:pt x="6" y="1"/>
                      </a:cubicBezTo>
                      <a:cubicBezTo>
                        <a:pt x="4"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61" name="Freeform 141">
                  <a:extLst>
                    <a:ext uri="{FF2B5EF4-FFF2-40B4-BE49-F238E27FC236}">
                      <a16:creationId xmlns:a16="http://schemas.microsoft.com/office/drawing/2014/main" id="{C24D5864-83A4-44E2-A8AA-1B05B5C63B32}"/>
                    </a:ext>
                  </a:extLst>
                </p:cNvPr>
                <p:cNvSpPr>
                  <a:spLocks/>
                </p:cNvSpPr>
                <p:nvPr/>
              </p:nvSpPr>
              <p:spPr bwMode="auto">
                <a:xfrm>
                  <a:off x="6581617" y="5424491"/>
                  <a:ext cx="3685" cy="11055"/>
                </a:xfrm>
                <a:custGeom>
                  <a:avLst/>
                  <a:gdLst>
                    <a:gd name="T0" fmla="*/ 0 w 2"/>
                    <a:gd name="T1" fmla="*/ 0 h 4"/>
                    <a:gd name="T2" fmla="*/ 2 w 2"/>
                    <a:gd name="T3" fmla="*/ 4 h 4"/>
                    <a:gd name="T4" fmla="*/ 0 w 2"/>
                    <a:gd name="T5" fmla="*/ 0 h 4"/>
                  </a:gdLst>
                  <a:ahLst/>
                  <a:cxnLst>
                    <a:cxn ang="0">
                      <a:pos x="T0" y="T1"/>
                    </a:cxn>
                    <a:cxn ang="0">
                      <a:pos x="T2" y="T3"/>
                    </a:cxn>
                    <a:cxn ang="0">
                      <a:pos x="T4" y="T5"/>
                    </a:cxn>
                  </a:cxnLst>
                  <a:rect l="0" t="0" r="r" b="b"/>
                  <a:pathLst>
                    <a:path w="2" h="4">
                      <a:moveTo>
                        <a:pt x="0" y="0"/>
                      </a:moveTo>
                      <a:cubicBezTo>
                        <a:pt x="0" y="1"/>
                        <a:pt x="1" y="3"/>
                        <a:pt x="2"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62" name="Freeform 142">
                  <a:extLst>
                    <a:ext uri="{FF2B5EF4-FFF2-40B4-BE49-F238E27FC236}">
                      <a16:creationId xmlns:a16="http://schemas.microsoft.com/office/drawing/2014/main" id="{CF5D10D0-40F1-4564-BD11-3152A135A2DE}"/>
                    </a:ext>
                  </a:extLst>
                </p:cNvPr>
                <p:cNvSpPr>
                  <a:spLocks noEditPoints="1"/>
                </p:cNvSpPr>
                <p:nvPr/>
              </p:nvSpPr>
              <p:spPr bwMode="auto">
                <a:xfrm>
                  <a:off x="6478433" y="5560840"/>
                  <a:ext cx="250588" cy="77387"/>
                </a:xfrm>
                <a:custGeom>
                  <a:avLst/>
                  <a:gdLst>
                    <a:gd name="T0" fmla="*/ 79 w 79"/>
                    <a:gd name="T1" fmla="*/ 12 h 24"/>
                    <a:gd name="T2" fmla="*/ 79 w 79"/>
                    <a:gd name="T3" fmla="*/ 12 h 24"/>
                    <a:gd name="T4" fmla="*/ 79 w 79"/>
                    <a:gd name="T5" fmla="*/ 12 h 24"/>
                    <a:gd name="T6" fmla="*/ 6 w 79"/>
                    <a:gd name="T7" fmla="*/ 0 h 24"/>
                    <a:gd name="T8" fmla="*/ 0 w 79"/>
                    <a:gd name="T9" fmla="*/ 12 h 24"/>
                    <a:gd name="T10" fmla="*/ 26 w 79"/>
                    <a:gd name="T11" fmla="*/ 17 h 24"/>
                    <a:gd name="T12" fmla="*/ 34 w 79"/>
                    <a:gd name="T13" fmla="*/ 24 h 24"/>
                    <a:gd name="T14" fmla="*/ 59 w 79"/>
                    <a:gd name="T15" fmla="*/ 22 h 24"/>
                    <a:gd name="T16" fmla="*/ 76 w 79"/>
                    <a:gd name="T17" fmla="*/ 21 h 24"/>
                    <a:gd name="T18" fmla="*/ 78 w 79"/>
                    <a:gd name="T19" fmla="*/ 17 h 24"/>
                    <a:gd name="T20" fmla="*/ 79 w 79"/>
                    <a:gd name="T21" fmla="*/ 16 h 24"/>
                    <a:gd name="T22" fmla="*/ 78 w 79"/>
                    <a:gd name="T23" fmla="*/ 14 h 24"/>
                    <a:gd name="T24" fmla="*/ 79 w 79"/>
                    <a:gd name="T25" fmla="*/ 12 h 24"/>
                    <a:gd name="T26" fmla="*/ 69 w 79"/>
                    <a:gd name="T27" fmla="*/ 16 h 24"/>
                    <a:gd name="T28" fmla="*/ 65 w 79"/>
                    <a:gd name="T29" fmla="*/ 18 h 24"/>
                    <a:gd name="T30" fmla="*/ 64 w 79"/>
                    <a:gd name="T31" fmla="*/ 11 h 24"/>
                    <a:gd name="T32" fmla="*/ 63 w 79"/>
                    <a:gd name="T33" fmla="*/ 11 h 24"/>
                    <a:gd name="T34" fmla="*/ 60 w 79"/>
                    <a:gd name="T35" fmla="*/ 12 h 24"/>
                    <a:gd name="T36" fmla="*/ 57 w 79"/>
                    <a:gd name="T37" fmla="*/ 12 h 24"/>
                    <a:gd name="T38" fmla="*/ 56 w 79"/>
                    <a:gd name="T39" fmla="*/ 12 h 24"/>
                    <a:gd name="T40" fmla="*/ 42 w 79"/>
                    <a:gd name="T41" fmla="*/ 9 h 24"/>
                    <a:gd name="T42" fmla="*/ 40 w 79"/>
                    <a:gd name="T43" fmla="*/ 9 h 24"/>
                    <a:gd name="T44" fmla="*/ 33 w 79"/>
                    <a:gd name="T45" fmla="*/ 10 h 24"/>
                    <a:gd name="T46" fmla="*/ 27 w 79"/>
                    <a:gd name="T47" fmla="*/ 11 h 24"/>
                    <a:gd name="T48" fmla="*/ 21 w 79"/>
                    <a:gd name="T49" fmla="*/ 8 h 24"/>
                    <a:gd name="T50" fmla="*/ 17 w 79"/>
                    <a:gd name="T51" fmla="*/ 5 h 24"/>
                    <a:gd name="T52" fmla="*/ 19 w 79"/>
                    <a:gd name="T53" fmla="*/ 3 h 24"/>
                    <a:gd name="T54" fmla="*/ 16 w 79"/>
                    <a:gd name="T55" fmla="*/ 2 h 24"/>
                    <a:gd name="T56" fmla="*/ 9 w 79"/>
                    <a:gd name="T57" fmla="*/ 4 h 24"/>
                    <a:gd name="T58" fmla="*/ 8 w 79"/>
                    <a:gd name="T59" fmla="*/ 4 h 24"/>
                    <a:gd name="T60" fmla="*/ 6 w 79"/>
                    <a:gd name="T6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24">
                      <a:moveTo>
                        <a:pt x="79" y="12"/>
                      </a:moveTo>
                      <a:cubicBezTo>
                        <a:pt x="79" y="12"/>
                        <a:pt x="79" y="12"/>
                        <a:pt x="79" y="12"/>
                      </a:cubicBezTo>
                      <a:cubicBezTo>
                        <a:pt x="79" y="12"/>
                        <a:pt x="79" y="12"/>
                        <a:pt x="79" y="12"/>
                      </a:cubicBezTo>
                      <a:moveTo>
                        <a:pt x="6" y="0"/>
                      </a:moveTo>
                      <a:cubicBezTo>
                        <a:pt x="4" y="4"/>
                        <a:pt x="2" y="8"/>
                        <a:pt x="0" y="12"/>
                      </a:cubicBezTo>
                      <a:cubicBezTo>
                        <a:pt x="8" y="14"/>
                        <a:pt x="17" y="15"/>
                        <a:pt x="26" y="17"/>
                      </a:cubicBezTo>
                      <a:cubicBezTo>
                        <a:pt x="30" y="18"/>
                        <a:pt x="37" y="19"/>
                        <a:pt x="34" y="24"/>
                      </a:cubicBezTo>
                      <a:cubicBezTo>
                        <a:pt x="42" y="24"/>
                        <a:pt x="51" y="22"/>
                        <a:pt x="59" y="22"/>
                      </a:cubicBezTo>
                      <a:cubicBezTo>
                        <a:pt x="64" y="21"/>
                        <a:pt x="70" y="21"/>
                        <a:pt x="76" y="21"/>
                      </a:cubicBezTo>
                      <a:cubicBezTo>
                        <a:pt x="78" y="21"/>
                        <a:pt x="78" y="19"/>
                        <a:pt x="78" y="17"/>
                      </a:cubicBezTo>
                      <a:cubicBezTo>
                        <a:pt x="78" y="16"/>
                        <a:pt x="79" y="16"/>
                        <a:pt x="79" y="16"/>
                      </a:cubicBezTo>
                      <a:cubicBezTo>
                        <a:pt x="79" y="15"/>
                        <a:pt x="78" y="15"/>
                        <a:pt x="78" y="14"/>
                      </a:cubicBezTo>
                      <a:cubicBezTo>
                        <a:pt x="78" y="13"/>
                        <a:pt x="79" y="12"/>
                        <a:pt x="79" y="12"/>
                      </a:cubicBezTo>
                      <a:cubicBezTo>
                        <a:pt x="74" y="16"/>
                        <a:pt x="75" y="14"/>
                        <a:pt x="69" y="16"/>
                      </a:cubicBezTo>
                      <a:cubicBezTo>
                        <a:pt x="67" y="16"/>
                        <a:pt x="66" y="17"/>
                        <a:pt x="65" y="18"/>
                      </a:cubicBezTo>
                      <a:cubicBezTo>
                        <a:pt x="64" y="16"/>
                        <a:pt x="62" y="13"/>
                        <a:pt x="64" y="11"/>
                      </a:cubicBezTo>
                      <a:cubicBezTo>
                        <a:pt x="64" y="11"/>
                        <a:pt x="63" y="11"/>
                        <a:pt x="63" y="11"/>
                      </a:cubicBezTo>
                      <a:cubicBezTo>
                        <a:pt x="62" y="11"/>
                        <a:pt x="61" y="11"/>
                        <a:pt x="60" y="12"/>
                      </a:cubicBezTo>
                      <a:cubicBezTo>
                        <a:pt x="59" y="12"/>
                        <a:pt x="58" y="12"/>
                        <a:pt x="57" y="12"/>
                      </a:cubicBezTo>
                      <a:cubicBezTo>
                        <a:pt x="57" y="12"/>
                        <a:pt x="56" y="12"/>
                        <a:pt x="56" y="12"/>
                      </a:cubicBezTo>
                      <a:cubicBezTo>
                        <a:pt x="51" y="11"/>
                        <a:pt x="46" y="10"/>
                        <a:pt x="42" y="9"/>
                      </a:cubicBezTo>
                      <a:cubicBezTo>
                        <a:pt x="41" y="9"/>
                        <a:pt x="41" y="9"/>
                        <a:pt x="40" y="9"/>
                      </a:cubicBezTo>
                      <a:cubicBezTo>
                        <a:pt x="38" y="9"/>
                        <a:pt x="36" y="9"/>
                        <a:pt x="33" y="10"/>
                      </a:cubicBezTo>
                      <a:cubicBezTo>
                        <a:pt x="31" y="10"/>
                        <a:pt x="29" y="11"/>
                        <a:pt x="27" y="11"/>
                      </a:cubicBezTo>
                      <a:cubicBezTo>
                        <a:pt x="25" y="11"/>
                        <a:pt x="23" y="10"/>
                        <a:pt x="21" y="8"/>
                      </a:cubicBezTo>
                      <a:cubicBezTo>
                        <a:pt x="20" y="7"/>
                        <a:pt x="12" y="6"/>
                        <a:pt x="17" y="5"/>
                      </a:cubicBezTo>
                      <a:cubicBezTo>
                        <a:pt x="19" y="5"/>
                        <a:pt x="20" y="4"/>
                        <a:pt x="19" y="3"/>
                      </a:cubicBezTo>
                      <a:cubicBezTo>
                        <a:pt x="18" y="2"/>
                        <a:pt x="17" y="2"/>
                        <a:pt x="16" y="2"/>
                      </a:cubicBezTo>
                      <a:cubicBezTo>
                        <a:pt x="14" y="2"/>
                        <a:pt x="10" y="4"/>
                        <a:pt x="9" y="4"/>
                      </a:cubicBezTo>
                      <a:cubicBezTo>
                        <a:pt x="9" y="4"/>
                        <a:pt x="9" y="4"/>
                        <a:pt x="8" y="4"/>
                      </a:cubicBezTo>
                      <a:cubicBezTo>
                        <a:pt x="6" y="4"/>
                        <a:pt x="7"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63" name="Freeform 143">
                  <a:extLst>
                    <a:ext uri="{FF2B5EF4-FFF2-40B4-BE49-F238E27FC236}">
                      <a16:creationId xmlns:a16="http://schemas.microsoft.com/office/drawing/2014/main" id="{A1C7A2DB-E6BD-4286-8DA9-97A8C8651E34}"/>
                    </a:ext>
                  </a:extLst>
                </p:cNvPr>
                <p:cNvSpPr>
                  <a:spLocks/>
                </p:cNvSpPr>
                <p:nvPr/>
              </p:nvSpPr>
              <p:spPr bwMode="auto">
                <a:xfrm>
                  <a:off x="6854315" y="5483453"/>
                  <a:ext cx="51592" cy="55277"/>
                </a:xfrm>
                <a:custGeom>
                  <a:avLst/>
                  <a:gdLst>
                    <a:gd name="T0" fmla="*/ 14 w 16"/>
                    <a:gd name="T1" fmla="*/ 0 h 17"/>
                    <a:gd name="T2" fmla="*/ 8 w 16"/>
                    <a:gd name="T3" fmla="*/ 3 h 17"/>
                    <a:gd name="T4" fmla="*/ 1 w 16"/>
                    <a:gd name="T5" fmla="*/ 9 h 17"/>
                    <a:gd name="T6" fmla="*/ 1 w 16"/>
                    <a:gd name="T7" fmla="*/ 15 h 17"/>
                    <a:gd name="T8" fmla="*/ 1 w 16"/>
                    <a:gd name="T9" fmla="*/ 17 h 17"/>
                    <a:gd name="T10" fmla="*/ 2 w 16"/>
                    <a:gd name="T11" fmla="*/ 17 h 17"/>
                    <a:gd name="T12" fmla="*/ 7 w 16"/>
                    <a:gd name="T13" fmla="*/ 14 h 17"/>
                    <a:gd name="T14" fmla="*/ 10 w 16"/>
                    <a:gd name="T15" fmla="*/ 12 h 17"/>
                    <a:gd name="T16" fmla="*/ 11 w 16"/>
                    <a:gd name="T17" fmla="*/ 13 h 17"/>
                    <a:gd name="T18" fmla="*/ 14 w 16"/>
                    <a:gd name="T19" fmla="*/ 6 h 17"/>
                    <a:gd name="T20" fmla="*/ 16 w 16"/>
                    <a:gd name="T21" fmla="*/ 1 h 17"/>
                    <a:gd name="T22" fmla="*/ 14 w 16"/>
                    <a:gd name="T2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7">
                      <a:moveTo>
                        <a:pt x="14" y="0"/>
                      </a:moveTo>
                      <a:cubicBezTo>
                        <a:pt x="13" y="0"/>
                        <a:pt x="9" y="2"/>
                        <a:pt x="8" y="3"/>
                      </a:cubicBezTo>
                      <a:cubicBezTo>
                        <a:pt x="5" y="4"/>
                        <a:pt x="2" y="6"/>
                        <a:pt x="1" y="9"/>
                      </a:cubicBezTo>
                      <a:cubicBezTo>
                        <a:pt x="1" y="10"/>
                        <a:pt x="0" y="13"/>
                        <a:pt x="1" y="15"/>
                      </a:cubicBezTo>
                      <a:cubicBezTo>
                        <a:pt x="2" y="16"/>
                        <a:pt x="1" y="16"/>
                        <a:pt x="1" y="17"/>
                      </a:cubicBezTo>
                      <a:cubicBezTo>
                        <a:pt x="1" y="17"/>
                        <a:pt x="2" y="17"/>
                        <a:pt x="2" y="17"/>
                      </a:cubicBezTo>
                      <a:cubicBezTo>
                        <a:pt x="3" y="17"/>
                        <a:pt x="6" y="15"/>
                        <a:pt x="7" y="14"/>
                      </a:cubicBezTo>
                      <a:cubicBezTo>
                        <a:pt x="8" y="13"/>
                        <a:pt x="9" y="12"/>
                        <a:pt x="10" y="12"/>
                      </a:cubicBezTo>
                      <a:cubicBezTo>
                        <a:pt x="10" y="12"/>
                        <a:pt x="11" y="12"/>
                        <a:pt x="11" y="13"/>
                      </a:cubicBezTo>
                      <a:cubicBezTo>
                        <a:pt x="11" y="9"/>
                        <a:pt x="12" y="9"/>
                        <a:pt x="14" y="6"/>
                      </a:cubicBezTo>
                      <a:cubicBezTo>
                        <a:pt x="14" y="5"/>
                        <a:pt x="16" y="2"/>
                        <a:pt x="16" y="1"/>
                      </a:cubicBezTo>
                      <a:cubicBezTo>
                        <a:pt x="15" y="0"/>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64" name="Freeform 144">
                  <a:extLst>
                    <a:ext uri="{FF2B5EF4-FFF2-40B4-BE49-F238E27FC236}">
                      <a16:creationId xmlns:a16="http://schemas.microsoft.com/office/drawing/2014/main" id="{807EE956-40C3-4CCD-9044-C84136EF7D64}"/>
                    </a:ext>
                  </a:extLst>
                </p:cNvPr>
                <p:cNvSpPr>
                  <a:spLocks/>
                </p:cNvSpPr>
                <p:nvPr/>
              </p:nvSpPr>
              <p:spPr bwMode="auto">
                <a:xfrm>
                  <a:off x="6585302" y="5321308"/>
                  <a:ext cx="22111" cy="33166"/>
                </a:xfrm>
                <a:custGeom>
                  <a:avLst/>
                  <a:gdLst>
                    <a:gd name="T0" fmla="*/ 2 w 8"/>
                    <a:gd name="T1" fmla="*/ 0 h 10"/>
                    <a:gd name="T2" fmla="*/ 0 w 8"/>
                    <a:gd name="T3" fmla="*/ 1 h 10"/>
                    <a:gd name="T4" fmla="*/ 8 w 8"/>
                    <a:gd name="T5" fmla="*/ 10 h 10"/>
                    <a:gd name="T6" fmla="*/ 7 w 8"/>
                    <a:gd name="T7" fmla="*/ 5 h 10"/>
                    <a:gd name="T8" fmla="*/ 5 w 8"/>
                    <a:gd name="T9" fmla="*/ 3 h 10"/>
                    <a:gd name="T10" fmla="*/ 2 w 8"/>
                    <a:gd name="T11" fmla="*/ 0 h 10"/>
                  </a:gdLst>
                  <a:ahLst/>
                  <a:cxnLst>
                    <a:cxn ang="0">
                      <a:pos x="T0" y="T1"/>
                    </a:cxn>
                    <a:cxn ang="0">
                      <a:pos x="T2" y="T3"/>
                    </a:cxn>
                    <a:cxn ang="0">
                      <a:pos x="T4" y="T5"/>
                    </a:cxn>
                    <a:cxn ang="0">
                      <a:pos x="T6" y="T7"/>
                    </a:cxn>
                    <a:cxn ang="0">
                      <a:pos x="T8" y="T9"/>
                    </a:cxn>
                    <a:cxn ang="0">
                      <a:pos x="T10" y="T11"/>
                    </a:cxn>
                  </a:cxnLst>
                  <a:rect l="0" t="0" r="r" b="b"/>
                  <a:pathLst>
                    <a:path w="8" h="10">
                      <a:moveTo>
                        <a:pt x="2" y="0"/>
                      </a:moveTo>
                      <a:cubicBezTo>
                        <a:pt x="2" y="0"/>
                        <a:pt x="1" y="1"/>
                        <a:pt x="0" y="1"/>
                      </a:cubicBezTo>
                      <a:cubicBezTo>
                        <a:pt x="2" y="4"/>
                        <a:pt x="5" y="7"/>
                        <a:pt x="8" y="10"/>
                      </a:cubicBezTo>
                      <a:cubicBezTo>
                        <a:pt x="8" y="8"/>
                        <a:pt x="8" y="6"/>
                        <a:pt x="7" y="5"/>
                      </a:cubicBezTo>
                      <a:cubicBezTo>
                        <a:pt x="7" y="3"/>
                        <a:pt x="6" y="4"/>
                        <a:pt x="5" y="3"/>
                      </a:cubicBezTo>
                      <a:cubicBezTo>
                        <a:pt x="4"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65" name="Freeform 145">
                  <a:extLst>
                    <a:ext uri="{FF2B5EF4-FFF2-40B4-BE49-F238E27FC236}">
                      <a16:creationId xmlns:a16="http://schemas.microsoft.com/office/drawing/2014/main" id="{BABE167C-01AF-4264-A45E-0122D4A32D05}"/>
                    </a:ext>
                  </a:extLst>
                </p:cNvPr>
                <p:cNvSpPr>
                  <a:spLocks/>
                </p:cNvSpPr>
                <p:nvPr/>
              </p:nvSpPr>
              <p:spPr bwMode="auto">
                <a:xfrm>
                  <a:off x="6419472" y="5214439"/>
                  <a:ext cx="158460" cy="114239"/>
                </a:xfrm>
                <a:custGeom>
                  <a:avLst/>
                  <a:gdLst>
                    <a:gd name="T0" fmla="*/ 11 w 50"/>
                    <a:gd name="T1" fmla="*/ 0 h 36"/>
                    <a:gd name="T2" fmla="*/ 0 w 50"/>
                    <a:gd name="T3" fmla="*/ 6 h 36"/>
                    <a:gd name="T4" fmla="*/ 5 w 50"/>
                    <a:gd name="T5" fmla="*/ 5 h 36"/>
                    <a:gd name="T6" fmla="*/ 8 w 50"/>
                    <a:gd name="T7" fmla="*/ 6 h 36"/>
                    <a:gd name="T8" fmla="*/ 22 w 50"/>
                    <a:gd name="T9" fmla="*/ 20 h 36"/>
                    <a:gd name="T10" fmla="*/ 27 w 50"/>
                    <a:gd name="T11" fmla="*/ 21 h 36"/>
                    <a:gd name="T12" fmla="*/ 28 w 50"/>
                    <a:gd name="T13" fmla="*/ 21 h 36"/>
                    <a:gd name="T14" fmla="*/ 30 w 50"/>
                    <a:gd name="T15" fmla="*/ 21 h 36"/>
                    <a:gd name="T16" fmla="*/ 32 w 50"/>
                    <a:gd name="T17" fmla="*/ 21 h 36"/>
                    <a:gd name="T18" fmla="*/ 37 w 50"/>
                    <a:gd name="T19" fmla="*/ 28 h 36"/>
                    <a:gd name="T20" fmla="*/ 47 w 50"/>
                    <a:gd name="T21" fmla="*/ 36 h 36"/>
                    <a:gd name="T22" fmla="*/ 49 w 50"/>
                    <a:gd name="T23" fmla="*/ 29 h 36"/>
                    <a:gd name="T24" fmla="*/ 46 w 50"/>
                    <a:gd name="T25" fmla="*/ 29 h 36"/>
                    <a:gd name="T26" fmla="*/ 39 w 50"/>
                    <a:gd name="T27" fmla="*/ 25 h 36"/>
                    <a:gd name="T28" fmla="*/ 38 w 50"/>
                    <a:gd name="T29" fmla="*/ 20 h 36"/>
                    <a:gd name="T30" fmla="*/ 38 w 50"/>
                    <a:gd name="T31" fmla="*/ 16 h 36"/>
                    <a:gd name="T32" fmla="*/ 36 w 50"/>
                    <a:gd name="T33" fmla="*/ 14 h 36"/>
                    <a:gd name="T34" fmla="*/ 35 w 50"/>
                    <a:gd name="T35" fmla="*/ 12 h 36"/>
                    <a:gd name="T36" fmla="*/ 33 w 50"/>
                    <a:gd name="T37" fmla="*/ 12 h 36"/>
                    <a:gd name="T38" fmla="*/ 31 w 50"/>
                    <a:gd name="T39" fmla="*/ 12 h 36"/>
                    <a:gd name="T40" fmla="*/ 30 w 50"/>
                    <a:gd name="T41" fmla="*/ 12 h 36"/>
                    <a:gd name="T42" fmla="*/ 29 w 50"/>
                    <a:gd name="T43" fmla="*/ 12 h 36"/>
                    <a:gd name="T44" fmla="*/ 24 w 50"/>
                    <a:gd name="T45" fmla="*/ 9 h 36"/>
                    <a:gd name="T46" fmla="*/ 19 w 50"/>
                    <a:gd name="T47" fmla="*/ 7 h 36"/>
                    <a:gd name="T48" fmla="*/ 12 w 50"/>
                    <a:gd name="T49" fmla="*/ 0 h 36"/>
                    <a:gd name="T50" fmla="*/ 11 w 50"/>
                    <a:gd name="T5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36">
                      <a:moveTo>
                        <a:pt x="11" y="0"/>
                      </a:moveTo>
                      <a:cubicBezTo>
                        <a:pt x="8" y="0"/>
                        <a:pt x="3" y="4"/>
                        <a:pt x="0" y="6"/>
                      </a:cubicBezTo>
                      <a:cubicBezTo>
                        <a:pt x="1" y="6"/>
                        <a:pt x="3" y="5"/>
                        <a:pt x="5" y="5"/>
                      </a:cubicBezTo>
                      <a:cubicBezTo>
                        <a:pt x="6" y="5"/>
                        <a:pt x="7" y="5"/>
                        <a:pt x="8" y="6"/>
                      </a:cubicBezTo>
                      <a:cubicBezTo>
                        <a:pt x="14" y="9"/>
                        <a:pt x="17" y="16"/>
                        <a:pt x="22" y="20"/>
                      </a:cubicBezTo>
                      <a:cubicBezTo>
                        <a:pt x="24" y="21"/>
                        <a:pt x="25" y="21"/>
                        <a:pt x="27" y="21"/>
                      </a:cubicBezTo>
                      <a:cubicBezTo>
                        <a:pt x="27" y="21"/>
                        <a:pt x="28" y="21"/>
                        <a:pt x="28" y="21"/>
                      </a:cubicBezTo>
                      <a:cubicBezTo>
                        <a:pt x="29" y="21"/>
                        <a:pt x="29" y="21"/>
                        <a:pt x="30" y="21"/>
                      </a:cubicBezTo>
                      <a:cubicBezTo>
                        <a:pt x="31" y="21"/>
                        <a:pt x="31" y="21"/>
                        <a:pt x="32" y="21"/>
                      </a:cubicBezTo>
                      <a:cubicBezTo>
                        <a:pt x="35" y="22"/>
                        <a:pt x="35" y="26"/>
                        <a:pt x="37" y="28"/>
                      </a:cubicBezTo>
                      <a:cubicBezTo>
                        <a:pt x="39" y="32"/>
                        <a:pt x="43" y="33"/>
                        <a:pt x="47" y="36"/>
                      </a:cubicBezTo>
                      <a:cubicBezTo>
                        <a:pt x="50" y="33"/>
                        <a:pt x="48" y="32"/>
                        <a:pt x="49" y="29"/>
                      </a:cubicBezTo>
                      <a:cubicBezTo>
                        <a:pt x="48" y="29"/>
                        <a:pt x="47" y="29"/>
                        <a:pt x="46" y="29"/>
                      </a:cubicBezTo>
                      <a:cubicBezTo>
                        <a:pt x="42" y="29"/>
                        <a:pt x="41" y="28"/>
                        <a:pt x="39" y="25"/>
                      </a:cubicBezTo>
                      <a:cubicBezTo>
                        <a:pt x="39" y="23"/>
                        <a:pt x="38" y="22"/>
                        <a:pt x="38" y="20"/>
                      </a:cubicBezTo>
                      <a:cubicBezTo>
                        <a:pt x="38" y="19"/>
                        <a:pt x="38" y="17"/>
                        <a:pt x="38" y="16"/>
                      </a:cubicBezTo>
                      <a:cubicBezTo>
                        <a:pt x="38" y="15"/>
                        <a:pt x="36" y="15"/>
                        <a:pt x="36" y="14"/>
                      </a:cubicBezTo>
                      <a:cubicBezTo>
                        <a:pt x="35" y="13"/>
                        <a:pt x="37" y="13"/>
                        <a:pt x="35" y="12"/>
                      </a:cubicBezTo>
                      <a:cubicBezTo>
                        <a:pt x="35" y="12"/>
                        <a:pt x="34" y="12"/>
                        <a:pt x="33" y="12"/>
                      </a:cubicBezTo>
                      <a:cubicBezTo>
                        <a:pt x="33" y="12"/>
                        <a:pt x="32" y="12"/>
                        <a:pt x="31" y="12"/>
                      </a:cubicBezTo>
                      <a:cubicBezTo>
                        <a:pt x="31" y="12"/>
                        <a:pt x="30" y="12"/>
                        <a:pt x="30" y="12"/>
                      </a:cubicBezTo>
                      <a:cubicBezTo>
                        <a:pt x="29" y="12"/>
                        <a:pt x="29" y="12"/>
                        <a:pt x="29" y="12"/>
                      </a:cubicBezTo>
                      <a:cubicBezTo>
                        <a:pt x="26" y="11"/>
                        <a:pt x="25" y="10"/>
                        <a:pt x="24" y="9"/>
                      </a:cubicBezTo>
                      <a:cubicBezTo>
                        <a:pt x="22" y="8"/>
                        <a:pt x="21" y="9"/>
                        <a:pt x="19" y="7"/>
                      </a:cubicBezTo>
                      <a:cubicBezTo>
                        <a:pt x="16" y="5"/>
                        <a:pt x="16" y="0"/>
                        <a:pt x="12" y="0"/>
                      </a:cubicBezTo>
                      <a:cubicBezTo>
                        <a:pt x="12"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66" name="Freeform 146">
                  <a:extLst>
                    <a:ext uri="{FF2B5EF4-FFF2-40B4-BE49-F238E27FC236}">
                      <a16:creationId xmlns:a16="http://schemas.microsoft.com/office/drawing/2014/main" id="{BB35E496-4D25-4B3D-9B2B-8957D2CEC793}"/>
                    </a:ext>
                  </a:extLst>
                </p:cNvPr>
                <p:cNvSpPr>
                  <a:spLocks/>
                </p:cNvSpPr>
                <p:nvPr/>
              </p:nvSpPr>
              <p:spPr bwMode="auto">
                <a:xfrm>
                  <a:off x="6754817" y="5339733"/>
                  <a:ext cx="44221" cy="18426"/>
                </a:xfrm>
                <a:custGeom>
                  <a:avLst/>
                  <a:gdLst>
                    <a:gd name="T0" fmla="*/ 6 w 14"/>
                    <a:gd name="T1" fmla="*/ 0 h 6"/>
                    <a:gd name="T2" fmla="*/ 0 w 14"/>
                    <a:gd name="T3" fmla="*/ 2 h 6"/>
                    <a:gd name="T4" fmla="*/ 6 w 14"/>
                    <a:gd name="T5" fmla="*/ 6 h 6"/>
                    <a:gd name="T6" fmla="*/ 13 w 14"/>
                    <a:gd name="T7" fmla="*/ 2 h 6"/>
                    <a:gd name="T8" fmla="*/ 6 w 14"/>
                    <a:gd name="T9" fmla="*/ 0 h 6"/>
                  </a:gdLst>
                  <a:ahLst/>
                  <a:cxnLst>
                    <a:cxn ang="0">
                      <a:pos x="T0" y="T1"/>
                    </a:cxn>
                    <a:cxn ang="0">
                      <a:pos x="T2" y="T3"/>
                    </a:cxn>
                    <a:cxn ang="0">
                      <a:pos x="T4" y="T5"/>
                    </a:cxn>
                    <a:cxn ang="0">
                      <a:pos x="T6" y="T7"/>
                    </a:cxn>
                    <a:cxn ang="0">
                      <a:pos x="T8" y="T9"/>
                    </a:cxn>
                  </a:cxnLst>
                  <a:rect l="0" t="0" r="r" b="b"/>
                  <a:pathLst>
                    <a:path w="14" h="6">
                      <a:moveTo>
                        <a:pt x="6" y="0"/>
                      </a:moveTo>
                      <a:cubicBezTo>
                        <a:pt x="4" y="0"/>
                        <a:pt x="2" y="1"/>
                        <a:pt x="0" y="2"/>
                      </a:cubicBezTo>
                      <a:cubicBezTo>
                        <a:pt x="2" y="4"/>
                        <a:pt x="4" y="5"/>
                        <a:pt x="6" y="6"/>
                      </a:cubicBezTo>
                      <a:cubicBezTo>
                        <a:pt x="9" y="5"/>
                        <a:pt x="14" y="4"/>
                        <a:pt x="13" y="2"/>
                      </a:cubicBezTo>
                      <a:cubicBezTo>
                        <a:pt x="11" y="1"/>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67" name="Freeform 147">
                  <a:extLst>
                    <a:ext uri="{FF2B5EF4-FFF2-40B4-BE49-F238E27FC236}">
                      <a16:creationId xmlns:a16="http://schemas.microsoft.com/office/drawing/2014/main" id="{1F8EA7FA-C088-4699-827A-5473B45E1870}"/>
                    </a:ext>
                  </a:extLst>
                </p:cNvPr>
                <p:cNvSpPr>
                  <a:spLocks/>
                </p:cNvSpPr>
                <p:nvPr/>
              </p:nvSpPr>
              <p:spPr bwMode="auto">
                <a:xfrm>
                  <a:off x="6471063" y="5347103"/>
                  <a:ext cx="11055" cy="7370"/>
                </a:xfrm>
                <a:custGeom>
                  <a:avLst/>
                  <a:gdLst>
                    <a:gd name="T0" fmla="*/ 2 w 3"/>
                    <a:gd name="T1" fmla="*/ 0 h 3"/>
                    <a:gd name="T2" fmla="*/ 0 w 3"/>
                    <a:gd name="T3" fmla="*/ 0 h 3"/>
                    <a:gd name="T4" fmla="*/ 1 w 3"/>
                    <a:gd name="T5" fmla="*/ 3 h 3"/>
                    <a:gd name="T6" fmla="*/ 3 w 3"/>
                    <a:gd name="T7" fmla="*/ 0 h 3"/>
                    <a:gd name="T8" fmla="*/ 2 w 3"/>
                    <a:gd name="T9" fmla="*/ 0 h 3"/>
                  </a:gdLst>
                  <a:ahLst/>
                  <a:cxnLst>
                    <a:cxn ang="0">
                      <a:pos x="T0" y="T1"/>
                    </a:cxn>
                    <a:cxn ang="0">
                      <a:pos x="T2" y="T3"/>
                    </a:cxn>
                    <a:cxn ang="0">
                      <a:pos x="T4" y="T5"/>
                    </a:cxn>
                    <a:cxn ang="0">
                      <a:pos x="T6" y="T7"/>
                    </a:cxn>
                    <a:cxn ang="0">
                      <a:pos x="T8" y="T9"/>
                    </a:cxn>
                  </a:cxnLst>
                  <a:rect l="0" t="0" r="r" b="b"/>
                  <a:pathLst>
                    <a:path w="3" h="3">
                      <a:moveTo>
                        <a:pt x="2" y="0"/>
                      </a:moveTo>
                      <a:cubicBezTo>
                        <a:pt x="1" y="0"/>
                        <a:pt x="0" y="0"/>
                        <a:pt x="0" y="0"/>
                      </a:cubicBezTo>
                      <a:cubicBezTo>
                        <a:pt x="0" y="1"/>
                        <a:pt x="0" y="2"/>
                        <a:pt x="1" y="3"/>
                      </a:cubicBezTo>
                      <a:cubicBezTo>
                        <a:pt x="2" y="2"/>
                        <a:pt x="2" y="1"/>
                        <a:pt x="3"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68" name="Freeform 148">
                  <a:extLst>
                    <a:ext uri="{FF2B5EF4-FFF2-40B4-BE49-F238E27FC236}">
                      <a16:creationId xmlns:a16="http://schemas.microsoft.com/office/drawing/2014/main" id="{C226CD6F-9277-47F4-9449-7970E83D47DB}"/>
                    </a:ext>
                  </a:extLst>
                </p:cNvPr>
                <p:cNvSpPr>
                  <a:spLocks/>
                </p:cNvSpPr>
                <p:nvPr/>
              </p:nvSpPr>
              <p:spPr bwMode="auto">
                <a:xfrm>
                  <a:off x="6795353" y="5546100"/>
                  <a:ext cx="18426" cy="44221"/>
                </a:xfrm>
                <a:custGeom>
                  <a:avLst/>
                  <a:gdLst>
                    <a:gd name="T0" fmla="*/ 5 w 5"/>
                    <a:gd name="T1" fmla="*/ 0 h 14"/>
                    <a:gd name="T2" fmla="*/ 3 w 5"/>
                    <a:gd name="T3" fmla="*/ 14 h 14"/>
                    <a:gd name="T4" fmla="*/ 5 w 5"/>
                    <a:gd name="T5" fmla="*/ 9 h 14"/>
                    <a:gd name="T6" fmla="*/ 3 w 5"/>
                    <a:gd name="T7" fmla="*/ 7 h 14"/>
                    <a:gd name="T8" fmla="*/ 5 w 5"/>
                    <a:gd name="T9" fmla="*/ 0 h 14"/>
                  </a:gdLst>
                  <a:ahLst/>
                  <a:cxnLst>
                    <a:cxn ang="0">
                      <a:pos x="T0" y="T1"/>
                    </a:cxn>
                    <a:cxn ang="0">
                      <a:pos x="T2" y="T3"/>
                    </a:cxn>
                    <a:cxn ang="0">
                      <a:pos x="T4" y="T5"/>
                    </a:cxn>
                    <a:cxn ang="0">
                      <a:pos x="T6" y="T7"/>
                    </a:cxn>
                    <a:cxn ang="0">
                      <a:pos x="T8" y="T9"/>
                    </a:cxn>
                  </a:cxnLst>
                  <a:rect l="0" t="0" r="r" b="b"/>
                  <a:pathLst>
                    <a:path w="5" h="14">
                      <a:moveTo>
                        <a:pt x="5" y="0"/>
                      </a:moveTo>
                      <a:cubicBezTo>
                        <a:pt x="1" y="6"/>
                        <a:pt x="0" y="7"/>
                        <a:pt x="3" y="14"/>
                      </a:cubicBezTo>
                      <a:cubicBezTo>
                        <a:pt x="4" y="10"/>
                        <a:pt x="5" y="13"/>
                        <a:pt x="5" y="9"/>
                      </a:cubicBezTo>
                      <a:cubicBezTo>
                        <a:pt x="4" y="8"/>
                        <a:pt x="3" y="7"/>
                        <a:pt x="3" y="7"/>
                      </a:cubicBezTo>
                      <a:cubicBezTo>
                        <a:pt x="3" y="5"/>
                        <a:pt x="5"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69" name="Freeform 149">
                  <a:extLst>
                    <a:ext uri="{FF2B5EF4-FFF2-40B4-BE49-F238E27FC236}">
                      <a16:creationId xmlns:a16="http://schemas.microsoft.com/office/drawing/2014/main" id="{9E4FD815-EC66-4FD8-BA4E-635C73D13F3F}"/>
                    </a:ext>
                  </a:extLst>
                </p:cNvPr>
                <p:cNvSpPr>
                  <a:spLocks/>
                </p:cNvSpPr>
                <p:nvPr/>
              </p:nvSpPr>
              <p:spPr bwMode="auto">
                <a:xfrm>
                  <a:off x="6552136" y="5450287"/>
                  <a:ext cx="22111" cy="14740"/>
                </a:xfrm>
                <a:custGeom>
                  <a:avLst/>
                  <a:gdLst>
                    <a:gd name="T0" fmla="*/ 6 w 7"/>
                    <a:gd name="T1" fmla="*/ 0 h 4"/>
                    <a:gd name="T2" fmla="*/ 0 w 7"/>
                    <a:gd name="T3" fmla="*/ 3 h 4"/>
                    <a:gd name="T4" fmla="*/ 6 w 7"/>
                    <a:gd name="T5" fmla="*/ 0 h 4"/>
                  </a:gdLst>
                  <a:ahLst/>
                  <a:cxnLst>
                    <a:cxn ang="0">
                      <a:pos x="T0" y="T1"/>
                    </a:cxn>
                    <a:cxn ang="0">
                      <a:pos x="T2" y="T3"/>
                    </a:cxn>
                    <a:cxn ang="0">
                      <a:pos x="T4" y="T5"/>
                    </a:cxn>
                  </a:cxnLst>
                  <a:rect l="0" t="0" r="r" b="b"/>
                  <a:pathLst>
                    <a:path w="7" h="4">
                      <a:moveTo>
                        <a:pt x="6" y="0"/>
                      </a:moveTo>
                      <a:cubicBezTo>
                        <a:pt x="4" y="1"/>
                        <a:pt x="2" y="2"/>
                        <a:pt x="0" y="3"/>
                      </a:cubicBezTo>
                      <a:cubicBezTo>
                        <a:pt x="2" y="3"/>
                        <a:pt x="7" y="4"/>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70" name="Freeform 150">
                  <a:extLst>
                    <a:ext uri="{FF2B5EF4-FFF2-40B4-BE49-F238E27FC236}">
                      <a16:creationId xmlns:a16="http://schemas.microsoft.com/office/drawing/2014/main" id="{44BF63ED-F3D7-44B8-9DDE-CDB58F24B344}"/>
                    </a:ext>
                  </a:extLst>
                </p:cNvPr>
                <p:cNvSpPr>
                  <a:spLocks/>
                </p:cNvSpPr>
                <p:nvPr/>
              </p:nvSpPr>
              <p:spPr bwMode="auto">
                <a:xfrm>
                  <a:off x="6419472" y="5490823"/>
                  <a:ext cx="14740" cy="25796"/>
                </a:xfrm>
                <a:custGeom>
                  <a:avLst/>
                  <a:gdLst>
                    <a:gd name="T0" fmla="*/ 3 w 5"/>
                    <a:gd name="T1" fmla="*/ 0 h 8"/>
                    <a:gd name="T2" fmla="*/ 5 w 5"/>
                    <a:gd name="T3" fmla="*/ 8 h 8"/>
                    <a:gd name="T4" fmla="*/ 3 w 5"/>
                    <a:gd name="T5" fmla="*/ 0 h 8"/>
                  </a:gdLst>
                  <a:ahLst/>
                  <a:cxnLst>
                    <a:cxn ang="0">
                      <a:pos x="T0" y="T1"/>
                    </a:cxn>
                    <a:cxn ang="0">
                      <a:pos x="T2" y="T3"/>
                    </a:cxn>
                    <a:cxn ang="0">
                      <a:pos x="T4" y="T5"/>
                    </a:cxn>
                  </a:cxnLst>
                  <a:rect l="0" t="0" r="r" b="b"/>
                  <a:pathLst>
                    <a:path w="5" h="8">
                      <a:moveTo>
                        <a:pt x="3" y="0"/>
                      </a:moveTo>
                      <a:cubicBezTo>
                        <a:pt x="2" y="4"/>
                        <a:pt x="0" y="8"/>
                        <a:pt x="5" y="8"/>
                      </a:cubicBezTo>
                      <a:cubicBezTo>
                        <a:pt x="5" y="5"/>
                        <a:pt x="4"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71" name="Freeform 151">
                  <a:extLst>
                    <a:ext uri="{FF2B5EF4-FFF2-40B4-BE49-F238E27FC236}">
                      <a16:creationId xmlns:a16="http://schemas.microsoft.com/office/drawing/2014/main" id="{0934FC0E-8B9D-48AD-AD6A-E96E0072D851}"/>
                    </a:ext>
                  </a:extLst>
                </p:cNvPr>
                <p:cNvSpPr>
                  <a:spLocks/>
                </p:cNvSpPr>
                <p:nvPr/>
              </p:nvSpPr>
              <p:spPr bwMode="auto">
                <a:xfrm>
                  <a:off x="6216790" y="5332363"/>
                  <a:ext cx="33166" cy="25796"/>
                </a:xfrm>
                <a:custGeom>
                  <a:avLst/>
                  <a:gdLst>
                    <a:gd name="T0" fmla="*/ 3 w 11"/>
                    <a:gd name="T1" fmla="*/ 0 h 9"/>
                    <a:gd name="T2" fmla="*/ 6 w 11"/>
                    <a:gd name="T3" fmla="*/ 9 h 9"/>
                    <a:gd name="T4" fmla="*/ 9 w 11"/>
                    <a:gd name="T5" fmla="*/ 6 h 9"/>
                    <a:gd name="T6" fmla="*/ 11 w 11"/>
                    <a:gd name="T7" fmla="*/ 7 h 9"/>
                    <a:gd name="T8" fmla="*/ 4 w 11"/>
                    <a:gd name="T9" fmla="*/ 2 h 9"/>
                    <a:gd name="T10" fmla="*/ 3 w 11"/>
                    <a:gd name="T11" fmla="*/ 0 h 9"/>
                  </a:gdLst>
                  <a:ahLst/>
                  <a:cxnLst>
                    <a:cxn ang="0">
                      <a:pos x="T0" y="T1"/>
                    </a:cxn>
                    <a:cxn ang="0">
                      <a:pos x="T2" y="T3"/>
                    </a:cxn>
                    <a:cxn ang="0">
                      <a:pos x="T4" y="T5"/>
                    </a:cxn>
                    <a:cxn ang="0">
                      <a:pos x="T6" y="T7"/>
                    </a:cxn>
                    <a:cxn ang="0">
                      <a:pos x="T8" y="T9"/>
                    </a:cxn>
                    <a:cxn ang="0">
                      <a:pos x="T10" y="T11"/>
                    </a:cxn>
                  </a:cxnLst>
                  <a:rect l="0" t="0" r="r" b="b"/>
                  <a:pathLst>
                    <a:path w="11" h="9">
                      <a:moveTo>
                        <a:pt x="3" y="0"/>
                      </a:moveTo>
                      <a:cubicBezTo>
                        <a:pt x="0" y="0"/>
                        <a:pt x="5" y="7"/>
                        <a:pt x="6" y="9"/>
                      </a:cubicBezTo>
                      <a:cubicBezTo>
                        <a:pt x="7" y="7"/>
                        <a:pt x="8" y="6"/>
                        <a:pt x="9" y="6"/>
                      </a:cubicBezTo>
                      <a:cubicBezTo>
                        <a:pt x="10" y="6"/>
                        <a:pt x="10" y="6"/>
                        <a:pt x="11" y="7"/>
                      </a:cubicBezTo>
                      <a:cubicBezTo>
                        <a:pt x="8" y="4"/>
                        <a:pt x="7" y="4"/>
                        <a:pt x="4" y="2"/>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72" name="Freeform 152">
                  <a:extLst>
                    <a:ext uri="{FF2B5EF4-FFF2-40B4-BE49-F238E27FC236}">
                      <a16:creationId xmlns:a16="http://schemas.microsoft.com/office/drawing/2014/main" id="{8F74BAAD-9AD4-4352-95A0-78ECB509BA0E}"/>
                    </a:ext>
                  </a:extLst>
                </p:cNvPr>
                <p:cNvSpPr>
                  <a:spLocks/>
                </p:cNvSpPr>
                <p:nvPr/>
              </p:nvSpPr>
              <p:spPr bwMode="auto">
                <a:xfrm>
                  <a:off x="6563191" y="5026498"/>
                  <a:ext cx="33166" cy="22111"/>
                </a:xfrm>
                <a:custGeom>
                  <a:avLst/>
                  <a:gdLst>
                    <a:gd name="T0" fmla="*/ 5 w 10"/>
                    <a:gd name="T1" fmla="*/ 0 h 7"/>
                    <a:gd name="T2" fmla="*/ 3 w 10"/>
                    <a:gd name="T3" fmla="*/ 1 h 7"/>
                    <a:gd name="T4" fmla="*/ 5 w 10"/>
                    <a:gd name="T5" fmla="*/ 7 h 7"/>
                    <a:gd name="T6" fmla="*/ 9 w 10"/>
                    <a:gd name="T7" fmla="*/ 2 h 7"/>
                    <a:gd name="T8" fmla="*/ 5 w 10"/>
                    <a:gd name="T9" fmla="*/ 0 h 7"/>
                  </a:gdLst>
                  <a:ahLst/>
                  <a:cxnLst>
                    <a:cxn ang="0">
                      <a:pos x="T0" y="T1"/>
                    </a:cxn>
                    <a:cxn ang="0">
                      <a:pos x="T2" y="T3"/>
                    </a:cxn>
                    <a:cxn ang="0">
                      <a:pos x="T4" y="T5"/>
                    </a:cxn>
                    <a:cxn ang="0">
                      <a:pos x="T6" y="T7"/>
                    </a:cxn>
                    <a:cxn ang="0">
                      <a:pos x="T8" y="T9"/>
                    </a:cxn>
                  </a:cxnLst>
                  <a:rect l="0" t="0" r="r" b="b"/>
                  <a:pathLst>
                    <a:path w="10" h="7">
                      <a:moveTo>
                        <a:pt x="5" y="0"/>
                      </a:moveTo>
                      <a:cubicBezTo>
                        <a:pt x="4" y="0"/>
                        <a:pt x="3" y="1"/>
                        <a:pt x="3" y="1"/>
                      </a:cubicBezTo>
                      <a:cubicBezTo>
                        <a:pt x="0" y="3"/>
                        <a:pt x="3" y="5"/>
                        <a:pt x="5" y="7"/>
                      </a:cubicBezTo>
                      <a:cubicBezTo>
                        <a:pt x="7" y="6"/>
                        <a:pt x="10" y="4"/>
                        <a:pt x="9" y="2"/>
                      </a:cubicBezTo>
                      <a:cubicBezTo>
                        <a:pt x="8" y="1"/>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73" name="Freeform 153">
                  <a:extLst>
                    <a:ext uri="{FF2B5EF4-FFF2-40B4-BE49-F238E27FC236}">
                      <a16:creationId xmlns:a16="http://schemas.microsoft.com/office/drawing/2014/main" id="{232D47D8-2EC3-4420-9CC8-0B4F005C99BD}"/>
                    </a:ext>
                  </a:extLst>
                </p:cNvPr>
                <p:cNvSpPr>
                  <a:spLocks/>
                </p:cNvSpPr>
                <p:nvPr/>
              </p:nvSpPr>
              <p:spPr bwMode="auto">
                <a:xfrm>
                  <a:off x="6559506" y="5376584"/>
                  <a:ext cx="3685" cy="11055"/>
                </a:xfrm>
                <a:custGeom>
                  <a:avLst/>
                  <a:gdLst>
                    <a:gd name="T0" fmla="*/ 1 w 1"/>
                    <a:gd name="T1" fmla="*/ 0 h 3"/>
                    <a:gd name="T2" fmla="*/ 0 w 1"/>
                    <a:gd name="T3" fmla="*/ 3 h 3"/>
                    <a:gd name="T4" fmla="*/ 1 w 1"/>
                    <a:gd name="T5" fmla="*/ 0 h 3"/>
                  </a:gdLst>
                  <a:ahLst/>
                  <a:cxnLst>
                    <a:cxn ang="0">
                      <a:pos x="T0" y="T1"/>
                    </a:cxn>
                    <a:cxn ang="0">
                      <a:pos x="T2" y="T3"/>
                    </a:cxn>
                    <a:cxn ang="0">
                      <a:pos x="T4" y="T5"/>
                    </a:cxn>
                  </a:cxnLst>
                  <a:rect l="0" t="0" r="r" b="b"/>
                  <a:pathLst>
                    <a:path w="1" h="3">
                      <a:moveTo>
                        <a:pt x="1" y="0"/>
                      </a:moveTo>
                      <a:cubicBezTo>
                        <a:pt x="0" y="1"/>
                        <a:pt x="0" y="2"/>
                        <a:pt x="0" y="3"/>
                      </a:cubicBezTo>
                      <a:cubicBezTo>
                        <a:pt x="0"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74" name="Freeform 154">
                  <a:extLst>
                    <a:ext uri="{FF2B5EF4-FFF2-40B4-BE49-F238E27FC236}">
                      <a16:creationId xmlns:a16="http://schemas.microsoft.com/office/drawing/2014/main" id="{6EC0E520-B832-4805-97B9-DDE06525BFF7}"/>
                    </a:ext>
                  </a:extLst>
                </p:cNvPr>
                <p:cNvSpPr>
                  <a:spLocks/>
                </p:cNvSpPr>
                <p:nvPr/>
              </p:nvSpPr>
              <p:spPr bwMode="auto">
                <a:xfrm>
                  <a:off x="6780613" y="5417121"/>
                  <a:ext cx="18426" cy="14740"/>
                </a:xfrm>
                <a:custGeom>
                  <a:avLst/>
                  <a:gdLst>
                    <a:gd name="T0" fmla="*/ 0 w 6"/>
                    <a:gd name="T1" fmla="*/ 0 h 5"/>
                    <a:gd name="T2" fmla="*/ 3 w 6"/>
                    <a:gd name="T3" fmla="*/ 5 h 5"/>
                    <a:gd name="T4" fmla="*/ 0 w 6"/>
                    <a:gd name="T5" fmla="*/ 0 h 5"/>
                  </a:gdLst>
                  <a:ahLst/>
                  <a:cxnLst>
                    <a:cxn ang="0">
                      <a:pos x="T0" y="T1"/>
                    </a:cxn>
                    <a:cxn ang="0">
                      <a:pos x="T2" y="T3"/>
                    </a:cxn>
                    <a:cxn ang="0">
                      <a:pos x="T4" y="T5"/>
                    </a:cxn>
                  </a:cxnLst>
                  <a:rect l="0" t="0" r="r" b="b"/>
                  <a:pathLst>
                    <a:path w="6" h="5">
                      <a:moveTo>
                        <a:pt x="0" y="0"/>
                      </a:moveTo>
                      <a:cubicBezTo>
                        <a:pt x="1" y="2"/>
                        <a:pt x="2" y="4"/>
                        <a:pt x="3" y="5"/>
                      </a:cubicBezTo>
                      <a:cubicBezTo>
                        <a:pt x="6" y="3"/>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75" name="Freeform 155">
                  <a:extLst>
                    <a:ext uri="{FF2B5EF4-FFF2-40B4-BE49-F238E27FC236}">
                      <a16:creationId xmlns:a16="http://schemas.microsoft.com/office/drawing/2014/main" id="{644E2518-5A6D-47AC-9A52-89F7D3183BBA}"/>
                    </a:ext>
                  </a:extLst>
                </p:cNvPr>
                <p:cNvSpPr>
                  <a:spLocks/>
                </p:cNvSpPr>
                <p:nvPr/>
              </p:nvSpPr>
              <p:spPr bwMode="auto">
                <a:xfrm>
                  <a:off x="6544766" y="5354474"/>
                  <a:ext cx="14740" cy="18426"/>
                </a:xfrm>
                <a:custGeom>
                  <a:avLst/>
                  <a:gdLst>
                    <a:gd name="T0" fmla="*/ 4 w 4"/>
                    <a:gd name="T1" fmla="*/ 0 h 5"/>
                    <a:gd name="T2" fmla="*/ 0 w 4"/>
                    <a:gd name="T3" fmla="*/ 5 h 5"/>
                    <a:gd name="T4" fmla="*/ 4 w 4"/>
                    <a:gd name="T5" fmla="*/ 0 h 5"/>
                  </a:gdLst>
                  <a:ahLst/>
                  <a:cxnLst>
                    <a:cxn ang="0">
                      <a:pos x="T0" y="T1"/>
                    </a:cxn>
                    <a:cxn ang="0">
                      <a:pos x="T2" y="T3"/>
                    </a:cxn>
                    <a:cxn ang="0">
                      <a:pos x="T4" y="T5"/>
                    </a:cxn>
                  </a:cxnLst>
                  <a:rect l="0" t="0" r="r" b="b"/>
                  <a:pathLst>
                    <a:path w="4" h="5">
                      <a:moveTo>
                        <a:pt x="4" y="0"/>
                      </a:moveTo>
                      <a:cubicBezTo>
                        <a:pt x="2" y="1"/>
                        <a:pt x="1" y="3"/>
                        <a:pt x="0" y="5"/>
                      </a:cubicBezTo>
                      <a:cubicBezTo>
                        <a:pt x="2" y="4"/>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76" name="Freeform 156">
                  <a:extLst>
                    <a:ext uri="{FF2B5EF4-FFF2-40B4-BE49-F238E27FC236}">
                      <a16:creationId xmlns:a16="http://schemas.microsoft.com/office/drawing/2014/main" id="{9F1BDBD3-1C8B-4683-AE5B-B70C53C6F42D}"/>
                    </a:ext>
                  </a:extLst>
                </p:cNvPr>
                <p:cNvSpPr>
                  <a:spLocks/>
                </p:cNvSpPr>
                <p:nvPr/>
              </p:nvSpPr>
              <p:spPr bwMode="auto">
                <a:xfrm>
                  <a:off x="6190994" y="5273401"/>
                  <a:ext cx="40536" cy="40536"/>
                </a:xfrm>
                <a:custGeom>
                  <a:avLst/>
                  <a:gdLst>
                    <a:gd name="T0" fmla="*/ 7 w 13"/>
                    <a:gd name="T1" fmla="*/ 0 h 13"/>
                    <a:gd name="T2" fmla="*/ 4 w 13"/>
                    <a:gd name="T3" fmla="*/ 5 h 13"/>
                    <a:gd name="T4" fmla="*/ 0 w 13"/>
                    <a:gd name="T5" fmla="*/ 9 h 13"/>
                    <a:gd name="T6" fmla="*/ 1 w 13"/>
                    <a:gd name="T7" fmla="*/ 9 h 13"/>
                    <a:gd name="T8" fmla="*/ 2 w 13"/>
                    <a:gd name="T9" fmla="*/ 9 h 13"/>
                    <a:gd name="T10" fmla="*/ 3 w 13"/>
                    <a:gd name="T11" fmla="*/ 9 h 13"/>
                    <a:gd name="T12" fmla="*/ 5 w 13"/>
                    <a:gd name="T13" fmla="*/ 9 h 13"/>
                    <a:gd name="T14" fmla="*/ 5 w 13"/>
                    <a:gd name="T15" fmla="*/ 11 h 13"/>
                    <a:gd name="T16" fmla="*/ 6 w 13"/>
                    <a:gd name="T17" fmla="*/ 11 h 13"/>
                    <a:gd name="T18" fmla="*/ 7 w 13"/>
                    <a:gd name="T19" fmla="*/ 11 h 13"/>
                    <a:gd name="T20" fmla="*/ 7 w 13"/>
                    <a:gd name="T21" fmla="*/ 11 h 13"/>
                    <a:gd name="T22" fmla="*/ 8 w 13"/>
                    <a:gd name="T23" fmla="*/ 11 h 13"/>
                    <a:gd name="T24" fmla="*/ 13 w 13"/>
                    <a:gd name="T25" fmla="*/ 13 h 13"/>
                    <a:gd name="T26" fmla="*/ 13 w 13"/>
                    <a:gd name="T27" fmla="*/ 13 h 13"/>
                    <a:gd name="T28" fmla="*/ 7 w 13"/>
                    <a:gd name="T2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3">
                      <a:moveTo>
                        <a:pt x="7" y="0"/>
                      </a:moveTo>
                      <a:cubicBezTo>
                        <a:pt x="6" y="1"/>
                        <a:pt x="5" y="3"/>
                        <a:pt x="4" y="5"/>
                      </a:cubicBezTo>
                      <a:cubicBezTo>
                        <a:pt x="2" y="6"/>
                        <a:pt x="0" y="6"/>
                        <a:pt x="0" y="9"/>
                      </a:cubicBezTo>
                      <a:cubicBezTo>
                        <a:pt x="0" y="9"/>
                        <a:pt x="1" y="9"/>
                        <a:pt x="1" y="9"/>
                      </a:cubicBezTo>
                      <a:cubicBezTo>
                        <a:pt x="1" y="9"/>
                        <a:pt x="1" y="9"/>
                        <a:pt x="2" y="9"/>
                      </a:cubicBezTo>
                      <a:cubicBezTo>
                        <a:pt x="2" y="9"/>
                        <a:pt x="3" y="9"/>
                        <a:pt x="3" y="9"/>
                      </a:cubicBezTo>
                      <a:cubicBezTo>
                        <a:pt x="4" y="9"/>
                        <a:pt x="4" y="9"/>
                        <a:pt x="5" y="9"/>
                      </a:cubicBezTo>
                      <a:cubicBezTo>
                        <a:pt x="5" y="9"/>
                        <a:pt x="4" y="11"/>
                        <a:pt x="5" y="11"/>
                      </a:cubicBezTo>
                      <a:cubicBezTo>
                        <a:pt x="5" y="11"/>
                        <a:pt x="6" y="11"/>
                        <a:pt x="6" y="11"/>
                      </a:cubicBezTo>
                      <a:cubicBezTo>
                        <a:pt x="6" y="11"/>
                        <a:pt x="6" y="11"/>
                        <a:pt x="7" y="11"/>
                      </a:cubicBezTo>
                      <a:cubicBezTo>
                        <a:pt x="7" y="11"/>
                        <a:pt x="7" y="11"/>
                        <a:pt x="7" y="11"/>
                      </a:cubicBezTo>
                      <a:cubicBezTo>
                        <a:pt x="7" y="11"/>
                        <a:pt x="7" y="11"/>
                        <a:pt x="8" y="11"/>
                      </a:cubicBezTo>
                      <a:cubicBezTo>
                        <a:pt x="9" y="12"/>
                        <a:pt x="11" y="13"/>
                        <a:pt x="13" y="13"/>
                      </a:cubicBezTo>
                      <a:cubicBezTo>
                        <a:pt x="13" y="13"/>
                        <a:pt x="13" y="13"/>
                        <a:pt x="13" y="13"/>
                      </a:cubicBezTo>
                      <a:cubicBezTo>
                        <a:pt x="11" y="9"/>
                        <a:pt x="9" y="4"/>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77" name="Freeform 157">
                  <a:extLst>
                    <a:ext uri="{FF2B5EF4-FFF2-40B4-BE49-F238E27FC236}">
                      <a16:creationId xmlns:a16="http://schemas.microsoft.com/office/drawing/2014/main" id="{7AA5968F-957A-43B4-B8F4-597FE360A705}"/>
                    </a:ext>
                  </a:extLst>
                </p:cNvPr>
                <p:cNvSpPr>
                  <a:spLocks/>
                </p:cNvSpPr>
                <p:nvPr/>
              </p:nvSpPr>
              <p:spPr bwMode="auto">
                <a:xfrm>
                  <a:off x="6644264" y="5376584"/>
                  <a:ext cx="11055" cy="7370"/>
                </a:xfrm>
                <a:custGeom>
                  <a:avLst/>
                  <a:gdLst>
                    <a:gd name="T0" fmla="*/ 3 w 3"/>
                    <a:gd name="T1" fmla="*/ 0 h 2"/>
                    <a:gd name="T2" fmla="*/ 0 w 3"/>
                    <a:gd name="T3" fmla="*/ 2 h 2"/>
                    <a:gd name="T4" fmla="*/ 3 w 3"/>
                    <a:gd name="T5" fmla="*/ 0 h 2"/>
                  </a:gdLst>
                  <a:ahLst/>
                  <a:cxnLst>
                    <a:cxn ang="0">
                      <a:pos x="T0" y="T1"/>
                    </a:cxn>
                    <a:cxn ang="0">
                      <a:pos x="T2" y="T3"/>
                    </a:cxn>
                    <a:cxn ang="0">
                      <a:pos x="T4" y="T5"/>
                    </a:cxn>
                  </a:cxnLst>
                  <a:rect l="0" t="0" r="r" b="b"/>
                  <a:pathLst>
                    <a:path w="3" h="2">
                      <a:moveTo>
                        <a:pt x="3" y="0"/>
                      </a:moveTo>
                      <a:cubicBezTo>
                        <a:pt x="2" y="0"/>
                        <a:pt x="1" y="1"/>
                        <a:pt x="0" y="2"/>
                      </a:cubicBezTo>
                      <a:cubicBezTo>
                        <a:pt x="1" y="1"/>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78" name="Freeform 158">
                  <a:extLst>
                    <a:ext uri="{FF2B5EF4-FFF2-40B4-BE49-F238E27FC236}">
                      <a16:creationId xmlns:a16="http://schemas.microsoft.com/office/drawing/2014/main" id="{6B11A97A-EDB9-4243-ACE5-4BC747AEB909}"/>
                    </a:ext>
                  </a:extLst>
                </p:cNvPr>
                <p:cNvSpPr>
                  <a:spLocks/>
                </p:cNvSpPr>
                <p:nvPr/>
              </p:nvSpPr>
              <p:spPr bwMode="auto">
                <a:xfrm>
                  <a:off x="6791668" y="5439231"/>
                  <a:ext cx="33166" cy="14740"/>
                </a:xfrm>
                <a:custGeom>
                  <a:avLst/>
                  <a:gdLst>
                    <a:gd name="T0" fmla="*/ 7 w 11"/>
                    <a:gd name="T1" fmla="*/ 0 h 5"/>
                    <a:gd name="T2" fmla="*/ 0 w 11"/>
                    <a:gd name="T3" fmla="*/ 5 h 5"/>
                    <a:gd name="T4" fmla="*/ 11 w 11"/>
                    <a:gd name="T5" fmla="*/ 0 h 5"/>
                    <a:gd name="T6" fmla="*/ 7 w 11"/>
                    <a:gd name="T7" fmla="*/ 0 h 5"/>
                  </a:gdLst>
                  <a:ahLst/>
                  <a:cxnLst>
                    <a:cxn ang="0">
                      <a:pos x="T0" y="T1"/>
                    </a:cxn>
                    <a:cxn ang="0">
                      <a:pos x="T2" y="T3"/>
                    </a:cxn>
                    <a:cxn ang="0">
                      <a:pos x="T4" y="T5"/>
                    </a:cxn>
                    <a:cxn ang="0">
                      <a:pos x="T6" y="T7"/>
                    </a:cxn>
                  </a:cxnLst>
                  <a:rect l="0" t="0" r="r" b="b"/>
                  <a:pathLst>
                    <a:path w="11" h="5">
                      <a:moveTo>
                        <a:pt x="7" y="0"/>
                      </a:moveTo>
                      <a:cubicBezTo>
                        <a:pt x="4" y="0"/>
                        <a:pt x="2" y="2"/>
                        <a:pt x="0" y="5"/>
                      </a:cubicBezTo>
                      <a:cubicBezTo>
                        <a:pt x="3" y="2"/>
                        <a:pt x="8" y="3"/>
                        <a:pt x="11" y="0"/>
                      </a:cubicBezTo>
                      <a:cubicBezTo>
                        <a:pt x="9"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79" name="Freeform 159">
                  <a:extLst>
                    <a:ext uri="{FF2B5EF4-FFF2-40B4-BE49-F238E27FC236}">
                      <a16:creationId xmlns:a16="http://schemas.microsoft.com/office/drawing/2014/main" id="{3B42D202-6A29-4296-9100-F2DC70A9BEAC}"/>
                    </a:ext>
                  </a:extLst>
                </p:cNvPr>
                <p:cNvSpPr>
                  <a:spLocks/>
                </p:cNvSpPr>
                <p:nvPr/>
              </p:nvSpPr>
              <p:spPr bwMode="auto">
                <a:xfrm>
                  <a:off x="6865371" y="5465027"/>
                  <a:ext cx="3685" cy="7370"/>
                </a:xfrm>
                <a:custGeom>
                  <a:avLst/>
                  <a:gdLst>
                    <a:gd name="T0" fmla="*/ 1 w 1"/>
                    <a:gd name="T1" fmla="*/ 0 h 3"/>
                    <a:gd name="T2" fmla="*/ 0 w 1"/>
                    <a:gd name="T3" fmla="*/ 3 h 3"/>
                    <a:gd name="T4" fmla="*/ 1 w 1"/>
                    <a:gd name="T5" fmla="*/ 0 h 3"/>
                  </a:gdLst>
                  <a:ahLst/>
                  <a:cxnLst>
                    <a:cxn ang="0">
                      <a:pos x="T0" y="T1"/>
                    </a:cxn>
                    <a:cxn ang="0">
                      <a:pos x="T2" y="T3"/>
                    </a:cxn>
                    <a:cxn ang="0">
                      <a:pos x="T4" y="T5"/>
                    </a:cxn>
                  </a:cxnLst>
                  <a:rect l="0" t="0" r="r" b="b"/>
                  <a:pathLst>
                    <a:path w="1" h="3">
                      <a:moveTo>
                        <a:pt x="1" y="0"/>
                      </a:moveTo>
                      <a:cubicBezTo>
                        <a:pt x="0" y="1"/>
                        <a:pt x="0" y="2"/>
                        <a:pt x="0"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80" name="Freeform 160">
                  <a:extLst>
                    <a:ext uri="{FF2B5EF4-FFF2-40B4-BE49-F238E27FC236}">
                      <a16:creationId xmlns:a16="http://schemas.microsoft.com/office/drawing/2014/main" id="{39FD81E7-30F2-4D4C-82E4-657267AD54F4}"/>
                    </a:ext>
                  </a:extLst>
                </p:cNvPr>
                <p:cNvSpPr>
                  <a:spLocks/>
                </p:cNvSpPr>
                <p:nvPr/>
              </p:nvSpPr>
              <p:spPr bwMode="auto">
                <a:xfrm>
                  <a:off x="6209420" y="5232865"/>
                  <a:ext cx="18426" cy="29481"/>
                </a:xfrm>
                <a:custGeom>
                  <a:avLst/>
                  <a:gdLst>
                    <a:gd name="T0" fmla="*/ 5 w 6"/>
                    <a:gd name="T1" fmla="*/ 0 h 9"/>
                    <a:gd name="T2" fmla="*/ 0 w 6"/>
                    <a:gd name="T3" fmla="*/ 9 h 9"/>
                    <a:gd name="T4" fmla="*/ 5 w 6"/>
                    <a:gd name="T5" fmla="*/ 0 h 9"/>
                  </a:gdLst>
                  <a:ahLst/>
                  <a:cxnLst>
                    <a:cxn ang="0">
                      <a:pos x="T0" y="T1"/>
                    </a:cxn>
                    <a:cxn ang="0">
                      <a:pos x="T2" y="T3"/>
                    </a:cxn>
                    <a:cxn ang="0">
                      <a:pos x="T4" y="T5"/>
                    </a:cxn>
                  </a:cxnLst>
                  <a:rect l="0" t="0" r="r" b="b"/>
                  <a:pathLst>
                    <a:path w="6" h="9">
                      <a:moveTo>
                        <a:pt x="5" y="0"/>
                      </a:moveTo>
                      <a:cubicBezTo>
                        <a:pt x="0" y="2"/>
                        <a:pt x="1" y="6"/>
                        <a:pt x="0" y="9"/>
                      </a:cubicBezTo>
                      <a:cubicBezTo>
                        <a:pt x="6" y="8"/>
                        <a:pt x="5" y="6"/>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81" name="Freeform 161">
                  <a:extLst>
                    <a:ext uri="{FF2B5EF4-FFF2-40B4-BE49-F238E27FC236}">
                      <a16:creationId xmlns:a16="http://schemas.microsoft.com/office/drawing/2014/main" id="{71D88BA3-99DC-4C44-A002-7663BB8CA3CC}"/>
                    </a:ext>
                  </a:extLst>
                </p:cNvPr>
                <p:cNvSpPr>
                  <a:spLocks/>
                </p:cNvSpPr>
                <p:nvPr/>
              </p:nvSpPr>
              <p:spPr bwMode="auto">
                <a:xfrm>
                  <a:off x="6563191" y="5218124"/>
                  <a:ext cx="22111" cy="22111"/>
                </a:xfrm>
                <a:custGeom>
                  <a:avLst/>
                  <a:gdLst>
                    <a:gd name="T0" fmla="*/ 0 w 7"/>
                    <a:gd name="T1" fmla="*/ 0 h 7"/>
                    <a:gd name="T2" fmla="*/ 2 w 7"/>
                    <a:gd name="T3" fmla="*/ 7 h 7"/>
                    <a:gd name="T4" fmla="*/ 4 w 7"/>
                    <a:gd name="T5" fmla="*/ 7 h 7"/>
                    <a:gd name="T6" fmla="*/ 3 w 7"/>
                    <a:gd name="T7" fmla="*/ 4 h 7"/>
                    <a:gd name="T8" fmla="*/ 3 w 7"/>
                    <a:gd name="T9" fmla="*/ 2 h 7"/>
                    <a:gd name="T10" fmla="*/ 0 w 7"/>
                    <a:gd name="T11" fmla="*/ 0 h 7"/>
                  </a:gdLst>
                  <a:ahLst/>
                  <a:cxnLst>
                    <a:cxn ang="0">
                      <a:pos x="T0" y="T1"/>
                    </a:cxn>
                    <a:cxn ang="0">
                      <a:pos x="T2" y="T3"/>
                    </a:cxn>
                    <a:cxn ang="0">
                      <a:pos x="T4" y="T5"/>
                    </a:cxn>
                    <a:cxn ang="0">
                      <a:pos x="T6" y="T7"/>
                    </a:cxn>
                    <a:cxn ang="0">
                      <a:pos x="T8" y="T9"/>
                    </a:cxn>
                    <a:cxn ang="0">
                      <a:pos x="T10" y="T11"/>
                    </a:cxn>
                  </a:cxnLst>
                  <a:rect l="0" t="0" r="r" b="b"/>
                  <a:pathLst>
                    <a:path w="7" h="7">
                      <a:moveTo>
                        <a:pt x="0" y="0"/>
                      </a:moveTo>
                      <a:cubicBezTo>
                        <a:pt x="1" y="2"/>
                        <a:pt x="2" y="5"/>
                        <a:pt x="2" y="7"/>
                      </a:cubicBezTo>
                      <a:cubicBezTo>
                        <a:pt x="3" y="7"/>
                        <a:pt x="4" y="7"/>
                        <a:pt x="4" y="7"/>
                      </a:cubicBezTo>
                      <a:cubicBezTo>
                        <a:pt x="7" y="7"/>
                        <a:pt x="4" y="5"/>
                        <a:pt x="3" y="4"/>
                      </a:cubicBezTo>
                      <a:cubicBezTo>
                        <a:pt x="3" y="2"/>
                        <a:pt x="3" y="2"/>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82" name="Freeform 162">
                  <a:extLst>
                    <a:ext uri="{FF2B5EF4-FFF2-40B4-BE49-F238E27FC236}">
                      <a16:creationId xmlns:a16="http://schemas.microsoft.com/office/drawing/2014/main" id="{40B46151-B729-4BF6-843B-8269B02C4490}"/>
                    </a:ext>
                  </a:extLst>
                </p:cNvPr>
                <p:cNvSpPr>
                  <a:spLocks/>
                </p:cNvSpPr>
                <p:nvPr/>
              </p:nvSpPr>
              <p:spPr bwMode="auto">
                <a:xfrm>
                  <a:off x="6684800" y="5258661"/>
                  <a:ext cx="36851" cy="47907"/>
                </a:xfrm>
                <a:custGeom>
                  <a:avLst/>
                  <a:gdLst>
                    <a:gd name="T0" fmla="*/ 4 w 11"/>
                    <a:gd name="T1" fmla="*/ 0 h 15"/>
                    <a:gd name="T2" fmla="*/ 1 w 11"/>
                    <a:gd name="T3" fmla="*/ 3 h 15"/>
                    <a:gd name="T4" fmla="*/ 6 w 11"/>
                    <a:gd name="T5" fmla="*/ 15 h 15"/>
                    <a:gd name="T6" fmla="*/ 9 w 11"/>
                    <a:gd name="T7" fmla="*/ 4 h 15"/>
                    <a:gd name="T8" fmla="*/ 6 w 11"/>
                    <a:gd name="T9" fmla="*/ 0 h 15"/>
                    <a:gd name="T10" fmla="*/ 4 w 11"/>
                    <a:gd name="T11" fmla="*/ 0 h 15"/>
                  </a:gdLst>
                  <a:ahLst/>
                  <a:cxnLst>
                    <a:cxn ang="0">
                      <a:pos x="T0" y="T1"/>
                    </a:cxn>
                    <a:cxn ang="0">
                      <a:pos x="T2" y="T3"/>
                    </a:cxn>
                    <a:cxn ang="0">
                      <a:pos x="T4" y="T5"/>
                    </a:cxn>
                    <a:cxn ang="0">
                      <a:pos x="T6" y="T7"/>
                    </a:cxn>
                    <a:cxn ang="0">
                      <a:pos x="T8" y="T9"/>
                    </a:cxn>
                    <a:cxn ang="0">
                      <a:pos x="T10" y="T11"/>
                    </a:cxn>
                  </a:cxnLst>
                  <a:rect l="0" t="0" r="r" b="b"/>
                  <a:pathLst>
                    <a:path w="11" h="15">
                      <a:moveTo>
                        <a:pt x="4" y="0"/>
                      </a:moveTo>
                      <a:cubicBezTo>
                        <a:pt x="2" y="0"/>
                        <a:pt x="1" y="1"/>
                        <a:pt x="1" y="3"/>
                      </a:cubicBezTo>
                      <a:cubicBezTo>
                        <a:pt x="1" y="9"/>
                        <a:pt x="0" y="11"/>
                        <a:pt x="6" y="15"/>
                      </a:cubicBezTo>
                      <a:cubicBezTo>
                        <a:pt x="9" y="13"/>
                        <a:pt x="11" y="8"/>
                        <a:pt x="9" y="4"/>
                      </a:cubicBezTo>
                      <a:cubicBezTo>
                        <a:pt x="11" y="2"/>
                        <a:pt x="8" y="1"/>
                        <a:pt x="6"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83" name="Freeform 163">
                  <a:extLst>
                    <a:ext uri="{FF2B5EF4-FFF2-40B4-BE49-F238E27FC236}">
                      <a16:creationId xmlns:a16="http://schemas.microsoft.com/office/drawing/2014/main" id="{E9062794-50EC-4E70-A988-1936C927B31F}"/>
                    </a:ext>
                  </a:extLst>
                </p:cNvPr>
                <p:cNvSpPr>
                  <a:spLocks/>
                </p:cNvSpPr>
                <p:nvPr/>
              </p:nvSpPr>
              <p:spPr bwMode="auto">
                <a:xfrm>
                  <a:off x="6124662" y="5129682"/>
                  <a:ext cx="40536" cy="33166"/>
                </a:xfrm>
                <a:custGeom>
                  <a:avLst/>
                  <a:gdLst>
                    <a:gd name="T0" fmla="*/ 7 w 13"/>
                    <a:gd name="T1" fmla="*/ 0 h 10"/>
                    <a:gd name="T2" fmla="*/ 4 w 13"/>
                    <a:gd name="T3" fmla="*/ 1 h 10"/>
                    <a:gd name="T4" fmla="*/ 4 w 13"/>
                    <a:gd name="T5" fmla="*/ 1 h 10"/>
                    <a:gd name="T6" fmla="*/ 3 w 13"/>
                    <a:gd name="T7" fmla="*/ 1 h 10"/>
                    <a:gd name="T8" fmla="*/ 3 w 13"/>
                    <a:gd name="T9" fmla="*/ 1 h 10"/>
                    <a:gd name="T10" fmla="*/ 2 w 13"/>
                    <a:gd name="T11" fmla="*/ 1 h 10"/>
                    <a:gd name="T12" fmla="*/ 9 w 13"/>
                    <a:gd name="T13" fmla="*/ 10 h 10"/>
                    <a:gd name="T14" fmla="*/ 9 w 13"/>
                    <a:gd name="T15" fmla="*/ 6 h 10"/>
                    <a:gd name="T16" fmla="*/ 8 w 13"/>
                    <a:gd name="T17" fmla="*/ 0 h 10"/>
                    <a:gd name="T18" fmla="*/ 7 w 13"/>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7" y="0"/>
                      </a:moveTo>
                      <a:cubicBezTo>
                        <a:pt x="6" y="0"/>
                        <a:pt x="5" y="0"/>
                        <a:pt x="4" y="1"/>
                      </a:cubicBezTo>
                      <a:cubicBezTo>
                        <a:pt x="4" y="1"/>
                        <a:pt x="4" y="1"/>
                        <a:pt x="4" y="1"/>
                      </a:cubicBezTo>
                      <a:cubicBezTo>
                        <a:pt x="4" y="1"/>
                        <a:pt x="3" y="1"/>
                        <a:pt x="3" y="1"/>
                      </a:cubicBezTo>
                      <a:cubicBezTo>
                        <a:pt x="3" y="1"/>
                        <a:pt x="3" y="1"/>
                        <a:pt x="3" y="1"/>
                      </a:cubicBezTo>
                      <a:cubicBezTo>
                        <a:pt x="3" y="1"/>
                        <a:pt x="2" y="1"/>
                        <a:pt x="2" y="1"/>
                      </a:cubicBezTo>
                      <a:cubicBezTo>
                        <a:pt x="0" y="3"/>
                        <a:pt x="8" y="9"/>
                        <a:pt x="9" y="10"/>
                      </a:cubicBezTo>
                      <a:cubicBezTo>
                        <a:pt x="9" y="9"/>
                        <a:pt x="9" y="7"/>
                        <a:pt x="9" y="6"/>
                      </a:cubicBezTo>
                      <a:cubicBezTo>
                        <a:pt x="3" y="5"/>
                        <a:pt x="13" y="2"/>
                        <a:pt x="8"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84" name="Freeform 164">
                  <a:extLst>
                    <a:ext uri="{FF2B5EF4-FFF2-40B4-BE49-F238E27FC236}">
                      <a16:creationId xmlns:a16="http://schemas.microsoft.com/office/drawing/2014/main" id="{E72B7B36-60B4-4308-B760-79EE583EE982}"/>
                    </a:ext>
                  </a:extLst>
                </p:cNvPr>
                <p:cNvSpPr>
                  <a:spLocks/>
                </p:cNvSpPr>
                <p:nvPr/>
              </p:nvSpPr>
              <p:spPr bwMode="auto">
                <a:xfrm>
                  <a:off x="6607412" y="5354474"/>
                  <a:ext cx="29481" cy="18426"/>
                </a:xfrm>
                <a:custGeom>
                  <a:avLst/>
                  <a:gdLst>
                    <a:gd name="T0" fmla="*/ 1 w 9"/>
                    <a:gd name="T1" fmla="*/ 0 h 5"/>
                    <a:gd name="T2" fmla="*/ 0 w 9"/>
                    <a:gd name="T3" fmla="*/ 0 h 5"/>
                    <a:gd name="T4" fmla="*/ 6 w 9"/>
                    <a:gd name="T5" fmla="*/ 5 h 5"/>
                    <a:gd name="T6" fmla="*/ 1 w 9"/>
                    <a:gd name="T7" fmla="*/ 0 h 5"/>
                  </a:gdLst>
                  <a:ahLst/>
                  <a:cxnLst>
                    <a:cxn ang="0">
                      <a:pos x="T0" y="T1"/>
                    </a:cxn>
                    <a:cxn ang="0">
                      <a:pos x="T2" y="T3"/>
                    </a:cxn>
                    <a:cxn ang="0">
                      <a:pos x="T4" y="T5"/>
                    </a:cxn>
                    <a:cxn ang="0">
                      <a:pos x="T6" y="T7"/>
                    </a:cxn>
                  </a:cxnLst>
                  <a:rect l="0" t="0" r="r" b="b"/>
                  <a:pathLst>
                    <a:path w="9" h="5">
                      <a:moveTo>
                        <a:pt x="1" y="0"/>
                      </a:moveTo>
                      <a:cubicBezTo>
                        <a:pt x="1" y="0"/>
                        <a:pt x="0" y="0"/>
                        <a:pt x="0" y="0"/>
                      </a:cubicBezTo>
                      <a:cubicBezTo>
                        <a:pt x="2" y="2"/>
                        <a:pt x="4" y="3"/>
                        <a:pt x="6" y="5"/>
                      </a:cubicBezTo>
                      <a:cubicBezTo>
                        <a:pt x="9" y="1"/>
                        <a:pt x="4"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85" name="Freeform 165">
                  <a:extLst>
                    <a:ext uri="{FF2B5EF4-FFF2-40B4-BE49-F238E27FC236}">
                      <a16:creationId xmlns:a16="http://schemas.microsoft.com/office/drawing/2014/main" id="{D844C526-A2DA-4088-ADDC-6FF5B8015026}"/>
                    </a:ext>
                  </a:extLst>
                </p:cNvPr>
                <p:cNvSpPr>
                  <a:spLocks/>
                </p:cNvSpPr>
                <p:nvPr/>
              </p:nvSpPr>
              <p:spPr bwMode="auto">
                <a:xfrm>
                  <a:off x="5339733" y="3445584"/>
                  <a:ext cx="29481" cy="11055"/>
                </a:xfrm>
                <a:custGeom>
                  <a:avLst/>
                  <a:gdLst>
                    <a:gd name="T0" fmla="*/ 6 w 9"/>
                    <a:gd name="T1" fmla="*/ 0 h 4"/>
                    <a:gd name="T2" fmla="*/ 4 w 9"/>
                    <a:gd name="T3" fmla="*/ 0 h 4"/>
                    <a:gd name="T4" fmla="*/ 9 w 9"/>
                    <a:gd name="T5" fmla="*/ 4 h 4"/>
                    <a:gd name="T6" fmla="*/ 6 w 9"/>
                    <a:gd name="T7" fmla="*/ 0 h 4"/>
                  </a:gdLst>
                  <a:ahLst/>
                  <a:cxnLst>
                    <a:cxn ang="0">
                      <a:pos x="T0" y="T1"/>
                    </a:cxn>
                    <a:cxn ang="0">
                      <a:pos x="T2" y="T3"/>
                    </a:cxn>
                    <a:cxn ang="0">
                      <a:pos x="T4" y="T5"/>
                    </a:cxn>
                    <a:cxn ang="0">
                      <a:pos x="T6" y="T7"/>
                    </a:cxn>
                  </a:cxnLst>
                  <a:rect l="0" t="0" r="r" b="b"/>
                  <a:pathLst>
                    <a:path w="9" h="4">
                      <a:moveTo>
                        <a:pt x="6" y="0"/>
                      </a:moveTo>
                      <a:cubicBezTo>
                        <a:pt x="5" y="0"/>
                        <a:pt x="5" y="0"/>
                        <a:pt x="4" y="0"/>
                      </a:cubicBezTo>
                      <a:cubicBezTo>
                        <a:pt x="0" y="3"/>
                        <a:pt x="8" y="4"/>
                        <a:pt x="9" y="4"/>
                      </a:cubicBezTo>
                      <a:cubicBezTo>
                        <a:pt x="9" y="3"/>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86" name="Freeform 166">
                  <a:extLst>
                    <a:ext uri="{FF2B5EF4-FFF2-40B4-BE49-F238E27FC236}">
                      <a16:creationId xmlns:a16="http://schemas.microsoft.com/office/drawing/2014/main" id="{00E56CA1-1B57-461C-92EE-8E4FBD8863F4}"/>
                    </a:ext>
                  </a:extLst>
                </p:cNvPr>
                <p:cNvSpPr>
                  <a:spLocks/>
                </p:cNvSpPr>
                <p:nvPr/>
              </p:nvSpPr>
              <p:spPr bwMode="auto">
                <a:xfrm>
                  <a:off x="5030183" y="3541397"/>
                  <a:ext cx="11055" cy="0"/>
                </a:xfrm>
                <a:custGeom>
                  <a:avLst/>
                  <a:gdLst>
                    <a:gd name="T0" fmla="*/ 0 w 3"/>
                    <a:gd name="T1" fmla="*/ 0 h 1"/>
                    <a:gd name="T2" fmla="*/ 0 w 3"/>
                    <a:gd name="T3" fmla="*/ 1 h 1"/>
                    <a:gd name="T4" fmla="*/ 3 w 3"/>
                    <a:gd name="T5" fmla="*/ 1 h 1"/>
                    <a:gd name="T6" fmla="*/ 0 w 3"/>
                    <a:gd name="T7" fmla="*/ 0 h 1"/>
                  </a:gdLst>
                  <a:ahLst/>
                  <a:cxnLst>
                    <a:cxn ang="0">
                      <a:pos x="T0" y="T1"/>
                    </a:cxn>
                    <a:cxn ang="0">
                      <a:pos x="T2" y="T3"/>
                    </a:cxn>
                    <a:cxn ang="0">
                      <a:pos x="T4" y="T5"/>
                    </a:cxn>
                    <a:cxn ang="0">
                      <a:pos x="T6" y="T7"/>
                    </a:cxn>
                  </a:cxnLst>
                  <a:rect l="0" t="0" r="r" b="b"/>
                  <a:pathLst>
                    <a:path w="3" h="1">
                      <a:moveTo>
                        <a:pt x="0" y="0"/>
                      </a:moveTo>
                      <a:cubicBezTo>
                        <a:pt x="0" y="0"/>
                        <a:pt x="0" y="1"/>
                        <a:pt x="0" y="1"/>
                      </a:cubicBezTo>
                      <a:cubicBezTo>
                        <a:pt x="1" y="1"/>
                        <a:pt x="3" y="1"/>
                        <a:pt x="3" y="1"/>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87" name="Freeform 167">
                  <a:extLst>
                    <a:ext uri="{FF2B5EF4-FFF2-40B4-BE49-F238E27FC236}">
                      <a16:creationId xmlns:a16="http://schemas.microsoft.com/office/drawing/2014/main" id="{1EC60A6E-5F65-458D-A04F-73BCA7406A8F}"/>
                    </a:ext>
                  </a:extLst>
                </p:cNvPr>
                <p:cNvSpPr>
                  <a:spLocks/>
                </p:cNvSpPr>
                <p:nvPr/>
              </p:nvSpPr>
              <p:spPr bwMode="auto">
                <a:xfrm>
                  <a:off x="5538729" y="3423473"/>
                  <a:ext cx="62647" cy="58962"/>
                </a:xfrm>
                <a:custGeom>
                  <a:avLst/>
                  <a:gdLst>
                    <a:gd name="T0" fmla="*/ 8 w 19"/>
                    <a:gd name="T1" fmla="*/ 0 h 18"/>
                    <a:gd name="T2" fmla="*/ 4 w 19"/>
                    <a:gd name="T3" fmla="*/ 2 h 18"/>
                    <a:gd name="T4" fmla="*/ 4 w 19"/>
                    <a:gd name="T5" fmla="*/ 2 h 18"/>
                    <a:gd name="T6" fmla="*/ 6 w 19"/>
                    <a:gd name="T7" fmla="*/ 4 h 18"/>
                    <a:gd name="T8" fmla="*/ 7 w 19"/>
                    <a:gd name="T9" fmla="*/ 3 h 18"/>
                    <a:gd name="T10" fmla="*/ 9 w 19"/>
                    <a:gd name="T11" fmla="*/ 5 h 18"/>
                    <a:gd name="T12" fmla="*/ 8 w 19"/>
                    <a:gd name="T13" fmla="*/ 5 h 18"/>
                    <a:gd name="T14" fmla="*/ 7 w 19"/>
                    <a:gd name="T15" fmla="*/ 6 h 18"/>
                    <a:gd name="T16" fmla="*/ 7 w 19"/>
                    <a:gd name="T17" fmla="*/ 4 h 18"/>
                    <a:gd name="T18" fmla="*/ 5 w 19"/>
                    <a:gd name="T19" fmla="*/ 6 h 18"/>
                    <a:gd name="T20" fmla="*/ 2 w 19"/>
                    <a:gd name="T21" fmla="*/ 5 h 18"/>
                    <a:gd name="T22" fmla="*/ 1 w 19"/>
                    <a:gd name="T23" fmla="*/ 6 h 18"/>
                    <a:gd name="T24" fmla="*/ 8 w 19"/>
                    <a:gd name="T25" fmla="*/ 18 h 18"/>
                    <a:gd name="T26" fmla="*/ 13 w 19"/>
                    <a:gd name="T27" fmla="*/ 13 h 18"/>
                    <a:gd name="T28" fmla="*/ 14 w 19"/>
                    <a:gd name="T29" fmla="*/ 13 h 18"/>
                    <a:gd name="T30" fmla="*/ 17 w 19"/>
                    <a:gd name="T31" fmla="*/ 16 h 18"/>
                    <a:gd name="T32" fmla="*/ 18 w 19"/>
                    <a:gd name="T33" fmla="*/ 13 h 18"/>
                    <a:gd name="T34" fmla="*/ 13 w 19"/>
                    <a:gd name="T35" fmla="*/ 8 h 18"/>
                    <a:gd name="T36" fmla="*/ 14 w 19"/>
                    <a:gd name="T37" fmla="*/ 4 h 18"/>
                    <a:gd name="T38" fmla="*/ 13 w 19"/>
                    <a:gd name="T39" fmla="*/ 4 h 18"/>
                    <a:gd name="T40" fmla="*/ 12 w 19"/>
                    <a:gd name="T41" fmla="*/ 4 h 18"/>
                    <a:gd name="T42" fmla="*/ 11 w 19"/>
                    <a:gd name="T43" fmla="*/ 4 h 18"/>
                    <a:gd name="T44" fmla="*/ 8 w 19"/>
                    <a:gd name="T45" fmla="*/ 3 h 18"/>
                    <a:gd name="T46" fmla="*/ 9 w 19"/>
                    <a:gd name="T47" fmla="*/ 0 h 18"/>
                    <a:gd name="T48" fmla="*/ 9 w 19"/>
                    <a:gd name="T49" fmla="*/ 0 h 18"/>
                    <a:gd name="T50" fmla="*/ 8 w 19"/>
                    <a:gd name="T5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18">
                      <a:moveTo>
                        <a:pt x="8" y="0"/>
                      </a:moveTo>
                      <a:cubicBezTo>
                        <a:pt x="6" y="0"/>
                        <a:pt x="4" y="1"/>
                        <a:pt x="4" y="2"/>
                      </a:cubicBezTo>
                      <a:cubicBezTo>
                        <a:pt x="4" y="2"/>
                        <a:pt x="4" y="2"/>
                        <a:pt x="4" y="2"/>
                      </a:cubicBezTo>
                      <a:cubicBezTo>
                        <a:pt x="5" y="2"/>
                        <a:pt x="6" y="2"/>
                        <a:pt x="6" y="4"/>
                      </a:cubicBezTo>
                      <a:cubicBezTo>
                        <a:pt x="7" y="3"/>
                        <a:pt x="7" y="3"/>
                        <a:pt x="7" y="3"/>
                      </a:cubicBezTo>
                      <a:cubicBezTo>
                        <a:pt x="8" y="3"/>
                        <a:pt x="9" y="4"/>
                        <a:pt x="9" y="5"/>
                      </a:cubicBezTo>
                      <a:cubicBezTo>
                        <a:pt x="9" y="5"/>
                        <a:pt x="9" y="5"/>
                        <a:pt x="8" y="5"/>
                      </a:cubicBezTo>
                      <a:cubicBezTo>
                        <a:pt x="8" y="5"/>
                        <a:pt x="7" y="5"/>
                        <a:pt x="7" y="6"/>
                      </a:cubicBezTo>
                      <a:cubicBezTo>
                        <a:pt x="7" y="5"/>
                        <a:pt x="6" y="5"/>
                        <a:pt x="7" y="4"/>
                      </a:cubicBezTo>
                      <a:cubicBezTo>
                        <a:pt x="6" y="5"/>
                        <a:pt x="6" y="5"/>
                        <a:pt x="5" y="6"/>
                      </a:cubicBezTo>
                      <a:cubicBezTo>
                        <a:pt x="5" y="6"/>
                        <a:pt x="3" y="5"/>
                        <a:pt x="2" y="5"/>
                      </a:cubicBezTo>
                      <a:cubicBezTo>
                        <a:pt x="1" y="5"/>
                        <a:pt x="1" y="5"/>
                        <a:pt x="1" y="6"/>
                      </a:cubicBezTo>
                      <a:cubicBezTo>
                        <a:pt x="0" y="14"/>
                        <a:pt x="0" y="14"/>
                        <a:pt x="8" y="18"/>
                      </a:cubicBezTo>
                      <a:cubicBezTo>
                        <a:pt x="9" y="14"/>
                        <a:pt x="10" y="14"/>
                        <a:pt x="13" y="13"/>
                      </a:cubicBezTo>
                      <a:cubicBezTo>
                        <a:pt x="13" y="13"/>
                        <a:pt x="14" y="13"/>
                        <a:pt x="14" y="13"/>
                      </a:cubicBezTo>
                      <a:cubicBezTo>
                        <a:pt x="16" y="13"/>
                        <a:pt x="17" y="14"/>
                        <a:pt x="17" y="16"/>
                      </a:cubicBezTo>
                      <a:cubicBezTo>
                        <a:pt x="18" y="15"/>
                        <a:pt x="18" y="14"/>
                        <a:pt x="18" y="13"/>
                      </a:cubicBezTo>
                      <a:cubicBezTo>
                        <a:pt x="16" y="12"/>
                        <a:pt x="13" y="11"/>
                        <a:pt x="13" y="8"/>
                      </a:cubicBezTo>
                      <a:cubicBezTo>
                        <a:pt x="14" y="6"/>
                        <a:pt x="19" y="5"/>
                        <a:pt x="14" y="4"/>
                      </a:cubicBezTo>
                      <a:cubicBezTo>
                        <a:pt x="14" y="4"/>
                        <a:pt x="14" y="4"/>
                        <a:pt x="13" y="4"/>
                      </a:cubicBezTo>
                      <a:cubicBezTo>
                        <a:pt x="13" y="4"/>
                        <a:pt x="13" y="4"/>
                        <a:pt x="12" y="4"/>
                      </a:cubicBezTo>
                      <a:cubicBezTo>
                        <a:pt x="12" y="4"/>
                        <a:pt x="11" y="4"/>
                        <a:pt x="11" y="4"/>
                      </a:cubicBezTo>
                      <a:cubicBezTo>
                        <a:pt x="10" y="4"/>
                        <a:pt x="8" y="4"/>
                        <a:pt x="8" y="3"/>
                      </a:cubicBezTo>
                      <a:cubicBezTo>
                        <a:pt x="7" y="2"/>
                        <a:pt x="9" y="0"/>
                        <a:pt x="9" y="0"/>
                      </a:cubicBezTo>
                      <a:cubicBezTo>
                        <a:pt x="9" y="0"/>
                        <a:pt x="9"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88" name="Freeform 168">
                  <a:extLst>
                    <a:ext uri="{FF2B5EF4-FFF2-40B4-BE49-F238E27FC236}">
                      <a16:creationId xmlns:a16="http://schemas.microsoft.com/office/drawing/2014/main" id="{39F70352-56C3-45B6-9054-73CAF8242A03}"/>
                    </a:ext>
                  </a:extLst>
                </p:cNvPr>
                <p:cNvSpPr>
                  <a:spLocks/>
                </p:cNvSpPr>
                <p:nvPr/>
              </p:nvSpPr>
              <p:spPr bwMode="auto">
                <a:xfrm>
                  <a:off x="4149441" y="4337382"/>
                  <a:ext cx="11055" cy="14740"/>
                </a:xfrm>
                <a:custGeom>
                  <a:avLst/>
                  <a:gdLst>
                    <a:gd name="T0" fmla="*/ 1 w 4"/>
                    <a:gd name="T1" fmla="*/ 0 h 5"/>
                    <a:gd name="T2" fmla="*/ 0 w 4"/>
                    <a:gd name="T3" fmla="*/ 0 h 5"/>
                    <a:gd name="T4" fmla="*/ 4 w 4"/>
                    <a:gd name="T5" fmla="*/ 5 h 5"/>
                    <a:gd name="T6" fmla="*/ 1 w 4"/>
                    <a:gd name="T7" fmla="*/ 0 h 5"/>
                  </a:gdLst>
                  <a:ahLst/>
                  <a:cxnLst>
                    <a:cxn ang="0">
                      <a:pos x="T0" y="T1"/>
                    </a:cxn>
                    <a:cxn ang="0">
                      <a:pos x="T2" y="T3"/>
                    </a:cxn>
                    <a:cxn ang="0">
                      <a:pos x="T4" y="T5"/>
                    </a:cxn>
                    <a:cxn ang="0">
                      <a:pos x="T6" y="T7"/>
                    </a:cxn>
                  </a:cxnLst>
                  <a:rect l="0" t="0" r="r" b="b"/>
                  <a:pathLst>
                    <a:path w="4" h="5">
                      <a:moveTo>
                        <a:pt x="1" y="0"/>
                      </a:moveTo>
                      <a:cubicBezTo>
                        <a:pt x="1" y="0"/>
                        <a:pt x="1" y="0"/>
                        <a:pt x="0" y="0"/>
                      </a:cubicBezTo>
                      <a:cubicBezTo>
                        <a:pt x="2" y="2"/>
                        <a:pt x="3" y="3"/>
                        <a:pt x="4" y="5"/>
                      </a:cubicBezTo>
                      <a:cubicBezTo>
                        <a:pt x="3" y="3"/>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89" name="Freeform 169">
                  <a:extLst>
                    <a:ext uri="{FF2B5EF4-FFF2-40B4-BE49-F238E27FC236}">
                      <a16:creationId xmlns:a16="http://schemas.microsoft.com/office/drawing/2014/main" id="{2C28284D-8307-4570-B637-74D9AB20C6EB}"/>
                    </a:ext>
                  </a:extLst>
                </p:cNvPr>
                <p:cNvSpPr>
                  <a:spLocks/>
                </p:cNvSpPr>
                <p:nvPr/>
              </p:nvSpPr>
              <p:spPr bwMode="auto">
                <a:xfrm>
                  <a:off x="4064683" y="4296845"/>
                  <a:ext cx="14740" cy="11055"/>
                </a:xfrm>
                <a:custGeom>
                  <a:avLst/>
                  <a:gdLst>
                    <a:gd name="T0" fmla="*/ 0 w 5"/>
                    <a:gd name="T1" fmla="*/ 0 h 4"/>
                    <a:gd name="T2" fmla="*/ 5 w 5"/>
                    <a:gd name="T3" fmla="*/ 4 h 4"/>
                    <a:gd name="T4" fmla="*/ 0 w 5"/>
                    <a:gd name="T5" fmla="*/ 0 h 4"/>
                  </a:gdLst>
                  <a:ahLst/>
                  <a:cxnLst>
                    <a:cxn ang="0">
                      <a:pos x="T0" y="T1"/>
                    </a:cxn>
                    <a:cxn ang="0">
                      <a:pos x="T2" y="T3"/>
                    </a:cxn>
                    <a:cxn ang="0">
                      <a:pos x="T4" y="T5"/>
                    </a:cxn>
                  </a:cxnLst>
                  <a:rect l="0" t="0" r="r" b="b"/>
                  <a:pathLst>
                    <a:path w="5" h="4">
                      <a:moveTo>
                        <a:pt x="0" y="0"/>
                      </a:moveTo>
                      <a:cubicBezTo>
                        <a:pt x="1" y="1"/>
                        <a:pt x="3" y="3"/>
                        <a:pt x="5" y="4"/>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90" name="Freeform 170">
                  <a:extLst>
                    <a:ext uri="{FF2B5EF4-FFF2-40B4-BE49-F238E27FC236}">
                      <a16:creationId xmlns:a16="http://schemas.microsoft.com/office/drawing/2014/main" id="{8754AA9E-853B-4E57-AB49-581C902A3D58}"/>
                    </a:ext>
                  </a:extLst>
                </p:cNvPr>
                <p:cNvSpPr>
                  <a:spLocks/>
                </p:cNvSpPr>
                <p:nvPr/>
              </p:nvSpPr>
              <p:spPr bwMode="auto">
                <a:xfrm>
                  <a:off x="4223143" y="4429510"/>
                  <a:ext cx="18426" cy="7370"/>
                </a:xfrm>
                <a:custGeom>
                  <a:avLst/>
                  <a:gdLst>
                    <a:gd name="T0" fmla="*/ 1 w 6"/>
                    <a:gd name="T1" fmla="*/ 0 h 2"/>
                    <a:gd name="T2" fmla="*/ 0 w 6"/>
                    <a:gd name="T3" fmla="*/ 0 h 2"/>
                    <a:gd name="T4" fmla="*/ 6 w 6"/>
                    <a:gd name="T5" fmla="*/ 2 h 2"/>
                    <a:gd name="T6" fmla="*/ 1 w 6"/>
                    <a:gd name="T7" fmla="*/ 0 h 2"/>
                  </a:gdLst>
                  <a:ahLst/>
                  <a:cxnLst>
                    <a:cxn ang="0">
                      <a:pos x="T0" y="T1"/>
                    </a:cxn>
                    <a:cxn ang="0">
                      <a:pos x="T2" y="T3"/>
                    </a:cxn>
                    <a:cxn ang="0">
                      <a:pos x="T4" y="T5"/>
                    </a:cxn>
                    <a:cxn ang="0">
                      <a:pos x="T6" y="T7"/>
                    </a:cxn>
                  </a:cxnLst>
                  <a:rect l="0" t="0" r="r" b="b"/>
                  <a:pathLst>
                    <a:path w="6" h="2">
                      <a:moveTo>
                        <a:pt x="1" y="0"/>
                      </a:moveTo>
                      <a:cubicBezTo>
                        <a:pt x="1" y="0"/>
                        <a:pt x="1" y="0"/>
                        <a:pt x="0" y="0"/>
                      </a:cubicBezTo>
                      <a:cubicBezTo>
                        <a:pt x="2" y="1"/>
                        <a:pt x="4" y="2"/>
                        <a:pt x="6" y="2"/>
                      </a:cubicBezTo>
                      <a:cubicBezTo>
                        <a:pt x="5"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91" name="Freeform 171">
                  <a:extLst>
                    <a:ext uri="{FF2B5EF4-FFF2-40B4-BE49-F238E27FC236}">
                      <a16:creationId xmlns:a16="http://schemas.microsoft.com/office/drawing/2014/main" id="{92975B95-E874-4CC0-94F7-7166973D4207}"/>
                    </a:ext>
                  </a:extLst>
                </p:cNvPr>
                <p:cNvSpPr>
                  <a:spLocks/>
                </p:cNvSpPr>
                <p:nvPr/>
              </p:nvSpPr>
              <p:spPr bwMode="auto">
                <a:xfrm>
                  <a:off x="4230513" y="4447935"/>
                  <a:ext cx="22111" cy="29481"/>
                </a:xfrm>
                <a:custGeom>
                  <a:avLst/>
                  <a:gdLst>
                    <a:gd name="T0" fmla="*/ 0 w 7"/>
                    <a:gd name="T1" fmla="*/ 0 h 9"/>
                    <a:gd name="T2" fmla="*/ 5 w 7"/>
                    <a:gd name="T3" fmla="*/ 9 h 9"/>
                    <a:gd name="T4" fmla="*/ 0 w 7"/>
                    <a:gd name="T5" fmla="*/ 0 h 9"/>
                  </a:gdLst>
                  <a:ahLst/>
                  <a:cxnLst>
                    <a:cxn ang="0">
                      <a:pos x="T0" y="T1"/>
                    </a:cxn>
                    <a:cxn ang="0">
                      <a:pos x="T2" y="T3"/>
                    </a:cxn>
                    <a:cxn ang="0">
                      <a:pos x="T4" y="T5"/>
                    </a:cxn>
                  </a:cxnLst>
                  <a:rect l="0" t="0" r="r" b="b"/>
                  <a:pathLst>
                    <a:path w="7" h="9">
                      <a:moveTo>
                        <a:pt x="0" y="0"/>
                      </a:moveTo>
                      <a:cubicBezTo>
                        <a:pt x="1" y="3"/>
                        <a:pt x="3" y="6"/>
                        <a:pt x="5" y="9"/>
                      </a:cubicBezTo>
                      <a:cubicBezTo>
                        <a:pt x="7" y="4"/>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92" name="Freeform 172">
                  <a:extLst>
                    <a:ext uri="{FF2B5EF4-FFF2-40B4-BE49-F238E27FC236}">
                      <a16:creationId xmlns:a16="http://schemas.microsoft.com/office/drawing/2014/main" id="{3DDDD35C-02DE-4BB8-A6B2-9AA0178399EE}"/>
                    </a:ext>
                  </a:extLst>
                </p:cNvPr>
                <p:cNvSpPr>
                  <a:spLocks/>
                </p:cNvSpPr>
                <p:nvPr/>
              </p:nvSpPr>
              <p:spPr bwMode="auto">
                <a:xfrm>
                  <a:off x="5122311" y="4786966"/>
                  <a:ext cx="99498" cy="176886"/>
                </a:xfrm>
                <a:custGeom>
                  <a:avLst/>
                  <a:gdLst>
                    <a:gd name="T0" fmla="*/ 24 w 31"/>
                    <a:gd name="T1" fmla="*/ 0 h 56"/>
                    <a:gd name="T2" fmla="*/ 24 w 31"/>
                    <a:gd name="T3" fmla="*/ 0 h 56"/>
                    <a:gd name="T4" fmla="*/ 20 w 31"/>
                    <a:gd name="T5" fmla="*/ 10 h 56"/>
                    <a:gd name="T6" fmla="*/ 2 w 31"/>
                    <a:gd name="T7" fmla="*/ 21 h 56"/>
                    <a:gd name="T8" fmla="*/ 2 w 31"/>
                    <a:gd name="T9" fmla="*/ 35 h 56"/>
                    <a:gd name="T10" fmla="*/ 7 w 31"/>
                    <a:gd name="T11" fmla="*/ 39 h 56"/>
                    <a:gd name="T12" fmla="*/ 4 w 31"/>
                    <a:gd name="T13" fmla="*/ 42 h 56"/>
                    <a:gd name="T14" fmla="*/ 9 w 31"/>
                    <a:gd name="T15" fmla="*/ 44 h 56"/>
                    <a:gd name="T16" fmla="*/ 20 w 31"/>
                    <a:gd name="T17" fmla="*/ 56 h 56"/>
                    <a:gd name="T18" fmla="*/ 30 w 31"/>
                    <a:gd name="T19" fmla="*/ 26 h 56"/>
                    <a:gd name="T20" fmla="*/ 29 w 31"/>
                    <a:gd name="T21" fmla="*/ 12 h 56"/>
                    <a:gd name="T22" fmla="*/ 24 w 31"/>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56">
                      <a:moveTo>
                        <a:pt x="24" y="0"/>
                      </a:moveTo>
                      <a:cubicBezTo>
                        <a:pt x="24" y="0"/>
                        <a:pt x="24" y="0"/>
                        <a:pt x="24" y="0"/>
                      </a:cubicBezTo>
                      <a:cubicBezTo>
                        <a:pt x="23" y="4"/>
                        <a:pt x="25" y="10"/>
                        <a:pt x="20" y="10"/>
                      </a:cubicBezTo>
                      <a:cubicBezTo>
                        <a:pt x="13" y="10"/>
                        <a:pt x="8" y="16"/>
                        <a:pt x="2" y="21"/>
                      </a:cubicBezTo>
                      <a:cubicBezTo>
                        <a:pt x="0" y="23"/>
                        <a:pt x="5" y="33"/>
                        <a:pt x="2" y="35"/>
                      </a:cubicBezTo>
                      <a:cubicBezTo>
                        <a:pt x="5" y="36"/>
                        <a:pt x="8" y="35"/>
                        <a:pt x="7" y="39"/>
                      </a:cubicBezTo>
                      <a:cubicBezTo>
                        <a:pt x="6" y="40"/>
                        <a:pt x="6" y="42"/>
                        <a:pt x="4" y="42"/>
                      </a:cubicBezTo>
                      <a:cubicBezTo>
                        <a:pt x="6" y="43"/>
                        <a:pt x="8" y="44"/>
                        <a:pt x="9" y="44"/>
                      </a:cubicBezTo>
                      <a:cubicBezTo>
                        <a:pt x="6" y="51"/>
                        <a:pt x="14" y="52"/>
                        <a:pt x="20" y="56"/>
                      </a:cubicBezTo>
                      <a:cubicBezTo>
                        <a:pt x="23" y="46"/>
                        <a:pt x="26" y="36"/>
                        <a:pt x="30" y="26"/>
                      </a:cubicBezTo>
                      <a:cubicBezTo>
                        <a:pt x="31" y="22"/>
                        <a:pt x="29" y="16"/>
                        <a:pt x="29" y="12"/>
                      </a:cubicBezTo>
                      <a:cubicBezTo>
                        <a:pt x="28" y="9"/>
                        <a:pt x="29" y="0"/>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93" name="Freeform 173">
                  <a:extLst>
                    <a:ext uri="{FF2B5EF4-FFF2-40B4-BE49-F238E27FC236}">
                      <a16:creationId xmlns:a16="http://schemas.microsoft.com/office/drawing/2014/main" id="{EAFDC384-79B7-4150-BEC3-45C8F4A9F7BA}"/>
                    </a:ext>
                  </a:extLst>
                </p:cNvPr>
                <p:cNvSpPr>
                  <a:spLocks/>
                </p:cNvSpPr>
                <p:nvPr/>
              </p:nvSpPr>
              <p:spPr bwMode="auto">
                <a:xfrm>
                  <a:off x="3718282" y="2417437"/>
                  <a:ext cx="47906" cy="36851"/>
                </a:xfrm>
                <a:custGeom>
                  <a:avLst/>
                  <a:gdLst>
                    <a:gd name="T0" fmla="*/ 3 w 16"/>
                    <a:gd name="T1" fmla="*/ 0 h 11"/>
                    <a:gd name="T2" fmla="*/ 0 w 16"/>
                    <a:gd name="T3" fmla="*/ 0 h 11"/>
                    <a:gd name="T4" fmla="*/ 4 w 16"/>
                    <a:gd name="T5" fmla="*/ 6 h 11"/>
                    <a:gd name="T6" fmla="*/ 5 w 16"/>
                    <a:gd name="T7" fmla="*/ 6 h 11"/>
                    <a:gd name="T8" fmla="*/ 7 w 16"/>
                    <a:gd name="T9" fmla="*/ 6 h 11"/>
                    <a:gd name="T10" fmla="*/ 8 w 16"/>
                    <a:gd name="T11" fmla="*/ 5 h 11"/>
                    <a:gd name="T12" fmla="*/ 9 w 16"/>
                    <a:gd name="T13" fmla="*/ 5 h 11"/>
                    <a:gd name="T14" fmla="*/ 12 w 16"/>
                    <a:gd name="T15" fmla="*/ 11 h 11"/>
                    <a:gd name="T16" fmla="*/ 12 w 16"/>
                    <a:gd name="T17" fmla="*/ 5 h 11"/>
                    <a:gd name="T18" fmla="*/ 13 w 16"/>
                    <a:gd name="T19" fmla="*/ 5 h 11"/>
                    <a:gd name="T20" fmla="*/ 3 w 16"/>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1">
                      <a:moveTo>
                        <a:pt x="3" y="0"/>
                      </a:moveTo>
                      <a:cubicBezTo>
                        <a:pt x="2" y="0"/>
                        <a:pt x="1" y="0"/>
                        <a:pt x="0" y="0"/>
                      </a:cubicBezTo>
                      <a:cubicBezTo>
                        <a:pt x="2" y="2"/>
                        <a:pt x="2" y="4"/>
                        <a:pt x="4" y="6"/>
                      </a:cubicBezTo>
                      <a:cubicBezTo>
                        <a:pt x="5" y="6"/>
                        <a:pt x="5" y="6"/>
                        <a:pt x="5" y="6"/>
                      </a:cubicBezTo>
                      <a:cubicBezTo>
                        <a:pt x="6" y="6"/>
                        <a:pt x="6" y="6"/>
                        <a:pt x="7" y="6"/>
                      </a:cubicBezTo>
                      <a:cubicBezTo>
                        <a:pt x="7" y="5"/>
                        <a:pt x="8" y="5"/>
                        <a:pt x="8" y="5"/>
                      </a:cubicBezTo>
                      <a:cubicBezTo>
                        <a:pt x="8" y="5"/>
                        <a:pt x="8" y="5"/>
                        <a:pt x="9" y="5"/>
                      </a:cubicBezTo>
                      <a:cubicBezTo>
                        <a:pt x="11" y="6"/>
                        <a:pt x="11" y="9"/>
                        <a:pt x="12" y="11"/>
                      </a:cubicBezTo>
                      <a:cubicBezTo>
                        <a:pt x="16" y="7"/>
                        <a:pt x="14" y="8"/>
                        <a:pt x="12" y="5"/>
                      </a:cubicBezTo>
                      <a:cubicBezTo>
                        <a:pt x="12" y="5"/>
                        <a:pt x="13" y="5"/>
                        <a:pt x="13" y="5"/>
                      </a:cubicBezTo>
                      <a:cubicBezTo>
                        <a:pt x="9" y="3"/>
                        <a:pt x="7"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94" name="Freeform 174">
                  <a:extLst>
                    <a:ext uri="{FF2B5EF4-FFF2-40B4-BE49-F238E27FC236}">
                      <a16:creationId xmlns:a16="http://schemas.microsoft.com/office/drawing/2014/main" id="{55E7CA3B-2C16-4125-A6E1-72E963D3C19E}"/>
                    </a:ext>
                  </a:extLst>
                </p:cNvPr>
                <p:cNvSpPr>
                  <a:spLocks/>
                </p:cNvSpPr>
                <p:nvPr/>
              </p:nvSpPr>
              <p:spPr bwMode="auto">
                <a:xfrm>
                  <a:off x="3733023" y="2476398"/>
                  <a:ext cx="22111" cy="22111"/>
                </a:xfrm>
                <a:custGeom>
                  <a:avLst/>
                  <a:gdLst>
                    <a:gd name="T0" fmla="*/ 0 w 7"/>
                    <a:gd name="T1" fmla="*/ 0 h 7"/>
                    <a:gd name="T2" fmla="*/ 7 w 7"/>
                    <a:gd name="T3" fmla="*/ 7 h 7"/>
                    <a:gd name="T4" fmla="*/ 0 w 7"/>
                    <a:gd name="T5" fmla="*/ 0 h 7"/>
                  </a:gdLst>
                  <a:ahLst/>
                  <a:cxnLst>
                    <a:cxn ang="0">
                      <a:pos x="T0" y="T1"/>
                    </a:cxn>
                    <a:cxn ang="0">
                      <a:pos x="T2" y="T3"/>
                    </a:cxn>
                    <a:cxn ang="0">
                      <a:pos x="T4" y="T5"/>
                    </a:cxn>
                  </a:cxnLst>
                  <a:rect l="0" t="0" r="r" b="b"/>
                  <a:pathLst>
                    <a:path w="7" h="7">
                      <a:moveTo>
                        <a:pt x="0" y="0"/>
                      </a:moveTo>
                      <a:cubicBezTo>
                        <a:pt x="2" y="2"/>
                        <a:pt x="5" y="4"/>
                        <a:pt x="7" y="7"/>
                      </a:cubicBezTo>
                      <a:cubicBezTo>
                        <a:pt x="7" y="1"/>
                        <a:pt x="5"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95" name="Freeform 175">
                  <a:extLst>
                    <a:ext uri="{FF2B5EF4-FFF2-40B4-BE49-F238E27FC236}">
                      <a16:creationId xmlns:a16="http://schemas.microsoft.com/office/drawing/2014/main" id="{E969CFD4-F27D-470B-98A7-44681B9B3B29}"/>
                    </a:ext>
                  </a:extLst>
                </p:cNvPr>
                <p:cNvSpPr>
                  <a:spLocks/>
                </p:cNvSpPr>
                <p:nvPr/>
              </p:nvSpPr>
              <p:spPr bwMode="auto">
                <a:xfrm>
                  <a:off x="3725652" y="2513250"/>
                  <a:ext cx="29481" cy="33166"/>
                </a:xfrm>
                <a:custGeom>
                  <a:avLst/>
                  <a:gdLst>
                    <a:gd name="T0" fmla="*/ 0 w 9"/>
                    <a:gd name="T1" fmla="*/ 0 h 10"/>
                    <a:gd name="T2" fmla="*/ 9 w 9"/>
                    <a:gd name="T3" fmla="*/ 10 h 10"/>
                    <a:gd name="T4" fmla="*/ 0 w 9"/>
                    <a:gd name="T5" fmla="*/ 0 h 10"/>
                  </a:gdLst>
                  <a:ahLst/>
                  <a:cxnLst>
                    <a:cxn ang="0">
                      <a:pos x="T0" y="T1"/>
                    </a:cxn>
                    <a:cxn ang="0">
                      <a:pos x="T2" y="T3"/>
                    </a:cxn>
                    <a:cxn ang="0">
                      <a:pos x="T4" y="T5"/>
                    </a:cxn>
                  </a:cxnLst>
                  <a:rect l="0" t="0" r="r" b="b"/>
                  <a:pathLst>
                    <a:path w="9" h="10">
                      <a:moveTo>
                        <a:pt x="0" y="0"/>
                      </a:moveTo>
                      <a:cubicBezTo>
                        <a:pt x="2" y="5"/>
                        <a:pt x="5" y="7"/>
                        <a:pt x="9" y="10"/>
                      </a:cubicBezTo>
                      <a:cubicBezTo>
                        <a:pt x="8" y="4"/>
                        <a:pt x="7"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96" name="Freeform 176">
                  <a:extLst>
                    <a:ext uri="{FF2B5EF4-FFF2-40B4-BE49-F238E27FC236}">
                      <a16:creationId xmlns:a16="http://schemas.microsoft.com/office/drawing/2014/main" id="{7D35EED3-C56E-43C5-962D-AC4593D7EBFC}"/>
                    </a:ext>
                  </a:extLst>
                </p:cNvPr>
                <p:cNvSpPr>
                  <a:spLocks/>
                </p:cNvSpPr>
                <p:nvPr/>
              </p:nvSpPr>
              <p:spPr bwMode="auto">
                <a:xfrm>
                  <a:off x="3766189" y="2413751"/>
                  <a:ext cx="18426" cy="22111"/>
                </a:xfrm>
                <a:custGeom>
                  <a:avLst/>
                  <a:gdLst>
                    <a:gd name="T0" fmla="*/ 0 w 6"/>
                    <a:gd name="T1" fmla="*/ 0 h 8"/>
                    <a:gd name="T2" fmla="*/ 1 w 6"/>
                    <a:gd name="T3" fmla="*/ 8 h 8"/>
                    <a:gd name="T4" fmla="*/ 1 w 6"/>
                    <a:gd name="T5" fmla="*/ 8 h 8"/>
                    <a:gd name="T6" fmla="*/ 2 w 6"/>
                    <a:gd name="T7" fmla="*/ 2 h 8"/>
                    <a:gd name="T8" fmla="*/ 0 w 6"/>
                    <a:gd name="T9" fmla="*/ 0 h 8"/>
                  </a:gdLst>
                  <a:ahLst/>
                  <a:cxnLst>
                    <a:cxn ang="0">
                      <a:pos x="T0" y="T1"/>
                    </a:cxn>
                    <a:cxn ang="0">
                      <a:pos x="T2" y="T3"/>
                    </a:cxn>
                    <a:cxn ang="0">
                      <a:pos x="T4" y="T5"/>
                    </a:cxn>
                    <a:cxn ang="0">
                      <a:pos x="T6" y="T7"/>
                    </a:cxn>
                    <a:cxn ang="0">
                      <a:pos x="T8" y="T9"/>
                    </a:cxn>
                  </a:cxnLst>
                  <a:rect l="0" t="0" r="r" b="b"/>
                  <a:pathLst>
                    <a:path w="6" h="8">
                      <a:moveTo>
                        <a:pt x="0" y="0"/>
                      </a:moveTo>
                      <a:cubicBezTo>
                        <a:pt x="0" y="2"/>
                        <a:pt x="1" y="5"/>
                        <a:pt x="1" y="8"/>
                      </a:cubicBezTo>
                      <a:cubicBezTo>
                        <a:pt x="1" y="8"/>
                        <a:pt x="1" y="8"/>
                        <a:pt x="1" y="8"/>
                      </a:cubicBezTo>
                      <a:cubicBezTo>
                        <a:pt x="6" y="8"/>
                        <a:pt x="4" y="4"/>
                        <a:pt x="2" y="2"/>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97" name="Freeform 177">
                  <a:extLst>
                    <a:ext uri="{FF2B5EF4-FFF2-40B4-BE49-F238E27FC236}">
                      <a16:creationId xmlns:a16="http://schemas.microsoft.com/office/drawing/2014/main" id="{F3179D4E-25AC-429F-9CD3-4E9BE6C40482}"/>
                    </a:ext>
                  </a:extLst>
                </p:cNvPr>
                <p:cNvSpPr>
                  <a:spLocks/>
                </p:cNvSpPr>
                <p:nvPr/>
              </p:nvSpPr>
              <p:spPr bwMode="auto">
                <a:xfrm>
                  <a:off x="3688801" y="2439547"/>
                  <a:ext cx="33166" cy="22111"/>
                </a:xfrm>
                <a:custGeom>
                  <a:avLst/>
                  <a:gdLst>
                    <a:gd name="T0" fmla="*/ 5 w 10"/>
                    <a:gd name="T1" fmla="*/ 0 h 6"/>
                    <a:gd name="T2" fmla="*/ 3 w 10"/>
                    <a:gd name="T3" fmla="*/ 0 h 6"/>
                    <a:gd name="T4" fmla="*/ 1 w 10"/>
                    <a:gd name="T5" fmla="*/ 1 h 6"/>
                    <a:gd name="T6" fmla="*/ 0 w 10"/>
                    <a:gd name="T7" fmla="*/ 0 h 6"/>
                    <a:gd name="T8" fmla="*/ 6 w 10"/>
                    <a:gd name="T9" fmla="*/ 6 h 6"/>
                    <a:gd name="T10" fmla="*/ 9 w 10"/>
                    <a:gd name="T11" fmla="*/ 2 h 6"/>
                    <a:gd name="T12" fmla="*/ 9 w 10"/>
                    <a:gd name="T13" fmla="*/ 1 h 6"/>
                    <a:gd name="T14" fmla="*/ 5 w 10"/>
                    <a:gd name="T15" fmla="*/ 0 h 6"/>
                    <a:gd name="T16" fmla="*/ 5 w 10"/>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6">
                      <a:moveTo>
                        <a:pt x="5" y="0"/>
                      </a:moveTo>
                      <a:cubicBezTo>
                        <a:pt x="4" y="0"/>
                        <a:pt x="4" y="0"/>
                        <a:pt x="3" y="0"/>
                      </a:cubicBezTo>
                      <a:cubicBezTo>
                        <a:pt x="3" y="0"/>
                        <a:pt x="2" y="1"/>
                        <a:pt x="1" y="1"/>
                      </a:cubicBezTo>
                      <a:cubicBezTo>
                        <a:pt x="1" y="1"/>
                        <a:pt x="0" y="0"/>
                        <a:pt x="0" y="0"/>
                      </a:cubicBezTo>
                      <a:cubicBezTo>
                        <a:pt x="1" y="2"/>
                        <a:pt x="4" y="4"/>
                        <a:pt x="6" y="6"/>
                      </a:cubicBezTo>
                      <a:cubicBezTo>
                        <a:pt x="8" y="5"/>
                        <a:pt x="10" y="3"/>
                        <a:pt x="9" y="2"/>
                      </a:cubicBezTo>
                      <a:cubicBezTo>
                        <a:pt x="9" y="2"/>
                        <a:pt x="9" y="1"/>
                        <a:pt x="9" y="1"/>
                      </a:cubicBezTo>
                      <a:cubicBezTo>
                        <a:pt x="8" y="1"/>
                        <a:pt x="7" y="0"/>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98" name="Freeform 178">
                  <a:extLst>
                    <a:ext uri="{FF2B5EF4-FFF2-40B4-BE49-F238E27FC236}">
                      <a16:creationId xmlns:a16="http://schemas.microsoft.com/office/drawing/2014/main" id="{CD1A60B7-AFDC-4D35-8816-20EFD3319724}"/>
                    </a:ext>
                  </a:extLst>
                </p:cNvPr>
                <p:cNvSpPr>
                  <a:spLocks/>
                </p:cNvSpPr>
                <p:nvPr/>
              </p:nvSpPr>
              <p:spPr bwMode="auto">
                <a:xfrm>
                  <a:off x="3696171" y="2417437"/>
                  <a:ext cx="51592" cy="51592"/>
                </a:xfrm>
                <a:custGeom>
                  <a:avLst/>
                  <a:gdLst>
                    <a:gd name="T0" fmla="*/ 4 w 16"/>
                    <a:gd name="T1" fmla="*/ 0 h 16"/>
                    <a:gd name="T2" fmla="*/ 3 w 16"/>
                    <a:gd name="T3" fmla="*/ 0 h 16"/>
                    <a:gd name="T4" fmla="*/ 6 w 16"/>
                    <a:gd name="T5" fmla="*/ 8 h 16"/>
                    <a:gd name="T6" fmla="*/ 6 w 16"/>
                    <a:gd name="T7" fmla="*/ 9 h 16"/>
                    <a:gd name="T8" fmla="*/ 16 w 16"/>
                    <a:gd name="T9" fmla="*/ 16 h 16"/>
                    <a:gd name="T10" fmla="*/ 15 w 16"/>
                    <a:gd name="T11" fmla="*/ 11 h 16"/>
                    <a:gd name="T12" fmla="*/ 15 w 16"/>
                    <a:gd name="T13" fmla="*/ 11 h 16"/>
                    <a:gd name="T14" fmla="*/ 14 w 16"/>
                    <a:gd name="T15" fmla="*/ 11 h 16"/>
                    <a:gd name="T16" fmla="*/ 13 w 16"/>
                    <a:gd name="T17" fmla="*/ 11 h 16"/>
                    <a:gd name="T18" fmla="*/ 13 w 16"/>
                    <a:gd name="T19" fmla="*/ 11 h 16"/>
                    <a:gd name="T20" fmla="*/ 13 w 16"/>
                    <a:gd name="T21" fmla="*/ 9 h 16"/>
                    <a:gd name="T22" fmla="*/ 11 w 16"/>
                    <a:gd name="T23" fmla="*/ 9 h 16"/>
                    <a:gd name="T24" fmla="*/ 9 w 16"/>
                    <a:gd name="T25" fmla="*/ 5 h 16"/>
                    <a:gd name="T26" fmla="*/ 7 w 16"/>
                    <a:gd name="T27" fmla="*/ 2 h 16"/>
                    <a:gd name="T28" fmla="*/ 4 w 16"/>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6">
                      <a:moveTo>
                        <a:pt x="4" y="0"/>
                      </a:moveTo>
                      <a:cubicBezTo>
                        <a:pt x="3" y="0"/>
                        <a:pt x="3" y="0"/>
                        <a:pt x="3" y="0"/>
                      </a:cubicBezTo>
                      <a:cubicBezTo>
                        <a:pt x="0" y="2"/>
                        <a:pt x="3" y="5"/>
                        <a:pt x="6" y="8"/>
                      </a:cubicBezTo>
                      <a:cubicBezTo>
                        <a:pt x="6" y="8"/>
                        <a:pt x="6" y="9"/>
                        <a:pt x="6" y="9"/>
                      </a:cubicBezTo>
                      <a:cubicBezTo>
                        <a:pt x="10" y="12"/>
                        <a:pt x="15" y="16"/>
                        <a:pt x="16" y="16"/>
                      </a:cubicBezTo>
                      <a:cubicBezTo>
                        <a:pt x="16" y="14"/>
                        <a:pt x="16" y="13"/>
                        <a:pt x="15" y="11"/>
                      </a:cubicBezTo>
                      <a:cubicBezTo>
                        <a:pt x="15" y="11"/>
                        <a:pt x="15" y="11"/>
                        <a:pt x="15" y="11"/>
                      </a:cubicBezTo>
                      <a:cubicBezTo>
                        <a:pt x="15" y="11"/>
                        <a:pt x="15" y="11"/>
                        <a:pt x="14" y="11"/>
                      </a:cubicBezTo>
                      <a:cubicBezTo>
                        <a:pt x="14" y="11"/>
                        <a:pt x="14" y="11"/>
                        <a:pt x="13" y="11"/>
                      </a:cubicBezTo>
                      <a:cubicBezTo>
                        <a:pt x="13" y="11"/>
                        <a:pt x="13" y="11"/>
                        <a:pt x="13" y="11"/>
                      </a:cubicBezTo>
                      <a:cubicBezTo>
                        <a:pt x="12" y="11"/>
                        <a:pt x="14" y="9"/>
                        <a:pt x="13" y="9"/>
                      </a:cubicBezTo>
                      <a:cubicBezTo>
                        <a:pt x="12" y="9"/>
                        <a:pt x="12" y="9"/>
                        <a:pt x="11" y="9"/>
                      </a:cubicBezTo>
                      <a:cubicBezTo>
                        <a:pt x="13" y="7"/>
                        <a:pt x="10" y="7"/>
                        <a:pt x="9" y="5"/>
                      </a:cubicBezTo>
                      <a:cubicBezTo>
                        <a:pt x="8" y="5"/>
                        <a:pt x="8" y="3"/>
                        <a:pt x="7" y="2"/>
                      </a:cubicBezTo>
                      <a:cubicBezTo>
                        <a:pt x="6"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99" name="Freeform 179">
                  <a:extLst>
                    <a:ext uri="{FF2B5EF4-FFF2-40B4-BE49-F238E27FC236}">
                      <a16:creationId xmlns:a16="http://schemas.microsoft.com/office/drawing/2014/main" id="{21BF45E8-4EA8-40BF-B0A9-D6A0860460CD}"/>
                    </a:ext>
                  </a:extLst>
                </p:cNvPr>
                <p:cNvSpPr>
                  <a:spLocks/>
                </p:cNvSpPr>
                <p:nvPr/>
              </p:nvSpPr>
              <p:spPr bwMode="auto">
                <a:xfrm>
                  <a:off x="6375250" y="2686450"/>
                  <a:ext cx="7370" cy="3685"/>
                </a:xfrm>
                <a:custGeom>
                  <a:avLst/>
                  <a:gdLst>
                    <a:gd name="T0" fmla="*/ 2 w 3"/>
                    <a:gd name="T1" fmla="*/ 0 h 2"/>
                    <a:gd name="T2" fmla="*/ 0 w 3"/>
                    <a:gd name="T3" fmla="*/ 2 h 2"/>
                    <a:gd name="T4" fmla="*/ 1 w 3"/>
                    <a:gd name="T5" fmla="*/ 2 h 2"/>
                    <a:gd name="T6" fmla="*/ 3 w 3"/>
                    <a:gd name="T7" fmla="*/ 1 h 2"/>
                    <a:gd name="T8" fmla="*/ 2 w 3"/>
                    <a:gd name="T9" fmla="*/ 0 h 2"/>
                  </a:gdLst>
                  <a:ahLst/>
                  <a:cxnLst>
                    <a:cxn ang="0">
                      <a:pos x="T0" y="T1"/>
                    </a:cxn>
                    <a:cxn ang="0">
                      <a:pos x="T2" y="T3"/>
                    </a:cxn>
                    <a:cxn ang="0">
                      <a:pos x="T4" y="T5"/>
                    </a:cxn>
                    <a:cxn ang="0">
                      <a:pos x="T6" y="T7"/>
                    </a:cxn>
                    <a:cxn ang="0">
                      <a:pos x="T8" y="T9"/>
                    </a:cxn>
                  </a:cxnLst>
                  <a:rect l="0" t="0" r="r" b="b"/>
                  <a:pathLst>
                    <a:path w="3" h="2">
                      <a:moveTo>
                        <a:pt x="2" y="0"/>
                      </a:moveTo>
                      <a:cubicBezTo>
                        <a:pt x="1" y="0"/>
                        <a:pt x="1" y="1"/>
                        <a:pt x="0" y="2"/>
                      </a:cubicBezTo>
                      <a:cubicBezTo>
                        <a:pt x="0" y="2"/>
                        <a:pt x="1" y="2"/>
                        <a:pt x="1" y="2"/>
                      </a:cubicBezTo>
                      <a:cubicBezTo>
                        <a:pt x="1" y="2"/>
                        <a:pt x="2" y="1"/>
                        <a:pt x="3" y="1"/>
                      </a:cubicBezTo>
                      <a:cubicBezTo>
                        <a:pt x="3"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00" name="Freeform 180">
                  <a:extLst>
                    <a:ext uri="{FF2B5EF4-FFF2-40B4-BE49-F238E27FC236}">
                      <a16:creationId xmlns:a16="http://schemas.microsoft.com/office/drawing/2014/main" id="{AE863E4A-7495-463F-899B-E7083F7698AC}"/>
                    </a:ext>
                  </a:extLst>
                </p:cNvPr>
                <p:cNvSpPr>
                  <a:spLocks/>
                </p:cNvSpPr>
                <p:nvPr/>
              </p:nvSpPr>
              <p:spPr bwMode="auto">
                <a:xfrm>
                  <a:off x="6316288" y="2715931"/>
                  <a:ext cx="7370" cy="3685"/>
                </a:xfrm>
                <a:custGeom>
                  <a:avLst/>
                  <a:gdLst>
                    <a:gd name="T0" fmla="*/ 2 w 2"/>
                    <a:gd name="T1" fmla="*/ 0 h 1"/>
                    <a:gd name="T2" fmla="*/ 0 w 2"/>
                    <a:gd name="T3" fmla="*/ 1 h 1"/>
                    <a:gd name="T4" fmla="*/ 1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1" y="0"/>
                        <a:pt x="0" y="1"/>
                      </a:cubicBezTo>
                      <a:cubicBezTo>
                        <a:pt x="1" y="1"/>
                        <a:pt x="1" y="1"/>
                        <a:pt x="1" y="1"/>
                      </a:cubicBezTo>
                      <a:cubicBezTo>
                        <a:pt x="2" y="1"/>
                        <a:pt x="1"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01" name="Freeform 181">
                  <a:extLst>
                    <a:ext uri="{FF2B5EF4-FFF2-40B4-BE49-F238E27FC236}">
                      <a16:creationId xmlns:a16="http://schemas.microsoft.com/office/drawing/2014/main" id="{B39C9EDA-4F9F-4628-9900-6304830C45B0}"/>
                    </a:ext>
                  </a:extLst>
                </p:cNvPr>
                <p:cNvSpPr>
                  <a:spLocks/>
                </p:cNvSpPr>
                <p:nvPr/>
              </p:nvSpPr>
              <p:spPr bwMode="auto">
                <a:xfrm>
                  <a:off x="6183624" y="2712246"/>
                  <a:ext cx="3685" cy="14740"/>
                </a:xfrm>
                <a:custGeom>
                  <a:avLst/>
                  <a:gdLst>
                    <a:gd name="T0" fmla="*/ 0 w 1"/>
                    <a:gd name="T1" fmla="*/ 0 h 5"/>
                    <a:gd name="T2" fmla="*/ 1 w 1"/>
                    <a:gd name="T3" fmla="*/ 5 h 5"/>
                    <a:gd name="T4" fmla="*/ 0 w 1"/>
                    <a:gd name="T5" fmla="*/ 0 h 5"/>
                  </a:gdLst>
                  <a:ahLst/>
                  <a:cxnLst>
                    <a:cxn ang="0">
                      <a:pos x="T0" y="T1"/>
                    </a:cxn>
                    <a:cxn ang="0">
                      <a:pos x="T2" y="T3"/>
                    </a:cxn>
                    <a:cxn ang="0">
                      <a:pos x="T4" y="T5"/>
                    </a:cxn>
                  </a:cxnLst>
                  <a:rect l="0" t="0" r="r" b="b"/>
                  <a:pathLst>
                    <a:path w="1" h="5">
                      <a:moveTo>
                        <a:pt x="0" y="0"/>
                      </a:moveTo>
                      <a:cubicBezTo>
                        <a:pt x="0" y="2"/>
                        <a:pt x="0" y="3"/>
                        <a:pt x="1" y="5"/>
                      </a:cubicBezTo>
                      <a:cubicBezTo>
                        <a:pt x="1" y="3"/>
                        <a:pt x="0"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02" name="Freeform 182">
                  <a:extLst>
                    <a:ext uri="{FF2B5EF4-FFF2-40B4-BE49-F238E27FC236}">
                      <a16:creationId xmlns:a16="http://schemas.microsoft.com/office/drawing/2014/main" id="{8A8FC5BD-3C25-449F-984A-303ACF2B96F8}"/>
                    </a:ext>
                  </a:extLst>
                </p:cNvPr>
                <p:cNvSpPr>
                  <a:spLocks/>
                </p:cNvSpPr>
                <p:nvPr/>
              </p:nvSpPr>
              <p:spPr bwMode="auto">
                <a:xfrm>
                  <a:off x="6120977" y="2693820"/>
                  <a:ext cx="14740" cy="18426"/>
                </a:xfrm>
                <a:custGeom>
                  <a:avLst/>
                  <a:gdLst>
                    <a:gd name="T0" fmla="*/ 2 w 5"/>
                    <a:gd name="T1" fmla="*/ 0 h 6"/>
                    <a:gd name="T2" fmla="*/ 1 w 5"/>
                    <a:gd name="T3" fmla="*/ 6 h 6"/>
                    <a:gd name="T4" fmla="*/ 2 w 5"/>
                    <a:gd name="T5" fmla="*/ 0 h 6"/>
                  </a:gdLst>
                  <a:ahLst/>
                  <a:cxnLst>
                    <a:cxn ang="0">
                      <a:pos x="T0" y="T1"/>
                    </a:cxn>
                    <a:cxn ang="0">
                      <a:pos x="T2" y="T3"/>
                    </a:cxn>
                    <a:cxn ang="0">
                      <a:pos x="T4" y="T5"/>
                    </a:cxn>
                  </a:cxnLst>
                  <a:rect l="0" t="0" r="r" b="b"/>
                  <a:pathLst>
                    <a:path w="5" h="6">
                      <a:moveTo>
                        <a:pt x="2" y="0"/>
                      </a:moveTo>
                      <a:cubicBezTo>
                        <a:pt x="2" y="2"/>
                        <a:pt x="0" y="4"/>
                        <a:pt x="1" y="6"/>
                      </a:cubicBezTo>
                      <a:cubicBezTo>
                        <a:pt x="5" y="5"/>
                        <a:pt x="4"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03" name="Freeform 183">
                  <a:extLst>
                    <a:ext uri="{FF2B5EF4-FFF2-40B4-BE49-F238E27FC236}">
                      <a16:creationId xmlns:a16="http://schemas.microsoft.com/office/drawing/2014/main" id="{4C2FA313-55D7-4848-9AE5-9FFAF27AB845}"/>
                    </a:ext>
                  </a:extLst>
                </p:cNvPr>
                <p:cNvSpPr>
                  <a:spLocks/>
                </p:cNvSpPr>
                <p:nvPr/>
              </p:nvSpPr>
              <p:spPr bwMode="auto">
                <a:xfrm>
                  <a:off x="6338399" y="2704876"/>
                  <a:ext cx="14740" cy="7370"/>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1" y="2"/>
                        <a:pt x="0" y="3"/>
                        <a:pt x="1" y="3"/>
                      </a:cubicBezTo>
                      <a:cubicBezTo>
                        <a:pt x="1" y="3"/>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04" name="Freeform 184">
                  <a:extLst>
                    <a:ext uri="{FF2B5EF4-FFF2-40B4-BE49-F238E27FC236}">
                      <a16:creationId xmlns:a16="http://schemas.microsoft.com/office/drawing/2014/main" id="{DEE8EDF2-D0E1-4EF1-9E08-FFACC130D617}"/>
                    </a:ext>
                  </a:extLst>
                </p:cNvPr>
                <p:cNvSpPr>
                  <a:spLocks/>
                </p:cNvSpPr>
                <p:nvPr/>
              </p:nvSpPr>
              <p:spPr bwMode="auto">
                <a:xfrm>
                  <a:off x="6161514" y="2723301"/>
                  <a:ext cx="18426" cy="14740"/>
                </a:xfrm>
                <a:custGeom>
                  <a:avLst/>
                  <a:gdLst>
                    <a:gd name="T0" fmla="*/ 4 w 6"/>
                    <a:gd name="T1" fmla="*/ 0 h 5"/>
                    <a:gd name="T2" fmla="*/ 0 w 6"/>
                    <a:gd name="T3" fmla="*/ 1 h 5"/>
                    <a:gd name="T4" fmla="*/ 5 w 6"/>
                    <a:gd name="T5" fmla="*/ 5 h 5"/>
                    <a:gd name="T6" fmla="*/ 4 w 6"/>
                    <a:gd name="T7" fmla="*/ 0 h 5"/>
                  </a:gdLst>
                  <a:ahLst/>
                  <a:cxnLst>
                    <a:cxn ang="0">
                      <a:pos x="T0" y="T1"/>
                    </a:cxn>
                    <a:cxn ang="0">
                      <a:pos x="T2" y="T3"/>
                    </a:cxn>
                    <a:cxn ang="0">
                      <a:pos x="T4" y="T5"/>
                    </a:cxn>
                    <a:cxn ang="0">
                      <a:pos x="T6" y="T7"/>
                    </a:cxn>
                  </a:cxnLst>
                  <a:rect l="0" t="0" r="r" b="b"/>
                  <a:pathLst>
                    <a:path w="6" h="5">
                      <a:moveTo>
                        <a:pt x="4" y="0"/>
                      </a:moveTo>
                      <a:cubicBezTo>
                        <a:pt x="3" y="0"/>
                        <a:pt x="1" y="0"/>
                        <a:pt x="0" y="1"/>
                      </a:cubicBezTo>
                      <a:cubicBezTo>
                        <a:pt x="2" y="2"/>
                        <a:pt x="3" y="2"/>
                        <a:pt x="5" y="5"/>
                      </a:cubicBezTo>
                      <a:cubicBezTo>
                        <a:pt x="6" y="2"/>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05" name="Freeform 185">
                  <a:extLst>
                    <a:ext uri="{FF2B5EF4-FFF2-40B4-BE49-F238E27FC236}">
                      <a16:creationId xmlns:a16="http://schemas.microsoft.com/office/drawing/2014/main" id="{F24F4879-C795-44C3-B07A-FE5C0353D440}"/>
                    </a:ext>
                  </a:extLst>
                </p:cNvPr>
                <p:cNvSpPr>
                  <a:spLocks/>
                </p:cNvSpPr>
                <p:nvPr/>
              </p:nvSpPr>
              <p:spPr bwMode="auto">
                <a:xfrm>
                  <a:off x="6353140" y="2693820"/>
                  <a:ext cx="22111" cy="3685"/>
                </a:xfrm>
                <a:custGeom>
                  <a:avLst/>
                  <a:gdLst>
                    <a:gd name="T0" fmla="*/ 7 w 7"/>
                    <a:gd name="T1" fmla="*/ 0 h 1"/>
                    <a:gd name="T2" fmla="*/ 0 w 7"/>
                    <a:gd name="T3" fmla="*/ 1 h 1"/>
                    <a:gd name="T4" fmla="*/ 0 w 7"/>
                    <a:gd name="T5" fmla="*/ 1 h 1"/>
                    <a:gd name="T6" fmla="*/ 2 w 7"/>
                    <a:gd name="T7" fmla="*/ 1 h 1"/>
                    <a:gd name="T8" fmla="*/ 3 w 7"/>
                    <a:gd name="T9" fmla="*/ 1 h 1"/>
                    <a:gd name="T10" fmla="*/ 3 w 7"/>
                    <a:gd name="T11" fmla="*/ 1 h 1"/>
                    <a:gd name="T12" fmla="*/ 7 w 7"/>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7" h="1">
                      <a:moveTo>
                        <a:pt x="7" y="0"/>
                      </a:moveTo>
                      <a:cubicBezTo>
                        <a:pt x="5" y="0"/>
                        <a:pt x="2" y="0"/>
                        <a:pt x="0" y="1"/>
                      </a:cubicBezTo>
                      <a:cubicBezTo>
                        <a:pt x="0" y="1"/>
                        <a:pt x="0" y="1"/>
                        <a:pt x="0" y="1"/>
                      </a:cubicBezTo>
                      <a:cubicBezTo>
                        <a:pt x="1" y="1"/>
                        <a:pt x="2" y="1"/>
                        <a:pt x="2" y="1"/>
                      </a:cubicBezTo>
                      <a:cubicBezTo>
                        <a:pt x="2" y="1"/>
                        <a:pt x="3" y="1"/>
                        <a:pt x="3" y="1"/>
                      </a:cubicBezTo>
                      <a:cubicBezTo>
                        <a:pt x="3" y="1"/>
                        <a:pt x="3" y="1"/>
                        <a:pt x="3" y="1"/>
                      </a:cubicBezTo>
                      <a:cubicBezTo>
                        <a:pt x="4" y="1"/>
                        <a:pt x="6"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06" name="Freeform 186">
                  <a:extLst>
                    <a:ext uri="{FF2B5EF4-FFF2-40B4-BE49-F238E27FC236}">
                      <a16:creationId xmlns:a16="http://schemas.microsoft.com/office/drawing/2014/main" id="{6F74E822-4593-4081-B725-E291CBC943A8}"/>
                    </a:ext>
                  </a:extLst>
                </p:cNvPr>
                <p:cNvSpPr>
                  <a:spLocks/>
                </p:cNvSpPr>
                <p:nvPr/>
              </p:nvSpPr>
              <p:spPr bwMode="auto">
                <a:xfrm>
                  <a:off x="6132033" y="2679080"/>
                  <a:ext cx="55277" cy="47907"/>
                </a:xfrm>
                <a:custGeom>
                  <a:avLst/>
                  <a:gdLst>
                    <a:gd name="T0" fmla="*/ 6 w 17"/>
                    <a:gd name="T1" fmla="*/ 0 h 15"/>
                    <a:gd name="T2" fmla="*/ 4 w 17"/>
                    <a:gd name="T3" fmla="*/ 0 h 15"/>
                    <a:gd name="T4" fmla="*/ 1 w 17"/>
                    <a:gd name="T5" fmla="*/ 5 h 15"/>
                    <a:gd name="T6" fmla="*/ 0 w 17"/>
                    <a:gd name="T7" fmla="*/ 5 h 15"/>
                    <a:gd name="T8" fmla="*/ 8 w 17"/>
                    <a:gd name="T9" fmla="*/ 15 h 15"/>
                    <a:gd name="T10" fmla="*/ 10 w 17"/>
                    <a:gd name="T11" fmla="*/ 8 h 15"/>
                    <a:gd name="T12" fmla="*/ 10 w 17"/>
                    <a:gd name="T13" fmla="*/ 4 h 15"/>
                    <a:gd name="T14" fmla="*/ 14 w 17"/>
                    <a:gd name="T15" fmla="*/ 10 h 15"/>
                    <a:gd name="T16" fmla="*/ 16 w 17"/>
                    <a:gd name="T17" fmla="*/ 8 h 15"/>
                    <a:gd name="T18" fmla="*/ 13 w 17"/>
                    <a:gd name="T19" fmla="*/ 3 h 15"/>
                    <a:gd name="T20" fmla="*/ 12 w 17"/>
                    <a:gd name="T21" fmla="*/ 3 h 15"/>
                    <a:gd name="T22" fmla="*/ 12 w 17"/>
                    <a:gd name="T23" fmla="*/ 2 h 15"/>
                    <a:gd name="T24" fmla="*/ 12 w 17"/>
                    <a:gd name="T25" fmla="*/ 2 h 15"/>
                    <a:gd name="T26" fmla="*/ 11 w 17"/>
                    <a:gd name="T27" fmla="*/ 2 h 15"/>
                    <a:gd name="T28" fmla="*/ 10 w 17"/>
                    <a:gd name="T29" fmla="*/ 2 h 15"/>
                    <a:gd name="T30" fmla="*/ 10 w 17"/>
                    <a:gd name="T31" fmla="*/ 2 h 15"/>
                    <a:gd name="T32" fmla="*/ 9 w 17"/>
                    <a:gd name="T33" fmla="*/ 2 h 15"/>
                    <a:gd name="T34" fmla="*/ 8 w 17"/>
                    <a:gd name="T35" fmla="*/ 2 h 15"/>
                    <a:gd name="T36" fmla="*/ 8 w 17"/>
                    <a:gd name="T37" fmla="*/ 2 h 15"/>
                    <a:gd name="T38" fmla="*/ 7 w 17"/>
                    <a:gd name="T39" fmla="*/ 1 h 15"/>
                    <a:gd name="T40" fmla="*/ 6 w 17"/>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15">
                      <a:moveTo>
                        <a:pt x="6" y="0"/>
                      </a:moveTo>
                      <a:cubicBezTo>
                        <a:pt x="5" y="0"/>
                        <a:pt x="5" y="0"/>
                        <a:pt x="4" y="0"/>
                      </a:cubicBezTo>
                      <a:cubicBezTo>
                        <a:pt x="3" y="2"/>
                        <a:pt x="3" y="5"/>
                        <a:pt x="1" y="5"/>
                      </a:cubicBezTo>
                      <a:cubicBezTo>
                        <a:pt x="1" y="5"/>
                        <a:pt x="0" y="5"/>
                        <a:pt x="0" y="5"/>
                      </a:cubicBezTo>
                      <a:cubicBezTo>
                        <a:pt x="2" y="8"/>
                        <a:pt x="5" y="12"/>
                        <a:pt x="8" y="15"/>
                      </a:cubicBezTo>
                      <a:cubicBezTo>
                        <a:pt x="11" y="12"/>
                        <a:pt x="10" y="10"/>
                        <a:pt x="10" y="8"/>
                      </a:cubicBezTo>
                      <a:cubicBezTo>
                        <a:pt x="9" y="5"/>
                        <a:pt x="9" y="6"/>
                        <a:pt x="10" y="4"/>
                      </a:cubicBezTo>
                      <a:cubicBezTo>
                        <a:pt x="12" y="6"/>
                        <a:pt x="13" y="10"/>
                        <a:pt x="14" y="10"/>
                      </a:cubicBezTo>
                      <a:cubicBezTo>
                        <a:pt x="14" y="10"/>
                        <a:pt x="15" y="9"/>
                        <a:pt x="16" y="8"/>
                      </a:cubicBezTo>
                      <a:cubicBezTo>
                        <a:pt x="17" y="6"/>
                        <a:pt x="16" y="3"/>
                        <a:pt x="13" y="3"/>
                      </a:cubicBezTo>
                      <a:cubicBezTo>
                        <a:pt x="13" y="3"/>
                        <a:pt x="13" y="3"/>
                        <a:pt x="12" y="3"/>
                      </a:cubicBezTo>
                      <a:cubicBezTo>
                        <a:pt x="12" y="2"/>
                        <a:pt x="12" y="2"/>
                        <a:pt x="12" y="2"/>
                      </a:cubicBezTo>
                      <a:cubicBezTo>
                        <a:pt x="12" y="2"/>
                        <a:pt x="12" y="2"/>
                        <a:pt x="12" y="2"/>
                      </a:cubicBezTo>
                      <a:cubicBezTo>
                        <a:pt x="11" y="2"/>
                        <a:pt x="11" y="2"/>
                        <a:pt x="11" y="2"/>
                      </a:cubicBezTo>
                      <a:cubicBezTo>
                        <a:pt x="11" y="2"/>
                        <a:pt x="11" y="2"/>
                        <a:pt x="10" y="2"/>
                      </a:cubicBezTo>
                      <a:cubicBezTo>
                        <a:pt x="10" y="2"/>
                        <a:pt x="10" y="2"/>
                        <a:pt x="10" y="2"/>
                      </a:cubicBezTo>
                      <a:cubicBezTo>
                        <a:pt x="10" y="2"/>
                        <a:pt x="9" y="2"/>
                        <a:pt x="9" y="2"/>
                      </a:cubicBezTo>
                      <a:cubicBezTo>
                        <a:pt x="9" y="2"/>
                        <a:pt x="9" y="2"/>
                        <a:pt x="8" y="2"/>
                      </a:cubicBezTo>
                      <a:cubicBezTo>
                        <a:pt x="8" y="2"/>
                        <a:pt x="8" y="2"/>
                        <a:pt x="8" y="2"/>
                      </a:cubicBezTo>
                      <a:cubicBezTo>
                        <a:pt x="7" y="2"/>
                        <a:pt x="8" y="1"/>
                        <a:pt x="7" y="1"/>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07" name="Freeform 187">
                  <a:extLst>
                    <a:ext uri="{FF2B5EF4-FFF2-40B4-BE49-F238E27FC236}">
                      <a16:creationId xmlns:a16="http://schemas.microsoft.com/office/drawing/2014/main" id="{D6C3521D-E94B-4586-A3DE-44ED3397DA99}"/>
                    </a:ext>
                  </a:extLst>
                </p:cNvPr>
                <p:cNvSpPr>
                  <a:spLocks/>
                </p:cNvSpPr>
                <p:nvPr/>
              </p:nvSpPr>
              <p:spPr bwMode="auto">
                <a:xfrm>
                  <a:off x="6349454" y="2863335"/>
                  <a:ext cx="77387" cy="44221"/>
                </a:xfrm>
                <a:custGeom>
                  <a:avLst/>
                  <a:gdLst>
                    <a:gd name="T0" fmla="*/ 17 w 24"/>
                    <a:gd name="T1" fmla="*/ 0 h 14"/>
                    <a:gd name="T2" fmla="*/ 2 w 24"/>
                    <a:gd name="T3" fmla="*/ 4 h 14"/>
                    <a:gd name="T4" fmla="*/ 0 w 24"/>
                    <a:gd name="T5" fmla="*/ 4 h 14"/>
                    <a:gd name="T6" fmla="*/ 11 w 24"/>
                    <a:gd name="T7" fmla="*/ 14 h 14"/>
                    <a:gd name="T8" fmla="*/ 24 w 24"/>
                    <a:gd name="T9" fmla="*/ 8 h 14"/>
                    <a:gd name="T10" fmla="*/ 17 w 24"/>
                    <a:gd name="T11" fmla="*/ 0 h 14"/>
                  </a:gdLst>
                  <a:ahLst/>
                  <a:cxnLst>
                    <a:cxn ang="0">
                      <a:pos x="T0" y="T1"/>
                    </a:cxn>
                    <a:cxn ang="0">
                      <a:pos x="T2" y="T3"/>
                    </a:cxn>
                    <a:cxn ang="0">
                      <a:pos x="T4" y="T5"/>
                    </a:cxn>
                    <a:cxn ang="0">
                      <a:pos x="T6" y="T7"/>
                    </a:cxn>
                    <a:cxn ang="0">
                      <a:pos x="T8" y="T9"/>
                    </a:cxn>
                    <a:cxn ang="0">
                      <a:pos x="T10" y="T11"/>
                    </a:cxn>
                  </a:cxnLst>
                  <a:rect l="0" t="0" r="r" b="b"/>
                  <a:pathLst>
                    <a:path w="24" h="14">
                      <a:moveTo>
                        <a:pt x="17" y="0"/>
                      </a:moveTo>
                      <a:cubicBezTo>
                        <a:pt x="13" y="1"/>
                        <a:pt x="7" y="4"/>
                        <a:pt x="2" y="4"/>
                      </a:cubicBezTo>
                      <a:cubicBezTo>
                        <a:pt x="1" y="4"/>
                        <a:pt x="1" y="4"/>
                        <a:pt x="0" y="4"/>
                      </a:cubicBezTo>
                      <a:cubicBezTo>
                        <a:pt x="3" y="6"/>
                        <a:pt x="14" y="8"/>
                        <a:pt x="11" y="14"/>
                      </a:cubicBezTo>
                      <a:cubicBezTo>
                        <a:pt x="15" y="13"/>
                        <a:pt x="21" y="10"/>
                        <a:pt x="24" y="8"/>
                      </a:cubicBezTo>
                      <a:cubicBezTo>
                        <a:pt x="22" y="6"/>
                        <a:pt x="18" y="2"/>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08" name="Freeform 188">
                  <a:extLst>
                    <a:ext uri="{FF2B5EF4-FFF2-40B4-BE49-F238E27FC236}">
                      <a16:creationId xmlns:a16="http://schemas.microsoft.com/office/drawing/2014/main" id="{C5769E98-3D27-4DF3-AA7A-A761751267A0}"/>
                    </a:ext>
                  </a:extLst>
                </p:cNvPr>
                <p:cNvSpPr>
                  <a:spLocks/>
                </p:cNvSpPr>
                <p:nvPr/>
              </p:nvSpPr>
              <p:spPr bwMode="auto">
                <a:xfrm>
                  <a:off x="6327344" y="2918612"/>
                  <a:ext cx="132664" cy="92128"/>
                </a:xfrm>
                <a:custGeom>
                  <a:avLst/>
                  <a:gdLst>
                    <a:gd name="T0" fmla="*/ 27 w 42"/>
                    <a:gd name="T1" fmla="*/ 0 h 29"/>
                    <a:gd name="T2" fmla="*/ 11 w 42"/>
                    <a:gd name="T3" fmla="*/ 4 h 29"/>
                    <a:gd name="T4" fmla="*/ 6 w 42"/>
                    <a:gd name="T5" fmla="*/ 6 h 29"/>
                    <a:gd name="T6" fmla="*/ 0 w 42"/>
                    <a:gd name="T7" fmla="*/ 5 h 29"/>
                    <a:gd name="T8" fmla="*/ 2 w 42"/>
                    <a:gd name="T9" fmla="*/ 7 h 29"/>
                    <a:gd name="T10" fmla="*/ 1 w 42"/>
                    <a:gd name="T11" fmla="*/ 13 h 29"/>
                    <a:gd name="T12" fmla="*/ 2 w 42"/>
                    <a:gd name="T13" fmla="*/ 15 h 29"/>
                    <a:gd name="T14" fmla="*/ 9 w 42"/>
                    <a:gd name="T15" fmla="*/ 20 h 29"/>
                    <a:gd name="T16" fmla="*/ 6 w 42"/>
                    <a:gd name="T17" fmla="*/ 29 h 29"/>
                    <a:gd name="T18" fmla="*/ 6 w 42"/>
                    <a:gd name="T19" fmla="*/ 29 h 29"/>
                    <a:gd name="T20" fmla="*/ 10 w 42"/>
                    <a:gd name="T21" fmla="*/ 24 h 29"/>
                    <a:gd name="T22" fmla="*/ 20 w 42"/>
                    <a:gd name="T23" fmla="*/ 15 h 29"/>
                    <a:gd name="T24" fmla="*/ 28 w 42"/>
                    <a:gd name="T25" fmla="*/ 14 h 29"/>
                    <a:gd name="T26" fmla="*/ 32 w 42"/>
                    <a:gd name="T27" fmla="*/ 10 h 29"/>
                    <a:gd name="T28" fmla="*/ 42 w 42"/>
                    <a:gd name="T29" fmla="*/ 6 h 29"/>
                    <a:gd name="T30" fmla="*/ 27 w 42"/>
                    <a:gd name="T3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29">
                      <a:moveTo>
                        <a:pt x="27" y="0"/>
                      </a:moveTo>
                      <a:cubicBezTo>
                        <a:pt x="21" y="1"/>
                        <a:pt x="17" y="1"/>
                        <a:pt x="11" y="4"/>
                      </a:cubicBezTo>
                      <a:cubicBezTo>
                        <a:pt x="9" y="6"/>
                        <a:pt x="8" y="6"/>
                        <a:pt x="6" y="6"/>
                      </a:cubicBezTo>
                      <a:cubicBezTo>
                        <a:pt x="5" y="6"/>
                        <a:pt x="3" y="5"/>
                        <a:pt x="0" y="5"/>
                      </a:cubicBezTo>
                      <a:cubicBezTo>
                        <a:pt x="1" y="5"/>
                        <a:pt x="2" y="6"/>
                        <a:pt x="2" y="7"/>
                      </a:cubicBezTo>
                      <a:cubicBezTo>
                        <a:pt x="5" y="12"/>
                        <a:pt x="1" y="10"/>
                        <a:pt x="1" y="13"/>
                      </a:cubicBezTo>
                      <a:cubicBezTo>
                        <a:pt x="0" y="14"/>
                        <a:pt x="1" y="15"/>
                        <a:pt x="2" y="15"/>
                      </a:cubicBezTo>
                      <a:cubicBezTo>
                        <a:pt x="4" y="16"/>
                        <a:pt x="10" y="18"/>
                        <a:pt x="9" y="20"/>
                      </a:cubicBezTo>
                      <a:cubicBezTo>
                        <a:pt x="9" y="21"/>
                        <a:pt x="2" y="28"/>
                        <a:pt x="6" y="29"/>
                      </a:cubicBezTo>
                      <a:cubicBezTo>
                        <a:pt x="6" y="29"/>
                        <a:pt x="6" y="29"/>
                        <a:pt x="6" y="29"/>
                      </a:cubicBezTo>
                      <a:cubicBezTo>
                        <a:pt x="8" y="29"/>
                        <a:pt x="10" y="24"/>
                        <a:pt x="10" y="24"/>
                      </a:cubicBezTo>
                      <a:cubicBezTo>
                        <a:pt x="12" y="19"/>
                        <a:pt x="14" y="15"/>
                        <a:pt x="20" y="15"/>
                      </a:cubicBezTo>
                      <a:cubicBezTo>
                        <a:pt x="23" y="15"/>
                        <a:pt x="25" y="14"/>
                        <a:pt x="28" y="14"/>
                      </a:cubicBezTo>
                      <a:cubicBezTo>
                        <a:pt x="30" y="13"/>
                        <a:pt x="30" y="11"/>
                        <a:pt x="32" y="10"/>
                      </a:cubicBezTo>
                      <a:cubicBezTo>
                        <a:pt x="35" y="6"/>
                        <a:pt x="38" y="8"/>
                        <a:pt x="42" y="6"/>
                      </a:cubicBezTo>
                      <a:cubicBezTo>
                        <a:pt x="39" y="3"/>
                        <a:pt x="31" y="2"/>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09" name="Freeform 189">
                  <a:extLst>
                    <a:ext uri="{FF2B5EF4-FFF2-40B4-BE49-F238E27FC236}">
                      <a16:creationId xmlns:a16="http://schemas.microsoft.com/office/drawing/2014/main" id="{5EA3EB20-14C0-4CA4-8C7F-687A01C68171}"/>
                    </a:ext>
                  </a:extLst>
                </p:cNvPr>
                <p:cNvSpPr>
                  <a:spLocks/>
                </p:cNvSpPr>
                <p:nvPr/>
              </p:nvSpPr>
              <p:spPr bwMode="auto">
                <a:xfrm>
                  <a:off x="3430843" y="3508231"/>
                  <a:ext cx="33166" cy="18426"/>
                </a:xfrm>
                <a:custGeom>
                  <a:avLst/>
                  <a:gdLst>
                    <a:gd name="T0" fmla="*/ 5 w 10"/>
                    <a:gd name="T1" fmla="*/ 0 h 6"/>
                    <a:gd name="T2" fmla="*/ 0 w 10"/>
                    <a:gd name="T3" fmla="*/ 2 h 6"/>
                    <a:gd name="T4" fmla="*/ 8 w 10"/>
                    <a:gd name="T5" fmla="*/ 6 h 6"/>
                    <a:gd name="T6" fmla="*/ 5 w 10"/>
                    <a:gd name="T7" fmla="*/ 0 h 6"/>
                    <a:gd name="T8" fmla="*/ 5 w 10"/>
                    <a:gd name="T9" fmla="*/ 0 h 6"/>
                  </a:gdLst>
                  <a:ahLst/>
                  <a:cxnLst>
                    <a:cxn ang="0">
                      <a:pos x="T0" y="T1"/>
                    </a:cxn>
                    <a:cxn ang="0">
                      <a:pos x="T2" y="T3"/>
                    </a:cxn>
                    <a:cxn ang="0">
                      <a:pos x="T4" y="T5"/>
                    </a:cxn>
                    <a:cxn ang="0">
                      <a:pos x="T6" y="T7"/>
                    </a:cxn>
                    <a:cxn ang="0">
                      <a:pos x="T8" y="T9"/>
                    </a:cxn>
                  </a:cxnLst>
                  <a:rect l="0" t="0" r="r" b="b"/>
                  <a:pathLst>
                    <a:path w="10" h="6">
                      <a:moveTo>
                        <a:pt x="5" y="0"/>
                      </a:moveTo>
                      <a:cubicBezTo>
                        <a:pt x="4" y="0"/>
                        <a:pt x="1" y="1"/>
                        <a:pt x="0" y="2"/>
                      </a:cubicBezTo>
                      <a:cubicBezTo>
                        <a:pt x="2" y="3"/>
                        <a:pt x="5" y="4"/>
                        <a:pt x="8" y="6"/>
                      </a:cubicBezTo>
                      <a:cubicBezTo>
                        <a:pt x="8" y="1"/>
                        <a:pt x="10" y="0"/>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10" name="Freeform 190">
                  <a:extLst>
                    <a:ext uri="{FF2B5EF4-FFF2-40B4-BE49-F238E27FC236}">
                      <a16:creationId xmlns:a16="http://schemas.microsoft.com/office/drawing/2014/main" id="{C2F78108-DA20-4044-A56D-9F8D0AFAF05C}"/>
                    </a:ext>
                  </a:extLst>
                </p:cNvPr>
                <p:cNvSpPr>
                  <a:spLocks/>
                </p:cNvSpPr>
                <p:nvPr/>
              </p:nvSpPr>
              <p:spPr bwMode="auto">
                <a:xfrm>
                  <a:off x="5225494" y="3375567"/>
                  <a:ext cx="33166" cy="25796"/>
                </a:xfrm>
                <a:custGeom>
                  <a:avLst/>
                  <a:gdLst>
                    <a:gd name="T0" fmla="*/ 3 w 11"/>
                    <a:gd name="T1" fmla="*/ 0 h 9"/>
                    <a:gd name="T2" fmla="*/ 0 w 11"/>
                    <a:gd name="T3" fmla="*/ 1 h 9"/>
                    <a:gd name="T4" fmla="*/ 6 w 11"/>
                    <a:gd name="T5" fmla="*/ 4 h 9"/>
                    <a:gd name="T6" fmla="*/ 9 w 11"/>
                    <a:gd name="T7" fmla="*/ 9 h 9"/>
                    <a:gd name="T8" fmla="*/ 5 w 11"/>
                    <a:gd name="T9" fmla="*/ 1 h 9"/>
                    <a:gd name="T10" fmla="*/ 4 w 11"/>
                    <a:gd name="T11" fmla="*/ 0 h 9"/>
                    <a:gd name="T12" fmla="*/ 3 w 11"/>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0"/>
                      </a:moveTo>
                      <a:cubicBezTo>
                        <a:pt x="2" y="0"/>
                        <a:pt x="1" y="0"/>
                        <a:pt x="0" y="1"/>
                      </a:cubicBezTo>
                      <a:cubicBezTo>
                        <a:pt x="2" y="2"/>
                        <a:pt x="4" y="3"/>
                        <a:pt x="6" y="4"/>
                      </a:cubicBezTo>
                      <a:cubicBezTo>
                        <a:pt x="6" y="7"/>
                        <a:pt x="7" y="8"/>
                        <a:pt x="9" y="9"/>
                      </a:cubicBezTo>
                      <a:cubicBezTo>
                        <a:pt x="11" y="5"/>
                        <a:pt x="10" y="3"/>
                        <a:pt x="5" y="1"/>
                      </a:cubicBezTo>
                      <a:cubicBezTo>
                        <a:pt x="5" y="1"/>
                        <a:pt x="4" y="0"/>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11" name="Freeform 191">
                  <a:extLst>
                    <a:ext uri="{FF2B5EF4-FFF2-40B4-BE49-F238E27FC236}">
                      <a16:creationId xmlns:a16="http://schemas.microsoft.com/office/drawing/2014/main" id="{DA7E6711-4E96-40A5-8B9F-A24E8819C387}"/>
                    </a:ext>
                  </a:extLst>
                </p:cNvPr>
                <p:cNvSpPr>
                  <a:spLocks/>
                </p:cNvSpPr>
                <p:nvPr/>
              </p:nvSpPr>
              <p:spPr bwMode="auto">
                <a:xfrm>
                  <a:off x="5100200" y="3032851"/>
                  <a:ext cx="217422" cy="151090"/>
                </a:xfrm>
                <a:custGeom>
                  <a:avLst/>
                  <a:gdLst>
                    <a:gd name="T0" fmla="*/ 68 w 68"/>
                    <a:gd name="T1" fmla="*/ 0 h 47"/>
                    <a:gd name="T2" fmla="*/ 46 w 68"/>
                    <a:gd name="T3" fmla="*/ 10 h 47"/>
                    <a:gd name="T4" fmla="*/ 32 w 68"/>
                    <a:gd name="T5" fmla="*/ 24 h 47"/>
                    <a:gd name="T6" fmla="*/ 28 w 68"/>
                    <a:gd name="T7" fmla="*/ 25 h 47"/>
                    <a:gd name="T8" fmla="*/ 22 w 68"/>
                    <a:gd name="T9" fmla="*/ 24 h 47"/>
                    <a:gd name="T10" fmla="*/ 17 w 68"/>
                    <a:gd name="T11" fmla="*/ 24 h 47"/>
                    <a:gd name="T12" fmla="*/ 11 w 68"/>
                    <a:gd name="T13" fmla="*/ 25 h 47"/>
                    <a:gd name="T14" fmla="*/ 0 w 68"/>
                    <a:gd name="T15" fmla="*/ 42 h 47"/>
                    <a:gd name="T16" fmla="*/ 8 w 68"/>
                    <a:gd name="T17" fmla="*/ 47 h 47"/>
                    <a:gd name="T18" fmla="*/ 9 w 68"/>
                    <a:gd name="T19" fmla="*/ 47 h 47"/>
                    <a:gd name="T20" fmla="*/ 5 w 68"/>
                    <a:gd name="T21" fmla="*/ 43 h 47"/>
                    <a:gd name="T22" fmla="*/ 9 w 68"/>
                    <a:gd name="T23" fmla="*/ 37 h 47"/>
                    <a:gd name="T24" fmla="*/ 11 w 68"/>
                    <a:gd name="T25" fmla="*/ 43 h 47"/>
                    <a:gd name="T26" fmla="*/ 12 w 68"/>
                    <a:gd name="T27" fmla="*/ 43 h 47"/>
                    <a:gd name="T28" fmla="*/ 16 w 68"/>
                    <a:gd name="T29" fmla="*/ 41 h 47"/>
                    <a:gd name="T30" fmla="*/ 17 w 68"/>
                    <a:gd name="T31" fmla="*/ 35 h 47"/>
                    <a:gd name="T32" fmla="*/ 18 w 68"/>
                    <a:gd name="T33" fmla="*/ 35 h 47"/>
                    <a:gd name="T34" fmla="*/ 19 w 68"/>
                    <a:gd name="T35" fmla="*/ 32 h 47"/>
                    <a:gd name="T36" fmla="*/ 37 w 68"/>
                    <a:gd name="T37" fmla="*/ 28 h 47"/>
                    <a:gd name="T38" fmla="*/ 45 w 68"/>
                    <a:gd name="T39" fmla="*/ 27 h 47"/>
                    <a:gd name="T40" fmla="*/ 48 w 68"/>
                    <a:gd name="T41" fmla="*/ 27 h 47"/>
                    <a:gd name="T42" fmla="*/ 51 w 68"/>
                    <a:gd name="T43" fmla="*/ 27 h 47"/>
                    <a:gd name="T44" fmla="*/ 54 w 68"/>
                    <a:gd name="T45" fmla="*/ 27 h 47"/>
                    <a:gd name="T46" fmla="*/ 62 w 68"/>
                    <a:gd name="T47" fmla="*/ 24 h 47"/>
                    <a:gd name="T48" fmla="*/ 64 w 68"/>
                    <a:gd name="T49" fmla="*/ 15 h 47"/>
                    <a:gd name="T50" fmla="*/ 62 w 68"/>
                    <a:gd name="T51" fmla="*/ 7 h 47"/>
                    <a:gd name="T52" fmla="*/ 68 w 68"/>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47">
                      <a:moveTo>
                        <a:pt x="68" y="0"/>
                      </a:moveTo>
                      <a:cubicBezTo>
                        <a:pt x="60" y="4"/>
                        <a:pt x="53" y="7"/>
                        <a:pt x="46" y="10"/>
                      </a:cubicBezTo>
                      <a:cubicBezTo>
                        <a:pt x="40" y="12"/>
                        <a:pt x="39" y="22"/>
                        <a:pt x="32" y="24"/>
                      </a:cubicBezTo>
                      <a:cubicBezTo>
                        <a:pt x="31" y="25"/>
                        <a:pt x="29" y="25"/>
                        <a:pt x="28" y="25"/>
                      </a:cubicBezTo>
                      <a:cubicBezTo>
                        <a:pt x="26" y="25"/>
                        <a:pt x="24" y="25"/>
                        <a:pt x="22" y="24"/>
                      </a:cubicBezTo>
                      <a:cubicBezTo>
                        <a:pt x="21" y="24"/>
                        <a:pt x="19" y="24"/>
                        <a:pt x="17" y="24"/>
                      </a:cubicBezTo>
                      <a:cubicBezTo>
                        <a:pt x="15" y="24"/>
                        <a:pt x="13" y="24"/>
                        <a:pt x="11" y="25"/>
                      </a:cubicBezTo>
                      <a:cubicBezTo>
                        <a:pt x="4" y="28"/>
                        <a:pt x="1" y="36"/>
                        <a:pt x="0" y="42"/>
                      </a:cubicBezTo>
                      <a:cubicBezTo>
                        <a:pt x="3" y="43"/>
                        <a:pt x="5" y="46"/>
                        <a:pt x="8" y="47"/>
                      </a:cubicBezTo>
                      <a:cubicBezTo>
                        <a:pt x="8" y="47"/>
                        <a:pt x="8" y="47"/>
                        <a:pt x="9" y="47"/>
                      </a:cubicBezTo>
                      <a:cubicBezTo>
                        <a:pt x="9" y="47"/>
                        <a:pt x="5" y="44"/>
                        <a:pt x="5" y="43"/>
                      </a:cubicBezTo>
                      <a:cubicBezTo>
                        <a:pt x="6" y="41"/>
                        <a:pt x="8" y="39"/>
                        <a:pt x="9" y="37"/>
                      </a:cubicBezTo>
                      <a:cubicBezTo>
                        <a:pt x="9" y="39"/>
                        <a:pt x="9" y="43"/>
                        <a:pt x="11" y="43"/>
                      </a:cubicBezTo>
                      <a:cubicBezTo>
                        <a:pt x="12" y="43"/>
                        <a:pt x="12" y="43"/>
                        <a:pt x="12" y="43"/>
                      </a:cubicBezTo>
                      <a:cubicBezTo>
                        <a:pt x="14" y="43"/>
                        <a:pt x="15" y="42"/>
                        <a:pt x="16" y="41"/>
                      </a:cubicBezTo>
                      <a:cubicBezTo>
                        <a:pt x="17" y="39"/>
                        <a:pt x="16" y="35"/>
                        <a:pt x="17" y="35"/>
                      </a:cubicBezTo>
                      <a:cubicBezTo>
                        <a:pt x="18" y="35"/>
                        <a:pt x="18" y="35"/>
                        <a:pt x="18" y="35"/>
                      </a:cubicBezTo>
                      <a:cubicBezTo>
                        <a:pt x="19" y="34"/>
                        <a:pt x="19" y="33"/>
                        <a:pt x="19" y="32"/>
                      </a:cubicBezTo>
                      <a:cubicBezTo>
                        <a:pt x="25" y="28"/>
                        <a:pt x="30" y="30"/>
                        <a:pt x="37" y="28"/>
                      </a:cubicBezTo>
                      <a:cubicBezTo>
                        <a:pt x="40" y="27"/>
                        <a:pt x="42" y="27"/>
                        <a:pt x="45" y="27"/>
                      </a:cubicBezTo>
                      <a:cubicBezTo>
                        <a:pt x="46" y="27"/>
                        <a:pt x="47" y="27"/>
                        <a:pt x="48" y="27"/>
                      </a:cubicBezTo>
                      <a:cubicBezTo>
                        <a:pt x="49" y="27"/>
                        <a:pt x="50" y="27"/>
                        <a:pt x="51" y="27"/>
                      </a:cubicBezTo>
                      <a:cubicBezTo>
                        <a:pt x="52" y="27"/>
                        <a:pt x="53" y="27"/>
                        <a:pt x="54" y="27"/>
                      </a:cubicBezTo>
                      <a:cubicBezTo>
                        <a:pt x="59" y="27"/>
                        <a:pt x="60" y="28"/>
                        <a:pt x="62" y="24"/>
                      </a:cubicBezTo>
                      <a:cubicBezTo>
                        <a:pt x="63" y="21"/>
                        <a:pt x="64" y="18"/>
                        <a:pt x="64" y="15"/>
                      </a:cubicBezTo>
                      <a:cubicBezTo>
                        <a:pt x="64" y="14"/>
                        <a:pt x="61" y="8"/>
                        <a:pt x="62" y="7"/>
                      </a:cubicBezTo>
                      <a:cubicBezTo>
                        <a:pt x="64" y="5"/>
                        <a:pt x="66" y="3"/>
                        <a:pt x="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12" name="Freeform 192">
                  <a:extLst>
                    <a:ext uri="{FF2B5EF4-FFF2-40B4-BE49-F238E27FC236}">
                      <a16:creationId xmlns:a16="http://schemas.microsoft.com/office/drawing/2014/main" id="{65B9B834-595C-4785-A951-7BEECD3D2C13}"/>
                    </a:ext>
                  </a:extLst>
                </p:cNvPr>
                <p:cNvSpPr>
                  <a:spLocks/>
                </p:cNvSpPr>
                <p:nvPr/>
              </p:nvSpPr>
              <p:spPr bwMode="auto">
                <a:xfrm>
                  <a:off x="5229179" y="3309234"/>
                  <a:ext cx="103183" cy="70017"/>
                </a:xfrm>
                <a:custGeom>
                  <a:avLst/>
                  <a:gdLst>
                    <a:gd name="T0" fmla="*/ 27 w 33"/>
                    <a:gd name="T1" fmla="*/ 0 h 22"/>
                    <a:gd name="T2" fmla="*/ 26 w 33"/>
                    <a:gd name="T3" fmla="*/ 4 h 22"/>
                    <a:gd name="T4" fmla="*/ 23 w 33"/>
                    <a:gd name="T5" fmla="*/ 5 h 22"/>
                    <a:gd name="T6" fmla="*/ 22 w 33"/>
                    <a:gd name="T7" fmla="*/ 5 h 22"/>
                    <a:gd name="T8" fmla="*/ 24 w 33"/>
                    <a:gd name="T9" fmla="*/ 3 h 22"/>
                    <a:gd name="T10" fmla="*/ 18 w 33"/>
                    <a:gd name="T11" fmla="*/ 1 h 22"/>
                    <a:gd name="T12" fmla="*/ 10 w 33"/>
                    <a:gd name="T13" fmla="*/ 2 h 22"/>
                    <a:gd name="T14" fmla="*/ 0 w 33"/>
                    <a:gd name="T15" fmla="*/ 4 h 22"/>
                    <a:gd name="T16" fmla="*/ 5 w 33"/>
                    <a:gd name="T17" fmla="*/ 8 h 22"/>
                    <a:gd name="T18" fmla="*/ 8 w 33"/>
                    <a:gd name="T19" fmla="*/ 15 h 22"/>
                    <a:gd name="T20" fmla="*/ 15 w 33"/>
                    <a:gd name="T21" fmla="*/ 18 h 22"/>
                    <a:gd name="T22" fmla="*/ 22 w 33"/>
                    <a:gd name="T23" fmla="*/ 22 h 22"/>
                    <a:gd name="T24" fmla="*/ 24 w 33"/>
                    <a:gd name="T25" fmla="*/ 22 h 22"/>
                    <a:gd name="T26" fmla="*/ 33 w 33"/>
                    <a:gd name="T27" fmla="*/ 15 h 22"/>
                    <a:gd name="T28" fmla="*/ 30 w 33"/>
                    <a:gd name="T29" fmla="*/ 7 h 22"/>
                    <a:gd name="T30" fmla="*/ 27 w 33"/>
                    <a:gd name="T31" fmla="*/ 6 h 22"/>
                    <a:gd name="T32" fmla="*/ 26 w 33"/>
                    <a:gd name="T33" fmla="*/ 6 h 22"/>
                    <a:gd name="T34" fmla="*/ 26 w 33"/>
                    <a:gd name="T35" fmla="*/ 6 h 22"/>
                    <a:gd name="T36" fmla="*/ 25 w 33"/>
                    <a:gd name="T37" fmla="*/ 6 h 22"/>
                    <a:gd name="T38" fmla="*/ 31 w 33"/>
                    <a:gd name="T39" fmla="*/ 4 h 22"/>
                    <a:gd name="T40" fmla="*/ 28 w 33"/>
                    <a:gd name="T41" fmla="*/ 0 h 22"/>
                    <a:gd name="T42" fmla="*/ 27 w 33"/>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22">
                      <a:moveTo>
                        <a:pt x="27" y="0"/>
                      </a:moveTo>
                      <a:cubicBezTo>
                        <a:pt x="26" y="0"/>
                        <a:pt x="26" y="3"/>
                        <a:pt x="26" y="4"/>
                      </a:cubicBezTo>
                      <a:cubicBezTo>
                        <a:pt x="25" y="5"/>
                        <a:pt x="24" y="5"/>
                        <a:pt x="23" y="5"/>
                      </a:cubicBezTo>
                      <a:cubicBezTo>
                        <a:pt x="23" y="5"/>
                        <a:pt x="22" y="5"/>
                        <a:pt x="22" y="5"/>
                      </a:cubicBezTo>
                      <a:cubicBezTo>
                        <a:pt x="23" y="4"/>
                        <a:pt x="23" y="3"/>
                        <a:pt x="24" y="3"/>
                      </a:cubicBezTo>
                      <a:cubicBezTo>
                        <a:pt x="22" y="1"/>
                        <a:pt x="20" y="1"/>
                        <a:pt x="18" y="1"/>
                      </a:cubicBezTo>
                      <a:cubicBezTo>
                        <a:pt x="15" y="1"/>
                        <a:pt x="13" y="1"/>
                        <a:pt x="10" y="2"/>
                      </a:cubicBezTo>
                      <a:cubicBezTo>
                        <a:pt x="7" y="3"/>
                        <a:pt x="4" y="3"/>
                        <a:pt x="0" y="4"/>
                      </a:cubicBezTo>
                      <a:cubicBezTo>
                        <a:pt x="3" y="5"/>
                        <a:pt x="3" y="6"/>
                        <a:pt x="5" y="8"/>
                      </a:cubicBezTo>
                      <a:cubicBezTo>
                        <a:pt x="6" y="10"/>
                        <a:pt x="7" y="13"/>
                        <a:pt x="8" y="15"/>
                      </a:cubicBezTo>
                      <a:cubicBezTo>
                        <a:pt x="10" y="16"/>
                        <a:pt x="13" y="17"/>
                        <a:pt x="15" y="18"/>
                      </a:cubicBezTo>
                      <a:cubicBezTo>
                        <a:pt x="18" y="20"/>
                        <a:pt x="19" y="21"/>
                        <a:pt x="22" y="22"/>
                      </a:cubicBezTo>
                      <a:cubicBezTo>
                        <a:pt x="23" y="22"/>
                        <a:pt x="24" y="22"/>
                        <a:pt x="24" y="22"/>
                      </a:cubicBezTo>
                      <a:cubicBezTo>
                        <a:pt x="28" y="22"/>
                        <a:pt x="32" y="19"/>
                        <a:pt x="33" y="15"/>
                      </a:cubicBezTo>
                      <a:cubicBezTo>
                        <a:pt x="33" y="13"/>
                        <a:pt x="31" y="10"/>
                        <a:pt x="30" y="7"/>
                      </a:cubicBezTo>
                      <a:cubicBezTo>
                        <a:pt x="30" y="6"/>
                        <a:pt x="28" y="6"/>
                        <a:pt x="27" y="6"/>
                      </a:cubicBezTo>
                      <a:cubicBezTo>
                        <a:pt x="26" y="6"/>
                        <a:pt x="26" y="6"/>
                        <a:pt x="26" y="6"/>
                      </a:cubicBezTo>
                      <a:cubicBezTo>
                        <a:pt x="26" y="6"/>
                        <a:pt x="26" y="6"/>
                        <a:pt x="26" y="6"/>
                      </a:cubicBezTo>
                      <a:cubicBezTo>
                        <a:pt x="26" y="6"/>
                        <a:pt x="25" y="6"/>
                        <a:pt x="25" y="6"/>
                      </a:cubicBezTo>
                      <a:cubicBezTo>
                        <a:pt x="27" y="5"/>
                        <a:pt x="30" y="6"/>
                        <a:pt x="31" y="4"/>
                      </a:cubicBezTo>
                      <a:cubicBezTo>
                        <a:pt x="31" y="3"/>
                        <a:pt x="28" y="0"/>
                        <a:pt x="28" y="0"/>
                      </a:cubicBezTo>
                      <a:cubicBezTo>
                        <a:pt x="28" y="0"/>
                        <a:pt x="27"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13" name="Freeform 193">
                  <a:extLst>
                    <a:ext uri="{FF2B5EF4-FFF2-40B4-BE49-F238E27FC236}">
                      <a16:creationId xmlns:a16="http://schemas.microsoft.com/office/drawing/2014/main" id="{8986DEB9-D442-4547-A833-DFCF2C6B6895}"/>
                    </a:ext>
                  </a:extLst>
                </p:cNvPr>
                <p:cNvSpPr>
                  <a:spLocks/>
                </p:cNvSpPr>
                <p:nvPr/>
              </p:nvSpPr>
              <p:spPr bwMode="auto">
                <a:xfrm>
                  <a:off x="5343418" y="3246588"/>
                  <a:ext cx="151090" cy="195311"/>
                </a:xfrm>
                <a:custGeom>
                  <a:avLst/>
                  <a:gdLst>
                    <a:gd name="T0" fmla="*/ 39 w 48"/>
                    <a:gd name="T1" fmla="*/ 0 h 61"/>
                    <a:gd name="T2" fmla="*/ 35 w 48"/>
                    <a:gd name="T3" fmla="*/ 0 h 61"/>
                    <a:gd name="T4" fmla="*/ 28 w 48"/>
                    <a:gd name="T5" fmla="*/ 4 h 61"/>
                    <a:gd name="T6" fmla="*/ 32 w 48"/>
                    <a:gd name="T7" fmla="*/ 13 h 61"/>
                    <a:gd name="T8" fmla="*/ 28 w 48"/>
                    <a:gd name="T9" fmla="*/ 18 h 61"/>
                    <a:gd name="T10" fmla="*/ 28 w 48"/>
                    <a:gd name="T11" fmla="*/ 7 h 61"/>
                    <a:gd name="T12" fmla="*/ 24 w 48"/>
                    <a:gd name="T13" fmla="*/ 17 h 61"/>
                    <a:gd name="T14" fmla="*/ 21 w 48"/>
                    <a:gd name="T15" fmla="*/ 14 h 61"/>
                    <a:gd name="T16" fmla="*/ 21 w 48"/>
                    <a:gd name="T17" fmla="*/ 11 h 61"/>
                    <a:gd name="T18" fmla="*/ 24 w 48"/>
                    <a:gd name="T19" fmla="*/ 5 h 61"/>
                    <a:gd name="T20" fmla="*/ 21 w 48"/>
                    <a:gd name="T21" fmla="*/ 5 h 61"/>
                    <a:gd name="T22" fmla="*/ 16 w 48"/>
                    <a:gd name="T23" fmla="*/ 5 h 61"/>
                    <a:gd name="T24" fmla="*/ 11 w 48"/>
                    <a:gd name="T25" fmla="*/ 4 h 61"/>
                    <a:gd name="T26" fmla="*/ 10 w 48"/>
                    <a:gd name="T27" fmla="*/ 4 h 61"/>
                    <a:gd name="T28" fmla="*/ 16 w 48"/>
                    <a:gd name="T29" fmla="*/ 9 h 61"/>
                    <a:gd name="T30" fmla="*/ 8 w 48"/>
                    <a:gd name="T31" fmla="*/ 16 h 61"/>
                    <a:gd name="T32" fmla="*/ 7 w 48"/>
                    <a:gd name="T33" fmla="*/ 16 h 61"/>
                    <a:gd name="T34" fmla="*/ 0 w 48"/>
                    <a:gd name="T35" fmla="*/ 15 h 61"/>
                    <a:gd name="T36" fmla="*/ 1 w 48"/>
                    <a:gd name="T37" fmla="*/ 18 h 61"/>
                    <a:gd name="T38" fmla="*/ 5 w 48"/>
                    <a:gd name="T39" fmla="*/ 20 h 61"/>
                    <a:gd name="T40" fmla="*/ 8 w 48"/>
                    <a:gd name="T41" fmla="*/ 27 h 61"/>
                    <a:gd name="T42" fmla="*/ 9 w 48"/>
                    <a:gd name="T43" fmla="*/ 32 h 61"/>
                    <a:gd name="T44" fmla="*/ 25 w 48"/>
                    <a:gd name="T45" fmla="*/ 38 h 61"/>
                    <a:gd name="T46" fmla="*/ 21 w 48"/>
                    <a:gd name="T47" fmla="*/ 40 h 61"/>
                    <a:gd name="T48" fmla="*/ 20 w 48"/>
                    <a:gd name="T49" fmla="*/ 40 h 61"/>
                    <a:gd name="T50" fmla="*/ 26 w 48"/>
                    <a:gd name="T51" fmla="*/ 43 h 61"/>
                    <a:gd name="T52" fmla="*/ 25 w 48"/>
                    <a:gd name="T53" fmla="*/ 50 h 61"/>
                    <a:gd name="T54" fmla="*/ 28 w 48"/>
                    <a:gd name="T55" fmla="*/ 59 h 61"/>
                    <a:gd name="T56" fmla="*/ 29 w 48"/>
                    <a:gd name="T57" fmla="*/ 61 h 61"/>
                    <a:gd name="T58" fmla="*/ 29 w 48"/>
                    <a:gd name="T59" fmla="*/ 60 h 61"/>
                    <a:gd name="T60" fmla="*/ 35 w 48"/>
                    <a:gd name="T61" fmla="*/ 50 h 61"/>
                    <a:gd name="T62" fmla="*/ 27 w 48"/>
                    <a:gd name="T63" fmla="*/ 46 h 61"/>
                    <a:gd name="T64" fmla="*/ 32 w 48"/>
                    <a:gd name="T65" fmla="*/ 43 h 61"/>
                    <a:gd name="T66" fmla="*/ 31 w 48"/>
                    <a:gd name="T67" fmla="*/ 37 h 61"/>
                    <a:gd name="T68" fmla="*/ 43 w 48"/>
                    <a:gd name="T69" fmla="*/ 32 h 61"/>
                    <a:gd name="T70" fmla="*/ 37 w 48"/>
                    <a:gd name="T71" fmla="*/ 27 h 61"/>
                    <a:gd name="T72" fmla="*/ 41 w 48"/>
                    <a:gd name="T73" fmla="*/ 20 h 61"/>
                    <a:gd name="T74" fmla="*/ 46 w 48"/>
                    <a:gd name="T75" fmla="*/ 17 h 61"/>
                    <a:gd name="T76" fmla="*/ 46 w 48"/>
                    <a:gd name="T77" fmla="*/ 10 h 61"/>
                    <a:gd name="T78" fmla="*/ 44 w 48"/>
                    <a:gd name="T79" fmla="*/ 2 h 61"/>
                    <a:gd name="T80" fmla="*/ 39 w 48"/>
                    <a:gd name="T81"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 h="61">
                      <a:moveTo>
                        <a:pt x="39" y="0"/>
                      </a:moveTo>
                      <a:cubicBezTo>
                        <a:pt x="38" y="0"/>
                        <a:pt x="36" y="0"/>
                        <a:pt x="35" y="0"/>
                      </a:cubicBezTo>
                      <a:cubicBezTo>
                        <a:pt x="33" y="1"/>
                        <a:pt x="31" y="3"/>
                        <a:pt x="28" y="4"/>
                      </a:cubicBezTo>
                      <a:cubicBezTo>
                        <a:pt x="31" y="6"/>
                        <a:pt x="32" y="9"/>
                        <a:pt x="32" y="13"/>
                      </a:cubicBezTo>
                      <a:cubicBezTo>
                        <a:pt x="32" y="16"/>
                        <a:pt x="32" y="17"/>
                        <a:pt x="28" y="18"/>
                      </a:cubicBezTo>
                      <a:cubicBezTo>
                        <a:pt x="31" y="13"/>
                        <a:pt x="32" y="11"/>
                        <a:pt x="28" y="7"/>
                      </a:cubicBezTo>
                      <a:cubicBezTo>
                        <a:pt x="28" y="9"/>
                        <a:pt x="26" y="15"/>
                        <a:pt x="24" y="17"/>
                      </a:cubicBezTo>
                      <a:cubicBezTo>
                        <a:pt x="23" y="16"/>
                        <a:pt x="22" y="15"/>
                        <a:pt x="21" y="14"/>
                      </a:cubicBezTo>
                      <a:cubicBezTo>
                        <a:pt x="19" y="12"/>
                        <a:pt x="21" y="12"/>
                        <a:pt x="21" y="11"/>
                      </a:cubicBezTo>
                      <a:cubicBezTo>
                        <a:pt x="21" y="7"/>
                        <a:pt x="22" y="8"/>
                        <a:pt x="24" y="5"/>
                      </a:cubicBezTo>
                      <a:cubicBezTo>
                        <a:pt x="23" y="5"/>
                        <a:pt x="22" y="5"/>
                        <a:pt x="21" y="5"/>
                      </a:cubicBezTo>
                      <a:cubicBezTo>
                        <a:pt x="19" y="5"/>
                        <a:pt x="18" y="5"/>
                        <a:pt x="16" y="5"/>
                      </a:cubicBezTo>
                      <a:cubicBezTo>
                        <a:pt x="14" y="5"/>
                        <a:pt x="13" y="4"/>
                        <a:pt x="11" y="4"/>
                      </a:cubicBezTo>
                      <a:cubicBezTo>
                        <a:pt x="10" y="4"/>
                        <a:pt x="10" y="4"/>
                        <a:pt x="10" y="4"/>
                      </a:cubicBezTo>
                      <a:cubicBezTo>
                        <a:pt x="12" y="6"/>
                        <a:pt x="17" y="6"/>
                        <a:pt x="16" y="9"/>
                      </a:cubicBezTo>
                      <a:cubicBezTo>
                        <a:pt x="16" y="11"/>
                        <a:pt x="9" y="15"/>
                        <a:pt x="8" y="16"/>
                      </a:cubicBezTo>
                      <a:cubicBezTo>
                        <a:pt x="7" y="16"/>
                        <a:pt x="7" y="16"/>
                        <a:pt x="7" y="16"/>
                      </a:cubicBezTo>
                      <a:cubicBezTo>
                        <a:pt x="4" y="16"/>
                        <a:pt x="2" y="15"/>
                        <a:pt x="0" y="15"/>
                      </a:cubicBezTo>
                      <a:cubicBezTo>
                        <a:pt x="1" y="15"/>
                        <a:pt x="0" y="17"/>
                        <a:pt x="1" y="18"/>
                      </a:cubicBezTo>
                      <a:cubicBezTo>
                        <a:pt x="2" y="19"/>
                        <a:pt x="5" y="18"/>
                        <a:pt x="5" y="20"/>
                      </a:cubicBezTo>
                      <a:cubicBezTo>
                        <a:pt x="6" y="22"/>
                        <a:pt x="7" y="25"/>
                        <a:pt x="8" y="27"/>
                      </a:cubicBezTo>
                      <a:cubicBezTo>
                        <a:pt x="8" y="30"/>
                        <a:pt x="1" y="29"/>
                        <a:pt x="9" y="32"/>
                      </a:cubicBezTo>
                      <a:cubicBezTo>
                        <a:pt x="14" y="34"/>
                        <a:pt x="20" y="35"/>
                        <a:pt x="25" y="38"/>
                      </a:cubicBezTo>
                      <a:cubicBezTo>
                        <a:pt x="24" y="39"/>
                        <a:pt x="23" y="40"/>
                        <a:pt x="21" y="40"/>
                      </a:cubicBezTo>
                      <a:cubicBezTo>
                        <a:pt x="21" y="40"/>
                        <a:pt x="20" y="40"/>
                        <a:pt x="20" y="40"/>
                      </a:cubicBezTo>
                      <a:cubicBezTo>
                        <a:pt x="22" y="41"/>
                        <a:pt x="24" y="42"/>
                        <a:pt x="26" y="43"/>
                      </a:cubicBezTo>
                      <a:cubicBezTo>
                        <a:pt x="22" y="46"/>
                        <a:pt x="21" y="45"/>
                        <a:pt x="25" y="50"/>
                      </a:cubicBezTo>
                      <a:cubicBezTo>
                        <a:pt x="27" y="53"/>
                        <a:pt x="26" y="56"/>
                        <a:pt x="28" y="59"/>
                      </a:cubicBezTo>
                      <a:cubicBezTo>
                        <a:pt x="28" y="59"/>
                        <a:pt x="28" y="61"/>
                        <a:pt x="29" y="61"/>
                      </a:cubicBezTo>
                      <a:cubicBezTo>
                        <a:pt x="29" y="61"/>
                        <a:pt x="29" y="61"/>
                        <a:pt x="29" y="60"/>
                      </a:cubicBezTo>
                      <a:cubicBezTo>
                        <a:pt x="31" y="56"/>
                        <a:pt x="31" y="52"/>
                        <a:pt x="35" y="50"/>
                      </a:cubicBezTo>
                      <a:cubicBezTo>
                        <a:pt x="33" y="48"/>
                        <a:pt x="29" y="48"/>
                        <a:pt x="27" y="46"/>
                      </a:cubicBezTo>
                      <a:cubicBezTo>
                        <a:pt x="29" y="45"/>
                        <a:pt x="30" y="45"/>
                        <a:pt x="32" y="43"/>
                      </a:cubicBezTo>
                      <a:cubicBezTo>
                        <a:pt x="34" y="40"/>
                        <a:pt x="33" y="40"/>
                        <a:pt x="31" y="37"/>
                      </a:cubicBezTo>
                      <a:cubicBezTo>
                        <a:pt x="33" y="36"/>
                        <a:pt x="43" y="35"/>
                        <a:pt x="43" y="32"/>
                      </a:cubicBezTo>
                      <a:cubicBezTo>
                        <a:pt x="44" y="29"/>
                        <a:pt x="38" y="28"/>
                        <a:pt x="37" y="27"/>
                      </a:cubicBezTo>
                      <a:cubicBezTo>
                        <a:pt x="35" y="23"/>
                        <a:pt x="38" y="21"/>
                        <a:pt x="41" y="20"/>
                      </a:cubicBezTo>
                      <a:cubicBezTo>
                        <a:pt x="43" y="19"/>
                        <a:pt x="44" y="19"/>
                        <a:pt x="46" y="17"/>
                      </a:cubicBezTo>
                      <a:cubicBezTo>
                        <a:pt x="48" y="15"/>
                        <a:pt x="47" y="12"/>
                        <a:pt x="46" y="10"/>
                      </a:cubicBezTo>
                      <a:cubicBezTo>
                        <a:pt x="45" y="6"/>
                        <a:pt x="46" y="5"/>
                        <a:pt x="44" y="2"/>
                      </a:cubicBezTo>
                      <a:cubicBezTo>
                        <a:pt x="42" y="0"/>
                        <a:pt x="41" y="0"/>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14" name="Freeform 194">
                  <a:extLst>
                    <a:ext uri="{FF2B5EF4-FFF2-40B4-BE49-F238E27FC236}">
                      <a16:creationId xmlns:a16="http://schemas.microsoft.com/office/drawing/2014/main" id="{51B75AAE-CC1F-436F-B1C0-02AE1A7B9DD9}"/>
                    </a:ext>
                  </a:extLst>
                </p:cNvPr>
                <p:cNvSpPr>
                  <a:spLocks/>
                </p:cNvSpPr>
                <p:nvPr/>
              </p:nvSpPr>
              <p:spPr bwMode="auto">
                <a:xfrm>
                  <a:off x="5302882" y="3261328"/>
                  <a:ext cx="14740" cy="25796"/>
                </a:xfrm>
                <a:custGeom>
                  <a:avLst/>
                  <a:gdLst>
                    <a:gd name="T0" fmla="*/ 2 w 5"/>
                    <a:gd name="T1" fmla="*/ 0 h 9"/>
                    <a:gd name="T2" fmla="*/ 1 w 5"/>
                    <a:gd name="T3" fmla="*/ 9 h 9"/>
                    <a:gd name="T4" fmla="*/ 5 w 5"/>
                    <a:gd name="T5" fmla="*/ 4 h 9"/>
                    <a:gd name="T6" fmla="*/ 2 w 5"/>
                    <a:gd name="T7" fmla="*/ 0 h 9"/>
                  </a:gdLst>
                  <a:ahLst/>
                  <a:cxnLst>
                    <a:cxn ang="0">
                      <a:pos x="T0" y="T1"/>
                    </a:cxn>
                    <a:cxn ang="0">
                      <a:pos x="T2" y="T3"/>
                    </a:cxn>
                    <a:cxn ang="0">
                      <a:pos x="T4" y="T5"/>
                    </a:cxn>
                    <a:cxn ang="0">
                      <a:pos x="T6" y="T7"/>
                    </a:cxn>
                  </a:cxnLst>
                  <a:rect l="0" t="0" r="r" b="b"/>
                  <a:pathLst>
                    <a:path w="5" h="9">
                      <a:moveTo>
                        <a:pt x="2" y="0"/>
                      </a:moveTo>
                      <a:cubicBezTo>
                        <a:pt x="0" y="1"/>
                        <a:pt x="1" y="6"/>
                        <a:pt x="1" y="9"/>
                      </a:cubicBezTo>
                      <a:cubicBezTo>
                        <a:pt x="3" y="7"/>
                        <a:pt x="4" y="6"/>
                        <a:pt x="5" y="4"/>
                      </a:cubicBezTo>
                      <a:cubicBezTo>
                        <a:pt x="4"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15" name="Freeform 195">
                  <a:extLst>
                    <a:ext uri="{FF2B5EF4-FFF2-40B4-BE49-F238E27FC236}">
                      <a16:creationId xmlns:a16="http://schemas.microsoft.com/office/drawing/2014/main" id="{6B53A301-EF45-4CA0-803C-488A8FF93D83}"/>
                    </a:ext>
                  </a:extLst>
                </p:cNvPr>
                <p:cNvSpPr>
                  <a:spLocks/>
                </p:cNvSpPr>
                <p:nvPr/>
              </p:nvSpPr>
              <p:spPr bwMode="auto">
                <a:xfrm>
                  <a:off x="5347103" y="3095498"/>
                  <a:ext cx="7370" cy="7370"/>
                </a:xfrm>
                <a:custGeom>
                  <a:avLst/>
                  <a:gdLst>
                    <a:gd name="T0" fmla="*/ 3 w 3"/>
                    <a:gd name="T1" fmla="*/ 0 h 2"/>
                    <a:gd name="T2" fmla="*/ 0 w 3"/>
                    <a:gd name="T3" fmla="*/ 2 h 2"/>
                    <a:gd name="T4" fmla="*/ 3 w 3"/>
                    <a:gd name="T5" fmla="*/ 0 h 2"/>
                  </a:gdLst>
                  <a:ahLst/>
                  <a:cxnLst>
                    <a:cxn ang="0">
                      <a:pos x="T0" y="T1"/>
                    </a:cxn>
                    <a:cxn ang="0">
                      <a:pos x="T2" y="T3"/>
                    </a:cxn>
                    <a:cxn ang="0">
                      <a:pos x="T4" y="T5"/>
                    </a:cxn>
                  </a:cxnLst>
                  <a:rect l="0" t="0" r="r" b="b"/>
                  <a:pathLst>
                    <a:path w="3" h="2">
                      <a:moveTo>
                        <a:pt x="3" y="0"/>
                      </a:moveTo>
                      <a:cubicBezTo>
                        <a:pt x="2" y="1"/>
                        <a:pt x="1" y="2"/>
                        <a:pt x="0" y="2"/>
                      </a:cubicBezTo>
                      <a:cubicBezTo>
                        <a:pt x="2" y="2"/>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16" name="Freeform 196">
                  <a:extLst>
                    <a:ext uri="{FF2B5EF4-FFF2-40B4-BE49-F238E27FC236}">
                      <a16:creationId xmlns:a16="http://schemas.microsoft.com/office/drawing/2014/main" id="{5E1BE031-3ED5-4E85-886A-6F9A19F4CABE}"/>
                    </a:ext>
                  </a:extLst>
                </p:cNvPr>
                <p:cNvSpPr>
                  <a:spLocks/>
                </p:cNvSpPr>
                <p:nvPr/>
              </p:nvSpPr>
              <p:spPr bwMode="auto">
                <a:xfrm>
                  <a:off x="5332363" y="3401362"/>
                  <a:ext cx="88443" cy="25796"/>
                </a:xfrm>
                <a:custGeom>
                  <a:avLst/>
                  <a:gdLst>
                    <a:gd name="T0" fmla="*/ 15 w 28"/>
                    <a:gd name="T1" fmla="*/ 0 h 9"/>
                    <a:gd name="T2" fmla="*/ 6 w 28"/>
                    <a:gd name="T3" fmla="*/ 1 h 9"/>
                    <a:gd name="T4" fmla="*/ 8 w 28"/>
                    <a:gd name="T5" fmla="*/ 2 h 9"/>
                    <a:gd name="T6" fmla="*/ 13 w 28"/>
                    <a:gd name="T7" fmla="*/ 8 h 9"/>
                    <a:gd name="T8" fmla="*/ 18 w 28"/>
                    <a:gd name="T9" fmla="*/ 9 h 9"/>
                    <a:gd name="T10" fmla="*/ 28 w 28"/>
                    <a:gd name="T11" fmla="*/ 6 h 9"/>
                    <a:gd name="T12" fmla="*/ 22 w 28"/>
                    <a:gd name="T13" fmla="*/ 2 h 9"/>
                    <a:gd name="T14" fmla="*/ 15 w 28"/>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9">
                      <a:moveTo>
                        <a:pt x="15" y="0"/>
                      </a:moveTo>
                      <a:cubicBezTo>
                        <a:pt x="12" y="0"/>
                        <a:pt x="9" y="1"/>
                        <a:pt x="6" y="1"/>
                      </a:cubicBezTo>
                      <a:cubicBezTo>
                        <a:pt x="7" y="2"/>
                        <a:pt x="7" y="2"/>
                        <a:pt x="8" y="2"/>
                      </a:cubicBezTo>
                      <a:cubicBezTo>
                        <a:pt x="0" y="4"/>
                        <a:pt x="12" y="7"/>
                        <a:pt x="13" y="8"/>
                      </a:cubicBezTo>
                      <a:cubicBezTo>
                        <a:pt x="15" y="9"/>
                        <a:pt x="17" y="9"/>
                        <a:pt x="18" y="9"/>
                      </a:cubicBezTo>
                      <a:cubicBezTo>
                        <a:pt x="22" y="9"/>
                        <a:pt x="25" y="8"/>
                        <a:pt x="28" y="6"/>
                      </a:cubicBezTo>
                      <a:cubicBezTo>
                        <a:pt x="27" y="2"/>
                        <a:pt x="26" y="3"/>
                        <a:pt x="22" y="2"/>
                      </a:cubicBezTo>
                      <a:cubicBezTo>
                        <a:pt x="19" y="2"/>
                        <a:pt x="17" y="1"/>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17" name="Freeform 197">
                  <a:extLst>
                    <a:ext uri="{FF2B5EF4-FFF2-40B4-BE49-F238E27FC236}">
                      <a16:creationId xmlns:a16="http://schemas.microsoft.com/office/drawing/2014/main" id="{9FCD9349-0D95-4146-B9EB-075040A61940}"/>
                    </a:ext>
                  </a:extLst>
                </p:cNvPr>
                <p:cNvSpPr>
                  <a:spLocks/>
                </p:cNvSpPr>
                <p:nvPr/>
              </p:nvSpPr>
              <p:spPr bwMode="auto">
                <a:xfrm>
                  <a:off x="5306567" y="3364511"/>
                  <a:ext cx="40536" cy="55277"/>
                </a:xfrm>
                <a:custGeom>
                  <a:avLst/>
                  <a:gdLst>
                    <a:gd name="T0" fmla="*/ 12 w 12"/>
                    <a:gd name="T1" fmla="*/ 0 h 17"/>
                    <a:gd name="T2" fmla="*/ 6 w 12"/>
                    <a:gd name="T3" fmla="*/ 8 h 17"/>
                    <a:gd name="T4" fmla="*/ 5 w 12"/>
                    <a:gd name="T5" fmla="*/ 17 h 17"/>
                    <a:gd name="T6" fmla="*/ 12 w 12"/>
                    <a:gd name="T7" fmla="*/ 0 h 17"/>
                  </a:gdLst>
                  <a:ahLst/>
                  <a:cxnLst>
                    <a:cxn ang="0">
                      <a:pos x="T0" y="T1"/>
                    </a:cxn>
                    <a:cxn ang="0">
                      <a:pos x="T2" y="T3"/>
                    </a:cxn>
                    <a:cxn ang="0">
                      <a:pos x="T4" y="T5"/>
                    </a:cxn>
                    <a:cxn ang="0">
                      <a:pos x="T6" y="T7"/>
                    </a:cxn>
                  </a:cxnLst>
                  <a:rect l="0" t="0" r="r" b="b"/>
                  <a:pathLst>
                    <a:path w="12" h="17">
                      <a:moveTo>
                        <a:pt x="12" y="0"/>
                      </a:moveTo>
                      <a:cubicBezTo>
                        <a:pt x="9" y="2"/>
                        <a:pt x="8" y="5"/>
                        <a:pt x="6" y="8"/>
                      </a:cubicBezTo>
                      <a:cubicBezTo>
                        <a:pt x="5" y="14"/>
                        <a:pt x="0" y="11"/>
                        <a:pt x="5" y="17"/>
                      </a:cubicBezTo>
                      <a:cubicBezTo>
                        <a:pt x="7" y="12"/>
                        <a:pt x="11" y="6"/>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18" name="Freeform 198">
                  <a:extLst>
                    <a:ext uri="{FF2B5EF4-FFF2-40B4-BE49-F238E27FC236}">
                      <a16:creationId xmlns:a16="http://schemas.microsoft.com/office/drawing/2014/main" id="{9A279EE9-0A40-4F4B-8FB2-36DBF3125749}"/>
                    </a:ext>
                  </a:extLst>
                </p:cNvPr>
                <p:cNvSpPr>
                  <a:spLocks/>
                </p:cNvSpPr>
                <p:nvPr/>
              </p:nvSpPr>
              <p:spPr bwMode="auto">
                <a:xfrm>
                  <a:off x="5453971" y="3379252"/>
                  <a:ext cx="44221" cy="22111"/>
                </a:xfrm>
                <a:custGeom>
                  <a:avLst/>
                  <a:gdLst>
                    <a:gd name="T0" fmla="*/ 3 w 14"/>
                    <a:gd name="T1" fmla="*/ 0 h 7"/>
                    <a:gd name="T2" fmla="*/ 0 w 14"/>
                    <a:gd name="T3" fmla="*/ 7 h 7"/>
                    <a:gd name="T4" fmla="*/ 5 w 14"/>
                    <a:gd name="T5" fmla="*/ 4 h 7"/>
                    <a:gd name="T6" fmla="*/ 6 w 14"/>
                    <a:gd name="T7" fmla="*/ 4 h 7"/>
                    <a:gd name="T8" fmla="*/ 8 w 14"/>
                    <a:gd name="T9" fmla="*/ 4 h 7"/>
                    <a:gd name="T10" fmla="*/ 9 w 14"/>
                    <a:gd name="T11" fmla="*/ 5 h 7"/>
                    <a:gd name="T12" fmla="*/ 9 w 14"/>
                    <a:gd name="T13" fmla="*/ 4 h 7"/>
                    <a:gd name="T14" fmla="*/ 3 w 1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7">
                      <a:moveTo>
                        <a:pt x="3" y="0"/>
                      </a:moveTo>
                      <a:cubicBezTo>
                        <a:pt x="2" y="2"/>
                        <a:pt x="1" y="5"/>
                        <a:pt x="0" y="7"/>
                      </a:cubicBezTo>
                      <a:cubicBezTo>
                        <a:pt x="2" y="6"/>
                        <a:pt x="3" y="4"/>
                        <a:pt x="5" y="4"/>
                      </a:cubicBezTo>
                      <a:cubicBezTo>
                        <a:pt x="6" y="4"/>
                        <a:pt x="6" y="4"/>
                        <a:pt x="6" y="4"/>
                      </a:cubicBezTo>
                      <a:cubicBezTo>
                        <a:pt x="6" y="4"/>
                        <a:pt x="7" y="4"/>
                        <a:pt x="8" y="4"/>
                      </a:cubicBezTo>
                      <a:cubicBezTo>
                        <a:pt x="8" y="4"/>
                        <a:pt x="9" y="5"/>
                        <a:pt x="9" y="5"/>
                      </a:cubicBezTo>
                      <a:cubicBezTo>
                        <a:pt x="9" y="5"/>
                        <a:pt x="9" y="5"/>
                        <a:pt x="9" y="4"/>
                      </a:cubicBezTo>
                      <a:cubicBezTo>
                        <a:pt x="14"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19" name="Freeform 199">
                  <a:extLst>
                    <a:ext uri="{FF2B5EF4-FFF2-40B4-BE49-F238E27FC236}">
                      <a16:creationId xmlns:a16="http://schemas.microsoft.com/office/drawing/2014/main" id="{D83801CA-C39E-4A5C-8780-E29D4144D43B}"/>
                    </a:ext>
                  </a:extLst>
                </p:cNvPr>
                <p:cNvSpPr>
                  <a:spLocks/>
                </p:cNvSpPr>
                <p:nvPr/>
              </p:nvSpPr>
              <p:spPr bwMode="auto">
                <a:xfrm>
                  <a:off x="8906924" y="6500545"/>
                  <a:ext cx="18426" cy="44221"/>
                </a:xfrm>
                <a:custGeom>
                  <a:avLst/>
                  <a:gdLst>
                    <a:gd name="T0" fmla="*/ 2 w 5"/>
                    <a:gd name="T1" fmla="*/ 0 h 14"/>
                    <a:gd name="T2" fmla="*/ 1 w 5"/>
                    <a:gd name="T3" fmla="*/ 1 h 14"/>
                    <a:gd name="T4" fmla="*/ 3 w 5"/>
                    <a:gd name="T5" fmla="*/ 14 h 14"/>
                    <a:gd name="T6" fmla="*/ 5 w 5"/>
                    <a:gd name="T7" fmla="*/ 6 h 14"/>
                    <a:gd name="T8" fmla="*/ 4 w 5"/>
                    <a:gd name="T9" fmla="*/ 2 h 14"/>
                    <a:gd name="T10" fmla="*/ 2 w 5"/>
                    <a:gd name="T11" fmla="*/ 0 h 14"/>
                  </a:gdLst>
                  <a:ahLst/>
                  <a:cxnLst>
                    <a:cxn ang="0">
                      <a:pos x="T0" y="T1"/>
                    </a:cxn>
                    <a:cxn ang="0">
                      <a:pos x="T2" y="T3"/>
                    </a:cxn>
                    <a:cxn ang="0">
                      <a:pos x="T4" y="T5"/>
                    </a:cxn>
                    <a:cxn ang="0">
                      <a:pos x="T6" y="T7"/>
                    </a:cxn>
                    <a:cxn ang="0">
                      <a:pos x="T8" y="T9"/>
                    </a:cxn>
                    <a:cxn ang="0">
                      <a:pos x="T10" y="T11"/>
                    </a:cxn>
                  </a:cxnLst>
                  <a:rect l="0" t="0" r="r" b="b"/>
                  <a:pathLst>
                    <a:path w="5" h="14">
                      <a:moveTo>
                        <a:pt x="2" y="0"/>
                      </a:moveTo>
                      <a:cubicBezTo>
                        <a:pt x="2" y="0"/>
                        <a:pt x="2" y="0"/>
                        <a:pt x="1" y="1"/>
                      </a:cubicBezTo>
                      <a:cubicBezTo>
                        <a:pt x="0" y="2"/>
                        <a:pt x="3" y="12"/>
                        <a:pt x="3" y="14"/>
                      </a:cubicBezTo>
                      <a:cubicBezTo>
                        <a:pt x="4" y="12"/>
                        <a:pt x="5" y="9"/>
                        <a:pt x="5" y="6"/>
                      </a:cubicBezTo>
                      <a:cubicBezTo>
                        <a:pt x="5" y="4"/>
                        <a:pt x="3" y="2"/>
                        <a:pt x="4" y="2"/>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20" name="Freeform 200">
                  <a:extLst>
                    <a:ext uri="{FF2B5EF4-FFF2-40B4-BE49-F238E27FC236}">
                      <a16:creationId xmlns:a16="http://schemas.microsoft.com/office/drawing/2014/main" id="{BB78BF28-5421-4561-9662-7DBDFF70AC4A}"/>
                    </a:ext>
                  </a:extLst>
                </p:cNvPr>
                <p:cNvSpPr>
                  <a:spLocks/>
                </p:cNvSpPr>
                <p:nvPr/>
              </p:nvSpPr>
              <p:spPr bwMode="auto">
                <a:xfrm>
                  <a:off x="9345453" y="6434212"/>
                  <a:ext cx="88443" cy="36851"/>
                </a:xfrm>
                <a:custGeom>
                  <a:avLst/>
                  <a:gdLst>
                    <a:gd name="T0" fmla="*/ 23 w 28"/>
                    <a:gd name="T1" fmla="*/ 0 h 12"/>
                    <a:gd name="T2" fmla="*/ 19 w 28"/>
                    <a:gd name="T3" fmla="*/ 0 h 12"/>
                    <a:gd name="T4" fmla="*/ 14 w 28"/>
                    <a:gd name="T5" fmla="*/ 0 h 12"/>
                    <a:gd name="T6" fmla="*/ 14 w 28"/>
                    <a:gd name="T7" fmla="*/ 0 h 12"/>
                    <a:gd name="T8" fmla="*/ 10 w 28"/>
                    <a:gd name="T9" fmla="*/ 6 h 12"/>
                    <a:gd name="T10" fmla="*/ 7 w 28"/>
                    <a:gd name="T11" fmla="*/ 7 h 12"/>
                    <a:gd name="T12" fmla="*/ 0 w 28"/>
                    <a:gd name="T13" fmla="*/ 12 h 12"/>
                    <a:gd name="T14" fmla="*/ 2 w 28"/>
                    <a:gd name="T15" fmla="*/ 12 h 12"/>
                    <a:gd name="T16" fmla="*/ 16 w 28"/>
                    <a:gd name="T17" fmla="*/ 7 h 12"/>
                    <a:gd name="T18" fmla="*/ 17 w 28"/>
                    <a:gd name="T19" fmla="*/ 7 h 12"/>
                    <a:gd name="T20" fmla="*/ 18 w 28"/>
                    <a:gd name="T21" fmla="*/ 7 h 12"/>
                    <a:gd name="T22" fmla="*/ 18 w 28"/>
                    <a:gd name="T23" fmla="*/ 7 h 12"/>
                    <a:gd name="T24" fmla="*/ 19 w 28"/>
                    <a:gd name="T25" fmla="*/ 7 h 12"/>
                    <a:gd name="T26" fmla="*/ 22 w 28"/>
                    <a:gd name="T27" fmla="*/ 5 h 12"/>
                    <a:gd name="T28" fmla="*/ 28 w 28"/>
                    <a:gd name="T29" fmla="*/ 0 h 12"/>
                    <a:gd name="T30" fmla="*/ 25 w 28"/>
                    <a:gd name="T31" fmla="*/ 0 h 12"/>
                    <a:gd name="T32" fmla="*/ 23 w 28"/>
                    <a:gd name="T3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12">
                      <a:moveTo>
                        <a:pt x="23" y="0"/>
                      </a:moveTo>
                      <a:cubicBezTo>
                        <a:pt x="22" y="0"/>
                        <a:pt x="21" y="0"/>
                        <a:pt x="19" y="0"/>
                      </a:cubicBezTo>
                      <a:cubicBezTo>
                        <a:pt x="20" y="0"/>
                        <a:pt x="16" y="0"/>
                        <a:pt x="14" y="0"/>
                      </a:cubicBezTo>
                      <a:cubicBezTo>
                        <a:pt x="14" y="0"/>
                        <a:pt x="14" y="0"/>
                        <a:pt x="14" y="0"/>
                      </a:cubicBezTo>
                      <a:cubicBezTo>
                        <a:pt x="12" y="2"/>
                        <a:pt x="15" y="4"/>
                        <a:pt x="10" y="6"/>
                      </a:cubicBezTo>
                      <a:cubicBezTo>
                        <a:pt x="9" y="6"/>
                        <a:pt x="8" y="6"/>
                        <a:pt x="7" y="7"/>
                      </a:cubicBezTo>
                      <a:cubicBezTo>
                        <a:pt x="4" y="8"/>
                        <a:pt x="0" y="9"/>
                        <a:pt x="0" y="12"/>
                      </a:cubicBezTo>
                      <a:cubicBezTo>
                        <a:pt x="1" y="12"/>
                        <a:pt x="1" y="12"/>
                        <a:pt x="2" y="12"/>
                      </a:cubicBezTo>
                      <a:cubicBezTo>
                        <a:pt x="7" y="10"/>
                        <a:pt x="12" y="7"/>
                        <a:pt x="16" y="7"/>
                      </a:cubicBezTo>
                      <a:cubicBezTo>
                        <a:pt x="16" y="7"/>
                        <a:pt x="16" y="7"/>
                        <a:pt x="17" y="7"/>
                      </a:cubicBezTo>
                      <a:cubicBezTo>
                        <a:pt x="17" y="7"/>
                        <a:pt x="17" y="7"/>
                        <a:pt x="18" y="7"/>
                      </a:cubicBezTo>
                      <a:cubicBezTo>
                        <a:pt x="18" y="7"/>
                        <a:pt x="18" y="7"/>
                        <a:pt x="18" y="7"/>
                      </a:cubicBezTo>
                      <a:cubicBezTo>
                        <a:pt x="19" y="7"/>
                        <a:pt x="19" y="7"/>
                        <a:pt x="19" y="7"/>
                      </a:cubicBezTo>
                      <a:cubicBezTo>
                        <a:pt x="20" y="7"/>
                        <a:pt x="22" y="5"/>
                        <a:pt x="22" y="5"/>
                      </a:cubicBezTo>
                      <a:cubicBezTo>
                        <a:pt x="24" y="3"/>
                        <a:pt x="25" y="1"/>
                        <a:pt x="28" y="0"/>
                      </a:cubicBezTo>
                      <a:cubicBezTo>
                        <a:pt x="27" y="0"/>
                        <a:pt x="26" y="0"/>
                        <a:pt x="25" y="0"/>
                      </a:cubicBezTo>
                      <a:cubicBezTo>
                        <a:pt x="24" y="0"/>
                        <a:pt x="24"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21" name="Freeform 201">
                  <a:extLst>
                    <a:ext uri="{FF2B5EF4-FFF2-40B4-BE49-F238E27FC236}">
                      <a16:creationId xmlns:a16="http://schemas.microsoft.com/office/drawing/2014/main" id="{5B1896FC-B4F9-48D6-B433-41047D638005}"/>
                    </a:ext>
                  </a:extLst>
                </p:cNvPr>
                <p:cNvSpPr>
                  <a:spLocks/>
                </p:cNvSpPr>
                <p:nvPr/>
              </p:nvSpPr>
              <p:spPr bwMode="auto">
                <a:xfrm>
                  <a:off x="9194363" y="6692171"/>
                  <a:ext cx="44221" cy="14740"/>
                </a:xfrm>
                <a:custGeom>
                  <a:avLst/>
                  <a:gdLst>
                    <a:gd name="T0" fmla="*/ 6 w 14"/>
                    <a:gd name="T1" fmla="*/ 0 h 4"/>
                    <a:gd name="T2" fmla="*/ 0 w 14"/>
                    <a:gd name="T3" fmla="*/ 2 h 4"/>
                    <a:gd name="T4" fmla="*/ 5 w 14"/>
                    <a:gd name="T5" fmla="*/ 4 h 4"/>
                    <a:gd name="T6" fmla="*/ 7 w 14"/>
                    <a:gd name="T7" fmla="*/ 0 h 4"/>
                    <a:gd name="T8" fmla="*/ 6 w 14"/>
                    <a:gd name="T9" fmla="*/ 0 h 4"/>
                  </a:gdLst>
                  <a:ahLst/>
                  <a:cxnLst>
                    <a:cxn ang="0">
                      <a:pos x="T0" y="T1"/>
                    </a:cxn>
                    <a:cxn ang="0">
                      <a:pos x="T2" y="T3"/>
                    </a:cxn>
                    <a:cxn ang="0">
                      <a:pos x="T4" y="T5"/>
                    </a:cxn>
                    <a:cxn ang="0">
                      <a:pos x="T6" y="T7"/>
                    </a:cxn>
                    <a:cxn ang="0">
                      <a:pos x="T8" y="T9"/>
                    </a:cxn>
                  </a:cxnLst>
                  <a:rect l="0" t="0" r="r" b="b"/>
                  <a:pathLst>
                    <a:path w="14" h="4">
                      <a:moveTo>
                        <a:pt x="6" y="0"/>
                      </a:moveTo>
                      <a:cubicBezTo>
                        <a:pt x="4" y="0"/>
                        <a:pt x="2" y="1"/>
                        <a:pt x="0" y="2"/>
                      </a:cubicBezTo>
                      <a:cubicBezTo>
                        <a:pt x="2" y="3"/>
                        <a:pt x="3" y="3"/>
                        <a:pt x="5" y="4"/>
                      </a:cubicBezTo>
                      <a:cubicBezTo>
                        <a:pt x="7" y="4"/>
                        <a:pt x="14" y="2"/>
                        <a:pt x="7" y="0"/>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22" name="Freeform 202">
                  <a:extLst>
                    <a:ext uri="{FF2B5EF4-FFF2-40B4-BE49-F238E27FC236}">
                      <a16:creationId xmlns:a16="http://schemas.microsoft.com/office/drawing/2014/main" id="{6B104137-7B8B-4E59-9519-8237ACB96624}"/>
                    </a:ext>
                  </a:extLst>
                </p:cNvPr>
                <p:cNvSpPr>
                  <a:spLocks/>
                </p:cNvSpPr>
                <p:nvPr/>
              </p:nvSpPr>
              <p:spPr bwMode="auto">
                <a:xfrm>
                  <a:off x="9198049" y="40537"/>
                  <a:ext cx="1389288" cy="681746"/>
                </a:xfrm>
                <a:custGeom>
                  <a:avLst/>
                  <a:gdLst>
                    <a:gd name="T0" fmla="*/ 350 w 438"/>
                    <a:gd name="T1" fmla="*/ 16 h 215"/>
                    <a:gd name="T2" fmla="*/ 325 w 438"/>
                    <a:gd name="T3" fmla="*/ 31 h 215"/>
                    <a:gd name="T4" fmla="*/ 292 w 438"/>
                    <a:gd name="T5" fmla="*/ 39 h 215"/>
                    <a:gd name="T6" fmla="*/ 261 w 438"/>
                    <a:gd name="T7" fmla="*/ 44 h 215"/>
                    <a:gd name="T8" fmla="*/ 248 w 438"/>
                    <a:gd name="T9" fmla="*/ 44 h 215"/>
                    <a:gd name="T10" fmla="*/ 241 w 438"/>
                    <a:gd name="T11" fmla="*/ 45 h 215"/>
                    <a:gd name="T12" fmla="*/ 233 w 438"/>
                    <a:gd name="T13" fmla="*/ 43 h 215"/>
                    <a:gd name="T14" fmla="*/ 216 w 438"/>
                    <a:gd name="T15" fmla="*/ 43 h 215"/>
                    <a:gd name="T16" fmla="*/ 198 w 438"/>
                    <a:gd name="T17" fmla="*/ 59 h 215"/>
                    <a:gd name="T18" fmla="*/ 194 w 438"/>
                    <a:gd name="T19" fmla="*/ 52 h 215"/>
                    <a:gd name="T20" fmla="*/ 172 w 438"/>
                    <a:gd name="T21" fmla="*/ 63 h 215"/>
                    <a:gd name="T22" fmla="*/ 146 w 438"/>
                    <a:gd name="T23" fmla="*/ 69 h 215"/>
                    <a:gd name="T24" fmla="*/ 112 w 438"/>
                    <a:gd name="T25" fmla="*/ 87 h 215"/>
                    <a:gd name="T26" fmla="*/ 101 w 438"/>
                    <a:gd name="T27" fmla="*/ 96 h 215"/>
                    <a:gd name="T28" fmla="*/ 82 w 438"/>
                    <a:gd name="T29" fmla="*/ 113 h 215"/>
                    <a:gd name="T30" fmla="*/ 73 w 438"/>
                    <a:gd name="T31" fmla="*/ 108 h 215"/>
                    <a:gd name="T32" fmla="*/ 67 w 438"/>
                    <a:gd name="T33" fmla="*/ 118 h 215"/>
                    <a:gd name="T34" fmla="*/ 79 w 438"/>
                    <a:gd name="T35" fmla="*/ 120 h 215"/>
                    <a:gd name="T36" fmla="*/ 75 w 438"/>
                    <a:gd name="T37" fmla="*/ 123 h 215"/>
                    <a:gd name="T38" fmla="*/ 78 w 438"/>
                    <a:gd name="T39" fmla="*/ 128 h 215"/>
                    <a:gd name="T40" fmla="*/ 92 w 438"/>
                    <a:gd name="T41" fmla="*/ 134 h 215"/>
                    <a:gd name="T42" fmla="*/ 75 w 438"/>
                    <a:gd name="T43" fmla="*/ 133 h 215"/>
                    <a:gd name="T44" fmla="*/ 61 w 438"/>
                    <a:gd name="T45" fmla="*/ 135 h 215"/>
                    <a:gd name="T46" fmla="*/ 65 w 438"/>
                    <a:gd name="T47" fmla="*/ 143 h 215"/>
                    <a:gd name="T48" fmla="*/ 74 w 438"/>
                    <a:gd name="T49" fmla="*/ 146 h 215"/>
                    <a:gd name="T50" fmla="*/ 50 w 438"/>
                    <a:gd name="T51" fmla="*/ 158 h 215"/>
                    <a:gd name="T52" fmla="*/ 58 w 438"/>
                    <a:gd name="T53" fmla="*/ 165 h 215"/>
                    <a:gd name="T54" fmla="*/ 42 w 438"/>
                    <a:gd name="T55" fmla="*/ 163 h 215"/>
                    <a:gd name="T56" fmla="*/ 27 w 438"/>
                    <a:gd name="T57" fmla="*/ 176 h 215"/>
                    <a:gd name="T58" fmla="*/ 1 w 438"/>
                    <a:gd name="T59" fmla="*/ 185 h 215"/>
                    <a:gd name="T60" fmla="*/ 47 w 438"/>
                    <a:gd name="T61" fmla="*/ 189 h 215"/>
                    <a:gd name="T62" fmla="*/ 15 w 438"/>
                    <a:gd name="T63" fmla="*/ 203 h 215"/>
                    <a:gd name="T64" fmla="*/ 36 w 438"/>
                    <a:gd name="T65" fmla="*/ 205 h 215"/>
                    <a:gd name="T66" fmla="*/ 58 w 438"/>
                    <a:gd name="T67" fmla="*/ 210 h 215"/>
                    <a:gd name="T68" fmla="*/ 71 w 438"/>
                    <a:gd name="T69" fmla="*/ 213 h 215"/>
                    <a:gd name="T70" fmla="*/ 101 w 438"/>
                    <a:gd name="T71" fmla="*/ 200 h 215"/>
                    <a:gd name="T72" fmla="*/ 102 w 438"/>
                    <a:gd name="T73" fmla="*/ 198 h 215"/>
                    <a:gd name="T74" fmla="*/ 104 w 438"/>
                    <a:gd name="T75" fmla="*/ 182 h 215"/>
                    <a:gd name="T76" fmla="*/ 119 w 438"/>
                    <a:gd name="T77" fmla="*/ 177 h 215"/>
                    <a:gd name="T78" fmla="*/ 107 w 438"/>
                    <a:gd name="T79" fmla="*/ 164 h 215"/>
                    <a:gd name="T80" fmla="*/ 126 w 438"/>
                    <a:gd name="T81" fmla="*/ 174 h 215"/>
                    <a:gd name="T82" fmla="*/ 134 w 438"/>
                    <a:gd name="T83" fmla="*/ 162 h 215"/>
                    <a:gd name="T84" fmla="*/ 140 w 438"/>
                    <a:gd name="T85" fmla="*/ 149 h 215"/>
                    <a:gd name="T86" fmla="*/ 156 w 438"/>
                    <a:gd name="T87" fmla="*/ 143 h 215"/>
                    <a:gd name="T88" fmla="*/ 171 w 438"/>
                    <a:gd name="T89" fmla="*/ 140 h 215"/>
                    <a:gd name="T90" fmla="*/ 181 w 438"/>
                    <a:gd name="T91" fmla="*/ 133 h 215"/>
                    <a:gd name="T92" fmla="*/ 195 w 438"/>
                    <a:gd name="T93" fmla="*/ 116 h 215"/>
                    <a:gd name="T94" fmla="*/ 227 w 438"/>
                    <a:gd name="T95" fmla="*/ 98 h 215"/>
                    <a:gd name="T96" fmla="*/ 358 w 438"/>
                    <a:gd name="T97" fmla="*/ 61 h 215"/>
                    <a:gd name="T98" fmla="*/ 431 w 438"/>
                    <a:gd name="T99" fmla="*/ 25 h 215"/>
                    <a:gd name="T100" fmla="*/ 426 w 438"/>
                    <a:gd name="T101" fmla="*/ 7 h 215"/>
                    <a:gd name="T102" fmla="*/ 410 w 438"/>
                    <a:gd name="T103" fmla="*/ 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38" h="215">
                      <a:moveTo>
                        <a:pt x="399" y="0"/>
                      </a:moveTo>
                      <a:cubicBezTo>
                        <a:pt x="397" y="0"/>
                        <a:pt x="395" y="0"/>
                        <a:pt x="393" y="1"/>
                      </a:cubicBezTo>
                      <a:cubicBezTo>
                        <a:pt x="388" y="3"/>
                        <a:pt x="384" y="3"/>
                        <a:pt x="379" y="4"/>
                      </a:cubicBezTo>
                      <a:cubicBezTo>
                        <a:pt x="375" y="4"/>
                        <a:pt x="370" y="7"/>
                        <a:pt x="366" y="8"/>
                      </a:cubicBezTo>
                      <a:cubicBezTo>
                        <a:pt x="362" y="10"/>
                        <a:pt x="352" y="13"/>
                        <a:pt x="350" y="16"/>
                      </a:cubicBezTo>
                      <a:cubicBezTo>
                        <a:pt x="347" y="19"/>
                        <a:pt x="348" y="25"/>
                        <a:pt x="352" y="27"/>
                      </a:cubicBezTo>
                      <a:cubicBezTo>
                        <a:pt x="351" y="27"/>
                        <a:pt x="350" y="27"/>
                        <a:pt x="349" y="27"/>
                      </a:cubicBezTo>
                      <a:cubicBezTo>
                        <a:pt x="346" y="27"/>
                        <a:pt x="342" y="26"/>
                        <a:pt x="338" y="25"/>
                      </a:cubicBezTo>
                      <a:cubicBezTo>
                        <a:pt x="338" y="25"/>
                        <a:pt x="338" y="25"/>
                        <a:pt x="338" y="25"/>
                      </a:cubicBezTo>
                      <a:cubicBezTo>
                        <a:pt x="333" y="25"/>
                        <a:pt x="329" y="30"/>
                        <a:pt x="325" y="31"/>
                      </a:cubicBezTo>
                      <a:cubicBezTo>
                        <a:pt x="324" y="31"/>
                        <a:pt x="323" y="30"/>
                        <a:pt x="322" y="30"/>
                      </a:cubicBezTo>
                      <a:cubicBezTo>
                        <a:pt x="318" y="30"/>
                        <a:pt x="309" y="35"/>
                        <a:pt x="307" y="36"/>
                      </a:cubicBezTo>
                      <a:cubicBezTo>
                        <a:pt x="306" y="37"/>
                        <a:pt x="299" y="41"/>
                        <a:pt x="296" y="41"/>
                      </a:cubicBezTo>
                      <a:cubicBezTo>
                        <a:pt x="296" y="41"/>
                        <a:pt x="295" y="41"/>
                        <a:pt x="295" y="41"/>
                      </a:cubicBezTo>
                      <a:cubicBezTo>
                        <a:pt x="293" y="40"/>
                        <a:pt x="293" y="39"/>
                        <a:pt x="292" y="39"/>
                      </a:cubicBezTo>
                      <a:cubicBezTo>
                        <a:pt x="291" y="39"/>
                        <a:pt x="291" y="40"/>
                        <a:pt x="289" y="40"/>
                      </a:cubicBezTo>
                      <a:cubicBezTo>
                        <a:pt x="283" y="40"/>
                        <a:pt x="278" y="42"/>
                        <a:pt x="272" y="44"/>
                      </a:cubicBezTo>
                      <a:cubicBezTo>
                        <a:pt x="270" y="45"/>
                        <a:pt x="267" y="47"/>
                        <a:pt x="265" y="47"/>
                      </a:cubicBezTo>
                      <a:cubicBezTo>
                        <a:pt x="265" y="47"/>
                        <a:pt x="265" y="47"/>
                        <a:pt x="264" y="47"/>
                      </a:cubicBezTo>
                      <a:cubicBezTo>
                        <a:pt x="262" y="47"/>
                        <a:pt x="262" y="45"/>
                        <a:pt x="261" y="44"/>
                      </a:cubicBezTo>
                      <a:cubicBezTo>
                        <a:pt x="260" y="44"/>
                        <a:pt x="260" y="44"/>
                        <a:pt x="260" y="44"/>
                      </a:cubicBezTo>
                      <a:cubicBezTo>
                        <a:pt x="258" y="44"/>
                        <a:pt x="256" y="45"/>
                        <a:pt x="255" y="46"/>
                      </a:cubicBezTo>
                      <a:cubicBezTo>
                        <a:pt x="253" y="47"/>
                        <a:pt x="251" y="48"/>
                        <a:pt x="250" y="48"/>
                      </a:cubicBezTo>
                      <a:cubicBezTo>
                        <a:pt x="249" y="48"/>
                        <a:pt x="248" y="48"/>
                        <a:pt x="248" y="47"/>
                      </a:cubicBezTo>
                      <a:cubicBezTo>
                        <a:pt x="247" y="46"/>
                        <a:pt x="250" y="44"/>
                        <a:pt x="248" y="44"/>
                      </a:cubicBezTo>
                      <a:cubicBezTo>
                        <a:pt x="248" y="44"/>
                        <a:pt x="247" y="44"/>
                        <a:pt x="247" y="44"/>
                      </a:cubicBezTo>
                      <a:cubicBezTo>
                        <a:pt x="246" y="44"/>
                        <a:pt x="245" y="45"/>
                        <a:pt x="244" y="45"/>
                      </a:cubicBezTo>
                      <a:cubicBezTo>
                        <a:pt x="243" y="45"/>
                        <a:pt x="243" y="45"/>
                        <a:pt x="243" y="45"/>
                      </a:cubicBezTo>
                      <a:cubicBezTo>
                        <a:pt x="243" y="45"/>
                        <a:pt x="242" y="45"/>
                        <a:pt x="242" y="45"/>
                      </a:cubicBezTo>
                      <a:cubicBezTo>
                        <a:pt x="242" y="45"/>
                        <a:pt x="241" y="45"/>
                        <a:pt x="241" y="45"/>
                      </a:cubicBezTo>
                      <a:cubicBezTo>
                        <a:pt x="240" y="45"/>
                        <a:pt x="240" y="45"/>
                        <a:pt x="239" y="45"/>
                      </a:cubicBezTo>
                      <a:cubicBezTo>
                        <a:pt x="239" y="45"/>
                        <a:pt x="238" y="45"/>
                        <a:pt x="238" y="45"/>
                      </a:cubicBezTo>
                      <a:cubicBezTo>
                        <a:pt x="237" y="44"/>
                        <a:pt x="236" y="43"/>
                        <a:pt x="235" y="42"/>
                      </a:cubicBezTo>
                      <a:cubicBezTo>
                        <a:pt x="235" y="42"/>
                        <a:pt x="235" y="42"/>
                        <a:pt x="235" y="42"/>
                      </a:cubicBezTo>
                      <a:cubicBezTo>
                        <a:pt x="234" y="42"/>
                        <a:pt x="234" y="42"/>
                        <a:pt x="233" y="43"/>
                      </a:cubicBezTo>
                      <a:cubicBezTo>
                        <a:pt x="233" y="43"/>
                        <a:pt x="232" y="43"/>
                        <a:pt x="232" y="43"/>
                      </a:cubicBezTo>
                      <a:cubicBezTo>
                        <a:pt x="231" y="43"/>
                        <a:pt x="231" y="43"/>
                        <a:pt x="231" y="43"/>
                      </a:cubicBezTo>
                      <a:cubicBezTo>
                        <a:pt x="230" y="42"/>
                        <a:pt x="229" y="42"/>
                        <a:pt x="228" y="42"/>
                      </a:cubicBezTo>
                      <a:cubicBezTo>
                        <a:pt x="228" y="42"/>
                        <a:pt x="227" y="42"/>
                        <a:pt x="227" y="42"/>
                      </a:cubicBezTo>
                      <a:cubicBezTo>
                        <a:pt x="223" y="42"/>
                        <a:pt x="220" y="43"/>
                        <a:pt x="216" y="43"/>
                      </a:cubicBezTo>
                      <a:cubicBezTo>
                        <a:pt x="212" y="44"/>
                        <a:pt x="208" y="44"/>
                        <a:pt x="210" y="50"/>
                      </a:cubicBezTo>
                      <a:cubicBezTo>
                        <a:pt x="211" y="52"/>
                        <a:pt x="213" y="50"/>
                        <a:pt x="213" y="53"/>
                      </a:cubicBezTo>
                      <a:cubicBezTo>
                        <a:pt x="213" y="55"/>
                        <a:pt x="208" y="56"/>
                        <a:pt x="206" y="56"/>
                      </a:cubicBezTo>
                      <a:cubicBezTo>
                        <a:pt x="203" y="57"/>
                        <a:pt x="201" y="59"/>
                        <a:pt x="198" y="59"/>
                      </a:cubicBezTo>
                      <a:cubicBezTo>
                        <a:pt x="198" y="59"/>
                        <a:pt x="198" y="59"/>
                        <a:pt x="198" y="59"/>
                      </a:cubicBezTo>
                      <a:cubicBezTo>
                        <a:pt x="197" y="59"/>
                        <a:pt x="196" y="59"/>
                        <a:pt x="196" y="59"/>
                      </a:cubicBezTo>
                      <a:cubicBezTo>
                        <a:pt x="195" y="59"/>
                        <a:pt x="195" y="59"/>
                        <a:pt x="194" y="59"/>
                      </a:cubicBezTo>
                      <a:cubicBezTo>
                        <a:pt x="194" y="59"/>
                        <a:pt x="194" y="59"/>
                        <a:pt x="194" y="59"/>
                      </a:cubicBezTo>
                      <a:cubicBezTo>
                        <a:pt x="196" y="56"/>
                        <a:pt x="200" y="52"/>
                        <a:pt x="195" y="52"/>
                      </a:cubicBezTo>
                      <a:cubicBezTo>
                        <a:pt x="195" y="52"/>
                        <a:pt x="194" y="52"/>
                        <a:pt x="194" y="52"/>
                      </a:cubicBezTo>
                      <a:cubicBezTo>
                        <a:pt x="190" y="53"/>
                        <a:pt x="188" y="53"/>
                        <a:pt x="185" y="56"/>
                      </a:cubicBezTo>
                      <a:cubicBezTo>
                        <a:pt x="187" y="57"/>
                        <a:pt x="188" y="58"/>
                        <a:pt x="190" y="59"/>
                      </a:cubicBezTo>
                      <a:cubicBezTo>
                        <a:pt x="187" y="60"/>
                        <a:pt x="183" y="60"/>
                        <a:pt x="180" y="61"/>
                      </a:cubicBezTo>
                      <a:cubicBezTo>
                        <a:pt x="179" y="61"/>
                        <a:pt x="177" y="62"/>
                        <a:pt x="176" y="63"/>
                      </a:cubicBezTo>
                      <a:cubicBezTo>
                        <a:pt x="174" y="63"/>
                        <a:pt x="173" y="63"/>
                        <a:pt x="172" y="63"/>
                      </a:cubicBezTo>
                      <a:cubicBezTo>
                        <a:pt x="171" y="63"/>
                        <a:pt x="170" y="63"/>
                        <a:pt x="169" y="63"/>
                      </a:cubicBezTo>
                      <a:cubicBezTo>
                        <a:pt x="169" y="63"/>
                        <a:pt x="168" y="63"/>
                        <a:pt x="167" y="63"/>
                      </a:cubicBezTo>
                      <a:cubicBezTo>
                        <a:pt x="166" y="63"/>
                        <a:pt x="165" y="63"/>
                        <a:pt x="165" y="63"/>
                      </a:cubicBezTo>
                      <a:cubicBezTo>
                        <a:pt x="160" y="64"/>
                        <a:pt x="157" y="67"/>
                        <a:pt x="153" y="68"/>
                      </a:cubicBezTo>
                      <a:cubicBezTo>
                        <a:pt x="150" y="68"/>
                        <a:pt x="148" y="68"/>
                        <a:pt x="146" y="69"/>
                      </a:cubicBezTo>
                      <a:cubicBezTo>
                        <a:pt x="140" y="72"/>
                        <a:pt x="136" y="76"/>
                        <a:pt x="129" y="78"/>
                      </a:cubicBezTo>
                      <a:cubicBezTo>
                        <a:pt x="129" y="78"/>
                        <a:pt x="125" y="78"/>
                        <a:pt x="125" y="78"/>
                      </a:cubicBezTo>
                      <a:cubicBezTo>
                        <a:pt x="123" y="80"/>
                        <a:pt x="128" y="81"/>
                        <a:pt x="129" y="82"/>
                      </a:cubicBezTo>
                      <a:cubicBezTo>
                        <a:pt x="130" y="84"/>
                        <a:pt x="122" y="85"/>
                        <a:pt x="120" y="85"/>
                      </a:cubicBezTo>
                      <a:cubicBezTo>
                        <a:pt x="117" y="86"/>
                        <a:pt x="114" y="86"/>
                        <a:pt x="112" y="87"/>
                      </a:cubicBezTo>
                      <a:cubicBezTo>
                        <a:pt x="109" y="89"/>
                        <a:pt x="113" y="92"/>
                        <a:pt x="114" y="95"/>
                      </a:cubicBezTo>
                      <a:cubicBezTo>
                        <a:pt x="115" y="96"/>
                        <a:pt x="116" y="97"/>
                        <a:pt x="115" y="98"/>
                      </a:cubicBezTo>
                      <a:cubicBezTo>
                        <a:pt x="115" y="99"/>
                        <a:pt x="114" y="99"/>
                        <a:pt x="114" y="99"/>
                      </a:cubicBezTo>
                      <a:cubicBezTo>
                        <a:pt x="112" y="99"/>
                        <a:pt x="110" y="98"/>
                        <a:pt x="109" y="97"/>
                      </a:cubicBezTo>
                      <a:cubicBezTo>
                        <a:pt x="106" y="96"/>
                        <a:pt x="105" y="96"/>
                        <a:pt x="101" y="96"/>
                      </a:cubicBezTo>
                      <a:cubicBezTo>
                        <a:pt x="99" y="96"/>
                        <a:pt x="98" y="95"/>
                        <a:pt x="97" y="95"/>
                      </a:cubicBezTo>
                      <a:cubicBezTo>
                        <a:pt x="96" y="95"/>
                        <a:pt x="95" y="96"/>
                        <a:pt x="93" y="96"/>
                      </a:cubicBezTo>
                      <a:cubicBezTo>
                        <a:pt x="90" y="97"/>
                        <a:pt x="86" y="99"/>
                        <a:pt x="91" y="101"/>
                      </a:cubicBezTo>
                      <a:cubicBezTo>
                        <a:pt x="96" y="103"/>
                        <a:pt x="87" y="109"/>
                        <a:pt x="85" y="111"/>
                      </a:cubicBezTo>
                      <a:cubicBezTo>
                        <a:pt x="84" y="111"/>
                        <a:pt x="83" y="112"/>
                        <a:pt x="82" y="113"/>
                      </a:cubicBezTo>
                      <a:cubicBezTo>
                        <a:pt x="81" y="113"/>
                        <a:pt x="81" y="113"/>
                        <a:pt x="81" y="113"/>
                      </a:cubicBezTo>
                      <a:cubicBezTo>
                        <a:pt x="80" y="113"/>
                        <a:pt x="80" y="112"/>
                        <a:pt x="80" y="111"/>
                      </a:cubicBezTo>
                      <a:cubicBezTo>
                        <a:pt x="79" y="109"/>
                        <a:pt x="78" y="107"/>
                        <a:pt x="77" y="107"/>
                      </a:cubicBezTo>
                      <a:cubicBezTo>
                        <a:pt x="76" y="107"/>
                        <a:pt x="75" y="107"/>
                        <a:pt x="75" y="108"/>
                      </a:cubicBezTo>
                      <a:cubicBezTo>
                        <a:pt x="74" y="108"/>
                        <a:pt x="73" y="108"/>
                        <a:pt x="73" y="108"/>
                      </a:cubicBezTo>
                      <a:cubicBezTo>
                        <a:pt x="71" y="108"/>
                        <a:pt x="71" y="105"/>
                        <a:pt x="69" y="105"/>
                      </a:cubicBezTo>
                      <a:cubicBezTo>
                        <a:pt x="69" y="105"/>
                        <a:pt x="68" y="105"/>
                        <a:pt x="68" y="105"/>
                      </a:cubicBezTo>
                      <a:cubicBezTo>
                        <a:pt x="66" y="105"/>
                        <a:pt x="58" y="109"/>
                        <a:pt x="60" y="112"/>
                      </a:cubicBezTo>
                      <a:cubicBezTo>
                        <a:pt x="60" y="113"/>
                        <a:pt x="64" y="112"/>
                        <a:pt x="65" y="113"/>
                      </a:cubicBezTo>
                      <a:cubicBezTo>
                        <a:pt x="66" y="115"/>
                        <a:pt x="65" y="118"/>
                        <a:pt x="67" y="118"/>
                      </a:cubicBezTo>
                      <a:cubicBezTo>
                        <a:pt x="67" y="118"/>
                        <a:pt x="67" y="118"/>
                        <a:pt x="67" y="118"/>
                      </a:cubicBezTo>
                      <a:cubicBezTo>
                        <a:pt x="70" y="117"/>
                        <a:pt x="72" y="116"/>
                        <a:pt x="75" y="116"/>
                      </a:cubicBezTo>
                      <a:cubicBezTo>
                        <a:pt x="76" y="116"/>
                        <a:pt x="77" y="115"/>
                        <a:pt x="78" y="115"/>
                      </a:cubicBezTo>
                      <a:cubicBezTo>
                        <a:pt x="80" y="115"/>
                        <a:pt x="79" y="116"/>
                        <a:pt x="77" y="119"/>
                      </a:cubicBezTo>
                      <a:cubicBezTo>
                        <a:pt x="78" y="120"/>
                        <a:pt x="78" y="120"/>
                        <a:pt x="79" y="120"/>
                      </a:cubicBezTo>
                      <a:cubicBezTo>
                        <a:pt x="79" y="120"/>
                        <a:pt x="79" y="120"/>
                        <a:pt x="79" y="120"/>
                      </a:cubicBezTo>
                      <a:cubicBezTo>
                        <a:pt x="80" y="120"/>
                        <a:pt x="81" y="120"/>
                        <a:pt x="82" y="120"/>
                      </a:cubicBezTo>
                      <a:cubicBezTo>
                        <a:pt x="83" y="119"/>
                        <a:pt x="84" y="119"/>
                        <a:pt x="85" y="119"/>
                      </a:cubicBezTo>
                      <a:cubicBezTo>
                        <a:pt x="85" y="119"/>
                        <a:pt x="86" y="119"/>
                        <a:pt x="85" y="120"/>
                      </a:cubicBezTo>
                      <a:cubicBezTo>
                        <a:pt x="83" y="122"/>
                        <a:pt x="78" y="122"/>
                        <a:pt x="75" y="123"/>
                      </a:cubicBezTo>
                      <a:cubicBezTo>
                        <a:pt x="72" y="123"/>
                        <a:pt x="70" y="124"/>
                        <a:pt x="68" y="125"/>
                      </a:cubicBezTo>
                      <a:cubicBezTo>
                        <a:pt x="66" y="126"/>
                        <a:pt x="59" y="127"/>
                        <a:pt x="64" y="129"/>
                      </a:cubicBezTo>
                      <a:cubicBezTo>
                        <a:pt x="65" y="130"/>
                        <a:pt x="65" y="130"/>
                        <a:pt x="66" y="130"/>
                      </a:cubicBezTo>
                      <a:cubicBezTo>
                        <a:pt x="67" y="130"/>
                        <a:pt x="70" y="129"/>
                        <a:pt x="72" y="129"/>
                      </a:cubicBezTo>
                      <a:cubicBezTo>
                        <a:pt x="74" y="129"/>
                        <a:pt x="76" y="128"/>
                        <a:pt x="78" y="128"/>
                      </a:cubicBezTo>
                      <a:cubicBezTo>
                        <a:pt x="79" y="128"/>
                        <a:pt x="80" y="128"/>
                        <a:pt x="81" y="129"/>
                      </a:cubicBezTo>
                      <a:cubicBezTo>
                        <a:pt x="82" y="132"/>
                        <a:pt x="83" y="134"/>
                        <a:pt x="86" y="134"/>
                      </a:cubicBezTo>
                      <a:cubicBezTo>
                        <a:pt x="86" y="135"/>
                        <a:pt x="87" y="135"/>
                        <a:pt x="87" y="135"/>
                      </a:cubicBezTo>
                      <a:cubicBezTo>
                        <a:pt x="88" y="135"/>
                        <a:pt x="89" y="134"/>
                        <a:pt x="90" y="134"/>
                      </a:cubicBezTo>
                      <a:cubicBezTo>
                        <a:pt x="90" y="134"/>
                        <a:pt x="91" y="134"/>
                        <a:pt x="92" y="134"/>
                      </a:cubicBezTo>
                      <a:cubicBezTo>
                        <a:pt x="93" y="134"/>
                        <a:pt x="93" y="134"/>
                        <a:pt x="94" y="134"/>
                      </a:cubicBezTo>
                      <a:cubicBezTo>
                        <a:pt x="92" y="135"/>
                        <a:pt x="91" y="136"/>
                        <a:pt x="89" y="136"/>
                      </a:cubicBezTo>
                      <a:cubicBezTo>
                        <a:pt x="87" y="136"/>
                        <a:pt x="84" y="135"/>
                        <a:pt x="82" y="135"/>
                      </a:cubicBezTo>
                      <a:cubicBezTo>
                        <a:pt x="80" y="134"/>
                        <a:pt x="78" y="133"/>
                        <a:pt x="76" y="133"/>
                      </a:cubicBezTo>
                      <a:cubicBezTo>
                        <a:pt x="76" y="133"/>
                        <a:pt x="76" y="133"/>
                        <a:pt x="75" y="133"/>
                      </a:cubicBezTo>
                      <a:cubicBezTo>
                        <a:pt x="73" y="134"/>
                        <a:pt x="71" y="135"/>
                        <a:pt x="68" y="135"/>
                      </a:cubicBezTo>
                      <a:cubicBezTo>
                        <a:pt x="67" y="136"/>
                        <a:pt x="66" y="136"/>
                        <a:pt x="65" y="136"/>
                      </a:cubicBezTo>
                      <a:cubicBezTo>
                        <a:pt x="64" y="136"/>
                        <a:pt x="64" y="136"/>
                        <a:pt x="64" y="136"/>
                      </a:cubicBezTo>
                      <a:cubicBezTo>
                        <a:pt x="63" y="136"/>
                        <a:pt x="63" y="135"/>
                        <a:pt x="62" y="135"/>
                      </a:cubicBezTo>
                      <a:cubicBezTo>
                        <a:pt x="61" y="135"/>
                        <a:pt x="61" y="135"/>
                        <a:pt x="61" y="135"/>
                      </a:cubicBezTo>
                      <a:cubicBezTo>
                        <a:pt x="59" y="135"/>
                        <a:pt x="55" y="135"/>
                        <a:pt x="55" y="136"/>
                      </a:cubicBezTo>
                      <a:cubicBezTo>
                        <a:pt x="53" y="139"/>
                        <a:pt x="58" y="143"/>
                        <a:pt x="60" y="143"/>
                      </a:cubicBezTo>
                      <a:cubicBezTo>
                        <a:pt x="61" y="143"/>
                        <a:pt x="61" y="143"/>
                        <a:pt x="62" y="143"/>
                      </a:cubicBezTo>
                      <a:cubicBezTo>
                        <a:pt x="62" y="143"/>
                        <a:pt x="63" y="143"/>
                        <a:pt x="63" y="143"/>
                      </a:cubicBezTo>
                      <a:cubicBezTo>
                        <a:pt x="64" y="143"/>
                        <a:pt x="65" y="143"/>
                        <a:pt x="65" y="143"/>
                      </a:cubicBezTo>
                      <a:cubicBezTo>
                        <a:pt x="66" y="143"/>
                        <a:pt x="67" y="143"/>
                        <a:pt x="68" y="144"/>
                      </a:cubicBezTo>
                      <a:cubicBezTo>
                        <a:pt x="69" y="144"/>
                        <a:pt x="70" y="145"/>
                        <a:pt x="71" y="146"/>
                      </a:cubicBezTo>
                      <a:cubicBezTo>
                        <a:pt x="71" y="146"/>
                        <a:pt x="71" y="146"/>
                        <a:pt x="71" y="146"/>
                      </a:cubicBezTo>
                      <a:cubicBezTo>
                        <a:pt x="72" y="146"/>
                        <a:pt x="72" y="146"/>
                        <a:pt x="73" y="146"/>
                      </a:cubicBezTo>
                      <a:cubicBezTo>
                        <a:pt x="73" y="146"/>
                        <a:pt x="74" y="146"/>
                        <a:pt x="74" y="146"/>
                      </a:cubicBezTo>
                      <a:cubicBezTo>
                        <a:pt x="74" y="146"/>
                        <a:pt x="74" y="146"/>
                        <a:pt x="74" y="146"/>
                      </a:cubicBezTo>
                      <a:cubicBezTo>
                        <a:pt x="68" y="149"/>
                        <a:pt x="59" y="147"/>
                        <a:pt x="52" y="149"/>
                      </a:cubicBezTo>
                      <a:cubicBezTo>
                        <a:pt x="50" y="149"/>
                        <a:pt x="42" y="151"/>
                        <a:pt x="49" y="154"/>
                      </a:cubicBezTo>
                      <a:cubicBezTo>
                        <a:pt x="52" y="155"/>
                        <a:pt x="57" y="154"/>
                        <a:pt x="59" y="156"/>
                      </a:cubicBezTo>
                      <a:cubicBezTo>
                        <a:pt x="56" y="157"/>
                        <a:pt x="53" y="158"/>
                        <a:pt x="50" y="158"/>
                      </a:cubicBezTo>
                      <a:cubicBezTo>
                        <a:pt x="49" y="158"/>
                        <a:pt x="49" y="158"/>
                        <a:pt x="49" y="158"/>
                      </a:cubicBezTo>
                      <a:cubicBezTo>
                        <a:pt x="47" y="157"/>
                        <a:pt x="46" y="157"/>
                        <a:pt x="45" y="157"/>
                      </a:cubicBezTo>
                      <a:cubicBezTo>
                        <a:pt x="44" y="157"/>
                        <a:pt x="43" y="157"/>
                        <a:pt x="41" y="158"/>
                      </a:cubicBezTo>
                      <a:cubicBezTo>
                        <a:pt x="43" y="160"/>
                        <a:pt x="48" y="161"/>
                        <a:pt x="51" y="161"/>
                      </a:cubicBezTo>
                      <a:cubicBezTo>
                        <a:pt x="54" y="162"/>
                        <a:pt x="55" y="164"/>
                        <a:pt x="58" y="165"/>
                      </a:cubicBezTo>
                      <a:cubicBezTo>
                        <a:pt x="59" y="165"/>
                        <a:pt x="61" y="165"/>
                        <a:pt x="62" y="166"/>
                      </a:cubicBezTo>
                      <a:cubicBezTo>
                        <a:pt x="62" y="167"/>
                        <a:pt x="61" y="167"/>
                        <a:pt x="60" y="167"/>
                      </a:cubicBezTo>
                      <a:cubicBezTo>
                        <a:pt x="59" y="167"/>
                        <a:pt x="57" y="167"/>
                        <a:pt x="57" y="167"/>
                      </a:cubicBezTo>
                      <a:cubicBezTo>
                        <a:pt x="55" y="167"/>
                        <a:pt x="52" y="166"/>
                        <a:pt x="49" y="165"/>
                      </a:cubicBezTo>
                      <a:cubicBezTo>
                        <a:pt x="46" y="165"/>
                        <a:pt x="45" y="163"/>
                        <a:pt x="42" y="163"/>
                      </a:cubicBezTo>
                      <a:cubicBezTo>
                        <a:pt x="42" y="163"/>
                        <a:pt x="42" y="163"/>
                        <a:pt x="41" y="163"/>
                      </a:cubicBezTo>
                      <a:cubicBezTo>
                        <a:pt x="39" y="164"/>
                        <a:pt x="37" y="165"/>
                        <a:pt x="35" y="166"/>
                      </a:cubicBezTo>
                      <a:cubicBezTo>
                        <a:pt x="33" y="167"/>
                        <a:pt x="30" y="168"/>
                        <a:pt x="29" y="170"/>
                      </a:cubicBezTo>
                      <a:cubicBezTo>
                        <a:pt x="27" y="173"/>
                        <a:pt x="28" y="172"/>
                        <a:pt x="31" y="174"/>
                      </a:cubicBezTo>
                      <a:cubicBezTo>
                        <a:pt x="33" y="175"/>
                        <a:pt x="28" y="176"/>
                        <a:pt x="27" y="176"/>
                      </a:cubicBezTo>
                      <a:cubicBezTo>
                        <a:pt x="22" y="177"/>
                        <a:pt x="19" y="179"/>
                        <a:pt x="14" y="180"/>
                      </a:cubicBezTo>
                      <a:cubicBezTo>
                        <a:pt x="11" y="181"/>
                        <a:pt x="10" y="184"/>
                        <a:pt x="8" y="185"/>
                      </a:cubicBezTo>
                      <a:cubicBezTo>
                        <a:pt x="7" y="185"/>
                        <a:pt x="6" y="186"/>
                        <a:pt x="6" y="186"/>
                      </a:cubicBezTo>
                      <a:cubicBezTo>
                        <a:pt x="5" y="186"/>
                        <a:pt x="4" y="185"/>
                        <a:pt x="3" y="185"/>
                      </a:cubicBezTo>
                      <a:cubicBezTo>
                        <a:pt x="2" y="185"/>
                        <a:pt x="1" y="185"/>
                        <a:pt x="1" y="185"/>
                      </a:cubicBezTo>
                      <a:cubicBezTo>
                        <a:pt x="0" y="185"/>
                        <a:pt x="0" y="185"/>
                        <a:pt x="0" y="185"/>
                      </a:cubicBezTo>
                      <a:cubicBezTo>
                        <a:pt x="6" y="189"/>
                        <a:pt x="13" y="190"/>
                        <a:pt x="20" y="190"/>
                      </a:cubicBezTo>
                      <a:cubicBezTo>
                        <a:pt x="24" y="190"/>
                        <a:pt x="27" y="189"/>
                        <a:pt x="31" y="189"/>
                      </a:cubicBezTo>
                      <a:cubicBezTo>
                        <a:pt x="34" y="189"/>
                        <a:pt x="39" y="189"/>
                        <a:pt x="43" y="189"/>
                      </a:cubicBezTo>
                      <a:cubicBezTo>
                        <a:pt x="44" y="189"/>
                        <a:pt x="46" y="189"/>
                        <a:pt x="47" y="189"/>
                      </a:cubicBezTo>
                      <a:cubicBezTo>
                        <a:pt x="44" y="190"/>
                        <a:pt x="40" y="191"/>
                        <a:pt x="36" y="192"/>
                      </a:cubicBezTo>
                      <a:cubicBezTo>
                        <a:pt x="35" y="192"/>
                        <a:pt x="33" y="192"/>
                        <a:pt x="31" y="192"/>
                      </a:cubicBezTo>
                      <a:cubicBezTo>
                        <a:pt x="30" y="193"/>
                        <a:pt x="29" y="194"/>
                        <a:pt x="27" y="195"/>
                      </a:cubicBezTo>
                      <a:cubicBezTo>
                        <a:pt x="24" y="195"/>
                        <a:pt x="21" y="197"/>
                        <a:pt x="19" y="199"/>
                      </a:cubicBezTo>
                      <a:cubicBezTo>
                        <a:pt x="17" y="200"/>
                        <a:pt x="15" y="201"/>
                        <a:pt x="15" y="203"/>
                      </a:cubicBezTo>
                      <a:cubicBezTo>
                        <a:pt x="15" y="206"/>
                        <a:pt x="13" y="206"/>
                        <a:pt x="11" y="207"/>
                      </a:cubicBezTo>
                      <a:cubicBezTo>
                        <a:pt x="15" y="208"/>
                        <a:pt x="19" y="208"/>
                        <a:pt x="24" y="208"/>
                      </a:cubicBezTo>
                      <a:cubicBezTo>
                        <a:pt x="24" y="208"/>
                        <a:pt x="24" y="208"/>
                        <a:pt x="24" y="208"/>
                      </a:cubicBezTo>
                      <a:cubicBezTo>
                        <a:pt x="24" y="208"/>
                        <a:pt x="24" y="208"/>
                        <a:pt x="24" y="208"/>
                      </a:cubicBezTo>
                      <a:cubicBezTo>
                        <a:pt x="27" y="207"/>
                        <a:pt x="32" y="205"/>
                        <a:pt x="36" y="205"/>
                      </a:cubicBezTo>
                      <a:cubicBezTo>
                        <a:pt x="36" y="205"/>
                        <a:pt x="37" y="205"/>
                        <a:pt x="37" y="205"/>
                      </a:cubicBezTo>
                      <a:cubicBezTo>
                        <a:pt x="41" y="206"/>
                        <a:pt x="44" y="209"/>
                        <a:pt x="47" y="209"/>
                      </a:cubicBezTo>
                      <a:cubicBezTo>
                        <a:pt x="49" y="210"/>
                        <a:pt x="51" y="210"/>
                        <a:pt x="53" y="210"/>
                      </a:cubicBezTo>
                      <a:cubicBezTo>
                        <a:pt x="54" y="210"/>
                        <a:pt x="55" y="210"/>
                        <a:pt x="56" y="210"/>
                      </a:cubicBezTo>
                      <a:cubicBezTo>
                        <a:pt x="57" y="210"/>
                        <a:pt x="58" y="210"/>
                        <a:pt x="58" y="210"/>
                      </a:cubicBezTo>
                      <a:cubicBezTo>
                        <a:pt x="59" y="210"/>
                        <a:pt x="60" y="210"/>
                        <a:pt x="61" y="210"/>
                      </a:cubicBezTo>
                      <a:cubicBezTo>
                        <a:pt x="62" y="210"/>
                        <a:pt x="63" y="211"/>
                        <a:pt x="63" y="211"/>
                      </a:cubicBezTo>
                      <a:cubicBezTo>
                        <a:pt x="64" y="211"/>
                        <a:pt x="64" y="210"/>
                        <a:pt x="64" y="210"/>
                      </a:cubicBezTo>
                      <a:cubicBezTo>
                        <a:pt x="65" y="209"/>
                        <a:pt x="65" y="206"/>
                        <a:pt x="64" y="205"/>
                      </a:cubicBezTo>
                      <a:cubicBezTo>
                        <a:pt x="67" y="207"/>
                        <a:pt x="68" y="212"/>
                        <a:pt x="71" y="213"/>
                      </a:cubicBezTo>
                      <a:cubicBezTo>
                        <a:pt x="74" y="213"/>
                        <a:pt x="77" y="213"/>
                        <a:pt x="80" y="213"/>
                      </a:cubicBezTo>
                      <a:cubicBezTo>
                        <a:pt x="81" y="214"/>
                        <a:pt x="84" y="215"/>
                        <a:pt x="86" y="215"/>
                      </a:cubicBezTo>
                      <a:cubicBezTo>
                        <a:pt x="87" y="215"/>
                        <a:pt x="88" y="214"/>
                        <a:pt x="88" y="214"/>
                      </a:cubicBezTo>
                      <a:cubicBezTo>
                        <a:pt x="89" y="210"/>
                        <a:pt x="89" y="208"/>
                        <a:pt x="92" y="206"/>
                      </a:cubicBezTo>
                      <a:cubicBezTo>
                        <a:pt x="95" y="204"/>
                        <a:pt x="99" y="203"/>
                        <a:pt x="101" y="200"/>
                      </a:cubicBezTo>
                      <a:cubicBezTo>
                        <a:pt x="99" y="199"/>
                        <a:pt x="96" y="197"/>
                        <a:pt x="94" y="196"/>
                      </a:cubicBezTo>
                      <a:cubicBezTo>
                        <a:pt x="93" y="196"/>
                        <a:pt x="91" y="196"/>
                        <a:pt x="90" y="196"/>
                      </a:cubicBezTo>
                      <a:cubicBezTo>
                        <a:pt x="88" y="195"/>
                        <a:pt x="89" y="193"/>
                        <a:pt x="87" y="192"/>
                      </a:cubicBezTo>
                      <a:cubicBezTo>
                        <a:pt x="93" y="193"/>
                        <a:pt x="97" y="197"/>
                        <a:pt x="102" y="198"/>
                      </a:cubicBezTo>
                      <a:cubicBezTo>
                        <a:pt x="102" y="198"/>
                        <a:pt x="102" y="198"/>
                        <a:pt x="102" y="198"/>
                      </a:cubicBezTo>
                      <a:cubicBezTo>
                        <a:pt x="106" y="198"/>
                        <a:pt x="111" y="192"/>
                        <a:pt x="110" y="188"/>
                      </a:cubicBezTo>
                      <a:cubicBezTo>
                        <a:pt x="110" y="187"/>
                        <a:pt x="107" y="185"/>
                        <a:pt x="106" y="184"/>
                      </a:cubicBezTo>
                      <a:cubicBezTo>
                        <a:pt x="100" y="181"/>
                        <a:pt x="90" y="184"/>
                        <a:pt x="84" y="180"/>
                      </a:cubicBezTo>
                      <a:cubicBezTo>
                        <a:pt x="85" y="180"/>
                        <a:pt x="86" y="180"/>
                        <a:pt x="88" y="180"/>
                      </a:cubicBezTo>
                      <a:cubicBezTo>
                        <a:pt x="93" y="180"/>
                        <a:pt x="99" y="181"/>
                        <a:pt x="104" y="182"/>
                      </a:cubicBezTo>
                      <a:cubicBezTo>
                        <a:pt x="107" y="182"/>
                        <a:pt x="108" y="183"/>
                        <a:pt x="110" y="184"/>
                      </a:cubicBezTo>
                      <a:cubicBezTo>
                        <a:pt x="111" y="185"/>
                        <a:pt x="113" y="189"/>
                        <a:pt x="115" y="189"/>
                      </a:cubicBezTo>
                      <a:cubicBezTo>
                        <a:pt x="115" y="189"/>
                        <a:pt x="115" y="189"/>
                        <a:pt x="115" y="189"/>
                      </a:cubicBezTo>
                      <a:cubicBezTo>
                        <a:pt x="119" y="189"/>
                        <a:pt x="119" y="180"/>
                        <a:pt x="119" y="178"/>
                      </a:cubicBezTo>
                      <a:cubicBezTo>
                        <a:pt x="119" y="178"/>
                        <a:pt x="121" y="177"/>
                        <a:pt x="119" y="177"/>
                      </a:cubicBezTo>
                      <a:cubicBezTo>
                        <a:pt x="119" y="176"/>
                        <a:pt x="118" y="176"/>
                        <a:pt x="118" y="176"/>
                      </a:cubicBezTo>
                      <a:cubicBezTo>
                        <a:pt x="117" y="175"/>
                        <a:pt x="116" y="175"/>
                        <a:pt x="115" y="174"/>
                      </a:cubicBezTo>
                      <a:cubicBezTo>
                        <a:pt x="114" y="173"/>
                        <a:pt x="112" y="170"/>
                        <a:pt x="110" y="170"/>
                      </a:cubicBezTo>
                      <a:cubicBezTo>
                        <a:pt x="108" y="170"/>
                        <a:pt x="105" y="169"/>
                        <a:pt x="103" y="169"/>
                      </a:cubicBezTo>
                      <a:cubicBezTo>
                        <a:pt x="105" y="167"/>
                        <a:pt x="110" y="166"/>
                        <a:pt x="107" y="164"/>
                      </a:cubicBezTo>
                      <a:cubicBezTo>
                        <a:pt x="113" y="165"/>
                        <a:pt x="116" y="173"/>
                        <a:pt x="123" y="173"/>
                      </a:cubicBezTo>
                      <a:cubicBezTo>
                        <a:pt x="123" y="173"/>
                        <a:pt x="123" y="173"/>
                        <a:pt x="123" y="173"/>
                      </a:cubicBezTo>
                      <a:cubicBezTo>
                        <a:pt x="123" y="173"/>
                        <a:pt x="123" y="173"/>
                        <a:pt x="123" y="173"/>
                      </a:cubicBezTo>
                      <a:cubicBezTo>
                        <a:pt x="123" y="173"/>
                        <a:pt x="124" y="173"/>
                        <a:pt x="125" y="173"/>
                      </a:cubicBezTo>
                      <a:cubicBezTo>
                        <a:pt x="125" y="174"/>
                        <a:pt x="126" y="174"/>
                        <a:pt x="126" y="174"/>
                      </a:cubicBezTo>
                      <a:cubicBezTo>
                        <a:pt x="126" y="174"/>
                        <a:pt x="126" y="174"/>
                        <a:pt x="126" y="174"/>
                      </a:cubicBezTo>
                      <a:cubicBezTo>
                        <a:pt x="128" y="173"/>
                        <a:pt x="128" y="169"/>
                        <a:pt x="128" y="167"/>
                      </a:cubicBezTo>
                      <a:cubicBezTo>
                        <a:pt x="128" y="165"/>
                        <a:pt x="128" y="166"/>
                        <a:pt x="130" y="164"/>
                      </a:cubicBezTo>
                      <a:cubicBezTo>
                        <a:pt x="131" y="162"/>
                        <a:pt x="131" y="162"/>
                        <a:pt x="132" y="162"/>
                      </a:cubicBezTo>
                      <a:cubicBezTo>
                        <a:pt x="132" y="162"/>
                        <a:pt x="133" y="162"/>
                        <a:pt x="134" y="162"/>
                      </a:cubicBezTo>
                      <a:cubicBezTo>
                        <a:pt x="136" y="163"/>
                        <a:pt x="137" y="163"/>
                        <a:pt x="138" y="163"/>
                      </a:cubicBezTo>
                      <a:cubicBezTo>
                        <a:pt x="139" y="163"/>
                        <a:pt x="140" y="163"/>
                        <a:pt x="141" y="162"/>
                      </a:cubicBezTo>
                      <a:cubicBezTo>
                        <a:pt x="142" y="160"/>
                        <a:pt x="143" y="157"/>
                        <a:pt x="142" y="155"/>
                      </a:cubicBezTo>
                      <a:cubicBezTo>
                        <a:pt x="142" y="153"/>
                        <a:pt x="141" y="152"/>
                        <a:pt x="140" y="151"/>
                      </a:cubicBezTo>
                      <a:cubicBezTo>
                        <a:pt x="140" y="150"/>
                        <a:pt x="143" y="150"/>
                        <a:pt x="140" y="149"/>
                      </a:cubicBezTo>
                      <a:cubicBezTo>
                        <a:pt x="139" y="148"/>
                        <a:pt x="136" y="145"/>
                        <a:pt x="135" y="145"/>
                      </a:cubicBezTo>
                      <a:cubicBezTo>
                        <a:pt x="132" y="144"/>
                        <a:pt x="130" y="143"/>
                        <a:pt x="129" y="142"/>
                      </a:cubicBezTo>
                      <a:cubicBezTo>
                        <a:pt x="138" y="142"/>
                        <a:pt x="144" y="148"/>
                        <a:pt x="153" y="149"/>
                      </a:cubicBezTo>
                      <a:cubicBezTo>
                        <a:pt x="153" y="149"/>
                        <a:pt x="153" y="149"/>
                        <a:pt x="154" y="149"/>
                      </a:cubicBezTo>
                      <a:cubicBezTo>
                        <a:pt x="157" y="149"/>
                        <a:pt x="155" y="145"/>
                        <a:pt x="156" y="143"/>
                      </a:cubicBezTo>
                      <a:cubicBezTo>
                        <a:pt x="156" y="141"/>
                        <a:pt x="158" y="140"/>
                        <a:pt x="158" y="138"/>
                      </a:cubicBezTo>
                      <a:cubicBezTo>
                        <a:pt x="157" y="137"/>
                        <a:pt x="153" y="138"/>
                        <a:pt x="156" y="136"/>
                      </a:cubicBezTo>
                      <a:cubicBezTo>
                        <a:pt x="158" y="135"/>
                        <a:pt x="156" y="133"/>
                        <a:pt x="155" y="132"/>
                      </a:cubicBezTo>
                      <a:cubicBezTo>
                        <a:pt x="161" y="133"/>
                        <a:pt x="165" y="139"/>
                        <a:pt x="170" y="140"/>
                      </a:cubicBezTo>
                      <a:cubicBezTo>
                        <a:pt x="171" y="140"/>
                        <a:pt x="171" y="140"/>
                        <a:pt x="171" y="140"/>
                      </a:cubicBezTo>
                      <a:cubicBezTo>
                        <a:pt x="174" y="140"/>
                        <a:pt x="175" y="135"/>
                        <a:pt x="173" y="133"/>
                      </a:cubicBezTo>
                      <a:cubicBezTo>
                        <a:pt x="173" y="133"/>
                        <a:pt x="172" y="133"/>
                        <a:pt x="172" y="133"/>
                      </a:cubicBezTo>
                      <a:cubicBezTo>
                        <a:pt x="171" y="133"/>
                        <a:pt x="170" y="133"/>
                        <a:pt x="170" y="132"/>
                      </a:cubicBezTo>
                      <a:cubicBezTo>
                        <a:pt x="169" y="132"/>
                        <a:pt x="168" y="130"/>
                        <a:pt x="167" y="129"/>
                      </a:cubicBezTo>
                      <a:cubicBezTo>
                        <a:pt x="172" y="130"/>
                        <a:pt x="176" y="133"/>
                        <a:pt x="181" y="133"/>
                      </a:cubicBezTo>
                      <a:cubicBezTo>
                        <a:pt x="182" y="133"/>
                        <a:pt x="182" y="133"/>
                        <a:pt x="183" y="132"/>
                      </a:cubicBezTo>
                      <a:cubicBezTo>
                        <a:pt x="188" y="131"/>
                        <a:pt x="186" y="132"/>
                        <a:pt x="187" y="127"/>
                      </a:cubicBezTo>
                      <a:cubicBezTo>
                        <a:pt x="187" y="123"/>
                        <a:pt x="194" y="123"/>
                        <a:pt x="197" y="119"/>
                      </a:cubicBezTo>
                      <a:cubicBezTo>
                        <a:pt x="191" y="119"/>
                        <a:pt x="185" y="119"/>
                        <a:pt x="179" y="118"/>
                      </a:cubicBezTo>
                      <a:cubicBezTo>
                        <a:pt x="184" y="116"/>
                        <a:pt x="190" y="116"/>
                        <a:pt x="195" y="116"/>
                      </a:cubicBezTo>
                      <a:cubicBezTo>
                        <a:pt x="201" y="116"/>
                        <a:pt x="200" y="115"/>
                        <a:pt x="205" y="110"/>
                      </a:cubicBezTo>
                      <a:cubicBezTo>
                        <a:pt x="207" y="108"/>
                        <a:pt x="219" y="103"/>
                        <a:pt x="217" y="99"/>
                      </a:cubicBezTo>
                      <a:cubicBezTo>
                        <a:pt x="218" y="100"/>
                        <a:pt x="220" y="104"/>
                        <a:pt x="221" y="104"/>
                      </a:cubicBezTo>
                      <a:cubicBezTo>
                        <a:pt x="221" y="104"/>
                        <a:pt x="221" y="104"/>
                        <a:pt x="221" y="104"/>
                      </a:cubicBezTo>
                      <a:cubicBezTo>
                        <a:pt x="224" y="104"/>
                        <a:pt x="226" y="100"/>
                        <a:pt x="227" y="98"/>
                      </a:cubicBezTo>
                      <a:cubicBezTo>
                        <a:pt x="231" y="93"/>
                        <a:pt x="237" y="92"/>
                        <a:pt x="243" y="90"/>
                      </a:cubicBezTo>
                      <a:cubicBezTo>
                        <a:pt x="259" y="87"/>
                        <a:pt x="276" y="83"/>
                        <a:pt x="290" y="80"/>
                      </a:cubicBezTo>
                      <a:cubicBezTo>
                        <a:pt x="300" y="77"/>
                        <a:pt x="309" y="72"/>
                        <a:pt x="319" y="71"/>
                      </a:cubicBezTo>
                      <a:cubicBezTo>
                        <a:pt x="329" y="70"/>
                        <a:pt x="338" y="66"/>
                        <a:pt x="347" y="63"/>
                      </a:cubicBezTo>
                      <a:cubicBezTo>
                        <a:pt x="351" y="62"/>
                        <a:pt x="355" y="62"/>
                        <a:pt x="358" y="61"/>
                      </a:cubicBezTo>
                      <a:cubicBezTo>
                        <a:pt x="364" y="59"/>
                        <a:pt x="370" y="57"/>
                        <a:pt x="376" y="55"/>
                      </a:cubicBezTo>
                      <a:cubicBezTo>
                        <a:pt x="387" y="53"/>
                        <a:pt x="397" y="46"/>
                        <a:pt x="408" y="44"/>
                      </a:cubicBezTo>
                      <a:cubicBezTo>
                        <a:pt x="410" y="43"/>
                        <a:pt x="411" y="43"/>
                        <a:pt x="413" y="43"/>
                      </a:cubicBezTo>
                      <a:cubicBezTo>
                        <a:pt x="417" y="43"/>
                        <a:pt x="414" y="43"/>
                        <a:pt x="416" y="40"/>
                      </a:cubicBezTo>
                      <a:cubicBezTo>
                        <a:pt x="419" y="36"/>
                        <a:pt x="432" y="31"/>
                        <a:pt x="431" y="25"/>
                      </a:cubicBezTo>
                      <a:cubicBezTo>
                        <a:pt x="431" y="21"/>
                        <a:pt x="438" y="20"/>
                        <a:pt x="435" y="16"/>
                      </a:cubicBezTo>
                      <a:cubicBezTo>
                        <a:pt x="433" y="14"/>
                        <a:pt x="432" y="13"/>
                        <a:pt x="430" y="12"/>
                      </a:cubicBezTo>
                      <a:cubicBezTo>
                        <a:pt x="428" y="11"/>
                        <a:pt x="431" y="9"/>
                        <a:pt x="430" y="8"/>
                      </a:cubicBezTo>
                      <a:cubicBezTo>
                        <a:pt x="430" y="8"/>
                        <a:pt x="430" y="8"/>
                        <a:pt x="430" y="8"/>
                      </a:cubicBezTo>
                      <a:cubicBezTo>
                        <a:pt x="430" y="8"/>
                        <a:pt x="426" y="7"/>
                        <a:pt x="426" y="7"/>
                      </a:cubicBezTo>
                      <a:cubicBezTo>
                        <a:pt x="424" y="6"/>
                        <a:pt x="422" y="5"/>
                        <a:pt x="422" y="5"/>
                      </a:cubicBezTo>
                      <a:cubicBezTo>
                        <a:pt x="421" y="5"/>
                        <a:pt x="422" y="3"/>
                        <a:pt x="420" y="3"/>
                      </a:cubicBezTo>
                      <a:cubicBezTo>
                        <a:pt x="420" y="3"/>
                        <a:pt x="419" y="3"/>
                        <a:pt x="419" y="3"/>
                      </a:cubicBezTo>
                      <a:cubicBezTo>
                        <a:pt x="419" y="3"/>
                        <a:pt x="418" y="3"/>
                        <a:pt x="418" y="3"/>
                      </a:cubicBezTo>
                      <a:cubicBezTo>
                        <a:pt x="415" y="3"/>
                        <a:pt x="413" y="2"/>
                        <a:pt x="410" y="2"/>
                      </a:cubicBezTo>
                      <a:cubicBezTo>
                        <a:pt x="407" y="1"/>
                        <a:pt x="403" y="0"/>
                        <a:pt x="39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23" name="Freeform 203">
                  <a:extLst>
                    <a:ext uri="{FF2B5EF4-FFF2-40B4-BE49-F238E27FC236}">
                      <a16:creationId xmlns:a16="http://schemas.microsoft.com/office/drawing/2014/main" id="{B09FE10D-2DC0-42D0-A8C0-AF99A7DDBE85}"/>
                    </a:ext>
                  </a:extLst>
                </p:cNvPr>
                <p:cNvSpPr>
                  <a:spLocks/>
                </p:cNvSpPr>
                <p:nvPr/>
              </p:nvSpPr>
              <p:spPr bwMode="auto">
                <a:xfrm>
                  <a:off x="8704243" y="1341383"/>
                  <a:ext cx="213737" cy="128979"/>
                </a:xfrm>
                <a:custGeom>
                  <a:avLst/>
                  <a:gdLst>
                    <a:gd name="T0" fmla="*/ 24 w 67"/>
                    <a:gd name="T1" fmla="*/ 0 h 40"/>
                    <a:gd name="T2" fmla="*/ 16 w 67"/>
                    <a:gd name="T3" fmla="*/ 2 h 40"/>
                    <a:gd name="T4" fmla="*/ 2 w 67"/>
                    <a:gd name="T5" fmla="*/ 18 h 40"/>
                    <a:gd name="T6" fmla="*/ 0 w 67"/>
                    <a:gd name="T7" fmla="*/ 26 h 40"/>
                    <a:gd name="T8" fmla="*/ 16 w 67"/>
                    <a:gd name="T9" fmla="*/ 40 h 40"/>
                    <a:gd name="T10" fmla="*/ 39 w 67"/>
                    <a:gd name="T11" fmla="*/ 33 h 40"/>
                    <a:gd name="T12" fmla="*/ 49 w 67"/>
                    <a:gd name="T13" fmla="*/ 26 h 40"/>
                    <a:gd name="T14" fmla="*/ 51 w 67"/>
                    <a:gd name="T15" fmla="*/ 22 h 40"/>
                    <a:gd name="T16" fmla="*/ 57 w 67"/>
                    <a:gd name="T17" fmla="*/ 18 h 40"/>
                    <a:gd name="T18" fmla="*/ 55 w 67"/>
                    <a:gd name="T19" fmla="*/ 26 h 40"/>
                    <a:gd name="T20" fmla="*/ 48 w 67"/>
                    <a:gd name="T21" fmla="*/ 9 h 40"/>
                    <a:gd name="T22" fmla="*/ 24 w 67"/>
                    <a:gd name="T2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40">
                      <a:moveTo>
                        <a:pt x="24" y="0"/>
                      </a:moveTo>
                      <a:cubicBezTo>
                        <a:pt x="22" y="0"/>
                        <a:pt x="19" y="1"/>
                        <a:pt x="16" y="2"/>
                      </a:cubicBezTo>
                      <a:cubicBezTo>
                        <a:pt x="9" y="5"/>
                        <a:pt x="3" y="10"/>
                        <a:pt x="2" y="18"/>
                      </a:cubicBezTo>
                      <a:cubicBezTo>
                        <a:pt x="1" y="20"/>
                        <a:pt x="0" y="23"/>
                        <a:pt x="0" y="26"/>
                      </a:cubicBezTo>
                      <a:cubicBezTo>
                        <a:pt x="1" y="34"/>
                        <a:pt x="10" y="36"/>
                        <a:pt x="16" y="40"/>
                      </a:cubicBezTo>
                      <a:cubicBezTo>
                        <a:pt x="24" y="38"/>
                        <a:pt x="32" y="37"/>
                        <a:pt x="39" y="33"/>
                      </a:cubicBezTo>
                      <a:cubicBezTo>
                        <a:pt x="42" y="32"/>
                        <a:pt x="47" y="29"/>
                        <a:pt x="49" y="26"/>
                      </a:cubicBezTo>
                      <a:cubicBezTo>
                        <a:pt x="50" y="24"/>
                        <a:pt x="49" y="23"/>
                        <a:pt x="51" y="22"/>
                      </a:cubicBezTo>
                      <a:cubicBezTo>
                        <a:pt x="53" y="20"/>
                        <a:pt x="55" y="19"/>
                        <a:pt x="57" y="18"/>
                      </a:cubicBezTo>
                      <a:cubicBezTo>
                        <a:pt x="57" y="21"/>
                        <a:pt x="55" y="24"/>
                        <a:pt x="55" y="26"/>
                      </a:cubicBezTo>
                      <a:cubicBezTo>
                        <a:pt x="67" y="20"/>
                        <a:pt x="55" y="12"/>
                        <a:pt x="48" y="9"/>
                      </a:cubicBezTo>
                      <a:cubicBezTo>
                        <a:pt x="40" y="5"/>
                        <a:pt x="33" y="0"/>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24" name="Freeform 204">
                  <a:extLst>
                    <a:ext uri="{FF2B5EF4-FFF2-40B4-BE49-F238E27FC236}">
                      <a16:creationId xmlns:a16="http://schemas.microsoft.com/office/drawing/2014/main" id="{87FFB162-8A64-420A-A37D-2B8314D16EA5}"/>
                    </a:ext>
                  </a:extLst>
                </p:cNvPr>
                <p:cNvSpPr>
                  <a:spLocks noEditPoints="1"/>
                </p:cNvSpPr>
                <p:nvPr/>
              </p:nvSpPr>
              <p:spPr bwMode="auto">
                <a:xfrm>
                  <a:off x="8991682" y="700173"/>
                  <a:ext cx="563823" cy="471695"/>
                </a:xfrm>
                <a:custGeom>
                  <a:avLst/>
                  <a:gdLst>
                    <a:gd name="T0" fmla="*/ 29 w 177"/>
                    <a:gd name="T1" fmla="*/ 34 h 148"/>
                    <a:gd name="T2" fmla="*/ 67 w 177"/>
                    <a:gd name="T3" fmla="*/ 5 h 148"/>
                    <a:gd name="T4" fmla="*/ 49 w 177"/>
                    <a:gd name="T5" fmla="*/ 20 h 148"/>
                    <a:gd name="T6" fmla="*/ 46 w 177"/>
                    <a:gd name="T7" fmla="*/ 25 h 148"/>
                    <a:gd name="T8" fmla="*/ 31 w 177"/>
                    <a:gd name="T9" fmla="*/ 31 h 148"/>
                    <a:gd name="T10" fmla="*/ 42 w 177"/>
                    <a:gd name="T11" fmla="*/ 37 h 148"/>
                    <a:gd name="T12" fmla="*/ 47 w 177"/>
                    <a:gd name="T13" fmla="*/ 39 h 148"/>
                    <a:gd name="T14" fmla="*/ 38 w 177"/>
                    <a:gd name="T15" fmla="*/ 43 h 148"/>
                    <a:gd name="T16" fmla="*/ 47 w 177"/>
                    <a:gd name="T17" fmla="*/ 42 h 148"/>
                    <a:gd name="T18" fmla="*/ 38 w 177"/>
                    <a:gd name="T19" fmla="*/ 47 h 148"/>
                    <a:gd name="T20" fmla="*/ 32 w 177"/>
                    <a:gd name="T21" fmla="*/ 59 h 148"/>
                    <a:gd name="T22" fmla="*/ 29 w 177"/>
                    <a:gd name="T23" fmla="*/ 62 h 148"/>
                    <a:gd name="T24" fmla="*/ 28 w 177"/>
                    <a:gd name="T25" fmla="*/ 69 h 148"/>
                    <a:gd name="T26" fmla="*/ 14 w 177"/>
                    <a:gd name="T27" fmla="*/ 66 h 148"/>
                    <a:gd name="T28" fmla="*/ 0 w 177"/>
                    <a:gd name="T29" fmla="*/ 83 h 148"/>
                    <a:gd name="T30" fmla="*/ 23 w 177"/>
                    <a:gd name="T31" fmla="*/ 96 h 148"/>
                    <a:gd name="T32" fmla="*/ 28 w 177"/>
                    <a:gd name="T33" fmla="*/ 97 h 148"/>
                    <a:gd name="T34" fmla="*/ 42 w 177"/>
                    <a:gd name="T35" fmla="*/ 105 h 148"/>
                    <a:gd name="T36" fmla="*/ 49 w 177"/>
                    <a:gd name="T37" fmla="*/ 100 h 148"/>
                    <a:gd name="T38" fmla="*/ 53 w 177"/>
                    <a:gd name="T39" fmla="*/ 104 h 148"/>
                    <a:gd name="T40" fmla="*/ 62 w 177"/>
                    <a:gd name="T41" fmla="*/ 106 h 148"/>
                    <a:gd name="T42" fmla="*/ 59 w 177"/>
                    <a:gd name="T43" fmla="*/ 113 h 148"/>
                    <a:gd name="T44" fmla="*/ 72 w 177"/>
                    <a:gd name="T45" fmla="*/ 123 h 148"/>
                    <a:gd name="T46" fmla="*/ 63 w 177"/>
                    <a:gd name="T47" fmla="*/ 122 h 148"/>
                    <a:gd name="T48" fmla="*/ 62 w 177"/>
                    <a:gd name="T49" fmla="*/ 124 h 148"/>
                    <a:gd name="T50" fmla="*/ 65 w 177"/>
                    <a:gd name="T51" fmla="*/ 134 h 148"/>
                    <a:gd name="T52" fmla="*/ 54 w 177"/>
                    <a:gd name="T53" fmla="*/ 133 h 148"/>
                    <a:gd name="T54" fmla="*/ 93 w 177"/>
                    <a:gd name="T55" fmla="*/ 144 h 148"/>
                    <a:gd name="T56" fmla="*/ 98 w 177"/>
                    <a:gd name="T57" fmla="*/ 144 h 148"/>
                    <a:gd name="T58" fmla="*/ 108 w 177"/>
                    <a:gd name="T59" fmla="*/ 145 h 148"/>
                    <a:gd name="T60" fmla="*/ 117 w 177"/>
                    <a:gd name="T61" fmla="*/ 141 h 148"/>
                    <a:gd name="T62" fmla="*/ 130 w 177"/>
                    <a:gd name="T63" fmla="*/ 148 h 148"/>
                    <a:gd name="T64" fmla="*/ 145 w 177"/>
                    <a:gd name="T65" fmla="*/ 148 h 148"/>
                    <a:gd name="T66" fmla="*/ 137 w 177"/>
                    <a:gd name="T67" fmla="*/ 140 h 148"/>
                    <a:gd name="T68" fmla="*/ 152 w 177"/>
                    <a:gd name="T69" fmla="*/ 142 h 148"/>
                    <a:gd name="T70" fmla="*/ 171 w 177"/>
                    <a:gd name="T71" fmla="*/ 142 h 148"/>
                    <a:gd name="T72" fmla="*/ 168 w 177"/>
                    <a:gd name="T73" fmla="*/ 136 h 148"/>
                    <a:gd name="T74" fmla="*/ 118 w 177"/>
                    <a:gd name="T75" fmla="*/ 88 h 148"/>
                    <a:gd name="T76" fmla="*/ 114 w 177"/>
                    <a:gd name="T77" fmla="*/ 69 h 148"/>
                    <a:gd name="T78" fmla="*/ 113 w 177"/>
                    <a:gd name="T79" fmla="*/ 51 h 148"/>
                    <a:gd name="T80" fmla="*/ 115 w 177"/>
                    <a:gd name="T81" fmla="*/ 44 h 148"/>
                    <a:gd name="T82" fmla="*/ 115 w 177"/>
                    <a:gd name="T83" fmla="*/ 44 h 148"/>
                    <a:gd name="T84" fmla="*/ 127 w 177"/>
                    <a:gd name="T85" fmla="*/ 38 h 148"/>
                    <a:gd name="T86" fmla="*/ 115 w 177"/>
                    <a:gd name="T87" fmla="*/ 32 h 148"/>
                    <a:gd name="T88" fmla="*/ 123 w 177"/>
                    <a:gd name="T89" fmla="*/ 32 h 148"/>
                    <a:gd name="T90" fmla="*/ 129 w 177"/>
                    <a:gd name="T91" fmla="*/ 32 h 148"/>
                    <a:gd name="T92" fmla="*/ 138 w 177"/>
                    <a:gd name="T93" fmla="*/ 24 h 148"/>
                    <a:gd name="T94" fmla="*/ 130 w 177"/>
                    <a:gd name="T95" fmla="*/ 23 h 148"/>
                    <a:gd name="T96" fmla="*/ 134 w 177"/>
                    <a:gd name="T97" fmla="*/ 20 h 148"/>
                    <a:gd name="T98" fmla="*/ 139 w 177"/>
                    <a:gd name="T99" fmla="*/ 20 h 148"/>
                    <a:gd name="T100" fmla="*/ 130 w 177"/>
                    <a:gd name="T101" fmla="*/ 17 h 148"/>
                    <a:gd name="T102" fmla="*/ 147 w 177"/>
                    <a:gd name="T103" fmla="*/ 13 h 148"/>
                    <a:gd name="T104" fmla="*/ 88 w 177"/>
                    <a:gd name="T105"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7" h="148">
                      <a:moveTo>
                        <a:pt x="29" y="34"/>
                      </a:moveTo>
                      <a:cubicBezTo>
                        <a:pt x="29" y="34"/>
                        <a:pt x="29" y="34"/>
                        <a:pt x="29" y="34"/>
                      </a:cubicBezTo>
                      <a:cubicBezTo>
                        <a:pt x="29" y="34"/>
                        <a:pt x="29" y="34"/>
                        <a:pt x="29" y="34"/>
                      </a:cubicBezTo>
                      <a:moveTo>
                        <a:pt x="88" y="0"/>
                      </a:moveTo>
                      <a:cubicBezTo>
                        <a:pt x="88" y="0"/>
                        <a:pt x="88" y="0"/>
                        <a:pt x="88" y="0"/>
                      </a:cubicBezTo>
                      <a:cubicBezTo>
                        <a:pt x="81" y="2"/>
                        <a:pt x="74" y="4"/>
                        <a:pt x="67" y="5"/>
                      </a:cubicBezTo>
                      <a:cubicBezTo>
                        <a:pt x="62" y="7"/>
                        <a:pt x="52" y="7"/>
                        <a:pt x="50" y="12"/>
                      </a:cubicBezTo>
                      <a:cubicBezTo>
                        <a:pt x="49" y="13"/>
                        <a:pt x="50" y="16"/>
                        <a:pt x="50" y="17"/>
                      </a:cubicBezTo>
                      <a:cubicBezTo>
                        <a:pt x="52" y="20"/>
                        <a:pt x="49" y="18"/>
                        <a:pt x="49" y="20"/>
                      </a:cubicBezTo>
                      <a:cubicBezTo>
                        <a:pt x="50" y="22"/>
                        <a:pt x="53" y="26"/>
                        <a:pt x="51" y="26"/>
                      </a:cubicBezTo>
                      <a:cubicBezTo>
                        <a:pt x="50" y="26"/>
                        <a:pt x="50" y="26"/>
                        <a:pt x="49" y="25"/>
                      </a:cubicBezTo>
                      <a:cubicBezTo>
                        <a:pt x="48" y="25"/>
                        <a:pt x="47" y="25"/>
                        <a:pt x="46" y="25"/>
                      </a:cubicBezTo>
                      <a:cubicBezTo>
                        <a:pt x="45" y="25"/>
                        <a:pt x="44" y="25"/>
                        <a:pt x="42" y="25"/>
                      </a:cubicBezTo>
                      <a:cubicBezTo>
                        <a:pt x="40" y="26"/>
                        <a:pt x="38" y="27"/>
                        <a:pt x="35" y="27"/>
                      </a:cubicBezTo>
                      <a:cubicBezTo>
                        <a:pt x="34" y="28"/>
                        <a:pt x="32" y="30"/>
                        <a:pt x="31" y="31"/>
                      </a:cubicBezTo>
                      <a:cubicBezTo>
                        <a:pt x="31" y="31"/>
                        <a:pt x="29" y="34"/>
                        <a:pt x="29" y="34"/>
                      </a:cubicBezTo>
                      <a:cubicBezTo>
                        <a:pt x="29" y="34"/>
                        <a:pt x="29" y="34"/>
                        <a:pt x="29" y="34"/>
                      </a:cubicBezTo>
                      <a:cubicBezTo>
                        <a:pt x="28" y="37"/>
                        <a:pt x="39" y="37"/>
                        <a:pt x="42" y="37"/>
                      </a:cubicBezTo>
                      <a:cubicBezTo>
                        <a:pt x="45" y="37"/>
                        <a:pt x="47" y="38"/>
                        <a:pt x="50" y="39"/>
                      </a:cubicBezTo>
                      <a:cubicBezTo>
                        <a:pt x="50" y="39"/>
                        <a:pt x="50" y="39"/>
                        <a:pt x="49" y="39"/>
                      </a:cubicBezTo>
                      <a:cubicBezTo>
                        <a:pt x="49" y="39"/>
                        <a:pt x="48" y="39"/>
                        <a:pt x="47" y="39"/>
                      </a:cubicBezTo>
                      <a:cubicBezTo>
                        <a:pt x="46" y="38"/>
                        <a:pt x="45" y="38"/>
                        <a:pt x="44" y="38"/>
                      </a:cubicBezTo>
                      <a:cubicBezTo>
                        <a:pt x="43" y="38"/>
                        <a:pt x="41" y="39"/>
                        <a:pt x="40" y="39"/>
                      </a:cubicBezTo>
                      <a:cubicBezTo>
                        <a:pt x="38" y="40"/>
                        <a:pt x="39" y="41"/>
                        <a:pt x="38" y="43"/>
                      </a:cubicBezTo>
                      <a:cubicBezTo>
                        <a:pt x="38" y="43"/>
                        <a:pt x="39" y="43"/>
                        <a:pt x="39" y="43"/>
                      </a:cubicBezTo>
                      <a:cubicBezTo>
                        <a:pt x="40" y="43"/>
                        <a:pt x="42" y="43"/>
                        <a:pt x="43" y="43"/>
                      </a:cubicBezTo>
                      <a:cubicBezTo>
                        <a:pt x="44" y="42"/>
                        <a:pt x="45" y="42"/>
                        <a:pt x="47" y="42"/>
                      </a:cubicBezTo>
                      <a:cubicBezTo>
                        <a:pt x="47" y="42"/>
                        <a:pt x="47" y="42"/>
                        <a:pt x="47" y="42"/>
                      </a:cubicBezTo>
                      <a:cubicBezTo>
                        <a:pt x="46" y="43"/>
                        <a:pt x="43" y="45"/>
                        <a:pt x="42" y="46"/>
                      </a:cubicBezTo>
                      <a:cubicBezTo>
                        <a:pt x="41" y="46"/>
                        <a:pt x="39" y="46"/>
                        <a:pt x="38" y="47"/>
                      </a:cubicBezTo>
                      <a:cubicBezTo>
                        <a:pt x="35" y="49"/>
                        <a:pt x="37" y="52"/>
                        <a:pt x="37" y="55"/>
                      </a:cubicBezTo>
                      <a:cubicBezTo>
                        <a:pt x="36" y="55"/>
                        <a:pt x="35" y="55"/>
                        <a:pt x="34" y="55"/>
                      </a:cubicBezTo>
                      <a:cubicBezTo>
                        <a:pt x="37" y="58"/>
                        <a:pt x="34" y="59"/>
                        <a:pt x="32" y="59"/>
                      </a:cubicBezTo>
                      <a:cubicBezTo>
                        <a:pt x="31" y="59"/>
                        <a:pt x="30" y="59"/>
                        <a:pt x="29" y="59"/>
                      </a:cubicBezTo>
                      <a:cubicBezTo>
                        <a:pt x="29" y="60"/>
                        <a:pt x="30" y="61"/>
                        <a:pt x="31" y="62"/>
                      </a:cubicBezTo>
                      <a:cubicBezTo>
                        <a:pt x="30" y="62"/>
                        <a:pt x="29" y="62"/>
                        <a:pt x="29" y="62"/>
                      </a:cubicBezTo>
                      <a:cubicBezTo>
                        <a:pt x="28" y="62"/>
                        <a:pt x="30" y="65"/>
                        <a:pt x="31" y="66"/>
                      </a:cubicBezTo>
                      <a:cubicBezTo>
                        <a:pt x="30" y="65"/>
                        <a:pt x="29" y="65"/>
                        <a:pt x="29" y="65"/>
                      </a:cubicBezTo>
                      <a:cubicBezTo>
                        <a:pt x="27" y="65"/>
                        <a:pt x="29" y="68"/>
                        <a:pt x="28" y="69"/>
                      </a:cubicBezTo>
                      <a:cubicBezTo>
                        <a:pt x="28" y="70"/>
                        <a:pt x="27" y="70"/>
                        <a:pt x="27" y="70"/>
                      </a:cubicBezTo>
                      <a:cubicBezTo>
                        <a:pt x="25" y="70"/>
                        <a:pt x="23" y="69"/>
                        <a:pt x="22" y="69"/>
                      </a:cubicBezTo>
                      <a:cubicBezTo>
                        <a:pt x="19" y="69"/>
                        <a:pt x="18" y="69"/>
                        <a:pt x="14" y="66"/>
                      </a:cubicBezTo>
                      <a:cubicBezTo>
                        <a:pt x="14" y="66"/>
                        <a:pt x="13" y="66"/>
                        <a:pt x="13" y="66"/>
                      </a:cubicBezTo>
                      <a:cubicBezTo>
                        <a:pt x="11" y="66"/>
                        <a:pt x="8" y="68"/>
                        <a:pt x="7" y="69"/>
                      </a:cubicBezTo>
                      <a:cubicBezTo>
                        <a:pt x="3" y="72"/>
                        <a:pt x="0" y="78"/>
                        <a:pt x="0" y="83"/>
                      </a:cubicBezTo>
                      <a:cubicBezTo>
                        <a:pt x="0" y="87"/>
                        <a:pt x="5" y="93"/>
                        <a:pt x="4" y="96"/>
                      </a:cubicBezTo>
                      <a:cubicBezTo>
                        <a:pt x="6" y="97"/>
                        <a:pt x="8" y="97"/>
                        <a:pt x="10" y="97"/>
                      </a:cubicBezTo>
                      <a:cubicBezTo>
                        <a:pt x="14" y="97"/>
                        <a:pt x="18" y="96"/>
                        <a:pt x="23" y="96"/>
                      </a:cubicBezTo>
                      <a:cubicBezTo>
                        <a:pt x="23" y="96"/>
                        <a:pt x="23" y="96"/>
                        <a:pt x="23" y="96"/>
                      </a:cubicBezTo>
                      <a:cubicBezTo>
                        <a:pt x="23" y="96"/>
                        <a:pt x="24" y="96"/>
                        <a:pt x="25" y="96"/>
                      </a:cubicBezTo>
                      <a:cubicBezTo>
                        <a:pt x="26" y="97"/>
                        <a:pt x="27" y="97"/>
                        <a:pt x="28" y="97"/>
                      </a:cubicBezTo>
                      <a:cubicBezTo>
                        <a:pt x="30" y="97"/>
                        <a:pt x="32" y="96"/>
                        <a:pt x="32" y="93"/>
                      </a:cubicBezTo>
                      <a:cubicBezTo>
                        <a:pt x="34" y="96"/>
                        <a:pt x="33" y="100"/>
                        <a:pt x="35" y="102"/>
                      </a:cubicBezTo>
                      <a:cubicBezTo>
                        <a:pt x="35" y="102"/>
                        <a:pt x="41" y="105"/>
                        <a:pt x="42" y="105"/>
                      </a:cubicBezTo>
                      <a:cubicBezTo>
                        <a:pt x="42" y="105"/>
                        <a:pt x="42" y="105"/>
                        <a:pt x="42" y="105"/>
                      </a:cubicBezTo>
                      <a:cubicBezTo>
                        <a:pt x="46" y="104"/>
                        <a:pt x="44" y="100"/>
                        <a:pt x="48" y="100"/>
                      </a:cubicBezTo>
                      <a:cubicBezTo>
                        <a:pt x="48" y="100"/>
                        <a:pt x="48" y="100"/>
                        <a:pt x="49" y="100"/>
                      </a:cubicBezTo>
                      <a:cubicBezTo>
                        <a:pt x="49" y="100"/>
                        <a:pt x="49" y="100"/>
                        <a:pt x="49" y="100"/>
                      </a:cubicBezTo>
                      <a:cubicBezTo>
                        <a:pt x="51" y="100"/>
                        <a:pt x="53" y="98"/>
                        <a:pt x="55" y="97"/>
                      </a:cubicBezTo>
                      <a:cubicBezTo>
                        <a:pt x="56" y="100"/>
                        <a:pt x="53" y="102"/>
                        <a:pt x="53" y="104"/>
                      </a:cubicBezTo>
                      <a:cubicBezTo>
                        <a:pt x="53" y="104"/>
                        <a:pt x="55" y="108"/>
                        <a:pt x="56" y="109"/>
                      </a:cubicBezTo>
                      <a:cubicBezTo>
                        <a:pt x="57" y="110"/>
                        <a:pt x="57" y="110"/>
                        <a:pt x="58" y="110"/>
                      </a:cubicBezTo>
                      <a:cubicBezTo>
                        <a:pt x="59" y="110"/>
                        <a:pt x="60" y="108"/>
                        <a:pt x="62" y="106"/>
                      </a:cubicBezTo>
                      <a:cubicBezTo>
                        <a:pt x="63" y="105"/>
                        <a:pt x="66" y="105"/>
                        <a:pt x="67" y="104"/>
                      </a:cubicBezTo>
                      <a:cubicBezTo>
                        <a:pt x="65" y="105"/>
                        <a:pt x="65" y="107"/>
                        <a:pt x="63" y="109"/>
                      </a:cubicBezTo>
                      <a:cubicBezTo>
                        <a:pt x="63" y="110"/>
                        <a:pt x="59" y="112"/>
                        <a:pt x="59" y="113"/>
                      </a:cubicBezTo>
                      <a:cubicBezTo>
                        <a:pt x="58" y="116"/>
                        <a:pt x="73" y="120"/>
                        <a:pt x="75" y="121"/>
                      </a:cubicBezTo>
                      <a:cubicBezTo>
                        <a:pt x="73" y="121"/>
                        <a:pt x="71" y="121"/>
                        <a:pt x="69" y="120"/>
                      </a:cubicBezTo>
                      <a:cubicBezTo>
                        <a:pt x="70" y="121"/>
                        <a:pt x="71" y="122"/>
                        <a:pt x="72" y="123"/>
                      </a:cubicBezTo>
                      <a:cubicBezTo>
                        <a:pt x="69" y="123"/>
                        <a:pt x="66" y="122"/>
                        <a:pt x="64" y="122"/>
                      </a:cubicBezTo>
                      <a:cubicBezTo>
                        <a:pt x="64" y="122"/>
                        <a:pt x="64" y="122"/>
                        <a:pt x="64" y="122"/>
                      </a:cubicBezTo>
                      <a:cubicBezTo>
                        <a:pt x="64" y="122"/>
                        <a:pt x="63" y="122"/>
                        <a:pt x="63" y="122"/>
                      </a:cubicBezTo>
                      <a:cubicBezTo>
                        <a:pt x="63" y="122"/>
                        <a:pt x="62" y="122"/>
                        <a:pt x="62" y="122"/>
                      </a:cubicBezTo>
                      <a:cubicBezTo>
                        <a:pt x="61" y="122"/>
                        <a:pt x="61" y="122"/>
                        <a:pt x="61" y="122"/>
                      </a:cubicBezTo>
                      <a:cubicBezTo>
                        <a:pt x="60" y="122"/>
                        <a:pt x="60" y="123"/>
                        <a:pt x="62" y="124"/>
                      </a:cubicBezTo>
                      <a:cubicBezTo>
                        <a:pt x="63" y="126"/>
                        <a:pt x="66" y="127"/>
                        <a:pt x="66" y="129"/>
                      </a:cubicBezTo>
                      <a:cubicBezTo>
                        <a:pt x="67" y="131"/>
                        <a:pt x="63" y="132"/>
                        <a:pt x="65" y="134"/>
                      </a:cubicBezTo>
                      <a:cubicBezTo>
                        <a:pt x="65" y="134"/>
                        <a:pt x="65" y="134"/>
                        <a:pt x="65" y="134"/>
                      </a:cubicBezTo>
                      <a:cubicBezTo>
                        <a:pt x="63" y="134"/>
                        <a:pt x="62" y="134"/>
                        <a:pt x="60" y="134"/>
                      </a:cubicBezTo>
                      <a:cubicBezTo>
                        <a:pt x="59" y="134"/>
                        <a:pt x="57" y="133"/>
                        <a:pt x="56" y="133"/>
                      </a:cubicBezTo>
                      <a:cubicBezTo>
                        <a:pt x="55" y="133"/>
                        <a:pt x="55" y="133"/>
                        <a:pt x="54" y="133"/>
                      </a:cubicBezTo>
                      <a:cubicBezTo>
                        <a:pt x="56" y="134"/>
                        <a:pt x="57" y="135"/>
                        <a:pt x="59" y="136"/>
                      </a:cubicBezTo>
                      <a:cubicBezTo>
                        <a:pt x="62" y="137"/>
                        <a:pt x="66" y="138"/>
                        <a:pt x="70" y="138"/>
                      </a:cubicBezTo>
                      <a:cubicBezTo>
                        <a:pt x="78" y="140"/>
                        <a:pt x="86" y="141"/>
                        <a:pt x="93" y="144"/>
                      </a:cubicBezTo>
                      <a:cubicBezTo>
                        <a:pt x="92" y="142"/>
                        <a:pt x="89" y="141"/>
                        <a:pt x="88" y="138"/>
                      </a:cubicBezTo>
                      <a:cubicBezTo>
                        <a:pt x="88" y="138"/>
                        <a:pt x="89" y="137"/>
                        <a:pt x="89" y="136"/>
                      </a:cubicBezTo>
                      <a:cubicBezTo>
                        <a:pt x="92" y="139"/>
                        <a:pt x="94" y="142"/>
                        <a:pt x="98" y="144"/>
                      </a:cubicBezTo>
                      <a:cubicBezTo>
                        <a:pt x="100" y="145"/>
                        <a:pt x="102" y="147"/>
                        <a:pt x="104" y="148"/>
                      </a:cubicBezTo>
                      <a:cubicBezTo>
                        <a:pt x="105" y="148"/>
                        <a:pt x="106" y="148"/>
                        <a:pt x="106" y="148"/>
                      </a:cubicBezTo>
                      <a:cubicBezTo>
                        <a:pt x="107" y="148"/>
                        <a:pt x="107" y="147"/>
                        <a:pt x="108" y="145"/>
                      </a:cubicBezTo>
                      <a:cubicBezTo>
                        <a:pt x="110" y="143"/>
                        <a:pt x="112" y="142"/>
                        <a:pt x="112" y="141"/>
                      </a:cubicBezTo>
                      <a:cubicBezTo>
                        <a:pt x="114" y="140"/>
                        <a:pt x="114" y="140"/>
                        <a:pt x="114" y="140"/>
                      </a:cubicBezTo>
                      <a:cubicBezTo>
                        <a:pt x="115" y="140"/>
                        <a:pt x="115" y="140"/>
                        <a:pt x="117" y="141"/>
                      </a:cubicBezTo>
                      <a:cubicBezTo>
                        <a:pt x="119" y="141"/>
                        <a:pt x="123" y="143"/>
                        <a:pt x="125" y="145"/>
                      </a:cubicBezTo>
                      <a:cubicBezTo>
                        <a:pt x="124" y="145"/>
                        <a:pt x="123" y="146"/>
                        <a:pt x="122" y="146"/>
                      </a:cubicBezTo>
                      <a:cubicBezTo>
                        <a:pt x="124" y="147"/>
                        <a:pt x="128" y="148"/>
                        <a:pt x="130" y="148"/>
                      </a:cubicBezTo>
                      <a:cubicBezTo>
                        <a:pt x="129" y="146"/>
                        <a:pt x="127" y="145"/>
                        <a:pt x="126" y="143"/>
                      </a:cubicBezTo>
                      <a:cubicBezTo>
                        <a:pt x="129" y="144"/>
                        <a:pt x="132" y="146"/>
                        <a:pt x="135" y="147"/>
                      </a:cubicBezTo>
                      <a:cubicBezTo>
                        <a:pt x="138" y="148"/>
                        <a:pt x="141" y="147"/>
                        <a:pt x="145" y="148"/>
                      </a:cubicBezTo>
                      <a:cubicBezTo>
                        <a:pt x="144" y="144"/>
                        <a:pt x="144" y="143"/>
                        <a:pt x="141" y="143"/>
                      </a:cubicBezTo>
                      <a:cubicBezTo>
                        <a:pt x="140" y="143"/>
                        <a:pt x="139" y="143"/>
                        <a:pt x="138" y="143"/>
                      </a:cubicBezTo>
                      <a:cubicBezTo>
                        <a:pt x="137" y="143"/>
                        <a:pt x="137" y="141"/>
                        <a:pt x="137" y="140"/>
                      </a:cubicBezTo>
                      <a:cubicBezTo>
                        <a:pt x="147" y="143"/>
                        <a:pt x="157" y="148"/>
                        <a:pt x="167" y="148"/>
                      </a:cubicBezTo>
                      <a:cubicBezTo>
                        <a:pt x="163" y="146"/>
                        <a:pt x="163" y="146"/>
                        <a:pt x="159" y="145"/>
                      </a:cubicBezTo>
                      <a:cubicBezTo>
                        <a:pt x="156" y="145"/>
                        <a:pt x="155" y="144"/>
                        <a:pt x="152" y="142"/>
                      </a:cubicBezTo>
                      <a:cubicBezTo>
                        <a:pt x="157" y="143"/>
                        <a:pt x="162" y="145"/>
                        <a:pt x="167" y="146"/>
                      </a:cubicBezTo>
                      <a:cubicBezTo>
                        <a:pt x="168" y="146"/>
                        <a:pt x="168" y="146"/>
                        <a:pt x="169" y="146"/>
                      </a:cubicBezTo>
                      <a:cubicBezTo>
                        <a:pt x="170" y="146"/>
                        <a:pt x="171" y="144"/>
                        <a:pt x="171" y="142"/>
                      </a:cubicBezTo>
                      <a:cubicBezTo>
                        <a:pt x="172" y="141"/>
                        <a:pt x="173" y="140"/>
                        <a:pt x="174" y="140"/>
                      </a:cubicBezTo>
                      <a:cubicBezTo>
                        <a:pt x="175" y="140"/>
                        <a:pt x="176" y="141"/>
                        <a:pt x="177" y="141"/>
                      </a:cubicBezTo>
                      <a:cubicBezTo>
                        <a:pt x="173" y="138"/>
                        <a:pt x="171" y="137"/>
                        <a:pt x="168" y="136"/>
                      </a:cubicBezTo>
                      <a:cubicBezTo>
                        <a:pt x="157" y="133"/>
                        <a:pt x="148" y="124"/>
                        <a:pt x="139" y="118"/>
                      </a:cubicBezTo>
                      <a:cubicBezTo>
                        <a:pt x="132" y="113"/>
                        <a:pt x="130" y="105"/>
                        <a:pt x="125" y="98"/>
                      </a:cubicBezTo>
                      <a:cubicBezTo>
                        <a:pt x="122" y="95"/>
                        <a:pt x="120" y="92"/>
                        <a:pt x="118" y="88"/>
                      </a:cubicBezTo>
                      <a:cubicBezTo>
                        <a:pt x="116" y="83"/>
                        <a:pt x="115" y="78"/>
                        <a:pt x="110" y="78"/>
                      </a:cubicBezTo>
                      <a:cubicBezTo>
                        <a:pt x="112" y="77"/>
                        <a:pt x="113" y="77"/>
                        <a:pt x="114" y="74"/>
                      </a:cubicBezTo>
                      <a:cubicBezTo>
                        <a:pt x="114" y="73"/>
                        <a:pt x="114" y="70"/>
                        <a:pt x="114" y="69"/>
                      </a:cubicBezTo>
                      <a:cubicBezTo>
                        <a:pt x="115" y="64"/>
                        <a:pt x="120" y="66"/>
                        <a:pt x="116" y="60"/>
                      </a:cubicBezTo>
                      <a:cubicBezTo>
                        <a:pt x="115" y="59"/>
                        <a:pt x="112" y="59"/>
                        <a:pt x="114" y="56"/>
                      </a:cubicBezTo>
                      <a:cubicBezTo>
                        <a:pt x="116" y="54"/>
                        <a:pt x="116" y="53"/>
                        <a:pt x="113" y="51"/>
                      </a:cubicBezTo>
                      <a:cubicBezTo>
                        <a:pt x="111" y="50"/>
                        <a:pt x="109" y="50"/>
                        <a:pt x="107" y="50"/>
                      </a:cubicBezTo>
                      <a:cubicBezTo>
                        <a:pt x="109" y="49"/>
                        <a:pt x="113" y="49"/>
                        <a:pt x="116" y="49"/>
                      </a:cubicBezTo>
                      <a:cubicBezTo>
                        <a:pt x="119" y="49"/>
                        <a:pt x="116" y="45"/>
                        <a:pt x="115" y="44"/>
                      </a:cubicBezTo>
                      <a:cubicBezTo>
                        <a:pt x="114" y="43"/>
                        <a:pt x="112" y="43"/>
                        <a:pt x="111" y="43"/>
                      </a:cubicBezTo>
                      <a:cubicBezTo>
                        <a:pt x="111" y="43"/>
                        <a:pt x="111" y="43"/>
                        <a:pt x="111" y="43"/>
                      </a:cubicBezTo>
                      <a:cubicBezTo>
                        <a:pt x="113" y="43"/>
                        <a:pt x="114" y="43"/>
                        <a:pt x="115" y="44"/>
                      </a:cubicBezTo>
                      <a:cubicBezTo>
                        <a:pt x="117" y="44"/>
                        <a:pt x="118" y="45"/>
                        <a:pt x="119" y="45"/>
                      </a:cubicBezTo>
                      <a:cubicBezTo>
                        <a:pt x="120" y="45"/>
                        <a:pt x="120" y="44"/>
                        <a:pt x="121" y="44"/>
                      </a:cubicBezTo>
                      <a:cubicBezTo>
                        <a:pt x="125" y="41"/>
                        <a:pt x="122" y="38"/>
                        <a:pt x="127" y="38"/>
                      </a:cubicBezTo>
                      <a:cubicBezTo>
                        <a:pt x="127" y="38"/>
                        <a:pt x="128" y="38"/>
                        <a:pt x="128" y="38"/>
                      </a:cubicBezTo>
                      <a:cubicBezTo>
                        <a:pt x="126" y="34"/>
                        <a:pt x="120" y="32"/>
                        <a:pt x="116" y="32"/>
                      </a:cubicBezTo>
                      <a:cubicBezTo>
                        <a:pt x="116" y="32"/>
                        <a:pt x="115" y="32"/>
                        <a:pt x="115" y="32"/>
                      </a:cubicBezTo>
                      <a:cubicBezTo>
                        <a:pt x="116" y="31"/>
                        <a:pt x="117" y="31"/>
                        <a:pt x="118" y="31"/>
                      </a:cubicBezTo>
                      <a:cubicBezTo>
                        <a:pt x="119" y="31"/>
                        <a:pt x="120" y="31"/>
                        <a:pt x="122" y="32"/>
                      </a:cubicBezTo>
                      <a:cubicBezTo>
                        <a:pt x="122" y="32"/>
                        <a:pt x="122" y="32"/>
                        <a:pt x="123" y="32"/>
                      </a:cubicBezTo>
                      <a:cubicBezTo>
                        <a:pt x="124" y="32"/>
                        <a:pt x="125" y="31"/>
                        <a:pt x="126" y="31"/>
                      </a:cubicBezTo>
                      <a:cubicBezTo>
                        <a:pt x="126" y="31"/>
                        <a:pt x="126" y="31"/>
                        <a:pt x="126" y="31"/>
                      </a:cubicBezTo>
                      <a:cubicBezTo>
                        <a:pt x="127" y="31"/>
                        <a:pt x="128" y="31"/>
                        <a:pt x="129" y="32"/>
                      </a:cubicBezTo>
                      <a:cubicBezTo>
                        <a:pt x="130" y="32"/>
                        <a:pt x="132" y="32"/>
                        <a:pt x="133" y="32"/>
                      </a:cubicBezTo>
                      <a:cubicBezTo>
                        <a:pt x="133" y="32"/>
                        <a:pt x="134" y="32"/>
                        <a:pt x="135" y="31"/>
                      </a:cubicBezTo>
                      <a:cubicBezTo>
                        <a:pt x="137" y="30"/>
                        <a:pt x="139" y="25"/>
                        <a:pt x="138" y="24"/>
                      </a:cubicBezTo>
                      <a:cubicBezTo>
                        <a:pt x="137" y="23"/>
                        <a:pt x="136" y="23"/>
                        <a:pt x="135" y="23"/>
                      </a:cubicBezTo>
                      <a:cubicBezTo>
                        <a:pt x="134" y="23"/>
                        <a:pt x="133" y="23"/>
                        <a:pt x="133" y="23"/>
                      </a:cubicBezTo>
                      <a:cubicBezTo>
                        <a:pt x="132" y="23"/>
                        <a:pt x="131" y="23"/>
                        <a:pt x="130" y="23"/>
                      </a:cubicBezTo>
                      <a:cubicBezTo>
                        <a:pt x="130" y="23"/>
                        <a:pt x="130" y="23"/>
                        <a:pt x="130" y="23"/>
                      </a:cubicBezTo>
                      <a:cubicBezTo>
                        <a:pt x="128" y="23"/>
                        <a:pt x="122" y="23"/>
                        <a:pt x="121" y="22"/>
                      </a:cubicBezTo>
                      <a:cubicBezTo>
                        <a:pt x="124" y="21"/>
                        <a:pt x="130" y="20"/>
                        <a:pt x="134" y="20"/>
                      </a:cubicBezTo>
                      <a:cubicBezTo>
                        <a:pt x="134" y="20"/>
                        <a:pt x="134" y="20"/>
                        <a:pt x="135" y="20"/>
                      </a:cubicBezTo>
                      <a:cubicBezTo>
                        <a:pt x="135" y="20"/>
                        <a:pt x="136" y="20"/>
                        <a:pt x="137" y="20"/>
                      </a:cubicBezTo>
                      <a:cubicBezTo>
                        <a:pt x="137" y="20"/>
                        <a:pt x="138" y="20"/>
                        <a:pt x="139" y="20"/>
                      </a:cubicBezTo>
                      <a:cubicBezTo>
                        <a:pt x="140" y="20"/>
                        <a:pt x="142" y="20"/>
                        <a:pt x="143" y="18"/>
                      </a:cubicBezTo>
                      <a:cubicBezTo>
                        <a:pt x="140" y="17"/>
                        <a:pt x="137" y="17"/>
                        <a:pt x="133" y="17"/>
                      </a:cubicBezTo>
                      <a:cubicBezTo>
                        <a:pt x="132" y="17"/>
                        <a:pt x="131" y="17"/>
                        <a:pt x="130" y="17"/>
                      </a:cubicBezTo>
                      <a:cubicBezTo>
                        <a:pt x="129" y="17"/>
                        <a:pt x="128" y="17"/>
                        <a:pt x="127" y="17"/>
                      </a:cubicBezTo>
                      <a:cubicBezTo>
                        <a:pt x="127" y="17"/>
                        <a:pt x="127" y="17"/>
                        <a:pt x="127" y="17"/>
                      </a:cubicBezTo>
                      <a:cubicBezTo>
                        <a:pt x="131" y="16"/>
                        <a:pt x="145" y="16"/>
                        <a:pt x="147" y="13"/>
                      </a:cubicBezTo>
                      <a:cubicBezTo>
                        <a:pt x="136" y="9"/>
                        <a:pt x="125" y="6"/>
                        <a:pt x="114" y="3"/>
                      </a:cubicBezTo>
                      <a:cubicBezTo>
                        <a:pt x="106" y="0"/>
                        <a:pt x="97" y="1"/>
                        <a:pt x="88" y="0"/>
                      </a:cubicBezTo>
                      <a:cubicBezTo>
                        <a:pt x="88" y="0"/>
                        <a:pt x="88" y="0"/>
                        <a:pt x="8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sp>
            <p:nvSpPr>
              <p:cNvPr id="378" name="Freeform 206">
                <a:extLst>
                  <a:ext uri="{FF2B5EF4-FFF2-40B4-BE49-F238E27FC236}">
                    <a16:creationId xmlns:a16="http://schemas.microsoft.com/office/drawing/2014/main" id="{59DB6F77-E151-4E06-9677-CCB5781D3AB5}"/>
                  </a:ext>
                </a:extLst>
              </p:cNvPr>
              <p:cNvSpPr>
                <a:spLocks/>
              </p:cNvSpPr>
              <p:nvPr/>
            </p:nvSpPr>
            <p:spPr bwMode="auto">
              <a:xfrm>
                <a:off x="12039273" y="445900"/>
                <a:ext cx="47906" cy="14740"/>
              </a:xfrm>
              <a:custGeom>
                <a:avLst/>
                <a:gdLst>
                  <a:gd name="T0" fmla="*/ 9 w 15"/>
                  <a:gd name="T1" fmla="*/ 0 h 4"/>
                  <a:gd name="T2" fmla="*/ 0 w 15"/>
                  <a:gd name="T3" fmla="*/ 4 h 4"/>
                  <a:gd name="T4" fmla="*/ 9 w 15"/>
                  <a:gd name="T5" fmla="*/ 4 h 4"/>
                  <a:gd name="T6" fmla="*/ 15 w 15"/>
                  <a:gd name="T7" fmla="*/ 4 h 4"/>
                  <a:gd name="T8" fmla="*/ 9 w 15"/>
                  <a:gd name="T9" fmla="*/ 0 h 4"/>
                </a:gdLst>
                <a:ahLst/>
                <a:cxnLst>
                  <a:cxn ang="0">
                    <a:pos x="T0" y="T1"/>
                  </a:cxn>
                  <a:cxn ang="0">
                    <a:pos x="T2" y="T3"/>
                  </a:cxn>
                  <a:cxn ang="0">
                    <a:pos x="T4" y="T5"/>
                  </a:cxn>
                  <a:cxn ang="0">
                    <a:pos x="T6" y="T7"/>
                  </a:cxn>
                  <a:cxn ang="0">
                    <a:pos x="T8" y="T9"/>
                  </a:cxn>
                </a:cxnLst>
                <a:rect l="0" t="0" r="r" b="b"/>
                <a:pathLst>
                  <a:path w="15" h="4">
                    <a:moveTo>
                      <a:pt x="9" y="0"/>
                    </a:moveTo>
                    <a:cubicBezTo>
                      <a:pt x="6" y="1"/>
                      <a:pt x="2" y="1"/>
                      <a:pt x="0" y="4"/>
                    </a:cubicBezTo>
                    <a:cubicBezTo>
                      <a:pt x="2" y="4"/>
                      <a:pt x="6" y="4"/>
                      <a:pt x="9" y="4"/>
                    </a:cubicBezTo>
                    <a:cubicBezTo>
                      <a:pt x="11" y="4"/>
                      <a:pt x="13" y="4"/>
                      <a:pt x="15" y="4"/>
                    </a:cubicBezTo>
                    <a:cubicBezTo>
                      <a:pt x="13" y="0"/>
                      <a:pt x="13"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9" name="Freeform 207">
                <a:extLst>
                  <a:ext uri="{FF2B5EF4-FFF2-40B4-BE49-F238E27FC236}">
                    <a16:creationId xmlns:a16="http://schemas.microsoft.com/office/drawing/2014/main" id="{18EBA55E-0BAC-40C7-A944-FE26ACB2201C}"/>
                  </a:ext>
                </a:extLst>
              </p:cNvPr>
              <p:cNvSpPr>
                <a:spLocks/>
              </p:cNvSpPr>
              <p:nvPr/>
            </p:nvSpPr>
            <p:spPr bwMode="auto">
              <a:xfrm>
                <a:off x="9632892" y="1190293"/>
                <a:ext cx="184256" cy="125294"/>
              </a:xfrm>
              <a:custGeom>
                <a:avLst/>
                <a:gdLst>
                  <a:gd name="T0" fmla="*/ 15 w 58"/>
                  <a:gd name="T1" fmla="*/ 0 h 40"/>
                  <a:gd name="T2" fmla="*/ 10 w 58"/>
                  <a:gd name="T3" fmla="*/ 2 h 40"/>
                  <a:gd name="T4" fmla="*/ 8 w 58"/>
                  <a:gd name="T5" fmla="*/ 2 h 40"/>
                  <a:gd name="T6" fmla="*/ 8 w 58"/>
                  <a:gd name="T7" fmla="*/ 3 h 40"/>
                  <a:gd name="T8" fmla="*/ 1 w 58"/>
                  <a:gd name="T9" fmla="*/ 6 h 40"/>
                  <a:gd name="T10" fmla="*/ 9 w 58"/>
                  <a:gd name="T11" fmla="*/ 13 h 40"/>
                  <a:gd name="T12" fmla="*/ 5 w 58"/>
                  <a:gd name="T13" fmla="*/ 11 h 40"/>
                  <a:gd name="T14" fmla="*/ 4 w 58"/>
                  <a:gd name="T15" fmla="*/ 11 h 40"/>
                  <a:gd name="T16" fmla="*/ 2 w 58"/>
                  <a:gd name="T17" fmla="*/ 18 h 40"/>
                  <a:gd name="T18" fmla="*/ 17 w 58"/>
                  <a:gd name="T19" fmla="*/ 31 h 40"/>
                  <a:gd name="T20" fmla="*/ 14 w 58"/>
                  <a:gd name="T21" fmla="*/ 27 h 40"/>
                  <a:gd name="T22" fmla="*/ 24 w 58"/>
                  <a:gd name="T23" fmla="*/ 30 h 40"/>
                  <a:gd name="T24" fmla="*/ 32 w 58"/>
                  <a:gd name="T25" fmla="*/ 35 h 40"/>
                  <a:gd name="T26" fmla="*/ 34 w 58"/>
                  <a:gd name="T27" fmla="*/ 38 h 40"/>
                  <a:gd name="T28" fmla="*/ 38 w 58"/>
                  <a:gd name="T29" fmla="*/ 39 h 40"/>
                  <a:gd name="T30" fmla="*/ 41 w 58"/>
                  <a:gd name="T31" fmla="*/ 40 h 40"/>
                  <a:gd name="T32" fmla="*/ 41 w 58"/>
                  <a:gd name="T33" fmla="*/ 40 h 40"/>
                  <a:gd name="T34" fmla="*/ 42 w 58"/>
                  <a:gd name="T35" fmla="*/ 39 h 40"/>
                  <a:gd name="T36" fmla="*/ 45 w 58"/>
                  <a:gd name="T37" fmla="*/ 38 h 40"/>
                  <a:gd name="T38" fmla="*/ 46 w 58"/>
                  <a:gd name="T39" fmla="*/ 38 h 40"/>
                  <a:gd name="T40" fmla="*/ 50 w 58"/>
                  <a:gd name="T41" fmla="*/ 39 h 40"/>
                  <a:gd name="T42" fmla="*/ 51 w 58"/>
                  <a:gd name="T43" fmla="*/ 39 h 40"/>
                  <a:gd name="T44" fmla="*/ 56 w 58"/>
                  <a:gd name="T45" fmla="*/ 30 h 40"/>
                  <a:gd name="T46" fmla="*/ 53 w 58"/>
                  <a:gd name="T47" fmla="*/ 25 h 40"/>
                  <a:gd name="T48" fmla="*/ 19 w 58"/>
                  <a:gd name="T49" fmla="*/ 1 h 40"/>
                  <a:gd name="T50" fmla="*/ 15 w 58"/>
                  <a:gd name="T5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 h="40">
                    <a:moveTo>
                      <a:pt x="15" y="0"/>
                    </a:moveTo>
                    <a:cubicBezTo>
                      <a:pt x="14" y="0"/>
                      <a:pt x="12" y="0"/>
                      <a:pt x="10" y="2"/>
                    </a:cubicBezTo>
                    <a:cubicBezTo>
                      <a:pt x="10" y="2"/>
                      <a:pt x="9" y="2"/>
                      <a:pt x="8" y="2"/>
                    </a:cubicBezTo>
                    <a:cubicBezTo>
                      <a:pt x="7" y="2"/>
                      <a:pt x="8" y="3"/>
                      <a:pt x="8" y="3"/>
                    </a:cubicBezTo>
                    <a:cubicBezTo>
                      <a:pt x="6" y="4"/>
                      <a:pt x="4" y="5"/>
                      <a:pt x="1" y="6"/>
                    </a:cubicBezTo>
                    <a:cubicBezTo>
                      <a:pt x="4" y="8"/>
                      <a:pt x="7" y="10"/>
                      <a:pt x="9" y="13"/>
                    </a:cubicBezTo>
                    <a:cubicBezTo>
                      <a:pt x="8" y="12"/>
                      <a:pt x="6" y="11"/>
                      <a:pt x="5" y="11"/>
                    </a:cubicBezTo>
                    <a:cubicBezTo>
                      <a:pt x="4" y="11"/>
                      <a:pt x="4" y="11"/>
                      <a:pt x="4" y="11"/>
                    </a:cubicBezTo>
                    <a:cubicBezTo>
                      <a:pt x="0" y="11"/>
                      <a:pt x="1" y="14"/>
                      <a:pt x="2" y="18"/>
                    </a:cubicBezTo>
                    <a:cubicBezTo>
                      <a:pt x="4" y="24"/>
                      <a:pt x="12" y="29"/>
                      <a:pt x="17" y="31"/>
                    </a:cubicBezTo>
                    <a:cubicBezTo>
                      <a:pt x="16" y="29"/>
                      <a:pt x="14" y="28"/>
                      <a:pt x="14" y="27"/>
                    </a:cubicBezTo>
                    <a:cubicBezTo>
                      <a:pt x="17" y="27"/>
                      <a:pt x="21" y="28"/>
                      <a:pt x="24" y="30"/>
                    </a:cubicBezTo>
                    <a:cubicBezTo>
                      <a:pt x="26" y="31"/>
                      <a:pt x="33" y="32"/>
                      <a:pt x="32" y="35"/>
                    </a:cubicBezTo>
                    <a:cubicBezTo>
                      <a:pt x="31" y="38"/>
                      <a:pt x="32" y="38"/>
                      <a:pt x="34" y="38"/>
                    </a:cubicBezTo>
                    <a:cubicBezTo>
                      <a:pt x="35" y="39"/>
                      <a:pt x="37" y="39"/>
                      <a:pt x="38" y="39"/>
                    </a:cubicBezTo>
                    <a:cubicBezTo>
                      <a:pt x="39" y="39"/>
                      <a:pt x="40" y="40"/>
                      <a:pt x="41" y="40"/>
                    </a:cubicBezTo>
                    <a:cubicBezTo>
                      <a:pt x="41" y="40"/>
                      <a:pt x="41" y="40"/>
                      <a:pt x="41" y="40"/>
                    </a:cubicBezTo>
                    <a:cubicBezTo>
                      <a:pt x="42" y="40"/>
                      <a:pt x="41" y="39"/>
                      <a:pt x="42" y="39"/>
                    </a:cubicBezTo>
                    <a:cubicBezTo>
                      <a:pt x="43" y="39"/>
                      <a:pt x="44" y="38"/>
                      <a:pt x="45" y="38"/>
                    </a:cubicBezTo>
                    <a:cubicBezTo>
                      <a:pt x="45" y="38"/>
                      <a:pt x="45" y="38"/>
                      <a:pt x="46" y="38"/>
                    </a:cubicBezTo>
                    <a:cubicBezTo>
                      <a:pt x="48" y="39"/>
                      <a:pt x="48" y="39"/>
                      <a:pt x="50" y="39"/>
                    </a:cubicBezTo>
                    <a:cubicBezTo>
                      <a:pt x="50" y="39"/>
                      <a:pt x="51" y="39"/>
                      <a:pt x="51" y="39"/>
                    </a:cubicBezTo>
                    <a:cubicBezTo>
                      <a:pt x="58" y="38"/>
                      <a:pt x="56" y="36"/>
                      <a:pt x="56" y="30"/>
                    </a:cubicBezTo>
                    <a:cubicBezTo>
                      <a:pt x="55" y="27"/>
                      <a:pt x="55" y="27"/>
                      <a:pt x="53" y="25"/>
                    </a:cubicBezTo>
                    <a:cubicBezTo>
                      <a:pt x="41" y="18"/>
                      <a:pt x="30" y="10"/>
                      <a:pt x="19" y="1"/>
                    </a:cubicBezTo>
                    <a:cubicBezTo>
                      <a:pt x="18" y="0"/>
                      <a:pt x="16"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0" name="Freeform 208">
                <a:extLst>
                  <a:ext uri="{FF2B5EF4-FFF2-40B4-BE49-F238E27FC236}">
                    <a16:creationId xmlns:a16="http://schemas.microsoft.com/office/drawing/2014/main" id="{B8078A1F-C710-4767-8B6F-B443EAC813B7}"/>
                  </a:ext>
                </a:extLst>
              </p:cNvPr>
              <p:cNvSpPr>
                <a:spLocks/>
              </p:cNvSpPr>
              <p:nvPr/>
            </p:nvSpPr>
            <p:spPr bwMode="auto">
              <a:xfrm>
                <a:off x="9069070" y="1035518"/>
                <a:ext cx="88443" cy="70017"/>
              </a:xfrm>
              <a:custGeom>
                <a:avLst/>
                <a:gdLst>
                  <a:gd name="T0" fmla="*/ 11 w 28"/>
                  <a:gd name="T1" fmla="*/ 0 h 22"/>
                  <a:gd name="T2" fmla="*/ 0 w 28"/>
                  <a:gd name="T3" fmla="*/ 3 h 22"/>
                  <a:gd name="T4" fmla="*/ 22 w 28"/>
                  <a:gd name="T5" fmla="*/ 21 h 22"/>
                  <a:gd name="T6" fmla="*/ 24 w 28"/>
                  <a:gd name="T7" fmla="*/ 22 h 22"/>
                  <a:gd name="T8" fmla="*/ 24 w 28"/>
                  <a:gd name="T9" fmla="*/ 18 h 22"/>
                  <a:gd name="T10" fmla="*/ 26 w 28"/>
                  <a:gd name="T11" fmla="*/ 15 h 22"/>
                  <a:gd name="T12" fmla="*/ 28 w 28"/>
                  <a:gd name="T13" fmla="*/ 8 h 22"/>
                  <a:gd name="T14" fmla="*/ 19 w 28"/>
                  <a:gd name="T15" fmla="*/ 6 h 22"/>
                  <a:gd name="T16" fmla="*/ 15 w 28"/>
                  <a:gd name="T17" fmla="*/ 1 h 22"/>
                  <a:gd name="T18" fmla="*/ 22 w 28"/>
                  <a:gd name="T19" fmla="*/ 6 h 22"/>
                  <a:gd name="T20" fmla="*/ 11 w 28"/>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2">
                    <a:moveTo>
                      <a:pt x="11" y="0"/>
                    </a:moveTo>
                    <a:cubicBezTo>
                      <a:pt x="7" y="0"/>
                      <a:pt x="3" y="1"/>
                      <a:pt x="0" y="3"/>
                    </a:cubicBezTo>
                    <a:cubicBezTo>
                      <a:pt x="6" y="10"/>
                      <a:pt x="14" y="15"/>
                      <a:pt x="22" y="21"/>
                    </a:cubicBezTo>
                    <a:cubicBezTo>
                      <a:pt x="22" y="22"/>
                      <a:pt x="23" y="22"/>
                      <a:pt x="24" y="22"/>
                    </a:cubicBezTo>
                    <a:cubicBezTo>
                      <a:pt x="25" y="22"/>
                      <a:pt x="25" y="20"/>
                      <a:pt x="24" y="18"/>
                    </a:cubicBezTo>
                    <a:cubicBezTo>
                      <a:pt x="23" y="15"/>
                      <a:pt x="25" y="17"/>
                      <a:pt x="26" y="15"/>
                    </a:cubicBezTo>
                    <a:cubicBezTo>
                      <a:pt x="27" y="14"/>
                      <a:pt x="28" y="11"/>
                      <a:pt x="28" y="8"/>
                    </a:cubicBezTo>
                    <a:cubicBezTo>
                      <a:pt x="27" y="7"/>
                      <a:pt x="21" y="6"/>
                      <a:pt x="19" y="6"/>
                    </a:cubicBezTo>
                    <a:cubicBezTo>
                      <a:pt x="16" y="4"/>
                      <a:pt x="16" y="4"/>
                      <a:pt x="15" y="1"/>
                    </a:cubicBezTo>
                    <a:cubicBezTo>
                      <a:pt x="18" y="2"/>
                      <a:pt x="19" y="5"/>
                      <a:pt x="22" y="6"/>
                    </a:cubicBezTo>
                    <a:cubicBezTo>
                      <a:pt x="20" y="1"/>
                      <a:pt x="16"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1" name="Freeform 209">
                <a:extLst>
                  <a:ext uri="{FF2B5EF4-FFF2-40B4-BE49-F238E27FC236}">
                    <a16:creationId xmlns:a16="http://schemas.microsoft.com/office/drawing/2014/main" id="{2CBAF5BA-1C82-44F2-87E8-D6134D90071F}"/>
                  </a:ext>
                </a:extLst>
              </p:cNvPr>
              <p:cNvSpPr>
                <a:spLocks/>
              </p:cNvSpPr>
              <p:nvPr/>
            </p:nvSpPr>
            <p:spPr bwMode="auto">
              <a:xfrm>
                <a:off x="10657354" y="678062"/>
                <a:ext cx="169515" cy="81073"/>
              </a:xfrm>
              <a:custGeom>
                <a:avLst/>
                <a:gdLst>
                  <a:gd name="T0" fmla="*/ 31 w 54"/>
                  <a:gd name="T1" fmla="*/ 0 h 26"/>
                  <a:gd name="T2" fmla="*/ 30 w 54"/>
                  <a:gd name="T3" fmla="*/ 0 h 26"/>
                  <a:gd name="T4" fmla="*/ 5 w 54"/>
                  <a:gd name="T5" fmla="*/ 5 h 26"/>
                  <a:gd name="T6" fmla="*/ 5 w 54"/>
                  <a:gd name="T7" fmla="*/ 16 h 26"/>
                  <a:gd name="T8" fmla="*/ 2 w 54"/>
                  <a:gd name="T9" fmla="*/ 23 h 26"/>
                  <a:gd name="T10" fmla="*/ 4 w 54"/>
                  <a:gd name="T11" fmla="*/ 26 h 26"/>
                  <a:gd name="T12" fmla="*/ 5 w 54"/>
                  <a:gd name="T13" fmla="*/ 26 h 26"/>
                  <a:gd name="T14" fmla="*/ 9 w 54"/>
                  <a:gd name="T15" fmla="*/ 23 h 26"/>
                  <a:gd name="T16" fmla="*/ 13 w 54"/>
                  <a:gd name="T17" fmla="*/ 25 h 26"/>
                  <a:gd name="T18" fmla="*/ 23 w 54"/>
                  <a:gd name="T19" fmla="*/ 22 h 26"/>
                  <a:gd name="T20" fmla="*/ 37 w 54"/>
                  <a:gd name="T21" fmla="*/ 20 h 26"/>
                  <a:gd name="T22" fmla="*/ 44 w 54"/>
                  <a:gd name="T23" fmla="*/ 18 h 26"/>
                  <a:gd name="T24" fmla="*/ 45 w 54"/>
                  <a:gd name="T25" fmla="*/ 18 h 26"/>
                  <a:gd name="T26" fmla="*/ 48 w 54"/>
                  <a:gd name="T27" fmla="*/ 18 h 26"/>
                  <a:gd name="T28" fmla="*/ 50 w 54"/>
                  <a:gd name="T29" fmla="*/ 18 h 26"/>
                  <a:gd name="T30" fmla="*/ 52 w 54"/>
                  <a:gd name="T31" fmla="*/ 17 h 26"/>
                  <a:gd name="T32" fmla="*/ 47 w 54"/>
                  <a:gd name="T33" fmla="*/ 10 h 26"/>
                  <a:gd name="T34" fmla="*/ 45 w 54"/>
                  <a:gd name="T35" fmla="*/ 10 h 26"/>
                  <a:gd name="T36" fmla="*/ 43 w 54"/>
                  <a:gd name="T37" fmla="*/ 10 h 26"/>
                  <a:gd name="T38" fmla="*/ 41 w 54"/>
                  <a:gd name="T39" fmla="*/ 11 h 26"/>
                  <a:gd name="T40" fmla="*/ 38 w 54"/>
                  <a:gd name="T41" fmla="*/ 9 h 26"/>
                  <a:gd name="T42" fmla="*/ 36 w 54"/>
                  <a:gd name="T43" fmla="*/ 4 h 26"/>
                  <a:gd name="T44" fmla="*/ 38 w 54"/>
                  <a:gd name="T45" fmla="*/ 3 h 26"/>
                  <a:gd name="T46" fmla="*/ 39 w 54"/>
                  <a:gd name="T47" fmla="*/ 3 h 26"/>
                  <a:gd name="T48" fmla="*/ 40 w 54"/>
                  <a:gd name="T49" fmla="*/ 3 h 26"/>
                  <a:gd name="T50" fmla="*/ 40 w 54"/>
                  <a:gd name="T51" fmla="*/ 3 h 26"/>
                  <a:gd name="T52" fmla="*/ 31 w 54"/>
                  <a:gd name="T5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26">
                    <a:moveTo>
                      <a:pt x="31" y="0"/>
                    </a:moveTo>
                    <a:cubicBezTo>
                      <a:pt x="31" y="0"/>
                      <a:pt x="31" y="0"/>
                      <a:pt x="30" y="0"/>
                    </a:cubicBezTo>
                    <a:cubicBezTo>
                      <a:pt x="22" y="1"/>
                      <a:pt x="13" y="3"/>
                      <a:pt x="5" y="5"/>
                    </a:cubicBezTo>
                    <a:cubicBezTo>
                      <a:pt x="5" y="8"/>
                      <a:pt x="5" y="12"/>
                      <a:pt x="5" y="16"/>
                    </a:cubicBezTo>
                    <a:cubicBezTo>
                      <a:pt x="5" y="19"/>
                      <a:pt x="3" y="20"/>
                      <a:pt x="2" y="23"/>
                    </a:cubicBezTo>
                    <a:cubicBezTo>
                      <a:pt x="0" y="25"/>
                      <a:pt x="2" y="25"/>
                      <a:pt x="4" y="26"/>
                    </a:cubicBezTo>
                    <a:cubicBezTo>
                      <a:pt x="5" y="26"/>
                      <a:pt x="5" y="26"/>
                      <a:pt x="5" y="26"/>
                    </a:cubicBezTo>
                    <a:cubicBezTo>
                      <a:pt x="7" y="26"/>
                      <a:pt x="8" y="25"/>
                      <a:pt x="9" y="23"/>
                    </a:cubicBezTo>
                    <a:cubicBezTo>
                      <a:pt x="10" y="25"/>
                      <a:pt x="11" y="25"/>
                      <a:pt x="13" y="25"/>
                    </a:cubicBezTo>
                    <a:cubicBezTo>
                      <a:pt x="16" y="25"/>
                      <a:pt x="21" y="23"/>
                      <a:pt x="23" y="22"/>
                    </a:cubicBezTo>
                    <a:cubicBezTo>
                      <a:pt x="28" y="20"/>
                      <a:pt x="32" y="21"/>
                      <a:pt x="37" y="20"/>
                    </a:cubicBezTo>
                    <a:cubicBezTo>
                      <a:pt x="40" y="20"/>
                      <a:pt x="42" y="18"/>
                      <a:pt x="44" y="18"/>
                    </a:cubicBezTo>
                    <a:cubicBezTo>
                      <a:pt x="45" y="18"/>
                      <a:pt x="45" y="18"/>
                      <a:pt x="45" y="18"/>
                    </a:cubicBezTo>
                    <a:cubicBezTo>
                      <a:pt x="46" y="18"/>
                      <a:pt x="47" y="18"/>
                      <a:pt x="48" y="18"/>
                    </a:cubicBezTo>
                    <a:cubicBezTo>
                      <a:pt x="48" y="18"/>
                      <a:pt x="49" y="18"/>
                      <a:pt x="50" y="18"/>
                    </a:cubicBezTo>
                    <a:cubicBezTo>
                      <a:pt x="51" y="18"/>
                      <a:pt x="51" y="18"/>
                      <a:pt x="52" y="17"/>
                    </a:cubicBezTo>
                    <a:cubicBezTo>
                      <a:pt x="54" y="16"/>
                      <a:pt x="48" y="11"/>
                      <a:pt x="47" y="10"/>
                    </a:cubicBezTo>
                    <a:cubicBezTo>
                      <a:pt x="47" y="10"/>
                      <a:pt x="46" y="10"/>
                      <a:pt x="45" y="10"/>
                    </a:cubicBezTo>
                    <a:cubicBezTo>
                      <a:pt x="45" y="10"/>
                      <a:pt x="44" y="10"/>
                      <a:pt x="43" y="10"/>
                    </a:cubicBezTo>
                    <a:cubicBezTo>
                      <a:pt x="43" y="10"/>
                      <a:pt x="42" y="11"/>
                      <a:pt x="41" y="11"/>
                    </a:cubicBezTo>
                    <a:cubicBezTo>
                      <a:pt x="41" y="11"/>
                      <a:pt x="40" y="10"/>
                      <a:pt x="38" y="9"/>
                    </a:cubicBezTo>
                    <a:cubicBezTo>
                      <a:pt x="36" y="4"/>
                      <a:pt x="36" y="4"/>
                      <a:pt x="36" y="4"/>
                    </a:cubicBezTo>
                    <a:cubicBezTo>
                      <a:pt x="36" y="3"/>
                      <a:pt x="37" y="3"/>
                      <a:pt x="38" y="3"/>
                    </a:cubicBezTo>
                    <a:cubicBezTo>
                      <a:pt x="38" y="3"/>
                      <a:pt x="38" y="3"/>
                      <a:pt x="39" y="3"/>
                    </a:cubicBezTo>
                    <a:cubicBezTo>
                      <a:pt x="39" y="3"/>
                      <a:pt x="39" y="3"/>
                      <a:pt x="40" y="3"/>
                    </a:cubicBezTo>
                    <a:cubicBezTo>
                      <a:pt x="40" y="3"/>
                      <a:pt x="40" y="3"/>
                      <a:pt x="40" y="3"/>
                    </a:cubicBezTo>
                    <a:cubicBezTo>
                      <a:pt x="38" y="1"/>
                      <a:pt x="35"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2" name="Freeform 210">
                <a:extLst>
                  <a:ext uri="{FF2B5EF4-FFF2-40B4-BE49-F238E27FC236}">
                    <a16:creationId xmlns:a16="http://schemas.microsoft.com/office/drawing/2014/main" id="{CCFD59B9-49D4-412A-A2A1-A556F42E4C9E}"/>
                  </a:ext>
                </a:extLst>
              </p:cNvPr>
              <p:cNvSpPr>
                <a:spLocks/>
              </p:cNvSpPr>
              <p:nvPr/>
            </p:nvSpPr>
            <p:spPr bwMode="auto">
              <a:xfrm>
                <a:off x="10465728" y="6710596"/>
                <a:ext cx="18426" cy="25796"/>
              </a:xfrm>
              <a:custGeom>
                <a:avLst/>
                <a:gdLst>
                  <a:gd name="T0" fmla="*/ 1 w 6"/>
                  <a:gd name="T1" fmla="*/ 0 h 8"/>
                  <a:gd name="T2" fmla="*/ 2 w 6"/>
                  <a:gd name="T3" fmla="*/ 2 h 8"/>
                  <a:gd name="T4" fmla="*/ 0 w 6"/>
                  <a:gd name="T5" fmla="*/ 1 h 8"/>
                  <a:gd name="T6" fmla="*/ 0 w 6"/>
                  <a:gd name="T7" fmla="*/ 8 h 8"/>
                  <a:gd name="T8" fmla="*/ 5 w 6"/>
                  <a:gd name="T9" fmla="*/ 2 h 8"/>
                  <a:gd name="T10" fmla="*/ 2 w 6"/>
                  <a:gd name="T11" fmla="*/ 2 h 8"/>
                  <a:gd name="T12" fmla="*/ 5 w 6"/>
                  <a:gd name="T13" fmla="*/ 2 h 8"/>
                  <a:gd name="T14" fmla="*/ 6 w 6"/>
                  <a:gd name="T15" fmla="*/ 2 h 8"/>
                  <a:gd name="T16" fmla="*/ 1 w 6"/>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1" y="0"/>
                    </a:moveTo>
                    <a:cubicBezTo>
                      <a:pt x="1" y="1"/>
                      <a:pt x="1" y="1"/>
                      <a:pt x="2" y="2"/>
                    </a:cubicBezTo>
                    <a:cubicBezTo>
                      <a:pt x="1" y="1"/>
                      <a:pt x="1" y="1"/>
                      <a:pt x="0" y="1"/>
                    </a:cubicBezTo>
                    <a:cubicBezTo>
                      <a:pt x="0" y="3"/>
                      <a:pt x="0" y="5"/>
                      <a:pt x="0" y="8"/>
                    </a:cubicBezTo>
                    <a:cubicBezTo>
                      <a:pt x="5" y="7"/>
                      <a:pt x="2" y="5"/>
                      <a:pt x="5" y="2"/>
                    </a:cubicBezTo>
                    <a:cubicBezTo>
                      <a:pt x="4" y="2"/>
                      <a:pt x="3" y="2"/>
                      <a:pt x="2" y="2"/>
                    </a:cubicBezTo>
                    <a:cubicBezTo>
                      <a:pt x="3" y="2"/>
                      <a:pt x="4" y="2"/>
                      <a:pt x="5" y="2"/>
                    </a:cubicBezTo>
                    <a:cubicBezTo>
                      <a:pt x="5" y="2"/>
                      <a:pt x="5" y="2"/>
                      <a:pt x="6" y="2"/>
                    </a:cubicBezTo>
                    <a:cubicBezTo>
                      <a:pt x="4"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3" name="Freeform 211">
                <a:extLst>
                  <a:ext uri="{FF2B5EF4-FFF2-40B4-BE49-F238E27FC236}">
                    <a16:creationId xmlns:a16="http://schemas.microsoft.com/office/drawing/2014/main" id="{915C86EC-1FFE-43F1-A0A0-8CC98D38E485}"/>
                  </a:ext>
                </a:extLst>
              </p:cNvPr>
              <p:cNvSpPr>
                <a:spLocks/>
              </p:cNvSpPr>
              <p:nvPr/>
            </p:nvSpPr>
            <p:spPr bwMode="auto">
              <a:xfrm>
                <a:off x="10443618" y="6710596"/>
                <a:ext cx="18426" cy="18426"/>
              </a:xfrm>
              <a:custGeom>
                <a:avLst/>
                <a:gdLst>
                  <a:gd name="T0" fmla="*/ 5 w 5"/>
                  <a:gd name="T1" fmla="*/ 0 h 6"/>
                  <a:gd name="T2" fmla="*/ 0 w 5"/>
                  <a:gd name="T3" fmla="*/ 4 h 6"/>
                  <a:gd name="T4" fmla="*/ 2 w 5"/>
                  <a:gd name="T5" fmla="*/ 6 h 6"/>
                  <a:gd name="T6" fmla="*/ 5 w 5"/>
                  <a:gd name="T7" fmla="*/ 5 h 6"/>
                  <a:gd name="T8" fmla="*/ 5 w 5"/>
                  <a:gd name="T9" fmla="*/ 0 h 6"/>
                </a:gdLst>
                <a:ahLst/>
                <a:cxnLst>
                  <a:cxn ang="0">
                    <a:pos x="T0" y="T1"/>
                  </a:cxn>
                  <a:cxn ang="0">
                    <a:pos x="T2" y="T3"/>
                  </a:cxn>
                  <a:cxn ang="0">
                    <a:pos x="T4" y="T5"/>
                  </a:cxn>
                  <a:cxn ang="0">
                    <a:pos x="T6" y="T7"/>
                  </a:cxn>
                  <a:cxn ang="0">
                    <a:pos x="T8" y="T9"/>
                  </a:cxn>
                </a:cxnLst>
                <a:rect l="0" t="0" r="r" b="b"/>
                <a:pathLst>
                  <a:path w="5" h="6">
                    <a:moveTo>
                      <a:pt x="5" y="0"/>
                    </a:moveTo>
                    <a:cubicBezTo>
                      <a:pt x="3" y="2"/>
                      <a:pt x="0" y="1"/>
                      <a:pt x="0" y="4"/>
                    </a:cubicBezTo>
                    <a:cubicBezTo>
                      <a:pt x="0" y="5"/>
                      <a:pt x="1" y="6"/>
                      <a:pt x="2" y="6"/>
                    </a:cubicBezTo>
                    <a:cubicBezTo>
                      <a:pt x="3" y="6"/>
                      <a:pt x="4" y="6"/>
                      <a:pt x="5" y="5"/>
                    </a:cubicBezTo>
                    <a:cubicBezTo>
                      <a:pt x="5" y="3"/>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4" name="Freeform 212">
                <a:extLst>
                  <a:ext uri="{FF2B5EF4-FFF2-40B4-BE49-F238E27FC236}">
                    <a16:creationId xmlns:a16="http://schemas.microsoft.com/office/drawing/2014/main" id="{E6CEC385-A058-4AE6-8649-BF692AD6F084}"/>
                  </a:ext>
                </a:extLst>
              </p:cNvPr>
              <p:cNvSpPr>
                <a:spLocks/>
              </p:cNvSpPr>
              <p:nvPr/>
            </p:nvSpPr>
            <p:spPr bwMode="auto">
              <a:xfrm>
                <a:off x="10473099" y="6714281"/>
                <a:ext cx="22111" cy="22111"/>
              </a:xfrm>
              <a:custGeom>
                <a:avLst/>
                <a:gdLst>
                  <a:gd name="T0" fmla="*/ 6 w 7"/>
                  <a:gd name="T1" fmla="*/ 0 h 7"/>
                  <a:gd name="T2" fmla="*/ 6 w 7"/>
                  <a:gd name="T3" fmla="*/ 7 h 7"/>
                  <a:gd name="T4" fmla="*/ 6 w 7"/>
                  <a:gd name="T5" fmla="*/ 0 h 7"/>
                </a:gdLst>
                <a:ahLst/>
                <a:cxnLst>
                  <a:cxn ang="0">
                    <a:pos x="T0" y="T1"/>
                  </a:cxn>
                  <a:cxn ang="0">
                    <a:pos x="T2" y="T3"/>
                  </a:cxn>
                  <a:cxn ang="0">
                    <a:pos x="T4" y="T5"/>
                  </a:cxn>
                </a:cxnLst>
                <a:rect l="0" t="0" r="r" b="b"/>
                <a:pathLst>
                  <a:path w="7" h="7">
                    <a:moveTo>
                      <a:pt x="6" y="0"/>
                    </a:moveTo>
                    <a:cubicBezTo>
                      <a:pt x="0" y="3"/>
                      <a:pt x="2" y="4"/>
                      <a:pt x="6" y="7"/>
                    </a:cubicBezTo>
                    <a:cubicBezTo>
                      <a:pt x="7" y="4"/>
                      <a:pt x="6" y="3"/>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5" name="Freeform 213">
                <a:extLst>
                  <a:ext uri="{FF2B5EF4-FFF2-40B4-BE49-F238E27FC236}">
                    <a16:creationId xmlns:a16="http://schemas.microsoft.com/office/drawing/2014/main" id="{176CABE9-18C7-4922-969D-DD47609EAEB9}"/>
                  </a:ext>
                </a:extLst>
              </p:cNvPr>
              <p:cNvSpPr>
                <a:spLocks/>
              </p:cNvSpPr>
              <p:nvPr/>
            </p:nvSpPr>
            <p:spPr bwMode="auto">
              <a:xfrm>
                <a:off x="7267048" y="5560840"/>
                <a:ext cx="210052" cy="106868"/>
              </a:xfrm>
              <a:custGeom>
                <a:avLst/>
                <a:gdLst>
                  <a:gd name="T0" fmla="*/ 66 w 66"/>
                  <a:gd name="T1" fmla="*/ 0 h 33"/>
                  <a:gd name="T2" fmla="*/ 40 w 66"/>
                  <a:gd name="T3" fmla="*/ 10 h 33"/>
                  <a:gd name="T4" fmla="*/ 39 w 66"/>
                  <a:gd name="T5" fmla="*/ 10 h 33"/>
                  <a:gd name="T6" fmla="*/ 34 w 66"/>
                  <a:gd name="T7" fmla="*/ 11 h 33"/>
                  <a:gd name="T8" fmla="*/ 28 w 66"/>
                  <a:gd name="T9" fmla="*/ 11 h 33"/>
                  <a:gd name="T10" fmla="*/ 19 w 66"/>
                  <a:gd name="T11" fmla="*/ 9 h 33"/>
                  <a:gd name="T12" fmla="*/ 16 w 66"/>
                  <a:gd name="T13" fmla="*/ 14 h 33"/>
                  <a:gd name="T14" fmla="*/ 7 w 66"/>
                  <a:gd name="T15" fmla="*/ 18 h 33"/>
                  <a:gd name="T16" fmla="*/ 4 w 66"/>
                  <a:gd name="T17" fmla="*/ 20 h 33"/>
                  <a:gd name="T18" fmla="*/ 4 w 66"/>
                  <a:gd name="T19" fmla="*/ 20 h 33"/>
                  <a:gd name="T20" fmla="*/ 2 w 66"/>
                  <a:gd name="T21" fmla="*/ 20 h 33"/>
                  <a:gd name="T22" fmla="*/ 1 w 66"/>
                  <a:gd name="T23" fmla="*/ 19 h 33"/>
                  <a:gd name="T24" fmla="*/ 1 w 66"/>
                  <a:gd name="T25" fmla="*/ 19 h 33"/>
                  <a:gd name="T26" fmla="*/ 4 w 66"/>
                  <a:gd name="T27" fmla="*/ 30 h 33"/>
                  <a:gd name="T28" fmla="*/ 19 w 66"/>
                  <a:gd name="T29" fmla="*/ 33 h 33"/>
                  <a:gd name="T30" fmla="*/ 20 w 66"/>
                  <a:gd name="T31" fmla="*/ 33 h 33"/>
                  <a:gd name="T32" fmla="*/ 38 w 66"/>
                  <a:gd name="T33" fmla="*/ 27 h 33"/>
                  <a:gd name="T34" fmla="*/ 41 w 66"/>
                  <a:gd name="T35" fmla="*/ 23 h 33"/>
                  <a:gd name="T36" fmla="*/ 46 w 66"/>
                  <a:gd name="T37" fmla="*/ 23 h 33"/>
                  <a:gd name="T38" fmla="*/ 46 w 66"/>
                  <a:gd name="T39" fmla="*/ 23 h 33"/>
                  <a:gd name="T40" fmla="*/ 46 w 66"/>
                  <a:gd name="T41" fmla="*/ 20 h 33"/>
                  <a:gd name="T42" fmla="*/ 49 w 66"/>
                  <a:gd name="T43" fmla="*/ 23 h 33"/>
                  <a:gd name="T44" fmla="*/ 50 w 66"/>
                  <a:gd name="T45" fmla="*/ 23 h 33"/>
                  <a:gd name="T46" fmla="*/ 52 w 66"/>
                  <a:gd name="T47" fmla="*/ 23 h 33"/>
                  <a:gd name="T48" fmla="*/ 49 w 66"/>
                  <a:gd name="T49" fmla="*/ 12 h 33"/>
                  <a:gd name="T50" fmla="*/ 51 w 66"/>
                  <a:gd name="T51" fmla="*/ 11 h 33"/>
                  <a:gd name="T52" fmla="*/ 53 w 66"/>
                  <a:gd name="T53" fmla="*/ 9 h 33"/>
                  <a:gd name="T54" fmla="*/ 58 w 66"/>
                  <a:gd name="T55" fmla="*/ 6 h 33"/>
                  <a:gd name="T56" fmla="*/ 66 w 66"/>
                  <a:gd name="T5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6" h="33">
                    <a:moveTo>
                      <a:pt x="66" y="0"/>
                    </a:moveTo>
                    <a:cubicBezTo>
                      <a:pt x="57" y="3"/>
                      <a:pt x="48" y="7"/>
                      <a:pt x="40" y="10"/>
                    </a:cubicBezTo>
                    <a:cubicBezTo>
                      <a:pt x="39" y="10"/>
                      <a:pt x="39" y="10"/>
                      <a:pt x="39" y="10"/>
                    </a:cubicBezTo>
                    <a:cubicBezTo>
                      <a:pt x="37" y="10"/>
                      <a:pt x="36" y="10"/>
                      <a:pt x="34" y="11"/>
                    </a:cubicBezTo>
                    <a:cubicBezTo>
                      <a:pt x="32" y="11"/>
                      <a:pt x="30" y="11"/>
                      <a:pt x="28" y="11"/>
                    </a:cubicBezTo>
                    <a:cubicBezTo>
                      <a:pt x="25" y="11"/>
                      <a:pt x="21" y="10"/>
                      <a:pt x="19" y="9"/>
                    </a:cubicBezTo>
                    <a:cubicBezTo>
                      <a:pt x="19" y="13"/>
                      <a:pt x="20" y="13"/>
                      <a:pt x="16" y="14"/>
                    </a:cubicBezTo>
                    <a:cubicBezTo>
                      <a:pt x="12" y="15"/>
                      <a:pt x="9" y="16"/>
                      <a:pt x="7" y="18"/>
                    </a:cubicBezTo>
                    <a:cubicBezTo>
                      <a:pt x="6" y="19"/>
                      <a:pt x="6" y="20"/>
                      <a:pt x="4" y="20"/>
                    </a:cubicBezTo>
                    <a:cubicBezTo>
                      <a:pt x="4" y="20"/>
                      <a:pt x="4" y="20"/>
                      <a:pt x="4" y="20"/>
                    </a:cubicBezTo>
                    <a:cubicBezTo>
                      <a:pt x="4" y="20"/>
                      <a:pt x="3" y="20"/>
                      <a:pt x="2" y="20"/>
                    </a:cubicBezTo>
                    <a:cubicBezTo>
                      <a:pt x="1" y="19"/>
                      <a:pt x="1" y="19"/>
                      <a:pt x="1" y="19"/>
                    </a:cubicBezTo>
                    <a:cubicBezTo>
                      <a:pt x="1" y="19"/>
                      <a:pt x="1" y="19"/>
                      <a:pt x="1" y="19"/>
                    </a:cubicBezTo>
                    <a:cubicBezTo>
                      <a:pt x="0" y="19"/>
                      <a:pt x="3" y="29"/>
                      <a:pt x="4" y="30"/>
                    </a:cubicBezTo>
                    <a:cubicBezTo>
                      <a:pt x="8" y="33"/>
                      <a:pt x="15" y="33"/>
                      <a:pt x="19" y="33"/>
                    </a:cubicBezTo>
                    <a:cubicBezTo>
                      <a:pt x="19" y="33"/>
                      <a:pt x="20" y="33"/>
                      <a:pt x="20" y="33"/>
                    </a:cubicBezTo>
                    <a:cubicBezTo>
                      <a:pt x="26" y="33"/>
                      <a:pt x="32" y="30"/>
                      <a:pt x="38" y="27"/>
                    </a:cubicBezTo>
                    <a:cubicBezTo>
                      <a:pt x="40" y="26"/>
                      <a:pt x="40" y="24"/>
                      <a:pt x="41" y="23"/>
                    </a:cubicBezTo>
                    <a:cubicBezTo>
                      <a:pt x="43" y="23"/>
                      <a:pt x="45" y="23"/>
                      <a:pt x="46" y="23"/>
                    </a:cubicBezTo>
                    <a:cubicBezTo>
                      <a:pt x="46" y="23"/>
                      <a:pt x="46" y="23"/>
                      <a:pt x="46" y="23"/>
                    </a:cubicBezTo>
                    <a:cubicBezTo>
                      <a:pt x="48" y="23"/>
                      <a:pt x="46" y="21"/>
                      <a:pt x="46" y="20"/>
                    </a:cubicBezTo>
                    <a:cubicBezTo>
                      <a:pt x="47" y="22"/>
                      <a:pt x="47" y="23"/>
                      <a:pt x="49" y="23"/>
                    </a:cubicBezTo>
                    <a:cubicBezTo>
                      <a:pt x="49" y="23"/>
                      <a:pt x="50" y="23"/>
                      <a:pt x="50" y="23"/>
                    </a:cubicBezTo>
                    <a:cubicBezTo>
                      <a:pt x="52" y="23"/>
                      <a:pt x="52" y="23"/>
                      <a:pt x="52" y="23"/>
                    </a:cubicBezTo>
                    <a:cubicBezTo>
                      <a:pt x="50" y="19"/>
                      <a:pt x="45" y="15"/>
                      <a:pt x="49" y="12"/>
                    </a:cubicBezTo>
                    <a:cubicBezTo>
                      <a:pt x="49" y="11"/>
                      <a:pt x="51" y="11"/>
                      <a:pt x="51" y="11"/>
                    </a:cubicBezTo>
                    <a:cubicBezTo>
                      <a:pt x="52" y="11"/>
                      <a:pt x="52" y="9"/>
                      <a:pt x="53" y="9"/>
                    </a:cubicBezTo>
                    <a:cubicBezTo>
                      <a:pt x="54" y="8"/>
                      <a:pt x="56" y="7"/>
                      <a:pt x="58" y="6"/>
                    </a:cubicBezTo>
                    <a:cubicBezTo>
                      <a:pt x="60" y="5"/>
                      <a:pt x="66" y="2"/>
                      <a:pt x="6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6" name="Freeform 214">
                <a:extLst>
                  <a:ext uri="{FF2B5EF4-FFF2-40B4-BE49-F238E27FC236}">
                    <a16:creationId xmlns:a16="http://schemas.microsoft.com/office/drawing/2014/main" id="{DD139176-4AE2-40D1-BD12-684988D8666F}"/>
                  </a:ext>
                </a:extLst>
              </p:cNvPr>
              <p:cNvSpPr>
                <a:spLocks/>
              </p:cNvSpPr>
              <p:nvPr/>
            </p:nvSpPr>
            <p:spPr bwMode="auto">
              <a:xfrm>
                <a:off x="5678764" y="3353456"/>
                <a:ext cx="40536" cy="29481"/>
              </a:xfrm>
              <a:custGeom>
                <a:avLst/>
                <a:gdLst>
                  <a:gd name="T0" fmla="*/ 2 w 13"/>
                  <a:gd name="T1" fmla="*/ 0 h 10"/>
                  <a:gd name="T2" fmla="*/ 2 w 13"/>
                  <a:gd name="T3" fmla="*/ 7 h 10"/>
                  <a:gd name="T4" fmla="*/ 10 w 13"/>
                  <a:gd name="T5" fmla="*/ 10 h 10"/>
                  <a:gd name="T6" fmla="*/ 11 w 13"/>
                  <a:gd name="T7" fmla="*/ 4 h 10"/>
                  <a:gd name="T8" fmla="*/ 2 w 13"/>
                  <a:gd name="T9" fmla="*/ 0 h 10"/>
                </a:gdLst>
                <a:ahLst/>
                <a:cxnLst>
                  <a:cxn ang="0">
                    <a:pos x="T0" y="T1"/>
                  </a:cxn>
                  <a:cxn ang="0">
                    <a:pos x="T2" y="T3"/>
                  </a:cxn>
                  <a:cxn ang="0">
                    <a:pos x="T4" y="T5"/>
                  </a:cxn>
                  <a:cxn ang="0">
                    <a:pos x="T6" y="T7"/>
                  </a:cxn>
                  <a:cxn ang="0">
                    <a:pos x="T8" y="T9"/>
                  </a:cxn>
                </a:cxnLst>
                <a:rect l="0" t="0" r="r" b="b"/>
                <a:pathLst>
                  <a:path w="13" h="10">
                    <a:moveTo>
                      <a:pt x="2" y="0"/>
                    </a:moveTo>
                    <a:cubicBezTo>
                      <a:pt x="2" y="1"/>
                      <a:pt x="0" y="6"/>
                      <a:pt x="2" y="7"/>
                    </a:cubicBezTo>
                    <a:cubicBezTo>
                      <a:pt x="4" y="8"/>
                      <a:pt x="7" y="9"/>
                      <a:pt x="10" y="10"/>
                    </a:cubicBezTo>
                    <a:cubicBezTo>
                      <a:pt x="11" y="9"/>
                      <a:pt x="13" y="5"/>
                      <a:pt x="11" y="4"/>
                    </a:cubicBezTo>
                    <a:cubicBezTo>
                      <a:pt x="8" y="3"/>
                      <a:pt x="5"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7" name="Freeform 215">
                <a:extLst>
                  <a:ext uri="{FF2B5EF4-FFF2-40B4-BE49-F238E27FC236}">
                    <a16:creationId xmlns:a16="http://schemas.microsoft.com/office/drawing/2014/main" id="{FBAD5867-42C1-4E3D-AFF6-5DAFF953222F}"/>
                  </a:ext>
                </a:extLst>
              </p:cNvPr>
              <p:cNvSpPr>
                <a:spLocks/>
              </p:cNvSpPr>
              <p:nvPr/>
            </p:nvSpPr>
            <p:spPr bwMode="auto">
              <a:xfrm>
                <a:off x="9772927" y="4455306"/>
                <a:ext cx="40536" cy="14740"/>
              </a:xfrm>
              <a:custGeom>
                <a:avLst/>
                <a:gdLst>
                  <a:gd name="T0" fmla="*/ 9 w 12"/>
                  <a:gd name="T1" fmla="*/ 0 h 5"/>
                  <a:gd name="T2" fmla="*/ 0 w 12"/>
                  <a:gd name="T3" fmla="*/ 2 h 5"/>
                  <a:gd name="T4" fmla="*/ 6 w 12"/>
                  <a:gd name="T5" fmla="*/ 4 h 5"/>
                  <a:gd name="T6" fmla="*/ 8 w 12"/>
                  <a:gd name="T7" fmla="*/ 5 h 5"/>
                  <a:gd name="T8" fmla="*/ 12 w 12"/>
                  <a:gd name="T9" fmla="*/ 1 h 5"/>
                  <a:gd name="T10" fmla="*/ 9 w 12"/>
                  <a:gd name="T11" fmla="*/ 0 h 5"/>
                </a:gdLst>
                <a:ahLst/>
                <a:cxnLst>
                  <a:cxn ang="0">
                    <a:pos x="T0" y="T1"/>
                  </a:cxn>
                  <a:cxn ang="0">
                    <a:pos x="T2" y="T3"/>
                  </a:cxn>
                  <a:cxn ang="0">
                    <a:pos x="T4" y="T5"/>
                  </a:cxn>
                  <a:cxn ang="0">
                    <a:pos x="T6" y="T7"/>
                  </a:cxn>
                  <a:cxn ang="0">
                    <a:pos x="T8" y="T9"/>
                  </a:cxn>
                  <a:cxn ang="0">
                    <a:pos x="T10" y="T11"/>
                  </a:cxn>
                </a:cxnLst>
                <a:rect l="0" t="0" r="r" b="b"/>
                <a:pathLst>
                  <a:path w="12" h="5">
                    <a:moveTo>
                      <a:pt x="9" y="0"/>
                    </a:moveTo>
                    <a:cubicBezTo>
                      <a:pt x="5" y="0"/>
                      <a:pt x="0" y="1"/>
                      <a:pt x="0" y="2"/>
                    </a:cubicBezTo>
                    <a:cubicBezTo>
                      <a:pt x="0" y="4"/>
                      <a:pt x="4" y="3"/>
                      <a:pt x="6" y="4"/>
                    </a:cubicBezTo>
                    <a:cubicBezTo>
                      <a:pt x="7" y="5"/>
                      <a:pt x="7" y="5"/>
                      <a:pt x="8" y="5"/>
                    </a:cubicBezTo>
                    <a:cubicBezTo>
                      <a:pt x="10" y="5"/>
                      <a:pt x="11" y="4"/>
                      <a:pt x="12" y="1"/>
                    </a:cubicBezTo>
                    <a:cubicBezTo>
                      <a:pt x="12" y="0"/>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8" name="Freeform 216">
                <a:extLst>
                  <a:ext uri="{FF2B5EF4-FFF2-40B4-BE49-F238E27FC236}">
                    <a16:creationId xmlns:a16="http://schemas.microsoft.com/office/drawing/2014/main" id="{74DC4A40-6053-4752-B54B-16E0354838C0}"/>
                  </a:ext>
                </a:extLst>
              </p:cNvPr>
              <p:cNvSpPr>
                <a:spLocks/>
              </p:cNvSpPr>
              <p:nvPr/>
            </p:nvSpPr>
            <p:spPr bwMode="auto">
              <a:xfrm>
                <a:off x="4871723" y="3972555"/>
                <a:ext cx="73702" cy="84758"/>
              </a:xfrm>
              <a:custGeom>
                <a:avLst/>
                <a:gdLst>
                  <a:gd name="T0" fmla="*/ 9 w 23"/>
                  <a:gd name="T1" fmla="*/ 0 h 27"/>
                  <a:gd name="T2" fmla="*/ 7 w 23"/>
                  <a:gd name="T3" fmla="*/ 1 h 27"/>
                  <a:gd name="T4" fmla="*/ 5 w 23"/>
                  <a:gd name="T5" fmla="*/ 3 h 27"/>
                  <a:gd name="T6" fmla="*/ 4 w 23"/>
                  <a:gd name="T7" fmla="*/ 5 h 27"/>
                  <a:gd name="T8" fmla="*/ 4 w 23"/>
                  <a:gd name="T9" fmla="*/ 6 h 27"/>
                  <a:gd name="T10" fmla="*/ 1 w 23"/>
                  <a:gd name="T11" fmla="*/ 11 h 27"/>
                  <a:gd name="T12" fmla="*/ 1 w 23"/>
                  <a:gd name="T13" fmla="*/ 12 h 27"/>
                  <a:gd name="T14" fmla="*/ 4 w 23"/>
                  <a:gd name="T15" fmla="*/ 19 h 27"/>
                  <a:gd name="T16" fmla="*/ 3 w 23"/>
                  <a:gd name="T17" fmla="*/ 23 h 27"/>
                  <a:gd name="T18" fmla="*/ 2 w 23"/>
                  <a:gd name="T19" fmla="*/ 23 h 27"/>
                  <a:gd name="T20" fmla="*/ 5 w 23"/>
                  <a:gd name="T21" fmla="*/ 24 h 27"/>
                  <a:gd name="T22" fmla="*/ 11 w 23"/>
                  <a:gd name="T23" fmla="*/ 25 h 27"/>
                  <a:gd name="T24" fmla="*/ 13 w 23"/>
                  <a:gd name="T25" fmla="*/ 25 h 27"/>
                  <a:gd name="T26" fmla="*/ 16 w 23"/>
                  <a:gd name="T27" fmla="*/ 26 h 27"/>
                  <a:gd name="T28" fmla="*/ 18 w 23"/>
                  <a:gd name="T29" fmla="*/ 27 h 27"/>
                  <a:gd name="T30" fmla="*/ 18 w 23"/>
                  <a:gd name="T31" fmla="*/ 27 h 27"/>
                  <a:gd name="T32" fmla="*/ 18 w 23"/>
                  <a:gd name="T33" fmla="*/ 27 h 27"/>
                  <a:gd name="T34" fmla="*/ 18 w 23"/>
                  <a:gd name="T35" fmla="*/ 26 h 27"/>
                  <a:gd name="T36" fmla="*/ 21 w 23"/>
                  <a:gd name="T37" fmla="*/ 15 h 27"/>
                  <a:gd name="T38" fmla="*/ 21 w 23"/>
                  <a:gd name="T39" fmla="*/ 15 h 27"/>
                  <a:gd name="T40" fmla="*/ 20 w 23"/>
                  <a:gd name="T41" fmla="*/ 14 h 27"/>
                  <a:gd name="T42" fmla="*/ 19 w 23"/>
                  <a:gd name="T43" fmla="*/ 13 h 27"/>
                  <a:gd name="T44" fmla="*/ 17 w 23"/>
                  <a:gd name="T45" fmla="*/ 12 h 27"/>
                  <a:gd name="T46" fmla="*/ 12 w 23"/>
                  <a:gd name="T47" fmla="*/ 7 h 27"/>
                  <a:gd name="T48" fmla="*/ 12 w 23"/>
                  <a:gd name="T49" fmla="*/ 7 h 27"/>
                  <a:gd name="T50" fmla="*/ 12 w 23"/>
                  <a:gd name="T51" fmla="*/ 5 h 27"/>
                  <a:gd name="T52" fmla="*/ 10 w 23"/>
                  <a:gd name="T53" fmla="*/ 1 h 27"/>
                  <a:gd name="T54" fmla="*/ 10 w 23"/>
                  <a:gd name="T55" fmla="*/ 1 h 27"/>
                  <a:gd name="T56" fmla="*/ 9 w 23"/>
                  <a:gd name="T5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 h="27">
                    <a:moveTo>
                      <a:pt x="9" y="0"/>
                    </a:moveTo>
                    <a:cubicBezTo>
                      <a:pt x="8" y="0"/>
                      <a:pt x="8" y="1"/>
                      <a:pt x="7" y="1"/>
                    </a:cubicBezTo>
                    <a:cubicBezTo>
                      <a:pt x="7" y="2"/>
                      <a:pt x="6" y="2"/>
                      <a:pt x="5" y="3"/>
                    </a:cubicBezTo>
                    <a:cubicBezTo>
                      <a:pt x="4" y="4"/>
                      <a:pt x="4" y="5"/>
                      <a:pt x="4" y="5"/>
                    </a:cubicBezTo>
                    <a:cubicBezTo>
                      <a:pt x="4" y="6"/>
                      <a:pt x="4" y="6"/>
                      <a:pt x="4" y="6"/>
                    </a:cubicBezTo>
                    <a:cubicBezTo>
                      <a:pt x="2" y="8"/>
                      <a:pt x="2" y="10"/>
                      <a:pt x="1" y="11"/>
                    </a:cubicBezTo>
                    <a:cubicBezTo>
                      <a:pt x="1" y="12"/>
                      <a:pt x="1" y="12"/>
                      <a:pt x="1" y="12"/>
                    </a:cubicBezTo>
                    <a:cubicBezTo>
                      <a:pt x="0" y="12"/>
                      <a:pt x="3" y="16"/>
                      <a:pt x="4" y="19"/>
                    </a:cubicBezTo>
                    <a:cubicBezTo>
                      <a:pt x="4" y="20"/>
                      <a:pt x="4" y="22"/>
                      <a:pt x="3" y="23"/>
                    </a:cubicBezTo>
                    <a:cubicBezTo>
                      <a:pt x="2" y="23"/>
                      <a:pt x="2" y="23"/>
                      <a:pt x="2" y="23"/>
                    </a:cubicBezTo>
                    <a:cubicBezTo>
                      <a:pt x="3" y="24"/>
                      <a:pt x="4" y="24"/>
                      <a:pt x="5" y="24"/>
                    </a:cubicBezTo>
                    <a:cubicBezTo>
                      <a:pt x="7" y="25"/>
                      <a:pt x="9" y="25"/>
                      <a:pt x="11" y="25"/>
                    </a:cubicBezTo>
                    <a:cubicBezTo>
                      <a:pt x="12" y="25"/>
                      <a:pt x="12" y="25"/>
                      <a:pt x="13" y="25"/>
                    </a:cubicBezTo>
                    <a:cubicBezTo>
                      <a:pt x="14" y="25"/>
                      <a:pt x="15" y="25"/>
                      <a:pt x="16" y="26"/>
                    </a:cubicBezTo>
                    <a:cubicBezTo>
                      <a:pt x="17" y="26"/>
                      <a:pt x="17" y="26"/>
                      <a:pt x="18" y="27"/>
                    </a:cubicBezTo>
                    <a:cubicBezTo>
                      <a:pt x="18" y="27"/>
                      <a:pt x="18" y="27"/>
                      <a:pt x="18" y="27"/>
                    </a:cubicBezTo>
                    <a:cubicBezTo>
                      <a:pt x="18" y="27"/>
                      <a:pt x="18" y="27"/>
                      <a:pt x="18" y="27"/>
                    </a:cubicBezTo>
                    <a:cubicBezTo>
                      <a:pt x="18" y="26"/>
                      <a:pt x="18" y="26"/>
                      <a:pt x="18" y="26"/>
                    </a:cubicBezTo>
                    <a:cubicBezTo>
                      <a:pt x="16" y="24"/>
                      <a:pt x="23" y="18"/>
                      <a:pt x="21" y="15"/>
                    </a:cubicBezTo>
                    <a:cubicBezTo>
                      <a:pt x="21" y="15"/>
                      <a:pt x="21" y="15"/>
                      <a:pt x="21" y="15"/>
                    </a:cubicBezTo>
                    <a:cubicBezTo>
                      <a:pt x="20" y="14"/>
                      <a:pt x="20" y="14"/>
                      <a:pt x="20" y="14"/>
                    </a:cubicBezTo>
                    <a:cubicBezTo>
                      <a:pt x="20" y="14"/>
                      <a:pt x="19" y="13"/>
                      <a:pt x="19" y="13"/>
                    </a:cubicBezTo>
                    <a:cubicBezTo>
                      <a:pt x="18" y="13"/>
                      <a:pt x="17" y="12"/>
                      <a:pt x="17" y="12"/>
                    </a:cubicBezTo>
                    <a:cubicBezTo>
                      <a:pt x="15" y="11"/>
                      <a:pt x="13" y="9"/>
                      <a:pt x="12" y="7"/>
                    </a:cubicBezTo>
                    <a:cubicBezTo>
                      <a:pt x="12" y="7"/>
                      <a:pt x="12" y="7"/>
                      <a:pt x="12" y="7"/>
                    </a:cubicBezTo>
                    <a:cubicBezTo>
                      <a:pt x="12" y="6"/>
                      <a:pt x="12" y="5"/>
                      <a:pt x="12" y="5"/>
                    </a:cubicBezTo>
                    <a:cubicBezTo>
                      <a:pt x="12" y="3"/>
                      <a:pt x="11" y="2"/>
                      <a:pt x="10" y="1"/>
                    </a:cubicBezTo>
                    <a:cubicBezTo>
                      <a:pt x="10" y="1"/>
                      <a:pt x="10" y="1"/>
                      <a:pt x="10" y="1"/>
                    </a:cubicBezTo>
                    <a:cubicBezTo>
                      <a:pt x="10" y="1"/>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9" name="Freeform 217">
                <a:extLst>
                  <a:ext uri="{FF2B5EF4-FFF2-40B4-BE49-F238E27FC236}">
                    <a16:creationId xmlns:a16="http://schemas.microsoft.com/office/drawing/2014/main" id="{BC9492A4-E076-4010-8D33-A873D189C4F1}"/>
                  </a:ext>
                </a:extLst>
              </p:cNvPr>
              <p:cNvSpPr>
                <a:spLocks/>
              </p:cNvSpPr>
              <p:nvPr/>
            </p:nvSpPr>
            <p:spPr bwMode="auto">
              <a:xfrm>
                <a:off x="6448953" y="2863336"/>
                <a:ext cx="18426" cy="11055"/>
              </a:xfrm>
              <a:custGeom>
                <a:avLst/>
                <a:gdLst>
                  <a:gd name="T0" fmla="*/ 0 w 6"/>
                  <a:gd name="T1" fmla="*/ 0 h 3"/>
                  <a:gd name="T2" fmla="*/ 4 w 6"/>
                  <a:gd name="T3" fmla="*/ 3 h 3"/>
                  <a:gd name="T4" fmla="*/ 6 w 6"/>
                  <a:gd name="T5" fmla="*/ 3 h 3"/>
                  <a:gd name="T6" fmla="*/ 0 w 6"/>
                  <a:gd name="T7" fmla="*/ 0 h 3"/>
                </a:gdLst>
                <a:ahLst/>
                <a:cxnLst>
                  <a:cxn ang="0">
                    <a:pos x="T0" y="T1"/>
                  </a:cxn>
                  <a:cxn ang="0">
                    <a:pos x="T2" y="T3"/>
                  </a:cxn>
                  <a:cxn ang="0">
                    <a:pos x="T4" y="T5"/>
                  </a:cxn>
                  <a:cxn ang="0">
                    <a:pos x="T6" y="T7"/>
                  </a:cxn>
                </a:cxnLst>
                <a:rect l="0" t="0" r="r" b="b"/>
                <a:pathLst>
                  <a:path w="6" h="3">
                    <a:moveTo>
                      <a:pt x="0" y="0"/>
                    </a:moveTo>
                    <a:cubicBezTo>
                      <a:pt x="2" y="2"/>
                      <a:pt x="2" y="3"/>
                      <a:pt x="4" y="3"/>
                    </a:cubicBezTo>
                    <a:cubicBezTo>
                      <a:pt x="4" y="3"/>
                      <a:pt x="5" y="3"/>
                      <a:pt x="6" y="3"/>
                    </a:cubicBezTo>
                    <a:cubicBezTo>
                      <a:pt x="4"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0" name="Freeform 218">
                <a:extLst>
                  <a:ext uri="{FF2B5EF4-FFF2-40B4-BE49-F238E27FC236}">
                    <a16:creationId xmlns:a16="http://schemas.microsoft.com/office/drawing/2014/main" id="{12BB9F0F-16AF-4A94-BE6F-054C788947E5}"/>
                  </a:ext>
                </a:extLst>
              </p:cNvPr>
              <p:cNvSpPr>
                <a:spLocks/>
              </p:cNvSpPr>
              <p:nvPr/>
            </p:nvSpPr>
            <p:spPr bwMode="auto">
              <a:xfrm>
                <a:off x="6434212" y="2914927"/>
                <a:ext cx="33166" cy="14740"/>
              </a:xfrm>
              <a:custGeom>
                <a:avLst/>
                <a:gdLst>
                  <a:gd name="T0" fmla="*/ 5 w 10"/>
                  <a:gd name="T1" fmla="*/ 0 h 5"/>
                  <a:gd name="T2" fmla="*/ 3 w 10"/>
                  <a:gd name="T3" fmla="*/ 4 h 5"/>
                  <a:gd name="T4" fmla="*/ 8 w 10"/>
                  <a:gd name="T5" fmla="*/ 5 h 5"/>
                  <a:gd name="T6" fmla="*/ 8 w 10"/>
                  <a:gd name="T7" fmla="*/ 2 h 5"/>
                  <a:gd name="T8" fmla="*/ 5 w 10"/>
                  <a:gd name="T9" fmla="*/ 0 h 5"/>
                </a:gdLst>
                <a:ahLst/>
                <a:cxnLst>
                  <a:cxn ang="0">
                    <a:pos x="T0" y="T1"/>
                  </a:cxn>
                  <a:cxn ang="0">
                    <a:pos x="T2" y="T3"/>
                  </a:cxn>
                  <a:cxn ang="0">
                    <a:pos x="T4" y="T5"/>
                  </a:cxn>
                  <a:cxn ang="0">
                    <a:pos x="T6" y="T7"/>
                  </a:cxn>
                  <a:cxn ang="0">
                    <a:pos x="T8" y="T9"/>
                  </a:cxn>
                </a:cxnLst>
                <a:rect l="0" t="0" r="r" b="b"/>
                <a:pathLst>
                  <a:path w="10" h="5">
                    <a:moveTo>
                      <a:pt x="5" y="0"/>
                    </a:moveTo>
                    <a:cubicBezTo>
                      <a:pt x="2" y="0"/>
                      <a:pt x="0" y="3"/>
                      <a:pt x="3" y="4"/>
                    </a:cubicBezTo>
                    <a:cubicBezTo>
                      <a:pt x="5" y="5"/>
                      <a:pt x="7" y="5"/>
                      <a:pt x="8" y="5"/>
                    </a:cubicBezTo>
                    <a:cubicBezTo>
                      <a:pt x="10" y="5"/>
                      <a:pt x="10" y="4"/>
                      <a:pt x="8" y="2"/>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1" name="Freeform 219">
                <a:extLst>
                  <a:ext uri="{FF2B5EF4-FFF2-40B4-BE49-F238E27FC236}">
                    <a16:creationId xmlns:a16="http://schemas.microsoft.com/office/drawing/2014/main" id="{23612A71-4388-4297-843F-1429596AF623}"/>
                  </a:ext>
                </a:extLst>
              </p:cNvPr>
              <p:cNvSpPr>
                <a:spLocks/>
              </p:cNvSpPr>
              <p:nvPr/>
            </p:nvSpPr>
            <p:spPr bwMode="auto">
              <a:xfrm>
                <a:off x="7355491" y="6272068"/>
                <a:ext cx="0" cy="3685"/>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lnTo>
                      <a:pt x="0"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2" name="Freeform 220">
                <a:extLst>
                  <a:ext uri="{FF2B5EF4-FFF2-40B4-BE49-F238E27FC236}">
                    <a16:creationId xmlns:a16="http://schemas.microsoft.com/office/drawing/2014/main" id="{42809BA4-C939-4864-A65C-5546F90E824B}"/>
                  </a:ext>
                </a:extLst>
              </p:cNvPr>
              <p:cNvSpPr>
                <a:spLocks/>
              </p:cNvSpPr>
              <p:nvPr/>
            </p:nvSpPr>
            <p:spPr bwMode="auto">
              <a:xfrm>
                <a:off x="7355491" y="6272068"/>
                <a:ext cx="0" cy="3685"/>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lnTo>
                      <a:pt x="0" y="1"/>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3" name="Freeform 221">
                <a:extLst>
                  <a:ext uri="{FF2B5EF4-FFF2-40B4-BE49-F238E27FC236}">
                    <a16:creationId xmlns:a16="http://schemas.microsoft.com/office/drawing/2014/main" id="{62B3787E-AD76-4C5D-BF63-D14FC1058BF1}"/>
                  </a:ext>
                </a:extLst>
              </p:cNvPr>
              <p:cNvSpPr>
                <a:spLocks/>
              </p:cNvSpPr>
              <p:nvPr/>
            </p:nvSpPr>
            <p:spPr bwMode="auto">
              <a:xfrm>
                <a:off x="7326010" y="6014110"/>
                <a:ext cx="29481" cy="7370"/>
              </a:xfrm>
              <a:custGeom>
                <a:avLst/>
                <a:gdLst>
                  <a:gd name="T0" fmla="*/ 7 w 9"/>
                  <a:gd name="T1" fmla="*/ 0 h 2"/>
                  <a:gd name="T2" fmla="*/ 0 w 9"/>
                  <a:gd name="T3" fmla="*/ 2 h 2"/>
                  <a:gd name="T4" fmla="*/ 9 w 9"/>
                  <a:gd name="T5" fmla="*/ 0 h 2"/>
                  <a:gd name="T6" fmla="*/ 7 w 9"/>
                  <a:gd name="T7" fmla="*/ 0 h 2"/>
                </a:gdLst>
                <a:ahLst/>
                <a:cxnLst>
                  <a:cxn ang="0">
                    <a:pos x="T0" y="T1"/>
                  </a:cxn>
                  <a:cxn ang="0">
                    <a:pos x="T2" y="T3"/>
                  </a:cxn>
                  <a:cxn ang="0">
                    <a:pos x="T4" y="T5"/>
                  </a:cxn>
                  <a:cxn ang="0">
                    <a:pos x="T6" y="T7"/>
                  </a:cxn>
                </a:cxnLst>
                <a:rect l="0" t="0" r="r" b="b"/>
                <a:pathLst>
                  <a:path w="9" h="2">
                    <a:moveTo>
                      <a:pt x="7" y="0"/>
                    </a:moveTo>
                    <a:cubicBezTo>
                      <a:pt x="4" y="0"/>
                      <a:pt x="3" y="1"/>
                      <a:pt x="0" y="2"/>
                    </a:cubicBezTo>
                    <a:cubicBezTo>
                      <a:pt x="3" y="1"/>
                      <a:pt x="6" y="1"/>
                      <a:pt x="9"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4" name="Freeform 222">
                <a:extLst>
                  <a:ext uri="{FF2B5EF4-FFF2-40B4-BE49-F238E27FC236}">
                    <a16:creationId xmlns:a16="http://schemas.microsoft.com/office/drawing/2014/main" id="{7D2D4EB9-ADC3-4999-8B5D-4879E4757372}"/>
                  </a:ext>
                </a:extLst>
              </p:cNvPr>
              <p:cNvSpPr>
                <a:spLocks/>
              </p:cNvSpPr>
              <p:nvPr/>
            </p:nvSpPr>
            <p:spPr bwMode="auto">
              <a:xfrm>
                <a:off x="2800688" y="5851964"/>
                <a:ext cx="47906" cy="18426"/>
              </a:xfrm>
              <a:custGeom>
                <a:avLst/>
                <a:gdLst>
                  <a:gd name="T0" fmla="*/ 8 w 16"/>
                  <a:gd name="T1" fmla="*/ 0 h 6"/>
                  <a:gd name="T2" fmla="*/ 0 w 16"/>
                  <a:gd name="T3" fmla="*/ 1 h 6"/>
                  <a:gd name="T4" fmla="*/ 9 w 16"/>
                  <a:gd name="T5" fmla="*/ 6 h 6"/>
                  <a:gd name="T6" fmla="*/ 16 w 16"/>
                  <a:gd name="T7" fmla="*/ 2 h 6"/>
                  <a:gd name="T8" fmla="*/ 16 w 16"/>
                  <a:gd name="T9" fmla="*/ 2 h 6"/>
                  <a:gd name="T10" fmla="*/ 9 w 16"/>
                  <a:gd name="T11" fmla="*/ 0 h 6"/>
                  <a:gd name="T12" fmla="*/ 8 w 1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6" h="6">
                    <a:moveTo>
                      <a:pt x="8" y="0"/>
                    </a:moveTo>
                    <a:cubicBezTo>
                      <a:pt x="5" y="0"/>
                      <a:pt x="2" y="1"/>
                      <a:pt x="0" y="1"/>
                    </a:cubicBezTo>
                    <a:cubicBezTo>
                      <a:pt x="1" y="4"/>
                      <a:pt x="6" y="5"/>
                      <a:pt x="9" y="6"/>
                    </a:cubicBezTo>
                    <a:cubicBezTo>
                      <a:pt x="11" y="5"/>
                      <a:pt x="14" y="4"/>
                      <a:pt x="16" y="2"/>
                    </a:cubicBezTo>
                    <a:cubicBezTo>
                      <a:pt x="16" y="2"/>
                      <a:pt x="16" y="2"/>
                      <a:pt x="16" y="2"/>
                    </a:cubicBezTo>
                    <a:cubicBezTo>
                      <a:pt x="13" y="2"/>
                      <a:pt x="11"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5" name="Freeform 223">
                <a:extLst>
                  <a:ext uri="{FF2B5EF4-FFF2-40B4-BE49-F238E27FC236}">
                    <a16:creationId xmlns:a16="http://schemas.microsoft.com/office/drawing/2014/main" id="{76785248-A3FB-4BED-BB42-6C4742397A04}"/>
                  </a:ext>
                </a:extLst>
              </p:cNvPr>
              <p:cNvSpPr>
                <a:spLocks/>
              </p:cNvSpPr>
              <p:nvPr/>
            </p:nvSpPr>
            <p:spPr bwMode="auto">
              <a:xfrm>
                <a:off x="2730671" y="6249957"/>
                <a:ext cx="29481" cy="25796"/>
              </a:xfrm>
              <a:custGeom>
                <a:avLst/>
                <a:gdLst>
                  <a:gd name="T0" fmla="*/ 5 w 10"/>
                  <a:gd name="T1" fmla="*/ 0 h 9"/>
                  <a:gd name="T2" fmla="*/ 1 w 10"/>
                  <a:gd name="T3" fmla="*/ 2 h 9"/>
                  <a:gd name="T4" fmla="*/ 7 w 10"/>
                  <a:gd name="T5" fmla="*/ 9 h 9"/>
                  <a:gd name="T6" fmla="*/ 7 w 10"/>
                  <a:gd name="T7" fmla="*/ 0 h 9"/>
                  <a:gd name="T8" fmla="*/ 5 w 10"/>
                  <a:gd name="T9" fmla="*/ 0 h 9"/>
                </a:gdLst>
                <a:ahLst/>
                <a:cxnLst>
                  <a:cxn ang="0">
                    <a:pos x="T0" y="T1"/>
                  </a:cxn>
                  <a:cxn ang="0">
                    <a:pos x="T2" y="T3"/>
                  </a:cxn>
                  <a:cxn ang="0">
                    <a:pos x="T4" y="T5"/>
                  </a:cxn>
                  <a:cxn ang="0">
                    <a:pos x="T6" y="T7"/>
                  </a:cxn>
                  <a:cxn ang="0">
                    <a:pos x="T8" y="T9"/>
                  </a:cxn>
                </a:cxnLst>
                <a:rect l="0" t="0" r="r" b="b"/>
                <a:pathLst>
                  <a:path w="10" h="9">
                    <a:moveTo>
                      <a:pt x="5" y="0"/>
                    </a:moveTo>
                    <a:cubicBezTo>
                      <a:pt x="3" y="0"/>
                      <a:pt x="1" y="1"/>
                      <a:pt x="1" y="2"/>
                    </a:cubicBezTo>
                    <a:cubicBezTo>
                      <a:pt x="0" y="5"/>
                      <a:pt x="5" y="9"/>
                      <a:pt x="7" y="9"/>
                    </a:cubicBezTo>
                    <a:cubicBezTo>
                      <a:pt x="7" y="7"/>
                      <a:pt x="10" y="2"/>
                      <a:pt x="7" y="0"/>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6" name="Freeform 224">
                <a:extLst>
                  <a:ext uri="{FF2B5EF4-FFF2-40B4-BE49-F238E27FC236}">
                    <a16:creationId xmlns:a16="http://schemas.microsoft.com/office/drawing/2014/main" id="{0BAA274B-61F4-4911-A0C4-1597F0C70D6F}"/>
                  </a:ext>
                </a:extLst>
              </p:cNvPr>
              <p:cNvSpPr>
                <a:spLocks/>
              </p:cNvSpPr>
              <p:nvPr/>
            </p:nvSpPr>
            <p:spPr bwMode="auto">
              <a:xfrm>
                <a:off x="2712246" y="6342085"/>
                <a:ext cx="25796" cy="22111"/>
              </a:xfrm>
              <a:custGeom>
                <a:avLst/>
                <a:gdLst>
                  <a:gd name="T0" fmla="*/ 9 w 9"/>
                  <a:gd name="T1" fmla="*/ 0 h 7"/>
                  <a:gd name="T2" fmla="*/ 5 w 9"/>
                  <a:gd name="T3" fmla="*/ 3 h 7"/>
                  <a:gd name="T4" fmla="*/ 7 w 9"/>
                  <a:gd name="T5" fmla="*/ 7 h 7"/>
                  <a:gd name="T6" fmla="*/ 9 w 9"/>
                  <a:gd name="T7" fmla="*/ 0 h 7"/>
                </a:gdLst>
                <a:ahLst/>
                <a:cxnLst>
                  <a:cxn ang="0">
                    <a:pos x="T0" y="T1"/>
                  </a:cxn>
                  <a:cxn ang="0">
                    <a:pos x="T2" y="T3"/>
                  </a:cxn>
                  <a:cxn ang="0">
                    <a:pos x="T4" y="T5"/>
                  </a:cxn>
                  <a:cxn ang="0">
                    <a:pos x="T6" y="T7"/>
                  </a:cxn>
                </a:cxnLst>
                <a:rect l="0" t="0" r="r" b="b"/>
                <a:pathLst>
                  <a:path w="9" h="7">
                    <a:moveTo>
                      <a:pt x="9" y="0"/>
                    </a:moveTo>
                    <a:cubicBezTo>
                      <a:pt x="7" y="1"/>
                      <a:pt x="7" y="2"/>
                      <a:pt x="5" y="3"/>
                    </a:cubicBezTo>
                    <a:cubicBezTo>
                      <a:pt x="0" y="6"/>
                      <a:pt x="4" y="4"/>
                      <a:pt x="7" y="7"/>
                    </a:cubicBezTo>
                    <a:cubicBezTo>
                      <a:pt x="8" y="5"/>
                      <a:pt x="9" y="3"/>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7" name="Freeform 225">
                <a:extLst>
                  <a:ext uri="{FF2B5EF4-FFF2-40B4-BE49-F238E27FC236}">
                    <a16:creationId xmlns:a16="http://schemas.microsoft.com/office/drawing/2014/main" id="{28800FE3-9979-41F0-8B46-3EE0A4A602F7}"/>
                  </a:ext>
                </a:extLst>
              </p:cNvPr>
              <p:cNvSpPr>
                <a:spLocks/>
              </p:cNvSpPr>
              <p:nvPr/>
            </p:nvSpPr>
            <p:spPr bwMode="auto">
              <a:xfrm>
                <a:off x="2782263" y="6312604"/>
                <a:ext cx="33166" cy="14740"/>
              </a:xfrm>
              <a:custGeom>
                <a:avLst/>
                <a:gdLst>
                  <a:gd name="T0" fmla="*/ 6 w 10"/>
                  <a:gd name="T1" fmla="*/ 0 h 5"/>
                  <a:gd name="T2" fmla="*/ 6 w 10"/>
                  <a:gd name="T3" fmla="*/ 5 h 5"/>
                  <a:gd name="T4" fmla="*/ 6 w 10"/>
                  <a:gd name="T5" fmla="*/ 0 h 5"/>
                </a:gdLst>
                <a:ahLst/>
                <a:cxnLst>
                  <a:cxn ang="0">
                    <a:pos x="T0" y="T1"/>
                  </a:cxn>
                  <a:cxn ang="0">
                    <a:pos x="T2" y="T3"/>
                  </a:cxn>
                  <a:cxn ang="0">
                    <a:pos x="T4" y="T5"/>
                  </a:cxn>
                </a:cxnLst>
                <a:rect l="0" t="0" r="r" b="b"/>
                <a:pathLst>
                  <a:path w="10" h="5">
                    <a:moveTo>
                      <a:pt x="6" y="0"/>
                    </a:moveTo>
                    <a:cubicBezTo>
                      <a:pt x="4" y="0"/>
                      <a:pt x="0" y="2"/>
                      <a:pt x="6" y="5"/>
                    </a:cubicBezTo>
                    <a:cubicBezTo>
                      <a:pt x="10" y="2"/>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8" name="Freeform 226">
                <a:extLst>
                  <a:ext uri="{FF2B5EF4-FFF2-40B4-BE49-F238E27FC236}">
                    <a16:creationId xmlns:a16="http://schemas.microsoft.com/office/drawing/2014/main" id="{5891E111-B4CA-4208-A8AB-38F4F8194266}"/>
                  </a:ext>
                </a:extLst>
              </p:cNvPr>
              <p:cNvSpPr>
                <a:spLocks/>
              </p:cNvSpPr>
              <p:nvPr/>
            </p:nvSpPr>
            <p:spPr bwMode="auto">
              <a:xfrm>
                <a:off x="2830169" y="6272068"/>
                <a:ext cx="70017" cy="58962"/>
              </a:xfrm>
              <a:custGeom>
                <a:avLst/>
                <a:gdLst>
                  <a:gd name="T0" fmla="*/ 22 w 22"/>
                  <a:gd name="T1" fmla="*/ 0 h 18"/>
                  <a:gd name="T2" fmla="*/ 16 w 22"/>
                  <a:gd name="T3" fmla="*/ 1 h 18"/>
                  <a:gd name="T4" fmla="*/ 13 w 22"/>
                  <a:gd name="T5" fmla="*/ 4 h 18"/>
                  <a:gd name="T6" fmla="*/ 0 w 22"/>
                  <a:gd name="T7" fmla="*/ 7 h 18"/>
                  <a:gd name="T8" fmla="*/ 0 w 22"/>
                  <a:gd name="T9" fmla="*/ 7 h 18"/>
                  <a:gd name="T10" fmla="*/ 1 w 22"/>
                  <a:gd name="T11" fmla="*/ 9 h 18"/>
                  <a:gd name="T12" fmla="*/ 6 w 22"/>
                  <a:gd name="T13" fmla="*/ 18 h 18"/>
                  <a:gd name="T14" fmla="*/ 22 w 22"/>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8">
                    <a:moveTo>
                      <a:pt x="22" y="0"/>
                    </a:moveTo>
                    <a:cubicBezTo>
                      <a:pt x="20" y="1"/>
                      <a:pt x="18" y="0"/>
                      <a:pt x="16" y="1"/>
                    </a:cubicBezTo>
                    <a:cubicBezTo>
                      <a:pt x="14" y="2"/>
                      <a:pt x="14" y="3"/>
                      <a:pt x="13" y="4"/>
                    </a:cubicBezTo>
                    <a:cubicBezTo>
                      <a:pt x="9" y="6"/>
                      <a:pt x="5" y="6"/>
                      <a:pt x="0" y="7"/>
                    </a:cubicBezTo>
                    <a:cubicBezTo>
                      <a:pt x="0" y="7"/>
                      <a:pt x="0" y="7"/>
                      <a:pt x="0" y="7"/>
                    </a:cubicBezTo>
                    <a:cubicBezTo>
                      <a:pt x="0" y="8"/>
                      <a:pt x="0" y="8"/>
                      <a:pt x="1" y="9"/>
                    </a:cubicBezTo>
                    <a:cubicBezTo>
                      <a:pt x="3" y="12"/>
                      <a:pt x="5" y="16"/>
                      <a:pt x="6" y="18"/>
                    </a:cubicBezTo>
                    <a:cubicBezTo>
                      <a:pt x="12" y="12"/>
                      <a:pt x="17" y="6"/>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9" name="Freeform 227">
                <a:extLst>
                  <a:ext uri="{FF2B5EF4-FFF2-40B4-BE49-F238E27FC236}">
                    <a16:creationId xmlns:a16="http://schemas.microsoft.com/office/drawing/2014/main" id="{0F44ECDF-3C3B-49FC-8BEB-D08DD70E7CAB}"/>
                  </a:ext>
                </a:extLst>
              </p:cNvPr>
              <p:cNvSpPr>
                <a:spLocks/>
              </p:cNvSpPr>
              <p:nvPr/>
            </p:nvSpPr>
            <p:spPr bwMode="auto">
              <a:xfrm>
                <a:off x="2925982" y="6312604"/>
                <a:ext cx="47906" cy="44221"/>
              </a:xfrm>
              <a:custGeom>
                <a:avLst/>
                <a:gdLst>
                  <a:gd name="T0" fmla="*/ 12 w 15"/>
                  <a:gd name="T1" fmla="*/ 0 h 14"/>
                  <a:gd name="T2" fmla="*/ 10 w 15"/>
                  <a:gd name="T3" fmla="*/ 2 h 14"/>
                  <a:gd name="T4" fmla="*/ 4 w 15"/>
                  <a:gd name="T5" fmla="*/ 1 h 14"/>
                  <a:gd name="T6" fmla="*/ 1 w 15"/>
                  <a:gd name="T7" fmla="*/ 9 h 14"/>
                  <a:gd name="T8" fmla="*/ 7 w 15"/>
                  <a:gd name="T9" fmla="*/ 14 h 14"/>
                  <a:gd name="T10" fmla="*/ 12 w 15"/>
                  <a:gd name="T11" fmla="*/ 0 h 14"/>
                </a:gdLst>
                <a:ahLst/>
                <a:cxnLst>
                  <a:cxn ang="0">
                    <a:pos x="T0" y="T1"/>
                  </a:cxn>
                  <a:cxn ang="0">
                    <a:pos x="T2" y="T3"/>
                  </a:cxn>
                  <a:cxn ang="0">
                    <a:pos x="T4" y="T5"/>
                  </a:cxn>
                  <a:cxn ang="0">
                    <a:pos x="T6" y="T7"/>
                  </a:cxn>
                  <a:cxn ang="0">
                    <a:pos x="T8" y="T9"/>
                  </a:cxn>
                  <a:cxn ang="0">
                    <a:pos x="T10" y="T11"/>
                  </a:cxn>
                </a:cxnLst>
                <a:rect l="0" t="0" r="r" b="b"/>
                <a:pathLst>
                  <a:path w="15" h="14">
                    <a:moveTo>
                      <a:pt x="12" y="0"/>
                    </a:moveTo>
                    <a:cubicBezTo>
                      <a:pt x="12" y="1"/>
                      <a:pt x="11" y="2"/>
                      <a:pt x="10" y="2"/>
                    </a:cubicBezTo>
                    <a:cubicBezTo>
                      <a:pt x="8" y="2"/>
                      <a:pt x="5" y="1"/>
                      <a:pt x="4" y="1"/>
                    </a:cubicBezTo>
                    <a:cubicBezTo>
                      <a:pt x="5" y="5"/>
                      <a:pt x="0" y="5"/>
                      <a:pt x="1" y="9"/>
                    </a:cubicBezTo>
                    <a:cubicBezTo>
                      <a:pt x="1" y="11"/>
                      <a:pt x="5" y="14"/>
                      <a:pt x="7" y="14"/>
                    </a:cubicBezTo>
                    <a:cubicBezTo>
                      <a:pt x="13" y="10"/>
                      <a:pt x="15" y="7"/>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0" name="Freeform 228">
                <a:extLst>
                  <a:ext uri="{FF2B5EF4-FFF2-40B4-BE49-F238E27FC236}">
                    <a16:creationId xmlns:a16="http://schemas.microsoft.com/office/drawing/2014/main" id="{0807E045-419B-40D4-8B42-2DE4B89EFE5B}"/>
                  </a:ext>
                </a:extLst>
              </p:cNvPr>
              <p:cNvSpPr>
                <a:spLocks/>
              </p:cNvSpPr>
              <p:nvPr/>
            </p:nvSpPr>
            <p:spPr bwMode="auto">
              <a:xfrm>
                <a:off x="3047591" y="6249957"/>
                <a:ext cx="66332" cy="73702"/>
              </a:xfrm>
              <a:custGeom>
                <a:avLst/>
                <a:gdLst>
                  <a:gd name="T0" fmla="*/ 13 w 21"/>
                  <a:gd name="T1" fmla="*/ 0 h 24"/>
                  <a:gd name="T2" fmla="*/ 16 w 21"/>
                  <a:gd name="T3" fmla="*/ 3 h 24"/>
                  <a:gd name="T4" fmla="*/ 12 w 21"/>
                  <a:gd name="T5" fmla="*/ 9 h 24"/>
                  <a:gd name="T6" fmla="*/ 9 w 21"/>
                  <a:gd name="T7" fmla="*/ 16 h 24"/>
                  <a:gd name="T8" fmla="*/ 1 w 21"/>
                  <a:gd name="T9" fmla="*/ 23 h 24"/>
                  <a:gd name="T10" fmla="*/ 0 w 21"/>
                  <a:gd name="T11" fmla="*/ 24 h 24"/>
                  <a:gd name="T12" fmla="*/ 1 w 21"/>
                  <a:gd name="T13" fmla="*/ 24 h 24"/>
                  <a:gd name="T14" fmla="*/ 1 w 21"/>
                  <a:gd name="T15" fmla="*/ 24 h 24"/>
                  <a:gd name="T16" fmla="*/ 1 w 21"/>
                  <a:gd name="T17" fmla="*/ 24 h 24"/>
                  <a:gd name="T18" fmla="*/ 1 w 21"/>
                  <a:gd name="T19" fmla="*/ 24 h 24"/>
                  <a:gd name="T20" fmla="*/ 1 w 21"/>
                  <a:gd name="T21" fmla="*/ 24 h 24"/>
                  <a:gd name="T22" fmla="*/ 5 w 21"/>
                  <a:gd name="T23" fmla="*/ 24 h 24"/>
                  <a:gd name="T24" fmla="*/ 18 w 21"/>
                  <a:gd name="T25" fmla="*/ 12 h 24"/>
                  <a:gd name="T26" fmla="*/ 19 w 21"/>
                  <a:gd name="T27" fmla="*/ 5 h 24"/>
                  <a:gd name="T28" fmla="*/ 21 w 21"/>
                  <a:gd name="T29" fmla="*/ 6 h 24"/>
                  <a:gd name="T30" fmla="*/ 13 w 21"/>
                  <a:gd name="T3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4">
                    <a:moveTo>
                      <a:pt x="13" y="0"/>
                    </a:moveTo>
                    <a:cubicBezTo>
                      <a:pt x="14" y="1"/>
                      <a:pt x="15" y="2"/>
                      <a:pt x="16" y="3"/>
                    </a:cubicBezTo>
                    <a:cubicBezTo>
                      <a:pt x="14" y="4"/>
                      <a:pt x="13" y="7"/>
                      <a:pt x="12" y="9"/>
                    </a:cubicBezTo>
                    <a:cubicBezTo>
                      <a:pt x="11" y="12"/>
                      <a:pt x="10" y="14"/>
                      <a:pt x="9" y="16"/>
                    </a:cubicBezTo>
                    <a:cubicBezTo>
                      <a:pt x="7" y="21"/>
                      <a:pt x="6" y="21"/>
                      <a:pt x="1" y="23"/>
                    </a:cubicBezTo>
                    <a:cubicBezTo>
                      <a:pt x="0" y="24"/>
                      <a:pt x="0" y="24"/>
                      <a:pt x="0" y="24"/>
                    </a:cubicBezTo>
                    <a:cubicBezTo>
                      <a:pt x="0" y="24"/>
                      <a:pt x="0" y="24"/>
                      <a:pt x="1" y="24"/>
                    </a:cubicBezTo>
                    <a:cubicBezTo>
                      <a:pt x="1" y="24"/>
                      <a:pt x="1" y="24"/>
                      <a:pt x="1" y="24"/>
                    </a:cubicBezTo>
                    <a:cubicBezTo>
                      <a:pt x="1" y="24"/>
                      <a:pt x="1" y="24"/>
                      <a:pt x="1" y="24"/>
                    </a:cubicBezTo>
                    <a:cubicBezTo>
                      <a:pt x="1" y="24"/>
                      <a:pt x="1" y="24"/>
                      <a:pt x="1" y="24"/>
                    </a:cubicBezTo>
                    <a:cubicBezTo>
                      <a:pt x="1" y="24"/>
                      <a:pt x="1" y="24"/>
                      <a:pt x="1" y="24"/>
                    </a:cubicBezTo>
                    <a:cubicBezTo>
                      <a:pt x="3" y="24"/>
                      <a:pt x="4" y="24"/>
                      <a:pt x="5" y="24"/>
                    </a:cubicBezTo>
                    <a:cubicBezTo>
                      <a:pt x="11" y="21"/>
                      <a:pt x="17" y="19"/>
                      <a:pt x="18" y="12"/>
                    </a:cubicBezTo>
                    <a:cubicBezTo>
                      <a:pt x="19" y="11"/>
                      <a:pt x="20" y="8"/>
                      <a:pt x="19" y="5"/>
                    </a:cubicBezTo>
                    <a:cubicBezTo>
                      <a:pt x="20" y="6"/>
                      <a:pt x="21" y="6"/>
                      <a:pt x="21" y="6"/>
                    </a:cubicBezTo>
                    <a:cubicBezTo>
                      <a:pt x="20" y="3"/>
                      <a:pt x="17" y="1"/>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1" name="Freeform 229">
                <a:extLst>
                  <a:ext uri="{FF2B5EF4-FFF2-40B4-BE49-F238E27FC236}">
                    <a16:creationId xmlns:a16="http://schemas.microsoft.com/office/drawing/2014/main" id="{820BFFB5-9414-4DA1-B8E9-06CBEEE7899B}"/>
                  </a:ext>
                </a:extLst>
              </p:cNvPr>
              <p:cNvSpPr>
                <a:spLocks/>
              </p:cNvSpPr>
              <p:nvPr/>
            </p:nvSpPr>
            <p:spPr bwMode="auto">
              <a:xfrm>
                <a:off x="3110238" y="6209421"/>
                <a:ext cx="36851" cy="40536"/>
              </a:xfrm>
              <a:custGeom>
                <a:avLst/>
                <a:gdLst>
                  <a:gd name="T0" fmla="*/ 10 w 11"/>
                  <a:gd name="T1" fmla="*/ 0 h 12"/>
                  <a:gd name="T2" fmla="*/ 9 w 11"/>
                  <a:gd name="T3" fmla="*/ 1 h 12"/>
                  <a:gd name="T4" fmla="*/ 1 w 11"/>
                  <a:gd name="T5" fmla="*/ 12 h 12"/>
                  <a:gd name="T6" fmla="*/ 10 w 11"/>
                  <a:gd name="T7" fmla="*/ 5 h 12"/>
                  <a:gd name="T8" fmla="*/ 10 w 11"/>
                  <a:gd name="T9" fmla="*/ 0 h 12"/>
                </a:gdLst>
                <a:ahLst/>
                <a:cxnLst>
                  <a:cxn ang="0">
                    <a:pos x="T0" y="T1"/>
                  </a:cxn>
                  <a:cxn ang="0">
                    <a:pos x="T2" y="T3"/>
                  </a:cxn>
                  <a:cxn ang="0">
                    <a:pos x="T4" y="T5"/>
                  </a:cxn>
                  <a:cxn ang="0">
                    <a:pos x="T6" y="T7"/>
                  </a:cxn>
                  <a:cxn ang="0">
                    <a:pos x="T8" y="T9"/>
                  </a:cxn>
                </a:cxnLst>
                <a:rect l="0" t="0" r="r" b="b"/>
                <a:pathLst>
                  <a:path w="11" h="12">
                    <a:moveTo>
                      <a:pt x="10" y="0"/>
                    </a:moveTo>
                    <a:cubicBezTo>
                      <a:pt x="10" y="0"/>
                      <a:pt x="9" y="0"/>
                      <a:pt x="9" y="1"/>
                    </a:cubicBezTo>
                    <a:cubicBezTo>
                      <a:pt x="2" y="5"/>
                      <a:pt x="0" y="4"/>
                      <a:pt x="1" y="12"/>
                    </a:cubicBezTo>
                    <a:cubicBezTo>
                      <a:pt x="3" y="8"/>
                      <a:pt x="8" y="9"/>
                      <a:pt x="10" y="5"/>
                    </a:cubicBezTo>
                    <a:cubicBezTo>
                      <a:pt x="10" y="3"/>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2" name="Freeform 230">
                <a:extLst>
                  <a:ext uri="{FF2B5EF4-FFF2-40B4-BE49-F238E27FC236}">
                    <a16:creationId xmlns:a16="http://schemas.microsoft.com/office/drawing/2014/main" id="{AA8E95B6-A55E-4133-B777-682E33517FA3}"/>
                  </a:ext>
                </a:extLst>
              </p:cNvPr>
              <p:cNvSpPr>
                <a:spLocks/>
              </p:cNvSpPr>
              <p:nvPr/>
            </p:nvSpPr>
            <p:spPr bwMode="auto">
              <a:xfrm>
                <a:off x="10598393" y="3338716"/>
                <a:ext cx="7370" cy="3685"/>
              </a:xfrm>
              <a:custGeom>
                <a:avLst/>
                <a:gdLst>
                  <a:gd name="T0" fmla="*/ 1 w 2"/>
                  <a:gd name="T1" fmla="*/ 0 h 1"/>
                  <a:gd name="T2" fmla="*/ 0 w 2"/>
                  <a:gd name="T3" fmla="*/ 1 h 1"/>
                  <a:gd name="T4" fmla="*/ 1 w 2"/>
                  <a:gd name="T5" fmla="*/ 1 h 1"/>
                  <a:gd name="T6" fmla="*/ 2 w 2"/>
                  <a:gd name="T7" fmla="*/ 0 h 1"/>
                  <a:gd name="T8" fmla="*/ 1 w 2"/>
                  <a:gd name="T9" fmla="*/ 0 h 1"/>
                </a:gdLst>
                <a:ahLst/>
                <a:cxnLst>
                  <a:cxn ang="0">
                    <a:pos x="T0" y="T1"/>
                  </a:cxn>
                  <a:cxn ang="0">
                    <a:pos x="T2" y="T3"/>
                  </a:cxn>
                  <a:cxn ang="0">
                    <a:pos x="T4" y="T5"/>
                  </a:cxn>
                  <a:cxn ang="0">
                    <a:pos x="T6" y="T7"/>
                  </a:cxn>
                  <a:cxn ang="0">
                    <a:pos x="T8" y="T9"/>
                  </a:cxn>
                </a:cxnLst>
                <a:rect l="0" t="0" r="r" b="b"/>
                <a:pathLst>
                  <a:path w="2" h="1">
                    <a:moveTo>
                      <a:pt x="1" y="0"/>
                    </a:moveTo>
                    <a:cubicBezTo>
                      <a:pt x="0" y="0"/>
                      <a:pt x="0" y="1"/>
                      <a:pt x="0" y="1"/>
                    </a:cubicBezTo>
                    <a:cubicBezTo>
                      <a:pt x="0" y="1"/>
                      <a:pt x="1" y="1"/>
                      <a:pt x="1" y="1"/>
                    </a:cubicBezTo>
                    <a:cubicBezTo>
                      <a:pt x="1" y="1"/>
                      <a:pt x="2" y="1"/>
                      <a:pt x="2"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3" name="Freeform 231">
                <a:extLst>
                  <a:ext uri="{FF2B5EF4-FFF2-40B4-BE49-F238E27FC236}">
                    <a16:creationId xmlns:a16="http://schemas.microsoft.com/office/drawing/2014/main" id="{C80C1E25-65EF-41C7-9CE4-2C87B2439021}"/>
                  </a:ext>
                </a:extLst>
              </p:cNvPr>
              <p:cNvSpPr>
                <a:spLocks/>
              </p:cNvSpPr>
              <p:nvPr/>
            </p:nvSpPr>
            <p:spPr bwMode="auto">
              <a:xfrm>
                <a:off x="8936405" y="6511600"/>
                <a:ext cx="81073" cy="147405"/>
              </a:xfrm>
              <a:custGeom>
                <a:avLst/>
                <a:gdLst>
                  <a:gd name="T0" fmla="*/ 13 w 25"/>
                  <a:gd name="T1" fmla="*/ 0 h 46"/>
                  <a:gd name="T2" fmla="*/ 11 w 25"/>
                  <a:gd name="T3" fmla="*/ 0 h 46"/>
                  <a:gd name="T4" fmla="*/ 6 w 25"/>
                  <a:gd name="T5" fmla="*/ 9 h 46"/>
                  <a:gd name="T6" fmla="*/ 2 w 25"/>
                  <a:gd name="T7" fmla="*/ 19 h 46"/>
                  <a:gd name="T8" fmla="*/ 0 w 25"/>
                  <a:gd name="T9" fmla="*/ 30 h 46"/>
                  <a:gd name="T10" fmla="*/ 1 w 25"/>
                  <a:gd name="T11" fmla="*/ 39 h 46"/>
                  <a:gd name="T12" fmla="*/ 1 w 25"/>
                  <a:gd name="T13" fmla="*/ 40 h 46"/>
                  <a:gd name="T14" fmla="*/ 2 w 25"/>
                  <a:gd name="T15" fmla="*/ 41 h 46"/>
                  <a:gd name="T16" fmla="*/ 6 w 25"/>
                  <a:gd name="T17" fmla="*/ 46 h 46"/>
                  <a:gd name="T18" fmla="*/ 6 w 25"/>
                  <a:gd name="T19" fmla="*/ 46 h 46"/>
                  <a:gd name="T20" fmla="*/ 7 w 25"/>
                  <a:gd name="T21" fmla="*/ 46 h 46"/>
                  <a:gd name="T22" fmla="*/ 7 w 25"/>
                  <a:gd name="T23" fmla="*/ 46 h 46"/>
                  <a:gd name="T24" fmla="*/ 7 w 25"/>
                  <a:gd name="T25" fmla="*/ 46 h 46"/>
                  <a:gd name="T26" fmla="*/ 8 w 25"/>
                  <a:gd name="T27" fmla="*/ 46 h 46"/>
                  <a:gd name="T28" fmla="*/ 10 w 25"/>
                  <a:gd name="T29" fmla="*/ 46 h 46"/>
                  <a:gd name="T30" fmla="*/ 14 w 25"/>
                  <a:gd name="T31" fmla="*/ 46 h 46"/>
                  <a:gd name="T32" fmla="*/ 14 w 25"/>
                  <a:gd name="T33" fmla="*/ 46 h 46"/>
                  <a:gd name="T34" fmla="*/ 16 w 25"/>
                  <a:gd name="T35" fmla="*/ 46 h 46"/>
                  <a:gd name="T36" fmla="*/ 17 w 25"/>
                  <a:gd name="T37" fmla="*/ 46 h 46"/>
                  <a:gd name="T38" fmla="*/ 20 w 25"/>
                  <a:gd name="T39" fmla="*/ 45 h 46"/>
                  <a:gd name="T40" fmla="*/ 20 w 25"/>
                  <a:gd name="T41" fmla="*/ 43 h 46"/>
                  <a:gd name="T42" fmla="*/ 19 w 25"/>
                  <a:gd name="T43" fmla="*/ 43 h 46"/>
                  <a:gd name="T44" fmla="*/ 21 w 25"/>
                  <a:gd name="T45" fmla="*/ 39 h 46"/>
                  <a:gd name="T46" fmla="*/ 24 w 25"/>
                  <a:gd name="T47" fmla="*/ 26 h 46"/>
                  <a:gd name="T48" fmla="*/ 21 w 25"/>
                  <a:gd name="T49" fmla="*/ 17 h 46"/>
                  <a:gd name="T50" fmla="*/ 22 w 25"/>
                  <a:gd name="T51" fmla="*/ 6 h 46"/>
                  <a:gd name="T52" fmla="*/ 20 w 25"/>
                  <a:gd name="T53" fmla="*/ 5 h 46"/>
                  <a:gd name="T54" fmla="*/ 20 w 25"/>
                  <a:gd name="T55" fmla="*/ 5 h 46"/>
                  <a:gd name="T56" fmla="*/ 20 w 25"/>
                  <a:gd name="T57" fmla="*/ 5 h 46"/>
                  <a:gd name="T58" fmla="*/ 18 w 25"/>
                  <a:gd name="T59" fmla="*/ 5 h 46"/>
                  <a:gd name="T60" fmla="*/ 14 w 25"/>
                  <a:gd name="T61" fmla="*/ 0 h 46"/>
                  <a:gd name="T62" fmla="*/ 13 w 25"/>
                  <a:gd name="T6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 h="46">
                    <a:moveTo>
                      <a:pt x="13" y="0"/>
                    </a:moveTo>
                    <a:cubicBezTo>
                      <a:pt x="12" y="0"/>
                      <a:pt x="12" y="0"/>
                      <a:pt x="11" y="0"/>
                    </a:cubicBezTo>
                    <a:cubicBezTo>
                      <a:pt x="7" y="1"/>
                      <a:pt x="6" y="5"/>
                      <a:pt x="6" y="9"/>
                    </a:cubicBezTo>
                    <a:cubicBezTo>
                      <a:pt x="3" y="12"/>
                      <a:pt x="3" y="15"/>
                      <a:pt x="2" y="19"/>
                    </a:cubicBezTo>
                    <a:cubicBezTo>
                      <a:pt x="2" y="22"/>
                      <a:pt x="0" y="27"/>
                      <a:pt x="0" y="30"/>
                    </a:cubicBezTo>
                    <a:cubicBezTo>
                      <a:pt x="0" y="32"/>
                      <a:pt x="1" y="36"/>
                      <a:pt x="1" y="39"/>
                    </a:cubicBezTo>
                    <a:cubicBezTo>
                      <a:pt x="1" y="40"/>
                      <a:pt x="1" y="40"/>
                      <a:pt x="1" y="40"/>
                    </a:cubicBezTo>
                    <a:cubicBezTo>
                      <a:pt x="2" y="41"/>
                      <a:pt x="2" y="41"/>
                      <a:pt x="2" y="41"/>
                    </a:cubicBezTo>
                    <a:cubicBezTo>
                      <a:pt x="3" y="44"/>
                      <a:pt x="4" y="45"/>
                      <a:pt x="6" y="46"/>
                    </a:cubicBezTo>
                    <a:cubicBezTo>
                      <a:pt x="6" y="46"/>
                      <a:pt x="6" y="46"/>
                      <a:pt x="6" y="46"/>
                    </a:cubicBezTo>
                    <a:cubicBezTo>
                      <a:pt x="7" y="46"/>
                      <a:pt x="7" y="46"/>
                      <a:pt x="7" y="46"/>
                    </a:cubicBezTo>
                    <a:cubicBezTo>
                      <a:pt x="7" y="46"/>
                      <a:pt x="7" y="46"/>
                      <a:pt x="7" y="46"/>
                    </a:cubicBezTo>
                    <a:cubicBezTo>
                      <a:pt x="7" y="46"/>
                      <a:pt x="7" y="46"/>
                      <a:pt x="7" y="46"/>
                    </a:cubicBezTo>
                    <a:cubicBezTo>
                      <a:pt x="8" y="46"/>
                      <a:pt x="8" y="46"/>
                      <a:pt x="8" y="46"/>
                    </a:cubicBezTo>
                    <a:cubicBezTo>
                      <a:pt x="9" y="46"/>
                      <a:pt x="9" y="46"/>
                      <a:pt x="10" y="46"/>
                    </a:cubicBezTo>
                    <a:cubicBezTo>
                      <a:pt x="11" y="46"/>
                      <a:pt x="13" y="46"/>
                      <a:pt x="14" y="46"/>
                    </a:cubicBezTo>
                    <a:cubicBezTo>
                      <a:pt x="14" y="46"/>
                      <a:pt x="14" y="46"/>
                      <a:pt x="14" y="46"/>
                    </a:cubicBezTo>
                    <a:cubicBezTo>
                      <a:pt x="15" y="46"/>
                      <a:pt x="16" y="46"/>
                      <a:pt x="16" y="46"/>
                    </a:cubicBezTo>
                    <a:cubicBezTo>
                      <a:pt x="16" y="46"/>
                      <a:pt x="17" y="46"/>
                      <a:pt x="17" y="46"/>
                    </a:cubicBezTo>
                    <a:cubicBezTo>
                      <a:pt x="17" y="46"/>
                      <a:pt x="18" y="45"/>
                      <a:pt x="20" y="45"/>
                    </a:cubicBezTo>
                    <a:cubicBezTo>
                      <a:pt x="20" y="43"/>
                      <a:pt x="20" y="43"/>
                      <a:pt x="20" y="43"/>
                    </a:cubicBezTo>
                    <a:cubicBezTo>
                      <a:pt x="19" y="43"/>
                      <a:pt x="19" y="43"/>
                      <a:pt x="19" y="43"/>
                    </a:cubicBezTo>
                    <a:cubicBezTo>
                      <a:pt x="20" y="41"/>
                      <a:pt x="20" y="40"/>
                      <a:pt x="21" y="39"/>
                    </a:cubicBezTo>
                    <a:cubicBezTo>
                      <a:pt x="21" y="36"/>
                      <a:pt x="25" y="28"/>
                      <a:pt x="24" y="26"/>
                    </a:cubicBezTo>
                    <a:cubicBezTo>
                      <a:pt x="22" y="24"/>
                      <a:pt x="20" y="20"/>
                      <a:pt x="21" y="17"/>
                    </a:cubicBezTo>
                    <a:cubicBezTo>
                      <a:pt x="21" y="14"/>
                      <a:pt x="24" y="8"/>
                      <a:pt x="22" y="6"/>
                    </a:cubicBezTo>
                    <a:cubicBezTo>
                      <a:pt x="21" y="5"/>
                      <a:pt x="21" y="5"/>
                      <a:pt x="20" y="5"/>
                    </a:cubicBezTo>
                    <a:cubicBezTo>
                      <a:pt x="20" y="5"/>
                      <a:pt x="20" y="5"/>
                      <a:pt x="20" y="5"/>
                    </a:cubicBezTo>
                    <a:cubicBezTo>
                      <a:pt x="20" y="5"/>
                      <a:pt x="20" y="5"/>
                      <a:pt x="20" y="5"/>
                    </a:cubicBezTo>
                    <a:cubicBezTo>
                      <a:pt x="19" y="5"/>
                      <a:pt x="19" y="5"/>
                      <a:pt x="18" y="5"/>
                    </a:cubicBezTo>
                    <a:cubicBezTo>
                      <a:pt x="17" y="4"/>
                      <a:pt x="16" y="1"/>
                      <a:pt x="14" y="0"/>
                    </a:cubicBezTo>
                    <a:cubicBezTo>
                      <a:pt x="14"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4" name="Freeform 232">
                <a:extLst>
                  <a:ext uri="{FF2B5EF4-FFF2-40B4-BE49-F238E27FC236}">
                    <a16:creationId xmlns:a16="http://schemas.microsoft.com/office/drawing/2014/main" id="{CAC8F084-537C-442C-B43E-4B385A2E9C90}"/>
                  </a:ext>
                </a:extLst>
              </p:cNvPr>
              <p:cNvSpPr>
                <a:spLocks noEditPoints="1"/>
              </p:cNvSpPr>
              <p:nvPr/>
            </p:nvSpPr>
            <p:spPr bwMode="auto">
              <a:xfrm>
                <a:off x="10369915" y="3419788"/>
                <a:ext cx="7370" cy="0"/>
              </a:xfrm>
              <a:custGeom>
                <a:avLst/>
                <a:gdLst>
                  <a:gd name="T0" fmla="*/ 2 w 2"/>
                  <a:gd name="T1" fmla="*/ 1 w 2"/>
                  <a:gd name="T2" fmla="*/ 0 w 2"/>
                  <a:gd name="T3" fmla="*/ 1 w 2"/>
                  <a:gd name="T4" fmla="*/ 2 w 2"/>
                  <a:gd name="T5" fmla="*/ 2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cubicBezTo>
                      <a:pt x="2" y="0"/>
                      <a:pt x="2" y="0"/>
                      <a:pt x="1" y="0"/>
                    </a:cubicBezTo>
                    <a:cubicBezTo>
                      <a:pt x="1" y="0"/>
                      <a:pt x="0" y="0"/>
                      <a:pt x="0" y="0"/>
                    </a:cubicBezTo>
                    <a:cubicBezTo>
                      <a:pt x="0" y="0"/>
                      <a:pt x="0" y="0"/>
                      <a:pt x="1" y="0"/>
                    </a:cubicBezTo>
                    <a:cubicBezTo>
                      <a:pt x="1" y="0"/>
                      <a:pt x="2" y="0"/>
                      <a:pt x="2" y="0"/>
                    </a:cubicBezTo>
                    <a:moveTo>
                      <a:pt x="2" y="0"/>
                    </a:moveTo>
                    <a:cubicBezTo>
                      <a:pt x="2" y="0"/>
                      <a:pt x="2" y="0"/>
                      <a:pt x="2" y="0"/>
                    </a:cubicBezTo>
                    <a:cubicBezTo>
                      <a:pt x="2" y="0"/>
                      <a:pt x="2"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5" name="Freeform 233">
                <a:extLst>
                  <a:ext uri="{FF2B5EF4-FFF2-40B4-BE49-F238E27FC236}">
                    <a16:creationId xmlns:a16="http://schemas.microsoft.com/office/drawing/2014/main" id="{B1A51235-C391-4F4D-80FB-43CC07F217B6}"/>
                  </a:ext>
                </a:extLst>
              </p:cNvPr>
              <p:cNvSpPr>
                <a:spLocks/>
              </p:cNvSpPr>
              <p:nvPr/>
            </p:nvSpPr>
            <p:spPr bwMode="auto">
              <a:xfrm>
                <a:off x="3773559" y="3500861"/>
                <a:ext cx="7370" cy="0"/>
              </a:xfrm>
              <a:custGeom>
                <a:avLst/>
                <a:gdLst>
                  <a:gd name="T0" fmla="*/ 2 w 2"/>
                  <a:gd name="T1" fmla="*/ 2 w 2"/>
                  <a:gd name="T2" fmla="*/ 0 w 2"/>
                  <a:gd name="T3" fmla="*/ 2 w 2"/>
                </a:gdLst>
                <a:ahLst/>
                <a:cxnLst>
                  <a:cxn ang="0">
                    <a:pos x="T0" y="0"/>
                  </a:cxn>
                  <a:cxn ang="0">
                    <a:pos x="T1" y="0"/>
                  </a:cxn>
                  <a:cxn ang="0">
                    <a:pos x="T2" y="0"/>
                  </a:cxn>
                  <a:cxn ang="0">
                    <a:pos x="T3" y="0"/>
                  </a:cxn>
                </a:cxnLst>
                <a:rect l="0" t="0" r="r" b="b"/>
                <a:pathLst>
                  <a:path w="2">
                    <a:moveTo>
                      <a:pt x="2" y="0"/>
                    </a:moveTo>
                    <a:cubicBezTo>
                      <a:pt x="2" y="0"/>
                      <a:pt x="2" y="0"/>
                      <a:pt x="2" y="0"/>
                    </a:cubicBezTo>
                    <a:cubicBezTo>
                      <a:pt x="1" y="0"/>
                      <a:pt x="1" y="0"/>
                      <a:pt x="0" y="0"/>
                    </a:cubicBezTo>
                    <a:cubicBezTo>
                      <a:pt x="1" y="0"/>
                      <a:pt x="1"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6" name="Freeform 234">
                <a:extLst>
                  <a:ext uri="{FF2B5EF4-FFF2-40B4-BE49-F238E27FC236}">
                    <a16:creationId xmlns:a16="http://schemas.microsoft.com/office/drawing/2014/main" id="{BA48EDEE-E695-4033-8020-9AD8446C631D}"/>
                  </a:ext>
                </a:extLst>
              </p:cNvPr>
              <p:cNvSpPr>
                <a:spLocks/>
              </p:cNvSpPr>
              <p:nvPr/>
            </p:nvSpPr>
            <p:spPr bwMode="auto">
              <a:xfrm>
                <a:off x="3497175" y="4893834"/>
                <a:ext cx="283754" cy="530657"/>
              </a:xfrm>
              <a:custGeom>
                <a:avLst/>
                <a:gdLst>
                  <a:gd name="T0" fmla="*/ 34 w 89"/>
                  <a:gd name="T1" fmla="*/ 1 h 167"/>
                  <a:gd name="T2" fmla="*/ 19 w 89"/>
                  <a:gd name="T3" fmla="*/ 8 h 167"/>
                  <a:gd name="T4" fmla="*/ 20 w 89"/>
                  <a:gd name="T5" fmla="*/ 16 h 167"/>
                  <a:gd name="T6" fmla="*/ 24 w 89"/>
                  <a:gd name="T7" fmla="*/ 29 h 167"/>
                  <a:gd name="T8" fmla="*/ 25 w 89"/>
                  <a:gd name="T9" fmla="*/ 41 h 167"/>
                  <a:gd name="T10" fmla="*/ 19 w 89"/>
                  <a:gd name="T11" fmla="*/ 59 h 167"/>
                  <a:gd name="T12" fmla="*/ 8 w 89"/>
                  <a:gd name="T13" fmla="*/ 88 h 167"/>
                  <a:gd name="T14" fmla="*/ 3 w 89"/>
                  <a:gd name="T15" fmla="*/ 99 h 167"/>
                  <a:gd name="T16" fmla="*/ 2 w 89"/>
                  <a:gd name="T17" fmla="*/ 110 h 167"/>
                  <a:gd name="T18" fmla="*/ 8 w 89"/>
                  <a:gd name="T19" fmla="*/ 111 h 167"/>
                  <a:gd name="T20" fmla="*/ 15 w 89"/>
                  <a:gd name="T21" fmla="*/ 103 h 167"/>
                  <a:gd name="T22" fmla="*/ 15 w 89"/>
                  <a:gd name="T23" fmla="*/ 112 h 167"/>
                  <a:gd name="T24" fmla="*/ 9 w 89"/>
                  <a:gd name="T25" fmla="*/ 112 h 167"/>
                  <a:gd name="T26" fmla="*/ 9 w 89"/>
                  <a:gd name="T27" fmla="*/ 121 h 167"/>
                  <a:gd name="T28" fmla="*/ 21 w 89"/>
                  <a:gd name="T29" fmla="*/ 116 h 167"/>
                  <a:gd name="T30" fmla="*/ 22 w 89"/>
                  <a:gd name="T31" fmla="*/ 121 h 167"/>
                  <a:gd name="T32" fmla="*/ 20 w 89"/>
                  <a:gd name="T33" fmla="*/ 131 h 167"/>
                  <a:gd name="T34" fmla="*/ 15 w 89"/>
                  <a:gd name="T35" fmla="*/ 166 h 167"/>
                  <a:gd name="T36" fmla="*/ 27 w 89"/>
                  <a:gd name="T37" fmla="*/ 162 h 167"/>
                  <a:gd name="T38" fmla="*/ 40 w 89"/>
                  <a:gd name="T39" fmla="*/ 165 h 167"/>
                  <a:gd name="T40" fmla="*/ 44 w 89"/>
                  <a:gd name="T41" fmla="*/ 167 h 167"/>
                  <a:gd name="T42" fmla="*/ 57 w 89"/>
                  <a:gd name="T43" fmla="*/ 161 h 167"/>
                  <a:gd name="T44" fmla="*/ 56 w 89"/>
                  <a:gd name="T45" fmla="*/ 158 h 167"/>
                  <a:gd name="T46" fmla="*/ 55 w 89"/>
                  <a:gd name="T47" fmla="*/ 153 h 167"/>
                  <a:gd name="T48" fmla="*/ 56 w 89"/>
                  <a:gd name="T49" fmla="*/ 141 h 167"/>
                  <a:gd name="T50" fmla="*/ 65 w 89"/>
                  <a:gd name="T51" fmla="*/ 130 h 167"/>
                  <a:gd name="T52" fmla="*/ 65 w 89"/>
                  <a:gd name="T53" fmla="*/ 129 h 167"/>
                  <a:gd name="T54" fmla="*/ 63 w 89"/>
                  <a:gd name="T55" fmla="*/ 126 h 167"/>
                  <a:gd name="T56" fmla="*/ 60 w 89"/>
                  <a:gd name="T57" fmla="*/ 114 h 167"/>
                  <a:gd name="T58" fmla="*/ 59 w 89"/>
                  <a:gd name="T59" fmla="*/ 103 h 167"/>
                  <a:gd name="T60" fmla="*/ 65 w 89"/>
                  <a:gd name="T61" fmla="*/ 104 h 167"/>
                  <a:gd name="T62" fmla="*/ 66 w 89"/>
                  <a:gd name="T63" fmla="*/ 103 h 167"/>
                  <a:gd name="T64" fmla="*/ 69 w 89"/>
                  <a:gd name="T65" fmla="*/ 100 h 167"/>
                  <a:gd name="T66" fmla="*/ 62 w 89"/>
                  <a:gd name="T67" fmla="*/ 97 h 167"/>
                  <a:gd name="T68" fmla="*/ 61 w 89"/>
                  <a:gd name="T69" fmla="*/ 93 h 167"/>
                  <a:gd name="T70" fmla="*/ 58 w 89"/>
                  <a:gd name="T71" fmla="*/ 89 h 167"/>
                  <a:gd name="T72" fmla="*/ 58 w 89"/>
                  <a:gd name="T73" fmla="*/ 75 h 167"/>
                  <a:gd name="T74" fmla="*/ 68 w 89"/>
                  <a:gd name="T75" fmla="*/ 76 h 167"/>
                  <a:gd name="T76" fmla="*/ 71 w 89"/>
                  <a:gd name="T77" fmla="*/ 57 h 167"/>
                  <a:gd name="T78" fmla="*/ 73 w 89"/>
                  <a:gd name="T79" fmla="*/ 52 h 167"/>
                  <a:gd name="T80" fmla="*/ 73 w 89"/>
                  <a:gd name="T81" fmla="*/ 42 h 167"/>
                  <a:gd name="T82" fmla="*/ 74 w 89"/>
                  <a:gd name="T83" fmla="*/ 28 h 167"/>
                  <a:gd name="T84" fmla="*/ 80 w 89"/>
                  <a:gd name="T85" fmla="*/ 23 h 167"/>
                  <a:gd name="T86" fmla="*/ 85 w 89"/>
                  <a:gd name="T87" fmla="*/ 20 h 167"/>
                  <a:gd name="T88" fmla="*/ 87 w 89"/>
                  <a:gd name="T89" fmla="*/ 15 h 167"/>
                  <a:gd name="T90" fmla="*/ 81 w 89"/>
                  <a:gd name="T91" fmla="*/ 8 h 167"/>
                  <a:gd name="T92" fmla="*/ 81 w 89"/>
                  <a:gd name="T93" fmla="*/ 5 h 167"/>
                  <a:gd name="T94" fmla="*/ 81 w 89"/>
                  <a:gd name="T95" fmla="*/ 5 h 167"/>
                  <a:gd name="T96" fmla="*/ 79 w 89"/>
                  <a:gd name="T97" fmla="*/ 5 h 167"/>
                  <a:gd name="T98" fmla="*/ 74 w 89"/>
                  <a:gd name="T99" fmla="*/ 5 h 167"/>
                  <a:gd name="T100" fmla="*/ 71 w 89"/>
                  <a:gd name="T101" fmla="*/ 5 h 167"/>
                  <a:gd name="T102" fmla="*/ 64 w 89"/>
                  <a:gd name="T103" fmla="*/ 8 h 167"/>
                  <a:gd name="T104" fmla="*/ 61 w 89"/>
                  <a:gd name="T105" fmla="*/ 8 h 167"/>
                  <a:gd name="T106" fmla="*/ 54 w 89"/>
                  <a:gd name="T107" fmla="*/ 9 h 167"/>
                  <a:gd name="T108" fmla="*/ 48 w 89"/>
                  <a:gd name="T109" fmla="*/ 7 h 167"/>
                  <a:gd name="T110" fmla="*/ 47 w 89"/>
                  <a:gd name="T111" fmla="*/ 6 h 167"/>
                  <a:gd name="T112" fmla="*/ 40 w 89"/>
                  <a:gd name="T113" fmla="*/ 10 h 167"/>
                  <a:gd name="T114" fmla="*/ 40 w 89"/>
                  <a:gd name="T115" fmla="*/ 10 h 167"/>
                  <a:gd name="T116" fmla="*/ 39 w 89"/>
                  <a:gd name="T117" fmla="*/ 10 h 167"/>
                  <a:gd name="T118" fmla="*/ 34 w 89"/>
                  <a:gd name="T119" fmla="*/ 3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9" h="167">
                    <a:moveTo>
                      <a:pt x="35" y="0"/>
                    </a:moveTo>
                    <a:cubicBezTo>
                      <a:pt x="34" y="1"/>
                      <a:pt x="34" y="1"/>
                      <a:pt x="34" y="1"/>
                    </a:cubicBezTo>
                    <a:cubicBezTo>
                      <a:pt x="33" y="1"/>
                      <a:pt x="32" y="1"/>
                      <a:pt x="31" y="1"/>
                    </a:cubicBezTo>
                    <a:cubicBezTo>
                      <a:pt x="29" y="2"/>
                      <a:pt x="23" y="5"/>
                      <a:pt x="19" y="8"/>
                    </a:cubicBezTo>
                    <a:cubicBezTo>
                      <a:pt x="19" y="8"/>
                      <a:pt x="19" y="8"/>
                      <a:pt x="19" y="8"/>
                    </a:cubicBezTo>
                    <a:cubicBezTo>
                      <a:pt x="19" y="10"/>
                      <a:pt x="20" y="13"/>
                      <a:pt x="20" y="16"/>
                    </a:cubicBezTo>
                    <a:cubicBezTo>
                      <a:pt x="21" y="18"/>
                      <a:pt x="21" y="21"/>
                      <a:pt x="22" y="23"/>
                    </a:cubicBezTo>
                    <a:cubicBezTo>
                      <a:pt x="22" y="25"/>
                      <a:pt x="24" y="28"/>
                      <a:pt x="24" y="29"/>
                    </a:cubicBezTo>
                    <a:cubicBezTo>
                      <a:pt x="26" y="33"/>
                      <a:pt x="21" y="41"/>
                      <a:pt x="23" y="44"/>
                    </a:cubicBezTo>
                    <a:cubicBezTo>
                      <a:pt x="23" y="43"/>
                      <a:pt x="24" y="42"/>
                      <a:pt x="25" y="41"/>
                    </a:cubicBezTo>
                    <a:cubicBezTo>
                      <a:pt x="27" y="44"/>
                      <a:pt x="22" y="46"/>
                      <a:pt x="21" y="48"/>
                    </a:cubicBezTo>
                    <a:cubicBezTo>
                      <a:pt x="19" y="51"/>
                      <a:pt x="19" y="56"/>
                      <a:pt x="19" y="59"/>
                    </a:cubicBezTo>
                    <a:cubicBezTo>
                      <a:pt x="17" y="67"/>
                      <a:pt x="14" y="75"/>
                      <a:pt x="11" y="83"/>
                    </a:cubicBezTo>
                    <a:cubicBezTo>
                      <a:pt x="11" y="84"/>
                      <a:pt x="9" y="87"/>
                      <a:pt x="8" y="88"/>
                    </a:cubicBezTo>
                    <a:cubicBezTo>
                      <a:pt x="6" y="88"/>
                      <a:pt x="5" y="89"/>
                      <a:pt x="5" y="92"/>
                    </a:cubicBezTo>
                    <a:cubicBezTo>
                      <a:pt x="4" y="94"/>
                      <a:pt x="4" y="96"/>
                      <a:pt x="3" y="99"/>
                    </a:cubicBezTo>
                    <a:cubicBezTo>
                      <a:pt x="2" y="100"/>
                      <a:pt x="3" y="102"/>
                      <a:pt x="2" y="104"/>
                    </a:cubicBezTo>
                    <a:cubicBezTo>
                      <a:pt x="2" y="106"/>
                      <a:pt x="0" y="108"/>
                      <a:pt x="2" y="110"/>
                    </a:cubicBezTo>
                    <a:cubicBezTo>
                      <a:pt x="3" y="111"/>
                      <a:pt x="5" y="111"/>
                      <a:pt x="6" y="111"/>
                    </a:cubicBezTo>
                    <a:cubicBezTo>
                      <a:pt x="7" y="111"/>
                      <a:pt x="7" y="111"/>
                      <a:pt x="8" y="111"/>
                    </a:cubicBezTo>
                    <a:cubicBezTo>
                      <a:pt x="11" y="109"/>
                      <a:pt x="11" y="109"/>
                      <a:pt x="12" y="106"/>
                    </a:cubicBezTo>
                    <a:cubicBezTo>
                      <a:pt x="13" y="105"/>
                      <a:pt x="14" y="104"/>
                      <a:pt x="15" y="103"/>
                    </a:cubicBezTo>
                    <a:cubicBezTo>
                      <a:pt x="16" y="107"/>
                      <a:pt x="18" y="109"/>
                      <a:pt x="14" y="110"/>
                    </a:cubicBezTo>
                    <a:cubicBezTo>
                      <a:pt x="14" y="111"/>
                      <a:pt x="15" y="111"/>
                      <a:pt x="15" y="112"/>
                    </a:cubicBezTo>
                    <a:cubicBezTo>
                      <a:pt x="13" y="112"/>
                      <a:pt x="13" y="112"/>
                      <a:pt x="13" y="114"/>
                    </a:cubicBezTo>
                    <a:cubicBezTo>
                      <a:pt x="12" y="113"/>
                      <a:pt x="10" y="112"/>
                      <a:pt x="9" y="112"/>
                    </a:cubicBezTo>
                    <a:cubicBezTo>
                      <a:pt x="8" y="112"/>
                      <a:pt x="7" y="112"/>
                      <a:pt x="7" y="112"/>
                    </a:cubicBezTo>
                    <a:cubicBezTo>
                      <a:pt x="9" y="115"/>
                      <a:pt x="8" y="117"/>
                      <a:pt x="9" y="121"/>
                    </a:cubicBezTo>
                    <a:cubicBezTo>
                      <a:pt x="11" y="119"/>
                      <a:pt x="14" y="119"/>
                      <a:pt x="16" y="118"/>
                    </a:cubicBezTo>
                    <a:cubicBezTo>
                      <a:pt x="18" y="117"/>
                      <a:pt x="20" y="116"/>
                      <a:pt x="21" y="116"/>
                    </a:cubicBezTo>
                    <a:cubicBezTo>
                      <a:pt x="23" y="116"/>
                      <a:pt x="24" y="117"/>
                      <a:pt x="25" y="121"/>
                    </a:cubicBezTo>
                    <a:cubicBezTo>
                      <a:pt x="23" y="121"/>
                      <a:pt x="23" y="121"/>
                      <a:pt x="22" y="121"/>
                    </a:cubicBezTo>
                    <a:cubicBezTo>
                      <a:pt x="20" y="121"/>
                      <a:pt x="20" y="121"/>
                      <a:pt x="18" y="118"/>
                    </a:cubicBezTo>
                    <a:cubicBezTo>
                      <a:pt x="18" y="122"/>
                      <a:pt x="21" y="128"/>
                      <a:pt x="20" y="131"/>
                    </a:cubicBezTo>
                    <a:cubicBezTo>
                      <a:pt x="19" y="135"/>
                      <a:pt x="20" y="141"/>
                      <a:pt x="20" y="146"/>
                    </a:cubicBezTo>
                    <a:cubicBezTo>
                      <a:pt x="20" y="153"/>
                      <a:pt x="18" y="159"/>
                      <a:pt x="15" y="166"/>
                    </a:cubicBezTo>
                    <a:cubicBezTo>
                      <a:pt x="18" y="166"/>
                      <a:pt x="22" y="164"/>
                      <a:pt x="25" y="163"/>
                    </a:cubicBezTo>
                    <a:cubicBezTo>
                      <a:pt x="26" y="162"/>
                      <a:pt x="26" y="162"/>
                      <a:pt x="27" y="162"/>
                    </a:cubicBezTo>
                    <a:cubicBezTo>
                      <a:pt x="29" y="162"/>
                      <a:pt x="31" y="164"/>
                      <a:pt x="34" y="164"/>
                    </a:cubicBezTo>
                    <a:cubicBezTo>
                      <a:pt x="36" y="164"/>
                      <a:pt x="38" y="164"/>
                      <a:pt x="40" y="165"/>
                    </a:cubicBezTo>
                    <a:cubicBezTo>
                      <a:pt x="41" y="165"/>
                      <a:pt x="43" y="167"/>
                      <a:pt x="44" y="167"/>
                    </a:cubicBezTo>
                    <a:cubicBezTo>
                      <a:pt x="44" y="167"/>
                      <a:pt x="44" y="167"/>
                      <a:pt x="44" y="167"/>
                    </a:cubicBezTo>
                    <a:cubicBezTo>
                      <a:pt x="48" y="166"/>
                      <a:pt x="51" y="165"/>
                      <a:pt x="55" y="163"/>
                    </a:cubicBezTo>
                    <a:cubicBezTo>
                      <a:pt x="56" y="162"/>
                      <a:pt x="57" y="161"/>
                      <a:pt x="57" y="161"/>
                    </a:cubicBezTo>
                    <a:cubicBezTo>
                      <a:pt x="55" y="160"/>
                      <a:pt x="55" y="160"/>
                      <a:pt x="55" y="160"/>
                    </a:cubicBezTo>
                    <a:cubicBezTo>
                      <a:pt x="56" y="158"/>
                      <a:pt x="56" y="158"/>
                      <a:pt x="56" y="158"/>
                    </a:cubicBezTo>
                    <a:cubicBezTo>
                      <a:pt x="55" y="157"/>
                      <a:pt x="55" y="157"/>
                      <a:pt x="55" y="157"/>
                    </a:cubicBezTo>
                    <a:cubicBezTo>
                      <a:pt x="55" y="156"/>
                      <a:pt x="55" y="154"/>
                      <a:pt x="55" y="153"/>
                    </a:cubicBezTo>
                    <a:cubicBezTo>
                      <a:pt x="53" y="149"/>
                      <a:pt x="55" y="144"/>
                      <a:pt x="56" y="141"/>
                    </a:cubicBezTo>
                    <a:cubicBezTo>
                      <a:pt x="56" y="141"/>
                      <a:pt x="56" y="141"/>
                      <a:pt x="56" y="141"/>
                    </a:cubicBezTo>
                    <a:cubicBezTo>
                      <a:pt x="57" y="139"/>
                      <a:pt x="60" y="133"/>
                      <a:pt x="63" y="131"/>
                    </a:cubicBezTo>
                    <a:cubicBezTo>
                      <a:pt x="64" y="131"/>
                      <a:pt x="65" y="130"/>
                      <a:pt x="65" y="130"/>
                    </a:cubicBezTo>
                    <a:cubicBezTo>
                      <a:pt x="66" y="130"/>
                      <a:pt x="66" y="130"/>
                      <a:pt x="66" y="130"/>
                    </a:cubicBezTo>
                    <a:cubicBezTo>
                      <a:pt x="65" y="129"/>
                      <a:pt x="65" y="129"/>
                      <a:pt x="65" y="129"/>
                    </a:cubicBezTo>
                    <a:cubicBezTo>
                      <a:pt x="65" y="129"/>
                      <a:pt x="64" y="128"/>
                      <a:pt x="64" y="127"/>
                    </a:cubicBezTo>
                    <a:cubicBezTo>
                      <a:pt x="64" y="127"/>
                      <a:pt x="63" y="126"/>
                      <a:pt x="63" y="126"/>
                    </a:cubicBezTo>
                    <a:cubicBezTo>
                      <a:pt x="61" y="123"/>
                      <a:pt x="58" y="119"/>
                      <a:pt x="59" y="116"/>
                    </a:cubicBezTo>
                    <a:cubicBezTo>
                      <a:pt x="60" y="114"/>
                      <a:pt x="60" y="114"/>
                      <a:pt x="60" y="114"/>
                    </a:cubicBezTo>
                    <a:cubicBezTo>
                      <a:pt x="61" y="111"/>
                      <a:pt x="62" y="109"/>
                      <a:pt x="63" y="106"/>
                    </a:cubicBezTo>
                    <a:cubicBezTo>
                      <a:pt x="59" y="103"/>
                      <a:pt x="59" y="103"/>
                      <a:pt x="59" y="103"/>
                    </a:cubicBezTo>
                    <a:cubicBezTo>
                      <a:pt x="65" y="105"/>
                      <a:pt x="65" y="105"/>
                      <a:pt x="65" y="105"/>
                    </a:cubicBezTo>
                    <a:cubicBezTo>
                      <a:pt x="65" y="104"/>
                      <a:pt x="65" y="104"/>
                      <a:pt x="65" y="104"/>
                    </a:cubicBezTo>
                    <a:cubicBezTo>
                      <a:pt x="66" y="104"/>
                      <a:pt x="66" y="104"/>
                      <a:pt x="66" y="104"/>
                    </a:cubicBezTo>
                    <a:cubicBezTo>
                      <a:pt x="66" y="103"/>
                      <a:pt x="66" y="103"/>
                      <a:pt x="66" y="103"/>
                    </a:cubicBezTo>
                    <a:cubicBezTo>
                      <a:pt x="67" y="102"/>
                      <a:pt x="68" y="101"/>
                      <a:pt x="68" y="101"/>
                    </a:cubicBezTo>
                    <a:cubicBezTo>
                      <a:pt x="69" y="100"/>
                      <a:pt x="69" y="100"/>
                      <a:pt x="69" y="100"/>
                    </a:cubicBezTo>
                    <a:cubicBezTo>
                      <a:pt x="68" y="100"/>
                      <a:pt x="67" y="100"/>
                      <a:pt x="67" y="100"/>
                    </a:cubicBezTo>
                    <a:cubicBezTo>
                      <a:pt x="65" y="99"/>
                      <a:pt x="64" y="98"/>
                      <a:pt x="62" y="97"/>
                    </a:cubicBezTo>
                    <a:cubicBezTo>
                      <a:pt x="62" y="97"/>
                      <a:pt x="62" y="97"/>
                      <a:pt x="62" y="97"/>
                    </a:cubicBezTo>
                    <a:cubicBezTo>
                      <a:pt x="61" y="96"/>
                      <a:pt x="61" y="94"/>
                      <a:pt x="61" y="93"/>
                    </a:cubicBezTo>
                    <a:cubicBezTo>
                      <a:pt x="61" y="93"/>
                      <a:pt x="61" y="93"/>
                      <a:pt x="61" y="93"/>
                    </a:cubicBezTo>
                    <a:cubicBezTo>
                      <a:pt x="59" y="92"/>
                      <a:pt x="59" y="90"/>
                      <a:pt x="58" y="89"/>
                    </a:cubicBezTo>
                    <a:cubicBezTo>
                      <a:pt x="50" y="75"/>
                      <a:pt x="50" y="75"/>
                      <a:pt x="50" y="75"/>
                    </a:cubicBezTo>
                    <a:cubicBezTo>
                      <a:pt x="58" y="75"/>
                      <a:pt x="58" y="75"/>
                      <a:pt x="58" y="75"/>
                    </a:cubicBezTo>
                    <a:cubicBezTo>
                      <a:pt x="63" y="76"/>
                      <a:pt x="65" y="76"/>
                      <a:pt x="66" y="76"/>
                    </a:cubicBezTo>
                    <a:cubicBezTo>
                      <a:pt x="68" y="76"/>
                      <a:pt x="68" y="76"/>
                      <a:pt x="68" y="76"/>
                    </a:cubicBezTo>
                    <a:cubicBezTo>
                      <a:pt x="69" y="75"/>
                      <a:pt x="70" y="67"/>
                      <a:pt x="70" y="62"/>
                    </a:cubicBezTo>
                    <a:cubicBezTo>
                      <a:pt x="69" y="60"/>
                      <a:pt x="69" y="58"/>
                      <a:pt x="71" y="57"/>
                    </a:cubicBezTo>
                    <a:cubicBezTo>
                      <a:pt x="72" y="56"/>
                      <a:pt x="72" y="56"/>
                      <a:pt x="72" y="56"/>
                    </a:cubicBezTo>
                    <a:cubicBezTo>
                      <a:pt x="72" y="54"/>
                      <a:pt x="73" y="53"/>
                      <a:pt x="73" y="52"/>
                    </a:cubicBezTo>
                    <a:cubicBezTo>
                      <a:pt x="73" y="49"/>
                      <a:pt x="73" y="49"/>
                      <a:pt x="73" y="49"/>
                    </a:cubicBezTo>
                    <a:cubicBezTo>
                      <a:pt x="73" y="47"/>
                      <a:pt x="74" y="44"/>
                      <a:pt x="73" y="42"/>
                    </a:cubicBezTo>
                    <a:cubicBezTo>
                      <a:pt x="73" y="41"/>
                      <a:pt x="72" y="40"/>
                      <a:pt x="72" y="40"/>
                    </a:cubicBezTo>
                    <a:cubicBezTo>
                      <a:pt x="71" y="36"/>
                      <a:pt x="69" y="32"/>
                      <a:pt x="74" y="28"/>
                    </a:cubicBezTo>
                    <a:cubicBezTo>
                      <a:pt x="75" y="27"/>
                      <a:pt x="75" y="27"/>
                      <a:pt x="75" y="27"/>
                    </a:cubicBezTo>
                    <a:cubicBezTo>
                      <a:pt x="77" y="25"/>
                      <a:pt x="79" y="24"/>
                      <a:pt x="80" y="23"/>
                    </a:cubicBezTo>
                    <a:cubicBezTo>
                      <a:pt x="82" y="22"/>
                      <a:pt x="83" y="22"/>
                      <a:pt x="84" y="21"/>
                    </a:cubicBezTo>
                    <a:cubicBezTo>
                      <a:pt x="85" y="20"/>
                      <a:pt x="85" y="20"/>
                      <a:pt x="85" y="20"/>
                    </a:cubicBezTo>
                    <a:cubicBezTo>
                      <a:pt x="87" y="18"/>
                      <a:pt x="88" y="17"/>
                      <a:pt x="89" y="16"/>
                    </a:cubicBezTo>
                    <a:cubicBezTo>
                      <a:pt x="89" y="15"/>
                      <a:pt x="88" y="15"/>
                      <a:pt x="87" y="15"/>
                    </a:cubicBezTo>
                    <a:cubicBezTo>
                      <a:pt x="87" y="14"/>
                      <a:pt x="87" y="14"/>
                      <a:pt x="86" y="14"/>
                    </a:cubicBezTo>
                    <a:cubicBezTo>
                      <a:pt x="84" y="13"/>
                      <a:pt x="80" y="12"/>
                      <a:pt x="81" y="8"/>
                    </a:cubicBezTo>
                    <a:cubicBezTo>
                      <a:pt x="81" y="8"/>
                      <a:pt x="81" y="8"/>
                      <a:pt x="81" y="7"/>
                    </a:cubicBezTo>
                    <a:cubicBezTo>
                      <a:pt x="81" y="7"/>
                      <a:pt x="81" y="6"/>
                      <a:pt x="81" y="5"/>
                    </a:cubicBezTo>
                    <a:cubicBezTo>
                      <a:pt x="81" y="5"/>
                      <a:pt x="81" y="5"/>
                      <a:pt x="81" y="5"/>
                    </a:cubicBezTo>
                    <a:cubicBezTo>
                      <a:pt x="81" y="5"/>
                      <a:pt x="81" y="5"/>
                      <a:pt x="81" y="5"/>
                    </a:cubicBezTo>
                    <a:cubicBezTo>
                      <a:pt x="81" y="5"/>
                      <a:pt x="80" y="5"/>
                      <a:pt x="79" y="5"/>
                    </a:cubicBezTo>
                    <a:cubicBezTo>
                      <a:pt x="79" y="5"/>
                      <a:pt x="79" y="5"/>
                      <a:pt x="79" y="5"/>
                    </a:cubicBezTo>
                    <a:cubicBezTo>
                      <a:pt x="78" y="5"/>
                      <a:pt x="76" y="5"/>
                      <a:pt x="75" y="5"/>
                    </a:cubicBezTo>
                    <a:cubicBezTo>
                      <a:pt x="75" y="5"/>
                      <a:pt x="74" y="5"/>
                      <a:pt x="74" y="5"/>
                    </a:cubicBezTo>
                    <a:cubicBezTo>
                      <a:pt x="73" y="5"/>
                      <a:pt x="72" y="5"/>
                      <a:pt x="71" y="5"/>
                    </a:cubicBezTo>
                    <a:cubicBezTo>
                      <a:pt x="71" y="5"/>
                      <a:pt x="71" y="5"/>
                      <a:pt x="71" y="5"/>
                    </a:cubicBezTo>
                    <a:cubicBezTo>
                      <a:pt x="69" y="6"/>
                      <a:pt x="68" y="7"/>
                      <a:pt x="66" y="7"/>
                    </a:cubicBezTo>
                    <a:cubicBezTo>
                      <a:pt x="66" y="7"/>
                      <a:pt x="65" y="8"/>
                      <a:pt x="64" y="8"/>
                    </a:cubicBezTo>
                    <a:cubicBezTo>
                      <a:pt x="63" y="8"/>
                      <a:pt x="63" y="8"/>
                      <a:pt x="62" y="8"/>
                    </a:cubicBezTo>
                    <a:cubicBezTo>
                      <a:pt x="61" y="8"/>
                      <a:pt x="61" y="8"/>
                      <a:pt x="61" y="8"/>
                    </a:cubicBezTo>
                    <a:cubicBezTo>
                      <a:pt x="59" y="9"/>
                      <a:pt x="57" y="9"/>
                      <a:pt x="55" y="9"/>
                    </a:cubicBezTo>
                    <a:cubicBezTo>
                      <a:pt x="54" y="9"/>
                      <a:pt x="54" y="9"/>
                      <a:pt x="54" y="9"/>
                    </a:cubicBezTo>
                    <a:cubicBezTo>
                      <a:pt x="52" y="9"/>
                      <a:pt x="51" y="8"/>
                      <a:pt x="49" y="8"/>
                    </a:cubicBezTo>
                    <a:cubicBezTo>
                      <a:pt x="49" y="8"/>
                      <a:pt x="49" y="7"/>
                      <a:pt x="48" y="7"/>
                    </a:cubicBezTo>
                    <a:cubicBezTo>
                      <a:pt x="48" y="7"/>
                      <a:pt x="48" y="7"/>
                      <a:pt x="48" y="7"/>
                    </a:cubicBezTo>
                    <a:cubicBezTo>
                      <a:pt x="47" y="6"/>
                      <a:pt x="47" y="6"/>
                      <a:pt x="47" y="6"/>
                    </a:cubicBezTo>
                    <a:cubicBezTo>
                      <a:pt x="45" y="8"/>
                      <a:pt x="43" y="10"/>
                      <a:pt x="41" y="10"/>
                    </a:cubicBezTo>
                    <a:cubicBezTo>
                      <a:pt x="41" y="10"/>
                      <a:pt x="40" y="10"/>
                      <a:pt x="40" y="10"/>
                    </a:cubicBezTo>
                    <a:cubicBezTo>
                      <a:pt x="40" y="10"/>
                      <a:pt x="40" y="10"/>
                      <a:pt x="40" y="10"/>
                    </a:cubicBezTo>
                    <a:cubicBezTo>
                      <a:pt x="40" y="10"/>
                      <a:pt x="40" y="10"/>
                      <a:pt x="40" y="10"/>
                    </a:cubicBezTo>
                    <a:cubicBezTo>
                      <a:pt x="40" y="10"/>
                      <a:pt x="39" y="10"/>
                      <a:pt x="39" y="10"/>
                    </a:cubicBezTo>
                    <a:cubicBezTo>
                      <a:pt x="39" y="10"/>
                      <a:pt x="39" y="10"/>
                      <a:pt x="39" y="10"/>
                    </a:cubicBezTo>
                    <a:cubicBezTo>
                      <a:pt x="36" y="10"/>
                      <a:pt x="35" y="9"/>
                      <a:pt x="35" y="8"/>
                    </a:cubicBezTo>
                    <a:cubicBezTo>
                      <a:pt x="34" y="7"/>
                      <a:pt x="33" y="6"/>
                      <a:pt x="34" y="3"/>
                    </a:cubicBezTo>
                    <a:cubicBezTo>
                      <a:pt x="34" y="2"/>
                      <a:pt x="34" y="1"/>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7" name="Freeform 235">
                <a:extLst>
                  <a:ext uri="{FF2B5EF4-FFF2-40B4-BE49-F238E27FC236}">
                    <a16:creationId xmlns:a16="http://schemas.microsoft.com/office/drawing/2014/main" id="{597D9AE4-E2F0-4AE2-A54E-664EA4D35F3E}"/>
                  </a:ext>
                </a:extLst>
              </p:cNvPr>
              <p:cNvSpPr>
                <a:spLocks/>
              </p:cNvSpPr>
              <p:nvPr/>
            </p:nvSpPr>
            <p:spPr bwMode="auto">
              <a:xfrm>
                <a:off x="3581933" y="5420806"/>
                <a:ext cx="1838873" cy="1437195"/>
              </a:xfrm>
              <a:custGeom>
                <a:avLst/>
                <a:gdLst>
                  <a:gd name="T0" fmla="*/ 397 w 579"/>
                  <a:gd name="T1" fmla="*/ 13 h 453"/>
                  <a:gd name="T2" fmla="*/ 354 w 579"/>
                  <a:gd name="T3" fmla="*/ 6 h 453"/>
                  <a:gd name="T4" fmla="*/ 323 w 579"/>
                  <a:gd name="T5" fmla="*/ 11 h 453"/>
                  <a:gd name="T6" fmla="*/ 252 w 579"/>
                  <a:gd name="T7" fmla="*/ 30 h 453"/>
                  <a:gd name="T8" fmla="*/ 232 w 579"/>
                  <a:gd name="T9" fmla="*/ 38 h 453"/>
                  <a:gd name="T10" fmla="*/ 205 w 579"/>
                  <a:gd name="T11" fmla="*/ 57 h 453"/>
                  <a:gd name="T12" fmla="*/ 186 w 579"/>
                  <a:gd name="T13" fmla="*/ 64 h 453"/>
                  <a:gd name="T14" fmla="*/ 193 w 579"/>
                  <a:gd name="T15" fmla="*/ 70 h 453"/>
                  <a:gd name="T16" fmla="*/ 195 w 579"/>
                  <a:gd name="T17" fmla="*/ 79 h 453"/>
                  <a:gd name="T18" fmla="*/ 199 w 579"/>
                  <a:gd name="T19" fmla="*/ 94 h 453"/>
                  <a:gd name="T20" fmla="*/ 198 w 579"/>
                  <a:gd name="T21" fmla="*/ 109 h 453"/>
                  <a:gd name="T22" fmla="*/ 217 w 579"/>
                  <a:gd name="T23" fmla="*/ 147 h 453"/>
                  <a:gd name="T24" fmla="*/ 212 w 579"/>
                  <a:gd name="T25" fmla="*/ 162 h 453"/>
                  <a:gd name="T26" fmla="*/ 197 w 579"/>
                  <a:gd name="T27" fmla="*/ 163 h 453"/>
                  <a:gd name="T28" fmla="*/ 192 w 579"/>
                  <a:gd name="T29" fmla="*/ 162 h 453"/>
                  <a:gd name="T30" fmla="*/ 172 w 579"/>
                  <a:gd name="T31" fmla="*/ 162 h 453"/>
                  <a:gd name="T32" fmla="*/ 162 w 579"/>
                  <a:gd name="T33" fmla="*/ 166 h 453"/>
                  <a:gd name="T34" fmla="*/ 144 w 579"/>
                  <a:gd name="T35" fmla="*/ 176 h 453"/>
                  <a:gd name="T36" fmla="*/ 138 w 579"/>
                  <a:gd name="T37" fmla="*/ 175 h 453"/>
                  <a:gd name="T38" fmla="*/ 138 w 579"/>
                  <a:gd name="T39" fmla="*/ 177 h 453"/>
                  <a:gd name="T40" fmla="*/ 139 w 579"/>
                  <a:gd name="T41" fmla="*/ 185 h 453"/>
                  <a:gd name="T42" fmla="*/ 136 w 579"/>
                  <a:gd name="T43" fmla="*/ 201 h 453"/>
                  <a:gd name="T44" fmla="*/ 97 w 579"/>
                  <a:gd name="T45" fmla="*/ 224 h 453"/>
                  <a:gd name="T46" fmla="*/ 62 w 579"/>
                  <a:gd name="T47" fmla="*/ 234 h 453"/>
                  <a:gd name="T48" fmla="*/ 51 w 579"/>
                  <a:gd name="T49" fmla="*/ 241 h 453"/>
                  <a:gd name="T50" fmla="*/ 40 w 579"/>
                  <a:gd name="T51" fmla="*/ 244 h 453"/>
                  <a:gd name="T52" fmla="*/ 15 w 579"/>
                  <a:gd name="T53" fmla="*/ 257 h 453"/>
                  <a:gd name="T54" fmla="*/ 1 w 579"/>
                  <a:gd name="T55" fmla="*/ 266 h 453"/>
                  <a:gd name="T56" fmla="*/ 106 w 579"/>
                  <a:gd name="T57" fmla="*/ 375 h 453"/>
                  <a:gd name="T58" fmla="*/ 129 w 579"/>
                  <a:gd name="T59" fmla="*/ 390 h 453"/>
                  <a:gd name="T60" fmla="*/ 220 w 579"/>
                  <a:gd name="T61" fmla="*/ 453 h 453"/>
                  <a:gd name="T62" fmla="*/ 577 w 579"/>
                  <a:gd name="T63" fmla="*/ 418 h 453"/>
                  <a:gd name="T64" fmla="*/ 565 w 579"/>
                  <a:gd name="T65" fmla="*/ 401 h 453"/>
                  <a:gd name="T66" fmla="*/ 548 w 579"/>
                  <a:gd name="T67" fmla="*/ 396 h 453"/>
                  <a:gd name="T68" fmla="*/ 543 w 579"/>
                  <a:gd name="T69" fmla="*/ 397 h 453"/>
                  <a:gd name="T70" fmla="*/ 538 w 579"/>
                  <a:gd name="T71" fmla="*/ 397 h 453"/>
                  <a:gd name="T72" fmla="*/ 533 w 579"/>
                  <a:gd name="T73" fmla="*/ 393 h 453"/>
                  <a:gd name="T74" fmla="*/ 526 w 579"/>
                  <a:gd name="T75" fmla="*/ 383 h 453"/>
                  <a:gd name="T76" fmla="*/ 519 w 579"/>
                  <a:gd name="T77" fmla="*/ 361 h 453"/>
                  <a:gd name="T78" fmla="*/ 515 w 579"/>
                  <a:gd name="T79" fmla="*/ 356 h 453"/>
                  <a:gd name="T80" fmla="*/ 518 w 579"/>
                  <a:gd name="T81" fmla="*/ 331 h 453"/>
                  <a:gd name="T82" fmla="*/ 520 w 579"/>
                  <a:gd name="T83" fmla="*/ 328 h 453"/>
                  <a:gd name="T84" fmla="*/ 518 w 579"/>
                  <a:gd name="T85" fmla="*/ 313 h 453"/>
                  <a:gd name="T86" fmla="*/ 521 w 579"/>
                  <a:gd name="T87" fmla="*/ 297 h 453"/>
                  <a:gd name="T88" fmla="*/ 519 w 579"/>
                  <a:gd name="T89" fmla="*/ 266 h 453"/>
                  <a:gd name="T90" fmla="*/ 513 w 579"/>
                  <a:gd name="T91" fmla="*/ 237 h 453"/>
                  <a:gd name="T92" fmla="*/ 507 w 579"/>
                  <a:gd name="T93" fmla="*/ 217 h 453"/>
                  <a:gd name="T94" fmla="*/ 510 w 579"/>
                  <a:gd name="T95" fmla="*/ 216 h 453"/>
                  <a:gd name="T96" fmla="*/ 497 w 579"/>
                  <a:gd name="T97" fmla="*/ 163 h 453"/>
                  <a:gd name="T98" fmla="*/ 480 w 579"/>
                  <a:gd name="T99" fmla="*/ 150 h 453"/>
                  <a:gd name="T100" fmla="*/ 475 w 579"/>
                  <a:gd name="T101" fmla="*/ 136 h 453"/>
                  <a:gd name="T102" fmla="*/ 468 w 579"/>
                  <a:gd name="T103" fmla="*/ 128 h 453"/>
                  <a:gd name="T104" fmla="*/ 457 w 579"/>
                  <a:gd name="T105" fmla="*/ 91 h 453"/>
                  <a:gd name="T106" fmla="*/ 479 w 579"/>
                  <a:gd name="T107" fmla="*/ 56 h 453"/>
                  <a:gd name="T108" fmla="*/ 477 w 579"/>
                  <a:gd name="T109" fmla="*/ 47 h 453"/>
                  <a:gd name="T110" fmla="*/ 475 w 579"/>
                  <a:gd name="T111" fmla="*/ 22 h 453"/>
                  <a:gd name="T112" fmla="*/ 465 w 579"/>
                  <a:gd name="T113" fmla="*/ 6 h 453"/>
                  <a:gd name="T114" fmla="*/ 447 w 579"/>
                  <a:gd name="T115" fmla="*/ 2 h 453"/>
                  <a:gd name="T116" fmla="*/ 432 w 579"/>
                  <a:gd name="T117" fmla="*/ 3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9" h="453">
                    <a:moveTo>
                      <a:pt x="424" y="0"/>
                    </a:moveTo>
                    <a:cubicBezTo>
                      <a:pt x="423" y="0"/>
                      <a:pt x="422" y="1"/>
                      <a:pt x="421" y="4"/>
                    </a:cubicBezTo>
                    <a:cubicBezTo>
                      <a:pt x="413" y="7"/>
                      <a:pt x="405" y="10"/>
                      <a:pt x="398" y="13"/>
                    </a:cubicBezTo>
                    <a:cubicBezTo>
                      <a:pt x="397" y="13"/>
                      <a:pt x="397" y="13"/>
                      <a:pt x="397" y="13"/>
                    </a:cubicBezTo>
                    <a:cubicBezTo>
                      <a:pt x="395" y="13"/>
                      <a:pt x="389" y="11"/>
                      <a:pt x="388" y="10"/>
                    </a:cubicBezTo>
                    <a:cubicBezTo>
                      <a:pt x="383" y="9"/>
                      <a:pt x="379" y="7"/>
                      <a:pt x="374" y="6"/>
                    </a:cubicBezTo>
                    <a:cubicBezTo>
                      <a:pt x="372" y="5"/>
                      <a:pt x="370" y="5"/>
                      <a:pt x="367" y="5"/>
                    </a:cubicBezTo>
                    <a:cubicBezTo>
                      <a:pt x="363" y="5"/>
                      <a:pt x="358" y="5"/>
                      <a:pt x="354" y="6"/>
                    </a:cubicBezTo>
                    <a:cubicBezTo>
                      <a:pt x="349" y="7"/>
                      <a:pt x="343" y="9"/>
                      <a:pt x="338" y="10"/>
                    </a:cubicBezTo>
                    <a:cubicBezTo>
                      <a:pt x="333" y="10"/>
                      <a:pt x="333" y="10"/>
                      <a:pt x="333" y="10"/>
                    </a:cubicBezTo>
                    <a:cubicBezTo>
                      <a:pt x="328" y="8"/>
                      <a:pt x="328" y="8"/>
                      <a:pt x="328" y="8"/>
                    </a:cubicBezTo>
                    <a:cubicBezTo>
                      <a:pt x="323" y="11"/>
                      <a:pt x="323" y="11"/>
                      <a:pt x="323" y="11"/>
                    </a:cubicBezTo>
                    <a:cubicBezTo>
                      <a:pt x="320" y="13"/>
                      <a:pt x="317" y="15"/>
                      <a:pt x="315" y="15"/>
                    </a:cubicBezTo>
                    <a:cubicBezTo>
                      <a:pt x="310" y="16"/>
                      <a:pt x="304" y="16"/>
                      <a:pt x="299" y="16"/>
                    </a:cubicBezTo>
                    <a:cubicBezTo>
                      <a:pt x="290" y="17"/>
                      <a:pt x="282" y="19"/>
                      <a:pt x="274" y="21"/>
                    </a:cubicBezTo>
                    <a:cubicBezTo>
                      <a:pt x="266" y="23"/>
                      <a:pt x="258" y="25"/>
                      <a:pt x="252" y="30"/>
                    </a:cubicBezTo>
                    <a:cubicBezTo>
                      <a:pt x="248" y="33"/>
                      <a:pt x="245" y="37"/>
                      <a:pt x="242" y="40"/>
                    </a:cubicBezTo>
                    <a:cubicBezTo>
                      <a:pt x="241" y="41"/>
                      <a:pt x="240" y="41"/>
                      <a:pt x="239" y="41"/>
                    </a:cubicBezTo>
                    <a:cubicBezTo>
                      <a:pt x="238" y="41"/>
                      <a:pt x="236" y="39"/>
                      <a:pt x="233" y="38"/>
                    </a:cubicBezTo>
                    <a:cubicBezTo>
                      <a:pt x="233" y="38"/>
                      <a:pt x="232" y="38"/>
                      <a:pt x="232" y="38"/>
                    </a:cubicBezTo>
                    <a:cubicBezTo>
                      <a:pt x="231" y="38"/>
                      <a:pt x="230" y="39"/>
                      <a:pt x="230" y="39"/>
                    </a:cubicBezTo>
                    <a:cubicBezTo>
                      <a:pt x="227" y="40"/>
                      <a:pt x="225" y="41"/>
                      <a:pt x="222" y="42"/>
                    </a:cubicBezTo>
                    <a:cubicBezTo>
                      <a:pt x="219" y="43"/>
                      <a:pt x="214" y="45"/>
                      <a:pt x="212" y="47"/>
                    </a:cubicBezTo>
                    <a:cubicBezTo>
                      <a:pt x="209" y="49"/>
                      <a:pt x="208" y="54"/>
                      <a:pt x="205" y="57"/>
                    </a:cubicBezTo>
                    <a:cubicBezTo>
                      <a:pt x="201" y="59"/>
                      <a:pt x="195" y="59"/>
                      <a:pt x="192" y="61"/>
                    </a:cubicBezTo>
                    <a:cubicBezTo>
                      <a:pt x="189" y="61"/>
                      <a:pt x="187" y="62"/>
                      <a:pt x="184" y="63"/>
                    </a:cubicBezTo>
                    <a:cubicBezTo>
                      <a:pt x="185" y="63"/>
                      <a:pt x="185" y="63"/>
                      <a:pt x="185" y="63"/>
                    </a:cubicBezTo>
                    <a:cubicBezTo>
                      <a:pt x="186" y="64"/>
                      <a:pt x="186" y="64"/>
                      <a:pt x="186" y="64"/>
                    </a:cubicBezTo>
                    <a:cubicBezTo>
                      <a:pt x="187" y="65"/>
                      <a:pt x="188" y="66"/>
                      <a:pt x="188" y="67"/>
                    </a:cubicBezTo>
                    <a:cubicBezTo>
                      <a:pt x="190" y="68"/>
                      <a:pt x="190" y="68"/>
                      <a:pt x="190" y="68"/>
                    </a:cubicBezTo>
                    <a:cubicBezTo>
                      <a:pt x="190" y="68"/>
                      <a:pt x="191" y="69"/>
                      <a:pt x="191" y="69"/>
                    </a:cubicBezTo>
                    <a:cubicBezTo>
                      <a:pt x="193" y="70"/>
                      <a:pt x="193" y="70"/>
                      <a:pt x="193" y="70"/>
                    </a:cubicBezTo>
                    <a:cubicBezTo>
                      <a:pt x="194" y="71"/>
                      <a:pt x="196" y="72"/>
                      <a:pt x="197" y="73"/>
                    </a:cubicBezTo>
                    <a:cubicBezTo>
                      <a:pt x="197" y="74"/>
                      <a:pt x="197" y="74"/>
                      <a:pt x="197" y="74"/>
                    </a:cubicBezTo>
                    <a:cubicBezTo>
                      <a:pt x="197" y="75"/>
                      <a:pt x="197" y="75"/>
                      <a:pt x="197" y="75"/>
                    </a:cubicBezTo>
                    <a:cubicBezTo>
                      <a:pt x="197" y="77"/>
                      <a:pt x="196" y="78"/>
                      <a:pt x="195" y="79"/>
                    </a:cubicBezTo>
                    <a:cubicBezTo>
                      <a:pt x="196" y="79"/>
                      <a:pt x="196" y="80"/>
                      <a:pt x="197" y="80"/>
                    </a:cubicBezTo>
                    <a:cubicBezTo>
                      <a:pt x="200" y="83"/>
                      <a:pt x="198" y="86"/>
                      <a:pt x="198" y="87"/>
                    </a:cubicBezTo>
                    <a:cubicBezTo>
                      <a:pt x="197" y="88"/>
                      <a:pt x="197" y="88"/>
                      <a:pt x="197" y="88"/>
                    </a:cubicBezTo>
                    <a:cubicBezTo>
                      <a:pt x="199" y="94"/>
                      <a:pt x="199" y="94"/>
                      <a:pt x="199" y="94"/>
                    </a:cubicBezTo>
                    <a:cubicBezTo>
                      <a:pt x="200" y="97"/>
                      <a:pt x="199" y="101"/>
                      <a:pt x="198" y="105"/>
                    </a:cubicBezTo>
                    <a:cubicBezTo>
                      <a:pt x="198" y="106"/>
                      <a:pt x="198" y="106"/>
                      <a:pt x="198" y="106"/>
                    </a:cubicBezTo>
                    <a:cubicBezTo>
                      <a:pt x="198" y="106"/>
                      <a:pt x="198" y="107"/>
                      <a:pt x="198" y="108"/>
                    </a:cubicBezTo>
                    <a:cubicBezTo>
                      <a:pt x="198" y="108"/>
                      <a:pt x="198" y="109"/>
                      <a:pt x="198" y="109"/>
                    </a:cubicBezTo>
                    <a:cubicBezTo>
                      <a:pt x="209" y="137"/>
                      <a:pt x="209" y="137"/>
                      <a:pt x="209" y="137"/>
                    </a:cubicBezTo>
                    <a:cubicBezTo>
                      <a:pt x="209" y="138"/>
                      <a:pt x="210" y="139"/>
                      <a:pt x="211" y="140"/>
                    </a:cubicBezTo>
                    <a:cubicBezTo>
                      <a:pt x="213" y="141"/>
                      <a:pt x="213" y="141"/>
                      <a:pt x="213" y="141"/>
                    </a:cubicBezTo>
                    <a:cubicBezTo>
                      <a:pt x="215" y="142"/>
                      <a:pt x="217" y="143"/>
                      <a:pt x="217" y="147"/>
                    </a:cubicBezTo>
                    <a:cubicBezTo>
                      <a:pt x="217" y="150"/>
                      <a:pt x="215" y="152"/>
                      <a:pt x="213" y="153"/>
                    </a:cubicBezTo>
                    <a:cubicBezTo>
                      <a:pt x="212" y="155"/>
                      <a:pt x="212" y="155"/>
                      <a:pt x="212" y="155"/>
                    </a:cubicBezTo>
                    <a:cubicBezTo>
                      <a:pt x="213" y="156"/>
                      <a:pt x="214" y="157"/>
                      <a:pt x="213" y="159"/>
                    </a:cubicBezTo>
                    <a:cubicBezTo>
                      <a:pt x="213" y="160"/>
                      <a:pt x="212" y="161"/>
                      <a:pt x="212" y="162"/>
                    </a:cubicBezTo>
                    <a:cubicBezTo>
                      <a:pt x="210" y="163"/>
                      <a:pt x="209" y="163"/>
                      <a:pt x="207" y="163"/>
                    </a:cubicBezTo>
                    <a:cubicBezTo>
                      <a:pt x="207" y="163"/>
                      <a:pt x="206" y="163"/>
                      <a:pt x="206" y="163"/>
                    </a:cubicBezTo>
                    <a:cubicBezTo>
                      <a:pt x="205" y="163"/>
                      <a:pt x="204" y="163"/>
                      <a:pt x="204" y="163"/>
                    </a:cubicBezTo>
                    <a:cubicBezTo>
                      <a:pt x="202" y="163"/>
                      <a:pt x="199" y="163"/>
                      <a:pt x="197" y="163"/>
                    </a:cubicBezTo>
                    <a:cubicBezTo>
                      <a:pt x="197" y="161"/>
                      <a:pt x="197" y="161"/>
                      <a:pt x="197" y="161"/>
                    </a:cubicBezTo>
                    <a:cubicBezTo>
                      <a:pt x="197" y="161"/>
                      <a:pt x="197" y="161"/>
                      <a:pt x="197" y="161"/>
                    </a:cubicBezTo>
                    <a:cubicBezTo>
                      <a:pt x="196" y="163"/>
                      <a:pt x="196" y="163"/>
                      <a:pt x="196" y="163"/>
                    </a:cubicBezTo>
                    <a:cubicBezTo>
                      <a:pt x="195" y="162"/>
                      <a:pt x="193" y="162"/>
                      <a:pt x="192" y="162"/>
                    </a:cubicBezTo>
                    <a:cubicBezTo>
                      <a:pt x="189" y="162"/>
                      <a:pt x="186" y="162"/>
                      <a:pt x="183" y="161"/>
                    </a:cubicBezTo>
                    <a:cubicBezTo>
                      <a:pt x="182" y="161"/>
                      <a:pt x="182" y="161"/>
                      <a:pt x="182" y="161"/>
                    </a:cubicBezTo>
                    <a:cubicBezTo>
                      <a:pt x="180" y="161"/>
                      <a:pt x="179" y="161"/>
                      <a:pt x="178" y="161"/>
                    </a:cubicBezTo>
                    <a:cubicBezTo>
                      <a:pt x="176" y="161"/>
                      <a:pt x="174" y="161"/>
                      <a:pt x="172" y="162"/>
                    </a:cubicBezTo>
                    <a:cubicBezTo>
                      <a:pt x="171" y="162"/>
                      <a:pt x="170" y="162"/>
                      <a:pt x="169" y="162"/>
                    </a:cubicBezTo>
                    <a:cubicBezTo>
                      <a:pt x="169" y="162"/>
                      <a:pt x="169" y="162"/>
                      <a:pt x="169" y="162"/>
                    </a:cubicBezTo>
                    <a:cubicBezTo>
                      <a:pt x="168" y="162"/>
                      <a:pt x="167" y="162"/>
                      <a:pt x="166" y="163"/>
                    </a:cubicBezTo>
                    <a:cubicBezTo>
                      <a:pt x="164" y="163"/>
                      <a:pt x="163" y="164"/>
                      <a:pt x="162" y="166"/>
                    </a:cubicBezTo>
                    <a:cubicBezTo>
                      <a:pt x="161" y="168"/>
                      <a:pt x="159" y="171"/>
                      <a:pt x="156" y="172"/>
                    </a:cubicBezTo>
                    <a:cubicBezTo>
                      <a:pt x="156" y="172"/>
                      <a:pt x="155" y="173"/>
                      <a:pt x="154" y="173"/>
                    </a:cubicBezTo>
                    <a:cubicBezTo>
                      <a:pt x="153" y="173"/>
                      <a:pt x="153" y="173"/>
                      <a:pt x="153" y="173"/>
                    </a:cubicBezTo>
                    <a:cubicBezTo>
                      <a:pt x="150" y="174"/>
                      <a:pt x="147" y="176"/>
                      <a:pt x="144" y="176"/>
                    </a:cubicBezTo>
                    <a:cubicBezTo>
                      <a:pt x="144" y="176"/>
                      <a:pt x="144" y="176"/>
                      <a:pt x="143" y="176"/>
                    </a:cubicBezTo>
                    <a:cubicBezTo>
                      <a:pt x="143" y="176"/>
                      <a:pt x="143" y="176"/>
                      <a:pt x="142" y="176"/>
                    </a:cubicBezTo>
                    <a:cubicBezTo>
                      <a:pt x="141" y="176"/>
                      <a:pt x="140" y="176"/>
                      <a:pt x="139" y="175"/>
                    </a:cubicBezTo>
                    <a:cubicBezTo>
                      <a:pt x="138" y="175"/>
                      <a:pt x="138" y="175"/>
                      <a:pt x="138" y="175"/>
                    </a:cubicBezTo>
                    <a:cubicBezTo>
                      <a:pt x="137" y="175"/>
                      <a:pt x="137" y="175"/>
                      <a:pt x="137" y="175"/>
                    </a:cubicBezTo>
                    <a:cubicBezTo>
                      <a:pt x="137" y="176"/>
                      <a:pt x="137" y="176"/>
                      <a:pt x="137" y="176"/>
                    </a:cubicBezTo>
                    <a:cubicBezTo>
                      <a:pt x="137" y="176"/>
                      <a:pt x="138" y="176"/>
                      <a:pt x="138" y="177"/>
                    </a:cubicBezTo>
                    <a:cubicBezTo>
                      <a:pt x="138" y="177"/>
                      <a:pt x="138" y="177"/>
                      <a:pt x="138" y="177"/>
                    </a:cubicBezTo>
                    <a:cubicBezTo>
                      <a:pt x="138" y="177"/>
                      <a:pt x="138" y="177"/>
                      <a:pt x="138" y="177"/>
                    </a:cubicBezTo>
                    <a:cubicBezTo>
                      <a:pt x="139" y="178"/>
                      <a:pt x="140" y="179"/>
                      <a:pt x="140" y="179"/>
                    </a:cubicBezTo>
                    <a:cubicBezTo>
                      <a:pt x="141" y="180"/>
                      <a:pt x="141" y="182"/>
                      <a:pt x="140" y="184"/>
                    </a:cubicBezTo>
                    <a:cubicBezTo>
                      <a:pt x="140" y="184"/>
                      <a:pt x="139" y="185"/>
                      <a:pt x="139" y="185"/>
                    </a:cubicBezTo>
                    <a:cubicBezTo>
                      <a:pt x="140" y="185"/>
                      <a:pt x="141" y="186"/>
                      <a:pt x="141" y="186"/>
                    </a:cubicBezTo>
                    <a:cubicBezTo>
                      <a:pt x="142" y="187"/>
                      <a:pt x="144" y="189"/>
                      <a:pt x="144" y="191"/>
                    </a:cubicBezTo>
                    <a:cubicBezTo>
                      <a:pt x="146" y="197"/>
                      <a:pt x="140" y="199"/>
                      <a:pt x="137" y="200"/>
                    </a:cubicBezTo>
                    <a:cubicBezTo>
                      <a:pt x="137" y="200"/>
                      <a:pt x="136" y="200"/>
                      <a:pt x="136" y="201"/>
                    </a:cubicBezTo>
                    <a:cubicBezTo>
                      <a:pt x="106" y="214"/>
                      <a:pt x="106" y="214"/>
                      <a:pt x="106" y="214"/>
                    </a:cubicBezTo>
                    <a:cubicBezTo>
                      <a:pt x="104" y="215"/>
                      <a:pt x="103" y="217"/>
                      <a:pt x="101" y="218"/>
                    </a:cubicBezTo>
                    <a:cubicBezTo>
                      <a:pt x="101" y="220"/>
                      <a:pt x="100" y="221"/>
                      <a:pt x="99" y="222"/>
                    </a:cubicBezTo>
                    <a:cubicBezTo>
                      <a:pt x="97" y="224"/>
                      <a:pt x="97" y="224"/>
                      <a:pt x="97" y="224"/>
                    </a:cubicBezTo>
                    <a:cubicBezTo>
                      <a:pt x="96" y="225"/>
                      <a:pt x="95" y="226"/>
                      <a:pt x="94" y="227"/>
                    </a:cubicBezTo>
                    <a:cubicBezTo>
                      <a:pt x="92" y="229"/>
                      <a:pt x="90" y="230"/>
                      <a:pt x="88" y="231"/>
                    </a:cubicBezTo>
                    <a:cubicBezTo>
                      <a:pt x="84" y="232"/>
                      <a:pt x="74" y="235"/>
                      <a:pt x="66" y="235"/>
                    </a:cubicBezTo>
                    <a:cubicBezTo>
                      <a:pt x="65" y="235"/>
                      <a:pt x="63" y="235"/>
                      <a:pt x="62" y="234"/>
                    </a:cubicBezTo>
                    <a:cubicBezTo>
                      <a:pt x="61" y="237"/>
                      <a:pt x="59" y="241"/>
                      <a:pt x="55" y="242"/>
                    </a:cubicBezTo>
                    <a:cubicBezTo>
                      <a:pt x="55" y="242"/>
                      <a:pt x="55" y="242"/>
                      <a:pt x="54" y="242"/>
                    </a:cubicBezTo>
                    <a:cubicBezTo>
                      <a:pt x="54" y="242"/>
                      <a:pt x="53" y="242"/>
                      <a:pt x="53" y="242"/>
                    </a:cubicBezTo>
                    <a:cubicBezTo>
                      <a:pt x="52" y="242"/>
                      <a:pt x="51" y="241"/>
                      <a:pt x="51" y="241"/>
                    </a:cubicBezTo>
                    <a:cubicBezTo>
                      <a:pt x="50" y="241"/>
                      <a:pt x="50" y="241"/>
                      <a:pt x="50" y="241"/>
                    </a:cubicBezTo>
                    <a:cubicBezTo>
                      <a:pt x="50" y="241"/>
                      <a:pt x="50" y="241"/>
                      <a:pt x="50" y="241"/>
                    </a:cubicBezTo>
                    <a:cubicBezTo>
                      <a:pt x="48" y="242"/>
                      <a:pt x="46" y="242"/>
                      <a:pt x="44" y="243"/>
                    </a:cubicBezTo>
                    <a:cubicBezTo>
                      <a:pt x="40" y="244"/>
                      <a:pt x="40" y="244"/>
                      <a:pt x="40" y="244"/>
                    </a:cubicBezTo>
                    <a:cubicBezTo>
                      <a:pt x="38" y="244"/>
                      <a:pt x="37" y="245"/>
                      <a:pt x="35" y="245"/>
                    </a:cubicBezTo>
                    <a:cubicBezTo>
                      <a:pt x="33" y="246"/>
                      <a:pt x="31" y="246"/>
                      <a:pt x="28" y="247"/>
                    </a:cubicBezTo>
                    <a:cubicBezTo>
                      <a:pt x="27" y="248"/>
                      <a:pt x="26" y="249"/>
                      <a:pt x="25" y="249"/>
                    </a:cubicBezTo>
                    <a:cubicBezTo>
                      <a:pt x="22" y="252"/>
                      <a:pt x="18" y="255"/>
                      <a:pt x="15" y="257"/>
                    </a:cubicBezTo>
                    <a:cubicBezTo>
                      <a:pt x="11" y="259"/>
                      <a:pt x="11" y="259"/>
                      <a:pt x="11" y="259"/>
                    </a:cubicBezTo>
                    <a:cubicBezTo>
                      <a:pt x="10" y="260"/>
                      <a:pt x="9" y="260"/>
                      <a:pt x="8" y="261"/>
                    </a:cubicBezTo>
                    <a:cubicBezTo>
                      <a:pt x="6" y="263"/>
                      <a:pt x="6" y="263"/>
                      <a:pt x="6" y="263"/>
                    </a:cubicBezTo>
                    <a:cubicBezTo>
                      <a:pt x="4" y="264"/>
                      <a:pt x="3" y="265"/>
                      <a:pt x="1" y="266"/>
                    </a:cubicBezTo>
                    <a:cubicBezTo>
                      <a:pt x="1" y="266"/>
                      <a:pt x="1" y="267"/>
                      <a:pt x="0" y="267"/>
                    </a:cubicBezTo>
                    <a:cubicBezTo>
                      <a:pt x="0" y="293"/>
                      <a:pt x="0" y="293"/>
                      <a:pt x="0" y="293"/>
                    </a:cubicBezTo>
                    <a:cubicBezTo>
                      <a:pt x="1" y="307"/>
                      <a:pt x="1" y="307"/>
                      <a:pt x="1" y="307"/>
                    </a:cubicBezTo>
                    <a:cubicBezTo>
                      <a:pt x="40" y="331"/>
                      <a:pt x="74" y="354"/>
                      <a:pt x="106" y="375"/>
                    </a:cubicBezTo>
                    <a:cubicBezTo>
                      <a:pt x="107" y="375"/>
                      <a:pt x="107" y="375"/>
                      <a:pt x="107" y="375"/>
                    </a:cubicBezTo>
                    <a:cubicBezTo>
                      <a:pt x="126" y="382"/>
                      <a:pt x="126" y="382"/>
                      <a:pt x="126" y="382"/>
                    </a:cubicBezTo>
                    <a:cubicBezTo>
                      <a:pt x="117" y="382"/>
                      <a:pt x="117" y="382"/>
                      <a:pt x="117" y="382"/>
                    </a:cubicBezTo>
                    <a:cubicBezTo>
                      <a:pt x="129" y="390"/>
                      <a:pt x="129" y="390"/>
                      <a:pt x="129" y="390"/>
                    </a:cubicBezTo>
                    <a:cubicBezTo>
                      <a:pt x="129" y="390"/>
                      <a:pt x="129" y="390"/>
                      <a:pt x="129" y="390"/>
                    </a:cubicBezTo>
                    <a:cubicBezTo>
                      <a:pt x="136" y="395"/>
                      <a:pt x="145" y="401"/>
                      <a:pt x="153" y="406"/>
                    </a:cubicBezTo>
                    <a:cubicBezTo>
                      <a:pt x="166" y="416"/>
                      <a:pt x="180" y="425"/>
                      <a:pt x="193" y="434"/>
                    </a:cubicBezTo>
                    <a:cubicBezTo>
                      <a:pt x="201" y="440"/>
                      <a:pt x="210" y="447"/>
                      <a:pt x="220" y="453"/>
                    </a:cubicBezTo>
                    <a:cubicBezTo>
                      <a:pt x="528" y="453"/>
                      <a:pt x="528" y="453"/>
                      <a:pt x="528" y="453"/>
                    </a:cubicBezTo>
                    <a:cubicBezTo>
                      <a:pt x="579" y="422"/>
                      <a:pt x="579" y="422"/>
                      <a:pt x="579" y="422"/>
                    </a:cubicBezTo>
                    <a:cubicBezTo>
                      <a:pt x="578" y="421"/>
                      <a:pt x="578" y="420"/>
                      <a:pt x="577" y="419"/>
                    </a:cubicBezTo>
                    <a:cubicBezTo>
                      <a:pt x="577" y="418"/>
                      <a:pt x="577" y="418"/>
                      <a:pt x="577" y="418"/>
                    </a:cubicBezTo>
                    <a:cubicBezTo>
                      <a:pt x="576" y="417"/>
                      <a:pt x="575" y="415"/>
                      <a:pt x="575" y="414"/>
                    </a:cubicBezTo>
                    <a:cubicBezTo>
                      <a:pt x="574" y="412"/>
                      <a:pt x="573" y="410"/>
                      <a:pt x="572" y="408"/>
                    </a:cubicBezTo>
                    <a:cubicBezTo>
                      <a:pt x="571" y="407"/>
                      <a:pt x="571" y="407"/>
                      <a:pt x="570" y="406"/>
                    </a:cubicBezTo>
                    <a:cubicBezTo>
                      <a:pt x="569" y="403"/>
                      <a:pt x="568" y="402"/>
                      <a:pt x="565" y="401"/>
                    </a:cubicBezTo>
                    <a:cubicBezTo>
                      <a:pt x="559" y="399"/>
                      <a:pt x="559" y="399"/>
                      <a:pt x="559" y="399"/>
                    </a:cubicBezTo>
                    <a:cubicBezTo>
                      <a:pt x="557" y="398"/>
                      <a:pt x="554" y="398"/>
                      <a:pt x="552" y="397"/>
                    </a:cubicBezTo>
                    <a:cubicBezTo>
                      <a:pt x="550" y="396"/>
                      <a:pt x="549" y="396"/>
                      <a:pt x="548" y="396"/>
                    </a:cubicBezTo>
                    <a:cubicBezTo>
                      <a:pt x="548" y="396"/>
                      <a:pt x="548" y="396"/>
                      <a:pt x="548" y="396"/>
                    </a:cubicBezTo>
                    <a:cubicBezTo>
                      <a:pt x="548" y="396"/>
                      <a:pt x="548" y="396"/>
                      <a:pt x="548" y="396"/>
                    </a:cubicBezTo>
                    <a:cubicBezTo>
                      <a:pt x="547" y="396"/>
                      <a:pt x="546" y="396"/>
                      <a:pt x="544" y="397"/>
                    </a:cubicBezTo>
                    <a:cubicBezTo>
                      <a:pt x="543" y="397"/>
                      <a:pt x="543" y="397"/>
                      <a:pt x="543" y="397"/>
                    </a:cubicBezTo>
                    <a:cubicBezTo>
                      <a:pt x="543" y="397"/>
                      <a:pt x="543" y="397"/>
                      <a:pt x="543" y="397"/>
                    </a:cubicBezTo>
                    <a:cubicBezTo>
                      <a:pt x="543" y="404"/>
                      <a:pt x="543" y="404"/>
                      <a:pt x="543" y="404"/>
                    </a:cubicBezTo>
                    <a:cubicBezTo>
                      <a:pt x="541" y="397"/>
                      <a:pt x="541" y="397"/>
                      <a:pt x="541" y="397"/>
                    </a:cubicBezTo>
                    <a:cubicBezTo>
                      <a:pt x="540" y="397"/>
                      <a:pt x="540" y="397"/>
                      <a:pt x="540" y="397"/>
                    </a:cubicBezTo>
                    <a:cubicBezTo>
                      <a:pt x="539" y="397"/>
                      <a:pt x="539" y="397"/>
                      <a:pt x="538" y="397"/>
                    </a:cubicBezTo>
                    <a:cubicBezTo>
                      <a:pt x="537" y="396"/>
                      <a:pt x="537" y="396"/>
                      <a:pt x="537" y="396"/>
                    </a:cubicBezTo>
                    <a:cubicBezTo>
                      <a:pt x="536" y="396"/>
                      <a:pt x="535" y="395"/>
                      <a:pt x="534" y="394"/>
                    </a:cubicBezTo>
                    <a:cubicBezTo>
                      <a:pt x="534" y="394"/>
                      <a:pt x="534" y="394"/>
                      <a:pt x="534" y="394"/>
                    </a:cubicBezTo>
                    <a:cubicBezTo>
                      <a:pt x="533" y="393"/>
                      <a:pt x="533" y="393"/>
                      <a:pt x="533" y="393"/>
                    </a:cubicBezTo>
                    <a:cubicBezTo>
                      <a:pt x="531" y="391"/>
                      <a:pt x="529" y="389"/>
                      <a:pt x="528" y="387"/>
                    </a:cubicBezTo>
                    <a:cubicBezTo>
                      <a:pt x="527" y="386"/>
                      <a:pt x="527" y="385"/>
                      <a:pt x="526" y="384"/>
                    </a:cubicBezTo>
                    <a:cubicBezTo>
                      <a:pt x="526" y="384"/>
                      <a:pt x="526" y="383"/>
                      <a:pt x="526" y="383"/>
                    </a:cubicBezTo>
                    <a:cubicBezTo>
                      <a:pt x="526" y="383"/>
                      <a:pt x="526" y="383"/>
                      <a:pt x="526" y="383"/>
                    </a:cubicBezTo>
                    <a:cubicBezTo>
                      <a:pt x="526" y="382"/>
                      <a:pt x="526" y="382"/>
                      <a:pt x="526" y="382"/>
                    </a:cubicBezTo>
                    <a:cubicBezTo>
                      <a:pt x="525" y="380"/>
                      <a:pt x="525" y="377"/>
                      <a:pt x="524" y="375"/>
                    </a:cubicBezTo>
                    <a:cubicBezTo>
                      <a:pt x="523" y="371"/>
                      <a:pt x="523" y="367"/>
                      <a:pt x="521" y="364"/>
                    </a:cubicBezTo>
                    <a:cubicBezTo>
                      <a:pt x="521" y="363"/>
                      <a:pt x="520" y="362"/>
                      <a:pt x="519" y="361"/>
                    </a:cubicBezTo>
                    <a:cubicBezTo>
                      <a:pt x="518" y="360"/>
                      <a:pt x="518" y="360"/>
                      <a:pt x="518" y="360"/>
                    </a:cubicBezTo>
                    <a:cubicBezTo>
                      <a:pt x="518" y="360"/>
                      <a:pt x="518" y="359"/>
                      <a:pt x="517" y="359"/>
                    </a:cubicBezTo>
                    <a:cubicBezTo>
                      <a:pt x="517" y="358"/>
                      <a:pt x="517" y="358"/>
                      <a:pt x="517" y="358"/>
                    </a:cubicBezTo>
                    <a:cubicBezTo>
                      <a:pt x="516" y="358"/>
                      <a:pt x="516" y="357"/>
                      <a:pt x="515" y="356"/>
                    </a:cubicBezTo>
                    <a:cubicBezTo>
                      <a:pt x="511" y="351"/>
                      <a:pt x="508" y="347"/>
                      <a:pt x="508" y="344"/>
                    </a:cubicBezTo>
                    <a:cubicBezTo>
                      <a:pt x="507" y="341"/>
                      <a:pt x="508" y="339"/>
                      <a:pt x="512" y="336"/>
                    </a:cubicBezTo>
                    <a:cubicBezTo>
                      <a:pt x="512" y="335"/>
                      <a:pt x="514" y="333"/>
                      <a:pt x="515" y="333"/>
                    </a:cubicBezTo>
                    <a:cubicBezTo>
                      <a:pt x="516" y="332"/>
                      <a:pt x="517" y="331"/>
                      <a:pt x="518" y="331"/>
                    </a:cubicBezTo>
                    <a:cubicBezTo>
                      <a:pt x="519" y="331"/>
                      <a:pt x="519" y="331"/>
                      <a:pt x="519" y="331"/>
                    </a:cubicBezTo>
                    <a:cubicBezTo>
                      <a:pt x="519" y="330"/>
                      <a:pt x="520" y="330"/>
                      <a:pt x="520" y="330"/>
                    </a:cubicBezTo>
                    <a:cubicBezTo>
                      <a:pt x="520" y="330"/>
                      <a:pt x="520" y="329"/>
                      <a:pt x="520" y="329"/>
                    </a:cubicBezTo>
                    <a:cubicBezTo>
                      <a:pt x="520" y="328"/>
                      <a:pt x="520" y="328"/>
                      <a:pt x="520" y="328"/>
                    </a:cubicBezTo>
                    <a:cubicBezTo>
                      <a:pt x="519" y="325"/>
                      <a:pt x="519" y="322"/>
                      <a:pt x="519" y="319"/>
                    </a:cubicBezTo>
                    <a:cubicBezTo>
                      <a:pt x="518" y="317"/>
                      <a:pt x="518" y="317"/>
                      <a:pt x="518" y="317"/>
                    </a:cubicBezTo>
                    <a:cubicBezTo>
                      <a:pt x="518" y="316"/>
                      <a:pt x="518" y="315"/>
                      <a:pt x="518" y="315"/>
                    </a:cubicBezTo>
                    <a:cubicBezTo>
                      <a:pt x="518" y="314"/>
                      <a:pt x="518" y="314"/>
                      <a:pt x="518" y="313"/>
                    </a:cubicBezTo>
                    <a:cubicBezTo>
                      <a:pt x="517" y="312"/>
                      <a:pt x="517" y="311"/>
                      <a:pt x="517" y="309"/>
                    </a:cubicBezTo>
                    <a:cubicBezTo>
                      <a:pt x="516" y="306"/>
                      <a:pt x="518" y="303"/>
                      <a:pt x="519" y="301"/>
                    </a:cubicBezTo>
                    <a:cubicBezTo>
                      <a:pt x="519" y="300"/>
                      <a:pt x="519" y="299"/>
                      <a:pt x="520" y="299"/>
                    </a:cubicBezTo>
                    <a:cubicBezTo>
                      <a:pt x="520" y="298"/>
                      <a:pt x="520" y="297"/>
                      <a:pt x="521" y="297"/>
                    </a:cubicBezTo>
                    <a:cubicBezTo>
                      <a:pt x="522" y="294"/>
                      <a:pt x="522" y="293"/>
                      <a:pt x="522" y="291"/>
                    </a:cubicBezTo>
                    <a:cubicBezTo>
                      <a:pt x="520" y="286"/>
                      <a:pt x="520" y="286"/>
                      <a:pt x="520" y="286"/>
                    </a:cubicBezTo>
                    <a:cubicBezTo>
                      <a:pt x="520" y="284"/>
                      <a:pt x="519" y="282"/>
                      <a:pt x="519" y="280"/>
                    </a:cubicBezTo>
                    <a:cubicBezTo>
                      <a:pt x="518" y="275"/>
                      <a:pt x="519" y="271"/>
                      <a:pt x="519" y="266"/>
                    </a:cubicBezTo>
                    <a:cubicBezTo>
                      <a:pt x="519" y="265"/>
                      <a:pt x="519" y="265"/>
                      <a:pt x="519" y="265"/>
                    </a:cubicBezTo>
                    <a:cubicBezTo>
                      <a:pt x="520" y="264"/>
                      <a:pt x="520" y="263"/>
                      <a:pt x="520" y="261"/>
                    </a:cubicBezTo>
                    <a:cubicBezTo>
                      <a:pt x="520" y="253"/>
                      <a:pt x="519" y="246"/>
                      <a:pt x="515" y="240"/>
                    </a:cubicBezTo>
                    <a:cubicBezTo>
                      <a:pt x="515" y="240"/>
                      <a:pt x="514" y="239"/>
                      <a:pt x="513" y="237"/>
                    </a:cubicBezTo>
                    <a:cubicBezTo>
                      <a:pt x="509" y="231"/>
                      <a:pt x="506" y="226"/>
                      <a:pt x="505" y="222"/>
                    </a:cubicBezTo>
                    <a:cubicBezTo>
                      <a:pt x="505" y="222"/>
                      <a:pt x="505" y="221"/>
                      <a:pt x="505" y="221"/>
                    </a:cubicBezTo>
                    <a:cubicBezTo>
                      <a:pt x="505" y="221"/>
                      <a:pt x="505" y="220"/>
                      <a:pt x="506" y="219"/>
                    </a:cubicBezTo>
                    <a:cubicBezTo>
                      <a:pt x="507" y="217"/>
                      <a:pt x="507" y="217"/>
                      <a:pt x="507" y="217"/>
                    </a:cubicBezTo>
                    <a:cubicBezTo>
                      <a:pt x="509" y="217"/>
                      <a:pt x="509" y="217"/>
                      <a:pt x="509" y="217"/>
                    </a:cubicBezTo>
                    <a:cubicBezTo>
                      <a:pt x="510" y="218"/>
                      <a:pt x="510" y="218"/>
                      <a:pt x="510" y="218"/>
                    </a:cubicBezTo>
                    <a:cubicBezTo>
                      <a:pt x="509" y="217"/>
                      <a:pt x="509" y="217"/>
                      <a:pt x="509" y="217"/>
                    </a:cubicBezTo>
                    <a:cubicBezTo>
                      <a:pt x="509" y="217"/>
                      <a:pt x="510" y="216"/>
                      <a:pt x="510" y="216"/>
                    </a:cubicBezTo>
                    <a:cubicBezTo>
                      <a:pt x="510" y="216"/>
                      <a:pt x="510" y="216"/>
                      <a:pt x="510" y="216"/>
                    </a:cubicBezTo>
                    <a:cubicBezTo>
                      <a:pt x="510" y="216"/>
                      <a:pt x="510" y="216"/>
                      <a:pt x="510" y="216"/>
                    </a:cubicBezTo>
                    <a:cubicBezTo>
                      <a:pt x="498" y="165"/>
                      <a:pt x="498" y="165"/>
                      <a:pt x="498" y="165"/>
                    </a:cubicBezTo>
                    <a:cubicBezTo>
                      <a:pt x="498" y="164"/>
                      <a:pt x="498" y="164"/>
                      <a:pt x="497" y="163"/>
                    </a:cubicBezTo>
                    <a:cubicBezTo>
                      <a:pt x="496" y="162"/>
                      <a:pt x="495" y="161"/>
                      <a:pt x="493" y="160"/>
                    </a:cubicBezTo>
                    <a:cubicBezTo>
                      <a:pt x="492" y="159"/>
                      <a:pt x="491" y="159"/>
                      <a:pt x="490" y="158"/>
                    </a:cubicBezTo>
                    <a:cubicBezTo>
                      <a:pt x="482" y="151"/>
                      <a:pt x="482" y="151"/>
                      <a:pt x="482" y="151"/>
                    </a:cubicBezTo>
                    <a:cubicBezTo>
                      <a:pt x="481" y="151"/>
                      <a:pt x="481" y="150"/>
                      <a:pt x="480" y="150"/>
                    </a:cubicBezTo>
                    <a:cubicBezTo>
                      <a:pt x="479" y="149"/>
                      <a:pt x="479" y="149"/>
                      <a:pt x="479" y="149"/>
                    </a:cubicBezTo>
                    <a:cubicBezTo>
                      <a:pt x="476" y="147"/>
                      <a:pt x="476" y="143"/>
                      <a:pt x="476" y="141"/>
                    </a:cubicBezTo>
                    <a:cubicBezTo>
                      <a:pt x="476" y="139"/>
                      <a:pt x="476" y="139"/>
                      <a:pt x="476" y="139"/>
                    </a:cubicBezTo>
                    <a:cubicBezTo>
                      <a:pt x="476" y="138"/>
                      <a:pt x="476" y="137"/>
                      <a:pt x="475" y="136"/>
                    </a:cubicBezTo>
                    <a:cubicBezTo>
                      <a:pt x="475" y="136"/>
                      <a:pt x="475" y="136"/>
                      <a:pt x="475" y="136"/>
                    </a:cubicBezTo>
                    <a:cubicBezTo>
                      <a:pt x="475" y="135"/>
                      <a:pt x="475" y="135"/>
                      <a:pt x="475" y="135"/>
                    </a:cubicBezTo>
                    <a:cubicBezTo>
                      <a:pt x="473" y="133"/>
                      <a:pt x="473" y="133"/>
                      <a:pt x="473" y="133"/>
                    </a:cubicBezTo>
                    <a:cubicBezTo>
                      <a:pt x="472" y="132"/>
                      <a:pt x="470" y="130"/>
                      <a:pt x="468" y="128"/>
                    </a:cubicBezTo>
                    <a:cubicBezTo>
                      <a:pt x="465" y="125"/>
                      <a:pt x="461" y="122"/>
                      <a:pt x="459" y="118"/>
                    </a:cubicBezTo>
                    <a:cubicBezTo>
                      <a:pt x="457" y="115"/>
                      <a:pt x="454" y="109"/>
                      <a:pt x="453" y="103"/>
                    </a:cubicBezTo>
                    <a:cubicBezTo>
                      <a:pt x="452" y="97"/>
                      <a:pt x="454" y="94"/>
                      <a:pt x="456" y="92"/>
                    </a:cubicBezTo>
                    <a:cubicBezTo>
                      <a:pt x="457" y="91"/>
                      <a:pt x="457" y="91"/>
                      <a:pt x="457" y="91"/>
                    </a:cubicBezTo>
                    <a:cubicBezTo>
                      <a:pt x="459" y="89"/>
                      <a:pt x="462" y="87"/>
                      <a:pt x="465" y="84"/>
                    </a:cubicBezTo>
                    <a:cubicBezTo>
                      <a:pt x="469" y="81"/>
                      <a:pt x="472" y="78"/>
                      <a:pt x="475" y="74"/>
                    </a:cubicBezTo>
                    <a:cubicBezTo>
                      <a:pt x="477" y="70"/>
                      <a:pt x="478" y="65"/>
                      <a:pt x="479" y="60"/>
                    </a:cubicBezTo>
                    <a:cubicBezTo>
                      <a:pt x="479" y="59"/>
                      <a:pt x="479" y="58"/>
                      <a:pt x="479" y="56"/>
                    </a:cubicBezTo>
                    <a:cubicBezTo>
                      <a:pt x="479" y="56"/>
                      <a:pt x="479" y="56"/>
                      <a:pt x="479" y="56"/>
                    </a:cubicBezTo>
                    <a:cubicBezTo>
                      <a:pt x="479" y="55"/>
                      <a:pt x="478" y="54"/>
                      <a:pt x="478" y="54"/>
                    </a:cubicBezTo>
                    <a:cubicBezTo>
                      <a:pt x="477" y="49"/>
                      <a:pt x="477" y="49"/>
                      <a:pt x="477" y="49"/>
                    </a:cubicBezTo>
                    <a:cubicBezTo>
                      <a:pt x="477" y="49"/>
                      <a:pt x="477" y="48"/>
                      <a:pt x="477" y="47"/>
                    </a:cubicBezTo>
                    <a:cubicBezTo>
                      <a:pt x="477" y="46"/>
                      <a:pt x="477" y="46"/>
                      <a:pt x="477" y="46"/>
                    </a:cubicBezTo>
                    <a:cubicBezTo>
                      <a:pt x="476" y="42"/>
                      <a:pt x="475" y="37"/>
                      <a:pt x="476" y="33"/>
                    </a:cubicBezTo>
                    <a:cubicBezTo>
                      <a:pt x="477" y="27"/>
                      <a:pt x="477" y="27"/>
                      <a:pt x="477" y="27"/>
                    </a:cubicBezTo>
                    <a:cubicBezTo>
                      <a:pt x="477" y="24"/>
                      <a:pt x="477" y="24"/>
                      <a:pt x="475" y="22"/>
                    </a:cubicBezTo>
                    <a:cubicBezTo>
                      <a:pt x="471" y="19"/>
                      <a:pt x="471" y="19"/>
                      <a:pt x="471" y="19"/>
                    </a:cubicBezTo>
                    <a:cubicBezTo>
                      <a:pt x="483" y="4"/>
                      <a:pt x="483" y="4"/>
                      <a:pt x="483" y="4"/>
                    </a:cubicBezTo>
                    <a:cubicBezTo>
                      <a:pt x="479" y="4"/>
                      <a:pt x="475" y="5"/>
                      <a:pt x="470" y="5"/>
                    </a:cubicBezTo>
                    <a:cubicBezTo>
                      <a:pt x="469" y="5"/>
                      <a:pt x="467" y="6"/>
                      <a:pt x="465" y="6"/>
                    </a:cubicBezTo>
                    <a:cubicBezTo>
                      <a:pt x="465" y="6"/>
                      <a:pt x="464" y="6"/>
                      <a:pt x="464" y="6"/>
                    </a:cubicBezTo>
                    <a:cubicBezTo>
                      <a:pt x="463" y="5"/>
                      <a:pt x="464" y="3"/>
                      <a:pt x="462" y="2"/>
                    </a:cubicBezTo>
                    <a:cubicBezTo>
                      <a:pt x="458" y="1"/>
                      <a:pt x="455" y="0"/>
                      <a:pt x="452" y="0"/>
                    </a:cubicBezTo>
                    <a:cubicBezTo>
                      <a:pt x="450" y="0"/>
                      <a:pt x="448" y="1"/>
                      <a:pt x="447" y="2"/>
                    </a:cubicBezTo>
                    <a:cubicBezTo>
                      <a:pt x="445" y="3"/>
                      <a:pt x="442" y="6"/>
                      <a:pt x="440" y="6"/>
                    </a:cubicBezTo>
                    <a:cubicBezTo>
                      <a:pt x="440" y="6"/>
                      <a:pt x="440" y="6"/>
                      <a:pt x="439" y="6"/>
                    </a:cubicBezTo>
                    <a:cubicBezTo>
                      <a:pt x="438" y="5"/>
                      <a:pt x="438" y="4"/>
                      <a:pt x="437" y="4"/>
                    </a:cubicBezTo>
                    <a:cubicBezTo>
                      <a:pt x="435" y="4"/>
                      <a:pt x="433" y="4"/>
                      <a:pt x="432" y="3"/>
                    </a:cubicBezTo>
                    <a:cubicBezTo>
                      <a:pt x="428" y="2"/>
                      <a:pt x="426" y="0"/>
                      <a:pt x="4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8" name="Freeform 236">
                <a:extLst>
                  <a:ext uri="{FF2B5EF4-FFF2-40B4-BE49-F238E27FC236}">
                    <a16:creationId xmlns:a16="http://schemas.microsoft.com/office/drawing/2014/main" id="{E3D15373-5EE9-4864-B42D-8D374FD45DCA}"/>
                  </a:ext>
                </a:extLst>
              </p:cNvPr>
              <p:cNvSpPr>
                <a:spLocks noEditPoints="1"/>
              </p:cNvSpPr>
              <p:nvPr/>
            </p:nvSpPr>
            <p:spPr bwMode="auto">
              <a:xfrm>
                <a:off x="4798021" y="1079740"/>
                <a:ext cx="2365844" cy="1923630"/>
              </a:xfrm>
              <a:custGeom>
                <a:avLst/>
                <a:gdLst>
                  <a:gd name="T0" fmla="*/ 637 w 746"/>
                  <a:gd name="T1" fmla="*/ 27 h 605"/>
                  <a:gd name="T2" fmla="*/ 618 w 746"/>
                  <a:gd name="T3" fmla="*/ 39 h 605"/>
                  <a:gd name="T4" fmla="*/ 586 w 746"/>
                  <a:gd name="T5" fmla="*/ 44 h 605"/>
                  <a:gd name="T6" fmla="*/ 579 w 746"/>
                  <a:gd name="T7" fmla="*/ 10 h 605"/>
                  <a:gd name="T8" fmla="*/ 556 w 746"/>
                  <a:gd name="T9" fmla="*/ 14 h 605"/>
                  <a:gd name="T10" fmla="*/ 530 w 746"/>
                  <a:gd name="T11" fmla="*/ 45 h 605"/>
                  <a:gd name="T12" fmla="*/ 501 w 746"/>
                  <a:gd name="T13" fmla="*/ 44 h 605"/>
                  <a:gd name="T14" fmla="*/ 475 w 746"/>
                  <a:gd name="T15" fmla="*/ 52 h 605"/>
                  <a:gd name="T16" fmla="*/ 445 w 746"/>
                  <a:gd name="T17" fmla="*/ 78 h 605"/>
                  <a:gd name="T18" fmla="*/ 426 w 746"/>
                  <a:gd name="T19" fmla="*/ 70 h 605"/>
                  <a:gd name="T20" fmla="*/ 389 w 746"/>
                  <a:gd name="T21" fmla="*/ 82 h 605"/>
                  <a:gd name="T22" fmla="*/ 359 w 746"/>
                  <a:gd name="T23" fmla="*/ 116 h 605"/>
                  <a:gd name="T24" fmla="*/ 359 w 746"/>
                  <a:gd name="T25" fmla="*/ 131 h 605"/>
                  <a:gd name="T26" fmla="*/ 337 w 746"/>
                  <a:gd name="T27" fmla="*/ 153 h 605"/>
                  <a:gd name="T28" fmla="*/ 306 w 746"/>
                  <a:gd name="T29" fmla="*/ 152 h 605"/>
                  <a:gd name="T30" fmla="*/ 289 w 746"/>
                  <a:gd name="T31" fmla="*/ 162 h 605"/>
                  <a:gd name="T32" fmla="*/ 311 w 746"/>
                  <a:gd name="T33" fmla="*/ 187 h 605"/>
                  <a:gd name="T34" fmla="*/ 270 w 746"/>
                  <a:gd name="T35" fmla="*/ 192 h 605"/>
                  <a:gd name="T36" fmla="*/ 242 w 746"/>
                  <a:gd name="T37" fmla="*/ 218 h 605"/>
                  <a:gd name="T38" fmla="*/ 232 w 746"/>
                  <a:gd name="T39" fmla="*/ 229 h 605"/>
                  <a:gd name="T40" fmla="*/ 229 w 746"/>
                  <a:gd name="T41" fmla="*/ 254 h 605"/>
                  <a:gd name="T42" fmla="*/ 212 w 746"/>
                  <a:gd name="T43" fmla="*/ 272 h 605"/>
                  <a:gd name="T44" fmla="*/ 210 w 746"/>
                  <a:gd name="T45" fmla="*/ 290 h 605"/>
                  <a:gd name="T46" fmla="*/ 189 w 746"/>
                  <a:gd name="T47" fmla="*/ 324 h 605"/>
                  <a:gd name="T48" fmla="*/ 138 w 746"/>
                  <a:gd name="T49" fmla="*/ 358 h 605"/>
                  <a:gd name="T50" fmla="*/ 165 w 746"/>
                  <a:gd name="T51" fmla="*/ 365 h 605"/>
                  <a:gd name="T52" fmla="*/ 113 w 746"/>
                  <a:gd name="T53" fmla="*/ 381 h 605"/>
                  <a:gd name="T54" fmla="*/ 91 w 746"/>
                  <a:gd name="T55" fmla="*/ 395 h 605"/>
                  <a:gd name="T56" fmla="*/ 73 w 746"/>
                  <a:gd name="T57" fmla="*/ 407 h 605"/>
                  <a:gd name="T58" fmla="*/ 60 w 746"/>
                  <a:gd name="T59" fmla="*/ 416 h 605"/>
                  <a:gd name="T60" fmla="*/ 50 w 746"/>
                  <a:gd name="T61" fmla="*/ 425 h 605"/>
                  <a:gd name="T62" fmla="*/ 11 w 746"/>
                  <a:gd name="T63" fmla="*/ 425 h 605"/>
                  <a:gd name="T64" fmla="*/ 0 w 746"/>
                  <a:gd name="T65" fmla="*/ 441 h 605"/>
                  <a:gd name="T66" fmla="*/ 7 w 746"/>
                  <a:gd name="T67" fmla="*/ 459 h 605"/>
                  <a:gd name="T68" fmla="*/ 63 w 746"/>
                  <a:gd name="T69" fmla="*/ 470 h 605"/>
                  <a:gd name="T70" fmla="*/ 62 w 746"/>
                  <a:gd name="T71" fmla="*/ 481 h 605"/>
                  <a:gd name="T72" fmla="*/ 5 w 746"/>
                  <a:gd name="T73" fmla="*/ 479 h 605"/>
                  <a:gd name="T74" fmla="*/ 13 w 746"/>
                  <a:gd name="T75" fmla="*/ 510 h 605"/>
                  <a:gd name="T76" fmla="*/ 48 w 746"/>
                  <a:gd name="T77" fmla="*/ 516 h 605"/>
                  <a:gd name="T78" fmla="*/ 28 w 746"/>
                  <a:gd name="T79" fmla="*/ 536 h 605"/>
                  <a:gd name="T80" fmla="*/ 21 w 746"/>
                  <a:gd name="T81" fmla="*/ 542 h 605"/>
                  <a:gd name="T82" fmla="*/ 30 w 746"/>
                  <a:gd name="T83" fmla="*/ 559 h 605"/>
                  <a:gd name="T84" fmla="*/ 53 w 746"/>
                  <a:gd name="T85" fmla="*/ 594 h 605"/>
                  <a:gd name="T86" fmla="*/ 116 w 746"/>
                  <a:gd name="T87" fmla="*/ 579 h 605"/>
                  <a:gd name="T88" fmla="*/ 156 w 746"/>
                  <a:gd name="T89" fmla="*/ 539 h 605"/>
                  <a:gd name="T90" fmla="*/ 179 w 746"/>
                  <a:gd name="T91" fmla="*/ 556 h 605"/>
                  <a:gd name="T92" fmla="*/ 196 w 746"/>
                  <a:gd name="T93" fmla="*/ 528 h 605"/>
                  <a:gd name="T94" fmla="*/ 211 w 746"/>
                  <a:gd name="T95" fmla="*/ 487 h 605"/>
                  <a:gd name="T96" fmla="*/ 210 w 746"/>
                  <a:gd name="T97" fmla="*/ 453 h 605"/>
                  <a:gd name="T98" fmla="*/ 201 w 746"/>
                  <a:gd name="T99" fmla="*/ 381 h 605"/>
                  <a:gd name="T100" fmla="*/ 259 w 746"/>
                  <a:gd name="T101" fmla="*/ 336 h 605"/>
                  <a:gd name="T102" fmla="*/ 271 w 746"/>
                  <a:gd name="T103" fmla="*/ 282 h 605"/>
                  <a:gd name="T104" fmla="*/ 302 w 746"/>
                  <a:gd name="T105" fmla="*/ 224 h 605"/>
                  <a:gd name="T106" fmla="*/ 355 w 746"/>
                  <a:gd name="T107" fmla="*/ 149 h 605"/>
                  <a:gd name="T108" fmla="*/ 428 w 746"/>
                  <a:gd name="T109" fmla="*/ 136 h 605"/>
                  <a:gd name="T110" fmla="*/ 463 w 746"/>
                  <a:gd name="T111" fmla="*/ 91 h 605"/>
                  <a:gd name="T112" fmla="*/ 572 w 746"/>
                  <a:gd name="T113" fmla="*/ 122 h 605"/>
                  <a:gd name="T114" fmla="*/ 609 w 746"/>
                  <a:gd name="T115" fmla="*/ 64 h 605"/>
                  <a:gd name="T116" fmla="*/ 677 w 746"/>
                  <a:gd name="T117" fmla="*/ 65 h 605"/>
                  <a:gd name="T118" fmla="*/ 726 w 746"/>
                  <a:gd name="T119" fmla="*/ 73 h 605"/>
                  <a:gd name="T120" fmla="*/ 705 w 746"/>
                  <a:gd name="T121" fmla="*/ 70 h 605"/>
                  <a:gd name="T122" fmla="*/ 716 w 746"/>
                  <a:gd name="T123" fmla="*/ 21 h 605"/>
                  <a:gd name="T124" fmla="*/ 666 w 746"/>
                  <a:gd name="T125" fmla="*/ 2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6" h="605">
                    <a:moveTo>
                      <a:pt x="283" y="172"/>
                    </a:moveTo>
                    <a:cubicBezTo>
                      <a:pt x="282" y="172"/>
                      <a:pt x="282" y="173"/>
                      <a:pt x="282" y="173"/>
                    </a:cubicBezTo>
                    <a:cubicBezTo>
                      <a:pt x="282" y="173"/>
                      <a:pt x="283" y="172"/>
                      <a:pt x="283" y="172"/>
                    </a:cubicBezTo>
                    <a:moveTo>
                      <a:pt x="649" y="0"/>
                    </a:moveTo>
                    <a:cubicBezTo>
                      <a:pt x="648" y="1"/>
                      <a:pt x="647" y="6"/>
                      <a:pt x="646" y="8"/>
                    </a:cubicBezTo>
                    <a:cubicBezTo>
                      <a:pt x="644" y="10"/>
                      <a:pt x="639" y="10"/>
                      <a:pt x="636" y="12"/>
                    </a:cubicBezTo>
                    <a:cubicBezTo>
                      <a:pt x="637" y="12"/>
                      <a:pt x="638" y="12"/>
                      <a:pt x="639" y="12"/>
                    </a:cubicBezTo>
                    <a:cubicBezTo>
                      <a:pt x="640" y="12"/>
                      <a:pt x="640" y="12"/>
                      <a:pt x="641" y="12"/>
                    </a:cubicBezTo>
                    <a:cubicBezTo>
                      <a:pt x="641" y="12"/>
                      <a:pt x="641" y="12"/>
                      <a:pt x="641" y="12"/>
                    </a:cubicBezTo>
                    <a:cubicBezTo>
                      <a:pt x="641" y="12"/>
                      <a:pt x="641" y="12"/>
                      <a:pt x="641" y="12"/>
                    </a:cubicBezTo>
                    <a:cubicBezTo>
                      <a:pt x="643" y="12"/>
                      <a:pt x="643" y="13"/>
                      <a:pt x="645" y="13"/>
                    </a:cubicBezTo>
                    <a:cubicBezTo>
                      <a:pt x="642" y="16"/>
                      <a:pt x="646" y="16"/>
                      <a:pt x="648" y="16"/>
                    </a:cubicBezTo>
                    <a:cubicBezTo>
                      <a:pt x="643" y="19"/>
                      <a:pt x="638" y="19"/>
                      <a:pt x="632" y="22"/>
                    </a:cubicBezTo>
                    <a:cubicBezTo>
                      <a:pt x="636" y="22"/>
                      <a:pt x="632" y="24"/>
                      <a:pt x="633" y="25"/>
                    </a:cubicBezTo>
                    <a:cubicBezTo>
                      <a:pt x="634" y="26"/>
                      <a:pt x="637" y="27"/>
                      <a:pt x="637" y="27"/>
                    </a:cubicBezTo>
                    <a:cubicBezTo>
                      <a:pt x="636" y="27"/>
                      <a:pt x="633" y="26"/>
                      <a:pt x="632" y="26"/>
                    </a:cubicBezTo>
                    <a:cubicBezTo>
                      <a:pt x="630" y="26"/>
                      <a:pt x="629" y="27"/>
                      <a:pt x="629" y="29"/>
                    </a:cubicBezTo>
                    <a:cubicBezTo>
                      <a:pt x="629" y="31"/>
                      <a:pt x="631" y="32"/>
                      <a:pt x="633" y="33"/>
                    </a:cubicBezTo>
                    <a:cubicBezTo>
                      <a:pt x="631" y="33"/>
                      <a:pt x="631" y="34"/>
                      <a:pt x="630" y="34"/>
                    </a:cubicBezTo>
                    <a:cubicBezTo>
                      <a:pt x="629" y="34"/>
                      <a:pt x="629" y="33"/>
                      <a:pt x="628" y="33"/>
                    </a:cubicBezTo>
                    <a:cubicBezTo>
                      <a:pt x="627" y="33"/>
                      <a:pt x="627" y="32"/>
                      <a:pt x="625" y="32"/>
                    </a:cubicBezTo>
                    <a:cubicBezTo>
                      <a:pt x="625" y="32"/>
                      <a:pt x="625" y="32"/>
                      <a:pt x="625" y="32"/>
                    </a:cubicBezTo>
                    <a:cubicBezTo>
                      <a:pt x="623" y="33"/>
                      <a:pt x="623" y="34"/>
                      <a:pt x="621" y="36"/>
                    </a:cubicBezTo>
                    <a:cubicBezTo>
                      <a:pt x="621" y="36"/>
                      <a:pt x="621" y="36"/>
                      <a:pt x="621" y="36"/>
                    </a:cubicBezTo>
                    <a:cubicBezTo>
                      <a:pt x="621" y="36"/>
                      <a:pt x="620" y="36"/>
                      <a:pt x="620" y="36"/>
                    </a:cubicBezTo>
                    <a:cubicBezTo>
                      <a:pt x="619" y="37"/>
                      <a:pt x="619" y="37"/>
                      <a:pt x="619" y="37"/>
                    </a:cubicBezTo>
                    <a:cubicBezTo>
                      <a:pt x="619" y="37"/>
                      <a:pt x="619" y="37"/>
                      <a:pt x="619" y="37"/>
                    </a:cubicBezTo>
                    <a:cubicBezTo>
                      <a:pt x="619" y="37"/>
                      <a:pt x="619" y="37"/>
                      <a:pt x="619" y="37"/>
                    </a:cubicBezTo>
                    <a:cubicBezTo>
                      <a:pt x="619" y="37"/>
                      <a:pt x="619" y="37"/>
                      <a:pt x="619" y="38"/>
                    </a:cubicBezTo>
                    <a:cubicBezTo>
                      <a:pt x="618" y="38"/>
                      <a:pt x="618" y="39"/>
                      <a:pt x="618" y="39"/>
                    </a:cubicBezTo>
                    <a:cubicBezTo>
                      <a:pt x="617" y="39"/>
                      <a:pt x="617" y="38"/>
                      <a:pt x="616" y="37"/>
                    </a:cubicBezTo>
                    <a:cubicBezTo>
                      <a:pt x="616" y="34"/>
                      <a:pt x="616" y="24"/>
                      <a:pt x="613" y="24"/>
                    </a:cubicBezTo>
                    <a:cubicBezTo>
                      <a:pt x="612" y="24"/>
                      <a:pt x="612" y="24"/>
                      <a:pt x="612" y="24"/>
                    </a:cubicBezTo>
                    <a:cubicBezTo>
                      <a:pt x="614" y="22"/>
                      <a:pt x="618" y="22"/>
                      <a:pt x="620" y="20"/>
                    </a:cubicBezTo>
                    <a:cubicBezTo>
                      <a:pt x="622" y="17"/>
                      <a:pt x="621" y="11"/>
                      <a:pt x="621" y="8"/>
                    </a:cubicBezTo>
                    <a:cubicBezTo>
                      <a:pt x="615" y="13"/>
                      <a:pt x="608" y="18"/>
                      <a:pt x="602" y="23"/>
                    </a:cubicBezTo>
                    <a:cubicBezTo>
                      <a:pt x="600" y="24"/>
                      <a:pt x="599" y="27"/>
                      <a:pt x="597" y="28"/>
                    </a:cubicBezTo>
                    <a:cubicBezTo>
                      <a:pt x="596" y="29"/>
                      <a:pt x="595" y="30"/>
                      <a:pt x="594" y="31"/>
                    </a:cubicBezTo>
                    <a:cubicBezTo>
                      <a:pt x="592" y="32"/>
                      <a:pt x="590" y="34"/>
                      <a:pt x="588" y="36"/>
                    </a:cubicBezTo>
                    <a:cubicBezTo>
                      <a:pt x="588" y="37"/>
                      <a:pt x="585" y="38"/>
                      <a:pt x="585" y="39"/>
                    </a:cubicBezTo>
                    <a:cubicBezTo>
                      <a:pt x="585" y="40"/>
                      <a:pt x="585" y="41"/>
                      <a:pt x="585" y="41"/>
                    </a:cubicBezTo>
                    <a:cubicBezTo>
                      <a:pt x="585" y="41"/>
                      <a:pt x="585" y="40"/>
                      <a:pt x="585" y="40"/>
                    </a:cubicBezTo>
                    <a:cubicBezTo>
                      <a:pt x="585" y="40"/>
                      <a:pt x="585" y="40"/>
                      <a:pt x="585" y="40"/>
                    </a:cubicBezTo>
                    <a:cubicBezTo>
                      <a:pt x="586" y="40"/>
                      <a:pt x="586" y="41"/>
                      <a:pt x="586" y="41"/>
                    </a:cubicBezTo>
                    <a:cubicBezTo>
                      <a:pt x="586" y="43"/>
                      <a:pt x="587" y="41"/>
                      <a:pt x="586" y="44"/>
                    </a:cubicBezTo>
                    <a:cubicBezTo>
                      <a:pt x="585" y="46"/>
                      <a:pt x="582" y="47"/>
                      <a:pt x="580" y="49"/>
                    </a:cubicBezTo>
                    <a:cubicBezTo>
                      <a:pt x="579" y="51"/>
                      <a:pt x="579" y="53"/>
                      <a:pt x="578" y="53"/>
                    </a:cubicBezTo>
                    <a:cubicBezTo>
                      <a:pt x="577" y="53"/>
                      <a:pt x="577" y="53"/>
                      <a:pt x="577" y="53"/>
                    </a:cubicBezTo>
                    <a:cubicBezTo>
                      <a:pt x="576" y="52"/>
                      <a:pt x="575" y="49"/>
                      <a:pt x="574" y="49"/>
                    </a:cubicBezTo>
                    <a:cubicBezTo>
                      <a:pt x="574" y="49"/>
                      <a:pt x="574" y="49"/>
                      <a:pt x="573" y="50"/>
                    </a:cubicBezTo>
                    <a:cubicBezTo>
                      <a:pt x="572" y="51"/>
                      <a:pt x="574" y="53"/>
                      <a:pt x="574" y="54"/>
                    </a:cubicBezTo>
                    <a:cubicBezTo>
                      <a:pt x="565" y="50"/>
                      <a:pt x="576" y="38"/>
                      <a:pt x="576" y="33"/>
                    </a:cubicBezTo>
                    <a:cubicBezTo>
                      <a:pt x="572" y="32"/>
                      <a:pt x="577" y="29"/>
                      <a:pt x="579" y="28"/>
                    </a:cubicBezTo>
                    <a:cubicBezTo>
                      <a:pt x="582" y="26"/>
                      <a:pt x="584" y="24"/>
                      <a:pt x="587" y="23"/>
                    </a:cubicBezTo>
                    <a:cubicBezTo>
                      <a:pt x="588" y="22"/>
                      <a:pt x="591" y="21"/>
                      <a:pt x="592" y="20"/>
                    </a:cubicBezTo>
                    <a:cubicBezTo>
                      <a:pt x="595" y="18"/>
                      <a:pt x="595" y="15"/>
                      <a:pt x="599" y="13"/>
                    </a:cubicBezTo>
                    <a:cubicBezTo>
                      <a:pt x="595" y="11"/>
                      <a:pt x="589" y="10"/>
                      <a:pt x="583" y="10"/>
                    </a:cubicBezTo>
                    <a:cubicBezTo>
                      <a:pt x="583" y="10"/>
                      <a:pt x="582" y="10"/>
                      <a:pt x="581" y="10"/>
                    </a:cubicBezTo>
                    <a:cubicBezTo>
                      <a:pt x="580" y="10"/>
                      <a:pt x="579" y="10"/>
                      <a:pt x="579" y="10"/>
                    </a:cubicBezTo>
                    <a:cubicBezTo>
                      <a:pt x="579" y="10"/>
                      <a:pt x="579" y="10"/>
                      <a:pt x="579" y="10"/>
                    </a:cubicBezTo>
                    <a:cubicBezTo>
                      <a:pt x="577" y="10"/>
                      <a:pt x="576" y="10"/>
                      <a:pt x="575" y="10"/>
                    </a:cubicBezTo>
                    <a:cubicBezTo>
                      <a:pt x="573" y="11"/>
                      <a:pt x="572" y="12"/>
                      <a:pt x="570" y="12"/>
                    </a:cubicBezTo>
                    <a:cubicBezTo>
                      <a:pt x="570" y="12"/>
                      <a:pt x="570" y="12"/>
                      <a:pt x="570" y="12"/>
                    </a:cubicBezTo>
                    <a:cubicBezTo>
                      <a:pt x="571" y="12"/>
                      <a:pt x="574" y="10"/>
                      <a:pt x="574" y="9"/>
                    </a:cubicBezTo>
                    <a:cubicBezTo>
                      <a:pt x="574" y="8"/>
                      <a:pt x="573" y="7"/>
                      <a:pt x="573" y="7"/>
                    </a:cubicBezTo>
                    <a:cubicBezTo>
                      <a:pt x="572" y="7"/>
                      <a:pt x="570" y="9"/>
                      <a:pt x="569" y="9"/>
                    </a:cubicBezTo>
                    <a:cubicBezTo>
                      <a:pt x="569" y="9"/>
                      <a:pt x="569" y="9"/>
                      <a:pt x="568" y="9"/>
                    </a:cubicBezTo>
                    <a:cubicBezTo>
                      <a:pt x="568" y="9"/>
                      <a:pt x="567" y="9"/>
                      <a:pt x="567" y="8"/>
                    </a:cubicBezTo>
                    <a:cubicBezTo>
                      <a:pt x="567" y="8"/>
                      <a:pt x="566" y="7"/>
                      <a:pt x="565" y="7"/>
                    </a:cubicBezTo>
                    <a:cubicBezTo>
                      <a:pt x="565" y="7"/>
                      <a:pt x="564" y="7"/>
                      <a:pt x="564" y="7"/>
                    </a:cubicBezTo>
                    <a:cubicBezTo>
                      <a:pt x="565" y="6"/>
                      <a:pt x="563" y="5"/>
                      <a:pt x="562" y="5"/>
                    </a:cubicBezTo>
                    <a:cubicBezTo>
                      <a:pt x="562" y="5"/>
                      <a:pt x="561" y="5"/>
                      <a:pt x="561" y="5"/>
                    </a:cubicBezTo>
                    <a:cubicBezTo>
                      <a:pt x="559" y="6"/>
                      <a:pt x="559" y="12"/>
                      <a:pt x="559" y="14"/>
                    </a:cubicBezTo>
                    <a:cubicBezTo>
                      <a:pt x="558" y="15"/>
                      <a:pt x="558" y="15"/>
                      <a:pt x="558" y="15"/>
                    </a:cubicBezTo>
                    <a:cubicBezTo>
                      <a:pt x="557" y="15"/>
                      <a:pt x="557" y="14"/>
                      <a:pt x="556" y="14"/>
                    </a:cubicBezTo>
                    <a:cubicBezTo>
                      <a:pt x="555" y="14"/>
                      <a:pt x="554" y="13"/>
                      <a:pt x="553" y="13"/>
                    </a:cubicBezTo>
                    <a:cubicBezTo>
                      <a:pt x="553" y="13"/>
                      <a:pt x="552" y="13"/>
                      <a:pt x="552" y="15"/>
                    </a:cubicBezTo>
                    <a:cubicBezTo>
                      <a:pt x="550" y="19"/>
                      <a:pt x="561" y="23"/>
                      <a:pt x="564" y="24"/>
                    </a:cubicBezTo>
                    <a:cubicBezTo>
                      <a:pt x="561" y="23"/>
                      <a:pt x="559" y="23"/>
                      <a:pt x="557" y="23"/>
                    </a:cubicBezTo>
                    <a:cubicBezTo>
                      <a:pt x="555" y="23"/>
                      <a:pt x="553" y="24"/>
                      <a:pt x="552" y="28"/>
                    </a:cubicBezTo>
                    <a:cubicBezTo>
                      <a:pt x="550" y="32"/>
                      <a:pt x="553" y="31"/>
                      <a:pt x="554" y="34"/>
                    </a:cubicBezTo>
                    <a:cubicBezTo>
                      <a:pt x="554" y="34"/>
                      <a:pt x="554" y="34"/>
                      <a:pt x="554" y="34"/>
                    </a:cubicBezTo>
                    <a:cubicBezTo>
                      <a:pt x="551" y="34"/>
                      <a:pt x="548" y="33"/>
                      <a:pt x="545" y="32"/>
                    </a:cubicBezTo>
                    <a:cubicBezTo>
                      <a:pt x="545" y="32"/>
                      <a:pt x="544" y="32"/>
                      <a:pt x="544" y="32"/>
                    </a:cubicBezTo>
                    <a:cubicBezTo>
                      <a:pt x="542" y="32"/>
                      <a:pt x="539" y="34"/>
                      <a:pt x="537" y="35"/>
                    </a:cubicBezTo>
                    <a:cubicBezTo>
                      <a:pt x="532" y="37"/>
                      <a:pt x="526" y="40"/>
                      <a:pt x="524" y="45"/>
                    </a:cubicBezTo>
                    <a:cubicBezTo>
                      <a:pt x="524" y="45"/>
                      <a:pt x="525" y="45"/>
                      <a:pt x="525" y="45"/>
                    </a:cubicBezTo>
                    <a:cubicBezTo>
                      <a:pt x="526" y="45"/>
                      <a:pt x="526" y="45"/>
                      <a:pt x="527" y="45"/>
                    </a:cubicBezTo>
                    <a:cubicBezTo>
                      <a:pt x="527" y="45"/>
                      <a:pt x="528" y="45"/>
                      <a:pt x="528" y="45"/>
                    </a:cubicBezTo>
                    <a:cubicBezTo>
                      <a:pt x="529" y="45"/>
                      <a:pt x="530" y="45"/>
                      <a:pt x="530" y="45"/>
                    </a:cubicBezTo>
                    <a:cubicBezTo>
                      <a:pt x="528" y="45"/>
                      <a:pt x="525" y="46"/>
                      <a:pt x="522" y="47"/>
                    </a:cubicBezTo>
                    <a:cubicBezTo>
                      <a:pt x="524" y="48"/>
                      <a:pt x="525" y="50"/>
                      <a:pt x="524" y="52"/>
                    </a:cubicBezTo>
                    <a:cubicBezTo>
                      <a:pt x="524" y="53"/>
                      <a:pt x="520" y="52"/>
                      <a:pt x="522" y="55"/>
                    </a:cubicBezTo>
                    <a:cubicBezTo>
                      <a:pt x="524" y="56"/>
                      <a:pt x="528" y="56"/>
                      <a:pt x="531" y="57"/>
                    </a:cubicBezTo>
                    <a:cubicBezTo>
                      <a:pt x="529" y="59"/>
                      <a:pt x="528" y="58"/>
                      <a:pt x="526" y="58"/>
                    </a:cubicBezTo>
                    <a:cubicBezTo>
                      <a:pt x="524" y="59"/>
                      <a:pt x="521" y="61"/>
                      <a:pt x="519" y="61"/>
                    </a:cubicBezTo>
                    <a:cubicBezTo>
                      <a:pt x="519" y="61"/>
                      <a:pt x="518" y="61"/>
                      <a:pt x="518" y="60"/>
                    </a:cubicBezTo>
                    <a:cubicBezTo>
                      <a:pt x="523" y="59"/>
                      <a:pt x="517" y="56"/>
                      <a:pt x="516" y="55"/>
                    </a:cubicBezTo>
                    <a:cubicBezTo>
                      <a:pt x="514" y="54"/>
                      <a:pt x="517" y="53"/>
                      <a:pt x="515" y="53"/>
                    </a:cubicBezTo>
                    <a:cubicBezTo>
                      <a:pt x="514" y="52"/>
                      <a:pt x="514" y="52"/>
                      <a:pt x="513" y="52"/>
                    </a:cubicBezTo>
                    <a:cubicBezTo>
                      <a:pt x="512" y="52"/>
                      <a:pt x="511" y="53"/>
                      <a:pt x="510" y="53"/>
                    </a:cubicBezTo>
                    <a:cubicBezTo>
                      <a:pt x="505" y="54"/>
                      <a:pt x="500" y="55"/>
                      <a:pt x="496" y="56"/>
                    </a:cubicBezTo>
                    <a:cubicBezTo>
                      <a:pt x="499" y="52"/>
                      <a:pt x="506" y="54"/>
                      <a:pt x="510" y="52"/>
                    </a:cubicBezTo>
                    <a:cubicBezTo>
                      <a:pt x="511" y="52"/>
                      <a:pt x="515" y="49"/>
                      <a:pt x="515" y="48"/>
                    </a:cubicBezTo>
                    <a:cubicBezTo>
                      <a:pt x="515" y="46"/>
                      <a:pt x="504" y="44"/>
                      <a:pt x="501" y="44"/>
                    </a:cubicBezTo>
                    <a:cubicBezTo>
                      <a:pt x="501" y="44"/>
                      <a:pt x="501" y="44"/>
                      <a:pt x="501" y="44"/>
                    </a:cubicBezTo>
                    <a:cubicBezTo>
                      <a:pt x="499" y="45"/>
                      <a:pt x="496" y="47"/>
                      <a:pt x="496" y="49"/>
                    </a:cubicBezTo>
                    <a:cubicBezTo>
                      <a:pt x="496" y="49"/>
                      <a:pt x="501" y="51"/>
                      <a:pt x="502" y="51"/>
                    </a:cubicBezTo>
                    <a:cubicBezTo>
                      <a:pt x="501" y="51"/>
                      <a:pt x="499" y="51"/>
                      <a:pt x="498" y="51"/>
                    </a:cubicBezTo>
                    <a:cubicBezTo>
                      <a:pt x="498" y="51"/>
                      <a:pt x="497" y="51"/>
                      <a:pt x="497" y="51"/>
                    </a:cubicBezTo>
                    <a:cubicBezTo>
                      <a:pt x="497" y="51"/>
                      <a:pt x="496" y="51"/>
                      <a:pt x="496" y="51"/>
                    </a:cubicBezTo>
                    <a:cubicBezTo>
                      <a:pt x="495" y="51"/>
                      <a:pt x="494" y="51"/>
                      <a:pt x="493" y="50"/>
                    </a:cubicBezTo>
                    <a:cubicBezTo>
                      <a:pt x="494" y="50"/>
                      <a:pt x="494" y="50"/>
                      <a:pt x="494" y="50"/>
                    </a:cubicBezTo>
                    <a:cubicBezTo>
                      <a:pt x="484" y="48"/>
                      <a:pt x="474" y="47"/>
                      <a:pt x="464" y="46"/>
                    </a:cubicBezTo>
                    <a:cubicBezTo>
                      <a:pt x="467" y="49"/>
                      <a:pt x="470" y="48"/>
                      <a:pt x="473" y="50"/>
                    </a:cubicBezTo>
                    <a:cubicBezTo>
                      <a:pt x="473" y="50"/>
                      <a:pt x="473" y="52"/>
                      <a:pt x="474" y="52"/>
                    </a:cubicBezTo>
                    <a:cubicBezTo>
                      <a:pt x="474" y="52"/>
                      <a:pt x="474" y="52"/>
                      <a:pt x="474" y="52"/>
                    </a:cubicBezTo>
                    <a:cubicBezTo>
                      <a:pt x="475" y="52"/>
                      <a:pt x="475" y="52"/>
                      <a:pt x="475" y="52"/>
                    </a:cubicBezTo>
                    <a:cubicBezTo>
                      <a:pt x="475" y="52"/>
                      <a:pt x="475" y="52"/>
                      <a:pt x="475" y="52"/>
                    </a:cubicBezTo>
                    <a:cubicBezTo>
                      <a:pt x="475" y="52"/>
                      <a:pt x="475" y="52"/>
                      <a:pt x="475" y="52"/>
                    </a:cubicBezTo>
                    <a:cubicBezTo>
                      <a:pt x="476" y="53"/>
                      <a:pt x="477" y="53"/>
                      <a:pt x="478" y="54"/>
                    </a:cubicBezTo>
                    <a:cubicBezTo>
                      <a:pt x="479" y="54"/>
                      <a:pt x="479" y="54"/>
                      <a:pt x="480" y="54"/>
                    </a:cubicBezTo>
                    <a:cubicBezTo>
                      <a:pt x="483" y="54"/>
                      <a:pt x="487" y="53"/>
                      <a:pt x="489" y="51"/>
                    </a:cubicBezTo>
                    <a:cubicBezTo>
                      <a:pt x="490" y="53"/>
                      <a:pt x="489" y="56"/>
                      <a:pt x="489" y="58"/>
                    </a:cubicBezTo>
                    <a:cubicBezTo>
                      <a:pt x="489" y="59"/>
                      <a:pt x="489" y="60"/>
                      <a:pt x="488" y="61"/>
                    </a:cubicBezTo>
                    <a:cubicBezTo>
                      <a:pt x="483" y="64"/>
                      <a:pt x="487" y="62"/>
                      <a:pt x="487" y="64"/>
                    </a:cubicBezTo>
                    <a:cubicBezTo>
                      <a:pt x="487" y="65"/>
                      <a:pt x="489" y="65"/>
                      <a:pt x="486" y="66"/>
                    </a:cubicBezTo>
                    <a:cubicBezTo>
                      <a:pt x="488" y="67"/>
                      <a:pt x="489" y="69"/>
                      <a:pt x="491" y="70"/>
                    </a:cubicBezTo>
                    <a:cubicBezTo>
                      <a:pt x="482" y="66"/>
                      <a:pt x="474" y="62"/>
                      <a:pt x="465" y="59"/>
                    </a:cubicBezTo>
                    <a:cubicBezTo>
                      <a:pt x="466" y="61"/>
                      <a:pt x="467" y="65"/>
                      <a:pt x="464" y="66"/>
                    </a:cubicBezTo>
                    <a:cubicBezTo>
                      <a:pt x="464" y="67"/>
                      <a:pt x="463" y="67"/>
                      <a:pt x="462" y="67"/>
                    </a:cubicBezTo>
                    <a:cubicBezTo>
                      <a:pt x="460" y="67"/>
                      <a:pt x="459" y="64"/>
                      <a:pt x="458" y="62"/>
                    </a:cubicBezTo>
                    <a:cubicBezTo>
                      <a:pt x="455" y="63"/>
                      <a:pt x="443" y="67"/>
                      <a:pt x="444" y="71"/>
                    </a:cubicBezTo>
                    <a:cubicBezTo>
                      <a:pt x="446" y="74"/>
                      <a:pt x="446" y="79"/>
                      <a:pt x="450" y="81"/>
                    </a:cubicBezTo>
                    <a:cubicBezTo>
                      <a:pt x="449" y="80"/>
                      <a:pt x="446" y="78"/>
                      <a:pt x="445" y="78"/>
                    </a:cubicBezTo>
                    <a:cubicBezTo>
                      <a:pt x="444" y="78"/>
                      <a:pt x="444" y="79"/>
                      <a:pt x="444" y="79"/>
                    </a:cubicBezTo>
                    <a:cubicBezTo>
                      <a:pt x="442" y="81"/>
                      <a:pt x="441" y="85"/>
                      <a:pt x="439" y="87"/>
                    </a:cubicBezTo>
                    <a:cubicBezTo>
                      <a:pt x="437" y="90"/>
                      <a:pt x="432" y="91"/>
                      <a:pt x="430" y="94"/>
                    </a:cubicBezTo>
                    <a:cubicBezTo>
                      <a:pt x="431" y="91"/>
                      <a:pt x="434" y="89"/>
                      <a:pt x="436" y="86"/>
                    </a:cubicBezTo>
                    <a:cubicBezTo>
                      <a:pt x="438" y="84"/>
                      <a:pt x="437" y="84"/>
                      <a:pt x="438" y="81"/>
                    </a:cubicBezTo>
                    <a:cubicBezTo>
                      <a:pt x="439" y="80"/>
                      <a:pt x="440" y="79"/>
                      <a:pt x="440" y="78"/>
                    </a:cubicBezTo>
                    <a:cubicBezTo>
                      <a:pt x="441" y="76"/>
                      <a:pt x="440" y="75"/>
                      <a:pt x="440" y="72"/>
                    </a:cubicBezTo>
                    <a:cubicBezTo>
                      <a:pt x="439" y="69"/>
                      <a:pt x="442" y="67"/>
                      <a:pt x="442" y="64"/>
                    </a:cubicBezTo>
                    <a:cubicBezTo>
                      <a:pt x="442" y="63"/>
                      <a:pt x="441" y="59"/>
                      <a:pt x="439" y="59"/>
                    </a:cubicBezTo>
                    <a:cubicBezTo>
                      <a:pt x="439" y="59"/>
                      <a:pt x="439" y="59"/>
                      <a:pt x="439" y="59"/>
                    </a:cubicBezTo>
                    <a:cubicBezTo>
                      <a:pt x="438" y="59"/>
                      <a:pt x="436" y="61"/>
                      <a:pt x="435" y="62"/>
                    </a:cubicBezTo>
                    <a:cubicBezTo>
                      <a:pt x="435" y="61"/>
                      <a:pt x="435" y="60"/>
                      <a:pt x="435" y="60"/>
                    </a:cubicBezTo>
                    <a:cubicBezTo>
                      <a:pt x="433" y="63"/>
                      <a:pt x="432" y="66"/>
                      <a:pt x="430" y="68"/>
                    </a:cubicBezTo>
                    <a:cubicBezTo>
                      <a:pt x="430" y="67"/>
                      <a:pt x="431" y="66"/>
                      <a:pt x="431" y="65"/>
                    </a:cubicBezTo>
                    <a:cubicBezTo>
                      <a:pt x="429" y="66"/>
                      <a:pt x="427" y="68"/>
                      <a:pt x="426" y="70"/>
                    </a:cubicBezTo>
                    <a:cubicBezTo>
                      <a:pt x="423" y="75"/>
                      <a:pt x="428" y="77"/>
                      <a:pt x="432" y="79"/>
                    </a:cubicBezTo>
                    <a:cubicBezTo>
                      <a:pt x="430" y="80"/>
                      <a:pt x="423" y="86"/>
                      <a:pt x="420" y="86"/>
                    </a:cubicBezTo>
                    <a:cubicBezTo>
                      <a:pt x="420" y="86"/>
                      <a:pt x="419" y="86"/>
                      <a:pt x="419" y="86"/>
                    </a:cubicBezTo>
                    <a:cubicBezTo>
                      <a:pt x="422" y="83"/>
                      <a:pt x="420" y="84"/>
                      <a:pt x="421" y="81"/>
                    </a:cubicBezTo>
                    <a:cubicBezTo>
                      <a:pt x="421" y="79"/>
                      <a:pt x="423" y="79"/>
                      <a:pt x="423" y="77"/>
                    </a:cubicBezTo>
                    <a:cubicBezTo>
                      <a:pt x="423" y="75"/>
                      <a:pt x="422" y="75"/>
                      <a:pt x="422" y="73"/>
                    </a:cubicBezTo>
                    <a:cubicBezTo>
                      <a:pt x="421" y="72"/>
                      <a:pt x="423" y="69"/>
                      <a:pt x="423" y="68"/>
                    </a:cubicBezTo>
                    <a:cubicBezTo>
                      <a:pt x="423" y="67"/>
                      <a:pt x="422" y="67"/>
                      <a:pt x="421" y="67"/>
                    </a:cubicBezTo>
                    <a:cubicBezTo>
                      <a:pt x="418" y="67"/>
                      <a:pt x="415" y="68"/>
                      <a:pt x="413" y="68"/>
                    </a:cubicBezTo>
                    <a:cubicBezTo>
                      <a:pt x="411" y="69"/>
                      <a:pt x="409" y="69"/>
                      <a:pt x="407" y="70"/>
                    </a:cubicBezTo>
                    <a:cubicBezTo>
                      <a:pt x="405" y="71"/>
                      <a:pt x="399" y="76"/>
                      <a:pt x="402" y="78"/>
                    </a:cubicBezTo>
                    <a:cubicBezTo>
                      <a:pt x="405" y="79"/>
                      <a:pt x="408" y="79"/>
                      <a:pt x="409" y="81"/>
                    </a:cubicBezTo>
                    <a:cubicBezTo>
                      <a:pt x="407" y="82"/>
                      <a:pt x="405" y="82"/>
                      <a:pt x="402" y="83"/>
                    </a:cubicBezTo>
                    <a:cubicBezTo>
                      <a:pt x="403" y="84"/>
                      <a:pt x="404" y="86"/>
                      <a:pt x="404" y="87"/>
                    </a:cubicBezTo>
                    <a:cubicBezTo>
                      <a:pt x="399" y="84"/>
                      <a:pt x="395" y="83"/>
                      <a:pt x="389" y="82"/>
                    </a:cubicBezTo>
                    <a:cubicBezTo>
                      <a:pt x="391" y="85"/>
                      <a:pt x="393" y="88"/>
                      <a:pt x="397" y="90"/>
                    </a:cubicBezTo>
                    <a:cubicBezTo>
                      <a:pt x="398" y="91"/>
                      <a:pt x="400" y="91"/>
                      <a:pt x="401" y="92"/>
                    </a:cubicBezTo>
                    <a:cubicBezTo>
                      <a:pt x="400" y="94"/>
                      <a:pt x="398" y="94"/>
                      <a:pt x="396" y="94"/>
                    </a:cubicBezTo>
                    <a:cubicBezTo>
                      <a:pt x="394" y="94"/>
                      <a:pt x="392" y="94"/>
                      <a:pt x="390" y="93"/>
                    </a:cubicBezTo>
                    <a:cubicBezTo>
                      <a:pt x="387" y="92"/>
                      <a:pt x="387" y="92"/>
                      <a:pt x="386" y="89"/>
                    </a:cubicBezTo>
                    <a:cubicBezTo>
                      <a:pt x="385" y="89"/>
                      <a:pt x="384" y="88"/>
                      <a:pt x="383" y="88"/>
                    </a:cubicBezTo>
                    <a:cubicBezTo>
                      <a:pt x="383" y="86"/>
                      <a:pt x="385" y="86"/>
                      <a:pt x="383" y="84"/>
                    </a:cubicBezTo>
                    <a:cubicBezTo>
                      <a:pt x="382" y="84"/>
                      <a:pt x="382" y="84"/>
                      <a:pt x="381" y="84"/>
                    </a:cubicBezTo>
                    <a:cubicBezTo>
                      <a:pt x="379" y="84"/>
                      <a:pt x="377" y="87"/>
                      <a:pt x="376" y="89"/>
                    </a:cubicBezTo>
                    <a:cubicBezTo>
                      <a:pt x="375" y="90"/>
                      <a:pt x="374" y="93"/>
                      <a:pt x="374" y="94"/>
                    </a:cubicBezTo>
                    <a:cubicBezTo>
                      <a:pt x="374" y="97"/>
                      <a:pt x="377" y="96"/>
                      <a:pt x="374" y="99"/>
                    </a:cubicBezTo>
                    <a:cubicBezTo>
                      <a:pt x="372" y="101"/>
                      <a:pt x="371" y="101"/>
                      <a:pt x="368" y="101"/>
                    </a:cubicBezTo>
                    <a:cubicBezTo>
                      <a:pt x="367" y="102"/>
                      <a:pt x="365" y="102"/>
                      <a:pt x="364" y="102"/>
                    </a:cubicBezTo>
                    <a:cubicBezTo>
                      <a:pt x="361" y="106"/>
                      <a:pt x="365" y="112"/>
                      <a:pt x="368" y="114"/>
                    </a:cubicBezTo>
                    <a:cubicBezTo>
                      <a:pt x="366" y="116"/>
                      <a:pt x="362" y="116"/>
                      <a:pt x="359" y="116"/>
                    </a:cubicBezTo>
                    <a:cubicBezTo>
                      <a:pt x="361" y="117"/>
                      <a:pt x="367" y="118"/>
                      <a:pt x="368" y="119"/>
                    </a:cubicBezTo>
                    <a:cubicBezTo>
                      <a:pt x="368" y="119"/>
                      <a:pt x="368" y="119"/>
                      <a:pt x="368" y="119"/>
                    </a:cubicBezTo>
                    <a:cubicBezTo>
                      <a:pt x="364" y="119"/>
                      <a:pt x="361" y="118"/>
                      <a:pt x="358" y="117"/>
                    </a:cubicBezTo>
                    <a:cubicBezTo>
                      <a:pt x="359" y="123"/>
                      <a:pt x="359" y="122"/>
                      <a:pt x="364" y="124"/>
                    </a:cubicBezTo>
                    <a:cubicBezTo>
                      <a:pt x="364" y="124"/>
                      <a:pt x="364" y="124"/>
                      <a:pt x="363" y="124"/>
                    </a:cubicBezTo>
                    <a:cubicBezTo>
                      <a:pt x="361" y="124"/>
                      <a:pt x="359" y="123"/>
                      <a:pt x="358" y="123"/>
                    </a:cubicBezTo>
                    <a:cubicBezTo>
                      <a:pt x="356" y="123"/>
                      <a:pt x="354" y="122"/>
                      <a:pt x="352" y="122"/>
                    </a:cubicBezTo>
                    <a:cubicBezTo>
                      <a:pt x="351" y="122"/>
                      <a:pt x="349" y="122"/>
                      <a:pt x="347" y="123"/>
                    </a:cubicBezTo>
                    <a:cubicBezTo>
                      <a:pt x="343" y="125"/>
                      <a:pt x="339" y="127"/>
                      <a:pt x="335" y="129"/>
                    </a:cubicBezTo>
                    <a:cubicBezTo>
                      <a:pt x="332" y="130"/>
                      <a:pt x="333" y="132"/>
                      <a:pt x="333" y="135"/>
                    </a:cubicBezTo>
                    <a:cubicBezTo>
                      <a:pt x="334" y="135"/>
                      <a:pt x="335" y="135"/>
                      <a:pt x="336" y="135"/>
                    </a:cubicBezTo>
                    <a:cubicBezTo>
                      <a:pt x="337" y="135"/>
                      <a:pt x="337" y="135"/>
                      <a:pt x="338" y="135"/>
                    </a:cubicBezTo>
                    <a:cubicBezTo>
                      <a:pt x="343" y="135"/>
                      <a:pt x="347" y="135"/>
                      <a:pt x="351" y="135"/>
                    </a:cubicBezTo>
                    <a:cubicBezTo>
                      <a:pt x="354" y="134"/>
                      <a:pt x="356" y="132"/>
                      <a:pt x="358" y="132"/>
                    </a:cubicBezTo>
                    <a:cubicBezTo>
                      <a:pt x="358" y="132"/>
                      <a:pt x="359" y="131"/>
                      <a:pt x="359" y="131"/>
                    </a:cubicBezTo>
                    <a:cubicBezTo>
                      <a:pt x="361" y="131"/>
                      <a:pt x="362" y="133"/>
                      <a:pt x="364" y="134"/>
                    </a:cubicBezTo>
                    <a:cubicBezTo>
                      <a:pt x="365" y="135"/>
                      <a:pt x="367" y="137"/>
                      <a:pt x="369" y="137"/>
                    </a:cubicBezTo>
                    <a:cubicBezTo>
                      <a:pt x="369" y="137"/>
                      <a:pt x="370" y="137"/>
                      <a:pt x="370" y="136"/>
                    </a:cubicBezTo>
                    <a:cubicBezTo>
                      <a:pt x="367" y="139"/>
                      <a:pt x="354" y="142"/>
                      <a:pt x="356" y="147"/>
                    </a:cubicBezTo>
                    <a:cubicBezTo>
                      <a:pt x="352" y="146"/>
                      <a:pt x="350" y="141"/>
                      <a:pt x="347" y="139"/>
                    </a:cubicBezTo>
                    <a:cubicBezTo>
                      <a:pt x="347" y="139"/>
                      <a:pt x="347" y="139"/>
                      <a:pt x="347" y="139"/>
                    </a:cubicBezTo>
                    <a:cubicBezTo>
                      <a:pt x="346" y="139"/>
                      <a:pt x="338" y="143"/>
                      <a:pt x="337" y="144"/>
                    </a:cubicBezTo>
                    <a:cubicBezTo>
                      <a:pt x="333" y="147"/>
                      <a:pt x="338" y="148"/>
                      <a:pt x="340" y="149"/>
                    </a:cubicBezTo>
                    <a:cubicBezTo>
                      <a:pt x="337" y="148"/>
                      <a:pt x="334" y="147"/>
                      <a:pt x="330" y="146"/>
                    </a:cubicBezTo>
                    <a:cubicBezTo>
                      <a:pt x="331" y="147"/>
                      <a:pt x="332" y="148"/>
                      <a:pt x="333" y="148"/>
                    </a:cubicBezTo>
                    <a:cubicBezTo>
                      <a:pt x="331" y="150"/>
                      <a:pt x="329" y="150"/>
                      <a:pt x="327" y="152"/>
                    </a:cubicBezTo>
                    <a:cubicBezTo>
                      <a:pt x="328" y="152"/>
                      <a:pt x="330" y="151"/>
                      <a:pt x="331" y="151"/>
                    </a:cubicBezTo>
                    <a:cubicBezTo>
                      <a:pt x="331" y="151"/>
                      <a:pt x="332" y="151"/>
                      <a:pt x="332" y="152"/>
                    </a:cubicBezTo>
                    <a:cubicBezTo>
                      <a:pt x="333" y="152"/>
                      <a:pt x="335" y="153"/>
                      <a:pt x="336" y="153"/>
                    </a:cubicBezTo>
                    <a:cubicBezTo>
                      <a:pt x="337" y="153"/>
                      <a:pt x="337" y="153"/>
                      <a:pt x="337" y="153"/>
                    </a:cubicBezTo>
                    <a:cubicBezTo>
                      <a:pt x="334" y="154"/>
                      <a:pt x="331" y="153"/>
                      <a:pt x="328" y="155"/>
                    </a:cubicBezTo>
                    <a:cubicBezTo>
                      <a:pt x="329" y="155"/>
                      <a:pt x="330" y="156"/>
                      <a:pt x="331" y="157"/>
                    </a:cubicBezTo>
                    <a:cubicBezTo>
                      <a:pt x="329" y="158"/>
                      <a:pt x="333" y="157"/>
                      <a:pt x="331" y="159"/>
                    </a:cubicBezTo>
                    <a:cubicBezTo>
                      <a:pt x="330" y="161"/>
                      <a:pt x="331" y="161"/>
                      <a:pt x="329" y="161"/>
                    </a:cubicBezTo>
                    <a:cubicBezTo>
                      <a:pt x="328" y="161"/>
                      <a:pt x="328" y="161"/>
                      <a:pt x="327" y="161"/>
                    </a:cubicBezTo>
                    <a:cubicBezTo>
                      <a:pt x="327" y="161"/>
                      <a:pt x="327" y="161"/>
                      <a:pt x="326" y="161"/>
                    </a:cubicBezTo>
                    <a:cubicBezTo>
                      <a:pt x="326" y="161"/>
                      <a:pt x="326" y="161"/>
                      <a:pt x="325" y="161"/>
                    </a:cubicBezTo>
                    <a:cubicBezTo>
                      <a:pt x="325" y="161"/>
                      <a:pt x="324" y="161"/>
                      <a:pt x="324" y="161"/>
                    </a:cubicBezTo>
                    <a:cubicBezTo>
                      <a:pt x="326" y="163"/>
                      <a:pt x="329" y="163"/>
                      <a:pt x="330" y="165"/>
                    </a:cubicBezTo>
                    <a:cubicBezTo>
                      <a:pt x="327" y="164"/>
                      <a:pt x="323" y="163"/>
                      <a:pt x="322" y="159"/>
                    </a:cubicBezTo>
                    <a:cubicBezTo>
                      <a:pt x="321" y="156"/>
                      <a:pt x="322" y="150"/>
                      <a:pt x="319" y="147"/>
                    </a:cubicBezTo>
                    <a:cubicBezTo>
                      <a:pt x="318" y="146"/>
                      <a:pt x="317" y="146"/>
                      <a:pt x="317" y="146"/>
                    </a:cubicBezTo>
                    <a:cubicBezTo>
                      <a:pt x="314" y="146"/>
                      <a:pt x="312" y="150"/>
                      <a:pt x="309" y="151"/>
                    </a:cubicBezTo>
                    <a:cubicBezTo>
                      <a:pt x="309" y="152"/>
                      <a:pt x="307" y="153"/>
                      <a:pt x="306" y="153"/>
                    </a:cubicBezTo>
                    <a:cubicBezTo>
                      <a:pt x="306" y="153"/>
                      <a:pt x="306" y="153"/>
                      <a:pt x="306" y="152"/>
                    </a:cubicBezTo>
                    <a:cubicBezTo>
                      <a:pt x="306" y="151"/>
                      <a:pt x="310" y="148"/>
                      <a:pt x="307" y="148"/>
                    </a:cubicBezTo>
                    <a:cubicBezTo>
                      <a:pt x="307" y="148"/>
                      <a:pt x="307" y="148"/>
                      <a:pt x="307" y="148"/>
                    </a:cubicBezTo>
                    <a:cubicBezTo>
                      <a:pt x="305" y="148"/>
                      <a:pt x="304" y="150"/>
                      <a:pt x="303" y="151"/>
                    </a:cubicBezTo>
                    <a:cubicBezTo>
                      <a:pt x="303" y="151"/>
                      <a:pt x="303" y="151"/>
                      <a:pt x="303" y="151"/>
                    </a:cubicBezTo>
                    <a:cubicBezTo>
                      <a:pt x="303" y="151"/>
                      <a:pt x="303" y="151"/>
                      <a:pt x="302" y="151"/>
                    </a:cubicBezTo>
                    <a:cubicBezTo>
                      <a:pt x="302" y="150"/>
                      <a:pt x="302" y="150"/>
                      <a:pt x="301" y="150"/>
                    </a:cubicBezTo>
                    <a:cubicBezTo>
                      <a:pt x="301" y="150"/>
                      <a:pt x="301" y="150"/>
                      <a:pt x="300" y="151"/>
                    </a:cubicBezTo>
                    <a:cubicBezTo>
                      <a:pt x="299" y="152"/>
                      <a:pt x="298" y="153"/>
                      <a:pt x="297" y="154"/>
                    </a:cubicBezTo>
                    <a:cubicBezTo>
                      <a:pt x="303" y="155"/>
                      <a:pt x="308" y="154"/>
                      <a:pt x="314" y="156"/>
                    </a:cubicBezTo>
                    <a:cubicBezTo>
                      <a:pt x="309" y="159"/>
                      <a:pt x="305" y="161"/>
                      <a:pt x="301" y="161"/>
                    </a:cubicBezTo>
                    <a:cubicBezTo>
                      <a:pt x="299" y="161"/>
                      <a:pt x="298" y="162"/>
                      <a:pt x="297" y="163"/>
                    </a:cubicBezTo>
                    <a:cubicBezTo>
                      <a:pt x="296" y="163"/>
                      <a:pt x="295" y="164"/>
                      <a:pt x="294" y="164"/>
                    </a:cubicBezTo>
                    <a:cubicBezTo>
                      <a:pt x="294" y="164"/>
                      <a:pt x="294" y="164"/>
                      <a:pt x="294" y="164"/>
                    </a:cubicBezTo>
                    <a:cubicBezTo>
                      <a:pt x="294" y="164"/>
                      <a:pt x="294" y="163"/>
                      <a:pt x="293" y="162"/>
                    </a:cubicBezTo>
                    <a:cubicBezTo>
                      <a:pt x="292" y="162"/>
                      <a:pt x="291" y="162"/>
                      <a:pt x="289" y="162"/>
                    </a:cubicBezTo>
                    <a:cubicBezTo>
                      <a:pt x="287" y="162"/>
                      <a:pt x="285" y="162"/>
                      <a:pt x="285" y="163"/>
                    </a:cubicBezTo>
                    <a:cubicBezTo>
                      <a:pt x="284" y="165"/>
                      <a:pt x="282" y="165"/>
                      <a:pt x="282" y="166"/>
                    </a:cubicBezTo>
                    <a:cubicBezTo>
                      <a:pt x="283" y="168"/>
                      <a:pt x="285" y="171"/>
                      <a:pt x="283" y="172"/>
                    </a:cubicBezTo>
                    <a:cubicBezTo>
                      <a:pt x="287" y="171"/>
                      <a:pt x="299" y="167"/>
                      <a:pt x="299" y="164"/>
                    </a:cubicBezTo>
                    <a:cubicBezTo>
                      <a:pt x="303" y="164"/>
                      <a:pt x="306" y="167"/>
                      <a:pt x="309" y="169"/>
                    </a:cubicBezTo>
                    <a:cubicBezTo>
                      <a:pt x="308" y="169"/>
                      <a:pt x="308" y="169"/>
                      <a:pt x="307" y="169"/>
                    </a:cubicBezTo>
                    <a:cubicBezTo>
                      <a:pt x="303" y="169"/>
                      <a:pt x="298" y="172"/>
                      <a:pt x="294" y="174"/>
                    </a:cubicBezTo>
                    <a:cubicBezTo>
                      <a:pt x="295" y="174"/>
                      <a:pt x="300" y="175"/>
                      <a:pt x="300" y="176"/>
                    </a:cubicBezTo>
                    <a:cubicBezTo>
                      <a:pt x="302" y="178"/>
                      <a:pt x="300" y="180"/>
                      <a:pt x="303" y="180"/>
                    </a:cubicBezTo>
                    <a:cubicBezTo>
                      <a:pt x="303" y="180"/>
                      <a:pt x="303" y="180"/>
                      <a:pt x="303" y="180"/>
                    </a:cubicBezTo>
                    <a:cubicBezTo>
                      <a:pt x="305" y="180"/>
                      <a:pt x="306" y="180"/>
                      <a:pt x="308" y="179"/>
                    </a:cubicBezTo>
                    <a:cubicBezTo>
                      <a:pt x="310" y="178"/>
                      <a:pt x="312" y="177"/>
                      <a:pt x="313" y="177"/>
                    </a:cubicBezTo>
                    <a:cubicBezTo>
                      <a:pt x="313" y="177"/>
                      <a:pt x="313" y="177"/>
                      <a:pt x="314" y="177"/>
                    </a:cubicBezTo>
                    <a:cubicBezTo>
                      <a:pt x="311" y="180"/>
                      <a:pt x="304" y="183"/>
                      <a:pt x="306" y="186"/>
                    </a:cubicBezTo>
                    <a:cubicBezTo>
                      <a:pt x="306" y="186"/>
                      <a:pt x="310" y="187"/>
                      <a:pt x="311" y="187"/>
                    </a:cubicBezTo>
                    <a:cubicBezTo>
                      <a:pt x="305" y="187"/>
                      <a:pt x="299" y="184"/>
                      <a:pt x="294" y="182"/>
                    </a:cubicBezTo>
                    <a:cubicBezTo>
                      <a:pt x="293" y="182"/>
                      <a:pt x="292" y="182"/>
                      <a:pt x="291" y="182"/>
                    </a:cubicBezTo>
                    <a:cubicBezTo>
                      <a:pt x="291" y="182"/>
                      <a:pt x="290" y="182"/>
                      <a:pt x="290" y="182"/>
                    </a:cubicBezTo>
                    <a:cubicBezTo>
                      <a:pt x="289" y="182"/>
                      <a:pt x="289" y="182"/>
                      <a:pt x="289" y="182"/>
                    </a:cubicBezTo>
                    <a:cubicBezTo>
                      <a:pt x="288" y="182"/>
                      <a:pt x="288" y="182"/>
                      <a:pt x="288" y="182"/>
                    </a:cubicBezTo>
                    <a:cubicBezTo>
                      <a:pt x="288" y="181"/>
                      <a:pt x="291" y="177"/>
                      <a:pt x="290" y="177"/>
                    </a:cubicBezTo>
                    <a:cubicBezTo>
                      <a:pt x="290" y="177"/>
                      <a:pt x="289" y="177"/>
                      <a:pt x="289" y="177"/>
                    </a:cubicBezTo>
                    <a:cubicBezTo>
                      <a:pt x="286" y="178"/>
                      <a:pt x="283" y="180"/>
                      <a:pt x="280" y="182"/>
                    </a:cubicBezTo>
                    <a:cubicBezTo>
                      <a:pt x="283" y="183"/>
                      <a:pt x="287" y="183"/>
                      <a:pt x="290" y="183"/>
                    </a:cubicBezTo>
                    <a:cubicBezTo>
                      <a:pt x="289" y="184"/>
                      <a:pt x="285" y="186"/>
                      <a:pt x="284" y="186"/>
                    </a:cubicBezTo>
                    <a:cubicBezTo>
                      <a:pt x="284" y="186"/>
                      <a:pt x="284" y="186"/>
                      <a:pt x="284" y="186"/>
                    </a:cubicBezTo>
                    <a:cubicBezTo>
                      <a:pt x="283" y="185"/>
                      <a:pt x="282" y="184"/>
                      <a:pt x="281" y="184"/>
                    </a:cubicBezTo>
                    <a:cubicBezTo>
                      <a:pt x="280" y="184"/>
                      <a:pt x="279" y="185"/>
                      <a:pt x="278" y="185"/>
                    </a:cubicBezTo>
                    <a:cubicBezTo>
                      <a:pt x="277" y="187"/>
                      <a:pt x="276" y="188"/>
                      <a:pt x="274" y="190"/>
                    </a:cubicBezTo>
                    <a:cubicBezTo>
                      <a:pt x="273" y="191"/>
                      <a:pt x="271" y="191"/>
                      <a:pt x="270" y="192"/>
                    </a:cubicBezTo>
                    <a:cubicBezTo>
                      <a:pt x="276" y="192"/>
                      <a:pt x="283" y="191"/>
                      <a:pt x="289" y="190"/>
                    </a:cubicBezTo>
                    <a:cubicBezTo>
                      <a:pt x="289" y="190"/>
                      <a:pt x="289" y="190"/>
                      <a:pt x="290" y="190"/>
                    </a:cubicBezTo>
                    <a:cubicBezTo>
                      <a:pt x="292" y="190"/>
                      <a:pt x="296" y="193"/>
                      <a:pt x="298" y="194"/>
                    </a:cubicBezTo>
                    <a:cubicBezTo>
                      <a:pt x="301" y="196"/>
                      <a:pt x="301" y="195"/>
                      <a:pt x="302" y="200"/>
                    </a:cubicBezTo>
                    <a:cubicBezTo>
                      <a:pt x="301" y="200"/>
                      <a:pt x="301" y="200"/>
                      <a:pt x="301" y="200"/>
                    </a:cubicBezTo>
                    <a:cubicBezTo>
                      <a:pt x="298" y="195"/>
                      <a:pt x="297" y="196"/>
                      <a:pt x="291" y="196"/>
                    </a:cubicBezTo>
                    <a:cubicBezTo>
                      <a:pt x="289" y="196"/>
                      <a:pt x="286" y="195"/>
                      <a:pt x="283" y="195"/>
                    </a:cubicBezTo>
                    <a:cubicBezTo>
                      <a:pt x="282" y="195"/>
                      <a:pt x="281" y="195"/>
                      <a:pt x="280" y="195"/>
                    </a:cubicBezTo>
                    <a:cubicBezTo>
                      <a:pt x="277" y="196"/>
                      <a:pt x="274" y="197"/>
                      <a:pt x="271" y="197"/>
                    </a:cubicBezTo>
                    <a:cubicBezTo>
                      <a:pt x="269" y="198"/>
                      <a:pt x="269" y="198"/>
                      <a:pt x="270" y="201"/>
                    </a:cubicBezTo>
                    <a:cubicBezTo>
                      <a:pt x="270" y="202"/>
                      <a:pt x="275" y="202"/>
                      <a:pt x="277" y="202"/>
                    </a:cubicBezTo>
                    <a:cubicBezTo>
                      <a:pt x="272" y="203"/>
                      <a:pt x="269" y="202"/>
                      <a:pt x="264" y="203"/>
                    </a:cubicBezTo>
                    <a:cubicBezTo>
                      <a:pt x="259" y="205"/>
                      <a:pt x="254" y="206"/>
                      <a:pt x="249" y="208"/>
                    </a:cubicBezTo>
                    <a:cubicBezTo>
                      <a:pt x="252" y="213"/>
                      <a:pt x="253" y="214"/>
                      <a:pt x="260" y="215"/>
                    </a:cubicBezTo>
                    <a:cubicBezTo>
                      <a:pt x="254" y="216"/>
                      <a:pt x="248" y="217"/>
                      <a:pt x="242" y="218"/>
                    </a:cubicBezTo>
                    <a:cubicBezTo>
                      <a:pt x="244" y="219"/>
                      <a:pt x="245" y="220"/>
                      <a:pt x="247" y="221"/>
                    </a:cubicBezTo>
                    <a:cubicBezTo>
                      <a:pt x="246" y="221"/>
                      <a:pt x="246" y="221"/>
                      <a:pt x="245" y="221"/>
                    </a:cubicBezTo>
                    <a:cubicBezTo>
                      <a:pt x="244" y="221"/>
                      <a:pt x="244" y="221"/>
                      <a:pt x="243" y="221"/>
                    </a:cubicBezTo>
                    <a:cubicBezTo>
                      <a:pt x="242" y="221"/>
                      <a:pt x="242" y="221"/>
                      <a:pt x="241" y="221"/>
                    </a:cubicBezTo>
                    <a:cubicBezTo>
                      <a:pt x="241" y="221"/>
                      <a:pt x="240" y="221"/>
                      <a:pt x="240" y="221"/>
                    </a:cubicBezTo>
                    <a:cubicBezTo>
                      <a:pt x="244" y="223"/>
                      <a:pt x="241" y="225"/>
                      <a:pt x="242" y="226"/>
                    </a:cubicBezTo>
                    <a:cubicBezTo>
                      <a:pt x="242" y="226"/>
                      <a:pt x="243" y="226"/>
                      <a:pt x="243" y="226"/>
                    </a:cubicBezTo>
                    <a:cubicBezTo>
                      <a:pt x="244" y="226"/>
                      <a:pt x="245" y="225"/>
                      <a:pt x="246" y="225"/>
                    </a:cubicBezTo>
                    <a:cubicBezTo>
                      <a:pt x="248" y="224"/>
                      <a:pt x="249" y="224"/>
                      <a:pt x="251" y="224"/>
                    </a:cubicBezTo>
                    <a:cubicBezTo>
                      <a:pt x="251" y="224"/>
                      <a:pt x="251" y="224"/>
                      <a:pt x="251" y="224"/>
                    </a:cubicBezTo>
                    <a:cubicBezTo>
                      <a:pt x="254" y="224"/>
                      <a:pt x="250" y="226"/>
                      <a:pt x="251" y="228"/>
                    </a:cubicBezTo>
                    <a:cubicBezTo>
                      <a:pt x="250" y="228"/>
                      <a:pt x="249" y="228"/>
                      <a:pt x="248" y="228"/>
                    </a:cubicBezTo>
                    <a:cubicBezTo>
                      <a:pt x="247" y="228"/>
                      <a:pt x="246" y="228"/>
                      <a:pt x="244" y="228"/>
                    </a:cubicBezTo>
                    <a:cubicBezTo>
                      <a:pt x="243" y="228"/>
                      <a:pt x="242" y="228"/>
                      <a:pt x="240" y="228"/>
                    </a:cubicBezTo>
                    <a:cubicBezTo>
                      <a:pt x="236" y="228"/>
                      <a:pt x="232" y="228"/>
                      <a:pt x="232" y="229"/>
                    </a:cubicBezTo>
                    <a:cubicBezTo>
                      <a:pt x="232" y="230"/>
                      <a:pt x="231" y="236"/>
                      <a:pt x="232" y="237"/>
                    </a:cubicBezTo>
                    <a:cubicBezTo>
                      <a:pt x="234" y="238"/>
                      <a:pt x="237" y="239"/>
                      <a:pt x="240" y="239"/>
                    </a:cubicBezTo>
                    <a:cubicBezTo>
                      <a:pt x="237" y="240"/>
                      <a:pt x="234" y="242"/>
                      <a:pt x="232" y="243"/>
                    </a:cubicBezTo>
                    <a:cubicBezTo>
                      <a:pt x="237" y="243"/>
                      <a:pt x="241" y="241"/>
                      <a:pt x="246" y="240"/>
                    </a:cubicBezTo>
                    <a:cubicBezTo>
                      <a:pt x="251" y="239"/>
                      <a:pt x="258" y="239"/>
                      <a:pt x="264" y="237"/>
                    </a:cubicBezTo>
                    <a:cubicBezTo>
                      <a:pt x="260" y="239"/>
                      <a:pt x="254" y="245"/>
                      <a:pt x="250" y="245"/>
                    </a:cubicBezTo>
                    <a:cubicBezTo>
                      <a:pt x="249" y="245"/>
                      <a:pt x="249" y="245"/>
                      <a:pt x="248" y="244"/>
                    </a:cubicBezTo>
                    <a:cubicBezTo>
                      <a:pt x="247" y="244"/>
                      <a:pt x="246" y="242"/>
                      <a:pt x="245" y="242"/>
                    </a:cubicBezTo>
                    <a:cubicBezTo>
                      <a:pt x="245" y="242"/>
                      <a:pt x="245" y="242"/>
                      <a:pt x="245" y="242"/>
                    </a:cubicBezTo>
                    <a:cubicBezTo>
                      <a:pt x="244" y="242"/>
                      <a:pt x="241" y="243"/>
                      <a:pt x="240" y="243"/>
                    </a:cubicBezTo>
                    <a:cubicBezTo>
                      <a:pt x="238" y="244"/>
                      <a:pt x="235" y="245"/>
                      <a:pt x="233" y="245"/>
                    </a:cubicBezTo>
                    <a:cubicBezTo>
                      <a:pt x="231" y="246"/>
                      <a:pt x="228" y="246"/>
                      <a:pt x="227" y="247"/>
                    </a:cubicBezTo>
                    <a:cubicBezTo>
                      <a:pt x="224" y="249"/>
                      <a:pt x="226" y="250"/>
                      <a:pt x="229" y="250"/>
                    </a:cubicBezTo>
                    <a:cubicBezTo>
                      <a:pt x="230" y="250"/>
                      <a:pt x="231" y="249"/>
                      <a:pt x="232" y="249"/>
                    </a:cubicBezTo>
                    <a:cubicBezTo>
                      <a:pt x="232" y="251"/>
                      <a:pt x="230" y="252"/>
                      <a:pt x="229" y="254"/>
                    </a:cubicBezTo>
                    <a:cubicBezTo>
                      <a:pt x="232" y="255"/>
                      <a:pt x="236" y="256"/>
                      <a:pt x="237" y="260"/>
                    </a:cubicBezTo>
                    <a:cubicBezTo>
                      <a:pt x="233" y="259"/>
                      <a:pt x="231" y="255"/>
                      <a:pt x="229" y="255"/>
                    </a:cubicBezTo>
                    <a:cubicBezTo>
                      <a:pt x="228" y="255"/>
                      <a:pt x="227" y="255"/>
                      <a:pt x="226" y="256"/>
                    </a:cubicBezTo>
                    <a:cubicBezTo>
                      <a:pt x="225" y="258"/>
                      <a:pt x="220" y="262"/>
                      <a:pt x="221" y="264"/>
                    </a:cubicBezTo>
                    <a:cubicBezTo>
                      <a:pt x="221" y="265"/>
                      <a:pt x="222" y="266"/>
                      <a:pt x="223" y="268"/>
                    </a:cubicBezTo>
                    <a:cubicBezTo>
                      <a:pt x="221" y="267"/>
                      <a:pt x="220" y="266"/>
                      <a:pt x="219" y="266"/>
                    </a:cubicBezTo>
                    <a:cubicBezTo>
                      <a:pt x="217" y="266"/>
                      <a:pt x="217" y="268"/>
                      <a:pt x="215" y="272"/>
                    </a:cubicBezTo>
                    <a:cubicBezTo>
                      <a:pt x="214" y="276"/>
                      <a:pt x="220" y="275"/>
                      <a:pt x="221" y="275"/>
                    </a:cubicBezTo>
                    <a:cubicBezTo>
                      <a:pt x="219" y="277"/>
                      <a:pt x="221" y="277"/>
                      <a:pt x="222" y="278"/>
                    </a:cubicBezTo>
                    <a:cubicBezTo>
                      <a:pt x="222" y="278"/>
                      <a:pt x="222" y="278"/>
                      <a:pt x="223" y="278"/>
                    </a:cubicBezTo>
                    <a:cubicBezTo>
                      <a:pt x="223" y="278"/>
                      <a:pt x="223" y="278"/>
                      <a:pt x="223" y="278"/>
                    </a:cubicBezTo>
                    <a:cubicBezTo>
                      <a:pt x="223" y="278"/>
                      <a:pt x="224" y="278"/>
                      <a:pt x="224" y="278"/>
                    </a:cubicBezTo>
                    <a:cubicBezTo>
                      <a:pt x="224" y="278"/>
                      <a:pt x="224" y="278"/>
                      <a:pt x="224" y="279"/>
                    </a:cubicBezTo>
                    <a:cubicBezTo>
                      <a:pt x="224" y="279"/>
                      <a:pt x="223" y="281"/>
                      <a:pt x="223" y="282"/>
                    </a:cubicBezTo>
                    <a:cubicBezTo>
                      <a:pt x="220" y="280"/>
                      <a:pt x="213" y="276"/>
                      <a:pt x="212" y="272"/>
                    </a:cubicBezTo>
                    <a:cubicBezTo>
                      <a:pt x="210" y="278"/>
                      <a:pt x="208" y="284"/>
                      <a:pt x="205" y="290"/>
                    </a:cubicBezTo>
                    <a:cubicBezTo>
                      <a:pt x="207" y="288"/>
                      <a:pt x="211" y="285"/>
                      <a:pt x="213" y="285"/>
                    </a:cubicBezTo>
                    <a:cubicBezTo>
                      <a:pt x="214" y="285"/>
                      <a:pt x="215" y="285"/>
                      <a:pt x="215" y="286"/>
                    </a:cubicBezTo>
                    <a:cubicBezTo>
                      <a:pt x="217" y="290"/>
                      <a:pt x="217" y="290"/>
                      <a:pt x="216" y="290"/>
                    </a:cubicBezTo>
                    <a:cubicBezTo>
                      <a:pt x="216" y="290"/>
                      <a:pt x="216" y="290"/>
                      <a:pt x="216" y="290"/>
                    </a:cubicBezTo>
                    <a:cubicBezTo>
                      <a:pt x="216" y="290"/>
                      <a:pt x="216" y="290"/>
                      <a:pt x="216" y="290"/>
                    </a:cubicBezTo>
                    <a:cubicBezTo>
                      <a:pt x="215" y="290"/>
                      <a:pt x="214" y="290"/>
                      <a:pt x="214" y="291"/>
                    </a:cubicBezTo>
                    <a:cubicBezTo>
                      <a:pt x="214" y="292"/>
                      <a:pt x="214" y="292"/>
                      <a:pt x="215" y="292"/>
                    </a:cubicBezTo>
                    <a:cubicBezTo>
                      <a:pt x="217" y="292"/>
                      <a:pt x="221" y="290"/>
                      <a:pt x="222" y="290"/>
                    </a:cubicBezTo>
                    <a:cubicBezTo>
                      <a:pt x="225" y="288"/>
                      <a:pt x="227" y="286"/>
                      <a:pt x="230" y="284"/>
                    </a:cubicBezTo>
                    <a:cubicBezTo>
                      <a:pt x="227" y="290"/>
                      <a:pt x="220" y="291"/>
                      <a:pt x="216" y="295"/>
                    </a:cubicBezTo>
                    <a:cubicBezTo>
                      <a:pt x="217" y="295"/>
                      <a:pt x="217" y="295"/>
                      <a:pt x="217" y="295"/>
                    </a:cubicBezTo>
                    <a:cubicBezTo>
                      <a:pt x="215" y="296"/>
                      <a:pt x="213" y="297"/>
                      <a:pt x="211" y="297"/>
                    </a:cubicBezTo>
                    <a:cubicBezTo>
                      <a:pt x="211" y="297"/>
                      <a:pt x="210" y="297"/>
                      <a:pt x="210" y="297"/>
                    </a:cubicBezTo>
                    <a:cubicBezTo>
                      <a:pt x="213" y="295"/>
                      <a:pt x="214" y="291"/>
                      <a:pt x="210" y="290"/>
                    </a:cubicBezTo>
                    <a:cubicBezTo>
                      <a:pt x="210" y="290"/>
                      <a:pt x="209" y="290"/>
                      <a:pt x="209" y="290"/>
                    </a:cubicBezTo>
                    <a:cubicBezTo>
                      <a:pt x="205" y="290"/>
                      <a:pt x="198" y="295"/>
                      <a:pt x="197" y="298"/>
                    </a:cubicBezTo>
                    <a:cubicBezTo>
                      <a:pt x="199" y="298"/>
                      <a:pt x="200" y="296"/>
                      <a:pt x="202" y="296"/>
                    </a:cubicBezTo>
                    <a:cubicBezTo>
                      <a:pt x="202" y="296"/>
                      <a:pt x="202" y="296"/>
                      <a:pt x="202" y="296"/>
                    </a:cubicBezTo>
                    <a:cubicBezTo>
                      <a:pt x="195" y="301"/>
                      <a:pt x="188" y="306"/>
                      <a:pt x="182" y="312"/>
                    </a:cubicBezTo>
                    <a:cubicBezTo>
                      <a:pt x="186" y="310"/>
                      <a:pt x="189" y="309"/>
                      <a:pt x="193" y="307"/>
                    </a:cubicBezTo>
                    <a:cubicBezTo>
                      <a:pt x="193" y="306"/>
                      <a:pt x="194" y="305"/>
                      <a:pt x="195" y="305"/>
                    </a:cubicBezTo>
                    <a:cubicBezTo>
                      <a:pt x="196" y="304"/>
                      <a:pt x="197" y="304"/>
                      <a:pt x="198" y="303"/>
                    </a:cubicBezTo>
                    <a:cubicBezTo>
                      <a:pt x="200" y="303"/>
                      <a:pt x="202" y="302"/>
                      <a:pt x="203" y="302"/>
                    </a:cubicBezTo>
                    <a:cubicBezTo>
                      <a:pt x="204" y="302"/>
                      <a:pt x="204" y="302"/>
                      <a:pt x="205" y="302"/>
                    </a:cubicBezTo>
                    <a:cubicBezTo>
                      <a:pt x="201" y="302"/>
                      <a:pt x="196" y="305"/>
                      <a:pt x="194" y="308"/>
                    </a:cubicBezTo>
                    <a:cubicBezTo>
                      <a:pt x="195" y="308"/>
                      <a:pt x="197" y="309"/>
                      <a:pt x="198" y="309"/>
                    </a:cubicBezTo>
                    <a:cubicBezTo>
                      <a:pt x="195" y="311"/>
                      <a:pt x="191" y="312"/>
                      <a:pt x="187" y="313"/>
                    </a:cubicBezTo>
                    <a:cubicBezTo>
                      <a:pt x="190" y="315"/>
                      <a:pt x="192" y="317"/>
                      <a:pt x="195" y="318"/>
                    </a:cubicBezTo>
                    <a:cubicBezTo>
                      <a:pt x="192" y="320"/>
                      <a:pt x="186" y="324"/>
                      <a:pt x="189" y="324"/>
                    </a:cubicBezTo>
                    <a:cubicBezTo>
                      <a:pt x="189" y="324"/>
                      <a:pt x="190" y="324"/>
                      <a:pt x="192" y="323"/>
                    </a:cubicBezTo>
                    <a:cubicBezTo>
                      <a:pt x="188" y="325"/>
                      <a:pt x="185" y="328"/>
                      <a:pt x="182" y="331"/>
                    </a:cubicBezTo>
                    <a:cubicBezTo>
                      <a:pt x="182" y="327"/>
                      <a:pt x="186" y="326"/>
                      <a:pt x="182" y="324"/>
                    </a:cubicBezTo>
                    <a:cubicBezTo>
                      <a:pt x="179" y="323"/>
                      <a:pt x="177" y="321"/>
                      <a:pt x="175" y="321"/>
                    </a:cubicBezTo>
                    <a:cubicBezTo>
                      <a:pt x="174" y="321"/>
                      <a:pt x="173" y="322"/>
                      <a:pt x="172" y="322"/>
                    </a:cubicBezTo>
                    <a:cubicBezTo>
                      <a:pt x="168" y="325"/>
                      <a:pt x="164" y="327"/>
                      <a:pt x="160" y="330"/>
                    </a:cubicBezTo>
                    <a:cubicBezTo>
                      <a:pt x="158" y="332"/>
                      <a:pt x="152" y="335"/>
                      <a:pt x="158" y="336"/>
                    </a:cubicBezTo>
                    <a:cubicBezTo>
                      <a:pt x="154" y="339"/>
                      <a:pt x="148" y="342"/>
                      <a:pt x="145" y="347"/>
                    </a:cubicBezTo>
                    <a:cubicBezTo>
                      <a:pt x="147" y="347"/>
                      <a:pt x="148" y="346"/>
                      <a:pt x="149" y="346"/>
                    </a:cubicBezTo>
                    <a:cubicBezTo>
                      <a:pt x="150" y="346"/>
                      <a:pt x="150" y="346"/>
                      <a:pt x="150" y="346"/>
                    </a:cubicBezTo>
                    <a:cubicBezTo>
                      <a:pt x="149" y="348"/>
                      <a:pt x="147" y="348"/>
                      <a:pt x="146" y="349"/>
                    </a:cubicBezTo>
                    <a:cubicBezTo>
                      <a:pt x="146" y="349"/>
                      <a:pt x="147" y="349"/>
                      <a:pt x="148" y="349"/>
                    </a:cubicBezTo>
                    <a:cubicBezTo>
                      <a:pt x="149" y="349"/>
                      <a:pt x="149" y="349"/>
                      <a:pt x="149" y="349"/>
                    </a:cubicBezTo>
                    <a:cubicBezTo>
                      <a:pt x="144" y="351"/>
                      <a:pt x="139" y="354"/>
                      <a:pt x="134" y="358"/>
                    </a:cubicBezTo>
                    <a:cubicBezTo>
                      <a:pt x="136" y="358"/>
                      <a:pt x="137" y="358"/>
                      <a:pt x="138" y="358"/>
                    </a:cubicBezTo>
                    <a:cubicBezTo>
                      <a:pt x="141" y="358"/>
                      <a:pt x="144" y="357"/>
                      <a:pt x="148" y="357"/>
                    </a:cubicBezTo>
                    <a:cubicBezTo>
                      <a:pt x="146" y="358"/>
                      <a:pt x="143" y="360"/>
                      <a:pt x="142" y="362"/>
                    </a:cubicBezTo>
                    <a:cubicBezTo>
                      <a:pt x="142" y="364"/>
                      <a:pt x="143" y="364"/>
                      <a:pt x="143" y="365"/>
                    </a:cubicBezTo>
                    <a:cubicBezTo>
                      <a:pt x="144" y="367"/>
                      <a:pt x="145" y="368"/>
                      <a:pt x="147" y="368"/>
                    </a:cubicBezTo>
                    <a:cubicBezTo>
                      <a:pt x="148" y="368"/>
                      <a:pt x="148" y="368"/>
                      <a:pt x="149" y="368"/>
                    </a:cubicBezTo>
                    <a:cubicBezTo>
                      <a:pt x="155" y="365"/>
                      <a:pt x="161" y="362"/>
                      <a:pt x="167" y="359"/>
                    </a:cubicBezTo>
                    <a:cubicBezTo>
                      <a:pt x="169" y="358"/>
                      <a:pt x="171" y="357"/>
                      <a:pt x="173" y="356"/>
                    </a:cubicBezTo>
                    <a:cubicBezTo>
                      <a:pt x="176" y="354"/>
                      <a:pt x="175" y="353"/>
                      <a:pt x="174" y="350"/>
                    </a:cubicBezTo>
                    <a:cubicBezTo>
                      <a:pt x="171" y="351"/>
                      <a:pt x="167" y="353"/>
                      <a:pt x="164" y="354"/>
                    </a:cubicBezTo>
                    <a:cubicBezTo>
                      <a:pt x="170" y="350"/>
                      <a:pt x="175" y="345"/>
                      <a:pt x="182" y="342"/>
                    </a:cubicBezTo>
                    <a:cubicBezTo>
                      <a:pt x="183" y="341"/>
                      <a:pt x="184" y="341"/>
                      <a:pt x="185" y="341"/>
                    </a:cubicBezTo>
                    <a:cubicBezTo>
                      <a:pt x="186" y="341"/>
                      <a:pt x="185" y="343"/>
                      <a:pt x="188" y="345"/>
                    </a:cubicBezTo>
                    <a:cubicBezTo>
                      <a:pt x="184" y="346"/>
                      <a:pt x="181" y="348"/>
                      <a:pt x="178" y="350"/>
                    </a:cubicBezTo>
                    <a:cubicBezTo>
                      <a:pt x="179" y="352"/>
                      <a:pt x="184" y="352"/>
                      <a:pt x="186" y="353"/>
                    </a:cubicBezTo>
                    <a:cubicBezTo>
                      <a:pt x="181" y="360"/>
                      <a:pt x="170" y="359"/>
                      <a:pt x="165" y="365"/>
                    </a:cubicBezTo>
                    <a:cubicBezTo>
                      <a:pt x="167" y="365"/>
                      <a:pt x="169" y="364"/>
                      <a:pt x="171" y="364"/>
                    </a:cubicBezTo>
                    <a:cubicBezTo>
                      <a:pt x="168" y="367"/>
                      <a:pt x="168" y="367"/>
                      <a:pt x="170" y="370"/>
                    </a:cubicBezTo>
                    <a:cubicBezTo>
                      <a:pt x="161" y="371"/>
                      <a:pt x="151" y="372"/>
                      <a:pt x="142" y="376"/>
                    </a:cubicBezTo>
                    <a:cubicBezTo>
                      <a:pt x="143" y="373"/>
                      <a:pt x="145" y="371"/>
                      <a:pt x="143" y="368"/>
                    </a:cubicBezTo>
                    <a:cubicBezTo>
                      <a:pt x="143" y="368"/>
                      <a:pt x="139" y="362"/>
                      <a:pt x="138" y="362"/>
                    </a:cubicBezTo>
                    <a:cubicBezTo>
                      <a:pt x="138" y="362"/>
                      <a:pt x="138" y="362"/>
                      <a:pt x="138" y="362"/>
                    </a:cubicBezTo>
                    <a:cubicBezTo>
                      <a:pt x="133" y="364"/>
                      <a:pt x="127" y="365"/>
                      <a:pt x="123" y="368"/>
                    </a:cubicBezTo>
                    <a:cubicBezTo>
                      <a:pt x="125" y="369"/>
                      <a:pt x="127" y="369"/>
                      <a:pt x="129" y="369"/>
                    </a:cubicBezTo>
                    <a:cubicBezTo>
                      <a:pt x="130" y="369"/>
                      <a:pt x="131" y="369"/>
                      <a:pt x="132" y="369"/>
                    </a:cubicBezTo>
                    <a:cubicBezTo>
                      <a:pt x="128" y="372"/>
                      <a:pt x="123" y="375"/>
                      <a:pt x="120" y="378"/>
                    </a:cubicBezTo>
                    <a:cubicBezTo>
                      <a:pt x="121" y="375"/>
                      <a:pt x="122" y="376"/>
                      <a:pt x="119" y="372"/>
                    </a:cubicBezTo>
                    <a:cubicBezTo>
                      <a:pt x="118" y="371"/>
                      <a:pt x="117" y="370"/>
                      <a:pt x="116" y="370"/>
                    </a:cubicBezTo>
                    <a:cubicBezTo>
                      <a:pt x="115" y="370"/>
                      <a:pt x="114" y="371"/>
                      <a:pt x="112" y="371"/>
                    </a:cubicBezTo>
                    <a:cubicBezTo>
                      <a:pt x="109" y="372"/>
                      <a:pt x="108" y="376"/>
                      <a:pt x="105" y="377"/>
                    </a:cubicBezTo>
                    <a:cubicBezTo>
                      <a:pt x="107" y="379"/>
                      <a:pt x="110" y="380"/>
                      <a:pt x="113" y="381"/>
                    </a:cubicBezTo>
                    <a:cubicBezTo>
                      <a:pt x="110" y="383"/>
                      <a:pt x="95" y="382"/>
                      <a:pt x="95" y="385"/>
                    </a:cubicBezTo>
                    <a:cubicBezTo>
                      <a:pt x="95" y="389"/>
                      <a:pt x="101" y="390"/>
                      <a:pt x="103" y="390"/>
                    </a:cubicBezTo>
                    <a:cubicBezTo>
                      <a:pt x="107" y="391"/>
                      <a:pt x="109" y="392"/>
                      <a:pt x="110" y="397"/>
                    </a:cubicBezTo>
                    <a:cubicBezTo>
                      <a:pt x="110" y="397"/>
                      <a:pt x="109" y="398"/>
                      <a:pt x="109" y="398"/>
                    </a:cubicBezTo>
                    <a:cubicBezTo>
                      <a:pt x="108" y="398"/>
                      <a:pt x="108" y="397"/>
                      <a:pt x="107" y="396"/>
                    </a:cubicBezTo>
                    <a:cubicBezTo>
                      <a:pt x="107" y="396"/>
                      <a:pt x="106" y="396"/>
                      <a:pt x="105" y="396"/>
                    </a:cubicBezTo>
                    <a:cubicBezTo>
                      <a:pt x="105" y="396"/>
                      <a:pt x="105" y="396"/>
                      <a:pt x="104" y="396"/>
                    </a:cubicBezTo>
                    <a:cubicBezTo>
                      <a:pt x="104" y="396"/>
                      <a:pt x="104" y="396"/>
                      <a:pt x="103" y="396"/>
                    </a:cubicBezTo>
                    <a:cubicBezTo>
                      <a:pt x="103" y="396"/>
                      <a:pt x="102" y="396"/>
                      <a:pt x="102" y="396"/>
                    </a:cubicBezTo>
                    <a:cubicBezTo>
                      <a:pt x="98" y="394"/>
                      <a:pt x="94" y="386"/>
                      <a:pt x="91" y="386"/>
                    </a:cubicBezTo>
                    <a:cubicBezTo>
                      <a:pt x="90" y="386"/>
                      <a:pt x="88" y="387"/>
                      <a:pt x="87" y="390"/>
                    </a:cubicBezTo>
                    <a:cubicBezTo>
                      <a:pt x="88" y="389"/>
                      <a:pt x="88" y="390"/>
                      <a:pt x="89" y="388"/>
                    </a:cubicBezTo>
                    <a:cubicBezTo>
                      <a:pt x="93" y="394"/>
                      <a:pt x="99" y="399"/>
                      <a:pt x="105" y="402"/>
                    </a:cubicBezTo>
                    <a:cubicBezTo>
                      <a:pt x="105" y="403"/>
                      <a:pt x="105" y="403"/>
                      <a:pt x="105" y="403"/>
                    </a:cubicBezTo>
                    <a:cubicBezTo>
                      <a:pt x="100" y="400"/>
                      <a:pt x="96" y="398"/>
                      <a:pt x="91" y="395"/>
                    </a:cubicBezTo>
                    <a:cubicBezTo>
                      <a:pt x="88" y="393"/>
                      <a:pt x="86" y="392"/>
                      <a:pt x="84" y="392"/>
                    </a:cubicBezTo>
                    <a:cubicBezTo>
                      <a:pt x="83" y="392"/>
                      <a:pt x="81" y="393"/>
                      <a:pt x="78" y="393"/>
                    </a:cubicBezTo>
                    <a:cubicBezTo>
                      <a:pt x="77" y="394"/>
                      <a:pt x="76" y="394"/>
                      <a:pt x="75" y="394"/>
                    </a:cubicBezTo>
                    <a:cubicBezTo>
                      <a:pt x="74" y="394"/>
                      <a:pt x="74" y="394"/>
                      <a:pt x="74" y="394"/>
                    </a:cubicBezTo>
                    <a:cubicBezTo>
                      <a:pt x="73" y="393"/>
                      <a:pt x="70" y="390"/>
                      <a:pt x="69" y="390"/>
                    </a:cubicBezTo>
                    <a:cubicBezTo>
                      <a:pt x="69" y="390"/>
                      <a:pt x="69" y="390"/>
                      <a:pt x="69" y="390"/>
                    </a:cubicBezTo>
                    <a:cubicBezTo>
                      <a:pt x="65" y="391"/>
                      <a:pt x="61" y="392"/>
                      <a:pt x="59" y="394"/>
                    </a:cubicBezTo>
                    <a:cubicBezTo>
                      <a:pt x="60" y="395"/>
                      <a:pt x="61" y="396"/>
                      <a:pt x="62" y="397"/>
                    </a:cubicBezTo>
                    <a:cubicBezTo>
                      <a:pt x="64" y="398"/>
                      <a:pt x="66" y="397"/>
                      <a:pt x="67" y="399"/>
                    </a:cubicBezTo>
                    <a:cubicBezTo>
                      <a:pt x="67" y="399"/>
                      <a:pt x="67" y="398"/>
                      <a:pt x="67" y="398"/>
                    </a:cubicBezTo>
                    <a:cubicBezTo>
                      <a:pt x="64" y="398"/>
                      <a:pt x="62" y="401"/>
                      <a:pt x="61" y="402"/>
                    </a:cubicBezTo>
                    <a:cubicBezTo>
                      <a:pt x="67" y="402"/>
                      <a:pt x="73" y="403"/>
                      <a:pt x="79" y="403"/>
                    </a:cubicBezTo>
                    <a:cubicBezTo>
                      <a:pt x="79" y="403"/>
                      <a:pt x="79" y="403"/>
                      <a:pt x="79" y="403"/>
                    </a:cubicBezTo>
                    <a:cubicBezTo>
                      <a:pt x="83" y="403"/>
                      <a:pt x="87" y="400"/>
                      <a:pt x="91" y="400"/>
                    </a:cubicBezTo>
                    <a:cubicBezTo>
                      <a:pt x="91" y="404"/>
                      <a:pt x="77" y="403"/>
                      <a:pt x="73" y="407"/>
                    </a:cubicBezTo>
                    <a:cubicBezTo>
                      <a:pt x="72" y="409"/>
                      <a:pt x="76" y="409"/>
                      <a:pt x="79" y="409"/>
                    </a:cubicBezTo>
                    <a:cubicBezTo>
                      <a:pt x="81" y="409"/>
                      <a:pt x="83" y="409"/>
                      <a:pt x="83" y="409"/>
                    </a:cubicBezTo>
                    <a:cubicBezTo>
                      <a:pt x="80" y="410"/>
                      <a:pt x="78" y="411"/>
                      <a:pt x="76" y="411"/>
                    </a:cubicBezTo>
                    <a:cubicBezTo>
                      <a:pt x="76" y="411"/>
                      <a:pt x="75" y="411"/>
                      <a:pt x="73" y="410"/>
                    </a:cubicBezTo>
                    <a:cubicBezTo>
                      <a:pt x="71" y="409"/>
                      <a:pt x="69" y="407"/>
                      <a:pt x="66" y="407"/>
                    </a:cubicBezTo>
                    <a:cubicBezTo>
                      <a:pt x="66" y="407"/>
                      <a:pt x="65" y="407"/>
                      <a:pt x="64" y="407"/>
                    </a:cubicBezTo>
                    <a:cubicBezTo>
                      <a:pt x="61" y="407"/>
                      <a:pt x="58" y="407"/>
                      <a:pt x="56" y="407"/>
                    </a:cubicBezTo>
                    <a:cubicBezTo>
                      <a:pt x="54" y="408"/>
                      <a:pt x="39" y="408"/>
                      <a:pt x="41" y="411"/>
                    </a:cubicBezTo>
                    <a:cubicBezTo>
                      <a:pt x="41" y="411"/>
                      <a:pt x="46" y="411"/>
                      <a:pt x="49" y="411"/>
                    </a:cubicBezTo>
                    <a:cubicBezTo>
                      <a:pt x="49" y="411"/>
                      <a:pt x="50" y="411"/>
                      <a:pt x="50" y="411"/>
                    </a:cubicBezTo>
                    <a:cubicBezTo>
                      <a:pt x="48" y="412"/>
                      <a:pt x="46" y="412"/>
                      <a:pt x="44" y="413"/>
                    </a:cubicBezTo>
                    <a:cubicBezTo>
                      <a:pt x="45" y="414"/>
                      <a:pt x="46" y="415"/>
                      <a:pt x="47" y="415"/>
                    </a:cubicBezTo>
                    <a:cubicBezTo>
                      <a:pt x="48" y="415"/>
                      <a:pt x="50" y="414"/>
                      <a:pt x="52" y="413"/>
                    </a:cubicBezTo>
                    <a:cubicBezTo>
                      <a:pt x="52" y="413"/>
                      <a:pt x="53" y="413"/>
                      <a:pt x="53" y="413"/>
                    </a:cubicBezTo>
                    <a:cubicBezTo>
                      <a:pt x="55" y="413"/>
                      <a:pt x="57" y="415"/>
                      <a:pt x="60" y="416"/>
                    </a:cubicBezTo>
                    <a:cubicBezTo>
                      <a:pt x="61" y="417"/>
                      <a:pt x="59" y="420"/>
                      <a:pt x="62" y="421"/>
                    </a:cubicBezTo>
                    <a:cubicBezTo>
                      <a:pt x="65" y="421"/>
                      <a:pt x="67" y="422"/>
                      <a:pt x="69" y="423"/>
                    </a:cubicBezTo>
                    <a:cubicBezTo>
                      <a:pt x="68" y="422"/>
                      <a:pt x="66" y="422"/>
                      <a:pt x="65" y="422"/>
                    </a:cubicBezTo>
                    <a:cubicBezTo>
                      <a:pt x="63" y="422"/>
                      <a:pt x="62" y="422"/>
                      <a:pt x="62" y="424"/>
                    </a:cubicBezTo>
                    <a:cubicBezTo>
                      <a:pt x="62" y="428"/>
                      <a:pt x="63" y="428"/>
                      <a:pt x="67" y="429"/>
                    </a:cubicBezTo>
                    <a:cubicBezTo>
                      <a:pt x="66" y="429"/>
                      <a:pt x="66" y="429"/>
                      <a:pt x="65" y="429"/>
                    </a:cubicBezTo>
                    <a:cubicBezTo>
                      <a:pt x="64" y="429"/>
                      <a:pt x="63" y="429"/>
                      <a:pt x="62" y="429"/>
                    </a:cubicBezTo>
                    <a:cubicBezTo>
                      <a:pt x="62" y="430"/>
                      <a:pt x="61" y="430"/>
                      <a:pt x="60" y="430"/>
                    </a:cubicBezTo>
                    <a:cubicBezTo>
                      <a:pt x="60" y="430"/>
                      <a:pt x="59" y="430"/>
                      <a:pt x="59" y="430"/>
                    </a:cubicBezTo>
                    <a:cubicBezTo>
                      <a:pt x="61" y="427"/>
                      <a:pt x="63" y="424"/>
                      <a:pt x="60" y="421"/>
                    </a:cubicBezTo>
                    <a:cubicBezTo>
                      <a:pt x="59" y="420"/>
                      <a:pt x="60" y="417"/>
                      <a:pt x="59" y="416"/>
                    </a:cubicBezTo>
                    <a:cubicBezTo>
                      <a:pt x="58" y="415"/>
                      <a:pt x="54" y="415"/>
                      <a:pt x="52" y="415"/>
                    </a:cubicBezTo>
                    <a:cubicBezTo>
                      <a:pt x="52" y="415"/>
                      <a:pt x="52" y="415"/>
                      <a:pt x="52" y="415"/>
                    </a:cubicBezTo>
                    <a:cubicBezTo>
                      <a:pt x="50" y="415"/>
                      <a:pt x="45" y="416"/>
                      <a:pt x="45" y="418"/>
                    </a:cubicBezTo>
                    <a:cubicBezTo>
                      <a:pt x="44" y="421"/>
                      <a:pt x="50" y="423"/>
                      <a:pt x="50" y="425"/>
                    </a:cubicBezTo>
                    <a:cubicBezTo>
                      <a:pt x="50" y="426"/>
                      <a:pt x="50" y="427"/>
                      <a:pt x="49" y="427"/>
                    </a:cubicBezTo>
                    <a:cubicBezTo>
                      <a:pt x="47" y="427"/>
                      <a:pt x="45" y="420"/>
                      <a:pt x="44" y="420"/>
                    </a:cubicBezTo>
                    <a:cubicBezTo>
                      <a:pt x="43" y="419"/>
                      <a:pt x="42" y="418"/>
                      <a:pt x="41" y="418"/>
                    </a:cubicBezTo>
                    <a:cubicBezTo>
                      <a:pt x="41" y="418"/>
                      <a:pt x="40" y="419"/>
                      <a:pt x="39" y="420"/>
                    </a:cubicBezTo>
                    <a:cubicBezTo>
                      <a:pt x="37" y="421"/>
                      <a:pt x="34" y="422"/>
                      <a:pt x="33" y="423"/>
                    </a:cubicBezTo>
                    <a:cubicBezTo>
                      <a:pt x="31" y="426"/>
                      <a:pt x="34" y="426"/>
                      <a:pt x="36" y="429"/>
                    </a:cubicBezTo>
                    <a:cubicBezTo>
                      <a:pt x="36" y="429"/>
                      <a:pt x="35" y="428"/>
                      <a:pt x="34" y="428"/>
                    </a:cubicBezTo>
                    <a:cubicBezTo>
                      <a:pt x="32" y="428"/>
                      <a:pt x="31" y="431"/>
                      <a:pt x="29" y="433"/>
                    </a:cubicBezTo>
                    <a:cubicBezTo>
                      <a:pt x="31" y="431"/>
                      <a:pt x="28" y="428"/>
                      <a:pt x="27" y="426"/>
                    </a:cubicBezTo>
                    <a:cubicBezTo>
                      <a:pt x="25" y="427"/>
                      <a:pt x="25" y="428"/>
                      <a:pt x="24" y="428"/>
                    </a:cubicBezTo>
                    <a:cubicBezTo>
                      <a:pt x="23" y="428"/>
                      <a:pt x="22" y="427"/>
                      <a:pt x="21" y="427"/>
                    </a:cubicBezTo>
                    <a:cubicBezTo>
                      <a:pt x="20" y="426"/>
                      <a:pt x="19" y="426"/>
                      <a:pt x="19" y="426"/>
                    </a:cubicBezTo>
                    <a:cubicBezTo>
                      <a:pt x="18" y="426"/>
                      <a:pt x="17" y="426"/>
                      <a:pt x="17" y="427"/>
                    </a:cubicBezTo>
                    <a:cubicBezTo>
                      <a:pt x="16" y="428"/>
                      <a:pt x="18" y="432"/>
                      <a:pt x="18" y="434"/>
                    </a:cubicBezTo>
                    <a:cubicBezTo>
                      <a:pt x="17" y="432"/>
                      <a:pt x="13" y="425"/>
                      <a:pt x="11" y="425"/>
                    </a:cubicBezTo>
                    <a:cubicBezTo>
                      <a:pt x="11" y="425"/>
                      <a:pt x="11" y="425"/>
                      <a:pt x="11" y="425"/>
                    </a:cubicBezTo>
                    <a:cubicBezTo>
                      <a:pt x="8" y="425"/>
                      <a:pt x="14" y="432"/>
                      <a:pt x="17" y="433"/>
                    </a:cubicBezTo>
                    <a:cubicBezTo>
                      <a:pt x="15" y="435"/>
                      <a:pt x="11" y="436"/>
                      <a:pt x="9" y="437"/>
                    </a:cubicBezTo>
                    <a:cubicBezTo>
                      <a:pt x="17" y="437"/>
                      <a:pt x="24" y="438"/>
                      <a:pt x="32" y="439"/>
                    </a:cubicBezTo>
                    <a:cubicBezTo>
                      <a:pt x="34" y="440"/>
                      <a:pt x="36" y="440"/>
                      <a:pt x="38" y="440"/>
                    </a:cubicBezTo>
                    <a:cubicBezTo>
                      <a:pt x="42" y="440"/>
                      <a:pt x="45" y="439"/>
                      <a:pt x="49" y="439"/>
                    </a:cubicBezTo>
                    <a:cubicBezTo>
                      <a:pt x="42" y="441"/>
                      <a:pt x="37" y="442"/>
                      <a:pt x="31" y="446"/>
                    </a:cubicBezTo>
                    <a:cubicBezTo>
                      <a:pt x="30" y="444"/>
                      <a:pt x="30" y="442"/>
                      <a:pt x="31" y="440"/>
                    </a:cubicBezTo>
                    <a:cubicBezTo>
                      <a:pt x="29" y="441"/>
                      <a:pt x="28" y="441"/>
                      <a:pt x="27" y="441"/>
                    </a:cubicBezTo>
                    <a:cubicBezTo>
                      <a:pt x="26" y="441"/>
                      <a:pt x="25" y="441"/>
                      <a:pt x="25" y="441"/>
                    </a:cubicBezTo>
                    <a:cubicBezTo>
                      <a:pt x="23" y="440"/>
                      <a:pt x="19" y="438"/>
                      <a:pt x="17" y="438"/>
                    </a:cubicBezTo>
                    <a:cubicBezTo>
                      <a:pt x="17" y="438"/>
                      <a:pt x="17" y="438"/>
                      <a:pt x="16" y="438"/>
                    </a:cubicBezTo>
                    <a:cubicBezTo>
                      <a:pt x="15" y="438"/>
                      <a:pt x="13" y="439"/>
                      <a:pt x="12" y="441"/>
                    </a:cubicBezTo>
                    <a:cubicBezTo>
                      <a:pt x="10" y="441"/>
                      <a:pt x="8" y="441"/>
                      <a:pt x="5" y="441"/>
                    </a:cubicBezTo>
                    <a:cubicBezTo>
                      <a:pt x="4" y="441"/>
                      <a:pt x="2" y="441"/>
                      <a:pt x="0" y="441"/>
                    </a:cubicBezTo>
                    <a:cubicBezTo>
                      <a:pt x="2" y="441"/>
                      <a:pt x="2" y="443"/>
                      <a:pt x="2" y="444"/>
                    </a:cubicBezTo>
                    <a:cubicBezTo>
                      <a:pt x="5" y="442"/>
                      <a:pt x="9" y="442"/>
                      <a:pt x="12" y="441"/>
                    </a:cubicBezTo>
                    <a:cubicBezTo>
                      <a:pt x="9" y="443"/>
                      <a:pt x="6" y="446"/>
                      <a:pt x="4" y="448"/>
                    </a:cubicBezTo>
                    <a:cubicBezTo>
                      <a:pt x="8" y="449"/>
                      <a:pt x="11" y="450"/>
                      <a:pt x="15" y="450"/>
                    </a:cubicBezTo>
                    <a:cubicBezTo>
                      <a:pt x="12" y="451"/>
                      <a:pt x="8" y="450"/>
                      <a:pt x="5" y="452"/>
                    </a:cubicBezTo>
                    <a:cubicBezTo>
                      <a:pt x="6" y="452"/>
                      <a:pt x="6" y="452"/>
                      <a:pt x="6" y="452"/>
                    </a:cubicBezTo>
                    <a:cubicBezTo>
                      <a:pt x="7" y="452"/>
                      <a:pt x="8" y="451"/>
                      <a:pt x="9" y="451"/>
                    </a:cubicBezTo>
                    <a:cubicBezTo>
                      <a:pt x="11" y="451"/>
                      <a:pt x="12" y="451"/>
                      <a:pt x="13" y="451"/>
                    </a:cubicBezTo>
                    <a:cubicBezTo>
                      <a:pt x="14" y="451"/>
                      <a:pt x="15" y="451"/>
                      <a:pt x="17" y="452"/>
                    </a:cubicBezTo>
                    <a:cubicBezTo>
                      <a:pt x="15" y="452"/>
                      <a:pt x="14" y="452"/>
                      <a:pt x="13" y="452"/>
                    </a:cubicBezTo>
                    <a:cubicBezTo>
                      <a:pt x="12" y="452"/>
                      <a:pt x="12" y="452"/>
                      <a:pt x="11" y="452"/>
                    </a:cubicBezTo>
                    <a:cubicBezTo>
                      <a:pt x="12" y="453"/>
                      <a:pt x="14" y="453"/>
                      <a:pt x="15" y="454"/>
                    </a:cubicBezTo>
                    <a:cubicBezTo>
                      <a:pt x="14" y="455"/>
                      <a:pt x="14" y="456"/>
                      <a:pt x="13" y="456"/>
                    </a:cubicBezTo>
                    <a:cubicBezTo>
                      <a:pt x="18" y="456"/>
                      <a:pt x="22" y="456"/>
                      <a:pt x="27" y="456"/>
                    </a:cubicBezTo>
                    <a:cubicBezTo>
                      <a:pt x="22" y="457"/>
                      <a:pt x="11" y="456"/>
                      <a:pt x="7" y="459"/>
                    </a:cubicBezTo>
                    <a:cubicBezTo>
                      <a:pt x="8" y="460"/>
                      <a:pt x="8" y="461"/>
                      <a:pt x="7" y="463"/>
                    </a:cubicBezTo>
                    <a:cubicBezTo>
                      <a:pt x="11" y="462"/>
                      <a:pt x="15" y="461"/>
                      <a:pt x="19" y="461"/>
                    </a:cubicBezTo>
                    <a:cubicBezTo>
                      <a:pt x="20" y="461"/>
                      <a:pt x="22" y="461"/>
                      <a:pt x="23" y="462"/>
                    </a:cubicBezTo>
                    <a:cubicBezTo>
                      <a:pt x="23" y="462"/>
                      <a:pt x="23" y="462"/>
                      <a:pt x="23" y="462"/>
                    </a:cubicBezTo>
                    <a:cubicBezTo>
                      <a:pt x="18" y="462"/>
                      <a:pt x="7" y="462"/>
                      <a:pt x="5" y="467"/>
                    </a:cubicBezTo>
                    <a:cubicBezTo>
                      <a:pt x="8" y="469"/>
                      <a:pt x="13" y="474"/>
                      <a:pt x="16" y="474"/>
                    </a:cubicBezTo>
                    <a:cubicBezTo>
                      <a:pt x="16" y="474"/>
                      <a:pt x="16" y="474"/>
                      <a:pt x="16" y="474"/>
                    </a:cubicBezTo>
                    <a:cubicBezTo>
                      <a:pt x="23" y="473"/>
                      <a:pt x="29" y="472"/>
                      <a:pt x="35" y="471"/>
                    </a:cubicBezTo>
                    <a:cubicBezTo>
                      <a:pt x="35" y="471"/>
                      <a:pt x="35" y="471"/>
                      <a:pt x="35" y="471"/>
                    </a:cubicBezTo>
                    <a:cubicBezTo>
                      <a:pt x="37" y="471"/>
                      <a:pt x="38" y="471"/>
                      <a:pt x="39" y="472"/>
                    </a:cubicBezTo>
                    <a:cubicBezTo>
                      <a:pt x="41" y="472"/>
                      <a:pt x="42" y="473"/>
                      <a:pt x="43" y="473"/>
                    </a:cubicBezTo>
                    <a:cubicBezTo>
                      <a:pt x="44" y="473"/>
                      <a:pt x="44" y="473"/>
                      <a:pt x="45" y="473"/>
                    </a:cubicBezTo>
                    <a:cubicBezTo>
                      <a:pt x="47" y="472"/>
                      <a:pt x="49" y="469"/>
                      <a:pt x="51" y="467"/>
                    </a:cubicBezTo>
                    <a:cubicBezTo>
                      <a:pt x="50" y="469"/>
                      <a:pt x="54" y="469"/>
                      <a:pt x="57" y="470"/>
                    </a:cubicBezTo>
                    <a:cubicBezTo>
                      <a:pt x="59" y="470"/>
                      <a:pt x="61" y="470"/>
                      <a:pt x="63" y="470"/>
                    </a:cubicBezTo>
                    <a:cubicBezTo>
                      <a:pt x="65" y="470"/>
                      <a:pt x="66" y="470"/>
                      <a:pt x="68" y="470"/>
                    </a:cubicBezTo>
                    <a:cubicBezTo>
                      <a:pt x="69" y="470"/>
                      <a:pt x="71" y="470"/>
                      <a:pt x="72" y="470"/>
                    </a:cubicBezTo>
                    <a:cubicBezTo>
                      <a:pt x="72" y="470"/>
                      <a:pt x="72" y="470"/>
                      <a:pt x="72" y="470"/>
                    </a:cubicBezTo>
                    <a:cubicBezTo>
                      <a:pt x="71" y="469"/>
                      <a:pt x="68" y="466"/>
                      <a:pt x="69" y="465"/>
                    </a:cubicBezTo>
                    <a:cubicBezTo>
                      <a:pt x="69" y="463"/>
                      <a:pt x="71" y="463"/>
                      <a:pt x="70" y="461"/>
                    </a:cubicBezTo>
                    <a:cubicBezTo>
                      <a:pt x="70" y="461"/>
                      <a:pt x="70" y="461"/>
                      <a:pt x="70" y="461"/>
                    </a:cubicBezTo>
                    <a:cubicBezTo>
                      <a:pt x="73" y="461"/>
                      <a:pt x="76" y="458"/>
                      <a:pt x="78" y="457"/>
                    </a:cubicBezTo>
                    <a:cubicBezTo>
                      <a:pt x="76" y="459"/>
                      <a:pt x="68" y="465"/>
                      <a:pt x="72" y="468"/>
                    </a:cubicBezTo>
                    <a:cubicBezTo>
                      <a:pt x="73" y="469"/>
                      <a:pt x="73" y="469"/>
                      <a:pt x="74" y="469"/>
                    </a:cubicBezTo>
                    <a:cubicBezTo>
                      <a:pt x="76" y="469"/>
                      <a:pt x="79" y="468"/>
                      <a:pt x="81" y="467"/>
                    </a:cubicBezTo>
                    <a:cubicBezTo>
                      <a:pt x="77" y="469"/>
                      <a:pt x="73" y="470"/>
                      <a:pt x="69" y="471"/>
                    </a:cubicBezTo>
                    <a:cubicBezTo>
                      <a:pt x="65" y="473"/>
                      <a:pt x="61" y="474"/>
                      <a:pt x="64" y="478"/>
                    </a:cubicBezTo>
                    <a:cubicBezTo>
                      <a:pt x="64" y="479"/>
                      <a:pt x="68" y="480"/>
                      <a:pt x="66" y="482"/>
                    </a:cubicBezTo>
                    <a:cubicBezTo>
                      <a:pt x="65" y="482"/>
                      <a:pt x="65" y="482"/>
                      <a:pt x="64" y="482"/>
                    </a:cubicBezTo>
                    <a:cubicBezTo>
                      <a:pt x="64" y="482"/>
                      <a:pt x="63" y="482"/>
                      <a:pt x="62" y="481"/>
                    </a:cubicBezTo>
                    <a:cubicBezTo>
                      <a:pt x="61" y="481"/>
                      <a:pt x="60" y="481"/>
                      <a:pt x="59" y="481"/>
                    </a:cubicBezTo>
                    <a:cubicBezTo>
                      <a:pt x="59" y="481"/>
                      <a:pt x="58" y="481"/>
                      <a:pt x="58" y="481"/>
                    </a:cubicBezTo>
                    <a:cubicBezTo>
                      <a:pt x="59" y="479"/>
                      <a:pt x="60" y="478"/>
                      <a:pt x="61" y="476"/>
                    </a:cubicBezTo>
                    <a:cubicBezTo>
                      <a:pt x="59" y="475"/>
                      <a:pt x="55" y="471"/>
                      <a:pt x="52" y="471"/>
                    </a:cubicBezTo>
                    <a:cubicBezTo>
                      <a:pt x="51" y="471"/>
                      <a:pt x="51" y="471"/>
                      <a:pt x="51" y="471"/>
                    </a:cubicBezTo>
                    <a:cubicBezTo>
                      <a:pt x="49" y="473"/>
                      <a:pt x="44" y="475"/>
                      <a:pt x="44" y="477"/>
                    </a:cubicBezTo>
                    <a:cubicBezTo>
                      <a:pt x="41" y="476"/>
                      <a:pt x="39" y="473"/>
                      <a:pt x="35" y="473"/>
                    </a:cubicBezTo>
                    <a:cubicBezTo>
                      <a:pt x="35" y="473"/>
                      <a:pt x="35" y="473"/>
                      <a:pt x="34" y="473"/>
                    </a:cubicBezTo>
                    <a:cubicBezTo>
                      <a:pt x="29" y="474"/>
                      <a:pt x="24" y="475"/>
                      <a:pt x="18" y="475"/>
                    </a:cubicBezTo>
                    <a:cubicBezTo>
                      <a:pt x="18" y="475"/>
                      <a:pt x="18" y="475"/>
                      <a:pt x="18" y="475"/>
                    </a:cubicBezTo>
                    <a:cubicBezTo>
                      <a:pt x="16" y="475"/>
                      <a:pt x="13" y="474"/>
                      <a:pt x="11" y="474"/>
                    </a:cubicBezTo>
                    <a:cubicBezTo>
                      <a:pt x="10" y="474"/>
                      <a:pt x="9" y="474"/>
                      <a:pt x="9" y="474"/>
                    </a:cubicBezTo>
                    <a:cubicBezTo>
                      <a:pt x="5" y="475"/>
                      <a:pt x="9" y="478"/>
                      <a:pt x="11" y="479"/>
                    </a:cubicBezTo>
                    <a:cubicBezTo>
                      <a:pt x="10" y="480"/>
                      <a:pt x="8" y="481"/>
                      <a:pt x="7" y="483"/>
                    </a:cubicBezTo>
                    <a:cubicBezTo>
                      <a:pt x="6" y="482"/>
                      <a:pt x="5" y="481"/>
                      <a:pt x="5" y="479"/>
                    </a:cubicBezTo>
                    <a:cubicBezTo>
                      <a:pt x="6" y="483"/>
                      <a:pt x="6" y="484"/>
                      <a:pt x="8" y="484"/>
                    </a:cubicBezTo>
                    <a:cubicBezTo>
                      <a:pt x="9" y="484"/>
                      <a:pt x="11" y="484"/>
                      <a:pt x="12" y="484"/>
                    </a:cubicBezTo>
                    <a:cubicBezTo>
                      <a:pt x="14" y="484"/>
                      <a:pt x="15" y="483"/>
                      <a:pt x="17" y="483"/>
                    </a:cubicBezTo>
                    <a:cubicBezTo>
                      <a:pt x="11" y="484"/>
                      <a:pt x="13" y="488"/>
                      <a:pt x="16" y="490"/>
                    </a:cubicBezTo>
                    <a:cubicBezTo>
                      <a:pt x="14" y="491"/>
                      <a:pt x="7" y="496"/>
                      <a:pt x="13" y="496"/>
                    </a:cubicBezTo>
                    <a:cubicBezTo>
                      <a:pt x="13" y="496"/>
                      <a:pt x="13" y="496"/>
                      <a:pt x="13" y="496"/>
                    </a:cubicBezTo>
                    <a:cubicBezTo>
                      <a:pt x="15" y="496"/>
                      <a:pt x="17" y="494"/>
                      <a:pt x="19" y="493"/>
                    </a:cubicBezTo>
                    <a:cubicBezTo>
                      <a:pt x="21" y="491"/>
                      <a:pt x="23" y="489"/>
                      <a:pt x="25" y="489"/>
                    </a:cubicBezTo>
                    <a:cubicBezTo>
                      <a:pt x="26" y="489"/>
                      <a:pt x="26" y="489"/>
                      <a:pt x="27" y="490"/>
                    </a:cubicBezTo>
                    <a:cubicBezTo>
                      <a:pt x="26" y="493"/>
                      <a:pt x="24" y="496"/>
                      <a:pt x="23" y="500"/>
                    </a:cubicBezTo>
                    <a:cubicBezTo>
                      <a:pt x="22" y="501"/>
                      <a:pt x="22" y="501"/>
                      <a:pt x="21" y="501"/>
                    </a:cubicBezTo>
                    <a:cubicBezTo>
                      <a:pt x="20" y="501"/>
                      <a:pt x="19" y="501"/>
                      <a:pt x="17" y="501"/>
                    </a:cubicBezTo>
                    <a:cubicBezTo>
                      <a:pt x="16" y="501"/>
                      <a:pt x="14" y="498"/>
                      <a:pt x="13" y="498"/>
                    </a:cubicBezTo>
                    <a:cubicBezTo>
                      <a:pt x="13" y="498"/>
                      <a:pt x="12" y="498"/>
                      <a:pt x="12" y="498"/>
                    </a:cubicBezTo>
                    <a:cubicBezTo>
                      <a:pt x="9" y="504"/>
                      <a:pt x="9" y="504"/>
                      <a:pt x="13" y="510"/>
                    </a:cubicBezTo>
                    <a:cubicBezTo>
                      <a:pt x="14" y="511"/>
                      <a:pt x="15" y="513"/>
                      <a:pt x="17" y="513"/>
                    </a:cubicBezTo>
                    <a:cubicBezTo>
                      <a:pt x="17" y="513"/>
                      <a:pt x="17" y="513"/>
                      <a:pt x="17" y="513"/>
                    </a:cubicBezTo>
                    <a:cubicBezTo>
                      <a:pt x="19" y="513"/>
                      <a:pt x="21" y="508"/>
                      <a:pt x="23" y="506"/>
                    </a:cubicBezTo>
                    <a:cubicBezTo>
                      <a:pt x="23" y="507"/>
                      <a:pt x="20" y="513"/>
                      <a:pt x="21" y="513"/>
                    </a:cubicBezTo>
                    <a:cubicBezTo>
                      <a:pt x="21" y="513"/>
                      <a:pt x="21" y="513"/>
                      <a:pt x="21" y="513"/>
                    </a:cubicBezTo>
                    <a:cubicBezTo>
                      <a:pt x="23" y="513"/>
                      <a:pt x="25" y="512"/>
                      <a:pt x="27" y="511"/>
                    </a:cubicBezTo>
                    <a:cubicBezTo>
                      <a:pt x="27" y="512"/>
                      <a:pt x="24" y="521"/>
                      <a:pt x="27" y="521"/>
                    </a:cubicBezTo>
                    <a:cubicBezTo>
                      <a:pt x="27" y="521"/>
                      <a:pt x="27" y="521"/>
                      <a:pt x="28" y="521"/>
                    </a:cubicBezTo>
                    <a:cubicBezTo>
                      <a:pt x="29" y="521"/>
                      <a:pt x="29" y="516"/>
                      <a:pt x="30" y="515"/>
                    </a:cubicBezTo>
                    <a:cubicBezTo>
                      <a:pt x="30" y="514"/>
                      <a:pt x="33" y="512"/>
                      <a:pt x="34" y="512"/>
                    </a:cubicBezTo>
                    <a:cubicBezTo>
                      <a:pt x="39" y="508"/>
                      <a:pt x="44" y="503"/>
                      <a:pt x="49" y="501"/>
                    </a:cubicBezTo>
                    <a:cubicBezTo>
                      <a:pt x="53" y="500"/>
                      <a:pt x="57" y="499"/>
                      <a:pt x="60" y="499"/>
                    </a:cubicBezTo>
                    <a:cubicBezTo>
                      <a:pt x="62" y="499"/>
                      <a:pt x="63" y="499"/>
                      <a:pt x="65" y="499"/>
                    </a:cubicBezTo>
                    <a:cubicBezTo>
                      <a:pt x="59" y="500"/>
                      <a:pt x="57" y="499"/>
                      <a:pt x="54" y="504"/>
                    </a:cubicBezTo>
                    <a:cubicBezTo>
                      <a:pt x="52" y="508"/>
                      <a:pt x="50" y="512"/>
                      <a:pt x="48" y="516"/>
                    </a:cubicBezTo>
                    <a:cubicBezTo>
                      <a:pt x="49" y="512"/>
                      <a:pt x="49" y="507"/>
                      <a:pt x="51" y="504"/>
                    </a:cubicBezTo>
                    <a:cubicBezTo>
                      <a:pt x="51" y="504"/>
                      <a:pt x="51" y="504"/>
                      <a:pt x="50" y="504"/>
                    </a:cubicBezTo>
                    <a:cubicBezTo>
                      <a:pt x="45" y="504"/>
                      <a:pt x="42" y="507"/>
                      <a:pt x="38" y="510"/>
                    </a:cubicBezTo>
                    <a:cubicBezTo>
                      <a:pt x="36" y="511"/>
                      <a:pt x="34" y="514"/>
                      <a:pt x="38" y="515"/>
                    </a:cubicBezTo>
                    <a:cubicBezTo>
                      <a:pt x="38" y="515"/>
                      <a:pt x="38" y="515"/>
                      <a:pt x="39" y="515"/>
                    </a:cubicBezTo>
                    <a:cubicBezTo>
                      <a:pt x="39" y="515"/>
                      <a:pt x="39" y="515"/>
                      <a:pt x="40" y="514"/>
                    </a:cubicBezTo>
                    <a:cubicBezTo>
                      <a:pt x="40" y="514"/>
                      <a:pt x="41" y="514"/>
                      <a:pt x="41" y="514"/>
                    </a:cubicBezTo>
                    <a:cubicBezTo>
                      <a:pt x="41" y="514"/>
                      <a:pt x="41" y="515"/>
                      <a:pt x="40" y="516"/>
                    </a:cubicBezTo>
                    <a:cubicBezTo>
                      <a:pt x="38" y="518"/>
                      <a:pt x="35" y="519"/>
                      <a:pt x="32" y="520"/>
                    </a:cubicBezTo>
                    <a:cubicBezTo>
                      <a:pt x="31" y="521"/>
                      <a:pt x="32" y="522"/>
                      <a:pt x="32" y="523"/>
                    </a:cubicBezTo>
                    <a:cubicBezTo>
                      <a:pt x="30" y="523"/>
                      <a:pt x="29" y="524"/>
                      <a:pt x="28" y="525"/>
                    </a:cubicBezTo>
                    <a:cubicBezTo>
                      <a:pt x="26" y="526"/>
                      <a:pt x="25" y="526"/>
                      <a:pt x="24" y="528"/>
                    </a:cubicBezTo>
                    <a:cubicBezTo>
                      <a:pt x="25" y="528"/>
                      <a:pt x="26" y="529"/>
                      <a:pt x="27" y="529"/>
                    </a:cubicBezTo>
                    <a:cubicBezTo>
                      <a:pt x="29" y="530"/>
                      <a:pt x="32" y="530"/>
                      <a:pt x="35" y="530"/>
                    </a:cubicBezTo>
                    <a:cubicBezTo>
                      <a:pt x="33" y="532"/>
                      <a:pt x="28" y="533"/>
                      <a:pt x="28" y="536"/>
                    </a:cubicBezTo>
                    <a:cubicBezTo>
                      <a:pt x="28" y="537"/>
                      <a:pt x="27" y="538"/>
                      <a:pt x="26" y="538"/>
                    </a:cubicBezTo>
                    <a:cubicBezTo>
                      <a:pt x="26" y="538"/>
                      <a:pt x="25" y="538"/>
                      <a:pt x="25" y="538"/>
                    </a:cubicBezTo>
                    <a:cubicBezTo>
                      <a:pt x="26" y="537"/>
                      <a:pt x="24" y="535"/>
                      <a:pt x="22" y="535"/>
                    </a:cubicBezTo>
                    <a:cubicBezTo>
                      <a:pt x="22" y="535"/>
                      <a:pt x="22" y="535"/>
                      <a:pt x="21" y="535"/>
                    </a:cubicBezTo>
                    <a:cubicBezTo>
                      <a:pt x="21" y="536"/>
                      <a:pt x="19" y="540"/>
                      <a:pt x="18" y="541"/>
                    </a:cubicBezTo>
                    <a:cubicBezTo>
                      <a:pt x="18" y="541"/>
                      <a:pt x="17" y="542"/>
                      <a:pt x="16" y="542"/>
                    </a:cubicBezTo>
                    <a:cubicBezTo>
                      <a:pt x="15" y="542"/>
                      <a:pt x="15" y="541"/>
                      <a:pt x="14" y="541"/>
                    </a:cubicBezTo>
                    <a:cubicBezTo>
                      <a:pt x="19" y="539"/>
                      <a:pt x="19" y="538"/>
                      <a:pt x="19" y="532"/>
                    </a:cubicBezTo>
                    <a:cubicBezTo>
                      <a:pt x="17" y="533"/>
                      <a:pt x="17" y="534"/>
                      <a:pt x="16" y="535"/>
                    </a:cubicBezTo>
                    <a:cubicBezTo>
                      <a:pt x="13" y="537"/>
                      <a:pt x="13" y="537"/>
                      <a:pt x="13" y="537"/>
                    </a:cubicBezTo>
                    <a:cubicBezTo>
                      <a:pt x="12" y="539"/>
                      <a:pt x="13" y="542"/>
                      <a:pt x="11" y="544"/>
                    </a:cubicBezTo>
                    <a:cubicBezTo>
                      <a:pt x="15" y="545"/>
                      <a:pt x="16" y="547"/>
                      <a:pt x="19" y="550"/>
                    </a:cubicBezTo>
                    <a:cubicBezTo>
                      <a:pt x="19" y="550"/>
                      <a:pt x="19" y="550"/>
                      <a:pt x="20" y="550"/>
                    </a:cubicBezTo>
                    <a:cubicBezTo>
                      <a:pt x="20" y="550"/>
                      <a:pt x="20" y="550"/>
                      <a:pt x="21" y="549"/>
                    </a:cubicBezTo>
                    <a:cubicBezTo>
                      <a:pt x="22" y="548"/>
                      <a:pt x="21" y="543"/>
                      <a:pt x="21" y="542"/>
                    </a:cubicBezTo>
                    <a:cubicBezTo>
                      <a:pt x="22" y="545"/>
                      <a:pt x="22" y="548"/>
                      <a:pt x="23" y="551"/>
                    </a:cubicBezTo>
                    <a:cubicBezTo>
                      <a:pt x="23" y="550"/>
                      <a:pt x="25" y="550"/>
                      <a:pt x="25" y="548"/>
                    </a:cubicBezTo>
                    <a:cubicBezTo>
                      <a:pt x="27" y="544"/>
                      <a:pt x="24" y="544"/>
                      <a:pt x="29" y="543"/>
                    </a:cubicBezTo>
                    <a:cubicBezTo>
                      <a:pt x="31" y="542"/>
                      <a:pt x="32" y="542"/>
                      <a:pt x="34" y="542"/>
                    </a:cubicBezTo>
                    <a:cubicBezTo>
                      <a:pt x="35" y="542"/>
                      <a:pt x="37" y="542"/>
                      <a:pt x="38" y="543"/>
                    </a:cubicBezTo>
                    <a:cubicBezTo>
                      <a:pt x="35" y="543"/>
                      <a:pt x="34" y="544"/>
                      <a:pt x="32" y="547"/>
                    </a:cubicBezTo>
                    <a:cubicBezTo>
                      <a:pt x="35" y="546"/>
                      <a:pt x="37" y="545"/>
                      <a:pt x="38" y="543"/>
                    </a:cubicBezTo>
                    <a:cubicBezTo>
                      <a:pt x="39" y="541"/>
                      <a:pt x="40" y="539"/>
                      <a:pt x="42" y="538"/>
                    </a:cubicBezTo>
                    <a:cubicBezTo>
                      <a:pt x="42" y="538"/>
                      <a:pt x="42" y="538"/>
                      <a:pt x="43" y="538"/>
                    </a:cubicBezTo>
                    <a:cubicBezTo>
                      <a:pt x="44" y="538"/>
                      <a:pt x="47" y="539"/>
                      <a:pt x="49" y="540"/>
                    </a:cubicBezTo>
                    <a:cubicBezTo>
                      <a:pt x="49" y="540"/>
                      <a:pt x="48" y="540"/>
                      <a:pt x="48" y="540"/>
                    </a:cubicBezTo>
                    <a:cubicBezTo>
                      <a:pt x="43" y="540"/>
                      <a:pt x="37" y="545"/>
                      <a:pt x="33" y="548"/>
                    </a:cubicBezTo>
                    <a:cubicBezTo>
                      <a:pt x="38" y="548"/>
                      <a:pt x="43" y="548"/>
                      <a:pt x="47" y="550"/>
                    </a:cubicBezTo>
                    <a:cubicBezTo>
                      <a:pt x="47" y="550"/>
                      <a:pt x="47" y="550"/>
                      <a:pt x="47" y="550"/>
                    </a:cubicBezTo>
                    <a:cubicBezTo>
                      <a:pt x="43" y="550"/>
                      <a:pt x="31" y="556"/>
                      <a:pt x="30" y="559"/>
                    </a:cubicBezTo>
                    <a:cubicBezTo>
                      <a:pt x="30" y="562"/>
                      <a:pt x="32" y="562"/>
                      <a:pt x="36" y="562"/>
                    </a:cubicBezTo>
                    <a:cubicBezTo>
                      <a:pt x="41" y="562"/>
                      <a:pt x="49" y="561"/>
                      <a:pt x="51" y="561"/>
                    </a:cubicBezTo>
                    <a:cubicBezTo>
                      <a:pt x="49" y="561"/>
                      <a:pt x="46" y="562"/>
                      <a:pt x="44" y="562"/>
                    </a:cubicBezTo>
                    <a:cubicBezTo>
                      <a:pt x="39" y="563"/>
                      <a:pt x="39" y="564"/>
                      <a:pt x="38" y="570"/>
                    </a:cubicBezTo>
                    <a:cubicBezTo>
                      <a:pt x="34" y="568"/>
                      <a:pt x="32" y="567"/>
                      <a:pt x="28" y="566"/>
                    </a:cubicBezTo>
                    <a:cubicBezTo>
                      <a:pt x="26" y="566"/>
                      <a:pt x="25" y="566"/>
                      <a:pt x="24" y="564"/>
                    </a:cubicBezTo>
                    <a:cubicBezTo>
                      <a:pt x="23" y="563"/>
                      <a:pt x="23" y="562"/>
                      <a:pt x="21" y="562"/>
                    </a:cubicBezTo>
                    <a:cubicBezTo>
                      <a:pt x="21" y="562"/>
                      <a:pt x="21" y="563"/>
                      <a:pt x="20" y="563"/>
                    </a:cubicBezTo>
                    <a:cubicBezTo>
                      <a:pt x="22" y="565"/>
                      <a:pt x="23" y="565"/>
                      <a:pt x="22" y="567"/>
                    </a:cubicBezTo>
                    <a:cubicBezTo>
                      <a:pt x="22" y="567"/>
                      <a:pt x="20" y="568"/>
                      <a:pt x="20" y="569"/>
                    </a:cubicBezTo>
                    <a:cubicBezTo>
                      <a:pt x="19" y="570"/>
                      <a:pt x="19" y="572"/>
                      <a:pt x="19" y="574"/>
                    </a:cubicBezTo>
                    <a:cubicBezTo>
                      <a:pt x="18" y="576"/>
                      <a:pt x="26" y="584"/>
                      <a:pt x="28" y="585"/>
                    </a:cubicBezTo>
                    <a:cubicBezTo>
                      <a:pt x="33" y="588"/>
                      <a:pt x="39" y="592"/>
                      <a:pt x="44" y="593"/>
                    </a:cubicBezTo>
                    <a:cubicBezTo>
                      <a:pt x="46" y="593"/>
                      <a:pt x="49" y="594"/>
                      <a:pt x="51" y="594"/>
                    </a:cubicBezTo>
                    <a:cubicBezTo>
                      <a:pt x="52" y="594"/>
                      <a:pt x="52" y="594"/>
                      <a:pt x="53" y="594"/>
                    </a:cubicBezTo>
                    <a:cubicBezTo>
                      <a:pt x="55" y="594"/>
                      <a:pt x="57" y="593"/>
                      <a:pt x="58" y="593"/>
                    </a:cubicBezTo>
                    <a:cubicBezTo>
                      <a:pt x="58" y="593"/>
                      <a:pt x="58" y="593"/>
                      <a:pt x="58" y="593"/>
                    </a:cubicBezTo>
                    <a:cubicBezTo>
                      <a:pt x="55" y="595"/>
                      <a:pt x="51" y="596"/>
                      <a:pt x="49" y="600"/>
                    </a:cubicBezTo>
                    <a:cubicBezTo>
                      <a:pt x="51" y="602"/>
                      <a:pt x="56" y="602"/>
                      <a:pt x="59" y="602"/>
                    </a:cubicBezTo>
                    <a:cubicBezTo>
                      <a:pt x="59" y="602"/>
                      <a:pt x="59" y="602"/>
                      <a:pt x="60" y="602"/>
                    </a:cubicBezTo>
                    <a:cubicBezTo>
                      <a:pt x="63" y="602"/>
                      <a:pt x="63" y="600"/>
                      <a:pt x="66" y="599"/>
                    </a:cubicBezTo>
                    <a:cubicBezTo>
                      <a:pt x="65" y="601"/>
                      <a:pt x="63" y="603"/>
                      <a:pt x="62" y="605"/>
                    </a:cubicBezTo>
                    <a:cubicBezTo>
                      <a:pt x="63" y="604"/>
                      <a:pt x="64" y="603"/>
                      <a:pt x="65" y="603"/>
                    </a:cubicBezTo>
                    <a:cubicBezTo>
                      <a:pt x="66" y="603"/>
                      <a:pt x="67" y="602"/>
                      <a:pt x="68" y="602"/>
                    </a:cubicBezTo>
                    <a:cubicBezTo>
                      <a:pt x="70" y="602"/>
                      <a:pt x="72" y="603"/>
                      <a:pt x="74" y="603"/>
                    </a:cubicBezTo>
                    <a:cubicBezTo>
                      <a:pt x="74" y="603"/>
                      <a:pt x="74" y="603"/>
                      <a:pt x="74" y="603"/>
                    </a:cubicBezTo>
                    <a:cubicBezTo>
                      <a:pt x="76" y="603"/>
                      <a:pt x="80" y="600"/>
                      <a:pt x="82" y="600"/>
                    </a:cubicBezTo>
                    <a:cubicBezTo>
                      <a:pt x="90" y="599"/>
                      <a:pt x="97" y="596"/>
                      <a:pt x="104" y="593"/>
                    </a:cubicBezTo>
                    <a:cubicBezTo>
                      <a:pt x="107" y="592"/>
                      <a:pt x="109" y="588"/>
                      <a:pt x="111" y="586"/>
                    </a:cubicBezTo>
                    <a:cubicBezTo>
                      <a:pt x="113" y="584"/>
                      <a:pt x="118" y="582"/>
                      <a:pt x="116" y="579"/>
                    </a:cubicBezTo>
                    <a:cubicBezTo>
                      <a:pt x="118" y="578"/>
                      <a:pt x="124" y="577"/>
                      <a:pt x="125" y="575"/>
                    </a:cubicBezTo>
                    <a:cubicBezTo>
                      <a:pt x="123" y="575"/>
                      <a:pt x="122" y="574"/>
                      <a:pt x="120" y="573"/>
                    </a:cubicBezTo>
                    <a:cubicBezTo>
                      <a:pt x="123" y="573"/>
                      <a:pt x="126" y="573"/>
                      <a:pt x="129" y="572"/>
                    </a:cubicBezTo>
                    <a:cubicBezTo>
                      <a:pt x="128" y="571"/>
                      <a:pt x="127" y="569"/>
                      <a:pt x="127" y="568"/>
                    </a:cubicBezTo>
                    <a:cubicBezTo>
                      <a:pt x="127" y="568"/>
                      <a:pt x="127" y="568"/>
                      <a:pt x="127" y="568"/>
                    </a:cubicBezTo>
                    <a:cubicBezTo>
                      <a:pt x="130" y="568"/>
                      <a:pt x="136" y="564"/>
                      <a:pt x="138" y="563"/>
                    </a:cubicBezTo>
                    <a:cubicBezTo>
                      <a:pt x="136" y="562"/>
                      <a:pt x="135" y="560"/>
                      <a:pt x="133" y="558"/>
                    </a:cubicBezTo>
                    <a:cubicBezTo>
                      <a:pt x="138" y="558"/>
                      <a:pt x="140" y="561"/>
                      <a:pt x="145" y="561"/>
                    </a:cubicBezTo>
                    <a:cubicBezTo>
                      <a:pt x="145" y="561"/>
                      <a:pt x="146" y="562"/>
                      <a:pt x="147" y="562"/>
                    </a:cubicBezTo>
                    <a:cubicBezTo>
                      <a:pt x="149" y="562"/>
                      <a:pt x="150" y="561"/>
                      <a:pt x="153" y="558"/>
                    </a:cubicBezTo>
                    <a:cubicBezTo>
                      <a:pt x="155" y="556"/>
                      <a:pt x="156" y="554"/>
                      <a:pt x="157" y="551"/>
                    </a:cubicBezTo>
                    <a:cubicBezTo>
                      <a:pt x="158" y="554"/>
                      <a:pt x="159" y="555"/>
                      <a:pt x="159" y="555"/>
                    </a:cubicBezTo>
                    <a:cubicBezTo>
                      <a:pt x="160" y="555"/>
                      <a:pt x="161" y="551"/>
                      <a:pt x="160" y="548"/>
                    </a:cubicBezTo>
                    <a:cubicBezTo>
                      <a:pt x="160" y="545"/>
                      <a:pt x="155" y="542"/>
                      <a:pt x="153" y="539"/>
                    </a:cubicBezTo>
                    <a:cubicBezTo>
                      <a:pt x="154" y="539"/>
                      <a:pt x="155" y="539"/>
                      <a:pt x="156" y="539"/>
                    </a:cubicBezTo>
                    <a:cubicBezTo>
                      <a:pt x="157" y="539"/>
                      <a:pt x="158" y="539"/>
                      <a:pt x="158" y="537"/>
                    </a:cubicBezTo>
                    <a:cubicBezTo>
                      <a:pt x="160" y="538"/>
                      <a:pt x="162" y="538"/>
                      <a:pt x="162" y="538"/>
                    </a:cubicBezTo>
                    <a:cubicBezTo>
                      <a:pt x="165" y="538"/>
                      <a:pt x="163" y="536"/>
                      <a:pt x="161" y="533"/>
                    </a:cubicBezTo>
                    <a:cubicBezTo>
                      <a:pt x="160" y="529"/>
                      <a:pt x="161" y="526"/>
                      <a:pt x="164" y="525"/>
                    </a:cubicBezTo>
                    <a:cubicBezTo>
                      <a:pt x="164" y="525"/>
                      <a:pt x="165" y="525"/>
                      <a:pt x="165" y="525"/>
                    </a:cubicBezTo>
                    <a:cubicBezTo>
                      <a:pt x="168" y="525"/>
                      <a:pt x="167" y="530"/>
                      <a:pt x="167" y="531"/>
                    </a:cubicBezTo>
                    <a:cubicBezTo>
                      <a:pt x="167" y="531"/>
                      <a:pt x="166" y="530"/>
                      <a:pt x="166" y="529"/>
                    </a:cubicBezTo>
                    <a:cubicBezTo>
                      <a:pt x="162" y="531"/>
                      <a:pt x="163" y="531"/>
                      <a:pt x="164" y="536"/>
                    </a:cubicBezTo>
                    <a:cubicBezTo>
                      <a:pt x="165" y="538"/>
                      <a:pt x="166" y="541"/>
                      <a:pt x="166" y="543"/>
                    </a:cubicBezTo>
                    <a:cubicBezTo>
                      <a:pt x="165" y="546"/>
                      <a:pt x="164" y="548"/>
                      <a:pt x="167" y="549"/>
                    </a:cubicBezTo>
                    <a:cubicBezTo>
                      <a:pt x="169" y="550"/>
                      <a:pt x="168" y="554"/>
                      <a:pt x="170" y="556"/>
                    </a:cubicBezTo>
                    <a:cubicBezTo>
                      <a:pt x="170" y="556"/>
                      <a:pt x="171" y="556"/>
                      <a:pt x="172" y="556"/>
                    </a:cubicBezTo>
                    <a:cubicBezTo>
                      <a:pt x="172" y="556"/>
                      <a:pt x="173" y="556"/>
                      <a:pt x="174" y="556"/>
                    </a:cubicBezTo>
                    <a:cubicBezTo>
                      <a:pt x="175" y="556"/>
                      <a:pt x="176" y="556"/>
                      <a:pt x="177" y="556"/>
                    </a:cubicBezTo>
                    <a:cubicBezTo>
                      <a:pt x="178" y="556"/>
                      <a:pt x="178" y="556"/>
                      <a:pt x="179" y="556"/>
                    </a:cubicBezTo>
                    <a:cubicBezTo>
                      <a:pt x="179" y="556"/>
                      <a:pt x="179" y="556"/>
                      <a:pt x="179" y="556"/>
                    </a:cubicBezTo>
                    <a:cubicBezTo>
                      <a:pt x="180" y="557"/>
                      <a:pt x="180" y="557"/>
                      <a:pt x="180" y="557"/>
                    </a:cubicBezTo>
                    <a:cubicBezTo>
                      <a:pt x="182" y="556"/>
                      <a:pt x="182" y="556"/>
                      <a:pt x="182" y="556"/>
                    </a:cubicBezTo>
                    <a:cubicBezTo>
                      <a:pt x="183" y="557"/>
                      <a:pt x="183" y="557"/>
                      <a:pt x="183" y="557"/>
                    </a:cubicBezTo>
                    <a:cubicBezTo>
                      <a:pt x="184" y="558"/>
                      <a:pt x="188" y="560"/>
                      <a:pt x="191" y="561"/>
                    </a:cubicBezTo>
                    <a:cubicBezTo>
                      <a:pt x="191" y="561"/>
                      <a:pt x="191" y="561"/>
                      <a:pt x="191" y="561"/>
                    </a:cubicBezTo>
                    <a:cubicBezTo>
                      <a:pt x="194" y="552"/>
                      <a:pt x="194" y="552"/>
                      <a:pt x="194" y="552"/>
                    </a:cubicBezTo>
                    <a:cubicBezTo>
                      <a:pt x="194" y="551"/>
                      <a:pt x="193" y="546"/>
                      <a:pt x="193" y="544"/>
                    </a:cubicBezTo>
                    <a:cubicBezTo>
                      <a:pt x="193" y="543"/>
                      <a:pt x="192" y="542"/>
                      <a:pt x="192" y="541"/>
                    </a:cubicBezTo>
                    <a:cubicBezTo>
                      <a:pt x="192" y="537"/>
                      <a:pt x="192" y="535"/>
                      <a:pt x="194" y="532"/>
                    </a:cubicBezTo>
                    <a:cubicBezTo>
                      <a:pt x="195" y="531"/>
                      <a:pt x="195" y="531"/>
                      <a:pt x="195" y="531"/>
                    </a:cubicBezTo>
                    <a:cubicBezTo>
                      <a:pt x="195" y="530"/>
                      <a:pt x="196" y="529"/>
                      <a:pt x="196" y="529"/>
                    </a:cubicBezTo>
                    <a:cubicBezTo>
                      <a:pt x="196" y="529"/>
                      <a:pt x="196" y="529"/>
                      <a:pt x="196" y="529"/>
                    </a:cubicBezTo>
                    <a:cubicBezTo>
                      <a:pt x="196" y="528"/>
                      <a:pt x="196" y="528"/>
                      <a:pt x="196" y="528"/>
                    </a:cubicBezTo>
                    <a:cubicBezTo>
                      <a:pt x="196" y="528"/>
                      <a:pt x="196" y="528"/>
                      <a:pt x="196" y="528"/>
                    </a:cubicBezTo>
                    <a:cubicBezTo>
                      <a:pt x="196" y="527"/>
                      <a:pt x="196" y="527"/>
                      <a:pt x="196" y="527"/>
                    </a:cubicBezTo>
                    <a:cubicBezTo>
                      <a:pt x="195" y="526"/>
                      <a:pt x="195" y="526"/>
                      <a:pt x="195" y="526"/>
                    </a:cubicBezTo>
                    <a:cubicBezTo>
                      <a:pt x="195" y="526"/>
                      <a:pt x="195" y="526"/>
                      <a:pt x="195" y="526"/>
                    </a:cubicBezTo>
                    <a:cubicBezTo>
                      <a:pt x="195" y="526"/>
                      <a:pt x="195" y="526"/>
                      <a:pt x="195" y="526"/>
                    </a:cubicBezTo>
                    <a:cubicBezTo>
                      <a:pt x="196" y="525"/>
                      <a:pt x="196" y="525"/>
                      <a:pt x="196" y="525"/>
                    </a:cubicBezTo>
                    <a:cubicBezTo>
                      <a:pt x="196" y="523"/>
                      <a:pt x="198" y="522"/>
                      <a:pt x="199" y="522"/>
                    </a:cubicBezTo>
                    <a:cubicBezTo>
                      <a:pt x="205" y="520"/>
                      <a:pt x="205" y="520"/>
                      <a:pt x="205" y="520"/>
                    </a:cubicBezTo>
                    <a:cubicBezTo>
                      <a:pt x="206" y="519"/>
                      <a:pt x="206" y="519"/>
                      <a:pt x="207" y="519"/>
                    </a:cubicBezTo>
                    <a:cubicBezTo>
                      <a:pt x="210" y="518"/>
                      <a:pt x="210" y="518"/>
                      <a:pt x="210" y="517"/>
                    </a:cubicBezTo>
                    <a:cubicBezTo>
                      <a:pt x="210" y="516"/>
                      <a:pt x="210" y="516"/>
                      <a:pt x="210" y="516"/>
                    </a:cubicBezTo>
                    <a:cubicBezTo>
                      <a:pt x="211" y="516"/>
                      <a:pt x="211" y="516"/>
                      <a:pt x="211" y="516"/>
                    </a:cubicBezTo>
                    <a:cubicBezTo>
                      <a:pt x="211" y="513"/>
                      <a:pt x="211" y="513"/>
                      <a:pt x="211" y="513"/>
                    </a:cubicBezTo>
                    <a:cubicBezTo>
                      <a:pt x="212" y="509"/>
                      <a:pt x="214" y="506"/>
                      <a:pt x="215" y="502"/>
                    </a:cubicBezTo>
                    <a:cubicBezTo>
                      <a:pt x="215" y="500"/>
                      <a:pt x="215" y="500"/>
                      <a:pt x="215" y="500"/>
                    </a:cubicBezTo>
                    <a:cubicBezTo>
                      <a:pt x="216" y="497"/>
                      <a:pt x="213" y="492"/>
                      <a:pt x="211" y="487"/>
                    </a:cubicBezTo>
                    <a:cubicBezTo>
                      <a:pt x="210" y="487"/>
                      <a:pt x="210" y="487"/>
                      <a:pt x="210" y="487"/>
                    </a:cubicBezTo>
                    <a:cubicBezTo>
                      <a:pt x="209" y="484"/>
                      <a:pt x="207" y="481"/>
                      <a:pt x="207" y="478"/>
                    </a:cubicBezTo>
                    <a:cubicBezTo>
                      <a:pt x="205" y="474"/>
                      <a:pt x="205" y="474"/>
                      <a:pt x="205" y="474"/>
                    </a:cubicBezTo>
                    <a:cubicBezTo>
                      <a:pt x="209" y="474"/>
                      <a:pt x="209" y="474"/>
                      <a:pt x="209" y="474"/>
                    </a:cubicBezTo>
                    <a:cubicBezTo>
                      <a:pt x="210" y="474"/>
                      <a:pt x="212" y="474"/>
                      <a:pt x="213" y="474"/>
                    </a:cubicBezTo>
                    <a:cubicBezTo>
                      <a:pt x="213" y="474"/>
                      <a:pt x="213" y="474"/>
                      <a:pt x="213" y="474"/>
                    </a:cubicBezTo>
                    <a:cubicBezTo>
                      <a:pt x="216" y="473"/>
                      <a:pt x="218" y="473"/>
                      <a:pt x="219" y="473"/>
                    </a:cubicBezTo>
                    <a:cubicBezTo>
                      <a:pt x="220" y="472"/>
                      <a:pt x="220" y="472"/>
                      <a:pt x="220" y="472"/>
                    </a:cubicBezTo>
                    <a:cubicBezTo>
                      <a:pt x="221" y="470"/>
                      <a:pt x="223" y="467"/>
                      <a:pt x="223" y="466"/>
                    </a:cubicBezTo>
                    <a:cubicBezTo>
                      <a:pt x="223" y="466"/>
                      <a:pt x="223" y="465"/>
                      <a:pt x="222" y="463"/>
                    </a:cubicBezTo>
                    <a:cubicBezTo>
                      <a:pt x="222" y="463"/>
                      <a:pt x="222" y="463"/>
                      <a:pt x="222" y="463"/>
                    </a:cubicBezTo>
                    <a:cubicBezTo>
                      <a:pt x="221" y="462"/>
                      <a:pt x="221" y="461"/>
                      <a:pt x="216" y="457"/>
                    </a:cubicBezTo>
                    <a:cubicBezTo>
                      <a:pt x="215" y="457"/>
                      <a:pt x="214" y="456"/>
                      <a:pt x="213" y="455"/>
                    </a:cubicBezTo>
                    <a:cubicBezTo>
                      <a:pt x="212" y="455"/>
                      <a:pt x="212" y="455"/>
                      <a:pt x="212" y="455"/>
                    </a:cubicBezTo>
                    <a:cubicBezTo>
                      <a:pt x="211" y="454"/>
                      <a:pt x="210" y="453"/>
                      <a:pt x="210" y="453"/>
                    </a:cubicBezTo>
                    <a:cubicBezTo>
                      <a:pt x="209" y="452"/>
                      <a:pt x="208" y="452"/>
                      <a:pt x="208" y="451"/>
                    </a:cubicBezTo>
                    <a:cubicBezTo>
                      <a:pt x="208" y="451"/>
                      <a:pt x="207" y="451"/>
                      <a:pt x="207" y="450"/>
                    </a:cubicBezTo>
                    <a:cubicBezTo>
                      <a:pt x="205" y="448"/>
                      <a:pt x="204" y="446"/>
                      <a:pt x="205" y="442"/>
                    </a:cubicBezTo>
                    <a:cubicBezTo>
                      <a:pt x="208" y="422"/>
                      <a:pt x="208" y="422"/>
                      <a:pt x="208" y="422"/>
                    </a:cubicBezTo>
                    <a:cubicBezTo>
                      <a:pt x="209" y="422"/>
                      <a:pt x="208" y="420"/>
                      <a:pt x="205" y="415"/>
                    </a:cubicBezTo>
                    <a:cubicBezTo>
                      <a:pt x="204" y="414"/>
                      <a:pt x="204" y="413"/>
                      <a:pt x="203" y="412"/>
                    </a:cubicBezTo>
                    <a:cubicBezTo>
                      <a:pt x="202" y="410"/>
                      <a:pt x="202" y="408"/>
                      <a:pt x="202" y="406"/>
                    </a:cubicBezTo>
                    <a:cubicBezTo>
                      <a:pt x="202" y="405"/>
                      <a:pt x="203" y="405"/>
                      <a:pt x="203" y="404"/>
                    </a:cubicBezTo>
                    <a:cubicBezTo>
                      <a:pt x="204" y="401"/>
                      <a:pt x="204" y="398"/>
                      <a:pt x="205" y="395"/>
                    </a:cubicBezTo>
                    <a:cubicBezTo>
                      <a:pt x="205" y="392"/>
                      <a:pt x="205" y="392"/>
                      <a:pt x="205" y="392"/>
                    </a:cubicBezTo>
                    <a:cubicBezTo>
                      <a:pt x="205" y="390"/>
                      <a:pt x="205" y="389"/>
                      <a:pt x="204" y="387"/>
                    </a:cubicBezTo>
                    <a:cubicBezTo>
                      <a:pt x="204" y="387"/>
                      <a:pt x="204" y="386"/>
                      <a:pt x="203" y="385"/>
                    </a:cubicBezTo>
                    <a:cubicBezTo>
                      <a:pt x="203" y="384"/>
                      <a:pt x="203" y="384"/>
                      <a:pt x="203" y="384"/>
                    </a:cubicBezTo>
                    <a:cubicBezTo>
                      <a:pt x="202" y="384"/>
                      <a:pt x="202" y="383"/>
                      <a:pt x="202" y="383"/>
                    </a:cubicBezTo>
                    <a:cubicBezTo>
                      <a:pt x="201" y="381"/>
                      <a:pt x="201" y="381"/>
                      <a:pt x="201" y="381"/>
                    </a:cubicBezTo>
                    <a:cubicBezTo>
                      <a:pt x="201" y="380"/>
                      <a:pt x="200" y="380"/>
                      <a:pt x="200" y="379"/>
                    </a:cubicBezTo>
                    <a:cubicBezTo>
                      <a:pt x="200" y="377"/>
                      <a:pt x="200" y="375"/>
                      <a:pt x="201" y="372"/>
                    </a:cubicBezTo>
                    <a:cubicBezTo>
                      <a:pt x="202" y="369"/>
                      <a:pt x="202" y="369"/>
                      <a:pt x="202" y="369"/>
                    </a:cubicBezTo>
                    <a:cubicBezTo>
                      <a:pt x="204" y="366"/>
                      <a:pt x="205" y="363"/>
                      <a:pt x="207" y="360"/>
                    </a:cubicBezTo>
                    <a:cubicBezTo>
                      <a:pt x="215" y="351"/>
                      <a:pt x="215" y="351"/>
                      <a:pt x="215" y="351"/>
                    </a:cubicBezTo>
                    <a:cubicBezTo>
                      <a:pt x="218" y="347"/>
                      <a:pt x="221" y="344"/>
                      <a:pt x="225" y="342"/>
                    </a:cubicBezTo>
                    <a:cubicBezTo>
                      <a:pt x="226" y="342"/>
                      <a:pt x="226" y="342"/>
                      <a:pt x="226" y="342"/>
                    </a:cubicBezTo>
                    <a:cubicBezTo>
                      <a:pt x="227" y="342"/>
                      <a:pt x="227" y="341"/>
                      <a:pt x="228" y="341"/>
                    </a:cubicBezTo>
                    <a:cubicBezTo>
                      <a:pt x="228" y="341"/>
                      <a:pt x="229" y="341"/>
                      <a:pt x="229" y="340"/>
                    </a:cubicBezTo>
                    <a:cubicBezTo>
                      <a:pt x="230" y="340"/>
                      <a:pt x="230" y="340"/>
                      <a:pt x="230" y="340"/>
                    </a:cubicBezTo>
                    <a:cubicBezTo>
                      <a:pt x="232" y="339"/>
                      <a:pt x="234" y="338"/>
                      <a:pt x="237" y="338"/>
                    </a:cubicBezTo>
                    <a:cubicBezTo>
                      <a:pt x="238" y="338"/>
                      <a:pt x="238" y="338"/>
                      <a:pt x="239" y="338"/>
                    </a:cubicBezTo>
                    <a:cubicBezTo>
                      <a:pt x="255" y="340"/>
                      <a:pt x="255" y="340"/>
                      <a:pt x="255" y="340"/>
                    </a:cubicBezTo>
                    <a:cubicBezTo>
                      <a:pt x="255" y="340"/>
                      <a:pt x="255" y="340"/>
                      <a:pt x="256" y="340"/>
                    </a:cubicBezTo>
                    <a:cubicBezTo>
                      <a:pt x="257" y="340"/>
                      <a:pt x="258" y="340"/>
                      <a:pt x="259" y="336"/>
                    </a:cubicBezTo>
                    <a:cubicBezTo>
                      <a:pt x="260" y="334"/>
                      <a:pt x="260" y="332"/>
                      <a:pt x="260" y="330"/>
                    </a:cubicBezTo>
                    <a:cubicBezTo>
                      <a:pt x="259" y="329"/>
                      <a:pt x="259" y="329"/>
                      <a:pt x="259" y="329"/>
                    </a:cubicBezTo>
                    <a:cubicBezTo>
                      <a:pt x="259" y="328"/>
                      <a:pt x="259" y="328"/>
                      <a:pt x="259" y="328"/>
                    </a:cubicBezTo>
                    <a:cubicBezTo>
                      <a:pt x="259" y="327"/>
                      <a:pt x="259" y="327"/>
                      <a:pt x="257" y="326"/>
                    </a:cubicBezTo>
                    <a:cubicBezTo>
                      <a:pt x="257" y="325"/>
                      <a:pt x="255" y="325"/>
                      <a:pt x="255" y="323"/>
                    </a:cubicBezTo>
                    <a:cubicBezTo>
                      <a:pt x="254" y="323"/>
                      <a:pt x="254" y="323"/>
                      <a:pt x="254" y="323"/>
                    </a:cubicBezTo>
                    <a:cubicBezTo>
                      <a:pt x="253" y="319"/>
                      <a:pt x="253" y="315"/>
                      <a:pt x="252" y="311"/>
                    </a:cubicBezTo>
                    <a:cubicBezTo>
                      <a:pt x="252" y="310"/>
                      <a:pt x="252" y="310"/>
                      <a:pt x="252" y="310"/>
                    </a:cubicBezTo>
                    <a:cubicBezTo>
                      <a:pt x="253" y="308"/>
                      <a:pt x="253" y="308"/>
                      <a:pt x="253" y="308"/>
                    </a:cubicBezTo>
                    <a:cubicBezTo>
                      <a:pt x="254" y="307"/>
                      <a:pt x="255" y="305"/>
                      <a:pt x="257" y="304"/>
                    </a:cubicBezTo>
                    <a:cubicBezTo>
                      <a:pt x="257" y="303"/>
                      <a:pt x="257" y="303"/>
                      <a:pt x="257" y="303"/>
                    </a:cubicBezTo>
                    <a:cubicBezTo>
                      <a:pt x="259" y="301"/>
                      <a:pt x="261" y="298"/>
                      <a:pt x="263" y="296"/>
                    </a:cubicBezTo>
                    <a:cubicBezTo>
                      <a:pt x="264" y="294"/>
                      <a:pt x="266" y="293"/>
                      <a:pt x="267" y="291"/>
                    </a:cubicBezTo>
                    <a:cubicBezTo>
                      <a:pt x="267" y="290"/>
                      <a:pt x="268" y="289"/>
                      <a:pt x="268" y="289"/>
                    </a:cubicBezTo>
                    <a:cubicBezTo>
                      <a:pt x="269" y="287"/>
                      <a:pt x="271" y="284"/>
                      <a:pt x="271" y="282"/>
                    </a:cubicBezTo>
                    <a:cubicBezTo>
                      <a:pt x="271" y="280"/>
                      <a:pt x="271" y="280"/>
                      <a:pt x="271" y="280"/>
                    </a:cubicBezTo>
                    <a:cubicBezTo>
                      <a:pt x="272" y="276"/>
                      <a:pt x="272" y="273"/>
                      <a:pt x="273" y="269"/>
                    </a:cubicBezTo>
                    <a:cubicBezTo>
                      <a:pt x="273" y="267"/>
                      <a:pt x="273" y="266"/>
                      <a:pt x="273" y="264"/>
                    </a:cubicBezTo>
                    <a:cubicBezTo>
                      <a:pt x="274" y="262"/>
                      <a:pt x="274" y="260"/>
                      <a:pt x="274" y="258"/>
                    </a:cubicBezTo>
                    <a:cubicBezTo>
                      <a:pt x="274" y="258"/>
                      <a:pt x="274" y="258"/>
                      <a:pt x="274" y="258"/>
                    </a:cubicBezTo>
                    <a:cubicBezTo>
                      <a:pt x="273" y="256"/>
                      <a:pt x="273" y="256"/>
                      <a:pt x="273" y="256"/>
                    </a:cubicBezTo>
                    <a:cubicBezTo>
                      <a:pt x="273" y="255"/>
                      <a:pt x="273" y="254"/>
                      <a:pt x="273" y="253"/>
                    </a:cubicBezTo>
                    <a:cubicBezTo>
                      <a:pt x="272" y="250"/>
                      <a:pt x="271" y="246"/>
                      <a:pt x="277" y="243"/>
                    </a:cubicBezTo>
                    <a:cubicBezTo>
                      <a:pt x="277" y="243"/>
                      <a:pt x="278" y="243"/>
                      <a:pt x="279" y="242"/>
                    </a:cubicBezTo>
                    <a:cubicBezTo>
                      <a:pt x="281" y="242"/>
                      <a:pt x="281" y="242"/>
                      <a:pt x="281" y="242"/>
                    </a:cubicBezTo>
                    <a:cubicBezTo>
                      <a:pt x="285" y="240"/>
                      <a:pt x="291" y="238"/>
                      <a:pt x="295" y="236"/>
                    </a:cubicBezTo>
                    <a:cubicBezTo>
                      <a:pt x="297" y="235"/>
                      <a:pt x="298" y="235"/>
                      <a:pt x="299" y="235"/>
                    </a:cubicBezTo>
                    <a:cubicBezTo>
                      <a:pt x="298" y="234"/>
                      <a:pt x="298" y="234"/>
                      <a:pt x="298" y="234"/>
                    </a:cubicBezTo>
                    <a:cubicBezTo>
                      <a:pt x="298" y="233"/>
                      <a:pt x="296" y="230"/>
                      <a:pt x="298" y="227"/>
                    </a:cubicBezTo>
                    <a:cubicBezTo>
                      <a:pt x="299" y="226"/>
                      <a:pt x="300" y="225"/>
                      <a:pt x="302" y="224"/>
                    </a:cubicBezTo>
                    <a:cubicBezTo>
                      <a:pt x="303" y="223"/>
                      <a:pt x="305" y="221"/>
                      <a:pt x="307" y="219"/>
                    </a:cubicBezTo>
                    <a:cubicBezTo>
                      <a:pt x="308" y="218"/>
                      <a:pt x="308" y="218"/>
                      <a:pt x="308" y="218"/>
                    </a:cubicBezTo>
                    <a:cubicBezTo>
                      <a:pt x="309" y="216"/>
                      <a:pt x="311" y="215"/>
                      <a:pt x="312" y="214"/>
                    </a:cubicBezTo>
                    <a:cubicBezTo>
                      <a:pt x="317" y="209"/>
                      <a:pt x="322" y="205"/>
                      <a:pt x="324" y="199"/>
                    </a:cubicBezTo>
                    <a:cubicBezTo>
                      <a:pt x="325" y="197"/>
                      <a:pt x="325" y="197"/>
                      <a:pt x="325" y="197"/>
                    </a:cubicBezTo>
                    <a:cubicBezTo>
                      <a:pt x="325" y="196"/>
                      <a:pt x="323" y="193"/>
                      <a:pt x="322" y="191"/>
                    </a:cubicBezTo>
                    <a:cubicBezTo>
                      <a:pt x="320" y="188"/>
                      <a:pt x="317" y="185"/>
                      <a:pt x="319" y="182"/>
                    </a:cubicBezTo>
                    <a:cubicBezTo>
                      <a:pt x="320" y="178"/>
                      <a:pt x="324" y="177"/>
                      <a:pt x="327" y="176"/>
                    </a:cubicBezTo>
                    <a:cubicBezTo>
                      <a:pt x="328" y="176"/>
                      <a:pt x="330" y="174"/>
                      <a:pt x="331" y="171"/>
                    </a:cubicBezTo>
                    <a:cubicBezTo>
                      <a:pt x="332" y="169"/>
                      <a:pt x="333" y="167"/>
                      <a:pt x="333" y="166"/>
                    </a:cubicBezTo>
                    <a:cubicBezTo>
                      <a:pt x="336" y="159"/>
                      <a:pt x="338" y="158"/>
                      <a:pt x="344" y="154"/>
                    </a:cubicBezTo>
                    <a:cubicBezTo>
                      <a:pt x="344" y="154"/>
                      <a:pt x="345" y="154"/>
                      <a:pt x="345" y="154"/>
                    </a:cubicBezTo>
                    <a:cubicBezTo>
                      <a:pt x="346" y="153"/>
                      <a:pt x="346" y="153"/>
                      <a:pt x="346" y="153"/>
                    </a:cubicBezTo>
                    <a:cubicBezTo>
                      <a:pt x="347" y="153"/>
                      <a:pt x="349" y="151"/>
                      <a:pt x="350" y="150"/>
                    </a:cubicBezTo>
                    <a:cubicBezTo>
                      <a:pt x="352" y="149"/>
                      <a:pt x="354" y="149"/>
                      <a:pt x="355" y="149"/>
                    </a:cubicBezTo>
                    <a:cubicBezTo>
                      <a:pt x="356" y="149"/>
                      <a:pt x="357" y="149"/>
                      <a:pt x="357" y="149"/>
                    </a:cubicBezTo>
                    <a:cubicBezTo>
                      <a:pt x="361" y="150"/>
                      <a:pt x="361" y="150"/>
                      <a:pt x="361" y="150"/>
                    </a:cubicBezTo>
                    <a:cubicBezTo>
                      <a:pt x="362" y="151"/>
                      <a:pt x="364" y="152"/>
                      <a:pt x="365" y="152"/>
                    </a:cubicBezTo>
                    <a:cubicBezTo>
                      <a:pt x="369" y="153"/>
                      <a:pt x="369" y="153"/>
                      <a:pt x="369" y="153"/>
                    </a:cubicBezTo>
                    <a:cubicBezTo>
                      <a:pt x="369" y="154"/>
                      <a:pt x="369" y="154"/>
                      <a:pt x="369" y="154"/>
                    </a:cubicBezTo>
                    <a:cubicBezTo>
                      <a:pt x="370" y="154"/>
                      <a:pt x="370" y="154"/>
                      <a:pt x="370" y="153"/>
                    </a:cubicBezTo>
                    <a:cubicBezTo>
                      <a:pt x="371" y="153"/>
                      <a:pt x="371" y="153"/>
                      <a:pt x="371" y="153"/>
                    </a:cubicBezTo>
                    <a:cubicBezTo>
                      <a:pt x="371" y="153"/>
                      <a:pt x="371" y="153"/>
                      <a:pt x="371" y="153"/>
                    </a:cubicBezTo>
                    <a:cubicBezTo>
                      <a:pt x="372" y="151"/>
                      <a:pt x="374" y="147"/>
                      <a:pt x="374" y="146"/>
                    </a:cubicBezTo>
                    <a:cubicBezTo>
                      <a:pt x="374" y="142"/>
                      <a:pt x="374" y="142"/>
                      <a:pt x="374" y="142"/>
                    </a:cubicBezTo>
                    <a:cubicBezTo>
                      <a:pt x="374" y="140"/>
                      <a:pt x="374" y="138"/>
                      <a:pt x="374" y="136"/>
                    </a:cubicBezTo>
                    <a:cubicBezTo>
                      <a:pt x="374" y="134"/>
                      <a:pt x="374" y="132"/>
                      <a:pt x="374" y="130"/>
                    </a:cubicBezTo>
                    <a:cubicBezTo>
                      <a:pt x="375" y="126"/>
                      <a:pt x="375" y="126"/>
                      <a:pt x="375" y="126"/>
                    </a:cubicBezTo>
                    <a:cubicBezTo>
                      <a:pt x="428" y="136"/>
                      <a:pt x="428" y="136"/>
                      <a:pt x="428" y="136"/>
                    </a:cubicBezTo>
                    <a:cubicBezTo>
                      <a:pt x="428" y="136"/>
                      <a:pt x="428" y="136"/>
                      <a:pt x="428" y="136"/>
                    </a:cubicBezTo>
                    <a:cubicBezTo>
                      <a:pt x="428" y="134"/>
                      <a:pt x="428" y="134"/>
                      <a:pt x="428" y="134"/>
                    </a:cubicBezTo>
                    <a:cubicBezTo>
                      <a:pt x="428" y="133"/>
                      <a:pt x="428" y="133"/>
                      <a:pt x="428" y="133"/>
                    </a:cubicBezTo>
                    <a:cubicBezTo>
                      <a:pt x="428" y="130"/>
                      <a:pt x="428" y="128"/>
                      <a:pt x="429" y="127"/>
                    </a:cubicBezTo>
                    <a:cubicBezTo>
                      <a:pt x="429" y="126"/>
                      <a:pt x="429" y="125"/>
                      <a:pt x="430" y="125"/>
                    </a:cubicBezTo>
                    <a:cubicBezTo>
                      <a:pt x="430" y="124"/>
                      <a:pt x="431" y="123"/>
                      <a:pt x="431" y="122"/>
                    </a:cubicBezTo>
                    <a:cubicBezTo>
                      <a:pt x="432" y="121"/>
                      <a:pt x="434" y="118"/>
                      <a:pt x="435" y="117"/>
                    </a:cubicBezTo>
                    <a:cubicBezTo>
                      <a:pt x="434" y="116"/>
                      <a:pt x="434" y="116"/>
                      <a:pt x="434" y="116"/>
                    </a:cubicBezTo>
                    <a:cubicBezTo>
                      <a:pt x="435" y="115"/>
                      <a:pt x="435" y="115"/>
                      <a:pt x="435" y="115"/>
                    </a:cubicBezTo>
                    <a:cubicBezTo>
                      <a:pt x="435" y="114"/>
                      <a:pt x="433" y="112"/>
                      <a:pt x="433" y="110"/>
                    </a:cubicBezTo>
                    <a:cubicBezTo>
                      <a:pt x="429" y="103"/>
                      <a:pt x="429" y="103"/>
                      <a:pt x="429" y="103"/>
                    </a:cubicBezTo>
                    <a:cubicBezTo>
                      <a:pt x="448" y="102"/>
                      <a:pt x="448" y="102"/>
                      <a:pt x="448" y="102"/>
                    </a:cubicBezTo>
                    <a:cubicBezTo>
                      <a:pt x="457" y="101"/>
                      <a:pt x="457" y="101"/>
                      <a:pt x="457" y="101"/>
                    </a:cubicBezTo>
                    <a:cubicBezTo>
                      <a:pt x="457" y="100"/>
                      <a:pt x="457" y="100"/>
                      <a:pt x="457" y="99"/>
                    </a:cubicBezTo>
                    <a:cubicBezTo>
                      <a:pt x="457" y="98"/>
                      <a:pt x="457" y="96"/>
                      <a:pt x="459" y="94"/>
                    </a:cubicBezTo>
                    <a:cubicBezTo>
                      <a:pt x="460" y="92"/>
                      <a:pt x="461" y="92"/>
                      <a:pt x="463" y="91"/>
                    </a:cubicBezTo>
                    <a:cubicBezTo>
                      <a:pt x="465" y="90"/>
                      <a:pt x="466" y="90"/>
                      <a:pt x="468" y="90"/>
                    </a:cubicBezTo>
                    <a:cubicBezTo>
                      <a:pt x="469" y="90"/>
                      <a:pt x="470" y="90"/>
                      <a:pt x="471" y="91"/>
                    </a:cubicBezTo>
                    <a:cubicBezTo>
                      <a:pt x="472" y="91"/>
                      <a:pt x="473" y="92"/>
                      <a:pt x="475" y="93"/>
                    </a:cubicBezTo>
                    <a:cubicBezTo>
                      <a:pt x="488" y="102"/>
                      <a:pt x="488" y="102"/>
                      <a:pt x="488" y="102"/>
                    </a:cubicBezTo>
                    <a:cubicBezTo>
                      <a:pt x="491" y="105"/>
                      <a:pt x="499" y="112"/>
                      <a:pt x="501" y="117"/>
                    </a:cubicBezTo>
                    <a:cubicBezTo>
                      <a:pt x="501" y="118"/>
                      <a:pt x="501" y="118"/>
                      <a:pt x="501" y="118"/>
                    </a:cubicBezTo>
                    <a:cubicBezTo>
                      <a:pt x="501" y="118"/>
                      <a:pt x="501" y="118"/>
                      <a:pt x="501" y="118"/>
                    </a:cubicBezTo>
                    <a:cubicBezTo>
                      <a:pt x="504" y="118"/>
                      <a:pt x="504" y="118"/>
                      <a:pt x="504" y="118"/>
                    </a:cubicBezTo>
                    <a:cubicBezTo>
                      <a:pt x="534" y="117"/>
                      <a:pt x="534" y="117"/>
                      <a:pt x="534" y="117"/>
                    </a:cubicBezTo>
                    <a:cubicBezTo>
                      <a:pt x="534" y="116"/>
                      <a:pt x="535" y="116"/>
                      <a:pt x="535" y="115"/>
                    </a:cubicBezTo>
                    <a:cubicBezTo>
                      <a:pt x="537" y="114"/>
                      <a:pt x="539" y="113"/>
                      <a:pt x="541" y="113"/>
                    </a:cubicBezTo>
                    <a:cubicBezTo>
                      <a:pt x="545" y="113"/>
                      <a:pt x="550" y="116"/>
                      <a:pt x="553" y="117"/>
                    </a:cubicBezTo>
                    <a:cubicBezTo>
                      <a:pt x="554" y="118"/>
                      <a:pt x="555" y="118"/>
                      <a:pt x="556" y="119"/>
                    </a:cubicBezTo>
                    <a:cubicBezTo>
                      <a:pt x="570" y="125"/>
                      <a:pt x="570" y="125"/>
                      <a:pt x="570" y="125"/>
                    </a:cubicBezTo>
                    <a:cubicBezTo>
                      <a:pt x="570" y="124"/>
                      <a:pt x="571" y="123"/>
                      <a:pt x="572" y="122"/>
                    </a:cubicBezTo>
                    <a:cubicBezTo>
                      <a:pt x="572" y="122"/>
                      <a:pt x="573" y="121"/>
                      <a:pt x="573" y="121"/>
                    </a:cubicBezTo>
                    <a:cubicBezTo>
                      <a:pt x="582" y="111"/>
                      <a:pt x="582" y="111"/>
                      <a:pt x="582" y="111"/>
                    </a:cubicBezTo>
                    <a:cubicBezTo>
                      <a:pt x="583" y="110"/>
                      <a:pt x="585" y="109"/>
                      <a:pt x="586" y="109"/>
                    </a:cubicBezTo>
                    <a:cubicBezTo>
                      <a:pt x="587" y="109"/>
                      <a:pt x="588" y="110"/>
                      <a:pt x="588" y="110"/>
                    </a:cubicBezTo>
                    <a:cubicBezTo>
                      <a:pt x="589" y="108"/>
                      <a:pt x="590" y="107"/>
                      <a:pt x="590" y="106"/>
                    </a:cubicBezTo>
                    <a:cubicBezTo>
                      <a:pt x="591" y="103"/>
                      <a:pt x="591" y="99"/>
                      <a:pt x="592" y="96"/>
                    </a:cubicBezTo>
                    <a:cubicBezTo>
                      <a:pt x="592" y="95"/>
                      <a:pt x="592" y="95"/>
                      <a:pt x="592" y="95"/>
                    </a:cubicBezTo>
                    <a:cubicBezTo>
                      <a:pt x="592" y="92"/>
                      <a:pt x="592" y="88"/>
                      <a:pt x="593" y="85"/>
                    </a:cubicBezTo>
                    <a:cubicBezTo>
                      <a:pt x="594" y="83"/>
                      <a:pt x="594" y="83"/>
                      <a:pt x="594" y="83"/>
                    </a:cubicBezTo>
                    <a:cubicBezTo>
                      <a:pt x="594" y="82"/>
                      <a:pt x="594" y="81"/>
                      <a:pt x="594" y="80"/>
                    </a:cubicBezTo>
                    <a:cubicBezTo>
                      <a:pt x="595" y="77"/>
                      <a:pt x="596" y="74"/>
                      <a:pt x="598" y="72"/>
                    </a:cubicBezTo>
                    <a:cubicBezTo>
                      <a:pt x="598" y="72"/>
                      <a:pt x="599" y="71"/>
                      <a:pt x="599" y="71"/>
                    </a:cubicBezTo>
                    <a:cubicBezTo>
                      <a:pt x="601" y="69"/>
                      <a:pt x="602" y="68"/>
                      <a:pt x="604" y="67"/>
                    </a:cubicBezTo>
                    <a:cubicBezTo>
                      <a:pt x="606" y="66"/>
                      <a:pt x="607" y="65"/>
                      <a:pt x="609" y="64"/>
                    </a:cubicBezTo>
                    <a:cubicBezTo>
                      <a:pt x="609" y="64"/>
                      <a:pt x="609" y="64"/>
                      <a:pt x="609" y="64"/>
                    </a:cubicBezTo>
                    <a:cubicBezTo>
                      <a:pt x="614" y="58"/>
                      <a:pt x="617" y="57"/>
                      <a:pt x="625" y="56"/>
                    </a:cubicBezTo>
                    <a:cubicBezTo>
                      <a:pt x="628" y="56"/>
                      <a:pt x="628" y="56"/>
                      <a:pt x="628" y="56"/>
                    </a:cubicBezTo>
                    <a:cubicBezTo>
                      <a:pt x="630" y="56"/>
                      <a:pt x="632" y="56"/>
                      <a:pt x="634" y="56"/>
                    </a:cubicBezTo>
                    <a:cubicBezTo>
                      <a:pt x="635" y="56"/>
                      <a:pt x="636" y="56"/>
                      <a:pt x="637" y="55"/>
                    </a:cubicBezTo>
                    <a:cubicBezTo>
                      <a:pt x="638" y="55"/>
                      <a:pt x="638" y="55"/>
                      <a:pt x="639" y="55"/>
                    </a:cubicBezTo>
                    <a:cubicBezTo>
                      <a:pt x="640" y="54"/>
                      <a:pt x="640" y="54"/>
                      <a:pt x="640" y="54"/>
                    </a:cubicBezTo>
                    <a:cubicBezTo>
                      <a:pt x="640" y="54"/>
                      <a:pt x="641" y="54"/>
                      <a:pt x="642" y="53"/>
                    </a:cubicBezTo>
                    <a:cubicBezTo>
                      <a:pt x="642" y="53"/>
                      <a:pt x="642" y="53"/>
                      <a:pt x="642" y="53"/>
                    </a:cubicBezTo>
                    <a:cubicBezTo>
                      <a:pt x="643" y="52"/>
                      <a:pt x="644" y="52"/>
                      <a:pt x="644" y="51"/>
                    </a:cubicBezTo>
                    <a:cubicBezTo>
                      <a:pt x="646" y="51"/>
                      <a:pt x="648" y="50"/>
                      <a:pt x="650" y="50"/>
                    </a:cubicBezTo>
                    <a:cubicBezTo>
                      <a:pt x="655" y="50"/>
                      <a:pt x="660" y="54"/>
                      <a:pt x="663" y="57"/>
                    </a:cubicBezTo>
                    <a:cubicBezTo>
                      <a:pt x="665" y="58"/>
                      <a:pt x="665" y="58"/>
                      <a:pt x="665" y="58"/>
                    </a:cubicBezTo>
                    <a:cubicBezTo>
                      <a:pt x="666" y="59"/>
                      <a:pt x="666" y="59"/>
                      <a:pt x="667" y="60"/>
                    </a:cubicBezTo>
                    <a:cubicBezTo>
                      <a:pt x="668" y="61"/>
                      <a:pt x="671" y="62"/>
                      <a:pt x="673" y="63"/>
                    </a:cubicBezTo>
                    <a:cubicBezTo>
                      <a:pt x="675" y="64"/>
                      <a:pt x="676" y="64"/>
                      <a:pt x="677" y="65"/>
                    </a:cubicBezTo>
                    <a:cubicBezTo>
                      <a:pt x="679" y="66"/>
                      <a:pt x="679" y="66"/>
                      <a:pt x="679" y="66"/>
                    </a:cubicBezTo>
                    <a:cubicBezTo>
                      <a:pt x="681" y="66"/>
                      <a:pt x="682" y="67"/>
                      <a:pt x="684" y="68"/>
                    </a:cubicBezTo>
                    <a:cubicBezTo>
                      <a:pt x="686" y="69"/>
                      <a:pt x="696" y="74"/>
                      <a:pt x="697" y="80"/>
                    </a:cubicBezTo>
                    <a:cubicBezTo>
                      <a:pt x="698" y="82"/>
                      <a:pt x="698" y="84"/>
                      <a:pt x="697" y="86"/>
                    </a:cubicBezTo>
                    <a:cubicBezTo>
                      <a:pt x="698" y="86"/>
                      <a:pt x="698" y="86"/>
                      <a:pt x="698" y="86"/>
                    </a:cubicBezTo>
                    <a:cubicBezTo>
                      <a:pt x="700" y="86"/>
                      <a:pt x="702" y="85"/>
                      <a:pt x="704" y="85"/>
                    </a:cubicBezTo>
                    <a:cubicBezTo>
                      <a:pt x="706" y="84"/>
                      <a:pt x="706" y="84"/>
                      <a:pt x="706" y="84"/>
                    </a:cubicBezTo>
                    <a:cubicBezTo>
                      <a:pt x="710" y="83"/>
                      <a:pt x="710" y="82"/>
                      <a:pt x="713" y="78"/>
                    </a:cubicBezTo>
                    <a:cubicBezTo>
                      <a:pt x="713" y="77"/>
                      <a:pt x="714" y="77"/>
                      <a:pt x="714" y="76"/>
                    </a:cubicBezTo>
                    <a:cubicBezTo>
                      <a:pt x="712" y="74"/>
                      <a:pt x="712" y="74"/>
                      <a:pt x="712" y="74"/>
                    </a:cubicBezTo>
                    <a:cubicBezTo>
                      <a:pt x="715" y="71"/>
                      <a:pt x="715" y="71"/>
                      <a:pt x="715" y="71"/>
                    </a:cubicBezTo>
                    <a:cubicBezTo>
                      <a:pt x="716" y="71"/>
                      <a:pt x="717" y="70"/>
                      <a:pt x="719" y="70"/>
                    </a:cubicBezTo>
                    <a:cubicBezTo>
                      <a:pt x="720" y="70"/>
                      <a:pt x="721" y="71"/>
                      <a:pt x="722" y="71"/>
                    </a:cubicBezTo>
                    <a:cubicBezTo>
                      <a:pt x="723" y="72"/>
                      <a:pt x="723" y="72"/>
                      <a:pt x="724" y="72"/>
                    </a:cubicBezTo>
                    <a:cubicBezTo>
                      <a:pt x="726" y="73"/>
                      <a:pt x="726" y="73"/>
                      <a:pt x="726" y="73"/>
                    </a:cubicBezTo>
                    <a:cubicBezTo>
                      <a:pt x="728" y="73"/>
                      <a:pt x="730" y="74"/>
                      <a:pt x="732" y="75"/>
                    </a:cubicBezTo>
                    <a:cubicBezTo>
                      <a:pt x="732" y="75"/>
                      <a:pt x="733" y="75"/>
                      <a:pt x="733" y="75"/>
                    </a:cubicBezTo>
                    <a:cubicBezTo>
                      <a:pt x="735" y="75"/>
                      <a:pt x="735" y="75"/>
                      <a:pt x="735" y="75"/>
                    </a:cubicBezTo>
                    <a:cubicBezTo>
                      <a:pt x="735" y="75"/>
                      <a:pt x="735" y="75"/>
                      <a:pt x="735" y="75"/>
                    </a:cubicBezTo>
                    <a:cubicBezTo>
                      <a:pt x="735" y="74"/>
                      <a:pt x="735" y="72"/>
                      <a:pt x="734" y="71"/>
                    </a:cubicBezTo>
                    <a:cubicBezTo>
                      <a:pt x="734" y="69"/>
                      <a:pt x="734" y="69"/>
                      <a:pt x="734" y="69"/>
                    </a:cubicBezTo>
                    <a:cubicBezTo>
                      <a:pt x="737" y="69"/>
                      <a:pt x="737" y="69"/>
                      <a:pt x="737" y="69"/>
                    </a:cubicBezTo>
                    <a:cubicBezTo>
                      <a:pt x="736" y="68"/>
                      <a:pt x="734" y="67"/>
                      <a:pt x="732" y="67"/>
                    </a:cubicBezTo>
                    <a:cubicBezTo>
                      <a:pt x="730" y="67"/>
                      <a:pt x="727" y="68"/>
                      <a:pt x="726" y="71"/>
                    </a:cubicBezTo>
                    <a:cubicBezTo>
                      <a:pt x="725" y="69"/>
                      <a:pt x="722" y="65"/>
                      <a:pt x="720" y="64"/>
                    </a:cubicBezTo>
                    <a:cubicBezTo>
                      <a:pt x="720" y="64"/>
                      <a:pt x="720" y="64"/>
                      <a:pt x="720" y="64"/>
                    </a:cubicBezTo>
                    <a:cubicBezTo>
                      <a:pt x="719" y="64"/>
                      <a:pt x="718" y="66"/>
                      <a:pt x="717" y="67"/>
                    </a:cubicBezTo>
                    <a:cubicBezTo>
                      <a:pt x="712" y="70"/>
                      <a:pt x="706" y="73"/>
                      <a:pt x="701" y="74"/>
                    </a:cubicBezTo>
                    <a:cubicBezTo>
                      <a:pt x="700" y="72"/>
                      <a:pt x="700" y="72"/>
                      <a:pt x="700" y="72"/>
                    </a:cubicBezTo>
                    <a:cubicBezTo>
                      <a:pt x="703" y="72"/>
                      <a:pt x="704" y="71"/>
                      <a:pt x="705" y="70"/>
                    </a:cubicBezTo>
                    <a:cubicBezTo>
                      <a:pt x="705" y="69"/>
                      <a:pt x="705" y="69"/>
                      <a:pt x="705" y="69"/>
                    </a:cubicBezTo>
                    <a:cubicBezTo>
                      <a:pt x="705" y="69"/>
                      <a:pt x="706" y="69"/>
                      <a:pt x="706" y="69"/>
                    </a:cubicBezTo>
                    <a:cubicBezTo>
                      <a:pt x="704" y="66"/>
                      <a:pt x="700" y="66"/>
                      <a:pt x="697" y="64"/>
                    </a:cubicBezTo>
                    <a:cubicBezTo>
                      <a:pt x="701" y="63"/>
                      <a:pt x="698" y="57"/>
                      <a:pt x="696" y="56"/>
                    </a:cubicBezTo>
                    <a:cubicBezTo>
                      <a:pt x="689" y="55"/>
                      <a:pt x="682" y="54"/>
                      <a:pt x="675" y="51"/>
                    </a:cubicBezTo>
                    <a:cubicBezTo>
                      <a:pt x="675" y="49"/>
                      <a:pt x="676" y="48"/>
                      <a:pt x="677" y="48"/>
                    </a:cubicBezTo>
                    <a:cubicBezTo>
                      <a:pt x="680" y="48"/>
                      <a:pt x="684" y="50"/>
                      <a:pt x="686" y="51"/>
                    </a:cubicBezTo>
                    <a:cubicBezTo>
                      <a:pt x="697" y="53"/>
                      <a:pt x="709" y="53"/>
                      <a:pt x="720" y="54"/>
                    </a:cubicBezTo>
                    <a:cubicBezTo>
                      <a:pt x="722" y="48"/>
                      <a:pt x="734" y="46"/>
                      <a:pt x="739" y="44"/>
                    </a:cubicBezTo>
                    <a:cubicBezTo>
                      <a:pt x="743" y="43"/>
                      <a:pt x="746" y="43"/>
                      <a:pt x="744" y="38"/>
                    </a:cubicBezTo>
                    <a:cubicBezTo>
                      <a:pt x="743" y="34"/>
                      <a:pt x="742" y="36"/>
                      <a:pt x="738" y="35"/>
                    </a:cubicBezTo>
                    <a:cubicBezTo>
                      <a:pt x="732" y="32"/>
                      <a:pt x="724" y="32"/>
                      <a:pt x="717" y="30"/>
                    </a:cubicBezTo>
                    <a:cubicBezTo>
                      <a:pt x="720" y="29"/>
                      <a:pt x="720" y="29"/>
                      <a:pt x="720" y="29"/>
                    </a:cubicBezTo>
                    <a:cubicBezTo>
                      <a:pt x="721" y="27"/>
                      <a:pt x="719" y="23"/>
                      <a:pt x="718" y="22"/>
                    </a:cubicBezTo>
                    <a:cubicBezTo>
                      <a:pt x="717" y="21"/>
                      <a:pt x="717" y="21"/>
                      <a:pt x="716" y="21"/>
                    </a:cubicBezTo>
                    <a:cubicBezTo>
                      <a:pt x="714" y="21"/>
                      <a:pt x="709" y="24"/>
                      <a:pt x="708" y="24"/>
                    </a:cubicBezTo>
                    <a:cubicBezTo>
                      <a:pt x="708" y="23"/>
                      <a:pt x="708" y="21"/>
                      <a:pt x="708" y="20"/>
                    </a:cubicBezTo>
                    <a:cubicBezTo>
                      <a:pt x="704" y="21"/>
                      <a:pt x="699" y="23"/>
                      <a:pt x="695" y="24"/>
                    </a:cubicBezTo>
                    <a:cubicBezTo>
                      <a:pt x="695" y="23"/>
                      <a:pt x="696" y="22"/>
                      <a:pt x="697" y="22"/>
                    </a:cubicBezTo>
                    <a:cubicBezTo>
                      <a:pt x="693" y="19"/>
                      <a:pt x="687" y="13"/>
                      <a:pt x="683" y="13"/>
                    </a:cubicBezTo>
                    <a:cubicBezTo>
                      <a:pt x="681" y="13"/>
                      <a:pt x="679" y="14"/>
                      <a:pt x="677" y="17"/>
                    </a:cubicBezTo>
                    <a:cubicBezTo>
                      <a:pt x="676" y="20"/>
                      <a:pt x="669" y="29"/>
                      <a:pt x="671" y="31"/>
                    </a:cubicBezTo>
                    <a:cubicBezTo>
                      <a:pt x="674" y="35"/>
                      <a:pt x="667" y="40"/>
                      <a:pt x="663" y="42"/>
                    </a:cubicBezTo>
                    <a:cubicBezTo>
                      <a:pt x="664" y="37"/>
                      <a:pt x="665" y="37"/>
                      <a:pt x="667" y="33"/>
                    </a:cubicBezTo>
                    <a:cubicBezTo>
                      <a:pt x="667" y="33"/>
                      <a:pt x="667" y="33"/>
                      <a:pt x="667" y="33"/>
                    </a:cubicBezTo>
                    <a:cubicBezTo>
                      <a:pt x="665" y="33"/>
                      <a:pt x="663" y="34"/>
                      <a:pt x="662" y="34"/>
                    </a:cubicBezTo>
                    <a:cubicBezTo>
                      <a:pt x="660" y="35"/>
                      <a:pt x="658" y="35"/>
                      <a:pt x="656" y="35"/>
                    </a:cubicBezTo>
                    <a:cubicBezTo>
                      <a:pt x="655" y="35"/>
                      <a:pt x="655" y="35"/>
                      <a:pt x="654" y="35"/>
                    </a:cubicBezTo>
                    <a:cubicBezTo>
                      <a:pt x="652" y="33"/>
                      <a:pt x="654" y="32"/>
                      <a:pt x="655" y="31"/>
                    </a:cubicBezTo>
                    <a:cubicBezTo>
                      <a:pt x="661" y="27"/>
                      <a:pt x="665" y="28"/>
                      <a:pt x="666" y="20"/>
                    </a:cubicBezTo>
                    <a:cubicBezTo>
                      <a:pt x="662" y="22"/>
                      <a:pt x="658" y="23"/>
                      <a:pt x="654" y="24"/>
                    </a:cubicBezTo>
                    <a:cubicBezTo>
                      <a:pt x="654" y="23"/>
                      <a:pt x="654" y="23"/>
                      <a:pt x="654" y="23"/>
                    </a:cubicBezTo>
                    <a:cubicBezTo>
                      <a:pt x="655" y="23"/>
                      <a:pt x="656" y="23"/>
                      <a:pt x="657" y="23"/>
                    </a:cubicBezTo>
                    <a:cubicBezTo>
                      <a:pt x="656" y="22"/>
                      <a:pt x="655" y="20"/>
                      <a:pt x="654" y="20"/>
                    </a:cubicBezTo>
                    <a:cubicBezTo>
                      <a:pt x="656" y="17"/>
                      <a:pt x="657" y="17"/>
                      <a:pt x="659" y="17"/>
                    </a:cubicBezTo>
                    <a:cubicBezTo>
                      <a:pt x="659" y="17"/>
                      <a:pt x="660" y="17"/>
                      <a:pt x="662" y="17"/>
                    </a:cubicBezTo>
                    <a:cubicBezTo>
                      <a:pt x="663" y="17"/>
                      <a:pt x="663" y="17"/>
                      <a:pt x="664" y="17"/>
                    </a:cubicBezTo>
                    <a:cubicBezTo>
                      <a:pt x="664" y="17"/>
                      <a:pt x="665" y="17"/>
                      <a:pt x="666" y="17"/>
                    </a:cubicBezTo>
                    <a:cubicBezTo>
                      <a:pt x="667" y="16"/>
                      <a:pt x="670" y="14"/>
                      <a:pt x="671" y="13"/>
                    </a:cubicBezTo>
                    <a:cubicBezTo>
                      <a:pt x="674" y="10"/>
                      <a:pt x="673" y="7"/>
                      <a:pt x="669" y="6"/>
                    </a:cubicBezTo>
                    <a:cubicBezTo>
                      <a:pt x="662" y="4"/>
                      <a:pt x="655" y="2"/>
                      <a:pt x="64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9" name="Freeform 237">
                <a:extLst>
                  <a:ext uri="{FF2B5EF4-FFF2-40B4-BE49-F238E27FC236}">
                    <a16:creationId xmlns:a16="http://schemas.microsoft.com/office/drawing/2014/main" id="{ACC90DD5-5948-4EF8-A8F7-6405367E536F}"/>
                  </a:ext>
                </a:extLst>
              </p:cNvPr>
              <p:cNvSpPr>
                <a:spLocks noEditPoints="1"/>
              </p:cNvSpPr>
              <p:nvPr/>
            </p:nvSpPr>
            <p:spPr bwMode="auto">
              <a:xfrm>
                <a:off x="5365529" y="1426140"/>
                <a:ext cx="1153441" cy="1908890"/>
              </a:xfrm>
              <a:custGeom>
                <a:avLst/>
                <a:gdLst>
                  <a:gd name="T0" fmla="*/ 199 w 364"/>
                  <a:gd name="T1" fmla="*/ 441 h 601"/>
                  <a:gd name="T2" fmla="*/ 257 w 364"/>
                  <a:gd name="T3" fmla="*/ 19 h 601"/>
                  <a:gd name="T4" fmla="*/ 249 w 364"/>
                  <a:gd name="T5" fmla="*/ 34 h 601"/>
                  <a:gd name="T6" fmla="*/ 193 w 364"/>
                  <a:gd name="T7" fmla="*/ 51 h 601"/>
                  <a:gd name="T8" fmla="*/ 170 w 364"/>
                  <a:gd name="T9" fmla="*/ 50 h 601"/>
                  <a:gd name="T10" fmla="*/ 148 w 364"/>
                  <a:gd name="T11" fmla="*/ 78 h 601"/>
                  <a:gd name="T12" fmla="*/ 133 w 364"/>
                  <a:gd name="T13" fmla="*/ 115 h 601"/>
                  <a:gd name="T14" fmla="*/ 101 w 364"/>
                  <a:gd name="T15" fmla="*/ 141 h 601"/>
                  <a:gd name="T16" fmla="*/ 101 w 364"/>
                  <a:gd name="T17" fmla="*/ 147 h 601"/>
                  <a:gd name="T18" fmla="*/ 94 w 364"/>
                  <a:gd name="T19" fmla="*/ 185 h 601"/>
                  <a:gd name="T20" fmla="*/ 87 w 364"/>
                  <a:gd name="T21" fmla="*/ 217 h 601"/>
                  <a:gd name="T22" fmla="*/ 58 w 364"/>
                  <a:gd name="T23" fmla="*/ 236 h 601"/>
                  <a:gd name="T24" fmla="*/ 34 w 364"/>
                  <a:gd name="T25" fmla="*/ 256 h 601"/>
                  <a:gd name="T26" fmla="*/ 33 w 364"/>
                  <a:gd name="T27" fmla="*/ 284 h 601"/>
                  <a:gd name="T28" fmla="*/ 36 w 364"/>
                  <a:gd name="T29" fmla="*/ 315 h 601"/>
                  <a:gd name="T30" fmla="*/ 41 w 364"/>
                  <a:gd name="T31" fmla="*/ 343 h 601"/>
                  <a:gd name="T32" fmla="*/ 43 w 364"/>
                  <a:gd name="T33" fmla="*/ 393 h 601"/>
                  <a:gd name="T34" fmla="*/ 30 w 364"/>
                  <a:gd name="T35" fmla="*/ 416 h 601"/>
                  <a:gd name="T36" fmla="*/ 22 w 364"/>
                  <a:gd name="T37" fmla="*/ 445 h 601"/>
                  <a:gd name="T38" fmla="*/ 3 w 364"/>
                  <a:gd name="T39" fmla="*/ 481 h 601"/>
                  <a:gd name="T40" fmla="*/ 14 w 364"/>
                  <a:gd name="T41" fmla="*/ 477 h 601"/>
                  <a:gd name="T42" fmla="*/ 21 w 364"/>
                  <a:gd name="T43" fmla="*/ 487 h 601"/>
                  <a:gd name="T44" fmla="*/ 17 w 364"/>
                  <a:gd name="T45" fmla="*/ 507 h 601"/>
                  <a:gd name="T46" fmla="*/ 50 w 364"/>
                  <a:gd name="T47" fmla="*/ 558 h 601"/>
                  <a:gd name="T48" fmla="*/ 46 w 364"/>
                  <a:gd name="T49" fmla="*/ 568 h 601"/>
                  <a:gd name="T50" fmla="*/ 52 w 364"/>
                  <a:gd name="T51" fmla="*/ 599 h 601"/>
                  <a:gd name="T52" fmla="*/ 114 w 364"/>
                  <a:gd name="T53" fmla="*/ 571 h 601"/>
                  <a:gd name="T54" fmla="*/ 150 w 364"/>
                  <a:gd name="T55" fmla="*/ 545 h 601"/>
                  <a:gd name="T56" fmla="*/ 154 w 364"/>
                  <a:gd name="T57" fmla="*/ 511 h 601"/>
                  <a:gd name="T58" fmla="*/ 153 w 364"/>
                  <a:gd name="T59" fmla="*/ 499 h 601"/>
                  <a:gd name="T60" fmla="*/ 161 w 364"/>
                  <a:gd name="T61" fmla="*/ 486 h 601"/>
                  <a:gd name="T62" fmla="*/ 165 w 364"/>
                  <a:gd name="T63" fmla="*/ 475 h 601"/>
                  <a:gd name="T64" fmla="*/ 150 w 364"/>
                  <a:gd name="T65" fmla="*/ 469 h 601"/>
                  <a:gd name="T66" fmla="*/ 187 w 364"/>
                  <a:gd name="T67" fmla="*/ 448 h 601"/>
                  <a:gd name="T68" fmla="*/ 199 w 364"/>
                  <a:gd name="T69" fmla="*/ 453 h 601"/>
                  <a:gd name="T70" fmla="*/ 207 w 364"/>
                  <a:gd name="T71" fmla="*/ 443 h 601"/>
                  <a:gd name="T72" fmla="*/ 214 w 364"/>
                  <a:gd name="T73" fmla="*/ 442 h 601"/>
                  <a:gd name="T74" fmla="*/ 201 w 364"/>
                  <a:gd name="T75" fmla="*/ 435 h 601"/>
                  <a:gd name="T76" fmla="*/ 196 w 364"/>
                  <a:gd name="T77" fmla="*/ 390 h 601"/>
                  <a:gd name="T78" fmla="*/ 171 w 364"/>
                  <a:gd name="T79" fmla="*/ 382 h 601"/>
                  <a:gd name="T80" fmla="*/ 169 w 364"/>
                  <a:gd name="T81" fmla="*/ 353 h 601"/>
                  <a:gd name="T82" fmla="*/ 168 w 364"/>
                  <a:gd name="T83" fmla="*/ 344 h 601"/>
                  <a:gd name="T84" fmla="*/ 175 w 364"/>
                  <a:gd name="T85" fmla="*/ 333 h 601"/>
                  <a:gd name="T86" fmla="*/ 180 w 364"/>
                  <a:gd name="T87" fmla="*/ 305 h 601"/>
                  <a:gd name="T88" fmla="*/ 185 w 364"/>
                  <a:gd name="T89" fmla="*/ 280 h 601"/>
                  <a:gd name="T90" fmla="*/ 197 w 364"/>
                  <a:gd name="T91" fmla="*/ 289 h 601"/>
                  <a:gd name="T92" fmla="*/ 224 w 364"/>
                  <a:gd name="T93" fmla="*/ 273 h 601"/>
                  <a:gd name="T94" fmla="*/ 262 w 364"/>
                  <a:gd name="T95" fmla="*/ 249 h 601"/>
                  <a:gd name="T96" fmla="*/ 292 w 364"/>
                  <a:gd name="T97" fmla="*/ 213 h 601"/>
                  <a:gd name="T98" fmla="*/ 285 w 364"/>
                  <a:gd name="T99" fmla="*/ 201 h 601"/>
                  <a:gd name="T100" fmla="*/ 296 w 364"/>
                  <a:gd name="T101" fmla="*/ 175 h 601"/>
                  <a:gd name="T102" fmla="*/ 318 w 364"/>
                  <a:gd name="T103" fmla="*/ 156 h 601"/>
                  <a:gd name="T104" fmla="*/ 341 w 364"/>
                  <a:gd name="T105" fmla="*/ 152 h 601"/>
                  <a:gd name="T106" fmla="*/ 352 w 364"/>
                  <a:gd name="T107" fmla="*/ 131 h 601"/>
                  <a:gd name="T108" fmla="*/ 360 w 364"/>
                  <a:gd name="T109" fmla="*/ 105 h 601"/>
                  <a:gd name="T110" fmla="*/ 352 w 364"/>
                  <a:gd name="T111" fmla="*/ 78 h 601"/>
                  <a:gd name="T112" fmla="*/ 345 w 364"/>
                  <a:gd name="T113" fmla="*/ 74 h 601"/>
                  <a:gd name="T114" fmla="*/ 350 w 364"/>
                  <a:gd name="T115" fmla="*/ 50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4" h="601">
                    <a:moveTo>
                      <a:pt x="199" y="441"/>
                    </a:moveTo>
                    <a:cubicBezTo>
                      <a:pt x="198" y="439"/>
                      <a:pt x="197" y="436"/>
                      <a:pt x="199" y="436"/>
                    </a:cubicBezTo>
                    <a:cubicBezTo>
                      <a:pt x="199" y="436"/>
                      <a:pt x="199" y="436"/>
                      <a:pt x="199" y="436"/>
                    </a:cubicBezTo>
                    <a:cubicBezTo>
                      <a:pt x="199" y="436"/>
                      <a:pt x="199" y="437"/>
                      <a:pt x="199" y="437"/>
                    </a:cubicBezTo>
                    <a:cubicBezTo>
                      <a:pt x="200" y="437"/>
                      <a:pt x="200" y="437"/>
                      <a:pt x="200" y="437"/>
                    </a:cubicBezTo>
                    <a:cubicBezTo>
                      <a:pt x="200" y="440"/>
                      <a:pt x="200" y="440"/>
                      <a:pt x="200" y="440"/>
                    </a:cubicBezTo>
                    <a:cubicBezTo>
                      <a:pt x="200" y="440"/>
                      <a:pt x="199" y="441"/>
                      <a:pt x="199" y="441"/>
                    </a:cubicBezTo>
                    <a:moveTo>
                      <a:pt x="268" y="0"/>
                    </a:moveTo>
                    <a:cubicBezTo>
                      <a:pt x="261" y="0"/>
                      <a:pt x="261" y="0"/>
                      <a:pt x="261" y="0"/>
                    </a:cubicBezTo>
                    <a:cubicBezTo>
                      <a:pt x="262" y="2"/>
                      <a:pt x="263" y="4"/>
                      <a:pt x="263" y="7"/>
                    </a:cubicBezTo>
                    <a:cubicBezTo>
                      <a:pt x="262" y="7"/>
                      <a:pt x="262" y="7"/>
                      <a:pt x="262" y="7"/>
                    </a:cubicBezTo>
                    <a:cubicBezTo>
                      <a:pt x="262" y="8"/>
                      <a:pt x="262" y="8"/>
                      <a:pt x="262" y="8"/>
                    </a:cubicBezTo>
                    <a:cubicBezTo>
                      <a:pt x="262" y="11"/>
                      <a:pt x="260" y="15"/>
                      <a:pt x="258" y="17"/>
                    </a:cubicBezTo>
                    <a:cubicBezTo>
                      <a:pt x="257" y="18"/>
                      <a:pt x="257" y="19"/>
                      <a:pt x="257" y="19"/>
                    </a:cubicBezTo>
                    <a:cubicBezTo>
                      <a:pt x="256" y="20"/>
                      <a:pt x="256" y="20"/>
                      <a:pt x="256" y="20"/>
                    </a:cubicBezTo>
                    <a:cubicBezTo>
                      <a:pt x="256" y="21"/>
                      <a:pt x="256" y="23"/>
                      <a:pt x="256" y="24"/>
                    </a:cubicBezTo>
                    <a:cubicBezTo>
                      <a:pt x="256" y="25"/>
                      <a:pt x="256" y="25"/>
                      <a:pt x="256" y="25"/>
                    </a:cubicBezTo>
                    <a:cubicBezTo>
                      <a:pt x="256" y="26"/>
                      <a:pt x="256" y="26"/>
                      <a:pt x="256" y="26"/>
                    </a:cubicBezTo>
                    <a:cubicBezTo>
                      <a:pt x="256" y="28"/>
                      <a:pt x="255" y="30"/>
                      <a:pt x="254" y="32"/>
                    </a:cubicBezTo>
                    <a:cubicBezTo>
                      <a:pt x="253" y="33"/>
                      <a:pt x="252" y="34"/>
                      <a:pt x="250" y="34"/>
                    </a:cubicBezTo>
                    <a:cubicBezTo>
                      <a:pt x="250" y="34"/>
                      <a:pt x="249" y="34"/>
                      <a:pt x="249" y="34"/>
                    </a:cubicBezTo>
                    <a:cubicBezTo>
                      <a:pt x="249" y="34"/>
                      <a:pt x="248" y="34"/>
                      <a:pt x="248" y="34"/>
                    </a:cubicBezTo>
                    <a:cubicBezTo>
                      <a:pt x="202" y="26"/>
                      <a:pt x="202" y="26"/>
                      <a:pt x="202" y="26"/>
                    </a:cubicBezTo>
                    <a:cubicBezTo>
                      <a:pt x="202" y="27"/>
                      <a:pt x="202" y="27"/>
                      <a:pt x="202" y="27"/>
                    </a:cubicBezTo>
                    <a:cubicBezTo>
                      <a:pt x="202" y="29"/>
                      <a:pt x="202" y="31"/>
                      <a:pt x="202" y="33"/>
                    </a:cubicBezTo>
                    <a:cubicBezTo>
                      <a:pt x="202" y="37"/>
                      <a:pt x="202" y="37"/>
                      <a:pt x="202" y="37"/>
                    </a:cubicBezTo>
                    <a:cubicBezTo>
                      <a:pt x="202" y="38"/>
                      <a:pt x="199" y="51"/>
                      <a:pt x="193" y="51"/>
                    </a:cubicBezTo>
                    <a:cubicBezTo>
                      <a:pt x="193" y="51"/>
                      <a:pt x="193" y="51"/>
                      <a:pt x="193" y="51"/>
                    </a:cubicBezTo>
                    <a:cubicBezTo>
                      <a:pt x="192" y="51"/>
                      <a:pt x="191" y="52"/>
                      <a:pt x="190" y="52"/>
                    </a:cubicBezTo>
                    <a:cubicBezTo>
                      <a:pt x="189" y="52"/>
                      <a:pt x="188" y="51"/>
                      <a:pt x="187" y="51"/>
                    </a:cubicBezTo>
                    <a:cubicBezTo>
                      <a:pt x="184" y="50"/>
                      <a:pt x="184" y="50"/>
                      <a:pt x="184" y="50"/>
                    </a:cubicBezTo>
                    <a:cubicBezTo>
                      <a:pt x="183" y="49"/>
                      <a:pt x="181" y="49"/>
                      <a:pt x="180" y="48"/>
                    </a:cubicBezTo>
                    <a:cubicBezTo>
                      <a:pt x="176" y="47"/>
                      <a:pt x="176" y="47"/>
                      <a:pt x="176" y="47"/>
                    </a:cubicBezTo>
                    <a:cubicBezTo>
                      <a:pt x="176" y="47"/>
                      <a:pt x="176" y="47"/>
                      <a:pt x="175" y="47"/>
                    </a:cubicBezTo>
                    <a:cubicBezTo>
                      <a:pt x="174" y="48"/>
                      <a:pt x="172" y="49"/>
                      <a:pt x="170" y="50"/>
                    </a:cubicBezTo>
                    <a:cubicBezTo>
                      <a:pt x="170" y="51"/>
                      <a:pt x="169" y="51"/>
                      <a:pt x="168" y="52"/>
                    </a:cubicBezTo>
                    <a:cubicBezTo>
                      <a:pt x="163" y="55"/>
                      <a:pt x="162" y="55"/>
                      <a:pt x="161" y="59"/>
                    </a:cubicBezTo>
                    <a:cubicBezTo>
                      <a:pt x="161" y="60"/>
                      <a:pt x="161" y="60"/>
                      <a:pt x="161" y="60"/>
                    </a:cubicBezTo>
                    <a:cubicBezTo>
                      <a:pt x="160" y="61"/>
                      <a:pt x="159" y="63"/>
                      <a:pt x="158" y="65"/>
                    </a:cubicBezTo>
                    <a:cubicBezTo>
                      <a:pt x="157" y="69"/>
                      <a:pt x="154" y="73"/>
                      <a:pt x="149" y="74"/>
                    </a:cubicBezTo>
                    <a:cubicBezTo>
                      <a:pt x="148" y="74"/>
                      <a:pt x="147" y="75"/>
                      <a:pt x="146" y="75"/>
                    </a:cubicBezTo>
                    <a:cubicBezTo>
                      <a:pt x="147" y="76"/>
                      <a:pt x="148" y="77"/>
                      <a:pt x="148" y="78"/>
                    </a:cubicBezTo>
                    <a:cubicBezTo>
                      <a:pt x="151" y="81"/>
                      <a:pt x="154" y="86"/>
                      <a:pt x="153" y="90"/>
                    </a:cubicBezTo>
                    <a:cubicBezTo>
                      <a:pt x="152" y="91"/>
                      <a:pt x="152" y="91"/>
                      <a:pt x="152" y="91"/>
                    </a:cubicBezTo>
                    <a:cubicBezTo>
                      <a:pt x="152" y="91"/>
                      <a:pt x="152" y="92"/>
                      <a:pt x="152" y="93"/>
                    </a:cubicBezTo>
                    <a:cubicBezTo>
                      <a:pt x="149" y="100"/>
                      <a:pt x="143" y="105"/>
                      <a:pt x="138" y="110"/>
                    </a:cubicBezTo>
                    <a:cubicBezTo>
                      <a:pt x="137" y="111"/>
                      <a:pt x="137" y="111"/>
                      <a:pt x="137" y="111"/>
                    </a:cubicBezTo>
                    <a:cubicBezTo>
                      <a:pt x="136" y="112"/>
                      <a:pt x="135" y="113"/>
                      <a:pt x="134" y="114"/>
                    </a:cubicBezTo>
                    <a:cubicBezTo>
                      <a:pt x="133" y="115"/>
                      <a:pt x="133" y="115"/>
                      <a:pt x="133" y="115"/>
                    </a:cubicBezTo>
                    <a:cubicBezTo>
                      <a:pt x="131" y="117"/>
                      <a:pt x="129" y="119"/>
                      <a:pt x="127" y="121"/>
                    </a:cubicBezTo>
                    <a:cubicBezTo>
                      <a:pt x="126" y="121"/>
                      <a:pt x="126" y="121"/>
                      <a:pt x="125" y="122"/>
                    </a:cubicBezTo>
                    <a:cubicBezTo>
                      <a:pt x="125" y="122"/>
                      <a:pt x="125" y="122"/>
                      <a:pt x="125" y="122"/>
                    </a:cubicBezTo>
                    <a:cubicBezTo>
                      <a:pt x="126" y="123"/>
                      <a:pt x="128" y="126"/>
                      <a:pt x="126" y="129"/>
                    </a:cubicBezTo>
                    <a:cubicBezTo>
                      <a:pt x="125" y="131"/>
                      <a:pt x="123" y="132"/>
                      <a:pt x="119" y="133"/>
                    </a:cubicBezTo>
                    <a:cubicBezTo>
                      <a:pt x="115" y="135"/>
                      <a:pt x="110" y="137"/>
                      <a:pt x="104" y="139"/>
                    </a:cubicBezTo>
                    <a:cubicBezTo>
                      <a:pt x="103" y="140"/>
                      <a:pt x="101" y="140"/>
                      <a:pt x="101" y="141"/>
                    </a:cubicBezTo>
                    <a:cubicBezTo>
                      <a:pt x="100" y="141"/>
                      <a:pt x="100" y="141"/>
                      <a:pt x="100" y="141"/>
                    </a:cubicBezTo>
                    <a:cubicBezTo>
                      <a:pt x="100" y="141"/>
                      <a:pt x="100" y="142"/>
                      <a:pt x="100" y="142"/>
                    </a:cubicBezTo>
                    <a:cubicBezTo>
                      <a:pt x="100" y="143"/>
                      <a:pt x="100" y="143"/>
                      <a:pt x="100" y="143"/>
                    </a:cubicBezTo>
                    <a:cubicBezTo>
                      <a:pt x="101" y="143"/>
                      <a:pt x="101" y="144"/>
                      <a:pt x="101" y="145"/>
                    </a:cubicBezTo>
                    <a:cubicBezTo>
                      <a:pt x="101" y="146"/>
                      <a:pt x="101" y="146"/>
                      <a:pt x="101" y="146"/>
                    </a:cubicBezTo>
                    <a:cubicBezTo>
                      <a:pt x="106" y="145"/>
                      <a:pt x="106" y="145"/>
                      <a:pt x="106" y="145"/>
                    </a:cubicBezTo>
                    <a:cubicBezTo>
                      <a:pt x="101" y="147"/>
                      <a:pt x="101" y="147"/>
                      <a:pt x="101" y="147"/>
                    </a:cubicBezTo>
                    <a:cubicBezTo>
                      <a:pt x="102" y="151"/>
                      <a:pt x="102" y="153"/>
                      <a:pt x="101" y="156"/>
                    </a:cubicBezTo>
                    <a:cubicBezTo>
                      <a:pt x="101" y="157"/>
                      <a:pt x="101" y="158"/>
                      <a:pt x="101" y="159"/>
                    </a:cubicBezTo>
                    <a:cubicBezTo>
                      <a:pt x="101" y="161"/>
                      <a:pt x="101" y="161"/>
                      <a:pt x="101" y="161"/>
                    </a:cubicBezTo>
                    <a:cubicBezTo>
                      <a:pt x="100" y="164"/>
                      <a:pt x="100" y="168"/>
                      <a:pt x="99" y="172"/>
                    </a:cubicBezTo>
                    <a:cubicBezTo>
                      <a:pt x="99" y="174"/>
                      <a:pt x="99" y="174"/>
                      <a:pt x="99" y="174"/>
                    </a:cubicBezTo>
                    <a:cubicBezTo>
                      <a:pt x="99" y="178"/>
                      <a:pt x="97" y="181"/>
                      <a:pt x="95" y="183"/>
                    </a:cubicBezTo>
                    <a:cubicBezTo>
                      <a:pt x="95" y="184"/>
                      <a:pt x="94" y="184"/>
                      <a:pt x="94" y="185"/>
                    </a:cubicBezTo>
                    <a:cubicBezTo>
                      <a:pt x="94" y="185"/>
                      <a:pt x="94" y="185"/>
                      <a:pt x="94" y="185"/>
                    </a:cubicBezTo>
                    <a:cubicBezTo>
                      <a:pt x="93" y="188"/>
                      <a:pt x="91" y="189"/>
                      <a:pt x="89" y="191"/>
                    </a:cubicBezTo>
                    <a:cubicBezTo>
                      <a:pt x="87" y="194"/>
                      <a:pt x="85" y="197"/>
                      <a:pt x="83" y="199"/>
                    </a:cubicBezTo>
                    <a:cubicBezTo>
                      <a:pt x="82" y="200"/>
                      <a:pt x="81" y="201"/>
                      <a:pt x="80" y="202"/>
                    </a:cubicBezTo>
                    <a:cubicBezTo>
                      <a:pt x="80" y="205"/>
                      <a:pt x="81" y="208"/>
                      <a:pt x="82" y="211"/>
                    </a:cubicBezTo>
                    <a:cubicBezTo>
                      <a:pt x="83" y="212"/>
                      <a:pt x="83" y="212"/>
                      <a:pt x="83" y="212"/>
                    </a:cubicBezTo>
                    <a:cubicBezTo>
                      <a:pt x="84" y="213"/>
                      <a:pt x="86" y="214"/>
                      <a:pt x="87" y="217"/>
                    </a:cubicBezTo>
                    <a:cubicBezTo>
                      <a:pt x="87" y="218"/>
                      <a:pt x="87" y="218"/>
                      <a:pt x="87" y="218"/>
                    </a:cubicBezTo>
                    <a:cubicBezTo>
                      <a:pt x="87" y="219"/>
                      <a:pt x="87" y="219"/>
                      <a:pt x="87" y="219"/>
                    </a:cubicBezTo>
                    <a:cubicBezTo>
                      <a:pt x="88" y="222"/>
                      <a:pt x="88" y="226"/>
                      <a:pt x="87" y="229"/>
                    </a:cubicBezTo>
                    <a:cubicBezTo>
                      <a:pt x="85" y="235"/>
                      <a:pt x="82" y="238"/>
                      <a:pt x="77" y="238"/>
                    </a:cubicBezTo>
                    <a:cubicBezTo>
                      <a:pt x="76" y="238"/>
                      <a:pt x="76" y="238"/>
                      <a:pt x="75" y="238"/>
                    </a:cubicBezTo>
                    <a:cubicBezTo>
                      <a:pt x="59" y="236"/>
                      <a:pt x="59" y="236"/>
                      <a:pt x="59" y="236"/>
                    </a:cubicBezTo>
                    <a:cubicBezTo>
                      <a:pt x="59" y="236"/>
                      <a:pt x="59" y="236"/>
                      <a:pt x="58" y="236"/>
                    </a:cubicBezTo>
                    <a:cubicBezTo>
                      <a:pt x="57" y="236"/>
                      <a:pt x="56" y="236"/>
                      <a:pt x="54" y="237"/>
                    </a:cubicBezTo>
                    <a:cubicBezTo>
                      <a:pt x="52" y="239"/>
                      <a:pt x="52" y="239"/>
                      <a:pt x="52" y="239"/>
                    </a:cubicBezTo>
                    <a:cubicBezTo>
                      <a:pt x="51" y="239"/>
                      <a:pt x="51" y="239"/>
                      <a:pt x="51" y="239"/>
                    </a:cubicBezTo>
                    <a:cubicBezTo>
                      <a:pt x="50" y="239"/>
                      <a:pt x="50" y="239"/>
                      <a:pt x="50" y="239"/>
                    </a:cubicBezTo>
                    <a:cubicBezTo>
                      <a:pt x="49" y="240"/>
                      <a:pt x="49" y="240"/>
                      <a:pt x="49" y="240"/>
                    </a:cubicBezTo>
                    <a:cubicBezTo>
                      <a:pt x="46" y="241"/>
                      <a:pt x="44" y="243"/>
                      <a:pt x="41" y="246"/>
                    </a:cubicBezTo>
                    <a:cubicBezTo>
                      <a:pt x="34" y="256"/>
                      <a:pt x="34" y="256"/>
                      <a:pt x="34" y="256"/>
                    </a:cubicBezTo>
                    <a:cubicBezTo>
                      <a:pt x="32" y="258"/>
                      <a:pt x="31" y="261"/>
                      <a:pt x="30" y="263"/>
                    </a:cubicBezTo>
                    <a:cubicBezTo>
                      <a:pt x="28" y="266"/>
                      <a:pt x="28" y="266"/>
                      <a:pt x="28" y="266"/>
                    </a:cubicBezTo>
                    <a:cubicBezTo>
                      <a:pt x="28" y="267"/>
                      <a:pt x="28" y="268"/>
                      <a:pt x="28" y="268"/>
                    </a:cubicBezTo>
                    <a:cubicBezTo>
                      <a:pt x="28" y="268"/>
                      <a:pt x="28" y="268"/>
                      <a:pt x="28" y="269"/>
                    </a:cubicBezTo>
                    <a:cubicBezTo>
                      <a:pt x="29" y="271"/>
                      <a:pt x="29" y="271"/>
                      <a:pt x="29" y="271"/>
                    </a:cubicBezTo>
                    <a:cubicBezTo>
                      <a:pt x="30" y="272"/>
                      <a:pt x="30" y="272"/>
                      <a:pt x="30" y="273"/>
                    </a:cubicBezTo>
                    <a:cubicBezTo>
                      <a:pt x="32" y="276"/>
                      <a:pt x="34" y="280"/>
                      <a:pt x="33" y="284"/>
                    </a:cubicBezTo>
                    <a:cubicBezTo>
                      <a:pt x="33" y="287"/>
                      <a:pt x="33" y="287"/>
                      <a:pt x="33" y="287"/>
                    </a:cubicBezTo>
                    <a:cubicBezTo>
                      <a:pt x="32" y="290"/>
                      <a:pt x="32" y="294"/>
                      <a:pt x="30" y="298"/>
                    </a:cubicBezTo>
                    <a:cubicBezTo>
                      <a:pt x="30" y="298"/>
                      <a:pt x="30" y="298"/>
                      <a:pt x="30" y="298"/>
                    </a:cubicBezTo>
                    <a:cubicBezTo>
                      <a:pt x="30" y="299"/>
                      <a:pt x="30" y="299"/>
                      <a:pt x="31" y="300"/>
                    </a:cubicBezTo>
                    <a:cubicBezTo>
                      <a:pt x="31" y="300"/>
                      <a:pt x="31" y="301"/>
                      <a:pt x="32" y="301"/>
                    </a:cubicBezTo>
                    <a:cubicBezTo>
                      <a:pt x="32" y="302"/>
                      <a:pt x="32" y="302"/>
                      <a:pt x="32" y="302"/>
                    </a:cubicBezTo>
                    <a:cubicBezTo>
                      <a:pt x="34" y="306"/>
                      <a:pt x="37" y="311"/>
                      <a:pt x="36" y="315"/>
                    </a:cubicBezTo>
                    <a:cubicBezTo>
                      <a:pt x="32" y="334"/>
                      <a:pt x="32" y="334"/>
                      <a:pt x="32" y="334"/>
                    </a:cubicBezTo>
                    <a:cubicBezTo>
                      <a:pt x="32" y="336"/>
                      <a:pt x="32" y="336"/>
                      <a:pt x="33" y="336"/>
                    </a:cubicBezTo>
                    <a:cubicBezTo>
                      <a:pt x="33" y="337"/>
                      <a:pt x="33" y="337"/>
                      <a:pt x="33" y="337"/>
                    </a:cubicBezTo>
                    <a:cubicBezTo>
                      <a:pt x="34" y="337"/>
                      <a:pt x="35" y="338"/>
                      <a:pt x="35" y="338"/>
                    </a:cubicBezTo>
                    <a:cubicBezTo>
                      <a:pt x="36" y="339"/>
                      <a:pt x="37" y="340"/>
                      <a:pt x="38" y="340"/>
                    </a:cubicBezTo>
                    <a:cubicBezTo>
                      <a:pt x="39" y="341"/>
                      <a:pt x="39" y="341"/>
                      <a:pt x="40" y="342"/>
                    </a:cubicBezTo>
                    <a:cubicBezTo>
                      <a:pt x="41" y="343"/>
                      <a:pt x="41" y="343"/>
                      <a:pt x="41" y="343"/>
                    </a:cubicBezTo>
                    <a:cubicBezTo>
                      <a:pt x="46" y="346"/>
                      <a:pt x="48" y="349"/>
                      <a:pt x="49" y="351"/>
                    </a:cubicBezTo>
                    <a:cubicBezTo>
                      <a:pt x="51" y="353"/>
                      <a:pt x="52" y="356"/>
                      <a:pt x="51" y="359"/>
                    </a:cubicBezTo>
                    <a:cubicBezTo>
                      <a:pt x="51" y="359"/>
                      <a:pt x="47" y="370"/>
                      <a:pt x="44" y="370"/>
                    </a:cubicBezTo>
                    <a:cubicBezTo>
                      <a:pt x="43" y="370"/>
                      <a:pt x="43" y="370"/>
                      <a:pt x="43" y="370"/>
                    </a:cubicBezTo>
                    <a:cubicBezTo>
                      <a:pt x="41" y="371"/>
                      <a:pt x="38" y="371"/>
                      <a:pt x="36" y="371"/>
                    </a:cubicBezTo>
                    <a:cubicBezTo>
                      <a:pt x="37" y="373"/>
                      <a:pt x="37" y="374"/>
                      <a:pt x="38" y="375"/>
                    </a:cubicBezTo>
                    <a:cubicBezTo>
                      <a:pt x="41" y="381"/>
                      <a:pt x="44" y="387"/>
                      <a:pt x="43" y="393"/>
                    </a:cubicBezTo>
                    <a:cubicBezTo>
                      <a:pt x="42" y="394"/>
                      <a:pt x="42" y="394"/>
                      <a:pt x="42" y="394"/>
                    </a:cubicBezTo>
                    <a:cubicBezTo>
                      <a:pt x="41" y="398"/>
                      <a:pt x="40" y="402"/>
                      <a:pt x="39" y="406"/>
                    </a:cubicBezTo>
                    <a:cubicBezTo>
                      <a:pt x="39" y="407"/>
                      <a:pt x="39" y="407"/>
                      <a:pt x="39" y="407"/>
                    </a:cubicBezTo>
                    <a:cubicBezTo>
                      <a:pt x="42" y="408"/>
                      <a:pt x="42" y="408"/>
                      <a:pt x="42" y="408"/>
                    </a:cubicBezTo>
                    <a:cubicBezTo>
                      <a:pt x="39" y="408"/>
                      <a:pt x="39" y="408"/>
                      <a:pt x="39" y="408"/>
                    </a:cubicBezTo>
                    <a:cubicBezTo>
                      <a:pt x="38" y="411"/>
                      <a:pt x="38" y="411"/>
                      <a:pt x="38" y="411"/>
                    </a:cubicBezTo>
                    <a:cubicBezTo>
                      <a:pt x="36" y="415"/>
                      <a:pt x="33" y="416"/>
                      <a:pt x="30" y="416"/>
                    </a:cubicBezTo>
                    <a:cubicBezTo>
                      <a:pt x="30" y="417"/>
                      <a:pt x="29" y="417"/>
                      <a:pt x="28" y="417"/>
                    </a:cubicBezTo>
                    <a:cubicBezTo>
                      <a:pt x="24" y="419"/>
                      <a:pt x="24" y="419"/>
                      <a:pt x="24" y="419"/>
                    </a:cubicBezTo>
                    <a:cubicBezTo>
                      <a:pt x="24" y="419"/>
                      <a:pt x="24" y="420"/>
                      <a:pt x="24" y="420"/>
                    </a:cubicBezTo>
                    <a:cubicBezTo>
                      <a:pt x="24" y="423"/>
                      <a:pt x="22" y="425"/>
                      <a:pt x="21" y="427"/>
                    </a:cubicBezTo>
                    <a:cubicBezTo>
                      <a:pt x="20" y="428"/>
                      <a:pt x="20" y="428"/>
                      <a:pt x="20" y="431"/>
                    </a:cubicBezTo>
                    <a:cubicBezTo>
                      <a:pt x="20" y="432"/>
                      <a:pt x="21" y="433"/>
                      <a:pt x="21" y="434"/>
                    </a:cubicBezTo>
                    <a:cubicBezTo>
                      <a:pt x="22" y="438"/>
                      <a:pt x="22" y="442"/>
                      <a:pt x="22" y="445"/>
                    </a:cubicBezTo>
                    <a:cubicBezTo>
                      <a:pt x="16" y="462"/>
                      <a:pt x="16" y="462"/>
                      <a:pt x="16" y="462"/>
                    </a:cubicBezTo>
                    <a:cubicBezTo>
                      <a:pt x="13" y="460"/>
                      <a:pt x="13" y="460"/>
                      <a:pt x="13" y="460"/>
                    </a:cubicBezTo>
                    <a:cubicBezTo>
                      <a:pt x="12" y="460"/>
                      <a:pt x="11" y="459"/>
                      <a:pt x="10" y="459"/>
                    </a:cubicBezTo>
                    <a:cubicBezTo>
                      <a:pt x="9" y="459"/>
                      <a:pt x="9" y="459"/>
                      <a:pt x="9" y="459"/>
                    </a:cubicBezTo>
                    <a:cubicBezTo>
                      <a:pt x="6" y="457"/>
                      <a:pt x="3" y="456"/>
                      <a:pt x="1" y="455"/>
                    </a:cubicBezTo>
                    <a:cubicBezTo>
                      <a:pt x="0" y="461"/>
                      <a:pt x="1" y="467"/>
                      <a:pt x="2" y="474"/>
                    </a:cubicBezTo>
                    <a:cubicBezTo>
                      <a:pt x="2" y="476"/>
                      <a:pt x="2" y="480"/>
                      <a:pt x="3" y="481"/>
                    </a:cubicBezTo>
                    <a:cubicBezTo>
                      <a:pt x="3" y="481"/>
                      <a:pt x="3" y="481"/>
                      <a:pt x="3" y="481"/>
                    </a:cubicBezTo>
                    <a:cubicBezTo>
                      <a:pt x="4" y="481"/>
                      <a:pt x="4" y="481"/>
                      <a:pt x="4" y="480"/>
                    </a:cubicBezTo>
                    <a:cubicBezTo>
                      <a:pt x="4" y="480"/>
                      <a:pt x="4" y="480"/>
                      <a:pt x="5" y="480"/>
                    </a:cubicBezTo>
                    <a:cubicBezTo>
                      <a:pt x="5" y="480"/>
                      <a:pt x="5" y="480"/>
                      <a:pt x="5" y="480"/>
                    </a:cubicBezTo>
                    <a:cubicBezTo>
                      <a:pt x="6" y="482"/>
                      <a:pt x="7" y="484"/>
                      <a:pt x="8" y="484"/>
                    </a:cubicBezTo>
                    <a:cubicBezTo>
                      <a:pt x="9" y="484"/>
                      <a:pt x="10" y="483"/>
                      <a:pt x="11" y="482"/>
                    </a:cubicBezTo>
                    <a:cubicBezTo>
                      <a:pt x="12" y="481"/>
                      <a:pt x="11" y="477"/>
                      <a:pt x="14" y="477"/>
                    </a:cubicBezTo>
                    <a:cubicBezTo>
                      <a:pt x="14" y="477"/>
                      <a:pt x="15" y="477"/>
                      <a:pt x="15" y="478"/>
                    </a:cubicBezTo>
                    <a:cubicBezTo>
                      <a:pt x="14" y="480"/>
                      <a:pt x="12" y="482"/>
                      <a:pt x="11" y="485"/>
                    </a:cubicBezTo>
                    <a:cubicBezTo>
                      <a:pt x="14" y="484"/>
                      <a:pt x="17" y="483"/>
                      <a:pt x="20" y="482"/>
                    </a:cubicBezTo>
                    <a:cubicBezTo>
                      <a:pt x="20" y="482"/>
                      <a:pt x="20" y="482"/>
                      <a:pt x="20" y="482"/>
                    </a:cubicBezTo>
                    <a:cubicBezTo>
                      <a:pt x="20" y="484"/>
                      <a:pt x="20" y="484"/>
                      <a:pt x="20" y="484"/>
                    </a:cubicBezTo>
                    <a:cubicBezTo>
                      <a:pt x="21" y="484"/>
                      <a:pt x="21" y="484"/>
                      <a:pt x="21" y="484"/>
                    </a:cubicBezTo>
                    <a:cubicBezTo>
                      <a:pt x="21" y="485"/>
                      <a:pt x="21" y="486"/>
                      <a:pt x="21" y="487"/>
                    </a:cubicBezTo>
                    <a:cubicBezTo>
                      <a:pt x="21" y="487"/>
                      <a:pt x="21" y="487"/>
                      <a:pt x="21" y="487"/>
                    </a:cubicBezTo>
                    <a:cubicBezTo>
                      <a:pt x="21" y="487"/>
                      <a:pt x="20" y="487"/>
                      <a:pt x="20" y="488"/>
                    </a:cubicBezTo>
                    <a:cubicBezTo>
                      <a:pt x="19" y="489"/>
                      <a:pt x="19" y="491"/>
                      <a:pt x="19" y="492"/>
                    </a:cubicBezTo>
                    <a:cubicBezTo>
                      <a:pt x="18" y="494"/>
                      <a:pt x="18" y="495"/>
                      <a:pt x="18" y="497"/>
                    </a:cubicBezTo>
                    <a:cubicBezTo>
                      <a:pt x="17" y="499"/>
                      <a:pt x="15" y="504"/>
                      <a:pt x="18" y="504"/>
                    </a:cubicBezTo>
                    <a:cubicBezTo>
                      <a:pt x="18" y="504"/>
                      <a:pt x="19" y="504"/>
                      <a:pt x="20" y="504"/>
                    </a:cubicBezTo>
                    <a:cubicBezTo>
                      <a:pt x="19" y="504"/>
                      <a:pt x="17" y="506"/>
                      <a:pt x="17" y="507"/>
                    </a:cubicBezTo>
                    <a:cubicBezTo>
                      <a:pt x="17" y="508"/>
                      <a:pt x="19" y="510"/>
                      <a:pt x="20" y="511"/>
                    </a:cubicBezTo>
                    <a:cubicBezTo>
                      <a:pt x="23" y="513"/>
                      <a:pt x="22" y="515"/>
                      <a:pt x="22" y="518"/>
                    </a:cubicBezTo>
                    <a:cubicBezTo>
                      <a:pt x="21" y="521"/>
                      <a:pt x="25" y="524"/>
                      <a:pt x="26" y="526"/>
                    </a:cubicBezTo>
                    <a:cubicBezTo>
                      <a:pt x="29" y="531"/>
                      <a:pt x="31" y="536"/>
                      <a:pt x="35" y="540"/>
                    </a:cubicBezTo>
                    <a:cubicBezTo>
                      <a:pt x="36" y="542"/>
                      <a:pt x="38" y="543"/>
                      <a:pt x="40" y="545"/>
                    </a:cubicBezTo>
                    <a:cubicBezTo>
                      <a:pt x="41" y="546"/>
                      <a:pt x="43" y="550"/>
                      <a:pt x="45" y="551"/>
                    </a:cubicBezTo>
                    <a:cubicBezTo>
                      <a:pt x="49" y="553"/>
                      <a:pt x="51" y="551"/>
                      <a:pt x="50" y="558"/>
                    </a:cubicBezTo>
                    <a:cubicBezTo>
                      <a:pt x="50" y="559"/>
                      <a:pt x="48" y="559"/>
                      <a:pt x="46" y="559"/>
                    </a:cubicBezTo>
                    <a:cubicBezTo>
                      <a:pt x="46" y="559"/>
                      <a:pt x="46" y="559"/>
                      <a:pt x="46" y="559"/>
                    </a:cubicBezTo>
                    <a:cubicBezTo>
                      <a:pt x="46" y="559"/>
                      <a:pt x="46" y="559"/>
                      <a:pt x="45" y="559"/>
                    </a:cubicBezTo>
                    <a:cubicBezTo>
                      <a:pt x="44" y="559"/>
                      <a:pt x="43" y="559"/>
                      <a:pt x="42" y="559"/>
                    </a:cubicBezTo>
                    <a:cubicBezTo>
                      <a:pt x="41" y="561"/>
                      <a:pt x="42" y="560"/>
                      <a:pt x="43" y="561"/>
                    </a:cubicBezTo>
                    <a:cubicBezTo>
                      <a:pt x="45" y="562"/>
                      <a:pt x="45" y="562"/>
                      <a:pt x="45" y="562"/>
                    </a:cubicBezTo>
                    <a:cubicBezTo>
                      <a:pt x="46" y="563"/>
                      <a:pt x="46" y="566"/>
                      <a:pt x="46" y="568"/>
                    </a:cubicBezTo>
                    <a:cubicBezTo>
                      <a:pt x="43" y="567"/>
                      <a:pt x="41" y="566"/>
                      <a:pt x="38" y="565"/>
                    </a:cubicBezTo>
                    <a:cubicBezTo>
                      <a:pt x="40" y="567"/>
                      <a:pt x="41" y="571"/>
                      <a:pt x="42" y="573"/>
                    </a:cubicBezTo>
                    <a:cubicBezTo>
                      <a:pt x="44" y="576"/>
                      <a:pt x="46" y="579"/>
                      <a:pt x="47" y="582"/>
                    </a:cubicBezTo>
                    <a:cubicBezTo>
                      <a:pt x="48" y="583"/>
                      <a:pt x="49" y="586"/>
                      <a:pt x="50" y="587"/>
                    </a:cubicBezTo>
                    <a:cubicBezTo>
                      <a:pt x="53" y="589"/>
                      <a:pt x="54" y="589"/>
                      <a:pt x="54" y="592"/>
                    </a:cubicBezTo>
                    <a:cubicBezTo>
                      <a:pt x="54" y="592"/>
                      <a:pt x="52" y="591"/>
                      <a:pt x="52" y="592"/>
                    </a:cubicBezTo>
                    <a:cubicBezTo>
                      <a:pt x="51" y="594"/>
                      <a:pt x="52" y="597"/>
                      <a:pt x="52" y="599"/>
                    </a:cubicBezTo>
                    <a:cubicBezTo>
                      <a:pt x="51" y="598"/>
                      <a:pt x="51" y="598"/>
                      <a:pt x="51" y="598"/>
                    </a:cubicBezTo>
                    <a:cubicBezTo>
                      <a:pt x="51" y="600"/>
                      <a:pt x="49" y="601"/>
                      <a:pt x="48" y="601"/>
                    </a:cubicBezTo>
                    <a:cubicBezTo>
                      <a:pt x="61" y="601"/>
                      <a:pt x="74" y="601"/>
                      <a:pt x="87" y="600"/>
                    </a:cubicBezTo>
                    <a:cubicBezTo>
                      <a:pt x="88" y="600"/>
                      <a:pt x="90" y="596"/>
                      <a:pt x="91" y="595"/>
                    </a:cubicBezTo>
                    <a:cubicBezTo>
                      <a:pt x="91" y="594"/>
                      <a:pt x="90" y="592"/>
                      <a:pt x="90" y="591"/>
                    </a:cubicBezTo>
                    <a:cubicBezTo>
                      <a:pt x="88" y="587"/>
                      <a:pt x="86" y="584"/>
                      <a:pt x="89" y="581"/>
                    </a:cubicBezTo>
                    <a:cubicBezTo>
                      <a:pt x="94" y="573"/>
                      <a:pt x="106" y="572"/>
                      <a:pt x="114" y="571"/>
                    </a:cubicBezTo>
                    <a:cubicBezTo>
                      <a:pt x="118" y="570"/>
                      <a:pt x="122" y="569"/>
                      <a:pt x="125" y="569"/>
                    </a:cubicBezTo>
                    <a:cubicBezTo>
                      <a:pt x="126" y="569"/>
                      <a:pt x="127" y="569"/>
                      <a:pt x="127" y="569"/>
                    </a:cubicBezTo>
                    <a:cubicBezTo>
                      <a:pt x="130" y="569"/>
                      <a:pt x="131" y="572"/>
                      <a:pt x="133" y="573"/>
                    </a:cubicBezTo>
                    <a:cubicBezTo>
                      <a:pt x="139" y="567"/>
                      <a:pt x="142" y="559"/>
                      <a:pt x="147" y="552"/>
                    </a:cubicBezTo>
                    <a:cubicBezTo>
                      <a:pt x="148" y="550"/>
                      <a:pt x="151" y="547"/>
                      <a:pt x="151" y="545"/>
                    </a:cubicBezTo>
                    <a:cubicBezTo>
                      <a:pt x="151" y="545"/>
                      <a:pt x="151" y="545"/>
                      <a:pt x="151" y="545"/>
                    </a:cubicBezTo>
                    <a:cubicBezTo>
                      <a:pt x="151" y="545"/>
                      <a:pt x="150" y="545"/>
                      <a:pt x="150" y="545"/>
                    </a:cubicBezTo>
                    <a:cubicBezTo>
                      <a:pt x="150" y="543"/>
                      <a:pt x="150" y="540"/>
                      <a:pt x="150" y="538"/>
                    </a:cubicBezTo>
                    <a:cubicBezTo>
                      <a:pt x="151" y="534"/>
                      <a:pt x="151" y="536"/>
                      <a:pt x="154" y="534"/>
                    </a:cubicBezTo>
                    <a:cubicBezTo>
                      <a:pt x="154" y="534"/>
                      <a:pt x="150" y="527"/>
                      <a:pt x="152" y="524"/>
                    </a:cubicBezTo>
                    <a:cubicBezTo>
                      <a:pt x="154" y="521"/>
                      <a:pt x="158" y="520"/>
                      <a:pt x="157" y="516"/>
                    </a:cubicBezTo>
                    <a:cubicBezTo>
                      <a:pt x="156" y="513"/>
                      <a:pt x="155" y="514"/>
                      <a:pt x="153" y="511"/>
                    </a:cubicBezTo>
                    <a:cubicBezTo>
                      <a:pt x="153" y="511"/>
                      <a:pt x="154" y="511"/>
                      <a:pt x="154" y="511"/>
                    </a:cubicBezTo>
                    <a:cubicBezTo>
                      <a:pt x="154" y="511"/>
                      <a:pt x="154" y="511"/>
                      <a:pt x="154" y="511"/>
                    </a:cubicBezTo>
                    <a:cubicBezTo>
                      <a:pt x="154" y="511"/>
                      <a:pt x="155" y="511"/>
                      <a:pt x="155" y="511"/>
                    </a:cubicBezTo>
                    <a:cubicBezTo>
                      <a:pt x="155" y="511"/>
                      <a:pt x="156" y="511"/>
                      <a:pt x="156" y="512"/>
                    </a:cubicBezTo>
                    <a:cubicBezTo>
                      <a:pt x="156" y="510"/>
                      <a:pt x="155" y="509"/>
                      <a:pt x="154" y="508"/>
                    </a:cubicBezTo>
                    <a:cubicBezTo>
                      <a:pt x="155" y="508"/>
                      <a:pt x="156" y="508"/>
                      <a:pt x="157" y="508"/>
                    </a:cubicBezTo>
                    <a:cubicBezTo>
                      <a:pt x="158" y="508"/>
                      <a:pt x="158" y="506"/>
                      <a:pt x="156" y="505"/>
                    </a:cubicBezTo>
                    <a:cubicBezTo>
                      <a:pt x="155" y="503"/>
                      <a:pt x="153" y="501"/>
                      <a:pt x="151" y="499"/>
                    </a:cubicBezTo>
                    <a:cubicBezTo>
                      <a:pt x="152" y="499"/>
                      <a:pt x="152" y="499"/>
                      <a:pt x="153" y="499"/>
                    </a:cubicBezTo>
                    <a:cubicBezTo>
                      <a:pt x="153" y="499"/>
                      <a:pt x="153" y="499"/>
                      <a:pt x="154" y="499"/>
                    </a:cubicBezTo>
                    <a:cubicBezTo>
                      <a:pt x="154" y="499"/>
                      <a:pt x="154" y="499"/>
                      <a:pt x="155" y="499"/>
                    </a:cubicBezTo>
                    <a:cubicBezTo>
                      <a:pt x="155" y="499"/>
                      <a:pt x="155" y="499"/>
                      <a:pt x="155" y="499"/>
                    </a:cubicBezTo>
                    <a:cubicBezTo>
                      <a:pt x="156" y="499"/>
                      <a:pt x="157" y="500"/>
                      <a:pt x="157" y="500"/>
                    </a:cubicBezTo>
                    <a:cubicBezTo>
                      <a:pt x="158" y="500"/>
                      <a:pt x="159" y="500"/>
                      <a:pt x="160" y="499"/>
                    </a:cubicBezTo>
                    <a:cubicBezTo>
                      <a:pt x="159" y="497"/>
                      <a:pt x="158" y="496"/>
                      <a:pt x="157" y="496"/>
                    </a:cubicBezTo>
                    <a:cubicBezTo>
                      <a:pt x="159" y="493"/>
                      <a:pt x="162" y="490"/>
                      <a:pt x="161" y="486"/>
                    </a:cubicBezTo>
                    <a:cubicBezTo>
                      <a:pt x="160" y="481"/>
                      <a:pt x="160" y="484"/>
                      <a:pt x="157" y="481"/>
                    </a:cubicBezTo>
                    <a:cubicBezTo>
                      <a:pt x="158" y="481"/>
                      <a:pt x="159" y="480"/>
                      <a:pt x="160" y="480"/>
                    </a:cubicBezTo>
                    <a:cubicBezTo>
                      <a:pt x="157" y="479"/>
                      <a:pt x="153" y="478"/>
                      <a:pt x="150" y="476"/>
                    </a:cubicBezTo>
                    <a:cubicBezTo>
                      <a:pt x="150" y="476"/>
                      <a:pt x="150" y="476"/>
                      <a:pt x="151" y="476"/>
                    </a:cubicBezTo>
                    <a:cubicBezTo>
                      <a:pt x="153" y="476"/>
                      <a:pt x="154" y="476"/>
                      <a:pt x="155" y="477"/>
                    </a:cubicBezTo>
                    <a:cubicBezTo>
                      <a:pt x="157" y="477"/>
                      <a:pt x="158" y="478"/>
                      <a:pt x="160" y="478"/>
                    </a:cubicBezTo>
                    <a:cubicBezTo>
                      <a:pt x="161" y="478"/>
                      <a:pt x="163" y="477"/>
                      <a:pt x="165" y="475"/>
                    </a:cubicBezTo>
                    <a:cubicBezTo>
                      <a:pt x="161" y="473"/>
                      <a:pt x="158" y="470"/>
                      <a:pt x="153" y="470"/>
                    </a:cubicBezTo>
                    <a:cubicBezTo>
                      <a:pt x="151" y="470"/>
                      <a:pt x="151" y="470"/>
                      <a:pt x="151" y="470"/>
                    </a:cubicBezTo>
                    <a:cubicBezTo>
                      <a:pt x="151" y="470"/>
                      <a:pt x="149" y="471"/>
                      <a:pt x="150" y="471"/>
                    </a:cubicBezTo>
                    <a:cubicBezTo>
                      <a:pt x="149" y="471"/>
                      <a:pt x="147" y="470"/>
                      <a:pt x="145" y="470"/>
                    </a:cubicBezTo>
                    <a:cubicBezTo>
                      <a:pt x="142" y="469"/>
                      <a:pt x="147" y="468"/>
                      <a:pt x="147" y="468"/>
                    </a:cubicBezTo>
                    <a:cubicBezTo>
                      <a:pt x="147" y="468"/>
                      <a:pt x="147" y="468"/>
                      <a:pt x="147" y="468"/>
                    </a:cubicBezTo>
                    <a:cubicBezTo>
                      <a:pt x="148" y="468"/>
                      <a:pt x="149" y="468"/>
                      <a:pt x="150" y="469"/>
                    </a:cubicBezTo>
                    <a:cubicBezTo>
                      <a:pt x="152" y="469"/>
                      <a:pt x="154" y="469"/>
                      <a:pt x="157" y="469"/>
                    </a:cubicBezTo>
                    <a:cubicBezTo>
                      <a:pt x="157" y="469"/>
                      <a:pt x="158" y="469"/>
                      <a:pt x="159" y="469"/>
                    </a:cubicBezTo>
                    <a:cubicBezTo>
                      <a:pt x="165" y="469"/>
                      <a:pt x="172" y="467"/>
                      <a:pt x="178" y="465"/>
                    </a:cubicBezTo>
                    <a:cubicBezTo>
                      <a:pt x="182" y="464"/>
                      <a:pt x="183" y="460"/>
                      <a:pt x="183" y="456"/>
                    </a:cubicBezTo>
                    <a:cubicBezTo>
                      <a:pt x="184" y="457"/>
                      <a:pt x="185" y="458"/>
                      <a:pt x="186" y="458"/>
                    </a:cubicBezTo>
                    <a:cubicBezTo>
                      <a:pt x="186" y="457"/>
                      <a:pt x="185" y="450"/>
                      <a:pt x="186" y="449"/>
                    </a:cubicBezTo>
                    <a:cubicBezTo>
                      <a:pt x="187" y="448"/>
                      <a:pt x="187" y="448"/>
                      <a:pt x="187" y="448"/>
                    </a:cubicBezTo>
                    <a:cubicBezTo>
                      <a:pt x="188" y="448"/>
                      <a:pt x="188" y="449"/>
                      <a:pt x="188" y="449"/>
                    </a:cubicBezTo>
                    <a:cubicBezTo>
                      <a:pt x="188" y="450"/>
                      <a:pt x="188" y="451"/>
                      <a:pt x="188" y="451"/>
                    </a:cubicBezTo>
                    <a:cubicBezTo>
                      <a:pt x="188" y="451"/>
                      <a:pt x="188" y="451"/>
                      <a:pt x="188" y="451"/>
                    </a:cubicBezTo>
                    <a:cubicBezTo>
                      <a:pt x="188" y="455"/>
                      <a:pt x="187" y="458"/>
                      <a:pt x="191" y="462"/>
                    </a:cubicBezTo>
                    <a:cubicBezTo>
                      <a:pt x="190" y="462"/>
                      <a:pt x="190" y="461"/>
                      <a:pt x="190" y="461"/>
                    </a:cubicBezTo>
                    <a:cubicBezTo>
                      <a:pt x="193" y="460"/>
                      <a:pt x="192" y="459"/>
                      <a:pt x="194" y="457"/>
                    </a:cubicBezTo>
                    <a:cubicBezTo>
                      <a:pt x="195" y="456"/>
                      <a:pt x="197" y="454"/>
                      <a:pt x="199" y="453"/>
                    </a:cubicBezTo>
                    <a:cubicBezTo>
                      <a:pt x="199" y="454"/>
                      <a:pt x="199" y="454"/>
                      <a:pt x="199" y="454"/>
                    </a:cubicBezTo>
                    <a:cubicBezTo>
                      <a:pt x="199" y="453"/>
                      <a:pt x="199" y="453"/>
                      <a:pt x="199" y="453"/>
                    </a:cubicBezTo>
                    <a:cubicBezTo>
                      <a:pt x="202" y="451"/>
                      <a:pt x="205" y="449"/>
                      <a:pt x="208" y="447"/>
                    </a:cubicBezTo>
                    <a:cubicBezTo>
                      <a:pt x="208" y="447"/>
                      <a:pt x="208" y="447"/>
                      <a:pt x="207" y="447"/>
                    </a:cubicBezTo>
                    <a:cubicBezTo>
                      <a:pt x="206" y="447"/>
                      <a:pt x="205" y="445"/>
                      <a:pt x="205" y="443"/>
                    </a:cubicBezTo>
                    <a:cubicBezTo>
                      <a:pt x="206" y="443"/>
                      <a:pt x="206" y="443"/>
                      <a:pt x="206" y="443"/>
                    </a:cubicBezTo>
                    <a:cubicBezTo>
                      <a:pt x="207" y="443"/>
                      <a:pt x="207" y="443"/>
                      <a:pt x="207" y="443"/>
                    </a:cubicBezTo>
                    <a:cubicBezTo>
                      <a:pt x="208" y="444"/>
                      <a:pt x="209" y="444"/>
                      <a:pt x="210" y="444"/>
                    </a:cubicBezTo>
                    <a:cubicBezTo>
                      <a:pt x="211" y="444"/>
                      <a:pt x="211" y="444"/>
                      <a:pt x="212" y="444"/>
                    </a:cubicBezTo>
                    <a:cubicBezTo>
                      <a:pt x="210" y="443"/>
                      <a:pt x="209" y="442"/>
                      <a:pt x="208" y="442"/>
                    </a:cubicBezTo>
                    <a:cubicBezTo>
                      <a:pt x="208" y="442"/>
                      <a:pt x="208" y="442"/>
                      <a:pt x="208" y="442"/>
                    </a:cubicBezTo>
                    <a:cubicBezTo>
                      <a:pt x="209" y="442"/>
                      <a:pt x="211" y="443"/>
                      <a:pt x="212" y="443"/>
                    </a:cubicBezTo>
                    <a:cubicBezTo>
                      <a:pt x="213" y="443"/>
                      <a:pt x="214" y="443"/>
                      <a:pt x="214" y="442"/>
                    </a:cubicBezTo>
                    <a:cubicBezTo>
                      <a:pt x="214" y="442"/>
                      <a:pt x="214" y="442"/>
                      <a:pt x="214" y="442"/>
                    </a:cubicBezTo>
                    <a:cubicBezTo>
                      <a:pt x="212" y="442"/>
                      <a:pt x="214" y="440"/>
                      <a:pt x="212" y="439"/>
                    </a:cubicBezTo>
                    <a:cubicBezTo>
                      <a:pt x="211" y="438"/>
                      <a:pt x="208" y="437"/>
                      <a:pt x="206" y="436"/>
                    </a:cubicBezTo>
                    <a:cubicBezTo>
                      <a:pt x="207" y="437"/>
                      <a:pt x="207" y="438"/>
                      <a:pt x="207" y="439"/>
                    </a:cubicBezTo>
                    <a:cubicBezTo>
                      <a:pt x="207" y="439"/>
                      <a:pt x="207" y="439"/>
                      <a:pt x="207" y="439"/>
                    </a:cubicBezTo>
                    <a:cubicBezTo>
                      <a:pt x="206" y="438"/>
                      <a:pt x="206" y="438"/>
                      <a:pt x="206" y="438"/>
                    </a:cubicBezTo>
                    <a:cubicBezTo>
                      <a:pt x="203" y="437"/>
                      <a:pt x="203" y="437"/>
                      <a:pt x="203" y="437"/>
                    </a:cubicBezTo>
                    <a:cubicBezTo>
                      <a:pt x="202" y="436"/>
                      <a:pt x="202" y="436"/>
                      <a:pt x="201" y="435"/>
                    </a:cubicBezTo>
                    <a:cubicBezTo>
                      <a:pt x="205" y="434"/>
                      <a:pt x="208" y="430"/>
                      <a:pt x="211" y="428"/>
                    </a:cubicBezTo>
                    <a:cubicBezTo>
                      <a:pt x="215" y="425"/>
                      <a:pt x="220" y="424"/>
                      <a:pt x="225" y="422"/>
                    </a:cubicBezTo>
                    <a:cubicBezTo>
                      <a:pt x="223" y="417"/>
                      <a:pt x="221" y="412"/>
                      <a:pt x="218" y="408"/>
                    </a:cubicBezTo>
                    <a:cubicBezTo>
                      <a:pt x="217" y="406"/>
                      <a:pt x="212" y="406"/>
                      <a:pt x="210" y="406"/>
                    </a:cubicBezTo>
                    <a:cubicBezTo>
                      <a:pt x="211" y="403"/>
                      <a:pt x="212" y="403"/>
                      <a:pt x="210" y="400"/>
                    </a:cubicBezTo>
                    <a:cubicBezTo>
                      <a:pt x="209" y="399"/>
                      <a:pt x="206" y="397"/>
                      <a:pt x="205" y="396"/>
                    </a:cubicBezTo>
                    <a:cubicBezTo>
                      <a:pt x="202" y="394"/>
                      <a:pt x="199" y="392"/>
                      <a:pt x="196" y="390"/>
                    </a:cubicBezTo>
                    <a:cubicBezTo>
                      <a:pt x="196" y="389"/>
                      <a:pt x="195" y="387"/>
                      <a:pt x="195" y="387"/>
                    </a:cubicBezTo>
                    <a:cubicBezTo>
                      <a:pt x="194" y="387"/>
                      <a:pt x="194" y="387"/>
                      <a:pt x="193" y="387"/>
                    </a:cubicBezTo>
                    <a:cubicBezTo>
                      <a:pt x="192" y="387"/>
                      <a:pt x="191" y="387"/>
                      <a:pt x="190" y="388"/>
                    </a:cubicBezTo>
                    <a:cubicBezTo>
                      <a:pt x="188" y="389"/>
                      <a:pt x="187" y="389"/>
                      <a:pt x="186" y="389"/>
                    </a:cubicBezTo>
                    <a:cubicBezTo>
                      <a:pt x="185" y="389"/>
                      <a:pt x="184" y="389"/>
                      <a:pt x="183" y="389"/>
                    </a:cubicBezTo>
                    <a:cubicBezTo>
                      <a:pt x="181" y="386"/>
                      <a:pt x="176" y="382"/>
                      <a:pt x="172" y="382"/>
                    </a:cubicBezTo>
                    <a:cubicBezTo>
                      <a:pt x="172" y="382"/>
                      <a:pt x="172" y="382"/>
                      <a:pt x="171" y="382"/>
                    </a:cubicBezTo>
                    <a:cubicBezTo>
                      <a:pt x="172" y="381"/>
                      <a:pt x="174" y="381"/>
                      <a:pt x="175" y="380"/>
                    </a:cubicBezTo>
                    <a:cubicBezTo>
                      <a:pt x="176" y="379"/>
                      <a:pt x="174" y="378"/>
                      <a:pt x="174" y="377"/>
                    </a:cubicBezTo>
                    <a:cubicBezTo>
                      <a:pt x="173" y="376"/>
                      <a:pt x="172" y="374"/>
                      <a:pt x="171" y="372"/>
                    </a:cubicBezTo>
                    <a:cubicBezTo>
                      <a:pt x="171" y="370"/>
                      <a:pt x="170" y="370"/>
                      <a:pt x="170" y="367"/>
                    </a:cubicBezTo>
                    <a:cubicBezTo>
                      <a:pt x="170" y="363"/>
                      <a:pt x="170" y="360"/>
                      <a:pt x="170" y="356"/>
                    </a:cubicBezTo>
                    <a:cubicBezTo>
                      <a:pt x="171" y="356"/>
                      <a:pt x="172" y="357"/>
                      <a:pt x="172" y="357"/>
                    </a:cubicBezTo>
                    <a:cubicBezTo>
                      <a:pt x="173" y="357"/>
                      <a:pt x="170" y="353"/>
                      <a:pt x="169" y="353"/>
                    </a:cubicBezTo>
                    <a:cubicBezTo>
                      <a:pt x="169" y="351"/>
                      <a:pt x="171" y="350"/>
                      <a:pt x="170" y="347"/>
                    </a:cubicBezTo>
                    <a:cubicBezTo>
                      <a:pt x="169" y="347"/>
                      <a:pt x="169" y="346"/>
                      <a:pt x="168" y="345"/>
                    </a:cubicBezTo>
                    <a:cubicBezTo>
                      <a:pt x="168" y="345"/>
                      <a:pt x="169" y="345"/>
                      <a:pt x="169" y="345"/>
                    </a:cubicBezTo>
                    <a:cubicBezTo>
                      <a:pt x="169" y="345"/>
                      <a:pt x="169" y="345"/>
                      <a:pt x="170" y="345"/>
                    </a:cubicBezTo>
                    <a:cubicBezTo>
                      <a:pt x="170" y="345"/>
                      <a:pt x="171" y="345"/>
                      <a:pt x="171" y="345"/>
                    </a:cubicBezTo>
                    <a:cubicBezTo>
                      <a:pt x="171" y="345"/>
                      <a:pt x="171" y="345"/>
                      <a:pt x="172" y="345"/>
                    </a:cubicBezTo>
                    <a:cubicBezTo>
                      <a:pt x="171" y="345"/>
                      <a:pt x="169" y="344"/>
                      <a:pt x="168" y="344"/>
                    </a:cubicBezTo>
                    <a:cubicBezTo>
                      <a:pt x="170" y="343"/>
                      <a:pt x="171" y="343"/>
                      <a:pt x="172" y="343"/>
                    </a:cubicBezTo>
                    <a:cubicBezTo>
                      <a:pt x="171" y="342"/>
                      <a:pt x="170" y="342"/>
                      <a:pt x="169" y="341"/>
                    </a:cubicBezTo>
                    <a:cubicBezTo>
                      <a:pt x="172" y="341"/>
                      <a:pt x="173" y="339"/>
                      <a:pt x="169" y="338"/>
                    </a:cubicBezTo>
                    <a:cubicBezTo>
                      <a:pt x="170" y="338"/>
                      <a:pt x="171" y="338"/>
                      <a:pt x="171" y="338"/>
                    </a:cubicBezTo>
                    <a:cubicBezTo>
                      <a:pt x="173" y="338"/>
                      <a:pt x="175" y="338"/>
                      <a:pt x="176" y="339"/>
                    </a:cubicBezTo>
                    <a:cubicBezTo>
                      <a:pt x="178" y="340"/>
                      <a:pt x="177" y="342"/>
                      <a:pt x="180" y="342"/>
                    </a:cubicBezTo>
                    <a:cubicBezTo>
                      <a:pt x="178" y="339"/>
                      <a:pt x="175" y="336"/>
                      <a:pt x="175" y="333"/>
                    </a:cubicBezTo>
                    <a:cubicBezTo>
                      <a:pt x="175" y="327"/>
                      <a:pt x="181" y="322"/>
                      <a:pt x="180" y="316"/>
                    </a:cubicBezTo>
                    <a:cubicBezTo>
                      <a:pt x="180" y="316"/>
                      <a:pt x="179" y="313"/>
                      <a:pt x="179" y="312"/>
                    </a:cubicBezTo>
                    <a:cubicBezTo>
                      <a:pt x="179" y="312"/>
                      <a:pt x="177" y="311"/>
                      <a:pt x="177" y="311"/>
                    </a:cubicBezTo>
                    <a:cubicBezTo>
                      <a:pt x="177" y="311"/>
                      <a:pt x="177" y="311"/>
                      <a:pt x="177" y="311"/>
                    </a:cubicBezTo>
                    <a:cubicBezTo>
                      <a:pt x="176" y="309"/>
                      <a:pt x="177" y="306"/>
                      <a:pt x="176" y="305"/>
                    </a:cubicBezTo>
                    <a:cubicBezTo>
                      <a:pt x="176" y="305"/>
                      <a:pt x="176" y="305"/>
                      <a:pt x="177" y="305"/>
                    </a:cubicBezTo>
                    <a:cubicBezTo>
                      <a:pt x="178" y="305"/>
                      <a:pt x="179" y="305"/>
                      <a:pt x="180" y="305"/>
                    </a:cubicBezTo>
                    <a:cubicBezTo>
                      <a:pt x="181" y="306"/>
                      <a:pt x="183" y="306"/>
                      <a:pt x="184" y="306"/>
                    </a:cubicBezTo>
                    <a:cubicBezTo>
                      <a:pt x="184" y="306"/>
                      <a:pt x="184" y="306"/>
                      <a:pt x="184" y="306"/>
                    </a:cubicBezTo>
                    <a:cubicBezTo>
                      <a:pt x="189" y="306"/>
                      <a:pt x="190" y="302"/>
                      <a:pt x="191" y="298"/>
                    </a:cubicBezTo>
                    <a:cubicBezTo>
                      <a:pt x="192" y="296"/>
                      <a:pt x="192" y="295"/>
                      <a:pt x="193" y="293"/>
                    </a:cubicBezTo>
                    <a:cubicBezTo>
                      <a:pt x="194" y="292"/>
                      <a:pt x="192" y="290"/>
                      <a:pt x="191" y="289"/>
                    </a:cubicBezTo>
                    <a:cubicBezTo>
                      <a:pt x="191" y="288"/>
                      <a:pt x="191" y="286"/>
                      <a:pt x="190" y="284"/>
                    </a:cubicBezTo>
                    <a:cubicBezTo>
                      <a:pt x="189" y="283"/>
                      <a:pt x="185" y="282"/>
                      <a:pt x="185" y="280"/>
                    </a:cubicBezTo>
                    <a:cubicBezTo>
                      <a:pt x="186" y="280"/>
                      <a:pt x="187" y="279"/>
                      <a:pt x="187" y="279"/>
                    </a:cubicBezTo>
                    <a:cubicBezTo>
                      <a:pt x="189" y="279"/>
                      <a:pt x="190" y="283"/>
                      <a:pt x="191" y="284"/>
                    </a:cubicBezTo>
                    <a:cubicBezTo>
                      <a:pt x="191" y="285"/>
                      <a:pt x="192" y="284"/>
                      <a:pt x="192" y="285"/>
                    </a:cubicBezTo>
                    <a:cubicBezTo>
                      <a:pt x="192" y="286"/>
                      <a:pt x="191" y="287"/>
                      <a:pt x="192" y="288"/>
                    </a:cubicBezTo>
                    <a:cubicBezTo>
                      <a:pt x="192" y="289"/>
                      <a:pt x="193" y="289"/>
                      <a:pt x="194" y="289"/>
                    </a:cubicBezTo>
                    <a:cubicBezTo>
                      <a:pt x="194" y="289"/>
                      <a:pt x="195" y="289"/>
                      <a:pt x="195" y="289"/>
                    </a:cubicBezTo>
                    <a:cubicBezTo>
                      <a:pt x="196" y="289"/>
                      <a:pt x="196" y="289"/>
                      <a:pt x="197" y="289"/>
                    </a:cubicBezTo>
                    <a:cubicBezTo>
                      <a:pt x="197" y="289"/>
                      <a:pt x="198" y="289"/>
                      <a:pt x="198" y="289"/>
                    </a:cubicBezTo>
                    <a:cubicBezTo>
                      <a:pt x="197" y="290"/>
                      <a:pt x="197" y="291"/>
                      <a:pt x="197" y="291"/>
                    </a:cubicBezTo>
                    <a:cubicBezTo>
                      <a:pt x="198" y="291"/>
                      <a:pt x="198" y="290"/>
                      <a:pt x="199" y="289"/>
                    </a:cubicBezTo>
                    <a:cubicBezTo>
                      <a:pt x="200" y="287"/>
                      <a:pt x="202" y="284"/>
                      <a:pt x="203" y="281"/>
                    </a:cubicBezTo>
                    <a:cubicBezTo>
                      <a:pt x="202" y="281"/>
                      <a:pt x="202" y="281"/>
                      <a:pt x="201" y="281"/>
                    </a:cubicBezTo>
                    <a:cubicBezTo>
                      <a:pt x="204" y="280"/>
                      <a:pt x="218" y="272"/>
                      <a:pt x="222" y="272"/>
                    </a:cubicBezTo>
                    <a:cubicBezTo>
                      <a:pt x="223" y="272"/>
                      <a:pt x="223" y="272"/>
                      <a:pt x="224" y="273"/>
                    </a:cubicBezTo>
                    <a:cubicBezTo>
                      <a:pt x="226" y="269"/>
                      <a:pt x="228" y="266"/>
                      <a:pt x="230" y="262"/>
                    </a:cubicBezTo>
                    <a:cubicBezTo>
                      <a:pt x="231" y="261"/>
                      <a:pt x="232" y="261"/>
                      <a:pt x="233" y="261"/>
                    </a:cubicBezTo>
                    <a:cubicBezTo>
                      <a:pt x="234" y="261"/>
                      <a:pt x="236" y="261"/>
                      <a:pt x="237" y="262"/>
                    </a:cubicBezTo>
                    <a:cubicBezTo>
                      <a:pt x="237" y="260"/>
                      <a:pt x="235" y="258"/>
                      <a:pt x="235" y="256"/>
                    </a:cubicBezTo>
                    <a:cubicBezTo>
                      <a:pt x="240" y="257"/>
                      <a:pt x="240" y="261"/>
                      <a:pt x="243" y="261"/>
                    </a:cubicBezTo>
                    <a:cubicBezTo>
                      <a:pt x="243" y="261"/>
                      <a:pt x="245" y="260"/>
                      <a:pt x="246" y="259"/>
                    </a:cubicBezTo>
                    <a:cubicBezTo>
                      <a:pt x="251" y="254"/>
                      <a:pt x="256" y="251"/>
                      <a:pt x="262" y="249"/>
                    </a:cubicBezTo>
                    <a:cubicBezTo>
                      <a:pt x="262" y="250"/>
                      <a:pt x="262" y="250"/>
                      <a:pt x="263" y="250"/>
                    </a:cubicBezTo>
                    <a:cubicBezTo>
                      <a:pt x="264" y="250"/>
                      <a:pt x="265" y="248"/>
                      <a:pt x="266" y="248"/>
                    </a:cubicBezTo>
                    <a:cubicBezTo>
                      <a:pt x="269" y="246"/>
                      <a:pt x="271" y="245"/>
                      <a:pt x="272" y="243"/>
                    </a:cubicBezTo>
                    <a:cubicBezTo>
                      <a:pt x="277" y="238"/>
                      <a:pt x="280" y="232"/>
                      <a:pt x="284" y="226"/>
                    </a:cubicBezTo>
                    <a:cubicBezTo>
                      <a:pt x="286" y="223"/>
                      <a:pt x="288" y="224"/>
                      <a:pt x="290" y="222"/>
                    </a:cubicBezTo>
                    <a:cubicBezTo>
                      <a:pt x="291" y="220"/>
                      <a:pt x="295" y="217"/>
                      <a:pt x="297" y="217"/>
                    </a:cubicBezTo>
                    <a:cubicBezTo>
                      <a:pt x="293" y="216"/>
                      <a:pt x="293" y="216"/>
                      <a:pt x="292" y="213"/>
                    </a:cubicBezTo>
                    <a:cubicBezTo>
                      <a:pt x="293" y="213"/>
                      <a:pt x="294" y="213"/>
                      <a:pt x="295" y="213"/>
                    </a:cubicBezTo>
                    <a:cubicBezTo>
                      <a:pt x="295" y="213"/>
                      <a:pt x="295" y="213"/>
                      <a:pt x="296" y="213"/>
                    </a:cubicBezTo>
                    <a:cubicBezTo>
                      <a:pt x="294" y="210"/>
                      <a:pt x="291" y="210"/>
                      <a:pt x="289" y="209"/>
                    </a:cubicBezTo>
                    <a:cubicBezTo>
                      <a:pt x="288" y="208"/>
                      <a:pt x="286" y="206"/>
                      <a:pt x="283" y="205"/>
                    </a:cubicBezTo>
                    <a:cubicBezTo>
                      <a:pt x="285" y="205"/>
                      <a:pt x="286" y="206"/>
                      <a:pt x="288" y="206"/>
                    </a:cubicBezTo>
                    <a:cubicBezTo>
                      <a:pt x="288" y="205"/>
                      <a:pt x="287" y="201"/>
                      <a:pt x="285" y="201"/>
                    </a:cubicBezTo>
                    <a:cubicBezTo>
                      <a:pt x="285" y="201"/>
                      <a:pt x="285" y="201"/>
                      <a:pt x="285" y="201"/>
                    </a:cubicBezTo>
                    <a:cubicBezTo>
                      <a:pt x="285" y="201"/>
                      <a:pt x="284" y="201"/>
                      <a:pt x="284" y="201"/>
                    </a:cubicBezTo>
                    <a:cubicBezTo>
                      <a:pt x="283" y="201"/>
                      <a:pt x="282" y="201"/>
                      <a:pt x="282" y="201"/>
                    </a:cubicBezTo>
                    <a:cubicBezTo>
                      <a:pt x="278" y="197"/>
                      <a:pt x="293" y="190"/>
                      <a:pt x="295" y="188"/>
                    </a:cubicBezTo>
                    <a:cubicBezTo>
                      <a:pt x="298" y="186"/>
                      <a:pt x="294" y="181"/>
                      <a:pt x="297" y="179"/>
                    </a:cubicBezTo>
                    <a:cubicBezTo>
                      <a:pt x="299" y="178"/>
                      <a:pt x="301" y="177"/>
                      <a:pt x="299" y="176"/>
                    </a:cubicBezTo>
                    <a:cubicBezTo>
                      <a:pt x="299" y="176"/>
                      <a:pt x="296" y="175"/>
                      <a:pt x="296" y="175"/>
                    </a:cubicBezTo>
                    <a:cubicBezTo>
                      <a:pt x="296" y="175"/>
                      <a:pt x="296" y="175"/>
                      <a:pt x="296" y="175"/>
                    </a:cubicBezTo>
                    <a:cubicBezTo>
                      <a:pt x="288" y="175"/>
                      <a:pt x="302" y="168"/>
                      <a:pt x="303" y="167"/>
                    </a:cubicBezTo>
                    <a:cubicBezTo>
                      <a:pt x="305" y="165"/>
                      <a:pt x="308" y="163"/>
                      <a:pt x="311" y="163"/>
                    </a:cubicBezTo>
                    <a:cubicBezTo>
                      <a:pt x="311" y="163"/>
                      <a:pt x="311" y="163"/>
                      <a:pt x="312" y="163"/>
                    </a:cubicBezTo>
                    <a:cubicBezTo>
                      <a:pt x="313" y="163"/>
                      <a:pt x="315" y="164"/>
                      <a:pt x="317" y="164"/>
                    </a:cubicBezTo>
                    <a:cubicBezTo>
                      <a:pt x="319" y="164"/>
                      <a:pt x="320" y="164"/>
                      <a:pt x="319" y="161"/>
                    </a:cubicBezTo>
                    <a:cubicBezTo>
                      <a:pt x="319" y="160"/>
                      <a:pt x="314" y="161"/>
                      <a:pt x="316" y="158"/>
                    </a:cubicBezTo>
                    <a:cubicBezTo>
                      <a:pt x="316" y="157"/>
                      <a:pt x="318" y="157"/>
                      <a:pt x="318" y="156"/>
                    </a:cubicBezTo>
                    <a:cubicBezTo>
                      <a:pt x="318" y="155"/>
                      <a:pt x="317" y="155"/>
                      <a:pt x="317" y="154"/>
                    </a:cubicBezTo>
                    <a:cubicBezTo>
                      <a:pt x="318" y="153"/>
                      <a:pt x="319" y="152"/>
                      <a:pt x="319" y="151"/>
                    </a:cubicBezTo>
                    <a:cubicBezTo>
                      <a:pt x="321" y="152"/>
                      <a:pt x="323" y="154"/>
                      <a:pt x="326" y="154"/>
                    </a:cubicBezTo>
                    <a:cubicBezTo>
                      <a:pt x="326" y="154"/>
                      <a:pt x="326" y="155"/>
                      <a:pt x="326" y="155"/>
                    </a:cubicBezTo>
                    <a:cubicBezTo>
                      <a:pt x="328" y="155"/>
                      <a:pt x="328" y="152"/>
                      <a:pt x="328" y="150"/>
                    </a:cubicBezTo>
                    <a:cubicBezTo>
                      <a:pt x="330" y="151"/>
                      <a:pt x="339" y="156"/>
                      <a:pt x="339" y="158"/>
                    </a:cubicBezTo>
                    <a:cubicBezTo>
                      <a:pt x="340" y="157"/>
                      <a:pt x="343" y="153"/>
                      <a:pt x="341" y="152"/>
                    </a:cubicBezTo>
                    <a:cubicBezTo>
                      <a:pt x="343" y="152"/>
                      <a:pt x="344" y="152"/>
                      <a:pt x="346" y="152"/>
                    </a:cubicBezTo>
                    <a:cubicBezTo>
                      <a:pt x="352" y="152"/>
                      <a:pt x="358" y="152"/>
                      <a:pt x="364" y="152"/>
                    </a:cubicBezTo>
                    <a:cubicBezTo>
                      <a:pt x="360" y="141"/>
                      <a:pt x="360" y="141"/>
                      <a:pt x="360" y="141"/>
                    </a:cubicBezTo>
                    <a:cubicBezTo>
                      <a:pt x="359" y="140"/>
                      <a:pt x="359" y="139"/>
                      <a:pt x="358" y="138"/>
                    </a:cubicBezTo>
                    <a:cubicBezTo>
                      <a:pt x="356" y="137"/>
                      <a:pt x="355" y="136"/>
                      <a:pt x="354" y="134"/>
                    </a:cubicBezTo>
                    <a:cubicBezTo>
                      <a:pt x="353" y="134"/>
                      <a:pt x="353" y="133"/>
                      <a:pt x="353" y="133"/>
                    </a:cubicBezTo>
                    <a:cubicBezTo>
                      <a:pt x="353" y="132"/>
                      <a:pt x="352" y="132"/>
                      <a:pt x="352" y="131"/>
                    </a:cubicBezTo>
                    <a:cubicBezTo>
                      <a:pt x="352" y="130"/>
                      <a:pt x="352" y="129"/>
                      <a:pt x="352" y="128"/>
                    </a:cubicBezTo>
                    <a:cubicBezTo>
                      <a:pt x="352" y="127"/>
                      <a:pt x="352" y="126"/>
                      <a:pt x="353" y="125"/>
                    </a:cubicBezTo>
                    <a:cubicBezTo>
                      <a:pt x="353" y="122"/>
                      <a:pt x="355" y="119"/>
                      <a:pt x="356" y="117"/>
                    </a:cubicBezTo>
                    <a:cubicBezTo>
                      <a:pt x="357" y="115"/>
                      <a:pt x="357" y="113"/>
                      <a:pt x="358" y="112"/>
                    </a:cubicBezTo>
                    <a:cubicBezTo>
                      <a:pt x="358" y="111"/>
                      <a:pt x="359" y="109"/>
                      <a:pt x="359" y="108"/>
                    </a:cubicBezTo>
                    <a:cubicBezTo>
                      <a:pt x="359" y="107"/>
                      <a:pt x="359" y="106"/>
                      <a:pt x="360" y="105"/>
                    </a:cubicBezTo>
                    <a:cubicBezTo>
                      <a:pt x="360" y="105"/>
                      <a:pt x="360" y="105"/>
                      <a:pt x="360" y="105"/>
                    </a:cubicBezTo>
                    <a:cubicBezTo>
                      <a:pt x="360" y="105"/>
                      <a:pt x="360" y="104"/>
                      <a:pt x="359" y="104"/>
                    </a:cubicBezTo>
                    <a:cubicBezTo>
                      <a:pt x="359" y="103"/>
                      <a:pt x="359" y="103"/>
                      <a:pt x="359" y="103"/>
                    </a:cubicBezTo>
                    <a:cubicBezTo>
                      <a:pt x="358" y="102"/>
                      <a:pt x="357" y="101"/>
                      <a:pt x="356" y="100"/>
                    </a:cubicBezTo>
                    <a:cubicBezTo>
                      <a:pt x="353" y="96"/>
                      <a:pt x="350" y="92"/>
                      <a:pt x="350" y="87"/>
                    </a:cubicBezTo>
                    <a:cubicBezTo>
                      <a:pt x="350" y="85"/>
                      <a:pt x="351" y="83"/>
                      <a:pt x="354" y="81"/>
                    </a:cubicBezTo>
                    <a:cubicBezTo>
                      <a:pt x="354" y="81"/>
                      <a:pt x="354" y="81"/>
                      <a:pt x="355" y="80"/>
                    </a:cubicBezTo>
                    <a:cubicBezTo>
                      <a:pt x="354" y="79"/>
                      <a:pt x="353" y="79"/>
                      <a:pt x="352" y="78"/>
                    </a:cubicBezTo>
                    <a:cubicBezTo>
                      <a:pt x="352" y="78"/>
                      <a:pt x="352" y="78"/>
                      <a:pt x="352" y="78"/>
                    </a:cubicBezTo>
                    <a:cubicBezTo>
                      <a:pt x="351" y="78"/>
                      <a:pt x="351" y="78"/>
                      <a:pt x="351" y="78"/>
                    </a:cubicBezTo>
                    <a:cubicBezTo>
                      <a:pt x="350" y="78"/>
                      <a:pt x="349" y="77"/>
                      <a:pt x="348" y="77"/>
                    </a:cubicBezTo>
                    <a:cubicBezTo>
                      <a:pt x="348" y="77"/>
                      <a:pt x="348" y="77"/>
                      <a:pt x="348" y="77"/>
                    </a:cubicBezTo>
                    <a:cubicBezTo>
                      <a:pt x="347" y="76"/>
                      <a:pt x="347" y="76"/>
                      <a:pt x="346" y="76"/>
                    </a:cubicBezTo>
                    <a:cubicBezTo>
                      <a:pt x="346" y="75"/>
                      <a:pt x="346" y="75"/>
                      <a:pt x="346" y="75"/>
                    </a:cubicBezTo>
                    <a:cubicBezTo>
                      <a:pt x="345" y="74"/>
                      <a:pt x="345" y="74"/>
                      <a:pt x="345" y="74"/>
                    </a:cubicBezTo>
                    <a:cubicBezTo>
                      <a:pt x="345" y="71"/>
                      <a:pt x="346" y="69"/>
                      <a:pt x="347" y="69"/>
                    </a:cubicBezTo>
                    <a:cubicBezTo>
                      <a:pt x="347" y="68"/>
                      <a:pt x="347" y="68"/>
                      <a:pt x="348" y="68"/>
                    </a:cubicBezTo>
                    <a:cubicBezTo>
                      <a:pt x="348" y="67"/>
                      <a:pt x="348" y="66"/>
                      <a:pt x="348" y="65"/>
                    </a:cubicBezTo>
                    <a:cubicBezTo>
                      <a:pt x="348" y="62"/>
                      <a:pt x="348" y="62"/>
                      <a:pt x="348" y="62"/>
                    </a:cubicBezTo>
                    <a:cubicBezTo>
                      <a:pt x="348" y="59"/>
                      <a:pt x="347" y="55"/>
                      <a:pt x="349" y="51"/>
                    </a:cubicBezTo>
                    <a:cubicBezTo>
                      <a:pt x="350" y="51"/>
                      <a:pt x="350" y="51"/>
                      <a:pt x="350" y="51"/>
                    </a:cubicBezTo>
                    <a:cubicBezTo>
                      <a:pt x="350" y="50"/>
                      <a:pt x="350" y="50"/>
                      <a:pt x="350" y="50"/>
                    </a:cubicBezTo>
                    <a:cubicBezTo>
                      <a:pt x="348" y="49"/>
                      <a:pt x="348" y="49"/>
                      <a:pt x="348" y="49"/>
                    </a:cubicBezTo>
                    <a:cubicBezTo>
                      <a:pt x="348" y="48"/>
                      <a:pt x="348" y="48"/>
                      <a:pt x="348" y="48"/>
                    </a:cubicBezTo>
                    <a:cubicBezTo>
                      <a:pt x="345" y="45"/>
                      <a:pt x="343" y="43"/>
                      <a:pt x="339" y="41"/>
                    </a:cubicBezTo>
                    <a:cubicBezTo>
                      <a:pt x="268" y="0"/>
                      <a:pt x="268" y="0"/>
                      <a:pt x="2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10" name="Freeform 238">
                <a:extLst>
                  <a:ext uri="{FF2B5EF4-FFF2-40B4-BE49-F238E27FC236}">
                    <a16:creationId xmlns:a16="http://schemas.microsoft.com/office/drawing/2014/main" id="{6DBC651F-A1B4-4E49-A0D3-9F0F1E58F0C3}"/>
                  </a:ext>
                </a:extLst>
              </p:cNvPr>
              <p:cNvSpPr>
                <a:spLocks/>
              </p:cNvSpPr>
              <p:nvPr/>
            </p:nvSpPr>
            <p:spPr bwMode="auto">
              <a:xfrm>
                <a:off x="7513951" y="5815113"/>
                <a:ext cx="364826" cy="390622"/>
              </a:xfrm>
              <a:custGeom>
                <a:avLst/>
                <a:gdLst>
                  <a:gd name="T0" fmla="*/ 92 w 115"/>
                  <a:gd name="T1" fmla="*/ 8 h 123"/>
                  <a:gd name="T2" fmla="*/ 88 w 115"/>
                  <a:gd name="T3" fmla="*/ 10 h 123"/>
                  <a:gd name="T4" fmla="*/ 84 w 115"/>
                  <a:gd name="T5" fmla="*/ 13 h 123"/>
                  <a:gd name="T6" fmla="*/ 71 w 115"/>
                  <a:gd name="T7" fmla="*/ 20 h 123"/>
                  <a:gd name="T8" fmla="*/ 66 w 115"/>
                  <a:gd name="T9" fmla="*/ 23 h 123"/>
                  <a:gd name="T10" fmla="*/ 62 w 115"/>
                  <a:gd name="T11" fmla="*/ 26 h 123"/>
                  <a:gd name="T12" fmla="*/ 58 w 115"/>
                  <a:gd name="T13" fmla="*/ 29 h 123"/>
                  <a:gd name="T14" fmla="*/ 56 w 115"/>
                  <a:gd name="T15" fmla="*/ 30 h 123"/>
                  <a:gd name="T16" fmla="*/ 54 w 115"/>
                  <a:gd name="T17" fmla="*/ 31 h 123"/>
                  <a:gd name="T18" fmla="*/ 52 w 115"/>
                  <a:gd name="T19" fmla="*/ 32 h 123"/>
                  <a:gd name="T20" fmla="*/ 50 w 115"/>
                  <a:gd name="T21" fmla="*/ 32 h 123"/>
                  <a:gd name="T22" fmla="*/ 49 w 115"/>
                  <a:gd name="T23" fmla="*/ 32 h 123"/>
                  <a:gd name="T24" fmla="*/ 46 w 115"/>
                  <a:gd name="T25" fmla="*/ 31 h 123"/>
                  <a:gd name="T26" fmla="*/ 41 w 115"/>
                  <a:gd name="T27" fmla="*/ 30 h 123"/>
                  <a:gd name="T28" fmla="*/ 36 w 115"/>
                  <a:gd name="T29" fmla="*/ 28 h 123"/>
                  <a:gd name="T30" fmla="*/ 29 w 115"/>
                  <a:gd name="T31" fmla="*/ 25 h 123"/>
                  <a:gd name="T32" fmla="*/ 25 w 115"/>
                  <a:gd name="T33" fmla="*/ 22 h 123"/>
                  <a:gd name="T34" fmla="*/ 23 w 115"/>
                  <a:gd name="T35" fmla="*/ 20 h 123"/>
                  <a:gd name="T36" fmla="*/ 22 w 115"/>
                  <a:gd name="T37" fmla="*/ 20 h 123"/>
                  <a:gd name="T38" fmla="*/ 21 w 115"/>
                  <a:gd name="T39" fmla="*/ 20 h 123"/>
                  <a:gd name="T40" fmla="*/ 20 w 115"/>
                  <a:gd name="T41" fmla="*/ 22 h 123"/>
                  <a:gd name="T42" fmla="*/ 20 w 115"/>
                  <a:gd name="T43" fmla="*/ 28 h 123"/>
                  <a:gd name="T44" fmla="*/ 15 w 115"/>
                  <a:gd name="T45" fmla="*/ 43 h 123"/>
                  <a:gd name="T46" fmla="*/ 14 w 115"/>
                  <a:gd name="T47" fmla="*/ 52 h 123"/>
                  <a:gd name="T48" fmla="*/ 16 w 115"/>
                  <a:gd name="T49" fmla="*/ 58 h 123"/>
                  <a:gd name="T50" fmla="*/ 13 w 115"/>
                  <a:gd name="T51" fmla="*/ 73 h 123"/>
                  <a:gd name="T52" fmla="*/ 10 w 115"/>
                  <a:gd name="T53" fmla="*/ 83 h 123"/>
                  <a:gd name="T54" fmla="*/ 3 w 115"/>
                  <a:gd name="T55" fmla="*/ 115 h 123"/>
                  <a:gd name="T56" fmla="*/ 0 w 115"/>
                  <a:gd name="T57" fmla="*/ 116 h 123"/>
                  <a:gd name="T58" fmla="*/ 1 w 115"/>
                  <a:gd name="T59" fmla="*/ 118 h 123"/>
                  <a:gd name="T60" fmla="*/ 2 w 115"/>
                  <a:gd name="T61" fmla="*/ 118 h 123"/>
                  <a:gd name="T62" fmla="*/ 21 w 115"/>
                  <a:gd name="T63" fmla="*/ 121 h 123"/>
                  <a:gd name="T64" fmla="*/ 24 w 115"/>
                  <a:gd name="T65" fmla="*/ 122 h 123"/>
                  <a:gd name="T66" fmla="*/ 33 w 115"/>
                  <a:gd name="T67" fmla="*/ 118 h 123"/>
                  <a:gd name="T68" fmla="*/ 35 w 115"/>
                  <a:gd name="T69" fmla="*/ 116 h 123"/>
                  <a:gd name="T70" fmla="*/ 40 w 115"/>
                  <a:gd name="T71" fmla="*/ 110 h 123"/>
                  <a:gd name="T72" fmla="*/ 55 w 115"/>
                  <a:gd name="T73" fmla="*/ 100 h 123"/>
                  <a:gd name="T74" fmla="*/ 59 w 115"/>
                  <a:gd name="T75" fmla="*/ 100 h 123"/>
                  <a:gd name="T76" fmla="*/ 63 w 115"/>
                  <a:gd name="T77" fmla="*/ 99 h 123"/>
                  <a:gd name="T78" fmla="*/ 70 w 115"/>
                  <a:gd name="T79" fmla="*/ 97 h 123"/>
                  <a:gd name="T80" fmla="*/ 81 w 115"/>
                  <a:gd name="T81" fmla="*/ 85 h 123"/>
                  <a:gd name="T82" fmla="*/ 78 w 115"/>
                  <a:gd name="T83" fmla="*/ 82 h 123"/>
                  <a:gd name="T84" fmla="*/ 76 w 115"/>
                  <a:gd name="T85" fmla="*/ 80 h 123"/>
                  <a:gd name="T86" fmla="*/ 50 w 115"/>
                  <a:gd name="T87" fmla="*/ 52 h 123"/>
                  <a:gd name="T88" fmla="*/ 64 w 115"/>
                  <a:gd name="T89" fmla="*/ 48 h 123"/>
                  <a:gd name="T90" fmla="*/ 93 w 115"/>
                  <a:gd name="T91" fmla="*/ 40 h 123"/>
                  <a:gd name="T92" fmla="*/ 100 w 115"/>
                  <a:gd name="T93" fmla="*/ 37 h 123"/>
                  <a:gd name="T94" fmla="*/ 103 w 115"/>
                  <a:gd name="T95" fmla="*/ 35 h 123"/>
                  <a:gd name="T96" fmla="*/ 113 w 115"/>
                  <a:gd name="T97" fmla="*/ 31 h 123"/>
                  <a:gd name="T98" fmla="*/ 112 w 115"/>
                  <a:gd name="T99" fmla="*/ 3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5" h="123">
                    <a:moveTo>
                      <a:pt x="105" y="0"/>
                    </a:moveTo>
                    <a:cubicBezTo>
                      <a:pt x="102" y="2"/>
                      <a:pt x="97" y="5"/>
                      <a:pt x="92" y="8"/>
                    </a:cubicBezTo>
                    <a:cubicBezTo>
                      <a:pt x="91" y="8"/>
                      <a:pt x="91" y="8"/>
                      <a:pt x="91" y="8"/>
                    </a:cubicBezTo>
                    <a:cubicBezTo>
                      <a:pt x="90" y="9"/>
                      <a:pt x="89" y="10"/>
                      <a:pt x="88" y="10"/>
                    </a:cubicBezTo>
                    <a:cubicBezTo>
                      <a:pt x="87" y="11"/>
                      <a:pt x="86" y="11"/>
                      <a:pt x="85" y="12"/>
                    </a:cubicBezTo>
                    <a:cubicBezTo>
                      <a:pt x="84" y="12"/>
                      <a:pt x="84" y="12"/>
                      <a:pt x="84" y="13"/>
                    </a:cubicBezTo>
                    <a:cubicBezTo>
                      <a:pt x="82" y="14"/>
                      <a:pt x="80" y="15"/>
                      <a:pt x="78" y="16"/>
                    </a:cubicBezTo>
                    <a:cubicBezTo>
                      <a:pt x="71" y="20"/>
                      <a:pt x="71" y="20"/>
                      <a:pt x="71" y="20"/>
                    </a:cubicBezTo>
                    <a:cubicBezTo>
                      <a:pt x="69" y="21"/>
                      <a:pt x="68" y="22"/>
                      <a:pt x="66" y="23"/>
                    </a:cubicBezTo>
                    <a:cubicBezTo>
                      <a:pt x="66" y="23"/>
                      <a:pt x="66" y="23"/>
                      <a:pt x="66" y="23"/>
                    </a:cubicBezTo>
                    <a:cubicBezTo>
                      <a:pt x="65" y="24"/>
                      <a:pt x="65" y="24"/>
                      <a:pt x="65" y="24"/>
                    </a:cubicBezTo>
                    <a:cubicBezTo>
                      <a:pt x="64" y="25"/>
                      <a:pt x="63" y="25"/>
                      <a:pt x="62" y="26"/>
                    </a:cubicBezTo>
                    <a:cubicBezTo>
                      <a:pt x="61" y="27"/>
                      <a:pt x="60" y="27"/>
                      <a:pt x="59" y="28"/>
                    </a:cubicBezTo>
                    <a:cubicBezTo>
                      <a:pt x="58" y="29"/>
                      <a:pt x="58" y="29"/>
                      <a:pt x="58" y="29"/>
                    </a:cubicBezTo>
                    <a:cubicBezTo>
                      <a:pt x="58" y="29"/>
                      <a:pt x="57" y="29"/>
                      <a:pt x="57" y="30"/>
                    </a:cubicBezTo>
                    <a:cubicBezTo>
                      <a:pt x="56" y="30"/>
                      <a:pt x="56" y="30"/>
                      <a:pt x="56" y="30"/>
                    </a:cubicBezTo>
                    <a:cubicBezTo>
                      <a:pt x="56" y="30"/>
                      <a:pt x="55" y="31"/>
                      <a:pt x="55" y="31"/>
                    </a:cubicBezTo>
                    <a:cubicBezTo>
                      <a:pt x="54" y="31"/>
                      <a:pt x="54" y="31"/>
                      <a:pt x="54" y="31"/>
                    </a:cubicBezTo>
                    <a:cubicBezTo>
                      <a:pt x="53" y="31"/>
                      <a:pt x="53" y="32"/>
                      <a:pt x="52" y="32"/>
                    </a:cubicBezTo>
                    <a:cubicBezTo>
                      <a:pt x="52" y="32"/>
                      <a:pt x="52" y="32"/>
                      <a:pt x="52" y="32"/>
                    </a:cubicBezTo>
                    <a:cubicBezTo>
                      <a:pt x="51" y="32"/>
                      <a:pt x="51" y="32"/>
                      <a:pt x="51" y="32"/>
                    </a:cubicBezTo>
                    <a:cubicBezTo>
                      <a:pt x="51" y="32"/>
                      <a:pt x="51" y="32"/>
                      <a:pt x="50" y="32"/>
                    </a:cubicBezTo>
                    <a:cubicBezTo>
                      <a:pt x="50" y="32"/>
                      <a:pt x="50" y="32"/>
                      <a:pt x="50" y="32"/>
                    </a:cubicBezTo>
                    <a:cubicBezTo>
                      <a:pt x="49" y="32"/>
                      <a:pt x="49" y="32"/>
                      <a:pt x="49" y="32"/>
                    </a:cubicBezTo>
                    <a:cubicBezTo>
                      <a:pt x="48" y="32"/>
                      <a:pt x="47" y="31"/>
                      <a:pt x="46" y="31"/>
                    </a:cubicBezTo>
                    <a:cubicBezTo>
                      <a:pt x="46" y="31"/>
                      <a:pt x="46" y="31"/>
                      <a:pt x="46" y="31"/>
                    </a:cubicBezTo>
                    <a:cubicBezTo>
                      <a:pt x="44" y="31"/>
                      <a:pt x="43" y="30"/>
                      <a:pt x="42" y="30"/>
                    </a:cubicBezTo>
                    <a:cubicBezTo>
                      <a:pt x="41" y="30"/>
                      <a:pt x="41" y="30"/>
                      <a:pt x="41" y="30"/>
                    </a:cubicBezTo>
                    <a:cubicBezTo>
                      <a:pt x="40" y="29"/>
                      <a:pt x="38" y="29"/>
                      <a:pt x="37" y="28"/>
                    </a:cubicBezTo>
                    <a:cubicBezTo>
                      <a:pt x="36" y="28"/>
                      <a:pt x="36" y="28"/>
                      <a:pt x="36" y="28"/>
                    </a:cubicBezTo>
                    <a:cubicBezTo>
                      <a:pt x="34" y="27"/>
                      <a:pt x="32" y="26"/>
                      <a:pt x="30" y="25"/>
                    </a:cubicBezTo>
                    <a:cubicBezTo>
                      <a:pt x="29" y="25"/>
                      <a:pt x="29" y="25"/>
                      <a:pt x="29" y="25"/>
                    </a:cubicBezTo>
                    <a:cubicBezTo>
                      <a:pt x="28" y="24"/>
                      <a:pt x="27" y="23"/>
                      <a:pt x="26" y="22"/>
                    </a:cubicBezTo>
                    <a:cubicBezTo>
                      <a:pt x="25" y="22"/>
                      <a:pt x="25" y="22"/>
                      <a:pt x="25" y="22"/>
                    </a:cubicBezTo>
                    <a:cubicBezTo>
                      <a:pt x="24" y="21"/>
                      <a:pt x="24" y="21"/>
                      <a:pt x="24" y="21"/>
                    </a:cubicBezTo>
                    <a:cubicBezTo>
                      <a:pt x="24" y="21"/>
                      <a:pt x="23" y="21"/>
                      <a:pt x="23" y="20"/>
                    </a:cubicBezTo>
                    <a:cubicBezTo>
                      <a:pt x="22" y="20"/>
                      <a:pt x="22" y="20"/>
                      <a:pt x="22" y="20"/>
                    </a:cubicBezTo>
                    <a:cubicBezTo>
                      <a:pt x="22" y="20"/>
                      <a:pt x="22" y="20"/>
                      <a:pt x="22" y="20"/>
                    </a:cubicBezTo>
                    <a:cubicBezTo>
                      <a:pt x="21" y="20"/>
                      <a:pt x="21" y="20"/>
                      <a:pt x="21" y="20"/>
                    </a:cubicBezTo>
                    <a:cubicBezTo>
                      <a:pt x="21" y="20"/>
                      <a:pt x="21" y="20"/>
                      <a:pt x="21" y="20"/>
                    </a:cubicBezTo>
                    <a:cubicBezTo>
                      <a:pt x="21" y="20"/>
                      <a:pt x="21" y="20"/>
                      <a:pt x="21" y="20"/>
                    </a:cubicBezTo>
                    <a:cubicBezTo>
                      <a:pt x="20" y="22"/>
                      <a:pt x="20" y="22"/>
                      <a:pt x="20" y="22"/>
                    </a:cubicBezTo>
                    <a:cubicBezTo>
                      <a:pt x="20" y="23"/>
                      <a:pt x="20" y="25"/>
                      <a:pt x="20" y="27"/>
                    </a:cubicBezTo>
                    <a:cubicBezTo>
                      <a:pt x="20" y="28"/>
                      <a:pt x="20" y="28"/>
                      <a:pt x="20" y="28"/>
                    </a:cubicBezTo>
                    <a:cubicBezTo>
                      <a:pt x="16" y="28"/>
                      <a:pt x="16" y="28"/>
                      <a:pt x="16" y="28"/>
                    </a:cubicBezTo>
                    <a:cubicBezTo>
                      <a:pt x="16" y="33"/>
                      <a:pt x="15" y="38"/>
                      <a:pt x="15" y="43"/>
                    </a:cubicBezTo>
                    <a:cubicBezTo>
                      <a:pt x="15" y="43"/>
                      <a:pt x="15" y="43"/>
                      <a:pt x="15" y="43"/>
                    </a:cubicBezTo>
                    <a:cubicBezTo>
                      <a:pt x="15" y="46"/>
                      <a:pt x="14" y="49"/>
                      <a:pt x="14" y="52"/>
                    </a:cubicBezTo>
                    <a:cubicBezTo>
                      <a:pt x="17" y="52"/>
                      <a:pt x="17" y="52"/>
                      <a:pt x="17" y="52"/>
                    </a:cubicBezTo>
                    <a:cubicBezTo>
                      <a:pt x="16" y="58"/>
                      <a:pt x="16" y="58"/>
                      <a:pt x="16" y="58"/>
                    </a:cubicBezTo>
                    <a:cubicBezTo>
                      <a:pt x="16" y="62"/>
                      <a:pt x="15" y="65"/>
                      <a:pt x="14" y="68"/>
                    </a:cubicBezTo>
                    <a:cubicBezTo>
                      <a:pt x="14" y="70"/>
                      <a:pt x="14" y="72"/>
                      <a:pt x="13" y="73"/>
                    </a:cubicBezTo>
                    <a:cubicBezTo>
                      <a:pt x="13" y="76"/>
                      <a:pt x="13" y="76"/>
                      <a:pt x="13" y="76"/>
                    </a:cubicBezTo>
                    <a:cubicBezTo>
                      <a:pt x="12" y="78"/>
                      <a:pt x="11" y="81"/>
                      <a:pt x="10" y="83"/>
                    </a:cubicBezTo>
                    <a:cubicBezTo>
                      <a:pt x="9" y="91"/>
                      <a:pt x="9" y="91"/>
                      <a:pt x="9" y="91"/>
                    </a:cubicBezTo>
                    <a:cubicBezTo>
                      <a:pt x="7" y="98"/>
                      <a:pt x="4" y="107"/>
                      <a:pt x="3" y="115"/>
                    </a:cubicBezTo>
                    <a:cubicBezTo>
                      <a:pt x="3" y="117"/>
                      <a:pt x="3" y="117"/>
                      <a:pt x="3" y="117"/>
                    </a:cubicBezTo>
                    <a:cubicBezTo>
                      <a:pt x="0" y="116"/>
                      <a:pt x="0" y="116"/>
                      <a:pt x="0" y="116"/>
                    </a:cubicBezTo>
                    <a:cubicBezTo>
                      <a:pt x="0" y="118"/>
                      <a:pt x="0" y="118"/>
                      <a:pt x="0" y="118"/>
                    </a:cubicBezTo>
                    <a:cubicBezTo>
                      <a:pt x="1" y="118"/>
                      <a:pt x="1" y="118"/>
                      <a:pt x="1" y="118"/>
                    </a:cubicBezTo>
                    <a:cubicBezTo>
                      <a:pt x="1" y="118"/>
                      <a:pt x="1" y="118"/>
                      <a:pt x="1" y="118"/>
                    </a:cubicBezTo>
                    <a:cubicBezTo>
                      <a:pt x="2" y="118"/>
                      <a:pt x="2" y="118"/>
                      <a:pt x="2" y="118"/>
                    </a:cubicBezTo>
                    <a:cubicBezTo>
                      <a:pt x="2" y="118"/>
                      <a:pt x="3" y="118"/>
                      <a:pt x="3" y="118"/>
                    </a:cubicBezTo>
                    <a:cubicBezTo>
                      <a:pt x="21" y="121"/>
                      <a:pt x="21" y="121"/>
                      <a:pt x="21" y="121"/>
                    </a:cubicBezTo>
                    <a:cubicBezTo>
                      <a:pt x="22" y="121"/>
                      <a:pt x="22" y="121"/>
                      <a:pt x="23" y="121"/>
                    </a:cubicBezTo>
                    <a:cubicBezTo>
                      <a:pt x="24" y="122"/>
                      <a:pt x="24" y="122"/>
                      <a:pt x="24" y="122"/>
                    </a:cubicBezTo>
                    <a:cubicBezTo>
                      <a:pt x="27" y="122"/>
                      <a:pt x="28" y="123"/>
                      <a:pt x="29" y="123"/>
                    </a:cubicBezTo>
                    <a:cubicBezTo>
                      <a:pt x="30" y="122"/>
                      <a:pt x="31" y="121"/>
                      <a:pt x="33" y="118"/>
                    </a:cubicBezTo>
                    <a:cubicBezTo>
                      <a:pt x="34" y="117"/>
                      <a:pt x="34" y="117"/>
                      <a:pt x="34" y="117"/>
                    </a:cubicBezTo>
                    <a:cubicBezTo>
                      <a:pt x="34" y="117"/>
                      <a:pt x="34" y="116"/>
                      <a:pt x="35" y="116"/>
                    </a:cubicBezTo>
                    <a:cubicBezTo>
                      <a:pt x="38" y="113"/>
                      <a:pt x="38" y="113"/>
                      <a:pt x="38" y="113"/>
                    </a:cubicBezTo>
                    <a:cubicBezTo>
                      <a:pt x="38" y="112"/>
                      <a:pt x="39" y="111"/>
                      <a:pt x="40" y="110"/>
                    </a:cubicBezTo>
                    <a:cubicBezTo>
                      <a:pt x="43" y="107"/>
                      <a:pt x="46" y="103"/>
                      <a:pt x="51" y="101"/>
                    </a:cubicBezTo>
                    <a:cubicBezTo>
                      <a:pt x="52" y="101"/>
                      <a:pt x="54" y="101"/>
                      <a:pt x="55" y="100"/>
                    </a:cubicBezTo>
                    <a:cubicBezTo>
                      <a:pt x="57" y="100"/>
                      <a:pt x="57" y="100"/>
                      <a:pt x="57" y="100"/>
                    </a:cubicBezTo>
                    <a:cubicBezTo>
                      <a:pt x="58" y="100"/>
                      <a:pt x="58" y="100"/>
                      <a:pt x="59" y="100"/>
                    </a:cubicBezTo>
                    <a:cubicBezTo>
                      <a:pt x="60" y="99"/>
                      <a:pt x="61" y="99"/>
                      <a:pt x="63" y="99"/>
                    </a:cubicBezTo>
                    <a:cubicBezTo>
                      <a:pt x="63" y="99"/>
                      <a:pt x="63" y="99"/>
                      <a:pt x="63" y="99"/>
                    </a:cubicBezTo>
                    <a:cubicBezTo>
                      <a:pt x="65" y="99"/>
                      <a:pt x="68" y="99"/>
                      <a:pt x="69" y="98"/>
                    </a:cubicBezTo>
                    <a:cubicBezTo>
                      <a:pt x="69" y="98"/>
                      <a:pt x="69" y="97"/>
                      <a:pt x="70" y="97"/>
                    </a:cubicBezTo>
                    <a:cubicBezTo>
                      <a:pt x="70" y="96"/>
                      <a:pt x="70" y="96"/>
                      <a:pt x="70" y="96"/>
                    </a:cubicBezTo>
                    <a:cubicBezTo>
                      <a:pt x="78" y="90"/>
                      <a:pt x="80" y="86"/>
                      <a:pt x="81" y="85"/>
                    </a:cubicBezTo>
                    <a:cubicBezTo>
                      <a:pt x="81" y="85"/>
                      <a:pt x="80" y="84"/>
                      <a:pt x="80" y="84"/>
                    </a:cubicBezTo>
                    <a:cubicBezTo>
                      <a:pt x="79" y="83"/>
                      <a:pt x="79" y="83"/>
                      <a:pt x="78" y="82"/>
                    </a:cubicBezTo>
                    <a:cubicBezTo>
                      <a:pt x="78" y="82"/>
                      <a:pt x="78" y="82"/>
                      <a:pt x="78" y="82"/>
                    </a:cubicBezTo>
                    <a:cubicBezTo>
                      <a:pt x="77" y="81"/>
                      <a:pt x="76" y="80"/>
                      <a:pt x="76" y="80"/>
                    </a:cubicBezTo>
                    <a:cubicBezTo>
                      <a:pt x="68" y="72"/>
                      <a:pt x="61" y="64"/>
                      <a:pt x="54" y="56"/>
                    </a:cubicBezTo>
                    <a:cubicBezTo>
                      <a:pt x="50" y="52"/>
                      <a:pt x="50" y="52"/>
                      <a:pt x="50" y="52"/>
                    </a:cubicBezTo>
                    <a:cubicBezTo>
                      <a:pt x="56" y="51"/>
                      <a:pt x="56" y="51"/>
                      <a:pt x="56" y="51"/>
                    </a:cubicBezTo>
                    <a:cubicBezTo>
                      <a:pt x="59" y="50"/>
                      <a:pt x="61" y="49"/>
                      <a:pt x="64" y="48"/>
                    </a:cubicBezTo>
                    <a:cubicBezTo>
                      <a:pt x="65" y="48"/>
                      <a:pt x="65" y="48"/>
                      <a:pt x="65" y="48"/>
                    </a:cubicBezTo>
                    <a:cubicBezTo>
                      <a:pt x="74" y="45"/>
                      <a:pt x="84" y="43"/>
                      <a:pt x="93" y="40"/>
                    </a:cubicBezTo>
                    <a:cubicBezTo>
                      <a:pt x="95" y="39"/>
                      <a:pt x="97" y="38"/>
                      <a:pt x="99" y="38"/>
                    </a:cubicBezTo>
                    <a:cubicBezTo>
                      <a:pt x="100" y="37"/>
                      <a:pt x="100" y="37"/>
                      <a:pt x="100" y="37"/>
                    </a:cubicBezTo>
                    <a:cubicBezTo>
                      <a:pt x="102" y="37"/>
                      <a:pt x="103" y="36"/>
                      <a:pt x="105" y="36"/>
                    </a:cubicBezTo>
                    <a:cubicBezTo>
                      <a:pt x="103" y="35"/>
                      <a:pt x="103" y="35"/>
                      <a:pt x="103" y="35"/>
                    </a:cubicBezTo>
                    <a:cubicBezTo>
                      <a:pt x="115" y="32"/>
                      <a:pt x="115" y="32"/>
                      <a:pt x="115" y="32"/>
                    </a:cubicBezTo>
                    <a:cubicBezTo>
                      <a:pt x="114" y="31"/>
                      <a:pt x="113" y="31"/>
                      <a:pt x="113" y="31"/>
                    </a:cubicBezTo>
                    <a:cubicBezTo>
                      <a:pt x="112" y="30"/>
                      <a:pt x="112" y="30"/>
                      <a:pt x="112" y="30"/>
                    </a:cubicBezTo>
                    <a:cubicBezTo>
                      <a:pt x="112" y="30"/>
                      <a:pt x="112" y="30"/>
                      <a:pt x="112" y="30"/>
                    </a:cubicBezTo>
                    <a:cubicBezTo>
                      <a:pt x="105" y="0"/>
                      <a:pt x="105" y="0"/>
                      <a:pt x="10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11" name="Freeform 239">
                <a:extLst>
                  <a:ext uri="{FF2B5EF4-FFF2-40B4-BE49-F238E27FC236}">
                    <a16:creationId xmlns:a16="http://schemas.microsoft.com/office/drawing/2014/main" id="{A1BFFBA8-049F-4238-9D92-E9E63DCE39E5}"/>
                  </a:ext>
                </a:extLst>
              </p:cNvPr>
              <p:cNvSpPr>
                <a:spLocks/>
              </p:cNvSpPr>
              <p:nvPr/>
            </p:nvSpPr>
            <p:spPr bwMode="auto">
              <a:xfrm>
                <a:off x="7871407" y="5398695"/>
                <a:ext cx="869687" cy="818096"/>
              </a:xfrm>
              <a:custGeom>
                <a:avLst/>
                <a:gdLst>
                  <a:gd name="T0" fmla="*/ 101 w 274"/>
                  <a:gd name="T1" fmla="*/ 8 h 258"/>
                  <a:gd name="T2" fmla="*/ 86 w 274"/>
                  <a:gd name="T3" fmla="*/ 23 h 258"/>
                  <a:gd name="T4" fmla="*/ 75 w 274"/>
                  <a:gd name="T5" fmla="*/ 27 h 258"/>
                  <a:gd name="T6" fmla="*/ 70 w 274"/>
                  <a:gd name="T7" fmla="*/ 47 h 258"/>
                  <a:gd name="T8" fmla="*/ 69 w 274"/>
                  <a:gd name="T9" fmla="*/ 63 h 258"/>
                  <a:gd name="T10" fmla="*/ 68 w 274"/>
                  <a:gd name="T11" fmla="*/ 77 h 258"/>
                  <a:gd name="T12" fmla="*/ 52 w 274"/>
                  <a:gd name="T13" fmla="*/ 99 h 258"/>
                  <a:gd name="T14" fmla="*/ 40 w 274"/>
                  <a:gd name="T15" fmla="*/ 104 h 258"/>
                  <a:gd name="T16" fmla="*/ 0 w 274"/>
                  <a:gd name="T17" fmla="*/ 128 h 258"/>
                  <a:gd name="T18" fmla="*/ 11 w 274"/>
                  <a:gd name="T19" fmla="*/ 158 h 258"/>
                  <a:gd name="T20" fmla="*/ 42 w 274"/>
                  <a:gd name="T21" fmla="*/ 168 h 258"/>
                  <a:gd name="T22" fmla="*/ 84 w 274"/>
                  <a:gd name="T23" fmla="*/ 191 h 258"/>
                  <a:gd name="T24" fmla="*/ 131 w 274"/>
                  <a:gd name="T25" fmla="*/ 226 h 258"/>
                  <a:gd name="T26" fmla="*/ 168 w 274"/>
                  <a:gd name="T27" fmla="*/ 253 h 258"/>
                  <a:gd name="T28" fmla="*/ 210 w 274"/>
                  <a:gd name="T29" fmla="*/ 257 h 258"/>
                  <a:gd name="T30" fmla="*/ 214 w 274"/>
                  <a:gd name="T31" fmla="*/ 257 h 258"/>
                  <a:gd name="T32" fmla="*/ 225 w 274"/>
                  <a:gd name="T33" fmla="*/ 238 h 258"/>
                  <a:gd name="T34" fmla="*/ 252 w 274"/>
                  <a:gd name="T35" fmla="*/ 226 h 258"/>
                  <a:gd name="T36" fmla="*/ 266 w 274"/>
                  <a:gd name="T37" fmla="*/ 231 h 258"/>
                  <a:gd name="T38" fmla="*/ 267 w 274"/>
                  <a:gd name="T39" fmla="*/ 232 h 258"/>
                  <a:gd name="T40" fmla="*/ 273 w 274"/>
                  <a:gd name="T41" fmla="*/ 235 h 258"/>
                  <a:gd name="T42" fmla="*/ 262 w 274"/>
                  <a:gd name="T43" fmla="*/ 223 h 258"/>
                  <a:gd name="T44" fmla="*/ 255 w 274"/>
                  <a:gd name="T45" fmla="*/ 211 h 258"/>
                  <a:gd name="T46" fmla="*/ 252 w 274"/>
                  <a:gd name="T47" fmla="*/ 204 h 258"/>
                  <a:gd name="T48" fmla="*/ 245 w 274"/>
                  <a:gd name="T49" fmla="*/ 201 h 258"/>
                  <a:gd name="T50" fmla="*/ 248 w 274"/>
                  <a:gd name="T51" fmla="*/ 181 h 258"/>
                  <a:gd name="T52" fmla="*/ 250 w 274"/>
                  <a:gd name="T53" fmla="*/ 177 h 258"/>
                  <a:gd name="T54" fmla="*/ 243 w 274"/>
                  <a:gd name="T55" fmla="*/ 167 h 258"/>
                  <a:gd name="T56" fmla="*/ 238 w 274"/>
                  <a:gd name="T57" fmla="*/ 158 h 258"/>
                  <a:gd name="T58" fmla="*/ 233 w 274"/>
                  <a:gd name="T59" fmla="*/ 158 h 258"/>
                  <a:gd name="T60" fmla="*/ 211 w 274"/>
                  <a:gd name="T61" fmla="*/ 143 h 258"/>
                  <a:gd name="T62" fmla="*/ 201 w 274"/>
                  <a:gd name="T63" fmla="*/ 140 h 258"/>
                  <a:gd name="T64" fmla="*/ 197 w 274"/>
                  <a:gd name="T65" fmla="*/ 127 h 258"/>
                  <a:gd name="T66" fmla="*/ 195 w 274"/>
                  <a:gd name="T67" fmla="*/ 122 h 258"/>
                  <a:gd name="T68" fmla="*/ 183 w 274"/>
                  <a:gd name="T69" fmla="*/ 112 h 258"/>
                  <a:gd name="T70" fmla="*/ 184 w 274"/>
                  <a:gd name="T71" fmla="*/ 98 h 258"/>
                  <a:gd name="T72" fmla="*/ 184 w 274"/>
                  <a:gd name="T73" fmla="*/ 95 h 258"/>
                  <a:gd name="T74" fmla="*/ 190 w 274"/>
                  <a:gd name="T75" fmla="*/ 84 h 258"/>
                  <a:gd name="T76" fmla="*/ 202 w 274"/>
                  <a:gd name="T77" fmla="*/ 68 h 258"/>
                  <a:gd name="T78" fmla="*/ 200 w 274"/>
                  <a:gd name="T79" fmla="*/ 64 h 258"/>
                  <a:gd name="T80" fmla="*/ 198 w 274"/>
                  <a:gd name="T81" fmla="*/ 55 h 258"/>
                  <a:gd name="T82" fmla="*/ 196 w 274"/>
                  <a:gd name="T83" fmla="*/ 51 h 258"/>
                  <a:gd name="T84" fmla="*/ 187 w 274"/>
                  <a:gd name="T85" fmla="*/ 45 h 258"/>
                  <a:gd name="T86" fmla="*/ 183 w 274"/>
                  <a:gd name="T87" fmla="*/ 45 h 258"/>
                  <a:gd name="T88" fmla="*/ 176 w 274"/>
                  <a:gd name="T89" fmla="*/ 31 h 258"/>
                  <a:gd name="T90" fmla="*/ 171 w 274"/>
                  <a:gd name="T91" fmla="*/ 27 h 258"/>
                  <a:gd name="T92" fmla="*/ 169 w 274"/>
                  <a:gd name="T93" fmla="*/ 20 h 258"/>
                  <a:gd name="T94" fmla="*/ 166 w 274"/>
                  <a:gd name="T95" fmla="*/ 11 h 258"/>
                  <a:gd name="T96" fmla="*/ 161 w 274"/>
                  <a:gd name="T97" fmla="*/ 10 h 258"/>
                  <a:gd name="T98" fmla="*/ 153 w 274"/>
                  <a:gd name="T99" fmla="*/ 12 h 258"/>
                  <a:gd name="T100" fmla="*/ 147 w 274"/>
                  <a:gd name="T101" fmla="*/ 5 h 258"/>
                  <a:gd name="T102" fmla="*/ 139 w 274"/>
                  <a:gd name="T103" fmla="*/ 3 h 258"/>
                  <a:gd name="T104" fmla="*/ 118 w 274"/>
                  <a:gd name="T105"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4" h="258">
                    <a:moveTo>
                      <a:pt x="115" y="0"/>
                    </a:moveTo>
                    <a:cubicBezTo>
                      <a:pt x="110" y="0"/>
                      <a:pt x="108" y="2"/>
                      <a:pt x="103" y="5"/>
                    </a:cubicBezTo>
                    <a:cubicBezTo>
                      <a:pt x="101" y="7"/>
                      <a:pt x="101" y="7"/>
                      <a:pt x="101" y="7"/>
                    </a:cubicBezTo>
                    <a:cubicBezTo>
                      <a:pt x="101" y="8"/>
                      <a:pt x="101" y="8"/>
                      <a:pt x="101" y="8"/>
                    </a:cubicBezTo>
                    <a:cubicBezTo>
                      <a:pt x="100" y="9"/>
                      <a:pt x="100" y="9"/>
                      <a:pt x="99" y="10"/>
                    </a:cubicBezTo>
                    <a:cubicBezTo>
                      <a:pt x="99" y="11"/>
                      <a:pt x="99" y="11"/>
                      <a:pt x="99" y="11"/>
                    </a:cubicBezTo>
                    <a:cubicBezTo>
                      <a:pt x="96" y="13"/>
                      <a:pt x="96" y="13"/>
                      <a:pt x="96" y="13"/>
                    </a:cubicBezTo>
                    <a:cubicBezTo>
                      <a:pt x="92" y="17"/>
                      <a:pt x="89" y="20"/>
                      <a:pt x="86" y="23"/>
                    </a:cubicBezTo>
                    <a:cubicBezTo>
                      <a:pt x="84" y="24"/>
                      <a:pt x="83" y="25"/>
                      <a:pt x="81" y="26"/>
                    </a:cubicBezTo>
                    <a:cubicBezTo>
                      <a:pt x="83" y="33"/>
                      <a:pt x="83" y="33"/>
                      <a:pt x="83" y="33"/>
                    </a:cubicBezTo>
                    <a:cubicBezTo>
                      <a:pt x="79" y="26"/>
                      <a:pt x="79" y="26"/>
                      <a:pt x="79" y="26"/>
                    </a:cubicBezTo>
                    <a:cubicBezTo>
                      <a:pt x="75" y="27"/>
                      <a:pt x="75" y="27"/>
                      <a:pt x="75" y="27"/>
                    </a:cubicBezTo>
                    <a:cubicBezTo>
                      <a:pt x="75" y="27"/>
                      <a:pt x="74" y="27"/>
                      <a:pt x="74" y="27"/>
                    </a:cubicBezTo>
                    <a:cubicBezTo>
                      <a:pt x="73" y="28"/>
                      <a:pt x="72" y="28"/>
                      <a:pt x="72" y="28"/>
                    </a:cubicBezTo>
                    <a:cubicBezTo>
                      <a:pt x="72" y="28"/>
                      <a:pt x="72" y="29"/>
                      <a:pt x="71" y="30"/>
                    </a:cubicBezTo>
                    <a:cubicBezTo>
                      <a:pt x="69" y="35"/>
                      <a:pt x="70" y="41"/>
                      <a:pt x="70" y="47"/>
                    </a:cubicBezTo>
                    <a:cubicBezTo>
                      <a:pt x="71" y="48"/>
                      <a:pt x="71" y="48"/>
                      <a:pt x="71" y="48"/>
                    </a:cubicBezTo>
                    <a:cubicBezTo>
                      <a:pt x="71" y="50"/>
                      <a:pt x="71" y="53"/>
                      <a:pt x="71" y="56"/>
                    </a:cubicBezTo>
                    <a:cubicBezTo>
                      <a:pt x="71" y="59"/>
                      <a:pt x="70" y="61"/>
                      <a:pt x="70" y="62"/>
                    </a:cubicBezTo>
                    <a:cubicBezTo>
                      <a:pt x="69" y="63"/>
                      <a:pt x="69" y="63"/>
                      <a:pt x="69" y="63"/>
                    </a:cubicBezTo>
                    <a:cubicBezTo>
                      <a:pt x="69" y="66"/>
                      <a:pt x="68" y="69"/>
                      <a:pt x="68" y="72"/>
                    </a:cubicBezTo>
                    <a:cubicBezTo>
                      <a:pt x="68" y="73"/>
                      <a:pt x="68" y="74"/>
                      <a:pt x="68" y="76"/>
                    </a:cubicBezTo>
                    <a:cubicBezTo>
                      <a:pt x="68" y="77"/>
                      <a:pt x="68" y="77"/>
                      <a:pt x="68" y="77"/>
                    </a:cubicBezTo>
                    <a:cubicBezTo>
                      <a:pt x="68" y="77"/>
                      <a:pt x="68" y="77"/>
                      <a:pt x="68" y="77"/>
                    </a:cubicBezTo>
                    <a:cubicBezTo>
                      <a:pt x="68" y="79"/>
                      <a:pt x="68" y="82"/>
                      <a:pt x="67" y="84"/>
                    </a:cubicBezTo>
                    <a:cubicBezTo>
                      <a:pt x="66" y="87"/>
                      <a:pt x="64" y="91"/>
                      <a:pt x="62" y="94"/>
                    </a:cubicBezTo>
                    <a:cubicBezTo>
                      <a:pt x="60" y="96"/>
                      <a:pt x="57" y="97"/>
                      <a:pt x="55" y="98"/>
                    </a:cubicBezTo>
                    <a:cubicBezTo>
                      <a:pt x="54" y="98"/>
                      <a:pt x="53" y="98"/>
                      <a:pt x="52" y="99"/>
                    </a:cubicBezTo>
                    <a:cubicBezTo>
                      <a:pt x="50" y="99"/>
                      <a:pt x="49" y="100"/>
                      <a:pt x="47" y="101"/>
                    </a:cubicBezTo>
                    <a:cubicBezTo>
                      <a:pt x="42" y="104"/>
                      <a:pt x="42" y="104"/>
                      <a:pt x="42" y="104"/>
                    </a:cubicBezTo>
                    <a:cubicBezTo>
                      <a:pt x="44" y="107"/>
                      <a:pt x="44" y="107"/>
                      <a:pt x="44" y="107"/>
                    </a:cubicBezTo>
                    <a:cubicBezTo>
                      <a:pt x="40" y="104"/>
                      <a:pt x="40" y="104"/>
                      <a:pt x="40" y="104"/>
                    </a:cubicBezTo>
                    <a:cubicBezTo>
                      <a:pt x="35" y="108"/>
                      <a:pt x="35" y="108"/>
                      <a:pt x="35" y="108"/>
                    </a:cubicBezTo>
                    <a:cubicBezTo>
                      <a:pt x="31" y="110"/>
                      <a:pt x="26" y="112"/>
                      <a:pt x="22" y="115"/>
                    </a:cubicBezTo>
                    <a:cubicBezTo>
                      <a:pt x="16" y="118"/>
                      <a:pt x="10" y="122"/>
                      <a:pt x="4" y="125"/>
                    </a:cubicBezTo>
                    <a:cubicBezTo>
                      <a:pt x="0" y="128"/>
                      <a:pt x="0" y="128"/>
                      <a:pt x="0" y="128"/>
                    </a:cubicBezTo>
                    <a:cubicBezTo>
                      <a:pt x="0" y="128"/>
                      <a:pt x="0" y="128"/>
                      <a:pt x="0" y="128"/>
                    </a:cubicBezTo>
                    <a:cubicBezTo>
                      <a:pt x="6" y="156"/>
                      <a:pt x="6" y="156"/>
                      <a:pt x="6" y="156"/>
                    </a:cubicBezTo>
                    <a:cubicBezTo>
                      <a:pt x="7" y="157"/>
                      <a:pt x="9" y="157"/>
                      <a:pt x="10" y="158"/>
                    </a:cubicBezTo>
                    <a:cubicBezTo>
                      <a:pt x="10" y="158"/>
                      <a:pt x="11" y="158"/>
                      <a:pt x="11" y="158"/>
                    </a:cubicBezTo>
                    <a:cubicBezTo>
                      <a:pt x="12" y="159"/>
                      <a:pt x="12" y="159"/>
                      <a:pt x="12" y="159"/>
                    </a:cubicBezTo>
                    <a:cubicBezTo>
                      <a:pt x="16" y="162"/>
                      <a:pt x="16" y="162"/>
                      <a:pt x="16" y="162"/>
                    </a:cubicBezTo>
                    <a:cubicBezTo>
                      <a:pt x="14" y="163"/>
                      <a:pt x="14" y="163"/>
                      <a:pt x="14" y="163"/>
                    </a:cubicBezTo>
                    <a:cubicBezTo>
                      <a:pt x="42" y="168"/>
                      <a:pt x="42" y="168"/>
                      <a:pt x="42" y="168"/>
                    </a:cubicBezTo>
                    <a:cubicBezTo>
                      <a:pt x="45" y="168"/>
                      <a:pt x="48" y="170"/>
                      <a:pt x="51" y="172"/>
                    </a:cubicBezTo>
                    <a:cubicBezTo>
                      <a:pt x="52" y="173"/>
                      <a:pt x="52" y="174"/>
                      <a:pt x="53" y="174"/>
                    </a:cubicBezTo>
                    <a:cubicBezTo>
                      <a:pt x="61" y="179"/>
                      <a:pt x="69" y="183"/>
                      <a:pt x="76" y="187"/>
                    </a:cubicBezTo>
                    <a:cubicBezTo>
                      <a:pt x="79" y="188"/>
                      <a:pt x="81" y="190"/>
                      <a:pt x="84" y="191"/>
                    </a:cubicBezTo>
                    <a:cubicBezTo>
                      <a:pt x="91" y="195"/>
                      <a:pt x="91" y="195"/>
                      <a:pt x="91" y="195"/>
                    </a:cubicBezTo>
                    <a:cubicBezTo>
                      <a:pt x="98" y="199"/>
                      <a:pt x="105" y="205"/>
                      <a:pt x="111" y="211"/>
                    </a:cubicBezTo>
                    <a:cubicBezTo>
                      <a:pt x="115" y="214"/>
                      <a:pt x="119" y="217"/>
                      <a:pt x="122" y="220"/>
                    </a:cubicBezTo>
                    <a:cubicBezTo>
                      <a:pt x="125" y="222"/>
                      <a:pt x="128" y="224"/>
                      <a:pt x="131" y="226"/>
                    </a:cubicBezTo>
                    <a:cubicBezTo>
                      <a:pt x="143" y="235"/>
                      <a:pt x="143" y="235"/>
                      <a:pt x="143" y="235"/>
                    </a:cubicBezTo>
                    <a:cubicBezTo>
                      <a:pt x="146" y="238"/>
                      <a:pt x="149" y="240"/>
                      <a:pt x="152" y="243"/>
                    </a:cubicBezTo>
                    <a:cubicBezTo>
                      <a:pt x="156" y="246"/>
                      <a:pt x="161" y="249"/>
                      <a:pt x="165" y="253"/>
                    </a:cubicBezTo>
                    <a:cubicBezTo>
                      <a:pt x="166" y="253"/>
                      <a:pt x="167" y="253"/>
                      <a:pt x="168" y="253"/>
                    </a:cubicBezTo>
                    <a:cubicBezTo>
                      <a:pt x="170" y="254"/>
                      <a:pt x="170" y="254"/>
                      <a:pt x="170" y="254"/>
                    </a:cubicBezTo>
                    <a:cubicBezTo>
                      <a:pt x="208" y="257"/>
                      <a:pt x="208" y="257"/>
                      <a:pt x="208" y="257"/>
                    </a:cubicBezTo>
                    <a:cubicBezTo>
                      <a:pt x="208" y="257"/>
                      <a:pt x="209" y="257"/>
                      <a:pt x="209" y="257"/>
                    </a:cubicBezTo>
                    <a:cubicBezTo>
                      <a:pt x="210" y="257"/>
                      <a:pt x="210" y="257"/>
                      <a:pt x="210" y="257"/>
                    </a:cubicBezTo>
                    <a:cubicBezTo>
                      <a:pt x="211" y="257"/>
                      <a:pt x="211" y="258"/>
                      <a:pt x="212" y="258"/>
                    </a:cubicBezTo>
                    <a:cubicBezTo>
                      <a:pt x="212" y="258"/>
                      <a:pt x="212" y="258"/>
                      <a:pt x="212" y="258"/>
                    </a:cubicBezTo>
                    <a:cubicBezTo>
                      <a:pt x="212" y="257"/>
                      <a:pt x="212" y="257"/>
                      <a:pt x="212" y="257"/>
                    </a:cubicBezTo>
                    <a:cubicBezTo>
                      <a:pt x="213" y="257"/>
                      <a:pt x="214" y="257"/>
                      <a:pt x="214" y="257"/>
                    </a:cubicBezTo>
                    <a:cubicBezTo>
                      <a:pt x="215" y="256"/>
                      <a:pt x="215" y="256"/>
                      <a:pt x="215" y="256"/>
                    </a:cubicBezTo>
                    <a:cubicBezTo>
                      <a:pt x="218" y="251"/>
                      <a:pt x="220" y="246"/>
                      <a:pt x="223" y="242"/>
                    </a:cubicBezTo>
                    <a:cubicBezTo>
                      <a:pt x="224" y="241"/>
                      <a:pt x="224" y="240"/>
                      <a:pt x="225" y="239"/>
                    </a:cubicBezTo>
                    <a:cubicBezTo>
                      <a:pt x="225" y="238"/>
                      <a:pt x="225" y="238"/>
                      <a:pt x="225" y="238"/>
                    </a:cubicBezTo>
                    <a:cubicBezTo>
                      <a:pt x="227" y="235"/>
                      <a:pt x="229" y="230"/>
                      <a:pt x="233" y="228"/>
                    </a:cubicBezTo>
                    <a:cubicBezTo>
                      <a:pt x="235" y="226"/>
                      <a:pt x="237" y="226"/>
                      <a:pt x="240" y="225"/>
                    </a:cubicBezTo>
                    <a:cubicBezTo>
                      <a:pt x="241" y="225"/>
                      <a:pt x="242" y="225"/>
                      <a:pt x="244" y="225"/>
                    </a:cubicBezTo>
                    <a:cubicBezTo>
                      <a:pt x="246" y="225"/>
                      <a:pt x="249" y="225"/>
                      <a:pt x="252" y="226"/>
                    </a:cubicBezTo>
                    <a:cubicBezTo>
                      <a:pt x="252" y="223"/>
                      <a:pt x="252" y="223"/>
                      <a:pt x="252" y="223"/>
                    </a:cubicBezTo>
                    <a:cubicBezTo>
                      <a:pt x="258" y="227"/>
                      <a:pt x="258" y="227"/>
                      <a:pt x="258" y="227"/>
                    </a:cubicBezTo>
                    <a:cubicBezTo>
                      <a:pt x="261" y="229"/>
                      <a:pt x="264" y="230"/>
                      <a:pt x="266" y="231"/>
                    </a:cubicBezTo>
                    <a:cubicBezTo>
                      <a:pt x="266" y="231"/>
                      <a:pt x="266" y="231"/>
                      <a:pt x="266" y="231"/>
                    </a:cubicBezTo>
                    <a:cubicBezTo>
                      <a:pt x="266" y="231"/>
                      <a:pt x="266" y="231"/>
                      <a:pt x="266" y="231"/>
                    </a:cubicBezTo>
                    <a:cubicBezTo>
                      <a:pt x="266" y="231"/>
                      <a:pt x="266" y="231"/>
                      <a:pt x="266" y="231"/>
                    </a:cubicBezTo>
                    <a:cubicBezTo>
                      <a:pt x="267" y="232"/>
                      <a:pt x="267" y="232"/>
                      <a:pt x="267" y="232"/>
                    </a:cubicBezTo>
                    <a:cubicBezTo>
                      <a:pt x="267" y="232"/>
                      <a:pt x="267" y="232"/>
                      <a:pt x="267" y="232"/>
                    </a:cubicBezTo>
                    <a:cubicBezTo>
                      <a:pt x="269" y="235"/>
                      <a:pt x="269" y="235"/>
                      <a:pt x="269" y="235"/>
                    </a:cubicBezTo>
                    <a:cubicBezTo>
                      <a:pt x="270" y="235"/>
                      <a:pt x="271" y="235"/>
                      <a:pt x="273" y="236"/>
                    </a:cubicBezTo>
                    <a:cubicBezTo>
                      <a:pt x="274" y="236"/>
                      <a:pt x="274" y="236"/>
                      <a:pt x="274" y="236"/>
                    </a:cubicBezTo>
                    <a:cubicBezTo>
                      <a:pt x="273" y="235"/>
                      <a:pt x="273" y="235"/>
                      <a:pt x="273" y="235"/>
                    </a:cubicBezTo>
                    <a:cubicBezTo>
                      <a:pt x="270" y="233"/>
                      <a:pt x="267" y="230"/>
                      <a:pt x="266" y="229"/>
                    </a:cubicBezTo>
                    <a:cubicBezTo>
                      <a:pt x="266" y="228"/>
                      <a:pt x="266" y="228"/>
                      <a:pt x="266" y="228"/>
                    </a:cubicBezTo>
                    <a:cubicBezTo>
                      <a:pt x="265" y="227"/>
                      <a:pt x="265" y="227"/>
                      <a:pt x="265" y="227"/>
                    </a:cubicBezTo>
                    <a:cubicBezTo>
                      <a:pt x="264" y="225"/>
                      <a:pt x="263" y="224"/>
                      <a:pt x="262" y="223"/>
                    </a:cubicBezTo>
                    <a:cubicBezTo>
                      <a:pt x="261" y="222"/>
                      <a:pt x="260" y="222"/>
                      <a:pt x="259" y="221"/>
                    </a:cubicBezTo>
                    <a:cubicBezTo>
                      <a:pt x="257" y="220"/>
                      <a:pt x="256" y="218"/>
                      <a:pt x="255" y="217"/>
                    </a:cubicBezTo>
                    <a:cubicBezTo>
                      <a:pt x="255" y="216"/>
                      <a:pt x="255" y="216"/>
                      <a:pt x="255" y="216"/>
                    </a:cubicBezTo>
                    <a:cubicBezTo>
                      <a:pt x="255" y="214"/>
                      <a:pt x="255" y="213"/>
                      <a:pt x="255" y="211"/>
                    </a:cubicBezTo>
                    <a:cubicBezTo>
                      <a:pt x="255" y="211"/>
                      <a:pt x="255" y="211"/>
                      <a:pt x="255" y="211"/>
                    </a:cubicBezTo>
                    <a:cubicBezTo>
                      <a:pt x="255" y="209"/>
                      <a:pt x="256" y="206"/>
                      <a:pt x="255" y="204"/>
                    </a:cubicBezTo>
                    <a:cubicBezTo>
                      <a:pt x="255" y="204"/>
                      <a:pt x="255" y="204"/>
                      <a:pt x="255" y="204"/>
                    </a:cubicBezTo>
                    <a:cubicBezTo>
                      <a:pt x="255" y="204"/>
                      <a:pt x="253" y="204"/>
                      <a:pt x="252" y="204"/>
                    </a:cubicBezTo>
                    <a:cubicBezTo>
                      <a:pt x="250" y="204"/>
                      <a:pt x="250" y="204"/>
                      <a:pt x="250" y="204"/>
                    </a:cubicBezTo>
                    <a:cubicBezTo>
                      <a:pt x="249" y="204"/>
                      <a:pt x="249" y="204"/>
                      <a:pt x="249" y="204"/>
                    </a:cubicBezTo>
                    <a:cubicBezTo>
                      <a:pt x="245" y="204"/>
                      <a:pt x="245" y="204"/>
                      <a:pt x="245" y="204"/>
                    </a:cubicBezTo>
                    <a:cubicBezTo>
                      <a:pt x="245" y="201"/>
                      <a:pt x="245" y="201"/>
                      <a:pt x="245" y="201"/>
                    </a:cubicBezTo>
                    <a:cubicBezTo>
                      <a:pt x="245" y="198"/>
                      <a:pt x="245" y="195"/>
                      <a:pt x="246" y="191"/>
                    </a:cubicBezTo>
                    <a:cubicBezTo>
                      <a:pt x="246" y="189"/>
                      <a:pt x="246" y="188"/>
                      <a:pt x="246" y="186"/>
                    </a:cubicBezTo>
                    <a:cubicBezTo>
                      <a:pt x="246" y="185"/>
                      <a:pt x="246" y="185"/>
                      <a:pt x="247" y="184"/>
                    </a:cubicBezTo>
                    <a:cubicBezTo>
                      <a:pt x="248" y="181"/>
                      <a:pt x="248" y="181"/>
                      <a:pt x="248" y="181"/>
                    </a:cubicBezTo>
                    <a:cubicBezTo>
                      <a:pt x="248" y="180"/>
                      <a:pt x="249" y="180"/>
                      <a:pt x="249" y="179"/>
                    </a:cubicBezTo>
                    <a:cubicBezTo>
                      <a:pt x="242" y="176"/>
                      <a:pt x="242" y="176"/>
                      <a:pt x="242" y="176"/>
                    </a:cubicBezTo>
                    <a:cubicBezTo>
                      <a:pt x="250" y="177"/>
                      <a:pt x="250" y="177"/>
                      <a:pt x="250" y="177"/>
                    </a:cubicBezTo>
                    <a:cubicBezTo>
                      <a:pt x="250" y="177"/>
                      <a:pt x="250" y="177"/>
                      <a:pt x="250" y="177"/>
                    </a:cubicBezTo>
                    <a:cubicBezTo>
                      <a:pt x="250" y="177"/>
                      <a:pt x="250" y="177"/>
                      <a:pt x="250" y="177"/>
                    </a:cubicBezTo>
                    <a:cubicBezTo>
                      <a:pt x="250" y="176"/>
                      <a:pt x="250" y="176"/>
                      <a:pt x="250" y="176"/>
                    </a:cubicBezTo>
                    <a:cubicBezTo>
                      <a:pt x="250" y="176"/>
                      <a:pt x="249" y="175"/>
                      <a:pt x="247" y="171"/>
                    </a:cubicBezTo>
                    <a:cubicBezTo>
                      <a:pt x="246" y="170"/>
                      <a:pt x="244" y="168"/>
                      <a:pt x="243" y="167"/>
                    </a:cubicBezTo>
                    <a:cubicBezTo>
                      <a:pt x="243" y="166"/>
                      <a:pt x="243" y="166"/>
                      <a:pt x="243" y="166"/>
                    </a:cubicBezTo>
                    <a:cubicBezTo>
                      <a:pt x="236" y="170"/>
                      <a:pt x="236" y="170"/>
                      <a:pt x="236" y="170"/>
                    </a:cubicBezTo>
                    <a:cubicBezTo>
                      <a:pt x="242" y="165"/>
                      <a:pt x="242" y="165"/>
                      <a:pt x="242" y="165"/>
                    </a:cubicBezTo>
                    <a:cubicBezTo>
                      <a:pt x="241" y="162"/>
                      <a:pt x="239" y="160"/>
                      <a:pt x="238" y="158"/>
                    </a:cubicBezTo>
                    <a:cubicBezTo>
                      <a:pt x="237" y="158"/>
                      <a:pt x="237" y="157"/>
                      <a:pt x="237" y="157"/>
                    </a:cubicBezTo>
                    <a:cubicBezTo>
                      <a:pt x="236" y="157"/>
                      <a:pt x="236" y="157"/>
                      <a:pt x="236" y="157"/>
                    </a:cubicBezTo>
                    <a:cubicBezTo>
                      <a:pt x="236" y="157"/>
                      <a:pt x="235" y="157"/>
                      <a:pt x="235" y="157"/>
                    </a:cubicBezTo>
                    <a:cubicBezTo>
                      <a:pt x="235" y="157"/>
                      <a:pt x="234" y="158"/>
                      <a:pt x="233" y="158"/>
                    </a:cubicBezTo>
                    <a:cubicBezTo>
                      <a:pt x="233" y="158"/>
                      <a:pt x="232" y="157"/>
                      <a:pt x="231" y="157"/>
                    </a:cubicBezTo>
                    <a:cubicBezTo>
                      <a:pt x="230" y="157"/>
                      <a:pt x="229" y="156"/>
                      <a:pt x="228" y="156"/>
                    </a:cubicBezTo>
                    <a:cubicBezTo>
                      <a:pt x="216" y="146"/>
                      <a:pt x="216" y="146"/>
                      <a:pt x="216" y="146"/>
                    </a:cubicBezTo>
                    <a:cubicBezTo>
                      <a:pt x="215" y="145"/>
                      <a:pt x="213" y="144"/>
                      <a:pt x="211" y="143"/>
                    </a:cubicBezTo>
                    <a:cubicBezTo>
                      <a:pt x="210" y="143"/>
                      <a:pt x="209" y="142"/>
                      <a:pt x="208" y="142"/>
                    </a:cubicBezTo>
                    <a:cubicBezTo>
                      <a:pt x="207" y="142"/>
                      <a:pt x="207" y="142"/>
                      <a:pt x="207" y="142"/>
                    </a:cubicBezTo>
                    <a:cubicBezTo>
                      <a:pt x="205" y="142"/>
                      <a:pt x="203" y="142"/>
                      <a:pt x="202" y="141"/>
                    </a:cubicBezTo>
                    <a:cubicBezTo>
                      <a:pt x="201" y="140"/>
                      <a:pt x="201" y="140"/>
                      <a:pt x="201" y="140"/>
                    </a:cubicBezTo>
                    <a:cubicBezTo>
                      <a:pt x="200" y="139"/>
                      <a:pt x="199" y="138"/>
                      <a:pt x="199" y="137"/>
                    </a:cubicBezTo>
                    <a:cubicBezTo>
                      <a:pt x="198" y="135"/>
                      <a:pt x="198" y="132"/>
                      <a:pt x="197" y="130"/>
                    </a:cubicBezTo>
                    <a:cubicBezTo>
                      <a:pt x="197" y="130"/>
                      <a:pt x="197" y="130"/>
                      <a:pt x="197" y="130"/>
                    </a:cubicBezTo>
                    <a:cubicBezTo>
                      <a:pt x="197" y="128"/>
                      <a:pt x="197" y="127"/>
                      <a:pt x="197" y="127"/>
                    </a:cubicBezTo>
                    <a:cubicBezTo>
                      <a:pt x="196" y="126"/>
                      <a:pt x="196" y="125"/>
                      <a:pt x="196" y="124"/>
                    </a:cubicBezTo>
                    <a:cubicBezTo>
                      <a:pt x="196" y="123"/>
                      <a:pt x="196" y="123"/>
                      <a:pt x="196" y="123"/>
                    </a:cubicBezTo>
                    <a:cubicBezTo>
                      <a:pt x="196" y="122"/>
                      <a:pt x="196" y="122"/>
                      <a:pt x="196" y="122"/>
                    </a:cubicBezTo>
                    <a:cubicBezTo>
                      <a:pt x="195" y="122"/>
                      <a:pt x="195" y="122"/>
                      <a:pt x="195" y="122"/>
                    </a:cubicBezTo>
                    <a:cubicBezTo>
                      <a:pt x="195" y="122"/>
                      <a:pt x="195" y="122"/>
                      <a:pt x="195" y="122"/>
                    </a:cubicBezTo>
                    <a:cubicBezTo>
                      <a:pt x="193" y="121"/>
                      <a:pt x="192" y="121"/>
                      <a:pt x="191" y="120"/>
                    </a:cubicBezTo>
                    <a:cubicBezTo>
                      <a:pt x="191" y="120"/>
                      <a:pt x="191" y="120"/>
                      <a:pt x="191" y="120"/>
                    </a:cubicBezTo>
                    <a:cubicBezTo>
                      <a:pt x="183" y="112"/>
                      <a:pt x="183" y="112"/>
                      <a:pt x="183" y="112"/>
                    </a:cubicBezTo>
                    <a:cubicBezTo>
                      <a:pt x="183" y="111"/>
                      <a:pt x="182" y="111"/>
                      <a:pt x="182" y="110"/>
                    </a:cubicBezTo>
                    <a:cubicBezTo>
                      <a:pt x="181" y="109"/>
                      <a:pt x="180" y="107"/>
                      <a:pt x="181" y="105"/>
                    </a:cubicBezTo>
                    <a:cubicBezTo>
                      <a:pt x="181" y="104"/>
                      <a:pt x="181" y="104"/>
                      <a:pt x="181" y="104"/>
                    </a:cubicBezTo>
                    <a:cubicBezTo>
                      <a:pt x="182" y="102"/>
                      <a:pt x="183" y="100"/>
                      <a:pt x="184" y="98"/>
                    </a:cubicBezTo>
                    <a:cubicBezTo>
                      <a:pt x="185" y="96"/>
                      <a:pt x="185" y="96"/>
                      <a:pt x="185" y="96"/>
                    </a:cubicBezTo>
                    <a:cubicBezTo>
                      <a:pt x="185" y="96"/>
                      <a:pt x="185" y="96"/>
                      <a:pt x="185" y="96"/>
                    </a:cubicBezTo>
                    <a:cubicBezTo>
                      <a:pt x="184" y="95"/>
                      <a:pt x="184" y="95"/>
                      <a:pt x="184" y="95"/>
                    </a:cubicBezTo>
                    <a:cubicBezTo>
                      <a:pt x="184" y="95"/>
                      <a:pt x="184" y="95"/>
                      <a:pt x="184" y="95"/>
                    </a:cubicBezTo>
                    <a:cubicBezTo>
                      <a:pt x="183" y="94"/>
                      <a:pt x="182" y="93"/>
                      <a:pt x="182" y="91"/>
                    </a:cubicBezTo>
                    <a:cubicBezTo>
                      <a:pt x="181" y="89"/>
                      <a:pt x="181" y="89"/>
                      <a:pt x="181" y="89"/>
                    </a:cubicBezTo>
                    <a:cubicBezTo>
                      <a:pt x="188" y="82"/>
                      <a:pt x="188" y="82"/>
                      <a:pt x="188" y="82"/>
                    </a:cubicBezTo>
                    <a:cubicBezTo>
                      <a:pt x="190" y="84"/>
                      <a:pt x="190" y="84"/>
                      <a:pt x="190" y="84"/>
                    </a:cubicBezTo>
                    <a:cubicBezTo>
                      <a:pt x="190" y="82"/>
                      <a:pt x="190" y="82"/>
                      <a:pt x="190" y="82"/>
                    </a:cubicBezTo>
                    <a:cubicBezTo>
                      <a:pt x="191" y="78"/>
                      <a:pt x="192" y="75"/>
                      <a:pt x="195" y="71"/>
                    </a:cubicBezTo>
                    <a:cubicBezTo>
                      <a:pt x="195" y="70"/>
                      <a:pt x="195" y="70"/>
                      <a:pt x="195" y="70"/>
                    </a:cubicBezTo>
                    <a:cubicBezTo>
                      <a:pt x="197" y="69"/>
                      <a:pt x="200" y="68"/>
                      <a:pt x="202" y="68"/>
                    </a:cubicBezTo>
                    <a:cubicBezTo>
                      <a:pt x="202" y="67"/>
                      <a:pt x="202" y="67"/>
                      <a:pt x="202" y="67"/>
                    </a:cubicBezTo>
                    <a:cubicBezTo>
                      <a:pt x="202" y="67"/>
                      <a:pt x="202" y="67"/>
                      <a:pt x="202" y="67"/>
                    </a:cubicBezTo>
                    <a:cubicBezTo>
                      <a:pt x="202" y="66"/>
                      <a:pt x="202" y="66"/>
                      <a:pt x="201" y="64"/>
                    </a:cubicBezTo>
                    <a:cubicBezTo>
                      <a:pt x="200" y="64"/>
                      <a:pt x="200" y="64"/>
                      <a:pt x="200" y="64"/>
                    </a:cubicBezTo>
                    <a:cubicBezTo>
                      <a:pt x="200" y="63"/>
                      <a:pt x="199" y="62"/>
                      <a:pt x="199" y="62"/>
                    </a:cubicBezTo>
                    <a:cubicBezTo>
                      <a:pt x="198" y="61"/>
                      <a:pt x="198" y="61"/>
                      <a:pt x="198" y="61"/>
                    </a:cubicBezTo>
                    <a:cubicBezTo>
                      <a:pt x="198" y="59"/>
                      <a:pt x="198" y="58"/>
                      <a:pt x="198" y="57"/>
                    </a:cubicBezTo>
                    <a:cubicBezTo>
                      <a:pt x="198" y="55"/>
                      <a:pt x="198" y="55"/>
                      <a:pt x="198" y="55"/>
                    </a:cubicBezTo>
                    <a:cubicBezTo>
                      <a:pt x="198" y="55"/>
                      <a:pt x="198" y="54"/>
                      <a:pt x="198" y="54"/>
                    </a:cubicBezTo>
                    <a:cubicBezTo>
                      <a:pt x="198" y="52"/>
                      <a:pt x="198" y="52"/>
                      <a:pt x="198" y="52"/>
                    </a:cubicBezTo>
                    <a:cubicBezTo>
                      <a:pt x="198" y="52"/>
                      <a:pt x="199" y="51"/>
                      <a:pt x="199" y="50"/>
                    </a:cubicBezTo>
                    <a:cubicBezTo>
                      <a:pt x="198" y="51"/>
                      <a:pt x="197" y="51"/>
                      <a:pt x="196" y="51"/>
                    </a:cubicBezTo>
                    <a:cubicBezTo>
                      <a:pt x="196" y="51"/>
                      <a:pt x="195" y="51"/>
                      <a:pt x="195" y="51"/>
                    </a:cubicBezTo>
                    <a:cubicBezTo>
                      <a:pt x="193" y="50"/>
                      <a:pt x="192" y="50"/>
                      <a:pt x="191" y="49"/>
                    </a:cubicBezTo>
                    <a:cubicBezTo>
                      <a:pt x="190" y="48"/>
                      <a:pt x="190" y="48"/>
                      <a:pt x="190" y="48"/>
                    </a:cubicBezTo>
                    <a:cubicBezTo>
                      <a:pt x="189" y="47"/>
                      <a:pt x="188" y="46"/>
                      <a:pt x="187" y="45"/>
                    </a:cubicBezTo>
                    <a:cubicBezTo>
                      <a:pt x="186" y="45"/>
                      <a:pt x="186" y="44"/>
                      <a:pt x="186" y="44"/>
                    </a:cubicBezTo>
                    <a:cubicBezTo>
                      <a:pt x="186" y="44"/>
                      <a:pt x="186" y="44"/>
                      <a:pt x="185" y="45"/>
                    </a:cubicBezTo>
                    <a:cubicBezTo>
                      <a:pt x="184" y="45"/>
                      <a:pt x="184" y="45"/>
                      <a:pt x="184" y="45"/>
                    </a:cubicBezTo>
                    <a:cubicBezTo>
                      <a:pt x="183" y="45"/>
                      <a:pt x="183" y="45"/>
                      <a:pt x="183" y="45"/>
                    </a:cubicBezTo>
                    <a:cubicBezTo>
                      <a:pt x="181" y="45"/>
                      <a:pt x="179" y="43"/>
                      <a:pt x="179" y="40"/>
                    </a:cubicBezTo>
                    <a:cubicBezTo>
                      <a:pt x="179" y="40"/>
                      <a:pt x="178" y="40"/>
                      <a:pt x="178" y="39"/>
                    </a:cubicBezTo>
                    <a:cubicBezTo>
                      <a:pt x="178" y="37"/>
                      <a:pt x="178" y="37"/>
                      <a:pt x="178" y="37"/>
                    </a:cubicBezTo>
                    <a:cubicBezTo>
                      <a:pt x="178" y="35"/>
                      <a:pt x="177" y="33"/>
                      <a:pt x="176" y="31"/>
                    </a:cubicBezTo>
                    <a:cubicBezTo>
                      <a:pt x="176" y="30"/>
                      <a:pt x="176" y="30"/>
                      <a:pt x="176" y="30"/>
                    </a:cubicBezTo>
                    <a:cubicBezTo>
                      <a:pt x="176" y="30"/>
                      <a:pt x="176" y="30"/>
                      <a:pt x="176" y="30"/>
                    </a:cubicBezTo>
                    <a:cubicBezTo>
                      <a:pt x="175" y="29"/>
                      <a:pt x="175" y="29"/>
                      <a:pt x="175" y="29"/>
                    </a:cubicBezTo>
                    <a:cubicBezTo>
                      <a:pt x="173" y="28"/>
                      <a:pt x="172" y="28"/>
                      <a:pt x="171" y="27"/>
                    </a:cubicBezTo>
                    <a:cubicBezTo>
                      <a:pt x="170" y="25"/>
                      <a:pt x="170" y="23"/>
                      <a:pt x="170" y="21"/>
                    </a:cubicBezTo>
                    <a:cubicBezTo>
                      <a:pt x="170" y="21"/>
                      <a:pt x="170" y="21"/>
                      <a:pt x="170" y="21"/>
                    </a:cubicBezTo>
                    <a:cubicBezTo>
                      <a:pt x="170" y="20"/>
                      <a:pt x="170" y="20"/>
                      <a:pt x="170" y="20"/>
                    </a:cubicBezTo>
                    <a:cubicBezTo>
                      <a:pt x="169" y="20"/>
                      <a:pt x="169" y="20"/>
                      <a:pt x="169" y="20"/>
                    </a:cubicBezTo>
                    <a:cubicBezTo>
                      <a:pt x="169" y="20"/>
                      <a:pt x="167" y="19"/>
                      <a:pt x="166" y="18"/>
                    </a:cubicBezTo>
                    <a:cubicBezTo>
                      <a:pt x="165" y="16"/>
                      <a:pt x="165" y="14"/>
                      <a:pt x="165" y="13"/>
                    </a:cubicBezTo>
                    <a:cubicBezTo>
                      <a:pt x="165" y="12"/>
                      <a:pt x="165" y="12"/>
                      <a:pt x="165" y="12"/>
                    </a:cubicBezTo>
                    <a:cubicBezTo>
                      <a:pt x="166" y="11"/>
                      <a:pt x="166" y="11"/>
                      <a:pt x="166" y="11"/>
                    </a:cubicBezTo>
                    <a:cubicBezTo>
                      <a:pt x="165" y="10"/>
                      <a:pt x="165" y="10"/>
                      <a:pt x="165" y="10"/>
                    </a:cubicBezTo>
                    <a:cubicBezTo>
                      <a:pt x="165" y="9"/>
                      <a:pt x="165" y="9"/>
                      <a:pt x="164" y="8"/>
                    </a:cubicBezTo>
                    <a:cubicBezTo>
                      <a:pt x="162" y="9"/>
                      <a:pt x="162" y="9"/>
                      <a:pt x="162" y="9"/>
                    </a:cubicBezTo>
                    <a:cubicBezTo>
                      <a:pt x="162" y="10"/>
                      <a:pt x="161" y="10"/>
                      <a:pt x="161" y="10"/>
                    </a:cubicBezTo>
                    <a:cubicBezTo>
                      <a:pt x="160" y="10"/>
                      <a:pt x="160" y="10"/>
                      <a:pt x="160" y="10"/>
                    </a:cubicBezTo>
                    <a:cubicBezTo>
                      <a:pt x="158" y="11"/>
                      <a:pt x="157" y="12"/>
                      <a:pt x="155" y="12"/>
                    </a:cubicBezTo>
                    <a:cubicBezTo>
                      <a:pt x="154" y="12"/>
                      <a:pt x="154" y="12"/>
                      <a:pt x="154" y="12"/>
                    </a:cubicBezTo>
                    <a:cubicBezTo>
                      <a:pt x="153" y="12"/>
                      <a:pt x="153" y="12"/>
                      <a:pt x="153" y="12"/>
                    </a:cubicBezTo>
                    <a:cubicBezTo>
                      <a:pt x="150" y="12"/>
                      <a:pt x="149" y="9"/>
                      <a:pt x="149" y="8"/>
                    </a:cubicBezTo>
                    <a:cubicBezTo>
                      <a:pt x="149" y="7"/>
                      <a:pt x="148" y="7"/>
                      <a:pt x="148" y="6"/>
                    </a:cubicBezTo>
                    <a:cubicBezTo>
                      <a:pt x="148" y="6"/>
                      <a:pt x="148" y="6"/>
                      <a:pt x="148" y="6"/>
                    </a:cubicBezTo>
                    <a:cubicBezTo>
                      <a:pt x="148" y="5"/>
                      <a:pt x="148" y="5"/>
                      <a:pt x="147" y="5"/>
                    </a:cubicBezTo>
                    <a:cubicBezTo>
                      <a:pt x="147" y="4"/>
                      <a:pt x="147" y="4"/>
                      <a:pt x="147" y="4"/>
                    </a:cubicBezTo>
                    <a:cubicBezTo>
                      <a:pt x="147" y="3"/>
                      <a:pt x="146" y="2"/>
                      <a:pt x="146" y="2"/>
                    </a:cubicBezTo>
                    <a:cubicBezTo>
                      <a:pt x="146" y="2"/>
                      <a:pt x="145" y="2"/>
                      <a:pt x="144" y="3"/>
                    </a:cubicBezTo>
                    <a:cubicBezTo>
                      <a:pt x="143" y="3"/>
                      <a:pt x="141" y="3"/>
                      <a:pt x="139" y="3"/>
                    </a:cubicBezTo>
                    <a:cubicBezTo>
                      <a:pt x="135" y="3"/>
                      <a:pt x="130" y="2"/>
                      <a:pt x="126" y="2"/>
                    </a:cubicBezTo>
                    <a:cubicBezTo>
                      <a:pt x="123" y="1"/>
                      <a:pt x="123" y="1"/>
                      <a:pt x="123" y="1"/>
                    </a:cubicBezTo>
                    <a:cubicBezTo>
                      <a:pt x="121" y="1"/>
                      <a:pt x="120" y="0"/>
                      <a:pt x="118" y="0"/>
                    </a:cubicBezTo>
                    <a:cubicBezTo>
                      <a:pt x="118" y="0"/>
                      <a:pt x="118" y="0"/>
                      <a:pt x="118" y="0"/>
                    </a:cubicBezTo>
                    <a:cubicBezTo>
                      <a:pt x="117" y="0"/>
                      <a:pt x="116" y="0"/>
                      <a:pt x="116" y="0"/>
                    </a:cubicBezTo>
                    <a:cubicBezTo>
                      <a:pt x="115" y="0"/>
                      <a:pt x="115" y="0"/>
                      <a:pt x="1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12" name="Freeform 240">
                <a:extLst>
                  <a:ext uri="{FF2B5EF4-FFF2-40B4-BE49-F238E27FC236}">
                    <a16:creationId xmlns:a16="http://schemas.microsoft.com/office/drawing/2014/main" id="{895F45AB-0541-4D68-A4AA-1B18E495A02F}"/>
                  </a:ext>
                </a:extLst>
              </p:cNvPr>
              <p:cNvSpPr>
                <a:spLocks/>
              </p:cNvSpPr>
              <p:nvPr/>
            </p:nvSpPr>
            <p:spPr bwMode="auto">
              <a:xfrm>
                <a:off x="8575264" y="6135718"/>
                <a:ext cx="143719" cy="132664"/>
              </a:xfrm>
              <a:custGeom>
                <a:avLst/>
                <a:gdLst>
                  <a:gd name="T0" fmla="*/ 22 w 46"/>
                  <a:gd name="T1" fmla="*/ 0 h 42"/>
                  <a:gd name="T2" fmla="*/ 19 w 46"/>
                  <a:gd name="T3" fmla="*/ 0 h 42"/>
                  <a:gd name="T4" fmla="*/ 15 w 46"/>
                  <a:gd name="T5" fmla="*/ 2 h 42"/>
                  <a:gd name="T6" fmla="*/ 9 w 46"/>
                  <a:gd name="T7" fmla="*/ 10 h 42"/>
                  <a:gd name="T8" fmla="*/ 9 w 46"/>
                  <a:gd name="T9" fmla="*/ 10 h 42"/>
                  <a:gd name="T10" fmla="*/ 7 w 46"/>
                  <a:gd name="T11" fmla="*/ 13 h 42"/>
                  <a:gd name="T12" fmla="*/ 0 w 46"/>
                  <a:gd name="T13" fmla="*/ 25 h 42"/>
                  <a:gd name="T14" fmla="*/ 21 w 46"/>
                  <a:gd name="T15" fmla="*/ 31 h 42"/>
                  <a:gd name="T16" fmla="*/ 26 w 46"/>
                  <a:gd name="T17" fmla="*/ 37 h 42"/>
                  <a:gd name="T18" fmla="*/ 27 w 46"/>
                  <a:gd name="T19" fmla="*/ 39 h 42"/>
                  <a:gd name="T20" fmla="*/ 27 w 46"/>
                  <a:gd name="T21" fmla="*/ 39 h 42"/>
                  <a:gd name="T22" fmla="*/ 27 w 46"/>
                  <a:gd name="T23" fmla="*/ 40 h 42"/>
                  <a:gd name="T24" fmla="*/ 29 w 46"/>
                  <a:gd name="T25" fmla="*/ 41 h 42"/>
                  <a:gd name="T26" fmla="*/ 35 w 46"/>
                  <a:gd name="T27" fmla="*/ 42 h 42"/>
                  <a:gd name="T28" fmla="*/ 42 w 46"/>
                  <a:gd name="T29" fmla="*/ 42 h 42"/>
                  <a:gd name="T30" fmla="*/ 46 w 46"/>
                  <a:gd name="T31" fmla="*/ 42 h 42"/>
                  <a:gd name="T32" fmla="*/ 39 w 46"/>
                  <a:gd name="T33" fmla="*/ 27 h 42"/>
                  <a:gd name="T34" fmla="*/ 37 w 46"/>
                  <a:gd name="T35" fmla="*/ 21 h 42"/>
                  <a:gd name="T36" fmla="*/ 29 w 46"/>
                  <a:gd name="T37" fmla="*/ 19 h 42"/>
                  <a:gd name="T38" fmla="*/ 35 w 46"/>
                  <a:gd name="T39" fmla="*/ 11 h 42"/>
                  <a:gd name="T40" fmla="*/ 35 w 46"/>
                  <a:gd name="T41" fmla="*/ 11 h 42"/>
                  <a:gd name="T42" fmla="*/ 40 w 46"/>
                  <a:gd name="T43" fmla="*/ 13 h 42"/>
                  <a:gd name="T44" fmla="*/ 38 w 46"/>
                  <a:gd name="T45" fmla="*/ 8 h 42"/>
                  <a:gd name="T46" fmla="*/ 35 w 46"/>
                  <a:gd name="T47" fmla="*/ 4 h 42"/>
                  <a:gd name="T48" fmla="*/ 30 w 46"/>
                  <a:gd name="T49" fmla="*/ 2 h 42"/>
                  <a:gd name="T50" fmla="*/ 22 w 46"/>
                  <a:gd name="T5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 h="42">
                    <a:moveTo>
                      <a:pt x="22" y="0"/>
                    </a:moveTo>
                    <a:cubicBezTo>
                      <a:pt x="21" y="0"/>
                      <a:pt x="20" y="0"/>
                      <a:pt x="19" y="0"/>
                    </a:cubicBezTo>
                    <a:cubicBezTo>
                      <a:pt x="17" y="0"/>
                      <a:pt x="16" y="1"/>
                      <a:pt x="15" y="2"/>
                    </a:cubicBezTo>
                    <a:cubicBezTo>
                      <a:pt x="13" y="3"/>
                      <a:pt x="11" y="7"/>
                      <a:pt x="9" y="10"/>
                    </a:cubicBezTo>
                    <a:cubicBezTo>
                      <a:pt x="9" y="10"/>
                      <a:pt x="9" y="10"/>
                      <a:pt x="9" y="10"/>
                    </a:cubicBezTo>
                    <a:cubicBezTo>
                      <a:pt x="9" y="11"/>
                      <a:pt x="8" y="12"/>
                      <a:pt x="7" y="13"/>
                    </a:cubicBezTo>
                    <a:cubicBezTo>
                      <a:pt x="5" y="17"/>
                      <a:pt x="2" y="21"/>
                      <a:pt x="0" y="25"/>
                    </a:cubicBezTo>
                    <a:cubicBezTo>
                      <a:pt x="21" y="31"/>
                      <a:pt x="21" y="31"/>
                      <a:pt x="21" y="31"/>
                    </a:cubicBezTo>
                    <a:cubicBezTo>
                      <a:pt x="25" y="32"/>
                      <a:pt x="26" y="36"/>
                      <a:pt x="26" y="37"/>
                    </a:cubicBezTo>
                    <a:cubicBezTo>
                      <a:pt x="26" y="38"/>
                      <a:pt x="27" y="38"/>
                      <a:pt x="27" y="39"/>
                    </a:cubicBezTo>
                    <a:cubicBezTo>
                      <a:pt x="27" y="39"/>
                      <a:pt x="27" y="39"/>
                      <a:pt x="27" y="39"/>
                    </a:cubicBezTo>
                    <a:cubicBezTo>
                      <a:pt x="27" y="39"/>
                      <a:pt x="27" y="40"/>
                      <a:pt x="27" y="40"/>
                    </a:cubicBezTo>
                    <a:cubicBezTo>
                      <a:pt x="27" y="40"/>
                      <a:pt x="28" y="41"/>
                      <a:pt x="29" y="41"/>
                    </a:cubicBezTo>
                    <a:cubicBezTo>
                      <a:pt x="30" y="42"/>
                      <a:pt x="33" y="42"/>
                      <a:pt x="35" y="42"/>
                    </a:cubicBezTo>
                    <a:cubicBezTo>
                      <a:pt x="37" y="42"/>
                      <a:pt x="40" y="42"/>
                      <a:pt x="42" y="42"/>
                    </a:cubicBezTo>
                    <a:cubicBezTo>
                      <a:pt x="43" y="42"/>
                      <a:pt x="44" y="42"/>
                      <a:pt x="46" y="42"/>
                    </a:cubicBezTo>
                    <a:cubicBezTo>
                      <a:pt x="44" y="37"/>
                      <a:pt x="41" y="32"/>
                      <a:pt x="39" y="27"/>
                    </a:cubicBezTo>
                    <a:cubicBezTo>
                      <a:pt x="38" y="25"/>
                      <a:pt x="38" y="23"/>
                      <a:pt x="37" y="21"/>
                    </a:cubicBezTo>
                    <a:cubicBezTo>
                      <a:pt x="35" y="19"/>
                      <a:pt x="32" y="19"/>
                      <a:pt x="29" y="19"/>
                    </a:cubicBezTo>
                    <a:cubicBezTo>
                      <a:pt x="30" y="17"/>
                      <a:pt x="33" y="12"/>
                      <a:pt x="35" y="11"/>
                    </a:cubicBezTo>
                    <a:cubicBezTo>
                      <a:pt x="35" y="11"/>
                      <a:pt x="35" y="11"/>
                      <a:pt x="35" y="11"/>
                    </a:cubicBezTo>
                    <a:cubicBezTo>
                      <a:pt x="36" y="11"/>
                      <a:pt x="39" y="13"/>
                      <a:pt x="40" y="13"/>
                    </a:cubicBezTo>
                    <a:cubicBezTo>
                      <a:pt x="40" y="12"/>
                      <a:pt x="39" y="10"/>
                      <a:pt x="38" y="8"/>
                    </a:cubicBezTo>
                    <a:cubicBezTo>
                      <a:pt x="38" y="8"/>
                      <a:pt x="36" y="6"/>
                      <a:pt x="35" y="4"/>
                    </a:cubicBezTo>
                    <a:cubicBezTo>
                      <a:pt x="30" y="2"/>
                      <a:pt x="30" y="2"/>
                      <a:pt x="30" y="2"/>
                    </a:cubicBezTo>
                    <a:cubicBezTo>
                      <a:pt x="26" y="0"/>
                      <a:pt x="24"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13" name="Freeform 241">
                <a:extLst>
                  <a:ext uri="{FF2B5EF4-FFF2-40B4-BE49-F238E27FC236}">
                    <a16:creationId xmlns:a16="http://schemas.microsoft.com/office/drawing/2014/main" id="{A8F7D195-35AE-434F-9FAE-2F896A6546FB}"/>
                  </a:ext>
                </a:extLst>
              </p:cNvPr>
              <p:cNvSpPr>
                <a:spLocks/>
              </p:cNvSpPr>
              <p:nvPr/>
            </p:nvSpPr>
            <p:spPr bwMode="auto">
              <a:xfrm>
                <a:off x="8693188" y="6146774"/>
                <a:ext cx="25796" cy="29481"/>
              </a:xfrm>
              <a:custGeom>
                <a:avLst/>
                <a:gdLst>
                  <a:gd name="T0" fmla="*/ 1 w 9"/>
                  <a:gd name="T1" fmla="*/ 0 h 9"/>
                  <a:gd name="T2" fmla="*/ 0 w 9"/>
                  <a:gd name="T3" fmla="*/ 2 h 9"/>
                  <a:gd name="T4" fmla="*/ 4 w 9"/>
                  <a:gd name="T5" fmla="*/ 9 h 9"/>
                  <a:gd name="T6" fmla="*/ 8 w 9"/>
                  <a:gd name="T7" fmla="*/ 3 h 9"/>
                  <a:gd name="T8" fmla="*/ 4 w 9"/>
                  <a:gd name="T9" fmla="*/ 1 h 9"/>
                  <a:gd name="T10" fmla="*/ 3 w 9"/>
                  <a:gd name="T11" fmla="*/ 1 h 9"/>
                  <a:gd name="T12" fmla="*/ 2 w 9"/>
                  <a:gd name="T13" fmla="*/ 2 h 9"/>
                  <a:gd name="T14" fmla="*/ 2 w 9"/>
                  <a:gd name="T15" fmla="*/ 1 h 9"/>
                  <a:gd name="T16" fmla="*/ 1 w 9"/>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1" y="0"/>
                    </a:moveTo>
                    <a:cubicBezTo>
                      <a:pt x="1" y="1"/>
                      <a:pt x="0" y="1"/>
                      <a:pt x="0" y="2"/>
                    </a:cubicBezTo>
                    <a:cubicBezTo>
                      <a:pt x="0" y="4"/>
                      <a:pt x="3" y="7"/>
                      <a:pt x="4" y="9"/>
                    </a:cubicBezTo>
                    <a:cubicBezTo>
                      <a:pt x="8" y="7"/>
                      <a:pt x="9" y="5"/>
                      <a:pt x="8" y="3"/>
                    </a:cubicBezTo>
                    <a:cubicBezTo>
                      <a:pt x="4" y="1"/>
                      <a:pt x="4" y="1"/>
                      <a:pt x="4" y="1"/>
                    </a:cubicBezTo>
                    <a:cubicBezTo>
                      <a:pt x="3" y="1"/>
                      <a:pt x="3" y="1"/>
                      <a:pt x="3" y="1"/>
                    </a:cubicBezTo>
                    <a:cubicBezTo>
                      <a:pt x="2" y="2"/>
                      <a:pt x="2" y="2"/>
                      <a:pt x="2" y="2"/>
                    </a:cubicBezTo>
                    <a:cubicBezTo>
                      <a:pt x="2" y="1"/>
                      <a:pt x="2" y="1"/>
                      <a:pt x="2" y="1"/>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14" name="Freeform 242">
                <a:extLst>
                  <a:ext uri="{FF2B5EF4-FFF2-40B4-BE49-F238E27FC236}">
                    <a16:creationId xmlns:a16="http://schemas.microsoft.com/office/drawing/2014/main" id="{99870B17-2EEC-4A4B-B3C9-E8FC8A406A3F}"/>
                  </a:ext>
                </a:extLst>
              </p:cNvPr>
              <p:cNvSpPr>
                <a:spLocks/>
              </p:cNvSpPr>
              <p:nvPr/>
            </p:nvSpPr>
            <p:spPr bwMode="auto">
              <a:xfrm>
                <a:off x="7580283" y="5413436"/>
                <a:ext cx="585933" cy="479065"/>
              </a:xfrm>
              <a:custGeom>
                <a:avLst/>
                <a:gdLst>
                  <a:gd name="T0" fmla="*/ 177 w 185"/>
                  <a:gd name="T1" fmla="*/ 1 h 151"/>
                  <a:gd name="T2" fmla="*/ 146 w 185"/>
                  <a:gd name="T3" fmla="*/ 4 h 151"/>
                  <a:gd name="T4" fmla="*/ 135 w 185"/>
                  <a:gd name="T5" fmla="*/ 7 h 151"/>
                  <a:gd name="T6" fmla="*/ 129 w 185"/>
                  <a:gd name="T7" fmla="*/ 10 h 151"/>
                  <a:gd name="T8" fmla="*/ 106 w 185"/>
                  <a:gd name="T9" fmla="*/ 17 h 151"/>
                  <a:gd name="T10" fmla="*/ 104 w 185"/>
                  <a:gd name="T11" fmla="*/ 17 h 151"/>
                  <a:gd name="T12" fmla="*/ 85 w 185"/>
                  <a:gd name="T13" fmla="*/ 16 h 151"/>
                  <a:gd name="T14" fmla="*/ 81 w 185"/>
                  <a:gd name="T15" fmla="*/ 15 h 151"/>
                  <a:gd name="T16" fmla="*/ 79 w 185"/>
                  <a:gd name="T17" fmla="*/ 13 h 151"/>
                  <a:gd name="T18" fmla="*/ 71 w 185"/>
                  <a:gd name="T19" fmla="*/ 11 h 151"/>
                  <a:gd name="T20" fmla="*/ 66 w 185"/>
                  <a:gd name="T21" fmla="*/ 13 h 151"/>
                  <a:gd name="T22" fmla="*/ 44 w 185"/>
                  <a:gd name="T23" fmla="*/ 19 h 151"/>
                  <a:gd name="T24" fmla="*/ 34 w 185"/>
                  <a:gd name="T25" fmla="*/ 18 h 151"/>
                  <a:gd name="T26" fmla="*/ 27 w 185"/>
                  <a:gd name="T27" fmla="*/ 21 h 151"/>
                  <a:gd name="T28" fmla="*/ 36 w 185"/>
                  <a:gd name="T29" fmla="*/ 26 h 151"/>
                  <a:gd name="T30" fmla="*/ 26 w 185"/>
                  <a:gd name="T31" fmla="*/ 30 h 151"/>
                  <a:gd name="T32" fmla="*/ 22 w 185"/>
                  <a:gd name="T33" fmla="*/ 32 h 151"/>
                  <a:gd name="T34" fmla="*/ 22 w 185"/>
                  <a:gd name="T35" fmla="*/ 33 h 151"/>
                  <a:gd name="T36" fmla="*/ 18 w 185"/>
                  <a:gd name="T37" fmla="*/ 40 h 151"/>
                  <a:gd name="T38" fmla="*/ 16 w 185"/>
                  <a:gd name="T39" fmla="*/ 41 h 151"/>
                  <a:gd name="T40" fmla="*/ 15 w 185"/>
                  <a:gd name="T41" fmla="*/ 44 h 151"/>
                  <a:gd name="T42" fmla="*/ 10 w 185"/>
                  <a:gd name="T43" fmla="*/ 45 h 151"/>
                  <a:gd name="T44" fmla="*/ 1 w 185"/>
                  <a:gd name="T45" fmla="*/ 46 h 151"/>
                  <a:gd name="T46" fmla="*/ 5 w 185"/>
                  <a:gd name="T47" fmla="*/ 57 h 151"/>
                  <a:gd name="T48" fmla="*/ 6 w 185"/>
                  <a:gd name="T49" fmla="*/ 77 h 151"/>
                  <a:gd name="T50" fmla="*/ 11 w 185"/>
                  <a:gd name="T51" fmla="*/ 77 h 151"/>
                  <a:gd name="T52" fmla="*/ 16 w 185"/>
                  <a:gd name="T53" fmla="*/ 77 h 151"/>
                  <a:gd name="T54" fmla="*/ 20 w 185"/>
                  <a:gd name="T55" fmla="*/ 77 h 151"/>
                  <a:gd name="T56" fmla="*/ 23 w 185"/>
                  <a:gd name="T57" fmla="*/ 83 h 151"/>
                  <a:gd name="T58" fmla="*/ 26 w 185"/>
                  <a:gd name="T59" fmla="*/ 89 h 151"/>
                  <a:gd name="T60" fmla="*/ 25 w 185"/>
                  <a:gd name="T61" fmla="*/ 99 h 151"/>
                  <a:gd name="T62" fmla="*/ 44 w 185"/>
                  <a:gd name="T63" fmla="*/ 125 h 151"/>
                  <a:gd name="T64" fmla="*/ 14 w 185"/>
                  <a:gd name="T65" fmla="*/ 109 h 151"/>
                  <a:gd name="T66" fmla="*/ 10 w 185"/>
                  <a:gd name="T67" fmla="*/ 110 h 151"/>
                  <a:gd name="T68" fmla="*/ 12 w 185"/>
                  <a:gd name="T69" fmla="*/ 115 h 151"/>
                  <a:gd name="T70" fmla="*/ 11 w 185"/>
                  <a:gd name="T71" fmla="*/ 117 h 151"/>
                  <a:gd name="T72" fmla="*/ 5 w 185"/>
                  <a:gd name="T73" fmla="*/ 123 h 151"/>
                  <a:gd name="T74" fmla="*/ 2 w 185"/>
                  <a:gd name="T75" fmla="*/ 125 h 151"/>
                  <a:gd name="T76" fmla="*/ 1 w 185"/>
                  <a:gd name="T77" fmla="*/ 130 h 151"/>
                  <a:gd name="T78" fmla="*/ 1 w 185"/>
                  <a:gd name="T79" fmla="*/ 138 h 151"/>
                  <a:gd name="T80" fmla="*/ 3 w 185"/>
                  <a:gd name="T81" fmla="*/ 139 h 151"/>
                  <a:gd name="T82" fmla="*/ 7 w 185"/>
                  <a:gd name="T83" fmla="*/ 141 h 151"/>
                  <a:gd name="T84" fmla="*/ 12 w 185"/>
                  <a:gd name="T85" fmla="*/ 145 h 151"/>
                  <a:gd name="T86" fmla="*/ 34 w 185"/>
                  <a:gd name="T87" fmla="*/ 149 h 151"/>
                  <a:gd name="T88" fmla="*/ 85 w 185"/>
                  <a:gd name="T89" fmla="*/ 118 h 151"/>
                  <a:gd name="T90" fmla="*/ 88 w 185"/>
                  <a:gd name="T91" fmla="*/ 116 h 151"/>
                  <a:gd name="T92" fmla="*/ 110 w 185"/>
                  <a:gd name="T93" fmla="*/ 104 h 151"/>
                  <a:gd name="T94" fmla="*/ 127 w 185"/>
                  <a:gd name="T95" fmla="*/ 94 h 151"/>
                  <a:gd name="T96" fmla="*/ 140 w 185"/>
                  <a:gd name="T97" fmla="*/ 87 h 151"/>
                  <a:gd name="T98" fmla="*/ 143 w 185"/>
                  <a:gd name="T99" fmla="*/ 86 h 151"/>
                  <a:gd name="T100" fmla="*/ 151 w 185"/>
                  <a:gd name="T101" fmla="*/ 76 h 151"/>
                  <a:gd name="T102" fmla="*/ 152 w 185"/>
                  <a:gd name="T103" fmla="*/ 71 h 151"/>
                  <a:gd name="T104" fmla="*/ 154 w 185"/>
                  <a:gd name="T105" fmla="*/ 56 h 151"/>
                  <a:gd name="T106" fmla="*/ 155 w 185"/>
                  <a:gd name="T107" fmla="*/ 51 h 151"/>
                  <a:gd name="T108" fmla="*/ 155 w 185"/>
                  <a:gd name="T109" fmla="*/ 42 h 151"/>
                  <a:gd name="T110" fmla="*/ 157 w 185"/>
                  <a:gd name="T111" fmla="*/ 19 h 151"/>
                  <a:gd name="T112" fmla="*/ 167 w 185"/>
                  <a:gd name="T113" fmla="*/ 15 h 151"/>
                  <a:gd name="T114" fmla="*/ 168 w 185"/>
                  <a:gd name="T115" fmla="*/ 14 h 151"/>
                  <a:gd name="T116" fmla="*/ 172 w 185"/>
                  <a:gd name="T117" fmla="*/ 13 h 151"/>
                  <a:gd name="T118" fmla="*/ 185 w 185"/>
                  <a:gd name="T119" fmla="*/ 1 h 151"/>
                  <a:gd name="T120" fmla="*/ 185 w 185"/>
                  <a:gd name="T1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5" h="151">
                    <a:moveTo>
                      <a:pt x="185" y="0"/>
                    </a:moveTo>
                    <a:cubicBezTo>
                      <a:pt x="182" y="0"/>
                      <a:pt x="180" y="1"/>
                      <a:pt x="177" y="1"/>
                    </a:cubicBezTo>
                    <a:cubicBezTo>
                      <a:pt x="169" y="3"/>
                      <a:pt x="161" y="4"/>
                      <a:pt x="151" y="4"/>
                    </a:cubicBezTo>
                    <a:cubicBezTo>
                      <a:pt x="149" y="4"/>
                      <a:pt x="148" y="4"/>
                      <a:pt x="146" y="4"/>
                    </a:cubicBezTo>
                    <a:cubicBezTo>
                      <a:pt x="146" y="4"/>
                      <a:pt x="146" y="4"/>
                      <a:pt x="146" y="4"/>
                    </a:cubicBezTo>
                    <a:cubicBezTo>
                      <a:pt x="142" y="4"/>
                      <a:pt x="139" y="6"/>
                      <a:pt x="135" y="7"/>
                    </a:cubicBezTo>
                    <a:cubicBezTo>
                      <a:pt x="134" y="8"/>
                      <a:pt x="133" y="9"/>
                      <a:pt x="131" y="9"/>
                    </a:cubicBezTo>
                    <a:cubicBezTo>
                      <a:pt x="130" y="10"/>
                      <a:pt x="129" y="10"/>
                      <a:pt x="129" y="10"/>
                    </a:cubicBezTo>
                    <a:cubicBezTo>
                      <a:pt x="123" y="12"/>
                      <a:pt x="123" y="12"/>
                      <a:pt x="123" y="12"/>
                    </a:cubicBezTo>
                    <a:cubicBezTo>
                      <a:pt x="118" y="14"/>
                      <a:pt x="112" y="16"/>
                      <a:pt x="106" y="17"/>
                    </a:cubicBezTo>
                    <a:cubicBezTo>
                      <a:pt x="106" y="17"/>
                      <a:pt x="105" y="17"/>
                      <a:pt x="105" y="17"/>
                    </a:cubicBezTo>
                    <a:cubicBezTo>
                      <a:pt x="104" y="17"/>
                      <a:pt x="104" y="17"/>
                      <a:pt x="104" y="17"/>
                    </a:cubicBezTo>
                    <a:cubicBezTo>
                      <a:pt x="103" y="17"/>
                      <a:pt x="102" y="17"/>
                      <a:pt x="101" y="17"/>
                    </a:cubicBezTo>
                    <a:cubicBezTo>
                      <a:pt x="95" y="17"/>
                      <a:pt x="90" y="17"/>
                      <a:pt x="85" y="16"/>
                    </a:cubicBezTo>
                    <a:cubicBezTo>
                      <a:pt x="83" y="15"/>
                      <a:pt x="83" y="15"/>
                      <a:pt x="83" y="15"/>
                    </a:cubicBezTo>
                    <a:cubicBezTo>
                      <a:pt x="82" y="15"/>
                      <a:pt x="82" y="15"/>
                      <a:pt x="81" y="15"/>
                    </a:cubicBezTo>
                    <a:cubicBezTo>
                      <a:pt x="80" y="14"/>
                      <a:pt x="80" y="14"/>
                      <a:pt x="80" y="14"/>
                    </a:cubicBezTo>
                    <a:cubicBezTo>
                      <a:pt x="79" y="14"/>
                      <a:pt x="79" y="13"/>
                      <a:pt x="79" y="13"/>
                    </a:cubicBezTo>
                    <a:cubicBezTo>
                      <a:pt x="73" y="11"/>
                      <a:pt x="73" y="11"/>
                      <a:pt x="73" y="11"/>
                    </a:cubicBezTo>
                    <a:cubicBezTo>
                      <a:pt x="72" y="11"/>
                      <a:pt x="71" y="11"/>
                      <a:pt x="71" y="11"/>
                    </a:cubicBezTo>
                    <a:cubicBezTo>
                      <a:pt x="70" y="11"/>
                      <a:pt x="69" y="11"/>
                      <a:pt x="68" y="12"/>
                    </a:cubicBezTo>
                    <a:cubicBezTo>
                      <a:pt x="66" y="13"/>
                      <a:pt x="66" y="13"/>
                      <a:pt x="66" y="13"/>
                    </a:cubicBezTo>
                    <a:cubicBezTo>
                      <a:pt x="58" y="16"/>
                      <a:pt x="51" y="18"/>
                      <a:pt x="46" y="19"/>
                    </a:cubicBezTo>
                    <a:cubicBezTo>
                      <a:pt x="44" y="19"/>
                      <a:pt x="44" y="19"/>
                      <a:pt x="44" y="19"/>
                    </a:cubicBezTo>
                    <a:cubicBezTo>
                      <a:pt x="43" y="19"/>
                      <a:pt x="41" y="19"/>
                      <a:pt x="39" y="19"/>
                    </a:cubicBezTo>
                    <a:cubicBezTo>
                      <a:pt x="38" y="19"/>
                      <a:pt x="36" y="19"/>
                      <a:pt x="34" y="18"/>
                    </a:cubicBezTo>
                    <a:cubicBezTo>
                      <a:pt x="28" y="14"/>
                      <a:pt x="28" y="14"/>
                      <a:pt x="28" y="14"/>
                    </a:cubicBezTo>
                    <a:cubicBezTo>
                      <a:pt x="27" y="17"/>
                      <a:pt x="27" y="19"/>
                      <a:pt x="27" y="21"/>
                    </a:cubicBezTo>
                    <a:cubicBezTo>
                      <a:pt x="27" y="23"/>
                      <a:pt x="27" y="23"/>
                      <a:pt x="27" y="23"/>
                    </a:cubicBezTo>
                    <a:cubicBezTo>
                      <a:pt x="36" y="26"/>
                      <a:pt x="36" y="26"/>
                      <a:pt x="36" y="26"/>
                    </a:cubicBezTo>
                    <a:cubicBezTo>
                      <a:pt x="28" y="29"/>
                      <a:pt x="28" y="29"/>
                      <a:pt x="28" y="29"/>
                    </a:cubicBezTo>
                    <a:cubicBezTo>
                      <a:pt x="27" y="30"/>
                      <a:pt x="26" y="30"/>
                      <a:pt x="26" y="30"/>
                    </a:cubicBezTo>
                    <a:cubicBezTo>
                      <a:pt x="25" y="31"/>
                      <a:pt x="25" y="31"/>
                      <a:pt x="25" y="31"/>
                    </a:cubicBezTo>
                    <a:cubicBezTo>
                      <a:pt x="24" y="31"/>
                      <a:pt x="23" y="32"/>
                      <a:pt x="22" y="32"/>
                    </a:cubicBezTo>
                    <a:cubicBezTo>
                      <a:pt x="22" y="33"/>
                      <a:pt x="22" y="33"/>
                      <a:pt x="22" y="33"/>
                    </a:cubicBezTo>
                    <a:cubicBezTo>
                      <a:pt x="22" y="33"/>
                      <a:pt x="22" y="33"/>
                      <a:pt x="22" y="33"/>
                    </a:cubicBezTo>
                    <a:cubicBezTo>
                      <a:pt x="22" y="34"/>
                      <a:pt x="22" y="34"/>
                      <a:pt x="22" y="34"/>
                    </a:cubicBezTo>
                    <a:cubicBezTo>
                      <a:pt x="22" y="37"/>
                      <a:pt x="19" y="39"/>
                      <a:pt x="18" y="40"/>
                    </a:cubicBezTo>
                    <a:cubicBezTo>
                      <a:pt x="17" y="40"/>
                      <a:pt x="17" y="40"/>
                      <a:pt x="17" y="40"/>
                    </a:cubicBezTo>
                    <a:cubicBezTo>
                      <a:pt x="16" y="41"/>
                      <a:pt x="16" y="41"/>
                      <a:pt x="16" y="41"/>
                    </a:cubicBezTo>
                    <a:cubicBezTo>
                      <a:pt x="15" y="42"/>
                      <a:pt x="15" y="42"/>
                      <a:pt x="15" y="42"/>
                    </a:cubicBezTo>
                    <a:cubicBezTo>
                      <a:pt x="15" y="43"/>
                      <a:pt x="15" y="43"/>
                      <a:pt x="15" y="44"/>
                    </a:cubicBezTo>
                    <a:cubicBezTo>
                      <a:pt x="14" y="47"/>
                      <a:pt x="14" y="47"/>
                      <a:pt x="14" y="47"/>
                    </a:cubicBezTo>
                    <a:cubicBezTo>
                      <a:pt x="10" y="45"/>
                      <a:pt x="10" y="45"/>
                      <a:pt x="10" y="45"/>
                    </a:cubicBezTo>
                    <a:cubicBezTo>
                      <a:pt x="9" y="45"/>
                      <a:pt x="5" y="43"/>
                      <a:pt x="2" y="42"/>
                    </a:cubicBezTo>
                    <a:cubicBezTo>
                      <a:pt x="2" y="43"/>
                      <a:pt x="2" y="44"/>
                      <a:pt x="1" y="46"/>
                    </a:cubicBezTo>
                    <a:cubicBezTo>
                      <a:pt x="1" y="47"/>
                      <a:pt x="1" y="49"/>
                      <a:pt x="0" y="50"/>
                    </a:cubicBezTo>
                    <a:cubicBezTo>
                      <a:pt x="2" y="53"/>
                      <a:pt x="5" y="54"/>
                      <a:pt x="5" y="57"/>
                    </a:cubicBezTo>
                    <a:cubicBezTo>
                      <a:pt x="5" y="61"/>
                      <a:pt x="4" y="65"/>
                      <a:pt x="5" y="69"/>
                    </a:cubicBezTo>
                    <a:cubicBezTo>
                      <a:pt x="5" y="72"/>
                      <a:pt x="5" y="74"/>
                      <a:pt x="6" y="77"/>
                    </a:cubicBezTo>
                    <a:cubicBezTo>
                      <a:pt x="6" y="77"/>
                      <a:pt x="6" y="77"/>
                      <a:pt x="6" y="77"/>
                    </a:cubicBezTo>
                    <a:cubicBezTo>
                      <a:pt x="8" y="77"/>
                      <a:pt x="10" y="77"/>
                      <a:pt x="11" y="77"/>
                    </a:cubicBezTo>
                    <a:cubicBezTo>
                      <a:pt x="12" y="77"/>
                      <a:pt x="12" y="77"/>
                      <a:pt x="13" y="77"/>
                    </a:cubicBezTo>
                    <a:cubicBezTo>
                      <a:pt x="14" y="77"/>
                      <a:pt x="15" y="77"/>
                      <a:pt x="16" y="77"/>
                    </a:cubicBezTo>
                    <a:cubicBezTo>
                      <a:pt x="16" y="77"/>
                      <a:pt x="16" y="77"/>
                      <a:pt x="16" y="77"/>
                    </a:cubicBezTo>
                    <a:cubicBezTo>
                      <a:pt x="18" y="77"/>
                      <a:pt x="19" y="77"/>
                      <a:pt x="20" y="77"/>
                    </a:cubicBezTo>
                    <a:cubicBezTo>
                      <a:pt x="27" y="77"/>
                      <a:pt x="27" y="77"/>
                      <a:pt x="27" y="77"/>
                    </a:cubicBezTo>
                    <a:cubicBezTo>
                      <a:pt x="23" y="83"/>
                      <a:pt x="23" y="83"/>
                      <a:pt x="23" y="83"/>
                    </a:cubicBezTo>
                    <a:cubicBezTo>
                      <a:pt x="24" y="84"/>
                      <a:pt x="25" y="86"/>
                      <a:pt x="26" y="88"/>
                    </a:cubicBezTo>
                    <a:cubicBezTo>
                      <a:pt x="26" y="88"/>
                      <a:pt x="26" y="88"/>
                      <a:pt x="26" y="89"/>
                    </a:cubicBezTo>
                    <a:cubicBezTo>
                      <a:pt x="27" y="90"/>
                      <a:pt x="30" y="95"/>
                      <a:pt x="27" y="98"/>
                    </a:cubicBezTo>
                    <a:cubicBezTo>
                      <a:pt x="26" y="98"/>
                      <a:pt x="26" y="99"/>
                      <a:pt x="25" y="99"/>
                    </a:cubicBezTo>
                    <a:cubicBezTo>
                      <a:pt x="22" y="101"/>
                      <a:pt x="20" y="103"/>
                      <a:pt x="20" y="104"/>
                    </a:cubicBezTo>
                    <a:cubicBezTo>
                      <a:pt x="44" y="125"/>
                      <a:pt x="44" y="125"/>
                      <a:pt x="44" y="125"/>
                    </a:cubicBezTo>
                    <a:cubicBezTo>
                      <a:pt x="16" y="109"/>
                      <a:pt x="16" y="109"/>
                      <a:pt x="16" y="109"/>
                    </a:cubicBezTo>
                    <a:cubicBezTo>
                      <a:pt x="15" y="109"/>
                      <a:pt x="14" y="109"/>
                      <a:pt x="14" y="109"/>
                    </a:cubicBezTo>
                    <a:cubicBezTo>
                      <a:pt x="13" y="109"/>
                      <a:pt x="13" y="109"/>
                      <a:pt x="12" y="109"/>
                    </a:cubicBezTo>
                    <a:cubicBezTo>
                      <a:pt x="11" y="110"/>
                      <a:pt x="11" y="110"/>
                      <a:pt x="10" y="110"/>
                    </a:cubicBezTo>
                    <a:cubicBezTo>
                      <a:pt x="11" y="111"/>
                      <a:pt x="11" y="111"/>
                      <a:pt x="11" y="111"/>
                    </a:cubicBezTo>
                    <a:cubicBezTo>
                      <a:pt x="11" y="111"/>
                      <a:pt x="12" y="113"/>
                      <a:pt x="12" y="115"/>
                    </a:cubicBezTo>
                    <a:cubicBezTo>
                      <a:pt x="12" y="116"/>
                      <a:pt x="12" y="116"/>
                      <a:pt x="12" y="116"/>
                    </a:cubicBezTo>
                    <a:cubicBezTo>
                      <a:pt x="11" y="117"/>
                      <a:pt x="11" y="117"/>
                      <a:pt x="11" y="117"/>
                    </a:cubicBezTo>
                    <a:cubicBezTo>
                      <a:pt x="10" y="118"/>
                      <a:pt x="10" y="118"/>
                      <a:pt x="10" y="118"/>
                    </a:cubicBezTo>
                    <a:cubicBezTo>
                      <a:pt x="9" y="120"/>
                      <a:pt x="7" y="121"/>
                      <a:pt x="5" y="123"/>
                    </a:cubicBezTo>
                    <a:cubicBezTo>
                      <a:pt x="4" y="123"/>
                      <a:pt x="3" y="124"/>
                      <a:pt x="3" y="124"/>
                    </a:cubicBezTo>
                    <a:cubicBezTo>
                      <a:pt x="2" y="125"/>
                      <a:pt x="2" y="125"/>
                      <a:pt x="2" y="125"/>
                    </a:cubicBezTo>
                    <a:cubicBezTo>
                      <a:pt x="1" y="125"/>
                      <a:pt x="1" y="125"/>
                      <a:pt x="1" y="125"/>
                    </a:cubicBezTo>
                    <a:cubicBezTo>
                      <a:pt x="1" y="127"/>
                      <a:pt x="1" y="129"/>
                      <a:pt x="1" y="130"/>
                    </a:cubicBezTo>
                    <a:cubicBezTo>
                      <a:pt x="1" y="132"/>
                      <a:pt x="1" y="133"/>
                      <a:pt x="0" y="134"/>
                    </a:cubicBezTo>
                    <a:cubicBezTo>
                      <a:pt x="0" y="135"/>
                      <a:pt x="1" y="136"/>
                      <a:pt x="1" y="138"/>
                    </a:cubicBezTo>
                    <a:cubicBezTo>
                      <a:pt x="1" y="139"/>
                      <a:pt x="1" y="139"/>
                      <a:pt x="1" y="139"/>
                    </a:cubicBezTo>
                    <a:cubicBezTo>
                      <a:pt x="2" y="139"/>
                      <a:pt x="3" y="139"/>
                      <a:pt x="3" y="139"/>
                    </a:cubicBezTo>
                    <a:cubicBezTo>
                      <a:pt x="4" y="140"/>
                      <a:pt x="4" y="140"/>
                      <a:pt x="4" y="140"/>
                    </a:cubicBezTo>
                    <a:cubicBezTo>
                      <a:pt x="5" y="140"/>
                      <a:pt x="6" y="141"/>
                      <a:pt x="7" y="141"/>
                    </a:cubicBezTo>
                    <a:cubicBezTo>
                      <a:pt x="7" y="141"/>
                      <a:pt x="8" y="142"/>
                      <a:pt x="8" y="142"/>
                    </a:cubicBezTo>
                    <a:cubicBezTo>
                      <a:pt x="9" y="143"/>
                      <a:pt x="11" y="144"/>
                      <a:pt x="12" y="145"/>
                    </a:cubicBezTo>
                    <a:cubicBezTo>
                      <a:pt x="22" y="149"/>
                      <a:pt x="26" y="151"/>
                      <a:pt x="29" y="151"/>
                    </a:cubicBezTo>
                    <a:cubicBezTo>
                      <a:pt x="31" y="151"/>
                      <a:pt x="32" y="150"/>
                      <a:pt x="34" y="149"/>
                    </a:cubicBezTo>
                    <a:cubicBezTo>
                      <a:pt x="35" y="148"/>
                      <a:pt x="35" y="147"/>
                      <a:pt x="37" y="146"/>
                    </a:cubicBezTo>
                    <a:cubicBezTo>
                      <a:pt x="46" y="139"/>
                      <a:pt x="74" y="124"/>
                      <a:pt x="85" y="118"/>
                    </a:cubicBezTo>
                    <a:cubicBezTo>
                      <a:pt x="87" y="116"/>
                      <a:pt x="87" y="116"/>
                      <a:pt x="87" y="116"/>
                    </a:cubicBezTo>
                    <a:cubicBezTo>
                      <a:pt x="88" y="116"/>
                      <a:pt x="88" y="116"/>
                      <a:pt x="88" y="116"/>
                    </a:cubicBezTo>
                    <a:cubicBezTo>
                      <a:pt x="92" y="114"/>
                      <a:pt x="92" y="114"/>
                      <a:pt x="92" y="114"/>
                    </a:cubicBezTo>
                    <a:cubicBezTo>
                      <a:pt x="98" y="111"/>
                      <a:pt x="104" y="107"/>
                      <a:pt x="110" y="104"/>
                    </a:cubicBezTo>
                    <a:cubicBezTo>
                      <a:pt x="127" y="94"/>
                      <a:pt x="127" y="94"/>
                      <a:pt x="127" y="94"/>
                    </a:cubicBezTo>
                    <a:cubicBezTo>
                      <a:pt x="127" y="94"/>
                      <a:pt x="127" y="94"/>
                      <a:pt x="127" y="94"/>
                    </a:cubicBezTo>
                    <a:cubicBezTo>
                      <a:pt x="135" y="90"/>
                      <a:pt x="135" y="90"/>
                      <a:pt x="135" y="90"/>
                    </a:cubicBezTo>
                    <a:cubicBezTo>
                      <a:pt x="136" y="89"/>
                      <a:pt x="139" y="88"/>
                      <a:pt x="140" y="87"/>
                    </a:cubicBezTo>
                    <a:cubicBezTo>
                      <a:pt x="141" y="87"/>
                      <a:pt x="142" y="86"/>
                      <a:pt x="143" y="86"/>
                    </a:cubicBezTo>
                    <a:cubicBezTo>
                      <a:pt x="143" y="86"/>
                      <a:pt x="143" y="86"/>
                      <a:pt x="143" y="86"/>
                    </a:cubicBezTo>
                    <a:cubicBezTo>
                      <a:pt x="145" y="85"/>
                      <a:pt x="147" y="85"/>
                      <a:pt x="147" y="84"/>
                    </a:cubicBezTo>
                    <a:cubicBezTo>
                      <a:pt x="149" y="82"/>
                      <a:pt x="150" y="79"/>
                      <a:pt x="151" y="76"/>
                    </a:cubicBezTo>
                    <a:cubicBezTo>
                      <a:pt x="152" y="75"/>
                      <a:pt x="152" y="73"/>
                      <a:pt x="152" y="72"/>
                    </a:cubicBezTo>
                    <a:cubicBezTo>
                      <a:pt x="152" y="71"/>
                      <a:pt x="152" y="71"/>
                      <a:pt x="152" y="71"/>
                    </a:cubicBezTo>
                    <a:cubicBezTo>
                      <a:pt x="152" y="70"/>
                      <a:pt x="152" y="68"/>
                      <a:pt x="152" y="67"/>
                    </a:cubicBezTo>
                    <a:cubicBezTo>
                      <a:pt x="152" y="63"/>
                      <a:pt x="153" y="60"/>
                      <a:pt x="154" y="56"/>
                    </a:cubicBezTo>
                    <a:cubicBezTo>
                      <a:pt x="154" y="56"/>
                      <a:pt x="154" y="56"/>
                      <a:pt x="154" y="56"/>
                    </a:cubicBezTo>
                    <a:cubicBezTo>
                      <a:pt x="154" y="54"/>
                      <a:pt x="155" y="52"/>
                      <a:pt x="155" y="51"/>
                    </a:cubicBezTo>
                    <a:cubicBezTo>
                      <a:pt x="155" y="49"/>
                      <a:pt x="155" y="46"/>
                      <a:pt x="155" y="43"/>
                    </a:cubicBezTo>
                    <a:cubicBezTo>
                      <a:pt x="155" y="42"/>
                      <a:pt x="155" y="42"/>
                      <a:pt x="155" y="42"/>
                    </a:cubicBezTo>
                    <a:cubicBezTo>
                      <a:pt x="154" y="36"/>
                      <a:pt x="153" y="29"/>
                      <a:pt x="156" y="23"/>
                    </a:cubicBezTo>
                    <a:cubicBezTo>
                      <a:pt x="156" y="21"/>
                      <a:pt x="157" y="20"/>
                      <a:pt x="157" y="19"/>
                    </a:cubicBezTo>
                    <a:cubicBezTo>
                      <a:pt x="159" y="17"/>
                      <a:pt x="161" y="16"/>
                      <a:pt x="165" y="15"/>
                    </a:cubicBezTo>
                    <a:cubicBezTo>
                      <a:pt x="167" y="15"/>
                      <a:pt x="167" y="15"/>
                      <a:pt x="167" y="15"/>
                    </a:cubicBezTo>
                    <a:cubicBezTo>
                      <a:pt x="166" y="12"/>
                      <a:pt x="166" y="12"/>
                      <a:pt x="166" y="12"/>
                    </a:cubicBezTo>
                    <a:cubicBezTo>
                      <a:pt x="168" y="14"/>
                      <a:pt x="168" y="14"/>
                      <a:pt x="168" y="14"/>
                    </a:cubicBezTo>
                    <a:cubicBezTo>
                      <a:pt x="170" y="14"/>
                      <a:pt x="170" y="14"/>
                      <a:pt x="170" y="14"/>
                    </a:cubicBezTo>
                    <a:cubicBezTo>
                      <a:pt x="170" y="14"/>
                      <a:pt x="171" y="14"/>
                      <a:pt x="172" y="13"/>
                    </a:cubicBezTo>
                    <a:cubicBezTo>
                      <a:pt x="175" y="10"/>
                      <a:pt x="178" y="6"/>
                      <a:pt x="182" y="3"/>
                    </a:cubicBezTo>
                    <a:cubicBezTo>
                      <a:pt x="185" y="1"/>
                      <a:pt x="185" y="1"/>
                      <a:pt x="185" y="1"/>
                    </a:cubicBezTo>
                    <a:cubicBezTo>
                      <a:pt x="185" y="0"/>
                      <a:pt x="185" y="0"/>
                      <a:pt x="185" y="0"/>
                    </a:cubicBezTo>
                    <a:cubicBezTo>
                      <a:pt x="185" y="0"/>
                      <a:pt x="185" y="0"/>
                      <a:pt x="1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15" name="Freeform 243">
                <a:extLst>
                  <a:ext uri="{FF2B5EF4-FFF2-40B4-BE49-F238E27FC236}">
                    <a16:creationId xmlns:a16="http://schemas.microsoft.com/office/drawing/2014/main" id="{7F0AD120-5B36-45B5-9A07-D8FE6F71E095}"/>
                  </a:ext>
                </a:extLst>
              </p:cNvPr>
              <p:cNvSpPr>
                <a:spLocks/>
              </p:cNvSpPr>
              <p:nvPr/>
            </p:nvSpPr>
            <p:spPr bwMode="auto">
              <a:xfrm>
                <a:off x="7543432" y="5881445"/>
                <a:ext cx="11055" cy="7370"/>
              </a:xfrm>
              <a:custGeom>
                <a:avLst/>
                <a:gdLst>
                  <a:gd name="T0" fmla="*/ 4 w 4"/>
                  <a:gd name="T1" fmla="*/ 0 h 3"/>
                  <a:gd name="T2" fmla="*/ 0 w 4"/>
                  <a:gd name="T3" fmla="*/ 1 h 3"/>
                  <a:gd name="T4" fmla="*/ 4 w 4"/>
                  <a:gd name="T5" fmla="*/ 3 h 3"/>
                  <a:gd name="T6" fmla="*/ 4 w 4"/>
                  <a:gd name="T7" fmla="*/ 0 h 3"/>
                </a:gdLst>
                <a:ahLst/>
                <a:cxnLst>
                  <a:cxn ang="0">
                    <a:pos x="T0" y="T1"/>
                  </a:cxn>
                  <a:cxn ang="0">
                    <a:pos x="T2" y="T3"/>
                  </a:cxn>
                  <a:cxn ang="0">
                    <a:pos x="T4" y="T5"/>
                  </a:cxn>
                  <a:cxn ang="0">
                    <a:pos x="T6" y="T7"/>
                  </a:cxn>
                </a:cxnLst>
                <a:rect l="0" t="0" r="r" b="b"/>
                <a:pathLst>
                  <a:path w="4" h="3">
                    <a:moveTo>
                      <a:pt x="4" y="0"/>
                    </a:moveTo>
                    <a:cubicBezTo>
                      <a:pt x="0" y="1"/>
                      <a:pt x="0" y="1"/>
                      <a:pt x="0" y="1"/>
                    </a:cubicBezTo>
                    <a:cubicBezTo>
                      <a:pt x="1" y="2"/>
                      <a:pt x="3" y="2"/>
                      <a:pt x="4" y="3"/>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16" name="Freeform 244">
                <a:extLst>
                  <a:ext uri="{FF2B5EF4-FFF2-40B4-BE49-F238E27FC236}">
                    <a16:creationId xmlns:a16="http://schemas.microsoft.com/office/drawing/2014/main" id="{D8F44147-3FE8-4605-A6EE-805645D80349}"/>
                  </a:ext>
                </a:extLst>
              </p:cNvPr>
              <p:cNvSpPr>
                <a:spLocks/>
              </p:cNvSpPr>
              <p:nvPr/>
            </p:nvSpPr>
            <p:spPr bwMode="auto">
              <a:xfrm>
                <a:off x="7451304" y="5833539"/>
                <a:ext cx="110553" cy="324290"/>
              </a:xfrm>
              <a:custGeom>
                <a:avLst/>
                <a:gdLst>
                  <a:gd name="T0" fmla="*/ 35 w 35"/>
                  <a:gd name="T1" fmla="*/ 0 h 102"/>
                  <a:gd name="T2" fmla="*/ 31 w 35"/>
                  <a:gd name="T3" fmla="*/ 1 h 102"/>
                  <a:gd name="T4" fmla="*/ 29 w 35"/>
                  <a:gd name="T5" fmla="*/ 1 h 102"/>
                  <a:gd name="T6" fmla="*/ 22 w 35"/>
                  <a:gd name="T7" fmla="*/ 1 h 102"/>
                  <a:gd name="T8" fmla="*/ 22 w 35"/>
                  <a:gd name="T9" fmla="*/ 4 h 102"/>
                  <a:gd name="T10" fmla="*/ 19 w 35"/>
                  <a:gd name="T11" fmla="*/ 11 h 102"/>
                  <a:gd name="T12" fmla="*/ 6 w 35"/>
                  <a:gd name="T13" fmla="*/ 45 h 102"/>
                  <a:gd name="T14" fmla="*/ 5 w 35"/>
                  <a:gd name="T15" fmla="*/ 45 h 102"/>
                  <a:gd name="T16" fmla="*/ 0 w 35"/>
                  <a:gd name="T17" fmla="*/ 51 h 102"/>
                  <a:gd name="T18" fmla="*/ 1 w 35"/>
                  <a:gd name="T19" fmla="*/ 53 h 102"/>
                  <a:gd name="T20" fmla="*/ 0 w 35"/>
                  <a:gd name="T21" fmla="*/ 53 h 102"/>
                  <a:gd name="T22" fmla="*/ 1 w 35"/>
                  <a:gd name="T23" fmla="*/ 53 h 102"/>
                  <a:gd name="T24" fmla="*/ 2 w 35"/>
                  <a:gd name="T25" fmla="*/ 53 h 102"/>
                  <a:gd name="T26" fmla="*/ 2 w 35"/>
                  <a:gd name="T27" fmla="*/ 55 h 102"/>
                  <a:gd name="T28" fmla="*/ 2 w 35"/>
                  <a:gd name="T29" fmla="*/ 55 h 102"/>
                  <a:gd name="T30" fmla="*/ 17 w 35"/>
                  <a:gd name="T31" fmla="*/ 102 h 102"/>
                  <a:gd name="T32" fmla="*/ 22 w 35"/>
                  <a:gd name="T33" fmla="*/ 83 h 102"/>
                  <a:gd name="T34" fmla="*/ 24 w 35"/>
                  <a:gd name="T35" fmla="*/ 75 h 102"/>
                  <a:gd name="T36" fmla="*/ 26 w 35"/>
                  <a:gd name="T37" fmla="*/ 67 h 102"/>
                  <a:gd name="T38" fmla="*/ 27 w 35"/>
                  <a:gd name="T39" fmla="*/ 65 h 102"/>
                  <a:gd name="T40" fmla="*/ 28 w 35"/>
                  <a:gd name="T41" fmla="*/ 61 h 102"/>
                  <a:gd name="T42" fmla="*/ 29 w 35"/>
                  <a:gd name="T43" fmla="*/ 51 h 102"/>
                  <a:gd name="T44" fmla="*/ 29 w 35"/>
                  <a:gd name="T45" fmla="*/ 50 h 102"/>
                  <a:gd name="T46" fmla="*/ 26 w 35"/>
                  <a:gd name="T47" fmla="*/ 52 h 102"/>
                  <a:gd name="T48" fmla="*/ 25 w 35"/>
                  <a:gd name="T49" fmla="*/ 52 h 102"/>
                  <a:gd name="T50" fmla="*/ 24 w 35"/>
                  <a:gd name="T51" fmla="*/ 52 h 102"/>
                  <a:gd name="T52" fmla="*/ 24 w 35"/>
                  <a:gd name="T53" fmla="*/ 52 h 102"/>
                  <a:gd name="T54" fmla="*/ 22 w 35"/>
                  <a:gd name="T55" fmla="*/ 52 h 102"/>
                  <a:gd name="T56" fmla="*/ 21 w 35"/>
                  <a:gd name="T57" fmla="*/ 52 h 102"/>
                  <a:gd name="T58" fmla="*/ 21 w 35"/>
                  <a:gd name="T59" fmla="*/ 52 h 102"/>
                  <a:gd name="T60" fmla="*/ 18 w 35"/>
                  <a:gd name="T61" fmla="*/ 53 h 102"/>
                  <a:gd name="T62" fmla="*/ 25 w 35"/>
                  <a:gd name="T63" fmla="*/ 40 h 102"/>
                  <a:gd name="T64" fmla="*/ 26 w 35"/>
                  <a:gd name="T65" fmla="*/ 40 h 102"/>
                  <a:gd name="T66" fmla="*/ 19 w 35"/>
                  <a:gd name="T67" fmla="*/ 37 h 102"/>
                  <a:gd name="T68" fmla="*/ 21 w 35"/>
                  <a:gd name="T69" fmla="*/ 20 h 102"/>
                  <a:gd name="T70" fmla="*/ 25 w 35"/>
                  <a:gd name="T71" fmla="*/ 16 h 102"/>
                  <a:gd name="T72" fmla="*/ 26 w 35"/>
                  <a:gd name="T73" fmla="*/ 15 h 102"/>
                  <a:gd name="T74" fmla="*/ 26 w 35"/>
                  <a:gd name="T75" fmla="*/ 15 h 102"/>
                  <a:gd name="T76" fmla="*/ 35 w 35"/>
                  <a:gd name="T77" fmla="*/ 8 h 102"/>
                  <a:gd name="T78" fmla="*/ 35 w 35"/>
                  <a:gd name="T79" fmla="*/ 8 h 102"/>
                  <a:gd name="T80" fmla="*/ 35 w 35"/>
                  <a:gd name="T81" fmla="*/ 7 h 102"/>
                  <a:gd name="T82" fmla="*/ 34 w 35"/>
                  <a:gd name="T83" fmla="*/ 2 h 102"/>
                  <a:gd name="T84" fmla="*/ 35 w 35"/>
                  <a:gd name="T8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 h="102">
                    <a:moveTo>
                      <a:pt x="35" y="0"/>
                    </a:moveTo>
                    <a:cubicBezTo>
                      <a:pt x="34" y="0"/>
                      <a:pt x="32" y="1"/>
                      <a:pt x="31" y="1"/>
                    </a:cubicBezTo>
                    <a:cubicBezTo>
                      <a:pt x="30" y="1"/>
                      <a:pt x="30" y="1"/>
                      <a:pt x="29" y="1"/>
                    </a:cubicBezTo>
                    <a:cubicBezTo>
                      <a:pt x="22" y="1"/>
                      <a:pt x="22" y="1"/>
                      <a:pt x="22" y="1"/>
                    </a:cubicBezTo>
                    <a:cubicBezTo>
                      <a:pt x="22" y="2"/>
                      <a:pt x="22" y="3"/>
                      <a:pt x="22" y="4"/>
                    </a:cubicBezTo>
                    <a:cubicBezTo>
                      <a:pt x="22" y="6"/>
                      <a:pt x="20" y="9"/>
                      <a:pt x="19" y="11"/>
                    </a:cubicBezTo>
                    <a:cubicBezTo>
                      <a:pt x="15" y="23"/>
                      <a:pt x="12" y="34"/>
                      <a:pt x="6" y="45"/>
                    </a:cubicBezTo>
                    <a:cubicBezTo>
                      <a:pt x="5" y="45"/>
                      <a:pt x="5" y="45"/>
                      <a:pt x="5" y="45"/>
                    </a:cubicBezTo>
                    <a:cubicBezTo>
                      <a:pt x="4" y="47"/>
                      <a:pt x="1" y="49"/>
                      <a:pt x="0" y="51"/>
                    </a:cubicBezTo>
                    <a:cubicBezTo>
                      <a:pt x="1" y="53"/>
                      <a:pt x="1" y="53"/>
                      <a:pt x="1" y="53"/>
                    </a:cubicBezTo>
                    <a:cubicBezTo>
                      <a:pt x="0" y="53"/>
                      <a:pt x="0" y="53"/>
                      <a:pt x="0" y="53"/>
                    </a:cubicBezTo>
                    <a:cubicBezTo>
                      <a:pt x="1" y="53"/>
                      <a:pt x="1" y="53"/>
                      <a:pt x="1" y="53"/>
                    </a:cubicBezTo>
                    <a:cubicBezTo>
                      <a:pt x="2" y="53"/>
                      <a:pt x="2" y="53"/>
                      <a:pt x="2" y="53"/>
                    </a:cubicBezTo>
                    <a:cubicBezTo>
                      <a:pt x="2" y="55"/>
                      <a:pt x="2" y="55"/>
                      <a:pt x="2" y="55"/>
                    </a:cubicBezTo>
                    <a:cubicBezTo>
                      <a:pt x="2" y="55"/>
                      <a:pt x="2" y="55"/>
                      <a:pt x="2" y="55"/>
                    </a:cubicBezTo>
                    <a:cubicBezTo>
                      <a:pt x="17" y="102"/>
                      <a:pt x="17" y="102"/>
                      <a:pt x="17" y="102"/>
                    </a:cubicBezTo>
                    <a:cubicBezTo>
                      <a:pt x="19" y="95"/>
                      <a:pt x="20" y="89"/>
                      <a:pt x="22" y="83"/>
                    </a:cubicBezTo>
                    <a:cubicBezTo>
                      <a:pt x="24" y="75"/>
                      <a:pt x="24" y="75"/>
                      <a:pt x="24" y="75"/>
                    </a:cubicBezTo>
                    <a:cubicBezTo>
                      <a:pt x="24" y="73"/>
                      <a:pt x="25" y="70"/>
                      <a:pt x="26" y="67"/>
                    </a:cubicBezTo>
                    <a:cubicBezTo>
                      <a:pt x="27" y="65"/>
                      <a:pt x="27" y="65"/>
                      <a:pt x="27" y="65"/>
                    </a:cubicBezTo>
                    <a:cubicBezTo>
                      <a:pt x="27" y="64"/>
                      <a:pt x="27" y="62"/>
                      <a:pt x="28" y="61"/>
                    </a:cubicBezTo>
                    <a:cubicBezTo>
                      <a:pt x="28" y="58"/>
                      <a:pt x="29" y="55"/>
                      <a:pt x="29" y="51"/>
                    </a:cubicBezTo>
                    <a:cubicBezTo>
                      <a:pt x="29" y="50"/>
                      <a:pt x="29" y="50"/>
                      <a:pt x="29" y="50"/>
                    </a:cubicBezTo>
                    <a:cubicBezTo>
                      <a:pt x="28" y="51"/>
                      <a:pt x="27" y="51"/>
                      <a:pt x="26" y="52"/>
                    </a:cubicBezTo>
                    <a:cubicBezTo>
                      <a:pt x="25" y="52"/>
                      <a:pt x="25" y="52"/>
                      <a:pt x="25" y="52"/>
                    </a:cubicBezTo>
                    <a:cubicBezTo>
                      <a:pt x="24" y="52"/>
                      <a:pt x="24" y="52"/>
                      <a:pt x="24" y="52"/>
                    </a:cubicBezTo>
                    <a:cubicBezTo>
                      <a:pt x="24" y="52"/>
                      <a:pt x="24" y="52"/>
                      <a:pt x="24" y="52"/>
                    </a:cubicBezTo>
                    <a:cubicBezTo>
                      <a:pt x="23" y="52"/>
                      <a:pt x="22" y="52"/>
                      <a:pt x="22" y="52"/>
                    </a:cubicBezTo>
                    <a:cubicBezTo>
                      <a:pt x="22" y="52"/>
                      <a:pt x="21" y="52"/>
                      <a:pt x="21" y="52"/>
                    </a:cubicBezTo>
                    <a:cubicBezTo>
                      <a:pt x="21" y="52"/>
                      <a:pt x="21" y="52"/>
                      <a:pt x="21" y="52"/>
                    </a:cubicBezTo>
                    <a:cubicBezTo>
                      <a:pt x="20" y="52"/>
                      <a:pt x="19" y="53"/>
                      <a:pt x="18" y="53"/>
                    </a:cubicBezTo>
                    <a:cubicBezTo>
                      <a:pt x="18" y="49"/>
                      <a:pt x="20" y="40"/>
                      <a:pt x="25" y="40"/>
                    </a:cubicBezTo>
                    <a:cubicBezTo>
                      <a:pt x="25" y="40"/>
                      <a:pt x="26" y="40"/>
                      <a:pt x="26" y="40"/>
                    </a:cubicBezTo>
                    <a:cubicBezTo>
                      <a:pt x="24" y="38"/>
                      <a:pt x="22" y="37"/>
                      <a:pt x="19" y="37"/>
                    </a:cubicBezTo>
                    <a:cubicBezTo>
                      <a:pt x="20" y="32"/>
                      <a:pt x="19" y="25"/>
                      <a:pt x="21" y="20"/>
                    </a:cubicBezTo>
                    <a:cubicBezTo>
                      <a:pt x="22" y="18"/>
                      <a:pt x="24" y="17"/>
                      <a:pt x="25" y="16"/>
                    </a:cubicBezTo>
                    <a:cubicBezTo>
                      <a:pt x="25" y="16"/>
                      <a:pt x="26" y="15"/>
                      <a:pt x="26" y="15"/>
                    </a:cubicBezTo>
                    <a:cubicBezTo>
                      <a:pt x="26" y="15"/>
                      <a:pt x="26" y="15"/>
                      <a:pt x="26" y="15"/>
                    </a:cubicBezTo>
                    <a:cubicBezTo>
                      <a:pt x="35" y="8"/>
                      <a:pt x="35" y="8"/>
                      <a:pt x="35" y="8"/>
                    </a:cubicBezTo>
                    <a:cubicBezTo>
                      <a:pt x="35" y="8"/>
                      <a:pt x="35" y="8"/>
                      <a:pt x="35" y="8"/>
                    </a:cubicBezTo>
                    <a:cubicBezTo>
                      <a:pt x="35" y="7"/>
                      <a:pt x="35" y="7"/>
                      <a:pt x="35" y="7"/>
                    </a:cubicBezTo>
                    <a:cubicBezTo>
                      <a:pt x="35" y="6"/>
                      <a:pt x="34" y="4"/>
                      <a:pt x="34" y="2"/>
                    </a:cubicBezTo>
                    <a:cubicBezTo>
                      <a:pt x="35" y="1"/>
                      <a:pt x="35" y="1"/>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17" name="Rectangle 245">
                <a:extLst>
                  <a:ext uri="{FF2B5EF4-FFF2-40B4-BE49-F238E27FC236}">
                    <a16:creationId xmlns:a16="http://schemas.microsoft.com/office/drawing/2014/main" id="{7C9C47A8-A7C7-4FDB-BCCA-26BD1B60997E}"/>
                  </a:ext>
                </a:extLst>
              </p:cNvPr>
              <p:cNvSpPr>
                <a:spLocks noChangeArrowheads="1"/>
              </p:cNvSpPr>
              <p:nvPr/>
            </p:nvSpPr>
            <p:spPr bwMode="auto">
              <a:xfrm>
                <a:off x="8391008" y="5402380"/>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18" name="Freeform 246">
                <a:extLst>
                  <a:ext uri="{FF2B5EF4-FFF2-40B4-BE49-F238E27FC236}">
                    <a16:creationId xmlns:a16="http://schemas.microsoft.com/office/drawing/2014/main" id="{EFA3EDCD-A810-4763-BE3F-B6B3B8C6D900}"/>
                  </a:ext>
                </a:extLst>
              </p:cNvPr>
              <p:cNvSpPr>
                <a:spLocks/>
              </p:cNvSpPr>
              <p:nvPr/>
            </p:nvSpPr>
            <p:spPr bwMode="auto">
              <a:xfrm>
                <a:off x="8391008" y="540238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19" name="Freeform 247">
                <a:extLst>
                  <a:ext uri="{FF2B5EF4-FFF2-40B4-BE49-F238E27FC236}">
                    <a16:creationId xmlns:a16="http://schemas.microsoft.com/office/drawing/2014/main" id="{594E2C97-4C03-4352-B115-771C251C60F5}"/>
                  </a:ext>
                </a:extLst>
              </p:cNvPr>
              <p:cNvSpPr>
                <a:spLocks/>
              </p:cNvSpPr>
              <p:nvPr/>
            </p:nvSpPr>
            <p:spPr bwMode="auto">
              <a:xfrm>
                <a:off x="6706911" y="4893834"/>
                <a:ext cx="1680413" cy="641210"/>
              </a:xfrm>
              <a:custGeom>
                <a:avLst/>
                <a:gdLst>
                  <a:gd name="T0" fmla="*/ 233 w 529"/>
                  <a:gd name="T1" fmla="*/ 2 h 202"/>
                  <a:gd name="T2" fmla="*/ 167 w 529"/>
                  <a:gd name="T3" fmla="*/ 17 h 202"/>
                  <a:gd name="T4" fmla="*/ 119 w 529"/>
                  <a:gd name="T5" fmla="*/ 28 h 202"/>
                  <a:gd name="T6" fmla="*/ 87 w 529"/>
                  <a:gd name="T7" fmla="*/ 28 h 202"/>
                  <a:gd name="T8" fmla="*/ 108 w 529"/>
                  <a:gd name="T9" fmla="*/ 44 h 202"/>
                  <a:gd name="T10" fmla="*/ 72 w 529"/>
                  <a:gd name="T11" fmla="*/ 56 h 202"/>
                  <a:gd name="T12" fmla="*/ 44 w 529"/>
                  <a:gd name="T13" fmla="*/ 58 h 202"/>
                  <a:gd name="T14" fmla="*/ 15 w 529"/>
                  <a:gd name="T15" fmla="*/ 60 h 202"/>
                  <a:gd name="T16" fmla="*/ 2 w 529"/>
                  <a:gd name="T17" fmla="*/ 87 h 202"/>
                  <a:gd name="T18" fmla="*/ 21 w 529"/>
                  <a:gd name="T19" fmla="*/ 102 h 202"/>
                  <a:gd name="T20" fmla="*/ 23 w 529"/>
                  <a:gd name="T21" fmla="*/ 123 h 202"/>
                  <a:gd name="T22" fmla="*/ 11 w 529"/>
                  <a:gd name="T23" fmla="*/ 118 h 202"/>
                  <a:gd name="T24" fmla="*/ 7 w 529"/>
                  <a:gd name="T25" fmla="*/ 124 h 202"/>
                  <a:gd name="T26" fmla="*/ 16 w 529"/>
                  <a:gd name="T27" fmla="*/ 128 h 202"/>
                  <a:gd name="T28" fmla="*/ 44 w 529"/>
                  <a:gd name="T29" fmla="*/ 159 h 202"/>
                  <a:gd name="T30" fmla="*/ 36 w 529"/>
                  <a:gd name="T31" fmla="*/ 164 h 202"/>
                  <a:gd name="T32" fmla="*/ 48 w 529"/>
                  <a:gd name="T33" fmla="*/ 175 h 202"/>
                  <a:gd name="T34" fmla="*/ 54 w 529"/>
                  <a:gd name="T35" fmla="*/ 179 h 202"/>
                  <a:gd name="T36" fmla="*/ 54 w 529"/>
                  <a:gd name="T37" fmla="*/ 182 h 202"/>
                  <a:gd name="T38" fmla="*/ 79 w 529"/>
                  <a:gd name="T39" fmla="*/ 181 h 202"/>
                  <a:gd name="T40" fmla="*/ 114 w 529"/>
                  <a:gd name="T41" fmla="*/ 193 h 202"/>
                  <a:gd name="T42" fmla="*/ 129 w 529"/>
                  <a:gd name="T43" fmla="*/ 173 h 202"/>
                  <a:gd name="T44" fmla="*/ 188 w 529"/>
                  <a:gd name="T45" fmla="*/ 197 h 202"/>
                  <a:gd name="T46" fmla="*/ 228 w 529"/>
                  <a:gd name="T47" fmla="*/ 189 h 202"/>
                  <a:gd name="T48" fmla="*/ 264 w 529"/>
                  <a:gd name="T49" fmla="*/ 183 h 202"/>
                  <a:gd name="T50" fmla="*/ 282 w 529"/>
                  <a:gd name="T51" fmla="*/ 200 h 202"/>
                  <a:gd name="T52" fmla="*/ 289 w 529"/>
                  <a:gd name="T53" fmla="*/ 198 h 202"/>
                  <a:gd name="T54" fmla="*/ 293 w 529"/>
                  <a:gd name="T55" fmla="*/ 190 h 202"/>
                  <a:gd name="T56" fmla="*/ 313 w 529"/>
                  <a:gd name="T57" fmla="*/ 176 h 202"/>
                  <a:gd name="T58" fmla="*/ 340 w 529"/>
                  <a:gd name="T59" fmla="*/ 170 h 202"/>
                  <a:gd name="T60" fmla="*/ 359 w 529"/>
                  <a:gd name="T61" fmla="*/ 172 h 202"/>
                  <a:gd name="T62" fmla="*/ 380 w 529"/>
                  <a:gd name="T63" fmla="*/ 174 h 202"/>
                  <a:gd name="T64" fmla="*/ 403 w 529"/>
                  <a:gd name="T65" fmla="*/ 167 h 202"/>
                  <a:gd name="T66" fmla="*/ 426 w 529"/>
                  <a:gd name="T67" fmla="*/ 161 h 202"/>
                  <a:gd name="T68" fmla="*/ 481 w 529"/>
                  <a:gd name="T69" fmla="*/ 152 h 202"/>
                  <a:gd name="T70" fmla="*/ 485 w 529"/>
                  <a:gd name="T71" fmla="*/ 154 h 202"/>
                  <a:gd name="T72" fmla="*/ 509 w 529"/>
                  <a:gd name="T73" fmla="*/ 155 h 202"/>
                  <a:gd name="T74" fmla="*/ 521 w 529"/>
                  <a:gd name="T75" fmla="*/ 164 h 202"/>
                  <a:gd name="T76" fmla="*/ 529 w 529"/>
                  <a:gd name="T77" fmla="*/ 159 h 202"/>
                  <a:gd name="T78" fmla="*/ 525 w 529"/>
                  <a:gd name="T79" fmla="*/ 155 h 202"/>
                  <a:gd name="T80" fmla="*/ 524 w 529"/>
                  <a:gd name="T81" fmla="*/ 145 h 202"/>
                  <a:gd name="T82" fmla="*/ 518 w 529"/>
                  <a:gd name="T83" fmla="*/ 142 h 202"/>
                  <a:gd name="T84" fmla="*/ 515 w 529"/>
                  <a:gd name="T85" fmla="*/ 131 h 202"/>
                  <a:gd name="T86" fmla="*/ 514 w 529"/>
                  <a:gd name="T87" fmla="*/ 109 h 202"/>
                  <a:gd name="T88" fmla="*/ 511 w 529"/>
                  <a:gd name="T89" fmla="*/ 86 h 202"/>
                  <a:gd name="T90" fmla="*/ 514 w 529"/>
                  <a:gd name="T91" fmla="*/ 71 h 202"/>
                  <a:gd name="T92" fmla="*/ 499 w 529"/>
                  <a:gd name="T93" fmla="*/ 68 h 202"/>
                  <a:gd name="T94" fmla="*/ 494 w 529"/>
                  <a:gd name="T95" fmla="*/ 52 h 202"/>
                  <a:gd name="T96" fmla="*/ 497 w 529"/>
                  <a:gd name="T97" fmla="*/ 45 h 202"/>
                  <a:gd name="T98" fmla="*/ 496 w 529"/>
                  <a:gd name="T99" fmla="*/ 40 h 202"/>
                  <a:gd name="T100" fmla="*/ 482 w 529"/>
                  <a:gd name="T101" fmla="*/ 26 h 202"/>
                  <a:gd name="T102" fmla="*/ 477 w 529"/>
                  <a:gd name="T103" fmla="*/ 22 h 202"/>
                  <a:gd name="T104" fmla="*/ 470 w 529"/>
                  <a:gd name="T105" fmla="*/ 24 h 202"/>
                  <a:gd name="T106" fmla="*/ 449 w 529"/>
                  <a:gd name="T107" fmla="*/ 22 h 202"/>
                  <a:gd name="T108" fmla="*/ 439 w 529"/>
                  <a:gd name="T109" fmla="*/ 22 h 202"/>
                  <a:gd name="T110" fmla="*/ 399 w 529"/>
                  <a:gd name="T111" fmla="*/ 37 h 202"/>
                  <a:gd name="T112" fmla="*/ 393 w 529"/>
                  <a:gd name="T113" fmla="*/ 36 h 202"/>
                  <a:gd name="T114" fmla="*/ 374 w 529"/>
                  <a:gd name="T115" fmla="*/ 33 h 202"/>
                  <a:gd name="T116" fmla="*/ 328 w 529"/>
                  <a:gd name="T117" fmla="*/ 33 h 202"/>
                  <a:gd name="T118" fmla="*/ 287 w 529"/>
                  <a:gd name="T119" fmla="*/ 19 h 202"/>
                  <a:gd name="T120" fmla="*/ 258 w 529"/>
                  <a:gd name="T121" fmla="*/ 6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9" h="202">
                    <a:moveTo>
                      <a:pt x="257" y="0"/>
                    </a:moveTo>
                    <a:cubicBezTo>
                      <a:pt x="255" y="0"/>
                      <a:pt x="252" y="0"/>
                      <a:pt x="251" y="0"/>
                    </a:cubicBezTo>
                    <a:cubicBezTo>
                      <a:pt x="248" y="2"/>
                      <a:pt x="245" y="3"/>
                      <a:pt x="242" y="3"/>
                    </a:cubicBezTo>
                    <a:cubicBezTo>
                      <a:pt x="240" y="3"/>
                      <a:pt x="239" y="3"/>
                      <a:pt x="238" y="3"/>
                    </a:cubicBezTo>
                    <a:cubicBezTo>
                      <a:pt x="236" y="2"/>
                      <a:pt x="235" y="2"/>
                      <a:pt x="233" y="2"/>
                    </a:cubicBezTo>
                    <a:cubicBezTo>
                      <a:pt x="233" y="2"/>
                      <a:pt x="233" y="2"/>
                      <a:pt x="233" y="2"/>
                    </a:cubicBezTo>
                    <a:cubicBezTo>
                      <a:pt x="226" y="2"/>
                      <a:pt x="218" y="2"/>
                      <a:pt x="211" y="1"/>
                    </a:cubicBezTo>
                    <a:cubicBezTo>
                      <a:pt x="210" y="1"/>
                      <a:pt x="210" y="1"/>
                      <a:pt x="209" y="1"/>
                    </a:cubicBezTo>
                    <a:cubicBezTo>
                      <a:pt x="201" y="1"/>
                      <a:pt x="195" y="5"/>
                      <a:pt x="187" y="7"/>
                    </a:cubicBezTo>
                    <a:cubicBezTo>
                      <a:pt x="179" y="9"/>
                      <a:pt x="174" y="13"/>
                      <a:pt x="167" y="17"/>
                    </a:cubicBezTo>
                    <a:cubicBezTo>
                      <a:pt x="163" y="19"/>
                      <a:pt x="160" y="21"/>
                      <a:pt x="156" y="24"/>
                    </a:cubicBezTo>
                    <a:cubicBezTo>
                      <a:pt x="154" y="26"/>
                      <a:pt x="150" y="31"/>
                      <a:pt x="148" y="31"/>
                    </a:cubicBezTo>
                    <a:cubicBezTo>
                      <a:pt x="145" y="32"/>
                      <a:pt x="141" y="32"/>
                      <a:pt x="138" y="32"/>
                    </a:cubicBezTo>
                    <a:cubicBezTo>
                      <a:pt x="133" y="32"/>
                      <a:pt x="128" y="31"/>
                      <a:pt x="123" y="29"/>
                    </a:cubicBezTo>
                    <a:cubicBezTo>
                      <a:pt x="122" y="29"/>
                      <a:pt x="121" y="28"/>
                      <a:pt x="119" y="28"/>
                    </a:cubicBezTo>
                    <a:cubicBezTo>
                      <a:pt x="116" y="28"/>
                      <a:pt x="112" y="30"/>
                      <a:pt x="109" y="30"/>
                    </a:cubicBezTo>
                    <a:cubicBezTo>
                      <a:pt x="108" y="30"/>
                      <a:pt x="108" y="30"/>
                      <a:pt x="107" y="30"/>
                    </a:cubicBezTo>
                    <a:cubicBezTo>
                      <a:pt x="104" y="30"/>
                      <a:pt x="100" y="29"/>
                      <a:pt x="97" y="28"/>
                    </a:cubicBezTo>
                    <a:cubicBezTo>
                      <a:pt x="96" y="28"/>
                      <a:pt x="92" y="27"/>
                      <a:pt x="90" y="27"/>
                    </a:cubicBezTo>
                    <a:cubicBezTo>
                      <a:pt x="89" y="27"/>
                      <a:pt x="87" y="27"/>
                      <a:pt x="87" y="28"/>
                    </a:cubicBezTo>
                    <a:cubicBezTo>
                      <a:pt x="87" y="28"/>
                      <a:pt x="87" y="28"/>
                      <a:pt x="87" y="28"/>
                    </a:cubicBezTo>
                    <a:cubicBezTo>
                      <a:pt x="89" y="30"/>
                      <a:pt x="90" y="32"/>
                      <a:pt x="90" y="34"/>
                    </a:cubicBezTo>
                    <a:cubicBezTo>
                      <a:pt x="90" y="36"/>
                      <a:pt x="90" y="37"/>
                      <a:pt x="89" y="38"/>
                    </a:cubicBezTo>
                    <a:cubicBezTo>
                      <a:pt x="92" y="40"/>
                      <a:pt x="94" y="42"/>
                      <a:pt x="98" y="43"/>
                    </a:cubicBezTo>
                    <a:cubicBezTo>
                      <a:pt x="101" y="44"/>
                      <a:pt x="105" y="43"/>
                      <a:pt x="108" y="44"/>
                    </a:cubicBezTo>
                    <a:cubicBezTo>
                      <a:pt x="102" y="45"/>
                      <a:pt x="95" y="45"/>
                      <a:pt x="89" y="47"/>
                    </a:cubicBezTo>
                    <a:cubicBezTo>
                      <a:pt x="85" y="47"/>
                      <a:pt x="79" y="48"/>
                      <a:pt x="77" y="51"/>
                    </a:cubicBezTo>
                    <a:cubicBezTo>
                      <a:pt x="80" y="52"/>
                      <a:pt x="85" y="51"/>
                      <a:pt x="87" y="54"/>
                    </a:cubicBezTo>
                    <a:cubicBezTo>
                      <a:pt x="85" y="56"/>
                      <a:pt x="82" y="57"/>
                      <a:pt x="79" y="57"/>
                    </a:cubicBezTo>
                    <a:cubicBezTo>
                      <a:pt x="77" y="57"/>
                      <a:pt x="74" y="56"/>
                      <a:pt x="72" y="56"/>
                    </a:cubicBezTo>
                    <a:cubicBezTo>
                      <a:pt x="67" y="56"/>
                      <a:pt x="63" y="56"/>
                      <a:pt x="59" y="56"/>
                    </a:cubicBezTo>
                    <a:cubicBezTo>
                      <a:pt x="57" y="56"/>
                      <a:pt x="55" y="56"/>
                      <a:pt x="52" y="56"/>
                    </a:cubicBezTo>
                    <a:cubicBezTo>
                      <a:pt x="54" y="50"/>
                      <a:pt x="52" y="52"/>
                      <a:pt x="48" y="51"/>
                    </a:cubicBezTo>
                    <a:cubicBezTo>
                      <a:pt x="48" y="53"/>
                      <a:pt x="50" y="54"/>
                      <a:pt x="52" y="56"/>
                    </a:cubicBezTo>
                    <a:cubicBezTo>
                      <a:pt x="49" y="57"/>
                      <a:pt x="46" y="57"/>
                      <a:pt x="44" y="58"/>
                    </a:cubicBezTo>
                    <a:cubicBezTo>
                      <a:pt x="43" y="58"/>
                      <a:pt x="43" y="58"/>
                      <a:pt x="42" y="58"/>
                    </a:cubicBezTo>
                    <a:cubicBezTo>
                      <a:pt x="40" y="58"/>
                      <a:pt x="39" y="57"/>
                      <a:pt x="37" y="55"/>
                    </a:cubicBezTo>
                    <a:cubicBezTo>
                      <a:pt x="36" y="54"/>
                      <a:pt x="35" y="53"/>
                      <a:pt x="34" y="53"/>
                    </a:cubicBezTo>
                    <a:cubicBezTo>
                      <a:pt x="34" y="53"/>
                      <a:pt x="33" y="53"/>
                      <a:pt x="33" y="53"/>
                    </a:cubicBezTo>
                    <a:cubicBezTo>
                      <a:pt x="27" y="56"/>
                      <a:pt x="21" y="58"/>
                      <a:pt x="15" y="60"/>
                    </a:cubicBezTo>
                    <a:cubicBezTo>
                      <a:pt x="10" y="62"/>
                      <a:pt x="4" y="67"/>
                      <a:pt x="2" y="71"/>
                    </a:cubicBezTo>
                    <a:cubicBezTo>
                      <a:pt x="2" y="74"/>
                      <a:pt x="3" y="78"/>
                      <a:pt x="3" y="81"/>
                    </a:cubicBezTo>
                    <a:cubicBezTo>
                      <a:pt x="3" y="82"/>
                      <a:pt x="1" y="83"/>
                      <a:pt x="1" y="85"/>
                    </a:cubicBezTo>
                    <a:cubicBezTo>
                      <a:pt x="1" y="85"/>
                      <a:pt x="0" y="86"/>
                      <a:pt x="0" y="86"/>
                    </a:cubicBezTo>
                    <a:cubicBezTo>
                      <a:pt x="0" y="87"/>
                      <a:pt x="1" y="87"/>
                      <a:pt x="2" y="87"/>
                    </a:cubicBezTo>
                    <a:cubicBezTo>
                      <a:pt x="4" y="87"/>
                      <a:pt x="8" y="86"/>
                      <a:pt x="9" y="85"/>
                    </a:cubicBezTo>
                    <a:cubicBezTo>
                      <a:pt x="14" y="84"/>
                      <a:pt x="19" y="84"/>
                      <a:pt x="25" y="84"/>
                    </a:cubicBezTo>
                    <a:cubicBezTo>
                      <a:pt x="22" y="87"/>
                      <a:pt x="20" y="90"/>
                      <a:pt x="17" y="92"/>
                    </a:cubicBezTo>
                    <a:cubicBezTo>
                      <a:pt x="18" y="94"/>
                      <a:pt x="20" y="95"/>
                      <a:pt x="20" y="97"/>
                    </a:cubicBezTo>
                    <a:cubicBezTo>
                      <a:pt x="20" y="98"/>
                      <a:pt x="20" y="101"/>
                      <a:pt x="21" y="102"/>
                    </a:cubicBezTo>
                    <a:cubicBezTo>
                      <a:pt x="22" y="104"/>
                      <a:pt x="25" y="104"/>
                      <a:pt x="28" y="105"/>
                    </a:cubicBezTo>
                    <a:cubicBezTo>
                      <a:pt x="26" y="108"/>
                      <a:pt x="25" y="110"/>
                      <a:pt x="21" y="111"/>
                    </a:cubicBezTo>
                    <a:cubicBezTo>
                      <a:pt x="21" y="111"/>
                      <a:pt x="19" y="111"/>
                      <a:pt x="19" y="111"/>
                    </a:cubicBezTo>
                    <a:cubicBezTo>
                      <a:pt x="20" y="117"/>
                      <a:pt x="25" y="120"/>
                      <a:pt x="30" y="122"/>
                    </a:cubicBezTo>
                    <a:cubicBezTo>
                      <a:pt x="27" y="122"/>
                      <a:pt x="25" y="123"/>
                      <a:pt x="23" y="123"/>
                    </a:cubicBezTo>
                    <a:cubicBezTo>
                      <a:pt x="21" y="123"/>
                      <a:pt x="19" y="122"/>
                      <a:pt x="17" y="121"/>
                    </a:cubicBezTo>
                    <a:cubicBezTo>
                      <a:pt x="15" y="120"/>
                      <a:pt x="15" y="118"/>
                      <a:pt x="15" y="117"/>
                    </a:cubicBezTo>
                    <a:cubicBezTo>
                      <a:pt x="14" y="116"/>
                      <a:pt x="14" y="115"/>
                      <a:pt x="13" y="114"/>
                    </a:cubicBezTo>
                    <a:cubicBezTo>
                      <a:pt x="12" y="114"/>
                      <a:pt x="12" y="113"/>
                      <a:pt x="11" y="113"/>
                    </a:cubicBezTo>
                    <a:cubicBezTo>
                      <a:pt x="10" y="113"/>
                      <a:pt x="11" y="115"/>
                      <a:pt x="11" y="118"/>
                    </a:cubicBezTo>
                    <a:cubicBezTo>
                      <a:pt x="11" y="119"/>
                      <a:pt x="12" y="123"/>
                      <a:pt x="11" y="124"/>
                    </a:cubicBezTo>
                    <a:cubicBezTo>
                      <a:pt x="10" y="124"/>
                      <a:pt x="10" y="124"/>
                      <a:pt x="9" y="124"/>
                    </a:cubicBezTo>
                    <a:cubicBezTo>
                      <a:pt x="9" y="124"/>
                      <a:pt x="9" y="124"/>
                      <a:pt x="9" y="124"/>
                    </a:cubicBezTo>
                    <a:cubicBezTo>
                      <a:pt x="9" y="124"/>
                      <a:pt x="9" y="124"/>
                      <a:pt x="9" y="124"/>
                    </a:cubicBezTo>
                    <a:cubicBezTo>
                      <a:pt x="8" y="124"/>
                      <a:pt x="8" y="124"/>
                      <a:pt x="7" y="124"/>
                    </a:cubicBezTo>
                    <a:cubicBezTo>
                      <a:pt x="6" y="123"/>
                      <a:pt x="6" y="123"/>
                      <a:pt x="6" y="123"/>
                    </a:cubicBezTo>
                    <a:cubicBezTo>
                      <a:pt x="7" y="125"/>
                      <a:pt x="6" y="126"/>
                      <a:pt x="5" y="126"/>
                    </a:cubicBezTo>
                    <a:cubicBezTo>
                      <a:pt x="8" y="128"/>
                      <a:pt x="11" y="129"/>
                      <a:pt x="15" y="129"/>
                    </a:cubicBezTo>
                    <a:cubicBezTo>
                      <a:pt x="15" y="129"/>
                      <a:pt x="16" y="129"/>
                      <a:pt x="16" y="128"/>
                    </a:cubicBezTo>
                    <a:cubicBezTo>
                      <a:pt x="16" y="128"/>
                      <a:pt x="16" y="128"/>
                      <a:pt x="16" y="128"/>
                    </a:cubicBezTo>
                    <a:cubicBezTo>
                      <a:pt x="21" y="128"/>
                      <a:pt x="25" y="133"/>
                      <a:pt x="29" y="134"/>
                    </a:cubicBezTo>
                    <a:cubicBezTo>
                      <a:pt x="32" y="135"/>
                      <a:pt x="37" y="140"/>
                      <a:pt x="33" y="144"/>
                    </a:cubicBezTo>
                    <a:cubicBezTo>
                      <a:pt x="32" y="146"/>
                      <a:pt x="28" y="146"/>
                      <a:pt x="27" y="146"/>
                    </a:cubicBezTo>
                    <a:cubicBezTo>
                      <a:pt x="31" y="149"/>
                      <a:pt x="35" y="151"/>
                      <a:pt x="32" y="156"/>
                    </a:cubicBezTo>
                    <a:cubicBezTo>
                      <a:pt x="35" y="157"/>
                      <a:pt x="42" y="156"/>
                      <a:pt x="44" y="159"/>
                    </a:cubicBezTo>
                    <a:cubicBezTo>
                      <a:pt x="45" y="161"/>
                      <a:pt x="43" y="165"/>
                      <a:pt x="40" y="165"/>
                    </a:cubicBezTo>
                    <a:cubicBezTo>
                      <a:pt x="40" y="165"/>
                      <a:pt x="40" y="165"/>
                      <a:pt x="40" y="165"/>
                    </a:cubicBezTo>
                    <a:cubicBezTo>
                      <a:pt x="39" y="165"/>
                      <a:pt x="38" y="165"/>
                      <a:pt x="38" y="165"/>
                    </a:cubicBezTo>
                    <a:cubicBezTo>
                      <a:pt x="37" y="164"/>
                      <a:pt x="37" y="164"/>
                      <a:pt x="36" y="164"/>
                    </a:cubicBezTo>
                    <a:cubicBezTo>
                      <a:pt x="36" y="164"/>
                      <a:pt x="36" y="164"/>
                      <a:pt x="36" y="164"/>
                    </a:cubicBezTo>
                    <a:cubicBezTo>
                      <a:pt x="34" y="165"/>
                      <a:pt x="33" y="166"/>
                      <a:pt x="34" y="169"/>
                    </a:cubicBezTo>
                    <a:cubicBezTo>
                      <a:pt x="34" y="169"/>
                      <a:pt x="35" y="169"/>
                      <a:pt x="35" y="169"/>
                    </a:cubicBezTo>
                    <a:cubicBezTo>
                      <a:pt x="45" y="169"/>
                      <a:pt x="54" y="167"/>
                      <a:pt x="64" y="166"/>
                    </a:cubicBezTo>
                    <a:cubicBezTo>
                      <a:pt x="60" y="170"/>
                      <a:pt x="58" y="174"/>
                      <a:pt x="52" y="174"/>
                    </a:cubicBezTo>
                    <a:cubicBezTo>
                      <a:pt x="51" y="174"/>
                      <a:pt x="49" y="175"/>
                      <a:pt x="48" y="175"/>
                    </a:cubicBezTo>
                    <a:cubicBezTo>
                      <a:pt x="46" y="175"/>
                      <a:pt x="45" y="176"/>
                      <a:pt x="43" y="176"/>
                    </a:cubicBezTo>
                    <a:cubicBezTo>
                      <a:pt x="41" y="176"/>
                      <a:pt x="39" y="177"/>
                      <a:pt x="37" y="178"/>
                    </a:cubicBezTo>
                    <a:cubicBezTo>
                      <a:pt x="37" y="178"/>
                      <a:pt x="38" y="179"/>
                      <a:pt x="39" y="179"/>
                    </a:cubicBezTo>
                    <a:cubicBezTo>
                      <a:pt x="45" y="179"/>
                      <a:pt x="56" y="175"/>
                      <a:pt x="58" y="174"/>
                    </a:cubicBezTo>
                    <a:cubicBezTo>
                      <a:pt x="57" y="176"/>
                      <a:pt x="55" y="177"/>
                      <a:pt x="54" y="179"/>
                    </a:cubicBezTo>
                    <a:cubicBezTo>
                      <a:pt x="55" y="178"/>
                      <a:pt x="55" y="178"/>
                      <a:pt x="55" y="178"/>
                    </a:cubicBezTo>
                    <a:cubicBezTo>
                      <a:pt x="56" y="178"/>
                      <a:pt x="56" y="179"/>
                      <a:pt x="56" y="180"/>
                    </a:cubicBezTo>
                    <a:cubicBezTo>
                      <a:pt x="57" y="180"/>
                      <a:pt x="57" y="180"/>
                      <a:pt x="57" y="180"/>
                    </a:cubicBezTo>
                    <a:cubicBezTo>
                      <a:pt x="57" y="181"/>
                      <a:pt x="54" y="181"/>
                      <a:pt x="54" y="182"/>
                    </a:cubicBezTo>
                    <a:cubicBezTo>
                      <a:pt x="54" y="182"/>
                      <a:pt x="54" y="182"/>
                      <a:pt x="54" y="182"/>
                    </a:cubicBezTo>
                    <a:cubicBezTo>
                      <a:pt x="55" y="182"/>
                      <a:pt x="62" y="176"/>
                      <a:pt x="62" y="176"/>
                    </a:cubicBezTo>
                    <a:cubicBezTo>
                      <a:pt x="65" y="174"/>
                      <a:pt x="66" y="173"/>
                      <a:pt x="67" y="173"/>
                    </a:cubicBezTo>
                    <a:cubicBezTo>
                      <a:pt x="68" y="173"/>
                      <a:pt x="69" y="174"/>
                      <a:pt x="71" y="174"/>
                    </a:cubicBezTo>
                    <a:cubicBezTo>
                      <a:pt x="74" y="175"/>
                      <a:pt x="71" y="178"/>
                      <a:pt x="75" y="178"/>
                    </a:cubicBezTo>
                    <a:cubicBezTo>
                      <a:pt x="78" y="178"/>
                      <a:pt x="79" y="181"/>
                      <a:pt x="79" y="181"/>
                    </a:cubicBezTo>
                    <a:cubicBezTo>
                      <a:pt x="80" y="181"/>
                      <a:pt x="80" y="180"/>
                      <a:pt x="81" y="176"/>
                    </a:cubicBezTo>
                    <a:cubicBezTo>
                      <a:pt x="84" y="180"/>
                      <a:pt x="88" y="190"/>
                      <a:pt x="92" y="191"/>
                    </a:cubicBezTo>
                    <a:cubicBezTo>
                      <a:pt x="96" y="193"/>
                      <a:pt x="101" y="194"/>
                      <a:pt x="105" y="195"/>
                    </a:cubicBezTo>
                    <a:cubicBezTo>
                      <a:pt x="105" y="196"/>
                      <a:pt x="105" y="196"/>
                      <a:pt x="106" y="196"/>
                    </a:cubicBezTo>
                    <a:cubicBezTo>
                      <a:pt x="108" y="196"/>
                      <a:pt x="112" y="193"/>
                      <a:pt x="114" y="193"/>
                    </a:cubicBezTo>
                    <a:cubicBezTo>
                      <a:pt x="115" y="192"/>
                      <a:pt x="117" y="191"/>
                      <a:pt x="118" y="191"/>
                    </a:cubicBezTo>
                    <a:cubicBezTo>
                      <a:pt x="120" y="191"/>
                      <a:pt x="121" y="193"/>
                      <a:pt x="122" y="193"/>
                    </a:cubicBezTo>
                    <a:cubicBezTo>
                      <a:pt x="122" y="193"/>
                      <a:pt x="122" y="193"/>
                      <a:pt x="122" y="193"/>
                    </a:cubicBezTo>
                    <a:cubicBezTo>
                      <a:pt x="124" y="193"/>
                      <a:pt x="126" y="192"/>
                      <a:pt x="126" y="190"/>
                    </a:cubicBezTo>
                    <a:cubicBezTo>
                      <a:pt x="127" y="186"/>
                      <a:pt x="126" y="176"/>
                      <a:pt x="129" y="173"/>
                    </a:cubicBezTo>
                    <a:cubicBezTo>
                      <a:pt x="130" y="172"/>
                      <a:pt x="131" y="172"/>
                      <a:pt x="132" y="172"/>
                    </a:cubicBezTo>
                    <a:cubicBezTo>
                      <a:pt x="133" y="172"/>
                      <a:pt x="134" y="172"/>
                      <a:pt x="135" y="172"/>
                    </a:cubicBezTo>
                    <a:cubicBezTo>
                      <a:pt x="142" y="173"/>
                      <a:pt x="148" y="175"/>
                      <a:pt x="155" y="178"/>
                    </a:cubicBezTo>
                    <a:cubicBezTo>
                      <a:pt x="162" y="180"/>
                      <a:pt x="167" y="185"/>
                      <a:pt x="174" y="189"/>
                    </a:cubicBezTo>
                    <a:cubicBezTo>
                      <a:pt x="178" y="192"/>
                      <a:pt x="182" y="197"/>
                      <a:pt x="188" y="197"/>
                    </a:cubicBezTo>
                    <a:cubicBezTo>
                      <a:pt x="188" y="197"/>
                      <a:pt x="188" y="197"/>
                      <a:pt x="188" y="197"/>
                    </a:cubicBezTo>
                    <a:cubicBezTo>
                      <a:pt x="196" y="197"/>
                      <a:pt x="203" y="195"/>
                      <a:pt x="211" y="195"/>
                    </a:cubicBezTo>
                    <a:cubicBezTo>
                      <a:pt x="211" y="195"/>
                      <a:pt x="211" y="195"/>
                      <a:pt x="211" y="195"/>
                    </a:cubicBezTo>
                    <a:cubicBezTo>
                      <a:pt x="211" y="195"/>
                      <a:pt x="212" y="195"/>
                      <a:pt x="212" y="195"/>
                    </a:cubicBezTo>
                    <a:cubicBezTo>
                      <a:pt x="219" y="195"/>
                      <a:pt x="223" y="195"/>
                      <a:pt x="228" y="189"/>
                    </a:cubicBezTo>
                    <a:cubicBezTo>
                      <a:pt x="233" y="181"/>
                      <a:pt x="239" y="178"/>
                      <a:pt x="248" y="175"/>
                    </a:cubicBezTo>
                    <a:cubicBezTo>
                      <a:pt x="248" y="175"/>
                      <a:pt x="258" y="180"/>
                      <a:pt x="258" y="180"/>
                    </a:cubicBezTo>
                    <a:cubicBezTo>
                      <a:pt x="259" y="180"/>
                      <a:pt x="260" y="181"/>
                      <a:pt x="261" y="181"/>
                    </a:cubicBezTo>
                    <a:cubicBezTo>
                      <a:pt x="261" y="181"/>
                      <a:pt x="263" y="183"/>
                      <a:pt x="263" y="183"/>
                    </a:cubicBezTo>
                    <a:cubicBezTo>
                      <a:pt x="263" y="183"/>
                      <a:pt x="264" y="183"/>
                      <a:pt x="264" y="183"/>
                    </a:cubicBezTo>
                    <a:cubicBezTo>
                      <a:pt x="267" y="183"/>
                      <a:pt x="270" y="180"/>
                      <a:pt x="273" y="177"/>
                    </a:cubicBezTo>
                    <a:cubicBezTo>
                      <a:pt x="275" y="175"/>
                      <a:pt x="278" y="172"/>
                      <a:pt x="281" y="172"/>
                    </a:cubicBezTo>
                    <a:cubicBezTo>
                      <a:pt x="281" y="172"/>
                      <a:pt x="281" y="172"/>
                      <a:pt x="281" y="172"/>
                    </a:cubicBezTo>
                    <a:cubicBezTo>
                      <a:pt x="295" y="172"/>
                      <a:pt x="282" y="185"/>
                      <a:pt x="278" y="190"/>
                    </a:cubicBezTo>
                    <a:cubicBezTo>
                      <a:pt x="276" y="194"/>
                      <a:pt x="281" y="196"/>
                      <a:pt x="282" y="200"/>
                    </a:cubicBezTo>
                    <a:cubicBezTo>
                      <a:pt x="281" y="200"/>
                      <a:pt x="281" y="200"/>
                      <a:pt x="281" y="200"/>
                    </a:cubicBezTo>
                    <a:cubicBezTo>
                      <a:pt x="283" y="201"/>
                      <a:pt x="284" y="201"/>
                      <a:pt x="285" y="202"/>
                    </a:cubicBezTo>
                    <a:cubicBezTo>
                      <a:pt x="285" y="201"/>
                      <a:pt x="286" y="200"/>
                      <a:pt x="287" y="199"/>
                    </a:cubicBezTo>
                    <a:cubicBezTo>
                      <a:pt x="287" y="199"/>
                      <a:pt x="287" y="199"/>
                      <a:pt x="287" y="199"/>
                    </a:cubicBezTo>
                    <a:cubicBezTo>
                      <a:pt x="288" y="198"/>
                      <a:pt x="288" y="198"/>
                      <a:pt x="289" y="198"/>
                    </a:cubicBezTo>
                    <a:cubicBezTo>
                      <a:pt x="290" y="197"/>
                      <a:pt x="290" y="197"/>
                      <a:pt x="290" y="197"/>
                    </a:cubicBezTo>
                    <a:cubicBezTo>
                      <a:pt x="290" y="196"/>
                      <a:pt x="290" y="196"/>
                      <a:pt x="290" y="196"/>
                    </a:cubicBezTo>
                    <a:cubicBezTo>
                      <a:pt x="290" y="195"/>
                      <a:pt x="290" y="195"/>
                      <a:pt x="291" y="194"/>
                    </a:cubicBezTo>
                    <a:cubicBezTo>
                      <a:pt x="291" y="193"/>
                      <a:pt x="291" y="193"/>
                      <a:pt x="292" y="192"/>
                    </a:cubicBezTo>
                    <a:cubicBezTo>
                      <a:pt x="292" y="192"/>
                      <a:pt x="293" y="191"/>
                      <a:pt x="293" y="190"/>
                    </a:cubicBezTo>
                    <a:cubicBezTo>
                      <a:pt x="294" y="190"/>
                      <a:pt x="295" y="190"/>
                      <a:pt x="295" y="189"/>
                    </a:cubicBezTo>
                    <a:cubicBezTo>
                      <a:pt x="295" y="188"/>
                      <a:pt x="295" y="187"/>
                      <a:pt x="295" y="185"/>
                    </a:cubicBezTo>
                    <a:cubicBezTo>
                      <a:pt x="295" y="181"/>
                      <a:pt x="296" y="177"/>
                      <a:pt x="297" y="174"/>
                    </a:cubicBezTo>
                    <a:cubicBezTo>
                      <a:pt x="299" y="168"/>
                      <a:pt x="299" y="168"/>
                      <a:pt x="299" y="168"/>
                    </a:cubicBezTo>
                    <a:cubicBezTo>
                      <a:pt x="313" y="176"/>
                      <a:pt x="313" y="176"/>
                      <a:pt x="313" y="176"/>
                    </a:cubicBezTo>
                    <a:cubicBezTo>
                      <a:pt x="313" y="176"/>
                      <a:pt x="314" y="176"/>
                      <a:pt x="314" y="176"/>
                    </a:cubicBezTo>
                    <a:cubicBezTo>
                      <a:pt x="315" y="176"/>
                      <a:pt x="317" y="176"/>
                      <a:pt x="318" y="176"/>
                    </a:cubicBezTo>
                    <a:cubicBezTo>
                      <a:pt x="320" y="176"/>
                      <a:pt x="320" y="176"/>
                      <a:pt x="320" y="176"/>
                    </a:cubicBezTo>
                    <a:cubicBezTo>
                      <a:pt x="325" y="175"/>
                      <a:pt x="331" y="173"/>
                      <a:pt x="338" y="170"/>
                    </a:cubicBezTo>
                    <a:cubicBezTo>
                      <a:pt x="340" y="170"/>
                      <a:pt x="340" y="170"/>
                      <a:pt x="340" y="170"/>
                    </a:cubicBezTo>
                    <a:cubicBezTo>
                      <a:pt x="342" y="169"/>
                      <a:pt x="344" y="168"/>
                      <a:pt x="345" y="168"/>
                    </a:cubicBezTo>
                    <a:cubicBezTo>
                      <a:pt x="347" y="168"/>
                      <a:pt x="348" y="168"/>
                      <a:pt x="350" y="169"/>
                    </a:cubicBezTo>
                    <a:cubicBezTo>
                      <a:pt x="355" y="170"/>
                      <a:pt x="355" y="170"/>
                      <a:pt x="355" y="170"/>
                    </a:cubicBezTo>
                    <a:cubicBezTo>
                      <a:pt x="357" y="170"/>
                      <a:pt x="358" y="171"/>
                      <a:pt x="359" y="172"/>
                    </a:cubicBezTo>
                    <a:cubicBezTo>
                      <a:pt x="359" y="172"/>
                      <a:pt x="359" y="172"/>
                      <a:pt x="359" y="172"/>
                    </a:cubicBezTo>
                    <a:cubicBezTo>
                      <a:pt x="359" y="172"/>
                      <a:pt x="359" y="172"/>
                      <a:pt x="359" y="172"/>
                    </a:cubicBezTo>
                    <a:cubicBezTo>
                      <a:pt x="360" y="173"/>
                      <a:pt x="360" y="173"/>
                      <a:pt x="360" y="173"/>
                    </a:cubicBezTo>
                    <a:cubicBezTo>
                      <a:pt x="366" y="174"/>
                      <a:pt x="371" y="174"/>
                      <a:pt x="376" y="174"/>
                    </a:cubicBezTo>
                    <a:cubicBezTo>
                      <a:pt x="377" y="174"/>
                      <a:pt x="378" y="174"/>
                      <a:pt x="379" y="174"/>
                    </a:cubicBezTo>
                    <a:cubicBezTo>
                      <a:pt x="380" y="174"/>
                      <a:pt x="380" y="174"/>
                      <a:pt x="380" y="174"/>
                    </a:cubicBezTo>
                    <a:cubicBezTo>
                      <a:pt x="380" y="176"/>
                      <a:pt x="380" y="176"/>
                      <a:pt x="380" y="176"/>
                    </a:cubicBezTo>
                    <a:cubicBezTo>
                      <a:pt x="380" y="174"/>
                      <a:pt x="380" y="174"/>
                      <a:pt x="380" y="174"/>
                    </a:cubicBezTo>
                    <a:cubicBezTo>
                      <a:pt x="385" y="173"/>
                      <a:pt x="391" y="171"/>
                      <a:pt x="396" y="169"/>
                    </a:cubicBezTo>
                    <a:cubicBezTo>
                      <a:pt x="401" y="168"/>
                      <a:pt x="401" y="168"/>
                      <a:pt x="401" y="168"/>
                    </a:cubicBezTo>
                    <a:cubicBezTo>
                      <a:pt x="402" y="167"/>
                      <a:pt x="403" y="167"/>
                      <a:pt x="403" y="167"/>
                    </a:cubicBezTo>
                    <a:cubicBezTo>
                      <a:pt x="405" y="166"/>
                      <a:pt x="406" y="166"/>
                      <a:pt x="407" y="165"/>
                    </a:cubicBezTo>
                    <a:cubicBezTo>
                      <a:pt x="408" y="165"/>
                      <a:pt x="408" y="165"/>
                      <a:pt x="408" y="165"/>
                    </a:cubicBezTo>
                    <a:cubicBezTo>
                      <a:pt x="411" y="163"/>
                      <a:pt x="416" y="161"/>
                      <a:pt x="420" y="161"/>
                    </a:cubicBezTo>
                    <a:cubicBezTo>
                      <a:pt x="420" y="161"/>
                      <a:pt x="421" y="161"/>
                      <a:pt x="421" y="161"/>
                    </a:cubicBezTo>
                    <a:cubicBezTo>
                      <a:pt x="423" y="161"/>
                      <a:pt x="424" y="161"/>
                      <a:pt x="426" y="161"/>
                    </a:cubicBezTo>
                    <a:cubicBezTo>
                      <a:pt x="435" y="161"/>
                      <a:pt x="443" y="160"/>
                      <a:pt x="451" y="159"/>
                    </a:cubicBezTo>
                    <a:cubicBezTo>
                      <a:pt x="454" y="158"/>
                      <a:pt x="457" y="157"/>
                      <a:pt x="461" y="156"/>
                    </a:cubicBezTo>
                    <a:cubicBezTo>
                      <a:pt x="464" y="155"/>
                      <a:pt x="464" y="155"/>
                      <a:pt x="464" y="155"/>
                    </a:cubicBezTo>
                    <a:cubicBezTo>
                      <a:pt x="465" y="158"/>
                      <a:pt x="465" y="158"/>
                      <a:pt x="465" y="158"/>
                    </a:cubicBezTo>
                    <a:cubicBezTo>
                      <a:pt x="470" y="155"/>
                      <a:pt x="474" y="152"/>
                      <a:pt x="481" y="152"/>
                    </a:cubicBezTo>
                    <a:cubicBezTo>
                      <a:pt x="483" y="152"/>
                      <a:pt x="483" y="152"/>
                      <a:pt x="483" y="152"/>
                    </a:cubicBezTo>
                    <a:cubicBezTo>
                      <a:pt x="483" y="152"/>
                      <a:pt x="484" y="152"/>
                      <a:pt x="484" y="152"/>
                    </a:cubicBezTo>
                    <a:cubicBezTo>
                      <a:pt x="484" y="152"/>
                      <a:pt x="484" y="152"/>
                      <a:pt x="485" y="152"/>
                    </a:cubicBezTo>
                    <a:cubicBezTo>
                      <a:pt x="485" y="152"/>
                      <a:pt x="485" y="152"/>
                      <a:pt x="485" y="152"/>
                    </a:cubicBezTo>
                    <a:cubicBezTo>
                      <a:pt x="485" y="154"/>
                      <a:pt x="485" y="154"/>
                      <a:pt x="485" y="154"/>
                    </a:cubicBezTo>
                    <a:cubicBezTo>
                      <a:pt x="486" y="152"/>
                      <a:pt x="486" y="152"/>
                      <a:pt x="486" y="152"/>
                    </a:cubicBezTo>
                    <a:cubicBezTo>
                      <a:pt x="487" y="152"/>
                      <a:pt x="488" y="153"/>
                      <a:pt x="489" y="153"/>
                    </a:cubicBezTo>
                    <a:cubicBezTo>
                      <a:pt x="494" y="154"/>
                      <a:pt x="494" y="154"/>
                      <a:pt x="494" y="154"/>
                    </a:cubicBezTo>
                    <a:cubicBezTo>
                      <a:pt x="497" y="154"/>
                      <a:pt x="501" y="155"/>
                      <a:pt x="505" y="155"/>
                    </a:cubicBezTo>
                    <a:cubicBezTo>
                      <a:pt x="506" y="155"/>
                      <a:pt x="507" y="155"/>
                      <a:pt x="509" y="155"/>
                    </a:cubicBezTo>
                    <a:cubicBezTo>
                      <a:pt x="510" y="154"/>
                      <a:pt x="511" y="154"/>
                      <a:pt x="512" y="154"/>
                    </a:cubicBezTo>
                    <a:cubicBezTo>
                      <a:pt x="517" y="154"/>
                      <a:pt x="519" y="159"/>
                      <a:pt x="520" y="160"/>
                    </a:cubicBezTo>
                    <a:cubicBezTo>
                      <a:pt x="520" y="161"/>
                      <a:pt x="520" y="161"/>
                      <a:pt x="520" y="161"/>
                    </a:cubicBezTo>
                    <a:cubicBezTo>
                      <a:pt x="520" y="162"/>
                      <a:pt x="520" y="162"/>
                      <a:pt x="521" y="163"/>
                    </a:cubicBezTo>
                    <a:cubicBezTo>
                      <a:pt x="521" y="163"/>
                      <a:pt x="521" y="164"/>
                      <a:pt x="521" y="164"/>
                    </a:cubicBezTo>
                    <a:cubicBezTo>
                      <a:pt x="522" y="163"/>
                      <a:pt x="522" y="163"/>
                      <a:pt x="522" y="163"/>
                    </a:cubicBezTo>
                    <a:cubicBezTo>
                      <a:pt x="524" y="163"/>
                      <a:pt x="525" y="162"/>
                      <a:pt x="526" y="162"/>
                    </a:cubicBezTo>
                    <a:cubicBezTo>
                      <a:pt x="529" y="160"/>
                      <a:pt x="529" y="160"/>
                      <a:pt x="529" y="160"/>
                    </a:cubicBezTo>
                    <a:cubicBezTo>
                      <a:pt x="529" y="160"/>
                      <a:pt x="529" y="160"/>
                      <a:pt x="529" y="160"/>
                    </a:cubicBezTo>
                    <a:cubicBezTo>
                      <a:pt x="529" y="160"/>
                      <a:pt x="529" y="160"/>
                      <a:pt x="529" y="159"/>
                    </a:cubicBezTo>
                    <a:cubicBezTo>
                      <a:pt x="529" y="159"/>
                      <a:pt x="529" y="159"/>
                      <a:pt x="529" y="159"/>
                    </a:cubicBezTo>
                    <a:cubicBezTo>
                      <a:pt x="529" y="158"/>
                      <a:pt x="529" y="158"/>
                      <a:pt x="529" y="158"/>
                    </a:cubicBezTo>
                    <a:cubicBezTo>
                      <a:pt x="528" y="158"/>
                      <a:pt x="528" y="158"/>
                      <a:pt x="528" y="158"/>
                    </a:cubicBezTo>
                    <a:cubicBezTo>
                      <a:pt x="526" y="157"/>
                      <a:pt x="526" y="157"/>
                      <a:pt x="526" y="157"/>
                    </a:cubicBezTo>
                    <a:cubicBezTo>
                      <a:pt x="526" y="156"/>
                      <a:pt x="525" y="156"/>
                      <a:pt x="525" y="155"/>
                    </a:cubicBezTo>
                    <a:cubicBezTo>
                      <a:pt x="524" y="154"/>
                      <a:pt x="524" y="154"/>
                      <a:pt x="524" y="154"/>
                    </a:cubicBezTo>
                    <a:cubicBezTo>
                      <a:pt x="523" y="151"/>
                      <a:pt x="523" y="149"/>
                      <a:pt x="523" y="147"/>
                    </a:cubicBezTo>
                    <a:cubicBezTo>
                      <a:pt x="524" y="147"/>
                      <a:pt x="524" y="147"/>
                      <a:pt x="524" y="147"/>
                    </a:cubicBezTo>
                    <a:cubicBezTo>
                      <a:pt x="524" y="146"/>
                      <a:pt x="524" y="146"/>
                      <a:pt x="524" y="146"/>
                    </a:cubicBezTo>
                    <a:cubicBezTo>
                      <a:pt x="524" y="145"/>
                      <a:pt x="524" y="145"/>
                      <a:pt x="524" y="145"/>
                    </a:cubicBezTo>
                    <a:cubicBezTo>
                      <a:pt x="523" y="145"/>
                      <a:pt x="523" y="145"/>
                      <a:pt x="523" y="145"/>
                    </a:cubicBezTo>
                    <a:cubicBezTo>
                      <a:pt x="523" y="145"/>
                      <a:pt x="522" y="144"/>
                      <a:pt x="521" y="144"/>
                    </a:cubicBezTo>
                    <a:cubicBezTo>
                      <a:pt x="520" y="143"/>
                      <a:pt x="520" y="143"/>
                      <a:pt x="520" y="143"/>
                    </a:cubicBezTo>
                    <a:cubicBezTo>
                      <a:pt x="520" y="143"/>
                      <a:pt x="519" y="143"/>
                      <a:pt x="519" y="142"/>
                    </a:cubicBezTo>
                    <a:cubicBezTo>
                      <a:pt x="518" y="142"/>
                      <a:pt x="518" y="142"/>
                      <a:pt x="518" y="142"/>
                    </a:cubicBezTo>
                    <a:cubicBezTo>
                      <a:pt x="517" y="142"/>
                      <a:pt x="516" y="142"/>
                      <a:pt x="516" y="141"/>
                    </a:cubicBezTo>
                    <a:cubicBezTo>
                      <a:pt x="515" y="140"/>
                      <a:pt x="515" y="140"/>
                      <a:pt x="515" y="140"/>
                    </a:cubicBezTo>
                    <a:cubicBezTo>
                      <a:pt x="514" y="139"/>
                      <a:pt x="513" y="138"/>
                      <a:pt x="513" y="137"/>
                    </a:cubicBezTo>
                    <a:cubicBezTo>
                      <a:pt x="513" y="136"/>
                      <a:pt x="513" y="135"/>
                      <a:pt x="514" y="134"/>
                    </a:cubicBezTo>
                    <a:cubicBezTo>
                      <a:pt x="514" y="133"/>
                      <a:pt x="514" y="133"/>
                      <a:pt x="515" y="131"/>
                    </a:cubicBezTo>
                    <a:cubicBezTo>
                      <a:pt x="516" y="130"/>
                      <a:pt x="518" y="128"/>
                      <a:pt x="519" y="126"/>
                    </a:cubicBezTo>
                    <a:cubicBezTo>
                      <a:pt x="515" y="127"/>
                      <a:pt x="515" y="127"/>
                      <a:pt x="515" y="127"/>
                    </a:cubicBezTo>
                    <a:cubicBezTo>
                      <a:pt x="516" y="122"/>
                      <a:pt x="516" y="122"/>
                      <a:pt x="516" y="122"/>
                    </a:cubicBezTo>
                    <a:cubicBezTo>
                      <a:pt x="516" y="117"/>
                      <a:pt x="516" y="111"/>
                      <a:pt x="515" y="110"/>
                    </a:cubicBezTo>
                    <a:cubicBezTo>
                      <a:pt x="514" y="109"/>
                      <a:pt x="514" y="109"/>
                      <a:pt x="514" y="109"/>
                    </a:cubicBezTo>
                    <a:cubicBezTo>
                      <a:pt x="514" y="108"/>
                      <a:pt x="514" y="108"/>
                      <a:pt x="514" y="108"/>
                    </a:cubicBezTo>
                    <a:cubicBezTo>
                      <a:pt x="513" y="106"/>
                      <a:pt x="512" y="104"/>
                      <a:pt x="510" y="100"/>
                    </a:cubicBezTo>
                    <a:cubicBezTo>
                      <a:pt x="510" y="99"/>
                      <a:pt x="509" y="98"/>
                      <a:pt x="509" y="96"/>
                    </a:cubicBezTo>
                    <a:cubicBezTo>
                      <a:pt x="507" y="90"/>
                      <a:pt x="507" y="90"/>
                      <a:pt x="507" y="90"/>
                    </a:cubicBezTo>
                    <a:cubicBezTo>
                      <a:pt x="511" y="86"/>
                      <a:pt x="511" y="86"/>
                      <a:pt x="511" y="86"/>
                    </a:cubicBezTo>
                    <a:cubicBezTo>
                      <a:pt x="512" y="86"/>
                      <a:pt x="512" y="86"/>
                      <a:pt x="512" y="86"/>
                    </a:cubicBezTo>
                    <a:cubicBezTo>
                      <a:pt x="515" y="86"/>
                      <a:pt x="518" y="85"/>
                      <a:pt x="519" y="85"/>
                    </a:cubicBezTo>
                    <a:cubicBezTo>
                      <a:pt x="519" y="85"/>
                      <a:pt x="520" y="84"/>
                      <a:pt x="520" y="82"/>
                    </a:cubicBezTo>
                    <a:cubicBezTo>
                      <a:pt x="519" y="80"/>
                      <a:pt x="519" y="76"/>
                      <a:pt x="522" y="75"/>
                    </a:cubicBezTo>
                    <a:cubicBezTo>
                      <a:pt x="519" y="72"/>
                      <a:pt x="519" y="72"/>
                      <a:pt x="514" y="71"/>
                    </a:cubicBezTo>
                    <a:cubicBezTo>
                      <a:pt x="512" y="71"/>
                      <a:pt x="511" y="71"/>
                      <a:pt x="509" y="71"/>
                    </a:cubicBezTo>
                    <a:cubicBezTo>
                      <a:pt x="509" y="71"/>
                      <a:pt x="509" y="71"/>
                      <a:pt x="509" y="71"/>
                    </a:cubicBezTo>
                    <a:cubicBezTo>
                      <a:pt x="509" y="71"/>
                      <a:pt x="508" y="71"/>
                      <a:pt x="508" y="71"/>
                    </a:cubicBezTo>
                    <a:cubicBezTo>
                      <a:pt x="505" y="71"/>
                      <a:pt x="503" y="70"/>
                      <a:pt x="501" y="69"/>
                    </a:cubicBezTo>
                    <a:cubicBezTo>
                      <a:pt x="499" y="68"/>
                      <a:pt x="499" y="68"/>
                      <a:pt x="499" y="68"/>
                    </a:cubicBezTo>
                    <a:cubicBezTo>
                      <a:pt x="498" y="68"/>
                      <a:pt x="497" y="67"/>
                      <a:pt x="497" y="65"/>
                    </a:cubicBezTo>
                    <a:cubicBezTo>
                      <a:pt x="496" y="63"/>
                      <a:pt x="497" y="62"/>
                      <a:pt x="497" y="61"/>
                    </a:cubicBezTo>
                    <a:cubicBezTo>
                      <a:pt x="497" y="61"/>
                      <a:pt x="497" y="61"/>
                      <a:pt x="497" y="61"/>
                    </a:cubicBezTo>
                    <a:cubicBezTo>
                      <a:pt x="497" y="60"/>
                      <a:pt x="497" y="60"/>
                      <a:pt x="496" y="59"/>
                    </a:cubicBezTo>
                    <a:cubicBezTo>
                      <a:pt x="494" y="55"/>
                      <a:pt x="494" y="54"/>
                      <a:pt x="494" y="52"/>
                    </a:cubicBezTo>
                    <a:cubicBezTo>
                      <a:pt x="494" y="50"/>
                      <a:pt x="495" y="49"/>
                      <a:pt x="496" y="48"/>
                    </a:cubicBezTo>
                    <a:cubicBezTo>
                      <a:pt x="497" y="48"/>
                      <a:pt x="497" y="48"/>
                      <a:pt x="497" y="48"/>
                    </a:cubicBezTo>
                    <a:cubicBezTo>
                      <a:pt x="497" y="48"/>
                      <a:pt x="497" y="48"/>
                      <a:pt x="497" y="48"/>
                    </a:cubicBezTo>
                    <a:cubicBezTo>
                      <a:pt x="498" y="47"/>
                      <a:pt x="498" y="47"/>
                      <a:pt x="498" y="47"/>
                    </a:cubicBezTo>
                    <a:cubicBezTo>
                      <a:pt x="497" y="45"/>
                      <a:pt x="497" y="45"/>
                      <a:pt x="497" y="45"/>
                    </a:cubicBezTo>
                    <a:cubicBezTo>
                      <a:pt x="497" y="44"/>
                      <a:pt x="497" y="44"/>
                      <a:pt x="497" y="43"/>
                    </a:cubicBezTo>
                    <a:cubicBezTo>
                      <a:pt x="497" y="43"/>
                      <a:pt x="497" y="42"/>
                      <a:pt x="497" y="42"/>
                    </a:cubicBezTo>
                    <a:cubicBezTo>
                      <a:pt x="497" y="41"/>
                      <a:pt x="497" y="41"/>
                      <a:pt x="497" y="41"/>
                    </a:cubicBezTo>
                    <a:cubicBezTo>
                      <a:pt x="496" y="40"/>
                      <a:pt x="496" y="40"/>
                      <a:pt x="496" y="40"/>
                    </a:cubicBezTo>
                    <a:cubicBezTo>
                      <a:pt x="496" y="40"/>
                      <a:pt x="496" y="40"/>
                      <a:pt x="496" y="40"/>
                    </a:cubicBezTo>
                    <a:cubicBezTo>
                      <a:pt x="496" y="39"/>
                      <a:pt x="496" y="39"/>
                      <a:pt x="496" y="39"/>
                    </a:cubicBezTo>
                    <a:cubicBezTo>
                      <a:pt x="496" y="38"/>
                      <a:pt x="495" y="37"/>
                      <a:pt x="495" y="37"/>
                    </a:cubicBezTo>
                    <a:cubicBezTo>
                      <a:pt x="487" y="29"/>
                      <a:pt x="487" y="29"/>
                      <a:pt x="487" y="29"/>
                    </a:cubicBezTo>
                    <a:cubicBezTo>
                      <a:pt x="487" y="29"/>
                      <a:pt x="487" y="29"/>
                      <a:pt x="487" y="29"/>
                    </a:cubicBezTo>
                    <a:cubicBezTo>
                      <a:pt x="485" y="28"/>
                      <a:pt x="484" y="27"/>
                      <a:pt x="482" y="26"/>
                    </a:cubicBezTo>
                    <a:cubicBezTo>
                      <a:pt x="481" y="25"/>
                      <a:pt x="481" y="25"/>
                      <a:pt x="481" y="25"/>
                    </a:cubicBezTo>
                    <a:cubicBezTo>
                      <a:pt x="481" y="25"/>
                      <a:pt x="481" y="25"/>
                      <a:pt x="481" y="25"/>
                    </a:cubicBezTo>
                    <a:cubicBezTo>
                      <a:pt x="480" y="24"/>
                      <a:pt x="480" y="24"/>
                      <a:pt x="479" y="24"/>
                    </a:cubicBezTo>
                    <a:cubicBezTo>
                      <a:pt x="479" y="23"/>
                      <a:pt x="478" y="23"/>
                      <a:pt x="478" y="22"/>
                    </a:cubicBezTo>
                    <a:cubicBezTo>
                      <a:pt x="477" y="22"/>
                      <a:pt x="477" y="22"/>
                      <a:pt x="477" y="22"/>
                    </a:cubicBezTo>
                    <a:cubicBezTo>
                      <a:pt x="477" y="21"/>
                      <a:pt x="477" y="21"/>
                      <a:pt x="477" y="21"/>
                    </a:cubicBezTo>
                    <a:cubicBezTo>
                      <a:pt x="475" y="19"/>
                      <a:pt x="474" y="19"/>
                      <a:pt x="472" y="19"/>
                    </a:cubicBezTo>
                    <a:cubicBezTo>
                      <a:pt x="472" y="19"/>
                      <a:pt x="472" y="19"/>
                      <a:pt x="472" y="19"/>
                    </a:cubicBezTo>
                    <a:cubicBezTo>
                      <a:pt x="472" y="19"/>
                      <a:pt x="471" y="19"/>
                      <a:pt x="471" y="21"/>
                    </a:cubicBezTo>
                    <a:cubicBezTo>
                      <a:pt x="470" y="24"/>
                      <a:pt x="470" y="24"/>
                      <a:pt x="470" y="24"/>
                    </a:cubicBezTo>
                    <a:cubicBezTo>
                      <a:pt x="467" y="23"/>
                      <a:pt x="467" y="23"/>
                      <a:pt x="467" y="23"/>
                    </a:cubicBezTo>
                    <a:cubicBezTo>
                      <a:pt x="463" y="23"/>
                      <a:pt x="460" y="22"/>
                      <a:pt x="457" y="22"/>
                    </a:cubicBezTo>
                    <a:cubicBezTo>
                      <a:pt x="454" y="22"/>
                      <a:pt x="454" y="22"/>
                      <a:pt x="454" y="22"/>
                    </a:cubicBezTo>
                    <a:cubicBezTo>
                      <a:pt x="453" y="22"/>
                      <a:pt x="453" y="22"/>
                      <a:pt x="452" y="22"/>
                    </a:cubicBezTo>
                    <a:cubicBezTo>
                      <a:pt x="451" y="22"/>
                      <a:pt x="450" y="22"/>
                      <a:pt x="449" y="22"/>
                    </a:cubicBezTo>
                    <a:cubicBezTo>
                      <a:pt x="449" y="22"/>
                      <a:pt x="449" y="22"/>
                      <a:pt x="449" y="22"/>
                    </a:cubicBezTo>
                    <a:cubicBezTo>
                      <a:pt x="447" y="22"/>
                      <a:pt x="446" y="22"/>
                      <a:pt x="445" y="22"/>
                    </a:cubicBezTo>
                    <a:cubicBezTo>
                      <a:pt x="444" y="22"/>
                      <a:pt x="442" y="22"/>
                      <a:pt x="441" y="21"/>
                    </a:cubicBezTo>
                    <a:cubicBezTo>
                      <a:pt x="443" y="26"/>
                      <a:pt x="443" y="26"/>
                      <a:pt x="443" y="26"/>
                    </a:cubicBezTo>
                    <a:cubicBezTo>
                      <a:pt x="439" y="22"/>
                      <a:pt x="439" y="22"/>
                      <a:pt x="439" y="22"/>
                    </a:cubicBezTo>
                    <a:cubicBezTo>
                      <a:pt x="428" y="26"/>
                      <a:pt x="428" y="26"/>
                      <a:pt x="428" y="26"/>
                    </a:cubicBezTo>
                    <a:cubicBezTo>
                      <a:pt x="426" y="27"/>
                      <a:pt x="425" y="28"/>
                      <a:pt x="423" y="28"/>
                    </a:cubicBezTo>
                    <a:cubicBezTo>
                      <a:pt x="421" y="29"/>
                      <a:pt x="418" y="29"/>
                      <a:pt x="417" y="30"/>
                    </a:cubicBezTo>
                    <a:cubicBezTo>
                      <a:pt x="414" y="33"/>
                      <a:pt x="409" y="34"/>
                      <a:pt x="405" y="36"/>
                    </a:cubicBezTo>
                    <a:cubicBezTo>
                      <a:pt x="403" y="37"/>
                      <a:pt x="402" y="37"/>
                      <a:pt x="399" y="37"/>
                    </a:cubicBezTo>
                    <a:cubicBezTo>
                      <a:pt x="399" y="37"/>
                      <a:pt x="399" y="37"/>
                      <a:pt x="399" y="37"/>
                    </a:cubicBezTo>
                    <a:cubicBezTo>
                      <a:pt x="398" y="37"/>
                      <a:pt x="397" y="37"/>
                      <a:pt x="397" y="37"/>
                    </a:cubicBezTo>
                    <a:cubicBezTo>
                      <a:pt x="396" y="36"/>
                      <a:pt x="396" y="36"/>
                      <a:pt x="395" y="36"/>
                    </a:cubicBezTo>
                    <a:cubicBezTo>
                      <a:pt x="395" y="36"/>
                      <a:pt x="395" y="36"/>
                      <a:pt x="394" y="36"/>
                    </a:cubicBezTo>
                    <a:cubicBezTo>
                      <a:pt x="394" y="36"/>
                      <a:pt x="393" y="36"/>
                      <a:pt x="393" y="36"/>
                    </a:cubicBezTo>
                    <a:cubicBezTo>
                      <a:pt x="389" y="36"/>
                      <a:pt x="385" y="34"/>
                      <a:pt x="382" y="33"/>
                    </a:cubicBezTo>
                    <a:cubicBezTo>
                      <a:pt x="381" y="32"/>
                      <a:pt x="380" y="32"/>
                      <a:pt x="380" y="32"/>
                    </a:cubicBezTo>
                    <a:cubicBezTo>
                      <a:pt x="379" y="32"/>
                      <a:pt x="378" y="32"/>
                      <a:pt x="376" y="33"/>
                    </a:cubicBezTo>
                    <a:cubicBezTo>
                      <a:pt x="376" y="33"/>
                      <a:pt x="375" y="33"/>
                      <a:pt x="375" y="33"/>
                    </a:cubicBezTo>
                    <a:cubicBezTo>
                      <a:pt x="374" y="33"/>
                      <a:pt x="374" y="33"/>
                      <a:pt x="374" y="33"/>
                    </a:cubicBezTo>
                    <a:cubicBezTo>
                      <a:pt x="373" y="33"/>
                      <a:pt x="373" y="33"/>
                      <a:pt x="372" y="33"/>
                    </a:cubicBezTo>
                    <a:cubicBezTo>
                      <a:pt x="372" y="33"/>
                      <a:pt x="371" y="33"/>
                      <a:pt x="370" y="33"/>
                    </a:cubicBezTo>
                    <a:cubicBezTo>
                      <a:pt x="364" y="35"/>
                      <a:pt x="357" y="38"/>
                      <a:pt x="350" y="38"/>
                    </a:cubicBezTo>
                    <a:cubicBezTo>
                      <a:pt x="350" y="38"/>
                      <a:pt x="350" y="38"/>
                      <a:pt x="350" y="38"/>
                    </a:cubicBezTo>
                    <a:cubicBezTo>
                      <a:pt x="343" y="38"/>
                      <a:pt x="335" y="34"/>
                      <a:pt x="328" y="33"/>
                    </a:cubicBezTo>
                    <a:cubicBezTo>
                      <a:pt x="319" y="32"/>
                      <a:pt x="314" y="29"/>
                      <a:pt x="306" y="23"/>
                    </a:cubicBezTo>
                    <a:cubicBezTo>
                      <a:pt x="306" y="23"/>
                      <a:pt x="305" y="23"/>
                      <a:pt x="305" y="23"/>
                    </a:cubicBezTo>
                    <a:cubicBezTo>
                      <a:pt x="303" y="23"/>
                      <a:pt x="297" y="26"/>
                      <a:pt x="295" y="26"/>
                    </a:cubicBezTo>
                    <a:cubicBezTo>
                      <a:pt x="295" y="26"/>
                      <a:pt x="295" y="26"/>
                      <a:pt x="295" y="26"/>
                    </a:cubicBezTo>
                    <a:cubicBezTo>
                      <a:pt x="292" y="26"/>
                      <a:pt x="288" y="21"/>
                      <a:pt x="287" y="19"/>
                    </a:cubicBezTo>
                    <a:cubicBezTo>
                      <a:pt x="285" y="16"/>
                      <a:pt x="285" y="11"/>
                      <a:pt x="281" y="11"/>
                    </a:cubicBezTo>
                    <a:cubicBezTo>
                      <a:pt x="281" y="11"/>
                      <a:pt x="280" y="11"/>
                      <a:pt x="279" y="11"/>
                    </a:cubicBezTo>
                    <a:cubicBezTo>
                      <a:pt x="276" y="12"/>
                      <a:pt x="273" y="13"/>
                      <a:pt x="270" y="13"/>
                    </a:cubicBezTo>
                    <a:cubicBezTo>
                      <a:pt x="269" y="13"/>
                      <a:pt x="269" y="13"/>
                      <a:pt x="268" y="13"/>
                    </a:cubicBezTo>
                    <a:cubicBezTo>
                      <a:pt x="264" y="12"/>
                      <a:pt x="261" y="9"/>
                      <a:pt x="258" y="6"/>
                    </a:cubicBezTo>
                    <a:cubicBezTo>
                      <a:pt x="257" y="4"/>
                      <a:pt x="257" y="0"/>
                      <a:pt x="259" y="0"/>
                    </a:cubicBezTo>
                    <a:cubicBezTo>
                      <a:pt x="259" y="0"/>
                      <a:pt x="260" y="0"/>
                      <a:pt x="260" y="1"/>
                    </a:cubicBezTo>
                    <a:cubicBezTo>
                      <a:pt x="259" y="0"/>
                      <a:pt x="258" y="0"/>
                      <a:pt x="2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20" name="Freeform 248">
                <a:extLst>
                  <a:ext uri="{FF2B5EF4-FFF2-40B4-BE49-F238E27FC236}">
                    <a16:creationId xmlns:a16="http://schemas.microsoft.com/office/drawing/2014/main" id="{3805BDA5-B34A-4903-B26D-8C61C59E4522}"/>
                  </a:ext>
                </a:extLst>
              </p:cNvPr>
              <p:cNvSpPr>
                <a:spLocks/>
              </p:cNvSpPr>
              <p:nvPr/>
            </p:nvSpPr>
            <p:spPr bwMode="auto">
              <a:xfrm>
                <a:off x="7528691" y="5678764"/>
                <a:ext cx="117924" cy="136349"/>
              </a:xfrm>
              <a:custGeom>
                <a:avLst/>
                <a:gdLst>
                  <a:gd name="T0" fmla="*/ 22 w 37"/>
                  <a:gd name="T1" fmla="*/ 0 h 42"/>
                  <a:gd name="T2" fmla="*/ 20 w 37"/>
                  <a:gd name="T3" fmla="*/ 2 h 42"/>
                  <a:gd name="T4" fmla="*/ 15 w 37"/>
                  <a:gd name="T5" fmla="*/ 6 h 42"/>
                  <a:gd name="T6" fmla="*/ 11 w 37"/>
                  <a:gd name="T7" fmla="*/ 20 h 42"/>
                  <a:gd name="T8" fmla="*/ 8 w 37"/>
                  <a:gd name="T9" fmla="*/ 25 h 42"/>
                  <a:gd name="T10" fmla="*/ 5 w 37"/>
                  <a:gd name="T11" fmla="*/ 31 h 42"/>
                  <a:gd name="T12" fmla="*/ 0 w 37"/>
                  <a:gd name="T13" fmla="*/ 42 h 42"/>
                  <a:gd name="T14" fmla="*/ 2 w 37"/>
                  <a:gd name="T15" fmla="*/ 42 h 42"/>
                  <a:gd name="T16" fmla="*/ 5 w 37"/>
                  <a:gd name="T17" fmla="*/ 42 h 42"/>
                  <a:gd name="T18" fmla="*/ 9 w 37"/>
                  <a:gd name="T19" fmla="*/ 40 h 42"/>
                  <a:gd name="T20" fmla="*/ 11 w 37"/>
                  <a:gd name="T21" fmla="*/ 37 h 42"/>
                  <a:gd name="T22" fmla="*/ 13 w 37"/>
                  <a:gd name="T23" fmla="*/ 36 h 42"/>
                  <a:gd name="T24" fmla="*/ 15 w 37"/>
                  <a:gd name="T25" fmla="*/ 34 h 42"/>
                  <a:gd name="T26" fmla="*/ 15 w 37"/>
                  <a:gd name="T27" fmla="*/ 34 h 42"/>
                  <a:gd name="T28" fmla="*/ 17 w 37"/>
                  <a:gd name="T29" fmla="*/ 33 h 42"/>
                  <a:gd name="T30" fmla="*/ 20 w 37"/>
                  <a:gd name="T31" fmla="*/ 30 h 42"/>
                  <a:gd name="T32" fmla="*/ 20 w 37"/>
                  <a:gd name="T33" fmla="*/ 30 h 42"/>
                  <a:gd name="T34" fmla="*/ 19 w 37"/>
                  <a:gd name="T35" fmla="*/ 27 h 42"/>
                  <a:gd name="T36" fmla="*/ 25 w 37"/>
                  <a:gd name="T37" fmla="*/ 19 h 42"/>
                  <a:gd name="T38" fmla="*/ 29 w 37"/>
                  <a:gd name="T39" fmla="*/ 18 h 42"/>
                  <a:gd name="T40" fmla="*/ 36 w 37"/>
                  <a:gd name="T41" fmla="*/ 10 h 42"/>
                  <a:gd name="T42" fmla="*/ 37 w 37"/>
                  <a:gd name="T43" fmla="*/ 9 h 42"/>
                  <a:gd name="T44" fmla="*/ 36 w 37"/>
                  <a:gd name="T45" fmla="*/ 8 h 42"/>
                  <a:gd name="T46" fmla="*/ 35 w 37"/>
                  <a:gd name="T47" fmla="*/ 7 h 42"/>
                  <a:gd name="T48" fmla="*/ 33 w 37"/>
                  <a:gd name="T49" fmla="*/ 4 h 42"/>
                  <a:gd name="T50" fmla="*/ 28 w 37"/>
                  <a:gd name="T51" fmla="*/ 3 h 42"/>
                  <a:gd name="T52" fmla="*/ 30 w 37"/>
                  <a:gd name="T53" fmla="*/ 0 h 42"/>
                  <a:gd name="T54" fmla="*/ 26 w 37"/>
                  <a:gd name="T55" fmla="*/ 0 h 42"/>
                  <a:gd name="T56" fmla="*/ 22 w 37"/>
                  <a:gd name="T5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42">
                    <a:moveTo>
                      <a:pt x="22" y="0"/>
                    </a:moveTo>
                    <a:cubicBezTo>
                      <a:pt x="22" y="0"/>
                      <a:pt x="21" y="1"/>
                      <a:pt x="20" y="2"/>
                    </a:cubicBezTo>
                    <a:cubicBezTo>
                      <a:pt x="19" y="3"/>
                      <a:pt x="16" y="4"/>
                      <a:pt x="15" y="6"/>
                    </a:cubicBezTo>
                    <a:cubicBezTo>
                      <a:pt x="13" y="11"/>
                      <a:pt x="13" y="15"/>
                      <a:pt x="11" y="20"/>
                    </a:cubicBezTo>
                    <a:cubicBezTo>
                      <a:pt x="9" y="22"/>
                      <a:pt x="9" y="22"/>
                      <a:pt x="8" y="25"/>
                    </a:cubicBezTo>
                    <a:cubicBezTo>
                      <a:pt x="7" y="27"/>
                      <a:pt x="6" y="29"/>
                      <a:pt x="5" y="31"/>
                    </a:cubicBezTo>
                    <a:cubicBezTo>
                      <a:pt x="3" y="35"/>
                      <a:pt x="2" y="38"/>
                      <a:pt x="0" y="42"/>
                    </a:cubicBezTo>
                    <a:cubicBezTo>
                      <a:pt x="2" y="42"/>
                      <a:pt x="2" y="42"/>
                      <a:pt x="2" y="42"/>
                    </a:cubicBezTo>
                    <a:cubicBezTo>
                      <a:pt x="4" y="42"/>
                      <a:pt x="5" y="42"/>
                      <a:pt x="5" y="42"/>
                    </a:cubicBezTo>
                    <a:cubicBezTo>
                      <a:pt x="8" y="42"/>
                      <a:pt x="8" y="42"/>
                      <a:pt x="9" y="40"/>
                    </a:cubicBezTo>
                    <a:cubicBezTo>
                      <a:pt x="11" y="37"/>
                      <a:pt x="11" y="37"/>
                      <a:pt x="11" y="37"/>
                    </a:cubicBezTo>
                    <a:cubicBezTo>
                      <a:pt x="12" y="37"/>
                      <a:pt x="12" y="36"/>
                      <a:pt x="13" y="36"/>
                    </a:cubicBezTo>
                    <a:cubicBezTo>
                      <a:pt x="15" y="34"/>
                      <a:pt x="15" y="34"/>
                      <a:pt x="15" y="34"/>
                    </a:cubicBezTo>
                    <a:cubicBezTo>
                      <a:pt x="15" y="34"/>
                      <a:pt x="15" y="34"/>
                      <a:pt x="15" y="34"/>
                    </a:cubicBezTo>
                    <a:cubicBezTo>
                      <a:pt x="16" y="34"/>
                      <a:pt x="17" y="33"/>
                      <a:pt x="17" y="33"/>
                    </a:cubicBezTo>
                    <a:cubicBezTo>
                      <a:pt x="19" y="32"/>
                      <a:pt x="20" y="31"/>
                      <a:pt x="20" y="30"/>
                    </a:cubicBezTo>
                    <a:cubicBezTo>
                      <a:pt x="20" y="30"/>
                      <a:pt x="20" y="30"/>
                      <a:pt x="20" y="30"/>
                    </a:cubicBezTo>
                    <a:cubicBezTo>
                      <a:pt x="20" y="29"/>
                      <a:pt x="20" y="28"/>
                      <a:pt x="19" y="27"/>
                    </a:cubicBezTo>
                    <a:cubicBezTo>
                      <a:pt x="19" y="24"/>
                      <a:pt x="21" y="21"/>
                      <a:pt x="25" y="19"/>
                    </a:cubicBezTo>
                    <a:cubicBezTo>
                      <a:pt x="26" y="18"/>
                      <a:pt x="27" y="18"/>
                      <a:pt x="29" y="18"/>
                    </a:cubicBezTo>
                    <a:cubicBezTo>
                      <a:pt x="30" y="14"/>
                      <a:pt x="34" y="12"/>
                      <a:pt x="36" y="10"/>
                    </a:cubicBezTo>
                    <a:cubicBezTo>
                      <a:pt x="37" y="9"/>
                      <a:pt x="37" y="9"/>
                      <a:pt x="37" y="9"/>
                    </a:cubicBezTo>
                    <a:cubicBezTo>
                      <a:pt x="36" y="8"/>
                      <a:pt x="36" y="8"/>
                      <a:pt x="36" y="8"/>
                    </a:cubicBezTo>
                    <a:cubicBezTo>
                      <a:pt x="36" y="8"/>
                      <a:pt x="36" y="7"/>
                      <a:pt x="35" y="7"/>
                    </a:cubicBezTo>
                    <a:cubicBezTo>
                      <a:pt x="35" y="5"/>
                      <a:pt x="35" y="5"/>
                      <a:pt x="33" y="4"/>
                    </a:cubicBezTo>
                    <a:cubicBezTo>
                      <a:pt x="28" y="3"/>
                      <a:pt x="28" y="3"/>
                      <a:pt x="28" y="3"/>
                    </a:cubicBezTo>
                    <a:cubicBezTo>
                      <a:pt x="30" y="0"/>
                      <a:pt x="30" y="0"/>
                      <a:pt x="30" y="0"/>
                    </a:cubicBezTo>
                    <a:cubicBezTo>
                      <a:pt x="29" y="0"/>
                      <a:pt x="27" y="0"/>
                      <a:pt x="26" y="0"/>
                    </a:cubicBezTo>
                    <a:cubicBezTo>
                      <a:pt x="25" y="0"/>
                      <a:pt x="23"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21" name="Freeform 249">
                <a:extLst>
                  <a:ext uri="{FF2B5EF4-FFF2-40B4-BE49-F238E27FC236}">
                    <a16:creationId xmlns:a16="http://schemas.microsoft.com/office/drawing/2014/main" id="{56F8D856-227F-4310-94F8-227EEE7EA649}"/>
                  </a:ext>
                </a:extLst>
              </p:cNvPr>
              <p:cNvSpPr>
                <a:spLocks/>
              </p:cNvSpPr>
              <p:nvPr/>
            </p:nvSpPr>
            <p:spPr bwMode="auto">
              <a:xfrm>
                <a:off x="8298881" y="4985962"/>
                <a:ext cx="243218" cy="232162"/>
              </a:xfrm>
              <a:custGeom>
                <a:avLst/>
                <a:gdLst>
                  <a:gd name="T0" fmla="*/ 37 w 77"/>
                  <a:gd name="T1" fmla="*/ 0 h 74"/>
                  <a:gd name="T2" fmla="*/ 33 w 77"/>
                  <a:gd name="T3" fmla="*/ 2 h 74"/>
                  <a:gd name="T4" fmla="*/ 29 w 77"/>
                  <a:gd name="T5" fmla="*/ 2 h 74"/>
                  <a:gd name="T6" fmla="*/ 26 w 77"/>
                  <a:gd name="T7" fmla="*/ 2 h 74"/>
                  <a:gd name="T8" fmla="*/ 17 w 77"/>
                  <a:gd name="T9" fmla="*/ 3 h 74"/>
                  <a:gd name="T10" fmla="*/ 1 w 77"/>
                  <a:gd name="T11" fmla="*/ 6 h 74"/>
                  <a:gd name="T12" fmla="*/ 2 w 77"/>
                  <a:gd name="T13" fmla="*/ 8 h 74"/>
                  <a:gd name="T14" fmla="*/ 2 w 77"/>
                  <a:gd name="T15" fmla="*/ 9 h 74"/>
                  <a:gd name="T16" fmla="*/ 3 w 77"/>
                  <a:gd name="T17" fmla="*/ 12 h 74"/>
                  <a:gd name="T18" fmla="*/ 3 w 77"/>
                  <a:gd name="T19" fmla="*/ 15 h 74"/>
                  <a:gd name="T20" fmla="*/ 2 w 77"/>
                  <a:gd name="T21" fmla="*/ 22 h 74"/>
                  <a:gd name="T22" fmla="*/ 0 w 77"/>
                  <a:gd name="T23" fmla="*/ 24 h 74"/>
                  <a:gd name="T24" fmla="*/ 3 w 77"/>
                  <a:gd name="T25" fmla="*/ 30 h 74"/>
                  <a:gd name="T26" fmla="*/ 7 w 77"/>
                  <a:gd name="T27" fmla="*/ 35 h 74"/>
                  <a:gd name="T28" fmla="*/ 9 w 77"/>
                  <a:gd name="T29" fmla="*/ 35 h 74"/>
                  <a:gd name="T30" fmla="*/ 27 w 77"/>
                  <a:gd name="T31" fmla="*/ 41 h 74"/>
                  <a:gd name="T32" fmla="*/ 34 w 77"/>
                  <a:gd name="T33" fmla="*/ 45 h 74"/>
                  <a:gd name="T34" fmla="*/ 40 w 77"/>
                  <a:gd name="T35" fmla="*/ 43 h 74"/>
                  <a:gd name="T36" fmla="*/ 46 w 77"/>
                  <a:gd name="T37" fmla="*/ 48 h 74"/>
                  <a:gd name="T38" fmla="*/ 47 w 77"/>
                  <a:gd name="T39" fmla="*/ 50 h 74"/>
                  <a:gd name="T40" fmla="*/ 50 w 77"/>
                  <a:gd name="T41" fmla="*/ 52 h 74"/>
                  <a:gd name="T42" fmla="*/ 52 w 77"/>
                  <a:gd name="T43" fmla="*/ 52 h 74"/>
                  <a:gd name="T44" fmla="*/ 59 w 77"/>
                  <a:gd name="T45" fmla="*/ 49 h 74"/>
                  <a:gd name="T46" fmla="*/ 62 w 77"/>
                  <a:gd name="T47" fmla="*/ 57 h 74"/>
                  <a:gd name="T48" fmla="*/ 64 w 77"/>
                  <a:gd name="T49" fmla="*/ 59 h 74"/>
                  <a:gd name="T50" fmla="*/ 68 w 77"/>
                  <a:gd name="T51" fmla="*/ 62 h 74"/>
                  <a:gd name="T52" fmla="*/ 73 w 77"/>
                  <a:gd name="T53" fmla="*/ 74 h 74"/>
                  <a:gd name="T54" fmla="*/ 76 w 77"/>
                  <a:gd name="T55" fmla="*/ 73 h 74"/>
                  <a:gd name="T56" fmla="*/ 77 w 77"/>
                  <a:gd name="T57" fmla="*/ 73 h 74"/>
                  <a:gd name="T58" fmla="*/ 76 w 77"/>
                  <a:gd name="T59" fmla="*/ 71 h 74"/>
                  <a:gd name="T60" fmla="*/ 75 w 77"/>
                  <a:gd name="T61" fmla="*/ 68 h 74"/>
                  <a:gd name="T62" fmla="*/ 74 w 77"/>
                  <a:gd name="T63" fmla="*/ 60 h 74"/>
                  <a:gd name="T64" fmla="*/ 54 w 77"/>
                  <a:gd name="T65" fmla="*/ 45 h 74"/>
                  <a:gd name="T66" fmla="*/ 53 w 77"/>
                  <a:gd name="T67" fmla="*/ 37 h 74"/>
                  <a:gd name="T68" fmla="*/ 59 w 77"/>
                  <a:gd name="T69" fmla="*/ 36 h 74"/>
                  <a:gd name="T70" fmla="*/ 60 w 77"/>
                  <a:gd name="T71" fmla="*/ 35 h 74"/>
                  <a:gd name="T72" fmla="*/ 57 w 77"/>
                  <a:gd name="T73" fmla="*/ 31 h 74"/>
                  <a:gd name="T74" fmla="*/ 52 w 77"/>
                  <a:gd name="T75" fmla="*/ 27 h 74"/>
                  <a:gd name="T76" fmla="*/ 49 w 77"/>
                  <a:gd name="T77" fmla="*/ 12 h 74"/>
                  <a:gd name="T78" fmla="*/ 50 w 77"/>
                  <a:gd name="T79" fmla="*/ 11 h 74"/>
                  <a:gd name="T80" fmla="*/ 47 w 77"/>
                  <a:gd name="T81" fmla="*/ 9 h 74"/>
                  <a:gd name="T82" fmla="*/ 41 w 77"/>
                  <a:gd name="T83" fmla="*/ 7 h 74"/>
                  <a:gd name="T84" fmla="*/ 31 w 77"/>
                  <a:gd name="T85" fmla="*/ 10 h 74"/>
                  <a:gd name="T86" fmla="*/ 38 w 77"/>
                  <a:gd name="T87" fmla="*/ 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7" h="74">
                    <a:moveTo>
                      <a:pt x="37" y="0"/>
                    </a:moveTo>
                    <a:cubicBezTo>
                      <a:pt x="37" y="0"/>
                      <a:pt x="37" y="0"/>
                      <a:pt x="37" y="0"/>
                    </a:cubicBezTo>
                    <a:cubicBezTo>
                      <a:pt x="36" y="1"/>
                      <a:pt x="36" y="1"/>
                      <a:pt x="36" y="1"/>
                    </a:cubicBezTo>
                    <a:cubicBezTo>
                      <a:pt x="35" y="1"/>
                      <a:pt x="34" y="1"/>
                      <a:pt x="33" y="2"/>
                    </a:cubicBezTo>
                    <a:cubicBezTo>
                      <a:pt x="32" y="2"/>
                      <a:pt x="32" y="2"/>
                      <a:pt x="32" y="2"/>
                    </a:cubicBezTo>
                    <a:cubicBezTo>
                      <a:pt x="31" y="2"/>
                      <a:pt x="30" y="2"/>
                      <a:pt x="29" y="2"/>
                    </a:cubicBezTo>
                    <a:cubicBezTo>
                      <a:pt x="29" y="2"/>
                      <a:pt x="29" y="2"/>
                      <a:pt x="29" y="2"/>
                    </a:cubicBezTo>
                    <a:cubicBezTo>
                      <a:pt x="27" y="2"/>
                      <a:pt x="27" y="2"/>
                      <a:pt x="26" y="2"/>
                    </a:cubicBezTo>
                    <a:cubicBezTo>
                      <a:pt x="24" y="2"/>
                      <a:pt x="23" y="2"/>
                      <a:pt x="22" y="2"/>
                    </a:cubicBezTo>
                    <a:cubicBezTo>
                      <a:pt x="20" y="2"/>
                      <a:pt x="19" y="2"/>
                      <a:pt x="17" y="3"/>
                    </a:cubicBezTo>
                    <a:cubicBezTo>
                      <a:pt x="11" y="3"/>
                      <a:pt x="6" y="4"/>
                      <a:pt x="0" y="5"/>
                    </a:cubicBezTo>
                    <a:cubicBezTo>
                      <a:pt x="1" y="5"/>
                      <a:pt x="1" y="6"/>
                      <a:pt x="1" y="6"/>
                    </a:cubicBezTo>
                    <a:cubicBezTo>
                      <a:pt x="1" y="7"/>
                      <a:pt x="2" y="7"/>
                      <a:pt x="2" y="7"/>
                    </a:cubicBezTo>
                    <a:cubicBezTo>
                      <a:pt x="2" y="8"/>
                      <a:pt x="2" y="8"/>
                      <a:pt x="2" y="8"/>
                    </a:cubicBezTo>
                    <a:cubicBezTo>
                      <a:pt x="8" y="6"/>
                      <a:pt x="8" y="6"/>
                      <a:pt x="8" y="6"/>
                    </a:cubicBezTo>
                    <a:cubicBezTo>
                      <a:pt x="2" y="9"/>
                      <a:pt x="2" y="9"/>
                      <a:pt x="2" y="9"/>
                    </a:cubicBezTo>
                    <a:cubicBezTo>
                      <a:pt x="2" y="10"/>
                      <a:pt x="2" y="10"/>
                      <a:pt x="2" y="10"/>
                    </a:cubicBezTo>
                    <a:cubicBezTo>
                      <a:pt x="3" y="10"/>
                      <a:pt x="3" y="11"/>
                      <a:pt x="3" y="12"/>
                    </a:cubicBezTo>
                    <a:cubicBezTo>
                      <a:pt x="3" y="13"/>
                      <a:pt x="3" y="13"/>
                      <a:pt x="3" y="13"/>
                    </a:cubicBezTo>
                    <a:cubicBezTo>
                      <a:pt x="3" y="14"/>
                      <a:pt x="3" y="15"/>
                      <a:pt x="3" y="15"/>
                    </a:cubicBezTo>
                    <a:cubicBezTo>
                      <a:pt x="4" y="19"/>
                      <a:pt x="4" y="19"/>
                      <a:pt x="4" y="19"/>
                    </a:cubicBezTo>
                    <a:cubicBezTo>
                      <a:pt x="4" y="21"/>
                      <a:pt x="3" y="22"/>
                      <a:pt x="2" y="22"/>
                    </a:cubicBezTo>
                    <a:cubicBezTo>
                      <a:pt x="2" y="23"/>
                      <a:pt x="1" y="24"/>
                      <a:pt x="1" y="24"/>
                    </a:cubicBezTo>
                    <a:cubicBezTo>
                      <a:pt x="0" y="24"/>
                      <a:pt x="0" y="24"/>
                      <a:pt x="0" y="24"/>
                    </a:cubicBezTo>
                    <a:cubicBezTo>
                      <a:pt x="1" y="25"/>
                      <a:pt x="1" y="26"/>
                      <a:pt x="1" y="27"/>
                    </a:cubicBezTo>
                    <a:cubicBezTo>
                      <a:pt x="3" y="29"/>
                      <a:pt x="3" y="30"/>
                      <a:pt x="3" y="30"/>
                    </a:cubicBezTo>
                    <a:cubicBezTo>
                      <a:pt x="4" y="31"/>
                      <a:pt x="3" y="33"/>
                      <a:pt x="3" y="34"/>
                    </a:cubicBezTo>
                    <a:cubicBezTo>
                      <a:pt x="5" y="34"/>
                      <a:pt x="6" y="35"/>
                      <a:pt x="7" y="35"/>
                    </a:cubicBezTo>
                    <a:cubicBezTo>
                      <a:pt x="8" y="35"/>
                      <a:pt x="8" y="35"/>
                      <a:pt x="8" y="35"/>
                    </a:cubicBezTo>
                    <a:cubicBezTo>
                      <a:pt x="8" y="35"/>
                      <a:pt x="8" y="35"/>
                      <a:pt x="9" y="35"/>
                    </a:cubicBezTo>
                    <a:cubicBezTo>
                      <a:pt x="10" y="35"/>
                      <a:pt x="12" y="35"/>
                      <a:pt x="14" y="35"/>
                    </a:cubicBezTo>
                    <a:cubicBezTo>
                      <a:pt x="21" y="36"/>
                      <a:pt x="22" y="37"/>
                      <a:pt x="27" y="41"/>
                    </a:cubicBezTo>
                    <a:cubicBezTo>
                      <a:pt x="32" y="46"/>
                      <a:pt x="32" y="46"/>
                      <a:pt x="32" y="46"/>
                    </a:cubicBezTo>
                    <a:cubicBezTo>
                      <a:pt x="33" y="46"/>
                      <a:pt x="33" y="45"/>
                      <a:pt x="34" y="45"/>
                    </a:cubicBezTo>
                    <a:cubicBezTo>
                      <a:pt x="36" y="45"/>
                      <a:pt x="37" y="44"/>
                      <a:pt x="38" y="44"/>
                    </a:cubicBezTo>
                    <a:cubicBezTo>
                      <a:pt x="40" y="43"/>
                      <a:pt x="40" y="43"/>
                      <a:pt x="40" y="43"/>
                    </a:cubicBezTo>
                    <a:cubicBezTo>
                      <a:pt x="43" y="46"/>
                      <a:pt x="43" y="46"/>
                      <a:pt x="43" y="46"/>
                    </a:cubicBezTo>
                    <a:cubicBezTo>
                      <a:pt x="44" y="46"/>
                      <a:pt x="45" y="47"/>
                      <a:pt x="46" y="48"/>
                    </a:cubicBezTo>
                    <a:cubicBezTo>
                      <a:pt x="46" y="49"/>
                      <a:pt x="46" y="49"/>
                      <a:pt x="46" y="49"/>
                    </a:cubicBezTo>
                    <a:cubicBezTo>
                      <a:pt x="46" y="49"/>
                      <a:pt x="47" y="50"/>
                      <a:pt x="47" y="50"/>
                    </a:cubicBezTo>
                    <a:cubicBezTo>
                      <a:pt x="47" y="50"/>
                      <a:pt x="48" y="51"/>
                      <a:pt x="49" y="51"/>
                    </a:cubicBezTo>
                    <a:cubicBezTo>
                      <a:pt x="49" y="52"/>
                      <a:pt x="50" y="52"/>
                      <a:pt x="50" y="52"/>
                    </a:cubicBezTo>
                    <a:cubicBezTo>
                      <a:pt x="51" y="52"/>
                      <a:pt x="51" y="52"/>
                      <a:pt x="51" y="52"/>
                    </a:cubicBezTo>
                    <a:cubicBezTo>
                      <a:pt x="52" y="52"/>
                      <a:pt x="52" y="52"/>
                      <a:pt x="52" y="52"/>
                    </a:cubicBezTo>
                    <a:cubicBezTo>
                      <a:pt x="52" y="52"/>
                      <a:pt x="54" y="52"/>
                      <a:pt x="54" y="51"/>
                    </a:cubicBezTo>
                    <a:cubicBezTo>
                      <a:pt x="59" y="49"/>
                      <a:pt x="59" y="49"/>
                      <a:pt x="59" y="49"/>
                    </a:cubicBezTo>
                    <a:cubicBezTo>
                      <a:pt x="61" y="53"/>
                      <a:pt x="61" y="53"/>
                      <a:pt x="61" y="53"/>
                    </a:cubicBezTo>
                    <a:cubicBezTo>
                      <a:pt x="61" y="54"/>
                      <a:pt x="62" y="56"/>
                      <a:pt x="62" y="57"/>
                    </a:cubicBezTo>
                    <a:cubicBezTo>
                      <a:pt x="62" y="58"/>
                      <a:pt x="62" y="58"/>
                      <a:pt x="62" y="58"/>
                    </a:cubicBezTo>
                    <a:cubicBezTo>
                      <a:pt x="63" y="59"/>
                      <a:pt x="63" y="59"/>
                      <a:pt x="64" y="59"/>
                    </a:cubicBezTo>
                    <a:cubicBezTo>
                      <a:pt x="64" y="59"/>
                      <a:pt x="64" y="59"/>
                      <a:pt x="64" y="59"/>
                    </a:cubicBezTo>
                    <a:cubicBezTo>
                      <a:pt x="66" y="60"/>
                      <a:pt x="67" y="61"/>
                      <a:pt x="68" y="62"/>
                    </a:cubicBezTo>
                    <a:cubicBezTo>
                      <a:pt x="70" y="65"/>
                      <a:pt x="72" y="69"/>
                      <a:pt x="73" y="73"/>
                    </a:cubicBezTo>
                    <a:cubicBezTo>
                      <a:pt x="73" y="74"/>
                      <a:pt x="73" y="74"/>
                      <a:pt x="73" y="74"/>
                    </a:cubicBezTo>
                    <a:cubicBezTo>
                      <a:pt x="73" y="74"/>
                      <a:pt x="73" y="74"/>
                      <a:pt x="73" y="74"/>
                    </a:cubicBezTo>
                    <a:cubicBezTo>
                      <a:pt x="74" y="74"/>
                      <a:pt x="75" y="73"/>
                      <a:pt x="76" y="73"/>
                    </a:cubicBezTo>
                    <a:cubicBezTo>
                      <a:pt x="77" y="73"/>
                      <a:pt x="77" y="73"/>
                      <a:pt x="77" y="73"/>
                    </a:cubicBezTo>
                    <a:cubicBezTo>
                      <a:pt x="77" y="73"/>
                      <a:pt x="77" y="73"/>
                      <a:pt x="77" y="73"/>
                    </a:cubicBezTo>
                    <a:cubicBezTo>
                      <a:pt x="77" y="72"/>
                      <a:pt x="77" y="72"/>
                      <a:pt x="76" y="71"/>
                    </a:cubicBezTo>
                    <a:cubicBezTo>
                      <a:pt x="76" y="71"/>
                      <a:pt x="76" y="71"/>
                      <a:pt x="76" y="71"/>
                    </a:cubicBezTo>
                    <a:cubicBezTo>
                      <a:pt x="75" y="70"/>
                      <a:pt x="75" y="70"/>
                      <a:pt x="75" y="70"/>
                    </a:cubicBezTo>
                    <a:cubicBezTo>
                      <a:pt x="75" y="68"/>
                      <a:pt x="75" y="68"/>
                      <a:pt x="75" y="68"/>
                    </a:cubicBezTo>
                    <a:cubicBezTo>
                      <a:pt x="74" y="66"/>
                      <a:pt x="75" y="65"/>
                      <a:pt x="76" y="64"/>
                    </a:cubicBezTo>
                    <a:cubicBezTo>
                      <a:pt x="75" y="63"/>
                      <a:pt x="74" y="62"/>
                      <a:pt x="74" y="60"/>
                    </a:cubicBezTo>
                    <a:cubicBezTo>
                      <a:pt x="74" y="59"/>
                      <a:pt x="74" y="58"/>
                      <a:pt x="75" y="58"/>
                    </a:cubicBezTo>
                    <a:cubicBezTo>
                      <a:pt x="68" y="53"/>
                      <a:pt x="61" y="49"/>
                      <a:pt x="54" y="45"/>
                    </a:cubicBezTo>
                    <a:cubicBezTo>
                      <a:pt x="45" y="39"/>
                      <a:pt x="45" y="39"/>
                      <a:pt x="45" y="39"/>
                    </a:cubicBezTo>
                    <a:cubicBezTo>
                      <a:pt x="53" y="37"/>
                      <a:pt x="53" y="37"/>
                      <a:pt x="53" y="37"/>
                    </a:cubicBezTo>
                    <a:cubicBezTo>
                      <a:pt x="54" y="37"/>
                      <a:pt x="55" y="37"/>
                      <a:pt x="56" y="36"/>
                    </a:cubicBezTo>
                    <a:cubicBezTo>
                      <a:pt x="58" y="36"/>
                      <a:pt x="59" y="36"/>
                      <a:pt x="59" y="36"/>
                    </a:cubicBezTo>
                    <a:cubicBezTo>
                      <a:pt x="59" y="36"/>
                      <a:pt x="59" y="36"/>
                      <a:pt x="59" y="36"/>
                    </a:cubicBezTo>
                    <a:cubicBezTo>
                      <a:pt x="60" y="35"/>
                      <a:pt x="60" y="35"/>
                      <a:pt x="60" y="35"/>
                    </a:cubicBezTo>
                    <a:cubicBezTo>
                      <a:pt x="60" y="34"/>
                      <a:pt x="60" y="33"/>
                      <a:pt x="60" y="33"/>
                    </a:cubicBezTo>
                    <a:cubicBezTo>
                      <a:pt x="59" y="32"/>
                      <a:pt x="58" y="31"/>
                      <a:pt x="57" y="31"/>
                    </a:cubicBezTo>
                    <a:cubicBezTo>
                      <a:pt x="54" y="28"/>
                      <a:pt x="54" y="28"/>
                      <a:pt x="54" y="28"/>
                    </a:cubicBezTo>
                    <a:cubicBezTo>
                      <a:pt x="53" y="28"/>
                      <a:pt x="53" y="27"/>
                      <a:pt x="52" y="27"/>
                    </a:cubicBezTo>
                    <a:cubicBezTo>
                      <a:pt x="49" y="24"/>
                      <a:pt x="44" y="21"/>
                      <a:pt x="46" y="15"/>
                    </a:cubicBezTo>
                    <a:cubicBezTo>
                      <a:pt x="47" y="13"/>
                      <a:pt x="48" y="13"/>
                      <a:pt x="49" y="12"/>
                    </a:cubicBezTo>
                    <a:cubicBezTo>
                      <a:pt x="49" y="12"/>
                      <a:pt x="50" y="12"/>
                      <a:pt x="50" y="11"/>
                    </a:cubicBezTo>
                    <a:cubicBezTo>
                      <a:pt x="50" y="11"/>
                      <a:pt x="50" y="11"/>
                      <a:pt x="50" y="11"/>
                    </a:cubicBezTo>
                    <a:cubicBezTo>
                      <a:pt x="50" y="11"/>
                      <a:pt x="50" y="11"/>
                      <a:pt x="49" y="10"/>
                    </a:cubicBezTo>
                    <a:cubicBezTo>
                      <a:pt x="49" y="10"/>
                      <a:pt x="48" y="10"/>
                      <a:pt x="47" y="9"/>
                    </a:cubicBezTo>
                    <a:cubicBezTo>
                      <a:pt x="45" y="8"/>
                      <a:pt x="43" y="7"/>
                      <a:pt x="42" y="7"/>
                    </a:cubicBezTo>
                    <a:cubicBezTo>
                      <a:pt x="41" y="7"/>
                      <a:pt x="41" y="7"/>
                      <a:pt x="41" y="7"/>
                    </a:cubicBezTo>
                    <a:cubicBezTo>
                      <a:pt x="41" y="7"/>
                      <a:pt x="41" y="7"/>
                      <a:pt x="41" y="7"/>
                    </a:cubicBezTo>
                    <a:cubicBezTo>
                      <a:pt x="31" y="10"/>
                      <a:pt x="31" y="10"/>
                      <a:pt x="31" y="10"/>
                    </a:cubicBezTo>
                    <a:cubicBezTo>
                      <a:pt x="37" y="2"/>
                      <a:pt x="37" y="2"/>
                      <a:pt x="37" y="2"/>
                    </a:cubicBezTo>
                    <a:cubicBezTo>
                      <a:pt x="38" y="1"/>
                      <a:pt x="38" y="1"/>
                      <a:pt x="38" y="1"/>
                    </a:cubicBezTo>
                    <a:cubicBezTo>
                      <a:pt x="38" y="1"/>
                      <a:pt x="38" y="0"/>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22" name="Rectangle 250">
                <a:extLst>
                  <a:ext uri="{FF2B5EF4-FFF2-40B4-BE49-F238E27FC236}">
                    <a16:creationId xmlns:a16="http://schemas.microsoft.com/office/drawing/2014/main" id="{456F9154-5F1F-436B-AEEC-DB4A790D56D9}"/>
                  </a:ext>
                </a:extLst>
              </p:cNvPr>
              <p:cNvSpPr>
                <a:spLocks noChangeArrowheads="1"/>
              </p:cNvSpPr>
              <p:nvPr/>
            </p:nvSpPr>
            <p:spPr bwMode="auto">
              <a:xfrm>
                <a:off x="8542098" y="5207069"/>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23" name="Freeform 251">
                <a:extLst>
                  <a:ext uri="{FF2B5EF4-FFF2-40B4-BE49-F238E27FC236}">
                    <a16:creationId xmlns:a16="http://schemas.microsoft.com/office/drawing/2014/main" id="{950BBADB-62DE-4119-9807-F97B494FF510}"/>
                  </a:ext>
                </a:extLst>
              </p:cNvPr>
              <p:cNvSpPr>
                <a:spLocks/>
              </p:cNvSpPr>
              <p:nvPr/>
            </p:nvSpPr>
            <p:spPr bwMode="auto">
              <a:xfrm>
                <a:off x="8542098" y="520706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24" name="Freeform 252">
                <a:extLst>
                  <a:ext uri="{FF2B5EF4-FFF2-40B4-BE49-F238E27FC236}">
                    <a16:creationId xmlns:a16="http://schemas.microsoft.com/office/drawing/2014/main" id="{0E669470-18B6-47B6-811D-8F90E9AEFE87}"/>
                  </a:ext>
                </a:extLst>
              </p:cNvPr>
              <p:cNvSpPr>
                <a:spLocks/>
              </p:cNvSpPr>
              <p:nvPr/>
            </p:nvSpPr>
            <p:spPr bwMode="auto">
              <a:xfrm>
                <a:off x="8560524" y="5199699"/>
                <a:ext cx="7370" cy="7370"/>
              </a:xfrm>
              <a:custGeom>
                <a:avLst/>
                <a:gdLst>
                  <a:gd name="T0" fmla="*/ 2 w 2"/>
                  <a:gd name="T1" fmla="*/ 0 h 2"/>
                  <a:gd name="T2" fmla="*/ 1 w 2"/>
                  <a:gd name="T3" fmla="*/ 1 h 2"/>
                  <a:gd name="T4" fmla="*/ 0 w 2"/>
                  <a:gd name="T5" fmla="*/ 1 h 2"/>
                  <a:gd name="T6" fmla="*/ 1 w 2"/>
                  <a:gd name="T7" fmla="*/ 2 h 2"/>
                  <a:gd name="T8" fmla="*/ 1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1" y="1"/>
                      <a:pt x="1" y="1"/>
                      <a:pt x="1" y="1"/>
                    </a:cubicBezTo>
                    <a:cubicBezTo>
                      <a:pt x="0" y="1"/>
                      <a:pt x="0" y="1"/>
                      <a:pt x="0" y="1"/>
                    </a:cubicBezTo>
                    <a:cubicBezTo>
                      <a:pt x="1" y="2"/>
                      <a:pt x="1" y="2"/>
                      <a:pt x="1" y="2"/>
                    </a:cubicBezTo>
                    <a:cubicBezTo>
                      <a:pt x="1" y="2"/>
                      <a:pt x="1" y="2"/>
                      <a:pt x="1" y="2"/>
                    </a:cubicBezTo>
                    <a:cubicBezTo>
                      <a:pt x="2" y="1"/>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25" name="Freeform 253">
                <a:extLst>
                  <a:ext uri="{FF2B5EF4-FFF2-40B4-BE49-F238E27FC236}">
                    <a16:creationId xmlns:a16="http://schemas.microsoft.com/office/drawing/2014/main" id="{922FCD44-A932-49FA-9FEF-C2B23823D664}"/>
                  </a:ext>
                </a:extLst>
              </p:cNvPr>
              <p:cNvSpPr>
                <a:spLocks/>
              </p:cNvSpPr>
              <p:nvPr/>
            </p:nvSpPr>
            <p:spPr bwMode="auto">
              <a:xfrm>
                <a:off x="8438915" y="4919630"/>
                <a:ext cx="464325" cy="346401"/>
              </a:xfrm>
              <a:custGeom>
                <a:avLst/>
                <a:gdLst>
                  <a:gd name="T0" fmla="*/ 33 w 146"/>
                  <a:gd name="T1" fmla="*/ 5 h 110"/>
                  <a:gd name="T2" fmla="*/ 40 w 146"/>
                  <a:gd name="T3" fmla="*/ 11 h 110"/>
                  <a:gd name="T4" fmla="*/ 43 w 146"/>
                  <a:gd name="T5" fmla="*/ 22 h 110"/>
                  <a:gd name="T6" fmla="*/ 43 w 146"/>
                  <a:gd name="T7" fmla="*/ 28 h 110"/>
                  <a:gd name="T8" fmla="*/ 32 w 146"/>
                  <a:gd name="T9" fmla="*/ 26 h 110"/>
                  <a:gd name="T10" fmla="*/ 13 w 146"/>
                  <a:gd name="T11" fmla="*/ 21 h 110"/>
                  <a:gd name="T12" fmla="*/ 3 w 146"/>
                  <a:gd name="T13" fmla="*/ 15 h 110"/>
                  <a:gd name="T14" fmla="*/ 0 w 146"/>
                  <a:gd name="T15" fmla="*/ 17 h 110"/>
                  <a:gd name="T16" fmla="*/ 0 w 146"/>
                  <a:gd name="T17" fmla="*/ 18 h 110"/>
                  <a:gd name="T18" fmla="*/ 1 w 146"/>
                  <a:gd name="T19" fmla="*/ 19 h 110"/>
                  <a:gd name="T20" fmla="*/ 2 w 146"/>
                  <a:gd name="T21" fmla="*/ 21 h 110"/>
                  <a:gd name="T22" fmla="*/ 7 w 146"/>
                  <a:gd name="T23" fmla="*/ 24 h 110"/>
                  <a:gd name="T24" fmla="*/ 13 w 146"/>
                  <a:gd name="T25" fmla="*/ 36 h 110"/>
                  <a:gd name="T26" fmla="*/ 9 w 146"/>
                  <a:gd name="T27" fmla="*/ 39 h 110"/>
                  <a:gd name="T28" fmla="*/ 8 w 146"/>
                  <a:gd name="T29" fmla="*/ 39 h 110"/>
                  <a:gd name="T30" fmla="*/ 14 w 146"/>
                  <a:gd name="T31" fmla="*/ 44 h 110"/>
                  <a:gd name="T32" fmla="*/ 20 w 146"/>
                  <a:gd name="T33" fmla="*/ 48 h 110"/>
                  <a:gd name="T34" fmla="*/ 22 w 146"/>
                  <a:gd name="T35" fmla="*/ 57 h 110"/>
                  <a:gd name="T36" fmla="*/ 38 w 146"/>
                  <a:gd name="T37" fmla="*/ 75 h 110"/>
                  <a:gd name="T38" fmla="*/ 38 w 146"/>
                  <a:gd name="T39" fmla="*/ 81 h 110"/>
                  <a:gd name="T40" fmla="*/ 41 w 146"/>
                  <a:gd name="T41" fmla="*/ 84 h 110"/>
                  <a:gd name="T42" fmla="*/ 50 w 146"/>
                  <a:gd name="T43" fmla="*/ 82 h 110"/>
                  <a:gd name="T44" fmla="*/ 67 w 146"/>
                  <a:gd name="T45" fmla="*/ 71 h 110"/>
                  <a:gd name="T46" fmla="*/ 77 w 146"/>
                  <a:gd name="T47" fmla="*/ 67 h 110"/>
                  <a:gd name="T48" fmla="*/ 86 w 146"/>
                  <a:gd name="T49" fmla="*/ 74 h 110"/>
                  <a:gd name="T50" fmla="*/ 90 w 146"/>
                  <a:gd name="T51" fmla="*/ 81 h 110"/>
                  <a:gd name="T52" fmla="*/ 87 w 146"/>
                  <a:gd name="T53" fmla="*/ 87 h 110"/>
                  <a:gd name="T54" fmla="*/ 90 w 146"/>
                  <a:gd name="T55" fmla="*/ 90 h 110"/>
                  <a:gd name="T56" fmla="*/ 85 w 146"/>
                  <a:gd name="T57" fmla="*/ 98 h 110"/>
                  <a:gd name="T58" fmla="*/ 88 w 146"/>
                  <a:gd name="T59" fmla="*/ 102 h 110"/>
                  <a:gd name="T60" fmla="*/ 92 w 146"/>
                  <a:gd name="T61" fmla="*/ 104 h 110"/>
                  <a:gd name="T62" fmla="*/ 97 w 146"/>
                  <a:gd name="T63" fmla="*/ 109 h 110"/>
                  <a:gd name="T64" fmla="*/ 97 w 146"/>
                  <a:gd name="T65" fmla="*/ 110 h 110"/>
                  <a:gd name="T66" fmla="*/ 104 w 146"/>
                  <a:gd name="T67" fmla="*/ 109 h 110"/>
                  <a:gd name="T68" fmla="*/ 107 w 146"/>
                  <a:gd name="T69" fmla="*/ 88 h 110"/>
                  <a:gd name="T70" fmla="*/ 111 w 146"/>
                  <a:gd name="T71" fmla="*/ 95 h 110"/>
                  <a:gd name="T72" fmla="*/ 116 w 146"/>
                  <a:gd name="T73" fmla="*/ 83 h 110"/>
                  <a:gd name="T74" fmla="*/ 118 w 146"/>
                  <a:gd name="T75" fmla="*/ 84 h 110"/>
                  <a:gd name="T76" fmla="*/ 118 w 146"/>
                  <a:gd name="T77" fmla="*/ 80 h 110"/>
                  <a:gd name="T78" fmla="*/ 119 w 146"/>
                  <a:gd name="T79" fmla="*/ 65 h 110"/>
                  <a:gd name="T80" fmla="*/ 135 w 146"/>
                  <a:gd name="T81" fmla="*/ 49 h 110"/>
                  <a:gd name="T82" fmla="*/ 146 w 146"/>
                  <a:gd name="T83" fmla="*/ 53 h 110"/>
                  <a:gd name="T84" fmla="*/ 137 w 146"/>
                  <a:gd name="T85" fmla="*/ 42 h 110"/>
                  <a:gd name="T86" fmla="*/ 133 w 146"/>
                  <a:gd name="T87" fmla="*/ 41 h 110"/>
                  <a:gd name="T88" fmla="*/ 131 w 146"/>
                  <a:gd name="T89" fmla="*/ 42 h 110"/>
                  <a:gd name="T90" fmla="*/ 110 w 146"/>
                  <a:gd name="T91" fmla="*/ 17 h 110"/>
                  <a:gd name="T92" fmla="*/ 89 w 146"/>
                  <a:gd name="T93" fmla="*/ 10 h 110"/>
                  <a:gd name="T94" fmla="*/ 87 w 146"/>
                  <a:gd name="T95" fmla="*/ 11 h 110"/>
                  <a:gd name="T96" fmla="*/ 81 w 146"/>
                  <a:gd name="T97" fmla="*/ 17 h 110"/>
                  <a:gd name="T98" fmla="*/ 66 w 146"/>
                  <a:gd name="T99" fmla="*/ 23 h 110"/>
                  <a:gd name="T100" fmla="*/ 52 w 146"/>
                  <a:gd name="T101" fmla="*/ 12 h 110"/>
                  <a:gd name="T102" fmla="*/ 40 w 146"/>
                  <a:gd name="T103" fmla="*/ 0 h 110"/>
                  <a:gd name="T104" fmla="*/ 36 w 146"/>
                  <a:gd name="T105"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10">
                    <a:moveTo>
                      <a:pt x="36" y="0"/>
                    </a:moveTo>
                    <a:cubicBezTo>
                      <a:pt x="33" y="5"/>
                      <a:pt x="33" y="5"/>
                      <a:pt x="33" y="5"/>
                    </a:cubicBezTo>
                    <a:cubicBezTo>
                      <a:pt x="34" y="6"/>
                      <a:pt x="35" y="6"/>
                      <a:pt x="35" y="7"/>
                    </a:cubicBezTo>
                    <a:cubicBezTo>
                      <a:pt x="37" y="9"/>
                      <a:pt x="38" y="10"/>
                      <a:pt x="40" y="11"/>
                    </a:cubicBezTo>
                    <a:cubicBezTo>
                      <a:pt x="45" y="13"/>
                      <a:pt x="44" y="18"/>
                      <a:pt x="43" y="21"/>
                    </a:cubicBezTo>
                    <a:cubicBezTo>
                      <a:pt x="43" y="22"/>
                      <a:pt x="43" y="22"/>
                      <a:pt x="43" y="22"/>
                    </a:cubicBezTo>
                    <a:cubicBezTo>
                      <a:pt x="43" y="23"/>
                      <a:pt x="43" y="23"/>
                      <a:pt x="43" y="24"/>
                    </a:cubicBezTo>
                    <a:cubicBezTo>
                      <a:pt x="43" y="28"/>
                      <a:pt x="43" y="28"/>
                      <a:pt x="43" y="28"/>
                    </a:cubicBezTo>
                    <a:cubicBezTo>
                      <a:pt x="39" y="27"/>
                      <a:pt x="39" y="27"/>
                      <a:pt x="39" y="27"/>
                    </a:cubicBezTo>
                    <a:cubicBezTo>
                      <a:pt x="37" y="27"/>
                      <a:pt x="35" y="26"/>
                      <a:pt x="32" y="26"/>
                    </a:cubicBezTo>
                    <a:cubicBezTo>
                      <a:pt x="27" y="25"/>
                      <a:pt x="21" y="25"/>
                      <a:pt x="16" y="23"/>
                    </a:cubicBezTo>
                    <a:cubicBezTo>
                      <a:pt x="15" y="22"/>
                      <a:pt x="14" y="22"/>
                      <a:pt x="13" y="21"/>
                    </a:cubicBezTo>
                    <a:cubicBezTo>
                      <a:pt x="11" y="20"/>
                      <a:pt x="10" y="19"/>
                      <a:pt x="8" y="18"/>
                    </a:cubicBezTo>
                    <a:cubicBezTo>
                      <a:pt x="6" y="17"/>
                      <a:pt x="5" y="16"/>
                      <a:pt x="3" y="15"/>
                    </a:cubicBezTo>
                    <a:cubicBezTo>
                      <a:pt x="2" y="16"/>
                      <a:pt x="2" y="16"/>
                      <a:pt x="2" y="16"/>
                    </a:cubicBezTo>
                    <a:cubicBezTo>
                      <a:pt x="0" y="17"/>
                      <a:pt x="0" y="17"/>
                      <a:pt x="0" y="17"/>
                    </a:cubicBezTo>
                    <a:cubicBezTo>
                      <a:pt x="0" y="17"/>
                      <a:pt x="0" y="17"/>
                      <a:pt x="0" y="17"/>
                    </a:cubicBezTo>
                    <a:cubicBezTo>
                      <a:pt x="0" y="18"/>
                      <a:pt x="0" y="18"/>
                      <a:pt x="0" y="18"/>
                    </a:cubicBezTo>
                    <a:cubicBezTo>
                      <a:pt x="1" y="18"/>
                      <a:pt x="1" y="18"/>
                      <a:pt x="1" y="18"/>
                    </a:cubicBezTo>
                    <a:cubicBezTo>
                      <a:pt x="1" y="19"/>
                      <a:pt x="1" y="19"/>
                      <a:pt x="1" y="19"/>
                    </a:cubicBezTo>
                    <a:cubicBezTo>
                      <a:pt x="2" y="19"/>
                      <a:pt x="2" y="20"/>
                      <a:pt x="2" y="20"/>
                    </a:cubicBezTo>
                    <a:cubicBezTo>
                      <a:pt x="2" y="21"/>
                      <a:pt x="2" y="21"/>
                      <a:pt x="2" y="21"/>
                    </a:cubicBezTo>
                    <a:cubicBezTo>
                      <a:pt x="3" y="21"/>
                      <a:pt x="3" y="22"/>
                      <a:pt x="3" y="22"/>
                    </a:cubicBezTo>
                    <a:cubicBezTo>
                      <a:pt x="4" y="23"/>
                      <a:pt x="6" y="24"/>
                      <a:pt x="7" y="24"/>
                    </a:cubicBezTo>
                    <a:cubicBezTo>
                      <a:pt x="10" y="26"/>
                      <a:pt x="12" y="28"/>
                      <a:pt x="13" y="30"/>
                    </a:cubicBezTo>
                    <a:cubicBezTo>
                      <a:pt x="15" y="32"/>
                      <a:pt x="14" y="35"/>
                      <a:pt x="13" y="36"/>
                    </a:cubicBezTo>
                    <a:cubicBezTo>
                      <a:pt x="12" y="37"/>
                      <a:pt x="11" y="38"/>
                      <a:pt x="10" y="38"/>
                    </a:cubicBezTo>
                    <a:cubicBezTo>
                      <a:pt x="10" y="38"/>
                      <a:pt x="9" y="39"/>
                      <a:pt x="9" y="39"/>
                    </a:cubicBezTo>
                    <a:cubicBezTo>
                      <a:pt x="9" y="39"/>
                      <a:pt x="9" y="39"/>
                      <a:pt x="9" y="39"/>
                    </a:cubicBezTo>
                    <a:cubicBezTo>
                      <a:pt x="8" y="39"/>
                      <a:pt x="8" y="39"/>
                      <a:pt x="8" y="39"/>
                    </a:cubicBezTo>
                    <a:cubicBezTo>
                      <a:pt x="9" y="40"/>
                      <a:pt x="10" y="41"/>
                      <a:pt x="12" y="42"/>
                    </a:cubicBezTo>
                    <a:cubicBezTo>
                      <a:pt x="13" y="43"/>
                      <a:pt x="14" y="43"/>
                      <a:pt x="14" y="44"/>
                    </a:cubicBezTo>
                    <a:cubicBezTo>
                      <a:pt x="17" y="46"/>
                      <a:pt x="17" y="46"/>
                      <a:pt x="17" y="46"/>
                    </a:cubicBezTo>
                    <a:cubicBezTo>
                      <a:pt x="18" y="47"/>
                      <a:pt x="19" y="48"/>
                      <a:pt x="20" y="48"/>
                    </a:cubicBezTo>
                    <a:cubicBezTo>
                      <a:pt x="23" y="50"/>
                      <a:pt x="23" y="54"/>
                      <a:pt x="23" y="56"/>
                    </a:cubicBezTo>
                    <a:cubicBezTo>
                      <a:pt x="22" y="57"/>
                      <a:pt x="22" y="57"/>
                      <a:pt x="22" y="57"/>
                    </a:cubicBezTo>
                    <a:cubicBezTo>
                      <a:pt x="22" y="60"/>
                      <a:pt x="22" y="61"/>
                      <a:pt x="19" y="63"/>
                    </a:cubicBezTo>
                    <a:cubicBezTo>
                      <a:pt x="25" y="67"/>
                      <a:pt x="32" y="71"/>
                      <a:pt x="38" y="75"/>
                    </a:cubicBezTo>
                    <a:cubicBezTo>
                      <a:pt x="43" y="78"/>
                      <a:pt x="43" y="78"/>
                      <a:pt x="43" y="78"/>
                    </a:cubicBezTo>
                    <a:cubicBezTo>
                      <a:pt x="38" y="81"/>
                      <a:pt x="38" y="81"/>
                      <a:pt x="38" y="81"/>
                    </a:cubicBezTo>
                    <a:cubicBezTo>
                      <a:pt x="38" y="81"/>
                      <a:pt x="38" y="81"/>
                      <a:pt x="38" y="81"/>
                    </a:cubicBezTo>
                    <a:cubicBezTo>
                      <a:pt x="39" y="82"/>
                      <a:pt x="40" y="83"/>
                      <a:pt x="41" y="84"/>
                    </a:cubicBezTo>
                    <a:cubicBezTo>
                      <a:pt x="44" y="86"/>
                      <a:pt x="44" y="86"/>
                      <a:pt x="44" y="86"/>
                    </a:cubicBezTo>
                    <a:cubicBezTo>
                      <a:pt x="46" y="85"/>
                      <a:pt x="48" y="84"/>
                      <a:pt x="50" y="82"/>
                    </a:cubicBezTo>
                    <a:cubicBezTo>
                      <a:pt x="52" y="81"/>
                      <a:pt x="54" y="80"/>
                      <a:pt x="56" y="79"/>
                    </a:cubicBezTo>
                    <a:cubicBezTo>
                      <a:pt x="59" y="76"/>
                      <a:pt x="63" y="74"/>
                      <a:pt x="67" y="71"/>
                    </a:cubicBezTo>
                    <a:cubicBezTo>
                      <a:pt x="68" y="71"/>
                      <a:pt x="68" y="71"/>
                      <a:pt x="68" y="71"/>
                    </a:cubicBezTo>
                    <a:cubicBezTo>
                      <a:pt x="72" y="68"/>
                      <a:pt x="75" y="67"/>
                      <a:pt x="77" y="67"/>
                    </a:cubicBezTo>
                    <a:cubicBezTo>
                      <a:pt x="78" y="67"/>
                      <a:pt x="78" y="67"/>
                      <a:pt x="79" y="67"/>
                    </a:cubicBezTo>
                    <a:cubicBezTo>
                      <a:pt x="81" y="67"/>
                      <a:pt x="83" y="70"/>
                      <a:pt x="86" y="74"/>
                    </a:cubicBezTo>
                    <a:cubicBezTo>
                      <a:pt x="88" y="76"/>
                      <a:pt x="88" y="76"/>
                      <a:pt x="88" y="76"/>
                    </a:cubicBezTo>
                    <a:cubicBezTo>
                      <a:pt x="89" y="78"/>
                      <a:pt x="90" y="79"/>
                      <a:pt x="90" y="81"/>
                    </a:cubicBezTo>
                    <a:cubicBezTo>
                      <a:pt x="91" y="83"/>
                      <a:pt x="89" y="85"/>
                      <a:pt x="88" y="86"/>
                    </a:cubicBezTo>
                    <a:cubicBezTo>
                      <a:pt x="87" y="87"/>
                      <a:pt x="87" y="87"/>
                      <a:pt x="87" y="87"/>
                    </a:cubicBezTo>
                    <a:cubicBezTo>
                      <a:pt x="88" y="88"/>
                      <a:pt x="88" y="88"/>
                      <a:pt x="88" y="88"/>
                    </a:cubicBezTo>
                    <a:cubicBezTo>
                      <a:pt x="89" y="88"/>
                      <a:pt x="89" y="89"/>
                      <a:pt x="90" y="90"/>
                    </a:cubicBezTo>
                    <a:cubicBezTo>
                      <a:pt x="93" y="93"/>
                      <a:pt x="93" y="93"/>
                      <a:pt x="93" y="93"/>
                    </a:cubicBezTo>
                    <a:cubicBezTo>
                      <a:pt x="85" y="98"/>
                      <a:pt x="85" y="98"/>
                      <a:pt x="85" y="98"/>
                    </a:cubicBezTo>
                    <a:cubicBezTo>
                      <a:pt x="87" y="100"/>
                      <a:pt x="87" y="100"/>
                      <a:pt x="87" y="100"/>
                    </a:cubicBezTo>
                    <a:cubicBezTo>
                      <a:pt x="88" y="100"/>
                      <a:pt x="88" y="101"/>
                      <a:pt x="88" y="102"/>
                    </a:cubicBezTo>
                    <a:cubicBezTo>
                      <a:pt x="89" y="103"/>
                      <a:pt x="89" y="103"/>
                      <a:pt x="89" y="103"/>
                    </a:cubicBezTo>
                    <a:cubicBezTo>
                      <a:pt x="90" y="103"/>
                      <a:pt x="91" y="104"/>
                      <a:pt x="92" y="104"/>
                    </a:cubicBezTo>
                    <a:cubicBezTo>
                      <a:pt x="92" y="105"/>
                      <a:pt x="93" y="105"/>
                      <a:pt x="95" y="106"/>
                    </a:cubicBezTo>
                    <a:cubicBezTo>
                      <a:pt x="96" y="107"/>
                      <a:pt x="96" y="108"/>
                      <a:pt x="97" y="109"/>
                    </a:cubicBezTo>
                    <a:cubicBezTo>
                      <a:pt x="97" y="110"/>
                      <a:pt x="97" y="110"/>
                      <a:pt x="97" y="110"/>
                    </a:cubicBezTo>
                    <a:cubicBezTo>
                      <a:pt x="97" y="110"/>
                      <a:pt x="97" y="110"/>
                      <a:pt x="97" y="110"/>
                    </a:cubicBezTo>
                    <a:cubicBezTo>
                      <a:pt x="98" y="110"/>
                      <a:pt x="100" y="109"/>
                      <a:pt x="102" y="109"/>
                    </a:cubicBezTo>
                    <a:cubicBezTo>
                      <a:pt x="104" y="109"/>
                      <a:pt x="104" y="109"/>
                      <a:pt x="104" y="109"/>
                    </a:cubicBezTo>
                    <a:cubicBezTo>
                      <a:pt x="103" y="105"/>
                      <a:pt x="104" y="102"/>
                      <a:pt x="104" y="98"/>
                    </a:cubicBezTo>
                    <a:cubicBezTo>
                      <a:pt x="105" y="95"/>
                      <a:pt x="104" y="88"/>
                      <a:pt x="107" y="88"/>
                    </a:cubicBezTo>
                    <a:cubicBezTo>
                      <a:pt x="108" y="88"/>
                      <a:pt x="108" y="88"/>
                      <a:pt x="108" y="88"/>
                    </a:cubicBezTo>
                    <a:cubicBezTo>
                      <a:pt x="109" y="89"/>
                      <a:pt x="111" y="94"/>
                      <a:pt x="111" y="95"/>
                    </a:cubicBezTo>
                    <a:cubicBezTo>
                      <a:pt x="112" y="92"/>
                      <a:pt x="112" y="84"/>
                      <a:pt x="115" y="83"/>
                    </a:cubicBezTo>
                    <a:cubicBezTo>
                      <a:pt x="116" y="83"/>
                      <a:pt x="116" y="83"/>
                      <a:pt x="116" y="83"/>
                    </a:cubicBezTo>
                    <a:cubicBezTo>
                      <a:pt x="116" y="83"/>
                      <a:pt x="117" y="83"/>
                      <a:pt x="117" y="83"/>
                    </a:cubicBezTo>
                    <a:cubicBezTo>
                      <a:pt x="117" y="84"/>
                      <a:pt x="117" y="84"/>
                      <a:pt x="118" y="84"/>
                    </a:cubicBezTo>
                    <a:cubicBezTo>
                      <a:pt x="118" y="84"/>
                      <a:pt x="118" y="84"/>
                      <a:pt x="118" y="83"/>
                    </a:cubicBezTo>
                    <a:cubicBezTo>
                      <a:pt x="119" y="81"/>
                      <a:pt x="118" y="81"/>
                      <a:pt x="118" y="80"/>
                    </a:cubicBezTo>
                    <a:cubicBezTo>
                      <a:pt x="117" y="78"/>
                      <a:pt x="115" y="77"/>
                      <a:pt x="116" y="74"/>
                    </a:cubicBezTo>
                    <a:cubicBezTo>
                      <a:pt x="117" y="71"/>
                      <a:pt x="118" y="68"/>
                      <a:pt x="119" y="65"/>
                    </a:cubicBezTo>
                    <a:cubicBezTo>
                      <a:pt x="120" y="61"/>
                      <a:pt x="121" y="56"/>
                      <a:pt x="125" y="53"/>
                    </a:cubicBezTo>
                    <a:cubicBezTo>
                      <a:pt x="128" y="50"/>
                      <a:pt x="132" y="49"/>
                      <a:pt x="135" y="49"/>
                    </a:cubicBezTo>
                    <a:cubicBezTo>
                      <a:pt x="136" y="49"/>
                      <a:pt x="137" y="49"/>
                      <a:pt x="137" y="49"/>
                    </a:cubicBezTo>
                    <a:cubicBezTo>
                      <a:pt x="141" y="49"/>
                      <a:pt x="143" y="49"/>
                      <a:pt x="146" y="53"/>
                    </a:cubicBezTo>
                    <a:cubicBezTo>
                      <a:pt x="145" y="50"/>
                      <a:pt x="146" y="48"/>
                      <a:pt x="143" y="46"/>
                    </a:cubicBezTo>
                    <a:cubicBezTo>
                      <a:pt x="141" y="44"/>
                      <a:pt x="139" y="43"/>
                      <a:pt x="137" y="42"/>
                    </a:cubicBezTo>
                    <a:cubicBezTo>
                      <a:pt x="136" y="41"/>
                      <a:pt x="135" y="41"/>
                      <a:pt x="133" y="41"/>
                    </a:cubicBezTo>
                    <a:cubicBezTo>
                      <a:pt x="133" y="41"/>
                      <a:pt x="133" y="41"/>
                      <a:pt x="133" y="41"/>
                    </a:cubicBezTo>
                    <a:cubicBezTo>
                      <a:pt x="132" y="41"/>
                      <a:pt x="132" y="42"/>
                      <a:pt x="131" y="42"/>
                    </a:cubicBezTo>
                    <a:cubicBezTo>
                      <a:pt x="131" y="42"/>
                      <a:pt x="131" y="42"/>
                      <a:pt x="131" y="42"/>
                    </a:cubicBezTo>
                    <a:cubicBezTo>
                      <a:pt x="127" y="41"/>
                      <a:pt x="125" y="39"/>
                      <a:pt x="122" y="36"/>
                    </a:cubicBezTo>
                    <a:cubicBezTo>
                      <a:pt x="116" y="31"/>
                      <a:pt x="112" y="24"/>
                      <a:pt x="110" y="17"/>
                    </a:cubicBezTo>
                    <a:cubicBezTo>
                      <a:pt x="107" y="11"/>
                      <a:pt x="102" y="5"/>
                      <a:pt x="97" y="0"/>
                    </a:cubicBezTo>
                    <a:cubicBezTo>
                      <a:pt x="96" y="4"/>
                      <a:pt x="92" y="7"/>
                      <a:pt x="89" y="10"/>
                    </a:cubicBezTo>
                    <a:cubicBezTo>
                      <a:pt x="88" y="10"/>
                      <a:pt x="88" y="10"/>
                      <a:pt x="88" y="10"/>
                    </a:cubicBezTo>
                    <a:cubicBezTo>
                      <a:pt x="88" y="10"/>
                      <a:pt x="87" y="11"/>
                      <a:pt x="87" y="11"/>
                    </a:cubicBezTo>
                    <a:cubicBezTo>
                      <a:pt x="86" y="12"/>
                      <a:pt x="85" y="13"/>
                      <a:pt x="84" y="13"/>
                    </a:cubicBezTo>
                    <a:cubicBezTo>
                      <a:pt x="83" y="14"/>
                      <a:pt x="82" y="14"/>
                      <a:pt x="81" y="17"/>
                    </a:cubicBezTo>
                    <a:cubicBezTo>
                      <a:pt x="79" y="21"/>
                      <a:pt x="76" y="23"/>
                      <a:pt x="72" y="23"/>
                    </a:cubicBezTo>
                    <a:cubicBezTo>
                      <a:pt x="70" y="23"/>
                      <a:pt x="68" y="23"/>
                      <a:pt x="66" y="23"/>
                    </a:cubicBezTo>
                    <a:cubicBezTo>
                      <a:pt x="58" y="21"/>
                      <a:pt x="55" y="17"/>
                      <a:pt x="54" y="15"/>
                    </a:cubicBezTo>
                    <a:cubicBezTo>
                      <a:pt x="53" y="14"/>
                      <a:pt x="52" y="12"/>
                      <a:pt x="52" y="12"/>
                    </a:cubicBezTo>
                    <a:cubicBezTo>
                      <a:pt x="49" y="12"/>
                      <a:pt x="46" y="8"/>
                      <a:pt x="45" y="5"/>
                    </a:cubicBezTo>
                    <a:cubicBezTo>
                      <a:pt x="44" y="2"/>
                      <a:pt x="41" y="1"/>
                      <a:pt x="40" y="0"/>
                    </a:cubicBezTo>
                    <a:cubicBezTo>
                      <a:pt x="38" y="0"/>
                      <a:pt x="37" y="0"/>
                      <a:pt x="36" y="0"/>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26" name="Freeform 254">
                <a:extLst>
                  <a:ext uri="{FF2B5EF4-FFF2-40B4-BE49-F238E27FC236}">
                    <a16:creationId xmlns:a16="http://schemas.microsoft.com/office/drawing/2014/main" id="{A61ABCD8-2829-4205-AF4A-5B3733725A20}"/>
                  </a:ext>
                </a:extLst>
              </p:cNvPr>
              <p:cNvSpPr>
                <a:spLocks/>
              </p:cNvSpPr>
              <p:nvPr/>
            </p:nvSpPr>
            <p:spPr bwMode="auto">
              <a:xfrm>
                <a:off x="8413119" y="5148107"/>
                <a:ext cx="95813" cy="70017"/>
              </a:xfrm>
              <a:custGeom>
                <a:avLst/>
                <a:gdLst>
                  <a:gd name="T0" fmla="*/ 2 w 30"/>
                  <a:gd name="T1" fmla="*/ 0 h 23"/>
                  <a:gd name="T2" fmla="*/ 0 w 30"/>
                  <a:gd name="T3" fmla="*/ 1 h 23"/>
                  <a:gd name="T4" fmla="*/ 0 w 30"/>
                  <a:gd name="T5" fmla="*/ 1 h 23"/>
                  <a:gd name="T6" fmla="*/ 0 w 30"/>
                  <a:gd name="T7" fmla="*/ 3 h 23"/>
                  <a:gd name="T8" fmla="*/ 8 w 30"/>
                  <a:gd name="T9" fmla="*/ 11 h 23"/>
                  <a:gd name="T10" fmla="*/ 10 w 30"/>
                  <a:gd name="T11" fmla="*/ 13 h 23"/>
                  <a:gd name="T12" fmla="*/ 10 w 30"/>
                  <a:gd name="T13" fmla="*/ 13 h 23"/>
                  <a:gd name="T14" fmla="*/ 16 w 30"/>
                  <a:gd name="T15" fmla="*/ 19 h 23"/>
                  <a:gd name="T16" fmla="*/ 26 w 30"/>
                  <a:gd name="T17" fmla="*/ 22 h 23"/>
                  <a:gd name="T18" fmla="*/ 28 w 30"/>
                  <a:gd name="T19" fmla="*/ 23 h 23"/>
                  <a:gd name="T20" fmla="*/ 30 w 30"/>
                  <a:gd name="T21" fmla="*/ 23 h 23"/>
                  <a:gd name="T22" fmla="*/ 30 w 30"/>
                  <a:gd name="T23" fmla="*/ 23 h 23"/>
                  <a:gd name="T24" fmla="*/ 27 w 30"/>
                  <a:gd name="T25" fmla="*/ 15 h 23"/>
                  <a:gd name="T26" fmla="*/ 26 w 30"/>
                  <a:gd name="T27" fmla="*/ 15 h 23"/>
                  <a:gd name="T28" fmla="*/ 25 w 30"/>
                  <a:gd name="T29" fmla="*/ 15 h 23"/>
                  <a:gd name="T30" fmla="*/ 20 w 30"/>
                  <a:gd name="T31" fmla="*/ 10 h 23"/>
                  <a:gd name="T32" fmla="*/ 19 w 30"/>
                  <a:gd name="T33" fmla="*/ 8 h 23"/>
                  <a:gd name="T34" fmla="*/ 16 w 30"/>
                  <a:gd name="T35" fmla="*/ 8 h 23"/>
                  <a:gd name="T36" fmla="*/ 15 w 30"/>
                  <a:gd name="T37" fmla="*/ 8 h 23"/>
                  <a:gd name="T38" fmla="*/ 12 w 30"/>
                  <a:gd name="T39" fmla="*/ 8 h 23"/>
                  <a:gd name="T40" fmla="*/ 12 w 30"/>
                  <a:gd name="T41" fmla="*/ 8 h 23"/>
                  <a:gd name="T42" fmla="*/ 9 w 30"/>
                  <a:gd name="T43" fmla="*/ 6 h 23"/>
                  <a:gd name="T44" fmla="*/ 6 w 30"/>
                  <a:gd name="T45" fmla="*/ 4 h 23"/>
                  <a:gd name="T46" fmla="*/ 5 w 30"/>
                  <a:gd name="T47" fmla="*/ 2 h 23"/>
                  <a:gd name="T48" fmla="*/ 3 w 30"/>
                  <a:gd name="T49" fmla="*/ 0 h 23"/>
                  <a:gd name="T50" fmla="*/ 2 w 30"/>
                  <a:gd name="T5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23">
                    <a:moveTo>
                      <a:pt x="2" y="0"/>
                    </a:moveTo>
                    <a:cubicBezTo>
                      <a:pt x="0" y="1"/>
                      <a:pt x="0" y="1"/>
                      <a:pt x="0" y="1"/>
                    </a:cubicBezTo>
                    <a:cubicBezTo>
                      <a:pt x="0" y="1"/>
                      <a:pt x="0" y="1"/>
                      <a:pt x="0" y="1"/>
                    </a:cubicBezTo>
                    <a:cubicBezTo>
                      <a:pt x="0" y="1"/>
                      <a:pt x="0" y="2"/>
                      <a:pt x="0" y="3"/>
                    </a:cubicBezTo>
                    <a:cubicBezTo>
                      <a:pt x="1" y="3"/>
                      <a:pt x="2" y="5"/>
                      <a:pt x="8" y="11"/>
                    </a:cubicBezTo>
                    <a:cubicBezTo>
                      <a:pt x="9" y="12"/>
                      <a:pt x="9" y="12"/>
                      <a:pt x="10" y="13"/>
                    </a:cubicBezTo>
                    <a:cubicBezTo>
                      <a:pt x="10" y="13"/>
                      <a:pt x="10" y="13"/>
                      <a:pt x="10" y="13"/>
                    </a:cubicBezTo>
                    <a:cubicBezTo>
                      <a:pt x="13" y="16"/>
                      <a:pt x="15" y="17"/>
                      <a:pt x="16" y="19"/>
                    </a:cubicBezTo>
                    <a:cubicBezTo>
                      <a:pt x="16" y="19"/>
                      <a:pt x="21" y="21"/>
                      <a:pt x="26" y="22"/>
                    </a:cubicBezTo>
                    <a:cubicBezTo>
                      <a:pt x="27" y="22"/>
                      <a:pt x="27" y="23"/>
                      <a:pt x="28" y="23"/>
                    </a:cubicBezTo>
                    <a:cubicBezTo>
                      <a:pt x="29" y="23"/>
                      <a:pt x="29" y="23"/>
                      <a:pt x="30" y="23"/>
                    </a:cubicBezTo>
                    <a:cubicBezTo>
                      <a:pt x="30" y="23"/>
                      <a:pt x="30" y="23"/>
                      <a:pt x="30" y="23"/>
                    </a:cubicBezTo>
                    <a:cubicBezTo>
                      <a:pt x="29" y="20"/>
                      <a:pt x="28" y="17"/>
                      <a:pt x="27" y="15"/>
                    </a:cubicBezTo>
                    <a:cubicBezTo>
                      <a:pt x="27" y="15"/>
                      <a:pt x="26" y="15"/>
                      <a:pt x="26" y="15"/>
                    </a:cubicBezTo>
                    <a:cubicBezTo>
                      <a:pt x="25" y="15"/>
                      <a:pt x="25" y="15"/>
                      <a:pt x="25" y="15"/>
                    </a:cubicBezTo>
                    <a:cubicBezTo>
                      <a:pt x="23" y="13"/>
                      <a:pt x="21" y="12"/>
                      <a:pt x="20" y="10"/>
                    </a:cubicBezTo>
                    <a:cubicBezTo>
                      <a:pt x="20" y="9"/>
                      <a:pt x="19" y="8"/>
                      <a:pt x="19" y="8"/>
                    </a:cubicBezTo>
                    <a:cubicBezTo>
                      <a:pt x="18" y="8"/>
                      <a:pt x="17" y="8"/>
                      <a:pt x="16" y="8"/>
                    </a:cubicBezTo>
                    <a:cubicBezTo>
                      <a:pt x="15" y="8"/>
                      <a:pt x="15" y="8"/>
                      <a:pt x="15" y="8"/>
                    </a:cubicBezTo>
                    <a:cubicBezTo>
                      <a:pt x="14" y="8"/>
                      <a:pt x="13" y="8"/>
                      <a:pt x="12" y="8"/>
                    </a:cubicBezTo>
                    <a:cubicBezTo>
                      <a:pt x="12" y="8"/>
                      <a:pt x="12" y="8"/>
                      <a:pt x="12" y="8"/>
                    </a:cubicBezTo>
                    <a:cubicBezTo>
                      <a:pt x="11" y="7"/>
                      <a:pt x="10" y="7"/>
                      <a:pt x="9" y="6"/>
                    </a:cubicBezTo>
                    <a:cubicBezTo>
                      <a:pt x="8" y="5"/>
                      <a:pt x="7" y="5"/>
                      <a:pt x="6" y="4"/>
                    </a:cubicBezTo>
                    <a:cubicBezTo>
                      <a:pt x="5" y="3"/>
                      <a:pt x="5" y="3"/>
                      <a:pt x="5" y="2"/>
                    </a:cubicBezTo>
                    <a:cubicBezTo>
                      <a:pt x="4" y="1"/>
                      <a:pt x="3" y="1"/>
                      <a:pt x="3"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27" name="Freeform 255">
                <a:extLst>
                  <a:ext uri="{FF2B5EF4-FFF2-40B4-BE49-F238E27FC236}">
                    <a16:creationId xmlns:a16="http://schemas.microsoft.com/office/drawing/2014/main" id="{E9CB3658-882A-43C7-8C62-930FE390B6B8}"/>
                  </a:ext>
                </a:extLst>
              </p:cNvPr>
              <p:cNvSpPr>
                <a:spLocks/>
              </p:cNvSpPr>
              <p:nvPr/>
            </p:nvSpPr>
            <p:spPr bwMode="auto">
              <a:xfrm>
                <a:off x="5210754" y="5822483"/>
                <a:ext cx="1411399" cy="1035518"/>
              </a:xfrm>
              <a:custGeom>
                <a:avLst/>
                <a:gdLst>
                  <a:gd name="T0" fmla="*/ 61 w 444"/>
                  <a:gd name="T1" fmla="*/ 21 h 326"/>
                  <a:gd name="T2" fmla="*/ 48 w 444"/>
                  <a:gd name="T3" fmla="*/ 31 h 326"/>
                  <a:gd name="T4" fmla="*/ 42 w 444"/>
                  <a:gd name="T5" fmla="*/ 34 h 326"/>
                  <a:gd name="T6" fmla="*/ 34 w 444"/>
                  <a:gd name="T7" fmla="*/ 40 h 326"/>
                  <a:gd name="T8" fmla="*/ 28 w 444"/>
                  <a:gd name="T9" fmla="*/ 46 h 326"/>
                  <a:gd name="T10" fmla="*/ 26 w 444"/>
                  <a:gd name="T11" fmla="*/ 48 h 326"/>
                  <a:gd name="T12" fmla="*/ 25 w 444"/>
                  <a:gd name="T13" fmla="*/ 63 h 326"/>
                  <a:gd name="T14" fmla="*/ 28 w 444"/>
                  <a:gd name="T15" fmla="*/ 83 h 326"/>
                  <a:gd name="T16" fmla="*/ 18 w 444"/>
                  <a:gd name="T17" fmla="*/ 84 h 326"/>
                  <a:gd name="T18" fmla="*/ 8 w 444"/>
                  <a:gd name="T19" fmla="*/ 92 h 326"/>
                  <a:gd name="T20" fmla="*/ 2 w 444"/>
                  <a:gd name="T21" fmla="*/ 94 h 326"/>
                  <a:gd name="T22" fmla="*/ 0 w 444"/>
                  <a:gd name="T23" fmla="*/ 96 h 326"/>
                  <a:gd name="T24" fmla="*/ 14 w 444"/>
                  <a:gd name="T25" fmla="*/ 134 h 326"/>
                  <a:gd name="T26" fmla="*/ 13 w 444"/>
                  <a:gd name="T27" fmla="*/ 152 h 326"/>
                  <a:gd name="T28" fmla="*/ 14 w 444"/>
                  <a:gd name="T29" fmla="*/ 172 h 326"/>
                  <a:gd name="T30" fmla="*/ 12 w 444"/>
                  <a:gd name="T31" fmla="*/ 176 h 326"/>
                  <a:gd name="T32" fmla="*/ 12 w 444"/>
                  <a:gd name="T33" fmla="*/ 186 h 326"/>
                  <a:gd name="T34" fmla="*/ 14 w 444"/>
                  <a:gd name="T35" fmla="*/ 200 h 326"/>
                  <a:gd name="T36" fmla="*/ 10 w 444"/>
                  <a:gd name="T37" fmla="*/ 210 h 326"/>
                  <a:gd name="T38" fmla="*/ 6 w 444"/>
                  <a:gd name="T39" fmla="*/ 211 h 326"/>
                  <a:gd name="T40" fmla="*/ 2 w 444"/>
                  <a:gd name="T41" fmla="*/ 216 h 326"/>
                  <a:gd name="T42" fmla="*/ 7 w 444"/>
                  <a:gd name="T43" fmla="*/ 225 h 326"/>
                  <a:gd name="T44" fmla="*/ 11 w 444"/>
                  <a:gd name="T45" fmla="*/ 229 h 326"/>
                  <a:gd name="T46" fmla="*/ 18 w 444"/>
                  <a:gd name="T47" fmla="*/ 247 h 326"/>
                  <a:gd name="T48" fmla="*/ 20 w 444"/>
                  <a:gd name="T49" fmla="*/ 254 h 326"/>
                  <a:gd name="T50" fmla="*/ 25 w 444"/>
                  <a:gd name="T51" fmla="*/ 261 h 326"/>
                  <a:gd name="T52" fmla="*/ 28 w 444"/>
                  <a:gd name="T53" fmla="*/ 263 h 326"/>
                  <a:gd name="T54" fmla="*/ 34 w 444"/>
                  <a:gd name="T55" fmla="*/ 257 h 326"/>
                  <a:gd name="T56" fmla="*/ 41 w 444"/>
                  <a:gd name="T57" fmla="*/ 263 h 326"/>
                  <a:gd name="T58" fmla="*/ 63 w 444"/>
                  <a:gd name="T59" fmla="*/ 275 h 326"/>
                  <a:gd name="T60" fmla="*/ 68 w 444"/>
                  <a:gd name="T61" fmla="*/ 284 h 326"/>
                  <a:gd name="T62" fmla="*/ 73 w 444"/>
                  <a:gd name="T63" fmla="*/ 292 h 326"/>
                  <a:gd name="T64" fmla="*/ 113 w 444"/>
                  <a:gd name="T65" fmla="*/ 302 h 326"/>
                  <a:gd name="T66" fmla="*/ 130 w 444"/>
                  <a:gd name="T67" fmla="*/ 314 h 326"/>
                  <a:gd name="T68" fmla="*/ 135 w 444"/>
                  <a:gd name="T69" fmla="*/ 318 h 326"/>
                  <a:gd name="T70" fmla="*/ 139 w 444"/>
                  <a:gd name="T71" fmla="*/ 317 h 326"/>
                  <a:gd name="T72" fmla="*/ 185 w 444"/>
                  <a:gd name="T73" fmla="*/ 295 h 326"/>
                  <a:gd name="T74" fmla="*/ 201 w 444"/>
                  <a:gd name="T75" fmla="*/ 302 h 326"/>
                  <a:gd name="T76" fmla="*/ 250 w 444"/>
                  <a:gd name="T77" fmla="*/ 326 h 326"/>
                  <a:gd name="T78" fmla="*/ 437 w 444"/>
                  <a:gd name="T79" fmla="*/ 138 h 326"/>
                  <a:gd name="T80" fmla="*/ 432 w 444"/>
                  <a:gd name="T81" fmla="*/ 103 h 326"/>
                  <a:gd name="T82" fmla="*/ 429 w 444"/>
                  <a:gd name="T83" fmla="*/ 94 h 326"/>
                  <a:gd name="T84" fmla="*/ 435 w 444"/>
                  <a:gd name="T85" fmla="*/ 81 h 326"/>
                  <a:gd name="T86" fmla="*/ 434 w 444"/>
                  <a:gd name="T87" fmla="*/ 62 h 326"/>
                  <a:gd name="T88" fmla="*/ 440 w 444"/>
                  <a:gd name="T89" fmla="*/ 46 h 326"/>
                  <a:gd name="T90" fmla="*/ 444 w 444"/>
                  <a:gd name="T91" fmla="*/ 43 h 326"/>
                  <a:gd name="T92" fmla="*/ 433 w 444"/>
                  <a:gd name="T93" fmla="*/ 35 h 326"/>
                  <a:gd name="T94" fmla="*/ 414 w 444"/>
                  <a:gd name="T95" fmla="*/ 33 h 326"/>
                  <a:gd name="T96" fmla="*/ 387 w 444"/>
                  <a:gd name="T97" fmla="*/ 16 h 326"/>
                  <a:gd name="T98" fmla="*/ 356 w 444"/>
                  <a:gd name="T99" fmla="*/ 7 h 326"/>
                  <a:gd name="T100" fmla="*/ 316 w 444"/>
                  <a:gd name="T101" fmla="*/ 17 h 326"/>
                  <a:gd name="T102" fmla="*/ 299 w 444"/>
                  <a:gd name="T103" fmla="*/ 53 h 326"/>
                  <a:gd name="T104" fmla="*/ 280 w 444"/>
                  <a:gd name="T105" fmla="*/ 89 h 326"/>
                  <a:gd name="T106" fmla="*/ 264 w 444"/>
                  <a:gd name="T107" fmla="*/ 87 h 326"/>
                  <a:gd name="T108" fmla="*/ 185 w 444"/>
                  <a:gd name="T109" fmla="*/ 57 h 326"/>
                  <a:gd name="T110" fmla="*/ 160 w 444"/>
                  <a:gd name="T111" fmla="*/ 22 h 326"/>
                  <a:gd name="T112" fmla="*/ 104 w 444"/>
                  <a:gd name="T113" fmla="*/ 9 h 326"/>
                  <a:gd name="T114" fmla="*/ 90 w 444"/>
                  <a:gd name="T115" fmla="*/ 1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4" h="326">
                    <a:moveTo>
                      <a:pt x="61" y="0"/>
                    </a:moveTo>
                    <a:cubicBezTo>
                      <a:pt x="61" y="0"/>
                      <a:pt x="61" y="0"/>
                      <a:pt x="61" y="0"/>
                    </a:cubicBezTo>
                    <a:cubicBezTo>
                      <a:pt x="61" y="21"/>
                      <a:pt x="61" y="21"/>
                      <a:pt x="61" y="21"/>
                    </a:cubicBezTo>
                    <a:cubicBezTo>
                      <a:pt x="61" y="24"/>
                      <a:pt x="58" y="27"/>
                      <a:pt x="57" y="27"/>
                    </a:cubicBezTo>
                    <a:cubicBezTo>
                      <a:pt x="54" y="28"/>
                      <a:pt x="52" y="29"/>
                      <a:pt x="50" y="30"/>
                    </a:cubicBezTo>
                    <a:cubicBezTo>
                      <a:pt x="48" y="31"/>
                      <a:pt x="48" y="31"/>
                      <a:pt x="48" y="31"/>
                    </a:cubicBezTo>
                    <a:cubicBezTo>
                      <a:pt x="46" y="32"/>
                      <a:pt x="44" y="32"/>
                      <a:pt x="43" y="33"/>
                    </a:cubicBezTo>
                    <a:cubicBezTo>
                      <a:pt x="43" y="33"/>
                      <a:pt x="43" y="33"/>
                      <a:pt x="43" y="33"/>
                    </a:cubicBezTo>
                    <a:cubicBezTo>
                      <a:pt x="42" y="34"/>
                      <a:pt x="42" y="34"/>
                      <a:pt x="42" y="34"/>
                    </a:cubicBezTo>
                    <a:cubicBezTo>
                      <a:pt x="42" y="34"/>
                      <a:pt x="41" y="35"/>
                      <a:pt x="41" y="36"/>
                    </a:cubicBezTo>
                    <a:cubicBezTo>
                      <a:pt x="40" y="37"/>
                      <a:pt x="39" y="38"/>
                      <a:pt x="37" y="39"/>
                    </a:cubicBezTo>
                    <a:cubicBezTo>
                      <a:pt x="36" y="40"/>
                      <a:pt x="35" y="40"/>
                      <a:pt x="34" y="40"/>
                    </a:cubicBezTo>
                    <a:cubicBezTo>
                      <a:pt x="34" y="40"/>
                      <a:pt x="34" y="40"/>
                      <a:pt x="34" y="40"/>
                    </a:cubicBezTo>
                    <a:cubicBezTo>
                      <a:pt x="33" y="41"/>
                      <a:pt x="33" y="41"/>
                      <a:pt x="33" y="41"/>
                    </a:cubicBezTo>
                    <a:cubicBezTo>
                      <a:pt x="32" y="43"/>
                      <a:pt x="30" y="45"/>
                      <a:pt x="28" y="46"/>
                    </a:cubicBezTo>
                    <a:cubicBezTo>
                      <a:pt x="27" y="47"/>
                      <a:pt x="27" y="47"/>
                      <a:pt x="27" y="47"/>
                    </a:cubicBezTo>
                    <a:cubicBezTo>
                      <a:pt x="26" y="48"/>
                      <a:pt x="26" y="48"/>
                      <a:pt x="26" y="48"/>
                    </a:cubicBezTo>
                    <a:cubicBezTo>
                      <a:pt x="26" y="48"/>
                      <a:pt x="26" y="48"/>
                      <a:pt x="26" y="48"/>
                    </a:cubicBezTo>
                    <a:cubicBezTo>
                      <a:pt x="25" y="50"/>
                      <a:pt x="24" y="54"/>
                      <a:pt x="24" y="57"/>
                    </a:cubicBezTo>
                    <a:cubicBezTo>
                      <a:pt x="24" y="59"/>
                      <a:pt x="24" y="61"/>
                      <a:pt x="24" y="62"/>
                    </a:cubicBezTo>
                    <a:cubicBezTo>
                      <a:pt x="25" y="63"/>
                      <a:pt x="25" y="63"/>
                      <a:pt x="25" y="63"/>
                    </a:cubicBezTo>
                    <a:cubicBezTo>
                      <a:pt x="25" y="64"/>
                      <a:pt x="25" y="65"/>
                      <a:pt x="25" y="66"/>
                    </a:cubicBezTo>
                    <a:cubicBezTo>
                      <a:pt x="26" y="72"/>
                      <a:pt x="24" y="76"/>
                      <a:pt x="22" y="79"/>
                    </a:cubicBezTo>
                    <a:cubicBezTo>
                      <a:pt x="28" y="83"/>
                      <a:pt x="28" y="83"/>
                      <a:pt x="28" y="83"/>
                    </a:cubicBezTo>
                    <a:cubicBezTo>
                      <a:pt x="21" y="80"/>
                      <a:pt x="21" y="80"/>
                      <a:pt x="21" y="80"/>
                    </a:cubicBezTo>
                    <a:cubicBezTo>
                      <a:pt x="21" y="81"/>
                      <a:pt x="21" y="81"/>
                      <a:pt x="21" y="81"/>
                    </a:cubicBezTo>
                    <a:cubicBezTo>
                      <a:pt x="20" y="82"/>
                      <a:pt x="19" y="83"/>
                      <a:pt x="18" y="84"/>
                    </a:cubicBezTo>
                    <a:cubicBezTo>
                      <a:pt x="17" y="85"/>
                      <a:pt x="17" y="85"/>
                      <a:pt x="17" y="85"/>
                    </a:cubicBezTo>
                    <a:cubicBezTo>
                      <a:pt x="17" y="85"/>
                      <a:pt x="16" y="86"/>
                      <a:pt x="16" y="87"/>
                    </a:cubicBezTo>
                    <a:cubicBezTo>
                      <a:pt x="14" y="90"/>
                      <a:pt x="10" y="91"/>
                      <a:pt x="8" y="92"/>
                    </a:cubicBezTo>
                    <a:cubicBezTo>
                      <a:pt x="5" y="93"/>
                      <a:pt x="5" y="93"/>
                      <a:pt x="5" y="93"/>
                    </a:cubicBezTo>
                    <a:cubicBezTo>
                      <a:pt x="4" y="93"/>
                      <a:pt x="3" y="94"/>
                      <a:pt x="2" y="94"/>
                    </a:cubicBezTo>
                    <a:cubicBezTo>
                      <a:pt x="2" y="94"/>
                      <a:pt x="2" y="94"/>
                      <a:pt x="2" y="94"/>
                    </a:cubicBezTo>
                    <a:cubicBezTo>
                      <a:pt x="2" y="94"/>
                      <a:pt x="2" y="94"/>
                      <a:pt x="2" y="94"/>
                    </a:cubicBezTo>
                    <a:cubicBezTo>
                      <a:pt x="1" y="95"/>
                      <a:pt x="1" y="95"/>
                      <a:pt x="1" y="95"/>
                    </a:cubicBezTo>
                    <a:cubicBezTo>
                      <a:pt x="0" y="96"/>
                      <a:pt x="0" y="96"/>
                      <a:pt x="0" y="96"/>
                    </a:cubicBezTo>
                    <a:cubicBezTo>
                      <a:pt x="1" y="99"/>
                      <a:pt x="4" y="104"/>
                      <a:pt x="6" y="106"/>
                    </a:cubicBezTo>
                    <a:cubicBezTo>
                      <a:pt x="7" y="108"/>
                      <a:pt x="8" y="109"/>
                      <a:pt x="8" y="110"/>
                    </a:cubicBezTo>
                    <a:cubicBezTo>
                      <a:pt x="12" y="117"/>
                      <a:pt x="14" y="124"/>
                      <a:pt x="14" y="134"/>
                    </a:cubicBezTo>
                    <a:cubicBezTo>
                      <a:pt x="14" y="136"/>
                      <a:pt x="14" y="138"/>
                      <a:pt x="13" y="139"/>
                    </a:cubicBezTo>
                    <a:cubicBezTo>
                      <a:pt x="13" y="140"/>
                      <a:pt x="13" y="140"/>
                      <a:pt x="13" y="140"/>
                    </a:cubicBezTo>
                    <a:cubicBezTo>
                      <a:pt x="13" y="144"/>
                      <a:pt x="12" y="148"/>
                      <a:pt x="13" y="152"/>
                    </a:cubicBezTo>
                    <a:cubicBezTo>
                      <a:pt x="13" y="154"/>
                      <a:pt x="13" y="155"/>
                      <a:pt x="14" y="157"/>
                    </a:cubicBezTo>
                    <a:cubicBezTo>
                      <a:pt x="16" y="162"/>
                      <a:pt x="16" y="162"/>
                      <a:pt x="16" y="162"/>
                    </a:cubicBezTo>
                    <a:cubicBezTo>
                      <a:pt x="17" y="166"/>
                      <a:pt x="15" y="169"/>
                      <a:pt x="14" y="172"/>
                    </a:cubicBezTo>
                    <a:cubicBezTo>
                      <a:pt x="14" y="173"/>
                      <a:pt x="13" y="174"/>
                      <a:pt x="13" y="174"/>
                    </a:cubicBezTo>
                    <a:cubicBezTo>
                      <a:pt x="13" y="175"/>
                      <a:pt x="13" y="175"/>
                      <a:pt x="13" y="175"/>
                    </a:cubicBezTo>
                    <a:cubicBezTo>
                      <a:pt x="13" y="176"/>
                      <a:pt x="12" y="176"/>
                      <a:pt x="12" y="176"/>
                    </a:cubicBezTo>
                    <a:cubicBezTo>
                      <a:pt x="11" y="178"/>
                      <a:pt x="10" y="180"/>
                      <a:pt x="11" y="182"/>
                    </a:cubicBezTo>
                    <a:cubicBezTo>
                      <a:pt x="11" y="182"/>
                      <a:pt x="11" y="183"/>
                      <a:pt x="11" y="184"/>
                    </a:cubicBezTo>
                    <a:cubicBezTo>
                      <a:pt x="11" y="184"/>
                      <a:pt x="12" y="185"/>
                      <a:pt x="12" y="186"/>
                    </a:cubicBezTo>
                    <a:cubicBezTo>
                      <a:pt x="12" y="187"/>
                      <a:pt x="12" y="188"/>
                      <a:pt x="12" y="189"/>
                    </a:cubicBezTo>
                    <a:cubicBezTo>
                      <a:pt x="13" y="192"/>
                      <a:pt x="13" y="192"/>
                      <a:pt x="13" y="192"/>
                    </a:cubicBezTo>
                    <a:cubicBezTo>
                      <a:pt x="13" y="195"/>
                      <a:pt x="13" y="198"/>
                      <a:pt x="14" y="200"/>
                    </a:cubicBezTo>
                    <a:cubicBezTo>
                      <a:pt x="14" y="201"/>
                      <a:pt x="14" y="201"/>
                      <a:pt x="14" y="201"/>
                    </a:cubicBezTo>
                    <a:cubicBezTo>
                      <a:pt x="14" y="205"/>
                      <a:pt x="14" y="207"/>
                      <a:pt x="10" y="209"/>
                    </a:cubicBezTo>
                    <a:cubicBezTo>
                      <a:pt x="10" y="210"/>
                      <a:pt x="10" y="210"/>
                      <a:pt x="10" y="210"/>
                    </a:cubicBezTo>
                    <a:cubicBezTo>
                      <a:pt x="9" y="210"/>
                      <a:pt x="9" y="210"/>
                      <a:pt x="9" y="210"/>
                    </a:cubicBezTo>
                    <a:cubicBezTo>
                      <a:pt x="7" y="211"/>
                      <a:pt x="7" y="211"/>
                      <a:pt x="7" y="211"/>
                    </a:cubicBezTo>
                    <a:cubicBezTo>
                      <a:pt x="6" y="211"/>
                      <a:pt x="6" y="211"/>
                      <a:pt x="6" y="211"/>
                    </a:cubicBezTo>
                    <a:cubicBezTo>
                      <a:pt x="5" y="212"/>
                      <a:pt x="5" y="212"/>
                      <a:pt x="4" y="214"/>
                    </a:cubicBezTo>
                    <a:cubicBezTo>
                      <a:pt x="2" y="215"/>
                      <a:pt x="2" y="216"/>
                      <a:pt x="1" y="216"/>
                    </a:cubicBezTo>
                    <a:cubicBezTo>
                      <a:pt x="2" y="216"/>
                      <a:pt x="2" y="216"/>
                      <a:pt x="2" y="216"/>
                    </a:cubicBezTo>
                    <a:cubicBezTo>
                      <a:pt x="1" y="217"/>
                      <a:pt x="1" y="217"/>
                      <a:pt x="1" y="217"/>
                    </a:cubicBezTo>
                    <a:cubicBezTo>
                      <a:pt x="2" y="217"/>
                      <a:pt x="2" y="218"/>
                      <a:pt x="7" y="224"/>
                    </a:cubicBezTo>
                    <a:cubicBezTo>
                      <a:pt x="7" y="225"/>
                      <a:pt x="7" y="225"/>
                      <a:pt x="7" y="225"/>
                    </a:cubicBezTo>
                    <a:cubicBezTo>
                      <a:pt x="8" y="226"/>
                      <a:pt x="9" y="226"/>
                      <a:pt x="9" y="227"/>
                    </a:cubicBezTo>
                    <a:cubicBezTo>
                      <a:pt x="10" y="228"/>
                      <a:pt x="10" y="228"/>
                      <a:pt x="10" y="228"/>
                    </a:cubicBezTo>
                    <a:cubicBezTo>
                      <a:pt x="10" y="228"/>
                      <a:pt x="11" y="229"/>
                      <a:pt x="11" y="229"/>
                    </a:cubicBezTo>
                    <a:cubicBezTo>
                      <a:pt x="11" y="230"/>
                      <a:pt x="11" y="230"/>
                      <a:pt x="11" y="230"/>
                    </a:cubicBezTo>
                    <a:cubicBezTo>
                      <a:pt x="13" y="231"/>
                      <a:pt x="14" y="232"/>
                      <a:pt x="14" y="234"/>
                    </a:cubicBezTo>
                    <a:cubicBezTo>
                      <a:pt x="17" y="238"/>
                      <a:pt x="17" y="243"/>
                      <a:pt x="18" y="247"/>
                    </a:cubicBezTo>
                    <a:cubicBezTo>
                      <a:pt x="18" y="248"/>
                      <a:pt x="18" y="248"/>
                      <a:pt x="18" y="248"/>
                    </a:cubicBezTo>
                    <a:cubicBezTo>
                      <a:pt x="19" y="249"/>
                      <a:pt x="19" y="251"/>
                      <a:pt x="19" y="253"/>
                    </a:cubicBezTo>
                    <a:cubicBezTo>
                      <a:pt x="20" y="254"/>
                      <a:pt x="20" y="254"/>
                      <a:pt x="20" y="254"/>
                    </a:cubicBezTo>
                    <a:cubicBezTo>
                      <a:pt x="20" y="255"/>
                      <a:pt x="20" y="255"/>
                      <a:pt x="20" y="255"/>
                    </a:cubicBezTo>
                    <a:cubicBezTo>
                      <a:pt x="22" y="257"/>
                      <a:pt x="23" y="259"/>
                      <a:pt x="25" y="261"/>
                    </a:cubicBezTo>
                    <a:cubicBezTo>
                      <a:pt x="25" y="261"/>
                      <a:pt x="25" y="261"/>
                      <a:pt x="25" y="261"/>
                    </a:cubicBezTo>
                    <a:cubicBezTo>
                      <a:pt x="26" y="262"/>
                      <a:pt x="26" y="262"/>
                      <a:pt x="26" y="262"/>
                    </a:cubicBezTo>
                    <a:cubicBezTo>
                      <a:pt x="26" y="262"/>
                      <a:pt x="27" y="263"/>
                      <a:pt x="27" y="263"/>
                    </a:cubicBezTo>
                    <a:cubicBezTo>
                      <a:pt x="28" y="263"/>
                      <a:pt x="28" y="263"/>
                      <a:pt x="28" y="263"/>
                    </a:cubicBezTo>
                    <a:cubicBezTo>
                      <a:pt x="29" y="263"/>
                      <a:pt x="29" y="263"/>
                      <a:pt x="29" y="263"/>
                    </a:cubicBezTo>
                    <a:cubicBezTo>
                      <a:pt x="31" y="262"/>
                      <a:pt x="32" y="262"/>
                      <a:pt x="34" y="262"/>
                    </a:cubicBezTo>
                    <a:cubicBezTo>
                      <a:pt x="34" y="257"/>
                      <a:pt x="34" y="257"/>
                      <a:pt x="34" y="257"/>
                    </a:cubicBezTo>
                    <a:cubicBezTo>
                      <a:pt x="35" y="262"/>
                      <a:pt x="35" y="262"/>
                      <a:pt x="35" y="262"/>
                    </a:cubicBezTo>
                    <a:cubicBezTo>
                      <a:pt x="36" y="262"/>
                      <a:pt x="36" y="262"/>
                      <a:pt x="36" y="262"/>
                    </a:cubicBezTo>
                    <a:cubicBezTo>
                      <a:pt x="37" y="262"/>
                      <a:pt x="39" y="262"/>
                      <a:pt x="41" y="263"/>
                    </a:cubicBezTo>
                    <a:cubicBezTo>
                      <a:pt x="44" y="264"/>
                      <a:pt x="46" y="265"/>
                      <a:pt x="49" y="266"/>
                    </a:cubicBezTo>
                    <a:cubicBezTo>
                      <a:pt x="54" y="267"/>
                      <a:pt x="54" y="267"/>
                      <a:pt x="54" y="267"/>
                    </a:cubicBezTo>
                    <a:cubicBezTo>
                      <a:pt x="59" y="269"/>
                      <a:pt x="61" y="272"/>
                      <a:pt x="63" y="275"/>
                    </a:cubicBezTo>
                    <a:cubicBezTo>
                      <a:pt x="63" y="275"/>
                      <a:pt x="63" y="275"/>
                      <a:pt x="63" y="275"/>
                    </a:cubicBezTo>
                    <a:cubicBezTo>
                      <a:pt x="64" y="276"/>
                      <a:pt x="64" y="277"/>
                      <a:pt x="65" y="277"/>
                    </a:cubicBezTo>
                    <a:cubicBezTo>
                      <a:pt x="66" y="279"/>
                      <a:pt x="67" y="281"/>
                      <a:pt x="68" y="284"/>
                    </a:cubicBezTo>
                    <a:cubicBezTo>
                      <a:pt x="68" y="284"/>
                      <a:pt x="68" y="284"/>
                      <a:pt x="68" y="284"/>
                    </a:cubicBezTo>
                    <a:cubicBezTo>
                      <a:pt x="70" y="287"/>
                      <a:pt x="71" y="291"/>
                      <a:pt x="73" y="292"/>
                    </a:cubicBezTo>
                    <a:cubicBezTo>
                      <a:pt x="73" y="292"/>
                      <a:pt x="73" y="292"/>
                      <a:pt x="73" y="292"/>
                    </a:cubicBezTo>
                    <a:cubicBezTo>
                      <a:pt x="84" y="292"/>
                      <a:pt x="84" y="292"/>
                      <a:pt x="84" y="292"/>
                    </a:cubicBezTo>
                    <a:cubicBezTo>
                      <a:pt x="80" y="294"/>
                      <a:pt x="80" y="294"/>
                      <a:pt x="80" y="294"/>
                    </a:cubicBezTo>
                    <a:cubicBezTo>
                      <a:pt x="113" y="302"/>
                      <a:pt x="113" y="302"/>
                      <a:pt x="113" y="302"/>
                    </a:cubicBezTo>
                    <a:cubicBezTo>
                      <a:pt x="118" y="303"/>
                      <a:pt x="121" y="306"/>
                      <a:pt x="124" y="309"/>
                    </a:cubicBezTo>
                    <a:cubicBezTo>
                      <a:pt x="129" y="313"/>
                      <a:pt x="129" y="313"/>
                      <a:pt x="129" y="313"/>
                    </a:cubicBezTo>
                    <a:cubicBezTo>
                      <a:pt x="129" y="313"/>
                      <a:pt x="130" y="314"/>
                      <a:pt x="130" y="314"/>
                    </a:cubicBezTo>
                    <a:cubicBezTo>
                      <a:pt x="131" y="315"/>
                      <a:pt x="131" y="315"/>
                      <a:pt x="131" y="315"/>
                    </a:cubicBezTo>
                    <a:cubicBezTo>
                      <a:pt x="132" y="316"/>
                      <a:pt x="133" y="317"/>
                      <a:pt x="134" y="318"/>
                    </a:cubicBezTo>
                    <a:cubicBezTo>
                      <a:pt x="135" y="318"/>
                      <a:pt x="135" y="318"/>
                      <a:pt x="135" y="318"/>
                    </a:cubicBezTo>
                    <a:cubicBezTo>
                      <a:pt x="135" y="318"/>
                      <a:pt x="135" y="318"/>
                      <a:pt x="135" y="318"/>
                    </a:cubicBezTo>
                    <a:cubicBezTo>
                      <a:pt x="136" y="318"/>
                      <a:pt x="137" y="318"/>
                      <a:pt x="138" y="318"/>
                    </a:cubicBezTo>
                    <a:cubicBezTo>
                      <a:pt x="138" y="318"/>
                      <a:pt x="138" y="317"/>
                      <a:pt x="139" y="317"/>
                    </a:cubicBezTo>
                    <a:cubicBezTo>
                      <a:pt x="180" y="296"/>
                      <a:pt x="180" y="296"/>
                      <a:pt x="180" y="296"/>
                    </a:cubicBezTo>
                    <a:cubicBezTo>
                      <a:pt x="180" y="296"/>
                      <a:pt x="181" y="296"/>
                      <a:pt x="181" y="296"/>
                    </a:cubicBezTo>
                    <a:cubicBezTo>
                      <a:pt x="182" y="295"/>
                      <a:pt x="184" y="295"/>
                      <a:pt x="185" y="295"/>
                    </a:cubicBezTo>
                    <a:cubicBezTo>
                      <a:pt x="186" y="295"/>
                      <a:pt x="186" y="295"/>
                      <a:pt x="187" y="295"/>
                    </a:cubicBezTo>
                    <a:cubicBezTo>
                      <a:pt x="188" y="296"/>
                      <a:pt x="190" y="296"/>
                      <a:pt x="191" y="297"/>
                    </a:cubicBezTo>
                    <a:cubicBezTo>
                      <a:pt x="201" y="302"/>
                      <a:pt x="201" y="302"/>
                      <a:pt x="201" y="302"/>
                    </a:cubicBezTo>
                    <a:cubicBezTo>
                      <a:pt x="210" y="306"/>
                      <a:pt x="219" y="311"/>
                      <a:pt x="228" y="315"/>
                    </a:cubicBezTo>
                    <a:cubicBezTo>
                      <a:pt x="241" y="322"/>
                      <a:pt x="241" y="322"/>
                      <a:pt x="241" y="322"/>
                    </a:cubicBezTo>
                    <a:cubicBezTo>
                      <a:pt x="244" y="323"/>
                      <a:pt x="247" y="325"/>
                      <a:pt x="250" y="326"/>
                    </a:cubicBezTo>
                    <a:cubicBezTo>
                      <a:pt x="437" y="326"/>
                      <a:pt x="437" y="326"/>
                      <a:pt x="437" y="326"/>
                    </a:cubicBezTo>
                    <a:cubicBezTo>
                      <a:pt x="437" y="169"/>
                      <a:pt x="437" y="169"/>
                      <a:pt x="437" y="169"/>
                    </a:cubicBezTo>
                    <a:cubicBezTo>
                      <a:pt x="437" y="159"/>
                      <a:pt x="437" y="148"/>
                      <a:pt x="437" y="138"/>
                    </a:cubicBezTo>
                    <a:cubicBezTo>
                      <a:pt x="436" y="134"/>
                      <a:pt x="436" y="130"/>
                      <a:pt x="436" y="126"/>
                    </a:cubicBezTo>
                    <a:cubicBezTo>
                      <a:pt x="435" y="119"/>
                      <a:pt x="434" y="113"/>
                      <a:pt x="433" y="107"/>
                    </a:cubicBezTo>
                    <a:cubicBezTo>
                      <a:pt x="432" y="106"/>
                      <a:pt x="432" y="105"/>
                      <a:pt x="432" y="103"/>
                    </a:cubicBezTo>
                    <a:cubicBezTo>
                      <a:pt x="432" y="103"/>
                      <a:pt x="432" y="103"/>
                      <a:pt x="432" y="103"/>
                    </a:cubicBezTo>
                    <a:cubicBezTo>
                      <a:pt x="431" y="101"/>
                      <a:pt x="431" y="99"/>
                      <a:pt x="430" y="97"/>
                    </a:cubicBezTo>
                    <a:cubicBezTo>
                      <a:pt x="430" y="96"/>
                      <a:pt x="429" y="95"/>
                      <a:pt x="429" y="94"/>
                    </a:cubicBezTo>
                    <a:cubicBezTo>
                      <a:pt x="429" y="90"/>
                      <a:pt x="431" y="87"/>
                      <a:pt x="433" y="84"/>
                    </a:cubicBezTo>
                    <a:cubicBezTo>
                      <a:pt x="434" y="83"/>
                      <a:pt x="435" y="82"/>
                      <a:pt x="435" y="81"/>
                    </a:cubicBezTo>
                    <a:cubicBezTo>
                      <a:pt x="435" y="81"/>
                      <a:pt x="435" y="81"/>
                      <a:pt x="435" y="81"/>
                    </a:cubicBezTo>
                    <a:cubicBezTo>
                      <a:pt x="436" y="79"/>
                      <a:pt x="437" y="76"/>
                      <a:pt x="436" y="73"/>
                    </a:cubicBezTo>
                    <a:cubicBezTo>
                      <a:pt x="436" y="72"/>
                      <a:pt x="435" y="71"/>
                      <a:pt x="435" y="69"/>
                    </a:cubicBezTo>
                    <a:cubicBezTo>
                      <a:pt x="435" y="67"/>
                      <a:pt x="434" y="65"/>
                      <a:pt x="434" y="62"/>
                    </a:cubicBezTo>
                    <a:cubicBezTo>
                      <a:pt x="433" y="61"/>
                      <a:pt x="433" y="58"/>
                      <a:pt x="434" y="56"/>
                    </a:cubicBezTo>
                    <a:cubicBezTo>
                      <a:pt x="434" y="55"/>
                      <a:pt x="434" y="54"/>
                      <a:pt x="435" y="53"/>
                    </a:cubicBezTo>
                    <a:cubicBezTo>
                      <a:pt x="436" y="51"/>
                      <a:pt x="438" y="49"/>
                      <a:pt x="440" y="46"/>
                    </a:cubicBezTo>
                    <a:cubicBezTo>
                      <a:pt x="442" y="45"/>
                      <a:pt x="442" y="45"/>
                      <a:pt x="442" y="45"/>
                    </a:cubicBezTo>
                    <a:cubicBezTo>
                      <a:pt x="442" y="44"/>
                      <a:pt x="443" y="44"/>
                      <a:pt x="443" y="43"/>
                    </a:cubicBezTo>
                    <a:cubicBezTo>
                      <a:pt x="444" y="43"/>
                      <a:pt x="444" y="43"/>
                      <a:pt x="444" y="43"/>
                    </a:cubicBezTo>
                    <a:cubicBezTo>
                      <a:pt x="442" y="41"/>
                      <a:pt x="441" y="37"/>
                      <a:pt x="439" y="36"/>
                    </a:cubicBezTo>
                    <a:cubicBezTo>
                      <a:pt x="438" y="36"/>
                      <a:pt x="436" y="35"/>
                      <a:pt x="435" y="35"/>
                    </a:cubicBezTo>
                    <a:cubicBezTo>
                      <a:pt x="434" y="35"/>
                      <a:pt x="433" y="35"/>
                      <a:pt x="433" y="35"/>
                    </a:cubicBezTo>
                    <a:cubicBezTo>
                      <a:pt x="432" y="35"/>
                      <a:pt x="431" y="35"/>
                      <a:pt x="430" y="35"/>
                    </a:cubicBezTo>
                    <a:cubicBezTo>
                      <a:pt x="429" y="35"/>
                      <a:pt x="428" y="36"/>
                      <a:pt x="427" y="36"/>
                    </a:cubicBezTo>
                    <a:cubicBezTo>
                      <a:pt x="422" y="36"/>
                      <a:pt x="418" y="34"/>
                      <a:pt x="414" y="33"/>
                    </a:cubicBezTo>
                    <a:cubicBezTo>
                      <a:pt x="406" y="30"/>
                      <a:pt x="399" y="30"/>
                      <a:pt x="391" y="29"/>
                    </a:cubicBezTo>
                    <a:cubicBezTo>
                      <a:pt x="389" y="28"/>
                      <a:pt x="387" y="25"/>
                      <a:pt x="386" y="24"/>
                    </a:cubicBezTo>
                    <a:cubicBezTo>
                      <a:pt x="386" y="22"/>
                      <a:pt x="388" y="18"/>
                      <a:pt x="387" y="16"/>
                    </a:cubicBezTo>
                    <a:cubicBezTo>
                      <a:pt x="386" y="14"/>
                      <a:pt x="381" y="13"/>
                      <a:pt x="379" y="13"/>
                    </a:cubicBezTo>
                    <a:cubicBezTo>
                      <a:pt x="375" y="11"/>
                      <a:pt x="370" y="10"/>
                      <a:pt x="366" y="9"/>
                    </a:cubicBezTo>
                    <a:cubicBezTo>
                      <a:pt x="363" y="8"/>
                      <a:pt x="359" y="7"/>
                      <a:pt x="356" y="7"/>
                    </a:cubicBezTo>
                    <a:cubicBezTo>
                      <a:pt x="355" y="7"/>
                      <a:pt x="355" y="7"/>
                      <a:pt x="354" y="7"/>
                    </a:cubicBezTo>
                    <a:cubicBezTo>
                      <a:pt x="349" y="8"/>
                      <a:pt x="345" y="9"/>
                      <a:pt x="340" y="10"/>
                    </a:cubicBezTo>
                    <a:cubicBezTo>
                      <a:pt x="332" y="12"/>
                      <a:pt x="324" y="15"/>
                      <a:pt x="316" y="17"/>
                    </a:cubicBezTo>
                    <a:cubicBezTo>
                      <a:pt x="313" y="18"/>
                      <a:pt x="310" y="22"/>
                      <a:pt x="308" y="24"/>
                    </a:cubicBezTo>
                    <a:cubicBezTo>
                      <a:pt x="306" y="27"/>
                      <a:pt x="303" y="30"/>
                      <a:pt x="300" y="33"/>
                    </a:cubicBezTo>
                    <a:cubicBezTo>
                      <a:pt x="295" y="39"/>
                      <a:pt x="296" y="47"/>
                      <a:pt x="299" y="53"/>
                    </a:cubicBezTo>
                    <a:cubicBezTo>
                      <a:pt x="300" y="55"/>
                      <a:pt x="301" y="56"/>
                      <a:pt x="301" y="57"/>
                    </a:cubicBezTo>
                    <a:cubicBezTo>
                      <a:pt x="304" y="62"/>
                      <a:pt x="302" y="69"/>
                      <a:pt x="299" y="73"/>
                    </a:cubicBezTo>
                    <a:cubicBezTo>
                      <a:pt x="294" y="80"/>
                      <a:pt x="288" y="86"/>
                      <a:pt x="280" y="89"/>
                    </a:cubicBezTo>
                    <a:cubicBezTo>
                      <a:pt x="278" y="89"/>
                      <a:pt x="276" y="90"/>
                      <a:pt x="273" y="90"/>
                    </a:cubicBezTo>
                    <a:cubicBezTo>
                      <a:pt x="272" y="90"/>
                      <a:pt x="272" y="90"/>
                      <a:pt x="271" y="90"/>
                    </a:cubicBezTo>
                    <a:cubicBezTo>
                      <a:pt x="268" y="89"/>
                      <a:pt x="266" y="88"/>
                      <a:pt x="264" y="87"/>
                    </a:cubicBezTo>
                    <a:cubicBezTo>
                      <a:pt x="256" y="81"/>
                      <a:pt x="249" y="76"/>
                      <a:pt x="241" y="71"/>
                    </a:cubicBezTo>
                    <a:cubicBezTo>
                      <a:pt x="232" y="66"/>
                      <a:pt x="218" y="62"/>
                      <a:pt x="207" y="60"/>
                    </a:cubicBezTo>
                    <a:cubicBezTo>
                      <a:pt x="199" y="59"/>
                      <a:pt x="192" y="61"/>
                      <a:pt x="185" y="57"/>
                    </a:cubicBezTo>
                    <a:cubicBezTo>
                      <a:pt x="178" y="53"/>
                      <a:pt x="173" y="52"/>
                      <a:pt x="170" y="45"/>
                    </a:cubicBezTo>
                    <a:cubicBezTo>
                      <a:pt x="169" y="43"/>
                      <a:pt x="168" y="40"/>
                      <a:pt x="167" y="37"/>
                    </a:cubicBezTo>
                    <a:cubicBezTo>
                      <a:pt x="166" y="33"/>
                      <a:pt x="165" y="25"/>
                      <a:pt x="160" y="22"/>
                    </a:cubicBezTo>
                    <a:cubicBezTo>
                      <a:pt x="159" y="22"/>
                      <a:pt x="156" y="22"/>
                      <a:pt x="154" y="22"/>
                    </a:cubicBezTo>
                    <a:cubicBezTo>
                      <a:pt x="145" y="21"/>
                      <a:pt x="138" y="17"/>
                      <a:pt x="129" y="13"/>
                    </a:cubicBezTo>
                    <a:cubicBezTo>
                      <a:pt x="122" y="9"/>
                      <a:pt x="112" y="10"/>
                      <a:pt x="104" y="9"/>
                    </a:cubicBezTo>
                    <a:cubicBezTo>
                      <a:pt x="103" y="9"/>
                      <a:pt x="102" y="9"/>
                      <a:pt x="102" y="9"/>
                    </a:cubicBezTo>
                    <a:cubicBezTo>
                      <a:pt x="100" y="9"/>
                      <a:pt x="98" y="9"/>
                      <a:pt x="96" y="9"/>
                    </a:cubicBezTo>
                    <a:cubicBezTo>
                      <a:pt x="94" y="10"/>
                      <a:pt x="92" y="10"/>
                      <a:pt x="90" y="10"/>
                    </a:cubicBezTo>
                    <a:cubicBezTo>
                      <a:pt x="88" y="10"/>
                      <a:pt x="86" y="10"/>
                      <a:pt x="84" y="9"/>
                    </a:cubicBezTo>
                    <a:cubicBezTo>
                      <a:pt x="77" y="6"/>
                      <a:pt x="69" y="3"/>
                      <a:pt x="6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28" name="Freeform 256">
                <a:extLst>
                  <a:ext uri="{FF2B5EF4-FFF2-40B4-BE49-F238E27FC236}">
                    <a16:creationId xmlns:a16="http://schemas.microsoft.com/office/drawing/2014/main" id="{C6655469-D16E-47C9-A076-5C6544C0C1FE}"/>
                  </a:ext>
                </a:extLst>
              </p:cNvPr>
              <p:cNvSpPr>
                <a:spLocks/>
              </p:cNvSpPr>
              <p:nvPr/>
            </p:nvSpPr>
            <p:spPr bwMode="auto">
              <a:xfrm>
                <a:off x="5044924" y="5395010"/>
                <a:ext cx="339031" cy="696487"/>
              </a:xfrm>
              <a:custGeom>
                <a:avLst/>
                <a:gdLst>
                  <a:gd name="T0" fmla="*/ 56 w 107"/>
                  <a:gd name="T1" fmla="*/ 0 h 220"/>
                  <a:gd name="T2" fmla="*/ 35 w 107"/>
                  <a:gd name="T3" fmla="*/ 10 h 220"/>
                  <a:gd name="T4" fmla="*/ 33 w 107"/>
                  <a:gd name="T5" fmla="*/ 11 h 220"/>
                  <a:gd name="T6" fmla="*/ 21 w 107"/>
                  <a:gd name="T7" fmla="*/ 26 h 220"/>
                  <a:gd name="T8" fmla="*/ 22 w 107"/>
                  <a:gd name="T9" fmla="*/ 43 h 220"/>
                  <a:gd name="T10" fmla="*/ 24 w 107"/>
                  <a:gd name="T11" fmla="*/ 56 h 220"/>
                  <a:gd name="T12" fmla="*/ 26 w 107"/>
                  <a:gd name="T13" fmla="*/ 62 h 220"/>
                  <a:gd name="T14" fmla="*/ 26 w 107"/>
                  <a:gd name="T15" fmla="*/ 69 h 220"/>
                  <a:gd name="T16" fmla="*/ 9 w 107"/>
                  <a:gd name="T17" fmla="*/ 98 h 220"/>
                  <a:gd name="T18" fmla="*/ 1 w 107"/>
                  <a:gd name="T19" fmla="*/ 105 h 220"/>
                  <a:gd name="T20" fmla="*/ 5 w 107"/>
                  <a:gd name="T21" fmla="*/ 122 h 220"/>
                  <a:gd name="T22" fmla="*/ 19 w 107"/>
                  <a:gd name="T23" fmla="*/ 137 h 220"/>
                  <a:gd name="T24" fmla="*/ 21 w 107"/>
                  <a:gd name="T25" fmla="*/ 141 h 220"/>
                  <a:gd name="T26" fmla="*/ 23 w 107"/>
                  <a:gd name="T27" fmla="*/ 147 h 220"/>
                  <a:gd name="T28" fmla="*/ 23 w 107"/>
                  <a:gd name="T29" fmla="*/ 151 h 220"/>
                  <a:gd name="T30" fmla="*/ 26 w 107"/>
                  <a:gd name="T31" fmla="*/ 154 h 220"/>
                  <a:gd name="T32" fmla="*/ 37 w 107"/>
                  <a:gd name="T33" fmla="*/ 162 h 220"/>
                  <a:gd name="T34" fmla="*/ 45 w 107"/>
                  <a:gd name="T35" fmla="*/ 171 h 220"/>
                  <a:gd name="T36" fmla="*/ 62 w 107"/>
                  <a:gd name="T37" fmla="*/ 210 h 220"/>
                  <a:gd name="T38" fmla="*/ 63 w 107"/>
                  <a:gd name="T39" fmla="*/ 217 h 220"/>
                  <a:gd name="T40" fmla="*/ 66 w 107"/>
                  <a:gd name="T41" fmla="*/ 214 h 220"/>
                  <a:gd name="T42" fmla="*/ 68 w 107"/>
                  <a:gd name="T43" fmla="*/ 211 h 220"/>
                  <a:gd name="T44" fmla="*/ 71 w 107"/>
                  <a:gd name="T45" fmla="*/ 200 h 220"/>
                  <a:gd name="T46" fmla="*/ 70 w 107"/>
                  <a:gd name="T47" fmla="*/ 192 h 220"/>
                  <a:gd name="T48" fmla="*/ 77 w 107"/>
                  <a:gd name="T49" fmla="*/ 175 h 220"/>
                  <a:gd name="T50" fmla="*/ 80 w 107"/>
                  <a:gd name="T51" fmla="*/ 172 h 220"/>
                  <a:gd name="T52" fmla="*/ 86 w 107"/>
                  <a:gd name="T53" fmla="*/ 167 h 220"/>
                  <a:gd name="T54" fmla="*/ 88 w 107"/>
                  <a:gd name="T55" fmla="*/ 166 h 220"/>
                  <a:gd name="T56" fmla="*/ 90 w 107"/>
                  <a:gd name="T57" fmla="*/ 164 h 220"/>
                  <a:gd name="T58" fmla="*/ 92 w 107"/>
                  <a:gd name="T59" fmla="*/ 162 h 220"/>
                  <a:gd name="T60" fmla="*/ 101 w 107"/>
                  <a:gd name="T61" fmla="*/ 159 h 220"/>
                  <a:gd name="T62" fmla="*/ 107 w 107"/>
                  <a:gd name="T63" fmla="*/ 155 h 220"/>
                  <a:gd name="T64" fmla="*/ 107 w 107"/>
                  <a:gd name="T65" fmla="*/ 135 h 220"/>
                  <a:gd name="T66" fmla="*/ 107 w 107"/>
                  <a:gd name="T67" fmla="*/ 133 h 220"/>
                  <a:gd name="T68" fmla="*/ 100 w 107"/>
                  <a:gd name="T69" fmla="*/ 129 h 220"/>
                  <a:gd name="T70" fmla="*/ 95 w 107"/>
                  <a:gd name="T71" fmla="*/ 118 h 220"/>
                  <a:gd name="T72" fmla="*/ 89 w 107"/>
                  <a:gd name="T73" fmla="*/ 123 h 220"/>
                  <a:gd name="T74" fmla="*/ 87 w 107"/>
                  <a:gd name="T75" fmla="*/ 116 h 220"/>
                  <a:gd name="T76" fmla="*/ 82 w 107"/>
                  <a:gd name="T77" fmla="*/ 117 h 220"/>
                  <a:gd name="T78" fmla="*/ 68 w 107"/>
                  <a:gd name="T79" fmla="*/ 102 h 220"/>
                  <a:gd name="T80" fmla="*/ 96 w 107"/>
                  <a:gd name="T81" fmla="*/ 72 h 220"/>
                  <a:gd name="T82" fmla="*/ 96 w 107"/>
                  <a:gd name="T83" fmla="*/ 56 h 220"/>
                  <a:gd name="T84" fmla="*/ 82 w 107"/>
                  <a:gd name="T85" fmla="*/ 31 h 220"/>
                  <a:gd name="T86" fmla="*/ 97 w 107"/>
                  <a:gd name="T87" fmla="*/ 17 h 220"/>
                  <a:gd name="T88" fmla="*/ 93 w 107"/>
                  <a:gd name="T89" fmla="*/ 8 h 220"/>
                  <a:gd name="T90" fmla="*/ 83 w 107"/>
                  <a:gd name="T91" fmla="*/ 15 h 220"/>
                  <a:gd name="T92" fmla="*/ 79 w 107"/>
                  <a:gd name="T93" fmla="*/ 19 h 220"/>
                  <a:gd name="T94" fmla="*/ 74 w 107"/>
                  <a:gd name="T95" fmla="*/ 8 h 220"/>
                  <a:gd name="T96" fmla="*/ 66 w 107"/>
                  <a:gd name="T97" fmla="*/ 1 h 220"/>
                  <a:gd name="T98" fmla="*/ 58 w 107"/>
                  <a:gd name="T99"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7" h="220">
                    <a:moveTo>
                      <a:pt x="58" y="0"/>
                    </a:moveTo>
                    <a:cubicBezTo>
                      <a:pt x="58" y="0"/>
                      <a:pt x="57" y="0"/>
                      <a:pt x="56" y="0"/>
                    </a:cubicBezTo>
                    <a:cubicBezTo>
                      <a:pt x="51" y="1"/>
                      <a:pt x="46" y="3"/>
                      <a:pt x="41" y="5"/>
                    </a:cubicBezTo>
                    <a:cubicBezTo>
                      <a:pt x="39" y="6"/>
                      <a:pt x="38" y="9"/>
                      <a:pt x="35" y="10"/>
                    </a:cubicBezTo>
                    <a:cubicBezTo>
                      <a:pt x="34" y="10"/>
                      <a:pt x="33" y="10"/>
                      <a:pt x="32" y="11"/>
                    </a:cubicBezTo>
                    <a:cubicBezTo>
                      <a:pt x="33" y="11"/>
                      <a:pt x="33" y="11"/>
                      <a:pt x="33" y="11"/>
                    </a:cubicBezTo>
                    <a:cubicBezTo>
                      <a:pt x="31" y="14"/>
                      <a:pt x="31" y="14"/>
                      <a:pt x="31" y="14"/>
                    </a:cubicBezTo>
                    <a:cubicBezTo>
                      <a:pt x="21" y="26"/>
                      <a:pt x="21" y="26"/>
                      <a:pt x="21" y="26"/>
                    </a:cubicBezTo>
                    <a:cubicBezTo>
                      <a:pt x="23" y="28"/>
                      <a:pt x="25" y="30"/>
                      <a:pt x="24" y="36"/>
                    </a:cubicBezTo>
                    <a:cubicBezTo>
                      <a:pt x="22" y="43"/>
                      <a:pt x="22" y="43"/>
                      <a:pt x="22" y="43"/>
                    </a:cubicBezTo>
                    <a:cubicBezTo>
                      <a:pt x="22" y="45"/>
                      <a:pt x="23" y="49"/>
                      <a:pt x="23" y="53"/>
                    </a:cubicBezTo>
                    <a:cubicBezTo>
                      <a:pt x="24" y="54"/>
                      <a:pt x="24" y="55"/>
                      <a:pt x="24" y="56"/>
                    </a:cubicBezTo>
                    <a:cubicBezTo>
                      <a:pt x="25" y="60"/>
                      <a:pt x="25" y="60"/>
                      <a:pt x="25" y="60"/>
                    </a:cubicBezTo>
                    <a:cubicBezTo>
                      <a:pt x="25" y="61"/>
                      <a:pt x="25" y="61"/>
                      <a:pt x="26" y="62"/>
                    </a:cubicBezTo>
                    <a:cubicBezTo>
                      <a:pt x="26" y="62"/>
                      <a:pt x="26" y="62"/>
                      <a:pt x="26" y="62"/>
                    </a:cubicBezTo>
                    <a:cubicBezTo>
                      <a:pt x="26" y="65"/>
                      <a:pt x="27" y="67"/>
                      <a:pt x="26" y="69"/>
                    </a:cubicBezTo>
                    <a:cubicBezTo>
                      <a:pt x="25" y="75"/>
                      <a:pt x="23" y="81"/>
                      <a:pt x="21" y="86"/>
                    </a:cubicBezTo>
                    <a:cubicBezTo>
                      <a:pt x="17" y="90"/>
                      <a:pt x="14" y="94"/>
                      <a:pt x="9" y="98"/>
                    </a:cubicBezTo>
                    <a:cubicBezTo>
                      <a:pt x="7" y="100"/>
                      <a:pt x="4" y="102"/>
                      <a:pt x="2" y="104"/>
                    </a:cubicBezTo>
                    <a:cubicBezTo>
                      <a:pt x="1" y="105"/>
                      <a:pt x="1" y="105"/>
                      <a:pt x="1" y="105"/>
                    </a:cubicBezTo>
                    <a:cubicBezTo>
                      <a:pt x="0" y="106"/>
                      <a:pt x="0" y="107"/>
                      <a:pt x="0" y="110"/>
                    </a:cubicBezTo>
                    <a:cubicBezTo>
                      <a:pt x="0" y="114"/>
                      <a:pt x="2" y="118"/>
                      <a:pt x="5" y="122"/>
                    </a:cubicBezTo>
                    <a:cubicBezTo>
                      <a:pt x="7" y="126"/>
                      <a:pt x="10" y="128"/>
                      <a:pt x="13" y="131"/>
                    </a:cubicBezTo>
                    <a:cubicBezTo>
                      <a:pt x="15" y="133"/>
                      <a:pt x="17" y="135"/>
                      <a:pt x="19" y="137"/>
                    </a:cubicBezTo>
                    <a:cubicBezTo>
                      <a:pt x="19" y="138"/>
                      <a:pt x="20" y="139"/>
                      <a:pt x="20" y="139"/>
                    </a:cubicBezTo>
                    <a:cubicBezTo>
                      <a:pt x="21" y="140"/>
                      <a:pt x="21" y="140"/>
                      <a:pt x="21" y="141"/>
                    </a:cubicBezTo>
                    <a:cubicBezTo>
                      <a:pt x="21" y="141"/>
                      <a:pt x="21" y="141"/>
                      <a:pt x="21" y="141"/>
                    </a:cubicBezTo>
                    <a:cubicBezTo>
                      <a:pt x="22" y="143"/>
                      <a:pt x="23" y="145"/>
                      <a:pt x="23" y="147"/>
                    </a:cubicBezTo>
                    <a:cubicBezTo>
                      <a:pt x="23" y="148"/>
                      <a:pt x="23" y="148"/>
                      <a:pt x="23" y="148"/>
                    </a:cubicBezTo>
                    <a:cubicBezTo>
                      <a:pt x="23" y="149"/>
                      <a:pt x="23" y="151"/>
                      <a:pt x="23" y="151"/>
                    </a:cubicBezTo>
                    <a:cubicBezTo>
                      <a:pt x="25" y="153"/>
                      <a:pt x="25" y="153"/>
                      <a:pt x="25" y="153"/>
                    </a:cubicBezTo>
                    <a:cubicBezTo>
                      <a:pt x="25" y="153"/>
                      <a:pt x="26" y="153"/>
                      <a:pt x="26" y="154"/>
                    </a:cubicBezTo>
                    <a:cubicBezTo>
                      <a:pt x="35" y="161"/>
                      <a:pt x="35" y="161"/>
                      <a:pt x="35" y="161"/>
                    </a:cubicBezTo>
                    <a:cubicBezTo>
                      <a:pt x="36" y="161"/>
                      <a:pt x="36" y="162"/>
                      <a:pt x="37" y="162"/>
                    </a:cubicBezTo>
                    <a:cubicBezTo>
                      <a:pt x="39" y="163"/>
                      <a:pt x="41" y="165"/>
                      <a:pt x="42" y="166"/>
                    </a:cubicBezTo>
                    <a:cubicBezTo>
                      <a:pt x="44" y="168"/>
                      <a:pt x="45" y="170"/>
                      <a:pt x="45" y="171"/>
                    </a:cubicBezTo>
                    <a:cubicBezTo>
                      <a:pt x="56" y="217"/>
                      <a:pt x="56" y="217"/>
                      <a:pt x="56" y="217"/>
                    </a:cubicBezTo>
                    <a:cubicBezTo>
                      <a:pt x="62" y="210"/>
                      <a:pt x="62" y="210"/>
                      <a:pt x="62" y="210"/>
                    </a:cubicBezTo>
                    <a:cubicBezTo>
                      <a:pt x="59" y="220"/>
                      <a:pt x="59" y="220"/>
                      <a:pt x="59" y="220"/>
                    </a:cubicBezTo>
                    <a:cubicBezTo>
                      <a:pt x="60" y="220"/>
                      <a:pt x="62" y="219"/>
                      <a:pt x="63" y="217"/>
                    </a:cubicBezTo>
                    <a:cubicBezTo>
                      <a:pt x="64" y="217"/>
                      <a:pt x="65" y="216"/>
                      <a:pt x="65" y="215"/>
                    </a:cubicBezTo>
                    <a:cubicBezTo>
                      <a:pt x="66" y="214"/>
                      <a:pt x="66" y="214"/>
                      <a:pt x="66" y="214"/>
                    </a:cubicBezTo>
                    <a:cubicBezTo>
                      <a:pt x="67" y="213"/>
                      <a:pt x="67" y="212"/>
                      <a:pt x="68" y="212"/>
                    </a:cubicBezTo>
                    <a:cubicBezTo>
                      <a:pt x="68" y="211"/>
                      <a:pt x="68" y="211"/>
                      <a:pt x="68" y="211"/>
                    </a:cubicBezTo>
                    <a:cubicBezTo>
                      <a:pt x="71" y="208"/>
                      <a:pt x="72" y="205"/>
                      <a:pt x="71" y="202"/>
                    </a:cubicBezTo>
                    <a:cubicBezTo>
                      <a:pt x="71" y="202"/>
                      <a:pt x="71" y="201"/>
                      <a:pt x="71" y="200"/>
                    </a:cubicBezTo>
                    <a:cubicBezTo>
                      <a:pt x="71" y="199"/>
                      <a:pt x="71" y="199"/>
                      <a:pt x="71" y="199"/>
                    </a:cubicBezTo>
                    <a:cubicBezTo>
                      <a:pt x="70" y="197"/>
                      <a:pt x="70" y="195"/>
                      <a:pt x="70" y="192"/>
                    </a:cubicBezTo>
                    <a:cubicBezTo>
                      <a:pt x="70" y="192"/>
                      <a:pt x="70" y="181"/>
                      <a:pt x="74" y="177"/>
                    </a:cubicBezTo>
                    <a:cubicBezTo>
                      <a:pt x="75" y="176"/>
                      <a:pt x="76" y="175"/>
                      <a:pt x="77" y="175"/>
                    </a:cubicBezTo>
                    <a:cubicBezTo>
                      <a:pt x="77" y="175"/>
                      <a:pt x="77" y="175"/>
                      <a:pt x="78" y="175"/>
                    </a:cubicBezTo>
                    <a:cubicBezTo>
                      <a:pt x="78" y="174"/>
                      <a:pt x="79" y="173"/>
                      <a:pt x="80" y="172"/>
                    </a:cubicBezTo>
                    <a:cubicBezTo>
                      <a:pt x="81" y="171"/>
                      <a:pt x="82" y="169"/>
                      <a:pt x="84" y="168"/>
                    </a:cubicBezTo>
                    <a:cubicBezTo>
                      <a:pt x="85" y="168"/>
                      <a:pt x="85" y="167"/>
                      <a:pt x="86" y="167"/>
                    </a:cubicBezTo>
                    <a:cubicBezTo>
                      <a:pt x="86" y="167"/>
                      <a:pt x="87" y="167"/>
                      <a:pt x="87" y="168"/>
                    </a:cubicBezTo>
                    <a:cubicBezTo>
                      <a:pt x="87" y="167"/>
                      <a:pt x="88" y="166"/>
                      <a:pt x="88" y="166"/>
                    </a:cubicBezTo>
                    <a:cubicBezTo>
                      <a:pt x="89" y="165"/>
                      <a:pt x="89" y="165"/>
                      <a:pt x="89" y="165"/>
                    </a:cubicBezTo>
                    <a:cubicBezTo>
                      <a:pt x="89" y="165"/>
                      <a:pt x="90" y="164"/>
                      <a:pt x="90" y="164"/>
                    </a:cubicBezTo>
                    <a:cubicBezTo>
                      <a:pt x="91" y="163"/>
                      <a:pt x="91" y="163"/>
                      <a:pt x="91" y="163"/>
                    </a:cubicBezTo>
                    <a:cubicBezTo>
                      <a:pt x="92" y="163"/>
                      <a:pt x="92" y="162"/>
                      <a:pt x="92" y="162"/>
                    </a:cubicBezTo>
                    <a:cubicBezTo>
                      <a:pt x="94" y="161"/>
                      <a:pt x="96" y="160"/>
                      <a:pt x="99" y="159"/>
                    </a:cubicBezTo>
                    <a:cubicBezTo>
                      <a:pt x="101" y="159"/>
                      <a:pt x="101" y="159"/>
                      <a:pt x="101" y="159"/>
                    </a:cubicBezTo>
                    <a:cubicBezTo>
                      <a:pt x="103" y="158"/>
                      <a:pt x="105" y="157"/>
                      <a:pt x="106" y="156"/>
                    </a:cubicBezTo>
                    <a:cubicBezTo>
                      <a:pt x="107" y="156"/>
                      <a:pt x="107" y="155"/>
                      <a:pt x="107" y="155"/>
                    </a:cubicBezTo>
                    <a:cubicBezTo>
                      <a:pt x="107" y="136"/>
                      <a:pt x="107" y="136"/>
                      <a:pt x="107" y="136"/>
                    </a:cubicBezTo>
                    <a:cubicBezTo>
                      <a:pt x="107" y="135"/>
                      <a:pt x="107" y="135"/>
                      <a:pt x="107" y="135"/>
                    </a:cubicBezTo>
                    <a:cubicBezTo>
                      <a:pt x="106" y="134"/>
                      <a:pt x="106" y="134"/>
                      <a:pt x="106" y="134"/>
                    </a:cubicBezTo>
                    <a:cubicBezTo>
                      <a:pt x="107" y="133"/>
                      <a:pt x="107" y="133"/>
                      <a:pt x="107" y="133"/>
                    </a:cubicBezTo>
                    <a:cubicBezTo>
                      <a:pt x="106" y="133"/>
                      <a:pt x="106" y="133"/>
                      <a:pt x="106" y="133"/>
                    </a:cubicBezTo>
                    <a:cubicBezTo>
                      <a:pt x="105" y="133"/>
                      <a:pt x="96" y="130"/>
                      <a:pt x="100" y="129"/>
                    </a:cubicBezTo>
                    <a:cubicBezTo>
                      <a:pt x="98" y="126"/>
                      <a:pt x="99" y="120"/>
                      <a:pt x="96" y="119"/>
                    </a:cubicBezTo>
                    <a:cubicBezTo>
                      <a:pt x="95" y="118"/>
                      <a:pt x="95" y="118"/>
                      <a:pt x="95" y="118"/>
                    </a:cubicBezTo>
                    <a:cubicBezTo>
                      <a:pt x="93" y="118"/>
                      <a:pt x="94" y="121"/>
                      <a:pt x="94" y="121"/>
                    </a:cubicBezTo>
                    <a:cubicBezTo>
                      <a:pt x="93" y="122"/>
                      <a:pt x="90" y="123"/>
                      <a:pt x="89" y="123"/>
                    </a:cubicBezTo>
                    <a:cubicBezTo>
                      <a:pt x="88" y="123"/>
                      <a:pt x="87" y="123"/>
                      <a:pt x="87" y="122"/>
                    </a:cubicBezTo>
                    <a:cubicBezTo>
                      <a:pt x="86" y="121"/>
                      <a:pt x="90" y="118"/>
                      <a:pt x="87" y="116"/>
                    </a:cubicBezTo>
                    <a:cubicBezTo>
                      <a:pt x="84" y="117"/>
                      <a:pt x="84" y="117"/>
                      <a:pt x="84" y="117"/>
                    </a:cubicBezTo>
                    <a:cubicBezTo>
                      <a:pt x="83" y="117"/>
                      <a:pt x="82" y="117"/>
                      <a:pt x="82" y="117"/>
                    </a:cubicBezTo>
                    <a:cubicBezTo>
                      <a:pt x="79" y="117"/>
                      <a:pt x="77" y="116"/>
                      <a:pt x="74" y="113"/>
                    </a:cubicBezTo>
                    <a:cubicBezTo>
                      <a:pt x="70" y="110"/>
                      <a:pt x="69" y="106"/>
                      <a:pt x="68" y="102"/>
                    </a:cubicBezTo>
                    <a:cubicBezTo>
                      <a:pt x="67" y="99"/>
                      <a:pt x="83" y="89"/>
                      <a:pt x="86" y="87"/>
                    </a:cubicBezTo>
                    <a:cubicBezTo>
                      <a:pt x="91" y="83"/>
                      <a:pt x="93" y="77"/>
                      <a:pt x="96" y="72"/>
                    </a:cubicBezTo>
                    <a:cubicBezTo>
                      <a:pt x="98" y="69"/>
                      <a:pt x="100" y="68"/>
                      <a:pt x="99" y="65"/>
                    </a:cubicBezTo>
                    <a:cubicBezTo>
                      <a:pt x="98" y="63"/>
                      <a:pt x="98" y="58"/>
                      <a:pt x="96" y="56"/>
                    </a:cubicBezTo>
                    <a:cubicBezTo>
                      <a:pt x="90" y="52"/>
                      <a:pt x="82" y="47"/>
                      <a:pt x="81" y="39"/>
                    </a:cubicBezTo>
                    <a:cubicBezTo>
                      <a:pt x="80" y="37"/>
                      <a:pt x="81" y="32"/>
                      <a:pt x="82" y="31"/>
                    </a:cubicBezTo>
                    <a:cubicBezTo>
                      <a:pt x="84" y="28"/>
                      <a:pt x="89" y="28"/>
                      <a:pt x="91" y="26"/>
                    </a:cubicBezTo>
                    <a:cubicBezTo>
                      <a:pt x="94" y="23"/>
                      <a:pt x="96" y="20"/>
                      <a:pt x="97" y="17"/>
                    </a:cubicBezTo>
                    <a:cubicBezTo>
                      <a:pt x="99" y="14"/>
                      <a:pt x="99" y="7"/>
                      <a:pt x="96" y="7"/>
                    </a:cubicBezTo>
                    <a:cubicBezTo>
                      <a:pt x="95" y="7"/>
                      <a:pt x="94" y="8"/>
                      <a:pt x="93" y="8"/>
                    </a:cubicBezTo>
                    <a:cubicBezTo>
                      <a:pt x="91" y="10"/>
                      <a:pt x="90" y="13"/>
                      <a:pt x="88" y="14"/>
                    </a:cubicBezTo>
                    <a:cubicBezTo>
                      <a:pt x="86" y="14"/>
                      <a:pt x="85" y="14"/>
                      <a:pt x="83" y="15"/>
                    </a:cubicBezTo>
                    <a:cubicBezTo>
                      <a:pt x="83" y="15"/>
                      <a:pt x="83" y="17"/>
                      <a:pt x="82" y="17"/>
                    </a:cubicBezTo>
                    <a:cubicBezTo>
                      <a:pt x="81" y="18"/>
                      <a:pt x="80" y="19"/>
                      <a:pt x="79" y="19"/>
                    </a:cubicBezTo>
                    <a:cubicBezTo>
                      <a:pt x="78" y="19"/>
                      <a:pt x="77" y="18"/>
                      <a:pt x="75" y="17"/>
                    </a:cubicBezTo>
                    <a:cubicBezTo>
                      <a:pt x="77" y="13"/>
                      <a:pt x="76" y="12"/>
                      <a:pt x="74" y="8"/>
                    </a:cubicBezTo>
                    <a:cubicBezTo>
                      <a:pt x="73" y="5"/>
                      <a:pt x="72" y="3"/>
                      <a:pt x="69" y="2"/>
                    </a:cubicBezTo>
                    <a:cubicBezTo>
                      <a:pt x="68" y="1"/>
                      <a:pt x="67" y="1"/>
                      <a:pt x="66" y="1"/>
                    </a:cubicBezTo>
                    <a:cubicBezTo>
                      <a:pt x="64" y="1"/>
                      <a:pt x="63" y="3"/>
                      <a:pt x="62" y="5"/>
                    </a:cubicBezTo>
                    <a:cubicBezTo>
                      <a:pt x="60" y="2"/>
                      <a:pt x="60" y="0"/>
                      <a:pt x="5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29" name="Freeform 257">
                <a:extLst>
                  <a:ext uri="{FF2B5EF4-FFF2-40B4-BE49-F238E27FC236}">
                    <a16:creationId xmlns:a16="http://schemas.microsoft.com/office/drawing/2014/main" id="{04FE4A99-8617-405A-A9C8-1BF371C91020}"/>
                  </a:ext>
                </a:extLst>
              </p:cNvPr>
              <p:cNvSpPr>
                <a:spLocks/>
              </p:cNvSpPr>
              <p:nvPr/>
            </p:nvSpPr>
            <p:spPr bwMode="auto">
              <a:xfrm>
                <a:off x="5722985" y="6780614"/>
                <a:ext cx="235847" cy="77387"/>
              </a:xfrm>
              <a:custGeom>
                <a:avLst/>
                <a:gdLst>
                  <a:gd name="T0" fmla="*/ 24 w 74"/>
                  <a:gd name="T1" fmla="*/ 0 h 24"/>
                  <a:gd name="T2" fmla="*/ 23 w 74"/>
                  <a:gd name="T3" fmla="*/ 0 h 24"/>
                  <a:gd name="T4" fmla="*/ 22 w 74"/>
                  <a:gd name="T5" fmla="*/ 1 h 24"/>
                  <a:gd name="T6" fmla="*/ 0 w 74"/>
                  <a:gd name="T7" fmla="*/ 12 h 24"/>
                  <a:gd name="T8" fmla="*/ 1 w 74"/>
                  <a:gd name="T9" fmla="*/ 17 h 24"/>
                  <a:gd name="T10" fmla="*/ 2 w 74"/>
                  <a:gd name="T11" fmla="*/ 24 h 24"/>
                  <a:gd name="T12" fmla="*/ 74 w 74"/>
                  <a:gd name="T13" fmla="*/ 24 h 24"/>
                  <a:gd name="T14" fmla="*/ 64 w 74"/>
                  <a:gd name="T15" fmla="*/ 20 h 24"/>
                  <a:gd name="T16" fmla="*/ 36 w 74"/>
                  <a:gd name="T17" fmla="*/ 6 h 24"/>
                  <a:gd name="T18" fmla="*/ 27 w 74"/>
                  <a:gd name="T19" fmla="*/ 1 h 24"/>
                  <a:gd name="T20" fmla="*/ 24 w 74"/>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 h="24">
                    <a:moveTo>
                      <a:pt x="24" y="0"/>
                    </a:moveTo>
                    <a:cubicBezTo>
                      <a:pt x="24" y="0"/>
                      <a:pt x="24" y="0"/>
                      <a:pt x="23" y="0"/>
                    </a:cubicBezTo>
                    <a:cubicBezTo>
                      <a:pt x="22" y="1"/>
                      <a:pt x="22" y="1"/>
                      <a:pt x="22" y="1"/>
                    </a:cubicBezTo>
                    <a:cubicBezTo>
                      <a:pt x="0" y="12"/>
                      <a:pt x="0" y="12"/>
                      <a:pt x="0" y="12"/>
                    </a:cubicBezTo>
                    <a:cubicBezTo>
                      <a:pt x="1" y="17"/>
                      <a:pt x="1" y="17"/>
                      <a:pt x="1" y="17"/>
                    </a:cubicBezTo>
                    <a:cubicBezTo>
                      <a:pt x="1" y="20"/>
                      <a:pt x="2" y="22"/>
                      <a:pt x="2" y="24"/>
                    </a:cubicBezTo>
                    <a:cubicBezTo>
                      <a:pt x="74" y="24"/>
                      <a:pt x="74" y="24"/>
                      <a:pt x="74" y="24"/>
                    </a:cubicBezTo>
                    <a:cubicBezTo>
                      <a:pt x="64" y="20"/>
                      <a:pt x="64" y="20"/>
                      <a:pt x="64" y="20"/>
                    </a:cubicBezTo>
                    <a:cubicBezTo>
                      <a:pt x="55" y="15"/>
                      <a:pt x="46" y="10"/>
                      <a:pt x="36" y="6"/>
                    </a:cubicBezTo>
                    <a:cubicBezTo>
                      <a:pt x="27" y="1"/>
                      <a:pt x="27" y="1"/>
                      <a:pt x="27" y="1"/>
                    </a:cubicBezTo>
                    <a:cubicBezTo>
                      <a:pt x="26" y="1"/>
                      <a:pt x="25" y="0"/>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30" name="Freeform 258">
                <a:extLst>
                  <a:ext uri="{FF2B5EF4-FFF2-40B4-BE49-F238E27FC236}">
                    <a16:creationId xmlns:a16="http://schemas.microsoft.com/office/drawing/2014/main" id="{86247AD1-202E-4178-93EC-505AE9D25DCC}"/>
                  </a:ext>
                </a:extLst>
              </p:cNvPr>
              <p:cNvSpPr>
                <a:spLocks/>
              </p:cNvSpPr>
              <p:nvPr/>
            </p:nvSpPr>
            <p:spPr bwMode="auto">
              <a:xfrm>
                <a:off x="5302882" y="6776928"/>
                <a:ext cx="405363" cy="81073"/>
              </a:xfrm>
              <a:custGeom>
                <a:avLst/>
                <a:gdLst>
                  <a:gd name="T0" fmla="*/ 42 w 127"/>
                  <a:gd name="T1" fmla="*/ 0 h 26"/>
                  <a:gd name="T2" fmla="*/ 0 w 127"/>
                  <a:gd name="T3" fmla="*/ 26 h 26"/>
                  <a:gd name="T4" fmla="*/ 127 w 127"/>
                  <a:gd name="T5" fmla="*/ 26 h 26"/>
                  <a:gd name="T6" fmla="*/ 126 w 127"/>
                  <a:gd name="T7" fmla="*/ 21 h 26"/>
                  <a:gd name="T8" fmla="*/ 125 w 127"/>
                  <a:gd name="T9" fmla="*/ 19 h 26"/>
                  <a:gd name="T10" fmla="*/ 125 w 127"/>
                  <a:gd name="T11" fmla="*/ 17 h 26"/>
                  <a:gd name="T12" fmla="*/ 113 w 127"/>
                  <a:gd name="T13" fmla="*/ 23 h 26"/>
                  <a:gd name="T14" fmla="*/ 107 w 127"/>
                  <a:gd name="T15" fmla="*/ 25 h 26"/>
                  <a:gd name="T16" fmla="*/ 101 w 127"/>
                  <a:gd name="T17" fmla="*/ 23 h 26"/>
                  <a:gd name="T18" fmla="*/ 97 w 127"/>
                  <a:gd name="T19" fmla="*/ 20 h 26"/>
                  <a:gd name="T20" fmla="*/ 97 w 127"/>
                  <a:gd name="T21" fmla="*/ 20 h 26"/>
                  <a:gd name="T22" fmla="*/ 95 w 127"/>
                  <a:gd name="T23" fmla="*/ 18 h 26"/>
                  <a:gd name="T24" fmla="*/ 90 w 127"/>
                  <a:gd name="T25" fmla="*/ 14 h 26"/>
                  <a:gd name="T26" fmla="*/ 82 w 127"/>
                  <a:gd name="T27" fmla="*/ 9 h 26"/>
                  <a:gd name="T28" fmla="*/ 42 w 127"/>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26">
                    <a:moveTo>
                      <a:pt x="42" y="0"/>
                    </a:moveTo>
                    <a:cubicBezTo>
                      <a:pt x="0" y="26"/>
                      <a:pt x="0" y="26"/>
                      <a:pt x="0" y="26"/>
                    </a:cubicBezTo>
                    <a:cubicBezTo>
                      <a:pt x="127" y="26"/>
                      <a:pt x="127" y="26"/>
                      <a:pt x="127" y="26"/>
                    </a:cubicBezTo>
                    <a:cubicBezTo>
                      <a:pt x="127" y="24"/>
                      <a:pt x="126" y="22"/>
                      <a:pt x="126" y="21"/>
                    </a:cubicBezTo>
                    <a:cubicBezTo>
                      <a:pt x="125" y="19"/>
                      <a:pt x="125" y="19"/>
                      <a:pt x="125" y="19"/>
                    </a:cubicBezTo>
                    <a:cubicBezTo>
                      <a:pt x="125" y="19"/>
                      <a:pt x="125" y="18"/>
                      <a:pt x="125" y="17"/>
                    </a:cubicBezTo>
                    <a:cubicBezTo>
                      <a:pt x="113" y="23"/>
                      <a:pt x="113" y="23"/>
                      <a:pt x="113" y="23"/>
                    </a:cubicBezTo>
                    <a:cubicBezTo>
                      <a:pt x="112" y="24"/>
                      <a:pt x="110" y="25"/>
                      <a:pt x="107" y="25"/>
                    </a:cubicBezTo>
                    <a:cubicBezTo>
                      <a:pt x="105" y="25"/>
                      <a:pt x="103" y="25"/>
                      <a:pt x="101" y="23"/>
                    </a:cubicBezTo>
                    <a:cubicBezTo>
                      <a:pt x="100" y="23"/>
                      <a:pt x="99" y="21"/>
                      <a:pt x="97" y="20"/>
                    </a:cubicBezTo>
                    <a:cubicBezTo>
                      <a:pt x="97" y="20"/>
                      <a:pt x="97" y="20"/>
                      <a:pt x="97" y="20"/>
                    </a:cubicBezTo>
                    <a:cubicBezTo>
                      <a:pt x="96" y="19"/>
                      <a:pt x="96" y="19"/>
                      <a:pt x="95" y="18"/>
                    </a:cubicBezTo>
                    <a:cubicBezTo>
                      <a:pt x="90" y="14"/>
                      <a:pt x="90" y="14"/>
                      <a:pt x="90" y="14"/>
                    </a:cubicBezTo>
                    <a:cubicBezTo>
                      <a:pt x="87" y="11"/>
                      <a:pt x="85" y="10"/>
                      <a:pt x="82" y="9"/>
                    </a:cubicBezTo>
                    <a:cubicBezTo>
                      <a:pt x="42" y="0"/>
                      <a:pt x="42" y="0"/>
                      <a:pt x="4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31" name="Freeform 259">
                <a:extLst>
                  <a:ext uri="{FF2B5EF4-FFF2-40B4-BE49-F238E27FC236}">
                    <a16:creationId xmlns:a16="http://schemas.microsoft.com/office/drawing/2014/main" id="{0AE441BC-2FB0-4B60-84A2-48082AED4FE0}"/>
                  </a:ext>
                </a:extLst>
              </p:cNvPr>
              <p:cNvSpPr>
                <a:spLocks/>
              </p:cNvSpPr>
              <p:nvPr/>
            </p:nvSpPr>
            <p:spPr bwMode="auto">
              <a:xfrm>
                <a:off x="6596357" y="5973573"/>
                <a:ext cx="983926" cy="884428"/>
              </a:xfrm>
              <a:custGeom>
                <a:avLst/>
                <a:gdLst>
                  <a:gd name="T0" fmla="*/ 27 w 310"/>
                  <a:gd name="T1" fmla="*/ 0 h 278"/>
                  <a:gd name="T2" fmla="*/ 11 w 310"/>
                  <a:gd name="T3" fmla="*/ 2 h 278"/>
                  <a:gd name="T4" fmla="*/ 5 w 310"/>
                  <a:gd name="T5" fmla="*/ 8 h 278"/>
                  <a:gd name="T6" fmla="*/ 5 w 310"/>
                  <a:gd name="T7" fmla="*/ 14 h 278"/>
                  <a:gd name="T8" fmla="*/ 6 w 310"/>
                  <a:gd name="T9" fmla="*/ 19 h 278"/>
                  <a:gd name="T10" fmla="*/ 6 w 310"/>
                  <a:gd name="T11" fmla="*/ 35 h 278"/>
                  <a:gd name="T12" fmla="*/ 3 w 310"/>
                  <a:gd name="T13" fmla="*/ 40 h 278"/>
                  <a:gd name="T14" fmla="*/ 1 w 310"/>
                  <a:gd name="T15" fmla="*/ 47 h 278"/>
                  <a:gd name="T16" fmla="*/ 3 w 310"/>
                  <a:gd name="T17" fmla="*/ 55 h 278"/>
                  <a:gd name="T18" fmla="*/ 7 w 310"/>
                  <a:gd name="T19" fmla="*/ 77 h 278"/>
                  <a:gd name="T20" fmla="*/ 8 w 310"/>
                  <a:gd name="T21" fmla="*/ 116 h 278"/>
                  <a:gd name="T22" fmla="*/ 8 w 310"/>
                  <a:gd name="T23" fmla="*/ 278 h 278"/>
                  <a:gd name="T24" fmla="*/ 280 w 310"/>
                  <a:gd name="T25" fmla="*/ 278 h 278"/>
                  <a:gd name="T26" fmla="*/ 281 w 310"/>
                  <a:gd name="T27" fmla="*/ 275 h 278"/>
                  <a:gd name="T28" fmla="*/ 291 w 310"/>
                  <a:gd name="T29" fmla="*/ 264 h 278"/>
                  <a:gd name="T30" fmla="*/ 301 w 310"/>
                  <a:gd name="T31" fmla="*/ 259 h 278"/>
                  <a:gd name="T32" fmla="*/ 306 w 310"/>
                  <a:gd name="T33" fmla="*/ 256 h 278"/>
                  <a:gd name="T34" fmla="*/ 305 w 310"/>
                  <a:gd name="T35" fmla="*/ 253 h 278"/>
                  <a:gd name="T36" fmla="*/ 303 w 310"/>
                  <a:gd name="T37" fmla="*/ 234 h 278"/>
                  <a:gd name="T38" fmla="*/ 306 w 310"/>
                  <a:gd name="T39" fmla="*/ 235 h 278"/>
                  <a:gd name="T40" fmla="*/ 310 w 310"/>
                  <a:gd name="T41" fmla="*/ 235 h 278"/>
                  <a:gd name="T42" fmla="*/ 303 w 310"/>
                  <a:gd name="T43" fmla="*/ 230 h 278"/>
                  <a:gd name="T44" fmla="*/ 264 w 310"/>
                  <a:gd name="T45" fmla="*/ 161 h 278"/>
                  <a:gd name="T46" fmla="*/ 259 w 310"/>
                  <a:gd name="T47" fmla="*/ 153 h 278"/>
                  <a:gd name="T48" fmla="*/ 252 w 310"/>
                  <a:gd name="T49" fmla="*/ 126 h 278"/>
                  <a:gd name="T50" fmla="*/ 241 w 310"/>
                  <a:gd name="T51" fmla="*/ 109 h 278"/>
                  <a:gd name="T52" fmla="*/ 229 w 310"/>
                  <a:gd name="T53" fmla="*/ 94 h 278"/>
                  <a:gd name="T54" fmla="*/ 213 w 310"/>
                  <a:gd name="T55" fmla="*/ 62 h 278"/>
                  <a:gd name="T56" fmla="*/ 218 w 310"/>
                  <a:gd name="T57" fmla="*/ 52 h 278"/>
                  <a:gd name="T58" fmla="*/ 224 w 310"/>
                  <a:gd name="T59" fmla="*/ 67 h 278"/>
                  <a:gd name="T60" fmla="*/ 230 w 310"/>
                  <a:gd name="T61" fmla="*/ 74 h 278"/>
                  <a:gd name="T62" fmla="*/ 239 w 310"/>
                  <a:gd name="T63" fmla="*/ 94 h 278"/>
                  <a:gd name="T64" fmla="*/ 268 w 310"/>
                  <a:gd name="T65" fmla="*/ 120 h 278"/>
                  <a:gd name="T66" fmla="*/ 286 w 310"/>
                  <a:gd name="T67" fmla="*/ 67 h 278"/>
                  <a:gd name="T68" fmla="*/ 266 w 310"/>
                  <a:gd name="T69" fmla="*/ 9 h 278"/>
                  <a:gd name="T70" fmla="*/ 254 w 310"/>
                  <a:gd name="T71" fmla="*/ 14 h 278"/>
                  <a:gd name="T72" fmla="*/ 234 w 310"/>
                  <a:gd name="T73" fmla="*/ 17 h 278"/>
                  <a:gd name="T74" fmla="*/ 232 w 310"/>
                  <a:gd name="T75" fmla="*/ 17 h 278"/>
                  <a:gd name="T76" fmla="*/ 226 w 310"/>
                  <a:gd name="T77" fmla="*/ 17 h 278"/>
                  <a:gd name="T78" fmla="*/ 210 w 310"/>
                  <a:gd name="T79" fmla="*/ 10 h 278"/>
                  <a:gd name="T80" fmla="*/ 198 w 310"/>
                  <a:gd name="T81" fmla="*/ 10 h 278"/>
                  <a:gd name="T82" fmla="*/ 201 w 310"/>
                  <a:gd name="T83" fmla="*/ 2 h 278"/>
                  <a:gd name="T84" fmla="*/ 192 w 310"/>
                  <a:gd name="T85" fmla="*/ 5 h 278"/>
                  <a:gd name="T86" fmla="*/ 176 w 310"/>
                  <a:gd name="T87" fmla="*/ 0 h 278"/>
                  <a:gd name="T88" fmla="*/ 152 w 310"/>
                  <a:gd name="T89" fmla="*/ 10 h 278"/>
                  <a:gd name="T90" fmla="*/ 153 w 310"/>
                  <a:gd name="T91" fmla="*/ 12 h 278"/>
                  <a:gd name="T92" fmla="*/ 150 w 310"/>
                  <a:gd name="T93" fmla="*/ 10 h 278"/>
                  <a:gd name="T94" fmla="*/ 143 w 310"/>
                  <a:gd name="T95" fmla="*/ 14 h 278"/>
                  <a:gd name="T96" fmla="*/ 120 w 310"/>
                  <a:gd name="T97" fmla="*/ 24 h 278"/>
                  <a:gd name="T98" fmla="*/ 91 w 310"/>
                  <a:gd name="T99" fmla="*/ 16 h 278"/>
                  <a:gd name="T100" fmla="*/ 72 w 310"/>
                  <a:gd name="T101" fmla="*/ 10 h 278"/>
                  <a:gd name="T102" fmla="*/ 31 w 310"/>
                  <a:gd name="T103"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0" h="278">
                    <a:moveTo>
                      <a:pt x="31" y="0"/>
                    </a:moveTo>
                    <a:cubicBezTo>
                      <a:pt x="30" y="0"/>
                      <a:pt x="28" y="0"/>
                      <a:pt x="27" y="0"/>
                    </a:cubicBezTo>
                    <a:cubicBezTo>
                      <a:pt x="24" y="1"/>
                      <a:pt x="18" y="3"/>
                      <a:pt x="14" y="3"/>
                    </a:cubicBezTo>
                    <a:cubicBezTo>
                      <a:pt x="13" y="3"/>
                      <a:pt x="12" y="2"/>
                      <a:pt x="11" y="2"/>
                    </a:cubicBezTo>
                    <a:cubicBezTo>
                      <a:pt x="10" y="3"/>
                      <a:pt x="10" y="3"/>
                      <a:pt x="10" y="3"/>
                    </a:cubicBezTo>
                    <a:cubicBezTo>
                      <a:pt x="7" y="5"/>
                      <a:pt x="6" y="7"/>
                      <a:pt x="5" y="8"/>
                    </a:cubicBezTo>
                    <a:cubicBezTo>
                      <a:pt x="5" y="9"/>
                      <a:pt x="4" y="10"/>
                      <a:pt x="4" y="10"/>
                    </a:cubicBezTo>
                    <a:cubicBezTo>
                      <a:pt x="4" y="10"/>
                      <a:pt x="4" y="12"/>
                      <a:pt x="5" y="14"/>
                    </a:cubicBezTo>
                    <a:cubicBezTo>
                      <a:pt x="5" y="15"/>
                      <a:pt x="5" y="17"/>
                      <a:pt x="6" y="19"/>
                    </a:cubicBezTo>
                    <a:cubicBezTo>
                      <a:pt x="6" y="19"/>
                      <a:pt x="6" y="19"/>
                      <a:pt x="6" y="19"/>
                    </a:cubicBezTo>
                    <a:cubicBezTo>
                      <a:pt x="6" y="21"/>
                      <a:pt x="7" y="22"/>
                      <a:pt x="7" y="24"/>
                    </a:cubicBezTo>
                    <a:cubicBezTo>
                      <a:pt x="7" y="27"/>
                      <a:pt x="8" y="31"/>
                      <a:pt x="6" y="35"/>
                    </a:cubicBezTo>
                    <a:cubicBezTo>
                      <a:pt x="5" y="36"/>
                      <a:pt x="5" y="36"/>
                      <a:pt x="5" y="36"/>
                    </a:cubicBezTo>
                    <a:cubicBezTo>
                      <a:pt x="5" y="38"/>
                      <a:pt x="4" y="39"/>
                      <a:pt x="3" y="40"/>
                    </a:cubicBezTo>
                    <a:cubicBezTo>
                      <a:pt x="2" y="42"/>
                      <a:pt x="0" y="44"/>
                      <a:pt x="0" y="45"/>
                    </a:cubicBezTo>
                    <a:cubicBezTo>
                      <a:pt x="1" y="47"/>
                      <a:pt x="1" y="47"/>
                      <a:pt x="1" y="47"/>
                    </a:cubicBezTo>
                    <a:cubicBezTo>
                      <a:pt x="2" y="49"/>
                      <a:pt x="2" y="51"/>
                      <a:pt x="3" y="53"/>
                    </a:cubicBezTo>
                    <a:cubicBezTo>
                      <a:pt x="3" y="54"/>
                      <a:pt x="3" y="54"/>
                      <a:pt x="3" y="55"/>
                    </a:cubicBezTo>
                    <a:cubicBezTo>
                      <a:pt x="3" y="56"/>
                      <a:pt x="3" y="56"/>
                      <a:pt x="3" y="57"/>
                    </a:cubicBezTo>
                    <a:cubicBezTo>
                      <a:pt x="5" y="63"/>
                      <a:pt x="6" y="70"/>
                      <a:pt x="7" y="77"/>
                    </a:cubicBezTo>
                    <a:cubicBezTo>
                      <a:pt x="7" y="82"/>
                      <a:pt x="7" y="86"/>
                      <a:pt x="8" y="90"/>
                    </a:cubicBezTo>
                    <a:cubicBezTo>
                      <a:pt x="8" y="99"/>
                      <a:pt x="8" y="107"/>
                      <a:pt x="8" y="116"/>
                    </a:cubicBezTo>
                    <a:cubicBezTo>
                      <a:pt x="8" y="128"/>
                      <a:pt x="8" y="128"/>
                      <a:pt x="8" y="128"/>
                    </a:cubicBezTo>
                    <a:cubicBezTo>
                      <a:pt x="8" y="278"/>
                      <a:pt x="8" y="278"/>
                      <a:pt x="8" y="278"/>
                    </a:cubicBezTo>
                    <a:cubicBezTo>
                      <a:pt x="280" y="278"/>
                      <a:pt x="280" y="278"/>
                      <a:pt x="280" y="278"/>
                    </a:cubicBezTo>
                    <a:cubicBezTo>
                      <a:pt x="280" y="278"/>
                      <a:pt x="280" y="278"/>
                      <a:pt x="280" y="278"/>
                    </a:cubicBezTo>
                    <a:cubicBezTo>
                      <a:pt x="280" y="278"/>
                      <a:pt x="280" y="277"/>
                      <a:pt x="281" y="276"/>
                    </a:cubicBezTo>
                    <a:cubicBezTo>
                      <a:pt x="281" y="275"/>
                      <a:pt x="281" y="275"/>
                      <a:pt x="281" y="275"/>
                    </a:cubicBezTo>
                    <a:cubicBezTo>
                      <a:pt x="282" y="272"/>
                      <a:pt x="284" y="268"/>
                      <a:pt x="287" y="265"/>
                    </a:cubicBezTo>
                    <a:cubicBezTo>
                      <a:pt x="288" y="265"/>
                      <a:pt x="289" y="264"/>
                      <a:pt x="291" y="264"/>
                    </a:cubicBezTo>
                    <a:cubicBezTo>
                      <a:pt x="292" y="263"/>
                      <a:pt x="294" y="262"/>
                      <a:pt x="296" y="261"/>
                    </a:cubicBezTo>
                    <a:cubicBezTo>
                      <a:pt x="298" y="260"/>
                      <a:pt x="299" y="260"/>
                      <a:pt x="301" y="259"/>
                    </a:cubicBezTo>
                    <a:cubicBezTo>
                      <a:pt x="302" y="258"/>
                      <a:pt x="302" y="258"/>
                      <a:pt x="303" y="257"/>
                    </a:cubicBezTo>
                    <a:cubicBezTo>
                      <a:pt x="304" y="257"/>
                      <a:pt x="305" y="256"/>
                      <a:pt x="306" y="256"/>
                    </a:cubicBezTo>
                    <a:cubicBezTo>
                      <a:pt x="306" y="256"/>
                      <a:pt x="306" y="256"/>
                      <a:pt x="306" y="256"/>
                    </a:cubicBezTo>
                    <a:cubicBezTo>
                      <a:pt x="306" y="255"/>
                      <a:pt x="306" y="254"/>
                      <a:pt x="305" y="253"/>
                    </a:cubicBezTo>
                    <a:cubicBezTo>
                      <a:pt x="305" y="249"/>
                      <a:pt x="304" y="246"/>
                      <a:pt x="304" y="242"/>
                    </a:cubicBezTo>
                    <a:cubicBezTo>
                      <a:pt x="303" y="241"/>
                      <a:pt x="302" y="235"/>
                      <a:pt x="303" y="234"/>
                    </a:cubicBezTo>
                    <a:cubicBezTo>
                      <a:pt x="304" y="234"/>
                      <a:pt x="304" y="234"/>
                      <a:pt x="304" y="234"/>
                    </a:cubicBezTo>
                    <a:cubicBezTo>
                      <a:pt x="305" y="234"/>
                      <a:pt x="305" y="234"/>
                      <a:pt x="306" y="235"/>
                    </a:cubicBezTo>
                    <a:cubicBezTo>
                      <a:pt x="307" y="235"/>
                      <a:pt x="308" y="235"/>
                      <a:pt x="309" y="235"/>
                    </a:cubicBezTo>
                    <a:cubicBezTo>
                      <a:pt x="310" y="235"/>
                      <a:pt x="310" y="235"/>
                      <a:pt x="310" y="235"/>
                    </a:cubicBezTo>
                    <a:cubicBezTo>
                      <a:pt x="309" y="234"/>
                      <a:pt x="305" y="230"/>
                      <a:pt x="303" y="230"/>
                    </a:cubicBezTo>
                    <a:cubicBezTo>
                      <a:pt x="303" y="230"/>
                      <a:pt x="303" y="230"/>
                      <a:pt x="303" y="230"/>
                    </a:cubicBezTo>
                    <a:cubicBezTo>
                      <a:pt x="299" y="224"/>
                      <a:pt x="294" y="219"/>
                      <a:pt x="291" y="213"/>
                    </a:cubicBezTo>
                    <a:cubicBezTo>
                      <a:pt x="282" y="196"/>
                      <a:pt x="273" y="178"/>
                      <a:pt x="264" y="161"/>
                    </a:cubicBezTo>
                    <a:cubicBezTo>
                      <a:pt x="263" y="158"/>
                      <a:pt x="261" y="156"/>
                      <a:pt x="260" y="154"/>
                    </a:cubicBezTo>
                    <a:cubicBezTo>
                      <a:pt x="260" y="153"/>
                      <a:pt x="259" y="154"/>
                      <a:pt x="259" y="153"/>
                    </a:cubicBezTo>
                    <a:cubicBezTo>
                      <a:pt x="259" y="151"/>
                      <a:pt x="260" y="150"/>
                      <a:pt x="260" y="148"/>
                    </a:cubicBezTo>
                    <a:cubicBezTo>
                      <a:pt x="261" y="141"/>
                      <a:pt x="255" y="132"/>
                      <a:pt x="252" y="126"/>
                    </a:cubicBezTo>
                    <a:cubicBezTo>
                      <a:pt x="251" y="123"/>
                      <a:pt x="250" y="118"/>
                      <a:pt x="248" y="116"/>
                    </a:cubicBezTo>
                    <a:cubicBezTo>
                      <a:pt x="246" y="114"/>
                      <a:pt x="243" y="112"/>
                      <a:pt x="241" y="109"/>
                    </a:cubicBezTo>
                    <a:cubicBezTo>
                      <a:pt x="239" y="107"/>
                      <a:pt x="238" y="106"/>
                      <a:pt x="236" y="104"/>
                    </a:cubicBezTo>
                    <a:cubicBezTo>
                      <a:pt x="234" y="101"/>
                      <a:pt x="231" y="97"/>
                      <a:pt x="229" y="94"/>
                    </a:cubicBezTo>
                    <a:cubicBezTo>
                      <a:pt x="226" y="90"/>
                      <a:pt x="224" y="83"/>
                      <a:pt x="223" y="78"/>
                    </a:cubicBezTo>
                    <a:cubicBezTo>
                      <a:pt x="221" y="73"/>
                      <a:pt x="214" y="67"/>
                      <a:pt x="213" y="62"/>
                    </a:cubicBezTo>
                    <a:cubicBezTo>
                      <a:pt x="213" y="60"/>
                      <a:pt x="215" y="59"/>
                      <a:pt x="216" y="57"/>
                    </a:cubicBezTo>
                    <a:cubicBezTo>
                      <a:pt x="217" y="55"/>
                      <a:pt x="216" y="53"/>
                      <a:pt x="218" y="52"/>
                    </a:cubicBezTo>
                    <a:cubicBezTo>
                      <a:pt x="218" y="51"/>
                      <a:pt x="218" y="51"/>
                      <a:pt x="219" y="51"/>
                    </a:cubicBezTo>
                    <a:cubicBezTo>
                      <a:pt x="222" y="51"/>
                      <a:pt x="224" y="65"/>
                      <a:pt x="224" y="67"/>
                    </a:cubicBezTo>
                    <a:cubicBezTo>
                      <a:pt x="224" y="66"/>
                      <a:pt x="224" y="66"/>
                      <a:pt x="224" y="66"/>
                    </a:cubicBezTo>
                    <a:cubicBezTo>
                      <a:pt x="226" y="69"/>
                      <a:pt x="227" y="72"/>
                      <a:pt x="230" y="74"/>
                    </a:cubicBezTo>
                    <a:cubicBezTo>
                      <a:pt x="232" y="76"/>
                      <a:pt x="236" y="79"/>
                      <a:pt x="237" y="81"/>
                    </a:cubicBezTo>
                    <a:cubicBezTo>
                      <a:pt x="239" y="85"/>
                      <a:pt x="238" y="91"/>
                      <a:pt x="239" y="94"/>
                    </a:cubicBezTo>
                    <a:cubicBezTo>
                      <a:pt x="240" y="97"/>
                      <a:pt x="243" y="99"/>
                      <a:pt x="245" y="101"/>
                    </a:cubicBezTo>
                    <a:cubicBezTo>
                      <a:pt x="253" y="109"/>
                      <a:pt x="257" y="116"/>
                      <a:pt x="268" y="120"/>
                    </a:cubicBezTo>
                    <a:cubicBezTo>
                      <a:pt x="268" y="120"/>
                      <a:pt x="268" y="119"/>
                      <a:pt x="268" y="118"/>
                    </a:cubicBezTo>
                    <a:cubicBezTo>
                      <a:pt x="274" y="101"/>
                      <a:pt x="280" y="84"/>
                      <a:pt x="286" y="67"/>
                    </a:cubicBezTo>
                    <a:cubicBezTo>
                      <a:pt x="267" y="10"/>
                      <a:pt x="267" y="10"/>
                      <a:pt x="267" y="10"/>
                    </a:cubicBezTo>
                    <a:cubicBezTo>
                      <a:pt x="267" y="9"/>
                      <a:pt x="267" y="9"/>
                      <a:pt x="266" y="9"/>
                    </a:cubicBezTo>
                    <a:cubicBezTo>
                      <a:pt x="266" y="9"/>
                      <a:pt x="266" y="9"/>
                      <a:pt x="266" y="9"/>
                    </a:cubicBezTo>
                    <a:cubicBezTo>
                      <a:pt x="262" y="11"/>
                      <a:pt x="258" y="12"/>
                      <a:pt x="254" y="14"/>
                    </a:cubicBezTo>
                    <a:cubicBezTo>
                      <a:pt x="252" y="15"/>
                      <a:pt x="251" y="15"/>
                      <a:pt x="249" y="15"/>
                    </a:cubicBezTo>
                    <a:cubicBezTo>
                      <a:pt x="244" y="16"/>
                      <a:pt x="239" y="17"/>
                      <a:pt x="234" y="17"/>
                    </a:cubicBezTo>
                    <a:cubicBezTo>
                      <a:pt x="233" y="17"/>
                      <a:pt x="233" y="17"/>
                      <a:pt x="233" y="17"/>
                    </a:cubicBezTo>
                    <a:cubicBezTo>
                      <a:pt x="232" y="17"/>
                      <a:pt x="232" y="17"/>
                      <a:pt x="232" y="17"/>
                    </a:cubicBezTo>
                    <a:cubicBezTo>
                      <a:pt x="231" y="17"/>
                      <a:pt x="230" y="17"/>
                      <a:pt x="229" y="17"/>
                    </a:cubicBezTo>
                    <a:cubicBezTo>
                      <a:pt x="228" y="17"/>
                      <a:pt x="227" y="17"/>
                      <a:pt x="226" y="17"/>
                    </a:cubicBezTo>
                    <a:cubicBezTo>
                      <a:pt x="223" y="17"/>
                      <a:pt x="221" y="17"/>
                      <a:pt x="220" y="16"/>
                    </a:cubicBezTo>
                    <a:cubicBezTo>
                      <a:pt x="217" y="14"/>
                      <a:pt x="213" y="10"/>
                      <a:pt x="210" y="10"/>
                    </a:cubicBezTo>
                    <a:cubicBezTo>
                      <a:pt x="215" y="12"/>
                      <a:pt x="210" y="16"/>
                      <a:pt x="208" y="16"/>
                    </a:cubicBezTo>
                    <a:cubicBezTo>
                      <a:pt x="206" y="15"/>
                      <a:pt x="198" y="12"/>
                      <a:pt x="198" y="10"/>
                    </a:cubicBezTo>
                    <a:cubicBezTo>
                      <a:pt x="198" y="9"/>
                      <a:pt x="201" y="3"/>
                      <a:pt x="201" y="2"/>
                    </a:cubicBezTo>
                    <a:cubicBezTo>
                      <a:pt x="201" y="2"/>
                      <a:pt x="201" y="2"/>
                      <a:pt x="201" y="2"/>
                    </a:cubicBezTo>
                    <a:cubicBezTo>
                      <a:pt x="198" y="2"/>
                      <a:pt x="195" y="4"/>
                      <a:pt x="193" y="4"/>
                    </a:cubicBezTo>
                    <a:cubicBezTo>
                      <a:pt x="193" y="5"/>
                      <a:pt x="192" y="5"/>
                      <a:pt x="192" y="5"/>
                    </a:cubicBezTo>
                    <a:cubicBezTo>
                      <a:pt x="189" y="5"/>
                      <a:pt x="184" y="2"/>
                      <a:pt x="181" y="1"/>
                    </a:cubicBezTo>
                    <a:cubicBezTo>
                      <a:pt x="179" y="1"/>
                      <a:pt x="178" y="0"/>
                      <a:pt x="176" y="0"/>
                    </a:cubicBezTo>
                    <a:cubicBezTo>
                      <a:pt x="175" y="0"/>
                      <a:pt x="174" y="0"/>
                      <a:pt x="173" y="1"/>
                    </a:cubicBezTo>
                    <a:cubicBezTo>
                      <a:pt x="164" y="3"/>
                      <a:pt x="158" y="4"/>
                      <a:pt x="152" y="10"/>
                    </a:cubicBezTo>
                    <a:cubicBezTo>
                      <a:pt x="153" y="10"/>
                      <a:pt x="154" y="11"/>
                      <a:pt x="155" y="11"/>
                    </a:cubicBezTo>
                    <a:cubicBezTo>
                      <a:pt x="154" y="12"/>
                      <a:pt x="153" y="12"/>
                      <a:pt x="153" y="12"/>
                    </a:cubicBezTo>
                    <a:cubicBezTo>
                      <a:pt x="153" y="12"/>
                      <a:pt x="153" y="12"/>
                      <a:pt x="153" y="12"/>
                    </a:cubicBezTo>
                    <a:cubicBezTo>
                      <a:pt x="152" y="12"/>
                      <a:pt x="151" y="10"/>
                      <a:pt x="150" y="10"/>
                    </a:cubicBezTo>
                    <a:cubicBezTo>
                      <a:pt x="149" y="10"/>
                      <a:pt x="149" y="10"/>
                      <a:pt x="149" y="10"/>
                    </a:cubicBezTo>
                    <a:cubicBezTo>
                      <a:pt x="147" y="11"/>
                      <a:pt x="145" y="13"/>
                      <a:pt x="143" y="14"/>
                    </a:cubicBezTo>
                    <a:cubicBezTo>
                      <a:pt x="137" y="18"/>
                      <a:pt x="129" y="23"/>
                      <a:pt x="121" y="24"/>
                    </a:cubicBezTo>
                    <a:cubicBezTo>
                      <a:pt x="120" y="24"/>
                      <a:pt x="120" y="24"/>
                      <a:pt x="120" y="24"/>
                    </a:cubicBezTo>
                    <a:cubicBezTo>
                      <a:pt x="116" y="24"/>
                      <a:pt x="115" y="21"/>
                      <a:pt x="112" y="20"/>
                    </a:cubicBezTo>
                    <a:cubicBezTo>
                      <a:pt x="106" y="17"/>
                      <a:pt x="98" y="17"/>
                      <a:pt x="91" y="16"/>
                    </a:cubicBezTo>
                    <a:cubicBezTo>
                      <a:pt x="87" y="16"/>
                      <a:pt x="83" y="14"/>
                      <a:pt x="78" y="13"/>
                    </a:cubicBezTo>
                    <a:cubicBezTo>
                      <a:pt x="76" y="12"/>
                      <a:pt x="74" y="11"/>
                      <a:pt x="72" y="10"/>
                    </a:cubicBezTo>
                    <a:cubicBezTo>
                      <a:pt x="66" y="7"/>
                      <a:pt x="57" y="6"/>
                      <a:pt x="50" y="4"/>
                    </a:cubicBezTo>
                    <a:cubicBezTo>
                      <a:pt x="44" y="2"/>
                      <a:pt x="37"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32" name="Freeform 260">
                <a:extLst>
                  <a:ext uri="{FF2B5EF4-FFF2-40B4-BE49-F238E27FC236}">
                    <a16:creationId xmlns:a16="http://schemas.microsoft.com/office/drawing/2014/main" id="{79AFD025-C3A6-4F19-9A30-35D5D881BEC8}"/>
                  </a:ext>
                </a:extLst>
              </p:cNvPr>
              <p:cNvSpPr>
                <a:spLocks/>
              </p:cNvSpPr>
              <p:nvPr/>
            </p:nvSpPr>
            <p:spPr bwMode="auto">
              <a:xfrm>
                <a:off x="7506581" y="6806409"/>
                <a:ext cx="114239" cy="51592"/>
              </a:xfrm>
              <a:custGeom>
                <a:avLst/>
                <a:gdLst>
                  <a:gd name="T0" fmla="*/ 22 w 36"/>
                  <a:gd name="T1" fmla="*/ 0 h 16"/>
                  <a:gd name="T2" fmla="*/ 20 w 36"/>
                  <a:gd name="T3" fmla="*/ 1 h 16"/>
                  <a:gd name="T4" fmla="*/ 20 w 36"/>
                  <a:gd name="T5" fmla="*/ 1 h 16"/>
                  <a:gd name="T6" fmla="*/ 17 w 36"/>
                  <a:gd name="T7" fmla="*/ 3 h 16"/>
                  <a:gd name="T8" fmla="*/ 12 w 36"/>
                  <a:gd name="T9" fmla="*/ 5 h 16"/>
                  <a:gd name="T10" fmla="*/ 12 w 36"/>
                  <a:gd name="T11" fmla="*/ 6 h 16"/>
                  <a:gd name="T12" fmla="*/ 7 w 36"/>
                  <a:gd name="T13" fmla="*/ 8 h 16"/>
                  <a:gd name="T14" fmla="*/ 6 w 36"/>
                  <a:gd name="T15" fmla="*/ 8 h 16"/>
                  <a:gd name="T16" fmla="*/ 4 w 36"/>
                  <a:gd name="T17" fmla="*/ 9 h 16"/>
                  <a:gd name="T18" fmla="*/ 0 w 36"/>
                  <a:gd name="T19" fmla="*/ 16 h 16"/>
                  <a:gd name="T20" fmla="*/ 0 w 36"/>
                  <a:gd name="T21" fmla="*/ 16 h 16"/>
                  <a:gd name="T22" fmla="*/ 36 w 36"/>
                  <a:gd name="T23" fmla="*/ 16 h 16"/>
                  <a:gd name="T24" fmla="*/ 31 w 36"/>
                  <a:gd name="T25" fmla="*/ 12 h 16"/>
                  <a:gd name="T26" fmla="*/ 22 w 36"/>
                  <a:gd name="T2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16">
                    <a:moveTo>
                      <a:pt x="22" y="0"/>
                    </a:moveTo>
                    <a:cubicBezTo>
                      <a:pt x="21" y="1"/>
                      <a:pt x="21" y="1"/>
                      <a:pt x="20" y="1"/>
                    </a:cubicBezTo>
                    <a:cubicBezTo>
                      <a:pt x="20" y="1"/>
                      <a:pt x="20" y="1"/>
                      <a:pt x="20" y="1"/>
                    </a:cubicBezTo>
                    <a:cubicBezTo>
                      <a:pt x="19" y="2"/>
                      <a:pt x="18" y="2"/>
                      <a:pt x="17" y="3"/>
                    </a:cubicBezTo>
                    <a:cubicBezTo>
                      <a:pt x="15" y="4"/>
                      <a:pt x="14" y="5"/>
                      <a:pt x="12" y="5"/>
                    </a:cubicBezTo>
                    <a:cubicBezTo>
                      <a:pt x="12" y="6"/>
                      <a:pt x="12" y="6"/>
                      <a:pt x="12" y="6"/>
                    </a:cubicBezTo>
                    <a:cubicBezTo>
                      <a:pt x="10" y="6"/>
                      <a:pt x="8" y="7"/>
                      <a:pt x="7" y="8"/>
                    </a:cubicBezTo>
                    <a:cubicBezTo>
                      <a:pt x="6" y="8"/>
                      <a:pt x="6" y="8"/>
                      <a:pt x="6" y="8"/>
                    </a:cubicBezTo>
                    <a:cubicBezTo>
                      <a:pt x="6" y="8"/>
                      <a:pt x="4" y="9"/>
                      <a:pt x="4" y="9"/>
                    </a:cubicBezTo>
                    <a:cubicBezTo>
                      <a:pt x="3" y="10"/>
                      <a:pt x="1" y="13"/>
                      <a:pt x="0" y="16"/>
                    </a:cubicBezTo>
                    <a:cubicBezTo>
                      <a:pt x="0" y="16"/>
                      <a:pt x="0" y="16"/>
                      <a:pt x="0" y="16"/>
                    </a:cubicBezTo>
                    <a:cubicBezTo>
                      <a:pt x="36" y="16"/>
                      <a:pt x="36" y="16"/>
                      <a:pt x="36" y="16"/>
                    </a:cubicBezTo>
                    <a:cubicBezTo>
                      <a:pt x="35" y="15"/>
                      <a:pt x="33" y="13"/>
                      <a:pt x="31" y="12"/>
                    </a:cubicBezTo>
                    <a:cubicBezTo>
                      <a:pt x="29" y="10"/>
                      <a:pt x="25" y="5"/>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33" name="Freeform 261">
                <a:extLst>
                  <a:ext uri="{FF2B5EF4-FFF2-40B4-BE49-F238E27FC236}">
                    <a16:creationId xmlns:a16="http://schemas.microsoft.com/office/drawing/2014/main" id="{3F1479BE-35FF-4300-B4E4-1E4942A276F6}"/>
                  </a:ext>
                </a:extLst>
              </p:cNvPr>
              <p:cNvSpPr>
                <a:spLocks/>
              </p:cNvSpPr>
              <p:nvPr/>
            </p:nvSpPr>
            <p:spPr bwMode="auto">
              <a:xfrm>
                <a:off x="3773559" y="6633209"/>
                <a:ext cx="468010" cy="224792"/>
              </a:xfrm>
              <a:custGeom>
                <a:avLst/>
                <a:gdLst>
                  <a:gd name="T0" fmla="*/ 44 w 147"/>
                  <a:gd name="T1" fmla="*/ 0 h 71"/>
                  <a:gd name="T2" fmla="*/ 0 w 147"/>
                  <a:gd name="T3" fmla="*/ 0 h 71"/>
                  <a:gd name="T4" fmla="*/ 3 w 147"/>
                  <a:gd name="T5" fmla="*/ 22 h 71"/>
                  <a:gd name="T6" fmla="*/ 3 w 147"/>
                  <a:gd name="T7" fmla="*/ 27 h 71"/>
                  <a:gd name="T8" fmla="*/ 4 w 147"/>
                  <a:gd name="T9" fmla="*/ 36 h 71"/>
                  <a:gd name="T10" fmla="*/ 9 w 147"/>
                  <a:gd name="T11" fmla="*/ 71 h 71"/>
                  <a:gd name="T12" fmla="*/ 147 w 147"/>
                  <a:gd name="T13" fmla="*/ 71 h 71"/>
                  <a:gd name="T14" fmla="*/ 129 w 147"/>
                  <a:gd name="T15" fmla="*/ 58 h 71"/>
                  <a:gd name="T16" fmla="*/ 96 w 147"/>
                  <a:gd name="T17" fmla="*/ 35 h 71"/>
                  <a:gd name="T18" fmla="*/ 89 w 147"/>
                  <a:gd name="T19" fmla="*/ 30 h 71"/>
                  <a:gd name="T20" fmla="*/ 67 w 147"/>
                  <a:gd name="T21" fmla="*/ 15 h 71"/>
                  <a:gd name="T22" fmla="*/ 65 w 147"/>
                  <a:gd name="T23" fmla="*/ 14 h 71"/>
                  <a:gd name="T24" fmla="*/ 58 w 147"/>
                  <a:gd name="T25" fmla="*/ 9 h 71"/>
                  <a:gd name="T26" fmla="*/ 52 w 147"/>
                  <a:gd name="T27" fmla="*/ 5 h 71"/>
                  <a:gd name="T28" fmla="*/ 44 w 147"/>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71">
                    <a:moveTo>
                      <a:pt x="44" y="0"/>
                    </a:moveTo>
                    <a:cubicBezTo>
                      <a:pt x="0" y="0"/>
                      <a:pt x="0" y="0"/>
                      <a:pt x="0" y="0"/>
                    </a:cubicBezTo>
                    <a:cubicBezTo>
                      <a:pt x="3" y="22"/>
                      <a:pt x="3" y="22"/>
                      <a:pt x="3" y="22"/>
                    </a:cubicBezTo>
                    <a:cubicBezTo>
                      <a:pt x="3" y="24"/>
                      <a:pt x="3" y="25"/>
                      <a:pt x="3" y="27"/>
                    </a:cubicBezTo>
                    <a:cubicBezTo>
                      <a:pt x="4" y="36"/>
                      <a:pt x="4" y="36"/>
                      <a:pt x="4" y="36"/>
                    </a:cubicBezTo>
                    <a:cubicBezTo>
                      <a:pt x="6" y="48"/>
                      <a:pt x="7" y="59"/>
                      <a:pt x="9" y="71"/>
                    </a:cubicBezTo>
                    <a:cubicBezTo>
                      <a:pt x="147" y="71"/>
                      <a:pt x="147" y="71"/>
                      <a:pt x="147" y="71"/>
                    </a:cubicBezTo>
                    <a:cubicBezTo>
                      <a:pt x="141" y="67"/>
                      <a:pt x="135" y="62"/>
                      <a:pt x="129" y="58"/>
                    </a:cubicBezTo>
                    <a:cubicBezTo>
                      <a:pt x="118" y="51"/>
                      <a:pt x="107" y="43"/>
                      <a:pt x="96" y="35"/>
                    </a:cubicBezTo>
                    <a:cubicBezTo>
                      <a:pt x="89" y="30"/>
                      <a:pt x="89" y="30"/>
                      <a:pt x="89" y="30"/>
                    </a:cubicBezTo>
                    <a:cubicBezTo>
                      <a:pt x="82" y="25"/>
                      <a:pt x="74" y="20"/>
                      <a:pt x="67" y="15"/>
                    </a:cubicBezTo>
                    <a:cubicBezTo>
                      <a:pt x="65" y="14"/>
                      <a:pt x="65" y="14"/>
                      <a:pt x="65" y="14"/>
                    </a:cubicBezTo>
                    <a:cubicBezTo>
                      <a:pt x="63" y="13"/>
                      <a:pt x="61" y="11"/>
                      <a:pt x="58" y="9"/>
                    </a:cubicBezTo>
                    <a:cubicBezTo>
                      <a:pt x="52" y="5"/>
                      <a:pt x="52" y="5"/>
                      <a:pt x="52" y="5"/>
                    </a:cubicBezTo>
                    <a:cubicBezTo>
                      <a:pt x="49" y="3"/>
                      <a:pt x="47" y="1"/>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34" name="Freeform 262">
                <a:extLst>
                  <a:ext uri="{FF2B5EF4-FFF2-40B4-BE49-F238E27FC236}">
                    <a16:creationId xmlns:a16="http://schemas.microsoft.com/office/drawing/2014/main" id="{2A6FB6D9-0C0F-4A26-9DEC-B351DD31075E}"/>
                  </a:ext>
                </a:extLst>
              </p:cNvPr>
              <p:cNvSpPr>
                <a:spLocks/>
              </p:cNvSpPr>
              <p:nvPr/>
            </p:nvSpPr>
            <p:spPr bwMode="auto">
              <a:xfrm>
                <a:off x="4016777" y="6028850"/>
                <a:ext cx="0" cy="3685"/>
              </a:xfrm>
              <a:custGeom>
                <a:avLst/>
                <a:gdLst>
                  <a:gd name="T0" fmla="*/ 0 h 1"/>
                  <a:gd name="T1" fmla="*/ 0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lnTo>
                      <a:pt x="0" y="0"/>
                    </a:lnTo>
                    <a:lnTo>
                      <a:pt x="0"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35" name="Freeform 263">
                <a:extLst>
                  <a:ext uri="{FF2B5EF4-FFF2-40B4-BE49-F238E27FC236}">
                    <a16:creationId xmlns:a16="http://schemas.microsoft.com/office/drawing/2014/main" id="{325AFE16-DCF2-4229-B65F-489AF046E116}"/>
                  </a:ext>
                </a:extLst>
              </p:cNvPr>
              <p:cNvSpPr>
                <a:spLocks/>
              </p:cNvSpPr>
              <p:nvPr/>
            </p:nvSpPr>
            <p:spPr bwMode="auto">
              <a:xfrm>
                <a:off x="4016777" y="6028850"/>
                <a:ext cx="0" cy="3685"/>
              </a:xfrm>
              <a:custGeom>
                <a:avLst/>
                <a:gdLst>
                  <a:gd name="T0" fmla="*/ 0 h 1"/>
                  <a:gd name="T1" fmla="*/ 0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lnTo>
                      <a:pt x="0" y="0"/>
                    </a:lnTo>
                    <a:lnTo>
                      <a:pt x="0" y="1"/>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36" name="Freeform 264">
                <a:extLst>
                  <a:ext uri="{FF2B5EF4-FFF2-40B4-BE49-F238E27FC236}">
                    <a16:creationId xmlns:a16="http://schemas.microsoft.com/office/drawing/2014/main" id="{B3766A1E-B97F-4332-B029-D39104CDA815}"/>
                  </a:ext>
                </a:extLst>
              </p:cNvPr>
              <p:cNvSpPr>
                <a:spLocks/>
              </p:cNvSpPr>
              <p:nvPr/>
            </p:nvSpPr>
            <p:spPr bwMode="auto">
              <a:xfrm>
                <a:off x="3176570" y="5538730"/>
                <a:ext cx="1072369" cy="810725"/>
              </a:xfrm>
              <a:custGeom>
                <a:avLst/>
                <a:gdLst>
                  <a:gd name="T0" fmla="*/ 202 w 337"/>
                  <a:gd name="T1" fmla="*/ 6 h 256"/>
                  <a:gd name="T2" fmla="*/ 163 w 337"/>
                  <a:gd name="T3" fmla="*/ 70 h 256"/>
                  <a:gd name="T4" fmla="*/ 143 w 337"/>
                  <a:gd name="T5" fmla="*/ 79 h 256"/>
                  <a:gd name="T6" fmla="*/ 107 w 337"/>
                  <a:gd name="T7" fmla="*/ 108 h 256"/>
                  <a:gd name="T8" fmla="*/ 93 w 337"/>
                  <a:gd name="T9" fmla="*/ 148 h 256"/>
                  <a:gd name="T10" fmla="*/ 91 w 337"/>
                  <a:gd name="T11" fmla="*/ 168 h 256"/>
                  <a:gd name="T12" fmla="*/ 97 w 337"/>
                  <a:gd name="T13" fmla="*/ 184 h 256"/>
                  <a:gd name="T14" fmla="*/ 37 w 337"/>
                  <a:gd name="T15" fmla="*/ 243 h 256"/>
                  <a:gd name="T16" fmla="*/ 3 w 337"/>
                  <a:gd name="T17" fmla="*/ 252 h 256"/>
                  <a:gd name="T18" fmla="*/ 121 w 337"/>
                  <a:gd name="T19" fmla="*/ 230 h 256"/>
                  <a:gd name="T20" fmla="*/ 131 w 337"/>
                  <a:gd name="T21" fmla="*/ 219 h 256"/>
                  <a:gd name="T22" fmla="*/ 139 w 337"/>
                  <a:gd name="T23" fmla="*/ 214 h 256"/>
                  <a:gd name="T24" fmla="*/ 161 w 337"/>
                  <a:gd name="T25" fmla="*/ 201 h 256"/>
                  <a:gd name="T26" fmla="*/ 176 w 337"/>
                  <a:gd name="T27" fmla="*/ 197 h 256"/>
                  <a:gd name="T28" fmla="*/ 182 w 337"/>
                  <a:gd name="T29" fmla="*/ 198 h 256"/>
                  <a:gd name="T30" fmla="*/ 183 w 337"/>
                  <a:gd name="T31" fmla="*/ 194 h 256"/>
                  <a:gd name="T32" fmla="*/ 189 w 337"/>
                  <a:gd name="T33" fmla="*/ 190 h 256"/>
                  <a:gd name="T34" fmla="*/ 213 w 337"/>
                  <a:gd name="T35" fmla="*/ 187 h 256"/>
                  <a:gd name="T36" fmla="*/ 222 w 337"/>
                  <a:gd name="T37" fmla="*/ 180 h 256"/>
                  <a:gd name="T38" fmla="*/ 231 w 337"/>
                  <a:gd name="T39" fmla="*/ 171 h 256"/>
                  <a:gd name="T40" fmla="*/ 264 w 337"/>
                  <a:gd name="T41" fmla="*/ 156 h 256"/>
                  <a:gd name="T42" fmla="*/ 261 w 337"/>
                  <a:gd name="T43" fmla="*/ 145 h 256"/>
                  <a:gd name="T44" fmla="*/ 259 w 337"/>
                  <a:gd name="T45" fmla="*/ 141 h 256"/>
                  <a:gd name="T46" fmla="*/ 265 w 337"/>
                  <a:gd name="T47" fmla="*/ 131 h 256"/>
                  <a:gd name="T48" fmla="*/ 271 w 337"/>
                  <a:gd name="T49" fmla="*/ 132 h 256"/>
                  <a:gd name="T50" fmla="*/ 282 w 337"/>
                  <a:gd name="T51" fmla="*/ 128 h 256"/>
                  <a:gd name="T52" fmla="*/ 296 w 337"/>
                  <a:gd name="T53" fmla="*/ 118 h 256"/>
                  <a:gd name="T54" fmla="*/ 310 w 337"/>
                  <a:gd name="T55" fmla="*/ 117 h 256"/>
                  <a:gd name="T56" fmla="*/ 326 w 337"/>
                  <a:gd name="T57" fmla="*/ 119 h 256"/>
                  <a:gd name="T58" fmla="*/ 336 w 337"/>
                  <a:gd name="T59" fmla="*/ 111 h 256"/>
                  <a:gd name="T60" fmla="*/ 330 w 337"/>
                  <a:gd name="T61" fmla="*/ 102 h 256"/>
                  <a:gd name="T62" fmla="*/ 320 w 337"/>
                  <a:gd name="T63" fmla="*/ 66 h 256"/>
                  <a:gd name="T64" fmla="*/ 318 w 337"/>
                  <a:gd name="T65" fmla="*/ 49 h 256"/>
                  <a:gd name="T66" fmla="*/ 315 w 337"/>
                  <a:gd name="T67" fmla="*/ 42 h 256"/>
                  <a:gd name="T68" fmla="*/ 315 w 337"/>
                  <a:gd name="T69" fmla="*/ 38 h 256"/>
                  <a:gd name="T70" fmla="*/ 312 w 337"/>
                  <a:gd name="T71" fmla="*/ 35 h 256"/>
                  <a:gd name="T72" fmla="*/ 307 w 337"/>
                  <a:gd name="T73" fmla="*/ 30 h 256"/>
                  <a:gd name="T74" fmla="*/ 304 w 337"/>
                  <a:gd name="T75" fmla="*/ 28 h 256"/>
                  <a:gd name="T76" fmla="*/ 289 w 337"/>
                  <a:gd name="T77" fmla="*/ 22 h 256"/>
                  <a:gd name="T78" fmla="*/ 285 w 337"/>
                  <a:gd name="T79" fmla="*/ 17 h 256"/>
                  <a:gd name="T80" fmla="*/ 244 w 337"/>
                  <a:gd name="T81" fmla="*/ 24 h 256"/>
                  <a:gd name="T82" fmla="*/ 225 w 337"/>
                  <a:gd name="T83" fmla="*/ 12 h 256"/>
                  <a:gd name="T84" fmla="*/ 221 w 337"/>
                  <a:gd name="T85" fmla="*/ 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7" h="256">
                    <a:moveTo>
                      <a:pt x="218" y="0"/>
                    </a:moveTo>
                    <a:cubicBezTo>
                      <a:pt x="218" y="0"/>
                      <a:pt x="218" y="0"/>
                      <a:pt x="218" y="0"/>
                    </a:cubicBezTo>
                    <a:cubicBezTo>
                      <a:pt x="214" y="2"/>
                      <a:pt x="204" y="2"/>
                      <a:pt x="202" y="6"/>
                    </a:cubicBezTo>
                    <a:cubicBezTo>
                      <a:pt x="200" y="12"/>
                      <a:pt x="198" y="18"/>
                      <a:pt x="196" y="23"/>
                    </a:cubicBezTo>
                    <a:cubicBezTo>
                      <a:pt x="192" y="35"/>
                      <a:pt x="186" y="45"/>
                      <a:pt x="180" y="56"/>
                    </a:cubicBezTo>
                    <a:cubicBezTo>
                      <a:pt x="177" y="62"/>
                      <a:pt x="169" y="67"/>
                      <a:pt x="163" y="70"/>
                    </a:cubicBezTo>
                    <a:cubicBezTo>
                      <a:pt x="162" y="71"/>
                      <a:pt x="162" y="71"/>
                      <a:pt x="161" y="71"/>
                    </a:cubicBezTo>
                    <a:cubicBezTo>
                      <a:pt x="148" y="77"/>
                      <a:pt x="148" y="77"/>
                      <a:pt x="148" y="77"/>
                    </a:cubicBezTo>
                    <a:cubicBezTo>
                      <a:pt x="146" y="78"/>
                      <a:pt x="145" y="78"/>
                      <a:pt x="143" y="79"/>
                    </a:cubicBezTo>
                    <a:cubicBezTo>
                      <a:pt x="138" y="81"/>
                      <a:pt x="132" y="83"/>
                      <a:pt x="128" y="87"/>
                    </a:cubicBezTo>
                    <a:cubicBezTo>
                      <a:pt x="123" y="91"/>
                      <a:pt x="119" y="97"/>
                      <a:pt x="114" y="102"/>
                    </a:cubicBezTo>
                    <a:cubicBezTo>
                      <a:pt x="112" y="104"/>
                      <a:pt x="109" y="106"/>
                      <a:pt x="107" y="108"/>
                    </a:cubicBezTo>
                    <a:cubicBezTo>
                      <a:pt x="106" y="110"/>
                      <a:pt x="106" y="115"/>
                      <a:pt x="106" y="117"/>
                    </a:cubicBezTo>
                    <a:cubicBezTo>
                      <a:pt x="103" y="126"/>
                      <a:pt x="99" y="132"/>
                      <a:pt x="94" y="140"/>
                    </a:cubicBezTo>
                    <a:cubicBezTo>
                      <a:pt x="91" y="144"/>
                      <a:pt x="93" y="144"/>
                      <a:pt x="93" y="148"/>
                    </a:cubicBezTo>
                    <a:cubicBezTo>
                      <a:pt x="92" y="152"/>
                      <a:pt x="92" y="156"/>
                      <a:pt x="92" y="160"/>
                    </a:cubicBezTo>
                    <a:cubicBezTo>
                      <a:pt x="92" y="163"/>
                      <a:pt x="91" y="166"/>
                      <a:pt x="91" y="168"/>
                    </a:cubicBezTo>
                    <a:cubicBezTo>
                      <a:pt x="91" y="168"/>
                      <a:pt x="91" y="168"/>
                      <a:pt x="91" y="168"/>
                    </a:cubicBezTo>
                    <a:cubicBezTo>
                      <a:pt x="92" y="168"/>
                      <a:pt x="92" y="168"/>
                      <a:pt x="92" y="169"/>
                    </a:cubicBezTo>
                    <a:cubicBezTo>
                      <a:pt x="96" y="172"/>
                      <a:pt x="98" y="174"/>
                      <a:pt x="98" y="179"/>
                    </a:cubicBezTo>
                    <a:cubicBezTo>
                      <a:pt x="98" y="180"/>
                      <a:pt x="97" y="182"/>
                      <a:pt x="97" y="184"/>
                    </a:cubicBezTo>
                    <a:cubicBezTo>
                      <a:pt x="93" y="195"/>
                      <a:pt x="83" y="205"/>
                      <a:pt x="76" y="213"/>
                    </a:cubicBezTo>
                    <a:cubicBezTo>
                      <a:pt x="71" y="219"/>
                      <a:pt x="63" y="223"/>
                      <a:pt x="57" y="228"/>
                    </a:cubicBezTo>
                    <a:cubicBezTo>
                      <a:pt x="50" y="232"/>
                      <a:pt x="44" y="238"/>
                      <a:pt x="37" y="243"/>
                    </a:cubicBezTo>
                    <a:cubicBezTo>
                      <a:pt x="35" y="244"/>
                      <a:pt x="32" y="245"/>
                      <a:pt x="29" y="245"/>
                    </a:cubicBezTo>
                    <a:cubicBezTo>
                      <a:pt x="24" y="247"/>
                      <a:pt x="18" y="248"/>
                      <a:pt x="13" y="250"/>
                    </a:cubicBezTo>
                    <a:cubicBezTo>
                      <a:pt x="11" y="250"/>
                      <a:pt x="3" y="251"/>
                      <a:pt x="3" y="252"/>
                    </a:cubicBezTo>
                    <a:cubicBezTo>
                      <a:pt x="2" y="254"/>
                      <a:pt x="1" y="255"/>
                      <a:pt x="0" y="256"/>
                    </a:cubicBezTo>
                    <a:cubicBezTo>
                      <a:pt x="122" y="256"/>
                      <a:pt x="122" y="256"/>
                      <a:pt x="122" y="256"/>
                    </a:cubicBezTo>
                    <a:cubicBezTo>
                      <a:pt x="121" y="230"/>
                      <a:pt x="121" y="230"/>
                      <a:pt x="121" y="230"/>
                    </a:cubicBezTo>
                    <a:cubicBezTo>
                      <a:pt x="121" y="229"/>
                      <a:pt x="122" y="229"/>
                      <a:pt x="122" y="228"/>
                    </a:cubicBezTo>
                    <a:cubicBezTo>
                      <a:pt x="123" y="226"/>
                      <a:pt x="124" y="225"/>
                      <a:pt x="125" y="223"/>
                    </a:cubicBezTo>
                    <a:cubicBezTo>
                      <a:pt x="127" y="222"/>
                      <a:pt x="129" y="221"/>
                      <a:pt x="131" y="219"/>
                    </a:cubicBezTo>
                    <a:cubicBezTo>
                      <a:pt x="134" y="217"/>
                      <a:pt x="134" y="217"/>
                      <a:pt x="134" y="217"/>
                    </a:cubicBezTo>
                    <a:cubicBezTo>
                      <a:pt x="134" y="217"/>
                      <a:pt x="135" y="217"/>
                      <a:pt x="135" y="217"/>
                    </a:cubicBezTo>
                    <a:cubicBezTo>
                      <a:pt x="139" y="214"/>
                      <a:pt x="139" y="214"/>
                      <a:pt x="139" y="214"/>
                    </a:cubicBezTo>
                    <a:cubicBezTo>
                      <a:pt x="143" y="211"/>
                      <a:pt x="146" y="209"/>
                      <a:pt x="149" y="207"/>
                    </a:cubicBezTo>
                    <a:cubicBezTo>
                      <a:pt x="150" y="206"/>
                      <a:pt x="152" y="205"/>
                      <a:pt x="153" y="204"/>
                    </a:cubicBezTo>
                    <a:cubicBezTo>
                      <a:pt x="156" y="203"/>
                      <a:pt x="159" y="202"/>
                      <a:pt x="161" y="201"/>
                    </a:cubicBezTo>
                    <a:cubicBezTo>
                      <a:pt x="163" y="201"/>
                      <a:pt x="164" y="200"/>
                      <a:pt x="166" y="200"/>
                    </a:cubicBezTo>
                    <a:cubicBezTo>
                      <a:pt x="170" y="199"/>
                      <a:pt x="170" y="199"/>
                      <a:pt x="170" y="199"/>
                    </a:cubicBezTo>
                    <a:cubicBezTo>
                      <a:pt x="172" y="198"/>
                      <a:pt x="174" y="198"/>
                      <a:pt x="176" y="197"/>
                    </a:cubicBezTo>
                    <a:cubicBezTo>
                      <a:pt x="177" y="197"/>
                      <a:pt x="177" y="197"/>
                      <a:pt x="178" y="197"/>
                    </a:cubicBezTo>
                    <a:cubicBezTo>
                      <a:pt x="179" y="197"/>
                      <a:pt x="180" y="197"/>
                      <a:pt x="181" y="198"/>
                    </a:cubicBezTo>
                    <a:cubicBezTo>
                      <a:pt x="181" y="198"/>
                      <a:pt x="181" y="198"/>
                      <a:pt x="182" y="198"/>
                    </a:cubicBezTo>
                    <a:cubicBezTo>
                      <a:pt x="182" y="198"/>
                      <a:pt x="182" y="198"/>
                      <a:pt x="182" y="198"/>
                    </a:cubicBezTo>
                    <a:cubicBezTo>
                      <a:pt x="182" y="197"/>
                      <a:pt x="183" y="195"/>
                      <a:pt x="183" y="194"/>
                    </a:cubicBezTo>
                    <a:cubicBezTo>
                      <a:pt x="183" y="194"/>
                      <a:pt x="183" y="194"/>
                      <a:pt x="183" y="194"/>
                    </a:cubicBezTo>
                    <a:cubicBezTo>
                      <a:pt x="184" y="193"/>
                      <a:pt x="184" y="192"/>
                      <a:pt x="184" y="192"/>
                    </a:cubicBezTo>
                    <a:cubicBezTo>
                      <a:pt x="185" y="188"/>
                      <a:pt x="185" y="188"/>
                      <a:pt x="185" y="188"/>
                    </a:cubicBezTo>
                    <a:cubicBezTo>
                      <a:pt x="189" y="190"/>
                      <a:pt x="189" y="190"/>
                      <a:pt x="189" y="190"/>
                    </a:cubicBezTo>
                    <a:cubicBezTo>
                      <a:pt x="189" y="190"/>
                      <a:pt x="190" y="190"/>
                      <a:pt x="190" y="190"/>
                    </a:cubicBezTo>
                    <a:cubicBezTo>
                      <a:pt x="191" y="191"/>
                      <a:pt x="193" y="191"/>
                      <a:pt x="194" y="191"/>
                    </a:cubicBezTo>
                    <a:cubicBezTo>
                      <a:pt x="200" y="191"/>
                      <a:pt x="209" y="189"/>
                      <a:pt x="213" y="187"/>
                    </a:cubicBezTo>
                    <a:cubicBezTo>
                      <a:pt x="215" y="187"/>
                      <a:pt x="216" y="186"/>
                      <a:pt x="217" y="185"/>
                    </a:cubicBezTo>
                    <a:cubicBezTo>
                      <a:pt x="218" y="184"/>
                      <a:pt x="219" y="183"/>
                      <a:pt x="220" y="182"/>
                    </a:cubicBezTo>
                    <a:cubicBezTo>
                      <a:pt x="222" y="180"/>
                      <a:pt x="222" y="180"/>
                      <a:pt x="222" y="180"/>
                    </a:cubicBezTo>
                    <a:cubicBezTo>
                      <a:pt x="223" y="180"/>
                      <a:pt x="223" y="179"/>
                      <a:pt x="223" y="178"/>
                    </a:cubicBezTo>
                    <a:cubicBezTo>
                      <a:pt x="224" y="177"/>
                      <a:pt x="224" y="177"/>
                      <a:pt x="224" y="177"/>
                    </a:cubicBezTo>
                    <a:cubicBezTo>
                      <a:pt x="226" y="175"/>
                      <a:pt x="228" y="173"/>
                      <a:pt x="231" y="171"/>
                    </a:cubicBezTo>
                    <a:cubicBezTo>
                      <a:pt x="261" y="157"/>
                      <a:pt x="261" y="157"/>
                      <a:pt x="261" y="157"/>
                    </a:cubicBezTo>
                    <a:cubicBezTo>
                      <a:pt x="261" y="157"/>
                      <a:pt x="262" y="157"/>
                      <a:pt x="263" y="156"/>
                    </a:cubicBezTo>
                    <a:cubicBezTo>
                      <a:pt x="263" y="156"/>
                      <a:pt x="264" y="156"/>
                      <a:pt x="264" y="156"/>
                    </a:cubicBezTo>
                    <a:cubicBezTo>
                      <a:pt x="262" y="155"/>
                      <a:pt x="262" y="155"/>
                      <a:pt x="262" y="155"/>
                    </a:cubicBezTo>
                    <a:cubicBezTo>
                      <a:pt x="259" y="153"/>
                      <a:pt x="259" y="150"/>
                      <a:pt x="260" y="148"/>
                    </a:cubicBezTo>
                    <a:cubicBezTo>
                      <a:pt x="260" y="147"/>
                      <a:pt x="260" y="146"/>
                      <a:pt x="261" y="145"/>
                    </a:cubicBezTo>
                    <a:cubicBezTo>
                      <a:pt x="260" y="144"/>
                      <a:pt x="260" y="144"/>
                      <a:pt x="260" y="144"/>
                    </a:cubicBezTo>
                    <a:cubicBezTo>
                      <a:pt x="260" y="144"/>
                      <a:pt x="260" y="144"/>
                      <a:pt x="260" y="144"/>
                    </a:cubicBezTo>
                    <a:cubicBezTo>
                      <a:pt x="260" y="144"/>
                      <a:pt x="259" y="142"/>
                      <a:pt x="259" y="141"/>
                    </a:cubicBezTo>
                    <a:cubicBezTo>
                      <a:pt x="258" y="140"/>
                      <a:pt x="258" y="139"/>
                      <a:pt x="258" y="138"/>
                    </a:cubicBezTo>
                    <a:cubicBezTo>
                      <a:pt x="259" y="134"/>
                      <a:pt x="261" y="132"/>
                      <a:pt x="264" y="131"/>
                    </a:cubicBezTo>
                    <a:cubicBezTo>
                      <a:pt x="265" y="131"/>
                      <a:pt x="265" y="131"/>
                      <a:pt x="265" y="131"/>
                    </a:cubicBezTo>
                    <a:cubicBezTo>
                      <a:pt x="266" y="131"/>
                      <a:pt x="267" y="131"/>
                      <a:pt x="268" y="132"/>
                    </a:cubicBezTo>
                    <a:cubicBezTo>
                      <a:pt x="269" y="132"/>
                      <a:pt x="270" y="132"/>
                      <a:pt x="271" y="132"/>
                    </a:cubicBezTo>
                    <a:cubicBezTo>
                      <a:pt x="271" y="132"/>
                      <a:pt x="271" y="132"/>
                      <a:pt x="271" y="132"/>
                    </a:cubicBezTo>
                    <a:cubicBezTo>
                      <a:pt x="271" y="132"/>
                      <a:pt x="271" y="132"/>
                      <a:pt x="271" y="132"/>
                    </a:cubicBezTo>
                    <a:cubicBezTo>
                      <a:pt x="273" y="132"/>
                      <a:pt x="276" y="131"/>
                      <a:pt x="279" y="130"/>
                    </a:cubicBezTo>
                    <a:cubicBezTo>
                      <a:pt x="280" y="129"/>
                      <a:pt x="281" y="129"/>
                      <a:pt x="282" y="128"/>
                    </a:cubicBezTo>
                    <a:cubicBezTo>
                      <a:pt x="283" y="128"/>
                      <a:pt x="284" y="127"/>
                      <a:pt x="285" y="125"/>
                    </a:cubicBezTo>
                    <a:cubicBezTo>
                      <a:pt x="286" y="123"/>
                      <a:pt x="288" y="120"/>
                      <a:pt x="291" y="119"/>
                    </a:cubicBezTo>
                    <a:cubicBezTo>
                      <a:pt x="293" y="119"/>
                      <a:pt x="295" y="118"/>
                      <a:pt x="296" y="118"/>
                    </a:cubicBezTo>
                    <a:cubicBezTo>
                      <a:pt x="297" y="118"/>
                      <a:pt x="298" y="118"/>
                      <a:pt x="299" y="118"/>
                    </a:cubicBezTo>
                    <a:cubicBezTo>
                      <a:pt x="301" y="117"/>
                      <a:pt x="303" y="117"/>
                      <a:pt x="306" y="117"/>
                    </a:cubicBezTo>
                    <a:cubicBezTo>
                      <a:pt x="307" y="117"/>
                      <a:pt x="309" y="117"/>
                      <a:pt x="310" y="117"/>
                    </a:cubicBezTo>
                    <a:cubicBezTo>
                      <a:pt x="311" y="117"/>
                      <a:pt x="311" y="117"/>
                      <a:pt x="311" y="117"/>
                    </a:cubicBezTo>
                    <a:cubicBezTo>
                      <a:pt x="314" y="118"/>
                      <a:pt x="317" y="118"/>
                      <a:pt x="320" y="118"/>
                    </a:cubicBezTo>
                    <a:cubicBezTo>
                      <a:pt x="322" y="118"/>
                      <a:pt x="324" y="118"/>
                      <a:pt x="326" y="119"/>
                    </a:cubicBezTo>
                    <a:cubicBezTo>
                      <a:pt x="328" y="119"/>
                      <a:pt x="330" y="119"/>
                      <a:pt x="332" y="119"/>
                    </a:cubicBezTo>
                    <a:cubicBezTo>
                      <a:pt x="332" y="118"/>
                      <a:pt x="332" y="117"/>
                      <a:pt x="333" y="116"/>
                    </a:cubicBezTo>
                    <a:cubicBezTo>
                      <a:pt x="336" y="111"/>
                      <a:pt x="336" y="111"/>
                      <a:pt x="336" y="111"/>
                    </a:cubicBezTo>
                    <a:cubicBezTo>
                      <a:pt x="337" y="111"/>
                      <a:pt x="337" y="110"/>
                      <a:pt x="337" y="110"/>
                    </a:cubicBezTo>
                    <a:cubicBezTo>
                      <a:pt x="335" y="108"/>
                      <a:pt x="335" y="108"/>
                      <a:pt x="335" y="108"/>
                    </a:cubicBezTo>
                    <a:cubicBezTo>
                      <a:pt x="333" y="106"/>
                      <a:pt x="331" y="105"/>
                      <a:pt x="330" y="102"/>
                    </a:cubicBezTo>
                    <a:cubicBezTo>
                      <a:pt x="320" y="74"/>
                      <a:pt x="320" y="74"/>
                      <a:pt x="320" y="74"/>
                    </a:cubicBezTo>
                    <a:cubicBezTo>
                      <a:pt x="319" y="73"/>
                      <a:pt x="319" y="71"/>
                      <a:pt x="319" y="70"/>
                    </a:cubicBezTo>
                    <a:cubicBezTo>
                      <a:pt x="319" y="68"/>
                      <a:pt x="319" y="67"/>
                      <a:pt x="320" y="66"/>
                    </a:cubicBezTo>
                    <a:cubicBezTo>
                      <a:pt x="320" y="64"/>
                      <a:pt x="321" y="60"/>
                      <a:pt x="320" y="59"/>
                    </a:cubicBezTo>
                    <a:cubicBezTo>
                      <a:pt x="318" y="52"/>
                      <a:pt x="318" y="52"/>
                      <a:pt x="318" y="52"/>
                    </a:cubicBezTo>
                    <a:cubicBezTo>
                      <a:pt x="318" y="51"/>
                      <a:pt x="318" y="50"/>
                      <a:pt x="318" y="49"/>
                    </a:cubicBezTo>
                    <a:cubicBezTo>
                      <a:pt x="319" y="49"/>
                      <a:pt x="319" y="48"/>
                      <a:pt x="319" y="47"/>
                    </a:cubicBezTo>
                    <a:cubicBezTo>
                      <a:pt x="318" y="47"/>
                      <a:pt x="317" y="46"/>
                      <a:pt x="317" y="45"/>
                    </a:cubicBezTo>
                    <a:cubicBezTo>
                      <a:pt x="316" y="44"/>
                      <a:pt x="315" y="43"/>
                      <a:pt x="315" y="42"/>
                    </a:cubicBezTo>
                    <a:cubicBezTo>
                      <a:pt x="315" y="41"/>
                      <a:pt x="316" y="40"/>
                      <a:pt x="316" y="40"/>
                    </a:cubicBezTo>
                    <a:cubicBezTo>
                      <a:pt x="314" y="42"/>
                      <a:pt x="314" y="42"/>
                      <a:pt x="314" y="42"/>
                    </a:cubicBezTo>
                    <a:cubicBezTo>
                      <a:pt x="315" y="38"/>
                      <a:pt x="315" y="38"/>
                      <a:pt x="315" y="38"/>
                    </a:cubicBezTo>
                    <a:cubicBezTo>
                      <a:pt x="315" y="38"/>
                      <a:pt x="315" y="38"/>
                      <a:pt x="315" y="38"/>
                    </a:cubicBezTo>
                    <a:cubicBezTo>
                      <a:pt x="314" y="37"/>
                      <a:pt x="313" y="36"/>
                      <a:pt x="312" y="35"/>
                    </a:cubicBezTo>
                    <a:cubicBezTo>
                      <a:pt x="312" y="35"/>
                      <a:pt x="312" y="35"/>
                      <a:pt x="312" y="35"/>
                    </a:cubicBezTo>
                    <a:cubicBezTo>
                      <a:pt x="311" y="34"/>
                      <a:pt x="310" y="33"/>
                      <a:pt x="309" y="32"/>
                    </a:cubicBezTo>
                    <a:cubicBezTo>
                      <a:pt x="308" y="32"/>
                      <a:pt x="308" y="32"/>
                      <a:pt x="308" y="32"/>
                    </a:cubicBezTo>
                    <a:cubicBezTo>
                      <a:pt x="308" y="31"/>
                      <a:pt x="307" y="31"/>
                      <a:pt x="307" y="30"/>
                    </a:cubicBezTo>
                    <a:cubicBezTo>
                      <a:pt x="306" y="29"/>
                      <a:pt x="306" y="29"/>
                      <a:pt x="306" y="29"/>
                    </a:cubicBezTo>
                    <a:cubicBezTo>
                      <a:pt x="305" y="29"/>
                      <a:pt x="305" y="29"/>
                      <a:pt x="305" y="29"/>
                    </a:cubicBezTo>
                    <a:cubicBezTo>
                      <a:pt x="304" y="28"/>
                      <a:pt x="304" y="28"/>
                      <a:pt x="304" y="28"/>
                    </a:cubicBezTo>
                    <a:cubicBezTo>
                      <a:pt x="306" y="26"/>
                      <a:pt x="306" y="26"/>
                      <a:pt x="306" y="26"/>
                    </a:cubicBezTo>
                    <a:cubicBezTo>
                      <a:pt x="301" y="24"/>
                      <a:pt x="296" y="22"/>
                      <a:pt x="290" y="22"/>
                    </a:cubicBezTo>
                    <a:cubicBezTo>
                      <a:pt x="290" y="22"/>
                      <a:pt x="289" y="22"/>
                      <a:pt x="289" y="22"/>
                    </a:cubicBezTo>
                    <a:cubicBezTo>
                      <a:pt x="290" y="23"/>
                      <a:pt x="290" y="25"/>
                      <a:pt x="290" y="26"/>
                    </a:cubicBezTo>
                    <a:cubicBezTo>
                      <a:pt x="289" y="25"/>
                      <a:pt x="289" y="24"/>
                      <a:pt x="289" y="22"/>
                    </a:cubicBezTo>
                    <a:cubicBezTo>
                      <a:pt x="288" y="18"/>
                      <a:pt x="287" y="17"/>
                      <a:pt x="285" y="17"/>
                    </a:cubicBezTo>
                    <a:cubicBezTo>
                      <a:pt x="284" y="17"/>
                      <a:pt x="284" y="17"/>
                      <a:pt x="282" y="17"/>
                    </a:cubicBezTo>
                    <a:cubicBezTo>
                      <a:pt x="275" y="20"/>
                      <a:pt x="267" y="23"/>
                      <a:pt x="259" y="24"/>
                    </a:cubicBezTo>
                    <a:cubicBezTo>
                      <a:pt x="254" y="24"/>
                      <a:pt x="249" y="24"/>
                      <a:pt x="244" y="24"/>
                    </a:cubicBezTo>
                    <a:cubicBezTo>
                      <a:pt x="244" y="24"/>
                      <a:pt x="244" y="24"/>
                      <a:pt x="243" y="24"/>
                    </a:cubicBezTo>
                    <a:cubicBezTo>
                      <a:pt x="241" y="24"/>
                      <a:pt x="236" y="20"/>
                      <a:pt x="233" y="19"/>
                    </a:cubicBezTo>
                    <a:cubicBezTo>
                      <a:pt x="229" y="17"/>
                      <a:pt x="227" y="16"/>
                      <a:pt x="225" y="12"/>
                    </a:cubicBezTo>
                    <a:cubicBezTo>
                      <a:pt x="223" y="9"/>
                      <a:pt x="221" y="6"/>
                      <a:pt x="219" y="2"/>
                    </a:cubicBezTo>
                    <a:cubicBezTo>
                      <a:pt x="219" y="3"/>
                      <a:pt x="219" y="3"/>
                      <a:pt x="219" y="3"/>
                    </a:cubicBezTo>
                    <a:cubicBezTo>
                      <a:pt x="220" y="2"/>
                      <a:pt x="221" y="1"/>
                      <a:pt x="221" y="1"/>
                    </a:cubicBezTo>
                    <a:cubicBezTo>
                      <a:pt x="220" y="0"/>
                      <a:pt x="219" y="0"/>
                      <a:pt x="2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37" name="Freeform 265">
                <a:extLst>
                  <a:ext uri="{FF2B5EF4-FFF2-40B4-BE49-F238E27FC236}">
                    <a16:creationId xmlns:a16="http://schemas.microsoft.com/office/drawing/2014/main" id="{9B263373-A198-4266-B402-23E4EAE440A8}"/>
                  </a:ext>
                </a:extLst>
              </p:cNvPr>
              <p:cNvSpPr>
                <a:spLocks/>
              </p:cNvSpPr>
              <p:nvPr/>
            </p:nvSpPr>
            <p:spPr bwMode="auto">
              <a:xfrm>
                <a:off x="2874391" y="6371566"/>
                <a:ext cx="689117" cy="486435"/>
              </a:xfrm>
              <a:custGeom>
                <a:avLst/>
                <a:gdLst>
                  <a:gd name="T0" fmla="*/ 217 w 217"/>
                  <a:gd name="T1" fmla="*/ 0 h 153"/>
                  <a:gd name="T2" fmla="*/ 91 w 217"/>
                  <a:gd name="T3" fmla="*/ 0 h 153"/>
                  <a:gd name="T4" fmla="*/ 76 w 217"/>
                  <a:gd name="T5" fmla="*/ 29 h 153"/>
                  <a:gd name="T6" fmla="*/ 59 w 217"/>
                  <a:gd name="T7" fmla="*/ 39 h 153"/>
                  <a:gd name="T8" fmla="*/ 55 w 217"/>
                  <a:gd name="T9" fmla="*/ 43 h 153"/>
                  <a:gd name="T10" fmla="*/ 47 w 217"/>
                  <a:gd name="T11" fmla="*/ 63 h 153"/>
                  <a:gd name="T12" fmla="*/ 41 w 217"/>
                  <a:gd name="T13" fmla="*/ 89 h 153"/>
                  <a:gd name="T14" fmla="*/ 34 w 217"/>
                  <a:gd name="T15" fmla="*/ 95 h 153"/>
                  <a:gd name="T16" fmla="*/ 26 w 217"/>
                  <a:gd name="T17" fmla="*/ 103 h 153"/>
                  <a:gd name="T18" fmla="*/ 15 w 217"/>
                  <a:gd name="T19" fmla="*/ 118 h 153"/>
                  <a:gd name="T20" fmla="*/ 5 w 217"/>
                  <a:gd name="T21" fmla="*/ 138 h 153"/>
                  <a:gd name="T22" fmla="*/ 0 w 217"/>
                  <a:gd name="T23" fmla="*/ 151 h 153"/>
                  <a:gd name="T24" fmla="*/ 0 w 217"/>
                  <a:gd name="T25" fmla="*/ 153 h 153"/>
                  <a:gd name="T26" fmla="*/ 91 w 217"/>
                  <a:gd name="T27" fmla="*/ 153 h 153"/>
                  <a:gd name="T28" fmla="*/ 91 w 217"/>
                  <a:gd name="T29" fmla="*/ 153 h 153"/>
                  <a:gd name="T30" fmla="*/ 91 w 217"/>
                  <a:gd name="T31" fmla="*/ 152 h 153"/>
                  <a:gd name="T32" fmla="*/ 90 w 217"/>
                  <a:gd name="T33" fmla="*/ 151 h 153"/>
                  <a:gd name="T34" fmla="*/ 92 w 217"/>
                  <a:gd name="T35" fmla="*/ 141 h 153"/>
                  <a:gd name="T36" fmla="*/ 102 w 217"/>
                  <a:gd name="T37" fmla="*/ 130 h 153"/>
                  <a:gd name="T38" fmla="*/ 105 w 217"/>
                  <a:gd name="T39" fmla="*/ 128 h 153"/>
                  <a:gd name="T40" fmla="*/ 107 w 217"/>
                  <a:gd name="T41" fmla="*/ 127 h 153"/>
                  <a:gd name="T42" fmla="*/ 111 w 217"/>
                  <a:gd name="T43" fmla="*/ 126 h 153"/>
                  <a:gd name="T44" fmla="*/ 116 w 217"/>
                  <a:gd name="T45" fmla="*/ 124 h 153"/>
                  <a:gd name="T46" fmla="*/ 119 w 217"/>
                  <a:gd name="T47" fmla="*/ 123 h 153"/>
                  <a:gd name="T48" fmla="*/ 119 w 217"/>
                  <a:gd name="T49" fmla="*/ 123 h 153"/>
                  <a:gd name="T50" fmla="*/ 122 w 217"/>
                  <a:gd name="T51" fmla="*/ 122 h 153"/>
                  <a:gd name="T52" fmla="*/ 122 w 217"/>
                  <a:gd name="T53" fmla="*/ 112 h 153"/>
                  <a:gd name="T54" fmla="*/ 122 w 217"/>
                  <a:gd name="T55" fmla="*/ 111 h 153"/>
                  <a:gd name="T56" fmla="*/ 122 w 217"/>
                  <a:gd name="T57" fmla="*/ 108 h 153"/>
                  <a:gd name="T58" fmla="*/ 122 w 217"/>
                  <a:gd name="T59" fmla="*/ 52 h 153"/>
                  <a:gd name="T60" fmla="*/ 125 w 217"/>
                  <a:gd name="T61" fmla="*/ 45 h 153"/>
                  <a:gd name="T62" fmla="*/ 126 w 217"/>
                  <a:gd name="T63" fmla="*/ 45 h 153"/>
                  <a:gd name="T64" fmla="*/ 129 w 217"/>
                  <a:gd name="T65" fmla="*/ 44 h 153"/>
                  <a:gd name="T66" fmla="*/ 130 w 217"/>
                  <a:gd name="T67" fmla="*/ 44 h 153"/>
                  <a:gd name="T68" fmla="*/ 132 w 217"/>
                  <a:gd name="T69" fmla="*/ 44 h 153"/>
                  <a:gd name="T70" fmla="*/ 217 w 217"/>
                  <a:gd name="T71" fmla="*/ 44 h 153"/>
                  <a:gd name="T72" fmla="*/ 217 w 217"/>
                  <a:gd name="T73" fmla="*/ 38 h 153"/>
                  <a:gd name="T74" fmla="*/ 217 w 217"/>
                  <a:gd name="T75" fmla="*/ 38 h 153"/>
                  <a:gd name="T76" fmla="*/ 216 w 217"/>
                  <a:gd name="T77" fmla="*/ 33 h 153"/>
                  <a:gd name="T78" fmla="*/ 216 w 217"/>
                  <a:gd name="T79" fmla="*/ 2 h 153"/>
                  <a:gd name="T80" fmla="*/ 217 w 217"/>
                  <a:gd name="T81" fmla="*/ 2 h 153"/>
                  <a:gd name="T82" fmla="*/ 217 w 217"/>
                  <a:gd name="T83"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7" h="153">
                    <a:moveTo>
                      <a:pt x="217" y="0"/>
                    </a:moveTo>
                    <a:cubicBezTo>
                      <a:pt x="91" y="0"/>
                      <a:pt x="91" y="0"/>
                      <a:pt x="91" y="0"/>
                    </a:cubicBezTo>
                    <a:cubicBezTo>
                      <a:pt x="87" y="10"/>
                      <a:pt x="84" y="24"/>
                      <a:pt x="76" y="29"/>
                    </a:cubicBezTo>
                    <a:cubicBezTo>
                      <a:pt x="71" y="33"/>
                      <a:pt x="65" y="36"/>
                      <a:pt x="59" y="39"/>
                    </a:cubicBezTo>
                    <a:cubicBezTo>
                      <a:pt x="58" y="40"/>
                      <a:pt x="55" y="41"/>
                      <a:pt x="55" y="43"/>
                    </a:cubicBezTo>
                    <a:cubicBezTo>
                      <a:pt x="54" y="51"/>
                      <a:pt x="50" y="57"/>
                      <a:pt x="47" y="63"/>
                    </a:cubicBezTo>
                    <a:cubicBezTo>
                      <a:pt x="43" y="71"/>
                      <a:pt x="45" y="82"/>
                      <a:pt x="41" y="89"/>
                    </a:cubicBezTo>
                    <a:cubicBezTo>
                      <a:pt x="39" y="93"/>
                      <a:pt x="36" y="92"/>
                      <a:pt x="34" y="95"/>
                    </a:cubicBezTo>
                    <a:cubicBezTo>
                      <a:pt x="31" y="98"/>
                      <a:pt x="29" y="101"/>
                      <a:pt x="26" y="103"/>
                    </a:cubicBezTo>
                    <a:cubicBezTo>
                      <a:pt x="22" y="108"/>
                      <a:pt x="18" y="112"/>
                      <a:pt x="15" y="118"/>
                    </a:cubicBezTo>
                    <a:cubicBezTo>
                      <a:pt x="11" y="124"/>
                      <a:pt x="7" y="131"/>
                      <a:pt x="5" y="138"/>
                    </a:cubicBezTo>
                    <a:cubicBezTo>
                      <a:pt x="4" y="142"/>
                      <a:pt x="2" y="146"/>
                      <a:pt x="0" y="151"/>
                    </a:cubicBezTo>
                    <a:cubicBezTo>
                      <a:pt x="0" y="151"/>
                      <a:pt x="0" y="152"/>
                      <a:pt x="0" y="153"/>
                    </a:cubicBezTo>
                    <a:cubicBezTo>
                      <a:pt x="91" y="153"/>
                      <a:pt x="91" y="153"/>
                      <a:pt x="91" y="153"/>
                    </a:cubicBezTo>
                    <a:cubicBezTo>
                      <a:pt x="91" y="153"/>
                      <a:pt x="91" y="153"/>
                      <a:pt x="91" y="153"/>
                    </a:cubicBezTo>
                    <a:cubicBezTo>
                      <a:pt x="91" y="152"/>
                      <a:pt x="91" y="152"/>
                      <a:pt x="91" y="152"/>
                    </a:cubicBezTo>
                    <a:cubicBezTo>
                      <a:pt x="90" y="151"/>
                      <a:pt x="90" y="151"/>
                      <a:pt x="90" y="151"/>
                    </a:cubicBezTo>
                    <a:cubicBezTo>
                      <a:pt x="89" y="146"/>
                      <a:pt x="90" y="143"/>
                      <a:pt x="92" y="141"/>
                    </a:cubicBezTo>
                    <a:cubicBezTo>
                      <a:pt x="95" y="136"/>
                      <a:pt x="98" y="132"/>
                      <a:pt x="102" y="130"/>
                    </a:cubicBezTo>
                    <a:cubicBezTo>
                      <a:pt x="103" y="129"/>
                      <a:pt x="104" y="129"/>
                      <a:pt x="105" y="128"/>
                    </a:cubicBezTo>
                    <a:cubicBezTo>
                      <a:pt x="105" y="128"/>
                      <a:pt x="106" y="128"/>
                      <a:pt x="107" y="127"/>
                    </a:cubicBezTo>
                    <a:cubicBezTo>
                      <a:pt x="108" y="127"/>
                      <a:pt x="109" y="126"/>
                      <a:pt x="111" y="126"/>
                    </a:cubicBezTo>
                    <a:cubicBezTo>
                      <a:pt x="113" y="126"/>
                      <a:pt x="114" y="125"/>
                      <a:pt x="116" y="124"/>
                    </a:cubicBezTo>
                    <a:cubicBezTo>
                      <a:pt x="118" y="124"/>
                      <a:pt x="118" y="124"/>
                      <a:pt x="119" y="123"/>
                    </a:cubicBezTo>
                    <a:cubicBezTo>
                      <a:pt x="119" y="123"/>
                      <a:pt x="119" y="123"/>
                      <a:pt x="119" y="123"/>
                    </a:cubicBezTo>
                    <a:cubicBezTo>
                      <a:pt x="120" y="123"/>
                      <a:pt x="121" y="123"/>
                      <a:pt x="122" y="122"/>
                    </a:cubicBezTo>
                    <a:cubicBezTo>
                      <a:pt x="123" y="120"/>
                      <a:pt x="122" y="115"/>
                      <a:pt x="122" y="112"/>
                    </a:cubicBezTo>
                    <a:cubicBezTo>
                      <a:pt x="122" y="111"/>
                      <a:pt x="122" y="111"/>
                      <a:pt x="122" y="111"/>
                    </a:cubicBezTo>
                    <a:cubicBezTo>
                      <a:pt x="122" y="110"/>
                      <a:pt x="122" y="109"/>
                      <a:pt x="122" y="108"/>
                    </a:cubicBezTo>
                    <a:cubicBezTo>
                      <a:pt x="122" y="52"/>
                      <a:pt x="122" y="52"/>
                      <a:pt x="122" y="52"/>
                    </a:cubicBezTo>
                    <a:cubicBezTo>
                      <a:pt x="122" y="50"/>
                      <a:pt x="122" y="46"/>
                      <a:pt x="125" y="45"/>
                    </a:cubicBezTo>
                    <a:cubicBezTo>
                      <a:pt x="126" y="45"/>
                      <a:pt x="126" y="45"/>
                      <a:pt x="126" y="45"/>
                    </a:cubicBezTo>
                    <a:cubicBezTo>
                      <a:pt x="127" y="44"/>
                      <a:pt x="128" y="44"/>
                      <a:pt x="129" y="44"/>
                    </a:cubicBezTo>
                    <a:cubicBezTo>
                      <a:pt x="130" y="44"/>
                      <a:pt x="130" y="44"/>
                      <a:pt x="130" y="44"/>
                    </a:cubicBezTo>
                    <a:cubicBezTo>
                      <a:pt x="131" y="44"/>
                      <a:pt x="131" y="44"/>
                      <a:pt x="132" y="44"/>
                    </a:cubicBezTo>
                    <a:cubicBezTo>
                      <a:pt x="217" y="44"/>
                      <a:pt x="217" y="44"/>
                      <a:pt x="217" y="44"/>
                    </a:cubicBezTo>
                    <a:cubicBezTo>
                      <a:pt x="217" y="43"/>
                      <a:pt x="217" y="40"/>
                      <a:pt x="217" y="38"/>
                    </a:cubicBezTo>
                    <a:cubicBezTo>
                      <a:pt x="217" y="38"/>
                      <a:pt x="217" y="38"/>
                      <a:pt x="217" y="38"/>
                    </a:cubicBezTo>
                    <a:cubicBezTo>
                      <a:pt x="217" y="36"/>
                      <a:pt x="216" y="35"/>
                      <a:pt x="216" y="33"/>
                    </a:cubicBezTo>
                    <a:cubicBezTo>
                      <a:pt x="216" y="2"/>
                      <a:pt x="216" y="2"/>
                      <a:pt x="216" y="2"/>
                    </a:cubicBezTo>
                    <a:cubicBezTo>
                      <a:pt x="217" y="2"/>
                      <a:pt x="217" y="2"/>
                      <a:pt x="217" y="2"/>
                    </a:cubicBezTo>
                    <a:cubicBezTo>
                      <a:pt x="217" y="0"/>
                      <a:pt x="217" y="0"/>
                      <a:pt x="2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38" name="Freeform 266">
                <a:extLst>
                  <a:ext uri="{FF2B5EF4-FFF2-40B4-BE49-F238E27FC236}">
                    <a16:creationId xmlns:a16="http://schemas.microsoft.com/office/drawing/2014/main" id="{506006F8-1AB7-49BE-8E6E-161ADDA51025}"/>
                  </a:ext>
                </a:extLst>
              </p:cNvPr>
              <p:cNvSpPr>
                <a:spLocks/>
              </p:cNvSpPr>
              <p:nvPr/>
            </p:nvSpPr>
            <p:spPr bwMode="auto">
              <a:xfrm>
                <a:off x="3183940" y="6419472"/>
                <a:ext cx="696487" cy="438529"/>
              </a:xfrm>
              <a:custGeom>
                <a:avLst/>
                <a:gdLst>
                  <a:gd name="T0" fmla="*/ 126 w 219"/>
                  <a:gd name="T1" fmla="*/ 0 h 138"/>
                  <a:gd name="T2" fmla="*/ 126 w 219"/>
                  <a:gd name="T3" fmla="*/ 12 h 138"/>
                  <a:gd name="T4" fmla="*/ 126 w 219"/>
                  <a:gd name="T5" fmla="*/ 18 h 138"/>
                  <a:gd name="T6" fmla="*/ 127 w 219"/>
                  <a:gd name="T7" fmla="*/ 21 h 138"/>
                  <a:gd name="T8" fmla="*/ 127 w 219"/>
                  <a:gd name="T9" fmla="*/ 22 h 138"/>
                  <a:gd name="T10" fmla="*/ 126 w 219"/>
                  <a:gd name="T11" fmla="*/ 32 h 138"/>
                  <a:gd name="T12" fmla="*/ 123 w 219"/>
                  <a:gd name="T13" fmla="*/ 36 h 138"/>
                  <a:gd name="T14" fmla="*/ 35 w 219"/>
                  <a:gd name="T15" fmla="*/ 36 h 138"/>
                  <a:gd name="T16" fmla="*/ 32 w 219"/>
                  <a:gd name="T17" fmla="*/ 36 h 138"/>
                  <a:gd name="T18" fmla="*/ 32 w 219"/>
                  <a:gd name="T19" fmla="*/ 36 h 138"/>
                  <a:gd name="T20" fmla="*/ 32 w 219"/>
                  <a:gd name="T21" fmla="*/ 37 h 138"/>
                  <a:gd name="T22" fmla="*/ 32 w 219"/>
                  <a:gd name="T23" fmla="*/ 93 h 138"/>
                  <a:gd name="T24" fmla="*/ 32 w 219"/>
                  <a:gd name="T25" fmla="*/ 96 h 138"/>
                  <a:gd name="T26" fmla="*/ 32 w 219"/>
                  <a:gd name="T27" fmla="*/ 96 h 138"/>
                  <a:gd name="T28" fmla="*/ 32 w 219"/>
                  <a:gd name="T29" fmla="*/ 110 h 138"/>
                  <a:gd name="T30" fmla="*/ 30 w 219"/>
                  <a:gd name="T31" fmla="*/ 113 h 138"/>
                  <a:gd name="T32" fmla="*/ 24 w 219"/>
                  <a:gd name="T33" fmla="*/ 115 h 138"/>
                  <a:gd name="T34" fmla="*/ 22 w 219"/>
                  <a:gd name="T35" fmla="*/ 116 h 138"/>
                  <a:gd name="T36" fmla="*/ 15 w 219"/>
                  <a:gd name="T37" fmla="*/ 118 h 138"/>
                  <a:gd name="T38" fmla="*/ 12 w 219"/>
                  <a:gd name="T39" fmla="*/ 119 h 138"/>
                  <a:gd name="T40" fmla="*/ 11 w 219"/>
                  <a:gd name="T41" fmla="*/ 119 h 138"/>
                  <a:gd name="T42" fmla="*/ 11 w 219"/>
                  <a:gd name="T43" fmla="*/ 119 h 138"/>
                  <a:gd name="T44" fmla="*/ 9 w 219"/>
                  <a:gd name="T45" fmla="*/ 121 h 138"/>
                  <a:gd name="T46" fmla="*/ 1 w 219"/>
                  <a:gd name="T47" fmla="*/ 129 h 138"/>
                  <a:gd name="T48" fmla="*/ 0 w 219"/>
                  <a:gd name="T49" fmla="*/ 134 h 138"/>
                  <a:gd name="T50" fmla="*/ 1 w 219"/>
                  <a:gd name="T51" fmla="*/ 137 h 138"/>
                  <a:gd name="T52" fmla="*/ 1 w 219"/>
                  <a:gd name="T53" fmla="*/ 138 h 138"/>
                  <a:gd name="T54" fmla="*/ 188 w 219"/>
                  <a:gd name="T55" fmla="*/ 138 h 138"/>
                  <a:gd name="T56" fmla="*/ 184 w 219"/>
                  <a:gd name="T57" fmla="*/ 104 h 138"/>
                  <a:gd name="T58" fmla="*/ 180 w 219"/>
                  <a:gd name="T59" fmla="*/ 78 h 138"/>
                  <a:gd name="T60" fmla="*/ 179 w 219"/>
                  <a:gd name="T61" fmla="*/ 64 h 138"/>
                  <a:gd name="T62" fmla="*/ 178 w 219"/>
                  <a:gd name="T63" fmla="*/ 60 h 138"/>
                  <a:gd name="T64" fmla="*/ 219 w 219"/>
                  <a:gd name="T65" fmla="*/ 60 h 138"/>
                  <a:gd name="T66" fmla="*/ 202 w 219"/>
                  <a:gd name="T67" fmla="*/ 48 h 138"/>
                  <a:gd name="T68" fmla="*/ 198 w 219"/>
                  <a:gd name="T69" fmla="*/ 46 h 138"/>
                  <a:gd name="T70" fmla="*/ 177 w 219"/>
                  <a:gd name="T71" fmla="*/ 32 h 138"/>
                  <a:gd name="T72" fmla="*/ 175 w 219"/>
                  <a:gd name="T73" fmla="*/ 31 h 138"/>
                  <a:gd name="T74" fmla="*/ 151 w 219"/>
                  <a:gd name="T75" fmla="*/ 16 h 138"/>
                  <a:gd name="T76" fmla="*/ 151 w 219"/>
                  <a:gd name="T77" fmla="*/ 15 h 138"/>
                  <a:gd name="T78" fmla="*/ 126 w 219"/>
                  <a:gd name="T79"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9" h="138">
                    <a:moveTo>
                      <a:pt x="126" y="0"/>
                    </a:moveTo>
                    <a:cubicBezTo>
                      <a:pt x="126" y="4"/>
                      <a:pt x="126" y="8"/>
                      <a:pt x="126" y="12"/>
                    </a:cubicBezTo>
                    <a:cubicBezTo>
                      <a:pt x="126" y="18"/>
                      <a:pt x="126" y="18"/>
                      <a:pt x="126" y="18"/>
                    </a:cubicBezTo>
                    <a:cubicBezTo>
                      <a:pt x="126" y="19"/>
                      <a:pt x="126" y="20"/>
                      <a:pt x="127" y="21"/>
                    </a:cubicBezTo>
                    <a:cubicBezTo>
                      <a:pt x="127" y="22"/>
                      <a:pt x="127" y="22"/>
                      <a:pt x="127" y="22"/>
                    </a:cubicBezTo>
                    <a:cubicBezTo>
                      <a:pt x="127" y="25"/>
                      <a:pt x="127" y="29"/>
                      <a:pt x="126" y="32"/>
                    </a:cubicBezTo>
                    <a:cubicBezTo>
                      <a:pt x="126" y="33"/>
                      <a:pt x="126" y="36"/>
                      <a:pt x="123" y="36"/>
                    </a:cubicBezTo>
                    <a:cubicBezTo>
                      <a:pt x="35" y="36"/>
                      <a:pt x="35" y="36"/>
                      <a:pt x="35" y="36"/>
                    </a:cubicBezTo>
                    <a:cubicBezTo>
                      <a:pt x="34" y="36"/>
                      <a:pt x="33" y="36"/>
                      <a:pt x="32" y="36"/>
                    </a:cubicBezTo>
                    <a:cubicBezTo>
                      <a:pt x="32" y="36"/>
                      <a:pt x="32" y="36"/>
                      <a:pt x="32" y="36"/>
                    </a:cubicBezTo>
                    <a:cubicBezTo>
                      <a:pt x="32" y="37"/>
                      <a:pt x="32" y="37"/>
                      <a:pt x="32" y="37"/>
                    </a:cubicBezTo>
                    <a:cubicBezTo>
                      <a:pt x="32" y="93"/>
                      <a:pt x="32" y="93"/>
                      <a:pt x="32" y="93"/>
                    </a:cubicBezTo>
                    <a:cubicBezTo>
                      <a:pt x="32" y="94"/>
                      <a:pt x="32" y="95"/>
                      <a:pt x="32" y="96"/>
                    </a:cubicBezTo>
                    <a:cubicBezTo>
                      <a:pt x="32" y="96"/>
                      <a:pt x="32" y="96"/>
                      <a:pt x="32" y="96"/>
                    </a:cubicBezTo>
                    <a:cubicBezTo>
                      <a:pt x="32" y="102"/>
                      <a:pt x="33" y="107"/>
                      <a:pt x="32" y="110"/>
                    </a:cubicBezTo>
                    <a:cubicBezTo>
                      <a:pt x="31" y="111"/>
                      <a:pt x="31" y="112"/>
                      <a:pt x="30" y="113"/>
                    </a:cubicBezTo>
                    <a:cubicBezTo>
                      <a:pt x="29" y="114"/>
                      <a:pt x="27" y="114"/>
                      <a:pt x="24" y="115"/>
                    </a:cubicBezTo>
                    <a:cubicBezTo>
                      <a:pt x="23" y="115"/>
                      <a:pt x="23" y="115"/>
                      <a:pt x="22" y="116"/>
                    </a:cubicBezTo>
                    <a:cubicBezTo>
                      <a:pt x="20" y="117"/>
                      <a:pt x="18" y="117"/>
                      <a:pt x="15" y="118"/>
                    </a:cubicBezTo>
                    <a:cubicBezTo>
                      <a:pt x="14" y="118"/>
                      <a:pt x="14" y="118"/>
                      <a:pt x="12" y="119"/>
                    </a:cubicBezTo>
                    <a:cubicBezTo>
                      <a:pt x="11" y="119"/>
                      <a:pt x="11" y="119"/>
                      <a:pt x="11" y="119"/>
                    </a:cubicBezTo>
                    <a:cubicBezTo>
                      <a:pt x="11" y="119"/>
                      <a:pt x="11" y="119"/>
                      <a:pt x="11" y="119"/>
                    </a:cubicBezTo>
                    <a:cubicBezTo>
                      <a:pt x="10" y="120"/>
                      <a:pt x="10" y="120"/>
                      <a:pt x="9" y="121"/>
                    </a:cubicBezTo>
                    <a:cubicBezTo>
                      <a:pt x="6" y="122"/>
                      <a:pt x="3" y="125"/>
                      <a:pt x="1" y="129"/>
                    </a:cubicBezTo>
                    <a:cubicBezTo>
                      <a:pt x="0" y="131"/>
                      <a:pt x="0" y="132"/>
                      <a:pt x="0" y="134"/>
                    </a:cubicBezTo>
                    <a:cubicBezTo>
                      <a:pt x="0" y="135"/>
                      <a:pt x="1" y="136"/>
                      <a:pt x="1" y="137"/>
                    </a:cubicBezTo>
                    <a:cubicBezTo>
                      <a:pt x="1" y="137"/>
                      <a:pt x="1" y="138"/>
                      <a:pt x="1" y="138"/>
                    </a:cubicBezTo>
                    <a:cubicBezTo>
                      <a:pt x="188" y="138"/>
                      <a:pt x="188" y="138"/>
                      <a:pt x="188" y="138"/>
                    </a:cubicBezTo>
                    <a:cubicBezTo>
                      <a:pt x="186" y="127"/>
                      <a:pt x="185" y="115"/>
                      <a:pt x="184" y="104"/>
                    </a:cubicBezTo>
                    <a:cubicBezTo>
                      <a:pt x="180" y="78"/>
                      <a:pt x="180" y="78"/>
                      <a:pt x="180" y="78"/>
                    </a:cubicBezTo>
                    <a:cubicBezTo>
                      <a:pt x="180" y="73"/>
                      <a:pt x="179" y="69"/>
                      <a:pt x="179" y="64"/>
                    </a:cubicBezTo>
                    <a:cubicBezTo>
                      <a:pt x="178" y="60"/>
                      <a:pt x="178" y="60"/>
                      <a:pt x="178" y="60"/>
                    </a:cubicBezTo>
                    <a:cubicBezTo>
                      <a:pt x="219" y="60"/>
                      <a:pt x="219" y="60"/>
                      <a:pt x="219" y="60"/>
                    </a:cubicBezTo>
                    <a:cubicBezTo>
                      <a:pt x="214" y="56"/>
                      <a:pt x="208" y="52"/>
                      <a:pt x="202" y="48"/>
                    </a:cubicBezTo>
                    <a:cubicBezTo>
                      <a:pt x="201" y="47"/>
                      <a:pt x="199" y="47"/>
                      <a:pt x="198" y="46"/>
                    </a:cubicBezTo>
                    <a:cubicBezTo>
                      <a:pt x="191" y="41"/>
                      <a:pt x="184" y="37"/>
                      <a:pt x="177" y="32"/>
                    </a:cubicBezTo>
                    <a:cubicBezTo>
                      <a:pt x="176" y="32"/>
                      <a:pt x="175" y="31"/>
                      <a:pt x="175" y="31"/>
                    </a:cubicBezTo>
                    <a:cubicBezTo>
                      <a:pt x="167" y="26"/>
                      <a:pt x="159" y="21"/>
                      <a:pt x="151" y="16"/>
                    </a:cubicBezTo>
                    <a:cubicBezTo>
                      <a:pt x="151" y="15"/>
                      <a:pt x="151" y="15"/>
                      <a:pt x="151" y="15"/>
                    </a:cubicBezTo>
                    <a:cubicBezTo>
                      <a:pt x="143" y="10"/>
                      <a:pt x="135" y="5"/>
                      <a:pt x="1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39" name="Freeform 267">
                <a:extLst>
                  <a:ext uri="{FF2B5EF4-FFF2-40B4-BE49-F238E27FC236}">
                    <a16:creationId xmlns:a16="http://schemas.microsoft.com/office/drawing/2014/main" id="{1467B130-8822-4801-B710-A7560FC4F558}"/>
                  </a:ext>
                </a:extLst>
              </p:cNvPr>
              <p:cNvSpPr>
                <a:spLocks/>
              </p:cNvSpPr>
              <p:nvPr/>
            </p:nvSpPr>
            <p:spPr bwMode="auto">
              <a:xfrm>
                <a:off x="3515601" y="4702208"/>
                <a:ext cx="1142386" cy="825466"/>
              </a:xfrm>
              <a:custGeom>
                <a:avLst/>
                <a:gdLst>
                  <a:gd name="T0" fmla="*/ 31 w 359"/>
                  <a:gd name="T1" fmla="*/ 10 h 260"/>
                  <a:gd name="T2" fmla="*/ 19 w 359"/>
                  <a:gd name="T3" fmla="*/ 16 h 260"/>
                  <a:gd name="T4" fmla="*/ 6 w 359"/>
                  <a:gd name="T5" fmla="*/ 21 h 260"/>
                  <a:gd name="T6" fmla="*/ 1 w 359"/>
                  <a:gd name="T7" fmla="*/ 28 h 260"/>
                  <a:gd name="T8" fmla="*/ 12 w 359"/>
                  <a:gd name="T9" fmla="*/ 45 h 260"/>
                  <a:gd name="T10" fmla="*/ 17 w 359"/>
                  <a:gd name="T11" fmla="*/ 46 h 260"/>
                  <a:gd name="T12" fmla="*/ 12 w 359"/>
                  <a:gd name="T13" fmla="*/ 57 h 260"/>
                  <a:gd name="T14" fmla="*/ 31 w 359"/>
                  <a:gd name="T15" fmla="*/ 53 h 260"/>
                  <a:gd name="T16" fmla="*/ 40 w 359"/>
                  <a:gd name="T17" fmla="*/ 60 h 260"/>
                  <a:gd name="T18" fmla="*/ 54 w 359"/>
                  <a:gd name="T19" fmla="*/ 62 h 260"/>
                  <a:gd name="T20" fmla="*/ 67 w 359"/>
                  <a:gd name="T21" fmla="*/ 59 h 260"/>
                  <a:gd name="T22" fmla="*/ 72 w 359"/>
                  <a:gd name="T23" fmla="*/ 59 h 260"/>
                  <a:gd name="T24" fmla="*/ 82 w 359"/>
                  <a:gd name="T25" fmla="*/ 66 h 260"/>
                  <a:gd name="T26" fmla="*/ 86 w 359"/>
                  <a:gd name="T27" fmla="*/ 70 h 260"/>
                  <a:gd name="T28" fmla="*/ 78 w 359"/>
                  <a:gd name="T29" fmla="*/ 90 h 260"/>
                  <a:gd name="T30" fmla="*/ 72 w 359"/>
                  <a:gd name="T31" fmla="*/ 98 h 260"/>
                  <a:gd name="T32" fmla="*/ 73 w 359"/>
                  <a:gd name="T33" fmla="*/ 120 h 260"/>
                  <a:gd name="T34" fmla="*/ 58 w 359"/>
                  <a:gd name="T35" fmla="*/ 147 h 260"/>
                  <a:gd name="T36" fmla="*/ 64 w 359"/>
                  <a:gd name="T37" fmla="*/ 154 h 260"/>
                  <a:gd name="T38" fmla="*/ 64 w 359"/>
                  <a:gd name="T39" fmla="*/ 170 h 260"/>
                  <a:gd name="T40" fmla="*/ 60 w 359"/>
                  <a:gd name="T41" fmla="*/ 179 h 260"/>
                  <a:gd name="T42" fmla="*/ 71 w 359"/>
                  <a:gd name="T43" fmla="*/ 184 h 260"/>
                  <a:gd name="T44" fmla="*/ 60 w 359"/>
                  <a:gd name="T45" fmla="*/ 198 h 260"/>
                  <a:gd name="T46" fmla="*/ 63 w 359"/>
                  <a:gd name="T47" fmla="*/ 221 h 260"/>
                  <a:gd name="T48" fmla="*/ 75 w 359"/>
                  <a:gd name="T49" fmla="*/ 228 h 260"/>
                  <a:gd name="T50" fmla="*/ 87 w 359"/>
                  <a:gd name="T51" fmla="*/ 231 h 260"/>
                  <a:gd name="T52" fmla="*/ 105 w 359"/>
                  <a:gd name="T53" fmla="*/ 260 h 260"/>
                  <a:gd name="T54" fmla="*/ 118 w 359"/>
                  <a:gd name="T55" fmla="*/ 249 h 260"/>
                  <a:gd name="T56" fmla="*/ 154 w 359"/>
                  <a:gd name="T57" fmla="*/ 237 h 260"/>
                  <a:gd name="T58" fmla="*/ 186 w 359"/>
                  <a:gd name="T59" fmla="*/ 238 h 260"/>
                  <a:gd name="T60" fmla="*/ 209 w 359"/>
                  <a:gd name="T61" fmla="*/ 229 h 260"/>
                  <a:gd name="T62" fmla="*/ 237 w 359"/>
                  <a:gd name="T63" fmla="*/ 209 h 260"/>
                  <a:gd name="T64" fmla="*/ 244 w 359"/>
                  <a:gd name="T65" fmla="*/ 196 h 260"/>
                  <a:gd name="T66" fmla="*/ 285 w 359"/>
                  <a:gd name="T67" fmla="*/ 102 h 260"/>
                  <a:gd name="T68" fmla="*/ 319 w 359"/>
                  <a:gd name="T69" fmla="*/ 82 h 260"/>
                  <a:gd name="T70" fmla="*/ 353 w 359"/>
                  <a:gd name="T71" fmla="*/ 56 h 260"/>
                  <a:gd name="T72" fmla="*/ 353 w 359"/>
                  <a:gd name="T73" fmla="*/ 50 h 260"/>
                  <a:gd name="T74" fmla="*/ 333 w 359"/>
                  <a:gd name="T75" fmla="*/ 53 h 260"/>
                  <a:gd name="T76" fmla="*/ 311 w 359"/>
                  <a:gd name="T77" fmla="*/ 44 h 260"/>
                  <a:gd name="T78" fmla="*/ 287 w 359"/>
                  <a:gd name="T79" fmla="*/ 36 h 260"/>
                  <a:gd name="T80" fmla="*/ 270 w 359"/>
                  <a:gd name="T81" fmla="*/ 41 h 260"/>
                  <a:gd name="T82" fmla="*/ 257 w 359"/>
                  <a:gd name="T83" fmla="*/ 38 h 260"/>
                  <a:gd name="T84" fmla="*/ 244 w 359"/>
                  <a:gd name="T85" fmla="*/ 34 h 260"/>
                  <a:gd name="T86" fmla="*/ 230 w 359"/>
                  <a:gd name="T87" fmla="*/ 30 h 260"/>
                  <a:gd name="T88" fmla="*/ 221 w 359"/>
                  <a:gd name="T89" fmla="*/ 20 h 260"/>
                  <a:gd name="T90" fmla="*/ 211 w 359"/>
                  <a:gd name="T91" fmla="*/ 17 h 260"/>
                  <a:gd name="T92" fmla="*/ 197 w 359"/>
                  <a:gd name="T93" fmla="*/ 16 h 260"/>
                  <a:gd name="T94" fmla="*/ 168 w 359"/>
                  <a:gd name="T95" fmla="*/ 11 h 260"/>
                  <a:gd name="T96" fmla="*/ 136 w 359"/>
                  <a:gd name="T97" fmla="*/ 13 h 260"/>
                  <a:gd name="T98" fmla="*/ 92 w 359"/>
                  <a:gd name="T99" fmla="*/ 5 h 260"/>
                  <a:gd name="T100" fmla="*/ 48 w 359"/>
                  <a:gd name="T101" fmla="*/ 1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260">
                    <a:moveTo>
                      <a:pt x="41" y="0"/>
                    </a:moveTo>
                    <a:cubicBezTo>
                      <a:pt x="37" y="2"/>
                      <a:pt x="35" y="3"/>
                      <a:pt x="32" y="6"/>
                    </a:cubicBezTo>
                    <a:cubicBezTo>
                      <a:pt x="31" y="6"/>
                      <a:pt x="30" y="7"/>
                      <a:pt x="29" y="7"/>
                    </a:cubicBezTo>
                    <a:cubicBezTo>
                      <a:pt x="29" y="7"/>
                      <a:pt x="28" y="7"/>
                      <a:pt x="28" y="7"/>
                    </a:cubicBezTo>
                    <a:cubicBezTo>
                      <a:pt x="29" y="9"/>
                      <a:pt x="30" y="10"/>
                      <a:pt x="31" y="10"/>
                    </a:cubicBezTo>
                    <a:cubicBezTo>
                      <a:pt x="31" y="10"/>
                      <a:pt x="32" y="10"/>
                      <a:pt x="32" y="9"/>
                    </a:cubicBezTo>
                    <a:cubicBezTo>
                      <a:pt x="32" y="11"/>
                      <a:pt x="31" y="11"/>
                      <a:pt x="32" y="12"/>
                    </a:cubicBezTo>
                    <a:cubicBezTo>
                      <a:pt x="30" y="13"/>
                      <a:pt x="27" y="12"/>
                      <a:pt x="26" y="14"/>
                    </a:cubicBezTo>
                    <a:cubicBezTo>
                      <a:pt x="26" y="14"/>
                      <a:pt x="26" y="14"/>
                      <a:pt x="26" y="14"/>
                    </a:cubicBezTo>
                    <a:cubicBezTo>
                      <a:pt x="23" y="14"/>
                      <a:pt x="22" y="16"/>
                      <a:pt x="19" y="16"/>
                    </a:cubicBezTo>
                    <a:cubicBezTo>
                      <a:pt x="19" y="16"/>
                      <a:pt x="18" y="16"/>
                      <a:pt x="18" y="16"/>
                    </a:cubicBezTo>
                    <a:cubicBezTo>
                      <a:pt x="16" y="16"/>
                      <a:pt x="15" y="15"/>
                      <a:pt x="13" y="15"/>
                    </a:cubicBezTo>
                    <a:cubicBezTo>
                      <a:pt x="13" y="15"/>
                      <a:pt x="13" y="15"/>
                      <a:pt x="13" y="15"/>
                    </a:cubicBezTo>
                    <a:cubicBezTo>
                      <a:pt x="10" y="15"/>
                      <a:pt x="9" y="19"/>
                      <a:pt x="6" y="20"/>
                    </a:cubicBezTo>
                    <a:cubicBezTo>
                      <a:pt x="6" y="20"/>
                      <a:pt x="6" y="21"/>
                      <a:pt x="6" y="21"/>
                    </a:cubicBezTo>
                    <a:cubicBezTo>
                      <a:pt x="6" y="21"/>
                      <a:pt x="5" y="20"/>
                      <a:pt x="5" y="20"/>
                    </a:cubicBezTo>
                    <a:cubicBezTo>
                      <a:pt x="5" y="20"/>
                      <a:pt x="5" y="20"/>
                      <a:pt x="4" y="20"/>
                    </a:cubicBezTo>
                    <a:cubicBezTo>
                      <a:pt x="4" y="20"/>
                      <a:pt x="4" y="20"/>
                      <a:pt x="3" y="21"/>
                    </a:cubicBezTo>
                    <a:cubicBezTo>
                      <a:pt x="2" y="22"/>
                      <a:pt x="2" y="25"/>
                      <a:pt x="0" y="25"/>
                    </a:cubicBezTo>
                    <a:cubicBezTo>
                      <a:pt x="1" y="26"/>
                      <a:pt x="0" y="28"/>
                      <a:pt x="1" y="28"/>
                    </a:cubicBezTo>
                    <a:cubicBezTo>
                      <a:pt x="1" y="31"/>
                      <a:pt x="2" y="32"/>
                      <a:pt x="5" y="34"/>
                    </a:cubicBezTo>
                    <a:cubicBezTo>
                      <a:pt x="8" y="37"/>
                      <a:pt x="8" y="38"/>
                      <a:pt x="6" y="41"/>
                    </a:cubicBezTo>
                    <a:cubicBezTo>
                      <a:pt x="6" y="41"/>
                      <a:pt x="7" y="41"/>
                      <a:pt x="7" y="41"/>
                    </a:cubicBezTo>
                    <a:cubicBezTo>
                      <a:pt x="10" y="41"/>
                      <a:pt x="13" y="39"/>
                      <a:pt x="16" y="37"/>
                    </a:cubicBezTo>
                    <a:cubicBezTo>
                      <a:pt x="15" y="40"/>
                      <a:pt x="14" y="43"/>
                      <a:pt x="12" y="45"/>
                    </a:cubicBezTo>
                    <a:cubicBezTo>
                      <a:pt x="12" y="44"/>
                      <a:pt x="12" y="44"/>
                      <a:pt x="12" y="44"/>
                    </a:cubicBezTo>
                    <a:cubicBezTo>
                      <a:pt x="11" y="44"/>
                      <a:pt x="11" y="44"/>
                      <a:pt x="10" y="45"/>
                    </a:cubicBezTo>
                    <a:cubicBezTo>
                      <a:pt x="12" y="46"/>
                      <a:pt x="13" y="47"/>
                      <a:pt x="14" y="47"/>
                    </a:cubicBezTo>
                    <a:cubicBezTo>
                      <a:pt x="14" y="47"/>
                      <a:pt x="15" y="47"/>
                      <a:pt x="15" y="47"/>
                    </a:cubicBezTo>
                    <a:cubicBezTo>
                      <a:pt x="16" y="47"/>
                      <a:pt x="17" y="46"/>
                      <a:pt x="17" y="46"/>
                    </a:cubicBezTo>
                    <a:cubicBezTo>
                      <a:pt x="18" y="46"/>
                      <a:pt x="18" y="46"/>
                      <a:pt x="18" y="46"/>
                    </a:cubicBezTo>
                    <a:cubicBezTo>
                      <a:pt x="16" y="48"/>
                      <a:pt x="14" y="49"/>
                      <a:pt x="13" y="50"/>
                    </a:cubicBezTo>
                    <a:cubicBezTo>
                      <a:pt x="12" y="52"/>
                      <a:pt x="13" y="52"/>
                      <a:pt x="14" y="52"/>
                    </a:cubicBezTo>
                    <a:cubicBezTo>
                      <a:pt x="15" y="52"/>
                      <a:pt x="17" y="51"/>
                      <a:pt x="18" y="51"/>
                    </a:cubicBezTo>
                    <a:cubicBezTo>
                      <a:pt x="16" y="53"/>
                      <a:pt x="13" y="54"/>
                      <a:pt x="12" y="57"/>
                    </a:cubicBezTo>
                    <a:cubicBezTo>
                      <a:pt x="12" y="58"/>
                      <a:pt x="12" y="60"/>
                      <a:pt x="12" y="61"/>
                    </a:cubicBezTo>
                    <a:cubicBezTo>
                      <a:pt x="15" y="59"/>
                      <a:pt x="20" y="56"/>
                      <a:pt x="23" y="55"/>
                    </a:cubicBezTo>
                    <a:cubicBezTo>
                      <a:pt x="24" y="55"/>
                      <a:pt x="25" y="55"/>
                      <a:pt x="27" y="55"/>
                    </a:cubicBezTo>
                    <a:cubicBezTo>
                      <a:pt x="28" y="54"/>
                      <a:pt x="28" y="54"/>
                      <a:pt x="28" y="54"/>
                    </a:cubicBezTo>
                    <a:cubicBezTo>
                      <a:pt x="29" y="54"/>
                      <a:pt x="30" y="53"/>
                      <a:pt x="31" y="53"/>
                    </a:cubicBezTo>
                    <a:cubicBezTo>
                      <a:pt x="33" y="53"/>
                      <a:pt x="33" y="53"/>
                      <a:pt x="33" y="53"/>
                    </a:cubicBezTo>
                    <a:cubicBezTo>
                      <a:pt x="35" y="54"/>
                      <a:pt x="35" y="54"/>
                      <a:pt x="35" y="54"/>
                    </a:cubicBezTo>
                    <a:cubicBezTo>
                      <a:pt x="36" y="56"/>
                      <a:pt x="38" y="58"/>
                      <a:pt x="37" y="61"/>
                    </a:cubicBezTo>
                    <a:cubicBezTo>
                      <a:pt x="37" y="61"/>
                      <a:pt x="37" y="61"/>
                      <a:pt x="37" y="61"/>
                    </a:cubicBezTo>
                    <a:cubicBezTo>
                      <a:pt x="38" y="60"/>
                      <a:pt x="39" y="60"/>
                      <a:pt x="40" y="60"/>
                    </a:cubicBezTo>
                    <a:cubicBezTo>
                      <a:pt x="42" y="60"/>
                      <a:pt x="44" y="61"/>
                      <a:pt x="45" y="62"/>
                    </a:cubicBezTo>
                    <a:cubicBezTo>
                      <a:pt x="47" y="62"/>
                      <a:pt x="47" y="62"/>
                      <a:pt x="47" y="62"/>
                    </a:cubicBezTo>
                    <a:cubicBezTo>
                      <a:pt x="48" y="63"/>
                      <a:pt x="48" y="63"/>
                      <a:pt x="48" y="63"/>
                    </a:cubicBezTo>
                    <a:cubicBezTo>
                      <a:pt x="48" y="63"/>
                      <a:pt x="49" y="63"/>
                      <a:pt x="49" y="63"/>
                    </a:cubicBezTo>
                    <a:cubicBezTo>
                      <a:pt x="50" y="63"/>
                      <a:pt x="52" y="63"/>
                      <a:pt x="54" y="62"/>
                    </a:cubicBezTo>
                    <a:cubicBezTo>
                      <a:pt x="55" y="62"/>
                      <a:pt x="56" y="62"/>
                      <a:pt x="57" y="62"/>
                    </a:cubicBezTo>
                    <a:cubicBezTo>
                      <a:pt x="58" y="62"/>
                      <a:pt x="58" y="62"/>
                      <a:pt x="58" y="62"/>
                    </a:cubicBezTo>
                    <a:cubicBezTo>
                      <a:pt x="59" y="61"/>
                      <a:pt x="60" y="61"/>
                      <a:pt x="62" y="60"/>
                    </a:cubicBezTo>
                    <a:cubicBezTo>
                      <a:pt x="63" y="59"/>
                      <a:pt x="64" y="59"/>
                      <a:pt x="65" y="59"/>
                    </a:cubicBezTo>
                    <a:cubicBezTo>
                      <a:pt x="66" y="59"/>
                      <a:pt x="66" y="59"/>
                      <a:pt x="67" y="59"/>
                    </a:cubicBezTo>
                    <a:cubicBezTo>
                      <a:pt x="67" y="59"/>
                      <a:pt x="67" y="59"/>
                      <a:pt x="67" y="59"/>
                    </a:cubicBezTo>
                    <a:cubicBezTo>
                      <a:pt x="68" y="59"/>
                      <a:pt x="68" y="59"/>
                      <a:pt x="68" y="59"/>
                    </a:cubicBezTo>
                    <a:cubicBezTo>
                      <a:pt x="69" y="59"/>
                      <a:pt x="69" y="59"/>
                      <a:pt x="69" y="59"/>
                    </a:cubicBezTo>
                    <a:cubicBezTo>
                      <a:pt x="70" y="59"/>
                      <a:pt x="71" y="59"/>
                      <a:pt x="71" y="59"/>
                    </a:cubicBezTo>
                    <a:cubicBezTo>
                      <a:pt x="72" y="59"/>
                      <a:pt x="72" y="59"/>
                      <a:pt x="72" y="59"/>
                    </a:cubicBezTo>
                    <a:cubicBezTo>
                      <a:pt x="73" y="59"/>
                      <a:pt x="74" y="59"/>
                      <a:pt x="74" y="59"/>
                    </a:cubicBezTo>
                    <a:cubicBezTo>
                      <a:pt x="75" y="59"/>
                      <a:pt x="75" y="59"/>
                      <a:pt x="75" y="59"/>
                    </a:cubicBezTo>
                    <a:cubicBezTo>
                      <a:pt x="75" y="59"/>
                      <a:pt x="76" y="59"/>
                      <a:pt x="76" y="59"/>
                    </a:cubicBezTo>
                    <a:cubicBezTo>
                      <a:pt x="78" y="59"/>
                      <a:pt x="79" y="59"/>
                      <a:pt x="80" y="60"/>
                    </a:cubicBezTo>
                    <a:cubicBezTo>
                      <a:pt x="82" y="61"/>
                      <a:pt x="82" y="64"/>
                      <a:pt x="82" y="66"/>
                    </a:cubicBezTo>
                    <a:cubicBezTo>
                      <a:pt x="82" y="66"/>
                      <a:pt x="82" y="67"/>
                      <a:pt x="82" y="67"/>
                    </a:cubicBezTo>
                    <a:cubicBezTo>
                      <a:pt x="82" y="68"/>
                      <a:pt x="82" y="68"/>
                      <a:pt x="82" y="68"/>
                    </a:cubicBezTo>
                    <a:cubicBezTo>
                      <a:pt x="83" y="69"/>
                      <a:pt x="83" y="69"/>
                      <a:pt x="83" y="69"/>
                    </a:cubicBezTo>
                    <a:cubicBezTo>
                      <a:pt x="83" y="69"/>
                      <a:pt x="84" y="69"/>
                      <a:pt x="84" y="69"/>
                    </a:cubicBezTo>
                    <a:cubicBezTo>
                      <a:pt x="86" y="70"/>
                      <a:pt x="86" y="70"/>
                      <a:pt x="86" y="70"/>
                    </a:cubicBezTo>
                    <a:cubicBezTo>
                      <a:pt x="88" y="71"/>
                      <a:pt x="90" y="72"/>
                      <a:pt x="91" y="74"/>
                    </a:cubicBezTo>
                    <a:cubicBezTo>
                      <a:pt x="91" y="76"/>
                      <a:pt x="90" y="78"/>
                      <a:pt x="90" y="80"/>
                    </a:cubicBezTo>
                    <a:cubicBezTo>
                      <a:pt x="88" y="83"/>
                      <a:pt x="86" y="84"/>
                      <a:pt x="84" y="86"/>
                    </a:cubicBezTo>
                    <a:cubicBezTo>
                      <a:pt x="83" y="87"/>
                      <a:pt x="83" y="87"/>
                      <a:pt x="83" y="87"/>
                    </a:cubicBezTo>
                    <a:cubicBezTo>
                      <a:pt x="81" y="89"/>
                      <a:pt x="79" y="90"/>
                      <a:pt x="78" y="90"/>
                    </a:cubicBezTo>
                    <a:cubicBezTo>
                      <a:pt x="76" y="91"/>
                      <a:pt x="75" y="92"/>
                      <a:pt x="74" y="93"/>
                    </a:cubicBezTo>
                    <a:cubicBezTo>
                      <a:pt x="73" y="93"/>
                      <a:pt x="73" y="93"/>
                      <a:pt x="73" y="93"/>
                    </a:cubicBezTo>
                    <a:cubicBezTo>
                      <a:pt x="77" y="99"/>
                      <a:pt x="77" y="99"/>
                      <a:pt x="77" y="99"/>
                    </a:cubicBezTo>
                    <a:cubicBezTo>
                      <a:pt x="72" y="95"/>
                      <a:pt x="72" y="95"/>
                      <a:pt x="72" y="95"/>
                    </a:cubicBezTo>
                    <a:cubicBezTo>
                      <a:pt x="71" y="95"/>
                      <a:pt x="72" y="96"/>
                      <a:pt x="72" y="98"/>
                    </a:cubicBezTo>
                    <a:cubicBezTo>
                      <a:pt x="73" y="99"/>
                      <a:pt x="73" y="100"/>
                      <a:pt x="74" y="101"/>
                    </a:cubicBezTo>
                    <a:cubicBezTo>
                      <a:pt x="75" y="104"/>
                      <a:pt x="74" y="108"/>
                      <a:pt x="74" y="111"/>
                    </a:cubicBezTo>
                    <a:cubicBezTo>
                      <a:pt x="74" y="113"/>
                      <a:pt x="74" y="113"/>
                      <a:pt x="74" y="113"/>
                    </a:cubicBezTo>
                    <a:cubicBezTo>
                      <a:pt x="74" y="115"/>
                      <a:pt x="73" y="116"/>
                      <a:pt x="73" y="118"/>
                    </a:cubicBezTo>
                    <a:cubicBezTo>
                      <a:pt x="73" y="120"/>
                      <a:pt x="73" y="120"/>
                      <a:pt x="73" y="120"/>
                    </a:cubicBezTo>
                    <a:cubicBezTo>
                      <a:pt x="73" y="121"/>
                      <a:pt x="72" y="122"/>
                      <a:pt x="71" y="123"/>
                    </a:cubicBezTo>
                    <a:cubicBezTo>
                      <a:pt x="71" y="126"/>
                      <a:pt x="71" y="139"/>
                      <a:pt x="66" y="143"/>
                    </a:cubicBezTo>
                    <a:cubicBezTo>
                      <a:pt x="64" y="144"/>
                      <a:pt x="63" y="144"/>
                      <a:pt x="60" y="144"/>
                    </a:cubicBezTo>
                    <a:cubicBezTo>
                      <a:pt x="59" y="144"/>
                      <a:pt x="58" y="144"/>
                      <a:pt x="57" y="144"/>
                    </a:cubicBezTo>
                    <a:cubicBezTo>
                      <a:pt x="58" y="147"/>
                      <a:pt x="58" y="147"/>
                      <a:pt x="58" y="147"/>
                    </a:cubicBezTo>
                    <a:cubicBezTo>
                      <a:pt x="59" y="148"/>
                      <a:pt x="59" y="148"/>
                      <a:pt x="60" y="149"/>
                    </a:cubicBezTo>
                    <a:cubicBezTo>
                      <a:pt x="61" y="150"/>
                      <a:pt x="61" y="152"/>
                      <a:pt x="62" y="153"/>
                    </a:cubicBezTo>
                    <a:cubicBezTo>
                      <a:pt x="62" y="153"/>
                      <a:pt x="62" y="153"/>
                      <a:pt x="62" y="153"/>
                    </a:cubicBezTo>
                    <a:cubicBezTo>
                      <a:pt x="62" y="154"/>
                      <a:pt x="62" y="154"/>
                      <a:pt x="62" y="154"/>
                    </a:cubicBezTo>
                    <a:cubicBezTo>
                      <a:pt x="62" y="154"/>
                      <a:pt x="63" y="154"/>
                      <a:pt x="64" y="154"/>
                    </a:cubicBezTo>
                    <a:cubicBezTo>
                      <a:pt x="66" y="155"/>
                      <a:pt x="68" y="156"/>
                      <a:pt x="69" y="159"/>
                    </a:cubicBezTo>
                    <a:cubicBezTo>
                      <a:pt x="70" y="160"/>
                      <a:pt x="70" y="161"/>
                      <a:pt x="70" y="162"/>
                    </a:cubicBezTo>
                    <a:cubicBezTo>
                      <a:pt x="69" y="164"/>
                      <a:pt x="69" y="165"/>
                      <a:pt x="68" y="165"/>
                    </a:cubicBezTo>
                    <a:cubicBezTo>
                      <a:pt x="67" y="167"/>
                      <a:pt x="66" y="168"/>
                      <a:pt x="65" y="169"/>
                    </a:cubicBezTo>
                    <a:cubicBezTo>
                      <a:pt x="64" y="170"/>
                      <a:pt x="64" y="170"/>
                      <a:pt x="64" y="170"/>
                    </a:cubicBezTo>
                    <a:cubicBezTo>
                      <a:pt x="64" y="170"/>
                      <a:pt x="64" y="170"/>
                      <a:pt x="64" y="170"/>
                    </a:cubicBezTo>
                    <a:cubicBezTo>
                      <a:pt x="63" y="171"/>
                      <a:pt x="63" y="171"/>
                      <a:pt x="63" y="171"/>
                    </a:cubicBezTo>
                    <a:cubicBezTo>
                      <a:pt x="63" y="171"/>
                      <a:pt x="63" y="171"/>
                      <a:pt x="63" y="171"/>
                    </a:cubicBezTo>
                    <a:cubicBezTo>
                      <a:pt x="62" y="173"/>
                      <a:pt x="61" y="175"/>
                      <a:pt x="61" y="177"/>
                    </a:cubicBezTo>
                    <a:cubicBezTo>
                      <a:pt x="60" y="177"/>
                      <a:pt x="60" y="178"/>
                      <a:pt x="60" y="179"/>
                    </a:cubicBezTo>
                    <a:cubicBezTo>
                      <a:pt x="60" y="179"/>
                      <a:pt x="61" y="180"/>
                      <a:pt x="62" y="182"/>
                    </a:cubicBezTo>
                    <a:cubicBezTo>
                      <a:pt x="63" y="183"/>
                      <a:pt x="63" y="184"/>
                      <a:pt x="64" y="184"/>
                    </a:cubicBezTo>
                    <a:cubicBezTo>
                      <a:pt x="64" y="185"/>
                      <a:pt x="64" y="185"/>
                      <a:pt x="64" y="185"/>
                    </a:cubicBezTo>
                    <a:cubicBezTo>
                      <a:pt x="65" y="185"/>
                      <a:pt x="65" y="185"/>
                      <a:pt x="65" y="185"/>
                    </a:cubicBezTo>
                    <a:cubicBezTo>
                      <a:pt x="71" y="184"/>
                      <a:pt x="71" y="184"/>
                      <a:pt x="71" y="184"/>
                    </a:cubicBezTo>
                    <a:cubicBezTo>
                      <a:pt x="71" y="188"/>
                      <a:pt x="71" y="188"/>
                      <a:pt x="71" y="188"/>
                    </a:cubicBezTo>
                    <a:cubicBezTo>
                      <a:pt x="71" y="190"/>
                      <a:pt x="70" y="191"/>
                      <a:pt x="69" y="193"/>
                    </a:cubicBezTo>
                    <a:cubicBezTo>
                      <a:pt x="69" y="193"/>
                      <a:pt x="69" y="193"/>
                      <a:pt x="69" y="193"/>
                    </a:cubicBezTo>
                    <a:cubicBezTo>
                      <a:pt x="67" y="195"/>
                      <a:pt x="64" y="196"/>
                      <a:pt x="62" y="197"/>
                    </a:cubicBezTo>
                    <a:cubicBezTo>
                      <a:pt x="62" y="198"/>
                      <a:pt x="61" y="198"/>
                      <a:pt x="60" y="198"/>
                    </a:cubicBezTo>
                    <a:cubicBezTo>
                      <a:pt x="60" y="199"/>
                      <a:pt x="58" y="202"/>
                      <a:pt x="57" y="204"/>
                    </a:cubicBezTo>
                    <a:cubicBezTo>
                      <a:pt x="55" y="208"/>
                      <a:pt x="54" y="210"/>
                      <a:pt x="55" y="212"/>
                    </a:cubicBezTo>
                    <a:cubicBezTo>
                      <a:pt x="56" y="213"/>
                      <a:pt x="57" y="218"/>
                      <a:pt x="57" y="218"/>
                    </a:cubicBezTo>
                    <a:cubicBezTo>
                      <a:pt x="57" y="220"/>
                      <a:pt x="57" y="220"/>
                      <a:pt x="57" y="220"/>
                    </a:cubicBezTo>
                    <a:cubicBezTo>
                      <a:pt x="59" y="220"/>
                      <a:pt x="61" y="220"/>
                      <a:pt x="63" y="221"/>
                    </a:cubicBezTo>
                    <a:cubicBezTo>
                      <a:pt x="64" y="221"/>
                      <a:pt x="64" y="221"/>
                      <a:pt x="65" y="221"/>
                    </a:cubicBezTo>
                    <a:cubicBezTo>
                      <a:pt x="66" y="221"/>
                      <a:pt x="67" y="220"/>
                      <a:pt x="66" y="219"/>
                    </a:cubicBezTo>
                    <a:cubicBezTo>
                      <a:pt x="66" y="219"/>
                      <a:pt x="66" y="219"/>
                      <a:pt x="66" y="219"/>
                    </a:cubicBezTo>
                    <a:cubicBezTo>
                      <a:pt x="67" y="219"/>
                      <a:pt x="68" y="219"/>
                      <a:pt x="68" y="219"/>
                    </a:cubicBezTo>
                    <a:cubicBezTo>
                      <a:pt x="66" y="223"/>
                      <a:pt x="73" y="226"/>
                      <a:pt x="75" y="228"/>
                    </a:cubicBezTo>
                    <a:cubicBezTo>
                      <a:pt x="77" y="230"/>
                      <a:pt x="79" y="232"/>
                      <a:pt x="82" y="233"/>
                    </a:cubicBezTo>
                    <a:cubicBezTo>
                      <a:pt x="82" y="233"/>
                      <a:pt x="82" y="233"/>
                      <a:pt x="82" y="233"/>
                    </a:cubicBezTo>
                    <a:cubicBezTo>
                      <a:pt x="83" y="233"/>
                      <a:pt x="83" y="233"/>
                      <a:pt x="84" y="232"/>
                    </a:cubicBezTo>
                    <a:cubicBezTo>
                      <a:pt x="84" y="232"/>
                      <a:pt x="85" y="231"/>
                      <a:pt x="86" y="231"/>
                    </a:cubicBezTo>
                    <a:cubicBezTo>
                      <a:pt x="86" y="231"/>
                      <a:pt x="86" y="231"/>
                      <a:pt x="87" y="231"/>
                    </a:cubicBezTo>
                    <a:cubicBezTo>
                      <a:pt x="85" y="232"/>
                      <a:pt x="83" y="234"/>
                      <a:pt x="83" y="236"/>
                    </a:cubicBezTo>
                    <a:cubicBezTo>
                      <a:pt x="82" y="236"/>
                      <a:pt x="81" y="236"/>
                      <a:pt x="81" y="237"/>
                    </a:cubicBezTo>
                    <a:cubicBezTo>
                      <a:pt x="81" y="238"/>
                      <a:pt x="84" y="242"/>
                      <a:pt x="85" y="243"/>
                    </a:cubicBezTo>
                    <a:cubicBezTo>
                      <a:pt x="90" y="250"/>
                      <a:pt x="95" y="259"/>
                      <a:pt x="104" y="260"/>
                    </a:cubicBezTo>
                    <a:cubicBezTo>
                      <a:pt x="104" y="260"/>
                      <a:pt x="104" y="260"/>
                      <a:pt x="105" y="260"/>
                    </a:cubicBezTo>
                    <a:cubicBezTo>
                      <a:pt x="106" y="260"/>
                      <a:pt x="110" y="258"/>
                      <a:pt x="112" y="256"/>
                    </a:cubicBezTo>
                    <a:cubicBezTo>
                      <a:pt x="112" y="256"/>
                      <a:pt x="112" y="256"/>
                      <a:pt x="113" y="257"/>
                    </a:cubicBezTo>
                    <a:cubicBezTo>
                      <a:pt x="112" y="256"/>
                      <a:pt x="112" y="256"/>
                      <a:pt x="112" y="256"/>
                    </a:cubicBezTo>
                    <a:cubicBezTo>
                      <a:pt x="113" y="256"/>
                      <a:pt x="113" y="256"/>
                      <a:pt x="113" y="256"/>
                    </a:cubicBezTo>
                    <a:cubicBezTo>
                      <a:pt x="115" y="253"/>
                      <a:pt x="114" y="251"/>
                      <a:pt x="118" y="249"/>
                    </a:cubicBezTo>
                    <a:cubicBezTo>
                      <a:pt x="122" y="247"/>
                      <a:pt x="126" y="245"/>
                      <a:pt x="131" y="243"/>
                    </a:cubicBezTo>
                    <a:cubicBezTo>
                      <a:pt x="133" y="241"/>
                      <a:pt x="136" y="239"/>
                      <a:pt x="138" y="238"/>
                    </a:cubicBezTo>
                    <a:cubicBezTo>
                      <a:pt x="141" y="237"/>
                      <a:pt x="143" y="236"/>
                      <a:pt x="146" y="236"/>
                    </a:cubicBezTo>
                    <a:cubicBezTo>
                      <a:pt x="148" y="236"/>
                      <a:pt x="149" y="236"/>
                      <a:pt x="151" y="236"/>
                    </a:cubicBezTo>
                    <a:cubicBezTo>
                      <a:pt x="152" y="236"/>
                      <a:pt x="153" y="237"/>
                      <a:pt x="154" y="237"/>
                    </a:cubicBezTo>
                    <a:cubicBezTo>
                      <a:pt x="155" y="237"/>
                      <a:pt x="155" y="237"/>
                      <a:pt x="155" y="237"/>
                    </a:cubicBezTo>
                    <a:cubicBezTo>
                      <a:pt x="160" y="236"/>
                      <a:pt x="165" y="236"/>
                      <a:pt x="170" y="236"/>
                    </a:cubicBezTo>
                    <a:cubicBezTo>
                      <a:pt x="173" y="236"/>
                      <a:pt x="175" y="236"/>
                      <a:pt x="178" y="236"/>
                    </a:cubicBezTo>
                    <a:cubicBezTo>
                      <a:pt x="181" y="237"/>
                      <a:pt x="183" y="238"/>
                      <a:pt x="185" y="238"/>
                    </a:cubicBezTo>
                    <a:cubicBezTo>
                      <a:pt x="185" y="238"/>
                      <a:pt x="186" y="238"/>
                      <a:pt x="186" y="238"/>
                    </a:cubicBezTo>
                    <a:cubicBezTo>
                      <a:pt x="190" y="238"/>
                      <a:pt x="192" y="236"/>
                      <a:pt x="196" y="235"/>
                    </a:cubicBezTo>
                    <a:cubicBezTo>
                      <a:pt x="197" y="234"/>
                      <a:pt x="198" y="234"/>
                      <a:pt x="199" y="234"/>
                    </a:cubicBezTo>
                    <a:cubicBezTo>
                      <a:pt x="200" y="234"/>
                      <a:pt x="199" y="235"/>
                      <a:pt x="201" y="236"/>
                    </a:cubicBezTo>
                    <a:cubicBezTo>
                      <a:pt x="202" y="236"/>
                      <a:pt x="202" y="236"/>
                      <a:pt x="202" y="236"/>
                    </a:cubicBezTo>
                    <a:cubicBezTo>
                      <a:pt x="205" y="236"/>
                      <a:pt x="208" y="231"/>
                      <a:pt x="209" y="229"/>
                    </a:cubicBezTo>
                    <a:cubicBezTo>
                      <a:pt x="212" y="224"/>
                      <a:pt x="215" y="220"/>
                      <a:pt x="218" y="216"/>
                    </a:cubicBezTo>
                    <a:cubicBezTo>
                      <a:pt x="219" y="214"/>
                      <a:pt x="227" y="212"/>
                      <a:pt x="229" y="212"/>
                    </a:cubicBezTo>
                    <a:cubicBezTo>
                      <a:pt x="231" y="211"/>
                      <a:pt x="234" y="209"/>
                      <a:pt x="236" y="209"/>
                    </a:cubicBezTo>
                    <a:cubicBezTo>
                      <a:pt x="236" y="209"/>
                      <a:pt x="236" y="209"/>
                      <a:pt x="236" y="209"/>
                    </a:cubicBezTo>
                    <a:cubicBezTo>
                      <a:pt x="236" y="209"/>
                      <a:pt x="237" y="209"/>
                      <a:pt x="237" y="209"/>
                    </a:cubicBezTo>
                    <a:cubicBezTo>
                      <a:pt x="237" y="210"/>
                      <a:pt x="237" y="210"/>
                      <a:pt x="237" y="210"/>
                    </a:cubicBezTo>
                    <a:cubicBezTo>
                      <a:pt x="238" y="210"/>
                      <a:pt x="238" y="210"/>
                      <a:pt x="238" y="210"/>
                    </a:cubicBezTo>
                    <a:cubicBezTo>
                      <a:pt x="239" y="210"/>
                      <a:pt x="241" y="209"/>
                      <a:pt x="243" y="208"/>
                    </a:cubicBezTo>
                    <a:cubicBezTo>
                      <a:pt x="243" y="208"/>
                      <a:pt x="240" y="205"/>
                      <a:pt x="240" y="204"/>
                    </a:cubicBezTo>
                    <a:cubicBezTo>
                      <a:pt x="241" y="202"/>
                      <a:pt x="243" y="199"/>
                      <a:pt x="244" y="196"/>
                    </a:cubicBezTo>
                    <a:cubicBezTo>
                      <a:pt x="245" y="194"/>
                      <a:pt x="246" y="192"/>
                      <a:pt x="247" y="190"/>
                    </a:cubicBezTo>
                    <a:cubicBezTo>
                      <a:pt x="252" y="181"/>
                      <a:pt x="263" y="176"/>
                      <a:pt x="271" y="171"/>
                    </a:cubicBezTo>
                    <a:cubicBezTo>
                      <a:pt x="262" y="165"/>
                      <a:pt x="257" y="160"/>
                      <a:pt x="255" y="150"/>
                    </a:cubicBezTo>
                    <a:cubicBezTo>
                      <a:pt x="254" y="142"/>
                      <a:pt x="262" y="134"/>
                      <a:pt x="266" y="128"/>
                    </a:cubicBezTo>
                    <a:cubicBezTo>
                      <a:pt x="272" y="120"/>
                      <a:pt x="281" y="111"/>
                      <a:pt x="285" y="102"/>
                    </a:cubicBezTo>
                    <a:cubicBezTo>
                      <a:pt x="285" y="102"/>
                      <a:pt x="285" y="102"/>
                      <a:pt x="285" y="102"/>
                    </a:cubicBezTo>
                    <a:cubicBezTo>
                      <a:pt x="286" y="100"/>
                      <a:pt x="288" y="96"/>
                      <a:pt x="291" y="95"/>
                    </a:cubicBezTo>
                    <a:cubicBezTo>
                      <a:pt x="296" y="91"/>
                      <a:pt x="305" y="90"/>
                      <a:pt x="311" y="88"/>
                    </a:cubicBezTo>
                    <a:cubicBezTo>
                      <a:pt x="313" y="88"/>
                      <a:pt x="316" y="86"/>
                      <a:pt x="319" y="85"/>
                    </a:cubicBezTo>
                    <a:cubicBezTo>
                      <a:pt x="319" y="84"/>
                      <a:pt x="319" y="83"/>
                      <a:pt x="319" y="82"/>
                    </a:cubicBezTo>
                    <a:cubicBezTo>
                      <a:pt x="319" y="78"/>
                      <a:pt x="322" y="74"/>
                      <a:pt x="326" y="74"/>
                    </a:cubicBezTo>
                    <a:cubicBezTo>
                      <a:pt x="329" y="74"/>
                      <a:pt x="331" y="76"/>
                      <a:pt x="333" y="78"/>
                    </a:cubicBezTo>
                    <a:cubicBezTo>
                      <a:pt x="333" y="78"/>
                      <a:pt x="334" y="77"/>
                      <a:pt x="335" y="77"/>
                    </a:cubicBezTo>
                    <a:cubicBezTo>
                      <a:pt x="340" y="74"/>
                      <a:pt x="351" y="71"/>
                      <a:pt x="354" y="66"/>
                    </a:cubicBezTo>
                    <a:cubicBezTo>
                      <a:pt x="356" y="62"/>
                      <a:pt x="353" y="59"/>
                      <a:pt x="353" y="56"/>
                    </a:cubicBezTo>
                    <a:cubicBezTo>
                      <a:pt x="353" y="53"/>
                      <a:pt x="355" y="52"/>
                      <a:pt x="359" y="50"/>
                    </a:cubicBezTo>
                    <a:cubicBezTo>
                      <a:pt x="358" y="50"/>
                      <a:pt x="357" y="49"/>
                      <a:pt x="357" y="48"/>
                    </a:cubicBezTo>
                    <a:cubicBezTo>
                      <a:pt x="357" y="49"/>
                      <a:pt x="357" y="49"/>
                      <a:pt x="357" y="49"/>
                    </a:cubicBezTo>
                    <a:cubicBezTo>
                      <a:pt x="353" y="50"/>
                      <a:pt x="353" y="50"/>
                      <a:pt x="353" y="50"/>
                    </a:cubicBezTo>
                    <a:cubicBezTo>
                      <a:pt x="353" y="50"/>
                      <a:pt x="353" y="50"/>
                      <a:pt x="353" y="50"/>
                    </a:cubicBezTo>
                    <a:cubicBezTo>
                      <a:pt x="342" y="52"/>
                      <a:pt x="342" y="52"/>
                      <a:pt x="342" y="52"/>
                    </a:cubicBezTo>
                    <a:cubicBezTo>
                      <a:pt x="341" y="52"/>
                      <a:pt x="341" y="53"/>
                      <a:pt x="340" y="53"/>
                    </a:cubicBezTo>
                    <a:cubicBezTo>
                      <a:pt x="339" y="53"/>
                      <a:pt x="339" y="53"/>
                      <a:pt x="339" y="53"/>
                    </a:cubicBezTo>
                    <a:cubicBezTo>
                      <a:pt x="338" y="53"/>
                      <a:pt x="337" y="53"/>
                      <a:pt x="337" y="53"/>
                    </a:cubicBezTo>
                    <a:cubicBezTo>
                      <a:pt x="335" y="53"/>
                      <a:pt x="334" y="53"/>
                      <a:pt x="333" y="53"/>
                    </a:cubicBezTo>
                    <a:cubicBezTo>
                      <a:pt x="328" y="52"/>
                      <a:pt x="323" y="51"/>
                      <a:pt x="319" y="50"/>
                    </a:cubicBezTo>
                    <a:cubicBezTo>
                      <a:pt x="319" y="50"/>
                      <a:pt x="318" y="50"/>
                      <a:pt x="318" y="50"/>
                    </a:cubicBezTo>
                    <a:cubicBezTo>
                      <a:pt x="317" y="49"/>
                      <a:pt x="317" y="49"/>
                      <a:pt x="317" y="49"/>
                    </a:cubicBezTo>
                    <a:cubicBezTo>
                      <a:pt x="314" y="48"/>
                      <a:pt x="312" y="47"/>
                      <a:pt x="311" y="45"/>
                    </a:cubicBezTo>
                    <a:cubicBezTo>
                      <a:pt x="311" y="44"/>
                      <a:pt x="311" y="44"/>
                      <a:pt x="311" y="44"/>
                    </a:cubicBezTo>
                    <a:cubicBezTo>
                      <a:pt x="305" y="43"/>
                      <a:pt x="300" y="42"/>
                      <a:pt x="295" y="39"/>
                    </a:cubicBezTo>
                    <a:cubicBezTo>
                      <a:pt x="294" y="39"/>
                      <a:pt x="293" y="39"/>
                      <a:pt x="292" y="38"/>
                    </a:cubicBezTo>
                    <a:cubicBezTo>
                      <a:pt x="289" y="37"/>
                      <a:pt x="289" y="37"/>
                      <a:pt x="289" y="37"/>
                    </a:cubicBezTo>
                    <a:cubicBezTo>
                      <a:pt x="289" y="37"/>
                      <a:pt x="288" y="36"/>
                      <a:pt x="287" y="36"/>
                    </a:cubicBezTo>
                    <a:cubicBezTo>
                      <a:pt x="287" y="36"/>
                      <a:pt x="287" y="36"/>
                      <a:pt x="287" y="36"/>
                    </a:cubicBezTo>
                    <a:cubicBezTo>
                      <a:pt x="287" y="37"/>
                      <a:pt x="287" y="37"/>
                      <a:pt x="287" y="37"/>
                    </a:cubicBezTo>
                    <a:cubicBezTo>
                      <a:pt x="287" y="41"/>
                      <a:pt x="287" y="41"/>
                      <a:pt x="287" y="41"/>
                    </a:cubicBezTo>
                    <a:cubicBezTo>
                      <a:pt x="283" y="41"/>
                      <a:pt x="283" y="41"/>
                      <a:pt x="283" y="41"/>
                    </a:cubicBezTo>
                    <a:cubicBezTo>
                      <a:pt x="281" y="41"/>
                      <a:pt x="279" y="41"/>
                      <a:pt x="277" y="41"/>
                    </a:cubicBezTo>
                    <a:cubicBezTo>
                      <a:pt x="275" y="41"/>
                      <a:pt x="273" y="41"/>
                      <a:pt x="270" y="41"/>
                    </a:cubicBezTo>
                    <a:cubicBezTo>
                      <a:pt x="265" y="41"/>
                      <a:pt x="265" y="41"/>
                      <a:pt x="265" y="41"/>
                    </a:cubicBezTo>
                    <a:cubicBezTo>
                      <a:pt x="265" y="41"/>
                      <a:pt x="265" y="41"/>
                      <a:pt x="264" y="41"/>
                    </a:cubicBezTo>
                    <a:cubicBezTo>
                      <a:pt x="264" y="41"/>
                      <a:pt x="264" y="41"/>
                      <a:pt x="263" y="41"/>
                    </a:cubicBezTo>
                    <a:cubicBezTo>
                      <a:pt x="262" y="40"/>
                      <a:pt x="261" y="40"/>
                      <a:pt x="260" y="40"/>
                    </a:cubicBezTo>
                    <a:cubicBezTo>
                      <a:pt x="259" y="39"/>
                      <a:pt x="258" y="38"/>
                      <a:pt x="257" y="38"/>
                    </a:cubicBezTo>
                    <a:cubicBezTo>
                      <a:pt x="256" y="37"/>
                      <a:pt x="256" y="37"/>
                      <a:pt x="255" y="36"/>
                    </a:cubicBezTo>
                    <a:cubicBezTo>
                      <a:pt x="255" y="36"/>
                      <a:pt x="255" y="36"/>
                      <a:pt x="255" y="36"/>
                    </a:cubicBezTo>
                    <a:cubicBezTo>
                      <a:pt x="255" y="36"/>
                      <a:pt x="254" y="36"/>
                      <a:pt x="254" y="36"/>
                    </a:cubicBezTo>
                    <a:cubicBezTo>
                      <a:pt x="252" y="37"/>
                      <a:pt x="251" y="37"/>
                      <a:pt x="250" y="37"/>
                    </a:cubicBezTo>
                    <a:cubicBezTo>
                      <a:pt x="247" y="37"/>
                      <a:pt x="246" y="36"/>
                      <a:pt x="244" y="34"/>
                    </a:cubicBezTo>
                    <a:cubicBezTo>
                      <a:pt x="244" y="34"/>
                      <a:pt x="243" y="33"/>
                      <a:pt x="242" y="33"/>
                    </a:cubicBezTo>
                    <a:cubicBezTo>
                      <a:pt x="241" y="32"/>
                      <a:pt x="241" y="32"/>
                      <a:pt x="241" y="32"/>
                    </a:cubicBezTo>
                    <a:cubicBezTo>
                      <a:pt x="241" y="32"/>
                      <a:pt x="241" y="32"/>
                      <a:pt x="240" y="32"/>
                    </a:cubicBezTo>
                    <a:cubicBezTo>
                      <a:pt x="238" y="31"/>
                      <a:pt x="236" y="31"/>
                      <a:pt x="234" y="31"/>
                    </a:cubicBezTo>
                    <a:cubicBezTo>
                      <a:pt x="233" y="30"/>
                      <a:pt x="231" y="30"/>
                      <a:pt x="230" y="30"/>
                    </a:cubicBezTo>
                    <a:cubicBezTo>
                      <a:pt x="230" y="30"/>
                      <a:pt x="229" y="30"/>
                      <a:pt x="229" y="30"/>
                    </a:cubicBezTo>
                    <a:cubicBezTo>
                      <a:pt x="228" y="30"/>
                      <a:pt x="228" y="30"/>
                      <a:pt x="228" y="30"/>
                    </a:cubicBezTo>
                    <a:cubicBezTo>
                      <a:pt x="226" y="30"/>
                      <a:pt x="224" y="29"/>
                      <a:pt x="223" y="28"/>
                    </a:cubicBezTo>
                    <a:cubicBezTo>
                      <a:pt x="219" y="25"/>
                      <a:pt x="221" y="21"/>
                      <a:pt x="221" y="20"/>
                    </a:cubicBezTo>
                    <a:cubicBezTo>
                      <a:pt x="221" y="20"/>
                      <a:pt x="221" y="20"/>
                      <a:pt x="221" y="20"/>
                    </a:cubicBezTo>
                    <a:cubicBezTo>
                      <a:pt x="221" y="20"/>
                      <a:pt x="221" y="20"/>
                      <a:pt x="221" y="20"/>
                    </a:cubicBezTo>
                    <a:cubicBezTo>
                      <a:pt x="221" y="20"/>
                      <a:pt x="220" y="20"/>
                      <a:pt x="220" y="20"/>
                    </a:cubicBezTo>
                    <a:cubicBezTo>
                      <a:pt x="219" y="21"/>
                      <a:pt x="219" y="21"/>
                      <a:pt x="219" y="21"/>
                    </a:cubicBezTo>
                    <a:cubicBezTo>
                      <a:pt x="218" y="21"/>
                      <a:pt x="218" y="21"/>
                      <a:pt x="218" y="21"/>
                    </a:cubicBezTo>
                    <a:cubicBezTo>
                      <a:pt x="215" y="20"/>
                      <a:pt x="213" y="18"/>
                      <a:pt x="211" y="17"/>
                    </a:cubicBezTo>
                    <a:cubicBezTo>
                      <a:pt x="210" y="16"/>
                      <a:pt x="210" y="16"/>
                      <a:pt x="210" y="16"/>
                    </a:cubicBezTo>
                    <a:cubicBezTo>
                      <a:pt x="212" y="14"/>
                      <a:pt x="212" y="14"/>
                      <a:pt x="212" y="14"/>
                    </a:cubicBezTo>
                    <a:cubicBezTo>
                      <a:pt x="211" y="14"/>
                      <a:pt x="210" y="14"/>
                      <a:pt x="210" y="14"/>
                    </a:cubicBezTo>
                    <a:cubicBezTo>
                      <a:pt x="208" y="14"/>
                      <a:pt x="205" y="15"/>
                      <a:pt x="203" y="15"/>
                    </a:cubicBezTo>
                    <a:cubicBezTo>
                      <a:pt x="201" y="15"/>
                      <a:pt x="199" y="16"/>
                      <a:pt x="197" y="16"/>
                    </a:cubicBezTo>
                    <a:cubicBezTo>
                      <a:pt x="196" y="16"/>
                      <a:pt x="196" y="16"/>
                      <a:pt x="196" y="16"/>
                    </a:cubicBezTo>
                    <a:cubicBezTo>
                      <a:pt x="190" y="15"/>
                      <a:pt x="188" y="12"/>
                      <a:pt x="184" y="12"/>
                    </a:cubicBezTo>
                    <a:cubicBezTo>
                      <a:pt x="183" y="12"/>
                      <a:pt x="182" y="12"/>
                      <a:pt x="181" y="13"/>
                    </a:cubicBezTo>
                    <a:cubicBezTo>
                      <a:pt x="178" y="13"/>
                      <a:pt x="177" y="14"/>
                      <a:pt x="175" y="14"/>
                    </a:cubicBezTo>
                    <a:cubicBezTo>
                      <a:pt x="173" y="14"/>
                      <a:pt x="172" y="13"/>
                      <a:pt x="168" y="11"/>
                    </a:cubicBezTo>
                    <a:cubicBezTo>
                      <a:pt x="167" y="11"/>
                      <a:pt x="165" y="10"/>
                      <a:pt x="164" y="10"/>
                    </a:cubicBezTo>
                    <a:cubicBezTo>
                      <a:pt x="163" y="10"/>
                      <a:pt x="162" y="10"/>
                      <a:pt x="161" y="10"/>
                    </a:cubicBezTo>
                    <a:cubicBezTo>
                      <a:pt x="157" y="10"/>
                      <a:pt x="152" y="11"/>
                      <a:pt x="148" y="11"/>
                    </a:cubicBezTo>
                    <a:cubicBezTo>
                      <a:pt x="145" y="12"/>
                      <a:pt x="141" y="13"/>
                      <a:pt x="137" y="13"/>
                    </a:cubicBezTo>
                    <a:cubicBezTo>
                      <a:pt x="137" y="13"/>
                      <a:pt x="136" y="13"/>
                      <a:pt x="136" y="13"/>
                    </a:cubicBezTo>
                    <a:cubicBezTo>
                      <a:pt x="131" y="12"/>
                      <a:pt x="126" y="11"/>
                      <a:pt x="121" y="10"/>
                    </a:cubicBezTo>
                    <a:cubicBezTo>
                      <a:pt x="116" y="9"/>
                      <a:pt x="111" y="8"/>
                      <a:pt x="105" y="7"/>
                    </a:cubicBezTo>
                    <a:cubicBezTo>
                      <a:pt x="101" y="7"/>
                      <a:pt x="101" y="5"/>
                      <a:pt x="99" y="5"/>
                    </a:cubicBezTo>
                    <a:cubicBezTo>
                      <a:pt x="98" y="4"/>
                      <a:pt x="98" y="4"/>
                      <a:pt x="97" y="4"/>
                    </a:cubicBezTo>
                    <a:cubicBezTo>
                      <a:pt x="96" y="4"/>
                      <a:pt x="94" y="5"/>
                      <a:pt x="92" y="5"/>
                    </a:cubicBezTo>
                    <a:cubicBezTo>
                      <a:pt x="87" y="6"/>
                      <a:pt x="81" y="7"/>
                      <a:pt x="75" y="8"/>
                    </a:cubicBezTo>
                    <a:cubicBezTo>
                      <a:pt x="73" y="8"/>
                      <a:pt x="68" y="10"/>
                      <a:pt x="65" y="10"/>
                    </a:cubicBezTo>
                    <a:cubicBezTo>
                      <a:pt x="65" y="10"/>
                      <a:pt x="64" y="10"/>
                      <a:pt x="64" y="10"/>
                    </a:cubicBezTo>
                    <a:cubicBezTo>
                      <a:pt x="60" y="9"/>
                      <a:pt x="56" y="5"/>
                      <a:pt x="52" y="3"/>
                    </a:cubicBezTo>
                    <a:cubicBezTo>
                      <a:pt x="51" y="2"/>
                      <a:pt x="50" y="1"/>
                      <a:pt x="48" y="1"/>
                    </a:cubicBezTo>
                    <a:cubicBezTo>
                      <a:pt x="46" y="1"/>
                      <a:pt x="44" y="2"/>
                      <a:pt x="42" y="3"/>
                    </a:cubicBezTo>
                    <a:cubicBezTo>
                      <a:pt x="41" y="3"/>
                      <a:pt x="41" y="3"/>
                      <a:pt x="41" y="3"/>
                    </a:cubicBezTo>
                    <a:cubicBezTo>
                      <a:pt x="40" y="3"/>
                      <a:pt x="40" y="2"/>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40" name="Freeform 268">
                <a:extLst>
                  <a:ext uri="{FF2B5EF4-FFF2-40B4-BE49-F238E27FC236}">
                    <a16:creationId xmlns:a16="http://schemas.microsoft.com/office/drawing/2014/main" id="{3FB6CF40-177E-4656-9AB3-ABEED9734565}"/>
                  </a:ext>
                </a:extLst>
              </p:cNvPr>
              <p:cNvSpPr>
                <a:spLocks/>
              </p:cNvSpPr>
              <p:nvPr/>
            </p:nvSpPr>
            <p:spPr bwMode="auto">
              <a:xfrm>
                <a:off x="3924649" y="3865687"/>
                <a:ext cx="1153441" cy="983926"/>
              </a:xfrm>
              <a:custGeom>
                <a:avLst/>
                <a:gdLst>
                  <a:gd name="T0" fmla="*/ 149 w 364"/>
                  <a:gd name="T1" fmla="*/ 47 h 309"/>
                  <a:gd name="T2" fmla="*/ 150 w 364"/>
                  <a:gd name="T3" fmla="*/ 59 h 309"/>
                  <a:gd name="T4" fmla="*/ 99 w 364"/>
                  <a:gd name="T5" fmla="*/ 56 h 309"/>
                  <a:gd name="T6" fmla="*/ 81 w 364"/>
                  <a:gd name="T7" fmla="*/ 50 h 309"/>
                  <a:gd name="T8" fmla="*/ 98 w 364"/>
                  <a:gd name="T9" fmla="*/ 89 h 309"/>
                  <a:gd name="T10" fmla="*/ 67 w 364"/>
                  <a:gd name="T11" fmla="*/ 93 h 309"/>
                  <a:gd name="T12" fmla="*/ 1 w 364"/>
                  <a:gd name="T13" fmla="*/ 95 h 309"/>
                  <a:gd name="T14" fmla="*/ 15 w 364"/>
                  <a:gd name="T15" fmla="*/ 100 h 309"/>
                  <a:gd name="T16" fmla="*/ 12 w 364"/>
                  <a:gd name="T17" fmla="*/ 109 h 309"/>
                  <a:gd name="T18" fmla="*/ 20 w 364"/>
                  <a:gd name="T19" fmla="*/ 117 h 309"/>
                  <a:gd name="T20" fmla="*/ 71 w 364"/>
                  <a:gd name="T21" fmla="*/ 140 h 309"/>
                  <a:gd name="T22" fmla="*/ 78 w 364"/>
                  <a:gd name="T23" fmla="*/ 139 h 309"/>
                  <a:gd name="T24" fmla="*/ 105 w 364"/>
                  <a:gd name="T25" fmla="*/ 174 h 309"/>
                  <a:gd name="T26" fmla="*/ 104 w 364"/>
                  <a:gd name="T27" fmla="*/ 202 h 309"/>
                  <a:gd name="T28" fmla="*/ 91 w 364"/>
                  <a:gd name="T29" fmla="*/ 273 h 309"/>
                  <a:gd name="T30" fmla="*/ 100 w 364"/>
                  <a:gd name="T31" fmla="*/ 286 h 309"/>
                  <a:gd name="T32" fmla="*/ 117 w 364"/>
                  <a:gd name="T33" fmla="*/ 289 h 309"/>
                  <a:gd name="T34" fmla="*/ 128 w 364"/>
                  <a:gd name="T35" fmla="*/ 292 h 309"/>
                  <a:gd name="T36" fmla="*/ 142 w 364"/>
                  <a:gd name="T37" fmla="*/ 297 h 309"/>
                  <a:gd name="T38" fmla="*/ 164 w 364"/>
                  <a:gd name="T39" fmla="*/ 294 h 309"/>
                  <a:gd name="T40" fmla="*/ 191 w 364"/>
                  <a:gd name="T41" fmla="*/ 306 h 309"/>
                  <a:gd name="T42" fmla="*/ 211 w 364"/>
                  <a:gd name="T43" fmla="*/ 309 h 309"/>
                  <a:gd name="T44" fmla="*/ 246 w 364"/>
                  <a:gd name="T45" fmla="*/ 274 h 309"/>
                  <a:gd name="T46" fmla="*/ 267 w 364"/>
                  <a:gd name="T47" fmla="*/ 273 h 309"/>
                  <a:gd name="T48" fmla="*/ 279 w 364"/>
                  <a:gd name="T49" fmla="*/ 275 h 309"/>
                  <a:gd name="T50" fmla="*/ 296 w 364"/>
                  <a:gd name="T51" fmla="*/ 283 h 309"/>
                  <a:gd name="T52" fmla="*/ 309 w 364"/>
                  <a:gd name="T53" fmla="*/ 286 h 309"/>
                  <a:gd name="T54" fmla="*/ 348 w 364"/>
                  <a:gd name="T55" fmla="*/ 263 h 309"/>
                  <a:gd name="T56" fmla="*/ 333 w 364"/>
                  <a:gd name="T57" fmla="*/ 247 h 309"/>
                  <a:gd name="T58" fmla="*/ 335 w 364"/>
                  <a:gd name="T59" fmla="*/ 209 h 309"/>
                  <a:gd name="T60" fmla="*/ 331 w 364"/>
                  <a:gd name="T61" fmla="*/ 187 h 309"/>
                  <a:gd name="T62" fmla="*/ 327 w 364"/>
                  <a:gd name="T63" fmla="*/ 172 h 309"/>
                  <a:gd name="T64" fmla="*/ 318 w 364"/>
                  <a:gd name="T65" fmla="*/ 174 h 309"/>
                  <a:gd name="T66" fmla="*/ 307 w 364"/>
                  <a:gd name="T67" fmla="*/ 183 h 309"/>
                  <a:gd name="T68" fmla="*/ 307 w 364"/>
                  <a:gd name="T69" fmla="*/ 172 h 309"/>
                  <a:gd name="T70" fmla="*/ 319 w 364"/>
                  <a:gd name="T71" fmla="*/ 147 h 309"/>
                  <a:gd name="T72" fmla="*/ 336 w 364"/>
                  <a:gd name="T73" fmla="*/ 128 h 309"/>
                  <a:gd name="T74" fmla="*/ 344 w 364"/>
                  <a:gd name="T75" fmla="*/ 130 h 309"/>
                  <a:gd name="T76" fmla="*/ 347 w 364"/>
                  <a:gd name="T77" fmla="*/ 123 h 309"/>
                  <a:gd name="T78" fmla="*/ 347 w 364"/>
                  <a:gd name="T79" fmla="*/ 112 h 309"/>
                  <a:gd name="T80" fmla="*/ 364 w 364"/>
                  <a:gd name="T81" fmla="*/ 80 h 309"/>
                  <a:gd name="T82" fmla="*/ 355 w 364"/>
                  <a:gd name="T83" fmla="*/ 79 h 309"/>
                  <a:gd name="T84" fmla="*/ 345 w 364"/>
                  <a:gd name="T85" fmla="*/ 74 h 309"/>
                  <a:gd name="T86" fmla="*/ 334 w 364"/>
                  <a:gd name="T87" fmla="*/ 74 h 309"/>
                  <a:gd name="T88" fmla="*/ 320 w 364"/>
                  <a:gd name="T89" fmla="*/ 66 h 309"/>
                  <a:gd name="T90" fmla="*/ 303 w 364"/>
                  <a:gd name="T91" fmla="*/ 61 h 309"/>
                  <a:gd name="T92" fmla="*/ 295 w 364"/>
                  <a:gd name="T93" fmla="*/ 61 h 309"/>
                  <a:gd name="T94" fmla="*/ 278 w 364"/>
                  <a:gd name="T95" fmla="*/ 51 h 309"/>
                  <a:gd name="T96" fmla="*/ 259 w 364"/>
                  <a:gd name="T97" fmla="*/ 45 h 309"/>
                  <a:gd name="T98" fmla="*/ 252 w 364"/>
                  <a:gd name="T99" fmla="*/ 34 h 309"/>
                  <a:gd name="T100" fmla="*/ 240 w 364"/>
                  <a:gd name="T101" fmla="*/ 34 h 309"/>
                  <a:gd name="T102" fmla="*/ 235 w 364"/>
                  <a:gd name="T103" fmla="*/ 25 h 309"/>
                  <a:gd name="T104" fmla="*/ 225 w 364"/>
                  <a:gd name="T105" fmla="*/ 15 h 309"/>
                  <a:gd name="T106" fmla="*/ 215 w 364"/>
                  <a:gd name="T107" fmla="*/ 16 h 309"/>
                  <a:gd name="T108" fmla="*/ 205 w 364"/>
                  <a:gd name="T109"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4" h="309">
                    <a:moveTo>
                      <a:pt x="205" y="0"/>
                    </a:moveTo>
                    <a:cubicBezTo>
                      <a:pt x="198" y="2"/>
                      <a:pt x="191" y="4"/>
                      <a:pt x="184" y="6"/>
                    </a:cubicBezTo>
                    <a:cubicBezTo>
                      <a:pt x="179" y="8"/>
                      <a:pt x="181" y="21"/>
                      <a:pt x="182" y="27"/>
                    </a:cubicBezTo>
                    <a:cubicBezTo>
                      <a:pt x="182" y="32"/>
                      <a:pt x="185" y="32"/>
                      <a:pt x="180" y="35"/>
                    </a:cubicBezTo>
                    <a:cubicBezTo>
                      <a:pt x="174" y="38"/>
                      <a:pt x="169" y="41"/>
                      <a:pt x="163" y="43"/>
                    </a:cubicBezTo>
                    <a:cubicBezTo>
                      <a:pt x="158" y="45"/>
                      <a:pt x="153" y="45"/>
                      <a:pt x="149" y="47"/>
                    </a:cubicBezTo>
                    <a:cubicBezTo>
                      <a:pt x="147" y="48"/>
                      <a:pt x="143" y="49"/>
                      <a:pt x="141" y="51"/>
                    </a:cubicBezTo>
                    <a:cubicBezTo>
                      <a:pt x="141" y="52"/>
                      <a:pt x="139" y="56"/>
                      <a:pt x="139" y="57"/>
                    </a:cubicBezTo>
                    <a:cubicBezTo>
                      <a:pt x="139" y="59"/>
                      <a:pt x="141" y="59"/>
                      <a:pt x="144" y="59"/>
                    </a:cubicBezTo>
                    <a:cubicBezTo>
                      <a:pt x="145" y="59"/>
                      <a:pt x="147" y="59"/>
                      <a:pt x="148" y="59"/>
                    </a:cubicBezTo>
                    <a:cubicBezTo>
                      <a:pt x="149" y="59"/>
                      <a:pt x="149" y="59"/>
                      <a:pt x="150" y="59"/>
                    </a:cubicBezTo>
                    <a:cubicBezTo>
                      <a:pt x="150" y="59"/>
                      <a:pt x="150" y="59"/>
                      <a:pt x="150" y="59"/>
                    </a:cubicBezTo>
                    <a:cubicBezTo>
                      <a:pt x="144" y="61"/>
                      <a:pt x="137" y="65"/>
                      <a:pt x="130" y="66"/>
                    </a:cubicBezTo>
                    <a:cubicBezTo>
                      <a:pt x="130" y="66"/>
                      <a:pt x="129" y="66"/>
                      <a:pt x="128" y="66"/>
                    </a:cubicBezTo>
                    <a:cubicBezTo>
                      <a:pt x="125" y="66"/>
                      <a:pt x="122" y="66"/>
                      <a:pt x="120" y="66"/>
                    </a:cubicBezTo>
                    <a:cubicBezTo>
                      <a:pt x="116" y="65"/>
                      <a:pt x="111" y="65"/>
                      <a:pt x="107" y="64"/>
                    </a:cubicBezTo>
                    <a:cubicBezTo>
                      <a:pt x="104" y="64"/>
                      <a:pt x="105" y="64"/>
                      <a:pt x="103" y="61"/>
                    </a:cubicBezTo>
                    <a:cubicBezTo>
                      <a:pt x="101" y="60"/>
                      <a:pt x="99" y="58"/>
                      <a:pt x="99" y="56"/>
                    </a:cubicBezTo>
                    <a:cubicBezTo>
                      <a:pt x="99" y="52"/>
                      <a:pt x="102" y="52"/>
                      <a:pt x="99" y="51"/>
                    </a:cubicBezTo>
                    <a:cubicBezTo>
                      <a:pt x="98" y="51"/>
                      <a:pt x="98" y="51"/>
                      <a:pt x="97" y="51"/>
                    </a:cubicBezTo>
                    <a:cubicBezTo>
                      <a:pt x="96" y="51"/>
                      <a:pt x="95" y="51"/>
                      <a:pt x="95" y="51"/>
                    </a:cubicBezTo>
                    <a:cubicBezTo>
                      <a:pt x="93" y="51"/>
                      <a:pt x="92" y="53"/>
                      <a:pt x="91" y="53"/>
                    </a:cubicBezTo>
                    <a:cubicBezTo>
                      <a:pt x="90" y="53"/>
                      <a:pt x="89" y="52"/>
                      <a:pt x="88" y="52"/>
                    </a:cubicBezTo>
                    <a:cubicBezTo>
                      <a:pt x="85" y="51"/>
                      <a:pt x="84" y="50"/>
                      <a:pt x="81" y="50"/>
                    </a:cubicBezTo>
                    <a:cubicBezTo>
                      <a:pt x="83" y="55"/>
                      <a:pt x="85" y="60"/>
                      <a:pt x="88" y="64"/>
                    </a:cubicBezTo>
                    <a:cubicBezTo>
                      <a:pt x="88" y="64"/>
                      <a:pt x="88" y="64"/>
                      <a:pt x="88" y="64"/>
                    </a:cubicBezTo>
                    <a:cubicBezTo>
                      <a:pt x="89" y="65"/>
                      <a:pt x="89" y="67"/>
                      <a:pt x="90" y="69"/>
                    </a:cubicBezTo>
                    <a:cubicBezTo>
                      <a:pt x="90" y="68"/>
                      <a:pt x="90" y="68"/>
                      <a:pt x="91" y="68"/>
                    </a:cubicBezTo>
                    <a:cubicBezTo>
                      <a:pt x="93" y="68"/>
                      <a:pt x="93" y="81"/>
                      <a:pt x="94" y="83"/>
                    </a:cubicBezTo>
                    <a:cubicBezTo>
                      <a:pt x="94" y="88"/>
                      <a:pt x="94" y="88"/>
                      <a:pt x="98" y="89"/>
                    </a:cubicBezTo>
                    <a:cubicBezTo>
                      <a:pt x="97" y="90"/>
                      <a:pt x="96" y="90"/>
                      <a:pt x="95" y="90"/>
                    </a:cubicBezTo>
                    <a:cubicBezTo>
                      <a:pt x="91" y="90"/>
                      <a:pt x="89" y="88"/>
                      <a:pt x="85" y="88"/>
                    </a:cubicBezTo>
                    <a:cubicBezTo>
                      <a:pt x="85" y="88"/>
                      <a:pt x="85" y="88"/>
                      <a:pt x="85" y="88"/>
                    </a:cubicBezTo>
                    <a:cubicBezTo>
                      <a:pt x="82" y="88"/>
                      <a:pt x="78" y="90"/>
                      <a:pt x="80" y="93"/>
                    </a:cubicBezTo>
                    <a:cubicBezTo>
                      <a:pt x="79" y="92"/>
                      <a:pt x="77" y="91"/>
                      <a:pt x="75" y="91"/>
                    </a:cubicBezTo>
                    <a:cubicBezTo>
                      <a:pt x="72" y="91"/>
                      <a:pt x="69" y="92"/>
                      <a:pt x="67" y="93"/>
                    </a:cubicBezTo>
                    <a:cubicBezTo>
                      <a:pt x="65" y="93"/>
                      <a:pt x="61" y="93"/>
                      <a:pt x="60" y="95"/>
                    </a:cubicBezTo>
                    <a:cubicBezTo>
                      <a:pt x="57" y="92"/>
                      <a:pt x="53" y="85"/>
                      <a:pt x="50" y="84"/>
                    </a:cubicBezTo>
                    <a:cubicBezTo>
                      <a:pt x="52" y="83"/>
                      <a:pt x="48" y="84"/>
                      <a:pt x="49" y="81"/>
                    </a:cubicBezTo>
                    <a:cubicBezTo>
                      <a:pt x="43" y="83"/>
                      <a:pt x="38" y="86"/>
                      <a:pt x="33" y="88"/>
                    </a:cubicBezTo>
                    <a:cubicBezTo>
                      <a:pt x="29" y="90"/>
                      <a:pt x="23" y="90"/>
                      <a:pt x="19" y="91"/>
                    </a:cubicBezTo>
                    <a:cubicBezTo>
                      <a:pt x="13" y="92"/>
                      <a:pt x="7" y="93"/>
                      <a:pt x="1" y="95"/>
                    </a:cubicBezTo>
                    <a:cubicBezTo>
                      <a:pt x="1" y="95"/>
                      <a:pt x="1" y="95"/>
                      <a:pt x="1" y="95"/>
                    </a:cubicBezTo>
                    <a:cubicBezTo>
                      <a:pt x="1" y="95"/>
                      <a:pt x="0" y="100"/>
                      <a:pt x="0" y="100"/>
                    </a:cubicBezTo>
                    <a:cubicBezTo>
                      <a:pt x="1" y="101"/>
                      <a:pt x="1" y="101"/>
                      <a:pt x="2" y="101"/>
                    </a:cubicBezTo>
                    <a:cubicBezTo>
                      <a:pt x="5" y="101"/>
                      <a:pt x="11" y="99"/>
                      <a:pt x="13" y="98"/>
                    </a:cubicBezTo>
                    <a:cubicBezTo>
                      <a:pt x="12" y="99"/>
                      <a:pt x="10" y="99"/>
                      <a:pt x="10" y="101"/>
                    </a:cubicBezTo>
                    <a:cubicBezTo>
                      <a:pt x="11" y="101"/>
                      <a:pt x="13" y="100"/>
                      <a:pt x="15" y="100"/>
                    </a:cubicBezTo>
                    <a:cubicBezTo>
                      <a:pt x="14" y="102"/>
                      <a:pt x="12" y="103"/>
                      <a:pt x="10" y="103"/>
                    </a:cubicBezTo>
                    <a:cubicBezTo>
                      <a:pt x="8" y="103"/>
                      <a:pt x="7" y="102"/>
                      <a:pt x="6" y="102"/>
                    </a:cubicBezTo>
                    <a:cubicBezTo>
                      <a:pt x="5" y="104"/>
                      <a:pt x="6" y="103"/>
                      <a:pt x="7" y="107"/>
                    </a:cubicBezTo>
                    <a:cubicBezTo>
                      <a:pt x="8" y="106"/>
                      <a:pt x="9" y="105"/>
                      <a:pt x="11" y="105"/>
                    </a:cubicBezTo>
                    <a:cubicBezTo>
                      <a:pt x="11" y="105"/>
                      <a:pt x="11" y="105"/>
                      <a:pt x="12" y="105"/>
                    </a:cubicBezTo>
                    <a:cubicBezTo>
                      <a:pt x="14" y="106"/>
                      <a:pt x="14" y="108"/>
                      <a:pt x="12" y="109"/>
                    </a:cubicBezTo>
                    <a:cubicBezTo>
                      <a:pt x="12" y="110"/>
                      <a:pt x="9" y="110"/>
                      <a:pt x="8" y="110"/>
                    </a:cubicBezTo>
                    <a:cubicBezTo>
                      <a:pt x="6" y="110"/>
                      <a:pt x="3" y="110"/>
                      <a:pt x="2" y="112"/>
                    </a:cubicBezTo>
                    <a:cubicBezTo>
                      <a:pt x="6" y="114"/>
                      <a:pt x="9" y="116"/>
                      <a:pt x="13" y="119"/>
                    </a:cubicBezTo>
                    <a:cubicBezTo>
                      <a:pt x="12" y="119"/>
                      <a:pt x="12" y="120"/>
                      <a:pt x="12" y="120"/>
                    </a:cubicBezTo>
                    <a:cubicBezTo>
                      <a:pt x="15" y="119"/>
                      <a:pt x="18" y="117"/>
                      <a:pt x="20" y="117"/>
                    </a:cubicBezTo>
                    <a:cubicBezTo>
                      <a:pt x="20" y="117"/>
                      <a:pt x="20" y="117"/>
                      <a:pt x="20" y="117"/>
                    </a:cubicBezTo>
                    <a:cubicBezTo>
                      <a:pt x="24" y="117"/>
                      <a:pt x="33" y="119"/>
                      <a:pt x="36" y="121"/>
                    </a:cubicBezTo>
                    <a:cubicBezTo>
                      <a:pt x="40" y="124"/>
                      <a:pt x="47" y="127"/>
                      <a:pt x="47" y="132"/>
                    </a:cubicBezTo>
                    <a:cubicBezTo>
                      <a:pt x="48" y="127"/>
                      <a:pt x="47" y="130"/>
                      <a:pt x="50" y="128"/>
                    </a:cubicBezTo>
                    <a:cubicBezTo>
                      <a:pt x="51" y="127"/>
                      <a:pt x="53" y="128"/>
                      <a:pt x="52" y="126"/>
                    </a:cubicBezTo>
                    <a:cubicBezTo>
                      <a:pt x="57" y="128"/>
                      <a:pt x="61" y="130"/>
                      <a:pt x="66" y="133"/>
                    </a:cubicBezTo>
                    <a:cubicBezTo>
                      <a:pt x="62" y="137"/>
                      <a:pt x="67" y="140"/>
                      <a:pt x="71" y="140"/>
                    </a:cubicBezTo>
                    <a:cubicBezTo>
                      <a:pt x="72" y="140"/>
                      <a:pt x="73" y="140"/>
                      <a:pt x="73" y="139"/>
                    </a:cubicBezTo>
                    <a:cubicBezTo>
                      <a:pt x="75" y="139"/>
                      <a:pt x="75" y="138"/>
                      <a:pt x="77" y="138"/>
                    </a:cubicBezTo>
                    <a:cubicBezTo>
                      <a:pt x="78" y="138"/>
                      <a:pt x="78" y="138"/>
                      <a:pt x="78" y="138"/>
                    </a:cubicBezTo>
                    <a:cubicBezTo>
                      <a:pt x="81" y="138"/>
                      <a:pt x="83" y="139"/>
                      <a:pt x="85" y="141"/>
                    </a:cubicBezTo>
                    <a:cubicBezTo>
                      <a:pt x="82" y="141"/>
                      <a:pt x="82" y="139"/>
                      <a:pt x="79" y="139"/>
                    </a:cubicBezTo>
                    <a:cubicBezTo>
                      <a:pt x="79" y="139"/>
                      <a:pt x="79" y="139"/>
                      <a:pt x="78" y="139"/>
                    </a:cubicBezTo>
                    <a:cubicBezTo>
                      <a:pt x="75" y="139"/>
                      <a:pt x="75" y="142"/>
                      <a:pt x="73" y="144"/>
                    </a:cubicBezTo>
                    <a:cubicBezTo>
                      <a:pt x="75" y="146"/>
                      <a:pt x="77" y="147"/>
                      <a:pt x="80" y="148"/>
                    </a:cubicBezTo>
                    <a:cubicBezTo>
                      <a:pt x="77" y="155"/>
                      <a:pt x="73" y="153"/>
                      <a:pt x="80" y="160"/>
                    </a:cubicBezTo>
                    <a:cubicBezTo>
                      <a:pt x="82" y="162"/>
                      <a:pt x="83" y="164"/>
                      <a:pt x="84" y="165"/>
                    </a:cubicBezTo>
                    <a:cubicBezTo>
                      <a:pt x="85" y="166"/>
                      <a:pt x="85" y="167"/>
                      <a:pt x="85" y="167"/>
                    </a:cubicBezTo>
                    <a:cubicBezTo>
                      <a:pt x="88" y="171"/>
                      <a:pt x="100" y="172"/>
                      <a:pt x="105" y="174"/>
                    </a:cubicBezTo>
                    <a:cubicBezTo>
                      <a:pt x="101" y="179"/>
                      <a:pt x="102" y="180"/>
                      <a:pt x="104" y="187"/>
                    </a:cubicBezTo>
                    <a:cubicBezTo>
                      <a:pt x="105" y="190"/>
                      <a:pt x="103" y="190"/>
                      <a:pt x="104" y="193"/>
                    </a:cubicBezTo>
                    <a:cubicBezTo>
                      <a:pt x="104" y="192"/>
                      <a:pt x="103" y="192"/>
                      <a:pt x="103" y="192"/>
                    </a:cubicBezTo>
                    <a:cubicBezTo>
                      <a:pt x="102" y="192"/>
                      <a:pt x="102" y="192"/>
                      <a:pt x="101" y="193"/>
                    </a:cubicBezTo>
                    <a:cubicBezTo>
                      <a:pt x="100" y="195"/>
                      <a:pt x="103" y="198"/>
                      <a:pt x="106" y="200"/>
                    </a:cubicBezTo>
                    <a:cubicBezTo>
                      <a:pt x="105" y="200"/>
                      <a:pt x="105" y="201"/>
                      <a:pt x="104" y="202"/>
                    </a:cubicBezTo>
                    <a:cubicBezTo>
                      <a:pt x="103" y="205"/>
                      <a:pt x="104" y="213"/>
                      <a:pt x="104" y="216"/>
                    </a:cubicBezTo>
                    <a:cubicBezTo>
                      <a:pt x="104" y="220"/>
                      <a:pt x="104" y="224"/>
                      <a:pt x="105" y="228"/>
                    </a:cubicBezTo>
                    <a:cubicBezTo>
                      <a:pt x="105" y="230"/>
                      <a:pt x="107" y="230"/>
                      <a:pt x="107" y="231"/>
                    </a:cubicBezTo>
                    <a:cubicBezTo>
                      <a:pt x="106" y="234"/>
                      <a:pt x="102" y="236"/>
                      <a:pt x="101" y="239"/>
                    </a:cubicBezTo>
                    <a:cubicBezTo>
                      <a:pt x="99" y="241"/>
                      <a:pt x="99" y="245"/>
                      <a:pt x="98" y="248"/>
                    </a:cubicBezTo>
                    <a:cubicBezTo>
                      <a:pt x="97" y="256"/>
                      <a:pt x="97" y="268"/>
                      <a:pt x="91" y="273"/>
                    </a:cubicBezTo>
                    <a:cubicBezTo>
                      <a:pt x="90" y="274"/>
                      <a:pt x="89" y="275"/>
                      <a:pt x="88" y="275"/>
                    </a:cubicBezTo>
                    <a:cubicBezTo>
                      <a:pt x="89" y="276"/>
                      <a:pt x="90" y="276"/>
                      <a:pt x="91" y="277"/>
                    </a:cubicBezTo>
                    <a:cubicBezTo>
                      <a:pt x="91" y="276"/>
                      <a:pt x="92" y="276"/>
                      <a:pt x="93" y="276"/>
                    </a:cubicBezTo>
                    <a:cubicBezTo>
                      <a:pt x="96" y="276"/>
                      <a:pt x="99" y="278"/>
                      <a:pt x="100" y="280"/>
                    </a:cubicBezTo>
                    <a:cubicBezTo>
                      <a:pt x="101" y="282"/>
                      <a:pt x="100" y="284"/>
                      <a:pt x="100" y="286"/>
                    </a:cubicBezTo>
                    <a:cubicBezTo>
                      <a:pt x="100" y="286"/>
                      <a:pt x="100" y="286"/>
                      <a:pt x="100" y="286"/>
                    </a:cubicBezTo>
                    <a:cubicBezTo>
                      <a:pt x="102" y="286"/>
                      <a:pt x="103" y="286"/>
                      <a:pt x="103" y="286"/>
                    </a:cubicBezTo>
                    <a:cubicBezTo>
                      <a:pt x="104" y="286"/>
                      <a:pt x="106" y="286"/>
                      <a:pt x="107" y="287"/>
                    </a:cubicBezTo>
                    <a:cubicBezTo>
                      <a:pt x="107" y="287"/>
                      <a:pt x="107" y="287"/>
                      <a:pt x="107" y="287"/>
                    </a:cubicBezTo>
                    <a:cubicBezTo>
                      <a:pt x="109" y="287"/>
                      <a:pt x="112" y="287"/>
                      <a:pt x="114" y="288"/>
                    </a:cubicBezTo>
                    <a:cubicBezTo>
                      <a:pt x="115" y="288"/>
                      <a:pt x="116" y="289"/>
                      <a:pt x="116" y="289"/>
                    </a:cubicBezTo>
                    <a:cubicBezTo>
                      <a:pt x="117" y="289"/>
                      <a:pt x="117" y="289"/>
                      <a:pt x="117" y="289"/>
                    </a:cubicBezTo>
                    <a:cubicBezTo>
                      <a:pt x="119" y="290"/>
                      <a:pt x="120" y="292"/>
                      <a:pt x="121" y="292"/>
                    </a:cubicBezTo>
                    <a:cubicBezTo>
                      <a:pt x="122" y="293"/>
                      <a:pt x="122" y="293"/>
                      <a:pt x="122" y="293"/>
                    </a:cubicBezTo>
                    <a:cubicBezTo>
                      <a:pt x="122" y="293"/>
                      <a:pt x="122" y="293"/>
                      <a:pt x="122" y="293"/>
                    </a:cubicBezTo>
                    <a:cubicBezTo>
                      <a:pt x="122" y="293"/>
                      <a:pt x="123" y="293"/>
                      <a:pt x="123" y="293"/>
                    </a:cubicBezTo>
                    <a:cubicBezTo>
                      <a:pt x="125" y="292"/>
                      <a:pt x="126" y="292"/>
                      <a:pt x="127" y="292"/>
                    </a:cubicBezTo>
                    <a:cubicBezTo>
                      <a:pt x="127" y="292"/>
                      <a:pt x="128" y="292"/>
                      <a:pt x="128" y="292"/>
                    </a:cubicBezTo>
                    <a:cubicBezTo>
                      <a:pt x="129" y="292"/>
                      <a:pt x="129" y="292"/>
                      <a:pt x="129" y="292"/>
                    </a:cubicBezTo>
                    <a:cubicBezTo>
                      <a:pt x="129" y="292"/>
                      <a:pt x="130" y="293"/>
                      <a:pt x="131" y="293"/>
                    </a:cubicBezTo>
                    <a:cubicBezTo>
                      <a:pt x="131" y="294"/>
                      <a:pt x="132" y="294"/>
                      <a:pt x="133" y="295"/>
                    </a:cubicBezTo>
                    <a:cubicBezTo>
                      <a:pt x="134" y="295"/>
                      <a:pt x="135" y="296"/>
                      <a:pt x="136" y="297"/>
                    </a:cubicBezTo>
                    <a:cubicBezTo>
                      <a:pt x="137" y="297"/>
                      <a:pt x="137" y="297"/>
                      <a:pt x="137" y="297"/>
                    </a:cubicBezTo>
                    <a:cubicBezTo>
                      <a:pt x="142" y="297"/>
                      <a:pt x="142" y="297"/>
                      <a:pt x="142" y="297"/>
                    </a:cubicBezTo>
                    <a:cubicBezTo>
                      <a:pt x="144" y="297"/>
                      <a:pt x="147" y="297"/>
                      <a:pt x="149" y="297"/>
                    </a:cubicBezTo>
                    <a:cubicBezTo>
                      <a:pt x="150" y="297"/>
                      <a:pt x="151" y="297"/>
                      <a:pt x="152" y="297"/>
                    </a:cubicBezTo>
                    <a:cubicBezTo>
                      <a:pt x="152" y="295"/>
                      <a:pt x="152" y="294"/>
                      <a:pt x="154" y="292"/>
                    </a:cubicBezTo>
                    <a:cubicBezTo>
                      <a:pt x="154" y="292"/>
                      <a:pt x="155" y="291"/>
                      <a:pt x="157" y="291"/>
                    </a:cubicBezTo>
                    <a:cubicBezTo>
                      <a:pt x="157" y="291"/>
                      <a:pt x="158" y="291"/>
                      <a:pt x="159" y="292"/>
                    </a:cubicBezTo>
                    <a:cubicBezTo>
                      <a:pt x="160" y="292"/>
                      <a:pt x="162" y="293"/>
                      <a:pt x="164" y="294"/>
                    </a:cubicBezTo>
                    <a:cubicBezTo>
                      <a:pt x="167" y="295"/>
                      <a:pt x="167" y="295"/>
                      <a:pt x="167" y="295"/>
                    </a:cubicBezTo>
                    <a:cubicBezTo>
                      <a:pt x="168" y="295"/>
                      <a:pt x="169" y="296"/>
                      <a:pt x="169" y="296"/>
                    </a:cubicBezTo>
                    <a:cubicBezTo>
                      <a:pt x="175" y="299"/>
                      <a:pt x="180" y="300"/>
                      <a:pt x="187" y="301"/>
                    </a:cubicBezTo>
                    <a:cubicBezTo>
                      <a:pt x="192" y="302"/>
                      <a:pt x="192" y="302"/>
                      <a:pt x="192" y="302"/>
                    </a:cubicBezTo>
                    <a:cubicBezTo>
                      <a:pt x="190" y="305"/>
                      <a:pt x="190" y="305"/>
                      <a:pt x="190" y="305"/>
                    </a:cubicBezTo>
                    <a:cubicBezTo>
                      <a:pt x="191" y="306"/>
                      <a:pt x="191" y="306"/>
                      <a:pt x="191" y="306"/>
                    </a:cubicBezTo>
                    <a:cubicBezTo>
                      <a:pt x="192" y="306"/>
                      <a:pt x="192" y="306"/>
                      <a:pt x="192" y="306"/>
                    </a:cubicBezTo>
                    <a:cubicBezTo>
                      <a:pt x="192" y="306"/>
                      <a:pt x="193" y="306"/>
                      <a:pt x="193" y="306"/>
                    </a:cubicBezTo>
                    <a:cubicBezTo>
                      <a:pt x="195" y="307"/>
                      <a:pt x="199" y="308"/>
                      <a:pt x="206" y="309"/>
                    </a:cubicBezTo>
                    <a:cubicBezTo>
                      <a:pt x="207" y="309"/>
                      <a:pt x="208" y="309"/>
                      <a:pt x="208" y="309"/>
                    </a:cubicBezTo>
                    <a:cubicBezTo>
                      <a:pt x="209" y="309"/>
                      <a:pt x="210" y="309"/>
                      <a:pt x="211" y="309"/>
                    </a:cubicBezTo>
                    <a:cubicBezTo>
                      <a:pt x="211" y="309"/>
                      <a:pt x="211" y="309"/>
                      <a:pt x="211" y="309"/>
                    </a:cubicBezTo>
                    <a:cubicBezTo>
                      <a:pt x="212" y="309"/>
                      <a:pt x="212" y="308"/>
                      <a:pt x="213" y="308"/>
                    </a:cubicBezTo>
                    <a:cubicBezTo>
                      <a:pt x="226" y="306"/>
                      <a:pt x="226" y="306"/>
                      <a:pt x="226" y="306"/>
                    </a:cubicBezTo>
                    <a:cubicBezTo>
                      <a:pt x="225" y="302"/>
                      <a:pt x="224" y="299"/>
                      <a:pt x="223" y="296"/>
                    </a:cubicBezTo>
                    <a:cubicBezTo>
                      <a:pt x="222" y="295"/>
                      <a:pt x="221" y="295"/>
                      <a:pt x="221" y="294"/>
                    </a:cubicBezTo>
                    <a:cubicBezTo>
                      <a:pt x="223" y="292"/>
                      <a:pt x="224" y="289"/>
                      <a:pt x="225" y="287"/>
                    </a:cubicBezTo>
                    <a:cubicBezTo>
                      <a:pt x="230" y="280"/>
                      <a:pt x="238" y="277"/>
                      <a:pt x="246" y="274"/>
                    </a:cubicBezTo>
                    <a:cubicBezTo>
                      <a:pt x="248" y="272"/>
                      <a:pt x="250" y="271"/>
                      <a:pt x="252" y="271"/>
                    </a:cubicBezTo>
                    <a:cubicBezTo>
                      <a:pt x="253" y="271"/>
                      <a:pt x="254" y="271"/>
                      <a:pt x="254" y="272"/>
                    </a:cubicBezTo>
                    <a:cubicBezTo>
                      <a:pt x="257" y="273"/>
                      <a:pt x="259" y="273"/>
                      <a:pt x="262" y="273"/>
                    </a:cubicBezTo>
                    <a:cubicBezTo>
                      <a:pt x="263" y="273"/>
                      <a:pt x="263" y="273"/>
                      <a:pt x="264" y="273"/>
                    </a:cubicBezTo>
                    <a:cubicBezTo>
                      <a:pt x="265" y="273"/>
                      <a:pt x="265" y="273"/>
                      <a:pt x="266" y="273"/>
                    </a:cubicBezTo>
                    <a:cubicBezTo>
                      <a:pt x="266" y="273"/>
                      <a:pt x="266" y="273"/>
                      <a:pt x="267" y="273"/>
                    </a:cubicBezTo>
                    <a:cubicBezTo>
                      <a:pt x="267" y="273"/>
                      <a:pt x="267" y="273"/>
                      <a:pt x="267" y="273"/>
                    </a:cubicBezTo>
                    <a:cubicBezTo>
                      <a:pt x="268" y="273"/>
                      <a:pt x="269" y="273"/>
                      <a:pt x="270" y="273"/>
                    </a:cubicBezTo>
                    <a:cubicBezTo>
                      <a:pt x="270" y="273"/>
                      <a:pt x="270" y="273"/>
                      <a:pt x="270" y="273"/>
                    </a:cubicBezTo>
                    <a:cubicBezTo>
                      <a:pt x="271" y="273"/>
                      <a:pt x="270" y="275"/>
                      <a:pt x="271" y="275"/>
                    </a:cubicBezTo>
                    <a:cubicBezTo>
                      <a:pt x="272" y="275"/>
                      <a:pt x="273" y="275"/>
                      <a:pt x="274" y="275"/>
                    </a:cubicBezTo>
                    <a:cubicBezTo>
                      <a:pt x="276" y="275"/>
                      <a:pt x="278" y="275"/>
                      <a:pt x="279" y="275"/>
                    </a:cubicBezTo>
                    <a:cubicBezTo>
                      <a:pt x="278" y="277"/>
                      <a:pt x="279" y="277"/>
                      <a:pt x="281" y="277"/>
                    </a:cubicBezTo>
                    <a:cubicBezTo>
                      <a:pt x="282" y="277"/>
                      <a:pt x="283" y="277"/>
                      <a:pt x="283" y="277"/>
                    </a:cubicBezTo>
                    <a:cubicBezTo>
                      <a:pt x="284" y="277"/>
                      <a:pt x="285" y="277"/>
                      <a:pt x="286" y="277"/>
                    </a:cubicBezTo>
                    <a:cubicBezTo>
                      <a:pt x="286" y="277"/>
                      <a:pt x="287" y="277"/>
                      <a:pt x="287" y="278"/>
                    </a:cubicBezTo>
                    <a:cubicBezTo>
                      <a:pt x="288" y="278"/>
                      <a:pt x="288" y="282"/>
                      <a:pt x="289" y="282"/>
                    </a:cubicBezTo>
                    <a:cubicBezTo>
                      <a:pt x="291" y="282"/>
                      <a:pt x="293" y="283"/>
                      <a:pt x="296" y="283"/>
                    </a:cubicBezTo>
                    <a:cubicBezTo>
                      <a:pt x="298" y="283"/>
                      <a:pt x="299" y="284"/>
                      <a:pt x="300" y="285"/>
                    </a:cubicBezTo>
                    <a:cubicBezTo>
                      <a:pt x="301" y="285"/>
                      <a:pt x="301" y="286"/>
                      <a:pt x="301" y="286"/>
                    </a:cubicBezTo>
                    <a:cubicBezTo>
                      <a:pt x="301" y="286"/>
                      <a:pt x="301" y="286"/>
                      <a:pt x="301" y="286"/>
                    </a:cubicBezTo>
                    <a:cubicBezTo>
                      <a:pt x="302" y="287"/>
                      <a:pt x="302" y="287"/>
                      <a:pt x="303" y="287"/>
                    </a:cubicBezTo>
                    <a:cubicBezTo>
                      <a:pt x="304" y="287"/>
                      <a:pt x="305" y="287"/>
                      <a:pt x="307" y="287"/>
                    </a:cubicBezTo>
                    <a:cubicBezTo>
                      <a:pt x="307" y="287"/>
                      <a:pt x="308" y="286"/>
                      <a:pt x="309" y="286"/>
                    </a:cubicBezTo>
                    <a:cubicBezTo>
                      <a:pt x="310" y="286"/>
                      <a:pt x="311" y="287"/>
                      <a:pt x="310" y="288"/>
                    </a:cubicBezTo>
                    <a:cubicBezTo>
                      <a:pt x="310" y="288"/>
                      <a:pt x="310" y="288"/>
                      <a:pt x="310" y="288"/>
                    </a:cubicBezTo>
                    <a:cubicBezTo>
                      <a:pt x="319" y="288"/>
                      <a:pt x="325" y="279"/>
                      <a:pt x="331" y="274"/>
                    </a:cubicBezTo>
                    <a:cubicBezTo>
                      <a:pt x="334" y="271"/>
                      <a:pt x="335" y="271"/>
                      <a:pt x="338" y="270"/>
                    </a:cubicBezTo>
                    <a:cubicBezTo>
                      <a:pt x="341" y="270"/>
                      <a:pt x="344" y="267"/>
                      <a:pt x="346" y="265"/>
                    </a:cubicBezTo>
                    <a:cubicBezTo>
                      <a:pt x="347" y="264"/>
                      <a:pt x="348" y="264"/>
                      <a:pt x="348" y="263"/>
                    </a:cubicBezTo>
                    <a:cubicBezTo>
                      <a:pt x="347" y="263"/>
                      <a:pt x="347" y="263"/>
                      <a:pt x="347" y="263"/>
                    </a:cubicBezTo>
                    <a:cubicBezTo>
                      <a:pt x="347" y="261"/>
                      <a:pt x="347" y="261"/>
                      <a:pt x="347" y="261"/>
                    </a:cubicBezTo>
                    <a:cubicBezTo>
                      <a:pt x="348" y="260"/>
                      <a:pt x="349" y="258"/>
                      <a:pt x="349" y="257"/>
                    </a:cubicBezTo>
                    <a:cubicBezTo>
                      <a:pt x="350" y="256"/>
                      <a:pt x="350" y="256"/>
                      <a:pt x="350" y="256"/>
                    </a:cubicBezTo>
                    <a:cubicBezTo>
                      <a:pt x="350" y="255"/>
                      <a:pt x="350" y="255"/>
                      <a:pt x="351" y="254"/>
                    </a:cubicBezTo>
                    <a:cubicBezTo>
                      <a:pt x="333" y="247"/>
                      <a:pt x="333" y="247"/>
                      <a:pt x="333" y="247"/>
                    </a:cubicBezTo>
                    <a:cubicBezTo>
                      <a:pt x="331" y="246"/>
                      <a:pt x="329" y="243"/>
                      <a:pt x="329" y="240"/>
                    </a:cubicBezTo>
                    <a:cubicBezTo>
                      <a:pt x="328" y="237"/>
                      <a:pt x="330" y="233"/>
                      <a:pt x="332" y="230"/>
                    </a:cubicBezTo>
                    <a:cubicBezTo>
                      <a:pt x="319" y="214"/>
                      <a:pt x="319" y="214"/>
                      <a:pt x="319" y="214"/>
                    </a:cubicBezTo>
                    <a:cubicBezTo>
                      <a:pt x="324" y="213"/>
                      <a:pt x="324" y="213"/>
                      <a:pt x="324" y="213"/>
                    </a:cubicBezTo>
                    <a:cubicBezTo>
                      <a:pt x="325" y="212"/>
                      <a:pt x="326" y="212"/>
                      <a:pt x="328" y="211"/>
                    </a:cubicBezTo>
                    <a:cubicBezTo>
                      <a:pt x="330" y="211"/>
                      <a:pt x="333" y="210"/>
                      <a:pt x="335" y="209"/>
                    </a:cubicBezTo>
                    <a:cubicBezTo>
                      <a:pt x="335" y="209"/>
                      <a:pt x="335" y="208"/>
                      <a:pt x="335" y="207"/>
                    </a:cubicBezTo>
                    <a:cubicBezTo>
                      <a:pt x="335" y="207"/>
                      <a:pt x="336" y="207"/>
                      <a:pt x="336" y="206"/>
                    </a:cubicBezTo>
                    <a:cubicBezTo>
                      <a:pt x="335" y="206"/>
                      <a:pt x="335" y="205"/>
                      <a:pt x="334" y="205"/>
                    </a:cubicBezTo>
                    <a:cubicBezTo>
                      <a:pt x="328" y="197"/>
                      <a:pt x="328" y="197"/>
                      <a:pt x="328" y="197"/>
                    </a:cubicBezTo>
                    <a:cubicBezTo>
                      <a:pt x="327" y="195"/>
                      <a:pt x="326" y="193"/>
                      <a:pt x="327" y="192"/>
                    </a:cubicBezTo>
                    <a:cubicBezTo>
                      <a:pt x="327" y="189"/>
                      <a:pt x="330" y="188"/>
                      <a:pt x="331" y="187"/>
                    </a:cubicBezTo>
                    <a:cubicBezTo>
                      <a:pt x="332" y="186"/>
                      <a:pt x="332" y="186"/>
                      <a:pt x="332" y="186"/>
                    </a:cubicBezTo>
                    <a:cubicBezTo>
                      <a:pt x="331" y="186"/>
                      <a:pt x="331" y="186"/>
                      <a:pt x="331" y="185"/>
                    </a:cubicBezTo>
                    <a:cubicBezTo>
                      <a:pt x="330" y="185"/>
                      <a:pt x="330" y="185"/>
                      <a:pt x="330" y="185"/>
                    </a:cubicBezTo>
                    <a:cubicBezTo>
                      <a:pt x="327" y="181"/>
                      <a:pt x="327" y="180"/>
                      <a:pt x="327" y="179"/>
                    </a:cubicBezTo>
                    <a:cubicBezTo>
                      <a:pt x="327" y="179"/>
                      <a:pt x="327" y="178"/>
                      <a:pt x="327" y="177"/>
                    </a:cubicBezTo>
                    <a:cubicBezTo>
                      <a:pt x="327" y="174"/>
                      <a:pt x="327" y="173"/>
                      <a:pt x="327" y="172"/>
                    </a:cubicBezTo>
                    <a:cubicBezTo>
                      <a:pt x="327" y="172"/>
                      <a:pt x="326" y="172"/>
                      <a:pt x="325" y="172"/>
                    </a:cubicBezTo>
                    <a:cubicBezTo>
                      <a:pt x="325" y="172"/>
                      <a:pt x="325" y="172"/>
                      <a:pt x="324" y="172"/>
                    </a:cubicBezTo>
                    <a:cubicBezTo>
                      <a:pt x="324" y="172"/>
                      <a:pt x="324" y="172"/>
                      <a:pt x="324" y="172"/>
                    </a:cubicBezTo>
                    <a:cubicBezTo>
                      <a:pt x="323" y="172"/>
                      <a:pt x="322" y="172"/>
                      <a:pt x="321" y="173"/>
                    </a:cubicBezTo>
                    <a:cubicBezTo>
                      <a:pt x="321" y="173"/>
                      <a:pt x="321" y="173"/>
                      <a:pt x="321" y="173"/>
                    </a:cubicBezTo>
                    <a:cubicBezTo>
                      <a:pt x="320" y="173"/>
                      <a:pt x="319" y="174"/>
                      <a:pt x="318" y="174"/>
                    </a:cubicBezTo>
                    <a:cubicBezTo>
                      <a:pt x="317" y="173"/>
                      <a:pt x="317" y="173"/>
                      <a:pt x="317" y="173"/>
                    </a:cubicBezTo>
                    <a:cubicBezTo>
                      <a:pt x="318" y="174"/>
                      <a:pt x="318" y="174"/>
                      <a:pt x="318" y="174"/>
                    </a:cubicBezTo>
                    <a:cubicBezTo>
                      <a:pt x="316" y="176"/>
                      <a:pt x="314" y="178"/>
                      <a:pt x="312" y="179"/>
                    </a:cubicBezTo>
                    <a:cubicBezTo>
                      <a:pt x="310" y="181"/>
                      <a:pt x="310" y="181"/>
                      <a:pt x="310" y="181"/>
                    </a:cubicBezTo>
                    <a:cubicBezTo>
                      <a:pt x="310" y="181"/>
                      <a:pt x="309" y="182"/>
                      <a:pt x="308" y="183"/>
                    </a:cubicBezTo>
                    <a:cubicBezTo>
                      <a:pt x="307" y="183"/>
                      <a:pt x="307" y="183"/>
                      <a:pt x="307" y="183"/>
                    </a:cubicBezTo>
                    <a:cubicBezTo>
                      <a:pt x="303" y="179"/>
                      <a:pt x="303" y="179"/>
                      <a:pt x="303" y="179"/>
                    </a:cubicBezTo>
                    <a:cubicBezTo>
                      <a:pt x="303" y="178"/>
                      <a:pt x="303" y="178"/>
                      <a:pt x="303" y="178"/>
                    </a:cubicBezTo>
                    <a:cubicBezTo>
                      <a:pt x="303" y="177"/>
                      <a:pt x="304" y="177"/>
                      <a:pt x="304" y="176"/>
                    </a:cubicBezTo>
                    <a:cubicBezTo>
                      <a:pt x="305" y="176"/>
                      <a:pt x="305" y="176"/>
                      <a:pt x="305" y="176"/>
                    </a:cubicBezTo>
                    <a:cubicBezTo>
                      <a:pt x="306" y="174"/>
                      <a:pt x="307" y="173"/>
                      <a:pt x="307" y="173"/>
                    </a:cubicBezTo>
                    <a:cubicBezTo>
                      <a:pt x="307" y="172"/>
                      <a:pt x="307" y="172"/>
                      <a:pt x="307" y="172"/>
                    </a:cubicBezTo>
                    <a:cubicBezTo>
                      <a:pt x="305" y="170"/>
                      <a:pt x="306" y="168"/>
                      <a:pt x="307" y="166"/>
                    </a:cubicBezTo>
                    <a:cubicBezTo>
                      <a:pt x="309" y="162"/>
                      <a:pt x="312" y="159"/>
                      <a:pt x="315" y="156"/>
                    </a:cubicBezTo>
                    <a:cubicBezTo>
                      <a:pt x="316" y="154"/>
                      <a:pt x="316" y="154"/>
                      <a:pt x="316" y="154"/>
                    </a:cubicBezTo>
                    <a:cubicBezTo>
                      <a:pt x="317" y="154"/>
                      <a:pt x="317" y="152"/>
                      <a:pt x="317" y="151"/>
                    </a:cubicBezTo>
                    <a:cubicBezTo>
                      <a:pt x="317" y="150"/>
                      <a:pt x="317" y="150"/>
                      <a:pt x="317" y="150"/>
                    </a:cubicBezTo>
                    <a:cubicBezTo>
                      <a:pt x="318" y="149"/>
                      <a:pt x="318" y="148"/>
                      <a:pt x="319" y="147"/>
                    </a:cubicBezTo>
                    <a:cubicBezTo>
                      <a:pt x="320" y="146"/>
                      <a:pt x="322" y="145"/>
                      <a:pt x="323" y="144"/>
                    </a:cubicBezTo>
                    <a:cubicBezTo>
                      <a:pt x="324" y="144"/>
                      <a:pt x="325" y="144"/>
                      <a:pt x="325" y="143"/>
                    </a:cubicBezTo>
                    <a:cubicBezTo>
                      <a:pt x="327" y="142"/>
                      <a:pt x="329" y="141"/>
                      <a:pt x="330" y="139"/>
                    </a:cubicBezTo>
                    <a:cubicBezTo>
                      <a:pt x="326" y="138"/>
                      <a:pt x="326" y="138"/>
                      <a:pt x="326" y="138"/>
                    </a:cubicBezTo>
                    <a:cubicBezTo>
                      <a:pt x="330" y="133"/>
                      <a:pt x="330" y="133"/>
                      <a:pt x="330" y="133"/>
                    </a:cubicBezTo>
                    <a:cubicBezTo>
                      <a:pt x="332" y="131"/>
                      <a:pt x="333" y="129"/>
                      <a:pt x="336" y="128"/>
                    </a:cubicBezTo>
                    <a:cubicBezTo>
                      <a:pt x="337" y="128"/>
                      <a:pt x="337" y="128"/>
                      <a:pt x="337" y="128"/>
                    </a:cubicBezTo>
                    <a:cubicBezTo>
                      <a:pt x="339" y="128"/>
                      <a:pt x="341" y="129"/>
                      <a:pt x="342" y="130"/>
                    </a:cubicBezTo>
                    <a:cubicBezTo>
                      <a:pt x="343" y="130"/>
                      <a:pt x="343" y="130"/>
                      <a:pt x="343" y="130"/>
                    </a:cubicBezTo>
                    <a:cubicBezTo>
                      <a:pt x="344" y="131"/>
                      <a:pt x="344" y="131"/>
                      <a:pt x="344" y="131"/>
                    </a:cubicBezTo>
                    <a:cubicBezTo>
                      <a:pt x="344" y="130"/>
                      <a:pt x="344" y="130"/>
                      <a:pt x="344" y="130"/>
                    </a:cubicBezTo>
                    <a:cubicBezTo>
                      <a:pt x="344" y="130"/>
                      <a:pt x="344" y="130"/>
                      <a:pt x="344" y="130"/>
                    </a:cubicBezTo>
                    <a:cubicBezTo>
                      <a:pt x="345" y="130"/>
                      <a:pt x="345" y="130"/>
                      <a:pt x="346" y="130"/>
                    </a:cubicBezTo>
                    <a:cubicBezTo>
                      <a:pt x="346" y="130"/>
                      <a:pt x="346" y="130"/>
                      <a:pt x="346" y="130"/>
                    </a:cubicBezTo>
                    <a:cubicBezTo>
                      <a:pt x="347" y="129"/>
                      <a:pt x="347" y="128"/>
                      <a:pt x="347" y="127"/>
                    </a:cubicBezTo>
                    <a:cubicBezTo>
                      <a:pt x="347" y="126"/>
                      <a:pt x="347" y="126"/>
                      <a:pt x="347" y="126"/>
                    </a:cubicBezTo>
                    <a:cubicBezTo>
                      <a:pt x="348" y="126"/>
                      <a:pt x="348" y="126"/>
                      <a:pt x="348" y="126"/>
                    </a:cubicBezTo>
                    <a:cubicBezTo>
                      <a:pt x="348" y="125"/>
                      <a:pt x="347" y="124"/>
                      <a:pt x="347" y="123"/>
                    </a:cubicBezTo>
                    <a:cubicBezTo>
                      <a:pt x="347" y="122"/>
                      <a:pt x="347" y="120"/>
                      <a:pt x="347" y="119"/>
                    </a:cubicBezTo>
                    <a:cubicBezTo>
                      <a:pt x="347" y="118"/>
                      <a:pt x="347" y="117"/>
                      <a:pt x="347" y="116"/>
                    </a:cubicBezTo>
                    <a:cubicBezTo>
                      <a:pt x="347" y="114"/>
                      <a:pt x="347" y="114"/>
                      <a:pt x="347" y="114"/>
                    </a:cubicBezTo>
                    <a:cubicBezTo>
                      <a:pt x="347" y="114"/>
                      <a:pt x="347" y="114"/>
                      <a:pt x="347" y="114"/>
                    </a:cubicBezTo>
                    <a:cubicBezTo>
                      <a:pt x="347" y="113"/>
                      <a:pt x="347" y="113"/>
                      <a:pt x="347" y="112"/>
                    </a:cubicBezTo>
                    <a:cubicBezTo>
                      <a:pt x="347" y="112"/>
                      <a:pt x="347" y="112"/>
                      <a:pt x="347" y="112"/>
                    </a:cubicBezTo>
                    <a:cubicBezTo>
                      <a:pt x="348" y="111"/>
                      <a:pt x="348" y="110"/>
                      <a:pt x="348" y="109"/>
                    </a:cubicBezTo>
                    <a:cubicBezTo>
                      <a:pt x="348" y="108"/>
                      <a:pt x="348" y="107"/>
                      <a:pt x="349" y="107"/>
                    </a:cubicBezTo>
                    <a:cubicBezTo>
                      <a:pt x="350" y="105"/>
                      <a:pt x="351" y="103"/>
                      <a:pt x="353" y="100"/>
                    </a:cubicBezTo>
                    <a:cubicBezTo>
                      <a:pt x="353" y="99"/>
                      <a:pt x="353" y="99"/>
                      <a:pt x="353" y="99"/>
                    </a:cubicBezTo>
                    <a:cubicBezTo>
                      <a:pt x="353" y="99"/>
                      <a:pt x="353" y="99"/>
                      <a:pt x="353" y="99"/>
                    </a:cubicBezTo>
                    <a:cubicBezTo>
                      <a:pt x="357" y="91"/>
                      <a:pt x="359" y="86"/>
                      <a:pt x="364" y="80"/>
                    </a:cubicBezTo>
                    <a:cubicBezTo>
                      <a:pt x="363" y="79"/>
                      <a:pt x="363" y="79"/>
                      <a:pt x="363" y="79"/>
                    </a:cubicBezTo>
                    <a:cubicBezTo>
                      <a:pt x="362" y="79"/>
                      <a:pt x="361" y="79"/>
                      <a:pt x="360" y="79"/>
                    </a:cubicBezTo>
                    <a:cubicBezTo>
                      <a:pt x="360" y="79"/>
                      <a:pt x="359" y="78"/>
                      <a:pt x="359" y="78"/>
                    </a:cubicBezTo>
                    <a:cubicBezTo>
                      <a:pt x="358" y="78"/>
                      <a:pt x="358" y="79"/>
                      <a:pt x="357" y="79"/>
                    </a:cubicBezTo>
                    <a:cubicBezTo>
                      <a:pt x="356" y="79"/>
                      <a:pt x="356" y="79"/>
                      <a:pt x="356" y="79"/>
                    </a:cubicBezTo>
                    <a:cubicBezTo>
                      <a:pt x="355" y="79"/>
                      <a:pt x="355" y="79"/>
                      <a:pt x="355" y="79"/>
                    </a:cubicBezTo>
                    <a:cubicBezTo>
                      <a:pt x="355" y="79"/>
                      <a:pt x="355" y="79"/>
                      <a:pt x="355" y="79"/>
                    </a:cubicBezTo>
                    <a:cubicBezTo>
                      <a:pt x="354" y="79"/>
                      <a:pt x="354" y="78"/>
                      <a:pt x="353" y="78"/>
                    </a:cubicBezTo>
                    <a:cubicBezTo>
                      <a:pt x="353" y="78"/>
                      <a:pt x="353" y="78"/>
                      <a:pt x="353" y="78"/>
                    </a:cubicBezTo>
                    <a:cubicBezTo>
                      <a:pt x="352" y="78"/>
                      <a:pt x="352" y="78"/>
                      <a:pt x="351" y="78"/>
                    </a:cubicBezTo>
                    <a:cubicBezTo>
                      <a:pt x="350" y="77"/>
                      <a:pt x="350" y="77"/>
                      <a:pt x="349" y="76"/>
                    </a:cubicBezTo>
                    <a:cubicBezTo>
                      <a:pt x="348" y="75"/>
                      <a:pt x="346" y="74"/>
                      <a:pt x="345" y="74"/>
                    </a:cubicBezTo>
                    <a:cubicBezTo>
                      <a:pt x="345" y="74"/>
                      <a:pt x="345" y="74"/>
                      <a:pt x="345" y="74"/>
                    </a:cubicBezTo>
                    <a:cubicBezTo>
                      <a:pt x="342" y="74"/>
                      <a:pt x="342" y="74"/>
                      <a:pt x="342" y="74"/>
                    </a:cubicBezTo>
                    <a:cubicBezTo>
                      <a:pt x="341" y="74"/>
                      <a:pt x="341" y="74"/>
                      <a:pt x="340" y="75"/>
                    </a:cubicBezTo>
                    <a:cubicBezTo>
                      <a:pt x="339" y="75"/>
                      <a:pt x="339" y="75"/>
                      <a:pt x="339" y="75"/>
                    </a:cubicBezTo>
                    <a:cubicBezTo>
                      <a:pt x="339" y="75"/>
                      <a:pt x="339" y="75"/>
                      <a:pt x="338" y="75"/>
                    </a:cubicBezTo>
                    <a:cubicBezTo>
                      <a:pt x="337" y="75"/>
                      <a:pt x="335" y="74"/>
                      <a:pt x="334" y="74"/>
                    </a:cubicBezTo>
                    <a:cubicBezTo>
                      <a:pt x="333" y="74"/>
                      <a:pt x="333" y="74"/>
                      <a:pt x="332" y="74"/>
                    </a:cubicBezTo>
                    <a:cubicBezTo>
                      <a:pt x="332" y="73"/>
                      <a:pt x="332" y="73"/>
                      <a:pt x="332" y="73"/>
                    </a:cubicBezTo>
                    <a:cubicBezTo>
                      <a:pt x="329" y="73"/>
                      <a:pt x="326" y="72"/>
                      <a:pt x="323" y="69"/>
                    </a:cubicBezTo>
                    <a:cubicBezTo>
                      <a:pt x="323" y="68"/>
                      <a:pt x="323" y="68"/>
                      <a:pt x="323" y="68"/>
                    </a:cubicBezTo>
                    <a:cubicBezTo>
                      <a:pt x="322" y="68"/>
                      <a:pt x="322" y="67"/>
                      <a:pt x="321" y="66"/>
                    </a:cubicBezTo>
                    <a:cubicBezTo>
                      <a:pt x="320" y="66"/>
                      <a:pt x="320" y="66"/>
                      <a:pt x="320" y="66"/>
                    </a:cubicBezTo>
                    <a:cubicBezTo>
                      <a:pt x="320" y="66"/>
                      <a:pt x="320" y="66"/>
                      <a:pt x="320" y="66"/>
                    </a:cubicBezTo>
                    <a:cubicBezTo>
                      <a:pt x="314" y="62"/>
                      <a:pt x="314" y="62"/>
                      <a:pt x="314" y="62"/>
                    </a:cubicBezTo>
                    <a:cubicBezTo>
                      <a:pt x="313" y="62"/>
                      <a:pt x="313" y="62"/>
                      <a:pt x="312" y="62"/>
                    </a:cubicBezTo>
                    <a:cubicBezTo>
                      <a:pt x="312" y="62"/>
                      <a:pt x="311" y="62"/>
                      <a:pt x="311" y="62"/>
                    </a:cubicBezTo>
                    <a:cubicBezTo>
                      <a:pt x="309" y="62"/>
                      <a:pt x="309" y="62"/>
                      <a:pt x="309" y="62"/>
                    </a:cubicBezTo>
                    <a:cubicBezTo>
                      <a:pt x="307" y="61"/>
                      <a:pt x="305" y="61"/>
                      <a:pt x="303" y="61"/>
                    </a:cubicBezTo>
                    <a:cubicBezTo>
                      <a:pt x="301" y="60"/>
                      <a:pt x="301" y="60"/>
                      <a:pt x="301" y="60"/>
                    </a:cubicBezTo>
                    <a:cubicBezTo>
                      <a:pt x="301" y="60"/>
                      <a:pt x="301" y="60"/>
                      <a:pt x="301" y="60"/>
                    </a:cubicBezTo>
                    <a:cubicBezTo>
                      <a:pt x="301" y="60"/>
                      <a:pt x="301" y="60"/>
                      <a:pt x="301" y="60"/>
                    </a:cubicBezTo>
                    <a:cubicBezTo>
                      <a:pt x="300" y="60"/>
                      <a:pt x="300" y="60"/>
                      <a:pt x="300" y="60"/>
                    </a:cubicBezTo>
                    <a:cubicBezTo>
                      <a:pt x="299" y="60"/>
                      <a:pt x="297" y="60"/>
                      <a:pt x="296" y="61"/>
                    </a:cubicBezTo>
                    <a:cubicBezTo>
                      <a:pt x="295" y="61"/>
                      <a:pt x="295" y="61"/>
                      <a:pt x="295" y="61"/>
                    </a:cubicBezTo>
                    <a:cubicBezTo>
                      <a:pt x="294" y="61"/>
                      <a:pt x="294" y="61"/>
                      <a:pt x="293" y="61"/>
                    </a:cubicBezTo>
                    <a:cubicBezTo>
                      <a:pt x="293" y="61"/>
                      <a:pt x="293" y="61"/>
                      <a:pt x="293" y="61"/>
                    </a:cubicBezTo>
                    <a:cubicBezTo>
                      <a:pt x="292" y="61"/>
                      <a:pt x="292" y="61"/>
                      <a:pt x="292" y="61"/>
                    </a:cubicBezTo>
                    <a:cubicBezTo>
                      <a:pt x="289" y="60"/>
                      <a:pt x="289" y="59"/>
                      <a:pt x="288" y="58"/>
                    </a:cubicBezTo>
                    <a:cubicBezTo>
                      <a:pt x="288" y="57"/>
                      <a:pt x="288" y="57"/>
                      <a:pt x="287" y="56"/>
                    </a:cubicBezTo>
                    <a:cubicBezTo>
                      <a:pt x="286" y="55"/>
                      <a:pt x="281" y="52"/>
                      <a:pt x="278" y="51"/>
                    </a:cubicBezTo>
                    <a:cubicBezTo>
                      <a:pt x="277" y="51"/>
                      <a:pt x="277" y="51"/>
                      <a:pt x="277" y="51"/>
                    </a:cubicBezTo>
                    <a:cubicBezTo>
                      <a:pt x="276" y="51"/>
                      <a:pt x="276" y="51"/>
                      <a:pt x="276" y="51"/>
                    </a:cubicBezTo>
                    <a:cubicBezTo>
                      <a:pt x="276" y="51"/>
                      <a:pt x="276" y="51"/>
                      <a:pt x="276" y="51"/>
                    </a:cubicBezTo>
                    <a:cubicBezTo>
                      <a:pt x="275" y="51"/>
                      <a:pt x="274" y="51"/>
                      <a:pt x="273" y="50"/>
                    </a:cubicBezTo>
                    <a:cubicBezTo>
                      <a:pt x="271" y="48"/>
                      <a:pt x="270" y="45"/>
                      <a:pt x="270" y="41"/>
                    </a:cubicBezTo>
                    <a:cubicBezTo>
                      <a:pt x="267" y="43"/>
                      <a:pt x="263" y="45"/>
                      <a:pt x="259" y="45"/>
                    </a:cubicBezTo>
                    <a:cubicBezTo>
                      <a:pt x="257" y="45"/>
                      <a:pt x="255" y="45"/>
                      <a:pt x="253" y="44"/>
                    </a:cubicBezTo>
                    <a:cubicBezTo>
                      <a:pt x="249" y="42"/>
                      <a:pt x="249" y="42"/>
                      <a:pt x="249" y="42"/>
                    </a:cubicBezTo>
                    <a:cubicBezTo>
                      <a:pt x="251" y="39"/>
                      <a:pt x="251" y="39"/>
                      <a:pt x="251" y="39"/>
                    </a:cubicBezTo>
                    <a:cubicBezTo>
                      <a:pt x="251" y="38"/>
                      <a:pt x="252" y="38"/>
                      <a:pt x="252" y="37"/>
                    </a:cubicBezTo>
                    <a:cubicBezTo>
                      <a:pt x="252" y="36"/>
                      <a:pt x="252" y="36"/>
                      <a:pt x="252" y="36"/>
                    </a:cubicBezTo>
                    <a:cubicBezTo>
                      <a:pt x="252" y="36"/>
                      <a:pt x="252" y="35"/>
                      <a:pt x="252" y="34"/>
                    </a:cubicBezTo>
                    <a:cubicBezTo>
                      <a:pt x="252" y="32"/>
                      <a:pt x="252" y="32"/>
                      <a:pt x="252" y="32"/>
                    </a:cubicBezTo>
                    <a:cubicBezTo>
                      <a:pt x="252" y="32"/>
                      <a:pt x="252" y="32"/>
                      <a:pt x="252" y="32"/>
                    </a:cubicBezTo>
                    <a:cubicBezTo>
                      <a:pt x="250" y="31"/>
                      <a:pt x="249" y="30"/>
                      <a:pt x="247" y="30"/>
                    </a:cubicBezTo>
                    <a:cubicBezTo>
                      <a:pt x="246" y="30"/>
                      <a:pt x="246" y="30"/>
                      <a:pt x="246" y="30"/>
                    </a:cubicBezTo>
                    <a:cubicBezTo>
                      <a:pt x="245" y="30"/>
                      <a:pt x="245" y="31"/>
                      <a:pt x="244" y="31"/>
                    </a:cubicBezTo>
                    <a:cubicBezTo>
                      <a:pt x="240" y="34"/>
                      <a:pt x="240" y="34"/>
                      <a:pt x="240" y="34"/>
                    </a:cubicBezTo>
                    <a:cubicBezTo>
                      <a:pt x="239" y="30"/>
                      <a:pt x="239" y="30"/>
                      <a:pt x="239" y="30"/>
                    </a:cubicBezTo>
                    <a:cubicBezTo>
                      <a:pt x="238" y="29"/>
                      <a:pt x="238" y="28"/>
                      <a:pt x="238" y="27"/>
                    </a:cubicBezTo>
                    <a:cubicBezTo>
                      <a:pt x="238" y="26"/>
                      <a:pt x="238" y="25"/>
                      <a:pt x="237" y="25"/>
                    </a:cubicBezTo>
                    <a:cubicBezTo>
                      <a:pt x="236" y="25"/>
                      <a:pt x="236" y="25"/>
                      <a:pt x="236" y="25"/>
                    </a:cubicBezTo>
                    <a:cubicBezTo>
                      <a:pt x="236" y="25"/>
                      <a:pt x="236" y="25"/>
                      <a:pt x="235" y="25"/>
                    </a:cubicBezTo>
                    <a:cubicBezTo>
                      <a:pt x="235" y="25"/>
                      <a:pt x="235" y="25"/>
                      <a:pt x="235" y="25"/>
                    </a:cubicBezTo>
                    <a:cubicBezTo>
                      <a:pt x="233" y="25"/>
                      <a:pt x="232" y="25"/>
                      <a:pt x="232" y="24"/>
                    </a:cubicBezTo>
                    <a:cubicBezTo>
                      <a:pt x="231" y="24"/>
                      <a:pt x="230" y="24"/>
                      <a:pt x="230" y="24"/>
                    </a:cubicBezTo>
                    <a:cubicBezTo>
                      <a:pt x="229" y="23"/>
                      <a:pt x="229" y="23"/>
                      <a:pt x="229" y="23"/>
                    </a:cubicBezTo>
                    <a:cubicBezTo>
                      <a:pt x="227" y="22"/>
                      <a:pt x="226" y="19"/>
                      <a:pt x="226" y="17"/>
                    </a:cubicBezTo>
                    <a:cubicBezTo>
                      <a:pt x="225" y="16"/>
                      <a:pt x="225" y="16"/>
                      <a:pt x="225" y="16"/>
                    </a:cubicBezTo>
                    <a:cubicBezTo>
                      <a:pt x="225" y="15"/>
                      <a:pt x="225" y="15"/>
                      <a:pt x="225" y="15"/>
                    </a:cubicBezTo>
                    <a:cubicBezTo>
                      <a:pt x="225" y="14"/>
                      <a:pt x="225" y="14"/>
                      <a:pt x="225" y="14"/>
                    </a:cubicBezTo>
                    <a:cubicBezTo>
                      <a:pt x="224" y="14"/>
                      <a:pt x="224" y="14"/>
                      <a:pt x="224" y="14"/>
                    </a:cubicBezTo>
                    <a:cubicBezTo>
                      <a:pt x="223" y="15"/>
                      <a:pt x="222" y="15"/>
                      <a:pt x="221" y="16"/>
                    </a:cubicBezTo>
                    <a:cubicBezTo>
                      <a:pt x="220" y="16"/>
                      <a:pt x="220" y="16"/>
                      <a:pt x="220" y="16"/>
                    </a:cubicBezTo>
                    <a:cubicBezTo>
                      <a:pt x="219" y="16"/>
                      <a:pt x="219" y="17"/>
                      <a:pt x="218" y="17"/>
                    </a:cubicBezTo>
                    <a:cubicBezTo>
                      <a:pt x="217" y="17"/>
                      <a:pt x="216" y="16"/>
                      <a:pt x="215" y="16"/>
                    </a:cubicBezTo>
                    <a:cubicBezTo>
                      <a:pt x="215" y="15"/>
                      <a:pt x="215" y="15"/>
                      <a:pt x="215" y="15"/>
                    </a:cubicBezTo>
                    <a:cubicBezTo>
                      <a:pt x="214" y="15"/>
                      <a:pt x="213" y="13"/>
                      <a:pt x="212" y="12"/>
                    </a:cubicBezTo>
                    <a:cubicBezTo>
                      <a:pt x="211" y="12"/>
                      <a:pt x="211" y="12"/>
                      <a:pt x="211" y="12"/>
                    </a:cubicBezTo>
                    <a:cubicBezTo>
                      <a:pt x="211" y="11"/>
                      <a:pt x="211" y="11"/>
                      <a:pt x="211" y="11"/>
                    </a:cubicBezTo>
                    <a:cubicBezTo>
                      <a:pt x="210" y="10"/>
                      <a:pt x="208" y="8"/>
                      <a:pt x="206" y="5"/>
                    </a:cubicBezTo>
                    <a:cubicBezTo>
                      <a:pt x="206" y="3"/>
                      <a:pt x="205" y="1"/>
                      <a:pt x="20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41" name="Freeform 269">
                <a:extLst>
                  <a:ext uri="{FF2B5EF4-FFF2-40B4-BE49-F238E27FC236}">
                    <a16:creationId xmlns:a16="http://schemas.microsoft.com/office/drawing/2014/main" id="{54386508-795B-4EF4-B391-98538C651E8E}"/>
                  </a:ext>
                </a:extLst>
              </p:cNvPr>
              <p:cNvSpPr>
                <a:spLocks/>
              </p:cNvSpPr>
              <p:nvPr/>
            </p:nvSpPr>
            <p:spPr bwMode="auto">
              <a:xfrm>
                <a:off x="4595340" y="3828836"/>
                <a:ext cx="324290" cy="210052"/>
              </a:xfrm>
              <a:custGeom>
                <a:avLst/>
                <a:gdLst>
                  <a:gd name="T0" fmla="*/ 60 w 102"/>
                  <a:gd name="T1" fmla="*/ 0 h 66"/>
                  <a:gd name="T2" fmla="*/ 55 w 102"/>
                  <a:gd name="T3" fmla="*/ 1 h 66"/>
                  <a:gd name="T4" fmla="*/ 53 w 102"/>
                  <a:gd name="T5" fmla="*/ 0 h 66"/>
                  <a:gd name="T6" fmla="*/ 48 w 102"/>
                  <a:gd name="T7" fmla="*/ 4 h 66"/>
                  <a:gd name="T8" fmla="*/ 47 w 102"/>
                  <a:gd name="T9" fmla="*/ 4 h 66"/>
                  <a:gd name="T10" fmla="*/ 46 w 102"/>
                  <a:gd name="T11" fmla="*/ 3 h 66"/>
                  <a:gd name="T12" fmla="*/ 46 w 102"/>
                  <a:gd name="T13" fmla="*/ 4 h 66"/>
                  <a:gd name="T14" fmla="*/ 45 w 102"/>
                  <a:gd name="T15" fmla="*/ 4 h 66"/>
                  <a:gd name="T16" fmla="*/ 44 w 102"/>
                  <a:gd name="T17" fmla="*/ 4 h 66"/>
                  <a:gd name="T18" fmla="*/ 43 w 102"/>
                  <a:gd name="T19" fmla="*/ 2 h 66"/>
                  <a:gd name="T20" fmla="*/ 20 w 102"/>
                  <a:gd name="T21" fmla="*/ 0 h 66"/>
                  <a:gd name="T22" fmla="*/ 20 w 102"/>
                  <a:gd name="T23" fmla="*/ 0 h 66"/>
                  <a:gd name="T24" fmla="*/ 0 w 102"/>
                  <a:gd name="T25" fmla="*/ 13 h 66"/>
                  <a:gd name="T26" fmla="*/ 4 w 102"/>
                  <a:gd name="T27" fmla="*/ 18 h 66"/>
                  <a:gd name="T28" fmla="*/ 6 w 102"/>
                  <a:gd name="T29" fmla="*/ 21 h 66"/>
                  <a:gd name="T30" fmla="*/ 11 w 102"/>
                  <a:gd name="T31" fmla="*/ 19 h 66"/>
                  <a:gd name="T32" fmla="*/ 19 w 102"/>
                  <a:gd name="T33" fmla="*/ 23 h 66"/>
                  <a:gd name="T34" fmla="*/ 20 w 102"/>
                  <a:gd name="T35" fmla="*/ 27 h 66"/>
                  <a:gd name="T36" fmla="*/ 21 w 102"/>
                  <a:gd name="T37" fmla="*/ 30 h 66"/>
                  <a:gd name="T38" fmla="*/ 25 w 102"/>
                  <a:gd name="T39" fmla="*/ 30 h 66"/>
                  <a:gd name="T40" fmla="*/ 26 w 102"/>
                  <a:gd name="T41" fmla="*/ 30 h 66"/>
                  <a:gd name="T42" fmla="*/ 32 w 102"/>
                  <a:gd name="T43" fmla="*/ 35 h 66"/>
                  <a:gd name="T44" fmla="*/ 35 w 102"/>
                  <a:gd name="T45" fmla="*/ 35 h 66"/>
                  <a:gd name="T46" fmla="*/ 50 w 102"/>
                  <a:gd name="T47" fmla="*/ 43 h 66"/>
                  <a:gd name="T48" fmla="*/ 47 w 102"/>
                  <a:gd name="T49" fmla="*/ 49 h 66"/>
                  <a:gd name="T50" fmla="*/ 47 w 102"/>
                  <a:gd name="T51" fmla="*/ 50 h 66"/>
                  <a:gd name="T52" fmla="*/ 56 w 102"/>
                  <a:gd name="T53" fmla="*/ 45 h 66"/>
                  <a:gd name="T54" fmla="*/ 63 w 102"/>
                  <a:gd name="T55" fmla="*/ 40 h 66"/>
                  <a:gd name="T56" fmla="*/ 64 w 102"/>
                  <a:gd name="T57" fmla="*/ 48 h 66"/>
                  <a:gd name="T58" fmla="*/ 65 w 102"/>
                  <a:gd name="T59" fmla="*/ 56 h 66"/>
                  <a:gd name="T60" fmla="*/ 69 w 102"/>
                  <a:gd name="T61" fmla="*/ 57 h 66"/>
                  <a:gd name="T62" fmla="*/ 82 w 102"/>
                  <a:gd name="T63" fmla="*/ 66 h 66"/>
                  <a:gd name="T64" fmla="*/ 87 w 102"/>
                  <a:gd name="T65" fmla="*/ 65 h 66"/>
                  <a:gd name="T66" fmla="*/ 88 w 102"/>
                  <a:gd name="T67" fmla="*/ 64 h 66"/>
                  <a:gd name="T68" fmla="*/ 85 w 102"/>
                  <a:gd name="T69" fmla="*/ 55 h 66"/>
                  <a:gd name="T70" fmla="*/ 89 w 102"/>
                  <a:gd name="T71" fmla="*/ 46 h 66"/>
                  <a:gd name="T72" fmla="*/ 88 w 102"/>
                  <a:gd name="T73" fmla="*/ 40 h 66"/>
                  <a:gd name="T74" fmla="*/ 95 w 102"/>
                  <a:gd name="T75" fmla="*/ 41 h 66"/>
                  <a:gd name="T76" fmla="*/ 98 w 102"/>
                  <a:gd name="T77" fmla="*/ 42 h 66"/>
                  <a:gd name="T78" fmla="*/ 99 w 102"/>
                  <a:gd name="T79" fmla="*/ 42 h 66"/>
                  <a:gd name="T80" fmla="*/ 100 w 102"/>
                  <a:gd name="T81" fmla="*/ 41 h 66"/>
                  <a:gd name="T82" fmla="*/ 102 w 102"/>
                  <a:gd name="T83" fmla="*/ 39 h 66"/>
                  <a:gd name="T84" fmla="*/ 96 w 102"/>
                  <a:gd name="T85" fmla="*/ 30 h 66"/>
                  <a:gd name="T86" fmla="*/ 95 w 102"/>
                  <a:gd name="T87" fmla="*/ 29 h 66"/>
                  <a:gd name="T88" fmla="*/ 94 w 102"/>
                  <a:gd name="T89" fmla="*/ 28 h 66"/>
                  <a:gd name="T90" fmla="*/ 92 w 102"/>
                  <a:gd name="T91" fmla="*/ 27 h 66"/>
                  <a:gd name="T92" fmla="*/ 89 w 102"/>
                  <a:gd name="T93" fmla="*/ 27 h 66"/>
                  <a:gd name="T94" fmla="*/ 82 w 102"/>
                  <a:gd name="T95" fmla="*/ 28 h 66"/>
                  <a:gd name="T96" fmla="*/ 86 w 102"/>
                  <a:gd name="T97" fmla="*/ 11 h 66"/>
                  <a:gd name="T98" fmla="*/ 85 w 102"/>
                  <a:gd name="T99" fmla="*/ 11 h 66"/>
                  <a:gd name="T100" fmla="*/ 80 w 102"/>
                  <a:gd name="T101" fmla="*/ 8 h 66"/>
                  <a:gd name="T102" fmla="*/ 77 w 102"/>
                  <a:gd name="T103" fmla="*/ 8 h 66"/>
                  <a:gd name="T104" fmla="*/ 76 w 102"/>
                  <a:gd name="T105" fmla="*/ 8 h 66"/>
                  <a:gd name="T106" fmla="*/ 74 w 102"/>
                  <a:gd name="T107" fmla="*/ 8 h 66"/>
                  <a:gd name="T108" fmla="*/ 67 w 102"/>
                  <a:gd name="T109" fmla="*/ 3 h 66"/>
                  <a:gd name="T110" fmla="*/ 62 w 102"/>
                  <a:gd name="T11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2" h="66">
                    <a:moveTo>
                      <a:pt x="61" y="0"/>
                    </a:moveTo>
                    <a:cubicBezTo>
                      <a:pt x="60" y="0"/>
                      <a:pt x="60" y="0"/>
                      <a:pt x="60" y="0"/>
                    </a:cubicBezTo>
                    <a:cubicBezTo>
                      <a:pt x="59" y="1"/>
                      <a:pt x="58" y="2"/>
                      <a:pt x="57" y="2"/>
                    </a:cubicBezTo>
                    <a:cubicBezTo>
                      <a:pt x="56" y="2"/>
                      <a:pt x="55" y="1"/>
                      <a:pt x="55" y="1"/>
                    </a:cubicBezTo>
                    <a:cubicBezTo>
                      <a:pt x="54" y="1"/>
                      <a:pt x="54" y="1"/>
                      <a:pt x="54" y="1"/>
                    </a:cubicBezTo>
                    <a:cubicBezTo>
                      <a:pt x="54" y="0"/>
                      <a:pt x="53" y="0"/>
                      <a:pt x="53" y="0"/>
                    </a:cubicBezTo>
                    <a:cubicBezTo>
                      <a:pt x="52" y="1"/>
                      <a:pt x="52" y="1"/>
                      <a:pt x="52" y="1"/>
                    </a:cubicBezTo>
                    <a:cubicBezTo>
                      <a:pt x="51" y="2"/>
                      <a:pt x="50" y="3"/>
                      <a:pt x="48" y="4"/>
                    </a:cubicBezTo>
                    <a:cubicBezTo>
                      <a:pt x="47" y="4"/>
                      <a:pt x="47" y="4"/>
                      <a:pt x="47" y="4"/>
                    </a:cubicBezTo>
                    <a:cubicBezTo>
                      <a:pt x="47" y="4"/>
                      <a:pt x="47" y="4"/>
                      <a:pt x="47" y="4"/>
                    </a:cubicBezTo>
                    <a:cubicBezTo>
                      <a:pt x="47" y="4"/>
                      <a:pt x="46" y="4"/>
                      <a:pt x="46" y="4"/>
                    </a:cubicBezTo>
                    <a:cubicBezTo>
                      <a:pt x="46" y="3"/>
                      <a:pt x="46" y="3"/>
                      <a:pt x="46" y="3"/>
                    </a:cubicBezTo>
                    <a:cubicBezTo>
                      <a:pt x="45" y="3"/>
                      <a:pt x="45" y="3"/>
                      <a:pt x="45" y="3"/>
                    </a:cubicBezTo>
                    <a:cubicBezTo>
                      <a:pt x="46" y="3"/>
                      <a:pt x="46" y="4"/>
                      <a:pt x="46" y="4"/>
                    </a:cubicBezTo>
                    <a:cubicBezTo>
                      <a:pt x="46" y="4"/>
                      <a:pt x="46" y="4"/>
                      <a:pt x="46" y="4"/>
                    </a:cubicBezTo>
                    <a:cubicBezTo>
                      <a:pt x="45" y="4"/>
                      <a:pt x="45" y="4"/>
                      <a:pt x="45" y="4"/>
                    </a:cubicBezTo>
                    <a:cubicBezTo>
                      <a:pt x="44" y="4"/>
                      <a:pt x="44" y="4"/>
                      <a:pt x="44" y="4"/>
                    </a:cubicBezTo>
                    <a:cubicBezTo>
                      <a:pt x="44" y="4"/>
                      <a:pt x="44" y="4"/>
                      <a:pt x="44" y="4"/>
                    </a:cubicBezTo>
                    <a:cubicBezTo>
                      <a:pt x="43" y="3"/>
                      <a:pt x="43" y="3"/>
                      <a:pt x="43" y="3"/>
                    </a:cubicBezTo>
                    <a:cubicBezTo>
                      <a:pt x="43" y="2"/>
                      <a:pt x="43" y="2"/>
                      <a:pt x="43" y="2"/>
                    </a:cubicBezTo>
                    <a:cubicBezTo>
                      <a:pt x="43" y="1"/>
                      <a:pt x="43" y="1"/>
                      <a:pt x="43" y="1"/>
                    </a:cubicBezTo>
                    <a:cubicBezTo>
                      <a:pt x="36" y="1"/>
                      <a:pt x="28" y="0"/>
                      <a:pt x="20" y="0"/>
                    </a:cubicBezTo>
                    <a:cubicBezTo>
                      <a:pt x="20" y="1"/>
                      <a:pt x="20" y="1"/>
                      <a:pt x="20" y="2"/>
                    </a:cubicBezTo>
                    <a:cubicBezTo>
                      <a:pt x="20" y="1"/>
                      <a:pt x="20" y="1"/>
                      <a:pt x="20" y="0"/>
                    </a:cubicBezTo>
                    <a:cubicBezTo>
                      <a:pt x="13" y="2"/>
                      <a:pt x="6" y="6"/>
                      <a:pt x="0" y="9"/>
                    </a:cubicBezTo>
                    <a:cubicBezTo>
                      <a:pt x="0" y="13"/>
                      <a:pt x="0" y="13"/>
                      <a:pt x="0" y="13"/>
                    </a:cubicBezTo>
                    <a:cubicBezTo>
                      <a:pt x="0" y="13"/>
                      <a:pt x="1" y="14"/>
                      <a:pt x="1" y="14"/>
                    </a:cubicBezTo>
                    <a:cubicBezTo>
                      <a:pt x="2" y="16"/>
                      <a:pt x="4" y="18"/>
                      <a:pt x="4" y="18"/>
                    </a:cubicBezTo>
                    <a:cubicBezTo>
                      <a:pt x="5" y="19"/>
                      <a:pt x="5" y="19"/>
                      <a:pt x="5" y="19"/>
                    </a:cubicBezTo>
                    <a:cubicBezTo>
                      <a:pt x="5" y="20"/>
                      <a:pt x="6" y="21"/>
                      <a:pt x="6" y="21"/>
                    </a:cubicBezTo>
                    <a:cubicBezTo>
                      <a:pt x="7" y="21"/>
                      <a:pt x="9" y="20"/>
                      <a:pt x="10" y="20"/>
                    </a:cubicBezTo>
                    <a:cubicBezTo>
                      <a:pt x="10" y="20"/>
                      <a:pt x="11" y="19"/>
                      <a:pt x="11" y="19"/>
                    </a:cubicBezTo>
                    <a:cubicBezTo>
                      <a:pt x="12" y="19"/>
                      <a:pt x="12" y="19"/>
                      <a:pt x="13" y="19"/>
                    </a:cubicBezTo>
                    <a:cubicBezTo>
                      <a:pt x="15" y="19"/>
                      <a:pt x="17" y="20"/>
                      <a:pt x="19" y="23"/>
                    </a:cubicBezTo>
                    <a:cubicBezTo>
                      <a:pt x="19" y="23"/>
                      <a:pt x="20" y="24"/>
                      <a:pt x="20" y="26"/>
                    </a:cubicBezTo>
                    <a:cubicBezTo>
                      <a:pt x="20" y="27"/>
                      <a:pt x="20" y="27"/>
                      <a:pt x="20" y="27"/>
                    </a:cubicBezTo>
                    <a:cubicBezTo>
                      <a:pt x="21" y="28"/>
                      <a:pt x="21" y="29"/>
                      <a:pt x="21" y="30"/>
                    </a:cubicBezTo>
                    <a:cubicBezTo>
                      <a:pt x="21" y="30"/>
                      <a:pt x="21" y="30"/>
                      <a:pt x="21" y="30"/>
                    </a:cubicBezTo>
                    <a:cubicBezTo>
                      <a:pt x="22" y="30"/>
                      <a:pt x="22" y="30"/>
                      <a:pt x="23" y="30"/>
                    </a:cubicBezTo>
                    <a:cubicBezTo>
                      <a:pt x="24" y="30"/>
                      <a:pt x="24" y="30"/>
                      <a:pt x="25" y="30"/>
                    </a:cubicBezTo>
                    <a:cubicBezTo>
                      <a:pt x="25" y="30"/>
                      <a:pt x="25" y="30"/>
                      <a:pt x="26" y="30"/>
                    </a:cubicBezTo>
                    <a:cubicBezTo>
                      <a:pt x="26" y="30"/>
                      <a:pt x="26" y="30"/>
                      <a:pt x="26" y="30"/>
                    </a:cubicBezTo>
                    <a:cubicBezTo>
                      <a:pt x="27" y="30"/>
                      <a:pt x="27" y="30"/>
                      <a:pt x="27" y="30"/>
                    </a:cubicBezTo>
                    <a:cubicBezTo>
                      <a:pt x="30" y="30"/>
                      <a:pt x="32" y="33"/>
                      <a:pt x="32" y="35"/>
                    </a:cubicBezTo>
                    <a:cubicBezTo>
                      <a:pt x="33" y="35"/>
                      <a:pt x="33" y="35"/>
                      <a:pt x="33" y="35"/>
                    </a:cubicBezTo>
                    <a:cubicBezTo>
                      <a:pt x="34" y="35"/>
                      <a:pt x="35" y="35"/>
                      <a:pt x="35" y="35"/>
                    </a:cubicBezTo>
                    <a:cubicBezTo>
                      <a:pt x="39" y="35"/>
                      <a:pt x="44" y="37"/>
                      <a:pt x="47" y="40"/>
                    </a:cubicBezTo>
                    <a:cubicBezTo>
                      <a:pt x="50" y="43"/>
                      <a:pt x="50" y="43"/>
                      <a:pt x="50" y="43"/>
                    </a:cubicBezTo>
                    <a:cubicBezTo>
                      <a:pt x="47" y="45"/>
                      <a:pt x="47" y="45"/>
                      <a:pt x="47" y="45"/>
                    </a:cubicBezTo>
                    <a:cubicBezTo>
                      <a:pt x="47" y="47"/>
                      <a:pt x="47" y="48"/>
                      <a:pt x="47" y="49"/>
                    </a:cubicBezTo>
                    <a:cubicBezTo>
                      <a:pt x="47" y="50"/>
                      <a:pt x="47" y="50"/>
                      <a:pt x="47" y="50"/>
                    </a:cubicBezTo>
                    <a:cubicBezTo>
                      <a:pt x="47" y="50"/>
                      <a:pt x="47" y="50"/>
                      <a:pt x="47" y="50"/>
                    </a:cubicBezTo>
                    <a:cubicBezTo>
                      <a:pt x="50" y="50"/>
                      <a:pt x="52" y="49"/>
                      <a:pt x="56" y="46"/>
                    </a:cubicBezTo>
                    <a:cubicBezTo>
                      <a:pt x="56" y="45"/>
                      <a:pt x="56" y="45"/>
                      <a:pt x="56" y="45"/>
                    </a:cubicBezTo>
                    <a:cubicBezTo>
                      <a:pt x="57" y="45"/>
                      <a:pt x="58" y="44"/>
                      <a:pt x="59" y="43"/>
                    </a:cubicBezTo>
                    <a:cubicBezTo>
                      <a:pt x="63" y="40"/>
                      <a:pt x="63" y="40"/>
                      <a:pt x="63" y="40"/>
                    </a:cubicBezTo>
                    <a:cubicBezTo>
                      <a:pt x="64" y="46"/>
                      <a:pt x="64" y="46"/>
                      <a:pt x="64" y="46"/>
                    </a:cubicBezTo>
                    <a:cubicBezTo>
                      <a:pt x="64" y="46"/>
                      <a:pt x="64" y="47"/>
                      <a:pt x="64" y="48"/>
                    </a:cubicBezTo>
                    <a:cubicBezTo>
                      <a:pt x="65" y="52"/>
                      <a:pt x="65" y="55"/>
                      <a:pt x="65" y="56"/>
                    </a:cubicBezTo>
                    <a:cubicBezTo>
                      <a:pt x="65" y="56"/>
                      <a:pt x="65" y="56"/>
                      <a:pt x="65" y="56"/>
                    </a:cubicBezTo>
                    <a:cubicBezTo>
                      <a:pt x="66" y="56"/>
                      <a:pt x="67" y="56"/>
                      <a:pt x="68" y="56"/>
                    </a:cubicBezTo>
                    <a:cubicBezTo>
                      <a:pt x="69" y="57"/>
                      <a:pt x="69" y="57"/>
                      <a:pt x="69" y="57"/>
                    </a:cubicBezTo>
                    <a:cubicBezTo>
                      <a:pt x="72" y="58"/>
                      <a:pt x="78" y="61"/>
                      <a:pt x="80" y="63"/>
                    </a:cubicBezTo>
                    <a:cubicBezTo>
                      <a:pt x="81" y="64"/>
                      <a:pt x="82" y="65"/>
                      <a:pt x="82" y="66"/>
                    </a:cubicBezTo>
                    <a:cubicBezTo>
                      <a:pt x="82" y="66"/>
                      <a:pt x="82" y="66"/>
                      <a:pt x="82" y="66"/>
                    </a:cubicBezTo>
                    <a:cubicBezTo>
                      <a:pt x="84" y="66"/>
                      <a:pt x="86" y="65"/>
                      <a:pt x="87" y="65"/>
                    </a:cubicBezTo>
                    <a:cubicBezTo>
                      <a:pt x="88" y="65"/>
                      <a:pt x="88" y="65"/>
                      <a:pt x="88" y="65"/>
                    </a:cubicBezTo>
                    <a:cubicBezTo>
                      <a:pt x="88" y="64"/>
                      <a:pt x="88" y="64"/>
                      <a:pt x="88" y="64"/>
                    </a:cubicBezTo>
                    <a:cubicBezTo>
                      <a:pt x="87" y="64"/>
                      <a:pt x="87" y="62"/>
                      <a:pt x="86" y="62"/>
                    </a:cubicBezTo>
                    <a:cubicBezTo>
                      <a:pt x="85" y="60"/>
                      <a:pt x="83" y="57"/>
                      <a:pt x="85" y="55"/>
                    </a:cubicBezTo>
                    <a:cubicBezTo>
                      <a:pt x="86" y="53"/>
                      <a:pt x="86" y="51"/>
                      <a:pt x="88" y="49"/>
                    </a:cubicBezTo>
                    <a:cubicBezTo>
                      <a:pt x="88" y="48"/>
                      <a:pt x="89" y="47"/>
                      <a:pt x="89" y="46"/>
                    </a:cubicBezTo>
                    <a:cubicBezTo>
                      <a:pt x="90" y="45"/>
                      <a:pt x="91" y="45"/>
                      <a:pt x="91" y="44"/>
                    </a:cubicBezTo>
                    <a:cubicBezTo>
                      <a:pt x="88" y="40"/>
                      <a:pt x="88" y="40"/>
                      <a:pt x="88" y="40"/>
                    </a:cubicBezTo>
                    <a:cubicBezTo>
                      <a:pt x="94" y="41"/>
                      <a:pt x="94" y="41"/>
                      <a:pt x="94" y="41"/>
                    </a:cubicBezTo>
                    <a:cubicBezTo>
                      <a:pt x="95" y="41"/>
                      <a:pt x="95" y="41"/>
                      <a:pt x="95" y="41"/>
                    </a:cubicBezTo>
                    <a:cubicBezTo>
                      <a:pt x="97" y="42"/>
                      <a:pt x="97" y="42"/>
                      <a:pt x="97" y="42"/>
                    </a:cubicBezTo>
                    <a:cubicBezTo>
                      <a:pt x="98" y="42"/>
                      <a:pt x="98" y="42"/>
                      <a:pt x="98" y="42"/>
                    </a:cubicBezTo>
                    <a:cubicBezTo>
                      <a:pt x="98" y="42"/>
                      <a:pt x="98" y="42"/>
                      <a:pt x="98" y="42"/>
                    </a:cubicBezTo>
                    <a:cubicBezTo>
                      <a:pt x="99" y="42"/>
                      <a:pt x="99" y="42"/>
                      <a:pt x="99" y="42"/>
                    </a:cubicBezTo>
                    <a:cubicBezTo>
                      <a:pt x="99" y="42"/>
                      <a:pt x="99" y="42"/>
                      <a:pt x="99" y="42"/>
                    </a:cubicBezTo>
                    <a:cubicBezTo>
                      <a:pt x="100" y="41"/>
                      <a:pt x="100" y="41"/>
                      <a:pt x="100" y="41"/>
                    </a:cubicBezTo>
                    <a:cubicBezTo>
                      <a:pt x="100" y="40"/>
                      <a:pt x="101" y="40"/>
                      <a:pt x="101" y="39"/>
                    </a:cubicBezTo>
                    <a:cubicBezTo>
                      <a:pt x="102" y="39"/>
                      <a:pt x="102" y="39"/>
                      <a:pt x="102" y="39"/>
                    </a:cubicBezTo>
                    <a:cubicBezTo>
                      <a:pt x="102" y="39"/>
                      <a:pt x="102" y="39"/>
                      <a:pt x="102" y="39"/>
                    </a:cubicBezTo>
                    <a:cubicBezTo>
                      <a:pt x="100" y="35"/>
                      <a:pt x="98" y="33"/>
                      <a:pt x="96" y="30"/>
                    </a:cubicBezTo>
                    <a:cubicBezTo>
                      <a:pt x="95" y="30"/>
                      <a:pt x="95" y="30"/>
                      <a:pt x="95" y="30"/>
                    </a:cubicBezTo>
                    <a:cubicBezTo>
                      <a:pt x="95" y="29"/>
                      <a:pt x="95" y="29"/>
                      <a:pt x="95" y="29"/>
                    </a:cubicBezTo>
                    <a:cubicBezTo>
                      <a:pt x="95" y="29"/>
                      <a:pt x="95" y="29"/>
                      <a:pt x="94" y="28"/>
                    </a:cubicBezTo>
                    <a:cubicBezTo>
                      <a:pt x="94" y="28"/>
                      <a:pt x="94" y="28"/>
                      <a:pt x="94" y="28"/>
                    </a:cubicBezTo>
                    <a:cubicBezTo>
                      <a:pt x="94" y="28"/>
                      <a:pt x="94" y="28"/>
                      <a:pt x="94" y="28"/>
                    </a:cubicBezTo>
                    <a:cubicBezTo>
                      <a:pt x="93" y="28"/>
                      <a:pt x="93" y="27"/>
                      <a:pt x="92" y="27"/>
                    </a:cubicBezTo>
                    <a:cubicBezTo>
                      <a:pt x="92" y="27"/>
                      <a:pt x="91" y="27"/>
                      <a:pt x="91" y="27"/>
                    </a:cubicBezTo>
                    <a:cubicBezTo>
                      <a:pt x="90" y="27"/>
                      <a:pt x="89" y="27"/>
                      <a:pt x="89" y="27"/>
                    </a:cubicBezTo>
                    <a:cubicBezTo>
                      <a:pt x="88" y="27"/>
                      <a:pt x="87" y="27"/>
                      <a:pt x="87" y="27"/>
                    </a:cubicBezTo>
                    <a:cubicBezTo>
                      <a:pt x="82" y="28"/>
                      <a:pt x="82" y="28"/>
                      <a:pt x="82" y="28"/>
                    </a:cubicBezTo>
                    <a:cubicBezTo>
                      <a:pt x="83" y="23"/>
                      <a:pt x="83" y="23"/>
                      <a:pt x="83" y="23"/>
                    </a:cubicBezTo>
                    <a:cubicBezTo>
                      <a:pt x="83" y="21"/>
                      <a:pt x="83" y="15"/>
                      <a:pt x="86" y="11"/>
                    </a:cubicBezTo>
                    <a:cubicBezTo>
                      <a:pt x="86" y="11"/>
                      <a:pt x="86" y="11"/>
                      <a:pt x="86" y="11"/>
                    </a:cubicBezTo>
                    <a:cubicBezTo>
                      <a:pt x="85" y="11"/>
                      <a:pt x="85" y="11"/>
                      <a:pt x="85" y="11"/>
                    </a:cubicBezTo>
                    <a:cubicBezTo>
                      <a:pt x="84" y="11"/>
                      <a:pt x="84" y="11"/>
                      <a:pt x="84" y="10"/>
                    </a:cubicBezTo>
                    <a:cubicBezTo>
                      <a:pt x="82" y="10"/>
                      <a:pt x="81" y="8"/>
                      <a:pt x="80" y="8"/>
                    </a:cubicBezTo>
                    <a:cubicBezTo>
                      <a:pt x="80" y="7"/>
                      <a:pt x="80" y="7"/>
                      <a:pt x="80" y="7"/>
                    </a:cubicBezTo>
                    <a:cubicBezTo>
                      <a:pt x="79" y="8"/>
                      <a:pt x="78" y="8"/>
                      <a:pt x="77" y="8"/>
                    </a:cubicBezTo>
                    <a:cubicBezTo>
                      <a:pt x="77" y="8"/>
                      <a:pt x="76" y="8"/>
                      <a:pt x="76" y="8"/>
                    </a:cubicBezTo>
                    <a:cubicBezTo>
                      <a:pt x="76" y="8"/>
                      <a:pt x="76" y="8"/>
                      <a:pt x="76" y="8"/>
                    </a:cubicBezTo>
                    <a:cubicBezTo>
                      <a:pt x="75" y="8"/>
                      <a:pt x="75" y="8"/>
                      <a:pt x="75" y="8"/>
                    </a:cubicBezTo>
                    <a:cubicBezTo>
                      <a:pt x="75" y="8"/>
                      <a:pt x="74" y="8"/>
                      <a:pt x="74" y="8"/>
                    </a:cubicBezTo>
                    <a:cubicBezTo>
                      <a:pt x="73" y="8"/>
                      <a:pt x="71" y="8"/>
                      <a:pt x="70" y="6"/>
                    </a:cubicBezTo>
                    <a:cubicBezTo>
                      <a:pt x="69" y="5"/>
                      <a:pt x="67" y="4"/>
                      <a:pt x="67" y="3"/>
                    </a:cubicBezTo>
                    <a:cubicBezTo>
                      <a:pt x="66" y="2"/>
                      <a:pt x="66" y="1"/>
                      <a:pt x="66" y="1"/>
                    </a:cubicBezTo>
                    <a:cubicBezTo>
                      <a:pt x="65" y="1"/>
                      <a:pt x="64" y="0"/>
                      <a:pt x="62" y="0"/>
                    </a:cubicBezTo>
                    <a:cubicBezTo>
                      <a:pt x="62" y="0"/>
                      <a:pt x="61" y="0"/>
                      <a:pt x="6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42" name="Freeform 270">
                <a:extLst>
                  <a:ext uri="{FF2B5EF4-FFF2-40B4-BE49-F238E27FC236}">
                    <a16:creationId xmlns:a16="http://schemas.microsoft.com/office/drawing/2014/main" id="{7DA9AB0B-78CC-46E1-BCF9-36FEC74F46B7}"/>
                  </a:ext>
                </a:extLst>
              </p:cNvPr>
              <p:cNvSpPr>
                <a:spLocks/>
              </p:cNvSpPr>
              <p:nvPr/>
            </p:nvSpPr>
            <p:spPr bwMode="auto">
              <a:xfrm>
                <a:off x="4915945" y="4274735"/>
                <a:ext cx="372197" cy="176886"/>
              </a:xfrm>
              <a:custGeom>
                <a:avLst/>
                <a:gdLst>
                  <a:gd name="T0" fmla="*/ 70 w 117"/>
                  <a:gd name="T1" fmla="*/ 2 h 56"/>
                  <a:gd name="T2" fmla="*/ 66 w 117"/>
                  <a:gd name="T3" fmla="*/ 3 h 56"/>
                  <a:gd name="T4" fmla="*/ 62 w 117"/>
                  <a:gd name="T5" fmla="*/ 3 h 56"/>
                  <a:gd name="T6" fmla="*/ 60 w 117"/>
                  <a:gd name="T7" fmla="*/ 4 h 56"/>
                  <a:gd name="T8" fmla="*/ 57 w 117"/>
                  <a:gd name="T9" fmla="*/ 4 h 56"/>
                  <a:gd name="T10" fmla="*/ 55 w 117"/>
                  <a:gd name="T11" fmla="*/ 4 h 56"/>
                  <a:gd name="T12" fmla="*/ 50 w 117"/>
                  <a:gd name="T13" fmla="*/ 4 h 56"/>
                  <a:gd name="T14" fmla="*/ 47 w 117"/>
                  <a:gd name="T15" fmla="*/ 4 h 56"/>
                  <a:gd name="T16" fmla="*/ 46 w 117"/>
                  <a:gd name="T17" fmla="*/ 4 h 56"/>
                  <a:gd name="T18" fmla="*/ 42 w 117"/>
                  <a:gd name="T19" fmla="*/ 5 h 56"/>
                  <a:gd name="T20" fmla="*/ 39 w 117"/>
                  <a:gd name="T21" fmla="*/ 6 h 56"/>
                  <a:gd name="T22" fmla="*/ 30 w 117"/>
                  <a:gd name="T23" fmla="*/ 10 h 56"/>
                  <a:gd name="T24" fmla="*/ 25 w 117"/>
                  <a:gd name="T25" fmla="*/ 13 h 56"/>
                  <a:gd name="T26" fmla="*/ 14 w 117"/>
                  <a:gd name="T27" fmla="*/ 22 h 56"/>
                  <a:gd name="T28" fmla="*/ 11 w 117"/>
                  <a:gd name="T29" fmla="*/ 24 h 56"/>
                  <a:gd name="T30" fmla="*/ 8 w 117"/>
                  <a:gd name="T31" fmla="*/ 31 h 56"/>
                  <a:gd name="T32" fmla="*/ 0 w 117"/>
                  <a:gd name="T33" fmla="*/ 41 h 56"/>
                  <a:gd name="T34" fmla="*/ 12 w 117"/>
                  <a:gd name="T35" fmla="*/ 37 h 56"/>
                  <a:gd name="T36" fmla="*/ 20 w 117"/>
                  <a:gd name="T37" fmla="*/ 40 h 56"/>
                  <a:gd name="T38" fmla="*/ 21 w 117"/>
                  <a:gd name="T39" fmla="*/ 49 h 56"/>
                  <a:gd name="T40" fmla="*/ 22 w 117"/>
                  <a:gd name="T41" fmla="*/ 51 h 56"/>
                  <a:gd name="T42" fmla="*/ 24 w 117"/>
                  <a:gd name="T43" fmla="*/ 54 h 56"/>
                  <a:gd name="T44" fmla="*/ 26 w 117"/>
                  <a:gd name="T45" fmla="*/ 56 h 56"/>
                  <a:gd name="T46" fmla="*/ 38 w 117"/>
                  <a:gd name="T47" fmla="*/ 55 h 56"/>
                  <a:gd name="T48" fmla="*/ 45 w 117"/>
                  <a:gd name="T49" fmla="*/ 56 h 56"/>
                  <a:gd name="T50" fmla="*/ 46 w 117"/>
                  <a:gd name="T51" fmla="*/ 54 h 56"/>
                  <a:gd name="T52" fmla="*/ 61 w 117"/>
                  <a:gd name="T53" fmla="*/ 38 h 56"/>
                  <a:gd name="T54" fmla="*/ 64 w 117"/>
                  <a:gd name="T55" fmla="*/ 37 h 56"/>
                  <a:gd name="T56" fmla="*/ 67 w 117"/>
                  <a:gd name="T57" fmla="*/ 43 h 56"/>
                  <a:gd name="T58" fmla="*/ 70 w 117"/>
                  <a:gd name="T59" fmla="*/ 48 h 56"/>
                  <a:gd name="T60" fmla="*/ 73 w 117"/>
                  <a:gd name="T61" fmla="*/ 50 h 56"/>
                  <a:gd name="T62" fmla="*/ 80 w 117"/>
                  <a:gd name="T63" fmla="*/ 50 h 56"/>
                  <a:gd name="T64" fmla="*/ 83 w 117"/>
                  <a:gd name="T65" fmla="*/ 41 h 56"/>
                  <a:gd name="T66" fmla="*/ 84 w 117"/>
                  <a:gd name="T67" fmla="*/ 39 h 56"/>
                  <a:gd name="T68" fmla="*/ 90 w 117"/>
                  <a:gd name="T69" fmla="*/ 36 h 56"/>
                  <a:gd name="T70" fmla="*/ 107 w 117"/>
                  <a:gd name="T71" fmla="*/ 44 h 56"/>
                  <a:gd name="T72" fmla="*/ 106 w 117"/>
                  <a:gd name="T73" fmla="*/ 41 h 56"/>
                  <a:gd name="T74" fmla="*/ 105 w 117"/>
                  <a:gd name="T75" fmla="*/ 37 h 56"/>
                  <a:gd name="T76" fmla="*/ 107 w 117"/>
                  <a:gd name="T77" fmla="*/ 33 h 56"/>
                  <a:gd name="T78" fmla="*/ 117 w 117"/>
                  <a:gd name="T79" fmla="*/ 33 h 56"/>
                  <a:gd name="T80" fmla="*/ 117 w 117"/>
                  <a:gd name="T81" fmla="*/ 26 h 56"/>
                  <a:gd name="T82" fmla="*/ 108 w 117"/>
                  <a:gd name="T83" fmla="*/ 29 h 56"/>
                  <a:gd name="T84" fmla="*/ 96 w 117"/>
                  <a:gd name="T85" fmla="*/ 23 h 56"/>
                  <a:gd name="T86" fmla="*/ 93 w 117"/>
                  <a:gd name="T87" fmla="*/ 18 h 56"/>
                  <a:gd name="T88" fmla="*/ 93 w 117"/>
                  <a:gd name="T89" fmla="*/ 17 h 56"/>
                  <a:gd name="T90" fmla="*/ 92 w 117"/>
                  <a:gd name="T91" fmla="*/ 15 h 56"/>
                  <a:gd name="T92" fmla="*/ 94 w 117"/>
                  <a:gd name="T93" fmla="*/ 6 h 56"/>
                  <a:gd name="T94" fmla="*/ 93 w 117"/>
                  <a:gd name="T95" fmla="*/ 5 h 56"/>
                  <a:gd name="T96" fmla="*/ 82 w 117"/>
                  <a:gd name="T97" fmla="*/ 1 h 56"/>
                  <a:gd name="T98" fmla="*/ 79 w 117"/>
                  <a:gd name="T99" fmla="*/ 1 h 56"/>
                  <a:gd name="T100" fmla="*/ 76 w 117"/>
                  <a:gd name="T101" fmla="*/ 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7" h="56">
                    <a:moveTo>
                      <a:pt x="71" y="0"/>
                    </a:moveTo>
                    <a:cubicBezTo>
                      <a:pt x="71" y="0"/>
                      <a:pt x="70" y="1"/>
                      <a:pt x="70" y="2"/>
                    </a:cubicBezTo>
                    <a:cubicBezTo>
                      <a:pt x="68" y="4"/>
                      <a:pt x="68" y="4"/>
                      <a:pt x="68" y="4"/>
                    </a:cubicBezTo>
                    <a:cubicBezTo>
                      <a:pt x="66" y="3"/>
                      <a:pt x="66" y="3"/>
                      <a:pt x="66" y="3"/>
                    </a:cubicBezTo>
                    <a:cubicBezTo>
                      <a:pt x="65" y="3"/>
                      <a:pt x="64" y="3"/>
                      <a:pt x="63" y="3"/>
                    </a:cubicBezTo>
                    <a:cubicBezTo>
                      <a:pt x="62" y="3"/>
                      <a:pt x="62" y="3"/>
                      <a:pt x="62" y="3"/>
                    </a:cubicBezTo>
                    <a:cubicBezTo>
                      <a:pt x="62" y="4"/>
                      <a:pt x="61" y="4"/>
                      <a:pt x="61" y="4"/>
                    </a:cubicBezTo>
                    <a:cubicBezTo>
                      <a:pt x="60" y="4"/>
                      <a:pt x="60" y="4"/>
                      <a:pt x="60" y="4"/>
                    </a:cubicBezTo>
                    <a:cubicBezTo>
                      <a:pt x="59" y="4"/>
                      <a:pt x="59" y="4"/>
                      <a:pt x="58" y="4"/>
                    </a:cubicBezTo>
                    <a:cubicBezTo>
                      <a:pt x="58" y="4"/>
                      <a:pt x="58" y="4"/>
                      <a:pt x="57" y="4"/>
                    </a:cubicBezTo>
                    <a:cubicBezTo>
                      <a:pt x="57" y="4"/>
                      <a:pt x="56" y="4"/>
                      <a:pt x="56" y="4"/>
                    </a:cubicBezTo>
                    <a:cubicBezTo>
                      <a:pt x="56" y="4"/>
                      <a:pt x="55" y="4"/>
                      <a:pt x="55" y="4"/>
                    </a:cubicBezTo>
                    <a:cubicBezTo>
                      <a:pt x="54" y="4"/>
                      <a:pt x="53" y="4"/>
                      <a:pt x="52" y="4"/>
                    </a:cubicBezTo>
                    <a:cubicBezTo>
                      <a:pt x="51" y="4"/>
                      <a:pt x="51" y="4"/>
                      <a:pt x="50" y="4"/>
                    </a:cubicBezTo>
                    <a:cubicBezTo>
                      <a:pt x="50" y="4"/>
                      <a:pt x="50" y="4"/>
                      <a:pt x="50" y="4"/>
                    </a:cubicBezTo>
                    <a:cubicBezTo>
                      <a:pt x="49" y="4"/>
                      <a:pt x="48" y="4"/>
                      <a:pt x="47" y="4"/>
                    </a:cubicBezTo>
                    <a:cubicBezTo>
                      <a:pt x="46" y="4"/>
                      <a:pt x="46" y="4"/>
                      <a:pt x="46" y="4"/>
                    </a:cubicBezTo>
                    <a:cubicBezTo>
                      <a:pt x="46" y="4"/>
                      <a:pt x="46" y="4"/>
                      <a:pt x="46" y="4"/>
                    </a:cubicBezTo>
                    <a:cubicBezTo>
                      <a:pt x="45" y="4"/>
                      <a:pt x="45" y="4"/>
                      <a:pt x="45" y="4"/>
                    </a:cubicBezTo>
                    <a:cubicBezTo>
                      <a:pt x="45" y="4"/>
                      <a:pt x="43" y="5"/>
                      <a:pt x="42" y="5"/>
                    </a:cubicBezTo>
                    <a:cubicBezTo>
                      <a:pt x="41" y="5"/>
                      <a:pt x="40" y="5"/>
                      <a:pt x="40" y="5"/>
                    </a:cubicBezTo>
                    <a:cubicBezTo>
                      <a:pt x="39" y="5"/>
                      <a:pt x="39" y="5"/>
                      <a:pt x="39" y="6"/>
                    </a:cubicBezTo>
                    <a:cubicBezTo>
                      <a:pt x="38" y="7"/>
                      <a:pt x="37" y="8"/>
                      <a:pt x="35" y="8"/>
                    </a:cubicBezTo>
                    <a:cubicBezTo>
                      <a:pt x="34" y="9"/>
                      <a:pt x="32" y="10"/>
                      <a:pt x="30" y="10"/>
                    </a:cubicBezTo>
                    <a:cubicBezTo>
                      <a:pt x="30" y="10"/>
                      <a:pt x="29" y="10"/>
                      <a:pt x="28" y="9"/>
                    </a:cubicBezTo>
                    <a:cubicBezTo>
                      <a:pt x="25" y="13"/>
                      <a:pt x="25" y="13"/>
                      <a:pt x="25" y="13"/>
                    </a:cubicBezTo>
                    <a:cubicBezTo>
                      <a:pt x="22" y="16"/>
                      <a:pt x="19" y="19"/>
                      <a:pt x="16" y="21"/>
                    </a:cubicBezTo>
                    <a:cubicBezTo>
                      <a:pt x="15" y="21"/>
                      <a:pt x="15" y="22"/>
                      <a:pt x="14" y="22"/>
                    </a:cubicBezTo>
                    <a:cubicBezTo>
                      <a:pt x="14" y="22"/>
                      <a:pt x="14" y="22"/>
                      <a:pt x="14" y="22"/>
                    </a:cubicBezTo>
                    <a:cubicBezTo>
                      <a:pt x="12" y="23"/>
                      <a:pt x="12" y="24"/>
                      <a:pt x="11" y="24"/>
                    </a:cubicBezTo>
                    <a:cubicBezTo>
                      <a:pt x="11" y="25"/>
                      <a:pt x="11" y="25"/>
                      <a:pt x="11" y="25"/>
                    </a:cubicBezTo>
                    <a:cubicBezTo>
                      <a:pt x="11" y="26"/>
                      <a:pt x="10" y="29"/>
                      <a:pt x="8" y="31"/>
                    </a:cubicBezTo>
                    <a:cubicBezTo>
                      <a:pt x="7" y="32"/>
                      <a:pt x="7" y="32"/>
                      <a:pt x="7" y="32"/>
                    </a:cubicBezTo>
                    <a:cubicBezTo>
                      <a:pt x="4" y="35"/>
                      <a:pt x="2" y="38"/>
                      <a:pt x="0" y="41"/>
                    </a:cubicBezTo>
                    <a:cubicBezTo>
                      <a:pt x="3" y="39"/>
                      <a:pt x="7" y="37"/>
                      <a:pt x="11" y="37"/>
                    </a:cubicBezTo>
                    <a:cubicBezTo>
                      <a:pt x="11" y="37"/>
                      <a:pt x="12" y="37"/>
                      <a:pt x="12" y="37"/>
                    </a:cubicBezTo>
                    <a:cubicBezTo>
                      <a:pt x="13" y="37"/>
                      <a:pt x="13" y="37"/>
                      <a:pt x="13" y="37"/>
                    </a:cubicBezTo>
                    <a:cubicBezTo>
                      <a:pt x="17" y="37"/>
                      <a:pt x="19" y="39"/>
                      <a:pt x="20" y="40"/>
                    </a:cubicBezTo>
                    <a:cubicBezTo>
                      <a:pt x="21" y="42"/>
                      <a:pt x="21" y="45"/>
                      <a:pt x="21" y="49"/>
                    </a:cubicBezTo>
                    <a:cubicBezTo>
                      <a:pt x="21" y="49"/>
                      <a:pt x="21" y="49"/>
                      <a:pt x="21" y="49"/>
                    </a:cubicBezTo>
                    <a:cubicBezTo>
                      <a:pt x="21" y="50"/>
                      <a:pt x="21" y="50"/>
                      <a:pt x="21" y="50"/>
                    </a:cubicBezTo>
                    <a:cubicBezTo>
                      <a:pt x="22" y="51"/>
                      <a:pt x="22" y="51"/>
                      <a:pt x="22" y="51"/>
                    </a:cubicBezTo>
                    <a:cubicBezTo>
                      <a:pt x="22" y="51"/>
                      <a:pt x="22" y="52"/>
                      <a:pt x="23" y="53"/>
                    </a:cubicBezTo>
                    <a:cubicBezTo>
                      <a:pt x="23" y="53"/>
                      <a:pt x="24" y="53"/>
                      <a:pt x="24" y="54"/>
                    </a:cubicBezTo>
                    <a:cubicBezTo>
                      <a:pt x="24" y="54"/>
                      <a:pt x="25" y="55"/>
                      <a:pt x="25" y="55"/>
                    </a:cubicBezTo>
                    <a:cubicBezTo>
                      <a:pt x="26" y="55"/>
                      <a:pt x="26" y="56"/>
                      <a:pt x="26" y="56"/>
                    </a:cubicBezTo>
                    <a:cubicBezTo>
                      <a:pt x="30" y="56"/>
                      <a:pt x="33" y="55"/>
                      <a:pt x="35" y="55"/>
                    </a:cubicBezTo>
                    <a:cubicBezTo>
                      <a:pt x="37" y="55"/>
                      <a:pt x="37" y="55"/>
                      <a:pt x="38" y="55"/>
                    </a:cubicBezTo>
                    <a:cubicBezTo>
                      <a:pt x="40" y="55"/>
                      <a:pt x="42" y="55"/>
                      <a:pt x="44" y="55"/>
                    </a:cubicBezTo>
                    <a:cubicBezTo>
                      <a:pt x="45" y="56"/>
                      <a:pt x="45" y="56"/>
                      <a:pt x="45" y="56"/>
                    </a:cubicBezTo>
                    <a:cubicBezTo>
                      <a:pt x="45" y="56"/>
                      <a:pt x="45" y="56"/>
                      <a:pt x="45" y="56"/>
                    </a:cubicBezTo>
                    <a:cubicBezTo>
                      <a:pt x="46" y="54"/>
                      <a:pt x="46" y="54"/>
                      <a:pt x="46" y="54"/>
                    </a:cubicBezTo>
                    <a:cubicBezTo>
                      <a:pt x="48" y="53"/>
                      <a:pt x="49" y="51"/>
                      <a:pt x="50" y="50"/>
                    </a:cubicBezTo>
                    <a:cubicBezTo>
                      <a:pt x="51" y="47"/>
                      <a:pt x="55" y="39"/>
                      <a:pt x="61" y="38"/>
                    </a:cubicBezTo>
                    <a:cubicBezTo>
                      <a:pt x="61" y="37"/>
                      <a:pt x="62" y="37"/>
                      <a:pt x="63" y="37"/>
                    </a:cubicBezTo>
                    <a:cubicBezTo>
                      <a:pt x="64" y="37"/>
                      <a:pt x="64" y="37"/>
                      <a:pt x="64" y="37"/>
                    </a:cubicBezTo>
                    <a:cubicBezTo>
                      <a:pt x="67" y="38"/>
                      <a:pt x="67" y="38"/>
                      <a:pt x="67" y="38"/>
                    </a:cubicBezTo>
                    <a:cubicBezTo>
                      <a:pt x="67" y="43"/>
                      <a:pt x="67" y="43"/>
                      <a:pt x="67" y="43"/>
                    </a:cubicBezTo>
                    <a:cubicBezTo>
                      <a:pt x="67" y="45"/>
                      <a:pt x="67" y="46"/>
                      <a:pt x="67" y="47"/>
                    </a:cubicBezTo>
                    <a:cubicBezTo>
                      <a:pt x="67" y="47"/>
                      <a:pt x="68" y="48"/>
                      <a:pt x="70" y="48"/>
                    </a:cubicBezTo>
                    <a:cubicBezTo>
                      <a:pt x="71" y="49"/>
                      <a:pt x="72" y="49"/>
                      <a:pt x="72" y="50"/>
                    </a:cubicBezTo>
                    <a:cubicBezTo>
                      <a:pt x="73" y="50"/>
                      <a:pt x="73" y="50"/>
                      <a:pt x="73" y="50"/>
                    </a:cubicBezTo>
                    <a:cubicBezTo>
                      <a:pt x="74" y="50"/>
                      <a:pt x="77" y="51"/>
                      <a:pt x="78" y="53"/>
                    </a:cubicBezTo>
                    <a:cubicBezTo>
                      <a:pt x="78" y="52"/>
                      <a:pt x="79" y="51"/>
                      <a:pt x="80" y="50"/>
                    </a:cubicBezTo>
                    <a:cubicBezTo>
                      <a:pt x="81" y="48"/>
                      <a:pt x="81" y="48"/>
                      <a:pt x="81" y="48"/>
                    </a:cubicBezTo>
                    <a:cubicBezTo>
                      <a:pt x="83" y="46"/>
                      <a:pt x="83" y="44"/>
                      <a:pt x="83" y="41"/>
                    </a:cubicBezTo>
                    <a:cubicBezTo>
                      <a:pt x="83" y="41"/>
                      <a:pt x="83" y="41"/>
                      <a:pt x="83" y="41"/>
                    </a:cubicBezTo>
                    <a:cubicBezTo>
                      <a:pt x="84" y="40"/>
                      <a:pt x="84" y="39"/>
                      <a:pt x="84" y="39"/>
                    </a:cubicBezTo>
                    <a:cubicBezTo>
                      <a:pt x="84" y="33"/>
                      <a:pt x="84" y="33"/>
                      <a:pt x="84" y="33"/>
                    </a:cubicBezTo>
                    <a:cubicBezTo>
                      <a:pt x="90" y="36"/>
                      <a:pt x="90" y="36"/>
                      <a:pt x="90" y="36"/>
                    </a:cubicBezTo>
                    <a:cubicBezTo>
                      <a:pt x="94" y="39"/>
                      <a:pt x="102" y="43"/>
                      <a:pt x="107" y="44"/>
                    </a:cubicBezTo>
                    <a:cubicBezTo>
                      <a:pt x="107" y="44"/>
                      <a:pt x="107" y="44"/>
                      <a:pt x="107" y="44"/>
                    </a:cubicBezTo>
                    <a:cubicBezTo>
                      <a:pt x="107" y="44"/>
                      <a:pt x="107" y="44"/>
                      <a:pt x="107" y="44"/>
                    </a:cubicBezTo>
                    <a:cubicBezTo>
                      <a:pt x="106" y="42"/>
                      <a:pt x="106" y="42"/>
                      <a:pt x="106" y="41"/>
                    </a:cubicBezTo>
                    <a:cubicBezTo>
                      <a:pt x="105" y="39"/>
                      <a:pt x="105" y="39"/>
                      <a:pt x="105" y="38"/>
                    </a:cubicBezTo>
                    <a:cubicBezTo>
                      <a:pt x="105" y="38"/>
                      <a:pt x="105" y="37"/>
                      <a:pt x="105" y="37"/>
                    </a:cubicBezTo>
                    <a:cubicBezTo>
                      <a:pt x="106" y="35"/>
                      <a:pt x="106" y="35"/>
                      <a:pt x="106" y="35"/>
                    </a:cubicBezTo>
                    <a:cubicBezTo>
                      <a:pt x="106" y="35"/>
                      <a:pt x="107" y="34"/>
                      <a:pt x="107" y="33"/>
                    </a:cubicBezTo>
                    <a:cubicBezTo>
                      <a:pt x="109" y="32"/>
                      <a:pt x="110" y="32"/>
                      <a:pt x="112" y="32"/>
                    </a:cubicBezTo>
                    <a:cubicBezTo>
                      <a:pt x="114" y="32"/>
                      <a:pt x="116" y="32"/>
                      <a:pt x="117" y="33"/>
                    </a:cubicBezTo>
                    <a:cubicBezTo>
                      <a:pt x="117" y="31"/>
                      <a:pt x="117" y="29"/>
                      <a:pt x="117" y="27"/>
                    </a:cubicBezTo>
                    <a:cubicBezTo>
                      <a:pt x="117" y="26"/>
                      <a:pt x="117" y="26"/>
                      <a:pt x="117" y="26"/>
                    </a:cubicBezTo>
                    <a:cubicBezTo>
                      <a:pt x="116" y="28"/>
                      <a:pt x="114" y="30"/>
                      <a:pt x="111" y="30"/>
                    </a:cubicBezTo>
                    <a:cubicBezTo>
                      <a:pt x="110" y="30"/>
                      <a:pt x="109" y="30"/>
                      <a:pt x="108" y="29"/>
                    </a:cubicBezTo>
                    <a:cubicBezTo>
                      <a:pt x="97" y="23"/>
                      <a:pt x="97" y="23"/>
                      <a:pt x="97" y="23"/>
                    </a:cubicBezTo>
                    <a:cubicBezTo>
                      <a:pt x="96" y="23"/>
                      <a:pt x="96" y="23"/>
                      <a:pt x="96" y="23"/>
                    </a:cubicBezTo>
                    <a:cubicBezTo>
                      <a:pt x="95" y="22"/>
                      <a:pt x="95" y="22"/>
                      <a:pt x="95" y="22"/>
                    </a:cubicBezTo>
                    <a:cubicBezTo>
                      <a:pt x="94" y="22"/>
                      <a:pt x="92" y="21"/>
                      <a:pt x="93" y="18"/>
                    </a:cubicBezTo>
                    <a:cubicBezTo>
                      <a:pt x="93" y="17"/>
                      <a:pt x="93" y="17"/>
                      <a:pt x="93" y="17"/>
                    </a:cubicBezTo>
                    <a:cubicBezTo>
                      <a:pt x="93" y="17"/>
                      <a:pt x="93" y="17"/>
                      <a:pt x="93" y="17"/>
                    </a:cubicBezTo>
                    <a:cubicBezTo>
                      <a:pt x="93" y="16"/>
                      <a:pt x="93" y="16"/>
                      <a:pt x="93" y="16"/>
                    </a:cubicBezTo>
                    <a:cubicBezTo>
                      <a:pt x="93" y="16"/>
                      <a:pt x="92" y="15"/>
                      <a:pt x="92" y="15"/>
                    </a:cubicBezTo>
                    <a:cubicBezTo>
                      <a:pt x="91" y="11"/>
                      <a:pt x="91" y="9"/>
                      <a:pt x="94" y="6"/>
                    </a:cubicBezTo>
                    <a:cubicBezTo>
                      <a:pt x="94" y="6"/>
                      <a:pt x="94" y="6"/>
                      <a:pt x="94" y="6"/>
                    </a:cubicBezTo>
                    <a:cubicBezTo>
                      <a:pt x="94" y="6"/>
                      <a:pt x="94" y="6"/>
                      <a:pt x="94" y="6"/>
                    </a:cubicBezTo>
                    <a:cubicBezTo>
                      <a:pt x="94" y="6"/>
                      <a:pt x="94" y="5"/>
                      <a:pt x="93" y="5"/>
                    </a:cubicBezTo>
                    <a:cubicBezTo>
                      <a:pt x="92" y="4"/>
                      <a:pt x="92" y="4"/>
                      <a:pt x="92" y="4"/>
                    </a:cubicBezTo>
                    <a:cubicBezTo>
                      <a:pt x="90" y="3"/>
                      <a:pt x="85" y="1"/>
                      <a:pt x="82" y="1"/>
                    </a:cubicBezTo>
                    <a:cubicBezTo>
                      <a:pt x="82" y="1"/>
                      <a:pt x="81" y="0"/>
                      <a:pt x="81" y="0"/>
                    </a:cubicBezTo>
                    <a:cubicBezTo>
                      <a:pt x="80" y="0"/>
                      <a:pt x="80" y="1"/>
                      <a:pt x="79" y="1"/>
                    </a:cubicBezTo>
                    <a:cubicBezTo>
                      <a:pt x="78" y="1"/>
                      <a:pt x="78" y="1"/>
                      <a:pt x="78" y="1"/>
                    </a:cubicBezTo>
                    <a:cubicBezTo>
                      <a:pt x="78" y="1"/>
                      <a:pt x="77" y="1"/>
                      <a:pt x="76" y="1"/>
                    </a:cubicBezTo>
                    <a:cubicBezTo>
                      <a:pt x="75" y="1"/>
                      <a:pt x="73"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43" name="Freeform 271">
                <a:extLst>
                  <a:ext uri="{FF2B5EF4-FFF2-40B4-BE49-F238E27FC236}">
                    <a16:creationId xmlns:a16="http://schemas.microsoft.com/office/drawing/2014/main" id="{49ED10F9-87CC-4C6F-B5D4-C966B9D1DCD1}"/>
                  </a:ext>
                </a:extLst>
              </p:cNvPr>
              <p:cNvSpPr>
                <a:spLocks/>
              </p:cNvSpPr>
              <p:nvPr/>
            </p:nvSpPr>
            <p:spPr bwMode="auto">
              <a:xfrm>
                <a:off x="4974906" y="4344752"/>
                <a:ext cx="1053943" cy="987611"/>
              </a:xfrm>
              <a:custGeom>
                <a:avLst/>
                <a:gdLst>
                  <a:gd name="T0" fmla="*/ 136 w 332"/>
                  <a:gd name="T1" fmla="*/ 2 h 311"/>
                  <a:gd name="T2" fmla="*/ 122 w 332"/>
                  <a:gd name="T3" fmla="*/ 8 h 311"/>
                  <a:gd name="T4" fmla="*/ 107 w 332"/>
                  <a:gd name="T5" fmla="*/ 8 h 311"/>
                  <a:gd name="T6" fmla="*/ 106 w 332"/>
                  <a:gd name="T7" fmla="*/ 16 h 311"/>
                  <a:gd name="T8" fmla="*/ 99 w 332"/>
                  <a:gd name="T9" fmla="*/ 18 h 311"/>
                  <a:gd name="T10" fmla="*/ 97 w 332"/>
                  <a:gd name="T11" fmla="*/ 28 h 311"/>
                  <a:gd name="T12" fmla="*/ 94 w 332"/>
                  <a:gd name="T13" fmla="*/ 30 h 311"/>
                  <a:gd name="T14" fmla="*/ 69 w 332"/>
                  <a:gd name="T15" fmla="*/ 30 h 311"/>
                  <a:gd name="T16" fmla="*/ 65 w 332"/>
                  <a:gd name="T17" fmla="*/ 37 h 311"/>
                  <a:gd name="T18" fmla="*/ 55 w 332"/>
                  <a:gd name="T19" fmla="*/ 39 h 311"/>
                  <a:gd name="T20" fmla="*/ 51 w 332"/>
                  <a:gd name="T21" fmla="*/ 34 h 311"/>
                  <a:gd name="T22" fmla="*/ 38 w 332"/>
                  <a:gd name="T23" fmla="*/ 30 h 311"/>
                  <a:gd name="T24" fmla="*/ 26 w 332"/>
                  <a:gd name="T25" fmla="*/ 41 h 311"/>
                  <a:gd name="T26" fmla="*/ 9 w 332"/>
                  <a:gd name="T27" fmla="*/ 41 h 311"/>
                  <a:gd name="T28" fmla="*/ 3 w 332"/>
                  <a:gd name="T29" fmla="*/ 43 h 311"/>
                  <a:gd name="T30" fmla="*/ 11 w 332"/>
                  <a:gd name="T31" fmla="*/ 59 h 311"/>
                  <a:gd name="T32" fmla="*/ 11 w 332"/>
                  <a:gd name="T33" fmla="*/ 81 h 311"/>
                  <a:gd name="T34" fmla="*/ 29 w 332"/>
                  <a:gd name="T35" fmla="*/ 100 h 311"/>
                  <a:gd name="T36" fmla="*/ 36 w 332"/>
                  <a:gd name="T37" fmla="*/ 107 h 311"/>
                  <a:gd name="T38" fmla="*/ 86 w 332"/>
                  <a:gd name="T39" fmla="*/ 102 h 311"/>
                  <a:gd name="T40" fmla="*/ 103 w 332"/>
                  <a:gd name="T41" fmla="*/ 141 h 311"/>
                  <a:gd name="T42" fmla="*/ 110 w 332"/>
                  <a:gd name="T43" fmla="*/ 142 h 311"/>
                  <a:gd name="T44" fmla="*/ 120 w 332"/>
                  <a:gd name="T45" fmla="*/ 160 h 311"/>
                  <a:gd name="T46" fmla="*/ 127 w 332"/>
                  <a:gd name="T47" fmla="*/ 161 h 311"/>
                  <a:gd name="T48" fmla="*/ 168 w 332"/>
                  <a:gd name="T49" fmla="*/ 193 h 311"/>
                  <a:gd name="T50" fmla="*/ 186 w 332"/>
                  <a:gd name="T51" fmla="*/ 200 h 311"/>
                  <a:gd name="T52" fmla="*/ 216 w 332"/>
                  <a:gd name="T53" fmla="*/ 216 h 311"/>
                  <a:gd name="T54" fmla="*/ 225 w 332"/>
                  <a:gd name="T55" fmla="*/ 219 h 311"/>
                  <a:gd name="T56" fmla="*/ 242 w 332"/>
                  <a:gd name="T57" fmla="*/ 241 h 311"/>
                  <a:gd name="T58" fmla="*/ 256 w 332"/>
                  <a:gd name="T59" fmla="*/ 254 h 311"/>
                  <a:gd name="T60" fmla="*/ 257 w 332"/>
                  <a:gd name="T61" fmla="*/ 286 h 311"/>
                  <a:gd name="T62" fmla="*/ 254 w 332"/>
                  <a:gd name="T63" fmla="*/ 311 h 311"/>
                  <a:gd name="T64" fmla="*/ 276 w 332"/>
                  <a:gd name="T65" fmla="*/ 293 h 311"/>
                  <a:gd name="T66" fmla="*/ 291 w 332"/>
                  <a:gd name="T67" fmla="*/ 278 h 311"/>
                  <a:gd name="T68" fmla="*/ 281 w 332"/>
                  <a:gd name="T69" fmla="*/ 254 h 311"/>
                  <a:gd name="T70" fmla="*/ 277 w 332"/>
                  <a:gd name="T71" fmla="*/ 254 h 311"/>
                  <a:gd name="T72" fmla="*/ 294 w 332"/>
                  <a:gd name="T73" fmla="*/ 228 h 311"/>
                  <a:gd name="T74" fmla="*/ 331 w 332"/>
                  <a:gd name="T75" fmla="*/ 240 h 311"/>
                  <a:gd name="T76" fmla="*/ 258 w 332"/>
                  <a:gd name="T77" fmla="*/ 186 h 311"/>
                  <a:gd name="T78" fmla="*/ 225 w 332"/>
                  <a:gd name="T79" fmla="*/ 171 h 311"/>
                  <a:gd name="T80" fmla="*/ 171 w 332"/>
                  <a:gd name="T81" fmla="*/ 108 h 311"/>
                  <a:gd name="T82" fmla="*/ 161 w 332"/>
                  <a:gd name="T83" fmla="*/ 73 h 311"/>
                  <a:gd name="T84" fmla="*/ 159 w 332"/>
                  <a:gd name="T85" fmla="*/ 51 h 311"/>
                  <a:gd name="T86" fmla="*/ 180 w 332"/>
                  <a:gd name="T87" fmla="*/ 43 h 311"/>
                  <a:gd name="T88" fmla="*/ 189 w 332"/>
                  <a:gd name="T89" fmla="*/ 44 h 311"/>
                  <a:gd name="T90" fmla="*/ 189 w 332"/>
                  <a:gd name="T91" fmla="*/ 38 h 311"/>
                  <a:gd name="T92" fmla="*/ 187 w 332"/>
                  <a:gd name="T93" fmla="*/ 30 h 311"/>
                  <a:gd name="T94" fmla="*/ 184 w 332"/>
                  <a:gd name="T95" fmla="*/ 21 h 311"/>
                  <a:gd name="T96" fmla="*/ 189 w 332"/>
                  <a:gd name="T97" fmla="*/ 18 h 311"/>
                  <a:gd name="T98" fmla="*/ 161 w 332"/>
                  <a:gd name="T99" fmla="*/ 14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2" h="311">
                    <a:moveTo>
                      <a:pt x="148" y="0"/>
                    </a:moveTo>
                    <a:cubicBezTo>
                      <a:pt x="146" y="0"/>
                      <a:pt x="146" y="0"/>
                      <a:pt x="146" y="0"/>
                    </a:cubicBezTo>
                    <a:cubicBezTo>
                      <a:pt x="143" y="1"/>
                      <a:pt x="140" y="1"/>
                      <a:pt x="137" y="2"/>
                    </a:cubicBezTo>
                    <a:cubicBezTo>
                      <a:pt x="136" y="2"/>
                      <a:pt x="136" y="2"/>
                      <a:pt x="136" y="2"/>
                    </a:cubicBezTo>
                    <a:cubicBezTo>
                      <a:pt x="126" y="4"/>
                      <a:pt x="126" y="4"/>
                      <a:pt x="126" y="4"/>
                    </a:cubicBezTo>
                    <a:cubicBezTo>
                      <a:pt x="125" y="4"/>
                      <a:pt x="125" y="4"/>
                      <a:pt x="124" y="5"/>
                    </a:cubicBezTo>
                    <a:cubicBezTo>
                      <a:pt x="124" y="6"/>
                      <a:pt x="123" y="7"/>
                      <a:pt x="122" y="8"/>
                    </a:cubicBezTo>
                    <a:cubicBezTo>
                      <a:pt x="122" y="8"/>
                      <a:pt x="122" y="8"/>
                      <a:pt x="122" y="8"/>
                    </a:cubicBezTo>
                    <a:cubicBezTo>
                      <a:pt x="121" y="10"/>
                      <a:pt x="121" y="10"/>
                      <a:pt x="120" y="10"/>
                    </a:cubicBezTo>
                    <a:cubicBezTo>
                      <a:pt x="119" y="11"/>
                      <a:pt x="118" y="11"/>
                      <a:pt x="118" y="11"/>
                    </a:cubicBezTo>
                    <a:cubicBezTo>
                      <a:pt x="117" y="11"/>
                      <a:pt x="116" y="10"/>
                      <a:pt x="114" y="10"/>
                    </a:cubicBezTo>
                    <a:cubicBezTo>
                      <a:pt x="112" y="10"/>
                      <a:pt x="109" y="9"/>
                      <a:pt x="107" y="8"/>
                    </a:cubicBezTo>
                    <a:cubicBezTo>
                      <a:pt x="106" y="8"/>
                      <a:pt x="106" y="8"/>
                      <a:pt x="106" y="8"/>
                    </a:cubicBezTo>
                    <a:cubicBezTo>
                      <a:pt x="106" y="10"/>
                      <a:pt x="106" y="12"/>
                      <a:pt x="106" y="13"/>
                    </a:cubicBezTo>
                    <a:cubicBezTo>
                      <a:pt x="106" y="14"/>
                      <a:pt x="106" y="14"/>
                      <a:pt x="106" y="14"/>
                    </a:cubicBezTo>
                    <a:cubicBezTo>
                      <a:pt x="106" y="14"/>
                      <a:pt x="106" y="15"/>
                      <a:pt x="106" y="16"/>
                    </a:cubicBezTo>
                    <a:cubicBezTo>
                      <a:pt x="106" y="20"/>
                      <a:pt x="106" y="20"/>
                      <a:pt x="106" y="20"/>
                    </a:cubicBezTo>
                    <a:cubicBezTo>
                      <a:pt x="102" y="19"/>
                      <a:pt x="102" y="19"/>
                      <a:pt x="102" y="19"/>
                    </a:cubicBezTo>
                    <a:cubicBezTo>
                      <a:pt x="101" y="19"/>
                      <a:pt x="101" y="19"/>
                      <a:pt x="101" y="19"/>
                    </a:cubicBezTo>
                    <a:cubicBezTo>
                      <a:pt x="99" y="18"/>
                      <a:pt x="99" y="18"/>
                      <a:pt x="99" y="18"/>
                    </a:cubicBezTo>
                    <a:cubicBezTo>
                      <a:pt x="99" y="18"/>
                      <a:pt x="97" y="18"/>
                      <a:pt x="96" y="17"/>
                    </a:cubicBezTo>
                    <a:cubicBezTo>
                      <a:pt x="97" y="18"/>
                      <a:pt x="97" y="18"/>
                      <a:pt x="97" y="19"/>
                    </a:cubicBezTo>
                    <a:cubicBezTo>
                      <a:pt x="98" y="20"/>
                      <a:pt x="98" y="21"/>
                      <a:pt x="97" y="23"/>
                    </a:cubicBezTo>
                    <a:cubicBezTo>
                      <a:pt x="98" y="24"/>
                      <a:pt x="98" y="26"/>
                      <a:pt x="97" y="28"/>
                    </a:cubicBezTo>
                    <a:cubicBezTo>
                      <a:pt x="96" y="29"/>
                      <a:pt x="96" y="29"/>
                      <a:pt x="96" y="29"/>
                    </a:cubicBezTo>
                    <a:cubicBezTo>
                      <a:pt x="95" y="29"/>
                      <a:pt x="95" y="29"/>
                      <a:pt x="95" y="29"/>
                    </a:cubicBezTo>
                    <a:cubicBezTo>
                      <a:pt x="95" y="29"/>
                      <a:pt x="95" y="30"/>
                      <a:pt x="94" y="30"/>
                    </a:cubicBezTo>
                    <a:cubicBezTo>
                      <a:pt x="94" y="30"/>
                      <a:pt x="94" y="30"/>
                      <a:pt x="94" y="30"/>
                    </a:cubicBezTo>
                    <a:cubicBezTo>
                      <a:pt x="93" y="30"/>
                      <a:pt x="93" y="30"/>
                      <a:pt x="93" y="30"/>
                    </a:cubicBezTo>
                    <a:cubicBezTo>
                      <a:pt x="93" y="30"/>
                      <a:pt x="93" y="30"/>
                      <a:pt x="93" y="30"/>
                    </a:cubicBezTo>
                    <a:cubicBezTo>
                      <a:pt x="88" y="30"/>
                      <a:pt x="79" y="26"/>
                      <a:pt x="72" y="23"/>
                    </a:cubicBezTo>
                    <a:cubicBezTo>
                      <a:pt x="72" y="25"/>
                      <a:pt x="71" y="28"/>
                      <a:pt x="69" y="30"/>
                    </a:cubicBezTo>
                    <a:cubicBezTo>
                      <a:pt x="68" y="31"/>
                      <a:pt x="68" y="31"/>
                      <a:pt x="68" y="31"/>
                    </a:cubicBezTo>
                    <a:cubicBezTo>
                      <a:pt x="68" y="31"/>
                      <a:pt x="68" y="32"/>
                      <a:pt x="67" y="32"/>
                    </a:cubicBezTo>
                    <a:cubicBezTo>
                      <a:pt x="66" y="33"/>
                      <a:pt x="66" y="33"/>
                      <a:pt x="66" y="35"/>
                    </a:cubicBezTo>
                    <a:cubicBezTo>
                      <a:pt x="65" y="37"/>
                      <a:pt x="65" y="37"/>
                      <a:pt x="65" y="37"/>
                    </a:cubicBezTo>
                    <a:cubicBezTo>
                      <a:pt x="65" y="39"/>
                      <a:pt x="63" y="41"/>
                      <a:pt x="62" y="42"/>
                    </a:cubicBezTo>
                    <a:cubicBezTo>
                      <a:pt x="53" y="53"/>
                      <a:pt x="53" y="53"/>
                      <a:pt x="53" y="53"/>
                    </a:cubicBezTo>
                    <a:cubicBezTo>
                      <a:pt x="55" y="40"/>
                      <a:pt x="55" y="40"/>
                      <a:pt x="55" y="40"/>
                    </a:cubicBezTo>
                    <a:cubicBezTo>
                      <a:pt x="55" y="39"/>
                      <a:pt x="55" y="39"/>
                      <a:pt x="55" y="39"/>
                    </a:cubicBezTo>
                    <a:cubicBezTo>
                      <a:pt x="55" y="38"/>
                      <a:pt x="55" y="37"/>
                      <a:pt x="54" y="36"/>
                    </a:cubicBezTo>
                    <a:cubicBezTo>
                      <a:pt x="54" y="35"/>
                      <a:pt x="54" y="35"/>
                      <a:pt x="54" y="35"/>
                    </a:cubicBezTo>
                    <a:cubicBezTo>
                      <a:pt x="53" y="35"/>
                      <a:pt x="53" y="35"/>
                      <a:pt x="53" y="35"/>
                    </a:cubicBezTo>
                    <a:cubicBezTo>
                      <a:pt x="53" y="34"/>
                      <a:pt x="52" y="34"/>
                      <a:pt x="51" y="34"/>
                    </a:cubicBezTo>
                    <a:cubicBezTo>
                      <a:pt x="50" y="33"/>
                      <a:pt x="50" y="33"/>
                      <a:pt x="49" y="33"/>
                    </a:cubicBezTo>
                    <a:cubicBezTo>
                      <a:pt x="46" y="31"/>
                      <a:pt x="43" y="30"/>
                      <a:pt x="42" y="28"/>
                    </a:cubicBezTo>
                    <a:cubicBezTo>
                      <a:pt x="42" y="27"/>
                      <a:pt x="42" y="26"/>
                      <a:pt x="42" y="25"/>
                    </a:cubicBezTo>
                    <a:cubicBezTo>
                      <a:pt x="40" y="26"/>
                      <a:pt x="39" y="29"/>
                      <a:pt x="38" y="30"/>
                    </a:cubicBezTo>
                    <a:cubicBezTo>
                      <a:pt x="37" y="33"/>
                      <a:pt x="35" y="35"/>
                      <a:pt x="34" y="37"/>
                    </a:cubicBezTo>
                    <a:cubicBezTo>
                      <a:pt x="32" y="39"/>
                      <a:pt x="32" y="39"/>
                      <a:pt x="32" y="39"/>
                    </a:cubicBezTo>
                    <a:cubicBezTo>
                      <a:pt x="32" y="39"/>
                      <a:pt x="30" y="41"/>
                      <a:pt x="28" y="41"/>
                    </a:cubicBezTo>
                    <a:cubicBezTo>
                      <a:pt x="26" y="41"/>
                      <a:pt x="26" y="41"/>
                      <a:pt x="26" y="41"/>
                    </a:cubicBezTo>
                    <a:cubicBezTo>
                      <a:pt x="26" y="41"/>
                      <a:pt x="25" y="40"/>
                      <a:pt x="25" y="40"/>
                    </a:cubicBezTo>
                    <a:cubicBezTo>
                      <a:pt x="23" y="40"/>
                      <a:pt x="21" y="39"/>
                      <a:pt x="20" y="39"/>
                    </a:cubicBezTo>
                    <a:cubicBezTo>
                      <a:pt x="19" y="39"/>
                      <a:pt x="19" y="40"/>
                      <a:pt x="18" y="40"/>
                    </a:cubicBezTo>
                    <a:cubicBezTo>
                      <a:pt x="16" y="40"/>
                      <a:pt x="12" y="40"/>
                      <a:pt x="9" y="41"/>
                    </a:cubicBezTo>
                    <a:cubicBezTo>
                      <a:pt x="8" y="41"/>
                      <a:pt x="8" y="41"/>
                      <a:pt x="8" y="41"/>
                    </a:cubicBezTo>
                    <a:cubicBezTo>
                      <a:pt x="7" y="41"/>
                      <a:pt x="7" y="41"/>
                      <a:pt x="6" y="41"/>
                    </a:cubicBezTo>
                    <a:cubicBezTo>
                      <a:pt x="5" y="42"/>
                      <a:pt x="5" y="42"/>
                      <a:pt x="4" y="43"/>
                    </a:cubicBezTo>
                    <a:cubicBezTo>
                      <a:pt x="3" y="43"/>
                      <a:pt x="3" y="43"/>
                      <a:pt x="3" y="43"/>
                    </a:cubicBezTo>
                    <a:cubicBezTo>
                      <a:pt x="9" y="51"/>
                      <a:pt x="9" y="51"/>
                      <a:pt x="9" y="51"/>
                    </a:cubicBezTo>
                    <a:cubicBezTo>
                      <a:pt x="9" y="51"/>
                      <a:pt x="9" y="51"/>
                      <a:pt x="9" y="51"/>
                    </a:cubicBezTo>
                    <a:cubicBezTo>
                      <a:pt x="11" y="52"/>
                      <a:pt x="12" y="53"/>
                      <a:pt x="13" y="55"/>
                    </a:cubicBezTo>
                    <a:cubicBezTo>
                      <a:pt x="13" y="57"/>
                      <a:pt x="12" y="58"/>
                      <a:pt x="11" y="59"/>
                    </a:cubicBezTo>
                    <a:cubicBezTo>
                      <a:pt x="11" y="60"/>
                      <a:pt x="11" y="60"/>
                      <a:pt x="11" y="60"/>
                    </a:cubicBezTo>
                    <a:cubicBezTo>
                      <a:pt x="12" y="61"/>
                      <a:pt x="11" y="62"/>
                      <a:pt x="11" y="63"/>
                    </a:cubicBezTo>
                    <a:cubicBezTo>
                      <a:pt x="9" y="66"/>
                      <a:pt x="5" y="67"/>
                      <a:pt x="0" y="68"/>
                    </a:cubicBezTo>
                    <a:cubicBezTo>
                      <a:pt x="11" y="81"/>
                      <a:pt x="11" y="81"/>
                      <a:pt x="11" y="81"/>
                    </a:cubicBezTo>
                    <a:cubicBezTo>
                      <a:pt x="8" y="83"/>
                      <a:pt x="8" y="83"/>
                      <a:pt x="8" y="83"/>
                    </a:cubicBezTo>
                    <a:cubicBezTo>
                      <a:pt x="6" y="84"/>
                      <a:pt x="4" y="88"/>
                      <a:pt x="5" y="90"/>
                    </a:cubicBezTo>
                    <a:cubicBezTo>
                      <a:pt x="5" y="90"/>
                      <a:pt x="5" y="90"/>
                      <a:pt x="5" y="90"/>
                    </a:cubicBezTo>
                    <a:cubicBezTo>
                      <a:pt x="29" y="100"/>
                      <a:pt x="29" y="100"/>
                      <a:pt x="29" y="100"/>
                    </a:cubicBezTo>
                    <a:cubicBezTo>
                      <a:pt x="28" y="103"/>
                      <a:pt x="28" y="103"/>
                      <a:pt x="28" y="103"/>
                    </a:cubicBezTo>
                    <a:cubicBezTo>
                      <a:pt x="27" y="105"/>
                      <a:pt x="26" y="107"/>
                      <a:pt x="25" y="109"/>
                    </a:cubicBezTo>
                    <a:cubicBezTo>
                      <a:pt x="25" y="110"/>
                      <a:pt x="24" y="111"/>
                      <a:pt x="24" y="112"/>
                    </a:cubicBezTo>
                    <a:cubicBezTo>
                      <a:pt x="29" y="111"/>
                      <a:pt x="34" y="109"/>
                      <a:pt x="36" y="107"/>
                    </a:cubicBezTo>
                    <a:cubicBezTo>
                      <a:pt x="41" y="102"/>
                      <a:pt x="46" y="97"/>
                      <a:pt x="50" y="92"/>
                    </a:cubicBezTo>
                    <a:cubicBezTo>
                      <a:pt x="50" y="92"/>
                      <a:pt x="51" y="92"/>
                      <a:pt x="52" y="92"/>
                    </a:cubicBezTo>
                    <a:cubicBezTo>
                      <a:pt x="56" y="92"/>
                      <a:pt x="66" y="94"/>
                      <a:pt x="67" y="95"/>
                    </a:cubicBezTo>
                    <a:cubicBezTo>
                      <a:pt x="73" y="97"/>
                      <a:pt x="79" y="99"/>
                      <a:pt x="86" y="102"/>
                    </a:cubicBezTo>
                    <a:cubicBezTo>
                      <a:pt x="90" y="104"/>
                      <a:pt x="96" y="107"/>
                      <a:pt x="97" y="113"/>
                    </a:cubicBezTo>
                    <a:cubicBezTo>
                      <a:pt x="98" y="120"/>
                      <a:pt x="100" y="126"/>
                      <a:pt x="103" y="133"/>
                    </a:cubicBezTo>
                    <a:cubicBezTo>
                      <a:pt x="103" y="135"/>
                      <a:pt x="104" y="138"/>
                      <a:pt x="104" y="140"/>
                    </a:cubicBezTo>
                    <a:cubicBezTo>
                      <a:pt x="104" y="140"/>
                      <a:pt x="103" y="140"/>
                      <a:pt x="103" y="141"/>
                    </a:cubicBezTo>
                    <a:cubicBezTo>
                      <a:pt x="104" y="142"/>
                      <a:pt x="105" y="142"/>
                      <a:pt x="107" y="142"/>
                    </a:cubicBezTo>
                    <a:cubicBezTo>
                      <a:pt x="107" y="142"/>
                      <a:pt x="108" y="142"/>
                      <a:pt x="108" y="142"/>
                    </a:cubicBezTo>
                    <a:cubicBezTo>
                      <a:pt x="109" y="142"/>
                      <a:pt x="109" y="142"/>
                      <a:pt x="109" y="142"/>
                    </a:cubicBezTo>
                    <a:cubicBezTo>
                      <a:pt x="110" y="142"/>
                      <a:pt x="110" y="142"/>
                      <a:pt x="110" y="142"/>
                    </a:cubicBezTo>
                    <a:cubicBezTo>
                      <a:pt x="112" y="142"/>
                      <a:pt x="116" y="150"/>
                      <a:pt x="118" y="152"/>
                    </a:cubicBezTo>
                    <a:cubicBezTo>
                      <a:pt x="119" y="154"/>
                      <a:pt x="122" y="157"/>
                      <a:pt x="122" y="159"/>
                    </a:cubicBezTo>
                    <a:cubicBezTo>
                      <a:pt x="121" y="159"/>
                      <a:pt x="121" y="159"/>
                      <a:pt x="121" y="159"/>
                    </a:cubicBezTo>
                    <a:cubicBezTo>
                      <a:pt x="121" y="159"/>
                      <a:pt x="120" y="159"/>
                      <a:pt x="120" y="160"/>
                    </a:cubicBezTo>
                    <a:cubicBezTo>
                      <a:pt x="121" y="161"/>
                      <a:pt x="123" y="161"/>
                      <a:pt x="125" y="161"/>
                    </a:cubicBezTo>
                    <a:cubicBezTo>
                      <a:pt x="125" y="161"/>
                      <a:pt x="126" y="161"/>
                      <a:pt x="126" y="161"/>
                    </a:cubicBezTo>
                    <a:cubicBezTo>
                      <a:pt x="126" y="161"/>
                      <a:pt x="126" y="161"/>
                      <a:pt x="126" y="161"/>
                    </a:cubicBezTo>
                    <a:cubicBezTo>
                      <a:pt x="127" y="161"/>
                      <a:pt x="127" y="161"/>
                      <a:pt x="127" y="161"/>
                    </a:cubicBezTo>
                    <a:cubicBezTo>
                      <a:pt x="134" y="161"/>
                      <a:pt x="139" y="169"/>
                      <a:pt x="144" y="173"/>
                    </a:cubicBezTo>
                    <a:cubicBezTo>
                      <a:pt x="147" y="176"/>
                      <a:pt x="150" y="178"/>
                      <a:pt x="153" y="181"/>
                    </a:cubicBezTo>
                    <a:cubicBezTo>
                      <a:pt x="158" y="185"/>
                      <a:pt x="158" y="185"/>
                      <a:pt x="158" y="185"/>
                    </a:cubicBezTo>
                    <a:cubicBezTo>
                      <a:pt x="161" y="187"/>
                      <a:pt x="164" y="190"/>
                      <a:pt x="168" y="193"/>
                    </a:cubicBezTo>
                    <a:cubicBezTo>
                      <a:pt x="170" y="195"/>
                      <a:pt x="172" y="197"/>
                      <a:pt x="175" y="198"/>
                    </a:cubicBezTo>
                    <a:cubicBezTo>
                      <a:pt x="175" y="199"/>
                      <a:pt x="176" y="200"/>
                      <a:pt x="176" y="200"/>
                    </a:cubicBezTo>
                    <a:cubicBezTo>
                      <a:pt x="177" y="201"/>
                      <a:pt x="178" y="201"/>
                      <a:pt x="180" y="201"/>
                    </a:cubicBezTo>
                    <a:cubicBezTo>
                      <a:pt x="182" y="201"/>
                      <a:pt x="184" y="201"/>
                      <a:pt x="186" y="200"/>
                    </a:cubicBezTo>
                    <a:cubicBezTo>
                      <a:pt x="187" y="200"/>
                      <a:pt x="189" y="200"/>
                      <a:pt x="191" y="200"/>
                    </a:cubicBezTo>
                    <a:cubicBezTo>
                      <a:pt x="194" y="200"/>
                      <a:pt x="196" y="200"/>
                      <a:pt x="197" y="202"/>
                    </a:cubicBezTo>
                    <a:cubicBezTo>
                      <a:pt x="200" y="206"/>
                      <a:pt x="202" y="210"/>
                      <a:pt x="206" y="212"/>
                    </a:cubicBezTo>
                    <a:cubicBezTo>
                      <a:pt x="209" y="213"/>
                      <a:pt x="212" y="215"/>
                      <a:pt x="216" y="216"/>
                    </a:cubicBezTo>
                    <a:cubicBezTo>
                      <a:pt x="215" y="218"/>
                      <a:pt x="213" y="220"/>
                      <a:pt x="212" y="222"/>
                    </a:cubicBezTo>
                    <a:cubicBezTo>
                      <a:pt x="216" y="221"/>
                      <a:pt x="219" y="220"/>
                      <a:pt x="222" y="220"/>
                    </a:cubicBezTo>
                    <a:cubicBezTo>
                      <a:pt x="223" y="220"/>
                      <a:pt x="224" y="219"/>
                      <a:pt x="224" y="219"/>
                    </a:cubicBezTo>
                    <a:cubicBezTo>
                      <a:pt x="225" y="219"/>
                      <a:pt x="225" y="219"/>
                      <a:pt x="225" y="219"/>
                    </a:cubicBezTo>
                    <a:cubicBezTo>
                      <a:pt x="227" y="220"/>
                      <a:pt x="231" y="228"/>
                      <a:pt x="231" y="230"/>
                    </a:cubicBezTo>
                    <a:cubicBezTo>
                      <a:pt x="231" y="230"/>
                      <a:pt x="230" y="231"/>
                      <a:pt x="230" y="232"/>
                    </a:cubicBezTo>
                    <a:cubicBezTo>
                      <a:pt x="229" y="234"/>
                      <a:pt x="229" y="233"/>
                      <a:pt x="232" y="236"/>
                    </a:cubicBezTo>
                    <a:cubicBezTo>
                      <a:pt x="235" y="238"/>
                      <a:pt x="239" y="241"/>
                      <a:pt x="242" y="241"/>
                    </a:cubicBezTo>
                    <a:cubicBezTo>
                      <a:pt x="243" y="241"/>
                      <a:pt x="243" y="241"/>
                      <a:pt x="243" y="241"/>
                    </a:cubicBezTo>
                    <a:cubicBezTo>
                      <a:pt x="245" y="241"/>
                      <a:pt x="247" y="241"/>
                      <a:pt x="248" y="241"/>
                    </a:cubicBezTo>
                    <a:cubicBezTo>
                      <a:pt x="250" y="241"/>
                      <a:pt x="252" y="241"/>
                      <a:pt x="253" y="244"/>
                    </a:cubicBezTo>
                    <a:cubicBezTo>
                      <a:pt x="254" y="247"/>
                      <a:pt x="255" y="251"/>
                      <a:pt x="256" y="254"/>
                    </a:cubicBezTo>
                    <a:cubicBezTo>
                      <a:pt x="259" y="261"/>
                      <a:pt x="260" y="270"/>
                      <a:pt x="264" y="276"/>
                    </a:cubicBezTo>
                    <a:cubicBezTo>
                      <a:pt x="265" y="278"/>
                      <a:pt x="266" y="277"/>
                      <a:pt x="266" y="279"/>
                    </a:cubicBezTo>
                    <a:cubicBezTo>
                      <a:pt x="266" y="283"/>
                      <a:pt x="263" y="283"/>
                      <a:pt x="260" y="284"/>
                    </a:cubicBezTo>
                    <a:cubicBezTo>
                      <a:pt x="259" y="284"/>
                      <a:pt x="257" y="285"/>
                      <a:pt x="257" y="286"/>
                    </a:cubicBezTo>
                    <a:cubicBezTo>
                      <a:pt x="256" y="287"/>
                      <a:pt x="256" y="286"/>
                      <a:pt x="256" y="287"/>
                    </a:cubicBezTo>
                    <a:cubicBezTo>
                      <a:pt x="255" y="288"/>
                      <a:pt x="258" y="290"/>
                      <a:pt x="258" y="291"/>
                    </a:cubicBezTo>
                    <a:cubicBezTo>
                      <a:pt x="258" y="292"/>
                      <a:pt x="255" y="295"/>
                      <a:pt x="254" y="296"/>
                    </a:cubicBezTo>
                    <a:cubicBezTo>
                      <a:pt x="251" y="300"/>
                      <a:pt x="245" y="309"/>
                      <a:pt x="254" y="311"/>
                    </a:cubicBezTo>
                    <a:cubicBezTo>
                      <a:pt x="254" y="311"/>
                      <a:pt x="256" y="311"/>
                      <a:pt x="257" y="311"/>
                    </a:cubicBezTo>
                    <a:cubicBezTo>
                      <a:pt x="259" y="311"/>
                      <a:pt x="261" y="311"/>
                      <a:pt x="261" y="311"/>
                    </a:cubicBezTo>
                    <a:cubicBezTo>
                      <a:pt x="263" y="310"/>
                      <a:pt x="266" y="305"/>
                      <a:pt x="268" y="303"/>
                    </a:cubicBezTo>
                    <a:cubicBezTo>
                      <a:pt x="270" y="301"/>
                      <a:pt x="275" y="296"/>
                      <a:pt x="276" y="293"/>
                    </a:cubicBezTo>
                    <a:cubicBezTo>
                      <a:pt x="277" y="291"/>
                      <a:pt x="275" y="286"/>
                      <a:pt x="275" y="285"/>
                    </a:cubicBezTo>
                    <a:cubicBezTo>
                      <a:pt x="276" y="282"/>
                      <a:pt x="282" y="277"/>
                      <a:pt x="286" y="277"/>
                    </a:cubicBezTo>
                    <a:cubicBezTo>
                      <a:pt x="286" y="277"/>
                      <a:pt x="286" y="277"/>
                      <a:pt x="287" y="277"/>
                    </a:cubicBezTo>
                    <a:cubicBezTo>
                      <a:pt x="288" y="277"/>
                      <a:pt x="290" y="278"/>
                      <a:pt x="291" y="278"/>
                    </a:cubicBezTo>
                    <a:cubicBezTo>
                      <a:pt x="292" y="278"/>
                      <a:pt x="292" y="278"/>
                      <a:pt x="292" y="278"/>
                    </a:cubicBezTo>
                    <a:cubicBezTo>
                      <a:pt x="295" y="275"/>
                      <a:pt x="293" y="269"/>
                      <a:pt x="293" y="266"/>
                    </a:cubicBezTo>
                    <a:cubicBezTo>
                      <a:pt x="292" y="261"/>
                      <a:pt x="288" y="259"/>
                      <a:pt x="283" y="256"/>
                    </a:cubicBezTo>
                    <a:cubicBezTo>
                      <a:pt x="282" y="255"/>
                      <a:pt x="282" y="255"/>
                      <a:pt x="281" y="254"/>
                    </a:cubicBezTo>
                    <a:cubicBezTo>
                      <a:pt x="280" y="254"/>
                      <a:pt x="280" y="254"/>
                      <a:pt x="280" y="254"/>
                    </a:cubicBezTo>
                    <a:cubicBezTo>
                      <a:pt x="279" y="254"/>
                      <a:pt x="279" y="254"/>
                      <a:pt x="279" y="254"/>
                    </a:cubicBezTo>
                    <a:cubicBezTo>
                      <a:pt x="279" y="254"/>
                      <a:pt x="278" y="254"/>
                      <a:pt x="278" y="254"/>
                    </a:cubicBezTo>
                    <a:cubicBezTo>
                      <a:pt x="278" y="254"/>
                      <a:pt x="277" y="254"/>
                      <a:pt x="277" y="254"/>
                    </a:cubicBezTo>
                    <a:cubicBezTo>
                      <a:pt x="274" y="252"/>
                      <a:pt x="276" y="249"/>
                      <a:pt x="276" y="246"/>
                    </a:cubicBezTo>
                    <a:cubicBezTo>
                      <a:pt x="278" y="238"/>
                      <a:pt x="281" y="232"/>
                      <a:pt x="288" y="225"/>
                    </a:cubicBezTo>
                    <a:cubicBezTo>
                      <a:pt x="289" y="225"/>
                      <a:pt x="290" y="224"/>
                      <a:pt x="292" y="224"/>
                    </a:cubicBezTo>
                    <a:cubicBezTo>
                      <a:pt x="295" y="224"/>
                      <a:pt x="298" y="226"/>
                      <a:pt x="294" y="228"/>
                    </a:cubicBezTo>
                    <a:cubicBezTo>
                      <a:pt x="298" y="229"/>
                      <a:pt x="302" y="230"/>
                      <a:pt x="306" y="231"/>
                    </a:cubicBezTo>
                    <a:cubicBezTo>
                      <a:pt x="311" y="232"/>
                      <a:pt x="311" y="234"/>
                      <a:pt x="314" y="238"/>
                    </a:cubicBezTo>
                    <a:cubicBezTo>
                      <a:pt x="318" y="244"/>
                      <a:pt x="321" y="245"/>
                      <a:pt x="327" y="248"/>
                    </a:cubicBezTo>
                    <a:cubicBezTo>
                      <a:pt x="328" y="244"/>
                      <a:pt x="330" y="243"/>
                      <a:pt x="331" y="240"/>
                    </a:cubicBezTo>
                    <a:cubicBezTo>
                      <a:pt x="332" y="234"/>
                      <a:pt x="323" y="228"/>
                      <a:pt x="319" y="224"/>
                    </a:cubicBezTo>
                    <a:cubicBezTo>
                      <a:pt x="315" y="220"/>
                      <a:pt x="308" y="217"/>
                      <a:pt x="303" y="214"/>
                    </a:cubicBezTo>
                    <a:cubicBezTo>
                      <a:pt x="299" y="211"/>
                      <a:pt x="294" y="209"/>
                      <a:pt x="290" y="207"/>
                    </a:cubicBezTo>
                    <a:cubicBezTo>
                      <a:pt x="278" y="201"/>
                      <a:pt x="266" y="198"/>
                      <a:pt x="258" y="186"/>
                    </a:cubicBezTo>
                    <a:cubicBezTo>
                      <a:pt x="261" y="185"/>
                      <a:pt x="266" y="183"/>
                      <a:pt x="265" y="180"/>
                    </a:cubicBezTo>
                    <a:cubicBezTo>
                      <a:pt x="265" y="179"/>
                      <a:pt x="265" y="177"/>
                      <a:pt x="264" y="177"/>
                    </a:cubicBezTo>
                    <a:cubicBezTo>
                      <a:pt x="254" y="177"/>
                      <a:pt x="245" y="177"/>
                      <a:pt x="236" y="176"/>
                    </a:cubicBezTo>
                    <a:cubicBezTo>
                      <a:pt x="233" y="176"/>
                      <a:pt x="227" y="173"/>
                      <a:pt x="225" y="171"/>
                    </a:cubicBezTo>
                    <a:cubicBezTo>
                      <a:pt x="221" y="169"/>
                      <a:pt x="218" y="166"/>
                      <a:pt x="215" y="163"/>
                    </a:cubicBezTo>
                    <a:cubicBezTo>
                      <a:pt x="208" y="157"/>
                      <a:pt x="205" y="152"/>
                      <a:pt x="201" y="144"/>
                    </a:cubicBezTo>
                    <a:cubicBezTo>
                      <a:pt x="198" y="139"/>
                      <a:pt x="198" y="128"/>
                      <a:pt x="193" y="124"/>
                    </a:cubicBezTo>
                    <a:cubicBezTo>
                      <a:pt x="186" y="119"/>
                      <a:pt x="179" y="113"/>
                      <a:pt x="171" y="108"/>
                    </a:cubicBezTo>
                    <a:cubicBezTo>
                      <a:pt x="164" y="104"/>
                      <a:pt x="158" y="100"/>
                      <a:pt x="156" y="92"/>
                    </a:cubicBezTo>
                    <a:cubicBezTo>
                      <a:pt x="155" y="87"/>
                      <a:pt x="153" y="81"/>
                      <a:pt x="154" y="77"/>
                    </a:cubicBezTo>
                    <a:cubicBezTo>
                      <a:pt x="155" y="77"/>
                      <a:pt x="156" y="77"/>
                      <a:pt x="156" y="77"/>
                    </a:cubicBezTo>
                    <a:cubicBezTo>
                      <a:pt x="159" y="77"/>
                      <a:pt x="160" y="76"/>
                      <a:pt x="161" y="73"/>
                    </a:cubicBezTo>
                    <a:cubicBezTo>
                      <a:pt x="161" y="71"/>
                      <a:pt x="160" y="70"/>
                      <a:pt x="158" y="67"/>
                    </a:cubicBezTo>
                    <a:cubicBezTo>
                      <a:pt x="157" y="66"/>
                      <a:pt x="151" y="61"/>
                      <a:pt x="151" y="59"/>
                    </a:cubicBezTo>
                    <a:cubicBezTo>
                      <a:pt x="151" y="58"/>
                      <a:pt x="153" y="55"/>
                      <a:pt x="154" y="54"/>
                    </a:cubicBezTo>
                    <a:cubicBezTo>
                      <a:pt x="155" y="53"/>
                      <a:pt x="158" y="51"/>
                      <a:pt x="159" y="51"/>
                    </a:cubicBezTo>
                    <a:cubicBezTo>
                      <a:pt x="159" y="52"/>
                      <a:pt x="159" y="54"/>
                      <a:pt x="158" y="55"/>
                    </a:cubicBezTo>
                    <a:cubicBezTo>
                      <a:pt x="161" y="54"/>
                      <a:pt x="164" y="53"/>
                      <a:pt x="167" y="51"/>
                    </a:cubicBezTo>
                    <a:cubicBezTo>
                      <a:pt x="169" y="50"/>
                      <a:pt x="176" y="49"/>
                      <a:pt x="177" y="47"/>
                    </a:cubicBezTo>
                    <a:cubicBezTo>
                      <a:pt x="179" y="44"/>
                      <a:pt x="176" y="44"/>
                      <a:pt x="180" y="43"/>
                    </a:cubicBezTo>
                    <a:cubicBezTo>
                      <a:pt x="180" y="43"/>
                      <a:pt x="180" y="43"/>
                      <a:pt x="181" y="43"/>
                    </a:cubicBezTo>
                    <a:cubicBezTo>
                      <a:pt x="182" y="43"/>
                      <a:pt x="183" y="43"/>
                      <a:pt x="184" y="44"/>
                    </a:cubicBezTo>
                    <a:cubicBezTo>
                      <a:pt x="185" y="44"/>
                      <a:pt x="185" y="44"/>
                      <a:pt x="186" y="44"/>
                    </a:cubicBezTo>
                    <a:cubicBezTo>
                      <a:pt x="187" y="44"/>
                      <a:pt x="188" y="44"/>
                      <a:pt x="189" y="44"/>
                    </a:cubicBezTo>
                    <a:cubicBezTo>
                      <a:pt x="189" y="43"/>
                      <a:pt x="189" y="44"/>
                      <a:pt x="189" y="43"/>
                    </a:cubicBezTo>
                    <a:cubicBezTo>
                      <a:pt x="189" y="43"/>
                      <a:pt x="189" y="43"/>
                      <a:pt x="189" y="43"/>
                    </a:cubicBezTo>
                    <a:cubicBezTo>
                      <a:pt x="189" y="42"/>
                      <a:pt x="189" y="42"/>
                      <a:pt x="189" y="42"/>
                    </a:cubicBezTo>
                    <a:cubicBezTo>
                      <a:pt x="188" y="41"/>
                      <a:pt x="188" y="40"/>
                      <a:pt x="189" y="38"/>
                    </a:cubicBezTo>
                    <a:cubicBezTo>
                      <a:pt x="189" y="37"/>
                      <a:pt x="189" y="37"/>
                      <a:pt x="189" y="37"/>
                    </a:cubicBezTo>
                    <a:cubicBezTo>
                      <a:pt x="189" y="37"/>
                      <a:pt x="187" y="36"/>
                      <a:pt x="187" y="36"/>
                    </a:cubicBezTo>
                    <a:cubicBezTo>
                      <a:pt x="182" y="32"/>
                      <a:pt x="182" y="32"/>
                      <a:pt x="182" y="32"/>
                    </a:cubicBezTo>
                    <a:cubicBezTo>
                      <a:pt x="187" y="30"/>
                      <a:pt x="187" y="30"/>
                      <a:pt x="187" y="30"/>
                    </a:cubicBezTo>
                    <a:cubicBezTo>
                      <a:pt x="188" y="29"/>
                      <a:pt x="188" y="29"/>
                      <a:pt x="188" y="29"/>
                    </a:cubicBezTo>
                    <a:cubicBezTo>
                      <a:pt x="188" y="29"/>
                      <a:pt x="188" y="29"/>
                      <a:pt x="188" y="29"/>
                    </a:cubicBezTo>
                    <a:cubicBezTo>
                      <a:pt x="180" y="24"/>
                      <a:pt x="180" y="24"/>
                      <a:pt x="180" y="24"/>
                    </a:cubicBezTo>
                    <a:cubicBezTo>
                      <a:pt x="184" y="21"/>
                      <a:pt x="184" y="21"/>
                      <a:pt x="184" y="21"/>
                    </a:cubicBezTo>
                    <a:cubicBezTo>
                      <a:pt x="185" y="21"/>
                      <a:pt x="185" y="21"/>
                      <a:pt x="186" y="20"/>
                    </a:cubicBezTo>
                    <a:cubicBezTo>
                      <a:pt x="187" y="20"/>
                      <a:pt x="187" y="20"/>
                      <a:pt x="187" y="20"/>
                    </a:cubicBezTo>
                    <a:cubicBezTo>
                      <a:pt x="187" y="19"/>
                      <a:pt x="188" y="19"/>
                      <a:pt x="189" y="18"/>
                    </a:cubicBezTo>
                    <a:cubicBezTo>
                      <a:pt x="189" y="18"/>
                      <a:pt x="189" y="18"/>
                      <a:pt x="189" y="18"/>
                    </a:cubicBezTo>
                    <a:cubicBezTo>
                      <a:pt x="187" y="18"/>
                      <a:pt x="186" y="18"/>
                      <a:pt x="184" y="18"/>
                    </a:cubicBezTo>
                    <a:cubicBezTo>
                      <a:pt x="178" y="17"/>
                      <a:pt x="172" y="17"/>
                      <a:pt x="165" y="15"/>
                    </a:cubicBezTo>
                    <a:cubicBezTo>
                      <a:pt x="164" y="15"/>
                      <a:pt x="164" y="15"/>
                      <a:pt x="164" y="15"/>
                    </a:cubicBezTo>
                    <a:cubicBezTo>
                      <a:pt x="161" y="14"/>
                      <a:pt x="161" y="14"/>
                      <a:pt x="161" y="14"/>
                    </a:cubicBezTo>
                    <a:cubicBezTo>
                      <a:pt x="156" y="14"/>
                      <a:pt x="151" y="9"/>
                      <a:pt x="149" y="5"/>
                    </a:cubicBezTo>
                    <a:cubicBezTo>
                      <a:pt x="149" y="4"/>
                      <a:pt x="149" y="4"/>
                      <a:pt x="149" y="4"/>
                    </a:cubicBezTo>
                    <a:cubicBezTo>
                      <a:pt x="148" y="3"/>
                      <a:pt x="148" y="2"/>
                      <a:pt x="14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44" name="Freeform 272">
                <a:extLst>
                  <a:ext uri="{FF2B5EF4-FFF2-40B4-BE49-F238E27FC236}">
                    <a16:creationId xmlns:a16="http://schemas.microsoft.com/office/drawing/2014/main" id="{B71A6A8F-F4F2-4528-9CC6-D4B939A43940}"/>
                  </a:ext>
                </a:extLst>
              </p:cNvPr>
              <p:cNvSpPr>
                <a:spLocks/>
              </p:cNvSpPr>
              <p:nvPr/>
            </p:nvSpPr>
            <p:spPr bwMode="auto">
              <a:xfrm>
                <a:off x="4882779" y="3884113"/>
                <a:ext cx="7370" cy="7370"/>
              </a:xfrm>
              <a:custGeom>
                <a:avLst/>
                <a:gdLst>
                  <a:gd name="T0" fmla="*/ 0 w 2"/>
                  <a:gd name="T1" fmla="*/ 0 h 2"/>
                  <a:gd name="T2" fmla="*/ 0 w 2"/>
                  <a:gd name="T3" fmla="*/ 0 h 2"/>
                  <a:gd name="T4" fmla="*/ 0 w 2"/>
                  <a:gd name="T5" fmla="*/ 2 h 2"/>
                  <a:gd name="T6" fmla="*/ 2 w 2"/>
                  <a:gd name="T7" fmla="*/ 2 h 2"/>
                  <a:gd name="T8" fmla="*/ 2 w 2"/>
                  <a:gd name="T9" fmla="*/ 1 h 2"/>
                  <a:gd name="T10" fmla="*/ 2 w 2"/>
                  <a:gd name="T11" fmla="*/ 1 h 2"/>
                  <a:gd name="T12" fmla="*/ 1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cubicBezTo>
                      <a:pt x="0" y="0"/>
                      <a:pt x="0" y="0"/>
                      <a:pt x="0" y="0"/>
                    </a:cubicBezTo>
                    <a:cubicBezTo>
                      <a:pt x="0" y="1"/>
                      <a:pt x="0" y="1"/>
                      <a:pt x="0" y="2"/>
                    </a:cubicBezTo>
                    <a:cubicBezTo>
                      <a:pt x="1" y="2"/>
                      <a:pt x="1" y="2"/>
                      <a:pt x="2" y="2"/>
                    </a:cubicBezTo>
                    <a:cubicBezTo>
                      <a:pt x="2" y="1"/>
                      <a:pt x="2" y="1"/>
                      <a:pt x="2" y="1"/>
                    </a:cubicBezTo>
                    <a:cubicBezTo>
                      <a:pt x="2" y="1"/>
                      <a:pt x="2" y="1"/>
                      <a:pt x="2" y="1"/>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45" name="Freeform 273">
                <a:extLst>
                  <a:ext uri="{FF2B5EF4-FFF2-40B4-BE49-F238E27FC236}">
                    <a16:creationId xmlns:a16="http://schemas.microsoft.com/office/drawing/2014/main" id="{97662B73-E6E0-44F2-A2DF-8E2217A0685B}"/>
                  </a:ext>
                </a:extLst>
              </p:cNvPr>
              <p:cNvSpPr>
                <a:spLocks noEditPoints="1"/>
              </p:cNvSpPr>
              <p:nvPr/>
            </p:nvSpPr>
            <p:spPr bwMode="auto">
              <a:xfrm>
                <a:off x="4716948" y="3581933"/>
                <a:ext cx="280069" cy="272699"/>
              </a:xfrm>
              <a:custGeom>
                <a:avLst/>
                <a:gdLst>
                  <a:gd name="T0" fmla="*/ 30 w 88"/>
                  <a:gd name="T1" fmla="*/ 19 h 86"/>
                  <a:gd name="T2" fmla="*/ 38 w 88"/>
                  <a:gd name="T3" fmla="*/ 16 h 86"/>
                  <a:gd name="T4" fmla="*/ 44 w 88"/>
                  <a:gd name="T5" fmla="*/ 22 h 86"/>
                  <a:gd name="T6" fmla="*/ 46 w 88"/>
                  <a:gd name="T7" fmla="*/ 22 h 86"/>
                  <a:gd name="T8" fmla="*/ 45 w 88"/>
                  <a:gd name="T9" fmla="*/ 27 h 86"/>
                  <a:gd name="T10" fmla="*/ 53 w 88"/>
                  <a:gd name="T11" fmla="*/ 35 h 86"/>
                  <a:gd name="T12" fmla="*/ 33 w 88"/>
                  <a:gd name="T13" fmla="*/ 40 h 86"/>
                  <a:gd name="T14" fmla="*/ 39 w 88"/>
                  <a:gd name="T15" fmla="*/ 43 h 86"/>
                  <a:gd name="T16" fmla="*/ 53 w 88"/>
                  <a:gd name="T17" fmla="*/ 37 h 86"/>
                  <a:gd name="T18" fmla="*/ 45 w 88"/>
                  <a:gd name="T19" fmla="*/ 43 h 86"/>
                  <a:gd name="T20" fmla="*/ 29 w 88"/>
                  <a:gd name="T21" fmla="*/ 41 h 86"/>
                  <a:gd name="T22" fmla="*/ 29 w 88"/>
                  <a:gd name="T23" fmla="*/ 31 h 86"/>
                  <a:gd name="T24" fmla="*/ 35 w 88"/>
                  <a:gd name="T25" fmla="*/ 26 h 86"/>
                  <a:gd name="T26" fmla="*/ 41 w 88"/>
                  <a:gd name="T27" fmla="*/ 8 h 86"/>
                  <a:gd name="T28" fmla="*/ 28 w 88"/>
                  <a:gd name="T29" fmla="*/ 19 h 86"/>
                  <a:gd name="T30" fmla="*/ 18 w 88"/>
                  <a:gd name="T31" fmla="*/ 29 h 86"/>
                  <a:gd name="T32" fmla="*/ 2 w 88"/>
                  <a:gd name="T33" fmla="*/ 60 h 86"/>
                  <a:gd name="T34" fmla="*/ 15 w 88"/>
                  <a:gd name="T35" fmla="*/ 65 h 86"/>
                  <a:gd name="T36" fmla="*/ 23 w 88"/>
                  <a:gd name="T37" fmla="*/ 66 h 86"/>
                  <a:gd name="T38" fmla="*/ 11 w 88"/>
                  <a:gd name="T39" fmla="*/ 67 h 86"/>
                  <a:gd name="T40" fmla="*/ 2 w 88"/>
                  <a:gd name="T41" fmla="*/ 70 h 86"/>
                  <a:gd name="T42" fmla="*/ 7 w 88"/>
                  <a:gd name="T43" fmla="*/ 73 h 86"/>
                  <a:gd name="T44" fmla="*/ 8 w 88"/>
                  <a:gd name="T45" fmla="*/ 75 h 86"/>
                  <a:gd name="T46" fmla="*/ 9 w 88"/>
                  <a:gd name="T47" fmla="*/ 74 h 86"/>
                  <a:gd name="T48" fmla="*/ 14 w 88"/>
                  <a:gd name="T49" fmla="*/ 71 h 86"/>
                  <a:gd name="T50" fmla="*/ 19 w 88"/>
                  <a:gd name="T51" fmla="*/ 71 h 86"/>
                  <a:gd name="T52" fmla="*/ 22 w 88"/>
                  <a:gd name="T53" fmla="*/ 70 h 86"/>
                  <a:gd name="T54" fmla="*/ 28 w 88"/>
                  <a:gd name="T55" fmla="*/ 72 h 86"/>
                  <a:gd name="T56" fmla="*/ 31 w 88"/>
                  <a:gd name="T57" fmla="*/ 72 h 86"/>
                  <a:gd name="T58" fmla="*/ 35 w 88"/>
                  <a:gd name="T59" fmla="*/ 76 h 86"/>
                  <a:gd name="T60" fmla="*/ 35 w 88"/>
                  <a:gd name="T61" fmla="*/ 77 h 86"/>
                  <a:gd name="T62" fmla="*/ 37 w 88"/>
                  <a:gd name="T63" fmla="*/ 79 h 86"/>
                  <a:gd name="T64" fmla="*/ 38 w 88"/>
                  <a:gd name="T65" fmla="*/ 79 h 86"/>
                  <a:gd name="T66" fmla="*/ 39 w 88"/>
                  <a:gd name="T67" fmla="*/ 79 h 86"/>
                  <a:gd name="T68" fmla="*/ 46 w 88"/>
                  <a:gd name="T69" fmla="*/ 80 h 86"/>
                  <a:gd name="T70" fmla="*/ 48 w 88"/>
                  <a:gd name="T71" fmla="*/ 82 h 86"/>
                  <a:gd name="T72" fmla="*/ 54 w 88"/>
                  <a:gd name="T73" fmla="*/ 85 h 86"/>
                  <a:gd name="T74" fmla="*/ 55 w 88"/>
                  <a:gd name="T75" fmla="*/ 86 h 86"/>
                  <a:gd name="T76" fmla="*/ 55 w 88"/>
                  <a:gd name="T77" fmla="*/ 84 h 86"/>
                  <a:gd name="T78" fmla="*/ 56 w 88"/>
                  <a:gd name="T79" fmla="*/ 82 h 86"/>
                  <a:gd name="T80" fmla="*/ 58 w 88"/>
                  <a:gd name="T81" fmla="*/ 80 h 86"/>
                  <a:gd name="T82" fmla="*/ 60 w 88"/>
                  <a:gd name="T83" fmla="*/ 75 h 86"/>
                  <a:gd name="T84" fmla="*/ 52 w 88"/>
                  <a:gd name="T85" fmla="*/ 65 h 86"/>
                  <a:gd name="T86" fmla="*/ 57 w 88"/>
                  <a:gd name="T87" fmla="*/ 56 h 86"/>
                  <a:gd name="T88" fmla="*/ 58 w 88"/>
                  <a:gd name="T89" fmla="*/ 56 h 86"/>
                  <a:gd name="T90" fmla="*/ 62 w 88"/>
                  <a:gd name="T91" fmla="*/ 55 h 86"/>
                  <a:gd name="T92" fmla="*/ 67 w 88"/>
                  <a:gd name="T93" fmla="*/ 49 h 86"/>
                  <a:gd name="T94" fmla="*/ 66 w 88"/>
                  <a:gd name="T95" fmla="*/ 56 h 86"/>
                  <a:gd name="T96" fmla="*/ 70 w 88"/>
                  <a:gd name="T97" fmla="*/ 57 h 86"/>
                  <a:gd name="T98" fmla="*/ 71 w 88"/>
                  <a:gd name="T99" fmla="*/ 56 h 86"/>
                  <a:gd name="T100" fmla="*/ 72 w 88"/>
                  <a:gd name="T101" fmla="*/ 54 h 86"/>
                  <a:gd name="T102" fmla="*/ 79 w 88"/>
                  <a:gd name="T103" fmla="*/ 47 h 86"/>
                  <a:gd name="T104" fmla="*/ 83 w 88"/>
                  <a:gd name="T105" fmla="*/ 44 h 86"/>
                  <a:gd name="T106" fmla="*/ 81 w 88"/>
                  <a:gd name="T107" fmla="*/ 41 h 86"/>
                  <a:gd name="T108" fmla="*/ 76 w 88"/>
                  <a:gd name="T109" fmla="*/ 39 h 86"/>
                  <a:gd name="T110" fmla="*/ 74 w 88"/>
                  <a:gd name="T111" fmla="*/ 34 h 86"/>
                  <a:gd name="T112" fmla="*/ 71 w 88"/>
                  <a:gd name="T113" fmla="*/ 29 h 86"/>
                  <a:gd name="T114" fmla="*/ 80 w 88"/>
                  <a:gd name="T115" fmla="*/ 27 h 86"/>
                  <a:gd name="T116" fmla="*/ 84 w 88"/>
                  <a:gd name="T117" fmla="*/ 25 h 86"/>
                  <a:gd name="T118" fmla="*/ 86 w 88"/>
                  <a:gd name="T119" fmla="*/ 18 h 86"/>
                  <a:gd name="T120" fmla="*/ 87 w 88"/>
                  <a:gd name="T121" fmla="*/ 12 h 86"/>
                  <a:gd name="T122" fmla="*/ 87 w 88"/>
                  <a:gd name="T123" fmla="*/ 6 h 86"/>
                  <a:gd name="T124" fmla="*/ 84 w 88"/>
                  <a:gd name="T125" fmla="*/ 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 h="86">
                    <a:moveTo>
                      <a:pt x="35" y="26"/>
                    </a:moveTo>
                    <a:cubicBezTo>
                      <a:pt x="31" y="26"/>
                      <a:pt x="31" y="22"/>
                      <a:pt x="30" y="19"/>
                    </a:cubicBezTo>
                    <a:cubicBezTo>
                      <a:pt x="31" y="18"/>
                      <a:pt x="32" y="18"/>
                      <a:pt x="34" y="17"/>
                    </a:cubicBezTo>
                    <a:cubicBezTo>
                      <a:pt x="36" y="17"/>
                      <a:pt x="37" y="16"/>
                      <a:pt x="38" y="16"/>
                    </a:cubicBezTo>
                    <a:cubicBezTo>
                      <a:pt x="40" y="16"/>
                      <a:pt x="40" y="17"/>
                      <a:pt x="41" y="21"/>
                    </a:cubicBezTo>
                    <a:cubicBezTo>
                      <a:pt x="41" y="22"/>
                      <a:pt x="42" y="22"/>
                      <a:pt x="44" y="22"/>
                    </a:cubicBezTo>
                    <a:cubicBezTo>
                      <a:pt x="44" y="22"/>
                      <a:pt x="45" y="22"/>
                      <a:pt x="45" y="22"/>
                    </a:cubicBezTo>
                    <a:cubicBezTo>
                      <a:pt x="45" y="22"/>
                      <a:pt x="46" y="22"/>
                      <a:pt x="46" y="22"/>
                    </a:cubicBezTo>
                    <a:cubicBezTo>
                      <a:pt x="47" y="22"/>
                      <a:pt x="48" y="22"/>
                      <a:pt x="49" y="23"/>
                    </a:cubicBezTo>
                    <a:cubicBezTo>
                      <a:pt x="47" y="24"/>
                      <a:pt x="45" y="25"/>
                      <a:pt x="45" y="27"/>
                    </a:cubicBezTo>
                    <a:cubicBezTo>
                      <a:pt x="45" y="30"/>
                      <a:pt x="47" y="30"/>
                      <a:pt x="50" y="31"/>
                    </a:cubicBezTo>
                    <a:cubicBezTo>
                      <a:pt x="52" y="31"/>
                      <a:pt x="53" y="33"/>
                      <a:pt x="53" y="35"/>
                    </a:cubicBezTo>
                    <a:cubicBezTo>
                      <a:pt x="52" y="33"/>
                      <a:pt x="46" y="32"/>
                      <a:pt x="45" y="32"/>
                    </a:cubicBezTo>
                    <a:cubicBezTo>
                      <a:pt x="43" y="34"/>
                      <a:pt x="34" y="37"/>
                      <a:pt x="33" y="40"/>
                    </a:cubicBezTo>
                    <a:cubicBezTo>
                      <a:pt x="32" y="42"/>
                      <a:pt x="35" y="42"/>
                      <a:pt x="37" y="43"/>
                    </a:cubicBezTo>
                    <a:cubicBezTo>
                      <a:pt x="38" y="43"/>
                      <a:pt x="38" y="43"/>
                      <a:pt x="39" y="43"/>
                    </a:cubicBezTo>
                    <a:cubicBezTo>
                      <a:pt x="42" y="43"/>
                      <a:pt x="48" y="39"/>
                      <a:pt x="51" y="38"/>
                    </a:cubicBezTo>
                    <a:cubicBezTo>
                      <a:pt x="52" y="37"/>
                      <a:pt x="52" y="37"/>
                      <a:pt x="53" y="37"/>
                    </a:cubicBezTo>
                    <a:cubicBezTo>
                      <a:pt x="52" y="37"/>
                      <a:pt x="52" y="38"/>
                      <a:pt x="52" y="38"/>
                    </a:cubicBezTo>
                    <a:cubicBezTo>
                      <a:pt x="50" y="40"/>
                      <a:pt x="46" y="40"/>
                      <a:pt x="45" y="43"/>
                    </a:cubicBezTo>
                    <a:cubicBezTo>
                      <a:pt x="44" y="44"/>
                      <a:pt x="42" y="45"/>
                      <a:pt x="41" y="45"/>
                    </a:cubicBezTo>
                    <a:cubicBezTo>
                      <a:pt x="37" y="45"/>
                      <a:pt x="31" y="42"/>
                      <a:pt x="29" y="41"/>
                    </a:cubicBezTo>
                    <a:cubicBezTo>
                      <a:pt x="31" y="40"/>
                      <a:pt x="31" y="38"/>
                      <a:pt x="31" y="35"/>
                    </a:cubicBezTo>
                    <a:cubicBezTo>
                      <a:pt x="30" y="34"/>
                      <a:pt x="29" y="32"/>
                      <a:pt x="29" y="31"/>
                    </a:cubicBezTo>
                    <a:cubicBezTo>
                      <a:pt x="30" y="28"/>
                      <a:pt x="37" y="31"/>
                      <a:pt x="36" y="26"/>
                    </a:cubicBezTo>
                    <a:cubicBezTo>
                      <a:pt x="36" y="26"/>
                      <a:pt x="35" y="26"/>
                      <a:pt x="35" y="26"/>
                    </a:cubicBezTo>
                    <a:moveTo>
                      <a:pt x="72" y="0"/>
                    </a:moveTo>
                    <a:cubicBezTo>
                      <a:pt x="62" y="0"/>
                      <a:pt x="49" y="0"/>
                      <a:pt x="41" y="8"/>
                    </a:cubicBezTo>
                    <a:cubicBezTo>
                      <a:pt x="39" y="10"/>
                      <a:pt x="38" y="13"/>
                      <a:pt x="35" y="15"/>
                    </a:cubicBezTo>
                    <a:cubicBezTo>
                      <a:pt x="33" y="17"/>
                      <a:pt x="31" y="18"/>
                      <a:pt x="28" y="19"/>
                    </a:cubicBezTo>
                    <a:cubicBezTo>
                      <a:pt x="26" y="20"/>
                      <a:pt x="21" y="20"/>
                      <a:pt x="20" y="21"/>
                    </a:cubicBezTo>
                    <a:cubicBezTo>
                      <a:pt x="19" y="22"/>
                      <a:pt x="18" y="27"/>
                      <a:pt x="18" y="29"/>
                    </a:cubicBezTo>
                    <a:cubicBezTo>
                      <a:pt x="16" y="39"/>
                      <a:pt x="12" y="46"/>
                      <a:pt x="5" y="54"/>
                    </a:cubicBezTo>
                    <a:cubicBezTo>
                      <a:pt x="2" y="56"/>
                      <a:pt x="1" y="57"/>
                      <a:pt x="2" y="60"/>
                    </a:cubicBezTo>
                    <a:cubicBezTo>
                      <a:pt x="2" y="61"/>
                      <a:pt x="7" y="63"/>
                      <a:pt x="8" y="64"/>
                    </a:cubicBezTo>
                    <a:cubicBezTo>
                      <a:pt x="11" y="65"/>
                      <a:pt x="13" y="65"/>
                      <a:pt x="15" y="65"/>
                    </a:cubicBezTo>
                    <a:cubicBezTo>
                      <a:pt x="17" y="65"/>
                      <a:pt x="19" y="64"/>
                      <a:pt x="22" y="62"/>
                    </a:cubicBezTo>
                    <a:cubicBezTo>
                      <a:pt x="21" y="64"/>
                      <a:pt x="22" y="65"/>
                      <a:pt x="23" y="66"/>
                    </a:cubicBezTo>
                    <a:cubicBezTo>
                      <a:pt x="23" y="65"/>
                      <a:pt x="21" y="65"/>
                      <a:pt x="20" y="65"/>
                    </a:cubicBezTo>
                    <a:cubicBezTo>
                      <a:pt x="17" y="65"/>
                      <a:pt x="13" y="66"/>
                      <a:pt x="11" y="67"/>
                    </a:cubicBezTo>
                    <a:cubicBezTo>
                      <a:pt x="9" y="67"/>
                      <a:pt x="5" y="68"/>
                      <a:pt x="6" y="70"/>
                    </a:cubicBezTo>
                    <a:cubicBezTo>
                      <a:pt x="5" y="70"/>
                      <a:pt x="3" y="70"/>
                      <a:pt x="2" y="70"/>
                    </a:cubicBezTo>
                    <a:cubicBezTo>
                      <a:pt x="1" y="70"/>
                      <a:pt x="1" y="70"/>
                      <a:pt x="0" y="70"/>
                    </a:cubicBezTo>
                    <a:cubicBezTo>
                      <a:pt x="2" y="71"/>
                      <a:pt x="5" y="72"/>
                      <a:pt x="7" y="73"/>
                    </a:cubicBezTo>
                    <a:cubicBezTo>
                      <a:pt x="8" y="74"/>
                      <a:pt x="8" y="75"/>
                      <a:pt x="8" y="75"/>
                    </a:cubicBezTo>
                    <a:cubicBezTo>
                      <a:pt x="8" y="75"/>
                      <a:pt x="8" y="75"/>
                      <a:pt x="8" y="75"/>
                    </a:cubicBezTo>
                    <a:cubicBezTo>
                      <a:pt x="8" y="75"/>
                      <a:pt x="8" y="75"/>
                      <a:pt x="8" y="75"/>
                    </a:cubicBezTo>
                    <a:cubicBezTo>
                      <a:pt x="9" y="74"/>
                      <a:pt x="9" y="74"/>
                      <a:pt x="9" y="74"/>
                    </a:cubicBezTo>
                    <a:cubicBezTo>
                      <a:pt x="9" y="73"/>
                      <a:pt x="10" y="72"/>
                      <a:pt x="12" y="71"/>
                    </a:cubicBezTo>
                    <a:cubicBezTo>
                      <a:pt x="13" y="71"/>
                      <a:pt x="14" y="71"/>
                      <a:pt x="14" y="71"/>
                    </a:cubicBezTo>
                    <a:cubicBezTo>
                      <a:pt x="16" y="71"/>
                      <a:pt x="17" y="71"/>
                      <a:pt x="18" y="72"/>
                    </a:cubicBezTo>
                    <a:cubicBezTo>
                      <a:pt x="19" y="71"/>
                      <a:pt x="19" y="71"/>
                      <a:pt x="19" y="71"/>
                    </a:cubicBezTo>
                    <a:cubicBezTo>
                      <a:pt x="20" y="71"/>
                      <a:pt x="20" y="71"/>
                      <a:pt x="20" y="71"/>
                    </a:cubicBezTo>
                    <a:cubicBezTo>
                      <a:pt x="20" y="71"/>
                      <a:pt x="21" y="70"/>
                      <a:pt x="22" y="70"/>
                    </a:cubicBezTo>
                    <a:cubicBezTo>
                      <a:pt x="23" y="70"/>
                      <a:pt x="24" y="71"/>
                      <a:pt x="26" y="71"/>
                    </a:cubicBezTo>
                    <a:cubicBezTo>
                      <a:pt x="26" y="71"/>
                      <a:pt x="27" y="71"/>
                      <a:pt x="28" y="72"/>
                    </a:cubicBezTo>
                    <a:cubicBezTo>
                      <a:pt x="29" y="71"/>
                      <a:pt x="29" y="71"/>
                      <a:pt x="29" y="71"/>
                    </a:cubicBezTo>
                    <a:cubicBezTo>
                      <a:pt x="31" y="72"/>
                      <a:pt x="31" y="72"/>
                      <a:pt x="31" y="72"/>
                    </a:cubicBezTo>
                    <a:cubicBezTo>
                      <a:pt x="32" y="72"/>
                      <a:pt x="33" y="73"/>
                      <a:pt x="34" y="75"/>
                    </a:cubicBezTo>
                    <a:cubicBezTo>
                      <a:pt x="35" y="76"/>
                      <a:pt x="35" y="76"/>
                      <a:pt x="35" y="76"/>
                    </a:cubicBezTo>
                    <a:cubicBezTo>
                      <a:pt x="35" y="77"/>
                      <a:pt x="35" y="77"/>
                      <a:pt x="35" y="77"/>
                    </a:cubicBezTo>
                    <a:cubicBezTo>
                      <a:pt x="35" y="77"/>
                      <a:pt x="35" y="77"/>
                      <a:pt x="35" y="77"/>
                    </a:cubicBezTo>
                    <a:cubicBezTo>
                      <a:pt x="35" y="78"/>
                      <a:pt x="36" y="78"/>
                      <a:pt x="36" y="79"/>
                    </a:cubicBezTo>
                    <a:cubicBezTo>
                      <a:pt x="37" y="79"/>
                      <a:pt x="37" y="79"/>
                      <a:pt x="37" y="79"/>
                    </a:cubicBezTo>
                    <a:cubicBezTo>
                      <a:pt x="37" y="79"/>
                      <a:pt x="38" y="79"/>
                      <a:pt x="38" y="79"/>
                    </a:cubicBezTo>
                    <a:cubicBezTo>
                      <a:pt x="38" y="79"/>
                      <a:pt x="38" y="79"/>
                      <a:pt x="38" y="79"/>
                    </a:cubicBezTo>
                    <a:cubicBezTo>
                      <a:pt x="39" y="79"/>
                      <a:pt x="39" y="79"/>
                      <a:pt x="39" y="79"/>
                    </a:cubicBezTo>
                    <a:cubicBezTo>
                      <a:pt x="39" y="79"/>
                      <a:pt x="39" y="79"/>
                      <a:pt x="39" y="79"/>
                    </a:cubicBezTo>
                    <a:cubicBezTo>
                      <a:pt x="40" y="79"/>
                      <a:pt x="41" y="78"/>
                      <a:pt x="42" y="78"/>
                    </a:cubicBezTo>
                    <a:cubicBezTo>
                      <a:pt x="43" y="78"/>
                      <a:pt x="45" y="79"/>
                      <a:pt x="46" y="80"/>
                    </a:cubicBezTo>
                    <a:cubicBezTo>
                      <a:pt x="47" y="81"/>
                      <a:pt x="47" y="81"/>
                      <a:pt x="47" y="81"/>
                    </a:cubicBezTo>
                    <a:cubicBezTo>
                      <a:pt x="47" y="81"/>
                      <a:pt x="48" y="82"/>
                      <a:pt x="48" y="82"/>
                    </a:cubicBezTo>
                    <a:cubicBezTo>
                      <a:pt x="49" y="82"/>
                      <a:pt x="50" y="82"/>
                      <a:pt x="52" y="83"/>
                    </a:cubicBezTo>
                    <a:cubicBezTo>
                      <a:pt x="53" y="83"/>
                      <a:pt x="54" y="84"/>
                      <a:pt x="54" y="85"/>
                    </a:cubicBezTo>
                    <a:cubicBezTo>
                      <a:pt x="55" y="85"/>
                      <a:pt x="55" y="85"/>
                      <a:pt x="55" y="85"/>
                    </a:cubicBezTo>
                    <a:cubicBezTo>
                      <a:pt x="55" y="86"/>
                      <a:pt x="55" y="86"/>
                      <a:pt x="55" y="86"/>
                    </a:cubicBezTo>
                    <a:cubicBezTo>
                      <a:pt x="56" y="86"/>
                      <a:pt x="56" y="86"/>
                      <a:pt x="56" y="86"/>
                    </a:cubicBezTo>
                    <a:cubicBezTo>
                      <a:pt x="55" y="85"/>
                      <a:pt x="55" y="85"/>
                      <a:pt x="55" y="84"/>
                    </a:cubicBezTo>
                    <a:cubicBezTo>
                      <a:pt x="56" y="83"/>
                      <a:pt x="56" y="83"/>
                      <a:pt x="56" y="83"/>
                    </a:cubicBezTo>
                    <a:cubicBezTo>
                      <a:pt x="56" y="82"/>
                      <a:pt x="56" y="82"/>
                      <a:pt x="56" y="82"/>
                    </a:cubicBezTo>
                    <a:cubicBezTo>
                      <a:pt x="57" y="81"/>
                      <a:pt x="57" y="80"/>
                      <a:pt x="57" y="80"/>
                    </a:cubicBezTo>
                    <a:cubicBezTo>
                      <a:pt x="58" y="80"/>
                      <a:pt x="58" y="80"/>
                      <a:pt x="58" y="80"/>
                    </a:cubicBezTo>
                    <a:cubicBezTo>
                      <a:pt x="58" y="79"/>
                      <a:pt x="58" y="79"/>
                      <a:pt x="58" y="79"/>
                    </a:cubicBezTo>
                    <a:cubicBezTo>
                      <a:pt x="60" y="76"/>
                      <a:pt x="60" y="75"/>
                      <a:pt x="60" y="75"/>
                    </a:cubicBezTo>
                    <a:cubicBezTo>
                      <a:pt x="57" y="72"/>
                      <a:pt x="55" y="70"/>
                      <a:pt x="53" y="67"/>
                    </a:cubicBezTo>
                    <a:cubicBezTo>
                      <a:pt x="53" y="66"/>
                      <a:pt x="52" y="66"/>
                      <a:pt x="52" y="65"/>
                    </a:cubicBezTo>
                    <a:cubicBezTo>
                      <a:pt x="52" y="65"/>
                      <a:pt x="52" y="65"/>
                      <a:pt x="52" y="65"/>
                    </a:cubicBezTo>
                    <a:cubicBezTo>
                      <a:pt x="51" y="61"/>
                      <a:pt x="54" y="58"/>
                      <a:pt x="57" y="56"/>
                    </a:cubicBezTo>
                    <a:cubicBezTo>
                      <a:pt x="58" y="56"/>
                      <a:pt x="58" y="56"/>
                      <a:pt x="58" y="56"/>
                    </a:cubicBezTo>
                    <a:cubicBezTo>
                      <a:pt x="58" y="56"/>
                      <a:pt x="58" y="56"/>
                      <a:pt x="58" y="56"/>
                    </a:cubicBezTo>
                    <a:cubicBezTo>
                      <a:pt x="59" y="55"/>
                      <a:pt x="60" y="55"/>
                      <a:pt x="61" y="55"/>
                    </a:cubicBezTo>
                    <a:cubicBezTo>
                      <a:pt x="61" y="55"/>
                      <a:pt x="61" y="55"/>
                      <a:pt x="62" y="55"/>
                    </a:cubicBezTo>
                    <a:cubicBezTo>
                      <a:pt x="63" y="55"/>
                      <a:pt x="63" y="55"/>
                      <a:pt x="64" y="55"/>
                    </a:cubicBezTo>
                    <a:cubicBezTo>
                      <a:pt x="67" y="49"/>
                      <a:pt x="67" y="49"/>
                      <a:pt x="67" y="49"/>
                    </a:cubicBezTo>
                    <a:cubicBezTo>
                      <a:pt x="66" y="56"/>
                      <a:pt x="66" y="56"/>
                      <a:pt x="66" y="56"/>
                    </a:cubicBezTo>
                    <a:cubicBezTo>
                      <a:pt x="66" y="56"/>
                      <a:pt x="66" y="56"/>
                      <a:pt x="66" y="56"/>
                    </a:cubicBezTo>
                    <a:cubicBezTo>
                      <a:pt x="67" y="56"/>
                      <a:pt x="68" y="57"/>
                      <a:pt x="69" y="57"/>
                    </a:cubicBezTo>
                    <a:cubicBezTo>
                      <a:pt x="70" y="57"/>
                      <a:pt x="70" y="57"/>
                      <a:pt x="70" y="57"/>
                    </a:cubicBezTo>
                    <a:cubicBezTo>
                      <a:pt x="71" y="57"/>
                      <a:pt x="71" y="57"/>
                      <a:pt x="71" y="57"/>
                    </a:cubicBezTo>
                    <a:cubicBezTo>
                      <a:pt x="71" y="56"/>
                      <a:pt x="71" y="56"/>
                      <a:pt x="71" y="56"/>
                    </a:cubicBezTo>
                    <a:cubicBezTo>
                      <a:pt x="72" y="56"/>
                      <a:pt x="73" y="56"/>
                      <a:pt x="74" y="56"/>
                    </a:cubicBezTo>
                    <a:cubicBezTo>
                      <a:pt x="72" y="54"/>
                      <a:pt x="72" y="54"/>
                      <a:pt x="72" y="54"/>
                    </a:cubicBezTo>
                    <a:cubicBezTo>
                      <a:pt x="73" y="52"/>
                      <a:pt x="73" y="52"/>
                      <a:pt x="73" y="52"/>
                    </a:cubicBezTo>
                    <a:cubicBezTo>
                      <a:pt x="74" y="49"/>
                      <a:pt x="77" y="48"/>
                      <a:pt x="79" y="47"/>
                    </a:cubicBezTo>
                    <a:cubicBezTo>
                      <a:pt x="80" y="46"/>
                      <a:pt x="80" y="46"/>
                      <a:pt x="80" y="46"/>
                    </a:cubicBezTo>
                    <a:cubicBezTo>
                      <a:pt x="81" y="45"/>
                      <a:pt x="83" y="44"/>
                      <a:pt x="83" y="44"/>
                    </a:cubicBezTo>
                    <a:cubicBezTo>
                      <a:pt x="83" y="42"/>
                      <a:pt x="83" y="42"/>
                      <a:pt x="81" y="41"/>
                    </a:cubicBezTo>
                    <a:cubicBezTo>
                      <a:pt x="81" y="41"/>
                      <a:pt x="81" y="41"/>
                      <a:pt x="81" y="41"/>
                    </a:cubicBezTo>
                    <a:cubicBezTo>
                      <a:pt x="80" y="41"/>
                      <a:pt x="80" y="41"/>
                      <a:pt x="80" y="41"/>
                    </a:cubicBezTo>
                    <a:cubicBezTo>
                      <a:pt x="78" y="40"/>
                      <a:pt x="77" y="40"/>
                      <a:pt x="76" y="39"/>
                    </a:cubicBezTo>
                    <a:cubicBezTo>
                      <a:pt x="71" y="38"/>
                      <a:pt x="71" y="38"/>
                      <a:pt x="71" y="38"/>
                    </a:cubicBezTo>
                    <a:cubicBezTo>
                      <a:pt x="74" y="34"/>
                      <a:pt x="74" y="34"/>
                      <a:pt x="74" y="34"/>
                    </a:cubicBezTo>
                    <a:cubicBezTo>
                      <a:pt x="75" y="33"/>
                      <a:pt x="75" y="33"/>
                      <a:pt x="75" y="33"/>
                    </a:cubicBezTo>
                    <a:cubicBezTo>
                      <a:pt x="71" y="29"/>
                      <a:pt x="71" y="29"/>
                      <a:pt x="71" y="29"/>
                    </a:cubicBezTo>
                    <a:cubicBezTo>
                      <a:pt x="76" y="27"/>
                      <a:pt x="76" y="27"/>
                      <a:pt x="76" y="27"/>
                    </a:cubicBezTo>
                    <a:cubicBezTo>
                      <a:pt x="78" y="27"/>
                      <a:pt x="79" y="27"/>
                      <a:pt x="80" y="27"/>
                    </a:cubicBezTo>
                    <a:cubicBezTo>
                      <a:pt x="81" y="27"/>
                      <a:pt x="83" y="27"/>
                      <a:pt x="83" y="27"/>
                    </a:cubicBezTo>
                    <a:cubicBezTo>
                      <a:pt x="84" y="25"/>
                      <a:pt x="84" y="25"/>
                      <a:pt x="84" y="25"/>
                    </a:cubicBezTo>
                    <a:cubicBezTo>
                      <a:pt x="84" y="25"/>
                      <a:pt x="84" y="25"/>
                      <a:pt x="84" y="25"/>
                    </a:cubicBezTo>
                    <a:cubicBezTo>
                      <a:pt x="84" y="22"/>
                      <a:pt x="85" y="20"/>
                      <a:pt x="86" y="18"/>
                    </a:cubicBezTo>
                    <a:cubicBezTo>
                      <a:pt x="86" y="17"/>
                      <a:pt x="87" y="16"/>
                      <a:pt x="87" y="15"/>
                    </a:cubicBezTo>
                    <a:cubicBezTo>
                      <a:pt x="87" y="14"/>
                      <a:pt x="87" y="13"/>
                      <a:pt x="87" y="12"/>
                    </a:cubicBezTo>
                    <a:cubicBezTo>
                      <a:pt x="88" y="10"/>
                      <a:pt x="88" y="8"/>
                      <a:pt x="87" y="7"/>
                    </a:cubicBezTo>
                    <a:cubicBezTo>
                      <a:pt x="87" y="6"/>
                      <a:pt x="87" y="6"/>
                      <a:pt x="87" y="6"/>
                    </a:cubicBezTo>
                    <a:cubicBezTo>
                      <a:pt x="87" y="6"/>
                      <a:pt x="87" y="6"/>
                      <a:pt x="87" y="6"/>
                    </a:cubicBezTo>
                    <a:cubicBezTo>
                      <a:pt x="86" y="5"/>
                      <a:pt x="85" y="4"/>
                      <a:pt x="84" y="3"/>
                    </a:cubicBezTo>
                    <a:cubicBezTo>
                      <a:pt x="81" y="0"/>
                      <a:pt x="77" y="0"/>
                      <a:pt x="7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46" name="Freeform 274">
                <a:extLst>
                  <a:ext uri="{FF2B5EF4-FFF2-40B4-BE49-F238E27FC236}">
                    <a16:creationId xmlns:a16="http://schemas.microsoft.com/office/drawing/2014/main" id="{F62FDCEF-8CB7-4474-AA1D-69A53DCE47D9}"/>
                  </a:ext>
                </a:extLst>
              </p:cNvPr>
              <p:cNvSpPr>
                <a:spLocks/>
              </p:cNvSpPr>
              <p:nvPr/>
            </p:nvSpPr>
            <p:spPr bwMode="auto">
              <a:xfrm>
                <a:off x="4661672" y="3803040"/>
                <a:ext cx="73702" cy="22111"/>
              </a:xfrm>
              <a:custGeom>
                <a:avLst/>
                <a:gdLst>
                  <a:gd name="T0" fmla="*/ 11 w 24"/>
                  <a:gd name="T1" fmla="*/ 0 h 7"/>
                  <a:gd name="T2" fmla="*/ 4 w 24"/>
                  <a:gd name="T3" fmla="*/ 1 h 7"/>
                  <a:gd name="T4" fmla="*/ 8 w 24"/>
                  <a:gd name="T5" fmla="*/ 6 h 7"/>
                  <a:gd name="T6" fmla="*/ 11 w 24"/>
                  <a:gd name="T7" fmla="*/ 6 h 7"/>
                  <a:gd name="T8" fmla="*/ 17 w 24"/>
                  <a:gd name="T9" fmla="*/ 5 h 7"/>
                  <a:gd name="T10" fmla="*/ 17 w 24"/>
                  <a:gd name="T11" fmla="*/ 5 h 7"/>
                  <a:gd name="T12" fmla="*/ 23 w 24"/>
                  <a:gd name="T13" fmla="*/ 7 h 7"/>
                  <a:gd name="T14" fmla="*/ 22 w 24"/>
                  <a:gd name="T15" fmla="*/ 5 h 7"/>
                  <a:gd name="T16" fmla="*/ 24 w 24"/>
                  <a:gd name="T17" fmla="*/ 5 h 7"/>
                  <a:gd name="T18" fmla="*/ 21 w 24"/>
                  <a:gd name="T19" fmla="*/ 4 h 7"/>
                  <a:gd name="T20" fmla="*/ 13 w 24"/>
                  <a:gd name="T21" fmla="*/ 0 h 7"/>
                  <a:gd name="T22" fmla="*/ 11 w 24"/>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7">
                    <a:moveTo>
                      <a:pt x="11" y="0"/>
                    </a:moveTo>
                    <a:cubicBezTo>
                      <a:pt x="8" y="0"/>
                      <a:pt x="5" y="0"/>
                      <a:pt x="4" y="1"/>
                    </a:cubicBezTo>
                    <a:cubicBezTo>
                      <a:pt x="0" y="3"/>
                      <a:pt x="6" y="5"/>
                      <a:pt x="8" y="6"/>
                    </a:cubicBezTo>
                    <a:cubicBezTo>
                      <a:pt x="9" y="6"/>
                      <a:pt x="10" y="6"/>
                      <a:pt x="11" y="6"/>
                    </a:cubicBezTo>
                    <a:cubicBezTo>
                      <a:pt x="13" y="6"/>
                      <a:pt x="15" y="5"/>
                      <a:pt x="17" y="5"/>
                    </a:cubicBezTo>
                    <a:cubicBezTo>
                      <a:pt x="17" y="5"/>
                      <a:pt x="17" y="5"/>
                      <a:pt x="17" y="5"/>
                    </a:cubicBezTo>
                    <a:cubicBezTo>
                      <a:pt x="19" y="5"/>
                      <a:pt x="21" y="7"/>
                      <a:pt x="23" y="7"/>
                    </a:cubicBezTo>
                    <a:cubicBezTo>
                      <a:pt x="22" y="5"/>
                      <a:pt x="22" y="5"/>
                      <a:pt x="22" y="5"/>
                    </a:cubicBezTo>
                    <a:cubicBezTo>
                      <a:pt x="24" y="5"/>
                      <a:pt x="24" y="5"/>
                      <a:pt x="24" y="5"/>
                    </a:cubicBezTo>
                    <a:cubicBezTo>
                      <a:pt x="23" y="5"/>
                      <a:pt x="21" y="4"/>
                      <a:pt x="21" y="4"/>
                    </a:cubicBezTo>
                    <a:cubicBezTo>
                      <a:pt x="18" y="2"/>
                      <a:pt x="15" y="2"/>
                      <a:pt x="13" y="0"/>
                    </a:cubicBezTo>
                    <a:cubicBezTo>
                      <a:pt x="12"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47" name="Freeform 275">
                <a:extLst>
                  <a:ext uri="{FF2B5EF4-FFF2-40B4-BE49-F238E27FC236}">
                    <a16:creationId xmlns:a16="http://schemas.microsoft.com/office/drawing/2014/main" id="{EE1B5881-7666-4716-BE79-0AB90F5CD39D}"/>
                  </a:ext>
                </a:extLst>
              </p:cNvPr>
              <p:cNvSpPr>
                <a:spLocks/>
              </p:cNvSpPr>
              <p:nvPr/>
            </p:nvSpPr>
            <p:spPr bwMode="auto">
              <a:xfrm>
                <a:off x="5476082" y="3884113"/>
                <a:ext cx="563823" cy="261643"/>
              </a:xfrm>
              <a:custGeom>
                <a:avLst/>
                <a:gdLst>
                  <a:gd name="T0" fmla="*/ 55 w 178"/>
                  <a:gd name="T1" fmla="*/ 5 h 83"/>
                  <a:gd name="T2" fmla="*/ 50 w 178"/>
                  <a:gd name="T3" fmla="*/ 7 h 83"/>
                  <a:gd name="T4" fmla="*/ 45 w 178"/>
                  <a:gd name="T5" fmla="*/ 9 h 83"/>
                  <a:gd name="T6" fmla="*/ 29 w 178"/>
                  <a:gd name="T7" fmla="*/ 15 h 83"/>
                  <a:gd name="T8" fmla="*/ 10 w 178"/>
                  <a:gd name="T9" fmla="*/ 23 h 83"/>
                  <a:gd name="T10" fmla="*/ 7 w 178"/>
                  <a:gd name="T11" fmla="*/ 23 h 83"/>
                  <a:gd name="T12" fmla="*/ 1 w 178"/>
                  <a:gd name="T13" fmla="*/ 28 h 83"/>
                  <a:gd name="T14" fmla="*/ 0 w 178"/>
                  <a:gd name="T15" fmla="*/ 31 h 83"/>
                  <a:gd name="T16" fmla="*/ 6 w 178"/>
                  <a:gd name="T17" fmla="*/ 37 h 83"/>
                  <a:gd name="T18" fmla="*/ 8 w 178"/>
                  <a:gd name="T19" fmla="*/ 50 h 83"/>
                  <a:gd name="T20" fmla="*/ 13 w 178"/>
                  <a:gd name="T21" fmla="*/ 55 h 83"/>
                  <a:gd name="T22" fmla="*/ 26 w 178"/>
                  <a:gd name="T23" fmla="*/ 65 h 83"/>
                  <a:gd name="T24" fmla="*/ 31 w 178"/>
                  <a:gd name="T25" fmla="*/ 69 h 83"/>
                  <a:gd name="T26" fmla="*/ 42 w 178"/>
                  <a:gd name="T27" fmla="*/ 77 h 83"/>
                  <a:gd name="T28" fmla="*/ 45 w 178"/>
                  <a:gd name="T29" fmla="*/ 79 h 83"/>
                  <a:gd name="T30" fmla="*/ 49 w 178"/>
                  <a:gd name="T31" fmla="*/ 81 h 83"/>
                  <a:gd name="T32" fmla="*/ 64 w 178"/>
                  <a:gd name="T33" fmla="*/ 83 h 83"/>
                  <a:gd name="T34" fmla="*/ 69 w 178"/>
                  <a:gd name="T35" fmla="*/ 74 h 83"/>
                  <a:gd name="T36" fmla="*/ 75 w 178"/>
                  <a:gd name="T37" fmla="*/ 68 h 83"/>
                  <a:gd name="T38" fmla="*/ 82 w 178"/>
                  <a:gd name="T39" fmla="*/ 71 h 83"/>
                  <a:gd name="T40" fmla="*/ 85 w 178"/>
                  <a:gd name="T41" fmla="*/ 71 h 83"/>
                  <a:gd name="T42" fmla="*/ 94 w 178"/>
                  <a:gd name="T43" fmla="*/ 73 h 83"/>
                  <a:gd name="T44" fmla="*/ 109 w 178"/>
                  <a:gd name="T45" fmla="*/ 77 h 83"/>
                  <a:gd name="T46" fmla="*/ 117 w 178"/>
                  <a:gd name="T47" fmla="*/ 75 h 83"/>
                  <a:gd name="T48" fmla="*/ 121 w 178"/>
                  <a:gd name="T49" fmla="*/ 76 h 83"/>
                  <a:gd name="T50" fmla="*/ 126 w 178"/>
                  <a:gd name="T51" fmla="*/ 79 h 83"/>
                  <a:gd name="T52" fmla="*/ 128 w 178"/>
                  <a:gd name="T53" fmla="*/ 80 h 83"/>
                  <a:gd name="T54" fmla="*/ 130 w 178"/>
                  <a:gd name="T55" fmla="*/ 78 h 83"/>
                  <a:gd name="T56" fmla="*/ 132 w 178"/>
                  <a:gd name="T57" fmla="*/ 75 h 83"/>
                  <a:gd name="T58" fmla="*/ 137 w 178"/>
                  <a:gd name="T59" fmla="*/ 73 h 83"/>
                  <a:gd name="T60" fmla="*/ 143 w 178"/>
                  <a:gd name="T61" fmla="*/ 74 h 83"/>
                  <a:gd name="T62" fmla="*/ 158 w 178"/>
                  <a:gd name="T63" fmla="*/ 67 h 83"/>
                  <a:gd name="T64" fmla="*/ 162 w 178"/>
                  <a:gd name="T65" fmla="*/ 60 h 83"/>
                  <a:gd name="T66" fmla="*/ 178 w 178"/>
                  <a:gd name="T67" fmla="*/ 51 h 83"/>
                  <a:gd name="T68" fmla="*/ 166 w 178"/>
                  <a:gd name="T69" fmla="*/ 40 h 83"/>
                  <a:gd name="T70" fmla="*/ 161 w 178"/>
                  <a:gd name="T71" fmla="*/ 37 h 83"/>
                  <a:gd name="T72" fmla="*/ 159 w 178"/>
                  <a:gd name="T73" fmla="*/ 38 h 83"/>
                  <a:gd name="T74" fmla="*/ 155 w 178"/>
                  <a:gd name="T75" fmla="*/ 39 h 83"/>
                  <a:gd name="T76" fmla="*/ 144 w 178"/>
                  <a:gd name="T77" fmla="*/ 28 h 83"/>
                  <a:gd name="T78" fmla="*/ 134 w 178"/>
                  <a:gd name="T79" fmla="*/ 24 h 83"/>
                  <a:gd name="T80" fmla="*/ 130 w 178"/>
                  <a:gd name="T81" fmla="*/ 30 h 83"/>
                  <a:gd name="T82" fmla="*/ 121 w 178"/>
                  <a:gd name="T83" fmla="*/ 33 h 83"/>
                  <a:gd name="T84" fmla="*/ 116 w 178"/>
                  <a:gd name="T85" fmla="*/ 32 h 83"/>
                  <a:gd name="T86" fmla="*/ 111 w 178"/>
                  <a:gd name="T87" fmla="*/ 26 h 83"/>
                  <a:gd name="T88" fmla="*/ 105 w 178"/>
                  <a:gd name="T89" fmla="*/ 18 h 83"/>
                  <a:gd name="T90" fmla="*/ 109 w 178"/>
                  <a:gd name="T91" fmla="*/ 14 h 83"/>
                  <a:gd name="T92" fmla="*/ 108 w 178"/>
                  <a:gd name="T93" fmla="*/ 13 h 83"/>
                  <a:gd name="T94" fmla="*/ 87 w 178"/>
                  <a:gd name="T95" fmla="*/ 10 h 83"/>
                  <a:gd name="T96" fmla="*/ 82 w 178"/>
                  <a:gd name="T97" fmla="*/ 7 h 83"/>
                  <a:gd name="T98" fmla="*/ 77 w 178"/>
                  <a:gd name="T99" fmla="*/ 1 h 83"/>
                  <a:gd name="T100" fmla="*/ 73 w 178"/>
                  <a:gd name="T101" fmla="*/ 4 h 83"/>
                  <a:gd name="T102" fmla="*/ 70 w 178"/>
                  <a:gd name="T103" fmla="*/ 6 h 83"/>
                  <a:gd name="T104" fmla="*/ 65 w 178"/>
                  <a:gd name="T105" fmla="*/ 4 h 83"/>
                  <a:gd name="T106" fmla="*/ 59 w 178"/>
                  <a:gd name="T107"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8" h="83">
                    <a:moveTo>
                      <a:pt x="58" y="0"/>
                    </a:moveTo>
                    <a:cubicBezTo>
                      <a:pt x="58" y="2"/>
                      <a:pt x="57" y="3"/>
                      <a:pt x="56" y="4"/>
                    </a:cubicBezTo>
                    <a:cubicBezTo>
                      <a:pt x="55" y="5"/>
                      <a:pt x="55" y="5"/>
                      <a:pt x="55" y="5"/>
                    </a:cubicBezTo>
                    <a:cubicBezTo>
                      <a:pt x="55" y="5"/>
                      <a:pt x="55" y="5"/>
                      <a:pt x="55" y="5"/>
                    </a:cubicBezTo>
                    <a:cubicBezTo>
                      <a:pt x="54" y="5"/>
                      <a:pt x="54" y="6"/>
                      <a:pt x="54" y="6"/>
                    </a:cubicBezTo>
                    <a:cubicBezTo>
                      <a:pt x="50" y="7"/>
                      <a:pt x="50" y="7"/>
                      <a:pt x="50" y="7"/>
                    </a:cubicBezTo>
                    <a:cubicBezTo>
                      <a:pt x="49" y="7"/>
                      <a:pt x="48" y="8"/>
                      <a:pt x="46" y="8"/>
                    </a:cubicBezTo>
                    <a:cubicBezTo>
                      <a:pt x="45" y="9"/>
                      <a:pt x="45" y="9"/>
                      <a:pt x="45" y="9"/>
                    </a:cubicBezTo>
                    <a:cubicBezTo>
                      <a:pt x="45" y="9"/>
                      <a:pt x="45" y="9"/>
                      <a:pt x="45" y="9"/>
                    </a:cubicBezTo>
                    <a:cubicBezTo>
                      <a:pt x="43" y="9"/>
                      <a:pt x="41" y="10"/>
                      <a:pt x="38" y="11"/>
                    </a:cubicBezTo>
                    <a:cubicBezTo>
                      <a:pt x="37" y="12"/>
                      <a:pt x="36" y="12"/>
                      <a:pt x="35" y="12"/>
                    </a:cubicBezTo>
                    <a:cubicBezTo>
                      <a:pt x="33" y="13"/>
                      <a:pt x="31" y="14"/>
                      <a:pt x="29" y="15"/>
                    </a:cubicBezTo>
                    <a:cubicBezTo>
                      <a:pt x="26" y="18"/>
                      <a:pt x="22" y="20"/>
                      <a:pt x="17" y="22"/>
                    </a:cubicBezTo>
                    <a:cubicBezTo>
                      <a:pt x="16" y="23"/>
                      <a:pt x="14" y="23"/>
                      <a:pt x="13" y="23"/>
                    </a:cubicBezTo>
                    <a:cubicBezTo>
                      <a:pt x="12" y="23"/>
                      <a:pt x="11" y="23"/>
                      <a:pt x="10" y="23"/>
                    </a:cubicBezTo>
                    <a:cubicBezTo>
                      <a:pt x="10" y="23"/>
                      <a:pt x="9" y="23"/>
                      <a:pt x="8" y="23"/>
                    </a:cubicBezTo>
                    <a:cubicBezTo>
                      <a:pt x="8" y="23"/>
                      <a:pt x="7" y="23"/>
                      <a:pt x="7" y="23"/>
                    </a:cubicBezTo>
                    <a:cubicBezTo>
                      <a:pt x="7" y="23"/>
                      <a:pt x="7" y="23"/>
                      <a:pt x="7" y="23"/>
                    </a:cubicBezTo>
                    <a:cubicBezTo>
                      <a:pt x="6" y="23"/>
                      <a:pt x="6" y="23"/>
                      <a:pt x="6" y="23"/>
                    </a:cubicBezTo>
                    <a:cubicBezTo>
                      <a:pt x="5" y="24"/>
                      <a:pt x="3" y="25"/>
                      <a:pt x="2" y="26"/>
                    </a:cubicBezTo>
                    <a:cubicBezTo>
                      <a:pt x="2" y="27"/>
                      <a:pt x="1" y="28"/>
                      <a:pt x="1" y="28"/>
                    </a:cubicBezTo>
                    <a:cubicBezTo>
                      <a:pt x="1" y="29"/>
                      <a:pt x="0" y="30"/>
                      <a:pt x="0" y="30"/>
                    </a:cubicBezTo>
                    <a:cubicBezTo>
                      <a:pt x="0" y="31"/>
                      <a:pt x="0" y="31"/>
                      <a:pt x="0" y="31"/>
                    </a:cubicBezTo>
                    <a:cubicBezTo>
                      <a:pt x="0" y="31"/>
                      <a:pt x="0" y="31"/>
                      <a:pt x="0" y="31"/>
                    </a:cubicBezTo>
                    <a:cubicBezTo>
                      <a:pt x="1" y="31"/>
                      <a:pt x="2" y="32"/>
                      <a:pt x="3" y="32"/>
                    </a:cubicBezTo>
                    <a:cubicBezTo>
                      <a:pt x="5" y="34"/>
                      <a:pt x="6" y="35"/>
                      <a:pt x="6" y="37"/>
                    </a:cubicBezTo>
                    <a:cubicBezTo>
                      <a:pt x="6" y="37"/>
                      <a:pt x="6" y="37"/>
                      <a:pt x="6" y="37"/>
                    </a:cubicBezTo>
                    <a:cubicBezTo>
                      <a:pt x="6" y="40"/>
                      <a:pt x="5" y="42"/>
                      <a:pt x="4" y="43"/>
                    </a:cubicBezTo>
                    <a:cubicBezTo>
                      <a:pt x="4" y="44"/>
                      <a:pt x="4" y="44"/>
                      <a:pt x="4" y="44"/>
                    </a:cubicBezTo>
                    <a:cubicBezTo>
                      <a:pt x="4" y="44"/>
                      <a:pt x="4" y="46"/>
                      <a:pt x="8" y="50"/>
                    </a:cubicBezTo>
                    <a:cubicBezTo>
                      <a:pt x="9" y="51"/>
                      <a:pt x="10" y="52"/>
                      <a:pt x="10" y="53"/>
                    </a:cubicBezTo>
                    <a:cubicBezTo>
                      <a:pt x="11" y="53"/>
                      <a:pt x="12" y="54"/>
                      <a:pt x="12" y="54"/>
                    </a:cubicBezTo>
                    <a:cubicBezTo>
                      <a:pt x="13" y="55"/>
                      <a:pt x="13" y="55"/>
                      <a:pt x="13" y="55"/>
                    </a:cubicBezTo>
                    <a:cubicBezTo>
                      <a:pt x="15" y="56"/>
                      <a:pt x="16" y="57"/>
                      <a:pt x="17" y="58"/>
                    </a:cubicBezTo>
                    <a:cubicBezTo>
                      <a:pt x="17" y="58"/>
                      <a:pt x="17" y="58"/>
                      <a:pt x="17" y="58"/>
                    </a:cubicBezTo>
                    <a:cubicBezTo>
                      <a:pt x="20" y="60"/>
                      <a:pt x="23" y="62"/>
                      <a:pt x="26" y="65"/>
                    </a:cubicBezTo>
                    <a:cubicBezTo>
                      <a:pt x="27" y="66"/>
                      <a:pt x="27" y="66"/>
                      <a:pt x="27" y="66"/>
                    </a:cubicBezTo>
                    <a:cubicBezTo>
                      <a:pt x="28" y="67"/>
                      <a:pt x="29" y="69"/>
                      <a:pt x="31" y="69"/>
                    </a:cubicBezTo>
                    <a:cubicBezTo>
                      <a:pt x="31" y="69"/>
                      <a:pt x="31" y="69"/>
                      <a:pt x="31" y="69"/>
                    </a:cubicBezTo>
                    <a:cubicBezTo>
                      <a:pt x="32" y="69"/>
                      <a:pt x="33" y="69"/>
                      <a:pt x="35" y="71"/>
                    </a:cubicBezTo>
                    <a:cubicBezTo>
                      <a:pt x="37" y="73"/>
                      <a:pt x="37" y="73"/>
                      <a:pt x="37" y="73"/>
                    </a:cubicBezTo>
                    <a:cubicBezTo>
                      <a:pt x="39" y="74"/>
                      <a:pt x="40" y="75"/>
                      <a:pt x="42" y="77"/>
                    </a:cubicBezTo>
                    <a:cubicBezTo>
                      <a:pt x="44" y="78"/>
                      <a:pt x="44" y="78"/>
                      <a:pt x="44" y="78"/>
                    </a:cubicBezTo>
                    <a:cubicBezTo>
                      <a:pt x="44" y="78"/>
                      <a:pt x="45" y="79"/>
                      <a:pt x="45" y="79"/>
                    </a:cubicBezTo>
                    <a:cubicBezTo>
                      <a:pt x="45" y="79"/>
                      <a:pt x="45" y="79"/>
                      <a:pt x="45" y="79"/>
                    </a:cubicBezTo>
                    <a:cubicBezTo>
                      <a:pt x="46" y="79"/>
                      <a:pt x="46" y="79"/>
                      <a:pt x="46" y="79"/>
                    </a:cubicBezTo>
                    <a:cubicBezTo>
                      <a:pt x="47" y="80"/>
                      <a:pt x="48" y="80"/>
                      <a:pt x="49" y="81"/>
                    </a:cubicBezTo>
                    <a:cubicBezTo>
                      <a:pt x="49" y="81"/>
                      <a:pt x="49" y="81"/>
                      <a:pt x="49" y="81"/>
                    </a:cubicBezTo>
                    <a:cubicBezTo>
                      <a:pt x="52" y="83"/>
                      <a:pt x="55" y="83"/>
                      <a:pt x="59" y="83"/>
                    </a:cubicBezTo>
                    <a:cubicBezTo>
                      <a:pt x="60" y="83"/>
                      <a:pt x="60" y="83"/>
                      <a:pt x="60" y="83"/>
                    </a:cubicBezTo>
                    <a:cubicBezTo>
                      <a:pt x="61" y="83"/>
                      <a:pt x="63" y="83"/>
                      <a:pt x="64" y="83"/>
                    </a:cubicBezTo>
                    <a:cubicBezTo>
                      <a:pt x="65" y="82"/>
                      <a:pt x="65" y="82"/>
                      <a:pt x="65" y="82"/>
                    </a:cubicBezTo>
                    <a:cubicBezTo>
                      <a:pt x="68" y="79"/>
                      <a:pt x="69" y="79"/>
                      <a:pt x="69" y="75"/>
                    </a:cubicBezTo>
                    <a:cubicBezTo>
                      <a:pt x="69" y="75"/>
                      <a:pt x="69" y="74"/>
                      <a:pt x="69" y="74"/>
                    </a:cubicBezTo>
                    <a:cubicBezTo>
                      <a:pt x="69" y="72"/>
                      <a:pt x="70" y="70"/>
                      <a:pt x="71" y="69"/>
                    </a:cubicBezTo>
                    <a:cubicBezTo>
                      <a:pt x="72" y="69"/>
                      <a:pt x="72" y="69"/>
                      <a:pt x="72" y="69"/>
                    </a:cubicBezTo>
                    <a:cubicBezTo>
                      <a:pt x="73" y="68"/>
                      <a:pt x="74" y="68"/>
                      <a:pt x="75" y="68"/>
                    </a:cubicBezTo>
                    <a:cubicBezTo>
                      <a:pt x="77" y="68"/>
                      <a:pt x="79" y="69"/>
                      <a:pt x="80" y="70"/>
                    </a:cubicBezTo>
                    <a:cubicBezTo>
                      <a:pt x="80" y="70"/>
                      <a:pt x="80" y="70"/>
                      <a:pt x="81" y="71"/>
                    </a:cubicBezTo>
                    <a:cubicBezTo>
                      <a:pt x="82" y="71"/>
                      <a:pt x="82" y="71"/>
                      <a:pt x="82" y="71"/>
                    </a:cubicBezTo>
                    <a:cubicBezTo>
                      <a:pt x="82" y="71"/>
                      <a:pt x="82" y="71"/>
                      <a:pt x="82" y="71"/>
                    </a:cubicBezTo>
                    <a:cubicBezTo>
                      <a:pt x="83" y="71"/>
                      <a:pt x="83" y="71"/>
                      <a:pt x="83" y="71"/>
                    </a:cubicBezTo>
                    <a:cubicBezTo>
                      <a:pt x="84" y="71"/>
                      <a:pt x="84" y="71"/>
                      <a:pt x="85" y="71"/>
                    </a:cubicBezTo>
                    <a:cubicBezTo>
                      <a:pt x="86" y="71"/>
                      <a:pt x="86" y="71"/>
                      <a:pt x="86" y="71"/>
                    </a:cubicBezTo>
                    <a:cubicBezTo>
                      <a:pt x="87" y="71"/>
                      <a:pt x="88" y="71"/>
                      <a:pt x="89" y="71"/>
                    </a:cubicBezTo>
                    <a:cubicBezTo>
                      <a:pt x="90" y="71"/>
                      <a:pt x="92" y="72"/>
                      <a:pt x="94" y="73"/>
                    </a:cubicBezTo>
                    <a:cubicBezTo>
                      <a:pt x="95" y="73"/>
                      <a:pt x="95" y="73"/>
                      <a:pt x="95" y="73"/>
                    </a:cubicBezTo>
                    <a:cubicBezTo>
                      <a:pt x="95" y="73"/>
                      <a:pt x="96" y="74"/>
                      <a:pt x="97" y="74"/>
                    </a:cubicBezTo>
                    <a:cubicBezTo>
                      <a:pt x="109" y="77"/>
                      <a:pt x="109" y="77"/>
                      <a:pt x="109" y="77"/>
                    </a:cubicBezTo>
                    <a:cubicBezTo>
                      <a:pt x="109" y="77"/>
                      <a:pt x="109" y="77"/>
                      <a:pt x="109" y="77"/>
                    </a:cubicBezTo>
                    <a:cubicBezTo>
                      <a:pt x="109" y="77"/>
                      <a:pt x="110" y="77"/>
                      <a:pt x="112" y="77"/>
                    </a:cubicBezTo>
                    <a:cubicBezTo>
                      <a:pt x="113" y="76"/>
                      <a:pt x="115" y="75"/>
                      <a:pt x="117" y="75"/>
                    </a:cubicBezTo>
                    <a:cubicBezTo>
                      <a:pt x="117" y="75"/>
                      <a:pt x="117" y="75"/>
                      <a:pt x="118" y="75"/>
                    </a:cubicBezTo>
                    <a:cubicBezTo>
                      <a:pt x="119" y="75"/>
                      <a:pt x="120" y="75"/>
                      <a:pt x="120" y="76"/>
                    </a:cubicBezTo>
                    <a:cubicBezTo>
                      <a:pt x="121" y="76"/>
                      <a:pt x="121" y="76"/>
                      <a:pt x="121" y="76"/>
                    </a:cubicBezTo>
                    <a:cubicBezTo>
                      <a:pt x="122" y="76"/>
                      <a:pt x="123" y="77"/>
                      <a:pt x="124" y="77"/>
                    </a:cubicBezTo>
                    <a:cubicBezTo>
                      <a:pt x="124" y="77"/>
                      <a:pt x="124" y="77"/>
                      <a:pt x="124" y="77"/>
                    </a:cubicBezTo>
                    <a:cubicBezTo>
                      <a:pt x="125" y="78"/>
                      <a:pt x="126" y="78"/>
                      <a:pt x="126" y="79"/>
                    </a:cubicBezTo>
                    <a:cubicBezTo>
                      <a:pt x="127" y="79"/>
                      <a:pt x="127" y="79"/>
                      <a:pt x="127" y="79"/>
                    </a:cubicBezTo>
                    <a:cubicBezTo>
                      <a:pt x="127" y="79"/>
                      <a:pt x="128" y="79"/>
                      <a:pt x="128" y="80"/>
                    </a:cubicBezTo>
                    <a:cubicBezTo>
                      <a:pt x="128" y="80"/>
                      <a:pt x="128" y="80"/>
                      <a:pt x="128" y="80"/>
                    </a:cubicBezTo>
                    <a:cubicBezTo>
                      <a:pt x="128" y="80"/>
                      <a:pt x="128" y="80"/>
                      <a:pt x="128" y="80"/>
                    </a:cubicBezTo>
                    <a:cubicBezTo>
                      <a:pt x="128" y="79"/>
                      <a:pt x="128" y="79"/>
                      <a:pt x="128" y="79"/>
                    </a:cubicBezTo>
                    <a:cubicBezTo>
                      <a:pt x="129" y="79"/>
                      <a:pt x="129" y="78"/>
                      <a:pt x="130" y="78"/>
                    </a:cubicBezTo>
                    <a:cubicBezTo>
                      <a:pt x="126" y="74"/>
                      <a:pt x="126" y="74"/>
                      <a:pt x="126" y="74"/>
                    </a:cubicBezTo>
                    <a:cubicBezTo>
                      <a:pt x="131" y="76"/>
                      <a:pt x="131" y="76"/>
                      <a:pt x="131" y="76"/>
                    </a:cubicBezTo>
                    <a:cubicBezTo>
                      <a:pt x="132" y="75"/>
                      <a:pt x="132" y="75"/>
                      <a:pt x="132" y="75"/>
                    </a:cubicBezTo>
                    <a:cubicBezTo>
                      <a:pt x="133" y="74"/>
                      <a:pt x="134" y="74"/>
                      <a:pt x="134" y="74"/>
                    </a:cubicBezTo>
                    <a:cubicBezTo>
                      <a:pt x="134" y="73"/>
                      <a:pt x="135" y="73"/>
                      <a:pt x="135" y="73"/>
                    </a:cubicBezTo>
                    <a:cubicBezTo>
                      <a:pt x="137" y="73"/>
                      <a:pt x="137" y="73"/>
                      <a:pt x="137" y="73"/>
                    </a:cubicBezTo>
                    <a:cubicBezTo>
                      <a:pt x="137" y="73"/>
                      <a:pt x="137" y="73"/>
                      <a:pt x="137" y="73"/>
                    </a:cubicBezTo>
                    <a:cubicBezTo>
                      <a:pt x="139" y="73"/>
                      <a:pt x="140" y="73"/>
                      <a:pt x="141" y="74"/>
                    </a:cubicBezTo>
                    <a:cubicBezTo>
                      <a:pt x="142" y="74"/>
                      <a:pt x="143" y="74"/>
                      <a:pt x="143" y="74"/>
                    </a:cubicBezTo>
                    <a:cubicBezTo>
                      <a:pt x="147" y="74"/>
                      <a:pt x="149" y="73"/>
                      <a:pt x="153" y="71"/>
                    </a:cubicBezTo>
                    <a:cubicBezTo>
                      <a:pt x="156" y="70"/>
                      <a:pt x="158" y="68"/>
                      <a:pt x="158" y="68"/>
                    </a:cubicBezTo>
                    <a:cubicBezTo>
                      <a:pt x="158" y="67"/>
                      <a:pt x="158" y="67"/>
                      <a:pt x="158" y="67"/>
                    </a:cubicBezTo>
                    <a:cubicBezTo>
                      <a:pt x="158" y="66"/>
                      <a:pt x="159" y="64"/>
                      <a:pt x="160" y="63"/>
                    </a:cubicBezTo>
                    <a:cubicBezTo>
                      <a:pt x="161" y="62"/>
                      <a:pt x="161" y="61"/>
                      <a:pt x="162" y="61"/>
                    </a:cubicBezTo>
                    <a:cubicBezTo>
                      <a:pt x="162" y="60"/>
                      <a:pt x="162" y="60"/>
                      <a:pt x="162" y="60"/>
                    </a:cubicBezTo>
                    <a:cubicBezTo>
                      <a:pt x="165" y="56"/>
                      <a:pt x="170" y="54"/>
                      <a:pt x="175" y="52"/>
                    </a:cubicBezTo>
                    <a:cubicBezTo>
                      <a:pt x="176" y="52"/>
                      <a:pt x="177" y="51"/>
                      <a:pt x="178" y="51"/>
                    </a:cubicBezTo>
                    <a:cubicBezTo>
                      <a:pt x="178" y="51"/>
                      <a:pt x="178" y="51"/>
                      <a:pt x="178" y="51"/>
                    </a:cubicBezTo>
                    <a:cubicBezTo>
                      <a:pt x="178" y="51"/>
                      <a:pt x="178" y="51"/>
                      <a:pt x="178" y="51"/>
                    </a:cubicBezTo>
                    <a:cubicBezTo>
                      <a:pt x="177" y="50"/>
                      <a:pt x="176" y="48"/>
                      <a:pt x="174" y="46"/>
                    </a:cubicBezTo>
                    <a:cubicBezTo>
                      <a:pt x="172" y="43"/>
                      <a:pt x="169" y="41"/>
                      <a:pt x="166" y="40"/>
                    </a:cubicBezTo>
                    <a:cubicBezTo>
                      <a:pt x="165" y="40"/>
                      <a:pt x="165" y="40"/>
                      <a:pt x="165" y="40"/>
                    </a:cubicBezTo>
                    <a:cubicBezTo>
                      <a:pt x="164" y="39"/>
                      <a:pt x="163" y="39"/>
                      <a:pt x="162" y="38"/>
                    </a:cubicBezTo>
                    <a:cubicBezTo>
                      <a:pt x="161" y="37"/>
                      <a:pt x="161" y="37"/>
                      <a:pt x="161" y="37"/>
                    </a:cubicBezTo>
                    <a:cubicBezTo>
                      <a:pt x="161" y="37"/>
                      <a:pt x="161" y="37"/>
                      <a:pt x="161" y="37"/>
                    </a:cubicBezTo>
                    <a:cubicBezTo>
                      <a:pt x="160" y="38"/>
                      <a:pt x="160" y="38"/>
                      <a:pt x="159" y="38"/>
                    </a:cubicBezTo>
                    <a:cubicBezTo>
                      <a:pt x="159" y="38"/>
                      <a:pt x="159" y="38"/>
                      <a:pt x="159" y="38"/>
                    </a:cubicBezTo>
                    <a:cubicBezTo>
                      <a:pt x="158" y="39"/>
                      <a:pt x="157" y="39"/>
                      <a:pt x="156" y="39"/>
                    </a:cubicBezTo>
                    <a:cubicBezTo>
                      <a:pt x="156" y="39"/>
                      <a:pt x="156" y="39"/>
                      <a:pt x="156" y="39"/>
                    </a:cubicBezTo>
                    <a:cubicBezTo>
                      <a:pt x="155" y="39"/>
                      <a:pt x="155" y="39"/>
                      <a:pt x="155" y="39"/>
                    </a:cubicBezTo>
                    <a:cubicBezTo>
                      <a:pt x="154" y="39"/>
                      <a:pt x="154" y="39"/>
                      <a:pt x="154" y="39"/>
                    </a:cubicBezTo>
                    <a:cubicBezTo>
                      <a:pt x="151" y="38"/>
                      <a:pt x="148" y="35"/>
                      <a:pt x="147" y="33"/>
                    </a:cubicBezTo>
                    <a:cubicBezTo>
                      <a:pt x="144" y="31"/>
                      <a:pt x="144" y="29"/>
                      <a:pt x="144" y="28"/>
                    </a:cubicBezTo>
                    <a:cubicBezTo>
                      <a:pt x="144" y="27"/>
                      <a:pt x="144" y="27"/>
                      <a:pt x="144" y="27"/>
                    </a:cubicBezTo>
                    <a:cubicBezTo>
                      <a:pt x="142" y="26"/>
                      <a:pt x="139" y="26"/>
                      <a:pt x="136" y="25"/>
                    </a:cubicBezTo>
                    <a:cubicBezTo>
                      <a:pt x="135" y="24"/>
                      <a:pt x="135" y="24"/>
                      <a:pt x="134" y="24"/>
                    </a:cubicBezTo>
                    <a:cubicBezTo>
                      <a:pt x="134" y="25"/>
                      <a:pt x="134" y="25"/>
                      <a:pt x="135" y="26"/>
                    </a:cubicBezTo>
                    <a:cubicBezTo>
                      <a:pt x="138" y="38"/>
                      <a:pt x="138" y="38"/>
                      <a:pt x="138" y="38"/>
                    </a:cubicBezTo>
                    <a:cubicBezTo>
                      <a:pt x="130" y="30"/>
                      <a:pt x="130" y="30"/>
                      <a:pt x="130" y="30"/>
                    </a:cubicBezTo>
                    <a:cubicBezTo>
                      <a:pt x="129" y="30"/>
                      <a:pt x="129" y="30"/>
                      <a:pt x="129" y="30"/>
                    </a:cubicBezTo>
                    <a:cubicBezTo>
                      <a:pt x="129" y="30"/>
                      <a:pt x="128" y="30"/>
                      <a:pt x="127" y="31"/>
                    </a:cubicBezTo>
                    <a:cubicBezTo>
                      <a:pt x="125" y="32"/>
                      <a:pt x="123" y="33"/>
                      <a:pt x="121" y="33"/>
                    </a:cubicBezTo>
                    <a:cubicBezTo>
                      <a:pt x="120" y="33"/>
                      <a:pt x="120" y="33"/>
                      <a:pt x="119" y="33"/>
                    </a:cubicBezTo>
                    <a:cubicBezTo>
                      <a:pt x="118" y="33"/>
                      <a:pt x="118" y="33"/>
                      <a:pt x="118" y="33"/>
                    </a:cubicBezTo>
                    <a:cubicBezTo>
                      <a:pt x="118" y="33"/>
                      <a:pt x="117" y="32"/>
                      <a:pt x="116" y="32"/>
                    </a:cubicBezTo>
                    <a:cubicBezTo>
                      <a:pt x="115" y="31"/>
                      <a:pt x="114" y="30"/>
                      <a:pt x="113" y="28"/>
                    </a:cubicBezTo>
                    <a:cubicBezTo>
                      <a:pt x="113" y="28"/>
                      <a:pt x="113" y="28"/>
                      <a:pt x="113" y="28"/>
                    </a:cubicBezTo>
                    <a:cubicBezTo>
                      <a:pt x="112" y="27"/>
                      <a:pt x="111" y="27"/>
                      <a:pt x="111" y="26"/>
                    </a:cubicBezTo>
                    <a:cubicBezTo>
                      <a:pt x="110" y="26"/>
                      <a:pt x="110" y="26"/>
                      <a:pt x="110" y="26"/>
                    </a:cubicBezTo>
                    <a:cubicBezTo>
                      <a:pt x="109" y="25"/>
                      <a:pt x="108" y="24"/>
                      <a:pt x="108" y="24"/>
                    </a:cubicBezTo>
                    <a:cubicBezTo>
                      <a:pt x="107" y="23"/>
                      <a:pt x="104" y="21"/>
                      <a:pt x="105" y="18"/>
                    </a:cubicBezTo>
                    <a:cubicBezTo>
                      <a:pt x="105" y="17"/>
                      <a:pt x="105" y="17"/>
                      <a:pt x="105" y="17"/>
                    </a:cubicBezTo>
                    <a:cubicBezTo>
                      <a:pt x="105" y="16"/>
                      <a:pt x="107" y="15"/>
                      <a:pt x="108" y="14"/>
                    </a:cubicBezTo>
                    <a:cubicBezTo>
                      <a:pt x="109" y="14"/>
                      <a:pt x="109" y="14"/>
                      <a:pt x="109" y="14"/>
                    </a:cubicBezTo>
                    <a:cubicBezTo>
                      <a:pt x="109" y="13"/>
                      <a:pt x="109" y="13"/>
                      <a:pt x="109" y="13"/>
                    </a:cubicBezTo>
                    <a:cubicBezTo>
                      <a:pt x="109" y="13"/>
                      <a:pt x="109" y="13"/>
                      <a:pt x="109" y="13"/>
                    </a:cubicBezTo>
                    <a:cubicBezTo>
                      <a:pt x="109" y="13"/>
                      <a:pt x="108" y="13"/>
                      <a:pt x="108" y="13"/>
                    </a:cubicBezTo>
                    <a:cubicBezTo>
                      <a:pt x="107" y="14"/>
                      <a:pt x="106" y="14"/>
                      <a:pt x="106" y="14"/>
                    </a:cubicBezTo>
                    <a:cubicBezTo>
                      <a:pt x="105" y="14"/>
                      <a:pt x="104" y="14"/>
                      <a:pt x="103" y="13"/>
                    </a:cubicBezTo>
                    <a:cubicBezTo>
                      <a:pt x="87" y="10"/>
                      <a:pt x="87" y="10"/>
                      <a:pt x="87" y="10"/>
                    </a:cubicBezTo>
                    <a:cubicBezTo>
                      <a:pt x="86" y="10"/>
                      <a:pt x="85" y="9"/>
                      <a:pt x="85" y="9"/>
                    </a:cubicBezTo>
                    <a:cubicBezTo>
                      <a:pt x="84" y="9"/>
                      <a:pt x="84" y="9"/>
                      <a:pt x="83" y="8"/>
                    </a:cubicBezTo>
                    <a:cubicBezTo>
                      <a:pt x="83" y="8"/>
                      <a:pt x="82" y="8"/>
                      <a:pt x="82" y="7"/>
                    </a:cubicBezTo>
                    <a:cubicBezTo>
                      <a:pt x="80" y="6"/>
                      <a:pt x="79" y="5"/>
                      <a:pt x="78" y="3"/>
                    </a:cubicBezTo>
                    <a:cubicBezTo>
                      <a:pt x="78" y="2"/>
                      <a:pt x="78" y="2"/>
                      <a:pt x="78" y="2"/>
                    </a:cubicBezTo>
                    <a:cubicBezTo>
                      <a:pt x="77" y="2"/>
                      <a:pt x="77" y="1"/>
                      <a:pt x="77" y="1"/>
                    </a:cubicBezTo>
                    <a:cubicBezTo>
                      <a:pt x="77" y="1"/>
                      <a:pt x="77" y="1"/>
                      <a:pt x="77" y="1"/>
                    </a:cubicBezTo>
                    <a:cubicBezTo>
                      <a:pt x="77" y="1"/>
                      <a:pt x="76" y="2"/>
                      <a:pt x="76" y="2"/>
                    </a:cubicBezTo>
                    <a:cubicBezTo>
                      <a:pt x="75" y="3"/>
                      <a:pt x="74" y="4"/>
                      <a:pt x="73" y="4"/>
                    </a:cubicBezTo>
                    <a:cubicBezTo>
                      <a:pt x="73" y="5"/>
                      <a:pt x="73" y="5"/>
                      <a:pt x="73" y="5"/>
                    </a:cubicBezTo>
                    <a:cubicBezTo>
                      <a:pt x="71" y="5"/>
                      <a:pt x="71" y="5"/>
                      <a:pt x="71" y="5"/>
                    </a:cubicBezTo>
                    <a:cubicBezTo>
                      <a:pt x="70" y="6"/>
                      <a:pt x="70" y="6"/>
                      <a:pt x="70" y="6"/>
                    </a:cubicBezTo>
                    <a:cubicBezTo>
                      <a:pt x="67" y="7"/>
                      <a:pt x="67" y="7"/>
                      <a:pt x="67" y="7"/>
                    </a:cubicBezTo>
                    <a:cubicBezTo>
                      <a:pt x="66" y="4"/>
                      <a:pt x="66" y="4"/>
                      <a:pt x="66" y="4"/>
                    </a:cubicBezTo>
                    <a:cubicBezTo>
                      <a:pt x="65" y="4"/>
                      <a:pt x="65" y="4"/>
                      <a:pt x="65" y="4"/>
                    </a:cubicBezTo>
                    <a:cubicBezTo>
                      <a:pt x="64" y="4"/>
                      <a:pt x="64" y="4"/>
                      <a:pt x="64" y="4"/>
                    </a:cubicBezTo>
                    <a:cubicBezTo>
                      <a:pt x="63" y="3"/>
                      <a:pt x="63" y="3"/>
                      <a:pt x="62" y="3"/>
                    </a:cubicBezTo>
                    <a:cubicBezTo>
                      <a:pt x="61" y="2"/>
                      <a:pt x="60" y="1"/>
                      <a:pt x="59" y="1"/>
                    </a:cubicBezTo>
                    <a:cubicBezTo>
                      <a:pt x="59" y="1"/>
                      <a:pt x="59" y="0"/>
                      <a:pt x="5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48" name="Freeform 276">
                <a:extLst>
                  <a:ext uri="{FF2B5EF4-FFF2-40B4-BE49-F238E27FC236}">
                    <a16:creationId xmlns:a16="http://schemas.microsoft.com/office/drawing/2014/main" id="{31D2E193-9096-4286-A0FC-01F8FE11FD7C}"/>
                  </a:ext>
                </a:extLst>
              </p:cNvPr>
              <p:cNvSpPr>
                <a:spLocks/>
              </p:cNvSpPr>
              <p:nvPr/>
            </p:nvSpPr>
            <p:spPr bwMode="auto">
              <a:xfrm>
                <a:off x="5984628" y="3998351"/>
                <a:ext cx="3685"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lnTo>
                      <a:pt x="0" y="0"/>
                    </a:lnTo>
                    <a:lnTo>
                      <a:pt x="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49" name="Freeform 277">
                <a:extLst>
                  <a:ext uri="{FF2B5EF4-FFF2-40B4-BE49-F238E27FC236}">
                    <a16:creationId xmlns:a16="http://schemas.microsoft.com/office/drawing/2014/main" id="{AED2866E-5E56-46CB-AECA-C7CCB882C460}"/>
                  </a:ext>
                </a:extLst>
              </p:cNvPr>
              <p:cNvSpPr>
                <a:spLocks/>
              </p:cNvSpPr>
              <p:nvPr/>
            </p:nvSpPr>
            <p:spPr bwMode="auto">
              <a:xfrm>
                <a:off x="5984628" y="3998351"/>
                <a:ext cx="3685"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lnTo>
                      <a:pt x="0" y="0"/>
                    </a:lnTo>
                    <a:lnTo>
                      <a:pt x="1"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50" name="Freeform 278">
                <a:extLst>
                  <a:ext uri="{FF2B5EF4-FFF2-40B4-BE49-F238E27FC236}">
                    <a16:creationId xmlns:a16="http://schemas.microsoft.com/office/drawing/2014/main" id="{509C4E23-A307-4F40-B0B9-9C992D9D0895}"/>
                  </a:ext>
                </a:extLst>
              </p:cNvPr>
              <p:cNvSpPr>
                <a:spLocks/>
              </p:cNvSpPr>
              <p:nvPr/>
            </p:nvSpPr>
            <p:spPr bwMode="auto">
              <a:xfrm>
                <a:off x="5229179" y="4289475"/>
                <a:ext cx="36851" cy="44221"/>
              </a:xfrm>
              <a:custGeom>
                <a:avLst/>
                <a:gdLst>
                  <a:gd name="T0" fmla="*/ 4 w 12"/>
                  <a:gd name="T1" fmla="*/ 0 h 14"/>
                  <a:gd name="T2" fmla="*/ 3 w 12"/>
                  <a:gd name="T3" fmla="*/ 0 h 14"/>
                  <a:gd name="T4" fmla="*/ 3 w 12"/>
                  <a:gd name="T5" fmla="*/ 1 h 14"/>
                  <a:gd name="T6" fmla="*/ 3 w 12"/>
                  <a:gd name="T7" fmla="*/ 2 h 14"/>
                  <a:gd name="T8" fmla="*/ 3 w 12"/>
                  <a:gd name="T9" fmla="*/ 3 h 14"/>
                  <a:gd name="T10" fmla="*/ 2 w 12"/>
                  <a:gd name="T11" fmla="*/ 4 h 14"/>
                  <a:gd name="T12" fmla="*/ 1 w 12"/>
                  <a:gd name="T13" fmla="*/ 5 h 14"/>
                  <a:gd name="T14" fmla="*/ 1 w 12"/>
                  <a:gd name="T15" fmla="*/ 5 h 14"/>
                  <a:gd name="T16" fmla="*/ 0 w 12"/>
                  <a:gd name="T17" fmla="*/ 7 h 14"/>
                  <a:gd name="T18" fmla="*/ 1 w 12"/>
                  <a:gd name="T19" fmla="*/ 7 h 14"/>
                  <a:gd name="T20" fmla="*/ 2 w 12"/>
                  <a:gd name="T21" fmla="*/ 9 h 14"/>
                  <a:gd name="T22" fmla="*/ 4 w 12"/>
                  <a:gd name="T23" fmla="*/ 6 h 14"/>
                  <a:gd name="T24" fmla="*/ 2 w 12"/>
                  <a:gd name="T25" fmla="*/ 12 h 14"/>
                  <a:gd name="T26" fmla="*/ 2 w 12"/>
                  <a:gd name="T27" fmla="*/ 12 h 14"/>
                  <a:gd name="T28" fmla="*/ 7 w 12"/>
                  <a:gd name="T29" fmla="*/ 14 h 14"/>
                  <a:gd name="T30" fmla="*/ 11 w 12"/>
                  <a:gd name="T31" fmla="*/ 5 h 14"/>
                  <a:gd name="T32" fmla="*/ 12 w 12"/>
                  <a:gd name="T33" fmla="*/ 4 h 14"/>
                  <a:gd name="T34" fmla="*/ 10 w 12"/>
                  <a:gd name="T35" fmla="*/ 2 h 14"/>
                  <a:gd name="T36" fmla="*/ 9 w 12"/>
                  <a:gd name="T37" fmla="*/ 2 h 14"/>
                  <a:gd name="T38" fmla="*/ 7 w 12"/>
                  <a:gd name="T39" fmla="*/ 0 h 14"/>
                  <a:gd name="T40" fmla="*/ 4 w 12"/>
                  <a:gd name="T4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14">
                    <a:moveTo>
                      <a:pt x="4" y="0"/>
                    </a:moveTo>
                    <a:cubicBezTo>
                      <a:pt x="4" y="0"/>
                      <a:pt x="3" y="0"/>
                      <a:pt x="3" y="0"/>
                    </a:cubicBezTo>
                    <a:cubicBezTo>
                      <a:pt x="3" y="0"/>
                      <a:pt x="3" y="1"/>
                      <a:pt x="3" y="1"/>
                    </a:cubicBezTo>
                    <a:cubicBezTo>
                      <a:pt x="3" y="2"/>
                      <a:pt x="3" y="2"/>
                      <a:pt x="3" y="2"/>
                    </a:cubicBezTo>
                    <a:cubicBezTo>
                      <a:pt x="3" y="2"/>
                      <a:pt x="3" y="3"/>
                      <a:pt x="3" y="3"/>
                    </a:cubicBezTo>
                    <a:cubicBezTo>
                      <a:pt x="2" y="4"/>
                      <a:pt x="2" y="4"/>
                      <a:pt x="2" y="4"/>
                    </a:cubicBezTo>
                    <a:cubicBezTo>
                      <a:pt x="2" y="4"/>
                      <a:pt x="2" y="5"/>
                      <a:pt x="1" y="5"/>
                    </a:cubicBezTo>
                    <a:cubicBezTo>
                      <a:pt x="1" y="5"/>
                      <a:pt x="1" y="5"/>
                      <a:pt x="1" y="5"/>
                    </a:cubicBezTo>
                    <a:cubicBezTo>
                      <a:pt x="1" y="6"/>
                      <a:pt x="1" y="6"/>
                      <a:pt x="0" y="7"/>
                    </a:cubicBezTo>
                    <a:cubicBezTo>
                      <a:pt x="1" y="7"/>
                      <a:pt x="1" y="7"/>
                      <a:pt x="1" y="7"/>
                    </a:cubicBezTo>
                    <a:cubicBezTo>
                      <a:pt x="1" y="7"/>
                      <a:pt x="1" y="8"/>
                      <a:pt x="2" y="9"/>
                    </a:cubicBezTo>
                    <a:cubicBezTo>
                      <a:pt x="4" y="6"/>
                      <a:pt x="4" y="6"/>
                      <a:pt x="4" y="6"/>
                    </a:cubicBezTo>
                    <a:cubicBezTo>
                      <a:pt x="2" y="12"/>
                      <a:pt x="2" y="12"/>
                      <a:pt x="2" y="12"/>
                    </a:cubicBezTo>
                    <a:cubicBezTo>
                      <a:pt x="2" y="12"/>
                      <a:pt x="2" y="12"/>
                      <a:pt x="2" y="12"/>
                    </a:cubicBezTo>
                    <a:cubicBezTo>
                      <a:pt x="7" y="14"/>
                      <a:pt x="7" y="14"/>
                      <a:pt x="7" y="14"/>
                    </a:cubicBezTo>
                    <a:cubicBezTo>
                      <a:pt x="11" y="5"/>
                      <a:pt x="11" y="5"/>
                      <a:pt x="11" y="5"/>
                    </a:cubicBezTo>
                    <a:cubicBezTo>
                      <a:pt x="12" y="4"/>
                      <a:pt x="12" y="4"/>
                      <a:pt x="12" y="4"/>
                    </a:cubicBezTo>
                    <a:cubicBezTo>
                      <a:pt x="11" y="3"/>
                      <a:pt x="10" y="3"/>
                      <a:pt x="10" y="2"/>
                    </a:cubicBezTo>
                    <a:cubicBezTo>
                      <a:pt x="9" y="2"/>
                      <a:pt x="9" y="2"/>
                      <a:pt x="9" y="2"/>
                    </a:cubicBezTo>
                    <a:cubicBezTo>
                      <a:pt x="9" y="1"/>
                      <a:pt x="8" y="1"/>
                      <a:pt x="7" y="0"/>
                    </a:cubicBezTo>
                    <a:cubicBezTo>
                      <a:pt x="7"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51" name="Freeform 279">
                <a:extLst>
                  <a:ext uri="{FF2B5EF4-FFF2-40B4-BE49-F238E27FC236}">
                    <a16:creationId xmlns:a16="http://schemas.microsoft.com/office/drawing/2014/main" id="{E601D8D0-7958-438F-BC10-7142D08302A6}"/>
                  </a:ext>
                </a:extLst>
              </p:cNvPr>
              <p:cNvSpPr>
                <a:spLocks/>
              </p:cNvSpPr>
              <p:nvPr/>
            </p:nvSpPr>
            <p:spPr bwMode="auto">
              <a:xfrm>
                <a:off x="5251290" y="4123645"/>
                <a:ext cx="641210" cy="272699"/>
              </a:xfrm>
              <a:custGeom>
                <a:avLst/>
                <a:gdLst>
                  <a:gd name="T0" fmla="*/ 131 w 202"/>
                  <a:gd name="T1" fmla="*/ 14 h 86"/>
                  <a:gd name="T2" fmla="*/ 113 w 202"/>
                  <a:gd name="T3" fmla="*/ 9 h 86"/>
                  <a:gd name="T4" fmla="*/ 112 w 202"/>
                  <a:gd name="T5" fmla="*/ 14 h 86"/>
                  <a:gd name="T6" fmla="*/ 104 w 202"/>
                  <a:gd name="T7" fmla="*/ 15 h 86"/>
                  <a:gd name="T8" fmla="*/ 95 w 202"/>
                  <a:gd name="T9" fmla="*/ 24 h 86"/>
                  <a:gd name="T10" fmla="*/ 85 w 202"/>
                  <a:gd name="T11" fmla="*/ 29 h 86"/>
                  <a:gd name="T12" fmla="*/ 91 w 202"/>
                  <a:gd name="T13" fmla="*/ 40 h 86"/>
                  <a:gd name="T14" fmla="*/ 91 w 202"/>
                  <a:gd name="T15" fmla="*/ 53 h 86"/>
                  <a:gd name="T16" fmla="*/ 77 w 202"/>
                  <a:gd name="T17" fmla="*/ 48 h 86"/>
                  <a:gd name="T18" fmla="*/ 71 w 202"/>
                  <a:gd name="T19" fmla="*/ 48 h 86"/>
                  <a:gd name="T20" fmla="*/ 68 w 202"/>
                  <a:gd name="T21" fmla="*/ 47 h 86"/>
                  <a:gd name="T22" fmla="*/ 57 w 202"/>
                  <a:gd name="T23" fmla="*/ 50 h 86"/>
                  <a:gd name="T24" fmla="*/ 46 w 202"/>
                  <a:gd name="T25" fmla="*/ 52 h 86"/>
                  <a:gd name="T26" fmla="*/ 31 w 202"/>
                  <a:gd name="T27" fmla="*/ 57 h 86"/>
                  <a:gd name="T28" fmla="*/ 28 w 202"/>
                  <a:gd name="T29" fmla="*/ 56 h 86"/>
                  <a:gd name="T30" fmla="*/ 19 w 202"/>
                  <a:gd name="T31" fmla="*/ 51 h 86"/>
                  <a:gd name="T32" fmla="*/ 7 w 202"/>
                  <a:gd name="T33" fmla="*/ 69 h 86"/>
                  <a:gd name="T34" fmla="*/ 16 w 202"/>
                  <a:gd name="T35" fmla="*/ 67 h 86"/>
                  <a:gd name="T36" fmla="*/ 18 w 202"/>
                  <a:gd name="T37" fmla="*/ 69 h 86"/>
                  <a:gd name="T38" fmla="*/ 29 w 202"/>
                  <a:gd name="T39" fmla="*/ 72 h 86"/>
                  <a:gd name="T40" fmla="*/ 30 w 202"/>
                  <a:gd name="T41" fmla="*/ 72 h 86"/>
                  <a:gd name="T42" fmla="*/ 59 w 202"/>
                  <a:gd name="T43" fmla="*/ 62 h 86"/>
                  <a:gd name="T44" fmla="*/ 71 w 202"/>
                  <a:gd name="T45" fmla="*/ 63 h 86"/>
                  <a:gd name="T46" fmla="*/ 75 w 202"/>
                  <a:gd name="T47" fmla="*/ 76 h 86"/>
                  <a:gd name="T48" fmla="*/ 79 w 202"/>
                  <a:gd name="T49" fmla="*/ 77 h 86"/>
                  <a:gd name="T50" fmla="*/ 109 w 202"/>
                  <a:gd name="T51" fmla="*/ 81 h 86"/>
                  <a:gd name="T52" fmla="*/ 118 w 202"/>
                  <a:gd name="T53" fmla="*/ 83 h 86"/>
                  <a:gd name="T54" fmla="*/ 123 w 202"/>
                  <a:gd name="T55" fmla="*/ 85 h 86"/>
                  <a:gd name="T56" fmla="*/ 130 w 202"/>
                  <a:gd name="T57" fmla="*/ 85 h 86"/>
                  <a:gd name="T58" fmla="*/ 135 w 202"/>
                  <a:gd name="T59" fmla="*/ 84 h 86"/>
                  <a:gd name="T60" fmla="*/ 145 w 202"/>
                  <a:gd name="T61" fmla="*/ 77 h 86"/>
                  <a:gd name="T62" fmla="*/ 152 w 202"/>
                  <a:gd name="T63" fmla="*/ 77 h 86"/>
                  <a:gd name="T64" fmla="*/ 158 w 202"/>
                  <a:gd name="T65" fmla="*/ 78 h 86"/>
                  <a:gd name="T66" fmla="*/ 160 w 202"/>
                  <a:gd name="T67" fmla="*/ 77 h 86"/>
                  <a:gd name="T68" fmla="*/ 170 w 202"/>
                  <a:gd name="T69" fmla="*/ 76 h 86"/>
                  <a:gd name="T70" fmla="*/ 172 w 202"/>
                  <a:gd name="T71" fmla="*/ 72 h 86"/>
                  <a:gd name="T72" fmla="*/ 176 w 202"/>
                  <a:gd name="T73" fmla="*/ 69 h 86"/>
                  <a:gd name="T74" fmla="*/ 176 w 202"/>
                  <a:gd name="T75" fmla="*/ 69 h 86"/>
                  <a:gd name="T76" fmla="*/ 183 w 202"/>
                  <a:gd name="T77" fmla="*/ 64 h 86"/>
                  <a:gd name="T78" fmla="*/ 182 w 202"/>
                  <a:gd name="T79" fmla="*/ 58 h 86"/>
                  <a:gd name="T80" fmla="*/ 184 w 202"/>
                  <a:gd name="T81" fmla="*/ 48 h 86"/>
                  <a:gd name="T82" fmla="*/ 187 w 202"/>
                  <a:gd name="T83" fmla="*/ 38 h 86"/>
                  <a:gd name="T84" fmla="*/ 196 w 202"/>
                  <a:gd name="T85" fmla="*/ 40 h 86"/>
                  <a:gd name="T86" fmla="*/ 200 w 202"/>
                  <a:gd name="T87" fmla="*/ 39 h 86"/>
                  <a:gd name="T88" fmla="*/ 202 w 202"/>
                  <a:gd name="T89" fmla="*/ 32 h 86"/>
                  <a:gd name="T90" fmla="*/ 197 w 202"/>
                  <a:gd name="T91" fmla="*/ 24 h 86"/>
                  <a:gd name="T92" fmla="*/ 196 w 202"/>
                  <a:gd name="T93" fmla="*/ 12 h 86"/>
                  <a:gd name="T94" fmla="*/ 189 w 202"/>
                  <a:gd name="T95" fmla="*/ 6 h 86"/>
                  <a:gd name="T96" fmla="*/ 178 w 202"/>
                  <a:gd name="T97" fmla="*/ 8 h 86"/>
                  <a:gd name="T98" fmla="*/ 156 w 202"/>
                  <a:gd name="T99" fmla="*/ 2 h 86"/>
                  <a:gd name="T100" fmla="*/ 152 w 202"/>
                  <a:gd name="T101" fmla="*/ 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2" h="86">
                    <a:moveTo>
                      <a:pt x="147" y="0"/>
                    </a:moveTo>
                    <a:cubicBezTo>
                      <a:pt x="146" y="6"/>
                      <a:pt x="144" y="9"/>
                      <a:pt x="140" y="12"/>
                    </a:cubicBezTo>
                    <a:cubicBezTo>
                      <a:pt x="139" y="13"/>
                      <a:pt x="139" y="13"/>
                      <a:pt x="139" y="13"/>
                    </a:cubicBezTo>
                    <a:cubicBezTo>
                      <a:pt x="136" y="14"/>
                      <a:pt x="134" y="14"/>
                      <a:pt x="131" y="14"/>
                    </a:cubicBezTo>
                    <a:cubicBezTo>
                      <a:pt x="130" y="15"/>
                      <a:pt x="130" y="15"/>
                      <a:pt x="130" y="15"/>
                    </a:cubicBezTo>
                    <a:cubicBezTo>
                      <a:pt x="126" y="15"/>
                      <a:pt x="121" y="14"/>
                      <a:pt x="117" y="11"/>
                    </a:cubicBezTo>
                    <a:cubicBezTo>
                      <a:pt x="114" y="10"/>
                      <a:pt x="114" y="10"/>
                      <a:pt x="114" y="10"/>
                    </a:cubicBezTo>
                    <a:cubicBezTo>
                      <a:pt x="113" y="9"/>
                      <a:pt x="113" y="9"/>
                      <a:pt x="113" y="9"/>
                    </a:cubicBezTo>
                    <a:cubicBezTo>
                      <a:pt x="111" y="9"/>
                      <a:pt x="111" y="9"/>
                      <a:pt x="111" y="9"/>
                    </a:cubicBezTo>
                    <a:cubicBezTo>
                      <a:pt x="113" y="9"/>
                      <a:pt x="113" y="9"/>
                      <a:pt x="113" y="9"/>
                    </a:cubicBezTo>
                    <a:cubicBezTo>
                      <a:pt x="113" y="10"/>
                      <a:pt x="112" y="11"/>
                      <a:pt x="112" y="12"/>
                    </a:cubicBezTo>
                    <a:cubicBezTo>
                      <a:pt x="112" y="12"/>
                      <a:pt x="112" y="13"/>
                      <a:pt x="112" y="14"/>
                    </a:cubicBezTo>
                    <a:cubicBezTo>
                      <a:pt x="111" y="18"/>
                      <a:pt x="111" y="18"/>
                      <a:pt x="111" y="18"/>
                    </a:cubicBezTo>
                    <a:cubicBezTo>
                      <a:pt x="107" y="17"/>
                      <a:pt x="107" y="17"/>
                      <a:pt x="107" y="17"/>
                    </a:cubicBezTo>
                    <a:cubicBezTo>
                      <a:pt x="107" y="16"/>
                      <a:pt x="106" y="16"/>
                      <a:pt x="106" y="16"/>
                    </a:cubicBezTo>
                    <a:cubicBezTo>
                      <a:pt x="105" y="16"/>
                      <a:pt x="104" y="15"/>
                      <a:pt x="104" y="15"/>
                    </a:cubicBezTo>
                    <a:cubicBezTo>
                      <a:pt x="103" y="15"/>
                      <a:pt x="103" y="15"/>
                      <a:pt x="103" y="15"/>
                    </a:cubicBezTo>
                    <a:cubicBezTo>
                      <a:pt x="103" y="17"/>
                      <a:pt x="103" y="19"/>
                      <a:pt x="102" y="21"/>
                    </a:cubicBezTo>
                    <a:cubicBezTo>
                      <a:pt x="101" y="22"/>
                      <a:pt x="101" y="22"/>
                      <a:pt x="101" y="22"/>
                    </a:cubicBezTo>
                    <a:cubicBezTo>
                      <a:pt x="99" y="23"/>
                      <a:pt x="98" y="23"/>
                      <a:pt x="95" y="24"/>
                    </a:cubicBezTo>
                    <a:cubicBezTo>
                      <a:pt x="94" y="25"/>
                      <a:pt x="94" y="25"/>
                      <a:pt x="94" y="25"/>
                    </a:cubicBezTo>
                    <a:cubicBezTo>
                      <a:pt x="93" y="25"/>
                      <a:pt x="93" y="25"/>
                      <a:pt x="92" y="25"/>
                    </a:cubicBezTo>
                    <a:cubicBezTo>
                      <a:pt x="91" y="26"/>
                      <a:pt x="91" y="26"/>
                      <a:pt x="91" y="26"/>
                    </a:cubicBezTo>
                    <a:cubicBezTo>
                      <a:pt x="88" y="27"/>
                      <a:pt x="86" y="28"/>
                      <a:pt x="85" y="29"/>
                    </a:cubicBezTo>
                    <a:cubicBezTo>
                      <a:pt x="86" y="29"/>
                      <a:pt x="87" y="31"/>
                      <a:pt x="88" y="32"/>
                    </a:cubicBezTo>
                    <a:cubicBezTo>
                      <a:pt x="88" y="33"/>
                      <a:pt x="88" y="33"/>
                      <a:pt x="88" y="33"/>
                    </a:cubicBezTo>
                    <a:cubicBezTo>
                      <a:pt x="89" y="33"/>
                      <a:pt x="89" y="33"/>
                      <a:pt x="90" y="34"/>
                    </a:cubicBezTo>
                    <a:cubicBezTo>
                      <a:pt x="91" y="36"/>
                      <a:pt x="91" y="38"/>
                      <a:pt x="91" y="40"/>
                    </a:cubicBezTo>
                    <a:cubicBezTo>
                      <a:pt x="91" y="40"/>
                      <a:pt x="91" y="40"/>
                      <a:pt x="91" y="40"/>
                    </a:cubicBezTo>
                    <a:cubicBezTo>
                      <a:pt x="92" y="41"/>
                      <a:pt x="92" y="42"/>
                      <a:pt x="92" y="44"/>
                    </a:cubicBezTo>
                    <a:cubicBezTo>
                      <a:pt x="92" y="45"/>
                      <a:pt x="92" y="45"/>
                      <a:pt x="92" y="45"/>
                    </a:cubicBezTo>
                    <a:cubicBezTo>
                      <a:pt x="92" y="47"/>
                      <a:pt x="92" y="50"/>
                      <a:pt x="91" y="53"/>
                    </a:cubicBezTo>
                    <a:cubicBezTo>
                      <a:pt x="89" y="57"/>
                      <a:pt x="89" y="57"/>
                      <a:pt x="89" y="57"/>
                    </a:cubicBezTo>
                    <a:cubicBezTo>
                      <a:pt x="78" y="48"/>
                      <a:pt x="78" y="48"/>
                      <a:pt x="78" y="48"/>
                    </a:cubicBezTo>
                    <a:cubicBezTo>
                      <a:pt x="78" y="48"/>
                      <a:pt x="78" y="48"/>
                      <a:pt x="78" y="48"/>
                    </a:cubicBezTo>
                    <a:cubicBezTo>
                      <a:pt x="77" y="48"/>
                      <a:pt x="77" y="48"/>
                      <a:pt x="77" y="48"/>
                    </a:cubicBezTo>
                    <a:cubicBezTo>
                      <a:pt x="76" y="48"/>
                      <a:pt x="76" y="49"/>
                      <a:pt x="75" y="49"/>
                    </a:cubicBezTo>
                    <a:cubicBezTo>
                      <a:pt x="75" y="49"/>
                      <a:pt x="74" y="48"/>
                      <a:pt x="74" y="48"/>
                    </a:cubicBezTo>
                    <a:cubicBezTo>
                      <a:pt x="73" y="48"/>
                      <a:pt x="73" y="48"/>
                      <a:pt x="72" y="48"/>
                    </a:cubicBezTo>
                    <a:cubicBezTo>
                      <a:pt x="72" y="48"/>
                      <a:pt x="71" y="48"/>
                      <a:pt x="71" y="48"/>
                    </a:cubicBezTo>
                    <a:cubicBezTo>
                      <a:pt x="70" y="47"/>
                      <a:pt x="70" y="47"/>
                      <a:pt x="70" y="47"/>
                    </a:cubicBezTo>
                    <a:cubicBezTo>
                      <a:pt x="70" y="47"/>
                      <a:pt x="69" y="47"/>
                      <a:pt x="69" y="47"/>
                    </a:cubicBezTo>
                    <a:cubicBezTo>
                      <a:pt x="69" y="47"/>
                      <a:pt x="69" y="47"/>
                      <a:pt x="69" y="47"/>
                    </a:cubicBezTo>
                    <a:cubicBezTo>
                      <a:pt x="69" y="47"/>
                      <a:pt x="68" y="47"/>
                      <a:pt x="68" y="47"/>
                    </a:cubicBezTo>
                    <a:cubicBezTo>
                      <a:pt x="67" y="47"/>
                      <a:pt x="67" y="47"/>
                      <a:pt x="66" y="48"/>
                    </a:cubicBezTo>
                    <a:cubicBezTo>
                      <a:pt x="65" y="48"/>
                      <a:pt x="64" y="49"/>
                      <a:pt x="62" y="49"/>
                    </a:cubicBezTo>
                    <a:cubicBezTo>
                      <a:pt x="62" y="49"/>
                      <a:pt x="62" y="49"/>
                      <a:pt x="62" y="49"/>
                    </a:cubicBezTo>
                    <a:cubicBezTo>
                      <a:pt x="61" y="50"/>
                      <a:pt x="59" y="50"/>
                      <a:pt x="57" y="50"/>
                    </a:cubicBezTo>
                    <a:cubicBezTo>
                      <a:pt x="57" y="50"/>
                      <a:pt x="56" y="50"/>
                      <a:pt x="56" y="50"/>
                    </a:cubicBezTo>
                    <a:cubicBezTo>
                      <a:pt x="54" y="50"/>
                      <a:pt x="54" y="50"/>
                      <a:pt x="54" y="50"/>
                    </a:cubicBezTo>
                    <a:cubicBezTo>
                      <a:pt x="53" y="50"/>
                      <a:pt x="52" y="50"/>
                      <a:pt x="51" y="50"/>
                    </a:cubicBezTo>
                    <a:cubicBezTo>
                      <a:pt x="49" y="50"/>
                      <a:pt x="47" y="51"/>
                      <a:pt x="46" y="52"/>
                    </a:cubicBezTo>
                    <a:cubicBezTo>
                      <a:pt x="45" y="56"/>
                      <a:pt x="39" y="56"/>
                      <a:pt x="34" y="57"/>
                    </a:cubicBezTo>
                    <a:cubicBezTo>
                      <a:pt x="33" y="57"/>
                      <a:pt x="33" y="57"/>
                      <a:pt x="33" y="57"/>
                    </a:cubicBezTo>
                    <a:cubicBezTo>
                      <a:pt x="33" y="57"/>
                      <a:pt x="33" y="57"/>
                      <a:pt x="32" y="57"/>
                    </a:cubicBezTo>
                    <a:cubicBezTo>
                      <a:pt x="31" y="57"/>
                      <a:pt x="31" y="57"/>
                      <a:pt x="31" y="57"/>
                    </a:cubicBezTo>
                    <a:cubicBezTo>
                      <a:pt x="31" y="57"/>
                      <a:pt x="30" y="57"/>
                      <a:pt x="30" y="57"/>
                    </a:cubicBezTo>
                    <a:cubicBezTo>
                      <a:pt x="30" y="57"/>
                      <a:pt x="30" y="57"/>
                      <a:pt x="30" y="57"/>
                    </a:cubicBezTo>
                    <a:cubicBezTo>
                      <a:pt x="29" y="57"/>
                      <a:pt x="29" y="57"/>
                      <a:pt x="29" y="57"/>
                    </a:cubicBezTo>
                    <a:cubicBezTo>
                      <a:pt x="29" y="57"/>
                      <a:pt x="28" y="56"/>
                      <a:pt x="28" y="56"/>
                    </a:cubicBezTo>
                    <a:cubicBezTo>
                      <a:pt x="27" y="56"/>
                      <a:pt x="27" y="56"/>
                      <a:pt x="27" y="56"/>
                    </a:cubicBezTo>
                    <a:cubicBezTo>
                      <a:pt x="26" y="54"/>
                      <a:pt x="26" y="53"/>
                      <a:pt x="26" y="52"/>
                    </a:cubicBezTo>
                    <a:cubicBezTo>
                      <a:pt x="26" y="52"/>
                      <a:pt x="26" y="52"/>
                      <a:pt x="26" y="52"/>
                    </a:cubicBezTo>
                    <a:cubicBezTo>
                      <a:pt x="19" y="51"/>
                      <a:pt x="19" y="51"/>
                      <a:pt x="19" y="51"/>
                    </a:cubicBezTo>
                    <a:cubicBezTo>
                      <a:pt x="18" y="56"/>
                      <a:pt x="15" y="58"/>
                      <a:pt x="11" y="60"/>
                    </a:cubicBezTo>
                    <a:cubicBezTo>
                      <a:pt x="0" y="66"/>
                      <a:pt x="0" y="66"/>
                      <a:pt x="0" y="66"/>
                    </a:cubicBezTo>
                    <a:cubicBezTo>
                      <a:pt x="6" y="70"/>
                      <a:pt x="6" y="70"/>
                      <a:pt x="6" y="70"/>
                    </a:cubicBezTo>
                    <a:cubicBezTo>
                      <a:pt x="6" y="69"/>
                      <a:pt x="6" y="69"/>
                      <a:pt x="7" y="69"/>
                    </a:cubicBezTo>
                    <a:cubicBezTo>
                      <a:pt x="8" y="67"/>
                      <a:pt x="10" y="65"/>
                      <a:pt x="12" y="65"/>
                    </a:cubicBezTo>
                    <a:cubicBezTo>
                      <a:pt x="13" y="65"/>
                      <a:pt x="14" y="66"/>
                      <a:pt x="14" y="66"/>
                    </a:cubicBezTo>
                    <a:cubicBezTo>
                      <a:pt x="15" y="66"/>
                      <a:pt x="15" y="66"/>
                      <a:pt x="16" y="66"/>
                    </a:cubicBezTo>
                    <a:cubicBezTo>
                      <a:pt x="16" y="67"/>
                      <a:pt x="16" y="67"/>
                      <a:pt x="16" y="67"/>
                    </a:cubicBezTo>
                    <a:cubicBezTo>
                      <a:pt x="17" y="67"/>
                      <a:pt x="17" y="67"/>
                      <a:pt x="17" y="67"/>
                    </a:cubicBezTo>
                    <a:cubicBezTo>
                      <a:pt x="17" y="68"/>
                      <a:pt x="17" y="68"/>
                      <a:pt x="17" y="68"/>
                    </a:cubicBezTo>
                    <a:cubicBezTo>
                      <a:pt x="18" y="68"/>
                      <a:pt x="18" y="68"/>
                      <a:pt x="18" y="68"/>
                    </a:cubicBezTo>
                    <a:cubicBezTo>
                      <a:pt x="18" y="69"/>
                      <a:pt x="18" y="69"/>
                      <a:pt x="18" y="69"/>
                    </a:cubicBezTo>
                    <a:cubicBezTo>
                      <a:pt x="18" y="69"/>
                      <a:pt x="18" y="69"/>
                      <a:pt x="18" y="69"/>
                    </a:cubicBezTo>
                    <a:cubicBezTo>
                      <a:pt x="18" y="70"/>
                      <a:pt x="18" y="70"/>
                      <a:pt x="18" y="70"/>
                    </a:cubicBezTo>
                    <a:cubicBezTo>
                      <a:pt x="19" y="70"/>
                      <a:pt x="20" y="70"/>
                      <a:pt x="21" y="71"/>
                    </a:cubicBezTo>
                    <a:cubicBezTo>
                      <a:pt x="24" y="71"/>
                      <a:pt x="27" y="72"/>
                      <a:pt x="29" y="72"/>
                    </a:cubicBezTo>
                    <a:cubicBezTo>
                      <a:pt x="29" y="72"/>
                      <a:pt x="29" y="72"/>
                      <a:pt x="29" y="72"/>
                    </a:cubicBezTo>
                    <a:cubicBezTo>
                      <a:pt x="30" y="73"/>
                      <a:pt x="30" y="73"/>
                      <a:pt x="30" y="73"/>
                    </a:cubicBezTo>
                    <a:cubicBezTo>
                      <a:pt x="30" y="72"/>
                      <a:pt x="30" y="72"/>
                      <a:pt x="30" y="72"/>
                    </a:cubicBezTo>
                    <a:cubicBezTo>
                      <a:pt x="30" y="72"/>
                      <a:pt x="30" y="72"/>
                      <a:pt x="30" y="72"/>
                    </a:cubicBezTo>
                    <a:cubicBezTo>
                      <a:pt x="31" y="71"/>
                      <a:pt x="31" y="71"/>
                      <a:pt x="31" y="71"/>
                    </a:cubicBezTo>
                    <a:cubicBezTo>
                      <a:pt x="32" y="68"/>
                      <a:pt x="33" y="66"/>
                      <a:pt x="38" y="66"/>
                    </a:cubicBezTo>
                    <a:cubicBezTo>
                      <a:pt x="49" y="64"/>
                      <a:pt x="49" y="64"/>
                      <a:pt x="49" y="64"/>
                    </a:cubicBezTo>
                    <a:cubicBezTo>
                      <a:pt x="53" y="63"/>
                      <a:pt x="56" y="63"/>
                      <a:pt x="59" y="62"/>
                    </a:cubicBezTo>
                    <a:cubicBezTo>
                      <a:pt x="63" y="62"/>
                      <a:pt x="63" y="62"/>
                      <a:pt x="63" y="62"/>
                    </a:cubicBezTo>
                    <a:cubicBezTo>
                      <a:pt x="64" y="62"/>
                      <a:pt x="64" y="62"/>
                      <a:pt x="64" y="62"/>
                    </a:cubicBezTo>
                    <a:cubicBezTo>
                      <a:pt x="65" y="62"/>
                      <a:pt x="66" y="62"/>
                      <a:pt x="67" y="62"/>
                    </a:cubicBezTo>
                    <a:cubicBezTo>
                      <a:pt x="71" y="63"/>
                      <a:pt x="71" y="63"/>
                      <a:pt x="71" y="63"/>
                    </a:cubicBezTo>
                    <a:cubicBezTo>
                      <a:pt x="68" y="68"/>
                      <a:pt x="68" y="68"/>
                      <a:pt x="68" y="68"/>
                    </a:cubicBezTo>
                    <a:cubicBezTo>
                      <a:pt x="68" y="69"/>
                      <a:pt x="68" y="70"/>
                      <a:pt x="68" y="70"/>
                    </a:cubicBezTo>
                    <a:cubicBezTo>
                      <a:pt x="68" y="71"/>
                      <a:pt x="68" y="71"/>
                      <a:pt x="68" y="71"/>
                    </a:cubicBezTo>
                    <a:cubicBezTo>
                      <a:pt x="70" y="73"/>
                      <a:pt x="73" y="76"/>
                      <a:pt x="75" y="76"/>
                    </a:cubicBezTo>
                    <a:cubicBezTo>
                      <a:pt x="77" y="77"/>
                      <a:pt x="77" y="77"/>
                      <a:pt x="77" y="77"/>
                    </a:cubicBezTo>
                    <a:cubicBezTo>
                      <a:pt x="78" y="69"/>
                      <a:pt x="78" y="69"/>
                      <a:pt x="78" y="69"/>
                    </a:cubicBezTo>
                    <a:cubicBezTo>
                      <a:pt x="79" y="77"/>
                      <a:pt x="79" y="77"/>
                      <a:pt x="79" y="77"/>
                    </a:cubicBezTo>
                    <a:cubicBezTo>
                      <a:pt x="79" y="77"/>
                      <a:pt x="79" y="77"/>
                      <a:pt x="79" y="77"/>
                    </a:cubicBezTo>
                    <a:cubicBezTo>
                      <a:pt x="86" y="79"/>
                      <a:pt x="92" y="79"/>
                      <a:pt x="98" y="80"/>
                    </a:cubicBezTo>
                    <a:cubicBezTo>
                      <a:pt x="100" y="80"/>
                      <a:pt x="102" y="80"/>
                      <a:pt x="104" y="81"/>
                    </a:cubicBezTo>
                    <a:cubicBezTo>
                      <a:pt x="104" y="81"/>
                      <a:pt x="106" y="81"/>
                      <a:pt x="108" y="82"/>
                    </a:cubicBezTo>
                    <a:cubicBezTo>
                      <a:pt x="109" y="81"/>
                      <a:pt x="109" y="81"/>
                      <a:pt x="109" y="81"/>
                    </a:cubicBezTo>
                    <a:cubicBezTo>
                      <a:pt x="109" y="82"/>
                      <a:pt x="109" y="82"/>
                      <a:pt x="109" y="82"/>
                    </a:cubicBezTo>
                    <a:cubicBezTo>
                      <a:pt x="110" y="82"/>
                      <a:pt x="111" y="82"/>
                      <a:pt x="112" y="82"/>
                    </a:cubicBezTo>
                    <a:cubicBezTo>
                      <a:pt x="114" y="82"/>
                      <a:pt x="114" y="82"/>
                      <a:pt x="114" y="82"/>
                    </a:cubicBezTo>
                    <a:cubicBezTo>
                      <a:pt x="115" y="83"/>
                      <a:pt x="116" y="83"/>
                      <a:pt x="118" y="83"/>
                    </a:cubicBezTo>
                    <a:cubicBezTo>
                      <a:pt x="118" y="83"/>
                      <a:pt x="118" y="83"/>
                      <a:pt x="119" y="84"/>
                    </a:cubicBezTo>
                    <a:cubicBezTo>
                      <a:pt x="120" y="84"/>
                      <a:pt x="120" y="84"/>
                      <a:pt x="120" y="84"/>
                    </a:cubicBezTo>
                    <a:cubicBezTo>
                      <a:pt x="121" y="84"/>
                      <a:pt x="121" y="84"/>
                      <a:pt x="122" y="85"/>
                    </a:cubicBezTo>
                    <a:cubicBezTo>
                      <a:pt x="123" y="85"/>
                      <a:pt x="123" y="85"/>
                      <a:pt x="123" y="85"/>
                    </a:cubicBezTo>
                    <a:cubicBezTo>
                      <a:pt x="124" y="85"/>
                      <a:pt x="124" y="85"/>
                      <a:pt x="125" y="85"/>
                    </a:cubicBezTo>
                    <a:cubicBezTo>
                      <a:pt x="126" y="85"/>
                      <a:pt x="126" y="85"/>
                      <a:pt x="126" y="85"/>
                    </a:cubicBezTo>
                    <a:cubicBezTo>
                      <a:pt x="127" y="85"/>
                      <a:pt x="127" y="85"/>
                      <a:pt x="127" y="85"/>
                    </a:cubicBezTo>
                    <a:cubicBezTo>
                      <a:pt x="128" y="85"/>
                      <a:pt x="129" y="85"/>
                      <a:pt x="130" y="85"/>
                    </a:cubicBezTo>
                    <a:cubicBezTo>
                      <a:pt x="131" y="86"/>
                      <a:pt x="131" y="86"/>
                      <a:pt x="131" y="86"/>
                    </a:cubicBezTo>
                    <a:cubicBezTo>
                      <a:pt x="132" y="86"/>
                      <a:pt x="132" y="86"/>
                      <a:pt x="132" y="86"/>
                    </a:cubicBezTo>
                    <a:cubicBezTo>
                      <a:pt x="132" y="86"/>
                      <a:pt x="132" y="86"/>
                      <a:pt x="132" y="86"/>
                    </a:cubicBezTo>
                    <a:cubicBezTo>
                      <a:pt x="133" y="86"/>
                      <a:pt x="134" y="85"/>
                      <a:pt x="135" y="84"/>
                    </a:cubicBezTo>
                    <a:cubicBezTo>
                      <a:pt x="136" y="84"/>
                      <a:pt x="136" y="84"/>
                      <a:pt x="136" y="84"/>
                    </a:cubicBezTo>
                    <a:cubicBezTo>
                      <a:pt x="136" y="83"/>
                      <a:pt x="137" y="83"/>
                      <a:pt x="137" y="83"/>
                    </a:cubicBezTo>
                    <a:cubicBezTo>
                      <a:pt x="137" y="82"/>
                      <a:pt x="138" y="82"/>
                      <a:pt x="138" y="81"/>
                    </a:cubicBezTo>
                    <a:cubicBezTo>
                      <a:pt x="140" y="79"/>
                      <a:pt x="141" y="78"/>
                      <a:pt x="145" y="77"/>
                    </a:cubicBezTo>
                    <a:cubicBezTo>
                      <a:pt x="146" y="77"/>
                      <a:pt x="146" y="77"/>
                      <a:pt x="147" y="77"/>
                    </a:cubicBezTo>
                    <a:cubicBezTo>
                      <a:pt x="147" y="77"/>
                      <a:pt x="147" y="77"/>
                      <a:pt x="147" y="77"/>
                    </a:cubicBezTo>
                    <a:cubicBezTo>
                      <a:pt x="148" y="77"/>
                      <a:pt x="149" y="77"/>
                      <a:pt x="150" y="77"/>
                    </a:cubicBezTo>
                    <a:cubicBezTo>
                      <a:pt x="152" y="77"/>
                      <a:pt x="152" y="77"/>
                      <a:pt x="152" y="77"/>
                    </a:cubicBezTo>
                    <a:cubicBezTo>
                      <a:pt x="152" y="77"/>
                      <a:pt x="153" y="77"/>
                      <a:pt x="153" y="77"/>
                    </a:cubicBezTo>
                    <a:cubicBezTo>
                      <a:pt x="154" y="77"/>
                      <a:pt x="155" y="77"/>
                      <a:pt x="156" y="78"/>
                    </a:cubicBezTo>
                    <a:cubicBezTo>
                      <a:pt x="156" y="78"/>
                      <a:pt x="156" y="78"/>
                      <a:pt x="156" y="78"/>
                    </a:cubicBezTo>
                    <a:cubicBezTo>
                      <a:pt x="157" y="78"/>
                      <a:pt x="158" y="78"/>
                      <a:pt x="158" y="78"/>
                    </a:cubicBezTo>
                    <a:cubicBezTo>
                      <a:pt x="159" y="78"/>
                      <a:pt x="159" y="78"/>
                      <a:pt x="159" y="78"/>
                    </a:cubicBezTo>
                    <a:cubicBezTo>
                      <a:pt x="159" y="78"/>
                      <a:pt x="159" y="78"/>
                      <a:pt x="159" y="78"/>
                    </a:cubicBezTo>
                    <a:cubicBezTo>
                      <a:pt x="160" y="77"/>
                      <a:pt x="160" y="77"/>
                      <a:pt x="160" y="77"/>
                    </a:cubicBezTo>
                    <a:cubicBezTo>
                      <a:pt x="160" y="77"/>
                      <a:pt x="160" y="77"/>
                      <a:pt x="160" y="77"/>
                    </a:cubicBezTo>
                    <a:cubicBezTo>
                      <a:pt x="161" y="76"/>
                      <a:pt x="163" y="75"/>
                      <a:pt x="166" y="75"/>
                    </a:cubicBezTo>
                    <a:cubicBezTo>
                      <a:pt x="166" y="75"/>
                      <a:pt x="166" y="75"/>
                      <a:pt x="166" y="75"/>
                    </a:cubicBezTo>
                    <a:cubicBezTo>
                      <a:pt x="167" y="75"/>
                      <a:pt x="167" y="75"/>
                      <a:pt x="167" y="75"/>
                    </a:cubicBezTo>
                    <a:cubicBezTo>
                      <a:pt x="168" y="75"/>
                      <a:pt x="169" y="75"/>
                      <a:pt x="170" y="76"/>
                    </a:cubicBezTo>
                    <a:cubicBezTo>
                      <a:pt x="170" y="75"/>
                      <a:pt x="170" y="75"/>
                      <a:pt x="170" y="74"/>
                    </a:cubicBezTo>
                    <a:cubicBezTo>
                      <a:pt x="171" y="73"/>
                      <a:pt x="171" y="73"/>
                      <a:pt x="171" y="73"/>
                    </a:cubicBezTo>
                    <a:cubicBezTo>
                      <a:pt x="171" y="73"/>
                      <a:pt x="172" y="72"/>
                      <a:pt x="172" y="72"/>
                    </a:cubicBezTo>
                    <a:cubicBezTo>
                      <a:pt x="172" y="72"/>
                      <a:pt x="172" y="72"/>
                      <a:pt x="172" y="72"/>
                    </a:cubicBezTo>
                    <a:cubicBezTo>
                      <a:pt x="174" y="70"/>
                      <a:pt x="174" y="70"/>
                      <a:pt x="174" y="70"/>
                    </a:cubicBezTo>
                    <a:cubicBezTo>
                      <a:pt x="175" y="70"/>
                      <a:pt x="175" y="70"/>
                      <a:pt x="175" y="70"/>
                    </a:cubicBezTo>
                    <a:cubicBezTo>
                      <a:pt x="176" y="69"/>
                      <a:pt x="176" y="69"/>
                      <a:pt x="176" y="69"/>
                    </a:cubicBezTo>
                    <a:cubicBezTo>
                      <a:pt x="176" y="69"/>
                      <a:pt x="176" y="69"/>
                      <a:pt x="176" y="69"/>
                    </a:cubicBezTo>
                    <a:cubicBezTo>
                      <a:pt x="176" y="69"/>
                      <a:pt x="176" y="69"/>
                      <a:pt x="176" y="69"/>
                    </a:cubicBezTo>
                    <a:cubicBezTo>
                      <a:pt x="176" y="69"/>
                      <a:pt x="176" y="69"/>
                      <a:pt x="176" y="69"/>
                    </a:cubicBezTo>
                    <a:cubicBezTo>
                      <a:pt x="176" y="69"/>
                      <a:pt x="176" y="69"/>
                      <a:pt x="176" y="69"/>
                    </a:cubicBezTo>
                    <a:cubicBezTo>
                      <a:pt x="176" y="69"/>
                      <a:pt x="176" y="69"/>
                      <a:pt x="176" y="69"/>
                    </a:cubicBezTo>
                    <a:cubicBezTo>
                      <a:pt x="177" y="67"/>
                      <a:pt x="178" y="66"/>
                      <a:pt x="179" y="65"/>
                    </a:cubicBezTo>
                    <a:cubicBezTo>
                      <a:pt x="180" y="64"/>
                      <a:pt x="181" y="64"/>
                      <a:pt x="182" y="64"/>
                    </a:cubicBezTo>
                    <a:cubicBezTo>
                      <a:pt x="183" y="64"/>
                      <a:pt x="183" y="64"/>
                      <a:pt x="183" y="64"/>
                    </a:cubicBezTo>
                    <a:cubicBezTo>
                      <a:pt x="183" y="64"/>
                      <a:pt x="183" y="64"/>
                      <a:pt x="183" y="64"/>
                    </a:cubicBezTo>
                    <a:cubicBezTo>
                      <a:pt x="183" y="64"/>
                      <a:pt x="183" y="64"/>
                      <a:pt x="183" y="64"/>
                    </a:cubicBezTo>
                    <a:cubicBezTo>
                      <a:pt x="183" y="64"/>
                      <a:pt x="183" y="64"/>
                      <a:pt x="183" y="64"/>
                    </a:cubicBezTo>
                    <a:cubicBezTo>
                      <a:pt x="183" y="63"/>
                      <a:pt x="183" y="63"/>
                      <a:pt x="183" y="63"/>
                    </a:cubicBezTo>
                    <a:cubicBezTo>
                      <a:pt x="183" y="62"/>
                      <a:pt x="182" y="60"/>
                      <a:pt x="182" y="58"/>
                    </a:cubicBezTo>
                    <a:cubicBezTo>
                      <a:pt x="182" y="53"/>
                      <a:pt x="186" y="51"/>
                      <a:pt x="187" y="51"/>
                    </a:cubicBezTo>
                    <a:cubicBezTo>
                      <a:pt x="188" y="50"/>
                      <a:pt x="188" y="50"/>
                      <a:pt x="188" y="50"/>
                    </a:cubicBezTo>
                    <a:cubicBezTo>
                      <a:pt x="188" y="49"/>
                      <a:pt x="187" y="49"/>
                      <a:pt x="186" y="48"/>
                    </a:cubicBezTo>
                    <a:cubicBezTo>
                      <a:pt x="185" y="48"/>
                      <a:pt x="185" y="48"/>
                      <a:pt x="184" y="48"/>
                    </a:cubicBezTo>
                    <a:cubicBezTo>
                      <a:pt x="177" y="46"/>
                      <a:pt x="177" y="46"/>
                      <a:pt x="177" y="46"/>
                    </a:cubicBezTo>
                    <a:cubicBezTo>
                      <a:pt x="185" y="40"/>
                      <a:pt x="185" y="40"/>
                      <a:pt x="185" y="40"/>
                    </a:cubicBezTo>
                    <a:cubicBezTo>
                      <a:pt x="186" y="39"/>
                      <a:pt x="186" y="39"/>
                      <a:pt x="187" y="39"/>
                    </a:cubicBezTo>
                    <a:cubicBezTo>
                      <a:pt x="187" y="38"/>
                      <a:pt x="187" y="38"/>
                      <a:pt x="187" y="38"/>
                    </a:cubicBezTo>
                    <a:cubicBezTo>
                      <a:pt x="189" y="38"/>
                      <a:pt x="190" y="38"/>
                      <a:pt x="191" y="38"/>
                    </a:cubicBezTo>
                    <a:cubicBezTo>
                      <a:pt x="192" y="38"/>
                      <a:pt x="193" y="38"/>
                      <a:pt x="195" y="39"/>
                    </a:cubicBezTo>
                    <a:cubicBezTo>
                      <a:pt x="196" y="39"/>
                      <a:pt x="196" y="39"/>
                      <a:pt x="196" y="39"/>
                    </a:cubicBezTo>
                    <a:cubicBezTo>
                      <a:pt x="196" y="40"/>
                      <a:pt x="196" y="40"/>
                      <a:pt x="196" y="40"/>
                    </a:cubicBezTo>
                    <a:cubicBezTo>
                      <a:pt x="196" y="40"/>
                      <a:pt x="196" y="40"/>
                      <a:pt x="196" y="40"/>
                    </a:cubicBezTo>
                    <a:cubicBezTo>
                      <a:pt x="197" y="40"/>
                      <a:pt x="197" y="40"/>
                      <a:pt x="197" y="40"/>
                    </a:cubicBezTo>
                    <a:cubicBezTo>
                      <a:pt x="198" y="40"/>
                      <a:pt x="199" y="40"/>
                      <a:pt x="200" y="40"/>
                    </a:cubicBezTo>
                    <a:cubicBezTo>
                      <a:pt x="200" y="39"/>
                      <a:pt x="200" y="39"/>
                      <a:pt x="200" y="39"/>
                    </a:cubicBezTo>
                    <a:cubicBezTo>
                      <a:pt x="200" y="38"/>
                      <a:pt x="200" y="38"/>
                      <a:pt x="200" y="38"/>
                    </a:cubicBezTo>
                    <a:cubicBezTo>
                      <a:pt x="201" y="37"/>
                      <a:pt x="201" y="36"/>
                      <a:pt x="201" y="35"/>
                    </a:cubicBezTo>
                    <a:cubicBezTo>
                      <a:pt x="202" y="34"/>
                      <a:pt x="202" y="33"/>
                      <a:pt x="202" y="32"/>
                    </a:cubicBezTo>
                    <a:cubicBezTo>
                      <a:pt x="202" y="32"/>
                      <a:pt x="202" y="32"/>
                      <a:pt x="202" y="32"/>
                    </a:cubicBezTo>
                    <a:cubicBezTo>
                      <a:pt x="202" y="32"/>
                      <a:pt x="201" y="31"/>
                      <a:pt x="201" y="30"/>
                    </a:cubicBezTo>
                    <a:cubicBezTo>
                      <a:pt x="200" y="29"/>
                      <a:pt x="199" y="29"/>
                      <a:pt x="198" y="28"/>
                    </a:cubicBezTo>
                    <a:cubicBezTo>
                      <a:pt x="197" y="27"/>
                      <a:pt x="197" y="25"/>
                      <a:pt x="197" y="24"/>
                    </a:cubicBezTo>
                    <a:cubicBezTo>
                      <a:pt x="197" y="24"/>
                      <a:pt x="197" y="24"/>
                      <a:pt x="197" y="24"/>
                    </a:cubicBezTo>
                    <a:cubicBezTo>
                      <a:pt x="196" y="23"/>
                      <a:pt x="196" y="23"/>
                      <a:pt x="195" y="22"/>
                    </a:cubicBezTo>
                    <a:cubicBezTo>
                      <a:pt x="194" y="21"/>
                      <a:pt x="194" y="20"/>
                      <a:pt x="194" y="17"/>
                    </a:cubicBezTo>
                    <a:cubicBezTo>
                      <a:pt x="194" y="15"/>
                      <a:pt x="195" y="13"/>
                      <a:pt x="196" y="12"/>
                    </a:cubicBezTo>
                    <a:cubicBezTo>
                      <a:pt x="196" y="12"/>
                      <a:pt x="196" y="12"/>
                      <a:pt x="196" y="12"/>
                    </a:cubicBezTo>
                    <a:cubicBezTo>
                      <a:pt x="196" y="11"/>
                      <a:pt x="196" y="11"/>
                      <a:pt x="196" y="11"/>
                    </a:cubicBezTo>
                    <a:cubicBezTo>
                      <a:pt x="196" y="11"/>
                      <a:pt x="196" y="11"/>
                      <a:pt x="196" y="11"/>
                    </a:cubicBezTo>
                    <a:cubicBezTo>
                      <a:pt x="196" y="11"/>
                      <a:pt x="196" y="11"/>
                      <a:pt x="196" y="11"/>
                    </a:cubicBezTo>
                    <a:cubicBezTo>
                      <a:pt x="195" y="9"/>
                      <a:pt x="190" y="6"/>
                      <a:pt x="189" y="6"/>
                    </a:cubicBezTo>
                    <a:cubicBezTo>
                      <a:pt x="187" y="6"/>
                      <a:pt x="187" y="6"/>
                      <a:pt x="187" y="6"/>
                    </a:cubicBezTo>
                    <a:cubicBezTo>
                      <a:pt x="187" y="7"/>
                      <a:pt x="186" y="7"/>
                      <a:pt x="185" y="7"/>
                    </a:cubicBezTo>
                    <a:cubicBezTo>
                      <a:pt x="184" y="8"/>
                      <a:pt x="182" y="8"/>
                      <a:pt x="180" y="8"/>
                    </a:cubicBezTo>
                    <a:cubicBezTo>
                      <a:pt x="179" y="8"/>
                      <a:pt x="178" y="8"/>
                      <a:pt x="178" y="8"/>
                    </a:cubicBezTo>
                    <a:cubicBezTo>
                      <a:pt x="165" y="4"/>
                      <a:pt x="165" y="4"/>
                      <a:pt x="165" y="4"/>
                    </a:cubicBezTo>
                    <a:cubicBezTo>
                      <a:pt x="164" y="4"/>
                      <a:pt x="164" y="4"/>
                      <a:pt x="163" y="4"/>
                    </a:cubicBezTo>
                    <a:cubicBezTo>
                      <a:pt x="162" y="3"/>
                      <a:pt x="160" y="2"/>
                      <a:pt x="159" y="2"/>
                    </a:cubicBezTo>
                    <a:cubicBezTo>
                      <a:pt x="158" y="2"/>
                      <a:pt x="157" y="2"/>
                      <a:pt x="156" y="2"/>
                    </a:cubicBezTo>
                    <a:cubicBezTo>
                      <a:pt x="154" y="2"/>
                      <a:pt x="154" y="2"/>
                      <a:pt x="154" y="2"/>
                    </a:cubicBezTo>
                    <a:cubicBezTo>
                      <a:pt x="154" y="2"/>
                      <a:pt x="154" y="2"/>
                      <a:pt x="154" y="2"/>
                    </a:cubicBezTo>
                    <a:cubicBezTo>
                      <a:pt x="153" y="2"/>
                      <a:pt x="153" y="2"/>
                      <a:pt x="152" y="2"/>
                    </a:cubicBezTo>
                    <a:cubicBezTo>
                      <a:pt x="152" y="2"/>
                      <a:pt x="152" y="2"/>
                      <a:pt x="152" y="2"/>
                    </a:cubicBezTo>
                    <a:cubicBezTo>
                      <a:pt x="150" y="1"/>
                      <a:pt x="148" y="1"/>
                      <a:pt x="1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52" name="Freeform 280">
                <a:extLst>
                  <a:ext uri="{FF2B5EF4-FFF2-40B4-BE49-F238E27FC236}">
                    <a16:creationId xmlns:a16="http://schemas.microsoft.com/office/drawing/2014/main" id="{E87E1200-93D8-4338-A0C9-1B70E7D598F9}"/>
                  </a:ext>
                </a:extLst>
              </p:cNvPr>
              <p:cNvSpPr>
                <a:spLocks/>
              </p:cNvSpPr>
              <p:nvPr/>
            </p:nvSpPr>
            <p:spPr bwMode="auto">
              <a:xfrm>
                <a:off x="5586636" y="4385288"/>
                <a:ext cx="224792" cy="117924"/>
              </a:xfrm>
              <a:custGeom>
                <a:avLst/>
                <a:gdLst>
                  <a:gd name="T0" fmla="*/ 58 w 71"/>
                  <a:gd name="T1" fmla="*/ 1 h 37"/>
                  <a:gd name="T2" fmla="*/ 54 w 71"/>
                  <a:gd name="T3" fmla="*/ 3 h 37"/>
                  <a:gd name="T4" fmla="*/ 52 w 71"/>
                  <a:gd name="T5" fmla="*/ 3 h 37"/>
                  <a:gd name="T6" fmla="*/ 47 w 71"/>
                  <a:gd name="T7" fmla="*/ 2 h 37"/>
                  <a:gd name="T8" fmla="*/ 44 w 71"/>
                  <a:gd name="T9" fmla="*/ 2 h 37"/>
                  <a:gd name="T10" fmla="*/ 40 w 71"/>
                  <a:gd name="T11" fmla="*/ 2 h 37"/>
                  <a:gd name="T12" fmla="*/ 37 w 71"/>
                  <a:gd name="T13" fmla="*/ 4 h 37"/>
                  <a:gd name="T14" fmla="*/ 33 w 71"/>
                  <a:gd name="T15" fmla="*/ 8 h 37"/>
                  <a:gd name="T16" fmla="*/ 26 w 71"/>
                  <a:gd name="T17" fmla="*/ 12 h 37"/>
                  <a:gd name="T18" fmla="*/ 22 w 71"/>
                  <a:gd name="T19" fmla="*/ 10 h 37"/>
                  <a:gd name="T20" fmla="*/ 20 w 71"/>
                  <a:gd name="T21" fmla="*/ 10 h 37"/>
                  <a:gd name="T22" fmla="*/ 18 w 71"/>
                  <a:gd name="T23" fmla="*/ 10 h 37"/>
                  <a:gd name="T24" fmla="*/ 15 w 71"/>
                  <a:gd name="T25" fmla="*/ 9 h 37"/>
                  <a:gd name="T26" fmla="*/ 11 w 71"/>
                  <a:gd name="T27" fmla="*/ 8 h 37"/>
                  <a:gd name="T28" fmla="*/ 7 w 71"/>
                  <a:gd name="T29" fmla="*/ 7 h 37"/>
                  <a:gd name="T30" fmla="*/ 4 w 71"/>
                  <a:gd name="T31" fmla="*/ 7 h 37"/>
                  <a:gd name="T32" fmla="*/ 2 w 71"/>
                  <a:gd name="T33" fmla="*/ 12 h 37"/>
                  <a:gd name="T34" fmla="*/ 3 w 71"/>
                  <a:gd name="T35" fmla="*/ 18 h 37"/>
                  <a:gd name="T36" fmla="*/ 2 w 71"/>
                  <a:gd name="T37" fmla="*/ 19 h 37"/>
                  <a:gd name="T38" fmla="*/ 2 w 71"/>
                  <a:gd name="T39" fmla="*/ 22 h 37"/>
                  <a:gd name="T40" fmla="*/ 2 w 71"/>
                  <a:gd name="T41" fmla="*/ 26 h 37"/>
                  <a:gd name="T42" fmla="*/ 5 w 71"/>
                  <a:gd name="T43" fmla="*/ 28 h 37"/>
                  <a:gd name="T44" fmla="*/ 9 w 71"/>
                  <a:gd name="T45" fmla="*/ 31 h 37"/>
                  <a:gd name="T46" fmla="*/ 11 w 71"/>
                  <a:gd name="T47" fmla="*/ 36 h 37"/>
                  <a:gd name="T48" fmla="*/ 13 w 71"/>
                  <a:gd name="T49" fmla="*/ 36 h 37"/>
                  <a:gd name="T50" fmla="*/ 23 w 71"/>
                  <a:gd name="T51" fmla="*/ 32 h 37"/>
                  <a:gd name="T52" fmla="*/ 29 w 71"/>
                  <a:gd name="T53" fmla="*/ 31 h 37"/>
                  <a:gd name="T54" fmla="*/ 31 w 71"/>
                  <a:gd name="T55" fmla="*/ 33 h 37"/>
                  <a:gd name="T56" fmla="*/ 36 w 71"/>
                  <a:gd name="T57" fmla="*/ 36 h 37"/>
                  <a:gd name="T58" fmla="*/ 37 w 71"/>
                  <a:gd name="T59" fmla="*/ 36 h 37"/>
                  <a:gd name="T60" fmla="*/ 40 w 71"/>
                  <a:gd name="T61" fmla="*/ 36 h 37"/>
                  <a:gd name="T62" fmla="*/ 43 w 71"/>
                  <a:gd name="T63" fmla="*/ 37 h 37"/>
                  <a:gd name="T64" fmla="*/ 44 w 71"/>
                  <a:gd name="T65" fmla="*/ 35 h 37"/>
                  <a:gd name="T66" fmla="*/ 44 w 71"/>
                  <a:gd name="T67" fmla="*/ 29 h 37"/>
                  <a:gd name="T68" fmla="*/ 54 w 71"/>
                  <a:gd name="T69" fmla="*/ 22 h 37"/>
                  <a:gd name="T70" fmla="*/ 53 w 71"/>
                  <a:gd name="T71" fmla="*/ 19 h 37"/>
                  <a:gd name="T72" fmla="*/ 55 w 71"/>
                  <a:gd name="T73" fmla="*/ 12 h 37"/>
                  <a:gd name="T74" fmla="*/ 57 w 71"/>
                  <a:gd name="T75" fmla="*/ 10 h 37"/>
                  <a:gd name="T76" fmla="*/ 61 w 71"/>
                  <a:gd name="T77" fmla="*/ 9 h 37"/>
                  <a:gd name="T78" fmla="*/ 64 w 71"/>
                  <a:gd name="T79" fmla="*/ 9 h 37"/>
                  <a:gd name="T80" fmla="*/ 65 w 71"/>
                  <a:gd name="T81" fmla="*/ 8 h 37"/>
                  <a:gd name="T82" fmla="*/ 68 w 71"/>
                  <a:gd name="T83" fmla="*/ 5 h 37"/>
                  <a:gd name="T84" fmla="*/ 71 w 71"/>
                  <a:gd name="T85" fmla="*/ 3 h 37"/>
                  <a:gd name="T86" fmla="*/ 64 w 71"/>
                  <a:gd name="T87" fmla="*/ 1 h 37"/>
                  <a:gd name="T88" fmla="*/ 61 w 71"/>
                  <a:gd name="T8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1" h="37">
                    <a:moveTo>
                      <a:pt x="60" y="0"/>
                    </a:moveTo>
                    <a:cubicBezTo>
                      <a:pt x="59" y="0"/>
                      <a:pt x="59" y="0"/>
                      <a:pt x="58" y="1"/>
                    </a:cubicBezTo>
                    <a:cubicBezTo>
                      <a:pt x="57" y="1"/>
                      <a:pt x="56" y="2"/>
                      <a:pt x="55" y="2"/>
                    </a:cubicBezTo>
                    <a:cubicBezTo>
                      <a:pt x="54" y="3"/>
                      <a:pt x="54" y="3"/>
                      <a:pt x="54" y="3"/>
                    </a:cubicBezTo>
                    <a:cubicBezTo>
                      <a:pt x="54" y="3"/>
                      <a:pt x="53" y="3"/>
                      <a:pt x="53" y="3"/>
                    </a:cubicBezTo>
                    <a:cubicBezTo>
                      <a:pt x="53" y="3"/>
                      <a:pt x="52" y="3"/>
                      <a:pt x="52" y="3"/>
                    </a:cubicBezTo>
                    <a:cubicBezTo>
                      <a:pt x="51" y="3"/>
                      <a:pt x="50" y="3"/>
                      <a:pt x="49" y="2"/>
                    </a:cubicBezTo>
                    <a:cubicBezTo>
                      <a:pt x="48" y="2"/>
                      <a:pt x="47" y="2"/>
                      <a:pt x="47" y="2"/>
                    </a:cubicBezTo>
                    <a:cubicBezTo>
                      <a:pt x="47" y="2"/>
                      <a:pt x="46" y="2"/>
                      <a:pt x="46" y="2"/>
                    </a:cubicBezTo>
                    <a:cubicBezTo>
                      <a:pt x="45" y="2"/>
                      <a:pt x="45" y="2"/>
                      <a:pt x="44" y="2"/>
                    </a:cubicBezTo>
                    <a:cubicBezTo>
                      <a:pt x="43" y="2"/>
                      <a:pt x="43" y="2"/>
                      <a:pt x="42" y="2"/>
                    </a:cubicBezTo>
                    <a:cubicBezTo>
                      <a:pt x="40" y="2"/>
                      <a:pt x="40" y="2"/>
                      <a:pt x="40" y="2"/>
                    </a:cubicBezTo>
                    <a:cubicBezTo>
                      <a:pt x="39" y="3"/>
                      <a:pt x="39" y="3"/>
                      <a:pt x="38" y="4"/>
                    </a:cubicBezTo>
                    <a:cubicBezTo>
                      <a:pt x="37" y="4"/>
                      <a:pt x="37" y="4"/>
                      <a:pt x="37" y="4"/>
                    </a:cubicBezTo>
                    <a:cubicBezTo>
                      <a:pt x="37" y="5"/>
                      <a:pt x="36" y="5"/>
                      <a:pt x="36" y="6"/>
                    </a:cubicBezTo>
                    <a:cubicBezTo>
                      <a:pt x="35" y="7"/>
                      <a:pt x="34" y="7"/>
                      <a:pt x="33" y="8"/>
                    </a:cubicBezTo>
                    <a:cubicBezTo>
                      <a:pt x="30" y="10"/>
                      <a:pt x="28" y="11"/>
                      <a:pt x="27" y="12"/>
                    </a:cubicBezTo>
                    <a:cubicBezTo>
                      <a:pt x="26" y="12"/>
                      <a:pt x="26" y="12"/>
                      <a:pt x="26" y="12"/>
                    </a:cubicBezTo>
                    <a:cubicBezTo>
                      <a:pt x="25" y="12"/>
                      <a:pt x="25" y="12"/>
                      <a:pt x="25" y="12"/>
                    </a:cubicBezTo>
                    <a:cubicBezTo>
                      <a:pt x="24" y="11"/>
                      <a:pt x="22" y="10"/>
                      <a:pt x="22" y="10"/>
                    </a:cubicBezTo>
                    <a:cubicBezTo>
                      <a:pt x="21" y="10"/>
                      <a:pt x="21" y="10"/>
                      <a:pt x="21" y="10"/>
                    </a:cubicBezTo>
                    <a:cubicBezTo>
                      <a:pt x="20" y="10"/>
                      <a:pt x="20" y="10"/>
                      <a:pt x="20" y="10"/>
                    </a:cubicBezTo>
                    <a:cubicBezTo>
                      <a:pt x="20" y="10"/>
                      <a:pt x="19" y="10"/>
                      <a:pt x="19" y="10"/>
                    </a:cubicBezTo>
                    <a:cubicBezTo>
                      <a:pt x="18" y="10"/>
                      <a:pt x="18" y="10"/>
                      <a:pt x="18" y="10"/>
                    </a:cubicBezTo>
                    <a:cubicBezTo>
                      <a:pt x="18" y="10"/>
                      <a:pt x="18" y="10"/>
                      <a:pt x="18" y="10"/>
                    </a:cubicBezTo>
                    <a:cubicBezTo>
                      <a:pt x="16" y="10"/>
                      <a:pt x="15" y="10"/>
                      <a:pt x="15" y="9"/>
                    </a:cubicBezTo>
                    <a:cubicBezTo>
                      <a:pt x="14" y="9"/>
                      <a:pt x="13" y="9"/>
                      <a:pt x="11" y="8"/>
                    </a:cubicBezTo>
                    <a:cubicBezTo>
                      <a:pt x="11" y="8"/>
                      <a:pt x="11" y="8"/>
                      <a:pt x="11" y="8"/>
                    </a:cubicBezTo>
                    <a:cubicBezTo>
                      <a:pt x="10" y="8"/>
                      <a:pt x="10" y="8"/>
                      <a:pt x="10" y="8"/>
                    </a:cubicBezTo>
                    <a:cubicBezTo>
                      <a:pt x="9" y="8"/>
                      <a:pt x="8" y="7"/>
                      <a:pt x="7" y="7"/>
                    </a:cubicBezTo>
                    <a:cubicBezTo>
                      <a:pt x="5" y="7"/>
                      <a:pt x="5" y="7"/>
                      <a:pt x="5" y="7"/>
                    </a:cubicBezTo>
                    <a:cubicBezTo>
                      <a:pt x="4" y="7"/>
                      <a:pt x="4" y="7"/>
                      <a:pt x="4" y="7"/>
                    </a:cubicBezTo>
                    <a:cubicBezTo>
                      <a:pt x="3" y="9"/>
                      <a:pt x="2" y="10"/>
                      <a:pt x="0" y="11"/>
                    </a:cubicBezTo>
                    <a:cubicBezTo>
                      <a:pt x="1" y="12"/>
                      <a:pt x="2" y="12"/>
                      <a:pt x="2" y="12"/>
                    </a:cubicBezTo>
                    <a:cubicBezTo>
                      <a:pt x="7" y="15"/>
                      <a:pt x="7" y="15"/>
                      <a:pt x="7" y="15"/>
                    </a:cubicBezTo>
                    <a:cubicBezTo>
                      <a:pt x="3" y="18"/>
                      <a:pt x="3" y="18"/>
                      <a:pt x="3" y="18"/>
                    </a:cubicBezTo>
                    <a:cubicBezTo>
                      <a:pt x="3" y="19"/>
                      <a:pt x="3" y="19"/>
                      <a:pt x="3" y="19"/>
                    </a:cubicBezTo>
                    <a:cubicBezTo>
                      <a:pt x="2" y="19"/>
                      <a:pt x="2" y="19"/>
                      <a:pt x="2" y="19"/>
                    </a:cubicBezTo>
                    <a:cubicBezTo>
                      <a:pt x="1" y="20"/>
                      <a:pt x="1" y="20"/>
                      <a:pt x="1" y="20"/>
                    </a:cubicBezTo>
                    <a:cubicBezTo>
                      <a:pt x="2" y="21"/>
                      <a:pt x="2" y="21"/>
                      <a:pt x="2" y="22"/>
                    </a:cubicBezTo>
                    <a:cubicBezTo>
                      <a:pt x="3" y="23"/>
                      <a:pt x="3" y="24"/>
                      <a:pt x="3" y="25"/>
                    </a:cubicBezTo>
                    <a:cubicBezTo>
                      <a:pt x="3" y="25"/>
                      <a:pt x="3" y="26"/>
                      <a:pt x="2" y="26"/>
                    </a:cubicBezTo>
                    <a:cubicBezTo>
                      <a:pt x="2" y="26"/>
                      <a:pt x="2" y="26"/>
                      <a:pt x="2" y="26"/>
                    </a:cubicBezTo>
                    <a:cubicBezTo>
                      <a:pt x="3" y="27"/>
                      <a:pt x="4" y="27"/>
                      <a:pt x="5" y="28"/>
                    </a:cubicBezTo>
                    <a:cubicBezTo>
                      <a:pt x="6" y="28"/>
                      <a:pt x="7" y="29"/>
                      <a:pt x="8" y="30"/>
                    </a:cubicBezTo>
                    <a:cubicBezTo>
                      <a:pt x="8" y="31"/>
                      <a:pt x="8" y="31"/>
                      <a:pt x="9" y="31"/>
                    </a:cubicBezTo>
                    <a:cubicBezTo>
                      <a:pt x="9" y="32"/>
                      <a:pt x="9" y="32"/>
                      <a:pt x="10" y="32"/>
                    </a:cubicBezTo>
                    <a:cubicBezTo>
                      <a:pt x="11" y="33"/>
                      <a:pt x="11" y="35"/>
                      <a:pt x="11" y="36"/>
                    </a:cubicBezTo>
                    <a:cubicBezTo>
                      <a:pt x="11" y="36"/>
                      <a:pt x="11" y="36"/>
                      <a:pt x="11" y="36"/>
                    </a:cubicBezTo>
                    <a:cubicBezTo>
                      <a:pt x="12" y="36"/>
                      <a:pt x="12" y="36"/>
                      <a:pt x="13" y="36"/>
                    </a:cubicBezTo>
                    <a:cubicBezTo>
                      <a:pt x="13" y="37"/>
                      <a:pt x="14" y="37"/>
                      <a:pt x="15" y="37"/>
                    </a:cubicBezTo>
                    <a:cubicBezTo>
                      <a:pt x="18" y="37"/>
                      <a:pt x="22" y="34"/>
                      <a:pt x="23" y="32"/>
                    </a:cubicBezTo>
                    <a:cubicBezTo>
                      <a:pt x="25" y="28"/>
                      <a:pt x="25" y="28"/>
                      <a:pt x="25" y="28"/>
                    </a:cubicBezTo>
                    <a:cubicBezTo>
                      <a:pt x="29" y="31"/>
                      <a:pt x="29" y="31"/>
                      <a:pt x="29" y="31"/>
                    </a:cubicBezTo>
                    <a:cubicBezTo>
                      <a:pt x="29" y="32"/>
                      <a:pt x="30" y="32"/>
                      <a:pt x="30" y="33"/>
                    </a:cubicBezTo>
                    <a:cubicBezTo>
                      <a:pt x="31" y="33"/>
                      <a:pt x="31" y="33"/>
                      <a:pt x="31" y="33"/>
                    </a:cubicBezTo>
                    <a:cubicBezTo>
                      <a:pt x="32" y="34"/>
                      <a:pt x="33" y="35"/>
                      <a:pt x="33" y="36"/>
                    </a:cubicBezTo>
                    <a:cubicBezTo>
                      <a:pt x="34" y="36"/>
                      <a:pt x="35" y="36"/>
                      <a:pt x="36" y="36"/>
                    </a:cubicBezTo>
                    <a:cubicBezTo>
                      <a:pt x="36" y="36"/>
                      <a:pt x="36" y="36"/>
                      <a:pt x="36" y="36"/>
                    </a:cubicBezTo>
                    <a:cubicBezTo>
                      <a:pt x="37" y="36"/>
                      <a:pt x="37" y="36"/>
                      <a:pt x="37" y="36"/>
                    </a:cubicBezTo>
                    <a:cubicBezTo>
                      <a:pt x="37" y="36"/>
                      <a:pt x="38" y="36"/>
                      <a:pt x="39" y="36"/>
                    </a:cubicBezTo>
                    <a:cubicBezTo>
                      <a:pt x="40" y="36"/>
                      <a:pt x="40" y="36"/>
                      <a:pt x="40" y="36"/>
                    </a:cubicBezTo>
                    <a:cubicBezTo>
                      <a:pt x="41" y="36"/>
                      <a:pt x="42" y="37"/>
                      <a:pt x="43" y="37"/>
                    </a:cubicBezTo>
                    <a:cubicBezTo>
                      <a:pt x="43" y="37"/>
                      <a:pt x="43" y="37"/>
                      <a:pt x="43" y="37"/>
                    </a:cubicBezTo>
                    <a:cubicBezTo>
                      <a:pt x="43" y="37"/>
                      <a:pt x="44" y="36"/>
                      <a:pt x="44" y="36"/>
                    </a:cubicBezTo>
                    <a:cubicBezTo>
                      <a:pt x="44" y="36"/>
                      <a:pt x="44" y="35"/>
                      <a:pt x="44" y="35"/>
                    </a:cubicBezTo>
                    <a:cubicBezTo>
                      <a:pt x="39" y="33"/>
                      <a:pt x="39" y="33"/>
                      <a:pt x="39" y="33"/>
                    </a:cubicBezTo>
                    <a:cubicBezTo>
                      <a:pt x="44" y="29"/>
                      <a:pt x="44" y="29"/>
                      <a:pt x="44" y="29"/>
                    </a:cubicBezTo>
                    <a:cubicBezTo>
                      <a:pt x="46" y="28"/>
                      <a:pt x="47" y="27"/>
                      <a:pt x="49" y="26"/>
                    </a:cubicBezTo>
                    <a:cubicBezTo>
                      <a:pt x="51" y="25"/>
                      <a:pt x="52" y="24"/>
                      <a:pt x="54" y="22"/>
                    </a:cubicBezTo>
                    <a:cubicBezTo>
                      <a:pt x="55" y="22"/>
                      <a:pt x="55" y="22"/>
                      <a:pt x="55" y="22"/>
                    </a:cubicBezTo>
                    <a:cubicBezTo>
                      <a:pt x="54" y="21"/>
                      <a:pt x="53" y="20"/>
                      <a:pt x="53" y="19"/>
                    </a:cubicBezTo>
                    <a:cubicBezTo>
                      <a:pt x="52" y="17"/>
                      <a:pt x="53" y="15"/>
                      <a:pt x="54" y="13"/>
                    </a:cubicBezTo>
                    <a:cubicBezTo>
                      <a:pt x="55" y="12"/>
                      <a:pt x="55" y="12"/>
                      <a:pt x="55" y="12"/>
                    </a:cubicBezTo>
                    <a:cubicBezTo>
                      <a:pt x="55" y="12"/>
                      <a:pt x="56" y="11"/>
                      <a:pt x="57" y="11"/>
                    </a:cubicBezTo>
                    <a:cubicBezTo>
                      <a:pt x="57" y="10"/>
                      <a:pt x="57" y="10"/>
                      <a:pt x="57" y="10"/>
                    </a:cubicBezTo>
                    <a:cubicBezTo>
                      <a:pt x="58" y="10"/>
                      <a:pt x="59" y="10"/>
                      <a:pt x="59" y="10"/>
                    </a:cubicBezTo>
                    <a:cubicBezTo>
                      <a:pt x="60" y="10"/>
                      <a:pt x="60" y="9"/>
                      <a:pt x="61" y="9"/>
                    </a:cubicBezTo>
                    <a:cubicBezTo>
                      <a:pt x="62" y="9"/>
                      <a:pt x="62" y="9"/>
                      <a:pt x="62" y="9"/>
                    </a:cubicBezTo>
                    <a:cubicBezTo>
                      <a:pt x="63" y="9"/>
                      <a:pt x="63" y="9"/>
                      <a:pt x="64" y="9"/>
                    </a:cubicBezTo>
                    <a:cubicBezTo>
                      <a:pt x="64" y="8"/>
                      <a:pt x="65" y="8"/>
                      <a:pt x="65" y="8"/>
                    </a:cubicBezTo>
                    <a:cubicBezTo>
                      <a:pt x="65" y="8"/>
                      <a:pt x="65" y="8"/>
                      <a:pt x="65" y="8"/>
                    </a:cubicBezTo>
                    <a:cubicBezTo>
                      <a:pt x="66" y="7"/>
                      <a:pt x="66" y="7"/>
                      <a:pt x="66" y="7"/>
                    </a:cubicBezTo>
                    <a:cubicBezTo>
                      <a:pt x="66" y="6"/>
                      <a:pt x="67" y="5"/>
                      <a:pt x="68" y="5"/>
                    </a:cubicBezTo>
                    <a:cubicBezTo>
                      <a:pt x="69" y="5"/>
                      <a:pt x="70" y="4"/>
                      <a:pt x="71" y="4"/>
                    </a:cubicBezTo>
                    <a:cubicBezTo>
                      <a:pt x="71" y="4"/>
                      <a:pt x="71" y="3"/>
                      <a:pt x="71" y="3"/>
                    </a:cubicBezTo>
                    <a:cubicBezTo>
                      <a:pt x="67" y="2"/>
                      <a:pt x="67" y="2"/>
                      <a:pt x="67" y="2"/>
                    </a:cubicBezTo>
                    <a:cubicBezTo>
                      <a:pt x="66" y="2"/>
                      <a:pt x="65" y="1"/>
                      <a:pt x="64" y="1"/>
                    </a:cubicBezTo>
                    <a:cubicBezTo>
                      <a:pt x="63" y="1"/>
                      <a:pt x="63" y="1"/>
                      <a:pt x="63" y="1"/>
                    </a:cubicBezTo>
                    <a:cubicBezTo>
                      <a:pt x="62" y="0"/>
                      <a:pt x="61" y="0"/>
                      <a:pt x="61" y="0"/>
                    </a:cubicBezTo>
                    <a:cubicBezTo>
                      <a:pt x="60" y="0"/>
                      <a:pt x="60" y="0"/>
                      <a:pt x="6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53" name="Freeform 281">
                <a:extLst>
                  <a:ext uri="{FF2B5EF4-FFF2-40B4-BE49-F238E27FC236}">
                    <a16:creationId xmlns:a16="http://schemas.microsoft.com/office/drawing/2014/main" id="{0374FE4F-0047-4DD2-A815-294E1BC95662}"/>
                  </a:ext>
                </a:extLst>
              </p:cNvPr>
              <p:cNvSpPr>
                <a:spLocks/>
              </p:cNvSpPr>
              <p:nvPr/>
            </p:nvSpPr>
            <p:spPr bwMode="auto">
              <a:xfrm>
                <a:off x="5811428" y="4366863"/>
                <a:ext cx="14740" cy="22111"/>
              </a:xfrm>
              <a:custGeom>
                <a:avLst/>
                <a:gdLst>
                  <a:gd name="T0" fmla="*/ 2 w 4"/>
                  <a:gd name="T1" fmla="*/ 0 h 6"/>
                  <a:gd name="T2" fmla="*/ 1 w 4"/>
                  <a:gd name="T3" fmla="*/ 0 h 6"/>
                  <a:gd name="T4" fmla="*/ 0 w 4"/>
                  <a:gd name="T5" fmla="*/ 0 h 6"/>
                  <a:gd name="T6" fmla="*/ 0 w 4"/>
                  <a:gd name="T7" fmla="*/ 0 h 6"/>
                  <a:gd name="T8" fmla="*/ 0 w 4"/>
                  <a:gd name="T9" fmla="*/ 0 h 6"/>
                  <a:gd name="T10" fmla="*/ 0 w 4"/>
                  <a:gd name="T11" fmla="*/ 2 h 6"/>
                  <a:gd name="T12" fmla="*/ 2 w 4"/>
                  <a:gd name="T13" fmla="*/ 6 h 6"/>
                  <a:gd name="T14" fmla="*/ 3 w 4"/>
                  <a:gd name="T15" fmla="*/ 5 h 6"/>
                  <a:gd name="T16" fmla="*/ 4 w 4"/>
                  <a:gd name="T17" fmla="*/ 5 h 6"/>
                  <a:gd name="T18" fmla="*/ 3 w 4"/>
                  <a:gd name="T19" fmla="*/ 4 h 6"/>
                  <a:gd name="T20" fmla="*/ 2 w 4"/>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6">
                    <a:moveTo>
                      <a:pt x="2" y="0"/>
                    </a:moveTo>
                    <a:cubicBezTo>
                      <a:pt x="1" y="0"/>
                      <a:pt x="1" y="0"/>
                      <a:pt x="1" y="0"/>
                    </a:cubicBezTo>
                    <a:cubicBezTo>
                      <a:pt x="0" y="0"/>
                      <a:pt x="0" y="0"/>
                      <a:pt x="0" y="0"/>
                    </a:cubicBezTo>
                    <a:cubicBezTo>
                      <a:pt x="0" y="0"/>
                      <a:pt x="0" y="0"/>
                      <a:pt x="0" y="0"/>
                    </a:cubicBezTo>
                    <a:cubicBezTo>
                      <a:pt x="0" y="0"/>
                      <a:pt x="0" y="0"/>
                      <a:pt x="0" y="0"/>
                    </a:cubicBezTo>
                    <a:cubicBezTo>
                      <a:pt x="0" y="0"/>
                      <a:pt x="0" y="1"/>
                      <a:pt x="0" y="2"/>
                    </a:cubicBezTo>
                    <a:cubicBezTo>
                      <a:pt x="2" y="6"/>
                      <a:pt x="2" y="6"/>
                      <a:pt x="2" y="6"/>
                    </a:cubicBezTo>
                    <a:cubicBezTo>
                      <a:pt x="2" y="5"/>
                      <a:pt x="2" y="5"/>
                      <a:pt x="3" y="5"/>
                    </a:cubicBezTo>
                    <a:cubicBezTo>
                      <a:pt x="4" y="5"/>
                      <a:pt x="4" y="5"/>
                      <a:pt x="4" y="5"/>
                    </a:cubicBezTo>
                    <a:cubicBezTo>
                      <a:pt x="3" y="4"/>
                      <a:pt x="3" y="4"/>
                      <a:pt x="3" y="4"/>
                    </a:cubicBezTo>
                    <a:cubicBezTo>
                      <a:pt x="3" y="3"/>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54" name="Freeform 282">
                <a:extLst>
                  <a:ext uri="{FF2B5EF4-FFF2-40B4-BE49-F238E27FC236}">
                    <a16:creationId xmlns:a16="http://schemas.microsoft.com/office/drawing/2014/main" id="{1BC2E052-84B2-4FDA-84D4-DF6FF56579CE}"/>
                  </a:ext>
                </a:extLst>
              </p:cNvPr>
              <p:cNvSpPr>
                <a:spLocks/>
              </p:cNvSpPr>
              <p:nvPr/>
            </p:nvSpPr>
            <p:spPr bwMode="auto">
              <a:xfrm>
                <a:off x="6062016" y="4554804"/>
                <a:ext cx="3685" cy="14740"/>
              </a:xfrm>
              <a:custGeom>
                <a:avLst/>
                <a:gdLst>
                  <a:gd name="T0" fmla="*/ 1 w 1"/>
                  <a:gd name="T1" fmla="*/ 0 h 4"/>
                  <a:gd name="T2" fmla="*/ 0 w 1"/>
                  <a:gd name="T3" fmla="*/ 3 h 4"/>
                  <a:gd name="T4" fmla="*/ 1 w 1"/>
                  <a:gd name="T5" fmla="*/ 4 h 4"/>
                  <a:gd name="T6" fmla="*/ 1 w 1"/>
                  <a:gd name="T7" fmla="*/ 4 h 4"/>
                  <a:gd name="T8" fmla="*/ 1 w 1"/>
                  <a:gd name="T9" fmla="*/ 0 h 4"/>
                </a:gdLst>
                <a:ahLst/>
                <a:cxnLst>
                  <a:cxn ang="0">
                    <a:pos x="T0" y="T1"/>
                  </a:cxn>
                  <a:cxn ang="0">
                    <a:pos x="T2" y="T3"/>
                  </a:cxn>
                  <a:cxn ang="0">
                    <a:pos x="T4" y="T5"/>
                  </a:cxn>
                  <a:cxn ang="0">
                    <a:pos x="T6" y="T7"/>
                  </a:cxn>
                  <a:cxn ang="0">
                    <a:pos x="T8" y="T9"/>
                  </a:cxn>
                </a:cxnLst>
                <a:rect l="0" t="0" r="r" b="b"/>
                <a:pathLst>
                  <a:path w="1" h="4">
                    <a:moveTo>
                      <a:pt x="1" y="0"/>
                    </a:moveTo>
                    <a:cubicBezTo>
                      <a:pt x="0" y="3"/>
                      <a:pt x="0" y="3"/>
                      <a:pt x="0" y="3"/>
                    </a:cubicBezTo>
                    <a:cubicBezTo>
                      <a:pt x="0" y="4"/>
                      <a:pt x="1" y="4"/>
                      <a:pt x="1" y="4"/>
                    </a:cubicBezTo>
                    <a:cubicBezTo>
                      <a:pt x="1" y="4"/>
                      <a:pt x="1" y="4"/>
                      <a:pt x="1" y="4"/>
                    </a:cubicBezTo>
                    <a:cubicBezTo>
                      <a:pt x="1" y="3"/>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55" name="Rectangle 283">
                <a:extLst>
                  <a:ext uri="{FF2B5EF4-FFF2-40B4-BE49-F238E27FC236}">
                    <a16:creationId xmlns:a16="http://schemas.microsoft.com/office/drawing/2014/main" id="{9A6FB8B3-94B4-48C0-8E28-16FEA44B143A}"/>
                  </a:ext>
                </a:extLst>
              </p:cNvPr>
              <p:cNvSpPr>
                <a:spLocks noChangeArrowheads="1"/>
              </p:cNvSpPr>
              <p:nvPr/>
            </p:nvSpPr>
            <p:spPr bwMode="auto">
              <a:xfrm>
                <a:off x="6076756" y="454006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56" name="Rectangle 284">
                <a:extLst>
                  <a:ext uri="{FF2B5EF4-FFF2-40B4-BE49-F238E27FC236}">
                    <a16:creationId xmlns:a16="http://schemas.microsoft.com/office/drawing/2014/main" id="{1F39C0CE-F5EB-4E95-A0C0-4886F5DAE808}"/>
                  </a:ext>
                </a:extLst>
              </p:cNvPr>
              <p:cNvSpPr>
                <a:spLocks noChangeArrowheads="1"/>
              </p:cNvSpPr>
              <p:nvPr/>
            </p:nvSpPr>
            <p:spPr bwMode="auto">
              <a:xfrm>
                <a:off x="6076756" y="454006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57" name="Freeform 285">
                <a:extLst>
                  <a:ext uri="{FF2B5EF4-FFF2-40B4-BE49-F238E27FC236}">
                    <a16:creationId xmlns:a16="http://schemas.microsoft.com/office/drawing/2014/main" id="{2858AA31-CF96-4FA5-BC5C-EC007176D9D3}"/>
                  </a:ext>
                </a:extLst>
              </p:cNvPr>
              <p:cNvSpPr>
                <a:spLocks/>
              </p:cNvSpPr>
              <p:nvPr/>
            </p:nvSpPr>
            <p:spPr bwMode="auto">
              <a:xfrm>
                <a:off x="5575580" y="4407399"/>
                <a:ext cx="501176" cy="379567"/>
              </a:xfrm>
              <a:custGeom>
                <a:avLst/>
                <a:gdLst>
                  <a:gd name="T0" fmla="*/ 83 w 158"/>
                  <a:gd name="T1" fmla="*/ 5 h 120"/>
                  <a:gd name="T2" fmla="*/ 77 w 158"/>
                  <a:gd name="T3" fmla="*/ 5 h 120"/>
                  <a:gd name="T4" fmla="*/ 72 w 158"/>
                  <a:gd name="T5" fmla="*/ 8 h 120"/>
                  <a:gd name="T6" fmla="*/ 65 w 158"/>
                  <a:gd name="T7" fmla="*/ 9 h 120"/>
                  <a:gd name="T8" fmla="*/ 64 w 158"/>
                  <a:gd name="T9" fmla="*/ 10 h 120"/>
                  <a:gd name="T10" fmla="*/ 66 w 158"/>
                  <a:gd name="T11" fmla="*/ 15 h 120"/>
                  <a:gd name="T12" fmla="*/ 56 w 158"/>
                  <a:gd name="T13" fmla="*/ 25 h 120"/>
                  <a:gd name="T14" fmla="*/ 55 w 158"/>
                  <a:gd name="T15" fmla="*/ 32 h 120"/>
                  <a:gd name="T16" fmla="*/ 50 w 158"/>
                  <a:gd name="T17" fmla="*/ 37 h 120"/>
                  <a:gd name="T18" fmla="*/ 47 w 158"/>
                  <a:gd name="T19" fmla="*/ 37 h 120"/>
                  <a:gd name="T20" fmla="*/ 40 w 158"/>
                  <a:gd name="T21" fmla="*/ 36 h 120"/>
                  <a:gd name="T22" fmla="*/ 35 w 158"/>
                  <a:gd name="T23" fmla="*/ 35 h 120"/>
                  <a:gd name="T24" fmla="*/ 14 w 158"/>
                  <a:gd name="T25" fmla="*/ 36 h 120"/>
                  <a:gd name="T26" fmla="*/ 2 w 158"/>
                  <a:gd name="T27" fmla="*/ 37 h 120"/>
                  <a:gd name="T28" fmla="*/ 3 w 158"/>
                  <a:gd name="T29" fmla="*/ 42 h 120"/>
                  <a:gd name="T30" fmla="*/ 8 w 158"/>
                  <a:gd name="T31" fmla="*/ 55 h 120"/>
                  <a:gd name="T32" fmla="*/ 19 w 158"/>
                  <a:gd name="T33" fmla="*/ 50 h 120"/>
                  <a:gd name="T34" fmla="*/ 30 w 158"/>
                  <a:gd name="T35" fmla="*/ 42 h 120"/>
                  <a:gd name="T36" fmla="*/ 46 w 158"/>
                  <a:gd name="T37" fmla="*/ 68 h 120"/>
                  <a:gd name="T38" fmla="*/ 48 w 158"/>
                  <a:gd name="T39" fmla="*/ 76 h 120"/>
                  <a:gd name="T40" fmla="*/ 61 w 158"/>
                  <a:gd name="T41" fmla="*/ 91 h 120"/>
                  <a:gd name="T42" fmla="*/ 75 w 158"/>
                  <a:gd name="T43" fmla="*/ 102 h 120"/>
                  <a:gd name="T44" fmla="*/ 81 w 158"/>
                  <a:gd name="T45" fmla="*/ 101 h 120"/>
                  <a:gd name="T46" fmla="*/ 113 w 158"/>
                  <a:gd name="T47" fmla="*/ 120 h 120"/>
                  <a:gd name="T48" fmla="*/ 105 w 158"/>
                  <a:gd name="T49" fmla="*/ 107 h 120"/>
                  <a:gd name="T50" fmla="*/ 88 w 158"/>
                  <a:gd name="T51" fmla="*/ 92 h 120"/>
                  <a:gd name="T52" fmla="*/ 79 w 158"/>
                  <a:gd name="T53" fmla="*/ 84 h 120"/>
                  <a:gd name="T54" fmla="*/ 72 w 158"/>
                  <a:gd name="T55" fmla="*/ 73 h 120"/>
                  <a:gd name="T56" fmla="*/ 69 w 158"/>
                  <a:gd name="T57" fmla="*/ 65 h 120"/>
                  <a:gd name="T58" fmla="*/ 62 w 158"/>
                  <a:gd name="T59" fmla="*/ 60 h 120"/>
                  <a:gd name="T60" fmla="*/ 61 w 158"/>
                  <a:gd name="T61" fmla="*/ 50 h 120"/>
                  <a:gd name="T62" fmla="*/ 68 w 158"/>
                  <a:gd name="T63" fmla="*/ 39 h 120"/>
                  <a:gd name="T64" fmla="*/ 73 w 158"/>
                  <a:gd name="T65" fmla="*/ 40 h 120"/>
                  <a:gd name="T66" fmla="*/ 86 w 158"/>
                  <a:gd name="T67" fmla="*/ 39 h 120"/>
                  <a:gd name="T68" fmla="*/ 92 w 158"/>
                  <a:gd name="T69" fmla="*/ 39 h 120"/>
                  <a:gd name="T70" fmla="*/ 94 w 158"/>
                  <a:gd name="T71" fmla="*/ 39 h 120"/>
                  <a:gd name="T72" fmla="*/ 99 w 158"/>
                  <a:gd name="T73" fmla="*/ 38 h 120"/>
                  <a:gd name="T74" fmla="*/ 101 w 158"/>
                  <a:gd name="T75" fmla="*/ 39 h 120"/>
                  <a:gd name="T76" fmla="*/ 141 w 158"/>
                  <a:gd name="T77" fmla="*/ 44 h 120"/>
                  <a:gd name="T78" fmla="*/ 150 w 158"/>
                  <a:gd name="T79" fmla="*/ 47 h 120"/>
                  <a:gd name="T80" fmla="*/ 158 w 158"/>
                  <a:gd name="T81" fmla="*/ 41 h 120"/>
                  <a:gd name="T82" fmla="*/ 151 w 158"/>
                  <a:gd name="T83" fmla="*/ 33 h 120"/>
                  <a:gd name="T84" fmla="*/ 140 w 158"/>
                  <a:gd name="T85" fmla="*/ 33 h 120"/>
                  <a:gd name="T86" fmla="*/ 133 w 158"/>
                  <a:gd name="T87" fmla="*/ 27 h 120"/>
                  <a:gd name="T88" fmla="*/ 126 w 158"/>
                  <a:gd name="T89" fmla="*/ 26 h 120"/>
                  <a:gd name="T90" fmla="*/ 112 w 158"/>
                  <a:gd name="T91" fmla="*/ 21 h 120"/>
                  <a:gd name="T92" fmla="*/ 109 w 158"/>
                  <a:gd name="T93" fmla="*/ 19 h 120"/>
                  <a:gd name="T94" fmla="*/ 86 w 158"/>
                  <a:gd name="T95" fmla="*/ 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8" h="120">
                    <a:moveTo>
                      <a:pt x="82" y="0"/>
                    </a:moveTo>
                    <a:cubicBezTo>
                      <a:pt x="82" y="0"/>
                      <a:pt x="82" y="0"/>
                      <a:pt x="82" y="0"/>
                    </a:cubicBezTo>
                    <a:cubicBezTo>
                      <a:pt x="83" y="5"/>
                      <a:pt x="83" y="5"/>
                      <a:pt x="83" y="5"/>
                    </a:cubicBezTo>
                    <a:cubicBezTo>
                      <a:pt x="79" y="5"/>
                      <a:pt x="79" y="5"/>
                      <a:pt x="79" y="5"/>
                    </a:cubicBezTo>
                    <a:cubicBezTo>
                      <a:pt x="79" y="5"/>
                      <a:pt x="79" y="5"/>
                      <a:pt x="79" y="5"/>
                    </a:cubicBezTo>
                    <a:cubicBezTo>
                      <a:pt x="78" y="5"/>
                      <a:pt x="78" y="5"/>
                      <a:pt x="77" y="5"/>
                    </a:cubicBezTo>
                    <a:cubicBezTo>
                      <a:pt x="76" y="5"/>
                      <a:pt x="76" y="5"/>
                      <a:pt x="76" y="5"/>
                    </a:cubicBezTo>
                    <a:cubicBezTo>
                      <a:pt x="76" y="5"/>
                      <a:pt x="76" y="5"/>
                      <a:pt x="76" y="5"/>
                    </a:cubicBezTo>
                    <a:cubicBezTo>
                      <a:pt x="74" y="6"/>
                      <a:pt x="73" y="7"/>
                      <a:pt x="72" y="8"/>
                    </a:cubicBezTo>
                    <a:cubicBezTo>
                      <a:pt x="71" y="8"/>
                      <a:pt x="71" y="8"/>
                      <a:pt x="70" y="8"/>
                    </a:cubicBezTo>
                    <a:cubicBezTo>
                      <a:pt x="69" y="9"/>
                      <a:pt x="68" y="9"/>
                      <a:pt x="67" y="9"/>
                    </a:cubicBezTo>
                    <a:cubicBezTo>
                      <a:pt x="65" y="9"/>
                      <a:pt x="65" y="9"/>
                      <a:pt x="65" y="9"/>
                    </a:cubicBezTo>
                    <a:cubicBezTo>
                      <a:pt x="64" y="10"/>
                      <a:pt x="64" y="10"/>
                      <a:pt x="64" y="10"/>
                    </a:cubicBezTo>
                    <a:cubicBezTo>
                      <a:pt x="64" y="10"/>
                      <a:pt x="64" y="10"/>
                      <a:pt x="64" y="10"/>
                    </a:cubicBezTo>
                    <a:cubicBezTo>
                      <a:pt x="64" y="10"/>
                      <a:pt x="64" y="10"/>
                      <a:pt x="64" y="10"/>
                    </a:cubicBezTo>
                    <a:cubicBezTo>
                      <a:pt x="65" y="10"/>
                      <a:pt x="66" y="12"/>
                      <a:pt x="66" y="13"/>
                    </a:cubicBezTo>
                    <a:cubicBezTo>
                      <a:pt x="66" y="14"/>
                      <a:pt x="66" y="14"/>
                      <a:pt x="66" y="14"/>
                    </a:cubicBezTo>
                    <a:cubicBezTo>
                      <a:pt x="66" y="15"/>
                      <a:pt x="66" y="15"/>
                      <a:pt x="66" y="15"/>
                    </a:cubicBezTo>
                    <a:cubicBezTo>
                      <a:pt x="66" y="17"/>
                      <a:pt x="65" y="18"/>
                      <a:pt x="63" y="20"/>
                    </a:cubicBezTo>
                    <a:cubicBezTo>
                      <a:pt x="61" y="23"/>
                      <a:pt x="58" y="24"/>
                      <a:pt x="56" y="25"/>
                    </a:cubicBezTo>
                    <a:cubicBezTo>
                      <a:pt x="56" y="25"/>
                      <a:pt x="56" y="25"/>
                      <a:pt x="56" y="25"/>
                    </a:cubicBezTo>
                    <a:cubicBezTo>
                      <a:pt x="56" y="26"/>
                      <a:pt x="56" y="26"/>
                      <a:pt x="56" y="26"/>
                    </a:cubicBezTo>
                    <a:cubicBezTo>
                      <a:pt x="57" y="28"/>
                      <a:pt x="55" y="30"/>
                      <a:pt x="55" y="31"/>
                    </a:cubicBezTo>
                    <a:cubicBezTo>
                      <a:pt x="55" y="31"/>
                      <a:pt x="55" y="32"/>
                      <a:pt x="55" y="32"/>
                    </a:cubicBezTo>
                    <a:cubicBezTo>
                      <a:pt x="55" y="34"/>
                      <a:pt x="54" y="36"/>
                      <a:pt x="53" y="36"/>
                    </a:cubicBezTo>
                    <a:cubicBezTo>
                      <a:pt x="52" y="37"/>
                      <a:pt x="52" y="37"/>
                      <a:pt x="52" y="37"/>
                    </a:cubicBezTo>
                    <a:cubicBezTo>
                      <a:pt x="50" y="37"/>
                      <a:pt x="50" y="37"/>
                      <a:pt x="50" y="37"/>
                    </a:cubicBezTo>
                    <a:cubicBezTo>
                      <a:pt x="50" y="38"/>
                      <a:pt x="50" y="38"/>
                      <a:pt x="49" y="38"/>
                    </a:cubicBezTo>
                    <a:cubicBezTo>
                      <a:pt x="49" y="38"/>
                      <a:pt x="48" y="38"/>
                      <a:pt x="48" y="37"/>
                    </a:cubicBezTo>
                    <a:cubicBezTo>
                      <a:pt x="47" y="37"/>
                      <a:pt x="47" y="37"/>
                      <a:pt x="47" y="37"/>
                    </a:cubicBezTo>
                    <a:cubicBezTo>
                      <a:pt x="46" y="37"/>
                      <a:pt x="46" y="37"/>
                      <a:pt x="46" y="37"/>
                    </a:cubicBezTo>
                    <a:cubicBezTo>
                      <a:pt x="45" y="37"/>
                      <a:pt x="44" y="37"/>
                      <a:pt x="44" y="36"/>
                    </a:cubicBezTo>
                    <a:cubicBezTo>
                      <a:pt x="43" y="36"/>
                      <a:pt x="42" y="36"/>
                      <a:pt x="40" y="36"/>
                    </a:cubicBezTo>
                    <a:cubicBezTo>
                      <a:pt x="40" y="36"/>
                      <a:pt x="39" y="36"/>
                      <a:pt x="38" y="36"/>
                    </a:cubicBezTo>
                    <a:cubicBezTo>
                      <a:pt x="38" y="36"/>
                      <a:pt x="37" y="36"/>
                      <a:pt x="37" y="36"/>
                    </a:cubicBezTo>
                    <a:cubicBezTo>
                      <a:pt x="36" y="36"/>
                      <a:pt x="35" y="36"/>
                      <a:pt x="35" y="35"/>
                    </a:cubicBezTo>
                    <a:cubicBezTo>
                      <a:pt x="33" y="34"/>
                      <a:pt x="31" y="33"/>
                      <a:pt x="30" y="32"/>
                    </a:cubicBezTo>
                    <a:cubicBezTo>
                      <a:pt x="27" y="35"/>
                      <a:pt x="23" y="37"/>
                      <a:pt x="19" y="37"/>
                    </a:cubicBezTo>
                    <a:cubicBezTo>
                      <a:pt x="17" y="37"/>
                      <a:pt x="16" y="36"/>
                      <a:pt x="14" y="36"/>
                    </a:cubicBezTo>
                    <a:cubicBezTo>
                      <a:pt x="14" y="36"/>
                      <a:pt x="14" y="36"/>
                      <a:pt x="13" y="36"/>
                    </a:cubicBezTo>
                    <a:cubicBezTo>
                      <a:pt x="11" y="36"/>
                      <a:pt x="7" y="36"/>
                      <a:pt x="4" y="37"/>
                    </a:cubicBezTo>
                    <a:cubicBezTo>
                      <a:pt x="2" y="37"/>
                      <a:pt x="2" y="37"/>
                      <a:pt x="2" y="37"/>
                    </a:cubicBezTo>
                    <a:cubicBezTo>
                      <a:pt x="2" y="35"/>
                      <a:pt x="2" y="35"/>
                      <a:pt x="2" y="35"/>
                    </a:cubicBezTo>
                    <a:cubicBezTo>
                      <a:pt x="1" y="35"/>
                      <a:pt x="1" y="35"/>
                      <a:pt x="1" y="35"/>
                    </a:cubicBezTo>
                    <a:cubicBezTo>
                      <a:pt x="0" y="38"/>
                      <a:pt x="2" y="40"/>
                      <a:pt x="3" y="42"/>
                    </a:cubicBezTo>
                    <a:cubicBezTo>
                      <a:pt x="3" y="44"/>
                      <a:pt x="3" y="45"/>
                      <a:pt x="4" y="47"/>
                    </a:cubicBezTo>
                    <a:cubicBezTo>
                      <a:pt x="5" y="50"/>
                      <a:pt x="8" y="52"/>
                      <a:pt x="9" y="55"/>
                    </a:cubicBezTo>
                    <a:cubicBezTo>
                      <a:pt x="8" y="55"/>
                      <a:pt x="8" y="55"/>
                      <a:pt x="8" y="55"/>
                    </a:cubicBezTo>
                    <a:cubicBezTo>
                      <a:pt x="9" y="56"/>
                      <a:pt x="10" y="57"/>
                      <a:pt x="11" y="58"/>
                    </a:cubicBezTo>
                    <a:cubicBezTo>
                      <a:pt x="13" y="55"/>
                      <a:pt x="14" y="49"/>
                      <a:pt x="17" y="49"/>
                    </a:cubicBezTo>
                    <a:cubicBezTo>
                      <a:pt x="17" y="49"/>
                      <a:pt x="18" y="50"/>
                      <a:pt x="19" y="50"/>
                    </a:cubicBezTo>
                    <a:cubicBezTo>
                      <a:pt x="20" y="48"/>
                      <a:pt x="20" y="41"/>
                      <a:pt x="22" y="39"/>
                    </a:cubicBezTo>
                    <a:cubicBezTo>
                      <a:pt x="23" y="39"/>
                      <a:pt x="23" y="39"/>
                      <a:pt x="24" y="39"/>
                    </a:cubicBezTo>
                    <a:cubicBezTo>
                      <a:pt x="26" y="39"/>
                      <a:pt x="28" y="41"/>
                      <a:pt x="30" y="42"/>
                    </a:cubicBezTo>
                    <a:cubicBezTo>
                      <a:pt x="30" y="42"/>
                      <a:pt x="30" y="42"/>
                      <a:pt x="30" y="42"/>
                    </a:cubicBezTo>
                    <a:cubicBezTo>
                      <a:pt x="31" y="42"/>
                      <a:pt x="39" y="48"/>
                      <a:pt x="40" y="50"/>
                    </a:cubicBezTo>
                    <a:cubicBezTo>
                      <a:pt x="41" y="57"/>
                      <a:pt x="41" y="64"/>
                      <a:pt x="46" y="68"/>
                    </a:cubicBezTo>
                    <a:cubicBezTo>
                      <a:pt x="51" y="73"/>
                      <a:pt x="57" y="75"/>
                      <a:pt x="60" y="80"/>
                    </a:cubicBezTo>
                    <a:cubicBezTo>
                      <a:pt x="59" y="80"/>
                      <a:pt x="52" y="75"/>
                      <a:pt x="49" y="75"/>
                    </a:cubicBezTo>
                    <a:cubicBezTo>
                      <a:pt x="48" y="75"/>
                      <a:pt x="48" y="75"/>
                      <a:pt x="48" y="76"/>
                    </a:cubicBezTo>
                    <a:cubicBezTo>
                      <a:pt x="47" y="76"/>
                      <a:pt x="47" y="76"/>
                      <a:pt x="47" y="76"/>
                    </a:cubicBezTo>
                    <a:cubicBezTo>
                      <a:pt x="46" y="76"/>
                      <a:pt x="48" y="79"/>
                      <a:pt x="49" y="80"/>
                    </a:cubicBezTo>
                    <a:cubicBezTo>
                      <a:pt x="52" y="84"/>
                      <a:pt x="56" y="88"/>
                      <a:pt x="61" y="91"/>
                    </a:cubicBezTo>
                    <a:cubicBezTo>
                      <a:pt x="63" y="93"/>
                      <a:pt x="69" y="95"/>
                      <a:pt x="70" y="97"/>
                    </a:cubicBezTo>
                    <a:cubicBezTo>
                      <a:pt x="71" y="101"/>
                      <a:pt x="71" y="102"/>
                      <a:pt x="73" y="102"/>
                    </a:cubicBezTo>
                    <a:cubicBezTo>
                      <a:pt x="73" y="102"/>
                      <a:pt x="74" y="102"/>
                      <a:pt x="75" y="102"/>
                    </a:cubicBezTo>
                    <a:cubicBezTo>
                      <a:pt x="76" y="102"/>
                      <a:pt x="78" y="102"/>
                      <a:pt x="79" y="101"/>
                    </a:cubicBezTo>
                    <a:cubicBezTo>
                      <a:pt x="80" y="101"/>
                      <a:pt x="80" y="101"/>
                      <a:pt x="81" y="101"/>
                    </a:cubicBezTo>
                    <a:cubicBezTo>
                      <a:pt x="81" y="101"/>
                      <a:pt x="81" y="101"/>
                      <a:pt x="81" y="101"/>
                    </a:cubicBezTo>
                    <a:cubicBezTo>
                      <a:pt x="87" y="101"/>
                      <a:pt x="92" y="106"/>
                      <a:pt x="96" y="108"/>
                    </a:cubicBezTo>
                    <a:cubicBezTo>
                      <a:pt x="100" y="111"/>
                      <a:pt x="105" y="114"/>
                      <a:pt x="109" y="117"/>
                    </a:cubicBezTo>
                    <a:cubicBezTo>
                      <a:pt x="110" y="117"/>
                      <a:pt x="112" y="119"/>
                      <a:pt x="113" y="120"/>
                    </a:cubicBezTo>
                    <a:cubicBezTo>
                      <a:pt x="113" y="119"/>
                      <a:pt x="113" y="119"/>
                      <a:pt x="113" y="119"/>
                    </a:cubicBezTo>
                    <a:cubicBezTo>
                      <a:pt x="111" y="118"/>
                      <a:pt x="110" y="117"/>
                      <a:pt x="109" y="116"/>
                    </a:cubicBezTo>
                    <a:cubicBezTo>
                      <a:pt x="105" y="107"/>
                      <a:pt x="105" y="107"/>
                      <a:pt x="105" y="107"/>
                    </a:cubicBezTo>
                    <a:cubicBezTo>
                      <a:pt x="104" y="105"/>
                      <a:pt x="102" y="103"/>
                      <a:pt x="100" y="101"/>
                    </a:cubicBezTo>
                    <a:cubicBezTo>
                      <a:pt x="99" y="101"/>
                      <a:pt x="98" y="100"/>
                      <a:pt x="97" y="99"/>
                    </a:cubicBezTo>
                    <a:cubicBezTo>
                      <a:pt x="94" y="97"/>
                      <a:pt x="91" y="94"/>
                      <a:pt x="88" y="92"/>
                    </a:cubicBezTo>
                    <a:cubicBezTo>
                      <a:pt x="87" y="91"/>
                      <a:pt x="87" y="91"/>
                      <a:pt x="87" y="91"/>
                    </a:cubicBezTo>
                    <a:cubicBezTo>
                      <a:pt x="84" y="89"/>
                      <a:pt x="82" y="87"/>
                      <a:pt x="80" y="85"/>
                    </a:cubicBezTo>
                    <a:cubicBezTo>
                      <a:pt x="79" y="84"/>
                      <a:pt x="79" y="84"/>
                      <a:pt x="79" y="84"/>
                    </a:cubicBezTo>
                    <a:cubicBezTo>
                      <a:pt x="76" y="81"/>
                      <a:pt x="74" y="78"/>
                      <a:pt x="74" y="76"/>
                    </a:cubicBezTo>
                    <a:cubicBezTo>
                      <a:pt x="73" y="75"/>
                      <a:pt x="73" y="75"/>
                      <a:pt x="73" y="75"/>
                    </a:cubicBezTo>
                    <a:cubicBezTo>
                      <a:pt x="73" y="75"/>
                      <a:pt x="73" y="74"/>
                      <a:pt x="72" y="73"/>
                    </a:cubicBezTo>
                    <a:cubicBezTo>
                      <a:pt x="72" y="71"/>
                      <a:pt x="72" y="71"/>
                      <a:pt x="72" y="71"/>
                    </a:cubicBezTo>
                    <a:cubicBezTo>
                      <a:pt x="71" y="69"/>
                      <a:pt x="70" y="67"/>
                      <a:pt x="69" y="66"/>
                    </a:cubicBezTo>
                    <a:cubicBezTo>
                      <a:pt x="69" y="65"/>
                      <a:pt x="69" y="65"/>
                      <a:pt x="69" y="65"/>
                    </a:cubicBezTo>
                    <a:cubicBezTo>
                      <a:pt x="68" y="64"/>
                      <a:pt x="68" y="64"/>
                      <a:pt x="68" y="64"/>
                    </a:cubicBezTo>
                    <a:cubicBezTo>
                      <a:pt x="67" y="64"/>
                      <a:pt x="66" y="63"/>
                      <a:pt x="65" y="62"/>
                    </a:cubicBezTo>
                    <a:cubicBezTo>
                      <a:pt x="64" y="62"/>
                      <a:pt x="63" y="62"/>
                      <a:pt x="62" y="60"/>
                    </a:cubicBezTo>
                    <a:cubicBezTo>
                      <a:pt x="59" y="57"/>
                      <a:pt x="60" y="54"/>
                      <a:pt x="61" y="52"/>
                    </a:cubicBezTo>
                    <a:cubicBezTo>
                      <a:pt x="61" y="52"/>
                      <a:pt x="61" y="51"/>
                      <a:pt x="61" y="50"/>
                    </a:cubicBezTo>
                    <a:cubicBezTo>
                      <a:pt x="61" y="50"/>
                      <a:pt x="61" y="50"/>
                      <a:pt x="61" y="50"/>
                    </a:cubicBezTo>
                    <a:cubicBezTo>
                      <a:pt x="61" y="48"/>
                      <a:pt x="62" y="47"/>
                      <a:pt x="62" y="46"/>
                    </a:cubicBezTo>
                    <a:cubicBezTo>
                      <a:pt x="62" y="42"/>
                      <a:pt x="64" y="41"/>
                      <a:pt x="65" y="40"/>
                    </a:cubicBezTo>
                    <a:cubicBezTo>
                      <a:pt x="66" y="39"/>
                      <a:pt x="67" y="39"/>
                      <a:pt x="68" y="39"/>
                    </a:cubicBezTo>
                    <a:cubicBezTo>
                      <a:pt x="68" y="39"/>
                      <a:pt x="68" y="39"/>
                      <a:pt x="68" y="39"/>
                    </a:cubicBezTo>
                    <a:cubicBezTo>
                      <a:pt x="69" y="39"/>
                      <a:pt x="70" y="39"/>
                      <a:pt x="72" y="39"/>
                    </a:cubicBezTo>
                    <a:cubicBezTo>
                      <a:pt x="72" y="39"/>
                      <a:pt x="72" y="40"/>
                      <a:pt x="73" y="40"/>
                    </a:cubicBezTo>
                    <a:cubicBezTo>
                      <a:pt x="76" y="41"/>
                      <a:pt x="78" y="43"/>
                      <a:pt x="80" y="45"/>
                    </a:cubicBezTo>
                    <a:cubicBezTo>
                      <a:pt x="80" y="44"/>
                      <a:pt x="81" y="44"/>
                      <a:pt x="81" y="43"/>
                    </a:cubicBezTo>
                    <a:cubicBezTo>
                      <a:pt x="82" y="42"/>
                      <a:pt x="84" y="40"/>
                      <a:pt x="86" y="39"/>
                    </a:cubicBezTo>
                    <a:cubicBezTo>
                      <a:pt x="87" y="39"/>
                      <a:pt x="87" y="39"/>
                      <a:pt x="87" y="39"/>
                    </a:cubicBezTo>
                    <a:cubicBezTo>
                      <a:pt x="88" y="39"/>
                      <a:pt x="89" y="38"/>
                      <a:pt x="89" y="38"/>
                    </a:cubicBezTo>
                    <a:cubicBezTo>
                      <a:pt x="90" y="38"/>
                      <a:pt x="91" y="39"/>
                      <a:pt x="92" y="39"/>
                    </a:cubicBezTo>
                    <a:cubicBezTo>
                      <a:pt x="92" y="39"/>
                      <a:pt x="92" y="39"/>
                      <a:pt x="92" y="39"/>
                    </a:cubicBezTo>
                    <a:cubicBezTo>
                      <a:pt x="92" y="39"/>
                      <a:pt x="93" y="39"/>
                      <a:pt x="93" y="39"/>
                    </a:cubicBezTo>
                    <a:cubicBezTo>
                      <a:pt x="93" y="39"/>
                      <a:pt x="94" y="39"/>
                      <a:pt x="94" y="39"/>
                    </a:cubicBezTo>
                    <a:cubicBezTo>
                      <a:pt x="94" y="39"/>
                      <a:pt x="94" y="39"/>
                      <a:pt x="94" y="39"/>
                    </a:cubicBezTo>
                    <a:cubicBezTo>
                      <a:pt x="96" y="36"/>
                      <a:pt x="96" y="36"/>
                      <a:pt x="96" y="36"/>
                    </a:cubicBezTo>
                    <a:cubicBezTo>
                      <a:pt x="99" y="38"/>
                      <a:pt x="99" y="38"/>
                      <a:pt x="99" y="38"/>
                    </a:cubicBezTo>
                    <a:cubicBezTo>
                      <a:pt x="99" y="38"/>
                      <a:pt x="99" y="38"/>
                      <a:pt x="99" y="38"/>
                    </a:cubicBezTo>
                    <a:cubicBezTo>
                      <a:pt x="100" y="38"/>
                      <a:pt x="100" y="38"/>
                      <a:pt x="100" y="38"/>
                    </a:cubicBezTo>
                    <a:cubicBezTo>
                      <a:pt x="101" y="39"/>
                      <a:pt x="101" y="39"/>
                      <a:pt x="101" y="39"/>
                    </a:cubicBezTo>
                    <a:cubicBezTo>
                      <a:pt x="103" y="40"/>
                      <a:pt x="106" y="41"/>
                      <a:pt x="109" y="41"/>
                    </a:cubicBezTo>
                    <a:cubicBezTo>
                      <a:pt x="128" y="43"/>
                      <a:pt x="128" y="43"/>
                      <a:pt x="128" y="43"/>
                    </a:cubicBezTo>
                    <a:cubicBezTo>
                      <a:pt x="133" y="44"/>
                      <a:pt x="137" y="44"/>
                      <a:pt x="141" y="44"/>
                    </a:cubicBezTo>
                    <a:cubicBezTo>
                      <a:pt x="141" y="44"/>
                      <a:pt x="142" y="44"/>
                      <a:pt x="143" y="44"/>
                    </a:cubicBezTo>
                    <a:cubicBezTo>
                      <a:pt x="145" y="44"/>
                      <a:pt x="147" y="45"/>
                      <a:pt x="148" y="46"/>
                    </a:cubicBezTo>
                    <a:cubicBezTo>
                      <a:pt x="149" y="46"/>
                      <a:pt x="149" y="47"/>
                      <a:pt x="150" y="47"/>
                    </a:cubicBezTo>
                    <a:cubicBezTo>
                      <a:pt x="155" y="46"/>
                      <a:pt x="155" y="46"/>
                      <a:pt x="155" y="46"/>
                    </a:cubicBezTo>
                    <a:cubicBezTo>
                      <a:pt x="155" y="44"/>
                      <a:pt x="156" y="43"/>
                      <a:pt x="157" y="41"/>
                    </a:cubicBezTo>
                    <a:cubicBezTo>
                      <a:pt x="158" y="41"/>
                      <a:pt x="158" y="41"/>
                      <a:pt x="158" y="41"/>
                    </a:cubicBezTo>
                    <a:cubicBezTo>
                      <a:pt x="158" y="40"/>
                      <a:pt x="158" y="40"/>
                      <a:pt x="158" y="40"/>
                    </a:cubicBezTo>
                    <a:cubicBezTo>
                      <a:pt x="148" y="34"/>
                      <a:pt x="148" y="34"/>
                      <a:pt x="148" y="34"/>
                    </a:cubicBezTo>
                    <a:cubicBezTo>
                      <a:pt x="151" y="33"/>
                      <a:pt x="151" y="33"/>
                      <a:pt x="151" y="33"/>
                    </a:cubicBezTo>
                    <a:cubicBezTo>
                      <a:pt x="150" y="31"/>
                      <a:pt x="150" y="29"/>
                      <a:pt x="150" y="28"/>
                    </a:cubicBezTo>
                    <a:cubicBezTo>
                      <a:pt x="151" y="24"/>
                      <a:pt x="151" y="24"/>
                      <a:pt x="151" y="24"/>
                    </a:cubicBezTo>
                    <a:cubicBezTo>
                      <a:pt x="140" y="33"/>
                      <a:pt x="140" y="33"/>
                      <a:pt x="140" y="33"/>
                    </a:cubicBezTo>
                    <a:cubicBezTo>
                      <a:pt x="145" y="24"/>
                      <a:pt x="145" y="24"/>
                      <a:pt x="145" y="24"/>
                    </a:cubicBezTo>
                    <a:cubicBezTo>
                      <a:pt x="142" y="26"/>
                      <a:pt x="139" y="27"/>
                      <a:pt x="135" y="27"/>
                    </a:cubicBezTo>
                    <a:cubicBezTo>
                      <a:pt x="135" y="27"/>
                      <a:pt x="134" y="27"/>
                      <a:pt x="133" y="27"/>
                    </a:cubicBezTo>
                    <a:cubicBezTo>
                      <a:pt x="132" y="27"/>
                      <a:pt x="130" y="26"/>
                      <a:pt x="129" y="26"/>
                    </a:cubicBezTo>
                    <a:cubicBezTo>
                      <a:pt x="128" y="26"/>
                      <a:pt x="128" y="26"/>
                      <a:pt x="128" y="26"/>
                    </a:cubicBezTo>
                    <a:cubicBezTo>
                      <a:pt x="127" y="26"/>
                      <a:pt x="127" y="26"/>
                      <a:pt x="126" y="26"/>
                    </a:cubicBezTo>
                    <a:cubicBezTo>
                      <a:pt x="121" y="25"/>
                      <a:pt x="117" y="23"/>
                      <a:pt x="113" y="21"/>
                    </a:cubicBezTo>
                    <a:cubicBezTo>
                      <a:pt x="113" y="20"/>
                      <a:pt x="113" y="20"/>
                      <a:pt x="113" y="20"/>
                    </a:cubicBezTo>
                    <a:cubicBezTo>
                      <a:pt x="112" y="21"/>
                      <a:pt x="112" y="21"/>
                      <a:pt x="112" y="21"/>
                    </a:cubicBezTo>
                    <a:cubicBezTo>
                      <a:pt x="112" y="21"/>
                      <a:pt x="112" y="21"/>
                      <a:pt x="112" y="21"/>
                    </a:cubicBezTo>
                    <a:cubicBezTo>
                      <a:pt x="110" y="20"/>
                      <a:pt x="110" y="20"/>
                      <a:pt x="110" y="20"/>
                    </a:cubicBezTo>
                    <a:cubicBezTo>
                      <a:pt x="110" y="20"/>
                      <a:pt x="109" y="19"/>
                      <a:pt x="109" y="19"/>
                    </a:cubicBezTo>
                    <a:cubicBezTo>
                      <a:pt x="104" y="17"/>
                      <a:pt x="97" y="12"/>
                      <a:pt x="94" y="7"/>
                    </a:cubicBezTo>
                    <a:cubicBezTo>
                      <a:pt x="91" y="3"/>
                      <a:pt x="90" y="3"/>
                      <a:pt x="86" y="1"/>
                    </a:cubicBezTo>
                    <a:cubicBezTo>
                      <a:pt x="86" y="1"/>
                      <a:pt x="86" y="1"/>
                      <a:pt x="86" y="1"/>
                    </a:cubicBezTo>
                    <a:cubicBezTo>
                      <a:pt x="84" y="0"/>
                      <a:pt x="83" y="0"/>
                      <a:pt x="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58" name="Freeform 286">
                <a:extLst>
                  <a:ext uri="{FF2B5EF4-FFF2-40B4-BE49-F238E27FC236}">
                    <a16:creationId xmlns:a16="http://schemas.microsoft.com/office/drawing/2014/main" id="{261E93FB-77ED-4896-A77F-BDA50A9223B2}"/>
                  </a:ext>
                </a:extLst>
              </p:cNvPr>
              <p:cNvSpPr>
                <a:spLocks/>
              </p:cNvSpPr>
              <p:nvPr/>
            </p:nvSpPr>
            <p:spPr bwMode="auto">
              <a:xfrm>
                <a:off x="6036220" y="4565859"/>
                <a:ext cx="0" cy="3685"/>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lnTo>
                      <a:pt x="0" y="0"/>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59" name="Freeform 287">
                <a:extLst>
                  <a:ext uri="{FF2B5EF4-FFF2-40B4-BE49-F238E27FC236}">
                    <a16:creationId xmlns:a16="http://schemas.microsoft.com/office/drawing/2014/main" id="{1DF8CA43-C1B7-4829-82BC-CBEBAD10968F}"/>
                  </a:ext>
                </a:extLst>
              </p:cNvPr>
              <p:cNvSpPr>
                <a:spLocks/>
              </p:cNvSpPr>
              <p:nvPr/>
            </p:nvSpPr>
            <p:spPr bwMode="auto">
              <a:xfrm>
                <a:off x="6036220" y="4565859"/>
                <a:ext cx="0" cy="3685"/>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lnTo>
                      <a:pt x="0" y="0"/>
                    </a:lnTo>
                    <a:lnTo>
                      <a:pt x="0" y="1"/>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60" name="Freeform 288">
                <a:extLst>
                  <a:ext uri="{FF2B5EF4-FFF2-40B4-BE49-F238E27FC236}">
                    <a16:creationId xmlns:a16="http://schemas.microsoft.com/office/drawing/2014/main" id="{E84721FD-1CD7-4297-A62C-754AFCD63AA3}"/>
                  </a:ext>
                </a:extLst>
              </p:cNvPr>
              <p:cNvSpPr>
                <a:spLocks/>
              </p:cNvSpPr>
              <p:nvPr/>
            </p:nvSpPr>
            <p:spPr bwMode="auto">
              <a:xfrm>
                <a:off x="5785632" y="4551119"/>
                <a:ext cx="320605" cy="287439"/>
              </a:xfrm>
              <a:custGeom>
                <a:avLst/>
                <a:gdLst>
                  <a:gd name="T0" fmla="*/ 29 w 100"/>
                  <a:gd name="T1" fmla="*/ 0 h 91"/>
                  <a:gd name="T2" fmla="*/ 24 w 100"/>
                  <a:gd name="T3" fmla="*/ 1 h 91"/>
                  <a:gd name="T4" fmla="*/ 21 w 100"/>
                  <a:gd name="T5" fmla="*/ 1 h 91"/>
                  <a:gd name="T6" fmla="*/ 18 w 100"/>
                  <a:gd name="T7" fmla="*/ 5 h 91"/>
                  <a:gd name="T8" fmla="*/ 15 w 100"/>
                  <a:gd name="T9" fmla="*/ 10 h 91"/>
                  <a:gd name="T10" fmla="*/ 10 w 100"/>
                  <a:gd name="T11" fmla="*/ 6 h 91"/>
                  <a:gd name="T12" fmla="*/ 4 w 100"/>
                  <a:gd name="T13" fmla="*/ 1 h 91"/>
                  <a:gd name="T14" fmla="*/ 2 w 100"/>
                  <a:gd name="T15" fmla="*/ 1 h 91"/>
                  <a:gd name="T16" fmla="*/ 1 w 100"/>
                  <a:gd name="T17" fmla="*/ 6 h 91"/>
                  <a:gd name="T18" fmla="*/ 0 w 100"/>
                  <a:gd name="T19" fmla="*/ 11 h 91"/>
                  <a:gd name="T20" fmla="*/ 4 w 100"/>
                  <a:gd name="T21" fmla="*/ 12 h 91"/>
                  <a:gd name="T22" fmla="*/ 7 w 100"/>
                  <a:gd name="T23" fmla="*/ 16 h 91"/>
                  <a:gd name="T24" fmla="*/ 11 w 100"/>
                  <a:gd name="T25" fmla="*/ 24 h 91"/>
                  <a:gd name="T26" fmla="*/ 12 w 100"/>
                  <a:gd name="T27" fmla="*/ 27 h 91"/>
                  <a:gd name="T28" fmla="*/ 17 w 100"/>
                  <a:gd name="T29" fmla="*/ 34 h 91"/>
                  <a:gd name="T30" fmla="*/ 24 w 100"/>
                  <a:gd name="T31" fmla="*/ 40 h 91"/>
                  <a:gd name="T32" fmla="*/ 35 w 100"/>
                  <a:gd name="T33" fmla="*/ 49 h 91"/>
                  <a:gd name="T34" fmla="*/ 37 w 100"/>
                  <a:gd name="T35" fmla="*/ 51 h 91"/>
                  <a:gd name="T36" fmla="*/ 48 w 100"/>
                  <a:gd name="T37" fmla="*/ 68 h 91"/>
                  <a:gd name="T38" fmla="*/ 53 w 100"/>
                  <a:gd name="T39" fmla="*/ 71 h 91"/>
                  <a:gd name="T40" fmla="*/ 55 w 100"/>
                  <a:gd name="T41" fmla="*/ 75 h 91"/>
                  <a:gd name="T42" fmla="*/ 53 w 100"/>
                  <a:gd name="T43" fmla="*/ 80 h 91"/>
                  <a:gd name="T44" fmla="*/ 53 w 100"/>
                  <a:gd name="T45" fmla="*/ 80 h 91"/>
                  <a:gd name="T46" fmla="*/ 49 w 100"/>
                  <a:gd name="T47" fmla="*/ 80 h 91"/>
                  <a:gd name="T48" fmla="*/ 71 w 100"/>
                  <a:gd name="T49" fmla="*/ 91 h 91"/>
                  <a:gd name="T50" fmla="*/ 73 w 100"/>
                  <a:gd name="T51" fmla="*/ 86 h 91"/>
                  <a:gd name="T52" fmla="*/ 73 w 100"/>
                  <a:gd name="T53" fmla="*/ 84 h 91"/>
                  <a:gd name="T54" fmla="*/ 72 w 100"/>
                  <a:gd name="T55" fmla="*/ 77 h 91"/>
                  <a:gd name="T56" fmla="*/ 81 w 100"/>
                  <a:gd name="T57" fmla="*/ 62 h 91"/>
                  <a:gd name="T58" fmla="*/ 85 w 100"/>
                  <a:gd name="T59" fmla="*/ 59 h 91"/>
                  <a:gd name="T60" fmla="*/ 85 w 100"/>
                  <a:gd name="T61" fmla="*/ 55 h 91"/>
                  <a:gd name="T62" fmla="*/ 90 w 100"/>
                  <a:gd name="T63" fmla="*/ 52 h 91"/>
                  <a:gd name="T64" fmla="*/ 93 w 100"/>
                  <a:gd name="T65" fmla="*/ 53 h 91"/>
                  <a:gd name="T66" fmla="*/ 94 w 100"/>
                  <a:gd name="T67" fmla="*/ 53 h 91"/>
                  <a:gd name="T68" fmla="*/ 95 w 100"/>
                  <a:gd name="T69" fmla="*/ 53 h 91"/>
                  <a:gd name="T70" fmla="*/ 100 w 100"/>
                  <a:gd name="T71" fmla="*/ 50 h 91"/>
                  <a:gd name="T72" fmla="*/ 97 w 100"/>
                  <a:gd name="T73" fmla="*/ 47 h 91"/>
                  <a:gd name="T74" fmla="*/ 89 w 100"/>
                  <a:gd name="T75" fmla="*/ 34 h 91"/>
                  <a:gd name="T76" fmla="*/ 99 w 100"/>
                  <a:gd name="T77" fmla="*/ 37 h 91"/>
                  <a:gd name="T78" fmla="*/ 97 w 100"/>
                  <a:gd name="T79" fmla="*/ 34 h 91"/>
                  <a:gd name="T80" fmla="*/ 95 w 100"/>
                  <a:gd name="T81" fmla="*/ 34 h 91"/>
                  <a:gd name="T82" fmla="*/ 91 w 100"/>
                  <a:gd name="T83" fmla="*/ 32 h 91"/>
                  <a:gd name="T84" fmla="*/ 91 w 100"/>
                  <a:gd name="T85" fmla="*/ 19 h 91"/>
                  <a:gd name="T86" fmla="*/ 94 w 100"/>
                  <a:gd name="T87" fmla="*/ 13 h 91"/>
                  <a:gd name="T88" fmla="*/ 93 w 100"/>
                  <a:gd name="T89" fmla="*/ 13 h 91"/>
                  <a:gd name="T90" fmla="*/ 92 w 100"/>
                  <a:gd name="T91" fmla="*/ 13 h 91"/>
                  <a:gd name="T92" fmla="*/ 91 w 100"/>
                  <a:gd name="T93" fmla="*/ 13 h 91"/>
                  <a:gd name="T94" fmla="*/ 80 w 100"/>
                  <a:gd name="T95" fmla="*/ 8 h 91"/>
                  <a:gd name="T96" fmla="*/ 77 w 100"/>
                  <a:gd name="T97" fmla="*/ 7 h 91"/>
                  <a:gd name="T98" fmla="*/ 76 w 100"/>
                  <a:gd name="T99" fmla="*/ 6 h 91"/>
                  <a:gd name="T100" fmla="*/ 74 w 100"/>
                  <a:gd name="T101" fmla="*/ 6 h 91"/>
                  <a:gd name="T102" fmla="*/ 41 w 100"/>
                  <a:gd name="T103" fmla="*/ 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0" h="91">
                    <a:moveTo>
                      <a:pt x="30" y="0"/>
                    </a:moveTo>
                    <a:cubicBezTo>
                      <a:pt x="30" y="0"/>
                      <a:pt x="29" y="0"/>
                      <a:pt x="29" y="0"/>
                    </a:cubicBezTo>
                    <a:cubicBezTo>
                      <a:pt x="28" y="1"/>
                      <a:pt x="27" y="1"/>
                      <a:pt x="26" y="1"/>
                    </a:cubicBezTo>
                    <a:cubicBezTo>
                      <a:pt x="25" y="1"/>
                      <a:pt x="25" y="1"/>
                      <a:pt x="24" y="1"/>
                    </a:cubicBezTo>
                    <a:cubicBezTo>
                      <a:pt x="23" y="1"/>
                      <a:pt x="23" y="0"/>
                      <a:pt x="22" y="0"/>
                    </a:cubicBezTo>
                    <a:cubicBezTo>
                      <a:pt x="22" y="0"/>
                      <a:pt x="22" y="0"/>
                      <a:pt x="21" y="1"/>
                    </a:cubicBezTo>
                    <a:cubicBezTo>
                      <a:pt x="21" y="1"/>
                      <a:pt x="20" y="1"/>
                      <a:pt x="20" y="2"/>
                    </a:cubicBezTo>
                    <a:cubicBezTo>
                      <a:pt x="19" y="3"/>
                      <a:pt x="19" y="4"/>
                      <a:pt x="18" y="5"/>
                    </a:cubicBezTo>
                    <a:cubicBezTo>
                      <a:pt x="18" y="6"/>
                      <a:pt x="17" y="6"/>
                      <a:pt x="17" y="7"/>
                    </a:cubicBezTo>
                    <a:cubicBezTo>
                      <a:pt x="15" y="10"/>
                      <a:pt x="15" y="10"/>
                      <a:pt x="15" y="10"/>
                    </a:cubicBezTo>
                    <a:cubicBezTo>
                      <a:pt x="12" y="8"/>
                      <a:pt x="12" y="8"/>
                      <a:pt x="12" y="8"/>
                    </a:cubicBezTo>
                    <a:cubicBezTo>
                      <a:pt x="11" y="7"/>
                      <a:pt x="10" y="7"/>
                      <a:pt x="10" y="6"/>
                    </a:cubicBezTo>
                    <a:cubicBezTo>
                      <a:pt x="9" y="6"/>
                      <a:pt x="9" y="6"/>
                      <a:pt x="9" y="6"/>
                    </a:cubicBezTo>
                    <a:cubicBezTo>
                      <a:pt x="7" y="4"/>
                      <a:pt x="6" y="2"/>
                      <a:pt x="4" y="1"/>
                    </a:cubicBezTo>
                    <a:cubicBezTo>
                      <a:pt x="4" y="1"/>
                      <a:pt x="3" y="1"/>
                      <a:pt x="3" y="1"/>
                    </a:cubicBezTo>
                    <a:cubicBezTo>
                      <a:pt x="2" y="1"/>
                      <a:pt x="2" y="1"/>
                      <a:pt x="2" y="1"/>
                    </a:cubicBezTo>
                    <a:cubicBezTo>
                      <a:pt x="2" y="1"/>
                      <a:pt x="2" y="1"/>
                      <a:pt x="2" y="1"/>
                    </a:cubicBezTo>
                    <a:cubicBezTo>
                      <a:pt x="2" y="3"/>
                      <a:pt x="1" y="4"/>
                      <a:pt x="1" y="6"/>
                    </a:cubicBezTo>
                    <a:cubicBezTo>
                      <a:pt x="1" y="7"/>
                      <a:pt x="1" y="8"/>
                      <a:pt x="1" y="9"/>
                    </a:cubicBezTo>
                    <a:cubicBezTo>
                      <a:pt x="0" y="10"/>
                      <a:pt x="0" y="11"/>
                      <a:pt x="0" y="11"/>
                    </a:cubicBezTo>
                    <a:cubicBezTo>
                      <a:pt x="0" y="11"/>
                      <a:pt x="1" y="11"/>
                      <a:pt x="1" y="11"/>
                    </a:cubicBezTo>
                    <a:cubicBezTo>
                      <a:pt x="2" y="12"/>
                      <a:pt x="3" y="12"/>
                      <a:pt x="4" y="12"/>
                    </a:cubicBezTo>
                    <a:cubicBezTo>
                      <a:pt x="5" y="13"/>
                      <a:pt x="6" y="14"/>
                      <a:pt x="6" y="14"/>
                    </a:cubicBezTo>
                    <a:cubicBezTo>
                      <a:pt x="7" y="15"/>
                      <a:pt x="7" y="15"/>
                      <a:pt x="7" y="16"/>
                    </a:cubicBezTo>
                    <a:cubicBezTo>
                      <a:pt x="8" y="16"/>
                      <a:pt x="8" y="17"/>
                      <a:pt x="9" y="17"/>
                    </a:cubicBezTo>
                    <a:cubicBezTo>
                      <a:pt x="10" y="19"/>
                      <a:pt x="10" y="21"/>
                      <a:pt x="11" y="24"/>
                    </a:cubicBezTo>
                    <a:cubicBezTo>
                      <a:pt x="11" y="25"/>
                      <a:pt x="12" y="25"/>
                      <a:pt x="12" y="26"/>
                    </a:cubicBezTo>
                    <a:cubicBezTo>
                      <a:pt x="12" y="26"/>
                      <a:pt x="12" y="27"/>
                      <a:pt x="12" y="27"/>
                    </a:cubicBezTo>
                    <a:cubicBezTo>
                      <a:pt x="13" y="28"/>
                      <a:pt x="13" y="28"/>
                      <a:pt x="13" y="28"/>
                    </a:cubicBezTo>
                    <a:cubicBezTo>
                      <a:pt x="14" y="30"/>
                      <a:pt x="15" y="32"/>
                      <a:pt x="17" y="34"/>
                    </a:cubicBezTo>
                    <a:cubicBezTo>
                      <a:pt x="18" y="35"/>
                      <a:pt x="18" y="35"/>
                      <a:pt x="18" y="35"/>
                    </a:cubicBezTo>
                    <a:cubicBezTo>
                      <a:pt x="19" y="37"/>
                      <a:pt x="21" y="38"/>
                      <a:pt x="24" y="40"/>
                    </a:cubicBezTo>
                    <a:cubicBezTo>
                      <a:pt x="25" y="41"/>
                      <a:pt x="25" y="41"/>
                      <a:pt x="25" y="41"/>
                    </a:cubicBezTo>
                    <a:cubicBezTo>
                      <a:pt x="28" y="44"/>
                      <a:pt x="31" y="46"/>
                      <a:pt x="35" y="49"/>
                    </a:cubicBezTo>
                    <a:cubicBezTo>
                      <a:pt x="35" y="50"/>
                      <a:pt x="36" y="50"/>
                      <a:pt x="36" y="51"/>
                    </a:cubicBezTo>
                    <a:cubicBezTo>
                      <a:pt x="37" y="51"/>
                      <a:pt x="37" y="51"/>
                      <a:pt x="37" y="51"/>
                    </a:cubicBezTo>
                    <a:cubicBezTo>
                      <a:pt x="40" y="53"/>
                      <a:pt x="43" y="55"/>
                      <a:pt x="44" y="59"/>
                    </a:cubicBezTo>
                    <a:cubicBezTo>
                      <a:pt x="48" y="68"/>
                      <a:pt x="48" y="68"/>
                      <a:pt x="48" y="68"/>
                    </a:cubicBezTo>
                    <a:cubicBezTo>
                      <a:pt x="50" y="68"/>
                      <a:pt x="50" y="68"/>
                      <a:pt x="50" y="68"/>
                    </a:cubicBezTo>
                    <a:cubicBezTo>
                      <a:pt x="51" y="69"/>
                      <a:pt x="52" y="69"/>
                      <a:pt x="53" y="71"/>
                    </a:cubicBezTo>
                    <a:cubicBezTo>
                      <a:pt x="54" y="72"/>
                      <a:pt x="54" y="72"/>
                      <a:pt x="55" y="73"/>
                    </a:cubicBezTo>
                    <a:cubicBezTo>
                      <a:pt x="55" y="74"/>
                      <a:pt x="55" y="75"/>
                      <a:pt x="55" y="75"/>
                    </a:cubicBezTo>
                    <a:cubicBezTo>
                      <a:pt x="55" y="77"/>
                      <a:pt x="54" y="78"/>
                      <a:pt x="52" y="79"/>
                    </a:cubicBezTo>
                    <a:cubicBezTo>
                      <a:pt x="53" y="80"/>
                      <a:pt x="53" y="80"/>
                      <a:pt x="53" y="80"/>
                    </a:cubicBezTo>
                    <a:cubicBezTo>
                      <a:pt x="53" y="80"/>
                      <a:pt x="53" y="80"/>
                      <a:pt x="53" y="80"/>
                    </a:cubicBezTo>
                    <a:cubicBezTo>
                      <a:pt x="53" y="80"/>
                      <a:pt x="53" y="80"/>
                      <a:pt x="53" y="80"/>
                    </a:cubicBezTo>
                    <a:cubicBezTo>
                      <a:pt x="52" y="80"/>
                      <a:pt x="52" y="79"/>
                      <a:pt x="51" y="79"/>
                    </a:cubicBezTo>
                    <a:cubicBezTo>
                      <a:pt x="51" y="80"/>
                      <a:pt x="50" y="80"/>
                      <a:pt x="49" y="80"/>
                    </a:cubicBezTo>
                    <a:cubicBezTo>
                      <a:pt x="48" y="80"/>
                      <a:pt x="48" y="80"/>
                      <a:pt x="48" y="80"/>
                    </a:cubicBezTo>
                    <a:cubicBezTo>
                      <a:pt x="56" y="84"/>
                      <a:pt x="63" y="88"/>
                      <a:pt x="71" y="91"/>
                    </a:cubicBezTo>
                    <a:cubicBezTo>
                      <a:pt x="70" y="88"/>
                      <a:pt x="70" y="88"/>
                      <a:pt x="70" y="88"/>
                    </a:cubicBezTo>
                    <a:cubicBezTo>
                      <a:pt x="73" y="86"/>
                      <a:pt x="73" y="86"/>
                      <a:pt x="73" y="86"/>
                    </a:cubicBezTo>
                    <a:cubicBezTo>
                      <a:pt x="73" y="86"/>
                      <a:pt x="73" y="86"/>
                      <a:pt x="73" y="86"/>
                    </a:cubicBezTo>
                    <a:cubicBezTo>
                      <a:pt x="73" y="85"/>
                      <a:pt x="73" y="85"/>
                      <a:pt x="73" y="84"/>
                    </a:cubicBezTo>
                    <a:cubicBezTo>
                      <a:pt x="73" y="83"/>
                      <a:pt x="73" y="82"/>
                      <a:pt x="72" y="81"/>
                    </a:cubicBezTo>
                    <a:cubicBezTo>
                      <a:pt x="72" y="80"/>
                      <a:pt x="72" y="79"/>
                      <a:pt x="72" y="77"/>
                    </a:cubicBezTo>
                    <a:cubicBezTo>
                      <a:pt x="71" y="73"/>
                      <a:pt x="73" y="69"/>
                      <a:pt x="77" y="65"/>
                    </a:cubicBezTo>
                    <a:cubicBezTo>
                      <a:pt x="78" y="64"/>
                      <a:pt x="80" y="62"/>
                      <a:pt x="81" y="62"/>
                    </a:cubicBezTo>
                    <a:cubicBezTo>
                      <a:pt x="81" y="61"/>
                      <a:pt x="81" y="61"/>
                      <a:pt x="81" y="61"/>
                    </a:cubicBezTo>
                    <a:cubicBezTo>
                      <a:pt x="82" y="61"/>
                      <a:pt x="83" y="60"/>
                      <a:pt x="85" y="59"/>
                    </a:cubicBezTo>
                    <a:cubicBezTo>
                      <a:pt x="83" y="57"/>
                      <a:pt x="83" y="57"/>
                      <a:pt x="83" y="57"/>
                    </a:cubicBezTo>
                    <a:cubicBezTo>
                      <a:pt x="85" y="55"/>
                      <a:pt x="85" y="55"/>
                      <a:pt x="85" y="55"/>
                    </a:cubicBezTo>
                    <a:cubicBezTo>
                      <a:pt x="86" y="53"/>
                      <a:pt x="87" y="53"/>
                      <a:pt x="88" y="53"/>
                    </a:cubicBezTo>
                    <a:cubicBezTo>
                      <a:pt x="89" y="53"/>
                      <a:pt x="89" y="52"/>
                      <a:pt x="90" y="52"/>
                    </a:cubicBezTo>
                    <a:cubicBezTo>
                      <a:pt x="91" y="52"/>
                      <a:pt x="91" y="53"/>
                      <a:pt x="92" y="53"/>
                    </a:cubicBezTo>
                    <a:cubicBezTo>
                      <a:pt x="92" y="53"/>
                      <a:pt x="93" y="53"/>
                      <a:pt x="93" y="53"/>
                    </a:cubicBezTo>
                    <a:cubicBezTo>
                      <a:pt x="93" y="53"/>
                      <a:pt x="93" y="53"/>
                      <a:pt x="93" y="53"/>
                    </a:cubicBezTo>
                    <a:cubicBezTo>
                      <a:pt x="94" y="53"/>
                      <a:pt x="94" y="53"/>
                      <a:pt x="94" y="53"/>
                    </a:cubicBezTo>
                    <a:cubicBezTo>
                      <a:pt x="94" y="53"/>
                      <a:pt x="94" y="53"/>
                      <a:pt x="94" y="53"/>
                    </a:cubicBezTo>
                    <a:cubicBezTo>
                      <a:pt x="95" y="53"/>
                      <a:pt x="95" y="53"/>
                      <a:pt x="95" y="53"/>
                    </a:cubicBezTo>
                    <a:cubicBezTo>
                      <a:pt x="97" y="52"/>
                      <a:pt x="99" y="51"/>
                      <a:pt x="100" y="50"/>
                    </a:cubicBezTo>
                    <a:cubicBezTo>
                      <a:pt x="100" y="50"/>
                      <a:pt x="100" y="50"/>
                      <a:pt x="100" y="50"/>
                    </a:cubicBezTo>
                    <a:cubicBezTo>
                      <a:pt x="100" y="50"/>
                      <a:pt x="100" y="50"/>
                      <a:pt x="100" y="50"/>
                    </a:cubicBezTo>
                    <a:cubicBezTo>
                      <a:pt x="99" y="49"/>
                      <a:pt x="98" y="48"/>
                      <a:pt x="97" y="47"/>
                    </a:cubicBezTo>
                    <a:cubicBezTo>
                      <a:pt x="96" y="45"/>
                      <a:pt x="94" y="43"/>
                      <a:pt x="93" y="41"/>
                    </a:cubicBezTo>
                    <a:cubicBezTo>
                      <a:pt x="89" y="34"/>
                      <a:pt x="89" y="34"/>
                      <a:pt x="89" y="34"/>
                    </a:cubicBezTo>
                    <a:cubicBezTo>
                      <a:pt x="97" y="36"/>
                      <a:pt x="97" y="36"/>
                      <a:pt x="97" y="36"/>
                    </a:cubicBezTo>
                    <a:cubicBezTo>
                      <a:pt x="98" y="37"/>
                      <a:pt x="98" y="37"/>
                      <a:pt x="99" y="37"/>
                    </a:cubicBezTo>
                    <a:cubicBezTo>
                      <a:pt x="99" y="37"/>
                      <a:pt x="98" y="36"/>
                      <a:pt x="98" y="36"/>
                    </a:cubicBezTo>
                    <a:cubicBezTo>
                      <a:pt x="98" y="35"/>
                      <a:pt x="97" y="35"/>
                      <a:pt x="97" y="34"/>
                    </a:cubicBezTo>
                    <a:cubicBezTo>
                      <a:pt x="96" y="34"/>
                      <a:pt x="96" y="34"/>
                      <a:pt x="96" y="34"/>
                    </a:cubicBezTo>
                    <a:cubicBezTo>
                      <a:pt x="95" y="34"/>
                      <a:pt x="95" y="34"/>
                      <a:pt x="95" y="34"/>
                    </a:cubicBezTo>
                    <a:cubicBezTo>
                      <a:pt x="94" y="34"/>
                      <a:pt x="94" y="34"/>
                      <a:pt x="94" y="34"/>
                    </a:cubicBezTo>
                    <a:cubicBezTo>
                      <a:pt x="93" y="33"/>
                      <a:pt x="92" y="32"/>
                      <a:pt x="91" y="32"/>
                    </a:cubicBezTo>
                    <a:cubicBezTo>
                      <a:pt x="89" y="29"/>
                      <a:pt x="89" y="25"/>
                      <a:pt x="89" y="22"/>
                    </a:cubicBezTo>
                    <a:cubicBezTo>
                      <a:pt x="89" y="21"/>
                      <a:pt x="90" y="20"/>
                      <a:pt x="91" y="19"/>
                    </a:cubicBezTo>
                    <a:cubicBezTo>
                      <a:pt x="92" y="18"/>
                      <a:pt x="92" y="18"/>
                      <a:pt x="92" y="18"/>
                    </a:cubicBezTo>
                    <a:cubicBezTo>
                      <a:pt x="92" y="17"/>
                      <a:pt x="93" y="15"/>
                      <a:pt x="94" y="13"/>
                    </a:cubicBezTo>
                    <a:cubicBezTo>
                      <a:pt x="94" y="13"/>
                      <a:pt x="94" y="13"/>
                      <a:pt x="94" y="13"/>
                    </a:cubicBezTo>
                    <a:cubicBezTo>
                      <a:pt x="94" y="13"/>
                      <a:pt x="93" y="13"/>
                      <a:pt x="93" y="13"/>
                    </a:cubicBezTo>
                    <a:cubicBezTo>
                      <a:pt x="92" y="13"/>
                      <a:pt x="92" y="13"/>
                      <a:pt x="92" y="13"/>
                    </a:cubicBezTo>
                    <a:cubicBezTo>
                      <a:pt x="92" y="13"/>
                      <a:pt x="92" y="13"/>
                      <a:pt x="92" y="13"/>
                    </a:cubicBezTo>
                    <a:cubicBezTo>
                      <a:pt x="91" y="13"/>
                      <a:pt x="91" y="13"/>
                      <a:pt x="91" y="13"/>
                    </a:cubicBezTo>
                    <a:cubicBezTo>
                      <a:pt x="91" y="13"/>
                      <a:pt x="91" y="13"/>
                      <a:pt x="91" y="13"/>
                    </a:cubicBezTo>
                    <a:cubicBezTo>
                      <a:pt x="89" y="13"/>
                      <a:pt x="88" y="13"/>
                      <a:pt x="87" y="13"/>
                    </a:cubicBezTo>
                    <a:cubicBezTo>
                      <a:pt x="84" y="12"/>
                      <a:pt x="81" y="11"/>
                      <a:pt x="80" y="8"/>
                    </a:cubicBezTo>
                    <a:cubicBezTo>
                      <a:pt x="79" y="8"/>
                      <a:pt x="79" y="8"/>
                      <a:pt x="79" y="8"/>
                    </a:cubicBezTo>
                    <a:cubicBezTo>
                      <a:pt x="79" y="7"/>
                      <a:pt x="78" y="7"/>
                      <a:pt x="77" y="7"/>
                    </a:cubicBezTo>
                    <a:cubicBezTo>
                      <a:pt x="77" y="6"/>
                      <a:pt x="77" y="6"/>
                      <a:pt x="77" y="6"/>
                    </a:cubicBezTo>
                    <a:cubicBezTo>
                      <a:pt x="76" y="6"/>
                      <a:pt x="76" y="6"/>
                      <a:pt x="76" y="6"/>
                    </a:cubicBezTo>
                    <a:cubicBezTo>
                      <a:pt x="75" y="6"/>
                      <a:pt x="75" y="6"/>
                      <a:pt x="75" y="6"/>
                    </a:cubicBezTo>
                    <a:cubicBezTo>
                      <a:pt x="74" y="6"/>
                      <a:pt x="74" y="6"/>
                      <a:pt x="74" y="6"/>
                    </a:cubicBezTo>
                    <a:cubicBezTo>
                      <a:pt x="70" y="6"/>
                      <a:pt x="65" y="6"/>
                      <a:pt x="61" y="5"/>
                    </a:cubicBezTo>
                    <a:cubicBezTo>
                      <a:pt x="41" y="3"/>
                      <a:pt x="41" y="3"/>
                      <a:pt x="41" y="3"/>
                    </a:cubicBezTo>
                    <a:cubicBezTo>
                      <a:pt x="37" y="2"/>
                      <a:pt x="33" y="1"/>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61" name="Freeform 289">
                <a:extLst>
                  <a:ext uri="{FF2B5EF4-FFF2-40B4-BE49-F238E27FC236}">
                    <a16:creationId xmlns:a16="http://schemas.microsoft.com/office/drawing/2014/main" id="{CB254310-AECF-4E2C-B1FE-8C50E0C4ED14}"/>
                  </a:ext>
                </a:extLst>
              </p:cNvPr>
              <p:cNvSpPr>
                <a:spLocks/>
              </p:cNvSpPr>
              <p:nvPr/>
            </p:nvSpPr>
            <p:spPr bwMode="auto">
              <a:xfrm>
                <a:off x="5914611" y="4790651"/>
                <a:ext cx="25796" cy="11055"/>
              </a:xfrm>
              <a:custGeom>
                <a:avLst/>
                <a:gdLst>
                  <a:gd name="T0" fmla="*/ 0 w 8"/>
                  <a:gd name="T1" fmla="*/ 0 h 4"/>
                  <a:gd name="T2" fmla="*/ 8 w 8"/>
                  <a:gd name="T3" fmla="*/ 4 h 4"/>
                  <a:gd name="T4" fmla="*/ 7 w 8"/>
                  <a:gd name="T5" fmla="*/ 2 h 4"/>
                  <a:gd name="T6" fmla="*/ 0 w 8"/>
                  <a:gd name="T7" fmla="*/ 0 h 4"/>
                </a:gdLst>
                <a:ahLst/>
                <a:cxnLst>
                  <a:cxn ang="0">
                    <a:pos x="T0" y="T1"/>
                  </a:cxn>
                  <a:cxn ang="0">
                    <a:pos x="T2" y="T3"/>
                  </a:cxn>
                  <a:cxn ang="0">
                    <a:pos x="T4" y="T5"/>
                  </a:cxn>
                  <a:cxn ang="0">
                    <a:pos x="T6" y="T7"/>
                  </a:cxn>
                </a:cxnLst>
                <a:rect l="0" t="0" r="r" b="b"/>
                <a:pathLst>
                  <a:path w="8" h="4">
                    <a:moveTo>
                      <a:pt x="0" y="0"/>
                    </a:moveTo>
                    <a:cubicBezTo>
                      <a:pt x="2" y="2"/>
                      <a:pt x="5" y="3"/>
                      <a:pt x="8" y="4"/>
                    </a:cubicBezTo>
                    <a:cubicBezTo>
                      <a:pt x="7" y="2"/>
                      <a:pt x="7" y="2"/>
                      <a:pt x="7" y="2"/>
                    </a:cubicBezTo>
                    <a:cubicBezTo>
                      <a:pt x="5"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62" name="Rectangle 290">
                <a:extLst>
                  <a:ext uri="{FF2B5EF4-FFF2-40B4-BE49-F238E27FC236}">
                    <a16:creationId xmlns:a16="http://schemas.microsoft.com/office/drawing/2014/main" id="{4B1D08D8-AD7A-4964-80F6-AF772B21AAB3}"/>
                  </a:ext>
                </a:extLst>
              </p:cNvPr>
              <p:cNvSpPr>
                <a:spLocks noChangeArrowheads="1"/>
              </p:cNvSpPr>
              <p:nvPr/>
            </p:nvSpPr>
            <p:spPr bwMode="auto">
              <a:xfrm>
                <a:off x="6025164" y="4845928"/>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63" name="Freeform 291">
                <a:extLst>
                  <a:ext uri="{FF2B5EF4-FFF2-40B4-BE49-F238E27FC236}">
                    <a16:creationId xmlns:a16="http://schemas.microsoft.com/office/drawing/2014/main" id="{69F95468-2411-4A7D-9D5B-D29C4E7B64AD}"/>
                  </a:ext>
                </a:extLst>
              </p:cNvPr>
              <p:cNvSpPr>
                <a:spLocks/>
              </p:cNvSpPr>
              <p:nvPr/>
            </p:nvSpPr>
            <p:spPr bwMode="auto">
              <a:xfrm>
                <a:off x="6025164" y="4845928"/>
                <a:ext cx="0" cy="3685"/>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lnTo>
                      <a:pt x="0" y="1"/>
                    </a:lnTo>
                    <a:lnTo>
                      <a:pt x="0" y="1"/>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64" name="Rectangle 292">
                <a:extLst>
                  <a:ext uri="{FF2B5EF4-FFF2-40B4-BE49-F238E27FC236}">
                    <a16:creationId xmlns:a16="http://schemas.microsoft.com/office/drawing/2014/main" id="{51E9922A-FC5C-4230-979C-43232BC712AE}"/>
                  </a:ext>
                </a:extLst>
              </p:cNvPr>
              <p:cNvSpPr>
                <a:spLocks noChangeArrowheads="1"/>
              </p:cNvSpPr>
              <p:nvPr/>
            </p:nvSpPr>
            <p:spPr bwMode="auto">
              <a:xfrm>
                <a:off x="6165199" y="4805392"/>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65" name="Freeform 293">
                <a:extLst>
                  <a:ext uri="{FF2B5EF4-FFF2-40B4-BE49-F238E27FC236}">
                    <a16:creationId xmlns:a16="http://schemas.microsoft.com/office/drawing/2014/main" id="{4188E2D2-825A-4E0F-8B9F-F59C437BA95D}"/>
                  </a:ext>
                </a:extLst>
              </p:cNvPr>
              <p:cNvSpPr>
                <a:spLocks/>
              </p:cNvSpPr>
              <p:nvPr/>
            </p:nvSpPr>
            <p:spPr bwMode="auto">
              <a:xfrm>
                <a:off x="6165199" y="4805392"/>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66" name="Freeform 294">
                <a:extLst>
                  <a:ext uri="{FF2B5EF4-FFF2-40B4-BE49-F238E27FC236}">
                    <a16:creationId xmlns:a16="http://schemas.microsoft.com/office/drawing/2014/main" id="{EBE1B4A2-18B1-4A76-96F1-7E48549B0CD9}"/>
                  </a:ext>
                </a:extLst>
              </p:cNvPr>
              <p:cNvSpPr>
                <a:spLocks/>
              </p:cNvSpPr>
              <p:nvPr/>
            </p:nvSpPr>
            <p:spPr bwMode="auto">
              <a:xfrm>
                <a:off x="6028849" y="4739059"/>
                <a:ext cx="140034" cy="162145"/>
              </a:xfrm>
              <a:custGeom>
                <a:avLst/>
                <a:gdLst>
                  <a:gd name="T0" fmla="*/ 18 w 44"/>
                  <a:gd name="T1" fmla="*/ 0 h 51"/>
                  <a:gd name="T2" fmla="*/ 17 w 44"/>
                  <a:gd name="T3" fmla="*/ 0 h 51"/>
                  <a:gd name="T4" fmla="*/ 18 w 44"/>
                  <a:gd name="T5" fmla="*/ 1 h 51"/>
                  <a:gd name="T6" fmla="*/ 21 w 44"/>
                  <a:gd name="T7" fmla="*/ 5 h 51"/>
                  <a:gd name="T8" fmla="*/ 17 w 44"/>
                  <a:gd name="T9" fmla="*/ 7 h 51"/>
                  <a:gd name="T10" fmla="*/ 14 w 44"/>
                  <a:gd name="T11" fmla="*/ 7 h 51"/>
                  <a:gd name="T12" fmla="*/ 12 w 44"/>
                  <a:gd name="T13" fmla="*/ 7 h 51"/>
                  <a:gd name="T14" fmla="*/ 11 w 44"/>
                  <a:gd name="T15" fmla="*/ 6 h 51"/>
                  <a:gd name="T16" fmla="*/ 10 w 44"/>
                  <a:gd name="T17" fmla="*/ 6 h 51"/>
                  <a:gd name="T18" fmla="*/ 10 w 44"/>
                  <a:gd name="T19" fmla="*/ 7 h 51"/>
                  <a:gd name="T20" fmla="*/ 9 w 44"/>
                  <a:gd name="T21" fmla="*/ 7 h 51"/>
                  <a:gd name="T22" fmla="*/ 6 w 44"/>
                  <a:gd name="T23" fmla="*/ 10 h 51"/>
                  <a:gd name="T24" fmla="*/ 2 w 44"/>
                  <a:gd name="T25" fmla="*/ 17 h 51"/>
                  <a:gd name="T26" fmla="*/ 3 w 44"/>
                  <a:gd name="T27" fmla="*/ 19 h 51"/>
                  <a:gd name="T28" fmla="*/ 4 w 44"/>
                  <a:gd name="T29" fmla="*/ 22 h 51"/>
                  <a:gd name="T30" fmla="*/ 4 w 44"/>
                  <a:gd name="T31" fmla="*/ 28 h 51"/>
                  <a:gd name="T32" fmla="*/ 0 w 44"/>
                  <a:gd name="T33" fmla="*/ 32 h 51"/>
                  <a:gd name="T34" fmla="*/ 0 w 44"/>
                  <a:gd name="T35" fmla="*/ 33 h 51"/>
                  <a:gd name="T36" fmla="*/ 1 w 44"/>
                  <a:gd name="T37" fmla="*/ 33 h 51"/>
                  <a:gd name="T38" fmla="*/ 4 w 44"/>
                  <a:gd name="T39" fmla="*/ 32 h 51"/>
                  <a:gd name="T40" fmla="*/ 4 w 44"/>
                  <a:gd name="T41" fmla="*/ 32 h 51"/>
                  <a:gd name="T42" fmla="*/ 4 w 44"/>
                  <a:gd name="T43" fmla="*/ 32 h 51"/>
                  <a:gd name="T44" fmla="*/ 5 w 44"/>
                  <a:gd name="T45" fmla="*/ 32 h 51"/>
                  <a:gd name="T46" fmla="*/ 6 w 44"/>
                  <a:gd name="T47" fmla="*/ 32 h 51"/>
                  <a:gd name="T48" fmla="*/ 4 w 44"/>
                  <a:gd name="T49" fmla="*/ 35 h 51"/>
                  <a:gd name="T50" fmla="*/ 3 w 44"/>
                  <a:gd name="T51" fmla="*/ 35 h 51"/>
                  <a:gd name="T52" fmla="*/ 1 w 44"/>
                  <a:gd name="T53" fmla="*/ 34 h 51"/>
                  <a:gd name="T54" fmla="*/ 0 w 44"/>
                  <a:gd name="T55" fmla="*/ 35 h 51"/>
                  <a:gd name="T56" fmla="*/ 20 w 44"/>
                  <a:gd name="T57" fmla="*/ 51 h 51"/>
                  <a:gd name="T58" fmla="*/ 20 w 44"/>
                  <a:gd name="T59" fmla="*/ 50 h 51"/>
                  <a:gd name="T60" fmla="*/ 20 w 44"/>
                  <a:gd name="T61" fmla="*/ 46 h 51"/>
                  <a:gd name="T62" fmla="*/ 18 w 44"/>
                  <a:gd name="T63" fmla="*/ 41 h 51"/>
                  <a:gd name="T64" fmla="*/ 21 w 44"/>
                  <a:gd name="T65" fmla="*/ 37 h 51"/>
                  <a:gd name="T66" fmla="*/ 22 w 44"/>
                  <a:gd name="T67" fmla="*/ 36 h 51"/>
                  <a:gd name="T68" fmla="*/ 24 w 44"/>
                  <a:gd name="T69" fmla="*/ 33 h 51"/>
                  <a:gd name="T70" fmla="*/ 24 w 44"/>
                  <a:gd name="T71" fmla="*/ 33 h 51"/>
                  <a:gd name="T72" fmla="*/ 29 w 44"/>
                  <a:gd name="T73" fmla="*/ 26 h 51"/>
                  <a:gd name="T74" fmla="*/ 31 w 44"/>
                  <a:gd name="T75" fmla="*/ 24 h 51"/>
                  <a:gd name="T76" fmla="*/ 35 w 44"/>
                  <a:gd name="T77" fmla="*/ 22 h 51"/>
                  <a:gd name="T78" fmla="*/ 36 w 44"/>
                  <a:gd name="T79" fmla="*/ 25 h 51"/>
                  <a:gd name="T80" fmla="*/ 37 w 44"/>
                  <a:gd name="T81" fmla="*/ 27 h 51"/>
                  <a:gd name="T82" fmla="*/ 38 w 44"/>
                  <a:gd name="T83" fmla="*/ 28 h 51"/>
                  <a:gd name="T84" fmla="*/ 38 w 44"/>
                  <a:gd name="T85" fmla="*/ 29 h 51"/>
                  <a:gd name="T86" fmla="*/ 40 w 44"/>
                  <a:gd name="T87" fmla="*/ 28 h 51"/>
                  <a:gd name="T88" fmla="*/ 40 w 44"/>
                  <a:gd name="T89" fmla="*/ 28 h 51"/>
                  <a:gd name="T90" fmla="*/ 40 w 44"/>
                  <a:gd name="T91" fmla="*/ 25 h 51"/>
                  <a:gd name="T92" fmla="*/ 41 w 44"/>
                  <a:gd name="T93" fmla="*/ 20 h 51"/>
                  <a:gd name="T94" fmla="*/ 42 w 44"/>
                  <a:gd name="T95" fmla="*/ 20 h 51"/>
                  <a:gd name="T96" fmla="*/ 43 w 44"/>
                  <a:gd name="T97" fmla="*/ 19 h 51"/>
                  <a:gd name="T98" fmla="*/ 44 w 44"/>
                  <a:gd name="T99" fmla="*/ 19 h 51"/>
                  <a:gd name="T100" fmla="*/ 44 w 44"/>
                  <a:gd name="T101" fmla="*/ 19 h 51"/>
                  <a:gd name="T102" fmla="*/ 19 w 44"/>
                  <a:gd name="T103" fmla="*/ 0 h 51"/>
                  <a:gd name="T104" fmla="*/ 18 w 44"/>
                  <a:gd name="T10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51">
                    <a:moveTo>
                      <a:pt x="18" y="0"/>
                    </a:moveTo>
                    <a:cubicBezTo>
                      <a:pt x="17" y="0"/>
                      <a:pt x="17" y="0"/>
                      <a:pt x="17" y="0"/>
                    </a:cubicBezTo>
                    <a:cubicBezTo>
                      <a:pt x="18" y="1"/>
                      <a:pt x="18" y="1"/>
                      <a:pt x="18" y="1"/>
                    </a:cubicBezTo>
                    <a:cubicBezTo>
                      <a:pt x="21" y="5"/>
                      <a:pt x="21" y="5"/>
                      <a:pt x="21" y="5"/>
                    </a:cubicBezTo>
                    <a:cubicBezTo>
                      <a:pt x="17" y="7"/>
                      <a:pt x="17" y="7"/>
                      <a:pt x="17" y="7"/>
                    </a:cubicBezTo>
                    <a:cubicBezTo>
                      <a:pt x="16" y="7"/>
                      <a:pt x="15" y="7"/>
                      <a:pt x="14" y="7"/>
                    </a:cubicBezTo>
                    <a:cubicBezTo>
                      <a:pt x="13" y="7"/>
                      <a:pt x="13" y="7"/>
                      <a:pt x="12" y="7"/>
                    </a:cubicBezTo>
                    <a:cubicBezTo>
                      <a:pt x="12" y="7"/>
                      <a:pt x="11" y="7"/>
                      <a:pt x="11" y="6"/>
                    </a:cubicBezTo>
                    <a:cubicBezTo>
                      <a:pt x="10" y="6"/>
                      <a:pt x="10" y="6"/>
                      <a:pt x="10" y="6"/>
                    </a:cubicBezTo>
                    <a:cubicBezTo>
                      <a:pt x="10" y="7"/>
                      <a:pt x="10" y="7"/>
                      <a:pt x="10" y="7"/>
                    </a:cubicBezTo>
                    <a:cubicBezTo>
                      <a:pt x="9" y="7"/>
                      <a:pt x="9" y="7"/>
                      <a:pt x="9" y="7"/>
                    </a:cubicBezTo>
                    <a:cubicBezTo>
                      <a:pt x="8" y="8"/>
                      <a:pt x="7" y="9"/>
                      <a:pt x="6" y="10"/>
                    </a:cubicBezTo>
                    <a:cubicBezTo>
                      <a:pt x="4" y="12"/>
                      <a:pt x="2" y="15"/>
                      <a:pt x="2" y="17"/>
                    </a:cubicBezTo>
                    <a:cubicBezTo>
                      <a:pt x="3" y="17"/>
                      <a:pt x="3" y="18"/>
                      <a:pt x="3" y="19"/>
                    </a:cubicBezTo>
                    <a:cubicBezTo>
                      <a:pt x="3" y="20"/>
                      <a:pt x="4" y="21"/>
                      <a:pt x="4" y="22"/>
                    </a:cubicBezTo>
                    <a:cubicBezTo>
                      <a:pt x="4" y="24"/>
                      <a:pt x="5" y="26"/>
                      <a:pt x="4" y="28"/>
                    </a:cubicBezTo>
                    <a:cubicBezTo>
                      <a:pt x="3" y="30"/>
                      <a:pt x="2" y="32"/>
                      <a:pt x="0" y="32"/>
                    </a:cubicBezTo>
                    <a:cubicBezTo>
                      <a:pt x="0" y="33"/>
                      <a:pt x="0" y="33"/>
                      <a:pt x="0" y="33"/>
                    </a:cubicBezTo>
                    <a:cubicBezTo>
                      <a:pt x="0" y="33"/>
                      <a:pt x="0" y="33"/>
                      <a:pt x="1" y="33"/>
                    </a:cubicBezTo>
                    <a:cubicBezTo>
                      <a:pt x="2" y="33"/>
                      <a:pt x="3" y="33"/>
                      <a:pt x="4" y="32"/>
                    </a:cubicBezTo>
                    <a:cubicBezTo>
                      <a:pt x="4" y="32"/>
                      <a:pt x="4" y="32"/>
                      <a:pt x="4" y="32"/>
                    </a:cubicBezTo>
                    <a:cubicBezTo>
                      <a:pt x="4" y="32"/>
                      <a:pt x="4" y="32"/>
                      <a:pt x="4" y="32"/>
                    </a:cubicBezTo>
                    <a:cubicBezTo>
                      <a:pt x="4" y="32"/>
                      <a:pt x="5" y="32"/>
                      <a:pt x="5" y="32"/>
                    </a:cubicBezTo>
                    <a:cubicBezTo>
                      <a:pt x="5" y="32"/>
                      <a:pt x="6" y="32"/>
                      <a:pt x="6" y="32"/>
                    </a:cubicBezTo>
                    <a:cubicBezTo>
                      <a:pt x="5" y="34"/>
                      <a:pt x="5" y="35"/>
                      <a:pt x="4" y="35"/>
                    </a:cubicBezTo>
                    <a:cubicBezTo>
                      <a:pt x="4" y="35"/>
                      <a:pt x="4" y="35"/>
                      <a:pt x="3" y="35"/>
                    </a:cubicBezTo>
                    <a:cubicBezTo>
                      <a:pt x="3" y="35"/>
                      <a:pt x="2" y="34"/>
                      <a:pt x="1" y="34"/>
                    </a:cubicBezTo>
                    <a:cubicBezTo>
                      <a:pt x="1" y="34"/>
                      <a:pt x="1" y="34"/>
                      <a:pt x="0" y="35"/>
                    </a:cubicBezTo>
                    <a:cubicBezTo>
                      <a:pt x="7" y="40"/>
                      <a:pt x="14" y="46"/>
                      <a:pt x="20" y="51"/>
                    </a:cubicBezTo>
                    <a:cubicBezTo>
                      <a:pt x="20" y="51"/>
                      <a:pt x="20" y="50"/>
                      <a:pt x="20" y="50"/>
                    </a:cubicBezTo>
                    <a:cubicBezTo>
                      <a:pt x="20" y="49"/>
                      <a:pt x="20" y="47"/>
                      <a:pt x="20" y="46"/>
                    </a:cubicBezTo>
                    <a:cubicBezTo>
                      <a:pt x="18" y="45"/>
                      <a:pt x="18" y="43"/>
                      <a:pt x="18" y="41"/>
                    </a:cubicBezTo>
                    <a:cubicBezTo>
                      <a:pt x="19" y="39"/>
                      <a:pt x="20" y="38"/>
                      <a:pt x="21" y="37"/>
                    </a:cubicBezTo>
                    <a:cubicBezTo>
                      <a:pt x="22" y="36"/>
                      <a:pt x="22" y="36"/>
                      <a:pt x="22" y="36"/>
                    </a:cubicBezTo>
                    <a:cubicBezTo>
                      <a:pt x="23" y="35"/>
                      <a:pt x="23" y="34"/>
                      <a:pt x="24" y="33"/>
                    </a:cubicBezTo>
                    <a:cubicBezTo>
                      <a:pt x="24" y="33"/>
                      <a:pt x="24" y="33"/>
                      <a:pt x="24" y="33"/>
                    </a:cubicBezTo>
                    <a:cubicBezTo>
                      <a:pt x="25" y="30"/>
                      <a:pt x="27" y="28"/>
                      <a:pt x="29" y="26"/>
                    </a:cubicBezTo>
                    <a:cubicBezTo>
                      <a:pt x="29" y="25"/>
                      <a:pt x="30" y="24"/>
                      <a:pt x="31" y="24"/>
                    </a:cubicBezTo>
                    <a:cubicBezTo>
                      <a:pt x="35" y="22"/>
                      <a:pt x="35" y="22"/>
                      <a:pt x="35" y="22"/>
                    </a:cubicBezTo>
                    <a:cubicBezTo>
                      <a:pt x="36" y="25"/>
                      <a:pt x="36" y="25"/>
                      <a:pt x="36" y="25"/>
                    </a:cubicBezTo>
                    <a:cubicBezTo>
                      <a:pt x="37" y="26"/>
                      <a:pt x="37" y="27"/>
                      <a:pt x="37" y="27"/>
                    </a:cubicBezTo>
                    <a:cubicBezTo>
                      <a:pt x="38" y="28"/>
                      <a:pt x="38" y="28"/>
                      <a:pt x="38" y="28"/>
                    </a:cubicBezTo>
                    <a:cubicBezTo>
                      <a:pt x="38" y="29"/>
                      <a:pt x="38" y="29"/>
                      <a:pt x="38" y="29"/>
                    </a:cubicBezTo>
                    <a:cubicBezTo>
                      <a:pt x="39" y="29"/>
                      <a:pt x="39" y="28"/>
                      <a:pt x="40" y="28"/>
                    </a:cubicBezTo>
                    <a:cubicBezTo>
                      <a:pt x="40" y="28"/>
                      <a:pt x="40" y="28"/>
                      <a:pt x="40" y="28"/>
                    </a:cubicBezTo>
                    <a:cubicBezTo>
                      <a:pt x="40" y="27"/>
                      <a:pt x="40" y="26"/>
                      <a:pt x="40" y="25"/>
                    </a:cubicBezTo>
                    <a:cubicBezTo>
                      <a:pt x="39" y="23"/>
                      <a:pt x="40" y="21"/>
                      <a:pt x="41" y="20"/>
                    </a:cubicBezTo>
                    <a:cubicBezTo>
                      <a:pt x="42" y="20"/>
                      <a:pt x="42" y="20"/>
                      <a:pt x="42" y="20"/>
                    </a:cubicBezTo>
                    <a:cubicBezTo>
                      <a:pt x="43" y="19"/>
                      <a:pt x="43" y="19"/>
                      <a:pt x="43" y="19"/>
                    </a:cubicBezTo>
                    <a:cubicBezTo>
                      <a:pt x="44" y="19"/>
                      <a:pt x="44" y="19"/>
                      <a:pt x="44" y="19"/>
                    </a:cubicBezTo>
                    <a:cubicBezTo>
                      <a:pt x="44" y="19"/>
                      <a:pt x="44" y="19"/>
                      <a:pt x="44" y="19"/>
                    </a:cubicBezTo>
                    <a:cubicBezTo>
                      <a:pt x="19" y="0"/>
                      <a:pt x="19" y="0"/>
                      <a:pt x="19" y="0"/>
                    </a:cubicBezTo>
                    <a:cubicBezTo>
                      <a:pt x="19" y="0"/>
                      <a:pt x="18"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67" name="Freeform 295">
                <a:extLst>
                  <a:ext uri="{FF2B5EF4-FFF2-40B4-BE49-F238E27FC236}">
                    <a16:creationId xmlns:a16="http://schemas.microsoft.com/office/drawing/2014/main" id="{2B87EDFA-B314-4102-8DD4-813572A5D142}"/>
                  </a:ext>
                </a:extLst>
              </p:cNvPr>
              <p:cNvSpPr>
                <a:spLocks/>
              </p:cNvSpPr>
              <p:nvPr/>
            </p:nvSpPr>
            <p:spPr bwMode="auto">
              <a:xfrm>
                <a:off x="6095182" y="4845928"/>
                <a:ext cx="147405" cy="287439"/>
              </a:xfrm>
              <a:custGeom>
                <a:avLst/>
                <a:gdLst>
                  <a:gd name="T0" fmla="*/ 9 w 46"/>
                  <a:gd name="T1" fmla="*/ 4 h 91"/>
                  <a:gd name="T2" fmla="*/ 7 w 46"/>
                  <a:gd name="T3" fmla="*/ 7 h 91"/>
                  <a:gd name="T4" fmla="*/ 5 w 46"/>
                  <a:gd name="T5" fmla="*/ 9 h 91"/>
                  <a:gd name="T6" fmla="*/ 6 w 46"/>
                  <a:gd name="T7" fmla="*/ 19 h 91"/>
                  <a:gd name="T8" fmla="*/ 6 w 46"/>
                  <a:gd name="T9" fmla="*/ 20 h 91"/>
                  <a:gd name="T10" fmla="*/ 8 w 46"/>
                  <a:gd name="T11" fmla="*/ 26 h 91"/>
                  <a:gd name="T12" fmla="*/ 7 w 46"/>
                  <a:gd name="T13" fmla="*/ 30 h 91"/>
                  <a:gd name="T14" fmla="*/ 4 w 46"/>
                  <a:gd name="T15" fmla="*/ 37 h 91"/>
                  <a:gd name="T16" fmla="*/ 6 w 46"/>
                  <a:gd name="T17" fmla="*/ 46 h 91"/>
                  <a:gd name="T18" fmla="*/ 1 w 46"/>
                  <a:gd name="T19" fmla="*/ 63 h 91"/>
                  <a:gd name="T20" fmla="*/ 1 w 46"/>
                  <a:gd name="T21" fmla="*/ 70 h 91"/>
                  <a:gd name="T22" fmla="*/ 11 w 46"/>
                  <a:gd name="T23" fmla="*/ 79 h 91"/>
                  <a:gd name="T24" fmla="*/ 20 w 46"/>
                  <a:gd name="T25" fmla="*/ 91 h 91"/>
                  <a:gd name="T26" fmla="*/ 24 w 46"/>
                  <a:gd name="T27" fmla="*/ 91 h 91"/>
                  <a:gd name="T28" fmla="*/ 26 w 46"/>
                  <a:gd name="T29" fmla="*/ 89 h 91"/>
                  <a:gd name="T30" fmla="*/ 27 w 46"/>
                  <a:gd name="T31" fmla="*/ 86 h 91"/>
                  <a:gd name="T32" fmla="*/ 28 w 46"/>
                  <a:gd name="T33" fmla="*/ 81 h 91"/>
                  <a:gd name="T34" fmla="*/ 32 w 46"/>
                  <a:gd name="T35" fmla="*/ 78 h 91"/>
                  <a:gd name="T36" fmla="*/ 36 w 46"/>
                  <a:gd name="T37" fmla="*/ 78 h 91"/>
                  <a:gd name="T38" fmla="*/ 37 w 46"/>
                  <a:gd name="T39" fmla="*/ 74 h 91"/>
                  <a:gd name="T40" fmla="*/ 40 w 46"/>
                  <a:gd name="T41" fmla="*/ 67 h 91"/>
                  <a:gd name="T42" fmla="*/ 46 w 46"/>
                  <a:gd name="T43" fmla="*/ 62 h 91"/>
                  <a:gd name="T44" fmla="*/ 46 w 46"/>
                  <a:gd name="T45" fmla="*/ 61 h 91"/>
                  <a:gd name="T46" fmla="*/ 45 w 46"/>
                  <a:gd name="T47" fmla="*/ 57 h 91"/>
                  <a:gd name="T48" fmla="*/ 43 w 46"/>
                  <a:gd name="T49" fmla="*/ 58 h 91"/>
                  <a:gd name="T50" fmla="*/ 37 w 46"/>
                  <a:gd name="T51" fmla="*/ 50 h 91"/>
                  <a:gd name="T52" fmla="*/ 36 w 46"/>
                  <a:gd name="T53" fmla="*/ 49 h 91"/>
                  <a:gd name="T54" fmla="*/ 32 w 46"/>
                  <a:gd name="T55" fmla="*/ 43 h 91"/>
                  <a:gd name="T56" fmla="*/ 33 w 46"/>
                  <a:gd name="T57" fmla="*/ 37 h 91"/>
                  <a:gd name="T58" fmla="*/ 30 w 46"/>
                  <a:gd name="T59" fmla="*/ 32 h 91"/>
                  <a:gd name="T60" fmla="*/ 33 w 46"/>
                  <a:gd name="T61" fmla="*/ 28 h 91"/>
                  <a:gd name="T62" fmla="*/ 33 w 46"/>
                  <a:gd name="T63" fmla="*/ 25 h 91"/>
                  <a:gd name="T64" fmla="*/ 33 w 46"/>
                  <a:gd name="T65" fmla="*/ 24 h 91"/>
                  <a:gd name="T66" fmla="*/ 34 w 46"/>
                  <a:gd name="T67" fmla="*/ 21 h 91"/>
                  <a:gd name="T68" fmla="*/ 33 w 46"/>
                  <a:gd name="T69" fmla="*/ 17 h 91"/>
                  <a:gd name="T70" fmla="*/ 32 w 46"/>
                  <a:gd name="T71" fmla="*/ 11 h 91"/>
                  <a:gd name="T72" fmla="*/ 31 w 46"/>
                  <a:gd name="T73" fmla="*/ 10 h 91"/>
                  <a:gd name="T74" fmla="*/ 28 w 46"/>
                  <a:gd name="T75" fmla="*/ 7 h 91"/>
                  <a:gd name="T76" fmla="*/ 27 w 46"/>
                  <a:gd name="T77" fmla="*/ 6 h 91"/>
                  <a:gd name="T78" fmla="*/ 25 w 46"/>
                  <a:gd name="T79" fmla="*/ 4 h 91"/>
                  <a:gd name="T80" fmla="*/ 22 w 46"/>
                  <a:gd name="T81" fmla="*/ 2 h 91"/>
                  <a:gd name="T82" fmla="*/ 16 w 46"/>
                  <a:gd name="T83" fmla="*/ 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 h="91">
                    <a:moveTo>
                      <a:pt x="11" y="0"/>
                    </a:moveTo>
                    <a:cubicBezTo>
                      <a:pt x="10" y="1"/>
                      <a:pt x="10" y="3"/>
                      <a:pt x="9" y="4"/>
                    </a:cubicBezTo>
                    <a:cubicBezTo>
                      <a:pt x="8" y="4"/>
                      <a:pt x="8" y="4"/>
                      <a:pt x="8" y="4"/>
                    </a:cubicBezTo>
                    <a:cubicBezTo>
                      <a:pt x="8" y="5"/>
                      <a:pt x="7" y="6"/>
                      <a:pt x="7" y="7"/>
                    </a:cubicBezTo>
                    <a:cubicBezTo>
                      <a:pt x="6" y="7"/>
                      <a:pt x="6" y="8"/>
                      <a:pt x="5" y="8"/>
                    </a:cubicBezTo>
                    <a:cubicBezTo>
                      <a:pt x="5" y="9"/>
                      <a:pt x="5" y="9"/>
                      <a:pt x="5" y="9"/>
                    </a:cubicBezTo>
                    <a:cubicBezTo>
                      <a:pt x="7" y="12"/>
                      <a:pt x="6" y="15"/>
                      <a:pt x="6" y="17"/>
                    </a:cubicBezTo>
                    <a:cubicBezTo>
                      <a:pt x="6" y="18"/>
                      <a:pt x="6" y="19"/>
                      <a:pt x="6" y="19"/>
                    </a:cubicBezTo>
                    <a:cubicBezTo>
                      <a:pt x="6" y="20"/>
                      <a:pt x="6" y="20"/>
                      <a:pt x="6" y="20"/>
                    </a:cubicBezTo>
                    <a:cubicBezTo>
                      <a:pt x="6" y="20"/>
                      <a:pt x="6" y="20"/>
                      <a:pt x="6" y="20"/>
                    </a:cubicBezTo>
                    <a:cubicBezTo>
                      <a:pt x="6" y="21"/>
                      <a:pt x="6" y="21"/>
                      <a:pt x="6" y="22"/>
                    </a:cubicBezTo>
                    <a:cubicBezTo>
                      <a:pt x="8" y="22"/>
                      <a:pt x="8" y="23"/>
                      <a:pt x="8" y="26"/>
                    </a:cubicBezTo>
                    <a:cubicBezTo>
                      <a:pt x="8" y="27"/>
                      <a:pt x="9" y="30"/>
                      <a:pt x="8" y="30"/>
                    </a:cubicBezTo>
                    <a:cubicBezTo>
                      <a:pt x="7" y="30"/>
                      <a:pt x="7" y="30"/>
                      <a:pt x="7" y="30"/>
                    </a:cubicBezTo>
                    <a:cubicBezTo>
                      <a:pt x="7" y="30"/>
                      <a:pt x="7" y="30"/>
                      <a:pt x="7" y="30"/>
                    </a:cubicBezTo>
                    <a:cubicBezTo>
                      <a:pt x="4" y="30"/>
                      <a:pt x="5" y="33"/>
                      <a:pt x="4" y="37"/>
                    </a:cubicBezTo>
                    <a:cubicBezTo>
                      <a:pt x="3" y="36"/>
                      <a:pt x="3" y="36"/>
                      <a:pt x="3" y="36"/>
                    </a:cubicBezTo>
                    <a:cubicBezTo>
                      <a:pt x="6" y="41"/>
                      <a:pt x="7" y="41"/>
                      <a:pt x="6" y="46"/>
                    </a:cubicBezTo>
                    <a:cubicBezTo>
                      <a:pt x="5" y="49"/>
                      <a:pt x="5" y="51"/>
                      <a:pt x="5" y="54"/>
                    </a:cubicBezTo>
                    <a:cubicBezTo>
                      <a:pt x="3" y="54"/>
                      <a:pt x="0" y="60"/>
                      <a:pt x="1" y="63"/>
                    </a:cubicBezTo>
                    <a:cubicBezTo>
                      <a:pt x="3" y="66"/>
                      <a:pt x="4" y="69"/>
                      <a:pt x="5" y="73"/>
                    </a:cubicBezTo>
                    <a:cubicBezTo>
                      <a:pt x="4" y="73"/>
                      <a:pt x="1" y="70"/>
                      <a:pt x="1" y="70"/>
                    </a:cubicBezTo>
                    <a:cubicBezTo>
                      <a:pt x="1" y="70"/>
                      <a:pt x="1" y="70"/>
                      <a:pt x="1" y="70"/>
                    </a:cubicBezTo>
                    <a:cubicBezTo>
                      <a:pt x="3" y="75"/>
                      <a:pt x="7" y="76"/>
                      <a:pt x="11" y="79"/>
                    </a:cubicBezTo>
                    <a:cubicBezTo>
                      <a:pt x="15" y="81"/>
                      <a:pt x="16" y="82"/>
                      <a:pt x="18" y="86"/>
                    </a:cubicBezTo>
                    <a:cubicBezTo>
                      <a:pt x="18" y="88"/>
                      <a:pt x="19" y="89"/>
                      <a:pt x="20" y="91"/>
                    </a:cubicBezTo>
                    <a:cubicBezTo>
                      <a:pt x="23" y="91"/>
                      <a:pt x="23" y="91"/>
                      <a:pt x="23" y="91"/>
                    </a:cubicBezTo>
                    <a:cubicBezTo>
                      <a:pt x="24" y="91"/>
                      <a:pt x="24" y="91"/>
                      <a:pt x="24" y="91"/>
                    </a:cubicBezTo>
                    <a:cubicBezTo>
                      <a:pt x="24" y="91"/>
                      <a:pt x="25" y="91"/>
                      <a:pt x="25" y="91"/>
                    </a:cubicBezTo>
                    <a:cubicBezTo>
                      <a:pt x="25" y="90"/>
                      <a:pt x="26" y="89"/>
                      <a:pt x="26" y="89"/>
                    </a:cubicBezTo>
                    <a:cubicBezTo>
                      <a:pt x="26" y="88"/>
                      <a:pt x="27" y="88"/>
                      <a:pt x="27" y="88"/>
                    </a:cubicBezTo>
                    <a:cubicBezTo>
                      <a:pt x="27" y="87"/>
                      <a:pt x="27" y="87"/>
                      <a:pt x="27" y="86"/>
                    </a:cubicBezTo>
                    <a:cubicBezTo>
                      <a:pt x="27" y="86"/>
                      <a:pt x="26" y="85"/>
                      <a:pt x="26" y="84"/>
                    </a:cubicBezTo>
                    <a:cubicBezTo>
                      <a:pt x="27" y="82"/>
                      <a:pt x="28" y="81"/>
                      <a:pt x="28" y="81"/>
                    </a:cubicBezTo>
                    <a:cubicBezTo>
                      <a:pt x="29" y="81"/>
                      <a:pt x="29" y="80"/>
                      <a:pt x="29" y="80"/>
                    </a:cubicBezTo>
                    <a:cubicBezTo>
                      <a:pt x="30" y="79"/>
                      <a:pt x="31" y="78"/>
                      <a:pt x="32" y="78"/>
                    </a:cubicBezTo>
                    <a:cubicBezTo>
                      <a:pt x="33" y="78"/>
                      <a:pt x="34" y="77"/>
                      <a:pt x="35" y="77"/>
                    </a:cubicBezTo>
                    <a:cubicBezTo>
                      <a:pt x="35" y="77"/>
                      <a:pt x="35" y="77"/>
                      <a:pt x="36" y="78"/>
                    </a:cubicBezTo>
                    <a:cubicBezTo>
                      <a:pt x="36" y="78"/>
                      <a:pt x="36" y="78"/>
                      <a:pt x="36" y="78"/>
                    </a:cubicBezTo>
                    <a:cubicBezTo>
                      <a:pt x="36" y="77"/>
                      <a:pt x="37" y="75"/>
                      <a:pt x="37" y="74"/>
                    </a:cubicBezTo>
                    <a:cubicBezTo>
                      <a:pt x="37" y="74"/>
                      <a:pt x="37" y="74"/>
                      <a:pt x="37" y="74"/>
                    </a:cubicBezTo>
                    <a:cubicBezTo>
                      <a:pt x="38" y="71"/>
                      <a:pt x="39" y="69"/>
                      <a:pt x="40" y="67"/>
                    </a:cubicBezTo>
                    <a:cubicBezTo>
                      <a:pt x="42" y="65"/>
                      <a:pt x="44" y="63"/>
                      <a:pt x="45" y="63"/>
                    </a:cubicBezTo>
                    <a:cubicBezTo>
                      <a:pt x="46" y="62"/>
                      <a:pt x="46" y="62"/>
                      <a:pt x="46" y="62"/>
                    </a:cubicBezTo>
                    <a:cubicBezTo>
                      <a:pt x="46" y="62"/>
                      <a:pt x="46" y="62"/>
                      <a:pt x="46" y="62"/>
                    </a:cubicBezTo>
                    <a:cubicBezTo>
                      <a:pt x="46" y="62"/>
                      <a:pt x="46" y="62"/>
                      <a:pt x="46" y="61"/>
                    </a:cubicBezTo>
                    <a:cubicBezTo>
                      <a:pt x="45" y="59"/>
                      <a:pt x="45" y="58"/>
                      <a:pt x="45" y="57"/>
                    </a:cubicBezTo>
                    <a:cubicBezTo>
                      <a:pt x="45" y="57"/>
                      <a:pt x="45" y="57"/>
                      <a:pt x="45" y="57"/>
                    </a:cubicBezTo>
                    <a:cubicBezTo>
                      <a:pt x="45" y="57"/>
                      <a:pt x="45" y="57"/>
                      <a:pt x="45" y="57"/>
                    </a:cubicBezTo>
                    <a:cubicBezTo>
                      <a:pt x="43" y="58"/>
                      <a:pt x="43" y="58"/>
                      <a:pt x="43" y="58"/>
                    </a:cubicBezTo>
                    <a:cubicBezTo>
                      <a:pt x="40" y="53"/>
                      <a:pt x="40" y="53"/>
                      <a:pt x="40" y="53"/>
                    </a:cubicBezTo>
                    <a:cubicBezTo>
                      <a:pt x="39" y="52"/>
                      <a:pt x="38" y="51"/>
                      <a:pt x="37" y="50"/>
                    </a:cubicBezTo>
                    <a:cubicBezTo>
                      <a:pt x="37" y="50"/>
                      <a:pt x="37" y="50"/>
                      <a:pt x="37" y="50"/>
                    </a:cubicBezTo>
                    <a:cubicBezTo>
                      <a:pt x="36" y="49"/>
                      <a:pt x="36" y="49"/>
                      <a:pt x="36" y="49"/>
                    </a:cubicBezTo>
                    <a:cubicBezTo>
                      <a:pt x="35" y="48"/>
                      <a:pt x="33" y="46"/>
                      <a:pt x="32" y="44"/>
                    </a:cubicBezTo>
                    <a:cubicBezTo>
                      <a:pt x="32" y="43"/>
                      <a:pt x="32" y="43"/>
                      <a:pt x="32" y="43"/>
                    </a:cubicBezTo>
                    <a:cubicBezTo>
                      <a:pt x="31" y="40"/>
                      <a:pt x="32" y="38"/>
                      <a:pt x="33" y="37"/>
                    </a:cubicBezTo>
                    <a:cubicBezTo>
                      <a:pt x="33" y="37"/>
                      <a:pt x="33" y="37"/>
                      <a:pt x="33" y="37"/>
                    </a:cubicBezTo>
                    <a:cubicBezTo>
                      <a:pt x="33" y="36"/>
                      <a:pt x="33" y="36"/>
                      <a:pt x="32" y="36"/>
                    </a:cubicBezTo>
                    <a:cubicBezTo>
                      <a:pt x="31" y="34"/>
                      <a:pt x="31" y="33"/>
                      <a:pt x="30" y="32"/>
                    </a:cubicBezTo>
                    <a:cubicBezTo>
                      <a:pt x="29" y="28"/>
                      <a:pt x="29" y="28"/>
                      <a:pt x="29" y="28"/>
                    </a:cubicBezTo>
                    <a:cubicBezTo>
                      <a:pt x="33" y="28"/>
                      <a:pt x="33" y="28"/>
                      <a:pt x="33" y="28"/>
                    </a:cubicBezTo>
                    <a:cubicBezTo>
                      <a:pt x="33" y="27"/>
                      <a:pt x="33" y="27"/>
                      <a:pt x="33" y="27"/>
                    </a:cubicBezTo>
                    <a:cubicBezTo>
                      <a:pt x="33" y="26"/>
                      <a:pt x="33" y="26"/>
                      <a:pt x="33" y="25"/>
                    </a:cubicBezTo>
                    <a:cubicBezTo>
                      <a:pt x="33" y="24"/>
                      <a:pt x="33" y="24"/>
                      <a:pt x="33" y="24"/>
                    </a:cubicBezTo>
                    <a:cubicBezTo>
                      <a:pt x="33" y="24"/>
                      <a:pt x="33" y="24"/>
                      <a:pt x="33" y="24"/>
                    </a:cubicBezTo>
                    <a:cubicBezTo>
                      <a:pt x="33" y="24"/>
                      <a:pt x="33" y="24"/>
                      <a:pt x="33" y="24"/>
                    </a:cubicBezTo>
                    <a:cubicBezTo>
                      <a:pt x="34" y="21"/>
                      <a:pt x="34" y="21"/>
                      <a:pt x="34" y="21"/>
                    </a:cubicBezTo>
                    <a:cubicBezTo>
                      <a:pt x="34" y="20"/>
                      <a:pt x="34" y="20"/>
                      <a:pt x="34" y="20"/>
                    </a:cubicBezTo>
                    <a:cubicBezTo>
                      <a:pt x="33" y="17"/>
                      <a:pt x="33" y="17"/>
                      <a:pt x="33" y="17"/>
                    </a:cubicBezTo>
                    <a:cubicBezTo>
                      <a:pt x="33" y="17"/>
                      <a:pt x="33" y="16"/>
                      <a:pt x="33" y="16"/>
                    </a:cubicBezTo>
                    <a:cubicBezTo>
                      <a:pt x="33" y="14"/>
                      <a:pt x="33" y="12"/>
                      <a:pt x="32" y="11"/>
                    </a:cubicBezTo>
                    <a:cubicBezTo>
                      <a:pt x="32" y="11"/>
                      <a:pt x="32" y="11"/>
                      <a:pt x="32" y="11"/>
                    </a:cubicBezTo>
                    <a:cubicBezTo>
                      <a:pt x="32" y="10"/>
                      <a:pt x="31" y="10"/>
                      <a:pt x="31" y="10"/>
                    </a:cubicBezTo>
                    <a:cubicBezTo>
                      <a:pt x="31" y="9"/>
                      <a:pt x="30" y="9"/>
                      <a:pt x="30" y="9"/>
                    </a:cubicBezTo>
                    <a:cubicBezTo>
                      <a:pt x="29" y="8"/>
                      <a:pt x="28" y="8"/>
                      <a:pt x="28" y="7"/>
                    </a:cubicBezTo>
                    <a:cubicBezTo>
                      <a:pt x="27" y="7"/>
                      <a:pt x="27" y="7"/>
                      <a:pt x="27" y="7"/>
                    </a:cubicBezTo>
                    <a:cubicBezTo>
                      <a:pt x="27" y="6"/>
                      <a:pt x="27" y="6"/>
                      <a:pt x="27" y="6"/>
                    </a:cubicBezTo>
                    <a:cubicBezTo>
                      <a:pt x="26" y="6"/>
                      <a:pt x="26" y="6"/>
                      <a:pt x="25" y="5"/>
                    </a:cubicBezTo>
                    <a:cubicBezTo>
                      <a:pt x="25" y="4"/>
                      <a:pt x="25" y="4"/>
                      <a:pt x="25" y="4"/>
                    </a:cubicBezTo>
                    <a:cubicBezTo>
                      <a:pt x="24" y="4"/>
                      <a:pt x="24" y="3"/>
                      <a:pt x="23" y="3"/>
                    </a:cubicBezTo>
                    <a:cubicBezTo>
                      <a:pt x="22" y="2"/>
                      <a:pt x="22" y="2"/>
                      <a:pt x="22" y="2"/>
                    </a:cubicBezTo>
                    <a:cubicBezTo>
                      <a:pt x="22" y="1"/>
                      <a:pt x="22" y="1"/>
                      <a:pt x="22" y="1"/>
                    </a:cubicBezTo>
                    <a:cubicBezTo>
                      <a:pt x="20" y="2"/>
                      <a:pt x="18" y="3"/>
                      <a:pt x="16" y="3"/>
                    </a:cubicBezTo>
                    <a:cubicBezTo>
                      <a:pt x="14" y="3"/>
                      <a:pt x="13" y="2"/>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68" name="Freeform 296">
                <a:extLst>
                  <a:ext uri="{FF2B5EF4-FFF2-40B4-BE49-F238E27FC236}">
                    <a16:creationId xmlns:a16="http://schemas.microsoft.com/office/drawing/2014/main" id="{C4F1CCF4-C619-4749-9448-BD25CCB8CF30}"/>
                  </a:ext>
                </a:extLst>
              </p:cNvPr>
              <p:cNvSpPr>
                <a:spLocks/>
              </p:cNvSpPr>
              <p:nvPr/>
            </p:nvSpPr>
            <p:spPr bwMode="auto">
              <a:xfrm>
                <a:off x="6176254" y="4768540"/>
                <a:ext cx="132664" cy="125294"/>
              </a:xfrm>
              <a:custGeom>
                <a:avLst/>
                <a:gdLst>
                  <a:gd name="T0" fmla="*/ 17 w 41"/>
                  <a:gd name="T1" fmla="*/ 0 h 40"/>
                  <a:gd name="T2" fmla="*/ 18 w 41"/>
                  <a:gd name="T3" fmla="*/ 5 h 40"/>
                  <a:gd name="T4" fmla="*/ 14 w 41"/>
                  <a:gd name="T5" fmla="*/ 9 h 40"/>
                  <a:gd name="T6" fmla="*/ 11 w 41"/>
                  <a:gd name="T7" fmla="*/ 9 h 40"/>
                  <a:gd name="T8" fmla="*/ 11 w 41"/>
                  <a:gd name="T9" fmla="*/ 10 h 40"/>
                  <a:gd name="T10" fmla="*/ 11 w 41"/>
                  <a:gd name="T11" fmla="*/ 10 h 40"/>
                  <a:gd name="T12" fmla="*/ 11 w 41"/>
                  <a:gd name="T13" fmla="*/ 11 h 40"/>
                  <a:gd name="T14" fmla="*/ 13 w 41"/>
                  <a:gd name="T15" fmla="*/ 13 h 40"/>
                  <a:gd name="T16" fmla="*/ 6 w 41"/>
                  <a:gd name="T17" fmla="*/ 15 h 40"/>
                  <a:gd name="T18" fmla="*/ 2 w 41"/>
                  <a:gd name="T19" fmla="*/ 16 h 40"/>
                  <a:gd name="T20" fmla="*/ 0 w 41"/>
                  <a:gd name="T21" fmla="*/ 16 h 40"/>
                  <a:gd name="T22" fmla="*/ 0 w 41"/>
                  <a:gd name="T23" fmla="*/ 19 h 40"/>
                  <a:gd name="T24" fmla="*/ 1 w 41"/>
                  <a:gd name="T25" fmla="*/ 20 h 40"/>
                  <a:gd name="T26" fmla="*/ 7 w 41"/>
                  <a:gd name="T27" fmla="*/ 27 h 40"/>
                  <a:gd name="T28" fmla="*/ 10 w 41"/>
                  <a:gd name="T29" fmla="*/ 29 h 40"/>
                  <a:gd name="T30" fmla="*/ 11 w 41"/>
                  <a:gd name="T31" fmla="*/ 30 h 40"/>
                  <a:gd name="T32" fmla="*/ 11 w 41"/>
                  <a:gd name="T33" fmla="*/ 30 h 40"/>
                  <a:gd name="T34" fmla="*/ 12 w 41"/>
                  <a:gd name="T35" fmla="*/ 31 h 40"/>
                  <a:gd name="T36" fmla="*/ 13 w 41"/>
                  <a:gd name="T37" fmla="*/ 33 h 40"/>
                  <a:gd name="T38" fmla="*/ 14 w 41"/>
                  <a:gd name="T39" fmla="*/ 39 h 40"/>
                  <a:gd name="T40" fmla="*/ 14 w 41"/>
                  <a:gd name="T41" fmla="*/ 40 h 40"/>
                  <a:gd name="T42" fmla="*/ 15 w 41"/>
                  <a:gd name="T43" fmla="*/ 38 h 40"/>
                  <a:gd name="T44" fmla="*/ 18 w 41"/>
                  <a:gd name="T45" fmla="*/ 35 h 40"/>
                  <a:gd name="T46" fmla="*/ 19 w 41"/>
                  <a:gd name="T47" fmla="*/ 34 h 40"/>
                  <a:gd name="T48" fmla="*/ 21 w 41"/>
                  <a:gd name="T49" fmla="*/ 32 h 40"/>
                  <a:gd name="T50" fmla="*/ 21 w 41"/>
                  <a:gd name="T51" fmla="*/ 32 h 40"/>
                  <a:gd name="T52" fmla="*/ 20 w 41"/>
                  <a:gd name="T53" fmla="*/ 24 h 40"/>
                  <a:gd name="T54" fmla="*/ 23 w 41"/>
                  <a:gd name="T55" fmla="*/ 31 h 40"/>
                  <a:gd name="T56" fmla="*/ 24 w 41"/>
                  <a:gd name="T57" fmla="*/ 31 h 40"/>
                  <a:gd name="T58" fmla="*/ 24 w 41"/>
                  <a:gd name="T59" fmla="*/ 31 h 40"/>
                  <a:gd name="T60" fmla="*/ 25 w 41"/>
                  <a:gd name="T61" fmla="*/ 31 h 40"/>
                  <a:gd name="T62" fmla="*/ 29 w 41"/>
                  <a:gd name="T63" fmla="*/ 33 h 40"/>
                  <a:gd name="T64" fmla="*/ 30 w 41"/>
                  <a:gd name="T65" fmla="*/ 33 h 40"/>
                  <a:gd name="T66" fmla="*/ 33 w 41"/>
                  <a:gd name="T67" fmla="*/ 29 h 40"/>
                  <a:gd name="T68" fmla="*/ 36 w 41"/>
                  <a:gd name="T69" fmla="*/ 28 h 40"/>
                  <a:gd name="T70" fmla="*/ 37 w 41"/>
                  <a:gd name="T71" fmla="*/ 28 h 40"/>
                  <a:gd name="T72" fmla="*/ 37 w 41"/>
                  <a:gd name="T73" fmla="*/ 27 h 40"/>
                  <a:gd name="T74" fmla="*/ 39 w 41"/>
                  <a:gd name="T75" fmla="*/ 25 h 40"/>
                  <a:gd name="T76" fmla="*/ 41 w 41"/>
                  <a:gd name="T77" fmla="*/ 20 h 40"/>
                  <a:gd name="T78" fmla="*/ 41 w 41"/>
                  <a:gd name="T79" fmla="*/ 20 h 40"/>
                  <a:gd name="T80" fmla="*/ 34 w 41"/>
                  <a:gd name="T81" fmla="*/ 16 h 40"/>
                  <a:gd name="T82" fmla="*/ 33 w 41"/>
                  <a:gd name="T83" fmla="*/ 12 h 40"/>
                  <a:gd name="T84" fmla="*/ 32 w 41"/>
                  <a:gd name="T85" fmla="*/ 12 h 40"/>
                  <a:gd name="T86" fmla="*/ 32 w 41"/>
                  <a:gd name="T87" fmla="*/ 10 h 40"/>
                  <a:gd name="T88" fmla="*/ 31 w 41"/>
                  <a:gd name="T89" fmla="*/ 10 h 40"/>
                  <a:gd name="T90" fmla="*/ 24 w 41"/>
                  <a:gd name="T91" fmla="*/ 1 h 40"/>
                  <a:gd name="T92" fmla="*/ 21 w 41"/>
                  <a:gd name="T93" fmla="*/ 0 h 40"/>
                  <a:gd name="T94" fmla="*/ 19 w 41"/>
                  <a:gd name="T95" fmla="*/ 0 h 40"/>
                  <a:gd name="T96" fmla="*/ 18 w 41"/>
                  <a:gd name="T97" fmla="*/ 0 h 40"/>
                  <a:gd name="T98" fmla="*/ 17 w 41"/>
                  <a:gd name="T9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40">
                    <a:moveTo>
                      <a:pt x="17" y="0"/>
                    </a:moveTo>
                    <a:cubicBezTo>
                      <a:pt x="18" y="1"/>
                      <a:pt x="19" y="3"/>
                      <a:pt x="18" y="5"/>
                    </a:cubicBezTo>
                    <a:cubicBezTo>
                      <a:pt x="18" y="7"/>
                      <a:pt x="15" y="8"/>
                      <a:pt x="14" y="9"/>
                    </a:cubicBezTo>
                    <a:cubicBezTo>
                      <a:pt x="13" y="9"/>
                      <a:pt x="12" y="9"/>
                      <a:pt x="11" y="9"/>
                    </a:cubicBezTo>
                    <a:cubicBezTo>
                      <a:pt x="11" y="10"/>
                      <a:pt x="11" y="10"/>
                      <a:pt x="11" y="10"/>
                    </a:cubicBezTo>
                    <a:cubicBezTo>
                      <a:pt x="11" y="10"/>
                      <a:pt x="11" y="10"/>
                      <a:pt x="11" y="10"/>
                    </a:cubicBezTo>
                    <a:cubicBezTo>
                      <a:pt x="11" y="11"/>
                      <a:pt x="11" y="11"/>
                      <a:pt x="11" y="11"/>
                    </a:cubicBezTo>
                    <a:cubicBezTo>
                      <a:pt x="13" y="13"/>
                      <a:pt x="13" y="13"/>
                      <a:pt x="13" y="13"/>
                    </a:cubicBezTo>
                    <a:cubicBezTo>
                      <a:pt x="6" y="15"/>
                      <a:pt x="6" y="15"/>
                      <a:pt x="6" y="15"/>
                    </a:cubicBezTo>
                    <a:cubicBezTo>
                      <a:pt x="5" y="15"/>
                      <a:pt x="4" y="16"/>
                      <a:pt x="2" y="16"/>
                    </a:cubicBezTo>
                    <a:cubicBezTo>
                      <a:pt x="1" y="16"/>
                      <a:pt x="0" y="16"/>
                      <a:pt x="0" y="16"/>
                    </a:cubicBezTo>
                    <a:cubicBezTo>
                      <a:pt x="0" y="17"/>
                      <a:pt x="0" y="19"/>
                      <a:pt x="0" y="19"/>
                    </a:cubicBezTo>
                    <a:cubicBezTo>
                      <a:pt x="1" y="20"/>
                      <a:pt x="1" y="20"/>
                      <a:pt x="1" y="20"/>
                    </a:cubicBezTo>
                    <a:cubicBezTo>
                      <a:pt x="2" y="22"/>
                      <a:pt x="6" y="26"/>
                      <a:pt x="7" y="27"/>
                    </a:cubicBezTo>
                    <a:cubicBezTo>
                      <a:pt x="9" y="27"/>
                      <a:pt x="9" y="28"/>
                      <a:pt x="10" y="29"/>
                    </a:cubicBezTo>
                    <a:cubicBezTo>
                      <a:pt x="11" y="29"/>
                      <a:pt x="11" y="30"/>
                      <a:pt x="11" y="30"/>
                    </a:cubicBezTo>
                    <a:cubicBezTo>
                      <a:pt x="11" y="30"/>
                      <a:pt x="11" y="30"/>
                      <a:pt x="11" y="30"/>
                    </a:cubicBezTo>
                    <a:cubicBezTo>
                      <a:pt x="12" y="31"/>
                      <a:pt x="12" y="31"/>
                      <a:pt x="12" y="31"/>
                    </a:cubicBezTo>
                    <a:cubicBezTo>
                      <a:pt x="12" y="31"/>
                      <a:pt x="13" y="32"/>
                      <a:pt x="13" y="33"/>
                    </a:cubicBezTo>
                    <a:cubicBezTo>
                      <a:pt x="14" y="35"/>
                      <a:pt x="14" y="37"/>
                      <a:pt x="14" y="39"/>
                    </a:cubicBezTo>
                    <a:cubicBezTo>
                      <a:pt x="14" y="39"/>
                      <a:pt x="14" y="40"/>
                      <a:pt x="14" y="40"/>
                    </a:cubicBezTo>
                    <a:cubicBezTo>
                      <a:pt x="15" y="39"/>
                      <a:pt x="15" y="39"/>
                      <a:pt x="15" y="38"/>
                    </a:cubicBezTo>
                    <a:cubicBezTo>
                      <a:pt x="16" y="37"/>
                      <a:pt x="17" y="36"/>
                      <a:pt x="18" y="35"/>
                    </a:cubicBezTo>
                    <a:cubicBezTo>
                      <a:pt x="18" y="34"/>
                      <a:pt x="18" y="34"/>
                      <a:pt x="19" y="34"/>
                    </a:cubicBezTo>
                    <a:cubicBezTo>
                      <a:pt x="19" y="33"/>
                      <a:pt x="20" y="33"/>
                      <a:pt x="21" y="32"/>
                    </a:cubicBezTo>
                    <a:cubicBezTo>
                      <a:pt x="21" y="32"/>
                      <a:pt x="21" y="32"/>
                      <a:pt x="21" y="32"/>
                    </a:cubicBezTo>
                    <a:cubicBezTo>
                      <a:pt x="20" y="24"/>
                      <a:pt x="20" y="24"/>
                      <a:pt x="20" y="24"/>
                    </a:cubicBezTo>
                    <a:cubicBezTo>
                      <a:pt x="23" y="31"/>
                      <a:pt x="23" y="31"/>
                      <a:pt x="23" y="31"/>
                    </a:cubicBezTo>
                    <a:cubicBezTo>
                      <a:pt x="24" y="31"/>
                      <a:pt x="24" y="31"/>
                      <a:pt x="24" y="31"/>
                    </a:cubicBezTo>
                    <a:cubicBezTo>
                      <a:pt x="24" y="31"/>
                      <a:pt x="24" y="31"/>
                      <a:pt x="24" y="31"/>
                    </a:cubicBezTo>
                    <a:cubicBezTo>
                      <a:pt x="24" y="31"/>
                      <a:pt x="25" y="31"/>
                      <a:pt x="25" y="31"/>
                    </a:cubicBezTo>
                    <a:cubicBezTo>
                      <a:pt x="27" y="32"/>
                      <a:pt x="28" y="32"/>
                      <a:pt x="29" y="33"/>
                    </a:cubicBezTo>
                    <a:cubicBezTo>
                      <a:pt x="30" y="33"/>
                      <a:pt x="30" y="33"/>
                      <a:pt x="30" y="33"/>
                    </a:cubicBezTo>
                    <a:cubicBezTo>
                      <a:pt x="30" y="32"/>
                      <a:pt x="31" y="30"/>
                      <a:pt x="33" y="29"/>
                    </a:cubicBezTo>
                    <a:cubicBezTo>
                      <a:pt x="34" y="29"/>
                      <a:pt x="35" y="29"/>
                      <a:pt x="36" y="28"/>
                    </a:cubicBezTo>
                    <a:cubicBezTo>
                      <a:pt x="37" y="28"/>
                      <a:pt x="37" y="28"/>
                      <a:pt x="37" y="28"/>
                    </a:cubicBezTo>
                    <a:cubicBezTo>
                      <a:pt x="37" y="27"/>
                      <a:pt x="37" y="27"/>
                      <a:pt x="37" y="27"/>
                    </a:cubicBezTo>
                    <a:cubicBezTo>
                      <a:pt x="37" y="27"/>
                      <a:pt x="38" y="26"/>
                      <a:pt x="39" y="25"/>
                    </a:cubicBezTo>
                    <a:cubicBezTo>
                      <a:pt x="40" y="23"/>
                      <a:pt x="41" y="21"/>
                      <a:pt x="41" y="20"/>
                    </a:cubicBezTo>
                    <a:cubicBezTo>
                      <a:pt x="41" y="20"/>
                      <a:pt x="41" y="20"/>
                      <a:pt x="41" y="20"/>
                    </a:cubicBezTo>
                    <a:cubicBezTo>
                      <a:pt x="39" y="20"/>
                      <a:pt x="36" y="19"/>
                      <a:pt x="34" y="16"/>
                    </a:cubicBezTo>
                    <a:cubicBezTo>
                      <a:pt x="33" y="15"/>
                      <a:pt x="33" y="13"/>
                      <a:pt x="33" y="12"/>
                    </a:cubicBezTo>
                    <a:cubicBezTo>
                      <a:pt x="32" y="12"/>
                      <a:pt x="32" y="12"/>
                      <a:pt x="32" y="12"/>
                    </a:cubicBezTo>
                    <a:cubicBezTo>
                      <a:pt x="32" y="11"/>
                      <a:pt x="32" y="10"/>
                      <a:pt x="32" y="10"/>
                    </a:cubicBezTo>
                    <a:cubicBezTo>
                      <a:pt x="32" y="10"/>
                      <a:pt x="32" y="10"/>
                      <a:pt x="31" y="10"/>
                    </a:cubicBezTo>
                    <a:cubicBezTo>
                      <a:pt x="27" y="9"/>
                      <a:pt x="24" y="6"/>
                      <a:pt x="24" y="1"/>
                    </a:cubicBezTo>
                    <a:cubicBezTo>
                      <a:pt x="23" y="1"/>
                      <a:pt x="23" y="1"/>
                      <a:pt x="21" y="0"/>
                    </a:cubicBezTo>
                    <a:cubicBezTo>
                      <a:pt x="21" y="0"/>
                      <a:pt x="20" y="0"/>
                      <a:pt x="19" y="0"/>
                    </a:cubicBezTo>
                    <a:cubicBezTo>
                      <a:pt x="18" y="0"/>
                      <a:pt x="18" y="0"/>
                      <a:pt x="18" y="0"/>
                    </a:cubicBezTo>
                    <a:cubicBezTo>
                      <a:pt x="18" y="0"/>
                      <a:pt x="17"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69" name="Freeform 297">
                <a:extLst>
                  <a:ext uri="{FF2B5EF4-FFF2-40B4-BE49-F238E27FC236}">
                    <a16:creationId xmlns:a16="http://schemas.microsoft.com/office/drawing/2014/main" id="{BAA3E2EB-8028-409A-AA3D-6F3FA3AE7BB1}"/>
                  </a:ext>
                </a:extLst>
              </p:cNvPr>
              <p:cNvSpPr>
                <a:spLocks/>
              </p:cNvSpPr>
              <p:nvPr/>
            </p:nvSpPr>
            <p:spPr bwMode="auto">
              <a:xfrm>
                <a:off x="6220475" y="4871724"/>
                <a:ext cx="202681" cy="140034"/>
              </a:xfrm>
              <a:custGeom>
                <a:avLst/>
                <a:gdLst>
                  <a:gd name="T0" fmla="*/ 41 w 64"/>
                  <a:gd name="T1" fmla="*/ 1 h 43"/>
                  <a:gd name="T2" fmla="*/ 33 w 64"/>
                  <a:gd name="T3" fmla="*/ 2 h 43"/>
                  <a:gd name="T4" fmla="*/ 29 w 64"/>
                  <a:gd name="T5" fmla="*/ 2 h 43"/>
                  <a:gd name="T6" fmla="*/ 26 w 64"/>
                  <a:gd name="T7" fmla="*/ 2 h 43"/>
                  <a:gd name="T8" fmla="*/ 24 w 64"/>
                  <a:gd name="T9" fmla="*/ 3 h 43"/>
                  <a:gd name="T10" fmla="*/ 18 w 64"/>
                  <a:gd name="T11" fmla="*/ 7 h 43"/>
                  <a:gd name="T12" fmla="*/ 11 w 64"/>
                  <a:gd name="T13" fmla="*/ 5 h 43"/>
                  <a:gd name="T14" fmla="*/ 10 w 64"/>
                  <a:gd name="T15" fmla="*/ 6 h 43"/>
                  <a:gd name="T16" fmla="*/ 8 w 64"/>
                  <a:gd name="T17" fmla="*/ 9 h 43"/>
                  <a:gd name="T18" fmla="*/ 4 w 64"/>
                  <a:gd name="T19" fmla="*/ 15 h 43"/>
                  <a:gd name="T20" fmla="*/ 1 w 64"/>
                  <a:gd name="T21" fmla="*/ 17 h 43"/>
                  <a:gd name="T22" fmla="*/ 1 w 64"/>
                  <a:gd name="T23" fmla="*/ 21 h 43"/>
                  <a:gd name="T24" fmla="*/ 1 w 64"/>
                  <a:gd name="T25" fmla="*/ 27 h 43"/>
                  <a:gd name="T26" fmla="*/ 0 w 64"/>
                  <a:gd name="T27" fmla="*/ 32 h 43"/>
                  <a:gd name="T28" fmla="*/ 3 w 64"/>
                  <a:gd name="T29" fmla="*/ 36 h 43"/>
                  <a:gd name="T30" fmla="*/ 7 w 64"/>
                  <a:gd name="T31" fmla="*/ 40 h 43"/>
                  <a:gd name="T32" fmla="*/ 10 w 64"/>
                  <a:gd name="T33" fmla="*/ 42 h 43"/>
                  <a:gd name="T34" fmla="*/ 11 w 64"/>
                  <a:gd name="T35" fmla="*/ 42 h 43"/>
                  <a:gd name="T36" fmla="*/ 13 w 64"/>
                  <a:gd name="T37" fmla="*/ 42 h 43"/>
                  <a:gd name="T38" fmla="*/ 16 w 64"/>
                  <a:gd name="T39" fmla="*/ 42 h 43"/>
                  <a:gd name="T40" fmla="*/ 22 w 64"/>
                  <a:gd name="T41" fmla="*/ 41 h 43"/>
                  <a:gd name="T42" fmla="*/ 28 w 64"/>
                  <a:gd name="T43" fmla="*/ 40 h 43"/>
                  <a:gd name="T44" fmla="*/ 31 w 64"/>
                  <a:gd name="T45" fmla="*/ 39 h 43"/>
                  <a:gd name="T46" fmla="*/ 33 w 64"/>
                  <a:gd name="T47" fmla="*/ 36 h 43"/>
                  <a:gd name="T48" fmla="*/ 43 w 64"/>
                  <a:gd name="T49" fmla="*/ 32 h 43"/>
                  <a:gd name="T50" fmla="*/ 49 w 64"/>
                  <a:gd name="T51" fmla="*/ 33 h 43"/>
                  <a:gd name="T52" fmla="*/ 52 w 64"/>
                  <a:gd name="T53" fmla="*/ 33 h 43"/>
                  <a:gd name="T54" fmla="*/ 55 w 64"/>
                  <a:gd name="T55" fmla="*/ 32 h 43"/>
                  <a:gd name="T56" fmla="*/ 57 w 64"/>
                  <a:gd name="T57" fmla="*/ 29 h 43"/>
                  <a:gd name="T58" fmla="*/ 60 w 64"/>
                  <a:gd name="T59" fmla="*/ 26 h 43"/>
                  <a:gd name="T60" fmla="*/ 62 w 64"/>
                  <a:gd name="T61" fmla="*/ 25 h 43"/>
                  <a:gd name="T62" fmla="*/ 64 w 64"/>
                  <a:gd name="T63" fmla="*/ 17 h 43"/>
                  <a:gd name="T64" fmla="*/ 64 w 64"/>
                  <a:gd name="T65" fmla="*/ 17 h 43"/>
                  <a:gd name="T66" fmla="*/ 56 w 64"/>
                  <a:gd name="T67" fmla="*/ 9 h 43"/>
                  <a:gd name="T68" fmla="*/ 55 w 64"/>
                  <a:gd name="T69" fmla="*/ 7 h 43"/>
                  <a:gd name="T70" fmla="*/ 55 w 64"/>
                  <a:gd name="T71" fmla="*/ 7 h 43"/>
                  <a:gd name="T72" fmla="*/ 47 w 64"/>
                  <a:gd name="T7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43">
                    <a:moveTo>
                      <a:pt x="47" y="0"/>
                    </a:moveTo>
                    <a:cubicBezTo>
                      <a:pt x="41" y="1"/>
                      <a:pt x="41" y="1"/>
                      <a:pt x="41" y="1"/>
                    </a:cubicBezTo>
                    <a:cubicBezTo>
                      <a:pt x="42" y="0"/>
                      <a:pt x="42" y="0"/>
                      <a:pt x="42" y="0"/>
                    </a:cubicBezTo>
                    <a:cubicBezTo>
                      <a:pt x="39" y="1"/>
                      <a:pt x="36" y="1"/>
                      <a:pt x="33" y="2"/>
                    </a:cubicBezTo>
                    <a:cubicBezTo>
                      <a:pt x="30" y="2"/>
                      <a:pt x="30" y="2"/>
                      <a:pt x="30" y="2"/>
                    </a:cubicBezTo>
                    <a:cubicBezTo>
                      <a:pt x="29" y="2"/>
                      <a:pt x="29" y="2"/>
                      <a:pt x="29" y="2"/>
                    </a:cubicBezTo>
                    <a:cubicBezTo>
                      <a:pt x="29" y="2"/>
                      <a:pt x="29" y="2"/>
                      <a:pt x="29" y="2"/>
                    </a:cubicBezTo>
                    <a:cubicBezTo>
                      <a:pt x="26" y="2"/>
                      <a:pt x="26" y="2"/>
                      <a:pt x="26" y="2"/>
                    </a:cubicBezTo>
                    <a:cubicBezTo>
                      <a:pt x="25" y="2"/>
                      <a:pt x="25" y="2"/>
                      <a:pt x="25" y="2"/>
                    </a:cubicBezTo>
                    <a:cubicBezTo>
                      <a:pt x="24" y="2"/>
                      <a:pt x="24" y="2"/>
                      <a:pt x="24" y="3"/>
                    </a:cubicBezTo>
                    <a:cubicBezTo>
                      <a:pt x="23" y="4"/>
                      <a:pt x="23" y="6"/>
                      <a:pt x="21" y="7"/>
                    </a:cubicBezTo>
                    <a:cubicBezTo>
                      <a:pt x="20" y="7"/>
                      <a:pt x="19" y="7"/>
                      <a:pt x="18" y="7"/>
                    </a:cubicBezTo>
                    <a:cubicBezTo>
                      <a:pt x="16" y="7"/>
                      <a:pt x="15" y="7"/>
                      <a:pt x="14" y="6"/>
                    </a:cubicBezTo>
                    <a:cubicBezTo>
                      <a:pt x="13" y="6"/>
                      <a:pt x="12" y="6"/>
                      <a:pt x="11" y="5"/>
                    </a:cubicBezTo>
                    <a:cubicBezTo>
                      <a:pt x="11" y="6"/>
                      <a:pt x="11" y="6"/>
                      <a:pt x="11" y="6"/>
                    </a:cubicBezTo>
                    <a:cubicBezTo>
                      <a:pt x="10" y="6"/>
                      <a:pt x="10" y="6"/>
                      <a:pt x="10" y="6"/>
                    </a:cubicBezTo>
                    <a:cubicBezTo>
                      <a:pt x="10" y="6"/>
                      <a:pt x="10" y="6"/>
                      <a:pt x="10" y="6"/>
                    </a:cubicBezTo>
                    <a:cubicBezTo>
                      <a:pt x="9" y="7"/>
                      <a:pt x="9" y="8"/>
                      <a:pt x="8" y="9"/>
                    </a:cubicBezTo>
                    <a:cubicBezTo>
                      <a:pt x="8" y="10"/>
                      <a:pt x="7" y="11"/>
                      <a:pt x="7" y="12"/>
                    </a:cubicBezTo>
                    <a:cubicBezTo>
                      <a:pt x="6" y="13"/>
                      <a:pt x="5" y="14"/>
                      <a:pt x="4" y="15"/>
                    </a:cubicBezTo>
                    <a:cubicBezTo>
                      <a:pt x="3" y="15"/>
                      <a:pt x="2" y="16"/>
                      <a:pt x="1" y="16"/>
                    </a:cubicBezTo>
                    <a:cubicBezTo>
                      <a:pt x="1" y="17"/>
                      <a:pt x="1" y="17"/>
                      <a:pt x="1" y="17"/>
                    </a:cubicBezTo>
                    <a:cubicBezTo>
                      <a:pt x="1" y="17"/>
                      <a:pt x="1" y="17"/>
                      <a:pt x="1" y="18"/>
                    </a:cubicBezTo>
                    <a:cubicBezTo>
                      <a:pt x="1" y="19"/>
                      <a:pt x="1" y="20"/>
                      <a:pt x="1" y="21"/>
                    </a:cubicBezTo>
                    <a:cubicBezTo>
                      <a:pt x="0" y="24"/>
                      <a:pt x="0" y="24"/>
                      <a:pt x="0" y="24"/>
                    </a:cubicBezTo>
                    <a:cubicBezTo>
                      <a:pt x="0" y="25"/>
                      <a:pt x="1" y="26"/>
                      <a:pt x="1" y="27"/>
                    </a:cubicBezTo>
                    <a:cubicBezTo>
                      <a:pt x="1" y="29"/>
                      <a:pt x="1" y="30"/>
                      <a:pt x="0" y="31"/>
                    </a:cubicBezTo>
                    <a:cubicBezTo>
                      <a:pt x="0" y="32"/>
                      <a:pt x="0" y="32"/>
                      <a:pt x="0" y="32"/>
                    </a:cubicBezTo>
                    <a:cubicBezTo>
                      <a:pt x="0" y="33"/>
                      <a:pt x="1" y="34"/>
                      <a:pt x="1" y="34"/>
                    </a:cubicBezTo>
                    <a:cubicBezTo>
                      <a:pt x="2" y="35"/>
                      <a:pt x="2" y="35"/>
                      <a:pt x="3" y="36"/>
                    </a:cubicBezTo>
                    <a:cubicBezTo>
                      <a:pt x="4" y="37"/>
                      <a:pt x="5" y="38"/>
                      <a:pt x="6" y="40"/>
                    </a:cubicBezTo>
                    <a:cubicBezTo>
                      <a:pt x="7" y="40"/>
                      <a:pt x="7" y="40"/>
                      <a:pt x="7" y="40"/>
                    </a:cubicBezTo>
                    <a:cubicBezTo>
                      <a:pt x="8" y="40"/>
                      <a:pt x="9" y="41"/>
                      <a:pt x="10" y="41"/>
                    </a:cubicBezTo>
                    <a:cubicBezTo>
                      <a:pt x="10" y="42"/>
                      <a:pt x="10" y="42"/>
                      <a:pt x="10" y="42"/>
                    </a:cubicBezTo>
                    <a:cubicBezTo>
                      <a:pt x="10" y="42"/>
                      <a:pt x="10" y="42"/>
                      <a:pt x="10" y="42"/>
                    </a:cubicBezTo>
                    <a:cubicBezTo>
                      <a:pt x="11" y="42"/>
                      <a:pt x="11" y="42"/>
                      <a:pt x="11" y="42"/>
                    </a:cubicBezTo>
                    <a:cubicBezTo>
                      <a:pt x="11" y="43"/>
                      <a:pt x="11" y="43"/>
                      <a:pt x="11" y="43"/>
                    </a:cubicBezTo>
                    <a:cubicBezTo>
                      <a:pt x="11" y="42"/>
                      <a:pt x="12" y="42"/>
                      <a:pt x="13" y="42"/>
                    </a:cubicBezTo>
                    <a:cubicBezTo>
                      <a:pt x="13" y="42"/>
                      <a:pt x="14" y="42"/>
                      <a:pt x="14" y="42"/>
                    </a:cubicBezTo>
                    <a:cubicBezTo>
                      <a:pt x="16" y="42"/>
                      <a:pt x="16" y="42"/>
                      <a:pt x="16" y="42"/>
                    </a:cubicBezTo>
                    <a:cubicBezTo>
                      <a:pt x="17" y="42"/>
                      <a:pt x="17" y="42"/>
                      <a:pt x="18" y="42"/>
                    </a:cubicBezTo>
                    <a:cubicBezTo>
                      <a:pt x="22" y="41"/>
                      <a:pt x="22" y="41"/>
                      <a:pt x="22" y="41"/>
                    </a:cubicBezTo>
                    <a:cubicBezTo>
                      <a:pt x="23" y="41"/>
                      <a:pt x="25" y="41"/>
                      <a:pt x="26" y="40"/>
                    </a:cubicBezTo>
                    <a:cubicBezTo>
                      <a:pt x="27" y="40"/>
                      <a:pt x="27" y="40"/>
                      <a:pt x="28" y="40"/>
                    </a:cubicBezTo>
                    <a:cubicBezTo>
                      <a:pt x="31" y="40"/>
                      <a:pt x="31" y="40"/>
                      <a:pt x="31" y="40"/>
                    </a:cubicBezTo>
                    <a:cubicBezTo>
                      <a:pt x="31" y="39"/>
                      <a:pt x="31" y="39"/>
                      <a:pt x="31" y="39"/>
                    </a:cubicBezTo>
                    <a:cubicBezTo>
                      <a:pt x="31" y="39"/>
                      <a:pt x="31" y="39"/>
                      <a:pt x="31" y="39"/>
                    </a:cubicBezTo>
                    <a:cubicBezTo>
                      <a:pt x="32" y="38"/>
                      <a:pt x="32" y="37"/>
                      <a:pt x="33" y="36"/>
                    </a:cubicBezTo>
                    <a:cubicBezTo>
                      <a:pt x="35" y="34"/>
                      <a:pt x="37" y="33"/>
                      <a:pt x="39" y="33"/>
                    </a:cubicBezTo>
                    <a:cubicBezTo>
                      <a:pt x="40" y="33"/>
                      <a:pt x="42" y="32"/>
                      <a:pt x="43" y="32"/>
                    </a:cubicBezTo>
                    <a:cubicBezTo>
                      <a:pt x="44" y="32"/>
                      <a:pt x="44" y="32"/>
                      <a:pt x="45" y="32"/>
                    </a:cubicBezTo>
                    <a:cubicBezTo>
                      <a:pt x="46" y="32"/>
                      <a:pt x="48" y="32"/>
                      <a:pt x="49" y="33"/>
                    </a:cubicBezTo>
                    <a:cubicBezTo>
                      <a:pt x="51" y="33"/>
                      <a:pt x="51" y="33"/>
                      <a:pt x="51" y="33"/>
                    </a:cubicBezTo>
                    <a:cubicBezTo>
                      <a:pt x="52" y="33"/>
                      <a:pt x="52" y="33"/>
                      <a:pt x="52" y="33"/>
                    </a:cubicBezTo>
                    <a:cubicBezTo>
                      <a:pt x="54" y="33"/>
                      <a:pt x="54" y="33"/>
                      <a:pt x="55" y="33"/>
                    </a:cubicBezTo>
                    <a:cubicBezTo>
                      <a:pt x="55" y="33"/>
                      <a:pt x="55" y="32"/>
                      <a:pt x="55" y="32"/>
                    </a:cubicBezTo>
                    <a:cubicBezTo>
                      <a:pt x="56" y="31"/>
                      <a:pt x="56" y="31"/>
                      <a:pt x="56" y="31"/>
                    </a:cubicBezTo>
                    <a:cubicBezTo>
                      <a:pt x="56" y="30"/>
                      <a:pt x="57" y="29"/>
                      <a:pt x="57" y="29"/>
                    </a:cubicBezTo>
                    <a:cubicBezTo>
                      <a:pt x="58" y="27"/>
                      <a:pt x="59" y="27"/>
                      <a:pt x="60" y="26"/>
                    </a:cubicBezTo>
                    <a:cubicBezTo>
                      <a:pt x="60" y="26"/>
                      <a:pt x="60" y="26"/>
                      <a:pt x="60" y="26"/>
                    </a:cubicBezTo>
                    <a:cubicBezTo>
                      <a:pt x="62" y="26"/>
                      <a:pt x="62" y="26"/>
                      <a:pt x="62" y="26"/>
                    </a:cubicBezTo>
                    <a:cubicBezTo>
                      <a:pt x="62" y="25"/>
                      <a:pt x="62" y="25"/>
                      <a:pt x="62" y="25"/>
                    </a:cubicBezTo>
                    <a:cubicBezTo>
                      <a:pt x="63" y="23"/>
                      <a:pt x="64" y="18"/>
                      <a:pt x="64" y="18"/>
                    </a:cubicBezTo>
                    <a:cubicBezTo>
                      <a:pt x="64" y="17"/>
                      <a:pt x="64" y="17"/>
                      <a:pt x="64" y="17"/>
                    </a:cubicBezTo>
                    <a:cubicBezTo>
                      <a:pt x="64" y="17"/>
                      <a:pt x="64" y="17"/>
                      <a:pt x="64" y="17"/>
                    </a:cubicBezTo>
                    <a:cubicBezTo>
                      <a:pt x="64" y="17"/>
                      <a:pt x="64" y="17"/>
                      <a:pt x="64" y="17"/>
                    </a:cubicBezTo>
                    <a:cubicBezTo>
                      <a:pt x="64" y="17"/>
                      <a:pt x="63" y="15"/>
                      <a:pt x="57" y="9"/>
                    </a:cubicBezTo>
                    <a:cubicBezTo>
                      <a:pt x="56" y="9"/>
                      <a:pt x="56" y="9"/>
                      <a:pt x="56" y="9"/>
                    </a:cubicBezTo>
                    <a:cubicBezTo>
                      <a:pt x="52" y="13"/>
                      <a:pt x="52" y="13"/>
                      <a:pt x="52" y="13"/>
                    </a:cubicBezTo>
                    <a:cubicBezTo>
                      <a:pt x="55" y="7"/>
                      <a:pt x="55" y="7"/>
                      <a:pt x="55" y="7"/>
                    </a:cubicBezTo>
                    <a:cubicBezTo>
                      <a:pt x="55" y="7"/>
                      <a:pt x="55" y="7"/>
                      <a:pt x="55" y="7"/>
                    </a:cubicBezTo>
                    <a:cubicBezTo>
                      <a:pt x="55" y="7"/>
                      <a:pt x="55" y="7"/>
                      <a:pt x="55" y="7"/>
                    </a:cubicBezTo>
                    <a:cubicBezTo>
                      <a:pt x="54" y="6"/>
                      <a:pt x="54" y="6"/>
                      <a:pt x="54" y="6"/>
                    </a:cubicBezTo>
                    <a:cubicBezTo>
                      <a:pt x="51" y="4"/>
                      <a:pt x="49" y="2"/>
                      <a:pt x="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70" name="Freeform 298">
                <a:extLst>
                  <a:ext uri="{FF2B5EF4-FFF2-40B4-BE49-F238E27FC236}">
                    <a16:creationId xmlns:a16="http://schemas.microsoft.com/office/drawing/2014/main" id="{75D276CB-F75A-4DED-A89B-C36B375A2E17}"/>
                  </a:ext>
                </a:extLst>
              </p:cNvPr>
              <p:cNvSpPr>
                <a:spLocks/>
              </p:cNvSpPr>
              <p:nvPr/>
            </p:nvSpPr>
            <p:spPr bwMode="auto">
              <a:xfrm>
                <a:off x="6172569" y="4938056"/>
                <a:ext cx="574878" cy="552767"/>
              </a:xfrm>
              <a:custGeom>
                <a:avLst/>
                <a:gdLst>
                  <a:gd name="T0" fmla="*/ 174 w 182"/>
                  <a:gd name="T1" fmla="*/ 10 h 174"/>
                  <a:gd name="T2" fmla="*/ 154 w 182"/>
                  <a:gd name="T3" fmla="*/ 15 h 174"/>
                  <a:gd name="T4" fmla="*/ 145 w 182"/>
                  <a:gd name="T5" fmla="*/ 15 h 174"/>
                  <a:gd name="T6" fmla="*/ 139 w 182"/>
                  <a:gd name="T7" fmla="*/ 14 h 174"/>
                  <a:gd name="T8" fmla="*/ 125 w 182"/>
                  <a:gd name="T9" fmla="*/ 5 h 174"/>
                  <a:gd name="T10" fmla="*/ 118 w 182"/>
                  <a:gd name="T11" fmla="*/ 6 h 174"/>
                  <a:gd name="T12" fmla="*/ 100 w 182"/>
                  <a:gd name="T13" fmla="*/ 12 h 174"/>
                  <a:gd name="T14" fmla="*/ 78 w 182"/>
                  <a:gd name="T15" fmla="*/ 13 h 174"/>
                  <a:gd name="T16" fmla="*/ 65 w 182"/>
                  <a:gd name="T17" fmla="*/ 20 h 174"/>
                  <a:gd name="T18" fmla="*/ 59 w 182"/>
                  <a:gd name="T19" fmla="*/ 19 h 174"/>
                  <a:gd name="T20" fmla="*/ 53 w 182"/>
                  <a:gd name="T21" fmla="*/ 22 h 174"/>
                  <a:gd name="T22" fmla="*/ 46 w 182"/>
                  <a:gd name="T23" fmla="*/ 27 h 174"/>
                  <a:gd name="T24" fmla="*/ 34 w 182"/>
                  <a:gd name="T25" fmla="*/ 28 h 174"/>
                  <a:gd name="T26" fmla="*/ 28 w 182"/>
                  <a:gd name="T27" fmla="*/ 29 h 174"/>
                  <a:gd name="T28" fmla="*/ 20 w 182"/>
                  <a:gd name="T29" fmla="*/ 48 h 174"/>
                  <a:gd name="T30" fmla="*/ 12 w 182"/>
                  <a:gd name="T31" fmla="*/ 56 h 174"/>
                  <a:gd name="T32" fmla="*/ 10 w 182"/>
                  <a:gd name="T33" fmla="*/ 56 h 174"/>
                  <a:gd name="T34" fmla="*/ 14 w 182"/>
                  <a:gd name="T35" fmla="*/ 67 h 174"/>
                  <a:gd name="T36" fmla="*/ 3 w 182"/>
                  <a:gd name="T37" fmla="*/ 70 h 174"/>
                  <a:gd name="T38" fmla="*/ 17 w 182"/>
                  <a:gd name="T39" fmla="*/ 86 h 174"/>
                  <a:gd name="T40" fmla="*/ 28 w 182"/>
                  <a:gd name="T41" fmla="*/ 89 h 174"/>
                  <a:gd name="T42" fmla="*/ 23 w 182"/>
                  <a:gd name="T43" fmla="*/ 90 h 174"/>
                  <a:gd name="T44" fmla="*/ 19 w 182"/>
                  <a:gd name="T45" fmla="*/ 93 h 174"/>
                  <a:gd name="T46" fmla="*/ 27 w 182"/>
                  <a:gd name="T47" fmla="*/ 107 h 174"/>
                  <a:gd name="T48" fmla="*/ 39 w 182"/>
                  <a:gd name="T49" fmla="*/ 111 h 174"/>
                  <a:gd name="T50" fmla="*/ 64 w 182"/>
                  <a:gd name="T51" fmla="*/ 109 h 174"/>
                  <a:gd name="T52" fmla="*/ 88 w 182"/>
                  <a:gd name="T53" fmla="*/ 116 h 174"/>
                  <a:gd name="T54" fmla="*/ 59 w 182"/>
                  <a:gd name="T55" fmla="*/ 114 h 174"/>
                  <a:gd name="T56" fmla="*/ 28 w 182"/>
                  <a:gd name="T57" fmla="*/ 124 h 174"/>
                  <a:gd name="T58" fmla="*/ 44 w 182"/>
                  <a:gd name="T59" fmla="*/ 156 h 174"/>
                  <a:gd name="T60" fmla="*/ 53 w 182"/>
                  <a:gd name="T61" fmla="*/ 154 h 174"/>
                  <a:gd name="T62" fmla="*/ 69 w 182"/>
                  <a:gd name="T63" fmla="*/ 164 h 174"/>
                  <a:gd name="T64" fmla="*/ 74 w 182"/>
                  <a:gd name="T65" fmla="*/ 137 h 174"/>
                  <a:gd name="T66" fmla="*/ 94 w 182"/>
                  <a:gd name="T67" fmla="*/ 136 h 174"/>
                  <a:gd name="T68" fmla="*/ 88 w 182"/>
                  <a:gd name="T69" fmla="*/ 135 h 174"/>
                  <a:gd name="T70" fmla="*/ 98 w 182"/>
                  <a:gd name="T71" fmla="*/ 120 h 174"/>
                  <a:gd name="T72" fmla="*/ 101 w 182"/>
                  <a:gd name="T73" fmla="*/ 123 h 174"/>
                  <a:gd name="T74" fmla="*/ 108 w 182"/>
                  <a:gd name="T75" fmla="*/ 130 h 174"/>
                  <a:gd name="T76" fmla="*/ 112 w 182"/>
                  <a:gd name="T77" fmla="*/ 117 h 174"/>
                  <a:gd name="T78" fmla="*/ 74 w 182"/>
                  <a:gd name="T79" fmla="*/ 94 h 174"/>
                  <a:gd name="T80" fmla="*/ 78 w 182"/>
                  <a:gd name="T81" fmla="*/ 83 h 174"/>
                  <a:gd name="T82" fmla="*/ 86 w 182"/>
                  <a:gd name="T83" fmla="*/ 84 h 174"/>
                  <a:gd name="T84" fmla="*/ 85 w 182"/>
                  <a:gd name="T85" fmla="*/ 85 h 174"/>
                  <a:gd name="T86" fmla="*/ 69 w 182"/>
                  <a:gd name="T87" fmla="*/ 49 h 174"/>
                  <a:gd name="T88" fmla="*/ 79 w 182"/>
                  <a:gd name="T89" fmla="*/ 33 h 174"/>
                  <a:gd name="T90" fmla="*/ 77 w 182"/>
                  <a:gd name="T91" fmla="*/ 38 h 174"/>
                  <a:gd name="T92" fmla="*/ 91 w 182"/>
                  <a:gd name="T93" fmla="*/ 51 h 174"/>
                  <a:gd name="T94" fmla="*/ 102 w 182"/>
                  <a:gd name="T95" fmla="*/ 57 h 174"/>
                  <a:gd name="T96" fmla="*/ 103 w 182"/>
                  <a:gd name="T97" fmla="*/ 50 h 174"/>
                  <a:gd name="T98" fmla="*/ 110 w 182"/>
                  <a:gd name="T99" fmla="*/ 56 h 174"/>
                  <a:gd name="T100" fmla="*/ 114 w 182"/>
                  <a:gd name="T101" fmla="*/ 45 h 174"/>
                  <a:gd name="T102" fmla="*/ 133 w 182"/>
                  <a:gd name="T103" fmla="*/ 25 h 174"/>
                  <a:gd name="T104" fmla="*/ 158 w 182"/>
                  <a:gd name="T105" fmla="*/ 26 h 174"/>
                  <a:gd name="T106" fmla="*/ 172 w 182"/>
                  <a:gd name="T107" fmla="*/ 21 h 174"/>
                  <a:gd name="T108" fmla="*/ 173 w 182"/>
                  <a:gd name="T109" fmla="*/ 17 h 174"/>
                  <a:gd name="T110" fmla="*/ 177 w 182"/>
                  <a:gd name="T111" fmla="*/ 8 h 174"/>
                  <a:gd name="T112" fmla="*/ 182 w 182"/>
                  <a:gd name="T113" fmla="*/ 4 h 174"/>
                  <a:gd name="T114" fmla="*/ 178 w 182"/>
                  <a:gd name="T115" fmla="*/ 1 h 174"/>
                  <a:gd name="T116" fmla="*/ 175 w 182"/>
                  <a:gd name="T117"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2" h="174">
                    <a:moveTo>
                      <a:pt x="175" y="0"/>
                    </a:moveTo>
                    <a:cubicBezTo>
                      <a:pt x="175" y="3"/>
                      <a:pt x="175" y="5"/>
                      <a:pt x="175" y="7"/>
                    </a:cubicBezTo>
                    <a:cubicBezTo>
                      <a:pt x="174" y="8"/>
                      <a:pt x="174" y="8"/>
                      <a:pt x="174" y="8"/>
                    </a:cubicBezTo>
                    <a:cubicBezTo>
                      <a:pt x="174" y="10"/>
                      <a:pt x="174" y="10"/>
                      <a:pt x="174" y="10"/>
                    </a:cubicBezTo>
                    <a:cubicBezTo>
                      <a:pt x="172" y="12"/>
                      <a:pt x="168" y="13"/>
                      <a:pt x="165" y="14"/>
                    </a:cubicBezTo>
                    <a:cubicBezTo>
                      <a:pt x="163" y="14"/>
                      <a:pt x="161" y="15"/>
                      <a:pt x="158" y="15"/>
                    </a:cubicBezTo>
                    <a:cubicBezTo>
                      <a:pt x="156" y="15"/>
                      <a:pt x="156" y="15"/>
                      <a:pt x="156" y="15"/>
                    </a:cubicBezTo>
                    <a:cubicBezTo>
                      <a:pt x="155" y="15"/>
                      <a:pt x="155" y="15"/>
                      <a:pt x="154" y="15"/>
                    </a:cubicBezTo>
                    <a:cubicBezTo>
                      <a:pt x="149" y="15"/>
                      <a:pt x="149" y="15"/>
                      <a:pt x="149" y="15"/>
                    </a:cubicBezTo>
                    <a:cubicBezTo>
                      <a:pt x="149" y="16"/>
                      <a:pt x="148" y="16"/>
                      <a:pt x="148" y="16"/>
                    </a:cubicBezTo>
                    <a:cubicBezTo>
                      <a:pt x="147" y="15"/>
                      <a:pt x="147" y="15"/>
                      <a:pt x="147" y="15"/>
                    </a:cubicBezTo>
                    <a:cubicBezTo>
                      <a:pt x="146" y="15"/>
                      <a:pt x="145" y="15"/>
                      <a:pt x="145" y="15"/>
                    </a:cubicBezTo>
                    <a:cubicBezTo>
                      <a:pt x="143" y="15"/>
                      <a:pt x="143" y="15"/>
                      <a:pt x="143" y="15"/>
                    </a:cubicBezTo>
                    <a:cubicBezTo>
                      <a:pt x="143" y="14"/>
                      <a:pt x="143" y="14"/>
                      <a:pt x="143" y="14"/>
                    </a:cubicBezTo>
                    <a:cubicBezTo>
                      <a:pt x="142" y="14"/>
                      <a:pt x="141" y="14"/>
                      <a:pt x="140" y="14"/>
                    </a:cubicBezTo>
                    <a:cubicBezTo>
                      <a:pt x="139" y="14"/>
                      <a:pt x="139" y="14"/>
                      <a:pt x="139" y="14"/>
                    </a:cubicBezTo>
                    <a:cubicBezTo>
                      <a:pt x="138" y="13"/>
                      <a:pt x="138" y="13"/>
                      <a:pt x="137" y="13"/>
                    </a:cubicBezTo>
                    <a:cubicBezTo>
                      <a:pt x="134" y="13"/>
                      <a:pt x="132" y="12"/>
                      <a:pt x="129" y="10"/>
                    </a:cubicBezTo>
                    <a:cubicBezTo>
                      <a:pt x="128" y="8"/>
                      <a:pt x="128" y="8"/>
                      <a:pt x="128" y="8"/>
                    </a:cubicBezTo>
                    <a:cubicBezTo>
                      <a:pt x="127" y="7"/>
                      <a:pt x="125" y="6"/>
                      <a:pt x="125" y="5"/>
                    </a:cubicBezTo>
                    <a:cubicBezTo>
                      <a:pt x="124" y="5"/>
                      <a:pt x="124" y="5"/>
                      <a:pt x="124" y="5"/>
                    </a:cubicBezTo>
                    <a:cubicBezTo>
                      <a:pt x="124" y="5"/>
                      <a:pt x="124" y="5"/>
                      <a:pt x="123" y="5"/>
                    </a:cubicBezTo>
                    <a:cubicBezTo>
                      <a:pt x="122" y="5"/>
                      <a:pt x="121" y="5"/>
                      <a:pt x="120" y="6"/>
                    </a:cubicBezTo>
                    <a:cubicBezTo>
                      <a:pt x="118" y="6"/>
                      <a:pt x="118" y="6"/>
                      <a:pt x="118" y="6"/>
                    </a:cubicBezTo>
                    <a:cubicBezTo>
                      <a:pt x="115" y="6"/>
                      <a:pt x="113" y="7"/>
                      <a:pt x="110" y="8"/>
                    </a:cubicBezTo>
                    <a:cubicBezTo>
                      <a:pt x="106" y="10"/>
                      <a:pt x="106" y="10"/>
                      <a:pt x="106" y="10"/>
                    </a:cubicBezTo>
                    <a:cubicBezTo>
                      <a:pt x="104" y="10"/>
                      <a:pt x="103" y="11"/>
                      <a:pt x="101" y="11"/>
                    </a:cubicBezTo>
                    <a:cubicBezTo>
                      <a:pt x="100" y="12"/>
                      <a:pt x="100" y="12"/>
                      <a:pt x="100" y="12"/>
                    </a:cubicBezTo>
                    <a:cubicBezTo>
                      <a:pt x="96" y="12"/>
                      <a:pt x="91" y="13"/>
                      <a:pt x="87" y="13"/>
                    </a:cubicBezTo>
                    <a:cubicBezTo>
                      <a:pt x="85" y="13"/>
                      <a:pt x="85" y="13"/>
                      <a:pt x="85" y="13"/>
                    </a:cubicBezTo>
                    <a:cubicBezTo>
                      <a:pt x="84" y="13"/>
                      <a:pt x="82" y="13"/>
                      <a:pt x="80" y="13"/>
                    </a:cubicBezTo>
                    <a:cubicBezTo>
                      <a:pt x="78" y="13"/>
                      <a:pt x="78" y="13"/>
                      <a:pt x="78" y="13"/>
                    </a:cubicBezTo>
                    <a:cubicBezTo>
                      <a:pt x="77" y="14"/>
                      <a:pt x="77" y="14"/>
                      <a:pt x="77" y="15"/>
                    </a:cubicBezTo>
                    <a:cubicBezTo>
                      <a:pt x="76" y="16"/>
                      <a:pt x="75" y="17"/>
                      <a:pt x="75" y="17"/>
                    </a:cubicBezTo>
                    <a:cubicBezTo>
                      <a:pt x="73" y="19"/>
                      <a:pt x="71" y="20"/>
                      <a:pt x="67" y="20"/>
                    </a:cubicBezTo>
                    <a:cubicBezTo>
                      <a:pt x="67" y="20"/>
                      <a:pt x="66" y="20"/>
                      <a:pt x="65" y="20"/>
                    </a:cubicBezTo>
                    <a:cubicBezTo>
                      <a:pt x="62" y="19"/>
                      <a:pt x="62" y="19"/>
                      <a:pt x="62" y="19"/>
                    </a:cubicBezTo>
                    <a:cubicBezTo>
                      <a:pt x="62" y="19"/>
                      <a:pt x="60" y="19"/>
                      <a:pt x="60" y="19"/>
                    </a:cubicBezTo>
                    <a:cubicBezTo>
                      <a:pt x="60" y="19"/>
                      <a:pt x="60" y="19"/>
                      <a:pt x="59" y="19"/>
                    </a:cubicBezTo>
                    <a:cubicBezTo>
                      <a:pt x="59" y="19"/>
                      <a:pt x="59" y="19"/>
                      <a:pt x="59" y="19"/>
                    </a:cubicBezTo>
                    <a:cubicBezTo>
                      <a:pt x="58" y="19"/>
                      <a:pt x="57" y="19"/>
                      <a:pt x="56" y="20"/>
                    </a:cubicBezTo>
                    <a:cubicBezTo>
                      <a:pt x="54" y="20"/>
                      <a:pt x="54" y="20"/>
                      <a:pt x="54" y="20"/>
                    </a:cubicBezTo>
                    <a:cubicBezTo>
                      <a:pt x="53" y="21"/>
                      <a:pt x="53" y="21"/>
                      <a:pt x="53" y="21"/>
                    </a:cubicBezTo>
                    <a:cubicBezTo>
                      <a:pt x="53" y="21"/>
                      <a:pt x="53" y="22"/>
                      <a:pt x="53" y="22"/>
                    </a:cubicBezTo>
                    <a:cubicBezTo>
                      <a:pt x="52" y="23"/>
                      <a:pt x="52" y="23"/>
                      <a:pt x="52" y="24"/>
                    </a:cubicBezTo>
                    <a:cubicBezTo>
                      <a:pt x="51" y="25"/>
                      <a:pt x="51" y="25"/>
                      <a:pt x="51" y="25"/>
                    </a:cubicBezTo>
                    <a:cubicBezTo>
                      <a:pt x="50" y="26"/>
                      <a:pt x="49" y="27"/>
                      <a:pt x="48" y="27"/>
                    </a:cubicBezTo>
                    <a:cubicBezTo>
                      <a:pt x="47" y="27"/>
                      <a:pt x="46" y="27"/>
                      <a:pt x="46" y="27"/>
                    </a:cubicBezTo>
                    <a:cubicBezTo>
                      <a:pt x="43" y="27"/>
                      <a:pt x="43" y="27"/>
                      <a:pt x="43" y="27"/>
                    </a:cubicBezTo>
                    <a:cubicBezTo>
                      <a:pt x="42" y="27"/>
                      <a:pt x="42" y="27"/>
                      <a:pt x="42" y="27"/>
                    </a:cubicBezTo>
                    <a:cubicBezTo>
                      <a:pt x="40" y="27"/>
                      <a:pt x="39" y="28"/>
                      <a:pt x="38" y="28"/>
                    </a:cubicBezTo>
                    <a:cubicBezTo>
                      <a:pt x="34" y="28"/>
                      <a:pt x="34" y="28"/>
                      <a:pt x="34" y="28"/>
                    </a:cubicBezTo>
                    <a:cubicBezTo>
                      <a:pt x="34" y="28"/>
                      <a:pt x="33" y="29"/>
                      <a:pt x="32" y="29"/>
                    </a:cubicBezTo>
                    <a:cubicBezTo>
                      <a:pt x="32" y="29"/>
                      <a:pt x="31" y="29"/>
                      <a:pt x="31" y="29"/>
                    </a:cubicBezTo>
                    <a:cubicBezTo>
                      <a:pt x="30" y="29"/>
                      <a:pt x="29" y="29"/>
                      <a:pt x="28" y="29"/>
                    </a:cubicBezTo>
                    <a:cubicBezTo>
                      <a:pt x="28" y="29"/>
                      <a:pt x="28" y="29"/>
                      <a:pt x="28" y="29"/>
                    </a:cubicBezTo>
                    <a:cubicBezTo>
                      <a:pt x="28" y="30"/>
                      <a:pt x="28" y="30"/>
                      <a:pt x="28" y="30"/>
                    </a:cubicBezTo>
                    <a:cubicBezTo>
                      <a:pt x="31" y="35"/>
                      <a:pt x="28" y="38"/>
                      <a:pt x="25" y="40"/>
                    </a:cubicBezTo>
                    <a:cubicBezTo>
                      <a:pt x="24" y="40"/>
                      <a:pt x="23" y="41"/>
                      <a:pt x="22" y="42"/>
                    </a:cubicBezTo>
                    <a:cubicBezTo>
                      <a:pt x="21" y="43"/>
                      <a:pt x="20" y="46"/>
                      <a:pt x="20" y="48"/>
                    </a:cubicBezTo>
                    <a:cubicBezTo>
                      <a:pt x="19" y="48"/>
                      <a:pt x="19" y="48"/>
                      <a:pt x="19" y="48"/>
                    </a:cubicBezTo>
                    <a:cubicBezTo>
                      <a:pt x="19" y="50"/>
                      <a:pt x="18" y="51"/>
                      <a:pt x="18" y="52"/>
                    </a:cubicBezTo>
                    <a:cubicBezTo>
                      <a:pt x="18" y="53"/>
                      <a:pt x="18" y="53"/>
                      <a:pt x="18" y="53"/>
                    </a:cubicBezTo>
                    <a:cubicBezTo>
                      <a:pt x="16" y="55"/>
                      <a:pt x="14" y="56"/>
                      <a:pt x="12" y="56"/>
                    </a:cubicBezTo>
                    <a:cubicBezTo>
                      <a:pt x="12" y="56"/>
                      <a:pt x="12" y="56"/>
                      <a:pt x="11" y="56"/>
                    </a:cubicBezTo>
                    <a:cubicBezTo>
                      <a:pt x="11" y="55"/>
                      <a:pt x="11" y="55"/>
                      <a:pt x="11" y="55"/>
                    </a:cubicBezTo>
                    <a:cubicBezTo>
                      <a:pt x="11" y="55"/>
                      <a:pt x="11" y="55"/>
                      <a:pt x="11" y="55"/>
                    </a:cubicBezTo>
                    <a:cubicBezTo>
                      <a:pt x="11" y="55"/>
                      <a:pt x="11" y="56"/>
                      <a:pt x="10" y="56"/>
                    </a:cubicBezTo>
                    <a:cubicBezTo>
                      <a:pt x="10" y="56"/>
                      <a:pt x="10" y="56"/>
                      <a:pt x="10" y="56"/>
                    </a:cubicBezTo>
                    <a:cubicBezTo>
                      <a:pt x="10" y="57"/>
                      <a:pt x="11" y="58"/>
                      <a:pt x="11" y="59"/>
                    </a:cubicBezTo>
                    <a:cubicBezTo>
                      <a:pt x="11" y="59"/>
                      <a:pt x="11" y="59"/>
                      <a:pt x="11" y="60"/>
                    </a:cubicBezTo>
                    <a:cubicBezTo>
                      <a:pt x="14" y="67"/>
                      <a:pt x="14" y="67"/>
                      <a:pt x="14" y="67"/>
                    </a:cubicBezTo>
                    <a:cubicBezTo>
                      <a:pt x="8" y="65"/>
                      <a:pt x="8" y="65"/>
                      <a:pt x="8" y="65"/>
                    </a:cubicBezTo>
                    <a:cubicBezTo>
                      <a:pt x="8" y="65"/>
                      <a:pt x="8" y="65"/>
                      <a:pt x="8" y="65"/>
                    </a:cubicBezTo>
                    <a:cubicBezTo>
                      <a:pt x="7" y="67"/>
                      <a:pt x="7" y="68"/>
                      <a:pt x="5" y="69"/>
                    </a:cubicBezTo>
                    <a:cubicBezTo>
                      <a:pt x="5" y="69"/>
                      <a:pt x="4" y="69"/>
                      <a:pt x="3" y="70"/>
                    </a:cubicBezTo>
                    <a:cubicBezTo>
                      <a:pt x="2" y="70"/>
                      <a:pt x="2" y="70"/>
                      <a:pt x="2" y="70"/>
                    </a:cubicBezTo>
                    <a:cubicBezTo>
                      <a:pt x="1" y="70"/>
                      <a:pt x="1" y="69"/>
                      <a:pt x="0" y="69"/>
                    </a:cubicBezTo>
                    <a:cubicBezTo>
                      <a:pt x="2" y="72"/>
                      <a:pt x="3" y="75"/>
                      <a:pt x="6" y="78"/>
                    </a:cubicBezTo>
                    <a:cubicBezTo>
                      <a:pt x="9" y="81"/>
                      <a:pt x="14" y="83"/>
                      <a:pt x="17" y="86"/>
                    </a:cubicBezTo>
                    <a:cubicBezTo>
                      <a:pt x="17" y="87"/>
                      <a:pt x="17" y="89"/>
                      <a:pt x="17" y="90"/>
                    </a:cubicBezTo>
                    <a:cubicBezTo>
                      <a:pt x="18" y="88"/>
                      <a:pt x="19" y="84"/>
                      <a:pt x="21" y="84"/>
                    </a:cubicBezTo>
                    <a:cubicBezTo>
                      <a:pt x="21" y="84"/>
                      <a:pt x="21" y="84"/>
                      <a:pt x="21" y="85"/>
                    </a:cubicBezTo>
                    <a:cubicBezTo>
                      <a:pt x="24" y="85"/>
                      <a:pt x="28" y="85"/>
                      <a:pt x="28" y="89"/>
                    </a:cubicBezTo>
                    <a:cubicBezTo>
                      <a:pt x="28" y="90"/>
                      <a:pt x="28" y="91"/>
                      <a:pt x="27" y="92"/>
                    </a:cubicBezTo>
                    <a:cubicBezTo>
                      <a:pt x="26" y="92"/>
                      <a:pt x="25" y="90"/>
                      <a:pt x="23" y="90"/>
                    </a:cubicBezTo>
                    <a:cubicBezTo>
                      <a:pt x="23" y="90"/>
                      <a:pt x="23" y="90"/>
                      <a:pt x="23" y="90"/>
                    </a:cubicBezTo>
                    <a:cubicBezTo>
                      <a:pt x="23" y="90"/>
                      <a:pt x="23" y="90"/>
                      <a:pt x="23" y="90"/>
                    </a:cubicBezTo>
                    <a:cubicBezTo>
                      <a:pt x="22" y="90"/>
                      <a:pt x="22" y="91"/>
                      <a:pt x="22" y="91"/>
                    </a:cubicBezTo>
                    <a:cubicBezTo>
                      <a:pt x="22" y="91"/>
                      <a:pt x="22" y="91"/>
                      <a:pt x="22" y="91"/>
                    </a:cubicBezTo>
                    <a:cubicBezTo>
                      <a:pt x="21" y="91"/>
                      <a:pt x="20" y="90"/>
                      <a:pt x="19" y="90"/>
                    </a:cubicBezTo>
                    <a:cubicBezTo>
                      <a:pt x="18" y="90"/>
                      <a:pt x="17" y="91"/>
                      <a:pt x="19" y="93"/>
                    </a:cubicBezTo>
                    <a:cubicBezTo>
                      <a:pt x="16" y="93"/>
                      <a:pt x="18" y="95"/>
                      <a:pt x="19" y="96"/>
                    </a:cubicBezTo>
                    <a:cubicBezTo>
                      <a:pt x="21" y="99"/>
                      <a:pt x="24" y="101"/>
                      <a:pt x="26" y="103"/>
                    </a:cubicBezTo>
                    <a:cubicBezTo>
                      <a:pt x="26" y="105"/>
                      <a:pt x="27" y="106"/>
                      <a:pt x="28" y="107"/>
                    </a:cubicBezTo>
                    <a:cubicBezTo>
                      <a:pt x="27" y="107"/>
                      <a:pt x="27" y="107"/>
                      <a:pt x="27" y="107"/>
                    </a:cubicBezTo>
                    <a:cubicBezTo>
                      <a:pt x="28" y="108"/>
                      <a:pt x="28" y="109"/>
                      <a:pt x="28" y="110"/>
                    </a:cubicBezTo>
                    <a:cubicBezTo>
                      <a:pt x="30" y="109"/>
                      <a:pt x="32" y="107"/>
                      <a:pt x="35" y="106"/>
                    </a:cubicBezTo>
                    <a:cubicBezTo>
                      <a:pt x="34" y="106"/>
                      <a:pt x="34" y="105"/>
                      <a:pt x="34" y="105"/>
                    </a:cubicBezTo>
                    <a:cubicBezTo>
                      <a:pt x="35" y="106"/>
                      <a:pt x="39" y="110"/>
                      <a:pt x="39" y="111"/>
                    </a:cubicBezTo>
                    <a:cubicBezTo>
                      <a:pt x="42" y="111"/>
                      <a:pt x="46" y="110"/>
                      <a:pt x="49" y="109"/>
                    </a:cubicBezTo>
                    <a:cubicBezTo>
                      <a:pt x="50" y="109"/>
                      <a:pt x="52" y="109"/>
                      <a:pt x="53" y="109"/>
                    </a:cubicBezTo>
                    <a:cubicBezTo>
                      <a:pt x="56" y="109"/>
                      <a:pt x="60" y="109"/>
                      <a:pt x="62" y="109"/>
                    </a:cubicBezTo>
                    <a:cubicBezTo>
                      <a:pt x="63" y="109"/>
                      <a:pt x="64" y="109"/>
                      <a:pt x="64" y="109"/>
                    </a:cubicBezTo>
                    <a:cubicBezTo>
                      <a:pt x="64" y="109"/>
                      <a:pt x="65" y="109"/>
                      <a:pt x="65" y="109"/>
                    </a:cubicBezTo>
                    <a:cubicBezTo>
                      <a:pt x="65" y="109"/>
                      <a:pt x="66" y="109"/>
                      <a:pt x="66" y="109"/>
                    </a:cubicBezTo>
                    <a:cubicBezTo>
                      <a:pt x="69" y="109"/>
                      <a:pt x="71" y="109"/>
                      <a:pt x="74" y="110"/>
                    </a:cubicBezTo>
                    <a:cubicBezTo>
                      <a:pt x="78" y="112"/>
                      <a:pt x="83" y="114"/>
                      <a:pt x="88" y="116"/>
                    </a:cubicBezTo>
                    <a:cubicBezTo>
                      <a:pt x="87" y="118"/>
                      <a:pt x="82" y="123"/>
                      <a:pt x="80" y="123"/>
                    </a:cubicBezTo>
                    <a:cubicBezTo>
                      <a:pt x="80" y="123"/>
                      <a:pt x="79" y="123"/>
                      <a:pt x="79" y="123"/>
                    </a:cubicBezTo>
                    <a:cubicBezTo>
                      <a:pt x="77" y="123"/>
                      <a:pt x="75" y="122"/>
                      <a:pt x="74" y="121"/>
                    </a:cubicBezTo>
                    <a:cubicBezTo>
                      <a:pt x="69" y="118"/>
                      <a:pt x="64" y="116"/>
                      <a:pt x="59" y="114"/>
                    </a:cubicBezTo>
                    <a:cubicBezTo>
                      <a:pt x="56" y="113"/>
                      <a:pt x="54" y="110"/>
                      <a:pt x="51" y="110"/>
                    </a:cubicBezTo>
                    <a:cubicBezTo>
                      <a:pt x="45" y="110"/>
                      <a:pt x="37" y="115"/>
                      <a:pt x="34" y="120"/>
                    </a:cubicBezTo>
                    <a:cubicBezTo>
                      <a:pt x="33" y="120"/>
                      <a:pt x="33" y="121"/>
                      <a:pt x="33" y="122"/>
                    </a:cubicBezTo>
                    <a:cubicBezTo>
                      <a:pt x="31" y="123"/>
                      <a:pt x="29" y="123"/>
                      <a:pt x="28" y="124"/>
                    </a:cubicBezTo>
                    <a:cubicBezTo>
                      <a:pt x="27" y="127"/>
                      <a:pt x="33" y="130"/>
                      <a:pt x="34" y="132"/>
                    </a:cubicBezTo>
                    <a:cubicBezTo>
                      <a:pt x="39" y="136"/>
                      <a:pt x="46" y="139"/>
                      <a:pt x="43" y="146"/>
                    </a:cubicBezTo>
                    <a:cubicBezTo>
                      <a:pt x="42" y="148"/>
                      <a:pt x="41" y="148"/>
                      <a:pt x="42" y="151"/>
                    </a:cubicBezTo>
                    <a:cubicBezTo>
                      <a:pt x="42" y="153"/>
                      <a:pt x="43" y="155"/>
                      <a:pt x="44" y="156"/>
                    </a:cubicBezTo>
                    <a:cubicBezTo>
                      <a:pt x="45" y="157"/>
                      <a:pt x="44" y="159"/>
                      <a:pt x="45" y="160"/>
                    </a:cubicBezTo>
                    <a:cubicBezTo>
                      <a:pt x="45" y="160"/>
                      <a:pt x="46" y="160"/>
                      <a:pt x="46" y="160"/>
                    </a:cubicBezTo>
                    <a:cubicBezTo>
                      <a:pt x="49" y="160"/>
                      <a:pt x="51" y="156"/>
                      <a:pt x="52" y="155"/>
                    </a:cubicBezTo>
                    <a:cubicBezTo>
                      <a:pt x="52" y="155"/>
                      <a:pt x="52" y="154"/>
                      <a:pt x="53" y="154"/>
                    </a:cubicBezTo>
                    <a:cubicBezTo>
                      <a:pt x="54" y="153"/>
                      <a:pt x="54" y="153"/>
                      <a:pt x="55" y="153"/>
                    </a:cubicBezTo>
                    <a:cubicBezTo>
                      <a:pt x="61" y="153"/>
                      <a:pt x="66" y="171"/>
                      <a:pt x="67" y="174"/>
                    </a:cubicBezTo>
                    <a:cubicBezTo>
                      <a:pt x="68" y="172"/>
                      <a:pt x="67" y="170"/>
                      <a:pt x="67" y="167"/>
                    </a:cubicBezTo>
                    <a:cubicBezTo>
                      <a:pt x="67" y="166"/>
                      <a:pt x="68" y="165"/>
                      <a:pt x="69" y="164"/>
                    </a:cubicBezTo>
                    <a:cubicBezTo>
                      <a:pt x="69" y="164"/>
                      <a:pt x="69" y="162"/>
                      <a:pt x="70" y="161"/>
                    </a:cubicBezTo>
                    <a:cubicBezTo>
                      <a:pt x="70" y="161"/>
                      <a:pt x="71" y="161"/>
                      <a:pt x="71" y="161"/>
                    </a:cubicBezTo>
                    <a:cubicBezTo>
                      <a:pt x="76" y="161"/>
                      <a:pt x="84" y="170"/>
                      <a:pt x="87" y="172"/>
                    </a:cubicBezTo>
                    <a:cubicBezTo>
                      <a:pt x="84" y="160"/>
                      <a:pt x="80" y="149"/>
                      <a:pt x="74" y="137"/>
                    </a:cubicBezTo>
                    <a:cubicBezTo>
                      <a:pt x="77" y="138"/>
                      <a:pt x="84" y="141"/>
                      <a:pt x="85" y="143"/>
                    </a:cubicBezTo>
                    <a:cubicBezTo>
                      <a:pt x="86" y="144"/>
                      <a:pt x="86" y="144"/>
                      <a:pt x="87" y="144"/>
                    </a:cubicBezTo>
                    <a:cubicBezTo>
                      <a:pt x="88" y="144"/>
                      <a:pt x="89" y="143"/>
                      <a:pt x="90" y="143"/>
                    </a:cubicBezTo>
                    <a:cubicBezTo>
                      <a:pt x="95" y="141"/>
                      <a:pt x="96" y="140"/>
                      <a:pt x="94" y="136"/>
                    </a:cubicBezTo>
                    <a:cubicBezTo>
                      <a:pt x="94" y="134"/>
                      <a:pt x="94" y="134"/>
                      <a:pt x="94" y="134"/>
                    </a:cubicBezTo>
                    <a:cubicBezTo>
                      <a:pt x="93" y="133"/>
                      <a:pt x="93" y="133"/>
                      <a:pt x="92" y="133"/>
                    </a:cubicBezTo>
                    <a:cubicBezTo>
                      <a:pt x="91" y="133"/>
                      <a:pt x="89" y="134"/>
                      <a:pt x="88" y="135"/>
                    </a:cubicBezTo>
                    <a:cubicBezTo>
                      <a:pt x="88" y="135"/>
                      <a:pt x="88" y="135"/>
                      <a:pt x="88" y="135"/>
                    </a:cubicBezTo>
                    <a:cubicBezTo>
                      <a:pt x="88" y="135"/>
                      <a:pt x="85" y="128"/>
                      <a:pt x="84" y="127"/>
                    </a:cubicBezTo>
                    <a:cubicBezTo>
                      <a:pt x="84" y="126"/>
                      <a:pt x="82" y="126"/>
                      <a:pt x="82" y="125"/>
                    </a:cubicBezTo>
                    <a:cubicBezTo>
                      <a:pt x="82" y="122"/>
                      <a:pt x="91" y="123"/>
                      <a:pt x="94" y="122"/>
                    </a:cubicBezTo>
                    <a:cubicBezTo>
                      <a:pt x="95" y="122"/>
                      <a:pt x="96" y="120"/>
                      <a:pt x="98" y="120"/>
                    </a:cubicBezTo>
                    <a:cubicBezTo>
                      <a:pt x="98" y="120"/>
                      <a:pt x="98" y="120"/>
                      <a:pt x="98" y="120"/>
                    </a:cubicBezTo>
                    <a:cubicBezTo>
                      <a:pt x="100" y="120"/>
                      <a:pt x="97" y="123"/>
                      <a:pt x="100" y="123"/>
                    </a:cubicBezTo>
                    <a:cubicBezTo>
                      <a:pt x="100" y="123"/>
                      <a:pt x="100" y="123"/>
                      <a:pt x="100" y="123"/>
                    </a:cubicBezTo>
                    <a:cubicBezTo>
                      <a:pt x="100" y="123"/>
                      <a:pt x="101" y="123"/>
                      <a:pt x="101" y="123"/>
                    </a:cubicBezTo>
                    <a:cubicBezTo>
                      <a:pt x="101" y="123"/>
                      <a:pt x="101" y="123"/>
                      <a:pt x="102" y="123"/>
                    </a:cubicBezTo>
                    <a:cubicBezTo>
                      <a:pt x="103" y="124"/>
                      <a:pt x="103" y="127"/>
                      <a:pt x="104" y="128"/>
                    </a:cubicBezTo>
                    <a:cubicBezTo>
                      <a:pt x="105" y="128"/>
                      <a:pt x="106" y="127"/>
                      <a:pt x="107" y="128"/>
                    </a:cubicBezTo>
                    <a:cubicBezTo>
                      <a:pt x="108" y="129"/>
                      <a:pt x="108" y="130"/>
                      <a:pt x="108" y="130"/>
                    </a:cubicBezTo>
                    <a:cubicBezTo>
                      <a:pt x="109" y="131"/>
                      <a:pt x="108" y="132"/>
                      <a:pt x="110" y="132"/>
                    </a:cubicBezTo>
                    <a:cubicBezTo>
                      <a:pt x="110" y="132"/>
                      <a:pt x="110" y="132"/>
                      <a:pt x="110" y="132"/>
                    </a:cubicBezTo>
                    <a:cubicBezTo>
                      <a:pt x="112" y="132"/>
                      <a:pt x="113" y="129"/>
                      <a:pt x="112" y="127"/>
                    </a:cubicBezTo>
                    <a:cubicBezTo>
                      <a:pt x="112" y="125"/>
                      <a:pt x="109" y="117"/>
                      <a:pt x="112" y="117"/>
                    </a:cubicBezTo>
                    <a:cubicBezTo>
                      <a:pt x="112" y="117"/>
                      <a:pt x="112" y="117"/>
                      <a:pt x="112" y="117"/>
                    </a:cubicBezTo>
                    <a:cubicBezTo>
                      <a:pt x="114" y="113"/>
                      <a:pt x="91" y="105"/>
                      <a:pt x="88" y="102"/>
                    </a:cubicBezTo>
                    <a:cubicBezTo>
                      <a:pt x="85" y="100"/>
                      <a:pt x="83" y="97"/>
                      <a:pt x="79" y="96"/>
                    </a:cubicBezTo>
                    <a:cubicBezTo>
                      <a:pt x="78" y="95"/>
                      <a:pt x="76" y="95"/>
                      <a:pt x="74" y="94"/>
                    </a:cubicBezTo>
                    <a:cubicBezTo>
                      <a:pt x="73" y="94"/>
                      <a:pt x="70" y="94"/>
                      <a:pt x="69" y="93"/>
                    </a:cubicBezTo>
                    <a:cubicBezTo>
                      <a:pt x="73" y="91"/>
                      <a:pt x="78" y="90"/>
                      <a:pt x="82" y="89"/>
                    </a:cubicBezTo>
                    <a:cubicBezTo>
                      <a:pt x="81" y="86"/>
                      <a:pt x="80" y="84"/>
                      <a:pt x="78" y="82"/>
                    </a:cubicBezTo>
                    <a:cubicBezTo>
                      <a:pt x="78" y="83"/>
                      <a:pt x="78" y="83"/>
                      <a:pt x="78" y="83"/>
                    </a:cubicBezTo>
                    <a:cubicBezTo>
                      <a:pt x="75" y="80"/>
                      <a:pt x="79" y="77"/>
                      <a:pt x="82" y="77"/>
                    </a:cubicBezTo>
                    <a:cubicBezTo>
                      <a:pt x="83" y="77"/>
                      <a:pt x="84" y="77"/>
                      <a:pt x="85" y="78"/>
                    </a:cubicBezTo>
                    <a:cubicBezTo>
                      <a:pt x="86" y="79"/>
                      <a:pt x="87" y="79"/>
                      <a:pt x="87" y="81"/>
                    </a:cubicBezTo>
                    <a:cubicBezTo>
                      <a:pt x="88" y="82"/>
                      <a:pt x="88" y="82"/>
                      <a:pt x="86" y="84"/>
                    </a:cubicBezTo>
                    <a:cubicBezTo>
                      <a:pt x="86" y="84"/>
                      <a:pt x="85" y="84"/>
                      <a:pt x="85" y="84"/>
                    </a:cubicBezTo>
                    <a:cubicBezTo>
                      <a:pt x="85" y="84"/>
                      <a:pt x="84" y="84"/>
                      <a:pt x="84" y="84"/>
                    </a:cubicBezTo>
                    <a:cubicBezTo>
                      <a:pt x="83" y="85"/>
                      <a:pt x="83" y="85"/>
                      <a:pt x="83" y="85"/>
                    </a:cubicBezTo>
                    <a:cubicBezTo>
                      <a:pt x="84" y="85"/>
                      <a:pt x="85" y="85"/>
                      <a:pt x="85" y="85"/>
                    </a:cubicBezTo>
                    <a:cubicBezTo>
                      <a:pt x="87" y="85"/>
                      <a:pt x="88" y="84"/>
                      <a:pt x="89" y="84"/>
                    </a:cubicBezTo>
                    <a:cubicBezTo>
                      <a:pt x="91" y="82"/>
                      <a:pt x="93" y="83"/>
                      <a:pt x="90" y="79"/>
                    </a:cubicBezTo>
                    <a:cubicBezTo>
                      <a:pt x="82" y="71"/>
                      <a:pt x="77" y="63"/>
                      <a:pt x="72" y="54"/>
                    </a:cubicBezTo>
                    <a:cubicBezTo>
                      <a:pt x="70" y="52"/>
                      <a:pt x="69" y="51"/>
                      <a:pt x="69" y="49"/>
                    </a:cubicBezTo>
                    <a:cubicBezTo>
                      <a:pt x="69" y="46"/>
                      <a:pt x="71" y="38"/>
                      <a:pt x="74" y="37"/>
                    </a:cubicBezTo>
                    <a:cubicBezTo>
                      <a:pt x="75" y="36"/>
                      <a:pt x="76" y="36"/>
                      <a:pt x="78" y="35"/>
                    </a:cubicBezTo>
                    <a:cubicBezTo>
                      <a:pt x="78" y="35"/>
                      <a:pt x="78" y="33"/>
                      <a:pt x="78" y="33"/>
                    </a:cubicBezTo>
                    <a:cubicBezTo>
                      <a:pt x="78" y="33"/>
                      <a:pt x="79" y="33"/>
                      <a:pt x="79" y="33"/>
                    </a:cubicBezTo>
                    <a:cubicBezTo>
                      <a:pt x="81" y="33"/>
                      <a:pt x="78" y="36"/>
                      <a:pt x="78" y="38"/>
                    </a:cubicBezTo>
                    <a:cubicBezTo>
                      <a:pt x="78" y="38"/>
                      <a:pt x="78" y="38"/>
                      <a:pt x="78" y="38"/>
                    </a:cubicBezTo>
                    <a:cubicBezTo>
                      <a:pt x="78" y="38"/>
                      <a:pt x="78" y="38"/>
                      <a:pt x="77" y="38"/>
                    </a:cubicBezTo>
                    <a:cubicBezTo>
                      <a:pt x="77" y="38"/>
                      <a:pt x="77" y="38"/>
                      <a:pt x="77" y="38"/>
                    </a:cubicBezTo>
                    <a:cubicBezTo>
                      <a:pt x="77" y="38"/>
                      <a:pt x="77" y="38"/>
                      <a:pt x="77" y="38"/>
                    </a:cubicBezTo>
                    <a:cubicBezTo>
                      <a:pt x="77" y="40"/>
                      <a:pt x="81" y="43"/>
                      <a:pt x="83" y="44"/>
                    </a:cubicBezTo>
                    <a:cubicBezTo>
                      <a:pt x="84" y="45"/>
                      <a:pt x="88" y="45"/>
                      <a:pt x="89" y="46"/>
                    </a:cubicBezTo>
                    <a:cubicBezTo>
                      <a:pt x="92" y="48"/>
                      <a:pt x="90" y="49"/>
                      <a:pt x="91" y="51"/>
                    </a:cubicBezTo>
                    <a:cubicBezTo>
                      <a:pt x="91" y="53"/>
                      <a:pt x="93" y="54"/>
                      <a:pt x="92" y="56"/>
                    </a:cubicBezTo>
                    <a:cubicBezTo>
                      <a:pt x="93" y="56"/>
                      <a:pt x="93" y="56"/>
                      <a:pt x="93" y="56"/>
                    </a:cubicBezTo>
                    <a:cubicBezTo>
                      <a:pt x="95" y="56"/>
                      <a:pt x="96" y="56"/>
                      <a:pt x="98" y="57"/>
                    </a:cubicBezTo>
                    <a:cubicBezTo>
                      <a:pt x="99" y="57"/>
                      <a:pt x="100" y="57"/>
                      <a:pt x="102" y="57"/>
                    </a:cubicBezTo>
                    <a:cubicBezTo>
                      <a:pt x="102" y="57"/>
                      <a:pt x="102" y="57"/>
                      <a:pt x="103" y="57"/>
                    </a:cubicBezTo>
                    <a:cubicBezTo>
                      <a:pt x="99" y="54"/>
                      <a:pt x="93" y="53"/>
                      <a:pt x="91" y="48"/>
                    </a:cubicBezTo>
                    <a:cubicBezTo>
                      <a:pt x="93" y="47"/>
                      <a:pt x="95" y="47"/>
                      <a:pt x="97" y="47"/>
                    </a:cubicBezTo>
                    <a:cubicBezTo>
                      <a:pt x="100" y="47"/>
                      <a:pt x="102" y="48"/>
                      <a:pt x="103" y="50"/>
                    </a:cubicBezTo>
                    <a:cubicBezTo>
                      <a:pt x="104" y="52"/>
                      <a:pt x="104" y="53"/>
                      <a:pt x="105" y="54"/>
                    </a:cubicBezTo>
                    <a:cubicBezTo>
                      <a:pt x="105" y="54"/>
                      <a:pt x="108" y="55"/>
                      <a:pt x="108" y="56"/>
                    </a:cubicBezTo>
                    <a:cubicBezTo>
                      <a:pt x="109" y="56"/>
                      <a:pt x="108" y="56"/>
                      <a:pt x="109" y="56"/>
                    </a:cubicBezTo>
                    <a:cubicBezTo>
                      <a:pt x="109" y="56"/>
                      <a:pt x="109" y="56"/>
                      <a:pt x="110" y="56"/>
                    </a:cubicBezTo>
                    <a:cubicBezTo>
                      <a:pt x="109" y="54"/>
                      <a:pt x="96" y="42"/>
                      <a:pt x="106" y="42"/>
                    </a:cubicBezTo>
                    <a:cubicBezTo>
                      <a:pt x="107" y="42"/>
                      <a:pt x="107" y="42"/>
                      <a:pt x="107" y="42"/>
                    </a:cubicBezTo>
                    <a:cubicBezTo>
                      <a:pt x="109" y="42"/>
                      <a:pt x="111" y="45"/>
                      <a:pt x="113" y="45"/>
                    </a:cubicBezTo>
                    <a:cubicBezTo>
                      <a:pt x="114" y="45"/>
                      <a:pt x="114" y="45"/>
                      <a:pt x="114" y="45"/>
                    </a:cubicBezTo>
                    <a:cubicBezTo>
                      <a:pt x="106" y="41"/>
                      <a:pt x="105" y="38"/>
                      <a:pt x="103" y="29"/>
                    </a:cubicBezTo>
                    <a:cubicBezTo>
                      <a:pt x="109" y="28"/>
                      <a:pt x="117" y="23"/>
                      <a:pt x="124" y="23"/>
                    </a:cubicBezTo>
                    <a:cubicBezTo>
                      <a:pt x="125" y="23"/>
                      <a:pt x="126" y="23"/>
                      <a:pt x="127" y="23"/>
                    </a:cubicBezTo>
                    <a:cubicBezTo>
                      <a:pt x="130" y="24"/>
                      <a:pt x="131" y="25"/>
                      <a:pt x="133" y="25"/>
                    </a:cubicBezTo>
                    <a:cubicBezTo>
                      <a:pt x="134" y="25"/>
                      <a:pt x="135" y="25"/>
                      <a:pt x="136" y="25"/>
                    </a:cubicBezTo>
                    <a:cubicBezTo>
                      <a:pt x="137" y="24"/>
                      <a:pt x="141" y="21"/>
                      <a:pt x="143" y="21"/>
                    </a:cubicBezTo>
                    <a:cubicBezTo>
                      <a:pt x="143" y="21"/>
                      <a:pt x="143" y="21"/>
                      <a:pt x="143" y="21"/>
                    </a:cubicBezTo>
                    <a:cubicBezTo>
                      <a:pt x="148" y="23"/>
                      <a:pt x="153" y="24"/>
                      <a:pt x="158" y="26"/>
                    </a:cubicBezTo>
                    <a:cubicBezTo>
                      <a:pt x="161" y="27"/>
                      <a:pt x="163" y="28"/>
                      <a:pt x="165" y="29"/>
                    </a:cubicBezTo>
                    <a:cubicBezTo>
                      <a:pt x="166" y="28"/>
                      <a:pt x="166" y="28"/>
                      <a:pt x="166" y="28"/>
                    </a:cubicBezTo>
                    <a:cubicBezTo>
                      <a:pt x="167" y="27"/>
                      <a:pt x="170" y="24"/>
                      <a:pt x="170" y="23"/>
                    </a:cubicBezTo>
                    <a:cubicBezTo>
                      <a:pt x="172" y="21"/>
                      <a:pt x="172" y="21"/>
                      <a:pt x="172" y="21"/>
                    </a:cubicBezTo>
                    <a:cubicBezTo>
                      <a:pt x="172" y="21"/>
                      <a:pt x="173" y="20"/>
                      <a:pt x="173" y="19"/>
                    </a:cubicBezTo>
                    <a:cubicBezTo>
                      <a:pt x="173" y="19"/>
                      <a:pt x="173" y="19"/>
                      <a:pt x="173" y="19"/>
                    </a:cubicBezTo>
                    <a:cubicBezTo>
                      <a:pt x="173" y="19"/>
                      <a:pt x="173" y="19"/>
                      <a:pt x="173" y="18"/>
                    </a:cubicBezTo>
                    <a:cubicBezTo>
                      <a:pt x="173" y="17"/>
                      <a:pt x="173" y="17"/>
                      <a:pt x="173" y="17"/>
                    </a:cubicBezTo>
                    <a:cubicBezTo>
                      <a:pt x="173" y="17"/>
                      <a:pt x="173" y="17"/>
                      <a:pt x="173" y="17"/>
                    </a:cubicBezTo>
                    <a:cubicBezTo>
                      <a:pt x="173" y="16"/>
                      <a:pt x="173" y="16"/>
                      <a:pt x="173" y="16"/>
                    </a:cubicBezTo>
                    <a:cubicBezTo>
                      <a:pt x="173" y="15"/>
                      <a:pt x="173" y="13"/>
                      <a:pt x="173" y="12"/>
                    </a:cubicBezTo>
                    <a:cubicBezTo>
                      <a:pt x="174" y="10"/>
                      <a:pt x="175" y="9"/>
                      <a:pt x="177" y="8"/>
                    </a:cubicBezTo>
                    <a:cubicBezTo>
                      <a:pt x="179" y="7"/>
                      <a:pt x="179" y="7"/>
                      <a:pt x="179" y="7"/>
                    </a:cubicBezTo>
                    <a:cubicBezTo>
                      <a:pt x="180" y="6"/>
                      <a:pt x="181" y="6"/>
                      <a:pt x="181" y="5"/>
                    </a:cubicBezTo>
                    <a:cubicBezTo>
                      <a:pt x="182" y="4"/>
                      <a:pt x="182" y="4"/>
                      <a:pt x="182" y="4"/>
                    </a:cubicBezTo>
                    <a:cubicBezTo>
                      <a:pt x="182" y="4"/>
                      <a:pt x="182" y="4"/>
                      <a:pt x="182" y="4"/>
                    </a:cubicBezTo>
                    <a:cubicBezTo>
                      <a:pt x="181" y="3"/>
                      <a:pt x="181" y="3"/>
                      <a:pt x="181" y="3"/>
                    </a:cubicBezTo>
                    <a:cubicBezTo>
                      <a:pt x="180" y="2"/>
                      <a:pt x="180" y="2"/>
                      <a:pt x="180" y="2"/>
                    </a:cubicBezTo>
                    <a:cubicBezTo>
                      <a:pt x="179" y="2"/>
                      <a:pt x="179" y="2"/>
                      <a:pt x="179" y="2"/>
                    </a:cubicBezTo>
                    <a:cubicBezTo>
                      <a:pt x="178" y="1"/>
                      <a:pt x="178" y="1"/>
                      <a:pt x="178" y="1"/>
                    </a:cubicBezTo>
                    <a:cubicBezTo>
                      <a:pt x="178" y="1"/>
                      <a:pt x="178" y="1"/>
                      <a:pt x="178" y="1"/>
                    </a:cubicBezTo>
                    <a:cubicBezTo>
                      <a:pt x="177" y="0"/>
                      <a:pt x="177" y="0"/>
                      <a:pt x="177" y="0"/>
                    </a:cubicBezTo>
                    <a:cubicBezTo>
                      <a:pt x="177" y="0"/>
                      <a:pt x="177" y="0"/>
                      <a:pt x="177" y="0"/>
                    </a:cubicBezTo>
                    <a:cubicBezTo>
                      <a:pt x="175" y="0"/>
                      <a:pt x="175" y="0"/>
                      <a:pt x="17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71" name="Freeform 299">
                <a:extLst>
                  <a:ext uri="{FF2B5EF4-FFF2-40B4-BE49-F238E27FC236}">
                    <a16:creationId xmlns:a16="http://schemas.microsoft.com/office/drawing/2014/main" id="{1B818420-827F-42EB-B237-1945611BC55E}"/>
                  </a:ext>
                </a:extLst>
              </p:cNvPr>
              <p:cNvSpPr>
                <a:spLocks/>
              </p:cNvSpPr>
              <p:nvPr/>
            </p:nvSpPr>
            <p:spPr bwMode="auto">
              <a:xfrm>
                <a:off x="6386306" y="4665357"/>
                <a:ext cx="545397" cy="298494"/>
              </a:xfrm>
              <a:custGeom>
                <a:avLst/>
                <a:gdLst>
                  <a:gd name="T0" fmla="*/ 4 w 172"/>
                  <a:gd name="T1" fmla="*/ 4 h 94"/>
                  <a:gd name="T2" fmla="*/ 0 w 172"/>
                  <a:gd name="T3" fmla="*/ 11 h 94"/>
                  <a:gd name="T4" fmla="*/ 5 w 172"/>
                  <a:gd name="T5" fmla="*/ 21 h 94"/>
                  <a:gd name="T6" fmla="*/ 12 w 172"/>
                  <a:gd name="T7" fmla="*/ 25 h 94"/>
                  <a:gd name="T8" fmla="*/ 16 w 172"/>
                  <a:gd name="T9" fmla="*/ 34 h 94"/>
                  <a:gd name="T10" fmla="*/ 4 w 172"/>
                  <a:gd name="T11" fmla="*/ 44 h 94"/>
                  <a:gd name="T12" fmla="*/ 2 w 172"/>
                  <a:gd name="T13" fmla="*/ 46 h 94"/>
                  <a:gd name="T14" fmla="*/ 3 w 172"/>
                  <a:gd name="T15" fmla="*/ 50 h 94"/>
                  <a:gd name="T16" fmla="*/ 1 w 172"/>
                  <a:gd name="T17" fmla="*/ 61 h 94"/>
                  <a:gd name="T18" fmla="*/ 5 w 172"/>
                  <a:gd name="T19" fmla="*/ 66 h 94"/>
                  <a:gd name="T20" fmla="*/ 7 w 172"/>
                  <a:gd name="T21" fmla="*/ 67 h 94"/>
                  <a:gd name="T22" fmla="*/ 9 w 172"/>
                  <a:gd name="T23" fmla="*/ 69 h 94"/>
                  <a:gd name="T24" fmla="*/ 18 w 172"/>
                  <a:gd name="T25" fmla="*/ 91 h 94"/>
                  <a:gd name="T26" fmla="*/ 35 w 172"/>
                  <a:gd name="T27" fmla="*/ 88 h 94"/>
                  <a:gd name="T28" fmla="*/ 49 w 172"/>
                  <a:gd name="T29" fmla="*/ 84 h 94"/>
                  <a:gd name="T30" fmla="*/ 57 w 172"/>
                  <a:gd name="T31" fmla="*/ 83 h 94"/>
                  <a:gd name="T32" fmla="*/ 65 w 172"/>
                  <a:gd name="T33" fmla="*/ 89 h 94"/>
                  <a:gd name="T34" fmla="*/ 73 w 172"/>
                  <a:gd name="T35" fmla="*/ 92 h 94"/>
                  <a:gd name="T36" fmla="*/ 80 w 172"/>
                  <a:gd name="T37" fmla="*/ 94 h 94"/>
                  <a:gd name="T38" fmla="*/ 87 w 172"/>
                  <a:gd name="T39" fmla="*/ 93 h 94"/>
                  <a:gd name="T40" fmla="*/ 100 w 172"/>
                  <a:gd name="T41" fmla="*/ 91 h 94"/>
                  <a:gd name="T42" fmla="*/ 98 w 172"/>
                  <a:gd name="T43" fmla="*/ 83 h 94"/>
                  <a:gd name="T44" fmla="*/ 106 w 172"/>
                  <a:gd name="T45" fmla="*/ 78 h 94"/>
                  <a:gd name="T46" fmla="*/ 110 w 172"/>
                  <a:gd name="T47" fmla="*/ 76 h 94"/>
                  <a:gd name="T48" fmla="*/ 115 w 172"/>
                  <a:gd name="T49" fmla="*/ 72 h 94"/>
                  <a:gd name="T50" fmla="*/ 137 w 172"/>
                  <a:gd name="T51" fmla="*/ 65 h 94"/>
                  <a:gd name="T52" fmla="*/ 140 w 172"/>
                  <a:gd name="T53" fmla="*/ 68 h 94"/>
                  <a:gd name="T54" fmla="*/ 154 w 172"/>
                  <a:gd name="T55" fmla="*/ 69 h 94"/>
                  <a:gd name="T56" fmla="*/ 145 w 172"/>
                  <a:gd name="T57" fmla="*/ 56 h 94"/>
                  <a:gd name="T58" fmla="*/ 142 w 172"/>
                  <a:gd name="T59" fmla="*/ 57 h 94"/>
                  <a:gd name="T60" fmla="*/ 149 w 172"/>
                  <a:gd name="T61" fmla="*/ 50 h 94"/>
                  <a:gd name="T62" fmla="*/ 153 w 172"/>
                  <a:gd name="T63" fmla="*/ 31 h 94"/>
                  <a:gd name="T64" fmla="*/ 172 w 172"/>
                  <a:gd name="T65" fmla="*/ 15 h 94"/>
                  <a:gd name="T66" fmla="*/ 136 w 172"/>
                  <a:gd name="T67" fmla="*/ 3 h 94"/>
                  <a:gd name="T68" fmla="*/ 133 w 172"/>
                  <a:gd name="T69" fmla="*/ 2 h 94"/>
                  <a:gd name="T70" fmla="*/ 108 w 172"/>
                  <a:gd name="T71" fmla="*/ 7 h 94"/>
                  <a:gd name="T72" fmla="*/ 85 w 172"/>
                  <a:gd name="T73" fmla="*/ 19 h 94"/>
                  <a:gd name="T74" fmla="*/ 68 w 172"/>
                  <a:gd name="T75" fmla="*/ 17 h 94"/>
                  <a:gd name="T76" fmla="*/ 47 w 172"/>
                  <a:gd name="T77" fmla="*/ 17 h 94"/>
                  <a:gd name="T78" fmla="*/ 31 w 172"/>
                  <a:gd name="T79" fmla="*/ 13 h 94"/>
                  <a:gd name="T80" fmla="*/ 20 w 172"/>
                  <a:gd name="T81" fmla="*/ 13 h 94"/>
                  <a:gd name="T82" fmla="*/ 8 w 172"/>
                  <a:gd name="T83" fmla="*/ 11 h 94"/>
                  <a:gd name="T84" fmla="*/ 9 w 172"/>
                  <a:gd name="T85" fmla="*/ 1 h 94"/>
                  <a:gd name="T86" fmla="*/ 7 w 172"/>
                  <a:gd name="T8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94">
                    <a:moveTo>
                      <a:pt x="6" y="0"/>
                    </a:moveTo>
                    <a:cubicBezTo>
                      <a:pt x="6" y="0"/>
                      <a:pt x="6" y="1"/>
                      <a:pt x="6" y="1"/>
                    </a:cubicBezTo>
                    <a:cubicBezTo>
                      <a:pt x="4" y="4"/>
                      <a:pt x="4" y="4"/>
                      <a:pt x="4" y="4"/>
                    </a:cubicBezTo>
                    <a:cubicBezTo>
                      <a:pt x="1" y="9"/>
                      <a:pt x="1" y="9"/>
                      <a:pt x="1" y="9"/>
                    </a:cubicBezTo>
                    <a:cubicBezTo>
                      <a:pt x="1" y="9"/>
                      <a:pt x="1" y="9"/>
                      <a:pt x="1" y="9"/>
                    </a:cubicBezTo>
                    <a:cubicBezTo>
                      <a:pt x="0" y="11"/>
                      <a:pt x="0" y="11"/>
                      <a:pt x="0" y="11"/>
                    </a:cubicBezTo>
                    <a:cubicBezTo>
                      <a:pt x="1" y="12"/>
                      <a:pt x="1" y="12"/>
                      <a:pt x="1" y="13"/>
                    </a:cubicBezTo>
                    <a:cubicBezTo>
                      <a:pt x="2" y="15"/>
                      <a:pt x="2" y="17"/>
                      <a:pt x="3" y="18"/>
                    </a:cubicBezTo>
                    <a:cubicBezTo>
                      <a:pt x="4" y="19"/>
                      <a:pt x="5" y="20"/>
                      <a:pt x="5" y="21"/>
                    </a:cubicBezTo>
                    <a:cubicBezTo>
                      <a:pt x="6" y="22"/>
                      <a:pt x="7" y="22"/>
                      <a:pt x="8" y="23"/>
                    </a:cubicBezTo>
                    <a:cubicBezTo>
                      <a:pt x="9" y="24"/>
                      <a:pt x="10" y="24"/>
                      <a:pt x="11" y="25"/>
                    </a:cubicBezTo>
                    <a:cubicBezTo>
                      <a:pt x="12" y="25"/>
                      <a:pt x="12" y="25"/>
                      <a:pt x="12" y="25"/>
                    </a:cubicBezTo>
                    <a:cubicBezTo>
                      <a:pt x="13" y="26"/>
                      <a:pt x="15" y="27"/>
                      <a:pt x="16" y="28"/>
                    </a:cubicBezTo>
                    <a:cubicBezTo>
                      <a:pt x="20" y="31"/>
                      <a:pt x="20" y="31"/>
                      <a:pt x="20" y="31"/>
                    </a:cubicBezTo>
                    <a:cubicBezTo>
                      <a:pt x="16" y="34"/>
                      <a:pt x="16" y="34"/>
                      <a:pt x="16" y="34"/>
                    </a:cubicBezTo>
                    <a:cubicBezTo>
                      <a:pt x="15" y="35"/>
                      <a:pt x="14" y="36"/>
                      <a:pt x="13" y="37"/>
                    </a:cubicBezTo>
                    <a:cubicBezTo>
                      <a:pt x="12" y="38"/>
                      <a:pt x="12" y="38"/>
                      <a:pt x="12" y="38"/>
                    </a:cubicBezTo>
                    <a:cubicBezTo>
                      <a:pt x="10" y="40"/>
                      <a:pt x="7" y="42"/>
                      <a:pt x="4" y="44"/>
                    </a:cubicBezTo>
                    <a:cubicBezTo>
                      <a:pt x="4" y="44"/>
                      <a:pt x="3" y="45"/>
                      <a:pt x="3" y="45"/>
                    </a:cubicBezTo>
                    <a:cubicBezTo>
                      <a:pt x="2" y="45"/>
                      <a:pt x="2" y="45"/>
                      <a:pt x="2" y="46"/>
                    </a:cubicBezTo>
                    <a:cubicBezTo>
                      <a:pt x="2" y="46"/>
                      <a:pt x="2" y="46"/>
                      <a:pt x="2" y="46"/>
                    </a:cubicBezTo>
                    <a:cubicBezTo>
                      <a:pt x="1" y="46"/>
                      <a:pt x="1" y="47"/>
                      <a:pt x="1" y="48"/>
                    </a:cubicBezTo>
                    <a:cubicBezTo>
                      <a:pt x="1" y="48"/>
                      <a:pt x="2" y="49"/>
                      <a:pt x="2" y="49"/>
                    </a:cubicBezTo>
                    <a:cubicBezTo>
                      <a:pt x="3" y="50"/>
                      <a:pt x="3" y="50"/>
                      <a:pt x="3" y="50"/>
                    </a:cubicBezTo>
                    <a:cubicBezTo>
                      <a:pt x="3" y="51"/>
                      <a:pt x="3" y="51"/>
                      <a:pt x="3" y="51"/>
                    </a:cubicBezTo>
                    <a:cubicBezTo>
                      <a:pt x="4" y="52"/>
                      <a:pt x="5" y="53"/>
                      <a:pt x="5" y="55"/>
                    </a:cubicBezTo>
                    <a:cubicBezTo>
                      <a:pt x="5" y="58"/>
                      <a:pt x="3" y="60"/>
                      <a:pt x="1" y="61"/>
                    </a:cubicBezTo>
                    <a:cubicBezTo>
                      <a:pt x="2" y="62"/>
                      <a:pt x="2" y="62"/>
                      <a:pt x="2" y="62"/>
                    </a:cubicBezTo>
                    <a:cubicBezTo>
                      <a:pt x="2" y="63"/>
                      <a:pt x="2" y="63"/>
                      <a:pt x="2" y="63"/>
                    </a:cubicBezTo>
                    <a:cubicBezTo>
                      <a:pt x="3" y="64"/>
                      <a:pt x="4" y="65"/>
                      <a:pt x="5" y="66"/>
                    </a:cubicBezTo>
                    <a:cubicBezTo>
                      <a:pt x="6" y="66"/>
                      <a:pt x="6" y="66"/>
                      <a:pt x="6" y="66"/>
                    </a:cubicBezTo>
                    <a:cubicBezTo>
                      <a:pt x="11" y="60"/>
                      <a:pt x="11" y="60"/>
                      <a:pt x="11" y="60"/>
                    </a:cubicBezTo>
                    <a:cubicBezTo>
                      <a:pt x="7" y="67"/>
                      <a:pt x="7" y="67"/>
                      <a:pt x="7" y="67"/>
                    </a:cubicBezTo>
                    <a:cubicBezTo>
                      <a:pt x="8" y="68"/>
                      <a:pt x="8" y="68"/>
                      <a:pt x="8" y="68"/>
                    </a:cubicBezTo>
                    <a:cubicBezTo>
                      <a:pt x="8" y="68"/>
                      <a:pt x="8" y="68"/>
                      <a:pt x="8" y="68"/>
                    </a:cubicBezTo>
                    <a:cubicBezTo>
                      <a:pt x="9" y="69"/>
                      <a:pt x="9" y="69"/>
                      <a:pt x="9" y="69"/>
                    </a:cubicBezTo>
                    <a:cubicBezTo>
                      <a:pt x="14" y="73"/>
                      <a:pt x="19" y="78"/>
                      <a:pt x="18" y="83"/>
                    </a:cubicBezTo>
                    <a:cubicBezTo>
                      <a:pt x="18" y="84"/>
                      <a:pt x="17" y="87"/>
                      <a:pt x="16" y="91"/>
                    </a:cubicBezTo>
                    <a:cubicBezTo>
                      <a:pt x="17" y="91"/>
                      <a:pt x="18" y="91"/>
                      <a:pt x="18" y="91"/>
                    </a:cubicBezTo>
                    <a:cubicBezTo>
                      <a:pt x="19" y="91"/>
                      <a:pt x="19" y="91"/>
                      <a:pt x="19" y="91"/>
                    </a:cubicBezTo>
                    <a:cubicBezTo>
                      <a:pt x="23" y="91"/>
                      <a:pt x="27" y="90"/>
                      <a:pt x="31" y="90"/>
                    </a:cubicBezTo>
                    <a:cubicBezTo>
                      <a:pt x="32" y="89"/>
                      <a:pt x="33" y="89"/>
                      <a:pt x="35" y="88"/>
                    </a:cubicBezTo>
                    <a:cubicBezTo>
                      <a:pt x="35" y="88"/>
                      <a:pt x="35" y="88"/>
                      <a:pt x="35" y="88"/>
                    </a:cubicBezTo>
                    <a:cubicBezTo>
                      <a:pt x="37" y="88"/>
                      <a:pt x="38" y="87"/>
                      <a:pt x="40" y="87"/>
                    </a:cubicBezTo>
                    <a:cubicBezTo>
                      <a:pt x="42" y="85"/>
                      <a:pt x="46" y="84"/>
                      <a:pt x="49" y="84"/>
                    </a:cubicBezTo>
                    <a:cubicBezTo>
                      <a:pt x="49" y="84"/>
                      <a:pt x="50" y="84"/>
                      <a:pt x="51" y="84"/>
                    </a:cubicBezTo>
                    <a:cubicBezTo>
                      <a:pt x="52" y="84"/>
                      <a:pt x="54" y="83"/>
                      <a:pt x="55" y="83"/>
                    </a:cubicBezTo>
                    <a:cubicBezTo>
                      <a:pt x="56" y="83"/>
                      <a:pt x="56" y="83"/>
                      <a:pt x="57" y="83"/>
                    </a:cubicBezTo>
                    <a:cubicBezTo>
                      <a:pt x="58" y="83"/>
                      <a:pt x="58" y="84"/>
                      <a:pt x="59" y="84"/>
                    </a:cubicBezTo>
                    <a:cubicBezTo>
                      <a:pt x="59" y="84"/>
                      <a:pt x="59" y="84"/>
                      <a:pt x="59" y="84"/>
                    </a:cubicBezTo>
                    <a:cubicBezTo>
                      <a:pt x="62" y="85"/>
                      <a:pt x="63" y="87"/>
                      <a:pt x="65" y="89"/>
                    </a:cubicBezTo>
                    <a:cubicBezTo>
                      <a:pt x="66" y="89"/>
                      <a:pt x="66" y="89"/>
                      <a:pt x="66" y="89"/>
                    </a:cubicBezTo>
                    <a:cubicBezTo>
                      <a:pt x="67" y="90"/>
                      <a:pt x="68" y="91"/>
                      <a:pt x="71" y="91"/>
                    </a:cubicBezTo>
                    <a:cubicBezTo>
                      <a:pt x="71" y="91"/>
                      <a:pt x="72" y="92"/>
                      <a:pt x="73" y="92"/>
                    </a:cubicBezTo>
                    <a:cubicBezTo>
                      <a:pt x="74" y="92"/>
                      <a:pt x="76" y="92"/>
                      <a:pt x="77" y="92"/>
                    </a:cubicBezTo>
                    <a:cubicBezTo>
                      <a:pt x="78" y="93"/>
                      <a:pt x="79" y="93"/>
                      <a:pt x="79" y="94"/>
                    </a:cubicBezTo>
                    <a:cubicBezTo>
                      <a:pt x="79" y="94"/>
                      <a:pt x="80" y="94"/>
                      <a:pt x="80" y="94"/>
                    </a:cubicBezTo>
                    <a:cubicBezTo>
                      <a:pt x="80" y="94"/>
                      <a:pt x="80" y="94"/>
                      <a:pt x="80" y="94"/>
                    </a:cubicBezTo>
                    <a:cubicBezTo>
                      <a:pt x="86" y="93"/>
                      <a:pt x="86" y="93"/>
                      <a:pt x="86" y="93"/>
                    </a:cubicBezTo>
                    <a:cubicBezTo>
                      <a:pt x="86" y="93"/>
                      <a:pt x="87" y="93"/>
                      <a:pt x="87" y="93"/>
                    </a:cubicBezTo>
                    <a:cubicBezTo>
                      <a:pt x="90" y="93"/>
                      <a:pt x="90" y="93"/>
                      <a:pt x="90" y="93"/>
                    </a:cubicBezTo>
                    <a:cubicBezTo>
                      <a:pt x="92" y="93"/>
                      <a:pt x="94" y="92"/>
                      <a:pt x="96" y="92"/>
                    </a:cubicBezTo>
                    <a:cubicBezTo>
                      <a:pt x="96" y="92"/>
                      <a:pt x="99" y="91"/>
                      <a:pt x="100" y="91"/>
                    </a:cubicBezTo>
                    <a:cubicBezTo>
                      <a:pt x="100" y="90"/>
                      <a:pt x="100" y="88"/>
                      <a:pt x="100" y="87"/>
                    </a:cubicBezTo>
                    <a:cubicBezTo>
                      <a:pt x="100" y="87"/>
                      <a:pt x="99" y="87"/>
                      <a:pt x="99" y="86"/>
                    </a:cubicBezTo>
                    <a:cubicBezTo>
                      <a:pt x="98" y="86"/>
                      <a:pt x="98" y="84"/>
                      <a:pt x="98" y="83"/>
                    </a:cubicBezTo>
                    <a:cubicBezTo>
                      <a:pt x="98" y="82"/>
                      <a:pt x="98" y="79"/>
                      <a:pt x="101" y="79"/>
                    </a:cubicBezTo>
                    <a:cubicBezTo>
                      <a:pt x="102" y="78"/>
                      <a:pt x="103" y="78"/>
                      <a:pt x="104" y="78"/>
                    </a:cubicBezTo>
                    <a:cubicBezTo>
                      <a:pt x="105" y="78"/>
                      <a:pt x="105" y="78"/>
                      <a:pt x="106" y="78"/>
                    </a:cubicBezTo>
                    <a:cubicBezTo>
                      <a:pt x="108" y="78"/>
                      <a:pt x="108" y="78"/>
                      <a:pt x="108" y="78"/>
                    </a:cubicBezTo>
                    <a:cubicBezTo>
                      <a:pt x="109" y="78"/>
                      <a:pt x="109" y="77"/>
                      <a:pt x="110" y="77"/>
                    </a:cubicBezTo>
                    <a:cubicBezTo>
                      <a:pt x="110" y="76"/>
                      <a:pt x="110" y="76"/>
                      <a:pt x="110" y="76"/>
                    </a:cubicBezTo>
                    <a:cubicBezTo>
                      <a:pt x="111" y="76"/>
                      <a:pt x="111" y="76"/>
                      <a:pt x="112" y="75"/>
                    </a:cubicBezTo>
                    <a:cubicBezTo>
                      <a:pt x="112" y="75"/>
                      <a:pt x="112" y="75"/>
                      <a:pt x="112" y="75"/>
                    </a:cubicBezTo>
                    <a:cubicBezTo>
                      <a:pt x="112" y="74"/>
                      <a:pt x="113" y="73"/>
                      <a:pt x="115" y="72"/>
                    </a:cubicBezTo>
                    <a:cubicBezTo>
                      <a:pt x="123" y="70"/>
                      <a:pt x="123" y="70"/>
                      <a:pt x="123" y="70"/>
                    </a:cubicBezTo>
                    <a:cubicBezTo>
                      <a:pt x="125" y="69"/>
                      <a:pt x="128" y="68"/>
                      <a:pt x="131" y="67"/>
                    </a:cubicBezTo>
                    <a:cubicBezTo>
                      <a:pt x="137" y="65"/>
                      <a:pt x="137" y="65"/>
                      <a:pt x="137" y="65"/>
                    </a:cubicBezTo>
                    <a:cubicBezTo>
                      <a:pt x="139" y="67"/>
                      <a:pt x="139" y="67"/>
                      <a:pt x="139" y="67"/>
                    </a:cubicBezTo>
                    <a:cubicBezTo>
                      <a:pt x="139" y="67"/>
                      <a:pt x="140" y="67"/>
                      <a:pt x="140" y="68"/>
                    </a:cubicBezTo>
                    <a:cubicBezTo>
                      <a:pt x="140" y="68"/>
                      <a:pt x="140" y="68"/>
                      <a:pt x="140" y="68"/>
                    </a:cubicBezTo>
                    <a:cubicBezTo>
                      <a:pt x="141" y="68"/>
                      <a:pt x="141" y="69"/>
                      <a:pt x="142" y="70"/>
                    </a:cubicBezTo>
                    <a:cubicBezTo>
                      <a:pt x="143" y="71"/>
                      <a:pt x="144" y="71"/>
                      <a:pt x="144" y="71"/>
                    </a:cubicBezTo>
                    <a:cubicBezTo>
                      <a:pt x="154" y="69"/>
                      <a:pt x="154" y="69"/>
                      <a:pt x="154" y="69"/>
                    </a:cubicBezTo>
                    <a:cubicBezTo>
                      <a:pt x="151" y="66"/>
                      <a:pt x="148" y="62"/>
                      <a:pt x="147" y="57"/>
                    </a:cubicBezTo>
                    <a:cubicBezTo>
                      <a:pt x="147" y="58"/>
                      <a:pt x="146" y="58"/>
                      <a:pt x="146" y="58"/>
                    </a:cubicBezTo>
                    <a:cubicBezTo>
                      <a:pt x="146" y="58"/>
                      <a:pt x="146" y="57"/>
                      <a:pt x="145" y="56"/>
                    </a:cubicBezTo>
                    <a:cubicBezTo>
                      <a:pt x="145" y="56"/>
                      <a:pt x="145" y="56"/>
                      <a:pt x="145" y="56"/>
                    </a:cubicBezTo>
                    <a:cubicBezTo>
                      <a:pt x="145" y="56"/>
                      <a:pt x="144" y="57"/>
                      <a:pt x="144" y="57"/>
                    </a:cubicBezTo>
                    <a:cubicBezTo>
                      <a:pt x="143" y="57"/>
                      <a:pt x="143" y="57"/>
                      <a:pt x="142" y="57"/>
                    </a:cubicBezTo>
                    <a:cubicBezTo>
                      <a:pt x="142" y="57"/>
                      <a:pt x="142" y="57"/>
                      <a:pt x="141" y="56"/>
                    </a:cubicBezTo>
                    <a:cubicBezTo>
                      <a:pt x="141" y="57"/>
                      <a:pt x="141" y="57"/>
                      <a:pt x="141" y="57"/>
                    </a:cubicBezTo>
                    <a:cubicBezTo>
                      <a:pt x="140" y="55"/>
                      <a:pt x="147" y="51"/>
                      <a:pt x="149" y="50"/>
                    </a:cubicBezTo>
                    <a:cubicBezTo>
                      <a:pt x="153" y="48"/>
                      <a:pt x="153" y="48"/>
                      <a:pt x="153" y="44"/>
                    </a:cubicBezTo>
                    <a:cubicBezTo>
                      <a:pt x="152" y="42"/>
                      <a:pt x="153" y="39"/>
                      <a:pt x="153" y="37"/>
                    </a:cubicBezTo>
                    <a:cubicBezTo>
                      <a:pt x="153" y="35"/>
                      <a:pt x="156" y="33"/>
                      <a:pt x="153" y="31"/>
                    </a:cubicBezTo>
                    <a:cubicBezTo>
                      <a:pt x="157" y="29"/>
                      <a:pt x="162" y="24"/>
                      <a:pt x="166" y="24"/>
                    </a:cubicBezTo>
                    <a:cubicBezTo>
                      <a:pt x="167" y="24"/>
                      <a:pt x="168" y="24"/>
                      <a:pt x="169" y="25"/>
                    </a:cubicBezTo>
                    <a:cubicBezTo>
                      <a:pt x="170" y="23"/>
                      <a:pt x="172" y="19"/>
                      <a:pt x="172" y="15"/>
                    </a:cubicBezTo>
                    <a:cubicBezTo>
                      <a:pt x="147" y="7"/>
                      <a:pt x="147" y="7"/>
                      <a:pt x="147" y="7"/>
                    </a:cubicBezTo>
                    <a:cubicBezTo>
                      <a:pt x="144" y="6"/>
                      <a:pt x="142" y="5"/>
                      <a:pt x="140" y="4"/>
                    </a:cubicBezTo>
                    <a:cubicBezTo>
                      <a:pt x="136" y="3"/>
                      <a:pt x="136" y="3"/>
                      <a:pt x="136" y="3"/>
                    </a:cubicBezTo>
                    <a:cubicBezTo>
                      <a:pt x="135" y="3"/>
                      <a:pt x="135" y="3"/>
                      <a:pt x="135" y="3"/>
                    </a:cubicBezTo>
                    <a:cubicBezTo>
                      <a:pt x="134" y="2"/>
                      <a:pt x="134" y="2"/>
                      <a:pt x="134" y="2"/>
                    </a:cubicBezTo>
                    <a:cubicBezTo>
                      <a:pt x="134" y="2"/>
                      <a:pt x="134" y="2"/>
                      <a:pt x="133" y="2"/>
                    </a:cubicBezTo>
                    <a:cubicBezTo>
                      <a:pt x="133" y="2"/>
                      <a:pt x="132" y="2"/>
                      <a:pt x="132" y="2"/>
                    </a:cubicBezTo>
                    <a:cubicBezTo>
                      <a:pt x="113" y="5"/>
                      <a:pt x="113" y="5"/>
                      <a:pt x="113" y="5"/>
                    </a:cubicBezTo>
                    <a:cubicBezTo>
                      <a:pt x="112" y="5"/>
                      <a:pt x="110" y="6"/>
                      <a:pt x="108" y="7"/>
                    </a:cubicBezTo>
                    <a:cubicBezTo>
                      <a:pt x="108" y="8"/>
                      <a:pt x="107" y="8"/>
                      <a:pt x="106" y="9"/>
                    </a:cubicBezTo>
                    <a:cubicBezTo>
                      <a:pt x="105" y="9"/>
                      <a:pt x="104" y="10"/>
                      <a:pt x="103" y="11"/>
                    </a:cubicBezTo>
                    <a:cubicBezTo>
                      <a:pt x="98" y="14"/>
                      <a:pt x="91" y="19"/>
                      <a:pt x="85" y="19"/>
                    </a:cubicBezTo>
                    <a:cubicBezTo>
                      <a:pt x="84" y="19"/>
                      <a:pt x="83" y="19"/>
                      <a:pt x="82" y="19"/>
                    </a:cubicBezTo>
                    <a:cubicBezTo>
                      <a:pt x="78" y="19"/>
                      <a:pt x="75" y="18"/>
                      <a:pt x="72" y="18"/>
                    </a:cubicBezTo>
                    <a:cubicBezTo>
                      <a:pt x="70" y="17"/>
                      <a:pt x="69" y="17"/>
                      <a:pt x="68" y="17"/>
                    </a:cubicBezTo>
                    <a:cubicBezTo>
                      <a:pt x="67" y="17"/>
                      <a:pt x="66" y="16"/>
                      <a:pt x="64" y="16"/>
                    </a:cubicBezTo>
                    <a:cubicBezTo>
                      <a:pt x="63" y="16"/>
                      <a:pt x="59" y="15"/>
                      <a:pt x="59" y="15"/>
                    </a:cubicBezTo>
                    <a:cubicBezTo>
                      <a:pt x="55" y="16"/>
                      <a:pt x="52" y="17"/>
                      <a:pt x="47" y="17"/>
                    </a:cubicBezTo>
                    <a:cubicBezTo>
                      <a:pt x="46" y="17"/>
                      <a:pt x="46" y="17"/>
                      <a:pt x="46" y="17"/>
                    </a:cubicBezTo>
                    <a:cubicBezTo>
                      <a:pt x="42" y="17"/>
                      <a:pt x="37" y="16"/>
                      <a:pt x="33" y="14"/>
                    </a:cubicBezTo>
                    <a:cubicBezTo>
                      <a:pt x="31" y="13"/>
                      <a:pt x="31" y="13"/>
                      <a:pt x="31" y="13"/>
                    </a:cubicBezTo>
                    <a:cubicBezTo>
                      <a:pt x="28" y="13"/>
                      <a:pt x="26" y="12"/>
                      <a:pt x="23" y="12"/>
                    </a:cubicBezTo>
                    <a:cubicBezTo>
                      <a:pt x="23" y="12"/>
                      <a:pt x="22" y="12"/>
                      <a:pt x="22" y="12"/>
                    </a:cubicBezTo>
                    <a:cubicBezTo>
                      <a:pt x="20" y="13"/>
                      <a:pt x="20" y="13"/>
                      <a:pt x="20" y="13"/>
                    </a:cubicBezTo>
                    <a:cubicBezTo>
                      <a:pt x="18" y="13"/>
                      <a:pt x="17" y="13"/>
                      <a:pt x="16" y="13"/>
                    </a:cubicBezTo>
                    <a:cubicBezTo>
                      <a:pt x="15" y="13"/>
                      <a:pt x="13" y="13"/>
                      <a:pt x="12" y="13"/>
                    </a:cubicBezTo>
                    <a:cubicBezTo>
                      <a:pt x="11" y="13"/>
                      <a:pt x="9" y="12"/>
                      <a:pt x="8" y="11"/>
                    </a:cubicBezTo>
                    <a:cubicBezTo>
                      <a:pt x="7" y="9"/>
                      <a:pt x="7" y="6"/>
                      <a:pt x="8" y="6"/>
                    </a:cubicBezTo>
                    <a:cubicBezTo>
                      <a:pt x="8" y="4"/>
                      <a:pt x="9" y="3"/>
                      <a:pt x="9" y="1"/>
                    </a:cubicBezTo>
                    <a:cubicBezTo>
                      <a:pt x="9" y="1"/>
                      <a:pt x="9" y="1"/>
                      <a:pt x="9" y="1"/>
                    </a:cubicBezTo>
                    <a:cubicBezTo>
                      <a:pt x="9" y="1"/>
                      <a:pt x="9" y="1"/>
                      <a:pt x="9" y="1"/>
                    </a:cubicBezTo>
                    <a:cubicBezTo>
                      <a:pt x="9" y="1"/>
                      <a:pt x="9" y="1"/>
                      <a:pt x="9" y="1"/>
                    </a:cubicBezTo>
                    <a:cubicBezTo>
                      <a:pt x="7" y="0"/>
                      <a:pt x="7" y="0"/>
                      <a:pt x="7" y="0"/>
                    </a:cubicBezTo>
                    <a:cubicBezTo>
                      <a:pt x="7" y="0"/>
                      <a:pt x="7" y="0"/>
                      <a:pt x="7"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72" name="Freeform 300">
                <a:extLst>
                  <a:ext uri="{FF2B5EF4-FFF2-40B4-BE49-F238E27FC236}">
                    <a16:creationId xmlns:a16="http://schemas.microsoft.com/office/drawing/2014/main" id="{EE888104-63B7-4B79-AFCB-562E1A77DEFE}"/>
                  </a:ext>
                </a:extLst>
              </p:cNvPr>
              <p:cNvSpPr>
                <a:spLocks/>
              </p:cNvSpPr>
              <p:nvPr/>
            </p:nvSpPr>
            <p:spPr bwMode="auto">
              <a:xfrm>
                <a:off x="6710596" y="4897519"/>
                <a:ext cx="269013" cy="206366"/>
              </a:xfrm>
              <a:custGeom>
                <a:avLst/>
                <a:gdLst>
                  <a:gd name="T0" fmla="*/ 34 w 85"/>
                  <a:gd name="T1" fmla="*/ 0 h 65"/>
                  <a:gd name="T2" fmla="*/ 32 w 85"/>
                  <a:gd name="T3" fmla="*/ 1 h 65"/>
                  <a:gd name="T4" fmla="*/ 23 w 85"/>
                  <a:gd name="T5" fmla="*/ 3 h 65"/>
                  <a:gd name="T6" fmla="*/ 16 w 85"/>
                  <a:gd name="T7" fmla="*/ 5 h 65"/>
                  <a:gd name="T8" fmla="*/ 16 w 85"/>
                  <a:gd name="T9" fmla="*/ 6 h 65"/>
                  <a:gd name="T10" fmla="*/ 14 w 85"/>
                  <a:gd name="T11" fmla="*/ 7 h 65"/>
                  <a:gd name="T12" fmla="*/ 14 w 85"/>
                  <a:gd name="T13" fmla="*/ 8 h 65"/>
                  <a:gd name="T14" fmla="*/ 16 w 85"/>
                  <a:gd name="T15" fmla="*/ 9 h 65"/>
                  <a:gd name="T16" fmla="*/ 15 w 85"/>
                  <a:gd name="T17" fmla="*/ 9 h 65"/>
                  <a:gd name="T18" fmla="*/ 17 w 85"/>
                  <a:gd name="T19" fmla="*/ 12 h 65"/>
                  <a:gd name="T20" fmla="*/ 18 w 85"/>
                  <a:gd name="T21" fmla="*/ 20 h 65"/>
                  <a:gd name="T22" fmla="*/ 12 w 85"/>
                  <a:gd name="T23" fmla="*/ 25 h 65"/>
                  <a:gd name="T24" fmla="*/ 11 w 85"/>
                  <a:gd name="T25" fmla="*/ 26 h 65"/>
                  <a:gd name="T26" fmla="*/ 10 w 85"/>
                  <a:gd name="T27" fmla="*/ 27 h 65"/>
                  <a:gd name="T28" fmla="*/ 10 w 85"/>
                  <a:gd name="T29" fmla="*/ 27 h 65"/>
                  <a:gd name="T30" fmla="*/ 10 w 85"/>
                  <a:gd name="T31" fmla="*/ 29 h 65"/>
                  <a:gd name="T32" fmla="*/ 9 w 85"/>
                  <a:gd name="T33" fmla="*/ 34 h 65"/>
                  <a:gd name="T34" fmla="*/ 9 w 85"/>
                  <a:gd name="T35" fmla="*/ 35 h 65"/>
                  <a:gd name="T36" fmla="*/ 7 w 85"/>
                  <a:gd name="T37" fmla="*/ 38 h 65"/>
                  <a:gd name="T38" fmla="*/ 6 w 85"/>
                  <a:gd name="T39" fmla="*/ 39 h 65"/>
                  <a:gd name="T40" fmla="*/ 0 w 85"/>
                  <a:gd name="T41" fmla="*/ 45 h 65"/>
                  <a:gd name="T42" fmla="*/ 0 w 85"/>
                  <a:gd name="T43" fmla="*/ 46 h 65"/>
                  <a:gd name="T44" fmla="*/ 4 w 85"/>
                  <a:gd name="T45" fmla="*/ 47 h 65"/>
                  <a:gd name="T46" fmla="*/ 12 w 85"/>
                  <a:gd name="T47" fmla="*/ 46 h 65"/>
                  <a:gd name="T48" fmla="*/ 17 w 85"/>
                  <a:gd name="T49" fmla="*/ 45 h 65"/>
                  <a:gd name="T50" fmla="*/ 19 w 85"/>
                  <a:gd name="T51" fmla="*/ 47 h 65"/>
                  <a:gd name="T52" fmla="*/ 14 w 85"/>
                  <a:gd name="T53" fmla="*/ 50 h 65"/>
                  <a:gd name="T54" fmla="*/ 4 w 85"/>
                  <a:gd name="T55" fmla="*/ 56 h 65"/>
                  <a:gd name="T56" fmla="*/ 2 w 85"/>
                  <a:gd name="T57" fmla="*/ 65 h 65"/>
                  <a:gd name="T58" fmla="*/ 33 w 85"/>
                  <a:gd name="T59" fmla="*/ 42 h 65"/>
                  <a:gd name="T60" fmla="*/ 46 w 85"/>
                  <a:gd name="T61" fmla="*/ 33 h 65"/>
                  <a:gd name="T62" fmla="*/ 62 w 85"/>
                  <a:gd name="T63" fmla="*/ 31 h 65"/>
                  <a:gd name="T64" fmla="*/ 66 w 85"/>
                  <a:gd name="T65" fmla="*/ 31 h 65"/>
                  <a:gd name="T66" fmla="*/ 74 w 85"/>
                  <a:gd name="T67" fmla="*/ 34 h 65"/>
                  <a:gd name="T68" fmla="*/ 74 w 85"/>
                  <a:gd name="T69" fmla="*/ 32 h 65"/>
                  <a:gd name="T70" fmla="*/ 81 w 85"/>
                  <a:gd name="T71" fmla="*/ 25 h 65"/>
                  <a:gd name="T72" fmla="*/ 85 w 85"/>
                  <a:gd name="T73" fmla="*/ 26 h 65"/>
                  <a:gd name="T74" fmla="*/ 85 w 85"/>
                  <a:gd name="T75" fmla="*/ 25 h 65"/>
                  <a:gd name="T76" fmla="*/ 78 w 85"/>
                  <a:gd name="T77" fmla="*/ 23 h 65"/>
                  <a:gd name="T78" fmla="*/ 60 w 85"/>
                  <a:gd name="T79" fmla="*/ 14 h 65"/>
                  <a:gd name="T80" fmla="*/ 55 w 85"/>
                  <a:gd name="T81" fmla="*/ 3 h 65"/>
                  <a:gd name="T82" fmla="*/ 43 w 85"/>
                  <a:gd name="T83" fmla="*/ 5 h 65"/>
                  <a:gd name="T84" fmla="*/ 42 w 85"/>
                  <a:gd name="T85" fmla="*/ 5 h 65"/>
                  <a:gd name="T86" fmla="*/ 35 w 85"/>
                  <a:gd name="T87" fmla="*/ 1 h 65"/>
                  <a:gd name="T88" fmla="*/ 34 w 85"/>
                  <a:gd name="T89" fmla="*/ 0 h 65"/>
                  <a:gd name="T90" fmla="*/ 34 w 85"/>
                  <a:gd name="T9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5" h="65">
                    <a:moveTo>
                      <a:pt x="34" y="0"/>
                    </a:moveTo>
                    <a:cubicBezTo>
                      <a:pt x="32" y="1"/>
                      <a:pt x="32" y="1"/>
                      <a:pt x="32" y="1"/>
                    </a:cubicBezTo>
                    <a:cubicBezTo>
                      <a:pt x="29" y="1"/>
                      <a:pt x="26" y="2"/>
                      <a:pt x="23" y="3"/>
                    </a:cubicBezTo>
                    <a:cubicBezTo>
                      <a:pt x="16" y="5"/>
                      <a:pt x="16" y="5"/>
                      <a:pt x="16" y="5"/>
                    </a:cubicBezTo>
                    <a:cubicBezTo>
                      <a:pt x="16" y="6"/>
                      <a:pt x="16" y="6"/>
                      <a:pt x="16" y="6"/>
                    </a:cubicBezTo>
                    <a:cubicBezTo>
                      <a:pt x="14" y="7"/>
                      <a:pt x="14" y="7"/>
                      <a:pt x="14" y="7"/>
                    </a:cubicBezTo>
                    <a:cubicBezTo>
                      <a:pt x="14" y="8"/>
                      <a:pt x="14" y="8"/>
                      <a:pt x="14" y="8"/>
                    </a:cubicBezTo>
                    <a:cubicBezTo>
                      <a:pt x="16" y="9"/>
                      <a:pt x="16" y="9"/>
                      <a:pt x="16" y="9"/>
                    </a:cubicBezTo>
                    <a:cubicBezTo>
                      <a:pt x="15" y="9"/>
                      <a:pt x="15" y="9"/>
                      <a:pt x="15" y="9"/>
                    </a:cubicBezTo>
                    <a:cubicBezTo>
                      <a:pt x="16" y="10"/>
                      <a:pt x="16" y="11"/>
                      <a:pt x="17" y="12"/>
                    </a:cubicBezTo>
                    <a:cubicBezTo>
                      <a:pt x="19" y="14"/>
                      <a:pt x="19" y="17"/>
                      <a:pt x="18" y="20"/>
                    </a:cubicBezTo>
                    <a:cubicBezTo>
                      <a:pt x="17" y="23"/>
                      <a:pt x="14" y="24"/>
                      <a:pt x="12" y="25"/>
                    </a:cubicBezTo>
                    <a:cubicBezTo>
                      <a:pt x="11" y="26"/>
                      <a:pt x="11" y="26"/>
                      <a:pt x="11" y="26"/>
                    </a:cubicBezTo>
                    <a:cubicBezTo>
                      <a:pt x="10" y="27"/>
                      <a:pt x="10" y="27"/>
                      <a:pt x="10" y="27"/>
                    </a:cubicBezTo>
                    <a:cubicBezTo>
                      <a:pt x="10" y="27"/>
                      <a:pt x="10" y="27"/>
                      <a:pt x="10" y="27"/>
                    </a:cubicBezTo>
                    <a:cubicBezTo>
                      <a:pt x="10" y="29"/>
                      <a:pt x="10" y="29"/>
                      <a:pt x="10" y="29"/>
                    </a:cubicBezTo>
                    <a:cubicBezTo>
                      <a:pt x="10" y="30"/>
                      <a:pt x="11" y="32"/>
                      <a:pt x="9" y="34"/>
                    </a:cubicBezTo>
                    <a:cubicBezTo>
                      <a:pt x="9" y="35"/>
                      <a:pt x="9" y="35"/>
                      <a:pt x="9" y="35"/>
                    </a:cubicBezTo>
                    <a:cubicBezTo>
                      <a:pt x="9" y="36"/>
                      <a:pt x="8" y="36"/>
                      <a:pt x="7" y="38"/>
                    </a:cubicBezTo>
                    <a:cubicBezTo>
                      <a:pt x="6" y="39"/>
                      <a:pt x="6" y="39"/>
                      <a:pt x="6" y="39"/>
                    </a:cubicBezTo>
                    <a:cubicBezTo>
                      <a:pt x="6" y="40"/>
                      <a:pt x="2" y="44"/>
                      <a:pt x="0" y="45"/>
                    </a:cubicBezTo>
                    <a:cubicBezTo>
                      <a:pt x="0" y="46"/>
                      <a:pt x="0" y="46"/>
                      <a:pt x="0" y="46"/>
                    </a:cubicBezTo>
                    <a:cubicBezTo>
                      <a:pt x="1" y="46"/>
                      <a:pt x="2" y="47"/>
                      <a:pt x="4" y="47"/>
                    </a:cubicBezTo>
                    <a:cubicBezTo>
                      <a:pt x="7" y="47"/>
                      <a:pt x="11" y="46"/>
                      <a:pt x="12" y="46"/>
                    </a:cubicBezTo>
                    <a:cubicBezTo>
                      <a:pt x="14" y="45"/>
                      <a:pt x="15" y="45"/>
                      <a:pt x="17" y="45"/>
                    </a:cubicBezTo>
                    <a:cubicBezTo>
                      <a:pt x="18" y="45"/>
                      <a:pt x="18" y="45"/>
                      <a:pt x="19" y="47"/>
                    </a:cubicBezTo>
                    <a:cubicBezTo>
                      <a:pt x="19" y="48"/>
                      <a:pt x="15" y="49"/>
                      <a:pt x="14" y="50"/>
                    </a:cubicBezTo>
                    <a:cubicBezTo>
                      <a:pt x="12" y="51"/>
                      <a:pt x="5" y="53"/>
                      <a:pt x="4" y="56"/>
                    </a:cubicBezTo>
                    <a:cubicBezTo>
                      <a:pt x="2" y="58"/>
                      <a:pt x="2" y="62"/>
                      <a:pt x="2" y="65"/>
                    </a:cubicBezTo>
                    <a:cubicBezTo>
                      <a:pt x="12" y="57"/>
                      <a:pt x="22" y="50"/>
                      <a:pt x="33" y="42"/>
                    </a:cubicBezTo>
                    <a:cubicBezTo>
                      <a:pt x="36" y="40"/>
                      <a:pt x="42" y="33"/>
                      <a:pt x="46" y="33"/>
                    </a:cubicBezTo>
                    <a:cubicBezTo>
                      <a:pt x="51" y="32"/>
                      <a:pt x="56" y="31"/>
                      <a:pt x="62" y="31"/>
                    </a:cubicBezTo>
                    <a:cubicBezTo>
                      <a:pt x="63" y="31"/>
                      <a:pt x="64" y="31"/>
                      <a:pt x="66" y="31"/>
                    </a:cubicBezTo>
                    <a:cubicBezTo>
                      <a:pt x="68" y="32"/>
                      <a:pt x="71" y="33"/>
                      <a:pt x="74" y="34"/>
                    </a:cubicBezTo>
                    <a:cubicBezTo>
                      <a:pt x="74" y="33"/>
                      <a:pt x="74" y="33"/>
                      <a:pt x="74" y="32"/>
                    </a:cubicBezTo>
                    <a:cubicBezTo>
                      <a:pt x="74" y="28"/>
                      <a:pt x="77" y="25"/>
                      <a:pt x="81" y="25"/>
                    </a:cubicBezTo>
                    <a:cubicBezTo>
                      <a:pt x="83" y="25"/>
                      <a:pt x="84" y="25"/>
                      <a:pt x="85" y="26"/>
                    </a:cubicBezTo>
                    <a:cubicBezTo>
                      <a:pt x="85" y="25"/>
                      <a:pt x="85" y="25"/>
                      <a:pt x="85" y="25"/>
                    </a:cubicBezTo>
                    <a:cubicBezTo>
                      <a:pt x="85" y="25"/>
                      <a:pt x="79" y="24"/>
                      <a:pt x="78" y="23"/>
                    </a:cubicBezTo>
                    <a:cubicBezTo>
                      <a:pt x="72" y="21"/>
                      <a:pt x="66" y="17"/>
                      <a:pt x="60" y="14"/>
                    </a:cubicBezTo>
                    <a:cubicBezTo>
                      <a:pt x="55" y="12"/>
                      <a:pt x="55" y="7"/>
                      <a:pt x="55" y="3"/>
                    </a:cubicBezTo>
                    <a:cubicBezTo>
                      <a:pt x="43" y="5"/>
                      <a:pt x="43" y="5"/>
                      <a:pt x="43" y="5"/>
                    </a:cubicBezTo>
                    <a:cubicBezTo>
                      <a:pt x="43" y="5"/>
                      <a:pt x="42" y="5"/>
                      <a:pt x="42" y="5"/>
                    </a:cubicBezTo>
                    <a:cubicBezTo>
                      <a:pt x="39" y="5"/>
                      <a:pt x="37" y="3"/>
                      <a:pt x="35" y="1"/>
                    </a:cubicBezTo>
                    <a:cubicBezTo>
                      <a:pt x="35" y="1"/>
                      <a:pt x="34" y="0"/>
                      <a:pt x="34" y="0"/>
                    </a:cubicBezTo>
                    <a:cubicBezTo>
                      <a:pt x="34" y="0"/>
                      <a:pt x="34" y="0"/>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73" name="Freeform 301">
                <a:extLst>
                  <a:ext uri="{FF2B5EF4-FFF2-40B4-BE49-F238E27FC236}">
                    <a16:creationId xmlns:a16="http://schemas.microsoft.com/office/drawing/2014/main" id="{9C46DE6C-D279-498C-90C9-C806D964B30C}"/>
                  </a:ext>
                </a:extLst>
              </p:cNvPr>
              <p:cNvSpPr>
                <a:spLocks/>
              </p:cNvSpPr>
              <p:nvPr/>
            </p:nvSpPr>
            <p:spPr bwMode="auto">
              <a:xfrm>
                <a:off x="6069386" y="4444250"/>
                <a:ext cx="342716" cy="412733"/>
              </a:xfrm>
              <a:custGeom>
                <a:avLst/>
                <a:gdLst>
                  <a:gd name="T0" fmla="*/ 21 w 108"/>
                  <a:gd name="T1" fmla="*/ 0 h 130"/>
                  <a:gd name="T2" fmla="*/ 2 w 108"/>
                  <a:gd name="T3" fmla="*/ 11 h 130"/>
                  <a:gd name="T4" fmla="*/ 2 w 108"/>
                  <a:gd name="T5" fmla="*/ 17 h 130"/>
                  <a:gd name="T6" fmla="*/ 6 w 108"/>
                  <a:gd name="T7" fmla="*/ 22 h 130"/>
                  <a:gd name="T8" fmla="*/ 10 w 108"/>
                  <a:gd name="T9" fmla="*/ 34 h 130"/>
                  <a:gd name="T10" fmla="*/ 6 w 108"/>
                  <a:gd name="T11" fmla="*/ 39 h 130"/>
                  <a:gd name="T12" fmla="*/ 13 w 108"/>
                  <a:gd name="T13" fmla="*/ 45 h 130"/>
                  <a:gd name="T14" fmla="*/ 11 w 108"/>
                  <a:gd name="T15" fmla="*/ 50 h 130"/>
                  <a:gd name="T16" fmla="*/ 7 w 108"/>
                  <a:gd name="T17" fmla="*/ 57 h 130"/>
                  <a:gd name="T18" fmla="*/ 9 w 108"/>
                  <a:gd name="T19" fmla="*/ 60 h 130"/>
                  <a:gd name="T20" fmla="*/ 15 w 108"/>
                  <a:gd name="T21" fmla="*/ 65 h 130"/>
                  <a:gd name="T22" fmla="*/ 17 w 108"/>
                  <a:gd name="T23" fmla="*/ 66 h 130"/>
                  <a:gd name="T24" fmla="*/ 20 w 108"/>
                  <a:gd name="T25" fmla="*/ 75 h 130"/>
                  <a:gd name="T26" fmla="*/ 17 w 108"/>
                  <a:gd name="T27" fmla="*/ 77 h 130"/>
                  <a:gd name="T28" fmla="*/ 15 w 108"/>
                  <a:gd name="T29" fmla="*/ 77 h 130"/>
                  <a:gd name="T30" fmla="*/ 18 w 108"/>
                  <a:gd name="T31" fmla="*/ 83 h 130"/>
                  <a:gd name="T32" fmla="*/ 17 w 108"/>
                  <a:gd name="T33" fmla="*/ 87 h 130"/>
                  <a:gd name="T34" fmla="*/ 13 w 108"/>
                  <a:gd name="T35" fmla="*/ 90 h 130"/>
                  <a:gd name="T36" fmla="*/ 44 w 108"/>
                  <a:gd name="T37" fmla="*/ 104 h 130"/>
                  <a:gd name="T38" fmla="*/ 46 w 108"/>
                  <a:gd name="T39" fmla="*/ 96 h 130"/>
                  <a:gd name="T40" fmla="*/ 49 w 108"/>
                  <a:gd name="T41" fmla="*/ 95 h 130"/>
                  <a:gd name="T42" fmla="*/ 54 w 108"/>
                  <a:gd name="T43" fmla="*/ 95 h 130"/>
                  <a:gd name="T44" fmla="*/ 66 w 108"/>
                  <a:gd name="T45" fmla="*/ 105 h 130"/>
                  <a:gd name="T46" fmla="*/ 77 w 108"/>
                  <a:gd name="T47" fmla="*/ 116 h 130"/>
                  <a:gd name="T48" fmla="*/ 79 w 108"/>
                  <a:gd name="T49" fmla="*/ 130 h 130"/>
                  <a:gd name="T50" fmla="*/ 93 w 108"/>
                  <a:gd name="T51" fmla="*/ 128 h 130"/>
                  <a:gd name="T52" fmla="*/ 95 w 108"/>
                  <a:gd name="T53" fmla="*/ 127 h 130"/>
                  <a:gd name="T54" fmla="*/ 95 w 108"/>
                  <a:gd name="T55" fmla="*/ 118 h 130"/>
                  <a:gd name="T56" fmla="*/ 99 w 108"/>
                  <a:gd name="T57" fmla="*/ 109 h 130"/>
                  <a:gd name="T58" fmla="*/ 108 w 108"/>
                  <a:gd name="T59" fmla="*/ 101 h 130"/>
                  <a:gd name="T60" fmla="*/ 104 w 108"/>
                  <a:gd name="T61" fmla="*/ 99 h 130"/>
                  <a:gd name="T62" fmla="*/ 94 w 108"/>
                  <a:gd name="T63" fmla="*/ 86 h 130"/>
                  <a:gd name="T64" fmla="*/ 93 w 108"/>
                  <a:gd name="T65" fmla="*/ 79 h 130"/>
                  <a:gd name="T66" fmla="*/ 100 w 108"/>
                  <a:gd name="T67" fmla="*/ 66 h 130"/>
                  <a:gd name="T68" fmla="*/ 98 w 108"/>
                  <a:gd name="T69" fmla="*/ 54 h 130"/>
                  <a:gd name="T70" fmla="*/ 94 w 108"/>
                  <a:gd name="T71" fmla="*/ 58 h 130"/>
                  <a:gd name="T72" fmla="*/ 93 w 108"/>
                  <a:gd name="T73" fmla="*/ 58 h 130"/>
                  <a:gd name="T74" fmla="*/ 90 w 108"/>
                  <a:gd name="T75" fmla="*/ 60 h 130"/>
                  <a:gd name="T76" fmla="*/ 88 w 108"/>
                  <a:gd name="T77" fmla="*/ 59 h 130"/>
                  <a:gd name="T78" fmla="*/ 59 w 108"/>
                  <a:gd name="T79" fmla="*/ 45 h 130"/>
                  <a:gd name="T80" fmla="*/ 69 w 108"/>
                  <a:gd name="T81" fmla="*/ 39 h 130"/>
                  <a:gd name="T82" fmla="*/ 59 w 108"/>
                  <a:gd name="T83" fmla="*/ 30 h 130"/>
                  <a:gd name="T84" fmla="*/ 54 w 108"/>
                  <a:gd name="T85" fmla="*/ 27 h 130"/>
                  <a:gd name="T86" fmla="*/ 51 w 108"/>
                  <a:gd name="T87" fmla="*/ 26 h 130"/>
                  <a:gd name="T88" fmla="*/ 49 w 108"/>
                  <a:gd name="T89" fmla="*/ 24 h 130"/>
                  <a:gd name="T90" fmla="*/ 47 w 108"/>
                  <a:gd name="T91" fmla="*/ 21 h 130"/>
                  <a:gd name="T92" fmla="*/ 46 w 108"/>
                  <a:gd name="T93" fmla="*/ 17 h 130"/>
                  <a:gd name="T94" fmla="*/ 30 w 108"/>
                  <a:gd name="T95" fmla="*/ 1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8" h="130">
                    <a:moveTo>
                      <a:pt x="27" y="0"/>
                    </a:moveTo>
                    <a:cubicBezTo>
                      <a:pt x="21" y="0"/>
                      <a:pt x="21" y="0"/>
                      <a:pt x="21" y="0"/>
                    </a:cubicBezTo>
                    <a:cubicBezTo>
                      <a:pt x="21" y="0"/>
                      <a:pt x="21" y="0"/>
                      <a:pt x="21" y="0"/>
                    </a:cubicBezTo>
                    <a:cubicBezTo>
                      <a:pt x="19" y="1"/>
                      <a:pt x="19" y="1"/>
                      <a:pt x="19" y="1"/>
                    </a:cubicBezTo>
                    <a:cubicBezTo>
                      <a:pt x="0" y="8"/>
                      <a:pt x="0" y="8"/>
                      <a:pt x="0" y="8"/>
                    </a:cubicBezTo>
                    <a:cubicBezTo>
                      <a:pt x="1" y="9"/>
                      <a:pt x="2" y="9"/>
                      <a:pt x="2" y="11"/>
                    </a:cubicBezTo>
                    <a:cubicBezTo>
                      <a:pt x="2" y="11"/>
                      <a:pt x="2" y="11"/>
                      <a:pt x="2" y="11"/>
                    </a:cubicBezTo>
                    <a:cubicBezTo>
                      <a:pt x="1" y="16"/>
                      <a:pt x="1" y="16"/>
                      <a:pt x="1" y="16"/>
                    </a:cubicBezTo>
                    <a:cubicBezTo>
                      <a:pt x="2" y="17"/>
                      <a:pt x="2" y="17"/>
                      <a:pt x="2" y="17"/>
                    </a:cubicBezTo>
                    <a:cubicBezTo>
                      <a:pt x="3" y="17"/>
                      <a:pt x="3" y="17"/>
                      <a:pt x="3" y="17"/>
                    </a:cubicBezTo>
                    <a:cubicBezTo>
                      <a:pt x="4" y="18"/>
                      <a:pt x="6" y="19"/>
                      <a:pt x="6" y="22"/>
                    </a:cubicBezTo>
                    <a:cubicBezTo>
                      <a:pt x="6" y="22"/>
                      <a:pt x="6" y="22"/>
                      <a:pt x="6" y="22"/>
                    </a:cubicBezTo>
                    <a:cubicBezTo>
                      <a:pt x="21" y="32"/>
                      <a:pt x="21" y="32"/>
                      <a:pt x="21" y="32"/>
                    </a:cubicBezTo>
                    <a:cubicBezTo>
                      <a:pt x="12" y="33"/>
                      <a:pt x="12" y="33"/>
                      <a:pt x="12" y="33"/>
                    </a:cubicBezTo>
                    <a:cubicBezTo>
                      <a:pt x="12" y="33"/>
                      <a:pt x="11" y="33"/>
                      <a:pt x="10" y="34"/>
                    </a:cubicBezTo>
                    <a:cubicBezTo>
                      <a:pt x="8" y="34"/>
                      <a:pt x="7" y="34"/>
                      <a:pt x="6" y="34"/>
                    </a:cubicBezTo>
                    <a:cubicBezTo>
                      <a:pt x="6" y="34"/>
                      <a:pt x="6" y="35"/>
                      <a:pt x="6" y="35"/>
                    </a:cubicBezTo>
                    <a:cubicBezTo>
                      <a:pt x="6" y="36"/>
                      <a:pt x="6" y="38"/>
                      <a:pt x="6" y="39"/>
                    </a:cubicBezTo>
                    <a:cubicBezTo>
                      <a:pt x="7" y="39"/>
                      <a:pt x="8" y="39"/>
                      <a:pt x="9" y="39"/>
                    </a:cubicBezTo>
                    <a:cubicBezTo>
                      <a:pt x="16" y="38"/>
                      <a:pt x="16" y="38"/>
                      <a:pt x="16" y="38"/>
                    </a:cubicBezTo>
                    <a:cubicBezTo>
                      <a:pt x="13" y="45"/>
                      <a:pt x="13" y="45"/>
                      <a:pt x="13" y="45"/>
                    </a:cubicBezTo>
                    <a:cubicBezTo>
                      <a:pt x="13" y="46"/>
                      <a:pt x="12" y="47"/>
                      <a:pt x="12" y="48"/>
                    </a:cubicBezTo>
                    <a:cubicBezTo>
                      <a:pt x="12" y="50"/>
                      <a:pt x="12" y="50"/>
                      <a:pt x="12" y="50"/>
                    </a:cubicBezTo>
                    <a:cubicBezTo>
                      <a:pt x="11" y="50"/>
                      <a:pt x="11" y="50"/>
                      <a:pt x="11" y="50"/>
                    </a:cubicBezTo>
                    <a:cubicBezTo>
                      <a:pt x="10" y="52"/>
                      <a:pt x="9" y="53"/>
                      <a:pt x="9" y="55"/>
                    </a:cubicBezTo>
                    <a:cubicBezTo>
                      <a:pt x="8" y="56"/>
                      <a:pt x="8" y="56"/>
                      <a:pt x="8" y="56"/>
                    </a:cubicBezTo>
                    <a:cubicBezTo>
                      <a:pt x="8" y="56"/>
                      <a:pt x="7" y="57"/>
                      <a:pt x="7" y="57"/>
                    </a:cubicBezTo>
                    <a:cubicBezTo>
                      <a:pt x="7" y="59"/>
                      <a:pt x="7" y="59"/>
                      <a:pt x="8" y="60"/>
                    </a:cubicBezTo>
                    <a:cubicBezTo>
                      <a:pt x="8" y="60"/>
                      <a:pt x="8" y="60"/>
                      <a:pt x="8" y="60"/>
                    </a:cubicBezTo>
                    <a:cubicBezTo>
                      <a:pt x="8" y="60"/>
                      <a:pt x="8" y="60"/>
                      <a:pt x="9" y="60"/>
                    </a:cubicBezTo>
                    <a:cubicBezTo>
                      <a:pt x="9" y="60"/>
                      <a:pt x="9" y="60"/>
                      <a:pt x="9" y="60"/>
                    </a:cubicBezTo>
                    <a:cubicBezTo>
                      <a:pt x="10" y="60"/>
                      <a:pt x="11" y="61"/>
                      <a:pt x="12" y="61"/>
                    </a:cubicBezTo>
                    <a:cubicBezTo>
                      <a:pt x="13" y="62"/>
                      <a:pt x="14" y="63"/>
                      <a:pt x="15" y="65"/>
                    </a:cubicBezTo>
                    <a:cubicBezTo>
                      <a:pt x="15" y="65"/>
                      <a:pt x="15" y="66"/>
                      <a:pt x="16" y="66"/>
                    </a:cubicBezTo>
                    <a:cubicBezTo>
                      <a:pt x="16" y="67"/>
                      <a:pt x="16" y="67"/>
                      <a:pt x="16" y="67"/>
                    </a:cubicBezTo>
                    <a:cubicBezTo>
                      <a:pt x="17" y="66"/>
                      <a:pt x="17" y="66"/>
                      <a:pt x="17" y="66"/>
                    </a:cubicBezTo>
                    <a:cubicBezTo>
                      <a:pt x="19" y="68"/>
                      <a:pt x="19" y="68"/>
                      <a:pt x="19" y="68"/>
                    </a:cubicBezTo>
                    <a:cubicBezTo>
                      <a:pt x="21" y="69"/>
                      <a:pt x="21" y="71"/>
                      <a:pt x="21" y="73"/>
                    </a:cubicBezTo>
                    <a:cubicBezTo>
                      <a:pt x="20" y="75"/>
                      <a:pt x="20" y="75"/>
                      <a:pt x="20" y="75"/>
                    </a:cubicBezTo>
                    <a:cubicBezTo>
                      <a:pt x="20" y="75"/>
                      <a:pt x="20" y="75"/>
                      <a:pt x="20" y="75"/>
                    </a:cubicBezTo>
                    <a:cubicBezTo>
                      <a:pt x="19" y="75"/>
                      <a:pt x="19" y="75"/>
                      <a:pt x="18" y="76"/>
                    </a:cubicBezTo>
                    <a:cubicBezTo>
                      <a:pt x="18" y="76"/>
                      <a:pt x="18" y="76"/>
                      <a:pt x="17" y="77"/>
                    </a:cubicBezTo>
                    <a:cubicBezTo>
                      <a:pt x="17" y="77"/>
                      <a:pt x="17" y="77"/>
                      <a:pt x="17" y="77"/>
                    </a:cubicBezTo>
                    <a:cubicBezTo>
                      <a:pt x="16" y="77"/>
                      <a:pt x="16" y="77"/>
                      <a:pt x="16" y="77"/>
                    </a:cubicBezTo>
                    <a:cubicBezTo>
                      <a:pt x="15" y="77"/>
                      <a:pt x="15" y="77"/>
                      <a:pt x="15" y="77"/>
                    </a:cubicBezTo>
                    <a:cubicBezTo>
                      <a:pt x="16" y="78"/>
                      <a:pt x="17" y="79"/>
                      <a:pt x="17" y="80"/>
                    </a:cubicBezTo>
                    <a:cubicBezTo>
                      <a:pt x="18" y="81"/>
                      <a:pt x="18" y="81"/>
                      <a:pt x="18" y="81"/>
                    </a:cubicBezTo>
                    <a:cubicBezTo>
                      <a:pt x="18" y="82"/>
                      <a:pt x="18" y="83"/>
                      <a:pt x="18" y="83"/>
                    </a:cubicBezTo>
                    <a:cubicBezTo>
                      <a:pt x="18" y="84"/>
                      <a:pt x="18" y="84"/>
                      <a:pt x="18" y="84"/>
                    </a:cubicBezTo>
                    <a:cubicBezTo>
                      <a:pt x="18" y="85"/>
                      <a:pt x="18" y="86"/>
                      <a:pt x="17" y="87"/>
                    </a:cubicBezTo>
                    <a:cubicBezTo>
                      <a:pt x="17" y="87"/>
                      <a:pt x="17" y="87"/>
                      <a:pt x="17" y="87"/>
                    </a:cubicBezTo>
                    <a:cubicBezTo>
                      <a:pt x="16" y="88"/>
                      <a:pt x="15" y="89"/>
                      <a:pt x="14" y="89"/>
                    </a:cubicBezTo>
                    <a:cubicBezTo>
                      <a:pt x="14" y="90"/>
                      <a:pt x="14" y="90"/>
                      <a:pt x="14" y="90"/>
                    </a:cubicBezTo>
                    <a:cubicBezTo>
                      <a:pt x="13" y="90"/>
                      <a:pt x="13" y="90"/>
                      <a:pt x="13" y="90"/>
                    </a:cubicBezTo>
                    <a:cubicBezTo>
                      <a:pt x="38" y="109"/>
                      <a:pt x="38" y="109"/>
                      <a:pt x="38" y="109"/>
                    </a:cubicBezTo>
                    <a:cubicBezTo>
                      <a:pt x="38" y="107"/>
                      <a:pt x="40" y="104"/>
                      <a:pt x="44" y="104"/>
                    </a:cubicBezTo>
                    <a:cubicBezTo>
                      <a:pt x="44" y="104"/>
                      <a:pt x="44" y="104"/>
                      <a:pt x="44" y="104"/>
                    </a:cubicBezTo>
                    <a:cubicBezTo>
                      <a:pt x="44" y="104"/>
                      <a:pt x="44" y="104"/>
                      <a:pt x="44" y="104"/>
                    </a:cubicBezTo>
                    <a:cubicBezTo>
                      <a:pt x="43" y="102"/>
                      <a:pt x="43" y="101"/>
                      <a:pt x="43" y="99"/>
                    </a:cubicBezTo>
                    <a:cubicBezTo>
                      <a:pt x="44" y="97"/>
                      <a:pt x="45" y="97"/>
                      <a:pt x="46" y="96"/>
                    </a:cubicBezTo>
                    <a:cubicBezTo>
                      <a:pt x="46" y="96"/>
                      <a:pt x="46" y="96"/>
                      <a:pt x="46" y="96"/>
                    </a:cubicBezTo>
                    <a:cubicBezTo>
                      <a:pt x="47" y="95"/>
                      <a:pt x="47" y="95"/>
                      <a:pt x="48" y="95"/>
                    </a:cubicBezTo>
                    <a:cubicBezTo>
                      <a:pt x="48" y="95"/>
                      <a:pt x="49" y="95"/>
                      <a:pt x="49" y="95"/>
                    </a:cubicBezTo>
                    <a:cubicBezTo>
                      <a:pt x="50" y="95"/>
                      <a:pt x="50" y="95"/>
                      <a:pt x="50" y="95"/>
                    </a:cubicBezTo>
                    <a:cubicBezTo>
                      <a:pt x="51" y="95"/>
                      <a:pt x="51" y="95"/>
                      <a:pt x="51" y="95"/>
                    </a:cubicBezTo>
                    <a:cubicBezTo>
                      <a:pt x="52" y="95"/>
                      <a:pt x="53" y="95"/>
                      <a:pt x="54" y="95"/>
                    </a:cubicBezTo>
                    <a:cubicBezTo>
                      <a:pt x="55" y="95"/>
                      <a:pt x="55" y="95"/>
                      <a:pt x="56" y="95"/>
                    </a:cubicBezTo>
                    <a:cubicBezTo>
                      <a:pt x="64" y="96"/>
                      <a:pt x="65" y="100"/>
                      <a:pt x="65" y="102"/>
                    </a:cubicBezTo>
                    <a:cubicBezTo>
                      <a:pt x="65" y="105"/>
                      <a:pt x="66" y="105"/>
                      <a:pt x="66" y="105"/>
                    </a:cubicBezTo>
                    <a:cubicBezTo>
                      <a:pt x="72" y="106"/>
                      <a:pt x="73" y="110"/>
                      <a:pt x="73" y="112"/>
                    </a:cubicBezTo>
                    <a:cubicBezTo>
                      <a:pt x="73" y="113"/>
                      <a:pt x="74" y="114"/>
                      <a:pt x="74" y="114"/>
                    </a:cubicBezTo>
                    <a:cubicBezTo>
                      <a:pt x="74" y="115"/>
                      <a:pt x="75" y="115"/>
                      <a:pt x="77" y="116"/>
                    </a:cubicBezTo>
                    <a:cubicBezTo>
                      <a:pt x="78" y="116"/>
                      <a:pt x="79" y="116"/>
                      <a:pt x="80" y="117"/>
                    </a:cubicBezTo>
                    <a:cubicBezTo>
                      <a:pt x="81" y="117"/>
                      <a:pt x="82" y="119"/>
                      <a:pt x="82" y="120"/>
                    </a:cubicBezTo>
                    <a:cubicBezTo>
                      <a:pt x="83" y="123"/>
                      <a:pt x="81" y="127"/>
                      <a:pt x="79" y="130"/>
                    </a:cubicBezTo>
                    <a:cubicBezTo>
                      <a:pt x="79" y="130"/>
                      <a:pt x="79" y="130"/>
                      <a:pt x="79" y="130"/>
                    </a:cubicBezTo>
                    <a:cubicBezTo>
                      <a:pt x="84" y="129"/>
                      <a:pt x="88" y="128"/>
                      <a:pt x="92" y="128"/>
                    </a:cubicBezTo>
                    <a:cubicBezTo>
                      <a:pt x="93" y="128"/>
                      <a:pt x="93" y="128"/>
                      <a:pt x="93" y="128"/>
                    </a:cubicBezTo>
                    <a:cubicBezTo>
                      <a:pt x="94" y="128"/>
                      <a:pt x="94" y="128"/>
                      <a:pt x="94" y="128"/>
                    </a:cubicBezTo>
                    <a:cubicBezTo>
                      <a:pt x="94" y="128"/>
                      <a:pt x="94" y="128"/>
                      <a:pt x="94" y="128"/>
                    </a:cubicBezTo>
                    <a:cubicBezTo>
                      <a:pt x="95" y="127"/>
                      <a:pt x="95" y="127"/>
                      <a:pt x="95" y="127"/>
                    </a:cubicBezTo>
                    <a:cubicBezTo>
                      <a:pt x="96" y="126"/>
                      <a:pt x="97" y="125"/>
                      <a:pt x="97" y="125"/>
                    </a:cubicBezTo>
                    <a:cubicBezTo>
                      <a:pt x="96" y="123"/>
                      <a:pt x="96" y="123"/>
                      <a:pt x="96" y="123"/>
                    </a:cubicBezTo>
                    <a:cubicBezTo>
                      <a:pt x="95" y="121"/>
                      <a:pt x="95" y="120"/>
                      <a:pt x="95" y="118"/>
                    </a:cubicBezTo>
                    <a:cubicBezTo>
                      <a:pt x="94" y="116"/>
                      <a:pt x="95" y="114"/>
                      <a:pt x="95" y="112"/>
                    </a:cubicBezTo>
                    <a:cubicBezTo>
                      <a:pt x="96" y="112"/>
                      <a:pt x="96" y="111"/>
                      <a:pt x="97" y="111"/>
                    </a:cubicBezTo>
                    <a:cubicBezTo>
                      <a:pt x="98" y="110"/>
                      <a:pt x="99" y="109"/>
                      <a:pt x="99" y="109"/>
                    </a:cubicBezTo>
                    <a:cubicBezTo>
                      <a:pt x="100" y="108"/>
                      <a:pt x="100" y="108"/>
                      <a:pt x="100" y="108"/>
                    </a:cubicBezTo>
                    <a:cubicBezTo>
                      <a:pt x="103" y="106"/>
                      <a:pt x="105" y="104"/>
                      <a:pt x="108" y="102"/>
                    </a:cubicBezTo>
                    <a:cubicBezTo>
                      <a:pt x="108" y="101"/>
                      <a:pt x="108" y="101"/>
                      <a:pt x="108" y="101"/>
                    </a:cubicBezTo>
                    <a:cubicBezTo>
                      <a:pt x="107" y="101"/>
                      <a:pt x="107" y="101"/>
                      <a:pt x="107" y="101"/>
                    </a:cubicBezTo>
                    <a:cubicBezTo>
                      <a:pt x="106" y="100"/>
                      <a:pt x="105" y="100"/>
                      <a:pt x="105" y="99"/>
                    </a:cubicBezTo>
                    <a:cubicBezTo>
                      <a:pt x="104" y="99"/>
                      <a:pt x="104" y="99"/>
                      <a:pt x="104" y="99"/>
                    </a:cubicBezTo>
                    <a:cubicBezTo>
                      <a:pt x="103" y="98"/>
                      <a:pt x="102" y="97"/>
                      <a:pt x="101" y="96"/>
                    </a:cubicBezTo>
                    <a:cubicBezTo>
                      <a:pt x="99" y="95"/>
                      <a:pt x="98" y="93"/>
                      <a:pt x="97" y="92"/>
                    </a:cubicBezTo>
                    <a:cubicBezTo>
                      <a:pt x="96" y="90"/>
                      <a:pt x="95" y="88"/>
                      <a:pt x="94" y="86"/>
                    </a:cubicBezTo>
                    <a:cubicBezTo>
                      <a:pt x="94" y="85"/>
                      <a:pt x="94" y="85"/>
                      <a:pt x="94" y="85"/>
                    </a:cubicBezTo>
                    <a:cubicBezTo>
                      <a:pt x="94" y="84"/>
                      <a:pt x="94" y="84"/>
                      <a:pt x="94" y="83"/>
                    </a:cubicBezTo>
                    <a:cubicBezTo>
                      <a:pt x="93" y="82"/>
                      <a:pt x="93" y="80"/>
                      <a:pt x="93" y="79"/>
                    </a:cubicBezTo>
                    <a:cubicBezTo>
                      <a:pt x="94" y="78"/>
                      <a:pt x="94" y="78"/>
                      <a:pt x="94" y="78"/>
                    </a:cubicBezTo>
                    <a:cubicBezTo>
                      <a:pt x="100" y="67"/>
                      <a:pt x="100" y="67"/>
                      <a:pt x="100" y="67"/>
                    </a:cubicBezTo>
                    <a:cubicBezTo>
                      <a:pt x="100" y="67"/>
                      <a:pt x="100" y="66"/>
                      <a:pt x="100" y="66"/>
                    </a:cubicBezTo>
                    <a:cubicBezTo>
                      <a:pt x="98" y="64"/>
                      <a:pt x="97" y="61"/>
                      <a:pt x="97" y="59"/>
                    </a:cubicBezTo>
                    <a:cubicBezTo>
                      <a:pt x="96" y="58"/>
                      <a:pt x="97" y="56"/>
                      <a:pt x="98" y="54"/>
                    </a:cubicBezTo>
                    <a:cubicBezTo>
                      <a:pt x="98" y="54"/>
                      <a:pt x="98" y="54"/>
                      <a:pt x="98" y="54"/>
                    </a:cubicBezTo>
                    <a:cubicBezTo>
                      <a:pt x="97" y="55"/>
                      <a:pt x="97" y="55"/>
                      <a:pt x="97" y="55"/>
                    </a:cubicBezTo>
                    <a:cubicBezTo>
                      <a:pt x="97" y="55"/>
                      <a:pt x="96" y="56"/>
                      <a:pt x="95" y="57"/>
                    </a:cubicBezTo>
                    <a:cubicBezTo>
                      <a:pt x="94" y="58"/>
                      <a:pt x="94" y="58"/>
                      <a:pt x="94" y="58"/>
                    </a:cubicBezTo>
                    <a:cubicBezTo>
                      <a:pt x="93" y="57"/>
                      <a:pt x="93" y="57"/>
                      <a:pt x="93" y="57"/>
                    </a:cubicBezTo>
                    <a:cubicBezTo>
                      <a:pt x="94" y="58"/>
                      <a:pt x="94" y="58"/>
                      <a:pt x="94" y="58"/>
                    </a:cubicBezTo>
                    <a:cubicBezTo>
                      <a:pt x="93" y="58"/>
                      <a:pt x="93" y="58"/>
                      <a:pt x="93" y="58"/>
                    </a:cubicBezTo>
                    <a:cubicBezTo>
                      <a:pt x="93" y="59"/>
                      <a:pt x="92" y="59"/>
                      <a:pt x="92" y="59"/>
                    </a:cubicBezTo>
                    <a:cubicBezTo>
                      <a:pt x="92" y="60"/>
                      <a:pt x="92" y="60"/>
                      <a:pt x="92" y="60"/>
                    </a:cubicBezTo>
                    <a:cubicBezTo>
                      <a:pt x="90" y="60"/>
                      <a:pt x="90" y="60"/>
                      <a:pt x="90" y="60"/>
                    </a:cubicBezTo>
                    <a:cubicBezTo>
                      <a:pt x="90" y="60"/>
                      <a:pt x="90" y="60"/>
                      <a:pt x="90" y="60"/>
                    </a:cubicBezTo>
                    <a:cubicBezTo>
                      <a:pt x="89" y="60"/>
                      <a:pt x="89" y="59"/>
                      <a:pt x="88" y="59"/>
                    </a:cubicBezTo>
                    <a:cubicBezTo>
                      <a:pt x="88" y="59"/>
                      <a:pt x="88" y="59"/>
                      <a:pt x="88" y="59"/>
                    </a:cubicBezTo>
                    <a:cubicBezTo>
                      <a:pt x="87" y="58"/>
                      <a:pt x="87" y="58"/>
                      <a:pt x="87" y="58"/>
                    </a:cubicBezTo>
                    <a:cubicBezTo>
                      <a:pt x="86" y="57"/>
                      <a:pt x="84" y="56"/>
                      <a:pt x="82" y="54"/>
                    </a:cubicBezTo>
                    <a:cubicBezTo>
                      <a:pt x="59" y="45"/>
                      <a:pt x="59" y="45"/>
                      <a:pt x="59" y="45"/>
                    </a:cubicBezTo>
                    <a:cubicBezTo>
                      <a:pt x="66" y="41"/>
                      <a:pt x="66" y="41"/>
                      <a:pt x="66" y="41"/>
                    </a:cubicBezTo>
                    <a:cubicBezTo>
                      <a:pt x="67" y="41"/>
                      <a:pt x="68" y="40"/>
                      <a:pt x="69" y="40"/>
                    </a:cubicBezTo>
                    <a:cubicBezTo>
                      <a:pt x="69" y="39"/>
                      <a:pt x="69" y="39"/>
                      <a:pt x="69" y="39"/>
                    </a:cubicBezTo>
                    <a:cubicBezTo>
                      <a:pt x="69" y="38"/>
                      <a:pt x="68" y="37"/>
                      <a:pt x="68" y="35"/>
                    </a:cubicBezTo>
                    <a:cubicBezTo>
                      <a:pt x="68" y="35"/>
                      <a:pt x="68" y="35"/>
                      <a:pt x="68" y="35"/>
                    </a:cubicBezTo>
                    <a:cubicBezTo>
                      <a:pt x="59" y="30"/>
                      <a:pt x="59" y="30"/>
                      <a:pt x="59" y="30"/>
                    </a:cubicBezTo>
                    <a:cubicBezTo>
                      <a:pt x="59" y="30"/>
                      <a:pt x="58" y="29"/>
                      <a:pt x="57" y="29"/>
                    </a:cubicBezTo>
                    <a:cubicBezTo>
                      <a:pt x="56" y="29"/>
                      <a:pt x="56" y="29"/>
                      <a:pt x="56" y="29"/>
                    </a:cubicBezTo>
                    <a:cubicBezTo>
                      <a:pt x="55" y="28"/>
                      <a:pt x="54" y="28"/>
                      <a:pt x="54" y="27"/>
                    </a:cubicBezTo>
                    <a:cubicBezTo>
                      <a:pt x="53" y="27"/>
                      <a:pt x="53" y="27"/>
                      <a:pt x="53" y="27"/>
                    </a:cubicBezTo>
                    <a:cubicBezTo>
                      <a:pt x="52" y="27"/>
                      <a:pt x="52" y="27"/>
                      <a:pt x="52" y="27"/>
                    </a:cubicBezTo>
                    <a:cubicBezTo>
                      <a:pt x="52" y="26"/>
                      <a:pt x="51" y="26"/>
                      <a:pt x="51" y="26"/>
                    </a:cubicBezTo>
                    <a:cubicBezTo>
                      <a:pt x="50" y="25"/>
                      <a:pt x="50" y="25"/>
                      <a:pt x="50" y="25"/>
                    </a:cubicBezTo>
                    <a:cubicBezTo>
                      <a:pt x="50" y="25"/>
                      <a:pt x="50" y="25"/>
                      <a:pt x="50" y="25"/>
                    </a:cubicBezTo>
                    <a:cubicBezTo>
                      <a:pt x="49" y="24"/>
                      <a:pt x="49" y="24"/>
                      <a:pt x="49" y="24"/>
                    </a:cubicBezTo>
                    <a:cubicBezTo>
                      <a:pt x="49" y="24"/>
                      <a:pt x="49" y="24"/>
                      <a:pt x="49" y="24"/>
                    </a:cubicBezTo>
                    <a:cubicBezTo>
                      <a:pt x="48" y="23"/>
                      <a:pt x="48" y="23"/>
                      <a:pt x="48" y="23"/>
                    </a:cubicBezTo>
                    <a:cubicBezTo>
                      <a:pt x="47" y="21"/>
                      <a:pt x="47" y="21"/>
                      <a:pt x="47" y="21"/>
                    </a:cubicBezTo>
                    <a:cubicBezTo>
                      <a:pt x="47" y="21"/>
                      <a:pt x="47" y="21"/>
                      <a:pt x="47" y="21"/>
                    </a:cubicBezTo>
                    <a:cubicBezTo>
                      <a:pt x="48" y="19"/>
                      <a:pt x="48" y="19"/>
                      <a:pt x="48" y="19"/>
                    </a:cubicBezTo>
                    <a:cubicBezTo>
                      <a:pt x="47" y="18"/>
                      <a:pt x="47" y="17"/>
                      <a:pt x="46" y="17"/>
                    </a:cubicBezTo>
                    <a:cubicBezTo>
                      <a:pt x="45" y="16"/>
                      <a:pt x="45" y="15"/>
                      <a:pt x="44" y="15"/>
                    </a:cubicBezTo>
                    <a:cubicBezTo>
                      <a:pt x="34" y="2"/>
                      <a:pt x="34" y="2"/>
                      <a:pt x="34" y="2"/>
                    </a:cubicBezTo>
                    <a:cubicBezTo>
                      <a:pt x="32" y="1"/>
                      <a:pt x="31" y="1"/>
                      <a:pt x="30" y="1"/>
                    </a:cubicBezTo>
                    <a:cubicBezTo>
                      <a:pt x="29" y="0"/>
                      <a:pt x="28"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74" name="Rectangle 302">
                <a:extLst>
                  <a:ext uri="{FF2B5EF4-FFF2-40B4-BE49-F238E27FC236}">
                    <a16:creationId xmlns:a16="http://schemas.microsoft.com/office/drawing/2014/main" id="{90C0808D-B435-407E-BF2B-F1B242F0996A}"/>
                  </a:ext>
                </a:extLst>
              </p:cNvPr>
              <p:cNvSpPr>
                <a:spLocks noChangeArrowheads="1"/>
              </p:cNvSpPr>
              <p:nvPr/>
            </p:nvSpPr>
            <p:spPr bwMode="auto">
              <a:xfrm>
                <a:off x="6065701" y="4466361"/>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75" name="Freeform 303">
                <a:extLst>
                  <a:ext uri="{FF2B5EF4-FFF2-40B4-BE49-F238E27FC236}">
                    <a16:creationId xmlns:a16="http://schemas.microsoft.com/office/drawing/2014/main" id="{86449003-1B1C-410B-8A54-E8980EABA461}"/>
                  </a:ext>
                </a:extLst>
              </p:cNvPr>
              <p:cNvSpPr>
                <a:spLocks/>
              </p:cNvSpPr>
              <p:nvPr/>
            </p:nvSpPr>
            <p:spPr bwMode="auto">
              <a:xfrm>
                <a:off x="6065701" y="4466361"/>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76" name="Freeform 304">
                <a:extLst>
                  <a:ext uri="{FF2B5EF4-FFF2-40B4-BE49-F238E27FC236}">
                    <a16:creationId xmlns:a16="http://schemas.microsoft.com/office/drawing/2014/main" id="{13F37369-FCC6-4BB2-8718-4269F701FDA3}"/>
                  </a:ext>
                </a:extLst>
              </p:cNvPr>
              <p:cNvSpPr>
                <a:spLocks/>
              </p:cNvSpPr>
              <p:nvPr/>
            </p:nvSpPr>
            <p:spPr bwMode="auto">
              <a:xfrm>
                <a:off x="6205735" y="4208403"/>
                <a:ext cx="825466" cy="497491"/>
              </a:xfrm>
              <a:custGeom>
                <a:avLst/>
                <a:gdLst>
                  <a:gd name="T0" fmla="*/ 160 w 260"/>
                  <a:gd name="T1" fmla="*/ 9 h 156"/>
                  <a:gd name="T2" fmla="*/ 141 w 260"/>
                  <a:gd name="T3" fmla="*/ 11 h 156"/>
                  <a:gd name="T4" fmla="*/ 131 w 260"/>
                  <a:gd name="T5" fmla="*/ 17 h 156"/>
                  <a:gd name="T6" fmla="*/ 119 w 260"/>
                  <a:gd name="T7" fmla="*/ 15 h 156"/>
                  <a:gd name="T8" fmla="*/ 108 w 260"/>
                  <a:gd name="T9" fmla="*/ 10 h 156"/>
                  <a:gd name="T10" fmla="*/ 106 w 260"/>
                  <a:gd name="T11" fmla="*/ 10 h 156"/>
                  <a:gd name="T12" fmla="*/ 93 w 260"/>
                  <a:gd name="T13" fmla="*/ 9 h 156"/>
                  <a:gd name="T14" fmla="*/ 88 w 260"/>
                  <a:gd name="T15" fmla="*/ 8 h 156"/>
                  <a:gd name="T16" fmla="*/ 77 w 260"/>
                  <a:gd name="T17" fmla="*/ 5 h 156"/>
                  <a:gd name="T18" fmla="*/ 74 w 260"/>
                  <a:gd name="T19" fmla="*/ 7 h 156"/>
                  <a:gd name="T20" fmla="*/ 71 w 260"/>
                  <a:gd name="T21" fmla="*/ 9 h 156"/>
                  <a:gd name="T22" fmla="*/ 53 w 260"/>
                  <a:gd name="T23" fmla="*/ 20 h 156"/>
                  <a:gd name="T24" fmla="*/ 48 w 260"/>
                  <a:gd name="T25" fmla="*/ 23 h 156"/>
                  <a:gd name="T26" fmla="*/ 37 w 260"/>
                  <a:gd name="T27" fmla="*/ 40 h 156"/>
                  <a:gd name="T28" fmla="*/ 33 w 260"/>
                  <a:gd name="T29" fmla="*/ 49 h 156"/>
                  <a:gd name="T30" fmla="*/ 25 w 260"/>
                  <a:gd name="T31" fmla="*/ 64 h 156"/>
                  <a:gd name="T32" fmla="*/ 11 w 260"/>
                  <a:gd name="T33" fmla="*/ 70 h 156"/>
                  <a:gd name="T34" fmla="*/ 0 w 260"/>
                  <a:gd name="T35" fmla="*/ 75 h 156"/>
                  <a:gd name="T36" fmla="*/ 11 w 260"/>
                  <a:gd name="T37" fmla="*/ 90 h 156"/>
                  <a:gd name="T38" fmla="*/ 19 w 260"/>
                  <a:gd name="T39" fmla="*/ 97 h 156"/>
                  <a:gd name="T40" fmla="*/ 32 w 260"/>
                  <a:gd name="T41" fmla="*/ 109 h 156"/>
                  <a:gd name="T42" fmla="*/ 32 w 260"/>
                  <a:gd name="T43" fmla="*/ 118 h 156"/>
                  <a:gd name="T44" fmla="*/ 50 w 260"/>
                  <a:gd name="T45" fmla="*/ 124 h 156"/>
                  <a:gd name="T46" fmla="*/ 58 w 260"/>
                  <a:gd name="T47" fmla="*/ 120 h 156"/>
                  <a:gd name="T48" fmla="*/ 66 w 260"/>
                  <a:gd name="T49" fmla="*/ 125 h 156"/>
                  <a:gd name="T50" fmla="*/ 67 w 260"/>
                  <a:gd name="T51" fmla="*/ 129 h 156"/>
                  <a:gd name="T52" fmla="*/ 66 w 260"/>
                  <a:gd name="T53" fmla="*/ 132 h 156"/>
                  <a:gd name="T54" fmla="*/ 61 w 260"/>
                  <a:gd name="T55" fmla="*/ 132 h 156"/>
                  <a:gd name="T56" fmla="*/ 61 w 260"/>
                  <a:gd name="T57" fmla="*/ 133 h 156"/>
                  <a:gd name="T58" fmla="*/ 63 w 260"/>
                  <a:gd name="T59" fmla="*/ 136 h 156"/>
                  <a:gd name="T60" fmla="*/ 73 w 260"/>
                  <a:gd name="T61" fmla="*/ 147 h 156"/>
                  <a:gd name="T62" fmla="*/ 73 w 260"/>
                  <a:gd name="T63" fmla="*/ 150 h 156"/>
                  <a:gd name="T64" fmla="*/ 80 w 260"/>
                  <a:gd name="T65" fmla="*/ 149 h 156"/>
                  <a:gd name="T66" fmla="*/ 103 w 260"/>
                  <a:gd name="T67" fmla="*/ 154 h 156"/>
                  <a:gd name="T68" fmla="*/ 123 w 260"/>
                  <a:gd name="T69" fmla="*/ 153 h 156"/>
                  <a:gd name="T70" fmla="*/ 130 w 260"/>
                  <a:gd name="T71" fmla="*/ 156 h 156"/>
                  <a:gd name="T72" fmla="*/ 140 w 260"/>
                  <a:gd name="T73" fmla="*/ 156 h 156"/>
                  <a:gd name="T74" fmla="*/ 157 w 260"/>
                  <a:gd name="T75" fmla="*/ 149 h 156"/>
                  <a:gd name="T76" fmla="*/ 169 w 260"/>
                  <a:gd name="T77" fmla="*/ 142 h 156"/>
                  <a:gd name="T78" fmla="*/ 192 w 260"/>
                  <a:gd name="T79" fmla="*/ 139 h 156"/>
                  <a:gd name="T80" fmla="*/ 199 w 260"/>
                  <a:gd name="T81" fmla="*/ 142 h 156"/>
                  <a:gd name="T82" fmla="*/ 232 w 260"/>
                  <a:gd name="T83" fmla="*/ 135 h 156"/>
                  <a:gd name="T84" fmla="*/ 235 w 260"/>
                  <a:gd name="T85" fmla="*/ 125 h 156"/>
                  <a:gd name="T86" fmla="*/ 240 w 260"/>
                  <a:gd name="T87" fmla="*/ 123 h 156"/>
                  <a:gd name="T88" fmla="*/ 235 w 260"/>
                  <a:gd name="T89" fmla="*/ 123 h 156"/>
                  <a:gd name="T90" fmla="*/ 246 w 260"/>
                  <a:gd name="T91" fmla="*/ 117 h 156"/>
                  <a:gd name="T92" fmla="*/ 260 w 260"/>
                  <a:gd name="T93" fmla="*/ 113 h 156"/>
                  <a:gd name="T94" fmla="*/ 258 w 260"/>
                  <a:gd name="T95" fmla="*/ 105 h 156"/>
                  <a:gd name="T96" fmla="*/ 244 w 260"/>
                  <a:gd name="T97" fmla="*/ 104 h 156"/>
                  <a:gd name="T98" fmla="*/ 237 w 260"/>
                  <a:gd name="T99" fmla="*/ 107 h 156"/>
                  <a:gd name="T100" fmla="*/ 231 w 260"/>
                  <a:gd name="T101" fmla="*/ 107 h 156"/>
                  <a:gd name="T102" fmla="*/ 220 w 260"/>
                  <a:gd name="T103" fmla="*/ 101 h 156"/>
                  <a:gd name="T104" fmla="*/ 214 w 260"/>
                  <a:gd name="T105" fmla="*/ 96 h 156"/>
                  <a:gd name="T106" fmla="*/ 212 w 260"/>
                  <a:gd name="T107" fmla="*/ 94 h 156"/>
                  <a:gd name="T108" fmla="*/ 212 w 260"/>
                  <a:gd name="T109" fmla="*/ 80 h 156"/>
                  <a:gd name="T110" fmla="*/ 214 w 260"/>
                  <a:gd name="T111" fmla="*/ 50 h 156"/>
                  <a:gd name="T112" fmla="*/ 211 w 260"/>
                  <a:gd name="T113" fmla="*/ 43 h 156"/>
                  <a:gd name="T114" fmla="*/ 194 w 260"/>
                  <a:gd name="T115" fmla="*/ 23 h 156"/>
                  <a:gd name="T116" fmla="*/ 187 w 260"/>
                  <a:gd name="T117" fmla="*/ 10 h 156"/>
                  <a:gd name="T118" fmla="*/ 183 w 260"/>
                  <a:gd name="T119" fmla="*/ 4 h 156"/>
                  <a:gd name="T120" fmla="*/ 175 w 260"/>
                  <a:gd name="T1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 h="156">
                    <a:moveTo>
                      <a:pt x="175" y="0"/>
                    </a:moveTo>
                    <a:cubicBezTo>
                      <a:pt x="162" y="8"/>
                      <a:pt x="162" y="8"/>
                      <a:pt x="162" y="8"/>
                    </a:cubicBezTo>
                    <a:cubicBezTo>
                      <a:pt x="161" y="8"/>
                      <a:pt x="160" y="9"/>
                      <a:pt x="160" y="9"/>
                    </a:cubicBezTo>
                    <a:cubicBezTo>
                      <a:pt x="155" y="10"/>
                      <a:pt x="151" y="11"/>
                      <a:pt x="147" y="11"/>
                    </a:cubicBezTo>
                    <a:cubicBezTo>
                      <a:pt x="145" y="11"/>
                      <a:pt x="143" y="11"/>
                      <a:pt x="142" y="11"/>
                    </a:cubicBezTo>
                    <a:cubicBezTo>
                      <a:pt x="141" y="11"/>
                      <a:pt x="141" y="11"/>
                      <a:pt x="141" y="11"/>
                    </a:cubicBezTo>
                    <a:cubicBezTo>
                      <a:pt x="140" y="11"/>
                      <a:pt x="139" y="11"/>
                      <a:pt x="139" y="12"/>
                    </a:cubicBezTo>
                    <a:cubicBezTo>
                      <a:pt x="138" y="12"/>
                      <a:pt x="136" y="13"/>
                      <a:pt x="135" y="14"/>
                    </a:cubicBezTo>
                    <a:cubicBezTo>
                      <a:pt x="131" y="17"/>
                      <a:pt x="131" y="17"/>
                      <a:pt x="131" y="17"/>
                    </a:cubicBezTo>
                    <a:cubicBezTo>
                      <a:pt x="129" y="18"/>
                      <a:pt x="127" y="18"/>
                      <a:pt x="126" y="18"/>
                    </a:cubicBezTo>
                    <a:cubicBezTo>
                      <a:pt x="125" y="18"/>
                      <a:pt x="125" y="18"/>
                      <a:pt x="124" y="18"/>
                    </a:cubicBezTo>
                    <a:cubicBezTo>
                      <a:pt x="122" y="17"/>
                      <a:pt x="121" y="16"/>
                      <a:pt x="119" y="15"/>
                    </a:cubicBezTo>
                    <a:cubicBezTo>
                      <a:pt x="118" y="14"/>
                      <a:pt x="118" y="14"/>
                      <a:pt x="118" y="14"/>
                    </a:cubicBezTo>
                    <a:cubicBezTo>
                      <a:pt x="117" y="12"/>
                      <a:pt x="116" y="11"/>
                      <a:pt x="114" y="10"/>
                    </a:cubicBezTo>
                    <a:cubicBezTo>
                      <a:pt x="113" y="10"/>
                      <a:pt x="111" y="10"/>
                      <a:pt x="108" y="10"/>
                    </a:cubicBezTo>
                    <a:cubicBezTo>
                      <a:pt x="108" y="10"/>
                      <a:pt x="108" y="10"/>
                      <a:pt x="108" y="10"/>
                    </a:cubicBezTo>
                    <a:cubicBezTo>
                      <a:pt x="107" y="10"/>
                      <a:pt x="107" y="10"/>
                      <a:pt x="107" y="10"/>
                    </a:cubicBezTo>
                    <a:cubicBezTo>
                      <a:pt x="107" y="10"/>
                      <a:pt x="106" y="10"/>
                      <a:pt x="106" y="10"/>
                    </a:cubicBezTo>
                    <a:cubicBezTo>
                      <a:pt x="105" y="10"/>
                      <a:pt x="104" y="10"/>
                      <a:pt x="103" y="9"/>
                    </a:cubicBezTo>
                    <a:cubicBezTo>
                      <a:pt x="95" y="9"/>
                      <a:pt x="95" y="9"/>
                      <a:pt x="95" y="9"/>
                    </a:cubicBezTo>
                    <a:cubicBezTo>
                      <a:pt x="95" y="9"/>
                      <a:pt x="94" y="9"/>
                      <a:pt x="93" y="9"/>
                    </a:cubicBezTo>
                    <a:cubicBezTo>
                      <a:pt x="92" y="8"/>
                      <a:pt x="92" y="8"/>
                      <a:pt x="92" y="8"/>
                    </a:cubicBezTo>
                    <a:cubicBezTo>
                      <a:pt x="92" y="8"/>
                      <a:pt x="89" y="8"/>
                      <a:pt x="88" y="8"/>
                    </a:cubicBezTo>
                    <a:cubicBezTo>
                      <a:pt x="88" y="8"/>
                      <a:pt x="88" y="8"/>
                      <a:pt x="88" y="8"/>
                    </a:cubicBezTo>
                    <a:cubicBezTo>
                      <a:pt x="87" y="9"/>
                      <a:pt x="86" y="9"/>
                      <a:pt x="85" y="9"/>
                    </a:cubicBezTo>
                    <a:cubicBezTo>
                      <a:pt x="82" y="9"/>
                      <a:pt x="80" y="7"/>
                      <a:pt x="79" y="7"/>
                    </a:cubicBezTo>
                    <a:cubicBezTo>
                      <a:pt x="78" y="6"/>
                      <a:pt x="78" y="6"/>
                      <a:pt x="77" y="5"/>
                    </a:cubicBezTo>
                    <a:cubicBezTo>
                      <a:pt x="76" y="5"/>
                      <a:pt x="76" y="5"/>
                      <a:pt x="76" y="5"/>
                    </a:cubicBezTo>
                    <a:cubicBezTo>
                      <a:pt x="76" y="5"/>
                      <a:pt x="76" y="5"/>
                      <a:pt x="76" y="5"/>
                    </a:cubicBezTo>
                    <a:cubicBezTo>
                      <a:pt x="75" y="6"/>
                      <a:pt x="74" y="6"/>
                      <a:pt x="74" y="7"/>
                    </a:cubicBezTo>
                    <a:cubicBezTo>
                      <a:pt x="73" y="7"/>
                      <a:pt x="73" y="7"/>
                      <a:pt x="73" y="7"/>
                    </a:cubicBezTo>
                    <a:cubicBezTo>
                      <a:pt x="75" y="8"/>
                      <a:pt x="75" y="8"/>
                      <a:pt x="75" y="8"/>
                    </a:cubicBezTo>
                    <a:cubicBezTo>
                      <a:pt x="71" y="9"/>
                      <a:pt x="71" y="9"/>
                      <a:pt x="71" y="9"/>
                    </a:cubicBezTo>
                    <a:cubicBezTo>
                      <a:pt x="70" y="9"/>
                      <a:pt x="70" y="9"/>
                      <a:pt x="70" y="9"/>
                    </a:cubicBezTo>
                    <a:cubicBezTo>
                      <a:pt x="69" y="10"/>
                      <a:pt x="69" y="10"/>
                      <a:pt x="68" y="11"/>
                    </a:cubicBezTo>
                    <a:cubicBezTo>
                      <a:pt x="53" y="20"/>
                      <a:pt x="53" y="20"/>
                      <a:pt x="53" y="20"/>
                    </a:cubicBezTo>
                    <a:cubicBezTo>
                      <a:pt x="53" y="20"/>
                      <a:pt x="53" y="21"/>
                      <a:pt x="52" y="21"/>
                    </a:cubicBezTo>
                    <a:cubicBezTo>
                      <a:pt x="51" y="21"/>
                      <a:pt x="51" y="21"/>
                      <a:pt x="51" y="21"/>
                    </a:cubicBezTo>
                    <a:cubicBezTo>
                      <a:pt x="50" y="22"/>
                      <a:pt x="49" y="23"/>
                      <a:pt x="48" y="23"/>
                    </a:cubicBezTo>
                    <a:cubicBezTo>
                      <a:pt x="47" y="24"/>
                      <a:pt x="45" y="27"/>
                      <a:pt x="44" y="28"/>
                    </a:cubicBezTo>
                    <a:cubicBezTo>
                      <a:pt x="44" y="29"/>
                      <a:pt x="44" y="29"/>
                      <a:pt x="44" y="29"/>
                    </a:cubicBezTo>
                    <a:cubicBezTo>
                      <a:pt x="42" y="33"/>
                      <a:pt x="39" y="36"/>
                      <a:pt x="37" y="40"/>
                    </a:cubicBezTo>
                    <a:cubicBezTo>
                      <a:pt x="36" y="41"/>
                      <a:pt x="36" y="41"/>
                      <a:pt x="36" y="41"/>
                    </a:cubicBezTo>
                    <a:cubicBezTo>
                      <a:pt x="36" y="42"/>
                      <a:pt x="36" y="42"/>
                      <a:pt x="36" y="42"/>
                    </a:cubicBezTo>
                    <a:cubicBezTo>
                      <a:pt x="35" y="44"/>
                      <a:pt x="34" y="46"/>
                      <a:pt x="33" y="49"/>
                    </a:cubicBezTo>
                    <a:cubicBezTo>
                      <a:pt x="32" y="50"/>
                      <a:pt x="32" y="50"/>
                      <a:pt x="32" y="50"/>
                    </a:cubicBezTo>
                    <a:cubicBezTo>
                      <a:pt x="32" y="52"/>
                      <a:pt x="31" y="54"/>
                      <a:pt x="30" y="55"/>
                    </a:cubicBezTo>
                    <a:cubicBezTo>
                      <a:pt x="28" y="59"/>
                      <a:pt x="27" y="62"/>
                      <a:pt x="25" y="64"/>
                    </a:cubicBezTo>
                    <a:cubicBezTo>
                      <a:pt x="23" y="66"/>
                      <a:pt x="21" y="70"/>
                      <a:pt x="16" y="70"/>
                    </a:cubicBezTo>
                    <a:cubicBezTo>
                      <a:pt x="15" y="70"/>
                      <a:pt x="14" y="70"/>
                      <a:pt x="12" y="70"/>
                    </a:cubicBezTo>
                    <a:cubicBezTo>
                      <a:pt x="11" y="70"/>
                      <a:pt x="11" y="70"/>
                      <a:pt x="11" y="70"/>
                    </a:cubicBezTo>
                    <a:cubicBezTo>
                      <a:pt x="10" y="71"/>
                      <a:pt x="10" y="71"/>
                      <a:pt x="10" y="71"/>
                    </a:cubicBezTo>
                    <a:cubicBezTo>
                      <a:pt x="9" y="73"/>
                      <a:pt x="7" y="74"/>
                      <a:pt x="5" y="75"/>
                    </a:cubicBezTo>
                    <a:cubicBezTo>
                      <a:pt x="3" y="75"/>
                      <a:pt x="1" y="75"/>
                      <a:pt x="0" y="75"/>
                    </a:cubicBezTo>
                    <a:cubicBezTo>
                      <a:pt x="7" y="84"/>
                      <a:pt x="7" y="84"/>
                      <a:pt x="7" y="84"/>
                    </a:cubicBezTo>
                    <a:cubicBezTo>
                      <a:pt x="7" y="85"/>
                      <a:pt x="7" y="85"/>
                      <a:pt x="8" y="86"/>
                    </a:cubicBezTo>
                    <a:cubicBezTo>
                      <a:pt x="9" y="87"/>
                      <a:pt x="10" y="88"/>
                      <a:pt x="11" y="90"/>
                    </a:cubicBezTo>
                    <a:cubicBezTo>
                      <a:pt x="11" y="90"/>
                      <a:pt x="11" y="91"/>
                      <a:pt x="12" y="91"/>
                    </a:cubicBezTo>
                    <a:cubicBezTo>
                      <a:pt x="12" y="92"/>
                      <a:pt x="12" y="93"/>
                      <a:pt x="12" y="94"/>
                    </a:cubicBezTo>
                    <a:cubicBezTo>
                      <a:pt x="13" y="95"/>
                      <a:pt x="16" y="96"/>
                      <a:pt x="19" y="97"/>
                    </a:cubicBezTo>
                    <a:cubicBezTo>
                      <a:pt x="20" y="98"/>
                      <a:pt x="20" y="98"/>
                      <a:pt x="20" y="98"/>
                    </a:cubicBezTo>
                    <a:cubicBezTo>
                      <a:pt x="30" y="104"/>
                      <a:pt x="30" y="104"/>
                      <a:pt x="30" y="104"/>
                    </a:cubicBezTo>
                    <a:cubicBezTo>
                      <a:pt x="31" y="105"/>
                      <a:pt x="32" y="107"/>
                      <a:pt x="32" y="109"/>
                    </a:cubicBezTo>
                    <a:cubicBezTo>
                      <a:pt x="32" y="110"/>
                      <a:pt x="32" y="111"/>
                      <a:pt x="32" y="111"/>
                    </a:cubicBezTo>
                    <a:cubicBezTo>
                      <a:pt x="33" y="112"/>
                      <a:pt x="33" y="112"/>
                      <a:pt x="33" y="112"/>
                    </a:cubicBezTo>
                    <a:cubicBezTo>
                      <a:pt x="33" y="114"/>
                      <a:pt x="33" y="116"/>
                      <a:pt x="32" y="118"/>
                    </a:cubicBezTo>
                    <a:cubicBezTo>
                      <a:pt x="42" y="122"/>
                      <a:pt x="42" y="122"/>
                      <a:pt x="42" y="122"/>
                    </a:cubicBezTo>
                    <a:cubicBezTo>
                      <a:pt x="44" y="123"/>
                      <a:pt x="46" y="124"/>
                      <a:pt x="47" y="126"/>
                    </a:cubicBezTo>
                    <a:cubicBezTo>
                      <a:pt x="48" y="125"/>
                      <a:pt x="49" y="124"/>
                      <a:pt x="50" y="124"/>
                    </a:cubicBezTo>
                    <a:cubicBezTo>
                      <a:pt x="52" y="122"/>
                      <a:pt x="54" y="120"/>
                      <a:pt x="57" y="120"/>
                    </a:cubicBezTo>
                    <a:cubicBezTo>
                      <a:pt x="57" y="120"/>
                      <a:pt x="57" y="120"/>
                      <a:pt x="57" y="120"/>
                    </a:cubicBezTo>
                    <a:cubicBezTo>
                      <a:pt x="58" y="120"/>
                      <a:pt x="58" y="120"/>
                      <a:pt x="58" y="120"/>
                    </a:cubicBezTo>
                    <a:cubicBezTo>
                      <a:pt x="60" y="120"/>
                      <a:pt x="63" y="122"/>
                      <a:pt x="65" y="123"/>
                    </a:cubicBezTo>
                    <a:cubicBezTo>
                      <a:pt x="65" y="124"/>
                      <a:pt x="66" y="124"/>
                      <a:pt x="66" y="124"/>
                    </a:cubicBezTo>
                    <a:cubicBezTo>
                      <a:pt x="66" y="125"/>
                      <a:pt x="66" y="125"/>
                      <a:pt x="66" y="125"/>
                    </a:cubicBezTo>
                    <a:cubicBezTo>
                      <a:pt x="67" y="126"/>
                      <a:pt x="67" y="126"/>
                      <a:pt x="67" y="126"/>
                    </a:cubicBezTo>
                    <a:cubicBezTo>
                      <a:pt x="67" y="127"/>
                      <a:pt x="67" y="127"/>
                      <a:pt x="67" y="128"/>
                    </a:cubicBezTo>
                    <a:cubicBezTo>
                      <a:pt x="67" y="128"/>
                      <a:pt x="67" y="129"/>
                      <a:pt x="67" y="129"/>
                    </a:cubicBezTo>
                    <a:cubicBezTo>
                      <a:pt x="67" y="130"/>
                      <a:pt x="67" y="130"/>
                      <a:pt x="67" y="130"/>
                    </a:cubicBezTo>
                    <a:cubicBezTo>
                      <a:pt x="67" y="130"/>
                      <a:pt x="67" y="130"/>
                      <a:pt x="67" y="130"/>
                    </a:cubicBezTo>
                    <a:cubicBezTo>
                      <a:pt x="66" y="132"/>
                      <a:pt x="66" y="132"/>
                      <a:pt x="66" y="132"/>
                    </a:cubicBezTo>
                    <a:cubicBezTo>
                      <a:pt x="63" y="132"/>
                      <a:pt x="63" y="132"/>
                      <a:pt x="63" y="132"/>
                    </a:cubicBezTo>
                    <a:cubicBezTo>
                      <a:pt x="63" y="132"/>
                      <a:pt x="63" y="132"/>
                      <a:pt x="63" y="132"/>
                    </a:cubicBezTo>
                    <a:cubicBezTo>
                      <a:pt x="62" y="132"/>
                      <a:pt x="62" y="132"/>
                      <a:pt x="61" y="132"/>
                    </a:cubicBezTo>
                    <a:cubicBezTo>
                      <a:pt x="61" y="132"/>
                      <a:pt x="61" y="132"/>
                      <a:pt x="61" y="132"/>
                    </a:cubicBezTo>
                    <a:cubicBezTo>
                      <a:pt x="61" y="132"/>
                      <a:pt x="61" y="132"/>
                      <a:pt x="61" y="132"/>
                    </a:cubicBezTo>
                    <a:cubicBezTo>
                      <a:pt x="61" y="132"/>
                      <a:pt x="61" y="133"/>
                      <a:pt x="61" y="133"/>
                    </a:cubicBezTo>
                    <a:cubicBezTo>
                      <a:pt x="61" y="133"/>
                      <a:pt x="61" y="134"/>
                      <a:pt x="62" y="135"/>
                    </a:cubicBezTo>
                    <a:cubicBezTo>
                      <a:pt x="63" y="136"/>
                      <a:pt x="63" y="136"/>
                      <a:pt x="63" y="136"/>
                    </a:cubicBezTo>
                    <a:cubicBezTo>
                      <a:pt x="63" y="136"/>
                      <a:pt x="63" y="136"/>
                      <a:pt x="63" y="136"/>
                    </a:cubicBezTo>
                    <a:cubicBezTo>
                      <a:pt x="65" y="137"/>
                      <a:pt x="65" y="137"/>
                      <a:pt x="65" y="137"/>
                    </a:cubicBezTo>
                    <a:cubicBezTo>
                      <a:pt x="72" y="140"/>
                      <a:pt x="76" y="142"/>
                      <a:pt x="74" y="145"/>
                    </a:cubicBezTo>
                    <a:cubicBezTo>
                      <a:pt x="74" y="146"/>
                      <a:pt x="74" y="146"/>
                      <a:pt x="73" y="147"/>
                    </a:cubicBezTo>
                    <a:cubicBezTo>
                      <a:pt x="73" y="148"/>
                      <a:pt x="73" y="148"/>
                      <a:pt x="73" y="148"/>
                    </a:cubicBezTo>
                    <a:cubicBezTo>
                      <a:pt x="73" y="149"/>
                      <a:pt x="72" y="150"/>
                      <a:pt x="72" y="150"/>
                    </a:cubicBezTo>
                    <a:cubicBezTo>
                      <a:pt x="72" y="150"/>
                      <a:pt x="73" y="150"/>
                      <a:pt x="73" y="150"/>
                    </a:cubicBezTo>
                    <a:cubicBezTo>
                      <a:pt x="73" y="150"/>
                      <a:pt x="74" y="150"/>
                      <a:pt x="74" y="150"/>
                    </a:cubicBezTo>
                    <a:cubicBezTo>
                      <a:pt x="78" y="149"/>
                      <a:pt x="78" y="149"/>
                      <a:pt x="78" y="149"/>
                    </a:cubicBezTo>
                    <a:cubicBezTo>
                      <a:pt x="79" y="149"/>
                      <a:pt x="79" y="149"/>
                      <a:pt x="80" y="149"/>
                    </a:cubicBezTo>
                    <a:cubicBezTo>
                      <a:pt x="83" y="149"/>
                      <a:pt x="87" y="150"/>
                      <a:pt x="90" y="151"/>
                    </a:cubicBezTo>
                    <a:cubicBezTo>
                      <a:pt x="93" y="152"/>
                      <a:pt x="93" y="152"/>
                      <a:pt x="93" y="152"/>
                    </a:cubicBezTo>
                    <a:cubicBezTo>
                      <a:pt x="96" y="153"/>
                      <a:pt x="100" y="154"/>
                      <a:pt x="103" y="154"/>
                    </a:cubicBezTo>
                    <a:cubicBezTo>
                      <a:pt x="107" y="154"/>
                      <a:pt x="110" y="154"/>
                      <a:pt x="114" y="152"/>
                    </a:cubicBezTo>
                    <a:cubicBezTo>
                      <a:pt x="115" y="152"/>
                      <a:pt x="115" y="152"/>
                      <a:pt x="116" y="152"/>
                    </a:cubicBezTo>
                    <a:cubicBezTo>
                      <a:pt x="118" y="152"/>
                      <a:pt x="120" y="153"/>
                      <a:pt x="123" y="153"/>
                    </a:cubicBezTo>
                    <a:cubicBezTo>
                      <a:pt x="124" y="154"/>
                      <a:pt x="125" y="154"/>
                      <a:pt x="125" y="154"/>
                    </a:cubicBezTo>
                    <a:cubicBezTo>
                      <a:pt x="127" y="154"/>
                      <a:pt x="128" y="155"/>
                      <a:pt x="130" y="155"/>
                    </a:cubicBezTo>
                    <a:cubicBezTo>
                      <a:pt x="130" y="156"/>
                      <a:pt x="130" y="156"/>
                      <a:pt x="130" y="156"/>
                    </a:cubicBezTo>
                    <a:cubicBezTo>
                      <a:pt x="131" y="155"/>
                      <a:pt x="131" y="155"/>
                      <a:pt x="131" y="155"/>
                    </a:cubicBezTo>
                    <a:cubicBezTo>
                      <a:pt x="133" y="156"/>
                      <a:pt x="137" y="156"/>
                      <a:pt x="139" y="156"/>
                    </a:cubicBezTo>
                    <a:cubicBezTo>
                      <a:pt x="139" y="156"/>
                      <a:pt x="140" y="156"/>
                      <a:pt x="140" y="156"/>
                    </a:cubicBezTo>
                    <a:cubicBezTo>
                      <a:pt x="141" y="156"/>
                      <a:pt x="141" y="156"/>
                      <a:pt x="141" y="156"/>
                    </a:cubicBezTo>
                    <a:cubicBezTo>
                      <a:pt x="146" y="156"/>
                      <a:pt x="151" y="152"/>
                      <a:pt x="156" y="149"/>
                    </a:cubicBezTo>
                    <a:cubicBezTo>
                      <a:pt x="157" y="149"/>
                      <a:pt x="157" y="149"/>
                      <a:pt x="157" y="149"/>
                    </a:cubicBezTo>
                    <a:cubicBezTo>
                      <a:pt x="158" y="148"/>
                      <a:pt x="159" y="147"/>
                      <a:pt x="160" y="147"/>
                    </a:cubicBezTo>
                    <a:cubicBezTo>
                      <a:pt x="160" y="146"/>
                      <a:pt x="161" y="146"/>
                      <a:pt x="161" y="146"/>
                    </a:cubicBezTo>
                    <a:cubicBezTo>
                      <a:pt x="164" y="144"/>
                      <a:pt x="166" y="142"/>
                      <a:pt x="169" y="142"/>
                    </a:cubicBezTo>
                    <a:cubicBezTo>
                      <a:pt x="188" y="140"/>
                      <a:pt x="188" y="140"/>
                      <a:pt x="188" y="140"/>
                    </a:cubicBezTo>
                    <a:cubicBezTo>
                      <a:pt x="189" y="139"/>
                      <a:pt x="189" y="139"/>
                      <a:pt x="190" y="139"/>
                    </a:cubicBezTo>
                    <a:cubicBezTo>
                      <a:pt x="191" y="139"/>
                      <a:pt x="191" y="139"/>
                      <a:pt x="192" y="139"/>
                    </a:cubicBezTo>
                    <a:cubicBezTo>
                      <a:pt x="192" y="139"/>
                      <a:pt x="192" y="140"/>
                      <a:pt x="193" y="140"/>
                    </a:cubicBezTo>
                    <a:cubicBezTo>
                      <a:pt x="194" y="140"/>
                      <a:pt x="195" y="140"/>
                      <a:pt x="196" y="140"/>
                    </a:cubicBezTo>
                    <a:cubicBezTo>
                      <a:pt x="199" y="142"/>
                      <a:pt x="199" y="142"/>
                      <a:pt x="199" y="142"/>
                    </a:cubicBezTo>
                    <a:cubicBezTo>
                      <a:pt x="201" y="143"/>
                      <a:pt x="204" y="143"/>
                      <a:pt x="206" y="144"/>
                    </a:cubicBezTo>
                    <a:cubicBezTo>
                      <a:pt x="230" y="152"/>
                      <a:pt x="230" y="152"/>
                      <a:pt x="230" y="152"/>
                    </a:cubicBezTo>
                    <a:cubicBezTo>
                      <a:pt x="230" y="146"/>
                      <a:pt x="230" y="139"/>
                      <a:pt x="232" y="135"/>
                    </a:cubicBezTo>
                    <a:cubicBezTo>
                      <a:pt x="233" y="133"/>
                      <a:pt x="237" y="129"/>
                      <a:pt x="238" y="127"/>
                    </a:cubicBezTo>
                    <a:cubicBezTo>
                      <a:pt x="238" y="128"/>
                      <a:pt x="237" y="128"/>
                      <a:pt x="236" y="128"/>
                    </a:cubicBezTo>
                    <a:cubicBezTo>
                      <a:pt x="234" y="128"/>
                      <a:pt x="233" y="127"/>
                      <a:pt x="235" y="125"/>
                    </a:cubicBezTo>
                    <a:cubicBezTo>
                      <a:pt x="235" y="126"/>
                      <a:pt x="235" y="126"/>
                      <a:pt x="235" y="126"/>
                    </a:cubicBezTo>
                    <a:cubicBezTo>
                      <a:pt x="237" y="125"/>
                      <a:pt x="239" y="124"/>
                      <a:pt x="241" y="123"/>
                    </a:cubicBezTo>
                    <a:cubicBezTo>
                      <a:pt x="241" y="123"/>
                      <a:pt x="240" y="123"/>
                      <a:pt x="240" y="123"/>
                    </a:cubicBezTo>
                    <a:cubicBezTo>
                      <a:pt x="239" y="123"/>
                      <a:pt x="239" y="123"/>
                      <a:pt x="239" y="123"/>
                    </a:cubicBezTo>
                    <a:cubicBezTo>
                      <a:pt x="238" y="123"/>
                      <a:pt x="238" y="123"/>
                      <a:pt x="237" y="123"/>
                    </a:cubicBezTo>
                    <a:cubicBezTo>
                      <a:pt x="237" y="123"/>
                      <a:pt x="236" y="123"/>
                      <a:pt x="235" y="123"/>
                    </a:cubicBezTo>
                    <a:cubicBezTo>
                      <a:pt x="235" y="123"/>
                      <a:pt x="240" y="112"/>
                      <a:pt x="243" y="112"/>
                    </a:cubicBezTo>
                    <a:cubicBezTo>
                      <a:pt x="244" y="112"/>
                      <a:pt x="244" y="112"/>
                      <a:pt x="244" y="113"/>
                    </a:cubicBezTo>
                    <a:cubicBezTo>
                      <a:pt x="245" y="115"/>
                      <a:pt x="239" y="116"/>
                      <a:pt x="246" y="117"/>
                    </a:cubicBezTo>
                    <a:cubicBezTo>
                      <a:pt x="248" y="117"/>
                      <a:pt x="251" y="118"/>
                      <a:pt x="253" y="118"/>
                    </a:cubicBezTo>
                    <a:cubicBezTo>
                      <a:pt x="256" y="118"/>
                      <a:pt x="258" y="117"/>
                      <a:pt x="259" y="116"/>
                    </a:cubicBezTo>
                    <a:cubicBezTo>
                      <a:pt x="259" y="115"/>
                      <a:pt x="260" y="114"/>
                      <a:pt x="260" y="113"/>
                    </a:cubicBezTo>
                    <a:cubicBezTo>
                      <a:pt x="260" y="111"/>
                      <a:pt x="260" y="108"/>
                      <a:pt x="260" y="106"/>
                    </a:cubicBezTo>
                    <a:cubicBezTo>
                      <a:pt x="259" y="106"/>
                      <a:pt x="259" y="106"/>
                      <a:pt x="259" y="106"/>
                    </a:cubicBezTo>
                    <a:cubicBezTo>
                      <a:pt x="258" y="105"/>
                      <a:pt x="258" y="105"/>
                      <a:pt x="258" y="105"/>
                    </a:cubicBezTo>
                    <a:cubicBezTo>
                      <a:pt x="258" y="104"/>
                      <a:pt x="257" y="102"/>
                      <a:pt x="257" y="102"/>
                    </a:cubicBezTo>
                    <a:cubicBezTo>
                      <a:pt x="256" y="101"/>
                      <a:pt x="254" y="101"/>
                      <a:pt x="253" y="100"/>
                    </a:cubicBezTo>
                    <a:cubicBezTo>
                      <a:pt x="251" y="100"/>
                      <a:pt x="246" y="103"/>
                      <a:pt x="244" y="104"/>
                    </a:cubicBezTo>
                    <a:cubicBezTo>
                      <a:pt x="243" y="104"/>
                      <a:pt x="243" y="104"/>
                      <a:pt x="243" y="104"/>
                    </a:cubicBezTo>
                    <a:cubicBezTo>
                      <a:pt x="242" y="105"/>
                      <a:pt x="241" y="105"/>
                      <a:pt x="240" y="105"/>
                    </a:cubicBezTo>
                    <a:cubicBezTo>
                      <a:pt x="237" y="107"/>
                      <a:pt x="237" y="107"/>
                      <a:pt x="237" y="107"/>
                    </a:cubicBezTo>
                    <a:cubicBezTo>
                      <a:pt x="236" y="107"/>
                      <a:pt x="235" y="108"/>
                      <a:pt x="234" y="108"/>
                    </a:cubicBezTo>
                    <a:cubicBezTo>
                      <a:pt x="234" y="108"/>
                      <a:pt x="234" y="108"/>
                      <a:pt x="234" y="108"/>
                    </a:cubicBezTo>
                    <a:cubicBezTo>
                      <a:pt x="233" y="108"/>
                      <a:pt x="232" y="107"/>
                      <a:pt x="231" y="107"/>
                    </a:cubicBezTo>
                    <a:cubicBezTo>
                      <a:pt x="229" y="107"/>
                      <a:pt x="227" y="106"/>
                      <a:pt x="225" y="105"/>
                    </a:cubicBezTo>
                    <a:cubicBezTo>
                      <a:pt x="223" y="104"/>
                      <a:pt x="222" y="103"/>
                      <a:pt x="221" y="102"/>
                    </a:cubicBezTo>
                    <a:cubicBezTo>
                      <a:pt x="220" y="101"/>
                      <a:pt x="220" y="101"/>
                      <a:pt x="220" y="101"/>
                    </a:cubicBezTo>
                    <a:cubicBezTo>
                      <a:pt x="219" y="100"/>
                      <a:pt x="218" y="100"/>
                      <a:pt x="217" y="99"/>
                    </a:cubicBezTo>
                    <a:cubicBezTo>
                      <a:pt x="213" y="97"/>
                      <a:pt x="213" y="97"/>
                      <a:pt x="213" y="97"/>
                    </a:cubicBezTo>
                    <a:cubicBezTo>
                      <a:pt x="214" y="96"/>
                      <a:pt x="214" y="96"/>
                      <a:pt x="214" y="96"/>
                    </a:cubicBezTo>
                    <a:cubicBezTo>
                      <a:pt x="214" y="96"/>
                      <a:pt x="214" y="96"/>
                      <a:pt x="214" y="96"/>
                    </a:cubicBezTo>
                    <a:cubicBezTo>
                      <a:pt x="213" y="96"/>
                      <a:pt x="213" y="96"/>
                      <a:pt x="213" y="96"/>
                    </a:cubicBezTo>
                    <a:cubicBezTo>
                      <a:pt x="213" y="95"/>
                      <a:pt x="213" y="94"/>
                      <a:pt x="212" y="94"/>
                    </a:cubicBezTo>
                    <a:cubicBezTo>
                      <a:pt x="212" y="92"/>
                      <a:pt x="212" y="91"/>
                      <a:pt x="212" y="90"/>
                    </a:cubicBezTo>
                    <a:cubicBezTo>
                      <a:pt x="211" y="88"/>
                      <a:pt x="212" y="85"/>
                      <a:pt x="212" y="83"/>
                    </a:cubicBezTo>
                    <a:cubicBezTo>
                      <a:pt x="212" y="82"/>
                      <a:pt x="212" y="81"/>
                      <a:pt x="212" y="80"/>
                    </a:cubicBezTo>
                    <a:cubicBezTo>
                      <a:pt x="212" y="73"/>
                      <a:pt x="214" y="69"/>
                      <a:pt x="216" y="63"/>
                    </a:cubicBezTo>
                    <a:cubicBezTo>
                      <a:pt x="217" y="60"/>
                      <a:pt x="217" y="58"/>
                      <a:pt x="216" y="55"/>
                    </a:cubicBezTo>
                    <a:cubicBezTo>
                      <a:pt x="216" y="54"/>
                      <a:pt x="215" y="52"/>
                      <a:pt x="214" y="50"/>
                    </a:cubicBezTo>
                    <a:cubicBezTo>
                      <a:pt x="213" y="49"/>
                      <a:pt x="213" y="48"/>
                      <a:pt x="213" y="47"/>
                    </a:cubicBezTo>
                    <a:cubicBezTo>
                      <a:pt x="213" y="46"/>
                      <a:pt x="213" y="46"/>
                      <a:pt x="213" y="46"/>
                    </a:cubicBezTo>
                    <a:cubicBezTo>
                      <a:pt x="212" y="45"/>
                      <a:pt x="212" y="44"/>
                      <a:pt x="211" y="43"/>
                    </a:cubicBezTo>
                    <a:cubicBezTo>
                      <a:pt x="209" y="40"/>
                      <a:pt x="207" y="38"/>
                      <a:pt x="205" y="36"/>
                    </a:cubicBezTo>
                    <a:cubicBezTo>
                      <a:pt x="203" y="35"/>
                      <a:pt x="203" y="35"/>
                      <a:pt x="203" y="35"/>
                    </a:cubicBezTo>
                    <a:cubicBezTo>
                      <a:pt x="199" y="31"/>
                      <a:pt x="197" y="27"/>
                      <a:pt x="194" y="23"/>
                    </a:cubicBezTo>
                    <a:cubicBezTo>
                      <a:pt x="192" y="20"/>
                      <a:pt x="190" y="17"/>
                      <a:pt x="189" y="14"/>
                    </a:cubicBezTo>
                    <a:cubicBezTo>
                      <a:pt x="188" y="11"/>
                      <a:pt x="188" y="11"/>
                      <a:pt x="188" y="11"/>
                    </a:cubicBezTo>
                    <a:cubicBezTo>
                      <a:pt x="187" y="10"/>
                      <a:pt x="187" y="10"/>
                      <a:pt x="187" y="10"/>
                    </a:cubicBezTo>
                    <a:cubicBezTo>
                      <a:pt x="187" y="9"/>
                      <a:pt x="186" y="8"/>
                      <a:pt x="186" y="7"/>
                    </a:cubicBezTo>
                    <a:cubicBezTo>
                      <a:pt x="185" y="7"/>
                      <a:pt x="185" y="7"/>
                      <a:pt x="185" y="7"/>
                    </a:cubicBezTo>
                    <a:cubicBezTo>
                      <a:pt x="185" y="6"/>
                      <a:pt x="184" y="4"/>
                      <a:pt x="183" y="4"/>
                    </a:cubicBezTo>
                    <a:cubicBezTo>
                      <a:pt x="183" y="3"/>
                      <a:pt x="183" y="3"/>
                      <a:pt x="183" y="3"/>
                    </a:cubicBezTo>
                    <a:cubicBezTo>
                      <a:pt x="180" y="2"/>
                      <a:pt x="177" y="1"/>
                      <a:pt x="175" y="0"/>
                    </a:cubicBezTo>
                    <a:cubicBezTo>
                      <a:pt x="175" y="0"/>
                      <a:pt x="175" y="0"/>
                      <a:pt x="17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77" name="Freeform 305">
                <a:extLst>
                  <a:ext uri="{FF2B5EF4-FFF2-40B4-BE49-F238E27FC236}">
                    <a16:creationId xmlns:a16="http://schemas.microsoft.com/office/drawing/2014/main" id="{F946203B-2C00-4ACD-A330-78D444F05361}"/>
                  </a:ext>
                </a:extLst>
              </p:cNvPr>
              <p:cNvSpPr>
                <a:spLocks/>
              </p:cNvSpPr>
              <p:nvPr/>
            </p:nvSpPr>
            <p:spPr bwMode="auto">
              <a:xfrm>
                <a:off x="5833538" y="4171552"/>
                <a:ext cx="567508" cy="298494"/>
              </a:xfrm>
              <a:custGeom>
                <a:avLst/>
                <a:gdLst>
                  <a:gd name="T0" fmla="*/ 125 w 178"/>
                  <a:gd name="T1" fmla="*/ 0 h 94"/>
                  <a:gd name="T2" fmla="*/ 111 w 178"/>
                  <a:gd name="T3" fmla="*/ 9 h 94"/>
                  <a:gd name="T4" fmla="*/ 101 w 178"/>
                  <a:gd name="T5" fmla="*/ 15 h 94"/>
                  <a:gd name="T6" fmla="*/ 94 w 178"/>
                  <a:gd name="T7" fmla="*/ 14 h 94"/>
                  <a:gd name="T8" fmla="*/ 83 w 178"/>
                  <a:gd name="T9" fmla="*/ 15 h 94"/>
                  <a:gd name="T10" fmla="*/ 77 w 178"/>
                  <a:gd name="T11" fmla="*/ 17 h 94"/>
                  <a:gd name="T12" fmla="*/ 73 w 178"/>
                  <a:gd name="T13" fmla="*/ 22 h 94"/>
                  <a:gd name="T14" fmla="*/ 71 w 178"/>
                  <a:gd name="T15" fmla="*/ 27 h 94"/>
                  <a:gd name="T16" fmla="*/ 55 w 178"/>
                  <a:gd name="T17" fmla="*/ 29 h 94"/>
                  <a:gd name="T18" fmla="*/ 51 w 178"/>
                  <a:gd name="T19" fmla="*/ 30 h 94"/>
                  <a:gd name="T20" fmla="*/ 43 w 178"/>
                  <a:gd name="T21" fmla="*/ 30 h 94"/>
                  <a:gd name="T22" fmla="*/ 25 w 178"/>
                  <a:gd name="T23" fmla="*/ 20 h 94"/>
                  <a:gd name="T24" fmla="*/ 24 w 178"/>
                  <a:gd name="T25" fmla="*/ 23 h 94"/>
                  <a:gd name="T26" fmla="*/ 23 w 178"/>
                  <a:gd name="T27" fmla="*/ 26 h 94"/>
                  <a:gd name="T28" fmla="*/ 21 w 178"/>
                  <a:gd name="T29" fmla="*/ 31 h 94"/>
                  <a:gd name="T30" fmla="*/ 10 w 178"/>
                  <a:gd name="T31" fmla="*/ 32 h 94"/>
                  <a:gd name="T32" fmla="*/ 11 w 178"/>
                  <a:gd name="T33" fmla="*/ 36 h 94"/>
                  <a:gd name="T34" fmla="*/ 5 w 178"/>
                  <a:gd name="T35" fmla="*/ 43 h 94"/>
                  <a:gd name="T36" fmla="*/ 6 w 178"/>
                  <a:gd name="T37" fmla="*/ 47 h 94"/>
                  <a:gd name="T38" fmla="*/ 7 w 178"/>
                  <a:gd name="T39" fmla="*/ 56 h 94"/>
                  <a:gd name="T40" fmla="*/ 1 w 178"/>
                  <a:gd name="T41" fmla="*/ 56 h 94"/>
                  <a:gd name="T42" fmla="*/ 0 w 178"/>
                  <a:gd name="T43" fmla="*/ 56 h 94"/>
                  <a:gd name="T44" fmla="*/ 0 w 178"/>
                  <a:gd name="T45" fmla="*/ 57 h 94"/>
                  <a:gd name="T46" fmla="*/ 3 w 178"/>
                  <a:gd name="T47" fmla="*/ 63 h 94"/>
                  <a:gd name="T48" fmla="*/ 3 w 178"/>
                  <a:gd name="T49" fmla="*/ 65 h 94"/>
                  <a:gd name="T50" fmla="*/ 8 w 178"/>
                  <a:gd name="T51" fmla="*/ 69 h 94"/>
                  <a:gd name="T52" fmla="*/ 12 w 178"/>
                  <a:gd name="T53" fmla="*/ 72 h 94"/>
                  <a:gd name="T54" fmla="*/ 14 w 178"/>
                  <a:gd name="T55" fmla="*/ 73 h 94"/>
                  <a:gd name="T56" fmla="*/ 17 w 178"/>
                  <a:gd name="T57" fmla="*/ 77 h 94"/>
                  <a:gd name="T58" fmla="*/ 32 w 178"/>
                  <a:gd name="T59" fmla="*/ 88 h 94"/>
                  <a:gd name="T60" fmla="*/ 44 w 178"/>
                  <a:gd name="T61" fmla="*/ 93 h 94"/>
                  <a:gd name="T62" fmla="*/ 47 w 178"/>
                  <a:gd name="T63" fmla="*/ 93 h 94"/>
                  <a:gd name="T64" fmla="*/ 52 w 178"/>
                  <a:gd name="T65" fmla="*/ 94 h 94"/>
                  <a:gd name="T66" fmla="*/ 54 w 178"/>
                  <a:gd name="T67" fmla="*/ 94 h 94"/>
                  <a:gd name="T68" fmla="*/ 58 w 178"/>
                  <a:gd name="T69" fmla="*/ 93 h 94"/>
                  <a:gd name="T70" fmla="*/ 61 w 178"/>
                  <a:gd name="T71" fmla="*/ 92 h 94"/>
                  <a:gd name="T72" fmla="*/ 65 w 178"/>
                  <a:gd name="T73" fmla="*/ 90 h 94"/>
                  <a:gd name="T74" fmla="*/ 87 w 178"/>
                  <a:gd name="T75" fmla="*/ 75 h 94"/>
                  <a:gd name="T76" fmla="*/ 94 w 178"/>
                  <a:gd name="T77" fmla="*/ 79 h 94"/>
                  <a:gd name="T78" fmla="*/ 100 w 178"/>
                  <a:gd name="T79" fmla="*/ 79 h 94"/>
                  <a:gd name="T80" fmla="*/ 105 w 178"/>
                  <a:gd name="T81" fmla="*/ 80 h 94"/>
                  <a:gd name="T82" fmla="*/ 110 w 178"/>
                  <a:gd name="T83" fmla="*/ 81 h 94"/>
                  <a:gd name="T84" fmla="*/ 117 w 178"/>
                  <a:gd name="T85" fmla="*/ 80 h 94"/>
                  <a:gd name="T86" fmla="*/ 122 w 178"/>
                  <a:gd name="T87" fmla="*/ 79 h 94"/>
                  <a:gd name="T88" fmla="*/ 124 w 178"/>
                  <a:gd name="T89" fmla="*/ 76 h 94"/>
                  <a:gd name="T90" fmla="*/ 133 w 178"/>
                  <a:gd name="T91" fmla="*/ 75 h 94"/>
                  <a:gd name="T92" fmla="*/ 141 w 178"/>
                  <a:gd name="T93" fmla="*/ 64 h 94"/>
                  <a:gd name="T94" fmla="*/ 147 w 178"/>
                  <a:gd name="T95" fmla="*/ 51 h 94"/>
                  <a:gd name="T96" fmla="*/ 148 w 178"/>
                  <a:gd name="T97" fmla="*/ 49 h 94"/>
                  <a:gd name="T98" fmla="*/ 162 w 178"/>
                  <a:gd name="T99" fmla="*/ 29 h 94"/>
                  <a:gd name="T100" fmla="*/ 167 w 178"/>
                  <a:gd name="T101" fmla="*/ 26 h 94"/>
                  <a:gd name="T102" fmla="*/ 177 w 178"/>
                  <a:gd name="T103" fmla="*/ 18 h 94"/>
                  <a:gd name="T104" fmla="*/ 174 w 178"/>
                  <a:gd name="T105" fmla="*/ 15 h 94"/>
                  <a:gd name="T106" fmla="*/ 171 w 178"/>
                  <a:gd name="T107" fmla="*/ 12 h 94"/>
                  <a:gd name="T108" fmla="*/ 170 w 178"/>
                  <a:gd name="T109" fmla="*/ 9 h 94"/>
                  <a:gd name="T110" fmla="*/ 163 w 178"/>
                  <a:gd name="T111" fmla="*/ 6 h 94"/>
                  <a:gd name="T112" fmla="*/ 162 w 178"/>
                  <a:gd name="T113" fmla="*/ 6 h 94"/>
                  <a:gd name="T114" fmla="*/ 155 w 178"/>
                  <a:gd name="T115" fmla="*/ 8 h 94"/>
                  <a:gd name="T116" fmla="*/ 153 w 178"/>
                  <a:gd name="T117" fmla="*/ 8 h 94"/>
                  <a:gd name="T118" fmla="*/ 145 w 178"/>
                  <a:gd name="T119" fmla="*/ 2 h 94"/>
                  <a:gd name="T120" fmla="*/ 143 w 178"/>
                  <a:gd name="T121" fmla="*/ 0 h 94"/>
                  <a:gd name="T122" fmla="*/ 139 w 178"/>
                  <a:gd name="T123" fmla="*/ 0 h 94"/>
                  <a:gd name="T124" fmla="*/ 134 w 178"/>
                  <a:gd name="T12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 h="94">
                    <a:moveTo>
                      <a:pt x="129" y="0"/>
                    </a:moveTo>
                    <a:cubicBezTo>
                      <a:pt x="127" y="0"/>
                      <a:pt x="126" y="0"/>
                      <a:pt x="125" y="0"/>
                    </a:cubicBezTo>
                    <a:cubicBezTo>
                      <a:pt x="120" y="2"/>
                      <a:pt x="117" y="5"/>
                      <a:pt x="113" y="8"/>
                    </a:cubicBezTo>
                    <a:cubicBezTo>
                      <a:pt x="111" y="9"/>
                      <a:pt x="111" y="9"/>
                      <a:pt x="111" y="9"/>
                    </a:cubicBezTo>
                    <a:cubicBezTo>
                      <a:pt x="109" y="11"/>
                      <a:pt x="107" y="13"/>
                      <a:pt x="105" y="13"/>
                    </a:cubicBezTo>
                    <a:cubicBezTo>
                      <a:pt x="104" y="14"/>
                      <a:pt x="102" y="14"/>
                      <a:pt x="101" y="15"/>
                    </a:cubicBezTo>
                    <a:cubicBezTo>
                      <a:pt x="100" y="15"/>
                      <a:pt x="100" y="15"/>
                      <a:pt x="99" y="15"/>
                    </a:cubicBezTo>
                    <a:cubicBezTo>
                      <a:pt x="97" y="15"/>
                      <a:pt x="95" y="14"/>
                      <a:pt x="94" y="14"/>
                    </a:cubicBezTo>
                    <a:cubicBezTo>
                      <a:pt x="93" y="14"/>
                      <a:pt x="92" y="14"/>
                      <a:pt x="91" y="14"/>
                    </a:cubicBezTo>
                    <a:cubicBezTo>
                      <a:pt x="89" y="14"/>
                      <a:pt x="86" y="14"/>
                      <a:pt x="83" y="15"/>
                    </a:cubicBezTo>
                    <a:cubicBezTo>
                      <a:pt x="82" y="16"/>
                      <a:pt x="82" y="16"/>
                      <a:pt x="82" y="16"/>
                    </a:cubicBezTo>
                    <a:cubicBezTo>
                      <a:pt x="77" y="17"/>
                      <a:pt x="77" y="17"/>
                      <a:pt x="77" y="17"/>
                    </a:cubicBezTo>
                    <a:cubicBezTo>
                      <a:pt x="75" y="18"/>
                      <a:pt x="74" y="19"/>
                      <a:pt x="72" y="20"/>
                    </a:cubicBezTo>
                    <a:cubicBezTo>
                      <a:pt x="72" y="21"/>
                      <a:pt x="73" y="21"/>
                      <a:pt x="73" y="22"/>
                    </a:cubicBezTo>
                    <a:cubicBezTo>
                      <a:pt x="75" y="26"/>
                      <a:pt x="75" y="26"/>
                      <a:pt x="75" y="26"/>
                    </a:cubicBezTo>
                    <a:cubicBezTo>
                      <a:pt x="71" y="27"/>
                      <a:pt x="71" y="27"/>
                      <a:pt x="71" y="27"/>
                    </a:cubicBezTo>
                    <a:cubicBezTo>
                      <a:pt x="69" y="28"/>
                      <a:pt x="67" y="28"/>
                      <a:pt x="65" y="28"/>
                    </a:cubicBezTo>
                    <a:cubicBezTo>
                      <a:pt x="62" y="29"/>
                      <a:pt x="58" y="29"/>
                      <a:pt x="55" y="29"/>
                    </a:cubicBezTo>
                    <a:cubicBezTo>
                      <a:pt x="54" y="29"/>
                      <a:pt x="53" y="30"/>
                      <a:pt x="53" y="30"/>
                    </a:cubicBezTo>
                    <a:cubicBezTo>
                      <a:pt x="51" y="30"/>
                      <a:pt x="51" y="30"/>
                      <a:pt x="51" y="30"/>
                    </a:cubicBezTo>
                    <a:cubicBezTo>
                      <a:pt x="49" y="30"/>
                      <a:pt x="47" y="30"/>
                      <a:pt x="45" y="30"/>
                    </a:cubicBezTo>
                    <a:cubicBezTo>
                      <a:pt x="44" y="30"/>
                      <a:pt x="43" y="30"/>
                      <a:pt x="43" y="30"/>
                    </a:cubicBezTo>
                    <a:cubicBezTo>
                      <a:pt x="36" y="30"/>
                      <a:pt x="31" y="26"/>
                      <a:pt x="27" y="22"/>
                    </a:cubicBezTo>
                    <a:cubicBezTo>
                      <a:pt x="26" y="21"/>
                      <a:pt x="25" y="21"/>
                      <a:pt x="25" y="20"/>
                    </a:cubicBezTo>
                    <a:cubicBezTo>
                      <a:pt x="24" y="21"/>
                      <a:pt x="24" y="22"/>
                      <a:pt x="24" y="22"/>
                    </a:cubicBezTo>
                    <a:cubicBezTo>
                      <a:pt x="24" y="23"/>
                      <a:pt x="24" y="23"/>
                      <a:pt x="24" y="23"/>
                    </a:cubicBezTo>
                    <a:cubicBezTo>
                      <a:pt x="24" y="23"/>
                      <a:pt x="23" y="24"/>
                      <a:pt x="23" y="25"/>
                    </a:cubicBezTo>
                    <a:cubicBezTo>
                      <a:pt x="23" y="26"/>
                      <a:pt x="23" y="26"/>
                      <a:pt x="23" y="26"/>
                    </a:cubicBezTo>
                    <a:cubicBezTo>
                      <a:pt x="26" y="29"/>
                      <a:pt x="26" y="29"/>
                      <a:pt x="26" y="29"/>
                    </a:cubicBezTo>
                    <a:cubicBezTo>
                      <a:pt x="21" y="31"/>
                      <a:pt x="21" y="31"/>
                      <a:pt x="21" y="31"/>
                    </a:cubicBezTo>
                    <a:cubicBezTo>
                      <a:pt x="18" y="31"/>
                      <a:pt x="15" y="32"/>
                      <a:pt x="12" y="32"/>
                    </a:cubicBezTo>
                    <a:cubicBezTo>
                      <a:pt x="12" y="32"/>
                      <a:pt x="11" y="32"/>
                      <a:pt x="10" y="32"/>
                    </a:cubicBezTo>
                    <a:cubicBezTo>
                      <a:pt x="11" y="33"/>
                      <a:pt x="11" y="34"/>
                      <a:pt x="11" y="35"/>
                    </a:cubicBezTo>
                    <a:cubicBezTo>
                      <a:pt x="11" y="36"/>
                      <a:pt x="11" y="36"/>
                      <a:pt x="11" y="36"/>
                    </a:cubicBezTo>
                    <a:cubicBezTo>
                      <a:pt x="11" y="40"/>
                      <a:pt x="8" y="41"/>
                      <a:pt x="6" y="42"/>
                    </a:cubicBezTo>
                    <a:cubicBezTo>
                      <a:pt x="6" y="42"/>
                      <a:pt x="5" y="42"/>
                      <a:pt x="5" y="43"/>
                    </a:cubicBezTo>
                    <a:cubicBezTo>
                      <a:pt x="5" y="44"/>
                      <a:pt x="6" y="45"/>
                      <a:pt x="6" y="47"/>
                    </a:cubicBezTo>
                    <a:cubicBezTo>
                      <a:pt x="6" y="47"/>
                      <a:pt x="6" y="47"/>
                      <a:pt x="6" y="47"/>
                    </a:cubicBezTo>
                    <a:cubicBezTo>
                      <a:pt x="6" y="49"/>
                      <a:pt x="7" y="51"/>
                      <a:pt x="7" y="53"/>
                    </a:cubicBezTo>
                    <a:cubicBezTo>
                      <a:pt x="7" y="56"/>
                      <a:pt x="7" y="56"/>
                      <a:pt x="7" y="56"/>
                    </a:cubicBezTo>
                    <a:cubicBezTo>
                      <a:pt x="4" y="56"/>
                      <a:pt x="4" y="56"/>
                      <a:pt x="4" y="56"/>
                    </a:cubicBezTo>
                    <a:cubicBezTo>
                      <a:pt x="2" y="56"/>
                      <a:pt x="2" y="56"/>
                      <a:pt x="1" y="56"/>
                    </a:cubicBezTo>
                    <a:cubicBezTo>
                      <a:pt x="0" y="56"/>
                      <a:pt x="0" y="56"/>
                      <a:pt x="0" y="56"/>
                    </a:cubicBezTo>
                    <a:cubicBezTo>
                      <a:pt x="0" y="56"/>
                      <a:pt x="0" y="56"/>
                      <a:pt x="0" y="56"/>
                    </a:cubicBezTo>
                    <a:cubicBezTo>
                      <a:pt x="0" y="56"/>
                      <a:pt x="0" y="56"/>
                      <a:pt x="0" y="56"/>
                    </a:cubicBezTo>
                    <a:cubicBezTo>
                      <a:pt x="0" y="57"/>
                      <a:pt x="0" y="57"/>
                      <a:pt x="0" y="57"/>
                    </a:cubicBezTo>
                    <a:cubicBezTo>
                      <a:pt x="1" y="57"/>
                      <a:pt x="1" y="58"/>
                      <a:pt x="1" y="59"/>
                    </a:cubicBezTo>
                    <a:cubicBezTo>
                      <a:pt x="2" y="61"/>
                      <a:pt x="2" y="62"/>
                      <a:pt x="3" y="63"/>
                    </a:cubicBezTo>
                    <a:cubicBezTo>
                      <a:pt x="3" y="64"/>
                      <a:pt x="3" y="64"/>
                      <a:pt x="3" y="64"/>
                    </a:cubicBezTo>
                    <a:cubicBezTo>
                      <a:pt x="3" y="65"/>
                      <a:pt x="3" y="65"/>
                      <a:pt x="3" y="65"/>
                    </a:cubicBezTo>
                    <a:cubicBezTo>
                      <a:pt x="4" y="65"/>
                      <a:pt x="4" y="65"/>
                      <a:pt x="4" y="66"/>
                    </a:cubicBezTo>
                    <a:cubicBezTo>
                      <a:pt x="4" y="66"/>
                      <a:pt x="5" y="67"/>
                      <a:pt x="8" y="69"/>
                    </a:cubicBezTo>
                    <a:cubicBezTo>
                      <a:pt x="9" y="69"/>
                      <a:pt x="9" y="69"/>
                      <a:pt x="9" y="69"/>
                    </a:cubicBezTo>
                    <a:cubicBezTo>
                      <a:pt x="10" y="70"/>
                      <a:pt x="11" y="71"/>
                      <a:pt x="12" y="72"/>
                    </a:cubicBezTo>
                    <a:cubicBezTo>
                      <a:pt x="13" y="72"/>
                      <a:pt x="13" y="72"/>
                      <a:pt x="13" y="72"/>
                    </a:cubicBezTo>
                    <a:cubicBezTo>
                      <a:pt x="13" y="72"/>
                      <a:pt x="14" y="73"/>
                      <a:pt x="14" y="73"/>
                    </a:cubicBezTo>
                    <a:cubicBezTo>
                      <a:pt x="15" y="74"/>
                      <a:pt x="15" y="74"/>
                      <a:pt x="15" y="74"/>
                    </a:cubicBezTo>
                    <a:cubicBezTo>
                      <a:pt x="16" y="75"/>
                      <a:pt x="16" y="75"/>
                      <a:pt x="17" y="77"/>
                    </a:cubicBezTo>
                    <a:cubicBezTo>
                      <a:pt x="20" y="80"/>
                      <a:pt x="25" y="85"/>
                      <a:pt x="29" y="87"/>
                    </a:cubicBezTo>
                    <a:cubicBezTo>
                      <a:pt x="30" y="87"/>
                      <a:pt x="31" y="88"/>
                      <a:pt x="32" y="88"/>
                    </a:cubicBezTo>
                    <a:cubicBezTo>
                      <a:pt x="34" y="89"/>
                      <a:pt x="34" y="89"/>
                      <a:pt x="34" y="89"/>
                    </a:cubicBezTo>
                    <a:cubicBezTo>
                      <a:pt x="37" y="91"/>
                      <a:pt x="41" y="92"/>
                      <a:pt x="44" y="93"/>
                    </a:cubicBezTo>
                    <a:cubicBezTo>
                      <a:pt x="45" y="93"/>
                      <a:pt x="45" y="93"/>
                      <a:pt x="45" y="93"/>
                    </a:cubicBezTo>
                    <a:cubicBezTo>
                      <a:pt x="46" y="93"/>
                      <a:pt x="46" y="93"/>
                      <a:pt x="47" y="93"/>
                    </a:cubicBezTo>
                    <a:cubicBezTo>
                      <a:pt x="48" y="93"/>
                      <a:pt x="48" y="93"/>
                      <a:pt x="48" y="93"/>
                    </a:cubicBezTo>
                    <a:cubicBezTo>
                      <a:pt x="49" y="93"/>
                      <a:pt x="50" y="94"/>
                      <a:pt x="52" y="94"/>
                    </a:cubicBezTo>
                    <a:cubicBezTo>
                      <a:pt x="52" y="94"/>
                      <a:pt x="52" y="94"/>
                      <a:pt x="53" y="94"/>
                    </a:cubicBezTo>
                    <a:cubicBezTo>
                      <a:pt x="53" y="94"/>
                      <a:pt x="54" y="94"/>
                      <a:pt x="54" y="94"/>
                    </a:cubicBezTo>
                    <a:cubicBezTo>
                      <a:pt x="56" y="93"/>
                      <a:pt x="57" y="93"/>
                      <a:pt x="57" y="93"/>
                    </a:cubicBezTo>
                    <a:cubicBezTo>
                      <a:pt x="58" y="93"/>
                      <a:pt x="58" y="93"/>
                      <a:pt x="58" y="93"/>
                    </a:cubicBezTo>
                    <a:cubicBezTo>
                      <a:pt x="58" y="93"/>
                      <a:pt x="58" y="93"/>
                      <a:pt x="58" y="93"/>
                    </a:cubicBezTo>
                    <a:cubicBezTo>
                      <a:pt x="59" y="92"/>
                      <a:pt x="60" y="92"/>
                      <a:pt x="61" y="92"/>
                    </a:cubicBezTo>
                    <a:cubicBezTo>
                      <a:pt x="62" y="91"/>
                      <a:pt x="63" y="91"/>
                      <a:pt x="64" y="90"/>
                    </a:cubicBezTo>
                    <a:cubicBezTo>
                      <a:pt x="65" y="90"/>
                      <a:pt x="65" y="90"/>
                      <a:pt x="65" y="90"/>
                    </a:cubicBezTo>
                    <a:cubicBezTo>
                      <a:pt x="67" y="89"/>
                      <a:pt x="68" y="88"/>
                      <a:pt x="70" y="88"/>
                    </a:cubicBezTo>
                    <a:cubicBezTo>
                      <a:pt x="87" y="75"/>
                      <a:pt x="87" y="75"/>
                      <a:pt x="87" y="75"/>
                    </a:cubicBezTo>
                    <a:cubicBezTo>
                      <a:pt x="80" y="84"/>
                      <a:pt x="80" y="84"/>
                      <a:pt x="80" y="84"/>
                    </a:cubicBezTo>
                    <a:cubicBezTo>
                      <a:pt x="94" y="79"/>
                      <a:pt x="94" y="79"/>
                      <a:pt x="94" y="79"/>
                    </a:cubicBezTo>
                    <a:cubicBezTo>
                      <a:pt x="95" y="79"/>
                      <a:pt x="95" y="79"/>
                      <a:pt x="95" y="79"/>
                    </a:cubicBezTo>
                    <a:cubicBezTo>
                      <a:pt x="100" y="79"/>
                      <a:pt x="100" y="79"/>
                      <a:pt x="100" y="79"/>
                    </a:cubicBezTo>
                    <a:cubicBezTo>
                      <a:pt x="102" y="79"/>
                      <a:pt x="102" y="79"/>
                      <a:pt x="102" y="79"/>
                    </a:cubicBezTo>
                    <a:cubicBezTo>
                      <a:pt x="103" y="79"/>
                      <a:pt x="104" y="80"/>
                      <a:pt x="105" y="80"/>
                    </a:cubicBezTo>
                    <a:cubicBezTo>
                      <a:pt x="106" y="80"/>
                      <a:pt x="106" y="80"/>
                      <a:pt x="106" y="80"/>
                    </a:cubicBezTo>
                    <a:cubicBezTo>
                      <a:pt x="107" y="80"/>
                      <a:pt x="108" y="81"/>
                      <a:pt x="110" y="81"/>
                    </a:cubicBezTo>
                    <a:cubicBezTo>
                      <a:pt x="111" y="81"/>
                      <a:pt x="111" y="81"/>
                      <a:pt x="111" y="81"/>
                    </a:cubicBezTo>
                    <a:cubicBezTo>
                      <a:pt x="117" y="80"/>
                      <a:pt x="117" y="80"/>
                      <a:pt x="117" y="80"/>
                    </a:cubicBezTo>
                    <a:cubicBezTo>
                      <a:pt x="118" y="80"/>
                      <a:pt x="119" y="80"/>
                      <a:pt x="120" y="80"/>
                    </a:cubicBezTo>
                    <a:cubicBezTo>
                      <a:pt x="120" y="80"/>
                      <a:pt x="121" y="80"/>
                      <a:pt x="122" y="79"/>
                    </a:cubicBezTo>
                    <a:cubicBezTo>
                      <a:pt x="122" y="78"/>
                      <a:pt x="122" y="77"/>
                      <a:pt x="123" y="76"/>
                    </a:cubicBezTo>
                    <a:cubicBezTo>
                      <a:pt x="124" y="76"/>
                      <a:pt x="124" y="76"/>
                      <a:pt x="124" y="76"/>
                    </a:cubicBezTo>
                    <a:cubicBezTo>
                      <a:pt x="126" y="75"/>
                      <a:pt x="127" y="75"/>
                      <a:pt x="129" y="75"/>
                    </a:cubicBezTo>
                    <a:cubicBezTo>
                      <a:pt x="130" y="75"/>
                      <a:pt x="132" y="75"/>
                      <a:pt x="133" y="75"/>
                    </a:cubicBezTo>
                    <a:cubicBezTo>
                      <a:pt x="134" y="75"/>
                      <a:pt x="135" y="74"/>
                      <a:pt x="137" y="72"/>
                    </a:cubicBezTo>
                    <a:cubicBezTo>
                      <a:pt x="138" y="70"/>
                      <a:pt x="139" y="67"/>
                      <a:pt x="141" y="64"/>
                    </a:cubicBezTo>
                    <a:cubicBezTo>
                      <a:pt x="142" y="63"/>
                      <a:pt x="142" y="61"/>
                      <a:pt x="143" y="59"/>
                    </a:cubicBezTo>
                    <a:cubicBezTo>
                      <a:pt x="144" y="56"/>
                      <a:pt x="145" y="53"/>
                      <a:pt x="147" y="51"/>
                    </a:cubicBezTo>
                    <a:cubicBezTo>
                      <a:pt x="147" y="50"/>
                      <a:pt x="147" y="50"/>
                      <a:pt x="147" y="49"/>
                    </a:cubicBezTo>
                    <a:cubicBezTo>
                      <a:pt x="148" y="49"/>
                      <a:pt x="148" y="49"/>
                      <a:pt x="148" y="49"/>
                    </a:cubicBezTo>
                    <a:cubicBezTo>
                      <a:pt x="150" y="45"/>
                      <a:pt x="153" y="41"/>
                      <a:pt x="155" y="37"/>
                    </a:cubicBezTo>
                    <a:cubicBezTo>
                      <a:pt x="157" y="34"/>
                      <a:pt x="159" y="31"/>
                      <a:pt x="162" y="29"/>
                    </a:cubicBezTo>
                    <a:cubicBezTo>
                      <a:pt x="162" y="29"/>
                      <a:pt x="163" y="28"/>
                      <a:pt x="165" y="27"/>
                    </a:cubicBezTo>
                    <a:cubicBezTo>
                      <a:pt x="166" y="27"/>
                      <a:pt x="166" y="27"/>
                      <a:pt x="167" y="26"/>
                    </a:cubicBezTo>
                    <a:cubicBezTo>
                      <a:pt x="178" y="19"/>
                      <a:pt x="178" y="19"/>
                      <a:pt x="178" y="19"/>
                    </a:cubicBezTo>
                    <a:cubicBezTo>
                      <a:pt x="178" y="18"/>
                      <a:pt x="177" y="18"/>
                      <a:pt x="177" y="18"/>
                    </a:cubicBezTo>
                    <a:cubicBezTo>
                      <a:pt x="177" y="17"/>
                      <a:pt x="176" y="17"/>
                      <a:pt x="176" y="17"/>
                    </a:cubicBezTo>
                    <a:cubicBezTo>
                      <a:pt x="175" y="16"/>
                      <a:pt x="175" y="15"/>
                      <a:pt x="174" y="15"/>
                    </a:cubicBezTo>
                    <a:cubicBezTo>
                      <a:pt x="173" y="14"/>
                      <a:pt x="173" y="14"/>
                      <a:pt x="173" y="14"/>
                    </a:cubicBezTo>
                    <a:cubicBezTo>
                      <a:pt x="172" y="13"/>
                      <a:pt x="172" y="13"/>
                      <a:pt x="171" y="12"/>
                    </a:cubicBezTo>
                    <a:cubicBezTo>
                      <a:pt x="171" y="12"/>
                      <a:pt x="170" y="11"/>
                      <a:pt x="169" y="11"/>
                    </a:cubicBezTo>
                    <a:cubicBezTo>
                      <a:pt x="170" y="9"/>
                      <a:pt x="170" y="9"/>
                      <a:pt x="170" y="9"/>
                    </a:cubicBezTo>
                    <a:cubicBezTo>
                      <a:pt x="169" y="11"/>
                      <a:pt x="169" y="11"/>
                      <a:pt x="169" y="11"/>
                    </a:cubicBezTo>
                    <a:cubicBezTo>
                      <a:pt x="167" y="9"/>
                      <a:pt x="165" y="8"/>
                      <a:pt x="163" y="6"/>
                    </a:cubicBezTo>
                    <a:cubicBezTo>
                      <a:pt x="162" y="6"/>
                      <a:pt x="162" y="6"/>
                      <a:pt x="162" y="6"/>
                    </a:cubicBezTo>
                    <a:cubicBezTo>
                      <a:pt x="162" y="6"/>
                      <a:pt x="162" y="6"/>
                      <a:pt x="162" y="6"/>
                    </a:cubicBezTo>
                    <a:cubicBezTo>
                      <a:pt x="160" y="7"/>
                      <a:pt x="158" y="8"/>
                      <a:pt x="155" y="8"/>
                    </a:cubicBezTo>
                    <a:cubicBezTo>
                      <a:pt x="155" y="8"/>
                      <a:pt x="155" y="8"/>
                      <a:pt x="155" y="8"/>
                    </a:cubicBezTo>
                    <a:cubicBezTo>
                      <a:pt x="155" y="8"/>
                      <a:pt x="154" y="8"/>
                      <a:pt x="154" y="8"/>
                    </a:cubicBezTo>
                    <a:cubicBezTo>
                      <a:pt x="153" y="8"/>
                      <a:pt x="153" y="8"/>
                      <a:pt x="153" y="8"/>
                    </a:cubicBezTo>
                    <a:cubicBezTo>
                      <a:pt x="152" y="8"/>
                      <a:pt x="151" y="8"/>
                      <a:pt x="150" y="7"/>
                    </a:cubicBezTo>
                    <a:cubicBezTo>
                      <a:pt x="148" y="6"/>
                      <a:pt x="147" y="4"/>
                      <a:pt x="145" y="2"/>
                    </a:cubicBezTo>
                    <a:cubicBezTo>
                      <a:pt x="144" y="1"/>
                      <a:pt x="144" y="1"/>
                      <a:pt x="144" y="1"/>
                    </a:cubicBezTo>
                    <a:cubicBezTo>
                      <a:pt x="144" y="1"/>
                      <a:pt x="143" y="1"/>
                      <a:pt x="143" y="0"/>
                    </a:cubicBezTo>
                    <a:cubicBezTo>
                      <a:pt x="142" y="0"/>
                      <a:pt x="142" y="0"/>
                      <a:pt x="142" y="0"/>
                    </a:cubicBezTo>
                    <a:cubicBezTo>
                      <a:pt x="141" y="0"/>
                      <a:pt x="140" y="0"/>
                      <a:pt x="139" y="0"/>
                    </a:cubicBezTo>
                    <a:cubicBezTo>
                      <a:pt x="137" y="0"/>
                      <a:pt x="137" y="0"/>
                      <a:pt x="137" y="0"/>
                    </a:cubicBezTo>
                    <a:cubicBezTo>
                      <a:pt x="134" y="0"/>
                      <a:pt x="134" y="0"/>
                      <a:pt x="134" y="0"/>
                    </a:cubicBezTo>
                    <a:cubicBezTo>
                      <a:pt x="132" y="0"/>
                      <a:pt x="131" y="0"/>
                      <a:pt x="1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78" name="Freeform 306">
                <a:extLst>
                  <a:ext uri="{FF2B5EF4-FFF2-40B4-BE49-F238E27FC236}">
                    <a16:creationId xmlns:a16="http://schemas.microsoft.com/office/drawing/2014/main" id="{8080569C-5949-461F-9764-2E5FC6D7D698}"/>
                  </a:ext>
                </a:extLst>
              </p:cNvPr>
              <p:cNvSpPr>
                <a:spLocks/>
              </p:cNvSpPr>
              <p:nvPr/>
            </p:nvSpPr>
            <p:spPr bwMode="auto">
              <a:xfrm>
                <a:off x="5888815" y="4060998"/>
                <a:ext cx="482750" cy="184256"/>
              </a:xfrm>
              <a:custGeom>
                <a:avLst/>
                <a:gdLst>
                  <a:gd name="T0" fmla="*/ 62 w 152"/>
                  <a:gd name="T1" fmla="*/ 4 h 58"/>
                  <a:gd name="T2" fmla="*/ 60 w 152"/>
                  <a:gd name="T3" fmla="*/ 4 h 58"/>
                  <a:gd name="T4" fmla="*/ 57 w 152"/>
                  <a:gd name="T5" fmla="*/ 3 h 58"/>
                  <a:gd name="T6" fmla="*/ 53 w 152"/>
                  <a:gd name="T7" fmla="*/ 1 h 58"/>
                  <a:gd name="T8" fmla="*/ 53 w 152"/>
                  <a:gd name="T9" fmla="*/ 1 h 58"/>
                  <a:gd name="T10" fmla="*/ 47 w 152"/>
                  <a:gd name="T11" fmla="*/ 3 h 58"/>
                  <a:gd name="T12" fmla="*/ 37 w 152"/>
                  <a:gd name="T13" fmla="*/ 9 h 58"/>
                  <a:gd name="T14" fmla="*/ 35 w 152"/>
                  <a:gd name="T15" fmla="*/ 12 h 58"/>
                  <a:gd name="T16" fmla="*/ 26 w 152"/>
                  <a:gd name="T17" fmla="*/ 22 h 58"/>
                  <a:gd name="T18" fmla="*/ 13 w 152"/>
                  <a:gd name="T19" fmla="*/ 25 h 58"/>
                  <a:gd name="T20" fmla="*/ 8 w 152"/>
                  <a:gd name="T21" fmla="*/ 24 h 58"/>
                  <a:gd name="T22" fmla="*/ 7 w 152"/>
                  <a:gd name="T23" fmla="*/ 24 h 58"/>
                  <a:gd name="T24" fmla="*/ 3 w 152"/>
                  <a:gd name="T25" fmla="*/ 30 h 58"/>
                  <a:gd name="T26" fmla="*/ 3 w 152"/>
                  <a:gd name="T27" fmla="*/ 39 h 58"/>
                  <a:gd name="T28" fmla="*/ 0 w 152"/>
                  <a:gd name="T29" fmla="*/ 38 h 58"/>
                  <a:gd name="T30" fmla="*/ 0 w 152"/>
                  <a:gd name="T31" fmla="*/ 38 h 58"/>
                  <a:gd name="T32" fmla="*/ 3 w 152"/>
                  <a:gd name="T33" fmla="*/ 43 h 58"/>
                  <a:gd name="T34" fmla="*/ 6 w 152"/>
                  <a:gd name="T35" fmla="*/ 47 h 58"/>
                  <a:gd name="T36" fmla="*/ 6 w 152"/>
                  <a:gd name="T37" fmla="*/ 48 h 58"/>
                  <a:gd name="T38" fmla="*/ 9 w 152"/>
                  <a:gd name="T39" fmla="*/ 48 h 58"/>
                  <a:gd name="T40" fmla="*/ 13 w 152"/>
                  <a:gd name="T41" fmla="*/ 51 h 58"/>
                  <a:gd name="T42" fmla="*/ 23 w 152"/>
                  <a:gd name="T43" fmla="*/ 57 h 58"/>
                  <a:gd name="T44" fmla="*/ 29 w 152"/>
                  <a:gd name="T45" fmla="*/ 58 h 58"/>
                  <a:gd name="T46" fmla="*/ 48 w 152"/>
                  <a:gd name="T47" fmla="*/ 56 h 58"/>
                  <a:gd name="T48" fmla="*/ 51 w 152"/>
                  <a:gd name="T49" fmla="*/ 50 h 58"/>
                  <a:gd name="T50" fmla="*/ 63 w 152"/>
                  <a:gd name="T51" fmla="*/ 44 h 58"/>
                  <a:gd name="T52" fmla="*/ 76 w 152"/>
                  <a:gd name="T53" fmla="*/ 42 h 58"/>
                  <a:gd name="T54" fmla="*/ 78 w 152"/>
                  <a:gd name="T55" fmla="*/ 42 h 58"/>
                  <a:gd name="T56" fmla="*/ 82 w 152"/>
                  <a:gd name="T57" fmla="*/ 43 h 58"/>
                  <a:gd name="T58" fmla="*/ 85 w 152"/>
                  <a:gd name="T59" fmla="*/ 42 h 58"/>
                  <a:gd name="T60" fmla="*/ 91 w 152"/>
                  <a:gd name="T61" fmla="*/ 38 h 58"/>
                  <a:gd name="T62" fmla="*/ 106 w 152"/>
                  <a:gd name="T63" fmla="*/ 29 h 58"/>
                  <a:gd name="T64" fmla="*/ 118 w 152"/>
                  <a:gd name="T65" fmla="*/ 28 h 58"/>
                  <a:gd name="T66" fmla="*/ 121 w 152"/>
                  <a:gd name="T67" fmla="*/ 28 h 58"/>
                  <a:gd name="T68" fmla="*/ 127 w 152"/>
                  <a:gd name="T69" fmla="*/ 29 h 58"/>
                  <a:gd name="T70" fmla="*/ 134 w 152"/>
                  <a:gd name="T71" fmla="*/ 33 h 58"/>
                  <a:gd name="T72" fmla="*/ 138 w 152"/>
                  <a:gd name="T73" fmla="*/ 36 h 58"/>
                  <a:gd name="T74" fmla="*/ 143 w 152"/>
                  <a:gd name="T75" fmla="*/ 34 h 58"/>
                  <a:gd name="T76" fmla="*/ 144 w 152"/>
                  <a:gd name="T77" fmla="*/ 30 h 58"/>
                  <a:gd name="T78" fmla="*/ 136 w 152"/>
                  <a:gd name="T79" fmla="*/ 35 h 58"/>
                  <a:gd name="T80" fmla="*/ 150 w 152"/>
                  <a:gd name="T81" fmla="*/ 14 h 58"/>
                  <a:gd name="T82" fmla="*/ 148 w 152"/>
                  <a:gd name="T83" fmla="*/ 14 h 58"/>
                  <a:gd name="T84" fmla="*/ 138 w 152"/>
                  <a:gd name="T85" fmla="*/ 8 h 58"/>
                  <a:gd name="T86" fmla="*/ 120 w 152"/>
                  <a:gd name="T87" fmla="*/ 6 h 58"/>
                  <a:gd name="T88" fmla="*/ 112 w 152"/>
                  <a:gd name="T89" fmla="*/ 8 h 58"/>
                  <a:gd name="T90" fmla="*/ 103 w 152"/>
                  <a:gd name="T91" fmla="*/ 6 h 58"/>
                  <a:gd name="T92" fmla="*/ 99 w 152"/>
                  <a:gd name="T93" fmla="*/ 5 h 58"/>
                  <a:gd name="T94" fmla="*/ 96 w 152"/>
                  <a:gd name="T95" fmla="*/ 6 h 58"/>
                  <a:gd name="T96" fmla="*/ 90 w 152"/>
                  <a:gd name="T97" fmla="*/ 8 h 58"/>
                  <a:gd name="T98" fmla="*/ 82 w 152"/>
                  <a:gd name="T99" fmla="*/ 12 h 58"/>
                  <a:gd name="T100" fmla="*/ 81 w 152"/>
                  <a:gd name="T101" fmla="*/ 12 h 58"/>
                  <a:gd name="T102" fmla="*/ 79 w 152"/>
                  <a:gd name="T103" fmla="*/ 12 h 58"/>
                  <a:gd name="T104" fmla="*/ 77 w 152"/>
                  <a:gd name="T105" fmla="*/ 11 h 58"/>
                  <a:gd name="T106" fmla="*/ 76 w 152"/>
                  <a:gd name="T107" fmla="*/ 9 h 58"/>
                  <a:gd name="T108" fmla="*/ 76 w 152"/>
                  <a:gd name="T109"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 h="58">
                    <a:moveTo>
                      <a:pt x="71" y="0"/>
                    </a:moveTo>
                    <a:cubicBezTo>
                      <a:pt x="68" y="1"/>
                      <a:pt x="65" y="3"/>
                      <a:pt x="62" y="4"/>
                    </a:cubicBezTo>
                    <a:cubicBezTo>
                      <a:pt x="62" y="4"/>
                      <a:pt x="61" y="4"/>
                      <a:pt x="61" y="4"/>
                    </a:cubicBezTo>
                    <a:cubicBezTo>
                      <a:pt x="60" y="4"/>
                      <a:pt x="60" y="4"/>
                      <a:pt x="60" y="4"/>
                    </a:cubicBezTo>
                    <a:cubicBezTo>
                      <a:pt x="59" y="4"/>
                      <a:pt x="58" y="4"/>
                      <a:pt x="57" y="3"/>
                    </a:cubicBezTo>
                    <a:cubicBezTo>
                      <a:pt x="57" y="3"/>
                      <a:pt x="57" y="3"/>
                      <a:pt x="57" y="3"/>
                    </a:cubicBezTo>
                    <a:cubicBezTo>
                      <a:pt x="56" y="3"/>
                      <a:pt x="55" y="2"/>
                      <a:pt x="55" y="2"/>
                    </a:cubicBezTo>
                    <a:cubicBezTo>
                      <a:pt x="54" y="1"/>
                      <a:pt x="54" y="1"/>
                      <a:pt x="53" y="1"/>
                    </a:cubicBezTo>
                    <a:cubicBezTo>
                      <a:pt x="53" y="1"/>
                      <a:pt x="53" y="1"/>
                      <a:pt x="53" y="1"/>
                    </a:cubicBezTo>
                    <a:cubicBezTo>
                      <a:pt x="53" y="1"/>
                      <a:pt x="53" y="1"/>
                      <a:pt x="53" y="1"/>
                    </a:cubicBezTo>
                    <a:cubicBezTo>
                      <a:pt x="51" y="1"/>
                      <a:pt x="49" y="2"/>
                      <a:pt x="48" y="3"/>
                    </a:cubicBezTo>
                    <a:cubicBezTo>
                      <a:pt x="47" y="3"/>
                      <a:pt x="47" y="3"/>
                      <a:pt x="47" y="3"/>
                    </a:cubicBezTo>
                    <a:cubicBezTo>
                      <a:pt x="44" y="4"/>
                      <a:pt x="39" y="6"/>
                      <a:pt x="38" y="8"/>
                    </a:cubicBezTo>
                    <a:cubicBezTo>
                      <a:pt x="37" y="9"/>
                      <a:pt x="37" y="9"/>
                      <a:pt x="37" y="9"/>
                    </a:cubicBezTo>
                    <a:cubicBezTo>
                      <a:pt x="36" y="10"/>
                      <a:pt x="36" y="10"/>
                      <a:pt x="35" y="11"/>
                    </a:cubicBezTo>
                    <a:cubicBezTo>
                      <a:pt x="35" y="12"/>
                      <a:pt x="35" y="12"/>
                      <a:pt x="35" y="12"/>
                    </a:cubicBezTo>
                    <a:cubicBezTo>
                      <a:pt x="35" y="13"/>
                      <a:pt x="35" y="14"/>
                      <a:pt x="34" y="15"/>
                    </a:cubicBezTo>
                    <a:cubicBezTo>
                      <a:pt x="33" y="18"/>
                      <a:pt x="29" y="20"/>
                      <a:pt x="26" y="22"/>
                    </a:cubicBezTo>
                    <a:cubicBezTo>
                      <a:pt x="22" y="24"/>
                      <a:pt x="18" y="25"/>
                      <a:pt x="14" y="25"/>
                    </a:cubicBezTo>
                    <a:cubicBezTo>
                      <a:pt x="13" y="25"/>
                      <a:pt x="13" y="25"/>
                      <a:pt x="13" y="25"/>
                    </a:cubicBezTo>
                    <a:cubicBezTo>
                      <a:pt x="13" y="25"/>
                      <a:pt x="13" y="25"/>
                      <a:pt x="13" y="25"/>
                    </a:cubicBezTo>
                    <a:cubicBezTo>
                      <a:pt x="11" y="25"/>
                      <a:pt x="10" y="25"/>
                      <a:pt x="8" y="24"/>
                    </a:cubicBezTo>
                    <a:cubicBezTo>
                      <a:pt x="8" y="24"/>
                      <a:pt x="8" y="24"/>
                      <a:pt x="8" y="24"/>
                    </a:cubicBezTo>
                    <a:cubicBezTo>
                      <a:pt x="7" y="24"/>
                      <a:pt x="7" y="24"/>
                      <a:pt x="7" y="24"/>
                    </a:cubicBezTo>
                    <a:cubicBezTo>
                      <a:pt x="6" y="25"/>
                      <a:pt x="6" y="25"/>
                      <a:pt x="6" y="25"/>
                    </a:cubicBezTo>
                    <a:cubicBezTo>
                      <a:pt x="4" y="27"/>
                      <a:pt x="3" y="29"/>
                      <a:pt x="3" y="30"/>
                    </a:cubicBezTo>
                    <a:cubicBezTo>
                      <a:pt x="2" y="30"/>
                      <a:pt x="2" y="30"/>
                      <a:pt x="2" y="30"/>
                    </a:cubicBezTo>
                    <a:cubicBezTo>
                      <a:pt x="3" y="39"/>
                      <a:pt x="3" y="39"/>
                      <a:pt x="3" y="39"/>
                    </a:cubicBezTo>
                    <a:cubicBezTo>
                      <a:pt x="1" y="36"/>
                      <a:pt x="1" y="36"/>
                      <a:pt x="1" y="36"/>
                    </a:cubicBezTo>
                    <a:cubicBezTo>
                      <a:pt x="0" y="37"/>
                      <a:pt x="0" y="37"/>
                      <a:pt x="0" y="38"/>
                    </a:cubicBezTo>
                    <a:cubicBezTo>
                      <a:pt x="0" y="38"/>
                      <a:pt x="0" y="38"/>
                      <a:pt x="0" y="38"/>
                    </a:cubicBezTo>
                    <a:cubicBezTo>
                      <a:pt x="0" y="38"/>
                      <a:pt x="0" y="38"/>
                      <a:pt x="0" y="38"/>
                    </a:cubicBezTo>
                    <a:cubicBezTo>
                      <a:pt x="0" y="39"/>
                      <a:pt x="1" y="39"/>
                      <a:pt x="1" y="40"/>
                    </a:cubicBezTo>
                    <a:cubicBezTo>
                      <a:pt x="2" y="41"/>
                      <a:pt x="3" y="42"/>
                      <a:pt x="3" y="43"/>
                    </a:cubicBezTo>
                    <a:cubicBezTo>
                      <a:pt x="4" y="44"/>
                      <a:pt x="5" y="45"/>
                      <a:pt x="5" y="46"/>
                    </a:cubicBezTo>
                    <a:cubicBezTo>
                      <a:pt x="6" y="47"/>
                      <a:pt x="6" y="47"/>
                      <a:pt x="6" y="47"/>
                    </a:cubicBezTo>
                    <a:cubicBezTo>
                      <a:pt x="6" y="48"/>
                      <a:pt x="6" y="48"/>
                      <a:pt x="6" y="48"/>
                    </a:cubicBezTo>
                    <a:cubicBezTo>
                      <a:pt x="6" y="48"/>
                      <a:pt x="6" y="48"/>
                      <a:pt x="6" y="48"/>
                    </a:cubicBezTo>
                    <a:cubicBezTo>
                      <a:pt x="8" y="48"/>
                      <a:pt x="8" y="48"/>
                      <a:pt x="8" y="48"/>
                    </a:cubicBezTo>
                    <a:cubicBezTo>
                      <a:pt x="8" y="48"/>
                      <a:pt x="9" y="48"/>
                      <a:pt x="9" y="48"/>
                    </a:cubicBezTo>
                    <a:cubicBezTo>
                      <a:pt x="10" y="48"/>
                      <a:pt x="10" y="48"/>
                      <a:pt x="10" y="48"/>
                    </a:cubicBezTo>
                    <a:cubicBezTo>
                      <a:pt x="11" y="49"/>
                      <a:pt x="12" y="50"/>
                      <a:pt x="13" y="51"/>
                    </a:cubicBezTo>
                    <a:cubicBezTo>
                      <a:pt x="14" y="51"/>
                      <a:pt x="14" y="51"/>
                      <a:pt x="14" y="51"/>
                    </a:cubicBezTo>
                    <a:cubicBezTo>
                      <a:pt x="17" y="54"/>
                      <a:pt x="20" y="56"/>
                      <a:pt x="23" y="57"/>
                    </a:cubicBezTo>
                    <a:cubicBezTo>
                      <a:pt x="24" y="58"/>
                      <a:pt x="25" y="58"/>
                      <a:pt x="26" y="58"/>
                    </a:cubicBezTo>
                    <a:cubicBezTo>
                      <a:pt x="27" y="58"/>
                      <a:pt x="28" y="58"/>
                      <a:pt x="29" y="58"/>
                    </a:cubicBezTo>
                    <a:cubicBezTo>
                      <a:pt x="35" y="58"/>
                      <a:pt x="41" y="57"/>
                      <a:pt x="46" y="56"/>
                    </a:cubicBezTo>
                    <a:cubicBezTo>
                      <a:pt x="47" y="56"/>
                      <a:pt x="48" y="56"/>
                      <a:pt x="48" y="56"/>
                    </a:cubicBezTo>
                    <a:cubicBezTo>
                      <a:pt x="48" y="55"/>
                      <a:pt x="48" y="53"/>
                      <a:pt x="49" y="52"/>
                    </a:cubicBezTo>
                    <a:cubicBezTo>
                      <a:pt x="49" y="51"/>
                      <a:pt x="50" y="50"/>
                      <a:pt x="51" y="50"/>
                    </a:cubicBezTo>
                    <a:cubicBezTo>
                      <a:pt x="53" y="48"/>
                      <a:pt x="55" y="47"/>
                      <a:pt x="58" y="46"/>
                    </a:cubicBezTo>
                    <a:cubicBezTo>
                      <a:pt x="63" y="44"/>
                      <a:pt x="63" y="44"/>
                      <a:pt x="63" y="44"/>
                    </a:cubicBezTo>
                    <a:cubicBezTo>
                      <a:pt x="66" y="43"/>
                      <a:pt x="70" y="42"/>
                      <a:pt x="74" y="42"/>
                    </a:cubicBezTo>
                    <a:cubicBezTo>
                      <a:pt x="74" y="42"/>
                      <a:pt x="75" y="42"/>
                      <a:pt x="76" y="42"/>
                    </a:cubicBezTo>
                    <a:cubicBezTo>
                      <a:pt x="77" y="42"/>
                      <a:pt x="77" y="42"/>
                      <a:pt x="77" y="42"/>
                    </a:cubicBezTo>
                    <a:cubicBezTo>
                      <a:pt x="77" y="42"/>
                      <a:pt x="78" y="42"/>
                      <a:pt x="78" y="42"/>
                    </a:cubicBezTo>
                    <a:cubicBezTo>
                      <a:pt x="79" y="42"/>
                      <a:pt x="80" y="42"/>
                      <a:pt x="80" y="42"/>
                    </a:cubicBezTo>
                    <a:cubicBezTo>
                      <a:pt x="81" y="43"/>
                      <a:pt x="82" y="43"/>
                      <a:pt x="82" y="43"/>
                    </a:cubicBezTo>
                    <a:cubicBezTo>
                      <a:pt x="82" y="43"/>
                      <a:pt x="83" y="43"/>
                      <a:pt x="83" y="43"/>
                    </a:cubicBezTo>
                    <a:cubicBezTo>
                      <a:pt x="84" y="43"/>
                      <a:pt x="84" y="42"/>
                      <a:pt x="85" y="42"/>
                    </a:cubicBezTo>
                    <a:cubicBezTo>
                      <a:pt x="87" y="41"/>
                      <a:pt x="88" y="41"/>
                      <a:pt x="90" y="39"/>
                    </a:cubicBezTo>
                    <a:cubicBezTo>
                      <a:pt x="91" y="38"/>
                      <a:pt x="91" y="38"/>
                      <a:pt x="91" y="38"/>
                    </a:cubicBezTo>
                    <a:cubicBezTo>
                      <a:pt x="96" y="34"/>
                      <a:pt x="100" y="31"/>
                      <a:pt x="105" y="29"/>
                    </a:cubicBezTo>
                    <a:cubicBezTo>
                      <a:pt x="106" y="29"/>
                      <a:pt x="106" y="29"/>
                      <a:pt x="106" y="29"/>
                    </a:cubicBezTo>
                    <a:cubicBezTo>
                      <a:pt x="108" y="28"/>
                      <a:pt x="110" y="28"/>
                      <a:pt x="112" y="28"/>
                    </a:cubicBezTo>
                    <a:cubicBezTo>
                      <a:pt x="114" y="28"/>
                      <a:pt x="116" y="28"/>
                      <a:pt x="118" y="28"/>
                    </a:cubicBezTo>
                    <a:cubicBezTo>
                      <a:pt x="120" y="28"/>
                      <a:pt x="120" y="28"/>
                      <a:pt x="120" y="28"/>
                    </a:cubicBezTo>
                    <a:cubicBezTo>
                      <a:pt x="121" y="28"/>
                      <a:pt x="121" y="28"/>
                      <a:pt x="121" y="28"/>
                    </a:cubicBezTo>
                    <a:cubicBezTo>
                      <a:pt x="122" y="28"/>
                      <a:pt x="123" y="28"/>
                      <a:pt x="124" y="28"/>
                    </a:cubicBezTo>
                    <a:cubicBezTo>
                      <a:pt x="125" y="28"/>
                      <a:pt x="126" y="28"/>
                      <a:pt x="127" y="29"/>
                    </a:cubicBezTo>
                    <a:cubicBezTo>
                      <a:pt x="130" y="29"/>
                      <a:pt x="131" y="30"/>
                      <a:pt x="132" y="31"/>
                    </a:cubicBezTo>
                    <a:cubicBezTo>
                      <a:pt x="134" y="33"/>
                      <a:pt x="134" y="33"/>
                      <a:pt x="134" y="33"/>
                    </a:cubicBezTo>
                    <a:cubicBezTo>
                      <a:pt x="135" y="35"/>
                      <a:pt x="136" y="36"/>
                      <a:pt x="136" y="36"/>
                    </a:cubicBezTo>
                    <a:cubicBezTo>
                      <a:pt x="138" y="36"/>
                      <a:pt x="138" y="36"/>
                      <a:pt x="138" y="36"/>
                    </a:cubicBezTo>
                    <a:cubicBezTo>
                      <a:pt x="139" y="36"/>
                      <a:pt x="141" y="35"/>
                      <a:pt x="142" y="35"/>
                    </a:cubicBezTo>
                    <a:cubicBezTo>
                      <a:pt x="143" y="34"/>
                      <a:pt x="143" y="34"/>
                      <a:pt x="143" y="34"/>
                    </a:cubicBezTo>
                    <a:cubicBezTo>
                      <a:pt x="144" y="34"/>
                      <a:pt x="144" y="34"/>
                      <a:pt x="144" y="34"/>
                    </a:cubicBezTo>
                    <a:cubicBezTo>
                      <a:pt x="144" y="32"/>
                      <a:pt x="144" y="31"/>
                      <a:pt x="144" y="30"/>
                    </a:cubicBezTo>
                    <a:cubicBezTo>
                      <a:pt x="145" y="29"/>
                      <a:pt x="145" y="29"/>
                      <a:pt x="145" y="28"/>
                    </a:cubicBezTo>
                    <a:cubicBezTo>
                      <a:pt x="136" y="35"/>
                      <a:pt x="136" y="35"/>
                      <a:pt x="136" y="35"/>
                    </a:cubicBezTo>
                    <a:cubicBezTo>
                      <a:pt x="152" y="15"/>
                      <a:pt x="152" y="15"/>
                      <a:pt x="152" y="15"/>
                    </a:cubicBezTo>
                    <a:cubicBezTo>
                      <a:pt x="152" y="15"/>
                      <a:pt x="151" y="14"/>
                      <a:pt x="150" y="14"/>
                    </a:cubicBezTo>
                    <a:cubicBezTo>
                      <a:pt x="150" y="14"/>
                      <a:pt x="150" y="14"/>
                      <a:pt x="150" y="14"/>
                    </a:cubicBezTo>
                    <a:cubicBezTo>
                      <a:pt x="149" y="14"/>
                      <a:pt x="149" y="14"/>
                      <a:pt x="148" y="14"/>
                    </a:cubicBezTo>
                    <a:cubicBezTo>
                      <a:pt x="146" y="13"/>
                      <a:pt x="144" y="12"/>
                      <a:pt x="143" y="11"/>
                    </a:cubicBezTo>
                    <a:cubicBezTo>
                      <a:pt x="141" y="10"/>
                      <a:pt x="140" y="9"/>
                      <a:pt x="138" y="8"/>
                    </a:cubicBezTo>
                    <a:cubicBezTo>
                      <a:pt x="135" y="6"/>
                      <a:pt x="131" y="4"/>
                      <a:pt x="127" y="4"/>
                    </a:cubicBezTo>
                    <a:cubicBezTo>
                      <a:pt x="125" y="4"/>
                      <a:pt x="123" y="5"/>
                      <a:pt x="120" y="6"/>
                    </a:cubicBezTo>
                    <a:cubicBezTo>
                      <a:pt x="116" y="7"/>
                      <a:pt x="116" y="7"/>
                      <a:pt x="116" y="7"/>
                    </a:cubicBezTo>
                    <a:cubicBezTo>
                      <a:pt x="115" y="8"/>
                      <a:pt x="113" y="8"/>
                      <a:pt x="112" y="8"/>
                    </a:cubicBezTo>
                    <a:cubicBezTo>
                      <a:pt x="110" y="8"/>
                      <a:pt x="107" y="7"/>
                      <a:pt x="104" y="6"/>
                    </a:cubicBezTo>
                    <a:cubicBezTo>
                      <a:pt x="103" y="6"/>
                      <a:pt x="103" y="6"/>
                      <a:pt x="103" y="6"/>
                    </a:cubicBezTo>
                    <a:cubicBezTo>
                      <a:pt x="102" y="6"/>
                      <a:pt x="101" y="6"/>
                      <a:pt x="101" y="5"/>
                    </a:cubicBezTo>
                    <a:cubicBezTo>
                      <a:pt x="100" y="5"/>
                      <a:pt x="100" y="5"/>
                      <a:pt x="99" y="5"/>
                    </a:cubicBezTo>
                    <a:cubicBezTo>
                      <a:pt x="99" y="5"/>
                      <a:pt x="98" y="5"/>
                      <a:pt x="98" y="5"/>
                    </a:cubicBezTo>
                    <a:cubicBezTo>
                      <a:pt x="97" y="5"/>
                      <a:pt x="97" y="6"/>
                      <a:pt x="96" y="6"/>
                    </a:cubicBezTo>
                    <a:cubicBezTo>
                      <a:pt x="94" y="7"/>
                      <a:pt x="92" y="7"/>
                      <a:pt x="91" y="8"/>
                    </a:cubicBezTo>
                    <a:cubicBezTo>
                      <a:pt x="90" y="8"/>
                      <a:pt x="90" y="8"/>
                      <a:pt x="90" y="8"/>
                    </a:cubicBezTo>
                    <a:cubicBezTo>
                      <a:pt x="88" y="10"/>
                      <a:pt x="86" y="11"/>
                      <a:pt x="84" y="11"/>
                    </a:cubicBezTo>
                    <a:cubicBezTo>
                      <a:pt x="83" y="12"/>
                      <a:pt x="83" y="12"/>
                      <a:pt x="82" y="12"/>
                    </a:cubicBezTo>
                    <a:cubicBezTo>
                      <a:pt x="82" y="12"/>
                      <a:pt x="82" y="12"/>
                      <a:pt x="82" y="12"/>
                    </a:cubicBezTo>
                    <a:cubicBezTo>
                      <a:pt x="81" y="12"/>
                      <a:pt x="81" y="12"/>
                      <a:pt x="81" y="12"/>
                    </a:cubicBezTo>
                    <a:cubicBezTo>
                      <a:pt x="80" y="12"/>
                      <a:pt x="80" y="12"/>
                      <a:pt x="79" y="12"/>
                    </a:cubicBezTo>
                    <a:cubicBezTo>
                      <a:pt x="79" y="12"/>
                      <a:pt x="79" y="12"/>
                      <a:pt x="79" y="12"/>
                    </a:cubicBezTo>
                    <a:cubicBezTo>
                      <a:pt x="78" y="11"/>
                      <a:pt x="78" y="11"/>
                      <a:pt x="78" y="11"/>
                    </a:cubicBezTo>
                    <a:cubicBezTo>
                      <a:pt x="77" y="11"/>
                      <a:pt x="77" y="11"/>
                      <a:pt x="77" y="11"/>
                    </a:cubicBezTo>
                    <a:cubicBezTo>
                      <a:pt x="74" y="12"/>
                      <a:pt x="74" y="12"/>
                      <a:pt x="74" y="12"/>
                    </a:cubicBezTo>
                    <a:cubicBezTo>
                      <a:pt x="76" y="9"/>
                      <a:pt x="76" y="9"/>
                      <a:pt x="76" y="9"/>
                    </a:cubicBezTo>
                    <a:cubicBezTo>
                      <a:pt x="76" y="9"/>
                      <a:pt x="76" y="8"/>
                      <a:pt x="76" y="8"/>
                    </a:cubicBezTo>
                    <a:cubicBezTo>
                      <a:pt x="75" y="7"/>
                      <a:pt x="75" y="5"/>
                      <a:pt x="76" y="4"/>
                    </a:cubicBezTo>
                    <a:cubicBezTo>
                      <a:pt x="73" y="3"/>
                      <a:pt x="72" y="1"/>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79" name="Freeform 307">
                <a:extLst>
                  <a:ext uri="{FF2B5EF4-FFF2-40B4-BE49-F238E27FC236}">
                    <a16:creationId xmlns:a16="http://schemas.microsoft.com/office/drawing/2014/main" id="{9EC19B43-A188-4C5D-97FA-BC43F3BEB7CB}"/>
                  </a:ext>
                </a:extLst>
              </p:cNvPr>
              <p:cNvSpPr>
                <a:spLocks/>
              </p:cNvSpPr>
              <p:nvPr/>
            </p:nvSpPr>
            <p:spPr bwMode="auto">
              <a:xfrm>
                <a:off x="5601376" y="3405048"/>
                <a:ext cx="917594" cy="685432"/>
              </a:xfrm>
              <a:custGeom>
                <a:avLst/>
                <a:gdLst>
                  <a:gd name="T0" fmla="*/ 69 w 290"/>
                  <a:gd name="T1" fmla="*/ 22 h 215"/>
                  <a:gd name="T2" fmla="*/ 6 w 290"/>
                  <a:gd name="T3" fmla="*/ 31 h 215"/>
                  <a:gd name="T4" fmla="*/ 6 w 290"/>
                  <a:gd name="T5" fmla="*/ 39 h 215"/>
                  <a:gd name="T6" fmla="*/ 11 w 290"/>
                  <a:gd name="T7" fmla="*/ 38 h 215"/>
                  <a:gd name="T8" fmla="*/ 23 w 290"/>
                  <a:gd name="T9" fmla="*/ 48 h 215"/>
                  <a:gd name="T10" fmla="*/ 19 w 290"/>
                  <a:gd name="T11" fmla="*/ 51 h 215"/>
                  <a:gd name="T12" fmla="*/ 15 w 290"/>
                  <a:gd name="T13" fmla="*/ 74 h 215"/>
                  <a:gd name="T14" fmla="*/ 23 w 290"/>
                  <a:gd name="T15" fmla="*/ 82 h 215"/>
                  <a:gd name="T16" fmla="*/ 25 w 290"/>
                  <a:gd name="T17" fmla="*/ 95 h 215"/>
                  <a:gd name="T18" fmla="*/ 30 w 290"/>
                  <a:gd name="T19" fmla="*/ 103 h 215"/>
                  <a:gd name="T20" fmla="*/ 29 w 290"/>
                  <a:gd name="T21" fmla="*/ 121 h 215"/>
                  <a:gd name="T22" fmla="*/ 31 w 290"/>
                  <a:gd name="T23" fmla="*/ 126 h 215"/>
                  <a:gd name="T24" fmla="*/ 39 w 290"/>
                  <a:gd name="T25" fmla="*/ 138 h 215"/>
                  <a:gd name="T26" fmla="*/ 39 w 290"/>
                  <a:gd name="T27" fmla="*/ 144 h 215"/>
                  <a:gd name="T28" fmla="*/ 48 w 290"/>
                  <a:gd name="T29" fmla="*/ 152 h 215"/>
                  <a:gd name="T30" fmla="*/ 66 w 290"/>
                  <a:gd name="T31" fmla="*/ 157 h 215"/>
                  <a:gd name="T32" fmla="*/ 74 w 290"/>
                  <a:gd name="T33" fmla="*/ 157 h 215"/>
                  <a:gd name="T34" fmla="*/ 75 w 290"/>
                  <a:gd name="T35" fmla="*/ 170 h 215"/>
                  <a:gd name="T36" fmla="*/ 82 w 290"/>
                  <a:gd name="T37" fmla="*/ 176 h 215"/>
                  <a:gd name="T38" fmla="*/ 87 w 290"/>
                  <a:gd name="T39" fmla="*/ 173 h 215"/>
                  <a:gd name="T40" fmla="*/ 96 w 290"/>
                  <a:gd name="T41" fmla="*/ 167 h 215"/>
                  <a:gd name="T42" fmla="*/ 101 w 290"/>
                  <a:gd name="T43" fmla="*/ 168 h 215"/>
                  <a:gd name="T44" fmla="*/ 114 w 290"/>
                  <a:gd name="T45" fmla="*/ 161 h 215"/>
                  <a:gd name="T46" fmla="*/ 116 w 290"/>
                  <a:gd name="T47" fmla="*/ 182 h 215"/>
                  <a:gd name="T48" fmla="*/ 126 w 290"/>
                  <a:gd name="T49" fmla="*/ 181 h 215"/>
                  <a:gd name="T50" fmla="*/ 141 w 290"/>
                  <a:gd name="T51" fmla="*/ 192 h 215"/>
                  <a:gd name="T52" fmla="*/ 152 w 290"/>
                  <a:gd name="T53" fmla="*/ 202 h 215"/>
                  <a:gd name="T54" fmla="*/ 152 w 290"/>
                  <a:gd name="T55" fmla="*/ 203 h 215"/>
                  <a:gd name="T56" fmla="*/ 165 w 290"/>
                  <a:gd name="T57" fmla="*/ 196 h 215"/>
                  <a:gd name="T58" fmla="*/ 170 w 290"/>
                  <a:gd name="T59" fmla="*/ 203 h 215"/>
                  <a:gd name="T60" fmla="*/ 174 w 290"/>
                  <a:gd name="T61" fmla="*/ 210 h 215"/>
                  <a:gd name="T62" fmla="*/ 184 w 290"/>
                  <a:gd name="T63" fmla="*/ 205 h 215"/>
                  <a:gd name="T64" fmla="*/ 193 w 290"/>
                  <a:gd name="T65" fmla="*/ 205 h 215"/>
                  <a:gd name="T66" fmla="*/ 209 w 290"/>
                  <a:gd name="T67" fmla="*/ 205 h 215"/>
                  <a:gd name="T68" fmla="*/ 243 w 290"/>
                  <a:gd name="T69" fmla="*/ 214 h 215"/>
                  <a:gd name="T70" fmla="*/ 250 w 290"/>
                  <a:gd name="T71" fmla="*/ 213 h 215"/>
                  <a:gd name="T72" fmla="*/ 266 w 290"/>
                  <a:gd name="T73" fmla="*/ 182 h 215"/>
                  <a:gd name="T74" fmla="*/ 280 w 290"/>
                  <a:gd name="T75" fmla="*/ 171 h 215"/>
                  <a:gd name="T76" fmla="*/ 287 w 290"/>
                  <a:gd name="T77" fmla="*/ 158 h 215"/>
                  <a:gd name="T78" fmla="*/ 287 w 290"/>
                  <a:gd name="T79" fmla="*/ 151 h 215"/>
                  <a:gd name="T80" fmla="*/ 276 w 290"/>
                  <a:gd name="T81" fmla="*/ 128 h 215"/>
                  <a:gd name="T82" fmla="*/ 273 w 290"/>
                  <a:gd name="T83" fmla="*/ 126 h 215"/>
                  <a:gd name="T84" fmla="*/ 274 w 290"/>
                  <a:gd name="T85" fmla="*/ 118 h 215"/>
                  <a:gd name="T86" fmla="*/ 274 w 290"/>
                  <a:gd name="T87" fmla="*/ 106 h 215"/>
                  <a:gd name="T88" fmla="*/ 265 w 290"/>
                  <a:gd name="T89" fmla="*/ 102 h 215"/>
                  <a:gd name="T90" fmla="*/ 285 w 290"/>
                  <a:gd name="T91" fmla="*/ 79 h 215"/>
                  <a:gd name="T92" fmla="*/ 280 w 290"/>
                  <a:gd name="T93" fmla="*/ 55 h 215"/>
                  <a:gd name="T94" fmla="*/ 272 w 290"/>
                  <a:gd name="T95" fmla="*/ 34 h 215"/>
                  <a:gd name="T96" fmla="*/ 262 w 290"/>
                  <a:gd name="T97" fmla="*/ 23 h 215"/>
                  <a:gd name="T98" fmla="*/ 256 w 290"/>
                  <a:gd name="T99" fmla="*/ 22 h 215"/>
                  <a:gd name="T100" fmla="*/ 169 w 290"/>
                  <a:gd name="T101" fmla="*/ 19 h 215"/>
                  <a:gd name="T102" fmla="*/ 158 w 290"/>
                  <a:gd name="T103" fmla="*/ 23 h 215"/>
                  <a:gd name="T104" fmla="*/ 164 w 290"/>
                  <a:gd name="T105" fmla="*/ 15 h 215"/>
                  <a:gd name="T106" fmla="*/ 133 w 290"/>
                  <a:gd name="T107" fmla="*/ 7 h 215"/>
                  <a:gd name="T108" fmla="*/ 124 w 290"/>
                  <a:gd name="T10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0" h="215">
                    <a:moveTo>
                      <a:pt x="124" y="0"/>
                    </a:moveTo>
                    <a:cubicBezTo>
                      <a:pt x="119" y="0"/>
                      <a:pt x="115" y="1"/>
                      <a:pt x="111" y="2"/>
                    </a:cubicBezTo>
                    <a:cubicBezTo>
                      <a:pt x="100" y="5"/>
                      <a:pt x="88" y="9"/>
                      <a:pt x="77" y="12"/>
                    </a:cubicBezTo>
                    <a:cubicBezTo>
                      <a:pt x="75" y="13"/>
                      <a:pt x="72" y="20"/>
                      <a:pt x="69" y="22"/>
                    </a:cubicBezTo>
                    <a:cubicBezTo>
                      <a:pt x="62" y="26"/>
                      <a:pt x="52" y="25"/>
                      <a:pt x="44" y="27"/>
                    </a:cubicBezTo>
                    <a:cubicBezTo>
                      <a:pt x="37" y="29"/>
                      <a:pt x="30" y="31"/>
                      <a:pt x="23" y="32"/>
                    </a:cubicBezTo>
                    <a:cubicBezTo>
                      <a:pt x="21" y="33"/>
                      <a:pt x="14" y="34"/>
                      <a:pt x="13" y="36"/>
                    </a:cubicBezTo>
                    <a:cubicBezTo>
                      <a:pt x="12" y="34"/>
                      <a:pt x="7" y="32"/>
                      <a:pt x="6" y="31"/>
                    </a:cubicBezTo>
                    <a:cubicBezTo>
                      <a:pt x="7" y="32"/>
                      <a:pt x="6" y="32"/>
                      <a:pt x="7" y="32"/>
                    </a:cubicBezTo>
                    <a:cubicBezTo>
                      <a:pt x="7" y="32"/>
                      <a:pt x="7" y="32"/>
                      <a:pt x="7" y="32"/>
                    </a:cubicBezTo>
                    <a:cubicBezTo>
                      <a:pt x="2" y="34"/>
                      <a:pt x="0" y="39"/>
                      <a:pt x="5" y="39"/>
                    </a:cubicBezTo>
                    <a:cubicBezTo>
                      <a:pt x="5" y="39"/>
                      <a:pt x="6" y="39"/>
                      <a:pt x="6" y="39"/>
                    </a:cubicBezTo>
                    <a:cubicBezTo>
                      <a:pt x="7" y="38"/>
                      <a:pt x="7" y="38"/>
                      <a:pt x="8" y="38"/>
                    </a:cubicBezTo>
                    <a:cubicBezTo>
                      <a:pt x="8" y="38"/>
                      <a:pt x="8" y="38"/>
                      <a:pt x="9" y="38"/>
                    </a:cubicBezTo>
                    <a:cubicBezTo>
                      <a:pt x="9" y="38"/>
                      <a:pt x="9" y="38"/>
                      <a:pt x="10" y="38"/>
                    </a:cubicBezTo>
                    <a:cubicBezTo>
                      <a:pt x="10" y="38"/>
                      <a:pt x="11" y="38"/>
                      <a:pt x="11" y="38"/>
                    </a:cubicBezTo>
                    <a:cubicBezTo>
                      <a:pt x="12" y="38"/>
                      <a:pt x="12" y="38"/>
                      <a:pt x="12" y="38"/>
                    </a:cubicBezTo>
                    <a:cubicBezTo>
                      <a:pt x="16" y="38"/>
                      <a:pt x="20" y="38"/>
                      <a:pt x="24" y="39"/>
                    </a:cubicBezTo>
                    <a:cubicBezTo>
                      <a:pt x="24" y="40"/>
                      <a:pt x="23" y="42"/>
                      <a:pt x="23" y="42"/>
                    </a:cubicBezTo>
                    <a:cubicBezTo>
                      <a:pt x="23" y="44"/>
                      <a:pt x="24" y="46"/>
                      <a:pt x="23" y="48"/>
                    </a:cubicBezTo>
                    <a:cubicBezTo>
                      <a:pt x="22" y="47"/>
                      <a:pt x="20" y="45"/>
                      <a:pt x="17" y="45"/>
                    </a:cubicBezTo>
                    <a:cubicBezTo>
                      <a:pt x="18" y="49"/>
                      <a:pt x="18" y="49"/>
                      <a:pt x="18" y="49"/>
                    </a:cubicBezTo>
                    <a:cubicBezTo>
                      <a:pt x="19" y="49"/>
                      <a:pt x="19" y="50"/>
                      <a:pt x="19" y="50"/>
                    </a:cubicBezTo>
                    <a:cubicBezTo>
                      <a:pt x="19" y="51"/>
                      <a:pt x="19" y="51"/>
                      <a:pt x="19" y="51"/>
                    </a:cubicBezTo>
                    <a:cubicBezTo>
                      <a:pt x="20" y="55"/>
                      <a:pt x="21" y="59"/>
                      <a:pt x="21" y="65"/>
                    </a:cubicBezTo>
                    <a:cubicBezTo>
                      <a:pt x="20" y="67"/>
                      <a:pt x="20" y="70"/>
                      <a:pt x="18" y="72"/>
                    </a:cubicBezTo>
                    <a:cubicBezTo>
                      <a:pt x="17" y="73"/>
                      <a:pt x="17" y="73"/>
                      <a:pt x="17" y="73"/>
                    </a:cubicBezTo>
                    <a:cubicBezTo>
                      <a:pt x="16" y="74"/>
                      <a:pt x="15" y="74"/>
                      <a:pt x="15" y="74"/>
                    </a:cubicBezTo>
                    <a:cubicBezTo>
                      <a:pt x="15" y="75"/>
                      <a:pt x="15" y="75"/>
                      <a:pt x="15" y="75"/>
                    </a:cubicBezTo>
                    <a:cubicBezTo>
                      <a:pt x="16" y="76"/>
                      <a:pt x="16" y="76"/>
                      <a:pt x="16" y="76"/>
                    </a:cubicBezTo>
                    <a:cubicBezTo>
                      <a:pt x="18" y="78"/>
                      <a:pt x="18" y="78"/>
                      <a:pt x="18" y="78"/>
                    </a:cubicBezTo>
                    <a:cubicBezTo>
                      <a:pt x="20" y="80"/>
                      <a:pt x="21" y="81"/>
                      <a:pt x="23" y="82"/>
                    </a:cubicBezTo>
                    <a:cubicBezTo>
                      <a:pt x="24" y="83"/>
                      <a:pt x="26" y="84"/>
                      <a:pt x="26" y="85"/>
                    </a:cubicBezTo>
                    <a:cubicBezTo>
                      <a:pt x="27" y="85"/>
                      <a:pt x="27" y="85"/>
                      <a:pt x="27" y="85"/>
                    </a:cubicBezTo>
                    <a:cubicBezTo>
                      <a:pt x="28" y="89"/>
                      <a:pt x="27" y="92"/>
                      <a:pt x="26" y="93"/>
                    </a:cubicBezTo>
                    <a:cubicBezTo>
                      <a:pt x="25" y="94"/>
                      <a:pt x="25" y="94"/>
                      <a:pt x="25" y="95"/>
                    </a:cubicBezTo>
                    <a:cubicBezTo>
                      <a:pt x="25" y="95"/>
                      <a:pt x="26" y="96"/>
                      <a:pt x="26" y="96"/>
                    </a:cubicBezTo>
                    <a:cubicBezTo>
                      <a:pt x="27" y="98"/>
                      <a:pt x="27" y="98"/>
                      <a:pt x="27" y="98"/>
                    </a:cubicBezTo>
                    <a:cubicBezTo>
                      <a:pt x="29" y="100"/>
                      <a:pt x="29" y="100"/>
                      <a:pt x="29" y="100"/>
                    </a:cubicBezTo>
                    <a:cubicBezTo>
                      <a:pt x="29" y="101"/>
                      <a:pt x="29" y="102"/>
                      <a:pt x="30" y="103"/>
                    </a:cubicBezTo>
                    <a:cubicBezTo>
                      <a:pt x="30" y="105"/>
                      <a:pt x="30" y="106"/>
                      <a:pt x="30" y="107"/>
                    </a:cubicBezTo>
                    <a:cubicBezTo>
                      <a:pt x="30" y="111"/>
                      <a:pt x="29" y="113"/>
                      <a:pt x="27" y="117"/>
                    </a:cubicBezTo>
                    <a:cubicBezTo>
                      <a:pt x="27" y="117"/>
                      <a:pt x="28" y="118"/>
                      <a:pt x="29" y="120"/>
                    </a:cubicBezTo>
                    <a:cubicBezTo>
                      <a:pt x="29" y="121"/>
                      <a:pt x="29" y="121"/>
                      <a:pt x="29" y="121"/>
                    </a:cubicBezTo>
                    <a:cubicBezTo>
                      <a:pt x="30" y="122"/>
                      <a:pt x="30" y="124"/>
                      <a:pt x="30" y="124"/>
                    </a:cubicBezTo>
                    <a:cubicBezTo>
                      <a:pt x="31" y="125"/>
                      <a:pt x="31" y="125"/>
                      <a:pt x="31" y="126"/>
                    </a:cubicBezTo>
                    <a:cubicBezTo>
                      <a:pt x="31" y="126"/>
                      <a:pt x="31" y="126"/>
                      <a:pt x="31" y="126"/>
                    </a:cubicBezTo>
                    <a:cubicBezTo>
                      <a:pt x="31" y="126"/>
                      <a:pt x="31" y="126"/>
                      <a:pt x="31" y="126"/>
                    </a:cubicBezTo>
                    <a:cubicBezTo>
                      <a:pt x="32" y="127"/>
                      <a:pt x="32" y="127"/>
                      <a:pt x="32" y="127"/>
                    </a:cubicBezTo>
                    <a:cubicBezTo>
                      <a:pt x="34" y="128"/>
                      <a:pt x="36" y="130"/>
                      <a:pt x="38" y="133"/>
                    </a:cubicBezTo>
                    <a:cubicBezTo>
                      <a:pt x="38" y="135"/>
                      <a:pt x="38" y="136"/>
                      <a:pt x="38" y="137"/>
                    </a:cubicBezTo>
                    <a:cubicBezTo>
                      <a:pt x="39" y="138"/>
                      <a:pt x="39" y="138"/>
                      <a:pt x="39" y="138"/>
                    </a:cubicBezTo>
                    <a:cubicBezTo>
                      <a:pt x="39" y="139"/>
                      <a:pt x="38" y="139"/>
                      <a:pt x="38" y="140"/>
                    </a:cubicBezTo>
                    <a:cubicBezTo>
                      <a:pt x="38" y="141"/>
                      <a:pt x="38" y="141"/>
                      <a:pt x="38" y="141"/>
                    </a:cubicBezTo>
                    <a:cubicBezTo>
                      <a:pt x="38" y="142"/>
                      <a:pt x="38" y="143"/>
                      <a:pt x="38" y="143"/>
                    </a:cubicBezTo>
                    <a:cubicBezTo>
                      <a:pt x="39" y="144"/>
                      <a:pt x="39" y="144"/>
                      <a:pt x="39" y="144"/>
                    </a:cubicBezTo>
                    <a:cubicBezTo>
                      <a:pt x="42" y="145"/>
                      <a:pt x="43" y="146"/>
                      <a:pt x="44" y="148"/>
                    </a:cubicBezTo>
                    <a:cubicBezTo>
                      <a:pt x="45" y="149"/>
                      <a:pt x="45" y="149"/>
                      <a:pt x="45" y="149"/>
                    </a:cubicBezTo>
                    <a:cubicBezTo>
                      <a:pt x="46" y="150"/>
                      <a:pt x="47" y="152"/>
                      <a:pt x="47" y="152"/>
                    </a:cubicBezTo>
                    <a:cubicBezTo>
                      <a:pt x="48" y="152"/>
                      <a:pt x="48" y="152"/>
                      <a:pt x="48" y="152"/>
                    </a:cubicBezTo>
                    <a:cubicBezTo>
                      <a:pt x="48" y="153"/>
                      <a:pt x="48" y="153"/>
                      <a:pt x="48" y="153"/>
                    </a:cubicBezTo>
                    <a:cubicBezTo>
                      <a:pt x="49" y="153"/>
                      <a:pt x="49" y="153"/>
                      <a:pt x="49" y="153"/>
                    </a:cubicBezTo>
                    <a:cubicBezTo>
                      <a:pt x="51" y="153"/>
                      <a:pt x="51" y="153"/>
                      <a:pt x="51" y="153"/>
                    </a:cubicBezTo>
                    <a:cubicBezTo>
                      <a:pt x="66" y="157"/>
                      <a:pt x="66" y="157"/>
                      <a:pt x="66" y="157"/>
                    </a:cubicBezTo>
                    <a:cubicBezTo>
                      <a:pt x="66" y="157"/>
                      <a:pt x="66" y="157"/>
                      <a:pt x="66" y="157"/>
                    </a:cubicBezTo>
                    <a:cubicBezTo>
                      <a:pt x="66" y="157"/>
                      <a:pt x="67" y="157"/>
                      <a:pt x="68" y="156"/>
                    </a:cubicBezTo>
                    <a:cubicBezTo>
                      <a:pt x="69" y="156"/>
                      <a:pt x="70" y="156"/>
                      <a:pt x="71" y="156"/>
                    </a:cubicBezTo>
                    <a:cubicBezTo>
                      <a:pt x="72" y="156"/>
                      <a:pt x="73" y="157"/>
                      <a:pt x="74" y="157"/>
                    </a:cubicBezTo>
                    <a:cubicBezTo>
                      <a:pt x="75" y="158"/>
                      <a:pt x="77" y="160"/>
                      <a:pt x="77" y="162"/>
                    </a:cubicBezTo>
                    <a:cubicBezTo>
                      <a:pt x="77" y="163"/>
                      <a:pt x="77" y="163"/>
                      <a:pt x="77" y="163"/>
                    </a:cubicBezTo>
                    <a:cubicBezTo>
                      <a:pt x="77" y="165"/>
                      <a:pt x="77" y="167"/>
                      <a:pt x="76" y="168"/>
                    </a:cubicBezTo>
                    <a:cubicBezTo>
                      <a:pt x="75" y="170"/>
                      <a:pt x="75" y="170"/>
                      <a:pt x="75" y="170"/>
                    </a:cubicBezTo>
                    <a:cubicBezTo>
                      <a:pt x="75" y="170"/>
                      <a:pt x="75" y="170"/>
                      <a:pt x="75" y="170"/>
                    </a:cubicBezTo>
                    <a:cubicBezTo>
                      <a:pt x="76" y="171"/>
                      <a:pt x="76" y="171"/>
                      <a:pt x="76" y="171"/>
                    </a:cubicBezTo>
                    <a:cubicBezTo>
                      <a:pt x="77" y="172"/>
                      <a:pt x="78" y="172"/>
                      <a:pt x="79" y="173"/>
                    </a:cubicBezTo>
                    <a:cubicBezTo>
                      <a:pt x="80" y="174"/>
                      <a:pt x="81" y="176"/>
                      <a:pt x="82" y="176"/>
                    </a:cubicBezTo>
                    <a:cubicBezTo>
                      <a:pt x="82" y="176"/>
                      <a:pt x="82" y="176"/>
                      <a:pt x="82" y="176"/>
                    </a:cubicBezTo>
                    <a:cubicBezTo>
                      <a:pt x="82" y="176"/>
                      <a:pt x="84" y="176"/>
                      <a:pt x="84" y="175"/>
                    </a:cubicBezTo>
                    <a:cubicBezTo>
                      <a:pt x="85" y="175"/>
                      <a:pt x="85" y="175"/>
                      <a:pt x="85" y="175"/>
                    </a:cubicBezTo>
                    <a:cubicBezTo>
                      <a:pt x="86" y="174"/>
                      <a:pt x="87" y="174"/>
                      <a:pt x="87" y="173"/>
                    </a:cubicBezTo>
                    <a:cubicBezTo>
                      <a:pt x="87" y="173"/>
                      <a:pt x="87" y="173"/>
                      <a:pt x="87" y="172"/>
                    </a:cubicBezTo>
                    <a:cubicBezTo>
                      <a:pt x="83" y="163"/>
                      <a:pt x="83" y="163"/>
                      <a:pt x="83" y="163"/>
                    </a:cubicBezTo>
                    <a:cubicBezTo>
                      <a:pt x="93" y="166"/>
                      <a:pt x="93" y="166"/>
                      <a:pt x="93" y="166"/>
                    </a:cubicBezTo>
                    <a:cubicBezTo>
                      <a:pt x="94" y="166"/>
                      <a:pt x="95" y="167"/>
                      <a:pt x="96" y="167"/>
                    </a:cubicBezTo>
                    <a:cubicBezTo>
                      <a:pt x="96" y="167"/>
                      <a:pt x="96" y="167"/>
                      <a:pt x="96" y="167"/>
                    </a:cubicBezTo>
                    <a:cubicBezTo>
                      <a:pt x="97" y="167"/>
                      <a:pt x="97" y="167"/>
                      <a:pt x="98" y="168"/>
                    </a:cubicBezTo>
                    <a:cubicBezTo>
                      <a:pt x="99" y="168"/>
                      <a:pt x="99" y="168"/>
                      <a:pt x="99" y="168"/>
                    </a:cubicBezTo>
                    <a:cubicBezTo>
                      <a:pt x="99" y="168"/>
                      <a:pt x="100" y="168"/>
                      <a:pt x="101" y="168"/>
                    </a:cubicBezTo>
                    <a:cubicBezTo>
                      <a:pt x="102" y="169"/>
                      <a:pt x="102" y="169"/>
                      <a:pt x="102" y="169"/>
                    </a:cubicBezTo>
                    <a:cubicBezTo>
                      <a:pt x="104" y="169"/>
                      <a:pt x="107" y="170"/>
                      <a:pt x="109" y="170"/>
                    </a:cubicBezTo>
                    <a:cubicBezTo>
                      <a:pt x="109" y="170"/>
                      <a:pt x="109" y="170"/>
                      <a:pt x="109" y="170"/>
                    </a:cubicBezTo>
                    <a:cubicBezTo>
                      <a:pt x="114" y="161"/>
                      <a:pt x="114" y="161"/>
                      <a:pt x="114" y="161"/>
                    </a:cubicBezTo>
                    <a:cubicBezTo>
                      <a:pt x="115" y="172"/>
                      <a:pt x="115" y="172"/>
                      <a:pt x="115" y="172"/>
                    </a:cubicBezTo>
                    <a:cubicBezTo>
                      <a:pt x="116" y="175"/>
                      <a:pt x="115" y="178"/>
                      <a:pt x="114" y="180"/>
                    </a:cubicBezTo>
                    <a:cubicBezTo>
                      <a:pt x="114" y="180"/>
                      <a:pt x="114" y="180"/>
                      <a:pt x="114" y="180"/>
                    </a:cubicBezTo>
                    <a:cubicBezTo>
                      <a:pt x="115" y="181"/>
                      <a:pt x="116" y="182"/>
                      <a:pt x="116" y="182"/>
                    </a:cubicBezTo>
                    <a:cubicBezTo>
                      <a:pt x="117" y="182"/>
                      <a:pt x="117" y="182"/>
                      <a:pt x="117" y="182"/>
                    </a:cubicBezTo>
                    <a:cubicBezTo>
                      <a:pt x="117" y="182"/>
                      <a:pt x="117" y="182"/>
                      <a:pt x="117" y="182"/>
                    </a:cubicBezTo>
                    <a:cubicBezTo>
                      <a:pt x="119" y="181"/>
                      <a:pt x="120" y="180"/>
                      <a:pt x="122" y="180"/>
                    </a:cubicBezTo>
                    <a:cubicBezTo>
                      <a:pt x="123" y="180"/>
                      <a:pt x="124" y="180"/>
                      <a:pt x="126" y="181"/>
                    </a:cubicBezTo>
                    <a:cubicBezTo>
                      <a:pt x="128" y="178"/>
                      <a:pt x="128" y="178"/>
                      <a:pt x="128" y="178"/>
                    </a:cubicBezTo>
                    <a:cubicBezTo>
                      <a:pt x="127" y="182"/>
                      <a:pt x="127" y="182"/>
                      <a:pt x="127" y="182"/>
                    </a:cubicBezTo>
                    <a:cubicBezTo>
                      <a:pt x="128" y="183"/>
                      <a:pt x="129" y="183"/>
                      <a:pt x="130" y="184"/>
                    </a:cubicBezTo>
                    <a:cubicBezTo>
                      <a:pt x="134" y="186"/>
                      <a:pt x="138" y="188"/>
                      <a:pt x="141" y="192"/>
                    </a:cubicBezTo>
                    <a:cubicBezTo>
                      <a:pt x="142" y="194"/>
                      <a:pt x="143" y="195"/>
                      <a:pt x="144" y="197"/>
                    </a:cubicBezTo>
                    <a:cubicBezTo>
                      <a:pt x="145" y="198"/>
                      <a:pt x="145" y="198"/>
                      <a:pt x="145" y="198"/>
                    </a:cubicBezTo>
                    <a:cubicBezTo>
                      <a:pt x="145" y="198"/>
                      <a:pt x="146" y="199"/>
                      <a:pt x="146" y="200"/>
                    </a:cubicBezTo>
                    <a:cubicBezTo>
                      <a:pt x="152" y="202"/>
                      <a:pt x="152" y="202"/>
                      <a:pt x="152" y="202"/>
                    </a:cubicBezTo>
                    <a:cubicBezTo>
                      <a:pt x="151" y="203"/>
                      <a:pt x="151" y="203"/>
                      <a:pt x="151" y="203"/>
                    </a:cubicBezTo>
                    <a:cubicBezTo>
                      <a:pt x="152" y="203"/>
                      <a:pt x="152" y="203"/>
                      <a:pt x="152" y="203"/>
                    </a:cubicBezTo>
                    <a:cubicBezTo>
                      <a:pt x="152" y="203"/>
                      <a:pt x="152" y="203"/>
                      <a:pt x="152" y="203"/>
                    </a:cubicBezTo>
                    <a:cubicBezTo>
                      <a:pt x="152" y="203"/>
                      <a:pt x="152" y="203"/>
                      <a:pt x="152" y="203"/>
                    </a:cubicBezTo>
                    <a:cubicBezTo>
                      <a:pt x="154" y="202"/>
                      <a:pt x="156" y="201"/>
                      <a:pt x="158" y="200"/>
                    </a:cubicBezTo>
                    <a:cubicBezTo>
                      <a:pt x="159" y="199"/>
                      <a:pt x="159" y="199"/>
                      <a:pt x="159" y="199"/>
                    </a:cubicBezTo>
                    <a:cubicBezTo>
                      <a:pt x="160" y="199"/>
                      <a:pt x="161" y="198"/>
                      <a:pt x="161" y="198"/>
                    </a:cubicBezTo>
                    <a:cubicBezTo>
                      <a:pt x="165" y="196"/>
                      <a:pt x="165" y="196"/>
                      <a:pt x="165" y="196"/>
                    </a:cubicBezTo>
                    <a:cubicBezTo>
                      <a:pt x="166" y="199"/>
                      <a:pt x="166" y="199"/>
                      <a:pt x="166" y="199"/>
                    </a:cubicBezTo>
                    <a:cubicBezTo>
                      <a:pt x="167" y="201"/>
                      <a:pt x="168" y="202"/>
                      <a:pt x="169" y="203"/>
                    </a:cubicBezTo>
                    <a:cubicBezTo>
                      <a:pt x="169" y="203"/>
                      <a:pt x="169" y="203"/>
                      <a:pt x="169" y="203"/>
                    </a:cubicBezTo>
                    <a:cubicBezTo>
                      <a:pt x="170" y="203"/>
                      <a:pt x="170" y="203"/>
                      <a:pt x="170" y="203"/>
                    </a:cubicBezTo>
                    <a:cubicBezTo>
                      <a:pt x="174" y="203"/>
                      <a:pt x="174" y="203"/>
                      <a:pt x="174" y="203"/>
                    </a:cubicBezTo>
                    <a:cubicBezTo>
                      <a:pt x="174" y="206"/>
                      <a:pt x="174" y="206"/>
                      <a:pt x="174" y="206"/>
                    </a:cubicBezTo>
                    <a:cubicBezTo>
                      <a:pt x="174" y="207"/>
                      <a:pt x="174" y="208"/>
                      <a:pt x="174" y="209"/>
                    </a:cubicBezTo>
                    <a:cubicBezTo>
                      <a:pt x="174" y="210"/>
                      <a:pt x="174" y="210"/>
                      <a:pt x="174" y="210"/>
                    </a:cubicBezTo>
                    <a:cubicBezTo>
                      <a:pt x="174" y="210"/>
                      <a:pt x="174" y="210"/>
                      <a:pt x="174" y="210"/>
                    </a:cubicBezTo>
                    <a:cubicBezTo>
                      <a:pt x="175" y="210"/>
                      <a:pt x="176" y="209"/>
                      <a:pt x="177" y="209"/>
                    </a:cubicBezTo>
                    <a:cubicBezTo>
                      <a:pt x="178" y="208"/>
                      <a:pt x="178" y="208"/>
                      <a:pt x="178" y="208"/>
                    </a:cubicBezTo>
                    <a:cubicBezTo>
                      <a:pt x="181" y="207"/>
                      <a:pt x="182" y="206"/>
                      <a:pt x="184" y="205"/>
                    </a:cubicBezTo>
                    <a:cubicBezTo>
                      <a:pt x="185" y="205"/>
                      <a:pt x="187" y="205"/>
                      <a:pt x="188" y="204"/>
                    </a:cubicBezTo>
                    <a:cubicBezTo>
                      <a:pt x="189" y="204"/>
                      <a:pt x="189" y="204"/>
                      <a:pt x="189" y="204"/>
                    </a:cubicBezTo>
                    <a:cubicBezTo>
                      <a:pt x="189" y="204"/>
                      <a:pt x="190" y="204"/>
                      <a:pt x="190" y="204"/>
                    </a:cubicBezTo>
                    <a:cubicBezTo>
                      <a:pt x="191" y="204"/>
                      <a:pt x="192" y="204"/>
                      <a:pt x="193" y="205"/>
                    </a:cubicBezTo>
                    <a:cubicBezTo>
                      <a:pt x="194" y="205"/>
                      <a:pt x="195" y="205"/>
                      <a:pt x="196" y="205"/>
                    </a:cubicBezTo>
                    <a:cubicBezTo>
                      <a:pt x="200" y="206"/>
                      <a:pt x="202" y="207"/>
                      <a:pt x="203" y="207"/>
                    </a:cubicBezTo>
                    <a:cubicBezTo>
                      <a:pt x="204" y="207"/>
                      <a:pt x="204" y="207"/>
                      <a:pt x="204" y="207"/>
                    </a:cubicBezTo>
                    <a:cubicBezTo>
                      <a:pt x="209" y="205"/>
                      <a:pt x="209" y="205"/>
                      <a:pt x="209" y="205"/>
                    </a:cubicBezTo>
                    <a:cubicBezTo>
                      <a:pt x="212" y="204"/>
                      <a:pt x="214" y="203"/>
                      <a:pt x="217" y="203"/>
                    </a:cubicBezTo>
                    <a:cubicBezTo>
                      <a:pt x="217" y="203"/>
                      <a:pt x="217" y="203"/>
                      <a:pt x="217" y="203"/>
                    </a:cubicBezTo>
                    <a:cubicBezTo>
                      <a:pt x="225" y="203"/>
                      <a:pt x="231" y="207"/>
                      <a:pt x="238" y="211"/>
                    </a:cubicBezTo>
                    <a:cubicBezTo>
                      <a:pt x="239" y="212"/>
                      <a:pt x="241" y="213"/>
                      <a:pt x="243" y="214"/>
                    </a:cubicBezTo>
                    <a:cubicBezTo>
                      <a:pt x="244" y="214"/>
                      <a:pt x="245" y="214"/>
                      <a:pt x="246" y="214"/>
                    </a:cubicBezTo>
                    <a:cubicBezTo>
                      <a:pt x="247" y="215"/>
                      <a:pt x="248" y="215"/>
                      <a:pt x="249" y="215"/>
                    </a:cubicBezTo>
                    <a:cubicBezTo>
                      <a:pt x="250" y="215"/>
                      <a:pt x="250" y="215"/>
                      <a:pt x="250" y="215"/>
                    </a:cubicBezTo>
                    <a:cubicBezTo>
                      <a:pt x="250" y="214"/>
                      <a:pt x="250" y="214"/>
                      <a:pt x="250" y="213"/>
                    </a:cubicBezTo>
                    <a:cubicBezTo>
                      <a:pt x="250" y="212"/>
                      <a:pt x="250" y="211"/>
                      <a:pt x="250" y="211"/>
                    </a:cubicBezTo>
                    <a:cubicBezTo>
                      <a:pt x="250" y="210"/>
                      <a:pt x="250" y="210"/>
                      <a:pt x="250" y="210"/>
                    </a:cubicBezTo>
                    <a:cubicBezTo>
                      <a:pt x="249" y="204"/>
                      <a:pt x="249" y="200"/>
                      <a:pt x="251" y="197"/>
                    </a:cubicBezTo>
                    <a:cubicBezTo>
                      <a:pt x="266" y="182"/>
                      <a:pt x="266" y="182"/>
                      <a:pt x="266" y="182"/>
                    </a:cubicBezTo>
                    <a:cubicBezTo>
                      <a:pt x="267" y="182"/>
                      <a:pt x="267" y="181"/>
                      <a:pt x="268" y="180"/>
                    </a:cubicBezTo>
                    <a:cubicBezTo>
                      <a:pt x="271" y="177"/>
                      <a:pt x="273" y="174"/>
                      <a:pt x="276" y="172"/>
                    </a:cubicBezTo>
                    <a:cubicBezTo>
                      <a:pt x="277" y="172"/>
                      <a:pt x="278" y="172"/>
                      <a:pt x="279" y="171"/>
                    </a:cubicBezTo>
                    <a:cubicBezTo>
                      <a:pt x="280" y="171"/>
                      <a:pt x="280" y="171"/>
                      <a:pt x="280" y="171"/>
                    </a:cubicBezTo>
                    <a:cubicBezTo>
                      <a:pt x="283" y="170"/>
                      <a:pt x="287" y="168"/>
                      <a:pt x="288" y="167"/>
                    </a:cubicBezTo>
                    <a:cubicBezTo>
                      <a:pt x="288" y="166"/>
                      <a:pt x="289" y="163"/>
                      <a:pt x="290" y="162"/>
                    </a:cubicBezTo>
                    <a:cubicBezTo>
                      <a:pt x="289" y="161"/>
                      <a:pt x="289" y="161"/>
                      <a:pt x="289" y="161"/>
                    </a:cubicBezTo>
                    <a:cubicBezTo>
                      <a:pt x="288" y="160"/>
                      <a:pt x="287" y="159"/>
                      <a:pt x="287" y="158"/>
                    </a:cubicBezTo>
                    <a:cubicBezTo>
                      <a:pt x="286" y="156"/>
                      <a:pt x="286" y="154"/>
                      <a:pt x="287" y="152"/>
                    </a:cubicBezTo>
                    <a:cubicBezTo>
                      <a:pt x="287" y="151"/>
                      <a:pt x="287" y="151"/>
                      <a:pt x="287" y="151"/>
                    </a:cubicBezTo>
                    <a:cubicBezTo>
                      <a:pt x="287" y="151"/>
                      <a:pt x="287" y="151"/>
                      <a:pt x="287" y="151"/>
                    </a:cubicBezTo>
                    <a:cubicBezTo>
                      <a:pt x="287" y="151"/>
                      <a:pt x="287" y="151"/>
                      <a:pt x="287" y="151"/>
                    </a:cubicBezTo>
                    <a:cubicBezTo>
                      <a:pt x="283" y="146"/>
                      <a:pt x="281" y="141"/>
                      <a:pt x="279" y="137"/>
                    </a:cubicBezTo>
                    <a:cubicBezTo>
                      <a:pt x="279" y="135"/>
                      <a:pt x="278" y="133"/>
                      <a:pt x="277" y="132"/>
                    </a:cubicBezTo>
                    <a:cubicBezTo>
                      <a:pt x="277" y="131"/>
                      <a:pt x="276" y="130"/>
                      <a:pt x="276" y="130"/>
                    </a:cubicBezTo>
                    <a:cubicBezTo>
                      <a:pt x="276" y="128"/>
                      <a:pt x="276" y="128"/>
                      <a:pt x="276" y="128"/>
                    </a:cubicBezTo>
                    <a:cubicBezTo>
                      <a:pt x="275" y="128"/>
                      <a:pt x="275" y="128"/>
                      <a:pt x="275" y="128"/>
                    </a:cubicBezTo>
                    <a:cubicBezTo>
                      <a:pt x="269" y="130"/>
                      <a:pt x="269" y="130"/>
                      <a:pt x="269" y="130"/>
                    </a:cubicBezTo>
                    <a:cubicBezTo>
                      <a:pt x="274" y="126"/>
                      <a:pt x="274" y="126"/>
                      <a:pt x="274" y="126"/>
                    </a:cubicBezTo>
                    <a:cubicBezTo>
                      <a:pt x="273" y="126"/>
                      <a:pt x="273" y="126"/>
                      <a:pt x="273" y="126"/>
                    </a:cubicBezTo>
                    <a:cubicBezTo>
                      <a:pt x="275" y="125"/>
                      <a:pt x="275" y="125"/>
                      <a:pt x="275" y="125"/>
                    </a:cubicBezTo>
                    <a:cubicBezTo>
                      <a:pt x="274" y="124"/>
                      <a:pt x="274" y="124"/>
                      <a:pt x="274" y="123"/>
                    </a:cubicBezTo>
                    <a:cubicBezTo>
                      <a:pt x="274" y="122"/>
                      <a:pt x="274" y="122"/>
                      <a:pt x="274" y="122"/>
                    </a:cubicBezTo>
                    <a:cubicBezTo>
                      <a:pt x="274" y="121"/>
                      <a:pt x="274" y="120"/>
                      <a:pt x="274" y="118"/>
                    </a:cubicBezTo>
                    <a:cubicBezTo>
                      <a:pt x="274" y="118"/>
                      <a:pt x="275" y="117"/>
                      <a:pt x="275" y="116"/>
                    </a:cubicBezTo>
                    <a:cubicBezTo>
                      <a:pt x="275" y="115"/>
                      <a:pt x="275" y="115"/>
                      <a:pt x="275" y="115"/>
                    </a:cubicBezTo>
                    <a:cubicBezTo>
                      <a:pt x="276" y="111"/>
                      <a:pt x="277" y="109"/>
                      <a:pt x="276" y="108"/>
                    </a:cubicBezTo>
                    <a:cubicBezTo>
                      <a:pt x="276" y="108"/>
                      <a:pt x="274" y="107"/>
                      <a:pt x="274" y="106"/>
                    </a:cubicBezTo>
                    <a:cubicBezTo>
                      <a:pt x="273" y="106"/>
                      <a:pt x="273" y="106"/>
                      <a:pt x="273" y="106"/>
                    </a:cubicBezTo>
                    <a:cubicBezTo>
                      <a:pt x="272" y="105"/>
                      <a:pt x="271" y="105"/>
                      <a:pt x="270" y="104"/>
                    </a:cubicBezTo>
                    <a:cubicBezTo>
                      <a:pt x="269" y="104"/>
                      <a:pt x="269" y="104"/>
                      <a:pt x="269" y="104"/>
                    </a:cubicBezTo>
                    <a:cubicBezTo>
                      <a:pt x="268" y="103"/>
                      <a:pt x="266" y="103"/>
                      <a:pt x="265" y="102"/>
                    </a:cubicBezTo>
                    <a:cubicBezTo>
                      <a:pt x="261" y="99"/>
                      <a:pt x="261" y="99"/>
                      <a:pt x="261" y="99"/>
                    </a:cubicBezTo>
                    <a:cubicBezTo>
                      <a:pt x="281" y="82"/>
                      <a:pt x="281" y="82"/>
                      <a:pt x="281" y="82"/>
                    </a:cubicBezTo>
                    <a:cubicBezTo>
                      <a:pt x="281" y="82"/>
                      <a:pt x="282" y="81"/>
                      <a:pt x="282" y="81"/>
                    </a:cubicBezTo>
                    <a:cubicBezTo>
                      <a:pt x="283" y="80"/>
                      <a:pt x="284" y="79"/>
                      <a:pt x="285" y="79"/>
                    </a:cubicBezTo>
                    <a:cubicBezTo>
                      <a:pt x="285" y="78"/>
                      <a:pt x="285" y="78"/>
                      <a:pt x="285" y="78"/>
                    </a:cubicBezTo>
                    <a:cubicBezTo>
                      <a:pt x="285" y="78"/>
                      <a:pt x="285" y="78"/>
                      <a:pt x="285" y="78"/>
                    </a:cubicBezTo>
                    <a:cubicBezTo>
                      <a:pt x="286" y="75"/>
                      <a:pt x="285" y="69"/>
                      <a:pt x="284" y="66"/>
                    </a:cubicBezTo>
                    <a:cubicBezTo>
                      <a:pt x="283" y="62"/>
                      <a:pt x="281" y="59"/>
                      <a:pt x="280" y="55"/>
                    </a:cubicBezTo>
                    <a:cubicBezTo>
                      <a:pt x="279" y="54"/>
                      <a:pt x="279" y="54"/>
                      <a:pt x="279" y="54"/>
                    </a:cubicBezTo>
                    <a:cubicBezTo>
                      <a:pt x="276" y="48"/>
                      <a:pt x="275" y="42"/>
                      <a:pt x="273" y="37"/>
                    </a:cubicBezTo>
                    <a:cubicBezTo>
                      <a:pt x="273" y="34"/>
                      <a:pt x="273" y="34"/>
                      <a:pt x="273" y="34"/>
                    </a:cubicBezTo>
                    <a:cubicBezTo>
                      <a:pt x="272" y="34"/>
                      <a:pt x="272" y="34"/>
                      <a:pt x="272" y="34"/>
                    </a:cubicBezTo>
                    <a:cubicBezTo>
                      <a:pt x="272" y="32"/>
                      <a:pt x="271" y="31"/>
                      <a:pt x="270" y="29"/>
                    </a:cubicBezTo>
                    <a:cubicBezTo>
                      <a:pt x="270" y="29"/>
                      <a:pt x="270" y="29"/>
                      <a:pt x="270" y="29"/>
                    </a:cubicBezTo>
                    <a:cubicBezTo>
                      <a:pt x="269" y="27"/>
                      <a:pt x="267" y="26"/>
                      <a:pt x="266" y="25"/>
                    </a:cubicBezTo>
                    <a:cubicBezTo>
                      <a:pt x="265" y="24"/>
                      <a:pt x="264" y="24"/>
                      <a:pt x="262" y="23"/>
                    </a:cubicBezTo>
                    <a:cubicBezTo>
                      <a:pt x="262" y="23"/>
                      <a:pt x="262" y="23"/>
                      <a:pt x="262" y="23"/>
                    </a:cubicBezTo>
                    <a:cubicBezTo>
                      <a:pt x="261" y="22"/>
                      <a:pt x="259" y="22"/>
                      <a:pt x="257" y="22"/>
                    </a:cubicBezTo>
                    <a:cubicBezTo>
                      <a:pt x="257" y="22"/>
                      <a:pt x="257" y="22"/>
                      <a:pt x="257" y="22"/>
                    </a:cubicBezTo>
                    <a:cubicBezTo>
                      <a:pt x="256" y="22"/>
                      <a:pt x="256" y="22"/>
                      <a:pt x="256" y="22"/>
                    </a:cubicBezTo>
                    <a:cubicBezTo>
                      <a:pt x="255" y="22"/>
                      <a:pt x="254" y="22"/>
                      <a:pt x="253" y="22"/>
                    </a:cubicBezTo>
                    <a:cubicBezTo>
                      <a:pt x="245" y="23"/>
                      <a:pt x="237" y="23"/>
                      <a:pt x="228" y="23"/>
                    </a:cubicBezTo>
                    <a:cubicBezTo>
                      <a:pt x="210" y="23"/>
                      <a:pt x="190" y="22"/>
                      <a:pt x="170" y="19"/>
                    </a:cubicBezTo>
                    <a:cubicBezTo>
                      <a:pt x="169" y="19"/>
                      <a:pt x="169" y="19"/>
                      <a:pt x="169" y="19"/>
                    </a:cubicBezTo>
                    <a:cubicBezTo>
                      <a:pt x="169" y="18"/>
                      <a:pt x="169" y="18"/>
                      <a:pt x="169" y="18"/>
                    </a:cubicBezTo>
                    <a:cubicBezTo>
                      <a:pt x="167" y="17"/>
                      <a:pt x="167" y="17"/>
                      <a:pt x="167" y="17"/>
                    </a:cubicBezTo>
                    <a:cubicBezTo>
                      <a:pt x="165" y="19"/>
                      <a:pt x="162" y="20"/>
                      <a:pt x="160" y="21"/>
                    </a:cubicBezTo>
                    <a:cubicBezTo>
                      <a:pt x="159" y="22"/>
                      <a:pt x="160" y="23"/>
                      <a:pt x="158" y="23"/>
                    </a:cubicBezTo>
                    <a:cubicBezTo>
                      <a:pt x="158" y="23"/>
                      <a:pt x="158" y="23"/>
                      <a:pt x="158" y="23"/>
                    </a:cubicBezTo>
                    <a:cubicBezTo>
                      <a:pt x="156" y="23"/>
                      <a:pt x="155" y="21"/>
                      <a:pt x="155" y="20"/>
                    </a:cubicBezTo>
                    <a:cubicBezTo>
                      <a:pt x="159" y="18"/>
                      <a:pt x="163" y="16"/>
                      <a:pt x="167" y="15"/>
                    </a:cubicBezTo>
                    <a:cubicBezTo>
                      <a:pt x="166" y="15"/>
                      <a:pt x="165" y="15"/>
                      <a:pt x="164" y="15"/>
                    </a:cubicBezTo>
                    <a:cubicBezTo>
                      <a:pt x="159" y="15"/>
                      <a:pt x="152" y="18"/>
                      <a:pt x="147" y="19"/>
                    </a:cubicBezTo>
                    <a:cubicBezTo>
                      <a:pt x="147" y="19"/>
                      <a:pt x="147" y="19"/>
                      <a:pt x="146" y="19"/>
                    </a:cubicBezTo>
                    <a:cubicBezTo>
                      <a:pt x="144" y="19"/>
                      <a:pt x="137" y="17"/>
                      <a:pt x="136" y="15"/>
                    </a:cubicBezTo>
                    <a:cubicBezTo>
                      <a:pt x="135" y="14"/>
                      <a:pt x="134" y="9"/>
                      <a:pt x="133" y="7"/>
                    </a:cubicBezTo>
                    <a:cubicBezTo>
                      <a:pt x="132" y="6"/>
                      <a:pt x="131" y="4"/>
                      <a:pt x="132" y="3"/>
                    </a:cubicBezTo>
                    <a:cubicBezTo>
                      <a:pt x="132" y="2"/>
                      <a:pt x="132" y="2"/>
                      <a:pt x="133" y="2"/>
                    </a:cubicBezTo>
                    <a:cubicBezTo>
                      <a:pt x="135" y="2"/>
                      <a:pt x="142" y="7"/>
                      <a:pt x="143" y="8"/>
                    </a:cubicBezTo>
                    <a:cubicBezTo>
                      <a:pt x="138" y="2"/>
                      <a:pt x="131" y="0"/>
                      <a:pt x="1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80" name="Freeform 308">
                <a:extLst>
                  <a:ext uri="{FF2B5EF4-FFF2-40B4-BE49-F238E27FC236}">
                    <a16:creationId xmlns:a16="http://schemas.microsoft.com/office/drawing/2014/main" id="{09A97119-F1CC-4A0B-BAB8-1BDBFEA3800E}"/>
                  </a:ext>
                </a:extLst>
              </p:cNvPr>
              <p:cNvSpPr>
                <a:spLocks/>
              </p:cNvSpPr>
              <p:nvPr/>
            </p:nvSpPr>
            <p:spPr bwMode="auto">
              <a:xfrm>
                <a:off x="5693504" y="381041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81" name="Freeform 309">
                <a:extLst>
                  <a:ext uri="{FF2B5EF4-FFF2-40B4-BE49-F238E27FC236}">
                    <a16:creationId xmlns:a16="http://schemas.microsoft.com/office/drawing/2014/main" id="{3B4E4997-FF04-44FE-8F48-7D1F8B9C2AFA}"/>
                  </a:ext>
                </a:extLst>
              </p:cNvPr>
              <p:cNvSpPr>
                <a:spLocks/>
              </p:cNvSpPr>
              <p:nvPr/>
            </p:nvSpPr>
            <p:spPr bwMode="auto">
              <a:xfrm>
                <a:off x="5693504" y="3810410"/>
                <a:ext cx="0" cy="0"/>
              </a:xfrm>
              <a:custGeom>
                <a:avLst/>
                <a:gdLst/>
                <a:ahLst/>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82" name="Rectangle 310">
                <a:extLst>
                  <a:ext uri="{FF2B5EF4-FFF2-40B4-BE49-F238E27FC236}">
                    <a16:creationId xmlns:a16="http://schemas.microsoft.com/office/drawing/2014/main" id="{1B6C1092-A993-4E1B-938E-EB1422A56326}"/>
                  </a:ext>
                </a:extLst>
              </p:cNvPr>
              <p:cNvSpPr>
                <a:spLocks noChangeArrowheads="1"/>
              </p:cNvSpPr>
              <p:nvPr/>
            </p:nvSpPr>
            <p:spPr bwMode="auto">
              <a:xfrm>
                <a:off x="6194680" y="4060998"/>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83" name="Freeform 311">
                <a:extLst>
                  <a:ext uri="{FF2B5EF4-FFF2-40B4-BE49-F238E27FC236}">
                    <a16:creationId xmlns:a16="http://schemas.microsoft.com/office/drawing/2014/main" id="{8393C694-22AB-4E02-B4F8-34538B3036F5}"/>
                  </a:ext>
                </a:extLst>
              </p:cNvPr>
              <p:cNvSpPr>
                <a:spLocks/>
              </p:cNvSpPr>
              <p:nvPr/>
            </p:nvSpPr>
            <p:spPr bwMode="auto">
              <a:xfrm>
                <a:off x="6194680" y="4060998"/>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84" name="Freeform 312">
                <a:extLst>
                  <a:ext uri="{FF2B5EF4-FFF2-40B4-BE49-F238E27FC236}">
                    <a16:creationId xmlns:a16="http://schemas.microsoft.com/office/drawing/2014/main" id="{DE71EFDF-540B-4399-B272-70B0F66927D9}"/>
                  </a:ext>
                </a:extLst>
              </p:cNvPr>
              <p:cNvSpPr>
                <a:spLocks/>
              </p:cNvSpPr>
              <p:nvPr/>
            </p:nvSpPr>
            <p:spPr bwMode="auto">
              <a:xfrm>
                <a:off x="6994350" y="440371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85" name="Freeform 313">
                <a:extLst>
                  <a:ext uri="{FF2B5EF4-FFF2-40B4-BE49-F238E27FC236}">
                    <a16:creationId xmlns:a16="http://schemas.microsoft.com/office/drawing/2014/main" id="{6A559905-681F-41B4-80D9-E4AADFC455BD}"/>
                  </a:ext>
                </a:extLst>
              </p:cNvPr>
              <p:cNvSpPr>
                <a:spLocks/>
              </p:cNvSpPr>
              <p:nvPr/>
            </p:nvSpPr>
            <p:spPr bwMode="auto">
              <a:xfrm>
                <a:off x="6994350" y="4403714"/>
                <a:ext cx="0" cy="0"/>
              </a:xfrm>
              <a:custGeom>
                <a:avLst/>
                <a:gdLst/>
                <a:ahLst/>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86" name="Freeform 314">
                <a:extLst>
                  <a:ext uri="{FF2B5EF4-FFF2-40B4-BE49-F238E27FC236}">
                    <a16:creationId xmlns:a16="http://schemas.microsoft.com/office/drawing/2014/main" id="{29D5D52B-CBEA-4F06-88C6-1505CBF547F2}"/>
                  </a:ext>
                </a:extLst>
              </p:cNvPr>
              <p:cNvSpPr>
                <a:spLocks/>
              </p:cNvSpPr>
              <p:nvPr/>
            </p:nvSpPr>
            <p:spPr bwMode="auto">
              <a:xfrm>
                <a:off x="6784298" y="4182607"/>
                <a:ext cx="261643" cy="320605"/>
              </a:xfrm>
              <a:custGeom>
                <a:avLst/>
                <a:gdLst>
                  <a:gd name="T0" fmla="*/ 7 w 83"/>
                  <a:gd name="T1" fmla="*/ 3 h 100"/>
                  <a:gd name="T2" fmla="*/ 5 w 83"/>
                  <a:gd name="T3" fmla="*/ 3 h 100"/>
                  <a:gd name="T4" fmla="*/ 0 w 83"/>
                  <a:gd name="T5" fmla="*/ 3 h 100"/>
                  <a:gd name="T6" fmla="*/ 1 w 83"/>
                  <a:gd name="T7" fmla="*/ 3 h 100"/>
                  <a:gd name="T8" fmla="*/ 7 w 83"/>
                  <a:gd name="T9" fmla="*/ 7 h 100"/>
                  <a:gd name="T10" fmla="*/ 11 w 83"/>
                  <a:gd name="T11" fmla="*/ 14 h 100"/>
                  <a:gd name="T12" fmla="*/ 13 w 83"/>
                  <a:gd name="T13" fmla="*/ 19 h 100"/>
                  <a:gd name="T14" fmla="*/ 26 w 83"/>
                  <a:gd name="T15" fmla="*/ 38 h 100"/>
                  <a:gd name="T16" fmla="*/ 35 w 83"/>
                  <a:gd name="T17" fmla="*/ 46 h 100"/>
                  <a:gd name="T18" fmla="*/ 38 w 83"/>
                  <a:gd name="T19" fmla="*/ 55 h 100"/>
                  <a:gd name="T20" fmla="*/ 41 w 83"/>
                  <a:gd name="T21" fmla="*/ 73 h 100"/>
                  <a:gd name="T22" fmla="*/ 37 w 83"/>
                  <a:gd name="T23" fmla="*/ 91 h 100"/>
                  <a:gd name="T24" fmla="*/ 36 w 83"/>
                  <a:gd name="T25" fmla="*/ 97 h 100"/>
                  <a:gd name="T26" fmla="*/ 37 w 83"/>
                  <a:gd name="T27" fmla="*/ 100 h 100"/>
                  <a:gd name="T28" fmla="*/ 40 w 83"/>
                  <a:gd name="T29" fmla="*/ 98 h 100"/>
                  <a:gd name="T30" fmla="*/ 43 w 83"/>
                  <a:gd name="T31" fmla="*/ 94 h 100"/>
                  <a:gd name="T32" fmla="*/ 47 w 83"/>
                  <a:gd name="T33" fmla="*/ 90 h 100"/>
                  <a:gd name="T34" fmla="*/ 49 w 83"/>
                  <a:gd name="T35" fmla="*/ 88 h 100"/>
                  <a:gd name="T36" fmla="*/ 50 w 83"/>
                  <a:gd name="T37" fmla="*/ 85 h 100"/>
                  <a:gd name="T38" fmla="*/ 54 w 83"/>
                  <a:gd name="T39" fmla="*/ 82 h 100"/>
                  <a:gd name="T40" fmla="*/ 54 w 83"/>
                  <a:gd name="T41" fmla="*/ 81 h 100"/>
                  <a:gd name="T42" fmla="*/ 56 w 83"/>
                  <a:gd name="T43" fmla="*/ 78 h 100"/>
                  <a:gd name="T44" fmla="*/ 55 w 83"/>
                  <a:gd name="T45" fmla="*/ 76 h 100"/>
                  <a:gd name="T46" fmla="*/ 56 w 83"/>
                  <a:gd name="T47" fmla="*/ 71 h 100"/>
                  <a:gd name="T48" fmla="*/ 61 w 83"/>
                  <a:gd name="T49" fmla="*/ 64 h 100"/>
                  <a:gd name="T50" fmla="*/ 65 w 83"/>
                  <a:gd name="T51" fmla="*/ 66 h 100"/>
                  <a:gd name="T52" fmla="*/ 66 w 83"/>
                  <a:gd name="T53" fmla="*/ 67 h 100"/>
                  <a:gd name="T54" fmla="*/ 69 w 83"/>
                  <a:gd name="T55" fmla="*/ 66 h 100"/>
                  <a:gd name="T56" fmla="*/ 73 w 83"/>
                  <a:gd name="T57" fmla="*/ 65 h 100"/>
                  <a:gd name="T58" fmla="*/ 75 w 83"/>
                  <a:gd name="T59" fmla="*/ 65 h 100"/>
                  <a:gd name="T60" fmla="*/ 77 w 83"/>
                  <a:gd name="T61" fmla="*/ 67 h 100"/>
                  <a:gd name="T62" fmla="*/ 79 w 83"/>
                  <a:gd name="T63" fmla="*/ 68 h 100"/>
                  <a:gd name="T64" fmla="*/ 80 w 83"/>
                  <a:gd name="T65" fmla="*/ 68 h 100"/>
                  <a:gd name="T66" fmla="*/ 83 w 83"/>
                  <a:gd name="T67" fmla="*/ 68 h 100"/>
                  <a:gd name="T68" fmla="*/ 83 w 83"/>
                  <a:gd name="T69" fmla="*/ 61 h 100"/>
                  <a:gd name="T70" fmla="*/ 83 w 83"/>
                  <a:gd name="T71" fmla="*/ 57 h 100"/>
                  <a:gd name="T72" fmla="*/ 77 w 83"/>
                  <a:gd name="T73" fmla="*/ 61 h 100"/>
                  <a:gd name="T74" fmla="*/ 79 w 83"/>
                  <a:gd name="T75" fmla="*/ 56 h 100"/>
                  <a:gd name="T76" fmla="*/ 67 w 83"/>
                  <a:gd name="T77" fmla="*/ 42 h 100"/>
                  <a:gd name="T78" fmla="*/ 71 w 83"/>
                  <a:gd name="T79" fmla="*/ 42 h 100"/>
                  <a:gd name="T80" fmla="*/ 70 w 83"/>
                  <a:gd name="T81" fmla="*/ 41 h 100"/>
                  <a:gd name="T82" fmla="*/ 60 w 83"/>
                  <a:gd name="T83" fmla="*/ 29 h 100"/>
                  <a:gd name="T84" fmla="*/ 61 w 83"/>
                  <a:gd name="T85" fmla="*/ 27 h 100"/>
                  <a:gd name="T86" fmla="*/ 62 w 83"/>
                  <a:gd name="T87" fmla="*/ 25 h 100"/>
                  <a:gd name="T88" fmla="*/ 63 w 83"/>
                  <a:gd name="T89" fmla="*/ 18 h 100"/>
                  <a:gd name="T90" fmla="*/ 61 w 83"/>
                  <a:gd name="T91" fmla="*/ 18 h 100"/>
                  <a:gd name="T92" fmla="*/ 51 w 83"/>
                  <a:gd name="T93" fmla="*/ 15 h 100"/>
                  <a:gd name="T94" fmla="*/ 41 w 83"/>
                  <a:gd name="T95" fmla="*/ 10 h 100"/>
                  <a:gd name="T96" fmla="*/ 22 w 83"/>
                  <a:gd name="T97" fmla="*/ 1 h 100"/>
                  <a:gd name="T98" fmla="*/ 18 w 83"/>
                  <a:gd name="T9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3" h="100">
                    <a:moveTo>
                      <a:pt x="18" y="0"/>
                    </a:moveTo>
                    <a:cubicBezTo>
                      <a:pt x="14" y="2"/>
                      <a:pt x="11" y="3"/>
                      <a:pt x="7" y="3"/>
                    </a:cubicBezTo>
                    <a:cubicBezTo>
                      <a:pt x="6" y="3"/>
                      <a:pt x="6" y="3"/>
                      <a:pt x="5" y="3"/>
                    </a:cubicBezTo>
                    <a:cubicBezTo>
                      <a:pt x="5" y="3"/>
                      <a:pt x="5" y="3"/>
                      <a:pt x="5" y="3"/>
                    </a:cubicBezTo>
                    <a:cubicBezTo>
                      <a:pt x="4" y="3"/>
                      <a:pt x="3" y="3"/>
                      <a:pt x="2" y="3"/>
                    </a:cubicBezTo>
                    <a:cubicBezTo>
                      <a:pt x="1" y="3"/>
                      <a:pt x="1" y="3"/>
                      <a:pt x="0" y="3"/>
                    </a:cubicBezTo>
                    <a:cubicBezTo>
                      <a:pt x="0" y="3"/>
                      <a:pt x="0" y="3"/>
                      <a:pt x="0" y="3"/>
                    </a:cubicBezTo>
                    <a:cubicBezTo>
                      <a:pt x="1" y="3"/>
                      <a:pt x="1" y="3"/>
                      <a:pt x="1" y="3"/>
                    </a:cubicBezTo>
                    <a:cubicBezTo>
                      <a:pt x="2" y="4"/>
                      <a:pt x="3" y="4"/>
                      <a:pt x="4" y="5"/>
                    </a:cubicBezTo>
                    <a:cubicBezTo>
                      <a:pt x="5" y="5"/>
                      <a:pt x="6" y="6"/>
                      <a:pt x="7" y="7"/>
                    </a:cubicBezTo>
                    <a:cubicBezTo>
                      <a:pt x="8" y="9"/>
                      <a:pt x="9" y="11"/>
                      <a:pt x="10" y="12"/>
                    </a:cubicBezTo>
                    <a:cubicBezTo>
                      <a:pt x="10" y="13"/>
                      <a:pt x="11" y="14"/>
                      <a:pt x="11" y="14"/>
                    </a:cubicBezTo>
                    <a:cubicBezTo>
                      <a:pt x="11" y="15"/>
                      <a:pt x="12" y="15"/>
                      <a:pt x="12" y="16"/>
                    </a:cubicBezTo>
                    <a:cubicBezTo>
                      <a:pt x="13" y="19"/>
                      <a:pt x="13" y="19"/>
                      <a:pt x="13" y="19"/>
                    </a:cubicBezTo>
                    <a:cubicBezTo>
                      <a:pt x="14" y="21"/>
                      <a:pt x="16" y="24"/>
                      <a:pt x="17" y="26"/>
                    </a:cubicBezTo>
                    <a:cubicBezTo>
                      <a:pt x="20" y="31"/>
                      <a:pt x="23" y="34"/>
                      <a:pt x="26" y="38"/>
                    </a:cubicBezTo>
                    <a:cubicBezTo>
                      <a:pt x="27" y="39"/>
                      <a:pt x="27" y="39"/>
                      <a:pt x="27" y="39"/>
                    </a:cubicBezTo>
                    <a:cubicBezTo>
                      <a:pt x="30" y="41"/>
                      <a:pt x="33" y="43"/>
                      <a:pt x="35" y="46"/>
                    </a:cubicBezTo>
                    <a:cubicBezTo>
                      <a:pt x="36" y="48"/>
                      <a:pt x="37" y="51"/>
                      <a:pt x="37" y="52"/>
                    </a:cubicBezTo>
                    <a:cubicBezTo>
                      <a:pt x="38" y="54"/>
                      <a:pt x="38" y="55"/>
                      <a:pt x="38" y="55"/>
                    </a:cubicBezTo>
                    <a:cubicBezTo>
                      <a:pt x="39" y="58"/>
                      <a:pt x="40" y="60"/>
                      <a:pt x="41" y="62"/>
                    </a:cubicBezTo>
                    <a:cubicBezTo>
                      <a:pt x="42" y="66"/>
                      <a:pt x="42" y="69"/>
                      <a:pt x="41" y="73"/>
                    </a:cubicBezTo>
                    <a:cubicBezTo>
                      <a:pt x="38" y="79"/>
                      <a:pt x="37" y="83"/>
                      <a:pt x="37" y="88"/>
                    </a:cubicBezTo>
                    <a:cubicBezTo>
                      <a:pt x="37" y="89"/>
                      <a:pt x="37" y="90"/>
                      <a:pt x="37" y="91"/>
                    </a:cubicBezTo>
                    <a:cubicBezTo>
                      <a:pt x="37" y="92"/>
                      <a:pt x="37" y="92"/>
                      <a:pt x="37" y="92"/>
                    </a:cubicBezTo>
                    <a:cubicBezTo>
                      <a:pt x="37" y="94"/>
                      <a:pt x="36" y="96"/>
                      <a:pt x="36" y="97"/>
                    </a:cubicBezTo>
                    <a:cubicBezTo>
                      <a:pt x="37" y="98"/>
                      <a:pt x="37" y="99"/>
                      <a:pt x="37" y="99"/>
                    </a:cubicBezTo>
                    <a:cubicBezTo>
                      <a:pt x="37" y="99"/>
                      <a:pt x="37" y="99"/>
                      <a:pt x="37" y="100"/>
                    </a:cubicBezTo>
                    <a:cubicBezTo>
                      <a:pt x="38" y="99"/>
                      <a:pt x="39" y="99"/>
                      <a:pt x="39" y="98"/>
                    </a:cubicBezTo>
                    <a:cubicBezTo>
                      <a:pt x="40" y="98"/>
                      <a:pt x="40" y="98"/>
                      <a:pt x="40" y="98"/>
                    </a:cubicBezTo>
                    <a:cubicBezTo>
                      <a:pt x="40" y="98"/>
                      <a:pt x="41" y="97"/>
                      <a:pt x="42" y="97"/>
                    </a:cubicBezTo>
                    <a:cubicBezTo>
                      <a:pt x="42" y="96"/>
                      <a:pt x="42" y="95"/>
                      <a:pt x="43" y="94"/>
                    </a:cubicBezTo>
                    <a:cubicBezTo>
                      <a:pt x="44" y="92"/>
                      <a:pt x="45" y="91"/>
                      <a:pt x="46" y="90"/>
                    </a:cubicBezTo>
                    <a:cubicBezTo>
                      <a:pt x="47" y="90"/>
                      <a:pt x="47" y="90"/>
                      <a:pt x="47" y="90"/>
                    </a:cubicBezTo>
                    <a:cubicBezTo>
                      <a:pt x="47" y="90"/>
                      <a:pt x="48" y="89"/>
                      <a:pt x="48" y="89"/>
                    </a:cubicBezTo>
                    <a:cubicBezTo>
                      <a:pt x="49" y="88"/>
                      <a:pt x="49" y="88"/>
                      <a:pt x="49" y="88"/>
                    </a:cubicBezTo>
                    <a:cubicBezTo>
                      <a:pt x="49" y="88"/>
                      <a:pt x="49" y="88"/>
                      <a:pt x="49" y="88"/>
                    </a:cubicBezTo>
                    <a:cubicBezTo>
                      <a:pt x="50" y="87"/>
                      <a:pt x="50" y="86"/>
                      <a:pt x="50" y="85"/>
                    </a:cubicBezTo>
                    <a:cubicBezTo>
                      <a:pt x="51" y="84"/>
                      <a:pt x="52" y="83"/>
                      <a:pt x="54" y="82"/>
                    </a:cubicBezTo>
                    <a:cubicBezTo>
                      <a:pt x="54" y="82"/>
                      <a:pt x="54" y="82"/>
                      <a:pt x="54" y="82"/>
                    </a:cubicBezTo>
                    <a:cubicBezTo>
                      <a:pt x="54" y="82"/>
                      <a:pt x="54" y="82"/>
                      <a:pt x="54" y="82"/>
                    </a:cubicBezTo>
                    <a:cubicBezTo>
                      <a:pt x="54" y="81"/>
                      <a:pt x="54" y="81"/>
                      <a:pt x="54" y="81"/>
                    </a:cubicBezTo>
                    <a:cubicBezTo>
                      <a:pt x="55" y="79"/>
                      <a:pt x="55" y="79"/>
                      <a:pt x="55" y="79"/>
                    </a:cubicBezTo>
                    <a:cubicBezTo>
                      <a:pt x="55" y="79"/>
                      <a:pt x="55" y="78"/>
                      <a:pt x="56" y="78"/>
                    </a:cubicBezTo>
                    <a:cubicBezTo>
                      <a:pt x="55" y="77"/>
                      <a:pt x="55" y="77"/>
                      <a:pt x="55" y="77"/>
                    </a:cubicBezTo>
                    <a:cubicBezTo>
                      <a:pt x="55" y="76"/>
                      <a:pt x="55" y="76"/>
                      <a:pt x="55" y="76"/>
                    </a:cubicBezTo>
                    <a:cubicBezTo>
                      <a:pt x="55" y="74"/>
                      <a:pt x="55" y="73"/>
                      <a:pt x="56" y="71"/>
                    </a:cubicBezTo>
                    <a:cubicBezTo>
                      <a:pt x="56" y="71"/>
                      <a:pt x="56" y="71"/>
                      <a:pt x="56" y="71"/>
                    </a:cubicBezTo>
                    <a:cubicBezTo>
                      <a:pt x="56" y="69"/>
                      <a:pt x="56" y="65"/>
                      <a:pt x="60" y="64"/>
                    </a:cubicBezTo>
                    <a:cubicBezTo>
                      <a:pt x="61" y="64"/>
                      <a:pt x="61" y="64"/>
                      <a:pt x="61" y="64"/>
                    </a:cubicBezTo>
                    <a:cubicBezTo>
                      <a:pt x="61" y="64"/>
                      <a:pt x="61" y="64"/>
                      <a:pt x="61" y="64"/>
                    </a:cubicBezTo>
                    <a:cubicBezTo>
                      <a:pt x="63" y="64"/>
                      <a:pt x="64" y="65"/>
                      <a:pt x="65" y="66"/>
                    </a:cubicBezTo>
                    <a:cubicBezTo>
                      <a:pt x="65" y="66"/>
                      <a:pt x="66" y="66"/>
                      <a:pt x="66" y="67"/>
                    </a:cubicBezTo>
                    <a:cubicBezTo>
                      <a:pt x="66" y="67"/>
                      <a:pt x="66" y="67"/>
                      <a:pt x="66" y="67"/>
                    </a:cubicBezTo>
                    <a:cubicBezTo>
                      <a:pt x="67" y="67"/>
                      <a:pt x="67" y="67"/>
                      <a:pt x="67" y="67"/>
                    </a:cubicBezTo>
                    <a:cubicBezTo>
                      <a:pt x="67" y="67"/>
                      <a:pt x="68" y="66"/>
                      <a:pt x="69" y="66"/>
                    </a:cubicBezTo>
                    <a:cubicBezTo>
                      <a:pt x="70" y="65"/>
                      <a:pt x="71" y="65"/>
                      <a:pt x="72" y="65"/>
                    </a:cubicBezTo>
                    <a:cubicBezTo>
                      <a:pt x="73" y="65"/>
                      <a:pt x="73" y="65"/>
                      <a:pt x="73" y="65"/>
                    </a:cubicBezTo>
                    <a:cubicBezTo>
                      <a:pt x="74" y="65"/>
                      <a:pt x="74" y="65"/>
                      <a:pt x="74" y="65"/>
                    </a:cubicBezTo>
                    <a:cubicBezTo>
                      <a:pt x="75" y="65"/>
                      <a:pt x="75" y="65"/>
                      <a:pt x="75" y="65"/>
                    </a:cubicBezTo>
                    <a:cubicBezTo>
                      <a:pt x="75" y="66"/>
                      <a:pt x="76" y="66"/>
                      <a:pt x="76" y="66"/>
                    </a:cubicBezTo>
                    <a:cubicBezTo>
                      <a:pt x="77" y="67"/>
                      <a:pt x="77" y="67"/>
                      <a:pt x="77" y="67"/>
                    </a:cubicBezTo>
                    <a:cubicBezTo>
                      <a:pt x="78" y="68"/>
                      <a:pt x="78" y="68"/>
                      <a:pt x="78" y="68"/>
                    </a:cubicBezTo>
                    <a:cubicBezTo>
                      <a:pt x="79" y="68"/>
                      <a:pt x="79" y="68"/>
                      <a:pt x="79" y="68"/>
                    </a:cubicBezTo>
                    <a:cubicBezTo>
                      <a:pt x="79" y="68"/>
                      <a:pt x="79" y="68"/>
                      <a:pt x="79" y="68"/>
                    </a:cubicBezTo>
                    <a:cubicBezTo>
                      <a:pt x="79" y="68"/>
                      <a:pt x="80" y="68"/>
                      <a:pt x="80" y="68"/>
                    </a:cubicBezTo>
                    <a:cubicBezTo>
                      <a:pt x="81" y="68"/>
                      <a:pt x="81" y="68"/>
                      <a:pt x="81" y="68"/>
                    </a:cubicBezTo>
                    <a:cubicBezTo>
                      <a:pt x="81" y="68"/>
                      <a:pt x="82" y="68"/>
                      <a:pt x="83" y="68"/>
                    </a:cubicBezTo>
                    <a:cubicBezTo>
                      <a:pt x="83" y="68"/>
                      <a:pt x="83" y="68"/>
                      <a:pt x="83" y="68"/>
                    </a:cubicBezTo>
                    <a:cubicBezTo>
                      <a:pt x="82" y="65"/>
                      <a:pt x="82" y="63"/>
                      <a:pt x="83" y="61"/>
                    </a:cubicBezTo>
                    <a:cubicBezTo>
                      <a:pt x="83" y="60"/>
                      <a:pt x="83" y="59"/>
                      <a:pt x="83" y="58"/>
                    </a:cubicBezTo>
                    <a:cubicBezTo>
                      <a:pt x="83" y="57"/>
                      <a:pt x="83" y="57"/>
                      <a:pt x="83" y="57"/>
                    </a:cubicBezTo>
                    <a:cubicBezTo>
                      <a:pt x="82" y="57"/>
                      <a:pt x="81" y="57"/>
                      <a:pt x="81" y="57"/>
                    </a:cubicBezTo>
                    <a:cubicBezTo>
                      <a:pt x="77" y="61"/>
                      <a:pt x="77" y="61"/>
                      <a:pt x="77" y="61"/>
                    </a:cubicBezTo>
                    <a:cubicBezTo>
                      <a:pt x="79" y="56"/>
                      <a:pt x="79" y="56"/>
                      <a:pt x="79" y="56"/>
                    </a:cubicBezTo>
                    <a:cubicBezTo>
                      <a:pt x="79" y="56"/>
                      <a:pt x="79" y="56"/>
                      <a:pt x="79" y="56"/>
                    </a:cubicBezTo>
                    <a:cubicBezTo>
                      <a:pt x="76" y="53"/>
                      <a:pt x="73" y="50"/>
                      <a:pt x="71" y="47"/>
                    </a:cubicBezTo>
                    <a:cubicBezTo>
                      <a:pt x="67" y="42"/>
                      <a:pt x="67" y="42"/>
                      <a:pt x="67" y="42"/>
                    </a:cubicBezTo>
                    <a:cubicBezTo>
                      <a:pt x="72" y="42"/>
                      <a:pt x="72" y="42"/>
                      <a:pt x="72" y="42"/>
                    </a:cubicBezTo>
                    <a:cubicBezTo>
                      <a:pt x="71" y="42"/>
                      <a:pt x="71" y="42"/>
                      <a:pt x="71" y="42"/>
                    </a:cubicBezTo>
                    <a:cubicBezTo>
                      <a:pt x="71" y="41"/>
                      <a:pt x="71" y="41"/>
                      <a:pt x="71" y="41"/>
                    </a:cubicBezTo>
                    <a:cubicBezTo>
                      <a:pt x="70" y="41"/>
                      <a:pt x="70" y="41"/>
                      <a:pt x="70" y="41"/>
                    </a:cubicBezTo>
                    <a:cubicBezTo>
                      <a:pt x="68" y="40"/>
                      <a:pt x="66" y="38"/>
                      <a:pt x="64" y="37"/>
                    </a:cubicBezTo>
                    <a:cubicBezTo>
                      <a:pt x="61" y="33"/>
                      <a:pt x="60" y="31"/>
                      <a:pt x="60" y="29"/>
                    </a:cubicBezTo>
                    <a:cubicBezTo>
                      <a:pt x="60" y="28"/>
                      <a:pt x="60" y="28"/>
                      <a:pt x="60" y="28"/>
                    </a:cubicBezTo>
                    <a:cubicBezTo>
                      <a:pt x="61" y="27"/>
                      <a:pt x="61" y="27"/>
                      <a:pt x="61" y="27"/>
                    </a:cubicBezTo>
                    <a:cubicBezTo>
                      <a:pt x="61" y="26"/>
                      <a:pt x="61" y="26"/>
                      <a:pt x="62" y="26"/>
                    </a:cubicBezTo>
                    <a:cubicBezTo>
                      <a:pt x="62" y="25"/>
                      <a:pt x="62" y="25"/>
                      <a:pt x="62" y="25"/>
                    </a:cubicBezTo>
                    <a:cubicBezTo>
                      <a:pt x="63" y="23"/>
                      <a:pt x="63" y="20"/>
                      <a:pt x="63" y="18"/>
                    </a:cubicBezTo>
                    <a:cubicBezTo>
                      <a:pt x="63" y="18"/>
                      <a:pt x="63" y="18"/>
                      <a:pt x="63" y="18"/>
                    </a:cubicBezTo>
                    <a:cubicBezTo>
                      <a:pt x="61" y="18"/>
                      <a:pt x="61" y="18"/>
                      <a:pt x="61" y="18"/>
                    </a:cubicBezTo>
                    <a:cubicBezTo>
                      <a:pt x="61" y="18"/>
                      <a:pt x="61" y="18"/>
                      <a:pt x="61" y="18"/>
                    </a:cubicBezTo>
                    <a:cubicBezTo>
                      <a:pt x="59" y="18"/>
                      <a:pt x="56" y="17"/>
                      <a:pt x="52" y="15"/>
                    </a:cubicBezTo>
                    <a:cubicBezTo>
                      <a:pt x="51" y="15"/>
                      <a:pt x="51" y="15"/>
                      <a:pt x="51" y="15"/>
                    </a:cubicBezTo>
                    <a:cubicBezTo>
                      <a:pt x="50" y="14"/>
                      <a:pt x="49" y="14"/>
                      <a:pt x="48" y="13"/>
                    </a:cubicBezTo>
                    <a:cubicBezTo>
                      <a:pt x="46" y="12"/>
                      <a:pt x="43" y="11"/>
                      <a:pt x="41" y="10"/>
                    </a:cubicBezTo>
                    <a:cubicBezTo>
                      <a:pt x="39" y="9"/>
                      <a:pt x="38" y="9"/>
                      <a:pt x="37" y="8"/>
                    </a:cubicBezTo>
                    <a:cubicBezTo>
                      <a:pt x="32" y="5"/>
                      <a:pt x="27" y="3"/>
                      <a:pt x="22" y="1"/>
                    </a:cubicBezTo>
                    <a:cubicBezTo>
                      <a:pt x="21" y="1"/>
                      <a:pt x="20" y="1"/>
                      <a:pt x="19" y="1"/>
                    </a:cubicBezTo>
                    <a:cubicBezTo>
                      <a:pt x="18" y="0"/>
                      <a:pt x="18" y="0"/>
                      <a:pt x="18" y="0"/>
                    </a:cubicBezTo>
                    <a:cubicBezTo>
                      <a:pt x="18" y="0"/>
                      <a:pt x="18"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87" name="Rectangle 315">
                <a:extLst>
                  <a:ext uri="{FF2B5EF4-FFF2-40B4-BE49-F238E27FC236}">
                    <a16:creationId xmlns:a16="http://schemas.microsoft.com/office/drawing/2014/main" id="{D0DCB6A8-1A77-4B8B-A030-6D666A133A9D}"/>
                  </a:ext>
                </a:extLst>
              </p:cNvPr>
              <p:cNvSpPr>
                <a:spLocks noChangeArrowheads="1"/>
              </p:cNvSpPr>
              <p:nvPr/>
            </p:nvSpPr>
            <p:spPr bwMode="auto">
              <a:xfrm>
                <a:off x="7171235" y="374039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88" name="Rectangle 316">
                <a:extLst>
                  <a:ext uri="{FF2B5EF4-FFF2-40B4-BE49-F238E27FC236}">
                    <a16:creationId xmlns:a16="http://schemas.microsoft.com/office/drawing/2014/main" id="{D6059777-9C5F-4496-9807-35F9B8E903A0}"/>
                  </a:ext>
                </a:extLst>
              </p:cNvPr>
              <p:cNvSpPr>
                <a:spLocks noChangeArrowheads="1"/>
              </p:cNvSpPr>
              <p:nvPr/>
            </p:nvSpPr>
            <p:spPr bwMode="auto">
              <a:xfrm>
                <a:off x="7171235" y="374039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89" name="Freeform 317">
                <a:extLst>
                  <a:ext uri="{FF2B5EF4-FFF2-40B4-BE49-F238E27FC236}">
                    <a16:creationId xmlns:a16="http://schemas.microsoft.com/office/drawing/2014/main" id="{1629EB4B-EEBC-45FF-B75C-AF4A5CD19BB2}"/>
                  </a:ext>
                </a:extLst>
              </p:cNvPr>
              <p:cNvSpPr>
                <a:spLocks/>
              </p:cNvSpPr>
              <p:nvPr/>
            </p:nvSpPr>
            <p:spPr bwMode="auto">
              <a:xfrm>
                <a:off x="6467378" y="3250273"/>
                <a:ext cx="829151" cy="567508"/>
              </a:xfrm>
              <a:custGeom>
                <a:avLst/>
                <a:gdLst>
                  <a:gd name="T0" fmla="*/ 132 w 262"/>
                  <a:gd name="T1" fmla="*/ 1 h 179"/>
                  <a:gd name="T2" fmla="*/ 120 w 262"/>
                  <a:gd name="T3" fmla="*/ 13 h 179"/>
                  <a:gd name="T4" fmla="*/ 109 w 262"/>
                  <a:gd name="T5" fmla="*/ 13 h 179"/>
                  <a:gd name="T6" fmla="*/ 99 w 262"/>
                  <a:gd name="T7" fmla="*/ 17 h 179"/>
                  <a:gd name="T8" fmla="*/ 95 w 262"/>
                  <a:gd name="T9" fmla="*/ 19 h 179"/>
                  <a:gd name="T10" fmla="*/ 92 w 262"/>
                  <a:gd name="T11" fmla="*/ 26 h 179"/>
                  <a:gd name="T12" fmla="*/ 95 w 262"/>
                  <a:gd name="T13" fmla="*/ 28 h 179"/>
                  <a:gd name="T14" fmla="*/ 91 w 262"/>
                  <a:gd name="T15" fmla="*/ 40 h 179"/>
                  <a:gd name="T16" fmla="*/ 70 w 262"/>
                  <a:gd name="T17" fmla="*/ 53 h 179"/>
                  <a:gd name="T18" fmla="*/ 67 w 262"/>
                  <a:gd name="T19" fmla="*/ 69 h 179"/>
                  <a:gd name="T20" fmla="*/ 65 w 262"/>
                  <a:gd name="T21" fmla="*/ 80 h 179"/>
                  <a:gd name="T22" fmla="*/ 57 w 262"/>
                  <a:gd name="T23" fmla="*/ 76 h 179"/>
                  <a:gd name="T24" fmla="*/ 48 w 262"/>
                  <a:gd name="T25" fmla="*/ 80 h 179"/>
                  <a:gd name="T26" fmla="*/ 42 w 262"/>
                  <a:gd name="T27" fmla="*/ 85 h 179"/>
                  <a:gd name="T28" fmla="*/ 29 w 262"/>
                  <a:gd name="T29" fmla="*/ 89 h 179"/>
                  <a:gd name="T30" fmla="*/ 24 w 262"/>
                  <a:gd name="T31" fmla="*/ 88 h 179"/>
                  <a:gd name="T32" fmla="*/ 8 w 262"/>
                  <a:gd name="T33" fmla="*/ 87 h 179"/>
                  <a:gd name="T34" fmla="*/ 13 w 262"/>
                  <a:gd name="T35" fmla="*/ 101 h 179"/>
                  <a:gd name="T36" fmla="*/ 14 w 262"/>
                  <a:gd name="T37" fmla="*/ 135 h 179"/>
                  <a:gd name="T38" fmla="*/ 8 w 262"/>
                  <a:gd name="T39" fmla="*/ 152 h 179"/>
                  <a:gd name="T40" fmla="*/ 8 w 262"/>
                  <a:gd name="T41" fmla="*/ 169 h 179"/>
                  <a:gd name="T42" fmla="*/ 16 w 262"/>
                  <a:gd name="T43" fmla="*/ 171 h 179"/>
                  <a:gd name="T44" fmla="*/ 34 w 262"/>
                  <a:gd name="T45" fmla="*/ 159 h 179"/>
                  <a:gd name="T46" fmla="*/ 45 w 262"/>
                  <a:gd name="T47" fmla="*/ 158 h 179"/>
                  <a:gd name="T48" fmla="*/ 75 w 262"/>
                  <a:gd name="T49" fmla="*/ 161 h 179"/>
                  <a:gd name="T50" fmla="*/ 133 w 262"/>
                  <a:gd name="T51" fmla="*/ 169 h 179"/>
                  <a:gd name="T52" fmla="*/ 140 w 262"/>
                  <a:gd name="T53" fmla="*/ 169 h 179"/>
                  <a:gd name="T54" fmla="*/ 155 w 262"/>
                  <a:gd name="T55" fmla="*/ 172 h 179"/>
                  <a:gd name="T56" fmla="*/ 160 w 262"/>
                  <a:gd name="T57" fmla="*/ 170 h 179"/>
                  <a:gd name="T58" fmla="*/ 170 w 262"/>
                  <a:gd name="T59" fmla="*/ 178 h 179"/>
                  <a:gd name="T60" fmla="*/ 181 w 262"/>
                  <a:gd name="T61" fmla="*/ 177 h 179"/>
                  <a:gd name="T62" fmla="*/ 192 w 262"/>
                  <a:gd name="T63" fmla="*/ 175 h 179"/>
                  <a:gd name="T64" fmla="*/ 201 w 262"/>
                  <a:gd name="T65" fmla="*/ 168 h 179"/>
                  <a:gd name="T66" fmla="*/ 215 w 262"/>
                  <a:gd name="T67" fmla="*/ 153 h 179"/>
                  <a:gd name="T68" fmla="*/ 223 w 262"/>
                  <a:gd name="T69" fmla="*/ 153 h 179"/>
                  <a:gd name="T70" fmla="*/ 229 w 262"/>
                  <a:gd name="T71" fmla="*/ 141 h 179"/>
                  <a:gd name="T72" fmla="*/ 221 w 262"/>
                  <a:gd name="T73" fmla="*/ 119 h 179"/>
                  <a:gd name="T74" fmla="*/ 224 w 262"/>
                  <a:gd name="T75" fmla="*/ 114 h 179"/>
                  <a:gd name="T76" fmla="*/ 233 w 262"/>
                  <a:gd name="T77" fmla="*/ 112 h 179"/>
                  <a:gd name="T78" fmla="*/ 262 w 262"/>
                  <a:gd name="T79" fmla="*/ 105 h 179"/>
                  <a:gd name="T80" fmla="*/ 233 w 262"/>
                  <a:gd name="T81" fmla="*/ 88 h 179"/>
                  <a:gd name="T82" fmla="*/ 209 w 262"/>
                  <a:gd name="T83" fmla="*/ 54 h 179"/>
                  <a:gd name="T84" fmla="*/ 208 w 262"/>
                  <a:gd name="T85" fmla="*/ 32 h 179"/>
                  <a:gd name="T86" fmla="*/ 195 w 262"/>
                  <a:gd name="T87" fmla="*/ 13 h 179"/>
                  <a:gd name="T88" fmla="*/ 180 w 262"/>
                  <a:gd name="T89" fmla="*/ 15 h 179"/>
                  <a:gd name="T90" fmla="*/ 172 w 262"/>
                  <a:gd name="T91" fmla="*/ 18 h 179"/>
                  <a:gd name="T92" fmla="*/ 168 w 262"/>
                  <a:gd name="T93" fmla="*/ 15 h 179"/>
                  <a:gd name="T94" fmla="*/ 167 w 262"/>
                  <a:gd name="T95" fmla="*/ 9 h 179"/>
                  <a:gd name="T96" fmla="*/ 160 w 262"/>
                  <a:gd name="T97" fmla="*/ 8 h 179"/>
                  <a:gd name="T98" fmla="*/ 148 w 262"/>
                  <a:gd name="T99" fmla="*/ 7 h 179"/>
                  <a:gd name="T100" fmla="*/ 145 w 262"/>
                  <a:gd name="T101" fmla="*/ 5 h 179"/>
                  <a:gd name="T102" fmla="*/ 139 w 262"/>
                  <a:gd name="T103" fmla="*/ 2 h 179"/>
                  <a:gd name="T104" fmla="*/ 136 w 262"/>
                  <a:gd name="T105"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2" h="179">
                    <a:moveTo>
                      <a:pt x="136" y="0"/>
                    </a:moveTo>
                    <a:cubicBezTo>
                      <a:pt x="135" y="0"/>
                      <a:pt x="135" y="0"/>
                      <a:pt x="135" y="0"/>
                    </a:cubicBezTo>
                    <a:cubicBezTo>
                      <a:pt x="135" y="1"/>
                      <a:pt x="135" y="1"/>
                      <a:pt x="135" y="1"/>
                    </a:cubicBezTo>
                    <a:cubicBezTo>
                      <a:pt x="134" y="1"/>
                      <a:pt x="134" y="1"/>
                      <a:pt x="134" y="1"/>
                    </a:cubicBezTo>
                    <a:cubicBezTo>
                      <a:pt x="134" y="1"/>
                      <a:pt x="133" y="1"/>
                      <a:pt x="132" y="1"/>
                    </a:cubicBezTo>
                    <a:cubicBezTo>
                      <a:pt x="132" y="1"/>
                      <a:pt x="130" y="2"/>
                      <a:pt x="129" y="4"/>
                    </a:cubicBezTo>
                    <a:cubicBezTo>
                      <a:pt x="128" y="5"/>
                      <a:pt x="127" y="5"/>
                      <a:pt x="126" y="6"/>
                    </a:cubicBezTo>
                    <a:cubicBezTo>
                      <a:pt x="126" y="7"/>
                      <a:pt x="125" y="7"/>
                      <a:pt x="124" y="8"/>
                    </a:cubicBezTo>
                    <a:cubicBezTo>
                      <a:pt x="124" y="8"/>
                      <a:pt x="124" y="8"/>
                      <a:pt x="124" y="8"/>
                    </a:cubicBezTo>
                    <a:cubicBezTo>
                      <a:pt x="124" y="12"/>
                      <a:pt x="122" y="13"/>
                      <a:pt x="120" y="13"/>
                    </a:cubicBezTo>
                    <a:cubicBezTo>
                      <a:pt x="117" y="13"/>
                      <a:pt x="117" y="13"/>
                      <a:pt x="117" y="13"/>
                    </a:cubicBezTo>
                    <a:cubicBezTo>
                      <a:pt x="116" y="13"/>
                      <a:pt x="114" y="13"/>
                      <a:pt x="113" y="13"/>
                    </a:cubicBezTo>
                    <a:cubicBezTo>
                      <a:pt x="113" y="13"/>
                      <a:pt x="113" y="13"/>
                      <a:pt x="113" y="13"/>
                    </a:cubicBezTo>
                    <a:cubicBezTo>
                      <a:pt x="112" y="13"/>
                      <a:pt x="111" y="13"/>
                      <a:pt x="111" y="13"/>
                    </a:cubicBezTo>
                    <a:cubicBezTo>
                      <a:pt x="109" y="13"/>
                      <a:pt x="109" y="13"/>
                      <a:pt x="109" y="13"/>
                    </a:cubicBezTo>
                    <a:cubicBezTo>
                      <a:pt x="107" y="13"/>
                      <a:pt x="106" y="13"/>
                      <a:pt x="105" y="13"/>
                    </a:cubicBezTo>
                    <a:cubicBezTo>
                      <a:pt x="104" y="13"/>
                      <a:pt x="104" y="13"/>
                      <a:pt x="103" y="14"/>
                    </a:cubicBezTo>
                    <a:cubicBezTo>
                      <a:pt x="102" y="14"/>
                      <a:pt x="102" y="14"/>
                      <a:pt x="102" y="14"/>
                    </a:cubicBezTo>
                    <a:cubicBezTo>
                      <a:pt x="109" y="14"/>
                      <a:pt x="109" y="14"/>
                      <a:pt x="109" y="14"/>
                    </a:cubicBezTo>
                    <a:cubicBezTo>
                      <a:pt x="99" y="17"/>
                      <a:pt x="99" y="17"/>
                      <a:pt x="99" y="17"/>
                    </a:cubicBezTo>
                    <a:cubicBezTo>
                      <a:pt x="99" y="17"/>
                      <a:pt x="98" y="18"/>
                      <a:pt x="98" y="18"/>
                    </a:cubicBezTo>
                    <a:cubicBezTo>
                      <a:pt x="97" y="18"/>
                      <a:pt x="97" y="18"/>
                      <a:pt x="97" y="18"/>
                    </a:cubicBezTo>
                    <a:cubicBezTo>
                      <a:pt x="96" y="19"/>
                      <a:pt x="96" y="19"/>
                      <a:pt x="95" y="19"/>
                    </a:cubicBezTo>
                    <a:cubicBezTo>
                      <a:pt x="95" y="19"/>
                      <a:pt x="95" y="19"/>
                      <a:pt x="95" y="19"/>
                    </a:cubicBezTo>
                    <a:cubicBezTo>
                      <a:pt x="95" y="19"/>
                      <a:pt x="95" y="19"/>
                      <a:pt x="95" y="19"/>
                    </a:cubicBezTo>
                    <a:cubicBezTo>
                      <a:pt x="95" y="20"/>
                      <a:pt x="95" y="20"/>
                      <a:pt x="95" y="20"/>
                    </a:cubicBezTo>
                    <a:cubicBezTo>
                      <a:pt x="94" y="20"/>
                      <a:pt x="94" y="20"/>
                      <a:pt x="94" y="20"/>
                    </a:cubicBezTo>
                    <a:cubicBezTo>
                      <a:pt x="94" y="21"/>
                      <a:pt x="94" y="22"/>
                      <a:pt x="93" y="23"/>
                    </a:cubicBezTo>
                    <a:cubicBezTo>
                      <a:pt x="92" y="26"/>
                      <a:pt x="92" y="26"/>
                      <a:pt x="92" y="26"/>
                    </a:cubicBezTo>
                    <a:cubicBezTo>
                      <a:pt x="92" y="26"/>
                      <a:pt x="92" y="26"/>
                      <a:pt x="92" y="26"/>
                    </a:cubicBezTo>
                    <a:cubicBezTo>
                      <a:pt x="92" y="27"/>
                      <a:pt x="92" y="27"/>
                      <a:pt x="92" y="27"/>
                    </a:cubicBezTo>
                    <a:cubicBezTo>
                      <a:pt x="92" y="27"/>
                      <a:pt x="92" y="27"/>
                      <a:pt x="92" y="27"/>
                    </a:cubicBezTo>
                    <a:cubicBezTo>
                      <a:pt x="92" y="27"/>
                      <a:pt x="92" y="27"/>
                      <a:pt x="92" y="27"/>
                    </a:cubicBezTo>
                    <a:cubicBezTo>
                      <a:pt x="92" y="27"/>
                      <a:pt x="93" y="27"/>
                      <a:pt x="93" y="28"/>
                    </a:cubicBezTo>
                    <a:cubicBezTo>
                      <a:pt x="95" y="28"/>
                      <a:pt x="95" y="28"/>
                      <a:pt x="95" y="28"/>
                    </a:cubicBezTo>
                    <a:cubicBezTo>
                      <a:pt x="95" y="29"/>
                      <a:pt x="96" y="29"/>
                      <a:pt x="97" y="30"/>
                    </a:cubicBezTo>
                    <a:cubicBezTo>
                      <a:pt x="101" y="33"/>
                      <a:pt x="101" y="33"/>
                      <a:pt x="101" y="33"/>
                    </a:cubicBezTo>
                    <a:cubicBezTo>
                      <a:pt x="97" y="36"/>
                      <a:pt x="97" y="36"/>
                      <a:pt x="97" y="36"/>
                    </a:cubicBezTo>
                    <a:cubicBezTo>
                      <a:pt x="96" y="36"/>
                      <a:pt x="94" y="37"/>
                      <a:pt x="93" y="38"/>
                    </a:cubicBezTo>
                    <a:cubicBezTo>
                      <a:pt x="91" y="40"/>
                      <a:pt x="91" y="40"/>
                      <a:pt x="91" y="40"/>
                    </a:cubicBezTo>
                    <a:cubicBezTo>
                      <a:pt x="88" y="41"/>
                      <a:pt x="85" y="43"/>
                      <a:pt x="82" y="45"/>
                    </a:cubicBezTo>
                    <a:cubicBezTo>
                      <a:pt x="81" y="46"/>
                      <a:pt x="81" y="46"/>
                      <a:pt x="81" y="46"/>
                    </a:cubicBezTo>
                    <a:cubicBezTo>
                      <a:pt x="79" y="46"/>
                      <a:pt x="78" y="47"/>
                      <a:pt x="77" y="48"/>
                    </a:cubicBezTo>
                    <a:cubicBezTo>
                      <a:pt x="72" y="50"/>
                      <a:pt x="72" y="50"/>
                      <a:pt x="72" y="50"/>
                    </a:cubicBezTo>
                    <a:cubicBezTo>
                      <a:pt x="72" y="50"/>
                      <a:pt x="71" y="51"/>
                      <a:pt x="70" y="53"/>
                    </a:cubicBezTo>
                    <a:cubicBezTo>
                      <a:pt x="70" y="54"/>
                      <a:pt x="70" y="54"/>
                      <a:pt x="70" y="54"/>
                    </a:cubicBezTo>
                    <a:cubicBezTo>
                      <a:pt x="70" y="54"/>
                      <a:pt x="70" y="55"/>
                      <a:pt x="70" y="56"/>
                    </a:cubicBezTo>
                    <a:cubicBezTo>
                      <a:pt x="69" y="57"/>
                      <a:pt x="69" y="58"/>
                      <a:pt x="68" y="59"/>
                    </a:cubicBezTo>
                    <a:cubicBezTo>
                      <a:pt x="67" y="62"/>
                      <a:pt x="66" y="65"/>
                      <a:pt x="65" y="68"/>
                    </a:cubicBezTo>
                    <a:cubicBezTo>
                      <a:pt x="66" y="69"/>
                      <a:pt x="66" y="69"/>
                      <a:pt x="67" y="69"/>
                    </a:cubicBezTo>
                    <a:cubicBezTo>
                      <a:pt x="69" y="72"/>
                      <a:pt x="69" y="72"/>
                      <a:pt x="69" y="72"/>
                    </a:cubicBezTo>
                    <a:cubicBezTo>
                      <a:pt x="70" y="73"/>
                      <a:pt x="70" y="73"/>
                      <a:pt x="71" y="74"/>
                    </a:cubicBezTo>
                    <a:cubicBezTo>
                      <a:pt x="73" y="78"/>
                      <a:pt x="73" y="78"/>
                      <a:pt x="73" y="78"/>
                    </a:cubicBezTo>
                    <a:cubicBezTo>
                      <a:pt x="69" y="79"/>
                      <a:pt x="69" y="79"/>
                      <a:pt x="69" y="79"/>
                    </a:cubicBezTo>
                    <a:cubicBezTo>
                      <a:pt x="67" y="79"/>
                      <a:pt x="66" y="80"/>
                      <a:pt x="65" y="80"/>
                    </a:cubicBezTo>
                    <a:cubicBezTo>
                      <a:pt x="65" y="80"/>
                      <a:pt x="65" y="80"/>
                      <a:pt x="65" y="80"/>
                    </a:cubicBezTo>
                    <a:cubicBezTo>
                      <a:pt x="63" y="80"/>
                      <a:pt x="63" y="80"/>
                      <a:pt x="63" y="80"/>
                    </a:cubicBezTo>
                    <a:cubicBezTo>
                      <a:pt x="63" y="80"/>
                      <a:pt x="63" y="80"/>
                      <a:pt x="63" y="80"/>
                    </a:cubicBezTo>
                    <a:cubicBezTo>
                      <a:pt x="62" y="80"/>
                      <a:pt x="61" y="80"/>
                      <a:pt x="60" y="79"/>
                    </a:cubicBezTo>
                    <a:cubicBezTo>
                      <a:pt x="59" y="79"/>
                      <a:pt x="57" y="78"/>
                      <a:pt x="57" y="76"/>
                    </a:cubicBezTo>
                    <a:cubicBezTo>
                      <a:pt x="57" y="75"/>
                      <a:pt x="57" y="75"/>
                      <a:pt x="57" y="75"/>
                    </a:cubicBezTo>
                    <a:cubicBezTo>
                      <a:pt x="56" y="76"/>
                      <a:pt x="55" y="76"/>
                      <a:pt x="54" y="77"/>
                    </a:cubicBezTo>
                    <a:cubicBezTo>
                      <a:pt x="54" y="77"/>
                      <a:pt x="54" y="77"/>
                      <a:pt x="54" y="77"/>
                    </a:cubicBezTo>
                    <a:cubicBezTo>
                      <a:pt x="52" y="78"/>
                      <a:pt x="51" y="79"/>
                      <a:pt x="50" y="79"/>
                    </a:cubicBezTo>
                    <a:cubicBezTo>
                      <a:pt x="49" y="80"/>
                      <a:pt x="49" y="80"/>
                      <a:pt x="48" y="80"/>
                    </a:cubicBezTo>
                    <a:cubicBezTo>
                      <a:pt x="47" y="80"/>
                      <a:pt x="47" y="80"/>
                      <a:pt x="47" y="80"/>
                    </a:cubicBezTo>
                    <a:cubicBezTo>
                      <a:pt x="46" y="80"/>
                      <a:pt x="45" y="80"/>
                      <a:pt x="45" y="80"/>
                    </a:cubicBezTo>
                    <a:cubicBezTo>
                      <a:pt x="44" y="80"/>
                      <a:pt x="44" y="80"/>
                      <a:pt x="44" y="80"/>
                    </a:cubicBezTo>
                    <a:cubicBezTo>
                      <a:pt x="45" y="81"/>
                      <a:pt x="44" y="83"/>
                      <a:pt x="44" y="83"/>
                    </a:cubicBezTo>
                    <a:cubicBezTo>
                      <a:pt x="43" y="84"/>
                      <a:pt x="43" y="85"/>
                      <a:pt x="42" y="85"/>
                    </a:cubicBezTo>
                    <a:cubicBezTo>
                      <a:pt x="41" y="86"/>
                      <a:pt x="41" y="86"/>
                      <a:pt x="41" y="86"/>
                    </a:cubicBezTo>
                    <a:cubicBezTo>
                      <a:pt x="41" y="86"/>
                      <a:pt x="40" y="86"/>
                      <a:pt x="39" y="87"/>
                    </a:cubicBezTo>
                    <a:cubicBezTo>
                      <a:pt x="38" y="87"/>
                      <a:pt x="37" y="87"/>
                      <a:pt x="37" y="88"/>
                    </a:cubicBezTo>
                    <a:cubicBezTo>
                      <a:pt x="34" y="88"/>
                      <a:pt x="31" y="89"/>
                      <a:pt x="30" y="89"/>
                    </a:cubicBezTo>
                    <a:cubicBezTo>
                      <a:pt x="29" y="89"/>
                      <a:pt x="29" y="89"/>
                      <a:pt x="29" y="89"/>
                    </a:cubicBezTo>
                    <a:cubicBezTo>
                      <a:pt x="28" y="89"/>
                      <a:pt x="28" y="89"/>
                      <a:pt x="27" y="89"/>
                    </a:cubicBezTo>
                    <a:cubicBezTo>
                      <a:pt x="27" y="89"/>
                      <a:pt x="27" y="89"/>
                      <a:pt x="27" y="89"/>
                    </a:cubicBezTo>
                    <a:cubicBezTo>
                      <a:pt x="27" y="88"/>
                      <a:pt x="27" y="88"/>
                      <a:pt x="27" y="88"/>
                    </a:cubicBezTo>
                    <a:cubicBezTo>
                      <a:pt x="27" y="89"/>
                      <a:pt x="27" y="89"/>
                      <a:pt x="27" y="89"/>
                    </a:cubicBezTo>
                    <a:cubicBezTo>
                      <a:pt x="25" y="89"/>
                      <a:pt x="25" y="89"/>
                      <a:pt x="24" y="88"/>
                    </a:cubicBezTo>
                    <a:cubicBezTo>
                      <a:pt x="22" y="88"/>
                      <a:pt x="22" y="88"/>
                      <a:pt x="22" y="88"/>
                    </a:cubicBezTo>
                    <a:cubicBezTo>
                      <a:pt x="20" y="87"/>
                      <a:pt x="17" y="87"/>
                      <a:pt x="13" y="87"/>
                    </a:cubicBezTo>
                    <a:cubicBezTo>
                      <a:pt x="12" y="87"/>
                      <a:pt x="11" y="87"/>
                      <a:pt x="10" y="87"/>
                    </a:cubicBezTo>
                    <a:cubicBezTo>
                      <a:pt x="9" y="87"/>
                      <a:pt x="9" y="87"/>
                      <a:pt x="9" y="87"/>
                    </a:cubicBezTo>
                    <a:cubicBezTo>
                      <a:pt x="9" y="87"/>
                      <a:pt x="8" y="87"/>
                      <a:pt x="8" y="87"/>
                    </a:cubicBezTo>
                    <a:cubicBezTo>
                      <a:pt x="8" y="89"/>
                      <a:pt x="9" y="90"/>
                      <a:pt x="9" y="91"/>
                    </a:cubicBezTo>
                    <a:cubicBezTo>
                      <a:pt x="9" y="92"/>
                      <a:pt x="9" y="92"/>
                      <a:pt x="9" y="92"/>
                    </a:cubicBezTo>
                    <a:cubicBezTo>
                      <a:pt x="10" y="93"/>
                      <a:pt x="10" y="93"/>
                      <a:pt x="10" y="93"/>
                    </a:cubicBezTo>
                    <a:cubicBezTo>
                      <a:pt x="10" y="95"/>
                      <a:pt x="11" y="98"/>
                      <a:pt x="12" y="100"/>
                    </a:cubicBezTo>
                    <a:cubicBezTo>
                      <a:pt x="13" y="101"/>
                      <a:pt x="13" y="101"/>
                      <a:pt x="13" y="101"/>
                    </a:cubicBezTo>
                    <a:cubicBezTo>
                      <a:pt x="15" y="105"/>
                      <a:pt x="17" y="109"/>
                      <a:pt x="18" y="113"/>
                    </a:cubicBezTo>
                    <a:cubicBezTo>
                      <a:pt x="18" y="115"/>
                      <a:pt x="20" y="122"/>
                      <a:pt x="19" y="128"/>
                    </a:cubicBezTo>
                    <a:cubicBezTo>
                      <a:pt x="19" y="129"/>
                      <a:pt x="19" y="129"/>
                      <a:pt x="19" y="129"/>
                    </a:cubicBezTo>
                    <a:cubicBezTo>
                      <a:pt x="19" y="131"/>
                      <a:pt x="18" y="132"/>
                      <a:pt x="16" y="134"/>
                    </a:cubicBezTo>
                    <a:cubicBezTo>
                      <a:pt x="15" y="134"/>
                      <a:pt x="15" y="135"/>
                      <a:pt x="14" y="135"/>
                    </a:cubicBezTo>
                    <a:cubicBezTo>
                      <a:pt x="13" y="136"/>
                      <a:pt x="13" y="136"/>
                      <a:pt x="13" y="136"/>
                    </a:cubicBezTo>
                    <a:cubicBezTo>
                      <a:pt x="0" y="147"/>
                      <a:pt x="0" y="147"/>
                      <a:pt x="0" y="147"/>
                    </a:cubicBezTo>
                    <a:cubicBezTo>
                      <a:pt x="1" y="148"/>
                      <a:pt x="3" y="148"/>
                      <a:pt x="3" y="149"/>
                    </a:cubicBezTo>
                    <a:cubicBezTo>
                      <a:pt x="4" y="149"/>
                      <a:pt x="4" y="149"/>
                      <a:pt x="4" y="149"/>
                    </a:cubicBezTo>
                    <a:cubicBezTo>
                      <a:pt x="5" y="150"/>
                      <a:pt x="7" y="151"/>
                      <a:pt x="8" y="152"/>
                    </a:cubicBezTo>
                    <a:cubicBezTo>
                      <a:pt x="9" y="153"/>
                      <a:pt x="9" y="153"/>
                      <a:pt x="9" y="153"/>
                    </a:cubicBezTo>
                    <a:cubicBezTo>
                      <a:pt x="10" y="154"/>
                      <a:pt x="10" y="154"/>
                      <a:pt x="10" y="154"/>
                    </a:cubicBezTo>
                    <a:cubicBezTo>
                      <a:pt x="10" y="155"/>
                      <a:pt x="10" y="155"/>
                      <a:pt x="10" y="156"/>
                    </a:cubicBezTo>
                    <a:cubicBezTo>
                      <a:pt x="11" y="159"/>
                      <a:pt x="10" y="162"/>
                      <a:pt x="9" y="166"/>
                    </a:cubicBezTo>
                    <a:cubicBezTo>
                      <a:pt x="9" y="167"/>
                      <a:pt x="8" y="168"/>
                      <a:pt x="8" y="169"/>
                    </a:cubicBezTo>
                    <a:cubicBezTo>
                      <a:pt x="8" y="169"/>
                      <a:pt x="8" y="170"/>
                      <a:pt x="8" y="171"/>
                    </a:cubicBezTo>
                    <a:cubicBezTo>
                      <a:pt x="8" y="172"/>
                      <a:pt x="8" y="172"/>
                      <a:pt x="8" y="173"/>
                    </a:cubicBezTo>
                    <a:cubicBezTo>
                      <a:pt x="8" y="173"/>
                      <a:pt x="8" y="173"/>
                      <a:pt x="8" y="173"/>
                    </a:cubicBezTo>
                    <a:cubicBezTo>
                      <a:pt x="10" y="172"/>
                      <a:pt x="13" y="172"/>
                      <a:pt x="15" y="171"/>
                    </a:cubicBezTo>
                    <a:cubicBezTo>
                      <a:pt x="16" y="171"/>
                      <a:pt x="16" y="171"/>
                      <a:pt x="16" y="171"/>
                    </a:cubicBezTo>
                    <a:cubicBezTo>
                      <a:pt x="17" y="170"/>
                      <a:pt x="18" y="170"/>
                      <a:pt x="18" y="170"/>
                    </a:cubicBezTo>
                    <a:cubicBezTo>
                      <a:pt x="19" y="169"/>
                      <a:pt x="20" y="168"/>
                      <a:pt x="21" y="166"/>
                    </a:cubicBezTo>
                    <a:cubicBezTo>
                      <a:pt x="23" y="164"/>
                      <a:pt x="26" y="161"/>
                      <a:pt x="30" y="160"/>
                    </a:cubicBezTo>
                    <a:cubicBezTo>
                      <a:pt x="31" y="159"/>
                      <a:pt x="32" y="159"/>
                      <a:pt x="33" y="159"/>
                    </a:cubicBezTo>
                    <a:cubicBezTo>
                      <a:pt x="34" y="159"/>
                      <a:pt x="34" y="159"/>
                      <a:pt x="34" y="159"/>
                    </a:cubicBezTo>
                    <a:cubicBezTo>
                      <a:pt x="35" y="159"/>
                      <a:pt x="36" y="159"/>
                      <a:pt x="37" y="159"/>
                    </a:cubicBezTo>
                    <a:cubicBezTo>
                      <a:pt x="37" y="159"/>
                      <a:pt x="38" y="159"/>
                      <a:pt x="39" y="159"/>
                    </a:cubicBezTo>
                    <a:cubicBezTo>
                      <a:pt x="39" y="159"/>
                      <a:pt x="40" y="159"/>
                      <a:pt x="40" y="159"/>
                    </a:cubicBezTo>
                    <a:cubicBezTo>
                      <a:pt x="42" y="159"/>
                      <a:pt x="43" y="159"/>
                      <a:pt x="45" y="158"/>
                    </a:cubicBezTo>
                    <a:cubicBezTo>
                      <a:pt x="45" y="158"/>
                      <a:pt x="45" y="158"/>
                      <a:pt x="45" y="158"/>
                    </a:cubicBezTo>
                    <a:cubicBezTo>
                      <a:pt x="47" y="158"/>
                      <a:pt x="49" y="157"/>
                      <a:pt x="51" y="157"/>
                    </a:cubicBezTo>
                    <a:cubicBezTo>
                      <a:pt x="52" y="157"/>
                      <a:pt x="52" y="157"/>
                      <a:pt x="53" y="157"/>
                    </a:cubicBezTo>
                    <a:cubicBezTo>
                      <a:pt x="54" y="157"/>
                      <a:pt x="55" y="157"/>
                      <a:pt x="56" y="157"/>
                    </a:cubicBezTo>
                    <a:cubicBezTo>
                      <a:pt x="62" y="158"/>
                      <a:pt x="68" y="159"/>
                      <a:pt x="74" y="161"/>
                    </a:cubicBezTo>
                    <a:cubicBezTo>
                      <a:pt x="75" y="161"/>
                      <a:pt x="75" y="161"/>
                      <a:pt x="75" y="161"/>
                    </a:cubicBezTo>
                    <a:cubicBezTo>
                      <a:pt x="111" y="168"/>
                      <a:pt x="111" y="168"/>
                      <a:pt x="111" y="168"/>
                    </a:cubicBezTo>
                    <a:cubicBezTo>
                      <a:pt x="112" y="168"/>
                      <a:pt x="113" y="168"/>
                      <a:pt x="113" y="168"/>
                    </a:cubicBezTo>
                    <a:cubicBezTo>
                      <a:pt x="117" y="169"/>
                      <a:pt x="122" y="169"/>
                      <a:pt x="124" y="172"/>
                    </a:cubicBezTo>
                    <a:cubicBezTo>
                      <a:pt x="127" y="170"/>
                      <a:pt x="129" y="170"/>
                      <a:pt x="133" y="169"/>
                    </a:cubicBezTo>
                    <a:cubicBezTo>
                      <a:pt x="133" y="169"/>
                      <a:pt x="133" y="169"/>
                      <a:pt x="133" y="169"/>
                    </a:cubicBezTo>
                    <a:cubicBezTo>
                      <a:pt x="134" y="169"/>
                      <a:pt x="134" y="169"/>
                      <a:pt x="135" y="169"/>
                    </a:cubicBezTo>
                    <a:cubicBezTo>
                      <a:pt x="136" y="169"/>
                      <a:pt x="136" y="169"/>
                      <a:pt x="136" y="169"/>
                    </a:cubicBezTo>
                    <a:cubicBezTo>
                      <a:pt x="138" y="168"/>
                      <a:pt x="138" y="168"/>
                      <a:pt x="138" y="168"/>
                    </a:cubicBezTo>
                    <a:cubicBezTo>
                      <a:pt x="139" y="169"/>
                      <a:pt x="139" y="169"/>
                      <a:pt x="139" y="169"/>
                    </a:cubicBezTo>
                    <a:cubicBezTo>
                      <a:pt x="139" y="169"/>
                      <a:pt x="140" y="169"/>
                      <a:pt x="140" y="169"/>
                    </a:cubicBezTo>
                    <a:cubicBezTo>
                      <a:pt x="141" y="170"/>
                      <a:pt x="141" y="170"/>
                      <a:pt x="141" y="170"/>
                    </a:cubicBezTo>
                    <a:cubicBezTo>
                      <a:pt x="141" y="170"/>
                      <a:pt x="142" y="171"/>
                      <a:pt x="142" y="171"/>
                    </a:cubicBezTo>
                    <a:cubicBezTo>
                      <a:pt x="144" y="173"/>
                      <a:pt x="146" y="174"/>
                      <a:pt x="148" y="175"/>
                    </a:cubicBezTo>
                    <a:cubicBezTo>
                      <a:pt x="149" y="175"/>
                      <a:pt x="150" y="176"/>
                      <a:pt x="151" y="176"/>
                    </a:cubicBezTo>
                    <a:cubicBezTo>
                      <a:pt x="152" y="174"/>
                      <a:pt x="153" y="174"/>
                      <a:pt x="155" y="172"/>
                    </a:cubicBezTo>
                    <a:cubicBezTo>
                      <a:pt x="156" y="172"/>
                      <a:pt x="156" y="172"/>
                      <a:pt x="156" y="172"/>
                    </a:cubicBezTo>
                    <a:cubicBezTo>
                      <a:pt x="156" y="172"/>
                      <a:pt x="156" y="172"/>
                      <a:pt x="157" y="172"/>
                    </a:cubicBezTo>
                    <a:cubicBezTo>
                      <a:pt x="157" y="171"/>
                      <a:pt x="157" y="171"/>
                      <a:pt x="157" y="171"/>
                    </a:cubicBezTo>
                    <a:cubicBezTo>
                      <a:pt x="159" y="170"/>
                      <a:pt x="159" y="170"/>
                      <a:pt x="159" y="170"/>
                    </a:cubicBezTo>
                    <a:cubicBezTo>
                      <a:pt x="160" y="170"/>
                      <a:pt x="160" y="170"/>
                      <a:pt x="160" y="170"/>
                    </a:cubicBezTo>
                    <a:cubicBezTo>
                      <a:pt x="160" y="169"/>
                      <a:pt x="161" y="169"/>
                      <a:pt x="161" y="169"/>
                    </a:cubicBezTo>
                    <a:cubicBezTo>
                      <a:pt x="165" y="169"/>
                      <a:pt x="168" y="173"/>
                      <a:pt x="169" y="175"/>
                    </a:cubicBezTo>
                    <a:cubicBezTo>
                      <a:pt x="170" y="176"/>
                      <a:pt x="170" y="176"/>
                      <a:pt x="170" y="176"/>
                    </a:cubicBezTo>
                    <a:cubicBezTo>
                      <a:pt x="173" y="174"/>
                      <a:pt x="173" y="174"/>
                      <a:pt x="173" y="174"/>
                    </a:cubicBezTo>
                    <a:cubicBezTo>
                      <a:pt x="170" y="178"/>
                      <a:pt x="170" y="178"/>
                      <a:pt x="170" y="178"/>
                    </a:cubicBezTo>
                    <a:cubicBezTo>
                      <a:pt x="171" y="179"/>
                      <a:pt x="171" y="179"/>
                      <a:pt x="171" y="179"/>
                    </a:cubicBezTo>
                    <a:cubicBezTo>
                      <a:pt x="172" y="179"/>
                      <a:pt x="172" y="179"/>
                      <a:pt x="173" y="179"/>
                    </a:cubicBezTo>
                    <a:cubicBezTo>
                      <a:pt x="174" y="179"/>
                      <a:pt x="175" y="179"/>
                      <a:pt x="176" y="178"/>
                    </a:cubicBezTo>
                    <a:cubicBezTo>
                      <a:pt x="176" y="178"/>
                      <a:pt x="177" y="178"/>
                      <a:pt x="177" y="178"/>
                    </a:cubicBezTo>
                    <a:cubicBezTo>
                      <a:pt x="178" y="178"/>
                      <a:pt x="180" y="177"/>
                      <a:pt x="181" y="177"/>
                    </a:cubicBezTo>
                    <a:cubicBezTo>
                      <a:pt x="182" y="177"/>
                      <a:pt x="184" y="176"/>
                      <a:pt x="185" y="176"/>
                    </a:cubicBezTo>
                    <a:cubicBezTo>
                      <a:pt x="186" y="176"/>
                      <a:pt x="186" y="176"/>
                      <a:pt x="187" y="176"/>
                    </a:cubicBezTo>
                    <a:cubicBezTo>
                      <a:pt x="188" y="175"/>
                      <a:pt x="189" y="175"/>
                      <a:pt x="190" y="175"/>
                    </a:cubicBezTo>
                    <a:cubicBezTo>
                      <a:pt x="191" y="175"/>
                      <a:pt x="191" y="175"/>
                      <a:pt x="191" y="175"/>
                    </a:cubicBezTo>
                    <a:cubicBezTo>
                      <a:pt x="192" y="175"/>
                      <a:pt x="192" y="175"/>
                      <a:pt x="192" y="175"/>
                    </a:cubicBezTo>
                    <a:cubicBezTo>
                      <a:pt x="193" y="175"/>
                      <a:pt x="193" y="175"/>
                      <a:pt x="193" y="175"/>
                    </a:cubicBezTo>
                    <a:cubicBezTo>
                      <a:pt x="194" y="175"/>
                      <a:pt x="195" y="176"/>
                      <a:pt x="196" y="176"/>
                    </a:cubicBezTo>
                    <a:cubicBezTo>
                      <a:pt x="198" y="177"/>
                      <a:pt x="199" y="178"/>
                      <a:pt x="201" y="179"/>
                    </a:cubicBezTo>
                    <a:cubicBezTo>
                      <a:pt x="200" y="178"/>
                      <a:pt x="200" y="178"/>
                      <a:pt x="200" y="177"/>
                    </a:cubicBezTo>
                    <a:cubicBezTo>
                      <a:pt x="199" y="173"/>
                      <a:pt x="200" y="171"/>
                      <a:pt x="201" y="168"/>
                    </a:cubicBezTo>
                    <a:cubicBezTo>
                      <a:pt x="202" y="167"/>
                      <a:pt x="202" y="166"/>
                      <a:pt x="203" y="166"/>
                    </a:cubicBezTo>
                    <a:cubicBezTo>
                      <a:pt x="203" y="165"/>
                      <a:pt x="203" y="165"/>
                      <a:pt x="203" y="165"/>
                    </a:cubicBezTo>
                    <a:cubicBezTo>
                      <a:pt x="203" y="165"/>
                      <a:pt x="203" y="164"/>
                      <a:pt x="204" y="164"/>
                    </a:cubicBezTo>
                    <a:cubicBezTo>
                      <a:pt x="207" y="160"/>
                      <a:pt x="207" y="160"/>
                      <a:pt x="207" y="160"/>
                    </a:cubicBezTo>
                    <a:cubicBezTo>
                      <a:pt x="210" y="156"/>
                      <a:pt x="212" y="154"/>
                      <a:pt x="215" y="153"/>
                    </a:cubicBezTo>
                    <a:cubicBezTo>
                      <a:pt x="217" y="152"/>
                      <a:pt x="218" y="152"/>
                      <a:pt x="220" y="152"/>
                    </a:cubicBezTo>
                    <a:cubicBezTo>
                      <a:pt x="220" y="152"/>
                      <a:pt x="220" y="152"/>
                      <a:pt x="220" y="152"/>
                    </a:cubicBezTo>
                    <a:cubicBezTo>
                      <a:pt x="221" y="152"/>
                      <a:pt x="221" y="152"/>
                      <a:pt x="221" y="152"/>
                    </a:cubicBezTo>
                    <a:cubicBezTo>
                      <a:pt x="221" y="152"/>
                      <a:pt x="222" y="153"/>
                      <a:pt x="222" y="153"/>
                    </a:cubicBezTo>
                    <a:cubicBezTo>
                      <a:pt x="223" y="153"/>
                      <a:pt x="223" y="153"/>
                      <a:pt x="223" y="153"/>
                    </a:cubicBezTo>
                    <a:cubicBezTo>
                      <a:pt x="223" y="152"/>
                      <a:pt x="223" y="152"/>
                      <a:pt x="224" y="152"/>
                    </a:cubicBezTo>
                    <a:cubicBezTo>
                      <a:pt x="224" y="152"/>
                      <a:pt x="224" y="152"/>
                      <a:pt x="224" y="152"/>
                    </a:cubicBezTo>
                    <a:cubicBezTo>
                      <a:pt x="226" y="151"/>
                      <a:pt x="227" y="151"/>
                      <a:pt x="229" y="151"/>
                    </a:cubicBezTo>
                    <a:cubicBezTo>
                      <a:pt x="230" y="151"/>
                      <a:pt x="231" y="151"/>
                      <a:pt x="232" y="151"/>
                    </a:cubicBezTo>
                    <a:cubicBezTo>
                      <a:pt x="230" y="149"/>
                      <a:pt x="229" y="146"/>
                      <a:pt x="229" y="141"/>
                    </a:cubicBezTo>
                    <a:cubicBezTo>
                      <a:pt x="230" y="131"/>
                      <a:pt x="229" y="129"/>
                      <a:pt x="228" y="129"/>
                    </a:cubicBezTo>
                    <a:cubicBezTo>
                      <a:pt x="226" y="128"/>
                      <a:pt x="224" y="125"/>
                      <a:pt x="223" y="123"/>
                    </a:cubicBezTo>
                    <a:cubicBezTo>
                      <a:pt x="222" y="123"/>
                      <a:pt x="222" y="122"/>
                      <a:pt x="222" y="122"/>
                    </a:cubicBezTo>
                    <a:cubicBezTo>
                      <a:pt x="220" y="121"/>
                      <a:pt x="220" y="121"/>
                      <a:pt x="220" y="121"/>
                    </a:cubicBezTo>
                    <a:cubicBezTo>
                      <a:pt x="221" y="119"/>
                      <a:pt x="221" y="119"/>
                      <a:pt x="221" y="119"/>
                    </a:cubicBezTo>
                    <a:cubicBezTo>
                      <a:pt x="221" y="118"/>
                      <a:pt x="221" y="117"/>
                      <a:pt x="222" y="116"/>
                    </a:cubicBezTo>
                    <a:cubicBezTo>
                      <a:pt x="222" y="115"/>
                      <a:pt x="222" y="115"/>
                      <a:pt x="222" y="115"/>
                    </a:cubicBezTo>
                    <a:cubicBezTo>
                      <a:pt x="224" y="116"/>
                      <a:pt x="224" y="116"/>
                      <a:pt x="224" y="116"/>
                    </a:cubicBezTo>
                    <a:cubicBezTo>
                      <a:pt x="223" y="115"/>
                      <a:pt x="223" y="115"/>
                      <a:pt x="223" y="115"/>
                    </a:cubicBezTo>
                    <a:cubicBezTo>
                      <a:pt x="223" y="115"/>
                      <a:pt x="223" y="114"/>
                      <a:pt x="224" y="114"/>
                    </a:cubicBezTo>
                    <a:cubicBezTo>
                      <a:pt x="224" y="114"/>
                      <a:pt x="224" y="114"/>
                      <a:pt x="224" y="114"/>
                    </a:cubicBezTo>
                    <a:cubicBezTo>
                      <a:pt x="225" y="113"/>
                      <a:pt x="226" y="113"/>
                      <a:pt x="227" y="113"/>
                    </a:cubicBezTo>
                    <a:cubicBezTo>
                      <a:pt x="227" y="113"/>
                      <a:pt x="228" y="112"/>
                      <a:pt x="228" y="112"/>
                    </a:cubicBezTo>
                    <a:cubicBezTo>
                      <a:pt x="229" y="112"/>
                      <a:pt x="230" y="112"/>
                      <a:pt x="232" y="112"/>
                    </a:cubicBezTo>
                    <a:cubicBezTo>
                      <a:pt x="232" y="112"/>
                      <a:pt x="233" y="112"/>
                      <a:pt x="233" y="112"/>
                    </a:cubicBezTo>
                    <a:cubicBezTo>
                      <a:pt x="235" y="112"/>
                      <a:pt x="236" y="112"/>
                      <a:pt x="238" y="112"/>
                    </a:cubicBezTo>
                    <a:cubicBezTo>
                      <a:pt x="239" y="112"/>
                      <a:pt x="241" y="113"/>
                      <a:pt x="243" y="113"/>
                    </a:cubicBezTo>
                    <a:cubicBezTo>
                      <a:pt x="244" y="113"/>
                      <a:pt x="245" y="113"/>
                      <a:pt x="245" y="113"/>
                    </a:cubicBezTo>
                    <a:cubicBezTo>
                      <a:pt x="250" y="113"/>
                      <a:pt x="255" y="110"/>
                      <a:pt x="258" y="108"/>
                    </a:cubicBezTo>
                    <a:cubicBezTo>
                      <a:pt x="260" y="107"/>
                      <a:pt x="261" y="106"/>
                      <a:pt x="262" y="105"/>
                    </a:cubicBezTo>
                    <a:cubicBezTo>
                      <a:pt x="261" y="105"/>
                      <a:pt x="260" y="104"/>
                      <a:pt x="260" y="104"/>
                    </a:cubicBezTo>
                    <a:cubicBezTo>
                      <a:pt x="256" y="102"/>
                      <a:pt x="254" y="99"/>
                      <a:pt x="253" y="96"/>
                    </a:cubicBezTo>
                    <a:cubicBezTo>
                      <a:pt x="253" y="96"/>
                      <a:pt x="253" y="96"/>
                      <a:pt x="253" y="96"/>
                    </a:cubicBezTo>
                    <a:cubicBezTo>
                      <a:pt x="243" y="95"/>
                      <a:pt x="237" y="93"/>
                      <a:pt x="235" y="91"/>
                    </a:cubicBezTo>
                    <a:cubicBezTo>
                      <a:pt x="233" y="88"/>
                      <a:pt x="233" y="88"/>
                      <a:pt x="233" y="88"/>
                    </a:cubicBezTo>
                    <a:cubicBezTo>
                      <a:pt x="236" y="86"/>
                      <a:pt x="236" y="86"/>
                      <a:pt x="236" y="86"/>
                    </a:cubicBezTo>
                    <a:cubicBezTo>
                      <a:pt x="236" y="86"/>
                      <a:pt x="237" y="84"/>
                      <a:pt x="236" y="83"/>
                    </a:cubicBezTo>
                    <a:cubicBezTo>
                      <a:pt x="236" y="80"/>
                      <a:pt x="234" y="79"/>
                      <a:pt x="232" y="78"/>
                    </a:cubicBezTo>
                    <a:cubicBezTo>
                      <a:pt x="222" y="73"/>
                      <a:pt x="218" y="64"/>
                      <a:pt x="218" y="59"/>
                    </a:cubicBezTo>
                    <a:cubicBezTo>
                      <a:pt x="218" y="58"/>
                      <a:pt x="214" y="55"/>
                      <a:pt x="209" y="54"/>
                    </a:cubicBezTo>
                    <a:cubicBezTo>
                      <a:pt x="206" y="53"/>
                      <a:pt x="206" y="53"/>
                      <a:pt x="206" y="53"/>
                    </a:cubicBezTo>
                    <a:cubicBezTo>
                      <a:pt x="207" y="50"/>
                      <a:pt x="207" y="50"/>
                      <a:pt x="207" y="50"/>
                    </a:cubicBezTo>
                    <a:cubicBezTo>
                      <a:pt x="207" y="48"/>
                      <a:pt x="211" y="43"/>
                      <a:pt x="213" y="40"/>
                    </a:cubicBezTo>
                    <a:cubicBezTo>
                      <a:pt x="213" y="39"/>
                      <a:pt x="212" y="38"/>
                      <a:pt x="211" y="37"/>
                    </a:cubicBezTo>
                    <a:cubicBezTo>
                      <a:pt x="210" y="36"/>
                      <a:pt x="209" y="34"/>
                      <a:pt x="208" y="32"/>
                    </a:cubicBezTo>
                    <a:cubicBezTo>
                      <a:pt x="207" y="29"/>
                      <a:pt x="207" y="29"/>
                      <a:pt x="207" y="29"/>
                    </a:cubicBezTo>
                    <a:cubicBezTo>
                      <a:pt x="211" y="26"/>
                      <a:pt x="211" y="26"/>
                      <a:pt x="211" y="26"/>
                    </a:cubicBezTo>
                    <a:cubicBezTo>
                      <a:pt x="211" y="20"/>
                      <a:pt x="211" y="20"/>
                      <a:pt x="211" y="20"/>
                    </a:cubicBezTo>
                    <a:cubicBezTo>
                      <a:pt x="209" y="19"/>
                      <a:pt x="206" y="17"/>
                      <a:pt x="200" y="14"/>
                    </a:cubicBezTo>
                    <a:cubicBezTo>
                      <a:pt x="198" y="14"/>
                      <a:pt x="197" y="13"/>
                      <a:pt x="195" y="13"/>
                    </a:cubicBezTo>
                    <a:cubicBezTo>
                      <a:pt x="194" y="12"/>
                      <a:pt x="194" y="12"/>
                      <a:pt x="194" y="12"/>
                    </a:cubicBezTo>
                    <a:cubicBezTo>
                      <a:pt x="193" y="12"/>
                      <a:pt x="191" y="12"/>
                      <a:pt x="189" y="12"/>
                    </a:cubicBezTo>
                    <a:cubicBezTo>
                      <a:pt x="187" y="12"/>
                      <a:pt x="185" y="12"/>
                      <a:pt x="184" y="13"/>
                    </a:cubicBezTo>
                    <a:cubicBezTo>
                      <a:pt x="183" y="14"/>
                      <a:pt x="181" y="15"/>
                      <a:pt x="180" y="15"/>
                    </a:cubicBezTo>
                    <a:cubicBezTo>
                      <a:pt x="180" y="15"/>
                      <a:pt x="180" y="15"/>
                      <a:pt x="180" y="15"/>
                    </a:cubicBezTo>
                    <a:cubicBezTo>
                      <a:pt x="179" y="16"/>
                      <a:pt x="178" y="16"/>
                      <a:pt x="177" y="17"/>
                    </a:cubicBezTo>
                    <a:cubicBezTo>
                      <a:pt x="176" y="17"/>
                      <a:pt x="176" y="18"/>
                      <a:pt x="175" y="18"/>
                    </a:cubicBezTo>
                    <a:cubicBezTo>
                      <a:pt x="174" y="18"/>
                      <a:pt x="174" y="18"/>
                      <a:pt x="174" y="18"/>
                    </a:cubicBezTo>
                    <a:cubicBezTo>
                      <a:pt x="174" y="18"/>
                      <a:pt x="174" y="18"/>
                      <a:pt x="174" y="18"/>
                    </a:cubicBezTo>
                    <a:cubicBezTo>
                      <a:pt x="173" y="18"/>
                      <a:pt x="173" y="18"/>
                      <a:pt x="172" y="18"/>
                    </a:cubicBezTo>
                    <a:cubicBezTo>
                      <a:pt x="172" y="18"/>
                      <a:pt x="172" y="18"/>
                      <a:pt x="172" y="18"/>
                    </a:cubicBezTo>
                    <a:cubicBezTo>
                      <a:pt x="171" y="17"/>
                      <a:pt x="170" y="17"/>
                      <a:pt x="170" y="17"/>
                    </a:cubicBezTo>
                    <a:cubicBezTo>
                      <a:pt x="169" y="16"/>
                      <a:pt x="169" y="16"/>
                      <a:pt x="169" y="16"/>
                    </a:cubicBezTo>
                    <a:cubicBezTo>
                      <a:pt x="169" y="16"/>
                      <a:pt x="169" y="16"/>
                      <a:pt x="169" y="16"/>
                    </a:cubicBezTo>
                    <a:cubicBezTo>
                      <a:pt x="168" y="15"/>
                      <a:pt x="168" y="15"/>
                      <a:pt x="168" y="15"/>
                    </a:cubicBezTo>
                    <a:cubicBezTo>
                      <a:pt x="168" y="15"/>
                      <a:pt x="168" y="15"/>
                      <a:pt x="168" y="15"/>
                    </a:cubicBezTo>
                    <a:cubicBezTo>
                      <a:pt x="168" y="14"/>
                      <a:pt x="168" y="14"/>
                      <a:pt x="168" y="14"/>
                    </a:cubicBezTo>
                    <a:cubicBezTo>
                      <a:pt x="167" y="13"/>
                      <a:pt x="167" y="12"/>
                      <a:pt x="167" y="12"/>
                    </a:cubicBezTo>
                    <a:cubicBezTo>
                      <a:pt x="167" y="11"/>
                      <a:pt x="167" y="11"/>
                      <a:pt x="167" y="11"/>
                    </a:cubicBezTo>
                    <a:cubicBezTo>
                      <a:pt x="167" y="11"/>
                      <a:pt x="167" y="10"/>
                      <a:pt x="167" y="9"/>
                    </a:cubicBezTo>
                    <a:cubicBezTo>
                      <a:pt x="167" y="9"/>
                      <a:pt x="167" y="8"/>
                      <a:pt x="166" y="7"/>
                    </a:cubicBezTo>
                    <a:cubicBezTo>
                      <a:pt x="166" y="7"/>
                      <a:pt x="165" y="7"/>
                      <a:pt x="165" y="6"/>
                    </a:cubicBezTo>
                    <a:cubicBezTo>
                      <a:pt x="164" y="7"/>
                      <a:pt x="163" y="7"/>
                      <a:pt x="161" y="7"/>
                    </a:cubicBezTo>
                    <a:cubicBezTo>
                      <a:pt x="161" y="8"/>
                      <a:pt x="161" y="8"/>
                      <a:pt x="161" y="8"/>
                    </a:cubicBezTo>
                    <a:cubicBezTo>
                      <a:pt x="160" y="8"/>
                      <a:pt x="160" y="8"/>
                      <a:pt x="160" y="8"/>
                    </a:cubicBezTo>
                    <a:cubicBezTo>
                      <a:pt x="159" y="8"/>
                      <a:pt x="158" y="8"/>
                      <a:pt x="156" y="8"/>
                    </a:cubicBezTo>
                    <a:cubicBezTo>
                      <a:pt x="156" y="8"/>
                      <a:pt x="156" y="8"/>
                      <a:pt x="156" y="8"/>
                    </a:cubicBezTo>
                    <a:cubicBezTo>
                      <a:pt x="155" y="8"/>
                      <a:pt x="154" y="8"/>
                      <a:pt x="153" y="8"/>
                    </a:cubicBezTo>
                    <a:cubicBezTo>
                      <a:pt x="152" y="8"/>
                      <a:pt x="152" y="8"/>
                      <a:pt x="152" y="8"/>
                    </a:cubicBezTo>
                    <a:cubicBezTo>
                      <a:pt x="150" y="7"/>
                      <a:pt x="149" y="7"/>
                      <a:pt x="148" y="7"/>
                    </a:cubicBezTo>
                    <a:cubicBezTo>
                      <a:pt x="147" y="6"/>
                      <a:pt x="147" y="6"/>
                      <a:pt x="147" y="6"/>
                    </a:cubicBezTo>
                    <a:cubicBezTo>
                      <a:pt x="147" y="6"/>
                      <a:pt x="147" y="6"/>
                      <a:pt x="147" y="6"/>
                    </a:cubicBezTo>
                    <a:cubicBezTo>
                      <a:pt x="147" y="6"/>
                      <a:pt x="147" y="6"/>
                      <a:pt x="147" y="6"/>
                    </a:cubicBezTo>
                    <a:cubicBezTo>
                      <a:pt x="146" y="6"/>
                      <a:pt x="146" y="6"/>
                      <a:pt x="146" y="6"/>
                    </a:cubicBezTo>
                    <a:cubicBezTo>
                      <a:pt x="145" y="5"/>
                      <a:pt x="145" y="5"/>
                      <a:pt x="145" y="5"/>
                    </a:cubicBezTo>
                    <a:cubicBezTo>
                      <a:pt x="145" y="5"/>
                      <a:pt x="144" y="5"/>
                      <a:pt x="143" y="4"/>
                    </a:cubicBezTo>
                    <a:cubicBezTo>
                      <a:pt x="142" y="4"/>
                      <a:pt x="142" y="4"/>
                      <a:pt x="142" y="4"/>
                    </a:cubicBezTo>
                    <a:cubicBezTo>
                      <a:pt x="141" y="3"/>
                      <a:pt x="141" y="3"/>
                      <a:pt x="141" y="3"/>
                    </a:cubicBezTo>
                    <a:cubicBezTo>
                      <a:pt x="139" y="2"/>
                      <a:pt x="139" y="2"/>
                      <a:pt x="139" y="2"/>
                    </a:cubicBezTo>
                    <a:cubicBezTo>
                      <a:pt x="139" y="2"/>
                      <a:pt x="139" y="2"/>
                      <a:pt x="139" y="2"/>
                    </a:cubicBezTo>
                    <a:cubicBezTo>
                      <a:pt x="138" y="2"/>
                      <a:pt x="138" y="2"/>
                      <a:pt x="138" y="2"/>
                    </a:cubicBezTo>
                    <a:cubicBezTo>
                      <a:pt x="138" y="1"/>
                      <a:pt x="137" y="1"/>
                      <a:pt x="137" y="1"/>
                    </a:cubicBezTo>
                    <a:cubicBezTo>
                      <a:pt x="137" y="1"/>
                      <a:pt x="137" y="1"/>
                      <a:pt x="137" y="1"/>
                    </a:cubicBezTo>
                    <a:cubicBezTo>
                      <a:pt x="136" y="1"/>
                      <a:pt x="136" y="1"/>
                      <a:pt x="136" y="1"/>
                    </a:cubicBezTo>
                    <a:cubicBezTo>
                      <a:pt x="136" y="0"/>
                      <a:pt x="136" y="0"/>
                      <a:pt x="1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90" name="Freeform 318">
                <a:extLst>
                  <a:ext uri="{FF2B5EF4-FFF2-40B4-BE49-F238E27FC236}">
                    <a16:creationId xmlns:a16="http://schemas.microsoft.com/office/drawing/2014/main" id="{0F149882-7D10-474E-815A-F4C76EBA945C}"/>
                  </a:ext>
                </a:extLst>
              </p:cNvPr>
              <p:cNvSpPr>
                <a:spLocks/>
              </p:cNvSpPr>
              <p:nvPr/>
            </p:nvSpPr>
            <p:spPr bwMode="auto">
              <a:xfrm>
                <a:off x="6253642" y="3217107"/>
                <a:ext cx="493805" cy="294809"/>
              </a:xfrm>
              <a:custGeom>
                <a:avLst/>
                <a:gdLst>
                  <a:gd name="T0" fmla="*/ 105 w 155"/>
                  <a:gd name="T1" fmla="*/ 2 h 93"/>
                  <a:gd name="T2" fmla="*/ 101 w 155"/>
                  <a:gd name="T3" fmla="*/ 5 h 93"/>
                  <a:gd name="T4" fmla="*/ 96 w 155"/>
                  <a:gd name="T5" fmla="*/ 5 h 93"/>
                  <a:gd name="T6" fmla="*/ 90 w 155"/>
                  <a:gd name="T7" fmla="*/ 6 h 93"/>
                  <a:gd name="T8" fmla="*/ 80 w 155"/>
                  <a:gd name="T9" fmla="*/ 3 h 93"/>
                  <a:gd name="T10" fmla="*/ 78 w 155"/>
                  <a:gd name="T11" fmla="*/ 3 h 93"/>
                  <a:gd name="T12" fmla="*/ 71 w 155"/>
                  <a:gd name="T13" fmla="*/ 3 h 93"/>
                  <a:gd name="T14" fmla="*/ 62 w 155"/>
                  <a:gd name="T15" fmla="*/ 2 h 93"/>
                  <a:gd name="T16" fmla="*/ 58 w 155"/>
                  <a:gd name="T17" fmla="*/ 4 h 93"/>
                  <a:gd name="T18" fmla="*/ 53 w 155"/>
                  <a:gd name="T19" fmla="*/ 1 h 93"/>
                  <a:gd name="T20" fmla="*/ 45 w 155"/>
                  <a:gd name="T21" fmla="*/ 2 h 93"/>
                  <a:gd name="T22" fmla="*/ 36 w 155"/>
                  <a:gd name="T23" fmla="*/ 1 h 93"/>
                  <a:gd name="T24" fmla="*/ 15 w 155"/>
                  <a:gd name="T25" fmla="*/ 6 h 93"/>
                  <a:gd name="T26" fmla="*/ 8 w 155"/>
                  <a:gd name="T27" fmla="*/ 10 h 93"/>
                  <a:gd name="T28" fmla="*/ 1 w 155"/>
                  <a:gd name="T29" fmla="*/ 15 h 93"/>
                  <a:gd name="T30" fmla="*/ 5 w 155"/>
                  <a:gd name="T31" fmla="*/ 32 h 93"/>
                  <a:gd name="T32" fmla="*/ 9 w 155"/>
                  <a:gd name="T33" fmla="*/ 41 h 93"/>
                  <a:gd name="T34" fmla="*/ 30 w 155"/>
                  <a:gd name="T35" fmla="*/ 48 h 93"/>
                  <a:gd name="T36" fmla="*/ 31 w 155"/>
                  <a:gd name="T37" fmla="*/ 48 h 93"/>
                  <a:gd name="T38" fmla="*/ 40 w 155"/>
                  <a:gd name="T39" fmla="*/ 47 h 93"/>
                  <a:gd name="T40" fmla="*/ 46 w 155"/>
                  <a:gd name="T41" fmla="*/ 49 h 93"/>
                  <a:gd name="T42" fmla="*/ 55 w 155"/>
                  <a:gd name="T43" fmla="*/ 61 h 93"/>
                  <a:gd name="T44" fmla="*/ 53 w 155"/>
                  <a:gd name="T45" fmla="*/ 64 h 93"/>
                  <a:gd name="T46" fmla="*/ 52 w 155"/>
                  <a:gd name="T47" fmla="*/ 66 h 93"/>
                  <a:gd name="T48" fmla="*/ 57 w 155"/>
                  <a:gd name="T49" fmla="*/ 76 h 93"/>
                  <a:gd name="T50" fmla="*/ 61 w 155"/>
                  <a:gd name="T51" fmla="*/ 77 h 93"/>
                  <a:gd name="T52" fmla="*/ 65 w 155"/>
                  <a:gd name="T53" fmla="*/ 80 h 93"/>
                  <a:gd name="T54" fmla="*/ 70 w 155"/>
                  <a:gd name="T55" fmla="*/ 86 h 93"/>
                  <a:gd name="T56" fmla="*/ 72 w 155"/>
                  <a:gd name="T57" fmla="*/ 89 h 93"/>
                  <a:gd name="T58" fmla="*/ 73 w 155"/>
                  <a:gd name="T59" fmla="*/ 91 h 93"/>
                  <a:gd name="T60" fmla="*/ 80 w 155"/>
                  <a:gd name="T61" fmla="*/ 91 h 93"/>
                  <a:gd name="T62" fmla="*/ 92 w 155"/>
                  <a:gd name="T63" fmla="*/ 93 h 93"/>
                  <a:gd name="T64" fmla="*/ 102 w 155"/>
                  <a:gd name="T65" fmla="*/ 92 h 93"/>
                  <a:gd name="T66" fmla="*/ 105 w 155"/>
                  <a:gd name="T67" fmla="*/ 91 h 93"/>
                  <a:gd name="T68" fmla="*/ 105 w 155"/>
                  <a:gd name="T69" fmla="*/ 87 h 93"/>
                  <a:gd name="T70" fmla="*/ 108 w 155"/>
                  <a:gd name="T71" fmla="*/ 85 h 93"/>
                  <a:gd name="T72" fmla="*/ 109 w 155"/>
                  <a:gd name="T73" fmla="*/ 84 h 93"/>
                  <a:gd name="T74" fmla="*/ 113 w 155"/>
                  <a:gd name="T75" fmla="*/ 84 h 93"/>
                  <a:gd name="T76" fmla="*/ 117 w 155"/>
                  <a:gd name="T77" fmla="*/ 82 h 93"/>
                  <a:gd name="T78" fmla="*/ 124 w 155"/>
                  <a:gd name="T79" fmla="*/ 79 h 93"/>
                  <a:gd name="T80" fmla="*/ 131 w 155"/>
                  <a:gd name="T81" fmla="*/ 62 h 93"/>
                  <a:gd name="T82" fmla="*/ 141 w 155"/>
                  <a:gd name="T83" fmla="*/ 52 h 93"/>
                  <a:gd name="T84" fmla="*/ 145 w 155"/>
                  <a:gd name="T85" fmla="*/ 50 h 93"/>
                  <a:gd name="T86" fmla="*/ 152 w 155"/>
                  <a:gd name="T87" fmla="*/ 43 h 93"/>
                  <a:gd name="T88" fmla="*/ 155 w 155"/>
                  <a:gd name="T89" fmla="*/ 29 h 93"/>
                  <a:gd name="T90" fmla="*/ 148 w 155"/>
                  <a:gd name="T91" fmla="*/ 25 h 93"/>
                  <a:gd name="T92" fmla="*/ 138 w 155"/>
                  <a:gd name="T93" fmla="*/ 18 h 93"/>
                  <a:gd name="T94" fmla="*/ 129 w 155"/>
                  <a:gd name="T95" fmla="*/ 11 h 93"/>
                  <a:gd name="T96" fmla="*/ 125 w 155"/>
                  <a:gd name="T97" fmla="*/ 10 h 93"/>
                  <a:gd name="T98" fmla="*/ 111 w 155"/>
                  <a:gd name="T99" fmla="*/ 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5" h="93">
                    <a:moveTo>
                      <a:pt x="108" y="0"/>
                    </a:moveTo>
                    <a:cubicBezTo>
                      <a:pt x="108" y="0"/>
                      <a:pt x="107" y="0"/>
                      <a:pt x="106" y="1"/>
                    </a:cubicBezTo>
                    <a:cubicBezTo>
                      <a:pt x="106" y="1"/>
                      <a:pt x="105" y="2"/>
                      <a:pt x="105" y="2"/>
                    </a:cubicBezTo>
                    <a:cubicBezTo>
                      <a:pt x="104" y="3"/>
                      <a:pt x="104" y="3"/>
                      <a:pt x="104" y="3"/>
                    </a:cubicBezTo>
                    <a:cubicBezTo>
                      <a:pt x="103" y="3"/>
                      <a:pt x="103" y="4"/>
                      <a:pt x="102" y="4"/>
                    </a:cubicBezTo>
                    <a:cubicBezTo>
                      <a:pt x="102" y="4"/>
                      <a:pt x="101" y="5"/>
                      <a:pt x="101" y="5"/>
                    </a:cubicBezTo>
                    <a:cubicBezTo>
                      <a:pt x="101" y="5"/>
                      <a:pt x="100" y="5"/>
                      <a:pt x="100" y="5"/>
                    </a:cubicBezTo>
                    <a:cubicBezTo>
                      <a:pt x="99" y="5"/>
                      <a:pt x="98" y="5"/>
                      <a:pt x="98" y="5"/>
                    </a:cubicBezTo>
                    <a:cubicBezTo>
                      <a:pt x="97" y="5"/>
                      <a:pt x="96" y="5"/>
                      <a:pt x="96" y="5"/>
                    </a:cubicBezTo>
                    <a:cubicBezTo>
                      <a:pt x="95" y="5"/>
                      <a:pt x="95" y="5"/>
                      <a:pt x="94" y="5"/>
                    </a:cubicBezTo>
                    <a:cubicBezTo>
                      <a:pt x="94" y="5"/>
                      <a:pt x="93" y="5"/>
                      <a:pt x="93" y="5"/>
                    </a:cubicBezTo>
                    <a:cubicBezTo>
                      <a:pt x="92" y="5"/>
                      <a:pt x="91" y="6"/>
                      <a:pt x="90" y="6"/>
                    </a:cubicBezTo>
                    <a:cubicBezTo>
                      <a:pt x="90" y="6"/>
                      <a:pt x="89" y="6"/>
                      <a:pt x="88" y="6"/>
                    </a:cubicBezTo>
                    <a:cubicBezTo>
                      <a:pt x="87" y="6"/>
                      <a:pt x="86" y="5"/>
                      <a:pt x="83" y="4"/>
                    </a:cubicBezTo>
                    <a:cubicBezTo>
                      <a:pt x="82" y="4"/>
                      <a:pt x="81" y="4"/>
                      <a:pt x="80" y="3"/>
                    </a:cubicBezTo>
                    <a:cubicBezTo>
                      <a:pt x="79" y="3"/>
                      <a:pt x="79" y="3"/>
                      <a:pt x="79" y="3"/>
                    </a:cubicBezTo>
                    <a:cubicBezTo>
                      <a:pt x="79" y="9"/>
                      <a:pt x="79" y="9"/>
                      <a:pt x="79" y="9"/>
                    </a:cubicBezTo>
                    <a:cubicBezTo>
                      <a:pt x="78" y="3"/>
                      <a:pt x="78" y="3"/>
                      <a:pt x="78" y="3"/>
                    </a:cubicBezTo>
                    <a:cubicBezTo>
                      <a:pt x="77" y="3"/>
                      <a:pt x="77" y="3"/>
                      <a:pt x="77" y="3"/>
                    </a:cubicBezTo>
                    <a:cubicBezTo>
                      <a:pt x="76" y="3"/>
                      <a:pt x="75" y="3"/>
                      <a:pt x="74" y="3"/>
                    </a:cubicBezTo>
                    <a:cubicBezTo>
                      <a:pt x="71" y="3"/>
                      <a:pt x="71" y="3"/>
                      <a:pt x="71" y="3"/>
                    </a:cubicBezTo>
                    <a:cubicBezTo>
                      <a:pt x="69" y="3"/>
                      <a:pt x="66" y="3"/>
                      <a:pt x="63" y="2"/>
                    </a:cubicBezTo>
                    <a:cubicBezTo>
                      <a:pt x="63" y="2"/>
                      <a:pt x="63" y="2"/>
                      <a:pt x="63" y="2"/>
                    </a:cubicBezTo>
                    <a:cubicBezTo>
                      <a:pt x="63" y="2"/>
                      <a:pt x="63" y="2"/>
                      <a:pt x="62" y="2"/>
                    </a:cubicBezTo>
                    <a:cubicBezTo>
                      <a:pt x="62" y="3"/>
                      <a:pt x="61" y="3"/>
                      <a:pt x="61" y="3"/>
                    </a:cubicBezTo>
                    <a:cubicBezTo>
                      <a:pt x="61" y="3"/>
                      <a:pt x="61" y="3"/>
                      <a:pt x="61" y="3"/>
                    </a:cubicBezTo>
                    <a:cubicBezTo>
                      <a:pt x="60" y="4"/>
                      <a:pt x="59" y="4"/>
                      <a:pt x="58" y="4"/>
                    </a:cubicBezTo>
                    <a:cubicBezTo>
                      <a:pt x="56" y="4"/>
                      <a:pt x="54" y="2"/>
                      <a:pt x="53" y="1"/>
                    </a:cubicBezTo>
                    <a:cubicBezTo>
                      <a:pt x="53" y="1"/>
                      <a:pt x="53" y="1"/>
                      <a:pt x="53" y="1"/>
                    </a:cubicBezTo>
                    <a:cubicBezTo>
                      <a:pt x="53" y="1"/>
                      <a:pt x="53" y="1"/>
                      <a:pt x="53" y="1"/>
                    </a:cubicBezTo>
                    <a:cubicBezTo>
                      <a:pt x="52" y="1"/>
                      <a:pt x="51" y="2"/>
                      <a:pt x="51" y="2"/>
                    </a:cubicBezTo>
                    <a:cubicBezTo>
                      <a:pt x="49" y="2"/>
                      <a:pt x="48" y="2"/>
                      <a:pt x="48" y="2"/>
                    </a:cubicBezTo>
                    <a:cubicBezTo>
                      <a:pt x="46" y="2"/>
                      <a:pt x="46" y="2"/>
                      <a:pt x="45" y="2"/>
                    </a:cubicBezTo>
                    <a:cubicBezTo>
                      <a:pt x="44" y="1"/>
                      <a:pt x="44" y="1"/>
                      <a:pt x="44" y="1"/>
                    </a:cubicBezTo>
                    <a:cubicBezTo>
                      <a:pt x="42" y="1"/>
                      <a:pt x="42" y="1"/>
                      <a:pt x="42" y="1"/>
                    </a:cubicBezTo>
                    <a:cubicBezTo>
                      <a:pt x="40" y="1"/>
                      <a:pt x="38" y="1"/>
                      <a:pt x="36" y="1"/>
                    </a:cubicBezTo>
                    <a:cubicBezTo>
                      <a:pt x="34" y="1"/>
                      <a:pt x="34" y="1"/>
                      <a:pt x="34" y="1"/>
                    </a:cubicBezTo>
                    <a:cubicBezTo>
                      <a:pt x="34" y="1"/>
                      <a:pt x="34" y="1"/>
                      <a:pt x="34" y="1"/>
                    </a:cubicBezTo>
                    <a:cubicBezTo>
                      <a:pt x="28" y="1"/>
                      <a:pt x="21" y="3"/>
                      <a:pt x="15" y="6"/>
                    </a:cubicBezTo>
                    <a:cubicBezTo>
                      <a:pt x="14" y="6"/>
                      <a:pt x="12" y="7"/>
                      <a:pt x="11" y="8"/>
                    </a:cubicBezTo>
                    <a:cubicBezTo>
                      <a:pt x="10" y="8"/>
                      <a:pt x="10" y="9"/>
                      <a:pt x="9" y="9"/>
                    </a:cubicBezTo>
                    <a:cubicBezTo>
                      <a:pt x="8" y="10"/>
                      <a:pt x="8" y="10"/>
                      <a:pt x="8" y="10"/>
                    </a:cubicBezTo>
                    <a:cubicBezTo>
                      <a:pt x="8" y="10"/>
                      <a:pt x="7" y="11"/>
                      <a:pt x="7" y="11"/>
                    </a:cubicBezTo>
                    <a:cubicBezTo>
                      <a:pt x="5" y="12"/>
                      <a:pt x="4" y="13"/>
                      <a:pt x="2" y="14"/>
                    </a:cubicBezTo>
                    <a:cubicBezTo>
                      <a:pt x="1" y="15"/>
                      <a:pt x="1" y="15"/>
                      <a:pt x="1" y="15"/>
                    </a:cubicBezTo>
                    <a:cubicBezTo>
                      <a:pt x="0" y="14"/>
                      <a:pt x="0" y="14"/>
                      <a:pt x="0" y="14"/>
                    </a:cubicBezTo>
                    <a:cubicBezTo>
                      <a:pt x="0" y="15"/>
                      <a:pt x="1" y="17"/>
                      <a:pt x="0" y="19"/>
                    </a:cubicBezTo>
                    <a:cubicBezTo>
                      <a:pt x="0" y="23"/>
                      <a:pt x="4" y="28"/>
                      <a:pt x="5" y="32"/>
                    </a:cubicBezTo>
                    <a:cubicBezTo>
                      <a:pt x="6" y="35"/>
                      <a:pt x="6" y="37"/>
                      <a:pt x="6" y="40"/>
                    </a:cubicBezTo>
                    <a:cubicBezTo>
                      <a:pt x="7" y="39"/>
                      <a:pt x="7" y="39"/>
                      <a:pt x="7" y="39"/>
                    </a:cubicBezTo>
                    <a:cubicBezTo>
                      <a:pt x="9" y="41"/>
                      <a:pt x="9" y="41"/>
                      <a:pt x="9" y="41"/>
                    </a:cubicBezTo>
                    <a:cubicBezTo>
                      <a:pt x="10" y="41"/>
                      <a:pt x="10" y="41"/>
                      <a:pt x="10" y="41"/>
                    </a:cubicBezTo>
                    <a:cubicBezTo>
                      <a:pt x="14" y="43"/>
                      <a:pt x="23" y="46"/>
                      <a:pt x="28" y="48"/>
                    </a:cubicBezTo>
                    <a:cubicBezTo>
                      <a:pt x="29" y="48"/>
                      <a:pt x="29" y="48"/>
                      <a:pt x="30" y="48"/>
                    </a:cubicBezTo>
                    <a:cubicBezTo>
                      <a:pt x="30" y="48"/>
                      <a:pt x="30" y="48"/>
                      <a:pt x="30" y="48"/>
                    </a:cubicBezTo>
                    <a:cubicBezTo>
                      <a:pt x="31" y="48"/>
                      <a:pt x="31" y="48"/>
                      <a:pt x="31" y="48"/>
                    </a:cubicBezTo>
                    <a:cubicBezTo>
                      <a:pt x="31" y="48"/>
                      <a:pt x="31" y="48"/>
                      <a:pt x="31" y="48"/>
                    </a:cubicBezTo>
                    <a:cubicBezTo>
                      <a:pt x="33" y="48"/>
                      <a:pt x="34" y="48"/>
                      <a:pt x="35" y="48"/>
                    </a:cubicBezTo>
                    <a:cubicBezTo>
                      <a:pt x="35" y="48"/>
                      <a:pt x="35" y="48"/>
                      <a:pt x="35" y="48"/>
                    </a:cubicBezTo>
                    <a:cubicBezTo>
                      <a:pt x="37" y="47"/>
                      <a:pt x="38" y="47"/>
                      <a:pt x="40" y="47"/>
                    </a:cubicBezTo>
                    <a:cubicBezTo>
                      <a:pt x="40" y="47"/>
                      <a:pt x="40" y="47"/>
                      <a:pt x="40" y="47"/>
                    </a:cubicBezTo>
                    <a:cubicBezTo>
                      <a:pt x="42" y="47"/>
                      <a:pt x="44" y="47"/>
                      <a:pt x="46" y="49"/>
                    </a:cubicBezTo>
                    <a:cubicBezTo>
                      <a:pt x="46" y="49"/>
                      <a:pt x="46" y="49"/>
                      <a:pt x="46" y="49"/>
                    </a:cubicBezTo>
                    <a:cubicBezTo>
                      <a:pt x="47" y="50"/>
                      <a:pt x="47" y="50"/>
                      <a:pt x="47" y="50"/>
                    </a:cubicBezTo>
                    <a:cubicBezTo>
                      <a:pt x="48" y="50"/>
                      <a:pt x="48" y="51"/>
                      <a:pt x="48" y="52"/>
                    </a:cubicBezTo>
                    <a:cubicBezTo>
                      <a:pt x="55" y="61"/>
                      <a:pt x="55" y="61"/>
                      <a:pt x="55" y="61"/>
                    </a:cubicBezTo>
                    <a:cubicBezTo>
                      <a:pt x="53" y="63"/>
                      <a:pt x="53" y="63"/>
                      <a:pt x="53" y="63"/>
                    </a:cubicBezTo>
                    <a:cubicBezTo>
                      <a:pt x="53" y="63"/>
                      <a:pt x="53" y="63"/>
                      <a:pt x="53" y="63"/>
                    </a:cubicBezTo>
                    <a:cubicBezTo>
                      <a:pt x="53" y="64"/>
                      <a:pt x="53" y="64"/>
                      <a:pt x="53" y="64"/>
                    </a:cubicBezTo>
                    <a:cubicBezTo>
                      <a:pt x="53" y="64"/>
                      <a:pt x="53" y="64"/>
                      <a:pt x="53" y="65"/>
                    </a:cubicBezTo>
                    <a:cubicBezTo>
                      <a:pt x="53" y="66"/>
                      <a:pt x="53" y="66"/>
                      <a:pt x="53" y="66"/>
                    </a:cubicBezTo>
                    <a:cubicBezTo>
                      <a:pt x="52" y="66"/>
                      <a:pt x="52" y="66"/>
                      <a:pt x="52" y="66"/>
                    </a:cubicBezTo>
                    <a:cubicBezTo>
                      <a:pt x="53" y="75"/>
                      <a:pt x="53" y="75"/>
                      <a:pt x="53" y="75"/>
                    </a:cubicBezTo>
                    <a:cubicBezTo>
                      <a:pt x="54" y="75"/>
                      <a:pt x="54" y="75"/>
                      <a:pt x="55" y="75"/>
                    </a:cubicBezTo>
                    <a:cubicBezTo>
                      <a:pt x="55" y="75"/>
                      <a:pt x="56" y="76"/>
                      <a:pt x="57" y="76"/>
                    </a:cubicBezTo>
                    <a:cubicBezTo>
                      <a:pt x="58" y="76"/>
                      <a:pt x="58" y="76"/>
                      <a:pt x="58" y="76"/>
                    </a:cubicBezTo>
                    <a:cubicBezTo>
                      <a:pt x="59" y="76"/>
                      <a:pt x="60" y="77"/>
                      <a:pt x="60" y="77"/>
                    </a:cubicBezTo>
                    <a:cubicBezTo>
                      <a:pt x="61" y="77"/>
                      <a:pt x="61" y="77"/>
                      <a:pt x="61" y="77"/>
                    </a:cubicBezTo>
                    <a:cubicBezTo>
                      <a:pt x="62" y="78"/>
                      <a:pt x="62" y="78"/>
                      <a:pt x="62" y="78"/>
                    </a:cubicBezTo>
                    <a:cubicBezTo>
                      <a:pt x="63" y="78"/>
                      <a:pt x="63" y="79"/>
                      <a:pt x="64" y="79"/>
                    </a:cubicBezTo>
                    <a:cubicBezTo>
                      <a:pt x="65" y="80"/>
                      <a:pt x="65" y="80"/>
                      <a:pt x="65" y="80"/>
                    </a:cubicBezTo>
                    <a:cubicBezTo>
                      <a:pt x="66" y="81"/>
                      <a:pt x="67" y="82"/>
                      <a:pt x="68" y="83"/>
                    </a:cubicBezTo>
                    <a:cubicBezTo>
                      <a:pt x="68" y="83"/>
                      <a:pt x="68" y="83"/>
                      <a:pt x="68" y="83"/>
                    </a:cubicBezTo>
                    <a:cubicBezTo>
                      <a:pt x="68" y="83"/>
                      <a:pt x="69" y="84"/>
                      <a:pt x="70" y="86"/>
                    </a:cubicBezTo>
                    <a:cubicBezTo>
                      <a:pt x="70" y="86"/>
                      <a:pt x="70" y="86"/>
                      <a:pt x="70" y="86"/>
                    </a:cubicBezTo>
                    <a:cubicBezTo>
                      <a:pt x="71" y="87"/>
                      <a:pt x="71" y="87"/>
                      <a:pt x="71" y="87"/>
                    </a:cubicBezTo>
                    <a:cubicBezTo>
                      <a:pt x="71" y="88"/>
                      <a:pt x="72" y="88"/>
                      <a:pt x="72" y="89"/>
                    </a:cubicBezTo>
                    <a:cubicBezTo>
                      <a:pt x="72" y="90"/>
                      <a:pt x="72" y="90"/>
                      <a:pt x="73" y="91"/>
                    </a:cubicBezTo>
                    <a:cubicBezTo>
                      <a:pt x="73" y="91"/>
                      <a:pt x="73" y="91"/>
                      <a:pt x="73" y="91"/>
                    </a:cubicBezTo>
                    <a:cubicBezTo>
                      <a:pt x="73" y="91"/>
                      <a:pt x="73" y="91"/>
                      <a:pt x="73" y="91"/>
                    </a:cubicBezTo>
                    <a:cubicBezTo>
                      <a:pt x="74" y="91"/>
                      <a:pt x="75" y="91"/>
                      <a:pt x="77" y="91"/>
                    </a:cubicBezTo>
                    <a:cubicBezTo>
                      <a:pt x="77" y="91"/>
                      <a:pt x="77" y="91"/>
                      <a:pt x="77" y="91"/>
                    </a:cubicBezTo>
                    <a:cubicBezTo>
                      <a:pt x="78" y="91"/>
                      <a:pt x="79" y="91"/>
                      <a:pt x="80" y="91"/>
                    </a:cubicBezTo>
                    <a:cubicBezTo>
                      <a:pt x="84" y="91"/>
                      <a:pt x="88" y="92"/>
                      <a:pt x="91" y="92"/>
                    </a:cubicBezTo>
                    <a:cubicBezTo>
                      <a:pt x="91" y="92"/>
                      <a:pt x="91" y="92"/>
                      <a:pt x="91" y="92"/>
                    </a:cubicBezTo>
                    <a:cubicBezTo>
                      <a:pt x="92" y="92"/>
                      <a:pt x="92" y="93"/>
                      <a:pt x="92" y="93"/>
                    </a:cubicBezTo>
                    <a:cubicBezTo>
                      <a:pt x="94" y="93"/>
                      <a:pt x="95" y="93"/>
                      <a:pt x="95" y="93"/>
                    </a:cubicBezTo>
                    <a:cubicBezTo>
                      <a:pt x="95" y="93"/>
                      <a:pt x="96" y="93"/>
                      <a:pt x="96" y="93"/>
                    </a:cubicBezTo>
                    <a:cubicBezTo>
                      <a:pt x="97" y="93"/>
                      <a:pt x="99" y="93"/>
                      <a:pt x="102" y="92"/>
                    </a:cubicBezTo>
                    <a:cubicBezTo>
                      <a:pt x="102" y="92"/>
                      <a:pt x="103" y="92"/>
                      <a:pt x="103" y="91"/>
                    </a:cubicBezTo>
                    <a:cubicBezTo>
                      <a:pt x="104" y="91"/>
                      <a:pt x="104" y="91"/>
                      <a:pt x="104" y="91"/>
                    </a:cubicBezTo>
                    <a:cubicBezTo>
                      <a:pt x="105" y="91"/>
                      <a:pt x="105" y="91"/>
                      <a:pt x="105" y="91"/>
                    </a:cubicBezTo>
                    <a:cubicBezTo>
                      <a:pt x="105" y="91"/>
                      <a:pt x="105" y="91"/>
                      <a:pt x="105" y="91"/>
                    </a:cubicBezTo>
                    <a:cubicBezTo>
                      <a:pt x="105" y="90"/>
                      <a:pt x="105" y="89"/>
                      <a:pt x="105" y="89"/>
                    </a:cubicBezTo>
                    <a:cubicBezTo>
                      <a:pt x="105" y="87"/>
                      <a:pt x="105" y="87"/>
                      <a:pt x="105" y="87"/>
                    </a:cubicBezTo>
                    <a:cubicBezTo>
                      <a:pt x="105" y="86"/>
                      <a:pt x="105" y="85"/>
                      <a:pt x="106" y="85"/>
                    </a:cubicBezTo>
                    <a:cubicBezTo>
                      <a:pt x="107" y="84"/>
                      <a:pt x="107" y="84"/>
                      <a:pt x="107" y="84"/>
                    </a:cubicBezTo>
                    <a:cubicBezTo>
                      <a:pt x="108" y="85"/>
                      <a:pt x="108" y="85"/>
                      <a:pt x="108" y="85"/>
                    </a:cubicBezTo>
                    <a:cubicBezTo>
                      <a:pt x="107" y="84"/>
                      <a:pt x="107" y="84"/>
                      <a:pt x="107" y="84"/>
                    </a:cubicBezTo>
                    <a:cubicBezTo>
                      <a:pt x="108" y="84"/>
                      <a:pt x="108" y="84"/>
                      <a:pt x="108" y="84"/>
                    </a:cubicBezTo>
                    <a:cubicBezTo>
                      <a:pt x="109" y="84"/>
                      <a:pt x="109" y="84"/>
                      <a:pt x="109" y="84"/>
                    </a:cubicBezTo>
                    <a:cubicBezTo>
                      <a:pt x="109" y="84"/>
                      <a:pt x="110" y="83"/>
                      <a:pt x="110" y="83"/>
                    </a:cubicBezTo>
                    <a:cubicBezTo>
                      <a:pt x="111" y="83"/>
                      <a:pt x="112" y="84"/>
                      <a:pt x="112" y="84"/>
                    </a:cubicBezTo>
                    <a:cubicBezTo>
                      <a:pt x="113" y="84"/>
                      <a:pt x="113" y="84"/>
                      <a:pt x="113" y="84"/>
                    </a:cubicBezTo>
                    <a:cubicBezTo>
                      <a:pt x="114" y="84"/>
                      <a:pt x="114" y="84"/>
                      <a:pt x="114" y="84"/>
                    </a:cubicBezTo>
                    <a:cubicBezTo>
                      <a:pt x="115" y="84"/>
                      <a:pt x="115" y="84"/>
                      <a:pt x="115" y="84"/>
                    </a:cubicBezTo>
                    <a:cubicBezTo>
                      <a:pt x="115" y="84"/>
                      <a:pt x="116" y="83"/>
                      <a:pt x="117" y="82"/>
                    </a:cubicBezTo>
                    <a:cubicBezTo>
                      <a:pt x="118" y="82"/>
                      <a:pt x="118" y="82"/>
                      <a:pt x="118" y="82"/>
                    </a:cubicBezTo>
                    <a:cubicBezTo>
                      <a:pt x="119" y="81"/>
                      <a:pt x="121" y="80"/>
                      <a:pt x="123" y="79"/>
                    </a:cubicBezTo>
                    <a:cubicBezTo>
                      <a:pt x="124" y="79"/>
                      <a:pt x="124" y="79"/>
                      <a:pt x="124" y="79"/>
                    </a:cubicBezTo>
                    <a:cubicBezTo>
                      <a:pt x="124" y="78"/>
                      <a:pt x="125" y="78"/>
                      <a:pt x="125" y="78"/>
                    </a:cubicBezTo>
                    <a:cubicBezTo>
                      <a:pt x="126" y="75"/>
                      <a:pt x="127" y="72"/>
                      <a:pt x="128" y="69"/>
                    </a:cubicBezTo>
                    <a:cubicBezTo>
                      <a:pt x="131" y="62"/>
                      <a:pt x="131" y="62"/>
                      <a:pt x="131" y="62"/>
                    </a:cubicBezTo>
                    <a:cubicBezTo>
                      <a:pt x="132" y="59"/>
                      <a:pt x="133" y="57"/>
                      <a:pt x="136" y="55"/>
                    </a:cubicBezTo>
                    <a:cubicBezTo>
                      <a:pt x="137" y="54"/>
                      <a:pt x="138" y="54"/>
                      <a:pt x="139" y="53"/>
                    </a:cubicBezTo>
                    <a:cubicBezTo>
                      <a:pt x="141" y="52"/>
                      <a:pt x="141" y="52"/>
                      <a:pt x="141" y="52"/>
                    </a:cubicBezTo>
                    <a:cubicBezTo>
                      <a:pt x="142" y="52"/>
                      <a:pt x="143" y="51"/>
                      <a:pt x="144" y="51"/>
                    </a:cubicBezTo>
                    <a:cubicBezTo>
                      <a:pt x="142" y="47"/>
                      <a:pt x="142" y="47"/>
                      <a:pt x="142" y="47"/>
                    </a:cubicBezTo>
                    <a:cubicBezTo>
                      <a:pt x="145" y="50"/>
                      <a:pt x="145" y="50"/>
                      <a:pt x="145" y="50"/>
                    </a:cubicBezTo>
                    <a:cubicBezTo>
                      <a:pt x="148" y="48"/>
                      <a:pt x="151" y="46"/>
                      <a:pt x="154" y="45"/>
                    </a:cubicBezTo>
                    <a:cubicBezTo>
                      <a:pt x="155" y="44"/>
                      <a:pt x="155" y="44"/>
                      <a:pt x="155" y="44"/>
                    </a:cubicBezTo>
                    <a:cubicBezTo>
                      <a:pt x="154" y="44"/>
                      <a:pt x="153" y="44"/>
                      <a:pt x="152" y="43"/>
                    </a:cubicBezTo>
                    <a:cubicBezTo>
                      <a:pt x="150" y="40"/>
                      <a:pt x="152" y="36"/>
                      <a:pt x="153" y="34"/>
                    </a:cubicBezTo>
                    <a:cubicBezTo>
                      <a:pt x="154" y="32"/>
                      <a:pt x="154" y="32"/>
                      <a:pt x="154" y="32"/>
                    </a:cubicBezTo>
                    <a:cubicBezTo>
                      <a:pt x="154" y="31"/>
                      <a:pt x="154" y="30"/>
                      <a:pt x="155" y="29"/>
                    </a:cubicBezTo>
                    <a:cubicBezTo>
                      <a:pt x="154" y="29"/>
                      <a:pt x="154" y="29"/>
                      <a:pt x="154" y="29"/>
                    </a:cubicBezTo>
                    <a:cubicBezTo>
                      <a:pt x="152" y="28"/>
                      <a:pt x="150" y="27"/>
                      <a:pt x="148" y="26"/>
                    </a:cubicBezTo>
                    <a:cubicBezTo>
                      <a:pt x="148" y="25"/>
                      <a:pt x="148" y="25"/>
                      <a:pt x="148" y="25"/>
                    </a:cubicBezTo>
                    <a:cubicBezTo>
                      <a:pt x="147" y="24"/>
                      <a:pt x="146" y="23"/>
                      <a:pt x="145" y="23"/>
                    </a:cubicBezTo>
                    <a:cubicBezTo>
                      <a:pt x="142" y="20"/>
                      <a:pt x="142" y="20"/>
                      <a:pt x="142" y="20"/>
                    </a:cubicBezTo>
                    <a:cubicBezTo>
                      <a:pt x="140" y="19"/>
                      <a:pt x="139" y="18"/>
                      <a:pt x="138" y="18"/>
                    </a:cubicBezTo>
                    <a:cubicBezTo>
                      <a:pt x="137" y="17"/>
                      <a:pt x="136" y="16"/>
                      <a:pt x="135" y="15"/>
                    </a:cubicBezTo>
                    <a:cubicBezTo>
                      <a:pt x="134" y="15"/>
                      <a:pt x="133" y="14"/>
                      <a:pt x="133" y="13"/>
                    </a:cubicBezTo>
                    <a:cubicBezTo>
                      <a:pt x="131" y="12"/>
                      <a:pt x="130" y="11"/>
                      <a:pt x="129" y="11"/>
                    </a:cubicBezTo>
                    <a:cubicBezTo>
                      <a:pt x="128" y="11"/>
                      <a:pt x="128" y="10"/>
                      <a:pt x="127" y="10"/>
                    </a:cubicBezTo>
                    <a:cubicBezTo>
                      <a:pt x="125" y="10"/>
                      <a:pt x="125" y="10"/>
                      <a:pt x="125" y="10"/>
                    </a:cubicBezTo>
                    <a:cubicBezTo>
                      <a:pt x="125" y="10"/>
                      <a:pt x="125" y="10"/>
                      <a:pt x="125" y="10"/>
                    </a:cubicBezTo>
                    <a:cubicBezTo>
                      <a:pt x="124" y="10"/>
                      <a:pt x="122" y="10"/>
                      <a:pt x="120" y="10"/>
                    </a:cubicBezTo>
                    <a:cubicBezTo>
                      <a:pt x="119" y="10"/>
                      <a:pt x="119" y="10"/>
                      <a:pt x="119" y="10"/>
                    </a:cubicBezTo>
                    <a:cubicBezTo>
                      <a:pt x="116" y="9"/>
                      <a:pt x="113" y="8"/>
                      <a:pt x="111" y="4"/>
                    </a:cubicBezTo>
                    <a:cubicBezTo>
                      <a:pt x="109" y="1"/>
                      <a:pt x="109" y="1"/>
                      <a:pt x="109" y="1"/>
                    </a:cubicBezTo>
                    <a:cubicBezTo>
                      <a:pt x="109" y="1"/>
                      <a:pt x="109" y="0"/>
                      <a:pt x="10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91" name="Freeform 319">
                <a:extLst>
                  <a:ext uri="{FF2B5EF4-FFF2-40B4-BE49-F238E27FC236}">
                    <a16:creationId xmlns:a16="http://schemas.microsoft.com/office/drawing/2014/main" id="{88C946E0-6855-4207-909E-C5C6192F7B7A}"/>
                  </a:ext>
                </a:extLst>
              </p:cNvPr>
              <p:cNvSpPr>
                <a:spLocks/>
              </p:cNvSpPr>
              <p:nvPr/>
            </p:nvSpPr>
            <p:spPr bwMode="auto">
              <a:xfrm>
                <a:off x="6132033" y="3338716"/>
                <a:ext cx="269013" cy="117924"/>
              </a:xfrm>
              <a:custGeom>
                <a:avLst/>
                <a:gdLst>
                  <a:gd name="T0" fmla="*/ 37 w 85"/>
                  <a:gd name="T1" fmla="*/ 0 h 37"/>
                  <a:gd name="T2" fmla="*/ 35 w 85"/>
                  <a:gd name="T3" fmla="*/ 3 h 37"/>
                  <a:gd name="T4" fmla="*/ 11 w 85"/>
                  <a:gd name="T5" fmla="*/ 16 h 37"/>
                  <a:gd name="T6" fmla="*/ 7 w 85"/>
                  <a:gd name="T7" fmla="*/ 25 h 37"/>
                  <a:gd name="T8" fmla="*/ 0 w 85"/>
                  <a:gd name="T9" fmla="*/ 34 h 37"/>
                  <a:gd name="T10" fmla="*/ 1 w 85"/>
                  <a:gd name="T11" fmla="*/ 34 h 37"/>
                  <a:gd name="T12" fmla="*/ 8 w 85"/>
                  <a:gd name="T13" fmla="*/ 26 h 37"/>
                  <a:gd name="T14" fmla="*/ 9 w 85"/>
                  <a:gd name="T15" fmla="*/ 26 h 37"/>
                  <a:gd name="T16" fmla="*/ 10 w 85"/>
                  <a:gd name="T17" fmla="*/ 26 h 37"/>
                  <a:gd name="T18" fmla="*/ 10 w 85"/>
                  <a:gd name="T19" fmla="*/ 27 h 37"/>
                  <a:gd name="T20" fmla="*/ 10 w 85"/>
                  <a:gd name="T21" fmla="*/ 27 h 37"/>
                  <a:gd name="T22" fmla="*/ 13 w 85"/>
                  <a:gd name="T23" fmla="*/ 26 h 37"/>
                  <a:gd name="T24" fmla="*/ 14 w 85"/>
                  <a:gd name="T25" fmla="*/ 26 h 37"/>
                  <a:gd name="T26" fmla="*/ 20 w 85"/>
                  <a:gd name="T27" fmla="*/ 27 h 37"/>
                  <a:gd name="T28" fmla="*/ 8 w 85"/>
                  <a:gd name="T29" fmla="*/ 34 h 37"/>
                  <a:gd name="T30" fmla="*/ 61 w 85"/>
                  <a:gd name="T31" fmla="*/ 37 h 37"/>
                  <a:gd name="T32" fmla="*/ 84 w 85"/>
                  <a:gd name="T33" fmla="*/ 36 h 37"/>
                  <a:gd name="T34" fmla="*/ 83 w 85"/>
                  <a:gd name="T35" fmla="*/ 27 h 37"/>
                  <a:gd name="T36" fmla="*/ 85 w 85"/>
                  <a:gd name="T37" fmla="*/ 22 h 37"/>
                  <a:gd name="T38" fmla="*/ 83 w 85"/>
                  <a:gd name="T39" fmla="*/ 20 h 37"/>
                  <a:gd name="T40" fmla="*/ 82 w 85"/>
                  <a:gd name="T41" fmla="*/ 19 h 37"/>
                  <a:gd name="T42" fmla="*/ 82 w 85"/>
                  <a:gd name="T43" fmla="*/ 18 h 37"/>
                  <a:gd name="T44" fmla="*/ 81 w 85"/>
                  <a:gd name="T45" fmla="*/ 17 h 37"/>
                  <a:gd name="T46" fmla="*/ 80 w 85"/>
                  <a:gd name="T47" fmla="*/ 15 h 37"/>
                  <a:gd name="T48" fmla="*/ 79 w 85"/>
                  <a:gd name="T49" fmla="*/ 15 h 37"/>
                  <a:gd name="T50" fmla="*/ 78 w 85"/>
                  <a:gd name="T51" fmla="*/ 15 h 37"/>
                  <a:gd name="T52" fmla="*/ 74 w 85"/>
                  <a:gd name="T53" fmla="*/ 16 h 37"/>
                  <a:gd name="T54" fmla="*/ 72 w 85"/>
                  <a:gd name="T55" fmla="*/ 16 h 37"/>
                  <a:gd name="T56" fmla="*/ 73 w 85"/>
                  <a:gd name="T57" fmla="*/ 23 h 37"/>
                  <a:gd name="T58" fmla="*/ 70 w 85"/>
                  <a:gd name="T59" fmla="*/ 16 h 37"/>
                  <a:gd name="T60" fmla="*/ 68 w 85"/>
                  <a:gd name="T61" fmla="*/ 16 h 37"/>
                  <a:gd name="T62" fmla="*/ 64 w 85"/>
                  <a:gd name="T63" fmla="*/ 15 h 37"/>
                  <a:gd name="T64" fmla="*/ 45 w 85"/>
                  <a:gd name="T65" fmla="*/ 8 h 37"/>
                  <a:gd name="T66" fmla="*/ 44 w 85"/>
                  <a:gd name="T67" fmla="*/ 8 h 37"/>
                  <a:gd name="T68" fmla="*/ 43 w 85"/>
                  <a:gd name="T69" fmla="*/ 13 h 37"/>
                  <a:gd name="T70" fmla="*/ 36 w 85"/>
                  <a:gd name="T71" fmla="*/ 17 h 37"/>
                  <a:gd name="T72" fmla="*/ 32 w 85"/>
                  <a:gd name="T73" fmla="*/ 18 h 37"/>
                  <a:gd name="T74" fmla="*/ 24 w 85"/>
                  <a:gd name="T75" fmla="*/ 16 h 37"/>
                  <a:gd name="T76" fmla="*/ 37 w 85"/>
                  <a:gd name="T77" fmla="*/ 3 h 37"/>
                  <a:gd name="T78" fmla="*/ 37 w 85"/>
                  <a:gd name="T7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37">
                    <a:moveTo>
                      <a:pt x="37" y="0"/>
                    </a:moveTo>
                    <a:cubicBezTo>
                      <a:pt x="37" y="1"/>
                      <a:pt x="36" y="2"/>
                      <a:pt x="35" y="3"/>
                    </a:cubicBezTo>
                    <a:cubicBezTo>
                      <a:pt x="28" y="8"/>
                      <a:pt x="20" y="16"/>
                      <a:pt x="11" y="16"/>
                    </a:cubicBezTo>
                    <a:cubicBezTo>
                      <a:pt x="4" y="17"/>
                      <a:pt x="8" y="21"/>
                      <a:pt x="7" y="25"/>
                    </a:cubicBezTo>
                    <a:cubicBezTo>
                      <a:pt x="6" y="28"/>
                      <a:pt x="2" y="31"/>
                      <a:pt x="0" y="34"/>
                    </a:cubicBezTo>
                    <a:cubicBezTo>
                      <a:pt x="1" y="34"/>
                      <a:pt x="1" y="34"/>
                      <a:pt x="1" y="34"/>
                    </a:cubicBezTo>
                    <a:cubicBezTo>
                      <a:pt x="4" y="31"/>
                      <a:pt x="6" y="27"/>
                      <a:pt x="8" y="26"/>
                    </a:cubicBezTo>
                    <a:cubicBezTo>
                      <a:pt x="8" y="26"/>
                      <a:pt x="9" y="26"/>
                      <a:pt x="9" y="26"/>
                    </a:cubicBezTo>
                    <a:cubicBezTo>
                      <a:pt x="9" y="26"/>
                      <a:pt x="9" y="26"/>
                      <a:pt x="10" y="26"/>
                    </a:cubicBezTo>
                    <a:cubicBezTo>
                      <a:pt x="10" y="27"/>
                      <a:pt x="10" y="27"/>
                      <a:pt x="10" y="27"/>
                    </a:cubicBezTo>
                    <a:cubicBezTo>
                      <a:pt x="10" y="27"/>
                      <a:pt x="10" y="27"/>
                      <a:pt x="10" y="27"/>
                    </a:cubicBezTo>
                    <a:cubicBezTo>
                      <a:pt x="11" y="27"/>
                      <a:pt x="12" y="26"/>
                      <a:pt x="13" y="26"/>
                    </a:cubicBezTo>
                    <a:cubicBezTo>
                      <a:pt x="14" y="26"/>
                      <a:pt x="14" y="26"/>
                      <a:pt x="14" y="26"/>
                    </a:cubicBezTo>
                    <a:cubicBezTo>
                      <a:pt x="16" y="27"/>
                      <a:pt x="18" y="27"/>
                      <a:pt x="20" y="27"/>
                    </a:cubicBezTo>
                    <a:cubicBezTo>
                      <a:pt x="16" y="29"/>
                      <a:pt x="12" y="32"/>
                      <a:pt x="8" y="34"/>
                    </a:cubicBezTo>
                    <a:cubicBezTo>
                      <a:pt x="26" y="36"/>
                      <a:pt x="44" y="37"/>
                      <a:pt x="61" y="37"/>
                    </a:cubicBezTo>
                    <a:cubicBezTo>
                      <a:pt x="69" y="37"/>
                      <a:pt x="77" y="37"/>
                      <a:pt x="84" y="36"/>
                    </a:cubicBezTo>
                    <a:cubicBezTo>
                      <a:pt x="83" y="27"/>
                      <a:pt x="83" y="27"/>
                      <a:pt x="83" y="27"/>
                    </a:cubicBezTo>
                    <a:cubicBezTo>
                      <a:pt x="83" y="25"/>
                      <a:pt x="84" y="24"/>
                      <a:pt x="85" y="22"/>
                    </a:cubicBezTo>
                    <a:cubicBezTo>
                      <a:pt x="83" y="20"/>
                      <a:pt x="83" y="20"/>
                      <a:pt x="83" y="20"/>
                    </a:cubicBezTo>
                    <a:cubicBezTo>
                      <a:pt x="82" y="19"/>
                      <a:pt x="82" y="19"/>
                      <a:pt x="82" y="19"/>
                    </a:cubicBezTo>
                    <a:cubicBezTo>
                      <a:pt x="82" y="18"/>
                      <a:pt x="82" y="18"/>
                      <a:pt x="82" y="18"/>
                    </a:cubicBezTo>
                    <a:cubicBezTo>
                      <a:pt x="81" y="17"/>
                      <a:pt x="81" y="17"/>
                      <a:pt x="81" y="17"/>
                    </a:cubicBezTo>
                    <a:cubicBezTo>
                      <a:pt x="80" y="16"/>
                      <a:pt x="80" y="16"/>
                      <a:pt x="80" y="15"/>
                    </a:cubicBezTo>
                    <a:cubicBezTo>
                      <a:pt x="79" y="15"/>
                      <a:pt x="79" y="15"/>
                      <a:pt x="79" y="15"/>
                    </a:cubicBezTo>
                    <a:cubicBezTo>
                      <a:pt x="78" y="15"/>
                      <a:pt x="78" y="15"/>
                      <a:pt x="78" y="15"/>
                    </a:cubicBezTo>
                    <a:cubicBezTo>
                      <a:pt x="77" y="15"/>
                      <a:pt x="75" y="15"/>
                      <a:pt x="74" y="16"/>
                    </a:cubicBezTo>
                    <a:cubicBezTo>
                      <a:pt x="73" y="16"/>
                      <a:pt x="72" y="16"/>
                      <a:pt x="72" y="16"/>
                    </a:cubicBezTo>
                    <a:cubicBezTo>
                      <a:pt x="73" y="23"/>
                      <a:pt x="73" y="23"/>
                      <a:pt x="73" y="23"/>
                    </a:cubicBezTo>
                    <a:cubicBezTo>
                      <a:pt x="70" y="16"/>
                      <a:pt x="70" y="16"/>
                      <a:pt x="70" y="16"/>
                    </a:cubicBezTo>
                    <a:cubicBezTo>
                      <a:pt x="69" y="16"/>
                      <a:pt x="69" y="16"/>
                      <a:pt x="68" y="16"/>
                    </a:cubicBezTo>
                    <a:cubicBezTo>
                      <a:pt x="66" y="16"/>
                      <a:pt x="65" y="16"/>
                      <a:pt x="64" y="15"/>
                    </a:cubicBezTo>
                    <a:cubicBezTo>
                      <a:pt x="59" y="14"/>
                      <a:pt x="50" y="11"/>
                      <a:pt x="45" y="8"/>
                    </a:cubicBezTo>
                    <a:cubicBezTo>
                      <a:pt x="45" y="8"/>
                      <a:pt x="45" y="8"/>
                      <a:pt x="44" y="8"/>
                    </a:cubicBezTo>
                    <a:cubicBezTo>
                      <a:pt x="44" y="10"/>
                      <a:pt x="43" y="11"/>
                      <a:pt x="43" y="13"/>
                    </a:cubicBezTo>
                    <a:cubicBezTo>
                      <a:pt x="43" y="14"/>
                      <a:pt x="38" y="16"/>
                      <a:pt x="36" y="17"/>
                    </a:cubicBezTo>
                    <a:cubicBezTo>
                      <a:pt x="35" y="18"/>
                      <a:pt x="34" y="18"/>
                      <a:pt x="32" y="18"/>
                    </a:cubicBezTo>
                    <a:cubicBezTo>
                      <a:pt x="30" y="18"/>
                      <a:pt x="27" y="17"/>
                      <a:pt x="24" y="16"/>
                    </a:cubicBezTo>
                    <a:cubicBezTo>
                      <a:pt x="27" y="11"/>
                      <a:pt x="33" y="7"/>
                      <a:pt x="37" y="3"/>
                    </a:cubicBezTo>
                    <a:cubicBezTo>
                      <a:pt x="37" y="2"/>
                      <a:pt x="37" y="1"/>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92" name="Rectangle 320">
                <a:extLst>
                  <a:ext uri="{FF2B5EF4-FFF2-40B4-BE49-F238E27FC236}">
                    <a16:creationId xmlns:a16="http://schemas.microsoft.com/office/drawing/2014/main" id="{FED3901E-1E2A-4338-AA6D-62BCFB9898BB}"/>
                  </a:ext>
                </a:extLst>
              </p:cNvPr>
              <p:cNvSpPr>
                <a:spLocks noChangeArrowheads="1"/>
              </p:cNvSpPr>
              <p:nvPr/>
            </p:nvSpPr>
            <p:spPr bwMode="auto">
              <a:xfrm>
                <a:off x="6401046" y="3456639"/>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93" name="Freeform 321">
                <a:extLst>
                  <a:ext uri="{FF2B5EF4-FFF2-40B4-BE49-F238E27FC236}">
                    <a16:creationId xmlns:a16="http://schemas.microsoft.com/office/drawing/2014/main" id="{69318DD3-096F-4D4C-8B00-991837DDFBE7}"/>
                  </a:ext>
                </a:extLst>
              </p:cNvPr>
              <p:cNvSpPr>
                <a:spLocks/>
              </p:cNvSpPr>
              <p:nvPr/>
            </p:nvSpPr>
            <p:spPr bwMode="auto">
              <a:xfrm>
                <a:off x="6401046" y="345663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94" name="Freeform 322">
                <a:extLst>
                  <a:ext uri="{FF2B5EF4-FFF2-40B4-BE49-F238E27FC236}">
                    <a16:creationId xmlns:a16="http://schemas.microsoft.com/office/drawing/2014/main" id="{4F1854D7-1B70-4BA3-B596-4B79277BE9F9}"/>
                  </a:ext>
                </a:extLst>
              </p:cNvPr>
              <p:cNvSpPr>
                <a:spLocks/>
              </p:cNvSpPr>
              <p:nvPr/>
            </p:nvSpPr>
            <p:spPr bwMode="auto">
              <a:xfrm>
                <a:off x="6128348" y="3449269"/>
                <a:ext cx="0" cy="3685"/>
              </a:xfrm>
              <a:custGeom>
                <a:avLst/>
                <a:gdLst>
                  <a:gd name="T0" fmla="*/ 1 w 1"/>
                  <a:gd name="T1" fmla="*/ 0 h 2"/>
                  <a:gd name="T2" fmla="*/ 0 w 1"/>
                  <a:gd name="T3" fmla="*/ 2 h 2"/>
                  <a:gd name="T4" fmla="*/ 1 w 1"/>
                  <a:gd name="T5" fmla="*/ 1 h 2"/>
                  <a:gd name="T6" fmla="*/ 1 w 1"/>
                  <a:gd name="T7" fmla="*/ 0 h 2"/>
                </a:gdLst>
                <a:ahLst/>
                <a:cxnLst>
                  <a:cxn ang="0">
                    <a:pos x="T0" y="T1"/>
                  </a:cxn>
                  <a:cxn ang="0">
                    <a:pos x="T2" y="T3"/>
                  </a:cxn>
                  <a:cxn ang="0">
                    <a:pos x="T4" y="T5"/>
                  </a:cxn>
                  <a:cxn ang="0">
                    <a:pos x="T6" y="T7"/>
                  </a:cxn>
                </a:cxnLst>
                <a:rect l="0" t="0" r="r" b="b"/>
                <a:pathLst>
                  <a:path w="1" h="2">
                    <a:moveTo>
                      <a:pt x="1" y="0"/>
                    </a:moveTo>
                    <a:cubicBezTo>
                      <a:pt x="1" y="1"/>
                      <a:pt x="0" y="1"/>
                      <a:pt x="0" y="2"/>
                    </a:cubicBezTo>
                    <a:cubicBezTo>
                      <a:pt x="1" y="1"/>
                      <a:pt x="1" y="1"/>
                      <a:pt x="1" y="1"/>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95" name="Freeform 323">
                <a:extLst>
                  <a:ext uri="{FF2B5EF4-FFF2-40B4-BE49-F238E27FC236}">
                    <a16:creationId xmlns:a16="http://schemas.microsoft.com/office/drawing/2014/main" id="{B1BB7993-3009-481D-87A3-209426B89BA4}"/>
                  </a:ext>
                </a:extLst>
              </p:cNvPr>
              <p:cNvSpPr>
                <a:spLocks/>
              </p:cNvSpPr>
              <p:nvPr/>
            </p:nvSpPr>
            <p:spPr bwMode="auto">
              <a:xfrm>
                <a:off x="6242586" y="3007055"/>
                <a:ext cx="648580" cy="280069"/>
              </a:xfrm>
              <a:custGeom>
                <a:avLst/>
                <a:gdLst>
                  <a:gd name="T0" fmla="*/ 115 w 204"/>
                  <a:gd name="T1" fmla="*/ 1 h 89"/>
                  <a:gd name="T2" fmla="*/ 96 w 204"/>
                  <a:gd name="T3" fmla="*/ 7 h 89"/>
                  <a:gd name="T4" fmla="*/ 91 w 204"/>
                  <a:gd name="T5" fmla="*/ 35 h 89"/>
                  <a:gd name="T6" fmla="*/ 64 w 204"/>
                  <a:gd name="T7" fmla="*/ 27 h 89"/>
                  <a:gd name="T8" fmla="*/ 44 w 204"/>
                  <a:gd name="T9" fmla="*/ 11 h 89"/>
                  <a:gd name="T10" fmla="*/ 16 w 204"/>
                  <a:gd name="T11" fmla="*/ 24 h 89"/>
                  <a:gd name="T12" fmla="*/ 3 w 204"/>
                  <a:gd name="T13" fmla="*/ 64 h 89"/>
                  <a:gd name="T14" fmla="*/ 3 w 204"/>
                  <a:gd name="T15" fmla="*/ 73 h 89"/>
                  <a:gd name="T16" fmla="*/ 9 w 204"/>
                  <a:gd name="T17" fmla="*/ 69 h 89"/>
                  <a:gd name="T18" fmla="*/ 37 w 204"/>
                  <a:gd name="T19" fmla="*/ 60 h 89"/>
                  <a:gd name="T20" fmla="*/ 46 w 204"/>
                  <a:gd name="T21" fmla="*/ 60 h 89"/>
                  <a:gd name="T22" fmla="*/ 51 w 204"/>
                  <a:gd name="T23" fmla="*/ 61 h 89"/>
                  <a:gd name="T24" fmla="*/ 57 w 204"/>
                  <a:gd name="T25" fmla="*/ 60 h 89"/>
                  <a:gd name="T26" fmla="*/ 62 w 204"/>
                  <a:gd name="T27" fmla="*/ 62 h 89"/>
                  <a:gd name="T28" fmla="*/ 66 w 204"/>
                  <a:gd name="T29" fmla="*/ 61 h 89"/>
                  <a:gd name="T30" fmla="*/ 77 w 204"/>
                  <a:gd name="T31" fmla="*/ 62 h 89"/>
                  <a:gd name="T32" fmla="*/ 82 w 204"/>
                  <a:gd name="T33" fmla="*/ 62 h 89"/>
                  <a:gd name="T34" fmla="*/ 92 w 204"/>
                  <a:gd name="T35" fmla="*/ 65 h 89"/>
                  <a:gd name="T36" fmla="*/ 97 w 204"/>
                  <a:gd name="T37" fmla="*/ 64 h 89"/>
                  <a:gd name="T38" fmla="*/ 101 w 204"/>
                  <a:gd name="T39" fmla="*/ 64 h 89"/>
                  <a:gd name="T40" fmla="*/ 102 w 204"/>
                  <a:gd name="T41" fmla="*/ 64 h 89"/>
                  <a:gd name="T42" fmla="*/ 110 w 204"/>
                  <a:gd name="T43" fmla="*/ 59 h 89"/>
                  <a:gd name="T44" fmla="*/ 114 w 204"/>
                  <a:gd name="T45" fmla="*/ 57 h 89"/>
                  <a:gd name="T46" fmla="*/ 118 w 204"/>
                  <a:gd name="T47" fmla="*/ 64 h 89"/>
                  <a:gd name="T48" fmla="*/ 125 w 204"/>
                  <a:gd name="T49" fmla="*/ 69 h 89"/>
                  <a:gd name="T50" fmla="*/ 134 w 204"/>
                  <a:gd name="T51" fmla="*/ 70 h 89"/>
                  <a:gd name="T52" fmla="*/ 142 w 204"/>
                  <a:gd name="T53" fmla="*/ 76 h 89"/>
                  <a:gd name="T54" fmla="*/ 151 w 204"/>
                  <a:gd name="T55" fmla="*/ 82 h 89"/>
                  <a:gd name="T56" fmla="*/ 156 w 204"/>
                  <a:gd name="T57" fmla="*/ 86 h 89"/>
                  <a:gd name="T58" fmla="*/ 161 w 204"/>
                  <a:gd name="T59" fmla="*/ 89 h 89"/>
                  <a:gd name="T60" fmla="*/ 162 w 204"/>
                  <a:gd name="T61" fmla="*/ 89 h 89"/>
                  <a:gd name="T62" fmla="*/ 165 w 204"/>
                  <a:gd name="T63" fmla="*/ 89 h 89"/>
                  <a:gd name="T64" fmla="*/ 178 w 204"/>
                  <a:gd name="T65" fmla="*/ 83 h 89"/>
                  <a:gd name="T66" fmla="*/ 187 w 204"/>
                  <a:gd name="T67" fmla="*/ 83 h 89"/>
                  <a:gd name="T68" fmla="*/ 192 w 204"/>
                  <a:gd name="T69" fmla="*/ 78 h 89"/>
                  <a:gd name="T70" fmla="*/ 201 w 204"/>
                  <a:gd name="T71" fmla="*/ 71 h 89"/>
                  <a:gd name="T72" fmla="*/ 203 w 204"/>
                  <a:gd name="T73" fmla="*/ 68 h 89"/>
                  <a:gd name="T74" fmla="*/ 203 w 204"/>
                  <a:gd name="T75" fmla="*/ 66 h 89"/>
                  <a:gd name="T76" fmla="*/ 202 w 204"/>
                  <a:gd name="T77" fmla="*/ 63 h 89"/>
                  <a:gd name="T78" fmla="*/ 194 w 204"/>
                  <a:gd name="T79" fmla="*/ 48 h 89"/>
                  <a:gd name="T80" fmla="*/ 183 w 204"/>
                  <a:gd name="T81" fmla="*/ 55 h 89"/>
                  <a:gd name="T82" fmla="*/ 190 w 204"/>
                  <a:gd name="T83" fmla="*/ 38 h 89"/>
                  <a:gd name="T84" fmla="*/ 193 w 204"/>
                  <a:gd name="T85" fmla="*/ 28 h 89"/>
                  <a:gd name="T86" fmla="*/ 188 w 204"/>
                  <a:gd name="T87" fmla="*/ 26 h 89"/>
                  <a:gd name="T88" fmla="*/ 185 w 204"/>
                  <a:gd name="T89" fmla="*/ 24 h 89"/>
                  <a:gd name="T90" fmla="*/ 183 w 204"/>
                  <a:gd name="T91" fmla="*/ 22 h 89"/>
                  <a:gd name="T92" fmla="*/ 176 w 204"/>
                  <a:gd name="T93" fmla="*/ 20 h 89"/>
                  <a:gd name="T94" fmla="*/ 171 w 204"/>
                  <a:gd name="T95" fmla="*/ 18 h 89"/>
                  <a:gd name="T96" fmla="*/ 166 w 204"/>
                  <a:gd name="T97" fmla="*/ 19 h 89"/>
                  <a:gd name="T98" fmla="*/ 156 w 204"/>
                  <a:gd name="T99" fmla="*/ 20 h 89"/>
                  <a:gd name="T100" fmla="*/ 143 w 204"/>
                  <a:gd name="T101" fmla="*/ 9 h 89"/>
                  <a:gd name="T102" fmla="*/ 135 w 204"/>
                  <a:gd name="T103" fmla="*/ 5 h 89"/>
                  <a:gd name="T104" fmla="*/ 130 w 204"/>
                  <a:gd name="T105" fmla="*/ 3 h 89"/>
                  <a:gd name="T106" fmla="*/ 126 w 204"/>
                  <a:gd name="T107" fmla="*/ 1 h 89"/>
                  <a:gd name="T108" fmla="*/ 118 w 204"/>
                  <a:gd name="T10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4" h="89">
                    <a:moveTo>
                      <a:pt x="118" y="0"/>
                    </a:moveTo>
                    <a:cubicBezTo>
                      <a:pt x="118" y="0"/>
                      <a:pt x="118" y="0"/>
                      <a:pt x="118" y="0"/>
                    </a:cubicBezTo>
                    <a:cubicBezTo>
                      <a:pt x="117" y="0"/>
                      <a:pt x="116" y="1"/>
                      <a:pt x="115" y="1"/>
                    </a:cubicBezTo>
                    <a:cubicBezTo>
                      <a:pt x="114" y="1"/>
                      <a:pt x="114" y="1"/>
                      <a:pt x="114" y="1"/>
                    </a:cubicBezTo>
                    <a:cubicBezTo>
                      <a:pt x="112" y="3"/>
                      <a:pt x="110" y="3"/>
                      <a:pt x="107" y="4"/>
                    </a:cubicBezTo>
                    <a:cubicBezTo>
                      <a:pt x="96" y="7"/>
                      <a:pt x="96" y="7"/>
                      <a:pt x="96" y="7"/>
                    </a:cubicBezTo>
                    <a:cubicBezTo>
                      <a:pt x="96" y="9"/>
                      <a:pt x="97" y="11"/>
                      <a:pt x="97" y="14"/>
                    </a:cubicBezTo>
                    <a:cubicBezTo>
                      <a:pt x="98" y="17"/>
                      <a:pt x="100" y="23"/>
                      <a:pt x="99" y="25"/>
                    </a:cubicBezTo>
                    <a:cubicBezTo>
                      <a:pt x="98" y="28"/>
                      <a:pt x="93" y="33"/>
                      <a:pt x="91" y="35"/>
                    </a:cubicBezTo>
                    <a:cubicBezTo>
                      <a:pt x="88" y="39"/>
                      <a:pt x="84" y="40"/>
                      <a:pt x="80" y="40"/>
                    </a:cubicBezTo>
                    <a:cubicBezTo>
                      <a:pt x="76" y="40"/>
                      <a:pt x="73" y="39"/>
                      <a:pt x="71" y="38"/>
                    </a:cubicBezTo>
                    <a:cubicBezTo>
                      <a:pt x="67" y="36"/>
                      <a:pt x="66" y="30"/>
                      <a:pt x="64" y="27"/>
                    </a:cubicBezTo>
                    <a:cubicBezTo>
                      <a:pt x="63" y="25"/>
                      <a:pt x="59" y="23"/>
                      <a:pt x="57" y="21"/>
                    </a:cubicBezTo>
                    <a:cubicBezTo>
                      <a:pt x="55" y="19"/>
                      <a:pt x="51" y="13"/>
                      <a:pt x="47" y="12"/>
                    </a:cubicBezTo>
                    <a:cubicBezTo>
                      <a:pt x="46" y="12"/>
                      <a:pt x="45" y="11"/>
                      <a:pt x="44" y="11"/>
                    </a:cubicBezTo>
                    <a:cubicBezTo>
                      <a:pt x="41" y="11"/>
                      <a:pt x="38" y="12"/>
                      <a:pt x="36" y="12"/>
                    </a:cubicBezTo>
                    <a:cubicBezTo>
                      <a:pt x="32" y="13"/>
                      <a:pt x="26" y="14"/>
                      <a:pt x="23" y="16"/>
                    </a:cubicBezTo>
                    <a:cubicBezTo>
                      <a:pt x="21" y="17"/>
                      <a:pt x="18" y="22"/>
                      <a:pt x="16" y="24"/>
                    </a:cubicBezTo>
                    <a:cubicBezTo>
                      <a:pt x="13" y="29"/>
                      <a:pt x="15" y="32"/>
                      <a:pt x="14" y="37"/>
                    </a:cubicBezTo>
                    <a:cubicBezTo>
                      <a:pt x="13" y="40"/>
                      <a:pt x="9" y="42"/>
                      <a:pt x="7" y="44"/>
                    </a:cubicBezTo>
                    <a:cubicBezTo>
                      <a:pt x="0" y="50"/>
                      <a:pt x="5" y="57"/>
                      <a:pt x="3" y="64"/>
                    </a:cubicBezTo>
                    <a:cubicBezTo>
                      <a:pt x="3" y="63"/>
                      <a:pt x="3" y="61"/>
                      <a:pt x="3" y="61"/>
                    </a:cubicBezTo>
                    <a:cubicBezTo>
                      <a:pt x="2" y="61"/>
                      <a:pt x="2" y="61"/>
                      <a:pt x="2" y="61"/>
                    </a:cubicBezTo>
                    <a:cubicBezTo>
                      <a:pt x="2" y="66"/>
                      <a:pt x="2" y="69"/>
                      <a:pt x="3" y="73"/>
                    </a:cubicBezTo>
                    <a:cubicBezTo>
                      <a:pt x="4" y="73"/>
                      <a:pt x="5" y="72"/>
                      <a:pt x="5" y="72"/>
                    </a:cubicBezTo>
                    <a:cubicBezTo>
                      <a:pt x="6" y="71"/>
                      <a:pt x="6" y="71"/>
                      <a:pt x="7" y="71"/>
                    </a:cubicBezTo>
                    <a:cubicBezTo>
                      <a:pt x="7" y="70"/>
                      <a:pt x="8" y="69"/>
                      <a:pt x="9" y="69"/>
                    </a:cubicBezTo>
                    <a:cubicBezTo>
                      <a:pt x="11" y="68"/>
                      <a:pt x="11" y="68"/>
                      <a:pt x="11" y="68"/>
                    </a:cubicBezTo>
                    <a:cubicBezTo>
                      <a:pt x="12" y="67"/>
                      <a:pt x="14" y="66"/>
                      <a:pt x="15" y="65"/>
                    </a:cubicBezTo>
                    <a:cubicBezTo>
                      <a:pt x="22" y="63"/>
                      <a:pt x="29" y="60"/>
                      <a:pt x="37" y="60"/>
                    </a:cubicBezTo>
                    <a:cubicBezTo>
                      <a:pt x="38" y="60"/>
                      <a:pt x="38" y="60"/>
                      <a:pt x="38" y="60"/>
                    </a:cubicBezTo>
                    <a:cubicBezTo>
                      <a:pt x="39" y="60"/>
                      <a:pt x="39" y="60"/>
                      <a:pt x="39" y="60"/>
                    </a:cubicBezTo>
                    <a:cubicBezTo>
                      <a:pt x="42" y="60"/>
                      <a:pt x="44" y="60"/>
                      <a:pt x="46" y="60"/>
                    </a:cubicBezTo>
                    <a:cubicBezTo>
                      <a:pt x="47" y="60"/>
                      <a:pt x="47" y="60"/>
                      <a:pt x="47" y="60"/>
                    </a:cubicBezTo>
                    <a:cubicBezTo>
                      <a:pt x="49" y="60"/>
                      <a:pt x="50" y="61"/>
                      <a:pt x="51" y="61"/>
                    </a:cubicBezTo>
                    <a:cubicBezTo>
                      <a:pt x="51" y="61"/>
                      <a:pt x="51" y="61"/>
                      <a:pt x="51" y="61"/>
                    </a:cubicBezTo>
                    <a:cubicBezTo>
                      <a:pt x="51" y="61"/>
                      <a:pt x="51" y="61"/>
                      <a:pt x="51" y="61"/>
                    </a:cubicBezTo>
                    <a:cubicBezTo>
                      <a:pt x="52" y="61"/>
                      <a:pt x="53" y="61"/>
                      <a:pt x="54" y="61"/>
                    </a:cubicBezTo>
                    <a:cubicBezTo>
                      <a:pt x="55" y="60"/>
                      <a:pt x="56" y="60"/>
                      <a:pt x="57" y="60"/>
                    </a:cubicBezTo>
                    <a:cubicBezTo>
                      <a:pt x="57" y="60"/>
                      <a:pt x="57" y="60"/>
                      <a:pt x="58" y="60"/>
                    </a:cubicBezTo>
                    <a:cubicBezTo>
                      <a:pt x="58" y="60"/>
                      <a:pt x="58" y="60"/>
                      <a:pt x="58" y="60"/>
                    </a:cubicBezTo>
                    <a:cubicBezTo>
                      <a:pt x="59" y="60"/>
                      <a:pt x="61" y="61"/>
                      <a:pt x="62" y="62"/>
                    </a:cubicBezTo>
                    <a:cubicBezTo>
                      <a:pt x="62" y="62"/>
                      <a:pt x="62" y="62"/>
                      <a:pt x="62" y="62"/>
                    </a:cubicBezTo>
                    <a:cubicBezTo>
                      <a:pt x="63" y="62"/>
                      <a:pt x="63" y="62"/>
                      <a:pt x="63" y="62"/>
                    </a:cubicBezTo>
                    <a:cubicBezTo>
                      <a:pt x="64" y="62"/>
                      <a:pt x="65" y="61"/>
                      <a:pt x="66" y="61"/>
                    </a:cubicBezTo>
                    <a:cubicBezTo>
                      <a:pt x="66" y="61"/>
                      <a:pt x="67" y="61"/>
                      <a:pt x="67" y="61"/>
                    </a:cubicBezTo>
                    <a:cubicBezTo>
                      <a:pt x="69" y="62"/>
                      <a:pt x="72" y="62"/>
                      <a:pt x="74" y="62"/>
                    </a:cubicBezTo>
                    <a:cubicBezTo>
                      <a:pt x="77" y="62"/>
                      <a:pt x="77" y="62"/>
                      <a:pt x="77" y="62"/>
                    </a:cubicBezTo>
                    <a:cubicBezTo>
                      <a:pt x="77" y="62"/>
                      <a:pt x="77" y="62"/>
                      <a:pt x="77" y="62"/>
                    </a:cubicBezTo>
                    <a:cubicBezTo>
                      <a:pt x="78" y="62"/>
                      <a:pt x="80" y="62"/>
                      <a:pt x="81" y="62"/>
                    </a:cubicBezTo>
                    <a:cubicBezTo>
                      <a:pt x="82" y="62"/>
                      <a:pt x="82" y="62"/>
                      <a:pt x="82" y="62"/>
                    </a:cubicBezTo>
                    <a:cubicBezTo>
                      <a:pt x="83" y="62"/>
                      <a:pt x="84" y="62"/>
                      <a:pt x="84" y="63"/>
                    </a:cubicBezTo>
                    <a:cubicBezTo>
                      <a:pt x="86" y="63"/>
                      <a:pt x="87" y="63"/>
                      <a:pt x="89" y="64"/>
                    </a:cubicBezTo>
                    <a:cubicBezTo>
                      <a:pt x="91" y="65"/>
                      <a:pt x="91" y="65"/>
                      <a:pt x="92" y="65"/>
                    </a:cubicBezTo>
                    <a:cubicBezTo>
                      <a:pt x="92" y="65"/>
                      <a:pt x="92" y="65"/>
                      <a:pt x="92" y="65"/>
                    </a:cubicBezTo>
                    <a:cubicBezTo>
                      <a:pt x="93" y="65"/>
                      <a:pt x="94" y="64"/>
                      <a:pt x="95" y="64"/>
                    </a:cubicBezTo>
                    <a:cubicBezTo>
                      <a:pt x="96" y="64"/>
                      <a:pt x="96" y="64"/>
                      <a:pt x="97" y="64"/>
                    </a:cubicBezTo>
                    <a:cubicBezTo>
                      <a:pt x="98" y="64"/>
                      <a:pt x="99" y="64"/>
                      <a:pt x="99" y="64"/>
                    </a:cubicBezTo>
                    <a:cubicBezTo>
                      <a:pt x="100" y="64"/>
                      <a:pt x="100" y="64"/>
                      <a:pt x="100" y="64"/>
                    </a:cubicBezTo>
                    <a:cubicBezTo>
                      <a:pt x="100" y="64"/>
                      <a:pt x="100" y="64"/>
                      <a:pt x="101" y="64"/>
                    </a:cubicBezTo>
                    <a:cubicBezTo>
                      <a:pt x="101" y="64"/>
                      <a:pt x="101" y="64"/>
                      <a:pt x="101" y="64"/>
                    </a:cubicBezTo>
                    <a:cubicBezTo>
                      <a:pt x="101" y="64"/>
                      <a:pt x="101" y="64"/>
                      <a:pt x="101" y="64"/>
                    </a:cubicBezTo>
                    <a:cubicBezTo>
                      <a:pt x="101" y="64"/>
                      <a:pt x="102" y="64"/>
                      <a:pt x="102" y="64"/>
                    </a:cubicBezTo>
                    <a:cubicBezTo>
                      <a:pt x="102" y="64"/>
                      <a:pt x="102" y="64"/>
                      <a:pt x="103" y="63"/>
                    </a:cubicBezTo>
                    <a:cubicBezTo>
                      <a:pt x="104" y="62"/>
                      <a:pt x="105" y="62"/>
                      <a:pt x="106" y="61"/>
                    </a:cubicBezTo>
                    <a:cubicBezTo>
                      <a:pt x="107" y="60"/>
                      <a:pt x="109" y="59"/>
                      <a:pt x="110" y="59"/>
                    </a:cubicBezTo>
                    <a:cubicBezTo>
                      <a:pt x="110" y="59"/>
                      <a:pt x="110" y="59"/>
                      <a:pt x="110" y="59"/>
                    </a:cubicBezTo>
                    <a:cubicBezTo>
                      <a:pt x="111" y="59"/>
                      <a:pt x="111" y="59"/>
                      <a:pt x="111" y="58"/>
                    </a:cubicBezTo>
                    <a:cubicBezTo>
                      <a:pt x="114" y="57"/>
                      <a:pt x="114" y="57"/>
                      <a:pt x="114" y="57"/>
                    </a:cubicBezTo>
                    <a:cubicBezTo>
                      <a:pt x="116" y="60"/>
                      <a:pt x="116" y="60"/>
                      <a:pt x="116" y="60"/>
                    </a:cubicBezTo>
                    <a:cubicBezTo>
                      <a:pt x="116" y="60"/>
                      <a:pt x="116" y="60"/>
                      <a:pt x="116" y="61"/>
                    </a:cubicBezTo>
                    <a:cubicBezTo>
                      <a:pt x="117" y="62"/>
                      <a:pt x="118" y="63"/>
                      <a:pt x="118" y="64"/>
                    </a:cubicBezTo>
                    <a:cubicBezTo>
                      <a:pt x="119" y="66"/>
                      <a:pt x="119" y="66"/>
                      <a:pt x="119" y="66"/>
                    </a:cubicBezTo>
                    <a:cubicBezTo>
                      <a:pt x="121" y="68"/>
                      <a:pt x="121" y="68"/>
                      <a:pt x="124" y="69"/>
                    </a:cubicBezTo>
                    <a:cubicBezTo>
                      <a:pt x="125" y="69"/>
                      <a:pt x="125" y="69"/>
                      <a:pt x="125" y="69"/>
                    </a:cubicBezTo>
                    <a:cubicBezTo>
                      <a:pt x="126" y="69"/>
                      <a:pt x="127" y="69"/>
                      <a:pt x="128" y="69"/>
                    </a:cubicBezTo>
                    <a:cubicBezTo>
                      <a:pt x="130" y="69"/>
                      <a:pt x="130" y="69"/>
                      <a:pt x="130" y="69"/>
                    </a:cubicBezTo>
                    <a:cubicBezTo>
                      <a:pt x="132" y="69"/>
                      <a:pt x="133" y="70"/>
                      <a:pt x="134" y="70"/>
                    </a:cubicBezTo>
                    <a:cubicBezTo>
                      <a:pt x="137" y="71"/>
                      <a:pt x="139" y="73"/>
                      <a:pt x="140" y="74"/>
                    </a:cubicBezTo>
                    <a:cubicBezTo>
                      <a:pt x="141" y="75"/>
                      <a:pt x="141" y="75"/>
                      <a:pt x="141" y="75"/>
                    </a:cubicBezTo>
                    <a:cubicBezTo>
                      <a:pt x="142" y="76"/>
                      <a:pt x="142" y="76"/>
                      <a:pt x="142" y="76"/>
                    </a:cubicBezTo>
                    <a:cubicBezTo>
                      <a:pt x="143" y="76"/>
                      <a:pt x="144" y="77"/>
                      <a:pt x="144" y="78"/>
                    </a:cubicBezTo>
                    <a:cubicBezTo>
                      <a:pt x="146" y="78"/>
                      <a:pt x="148" y="80"/>
                      <a:pt x="149" y="81"/>
                    </a:cubicBezTo>
                    <a:cubicBezTo>
                      <a:pt x="150" y="81"/>
                      <a:pt x="150" y="82"/>
                      <a:pt x="151" y="82"/>
                    </a:cubicBezTo>
                    <a:cubicBezTo>
                      <a:pt x="152" y="84"/>
                      <a:pt x="152" y="84"/>
                      <a:pt x="152" y="84"/>
                    </a:cubicBezTo>
                    <a:cubicBezTo>
                      <a:pt x="153" y="84"/>
                      <a:pt x="154" y="85"/>
                      <a:pt x="155" y="86"/>
                    </a:cubicBezTo>
                    <a:cubicBezTo>
                      <a:pt x="156" y="86"/>
                      <a:pt x="156" y="86"/>
                      <a:pt x="156" y="86"/>
                    </a:cubicBezTo>
                    <a:cubicBezTo>
                      <a:pt x="157" y="87"/>
                      <a:pt x="158" y="88"/>
                      <a:pt x="160" y="89"/>
                    </a:cubicBezTo>
                    <a:cubicBezTo>
                      <a:pt x="160" y="89"/>
                      <a:pt x="160" y="89"/>
                      <a:pt x="160" y="89"/>
                    </a:cubicBezTo>
                    <a:cubicBezTo>
                      <a:pt x="161" y="89"/>
                      <a:pt x="161" y="89"/>
                      <a:pt x="161" y="89"/>
                    </a:cubicBezTo>
                    <a:cubicBezTo>
                      <a:pt x="162" y="89"/>
                      <a:pt x="162" y="89"/>
                      <a:pt x="162" y="89"/>
                    </a:cubicBezTo>
                    <a:cubicBezTo>
                      <a:pt x="162" y="89"/>
                      <a:pt x="162" y="89"/>
                      <a:pt x="162" y="89"/>
                    </a:cubicBezTo>
                    <a:cubicBezTo>
                      <a:pt x="162" y="89"/>
                      <a:pt x="162" y="89"/>
                      <a:pt x="162" y="89"/>
                    </a:cubicBezTo>
                    <a:cubicBezTo>
                      <a:pt x="162" y="89"/>
                      <a:pt x="162" y="89"/>
                      <a:pt x="162" y="89"/>
                    </a:cubicBezTo>
                    <a:cubicBezTo>
                      <a:pt x="163" y="89"/>
                      <a:pt x="164" y="89"/>
                      <a:pt x="164" y="89"/>
                    </a:cubicBezTo>
                    <a:cubicBezTo>
                      <a:pt x="165" y="89"/>
                      <a:pt x="165" y="89"/>
                      <a:pt x="165" y="89"/>
                    </a:cubicBezTo>
                    <a:cubicBezTo>
                      <a:pt x="166" y="88"/>
                      <a:pt x="167" y="87"/>
                      <a:pt x="168" y="86"/>
                    </a:cubicBezTo>
                    <a:cubicBezTo>
                      <a:pt x="169" y="85"/>
                      <a:pt x="171" y="83"/>
                      <a:pt x="175" y="83"/>
                    </a:cubicBezTo>
                    <a:cubicBezTo>
                      <a:pt x="176" y="83"/>
                      <a:pt x="177" y="83"/>
                      <a:pt x="178" y="83"/>
                    </a:cubicBezTo>
                    <a:cubicBezTo>
                      <a:pt x="181" y="83"/>
                      <a:pt x="181" y="83"/>
                      <a:pt x="181" y="83"/>
                    </a:cubicBezTo>
                    <a:cubicBezTo>
                      <a:pt x="183" y="83"/>
                      <a:pt x="183" y="83"/>
                      <a:pt x="183" y="83"/>
                    </a:cubicBezTo>
                    <a:cubicBezTo>
                      <a:pt x="184" y="83"/>
                      <a:pt x="186" y="83"/>
                      <a:pt x="187" y="83"/>
                    </a:cubicBezTo>
                    <a:cubicBezTo>
                      <a:pt x="187" y="83"/>
                      <a:pt x="187" y="83"/>
                      <a:pt x="187" y="83"/>
                    </a:cubicBezTo>
                    <a:cubicBezTo>
                      <a:pt x="188" y="82"/>
                      <a:pt x="188" y="81"/>
                      <a:pt x="189" y="80"/>
                    </a:cubicBezTo>
                    <a:cubicBezTo>
                      <a:pt x="190" y="79"/>
                      <a:pt x="191" y="78"/>
                      <a:pt x="192" y="78"/>
                    </a:cubicBezTo>
                    <a:cubicBezTo>
                      <a:pt x="192" y="77"/>
                      <a:pt x="192" y="77"/>
                      <a:pt x="192" y="77"/>
                    </a:cubicBezTo>
                    <a:cubicBezTo>
                      <a:pt x="193" y="77"/>
                      <a:pt x="193" y="76"/>
                      <a:pt x="193" y="76"/>
                    </a:cubicBezTo>
                    <a:cubicBezTo>
                      <a:pt x="196" y="74"/>
                      <a:pt x="198" y="72"/>
                      <a:pt x="201" y="71"/>
                    </a:cubicBezTo>
                    <a:cubicBezTo>
                      <a:pt x="202" y="71"/>
                      <a:pt x="202" y="71"/>
                      <a:pt x="203" y="71"/>
                    </a:cubicBezTo>
                    <a:cubicBezTo>
                      <a:pt x="203" y="71"/>
                      <a:pt x="203" y="71"/>
                      <a:pt x="203" y="71"/>
                    </a:cubicBezTo>
                    <a:cubicBezTo>
                      <a:pt x="203" y="68"/>
                      <a:pt x="203" y="68"/>
                      <a:pt x="203" y="68"/>
                    </a:cubicBezTo>
                    <a:cubicBezTo>
                      <a:pt x="203" y="67"/>
                      <a:pt x="203" y="67"/>
                      <a:pt x="203" y="66"/>
                    </a:cubicBezTo>
                    <a:cubicBezTo>
                      <a:pt x="204" y="66"/>
                      <a:pt x="204" y="66"/>
                      <a:pt x="204" y="66"/>
                    </a:cubicBezTo>
                    <a:cubicBezTo>
                      <a:pt x="203" y="66"/>
                      <a:pt x="203" y="66"/>
                      <a:pt x="203" y="66"/>
                    </a:cubicBezTo>
                    <a:cubicBezTo>
                      <a:pt x="202" y="65"/>
                      <a:pt x="202" y="65"/>
                      <a:pt x="202" y="65"/>
                    </a:cubicBezTo>
                    <a:cubicBezTo>
                      <a:pt x="202" y="64"/>
                      <a:pt x="202" y="64"/>
                      <a:pt x="202" y="64"/>
                    </a:cubicBezTo>
                    <a:cubicBezTo>
                      <a:pt x="202" y="63"/>
                      <a:pt x="202" y="63"/>
                      <a:pt x="202" y="63"/>
                    </a:cubicBezTo>
                    <a:cubicBezTo>
                      <a:pt x="202" y="62"/>
                      <a:pt x="202" y="62"/>
                      <a:pt x="202" y="62"/>
                    </a:cubicBezTo>
                    <a:cubicBezTo>
                      <a:pt x="200" y="61"/>
                      <a:pt x="200" y="60"/>
                      <a:pt x="198" y="53"/>
                    </a:cubicBezTo>
                    <a:cubicBezTo>
                      <a:pt x="197" y="51"/>
                      <a:pt x="196" y="49"/>
                      <a:pt x="194" y="48"/>
                    </a:cubicBezTo>
                    <a:cubicBezTo>
                      <a:pt x="194" y="48"/>
                      <a:pt x="194" y="48"/>
                      <a:pt x="194" y="48"/>
                    </a:cubicBezTo>
                    <a:cubicBezTo>
                      <a:pt x="193" y="48"/>
                      <a:pt x="193" y="48"/>
                      <a:pt x="193" y="48"/>
                    </a:cubicBezTo>
                    <a:cubicBezTo>
                      <a:pt x="183" y="55"/>
                      <a:pt x="183" y="55"/>
                      <a:pt x="183" y="55"/>
                    </a:cubicBezTo>
                    <a:cubicBezTo>
                      <a:pt x="188" y="44"/>
                      <a:pt x="188" y="44"/>
                      <a:pt x="188" y="44"/>
                    </a:cubicBezTo>
                    <a:cubicBezTo>
                      <a:pt x="188" y="44"/>
                      <a:pt x="189" y="41"/>
                      <a:pt x="190" y="38"/>
                    </a:cubicBezTo>
                    <a:cubicBezTo>
                      <a:pt x="190" y="38"/>
                      <a:pt x="190" y="38"/>
                      <a:pt x="190" y="38"/>
                    </a:cubicBezTo>
                    <a:cubicBezTo>
                      <a:pt x="190" y="37"/>
                      <a:pt x="190" y="37"/>
                      <a:pt x="190" y="37"/>
                    </a:cubicBezTo>
                    <a:cubicBezTo>
                      <a:pt x="190" y="36"/>
                      <a:pt x="189" y="33"/>
                      <a:pt x="192" y="31"/>
                    </a:cubicBezTo>
                    <a:cubicBezTo>
                      <a:pt x="192" y="30"/>
                      <a:pt x="192" y="29"/>
                      <a:pt x="193" y="28"/>
                    </a:cubicBezTo>
                    <a:cubicBezTo>
                      <a:pt x="192" y="28"/>
                      <a:pt x="192" y="28"/>
                      <a:pt x="191" y="28"/>
                    </a:cubicBezTo>
                    <a:cubicBezTo>
                      <a:pt x="191" y="27"/>
                      <a:pt x="190" y="27"/>
                      <a:pt x="189" y="27"/>
                    </a:cubicBezTo>
                    <a:cubicBezTo>
                      <a:pt x="189" y="26"/>
                      <a:pt x="188" y="26"/>
                      <a:pt x="188" y="26"/>
                    </a:cubicBezTo>
                    <a:cubicBezTo>
                      <a:pt x="187" y="25"/>
                      <a:pt x="187" y="25"/>
                      <a:pt x="187" y="25"/>
                    </a:cubicBezTo>
                    <a:cubicBezTo>
                      <a:pt x="186" y="25"/>
                      <a:pt x="186" y="25"/>
                      <a:pt x="186" y="25"/>
                    </a:cubicBezTo>
                    <a:cubicBezTo>
                      <a:pt x="186" y="24"/>
                      <a:pt x="185" y="24"/>
                      <a:pt x="185" y="24"/>
                    </a:cubicBezTo>
                    <a:cubicBezTo>
                      <a:pt x="184" y="23"/>
                      <a:pt x="184" y="23"/>
                      <a:pt x="184" y="23"/>
                    </a:cubicBezTo>
                    <a:cubicBezTo>
                      <a:pt x="183" y="22"/>
                      <a:pt x="183" y="22"/>
                      <a:pt x="183" y="22"/>
                    </a:cubicBezTo>
                    <a:cubicBezTo>
                      <a:pt x="183" y="22"/>
                      <a:pt x="183" y="22"/>
                      <a:pt x="183" y="22"/>
                    </a:cubicBezTo>
                    <a:cubicBezTo>
                      <a:pt x="179" y="26"/>
                      <a:pt x="179" y="26"/>
                      <a:pt x="179" y="26"/>
                    </a:cubicBezTo>
                    <a:cubicBezTo>
                      <a:pt x="179" y="21"/>
                      <a:pt x="179" y="21"/>
                      <a:pt x="179" y="21"/>
                    </a:cubicBezTo>
                    <a:cubicBezTo>
                      <a:pt x="176" y="20"/>
                      <a:pt x="176" y="20"/>
                      <a:pt x="176" y="20"/>
                    </a:cubicBezTo>
                    <a:cubicBezTo>
                      <a:pt x="175" y="20"/>
                      <a:pt x="174" y="19"/>
                      <a:pt x="172" y="18"/>
                    </a:cubicBezTo>
                    <a:cubicBezTo>
                      <a:pt x="172" y="18"/>
                      <a:pt x="172" y="18"/>
                      <a:pt x="172" y="18"/>
                    </a:cubicBezTo>
                    <a:cubicBezTo>
                      <a:pt x="171" y="18"/>
                      <a:pt x="171" y="18"/>
                      <a:pt x="171" y="18"/>
                    </a:cubicBezTo>
                    <a:cubicBezTo>
                      <a:pt x="170" y="18"/>
                      <a:pt x="170" y="18"/>
                      <a:pt x="169" y="19"/>
                    </a:cubicBezTo>
                    <a:cubicBezTo>
                      <a:pt x="168" y="19"/>
                      <a:pt x="168" y="19"/>
                      <a:pt x="167" y="19"/>
                    </a:cubicBezTo>
                    <a:cubicBezTo>
                      <a:pt x="167" y="19"/>
                      <a:pt x="166" y="19"/>
                      <a:pt x="166" y="19"/>
                    </a:cubicBezTo>
                    <a:cubicBezTo>
                      <a:pt x="166" y="19"/>
                      <a:pt x="166" y="19"/>
                      <a:pt x="166" y="19"/>
                    </a:cubicBezTo>
                    <a:cubicBezTo>
                      <a:pt x="164" y="20"/>
                      <a:pt x="162" y="21"/>
                      <a:pt x="159" y="21"/>
                    </a:cubicBezTo>
                    <a:cubicBezTo>
                      <a:pt x="158" y="21"/>
                      <a:pt x="157" y="21"/>
                      <a:pt x="156" y="20"/>
                    </a:cubicBezTo>
                    <a:cubicBezTo>
                      <a:pt x="154" y="19"/>
                      <a:pt x="153" y="18"/>
                      <a:pt x="151" y="17"/>
                    </a:cubicBezTo>
                    <a:cubicBezTo>
                      <a:pt x="149" y="15"/>
                      <a:pt x="149" y="15"/>
                      <a:pt x="149" y="15"/>
                    </a:cubicBezTo>
                    <a:cubicBezTo>
                      <a:pt x="147" y="14"/>
                      <a:pt x="145" y="11"/>
                      <a:pt x="143" y="9"/>
                    </a:cubicBezTo>
                    <a:cubicBezTo>
                      <a:pt x="143" y="8"/>
                      <a:pt x="143" y="8"/>
                      <a:pt x="143" y="8"/>
                    </a:cubicBezTo>
                    <a:cubicBezTo>
                      <a:pt x="143" y="8"/>
                      <a:pt x="143" y="8"/>
                      <a:pt x="143" y="8"/>
                    </a:cubicBezTo>
                    <a:cubicBezTo>
                      <a:pt x="140" y="7"/>
                      <a:pt x="137" y="6"/>
                      <a:pt x="135" y="5"/>
                    </a:cubicBezTo>
                    <a:cubicBezTo>
                      <a:pt x="134" y="5"/>
                      <a:pt x="134" y="5"/>
                      <a:pt x="134" y="5"/>
                    </a:cubicBezTo>
                    <a:cubicBezTo>
                      <a:pt x="133" y="4"/>
                      <a:pt x="133" y="4"/>
                      <a:pt x="132" y="3"/>
                    </a:cubicBezTo>
                    <a:cubicBezTo>
                      <a:pt x="130" y="3"/>
                      <a:pt x="130" y="3"/>
                      <a:pt x="130" y="3"/>
                    </a:cubicBezTo>
                    <a:cubicBezTo>
                      <a:pt x="129" y="2"/>
                      <a:pt x="128" y="1"/>
                      <a:pt x="128" y="1"/>
                    </a:cubicBezTo>
                    <a:cubicBezTo>
                      <a:pt x="127" y="1"/>
                      <a:pt x="127" y="1"/>
                      <a:pt x="127" y="1"/>
                    </a:cubicBezTo>
                    <a:cubicBezTo>
                      <a:pt x="126" y="1"/>
                      <a:pt x="126" y="1"/>
                      <a:pt x="126" y="1"/>
                    </a:cubicBezTo>
                    <a:cubicBezTo>
                      <a:pt x="125" y="1"/>
                      <a:pt x="125" y="1"/>
                      <a:pt x="125" y="1"/>
                    </a:cubicBezTo>
                    <a:cubicBezTo>
                      <a:pt x="124" y="1"/>
                      <a:pt x="124" y="1"/>
                      <a:pt x="124" y="1"/>
                    </a:cubicBezTo>
                    <a:cubicBezTo>
                      <a:pt x="121" y="1"/>
                      <a:pt x="120" y="1"/>
                      <a:pt x="1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96" name="Freeform 324">
                <a:extLst>
                  <a:ext uri="{FF2B5EF4-FFF2-40B4-BE49-F238E27FC236}">
                    <a16:creationId xmlns:a16="http://schemas.microsoft.com/office/drawing/2014/main" id="{D33C1E8F-9149-4CEA-9560-E0140EC30230}"/>
                  </a:ext>
                </a:extLst>
              </p:cNvPr>
              <p:cNvSpPr>
                <a:spLocks/>
              </p:cNvSpPr>
              <p:nvPr/>
            </p:nvSpPr>
            <p:spPr bwMode="auto">
              <a:xfrm>
                <a:off x="6471063" y="2782263"/>
                <a:ext cx="405363" cy="269013"/>
              </a:xfrm>
              <a:custGeom>
                <a:avLst/>
                <a:gdLst>
                  <a:gd name="T0" fmla="*/ 60 w 128"/>
                  <a:gd name="T1" fmla="*/ 5 h 85"/>
                  <a:gd name="T2" fmla="*/ 26 w 128"/>
                  <a:gd name="T3" fmla="*/ 10 h 85"/>
                  <a:gd name="T4" fmla="*/ 19 w 128"/>
                  <a:gd name="T5" fmla="*/ 15 h 85"/>
                  <a:gd name="T6" fmla="*/ 0 w 128"/>
                  <a:gd name="T7" fmla="*/ 27 h 85"/>
                  <a:gd name="T8" fmla="*/ 4 w 128"/>
                  <a:gd name="T9" fmla="*/ 27 h 85"/>
                  <a:gd name="T10" fmla="*/ 3 w 128"/>
                  <a:gd name="T11" fmla="*/ 29 h 85"/>
                  <a:gd name="T12" fmla="*/ 6 w 128"/>
                  <a:gd name="T13" fmla="*/ 29 h 85"/>
                  <a:gd name="T14" fmla="*/ 0 w 128"/>
                  <a:gd name="T15" fmla="*/ 37 h 85"/>
                  <a:gd name="T16" fmla="*/ 6 w 128"/>
                  <a:gd name="T17" fmla="*/ 37 h 85"/>
                  <a:gd name="T18" fmla="*/ 13 w 128"/>
                  <a:gd name="T19" fmla="*/ 38 h 85"/>
                  <a:gd name="T20" fmla="*/ 2 w 128"/>
                  <a:gd name="T21" fmla="*/ 45 h 85"/>
                  <a:gd name="T22" fmla="*/ 18 w 128"/>
                  <a:gd name="T23" fmla="*/ 57 h 85"/>
                  <a:gd name="T24" fmla="*/ 27 w 128"/>
                  <a:gd name="T25" fmla="*/ 55 h 85"/>
                  <a:gd name="T26" fmla="*/ 31 w 128"/>
                  <a:gd name="T27" fmla="*/ 57 h 85"/>
                  <a:gd name="T28" fmla="*/ 35 w 128"/>
                  <a:gd name="T29" fmla="*/ 68 h 85"/>
                  <a:gd name="T30" fmla="*/ 40 w 128"/>
                  <a:gd name="T31" fmla="*/ 66 h 85"/>
                  <a:gd name="T32" fmla="*/ 45 w 128"/>
                  <a:gd name="T33" fmla="*/ 64 h 85"/>
                  <a:gd name="T34" fmla="*/ 48 w 128"/>
                  <a:gd name="T35" fmla="*/ 62 h 85"/>
                  <a:gd name="T36" fmla="*/ 53 w 128"/>
                  <a:gd name="T37" fmla="*/ 65 h 85"/>
                  <a:gd name="T38" fmla="*/ 54 w 128"/>
                  <a:gd name="T39" fmla="*/ 65 h 85"/>
                  <a:gd name="T40" fmla="*/ 57 w 128"/>
                  <a:gd name="T41" fmla="*/ 65 h 85"/>
                  <a:gd name="T42" fmla="*/ 62 w 128"/>
                  <a:gd name="T43" fmla="*/ 67 h 85"/>
                  <a:gd name="T44" fmla="*/ 66 w 128"/>
                  <a:gd name="T45" fmla="*/ 69 h 85"/>
                  <a:gd name="T46" fmla="*/ 75 w 128"/>
                  <a:gd name="T47" fmla="*/ 72 h 85"/>
                  <a:gd name="T48" fmla="*/ 78 w 128"/>
                  <a:gd name="T49" fmla="*/ 76 h 85"/>
                  <a:gd name="T50" fmla="*/ 84 w 128"/>
                  <a:gd name="T51" fmla="*/ 82 h 85"/>
                  <a:gd name="T52" fmla="*/ 88 w 128"/>
                  <a:gd name="T53" fmla="*/ 85 h 85"/>
                  <a:gd name="T54" fmla="*/ 92 w 128"/>
                  <a:gd name="T55" fmla="*/ 83 h 85"/>
                  <a:gd name="T56" fmla="*/ 95 w 128"/>
                  <a:gd name="T57" fmla="*/ 83 h 85"/>
                  <a:gd name="T58" fmla="*/ 98 w 128"/>
                  <a:gd name="T59" fmla="*/ 81 h 85"/>
                  <a:gd name="T60" fmla="*/ 104 w 128"/>
                  <a:gd name="T61" fmla="*/ 83 h 85"/>
                  <a:gd name="T62" fmla="*/ 109 w 128"/>
                  <a:gd name="T63" fmla="*/ 85 h 85"/>
                  <a:gd name="T64" fmla="*/ 110 w 128"/>
                  <a:gd name="T65" fmla="*/ 84 h 85"/>
                  <a:gd name="T66" fmla="*/ 111 w 128"/>
                  <a:gd name="T67" fmla="*/ 81 h 85"/>
                  <a:gd name="T68" fmla="*/ 112 w 128"/>
                  <a:gd name="T69" fmla="*/ 78 h 85"/>
                  <a:gd name="T70" fmla="*/ 115 w 128"/>
                  <a:gd name="T71" fmla="*/ 75 h 85"/>
                  <a:gd name="T72" fmla="*/ 116 w 128"/>
                  <a:gd name="T73" fmla="*/ 74 h 85"/>
                  <a:gd name="T74" fmla="*/ 120 w 128"/>
                  <a:gd name="T75" fmla="*/ 73 h 85"/>
                  <a:gd name="T76" fmla="*/ 117 w 128"/>
                  <a:gd name="T77" fmla="*/ 69 h 85"/>
                  <a:gd name="T78" fmla="*/ 111 w 128"/>
                  <a:gd name="T79" fmla="*/ 53 h 85"/>
                  <a:gd name="T80" fmla="*/ 111 w 128"/>
                  <a:gd name="T81" fmla="*/ 43 h 85"/>
                  <a:gd name="T82" fmla="*/ 121 w 128"/>
                  <a:gd name="T83" fmla="*/ 21 h 85"/>
                  <a:gd name="T84" fmla="*/ 124 w 128"/>
                  <a:gd name="T85" fmla="*/ 14 h 85"/>
                  <a:gd name="T86" fmla="*/ 127 w 128"/>
                  <a:gd name="T87" fmla="*/ 10 h 85"/>
                  <a:gd name="T88" fmla="*/ 112 w 128"/>
                  <a:gd name="T89" fmla="*/ 9 h 85"/>
                  <a:gd name="T90" fmla="*/ 101 w 128"/>
                  <a:gd name="T91" fmla="*/ 9 h 85"/>
                  <a:gd name="T92" fmla="*/ 70 w 128"/>
                  <a:gd name="T93" fmla="*/ 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5">
                    <a:moveTo>
                      <a:pt x="59" y="0"/>
                    </a:moveTo>
                    <a:cubicBezTo>
                      <a:pt x="59" y="2"/>
                      <a:pt x="60" y="4"/>
                      <a:pt x="60" y="5"/>
                    </a:cubicBezTo>
                    <a:cubicBezTo>
                      <a:pt x="53" y="8"/>
                      <a:pt x="46" y="6"/>
                      <a:pt x="38" y="7"/>
                    </a:cubicBezTo>
                    <a:cubicBezTo>
                      <a:pt x="34" y="8"/>
                      <a:pt x="30" y="9"/>
                      <a:pt x="26" y="10"/>
                    </a:cubicBezTo>
                    <a:cubicBezTo>
                      <a:pt x="23" y="11"/>
                      <a:pt x="22" y="14"/>
                      <a:pt x="19" y="15"/>
                    </a:cubicBezTo>
                    <a:cubicBezTo>
                      <a:pt x="19" y="15"/>
                      <a:pt x="19" y="15"/>
                      <a:pt x="19" y="15"/>
                    </a:cubicBezTo>
                    <a:cubicBezTo>
                      <a:pt x="16" y="16"/>
                      <a:pt x="1" y="18"/>
                      <a:pt x="1" y="20"/>
                    </a:cubicBezTo>
                    <a:cubicBezTo>
                      <a:pt x="1" y="21"/>
                      <a:pt x="0" y="26"/>
                      <a:pt x="0" y="27"/>
                    </a:cubicBezTo>
                    <a:cubicBezTo>
                      <a:pt x="0" y="27"/>
                      <a:pt x="1" y="27"/>
                      <a:pt x="2" y="27"/>
                    </a:cubicBezTo>
                    <a:cubicBezTo>
                      <a:pt x="2" y="27"/>
                      <a:pt x="3" y="27"/>
                      <a:pt x="4" y="27"/>
                    </a:cubicBezTo>
                    <a:cubicBezTo>
                      <a:pt x="3" y="28"/>
                      <a:pt x="3" y="28"/>
                      <a:pt x="3" y="28"/>
                    </a:cubicBezTo>
                    <a:cubicBezTo>
                      <a:pt x="3" y="29"/>
                      <a:pt x="3" y="29"/>
                      <a:pt x="3" y="29"/>
                    </a:cubicBezTo>
                    <a:cubicBezTo>
                      <a:pt x="5" y="27"/>
                      <a:pt x="5" y="27"/>
                      <a:pt x="5" y="27"/>
                    </a:cubicBezTo>
                    <a:cubicBezTo>
                      <a:pt x="5" y="27"/>
                      <a:pt x="6" y="28"/>
                      <a:pt x="6" y="29"/>
                    </a:cubicBezTo>
                    <a:cubicBezTo>
                      <a:pt x="2" y="31"/>
                      <a:pt x="2" y="30"/>
                      <a:pt x="1" y="35"/>
                    </a:cubicBezTo>
                    <a:cubicBezTo>
                      <a:pt x="1" y="35"/>
                      <a:pt x="1" y="37"/>
                      <a:pt x="0" y="37"/>
                    </a:cubicBezTo>
                    <a:cubicBezTo>
                      <a:pt x="1" y="37"/>
                      <a:pt x="2" y="37"/>
                      <a:pt x="3" y="37"/>
                    </a:cubicBezTo>
                    <a:cubicBezTo>
                      <a:pt x="4" y="37"/>
                      <a:pt x="5" y="37"/>
                      <a:pt x="6" y="37"/>
                    </a:cubicBezTo>
                    <a:cubicBezTo>
                      <a:pt x="7" y="37"/>
                      <a:pt x="8" y="37"/>
                      <a:pt x="9" y="37"/>
                    </a:cubicBezTo>
                    <a:cubicBezTo>
                      <a:pt x="10" y="37"/>
                      <a:pt x="11" y="37"/>
                      <a:pt x="13" y="38"/>
                    </a:cubicBezTo>
                    <a:cubicBezTo>
                      <a:pt x="11" y="38"/>
                      <a:pt x="5" y="38"/>
                      <a:pt x="3" y="40"/>
                    </a:cubicBezTo>
                    <a:cubicBezTo>
                      <a:pt x="2" y="41"/>
                      <a:pt x="2" y="44"/>
                      <a:pt x="2" y="45"/>
                    </a:cubicBezTo>
                    <a:cubicBezTo>
                      <a:pt x="2" y="47"/>
                      <a:pt x="4" y="46"/>
                      <a:pt x="5" y="47"/>
                    </a:cubicBezTo>
                    <a:cubicBezTo>
                      <a:pt x="9" y="53"/>
                      <a:pt x="11" y="55"/>
                      <a:pt x="18" y="57"/>
                    </a:cubicBezTo>
                    <a:cubicBezTo>
                      <a:pt x="20" y="58"/>
                      <a:pt x="21" y="58"/>
                      <a:pt x="22" y="58"/>
                    </a:cubicBezTo>
                    <a:cubicBezTo>
                      <a:pt x="24" y="58"/>
                      <a:pt x="24" y="57"/>
                      <a:pt x="27" y="55"/>
                    </a:cubicBezTo>
                    <a:cubicBezTo>
                      <a:pt x="28" y="55"/>
                      <a:pt x="29" y="54"/>
                      <a:pt x="30" y="54"/>
                    </a:cubicBezTo>
                    <a:cubicBezTo>
                      <a:pt x="31" y="54"/>
                      <a:pt x="32" y="55"/>
                      <a:pt x="31" y="57"/>
                    </a:cubicBezTo>
                    <a:cubicBezTo>
                      <a:pt x="30" y="61"/>
                      <a:pt x="29" y="66"/>
                      <a:pt x="27" y="70"/>
                    </a:cubicBezTo>
                    <a:cubicBezTo>
                      <a:pt x="35" y="68"/>
                      <a:pt x="35" y="68"/>
                      <a:pt x="35" y="68"/>
                    </a:cubicBezTo>
                    <a:cubicBezTo>
                      <a:pt x="37" y="67"/>
                      <a:pt x="38" y="67"/>
                      <a:pt x="40" y="66"/>
                    </a:cubicBezTo>
                    <a:cubicBezTo>
                      <a:pt x="40" y="66"/>
                      <a:pt x="40" y="66"/>
                      <a:pt x="40" y="66"/>
                    </a:cubicBezTo>
                    <a:cubicBezTo>
                      <a:pt x="42" y="65"/>
                      <a:pt x="43" y="65"/>
                      <a:pt x="44" y="64"/>
                    </a:cubicBezTo>
                    <a:cubicBezTo>
                      <a:pt x="45" y="64"/>
                      <a:pt x="45" y="64"/>
                      <a:pt x="45" y="64"/>
                    </a:cubicBezTo>
                    <a:cubicBezTo>
                      <a:pt x="46" y="63"/>
                      <a:pt x="46" y="63"/>
                      <a:pt x="46" y="63"/>
                    </a:cubicBezTo>
                    <a:cubicBezTo>
                      <a:pt x="48" y="62"/>
                      <a:pt x="48" y="62"/>
                      <a:pt x="48" y="62"/>
                    </a:cubicBezTo>
                    <a:cubicBezTo>
                      <a:pt x="50" y="64"/>
                      <a:pt x="50" y="64"/>
                      <a:pt x="50" y="64"/>
                    </a:cubicBezTo>
                    <a:cubicBezTo>
                      <a:pt x="51" y="65"/>
                      <a:pt x="52" y="65"/>
                      <a:pt x="53" y="65"/>
                    </a:cubicBezTo>
                    <a:cubicBezTo>
                      <a:pt x="53" y="65"/>
                      <a:pt x="53" y="65"/>
                      <a:pt x="54" y="65"/>
                    </a:cubicBezTo>
                    <a:cubicBezTo>
                      <a:pt x="54" y="65"/>
                      <a:pt x="54" y="65"/>
                      <a:pt x="54" y="65"/>
                    </a:cubicBezTo>
                    <a:cubicBezTo>
                      <a:pt x="54" y="65"/>
                      <a:pt x="54" y="65"/>
                      <a:pt x="55" y="65"/>
                    </a:cubicBezTo>
                    <a:cubicBezTo>
                      <a:pt x="55" y="65"/>
                      <a:pt x="56" y="65"/>
                      <a:pt x="57" y="65"/>
                    </a:cubicBezTo>
                    <a:cubicBezTo>
                      <a:pt x="57" y="65"/>
                      <a:pt x="58" y="65"/>
                      <a:pt x="58" y="65"/>
                    </a:cubicBezTo>
                    <a:cubicBezTo>
                      <a:pt x="59" y="66"/>
                      <a:pt x="59" y="66"/>
                      <a:pt x="62" y="67"/>
                    </a:cubicBezTo>
                    <a:cubicBezTo>
                      <a:pt x="63" y="68"/>
                      <a:pt x="63" y="68"/>
                      <a:pt x="63" y="68"/>
                    </a:cubicBezTo>
                    <a:cubicBezTo>
                      <a:pt x="64" y="68"/>
                      <a:pt x="65" y="69"/>
                      <a:pt x="66" y="69"/>
                    </a:cubicBezTo>
                    <a:cubicBezTo>
                      <a:pt x="67" y="70"/>
                      <a:pt x="67" y="70"/>
                      <a:pt x="67" y="70"/>
                    </a:cubicBezTo>
                    <a:cubicBezTo>
                      <a:pt x="70" y="71"/>
                      <a:pt x="72" y="72"/>
                      <a:pt x="75" y="72"/>
                    </a:cubicBezTo>
                    <a:cubicBezTo>
                      <a:pt x="80" y="73"/>
                      <a:pt x="80" y="73"/>
                      <a:pt x="80" y="73"/>
                    </a:cubicBezTo>
                    <a:cubicBezTo>
                      <a:pt x="78" y="76"/>
                      <a:pt x="78" y="76"/>
                      <a:pt x="78" y="76"/>
                    </a:cubicBezTo>
                    <a:cubicBezTo>
                      <a:pt x="79" y="78"/>
                      <a:pt x="81" y="80"/>
                      <a:pt x="83" y="81"/>
                    </a:cubicBezTo>
                    <a:cubicBezTo>
                      <a:pt x="84" y="82"/>
                      <a:pt x="84" y="82"/>
                      <a:pt x="84" y="82"/>
                    </a:cubicBezTo>
                    <a:cubicBezTo>
                      <a:pt x="86" y="83"/>
                      <a:pt x="87" y="84"/>
                      <a:pt x="88" y="85"/>
                    </a:cubicBezTo>
                    <a:cubicBezTo>
                      <a:pt x="88" y="85"/>
                      <a:pt x="88" y="85"/>
                      <a:pt x="88" y="85"/>
                    </a:cubicBezTo>
                    <a:cubicBezTo>
                      <a:pt x="89" y="85"/>
                      <a:pt x="90" y="85"/>
                      <a:pt x="92" y="84"/>
                    </a:cubicBezTo>
                    <a:cubicBezTo>
                      <a:pt x="92" y="83"/>
                      <a:pt x="92" y="83"/>
                      <a:pt x="92" y="83"/>
                    </a:cubicBezTo>
                    <a:cubicBezTo>
                      <a:pt x="93" y="83"/>
                      <a:pt x="94" y="83"/>
                      <a:pt x="95" y="83"/>
                    </a:cubicBezTo>
                    <a:cubicBezTo>
                      <a:pt x="95" y="83"/>
                      <a:pt x="95" y="83"/>
                      <a:pt x="95" y="83"/>
                    </a:cubicBezTo>
                    <a:cubicBezTo>
                      <a:pt x="95" y="82"/>
                      <a:pt x="96" y="81"/>
                      <a:pt x="98" y="81"/>
                    </a:cubicBezTo>
                    <a:cubicBezTo>
                      <a:pt x="98" y="81"/>
                      <a:pt x="98" y="81"/>
                      <a:pt x="98" y="81"/>
                    </a:cubicBezTo>
                    <a:cubicBezTo>
                      <a:pt x="99" y="81"/>
                      <a:pt x="100" y="81"/>
                      <a:pt x="101" y="81"/>
                    </a:cubicBezTo>
                    <a:cubicBezTo>
                      <a:pt x="102" y="82"/>
                      <a:pt x="103" y="82"/>
                      <a:pt x="104" y="83"/>
                    </a:cubicBezTo>
                    <a:cubicBezTo>
                      <a:pt x="105" y="84"/>
                      <a:pt x="106" y="84"/>
                      <a:pt x="107" y="84"/>
                    </a:cubicBezTo>
                    <a:cubicBezTo>
                      <a:pt x="109" y="85"/>
                      <a:pt x="109" y="85"/>
                      <a:pt x="109" y="85"/>
                    </a:cubicBezTo>
                    <a:cubicBezTo>
                      <a:pt x="110" y="84"/>
                      <a:pt x="110" y="84"/>
                      <a:pt x="110" y="84"/>
                    </a:cubicBezTo>
                    <a:cubicBezTo>
                      <a:pt x="110" y="84"/>
                      <a:pt x="110" y="84"/>
                      <a:pt x="110" y="84"/>
                    </a:cubicBezTo>
                    <a:cubicBezTo>
                      <a:pt x="110" y="83"/>
                      <a:pt x="110" y="83"/>
                      <a:pt x="110" y="83"/>
                    </a:cubicBezTo>
                    <a:cubicBezTo>
                      <a:pt x="110" y="82"/>
                      <a:pt x="110" y="82"/>
                      <a:pt x="111" y="81"/>
                    </a:cubicBezTo>
                    <a:cubicBezTo>
                      <a:pt x="111" y="80"/>
                      <a:pt x="112" y="79"/>
                      <a:pt x="112" y="79"/>
                    </a:cubicBezTo>
                    <a:cubicBezTo>
                      <a:pt x="112" y="78"/>
                      <a:pt x="112" y="78"/>
                      <a:pt x="112" y="78"/>
                    </a:cubicBezTo>
                    <a:cubicBezTo>
                      <a:pt x="113" y="78"/>
                      <a:pt x="113" y="77"/>
                      <a:pt x="113" y="77"/>
                    </a:cubicBezTo>
                    <a:cubicBezTo>
                      <a:pt x="114" y="76"/>
                      <a:pt x="115" y="75"/>
                      <a:pt x="115" y="75"/>
                    </a:cubicBezTo>
                    <a:cubicBezTo>
                      <a:pt x="116" y="75"/>
                      <a:pt x="116" y="75"/>
                      <a:pt x="116" y="75"/>
                    </a:cubicBezTo>
                    <a:cubicBezTo>
                      <a:pt x="116" y="74"/>
                      <a:pt x="116" y="74"/>
                      <a:pt x="116" y="74"/>
                    </a:cubicBezTo>
                    <a:cubicBezTo>
                      <a:pt x="116" y="74"/>
                      <a:pt x="117" y="74"/>
                      <a:pt x="117" y="74"/>
                    </a:cubicBezTo>
                    <a:cubicBezTo>
                      <a:pt x="118" y="73"/>
                      <a:pt x="119" y="73"/>
                      <a:pt x="120" y="73"/>
                    </a:cubicBezTo>
                    <a:cubicBezTo>
                      <a:pt x="120" y="72"/>
                      <a:pt x="119" y="71"/>
                      <a:pt x="118" y="71"/>
                    </a:cubicBezTo>
                    <a:cubicBezTo>
                      <a:pt x="118" y="70"/>
                      <a:pt x="117" y="70"/>
                      <a:pt x="117" y="69"/>
                    </a:cubicBezTo>
                    <a:cubicBezTo>
                      <a:pt x="111" y="64"/>
                      <a:pt x="111" y="56"/>
                      <a:pt x="111" y="54"/>
                    </a:cubicBezTo>
                    <a:cubicBezTo>
                      <a:pt x="111" y="54"/>
                      <a:pt x="111" y="53"/>
                      <a:pt x="111" y="53"/>
                    </a:cubicBezTo>
                    <a:cubicBezTo>
                      <a:pt x="111" y="52"/>
                      <a:pt x="111" y="52"/>
                      <a:pt x="111" y="52"/>
                    </a:cubicBezTo>
                    <a:cubicBezTo>
                      <a:pt x="111" y="50"/>
                      <a:pt x="112" y="45"/>
                      <a:pt x="111" y="43"/>
                    </a:cubicBezTo>
                    <a:cubicBezTo>
                      <a:pt x="110" y="38"/>
                      <a:pt x="111" y="33"/>
                      <a:pt x="114" y="31"/>
                    </a:cubicBezTo>
                    <a:cubicBezTo>
                      <a:pt x="115" y="31"/>
                      <a:pt x="120" y="26"/>
                      <a:pt x="121" y="21"/>
                    </a:cubicBezTo>
                    <a:cubicBezTo>
                      <a:pt x="122" y="19"/>
                      <a:pt x="124" y="17"/>
                      <a:pt x="126" y="15"/>
                    </a:cubicBezTo>
                    <a:cubicBezTo>
                      <a:pt x="124" y="14"/>
                      <a:pt x="124" y="14"/>
                      <a:pt x="124" y="14"/>
                    </a:cubicBezTo>
                    <a:cubicBezTo>
                      <a:pt x="128" y="11"/>
                      <a:pt x="128" y="11"/>
                      <a:pt x="128" y="11"/>
                    </a:cubicBezTo>
                    <a:cubicBezTo>
                      <a:pt x="127" y="10"/>
                      <a:pt x="127" y="10"/>
                      <a:pt x="127" y="10"/>
                    </a:cubicBezTo>
                    <a:cubicBezTo>
                      <a:pt x="126" y="10"/>
                      <a:pt x="125" y="10"/>
                      <a:pt x="124" y="10"/>
                    </a:cubicBezTo>
                    <a:cubicBezTo>
                      <a:pt x="120" y="10"/>
                      <a:pt x="115" y="9"/>
                      <a:pt x="112" y="9"/>
                    </a:cubicBezTo>
                    <a:cubicBezTo>
                      <a:pt x="109" y="9"/>
                      <a:pt x="105" y="9"/>
                      <a:pt x="101" y="9"/>
                    </a:cubicBezTo>
                    <a:cubicBezTo>
                      <a:pt x="101" y="9"/>
                      <a:pt x="101" y="9"/>
                      <a:pt x="101" y="9"/>
                    </a:cubicBezTo>
                    <a:cubicBezTo>
                      <a:pt x="99" y="9"/>
                      <a:pt x="96" y="7"/>
                      <a:pt x="93" y="6"/>
                    </a:cubicBezTo>
                    <a:cubicBezTo>
                      <a:pt x="85" y="5"/>
                      <a:pt x="78" y="5"/>
                      <a:pt x="70" y="4"/>
                    </a:cubicBezTo>
                    <a:cubicBezTo>
                      <a:pt x="65" y="4"/>
                      <a:pt x="62" y="4"/>
                      <a:pt x="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97" name="Rectangle 325">
                <a:extLst>
                  <a:ext uri="{FF2B5EF4-FFF2-40B4-BE49-F238E27FC236}">
                    <a16:creationId xmlns:a16="http://schemas.microsoft.com/office/drawing/2014/main" id="{FFC526BB-1FEE-42B6-9CDE-24B997494EFF}"/>
                  </a:ext>
                </a:extLst>
              </p:cNvPr>
              <p:cNvSpPr>
                <a:spLocks noChangeArrowheads="1"/>
              </p:cNvSpPr>
              <p:nvPr/>
            </p:nvSpPr>
            <p:spPr bwMode="auto">
              <a:xfrm>
                <a:off x="12024532" y="4013092"/>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98" name="Freeform 326">
                <a:extLst>
                  <a:ext uri="{FF2B5EF4-FFF2-40B4-BE49-F238E27FC236}">
                    <a16:creationId xmlns:a16="http://schemas.microsoft.com/office/drawing/2014/main" id="{AAACB40A-737A-424F-86BE-4E0F69531352}"/>
                  </a:ext>
                </a:extLst>
              </p:cNvPr>
              <p:cNvSpPr>
                <a:spLocks/>
              </p:cNvSpPr>
              <p:nvPr/>
            </p:nvSpPr>
            <p:spPr bwMode="auto">
              <a:xfrm>
                <a:off x="12024532" y="4013092"/>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99" name="Rectangle 327">
                <a:extLst>
                  <a:ext uri="{FF2B5EF4-FFF2-40B4-BE49-F238E27FC236}">
                    <a16:creationId xmlns:a16="http://schemas.microsoft.com/office/drawing/2014/main" id="{85656C4E-FCEC-48F4-89E6-71D750D91F7D}"/>
                  </a:ext>
                </a:extLst>
              </p:cNvPr>
              <p:cNvSpPr>
                <a:spLocks noChangeArrowheads="1"/>
              </p:cNvSpPr>
              <p:nvPr/>
            </p:nvSpPr>
            <p:spPr bwMode="auto">
              <a:xfrm>
                <a:off x="10484154" y="3397677"/>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00" name="Freeform 328">
                <a:extLst>
                  <a:ext uri="{FF2B5EF4-FFF2-40B4-BE49-F238E27FC236}">
                    <a16:creationId xmlns:a16="http://schemas.microsoft.com/office/drawing/2014/main" id="{1BCE4140-8311-4463-A87E-83571CDA7934}"/>
                  </a:ext>
                </a:extLst>
              </p:cNvPr>
              <p:cNvSpPr>
                <a:spLocks/>
              </p:cNvSpPr>
              <p:nvPr/>
            </p:nvSpPr>
            <p:spPr bwMode="auto">
              <a:xfrm>
                <a:off x="10484154" y="3397677"/>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01" name="Freeform 329">
                <a:extLst>
                  <a:ext uri="{FF2B5EF4-FFF2-40B4-BE49-F238E27FC236}">
                    <a16:creationId xmlns:a16="http://schemas.microsoft.com/office/drawing/2014/main" id="{F30EB6DA-B312-4536-AFFC-229F31E450E7}"/>
                  </a:ext>
                </a:extLst>
              </p:cNvPr>
              <p:cNvSpPr>
                <a:spLocks/>
              </p:cNvSpPr>
              <p:nvPr/>
            </p:nvSpPr>
            <p:spPr bwMode="auto">
              <a:xfrm>
                <a:off x="8564209" y="3353456"/>
                <a:ext cx="3615098" cy="1680413"/>
              </a:xfrm>
              <a:custGeom>
                <a:avLst/>
                <a:gdLst>
                  <a:gd name="T0" fmla="*/ 617 w 1138"/>
                  <a:gd name="T1" fmla="*/ 12 h 530"/>
                  <a:gd name="T2" fmla="*/ 573 w 1138"/>
                  <a:gd name="T3" fmla="*/ 24 h 530"/>
                  <a:gd name="T4" fmla="*/ 546 w 1138"/>
                  <a:gd name="T5" fmla="*/ 28 h 530"/>
                  <a:gd name="T6" fmla="*/ 510 w 1138"/>
                  <a:gd name="T7" fmla="*/ 38 h 530"/>
                  <a:gd name="T8" fmla="*/ 461 w 1138"/>
                  <a:gd name="T9" fmla="*/ 49 h 530"/>
                  <a:gd name="T10" fmla="*/ 441 w 1138"/>
                  <a:gd name="T11" fmla="*/ 52 h 530"/>
                  <a:gd name="T12" fmla="*/ 416 w 1138"/>
                  <a:gd name="T13" fmla="*/ 60 h 530"/>
                  <a:gd name="T14" fmla="*/ 423 w 1138"/>
                  <a:gd name="T15" fmla="*/ 75 h 530"/>
                  <a:gd name="T16" fmla="*/ 439 w 1138"/>
                  <a:gd name="T17" fmla="*/ 93 h 530"/>
                  <a:gd name="T18" fmla="*/ 423 w 1138"/>
                  <a:gd name="T19" fmla="*/ 93 h 530"/>
                  <a:gd name="T20" fmla="*/ 411 w 1138"/>
                  <a:gd name="T21" fmla="*/ 116 h 530"/>
                  <a:gd name="T22" fmla="*/ 390 w 1138"/>
                  <a:gd name="T23" fmla="*/ 132 h 530"/>
                  <a:gd name="T24" fmla="*/ 429 w 1138"/>
                  <a:gd name="T25" fmla="*/ 158 h 530"/>
                  <a:gd name="T26" fmla="*/ 380 w 1138"/>
                  <a:gd name="T27" fmla="*/ 178 h 530"/>
                  <a:gd name="T28" fmla="*/ 338 w 1138"/>
                  <a:gd name="T29" fmla="*/ 168 h 530"/>
                  <a:gd name="T30" fmla="*/ 281 w 1138"/>
                  <a:gd name="T31" fmla="*/ 166 h 530"/>
                  <a:gd name="T32" fmla="*/ 232 w 1138"/>
                  <a:gd name="T33" fmla="*/ 173 h 530"/>
                  <a:gd name="T34" fmla="*/ 169 w 1138"/>
                  <a:gd name="T35" fmla="*/ 151 h 530"/>
                  <a:gd name="T36" fmla="*/ 138 w 1138"/>
                  <a:gd name="T37" fmla="*/ 150 h 530"/>
                  <a:gd name="T38" fmla="*/ 101 w 1138"/>
                  <a:gd name="T39" fmla="*/ 158 h 530"/>
                  <a:gd name="T40" fmla="*/ 63 w 1138"/>
                  <a:gd name="T41" fmla="*/ 191 h 530"/>
                  <a:gd name="T42" fmla="*/ 28 w 1138"/>
                  <a:gd name="T43" fmla="*/ 191 h 530"/>
                  <a:gd name="T44" fmla="*/ 11 w 1138"/>
                  <a:gd name="T45" fmla="*/ 226 h 530"/>
                  <a:gd name="T46" fmla="*/ 39 w 1138"/>
                  <a:gd name="T47" fmla="*/ 280 h 530"/>
                  <a:gd name="T48" fmla="*/ 66 w 1138"/>
                  <a:gd name="T49" fmla="*/ 325 h 530"/>
                  <a:gd name="T50" fmla="*/ 93 w 1138"/>
                  <a:gd name="T51" fmla="*/ 326 h 530"/>
                  <a:gd name="T52" fmla="*/ 182 w 1138"/>
                  <a:gd name="T53" fmla="*/ 319 h 530"/>
                  <a:gd name="T54" fmla="*/ 203 w 1138"/>
                  <a:gd name="T55" fmla="*/ 384 h 530"/>
                  <a:gd name="T56" fmla="*/ 136 w 1138"/>
                  <a:gd name="T57" fmla="*/ 369 h 530"/>
                  <a:gd name="T58" fmla="*/ 130 w 1138"/>
                  <a:gd name="T59" fmla="*/ 400 h 530"/>
                  <a:gd name="T60" fmla="*/ 141 w 1138"/>
                  <a:gd name="T61" fmla="*/ 446 h 530"/>
                  <a:gd name="T62" fmla="*/ 169 w 1138"/>
                  <a:gd name="T63" fmla="*/ 462 h 530"/>
                  <a:gd name="T64" fmla="*/ 245 w 1138"/>
                  <a:gd name="T65" fmla="*/ 499 h 530"/>
                  <a:gd name="T66" fmla="*/ 342 w 1138"/>
                  <a:gd name="T67" fmla="*/ 354 h 530"/>
                  <a:gd name="T68" fmla="*/ 359 w 1138"/>
                  <a:gd name="T69" fmla="*/ 359 h 530"/>
                  <a:gd name="T70" fmla="*/ 374 w 1138"/>
                  <a:gd name="T71" fmla="*/ 344 h 530"/>
                  <a:gd name="T72" fmla="*/ 374 w 1138"/>
                  <a:gd name="T73" fmla="*/ 350 h 530"/>
                  <a:gd name="T74" fmla="*/ 434 w 1138"/>
                  <a:gd name="T75" fmla="*/ 428 h 530"/>
                  <a:gd name="T76" fmla="*/ 530 w 1138"/>
                  <a:gd name="T77" fmla="*/ 431 h 530"/>
                  <a:gd name="T78" fmla="*/ 555 w 1138"/>
                  <a:gd name="T79" fmla="*/ 482 h 530"/>
                  <a:gd name="T80" fmla="*/ 602 w 1138"/>
                  <a:gd name="T81" fmla="*/ 510 h 530"/>
                  <a:gd name="T82" fmla="*/ 632 w 1138"/>
                  <a:gd name="T83" fmla="*/ 511 h 530"/>
                  <a:gd name="T84" fmla="*/ 707 w 1138"/>
                  <a:gd name="T85" fmla="*/ 457 h 530"/>
                  <a:gd name="T86" fmla="*/ 799 w 1138"/>
                  <a:gd name="T87" fmla="*/ 448 h 530"/>
                  <a:gd name="T88" fmla="*/ 853 w 1138"/>
                  <a:gd name="T89" fmla="*/ 451 h 530"/>
                  <a:gd name="T90" fmla="*/ 924 w 1138"/>
                  <a:gd name="T91" fmla="*/ 455 h 530"/>
                  <a:gd name="T92" fmla="*/ 967 w 1138"/>
                  <a:gd name="T93" fmla="*/ 444 h 530"/>
                  <a:gd name="T94" fmla="*/ 952 w 1138"/>
                  <a:gd name="T95" fmla="*/ 378 h 530"/>
                  <a:gd name="T96" fmla="*/ 1017 w 1138"/>
                  <a:gd name="T97" fmla="*/ 368 h 530"/>
                  <a:gd name="T98" fmla="*/ 1112 w 1138"/>
                  <a:gd name="T99" fmla="*/ 257 h 530"/>
                  <a:gd name="T100" fmla="*/ 1120 w 1138"/>
                  <a:gd name="T101" fmla="*/ 224 h 530"/>
                  <a:gd name="T102" fmla="*/ 1086 w 1138"/>
                  <a:gd name="T103" fmla="*/ 207 h 530"/>
                  <a:gd name="T104" fmla="*/ 1038 w 1138"/>
                  <a:gd name="T105" fmla="*/ 168 h 530"/>
                  <a:gd name="T106" fmla="*/ 989 w 1138"/>
                  <a:gd name="T107" fmla="*/ 177 h 530"/>
                  <a:gd name="T108" fmla="*/ 965 w 1138"/>
                  <a:gd name="T109" fmla="*/ 166 h 530"/>
                  <a:gd name="T110" fmla="*/ 923 w 1138"/>
                  <a:gd name="T111" fmla="*/ 137 h 530"/>
                  <a:gd name="T112" fmla="*/ 783 w 1138"/>
                  <a:gd name="T113" fmla="*/ 71 h 530"/>
                  <a:gd name="T114" fmla="*/ 733 w 1138"/>
                  <a:gd name="T115" fmla="*/ 55 h 530"/>
                  <a:gd name="T116" fmla="*/ 693 w 1138"/>
                  <a:gd name="T117" fmla="*/ 46 h 530"/>
                  <a:gd name="T118" fmla="*/ 685 w 1138"/>
                  <a:gd name="T119" fmla="*/ 2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8" h="530">
                    <a:moveTo>
                      <a:pt x="644" y="0"/>
                    </a:moveTo>
                    <a:cubicBezTo>
                      <a:pt x="644" y="0"/>
                      <a:pt x="644" y="0"/>
                      <a:pt x="644" y="0"/>
                    </a:cubicBezTo>
                    <a:cubicBezTo>
                      <a:pt x="644" y="0"/>
                      <a:pt x="643" y="0"/>
                      <a:pt x="643" y="0"/>
                    </a:cubicBezTo>
                    <a:cubicBezTo>
                      <a:pt x="642" y="0"/>
                      <a:pt x="642" y="0"/>
                      <a:pt x="642" y="0"/>
                    </a:cubicBezTo>
                    <a:cubicBezTo>
                      <a:pt x="642" y="0"/>
                      <a:pt x="642" y="0"/>
                      <a:pt x="642" y="0"/>
                    </a:cubicBezTo>
                    <a:cubicBezTo>
                      <a:pt x="641" y="0"/>
                      <a:pt x="641" y="0"/>
                      <a:pt x="641" y="0"/>
                    </a:cubicBezTo>
                    <a:cubicBezTo>
                      <a:pt x="640" y="1"/>
                      <a:pt x="640" y="1"/>
                      <a:pt x="640" y="1"/>
                    </a:cubicBezTo>
                    <a:cubicBezTo>
                      <a:pt x="639" y="1"/>
                      <a:pt x="639" y="1"/>
                      <a:pt x="638" y="1"/>
                    </a:cubicBezTo>
                    <a:cubicBezTo>
                      <a:pt x="638" y="1"/>
                      <a:pt x="638" y="1"/>
                      <a:pt x="638" y="1"/>
                    </a:cubicBezTo>
                    <a:cubicBezTo>
                      <a:pt x="637" y="1"/>
                      <a:pt x="637" y="1"/>
                      <a:pt x="637" y="1"/>
                    </a:cubicBezTo>
                    <a:cubicBezTo>
                      <a:pt x="637" y="2"/>
                      <a:pt x="636" y="2"/>
                      <a:pt x="635" y="2"/>
                    </a:cubicBezTo>
                    <a:cubicBezTo>
                      <a:pt x="634" y="2"/>
                      <a:pt x="632" y="1"/>
                      <a:pt x="631" y="1"/>
                    </a:cubicBezTo>
                    <a:cubicBezTo>
                      <a:pt x="631" y="0"/>
                      <a:pt x="631" y="0"/>
                      <a:pt x="631" y="0"/>
                    </a:cubicBezTo>
                    <a:cubicBezTo>
                      <a:pt x="631" y="0"/>
                      <a:pt x="630" y="0"/>
                      <a:pt x="630" y="0"/>
                    </a:cubicBezTo>
                    <a:cubicBezTo>
                      <a:pt x="629" y="1"/>
                      <a:pt x="629" y="2"/>
                      <a:pt x="628" y="3"/>
                    </a:cubicBezTo>
                    <a:cubicBezTo>
                      <a:pt x="627" y="6"/>
                      <a:pt x="624" y="8"/>
                      <a:pt x="620" y="9"/>
                    </a:cubicBezTo>
                    <a:cubicBezTo>
                      <a:pt x="619" y="10"/>
                      <a:pt x="618" y="11"/>
                      <a:pt x="618" y="11"/>
                    </a:cubicBezTo>
                    <a:cubicBezTo>
                      <a:pt x="617" y="12"/>
                      <a:pt x="617" y="12"/>
                      <a:pt x="617" y="12"/>
                    </a:cubicBezTo>
                    <a:cubicBezTo>
                      <a:pt x="615" y="13"/>
                      <a:pt x="614" y="13"/>
                      <a:pt x="613" y="14"/>
                    </a:cubicBezTo>
                    <a:cubicBezTo>
                      <a:pt x="612" y="15"/>
                      <a:pt x="611" y="15"/>
                      <a:pt x="609" y="16"/>
                    </a:cubicBezTo>
                    <a:cubicBezTo>
                      <a:pt x="609" y="16"/>
                      <a:pt x="609" y="16"/>
                      <a:pt x="609" y="16"/>
                    </a:cubicBezTo>
                    <a:cubicBezTo>
                      <a:pt x="608" y="16"/>
                      <a:pt x="607" y="16"/>
                      <a:pt x="606" y="15"/>
                    </a:cubicBezTo>
                    <a:cubicBezTo>
                      <a:pt x="605" y="15"/>
                      <a:pt x="605" y="15"/>
                      <a:pt x="605" y="15"/>
                    </a:cubicBezTo>
                    <a:cubicBezTo>
                      <a:pt x="604" y="15"/>
                      <a:pt x="604" y="15"/>
                      <a:pt x="604" y="15"/>
                    </a:cubicBezTo>
                    <a:cubicBezTo>
                      <a:pt x="604" y="15"/>
                      <a:pt x="604" y="15"/>
                      <a:pt x="604" y="15"/>
                    </a:cubicBezTo>
                    <a:cubicBezTo>
                      <a:pt x="604" y="15"/>
                      <a:pt x="604" y="15"/>
                      <a:pt x="604" y="15"/>
                    </a:cubicBezTo>
                    <a:cubicBezTo>
                      <a:pt x="603" y="17"/>
                      <a:pt x="603" y="17"/>
                      <a:pt x="603" y="17"/>
                    </a:cubicBezTo>
                    <a:cubicBezTo>
                      <a:pt x="586" y="20"/>
                      <a:pt x="586" y="20"/>
                      <a:pt x="586" y="20"/>
                    </a:cubicBezTo>
                    <a:cubicBezTo>
                      <a:pt x="585" y="20"/>
                      <a:pt x="584" y="20"/>
                      <a:pt x="583" y="21"/>
                    </a:cubicBezTo>
                    <a:cubicBezTo>
                      <a:pt x="590" y="25"/>
                      <a:pt x="590" y="25"/>
                      <a:pt x="590" y="25"/>
                    </a:cubicBezTo>
                    <a:cubicBezTo>
                      <a:pt x="576" y="23"/>
                      <a:pt x="576" y="23"/>
                      <a:pt x="576" y="23"/>
                    </a:cubicBezTo>
                    <a:cubicBezTo>
                      <a:pt x="575" y="23"/>
                      <a:pt x="575" y="23"/>
                      <a:pt x="575" y="23"/>
                    </a:cubicBezTo>
                    <a:cubicBezTo>
                      <a:pt x="574" y="23"/>
                      <a:pt x="574" y="23"/>
                      <a:pt x="574" y="23"/>
                    </a:cubicBezTo>
                    <a:cubicBezTo>
                      <a:pt x="574" y="23"/>
                      <a:pt x="574" y="23"/>
                      <a:pt x="574" y="23"/>
                    </a:cubicBezTo>
                    <a:cubicBezTo>
                      <a:pt x="574" y="23"/>
                      <a:pt x="574" y="23"/>
                      <a:pt x="574" y="23"/>
                    </a:cubicBezTo>
                    <a:cubicBezTo>
                      <a:pt x="573" y="24"/>
                      <a:pt x="573" y="24"/>
                      <a:pt x="573" y="24"/>
                    </a:cubicBezTo>
                    <a:cubicBezTo>
                      <a:pt x="572" y="25"/>
                      <a:pt x="571" y="25"/>
                      <a:pt x="571" y="25"/>
                    </a:cubicBezTo>
                    <a:cubicBezTo>
                      <a:pt x="570" y="25"/>
                      <a:pt x="570" y="25"/>
                      <a:pt x="570" y="25"/>
                    </a:cubicBezTo>
                    <a:cubicBezTo>
                      <a:pt x="570" y="25"/>
                      <a:pt x="570" y="25"/>
                      <a:pt x="570" y="25"/>
                    </a:cubicBezTo>
                    <a:cubicBezTo>
                      <a:pt x="569" y="25"/>
                      <a:pt x="569" y="25"/>
                      <a:pt x="569" y="25"/>
                    </a:cubicBezTo>
                    <a:cubicBezTo>
                      <a:pt x="569" y="25"/>
                      <a:pt x="569" y="25"/>
                      <a:pt x="569" y="25"/>
                    </a:cubicBezTo>
                    <a:cubicBezTo>
                      <a:pt x="569" y="25"/>
                      <a:pt x="569" y="25"/>
                      <a:pt x="569" y="25"/>
                    </a:cubicBezTo>
                    <a:cubicBezTo>
                      <a:pt x="569" y="25"/>
                      <a:pt x="569" y="25"/>
                      <a:pt x="569" y="25"/>
                    </a:cubicBezTo>
                    <a:cubicBezTo>
                      <a:pt x="568" y="25"/>
                      <a:pt x="568" y="25"/>
                      <a:pt x="568" y="25"/>
                    </a:cubicBezTo>
                    <a:cubicBezTo>
                      <a:pt x="567" y="25"/>
                      <a:pt x="566" y="25"/>
                      <a:pt x="565" y="25"/>
                    </a:cubicBezTo>
                    <a:cubicBezTo>
                      <a:pt x="564" y="25"/>
                      <a:pt x="564" y="25"/>
                      <a:pt x="564" y="25"/>
                    </a:cubicBezTo>
                    <a:cubicBezTo>
                      <a:pt x="562" y="26"/>
                      <a:pt x="562" y="26"/>
                      <a:pt x="562" y="26"/>
                    </a:cubicBezTo>
                    <a:cubicBezTo>
                      <a:pt x="561" y="26"/>
                      <a:pt x="559" y="26"/>
                      <a:pt x="558" y="27"/>
                    </a:cubicBezTo>
                    <a:cubicBezTo>
                      <a:pt x="553" y="28"/>
                      <a:pt x="553" y="28"/>
                      <a:pt x="553" y="28"/>
                    </a:cubicBezTo>
                    <a:cubicBezTo>
                      <a:pt x="553" y="28"/>
                      <a:pt x="553" y="28"/>
                      <a:pt x="552" y="28"/>
                    </a:cubicBezTo>
                    <a:cubicBezTo>
                      <a:pt x="552" y="28"/>
                      <a:pt x="552" y="28"/>
                      <a:pt x="551" y="28"/>
                    </a:cubicBezTo>
                    <a:cubicBezTo>
                      <a:pt x="546" y="28"/>
                      <a:pt x="546" y="28"/>
                      <a:pt x="546" y="28"/>
                    </a:cubicBezTo>
                    <a:cubicBezTo>
                      <a:pt x="546" y="28"/>
                      <a:pt x="546" y="28"/>
                      <a:pt x="546" y="28"/>
                    </a:cubicBezTo>
                    <a:cubicBezTo>
                      <a:pt x="546" y="28"/>
                      <a:pt x="546" y="28"/>
                      <a:pt x="546" y="28"/>
                    </a:cubicBezTo>
                    <a:cubicBezTo>
                      <a:pt x="538" y="28"/>
                      <a:pt x="538" y="28"/>
                      <a:pt x="538" y="28"/>
                    </a:cubicBezTo>
                    <a:cubicBezTo>
                      <a:pt x="536" y="28"/>
                      <a:pt x="536" y="28"/>
                      <a:pt x="536" y="28"/>
                    </a:cubicBezTo>
                    <a:cubicBezTo>
                      <a:pt x="536" y="28"/>
                      <a:pt x="536" y="29"/>
                      <a:pt x="535" y="29"/>
                    </a:cubicBezTo>
                    <a:cubicBezTo>
                      <a:pt x="531" y="32"/>
                      <a:pt x="531" y="32"/>
                      <a:pt x="531" y="32"/>
                    </a:cubicBezTo>
                    <a:cubicBezTo>
                      <a:pt x="536" y="36"/>
                      <a:pt x="536" y="36"/>
                      <a:pt x="536" y="36"/>
                    </a:cubicBezTo>
                    <a:cubicBezTo>
                      <a:pt x="529" y="33"/>
                      <a:pt x="529" y="33"/>
                      <a:pt x="529" y="33"/>
                    </a:cubicBezTo>
                    <a:cubicBezTo>
                      <a:pt x="529" y="33"/>
                      <a:pt x="529" y="33"/>
                      <a:pt x="529" y="33"/>
                    </a:cubicBezTo>
                    <a:cubicBezTo>
                      <a:pt x="528" y="34"/>
                      <a:pt x="528" y="35"/>
                      <a:pt x="527" y="36"/>
                    </a:cubicBezTo>
                    <a:cubicBezTo>
                      <a:pt x="524" y="40"/>
                      <a:pt x="524" y="40"/>
                      <a:pt x="524" y="40"/>
                    </a:cubicBezTo>
                    <a:cubicBezTo>
                      <a:pt x="521" y="39"/>
                      <a:pt x="521" y="39"/>
                      <a:pt x="521" y="39"/>
                    </a:cubicBezTo>
                    <a:cubicBezTo>
                      <a:pt x="520" y="37"/>
                      <a:pt x="520" y="37"/>
                      <a:pt x="520" y="37"/>
                    </a:cubicBezTo>
                    <a:cubicBezTo>
                      <a:pt x="519" y="38"/>
                      <a:pt x="519" y="38"/>
                      <a:pt x="519" y="38"/>
                    </a:cubicBezTo>
                    <a:cubicBezTo>
                      <a:pt x="518" y="39"/>
                      <a:pt x="518" y="39"/>
                      <a:pt x="518" y="39"/>
                    </a:cubicBezTo>
                    <a:cubicBezTo>
                      <a:pt x="516" y="39"/>
                      <a:pt x="516" y="39"/>
                      <a:pt x="516" y="39"/>
                    </a:cubicBezTo>
                    <a:cubicBezTo>
                      <a:pt x="515" y="39"/>
                      <a:pt x="514" y="39"/>
                      <a:pt x="513" y="39"/>
                    </a:cubicBezTo>
                    <a:cubicBezTo>
                      <a:pt x="511" y="39"/>
                      <a:pt x="511" y="39"/>
                      <a:pt x="511" y="39"/>
                    </a:cubicBezTo>
                    <a:cubicBezTo>
                      <a:pt x="511" y="39"/>
                      <a:pt x="511" y="39"/>
                      <a:pt x="511" y="39"/>
                    </a:cubicBezTo>
                    <a:cubicBezTo>
                      <a:pt x="511" y="39"/>
                      <a:pt x="510" y="39"/>
                      <a:pt x="510" y="38"/>
                    </a:cubicBezTo>
                    <a:cubicBezTo>
                      <a:pt x="509" y="38"/>
                      <a:pt x="509" y="38"/>
                      <a:pt x="509" y="38"/>
                    </a:cubicBezTo>
                    <a:cubicBezTo>
                      <a:pt x="509" y="38"/>
                      <a:pt x="509" y="39"/>
                      <a:pt x="508" y="39"/>
                    </a:cubicBezTo>
                    <a:cubicBezTo>
                      <a:pt x="506" y="39"/>
                      <a:pt x="506" y="39"/>
                      <a:pt x="506" y="39"/>
                    </a:cubicBezTo>
                    <a:cubicBezTo>
                      <a:pt x="504" y="40"/>
                      <a:pt x="504" y="40"/>
                      <a:pt x="504" y="40"/>
                    </a:cubicBezTo>
                    <a:cubicBezTo>
                      <a:pt x="504" y="40"/>
                      <a:pt x="503" y="40"/>
                      <a:pt x="503" y="40"/>
                    </a:cubicBezTo>
                    <a:cubicBezTo>
                      <a:pt x="502" y="40"/>
                      <a:pt x="502" y="40"/>
                      <a:pt x="502" y="40"/>
                    </a:cubicBezTo>
                    <a:cubicBezTo>
                      <a:pt x="502" y="40"/>
                      <a:pt x="502" y="40"/>
                      <a:pt x="502" y="40"/>
                    </a:cubicBezTo>
                    <a:cubicBezTo>
                      <a:pt x="486" y="43"/>
                      <a:pt x="486" y="43"/>
                      <a:pt x="486" y="43"/>
                    </a:cubicBezTo>
                    <a:cubicBezTo>
                      <a:pt x="486" y="43"/>
                      <a:pt x="486" y="43"/>
                      <a:pt x="486" y="43"/>
                    </a:cubicBezTo>
                    <a:cubicBezTo>
                      <a:pt x="486" y="43"/>
                      <a:pt x="486" y="43"/>
                      <a:pt x="486" y="43"/>
                    </a:cubicBezTo>
                    <a:cubicBezTo>
                      <a:pt x="485" y="44"/>
                      <a:pt x="485" y="44"/>
                      <a:pt x="485" y="44"/>
                    </a:cubicBezTo>
                    <a:cubicBezTo>
                      <a:pt x="474" y="46"/>
                      <a:pt x="474" y="46"/>
                      <a:pt x="474" y="46"/>
                    </a:cubicBezTo>
                    <a:cubicBezTo>
                      <a:pt x="472" y="46"/>
                      <a:pt x="472" y="46"/>
                      <a:pt x="472" y="46"/>
                    </a:cubicBezTo>
                    <a:cubicBezTo>
                      <a:pt x="471" y="46"/>
                      <a:pt x="471" y="46"/>
                      <a:pt x="471" y="46"/>
                    </a:cubicBezTo>
                    <a:cubicBezTo>
                      <a:pt x="470" y="46"/>
                      <a:pt x="470" y="46"/>
                      <a:pt x="470" y="46"/>
                    </a:cubicBezTo>
                    <a:cubicBezTo>
                      <a:pt x="470" y="47"/>
                      <a:pt x="470" y="47"/>
                      <a:pt x="470" y="47"/>
                    </a:cubicBezTo>
                    <a:cubicBezTo>
                      <a:pt x="468" y="47"/>
                      <a:pt x="468" y="47"/>
                      <a:pt x="468" y="47"/>
                    </a:cubicBezTo>
                    <a:cubicBezTo>
                      <a:pt x="461" y="49"/>
                      <a:pt x="461" y="49"/>
                      <a:pt x="461" y="49"/>
                    </a:cubicBezTo>
                    <a:cubicBezTo>
                      <a:pt x="461" y="49"/>
                      <a:pt x="461" y="49"/>
                      <a:pt x="461" y="49"/>
                    </a:cubicBezTo>
                    <a:cubicBezTo>
                      <a:pt x="460" y="49"/>
                      <a:pt x="460" y="49"/>
                      <a:pt x="460" y="49"/>
                    </a:cubicBezTo>
                    <a:cubicBezTo>
                      <a:pt x="459" y="49"/>
                      <a:pt x="458" y="50"/>
                      <a:pt x="457" y="50"/>
                    </a:cubicBezTo>
                    <a:cubicBezTo>
                      <a:pt x="457" y="50"/>
                      <a:pt x="457" y="50"/>
                      <a:pt x="457" y="50"/>
                    </a:cubicBezTo>
                    <a:cubicBezTo>
                      <a:pt x="457" y="50"/>
                      <a:pt x="457" y="50"/>
                      <a:pt x="457" y="50"/>
                    </a:cubicBezTo>
                    <a:cubicBezTo>
                      <a:pt x="455" y="51"/>
                      <a:pt x="455" y="51"/>
                      <a:pt x="455" y="51"/>
                    </a:cubicBezTo>
                    <a:cubicBezTo>
                      <a:pt x="453" y="54"/>
                      <a:pt x="453" y="54"/>
                      <a:pt x="453" y="54"/>
                    </a:cubicBezTo>
                    <a:cubicBezTo>
                      <a:pt x="452" y="55"/>
                      <a:pt x="452" y="55"/>
                      <a:pt x="452" y="55"/>
                    </a:cubicBezTo>
                    <a:cubicBezTo>
                      <a:pt x="449" y="57"/>
                      <a:pt x="449" y="57"/>
                      <a:pt x="449" y="57"/>
                    </a:cubicBezTo>
                    <a:cubicBezTo>
                      <a:pt x="449" y="56"/>
                      <a:pt x="449" y="56"/>
                      <a:pt x="449" y="56"/>
                    </a:cubicBezTo>
                    <a:cubicBezTo>
                      <a:pt x="442" y="62"/>
                      <a:pt x="442" y="62"/>
                      <a:pt x="442" y="62"/>
                    </a:cubicBezTo>
                    <a:cubicBezTo>
                      <a:pt x="446" y="54"/>
                      <a:pt x="446" y="54"/>
                      <a:pt x="446" y="54"/>
                    </a:cubicBezTo>
                    <a:cubicBezTo>
                      <a:pt x="446" y="54"/>
                      <a:pt x="446" y="54"/>
                      <a:pt x="446" y="54"/>
                    </a:cubicBezTo>
                    <a:cubicBezTo>
                      <a:pt x="445" y="53"/>
                      <a:pt x="445" y="53"/>
                      <a:pt x="445" y="53"/>
                    </a:cubicBezTo>
                    <a:cubicBezTo>
                      <a:pt x="444" y="52"/>
                      <a:pt x="444" y="52"/>
                      <a:pt x="444" y="52"/>
                    </a:cubicBezTo>
                    <a:cubicBezTo>
                      <a:pt x="444" y="52"/>
                      <a:pt x="444" y="52"/>
                      <a:pt x="444" y="52"/>
                    </a:cubicBezTo>
                    <a:cubicBezTo>
                      <a:pt x="443" y="52"/>
                      <a:pt x="443" y="52"/>
                      <a:pt x="443" y="52"/>
                    </a:cubicBezTo>
                    <a:cubicBezTo>
                      <a:pt x="442" y="52"/>
                      <a:pt x="441" y="52"/>
                      <a:pt x="441" y="52"/>
                    </a:cubicBezTo>
                    <a:cubicBezTo>
                      <a:pt x="439" y="60"/>
                      <a:pt x="439" y="60"/>
                      <a:pt x="439" y="60"/>
                    </a:cubicBezTo>
                    <a:cubicBezTo>
                      <a:pt x="439" y="52"/>
                      <a:pt x="439" y="52"/>
                      <a:pt x="439" y="52"/>
                    </a:cubicBezTo>
                    <a:cubicBezTo>
                      <a:pt x="438" y="52"/>
                      <a:pt x="438" y="52"/>
                      <a:pt x="438" y="52"/>
                    </a:cubicBezTo>
                    <a:cubicBezTo>
                      <a:pt x="437" y="53"/>
                      <a:pt x="437" y="53"/>
                      <a:pt x="437" y="53"/>
                    </a:cubicBezTo>
                    <a:cubicBezTo>
                      <a:pt x="431" y="53"/>
                      <a:pt x="431" y="53"/>
                      <a:pt x="431" y="53"/>
                    </a:cubicBezTo>
                    <a:cubicBezTo>
                      <a:pt x="431" y="53"/>
                      <a:pt x="430" y="53"/>
                      <a:pt x="430" y="53"/>
                    </a:cubicBezTo>
                    <a:cubicBezTo>
                      <a:pt x="426" y="53"/>
                      <a:pt x="424" y="52"/>
                      <a:pt x="420" y="51"/>
                    </a:cubicBezTo>
                    <a:cubicBezTo>
                      <a:pt x="419" y="51"/>
                      <a:pt x="419" y="51"/>
                      <a:pt x="419" y="51"/>
                    </a:cubicBezTo>
                    <a:cubicBezTo>
                      <a:pt x="419" y="51"/>
                      <a:pt x="419" y="51"/>
                      <a:pt x="419" y="51"/>
                    </a:cubicBezTo>
                    <a:cubicBezTo>
                      <a:pt x="419" y="51"/>
                      <a:pt x="418" y="51"/>
                      <a:pt x="418" y="51"/>
                    </a:cubicBezTo>
                    <a:cubicBezTo>
                      <a:pt x="417" y="51"/>
                      <a:pt x="415" y="53"/>
                      <a:pt x="415" y="53"/>
                    </a:cubicBezTo>
                    <a:cubicBezTo>
                      <a:pt x="414" y="53"/>
                      <a:pt x="414" y="53"/>
                      <a:pt x="414" y="53"/>
                    </a:cubicBezTo>
                    <a:cubicBezTo>
                      <a:pt x="417" y="55"/>
                      <a:pt x="417" y="55"/>
                      <a:pt x="417" y="55"/>
                    </a:cubicBezTo>
                    <a:cubicBezTo>
                      <a:pt x="417" y="56"/>
                      <a:pt x="417" y="56"/>
                      <a:pt x="417" y="57"/>
                    </a:cubicBezTo>
                    <a:cubicBezTo>
                      <a:pt x="417" y="58"/>
                      <a:pt x="417" y="58"/>
                      <a:pt x="417" y="58"/>
                    </a:cubicBezTo>
                    <a:cubicBezTo>
                      <a:pt x="417" y="59"/>
                      <a:pt x="417" y="59"/>
                      <a:pt x="417" y="59"/>
                    </a:cubicBezTo>
                    <a:cubicBezTo>
                      <a:pt x="417" y="60"/>
                      <a:pt x="417" y="60"/>
                      <a:pt x="417" y="60"/>
                    </a:cubicBezTo>
                    <a:cubicBezTo>
                      <a:pt x="416" y="60"/>
                      <a:pt x="416" y="60"/>
                      <a:pt x="416" y="60"/>
                    </a:cubicBezTo>
                    <a:cubicBezTo>
                      <a:pt x="414" y="63"/>
                      <a:pt x="414" y="63"/>
                      <a:pt x="414" y="63"/>
                    </a:cubicBezTo>
                    <a:cubicBezTo>
                      <a:pt x="416" y="63"/>
                      <a:pt x="416" y="63"/>
                      <a:pt x="416" y="63"/>
                    </a:cubicBezTo>
                    <a:cubicBezTo>
                      <a:pt x="417" y="63"/>
                      <a:pt x="418" y="62"/>
                      <a:pt x="419" y="62"/>
                    </a:cubicBezTo>
                    <a:cubicBezTo>
                      <a:pt x="419" y="62"/>
                      <a:pt x="419" y="62"/>
                      <a:pt x="419" y="62"/>
                    </a:cubicBezTo>
                    <a:cubicBezTo>
                      <a:pt x="420" y="62"/>
                      <a:pt x="420" y="62"/>
                      <a:pt x="421" y="62"/>
                    </a:cubicBezTo>
                    <a:cubicBezTo>
                      <a:pt x="421" y="62"/>
                      <a:pt x="421" y="62"/>
                      <a:pt x="421" y="62"/>
                    </a:cubicBezTo>
                    <a:cubicBezTo>
                      <a:pt x="422" y="62"/>
                      <a:pt x="423" y="62"/>
                      <a:pt x="423" y="63"/>
                    </a:cubicBezTo>
                    <a:cubicBezTo>
                      <a:pt x="424" y="63"/>
                      <a:pt x="424" y="63"/>
                      <a:pt x="424" y="63"/>
                    </a:cubicBezTo>
                    <a:cubicBezTo>
                      <a:pt x="424" y="63"/>
                      <a:pt x="424" y="63"/>
                      <a:pt x="424" y="63"/>
                    </a:cubicBezTo>
                    <a:cubicBezTo>
                      <a:pt x="427" y="64"/>
                      <a:pt x="427" y="64"/>
                      <a:pt x="427" y="64"/>
                    </a:cubicBezTo>
                    <a:cubicBezTo>
                      <a:pt x="427" y="65"/>
                      <a:pt x="427" y="65"/>
                      <a:pt x="427" y="65"/>
                    </a:cubicBezTo>
                    <a:cubicBezTo>
                      <a:pt x="433" y="64"/>
                      <a:pt x="433" y="64"/>
                      <a:pt x="433" y="64"/>
                    </a:cubicBezTo>
                    <a:cubicBezTo>
                      <a:pt x="427" y="70"/>
                      <a:pt x="427" y="70"/>
                      <a:pt x="427" y="70"/>
                    </a:cubicBezTo>
                    <a:cubicBezTo>
                      <a:pt x="427" y="70"/>
                      <a:pt x="427" y="70"/>
                      <a:pt x="427" y="70"/>
                    </a:cubicBezTo>
                    <a:cubicBezTo>
                      <a:pt x="426" y="71"/>
                      <a:pt x="426" y="71"/>
                      <a:pt x="426" y="71"/>
                    </a:cubicBezTo>
                    <a:cubicBezTo>
                      <a:pt x="425" y="72"/>
                      <a:pt x="425" y="72"/>
                      <a:pt x="424" y="73"/>
                    </a:cubicBezTo>
                    <a:cubicBezTo>
                      <a:pt x="424" y="73"/>
                      <a:pt x="424" y="73"/>
                      <a:pt x="424" y="73"/>
                    </a:cubicBezTo>
                    <a:cubicBezTo>
                      <a:pt x="423" y="75"/>
                      <a:pt x="423" y="75"/>
                      <a:pt x="423" y="75"/>
                    </a:cubicBezTo>
                    <a:cubicBezTo>
                      <a:pt x="421" y="75"/>
                      <a:pt x="421" y="75"/>
                      <a:pt x="421" y="75"/>
                    </a:cubicBezTo>
                    <a:cubicBezTo>
                      <a:pt x="420" y="75"/>
                      <a:pt x="420" y="75"/>
                      <a:pt x="420" y="75"/>
                    </a:cubicBezTo>
                    <a:cubicBezTo>
                      <a:pt x="420" y="75"/>
                      <a:pt x="420" y="75"/>
                      <a:pt x="420" y="75"/>
                    </a:cubicBezTo>
                    <a:cubicBezTo>
                      <a:pt x="420" y="75"/>
                      <a:pt x="421" y="75"/>
                      <a:pt x="421" y="75"/>
                    </a:cubicBezTo>
                    <a:cubicBezTo>
                      <a:pt x="424" y="77"/>
                      <a:pt x="424" y="77"/>
                      <a:pt x="424" y="77"/>
                    </a:cubicBezTo>
                    <a:cubicBezTo>
                      <a:pt x="424" y="76"/>
                      <a:pt x="424" y="76"/>
                      <a:pt x="424" y="76"/>
                    </a:cubicBezTo>
                    <a:cubicBezTo>
                      <a:pt x="425" y="77"/>
                      <a:pt x="425" y="77"/>
                      <a:pt x="425" y="77"/>
                    </a:cubicBezTo>
                    <a:cubicBezTo>
                      <a:pt x="427" y="77"/>
                      <a:pt x="428" y="78"/>
                      <a:pt x="430" y="78"/>
                    </a:cubicBezTo>
                    <a:cubicBezTo>
                      <a:pt x="436" y="80"/>
                      <a:pt x="436" y="80"/>
                      <a:pt x="436" y="80"/>
                    </a:cubicBezTo>
                    <a:cubicBezTo>
                      <a:pt x="438" y="81"/>
                      <a:pt x="440" y="82"/>
                      <a:pt x="442" y="82"/>
                    </a:cubicBezTo>
                    <a:cubicBezTo>
                      <a:pt x="444" y="84"/>
                      <a:pt x="444" y="84"/>
                      <a:pt x="444" y="84"/>
                    </a:cubicBezTo>
                    <a:cubicBezTo>
                      <a:pt x="443" y="87"/>
                      <a:pt x="443" y="87"/>
                      <a:pt x="443" y="87"/>
                    </a:cubicBezTo>
                    <a:cubicBezTo>
                      <a:pt x="443" y="87"/>
                      <a:pt x="443" y="88"/>
                      <a:pt x="442" y="89"/>
                    </a:cubicBezTo>
                    <a:cubicBezTo>
                      <a:pt x="442" y="89"/>
                      <a:pt x="442" y="90"/>
                      <a:pt x="442" y="90"/>
                    </a:cubicBezTo>
                    <a:cubicBezTo>
                      <a:pt x="441" y="90"/>
                      <a:pt x="441" y="90"/>
                      <a:pt x="441" y="90"/>
                    </a:cubicBezTo>
                    <a:cubicBezTo>
                      <a:pt x="441" y="91"/>
                      <a:pt x="440" y="92"/>
                      <a:pt x="440" y="92"/>
                    </a:cubicBezTo>
                    <a:cubicBezTo>
                      <a:pt x="439" y="93"/>
                      <a:pt x="439" y="93"/>
                      <a:pt x="439" y="93"/>
                    </a:cubicBezTo>
                    <a:cubicBezTo>
                      <a:pt x="439" y="93"/>
                      <a:pt x="439" y="93"/>
                      <a:pt x="439" y="93"/>
                    </a:cubicBezTo>
                    <a:cubicBezTo>
                      <a:pt x="438" y="94"/>
                      <a:pt x="438" y="94"/>
                      <a:pt x="438" y="94"/>
                    </a:cubicBezTo>
                    <a:cubicBezTo>
                      <a:pt x="438" y="94"/>
                      <a:pt x="438" y="94"/>
                      <a:pt x="438" y="94"/>
                    </a:cubicBezTo>
                    <a:cubicBezTo>
                      <a:pt x="437" y="94"/>
                      <a:pt x="437" y="94"/>
                      <a:pt x="437" y="94"/>
                    </a:cubicBezTo>
                    <a:cubicBezTo>
                      <a:pt x="437" y="94"/>
                      <a:pt x="436" y="94"/>
                      <a:pt x="436" y="94"/>
                    </a:cubicBezTo>
                    <a:cubicBezTo>
                      <a:pt x="435" y="94"/>
                      <a:pt x="434" y="94"/>
                      <a:pt x="434" y="93"/>
                    </a:cubicBezTo>
                    <a:cubicBezTo>
                      <a:pt x="434" y="92"/>
                      <a:pt x="434" y="92"/>
                      <a:pt x="434" y="92"/>
                    </a:cubicBezTo>
                    <a:cubicBezTo>
                      <a:pt x="434" y="92"/>
                      <a:pt x="434" y="92"/>
                      <a:pt x="434" y="92"/>
                    </a:cubicBezTo>
                    <a:cubicBezTo>
                      <a:pt x="433" y="93"/>
                      <a:pt x="433" y="93"/>
                      <a:pt x="433" y="93"/>
                    </a:cubicBezTo>
                    <a:cubicBezTo>
                      <a:pt x="433" y="93"/>
                      <a:pt x="433" y="93"/>
                      <a:pt x="433" y="93"/>
                    </a:cubicBezTo>
                    <a:cubicBezTo>
                      <a:pt x="434" y="100"/>
                      <a:pt x="434" y="100"/>
                      <a:pt x="434" y="100"/>
                    </a:cubicBezTo>
                    <a:cubicBezTo>
                      <a:pt x="431" y="93"/>
                      <a:pt x="431" y="93"/>
                      <a:pt x="431" y="93"/>
                    </a:cubicBezTo>
                    <a:cubicBezTo>
                      <a:pt x="430" y="93"/>
                      <a:pt x="430" y="93"/>
                      <a:pt x="429" y="93"/>
                    </a:cubicBezTo>
                    <a:cubicBezTo>
                      <a:pt x="429" y="93"/>
                      <a:pt x="428" y="93"/>
                      <a:pt x="428" y="93"/>
                    </a:cubicBezTo>
                    <a:cubicBezTo>
                      <a:pt x="428" y="93"/>
                      <a:pt x="428" y="93"/>
                      <a:pt x="428" y="93"/>
                    </a:cubicBezTo>
                    <a:cubicBezTo>
                      <a:pt x="428" y="93"/>
                      <a:pt x="428" y="93"/>
                      <a:pt x="428" y="93"/>
                    </a:cubicBezTo>
                    <a:cubicBezTo>
                      <a:pt x="427" y="93"/>
                      <a:pt x="426" y="93"/>
                      <a:pt x="425" y="93"/>
                    </a:cubicBezTo>
                    <a:cubicBezTo>
                      <a:pt x="425" y="93"/>
                      <a:pt x="425" y="93"/>
                      <a:pt x="424" y="93"/>
                    </a:cubicBezTo>
                    <a:cubicBezTo>
                      <a:pt x="423" y="93"/>
                      <a:pt x="423" y="93"/>
                      <a:pt x="423" y="93"/>
                    </a:cubicBezTo>
                    <a:cubicBezTo>
                      <a:pt x="423" y="93"/>
                      <a:pt x="422" y="92"/>
                      <a:pt x="422" y="92"/>
                    </a:cubicBezTo>
                    <a:cubicBezTo>
                      <a:pt x="422" y="92"/>
                      <a:pt x="422" y="92"/>
                      <a:pt x="422" y="92"/>
                    </a:cubicBezTo>
                    <a:cubicBezTo>
                      <a:pt x="420" y="98"/>
                      <a:pt x="420" y="98"/>
                      <a:pt x="420" y="98"/>
                    </a:cubicBezTo>
                    <a:cubicBezTo>
                      <a:pt x="420" y="92"/>
                      <a:pt x="420" y="92"/>
                      <a:pt x="420" y="92"/>
                    </a:cubicBezTo>
                    <a:cubicBezTo>
                      <a:pt x="419" y="92"/>
                      <a:pt x="419" y="92"/>
                      <a:pt x="419" y="92"/>
                    </a:cubicBezTo>
                    <a:cubicBezTo>
                      <a:pt x="418" y="92"/>
                      <a:pt x="417" y="92"/>
                      <a:pt x="416" y="92"/>
                    </a:cubicBezTo>
                    <a:cubicBezTo>
                      <a:pt x="414" y="91"/>
                      <a:pt x="414" y="91"/>
                      <a:pt x="414" y="91"/>
                    </a:cubicBezTo>
                    <a:cubicBezTo>
                      <a:pt x="413" y="91"/>
                      <a:pt x="413" y="91"/>
                      <a:pt x="413" y="91"/>
                    </a:cubicBezTo>
                    <a:cubicBezTo>
                      <a:pt x="412" y="92"/>
                      <a:pt x="412" y="92"/>
                      <a:pt x="412" y="92"/>
                    </a:cubicBezTo>
                    <a:cubicBezTo>
                      <a:pt x="409" y="95"/>
                      <a:pt x="409" y="95"/>
                      <a:pt x="409" y="95"/>
                    </a:cubicBezTo>
                    <a:cubicBezTo>
                      <a:pt x="407" y="97"/>
                      <a:pt x="406" y="98"/>
                      <a:pt x="404" y="100"/>
                    </a:cubicBezTo>
                    <a:cubicBezTo>
                      <a:pt x="404" y="100"/>
                      <a:pt x="404" y="100"/>
                      <a:pt x="404" y="100"/>
                    </a:cubicBezTo>
                    <a:cubicBezTo>
                      <a:pt x="409" y="108"/>
                      <a:pt x="409" y="108"/>
                      <a:pt x="409" y="108"/>
                    </a:cubicBezTo>
                    <a:cubicBezTo>
                      <a:pt x="410" y="109"/>
                      <a:pt x="411" y="110"/>
                      <a:pt x="411" y="110"/>
                    </a:cubicBezTo>
                    <a:cubicBezTo>
                      <a:pt x="412" y="112"/>
                      <a:pt x="412" y="112"/>
                      <a:pt x="412" y="112"/>
                    </a:cubicBezTo>
                    <a:cubicBezTo>
                      <a:pt x="413" y="114"/>
                      <a:pt x="412" y="115"/>
                      <a:pt x="411" y="116"/>
                    </a:cubicBezTo>
                    <a:cubicBezTo>
                      <a:pt x="411" y="116"/>
                      <a:pt x="411" y="116"/>
                      <a:pt x="411" y="116"/>
                    </a:cubicBezTo>
                    <a:cubicBezTo>
                      <a:pt x="411" y="116"/>
                      <a:pt x="411" y="116"/>
                      <a:pt x="411" y="116"/>
                    </a:cubicBezTo>
                    <a:cubicBezTo>
                      <a:pt x="409" y="118"/>
                      <a:pt x="409" y="118"/>
                      <a:pt x="409" y="118"/>
                    </a:cubicBezTo>
                    <a:cubicBezTo>
                      <a:pt x="408" y="119"/>
                      <a:pt x="407" y="119"/>
                      <a:pt x="406" y="120"/>
                    </a:cubicBezTo>
                    <a:cubicBezTo>
                      <a:pt x="406" y="120"/>
                      <a:pt x="406" y="120"/>
                      <a:pt x="406" y="120"/>
                    </a:cubicBezTo>
                    <a:cubicBezTo>
                      <a:pt x="404" y="121"/>
                      <a:pt x="404" y="121"/>
                      <a:pt x="404" y="121"/>
                    </a:cubicBezTo>
                    <a:cubicBezTo>
                      <a:pt x="404" y="121"/>
                      <a:pt x="404" y="121"/>
                      <a:pt x="404" y="121"/>
                    </a:cubicBezTo>
                    <a:cubicBezTo>
                      <a:pt x="403" y="122"/>
                      <a:pt x="403" y="122"/>
                      <a:pt x="403" y="122"/>
                    </a:cubicBezTo>
                    <a:cubicBezTo>
                      <a:pt x="401" y="124"/>
                      <a:pt x="400" y="124"/>
                      <a:pt x="396" y="124"/>
                    </a:cubicBezTo>
                    <a:cubicBezTo>
                      <a:pt x="395" y="124"/>
                      <a:pt x="395" y="124"/>
                      <a:pt x="395" y="124"/>
                    </a:cubicBezTo>
                    <a:cubicBezTo>
                      <a:pt x="395" y="124"/>
                      <a:pt x="395" y="124"/>
                      <a:pt x="395" y="124"/>
                    </a:cubicBezTo>
                    <a:cubicBezTo>
                      <a:pt x="394" y="124"/>
                      <a:pt x="394" y="124"/>
                      <a:pt x="394" y="124"/>
                    </a:cubicBezTo>
                    <a:cubicBezTo>
                      <a:pt x="393" y="125"/>
                      <a:pt x="393" y="125"/>
                      <a:pt x="393" y="125"/>
                    </a:cubicBezTo>
                    <a:cubicBezTo>
                      <a:pt x="392" y="126"/>
                      <a:pt x="392" y="126"/>
                      <a:pt x="391" y="127"/>
                    </a:cubicBezTo>
                    <a:cubicBezTo>
                      <a:pt x="400" y="131"/>
                      <a:pt x="400" y="131"/>
                      <a:pt x="400" y="131"/>
                    </a:cubicBezTo>
                    <a:cubicBezTo>
                      <a:pt x="394" y="131"/>
                      <a:pt x="394" y="131"/>
                      <a:pt x="394" y="131"/>
                    </a:cubicBezTo>
                    <a:cubicBezTo>
                      <a:pt x="394" y="131"/>
                      <a:pt x="394" y="131"/>
                      <a:pt x="394" y="131"/>
                    </a:cubicBezTo>
                    <a:cubicBezTo>
                      <a:pt x="393" y="131"/>
                      <a:pt x="393" y="131"/>
                      <a:pt x="393" y="131"/>
                    </a:cubicBezTo>
                    <a:cubicBezTo>
                      <a:pt x="387" y="130"/>
                      <a:pt x="387" y="130"/>
                      <a:pt x="387" y="130"/>
                    </a:cubicBezTo>
                    <a:cubicBezTo>
                      <a:pt x="388" y="131"/>
                      <a:pt x="389" y="132"/>
                      <a:pt x="390" y="132"/>
                    </a:cubicBezTo>
                    <a:cubicBezTo>
                      <a:pt x="391" y="133"/>
                      <a:pt x="391" y="133"/>
                      <a:pt x="391" y="133"/>
                    </a:cubicBezTo>
                    <a:cubicBezTo>
                      <a:pt x="392" y="133"/>
                      <a:pt x="393" y="133"/>
                      <a:pt x="393" y="134"/>
                    </a:cubicBezTo>
                    <a:cubicBezTo>
                      <a:pt x="396" y="135"/>
                      <a:pt x="396" y="135"/>
                      <a:pt x="396" y="135"/>
                    </a:cubicBezTo>
                    <a:cubicBezTo>
                      <a:pt x="396" y="137"/>
                      <a:pt x="396" y="137"/>
                      <a:pt x="396" y="137"/>
                    </a:cubicBezTo>
                    <a:cubicBezTo>
                      <a:pt x="396" y="137"/>
                      <a:pt x="396" y="137"/>
                      <a:pt x="396" y="137"/>
                    </a:cubicBezTo>
                    <a:cubicBezTo>
                      <a:pt x="397" y="137"/>
                      <a:pt x="397" y="137"/>
                      <a:pt x="397" y="137"/>
                    </a:cubicBezTo>
                    <a:cubicBezTo>
                      <a:pt x="397" y="137"/>
                      <a:pt x="397" y="137"/>
                      <a:pt x="397" y="137"/>
                    </a:cubicBezTo>
                    <a:cubicBezTo>
                      <a:pt x="401" y="138"/>
                      <a:pt x="401" y="138"/>
                      <a:pt x="401" y="138"/>
                    </a:cubicBezTo>
                    <a:cubicBezTo>
                      <a:pt x="411" y="143"/>
                      <a:pt x="411" y="143"/>
                      <a:pt x="411" y="143"/>
                    </a:cubicBezTo>
                    <a:cubicBezTo>
                      <a:pt x="414" y="143"/>
                      <a:pt x="414" y="143"/>
                      <a:pt x="414" y="143"/>
                    </a:cubicBezTo>
                    <a:cubicBezTo>
                      <a:pt x="414" y="144"/>
                      <a:pt x="414" y="144"/>
                      <a:pt x="414" y="144"/>
                    </a:cubicBezTo>
                    <a:cubicBezTo>
                      <a:pt x="426" y="150"/>
                      <a:pt x="426" y="150"/>
                      <a:pt x="426" y="150"/>
                    </a:cubicBezTo>
                    <a:cubicBezTo>
                      <a:pt x="428" y="145"/>
                      <a:pt x="428" y="145"/>
                      <a:pt x="428" y="145"/>
                    </a:cubicBezTo>
                    <a:cubicBezTo>
                      <a:pt x="428" y="151"/>
                      <a:pt x="428" y="151"/>
                      <a:pt x="428" y="151"/>
                    </a:cubicBezTo>
                    <a:cubicBezTo>
                      <a:pt x="434" y="153"/>
                      <a:pt x="434" y="153"/>
                      <a:pt x="434" y="153"/>
                    </a:cubicBezTo>
                    <a:cubicBezTo>
                      <a:pt x="432" y="154"/>
                      <a:pt x="432" y="154"/>
                      <a:pt x="432" y="154"/>
                    </a:cubicBezTo>
                    <a:cubicBezTo>
                      <a:pt x="440" y="160"/>
                      <a:pt x="440" y="160"/>
                      <a:pt x="440" y="160"/>
                    </a:cubicBezTo>
                    <a:cubicBezTo>
                      <a:pt x="429" y="158"/>
                      <a:pt x="429" y="158"/>
                      <a:pt x="429" y="158"/>
                    </a:cubicBezTo>
                    <a:cubicBezTo>
                      <a:pt x="429" y="159"/>
                      <a:pt x="429" y="159"/>
                      <a:pt x="429" y="159"/>
                    </a:cubicBezTo>
                    <a:cubicBezTo>
                      <a:pt x="427" y="160"/>
                      <a:pt x="426" y="162"/>
                      <a:pt x="425" y="164"/>
                    </a:cubicBezTo>
                    <a:cubicBezTo>
                      <a:pt x="425" y="165"/>
                      <a:pt x="425" y="165"/>
                      <a:pt x="425" y="165"/>
                    </a:cubicBezTo>
                    <a:cubicBezTo>
                      <a:pt x="425" y="166"/>
                      <a:pt x="425" y="166"/>
                      <a:pt x="425" y="166"/>
                    </a:cubicBezTo>
                    <a:cubicBezTo>
                      <a:pt x="425" y="167"/>
                      <a:pt x="425" y="167"/>
                      <a:pt x="425" y="167"/>
                    </a:cubicBezTo>
                    <a:cubicBezTo>
                      <a:pt x="425" y="167"/>
                      <a:pt x="425" y="167"/>
                      <a:pt x="425" y="167"/>
                    </a:cubicBezTo>
                    <a:cubicBezTo>
                      <a:pt x="425" y="169"/>
                      <a:pt x="425" y="169"/>
                      <a:pt x="425" y="169"/>
                    </a:cubicBezTo>
                    <a:cubicBezTo>
                      <a:pt x="424" y="170"/>
                      <a:pt x="424" y="171"/>
                      <a:pt x="424" y="172"/>
                    </a:cubicBezTo>
                    <a:cubicBezTo>
                      <a:pt x="422" y="175"/>
                      <a:pt x="422" y="175"/>
                      <a:pt x="422" y="175"/>
                    </a:cubicBezTo>
                    <a:cubicBezTo>
                      <a:pt x="419" y="176"/>
                      <a:pt x="419" y="176"/>
                      <a:pt x="419" y="176"/>
                    </a:cubicBezTo>
                    <a:cubicBezTo>
                      <a:pt x="415" y="178"/>
                      <a:pt x="407" y="180"/>
                      <a:pt x="403" y="180"/>
                    </a:cubicBezTo>
                    <a:cubicBezTo>
                      <a:pt x="402" y="180"/>
                      <a:pt x="402" y="181"/>
                      <a:pt x="402" y="181"/>
                    </a:cubicBezTo>
                    <a:cubicBezTo>
                      <a:pt x="401" y="181"/>
                      <a:pt x="401" y="181"/>
                      <a:pt x="401" y="181"/>
                    </a:cubicBezTo>
                    <a:cubicBezTo>
                      <a:pt x="399" y="180"/>
                      <a:pt x="399" y="180"/>
                      <a:pt x="399" y="180"/>
                    </a:cubicBezTo>
                    <a:cubicBezTo>
                      <a:pt x="395" y="180"/>
                      <a:pt x="391" y="179"/>
                      <a:pt x="386" y="177"/>
                    </a:cubicBezTo>
                    <a:cubicBezTo>
                      <a:pt x="383" y="176"/>
                      <a:pt x="383" y="176"/>
                      <a:pt x="383" y="176"/>
                    </a:cubicBezTo>
                    <a:cubicBezTo>
                      <a:pt x="381" y="175"/>
                      <a:pt x="381" y="175"/>
                      <a:pt x="381" y="175"/>
                    </a:cubicBezTo>
                    <a:cubicBezTo>
                      <a:pt x="381" y="176"/>
                      <a:pt x="381" y="177"/>
                      <a:pt x="380" y="178"/>
                    </a:cubicBezTo>
                    <a:cubicBezTo>
                      <a:pt x="380" y="180"/>
                      <a:pt x="379" y="181"/>
                      <a:pt x="377" y="183"/>
                    </a:cubicBezTo>
                    <a:cubicBezTo>
                      <a:pt x="377" y="183"/>
                      <a:pt x="377" y="183"/>
                      <a:pt x="377" y="183"/>
                    </a:cubicBezTo>
                    <a:cubicBezTo>
                      <a:pt x="376" y="184"/>
                      <a:pt x="374" y="185"/>
                      <a:pt x="373" y="185"/>
                    </a:cubicBezTo>
                    <a:cubicBezTo>
                      <a:pt x="372" y="185"/>
                      <a:pt x="371" y="186"/>
                      <a:pt x="371" y="186"/>
                    </a:cubicBezTo>
                    <a:cubicBezTo>
                      <a:pt x="370" y="186"/>
                      <a:pt x="370" y="186"/>
                      <a:pt x="370" y="186"/>
                    </a:cubicBezTo>
                    <a:cubicBezTo>
                      <a:pt x="369" y="186"/>
                      <a:pt x="369" y="186"/>
                      <a:pt x="369" y="186"/>
                    </a:cubicBezTo>
                    <a:cubicBezTo>
                      <a:pt x="363" y="193"/>
                      <a:pt x="363" y="193"/>
                      <a:pt x="363" y="193"/>
                    </a:cubicBezTo>
                    <a:cubicBezTo>
                      <a:pt x="363" y="184"/>
                      <a:pt x="363" y="184"/>
                      <a:pt x="363" y="184"/>
                    </a:cubicBezTo>
                    <a:cubicBezTo>
                      <a:pt x="363" y="183"/>
                      <a:pt x="363" y="183"/>
                      <a:pt x="364" y="182"/>
                    </a:cubicBezTo>
                    <a:cubicBezTo>
                      <a:pt x="361" y="182"/>
                      <a:pt x="358" y="181"/>
                      <a:pt x="355" y="181"/>
                    </a:cubicBezTo>
                    <a:cubicBezTo>
                      <a:pt x="355" y="180"/>
                      <a:pt x="354" y="180"/>
                      <a:pt x="353" y="180"/>
                    </a:cubicBezTo>
                    <a:cubicBezTo>
                      <a:pt x="352" y="180"/>
                      <a:pt x="351" y="180"/>
                      <a:pt x="349" y="180"/>
                    </a:cubicBezTo>
                    <a:cubicBezTo>
                      <a:pt x="347" y="185"/>
                      <a:pt x="347" y="185"/>
                      <a:pt x="347" y="185"/>
                    </a:cubicBezTo>
                    <a:cubicBezTo>
                      <a:pt x="348" y="179"/>
                      <a:pt x="348" y="179"/>
                      <a:pt x="348" y="179"/>
                    </a:cubicBezTo>
                    <a:cubicBezTo>
                      <a:pt x="348" y="179"/>
                      <a:pt x="348" y="179"/>
                      <a:pt x="348" y="179"/>
                    </a:cubicBezTo>
                    <a:cubicBezTo>
                      <a:pt x="346" y="179"/>
                      <a:pt x="345" y="178"/>
                      <a:pt x="343" y="177"/>
                    </a:cubicBezTo>
                    <a:cubicBezTo>
                      <a:pt x="340" y="176"/>
                      <a:pt x="340" y="175"/>
                      <a:pt x="339" y="174"/>
                    </a:cubicBezTo>
                    <a:cubicBezTo>
                      <a:pt x="338" y="172"/>
                      <a:pt x="338" y="170"/>
                      <a:pt x="338" y="168"/>
                    </a:cubicBezTo>
                    <a:cubicBezTo>
                      <a:pt x="337" y="167"/>
                      <a:pt x="336" y="165"/>
                      <a:pt x="335" y="164"/>
                    </a:cubicBezTo>
                    <a:cubicBezTo>
                      <a:pt x="332" y="163"/>
                      <a:pt x="330" y="163"/>
                      <a:pt x="326" y="163"/>
                    </a:cubicBezTo>
                    <a:cubicBezTo>
                      <a:pt x="325" y="163"/>
                      <a:pt x="323" y="163"/>
                      <a:pt x="322" y="163"/>
                    </a:cubicBezTo>
                    <a:cubicBezTo>
                      <a:pt x="321" y="163"/>
                      <a:pt x="321" y="163"/>
                      <a:pt x="321" y="163"/>
                    </a:cubicBezTo>
                    <a:cubicBezTo>
                      <a:pt x="320" y="163"/>
                      <a:pt x="320" y="163"/>
                      <a:pt x="320" y="163"/>
                    </a:cubicBezTo>
                    <a:cubicBezTo>
                      <a:pt x="320" y="165"/>
                      <a:pt x="320" y="166"/>
                      <a:pt x="319" y="168"/>
                    </a:cubicBezTo>
                    <a:cubicBezTo>
                      <a:pt x="318" y="169"/>
                      <a:pt x="318" y="169"/>
                      <a:pt x="318" y="169"/>
                    </a:cubicBezTo>
                    <a:cubicBezTo>
                      <a:pt x="318" y="170"/>
                      <a:pt x="317" y="170"/>
                      <a:pt x="316" y="171"/>
                    </a:cubicBezTo>
                    <a:cubicBezTo>
                      <a:pt x="315" y="172"/>
                      <a:pt x="313" y="173"/>
                      <a:pt x="311" y="173"/>
                    </a:cubicBezTo>
                    <a:cubicBezTo>
                      <a:pt x="310" y="173"/>
                      <a:pt x="309" y="173"/>
                      <a:pt x="309" y="173"/>
                    </a:cubicBezTo>
                    <a:cubicBezTo>
                      <a:pt x="308" y="173"/>
                      <a:pt x="308" y="173"/>
                      <a:pt x="308" y="173"/>
                    </a:cubicBezTo>
                    <a:cubicBezTo>
                      <a:pt x="304" y="172"/>
                      <a:pt x="302" y="170"/>
                      <a:pt x="300" y="167"/>
                    </a:cubicBezTo>
                    <a:cubicBezTo>
                      <a:pt x="299" y="166"/>
                      <a:pt x="298" y="165"/>
                      <a:pt x="298" y="165"/>
                    </a:cubicBezTo>
                    <a:cubicBezTo>
                      <a:pt x="297" y="164"/>
                      <a:pt x="297" y="164"/>
                      <a:pt x="297" y="164"/>
                    </a:cubicBezTo>
                    <a:cubicBezTo>
                      <a:pt x="296" y="164"/>
                      <a:pt x="296" y="164"/>
                      <a:pt x="296" y="164"/>
                    </a:cubicBezTo>
                    <a:cubicBezTo>
                      <a:pt x="292" y="165"/>
                      <a:pt x="292" y="165"/>
                      <a:pt x="292" y="165"/>
                    </a:cubicBezTo>
                    <a:cubicBezTo>
                      <a:pt x="289" y="165"/>
                      <a:pt x="286" y="166"/>
                      <a:pt x="282" y="166"/>
                    </a:cubicBezTo>
                    <a:cubicBezTo>
                      <a:pt x="282" y="166"/>
                      <a:pt x="281" y="166"/>
                      <a:pt x="281" y="166"/>
                    </a:cubicBezTo>
                    <a:cubicBezTo>
                      <a:pt x="281" y="167"/>
                      <a:pt x="280" y="169"/>
                      <a:pt x="279" y="170"/>
                    </a:cubicBezTo>
                    <a:cubicBezTo>
                      <a:pt x="277" y="172"/>
                      <a:pt x="275" y="172"/>
                      <a:pt x="274" y="173"/>
                    </a:cubicBezTo>
                    <a:cubicBezTo>
                      <a:pt x="273" y="173"/>
                      <a:pt x="273" y="173"/>
                      <a:pt x="273" y="173"/>
                    </a:cubicBezTo>
                    <a:cubicBezTo>
                      <a:pt x="272" y="174"/>
                      <a:pt x="272" y="175"/>
                      <a:pt x="271" y="176"/>
                    </a:cubicBezTo>
                    <a:cubicBezTo>
                      <a:pt x="270" y="179"/>
                      <a:pt x="268" y="180"/>
                      <a:pt x="266" y="180"/>
                    </a:cubicBezTo>
                    <a:cubicBezTo>
                      <a:pt x="266" y="181"/>
                      <a:pt x="265" y="181"/>
                      <a:pt x="264" y="182"/>
                    </a:cubicBezTo>
                    <a:cubicBezTo>
                      <a:pt x="263" y="182"/>
                      <a:pt x="263" y="182"/>
                      <a:pt x="263" y="182"/>
                    </a:cubicBezTo>
                    <a:cubicBezTo>
                      <a:pt x="263" y="182"/>
                      <a:pt x="263" y="182"/>
                      <a:pt x="263" y="182"/>
                    </a:cubicBezTo>
                    <a:cubicBezTo>
                      <a:pt x="261" y="184"/>
                      <a:pt x="260" y="184"/>
                      <a:pt x="259" y="184"/>
                    </a:cubicBezTo>
                    <a:cubicBezTo>
                      <a:pt x="258" y="185"/>
                      <a:pt x="258" y="185"/>
                      <a:pt x="257" y="185"/>
                    </a:cubicBezTo>
                    <a:cubicBezTo>
                      <a:pt x="255" y="185"/>
                      <a:pt x="252" y="183"/>
                      <a:pt x="247" y="180"/>
                    </a:cubicBezTo>
                    <a:cubicBezTo>
                      <a:pt x="243" y="178"/>
                      <a:pt x="240" y="175"/>
                      <a:pt x="236" y="173"/>
                    </a:cubicBezTo>
                    <a:cubicBezTo>
                      <a:pt x="234" y="171"/>
                      <a:pt x="234" y="171"/>
                      <a:pt x="234" y="171"/>
                    </a:cubicBezTo>
                    <a:cubicBezTo>
                      <a:pt x="233" y="171"/>
                      <a:pt x="233" y="170"/>
                      <a:pt x="232" y="170"/>
                    </a:cubicBezTo>
                    <a:cubicBezTo>
                      <a:pt x="232" y="169"/>
                      <a:pt x="231" y="169"/>
                      <a:pt x="231" y="168"/>
                    </a:cubicBezTo>
                    <a:cubicBezTo>
                      <a:pt x="231" y="169"/>
                      <a:pt x="231" y="170"/>
                      <a:pt x="231" y="170"/>
                    </a:cubicBezTo>
                    <a:cubicBezTo>
                      <a:pt x="231" y="171"/>
                      <a:pt x="231" y="171"/>
                      <a:pt x="231" y="171"/>
                    </a:cubicBezTo>
                    <a:cubicBezTo>
                      <a:pt x="231" y="172"/>
                      <a:pt x="232" y="173"/>
                      <a:pt x="232" y="173"/>
                    </a:cubicBezTo>
                    <a:cubicBezTo>
                      <a:pt x="232" y="175"/>
                      <a:pt x="232" y="175"/>
                      <a:pt x="232" y="175"/>
                    </a:cubicBezTo>
                    <a:cubicBezTo>
                      <a:pt x="232" y="177"/>
                      <a:pt x="232" y="179"/>
                      <a:pt x="231" y="180"/>
                    </a:cubicBezTo>
                    <a:cubicBezTo>
                      <a:pt x="231" y="182"/>
                      <a:pt x="229" y="183"/>
                      <a:pt x="226" y="185"/>
                    </a:cubicBezTo>
                    <a:cubicBezTo>
                      <a:pt x="222" y="188"/>
                      <a:pt x="222" y="188"/>
                      <a:pt x="222" y="188"/>
                    </a:cubicBezTo>
                    <a:cubicBezTo>
                      <a:pt x="220" y="183"/>
                      <a:pt x="220" y="183"/>
                      <a:pt x="220" y="183"/>
                    </a:cubicBezTo>
                    <a:cubicBezTo>
                      <a:pt x="220" y="180"/>
                      <a:pt x="219" y="176"/>
                      <a:pt x="219" y="172"/>
                    </a:cubicBezTo>
                    <a:cubicBezTo>
                      <a:pt x="219" y="171"/>
                      <a:pt x="219" y="171"/>
                      <a:pt x="219" y="171"/>
                    </a:cubicBezTo>
                    <a:cubicBezTo>
                      <a:pt x="218" y="170"/>
                      <a:pt x="217" y="170"/>
                      <a:pt x="217" y="169"/>
                    </a:cubicBezTo>
                    <a:cubicBezTo>
                      <a:pt x="215" y="168"/>
                      <a:pt x="213" y="166"/>
                      <a:pt x="211" y="164"/>
                    </a:cubicBezTo>
                    <a:cubicBezTo>
                      <a:pt x="210" y="164"/>
                      <a:pt x="210" y="164"/>
                      <a:pt x="210" y="164"/>
                    </a:cubicBezTo>
                    <a:cubicBezTo>
                      <a:pt x="204" y="158"/>
                      <a:pt x="198" y="153"/>
                      <a:pt x="192" y="150"/>
                    </a:cubicBezTo>
                    <a:cubicBezTo>
                      <a:pt x="190" y="149"/>
                      <a:pt x="187" y="149"/>
                      <a:pt x="184" y="149"/>
                    </a:cubicBezTo>
                    <a:cubicBezTo>
                      <a:pt x="183" y="149"/>
                      <a:pt x="183" y="149"/>
                      <a:pt x="182" y="149"/>
                    </a:cubicBezTo>
                    <a:cubicBezTo>
                      <a:pt x="179" y="149"/>
                      <a:pt x="176" y="149"/>
                      <a:pt x="174" y="150"/>
                    </a:cubicBezTo>
                    <a:cubicBezTo>
                      <a:pt x="174" y="150"/>
                      <a:pt x="174" y="150"/>
                      <a:pt x="174" y="150"/>
                    </a:cubicBezTo>
                    <a:cubicBezTo>
                      <a:pt x="173" y="150"/>
                      <a:pt x="173" y="150"/>
                      <a:pt x="173" y="150"/>
                    </a:cubicBezTo>
                    <a:cubicBezTo>
                      <a:pt x="172" y="150"/>
                      <a:pt x="171" y="151"/>
                      <a:pt x="170" y="151"/>
                    </a:cubicBezTo>
                    <a:cubicBezTo>
                      <a:pt x="169" y="151"/>
                      <a:pt x="169" y="151"/>
                      <a:pt x="169" y="151"/>
                    </a:cubicBezTo>
                    <a:cubicBezTo>
                      <a:pt x="168" y="151"/>
                      <a:pt x="168" y="150"/>
                      <a:pt x="167" y="150"/>
                    </a:cubicBezTo>
                    <a:cubicBezTo>
                      <a:pt x="167" y="150"/>
                      <a:pt x="167" y="150"/>
                      <a:pt x="167" y="150"/>
                    </a:cubicBezTo>
                    <a:cubicBezTo>
                      <a:pt x="166" y="149"/>
                      <a:pt x="166" y="149"/>
                      <a:pt x="166" y="149"/>
                    </a:cubicBezTo>
                    <a:cubicBezTo>
                      <a:pt x="166" y="149"/>
                      <a:pt x="165" y="149"/>
                      <a:pt x="165" y="149"/>
                    </a:cubicBezTo>
                    <a:cubicBezTo>
                      <a:pt x="165" y="148"/>
                      <a:pt x="164" y="148"/>
                      <a:pt x="164" y="147"/>
                    </a:cubicBezTo>
                    <a:cubicBezTo>
                      <a:pt x="163" y="146"/>
                      <a:pt x="163" y="146"/>
                      <a:pt x="163" y="145"/>
                    </a:cubicBezTo>
                    <a:cubicBezTo>
                      <a:pt x="162" y="144"/>
                      <a:pt x="162" y="144"/>
                      <a:pt x="162" y="144"/>
                    </a:cubicBezTo>
                    <a:cubicBezTo>
                      <a:pt x="161" y="143"/>
                      <a:pt x="161" y="141"/>
                      <a:pt x="160" y="140"/>
                    </a:cubicBezTo>
                    <a:cubicBezTo>
                      <a:pt x="157" y="142"/>
                      <a:pt x="155" y="143"/>
                      <a:pt x="150" y="143"/>
                    </a:cubicBezTo>
                    <a:cubicBezTo>
                      <a:pt x="150" y="144"/>
                      <a:pt x="150" y="144"/>
                      <a:pt x="150" y="144"/>
                    </a:cubicBezTo>
                    <a:cubicBezTo>
                      <a:pt x="149" y="144"/>
                      <a:pt x="149" y="144"/>
                      <a:pt x="149" y="144"/>
                    </a:cubicBezTo>
                    <a:cubicBezTo>
                      <a:pt x="150" y="144"/>
                      <a:pt x="150" y="145"/>
                      <a:pt x="150" y="145"/>
                    </a:cubicBezTo>
                    <a:cubicBezTo>
                      <a:pt x="150" y="146"/>
                      <a:pt x="149" y="147"/>
                      <a:pt x="148" y="148"/>
                    </a:cubicBezTo>
                    <a:cubicBezTo>
                      <a:pt x="147" y="149"/>
                      <a:pt x="147" y="149"/>
                      <a:pt x="147" y="149"/>
                    </a:cubicBezTo>
                    <a:cubicBezTo>
                      <a:pt x="146" y="150"/>
                      <a:pt x="145" y="151"/>
                      <a:pt x="143" y="151"/>
                    </a:cubicBezTo>
                    <a:cubicBezTo>
                      <a:pt x="142" y="151"/>
                      <a:pt x="142" y="151"/>
                      <a:pt x="142" y="151"/>
                    </a:cubicBezTo>
                    <a:cubicBezTo>
                      <a:pt x="141" y="151"/>
                      <a:pt x="141" y="151"/>
                      <a:pt x="140" y="151"/>
                    </a:cubicBezTo>
                    <a:cubicBezTo>
                      <a:pt x="140" y="151"/>
                      <a:pt x="139" y="150"/>
                      <a:pt x="138" y="150"/>
                    </a:cubicBezTo>
                    <a:cubicBezTo>
                      <a:pt x="136" y="157"/>
                      <a:pt x="136" y="157"/>
                      <a:pt x="136" y="157"/>
                    </a:cubicBezTo>
                    <a:cubicBezTo>
                      <a:pt x="136" y="150"/>
                      <a:pt x="136" y="150"/>
                      <a:pt x="136" y="150"/>
                    </a:cubicBezTo>
                    <a:cubicBezTo>
                      <a:pt x="136" y="150"/>
                      <a:pt x="136" y="150"/>
                      <a:pt x="136" y="150"/>
                    </a:cubicBezTo>
                    <a:cubicBezTo>
                      <a:pt x="133" y="148"/>
                      <a:pt x="132" y="147"/>
                      <a:pt x="131" y="145"/>
                    </a:cubicBezTo>
                    <a:cubicBezTo>
                      <a:pt x="130" y="142"/>
                      <a:pt x="130" y="142"/>
                      <a:pt x="130" y="142"/>
                    </a:cubicBezTo>
                    <a:cubicBezTo>
                      <a:pt x="130" y="142"/>
                      <a:pt x="130" y="142"/>
                      <a:pt x="130" y="142"/>
                    </a:cubicBezTo>
                    <a:cubicBezTo>
                      <a:pt x="129" y="142"/>
                      <a:pt x="128" y="142"/>
                      <a:pt x="126" y="141"/>
                    </a:cubicBezTo>
                    <a:cubicBezTo>
                      <a:pt x="126" y="141"/>
                      <a:pt x="125" y="141"/>
                      <a:pt x="124" y="141"/>
                    </a:cubicBezTo>
                    <a:cubicBezTo>
                      <a:pt x="123" y="140"/>
                      <a:pt x="123" y="140"/>
                      <a:pt x="122" y="140"/>
                    </a:cubicBezTo>
                    <a:cubicBezTo>
                      <a:pt x="122" y="141"/>
                      <a:pt x="122" y="141"/>
                      <a:pt x="122" y="141"/>
                    </a:cubicBezTo>
                    <a:cubicBezTo>
                      <a:pt x="122" y="142"/>
                      <a:pt x="122" y="142"/>
                      <a:pt x="122" y="142"/>
                    </a:cubicBezTo>
                    <a:cubicBezTo>
                      <a:pt x="121" y="144"/>
                      <a:pt x="120" y="145"/>
                      <a:pt x="117" y="146"/>
                    </a:cubicBezTo>
                    <a:cubicBezTo>
                      <a:pt x="116" y="146"/>
                      <a:pt x="116" y="146"/>
                      <a:pt x="116" y="146"/>
                    </a:cubicBezTo>
                    <a:cubicBezTo>
                      <a:pt x="115" y="146"/>
                      <a:pt x="115" y="146"/>
                      <a:pt x="115" y="146"/>
                    </a:cubicBezTo>
                    <a:cubicBezTo>
                      <a:pt x="113" y="146"/>
                      <a:pt x="113" y="146"/>
                      <a:pt x="111" y="149"/>
                    </a:cubicBezTo>
                    <a:cubicBezTo>
                      <a:pt x="109" y="152"/>
                      <a:pt x="109" y="152"/>
                      <a:pt x="109" y="152"/>
                    </a:cubicBezTo>
                    <a:cubicBezTo>
                      <a:pt x="109" y="152"/>
                      <a:pt x="109" y="154"/>
                      <a:pt x="108" y="155"/>
                    </a:cubicBezTo>
                    <a:cubicBezTo>
                      <a:pt x="107" y="157"/>
                      <a:pt x="104" y="158"/>
                      <a:pt x="101" y="158"/>
                    </a:cubicBezTo>
                    <a:cubicBezTo>
                      <a:pt x="101" y="159"/>
                      <a:pt x="101" y="159"/>
                      <a:pt x="101" y="159"/>
                    </a:cubicBezTo>
                    <a:cubicBezTo>
                      <a:pt x="100" y="159"/>
                      <a:pt x="100" y="159"/>
                      <a:pt x="100" y="159"/>
                    </a:cubicBezTo>
                    <a:cubicBezTo>
                      <a:pt x="82" y="166"/>
                      <a:pt x="82" y="166"/>
                      <a:pt x="82" y="166"/>
                    </a:cubicBezTo>
                    <a:cubicBezTo>
                      <a:pt x="83" y="168"/>
                      <a:pt x="83" y="170"/>
                      <a:pt x="82" y="171"/>
                    </a:cubicBezTo>
                    <a:cubicBezTo>
                      <a:pt x="82" y="172"/>
                      <a:pt x="82" y="172"/>
                      <a:pt x="82" y="172"/>
                    </a:cubicBezTo>
                    <a:cubicBezTo>
                      <a:pt x="80" y="173"/>
                      <a:pt x="78" y="174"/>
                      <a:pt x="73" y="176"/>
                    </a:cubicBezTo>
                    <a:cubicBezTo>
                      <a:pt x="72" y="176"/>
                      <a:pt x="72" y="176"/>
                      <a:pt x="72" y="176"/>
                    </a:cubicBezTo>
                    <a:cubicBezTo>
                      <a:pt x="72" y="177"/>
                      <a:pt x="71" y="177"/>
                      <a:pt x="71" y="177"/>
                    </a:cubicBezTo>
                    <a:cubicBezTo>
                      <a:pt x="70" y="177"/>
                      <a:pt x="70" y="177"/>
                      <a:pt x="70" y="177"/>
                    </a:cubicBezTo>
                    <a:cubicBezTo>
                      <a:pt x="69" y="176"/>
                      <a:pt x="69" y="176"/>
                      <a:pt x="69" y="176"/>
                    </a:cubicBezTo>
                    <a:cubicBezTo>
                      <a:pt x="70" y="177"/>
                      <a:pt x="70" y="177"/>
                      <a:pt x="70" y="177"/>
                    </a:cubicBezTo>
                    <a:cubicBezTo>
                      <a:pt x="69" y="178"/>
                      <a:pt x="69" y="178"/>
                      <a:pt x="69" y="178"/>
                    </a:cubicBezTo>
                    <a:cubicBezTo>
                      <a:pt x="68" y="178"/>
                      <a:pt x="68" y="178"/>
                      <a:pt x="68" y="179"/>
                    </a:cubicBezTo>
                    <a:cubicBezTo>
                      <a:pt x="66" y="180"/>
                      <a:pt x="63" y="181"/>
                      <a:pt x="61" y="182"/>
                    </a:cubicBezTo>
                    <a:cubicBezTo>
                      <a:pt x="61" y="183"/>
                      <a:pt x="61" y="183"/>
                      <a:pt x="61" y="183"/>
                    </a:cubicBezTo>
                    <a:cubicBezTo>
                      <a:pt x="62" y="184"/>
                      <a:pt x="62" y="186"/>
                      <a:pt x="62" y="187"/>
                    </a:cubicBezTo>
                    <a:cubicBezTo>
                      <a:pt x="63" y="189"/>
                      <a:pt x="63" y="189"/>
                      <a:pt x="63" y="189"/>
                    </a:cubicBezTo>
                    <a:cubicBezTo>
                      <a:pt x="63" y="189"/>
                      <a:pt x="63" y="190"/>
                      <a:pt x="63" y="191"/>
                    </a:cubicBezTo>
                    <a:cubicBezTo>
                      <a:pt x="64" y="192"/>
                      <a:pt x="64" y="192"/>
                      <a:pt x="64" y="192"/>
                    </a:cubicBezTo>
                    <a:cubicBezTo>
                      <a:pt x="64" y="192"/>
                      <a:pt x="64" y="193"/>
                      <a:pt x="65" y="193"/>
                    </a:cubicBezTo>
                    <a:cubicBezTo>
                      <a:pt x="65" y="194"/>
                      <a:pt x="65" y="194"/>
                      <a:pt x="65" y="194"/>
                    </a:cubicBezTo>
                    <a:cubicBezTo>
                      <a:pt x="65" y="195"/>
                      <a:pt x="65" y="195"/>
                      <a:pt x="65" y="195"/>
                    </a:cubicBezTo>
                    <a:cubicBezTo>
                      <a:pt x="65" y="195"/>
                      <a:pt x="65" y="195"/>
                      <a:pt x="65" y="195"/>
                    </a:cubicBezTo>
                    <a:cubicBezTo>
                      <a:pt x="66" y="196"/>
                      <a:pt x="66" y="196"/>
                      <a:pt x="66" y="196"/>
                    </a:cubicBezTo>
                    <a:cubicBezTo>
                      <a:pt x="67" y="197"/>
                      <a:pt x="68" y="199"/>
                      <a:pt x="68" y="201"/>
                    </a:cubicBezTo>
                    <a:cubicBezTo>
                      <a:pt x="68" y="203"/>
                      <a:pt x="67" y="204"/>
                      <a:pt x="64" y="206"/>
                    </a:cubicBezTo>
                    <a:cubicBezTo>
                      <a:pt x="63" y="207"/>
                      <a:pt x="61" y="208"/>
                      <a:pt x="57" y="210"/>
                    </a:cubicBezTo>
                    <a:cubicBezTo>
                      <a:pt x="56" y="210"/>
                      <a:pt x="55" y="210"/>
                      <a:pt x="54" y="211"/>
                    </a:cubicBezTo>
                    <a:cubicBezTo>
                      <a:pt x="53" y="211"/>
                      <a:pt x="52" y="212"/>
                      <a:pt x="51" y="212"/>
                    </a:cubicBezTo>
                    <a:cubicBezTo>
                      <a:pt x="49" y="212"/>
                      <a:pt x="47" y="210"/>
                      <a:pt x="46" y="209"/>
                    </a:cubicBezTo>
                    <a:cubicBezTo>
                      <a:pt x="44" y="207"/>
                      <a:pt x="42" y="205"/>
                      <a:pt x="40" y="202"/>
                    </a:cubicBezTo>
                    <a:cubicBezTo>
                      <a:pt x="39" y="201"/>
                      <a:pt x="39" y="201"/>
                      <a:pt x="39" y="201"/>
                    </a:cubicBezTo>
                    <a:cubicBezTo>
                      <a:pt x="38" y="201"/>
                      <a:pt x="38" y="200"/>
                      <a:pt x="37" y="200"/>
                    </a:cubicBezTo>
                    <a:cubicBezTo>
                      <a:pt x="36" y="198"/>
                      <a:pt x="36" y="198"/>
                      <a:pt x="36" y="198"/>
                    </a:cubicBezTo>
                    <a:cubicBezTo>
                      <a:pt x="34" y="196"/>
                      <a:pt x="31" y="192"/>
                      <a:pt x="28" y="191"/>
                    </a:cubicBezTo>
                    <a:cubicBezTo>
                      <a:pt x="28" y="191"/>
                      <a:pt x="28" y="191"/>
                      <a:pt x="28" y="191"/>
                    </a:cubicBezTo>
                    <a:cubicBezTo>
                      <a:pt x="26" y="191"/>
                      <a:pt x="25" y="191"/>
                      <a:pt x="25" y="191"/>
                    </a:cubicBezTo>
                    <a:cubicBezTo>
                      <a:pt x="25" y="192"/>
                      <a:pt x="25" y="192"/>
                      <a:pt x="25" y="192"/>
                    </a:cubicBezTo>
                    <a:cubicBezTo>
                      <a:pt x="25" y="192"/>
                      <a:pt x="25" y="193"/>
                      <a:pt x="24" y="194"/>
                    </a:cubicBezTo>
                    <a:cubicBezTo>
                      <a:pt x="24" y="196"/>
                      <a:pt x="23" y="199"/>
                      <a:pt x="22" y="201"/>
                    </a:cubicBezTo>
                    <a:cubicBezTo>
                      <a:pt x="21" y="203"/>
                      <a:pt x="21" y="203"/>
                      <a:pt x="21" y="203"/>
                    </a:cubicBezTo>
                    <a:cubicBezTo>
                      <a:pt x="21" y="204"/>
                      <a:pt x="20" y="204"/>
                      <a:pt x="20" y="204"/>
                    </a:cubicBezTo>
                    <a:cubicBezTo>
                      <a:pt x="20" y="205"/>
                      <a:pt x="19" y="205"/>
                      <a:pt x="19" y="205"/>
                    </a:cubicBezTo>
                    <a:cubicBezTo>
                      <a:pt x="18" y="206"/>
                      <a:pt x="18" y="206"/>
                      <a:pt x="18" y="206"/>
                    </a:cubicBezTo>
                    <a:cubicBezTo>
                      <a:pt x="17" y="207"/>
                      <a:pt x="15" y="208"/>
                      <a:pt x="14" y="208"/>
                    </a:cubicBezTo>
                    <a:cubicBezTo>
                      <a:pt x="12" y="209"/>
                      <a:pt x="11" y="209"/>
                      <a:pt x="11" y="210"/>
                    </a:cubicBezTo>
                    <a:cubicBezTo>
                      <a:pt x="10" y="212"/>
                      <a:pt x="10" y="212"/>
                      <a:pt x="10" y="212"/>
                    </a:cubicBezTo>
                    <a:cubicBezTo>
                      <a:pt x="10" y="213"/>
                      <a:pt x="10" y="214"/>
                      <a:pt x="10" y="214"/>
                    </a:cubicBezTo>
                    <a:cubicBezTo>
                      <a:pt x="9" y="220"/>
                      <a:pt x="9" y="220"/>
                      <a:pt x="9" y="220"/>
                    </a:cubicBezTo>
                    <a:cubicBezTo>
                      <a:pt x="9" y="221"/>
                      <a:pt x="9" y="222"/>
                      <a:pt x="8" y="223"/>
                    </a:cubicBezTo>
                    <a:cubicBezTo>
                      <a:pt x="8" y="224"/>
                      <a:pt x="8" y="224"/>
                      <a:pt x="8" y="224"/>
                    </a:cubicBezTo>
                    <a:cubicBezTo>
                      <a:pt x="9" y="224"/>
                      <a:pt x="9" y="224"/>
                      <a:pt x="9" y="225"/>
                    </a:cubicBezTo>
                    <a:cubicBezTo>
                      <a:pt x="10" y="225"/>
                      <a:pt x="10" y="225"/>
                      <a:pt x="10" y="225"/>
                    </a:cubicBezTo>
                    <a:cubicBezTo>
                      <a:pt x="10" y="225"/>
                      <a:pt x="11" y="225"/>
                      <a:pt x="11" y="226"/>
                    </a:cubicBezTo>
                    <a:cubicBezTo>
                      <a:pt x="18" y="232"/>
                      <a:pt x="14" y="237"/>
                      <a:pt x="12" y="239"/>
                    </a:cubicBezTo>
                    <a:cubicBezTo>
                      <a:pt x="12" y="239"/>
                      <a:pt x="12" y="240"/>
                      <a:pt x="11" y="241"/>
                    </a:cubicBezTo>
                    <a:cubicBezTo>
                      <a:pt x="8" y="244"/>
                      <a:pt x="5" y="248"/>
                      <a:pt x="3" y="253"/>
                    </a:cubicBezTo>
                    <a:cubicBezTo>
                      <a:pt x="2" y="254"/>
                      <a:pt x="1" y="256"/>
                      <a:pt x="0" y="258"/>
                    </a:cubicBezTo>
                    <a:cubicBezTo>
                      <a:pt x="1" y="258"/>
                      <a:pt x="1" y="258"/>
                      <a:pt x="1" y="258"/>
                    </a:cubicBezTo>
                    <a:cubicBezTo>
                      <a:pt x="3" y="259"/>
                      <a:pt x="3" y="259"/>
                      <a:pt x="3" y="259"/>
                    </a:cubicBezTo>
                    <a:cubicBezTo>
                      <a:pt x="5" y="259"/>
                      <a:pt x="7" y="260"/>
                      <a:pt x="9" y="261"/>
                    </a:cubicBezTo>
                    <a:cubicBezTo>
                      <a:pt x="13" y="262"/>
                      <a:pt x="13" y="262"/>
                      <a:pt x="13" y="262"/>
                    </a:cubicBezTo>
                    <a:cubicBezTo>
                      <a:pt x="13" y="262"/>
                      <a:pt x="14" y="262"/>
                      <a:pt x="14" y="263"/>
                    </a:cubicBezTo>
                    <a:cubicBezTo>
                      <a:pt x="18" y="265"/>
                      <a:pt x="18" y="270"/>
                      <a:pt x="18" y="273"/>
                    </a:cubicBezTo>
                    <a:cubicBezTo>
                      <a:pt x="18" y="274"/>
                      <a:pt x="18" y="275"/>
                      <a:pt x="18" y="276"/>
                    </a:cubicBezTo>
                    <a:cubicBezTo>
                      <a:pt x="18" y="280"/>
                      <a:pt x="18" y="280"/>
                      <a:pt x="19" y="281"/>
                    </a:cubicBezTo>
                    <a:cubicBezTo>
                      <a:pt x="21" y="282"/>
                      <a:pt x="22" y="282"/>
                      <a:pt x="23" y="282"/>
                    </a:cubicBezTo>
                    <a:cubicBezTo>
                      <a:pt x="24" y="282"/>
                      <a:pt x="25" y="282"/>
                      <a:pt x="26" y="282"/>
                    </a:cubicBezTo>
                    <a:cubicBezTo>
                      <a:pt x="27" y="282"/>
                      <a:pt x="28" y="282"/>
                      <a:pt x="28" y="281"/>
                    </a:cubicBezTo>
                    <a:cubicBezTo>
                      <a:pt x="30" y="281"/>
                      <a:pt x="30" y="281"/>
                      <a:pt x="30" y="281"/>
                    </a:cubicBezTo>
                    <a:cubicBezTo>
                      <a:pt x="31" y="281"/>
                      <a:pt x="33" y="280"/>
                      <a:pt x="35" y="280"/>
                    </a:cubicBezTo>
                    <a:cubicBezTo>
                      <a:pt x="36" y="280"/>
                      <a:pt x="38" y="280"/>
                      <a:pt x="39" y="280"/>
                    </a:cubicBezTo>
                    <a:cubicBezTo>
                      <a:pt x="40" y="280"/>
                      <a:pt x="41" y="280"/>
                      <a:pt x="42" y="280"/>
                    </a:cubicBezTo>
                    <a:cubicBezTo>
                      <a:pt x="43" y="280"/>
                      <a:pt x="44" y="281"/>
                      <a:pt x="45" y="281"/>
                    </a:cubicBezTo>
                    <a:cubicBezTo>
                      <a:pt x="47" y="283"/>
                      <a:pt x="49" y="285"/>
                      <a:pt x="50" y="287"/>
                    </a:cubicBezTo>
                    <a:cubicBezTo>
                      <a:pt x="51" y="289"/>
                      <a:pt x="52" y="290"/>
                      <a:pt x="53" y="292"/>
                    </a:cubicBezTo>
                    <a:cubicBezTo>
                      <a:pt x="57" y="298"/>
                      <a:pt x="57" y="298"/>
                      <a:pt x="57" y="298"/>
                    </a:cubicBezTo>
                    <a:cubicBezTo>
                      <a:pt x="59" y="301"/>
                      <a:pt x="61" y="303"/>
                      <a:pt x="63" y="306"/>
                    </a:cubicBezTo>
                    <a:cubicBezTo>
                      <a:pt x="63" y="306"/>
                      <a:pt x="63" y="307"/>
                      <a:pt x="64" y="308"/>
                    </a:cubicBezTo>
                    <a:cubicBezTo>
                      <a:pt x="65" y="308"/>
                      <a:pt x="65" y="308"/>
                      <a:pt x="65" y="308"/>
                    </a:cubicBezTo>
                    <a:cubicBezTo>
                      <a:pt x="67" y="311"/>
                      <a:pt x="70" y="315"/>
                      <a:pt x="70" y="318"/>
                    </a:cubicBezTo>
                    <a:cubicBezTo>
                      <a:pt x="72" y="319"/>
                      <a:pt x="72" y="319"/>
                      <a:pt x="72" y="319"/>
                    </a:cubicBezTo>
                    <a:cubicBezTo>
                      <a:pt x="71" y="320"/>
                      <a:pt x="71" y="320"/>
                      <a:pt x="71" y="320"/>
                    </a:cubicBezTo>
                    <a:cubicBezTo>
                      <a:pt x="71" y="320"/>
                      <a:pt x="71" y="320"/>
                      <a:pt x="71" y="320"/>
                    </a:cubicBezTo>
                    <a:cubicBezTo>
                      <a:pt x="70" y="321"/>
                      <a:pt x="70" y="321"/>
                      <a:pt x="70" y="321"/>
                    </a:cubicBezTo>
                    <a:cubicBezTo>
                      <a:pt x="69" y="323"/>
                      <a:pt x="69" y="323"/>
                      <a:pt x="69" y="323"/>
                    </a:cubicBezTo>
                    <a:cubicBezTo>
                      <a:pt x="67" y="325"/>
                      <a:pt x="67" y="325"/>
                      <a:pt x="67" y="325"/>
                    </a:cubicBezTo>
                    <a:cubicBezTo>
                      <a:pt x="66" y="325"/>
                      <a:pt x="66" y="325"/>
                      <a:pt x="66" y="325"/>
                    </a:cubicBezTo>
                    <a:cubicBezTo>
                      <a:pt x="66" y="325"/>
                      <a:pt x="66" y="325"/>
                      <a:pt x="66" y="325"/>
                    </a:cubicBezTo>
                    <a:cubicBezTo>
                      <a:pt x="66" y="325"/>
                      <a:pt x="66" y="325"/>
                      <a:pt x="66" y="325"/>
                    </a:cubicBezTo>
                    <a:cubicBezTo>
                      <a:pt x="65" y="325"/>
                      <a:pt x="64" y="326"/>
                      <a:pt x="63" y="326"/>
                    </a:cubicBezTo>
                    <a:cubicBezTo>
                      <a:pt x="64" y="326"/>
                      <a:pt x="64" y="326"/>
                      <a:pt x="64" y="326"/>
                    </a:cubicBezTo>
                    <a:cubicBezTo>
                      <a:pt x="65" y="327"/>
                      <a:pt x="65" y="327"/>
                      <a:pt x="65" y="327"/>
                    </a:cubicBezTo>
                    <a:cubicBezTo>
                      <a:pt x="67" y="328"/>
                      <a:pt x="69" y="329"/>
                      <a:pt x="72" y="330"/>
                    </a:cubicBezTo>
                    <a:cubicBezTo>
                      <a:pt x="72" y="330"/>
                      <a:pt x="73" y="330"/>
                      <a:pt x="73" y="331"/>
                    </a:cubicBezTo>
                    <a:cubicBezTo>
                      <a:pt x="73" y="331"/>
                      <a:pt x="73" y="331"/>
                      <a:pt x="73" y="331"/>
                    </a:cubicBezTo>
                    <a:cubicBezTo>
                      <a:pt x="73" y="330"/>
                      <a:pt x="73" y="330"/>
                      <a:pt x="73" y="330"/>
                    </a:cubicBezTo>
                    <a:cubicBezTo>
                      <a:pt x="73" y="330"/>
                      <a:pt x="74" y="330"/>
                      <a:pt x="74" y="330"/>
                    </a:cubicBezTo>
                    <a:cubicBezTo>
                      <a:pt x="75" y="330"/>
                      <a:pt x="76" y="330"/>
                      <a:pt x="75" y="328"/>
                    </a:cubicBezTo>
                    <a:cubicBezTo>
                      <a:pt x="75" y="328"/>
                      <a:pt x="75" y="328"/>
                      <a:pt x="75" y="328"/>
                    </a:cubicBezTo>
                    <a:cubicBezTo>
                      <a:pt x="75" y="328"/>
                      <a:pt x="75" y="328"/>
                      <a:pt x="76" y="328"/>
                    </a:cubicBezTo>
                    <a:cubicBezTo>
                      <a:pt x="76" y="328"/>
                      <a:pt x="76" y="328"/>
                      <a:pt x="77" y="328"/>
                    </a:cubicBezTo>
                    <a:cubicBezTo>
                      <a:pt x="77" y="328"/>
                      <a:pt x="77" y="328"/>
                      <a:pt x="77" y="328"/>
                    </a:cubicBezTo>
                    <a:cubicBezTo>
                      <a:pt x="76" y="328"/>
                      <a:pt x="76" y="327"/>
                      <a:pt x="75" y="326"/>
                    </a:cubicBezTo>
                    <a:cubicBezTo>
                      <a:pt x="77" y="326"/>
                      <a:pt x="78" y="326"/>
                      <a:pt x="79" y="326"/>
                    </a:cubicBezTo>
                    <a:cubicBezTo>
                      <a:pt x="81" y="326"/>
                      <a:pt x="82" y="326"/>
                      <a:pt x="83" y="326"/>
                    </a:cubicBezTo>
                    <a:cubicBezTo>
                      <a:pt x="85" y="326"/>
                      <a:pt x="86" y="326"/>
                      <a:pt x="87" y="326"/>
                    </a:cubicBezTo>
                    <a:cubicBezTo>
                      <a:pt x="89" y="326"/>
                      <a:pt x="91" y="326"/>
                      <a:pt x="93" y="326"/>
                    </a:cubicBezTo>
                    <a:cubicBezTo>
                      <a:pt x="95" y="325"/>
                      <a:pt x="96" y="324"/>
                      <a:pt x="98" y="322"/>
                    </a:cubicBezTo>
                    <a:cubicBezTo>
                      <a:pt x="100" y="321"/>
                      <a:pt x="102" y="320"/>
                      <a:pt x="104" y="318"/>
                    </a:cubicBezTo>
                    <a:cubicBezTo>
                      <a:pt x="105" y="318"/>
                      <a:pt x="105" y="317"/>
                      <a:pt x="107" y="316"/>
                    </a:cubicBezTo>
                    <a:cubicBezTo>
                      <a:pt x="109" y="315"/>
                      <a:pt x="110" y="315"/>
                      <a:pt x="113" y="315"/>
                    </a:cubicBezTo>
                    <a:cubicBezTo>
                      <a:pt x="113" y="314"/>
                      <a:pt x="118" y="312"/>
                      <a:pt x="119" y="311"/>
                    </a:cubicBezTo>
                    <a:cubicBezTo>
                      <a:pt x="119" y="311"/>
                      <a:pt x="119" y="310"/>
                      <a:pt x="119" y="310"/>
                    </a:cubicBezTo>
                    <a:cubicBezTo>
                      <a:pt x="120" y="310"/>
                      <a:pt x="122" y="310"/>
                      <a:pt x="122" y="309"/>
                    </a:cubicBezTo>
                    <a:cubicBezTo>
                      <a:pt x="124" y="309"/>
                      <a:pt x="125" y="309"/>
                      <a:pt x="126" y="309"/>
                    </a:cubicBezTo>
                    <a:cubicBezTo>
                      <a:pt x="127" y="308"/>
                      <a:pt x="128" y="307"/>
                      <a:pt x="129" y="307"/>
                    </a:cubicBezTo>
                    <a:cubicBezTo>
                      <a:pt x="129" y="307"/>
                      <a:pt x="130" y="307"/>
                      <a:pt x="130" y="307"/>
                    </a:cubicBezTo>
                    <a:cubicBezTo>
                      <a:pt x="133" y="307"/>
                      <a:pt x="139" y="309"/>
                      <a:pt x="142" y="310"/>
                    </a:cubicBezTo>
                    <a:cubicBezTo>
                      <a:pt x="147" y="311"/>
                      <a:pt x="153" y="315"/>
                      <a:pt x="159" y="317"/>
                    </a:cubicBezTo>
                    <a:cubicBezTo>
                      <a:pt x="158" y="317"/>
                      <a:pt x="158" y="316"/>
                      <a:pt x="157" y="316"/>
                    </a:cubicBezTo>
                    <a:cubicBezTo>
                      <a:pt x="158" y="316"/>
                      <a:pt x="159" y="316"/>
                      <a:pt x="159" y="316"/>
                    </a:cubicBezTo>
                    <a:cubicBezTo>
                      <a:pt x="163" y="316"/>
                      <a:pt x="163" y="312"/>
                      <a:pt x="165" y="311"/>
                    </a:cubicBezTo>
                    <a:cubicBezTo>
                      <a:pt x="165" y="311"/>
                      <a:pt x="166" y="311"/>
                      <a:pt x="166" y="311"/>
                    </a:cubicBezTo>
                    <a:cubicBezTo>
                      <a:pt x="168" y="311"/>
                      <a:pt x="170" y="313"/>
                      <a:pt x="172" y="313"/>
                    </a:cubicBezTo>
                    <a:cubicBezTo>
                      <a:pt x="177" y="314"/>
                      <a:pt x="179" y="314"/>
                      <a:pt x="182" y="319"/>
                    </a:cubicBezTo>
                    <a:cubicBezTo>
                      <a:pt x="185" y="326"/>
                      <a:pt x="189" y="333"/>
                      <a:pt x="188" y="342"/>
                    </a:cubicBezTo>
                    <a:cubicBezTo>
                      <a:pt x="187" y="348"/>
                      <a:pt x="182" y="353"/>
                      <a:pt x="182" y="359"/>
                    </a:cubicBezTo>
                    <a:cubicBezTo>
                      <a:pt x="181" y="361"/>
                      <a:pt x="182" y="362"/>
                      <a:pt x="183" y="365"/>
                    </a:cubicBezTo>
                    <a:cubicBezTo>
                      <a:pt x="185" y="369"/>
                      <a:pt x="185" y="368"/>
                      <a:pt x="188" y="369"/>
                    </a:cubicBezTo>
                    <a:cubicBezTo>
                      <a:pt x="191" y="370"/>
                      <a:pt x="194" y="371"/>
                      <a:pt x="197" y="371"/>
                    </a:cubicBezTo>
                    <a:cubicBezTo>
                      <a:pt x="197" y="371"/>
                      <a:pt x="198" y="371"/>
                      <a:pt x="199" y="370"/>
                    </a:cubicBezTo>
                    <a:cubicBezTo>
                      <a:pt x="202" y="370"/>
                      <a:pt x="205" y="369"/>
                      <a:pt x="207" y="368"/>
                    </a:cubicBezTo>
                    <a:cubicBezTo>
                      <a:pt x="208" y="366"/>
                      <a:pt x="207" y="364"/>
                      <a:pt x="210" y="364"/>
                    </a:cubicBezTo>
                    <a:cubicBezTo>
                      <a:pt x="210" y="364"/>
                      <a:pt x="210" y="364"/>
                      <a:pt x="210" y="364"/>
                    </a:cubicBezTo>
                    <a:cubicBezTo>
                      <a:pt x="217" y="364"/>
                      <a:pt x="214" y="372"/>
                      <a:pt x="216" y="376"/>
                    </a:cubicBezTo>
                    <a:cubicBezTo>
                      <a:pt x="217" y="377"/>
                      <a:pt x="219" y="378"/>
                      <a:pt x="219" y="380"/>
                    </a:cubicBezTo>
                    <a:cubicBezTo>
                      <a:pt x="219" y="381"/>
                      <a:pt x="215" y="382"/>
                      <a:pt x="213" y="382"/>
                    </a:cubicBezTo>
                    <a:cubicBezTo>
                      <a:pt x="213" y="382"/>
                      <a:pt x="212" y="382"/>
                      <a:pt x="212" y="382"/>
                    </a:cubicBezTo>
                    <a:cubicBezTo>
                      <a:pt x="212" y="382"/>
                      <a:pt x="212" y="382"/>
                      <a:pt x="212" y="382"/>
                    </a:cubicBezTo>
                    <a:cubicBezTo>
                      <a:pt x="210" y="382"/>
                      <a:pt x="209" y="383"/>
                      <a:pt x="208" y="383"/>
                    </a:cubicBezTo>
                    <a:cubicBezTo>
                      <a:pt x="207" y="384"/>
                      <a:pt x="206" y="384"/>
                      <a:pt x="205" y="384"/>
                    </a:cubicBezTo>
                    <a:cubicBezTo>
                      <a:pt x="205" y="384"/>
                      <a:pt x="205" y="384"/>
                      <a:pt x="204" y="384"/>
                    </a:cubicBezTo>
                    <a:cubicBezTo>
                      <a:pt x="204" y="384"/>
                      <a:pt x="204" y="384"/>
                      <a:pt x="203" y="384"/>
                    </a:cubicBezTo>
                    <a:cubicBezTo>
                      <a:pt x="203" y="384"/>
                      <a:pt x="202" y="384"/>
                      <a:pt x="202" y="384"/>
                    </a:cubicBezTo>
                    <a:cubicBezTo>
                      <a:pt x="198" y="385"/>
                      <a:pt x="195" y="389"/>
                      <a:pt x="193" y="393"/>
                    </a:cubicBezTo>
                    <a:cubicBezTo>
                      <a:pt x="193" y="394"/>
                      <a:pt x="189" y="402"/>
                      <a:pt x="187" y="402"/>
                    </a:cubicBezTo>
                    <a:cubicBezTo>
                      <a:pt x="184" y="402"/>
                      <a:pt x="186" y="399"/>
                      <a:pt x="187" y="398"/>
                    </a:cubicBezTo>
                    <a:cubicBezTo>
                      <a:pt x="189" y="393"/>
                      <a:pt x="192" y="388"/>
                      <a:pt x="196" y="384"/>
                    </a:cubicBezTo>
                    <a:cubicBezTo>
                      <a:pt x="199" y="381"/>
                      <a:pt x="202" y="382"/>
                      <a:pt x="206" y="381"/>
                    </a:cubicBezTo>
                    <a:cubicBezTo>
                      <a:pt x="211" y="379"/>
                      <a:pt x="210" y="373"/>
                      <a:pt x="206" y="373"/>
                    </a:cubicBezTo>
                    <a:cubicBezTo>
                      <a:pt x="206" y="373"/>
                      <a:pt x="205" y="374"/>
                      <a:pt x="204" y="374"/>
                    </a:cubicBezTo>
                    <a:cubicBezTo>
                      <a:pt x="202" y="375"/>
                      <a:pt x="201" y="375"/>
                      <a:pt x="199" y="375"/>
                    </a:cubicBezTo>
                    <a:cubicBezTo>
                      <a:pt x="198" y="375"/>
                      <a:pt x="197" y="375"/>
                      <a:pt x="195" y="374"/>
                    </a:cubicBezTo>
                    <a:cubicBezTo>
                      <a:pt x="191" y="373"/>
                      <a:pt x="187" y="374"/>
                      <a:pt x="183" y="373"/>
                    </a:cubicBezTo>
                    <a:cubicBezTo>
                      <a:pt x="178" y="373"/>
                      <a:pt x="173" y="372"/>
                      <a:pt x="167" y="371"/>
                    </a:cubicBezTo>
                    <a:cubicBezTo>
                      <a:pt x="161" y="370"/>
                      <a:pt x="153" y="371"/>
                      <a:pt x="148" y="368"/>
                    </a:cubicBezTo>
                    <a:cubicBezTo>
                      <a:pt x="147" y="368"/>
                      <a:pt x="146" y="367"/>
                      <a:pt x="145" y="367"/>
                    </a:cubicBezTo>
                    <a:cubicBezTo>
                      <a:pt x="145" y="367"/>
                      <a:pt x="144" y="367"/>
                      <a:pt x="144" y="368"/>
                    </a:cubicBezTo>
                    <a:cubicBezTo>
                      <a:pt x="144" y="368"/>
                      <a:pt x="141" y="370"/>
                      <a:pt x="140" y="370"/>
                    </a:cubicBezTo>
                    <a:cubicBezTo>
                      <a:pt x="140" y="370"/>
                      <a:pt x="140" y="370"/>
                      <a:pt x="140" y="370"/>
                    </a:cubicBezTo>
                    <a:cubicBezTo>
                      <a:pt x="138" y="370"/>
                      <a:pt x="136" y="369"/>
                      <a:pt x="136" y="369"/>
                    </a:cubicBezTo>
                    <a:cubicBezTo>
                      <a:pt x="136" y="369"/>
                      <a:pt x="133" y="372"/>
                      <a:pt x="133" y="373"/>
                    </a:cubicBezTo>
                    <a:cubicBezTo>
                      <a:pt x="131" y="375"/>
                      <a:pt x="131" y="379"/>
                      <a:pt x="129" y="380"/>
                    </a:cubicBezTo>
                    <a:cubicBezTo>
                      <a:pt x="126" y="382"/>
                      <a:pt x="126" y="382"/>
                      <a:pt x="126" y="382"/>
                    </a:cubicBezTo>
                    <a:cubicBezTo>
                      <a:pt x="124" y="383"/>
                      <a:pt x="121" y="382"/>
                      <a:pt x="123" y="385"/>
                    </a:cubicBezTo>
                    <a:cubicBezTo>
                      <a:pt x="125" y="388"/>
                      <a:pt x="128" y="390"/>
                      <a:pt x="130" y="392"/>
                    </a:cubicBezTo>
                    <a:cubicBezTo>
                      <a:pt x="131" y="393"/>
                      <a:pt x="131" y="396"/>
                      <a:pt x="132" y="396"/>
                    </a:cubicBezTo>
                    <a:cubicBezTo>
                      <a:pt x="133" y="396"/>
                      <a:pt x="133" y="396"/>
                      <a:pt x="133" y="396"/>
                    </a:cubicBezTo>
                    <a:cubicBezTo>
                      <a:pt x="133" y="396"/>
                      <a:pt x="134" y="396"/>
                      <a:pt x="134" y="396"/>
                    </a:cubicBezTo>
                    <a:cubicBezTo>
                      <a:pt x="134" y="396"/>
                      <a:pt x="134" y="396"/>
                      <a:pt x="135" y="396"/>
                    </a:cubicBezTo>
                    <a:cubicBezTo>
                      <a:pt x="135" y="396"/>
                      <a:pt x="135" y="396"/>
                      <a:pt x="135" y="396"/>
                    </a:cubicBezTo>
                    <a:cubicBezTo>
                      <a:pt x="136" y="396"/>
                      <a:pt x="139" y="397"/>
                      <a:pt x="139" y="398"/>
                    </a:cubicBezTo>
                    <a:cubicBezTo>
                      <a:pt x="140" y="398"/>
                      <a:pt x="140" y="398"/>
                      <a:pt x="140" y="398"/>
                    </a:cubicBezTo>
                    <a:cubicBezTo>
                      <a:pt x="140" y="398"/>
                      <a:pt x="140" y="398"/>
                      <a:pt x="140" y="398"/>
                    </a:cubicBezTo>
                    <a:cubicBezTo>
                      <a:pt x="139" y="398"/>
                      <a:pt x="138" y="399"/>
                      <a:pt x="138" y="399"/>
                    </a:cubicBezTo>
                    <a:cubicBezTo>
                      <a:pt x="137" y="399"/>
                      <a:pt x="136" y="399"/>
                      <a:pt x="135" y="399"/>
                    </a:cubicBezTo>
                    <a:cubicBezTo>
                      <a:pt x="135" y="399"/>
                      <a:pt x="134" y="399"/>
                      <a:pt x="134" y="398"/>
                    </a:cubicBezTo>
                    <a:cubicBezTo>
                      <a:pt x="134" y="398"/>
                      <a:pt x="133" y="398"/>
                      <a:pt x="133" y="398"/>
                    </a:cubicBezTo>
                    <a:cubicBezTo>
                      <a:pt x="132" y="398"/>
                      <a:pt x="131" y="400"/>
                      <a:pt x="130" y="400"/>
                    </a:cubicBezTo>
                    <a:cubicBezTo>
                      <a:pt x="129" y="400"/>
                      <a:pt x="129" y="400"/>
                      <a:pt x="128" y="400"/>
                    </a:cubicBezTo>
                    <a:cubicBezTo>
                      <a:pt x="126" y="400"/>
                      <a:pt x="124" y="399"/>
                      <a:pt x="122" y="397"/>
                    </a:cubicBezTo>
                    <a:cubicBezTo>
                      <a:pt x="120" y="396"/>
                      <a:pt x="119" y="395"/>
                      <a:pt x="118" y="395"/>
                    </a:cubicBezTo>
                    <a:cubicBezTo>
                      <a:pt x="117" y="395"/>
                      <a:pt x="116" y="396"/>
                      <a:pt x="114" y="396"/>
                    </a:cubicBezTo>
                    <a:cubicBezTo>
                      <a:pt x="112" y="396"/>
                      <a:pt x="108" y="394"/>
                      <a:pt x="106" y="394"/>
                    </a:cubicBezTo>
                    <a:cubicBezTo>
                      <a:pt x="105" y="394"/>
                      <a:pt x="105" y="394"/>
                      <a:pt x="105" y="394"/>
                    </a:cubicBezTo>
                    <a:cubicBezTo>
                      <a:pt x="103" y="395"/>
                      <a:pt x="103" y="396"/>
                      <a:pt x="102" y="398"/>
                    </a:cubicBezTo>
                    <a:cubicBezTo>
                      <a:pt x="102" y="397"/>
                      <a:pt x="102" y="397"/>
                      <a:pt x="102" y="397"/>
                    </a:cubicBezTo>
                    <a:cubicBezTo>
                      <a:pt x="101" y="403"/>
                      <a:pt x="102" y="406"/>
                      <a:pt x="108" y="407"/>
                    </a:cubicBezTo>
                    <a:cubicBezTo>
                      <a:pt x="110" y="407"/>
                      <a:pt x="112" y="407"/>
                      <a:pt x="113" y="408"/>
                    </a:cubicBezTo>
                    <a:cubicBezTo>
                      <a:pt x="122" y="410"/>
                      <a:pt x="124" y="421"/>
                      <a:pt x="127" y="429"/>
                    </a:cubicBezTo>
                    <a:cubicBezTo>
                      <a:pt x="129" y="433"/>
                      <a:pt x="130" y="437"/>
                      <a:pt x="132" y="441"/>
                    </a:cubicBezTo>
                    <a:cubicBezTo>
                      <a:pt x="133" y="442"/>
                      <a:pt x="132" y="443"/>
                      <a:pt x="132" y="444"/>
                    </a:cubicBezTo>
                    <a:cubicBezTo>
                      <a:pt x="132" y="444"/>
                      <a:pt x="131" y="445"/>
                      <a:pt x="131" y="446"/>
                    </a:cubicBezTo>
                    <a:cubicBezTo>
                      <a:pt x="131" y="446"/>
                      <a:pt x="132" y="446"/>
                      <a:pt x="133" y="446"/>
                    </a:cubicBezTo>
                    <a:cubicBezTo>
                      <a:pt x="134" y="446"/>
                      <a:pt x="135" y="446"/>
                      <a:pt x="136" y="446"/>
                    </a:cubicBezTo>
                    <a:cubicBezTo>
                      <a:pt x="137" y="446"/>
                      <a:pt x="139" y="446"/>
                      <a:pt x="140" y="446"/>
                    </a:cubicBezTo>
                    <a:cubicBezTo>
                      <a:pt x="140" y="446"/>
                      <a:pt x="140" y="446"/>
                      <a:pt x="141" y="446"/>
                    </a:cubicBezTo>
                    <a:cubicBezTo>
                      <a:pt x="146" y="447"/>
                      <a:pt x="146" y="454"/>
                      <a:pt x="150" y="456"/>
                    </a:cubicBezTo>
                    <a:cubicBezTo>
                      <a:pt x="150" y="457"/>
                      <a:pt x="151" y="457"/>
                      <a:pt x="151" y="457"/>
                    </a:cubicBezTo>
                    <a:cubicBezTo>
                      <a:pt x="152" y="457"/>
                      <a:pt x="152" y="457"/>
                      <a:pt x="153" y="456"/>
                    </a:cubicBezTo>
                    <a:cubicBezTo>
                      <a:pt x="154" y="456"/>
                      <a:pt x="154" y="456"/>
                      <a:pt x="155" y="456"/>
                    </a:cubicBezTo>
                    <a:cubicBezTo>
                      <a:pt x="155" y="456"/>
                      <a:pt x="155" y="456"/>
                      <a:pt x="156" y="456"/>
                    </a:cubicBezTo>
                    <a:cubicBezTo>
                      <a:pt x="157" y="456"/>
                      <a:pt x="157" y="456"/>
                      <a:pt x="158" y="457"/>
                    </a:cubicBezTo>
                    <a:cubicBezTo>
                      <a:pt x="159" y="457"/>
                      <a:pt x="159" y="458"/>
                      <a:pt x="160" y="458"/>
                    </a:cubicBezTo>
                    <a:cubicBezTo>
                      <a:pt x="160" y="459"/>
                      <a:pt x="160" y="459"/>
                      <a:pt x="160" y="459"/>
                    </a:cubicBezTo>
                    <a:cubicBezTo>
                      <a:pt x="161" y="459"/>
                      <a:pt x="161" y="459"/>
                      <a:pt x="161" y="459"/>
                    </a:cubicBezTo>
                    <a:cubicBezTo>
                      <a:pt x="161" y="458"/>
                      <a:pt x="161" y="458"/>
                      <a:pt x="161" y="458"/>
                    </a:cubicBezTo>
                    <a:cubicBezTo>
                      <a:pt x="161" y="458"/>
                      <a:pt x="161" y="458"/>
                      <a:pt x="161" y="458"/>
                    </a:cubicBezTo>
                    <a:cubicBezTo>
                      <a:pt x="161" y="458"/>
                      <a:pt x="161" y="458"/>
                      <a:pt x="162" y="458"/>
                    </a:cubicBezTo>
                    <a:cubicBezTo>
                      <a:pt x="162" y="458"/>
                      <a:pt x="163" y="458"/>
                      <a:pt x="163" y="458"/>
                    </a:cubicBezTo>
                    <a:cubicBezTo>
                      <a:pt x="164" y="458"/>
                      <a:pt x="164" y="458"/>
                      <a:pt x="165" y="458"/>
                    </a:cubicBezTo>
                    <a:cubicBezTo>
                      <a:pt x="166" y="458"/>
                      <a:pt x="166" y="458"/>
                      <a:pt x="167" y="458"/>
                    </a:cubicBezTo>
                    <a:cubicBezTo>
                      <a:pt x="169" y="459"/>
                      <a:pt x="171" y="460"/>
                      <a:pt x="173" y="461"/>
                    </a:cubicBezTo>
                    <a:cubicBezTo>
                      <a:pt x="172" y="462"/>
                      <a:pt x="171" y="462"/>
                      <a:pt x="170" y="462"/>
                    </a:cubicBezTo>
                    <a:cubicBezTo>
                      <a:pt x="170" y="462"/>
                      <a:pt x="170" y="462"/>
                      <a:pt x="169" y="462"/>
                    </a:cubicBezTo>
                    <a:cubicBezTo>
                      <a:pt x="173" y="467"/>
                      <a:pt x="171" y="469"/>
                      <a:pt x="168" y="474"/>
                    </a:cubicBezTo>
                    <a:cubicBezTo>
                      <a:pt x="167" y="476"/>
                      <a:pt x="164" y="479"/>
                      <a:pt x="164" y="481"/>
                    </a:cubicBezTo>
                    <a:cubicBezTo>
                      <a:pt x="164" y="484"/>
                      <a:pt x="164" y="487"/>
                      <a:pt x="164" y="490"/>
                    </a:cubicBezTo>
                    <a:cubicBezTo>
                      <a:pt x="165" y="490"/>
                      <a:pt x="166" y="489"/>
                      <a:pt x="167" y="488"/>
                    </a:cubicBezTo>
                    <a:cubicBezTo>
                      <a:pt x="168" y="487"/>
                      <a:pt x="170" y="485"/>
                      <a:pt x="172" y="484"/>
                    </a:cubicBezTo>
                    <a:cubicBezTo>
                      <a:pt x="173" y="482"/>
                      <a:pt x="175" y="481"/>
                      <a:pt x="178" y="479"/>
                    </a:cubicBezTo>
                    <a:cubicBezTo>
                      <a:pt x="183" y="476"/>
                      <a:pt x="190" y="474"/>
                      <a:pt x="196" y="473"/>
                    </a:cubicBezTo>
                    <a:cubicBezTo>
                      <a:pt x="199" y="472"/>
                      <a:pt x="202" y="472"/>
                      <a:pt x="205" y="471"/>
                    </a:cubicBezTo>
                    <a:cubicBezTo>
                      <a:pt x="207" y="471"/>
                      <a:pt x="207" y="471"/>
                      <a:pt x="207" y="471"/>
                    </a:cubicBezTo>
                    <a:cubicBezTo>
                      <a:pt x="208" y="471"/>
                      <a:pt x="210" y="471"/>
                      <a:pt x="211" y="471"/>
                    </a:cubicBezTo>
                    <a:cubicBezTo>
                      <a:pt x="212" y="471"/>
                      <a:pt x="213" y="471"/>
                      <a:pt x="213" y="471"/>
                    </a:cubicBezTo>
                    <a:cubicBezTo>
                      <a:pt x="216" y="471"/>
                      <a:pt x="217" y="473"/>
                      <a:pt x="219" y="474"/>
                    </a:cubicBezTo>
                    <a:cubicBezTo>
                      <a:pt x="222" y="476"/>
                      <a:pt x="226" y="479"/>
                      <a:pt x="229" y="482"/>
                    </a:cubicBezTo>
                    <a:cubicBezTo>
                      <a:pt x="230" y="483"/>
                      <a:pt x="230" y="483"/>
                      <a:pt x="230" y="483"/>
                    </a:cubicBezTo>
                    <a:cubicBezTo>
                      <a:pt x="231" y="484"/>
                      <a:pt x="233" y="486"/>
                      <a:pt x="234" y="487"/>
                    </a:cubicBezTo>
                    <a:cubicBezTo>
                      <a:pt x="236" y="488"/>
                      <a:pt x="236" y="488"/>
                      <a:pt x="236" y="488"/>
                    </a:cubicBezTo>
                    <a:cubicBezTo>
                      <a:pt x="239" y="490"/>
                      <a:pt x="241" y="492"/>
                      <a:pt x="243" y="494"/>
                    </a:cubicBezTo>
                    <a:cubicBezTo>
                      <a:pt x="244" y="496"/>
                      <a:pt x="244" y="497"/>
                      <a:pt x="245" y="499"/>
                    </a:cubicBezTo>
                    <a:cubicBezTo>
                      <a:pt x="246" y="500"/>
                      <a:pt x="246" y="500"/>
                      <a:pt x="246" y="500"/>
                    </a:cubicBezTo>
                    <a:cubicBezTo>
                      <a:pt x="248" y="502"/>
                      <a:pt x="249" y="503"/>
                      <a:pt x="251" y="505"/>
                    </a:cubicBezTo>
                    <a:cubicBezTo>
                      <a:pt x="252" y="505"/>
                      <a:pt x="252" y="506"/>
                      <a:pt x="252" y="506"/>
                    </a:cubicBezTo>
                    <a:cubicBezTo>
                      <a:pt x="254" y="506"/>
                      <a:pt x="255" y="506"/>
                      <a:pt x="257" y="506"/>
                    </a:cubicBezTo>
                    <a:cubicBezTo>
                      <a:pt x="259" y="506"/>
                      <a:pt x="260" y="506"/>
                      <a:pt x="262" y="505"/>
                    </a:cubicBezTo>
                    <a:cubicBezTo>
                      <a:pt x="262" y="442"/>
                      <a:pt x="262" y="442"/>
                      <a:pt x="262" y="442"/>
                    </a:cubicBezTo>
                    <a:cubicBezTo>
                      <a:pt x="262" y="423"/>
                      <a:pt x="262" y="404"/>
                      <a:pt x="262" y="384"/>
                    </a:cubicBezTo>
                    <a:cubicBezTo>
                      <a:pt x="262" y="383"/>
                      <a:pt x="262" y="383"/>
                      <a:pt x="262" y="383"/>
                    </a:cubicBezTo>
                    <a:cubicBezTo>
                      <a:pt x="262" y="380"/>
                      <a:pt x="264" y="379"/>
                      <a:pt x="267" y="378"/>
                    </a:cubicBezTo>
                    <a:cubicBezTo>
                      <a:pt x="269" y="377"/>
                      <a:pt x="272" y="376"/>
                      <a:pt x="274" y="376"/>
                    </a:cubicBezTo>
                    <a:cubicBezTo>
                      <a:pt x="275" y="376"/>
                      <a:pt x="276" y="375"/>
                      <a:pt x="277" y="375"/>
                    </a:cubicBezTo>
                    <a:cubicBezTo>
                      <a:pt x="289" y="372"/>
                      <a:pt x="302" y="368"/>
                      <a:pt x="314" y="365"/>
                    </a:cubicBezTo>
                    <a:cubicBezTo>
                      <a:pt x="326" y="362"/>
                      <a:pt x="326" y="362"/>
                      <a:pt x="326" y="362"/>
                    </a:cubicBezTo>
                    <a:cubicBezTo>
                      <a:pt x="329" y="361"/>
                      <a:pt x="332" y="360"/>
                      <a:pt x="334" y="360"/>
                    </a:cubicBezTo>
                    <a:cubicBezTo>
                      <a:pt x="337" y="359"/>
                      <a:pt x="337" y="359"/>
                      <a:pt x="337" y="359"/>
                    </a:cubicBezTo>
                    <a:cubicBezTo>
                      <a:pt x="337" y="359"/>
                      <a:pt x="337" y="359"/>
                      <a:pt x="338" y="359"/>
                    </a:cubicBezTo>
                    <a:cubicBezTo>
                      <a:pt x="339" y="359"/>
                      <a:pt x="340" y="359"/>
                      <a:pt x="341" y="360"/>
                    </a:cubicBezTo>
                    <a:cubicBezTo>
                      <a:pt x="341" y="358"/>
                      <a:pt x="341" y="356"/>
                      <a:pt x="342" y="354"/>
                    </a:cubicBezTo>
                    <a:cubicBezTo>
                      <a:pt x="343" y="353"/>
                      <a:pt x="345" y="351"/>
                      <a:pt x="347" y="351"/>
                    </a:cubicBezTo>
                    <a:cubicBezTo>
                      <a:pt x="347" y="351"/>
                      <a:pt x="347" y="351"/>
                      <a:pt x="348" y="351"/>
                    </a:cubicBezTo>
                    <a:cubicBezTo>
                      <a:pt x="348" y="351"/>
                      <a:pt x="349" y="351"/>
                      <a:pt x="350" y="351"/>
                    </a:cubicBezTo>
                    <a:cubicBezTo>
                      <a:pt x="350" y="351"/>
                      <a:pt x="350" y="351"/>
                      <a:pt x="350" y="351"/>
                    </a:cubicBezTo>
                    <a:cubicBezTo>
                      <a:pt x="350" y="351"/>
                      <a:pt x="350" y="351"/>
                      <a:pt x="350" y="351"/>
                    </a:cubicBezTo>
                    <a:cubicBezTo>
                      <a:pt x="351" y="351"/>
                      <a:pt x="351" y="351"/>
                      <a:pt x="351" y="351"/>
                    </a:cubicBezTo>
                    <a:cubicBezTo>
                      <a:pt x="351" y="351"/>
                      <a:pt x="351" y="350"/>
                      <a:pt x="351" y="350"/>
                    </a:cubicBezTo>
                    <a:cubicBezTo>
                      <a:pt x="351" y="350"/>
                      <a:pt x="351" y="350"/>
                      <a:pt x="351" y="350"/>
                    </a:cubicBezTo>
                    <a:cubicBezTo>
                      <a:pt x="351" y="350"/>
                      <a:pt x="352" y="350"/>
                      <a:pt x="353" y="350"/>
                    </a:cubicBezTo>
                    <a:cubicBezTo>
                      <a:pt x="353" y="350"/>
                      <a:pt x="353" y="350"/>
                      <a:pt x="353" y="350"/>
                    </a:cubicBezTo>
                    <a:cubicBezTo>
                      <a:pt x="353" y="350"/>
                      <a:pt x="353" y="350"/>
                      <a:pt x="353" y="350"/>
                    </a:cubicBezTo>
                    <a:cubicBezTo>
                      <a:pt x="354" y="350"/>
                      <a:pt x="354" y="350"/>
                      <a:pt x="354" y="350"/>
                    </a:cubicBezTo>
                    <a:cubicBezTo>
                      <a:pt x="355" y="350"/>
                      <a:pt x="355" y="350"/>
                      <a:pt x="355" y="350"/>
                    </a:cubicBezTo>
                    <a:cubicBezTo>
                      <a:pt x="356" y="350"/>
                      <a:pt x="356" y="350"/>
                      <a:pt x="356" y="350"/>
                    </a:cubicBezTo>
                    <a:cubicBezTo>
                      <a:pt x="357" y="350"/>
                      <a:pt x="358" y="348"/>
                      <a:pt x="359" y="348"/>
                    </a:cubicBezTo>
                    <a:cubicBezTo>
                      <a:pt x="359" y="348"/>
                      <a:pt x="359" y="348"/>
                      <a:pt x="359" y="348"/>
                    </a:cubicBezTo>
                    <a:cubicBezTo>
                      <a:pt x="363" y="348"/>
                      <a:pt x="359" y="351"/>
                      <a:pt x="358" y="353"/>
                    </a:cubicBezTo>
                    <a:cubicBezTo>
                      <a:pt x="357" y="355"/>
                      <a:pt x="356" y="358"/>
                      <a:pt x="359" y="359"/>
                    </a:cubicBezTo>
                    <a:cubicBezTo>
                      <a:pt x="359" y="359"/>
                      <a:pt x="359" y="359"/>
                      <a:pt x="359" y="359"/>
                    </a:cubicBezTo>
                    <a:cubicBezTo>
                      <a:pt x="359" y="359"/>
                      <a:pt x="360" y="358"/>
                      <a:pt x="361" y="358"/>
                    </a:cubicBezTo>
                    <a:cubicBezTo>
                      <a:pt x="361" y="358"/>
                      <a:pt x="362" y="358"/>
                      <a:pt x="362" y="358"/>
                    </a:cubicBezTo>
                    <a:cubicBezTo>
                      <a:pt x="363" y="358"/>
                      <a:pt x="363" y="358"/>
                      <a:pt x="363" y="360"/>
                    </a:cubicBezTo>
                    <a:cubicBezTo>
                      <a:pt x="364" y="359"/>
                      <a:pt x="365" y="357"/>
                      <a:pt x="366" y="357"/>
                    </a:cubicBezTo>
                    <a:cubicBezTo>
                      <a:pt x="366" y="357"/>
                      <a:pt x="366" y="357"/>
                      <a:pt x="366" y="357"/>
                    </a:cubicBezTo>
                    <a:cubicBezTo>
                      <a:pt x="367" y="357"/>
                      <a:pt x="369" y="357"/>
                      <a:pt x="369" y="358"/>
                    </a:cubicBezTo>
                    <a:cubicBezTo>
                      <a:pt x="370" y="357"/>
                      <a:pt x="369" y="355"/>
                      <a:pt x="369" y="354"/>
                    </a:cubicBezTo>
                    <a:cubicBezTo>
                      <a:pt x="369" y="353"/>
                      <a:pt x="370" y="351"/>
                      <a:pt x="370" y="350"/>
                    </a:cubicBezTo>
                    <a:cubicBezTo>
                      <a:pt x="372" y="346"/>
                      <a:pt x="372" y="345"/>
                      <a:pt x="369" y="342"/>
                    </a:cubicBezTo>
                    <a:cubicBezTo>
                      <a:pt x="368" y="341"/>
                      <a:pt x="367" y="340"/>
                      <a:pt x="367" y="339"/>
                    </a:cubicBezTo>
                    <a:cubicBezTo>
                      <a:pt x="366" y="337"/>
                      <a:pt x="366" y="337"/>
                      <a:pt x="366" y="337"/>
                    </a:cubicBezTo>
                    <a:cubicBezTo>
                      <a:pt x="366" y="337"/>
                      <a:pt x="366" y="337"/>
                      <a:pt x="367" y="337"/>
                    </a:cubicBezTo>
                    <a:cubicBezTo>
                      <a:pt x="367" y="337"/>
                      <a:pt x="367" y="337"/>
                      <a:pt x="367" y="337"/>
                    </a:cubicBezTo>
                    <a:cubicBezTo>
                      <a:pt x="367" y="337"/>
                      <a:pt x="368" y="337"/>
                      <a:pt x="368" y="337"/>
                    </a:cubicBezTo>
                    <a:cubicBezTo>
                      <a:pt x="369" y="337"/>
                      <a:pt x="369" y="337"/>
                      <a:pt x="370" y="337"/>
                    </a:cubicBezTo>
                    <a:cubicBezTo>
                      <a:pt x="372" y="337"/>
                      <a:pt x="373" y="338"/>
                      <a:pt x="374" y="340"/>
                    </a:cubicBezTo>
                    <a:cubicBezTo>
                      <a:pt x="374" y="341"/>
                      <a:pt x="374" y="343"/>
                      <a:pt x="374" y="344"/>
                    </a:cubicBezTo>
                    <a:cubicBezTo>
                      <a:pt x="374" y="345"/>
                      <a:pt x="370" y="346"/>
                      <a:pt x="373" y="347"/>
                    </a:cubicBezTo>
                    <a:cubicBezTo>
                      <a:pt x="373" y="347"/>
                      <a:pt x="373" y="347"/>
                      <a:pt x="373" y="347"/>
                    </a:cubicBezTo>
                    <a:cubicBezTo>
                      <a:pt x="374" y="347"/>
                      <a:pt x="377" y="346"/>
                      <a:pt x="378" y="346"/>
                    </a:cubicBezTo>
                    <a:cubicBezTo>
                      <a:pt x="378" y="346"/>
                      <a:pt x="379" y="346"/>
                      <a:pt x="379" y="346"/>
                    </a:cubicBezTo>
                    <a:cubicBezTo>
                      <a:pt x="380" y="346"/>
                      <a:pt x="380" y="346"/>
                      <a:pt x="380" y="346"/>
                    </a:cubicBezTo>
                    <a:cubicBezTo>
                      <a:pt x="381" y="346"/>
                      <a:pt x="381" y="346"/>
                      <a:pt x="381" y="346"/>
                    </a:cubicBezTo>
                    <a:cubicBezTo>
                      <a:pt x="382" y="346"/>
                      <a:pt x="382" y="346"/>
                      <a:pt x="382" y="346"/>
                    </a:cubicBezTo>
                    <a:cubicBezTo>
                      <a:pt x="384" y="346"/>
                      <a:pt x="386" y="345"/>
                      <a:pt x="388" y="345"/>
                    </a:cubicBezTo>
                    <a:cubicBezTo>
                      <a:pt x="389" y="345"/>
                      <a:pt x="389" y="345"/>
                      <a:pt x="390" y="345"/>
                    </a:cubicBezTo>
                    <a:cubicBezTo>
                      <a:pt x="393" y="346"/>
                      <a:pt x="397" y="345"/>
                      <a:pt x="400" y="347"/>
                    </a:cubicBezTo>
                    <a:cubicBezTo>
                      <a:pt x="399" y="349"/>
                      <a:pt x="396" y="348"/>
                      <a:pt x="395" y="350"/>
                    </a:cubicBezTo>
                    <a:cubicBezTo>
                      <a:pt x="393" y="352"/>
                      <a:pt x="393" y="353"/>
                      <a:pt x="391" y="353"/>
                    </a:cubicBezTo>
                    <a:cubicBezTo>
                      <a:pt x="391" y="353"/>
                      <a:pt x="390" y="353"/>
                      <a:pt x="389" y="353"/>
                    </a:cubicBezTo>
                    <a:cubicBezTo>
                      <a:pt x="387" y="353"/>
                      <a:pt x="385" y="352"/>
                      <a:pt x="382" y="352"/>
                    </a:cubicBezTo>
                    <a:cubicBezTo>
                      <a:pt x="381" y="352"/>
                      <a:pt x="379" y="351"/>
                      <a:pt x="377" y="351"/>
                    </a:cubicBezTo>
                    <a:cubicBezTo>
                      <a:pt x="377" y="351"/>
                      <a:pt x="376" y="351"/>
                      <a:pt x="376" y="352"/>
                    </a:cubicBezTo>
                    <a:cubicBezTo>
                      <a:pt x="376" y="351"/>
                      <a:pt x="376" y="351"/>
                      <a:pt x="377" y="350"/>
                    </a:cubicBezTo>
                    <a:cubicBezTo>
                      <a:pt x="376" y="350"/>
                      <a:pt x="375" y="350"/>
                      <a:pt x="374" y="350"/>
                    </a:cubicBezTo>
                    <a:cubicBezTo>
                      <a:pt x="374" y="350"/>
                      <a:pt x="373" y="350"/>
                      <a:pt x="373" y="350"/>
                    </a:cubicBezTo>
                    <a:cubicBezTo>
                      <a:pt x="375" y="351"/>
                      <a:pt x="375" y="352"/>
                      <a:pt x="373" y="352"/>
                    </a:cubicBezTo>
                    <a:cubicBezTo>
                      <a:pt x="374" y="353"/>
                      <a:pt x="375" y="353"/>
                      <a:pt x="375" y="354"/>
                    </a:cubicBezTo>
                    <a:cubicBezTo>
                      <a:pt x="375" y="354"/>
                      <a:pt x="373" y="354"/>
                      <a:pt x="372" y="354"/>
                    </a:cubicBezTo>
                    <a:cubicBezTo>
                      <a:pt x="372" y="355"/>
                      <a:pt x="376" y="356"/>
                      <a:pt x="373" y="356"/>
                    </a:cubicBezTo>
                    <a:cubicBezTo>
                      <a:pt x="375" y="358"/>
                      <a:pt x="369" y="361"/>
                      <a:pt x="373" y="363"/>
                    </a:cubicBezTo>
                    <a:cubicBezTo>
                      <a:pt x="373" y="364"/>
                      <a:pt x="374" y="364"/>
                      <a:pt x="374" y="364"/>
                    </a:cubicBezTo>
                    <a:cubicBezTo>
                      <a:pt x="375" y="364"/>
                      <a:pt x="376" y="364"/>
                      <a:pt x="377" y="363"/>
                    </a:cubicBezTo>
                    <a:cubicBezTo>
                      <a:pt x="378" y="363"/>
                      <a:pt x="378" y="363"/>
                      <a:pt x="379" y="363"/>
                    </a:cubicBezTo>
                    <a:cubicBezTo>
                      <a:pt x="380" y="363"/>
                      <a:pt x="381" y="363"/>
                      <a:pt x="382" y="365"/>
                    </a:cubicBezTo>
                    <a:cubicBezTo>
                      <a:pt x="385" y="370"/>
                      <a:pt x="383" y="378"/>
                      <a:pt x="383" y="383"/>
                    </a:cubicBezTo>
                    <a:cubicBezTo>
                      <a:pt x="385" y="385"/>
                      <a:pt x="385" y="385"/>
                      <a:pt x="385" y="385"/>
                    </a:cubicBezTo>
                    <a:cubicBezTo>
                      <a:pt x="386" y="385"/>
                      <a:pt x="387" y="386"/>
                      <a:pt x="389" y="387"/>
                    </a:cubicBezTo>
                    <a:cubicBezTo>
                      <a:pt x="401" y="394"/>
                      <a:pt x="411" y="400"/>
                      <a:pt x="414" y="404"/>
                    </a:cubicBezTo>
                    <a:cubicBezTo>
                      <a:pt x="417" y="409"/>
                      <a:pt x="421" y="414"/>
                      <a:pt x="422" y="415"/>
                    </a:cubicBezTo>
                    <a:cubicBezTo>
                      <a:pt x="425" y="418"/>
                      <a:pt x="429" y="421"/>
                      <a:pt x="432" y="425"/>
                    </a:cubicBezTo>
                    <a:cubicBezTo>
                      <a:pt x="433" y="426"/>
                      <a:pt x="433" y="426"/>
                      <a:pt x="434" y="427"/>
                    </a:cubicBezTo>
                    <a:cubicBezTo>
                      <a:pt x="434" y="428"/>
                      <a:pt x="434" y="428"/>
                      <a:pt x="434" y="428"/>
                    </a:cubicBezTo>
                    <a:cubicBezTo>
                      <a:pt x="435" y="428"/>
                      <a:pt x="436" y="429"/>
                      <a:pt x="437" y="430"/>
                    </a:cubicBezTo>
                    <a:cubicBezTo>
                      <a:pt x="437" y="430"/>
                      <a:pt x="438" y="431"/>
                      <a:pt x="438" y="431"/>
                    </a:cubicBezTo>
                    <a:cubicBezTo>
                      <a:pt x="439" y="431"/>
                      <a:pt x="439" y="431"/>
                      <a:pt x="440" y="431"/>
                    </a:cubicBezTo>
                    <a:cubicBezTo>
                      <a:pt x="440" y="431"/>
                      <a:pt x="440" y="431"/>
                      <a:pt x="440" y="431"/>
                    </a:cubicBezTo>
                    <a:cubicBezTo>
                      <a:pt x="444" y="430"/>
                      <a:pt x="449" y="430"/>
                      <a:pt x="453" y="429"/>
                    </a:cubicBezTo>
                    <a:cubicBezTo>
                      <a:pt x="458" y="428"/>
                      <a:pt x="464" y="427"/>
                      <a:pt x="470" y="426"/>
                    </a:cubicBezTo>
                    <a:cubicBezTo>
                      <a:pt x="472" y="426"/>
                      <a:pt x="473" y="426"/>
                      <a:pt x="474" y="426"/>
                    </a:cubicBezTo>
                    <a:cubicBezTo>
                      <a:pt x="479" y="426"/>
                      <a:pt x="483" y="427"/>
                      <a:pt x="487" y="427"/>
                    </a:cubicBezTo>
                    <a:cubicBezTo>
                      <a:pt x="489" y="427"/>
                      <a:pt x="489" y="427"/>
                      <a:pt x="489" y="427"/>
                    </a:cubicBezTo>
                    <a:cubicBezTo>
                      <a:pt x="492" y="427"/>
                      <a:pt x="494" y="427"/>
                      <a:pt x="497" y="428"/>
                    </a:cubicBezTo>
                    <a:cubicBezTo>
                      <a:pt x="505" y="428"/>
                      <a:pt x="505" y="428"/>
                      <a:pt x="505" y="428"/>
                    </a:cubicBezTo>
                    <a:cubicBezTo>
                      <a:pt x="507" y="428"/>
                      <a:pt x="509" y="428"/>
                      <a:pt x="510" y="427"/>
                    </a:cubicBezTo>
                    <a:cubicBezTo>
                      <a:pt x="511" y="427"/>
                      <a:pt x="511" y="427"/>
                      <a:pt x="511" y="427"/>
                    </a:cubicBezTo>
                    <a:cubicBezTo>
                      <a:pt x="511" y="426"/>
                      <a:pt x="512" y="426"/>
                      <a:pt x="512" y="426"/>
                    </a:cubicBezTo>
                    <a:cubicBezTo>
                      <a:pt x="515" y="424"/>
                      <a:pt x="517" y="423"/>
                      <a:pt x="519" y="423"/>
                    </a:cubicBezTo>
                    <a:cubicBezTo>
                      <a:pt x="520" y="423"/>
                      <a:pt x="520" y="423"/>
                      <a:pt x="520" y="423"/>
                    </a:cubicBezTo>
                    <a:cubicBezTo>
                      <a:pt x="522" y="423"/>
                      <a:pt x="523" y="424"/>
                      <a:pt x="525" y="426"/>
                    </a:cubicBezTo>
                    <a:cubicBezTo>
                      <a:pt x="526" y="427"/>
                      <a:pt x="528" y="429"/>
                      <a:pt x="530" y="431"/>
                    </a:cubicBezTo>
                    <a:cubicBezTo>
                      <a:pt x="532" y="433"/>
                      <a:pt x="532" y="433"/>
                      <a:pt x="532" y="433"/>
                    </a:cubicBezTo>
                    <a:cubicBezTo>
                      <a:pt x="533" y="434"/>
                      <a:pt x="533" y="434"/>
                      <a:pt x="533" y="434"/>
                    </a:cubicBezTo>
                    <a:cubicBezTo>
                      <a:pt x="535" y="436"/>
                      <a:pt x="535" y="436"/>
                      <a:pt x="535" y="436"/>
                    </a:cubicBezTo>
                    <a:cubicBezTo>
                      <a:pt x="538" y="439"/>
                      <a:pt x="541" y="441"/>
                      <a:pt x="544" y="445"/>
                    </a:cubicBezTo>
                    <a:cubicBezTo>
                      <a:pt x="546" y="447"/>
                      <a:pt x="546" y="447"/>
                      <a:pt x="546" y="447"/>
                    </a:cubicBezTo>
                    <a:cubicBezTo>
                      <a:pt x="546" y="448"/>
                      <a:pt x="547" y="448"/>
                      <a:pt x="547" y="449"/>
                    </a:cubicBezTo>
                    <a:cubicBezTo>
                      <a:pt x="548" y="449"/>
                      <a:pt x="548" y="450"/>
                      <a:pt x="549" y="450"/>
                    </a:cubicBezTo>
                    <a:cubicBezTo>
                      <a:pt x="552" y="449"/>
                      <a:pt x="552" y="449"/>
                      <a:pt x="552" y="449"/>
                    </a:cubicBezTo>
                    <a:cubicBezTo>
                      <a:pt x="552" y="449"/>
                      <a:pt x="553" y="449"/>
                      <a:pt x="553" y="449"/>
                    </a:cubicBezTo>
                    <a:cubicBezTo>
                      <a:pt x="554" y="449"/>
                      <a:pt x="556" y="449"/>
                      <a:pt x="556" y="450"/>
                    </a:cubicBezTo>
                    <a:cubicBezTo>
                      <a:pt x="558" y="452"/>
                      <a:pt x="558" y="456"/>
                      <a:pt x="557" y="462"/>
                    </a:cubicBezTo>
                    <a:cubicBezTo>
                      <a:pt x="557" y="462"/>
                      <a:pt x="557" y="462"/>
                      <a:pt x="557" y="462"/>
                    </a:cubicBezTo>
                    <a:cubicBezTo>
                      <a:pt x="556" y="464"/>
                      <a:pt x="556" y="466"/>
                      <a:pt x="556" y="468"/>
                    </a:cubicBezTo>
                    <a:cubicBezTo>
                      <a:pt x="556" y="470"/>
                      <a:pt x="555" y="473"/>
                      <a:pt x="555" y="475"/>
                    </a:cubicBezTo>
                    <a:cubicBezTo>
                      <a:pt x="555" y="475"/>
                      <a:pt x="555" y="476"/>
                      <a:pt x="555" y="477"/>
                    </a:cubicBezTo>
                    <a:cubicBezTo>
                      <a:pt x="555" y="478"/>
                      <a:pt x="555" y="478"/>
                      <a:pt x="555" y="478"/>
                    </a:cubicBezTo>
                    <a:cubicBezTo>
                      <a:pt x="555" y="478"/>
                      <a:pt x="555" y="479"/>
                      <a:pt x="555" y="480"/>
                    </a:cubicBezTo>
                    <a:cubicBezTo>
                      <a:pt x="555" y="481"/>
                      <a:pt x="555" y="482"/>
                      <a:pt x="555" y="482"/>
                    </a:cubicBezTo>
                    <a:cubicBezTo>
                      <a:pt x="555" y="482"/>
                      <a:pt x="555" y="482"/>
                      <a:pt x="555" y="482"/>
                    </a:cubicBezTo>
                    <a:cubicBezTo>
                      <a:pt x="555" y="482"/>
                      <a:pt x="555" y="482"/>
                      <a:pt x="556" y="482"/>
                    </a:cubicBezTo>
                    <a:cubicBezTo>
                      <a:pt x="556" y="482"/>
                      <a:pt x="556" y="482"/>
                      <a:pt x="556" y="482"/>
                    </a:cubicBezTo>
                    <a:cubicBezTo>
                      <a:pt x="556" y="482"/>
                      <a:pt x="557" y="482"/>
                      <a:pt x="557" y="482"/>
                    </a:cubicBezTo>
                    <a:cubicBezTo>
                      <a:pt x="558" y="482"/>
                      <a:pt x="558" y="482"/>
                      <a:pt x="558" y="482"/>
                    </a:cubicBezTo>
                    <a:cubicBezTo>
                      <a:pt x="559" y="482"/>
                      <a:pt x="561" y="482"/>
                      <a:pt x="562" y="482"/>
                    </a:cubicBezTo>
                    <a:cubicBezTo>
                      <a:pt x="564" y="482"/>
                      <a:pt x="566" y="482"/>
                      <a:pt x="567" y="483"/>
                    </a:cubicBezTo>
                    <a:cubicBezTo>
                      <a:pt x="568" y="485"/>
                      <a:pt x="569" y="486"/>
                      <a:pt x="569" y="487"/>
                    </a:cubicBezTo>
                    <a:cubicBezTo>
                      <a:pt x="569" y="488"/>
                      <a:pt x="569" y="489"/>
                      <a:pt x="569" y="491"/>
                    </a:cubicBezTo>
                    <a:cubicBezTo>
                      <a:pt x="569" y="491"/>
                      <a:pt x="569" y="491"/>
                      <a:pt x="569" y="491"/>
                    </a:cubicBezTo>
                    <a:cubicBezTo>
                      <a:pt x="569" y="492"/>
                      <a:pt x="569" y="492"/>
                      <a:pt x="569" y="492"/>
                    </a:cubicBezTo>
                    <a:cubicBezTo>
                      <a:pt x="570" y="495"/>
                      <a:pt x="571" y="499"/>
                      <a:pt x="572" y="502"/>
                    </a:cubicBezTo>
                    <a:cubicBezTo>
                      <a:pt x="573" y="506"/>
                      <a:pt x="573" y="506"/>
                      <a:pt x="573" y="506"/>
                    </a:cubicBezTo>
                    <a:cubicBezTo>
                      <a:pt x="573" y="508"/>
                      <a:pt x="573" y="508"/>
                      <a:pt x="573" y="508"/>
                    </a:cubicBezTo>
                    <a:cubicBezTo>
                      <a:pt x="574" y="511"/>
                      <a:pt x="574" y="511"/>
                      <a:pt x="574" y="511"/>
                    </a:cubicBezTo>
                    <a:cubicBezTo>
                      <a:pt x="596" y="510"/>
                      <a:pt x="596" y="510"/>
                      <a:pt x="596" y="510"/>
                    </a:cubicBezTo>
                    <a:cubicBezTo>
                      <a:pt x="597" y="510"/>
                      <a:pt x="597" y="510"/>
                      <a:pt x="598" y="510"/>
                    </a:cubicBezTo>
                    <a:cubicBezTo>
                      <a:pt x="599" y="510"/>
                      <a:pt x="601" y="510"/>
                      <a:pt x="602" y="510"/>
                    </a:cubicBezTo>
                    <a:cubicBezTo>
                      <a:pt x="603" y="510"/>
                      <a:pt x="604" y="510"/>
                      <a:pt x="605" y="510"/>
                    </a:cubicBezTo>
                    <a:cubicBezTo>
                      <a:pt x="605" y="510"/>
                      <a:pt x="605" y="510"/>
                      <a:pt x="605" y="510"/>
                    </a:cubicBezTo>
                    <a:cubicBezTo>
                      <a:pt x="605" y="510"/>
                      <a:pt x="606" y="510"/>
                      <a:pt x="607" y="510"/>
                    </a:cubicBezTo>
                    <a:cubicBezTo>
                      <a:pt x="607" y="511"/>
                      <a:pt x="607" y="511"/>
                      <a:pt x="607" y="511"/>
                    </a:cubicBezTo>
                    <a:cubicBezTo>
                      <a:pt x="608" y="512"/>
                      <a:pt x="608" y="512"/>
                      <a:pt x="608" y="512"/>
                    </a:cubicBezTo>
                    <a:cubicBezTo>
                      <a:pt x="608" y="512"/>
                      <a:pt x="608" y="512"/>
                      <a:pt x="608" y="512"/>
                    </a:cubicBezTo>
                    <a:cubicBezTo>
                      <a:pt x="609" y="513"/>
                      <a:pt x="609" y="513"/>
                      <a:pt x="609" y="513"/>
                    </a:cubicBezTo>
                    <a:cubicBezTo>
                      <a:pt x="609" y="513"/>
                      <a:pt x="609" y="513"/>
                      <a:pt x="609" y="513"/>
                    </a:cubicBezTo>
                    <a:cubicBezTo>
                      <a:pt x="610" y="514"/>
                      <a:pt x="611" y="514"/>
                      <a:pt x="612" y="515"/>
                    </a:cubicBezTo>
                    <a:cubicBezTo>
                      <a:pt x="613" y="515"/>
                      <a:pt x="614" y="517"/>
                      <a:pt x="614" y="518"/>
                    </a:cubicBezTo>
                    <a:cubicBezTo>
                      <a:pt x="614" y="518"/>
                      <a:pt x="614" y="519"/>
                      <a:pt x="614" y="519"/>
                    </a:cubicBezTo>
                    <a:cubicBezTo>
                      <a:pt x="615" y="521"/>
                      <a:pt x="614" y="523"/>
                      <a:pt x="613" y="525"/>
                    </a:cubicBezTo>
                    <a:cubicBezTo>
                      <a:pt x="615" y="527"/>
                      <a:pt x="618" y="528"/>
                      <a:pt x="621" y="529"/>
                    </a:cubicBezTo>
                    <a:cubicBezTo>
                      <a:pt x="622" y="530"/>
                      <a:pt x="622" y="530"/>
                      <a:pt x="622" y="530"/>
                    </a:cubicBezTo>
                    <a:cubicBezTo>
                      <a:pt x="622" y="529"/>
                      <a:pt x="622" y="528"/>
                      <a:pt x="622" y="527"/>
                    </a:cubicBezTo>
                    <a:cubicBezTo>
                      <a:pt x="622" y="524"/>
                      <a:pt x="622" y="524"/>
                      <a:pt x="622" y="524"/>
                    </a:cubicBezTo>
                    <a:cubicBezTo>
                      <a:pt x="622" y="519"/>
                      <a:pt x="626" y="515"/>
                      <a:pt x="630" y="513"/>
                    </a:cubicBezTo>
                    <a:cubicBezTo>
                      <a:pt x="631" y="512"/>
                      <a:pt x="632" y="512"/>
                      <a:pt x="632" y="511"/>
                    </a:cubicBezTo>
                    <a:cubicBezTo>
                      <a:pt x="633" y="511"/>
                      <a:pt x="633" y="511"/>
                      <a:pt x="633" y="511"/>
                    </a:cubicBezTo>
                    <a:cubicBezTo>
                      <a:pt x="634" y="510"/>
                      <a:pt x="634" y="510"/>
                      <a:pt x="634" y="510"/>
                    </a:cubicBezTo>
                    <a:cubicBezTo>
                      <a:pt x="634" y="509"/>
                      <a:pt x="634" y="509"/>
                      <a:pt x="634" y="509"/>
                    </a:cubicBezTo>
                    <a:cubicBezTo>
                      <a:pt x="636" y="508"/>
                      <a:pt x="638" y="506"/>
                      <a:pt x="640" y="505"/>
                    </a:cubicBezTo>
                    <a:cubicBezTo>
                      <a:pt x="640" y="504"/>
                      <a:pt x="640" y="504"/>
                      <a:pt x="640" y="504"/>
                    </a:cubicBezTo>
                    <a:cubicBezTo>
                      <a:pt x="641" y="504"/>
                      <a:pt x="641" y="504"/>
                      <a:pt x="641" y="504"/>
                    </a:cubicBezTo>
                    <a:cubicBezTo>
                      <a:pt x="643" y="502"/>
                      <a:pt x="646" y="500"/>
                      <a:pt x="648" y="498"/>
                    </a:cubicBezTo>
                    <a:cubicBezTo>
                      <a:pt x="653" y="495"/>
                      <a:pt x="657" y="492"/>
                      <a:pt x="661" y="490"/>
                    </a:cubicBezTo>
                    <a:cubicBezTo>
                      <a:pt x="686" y="476"/>
                      <a:pt x="686" y="476"/>
                      <a:pt x="686" y="476"/>
                    </a:cubicBezTo>
                    <a:cubicBezTo>
                      <a:pt x="686" y="475"/>
                      <a:pt x="686" y="474"/>
                      <a:pt x="686" y="474"/>
                    </a:cubicBezTo>
                    <a:cubicBezTo>
                      <a:pt x="686" y="472"/>
                      <a:pt x="687" y="471"/>
                      <a:pt x="688" y="470"/>
                    </a:cubicBezTo>
                    <a:cubicBezTo>
                      <a:pt x="689" y="469"/>
                      <a:pt x="691" y="467"/>
                      <a:pt x="692" y="466"/>
                    </a:cubicBezTo>
                    <a:cubicBezTo>
                      <a:pt x="694" y="464"/>
                      <a:pt x="694" y="464"/>
                      <a:pt x="694" y="464"/>
                    </a:cubicBezTo>
                    <a:cubicBezTo>
                      <a:pt x="694" y="464"/>
                      <a:pt x="695" y="464"/>
                      <a:pt x="695" y="463"/>
                    </a:cubicBezTo>
                    <a:cubicBezTo>
                      <a:pt x="696" y="461"/>
                      <a:pt x="698" y="460"/>
                      <a:pt x="699" y="458"/>
                    </a:cubicBezTo>
                    <a:cubicBezTo>
                      <a:pt x="700" y="458"/>
                      <a:pt x="701" y="458"/>
                      <a:pt x="701" y="457"/>
                    </a:cubicBezTo>
                    <a:cubicBezTo>
                      <a:pt x="703" y="457"/>
                      <a:pt x="704" y="457"/>
                      <a:pt x="705" y="457"/>
                    </a:cubicBezTo>
                    <a:cubicBezTo>
                      <a:pt x="706" y="457"/>
                      <a:pt x="707" y="457"/>
                      <a:pt x="707" y="457"/>
                    </a:cubicBezTo>
                    <a:cubicBezTo>
                      <a:pt x="708" y="457"/>
                      <a:pt x="708" y="457"/>
                      <a:pt x="708" y="457"/>
                    </a:cubicBezTo>
                    <a:cubicBezTo>
                      <a:pt x="709" y="457"/>
                      <a:pt x="709" y="457"/>
                      <a:pt x="710" y="457"/>
                    </a:cubicBezTo>
                    <a:cubicBezTo>
                      <a:pt x="724" y="457"/>
                      <a:pt x="724" y="457"/>
                      <a:pt x="724" y="457"/>
                    </a:cubicBezTo>
                    <a:cubicBezTo>
                      <a:pt x="724" y="457"/>
                      <a:pt x="724" y="457"/>
                      <a:pt x="724" y="457"/>
                    </a:cubicBezTo>
                    <a:cubicBezTo>
                      <a:pt x="727" y="457"/>
                      <a:pt x="730" y="458"/>
                      <a:pt x="733" y="458"/>
                    </a:cubicBezTo>
                    <a:cubicBezTo>
                      <a:pt x="740" y="460"/>
                      <a:pt x="747" y="462"/>
                      <a:pt x="753" y="465"/>
                    </a:cubicBezTo>
                    <a:cubicBezTo>
                      <a:pt x="757" y="466"/>
                      <a:pt x="757" y="466"/>
                      <a:pt x="757" y="466"/>
                    </a:cubicBezTo>
                    <a:cubicBezTo>
                      <a:pt x="757" y="466"/>
                      <a:pt x="758" y="466"/>
                      <a:pt x="759" y="466"/>
                    </a:cubicBezTo>
                    <a:cubicBezTo>
                      <a:pt x="757" y="458"/>
                      <a:pt x="761" y="449"/>
                      <a:pt x="769" y="445"/>
                    </a:cubicBezTo>
                    <a:cubicBezTo>
                      <a:pt x="767" y="438"/>
                      <a:pt x="767" y="438"/>
                      <a:pt x="767" y="438"/>
                    </a:cubicBezTo>
                    <a:cubicBezTo>
                      <a:pt x="771" y="444"/>
                      <a:pt x="771" y="444"/>
                      <a:pt x="771" y="444"/>
                    </a:cubicBezTo>
                    <a:cubicBezTo>
                      <a:pt x="774" y="443"/>
                      <a:pt x="777" y="442"/>
                      <a:pt x="781" y="441"/>
                    </a:cubicBezTo>
                    <a:cubicBezTo>
                      <a:pt x="782" y="442"/>
                      <a:pt x="782" y="442"/>
                      <a:pt x="782" y="442"/>
                    </a:cubicBezTo>
                    <a:cubicBezTo>
                      <a:pt x="783" y="442"/>
                      <a:pt x="783" y="442"/>
                      <a:pt x="784" y="442"/>
                    </a:cubicBezTo>
                    <a:cubicBezTo>
                      <a:pt x="787" y="442"/>
                      <a:pt x="790" y="442"/>
                      <a:pt x="793" y="444"/>
                    </a:cubicBezTo>
                    <a:cubicBezTo>
                      <a:pt x="795" y="445"/>
                      <a:pt x="796" y="446"/>
                      <a:pt x="797" y="447"/>
                    </a:cubicBezTo>
                    <a:cubicBezTo>
                      <a:pt x="798" y="447"/>
                      <a:pt x="798" y="447"/>
                      <a:pt x="798" y="447"/>
                    </a:cubicBezTo>
                    <a:cubicBezTo>
                      <a:pt x="799" y="448"/>
                      <a:pt x="799" y="448"/>
                      <a:pt x="799" y="448"/>
                    </a:cubicBezTo>
                    <a:cubicBezTo>
                      <a:pt x="801" y="449"/>
                      <a:pt x="802" y="449"/>
                      <a:pt x="804" y="450"/>
                    </a:cubicBezTo>
                    <a:cubicBezTo>
                      <a:pt x="805" y="450"/>
                      <a:pt x="805" y="450"/>
                      <a:pt x="805" y="450"/>
                    </a:cubicBezTo>
                    <a:cubicBezTo>
                      <a:pt x="807" y="451"/>
                      <a:pt x="808" y="451"/>
                      <a:pt x="809" y="452"/>
                    </a:cubicBezTo>
                    <a:cubicBezTo>
                      <a:pt x="810" y="452"/>
                      <a:pt x="810" y="452"/>
                      <a:pt x="810" y="452"/>
                    </a:cubicBezTo>
                    <a:cubicBezTo>
                      <a:pt x="811" y="452"/>
                      <a:pt x="812" y="453"/>
                      <a:pt x="813" y="453"/>
                    </a:cubicBezTo>
                    <a:cubicBezTo>
                      <a:pt x="815" y="453"/>
                      <a:pt x="815" y="453"/>
                      <a:pt x="815" y="453"/>
                    </a:cubicBezTo>
                    <a:cubicBezTo>
                      <a:pt x="816" y="453"/>
                      <a:pt x="816" y="453"/>
                      <a:pt x="817" y="453"/>
                    </a:cubicBezTo>
                    <a:cubicBezTo>
                      <a:pt x="817" y="453"/>
                      <a:pt x="817" y="453"/>
                      <a:pt x="817" y="453"/>
                    </a:cubicBezTo>
                    <a:cubicBezTo>
                      <a:pt x="818" y="453"/>
                      <a:pt x="819" y="453"/>
                      <a:pt x="820" y="453"/>
                    </a:cubicBezTo>
                    <a:cubicBezTo>
                      <a:pt x="821" y="453"/>
                      <a:pt x="821" y="453"/>
                      <a:pt x="821" y="453"/>
                    </a:cubicBezTo>
                    <a:cubicBezTo>
                      <a:pt x="822" y="452"/>
                      <a:pt x="823" y="452"/>
                      <a:pt x="824" y="452"/>
                    </a:cubicBezTo>
                    <a:cubicBezTo>
                      <a:pt x="825" y="451"/>
                      <a:pt x="826" y="451"/>
                      <a:pt x="828" y="450"/>
                    </a:cubicBezTo>
                    <a:cubicBezTo>
                      <a:pt x="828" y="450"/>
                      <a:pt x="828" y="450"/>
                      <a:pt x="828" y="450"/>
                    </a:cubicBezTo>
                    <a:cubicBezTo>
                      <a:pt x="829" y="450"/>
                      <a:pt x="830" y="450"/>
                      <a:pt x="831" y="450"/>
                    </a:cubicBezTo>
                    <a:cubicBezTo>
                      <a:pt x="832" y="450"/>
                      <a:pt x="834" y="450"/>
                      <a:pt x="836" y="450"/>
                    </a:cubicBezTo>
                    <a:cubicBezTo>
                      <a:pt x="839" y="450"/>
                      <a:pt x="843" y="450"/>
                      <a:pt x="846" y="450"/>
                    </a:cubicBezTo>
                    <a:cubicBezTo>
                      <a:pt x="846" y="450"/>
                      <a:pt x="846" y="450"/>
                      <a:pt x="846" y="450"/>
                    </a:cubicBezTo>
                    <a:cubicBezTo>
                      <a:pt x="849" y="451"/>
                      <a:pt x="851" y="451"/>
                      <a:pt x="853" y="451"/>
                    </a:cubicBezTo>
                    <a:cubicBezTo>
                      <a:pt x="856" y="451"/>
                      <a:pt x="856" y="451"/>
                      <a:pt x="856" y="451"/>
                    </a:cubicBezTo>
                    <a:cubicBezTo>
                      <a:pt x="862" y="451"/>
                      <a:pt x="868" y="451"/>
                      <a:pt x="874" y="451"/>
                    </a:cubicBezTo>
                    <a:cubicBezTo>
                      <a:pt x="874" y="446"/>
                      <a:pt x="874" y="446"/>
                      <a:pt x="874" y="446"/>
                    </a:cubicBezTo>
                    <a:cubicBezTo>
                      <a:pt x="875" y="451"/>
                      <a:pt x="875" y="451"/>
                      <a:pt x="875" y="451"/>
                    </a:cubicBezTo>
                    <a:cubicBezTo>
                      <a:pt x="876" y="451"/>
                      <a:pt x="876" y="451"/>
                      <a:pt x="876" y="451"/>
                    </a:cubicBezTo>
                    <a:cubicBezTo>
                      <a:pt x="878" y="452"/>
                      <a:pt x="880" y="452"/>
                      <a:pt x="882" y="452"/>
                    </a:cubicBezTo>
                    <a:cubicBezTo>
                      <a:pt x="886" y="452"/>
                      <a:pt x="891" y="453"/>
                      <a:pt x="896" y="453"/>
                    </a:cubicBezTo>
                    <a:cubicBezTo>
                      <a:pt x="898" y="453"/>
                      <a:pt x="899" y="452"/>
                      <a:pt x="900" y="452"/>
                    </a:cubicBezTo>
                    <a:cubicBezTo>
                      <a:pt x="901" y="452"/>
                      <a:pt x="901" y="452"/>
                      <a:pt x="901" y="452"/>
                    </a:cubicBezTo>
                    <a:cubicBezTo>
                      <a:pt x="902" y="452"/>
                      <a:pt x="902" y="452"/>
                      <a:pt x="903" y="452"/>
                    </a:cubicBezTo>
                    <a:cubicBezTo>
                      <a:pt x="904" y="452"/>
                      <a:pt x="904" y="452"/>
                      <a:pt x="905" y="452"/>
                    </a:cubicBezTo>
                    <a:cubicBezTo>
                      <a:pt x="906" y="453"/>
                      <a:pt x="908" y="453"/>
                      <a:pt x="909" y="453"/>
                    </a:cubicBezTo>
                    <a:cubicBezTo>
                      <a:pt x="910" y="453"/>
                      <a:pt x="911" y="454"/>
                      <a:pt x="913" y="454"/>
                    </a:cubicBezTo>
                    <a:cubicBezTo>
                      <a:pt x="915" y="455"/>
                      <a:pt x="915" y="455"/>
                      <a:pt x="915" y="455"/>
                    </a:cubicBezTo>
                    <a:cubicBezTo>
                      <a:pt x="916" y="455"/>
                      <a:pt x="918" y="456"/>
                      <a:pt x="919" y="456"/>
                    </a:cubicBezTo>
                    <a:cubicBezTo>
                      <a:pt x="920" y="456"/>
                      <a:pt x="920" y="456"/>
                      <a:pt x="920" y="456"/>
                    </a:cubicBezTo>
                    <a:cubicBezTo>
                      <a:pt x="921" y="455"/>
                      <a:pt x="922" y="455"/>
                      <a:pt x="923" y="455"/>
                    </a:cubicBezTo>
                    <a:cubicBezTo>
                      <a:pt x="923" y="455"/>
                      <a:pt x="924" y="455"/>
                      <a:pt x="924" y="455"/>
                    </a:cubicBezTo>
                    <a:cubicBezTo>
                      <a:pt x="925" y="455"/>
                      <a:pt x="925" y="455"/>
                      <a:pt x="925" y="455"/>
                    </a:cubicBezTo>
                    <a:cubicBezTo>
                      <a:pt x="928" y="456"/>
                      <a:pt x="930" y="459"/>
                      <a:pt x="932" y="463"/>
                    </a:cubicBezTo>
                    <a:cubicBezTo>
                      <a:pt x="932" y="464"/>
                      <a:pt x="932" y="464"/>
                      <a:pt x="932" y="464"/>
                    </a:cubicBezTo>
                    <a:cubicBezTo>
                      <a:pt x="934" y="466"/>
                      <a:pt x="935" y="467"/>
                      <a:pt x="938" y="467"/>
                    </a:cubicBezTo>
                    <a:cubicBezTo>
                      <a:pt x="939" y="467"/>
                      <a:pt x="939" y="467"/>
                      <a:pt x="939" y="467"/>
                    </a:cubicBezTo>
                    <a:cubicBezTo>
                      <a:pt x="940" y="467"/>
                      <a:pt x="941" y="467"/>
                      <a:pt x="941" y="467"/>
                    </a:cubicBezTo>
                    <a:cubicBezTo>
                      <a:pt x="942" y="467"/>
                      <a:pt x="942" y="467"/>
                      <a:pt x="942" y="467"/>
                    </a:cubicBezTo>
                    <a:cubicBezTo>
                      <a:pt x="944" y="467"/>
                      <a:pt x="945" y="468"/>
                      <a:pt x="947" y="468"/>
                    </a:cubicBezTo>
                    <a:cubicBezTo>
                      <a:pt x="948" y="469"/>
                      <a:pt x="949" y="470"/>
                      <a:pt x="950" y="470"/>
                    </a:cubicBezTo>
                    <a:cubicBezTo>
                      <a:pt x="951" y="471"/>
                      <a:pt x="951" y="471"/>
                      <a:pt x="951" y="471"/>
                    </a:cubicBezTo>
                    <a:cubicBezTo>
                      <a:pt x="951" y="470"/>
                      <a:pt x="951" y="470"/>
                      <a:pt x="951" y="470"/>
                    </a:cubicBezTo>
                    <a:cubicBezTo>
                      <a:pt x="950" y="468"/>
                      <a:pt x="950" y="468"/>
                      <a:pt x="950" y="468"/>
                    </a:cubicBezTo>
                    <a:cubicBezTo>
                      <a:pt x="949" y="464"/>
                      <a:pt x="950" y="461"/>
                      <a:pt x="951" y="458"/>
                    </a:cubicBezTo>
                    <a:cubicBezTo>
                      <a:pt x="953" y="455"/>
                      <a:pt x="955" y="454"/>
                      <a:pt x="956" y="454"/>
                    </a:cubicBezTo>
                    <a:cubicBezTo>
                      <a:pt x="957" y="454"/>
                      <a:pt x="957" y="454"/>
                      <a:pt x="957" y="454"/>
                    </a:cubicBezTo>
                    <a:cubicBezTo>
                      <a:pt x="955" y="452"/>
                      <a:pt x="955" y="450"/>
                      <a:pt x="956" y="449"/>
                    </a:cubicBezTo>
                    <a:cubicBezTo>
                      <a:pt x="957" y="446"/>
                      <a:pt x="961" y="445"/>
                      <a:pt x="965" y="444"/>
                    </a:cubicBezTo>
                    <a:cubicBezTo>
                      <a:pt x="966" y="444"/>
                      <a:pt x="966" y="444"/>
                      <a:pt x="967" y="444"/>
                    </a:cubicBezTo>
                    <a:cubicBezTo>
                      <a:pt x="967" y="442"/>
                      <a:pt x="966" y="440"/>
                      <a:pt x="966" y="439"/>
                    </a:cubicBezTo>
                    <a:cubicBezTo>
                      <a:pt x="966" y="438"/>
                      <a:pt x="966" y="438"/>
                      <a:pt x="966" y="438"/>
                    </a:cubicBezTo>
                    <a:cubicBezTo>
                      <a:pt x="965" y="437"/>
                      <a:pt x="965" y="437"/>
                      <a:pt x="965" y="437"/>
                    </a:cubicBezTo>
                    <a:cubicBezTo>
                      <a:pt x="965" y="436"/>
                      <a:pt x="965" y="435"/>
                      <a:pt x="964" y="434"/>
                    </a:cubicBezTo>
                    <a:cubicBezTo>
                      <a:pt x="964" y="434"/>
                      <a:pt x="964" y="434"/>
                      <a:pt x="964" y="434"/>
                    </a:cubicBezTo>
                    <a:cubicBezTo>
                      <a:pt x="963" y="431"/>
                      <a:pt x="962" y="428"/>
                      <a:pt x="961" y="426"/>
                    </a:cubicBezTo>
                    <a:cubicBezTo>
                      <a:pt x="960" y="424"/>
                      <a:pt x="959" y="423"/>
                      <a:pt x="959" y="421"/>
                    </a:cubicBezTo>
                    <a:cubicBezTo>
                      <a:pt x="957" y="417"/>
                      <a:pt x="956" y="413"/>
                      <a:pt x="956" y="409"/>
                    </a:cubicBezTo>
                    <a:cubicBezTo>
                      <a:pt x="955" y="407"/>
                      <a:pt x="955" y="407"/>
                      <a:pt x="955" y="407"/>
                    </a:cubicBezTo>
                    <a:cubicBezTo>
                      <a:pt x="954" y="403"/>
                      <a:pt x="954" y="399"/>
                      <a:pt x="955" y="395"/>
                    </a:cubicBezTo>
                    <a:cubicBezTo>
                      <a:pt x="955" y="394"/>
                      <a:pt x="956" y="393"/>
                      <a:pt x="956" y="393"/>
                    </a:cubicBezTo>
                    <a:cubicBezTo>
                      <a:pt x="955" y="392"/>
                      <a:pt x="954" y="392"/>
                      <a:pt x="953" y="392"/>
                    </a:cubicBezTo>
                    <a:cubicBezTo>
                      <a:pt x="953" y="392"/>
                      <a:pt x="952" y="392"/>
                      <a:pt x="952" y="392"/>
                    </a:cubicBezTo>
                    <a:cubicBezTo>
                      <a:pt x="951" y="392"/>
                      <a:pt x="950" y="393"/>
                      <a:pt x="949" y="393"/>
                    </a:cubicBezTo>
                    <a:cubicBezTo>
                      <a:pt x="948" y="393"/>
                      <a:pt x="946" y="392"/>
                      <a:pt x="944" y="391"/>
                    </a:cubicBezTo>
                    <a:cubicBezTo>
                      <a:pt x="943" y="390"/>
                      <a:pt x="943" y="390"/>
                      <a:pt x="943" y="390"/>
                    </a:cubicBezTo>
                    <a:cubicBezTo>
                      <a:pt x="942" y="389"/>
                      <a:pt x="940" y="387"/>
                      <a:pt x="942" y="384"/>
                    </a:cubicBezTo>
                    <a:cubicBezTo>
                      <a:pt x="945" y="379"/>
                      <a:pt x="949" y="378"/>
                      <a:pt x="952" y="378"/>
                    </a:cubicBezTo>
                    <a:cubicBezTo>
                      <a:pt x="953" y="378"/>
                      <a:pt x="953" y="378"/>
                      <a:pt x="953" y="378"/>
                    </a:cubicBezTo>
                    <a:cubicBezTo>
                      <a:pt x="959" y="376"/>
                      <a:pt x="965" y="374"/>
                      <a:pt x="970" y="373"/>
                    </a:cubicBezTo>
                    <a:cubicBezTo>
                      <a:pt x="988" y="368"/>
                      <a:pt x="988" y="368"/>
                      <a:pt x="988" y="368"/>
                    </a:cubicBezTo>
                    <a:cubicBezTo>
                      <a:pt x="988" y="368"/>
                      <a:pt x="988" y="368"/>
                      <a:pt x="989" y="368"/>
                    </a:cubicBezTo>
                    <a:cubicBezTo>
                      <a:pt x="989" y="368"/>
                      <a:pt x="989" y="368"/>
                      <a:pt x="989" y="368"/>
                    </a:cubicBezTo>
                    <a:cubicBezTo>
                      <a:pt x="992" y="367"/>
                      <a:pt x="994" y="366"/>
                      <a:pt x="996" y="366"/>
                    </a:cubicBezTo>
                    <a:cubicBezTo>
                      <a:pt x="997" y="366"/>
                      <a:pt x="997" y="366"/>
                      <a:pt x="998" y="367"/>
                    </a:cubicBezTo>
                    <a:cubicBezTo>
                      <a:pt x="1002" y="368"/>
                      <a:pt x="1002" y="370"/>
                      <a:pt x="1002" y="372"/>
                    </a:cubicBezTo>
                    <a:cubicBezTo>
                      <a:pt x="1002" y="372"/>
                      <a:pt x="1002" y="372"/>
                      <a:pt x="1002" y="372"/>
                    </a:cubicBezTo>
                    <a:cubicBezTo>
                      <a:pt x="1003" y="372"/>
                      <a:pt x="1003" y="372"/>
                      <a:pt x="1004" y="372"/>
                    </a:cubicBezTo>
                    <a:cubicBezTo>
                      <a:pt x="1005" y="372"/>
                      <a:pt x="1007" y="372"/>
                      <a:pt x="1007" y="372"/>
                    </a:cubicBezTo>
                    <a:cubicBezTo>
                      <a:pt x="1009" y="372"/>
                      <a:pt x="1010" y="372"/>
                      <a:pt x="1011" y="372"/>
                    </a:cubicBezTo>
                    <a:cubicBezTo>
                      <a:pt x="1012" y="372"/>
                      <a:pt x="1012" y="372"/>
                      <a:pt x="1012" y="372"/>
                    </a:cubicBezTo>
                    <a:cubicBezTo>
                      <a:pt x="1013" y="372"/>
                      <a:pt x="1015" y="372"/>
                      <a:pt x="1016" y="372"/>
                    </a:cubicBezTo>
                    <a:cubicBezTo>
                      <a:pt x="1017" y="372"/>
                      <a:pt x="1018" y="372"/>
                      <a:pt x="1019" y="372"/>
                    </a:cubicBezTo>
                    <a:cubicBezTo>
                      <a:pt x="1019" y="370"/>
                      <a:pt x="1019" y="369"/>
                      <a:pt x="1019" y="369"/>
                    </a:cubicBezTo>
                    <a:cubicBezTo>
                      <a:pt x="1019" y="369"/>
                      <a:pt x="1019" y="368"/>
                      <a:pt x="1018" y="368"/>
                    </a:cubicBezTo>
                    <a:cubicBezTo>
                      <a:pt x="1017" y="368"/>
                      <a:pt x="1017" y="368"/>
                      <a:pt x="1017" y="368"/>
                    </a:cubicBezTo>
                    <a:cubicBezTo>
                      <a:pt x="1015" y="368"/>
                      <a:pt x="1012" y="367"/>
                      <a:pt x="1011" y="365"/>
                    </a:cubicBezTo>
                    <a:cubicBezTo>
                      <a:pt x="1010" y="364"/>
                      <a:pt x="1010" y="363"/>
                      <a:pt x="1010" y="361"/>
                    </a:cubicBezTo>
                    <a:cubicBezTo>
                      <a:pt x="1030" y="306"/>
                      <a:pt x="1030" y="306"/>
                      <a:pt x="1030" y="306"/>
                    </a:cubicBezTo>
                    <a:cubicBezTo>
                      <a:pt x="1031" y="303"/>
                      <a:pt x="1032" y="300"/>
                      <a:pt x="1037" y="300"/>
                    </a:cubicBezTo>
                    <a:cubicBezTo>
                      <a:pt x="1037" y="300"/>
                      <a:pt x="1038" y="300"/>
                      <a:pt x="1039" y="300"/>
                    </a:cubicBezTo>
                    <a:cubicBezTo>
                      <a:pt x="1041" y="300"/>
                      <a:pt x="1044" y="302"/>
                      <a:pt x="1047" y="304"/>
                    </a:cubicBezTo>
                    <a:cubicBezTo>
                      <a:pt x="1048" y="305"/>
                      <a:pt x="1048" y="305"/>
                      <a:pt x="1048" y="305"/>
                    </a:cubicBezTo>
                    <a:cubicBezTo>
                      <a:pt x="1053" y="307"/>
                      <a:pt x="1059" y="309"/>
                      <a:pt x="1062" y="309"/>
                    </a:cubicBezTo>
                    <a:cubicBezTo>
                      <a:pt x="1063" y="309"/>
                      <a:pt x="1064" y="309"/>
                      <a:pt x="1064" y="309"/>
                    </a:cubicBezTo>
                    <a:cubicBezTo>
                      <a:pt x="1066" y="308"/>
                      <a:pt x="1068" y="307"/>
                      <a:pt x="1071" y="307"/>
                    </a:cubicBezTo>
                    <a:cubicBezTo>
                      <a:pt x="1076" y="307"/>
                      <a:pt x="1082" y="309"/>
                      <a:pt x="1084" y="310"/>
                    </a:cubicBezTo>
                    <a:cubicBezTo>
                      <a:pt x="1086" y="310"/>
                      <a:pt x="1087" y="310"/>
                      <a:pt x="1088" y="310"/>
                    </a:cubicBezTo>
                    <a:cubicBezTo>
                      <a:pt x="1090" y="310"/>
                      <a:pt x="1092" y="310"/>
                      <a:pt x="1095" y="308"/>
                    </a:cubicBezTo>
                    <a:cubicBezTo>
                      <a:pt x="1097" y="307"/>
                      <a:pt x="1097" y="307"/>
                      <a:pt x="1097" y="307"/>
                    </a:cubicBezTo>
                    <a:cubicBezTo>
                      <a:pt x="1104" y="304"/>
                      <a:pt x="1107" y="302"/>
                      <a:pt x="1106" y="297"/>
                    </a:cubicBezTo>
                    <a:cubicBezTo>
                      <a:pt x="1106" y="294"/>
                      <a:pt x="1105" y="290"/>
                      <a:pt x="1104" y="286"/>
                    </a:cubicBezTo>
                    <a:cubicBezTo>
                      <a:pt x="1104" y="283"/>
                      <a:pt x="1103" y="279"/>
                      <a:pt x="1103" y="276"/>
                    </a:cubicBezTo>
                    <a:cubicBezTo>
                      <a:pt x="1102" y="272"/>
                      <a:pt x="1107" y="259"/>
                      <a:pt x="1112" y="257"/>
                    </a:cubicBezTo>
                    <a:cubicBezTo>
                      <a:pt x="1114" y="256"/>
                      <a:pt x="1116" y="256"/>
                      <a:pt x="1118" y="256"/>
                    </a:cubicBezTo>
                    <a:cubicBezTo>
                      <a:pt x="1119" y="256"/>
                      <a:pt x="1119" y="256"/>
                      <a:pt x="1120" y="256"/>
                    </a:cubicBezTo>
                    <a:cubicBezTo>
                      <a:pt x="1124" y="256"/>
                      <a:pt x="1128" y="254"/>
                      <a:pt x="1132" y="253"/>
                    </a:cubicBezTo>
                    <a:cubicBezTo>
                      <a:pt x="1134" y="252"/>
                      <a:pt x="1136" y="250"/>
                      <a:pt x="1137" y="247"/>
                    </a:cubicBezTo>
                    <a:cubicBezTo>
                      <a:pt x="1137" y="247"/>
                      <a:pt x="1137" y="247"/>
                      <a:pt x="1137" y="247"/>
                    </a:cubicBezTo>
                    <a:cubicBezTo>
                      <a:pt x="1137" y="247"/>
                      <a:pt x="1138" y="246"/>
                      <a:pt x="1138" y="246"/>
                    </a:cubicBezTo>
                    <a:cubicBezTo>
                      <a:pt x="1138" y="245"/>
                      <a:pt x="1138" y="245"/>
                      <a:pt x="1138" y="245"/>
                    </a:cubicBezTo>
                    <a:cubicBezTo>
                      <a:pt x="1137" y="244"/>
                      <a:pt x="1137" y="243"/>
                      <a:pt x="1137" y="242"/>
                    </a:cubicBezTo>
                    <a:cubicBezTo>
                      <a:pt x="1137" y="241"/>
                      <a:pt x="1137" y="240"/>
                      <a:pt x="1138" y="240"/>
                    </a:cubicBezTo>
                    <a:cubicBezTo>
                      <a:pt x="1138" y="239"/>
                      <a:pt x="1138" y="239"/>
                      <a:pt x="1138" y="239"/>
                    </a:cubicBezTo>
                    <a:cubicBezTo>
                      <a:pt x="1138" y="223"/>
                      <a:pt x="1138" y="223"/>
                      <a:pt x="1138" y="223"/>
                    </a:cubicBezTo>
                    <a:cubicBezTo>
                      <a:pt x="1137" y="223"/>
                      <a:pt x="1137" y="222"/>
                      <a:pt x="1136" y="222"/>
                    </a:cubicBezTo>
                    <a:cubicBezTo>
                      <a:pt x="1135" y="221"/>
                      <a:pt x="1135" y="221"/>
                      <a:pt x="1134" y="220"/>
                    </a:cubicBezTo>
                    <a:cubicBezTo>
                      <a:pt x="1133" y="219"/>
                      <a:pt x="1133" y="218"/>
                      <a:pt x="1132" y="218"/>
                    </a:cubicBezTo>
                    <a:cubicBezTo>
                      <a:pt x="1132" y="218"/>
                      <a:pt x="1131" y="219"/>
                      <a:pt x="1130" y="220"/>
                    </a:cubicBezTo>
                    <a:cubicBezTo>
                      <a:pt x="1123" y="226"/>
                      <a:pt x="1123" y="226"/>
                      <a:pt x="1123" y="226"/>
                    </a:cubicBezTo>
                    <a:cubicBezTo>
                      <a:pt x="1121" y="224"/>
                      <a:pt x="1121" y="224"/>
                      <a:pt x="1121" y="224"/>
                    </a:cubicBezTo>
                    <a:cubicBezTo>
                      <a:pt x="1120" y="224"/>
                      <a:pt x="1120" y="224"/>
                      <a:pt x="1120" y="224"/>
                    </a:cubicBezTo>
                    <a:cubicBezTo>
                      <a:pt x="1117" y="224"/>
                      <a:pt x="1117" y="224"/>
                      <a:pt x="1117" y="224"/>
                    </a:cubicBezTo>
                    <a:cubicBezTo>
                      <a:pt x="1116" y="224"/>
                      <a:pt x="1116" y="224"/>
                      <a:pt x="1116" y="224"/>
                    </a:cubicBezTo>
                    <a:cubicBezTo>
                      <a:pt x="1114" y="222"/>
                      <a:pt x="1114" y="222"/>
                      <a:pt x="1114" y="222"/>
                    </a:cubicBezTo>
                    <a:cubicBezTo>
                      <a:pt x="1114" y="222"/>
                      <a:pt x="1114" y="222"/>
                      <a:pt x="1114" y="222"/>
                    </a:cubicBezTo>
                    <a:cubicBezTo>
                      <a:pt x="1112" y="222"/>
                      <a:pt x="1112" y="222"/>
                      <a:pt x="1112" y="222"/>
                    </a:cubicBezTo>
                    <a:cubicBezTo>
                      <a:pt x="1112" y="222"/>
                      <a:pt x="1112" y="222"/>
                      <a:pt x="1112" y="222"/>
                    </a:cubicBezTo>
                    <a:cubicBezTo>
                      <a:pt x="1096" y="220"/>
                      <a:pt x="1096" y="220"/>
                      <a:pt x="1096" y="220"/>
                    </a:cubicBezTo>
                    <a:cubicBezTo>
                      <a:pt x="1093" y="217"/>
                      <a:pt x="1093" y="217"/>
                      <a:pt x="1093" y="217"/>
                    </a:cubicBezTo>
                    <a:cubicBezTo>
                      <a:pt x="1093" y="217"/>
                      <a:pt x="1093" y="217"/>
                      <a:pt x="1093" y="217"/>
                    </a:cubicBezTo>
                    <a:cubicBezTo>
                      <a:pt x="1093" y="216"/>
                      <a:pt x="1093" y="216"/>
                      <a:pt x="1093" y="216"/>
                    </a:cubicBezTo>
                    <a:cubicBezTo>
                      <a:pt x="1092" y="215"/>
                      <a:pt x="1092" y="215"/>
                      <a:pt x="1092" y="215"/>
                    </a:cubicBezTo>
                    <a:cubicBezTo>
                      <a:pt x="1092" y="214"/>
                      <a:pt x="1092" y="214"/>
                      <a:pt x="1092" y="214"/>
                    </a:cubicBezTo>
                    <a:cubicBezTo>
                      <a:pt x="1092" y="213"/>
                      <a:pt x="1092" y="213"/>
                      <a:pt x="1092" y="213"/>
                    </a:cubicBezTo>
                    <a:cubicBezTo>
                      <a:pt x="1091" y="213"/>
                      <a:pt x="1091" y="212"/>
                      <a:pt x="1090" y="211"/>
                    </a:cubicBezTo>
                    <a:cubicBezTo>
                      <a:pt x="1090" y="211"/>
                      <a:pt x="1089" y="210"/>
                      <a:pt x="1089" y="209"/>
                    </a:cubicBezTo>
                    <a:cubicBezTo>
                      <a:pt x="1089" y="209"/>
                      <a:pt x="1089" y="209"/>
                      <a:pt x="1089" y="209"/>
                    </a:cubicBezTo>
                    <a:cubicBezTo>
                      <a:pt x="1089" y="209"/>
                      <a:pt x="1088" y="208"/>
                      <a:pt x="1087" y="208"/>
                    </a:cubicBezTo>
                    <a:cubicBezTo>
                      <a:pt x="1086" y="207"/>
                      <a:pt x="1086" y="207"/>
                      <a:pt x="1086" y="207"/>
                    </a:cubicBezTo>
                    <a:cubicBezTo>
                      <a:pt x="1086" y="205"/>
                      <a:pt x="1086" y="205"/>
                      <a:pt x="1086" y="205"/>
                    </a:cubicBezTo>
                    <a:cubicBezTo>
                      <a:pt x="1086" y="202"/>
                      <a:pt x="1086" y="202"/>
                      <a:pt x="1086" y="202"/>
                    </a:cubicBezTo>
                    <a:cubicBezTo>
                      <a:pt x="1074" y="196"/>
                      <a:pt x="1074" y="196"/>
                      <a:pt x="1074" y="196"/>
                    </a:cubicBezTo>
                    <a:cubicBezTo>
                      <a:pt x="1072" y="195"/>
                      <a:pt x="1072" y="195"/>
                      <a:pt x="1072" y="195"/>
                    </a:cubicBezTo>
                    <a:cubicBezTo>
                      <a:pt x="1072" y="195"/>
                      <a:pt x="1072" y="195"/>
                      <a:pt x="1072" y="195"/>
                    </a:cubicBezTo>
                    <a:cubicBezTo>
                      <a:pt x="1071" y="195"/>
                      <a:pt x="1071" y="195"/>
                      <a:pt x="1071" y="195"/>
                    </a:cubicBezTo>
                    <a:cubicBezTo>
                      <a:pt x="1066" y="194"/>
                      <a:pt x="1066" y="194"/>
                      <a:pt x="1066" y="194"/>
                    </a:cubicBezTo>
                    <a:cubicBezTo>
                      <a:pt x="1066" y="192"/>
                      <a:pt x="1066" y="192"/>
                      <a:pt x="1066" y="192"/>
                    </a:cubicBezTo>
                    <a:cubicBezTo>
                      <a:pt x="1065" y="191"/>
                      <a:pt x="1065" y="190"/>
                      <a:pt x="1064" y="188"/>
                    </a:cubicBezTo>
                    <a:cubicBezTo>
                      <a:pt x="1064" y="187"/>
                      <a:pt x="1064" y="187"/>
                      <a:pt x="1064" y="187"/>
                    </a:cubicBezTo>
                    <a:cubicBezTo>
                      <a:pt x="1064" y="187"/>
                      <a:pt x="1064" y="186"/>
                      <a:pt x="1064" y="186"/>
                    </a:cubicBezTo>
                    <a:cubicBezTo>
                      <a:pt x="1063" y="184"/>
                      <a:pt x="1063" y="184"/>
                      <a:pt x="1063" y="184"/>
                    </a:cubicBezTo>
                    <a:cubicBezTo>
                      <a:pt x="1063" y="183"/>
                      <a:pt x="1062" y="180"/>
                      <a:pt x="1061" y="178"/>
                    </a:cubicBezTo>
                    <a:cubicBezTo>
                      <a:pt x="1058" y="174"/>
                      <a:pt x="1058" y="174"/>
                      <a:pt x="1058" y="174"/>
                    </a:cubicBezTo>
                    <a:cubicBezTo>
                      <a:pt x="1055" y="172"/>
                      <a:pt x="1055" y="172"/>
                      <a:pt x="1055" y="172"/>
                    </a:cubicBezTo>
                    <a:cubicBezTo>
                      <a:pt x="1055" y="172"/>
                      <a:pt x="1054" y="172"/>
                      <a:pt x="1054" y="172"/>
                    </a:cubicBezTo>
                    <a:cubicBezTo>
                      <a:pt x="1053" y="172"/>
                      <a:pt x="1052" y="171"/>
                      <a:pt x="1051" y="171"/>
                    </a:cubicBezTo>
                    <a:cubicBezTo>
                      <a:pt x="1038" y="168"/>
                      <a:pt x="1038" y="168"/>
                      <a:pt x="1038" y="168"/>
                    </a:cubicBezTo>
                    <a:cubicBezTo>
                      <a:pt x="1029" y="171"/>
                      <a:pt x="1029" y="171"/>
                      <a:pt x="1029" y="171"/>
                    </a:cubicBezTo>
                    <a:cubicBezTo>
                      <a:pt x="1029" y="171"/>
                      <a:pt x="1029" y="171"/>
                      <a:pt x="1029" y="171"/>
                    </a:cubicBezTo>
                    <a:cubicBezTo>
                      <a:pt x="1027" y="175"/>
                      <a:pt x="1027" y="175"/>
                      <a:pt x="1027" y="175"/>
                    </a:cubicBezTo>
                    <a:cubicBezTo>
                      <a:pt x="1026" y="175"/>
                      <a:pt x="1026" y="175"/>
                      <a:pt x="1026" y="175"/>
                    </a:cubicBezTo>
                    <a:cubicBezTo>
                      <a:pt x="1026" y="175"/>
                      <a:pt x="1025" y="176"/>
                      <a:pt x="1024" y="176"/>
                    </a:cubicBezTo>
                    <a:cubicBezTo>
                      <a:pt x="1024" y="176"/>
                      <a:pt x="1023" y="177"/>
                      <a:pt x="1022" y="177"/>
                    </a:cubicBezTo>
                    <a:cubicBezTo>
                      <a:pt x="1022" y="177"/>
                      <a:pt x="1022" y="177"/>
                      <a:pt x="1022" y="177"/>
                    </a:cubicBezTo>
                    <a:cubicBezTo>
                      <a:pt x="1020" y="178"/>
                      <a:pt x="1020" y="178"/>
                      <a:pt x="1020" y="178"/>
                    </a:cubicBezTo>
                    <a:cubicBezTo>
                      <a:pt x="1019" y="178"/>
                      <a:pt x="1019" y="178"/>
                      <a:pt x="1019" y="178"/>
                    </a:cubicBezTo>
                    <a:cubicBezTo>
                      <a:pt x="1015" y="178"/>
                      <a:pt x="1015" y="178"/>
                      <a:pt x="1015" y="178"/>
                    </a:cubicBezTo>
                    <a:cubicBezTo>
                      <a:pt x="1002" y="177"/>
                      <a:pt x="1002" y="177"/>
                      <a:pt x="1002" y="177"/>
                    </a:cubicBezTo>
                    <a:cubicBezTo>
                      <a:pt x="1002" y="177"/>
                      <a:pt x="1002" y="177"/>
                      <a:pt x="1001" y="177"/>
                    </a:cubicBezTo>
                    <a:cubicBezTo>
                      <a:pt x="1000" y="177"/>
                      <a:pt x="999" y="177"/>
                      <a:pt x="998" y="177"/>
                    </a:cubicBezTo>
                    <a:cubicBezTo>
                      <a:pt x="998" y="177"/>
                      <a:pt x="997" y="177"/>
                      <a:pt x="996" y="178"/>
                    </a:cubicBezTo>
                    <a:cubicBezTo>
                      <a:pt x="995" y="178"/>
                      <a:pt x="995" y="178"/>
                      <a:pt x="995" y="178"/>
                    </a:cubicBezTo>
                    <a:cubicBezTo>
                      <a:pt x="995" y="178"/>
                      <a:pt x="994" y="178"/>
                      <a:pt x="993" y="178"/>
                    </a:cubicBezTo>
                    <a:cubicBezTo>
                      <a:pt x="993" y="178"/>
                      <a:pt x="993" y="178"/>
                      <a:pt x="992" y="178"/>
                    </a:cubicBezTo>
                    <a:cubicBezTo>
                      <a:pt x="989" y="177"/>
                      <a:pt x="989" y="177"/>
                      <a:pt x="989" y="177"/>
                    </a:cubicBezTo>
                    <a:cubicBezTo>
                      <a:pt x="988" y="177"/>
                      <a:pt x="988" y="177"/>
                      <a:pt x="988" y="177"/>
                    </a:cubicBezTo>
                    <a:cubicBezTo>
                      <a:pt x="987" y="176"/>
                      <a:pt x="987" y="176"/>
                      <a:pt x="987" y="176"/>
                    </a:cubicBezTo>
                    <a:cubicBezTo>
                      <a:pt x="985" y="175"/>
                      <a:pt x="984" y="174"/>
                      <a:pt x="982" y="172"/>
                    </a:cubicBezTo>
                    <a:cubicBezTo>
                      <a:pt x="981" y="171"/>
                      <a:pt x="981" y="171"/>
                      <a:pt x="980" y="170"/>
                    </a:cubicBezTo>
                    <a:cubicBezTo>
                      <a:pt x="976" y="170"/>
                      <a:pt x="976" y="170"/>
                      <a:pt x="976" y="170"/>
                    </a:cubicBezTo>
                    <a:cubicBezTo>
                      <a:pt x="975" y="166"/>
                      <a:pt x="975" y="166"/>
                      <a:pt x="975" y="166"/>
                    </a:cubicBezTo>
                    <a:cubicBezTo>
                      <a:pt x="975" y="165"/>
                      <a:pt x="975" y="165"/>
                      <a:pt x="975" y="165"/>
                    </a:cubicBezTo>
                    <a:cubicBezTo>
                      <a:pt x="975" y="165"/>
                      <a:pt x="975" y="164"/>
                      <a:pt x="975" y="163"/>
                    </a:cubicBezTo>
                    <a:cubicBezTo>
                      <a:pt x="975" y="162"/>
                      <a:pt x="976" y="160"/>
                      <a:pt x="976" y="159"/>
                    </a:cubicBezTo>
                    <a:cubicBezTo>
                      <a:pt x="969" y="157"/>
                      <a:pt x="969" y="157"/>
                      <a:pt x="969" y="157"/>
                    </a:cubicBezTo>
                    <a:cubicBezTo>
                      <a:pt x="968" y="159"/>
                      <a:pt x="968" y="159"/>
                      <a:pt x="968" y="159"/>
                    </a:cubicBezTo>
                    <a:cubicBezTo>
                      <a:pt x="966" y="160"/>
                      <a:pt x="966" y="160"/>
                      <a:pt x="966" y="160"/>
                    </a:cubicBezTo>
                    <a:cubicBezTo>
                      <a:pt x="966" y="160"/>
                      <a:pt x="965" y="160"/>
                      <a:pt x="965" y="160"/>
                    </a:cubicBezTo>
                    <a:cubicBezTo>
                      <a:pt x="965" y="160"/>
                      <a:pt x="965" y="160"/>
                      <a:pt x="965" y="160"/>
                    </a:cubicBezTo>
                    <a:cubicBezTo>
                      <a:pt x="965" y="160"/>
                      <a:pt x="965" y="160"/>
                      <a:pt x="965" y="160"/>
                    </a:cubicBezTo>
                    <a:cubicBezTo>
                      <a:pt x="965" y="161"/>
                      <a:pt x="965" y="163"/>
                      <a:pt x="965" y="164"/>
                    </a:cubicBezTo>
                    <a:cubicBezTo>
                      <a:pt x="965" y="166"/>
                      <a:pt x="965" y="166"/>
                      <a:pt x="965" y="166"/>
                    </a:cubicBezTo>
                    <a:cubicBezTo>
                      <a:pt x="965" y="166"/>
                      <a:pt x="965" y="166"/>
                      <a:pt x="965" y="166"/>
                    </a:cubicBezTo>
                    <a:cubicBezTo>
                      <a:pt x="973" y="172"/>
                      <a:pt x="973" y="172"/>
                      <a:pt x="973" y="172"/>
                    </a:cubicBezTo>
                    <a:cubicBezTo>
                      <a:pt x="963" y="168"/>
                      <a:pt x="963" y="168"/>
                      <a:pt x="963" y="168"/>
                    </a:cubicBezTo>
                    <a:cubicBezTo>
                      <a:pt x="963" y="169"/>
                      <a:pt x="963" y="169"/>
                      <a:pt x="962" y="169"/>
                    </a:cubicBezTo>
                    <a:cubicBezTo>
                      <a:pt x="959" y="171"/>
                      <a:pt x="959" y="171"/>
                      <a:pt x="959" y="171"/>
                    </a:cubicBezTo>
                    <a:cubicBezTo>
                      <a:pt x="958" y="171"/>
                      <a:pt x="958" y="171"/>
                      <a:pt x="958" y="171"/>
                    </a:cubicBezTo>
                    <a:cubicBezTo>
                      <a:pt x="958" y="171"/>
                      <a:pt x="957" y="171"/>
                      <a:pt x="957" y="171"/>
                    </a:cubicBezTo>
                    <a:cubicBezTo>
                      <a:pt x="957" y="171"/>
                      <a:pt x="957" y="171"/>
                      <a:pt x="957" y="171"/>
                    </a:cubicBezTo>
                    <a:cubicBezTo>
                      <a:pt x="956" y="171"/>
                      <a:pt x="956" y="171"/>
                      <a:pt x="956" y="171"/>
                    </a:cubicBezTo>
                    <a:cubicBezTo>
                      <a:pt x="956" y="173"/>
                      <a:pt x="955" y="173"/>
                      <a:pt x="954" y="174"/>
                    </a:cubicBezTo>
                    <a:cubicBezTo>
                      <a:pt x="954" y="175"/>
                      <a:pt x="954" y="175"/>
                      <a:pt x="954" y="175"/>
                    </a:cubicBezTo>
                    <a:cubicBezTo>
                      <a:pt x="951" y="177"/>
                      <a:pt x="951" y="177"/>
                      <a:pt x="951" y="177"/>
                    </a:cubicBezTo>
                    <a:cubicBezTo>
                      <a:pt x="949" y="177"/>
                      <a:pt x="949" y="177"/>
                      <a:pt x="949" y="177"/>
                    </a:cubicBezTo>
                    <a:cubicBezTo>
                      <a:pt x="948" y="176"/>
                      <a:pt x="948" y="176"/>
                      <a:pt x="948" y="176"/>
                    </a:cubicBezTo>
                    <a:cubicBezTo>
                      <a:pt x="946" y="173"/>
                      <a:pt x="946" y="173"/>
                      <a:pt x="946" y="173"/>
                    </a:cubicBezTo>
                    <a:cubicBezTo>
                      <a:pt x="942" y="169"/>
                      <a:pt x="942" y="169"/>
                      <a:pt x="942" y="169"/>
                    </a:cubicBezTo>
                    <a:cubicBezTo>
                      <a:pt x="943" y="169"/>
                      <a:pt x="943" y="169"/>
                      <a:pt x="943" y="169"/>
                    </a:cubicBezTo>
                    <a:cubicBezTo>
                      <a:pt x="937" y="160"/>
                      <a:pt x="932" y="151"/>
                      <a:pt x="926" y="142"/>
                    </a:cubicBezTo>
                    <a:cubicBezTo>
                      <a:pt x="923" y="137"/>
                      <a:pt x="923" y="137"/>
                      <a:pt x="923" y="137"/>
                    </a:cubicBezTo>
                    <a:cubicBezTo>
                      <a:pt x="917" y="127"/>
                      <a:pt x="911" y="117"/>
                      <a:pt x="904" y="107"/>
                    </a:cubicBezTo>
                    <a:cubicBezTo>
                      <a:pt x="898" y="97"/>
                      <a:pt x="898" y="97"/>
                      <a:pt x="898" y="97"/>
                    </a:cubicBezTo>
                    <a:cubicBezTo>
                      <a:pt x="887" y="83"/>
                      <a:pt x="887" y="83"/>
                      <a:pt x="887" y="83"/>
                    </a:cubicBezTo>
                    <a:cubicBezTo>
                      <a:pt x="883" y="78"/>
                      <a:pt x="880" y="75"/>
                      <a:pt x="877" y="73"/>
                    </a:cubicBezTo>
                    <a:cubicBezTo>
                      <a:pt x="860" y="62"/>
                      <a:pt x="860" y="62"/>
                      <a:pt x="860" y="62"/>
                    </a:cubicBezTo>
                    <a:cubicBezTo>
                      <a:pt x="854" y="56"/>
                      <a:pt x="854" y="56"/>
                      <a:pt x="854" y="56"/>
                    </a:cubicBezTo>
                    <a:cubicBezTo>
                      <a:pt x="852" y="54"/>
                      <a:pt x="850" y="53"/>
                      <a:pt x="848" y="51"/>
                    </a:cubicBezTo>
                    <a:cubicBezTo>
                      <a:pt x="841" y="43"/>
                      <a:pt x="841" y="43"/>
                      <a:pt x="841" y="43"/>
                    </a:cubicBezTo>
                    <a:cubicBezTo>
                      <a:pt x="829" y="48"/>
                      <a:pt x="829" y="48"/>
                      <a:pt x="829" y="48"/>
                    </a:cubicBezTo>
                    <a:cubicBezTo>
                      <a:pt x="825" y="49"/>
                      <a:pt x="821" y="51"/>
                      <a:pt x="818" y="53"/>
                    </a:cubicBezTo>
                    <a:cubicBezTo>
                      <a:pt x="817" y="54"/>
                      <a:pt x="817" y="54"/>
                      <a:pt x="817" y="54"/>
                    </a:cubicBezTo>
                    <a:cubicBezTo>
                      <a:pt x="813" y="56"/>
                      <a:pt x="810" y="58"/>
                      <a:pt x="806" y="59"/>
                    </a:cubicBezTo>
                    <a:cubicBezTo>
                      <a:pt x="794" y="64"/>
                      <a:pt x="794" y="64"/>
                      <a:pt x="794" y="64"/>
                    </a:cubicBezTo>
                    <a:cubicBezTo>
                      <a:pt x="794" y="65"/>
                      <a:pt x="794" y="65"/>
                      <a:pt x="794" y="65"/>
                    </a:cubicBezTo>
                    <a:cubicBezTo>
                      <a:pt x="793" y="66"/>
                      <a:pt x="793" y="66"/>
                      <a:pt x="793" y="67"/>
                    </a:cubicBezTo>
                    <a:cubicBezTo>
                      <a:pt x="792" y="71"/>
                      <a:pt x="792" y="71"/>
                      <a:pt x="792" y="71"/>
                    </a:cubicBezTo>
                    <a:cubicBezTo>
                      <a:pt x="788" y="74"/>
                      <a:pt x="788" y="74"/>
                      <a:pt x="788" y="74"/>
                    </a:cubicBezTo>
                    <a:cubicBezTo>
                      <a:pt x="783" y="71"/>
                      <a:pt x="783" y="71"/>
                      <a:pt x="783" y="71"/>
                    </a:cubicBezTo>
                    <a:cubicBezTo>
                      <a:pt x="783" y="71"/>
                      <a:pt x="783" y="70"/>
                      <a:pt x="782" y="70"/>
                    </a:cubicBezTo>
                    <a:cubicBezTo>
                      <a:pt x="780" y="70"/>
                      <a:pt x="780" y="70"/>
                      <a:pt x="780" y="70"/>
                    </a:cubicBezTo>
                    <a:cubicBezTo>
                      <a:pt x="773" y="69"/>
                      <a:pt x="773" y="69"/>
                      <a:pt x="773" y="69"/>
                    </a:cubicBezTo>
                    <a:cubicBezTo>
                      <a:pt x="773" y="69"/>
                      <a:pt x="773" y="69"/>
                      <a:pt x="772" y="69"/>
                    </a:cubicBezTo>
                    <a:cubicBezTo>
                      <a:pt x="771" y="69"/>
                      <a:pt x="770" y="70"/>
                      <a:pt x="769" y="71"/>
                    </a:cubicBezTo>
                    <a:cubicBezTo>
                      <a:pt x="760" y="77"/>
                      <a:pt x="760" y="77"/>
                      <a:pt x="760" y="77"/>
                    </a:cubicBezTo>
                    <a:cubicBezTo>
                      <a:pt x="752" y="63"/>
                      <a:pt x="752" y="63"/>
                      <a:pt x="752" y="63"/>
                    </a:cubicBezTo>
                    <a:cubicBezTo>
                      <a:pt x="754" y="59"/>
                      <a:pt x="754" y="59"/>
                      <a:pt x="754" y="59"/>
                    </a:cubicBezTo>
                    <a:cubicBezTo>
                      <a:pt x="755" y="57"/>
                      <a:pt x="757" y="55"/>
                      <a:pt x="758" y="54"/>
                    </a:cubicBezTo>
                    <a:cubicBezTo>
                      <a:pt x="759" y="53"/>
                      <a:pt x="759" y="53"/>
                      <a:pt x="759" y="53"/>
                    </a:cubicBezTo>
                    <a:cubicBezTo>
                      <a:pt x="752" y="54"/>
                      <a:pt x="752" y="54"/>
                      <a:pt x="752" y="54"/>
                    </a:cubicBezTo>
                    <a:cubicBezTo>
                      <a:pt x="751" y="53"/>
                      <a:pt x="751" y="53"/>
                      <a:pt x="751" y="53"/>
                    </a:cubicBezTo>
                    <a:cubicBezTo>
                      <a:pt x="748" y="53"/>
                      <a:pt x="745" y="51"/>
                      <a:pt x="742" y="50"/>
                    </a:cubicBezTo>
                    <a:cubicBezTo>
                      <a:pt x="742" y="50"/>
                      <a:pt x="742" y="50"/>
                      <a:pt x="742" y="50"/>
                    </a:cubicBezTo>
                    <a:cubicBezTo>
                      <a:pt x="741" y="50"/>
                      <a:pt x="741" y="50"/>
                      <a:pt x="741" y="50"/>
                    </a:cubicBezTo>
                    <a:cubicBezTo>
                      <a:pt x="739" y="52"/>
                      <a:pt x="739" y="52"/>
                      <a:pt x="739" y="52"/>
                    </a:cubicBezTo>
                    <a:cubicBezTo>
                      <a:pt x="738" y="53"/>
                      <a:pt x="737" y="53"/>
                      <a:pt x="736" y="54"/>
                    </a:cubicBezTo>
                    <a:cubicBezTo>
                      <a:pt x="733" y="55"/>
                      <a:pt x="733" y="55"/>
                      <a:pt x="733" y="55"/>
                    </a:cubicBezTo>
                    <a:cubicBezTo>
                      <a:pt x="726" y="58"/>
                      <a:pt x="726" y="58"/>
                      <a:pt x="726" y="58"/>
                    </a:cubicBezTo>
                    <a:cubicBezTo>
                      <a:pt x="728" y="51"/>
                      <a:pt x="728" y="51"/>
                      <a:pt x="728" y="51"/>
                    </a:cubicBezTo>
                    <a:cubicBezTo>
                      <a:pt x="728" y="51"/>
                      <a:pt x="729" y="50"/>
                      <a:pt x="729" y="49"/>
                    </a:cubicBezTo>
                    <a:cubicBezTo>
                      <a:pt x="728" y="49"/>
                      <a:pt x="728" y="49"/>
                      <a:pt x="728" y="49"/>
                    </a:cubicBezTo>
                    <a:cubicBezTo>
                      <a:pt x="728" y="48"/>
                      <a:pt x="728" y="48"/>
                      <a:pt x="728" y="48"/>
                    </a:cubicBezTo>
                    <a:cubicBezTo>
                      <a:pt x="728" y="47"/>
                      <a:pt x="728" y="46"/>
                      <a:pt x="728" y="46"/>
                    </a:cubicBezTo>
                    <a:cubicBezTo>
                      <a:pt x="725" y="49"/>
                      <a:pt x="725" y="49"/>
                      <a:pt x="725" y="49"/>
                    </a:cubicBezTo>
                    <a:cubicBezTo>
                      <a:pt x="721" y="46"/>
                      <a:pt x="721" y="46"/>
                      <a:pt x="721" y="46"/>
                    </a:cubicBezTo>
                    <a:cubicBezTo>
                      <a:pt x="720" y="46"/>
                      <a:pt x="720" y="46"/>
                      <a:pt x="720" y="46"/>
                    </a:cubicBezTo>
                    <a:cubicBezTo>
                      <a:pt x="719" y="46"/>
                      <a:pt x="719" y="46"/>
                      <a:pt x="719" y="46"/>
                    </a:cubicBezTo>
                    <a:cubicBezTo>
                      <a:pt x="713" y="48"/>
                      <a:pt x="713" y="48"/>
                      <a:pt x="713" y="48"/>
                    </a:cubicBezTo>
                    <a:cubicBezTo>
                      <a:pt x="708" y="48"/>
                      <a:pt x="708" y="48"/>
                      <a:pt x="708" y="48"/>
                    </a:cubicBezTo>
                    <a:cubicBezTo>
                      <a:pt x="707" y="49"/>
                      <a:pt x="705" y="49"/>
                      <a:pt x="703" y="49"/>
                    </a:cubicBezTo>
                    <a:cubicBezTo>
                      <a:pt x="703" y="49"/>
                      <a:pt x="702" y="49"/>
                      <a:pt x="701" y="49"/>
                    </a:cubicBezTo>
                    <a:cubicBezTo>
                      <a:pt x="701" y="49"/>
                      <a:pt x="701" y="49"/>
                      <a:pt x="701" y="49"/>
                    </a:cubicBezTo>
                    <a:cubicBezTo>
                      <a:pt x="698" y="48"/>
                      <a:pt x="698" y="48"/>
                      <a:pt x="698" y="48"/>
                    </a:cubicBezTo>
                    <a:cubicBezTo>
                      <a:pt x="694" y="47"/>
                      <a:pt x="694" y="47"/>
                      <a:pt x="694" y="47"/>
                    </a:cubicBezTo>
                    <a:cubicBezTo>
                      <a:pt x="693" y="46"/>
                      <a:pt x="693" y="46"/>
                      <a:pt x="693" y="46"/>
                    </a:cubicBezTo>
                    <a:cubicBezTo>
                      <a:pt x="692" y="45"/>
                      <a:pt x="692" y="45"/>
                      <a:pt x="692" y="45"/>
                    </a:cubicBezTo>
                    <a:cubicBezTo>
                      <a:pt x="691" y="44"/>
                      <a:pt x="691" y="44"/>
                      <a:pt x="691" y="44"/>
                    </a:cubicBezTo>
                    <a:cubicBezTo>
                      <a:pt x="691" y="43"/>
                      <a:pt x="691" y="43"/>
                      <a:pt x="691" y="43"/>
                    </a:cubicBezTo>
                    <a:cubicBezTo>
                      <a:pt x="690" y="42"/>
                      <a:pt x="690" y="41"/>
                      <a:pt x="689" y="41"/>
                    </a:cubicBezTo>
                    <a:cubicBezTo>
                      <a:pt x="689" y="40"/>
                      <a:pt x="689" y="39"/>
                      <a:pt x="689" y="38"/>
                    </a:cubicBezTo>
                    <a:cubicBezTo>
                      <a:pt x="688" y="38"/>
                      <a:pt x="688" y="38"/>
                      <a:pt x="688" y="38"/>
                    </a:cubicBezTo>
                    <a:cubicBezTo>
                      <a:pt x="689" y="35"/>
                      <a:pt x="689" y="35"/>
                      <a:pt x="689" y="35"/>
                    </a:cubicBezTo>
                    <a:cubicBezTo>
                      <a:pt x="690" y="33"/>
                      <a:pt x="690" y="33"/>
                      <a:pt x="690" y="33"/>
                    </a:cubicBezTo>
                    <a:cubicBezTo>
                      <a:pt x="692" y="33"/>
                      <a:pt x="692" y="33"/>
                      <a:pt x="692" y="33"/>
                    </a:cubicBezTo>
                    <a:cubicBezTo>
                      <a:pt x="693" y="33"/>
                      <a:pt x="693" y="33"/>
                      <a:pt x="693" y="33"/>
                    </a:cubicBezTo>
                    <a:cubicBezTo>
                      <a:pt x="693" y="33"/>
                      <a:pt x="693" y="33"/>
                      <a:pt x="693" y="33"/>
                    </a:cubicBezTo>
                    <a:cubicBezTo>
                      <a:pt x="694" y="33"/>
                      <a:pt x="694" y="33"/>
                      <a:pt x="694" y="33"/>
                    </a:cubicBezTo>
                    <a:cubicBezTo>
                      <a:pt x="693" y="31"/>
                      <a:pt x="693" y="31"/>
                      <a:pt x="693" y="31"/>
                    </a:cubicBezTo>
                    <a:cubicBezTo>
                      <a:pt x="693" y="26"/>
                      <a:pt x="693" y="26"/>
                      <a:pt x="693" y="26"/>
                    </a:cubicBezTo>
                    <a:cubicBezTo>
                      <a:pt x="695" y="22"/>
                      <a:pt x="695" y="22"/>
                      <a:pt x="695" y="22"/>
                    </a:cubicBezTo>
                    <a:cubicBezTo>
                      <a:pt x="694" y="20"/>
                      <a:pt x="694" y="20"/>
                      <a:pt x="694" y="20"/>
                    </a:cubicBezTo>
                    <a:cubicBezTo>
                      <a:pt x="691" y="13"/>
                      <a:pt x="691" y="13"/>
                      <a:pt x="691" y="13"/>
                    </a:cubicBezTo>
                    <a:cubicBezTo>
                      <a:pt x="689" y="9"/>
                      <a:pt x="687" y="6"/>
                      <a:pt x="685" y="2"/>
                    </a:cubicBezTo>
                    <a:cubicBezTo>
                      <a:pt x="684" y="2"/>
                      <a:pt x="684" y="2"/>
                      <a:pt x="684" y="2"/>
                    </a:cubicBezTo>
                    <a:cubicBezTo>
                      <a:pt x="680" y="2"/>
                      <a:pt x="680" y="2"/>
                      <a:pt x="680" y="2"/>
                    </a:cubicBezTo>
                    <a:cubicBezTo>
                      <a:pt x="677" y="3"/>
                      <a:pt x="675" y="5"/>
                      <a:pt x="674" y="6"/>
                    </a:cubicBezTo>
                    <a:cubicBezTo>
                      <a:pt x="673" y="7"/>
                      <a:pt x="673" y="7"/>
                      <a:pt x="673" y="7"/>
                    </a:cubicBezTo>
                    <a:cubicBezTo>
                      <a:pt x="670" y="8"/>
                      <a:pt x="670" y="8"/>
                      <a:pt x="670" y="8"/>
                    </a:cubicBezTo>
                    <a:cubicBezTo>
                      <a:pt x="667" y="7"/>
                      <a:pt x="667" y="7"/>
                      <a:pt x="667" y="7"/>
                    </a:cubicBezTo>
                    <a:cubicBezTo>
                      <a:pt x="665" y="7"/>
                      <a:pt x="663" y="6"/>
                      <a:pt x="661" y="5"/>
                    </a:cubicBezTo>
                    <a:cubicBezTo>
                      <a:pt x="661" y="5"/>
                      <a:pt x="661" y="5"/>
                      <a:pt x="661" y="5"/>
                    </a:cubicBezTo>
                    <a:cubicBezTo>
                      <a:pt x="658" y="4"/>
                      <a:pt x="657" y="3"/>
                      <a:pt x="655" y="2"/>
                    </a:cubicBezTo>
                    <a:cubicBezTo>
                      <a:pt x="654" y="0"/>
                      <a:pt x="654" y="0"/>
                      <a:pt x="654" y="0"/>
                    </a:cubicBezTo>
                    <a:cubicBezTo>
                      <a:pt x="653" y="0"/>
                      <a:pt x="653" y="0"/>
                      <a:pt x="653" y="0"/>
                    </a:cubicBezTo>
                    <a:cubicBezTo>
                      <a:pt x="644" y="0"/>
                      <a:pt x="644" y="0"/>
                      <a:pt x="6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02" name="Freeform 330">
                <a:extLst>
                  <a:ext uri="{FF2B5EF4-FFF2-40B4-BE49-F238E27FC236}">
                    <a16:creationId xmlns:a16="http://schemas.microsoft.com/office/drawing/2014/main" id="{B3A74979-64B5-4BF6-B049-BC37F8C64E13}"/>
                  </a:ext>
                </a:extLst>
              </p:cNvPr>
              <p:cNvSpPr>
                <a:spLocks/>
              </p:cNvSpPr>
              <p:nvPr/>
            </p:nvSpPr>
            <p:spPr bwMode="auto">
              <a:xfrm>
                <a:off x="11261713" y="3471380"/>
                <a:ext cx="11055" cy="11055"/>
              </a:xfrm>
              <a:custGeom>
                <a:avLst/>
                <a:gdLst>
                  <a:gd name="T0" fmla="*/ 4 w 4"/>
                  <a:gd name="T1" fmla="*/ 0 h 3"/>
                  <a:gd name="T2" fmla="*/ 0 w 4"/>
                  <a:gd name="T3" fmla="*/ 2 h 3"/>
                  <a:gd name="T4" fmla="*/ 3 w 4"/>
                  <a:gd name="T5" fmla="*/ 3 h 3"/>
                  <a:gd name="T6" fmla="*/ 4 w 4"/>
                  <a:gd name="T7" fmla="*/ 2 h 3"/>
                  <a:gd name="T8" fmla="*/ 4 w 4"/>
                  <a:gd name="T9" fmla="*/ 1 h 3"/>
                  <a:gd name="T10" fmla="*/ 4 w 4"/>
                  <a:gd name="T11" fmla="*/ 0 h 3"/>
                </a:gdLst>
                <a:ahLst/>
                <a:cxnLst>
                  <a:cxn ang="0">
                    <a:pos x="T0" y="T1"/>
                  </a:cxn>
                  <a:cxn ang="0">
                    <a:pos x="T2" y="T3"/>
                  </a:cxn>
                  <a:cxn ang="0">
                    <a:pos x="T4" y="T5"/>
                  </a:cxn>
                  <a:cxn ang="0">
                    <a:pos x="T6" y="T7"/>
                  </a:cxn>
                  <a:cxn ang="0">
                    <a:pos x="T8" y="T9"/>
                  </a:cxn>
                  <a:cxn ang="0">
                    <a:pos x="T10" y="T11"/>
                  </a:cxn>
                </a:cxnLst>
                <a:rect l="0" t="0" r="r" b="b"/>
                <a:pathLst>
                  <a:path w="4" h="3">
                    <a:moveTo>
                      <a:pt x="4" y="0"/>
                    </a:moveTo>
                    <a:cubicBezTo>
                      <a:pt x="0" y="2"/>
                      <a:pt x="0" y="2"/>
                      <a:pt x="0" y="2"/>
                    </a:cubicBezTo>
                    <a:cubicBezTo>
                      <a:pt x="2" y="2"/>
                      <a:pt x="3" y="2"/>
                      <a:pt x="3" y="3"/>
                    </a:cubicBezTo>
                    <a:cubicBezTo>
                      <a:pt x="4" y="2"/>
                      <a:pt x="4" y="2"/>
                      <a:pt x="4" y="2"/>
                    </a:cubicBezTo>
                    <a:cubicBezTo>
                      <a:pt x="4" y="1"/>
                      <a:pt x="4" y="1"/>
                      <a:pt x="4" y="1"/>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03" name="Rectangle 331">
                <a:extLst>
                  <a:ext uri="{FF2B5EF4-FFF2-40B4-BE49-F238E27FC236}">
                    <a16:creationId xmlns:a16="http://schemas.microsoft.com/office/drawing/2014/main" id="{2B243776-F048-4D6A-9329-9F9F15466CD4}"/>
                  </a:ext>
                </a:extLst>
              </p:cNvPr>
              <p:cNvSpPr>
                <a:spLocks noChangeArrowheads="1"/>
              </p:cNvSpPr>
              <p:nvPr/>
            </p:nvSpPr>
            <p:spPr bwMode="auto">
              <a:xfrm>
                <a:off x="8947461" y="3799355"/>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04" name="Freeform 332">
                <a:extLst>
                  <a:ext uri="{FF2B5EF4-FFF2-40B4-BE49-F238E27FC236}">
                    <a16:creationId xmlns:a16="http://schemas.microsoft.com/office/drawing/2014/main" id="{80E38031-32E6-49BC-8EA5-94CCE6F72E7C}"/>
                  </a:ext>
                </a:extLst>
              </p:cNvPr>
              <p:cNvSpPr>
                <a:spLocks/>
              </p:cNvSpPr>
              <p:nvPr/>
            </p:nvSpPr>
            <p:spPr bwMode="auto">
              <a:xfrm>
                <a:off x="8947461" y="3799355"/>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05" name="Freeform 333">
                <a:extLst>
                  <a:ext uri="{FF2B5EF4-FFF2-40B4-BE49-F238E27FC236}">
                    <a16:creationId xmlns:a16="http://schemas.microsoft.com/office/drawing/2014/main" id="{CF8C6FA6-188C-41E0-8B30-01698314B552}"/>
                  </a:ext>
                </a:extLst>
              </p:cNvPr>
              <p:cNvSpPr>
                <a:spLocks noEditPoints="1"/>
              </p:cNvSpPr>
              <p:nvPr/>
            </p:nvSpPr>
            <p:spPr bwMode="auto">
              <a:xfrm>
                <a:off x="11011125" y="4171552"/>
                <a:ext cx="1168182" cy="2148422"/>
              </a:xfrm>
              <a:custGeom>
                <a:avLst/>
                <a:gdLst>
                  <a:gd name="T0" fmla="*/ 152 w 368"/>
                  <a:gd name="T1" fmla="*/ 491 h 677"/>
                  <a:gd name="T2" fmla="*/ 148 w 368"/>
                  <a:gd name="T3" fmla="*/ 491 h 677"/>
                  <a:gd name="T4" fmla="*/ 166 w 368"/>
                  <a:gd name="T5" fmla="*/ 484 h 677"/>
                  <a:gd name="T6" fmla="*/ 166 w 368"/>
                  <a:gd name="T7" fmla="*/ 478 h 677"/>
                  <a:gd name="T8" fmla="*/ 169 w 368"/>
                  <a:gd name="T9" fmla="*/ 478 h 677"/>
                  <a:gd name="T10" fmla="*/ 168 w 368"/>
                  <a:gd name="T11" fmla="*/ 478 h 677"/>
                  <a:gd name="T12" fmla="*/ 168 w 368"/>
                  <a:gd name="T13" fmla="*/ 478 h 677"/>
                  <a:gd name="T14" fmla="*/ 182 w 368"/>
                  <a:gd name="T15" fmla="*/ 462 h 677"/>
                  <a:gd name="T16" fmla="*/ 185 w 368"/>
                  <a:gd name="T17" fmla="*/ 455 h 677"/>
                  <a:gd name="T18" fmla="*/ 368 w 368"/>
                  <a:gd name="T19" fmla="*/ 0 h 677"/>
                  <a:gd name="T20" fmla="*/ 343 w 368"/>
                  <a:gd name="T21" fmla="*/ 39 h 677"/>
                  <a:gd name="T22" fmla="*/ 275 w 368"/>
                  <a:gd name="T23" fmla="*/ 53 h 677"/>
                  <a:gd name="T24" fmla="*/ 256 w 368"/>
                  <a:gd name="T25" fmla="*/ 115 h 677"/>
                  <a:gd name="T26" fmla="*/ 225 w 368"/>
                  <a:gd name="T27" fmla="*/ 115 h 677"/>
                  <a:gd name="T28" fmla="*/ 183 w 368"/>
                  <a:gd name="T29" fmla="*/ 127 h 677"/>
                  <a:gd name="T30" fmla="*/ 195 w 368"/>
                  <a:gd name="T31" fmla="*/ 160 h 677"/>
                  <a:gd name="T32" fmla="*/ 197 w 368"/>
                  <a:gd name="T33" fmla="*/ 193 h 677"/>
                  <a:gd name="T34" fmla="*/ 188 w 368"/>
                  <a:gd name="T35" fmla="*/ 221 h 677"/>
                  <a:gd name="T36" fmla="*/ 160 w 368"/>
                  <a:gd name="T37" fmla="*/ 239 h 677"/>
                  <a:gd name="T38" fmla="*/ 135 w 368"/>
                  <a:gd name="T39" fmla="*/ 254 h 677"/>
                  <a:gd name="T40" fmla="*/ 104 w 368"/>
                  <a:gd name="T41" fmla="*/ 262 h 677"/>
                  <a:gd name="T42" fmla="*/ 86 w 368"/>
                  <a:gd name="T43" fmla="*/ 273 h 677"/>
                  <a:gd name="T44" fmla="*/ 72 w 368"/>
                  <a:gd name="T45" fmla="*/ 286 h 677"/>
                  <a:gd name="T46" fmla="*/ 65 w 368"/>
                  <a:gd name="T47" fmla="*/ 286 h 677"/>
                  <a:gd name="T48" fmla="*/ 50 w 368"/>
                  <a:gd name="T49" fmla="*/ 280 h 677"/>
                  <a:gd name="T50" fmla="*/ 19 w 368"/>
                  <a:gd name="T51" fmla="*/ 293 h 677"/>
                  <a:gd name="T52" fmla="*/ 5 w 368"/>
                  <a:gd name="T53" fmla="*/ 314 h 677"/>
                  <a:gd name="T54" fmla="*/ 2 w 368"/>
                  <a:gd name="T55" fmla="*/ 323 h 677"/>
                  <a:gd name="T56" fmla="*/ 5 w 368"/>
                  <a:gd name="T57" fmla="*/ 334 h 677"/>
                  <a:gd name="T58" fmla="*/ 14 w 368"/>
                  <a:gd name="T59" fmla="*/ 336 h 677"/>
                  <a:gd name="T60" fmla="*/ 36 w 368"/>
                  <a:gd name="T61" fmla="*/ 352 h 677"/>
                  <a:gd name="T62" fmla="*/ 39 w 368"/>
                  <a:gd name="T63" fmla="*/ 387 h 677"/>
                  <a:gd name="T64" fmla="*/ 58 w 368"/>
                  <a:gd name="T65" fmla="*/ 400 h 677"/>
                  <a:gd name="T66" fmla="*/ 71 w 368"/>
                  <a:gd name="T67" fmla="*/ 429 h 677"/>
                  <a:gd name="T68" fmla="*/ 84 w 368"/>
                  <a:gd name="T69" fmla="*/ 432 h 677"/>
                  <a:gd name="T70" fmla="*/ 124 w 368"/>
                  <a:gd name="T71" fmla="*/ 437 h 677"/>
                  <a:gd name="T72" fmla="*/ 121 w 368"/>
                  <a:gd name="T73" fmla="*/ 443 h 677"/>
                  <a:gd name="T74" fmla="*/ 129 w 368"/>
                  <a:gd name="T75" fmla="*/ 468 h 677"/>
                  <a:gd name="T76" fmla="*/ 142 w 368"/>
                  <a:gd name="T77" fmla="*/ 492 h 677"/>
                  <a:gd name="T78" fmla="*/ 151 w 368"/>
                  <a:gd name="T79" fmla="*/ 508 h 677"/>
                  <a:gd name="T80" fmla="*/ 166 w 368"/>
                  <a:gd name="T81" fmla="*/ 527 h 677"/>
                  <a:gd name="T82" fmla="*/ 148 w 368"/>
                  <a:gd name="T83" fmla="*/ 547 h 677"/>
                  <a:gd name="T84" fmla="*/ 145 w 368"/>
                  <a:gd name="T85" fmla="*/ 561 h 677"/>
                  <a:gd name="T86" fmla="*/ 157 w 368"/>
                  <a:gd name="T87" fmla="*/ 572 h 677"/>
                  <a:gd name="T88" fmla="*/ 166 w 368"/>
                  <a:gd name="T89" fmla="*/ 583 h 677"/>
                  <a:gd name="T90" fmla="*/ 207 w 368"/>
                  <a:gd name="T91" fmla="*/ 607 h 677"/>
                  <a:gd name="T92" fmla="*/ 223 w 368"/>
                  <a:gd name="T93" fmla="*/ 601 h 677"/>
                  <a:gd name="T94" fmla="*/ 250 w 368"/>
                  <a:gd name="T95" fmla="*/ 616 h 677"/>
                  <a:gd name="T96" fmla="*/ 268 w 368"/>
                  <a:gd name="T97" fmla="*/ 626 h 677"/>
                  <a:gd name="T98" fmla="*/ 276 w 368"/>
                  <a:gd name="T99" fmla="*/ 631 h 677"/>
                  <a:gd name="T100" fmla="*/ 294 w 368"/>
                  <a:gd name="T101" fmla="*/ 638 h 677"/>
                  <a:gd name="T102" fmla="*/ 306 w 368"/>
                  <a:gd name="T103" fmla="*/ 653 h 677"/>
                  <a:gd name="T104" fmla="*/ 322 w 368"/>
                  <a:gd name="T105" fmla="*/ 659 h 677"/>
                  <a:gd name="T106" fmla="*/ 329 w 368"/>
                  <a:gd name="T107" fmla="*/ 667 h 677"/>
                  <a:gd name="T108" fmla="*/ 351 w 368"/>
                  <a:gd name="T109" fmla="*/ 673 h 677"/>
                  <a:gd name="T110" fmla="*/ 368 w 368"/>
                  <a:gd name="T111" fmla="*/ 674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8" h="677">
                    <a:moveTo>
                      <a:pt x="154" y="491"/>
                    </a:moveTo>
                    <a:cubicBezTo>
                      <a:pt x="155" y="491"/>
                      <a:pt x="155" y="491"/>
                      <a:pt x="155" y="491"/>
                    </a:cubicBezTo>
                    <a:cubicBezTo>
                      <a:pt x="154" y="491"/>
                      <a:pt x="154" y="491"/>
                      <a:pt x="154" y="491"/>
                    </a:cubicBezTo>
                    <a:moveTo>
                      <a:pt x="147" y="495"/>
                    </a:moveTo>
                    <a:cubicBezTo>
                      <a:pt x="147" y="494"/>
                      <a:pt x="147" y="493"/>
                      <a:pt x="147" y="493"/>
                    </a:cubicBezTo>
                    <a:cubicBezTo>
                      <a:pt x="148" y="492"/>
                      <a:pt x="148" y="492"/>
                      <a:pt x="148" y="492"/>
                    </a:cubicBezTo>
                    <a:cubicBezTo>
                      <a:pt x="152" y="491"/>
                      <a:pt x="152" y="491"/>
                      <a:pt x="152" y="491"/>
                    </a:cubicBezTo>
                    <a:cubicBezTo>
                      <a:pt x="152" y="491"/>
                      <a:pt x="152" y="491"/>
                      <a:pt x="152" y="491"/>
                    </a:cubicBezTo>
                    <a:cubicBezTo>
                      <a:pt x="152" y="491"/>
                      <a:pt x="152" y="491"/>
                      <a:pt x="153" y="491"/>
                    </a:cubicBezTo>
                    <a:cubicBezTo>
                      <a:pt x="147" y="494"/>
                      <a:pt x="147" y="494"/>
                      <a:pt x="147" y="494"/>
                    </a:cubicBezTo>
                    <a:cubicBezTo>
                      <a:pt x="147" y="495"/>
                      <a:pt x="147" y="495"/>
                      <a:pt x="147" y="495"/>
                    </a:cubicBezTo>
                    <a:moveTo>
                      <a:pt x="151" y="491"/>
                    </a:moveTo>
                    <a:cubicBezTo>
                      <a:pt x="151" y="491"/>
                      <a:pt x="151" y="491"/>
                      <a:pt x="151" y="491"/>
                    </a:cubicBezTo>
                    <a:cubicBezTo>
                      <a:pt x="151" y="491"/>
                      <a:pt x="151" y="491"/>
                      <a:pt x="151" y="491"/>
                    </a:cubicBezTo>
                    <a:moveTo>
                      <a:pt x="148" y="492"/>
                    </a:moveTo>
                    <a:cubicBezTo>
                      <a:pt x="148" y="491"/>
                      <a:pt x="148" y="491"/>
                      <a:pt x="148" y="491"/>
                    </a:cubicBezTo>
                    <a:cubicBezTo>
                      <a:pt x="149" y="491"/>
                      <a:pt x="149" y="491"/>
                      <a:pt x="150" y="491"/>
                    </a:cubicBezTo>
                    <a:cubicBezTo>
                      <a:pt x="150" y="491"/>
                      <a:pt x="150" y="491"/>
                      <a:pt x="150" y="491"/>
                    </a:cubicBezTo>
                    <a:cubicBezTo>
                      <a:pt x="150" y="491"/>
                      <a:pt x="150" y="491"/>
                      <a:pt x="150" y="491"/>
                    </a:cubicBezTo>
                    <a:cubicBezTo>
                      <a:pt x="150" y="491"/>
                      <a:pt x="150" y="491"/>
                      <a:pt x="150" y="491"/>
                    </a:cubicBezTo>
                    <a:cubicBezTo>
                      <a:pt x="149" y="491"/>
                      <a:pt x="149" y="491"/>
                      <a:pt x="148" y="491"/>
                    </a:cubicBezTo>
                    <a:cubicBezTo>
                      <a:pt x="148" y="492"/>
                      <a:pt x="148" y="492"/>
                      <a:pt x="148" y="492"/>
                    </a:cubicBezTo>
                    <a:moveTo>
                      <a:pt x="164" y="487"/>
                    </a:moveTo>
                    <a:cubicBezTo>
                      <a:pt x="165" y="486"/>
                      <a:pt x="165" y="485"/>
                      <a:pt x="166" y="484"/>
                    </a:cubicBezTo>
                    <a:cubicBezTo>
                      <a:pt x="165" y="485"/>
                      <a:pt x="165" y="486"/>
                      <a:pt x="164" y="487"/>
                    </a:cubicBezTo>
                    <a:moveTo>
                      <a:pt x="167" y="478"/>
                    </a:moveTo>
                    <a:cubicBezTo>
                      <a:pt x="167" y="478"/>
                      <a:pt x="167" y="478"/>
                      <a:pt x="167" y="478"/>
                    </a:cubicBezTo>
                    <a:cubicBezTo>
                      <a:pt x="167" y="478"/>
                      <a:pt x="167" y="478"/>
                      <a:pt x="167" y="478"/>
                    </a:cubicBezTo>
                    <a:cubicBezTo>
                      <a:pt x="167" y="478"/>
                      <a:pt x="167" y="478"/>
                      <a:pt x="167" y="478"/>
                    </a:cubicBezTo>
                    <a:cubicBezTo>
                      <a:pt x="167" y="478"/>
                      <a:pt x="167" y="478"/>
                      <a:pt x="167" y="478"/>
                    </a:cubicBezTo>
                    <a:moveTo>
                      <a:pt x="166" y="478"/>
                    </a:moveTo>
                    <a:cubicBezTo>
                      <a:pt x="166" y="478"/>
                      <a:pt x="166" y="478"/>
                      <a:pt x="166" y="478"/>
                    </a:cubicBezTo>
                    <a:cubicBezTo>
                      <a:pt x="166" y="478"/>
                      <a:pt x="166" y="478"/>
                      <a:pt x="166" y="478"/>
                    </a:cubicBezTo>
                    <a:moveTo>
                      <a:pt x="169" y="478"/>
                    </a:moveTo>
                    <a:cubicBezTo>
                      <a:pt x="169" y="478"/>
                      <a:pt x="169" y="478"/>
                      <a:pt x="169" y="478"/>
                    </a:cubicBezTo>
                    <a:cubicBezTo>
                      <a:pt x="169" y="478"/>
                      <a:pt x="169" y="478"/>
                      <a:pt x="169" y="478"/>
                    </a:cubicBezTo>
                    <a:moveTo>
                      <a:pt x="169" y="478"/>
                    </a:moveTo>
                    <a:cubicBezTo>
                      <a:pt x="169" y="478"/>
                      <a:pt x="169" y="478"/>
                      <a:pt x="169" y="478"/>
                    </a:cubicBezTo>
                    <a:cubicBezTo>
                      <a:pt x="169" y="478"/>
                      <a:pt x="169" y="478"/>
                      <a:pt x="169" y="478"/>
                    </a:cubicBezTo>
                    <a:cubicBezTo>
                      <a:pt x="169" y="478"/>
                      <a:pt x="169" y="478"/>
                      <a:pt x="169" y="478"/>
                    </a:cubicBezTo>
                    <a:moveTo>
                      <a:pt x="166" y="478"/>
                    </a:moveTo>
                    <a:cubicBezTo>
                      <a:pt x="166" y="478"/>
                      <a:pt x="166" y="478"/>
                      <a:pt x="166" y="478"/>
                    </a:cubicBezTo>
                    <a:cubicBezTo>
                      <a:pt x="166" y="478"/>
                      <a:pt x="166" y="478"/>
                      <a:pt x="166" y="478"/>
                    </a:cubicBezTo>
                    <a:cubicBezTo>
                      <a:pt x="166" y="478"/>
                      <a:pt x="166" y="478"/>
                      <a:pt x="166" y="478"/>
                    </a:cubicBezTo>
                    <a:moveTo>
                      <a:pt x="169" y="478"/>
                    </a:moveTo>
                    <a:cubicBezTo>
                      <a:pt x="169" y="478"/>
                      <a:pt x="168" y="478"/>
                      <a:pt x="168" y="478"/>
                    </a:cubicBezTo>
                    <a:cubicBezTo>
                      <a:pt x="168" y="478"/>
                      <a:pt x="168" y="478"/>
                      <a:pt x="168" y="478"/>
                    </a:cubicBezTo>
                    <a:cubicBezTo>
                      <a:pt x="168" y="478"/>
                      <a:pt x="168" y="478"/>
                      <a:pt x="168" y="478"/>
                    </a:cubicBezTo>
                    <a:cubicBezTo>
                      <a:pt x="168" y="478"/>
                      <a:pt x="169" y="478"/>
                      <a:pt x="169" y="478"/>
                    </a:cubicBezTo>
                    <a:moveTo>
                      <a:pt x="168" y="478"/>
                    </a:moveTo>
                    <a:cubicBezTo>
                      <a:pt x="168" y="478"/>
                      <a:pt x="168" y="478"/>
                      <a:pt x="168" y="478"/>
                    </a:cubicBezTo>
                    <a:cubicBezTo>
                      <a:pt x="168" y="478"/>
                      <a:pt x="168" y="478"/>
                      <a:pt x="168" y="478"/>
                    </a:cubicBezTo>
                    <a:moveTo>
                      <a:pt x="168" y="478"/>
                    </a:moveTo>
                    <a:cubicBezTo>
                      <a:pt x="168" y="478"/>
                      <a:pt x="168" y="478"/>
                      <a:pt x="168" y="478"/>
                    </a:cubicBezTo>
                    <a:cubicBezTo>
                      <a:pt x="168" y="478"/>
                      <a:pt x="168" y="478"/>
                      <a:pt x="168" y="478"/>
                    </a:cubicBezTo>
                    <a:cubicBezTo>
                      <a:pt x="168" y="478"/>
                      <a:pt x="168" y="478"/>
                      <a:pt x="168" y="478"/>
                    </a:cubicBezTo>
                    <a:moveTo>
                      <a:pt x="170" y="477"/>
                    </a:moveTo>
                    <a:cubicBezTo>
                      <a:pt x="170" y="477"/>
                      <a:pt x="170" y="477"/>
                      <a:pt x="170" y="477"/>
                    </a:cubicBezTo>
                    <a:cubicBezTo>
                      <a:pt x="172" y="476"/>
                      <a:pt x="173" y="474"/>
                      <a:pt x="174" y="472"/>
                    </a:cubicBezTo>
                    <a:cubicBezTo>
                      <a:pt x="177" y="469"/>
                      <a:pt x="179" y="466"/>
                      <a:pt x="182" y="462"/>
                    </a:cubicBezTo>
                    <a:cubicBezTo>
                      <a:pt x="182" y="461"/>
                      <a:pt x="183" y="460"/>
                      <a:pt x="184" y="459"/>
                    </a:cubicBezTo>
                    <a:cubicBezTo>
                      <a:pt x="184" y="458"/>
                      <a:pt x="185" y="457"/>
                      <a:pt x="185" y="455"/>
                    </a:cubicBezTo>
                    <a:cubicBezTo>
                      <a:pt x="185" y="457"/>
                      <a:pt x="184" y="458"/>
                      <a:pt x="184" y="459"/>
                    </a:cubicBezTo>
                    <a:cubicBezTo>
                      <a:pt x="183" y="460"/>
                      <a:pt x="182" y="461"/>
                      <a:pt x="182" y="462"/>
                    </a:cubicBezTo>
                    <a:cubicBezTo>
                      <a:pt x="179" y="466"/>
                      <a:pt x="177" y="469"/>
                      <a:pt x="174" y="472"/>
                    </a:cubicBezTo>
                    <a:cubicBezTo>
                      <a:pt x="173" y="474"/>
                      <a:pt x="172" y="476"/>
                      <a:pt x="170" y="477"/>
                    </a:cubicBezTo>
                    <a:cubicBezTo>
                      <a:pt x="170" y="477"/>
                      <a:pt x="170" y="477"/>
                      <a:pt x="170" y="477"/>
                    </a:cubicBezTo>
                    <a:moveTo>
                      <a:pt x="185" y="455"/>
                    </a:moveTo>
                    <a:cubicBezTo>
                      <a:pt x="186" y="452"/>
                      <a:pt x="187" y="450"/>
                      <a:pt x="188" y="447"/>
                    </a:cubicBezTo>
                    <a:cubicBezTo>
                      <a:pt x="188" y="447"/>
                      <a:pt x="188" y="446"/>
                      <a:pt x="188" y="445"/>
                    </a:cubicBezTo>
                    <a:cubicBezTo>
                      <a:pt x="188" y="446"/>
                      <a:pt x="188" y="447"/>
                      <a:pt x="188" y="447"/>
                    </a:cubicBezTo>
                    <a:cubicBezTo>
                      <a:pt x="187" y="450"/>
                      <a:pt x="186" y="452"/>
                      <a:pt x="185" y="455"/>
                    </a:cubicBezTo>
                    <a:moveTo>
                      <a:pt x="154" y="429"/>
                    </a:moveTo>
                    <a:cubicBezTo>
                      <a:pt x="154" y="429"/>
                      <a:pt x="154" y="429"/>
                      <a:pt x="154" y="429"/>
                    </a:cubicBezTo>
                    <a:cubicBezTo>
                      <a:pt x="154" y="429"/>
                      <a:pt x="154" y="429"/>
                      <a:pt x="154" y="429"/>
                    </a:cubicBezTo>
                    <a:cubicBezTo>
                      <a:pt x="154" y="429"/>
                      <a:pt x="154" y="429"/>
                      <a:pt x="154" y="429"/>
                    </a:cubicBezTo>
                    <a:moveTo>
                      <a:pt x="154" y="429"/>
                    </a:moveTo>
                    <a:cubicBezTo>
                      <a:pt x="153" y="429"/>
                      <a:pt x="153" y="429"/>
                      <a:pt x="153" y="429"/>
                    </a:cubicBezTo>
                    <a:cubicBezTo>
                      <a:pt x="153" y="429"/>
                      <a:pt x="153" y="429"/>
                      <a:pt x="154" y="429"/>
                    </a:cubicBezTo>
                    <a:moveTo>
                      <a:pt x="368" y="0"/>
                    </a:moveTo>
                    <a:cubicBezTo>
                      <a:pt x="367" y="0"/>
                      <a:pt x="366" y="1"/>
                      <a:pt x="365" y="1"/>
                    </a:cubicBezTo>
                    <a:cubicBezTo>
                      <a:pt x="360" y="3"/>
                      <a:pt x="355" y="4"/>
                      <a:pt x="350" y="5"/>
                    </a:cubicBezTo>
                    <a:cubicBezTo>
                      <a:pt x="350" y="5"/>
                      <a:pt x="349" y="5"/>
                      <a:pt x="348" y="5"/>
                    </a:cubicBezTo>
                    <a:cubicBezTo>
                      <a:pt x="348" y="5"/>
                      <a:pt x="346" y="5"/>
                      <a:pt x="345" y="5"/>
                    </a:cubicBezTo>
                    <a:cubicBezTo>
                      <a:pt x="344" y="6"/>
                      <a:pt x="339" y="15"/>
                      <a:pt x="340" y="17"/>
                    </a:cubicBezTo>
                    <a:cubicBezTo>
                      <a:pt x="340" y="20"/>
                      <a:pt x="341" y="24"/>
                      <a:pt x="341" y="27"/>
                    </a:cubicBezTo>
                    <a:cubicBezTo>
                      <a:pt x="341" y="27"/>
                      <a:pt x="341" y="27"/>
                      <a:pt x="341" y="27"/>
                    </a:cubicBezTo>
                    <a:cubicBezTo>
                      <a:pt x="342" y="31"/>
                      <a:pt x="343" y="35"/>
                      <a:pt x="343" y="39"/>
                    </a:cubicBezTo>
                    <a:cubicBezTo>
                      <a:pt x="344" y="48"/>
                      <a:pt x="336" y="52"/>
                      <a:pt x="331" y="55"/>
                    </a:cubicBezTo>
                    <a:cubicBezTo>
                      <a:pt x="329" y="56"/>
                      <a:pt x="329" y="56"/>
                      <a:pt x="329" y="56"/>
                    </a:cubicBezTo>
                    <a:cubicBezTo>
                      <a:pt x="325" y="58"/>
                      <a:pt x="322" y="60"/>
                      <a:pt x="318" y="60"/>
                    </a:cubicBezTo>
                    <a:cubicBezTo>
                      <a:pt x="316" y="60"/>
                      <a:pt x="314" y="59"/>
                      <a:pt x="311" y="58"/>
                    </a:cubicBezTo>
                    <a:cubicBezTo>
                      <a:pt x="309" y="57"/>
                      <a:pt x="304" y="56"/>
                      <a:pt x="301" y="56"/>
                    </a:cubicBezTo>
                    <a:cubicBezTo>
                      <a:pt x="299" y="56"/>
                      <a:pt x="298" y="56"/>
                      <a:pt x="297" y="57"/>
                    </a:cubicBezTo>
                    <a:cubicBezTo>
                      <a:pt x="296" y="58"/>
                      <a:pt x="294" y="58"/>
                      <a:pt x="292" y="58"/>
                    </a:cubicBezTo>
                    <a:cubicBezTo>
                      <a:pt x="285" y="58"/>
                      <a:pt x="275" y="53"/>
                      <a:pt x="275" y="53"/>
                    </a:cubicBezTo>
                    <a:cubicBezTo>
                      <a:pt x="274" y="52"/>
                      <a:pt x="274" y="52"/>
                      <a:pt x="274" y="52"/>
                    </a:cubicBezTo>
                    <a:cubicBezTo>
                      <a:pt x="272" y="51"/>
                      <a:pt x="269" y="49"/>
                      <a:pt x="267" y="49"/>
                    </a:cubicBezTo>
                    <a:cubicBezTo>
                      <a:pt x="267" y="49"/>
                      <a:pt x="267" y="49"/>
                      <a:pt x="267" y="49"/>
                    </a:cubicBezTo>
                    <a:cubicBezTo>
                      <a:pt x="267" y="49"/>
                      <a:pt x="267" y="49"/>
                      <a:pt x="266" y="50"/>
                    </a:cubicBezTo>
                    <a:cubicBezTo>
                      <a:pt x="248" y="103"/>
                      <a:pt x="248" y="103"/>
                      <a:pt x="248" y="103"/>
                    </a:cubicBezTo>
                    <a:cubicBezTo>
                      <a:pt x="249" y="103"/>
                      <a:pt x="249" y="103"/>
                      <a:pt x="249" y="103"/>
                    </a:cubicBezTo>
                    <a:cubicBezTo>
                      <a:pt x="252" y="104"/>
                      <a:pt x="253" y="104"/>
                      <a:pt x="255" y="106"/>
                    </a:cubicBezTo>
                    <a:cubicBezTo>
                      <a:pt x="257" y="108"/>
                      <a:pt x="256" y="112"/>
                      <a:pt x="256" y="115"/>
                    </a:cubicBezTo>
                    <a:cubicBezTo>
                      <a:pt x="256" y="116"/>
                      <a:pt x="256" y="116"/>
                      <a:pt x="256" y="117"/>
                    </a:cubicBezTo>
                    <a:cubicBezTo>
                      <a:pt x="256" y="120"/>
                      <a:pt x="253" y="121"/>
                      <a:pt x="246" y="121"/>
                    </a:cubicBezTo>
                    <a:cubicBezTo>
                      <a:pt x="245" y="121"/>
                      <a:pt x="244" y="121"/>
                      <a:pt x="242" y="121"/>
                    </a:cubicBezTo>
                    <a:cubicBezTo>
                      <a:pt x="241" y="121"/>
                      <a:pt x="241" y="121"/>
                      <a:pt x="241" y="121"/>
                    </a:cubicBezTo>
                    <a:cubicBezTo>
                      <a:pt x="240" y="121"/>
                      <a:pt x="239" y="121"/>
                      <a:pt x="238" y="121"/>
                    </a:cubicBezTo>
                    <a:cubicBezTo>
                      <a:pt x="237" y="121"/>
                      <a:pt x="236" y="121"/>
                      <a:pt x="234" y="121"/>
                    </a:cubicBezTo>
                    <a:cubicBezTo>
                      <a:pt x="231" y="121"/>
                      <a:pt x="228" y="120"/>
                      <a:pt x="227" y="118"/>
                    </a:cubicBezTo>
                    <a:cubicBezTo>
                      <a:pt x="226" y="117"/>
                      <a:pt x="226" y="116"/>
                      <a:pt x="225" y="115"/>
                    </a:cubicBezTo>
                    <a:cubicBezTo>
                      <a:pt x="225" y="115"/>
                      <a:pt x="224" y="116"/>
                      <a:pt x="222" y="116"/>
                    </a:cubicBezTo>
                    <a:cubicBezTo>
                      <a:pt x="221" y="117"/>
                      <a:pt x="220" y="117"/>
                      <a:pt x="219" y="117"/>
                    </a:cubicBezTo>
                    <a:cubicBezTo>
                      <a:pt x="202" y="122"/>
                      <a:pt x="202" y="122"/>
                      <a:pt x="202" y="122"/>
                    </a:cubicBezTo>
                    <a:cubicBezTo>
                      <a:pt x="196" y="123"/>
                      <a:pt x="191" y="125"/>
                      <a:pt x="185" y="126"/>
                    </a:cubicBezTo>
                    <a:cubicBezTo>
                      <a:pt x="183" y="127"/>
                      <a:pt x="183" y="127"/>
                      <a:pt x="183" y="127"/>
                    </a:cubicBezTo>
                    <a:cubicBezTo>
                      <a:pt x="182" y="127"/>
                      <a:pt x="181" y="127"/>
                      <a:pt x="180" y="128"/>
                    </a:cubicBezTo>
                    <a:cubicBezTo>
                      <a:pt x="180" y="128"/>
                      <a:pt x="180" y="128"/>
                      <a:pt x="180" y="128"/>
                    </a:cubicBezTo>
                    <a:cubicBezTo>
                      <a:pt x="181" y="127"/>
                      <a:pt x="182" y="127"/>
                      <a:pt x="183" y="127"/>
                    </a:cubicBezTo>
                    <a:cubicBezTo>
                      <a:pt x="187" y="127"/>
                      <a:pt x="191" y="129"/>
                      <a:pt x="194" y="130"/>
                    </a:cubicBezTo>
                    <a:cubicBezTo>
                      <a:pt x="198" y="133"/>
                      <a:pt x="198" y="133"/>
                      <a:pt x="198" y="133"/>
                    </a:cubicBezTo>
                    <a:cubicBezTo>
                      <a:pt x="195" y="136"/>
                      <a:pt x="195" y="136"/>
                      <a:pt x="195" y="136"/>
                    </a:cubicBezTo>
                    <a:cubicBezTo>
                      <a:pt x="194" y="137"/>
                      <a:pt x="193" y="137"/>
                      <a:pt x="193" y="138"/>
                    </a:cubicBezTo>
                    <a:cubicBezTo>
                      <a:pt x="192" y="138"/>
                      <a:pt x="192" y="138"/>
                      <a:pt x="192" y="139"/>
                    </a:cubicBezTo>
                    <a:cubicBezTo>
                      <a:pt x="191" y="141"/>
                      <a:pt x="192" y="145"/>
                      <a:pt x="192" y="147"/>
                    </a:cubicBezTo>
                    <a:cubicBezTo>
                      <a:pt x="192" y="150"/>
                      <a:pt x="192" y="150"/>
                      <a:pt x="192" y="150"/>
                    </a:cubicBezTo>
                    <a:cubicBezTo>
                      <a:pt x="193" y="154"/>
                      <a:pt x="194" y="157"/>
                      <a:pt x="195" y="160"/>
                    </a:cubicBezTo>
                    <a:cubicBezTo>
                      <a:pt x="196" y="162"/>
                      <a:pt x="196" y="163"/>
                      <a:pt x="197" y="165"/>
                    </a:cubicBezTo>
                    <a:cubicBezTo>
                      <a:pt x="197" y="166"/>
                      <a:pt x="197" y="166"/>
                      <a:pt x="197" y="166"/>
                    </a:cubicBezTo>
                    <a:cubicBezTo>
                      <a:pt x="198" y="168"/>
                      <a:pt x="199" y="170"/>
                      <a:pt x="200" y="172"/>
                    </a:cubicBezTo>
                    <a:cubicBezTo>
                      <a:pt x="201" y="174"/>
                      <a:pt x="202" y="175"/>
                      <a:pt x="202" y="177"/>
                    </a:cubicBezTo>
                    <a:cubicBezTo>
                      <a:pt x="202" y="178"/>
                      <a:pt x="202" y="178"/>
                      <a:pt x="202" y="178"/>
                    </a:cubicBezTo>
                    <a:cubicBezTo>
                      <a:pt x="202" y="178"/>
                      <a:pt x="203" y="178"/>
                      <a:pt x="203" y="179"/>
                    </a:cubicBezTo>
                    <a:cubicBezTo>
                      <a:pt x="205" y="188"/>
                      <a:pt x="205" y="189"/>
                      <a:pt x="204" y="190"/>
                    </a:cubicBezTo>
                    <a:cubicBezTo>
                      <a:pt x="203" y="192"/>
                      <a:pt x="200" y="192"/>
                      <a:pt x="197" y="193"/>
                    </a:cubicBezTo>
                    <a:cubicBezTo>
                      <a:pt x="196" y="193"/>
                      <a:pt x="195" y="193"/>
                      <a:pt x="195" y="193"/>
                    </a:cubicBezTo>
                    <a:cubicBezTo>
                      <a:pt x="196" y="194"/>
                      <a:pt x="197" y="196"/>
                      <a:pt x="197" y="198"/>
                    </a:cubicBezTo>
                    <a:cubicBezTo>
                      <a:pt x="197" y="201"/>
                      <a:pt x="194" y="202"/>
                      <a:pt x="190" y="203"/>
                    </a:cubicBezTo>
                    <a:cubicBezTo>
                      <a:pt x="189" y="203"/>
                      <a:pt x="188" y="203"/>
                      <a:pt x="188" y="203"/>
                    </a:cubicBezTo>
                    <a:cubicBezTo>
                      <a:pt x="187" y="205"/>
                      <a:pt x="187" y="206"/>
                      <a:pt x="187" y="208"/>
                    </a:cubicBezTo>
                    <a:cubicBezTo>
                      <a:pt x="188" y="210"/>
                      <a:pt x="188" y="210"/>
                      <a:pt x="188" y="210"/>
                    </a:cubicBezTo>
                    <a:cubicBezTo>
                      <a:pt x="188" y="213"/>
                      <a:pt x="189" y="217"/>
                      <a:pt x="188" y="220"/>
                    </a:cubicBezTo>
                    <a:cubicBezTo>
                      <a:pt x="188" y="221"/>
                      <a:pt x="188" y="221"/>
                      <a:pt x="188" y="221"/>
                    </a:cubicBezTo>
                    <a:cubicBezTo>
                      <a:pt x="188" y="222"/>
                      <a:pt x="188" y="222"/>
                      <a:pt x="188" y="222"/>
                    </a:cubicBezTo>
                    <a:cubicBezTo>
                      <a:pt x="189" y="224"/>
                      <a:pt x="189" y="224"/>
                      <a:pt x="189" y="224"/>
                    </a:cubicBezTo>
                    <a:cubicBezTo>
                      <a:pt x="189" y="225"/>
                      <a:pt x="189" y="227"/>
                      <a:pt x="187" y="228"/>
                    </a:cubicBezTo>
                    <a:cubicBezTo>
                      <a:pt x="187" y="232"/>
                      <a:pt x="187" y="232"/>
                      <a:pt x="187" y="232"/>
                    </a:cubicBezTo>
                    <a:cubicBezTo>
                      <a:pt x="186" y="230"/>
                      <a:pt x="186" y="230"/>
                      <a:pt x="186" y="230"/>
                    </a:cubicBezTo>
                    <a:cubicBezTo>
                      <a:pt x="184" y="231"/>
                      <a:pt x="183" y="231"/>
                      <a:pt x="182" y="231"/>
                    </a:cubicBezTo>
                    <a:cubicBezTo>
                      <a:pt x="178" y="233"/>
                      <a:pt x="178" y="233"/>
                      <a:pt x="178" y="233"/>
                    </a:cubicBezTo>
                    <a:cubicBezTo>
                      <a:pt x="172" y="235"/>
                      <a:pt x="166" y="237"/>
                      <a:pt x="160" y="239"/>
                    </a:cubicBezTo>
                    <a:cubicBezTo>
                      <a:pt x="159" y="240"/>
                      <a:pt x="157" y="240"/>
                      <a:pt x="155" y="241"/>
                    </a:cubicBezTo>
                    <a:cubicBezTo>
                      <a:pt x="155" y="241"/>
                      <a:pt x="155" y="241"/>
                      <a:pt x="155" y="241"/>
                    </a:cubicBezTo>
                    <a:cubicBezTo>
                      <a:pt x="151" y="243"/>
                      <a:pt x="147" y="244"/>
                      <a:pt x="144" y="246"/>
                    </a:cubicBezTo>
                    <a:cubicBezTo>
                      <a:pt x="143" y="247"/>
                      <a:pt x="143" y="247"/>
                      <a:pt x="143" y="247"/>
                    </a:cubicBezTo>
                    <a:cubicBezTo>
                      <a:pt x="141" y="247"/>
                      <a:pt x="139" y="249"/>
                      <a:pt x="138" y="251"/>
                    </a:cubicBezTo>
                    <a:cubicBezTo>
                      <a:pt x="137" y="251"/>
                      <a:pt x="137" y="251"/>
                      <a:pt x="137" y="251"/>
                    </a:cubicBezTo>
                    <a:cubicBezTo>
                      <a:pt x="137" y="252"/>
                      <a:pt x="136" y="253"/>
                      <a:pt x="136" y="253"/>
                    </a:cubicBezTo>
                    <a:cubicBezTo>
                      <a:pt x="136" y="253"/>
                      <a:pt x="135" y="254"/>
                      <a:pt x="135" y="254"/>
                    </a:cubicBezTo>
                    <a:cubicBezTo>
                      <a:pt x="134" y="256"/>
                      <a:pt x="134" y="256"/>
                      <a:pt x="134" y="256"/>
                    </a:cubicBezTo>
                    <a:cubicBezTo>
                      <a:pt x="133" y="256"/>
                      <a:pt x="132" y="257"/>
                      <a:pt x="132" y="258"/>
                    </a:cubicBezTo>
                    <a:cubicBezTo>
                      <a:pt x="131" y="258"/>
                      <a:pt x="130" y="259"/>
                      <a:pt x="129" y="259"/>
                    </a:cubicBezTo>
                    <a:cubicBezTo>
                      <a:pt x="128" y="260"/>
                      <a:pt x="128" y="260"/>
                      <a:pt x="127" y="260"/>
                    </a:cubicBezTo>
                    <a:cubicBezTo>
                      <a:pt x="120" y="261"/>
                      <a:pt x="120" y="261"/>
                      <a:pt x="120" y="261"/>
                    </a:cubicBezTo>
                    <a:cubicBezTo>
                      <a:pt x="117" y="261"/>
                      <a:pt x="114" y="262"/>
                      <a:pt x="111" y="262"/>
                    </a:cubicBezTo>
                    <a:cubicBezTo>
                      <a:pt x="109" y="262"/>
                      <a:pt x="109" y="262"/>
                      <a:pt x="109" y="262"/>
                    </a:cubicBezTo>
                    <a:cubicBezTo>
                      <a:pt x="108" y="262"/>
                      <a:pt x="106" y="262"/>
                      <a:pt x="104" y="262"/>
                    </a:cubicBezTo>
                    <a:cubicBezTo>
                      <a:pt x="100" y="262"/>
                      <a:pt x="97" y="263"/>
                      <a:pt x="95" y="264"/>
                    </a:cubicBezTo>
                    <a:cubicBezTo>
                      <a:pt x="93" y="264"/>
                      <a:pt x="92" y="266"/>
                      <a:pt x="90" y="268"/>
                    </a:cubicBezTo>
                    <a:cubicBezTo>
                      <a:pt x="90" y="268"/>
                      <a:pt x="90" y="268"/>
                      <a:pt x="90" y="268"/>
                    </a:cubicBezTo>
                    <a:cubicBezTo>
                      <a:pt x="89" y="269"/>
                      <a:pt x="89" y="269"/>
                      <a:pt x="88" y="270"/>
                    </a:cubicBezTo>
                    <a:cubicBezTo>
                      <a:pt x="87" y="271"/>
                      <a:pt x="87" y="271"/>
                      <a:pt x="87" y="271"/>
                    </a:cubicBezTo>
                    <a:cubicBezTo>
                      <a:pt x="86" y="271"/>
                      <a:pt x="86" y="272"/>
                      <a:pt x="86" y="272"/>
                    </a:cubicBezTo>
                    <a:cubicBezTo>
                      <a:pt x="86" y="272"/>
                      <a:pt x="86" y="272"/>
                      <a:pt x="86" y="272"/>
                    </a:cubicBezTo>
                    <a:cubicBezTo>
                      <a:pt x="86" y="273"/>
                      <a:pt x="86" y="273"/>
                      <a:pt x="86" y="273"/>
                    </a:cubicBezTo>
                    <a:cubicBezTo>
                      <a:pt x="86" y="274"/>
                      <a:pt x="86" y="275"/>
                      <a:pt x="86" y="276"/>
                    </a:cubicBezTo>
                    <a:cubicBezTo>
                      <a:pt x="85" y="277"/>
                      <a:pt x="84" y="279"/>
                      <a:pt x="83" y="281"/>
                    </a:cubicBezTo>
                    <a:cubicBezTo>
                      <a:pt x="82" y="282"/>
                      <a:pt x="81" y="283"/>
                      <a:pt x="80" y="284"/>
                    </a:cubicBezTo>
                    <a:cubicBezTo>
                      <a:pt x="79" y="285"/>
                      <a:pt x="78" y="286"/>
                      <a:pt x="77" y="286"/>
                    </a:cubicBezTo>
                    <a:cubicBezTo>
                      <a:pt x="76" y="287"/>
                      <a:pt x="76" y="287"/>
                      <a:pt x="76" y="287"/>
                    </a:cubicBezTo>
                    <a:cubicBezTo>
                      <a:pt x="75" y="287"/>
                      <a:pt x="75" y="287"/>
                      <a:pt x="75" y="287"/>
                    </a:cubicBezTo>
                    <a:cubicBezTo>
                      <a:pt x="75" y="287"/>
                      <a:pt x="75" y="287"/>
                      <a:pt x="75" y="287"/>
                    </a:cubicBezTo>
                    <a:cubicBezTo>
                      <a:pt x="74" y="287"/>
                      <a:pt x="73" y="286"/>
                      <a:pt x="72" y="286"/>
                    </a:cubicBezTo>
                    <a:cubicBezTo>
                      <a:pt x="71" y="286"/>
                      <a:pt x="71" y="286"/>
                      <a:pt x="70" y="286"/>
                    </a:cubicBezTo>
                    <a:cubicBezTo>
                      <a:pt x="70" y="286"/>
                      <a:pt x="70" y="286"/>
                      <a:pt x="70" y="286"/>
                    </a:cubicBezTo>
                    <a:cubicBezTo>
                      <a:pt x="69" y="286"/>
                      <a:pt x="69" y="286"/>
                      <a:pt x="68" y="286"/>
                    </a:cubicBezTo>
                    <a:cubicBezTo>
                      <a:pt x="67" y="286"/>
                      <a:pt x="67" y="286"/>
                      <a:pt x="67" y="286"/>
                    </a:cubicBezTo>
                    <a:cubicBezTo>
                      <a:pt x="67" y="286"/>
                      <a:pt x="66" y="286"/>
                      <a:pt x="66" y="287"/>
                    </a:cubicBezTo>
                    <a:cubicBezTo>
                      <a:pt x="65" y="286"/>
                      <a:pt x="65" y="286"/>
                      <a:pt x="65" y="286"/>
                    </a:cubicBezTo>
                    <a:cubicBezTo>
                      <a:pt x="65" y="286"/>
                      <a:pt x="65" y="286"/>
                      <a:pt x="65" y="286"/>
                    </a:cubicBezTo>
                    <a:cubicBezTo>
                      <a:pt x="65" y="286"/>
                      <a:pt x="65" y="286"/>
                      <a:pt x="65" y="286"/>
                    </a:cubicBezTo>
                    <a:cubicBezTo>
                      <a:pt x="66" y="287"/>
                      <a:pt x="66" y="287"/>
                      <a:pt x="66" y="287"/>
                    </a:cubicBezTo>
                    <a:cubicBezTo>
                      <a:pt x="64" y="288"/>
                      <a:pt x="64" y="288"/>
                      <a:pt x="64" y="288"/>
                    </a:cubicBezTo>
                    <a:cubicBezTo>
                      <a:pt x="64" y="288"/>
                      <a:pt x="63" y="289"/>
                      <a:pt x="62" y="289"/>
                    </a:cubicBezTo>
                    <a:cubicBezTo>
                      <a:pt x="61" y="289"/>
                      <a:pt x="60" y="289"/>
                      <a:pt x="60" y="289"/>
                    </a:cubicBezTo>
                    <a:cubicBezTo>
                      <a:pt x="56" y="289"/>
                      <a:pt x="54" y="287"/>
                      <a:pt x="52" y="284"/>
                    </a:cubicBezTo>
                    <a:cubicBezTo>
                      <a:pt x="52" y="283"/>
                      <a:pt x="52" y="282"/>
                      <a:pt x="51" y="282"/>
                    </a:cubicBezTo>
                    <a:cubicBezTo>
                      <a:pt x="51" y="281"/>
                      <a:pt x="51" y="280"/>
                      <a:pt x="51" y="279"/>
                    </a:cubicBezTo>
                    <a:cubicBezTo>
                      <a:pt x="50" y="280"/>
                      <a:pt x="50" y="280"/>
                      <a:pt x="50" y="280"/>
                    </a:cubicBezTo>
                    <a:cubicBezTo>
                      <a:pt x="49" y="280"/>
                      <a:pt x="49" y="280"/>
                      <a:pt x="48" y="281"/>
                    </a:cubicBezTo>
                    <a:cubicBezTo>
                      <a:pt x="45" y="283"/>
                      <a:pt x="43" y="283"/>
                      <a:pt x="40" y="283"/>
                    </a:cubicBezTo>
                    <a:cubicBezTo>
                      <a:pt x="38" y="283"/>
                      <a:pt x="37" y="283"/>
                      <a:pt x="36" y="283"/>
                    </a:cubicBezTo>
                    <a:cubicBezTo>
                      <a:pt x="36" y="284"/>
                      <a:pt x="36" y="285"/>
                      <a:pt x="35" y="286"/>
                    </a:cubicBezTo>
                    <a:cubicBezTo>
                      <a:pt x="35" y="287"/>
                      <a:pt x="34" y="288"/>
                      <a:pt x="34" y="288"/>
                    </a:cubicBezTo>
                    <a:cubicBezTo>
                      <a:pt x="31" y="290"/>
                      <a:pt x="26" y="291"/>
                      <a:pt x="21" y="293"/>
                    </a:cubicBezTo>
                    <a:cubicBezTo>
                      <a:pt x="20" y="293"/>
                      <a:pt x="20" y="293"/>
                      <a:pt x="20" y="293"/>
                    </a:cubicBezTo>
                    <a:cubicBezTo>
                      <a:pt x="20" y="293"/>
                      <a:pt x="19" y="293"/>
                      <a:pt x="19" y="293"/>
                    </a:cubicBezTo>
                    <a:cubicBezTo>
                      <a:pt x="11" y="296"/>
                      <a:pt x="11" y="296"/>
                      <a:pt x="11" y="296"/>
                    </a:cubicBezTo>
                    <a:cubicBezTo>
                      <a:pt x="11" y="296"/>
                      <a:pt x="11" y="297"/>
                      <a:pt x="11" y="298"/>
                    </a:cubicBezTo>
                    <a:cubicBezTo>
                      <a:pt x="11" y="299"/>
                      <a:pt x="10" y="300"/>
                      <a:pt x="10" y="300"/>
                    </a:cubicBezTo>
                    <a:cubicBezTo>
                      <a:pt x="10" y="302"/>
                      <a:pt x="10" y="302"/>
                      <a:pt x="10" y="302"/>
                    </a:cubicBezTo>
                    <a:cubicBezTo>
                      <a:pt x="10" y="302"/>
                      <a:pt x="10" y="302"/>
                      <a:pt x="10" y="302"/>
                    </a:cubicBezTo>
                    <a:cubicBezTo>
                      <a:pt x="9" y="308"/>
                      <a:pt x="9" y="308"/>
                      <a:pt x="9" y="308"/>
                    </a:cubicBezTo>
                    <a:cubicBezTo>
                      <a:pt x="9" y="310"/>
                      <a:pt x="8" y="311"/>
                      <a:pt x="7" y="312"/>
                    </a:cubicBezTo>
                    <a:cubicBezTo>
                      <a:pt x="6" y="313"/>
                      <a:pt x="6" y="313"/>
                      <a:pt x="5" y="314"/>
                    </a:cubicBezTo>
                    <a:cubicBezTo>
                      <a:pt x="4" y="315"/>
                      <a:pt x="4" y="315"/>
                      <a:pt x="4" y="315"/>
                    </a:cubicBezTo>
                    <a:cubicBezTo>
                      <a:pt x="3" y="315"/>
                      <a:pt x="3" y="315"/>
                      <a:pt x="2" y="315"/>
                    </a:cubicBezTo>
                    <a:cubicBezTo>
                      <a:pt x="1" y="316"/>
                      <a:pt x="1" y="316"/>
                      <a:pt x="1" y="316"/>
                    </a:cubicBezTo>
                    <a:cubicBezTo>
                      <a:pt x="1" y="316"/>
                      <a:pt x="1" y="316"/>
                      <a:pt x="1" y="316"/>
                    </a:cubicBezTo>
                    <a:cubicBezTo>
                      <a:pt x="0" y="321"/>
                      <a:pt x="0" y="321"/>
                      <a:pt x="0" y="321"/>
                    </a:cubicBezTo>
                    <a:cubicBezTo>
                      <a:pt x="1" y="322"/>
                      <a:pt x="1" y="322"/>
                      <a:pt x="1" y="322"/>
                    </a:cubicBezTo>
                    <a:cubicBezTo>
                      <a:pt x="1" y="322"/>
                      <a:pt x="1" y="322"/>
                      <a:pt x="1" y="322"/>
                    </a:cubicBezTo>
                    <a:cubicBezTo>
                      <a:pt x="2" y="323"/>
                      <a:pt x="2" y="323"/>
                      <a:pt x="2" y="323"/>
                    </a:cubicBezTo>
                    <a:cubicBezTo>
                      <a:pt x="3" y="324"/>
                      <a:pt x="3" y="324"/>
                      <a:pt x="3" y="324"/>
                    </a:cubicBezTo>
                    <a:cubicBezTo>
                      <a:pt x="2" y="324"/>
                      <a:pt x="2" y="324"/>
                      <a:pt x="2" y="324"/>
                    </a:cubicBezTo>
                    <a:cubicBezTo>
                      <a:pt x="3" y="325"/>
                      <a:pt x="3" y="325"/>
                      <a:pt x="3" y="325"/>
                    </a:cubicBezTo>
                    <a:cubicBezTo>
                      <a:pt x="4" y="325"/>
                      <a:pt x="4" y="325"/>
                      <a:pt x="4" y="325"/>
                    </a:cubicBezTo>
                    <a:cubicBezTo>
                      <a:pt x="4" y="326"/>
                      <a:pt x="5" y="327"/>
                      <a:pt x="5" y="327"/>
                    </a:cubicBezTo>
                    <a:cubicBezTo>
                      <a:pt x="6" y="328"/>
                      <a:pt x="6" y="328"/>
                      <a:pt x="6" y="328"/>
                    </a:cubicBezTo>
                    <a:cubicBezTo>
                      <a:pt x="6" y="329"/>
                      <a:pt x="6" y="331"/>
                      <a:pt x="5" y="333"/>
                    </a:cubicBezTo>
                    <a:cubicBezTo>
                      <a:pt x="5" y="334"/>
                      <a:pt x="5" y="334"/>
                      <a:pt x="5" y="334"/>
                    </a:cubicBezTo>
                    <a:cubicBezTo>
                      <a:pt x="3" y="334"/>
                      <a:pt x="3" y="334"/>
                      <a:pt x="3" y="334"/>
                    </a:cubicBezTo>
                    <a:cubicBezTo>
                      <a:pt x="3" y="335"/>
                      <a:pt x="3" y="335"/>
                      <a:pt x="3" y="335"/>
                    </a:cubicBezTo>
                    <a:cubicBezTo>
                      <a:pt x="4" y="335"/>
                      <a:pt x="4" y="335"/>
                      <a:pt x="4" y="335"/>
                    </a:cubicBezTo>
                    <a:cubicBezTo>
                      <a:pt x="4" y="337"/>
                      <a:pt x="4" y="338"/>
                      <a:pt x="4" y="338"/>
                    </a:cubicBezTo>
                    <a:cubicBezTo>
                      <a:pt x="5" y="338"/>
                      <a:pt x="5" y="338"/>
                      <a:pt x="6" y="338"/>
                    </a:cubicBezTo>
                    <a:cubicBezTo>
                      <a:pt x="7" y="337"/>
                      <a:pt x="7" y="337"/>
                      <a:pt x="7" y="337"/>
                    </a:cubicBezTo>
                    <a:cubicBezTo>
                      <a:pt x="9" y="337"/>
                      <a:pt x="11" y="337"/>
                      <a:pt x="13" y="336"/>
                    </a:cubicBezTo>
                    <a:cubicBezTo>
                      <a:pt x="14" y="336"/>
                      <a:pt x="14" y="336"/>
                      <a:pt x="14" y="336"/>
                    </a:cubicBezTo>
                    <a:cubicBezTo>
                      <a:pt x="14" y="336"/>
                      <a:pt x="14" y="336"/>
                      <a:pt x="14" y="336"/>
                    </a:cubicBezTo>
                    <a:cubicBezTo>
                      <a:pt x="15" y="336"/>
                      <a:pt x="16" y="336"/>
                      <a:pt x="17" y="337"/>
                    </a:cubicBezTo>
                    <a:cubicBezTo>
                      <a:pt x="19" y="337"/>
                      <a:pt x="21" y="338"/>
                      <a:pt x="22" y="338"/>
                    </a:cubicBezTo>
                    <a:cubicBezTo>
                      <a:pt x="24" y="339"/>
                      <a:pt x="25" y="340"/>
                      <a:pt x="26" y="341"/>
                    </a:cubicBezTo>
                    <a:cubicBezTo>
                      <a:pt x="27" y="341"/>
                      <a:pt x="27" y="341"/>
                      <a:pt x="27" y="341"/>
                    </a:cubicBezTo>
                    <a:cubicBezTo>
                      <a:pt x="27" y="342"/>
                      <a:pt x="28" y="342"/>
                      <a:pt x="28" y="343"/>
                    </a:cubicBezTo>
                    <a:cubicBezTo>
                      <a:pt x="30" y="344"/>
                      <a:pt x="30" y="344"/>
                      <a:pt x="30" y="344"/>
                    </a:cubicBezTo>
                    <a:cubicBezTo>
                      <a:pt x="33" y="346"/>
                      <a:pt x="35" y="347"/>
                      <a:pt x="36" y="352"/>
                    </a:cubicBezTo>
                    <a:cubicBezTo>
                      <a:pt x="36" y="357"/>
                      <a:pt x="37" y="362"/>
                      <a:pt x="38" y="366"/>
                    </a:cubicBezTo>
                    <a:cubicBezTo>
                      <a:pt x="38" y="368"/>
                      <a:pt x="38" y="368"/>
                      <a:pt x="38" y="368"/>
                    </a:cubicBezTo>
                    <a:cubicBezTo>
                      <a:pt x="38" y="370"/>
                      <a:pt x="39" y="371"/>
                      <a:pt x="39" y="372"/>
                    </a:cubicBezTo>
                    <a:cubicBezTo>
                      <a:pt x="39" y="375"/>
                      <a:pt x="39" y="375"/>
                      <a:pt x="39" y="375"/>
                    </a:cubicBezTo>
                    <a:cubicBezTo>
                      <a:pt x="39" y="375"/>
                      <a:pt x="41" y="377"/>
                      <a:pt x="43" y="378"/>
                    </a:cubicBezTo>
                    <a:cubicBezTo>
                      <a:pt x="46" y="381"/>
                      <a:pt x="46" y="381"/>
                      <a:pt x="46" y="381"/>
                    </a:cubicBezTo>
                    <a:cubicBezTo>
                      <a:pt x="43" y="384"/>
                      <a:pt x="43" y="384"/>
                      <a:pt x="43" y="384"/>
                    </a:cubicBezTo>
                    <a:cubicBezTo>
                      <a:pt x="42" y="385"/>
                      <a:pt x="41" y="386"/>
                      <a:pt x="39" y="387"/>
                    </a:cubicBezTo>
                    <a:cubicBezTo>
                      <a:pt x="52" y="385"/>
                      <a:pt x="52" y="385"/>
                      <a:pt x="52" y="385"/>
                    </a:cubicBezTo>
                    <a:cubicBezTo>
                      <a:pt x="36" y="392"/>
                      <a:pt x="36" y="392"/>
                      <a:pt x="36" y="392"/>
                    </a:cubicBezTo>
                    <a:cubicBezTo>
                      <a:pt x="37" y="392"/>
                      <a:pt x="37" y="392"/>
                      <a:pt x="37" y="392"/>
                    </a:cubicBezTo>
                    <a:cubicBezTo>
                      <a:pt x="40" y="392"/>
                      <a:pt x="42" y="392"/>
                      <a:pt x="46" y="394"/>
                    </a:cubicBezTo>
                    <a:cubicBezTo>
                      <a:pt x="48" y="395"/>
                      <a:pt x="50" y="396"/>
                      <a:pt x="52" y="397"/>
                    </a:cubicBezTo>
                    <a:cubicBezTo>
                      <a:pt x="53" y="398"/>
                      <a:pt x="54" y="399"/>
                      <a:pt x="55" y="399"/>
                    </a:cubicBezTo>
                    <a:cubicBezTo>
                      <a:pt x="56" y="400"/>
                      <a:pt x="56" y="400"/>
                      <a:pt x="57" y="400"/>
                    </a:cubicBezTo>
                    <a:cubicBezTo>
                      <a:pt x="58" y="400"/>
                      <a:pt x="58" y="400"/>
                      <a:pt x="58" y="400"/>
                    </a:cubicBezTo>
                    <a:cubicBezTo>
                      <a:pt x="61" y="402"/>
                      <a:pt x="64" y="405"/>
                      <a:pt x="66" y="409"/>
                    </a:cubicBezTo>
                    <a:cubicBezTo>
                      <a:pt x="67" y="411"/>
                      <a:pt x="68" y="412"/>
                      <a:pt x="68" y="414"/>
                    </a:cubicBezTo>
                    <a:cubicBezTo>
                      <a:pt x="68" y="416"/>
                      <a:pt x="69" y="417"/>
                      <a:pt x="68" y="419"/>
                    </a:cubicBezTo>
                    <a:cubicBezTo>
                      <a:pt x="68" y="421"/>
                      <a:pt x="68" y="422"/>
                      <a:pt x="67" y="423"/>
                    </a:cubicBezTo>
                    <a:cubicBezTo>
                      <a:pt x="66" y="424"/>
                      <a:pt x="66" y="424"/>
                      <a:pt x="66" y="424"/>
                    </a:cubicBezTo>
                    <a:cubicBezTo>
                      <a:pt x="67" y="425"/>
                      <a:pt x="67" y="425"/>
                      <a:pt x="67" y="425"/>
                    </a:cubicBezTo>
                    <a:cubicBezTo>
                      <a:pt x="69" y="426"/>
                      <a:pt x="69" y="427"/>
                      <a:pt x="70" y="428"/>
                    </a:cubicBezTo>
                    <a:cubicBezTo>
                      <a:pt x="70" y="429"/>
                      <a:pt x="71" y="429"/>
                      <a:pt x="71" y="429"/>
                    </a:cubicBezTo>
                    <a:cubicBezTo>
                      <a:pt x="71" y="429"/>
                      <a:pt x="71" y="429"/>
                      <a:pt x="71" y="429"/>
                    </a:cubicBezTo>
                    <a:cubicBezTo>
                      <a:pt x="71" y="430"/>
                      <a:pt x="71" y="430"/>
                      <a:pt x="71" y="430"/>
                    </a:cubicBezTo>
                    <a:cubicBezTo>
                      <a:pt x="72" y="430"/>
                      <a:pt x="72" y="430"/>
                      <a:pt x="72" y="430"/>
                    </a:cubicBezTo>
                    <a:cubicBezTo>
                      <a:pt x="75" y="429"/>
                      <a:pt x="77" y="429"/>
                      <a:pt x="77" y="428"/>
                    </a:cubicBezTo>
                    <a:cubicBezTo>
                      <a:pt x="81" y="423"/>
                      <a:pt x="81" y="423"/>
                      <a:pt x="81" y="423"/>
                    </a:cubicBezTo>
                    <a:cubicBezTo>
                      <a:pt x="83" y="430"/>
                      <a:pt x="83" y="430"/>
                      <a:pt x="83" y="430"/>
                    </a:cubicBezTo>
                    <a:cubicBezTo>
                      <a:pt x="83" y="430"/>
                      <a:pt x="84" y="431"/>
                      <a:pt x="84" y="431"/>
                    </a:cubicBezTo>
                    <a:cubicBezTo>
                      <a:pt x="84" y="432"/>
                      <a:pt x="84" y="432"/>
                      <a:pt x="84" y="432"/>
                    </a:cubicBezTo>
                    <a:cubicBezTo>
                      <a:pt x="84" y="432"/>
                      <a:pt x="84" y="432"/>
                      <a:pt x="84" y="432"/>
                    </a:cubicBezTo>
                    <a:cubicBezTo>
                      <a:pt x="84" y="433"/>
                      <a:pt x="84" y="433"/>
                      <a:pt x="84" y="433"/>
                    </a:cubicBezTo>
                    <a:cubicBezTo>
                      <a:pt x="85" y="434"/>
                      <a:pt x="86" y="435"/>
                      <a:pt x="88" y="436"/>
                    </a:cubicBezTo>
                    <a:cubicBezTo>
                      <a:pt x="93" y="439"/>
                      <a:pt x="100" y="439"/>
                      <a:pt x="107" y="439"/>
                    </a:cubicBezTo>
                    <a:cubicBezTo>
                      <a:pt x="110" y="440"/>
                      <a:pt x="113" y="440"/>
                      <a:pt x="115" y="440"/>
                    </a:cubicBezTo>
                    <a:cubicBezTo>
                      <a:pt x="116" y="440"/>
                      <a:pt x="116" y="440"/>
                      <a:pt x="116" y="440"/>
                    </a:cubicBezTo>
                    <a:cubicBezTo>
                      <a:pt x="117" y="440"/>
                      <a:pt x="117" y="440"/>
                      <a:pt x="117" y="440"/>
                    </a:cubicBezTo>
                    <a:cubicBezTo>
                      <a:pt x="119" y="439"/>
                      <a:pt x="121" y="438"/>
                      <a:pt x="124" y="437"/>
                    </a:cubicBezTo>
                    <a:cubicBezTo>
                      <a:pt x="125" y="436"/>
                      <a:pt x="125" y="436"/>
                      <a:pt x="125" y="436"/>
                    </a:cubicBezTo>
                    <a:cubicBezTo>
                      <a:pt x="126" y="440"/>
                      <a:pt x="126" y="440"/>
                      <a:pt x="126" y="440"/>
                    </a:cubicBezTo>
                    <a:cubicBezTo>
                      <a:pt x="125" y="440"/>
                      <a:pt x="125" y="440"/>
                      <a:pt x="125" y="440"/>
                    </a:cubicBezTo>
                    <a:cubicBezTo>
                      <a:pt x="123" y="441"/>
                      <a:pt x="121" y="442"/>
                      <a:pt x="118" y="443"/>
                    </a:cubicBezTo>
                    <a:cubicBezTo>
                      <a:pt x="118" y="443"/>
                      <a:pt x="117" y="443"/>
                      <a:pt x="117" y="443"/>
                    </a:cubicBezTo>
                    <a:cubicBezTo>
                      <a:pt x="116" y="444"/>
                      <a:pt x="116" y="444"/>
                      <a:pt x="116" y="444"/>
                    </a:cubicBezTo>
                    <a:cubicBezTo>
                      <a:pt x="116" y="444"/>
                      <a:pt x="116" y="444"/>
                      <a:pt x="116" y="444"/>
                    </a:cubicBezTo>
                    <a:cubicBezTo>
                      <a:pt x="116" y="444"/>
                      <a:pt x="119" y="443"/>
                      <a:pt x="121" y="443"/>
                    </a:cubicBezTo>
                    <a:cubicBezTo>
                      <a:pt x="121" y="443"/>
                      <a:pt x="122" y="443"/>
                      <a:pt x="122" y="443"/>
                    </a:cubicBezTo>
                    <a:cubicBezTo>
                      <a:pt x="122" y="443"/>
                      <a:pt x="123" y="444"/>
                      <a:pt x="123" y="444"/>
                    </a:cubicBezTo>
                    <a:cubicBezTo>
                      <a:pt x="123" y="444"/>
                      <a:pt x="123" y="445"/>
                      <a:pt x="123" y="445"/>
                    </a:cubicBezTo>
                    <a:cubicBezTo>
                      <a:pt x="123" y="447"/>
                      <a:pt x="122" y="449"/>
                      <a:pt x="122" y="450"/>
                    </a:cubicBezTo>
                    <a:cubicBezTo>
                      <a:pt x="122" y="451"/>
                      <a:pt x="122" y="453"/>
                      <a:pt x="123" y="454"/>
                    </a:cubicBezTo>
                    <a:cubicBezTo>
                      <a:pt x="124" y="456"/>
                      <a:pt x="125" y="457"/>
                      <a:pt x="126" y="459"/>
                    </a:cubicBezTo>
                    <a:cubicBezTo>
                      <a:pt x="126" y="460"/>
                      <a:pt x="126" y="460"/>
                      <a:pt x="126" y="461"/>
                    </a:cubicBezTo>
                    <a:cubicBezTo>
                      <a:pt x="127" y="463"/>
                      <a:pt x="128" y="466"/>
                      <a:pt x="129" y="468"/>
                    </a:cubicBezTo>
                    <a:cubicBezTo>
                      <a:pt x="129" y="469"/>
                      <a:pt x="129" y="469"/>
                      <a:pt x="129" y="469"/>
                    </a:cubicBezTo>
                    <a:cubicBezTo>
                      <a:pt x="130" y="471"/>
                      <a:pt x="132" y="473"/>
                      <a:pt x="135" y="475"/>
                    </a:cubicBezTo>
                    <a:cubicBezTo>
                      <a:pt x="137" y="476"/>
                      <a:pt x="140" y="477"/>
                      <a:pt x="142" y="478"/>
                    </a:cubicBezTo>
                    <a:cubicBezTo>
                      <a:pt x="145" y="479"/>
                      <a:pt x="147" y="480"/>
                      <a:pt x="149" y="481"/>
                    </a:cubicBezTo>
                    <a:cubicBezTo>
                      <a:pt x="149" y="482"/>
                      <a:pt x="148" y="483"/>
                      <a:pt x="148" y="484"/>
                    </a:cubicBezTo>
                    <a:cubicBezTo>
                      <a:pt x="143" y="488"/>
                      <a:pt x="143" y="488"/>
                      <a:pt x="143" y="488"/>
                    </a:cubicBezTo>
                    <a:cubicBezTo>
                      <a:pt x="143" y="489"/>
                      <a:pt x="143" y="489"/>
                      <a:pt x="143" y="489"/>
                    </a:cubicBezTo>
                    <a:cubicBezTo>
                      <a:pt x="142" y="490"/>
                      <a:pt x="142" y="491"/>
                      <a:pt x="142" y="492"/>
                    </a:cubicBezTo>
                    <a:cubicBezTo>
                      <a:pt x="142" y="493"/>
                      <a:pt x="143" y="494"/>
                      <a:pt x="143" y="495"/>
                    </a:cubicBezTo>
                    <a:cubicBezTo>
                      <a:pt x="143" y="496"/>
                      <a:pt x="143" y="496"/>
                      <a:pt x="143" y="496"/>
                    </a:cubicBezTo>
                    <a:cubicBezTo>
                      <a:pt x="144" y="497"/>
                      <a:pt x="144" y="498"/>
                      <a:pt x="144" y="499"/>
                    </a:cubicBezTo>
                    <a:cubicBezTo>
                      <a:pt x="147" y="496"/>
                      <a:pt x="147" y="496"/>
                      <a:pt x="147" y="496"/>
                    </a:cubicBezTo>
                    <a:cubicBezTo>
                      <a:pt x="148" y="501"/>
                      <a:pt x="148" y="501"/>
                      <a:pt x="148" y="501"/>
                    </a:cubicBezTo>
                    <a:cubicBezTo>
                      <a:pt x="148" y="501"/>
                      <a:pt x="148" y="501"/>
                      <a:pt x="148" y="501"/>
                    </a:cubicBezTo>
                    <a:cubicBezTo>
                      <a:pt x="150" y="506"/>
                      <a:pt x="150" y="506"/>
                      <a:pt x="150" y="506"/>
                    </a:cubicBezTo>
                    <a:cubicBezTo>
                      <a:pt x="151" y="508"/>
                      <a:pt x="151" y="508"/>
                      <a:pt x="151" y="508"/>
                    </a:cubicBezTo>
                    <a:cubicBezTo>
                      <a:pt x="151" y="509"/>
                      <a:pt x="151" y="509"/>
                      <a:pt x="151" y="509"/>
                    </a:cubicBezTo>
                    <a:cubicBezTo>
                      <a:pt x="152" y="510"/>
                      <a:pt x="152" y="510"/>
                      <a:pt x="152" y="510"/>
                    </a:cubicBezTo>
                    <a:cubicBezTo>
                      <a:pt x="154" y="511"/>
                      <a:pt x="156" y="513"/>
                      <a:pt x="158" y="514"/>
                    </a:cubicBezTo>
                    <a:cubicBezTo>
                      <a:pt x="159" y="514"/>
                      <a:pt x="159" y="514"/>
                      <a:pt x="159" y="514"/>
                    </a:cubicBezTo>
                    <a:cubicBezTo>
                      <a:pt x="160" y="514"/>
                      <a:pt x="163" y="515"/>
                      <a:pt x="164" y="518"/>
                    </a:cubicBezTo>
                    <a:cubicBezTo>
                      <a:pt x="164" y="518"/>
                      <a:pt x="165" y="519"/>
                      <a:pt x="165" y="521"/>
                    </a:cubicBezTo>
                    <a:cubicBezTo>
                      <a:pt x="165" y="524"/>
                      <a:pt x="165" y="524"/>
                      <a:pt x="165" y="524"/>
                    </a:cubicBezTo>
                    <a:cubicBezTo>
                      <a:pt x="165" y="525"/>
                      <a:pt x="165" y="526"/>
                      <a:pt x="166" y="527"/>
                    </a:cubicBezTo>
                    <a:cubicBezTo>
                      <a:pt x="166" y="528"/>
                      <a:pt x="166" y="528"/>
                      <a:pt x="166" y="528"/>
                    </a:cubicBezTo>
                    <a:cubicBezTo>
                      <a:pt x="166" y="528"/>
                      <a:pt x="166" y="528"/>
                      <a:pt x="166" y="528"/>
                    </a:cubicBezTo>
                    <a:cubicBezTo>
                      <a:pt x="166" y="528"/>
                      <a:pt x="166" y="528"/>
                      <a:pt x="166" y="528"/>
                    </a:cubicBezTo>
                    <a:cubicBezTo>
                      <a:pt x="170" y="530"/>
                      <a:pt x="170" y="530"/>
                      <a:pt x="170" y="530"/>
                    </a:cubicBezTo>
                    <a:cubicBezTo>
                      <a:pt x="167" y="533"/>
                      <a:pt x="167" y="533"/>
                      <a:pt x="167" y="533"/>
                    </a:cubicBezTo>
                    <a:cubicBezTo>
                      <a:pt x="162" y="540"/>
                      <a:pt x="156" y="547"/>
                      <a:pt x="150" y="547"/>
                    </a:cubicBezTo>
                    <a:cubicBezTo>
                      <a:pt x="149" y="547"/>
                      <a:pt x="149" y="547"/>
                      <a:pt x="149" y="547"/>
                    </a:cubicBezTo>
                    <a:cubicBezTo>
                      <a:pt x="148" y="547"/>
                      <a:pt x="148" y="547"/>
                      <a:pt x="148" y="547"/>
                    </a:cubicBezTo>
                    <a:cubicBezTo>
                      <a:pt x="144" y="546"/>
                      <a:pt x="141" y="542"/>
                      <a:pt x="140" y="540"/>
                    </a:cubicBezTo>
                    <a:cubicBezTo>
                      <a:pt x="140" y="540"/>
                      <a:pt x="140" y="540"/>
                      <a:pt x="140" y="540"/>
                    </a:cubicBezTo>
                    <a:cubicBezTo>
                      <a:pt x="138" y="540"/>
                      <a:pt x="138" y="540"/>
                      <a:pt x="138" y="540"/>
                    </a:cubicBezTo>
                    <a:cubicBezTo>
                      <a:pt x="138" y="540"/>
                      <a:pt x="137" y="541"/>
                      <a:pt x="136" y="541"/>
                    </a:cubicBezTo>
                    <a:cubicBezTo>
                      <a:pt x="137" y="544"/>
                      <a:pt x="138" y="546"/>
                      <a:pt x="140" y="549"/>
                    </a:cubicBezTo>
                    <a:cubicBezTo>
                      <a:pt x="141" y="550"/>
                      <a:pt x="143" y="553"/>
                      <a:pt x="144" y="554"/>
                    </a:cubicBezTo>
                    <a:cubicBezTo>
                      <a:pt x="145" y="556"/>
                      <a:pt x="146" y="557"/>
                      <a:pt x="146" y="559"/>
                    </a:cubicBezTo>
                    <a:cubicBezTo>
                      <a:pt x="146" y="559"/>
                      <a:pt x="146" y="560"/>
                      <a:pt x="145" y="561"/>
                    </a:cubicBezTo>
                    <a:cubicBezTo>
                      <a:pt x="146" y="563"/>
                      <a:pt x="145" y="566"/>
                      <a:pt x="145" y="569"/>
                    </a:cubicBezTo>
                    <a:cubicBezTo>
                      <a:pt x="145" y="570"/>
                      <a:pt x="145" y="570"/>
                      <a:pt x="145" y="570"/>
                    </a:cubicBezTo>
                    <a:cubicBezTo>
                      <a:pt x="145" y="570"/>
                      <a:pt x="145" y="570"/>
                      <a:pt x="145" y="570"/>
                    </a:cubicBezTo>
                    <a:cubicBezTo>
                      <a:pt x="145" y="570"/>
                      <a:pt x="146" y="571"/>
                      <a:pt x="146" y="573"/>
                    </a:cubicBezTo>
                    <a:cubicBezTo>
                      <a:pt x="146" y="573"/>
                      <a:pt x="146" y="573"/>
                      <a:pt x="146" y="573"/>
                    </a:cubicBezTo>
                    <a:cubicBezTo>
                      <a:pt x="148" y="571"/>
                      <a:pt x="150" y="570"/>
                      <a:pt x="152" y="570"/>
                    </a:cubicBezTo>
                    <a:cubicBezTo>
                      <a:pt x="153" y="570"/>
                      <a:pt x="153" y="570"/>
                      <a:pt x="154" y="570"/>
                    </a:cubicBezTo>
                    <a:cubicBezTo>
                      <a:pt x="155" y="570"/>
                      <a:pt x="156" y="571"/>
                      <a:pt x="157" y="572"/>
                    </a:cubicBezTo>
                    <a:cubicBezTo>
                      <a:pt x="157" y="573"/>
                      <a:pt x="158" y="573"/>
                      <a:pt x="158" y="574"/>
                    </a:cubicBezTo>
                    <a:cubicBezTo>
                      <a:pt x="164" y="571"/>
                      <a:pt x="164" y="571"/>
                      <a:pt x="164" y="571"/>
                    </a:cubicBezTo>
                    <a:cubicBezTo>
                      <a:pt x="159" y="575"/>
                      <a:pt x="159" y="575"/>
                      <a:pt x="159" y="575"/>
                    </a:cubicBezTo>
                    <a:cubicBezTo>
                      <a:pt x="160" y="576"/>
                      <a:pt x="161" y="578"/>
                      <a:pt x="162" y="579"/>
                    </a:cubicBezTo>
                    <a:cubicBezTo>
                      <a:pt x="162" y="579"/>
                      <a:pt x="162" y="579"/>
                      <a:pt x="162" y="579"/>
                    </a:cubicBezTo>
                    <a:cubicBezTo>
                      <a:pt x="162" y="580"/>
                      <a:pt x="163" y="581"/>
                      <a:pt x="163" y="581"/>
                    </a:cubicBezTo>
                    <a:cubicBezTo>
                      <a:pt x="164" y="581"/>
                      <a:pt x="164" y="582"/>
                      <a:pt x="164" y="583"/>
                    </a:cubicBezTo>
                    <a:cubicBezTo>
                      <a:pt x="165" y="583"/>
                      <a:pt x="165" y="583"/>
                      <a:pt x="166" y="583"/>
                    </a:cubicBezTo>
                    <a:cubicBezTo>
                      <a:pt x="167" y="584"/>
                      <a:pt x="168" y="584"/>
                      <a:pt x="169" y="584"/>
                    </a:cubicBezTo>
                    <a:cubicBezTo>
                      <a:pt x="173" y="585"/>
                      <a:pt x="179" y="587"/>
                      <a:pt x="183" y="589"/>
                    </a:cubicBezTo>
                    <a:cubicBezTo>
                      <a:pt x="185" y="590"/>
                      <a:pt x="186" y="591"/>
                      <a:pt x="187" y="592"/>
                    </a:cubicBezTo>
                    <a:cubicBezTo>
                      <a:pt x="188" y="591"/>
                      <a:pt x="188" y="591"/>
                      <a:pt x="188" y="591"/>
                    </a:cubicBezTo>
                    <a:cubicBezTo>
                      <a:pt x="187" y="592"/>
                      <a:pt x="187" y="592"/>
                      <a:pt x="187" y="592"/>
                    </a:cubicBezTo>
                    <a:cubicBezTo>
                      <a:pt x="188" y="593"/>
                      <a:pt x="188" y="593"/>
                      <a:pt x="188" y="594"/>
                    </a:cubicBezTo>
                    <a:cubicBezTo>
                      <a:pt x="189" y="595"/>
                      <a:pt x="189" y="596"/>
                      <a:pt x="188" y="598"/>
                    </a:cubicBezTo>
                    <a:cubicBezTo>
                      <a:pt x="207" y="607"/>
                      <a:pt x="207" y="607"/>
                      <a:pt x="207" y="607"/>
                    </a:cubicBezTo>
                    <a:cubicBezTo>
                      <a:pt x="207" y="607"/>
                      <a:pt x="207" y="607"/>
                      <a:pt x="207" y="607"/>
                    </a:cubicBezTo>
                    <a:cubicBezTo>
                      <a:pt x="212" y="612"/>
                      <a:pt x="212" y="612"/>
                      <a:pt x="212" y="612"/>
                    </a:cubicBezTo>
                    <a:cubicBezTo>
                      <a:pt x="213" y="610"/>
                      <a:pt x="214" y="608"/>
                      <a:pt x="215" y="607"/>
                    </a:cubicBezTo>
                    <a:cubicBezTo>
                      <a:pt x="215" y="606"/>
                      <a:pt x="215" y="606"/>
                      <a:pt x="215" y="606"/>
                    </a:cubicBezTo>
                    <a:cubicBezTo>
                      <a:pt x="215" y="606"/>
                      <a:pt x="216" y="605"/>
                      <a:pt x="216" y="605"/>
                    </a:cubicBezTo>
                    <a:cubicBezTo>
                      <a:pt x="216" y="604"/>
                      <a:pt x="217" y="604"/>
                      <a:pt x="217" y="603"/>
                    </a:cubicBezTo>
                    <a:cubicBezTo>
                      <a:pt x="218" y="603"/>
                      <a:pt x="218" y="603"/>
                      <a:pt x="218" y="603"/>
                    </a:cubicBezTo>
                    <a:cubicBezTo>
                      <a:pt x="219" y="602"/>
                      <a:pt x="221" y="601"/>
                      <a:pt x="223" y="601"/>
                    </a:cubicBezTo>
                    <a:cubicBezTo>
                      <a:pt x="224" y="601"/>
                      <a:pt x="225" y="602"/>
                      <a:pt x="226" y="602"/>
                    </a:cubicBezTo>
                    <a:cubicBezTo>
                      <a:pt x="230" y="602"/>
                      <a:pt x="235" y="603"/>
                      <a:pt x="238" y="604"/>
                    </a:cubicBezTo>
                    <a:cubicBezTo>
                      <a:pt x="240" y="606"/>
                      <a:pt x="241" y="609"/>
                      <a:pt x="241" y="610"/>
                    </a:cubicBezTo>
                    <a:cubicBezTo>
                      <a:pt x="242" y="611"/>
                      <a:pt x="242" y="612"/>
                      <a:pt x="242" y="612"/>
                    </a:cubicBezTo>
                    <a:cubicBezTo>
                      <a:pt x="243" y="613"/>
                      <a:pt x="244" y="614"/>
                      <a:pt x="245" y="614"/>
                    </a:cubicBezTo>
                    <a:cubicBezTo>
                      <a:pt x="246" y="614"/>
                      <a:pt x="246" y="614"/>
                      <a:pt x="246" y="614"/>
                    </a:cubicBezTo>
                    <a:cubicBezTo>
                      <a:pt x="247" y="615"/>
                      <a:pt x="248" y="615"/>
                      <a:pt x="248" y="616"/>
                    </a:cubicBezTo>
                    <a:cubicBezTo>
                      <a:pt x="250" y="616"/>
                      <a:pt x="250" y="616"/>
                      <a:pt x="250" y="616"/>
                    </a:cubicBezTo>
                    <a:cubicBezTo>
                      <a:pt x="252" y="617"/>
                      <a:pt x="253" y="618"/>
                      <a:pt x="255" y="619"/>
                    </a:cubicBezTo>
                    <a:cubicBezTo>
                      <a:pt x="256" y="620"/>
                      <a:pt x="257" y="621"/>
                      <a:pt x="258" y="622"/>
                    </a:cubicBezTo>
                    <a:cubicBezTo>
                      <a:pt x="260" y="624"/>
                      <a:pt x="260" y="624"/>
                      <a:pt x="260" y="624"/>
                    </a:cubicBezTo>
                    <a:cubicBezTo>
                      <a:pt x="261" y="625"/>
                      <a:pt x="262" y="625"/>
                      <a:pt x="264" y="625"/>
                    </a:cubicBezTo>
                    <a:cubicBezTo>
                      <a:pt x="265" y="626"/>
                      <a:pt x="266" y="626"/>
                      <a:pt x="266" y="626"/>
                    </a:cubicBezTo>
                    <a:cubicBezTo>
                      <a:pt x="266" y="626"/>
                      <a:pt x="266" y="626"/>
                      <a:pt x="266" y="626"/>
                    </a:cubicBezTo>
                    <a:cubicBezTo>
                      <a:pt x="266" y="626"/>
                      <a:pt x="267" y="626"/>
                      <a:pt x="267" y="626"/>
                    </a:cubicBezTo>
                    <a:cubicBezTo>
                      <a:pt x="268" y="626"/>
                      <a:pt x="268" y="626"/>
                      <a:pt x="268" y="626"/>
                    </a:cubicBezTo>
                    <a:cubicBezTo>
                      <a:pt x="268" y="626"/>
                      <a:pt x="269" y="626"/>
                      <a:pt x="270" y="627"/>
                    </a:cubicBezTo>
                    <a:cubicBezTo>
                      <a:pt x="270" y="627"/>
                      <a:pt x="271" y="627"/>
                      <a:pt x="271" y="627"/>
                    </a:cubicBezTo>
                    <a:cubicBezTo>
                      <a:pt x="271" y="628"/>
                      <a:pt x="271" y="628"/>
                      <a:pt x="271" y="628"/>
                    </a:cubicBezTo>
                    <a:cubicBezTo>
                      <a:pt x="272" y="628"/>
                      <a:pt x="272" y="628"/>
                      <a:pt x="273" y="629"/>
                    </a:cubicBezTo>
                    <a:cubicBezTo>
                      <a:pt x="273" y="629"/>
                      <a:pt x="274" y="629"/>
                      <a:pt x="274" y="630"/>
                    </a:cubicBezTo>
                    <a:cubicBezTo>
                      <a:pt x="278" y="627"/>
                      <a:pt x="278" y="627"/>
                      <a:pt x="278" y="627"/>
                    </a:cubicBezTo>
                    <a:cubicBezTo>
                      <a:pt x="275" y="631"/>
                      <a:pt x="275" y="631"/>
                      <a:pt x="275" y="631"/>
                    </a:cubicBezTo>
                    <a:cubicBezTo>
                      <a:pt x="276" y="631"/>
                      <a:pt x="276" y="631"/>
                      <a:pt x="276" y="631"/>
                    </a:cubicBezTo>
                    <a:cubicBezTo>
                      <a:pt x="277" y="633"/>
                      <a:pt x="278" y="635"/>
                      <a:pt x="280" y="636"/>
                    </a:cubicBezTo>
                    <a:cubicBezTo>
                      <a:pt x="280" y="637"/>
                      <a:pt x="281" y="637"/>
                      <a:pt x="281" y="638"/>
                    </a:cubicBezTo>
                    <a:cubicBezTo>
                      <a:pt x="281" y="638"/>
                      <a:pt x="281" y="638"/>
                      <a:pt x="281" y="638"/>
                    </a:cubicBezTo>
                    <a:cubicBezTo>
                      <a:pt x="282" y="639"/>
                      <a:pt x="283" y="640"/>
                      <a:pt x="283" y="640"/>
                    </a:cubicBezTo>
                    <a:cubicBezTo>
                      <a:pt x="283" y="640"/>
                      <a:pt x="283" y="640"/>
                      <a:pt x="283" y="640"/>
                    </a:cubicBezTo>
                    <a:cubicBezTo>
                      <a:pt x="284" y="640"/>
                      <a:pt x="284" y="640"/>
                      <a:pt x="284" y="640"/>
                    </a:cubicBezTo>
                    <a:cubicBezTo>
                      <a:pt x="287" y="639"/>
                      <a:pt x="290" y="638"/>
                      <a:pt x="292" y="638"/>
                    </a:cubicBezTo>
                    <a:cubicBezTo>
                      <a:pt x="293" y="638"/>
                      <a:pt x="293" y="638"/>
                      <a:pt x="294" y="638"/>
                    </a:cubicBezTo>
                    <a:cubicBezTo>
                      <a:pt x="295" y="638"/>
                      <a:pt x="297" y="638"/>
                      <a:pt x="298" y="639"/>
                    </a:cubicBezTo>
                    <a:cubicBezTo>
                      <a:pt x="300" y="641"/>
                      <a:pt x="300" y="643"/>
                      <a:pt x="300" y="644"/>
                    </a:cubicBezTo>
                    <a:cubicBezTo>
                      <a:pt x="300" y="644"/>
                      <a:pt x="300" y="644"/>
                      <a:pt x="300" y="644"/>
                    </a:cubicBezTo>
                    <a:cubicBezTo>
                      <a:pt x="301" y="645"/>
                      <a:pt x="301" y="645"/>
                      <a:pt x="301" y="645"/>
                    </a:cubicBezTo>
                    <a:cubicBezTo>
                      <a:pt x="302" y="646"/>
                      <a:pt x="302" y="648"/>
                      <a:pt x="302" y="650"/>
                    </a:cubicBezTo>
                    <a:cubicBezTo>
                      <a:pt x="302" y="650"/>
                      <a:pt x="303" y="651"/>
                      <a:pt x="304" y="652"/>
                    </a:cubicBezTo>
                    <a:cubicBezTo>
                      <a:pt x="304" y="652"/>
                      <a:pt x="304" y="652"/>
                      <a:pt x="304" y="652"/>
                    </a:cubicBezTo>
                    <a:cubicBezTo>
                      <a:pt x="305" y="653"/>
                      <a:pt x="306" y="653"/>
                      <a:pt x="306" y="653"/>
                    </a:cubicBezTo>
                    <a:cubicBezTo>
                      <a:pt x="308" y="654"/>
                      <a:pt x="308" y="654"/>
                      <a:pt x="308" y="654"/>
                    </a:cubicBezTo>
                    <a:cubicBezTo>
                      <a:pt x="308" y="655"/>
                      <a:pt x="309" y="655"/>
                      <a:pt x="309" y="655"/>
                    </a:cubicBezTo>
                    <a:cubicBezTo>
                      <a:pt x="311" y="656"/>
                      <a:pt x="311" y="656"/>
                      <a:pt x="311" y="656"/>
                    </a:cubicBezTo>
                    <a:cubicBezTo>
                      <a:pt x="312" y="657"/>
                      <a:pt x="313" y="657"/>
                      <a:pt x="314" y="658"/>
                    </a:cubicBezTo>
                    <a:cubicBezTo>
                      <a:pt x="315" y="658"/>
                      <a:pt x="316" y="659"/>
                      <a:pt x="317" y="659"/>
                    </a:cubicBezTo>
                    <a:cubicBezTo>
                      <a:pt x="317" y="659"/>
                      <a:pt x="318" y="659"/>
                      <a:pt x="318" y="659"/>
                    </a:cubicBezTo>
                    <a:cubicBezTo>
                      <a:pt x="319" y="659"/>
                      <a:pt x="319" y="659"/>
                      <a:pt x="320" y="659"/>
                    </a:cubicBezTo>
                    <a:cubicBezTo>
                      <a:pt x="322" y="659"/>
                      <a:pt x="322" y="659"/>
                      <a:pt x="322" y="659"/>
                    </a:cubicBezTo>
                    <a:cubicBezTo>
                      <a:pt x="322" y="658"/>
                      <a:pt x="323" y="658"/>
                      <a:pt x="324" y="658"/>
                    </a:cubicBezTo>
                    <a:cubicBezTo>
                      <a:pt x="325" y="658"/>
                      <a:pt x="325" y="658"/>
                      <a:pt x="326" y="658"/>
                    </a:cubicBezTo>
                    <a:cubicBezTo>
                      <a:pt x="331" y="659"/>
                      <a:pt x="331" y="659"/>
                      <a:pt x="331" y="659"/>
                    </a:cubicBezTo>
                    <a:cubicBezTo>
                      <a:pt x="328" y="665"/>
                      <a:pt x="328" y="665"/>
                      <a:pt x="328" y="665"/>
                    </a:cubicBezTo>
                    <a:cubicBezTo>
                      <a:pt x="328" y="665"/>
                      <a:pt x="327" y="666"/>
                      <a:pt x="327" y="667"/>
                    </a:cubicBezTo>
                    <a:cubicBezTo>
                      <a:pt x="327" y="667"/>
                      <a:pt x="327" y="667"/>
                      <a:pt x="327" y="667"/>
                    </a:cubicBezTo>
                    <a:cubicBezTo>
                      <a:pt x="328" y="667"/>
                      <a:pt x="328" y="667"/>
                      <a:pt x="328" y="667"/>
                    </a:cubicBezTo>
                    <a:cubicBezTo>
                      <a:pt x="329" y="667"/>
                      <a:pt x="329" y="667"/>
                      <a:pt x="329" y="667"/>
                    </a:cubicBezTo>
                    <a:cubicBezTo>
                      <a:pt x="330" y="667"/>
                      <a:pt x="330" y="666"/>
                      <a:pt x="331" y="666"/>
                    </a:cubicBezTo>
                    <a:cubicBezTo>
                      <a:pt x="333" y="666"/>
                      <a:pt x="334" y="666"/>
                      <a:pt x="336" y="666"/>
                    </a:cubicBezTo>
                    <a:cubicBezTo>
                      <a:pt x="336" y="666"/>
                      <a:pt x="336" y="666"/>
                      <a:pt x="337" y="666"/>
                    </a:cubicBezTo>
                    <a:cubicBezTo>
                      <a:pt x="339" y="666"/>
                      <a:pt x="341" y="667"/>
                      <a:pt x="343" y="668"/>
                    </a:cubicBezTo>
                    <a:cubicBezTo>
                      <a:pt x="344" y="669"/>
                      <a:pt x="344" y="670"/>
                      <a:pt x="345" y="670"/>
                    </a:cubicBezTo>
                    <a:cubicBezTo>
                      <a:pt x="346" y="672"/>
                      <a:pt x="346" y="672"/>
                      <a:pt x="346" y="672"/>
                    </a:cubicBezTo>
                    <a:cubicBezTo>
                      <a:pt x="347" y="673"/>
                      <a:pt x="348" y="675"/>
                      <a:pt x="349" y="676"/>
                    </a:cubicBezTo>
                    <a:cubicBezTo>
                      <a:pt x="350" y="675"/>
                      <a:pt x="350" y="674"/>
                      <a:pt x="351" y="673"/>
                    </a:cubicBezTo>
                    <a:cubicBezTo>
                      <a:pt x="358" y="665"/>
                      <a:pt x="358" y="665"/>
                      <a:pt x="358" y="665"/>
                    </a:cubicBezTo>
                    <a:cubicBezTo>
                      <a:pt x="357" y="675"/>
                      <a:pt x="357" y="675"/>
                      <a:pt x="357" y="675"/>
                    </a:cubicBezTo>
                    <a:cubicBezTo>
                      <a:pt x="357" y="676"/>
                      <a:pt x="357" y="676"/>
                      <a:pt x="357" y="676"/>
                    </a:cubicBezTo>
                    <a:cubicBezTo>
                      <a:pt x="358" y="676"/>
                      <a:pt x="359" y="676"/>
                      <a:pt x="360" y="677"/>
                    </a:cubicBezTo>
                    <a:cubicBezTo>
                      <a:pt x="362" y="677"/>
                      <a:pt x="362" y="677"/>
                      <a:pt x="362" y="677"/>
                    </a:cubicBezTo>
                    <a:cubicBezTo>
                      <a:pt x="362" y="677"/>
                      <a:pt x="362" y="677"/>
                      <a:pt x="362" y="677"/>
                    </a:cubicBezTo>
                    <a:cubicBezTo>
                      <a:pt x="363" y="676"/>
                      <a:pt x="364" y="675"/>
                      <a:pt x="366" y="674"/>
                    </a:cubicBezTo>
                    <a:cubicBezTo>
                      <a:pt x="367" y="674"/>
                      <a:pt x="367" y="674"/>
                      <a:pt x="368" y="674"/>
                    </a:cubicBezTo>
                    <a:cubicBezTo>
                      <a:pt x="368" y="0"/>
                      <a:pt x="368" y="0"/>
                      <a:pt x="3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06" name="Freeform 334">
                <a:extLst>
                  <a:ext uri="{FF2B5EF4-FFF2-40B4-BE49-F238E27FC236}">
                    <a16:creationId xmlns:a16="http://schemas.microsoft.com/office/drawing/2014/main" id="{F70B99CF-AD6E-4421-91BA-B677C216863D}"/>
                  </a:ext>
                </a:extLst>
              </p:cNvPr>
              <p:cNvSpPr>
                <a:spLocks/>
              </p:cNvSpPr>
              <p:nvPr/>
            </p:nvSpPr>
            <p:spPr bwMode="auto">
              <a:xfrm>
                <a:off x="10506265" y="5590321"/>
                <a:ext cx="1673042" cy="1267680"/>
              </a:xfrm>
              <a:custGeom>
                <a:avLst/>
                <a:gdLst>
                  <a:gd name="T0" fmla="*/ 249 w 526"/>
                  <a:gd name="T1" fmla="*/ 17 h 399"/>
                  <a:gd name="T2" fmla="*/ 231 w 526"/>
                  <a:gd name="T3" fmla="*/ 26 h 399"/>
                  <a:gd name="T4" fmla="*/ 204 w 526"/>
                  <a:gd name="T5" fmla="*/ 30 h 399"/>
                  <a:gd name="T6" fmla="*/ 183 w 526"/>
                  <a:gd name="T7" fmla="*/ 25 h 399"/>
                  <a:gd name="T8" fmla="*/ 164 w 526"/>
                  <a:gd name="T9" fmla="*/ 32 h 399"/>
                  <a:gd name="T10" fmla="*/ 174 w 526"/>
                  <a:gd name="T11" fmla="*/ 51 h 399"/>
                  <a:gd name="T12" fmla="*/ 172 w 526"/>
                  <a:gd name="T13" fmla="*/ 56 h 399"/>
                  <a:gd name="T14" fmla="*/ 178 w 526"/>
                  <a:gd name="T15" fmla="*/ 81 h 399"/>
                  <a:gd name="T16" fmla="*/ 188 w 526"/>
                  <a:gd name="T17" fmla="*/ 87 h 399"/>
                  <a:gd name="T18" fmla="*/ 201 w 526"/>
                  <a:gd name="T19" fmla="*/ 93 h 399"/>
                  <a:gd name="T20" fmla="*/ 190 w 526"/>
                  <a:gd name="T21" fmla="*/ 112 h 399"/>
                  <a:gd name="T22" fmla="*/ 184 w 526"/>
                  <a:gd name="T23" fmla="*/ 120 h 399"/>
                  <a:gd name="T24" fmla="*/ 175 w 526"/>
                  <a:gd name="T25" fmla="*/ 150 h 399"/>
                  <a:gd name="T26" fmla="*/ 166 w 526"/>
                  <a:gd name="T27" fmla="*/ 161 h 399"/>
                  <a:gd name="T28" fmla="*/ 153 w 526"/>
                  <a:gd name="T29" fmla="*/ 174 h 399"/>
                  <a:gd name="T30" fmla="*/ 144 w 526"/>
                  <a:gd name="T31" fmla="*/ 194 h 399"/>
                  <a:gd name="T32" fmla="*/ 122 w 526"/>
                  <a:gd name="T33" fmla="*/ 214 h 399"/>
                  <a:gd name="T34" fmla="*/ 87 w 526"/>
                  <a:gd name="T35" fmla="*/ 242 h 399"/>
                  <a:gd name="T36" fmla="*/ 70 w 526"/>
                  <a:gd name="T37" fmla="*/ 242 h 399"/>
                  <a:gd name="T38" fmla="*/ 64 w 526"/>
                  <a:gd name="T39" fmla="*/ 236 h 399"/>
                  <a:gd name="T40" fmla="*/ 58 w 526"/>
                  <a:gd name="T41" fmla="*/ 242 h 399"/>
                  <a:gd name="T42" fmla="*/ 47 w 526"/>
                  <a:gd name="T43" fmla="*/ 272 h 399"/>
                  <a:gd name="T44" fmla="*/ 60 w 526"/>
                  <a:gd name="T45" fmla="*/ 293 h 399"/>
                  <a:gd name="T46" fmla="*/ 65 w 526"/>
                  <a:gd name="T47" fmla="*/ 300 h 399"/>
                  <a:gd name="T48" fmla="*/ 75 w 526"/>
                  <a:gd name="T49" fmla="*/ 307 h 399"/>
                  <a:gd name="T50" fmla="*/ 84 w 526"/>
                  <a:gd name="T51" fmla="*/ 337 h 399"/>
                  <a:gd name="T52" fmla="*/ 81 w 526"/>
                  <a:gd name="T53" fmla="*/ 347 h 399"/>
                  <a:gd name="T54" fmla="*/ 73 w 526"/>
                  <a:gd name="T55" fmla="*/ 350 h 399"/>
                  <a:gd name="T56" fmla="*/ 57 w 526"/>
                  <a:gd name="T57" fmla="*/ 349 h 399"/>
                  <a:gd name="T58" fmla="*/ 33 w 526"/>
                  <a:gd name="T59" fmla="*/ 350 h 399"/>
                  <a:gd name="T60" fmla="*/ 13 w 526"/>
                  <a:gd name="T61" fmla="*/ 359 h 399"/>
                  <a:gd name="T62" fmla="*/ 17 w 526"/>
                  <a:gd name="T63" fmla="*/ 359 h 399"/>
                  <a:gd name="T64" fmla="*/ 8 w 526"/>
                  <a:gd name="T65" fmla="*/ 368 h 399"/>
                  <a:gd name="T66" fmla="*/ 39 w 526"/>
                  <a:gd name="T67" fmla="*/ 392 h 399"/>
                  <a:gd name="T68" fmla="*/ 62 w 526"/>
                  <a:gd name="T69" fmla="*/ 386 h 399"/>
                  <a:gd name="T70" fmla="*/ 524 w 526"/>
                  <a:gd name="T71" fmla="*/ 283 h 399"/>
                  <a:gd name="T72" fmla="*/ 511 w 526"/>
                  <a:gd name="T73" fmla="*/ 279 h 399"/>
                  <a:gd name="T74" fmla="*/ 499 w 526"/>
                  <a:gd name="T75" fmla="*/ 277 h 399"/>
                  <a:gd name="T76" fmla="*/ 487 w 526"/>
                  <a:gd name="T77" fmla="*/ 274 h 399"/>
                  <a:gd name="T78" fmla="*/ 473 w 526"/>
                  <a:gd name="T79" fmla="*/ 267 h 399"/>
                  <a:gd name="T80" fmla="*/ 463 w 526"/>
                  <a:gd name="T81" fmla="*/ 255 h 399"/>
                  <a:gd name="T82" fmla="*/ 452 w 526"/>
                  <a:gd name="T83" fmla="*/ 259 h 399"/>
                  <a:gd name="T84" fmla="*/ 437 w 526"/>
                  <a:gd name="T85" fmla="*/ 253 h 399"/>
                  <a:gd name="T86" fmla="*/ 430 w 526"/>
                  <a:gd name="T87" fmla="*/ 256 h 399"/>
                  <a:gd name="T88" fmla="*/ 410 w 526"/>
                  <a:gd name="T89" fmla="*/ 246 h 399"/>
                  <a:gd name="T90" fmla="*/ 394 w 526"/>
                  <a:gd name="T91" fmla="*/ 239 h 399"/>
                  <a:gd name="T92" fmla="*/ 380 w 526"/>
                  <a:gd name="T93" fmla="*/ 236 h 399"/>
                  <a:gd name="T94" fmla="*/ 357 w 526"/>
                  <a:gd name="T95" fmla="*/ 219 h 399"/>
                  <a:gd name="T96" fmla="*/ 339 w 526"/>
                  <a:gd name="T97" fmla="*/ 195 h 399"/>
                  <a:gd name="T98" fmla="*/ 344 w 526"/>
                  <a:gd name="T99" fmla="*/ 182 h 399"/>
                  <a:gd name="T100" fmla="*/ 339 w 526"/>
                  <a:gd name="T101" fmla="*/ 150 h 399"/>
                  <a:gd name="T102" fmla="*/ 316 w 526"/>
                  <a:gd name="T103" fmla="*/ 139 h 399"/>
                  <a:gd name="T104" fmla="*/ 310 w 526"/>
                  <a:gd name="T105" fmla="*/ 131 h 399"/>
                  <a:gd name="T106" fmla="*/ 301 w 526"/>
                  <a:gd name="T107" fmla="*/ 133 h 399"/>
                  <a:gd name="T108" fmla="*/ 296 w 526"/>
                  <a:gd name="T109" fmla="*/ 114 h 399"/>
                  <a:gd name="T110" fmla="*/ 288 w 526"/>
                  <a:gd name="T111" fmla="*/ 89 h 399"/>
                  <a:gd name="T112" fmla="*/ 305 w 526"/>
                  <a:gd name="T113" fmla="*/ 90 h 399"/>
                  <a:gd name="T114" fmla="*/ 316 w 526"/>
                  <a:gd name="T115" fmla="*/ 78 h 399"/>
                  <a:gd name="T116" fmla="*/ 303 w 526"/>
                  <a:gd name="T117" fmla="*/ 65 h 399"/>
                  <a:gd name="T118" fmla="*/ 298 w 526"/>
                  <a:gd name="T119" fmla="*/ 49 h 399"/>
                  <a:gd name="T120" fmla="*/ 300 w 526"/>
                  <a:gd name="T121" fmla="*/ 35 h 399"/>
                  <a:gd name="T122" fmla="*/ 278 w 526"/>
                  <a:gd name="T123"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6" h="399">
                    <a:moveTo>
                      <a:pt x="277" y="0"/>
                    </a:moveTo>
                    <a:cubicBezTo>
                      <a:pt x="276" y="0"/>
                      <a:pt x="275" y="0"/>
                      <a:pt x="275" y="0"/>
                    </a:cubicBezTo>
                    <a:cubicBezTo>
                      <a:pt x="273" y="1"/>
                      <a:pt x="271" y="2"/>
                      <a:pt x="270" y="3"/>
                    </a:cubicBezTo>
                    <a:cubicBezTo>
                      <a:pt x="268" y="4"/>
                      <a:pt x="266" y="5"/>
                      <a:pt x="264" y="6"/>
                    </a:cubicBezTo>
                    <a:cubicBezTo>
                      <a:pt x="262" y="7"/>
                      <a:pt x="261" y="8"/>
                      <a:pt x="260" y="9"/>
                    </a:cubicBezTo>
                    <a:cubicBezTo>
                      <a:pt x="254" y="13"/>
                      <a:pt x="254" y="13"/>
                      <a:pt x="254" y="13"/>
                    </a:cubicBezTo>
                    <a:cubicBezTo>
                      <a:pt x="252" y="13"/>
                      <a:pt x="251" y="15"/>
                      <a:pt x="249" y="17"/>
                    </a:cubicBezTo>
                    <a:cubicBezTo>
                      <a:pt x="248" y="19"/>
                      <a:pt x="248" y="19"/>
                      <a:pt x="248" y="19"/>
                    </a:cubicBezTo>
                    <a:cubicBezTo>
                      <a:pt x="246" y="22"/>
                      <a:pt x="244" y="24"/>
                      <a:pt x="240" y="25"/>
                    </a:cubicBezTo>
                    <a:cubicBezTo>
                      <a:pt x="238" y="25"/>
                      <a:pt x="238" y="25"/>
                      <a:pt x="238" y="25"/>
                    </a:cubicBezTo>
                    <a:cubicBezTo>
                      <a:pt x="237" y="25"/>
                      <a:pt x="237" y="25"/>
                      <a:pt x="236" y="25"/>
                    </a:cubicBezTo>
                    <a:cubicBezTo>
                      <a:pt x="235" y="25"/>
                      <a:pt x="235" y="25"/>
                      <a:pt x="235" y="25"/>
                    </a:cubicBezTo>
                    <a:cubicBezTo>
                      <a:pt x="234" y="25"/>
                      <a:pt x="233" y="25"/>
                      <a:pt x="233" y="26"/>
                    </a:cubicBezTo>
                    <a:cubicBezTo>
                      <a:pt x="232" y="26"/>
                      <a:pt x="231" y="26"/>
                      <a:pt x="231" y="26"/>
                    </a:cubicBezTo>
                    <a:cubicBezTo>
                      <a:pt x="230" y="26"/>
                      <a:pt x="230" y="27"/>
                      <a:pt x="229" y="27"/>
                    </a:cubicBezTo>
                    <a:cubicBezTo>
                      <a:pt x="229" y="27"/>
                      <a:pt x="229" y="27"/>
                      <a:pt x="229" y="27"/>
                    </a:cubicBezTo>
                    <a:cubicBezTo>
                      <a:pt x="228" y="28"/>
                      <a:pt x="227" y="28"/>
                      <a:pt x="226" y="28"/>
                    </a:cubicBezTo>
                    <a:cubicBezTo>
                      <a:pt x="221" y="30"/>
                      <a:pt x="217" y="32"/>
                      <a:pt x="213" y="32"/>
                    </a:cubicBezTo>
                    <a:cubicBezTo>
                      <a:pt x="212" y="32"/>
                      <a:pt x="211" y="32"/>
                      <a:pt x="211" y="31"/>
                    </a:cubicBezTo>
                    <a:cubicBezTo>
                      <a:pt x="208" y="31"/>
                      <a:pt x="208" y="31"/>
                      <a:pt x="208" y="31"/>
                    </a:cubicBezTo>
                    <a:cubicBezTo>
                      <a:pt x="207" y="31"/>
                      <a:pt x="205" y="30"/>
                      <a:pt x="204" y="30"/>
                    </a:cubicBezTo>
                    <a:cubicBezTo>
                      <a:pt x="203" y="29"/>
                      <a:pt x="203" y="29"/>
                      <a:pt x="202" y="29"/>
                    </a:cubicBezTo>
                    <a:cubicBezTo>
                      <a:pt x="202" y="29"/>
                      <a:pt x="202" y="29"/>
                      <a:pt x="202" y="29"/>
                    </a:cubicBezTo>
                    <a:cubicBezTo>
                      <a:pt x="201" y="28"/>
                      <a:pt x="200" y="28"/>
                      <a:pt x="199" y="27"/>
                    </a:cubicBezTo>
                    <a:cubicBezTo>
                      <a:pt x="195" y="27"/>
                      <a:pt x="195" y="27"/>
                      <a:pt x="195" y="27"/>
                    </a:cubicBezTo>
                    <a:cubicBezTo>
                      <a:pt x="194" y="27"/>
                      <a:pt x="192" y="26"/>
                      <a:pt x="191" y="26"/>
                    </a:cubicBezTo>
                    <a:cubicBezTo>
                      <a:pt x="189" y="26"/>
                      <a:pt x="186" y="25"/>
                      <a:pt x="184" y="25"/>
                    </a:cubicBezTo>
                    <a:cubicBezTo>
                      <a:pt x="183" y="25"/>
                      <a:pt x="183" y="25"/>
                      <a:pt x="183" y="25"/>
                    </a:cubicBezTo>
                    <a:cubicBezTo>
                      <a:pt x="181" y="25"/>
                      <a:pt x="180" y="26"/>
                      <a:pt x="178" y="26"/>
                    </a:cubicBezTo>
                    <a:cubicBezTo>
                      <a:pt x="177" y="26"/>
                      <a:pt x="177" y="26"/>
                      <a:pt x="177" y="26"/>
                    </a:cubicBezTo>
                    <a:cubicBezTo>
                      <a:pt x="174" y="26"/>
                      <a:pt x="170" y="26"/>
                      <a:pt x="168" y="27"/>
                    </a:cubicBezTo>
                    <a:cubicBezTo>
                      <a:pt x="167" y="27"/>
                      <a:pt x="167" y="27"/>
                      <a:pt x="166" y="27"/>
                    </a:cubicBezTo>
                    <a:cubicBezTo>
                      <a:pt x="166" y="28"/>
                      <a:pt x="166" y="28"/>
                      <a:pt x="166" y="28"/>
                    </a:cubicBezTo>
                    <a:cubicBezTo>
                      <a:pt x="165" y="29"/>
                      <a:pt x="164" y="30"/>
                      <a:pt x="164" y="31"/>
                    </a:cubicBezTo>
                    <a:cubicBezTo>
                      <a:pt x="164" y="32"/>
                      <a:pt x="164" y="32"/>
                      <a:pt x="164" y="32"/>
                    </a:cubicBezTo>
                    <a:cubicBezTo>
                      <a:pt x="164" y="32"/>
                      <a:pt x="164" y="32"/>
                      <a:pt x="164" y="32"/>
                    </a:cubicBezTo>
                    <a:cubicBezTo>
                      <a:pt x="165" y="32"/>
                      <a:pt x="165" y="32"/>
                      <a:pt x="165" y="32"/>
                    </a:cubicBezTo>
                    <a:cubicBezTo>
                      <a:pt x="166" y="32"/>
                      <a:pt x="166" y="32"/>
                      <a:pt x="166" y="32"/>
                    </a:cubicBezTo>
                    <a:cubicBezTo>
                      <a:pt x="168" y="34"/>
                      <a:pt x="168" y="34"/>
                      <a:pt x="168" y="34"/>
                    </a:cubicBezTo>
                    <a:cubicBezTo>
                      <a:pt x="169" y="36"/>
                      <a:pt x="168" y="38"/>
                      <a:pt x="168" y="40"/>
                    </a:cubicBezTo>
                    <a:cubicBezTo>
                      <a:pt x="172" y="41"/>
                      <a:pt x="175" y="42"/>
                      <a:pt x="176" y="45"/>
                    </a:cubicBezTo>
                    <a:cubicBezTo>
                      <a:pt x="177" y="46"/>
                      <a:pt x="177" y="49"/>
                      <a:pt x="174" y="51"/>
                    </a:cubicBezTo>
                    <a:cubicBezTo>
                      <a:pt x="174" y="51"/>
                      <a:pt x="174" y="52"/>
                      <a:pt x="174" y="52"/>
                    </a:cubicBezTo>
                    <a:cubicBezTo>
                      <a:pt x="173" y="52"/>
                      <a:pt x="173" y="52"/>
                      <a:pt x="173" y="52"/>
                    </a:cubicBezTo>
                    <a:cubicBezTo>
                      <a:pt x="172" y="53"/>
                      <a:pt x="171" y="53"/>
                      <a:pt x="171" y="53"/>
                    </a:cubicBezTo>
                    <a:cubicBezTo>
                      <a:pt x="170" y="53"/>
                      <a:pt x="170" y="53"/>
                      <a:pt x="170" y="53"/>
                    </a:cubicBezTo>
                    <a:cubicBezTo>
                      <a:pt x="170" y="53"/>
                      <a:pt x="170" y="53"/>
                      <a:pt x="170" y="53"/>
                    </a:cubicBezTo>
                    <a:cubicBezTo>
                      <a:pt x="170" y="54"/>
                      <a:pt x="170" y="54"/>
                      <a:pt x="171" y="55"/>
                    </a:cubicBezTo>
                    <a:cubicBezTo>
                      <a:pt x="172" y="56"/>
                      <a:pt x="172" y="56"/>
                      <a:pt x="172" y="56"/>
                    </a:cubicBezTo>
                    <a:cubicBezTo>
                      <a:pt x="175" y="60"/>
                      <a:pt x="173" y="65"/>
                      <a:pt x="171" y="68"/>
                    </a:cubicBezTo>
                    <a:cubicBezTo>
                      <a:pt x="171" y="68"/>
                      <a:pt x="171" y="69"/>
                      <a:pt x="170" y="70"/>
                    </a:cubicBezTo>
                    <a:cubicBezTo>
                      <a:pt x="170" y="71"/>
                      <a:pt x="170" y="71"/>
                      <a:pt x="170" y="71"/>
                    </a:cubicBezTo>
                    <a:cubicBezTo>
                      <a:pt x="171" y="72"/>
                      <a:pt x="173" y="74"/>
                      <a:pt x="173" y="75"/>
                    </a:cubicBezTo>
                    <a:cubicBezTo>
                      <a:pt x="177" y="79"/>
                      <a:pt x="177" y="79"/>
                      <a:pt x="177" y="79"/>
                    </a:cubicBezTo>
                    <a:cubicBezTo>
                      <a:pt x="177" y="80"/>
                      <a:pt x="177" y="80"/>
                      <a:pt x="177" y="80"/>
                    </a:cubicBezTo>
                    <a:cubicBezTo>
                      <a:pt x="178" y="81"/>
                      <a:pt x="178" y="81"/>
                      <a:pt x="178" y="81"/>
                    </a:cubicBezTo>
                    <a:cubicBezTo>
                      <a:pt x="179" y="81"/>
                      <a:pt x="179" y="81"/>
                      <a:pt x="181" y="80"/>
                    </a:cubicBezTo>
                    <a:cubicBezTo>
                      <a:pt x="182" y="79"/>
                      <a:pt x="184" y="79"/>
                      <a:pt x="185" y="79"/>
                    </a:cubicBezTo>
                    <a:cubicBezTo>
                      <a:pt x="191" y="78"/>
                      <a:pt x="191" y="78"/>
                      <a:pt x="191" y="78"/>
                    </a:cubicBezTo>
                    <a:cubicBezTo>
                      <a:pt x="188" y="85"/>
                      <a:pt x="188" y="85"/>
                      <a:pt x="188" y="85"/>
                    </a:cubicBezTo>
                    <a:cubicBezTo>
                      <a:pt x="188" y="85"/>
                      <a:pt x="188" y="85"/>
                      <a:pt x="188" y="85"/>
                    </a:cubicBezTo>
                    <a:cubicBezTo>
                      <a:pt x="188" y="87"/>
                      <a:pt x="188" y="87"/>
                      <a:pt x="188" y="87"/>
                    </a:cubicBezTo>
                    <a:cubicBezTo>
                      <a:pt x="188" y="87"/>
                      <a:pt x="188" y="87"/>
                      <a:pt x="188" y="87"/>
                    </a:cubicBezTo>
                    <a:cubicBezTo>
                      <a:pt x="188" y="88"/>
                      <a:pt x="188" y="89"/>
                      <a:pt x="188" y="90"/>
                    </a:cubicBezTo>
                    <a:cubicBezTo>
                      <a:pt x="189" y="90"/>
                      <a:pt x="189" y="90"/>
                      <a:pt x="189" y="90"/>
                    </a:cubicBezTo>
                    <a:cubicBezTo>
                      <a:pt x="189" y="90"/>
                      <a:pt x="189" y="90"/>
                      <a:pt x="191" y="90"/>
                    </a:cubicBezTo>
                    <a:cubicBezTo>
                      <a:pt x="194" y="91"/>
                      <a:pt x="194" y="91"/>
                      <a:pt x="194" y="91"/>
                    </a:cubicBezTo>
                    <a:cubicBezTo>
                      <a:pt x="196" y="91"/>
                      <a:pt x="197" y="91"/>
                      <a:pt x="198" y="92"/>
                    </a:cubicBezTo>
                    <a:cubicBezTo>
                      <a:pt x="199" y="92"/>
                      <a:pt x="200" y="92"/>
                      <a:pt x="200" y="92"/>
                    </a:cubicBezTo>
                    <a:cubicBezTo>
                      <a:pt x="201" y="92"/>
                      <a:pt x="201" y="93"/>
                      <a:pt x="201" y="93"/>
                    </a:cubicBezTo>
                    <a:cubicBezTo>
                      <a:pt x="202" y="93"/>
                      <a:pt x="203" y="94"/>
                      <a:pt x="204" y="94"/>
                    </a:cubicBezTo>
                    <a:cubicBezTo>
                      <a:pt x="206" y="96"/>
                      <a:pt x="207" y="100"/>
                      <a:pt x="206" y="104"/>
                    </a:cubicBezTo>
                    <a:cubicBezTo>
                      <a:pt x="204" y="107"/>
                      <a:pt x="201" y="109"/>
                      <a:pt x="198" y="110"/>
                    </a:cubicBezTo>
                    <a:cubicBezTo>
                      <a:pt x="196" y="110"/>
                      <a:pt x="196" y="110"/>
                      <a:pt x="196" y="110"/>
                    </a:cubicBezTo>
                    <a:cubicBezTo>
                      <a:pt x="195" y="111"/>
                      <a:pt x="195" y="111"/>
                      <a:pt x="194" y="111"/>
                    </a:cubicBezTo>
                    <a:cubicBezTo>
                      <a:pt x="192" y="112"/>
                      <a:pt x="192" y="112"/>
                      <a:pt x="192" y="112"/>
                    </a:cubicBezTo>
                    <a:cubicBezTo>
                      <a:pt x="192" y="112"/>
                      <a:pt x="191" y="112"/>
                      <a:pt x="190" y="112"/>
                    </a:cubicBezTo>
                    <a:cubicBezTo>
                      <a:pt x="190" y="113"/>
                      <a:pt x="189" y="113"/>
                      <a:pt x="189" y="113"/>
                    </a:cubicBezTo>
                    <a:cubicBezTo>
                      <a:pt x="188" y="113"/>
                      <a:pt x="188" y="113"/>
                      <a:pt x="188" y="113"/>
                    </a:cubicBezTo>
                    <a:cubicBezTo>
                      <a:pt x="188" y="114"/>
                      <a:pt x="187" y="114"/>
                      <a:pt x="187" y="114"/>
                    </a:cubicBezTo>
                    <a:cubicBezTo>
                      <a:pt x="186" y="114"/>
                      <a:pt x="186" y="114"/>
                      <a:pt x="186" y="114"/>
                    </a:cubicBezTo>
                    <a:cubicBezTo>
                      <a:pt x="185" y="115"/>
                      <a:pt x="184" y="116"/>
                      <a:pt x="184" y="117"/>
                    </a:cubicBezTo>
                    <a:cubicBezTo>
                      <a:pt x="184" y="117"/>
                      <a:pt x="184" y="117"/>
                      <a:pt x="184" y="117"/>
                    </a:cubicBezTo>
                    <a:cubicBezTo>
                      <a:pt x="184" y="120"/>
                      <a:pt x="184" y="120"/>
                      <a:pt x="184" y="120"/>
                    </a:cubicBezTo>
                    <a:cubicBezTo>
                      <a:pt x="184" y="122"/>
                      <a:pt x="184" y="125"/>
                      <a:pt x="185" y="127"/>
                    </a:cubicBezTo>
                    <a:cubicBezTo>
                      <a:pt x="185" y="128"/>
                      <a:pt x="185" y="128"/>
                      <a:pt x="185" y="128"/>
                    </a:cubicBezTo>
                    <a:cubicBezTo>
                      <a:pt x="185" y="128"/>
                      <a:pt x="185" y="129"/>
                      <a:pt x="185" y="130"/>
                    </a:cubicBezTo>
                    <a:cubicBezTo>
                      <a:pt x="186" y="133"/>
                      <a:pt x="186" y="133"/>
                      <a:pt x="186" y="133"/>
                    </a:cubicBezTo>
                    <a:cubicBezTo>
                      <a:pt x="186" y="135"/>
                      <a:pt x="186" y="136"/>
                      <a:pt x="186" y="137"/>
                    </a:cubicBezTo>
                    <a:cubicBezTo>
                      <a:pt x="187" y="140"/>
                      <a:pt x="185" y="143"/>
                      <a:pt x="182" y="145"/>
                    </a:cubicBezTo>
                    <a:cubicBezTo>
                      <a:pt x="180" y="147"/>
                      <a:pt x="177" y="149"/>
                      <a:pt x="175" y="150"/>
                    </a:cubicBezTo>
                    <a:cubicBezTo>
                      <a:pt x="174" y="151"/>
                      <a:pt x="174" y="151"/>
                      <a:pt x="174" y="151"/>
                    </a:cubicBezTo>
                    <a:cubicBezTo>
                      <a:pt x="173" y="151"/>
                      <a:pt x="171" y="153"/>
                      <a:pt x="171" y="153"/>
                    </a:cubicBezTo>
                    <a:cubicBezTo>
                      <a:pt x="171" y="154"/>
                      <a:pt x="171" y="154"/>
                      <a:pt x="171" y="154"/>
                    </a:cubicBezTo>
                    <a:cubicBezTo>
                      <a:pt x="169" y="155"/>
                      <a:pt x="168" y="156"/>
                      <a:pt x="167" y="158"/>
                    </a:cubicBezTo>
                    <a:cubicBezTo>
                      <a:pt x="167" y="158"/>
                      <a:pt x="167" y="158"/>
                      <a:pt x="167" y="158"/>
                    </a:cubicBezTo>
                    <a:cubicBezTo>
                      <a:pt x="166" y="159"/>
                      <a:pt x="166" y="159"/>
                      <a:pt x="165" y="160"/>
                    </a:cubicBezTo>
                    <a:cubicBezTo>
                      <a:pt x="166" y="161"/>
                      <a:pt x="166" y="161"/>
                      <a:pt x="166" y="161"/>
                    </a:cubicBezTo>
                    <a:cubicBezTo>
                      <a:pt x="167" y="162"/>
                      <a:pt x="167" y="162"/>
                      <a:pt x="167" y="162"/>
                    </a:cubicBezTo>
                    <a:cubicBezTo>
                      <a:pt x="167" y="163"/>
                      <a:pt x="167" y="163"/>
                      <a:pt x="167" y="163"/>
                    </a:cubicBezTo>
                    <a:cubicBezTo>
                      <a:pt x="169" y="166"/>
                      <a:pt x="169" y="166"/>
                      <a:pt x="169" y="166"/>
                    </a:cubicBezTo>
                    <a:cubicBezTo>
                      <a:pt x="166" y="168"/>
                      <a:pt x="166" y="168"/>
                      <a:pt x="166" y="168"/>
                    </a:cubicBezTo>
                    <a:cubicBezTo>
                      <a:pt x="164" y="169"/>
                      <a:pt x="163" y="170"/>
                      <a:pt x="161" y="170"/>
                    </a:cubicBezTo>
                    <a:cubicBezTo>
                      <a:pt x="160" y="171"/>
                      <a:pt x="160" y="171"/>
                      <a:pt x="160" y="171"/>
                    </a:cubicBezTo>
                    <a:cubicBezTo>
                      <a:pt x="157" y="172"/>
                      <a:pt x="155" y="173"/>
                      <a:pt x="153" y="174"/>
                    </a:cubicBezTo>
                    <a:cubicBezTo>
                      <a:pt x="152" y="175"/>
                      <a:pt x="151" y="175"/>
                      <a:pt x="151" y="176"/>
                    </a:cubicBezTo>
                    <a:cubicBezTo>
                      <a:pt x="150" y="177"/>
                      <a:pt x="149" y="179"/>
                      <a:pt x="149" y="181"/>
                    </a:cubicBezTo>
                    <a:cubicBezTo>
                      <a:pt x="149" y="182"/>
                      <a:pt x="149" y="182"/>
                      <a:pt x="149" y="183"/>
                    </a:cubicBezTo>
                    <a:cubicBezTo>
                      <a:pt x="148" y="185"/>
                      <a:pt x="148" y="185"/>
                      <a:pt x="148" y="185"/>
                    </a:cubicBezTo>
                    <a:cubicBezTo>
                      <a:pt x="148" y="186"/>
                      <a:pt x="147" y="187"/>
                      <a:pt x="147" y="187"/>
                    </a:cubicBezTo>
                    <a:cubicBezTo>
                      <a:pt x="146" y="189"/>
                      <a:pt x="145" y="191"/>
                      <a:pt x="144" y="193"/>
                    </a:cubicBezTo>
                    <a:cubicBezTo>
                      <a:pt x="144" y="194"/>
                      <a:pt x="144" y="194"/>
                      <a:pt x="144" y="194"/>
                    </a:cubicBezTo>
                    <a:cubicBezTo>
                      <a:pt x="143" y="195"/>
                      <a:pt x="142" y="197"/>
                      <a:pt x="141" y="198"/>
                    </a:cubicBezTo>
                    <a:cubicBezTo>
                      <a:pt x="138" y="203"/>
                      <a:pt x="136" y="204"/>
                      <a:pt x="131" y="207"/>
                    </a:cubicBezTo>
                    <a:cubicBezTo>
                      <a:pt x="131" y="207"/>
                      <a:pt x="131" y="207"/>
                      <a:pt x="131" y="207"/>
                    </a:cubicBezTo>
                    <a:cubicBezTo>
                      <a:pt x="130" y="208"/>
                      <a:pt x="129" y="208"/>
                      <a:pt x="128" y="209"/>
                    </a:cubicBezTo>
                    <a:cubicBezTo>
                      <a:pt x="126" y="210"/>
                      <a:pt x="124" y="211"/>
                      <a:pt x="123" y="213"/>
                    </a:cubicBezTo>
                    <a:cubicBezTo>
                      <a:pt x="126" y="215"/>
                      <a:pt x="126" y="215"/>
                      <a:pt x="126" y="215"/>
                    </a:cubicBezTo>
                    <a:cubicBezTo>
                      <a:pt x="122" y="214"/>
                      <a:pt x="122" y="214"/>
                      <a:pt x="122" y="214"/>
                    </a:cubicBezTo>
                    <a:cubicBezTo>
                      <a:pt x="104" y="238"/>
                      <a:pt x="104" y="238"/>
                      <a:pt x="104" y="238"/>
                    </a:cubicBezTo>
                    <a:cubicBezTo>
                      <a:pt x="102" y="239"/>
                      <a:pt x="101" y="239"/>
                      <a:pt x="100" y="240"/>
                    </a:cubicBezTo>
                    <a:cubicBezTo>
                      <a:pt x="98" y="240"/>
                      <a:pt x="96" y="240"/>
                      <a:pt x="93" y="241"/>
                    </a:cubicBezTo>
                    <a:cubicBezTo>
                      <a:pt x="92" y="241"/>
                      <a:pt x="92" y="241"/>
                      <a:pt x="92" y="241"/>
                    </a:cubicBezTo>
                    <a:cubicBezTo>
                      <a:pt x="91" y="241"/>
                      <a:pt x="91" y="241"/>
                      <a:pt x="91" y="241"/>
                    </a:cubicBezTo>
                    <a:cubicBezTo>
                      <a:pt x="90" y="241"/>
                      <a:pt x="89" y="241"/>
                      <a:pt x="89" y="241"/>
                    </a:cubicBezTo>
                    <a:cubicBezTo>
                      <a:pt x="87" y="242"/>
                      <a:pt x="87" y="242"/>
                      <a:pt x="87" y="242"/>
                    </a:cubicBezTo>
                    <a:cubicBezTo>
                      <a:pt x="87" y="242"/>
                      <a:pt x="87" y="242"/>
                      <a:pt x="87" y="242"/>
                    </a:cubicBezTo>
                    <a:cubicBezTo>
                      <a:pt x="85" y="242"/>
                      <a:pt x="83" y="243"/>
                      <a:pt x="81" y="244"/>
                    </a:cubicBezTo>
                    <a:cubicBezTo>
                      <a:pt x="80" y="244"/>
                      <a:pt x="80" y="244"/>
                      <a:pt x="80" y="244"/>
                    </a:cubicBezTo>
                    <a:cubicBezTo>
                      <a:pt x="79" y="245"/>
                      <a:pt x="77" y="245"/>
                      <a:pt x="76" y="245"/>
                    </a:cubicBezTo>
                    <a:cubicBezTo>
                      <a:pt x="75" y="245"/>
                      <a:pt x="73" y="244"/>
                      <a:pt x="72" y="243"/>
                    </a:cubicBezTo>
                    <a:cubicBezTo>
                      <a:pt x="72" y="243"/>
                      <a:pt x="72" y="243"/>
                      <a:pt x="72" y="243"/>
                    </a:cubicBezTo>
                    <a:cubicBezTo>
                      <a:pt x="71" y="243"/>
                      <a:pt x="71" y="242"/>
                      <a:pt x="70" y="242"/>
                    </a:cubicBezTo>
                    <a:cubicBezTo>
                      <a:pt x="70" y="241"/>
                      <a:pt x="69" y="240"/>
                      <a:pt x="68" y="239"/>
                    </a:cubicBezTo>
                    <a:cubicBezTo>
                      <a:pt x="68" y="238"/>
                      <a:pt x="67" y="237"/>
                      <a:pt x="67" y="236"/>
                    </a:cubicBezTo>
                    <a:cubicBezTo>
                      <a:pt x="67" y="236"/>
                      <a:pt x="67" y="236"/>
                      <a:pt x="67" y="236"/>
                    </a:cubicBezTo>
                    <a:cubicBezTo>
                      <a:pt x="66" y="236"/>
                      <a:pt x="66" y="236"/>
                      <a:pt x="66" y="236"/>
                    </a:cubicBezTo>
                    <a:cubicBezTo>
                      <a:pt x="66" y="235"/>
                      <a:pt x="66" y="235"/>
                      <a:pt x="66" y="235"/>
                    </a:cubicBezTo>
                    <a:cubicBezTo>
                      <a:pt x="65" y="235"/>
                      <a:pt x="65" y="235"/>
                      <a:pt x="65" y="235"/>
                    </a:cubicBezTo>
                    <a:cubicBezTo>
                      <a:pt x="64" y="236"/>
                      <a:pt x="64" y="236"/>
                      <a:pt x="64" y="236"/>
                    </a:cubicBezTo>
                    <a:cubicBezTo>
                      <a:pt x="64" y="236"/>
                      <a:pt x="64" y="236"/>
                      <a:pt x="63" y="236"/>
                    </a:cubicBezTo>
                    <a:cubicBezTo>
                      <a:pt x="62" y="237"/>
                      <a:pt x="62" y="237"/>
                      <a:pt x="62" y="237"/>
                    </a:cubicBezTo>
                    <a:cubicBezTo>
                      <a:pt x="62" y="238"/>
                      <a:pt x="62" y="238"/>
                      <a:pt x="62" y="238"/>
                    </a:cubicBezTo>
                    <a:cubicBezTo>
                      <a:pt x="61" y="238"/>
                      <a:pt x="61" y="238"/>
                      <a:pt x="61" y="238"/>
                    </a:cubicBezTo>
                    <a:cubicBezTo>
                      <a:pt x="59" y="241"/>
                      <a:pt x="59" y="241"/>
                      <a:pt x="59" y="241"/>
                    </a:cubicBezTo>
                    <a:cubicBezTo>
                      <a:pt x="58" y="241"/>
                      <a:pt x="58" y="241"/>
                      <a:pt x="58" y="241"/>
                    </a:cubicBezTo>
                    <a:cubicBezTo>
                      <a:pt x="58" y="242"/>
                      <a:pt x="58" y="242"/>
                      <a:pt x="58" y="242"/>
                    </a:cubicBezTo>
                    <a:cubicBezTo>
                      <a:pt x="57" y="243"/>
                      <a:pt x="56" y="244"/>
                      <a:pt x="56" y="244"/>
                    </a:cubicBezTo>
                    <a:cubicBezTo>
                      <a:pt x="55" y="246"/>
                      <a:pt x="53" y="248"/>
                      <a:pt x="51" y="249"/>
                    </a:cubicBezTo>
                    <a:cubicBezTo>
                      <a:pt x="49" y="253"/>
                      <a:pt x="45" y="256"/>
                      <a:pt x="43" y="260"/>
                    </a:cubicBezTo>
                    <a:cubicBezTo>
                      <a:pt x="41" y="264"/>
                      <a:pt x="40" y="267"/>
                      <a:pt x="40" y="268"/>
                    </a:cubicBezTo>
                    <a:cubicBezTo>
                      <a:pt x="40" y="269"/>
                      <a:pt x="41" y="269"/>
                      <a:pt x="41" y="269"/>
                    </a:cubicBezTo>
                    <a:cubicBezTo>
                      <a:pt x="42" y="270"/>
                      <a:pt x="43" y="271"/>
                      <a:pt x="46" y="272"/>
                    </a:cubicBezTo>
                    <a:cubicBezTo>
                      <a:pt x="47" y="272"/>
                      <a:pt x="47" y="272"/>
                      <a:pt x="47" y="272"/>
                    </a:cubicBezTo>
                    <a:cubicBezTo>
                      <a:pt x="48" y="272"/>
                      <a:pt x="50" y="272"/>
                      <a:pt x="52" y="272"/>
                    </a:cubicBezTo>
                    <a:cubicBezTo>
                      <a:pt x="52" y="272"/>
                      <a:pt x="53" y="272"/>
                      <a:pt x="53" y="273"/>
                    </a:cubicBezTo>
                    <a:cubicBezTo>
                      <a:pt x="55" y="273"/>
                      <a:pt x="56" y="273"/>
                      <a:pt x="57" y="274"/>
                    </a:cubicBezTo>
                    <a:cubicBezTo>
                      <a:pt x="59" y="275"/>
                      <a:pt x="60" y="277"/>
                      <a:pt x="60" y="279"/>
                    </a:cubicBezTo>
                    <a:cubicBezTo>
                      <a:pt x="60" y="281"/>
                      <a:pt x="60" y="283"/>
                      <a:pt x="60" y="285"/>
                    </a:cubicBezTo>
                    <a:cubicBezTo>
                      <a:pt x="59" y="288"/>
                      <a:pt x="59" y="290"/>
                      <a:pt x="59" y="291"/>
                    </a:cubicBezTo>
                    <a:cubicBezTo>
                      <a:pt x="60" y="292"/>
                      <a:pt x="60" y="292"/>
                      <a:pt x="60" y="293"/>
                    </a:cubicBezTo>
                    <a:cubicBezTo>
                      <a:pt x="60" y="294"/>
                      <a:pt x="60" y="294"/>
                      <a:pt x="60" y="294"/>
                    </a:cubicBezTo>
                    <a:cubicBezTo>
                      <a:pt x="61" y="296"/>
                      <a:pt x="61" y="298"/>
                      <a:pt x="62" y="299"/>
                    </a:cubicBezTo>
                    <a:cubicBezTo>
                      <a:pt x="63" y="300"/>
                      <a:pt x="63" y="300"/>
                      <a:pt x="63" y="300"/>
                    </a:cubicBezTo>
                    <a:cubicBezTo>
                      <a:pt x="64" y="300"/>
                      <a:pt x="64" y="300"/>
                      <a:pt x="64" y="300"/>
                    </a:cubicBezTo>
                    <a:cubicBezTo>
                      <a:pt x="64" y="300"/>
                      <a:pt x="65" y="300"/>
                      <a:pt x="65" y="300"/>
                    </a:cubicBezTo>
                    <a:cubicBezTo>
                      <a:pt x="65" y="300"/>
                      <a:pt x="65" y="300"/>
                      <a:pt x="65" y="300"/>
                    </a:cubicBezTo>
                    <a:cubicBezTo>
                      <a:pt x="65" y="300"/>
                      <a:pt x="65" y="300"/>
                      <a:pt x="65" y="300"/>
                    </a:cubicBezTo>
                    <a:cubicBezTo>
                      <a:pt x="66" y="300"/>
                      <a:pt x="66" y="300"/>
                      <a:pt x="66" y="300"/>
                    </a:cubicBezTo>
                    <a:cubicBezTo>
                      <a:pt x="66" y="300"/>
                      <a:pt x="66" y="300"/>
                      <a:pt x="66" y="300"/>
                    </a:cubicBezTo>
                    <a:cubicBezTo>
                      <a:pt x="67" y="300"/>
                      <a:pt x="67" y="299"/>
                      <a:pt x="67" y="299"/>
                    </a:cubicBezTo>
                    <a:cubicBezTo>
                      <a:pt x="68" y="299"/>
                      <a:pt x="68" y="299"/>
                      <a:pt x="69" y="299"/>
                    </a:cubicBezTo>
                    <a:cubicBezTo>
                      <a:pt x="69" y="299"/>
                      <a:pt x="70" y="299"/>
                      <a:pt x="70" y="299"/>
                    </a:cubicBezTo>
                    <a:cubicBezTo>
                      <a:pt x="72" y="300"/>
                      <a:pt x="74" y="302"/>
                      <a:pt x="74" y="304"/>
                    </a:cubicBezTo>
                    <a:cubicBezTo>
                      <a:pt x="75" y="305"/>
                      <a:pt x="75" y="306"/>
                      <a:pt x="75" y="307"/>
                    </a:cubicBezTo>
                    <a:cubicBezTo>
                      <a:pt x="75" y="309"/>
                      <a:pt x="76" y="310"/>
                      <a:pt x="76" y="312"/>
                    </a:cubicBezTo>
                    <a:cubicBezTo>
                      <a:pt x="77" y="313"/>
                      <a:pt x="77" y="314"/>
                      <a:pt x="77" y="315"/>
                    </a:cubicBezTo>
                    <a:cubicBezTo>
                      <a:pt x="78" y="315"/>
                      <a:pt x="78" y="315"/>
                      <a:pt x="78" y="315"/>
                    </a:cubicBezTo>
                    <a:cubicBezTo>
                      <a:pt x="78" y="315"/>
                      <a:pt x="78" y="315"/>
                      <a:pt x="78" y="315"/>
                    </a:cubicBezTo>
                    <a:cubicBezTo>
                      <a:pt x="84" y="329"/>
                      <a:pt x="84" y="329"/>
                      <a:pt x="84" y="329"/>
                    </a:cubicBezTo>
                    <a:cubicBezTo>
                      <a:pt x="85" y="331"/>
                      <a:pt x="85" y="332"/>
                      <a:pt x="85" y="333"/>
                    </a:cubicBezTo>
                    <a:cubicBezTo>
                      <a:pt x="85" y="335"/>
                      <a:pt x="84" y="336"/>
                      <a:pt x="84" y="337"/>
                    </a:cubicBezTo>
                    <a:cubicBezTo>
                      <a:pt x="83" y="338"/>
                      <a:pt x="83" y="338"/>
                      <a:pt x="83" y="338"/>
                    </a:cubicBezTo>
                    <a:cubicBezTo>
                      <a:pt x="84" y="338"/>
                      <a:pt x="84" y="338"/>
                      <a:pt x="84" y="338"/>
                    </a:cubicBezTo>
                    <a:cubicBezTo>
                      <a:pt x="85" y="339"/>
                      <a:pt x="85" y="339"/>
                      <a:pt x="85" y="339"/>
                    </a:cubicBezTo>
                    <a:cubicBezTo>
                      <a:pt x="86" y="340"/>
                      <a:pt x="86" y="340"/>
                      <a:pt x="86" y="340"/>
                    </a:cubicBezTo>
                    <a:cubicBezTo>
                      <a:pt x="86" y="341"/>
                      <a:pt x="86" y="341"/>
                      <a:pt x="86" y="341"/>
                    </a:cubicBezTo>
                    <a:cubicBezTo>
                      <a:pt x="86" y="343"/>
                      <a:pt x="84" y="345"/>
                      <a:pt x="84" y="345"/>
                    </a:cubicBezTo>
                    <a:cubicBezTo>
                      <a:pt x="83" y="346"/>
                      <a:pt x="82" y="347"/>
                      <a:pt x="81" y="347"/>
                    </a:cubicBezTo>
                    <a:cubicBezTo>
                      <a:pt x="80" y="347"/>
                      <a:pt x="80" y="347"/>
                      <a:pt x="80" y="347"/>
                    </a:cubicBezTo>
                    <a:cubicBezTo>
                      <a:pt x="80" y="347"/>
                      <a:pt x="80" y="347"/>
                      <a:pt x="80" y="347"/>
                    </a:cubicBezTo>
                    <a:cubicBezTo>
                      <a:pt x="79" y="348"/>
                      <a:pt x="79" y="348"/>
                      <a:pt x="79" y="348"/>
                    </a:cubicBezTo>
                    <a:cubicBezTo>
                      <a:pt x="79" y="349"/>
                      <a:pt x="79" y="349"/>
                      <a:pt x="79" y="349"/>
                    </a:cubicBezTo>
                    <a:cubicBezTo>
                      <a:pt x="78" y="349"/>
                      <a:pt x="78" y="349"/>
                      <a:pt x="78" y="349"/>
                    </a:cubicBezTo>
                    <a:cubicBezTo>
                      <a:pt x="76" y="350"/>
                      <a:pt x="75" y="350"/>
                      <a:pt x="74" y="350"/>
                    </a:cubicBezTo>
                    <a:cubicBezTo>
                      <a:pt x="74" y="350"/>
                      <a:pt x="73" y="350"/>
                      <a:pt x="73" y="350"/>
                    </a:cubicBezTo>
                    <a:cubicBezTo>
                      <a:pt x="71" y="350"/>
                      <a:pt x="69" y="349"/>
                      <a:pt x="67" y="348"/>
                    </a:cubicBezTo>
                    <a:cubicBezTo>
                      <a:pt x="67" y="347"/>
                      <a:pt x="66" y="347"/>
                      <a:pt x="66" y="347"/>
                    </a:cubicBezTo>
                    <a:cubicBezTo>
                      <a:pt x="66" y="346"/>
                      <a:pt x="66" y="346"/>
                      <a:pt x="66" y="346"/>
                    </a:cubicBezTo>
                    <a:cubicBezTo>
                      <a:pt x="65" y="346"/>
                      <a:pt x="65" y="346"/>
                      <a:pt x="65" y="346"/>
                    </a:cubicBezTo>
                    <a:cubicBezTo>
                      <a:pt x="63" y="346"/>
                      <a:pt x="63" y="346"/>
                      <a:pt x="63" y="346"/>
                    </a:cubicBezTo>
                    <a:cubicBezTo>
                      <a:pt x="61" y="347"/>
                      <a:pt x="59" y="348"/>
                      <a:pt x="57" y="348"/>
                    </a:cubicBezTo>
                    <a:cubicBezTo>
                      <a:pt x="57" y="349"/>
                      <a:pt x="57" y="349"/>
                      <a:pt x="57" y="349"/>
                    </a:cubicBezTo>
                    <a:cubicBezTo>
                      <a:pt x="56" y="351"/>
                      <a:pt x="56" y="351"/>
                      <a:pt x="56" y="351"/>
                    </a:cubicBezTo>
                    <a:cubicBezTo>
                      <a:pt x="55" y="352"/>
                      <a:pt x="55" y="352"/>
                      <a:pt x="55" y="352"/>
                    </a:cubicBezTo>
                    <a:cubicBezTo>
                      <a:pt x="53" y="352"/>
                      <a:pt x="52" y="353"/>
                      <a:pt x="50" y="353"/>
                    </a:cubicBezTo>
                    <a:cubicBezTo>
                      <a:pt x="50" y="353"/>
                      <a:pt x="49" y="353"/>
                      <a:pt x="48" y="352"/>
                    </a:cubicBezTo>
                    <a:cubicBezTo>
                      <a:pt x="47" y="352"/>
                      <a:pt x="46" y="352"/>
                      <a:pt x="44" y="352"/>
                    </a:cubicBezTo>
                    <a:cubicBezTo>
                      <a:pt x="44" y="352"/>
                      <a:pt x="43" y="352"/>
                      <a:pt x="42" y="351"/>
                    </a:cubicBezTo>
                    <a:cubicBezTo>
                      <a:pt x="33" y="350"/>
                      <a:pt x="33" y="350"/>
                      <a:pt x="33" y="350"/>
                    </a:cubicBezTo>
                    <a:cubicBezTo>
                      <a:pt x="29" y="350"/>
                      <a:pt x="24" y="349"/>
                      <a:pt x="20" y="349"/>
                    </a:cubicBezTo>
                    <a:cubicBezTo>
                      <a:pt x="20" y="350"/>
                      <a:pt x="20" y="352"/>
                      <a:pt x="19" y="353"/>
                    </a:cubicBezTo>
                    <a:cubicBezTo>
                      <a:pt x="19" y="354"/>
                      <a:pt x="19" y="354"/>
                      <a:pt x="19" y="354"/>
                    </a:cubicBezTo>
                    <a:cubicBezTo>
                      <a:pt x="19" y="355"/>
                      <a:pt x="19" y="355"/>
                      <a:pt x="19" y="356"/>
                    </a:cubicBezTo>
                    <a:cubicBezTo>
                      <a:pt x="18" y="357"/>
                      <a:pt x="18" y="357"/>
                      <a:pt x="18" y="357"/>
                    </a:cubicBezTo>
                    <a:cubicBezTo>
                      <a:pt x="18" y="358"/>
                      <a:pt x="17" y="358"/>
                      <a:pt x="16" y="358"/>
                    </a:cubicBezTo>
                    <a:cubicBezTo>
                      <a:pt x="15" y="359"/>
                      <a:pt x="14" y="359"/>
                      <a:pt x="13" y="359"/>
                    </a:cubicBezTo>
                    <a:cubicBezTo>
                      <a:pt x="13" y="359"/>
                      <a:pt x="13" y="359"/>
                      <a:pt x="13" y="359"/>
                    </a:cubicBezTo>
                    <a:cubicBezTo>
                      <a:pt x="12" y="359"/>
                      <a:pt x="12" y="359"/>
                      <a:pt x="11" y="359"/>
                    </a:cubicBezTo>
                    <a:cubicBezTo>
                      <a:pt x="10" y="359"/>
                      <a:pt x="10" y="359"/>
                      <a:pt x="10" y="359"/>
                    </a:cubicBezTo>
                    <a:cubicBezTo>
                      <a:pt x="0" y="367"/>
                      <a:pt x="0" y="367"/>
                      <a:pt x="0" y="367"/>
                    </a:cubicBezTo>
                    <a:cubicBezTo>
                      <a:pt x="1" y="367"/>
                      <a:pt x="1" y="367"/>
                      <a:pt x="1" y="367"/>
                    </a:cubicBezTo>
                    <a:cubicBezTo>
                      <a:pt x="3" y="367"/>
                      <a:pt x="4" y="366"/>
                      <a:pt x="5" y="365"/>
                    </a:cubicBezTo>
                    <a:cubicBezTo>
                      <a:pt x="9" y="363"/>
                      <a:pt x="13" y="361"/>
                      <a:pt x="17" y="359"/>
                    </a:cubicBezTo>
                    <a:cubicBezTo>
                      <a:pt x="17" y="359"/>
                      <a:pt x="17" y="359"/>
                      <a:pt x="17" y="359"/>
                    </a:cubicBezTo>
                    <a:cubicBezTo>
                      <a:pt x="17" y="359"/>
                      <a:pt x="17" y="359"/>
                      <a:pt x="17" y="359"/>
                    </a:cubicBezTo>
                    <a:cubicBezTo>
                      <a:pt x="15" y="360"/>
                      <a:pt x="13" y="361"/>
                      <a:pt x="12" y="362"/>
                    </a:cubicBezTo>
                    <a:cubicBezTo>
                      <a:pt x="10" y="363"/>
                      <a:pt x="9" y="366"/>
                      <a:pt x="8" y="366"/>
                    </a:cubicBezTo>
                    <a:cubicBezTo>
                      <a:pt x="8" y="366"/>
                      <a:pt x="7" y="366"/>
                      <a:pt x="7" y="365"/>
                    </a:cubicBezTo>
                    <a:cubicBezTo>
                      <a:pt x="7" y="366"/>
                      <a:pt x="7" y="366"/>
                      <a:pt x="7" y="366"/>
                    </a:cubicBezTo>
                    <a:cubicBezTo>
                      <a:pt x="8" y="367"/>
                      <a:pt x="8" y="367"/>
                      <a:pt x="8" y="368"/>
                    </a:cubicBezTo>
                    <a:cubicBezTo>
                      <a:pt x="9" y="370"/>
                      <a:pt x="10" y="373"/>
                      <a:pt x="11" y="375"/>
                    </a:cubicBezTo>
                    <a:cubicBezTo>
                      <a:pt x="13" y="378"/>
                      <a:pt x="14" y="380"/>
                      <a:pt x="16" y="381"/>
                    </a:cubicBezTo>
                    <a:cubicBezTo>
                      <a:pt x="17" y="382"/>
                      <a:pt x="18" y="383"/>
                      <a:pt x="19" y="383"/>
                    </a:cubicBezTo>
                    <a:cubicBezTo>
                      <a:pt x="20" y="384"/>
                      <a:pt x="22" y="385"/>
                      <a:pt x="23" y="386"/>
                    </a:cubicBezTo>
                    <a:cubicBezTo>
                      <a:pt x="25" y="387"/>
                      <a:pt x="28" y="388"/>
                      <a:pt x="31" y="389"/>
                    </a:cubicBezTo>
                    <a:cubicBezTo>
                      <a:pt x="31" y="389"/>
                      <a:pt x="32" y="390"/>
                      <a:pt x="33" y="390"/>
                    </a:cubicBezTo>
                    <a:cubicBezTo>
                      <a:pt x="34" y="390"/>
                      <a:pt x="37" y="391"/>
                      <a:pt x="39" y="392"/>
                    </a:cubicBezTo>
                    <a:cubicBezTo>
                      <a:pt x="40" y="392"/>
                      <a:pt x="41" y="392"/>
                      <a:pt x="42" y="392"/>
                    </a:cubicBezTo>
                    <a:cubicBezTo>
                      <a:pt x="43" y="392"/>
                      <a:pt x="43" y="392"/>
                      <a:pt x="43" y="392"/>
                    </a:cubicBezTo>
                    <a:cubicBezTo>
                      <a:pt x="45" y="391"/>
                      <a:pt x="47" y="389"/>
                      <a:pt x="49" y="388"/>
                    </a:cubicBezTo>
                    <a:cubicBezTo>
                      <a:pt x="51" y="388"/>
                      <a:pt x="56" y="387"/>
                      <a:pt x="55" y="386"/>
                    </a:cubicBezTo>
                    <a:cubicBezTo>
                      <a:pt x="56" y="386"/>
                      <a:pt x="56" y="386"/>
                      <a:pt x="56" y="386"/>
                    </a:cubicBezTo>
                    <a:cubicBezTo>
                      <a:pt x="57" y="386"/>
                      <a:pt x="59" y="387"/>
                      <a:pt x="61" y="387"/>
                    </a:cubicBezTo>
                    <a:cubicBezTo>
                      <a:pt x="62" y="387"/>
                      <a:pt x="62" y="387"/>
                      <a:pt x="62" y="386"/>
                    </a:cubicBezTo>
                    <a:cubicBezTo>
                      <a:pt x="64" y="386"/>
                      <a:pt x="64" y="382"/>
                      <a:pt x="66" y="381"/>
                    </a:cubicBezTo>
                    <a:cubicBezTo>
                      <a:pt x="64" y="384"/>
                      <a:pt x="62" y="389"/>
                      <a:pt x="60" y="393"/>
                    </a:cubicBezTo>
                    <a:cubicBezTo>
                      <a:pt x="59" y="395"/>
                      <a:pt x="57" y="397"/>
                      <a:pt x="56" y="398"/>
                    </a:cubicBezTo>
                    <a:cubicBezTo>
                      <a:pt x="55" y="398"/>
                      <a:pt x="54" y="399"/>
                      <a:pt x="54" y="399"/>
                    </a:cubicBezTo>
                    <a:cubicBezTo>
                      <a:pt x="526" y="399"/>
                      <a:pt x="526" y="399"/>
                      <a:pt x="526" y="399"/>
                    </a:cubicBezTo>
                    <a:cubicBezTo>
                      <a:pt x="526" y="284"/>
                      <a:pt x="526" y="284"/>
                      <a:pt x="526" y="284"/>
                    </a:cubicBezTo>
                    <a:cubicBezTo>
                      <a:pt x="525" y="284"/>
                      <a:pt x="525" y="283"/>
                      <a:pt x="524" y="283"/>
                    </a:cubicBezTo>
                    <a:cubicBezTo>
                      <a:pt x="524" y="283"/>
                      <a:pt x="524" y="283"/>
                      <a:pt x="524" y="283"/>
                    </a:cubicBezTo>
                    <a:cubicBezTo>
                      <a:pt x="524" y="283"/>
                      <a:pt x="523" y="283"/>
                      <a:pt x="523" y="283"/>
                    </a:cubicBezTo>
                    <a:cubicBezTo>
                      <a:pt x="519" y="281"/>
                      <a:pt x="519" y="281"/>
                      <a:pt x="519" y="281"/>
                    </a:cubicBezTo>
                    <a:cubicBezTo>
                      <a:pt x="519" y="281"/>
                      <a:pt x="518" y="280"/>
                      <a:pt x="517" y="280"/>
                    </a:cubicBezTo>
                    <a:cubicBezTo>
                      <a:pt x="516" y="280"/>
                      <a:pt x="515" y="279"/>
                      <a:pt x="514" y="279"/>
                    </a:cubicBezTo>
                    <a:cubicBezTo>
                      <a:pt x="513" y="279"/>
                      <a:pt x="513" y="279"/>
                      <a:pt x="513" y="279"/>
                    </a:cubicBezTo>
                    <a:cubicBezTo>
                      <a:pt x="512" y="279"/>
                      <a:pt x="512" y="279"/>
                      <a:pt x="511" y="279"/>
                    </a:cubicBezTo>
                    <a:cubicBezTo>
                      <a:pt x="511" y="279"/>
                      <a:pt x="511" y="279"/>
                      <a:pt x="511" y="279"/>
                    </a:cubicBezTo>
                    <a:cubicBezTo>
                      <a:pt x="510" y="279"/>
                      <a:pt x="510" y="279"/>
                      <a:pt x="509" y="279"/>
                    </a:cubicBezTo>
                    <a:cubicBezTo>
                      <a:pt x="508" y="280"/>
                      <a:pt x="508" y="280"/>
                      <a:pt x="508" y="280"/>
                    </a:cubicBezTo>
                    <a:cubicBezTo>
                      <a:pt x="507" y="280"/>
                      <a:pt x="506" y="280"/>
                      <a:pt x="505" y="280"/>
                    </a:cubicBezTo>
                    <a:cubicBezTo>
                      <a:pt x="504" y="280"/>
                      <a:pt x="504" y="280"/>
                      <a:pt x="503" y="280"/>
                    </a:cubicBezTo>
                    <a:cubicBezTo>
                      <a:pt x="502" y="279"/>
                      <a:pt x="501" y="279"/>
                      <a:pt x="501" y="279"/>
                    </a:cubicBezTo>
                    <a:cubicBezTo>
                      <a:pt x="500" y="278"/>
                      <a:pt x="499" y="278"/>
                      <a:pt x="499" y="277"/>
                    </a:cubicBezTo>
                    <a:cubicBezTo>
                      <a:pt x="498" y="276"/>
                      <a:pt x="497" y="275"/>
                      <a:pt x="497" y="274"/>
                    </a:cubicBezTo>
                    <a:cubicBezTo>
                      <a:pt x="497" y="274"/>
                      <a:pt x="496" y="273"/>
                      <a:pt x="496" y="272"/>
                    </a:cubicBezTo>
                    <a:cubicBezTo>
                      <a:pt x="495" y="272"/>
                      <a:pt x="495" y="272"/>
                      <a:pt x="495" y="272"/>
                    </a:cubicBezTo>
                    <a:cubicBezTo>
                      <a:pt x="495" y="272"/>
                      <a:pt x="494" y="273"/>
                      <a:pt x="493" y="273"/>
                    </a:cubicBezTo>
                    <a:cubicBezTo>
                      <a:pt x="491" y="274"/>
                      <a:pt x="491" y="274"/>
                      <a:pt x="491" y="274"/>
                    </a:cubicBezTo>
                    <a:cubicBezTo>
                      <a:pt x="490" y="274"/>
                      <a:pt x="489" y="274"/>
                      <a:pt x="488" y="274"/>
                    </a:cubicBezTo>
                    <a:cubicBezTo>
                      <a:pt x="487" y="274"/>
                      <a:pt x="487" y="274"/>
                      <a:pt x="487" y="274"/>
                    </a:cubicBezTo>
                    <a:cubicBezTo>
                      <a:pt x="486" y="274"/>
                      <a:pt x="485" y="274"/>
                      <a:pt x="484" y="273"/>
                    </a:cubicBezTo>
                    <a:cubicBezTo>
                      <a:pt x="483" y="273"/>
                      <a:pt x="483" y="272"/>
                      <a:pt x="483" y="272"/>
                    </a:cubicBezTo>
                    <a:cubicBezTo>
                      <a:pt x="482" y="272"/>
                      <a:pt x="482" y="272"/>
                      <a:pt x="482" y="272"/>
                    </a:cubicBezTo>
                    <a:cubicBezTo>
                      <a:pt x="482" y="271"/>
                      <a:pt x="481" y="271"/>
                      <a:pt x="481" y="271"/>
                    </a:cubicBezTo>
                    <a:cubicBezTo>
                      <a:pt x="480" y="270"/>
                      <a:pt x="480" y="270"/>
                      <a:pt x="480" y="270"/>
                    </a:cubicBezTo>
                    <a:cubicBezTo>
                      <a:pt x="478" y="269"/>
                      <a:pt x="476" y="268"/>
                      <a:pt x="474" y="268"/>
                    </a:cubicBezTo>
                    <a:cubicBezTo>
                      <a:pt x="473" y="267"/>
                      <a:pt x="473" y="267"/>
                      <a:pt x="473" y="267"/>
                    </a:cubicBezTo>
                    <a:cubicBezTo>
                      <a:pt x="472" y="267"/>
                      <a:pt x="471" y="267"/>
                      <a:pt x="470" y="266"/>
                    </a:cubicBezTo>
                    <a:cubicBezTo>
                      <a:pt x="467" y="265"/>
                      <a:pt x="466" y="264"/>
                      <a:pt x="465" y="262"/>
                    </a:cubicBezTo>
                    <a:cubicBezTo>
                      <a:pt x="465" y="261"/>
                      <a:pt x="464" y="260"/>
                      <a:pt x="464" y="259"/>
                    </a:cubicBezTo>
                    <a:cubicBezTo>
                      <a:pt x="464" y="258"/>
                      <a:pt x="464" y="258"/>
                      <a:pt x="464" y="257"/>
                    </a:cubicBezTo>
                    <a:cubicBezTo>
                      <a:pt x="464" y="256"/>
                      <a:pt x="464" y="256"/>
                      <a:pt x="464" y="256"/>
                    </a:cubicBezTo>
                    <a:cubicBezTo>
                      <a:pt x="464" y="256"/>
                      <a:pt x="464" y="256"/>
                      <a:pt x="464" y="255"/>
                    </a:cubicBezTo>
                    <a:cubicBezTo>
                      <a:pt x="463" y="255"/>
                      <a:pt x="463" y="255"/>
                      <a:pt x="463" y="255"/>
                    </a:cubicBezTo>
                    <a:cubicBezTo>
                      <a:pt x="462" y="254"/>
                      <a:pt x="459" y="253"/>
                      <a:pt x="457" y="253"/>
                    </a:cubicBezTo>
                    <a:cubicBezTo>
                      <a:pt x="456" y="252"/>
                      <a:pt x="456" y="252"/>
                      <a:pt x="456" y="252"/>
                    </a:cubicBezTo>
                    <a:cubicBezTo>
                      <a:pt x="456" y="252"/>
                      <a:pt x="455" y="252"/>
                      <a:pt x="455" y="252"/>
                    </a:cubicBezTo>
                    <a:cubicBezTo>
                      <a:pt x="454" y="252"/>
                      <a:pt x="454" y="251"/>
                      <a:pt x="454" y="251"/>
                    </a:cubicBezTo>
                    <a:cubicBezTo>
                      <a:pt x="453" y="251"/>
                      <a:pt x="453" y="251"/>
                      <a:pt x="453" y="251"/>
                    </a:cubicBezTo>
                    <a:cubicBezTo>
                      <a:pt x="453" y="252"/>
                      <a:pt x="452" y="252"/>
                      <a:pt x="451" y="252"/>
                    </a:cubicBezTo>
                    <a:cubicBezTo>
                      <a:pt x="452" y="259"/>
                      <a:pt x="452" y="259"/>
                      <a:pt x="452" y="259"/>
                    </a:cubicBezTo>
                    <a:cubicBezTo>
                      <a:pt x="450" y="253"/>
                      <a:pt x="450" y="253"/>
                      <a:pt x="450" y="253"/>
                    </a:cubicBezTo>
                    <a:cubicBezTo>
                      <a:pt x="448" y="254"/>
                      <a:pt x="448" y="254"/>
                      <a:pt x="448" y="254"/>
                    </a:cubicBezTo>
                    <a:cubicBezTo>
                      <a:pt x="447" y="255"/>
                      <a:pt x="447" y="255"/>
                      <a:pt x="447" y="255"/>
                    </a:cubicBezTo>
                    <a:cubicBezTo>
                      <a:pt x="446" y="254"/>
                      <a:pt x="446" y="254"/>
                      <a:pt x="446" y="254"/>
                    </a:cubicBezTo>
                    <a:cubicBezTo>
                      <a:pt x="445" y="256"/>
                      <a:pt x="445" y="256"/>
                      <a:pt x="445" y="256"/>
                    </a:cubicBezTo>
                    <a:cubicBezTo>
                      <a:pt x="444" y="256"/>
                      <a:pt x="444" y="256"/>
                      <a:pt x="444" y="256"/>
                    </a:cubicBezTo>
                    <a:cubicBezTo>
                      <a:pt x="437" y="253"/>
                      <a:pt x="437" y="253"/>
                      <a:pt x="437" y="253"/>
                    </a:cubicBezTo>
                    <a:cubicBezTo>
                      <a:pt x="436" y="253"/>
                      <a:pt x="436" y="253"/>
                      <a:pt x="436" y="254"/>
                    </a:cubicBezTo>
                    <a:cubicBezTo>
                      <a:pt x="434" y="255"/>
                      <a:pt x="434" y="255"/>
                      <a:pt x="434" y="255"/>
                    </a:cubicBezTo>
                    <a:cubicBezTo>
                      <a:pt x="434" y="255"/>
                      <a:pt x="434" y="255"/>
                      <a:pt x="434" y="255"/>
                    </a:cubicBezTo>
                    <a:cubicBezTo>
                      <a:pt x="434" y="255"/>
                      <a:pt x="433" y="256"/>
                      <a:pt x="432" y="256"/>
                    </a:cubicBezTo>
                    <a:cubicBezTo>
                      <a:pt x="432" y="256"/>
                      <a:pt x="432" y="256"/>
                      <a:pt x="432" y="256"/>
                    </a:cubicBezTo>
                    <a:cubicBezTo>
                      <a:pt x="432" y="256"/>
                      <a:pt x="431" y="256"/>
                      <a:pt x="431" y="256"/>
                    </a:cubicBezTo>
                    <a:cubicBezTo>
                      <a:pt x="430" y="256"/>
                      <a:pt x="430" y="256"/>
                      <a:pt x="430" y="256"/>
                    </a:cubicBezTo>
                    <a:cubicBezTo>
                      <a:pt x="430" y="256"/>
                      <a:pt x="429" y="256"/>
                      <a:pt x="429" y="256"/>
                    </a:cubicBezTo>
                    <a:cubicBezTo>
                      <a:pt x="428" y="256"/>
                      <a:pt x="428" y="256"/>
                      <a:pt x="427" y="255"/>
                    </a:cubicBezTo>
                    <a:cubicBezTo>
                      <a:pt x="426" y="254"/>
                      <a:pt x="425" y="254"/>
                      <a:pt x="423" y="253"/>
                    </a:cubicBezTo>
                    <a:cubicBezTo>
                      <a:pt x="421" y="253"/>
                      <a:pt x="420" y="253"/>
                      <a:pt x="419" y="252"/>
                    </a:cubicBezTo>
                    <a:cubicBezTo>
                      <a:pt x="416" y="252"/>
                      <a:pt x="416" y="252"/>
                      <a:pt x="416" y="252"/>
                    </a:cubicBezTo>
                    <a:cubicBezTo>
                      <a:pt x="414" y="252"/>
                      <a:pt x="413" y="251"/>
                      <a:pt x="412" y="250"/>
                    </a:cubicBezTo>
                    <a:cubicBezTo>
                      <a:pt x="411" y="249"/>
                      <a:pt x="410" y="247"/>
                      <a:pt x="410" y="246"/>
                    </a:cubicBezTo>
                    <a:cubicBezTo>
                      <a:pt x="410" y="245"/>
                      <a:pt x="410" y="245"/>
                      <a:pt x="410" y="245"/>
                    </a:cubicBezTo>
                    <a:cubicBezTo>
                      <a:pt x="410" y="245"/>
                      <a:pt x="410" y="245"/>
                      <a:pt x="410" y="245"/>
                    </a:cubicBezTo>
                    <a:cubicBezTo>
                      <a:pt x="402" y="242"/>
                      <a:pt x="402" y="242"/>
                      <a:pt x="402" y="242"/>
                    </a:cubicBezTo>
                    <a:cubicBezTo>
                      <a:pt x="400" y="248"/>
                      <a:pt x="400" y="248"/>
                      <a:pt x="400" y="248"/>
                    </a:cubicBezTo>
                    <a:cubicBezTo>
                      <a:pt x="400" y="242"/>
                      <a:pt x="400" y="242"/>
                      <a:pt x="400" y="242"/>
                    </a:cubicBezTo>
                    <a:cubicBezTo>
                      <a:pt x="400" y="242"/>
                      <a:pt x="400" y="242"/>
                      <a:pt x="400" y="242"/>
                    </a:cubicBezTo>
                    <a:cubicBezTo>
                      <a:pt x="398" y="241"/>
                      <a:pt x="396" y="240"/>
                      <a:pt x="394" y="239"/>
                    </a:cubicBezTo>
                    <a:cubicBezTo>
                      <a:pt x="393" y="239"/>
                      <a:pt x="393" y="239"/>
                      <a:pt x="393" y="239"/>
                    </a:cubicBezTo>
                    <a:cubicBezTo>
                      <a:pt x="392" y="240"/>
                      <a:pt x="391" y="240"/>
                      <a:pt x="391" y="240"/>
                    </a:cubicBezTo>
                    <a:cubicBezTo>
                      <a:pt x="390" y="241"/>
                      <a:pt x="390" y="241"/>
                      <a:pt x="390" y="241"/>
                    </a:cubicBezTo>
                    <a:cubicBezTo>
                      <a:pt x="390" y="241"/>
                      <a:pt x="390" y="241"/>
                      <a:pt x="389" y="241"/>
                    </a:cubicBezTo>
                    <a:cubicBezTo>
                      <a:pt x="389" y="241"/>
                      <a:pt x="389" y="241"/>
                      <a:pt x="389" y="241"/>
                    </a:cubicBezTo>
                    <a:cubicBezTo>
                      <a:pt x="387" y="240"/>
                      <a:pt x="385" y="239"/>
                      <a:pt x="382" y="237"/>
                    </a:cubicBezTo>
                    <a:cubicBezTo>
                      <a:pt x="380" y="236"/>
                      <a:pt x="380" y="236"/>
                      <a:pt x="380" y="236"/>
                    </a:cubicBezTo>
                    <a:cubicBezTo>
                      <a:pt x="379" y="235"/>
                      <a:pt x="379" y="235"/>
                      <a:pt x="378" y="235"/>
                    </a:cubicBezTo>
                    <a:cubicBezTo>
                      <a:pt x="377" y="234"/>
                      <a:pt x="377" y="233"/>
                      <a:pt x="376" y="233"/>
                    </a:cubicBezTo>
                    <a:cubicBezTo>
                      <a:pt x="375" y="232"/>
                      <a:pt x="375" y="232"/>
                      <a:pt x="375" y="232"/>
                    </a:cubicBezTo>
                    <a:cubicBezTo>
                      <a:pt x="373" y="231"/>
                      <a:pt x="371" y="229"/>
                      <a:pt x="369" y="227"/>
                    </a:cubicBezTo>
                    <a:cubicBezTo>
                      <a:pt x="369" y="226"/>
                      <a:pt x="369" y="226"/>
                      <a:pt x="369" y="226"/>
                    </a:cubicBezTo>
                    <a:cubicBezTo>
                      <a:pt x="367" y="225"/>
                      <a:pt x="365" y="223"/>
                      <a:pt x="364" y="223"/>
                    </a:cubicBezTo>
                    <a:cubicBezTo>
                      <a:pt x="361" y="221"/>
                      <a:pt x="359" y="220"/>
                      <a:pt x="357" y="219"/>
                    </a:cubicBezTo>
                    <a:cubicBezTo>
                      <a:pt x="353" y="217"/>
                      <a:pt x="353" y="217"/>
                      <a:pt x="353" y="217"/>
                    </a:cubicBezTo>
                    <a:cubicBezTo>
                      <a:pt x="352" y="220"/>
                      <a:pt x="352" y="220"/>
                      <a:pt x="352" y="220"/>
                    </a:cubicBezTo>
                    <a:cubicBezTo>
                      <a:pt x="349" y="218"/>
                      <a:pt x="349" y="218"/>
                      <a:pt x="349" y="218"/>
                    </a:cubicBezTo>
                    <a:cubicBezTo>
                      <a:pt x="346" y="217"/>
                      <a:pt x="342" y="215"/>
                      <a:pt x="340" y="214"/>
                    </a:cubicBezTo>
                    <a:cubicBezTo>
                      <a:pt x="336" y="211"/>
                      <a:pt x="334" y="207"/>
                      <a:pt x="335" y="204"/>
                    </a:cubicBezTo>
                    <a:cubicBezTo>
                      <a:pt x="335" y="203"/>
                      <a:pt x="336" y="201"/>
                      <a:pt x="336" y="200"/>
                    </a:cubicBezTo>
                    <a:cubicBezTo>
                      <a:pt x="337" y="198"/>
                      <a:pt x="338" y="197"/>
                      <a:pt x="339" y="195"/>
                    </a:cubicBezTo>
                    <a:cubicBezTo>
                      <a:pt x="340" y="193"/>
                      <a:pt x="340" y="193"/>
                      <a:pt x="340" y="193"/>
                    </a:cubicBezTo>
                    <a:cubicBezTo>
                      <a:pt x="340" y="193"/>
                      <a:pt x="341" y="192"/>
                      <a:pt x="341" y="192"/>
                    </a:cubicBezTo>
                    <a:cubicBezTo>
                      <a:pt x="340" y="191"/>
                      <a:pt x="340" y="191"/>
                      <a:pt x="340" y="190"/>
                    </a:cubicBezTo>
                    <a:cubicBezTo>
                      <a:pt x="340" y="189"/>
                      <a:pt x="340" y="188"/>
                      <a:pt x="340" y="187"/>
                    </a:cubicBezTo>
                    <a:cubicBezTo>
                      <a:pt x="340" y="186"/>
                      <a:pt x="341" y="185"/>
                      <a:pt x="342" y="184"/>
                    </a:cubicBezTo>
                    <a:cubicBezTo>
                      <a:pt x="344" y="182"/>
                      <a:pt x="344" y="182"/>
                      <a:pt x="344" y="182"/>
                    </a:cubicBezTo>
                    <a:cubicBezTo>
                      <a:pt x="344" y="182"/>
                      <a:pt x="344" y="182"/>
                      <a:pt x="344" y="182"/>
                    </a:cubicBezTo>
                    <a:cubicBezTo>
                      <a:pt x="344" y="181"/>
                      <a:pt x="344" y="181"/>
                      <a:pt x="344" y="181"/>
                    </a:cubicBezTo>
                    <a:cubicBezTo>
                      <a:pt x="345" y="180"/>
                      <a:pt x="345" y="180"/>
                      <a:pt x="345" y="180"/>
                    </a:cubicBezTo>
                    <a:cubicBezTo>
                      <a:pt x="359" y="166"/>
                      <a:pt x="359" y="166"/>
                      <a:pt x="359" y="166"/>
                    </a:cubicBezTo>
                    <a:cubicBezTo>
                      <a:pt x="341" y="156"/>
                      <a:pt x="341" y="156"/>
                      <a:pt x="341" y="156"/>
                    </a:cubicBezTo>
                    <a:cubicBezTo>
                      <a:pt x="339" y="156"/>
                      <a:pt x="339" y="154"/>
                      <a:pt x="338" y="154"/>
                    </a:cubicBezTo>
                    <a:cubicBezTo>
                      <a:pt x="338" y="153"/>
                      <a:pt x="338" y="153"/>
                      <a:pt x="338" y="153"/>
                    </a:cubicBezTo>
                    <a:cubicBezTo>
                      <a:pt x="339" y="150"/>
                      <a:pt x="339" y="150"/>
                      <a:pt x="339" y="150"/>
                    </a:cubicBezTo>
                    <a:cubicBezTo>
                      <a:pt x="339" y="150"/>
                      <a:pt x="339" y="150"/>
                      <a:pt x="339" y="149"/>
                    </a:cubicBezTo>
                    <a:cubicBezTo>
                      <a:pt x="339" y="149"/>
                      <a:pt x="338" y="149"/>
                      <a:pt x="337" y="148"/>
                    </a:cubicBezTo>
                    <a:cubicBezTo>
                      <a:pt x="334" y="147"/>
                      <a:pt x="329" y="145"/>
                      <a:pt x="325" y="144"/>
                    </a:cubicBezTo>
                    <a:cubicBezTo>
                      <a:pt x="324" y="144"/>
                      <a:pt x="324" y="144"/>
                      <a:pt x="324" y="144"/>
                    </a:cubicBezTo>
                    <a:cubicBezTo>
                      <a:pt x="323" y="144"/>
                      <a:pt x="323" y="143"/>
                      <a:pt x="322" y="143"/>
                    </a:cubicBezTo>
                    <a:cubicBezTo>
                      <a:pt x="320" y="143"/>
                      <a:pt x="319" y="142"/>
                      <a:pt x="317" y="140"/>
                    </a:cubicBezTo>
                    <a:cubicBezTo>
                      <a:pt x="316" y="139"/>
                      <a:pt x="316" y="139"/>
                      <a:pt x="316" y="139"/>
                    </a:cubicBezTo>
                    <a:cubicBezTo>
                      <a:pt x="315" y="138"/>
                      <a:pt x="315" y="137"/>
                      <a:pt x="314" y="136"/>
                    </a:cubicBezTo>
                    <a:cubicBezTo>
                      <a:pt x="313" y="135"/>
                      <a:pt x="313" y="135"/>
                      <a:pt x="313" y="135"/>
                    </a:cubicBezTo>
                    <a:cubicBezTo>
                      <a:pt x="313" y="134"/>
                      <a:pt x="312" y="133"/>
                      <a:pt x="312" y="132"/>
                    </a:cubicBezTo>
                    <a:cubicBezTo>
                      <a:pt x="311" y="132"/>
                      <a:pt x="311" y="132"/>
                      <a:pt x="311" y="132"/>
                    </a:cubicBezTo>
                    <a:cubicBezTo>
                      <a:pt x="311" y="132"/>
                      <a:pt x="311" y="132"/>
                      <a:pt x="311" y="132"/>
                    </a:cubicBezTo>
                    <a:cubicBezTo>
                      <a:pt x="310" y="131"/>
                      <a:pt x="310" y="131"/>
                      <a:pt x="310" y="131"/>
                    </a:cubicBezTo>
                    <a:cubicBezTo>
                      <a:pt x="310" y="131"/>
                      <a:pt x="310" y="131"/>
                      <a:pt x="310" y="131"/>
                    </a:cubicBezTo>
                    <a:cubicBezTo>
                      <a:pt x="310" y="130"/>
                      <a:pt x="310" y="130"/>
                      <a:pt x="310" y="130"/>
                    </a:cubicBezTo>
                    <a:cubicBezTo>
                      <a:pt x="310" y="130"/>
                      <a:pt x="310" y="130"/>
                      <a:pt x="310" y="130"/>
                    </a:cubicBezTo>
                    <a:cubicBezTo>
                      <a:pt x="309" y="131"/>
                      <a:pt x="308" y="131"/>
                      <a:pt x="308" y="132"/>
                    </a:cubicBezTo>
                    <a:cubicBezTo>
                      <a:pt x="307" y="133"/>
                      <a:pt x="307" y="133"/>
                      <a:pt x="307" y="133"/>
                    </a:cubicBezTo>
                    <a:cubicBezTo>
                      <a:pt x="306" y="133"/>
                      <a:pt x="306" y="133"/>
                      <a:pt x="306" y="133"/>
                    </a:cubicBezTo>
                    <a:cubicBezTo>
                      <a:pt x="303" y="136"/>
                      <a:pt x="303" y="136"/>
                      <a:pt x="303" y="136"/>
                    </a:cubicBezTo>
                    <a:cubicBezTo>
                      <a:pt x="301" y="133"/>
                      <a:pt x="301" y="133"/>
                      <a:pt x="301" y="133"/>
                    </a:cubicBezTo>
                    <a:cubicBezTo>
                      <a:pt x="301" y="132"/>
                      <a:pt x="300" y="132"/>
                      <a:pt x="300" y="131"/>
                    </a:cubicBezTo>
                    <a:cubicBezTo>
                      <a:pt x="299" y="131"/>
                      <a:pt x="299" y="130"/>
                      <a:pt x="299" y="129"/>
                    </a:cubicBezTo>
                    <a:cubicBezTo>
                      <a:pt x="298" y="128"/>
                      <a:pt x="297" y="127"/>
                      <a:pt x="297" y="126"/>
                    </a:cubicBezTo>
                    <a:cubicBezTo>
                      <a:pt x="296" y="125"/>
                      <a:pt x="296" y="125"/>
                      <a:pt x="296" y="125"/>
                    </a:cubicBezTo>
                    <a:cubicBezTo>
                      <a:pt x="296" y="124"/>
                      <a:pt x="296" y="124"/>
                      <a:pt x="296" y="122"/>
                    </a:cubicBezTo>
                    <a:cubicBezTo>
                      <a:pt x="296" y="121"/>
                      <a:pt x="296" y="121"/>
                      <a:pt x="296" y="121"/>
                    </a:cubicBezTo>
                    <a:cubicBezTo>
                      <a:pt x="296" y="118"/>
                      <a:pt x="297" y="116"/>
                      <a:pt x="296" y="114"/>
                    </a:cubicBezTo>
                    <a:cubicBezTo>
                      <a:pt x="297" y="113"/>
                      <a:pt x="297" y="113"/>
                      <a:pt x="297" y="113"/>
                    </a:cubicBezTo>
                    <a:cubicBezTo>
                      <a:pt x="297" y="112"/>
                      <a:pt x="297" y="112"/>
                      <a:pt x="297" y="112"/>
                    </a:cubicBezTo>
                    <a:cubicBezTo>
                      <a:pt x="296" y="111"/>
                      <a:pt x="296" y="111"/>
                      <a:pt x="296" y="111"/>
                    </a:cubicBezTo>
                    <a:cubicBezTo>
                      <a:pt x="295" y="110"/>
                      <a:pt x="294" y="108"/>
                      <a:pt x="293" y="106"/>
                    </a:cubicBezTo>
                    <a:cubicBezTo>
                      <a:pt x="292" y="106"/>
                      <a:pt x="292" y="106"/>
                      <a:pt x="292" y="106"/>
                    </a:cubicBezTo>
                    <a:cubicBezTo>
                      <a:pt x="290" y="102"/>
                      <a:pt x="289" y="99"/>
                      <a:pt x="287" y="94"/>
                    </a:cubicBezTo>
                    <a:cubicBezTo>
                      <a:pt x="287" y="93"/>
                      <a:pt x="287" y="91"/>
                      <a:pt x="288" y="89"/>
                    </a:cubicBezTo>
                    <a:cubicBezTo>
                      <a:pt x="289" y="88"/>
                      <a:pt x="291" y="87"/>
                      <a:pt x="293" y="87"/>
                    </a:cubicBezTo>
                    <a:cubicBezTo>
                      <a:pt x="293" y="87"/>
                      <a:pt x="294" y="87"/>
                      <a:pt x="294" y="87"/>
                    </a:cubicBezTo>
                    <a:cubicBezTo>
                      <a:pt x="295" y="86"/>
                      <a:pt x="295" y="86"/>
                      <a:pt x="295" y="86"/>
                    </a:cubicBezTo>
                    <a:cubicBezTo>
                      <a:pt x="295" y="86"/>
                      <a:pt x="296" y="86"/>
                      <a:pt x="297" y="86"/>
                    </a:cubicBezTo>
                    <a:cubicBezTo>
                      <a:pt x="307" y="84"/>
                      <a:pt x="307" y="84"/>
                      <a:pt x="307" y="84"/>
                    </a:cubicBezTo>
                    <a:cubicBezTo>
                      <a:pt x="304" y="89"/>
                      <a:pt x="304" y="89"/>
                      <a:pt x="304" y="89"/>
                    </a:cubicBezTo>
                    <a:cubicBezTo>
                      <a:pt x="305" y="90"/>
                      <a:pt x="305" y="90"/>
                      <a:pt x="305" y="90"/>
                    </a:cubicBezTo>
                    <a:cubicBezTo>
                      <a:pt x="304" y="90"/>
                      <a:pt x="304" y="90"/>
                      <a:pt x="304" y="90"/>
                    </a:cubicBezTo>
                    <a:cubicBezTo>
                      <a:pt x="306" y="92"/>
                      <a:pt x="307" y="93"/>
                      <a:pt x="308" y="93"/>
                    </a:cubicBezTo>
                    <a:cubicBezTo>
                      <a:pt x="308" y="93"/>
                      <a:pt x="308" y="93"/>
                      <a:pt x="308" y="93"/>
                    </a:cubicBezTo>
                    <a:cubicBezTo>
                      <a:pt x="309" y="93"/>
                      <a:pt x="313" y="90"/>
                      <a:pt x="318" y="84"/>
                    </a:cubicBezTo>
                    <a:cubicBezTo>
                      <a:pt x="318" y="84"/>
                      <a:pt x="317" y="83"/>
                      <a:pt x="317" y="83"/>
                    </a:cubicBezTo>
                    <a:cubicBezTo>
                      <a:pt x="317" y="82"/>
                      <a:pt x="317" y="82"/>
                      <a:pt x="317" y="81"/>
                    </a:cubicBezTo>
                    <a:cubicBezTo>
                      <a:pt x="316" y="80"/>
                      <a:pt x="316" y="79"/>
                      <a:pt x="316" y="78"/>
                    </a:cubicBezTo>
                    <a:cubicBezTo>
                      <a:pt x="316" y="75"/>
                      <a:pt x="316" y="75"/>
                      <a:pt x="316" y="75"/>
                    </a:cubicBezTo>
                    <a:cubicBezTo>
                      <a:pt x="316" y="74"/>
                      <a:pt x="316" y="74"/>
                      <a:pt x="316" y="74"/>
                    </a:cubicBezTo>
                    <a:cubicBezTo>
                      <a:pt x="315" y="74"/>
                      <a:pt x="315" y="74"/>
                      <a:pt x="315" y="74"/>
                    </a:cubicBezTo>
                    <a:cubicBezTo>
                      <a:pt x="314" y="74"/>
                      <a:pt x="314" y="74"/>
                      <a:pt x="314" y="74"/>
                    </a:cubicBezTo>
                    <a:cubicBezTo>
                      <a:pt x="310" y="72"/>
                      <a:pt x="308" y="70"/>
                      <a:pt x="306" y="68"/>
                    </a:cubicBezTo>
                    <a:cubicBezTo>
                      <a:pt x="304" y="67"/>
                      <a:pt x="304" y="67"/>
                      <a:pt x="304" y="67"/>
                    </a:cubicBezTo>
                    <a:cubicBezTo>
                      <a:pt x="303" y="67"/>
                      <a:pt x="303" y="66"/>
                      <a:pt x="303" y="65"/>
                    </a:cubicBezTo>
                    <a:cubicBezTo>
                      <a:pt x="302" y="64"/>
                      <a:pt x="302" y="64"/>
                      <a:pt x="302" y="64"/>
                    </a:cubicBezTo>
                    <a:cubicBezTo>
                      <a:pt x="302" y="62"/>
                      <a:pt x="302" y="62"/>
                      <a:pt x="302" y="62"/>
                    </a:cubicBezTo>
                    <a:cubicBezTo>
                      <a:pt x="301" y="61"/>
                      <a:pt x="301" y="61"/>
                      <a:pt x="301" y="61"/>
                    </a:cubicBezTo>
                    <a:cubicBezTo>
                      <a:pt x="300" y="57"/>
                      <a:pt x="300" y="57"/>
                      <a:pt x="300" y="57"/>
                    </a:cubicBezTo>
                    <a:cubicBezTo>
                      <a:pt x="293" y="59"/>
                      <a:pt x="293" y="59"/>
                      <a:pt x="293" y="59"/>
                    </a:cubicBezTo>
                    <a:cubicBezTo>
                      <a:pt x="299" y="55"/>
                      <a:pt x="299" y="55"/>
                      <a:pt x="299" y="55"/>
                    </a:cubicBezTo>
                    <a:cubicBezTo>
                      <a:pt x="298" y="49"/>
                      <a:pt x="298" y="49"/>
                      <a:pt x="298" y="49"/>
                    </a:cubicBezTo>
                    <a:cubicBezTo>
                      <a:pt x="297" y="48"/>
                      <a:pt x="297" y="48"/>
                      <a:pt x="297" y="48"/>
                    </a:cubicBezTo>
                    <a:cubicBezTo>
                      <a:pt x="297" y="48"/>
                      <a:pt x="297" y="48"/>
                      <a:pt x="297" y="48"/>
                    </a:cubicBezTo>
                    <a:cubicBezTo>
                      <a:pt x="297" y="47"/>
                      <a:pt x="297" y="47"/>
                      <a:pt x="297" y="46"/>
                    </a:cubicBezTo>
                    <a:cubicBezTo>
                      <a:pt x="296" y="43"/>
                      <a:pt x="297" y="41"/>
                      <a:pt x="298" y="40"/>
                    </a:cubicBezTo>
                    <a:cubicBezTo>
                      <a:pt x="299" y="39"/>
                      <a:pt x="299" y="39"/>
                      <a:pt x="299" y="39"/>
                    </a:cubicBezTo>
                    <a:cubicBezTo>
                      <a:pt x="302" y="35"/>
                      <a:pt x="302" y="35"/>
                      <a:pt x="302" y="35"/>
                    </a:cubicBezTo>
                    <a:cubicBezTo>
                      <a:pt x="301" y="35"/>
                      <a:pt x="301" y="35"/>
                      <a:pt x="300" y="35"/>
                    </a:cubicBezTo>
                    <a:cubicBezTo>
                      <a:pt x="299" y="34"/>
                      <a:pt x="299" y="34"/>
                      <a:pt x="299" y="34"/>
                    </a:cubicBezTo>
                    <a:cubicBezTo>
                      <a:pt x="297" y="33"/>
                      <a:pt x="294" y="32"/>
                      <a:pt x="291" y="31"/>
                    </a:cubicBezTo>
                    <a:cubicBezTo>
                      <a:pt x="288" y="29"/>
                      <a:pt x="285" y="26"/>
                      <a:pt x="284" y="24"/>
                    </a:cubicBezTo>
                    <a:cubicBezTo>
                      <a:pt x="284" y="23"/>
                      <a:pt x="284" y="23"/>
                      <a:pt x="284" y="22"/>
                    </a:cubicBezTo>
                    <a:cubicBezTo>
                      <a:pt x="280" y="13"/>
                      <a:pt x="280" y="13"/>
                      <a:pt x="280" y="13"/>
                    </a:cubicBezTo>
                    <a:cubicBezTo>
                      <a:pt x="280" y="12"/>
                      <a:pt x="279" y="11"/>
                      <a:pt x="279" y="10"/>
                    </a:cubicBezTo>
                    <a:cubicBezTo>
                      <a:pt x="278" y="9"/>
                      <a:pt x="278" y="9"/>
                      <a:pt x="278" y="8"/>
                    </a:cubicBezTo>
                    <a:cubicBezTo>
                      <a:pt x="277" y="7"/>
                      <a:pt x="276" y="5"/>
                      <a:pt x="276" y="3"/>
                    </a:cubicBezTo>
                    <a:cubicBezTo>
                      <a:pt x="276" y="2"/>
                      <a:pt x="276" y="1"/>
                      <a:pt x="27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07" name="Rectangle 335">
                <a:extLst>
                  <a:ext uri="{FF2B5EF4-FFF2-40B4-BE49-F238E27FC236}">
                    <a16:creationId xmlns:a16="http://schemas.microsoft.com/office/drawing/2014/main" id="{1CD5CAA1-AA1C-4BD1-AEE4-C0ED5B6FC38F}"/>
                  </a:ext>
                </a:extLst>
              </p:cNvPr>
              <p:cNvSpPr>
                <a:spLocks noChangeArrowheads="1"/>
              </p:cNvSpPr>
              <p:nvPr/>
            </p:nvSpPr>
            <p:spPr bwMode="auto">
              <a:xfrm>
                <a:off x="10506265" y="6754818"/>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08" name="Freeform 336">
                <a:extLst>
                  <a:ext uri="{FF2B5EF4-FFF2-40B4-BE49-F238E27FC236}">
                    <a16:creationId xmlns:a16="http://schemas.microsoft.com/office/drawing/2014/main" id="{EE05E028-3AB1-42E1-B61F-B56CE639CFD4}"/>
                  </a:ext>
                </a:extLst>
              </p:cNvPr>
              <p:cNvSpPr>
                <a:spLocks/>
              </p:cNvSpPr>
              <p:nvPr/>
            </p:nvSpPr>
            <p:spPr bwMode="auto">
              <a:xfrm>
                <a:off x="10506265" y="6754818"/>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09" name="Freeform 337">
                <a:extLst>
                  <a:ext uri="{FF2B5EF4-FFF2-40B4-BE49-F238E27FC236}">
                    <a16:creationId xmlns:a16="http://schemas.microsoft.com/office/drawing/2014/main" id="{F16A6CB7-9E92-49BE-AD61-33FABAFA8933}"/>
                  </a:ext>
                </a:extLst>
              </p:cNvPr>
              <p:cNvSpPr>
                <a:spLocks/>
              </p:cNvSpPr>
              <p:nvPr/>
            </p:nvSpPr>
            <p:spPr bwMode="auto">
              <a:xfrm>
                <a:off x="10565226" y="597357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10" name="Freeform 338">
                <a:extLst>
                  <a:ext uri="{FF2B5EF4-FFF2-40B4-BE49-F238E27FC236}">
                    <a16:creationId xmlns:a16="http://schemas.microsoft.com/office/drawing/2014/main" id="{2DAD5BF6-79B1-411C-9B65-C7525DF9D417}"/>
                  </a:ext>
                </a:extLst>
              </p:cNvPr>
              <p:cNvSpPr>
                <a:spLocks/>
              </p:cNvSpPr>
              <p:nvPr/>
            </p:nvSpPr>
            <p:spPr bwMode="auto">
              <a:xfrm>
                <a:off x="10565226" y="5973573"/>
                <a:ext cx="0" cy="0"/>
              </a:xfrm>
              <a:custGeom>
                <a:avLst/>
                <a:gdLst/>
                <a:ahLst/>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11" name="Freeform 339">
                <a:extLst>
                  <a:ext uri="{FF2B5EF4-FFF2-40B4-BE49-F238E27FC236}">
                    <a16:creationId xmlns:a16="http://schemas.microsoft.com/office/drawing/2014/main" id="{C210C8DC-DF01-4C04-A20B-2C163E9E8BD3}"/>
                  </a:ext>
                </a:extLst>
              </p:cNvPr>
              <p:cNvSpPr>
                <a:spLocks noEditPoints="1"/>
              </p:cNvSpPr>
              <p:nvPr/>
            </p:nvSpPr>
            <p:spPr bwMode="auto">
              <a:xfrm>
                <a:off x="9876110" y="5431861"/>
                <a:ext cx="1455621" cy="1308216"/>
              </a:xfrm>
              <a:custGeom>
                <a:avLst/>
                <a:gdLst>
                  <a:gd name="T0" fmla="*/ 369 w 458"/>
                  <a:gd name="T1" fmla="*/ 6 h 412"/>
                  <a:gd name="T2" fmla="*/ 345 w 458"/>
                  <a:gd name="T3" fmla="*/ 6 h 412"/>
                  <a:gd name="T4" fmla="*/ 302 w 458"/>
                  <a:gd name="T5" fmla="*/ 20 h 412"/>
                  <a:gd name="T6" fmla="*/ 297 w 458"/>
                  <a:gd name="T7" fmla="*/ 40 h 412"/>
                  <a:gd name="T8" fmla="*/ 301 w 458"/>
                  <a:gd name="T9" fmla="*/ 57 h 412"/>
                  <a:gd name="T10" fmla="*/ 285 w 458"/>
                  <a:gd name="T11" fmla="*/ 76 h 412"/>
                  <a:gd name="T12" fmla="*/ 285 w 458"/>
                  <a:gd name="T13" fmla="*/ 90 h 412"/>
                  <a:gd name="T14" fmla="*/ 251 w 458"/>
                  <a:gd name="T15" fmla="*/ 97 h 412"/>
                  <a:gd name="T16" fmla="*/ 250 w 458"/>
                  <a:gd name="T17" fmla="*/ 127 h 412"/>
                  <a:gd name="T18" fmla="*/ 243 w 458"/>
                  <a:gd name="T19" fmla="*/ 128 h 412"/>
                  <a:gd name="T20" fmla="*/ 238 w 458"/>
                  <a:gd name="T21" fmla="*/ 139 h 412"/>
                  <a:gd name="T22" fmla="*/ 222 w 458"/>
                  <a:gd name="T23" fmla="*/ 172 h 412"/>
                  <a:gd name="T24" fmla="*/ 213 w 458"/>
                  <a:gd name="T25" fmla="*/ 170 h 412"/>
                  <a:gd name="T26" fmla="*/ 200 w 458"/>
                  <a:gd name="T27" fmla="*/ 169 h 412"/>
                  <a:gd name="T28" fmla="*/ 179 w 458"/>
                  <a:gd name="T29" fmla="*/ 186 h 412"/>
                  <a:gd name="T30" fmla="*/ 161 w 458"/>
                  <a:gd name="T31" fmla="*/ 186 h 412"/>
                  <a:gd name="T32" fmla="*/ 149 w 458"/>
                  <a:gd name="T33" fmla="*/ 207 h 412"/>
                  <a:gd name="T34" fmla="*/ 139 w 458"/>
                  <a:gd name="T35" fmla="*/ 231 h 412"/>
                  <a:gd name="T36" fmla="*/ 89 w 458"/>
                  <a:gd name="T37" fmla="*/ 241 h 412"/>
                  <a:gd name="T38" fmla="*/ 78 w 458"/>
                  <a:gd name="T39" fmla="*/ 242 h 412"/>
                  <a:gd name="T40" fmla="*/ 55 w 458"/>
                  <a:gd name="T41" fmla="*/ 242 h 412"/>
                  <a:gd name="T42" fmla="*/ 2 w 458"/>
                  <a:gd name="T43" fmla="*/ 235 h 412"/>
                  <a:gd name="T44" fmla="*/ 35 w 458"/>
                  <a:gd name="T45" fmla="*/ 268 h 412"/>
                  <a:gd name="T46" fmla="*/ 49 w 458"/>
                  <a:gd name="T47" fmla="*/ 287 h 412"/>
                  <a:gd name="T48" fmla="*/ 64 w 458"/>
                  <a:gd name="T49" fmla="*/ 304 h 412"/>
                  <a:gd name="T50" fmla="*/ 36 w 458"/>
                  <a:gd name="T51" fmla="*/ 331 h 412"/>
                  <a:gd name="T52" fmla="*/ 18 w 458"/>
                  <a:gd name="T53" fmla="*/ 361 h 412"/>
                  <a:gd name="T54" fmla="*/ 33 w 458"/>
                  <a:gd name="T55" fmla="*/ 371 h 412"/>
                  <a:gd name="T56" fmla="*/ 83 w 458"/>
                  <a:gd name="T57" fmla="*/ 360 h 412"/>
                  <a:gd name="T58" fmla="*/ 140 w 458"/>
                  <a:gd name="T59" fmla="*/ 362 h 412"/>
                  <a:gd name="T60" fmla="*/ 148 w 458"/>
                  <a:gd name="T61" fmla="*/ 358 h 412"/>
                  <a:gd name="T62" fmla="*/ 166 w 458"/>
                  <a:gd name="T63" fmla="*/ 377 h 412"/>
                  <a:gd name="T64" fmla="*/ 197 w 458"/>
                  <a:gd name="T65" fmla="*/ 411 h 412"/>
                  <a:gd name="T66" fmla="*/ 212 w 458"/>
                  <a:gd name="T67" fmla="*/ 402 h 412"/>
                  <a:gd name="T68" fmla="*/ 242 w 458"/>
                  <a:gd name="T69" fmla="*/ 395 h 412"/>
                  <a:gd name="T70" fmla="*/ 261 w 458"/>
                  <a:gd name="T71" fmla="*/ 389 h 412"/>
                  <a:gd name="T72" fmla="*/ 274 w 458"/>
                  <a:gd name="T73" fmla="*/ 392 h 412"/>
                  <a:gd name="T74" fmla="*/ 266 w 458"/>
                  <a:gd name="T75" fmla="*/ 371 h 412"/>
                  <a:gd name="T76" fmla="*/ 261 w 458"/>
                  <a:gd name="T77" fmla="*/ 357 h 412"/>
                  <a:gd name="T78" fmla="*/ 252 w 458"/>
                  <a:gd name="T79" fmla="*/ 343 h 412"/>
                  <a:gd name="T80" fmla="*/ 244 w 458"/>
                  <a:gd name="T81" fmla="*/ 334 h 412"/>
                  <a:gd name="T82" fmla="*/ 249 w 458"/>
                  <a:gd name="T83" fmla="*/ 290 h 412"/>
                  <a:gd name="T84" fmla="*/ 258 w 458"/>
                  <a:gd name="T85" fmla="*/ 281 h 412"/>
                  <a:gd name="T86" fmla="*/ 268 w 458"/>
                  <a:gd name="T87" fmla="*/ 279 h 412"/>
                  <a:gd name="T88" fmla="*/ 277 w 458"/>
                  <a:gd name="T89" fmla="*/ 287 h 412"/>
                  <a:gd name="T90" fmla="*/ 298 w 458"/>
                  <a:gd name="T91" fmla="*/ 283 h 412"/>
                  <a:gd name="T92" fmla="*/ 337 w 458"/>
                  <a:gd name="T93" fmla="*/ 240 h 412"/>
                  <a:gd name="T94" fmla="*/ 358 w 458"/>
                  <a:gd name="T95" fmla="*/ 213 h 412"/>
                  <a:gd name="T96" fmla="*/ 377 w 458"/>
                  <a:gd name="T97" fmla="*/ 190 h 412"/>
                  <a:gd name="T98" fmla="*/ 375 w 458"/>
                  <a:gd name="T99" fmla="*/ 167 h 412"/>
                  <a:gd name="T100" fmla="*/ 392 w 458"/>
                  <a:gd name="T101" fmla="*/ 154 h 412"/>
                  <a:gd name="T102" fmla="*/ 392 w 458"/>
                  <a:gd name="T103" fmla="*/ 148 h 412"/>
                  <a:gd name="T104" fmla="*/ 368 w 458"/>
                  <a:gd name="T105" fmla="*/ 131 h 412"/>
                  <a:gd name="T106" fmla="*/ 365 w 458"/>
                  <a:gd name="T107" fmla="*/ 110 h 412"/>
                  <a:gd name="T108" fmla="*/ 365 w 458"/>
                  <a:gd name="T109" fmla="*/ 97 h 412"/>
                  <a:gd name="T110" fmla="*/ 360 w 458"/>
                  <a:gd name="T111" fmla="*/ 88 h 412"/>
                  <a:gd name="T112" fmla="*/ 376 w 458"/>
                  <a:gd name="T113" fmla="*/ 69 h 412"/>
                  <a:gd name="T114" fmla="*/ 405 w 458"/>
                  <a:gd name="T115" fmla="*/ 73 h 412"/>
                  <a:gd name="T116" fmla="*/ 431 w 458"/>
                  <a:gd name="T117" fmla="*/ 69 h 412"/>
                  <a:gd name="T118" fmla="*/ 455 w 458"/>
                  <a:gd name="T119" fmla="*/ 53 h 412"/>
                  <a:gd name="T120" fmla="*/ 429 w 458"/>
                  <a:gd name="T121" fmla="*/ 39 h 412"/>
                  <a:gd name="T122" fmla="*/ 418 w 458"/>
                  <a:gd name="T123" fmla="*/ 23 h 412"/>
                  <a:gd name="T124" fmla="*/ 394 w 458"/>
                  <a:gd name="T125" fmla="*/ 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8" h="412">
                    <a:moveTo>
                      <a:pt x="151" y="362"/>
                    </a:moveTo>
                    <a:cubicBezTo>
                      <a:pt x="151" y="362"/>
                      <a:pt x="151" y="362"/>
                      <a:pt x="151" y="362"/>
                    </a:cubicBezTo>
                    <a:cubicBezTo>
                      <a:pt x="151" y="362"/>
                      <a:pt x="151" y="362"/>
                      <a:pt x="151" y="362"/>
                    </a:cubicBezTo>
                    <a:moveTo>
                      <a:pt x="383" y="0"/>
                    </a:moveTo>
                    <a:cubicBezTo>
                      <a:pt x="382" y="0"/>
                      <a:pt x="382" y="0"/>
                      <a:pt x="381" y="0"/>
                    </a:cubicBezTo>
                    <a:cubicBezTo>
                      <a:pt x="380" y="1"/>
                      <a:pt x="379" y="2"/>
                      <a:pt x="377" y="2"/>
                    </a:cubicBezTo>
                    <a:cubicBezTo>
                      <a:pt x="377" y="3"/>
                      <a:pt x="377" y="3"/>
                      <a:pt x="377" y="3"/>
                    </a:cubicBezTo>
                    <a:cubicBezTo>
                      <a:pt x="374" y="4"/>
                      <a:pt x="372" y="6"/>
                      <a:pt x="369" y="6"/>
                    </a:cubicBezTo>
                    <a:cubicBezTo>
                      <a:pt x="369" y="7"/>
                      <a:pt x="368" y="7"/>
                      <a:pt x="368" y="7"/>
                    </a:cubicBezTo>
                    <a:cubicBezTo>
                      <a:pt x="367" y="7"/>
                      <a:pt x="366" y="7"/>
                      <a:pt x="365" y="7"/>
                    </a:cubicBezTo>
                    <a:cubicBezTo>
                      <a:pt x="363" y="7"/>
                      <a:pt x="361" y="6"/>
                      <a:pt x="359" y="6"/>
                    </a:cubicBezTo>
                    <a:cubicBezTo>
                      <a:pt x="359" y="6"/>
                      <a:pt x="359" y="6"/>
                      <a:pt x="359" y="6"/>
                    </a:cubicBezTo>
                    <a:cubicBezTo>
                      <a:pt x="358" y="5"/>
                      <a:pt x="358" y="5"/>
                      <a:pt x="357" y="5"/>
                    </a:cubicBezTo>
                    <a:cubicBezTo>
                      <a:pt x="357" y="5"/>
                      <a:pt x="356" y="5"/>
                      <a:pt x="355" y="5"/>
                    </a:cubicBezTo>
                    <a:cubicBezTo>
                      <a:pt x="353" y="5"/>
                      <a:pt x="351" y="5"/>
                      <a:pt x="349" y="5"/>
                    </a:cubicBezTo>
                    <a:cubicBezTo>
                      <a:pt x="345" y="6"/>
                      <a:pt x="345" y="6"/>
                      <a:pt x="345" y="6"/>
                    </a:cubicBezTo>
                    <a:cubicBezTo>
                      <a:pt x="342" y="6"/>
                      <a:pt x="339" y="6"/>
                      <a:pt x="336" y="6"/>
                    </a:cubicBezTo>
                    <a:cubicBezTo>
                      <a:pt x="330" y="7"/>
                      <a:pt x="330" y="7"/>
                      <a:pt x="330" y="7"/>
                    </a:cubicBezTo>
                    <a:cubicBezTo>
                      <a:pt x="328" y="7"/>
                      <a:pt x="325" y="8"/>
                      <a:pt x="323" y="9"/>
                    </a:cubicBezTo>
                    <a:cubicBezTo>
                      <a:pt x="320" y="10"/>
                      <a:pt x="317" y="12"/>
                      <a:pt x="314" y="14"/>
                    </a:cubicBezTo>
                    <a:cubicBezTo>
                      <a:pt x="312" y="15"/>
                      <a:pt x="312" y="15"/>
                      <a:pt x="312" y="15"/>
                    </a:cubicBezTo>
                    <a:cubicBezTo>
                      <a:pt x="310" y="16"/>
                      <a:pt x="308" y="18"/>
                      <a:pt x="306" y="19"/>
                    </a:cubicBezTo>
                    <a:cubicBezTo>
                      <a:pt x="305" y="20"/>
                      <a:pt x="304" y="20"/>
                      <a:pt x="303" y="20"/>
                    </a:cubicBezTo>
                    <a:cubicBezTo>
                      <a:pt x="302" y="20"/>
                      <a:pt x="302" y="20"/>
                      <a:pt x="302" y="20"/>
                    </a:cubicBezTo>
                    <a:cubicBezTo>
                      <a:pt x="301" y="20"/>
                      <a:pt x="300" y="20"/>
                      <a:pt x="299" y="19"/>
                    </a:cubicBezTo>
                    <a:cubicBezTo>
                      <a:pt x="298" y="19"/>
                      <a:pt x="298" y="19"/>
                      <a:pt x="298" y="19"/>
                    </a:cubicBezTo>
                    <a:cubicBezTo>
                      <a:pt x="295" y="23"/>
                      <a:pt x="292" y="26"/>
                      <a:pt x="289" y="29"/>
                    </a:cubicBezTo>
                    <a:cubicBezTo>
                      <a:pt x="291" y="31"/>
                      <a:pt x="292" y="33"/>
                      <a:pt x="293" y="35"/>
                    </a:cubicBezTo>
                    <a:cubicBezTo>
                      <a:pt x="294" y="35"/>
                      <a:pt x="294" y="36"/>
                      <a:pt x="294" y="36"/>
                    </a:cubicBezTo>
                    <a:cubicBezTo>
                      <a:pt x="294" y="37"/>
                      <a:pt x="295" y="37"/>
                      <a:pt x="295" y="38"/>
                    </a:cubicBezTo>
                    <a:cubicBezTo>
                      <a:pt x="296" y="38"/>
                      <a:pt x="296" y="39"/>
                      <a:pt x="297" y="40"/>
                    </a:cubicBezTo>
                    <a:cubicBezTo>
                      <a:pt x="297" y="40"/>
                      <a:pt x="297" y="40"/>
                      <a:pt x="297" y="40"/>
                    </a:cubicBezTo>
                    <a:cubicBezTo>
                      <a:pt x="301" y="38"/>
                      <a:pt x="301" y="38"/>
                      <a:pt x="301" y="38"/>
                    </a:cubicBezTo>
                    <a:cubicBezTo>
                      <a:pt x="298" y="42"/>
                      <a:pt x="298" y="42"/>
                      <a:pt x="298" y="42"/>
                    </a:cubicBezTo>
                    <a:cubicBezTo>
                      <a:pt x="299" y="44"/>
                      <a:pt x="299" y="44"/>
                      <a:pt x="299" y="44"/>
                    </a:cubicBezTo>
                    <a:cubicBezTo>
                      <a:pt x="300" y="46"/>
                      <a:pt x="299" y="48"/>
                      <a:pt x="299" y="50"/>
                    </a:cubicBezTo>
                    <a:cubicBezTo>
                      <a:pt x="299" y="51"/>
                      <a:pt x="299" y="52"/>
                      <a:pt x="299" y="52"/>
                    </a:cubicBezTo>
                    <a:cubicBezTo>
                      <a:pt x="299" y="53"/>
                      <a:pt x="299" y="53"/>
                      <a:pt x="299" y="53"/>
                    </a:cubicBezTo>
                    <a:cubicBezTo>
                      <a:pt x="300" y="54"/>
                      <a:pt x="300" y="54"/>
                      <a:pt x="300" y="54"/>
                    </a:cubicBezTo>
                    <a:cubicBezTo>
                      <a:pt x="301" y="55"/>
                      <a:pt x="301" y="56"/>
                      <a:pt x="301" y="57"/>
                    </a:cubicBezTo>
                    <a:cubicBezTo>
                      <a:pt x="300" y="57"/>
                      <a:pt x="300" y="57"/>
                      <a:pt x="300" y="57"/>
                    </a:cubicBezTo>
                    <a:cubicBezTo>
                      <a:pt x="300" y="58"/>
                      <a:pt x="300" y="59"/>
                      <a:pt x="299" y="59"/>
                    </a:cubicBezTo>
                    <a:cubicBezTo>
                      <a:pt x="298" y="61"/>
                      <a:pt x="298" y="61"/>
                      <a:pt x="298" y="61"/>
                    </a:cubicBezTo>
                    <a:cubicBezTo>
                      <a:pt x="297" y="62"/>
                      <a:pt x="297" y="62"/>
                      <a:pt x="297" y="62"/>
                    </a:cubicBezTo>
                    <a:cubicBezTo>
                      <a:pt x="297" y="66"/>
                      <a:pt x="294" y="67"/>
                      <a:pt x="292" y="68"/>
                    </a:cubicBezTo>
                    <a:cubicBezTo>
                      <a:pt x="291" y="68"/>
                      <a:pt x="291" y="69"/>
                      <a:pt x="290" y="69"/>
                    </a:cubicBezTo>
                    <a:cubicBezTo>
                      <a:pt x="290" y="70"/>
                      <a:pt x="289" y="70"/>
                      <a:pt x="289" y="71"/>
                    </a:cubicBezTo>
                    <a:cubicBezTo>
                      <a:pt x="288" y="72"/>
                      <a:pt x="287" y="74"/>
                      <a:pt x="285" y="76"/>
                    </a:cubicBezTo>
                    <a:cubicBezTo>
                      <a:pt x="284" y="76"/>
                      <a:pt x="284" y="77"/>
                      <a:pt x="283" y="77"/>
                    </a:cubicBezTo>
                    <a:cubicBezTo>
                      <a:pt x="282" y="78"/>
                      <a:pt x="282" y="78"/>
                      <a:pt x="283" y="79"/>
                    </a:cubicBezTo>
                    <a:cubicBezTo>
                      <a:pt x="283" y="80"/>
                      <a:pt x="284" y="80"/>
                      <a:pt x="284" y="81"/>
                    </a:cubicBezTo>
                    <a:cubicBezTo>
                      <a:pt x="284" y="81"/>
                      <a:pt x="284" y="81"/>
                      <a:pt x="284" y="81"/>
                    </a:cubicBezTo>
                    <a:cubicBezTo>
                      <a:pt x="285" y="82"/>
                      <a:pt x="285" y="82"/>
                      <a:pt x="286" y="83"/>
                    </a:cubicBezTo>
                    <a:cubicBezTo>
                      <a:pt x="286" y="85"/>
                      <a:pt x="286" y="85"/>
                      <a:pt x="286" y="86"/>
                    </a:cubicBezTo>
                    <a:cubicBezTo>
                      <a:pt x="286" y="87"/>
                      <a:pt x="286" y="88"/>
                      <a:pt x="286" y="89"/>
                    </a:cubicBezTo>
                    <a:cubicBezTo>
                      <a:pt x="286" y="90"/>
                      <a:pt x="286" y="90"/>
                      <a:pt x="285" y="90"/>
                    </a:cubicBezTo>
                    <a:cubicBezTo>
                      <a:pt x="285" y="91"/>
                      <a:pt x="285" y="91"/>
                      <a:pt x="285" y="91"/>
                    </a:cubicBezTo>
                    <a:cubicBezTo>
                      <a:pt x="285" y="91"/>
                      <a:pt x="285" y="92"/>
                      <a:pt x="284" y="92"/>
                    </a:cubicBezTo>
                    <a:cubicBezTo>
                      <a:pt x="283" y="94"/>
                      <a:pt x="282" y="95"/>
                      <a:pt x="280" y="96"/>
                    </a:cubicBezTo>
                    <a:cubicBezTo>
                      <a:pt x="276" y="99"/>
                      <a:pt x="272" y="100"/>
                      <a:pt x="267" y="100"/>
                    </a:cubicBezTo>
                    <a:cubicBezTo>
                      <a:pt x="266" y="100"/>
                      <a:pt x="265" y="100"/>
                      <a:pt x="263" y="100"/>
                    </a:cubicBezTo>
                    <a:cubicBezTo>
                      <a:pt x="263" y="100"/>
                      <a:pt x="263" y="100"/>
                      <a:pt x="262" y="100"/>
                    </a:cubicBezTo>
                    <a:cubicBezTo>
                      <a:pt x="261" y="100"/>
                      <a:pt x="260" y="99"/>
                      <a:pt x="259" y="99"/>
                    </a:cubicBezTo>
                    <a:cubicBezTo>
                      <a:pt x="256" y="98"/>
                      <a:pt x="253" y="97"/>
                      <a:pt x="251" y="97"/>
                    </a:cubicBezTo>
                    <a:cubicBezTo>
                      <a:pt x="253" y="100"/>
                      <a:pt x="253" y="100"/>
                      <a:pt x="253" y="100"/>
                    </a:cubicBezTo>
                    <a:cubicBezTo>
                      <a:pt x="254" y="100"/>
                      <a:pt x="255" y="101"/>
                      <a:pt x="255" y="102"/>
                    </a:cubicBezTo>
                    <a:cubicBezTo>
                      <a:pt x="258" y="106"/>
                      <a:pt x="258" y="106"/>
                      <a:pt x="258" y="106"/>
                    </a:cubicBezTo>
                    <a:cubicBezTo>
                      <a:pt x="263" y="113"/>
                      <a:pt x="265" y="117"/>
                      <a:pt x="262" y="119"/>
                    </a:cubicBezTo>
                    <a:cubicBezTo>
                      <a:pt x="261" y="120"/>
                      <a:pt x="261" y="120"/>
                      <a:pt x="261" y="120"/>
                    </a:cubicBezTo>
                    <a:cubicBezTo>
                      <a:pt x="261" y="120"/>
                      <a:pt x="261" y="120"/>
                      <a:pt x="261" y="120"/>
                    </a:cubicBezTo>
                    <a:cubicBezTo>
                      <a:pt x="260" y="121"/>
                      <a:pt x="260" y="121"/>
                      <a:pt x="260" y="121"/>
                    </a:cubicBezTo>
                    <a:cubicBezTo>
                      <a:pt x="258" y="122"/>
                      <a:pt x="254" y="125"/>
                      <a:pt x="250" y="127"/>
                    </a:cubicBezTo>
                    <a:cubicBezTo>
                      <a:pt x="252" y="132"/>
                      <a:pt x="252" y="132"/>
                      <a:pt x="252" y="132"/>
                    </a:cubicBezTo>
                    <a:cubicBezTo>
                      <a:pt x="249" y="127"/>
                      <a:pt x="249" y="127"/>
                      <a:pt x="249" y="127"/>
                    </a:cubicBezTo>
                    <a:cubicBezTo>
                      <a:pt x="248" y="127"/>
                      <a:pt x="248" y="127"/>
                      <a:pt x="248" y="127"/>
                    </a:cubicBezTo>
                    <a:cubicBezTo>
                      <a:pt x="247" y="127"/>
                      <a:pt x="246" y="127"/>
                      <a:pt x="246" y="128"/>
                    </a:cubicBezTo>
                    <a:cubicBezTo>
                      <a:pt x="245" y="128"/>
                      <a:pt x="245" y="128"/>
                      <a:pt x="245" y="128"/>
                    </a:cubicBezTo>
                    <a:cubicBezTo>
                      <a:pt x="244" y="128"/>
                      <a:pt x="244" y="128"/>
                      <a:pt x="244" y="128"/>
                    </a:cubicBezTo>
                    <a:cubicBezTo>
                      <a:pt x="243" y="128"/>
                      <a:pt x="243" y="128"/>
                      <a:pt x="243" y="128"/>
                    </a:cubicBezTo>
                    <a:cubicBezTo>
                      <a:pt x="243" y="128"/>
                      <a:pt x="243" y="128"/>
                      <a:pt x="243" y="128"/>
                    </a:cubicBezTo>
                    <a:cubicBezTo>
                      <a:pt x="243" y="128"/>
                      <a:pt x="242" y="128"/>
                      <a:pt x="242" y="128"/>
                    </a:cubicBezTo>
                    <a:cubicBezTo>
                      <a:pt x="241" y="126"/>
                      <a:pt x="241" y="126"/>
                      <a:pt x="241" y="126"/>
                    </a:cubicBezTo>
                    <a:cubicBezTo>
                      <a:pt x="241" y="128"/>
                      <a:pt x="241" y="128"/>
                      <a:pt x="241" y="128"/>
                    </a:cubicBezTo>
                    <a:cubicBezTo>
                      <a:pt x="240" y="128"/>
                      <a:pt x="240" y="128"/>
                      <a:pt x="240" y="128"/>
                    </a:cubicBezTo>
                    <a:cubicBezTo>
                      <a:pt x="240" y="129"/>
                      <a:pt x="239" y="131"/>
                      <a:pt x="239" y="133"/>
                    </a:cubicBezTo>
                    <a:cubicBezTo>
                      <a:pt x="239" y="134"/>
                      <a:pt x="238" y="136"/>
                      <a:pt x="238" y="137"/>
                    </a:cubicBezTo>
                    <a:cubicBezTo>
                      <a:pt x="238" y="137"/>
                      <a:pt x="238" y="137"/>
                      <a:pt x="238" y="137"/>
                    </a:cubicBezTo>
                    <a:cubicBezTo>
                      <a:pt x="238" y="138"/>
                      <a:pt x="238" y="139"/>
                      <a:pt x="238" y="139"/>
                    </a:cubicBezTo>
                    <a:cubicBezTo>
                      <a:pt x="237" y="141"/>
                      <a:pt x="235" y="142"/>
                      <a:pt x="234" y="144"/>
                    </a:cubicBezTo>
                    <a:cubicBezTo>
                      <a:pt x="233" y="144"/>
                      <a:pt x="233" y="144"/>
                      <a:pt x="233" y="144"/>
                    </a:cubicBezTo>
                    <a:cubicBezTo>
                      <a:pt x="234" y="153"/>
                      <a:pt x="234" y="153"/>
                      <a:pt x="234" y="153"/>
                    </a:cubicBezTo>
                    <a:cubicBezTo>
                      <a:pt x="234" y="153"/>
                      <a:pt x="234" y="153"/>
                      <a:pt x="234" y="153"/>
                    </a:cubicBezTo>
                    <a:cubicBezTo>
                      <a:pt x="235" y="158"/>
                      <a:pt x="235" y="158"/>
                      <a:pt x="235" y="158"/>
                    </a:cubicBezTo>
                    <a:cubicBezTo>
                      <a:pt x="235" y="161"/>
                      <a:pt x="234" y="163"/>
                      <a:pt x="232" y="164"/>
                    </a:cubicBezTo>
                    <a:cubicBezTo>
                      <a:pt x="229" y="167"/>
                      <a:pt x="226" y="169"/>
                      <a:pt x="223" y="172"/>
                    </a:cubicBezTo>
                    <a:cubicBezTo>
                      <a:pt x="222" y="172"/>
                      <a:pt x="222" y="172"/>
                      <a:pt x="222" y="172"/>
                    </a:cubicBezTo>
                    <a:cubicBezTo>
                      <a:pt x="221" y="173"/>
                      <a:pt x="220" y="173"/>
                      <a:pt x="220" y="173"/>
                    </a:cubicBezTo>
                    <a:cubicBezTo>
                      <a:pt x="219" y="173"/>
                      <a:pt x="219" y="173"/>
                      <a:pt x="219" y="173"/>
                    </a:cubicBezTo>
                    <a:cubicBezTo>
                      <a:pt x="219" y="173"/>
                      <a:pt x="219" y="173"/>
                      <a:pt x="219" y="173"/>
                    </a:cubicBezTo>
                    <a:cubicBezTo>
                      <a:pt x="219" y="173"/>
                      <a:pt x="218" y="173"/>
                      <a:pt x="217" y="173"/>
                    </a:cubicBezTo>
                    <a:cubicBezTo>
                      <a:pt x="217" y="173"/>
                      <a:pt x="217" y="173"/>
                      <a:pt x="217" y="173"/>
                    </a:cubicBezTo>
                    <a:cubicBezTo>
                      <a:pt x="216" y="172"/>
                      <a:pt x="216" y="172"/>
                      <a:pt x="216" y="172"/>
                    </a:cubicBezTo>
                    <a:cubicBezTo>
                      <a:pt x="215" y="172"/>
                      <a:pt x="214" y="171"/>
                      <a:pt x="213" y="171"/>
                    </a:cubicBezTo>
                    <a:cubicBezTo>
                      <a:pt x="213" y="170"/>
                      <a:pt x="213" y="170"/>
                      <a:pt x="213" y="170"/>
                    </a:cubicBezTo>
                    <a:cubicBezTo>
                      <a:pt x="212" y="169"/>
                      <a:pt x="211" y="169"/>
                      <a:pt x="210" y="168"/>
                    </a:cubicBezTo>
                    <a:cubicBezTo>
                      <a:pt x="209" y="168"/>
                      <a:pt x="209" y="168"/>
                      <a:pt x="209" y="168"/>
                    </a:cubicBezTo>
                    <a:cubicBezTo>
                      <a:pt x="209" y="168"/>
                      <a:pt x="208" y="167"/>
                      <a:pt x="208" y="167"/>
                    </a:cubicBezTo>
                    <a:cubicBezTo>
                      <a:pt x="208" y="167"/>
                      <a:pt x="207" y="167"/>
                      <a:pt x="207" y="168"/>
                    </a:cubicBezTo>
                    <a:cubicBezTo>
                      <a:pt x="206" y="168"/>
                      <a:pt x="205" y="168"/>
                      <a:pt x="204" y="168"/>
                    </a:cubicBezTo>
                    <a:cubicBezTo>
                      <a:pt x="204" y="168"/>
                      <a:pt x="204" y="168"/>
                      <a:pt x="204" y="168"/>
                    </a:cubicBezTo>
                    <a:cubicBezTo>
                      <a:pt x="203" y="168"/>
                      <a:pt x="202" y="169"/>
                      <a:pt x="202" y="169"/>
                    </a:cubicBezTo>
                    <a:cubicBezTo>
                      <a:pt x="201" y="169"/>
                      <a:pt x="201" y="169"/>
                      <a:pt x="200" y="169"/>
                    </a:cubicBezTo>
                    <a:cubicBezTo>
                      <a:pt x="199" y="169"/>
                      <a:pt x="199" y="169"/>
                      <a:pt x="199" y="170"/>
                    </a:cubicBezTo>
                    <a:cubicBezTo>
                      <a:pt x="198" y="170"/>
                      <a:pt x="197" y="170"/>
                      <a:pt x="196" y="171"/>
                    </a:cubicBezTo>
                    <a:cubicBezTo>
                      <a:pt x="195" y="172"/>
                      <a:pt x="195" y="172"/>
                      <a:pt x="195" y="172"/>
                    </a:cubicBezTo>
                    <a:cubicBezTo>
                      <a:pt x="193" y="173"/>
                      <a:pt x="191" y="174"/>
                      <a:pt x="190" y="175"/>
                    </a:cubicBezTo>
                    <a:cubicBezTo>
                      <a:pt x="195" y="179"/>
                      <a:pt x="195" y="179"/>
                      <a:pt x="195" y="179"/>
                    </a:cubicBezTo>
                    <a:cubicBezTo>
                      <a:pt x="189" y="181"/>
                      <a:pt x="189" y="181"/>
                      <a:pt x="189" y="181"/>
                    </a:cubicBezTo>
                    <a:cubicBezTo>
                      <a:pt x="188" y="182"/>
                      <a:pt x="187" y="182"/>
                      <a:pt x="186" y="183"/>
                    </a:cubicBezTo>
                    <a:cubicBezTo>
                      <a:pt x="184" y="184"/>
                      <a:pt x="182" y="185"/>
                      <a:pt x="179" y="186"/>
                    </a:cubicBezTo>
                    <a:cubicBezTo>
                      <a:pt x="178" y="186"/>
                      <a:pt x="178" y="186"/>
                      <a:pt x="178" y="186"/>
                    </a:cubicBezTo>
                    <a:cubicBezTo>
                      <a:pt x="177" y="186"/>
                      <a:pt x="177" y="186"/>
                      <a:pt x="176" y="186"/>
                    </a:cubicBezTo>
                    <a:cubicBezTo>
                      <a:pt x="173" y="186"/>
                      <a:pt x="170" y="185"/>
                      <a:pt x="167" y="184"/>
                    </a:cubicBezTo>
                    <a:cubicBezTo>
                      <a:pt x="166" y="184"/>
                      <a:pt x="166" y="184"/>
                      <a:pt x="166" y="184"/>
                    </a:cubicBezTo>
                    <a:cubicBezTo>
                      <a:pt x="166" y="184"/>
                      <a:pt x="166" y="184"/>
                      <a:pt x="166" y="184"/>
                    </a:cubicBezTo>
                    <a:cubicBezTo>
                      <a:pt x="165" y="184"/>
                      <a:pt x="164" y="184"/>
                      <a:pt x="164" y="184"/>
                    </a:cubicBezTo>
                    <a:cubicBezTo>
                      <a:pt x="163" y="184"/>
                      <a:pt x="163" y="184"/>
                      <a:pt x="162" y="185"/>
                    </a:cubicBezTo>
                    <a:cubicBezTo>
                      <a:pt x="162" y="185"/>
                      <a:pt x="161" y="185"/>
                      <a:pt x="161" y="186"/>
                    </a:cubicBezTo>
                    <a:cubicBezTo>
                      <a:pt x="160" y="186"/>
                      <a:pt x="160" y="186"/>
                      <a:pt x="160" y="186"/>
                    </a:cubicBezTo>
                    <a:cubicBezTo>
                      <a:pt x="159" y="187"/>
                      <a:pt x="158" y="188"/>
                      <a:pt x="157" y="189"/>
                    </a:cubicBezTo>
                    <a:cubicBezTo>
                      <a:pt x="155" y="190"/>
                      <a:pt x="154" y="192"/>
                      <a:pt x="153" y="193"/>
                    </a:cubicBezTo>
                    <a:cubicBezTo>
                      <a:pt x="152" y="193"/>
                      <a:pt x="152" y="193"/>
                      <a:pt x="152" y="193"/>
                    </a:cubicBezTo>
                    <a:cubicBezTo>
                      <a:pt x="152" y="194"/>
                      <a:pt x="152" y="194"/>
                      <a:pt x="151" y="195"/>
                    </a:cubicBezTo>
                    <a:cubicBezTo>
                      <a:pt x="151" y="196"/>
                      <a:pt x="151" y="196"/>
                      <a:pt x="151" y="196"/>
                    </a:cubicBezTo>
                    <a:cubicBezTo>
                      <a:pt x="151" y="198"/>
                      <a:pt x="151" y="198"/>
                      <a:pt x="151" y="198"/>
                    </a:cubicBezTo>
                    <a:cubicBezTo>
                      <a:pt x="150" y="201"/>
                      <a:pt x="149" y="205"/>
                      <a:pt x="149" y="207"/>
                    </a:cubicBezTo>
                    <a:cubicBezTo>
                      <a:pt x="149" y="209"/>
                      <a:pt x="149" y="210"/>
                      <a:pt x="149" y="211"/>
                    </a:cubicBezTo>
                    <a:cubicBezTo>
                      <a:pt x="149" y="213"/>
                      <a:pt x="149" y="214"/>
                      <a:pt x="148" y="216"/>
                    </a:cubicBezTo>
                    <a:cubicBezTo>
                      <a:pt x="148" y="217"/>
                      <a:pt x="148" y="217"/>
                      <a:pt x="148" y="217"/>
                    </a:cubicBezTo>
                    <a:cubicBezTo>
                      <a:pt x="148" y="217"/>
                      <a:pt x="148" y="217"/>
                      <a:pt x="148" y="217"/>
                    </a:cubicBezTo>
                    <a:cubicBezTo>
                      <a:pt x="149" y="218"/>
                      <a:pt x="149" y="219"/>
                      <a:pt x="149" y="221"/>
                    </a:cubicBezTo>
                    <a:cubicBezTo>
                      <a:pt x="149" y="222"/>
                      <a:pt x="149" y="225"/>
                      <a:pt x="148" y="227"/>
                    </a:cubicBezTo>
                    <a:cubicBezTo>
                      <a:pt x="147" y="229"/>
                      <a:pt x="144" y="229"/>
                      <a:pt x="142" y="230"/>
                    </a:cubicBezTo>
                    <a:cubicBezTo>
                      <a:pt x="139" y="231"/>
                      <a:pt x="139" y="231"/>
                      <a:pt x="139" y="231"/>
                    </a:cubicBezTo>
                    <a:cubicBezTo>
                      <a:pt x="137" y="231"/>
                      <a:pt x="134" y="232"/>
                      <a:pt x="132" y="233"/>
                    </a:cubicBezTo>
                    <a:cubicBezTo>
                      <a:pt x="129" y="234"/>
                      <a:pt x="125" y="235"/>
                      <a:pt x="122" y="235"/>
                    </a:cubicBezTo>
                    <a:cubicBezTo>
                      <a:pt x="114" y="235"/>
                      <a:pt x="114" y="235"/>
                      <a:pt x="114" y="235"/>
                    </a:cubicBezTo>
                    <a:cubicBezTo>
                      <a:pt x="111" y="236"/>
                      <a:pt x="109" y="236"/>
                      <a:pt x="106" y="236"/>
                    </a:cubicBezTo>
                    <a:cubicBezTo>
                      <a:pt x="103" y="236"/>
                      <a:pt x="99" y="237"/>
                      <a:pt x="95" y="237"/>
                    </a:cubicBezTo>
                    <a:cubicBezTo>
                      <a:pt x="95" y="238"/>
                      <a:pt x="94" y="238"/>
                      <a:pt x="93" y="238"/>
                    </a:cubicBezTo>
                    <a:cubicBezTo>
                      <a:pt x="92" y="239"/>
                      <a:pt x="91" y="239"/>
                      <a:pt x="91" y="240"/>
                    </a:cubicBezTo>
                    <a:cubicBezTo>
                      <a:pt x="89" y="241"/>
                      <a:pt x="89" y="241"/>
                      <a:pt x="89" y="241"/>
                    </a:cubicBezTo>
                    <a:cubicBezTo>
                      <a:pt x="88" y="241"/>
                      <a:pt x="88" y="241"/>
                      <a:pt x="88" y="241"/>
                    </a:cubicBezTo>
                    <a:cubicBezTo>
                      <a:pt x="87" y="242"/>
                      <a:pt x="87" y="242"/>
                      <a:pt x="86" y="242"/>
                    </a:cubicBezTo>
                    <a:cubicBezTo>
                      <a:pt x="86" y="242"/>
                      <a:pt x="86" y="242"/>
                      <a:pt x="85" y="242"/>
                    </a:cubicBezTo>
                    <a:cubicBezTo>
                      <a:pt x="85" y="242"/>
                      <a:pt x="84" y="243"/>
                      <a:pt x="84" y="243"/>
                    </a:cubicBezTo>
                    <a:cubicBezTo>
                      <a:pt x="83" y="243"/>
                      <a:pt x="83" y="243"/>
                      <a:pt x="82" y="243"/>
                    </a:cubicBezTo>
                    <a:cubicBezTo>
                      <a:pt x="82" y="243"/>
                      <a:pt x="82" y="243"/>
                      <a:pt x="82" y="243"/>
                    </a:cubicBezTo>
                    <a:cubicBezTo>
                      <a:pt x="81" y="243"/>
                      <a:pt x="80" y="243"/>
                      <a:pt x="80" y="243"/>
                    </a:cubicBezTo>
                    <a:cubicBezTo>
                      <a:pt x="79" y="242"/>
                      <a:pt x="79" y="242"/>
                      <a:pt x="78" y="242"/>
                    </a:cubicBezTo>
                    <a:cubicBezTo>
                      <a:pt x="75" y="242"/>
                      <a:pt x="75" y="242"/>
                      <a:pt x="75" y="242"/>
                    </a:cubicBezTo>
                    <a:cubicBezTo>
                      <a:pt x="74" y="241"/>
                      <a:pt x="73" y="241"/>
                      <a:pt x="71" y="241"/>
                    </a:cubicBezTo>
                    <a:cubicBezTo>
                      <a:pt x="71" y="241"/>
                      <a:pt x="71" y="241"/>
                      <a:pt x="71" y="241"/>
                    </a:cubicBezTo>
                    <a:cubicBezTo>
                      <a:pt x="70" y="241"/>
                      <a:pt x="69" y="241"/>
                      <a:pt x="68" y="241"/>
                    </a:cubicBezTo>
                    <a:cubicBezTo>
                      <a:pt x="68" y="241"/>
                      <a:pt x="68" y="241"/>
                      <a:pt x="68" y="241"/>
                    </a:cubicBezTo>
                    <a:cubicBezTo>
                      <a:pt x="56" y="241"/>
                      <a:pt x="56" y="241"/>
                      <a:pt x="56" y="241"/>
                    </a:cubicBezTo>
                    <a:cubicBezTo>
                      <a:pt x="57" y="247"/>
                      <a:pt x="57" y="247"/>
                      <a:pt x="57" y="247"/>
                    </a:cubicBezTo>
                    <a:cubicBezTo>
                      <a:pt x="55" y="242"/>
                      <a:pt x="55" y="242"/>
                      <a:pt x="55" y="242"/>
                    </a:cubicBezTo>
                    <a:cubicBezTo>
                      <a:pt x="50" y="242"/>
                      <a:pt x="50" y="242"/>
                      <a:pt x="50" y="242"/>
                    </a:cubicBezTo>
                    <a:cubicBezTo>
                      <a:pt x="49" y="242"/>
                      <a:pt x="48" y="242"/>
                      <a:pt x="47" y="242"/>
                    </a:cubicBezTo>
                    <a:cubicBezTo>
                      <a:pt x="47" y="242"/>
                      <a:pt x="47" y="242"/>
                      <a:pt x="47" y="242"/>
                    </a:cubicBezTo>
                    <a:cubicBezTo>
                      <a:pt x="46" y="242"/>
                      <a:pt x="45" y="243"/>
                      <a:pt x="44" y="243"/>
                    </a:cubicBezTo>
                    <a:cubicBezTo>
                      <a:pt x="43" y="243"/>
                      <a:pt x="43" y="243"/>
                      <a:pt x="43" y="243"/>
                    </a:cubicBezTo>
                    <a:cubicBezTo>
                      <a:pt x="41" y="243"/>
                      <a:pt x="40" y="243"/>
                      <a:pt x="39" y="242"/>
                    </a:cubicBezTo>
                    <a:cubicBezTo>
                      <a:pt x="0" y="231"/>
                      <a:pt x="0" y="231"/>
                      <a:pt x="0" y="231"/>
                    </a:cubicBezTo>
                    <a:cubicBezTo>
                      <a:pt x="0" y="232"/>
                      <a:pt x="1" y="234"/>
                      <a:pt x="2" y="235"/>
                    </a:cubicBezTo>
                    <a:cubicBezTo>
                      <a:pt x="3" y="235"/>
                      <a:pt x="3" y="236"/>
                      <a:pt x="3" y="237"/>
                    </a:cubicBezTo>
                    <a:cubicBezTo>
                      <a:pt x="4" y="237"/>
                      <a:pt x="4" y="238"/>
                      <a:pt x="5" y="239"/>
                    </a:cubicBezTo>
                    <a:cubicBezTo>
                      <a:pt x="8" y="242"/>
                      <a:pt x="10" y="246"/>
                      <a:pt x="13" y="250"/>
                    </a:cubicBezTo>
                    <a:cubicBezTo>
                      <a:pt x="16" y="254"/>
                      <a:pt x="19" y="258"/>
                      <a:pt x="22" y="262"/>
                    </a:cubicBezTo>
                    <a:cubicBezTo>
                      <a:pt x="24" y="264"/>
                      <a:pt x="26" y="265"/>
                      <a:pt x="28" y="266"/>
                    </a:cubicBezTo>
                    <a:cubicBezTo>
                      <a:pt x="29" y="266"/>
                      <a:pt x="30" y="267"/>
                      <a:pt x="31" y="267"/>
                    </a:cubicBezTo>
                    <a:cubicBezTo>
                      <a:pt x="32" y="267"/>
                      <a:pt x="32" y="267"/>
                      <a:pt x="32" y="267"/>
                    </a:cubicBezTo>
                    <a:cubicBezTo>
                      <a:pt x="33" y="268"/>
                      <a:pt x="34" y="268"/>
                      <a:pt x="35" y="268"/>
                    </a:cubicBezTo>
                    <a:cubicBezTo>
                      <a:pt x="35" y="268"/>
                      <a:pt x="35" y="268"/>
                      <a:pt x="35" y="268"/>
                    </a:cubicBezTo>
                    <a:cubicBezTo>
                      <a:pt x="36" y="269"/>
                      <a:pt x="37" y="269"/>
                      <a:pt x="38" y="270"/>
                    </a:cubicBezTo>
                    <a:cubicBezTo>
                      <a:pt x="40" y="270"/>
                      <a:pt x="41" y="271"/>
                      <a:pt x="43" y="271"/>
                    </a:cubicBezTo>
                    <a:cubicBezTo>
                      <a:pt x="46" y="273"/>
                      <a:pt x="48" y="274"/>
                      <a:pt x="48" y="275"/>
                    </a:cubicBezTo>
                    <a:cubicBezTo>
                      <a:pt x="50" y="277"/>
                      <a:pt x="50" y="280"/>
                      <a:pt x="49" y="284"/>
                    </a:cubicBezTo>
                    <a:cubicBezTo>
                      <a:pt x="49" y="285"/>
                      <a:pt x="49" y="285"/>
                      <a:pt x="49" y="285"/>
                    </a:cubicBezTo>
                    <a:cubicBezTo>
                      <a:pt x="55" y="285"/>
                      <a:pt x="55" y="285"/>
                      <a:pt x="55" y="285"/>
                    </a:cubicBezTo>
                    <a:cubicBezTo>
                      <a:pt x="49" y="287"/>
                      <a:pt x="49" y="287"/>
                      <a:pt x="49" y="287"/>
                    </a:cubicBezTo>
                    <a:cubicBezTo>
                      <a:pt x="49" y="297"/>
                      <a:pt x="49" y="297"/>
                      <a:pt x="49" y="297"/>
                    </a:cubicBezTo>
                    <a:cubicBezTo>
                      <a:pt x="49" y="297"/>
                      <a:pt x="49" y="298"/>
                      <a:pt x="49" y="299"/>
                    </a:cubicBezTo>
                    <a:cubicBezTo>
                      <a:pt x="49" y="300"/>
                      <a:pt x="48" y="302"/>
                      <a:pt x="49" y="303"/>
                    </a:cubicBezTo>
                    <a:cubicBezTo>
                      <a:pt x="49" y="303"/>
                      <a:pt x="49" y="303"/>
                      <a:pt x="49" y="303"/>
                    </a:cubicBezTo>
                    <a:cubicBezTo>
                      <a:pt x="49" y="303"/>
                      <a:pt x="50" y="303"/>
                      <a:pt x="50" y="303"/>
                    </a:cubicBezTo>
                    <a:cubicBezTo>
                      <a:pt x="54" y="303"/>
                      <a:pt x="54" y="303"/>
                      <a:pt x="54" y="303"/>
                    </a:cubicBezTo>
                    <a:cubicBezTo>
                      <a:pt x="56" y="303"/>
                      <a:pt x="58" y="303"/>
                      <a:pt x="61" y="304"/>
                    </a:cubicBezTo>
                    <a:cubicBezTo>
                      <a:pt x="64" y="304"/>
                      <a:pt x="64" y="304"/>
                      <a:pt x="64" y="304"/>
                    </a:cubicBezTo>
                    <a:cubicBezTo>
                      <a:pt x="63" y="308"/>
                      <a:pt x="63" y="308"/>
                      <a:pt x="63" y="308"/>
                    </a:cubicBezTo>
                    <a:cubicBezTo>
                      <a:pt x="62" y="312"/>
                      <a:pt x="61" y="317"/>
                      <a:pt x="60" y="321"/>
                    </a:cubicBezTo>
                    <a:cubicBezTo>
                      <a:pt x="59" y="324"/>
                      <a:pt x="59" y="324"/>
                      <a:pt x="59" y="324"/>
                    </a:cubicBezTo>
                    <a:cubicBezTo>
                      <a:pt x="59" y="325"/>
                      <a:pt x="59" y="326"/>
                      <a:pt x="57" y="327"/>
                    </a:cubicBezTo>
                    <a:cubicBezTo>
                      <a:pt x="55" y="329"/>
                      <a:pt x="52" y="329"/>
                      <a:pt x="50" y="329"/>
                    </a:cubicBezTo>
                    <a:cubicBezTo>
                      <a:pt x="49" y="329"/>
                      <a:pt x="49" y="329"/>
                      <a:pt x="49" y="329"/>
                    </a:cubicBezTo>
                    <a:cubicBezTo>
                      <a:pt x="49" y="329"/>
                      <a:pt x="48" y="329"/>
                      <a:pt x="47" y="329"/>
                    </a:cubicBezTo>
                    <a:cubicBezTo>
                      <a:pt x="36" y="331"/>
                      <a:pt x="36" y="331"/>
                      <a:pt x="36" y="331"/>
                    </a:cubicBezTo>
                    <a:cubicBezTo>
                      <a:pt x="34" y="331"/>
                      <a:pt x="33" y="332"/>
                      <a:pt x="32" y="333"/>
                    </a:cubicBezTo>
                    <a:cubicBezTo>
                      <a:pt x="31" y="333"/>
                      <a:pt x="30" y="334"/>
                      <a:pt x="29" y="335"/>
                    </a:cubicBezTo>
                    <a:cubicBezTo>
                      <a:pt x="29" y="335"/>
                      <a:pt x="29" y="335"/>
                      <a:pt x="29" y="335"/>
                    </a:cubicBezTo>
                    <a:cubicBezTo>
                      <a:pt x="27" y="337"/>
                      <a:pt x="26" y="337"/>
                      <a:pt x="25" y="338"/>
                    </a:cubicBezTo>
                    <a:cubicBezTo>
                      <a:pt x="24" y="339"/>
                      <a:pt x="24" y="339"/>
                      <a:pt x="24" y="339"/>
                    </a:cubicBezTo>
                    <a:cubicBezTo>
                      <a:pt x="22" y="340"/>
                      <a:pt x="22" y="340"/>
                      <a:pt x="22" y="343"/>
                    </a:cubicBezTo>
                    <a:cubicBezTo>
                      <a:pt x="20" y="349"/>
                      <a:pt x="19" y="354"/>
                      <a:pt x="18" y="359"/>
                    </a:cubicBezTo>
                    <a:cubicBezTo>
                      <a:pt x="18" y="361"/>
                      <a:pt x="18" y="361"/>
                      <a:pt x="18" y="361"/>
                    </a:cubicBezTo>
                    <a:cubicBezTo>
                      <a:pt x="18" y="361"/>
                      <a:pt x="17" y="362"/>
                      <a:pt x="17" y="363"/>
                    </a:cubicBezTo>
                    <a:cubicBezTo>
                      <a:pt x="17" y="364"/>
                      <a:pt x="17" y="366"/>
                      <a:pt x="16" y="368"/>
                    </a:cubicBezTo>
                    <a:cubicBezTo>
                      <a:pt x="16" y="369"/>
                      <a:pt x="16" y="369"/>
                      <a:pt x="16" y="369"/>
                    </a:cubicBezTo>
                    <a:cubicBezTo>
                      <a:pt x="17" y="369"/>
                      <a:pt x="16" y="370"/>
                      <a:pt x="17" y="373"/>
                    </a:cubicBezTo>
                    <a:cubicBezTo>
                      <a:pt x="17" y="373"/>
                      <a:pt x="17" y="373"/>
                      <a:pt x="17" y="373"/>
                    </a:cubicBezTo>
                    <a:cubicBezTo>
                      <a:pt x="19" y="373"/>
                      <a:pt x="21" y="371"/>
                      <a:pt x="24" y="371"/>
                    </a:cubicBezTo>
                    <a:cubicBezTo>
                      <a:pt x="27" y="371"/>
                      <a:pt x="29" y="368"/>
                      <a:pt x="31" y="368"/>
                    </a:cubicBezTo>
                    <a:cubicBezTo>
                      <a:pt x="31" y="368"/>
                      <a:pt x="32" y="369"/>
                      <a:pt x="33" y="371"/>
                    </a:cubicBezTo>
                    <a:cubicBezTo>
                      <a:pt x="37" y="368"/>
                      <a:pt x="40" y="367"/>
                      <a:pt x="44" y="367"/>
                    </a:cubicBezTo>
                    <a:cubicBezTo>
                      <a:pt x="45" y="367"/>
                      <a:pt x="46" y="367"/>
                      <a:pt x="47" y="367"/>
                    </a:cubicBezTo>
                    <a:cubicBezTo>
                      <a:pt x="51" y="367"/>
                      <a:pt x="56" y="368"/>
                      <a:pt x="60" y="368"/>
                    </a:cubicBezTo>
                    <a:cubicBezTo>
                      <a:pt x="61" y="368"/>
                      <a:pt x="63" y="368"/>
                      <a:pt x="64" y="368"/>
                    </a:cubicBezTo>
                    <a:cubicBezTo>
                      <a:pt x="66" y="368"/>
                      <a:pt x="67" y="368"/>
                      <a:pt x="66" y="367"/>
                    </a:cubicBezTo>
                    <a:cubicBezTo>
                      <a:pt x="70" y="364"/>
                      <a:pt x="75" y="364"/>
                      <a:pt x="80" y="364"/>
                    </a:cubicBezTo>
                    <a:cubicBezTo>
                      <a:pt x="81" y="364"/>
                      <a:pt x="81" y="364"/>
                      <a:pt x="82" y="364"/>
                    </a:cubicBezTo>
                    <a:cubicBezTo>
                      <a:pt x="81" y="362"/>
                      <a:pt x="82" y="360"/>
                      <a:pt x="83" y="360"/>
                    </a:cubicBezTo>
                    <a:cubicBezTo>
                      <a:pt x="84" y="360"/>
                      <a:pt x="84" y="361"/>
                      <a:pt x="84" y="361"/>
                    </a:cubicBezTo>
                    <a:cubicBezTo>
                      <a:pt x="82" y="361"/>
                      <a:pt x="82" y="362"/>
                      <a:pt x="83" y="363"/>
                    </a:cubicBezTo>
                    <a:cubicBezTo>
                      <a:pt x="84" y="365"/>
                      <a:pt x="86" y="365"/>
                      <a:pt x="88" y="365"/>
                    </a:cubicBezTo>
                    <a:cubicBezTo>
                      <a:pt x="90" y="366"/>
                      <a:pt x="92" y="365"/>
                      <a:pt x="94" y="366"/>
                    </a:cubicBezTo>
                    <a:cubicBezTo>
                      <a:pt x="96" y="367"/>
                      <a:pt x="98" y="369"/>
                      <a:pt x="99" y="369"/>
                    </a:cubicBezTo>
                    <a:cubicBezTo>
                      <a:pt x="100" y="369"/>
                      <a:pt x="100" y="369"/>
                      <a:pt x="100" y="369"/>
                    </a:cubicBezTo>
                    <a:cubicBezTo>
                      <a:pt x="99" y="368"/>
                      <a:pt x="99" y="368"/>
                      <a:pt x="99" y="368"/>
                    </a:cubicBezTo>
                    <a:cubicBezTo>
                      <a:pt x="113" y="363"/>
                      <a:pt x="125" y="363"/>
                      <a:pt x="140" y="362"/>
                    </a:cubicBezTo>
                    <a:cubicBezTo>
                      <a:pt x="140" y="362"/>
                      <a:pt x="140" y="362"/>
                      <a:pt x="140" y="362"/>
                    </a:cubicBezTo>
                    <a:cubicBezTo>
                      <a:pt x="140" y="362"/>
                      <a:pt x="141" y="362"/>
                      <a:pt x="143" y="363"/>
                    </a:cubicBezTo>
                    <a:cubicBezTo>
                      <a:pt x="144" y="363"/>
                      <a:pt x="145" y="363"/>
                      <a:pt x="146" y="363"/>
                    </a:cubicBezTo>
                    <a:cubicBezTo>
                      <a:pt x="149" y="363"/>
                      <a:pt x="151" y="362"/>
                      <a:pt x="151" y="362"/>
                    </a:cubicBezTo>
                    <a:cubicBezTo>
                      <a:pt x="151" y="362"/>
                      <a:pt x="151" y="362"/>
                      <a:pt x="151" y="362"/>
                    </a:cubicBezTo>
                    <a:cubicBezTo>
                      <a:pt x="151" y="362"/>
                      <a:pt x="151" y="360"/>
                      <a:pt x="151" y="360"/>
                    </a:cubicBezTo>
                    <a:cubicBezTo>
                      <a:pt x="150" y="360"/>
                      <a:pt x="150" y="360"/>
                      <a:pt x="150" y="360"/>
                    </a:cubicBezTo>
                    <a:cubicBezTo>
                      <a:pt x="149" y="360"/>
                      <a:pt x="148" y="359"/>
                      <a:pt x="148" y="358"/>
                    </a:cubicBezTo>
                    <a:cubicBezTo>
                      <a:pt x="148" y="357"/>
                      <a:pt x="148" y="357"/>
                      <a:pt x="149" y="357"/>
                    </a:cubicBezTo>
                    <a:cubicBezTo>
                      <a:pt x="150" y="357"/>
                      <a:pt x="150" y="357"/>
                      <a:pt x="150" y="357"/>
                    </a:cubicBezTo>
                    <a:cubicBezTo>
                      <a:pt x="150" y="357"/>
                      <a:pt x="152" y="359"/>
                      <a:pt x="152" y="360"/>
                    </a:cubicBezTo>
                    <a:cubicBezTo>
                      <a:pt x="154" y="363"/>
                      <a:pt x="152" y="362"/>
                      <a:pt x="154" y="365"/>
                    </a:cubicBezTo>
                    <a:cubicBezTo>
                      <a:pt x="156" y="368"/>
                      <a:pt x="157" y="367"/>
                      <a:pt x="157" y="371"/>
                    </a:cubicBezTo>
                    <a:cubicBezTo>
                      <a:pt x="157" y="372"/>
                      <a:pt x="156" y="377"/>
                      <a:pt x="157" y="378"/>
                    </a:cubicBezTo>
                    <a:cubicBezTo>
                      <a:pt x="158" y="378"/>
                      <a:pt x="158" y="378"/>
                      <a:pt x="159" y="378"/>
                    </a:cubicBezTo>
                    <a:cubicBezTo>
                      <a:pt x="166" y="377"/>
                      <a:pt x="166" y="377"/>
                      <a:pt x="166" y="377"/>
                    </a:cubicBezTo>
                    <a:cubicBezTo>
                      <a:pt x="168" y="382"/>
                      <a:pt x="168" y="382"/>
                      <a:pt x="168" y="382"/>
                    </a:cubicBezTo>
                    <a:cubicBezTo>
                      <a:pt x="171" y="384"/>
                      <a:pt x="171" y="384"/>
                      <a:pt x="171" y="384"/>
                    </a:cubicBezTo>
                    <a:cubicBezTo>
                      <a:pt x="172" y="387"/>
                      <a:pt x="172" y="390"/>
                      <a:pt x="173" y="392"/>
                    </a:cubicBezTo>
                    <a:cubicBezTo>
                      <a:pt x="174" y="398"/>
                      <a:pt x="174" y="403"/>
                      <a:pt x="179" y="403"/>
                    </a:cubicBezTo>
                    <a:cubicBezTo>
                      <a:pt x="180" y="403"/>
                      <a:pt x="181" y="402"/>
                      <a:pt x="182" y="402"/>
                    </a:cubicBezTo>
                    <a:cubicBezTo>
                      <a:pt x="183" y="402"/>
                      <a:pt x="184" y="402"/>
                      <a:pt x="186" y="402"/>
                    </a:cubicBezTo>
                    <a:cubicBezTo>
                      <a:pt x="192" y="402"/>
                      <a:pt x="198" y="405"/>
                      <a:pt x="195" y="412"/>
                    </a:cubicBezTo>
                    <a:cubicBezTo>
                      <a:pt x="196" y="412"/>
                      <a:pt x="196" y="411"/>
                      <a:pt x="197" y="411"/>
                    </a:cubicBezTo>
                    <a:cubicBezTo>
                      <a:pt x="196" y="410"/>
                      <a:pt x="196" y="410"/>
                      <a:pt x="196" y="410"/>
                    </a:cubicBezTo>
                    <a:cubicBezTo>
                      <a:pt x="198" y="409"/>
                      <a:pt x="198" y="409"/>
                      <a:pt x="198" y="409"/>
                    </a:cubicBezTo>
                    <a:cubicBezTo>
                      <a:pt x="198" y="408"/>
                      <a:pt x="198" y="408"/>
                      <a:pt x="198" y="408"/>
                    </a:cubicBezTo>
                    <a:cubicBezTo>
                      <a:pt x="198" y="408"/>
                      <a:pt x="198" y="408"/>
                      <a:pt x="198" y="408"/>
                    </a:cubicBezTo>
                    <a:cubicBezTo>
                      <a:pt x="207" y="402"/>
                      <a:pt x="207" y="402"/>
                      <a:pt x="207" y="402"/>
                    </a:cubicBezTo>
                    <a:cubicBezTo>
                      <a:pt x="208" y="402"/>
                      <a:pt x="208" y="402"/>
                      <a:pt x="208" y="402"/>
                    </a:cubicBezTo>
                    <a:cubicBezTo>
                      <a:pt x="209" y="402"/>
                      <a:pt x="210" y="402"/>
                      <a:pt x="210" y="402"/>
                    </a:cubicBezTo>
                    <a:cubicBezTo>
                      <a:pt x="212" y="402"/>
                      <a:pt x="212" y="402"/>
                      <a:pt x="212" y="402"/>
                    </a:cubicBezTo>
                    <a:cubicBezTo>
                      <a:pt x="212" y="401"/>
                      <a:pt x="212" y="400"/>
                      <a:pt x="212" y="398"/>
                    </a:cubicBezTo>
                    <a:cubicBezTo>
                      <a:pt x="212" y="396"/>
                      <a:pt x="212" y="395"/>
                      <a:pt x="212" y="394"/>
                    </a:cubicBezTo>
                    <a:cubicBezTo>
                      <a:pt x="212" y="391"/>
                      <a:pt x="212" y="391"/>
                      <a:pt x="212" y="391"/>
                    </a:cubicBezTo>
                    <a:cubicBezTo>
                      <a:pt x="216" y="391"/>
                      <a:pt x="216" y="391"/>
                      <a:pt x="216" y="391"/>
                    </a:cubicBezTo>
                    <a:cubicBezTo>
                      <a:pt x="221" y="392"/>
                      <a:pt x="227" y="392"/>
                      <a:pt x="232" y="393"/>
                    </a:cubicBezTo>
                    <a:cubicBezTo>
                      <a:pt x="233" y="388"/>
                      <a:pt x="233" y="388"/>
                      <a:pt x="233" y="388"/>
                    </a:cubicBezTo>
                    <a:cubicBezTo>
                      <a:pt x="234" y="393"/>
                      <a:pt x="234" y="393"/>
                      <a:pt x="234" y="393"/>
                    </a:cubicBezTo>
                    <a:cubicBezTo>
                      <a:pt x="242" y="395"/>
                      <a:pt x="242" y="395"/>
                      <a:pt x="242" y="395"/>
                    </a:cubicBezTo>
                    <a:cubicBezTo>
                      <a:pt x="243" y="395"/>
                      <a:pt x="244" y="395"/>
                      <a:pt x="245" y="395"/>
                    </a:cubicBezTo>
                    <a:cubicBezTo>
                      <a:pt x="246" y="395"/>
                      <a:pt x="247" y="395"/>
                      <a:pt x="248" y="396"/>
                    </a:cubicBezTo>
                    <a:cubicBezTo>
                      <a:pt x="248" y="396"/>
                      <a:pt x="249" y="396"/>
                      <a:pt x="249" y="396"/>
                    </a:cubicBezTo>
                    <a:cubicBezTo>
                      <a:pt x="249" y="396"/>
                      <a:pt x="250" y="396"/>
                      <a:pt x="250" y="396"/>
                    </a:cubicBezTo>
                    <a:cubicBezTo>
                      <a:pt x="250" y="395"/>
                      <a:pt x="250" y="395"/>
                      <a:pt x="250" y="395"/>
                    </a:cubicBezTo>
                    <a:cubicBezTo>
                      <a:pt x="250" y="395"/>
                      <a:pt x="251" y="394"/>
                      <a:pt x="251" y="393"/>
                    </a:cubicBezTo>
                    <a:cubicBezTo>
                      <a:pt x="254" y="391"/>
                      <a:pt x="257" y="390"/>
                      <a:pt x="261" y="390"/>
                    </a:cubicBezTo>
                    <a:cubicBezTo>
                      <a:pt x="261" y="389"/>
                      <a:pt x="261" y="389"/>
                      <a:pt x="261" y="389"/>
                    </a:cubicBezTo>
                    <a:cubicBezTo>
                      <a:pt x="262" y="389"/>
                      <a:pt x="262" y="389"/>
                      <a:pt x="263" y="389"/>
                    </a:cubicBezTo>
                    <a:cubicBezTo>
                      <a:pt x="264" y="389"/>
                      <a:pt x="264" y="389"/>
                      <a:pt x="264" y="389"/>
                    </a:cubicBezTo>
                    <a:cubicBezTo>
                      <a:pt x="265" y="388"/>
                      <a:pt x="266" y="388"/>
                      <a:pt x="267" y="388"/>
                    </a:cubicBezTo>
                    <a:cubicBezTo>
                      <a:pt x="268" y="388"/>
                      <a:pt x="269" y="388"/>
                      <a:pt x="270" y="390"/>
                    </a:cubicBezTo>
                    <a:cubicBezTo>
                      <a:pt x="271" y="390"/>
                      <a:pt x="271" y="391"/>
                      <a:pt x="271" y="392"/>
                    </a:cubicBezTo>
                    <a:cubicBezTo>
                      <a:pt x="271" y="392"/>
                      <a:pt x="272" y="393"/>
                      <a:pt x="272" y="393"/>
                    </a:cubicBezTo>
                    <a:cubicBezTo>
                      <a:pt x="273" y="392"/>
                      <a:pt x="273" y="392"/>
                      <a:pt x="273" y="392"/>
                    </a:cubicBezTo>
                    <a:cubicBezTo>
                      <a:pt x="274" y="392"/>
                      <a:pt x="274" y="392"/>
                      <a:pt x="274" y="392"/>
                    </a:cubicBezTo>
                    <a:cubicBezTo>
                      <a:pt x="274" y="391"/>
                      <a:pt x="275" y="391"/>
                      <a:pt x="276" y="391"/>
                    </a:cubicBezTo>
                    <a:cubicBezTo>
                      <a:pt x="275" y="390"/>
                      <a:pt x="275" y="389"/>
                      <a:pt x="275" y="387"/>
                    </a:cubicBezTo>
                    <a:cubicBezTo>
                      <a:pt x="275" y="387"/>
                      <a:pt x="276" y="386"/>
                      <a:pt x="276" y="386"/>
                    </a:cubicBezTo>
                    <a:cubicBezTo>
                      <a:pt x="276" y="385"/>
                      <a:pt x="277" y="384"/>
                      <a:pt x="277" y="383"/>
                    </a:cubicBezTo>
                    <a:cubicBezTo>
                      <a:pt x="277" y="383"/>
                      <a:pt x="277" y="382"/>
                      <a:pt x="277" y="382"/>
                    </a:cubicBezTo>
                    <a:cubicBezTo>
                      <a:pt x="272" y="372"/>
                      <a:pt x="272" y="372"/>
                      <a:pt x="272" y="372"/>
                    </a:cubicBezTo>
                    <a:cubicBezTo>
                      <a:pt x="272" y="371"/>
                      <a:pt x="271" y="370"/>
                      <a:pt x="271" y="369"/>
                    </a:cubicBezTo>
                    <a:cubicBezTo>
                      <a:pt x="266" y="371"/>
                      <a:pt x="266" y="371"/>
                      <a:pt x="266" y="371"/>
                    </a:cubicBezTo>
                    <a:cubicBezTo>
                      <a:pt x="270" y="368"/>
                      <a:pt x="270" y="368"/>
                      <a:pt x="270" y="368"/>
                    </a:cubicBezTo>
                    <a:cubicBezTo>
                      <a:pt x="270" y="367"/>
                      <a:pt x="270" y="367"/>
                      <a:pt x="270" y="367"/>
                    </a:cubicBezTo>
                    <a:cubicBezTo>
                      <a:pt x="269" y="366"/>
                      <a:pt x="269" y="365"/>
                      <a:pt x="269" y="365"/>
                    </a:cubicBezTo>
                    <a:cubicBezTo>
                      <a:pt x="268" y="362"/>
                      <a:pt x="268" y="360"/>
                      <a:pt x="267" y="358"/>
                    </a:cubicBezTo>
                    <a:cubicBezTo>
                      <a:pt x="267" y="358"/>
                      <a:pt x="267" y="357"/>
                      <a:pt x="267" y="357"/>
                    </a:cubicBezTo>
                    <a:cubicBezTo>
                      <a:pt x="266" y="357"/>
                      <a:pt x="266" y="357"/>
                      <a:pt x="265" y="357"/>
                    </a:cubicBezTo>
                    <a:cubicBezTo>
                      <a:pt x="264" y="357"/>
                      <a:pt x="264" y="357"/>
                      <a:pt x="264" y="357"/>
                    </a:cubicBezTo>
                    <a:cubicBezTo>
                      <a:pt x="263" y="357"/>
                      <a:pt x="262" y="357"/>
                      <a:pt x="261" y="357"/>
                    </a:cubicBezTo>
                    <a:cubicBezTo>
                      <a:pt x="261" y="357"/>
                      <a:pt x="261" y="357"/>
                      <a:pt x="261" y="357"/>
                    </a:cubicBezTo>
                    <a:cubicBezTo>
                      <a:pt x="260" y="357"/>
                      <a:pt x="260" y="356"/>
                      <a:pt x="259" y="356"/>
                    </a:cubicBezTo>
                    <a:cubicBezTo>
                      <a:pt x="259" y="356"/>
                      <a:pt x="259" y="356"/>
                      <a:pt x="259" y="356"/>
                    </a:cubicBezTo>
                    <a:cubicBezTo>
                      <a:pt x="258" y="356"/>
                      <a:pt x="258" y="356"/>
                      <a:pt x="258" y="356"/>
                    </a:cubicBezTo>
                    <a:cubicBezTo>
                      <a:pt x="258" y="355"/>
                      <a:pt x="258" y="355"/>
                      <a:pt x="258" y="355"/>
                    </a:cubicBezTo>
                    <a:cubicBezTo>
                      <a:pt x="257" y="355"/>
                      <a:pt x="257" y="355"/>
                      <a:pt x="256" y="354"/>
                    </a:cubicBezTo>
                    <a:cubicBezTo>
                      <a:pt x="254" y="352"/>
                      <a:pt x="253" y="349"/>
                      <a:pt x="252" y="346"/>
                    </a:cubicBezTo>
                    <a:cubicBezTo>
                      <a:pt x="252" y="345"/>
                      <a:pt x="252" y="344"/>
                      <a:pt x="252" y="343"/>
                    </a:cubicBezTo>
                    <a:cubicBezTo>
                      <a:pt x="251" y="340"/>
                      <a:pt x="251" y="337"/>
                      <a:pt x="252" y="334"/>
                    </a:cubicBezTo>
                    <a:cubicBezTo>
                      <a:pt x="252" y="334"/>
                      <a:pt x="252" y="334"/>
                      <a:pt x="252" y="334"/>
                    </a:cubicBezTo>
                    <a:cubicBezTo>
                      <a:pt x="252" y="332"/>
                      <a:pt x="252" y="331"/>
                      <a:pt x="252" y="330"/>
                    </a:cubicBezTo>
                    <a:cubicBezTo>
                      <a:pt x="252" y="330"/>
                      <a:pt x="252" y="330"/>
                      <a:pt x="252" y="330"/>
                    </a:cubicBezTo>
                    <a:cubicBezTo>
                      <a:pt x="252" y="330"/>
                      <a:pt x="252" y="330"/>
                      <a:pt x="251" y="330"/>
                    </a:cubicBezTo>
                    <a:cubicBezTo>
                      <a:pt x="251" y="329"/>
                      <a:pt x="251" y="329"/>
                      <a:pt x="251" y="329"/>
                    </a:cubicBezTo>
                    <a:cubicBezTo>
                      <a:pt x="249" y="329"/>
                      <a:pt x="247" y="329"/>
                      <a:pt x="245" y="329"/>
                    </a:cubicBezTo>
                    <a:cubicBezTo>
                      <a:pt x="244" y="334"/>
                      <a:pt x="244" y="334"/>
                      <a:pt x="244" y="334"/>
                    </a:cubicBezTo>
                    <a:cubicBezTo>
                      <a:pt x="244" y="328"/>
                      <a:pt x="244" y="328"/>
                      <a:pt x="244" y="328"/>
                    </a:cubicBezTo>
                    <a:cubicBezTo>
                      <a:pt x="243" y="328"/>
                      <a:pt x="243" y="328"/>
                      <a:pt x="243" y="328"/>
                    </a:cubicBezTo>
                    <a:cubicBezTo>
                      <a:pt x="239" y="327"/>
                      <a:pt x="236" y="326"/>
                      <a:pt x="234" y="324"/>
                    </a:cubicBezTo>
                    <a:cubicBezTo>
                      <a:pt x="234" y="322"/>
                      <a:pt x="233" y="321"/>
                      <a:pt x="233" y="320"/>
                    </a:cubicBezTo>
                    <a:cubicBezTo>
                      <a:pt x="232" y="316"/>
                      <a:pt x="233" y="312"/>
                      <a:pt x="236" y="306"/>
                    </a:cubicBezTo>
                    <a:cubicBezTo>
                      <a:pt x="239" y="302"/>
                      <a:pt x="242" y="298"/>
                      <a:pt x="245" y="295"/>
                    </a:cubicBezTo>
                    <a:cubicBezTo>
                      <a:pt x="246" y="294"/>
                      <a:pt x="246" y="294"/>
                      <a:pt x="246" y="294"/>
                    </a:cubicBezTo>
                    <a:cubicBezTo>
                      <a:pt x="247" y="292"/>
                      <a:pt x="248" y="291"/>
                      <a:pt x="249" y="290"/>
                    </a:cubicBezTo>
                    <a:cubicBezTo>
                      <a:pt x="250" y="290"/>
                      <a:pt x="250" y="289"/>
                      <a:pt x="251" y="288"/>
                    </a:cubicBezTo>
                    <a:cubicBezTo>
                      <a:pt x="251" y="287"/>
                      <a:pt x="251" y="287"/>
                      <a:pt x="251" y="287"/>
                    </a:cubicBezTo>
                    <a:cubicBezTo>
                      <a:pt x="252" y="287"/>
                      <a:pt x="252" y="286"/>
                      <a:pt x="253" y="286"/>
                    </a:cubicBezTo>
                    <a:cubicBezTo>
                      <a:pt x="255" y="283"/>
                      <a:pt x="255" y="283"/>
                      <a:pt x="255" y="283"/>
                    </a:cubicBezTo>
                    <a:cubicBezTo>
                      <a:pt x="255" y="283"/>
                      <a:pt x="256" y="283"/>
                      <a:pt x="256" y="282"/>
                    </a:cubicBezTo>
                    <a:cubicBezTo>
                      <a:pt x="256" y="282"/>
                      <a:pt x="256" y="282"/>
                      <a:pt x="256" y="282"/>
                    </a:cubicBezTo>
                    <a:cubicBezTo>
                      <a:pt x="253" y="278"/>
                      <a:pt x="253" y="278"/>
                      <a:pt x="253" y="278"/>
                    </a:cubicBezTo>
                    <a:cubicBezTo>
                      <a:pt x="258" y="281"/>
                      <a:pt x="258" y="281"/>
                      <a:pt x="258" y="281"/>
                    </a:cubicBezTo>
                    <a:cubicBezTo>
                      <a:pt x="258" y="281"/>
                      <a:pt x="258" y="281"/>
                      <a:pt x="258" y="281"/>
                    </a:cubicBezTo>
                    <a:cubicBezTo>
                      <a:pt x="259" y="280"/>
                      <a:pt x="260" y="280"/>
                      <a:pt x="260" y="279"/>
                    </a:cubicBezTo>
                    <a:cubicBezTo>
                      <a:pt x="261" y="279"/>
                      <a:pt x="261" y="279"/>
                      <a:pt x="261" y="279"/>
                    </a:cubicBezTo>
                    <a:cubicBezTo>
                      <a:pt x="262" y="279"/>
                      <a:pt x="263" y="278"/>
                      <a:pt x="264" y="278"/>
                    </a:cubicBezTo>
                    <a:cubicBezTo>
                      <a:pt x="264" y="275"/>
                      <a:pt x="264" y="275"/>
                      <a:pt x="264" y="275"/>
                    </a:cubicBezTo>
                    <a:cubicBezTo>
                      <a:pt x="265" y="278"/>
                      <a:pt x="265" y="278"/>
                      <a:pt x="265" y="278"/>
                    </a:cubicBezTo>
                    <a:cubicBezTo>
                      <a:pt x="265" y="278"/>
                      <a:pt x="266" y="278"/>
                      <a:pt x="266" y="279"/>
                    </a:cubicBezTo>
                    <a:cubicBezTo>
                      <a:pt x="267" y="279"/>
                      <a:pt x="267" y="279"/>
                      <a:pt x="268" y="279"/>
                    </a:cubicBezTo>
                    <a:cubicBezTo>
                      <a:pt x="268" y="279"/>
                      <a:pt x="269" y="280"/>
                      <a:pt x="269" y="280"/>
                    </a:cubicBezTo>
                    <a:cubicBezTo>
                      <a:pt x="270" y="281"/>
                      <a:pt x="270" y="281"/>
                      <a:pt x="271" y="281"/>
                    </a:cubicBezTo>
                    <a:cubicBezTo>
                      <a:pt x="272" y="283"/>
                      <a:pt x="273" y="284"/>
                      <a:pt x="273" y="285"/>
                    </a:cubicBezTo>
                    <a:cubicBezTo>
                      <a:pt x="273" y="285"/>
                      <a:pt x="273" y="285"/>
                      <a:pt x="273" y="285"/>
                    </a:cubicBezTo>
                    <a:cubicBezTo>
                      <a:pt x="274" y="286"/>
                      <a:pt x="274" y="287"/>
                      <a:pt x="275" y="287"/>
                    </a:cubicBezTo>
                    <a:cubicBezTo>
                      <a:pt x="275" y="288"/>
                      <a:pt x="275" y="288"/>
                      <a:pt x="276" y="288"/>
                    </a:cubicBezTo>
                    <a:cubicBezTo>
                      <a:pt x="276" y="288"/>
                      <a:pt x="276" y="288"/>
                      <a:pt x="277" y="288"/>
                    </a:cubicBezTo>
                    <a:cubicBezTo>
                      <a:pt x="277" y="287"/>
                      <a:pt x="277" y="287"/>
                      <a:pt x="277" y="287"/>
                    </a:cubicBezTo>
                    <a:cubicBezTo>
                      <a:pt x="280" y="286"/>
                      <a:pt x="282" y="285"/>
                      <a:pt x="285" y="285"/>
                    </a:cubicBezTo>
                    <a:cubicBezTo>
                      <a:pt x="285" y="285"/>
                      <a:pt x="285" y="285"/>
                      <a:pt x="285" y="285"/>
                    </a:cubicBezTo>
                    <a:cubicBezTo>
                      <a:pt x="285" y="279"/>
                      <a:pt x="285" y="279"/>
                      <a:pt x="285" y="279"/>
                    </a:cubicBezTo>
                    <a:cubicBezTo>
                      <a:pt x="287" y="284"/>
                      <a:pt x="287" y="284"/>
                      <a:pt x="287" y="284"/>
                    </a:cubicBezTo>
                    <a:cubicBezTo>
                      <a:pt x="288" y="284"/>
                      <a:pt x="288" y="284"/>
                      <a:pt x="288" y="284"/>
                    </a:cubicBezTo>
                    <a:cubicBezTo>
                      <a:pt x="289" y="284"/>
                      <a:pt x="289" y="284"/>
                      <a:pt x="290" y="284"/>
                    </a:cubicBezTo>
                    <a:cubicBezTo>
                      <a:pt x="291" y="284"/>
                      <a:pt x="291" y="284"/>
                      <a:pt x="291" y="284"/>
                    </a:cubicBezTo>
                    <a:cubicBezTo>
                      <a:pt x="293" y="284"/>
                      <a:pt x="296" y="283"/>
                      <a:pt x="298" y="283"/>
                    </a:cubicBezTo>
                    <a:cubicBezTo>
                      <a:pt x="298" y="283"/>
                      <a:pt x="298" y="283"/>
                      <a:pt x="298" y="283"/>
                    </a:cubicBezTo>
                    <a:cubicBezTo>
                      <a:pt x="315" y="260"/>
                      <a:pt x="315" y="260"/>
                      <a:pt x="315" y="260"/>
                    </a:cubicBezTo>
                    <a:cubicBezTo>
                      <a:pt x="316" y="259"/>
                      <a:pt x="316" y="259"/>
                      <a:pt x="316" y="259"/>
                    </a:cubicBezTo>
                    <a:cubicBezTo>
                      <a:pt x="318" y="256"/>
                      <a:pt x="320" y="254"/>
                      <a:pt x="323" y="252"/>
                    </a:cubicBezTo>
                    <a:cubicBezTo>
                      <a:pt x="324" y="252"/>
                      <a:pt x="325" y="251"/>
                      <a:pt x="327" y="251"/>
                    </a:cubicBezTo>
                    <a:cubicBezTo>
                      <a:pt x="331" y="249"/>
                      <a:pt x="332" y="248"/>
                      <a:pt x="334" y="244"/>
                    </a:cubicBezTo>
                    <a:cubicBezTo>
                      <a:pt x="335" y="243"/>
                      <a:pt x="336" y="242"/>
                      <a:pt x="336" y="240"/>
                    </a:cubicBezTo>
                    <a:cubicBezTo>
                      <a:pt x="337" y="240"/>
                      <a:pt x="337" y="240"/>
                      <a:pt x="337" y="240"/>
                    </a:cubicBezTo>
                    <a:cubicBezTo>
                      <a:pt x="338" y="238"/>
                      <a:pt x="339" y="236"/>
                      <a:pt x="340" y="235"/>
                    </a:cubicBezTo>
                    <a:cubicBezTo>
                      <a:pt x="340" y="234"/>
                      <a:pt x="340" y="233"/>
                      <a:pt x="340" y="232"/>
                    </a:cubicBezTo>
                    <a:cubicBezTo>
                      <a:pt x="340" y="232"/>
                      <a:pt x="340" y="232"/>
                      <a:pt x="340" y="232"/>
                    </a:cubicBezTo>
                    <a:cubicBezTo>
                      <a:pt x="341" y="231"/>
                      <a:pt x="341" y="231"/>
                      <a:pt x="341" y="230"/>
                    </a:cubicBezTo>
                    <a:cubicBezTo>
                      <a:pt x="342" y="227"/>
                      <a:pt x="343" y="224"/>
                      <a:pt x="344" y="221"/>
                    </a:cubicBezTo>
                    <a:cubicBezTo>
                      <a:pt x="346" y="220"/>
                      <a:pt x="347" y="219"/>
                      <a:pt x="348" y="218"/>
                    </a:cubicBezTo>
                    <a:cubicBezTo>
                      <a:pt x="350" y="217"/>
                      <a:pt x="353" y="216"/>
                      <a:pt x="356" y="215"/>
                    </a:cubicBezTo>
                    <a:cubicBezTo>
                      <a:pt x="357" y="214"/>
                      <a:pt x="358" y="214"/>
                      <a:pt x="358" y="213"/>
                    </a:cubicBezTo>
                    <a:cubicBezTo>
                      <a:pt x="358" y="213"/>
                      <a:pt x="358" y="213"/>
                      <a:pt x="358" y="213"/>
                    </a:cubicBezTo>
                    <a:cubicBezTo>
                      <a:pt x="356" y="210"/>
                      <a:pt x="357" y="208"/>
                      <a:pt x="358" y="207"/>
                    </a:cubicBezTo>
                    <a:cubicBezTo>
                      <a:pt x="358" y="206"/>
                      <a:pt x="358" y="206"/>
                      <a:pt x="358" y="206"/>
                    </a:cubicBezTo>
                    <a:cubicBezTo>
                      <a:pt x="359" y="205"/>
                      <a:pt x="360" y="204"/>
                      <a:pt x="360" y="204"/>
                    </a:cubicBezTo>
                    <a:cubicBezTo>
                      <a:pt x="362" y="202"/>
                      <a:pt x="363" y="200"/>
                      <a:pt x="365" y="198"/>
                    </a:cubicBezTo>
                    <a:cubicBezTo>
                      <a:pt x="366" y="198"/>
                      <a:pt x="367" y="196"/>
                      <a:pt x="370" y="195"/>
                    </a:cubicBezTo>
                    <a:cubicBezTo>
                      <a:pt x="371" y="194"/>
                      <a:pt x="371" y="194"/>
                      <a:pt x="371" y="194"/>
                    </a:cubicBezTo>
                    <a:cubicBezTo>
                      <a:pt x="373" y="193"/>
                      <a:pt x="375" y="191"/>
                      <a:pt x="377" y="190"/>
                    </a:cubicBezTo>
                    <a:cubicBezTo>
                      <a:pt x="378" y="189"/>
                      <a:pt x="378" y="188"/>
                      <a:pt x="378" y="188"/>
                    </a:cubicBezTo>
                    <a:cubicBezTo>
                      <a:pt x="378" y="187"/>
                      <a:pt x="378" y="186"/>
                      <a:pt x="378" y="185"/>
                    </a:cubicBezTo>
                    <a:cubicBezTo>
                      <a:pt x="377" y="178"/>
                      <a:pt x="377" y="178"/>
                      <a:pt x="377" y="178"/>
                    </a:cubicBezTo>
                    <a:cubicBezTo>
                      <a:pt x="377" y="177"/>
                      <a:pt x="376" y="175"/>
                      <a:pt x="376" y="173"/>
                    </a:cubicBezTo>
                    <a:cubicBezTo>
                      <a:pt x="376" y="170"/>
                      <a:pt x="376" y="170"/>
                      <a:pt x="376" y="170"/>
                    </a:cubicBezTo>
                    <a:cubicBezTo>
                      <a:pt x="372" y="171"/>
                      <a:pt x="372" y="171"/>
                      <a:pt x="372" y="171"/>
                    </a:cubicBezTo>
                    <a:cubicBezTo>
                      <a:pt x="376" y="168"/>
                      <a:pt x="376" y="168"/>
                      <a:pt x="376" y="168"/>
                    </a:cubicBezTo>
                    <a:cubicBezTo>
                      <a:pt x="375" y="167"/>
                      <a:pt x="375" y="167"/>
                      <a:pt x="375" y="167"/>
                    </a:cubicBezTo>
                    <a:cubicBezTo>
                      <a:pt x="375" y="167"/>
                      <a:pt x="376" y="166"/>
                      <a:pt x="376" y="165"/>
                    </a:cubicBezTo>
                    <a:cubicBezTo>
                      <a:pt x="376" y="163"/>
                      <a:pt x="378" y="161"/>
                      <a:pt x="381" y="159"/>
                    </a:cubicBezTo>
                    <a:cubicBezTo>
                      <a:pt x="382" y="158"/>
                      <a:pt x="383" y="157"/>
                      <a:pt x="384" y="157"/>
                    </a:cubicBezTo>
                    <a:cubicBezTo>
                      <a:pt x="384" y="157"/>
                      <a:pt x="384" y="157"/>
                      <a:pt x="384" y="157"/>
                    </a:cubicBezTo>
                    <a:cubicBezTo>
                      <a:pt x="385" y="157"/>
                      <a:pt x="385" y="157"/>
                      <a:pt x="386" y="157"/>
                    </a:cubicBezTo>
                    <a:cubicBezTo>
                      <a:pt x="386" y="156"/>
                      <a:pt x="386" y="156"/>
                      <a:pt x="387" y="156"/>
                    </a:cubicBezTo>
                    <a:cubicBezTo>
                      <a:pt x="388" y="156"/>
                      <a:pt x="389" y="155"/>
                      <a:pt x="390" y="155"/>
                    </a:cubicBezTo>
                    <a:cubicBezTo>
                      <a:pt x="391" y="155"/>
                      <a:pt x="392" y="154"/>
                      <a:pt x="392" y="154"/>
                    </a:cubicBezTo>
                    <a:cubicBezTo>
                      <a:pt x="394" y="153"/>
                      <a:pt x="394" y="153"/>
                      <a:pt x="394" y="153"/>
                    </a:cubicBezTo>
                    <a:cubicBezTo>
                      <a:pt x="396" y="153"/>
                      <a:pt x="398" y="152"/>
                      <a:pt x="398" y="151"/>
                    </a:cubicBezTo>
                    <a:cubicBezTo>
                      <a:pt x="399" y="150"/>
                      <a:pt x="398" y="149"/>
                      <a:pt x="398" y="149"/>
                    </a:cubicBezTo>
                    <a:cubicBezTo>
                      <a:pt x="397" y="149"/>
                      <a:pt x="397" y="149"/>
                      <a:pt x="397" y="149"/>
                    </a:cubicBezTo>
                    <a:cubicBezTo>
                      <a:pt x="397" y="149"/>
                      <a:pt x="397" y="149"/>
                      <a:pt x="397" y="149"/>
                    </a:cubicBezTo>
                    <a:cubicBezTo>
                      <a:pt x="396" y="149"/>
                      <a:pt x="396" y="149"/>
                      <a:pt x="396" y="148"/>
                    </a:cubicBezTo>
                    <a:cubicBezTo>
                      <a:pt x="395" y="148"/>
                      <a:pt x="394" y="148"/>
                      <a:pt x="392" y="148"/>
                    </a:cubicBezTo>
                    <a:cubicBezTo>
                      <a:pt x="392" y="148"/>
                      <a:pt x="392" y="148"/>
                      <a:pt x="392" y="148"/>
                    </a:cubicBezTo>
                    <a:cubicBezTo>
                      <a:pt x="391" y="148"/>
                      <a:pt x="390" y="148"/>
                      <a:pt x="390" y="147"/>
                    </a:cubicBezTo>
                    <a:cubicBezTo>
                      <a:pt x="386" y="147"/>
                      <a:pt x="384" y="146"/>
                      <a:pt x="382" y="144"/>
                    </a:cubicBezTo>
                    <a:cubicBezTo>
                      <a:pt x="382" y="144"/>
                      <a:pt x="381" y="143"/>
                      <a:pt x="381" y="143"/>
                    </a:cubicBezTo>
                    <a:cubicBezTo>
                      <a:pt x="380" y="141"/>
                      <a:pt x="380" y="140"/>
                      <a:pt x="380" y="137"/>
                    </a:cubicBezTo>
                    <a:cubicBezTo>
                      <a:pt x="379" y="138"/>
                      <a:pt x="378" y="138"/>
                      <a:pt x="377" y="138"/>
                    </a:cubicBezTo>
                    <a:cubicBezTo>
                      <a:pt x="375" y="138"/>
                      <a:pt x="372" y="137"/>
                      <a:pt x="371" y="134"/>
                    </a:cubicBezTo>
                    <a:cubicBezTo>
                      <a:pt x="370" y="133"/>
                      <a:pt x="370" y="133"/>
                      <a:pt x="370" y="133"/>
                    </a:cubicBezTo>
                    <a:cubicBezTo>
                      <a:pt x="369" y="132"/>
                      <a:pt x="369" y="132"/>
                      <a:pt x="368" y="131"/>
                    </a:cubicBezTo>
                    <a:cubicBezTo>
                      <a:pt x="367" y="129"/>
                      <a:pt x="367" y="129"/>
                      <a:pt x="367" y="129"/>
                    </a:cubicBezTo>
                    <a:cubicBezTo>
                      <a:pt x="365" y="127"/>
                      <a:pt x="364" y="125"/>
                      <a:pt x="363" y="123"/>
                    </a:cubicBezTo>
                    <a:cubicBezTo>
                      <a:pt x="355" y="125"/>
                      <a:pt x="355" y="125"/>
                      <a:pt x="355" y="125"/>
                    </a:cubicBezTo>
                    <a:cubicBezTo>
                      <a:pt x="362" y="121"/>
                      <a:pt x="362" y="121"/>
                      <a:pt x="362" y="121"/>
                    </a:cubicBezTo>
                    <a:cubicBezTo>
                      <a:pt x="362" y="121"/>
                      <a:pt x="362" y="121"/>
                      <a:pt x="362" y="121"/>
                    </a:cubicBezTo>
                    <a:cubicBezTo>
                      <a:pt x="362" y="120"/>
                      <a:pt x="362" y="119"/>
                      <a:pt x="363" y="118"/>
                    </a:cubicBezTo>
                    <a:cubicBezTo>
                      <a:pt x="363" y="117"/>
                      <a:pt x="364" y="116"/>
                      <a:pt x="364" y="115"/>
                    </a:cubicBezTo>
                    <a:cubicBezTo>
                      <a:pt x="366" y="112"/>
                      <a:pt x="366" y="111"/>
                      <a:pt x="365" y="110"/>
                    </a:cubicBezTo>
                    <a:cubicBezTo>
                      <a:pt x="365" y="110"/>
                      <a:pt x="365" y="110"/>
                      <a:pt x="365" y="110"/>
                    </a:cubicBezTo>
                    <a:cubicBezTo>
                      <a:pt x="364" y="108"/>
                      <a:pt x="363" y="108"/>
                      <a:pt x="362" y="107"/>
                    </a:cubicBezTo>
                    <a:cubicBezTo>
                      <a:pt x="362" y="106"/>
                      <a:pt x="361" y="105"/>
                      <a:pt x="361" y="104"/>
                    </a:cubicBezTo>
                    <a:cubicBezTo>
                      <a:pt x="361" y="103"/>
                      <a:pt x="361" y="103"/>
                      <a:pt x="361" y="103"/>
                    </a:cubicBezTo>
                    <a:cubicBezTo>
                      <a:pt x="361" y="103"/>
                      <a:pt x="361" y="103"/>
                      <a:pt x="361" y="103"/>
                    </a:cubicBezTo>
                    <a:cubicBezTo>
                      <a:pt x="361" y="102"/>
                      <a:pt x="362" y="102"/>
                      <a:pt x="362" y="101"/>
                    </a:cubicBezTo>
                    <a:cubicBezTo>
                      <a:pt x="362" y="101"/>
                      <a:pt x="362" y="101"/>
                      <a:pt x="362" y="101"/>
                    </a:cubicBezTo>
                    <a:cubicBezTo>
                      <a:pt x="362" y="100"/>
                      <a:pt x="364" y="98"/>
                      <a:pt x="365" y="97"/>
                    </a:cubicBezTo>
                    <a:cubicBezTo>
                      <a:pt x="365" y="97"/>
                      <a:pt x="365" y="97"/>
                      <a:pt x="365" y="97"/>
                    </a:cubicBezTo>
                    <a:cubicBezTo>
                      <a:pt x="364" y="97"/>
                      <a:pt x="364" y="97"/>
                      <a:pt x="364" y="97"/>
                    </a:cubicBezTo>
                    <a:cubicBezTo>
                      <a:pt x="363" y="97"/>
                      <a:pt x="362" y="97"/>
                      <a:pt x="361" y="96"/>
                    </a:cubicBezTo>
                    <a:cubicBezTo>
                      <a:pt x="358" y="96"/>
                      <a:pt x="358" y="96"/>
                      <a:pt x="358" y="96"/>
                    </a:cubicBezTo>
                    <a:cubicBezTo>
                      <a:pt x="359" y="92"/>
                      <a:pt x="359" y="92"/>
                      <a:pt x="359" y="92"/>
                    </a:cubicBezTo>
                    <a:cubicBezTo>
                      <a:pt x="359" y="92"/>
                      <a:pt x="359" y="91"/>
                      <a:pt x="359" y="91"/>
                    </a:cubicBezTo>
                    <a:cubicBezTo>
                      <a:pt x="359" y="90"/>
                      <a:pt x="359" y="90"/>
                      <a:pt x="359" y="90"/>
                    </a:cubicBezTo>
                    <a:cubicBezTo>
                      <a:pt x="360" y="89"/>
                      <a:pt x="360" y="89"/>
                      <a:pt x="360" y="88"/>
                    </a:cubicBezTo>
                    <a:cubicBezTo>
                      <a:pt x="359" y="88"/>
                      <a:pt x="359" y="88"/>
                      <a:pt x="358" y="88"/>
                    </a:cubicBezTo>
                    <a:cubicBezTo>
                      <a:pt x="358" y="87"/>
                      <a:pt x="358" y="87"/>
                      <a:pt x="358" y="87"/>
                    </a:cubicBezTo>
                    <a:cubicBezTo>
                      <a:pt x="356" y="86"/>
                      <a:pt x="355" y="85"/>
                      <a:pt x="355" y="83"/>
                    </a:cubicBezTo>
                    <a:cubicBezTo>
                      <a:pt x="355" y="82"/>
                      <a:pt x="356" y="80"/>
                      <a:pt x="356" y="79"/>
                    </a:cubicBezTo>
                    <a:cubicBezTo>
                      <a:pt x="357" y="77"/>
                      <a:pt x="358" y="75"/>
                      <a:pt x="359" y="74"/>
                    </a:cubicBezTo>
                    <a:cubicBezTo>
                      <a:pt x="359" y="73"/>
                      <a:pt x="359" y="73"/>
                      <a:pt x="360" y="72"/>
                    </a:cubicBezTo>
                    <a:cubicBezTo>
                      <a:pt x="362" y="71"/>
                      <a:pt x="363" y="70"/>
                      <a:pt x="365" y="70"/>
                    </a:cubicBezTo>
                    <a:cubicBezTo>
                      <a:pt x="368" y="69"/>
                      <a:pt x="372" y="69"/>
                      <a:pt x="376" y="69"/>
                    </a:cubicBezTo>
                    <a:cubicBezTo>
                      <a:pt x="377" y="69"/>
                      <a:pt x="377" y="69"/>
                      <a:pt x="377" y="69"/>
                    </a:cubicBezTo>
                    <a:cubicBezTo>
                      <a:pt x="378" y="69"/>
                      <a:pt x="380" y="69"/>
                      <a:pt x="381" y="68"/>
                    </a:cubicBezTo>
                    <a:cubicBezTo>
                      <a:pt x="381" y="68"/>
                      <a:pt x="382" y="68"/>
                      <a:pt x="383" y="68"/>
                    </a:cubicBezTo>
                    <a:cubicBezTo>
                      <a:pt x="386" y="68"/>
                      <a:pt x="388" y="69"/>
                      <a:pt x="391" y="69"/>
                    </a:cubicBezTo>
                    <a:cubicBezTo>
                      <a:pt x="392" y="70"/>
                      <a:pt x="392" y="70"/>
                      <a:pt x="392" y="70"/>
                    </a:cubicBezTo>
                    <a:cubicBezTo>
                      <a:pt x="393" y="70"/>
                      <a:pt x="394" y="70"/>
                      <a:pt x="395" y="70"/>
                    </a:cubicBezTo>
                    <a:cubicBezTo>
                      <a:pt x="399" y="71"/>
                      <a:pt x="399" y="71"/>
                      <a:pt x="399" y="71"/>
                    </a:cubicBezTo>
                    <a:cubicBezTo>
                      <a:pt x="401" y="71"/>
                      <a:pt x="403" y="72"/>
                      <a:pt x="405" y="73"/>
                    </a:cubicBezTo>
                    <a:cubicBezTo>
                      <a:pt x="405" y="73"/>
                      <a:pt x="406" y="73"/>
                      <a:pt x="406" y="73"/>
                    </a:cubicBezTo>
                    <a:cubicBezTo>
                      <a:pt x="407" y="74"/>
                      <a:pt x="407" y="74"/>
                      <a:pt x="408" y="74"/>
                    </a:cubicBezTo>
                    <a:cubicBezTo>
                      <a:pt x="410" y="74"/>
                      <a:pt x="410" y="74"/>
                      <a:pt x="410" y="74"/>
                    </a:cubicBezTo>
                    <a:cubicBezTo>
                      <a:pt x="411" y="75"/>
                      <a:pt x="412" y="75"/>
                      <a:pt x="413" y="75"/>
                    </a:cubicBezTo>
                    <a:cubicBezTo>
                      <a:pt x="415" y="75"/>
                      <a:pt x="418" y="74"/>
                      <a:pt x="422" y="72"/>
                    </a:cubicBezTo>
                    <a:cubicBezTo>
                      <a:pt x="423" y="71"/>
                      <a:pt x="424" y="71"/>
                      <a:pt x="425" y="71"/>
                    </a:cubicBezTo>
                    <a:cubicBezTo>
                      <a:pt x="425" y="70"/>
                      <a:pt x="426" y="70"/>
                      <a:pt x="427" y="70"/>
                    </a:cubicBezTo>
                    <a:cubicBezTo>
                      <a:pt x="428" y="69"/>
                      <a:pt x="429" y="69"/>
                      <a:pt x="431" y="69"/>
                    </a:cubicBezTo>
                    <a:cubicBezTo>
                      <a:pt x="432" y="69"/>
                      <a:pt x="433" y="68"/>
                      <a:pt x="434" y="68"/>
                    </a:cubicBezTo>
                    <a:cubicBezTo>
                      <a:pt x="434" y="68"/>
                      <a:pt x="434" y="68"/>
                      <a:pt x="434" y="68"/>
                    </a:cubicBezTo>
                    <a:cubicBezTo>
                      <a:pt x="435" y="68"/>
                      <a:pt x="435" y="68"/>
                      <a:pt x="436" y="68"/>
                    </a:cubicBezTo>
                    <a:cubicBezTo>
                      <a:pt x="437" y="68"/>
                      <a:pt x="437" y="68"/>
                      <a:pt x="437" y="68"/>
                    </a:cubicBezTo>
                    <a:cubicBezTo>
                      <a:pt x="439" y="67"/>
                      <a:pt x="440" y="66"/>
                      <a:pt x="442" y="64"/>
                    </a:cubicBezTo>
                    <a:cubicBezTo>
                      <a:pt x="443" y="63"/>
                      <a:pt x="443" y="63"/>
                      <a:pt x="443" y="63"/>
                    </a:cubicBezTo>
                    <a:cubicBezTo>
                      <a:pt x="445" y="61"/>
                      <a:pt x="446" y="58"/>
                      <a:pt x="449" y="57"/>
                    </a:cubicBezTo>
                    <a:cubicBezTo>
                      <a:pt x="455" y="53"/>
                      <a:pt x="455" y="53"/>
                      <a:pt x="455" y="53"/>
                    </a:cubicBezTo>
                    <a:cubicBezTo>
                      <a:pt x="456" y="52"/>
                      <a:pt x="457" y="52"/>
                      <a:pt x="458" y="51"/>
                    </a:cubicBezTo>
                    <a:cubicBezTo>
                      <a:pt x="449" y="52"/>
                      <a:pt x="449" y="52"/>
                      <a:pt x="449" y="52"/>
                    </a:cubicBezTo>
                    <a:cubicBezTo>
                      <a:pt x="457" y="49"/>
                      <a:pt x="457" y="49"/>
                      <a:pt x="457" y="49"/>
                    </a:cubicBezTo>
                    <a:cubicBezTo>
                      <a:pt x="452" y="48"/>
                      <a:pt x="446" y="47"/>
                      <a:pt x="442" y="45"/>
                    </a:cubicBezTo>
                    <a:cubicBezTo>
                      <a:pt x="440" y="43"/>
                      <a:pt x="438" y="42"/>
                      <a:pt x="436" y="41"/>
                    </a:cubicBezTo>
                    <a:cubicBezTo>
                      <a:pt x="436" y="40"/>
                      <a:pt x="435" y="40"/>
                      <a:pt x="435" y="39"/>
                    </a:cubicBezTo>
                    <a:cubicBezTo>
                      <a:pt x="433" y="39"/>
                      <a:pt x="431" y="39"/>
                      <a:pt x="429" y="39"/>
                    </a:cubicBezTo>
                    <a:cubicBezTo>
                      <a:pt x="429" y="39"/>
                      <a:pt x="429" y="39"/>
                      <a:pt x="429" y="39"/>
                    </a:cubicBezTo>
                    <a:cubicBezTo>
                      <a:pt x="428" y="39"/>
                      <a:pt x="428" y="39"/>
                      <a:pt x="428" y="39"/>
                    </a:cubicBezTo>
                    <a:cubicBezTo>
                      <a:pt x="426" y="39"/>
                      <a:pt x="425" y="39"/>
                      <a:pt x="424" y="38"/>
                    </a:cubicBezTo>
                    <a:cubicBezTo>
                      <a:pt x="423" y="38"/>
                      <a:pt x="422" y="37"/>
                      <a:pt x="422" y="36"/>
                    </a:cubicBezTo>
                    <a:cubicBezTo>
                      <a:pt x="422" y="36"/>
                      <a:pt x="422" y="36"/>
                      <a:pt x="422" y="36"/>
                    </a:cubicBezTo>
                    <a:cubicBezTo>
                      <a:pt x="422" y="35"/>
                      <a:pt x="422" y="35"/>
                      <a:pt x="422" y="35"/>
                    </a:cubicBezTo>
                    <a:cubicBezTo>
                      <a:pt x="421" y="34"/>
                      <a:pt x="420" y="34"/>
                      <a:pt x="419" y="33"/>
                    </a:cubicBezTo>
                    <a:cubicBezTo>
                      <a:pt x="417" y="31"/>
                      <a:pt x="417" y="31"/>
                      <a:pt x="417" y="31"/>
                    </a:cubicBezTo>
                    <a:cubicBezTo>
                      <a:pt x="414" y="28"/>
                      <a:pt x="417" y="25"/>
                      <a:pt x="418" y="23"/>
                    </a:cubicBezTo>
                    <a:cubicBezTo>
                      <a:pt x="418" y="22"/>
                      <a:pt x="418" y="22"/>
                      <a:pt x="418" y="21"/>
                    </a:cubicBezTo>
                    <a:cubicBezTo>
                      <a:pt x="419" y="21"/>
                      <a:pt x="418" y="20"/>
                      <a:pt x="418" y="18"/>
                    </a:cubicBezTo>
                    <a:cubicBezTo>
                      <a:pt x="418" y="18"/>
                      <a:pt x="418" y="16"/>
                      <a:pt x="417" y="15"/>
                    </a:cubicBezTo>
                    <a:cubicBezTo>
                      <a:pt x="415" y="12"/>
                      <a:pt x="413" y="11"/>
                      <a:pt x="412" y="10"/>
                    </a:cubicBezTo>
                    <a:cubicBezTo>
                      <a:pt x="411" y="9"/>
                      <a:pt x="410" y="9"/>
                      <a:pt x="409" y="9"/>
                    </a:cubicBezTo>
                    <a:cubicBezTo>
                      <a:pt x="407" y="8"/>
                      <a:pt x="406" y="7"/>
                      <a:pt x="405" y="6"/>
                    </a:cubicBezTo>
                    <a:cubicBezTo>
                      <a:pt x="403" y="5"/>
                      <a:pt x="402" y="4"/>
                      <a:pt x="400" y="3"/>
                    </a:cubicBezTo>
                    <a:cubicBezTo>
                      <a:pt x="398" y="2"/>
                      <a:pt x="396" y="2"/>
                      <a:pt x="394" y="2"/>
                    </a:cubicBezTo>
                    <a:cubicBezTo>
                      <a:pt x="393" y="2"/>
                      <a:pt x="393" y="2"/>
                      <a:pt x="393" y="2"/>
                    </a:cubicBezTo>
                    <a:cubicBezTo>
                      <a:pt x="392" y="2"/>
                      <a:pt x="391" y="2"/>
                      <a:pt x="390" y="2"/>
                    </a:cubicBezTo>
                    <a:cubicBezTo>
                      <a:pt x="390" y="2"/>
                      <a:pt x="390" y="2"/>
                      <a:pt x="389" y="2"/>
                    </a:cubicBezTo>
                    <a:cubicBezTo>
                      <a:pt x="387" y="2"/>
                      <a:pt x="386" y="1"/>
                      <a:pt x="385" y="0"/>
                    </a:cubicBezTo>
                    <a:cubicBezTo>
                      <a:pt x="384" y="0"/>
                      <a:pt x="384" y="0"/>
                      <a:pt x="384" y="0"/>
                    </a:cubicBezTo>
                    <a:cubicBezTo>
                      <a:pt x="384" y="0"/>
                      <a:pt x="384" y="0"/>
                      <a:pt x="384" y="0"/>
                    </a:cubicBezTo>
                    <a:cubicBezTo>
                      <a:pt x="384" y="0"/>
                      <a:pt x="383" y="0"/>
                      <a:pt x="38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12" name="Freeform 340">
                <a:extLst>
                  <a:ext uri="{FF2B5EF4-FFF2-40B4-BE49-F238E27FC236}">
                    <a16:creationId xmlns:a16="http://schemas.microsoft.com/office/drawing/2014/main" id="{DF25D8EE-61B2-43A8-8E15-24BB376B1225}"/>
                  </a:ext>
                </a:extLst>
              </p:cNvPr>
              <p:cNvSpPr>
                <a:spLocks/>
              </p:cNvSpPr>
              <p:nvPr/>
            </p:nvSpPr>
            <p:spPr bwMode="auto">
              <a:xfrm>
                <a:off x="10918998" y="5387640"/>
                <a:ext cx="154775" cy="44221"/>
              </a:xfrm>
              <a:custGeom>
                <a:avLst/>
                <a:gdLst>
                  <a:gd name="T0" fmla="*/ 19 w 49"/>
                  <a:gd name="T1" fmla="*/ 0 h 14"/>
                  <a:gd name="T2" fmla="*/ 16 w 49"/>
                  <a:gd name="T3" fmla="*/ 1 h 14"/>
                  <a:gd name="T4" fmla="*/ 14 w 49"/>
                  <a:gd name="T5" fmla="*/ 2 h 14"/>
                  <a:gd name="T6" fmla="*/ 2 w 49"/>
                  <a:gd name="T7" fmla="*/ 12 h 14"/>
                  <a:gd name="T8" fmla="*/ 0 w 49"/>
                  <a:gd name="T9" fmla="*/ 14 h 14"/>
                  <a:gd name="T10" fmla="*/ 1 w 49"/>
                  <a:gd name="T11" fmla="*/ 14 h 14"/>
                  <a:gd name="T12" fmla="*/ 7 w 49"/>
                  <a:gd name="T13" fmla="*/ 13 h 14"/>
                  <a:gd name="T14" fmla="*/ 19 w 49"/>
                  <a:gd name="T15" fmla="*/ 12 h 14"/>
                  <a:gd name="T16" fmla="*/ 21 w 49"/>
                  <a:gd name="T17" fmla="*/ 12 h 14"/>
                  <a:gd name="T18" fmla="*/ 26 w 49"/>
                  <a:gd name="T19" fmla="*/ 12 h 14"/>
                  <a:gd name="T20" fmla="*/ 27 w 49"/>
                  <a:gd name="T21" fmla="*/ 12 h 14"/>
                  <a:gd name="T22" fmla="*/ 29 w 49"/>
                  <a:gd name="T23" fmla="*/ 12 h 14"/>
                  <a:gd name="T24" fmla="*/ 31 w 49"/>
                  <a:gd name="T25" fmla="*/ 13 h 14"/>
                  <a:gd name="T26" fmla="*/ 32 w 49"/>
                  <a:gd name="T27" fmla="*/ 13 h 14"/>
                  <a:gd name="T28" fmla="*/ 34 w 49"/>
                  <a:gd name="T29" fmla="*/ 13 h 14"/>
                  <a:gd name="T30" fmla="*/ 38 w 49"/>
                  <a:gd name="T31" fmla="*/ 14 h 14"/>
                  <a:gd name="T32" fmla="*/ 38 w 49"/>
                  <a:gd name="T33" fmla="*/ 14 h 14"/>
                  <a:gd name="T34" fmla="*/ 39 w 49"/>
                  <a:gd name="T35" fmla="*/ 14 h 14"/>
                  <a:gd name="T36" fmla="*/ 46 w 49"/>
                  <a:gd name="T37" fmla="*/ 10 h 14"/>
                  <a:gd name="T38" fmla="*/ 44 w 49"/>
                  <a:gd name="T39" fmla="*/ 7 h 14"/>
                  <a:gd name="T40" fmla="*/ 46 w 49"/>
                  <a:gd name="T41" fmla="*/ 3 h 14"/>
                  <a:gd name="T42" fmla="*/ 49 w 49"/>
                  <a:gd name="T43" fmla="*/ 2 h 14"/>
                  <a:gd name="T44" fmla="*/ 49 w 49"/>
                  <a:gd name="T45" fmla="*/ 2 h 14"/>
                  <a:gd name="T46" fmla="*/ 47 w 49"/>
                  <a:gd name="T47" fmla="*/ 2 h 14"/>
                  <a:gd name="T48" fmla="*/ 46 w 49"/>
                  <a:gd name="T49" fmla="*/ 2 h 14"/>
                  <a:gd name="T50" fmla="*/ 45 w 49"/>
                  <a:gd name="T51" fmla="*/ 2 h 14"/>
                  <a:gd name="T52" fmla="*/ 44 w 49"/>
                  <a:gd name="T53" fmla="*/ 4 h 14"/>
                  <a:gd name="T54" fmla="*/ 43 w 49"/>
                  <a:gd name="T55" fmla="*/ 4 h 14"/>
                  <a:gd name="T56" fmla="*/ 42 w 49"/>
                  <a:gd name="T57" fmla="*/ 4 h 14"/>
                  <a:gd name="T58" fmla="*/ 41 w 49"/>
                  <a:gd name="T59" fmla="*/ 4 h 14"/>
                  <a:gd name="T60" fmla="*/ 35 w 49"/>
                  <a:gd name="T61" fmla="*/ 6 h 14"/>
                  <a:gd name="T62" fmla="*/ 32 w 49"/>
                  <a:gd name="T63" fmla="*/ 7 h 14"/>
                  <a:gd name="T64" fmla="*/ 28 w 49"/>
                  <a:gd name="T65" fmla="*/ 8 h 14"/>
                  <a:gd name="T66" fmla="*/ 26 w 49"/>
                  <a:gd name="T67" fmla="*/ 8 h 14"/>
                  <a:gd name="T68" fmla="*/ 25 w 49"/>
                  <a:gd name="T69" fmla="*/ 7 h 14"/>
                  <a:gd name="T70" fmla="*/ 24 w 49"/>
                  <a:gd name="T71" fmla="*/ 7 h 14"/>
                  <a:gd name="T72" fmla="*/ 22 w 49"/>
                  <a:gd name="T73" fmla="*/ 3 h 14"/>
                  <a:gd name="T74" fmla="*/ 23 w 49"/>
                  <a:gd name="T75" fmla="*/ 1 h 14"/>
                  <a:gd name="T76" fmla="*/ 19 w 49"/>
                  <a:gd name="T7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 h="14">
                    <a:moveTo>
                      <a:pt x="19" y="0"/>
                    </a:moveTo>
                    <a:cubicBezTo>
                      <a:pt x="18" y="0"/>
                      <a:pt x="17" y="1"/>
                      <a:pt x="16" y="1"/>
                    </a:cubicBezTo>
                    <a:cubicBezTo>
                      <a:pt x="16" y="1"/>
                      <a:pt x="15" y="1"/>
                      <a:pt x="14" y="2"/>
                    </a:cubicBezTo>
                    <a:cubicBezTo>
                      <a:pt x="10" y="4"/>
                      <a:pt x="6" y="8"/>
                      <a:pt x="2" y="12"/>
                    </a:cubicBezTo>
                    <a:cubicBezTo>
                      <a:pt x="2" y="13"/>
                      <a:pt x="1" y="13"/>
                      <a:pt x="0" y="14"/>
                    </a:cubicBezTo>
                    <a:cubicBezTo>
                      <a:pt x="0" y="14"/>
                      <a:pt x="1" y="14"/>
                      <a:pt x="1" y="14"/>
                    </a:cubicBezTo>
                    <a:cubicBezTo>
                      <a:pt x="7" y="13"/>
                      <a:pt x="7" y="13"/>
                      <a:pt x="7" y="13"/>
                    </a:cubicBezTo>
                    <a:cubicBezTo>
                      <a:pt x="11" y="13"/>
                      <a:pt x="15" y="13"/>
                      <a:pt x="19" y="12"/>
                    </a:cubicBezTo>
                    <a:cubicBezTo>
                      <a:pt x="21" y="12"/>
                      <a:pt x="21" y="12"/>
                      <a:pt x="21" y="12"/>
                    </a:cubicBezTo>
                    <a:cubicBezTo>
                      <a:pt x="23" y="12"/>
                      <a:pt x="25" y="12"/>
                      <a:pt x="26" y="12"/>
                    </a:cubicBezTo>
                    <a:cubicBezTo>
                      <a:pt x="27" y="12"/>
                      <a:pt x="27" y="12"/>
                      <a:pt x="27" y="12"/>
                    </a:cubicBezTo>
                    <a:cubicBezTo>
                      <a:pt x="28" y="12"/>
                      <a:pt x="28" y="12"/>
                      <a:pt x="29" y="12"/>
                    </a:cubicBezTo>
                    <a:cubicBezTo>
                      <a:pt x="30" y="12"/>
                      <a:pt x="31" y="12"/>
                      <a:pt x="31" y="13"/>
                    </a:cubicBezTo>
                    <a:cubicBezTo>
                      <a:pt x="32" y="13"/>
                      <a:pt x="32" y="13"/>
                      <a:pt x="32" y="13"/>
                    </a:cubicBezTo>
                    <a:cubicBezTo>
                      <a:pt x="34" y="13"/>
                      <a:pt x="34" y="13"/>
                      <a:pt x="34" y="13"/>
                    </a:cubicBezTo>
                    <a:cubicBezTo>
                      <a:pt x="35" y="14"/>
                      <a:pt x="36" y="14"/>
                      <a:pt x="38" y="14"/>
                    </a:cubicBezTo>
                    <a:cubicBezTo>
                      <a:pt x="38" y="14"/>
                      <a:pt x="38" y="14"/>
                      <a:pt x="38" y="14"/>
                    </a:cubicBezTo>
                    <a:cubicBezTo>
                      <a:pt x="39" y="14"/>
                      <a:pt x="39" y="14"/>
                      <a:pt x="39" y="14"/>
                    </a:cubicBezTo>
                    <a:cubicBezTo>
                      <a:pt x="41" y="13"/>
                      <a:pt x="44" y="12"/>
                      <a:pt x="46" y="10"/>
                    </a:cubicBezTo>
                    <a:cubicBezTo>
                      <a:pt x="45" y="10"/>
                      <a:pt x="44" y="9"/>
                      <a:pt x="44" y="7"/>
                    </a:cubicBezTo>
                    <a:cubicBezTo>
                      <a:pt x="44" y="6"/>
                      <a:pt x="45" y="4"/>
                      <a:pt x="46" y="3"/>
                    </a:cubicBezTo>
                    <a:cubicBezTo>
                      <a:pt x="47" y="3"/>
                      <a:pt x="48" y="3"/>
                      <a:pt x="49" y="2"/>
                    </a:cubicBezTo>
                    <a:cubicBezTo>
                      <a:pt x="49" y="2"/>
                      <a:pt x="49" y="2"/>
                      <a:pt x="49" y="2"/>
                    </a:cubicBezTo>
                    <a:cubicBezTo>
                      <a:pt x="48" y="2"/>
                      <a:pt x="48" y="2"/>
                      <a:pt x="47" y="2"/>
                    </a:cubicBezTo>
                    <a:cubicBezTo>
                      <a:pt x="47" y="2"/>
                      <a:pt x="46" y="2"/>
                      <a:pt x="46" y="2"/>
                    </a:cubicBezTo>
                    <a:cubicBezTo>
                      <a:pt x="45" y="2"/>
                      <a:pt x="45" y="2"/>
                      <a:pt x="45" y="2"/>
                    </a:cubicBezTo>
                    <a:cubicBezTo>
                      <a:pt x="45" y="3"/>
                      <a:pt x="44" y="3"/>
                      <a:pt x="44" y="4"/>
                    </a:cubicBezTo>
                    <a:cubicBezTo>
                      <a:pt x="43" y="4"/>
                      <a:pt x="43" y="4"/>
                      <a:pt x="43" y="4"/>
                    </a:cubicBezTo>
                    <a:cubicBezTo>
                      <a:pt x="42" y="4"/>
                      <a:pt x="42" y="4"/>
                      <a:pt x="42" y="4"/>
                    </a:cubicBezTo>
                    <a:cubicBezTo>
                      <a:pt x="41" y="4"/>
                      <a:pt x="41" y="4"/>
                      <a:pt x="41" y="4"/>
                    </a:cubicBezTo>
                    <a:cubicBezTo>
                      <a:pt x="40" y="5"/>
                      <a:pt x="38" y="6"/>
                      <a:pt x="35" y="6"/>
                    </a:cubicBezTo>
                    <a:cubicBezTo>
                      <a:pt x="34" y="7"/>
                      <a:pt x="33" y="7"/>
                      <a:pt x="32" y="7"/>
                    </a:cubicBezTo>
                    <a:cubicBezTo>
                      <a:pt x="30" y="8"/>
                      <a:pt x="29" y="8"/>
                      <a:pt x="28" y="8"/>
                    </a:cubicBezTo>
                    <a:cubicBezTo>
                      <a:pt x="27" y="8"/>
                      <a:pt x="26" y="8"/>
                      <a:pt x="26" y="8"/>
                    </a:cubicBezTo>
                    <a:cubicBezTo>
                      <a:pt x="25" y="7"/>
                      <a:pt x="25" y="7"/>
                      <a:pt x="25" y="7"/>
                    </a:cubicBezTo>
                    <a:cubicBezTo>
                      <a:pt x="24" y="7"/>
                      <a:pt x="24" y="7"/>
                      <a:pt x="24" y="7"/>
                    </a:cubicBezTo>
                    <a:cubicBezTo>
                      <a:pt x="22" y="5"/>
                      <a:pt x="22" y="4"/>
                      <a:pt x="22" y="3"/>
                    </a:cubicBezTo>
                    <a:cubicBezTo>
                      <a:pt x="22" y="2"/>
                      <a:pt x="22" y="2"/>
                      <a:pt x="23" y="1"/>
                    </a:cubicBezTo>
                    <a:cubicBezTo>
                      <a:pt x="21" y="1"/>
                      <a:pt x="20"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13" name="Freeform 341">
                <a:extLst>
                  <a:ext uri="{FF2B5EF4-FFF2-40B4-BE49-F238E27FC236}">
                    <a16:creationId xmlns:a16="http://schemas.microsoft.com/office/drawing/2014/main" id="{9DACF0E1-00B6-4C03-896F-EC21E20BD73A}"/>
                  </a:ext>
                </a:extLst>
              </p:cNvPr>
              <p:cNvSpPr>
                <a:spLocks/>
              </p:cNvSpPr>
              <p:nvPr/>
            </p:nvSpPr>
            <p:spPr bwMode="auto">
              <a:xfrm>
                <a:off x="9824518" y="5284457"/>
                <a:ext cx="1050258" cy="899168"/>
              </a:xfrm>
              <a:custGeom>
                <a:avLst/>
                <a:gdLst>
                  <a:gd name="T0" fmla="*/ 279 w 331"/>
                  <a:gd name="T1" fmla="*/ 14 h 283"/>
                  <a:gd name="T2" fmla="*/ 276 w 331"/>
                  <a:gd name="T3" fmla="*/ 27 h 283"/>
                  <a:gd name="T4" fmla="*/ 269 w 331"/>
                  <a:gd name="T5" fmla="*/ 31 h 283"/>
                  <a:gd name="T6" fmla="*/ 255 w 331"/>
                  <a:gd name="T7" fmla="*/ 33 h 283"/>
                  <a:gd name="T8" fmla="*/ 251 w 331"/>
                  <a:gd name="T9" fmla="*/ 43 h 283"/>
                  <a:gd name="T10" fmla="*/ 236 w 331"/>
                  <a:gd name="T11" fmla="*/ 38 h 283"/>
                  <a:gd name="T12" fmla="*/ 223 w 331"/>
                  <a:gd name="T13" fmla="*/ 44 h 283"/>
                  <a:gd name="T14" fmla="*/ 211 w 331"/>
                  <a:gd name="T15" fmla="*/ 50 h 283"/>
                  <a:gd name="T16" fmla="*/ 200 w 331"/>
                  <a:gd name="T17" fmla="*/ 42 h 283"/>
                  <a:gd name="T18" fmla="*/ 190 w 331"/>
                  <a:gd name="T19" fmla="*/ 42 h 283"/>
                  <a:gd name="T20" fmla="*/ 172 w 331"/>
                  <a:gd name="T21" fmla="*/ 37 h 283"/>
                  <a:gd name="T22" fmla="*/ 166 w 331"/>
                  <a:gd name="T23" fmla="*/ 37 h 283"/>
                  <a:gd name="T24" fmla="*/ 152 w 331"/>
                  <a:gd name="T25" fmla="*/ 34 h 283"/>
                  <a:gd name="T26" fmla="*/ 134 w 331"/>
                  <a:gd name="T27" fmla="*/ 41 h 283"/>
                  <a:gd name="T28" fmla="*/ 112 w 331"/>
                  <a:gd name="T29" fmla="*/ 70 h 283"/>
                  <a:gd name="T30" fmla="*/ 77 w 331"/>
                  <a:gd name="T31" fmla="*/ 86 h 283"/>
                  <a:gd name="T32" fmla="*/ 66 w 331"/>
                  <a:gd name="T33" fmla="*/ 102 h 283"/>
                  <a:gd name="T34" fmla="*/ 49 w 331"/>
                  <a:gd name="T35" fmla="*/ 108 h 283"/>
                  <a:gd name="T36" fmla="*/ 39 w 331"/>
                  <a:gd name="T37" fmla="*/ 101 h 283"/>
                  <a:gd name="T38" fmla="*/ 25 w 331"/>
                  <a:gd name="T39" fmla="*/ 96 h 283"/>
                  <a:gd name="T40" fmla="*/ 16 w 331"/>
                  <a:gd name="T41" fmla="*/ 114 h 283"/>
                  <a:gd name="T42" fmla="*/ 12 w 331"/>
                  <a:gd name="T43" fmla="*/ 130 h 283"/>
                  <a:gd name="T44" fmla="*/ 3 w 331"/>
                  <a:gd name="T45" fmla="*/ 153 h 283"/>
                  <a:gd name="T46" fmla="*/ 12 w 331"/>
                  <a:gd name="T47" fmla="*/ 160 h 283"/>
                  <a:gd name="T48" fmla="*/ 9 w 331"/>
                  <a:gd name="T49" fmla="*/ 193 h 283"/>
                  <a:gd name="T50" fmla="*/ 9 w 331"/>
                  <a:gd name="T51" fmla="*/ 211 h 283"/>
                  <a:gd name="T52" fmla="*/ 11 w 331"/>
                  <a:gd name="T53" fmla="*/ 218 h 283"/>
                  <a:gd name="T54" fmla="*/ 35 w 331"/>
                  <a:gd name="T55" fmla="*/ 244 h 283"/>
                  <a:gd name="T56" fmla="*/ 57 w 331"/>
                  <a:gd name="T57" fmla="*/ 283 h 283"/>
                  <a:gd name="T58" fmla="*/ 71 w 331"/>
                  <a:gd name="T59" fmla="*/ 281 h 283"/>
                  <a:gd name="T60" fmla="*/ 88 w 331"/>
                  <a:gd name="T61" fmla="*/ 281 h 283"/>
                  <a:gd name="T62" fmla="*/ 98 w 331"/>
                  <a:gd name="T63" fmla="*/ 283 h 283"/>
                  <a:gd name="T64" fmla="*/ 136 w 331"/>
                  <a:gd name="T65" fmla="*/ 275 h 283"/>
                  <a:gd name="T66" fmla="*/ 158 w 331"/>
                  <a:gd name="T67" fmla="*/ 269 h 283"/>
                  <a:gd name="T68" fmla="*/ 160 w 331"/>
                  <a:gd name="T69" fmla="*/ 241 h 283"/>
                  <a:gd name="T70" fmla="*/ 173 w 331"/>
                  <a:gd name="T71" fmla="*/ 227 h 283"/>
                  <a:gd name="T72" fmla="*/ 181 w 331"/>
                  <a:gd name="T73" fmla="*/ 224 h 283"/>
                  <a:gd name="T74" fmla="*/ 191 w 331"/>
                  <a:gd name="T75" fmla="*/ 226 h 283"/>
                  <a:gd name="T76" fmla="*/ 207 w 331"/>
                  <a:gd name="T77" fmla="*/ 213 h 283"/>
                  <a:gd name="T78" fmla="*/ 218 w 331"/>
                  <a:gd name="T79" fmla="*/ 208 h 283"/>
                  <a:gd name="T80" fmla="*/ 229 w 331"/>
                  <a:gd name="T81" fmla="*/ 209 h 283"/>
                  <a:gd name="T82" fmla="*/ 237 w 331"/>
                  <a:gd name="T83" fmla="*/ 211 h 283"/>
                  <a:gd name="T84" fmla="*/ 243 w 331"/>
                  <a:gd name="T85" fmla="*/ 188 h 283"/>
                  <a:gd name="T86" fmla="*/ 248 w 331"/>
                  <a:gd name="T87" fmla="*/ 179 h 283"/>
                  <a:gd name="T88" fmla="*/ 259 w 331"/>
                  <a:gd name="T89" fmla="*/ 168 h 283"/>
                  <a:gd name="T90" fmla="*/ 265 w 331"/>
                  <a:gd name="T91" fmla="*/ 153 h 283"/>
                  <a:gd name="T92" fmla="*/ 262 w 331"/>
                  <a:gd name="T93" fmla="*/ 138 h 283"/>
                  <a:gd name="T94" fmla="*/ 283 w 331"/>
                  <a:gd name="T95" fmla="*/ 140 h 283"/>
                  <a:gd name="T96" fmla="*/ 295 w 331"/>
                  <a:gd name="T97" fmla="*/ 133 h 283"/>
                  <a:gd name="T98" fmla="*/ 302 w 331"/>
                  <a:gd name="T99" fmla="*/ 111 h 283"/>
                  <a:gd name="T100" fmla="*/ 308 w 331"/>
                  <a:gd name="T101" fmla="*/ 101 h 283"/>
                  <a:gd name="T102" fmla="*/ 306 w 331"/>
                  <a:gd name="T103" fmla="*/ 89 h 283"/>
                  <a:gd name="T104" fmla="*/ 299 w 331"/>
                  <a:gd name="T105" fmla="*/ 79 h 283"/>
                  <a:gd name="T106" fmla="*/ 314 w 331"/>
                  <a:gd name="T107" fmla="*/ 59 h 283"/>
                  <a:gd name="T108" fmla="*/ 331 w 331"/>
                  <a:gd name="T109" fmla="*/ 52 h 283"/>
                  <a:gd name="T110" fmla="*/ 312 w 331"/>
                  <a:gd name="T111" fmla="*/ 58 h 283"/>
                  <a:gd name="T112" fmla="*/ 305 w 331"/>
                  <a:gd name="T113" fmla="*/ 37 h 283"/>
                  <a:gd name="T114" fmla="*/ 302 w 331"/>
                  <a:gd name="T115" fmla="*/ 16 h 283"/>
                  <a:gd name="T116" fmla="*/ 299 w 331"/>
                  <a:gd name="T117" fmla="*/ 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1" h="283">
                    <a:moveTo>
                      <a:pt x="294" y="0"/>
                    </a:moveTo>
                    <a:cubicBezTo>
                      <a:pt x="294" y="0"/>
                      <a:pt x="294" y="0"/>
                      <a:pt x="294" y="0"/>
                    </a:cubicBezTo>
                    <a:cubicBezTo>
                      <a:pt x="292" y="1"/>
                      <a:pt x="291" y="1"/>
                      <a:pt x="290" y="1"/>
                    </a:cubicBezTo>
                    <a:cubicBezTo>
                      <a:pt x="288" y="3"/>
                      <a:pt x="286" y="6"/>
                      <a:pt x="284" y="8"/>
                    </a:cubicBezTo>
                    <a:cubicBezTo>
                      <a:pt x="283" y="9"/>
                      <a:pt x="281" y="11"/>
                      <a:pt x="280" y="13"/>
                    </a:cubicBezTo>
                    <a:cubicBezTo>
                      <a:pt x="279" y="14"/>
                      <a:pt x="279" y="14"/>
                      <a:pt x="279" y="14"/>
                    </a:cubicBezTo>
                    <a:cubicBezTo>
                      <a:pt x="277" y="14"/>
                      <a:pt x="276" y="15"/>
                      <a:pt x="275" y="16"/>
                    </a:cubicBezTo>
                    <a:cubicBezTo>
                      <a:pt x="275" y="16"/>
                      <a:pt x="275" y="16"/>
                      <a:pt x="275" y="16"/>
                    </a:cubicBezTo>
                    <a:cubicBezTo>
                      <a:pt x="275" y="17"/>
                      <a:pt x="275" y="17"/>
                      <a:pt x="275" y="17"/>
                    </a:cubicBezTo>
                    <a:cubicBezTo>
                      <a:pt x="276" y="18"/>
                      <a:pt x="277" y="19"/>
                      <a:pt x="278" y="20"/>
                    </a:cubicBezTo>
                    <a:cubicBezTo>
                      <a:pt x="278" y="21"/>
                      <a:pt x="278" y="22"/>
                      <a:pt x="278" y="23"/>
                    </a:cubicBezTo>
                    <a:cubicBezTo>
                      <a:pt x="278" y="24"/>
                      <a:pt x="277" y="25"/>
                      <a:pt x="276" y="27"/>
                    </a:cubicBezTo>
                    <a:cubicBezTo>
                      <a:pt x="276" y="28"/>
                      <a:pt x="275" y="29"/>
                      <a:pt x="273" y="30"/>
                    </a:cubicBezTo>
                    <a:cubicBezTo>
                      <a:pt x="273" y="30"/>
                      <a:pt x="273" y="30"/>
                      <a:pt x="273" y="30"/>
                    </a:cubicBezTo>
                    <a:cubicBezTo>
                      <a:pt x="274" y="36"/>
                      <a:pt x="274" y="36"/>
                      <a:pt x="274" y="36"/>
                    </a:cubicBezTo>
                    <a:cubicBezTo>
                      <a:pt x="271" y="30"/>
                      <a:pt x="271" y="30"/>
                      <a:pt x="271" y="30"/>
                    </a:cubicBezTo>
                    <a:cubicBezTo>
                      <a:pt x="271" y="30"/>
                      <a:pt x="271" y="30"/>
                      <a:pt x="271" y="30"/>
                    </a:cubicBezTo>
                    <a:cubicBezTo>
                      <a:pt x="271" y="31"/>
                      <a:pt x="270" y="31"/>
                      <a:pt x="269" y="31"/>
                    </a:cubicBezTo>
                    <a:cubicBezTo>
                      <a:pt x="269" y="31"/>
                      <a:pt x="269" y="31"/>
                      <a:pt x="269" y="31"/>
                    </a:cubicBezTo>
                    <a:cubicBezTo>
                      <a:pt x="267" y="31"/>
                      <a:pt x="265" y="30"/>
                      <a:pt x="264" y="30"/>
                    </a:cubicBezTo>
                    <a:cubicBezTo>
                      <a:pt x="263" y="30"/>
                      <a:pt x="262" y="30"/>
                      <a:pt x="262" y="30"/>
                    </a:cubicBezTo>
                    <a:cubicBezTo>
                      <a:pt x="261" y="29"/>
                      <a:pt x="257" y="29"/>
                      <a:pt x="256" y="29"/>
                    </a:cubicBezTo>
                    <a:cubicBezTo>
                      <a:pt x="256" y="29"/>
                      <a:pt x="256" y="29"/>
                      <a:pt x="256" y="29"/>
                    </a:cubicBezTo>
                    <a:cubicBezTo>
                      <a:pt x="255" y="30"/>
                      <a:pt x="255" y="31"/>
                      <a:pt x="255" y="33"/>
                    </a:cubicBezTo>
                    <a:cubicBezTo>
                      <a:pt x="254" y="35"/>
                      <a:pt x="254" y="35"/>
                      <a:pt x="254" y="35"/>
                    </a:cubicBezTo>
                    <a:cubicBezTo>
                      <a:pt x="254" y="36"/>
                      <a:pt x="254" y="37"/>
                      <a:pt x="254" y="37"/>
                    </a:cubicBezTo>
                    <a:cubicBezTo>
                      <a:pt x="254" y="38"/>
                      <a:pt x="253" y="38"/>
                      <a:pt x="253" y="39"/>
                    </a:cubicBezTo>
                    <a:cubicBezTo>
                      <a:pt x="253" y="40"/>
                      <a:pt x="252" y="41"/>
                      <a:pt x="252" y="42"/>
                    </a:cubicBezTo>
                    <a:cubicBezTo>
                      <a:pt x="257" y="46"/>
                      <a:pt x="257" y="46"/>
                      <a:pt x="257" y="46"/>
                    </a:cubicBezTo>
                    <a:cubicBezTo>
                      <a:pt x="251" y="43"/>
                      <a:pt x="251" y="43"/>
                      <a:pt x="251" y="43"/>
                    </a:cubicBezTo>
                    <a:cubicBezTo>
                      <a:pt x="250" y="44"/>
                      <a:pt x="249" y="44"/>
                      <a:pt x="248" y="45"/>
                    </a:cubicBezTo>
                    <a:cubicBezTo>
                      <a:pt x="247" y="45"/>
                      <a:pt x="247" y="45"/>
                      <a:pt x="246" y="45"/>
                    </a:cubicBezTo>
                    <a:cubicBezTo>
                      <a:pt x="246" y="45"/>
                      <a:pt x="245" y="45"/>
                      <a:pt x="244" y="45"/>
                    </a:cubicBezTo>
                    <a:cubicBezTo>
                      <a:pt x="242" y="44"/>
                      <a:pt x="241" y="42"/>
                      <a:pt x="240" y="41"/>
                    </a:cubicBezTo>
                    <a:cubicBezTo>
                      <a:pt x="236" y="39"/>
                      <a:pt x="236" y="39"/>
                      <a:pt x="236" y="39"/>
                    </a:cubicBezTo>
                    <a:cubicBezTo>
                      <a:pt x="236" y="38"/>
                      <a:pt x="236" y="38"/>
                      <a:pt x="236" y="38"/>
                    </a:cubicBezTo>
                    <a:cubicBezTo>
                      <a:pt x="236" y="38"/>
                      <a:pt x="236" y="38"/>
                      <a:pt x="235" y="38"/>
                    </a:cubicBezTo>
                    <a:cubicBezTo>
                      <a:pt x="235" y="39"/>
                      <a:pt x="234" y="39"/>
                      <a:pt x="234" y="39"/>
                    </a:cubicBezTo>
                    <a:cubicBezTo>
                      <a:pt x="233" y="39"/>
                      <a:pt x="233" y="39"/>
                      <a:pt x="233" y="39"/>
                    </a:cubicBezTo>
                    <a:cubicBezTo>
                      <a:pt x="233" y="40"/>
                      <a:pt x="232" y="40"/>
                      <a:pt x="231" y="40"/>
                    </a:cubicBezTo>
                    <a:cubicBezTo>
                      <a:pt x="228" y="42"/>
                      <a:pt x="226" y="42"/>
                      <a:pt x="223" y="43"/>
                    </a:cubicBezTo>
                    <a:cubicBezTo>
                      <a:pt x="223" y="44"/>
                      <a:pt x="223" y="44"/>
                      <a:pt x="223" y="44"/>
                    </a:cubicBezTo>
                    <a:cubicBezTo>
                      <a:pt x="222" y="44"/>
                      <a:pt x="221" y="44"/>
                      <a:pt x="221" y="44"/>
                    </a:cubicBezTo>
                    <a:cubicBezTo>
                      <a:pt x="219" y="46"/>
                      <a:pt x="218" y="46"/>
                      <a:pt x="217" y="47"/>
                    </a:cubicBezTo>
                    <a:cubicBezTo>
                      <a:pt x="216" y="48"/>
                      <a:pt x="216" y="48"/>
                      <a:pt x="216" y="48"/>
                    </a:cubicBezTo>
                    <a:cubicBezTo>
                      <a:pt x="217" y="49"/>
                      <a:pt x="217" y="49"/>
                      <a:pt x="217" y="49"/>
                    </a:cubicBezTo>
                    <a:cubicBezTo>
                      <a:pt x="216" y="48"/>
                      <a:pt x="216" y="48"/>
                      <a:pt x="216" y="48"/>
                    </a:cubicBezTo>
                    <a:cubicBezTo>
                      <a:pt x="214" y="49"/>
                      <a:pt x="213" y="50"/>
                      <a:pt x="211" y="50"/>
                    </a:cubicBezTo>
                    <a:cubicBezTo>
                      <a:pt x="210" y="50"/>
                      <a:pt x="210" y="50"/>
                      <a:pt x="210" y="50"/>
                    </a:cubicBezTo>
                    <a:cubicBezTo>
                      <a:pt x="209" y="50"/>
                      <a:pt x="208" y="49"/>
                      <a:pt x="206" y="48"/>
                    </a:cubicBezTo>
                    <a:cubicBezTo>
                      <a:pt x="202" y="45"/>
                      <a:pt x="202" y="45"/>
                      <a:pt x="202" y="45"/>
                    </a:cubicBezTo>
                    <a:cubicBezTo>
                      <a:pt x="201" y="45"/>
                      <a:pt x="201" y="44"/>
                      <a:pt x="201" y="43"/>
                    </a:cubicBezTo>
                    <a:cubicBezTo>
                      <a:pt x="201" y="42"/>
                      <a:pt x="201" y="42"/>
                      <a:pt x="201" y="42"/>
                    </a:cubicBezTo>
                    <a:cubicBezTo>
                      <a:pt x="200" y="42"/>
                      <a:pt x="200" y="42"/>
                      <a:pt x="200" y="42"/>
                    </a:cubicBezTo>
                    <a:cubicBezTo>
                      <a:pt x="200" y="42"/>
                      <a:pt x="200" y="42"/>
                      <a:pt x="200" y="42"/>
                    </a:cubicBezTo>
                    <a:cubicBezTo>
                      <a:pt x="199" y="42"/>
                      <a:pt x="198" y="42"/>
                      <a:pt x="197" y="42"/>
                    </a:cubicBezTo>
                    <a:cubicBezTo>
                      <a:pt x="196" y="42"/>
                      <a:pt x="195" y="43"/>
                      <a:pt x="194" y="43"/>
                    </a:cubicBezTo>
                    <a:cubicBezTo>
                      <a:pt x="194" y="43"/>
                      <a:pt x="194" y="43"/>
                      <a:pt x="194" y="43"/>
                    </a:cubicBezTo>
                    <a:cubicBezTo>
                      <a:pt x="193" y="43"/>
                      <a:pt x="191" y="42"/>
                      <a:pt x="190" y="42"/>
                    </a:cubicBezTo>
                    <a:cubicBezTo>
                      <a:pt x="190" y="42"/>
                      <a:pt x="190" y="42"/>
                      <a:pt x="190" y="42"/>
                    </a:cubicBezTo>
                    <a:cubicBezTo>
                      <a:pt x="187" y="42"/>
                      <a:pt x="186" y="41"/>
                      <a:pt x="185" y="40"/>
                    </a:cubicBezTo>
                    <a:cubicBezTo>
                      <a:pt x="184" y="39"/>
                      <a:pt x="184" y="39"/>
                      <a:pt x="183" y="38"/>
                    </a:cubicBezTo>
                    <a:cubicBezTo>
                      <a:pt x="182" y="37"/>
                      <a:pt x="181" y="37"/>
                      <a:pt x="180" y="37"/>
                    </a:cubicBezTo>
                    <a:cubicBezTo>
                      <a:pt x="179" y="37"/>
                      <a:pt x="178" y="37"/>
                      <a:pt x="177" y="37"/>
                    </a:cubicBezTo>
                    <a:cubicBezTo>
                      <a:pt x="172" y="36"/>
                      <a:pt x="172" y="36"/>
                      <a:pt x="172" y="36"/>
                    </a:cubicBezTo>
                    <a:cubicBezTo>
                      <a:pt x="172" y="37"/>
                      <a:pt x="172" y="37"/>
                      <a:pt x="172" y="37"/>
                    </a:cubicBezTo>
                    <a:cubicBezTo>
                      <a:pt x="169" y="37"/>
                      <a:pt x="169" y="37"/>
                      <a:pt x="169" y="37"/>
                    </a:cubicBezTo>
                    <a:cubicBezTo>
                      <a:pt x="169" y="37"/>
                      <a:pt x="169" y="37"/>
                      <a:pt x="169" y="37"/>
                    </a:cubicBezTo>
                    <a:cubicBezTo>
                      <a:pt x="168" y="37"/>
                      <a:pt x="168" y="37"/>
                      <a:pt x="168" y="37"/>
                    </a:cubicBezTo>
                    <a:cubicBezTo>
                      <a:pt x="167" y="37"/>
                      <a:pt x="167" y="37"/>
                      <a:pt x="167" y="37"/>
                    </a:cubicBezTo>
                    <a:cubicBezTo>
                      <a:pt x="166" y="37"/>
                      <a:pt x="166" y="37"/>
                      <a:pt x="166" y="37"/>
                    </a:cubicBezTo>
                    <a:cubicBezTo>
                      <a:pt x="166" y="37"/>
                      <a:pt x="166" y="37"/>
                      <a:pt x="166" y="37"/>
                    </a:cubicBezTo>
                    <a:cubicBezTo>
                      <a:pt x="164" y="37"/>
                      <a:pt x="163" y="37"/>
                      <a:pt x="162" y="37"/>
                    </a:cubicBezTo>
                    <a:cubicBezTo>
                      <a:pt x="162" y="37"/>
                      <a:pt x="162" y="37"/>
                      <a:pt x="162" y="37"/>
                    </a:cubicBezTo>
                    <a:cubicBezTo>
                      <a:pt x="161" y="37"/>
                      <a:pt x="159" y="37"/>
                      <a:pt x="158" y="36"/>
                    </a:cubicBezTo>
                    <a:cubicBezTo>
                      <a:pt x="157" y="36"/>
                      <a:pt x="157" y="36"/>
                      <a:pt x="157" y="36"/>
                    </a:cubicBezTo>
                    <a:cubicBezTo>
                      <a:pt x="157" y="36"/>
                      <a:pt x="155" y="35"/>
                      <a:pt x="154" y="35"/>
                    </a:cubicBezTo>
                    <a:cubicBezTo>
                      <a:pt x="152" y="34"/>
                      <a:pt x="152" y="34"/>
                      <a:pt x="152" y="34"/>
                    </a:cubicBezTo>
                    <a:cubicBezTo>
                      <a:pt x="151" y="33"/>
                      <a:pt x="150" y="33"/>
                      <a:pt x="150" y="33"/>
                    </a:cubicBezTo>
                    <a:cubicBezTo>
                      <a:pt x="148" y="32"/>
                      <a:pt x="148" y="32"/>
                      <a:pt x="148" y="32"/>
                    </a:cubicBezTo>
                    <a:cubicBezTo>
                      <a:pt x="147" y="32"/>
                      <a:pt x="147" y="32"/>
                      <a:pt x="147" y="32"/>
                    </a:cubicBezTo>
                    <a:cubicBezTo>
                      <a:pt x="145" y="36"/>
                      <a:pt x="143" y="39"/>
                      <a:pt x="140" y="40"/>
                    </a:cubicBezTo>
                    <a:cubicBezTo>
                      <a:pt x="139" y="41"/>
                      <a:pt x="138" y="41"/>
                      <a:pt x="136" y="41"/>
                    </a:cubicBezTo>
                    <a:cubicBezTo>
                      <a:pt x="135" y="41"/>
                      <a:pt x="135" y="41"/>
                      <a:pt x="134" y="41"/>
                    </a:cubicBezTo>
                    <a:cubicBezTo>
                      <a:pt x="134" y="41"/>
                      <a:pt x="133" y="41"/>
                      <a:pt x="133" y="41"/>
                    </a:cubicBezTo>
                    <a:cubicBezTo>
                      <a:pt x="117" y="57"/>
                      <a:pt x="117" y="57"/>
                      <a:pt x="117" y="57"/>
                    </a:cubicBezTo>
                    <a:cubicBezTo>
                      <a:pt x="117" y="57"/>
                      <a:pt x="117" y="57"/>
                      <a:pt x="117" y="57"/>
                    </a:cubicBezTo>
                    <a:cubicBezTo>
                      <a:pt x="117" y="58"/>
                      <a:pt x="117" y="59"/>
                      <a:pt x="117" y="59"/>
                    </a:cubicBezTo>
                    <a:cubicBezTo>
                      <a:pt x="117" y="63"/>
                      <a:pt x="117" y="67"/>
                      <a:pt x="113" y="70"/>
                    </a:cubicBezTo>
                    <a:cubicBezTo>
                      <a:pt x="112" y="70"/>
                      <a:pt x="112" y="70"/>
                      <a:pt x="112" y="70"/>
                    </a:cubicBezTo>
                    <a:cubicBezTo>
                      <a:pt x="109" y="73"/>
                      <a:pt x="107" y="75"/>
                      <a:pt x="102" y="77"/>
                    </a:cubicBezTo>
                    <a:cubicBezTo>
                      <a:pt x="100" y="78"/>
                      <a:pt x="97" y="79"/>
                      <a:pt x="94" y="80"/>
                    </a:cubicBezTo>
                    <a:cubicBezTo>
                      <a:pt x="91" y="81"/>
                      <a:pt x="91" y="81"/>
                      <a:pt x="91" y="81"/>
                    </a:cubicBezTo>
                    <a:cubicBezTo>
                      <a:pt x="88" y="82"/>
                      <a:pt x="86" y="83"/>
                      <a:pt x="84" y="84"/>
                    </a:cubicBezTo>
                    <a:cubicBezTo>
                      <a:pt x="82" y="84"/>
                      <a:pt x="80" y="85"/>
                      <a:pt x="78" y="85"/>
                    </a:cubicBezTo>
                    <a:cubicBezTo>
                      <a:pt x="77" y="86"/>
                      <a:pt x="77" y="86"/>
                      <a:pt x="77" y="86"/>
                    </a:cubicBezTo>
                    <a:cubicBezTo>
                      <a:pt x="77" y="86"/>
                      <a:pt x="77" y="86"/>
                      <a:pt x="77" y="86"/>
                    </a:cubicBezTo>
                    <a:cubicBezTo>
                      <a:pt x="78" y="89"/>
                      <a:pt x="76" y="92"/>
                      <a:pt x="74" y="94"/>
                    </a:cubicBezTo>
                    <a:cubicBezTo>
                      <a:pt x="73" y="95"/>
                      <a:pt x="73" y="95"/>
                      <a:pt x="73" y="95"/>
                    </a:cubicBezTo>
                    <a:cubicBezTo>
                      <a:pt x="72" y="97"/>
                      <a:pt x="69" y="100"/>
                      <a:pt x="66" y="102"/>
                    </a:cubicBezTo>
                    <a:cubicBezTo>
                      <a:pt x="66" y="102"/>
                      <a:pt x="66" y="102"/>
                      <a:pt x="66" y="102"/>
                    </a:cubicBezTo>
                    <a:cubicBezTo>
                      <a:pt x="66" y="102"/>
                      <a:pt x="66" y="102"/>
                      <a:pt x="66" y="102"/>
                    </a:cubicBezTo>
                    <a:cubicBezTo>
                      <a:pt x="65" y="102"/>
                      <a:pt x="64" y="103"/>
                      <a:pt x="63" y="103"/>
                    </a:cubicBezTo>
                    <a:cubicBezTo>
                      <a:pt x="62" y="103"/>
                      <a:pt x="61" y="103"/>
                      <a:pt x="60" y="103"/>
                    </a:cubicBezTo>
                    <a:cubicBezTo>
                      <a:pt x="58" y="103"/>
                      <a:pt x="58" y="103"/>
                      <a:pt x="58" y="103"/>
                    </a:cubicBezTo>
                    <a:cubicBezTo>
                      <a:pt x="56" y="104"/>
                      <a:pt x="54" y="104"/>
                      <a:pt x="53" y="105"/>
                    </a:cubicBezTo>
                    <a:cubicBezTo>
                      <a:pt x="52" y="106"/>
                      <a:pt x="52" y="106"/>
                      <a:pt x="52" y="106"/>
                    </a:cubicBezTo>
                    <a:cubicBezTo>
                      <a:pt x="52" y="107"/>
                      <a:pt x="51" y="108"/>
                      <a:pt x="49" y="108"/>
                    </a:cubicBezTo>
                    <a:cubicBezTo>
                      <a:pt x="48" y="108"/>
                      <a:pt x="48" y="108"/>
                      <a:pt x="48" y="108"/>
                    </a:cubicBezTo>
                    <a:cubicBezTo>
                      <a:pt x="47" y="108"/>
                      <a:pt x="45" y="107"/>
                      <a:pt x="43" y="105"/>
                    </a:cubicBezTo>
                    <a:cubicBezTo>
                      <a:pt x="42" y="104"/>
                      <a:pt x="42" y="104"/>
                      <a:pt x="41" y="103"/>
                    </a:cubicBezTo>
                    <a:cubicBezTo>
                      <a:pt x="41" y="103"/>
                      <a:pt x="40" y="102"/>
                      <a:pt x="40" y="102"/>
                    </a:cubicBezTo>
                    <a:cubicBezTo>
                      <a:pt x="39" y="101"/>
                      <a:pt x="39" y="101"/>
                      <a:pt x="39" y="101"/>
                    </a:cubicBezTo>
                    <a:cubicBezTo>
                      <a:pt x="39" y="101"/>
                      <a:pt x="39" y="101"/>
                      <a:pt x="39" y="101"/>
                    </a:cubicBezTo>
                    <a:cubicBezTo>
                      <a:pt x="38" y="100"/>
                      <a:pt x="38" y="100"/>
                      <a:pt x="38" y="100"/>
                    </a:cubicBezTo>
                    <a:cubicBezTo>
                      <a:pt x="36" y="99"/>
                      <a:pt x="35" y="98"/>
                      <a:pt x="34" y="98"/>
                    </a:cubicBezTo>
                    <a:cubicBezTo>
                      <a:pt x="33" y="98"/>
                      <a:pt x="33" y="98"/>
                      <a:pt x="33" y="98"/>
                    </a:cubicBezTo>
                    <a:cubicBezTo>
                      <a:pt x="33" y="97"/>
                      <a:pt x="32" y="97"/>
                      <a:pt x="31" y="97"/>
                    </a:cubicBezTo>
                    <a:cubicBezTo>
                      <a:pt x="29" y="97"/>
                      <a:pt x="28" y="97"/>
                      <a:pt x="27" y="96"/>
                    </a:cubicBezTo>
                    <a:cubicBezTo>
                      <a:pt x="25" y="96"/>
                      <a:pt x="25" y="96"/>
                      <a:pt x="25" y="96"/>
                    </a:cubicBezTo>
                    <a:cubicBezTo>
                      <a:pt x="24" y="96"/>
                      <a:pt x="24" y="96"/>
                      <a:pt x="24" y="96"/>
                    </a:cubicBezTo>
                    <a:cubicBezTo>
                      <a:pt x="20" y="100"/>
                      <a:pt x="20" y="100"/>
                      <a:pt x="20" y="100"/>
                    </a:cubicBezTo>
                    <a:cubicBezTo>
                      <a:pt x="18" y="107"/>
                      <a:pt x="18" y="107"/>
                      <a:pt x="18" y="107"/>
                    </a:cubicBezTo>
                    <a:cubicBezTo>
                      <a:pt x="18" y="108"/>
                      <a:pt x="17" y="109"/>
                      <a:pt x="17" y="111"/>
                    </a:cubicBezTo>
                    <a:cubicBezTo>
                      <a:pt x="17" y="114"/>
                      <a:pt x="17" y="114"/>
                      <a:pt x="17" y="114"/>
                    </a:cubicBezTo>
                    <a:cubicBezTo>
                      <a:pt x="16" y="114"/>
                      <a:pt x="16" y="114"/>
                      <a:pt x="16" y="114"/>
                    </a:cubicBezTo>
                    <a:cubicBezTo>
                      <a:pt x="16" y="115"/>
                      <a:pt x="16" y="115"/>
                      <a:pt x="16" y="115"/>
                    </a:cubicBezTo>
                    <a:cubicBezTo>
                      <a:pt x="15" y="118"/>
                      <a:pt x="15" y="119"/>
                      <a:pt x="12" y="122"/>
                    </a:cubicBezTo>
                    <a:cubicBezTo>
                      <a:pt x="10" y="123"/>
                      <a:pt x="10" y="123"/>
                      <a:pt x="10" y="123"/>
                    </a:cubicBezTo>
                    <a:cubicBezTo>
                      <a:pt x="9" y="124"/>
                      <a:pt x="8" y="125"/>
                      <a:pt x="8" y="125"/>
                    </a:cubicBezTo>
                    <a:cubicBezTo>
                      <a:pt x="8" y="126"/>
                      <a:pt x="9" y="127"/>
                      <a:pt x="10" y="128"/>
                    </a:cubicBezTo>
                    <a:cubicBezTo>
                      <a:pt x="12" y="130"/>
                      <a:pt x="12" y="130"/>
                      <a:pt x="12" y="130"/>
                    </a:cubicBezTo>
                    <a:cubicBezTo>
                      <a:pt x="0" y="141"/>
                      <a:pt x="0" y="141"/>
                      <a:pt x="0" y="141"/>
                    </a:cubicBezTo>
                    <a:cubicBezTo>
                      <a:pt x="0" y="142"/>
                      <a:pt x="0" y="144"/>
                      <a:pt x="0" y="146"/>
                    </a:cubicBezTo>
                    <a:cubicBezTo>
                      <a:pt x="0" y="147"/>
                      <a:pt x="0" y="149"/>
                      <a:pt x="0" y="150"/>
                    </a:cubicBezTo>
                    <a:cubicBezTo>
                      <a:pt x="1" y="151"/>
                      <a:pt x="1" y="151"/>
                      <a:pt x="1" y="151"/>
                    </a:cubicBezTo>
                    <a:cubicBezTo>
                      <a:pt x="1" y="151"/>
                      <a:pt x="1" y="152"/>
                      <a:pt x="1" y="152"/>
                    </a:cubicBezTo>
                    <a:cubicBezTo>
                      <a:pt x="1" y="152"/>
                      <a:pt x="1" y="152"/>
                      <a:pt x="3" y="153"/>
                    </a:cubicBezTo>
                    <a:cubicBezTo>
                      <a:pt x="4" y="153"/>
                      <a:pt x="4" y="153"/>
                      <a:pt x="4" y="153"/>
                    </a:cubicBezTo>
                    <a:cubicBezTo>
                      <a:pt x="5" y="153"/>
                      <a:pt x="6" y="153"/>
                      <a:pt x="6" y="153"/>
                    </a:cubicBezTo>
                    <a:cubicBezTo>
                      <a:pt x="7" y="153"/>
                      <a:pt x="7" y="153"/>
                      <a:pt x="7" y="153"/>
                    </a:cubicBezTo>
                    <a:cubicBezTo>
                      <a:pt x="8" y="154"/>
                      <a:pt x="9" y="154"/>
                      <a:pt x="10" y="154"/>
                    </a:cubicBezTo>
                    <a:cubicBezTo>
                      <a:pt x="15" y="156"/>
                      <a:pt x="15" y="156"/>
                      <a:pt x="15" y="156"/>
                    </a:cubicBezTo>
                    <a:cubicBezTo>
                      <a:pt x="12" y="160"/>
                      <a:pt x="12" y="160"/>
                      <a:pt x="12" y="160"/>
                    </a:cubicBezTo>
                    <a:cubicBezTo>
                      <a:pt x="11" y="160"/>
                      <a:pt x="10" y="161"/>
                      <a:pt x="9" y="162"/>
                    </a:cubicBezTo>
                    <a:cubicBezTo>
                      <a:pt x="9" y="163"/>
                      <a:pt x="9" y="163"/>
                      <a:pt x="9" y="163"/>
                    </a:cubicBezTo>
                    <a:cubicBezTo>
                      <a:pt x="5" y="166"/>
                      <a:pt x="3" y="168"/>
                      <a:pt x="3" y="169"/>
                    </a:cubicBezTo>
                    <a:cubicBezTo>
                      <a:pt x="8" y="188"/>
                      <a:pt x="8" y="188"/>
                      <a:pt x="8" y="188"/>
                    </a:cubicBezTo>
                    <a:cubicBezTo>
                      <a:pt x="8" y="189"/>
                      <a:pt x="8" y="189"/>
                      <a:pt x="8" y="190"/>
                    </a:cubicBezTo>
                    <a:cubicBezTo>
                      <a:pt x="9" y="193"/>
                      <a:pt x="9" y="193"/>
                      <a:pt x="9" y="193"/>
                    </a:cubicBezTo>
                    <a:cubicBezTo>
                      <a:pt x="10" y="194"/>
                      <a:pt x="10" y="195"/>
                      <a:pt x="10" y="196"/>
                    </a:cubicBezTo>
                    <a:cubicBezTo>
                      <a:pt x="10" y="199"/>
                      <a:pt x="10" y="201"/>
                      <a:pt x="9" y="203"/>
                    </a:cubicBezTo>
                    <a:cubicBezTo>
                      <a:pt x="9" y="204"/>
                      <a:pt x="9" y="206"/>
                      <a:pt x="9" y="208"/>
                    </a:cubicBezTo>
                    <a:cubicBezTo>
                      <a:pt x="9" y="208"/>
                      <a:pt x="9" y="208"/>
                      <a:pt x="9" y="208"/>
                    </a:cubicBezTo>
                    <a:cubicBezTo>
                      <a:pt x="9" y="209"/>
                      <a:pt x="9" y="210"/>
                      <a:pt x="9" y="210"/>
                    </a:cubicBezTo>
                    <a:cubicBezTo>
                      <a:pt x="9" y="211"/>
                      <a:pt x="9" y="211"/>
                      <a:pt x="9" y="211"/>
                    </a:cubicBezTo>
                    <a:cubicBezTo>
                      <a:pt x="15" y="211"/>
                      <a:pt x="15" y="211"/>
                      <a:pt x="15" y="211"/>
                    </a:cubicBezTo>
                    <a:cubicBezTo>
                      <a:pt x="10" y="213"/>
                      <a:pt x="10" y="213"/>
                      <a:pt x="10" y="213"/>
                    </a:cubicBezTo>
                    <a:cubicBezTo>
                      <a:pt x="10" y="213"/>
                      <a:pt x="10" y="213"/>
                      <a:pt x="10" y="213"/>
                    </a:cubicBezTo>
                    <a:cubicBezTo>
                      <a:pt x="10" y="214"/>
                      <a:pt x="10" y="215"/>
                      <a:pt x="10" y="216"/>
                    </a:cubicBezTo>
                    <a:cubicBezTo>
                      <a:pt x="9" y="217"/>
                      <a:pt x="9" y="218"/>
                      <a:pt x="9" y="218"/>
                    </a:cubicBezTo>
                    <a:cubicBezTo>
                      <a:pt x="10" y="218"/>
                      <a:pt x="10" y="218"/>
                      <a:pt x="11" y="218"/>
                    </a:cubicBezTo>
                    <a:cubicBezTo>
                      <a:pt x="26" y="220"/>
                      <a:pt x="26" y="220"/>
                      <a:pt x="26" y="220"/>
                    </a:cubicBezTo>
                    <a:cubicBezTo>
                      <a:pt x="29" y="221"/>
                      <a:pt x="31" y="223"/>
                      <a:pt x="32" y="224"/>
                    </a:cubicBezTo>
                    <a:cubicBezTo>
                      <a:pt x="35" y="228"/>
                      <a:pt x="35" y="228"/>
                      <a:pt x="35" y="228"/>
                    </a:cubicBezTo>
                    <a:cubicBezTo>
                      <a:pt x="35" y="229"/>
                      <a:pt x="35" y="229"/>
                      <a:pt x="36" y="230"/>
                    </a:cubicBezTo>
                    <a:cubicBezTo>
                      <a:pt x="37" y="231"/>
                      <a:pt x="37" y="233"/>
                      <a:pt x="38" y="234"/>
                    </a:cubicBezTo>
                    <a:cubicBezTo>
                      <a:pt x="38" y="237"/>
                      <a:pt x="38" y="241"/>
                      <a:pt x="35" y="244"/>
                    </a:cubicBezTo>
                    <a:cubicBezTo>
                      <a:pt x="34" y="247"/>
                      <a:pt x="31" y="250"/>
                      <a:pt x="30" y="252"/>
                    </a:cubicBezTo>
                    <a:cubicBezTo>
                      <a:pt x="29" y="252"/>
                      <a:pt x="28" y="253"/>
                      <a:pt x="27" y="254"/>
                    </a:cubicBezTo>
                    <a:cubicBezTo>
                      <a:pt x="24" y="258"/>
                      <a:pt x="24" y="258"/>
                      <a:pt x="24" y="258"/>
                    </a:cubicBezTo>
                    <a:cubicBezTo>
                      <a:pt x="23" y="260"/>
                      <a:pt x="21" y="261"/>
                      <a:pt x="19" y="263"/>
                    </a:cubicBezTo>
                    <a:cubicBezTo>
                      <a:pt x="13" y="270"/>
                      <a:pt x="13" y="270"/>
                      <a:pt x="13" y="270"/>
                    </a:cubicBezTo>
                    <a:cubicBezTo>
                      <a:pt x="57" y="283"/>
                      <a:pt x="57" y="283"/>
                      <a:pt x="57" y="283"/>
                    </a:cubicBezTo>
                    <a:cubicBezTo>
                      <a:pt x="57" y="283"/>
                      <a:pt x="58" y="283"/>
                      <a:pt x="58" y="283"/>
                    </a:cubicBezTo>
                    <a:cubicBezTo>
                      <a:pt x="59" y="283"/>
                      <a:pt x="59" y="283"/>
                      <a:pt x="59" y="283"/>
                    </a:cubicBezTo>
                    <a:cubicBezTo>
                      <a:pt x="60" y="283"/>
                      <a:pt x="61" y="282"/>
                      <a:pt x="62" y="282"/>
                    </a:cubicBezTo>
                    <a:cubicBezTo>
                      <a:pt x="62" y="282"/>
                      <a:pt x="62" y="282"/>
                      <a:pt x="62" y="282"/>
                    </a:cubicBezTo>
                    <a:cubicBezTo>
                      <a:pt x="63" y="282"/>
                      <a:pt x="65" y="282"/>
                      <a:pt x="65" y="282"/>
                    </a:cubicBezTo>
                    <a:cubicBezTo>
                      <a:pt x="71" y="281"/>
                      <a:pt x="71" y="281"/>
                      <a:pt x="71" y="281"/>
                    </a:cubicBezTo>
                    <a:cubicBezTo>
                      <a:pt x="71" y="281"/>
                      <a:pt x="71" y="281"/>
                      <a:pt x="71" y="281"/>
                    </a:cubicBezTo>
                    <a:cubicBezTo>
                      <a:pt x="83" y="281"/>
                      <a:pt x="83" y="281"/>
                      <a:pt x="83" y="281"/>
                    </a:cubicBezTo>
                    <a:cubicBezTo>
                      <a:pt x="84" y="281"/>
                      <a:pt x="84" y="281"/>
                      <a:pt x="85" y="281"/>
                    </a:cubicBezTo>
                    <a:cubicBezTo>
                      <a:pt x="85" y="281"/>
                      <a:pt x="86" y="281"/>
                      <a:pt x="87" y="281"/>
                    </a:cubicBezTo>
                    <a:cubicBezTo>
                      <a:pt x="87" y="281"/>
                      <a:pt x="87" y="281"/>
                      <a:pt x="87" y="281"/>
                    </a:cubicBezTo>
                    <a:cubicBezTo>
                      <a:pt x="88" y="281"/>
                      <a:pt x="88" y="281"/>
                      <a:pt x="88" y="281"/>
                    </a:cubicBezTo>
                    <a:cubicBezTo>
                      <a:pt x="89" y="281"/>
                      <a:pt x="89" y="281"/>
                      <a:pt x="89" y="281"/>
                    </a:cubicBezTo>
                    <a:cubicBezTo>
                      <a:pt x="90" y="281"/>
                      <a:pt x="91" y="282"/>
                      <a:pt x="93" y="282"/>
                    </a:cubicBezTo>
                    <a:cubicBezTo>
                      <a:pt x="93" y="282"/>
                      <a:pt x="93" y="282"/>
                      <a:pt x="94" y="282"/>
                    </a:cubicBezTo>
                    <a:cubicBezTo>
                      <a:pt x="95" y="282"/>
                      <a:pt x="95" y="282"/>
                      <a:pt x="95" y="282"/>
                    </a:cubicBezTo>
                    <a:cubicBezTo>
                      <a:pt x="96" y="282"/>
                      <a:pt x="97" y="283"/>
                      <a:pt x="97" y="283"/>
                    </a:cubicBezTo>
                    <a:cubicBezTo>
                      <a:pt x="98" y="283"/>
                      <a:pt x="98" y="283"/>
                      <a:pt x="98" y="283"/>
                    </a:cubicBezTo>
                    <a:cubicBezTo>
                      <a:pt x="99" y="283"/>
                      <a:pt x="101" y="282"/>
                      <a:pt x="103" y="281"/>
                    </a:cubicBezTo>
                    <a:cubicBezTo>
                      <a:pt x="104" y="280"/>
                      <a:pt x="105" y="279"/>
                      <a:pt x="106" y="279"/>
                    </a:cubicBezTo>
                    <a:cubicBezTo>
                      <a:pt x="107" y="278"/>
                      <a:pt x="108" y="278"/>
                      <a:pt x="109" y="278"/>
                    </a:cubicBezTo>
                    <a:cubicBezTo>
                      <a:pt x="114" y="277"/>
                      <a:pt x="118" y="276"/>
                      <a:pt x="121" y="276"/>
                    </a:cubicBezTo>
                    <a:cubicBezTo>
                      <a:pt x="124" y="276"/>
                      <a:pt x="127" y="276"/>
                      <a:pt x="130" y="275"/>
                    </a:cubicBezTo>
                    <a:cubicBezTo>
                      <a:pt x="136" y="275"/>
                      <a:pt x="136" y="275"/>
                      <a:pt x="136" y="275"/>
                    </a:cubicBezTo>
                    <a:cubicBezTo>
                      <a:pt x="136" y="275"/>
                      <a:pt x="137" y="275"/>
                      <a:pt x="137" y="275"/>
                    </a:cubicBezTo>
                    <a:cubicBezTo>
                      <a:pt x="140" y="275"/>
                      <a:pt x="143" y="274"/>
                      <a:pt x="146" y="273"/>
                    </a:cubicBezTo>
                    <a:cubicBezTo>
                      <a:pt x="148" y="272"/>
                      <a:pt x="151" y="272"/>
                      <a:pt x="153" y="271"/>
                    </a:cubicBezTo>
                    <a:cubicBezTo>
                      <a:pt x="156" y="270"/>
                      <a:pt x="156" y="270"/>
                      <a:pt x="156" y="270"/>
                    </a:cubicBezTo>
                    <a:cubicBezTo>
                      <a:pt x="157" y="270"/>
                      <a:pt x="157" y="270"/>
                      <a:pt x="158" y="270"/>
                    </a:cubicBezTo>
                    <a:cubicBezTo>
                      <a:pt x="158" y="269"/>
                      <a:pt x="158" y="269"/>
                      <a:pt x="158" y="269"/>
                    </a:cubicBezTo>
                    <a:cubicBezTo>
                      <a:pt x="156" y="267"/>
                      <a:pt x="157" y="264"/>
                      <a:pt x="157" y="262"/>
                    </a:cubicBezTo>
                    <a:cubicBezTo>
                      <a:pt x="157" y="262"/>
                      <a:pt x="157" y="262"/>
                      <a:pt x="157" y="262"/>
                    </a:cubicBezTo>
                    <a:cubicBezTo>
                      <a:pt x="158" y="260"/>
                      <a:pt x="158" y="259"/>
                      <a:pt x="158" y="257"/>
                    </a:cubicBezTo>
                    <a:cubicBezTo>
                      <a:pt x="158" y="256"/>
                      <a:pt x="158" y="255"/>
                      <a:pt x="158" y="255"/>
                    </a:cubicBezTo>
                    <a:cubicBezTo>
                      <a:pt x="158" y="251"/>
                      <a:pt x="159" y="247"/>
                      <a:pt x="160" y="244"/>
                    </a:cubicBezTo>
                    <a:cubicBezTo>
                      <a:pt x="160" y="241"/>
                      <a:pt x="160" y="241"/>
                      <a:pt x="160" y="241"/>
                    </a:cubicBezTo>
                    <a:cubicBezTo>
                      <a:pt x="161" y="240"/>
                      <a:pt x="161" y="240"/>
                      <a:pt x="161" y="239"/>
                    </a:cubicBezTo>
                    <a:cubicBezTo>
                      <a:pt x="162" y="238"/>
                      <a:pt x="162" y="236"/>
                      <a:pt x="163" y="236"/>
                    </a:cubicBezTo>
                    <a:cubicBezTo>
                      <a:pt x="164" y="235"/>
                      <a:pt x="164" y="235"/>
                      <a:pt x="164" y="235"/>
                    </a:cubicBezTo>
                    <a:cubicBezTo>
                      <a:pt x="165" y="234"/>
                      <a:pt x="166" y="232"/>
                      <a:pt x="168" y="231"/>
                    </a:cubicBezTo>
                    <a:cubicBezTo>
                      <a:pt x="170" y="229"/>
                      <a:pt x="171" y="229"/>
                      <a:pt x="172" y="228"/>
                    </a:cubicBezTo>
                    <a:cubicBezTo>
                      <a:pt x="173" y="227"/>
                      <a:pt x="173" y="227"/>
                      <a:pt x="173" y="227"/>
                    </a:cubicBezTo>
                    <a:cubicBezTo>
                      <a:pt x="173" y="227"/>
                      <a:pt x="174" y="227"/>
                      <a:pt x="174" y="226"/>
                    </a:cubicBezTo>
                    <a:cubicBezTo>
                      <a:pt x="170" y="224"/>
                      <a:pt x="170" y="224"/>
                      <a:pt x="170" y="224"/>
                    </a:cubicBezTo>
                    <a:cubicBezTo>
                      <a:pt x="175" y="226"/>
                      <a:pt x="175" y="226"/>
                      <a:pt x="175" y="226"/>
                    </a:cubicBezTo>
                    <a:cubicBezTo>
                      <a:pt x="175" y="225"/>
                      <a:pt x="175" y="225"/>
                      <a:pt x="175" y="225"/>
                    </a:cubicBezTo>
                    <a:cubicBezTo>
                      <a:pt x="177" y="225"/>
                      <a:pt x="179" y="224"/>
                      <a:pt x="180" y="224"/>
                    </a:cubicBezTo>
                    <a:cubicBezTo>
                      <a:pt x="181" y="224"/>
                      <a:pt x="181" y="224"/>
                      <a:pt x="181" y="224"/>
                    </a:cubicBezTo>
                    <a:cubicBezTo>
                      <a:pt x="182" y="224"/>
                      <a:pt x="182" y="224"/>
                      <a:pt x="183" y="224"/>
                    </a:cubicBezTo>
                    <a:cubicBezTo>
                      <a:pt x="185" y="225"/>
                      <a:pt x="185" y="225"/>
                      <a:pt x="185" y="225"/>
                    </a:cubicBezTo>
                    <a:cubicBezTo>
                      <a:pt x="186" y="225"/>
                      <a:pt x="187" y="225"/>
                      <a:pt x="188" y="225"/>
                    </a:cubicBezTo>
                    <a:cubicBezTo>
                      <a:pt x="188" y="226"/>
                      <a:pt x="188" y="226"/>
                      <a:pt x="188" y="226"/>
                    </a:cubicBezTo>
                    <a:cubicBezTo>
                      <a:pt x="189" y="226"/>
                      <a:pt x="189" y="226"/>
                      <a:pt x="189" y="226"/>
                    </a:cubicBezTo>
                    <a:cubicBezTo>
                      <a:pt x="190" y="226"/>
                      <a:pt x="191" y="226"/>
                      <a:pt x="191" y="226"/>
                    </a:cubicBezTo>
                    <a:cubicBezTo>
                      <a:pt x="192" y="226"/>
                      <a:pt x="192" y="226"/>
                      <a:pt x="192" y="226"/>
                    </a:cubicBezTo>
                    <a:cubicBezTo>
                      <a:pt x="193" y="226"/>
                      <a:pt x="193" y="226"/>
                      <a:pt x="193" y="226"/>
                    </a:cubicBezTo>
                    <a:cubicBezTo>
                      <a:pt x="195" y="226"/>
                      <a:pt x="196" y="225"/>
                      <a:pt x="198" y="224"/>
                    </a:cubicBezTo>
                    <a:cubicBezTo>
                      <a:pt x="189" y="217"/>
                      <a:pt x="189" y="217"/>
                      <a:pt x="189" y="217"/>
                    </a:cubicBezTo>
                    <a:cubicBezTo>
                      <a:pt x="198" y="217"/>
                      <a:pt x="198" y="217"/>
                      <a:pt x="198" y="217"/>
                    </a:cubicBezTo>
                    <a:cubicBezTo>
                      <a:pt x="202" y="216"/>
                      <a:pt x="203" y="216"/>
                      <a:pt x="207" y="213"/>
                    </a:cubicBezTo>
                    <a:cubicBezTo>
                      <a:pt x="207" y="213"/>
                      <a:pt x="207" y="213"/>
                      <a:pt x="207" y="213"/>
                    </a:cubicBezTo>
                    <a:cubicBezTo>
                      <a:pt x="208" y="212"/>
                      <a:pt x="208" y="212"/>
                      <a:pt x="208" y="212"/>
                    </a:cubicBezTo>
                    <a:cubicBezTo>
                      <a:pt x="210" y="211"/>
                      <a:pt x="211" y="211"/>
                      <a:pt x="212" y="210"/>
                    </a:cubicBezTo>
                    <a:cubicBezTo>
                      <a:pt x="213" y="210"/>
                      <a:pt x="213" y="210"/>
                      <a:pt x="214" y="210"/>
                    </a:cubicBezTo>
                    <a:cubicBezTo>
                      <a:pt x="215" y="209"/>
                      <a:pt x="216" y="209"/>
                      <a:pt x="216" y="209"/>
                    </a:cubicBezTo>
                    <a:cubicBezTo>
                      <a:pt x="217" y="209"/>
                      <a:pt x="218" y="209"/>
                      <a:pt x="218" y="208"/>
                    </a:cubicBezTo>
                    <a:cubicBezTo>
                      <a:pt x="219" y="208"/>
                      <a:pt x="219" y="208"/>
                      <a:pt x="219" y="208"/>
                    </a:cubicBezTo>
                    <a:cubicBezTo>
                      <a:pt x="220" y="208"/>
                      <a:pt x="221" y="208"/>
                      <a:pt x="223" y="208"/>
                    </a:cubicBezTo>
                    <a:cubicBezTo>
                      <a:pt x="223" y="208"/>
                      <a:pt x="223" y="207"/>
                      <a:pt x="224" y="207"/>
                    </a:cubicBezTo>
                    <a:cubicBezTo>
                      <a:pt x="224" y="207"/>
                      <a:pt x="225" y="208"/>
                      <a:pt x="226" y="208"/>
                    </a:cubicBezTo>
                    <a:cubicBezTo>
                      <a:pt x="226" y="208"/>
                      <a:pt x="226" y="208"/>
                      <a:pt x="226" y="208"/>
                    </a:cubicBezTo>
                    <a:cubicBezTo>
                      <a:pt x="227" y="208"/>
                      <a:pt x="228" y="208"/>
                      <a:pt x="229" y="209"/>
                    </a:cubicBezTo>
                    <a:cubicBezTo>
                      <a:pt x="230" y="209"/>
                      <a:pt x="230" y="209"/>
                      <a:pt x="230" y="209"/>
                    </a:cubicBezTo>
                    <a:cubicBezTo>
                      <a:pt x="230" y="210"/>
                      <a:pt x="231" y="211"/>
                      <a:pt x="233" y="212"/>
                    </a:cubicBezTo>
                    <a:cubicBezTo>
                      <a:pt x="233" y="212"/>
                      <a:pt x="233" y="212"/>
                      <a:pt x="233" y="212"/>
                    </a:cubicBezTo>
                    <a:cubicBezTo>
                      <a:pt x="234" y="213"/>
                      <a:pt x="235" y="213"/>
                      <a:pt x="235" y="213"/>
                    </a:cubicBezTo>
                    <a:cubicBezTo>
                      <a:pt x="235" y="213"/>
                      <a:pt x="235" y="213"/>
                      <a:pt x="235" y="213"/>
                    </a:cubicBezTo>
                    <a:cubicBezTo>
                      <a:pt x="237" y="211"/>
                      <a:pt x="237" y="211"/>
                      <a:pt x="237" y="211"/>
                    </a:cubicBezTo>
                    <a:cubicBezTo>
                      <a:pt x="239" y="209"/>
                      <a:pt x="241" y="208"/>
                      <a:pt x="243" y="206"/>
                    </a:cubicBezTo>
                    <a:cubicBezTo>
                      <a:pt x="244" y="205"/>
                      <a:pt x="244" y="205"/>
                      <a:pt x="244" y="205"/>
                    </a:cubicBezTo>
                    <a:cubicBezTo>
                      <a:pt x="243" y="196"/>
                      <a:pt x="243" y="196"/>
                      <a:pt x="243" y="196"/>
                    </a:cubicBezTo>
                    <a:cubicBezTo>
                      <a:pt x="243" y="196"/>
                      <a:pt x="243" y="196"/>
                      <a:pt x="243" y="196"/>
                    </a:cubicBezTo>
                    <a:cubicBezTo>
                      <a:pt x="242" y="191"/>
                      <a:pt x="242" y="191"/>
                      <a:pt x="242" y="191"/>
                    </a:cubicBezTo>
                    <a:cubicBezTo>
                      <a:pt x="242" y="189"/>
                      <a:pt x="243" y="188"/>
                      <a:pt x="243" y="188"/>
                    </a:cubicBezTo>
                    <a:cubicBezTo>
                      <a:pt x="243" y="188"/>
                      <a:pt x="243" y="187"/>
                      <a:pt x="244" y="187"/>
                    </a:cubicBezTo>
                    <a:cubicBezTo>
                      <a:pt x="245" y="186"/>
                      <a:pt x="245" y="186"/>
                      <a:pt x="246" y="185"/>
                    </a:cubicBezTo>
                    <a:cubicBezTo>
                      <a:pt x="247" y="184"/>
                      <a:pt x="247" y="184"/>
                      <a:pt x="247" y="184"/>
                    </a:cubicBezTo>
                    <a:cubicBezTo>
                      <a:pt x="247" y="184"/>
                      <a:pt x="247" y="183"/>
                      <a:pt x="247" y="183"/>
                    </a:cubicBezTo>
                    <a:cubicBezTo>
                      <a:pt x="247" y="182"/>
                      <a:pt x="247" y="182"/>
                      <a:pt x="247" y="182"/>
                    </a:cubicBezTo>
                    <a:cubicBezTo>
                      <a:pt x="248" y="181"/>
                      <a:pt x="248" y="180"/>
                      <a:pt x="248" y="179"/>
                    </a:cubicBezTo>
                    <a:cubicBezTo>
                      <a:pt x="249" y="176"/>
                      <a:pt x="249" y="172"/>
                      <a:pt x="251" y="170"/>
                    </a:cubicBezTo>
                    <a:cubicBezTo>
                      <a:pt x="252" y="169"/>
                      <a:pt x="252" y="169"/>
                      <a:pt x="252" y="169"/>
                    </a:cubicBezTo>
                    <a:cubicBezTo>
                      <a:pt x="253" y="168"/>
                      <a:pt x="254" y="168"/>
                      <a:pt x="255" y="168"/>
                    </a:cubicBezTo>
                    <a:cubicBezTo>
                      <a:pt x="255" y="168"/>
                      <a:pt x="255" y="168"/>
                      <a:pt x="255" y="168"/>
                    </a:cubicBezTo>
                    <a:cubicBezTo>
                      <a:pt x="256" y="168"/>
                      <a:pt x="257" y="168"/>
                      <a:pt x="258" y="168"/>
                    </a:cubicBezTo>
                    <a:cubicBezTo>
                      <a:pt x="259" y="168"/>
                      <a:pt x="259" y="168"/>
                      <a:pt x="259" y="168"/>
                    </a:cubicBezTo>
                    <a:cubicBezTo>
                      <a:pt x="260" y="168"/>
                      <a:pt x="261" y="168"/>
                      <a:pt x="262" y="167"/>
                    </a:cubicBezTo>
                    <a:cubicBezTo>
                      <a:pt x="263" y="167"/>
                      <a:pt x="263" y="167"/>
                      <a:pt x="263" y="167"/>
                    </a:cubicBezTo>
                    <a:cubicBezTo>
                      <a:pt x="265" y="167"/>
                      <a:pt x="270" y="164"/>
                      <a:pt x="271" y="162"/>
                    </a:cubicBezTo>
                    <a:cubicBezTo>
                      <a:pt x="271" y="162"/>
                      <a:pt x="271" y="162"/>
                      <a:pt x="271" y="162"/>
                    </a:cubicBezTo>
                    <a:cubicBezTo>
                      <a:pt x="271" y="161"/>
                      <a:pt x="270" y="160"/>
                      <a:pt x="268" y="157"/>
                    </a:cubicBezTo>
                    <a:cubicBezTo>
                      <a:pt x="265" y="153"/>
                      <a:pt x="265" y="153"/>
                      <a:pt x="265" y="153"/>
                    </a:cubicBezTo>
                    <a:cubicBezTo>
                      <a:pt x="265" y="152"/>
                      <a:pt x="265" y="152"/>
                      <a:pt x="265" y="152"/>
                    </a:cubicBezTo>
                    <a:cubicBezTo>
                      <a:pt x="265" y="152"/>
                      <a:pt x="265" y="152"/>
                      <a:pt x="265" y="152"/>
                    </a:cubicBezTo>
                    <a:cubicBezTo>
                      <a:pt x="264" y="151"/>
                      <a:pt x="264" y="151"/>
                      <a:pt x="264" y="151"/>
                    </a:cubicBezTo>
                    <a:cubicBezTo>
                      <a:pt x="261" y="147"/>
                      <a:pt x="261" y="147"/>
                      <a:pt x="261" y="147"/>
                    </a:cubicBezTo>
                    <a:cubicBezTo>
                      <a:pt x="259" y="143"/>
                      <a:pt x="260" y="140"/>
                      <a:pt x="262" y="139"/>
                    </a:cubicBezTo>
                    <a:cubicBezTo>
                      <a:pt x="262" y="138"/>
                      <a:pt x="262" y="138"/>
                      <a:pt x="262" y="138"/>
                    </a:cubicBezTo>
                    <a:cubicBezTo>
                      <a:pt x="264" y="138"/>
                      <a:pt x="265" y="137"/>
                      <a:pt x="267" y="137"/>
                    </a:cubicBezTo>
                    <a:cubicBezTo>
                      <a:pt x="269" y="137"/>
                      <a:pt x="273" y="138"/>
                      <a:pt x="277" y="139"/>
                    </a:cubicBezTo>
                    <a:cubicBezTo>
                      <a:pt x="278" y="139"/>
                      <a:pt x="278" y="139"/>
                      <a:pt x="278" y="139"/>
                    </a:cubicBezTo>
                    <a:cubicBezTo>
                      <a:pt x="278" y="139"/>
                      <a:pt x="279" y="140"/>
                      <a:pt x="280" y="140"/>
                    </a:cubicBezTo>
                    <a:cubicBezTo>
                      <a:pt x="281" y="140"/>
                      <a:pt x="281" y="140"/>
                      <a:pt x="281" y="140"/>
                    </a:cubicBezTo>
                    <a:cubicBezTo>
                      <a:pt x="281" y="140"/>
                      <a:pt x="282" y="140"/>
                      <a:pt x="283" y="140"/>
                    </a:cubicBezTo>
                    <a:cubicBezTo>
                      <a:pt x="283" y="140"/>
                      <a:pt x="284" y="140"/>
                      <a:pt x="285" y="140"/>
                    </a:cubicBezTo>
                    <a:cubicBezTo>
                      <a:pt x="287" y="140"/>
                      <a:pt x="290" y="139"/>
                      <a:pt x="292" y="138"/>
                    </a:cubicBezTo>
                    <a:cubicBezTo>
                      <a:pt x="293" y="137"/>
                      <a:pt x="294" y="136"/>
                      <a:pt x="294" y="135"/>
                    </a:cubicBezTo>
                    <a:cubicBezTo>
                      <a:pt x="295" y="135"/>
                      <a:pt x="295" y="135"/>
                      <a:pt x="295" y="135"/>
                    </a:cubicBezTo>
                    <a:cubicBezTo>
                      <a:pt x="295" y="134"/>
                      <a:pt x="295" y="134"/>
                      <a:pt x="295" y="134"/>
                    </a:cubicBezTo>
                    <a:cubicBezTo>
                      <a:pt x="295" y="134"/>
                      <a:pt x="295" y="133"/>
                      <a:pt x="295" y="133"/>
                    </a:cubicBezTo>
                    <a:cubicBezTo>
                      <a:pt x="295" y="133"/>
                      <a:pt x="295" y="133"/>
                      <a:pt x="295" y="133"/>
                    </a:cubicBezTo>
                    <a:cubicBezTo>
                      <a:pt x="294" y="132"/>
                      <a:pt x="293" y="131"/>
                      <a:pt x="293" y="129"/>
                    </a:cubicBezTo>
                    <a:cubicBezTo>
                      <a:pt x="291" y="126"/>
                      <a:pt x="291" y="122"/>
                      <a:pt x="294" y="120"/>
                    </a:cubicBezTo>
                    <a:cubicBezTo>
                      <a:pt x="294" y="119"/>
                      <a:pt x="295" y="118"/>
                      <a:pt x="297" y="117"/>
                    </a:cubicBezTo>
                    <a:cubicBezTo>
                      <a:pt x="298" y="116"/>
                      <a:pt x="298" y="116"/>
                      <a:pt x="299" y="115"/>
                    </a:cubicBezTo>
                    <a:cubicBezTo>
                      <a:pt x="299" y="114"/>
                      <a:pt x="300" y="112"/>
                      <a:pt x="302" y="111"/>
                    </a:cubicBezTo>
                    <a:cubicBezTo>
                      <a:pt x="303" y="110"/>
                      <a:pt x="304" y="109"/>
                      <a:pt x="306" y="109"/>
                    </a:cubicBezTo>
                    <a:cubicBezTo>
                      <a:pt x="306" y="108"/>
                      <a:pt x="306" y="108"/>
                      <a:pt x="306" y="108"/>
                    </a:cubicBezTo>
                    <a:cubicBezTo>
                      <a:pt x="306" y="108"/>
                      <a:pt x="306" y="108"/>
                      <a:pt x="307" y="107"/>
                    </a:cubicBezTo>
                    <a:cubicBezTo>
                      <a:pt x="307" y="105"/>
                      <a:pt x="308" y="104"/>
                      <a:pt x="309" y="103"/>
                    </a:cubicBezTo>
                    <a:cubicBezTo>
                      <a:pt x="309" y="103"/>
                      <a:pt x="309" y="102"/>
                      <a:pt x="308" y="101"/>
                    </a:cubicBezTo>
                    <a:cubicBezTo>
                      <a:pt x="308" y="101"/>
                      <a:pt x="308" y="101"/>
                      <a:pt x="308" y="101"/>
                    </a:cubicBezTo>
                    <a:cubicBezTo>
                      <a:pt x="308" y="99"/>
                      <a:pt x="308" y="98"/>
                      <a:pt x="308" y="97"/>
                    </a:cubicBezTo>
                    <a:cubicBezTo>
                      <a:pt x="308" y="96"/>
                      <a:pt x="308" y="94"/>
                      <a:pt x="308" y="94"/>
                    </a:cubicBezTo>
                    <a:cubicBezTo>
                      <a:pt x="307" y="91"/>
                      <a:pt x="307" y="91"/>
                      <a:pt x="307" y="91"/>
                    </a:cubicBezTo>
                    <a:cubicBezTo>
                      <a:pt x="307" y="91"/>
                      <a:pt x="307" y="91"/>
                      <a:pt x="307" y="91"/>
                    </a:cubicBezTo>
                    <a:cubicBezTo>
                      <a:pt x="307" y="91"/>
                      <a:pt x="307" y="91"/>
                      <a:pt x="307" y="91"/>
                    </a:cubicBezTo>
                    <a:cubicBezTo>
                      <a:pt x="306" y="89"/>
                      <a:pt x="306" y="89"/>
                      <a:pt x="306" y="89"/>
                    </a:cubicBezTo>
                    <a:cubicBezTo>
                      <a:pt x="305" y="88"/>
                      <a:pt x="305" y="88"/>
                      <a:pt x="304" y="87"/>
                    </a:cubicBezTo>
                    <a:cubicBezTo>
                      <a:pt x="304" y="87"/>
                      <a:pt x="304" y="86"/>
                      <a:pt x="304" y="86"/>
                    </a:cubicBezTo>
                    <a:cubicBezTo>
                      <a:pt x="303" y="85"/>
                      <a:pt x="303" y="85"/>
                      <a:pt x="303" y="85"/>
                    </a:cubicBezTo>
                    <a:cubicBezTo>
                      <a:pt x="302" y="83"/>
                      <a:pt x="301" y="81"/>
                      <a:pt x="300" y="80"/>
                    </a:cubicBezTo>
                    <a:cubicBezTo>
                      <a:pt x="299" y="80"/>
                      <a:pt x="299" y="80"/>
                      <a:pt x="299" y="80"/>
                    </a:cubicBezTo>
                    <a:cubicBezTo>
                      <a:pt x="299" y="79"/>
                      <a:pt x="299" y="79"/>
                      <a:pt x="299" y="79"/>
                    </a:cubicBezTo>
                    <a:cubicBezTo>
                      <a:pt x="295" y="77"/>
                      <a:pt x="295" y="77"/>
                      <a:pt x="295" y="77"/>
                    </a:cubicBezTo>
                    <a:cubicBezTo>
                      <a:pt x="298" y="74"/>
                      <a:pt x="298" y="74"/>
                      <a:pt x="298" y="74"/>
                    </a:cubicBezTo>
                    <a:cubicBezTo>
                      <a:pt x="302" y="69"/>
                      <a:pt x="306" y="64"/>
                      <a:pt x="311" y="60"/>
                    </a:cubicBezTo>
                    <a:cubicBezTo>
                      <a:pt x="312" y="59"/>
                      <a:pt x="312" y="59"/>
                      <a:pt x="312" y="59"/>
                    </a:cubicBezTo>
                    <a:cubicBezTo>
                      <a:pt x="314" y="59"/>
                      <a:pt x="314" y="59"/>
                      <a:pt x="314" y="59"/>
                    </a:cubicBezTo>
                    <a:cubicBezTo>
                      <a:pt x="314" y="59"/>
                      <a:pt x="314" y="59"/>
                      <a:pt x="314" y="59"/>
                    </a:cubicBezTo>
                    <a:cubicBezTo>
                      <a:pt x="315" y="59"/>
                      <a:pt x="315" y="59"/>
                      <a:pt x="316" y="59"/>
                    </a:cubicBezTo>
                    <a:cubicBezTo>
                      <a:pt x="317" y="60"/>
                      <a:pt x="317" y="60"/>
                      <a:pt x="317" y="60"/>
                    </a:cubicBezTo>
                    <a:cubicBezTo>
                      <a:pt x="318" y="60"/>
                      <a:pt x="318" y="60"/>
                      <a:pt x="318" y="60"/>
                    </a:cubicBezTo>
                    <a:cubicBezTo>
                      <a:pt x="320" y="59"/>
                      <a:pt x="321" y="58"/>
                      <a:pt x="323" y="57"/>
                    </a:cubicBezTo>
                    <a:cubicBezTo>
                      <a:pt x="327" y="55"/>
                      <a:pt x="327" y="55"/>
                      <a:pt x="327" y="55"/>
                    </a:cubicBezTo>
                    <a:cubicBezTo>
                      <a:pt x="328" y="54"/>
                      <a:pt x="329" y="53"/>
                      <a:pt x="331" y="52"/>
                    </a:cubicBezTo>
                    <a:cubicBezTo>
                      <a:pt x="330" y="52"/>
                      <a:pt x="330" y="52"/>
                      <a:pt x="330" y="52"/>
                    </a:cubicBezTo>
                    <a:cubicBezTo>
                      <a:pt x="327" y="54"/>
                      <a:pt x="323" y="55"/>
                      <a:pt x="319" y="57"/>
                    </a:cubicBezTo>
                    <a:cubicBezTo>
                      <a:pt x="316" y="58"/>
                      <a:pt x="316" y="58"/>
                      <a:pt x="316" y="58"/>
                    </a:cubicBezTo>
                    <a:cubicBezTo>
                      <a:pt x="316" y="58"/>
                      <a:pt x="315" y="58"/>
                      <a:pt x="314" y="58"/>
                    </a:cubicBezTo>
                    <a:cubicBezTo>
                      <a:pt x="314" y="58"/>
                      <a:pt x="314" y="58"/>
                      <a:pt x="314" y="58"/>
                    </a:cubicBezTo>
                    <a:cubicBezTo>
                      <a:pt x="313" y="58"/>
                      <a:pt x="313" y="58"/>
                      <a:pt x="312" y="58"/>
                    </a:cubicBezTo>
                    <a:cubicBezTo>
                      <a:pt x="309" y="56"/>
                      <a:pt x="308" y="54"/>
                      <a:pt x="307" y="52"/>
                    </a:cubicBezTo>
                    <a:cubicBezTo>
                      <a:pt x="307" y="51"/>
                      <a:pt x="306" y="51"/>
                      <a:pt x="306" y="50"/>
                    </a:cubicBezTo>
                    <a:cubicBezTo>
                      <a:pt x="306" y="50"/>
                      <a:pt x="306" y="50"/>
                      <a:pt x="306" y="50"/>
                    </a:cubicBezTo>
                    <a:cubicBezTo>
                      <a:pt x="305" y="48"/>
                      <a:pt x="304" y="45"/>
                      <a:pt x="304" y="43"/>
                    </a:cubicBezTo>
                    <a:cubicBezTo>
                      <a:pt x="304" y="42"/>
                      <a:pt x="304" y="41"/>
                      <a:pt x="304" y="40"/>
                    </a:cubicBezTo>
                    <a:cubicBezTo>
                      <a:pt x="305" y="39"/>
                      <a:pt x="305" y="38"/>
                      <a:pt x="305" y="37"/>
                    </a:cubicBezTo>
                    <a:cubicBezTo>
                      <a:pt x="305" y="36"/>
                      <a:pt x="305" y="36"/>
                      <a:pt x="305" y="36"/>
                    </a:cubicBezTo>
                    <a:cubicBezTo>
                      <a:pt x="306" y="33"/>
                      <a:pt x="307" y="29"/>
                      <a:pt x="307" y="24"/>
                    </a:cubicBezTo>
                    <a:cubicBezTo>
                      <a:pt x="307" y="22"/>
                      <a:pt x="307" y="19"/>
                      <a:pt x="308" y="17"/>
                    </a:cubicBezTo>
                    <a:cubicBezTo>
                      <a:pt x="307" y="16"/>
                      <a:pt x="305" y="16"/>
                      <a:pt x="305" y="16"/>
                    </a:cubicBezTo>
                    <a:cubicBezTo>
                      <a:pt x="304" y="16"/>
                      <a:pt x="304" y="16"/>
                      <a:pt x="304" y="16"/>
                    </a:cubicBezTo>
                    <a:cubicBezTo>
                      <a:pt x="303" y="16"/>
                      <a:pt x="303" y="16"/>
                      <a:pt x="302" y="16"/>
                    </a:cubicBezTo>
                    <a:cubicBezTo>
                      <a:pt x="298" y="15"/>
                      <a:pt x="298" y="15"/>
                      <a:pt x="298" y="15"/>
                    </a:cubicBezTo>
                    <a:cubicBezTo>
                      <a:pt x="300" y="10"/>
                      <a:pt x="300" y="10"/>
                      <a:pt x="300" y="10"/>
                    </a:cubicBezTo>
                    <a:cubicBezTo>
                      <a:pt x="300" y="9"/>
                      <a:pt x="301" y="9"/>
                      <a:pt x="301" y="8"/>
                    </a:cubicBezTo>
                    <a:cubicBezTo>
                      <a:pt x="300" y="8"/>
                      <a:pt x="300" y="8"/>
                      <a:pt x="300" y="8"/>
                    </a:cubicBezTo>
                    <a:cubicBezTo>
                      <a:pt x="300" y="7"/>
                      <a:pt x="300" y="6"/>
                      <a:pt x="299" y="6"/>
                    </a:cubicBezTo>
                    <a:cubicBezTo>
                      <a:pt x="299" y="5"/>
                      <a:pt x="299" y="5"/>
                      <a:pt x="299" y="5"/>
                    </a:cubicBezTo>
                    <a:cubicBezTo>
                      <a:pt x="292" y="11"/>
                      <a:pt x="292" y="11"/>
                      <a:pt x="292" y="11"/>
                    </a:cubicBezTo>
                    <a:cubicBezTo>
                      <a:pt x="297" y="3"/>
                      <a:pt x="297" y="3"/>
                      <a:pt x="297" y="3"/>
                    </a:cubicBezTo>
                    <a:cubicBezTo>
                      <a:pt x="297" y="3"/>
                      <a:pt x="296" y="2"/>
                      <a:pt x="296" y="2"/>
                    </a:cubicBezTo>
                    <a:cubicBezTo>
                      <a:pt x="295" y="1"/>
                      <a:pt x="294" y="1"/>
                      <a:pt x="29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14" name="Freeform 342">
                <a:extLst>
                  <a:ext uri="{FF2B5EF4-FFF2-40B4-BE49-F238E27FC236}">
                    <a16:creationId xmlns:a16="http://schemas.microsoft.com/office/drawing/2014/main" id="{F27CD6C6-19E2-4B91-BE0A-3AEF95ADDFA4}"/>
                  </a:ext>
                </a:extLst>
              </p:cNvPr>
              <p:cNvSpPr>
                <a:spLocks noEditPoints="1"/>
              </p:cNvSpPr>
              <p:nvPr/>
            </p:nvSpPr>
            <p:spPr bwMode="auto">
              <a:xfrm>
                <a:off x="8343102" y="5148107"/>
                <a:ext cx="1709894" cy="1459306"/>
              </a:xfrm>
              <a:custGeom>
                <a:avLst/>
                <a:gdLst>
                  <a:gd name="T0" fmla="*/ 136 w 539"/>
                  <a:gd name="T1" fmla="*/ 298 h 459"/>
                  <a:gd name="T2" fmla="*/ 8 w 539"/>
                  <a:gd name="T3" fmla="*/ 38 h 459"/>
                  <a:gd name="T4" fmla="*/ 15 w 539"/>
                  <a:gd name="T5" fmla="*/ 61 h 459"/>
                  <a:gd name="T6" fmla="*/ 21 w 539"/>
                  <a:gd name="T7" fmla="*/ 82 h 459"/>
                  <a:gd name="T8" fmla="*/ 26 w 539"/>
                  <a:gd name="T9" fmla="*/ 93 h 459"/>
                  <a:gd name="T10" fmla="*/ 33 w 539"/>
                  <a:gd name="T11" fmla="*/ 105 h 459"/>
                  <a:gd name="T12" fmla="*/ 47 w 539"/>
                  <a:gd name="T13" fmla="*/ 122 h 459"/>
                  <a:gd name="T14" fmla="*/ 63 w 539"/>
                  <a:gd name="T15" fmla="*/ 129 h 459"/>
                  <a:gd name="T16" fmla="*/ 60 w 539"/>
                  <a:gd name="T17" fmla="*/ 145 h 459"/>
                  <a:gd name="T18" fmla="*/ 47 w 539"/>
                  <a:gd name="T19" fmla="*/ 167 h 459"/>
                  <a:gd name="T20" fmla="*/ 39 w 539"/>
                  <a:gd name="T21" fmla="*/ 184 h 459"/>
                  <a:gd name="T22" fmla="*/ 48 w 539"/>
                  <a:gd name="T23" fmla="*/ 193 h 459"/>
                  <a:gd name="T24" fmla="*/ 58 w 539"/>
                  <a:gd name="T25" fmla="*/ 213 h 459"/>
                  <a:gd name="T26" fmla="*/ 94 w 539"/>
                  <a:gd name="T27" fmla="*/ 232 h 459"/>
                  <a:gd name="T28" fmla="*/ 107 w 539"/>
                  <a:gd name="T29" fmla="*/ 259 h 459"/>
                  <a:gd name="T30" fmla="*/ 112 w 539"/>
                  <a:gd name="T31" fmla="*/ 277 h 459"/>
                  <a:gd name="T32" fmla="*/ 123 w 539"/>
                  <a:gd name="T33" fmla="*/ 303 h 459"/>
                  <a:gd name="T34" fmla="*/ 143 w 539"/>
                  <a:gd name="T35" fmla="*/ 301 h 459"/>
                  <a:gd name="T36" fmla="*/ 166 w 539"/>
                  <a:gd name="T37" fmla="*/ 305 h 459"/>
                  <a:gd name="T38" fmla="*/ 192 w 539"/>
                  <a:gd name="T39" fmla="*/ 343 h 459"/>
                  <a:gd name="T40" fmla="*/ 216 w 539"/>
                  <a:gd name="T41" fmla="*/ 376 h 459"/>
                  <a:gd name="T42" fmla="*/ 242 w 539"/>
                  <a:gd name="T43" fmla="*/ 392 h 459"/>
                  <a:gd name="T44" fmla="*/ 277 w 539"/>
                  <a:gd name="T45" fmla="*/ 413 h 459"/>
                  <a:gd name="T46" fmla="*/ 334 w 539"/>
                  <a:gd name="T47" fmla="*/ 399 h 459"/>
                  <a:gd name="T48" fmla="*/ 368 w 539"/>
                  <a:gd name="T49" fmla="*/ 424 h 459"/>
                  <a:gd name="T50" fmla="*/ 414 w 539"/>
                  <a:gd name="T51" fmla="*/ 446 h 459"/>
                  <a:gd name="T52" fmla="*/ 449 w 539"/>
                  <a:gd name="T53" fmla="*/ 450 h 459"/>
                  <a:gd name="T54" fmla="*/ 485 w 539"/>
                  <a:gd name="T55" fmla="*/ 459 h 459"/>
                  <a:gd name="T56" fmla="*/ 498 w 539"/>
                  <a:gd name="T57" fmla="*/ 431 h 459"/>
                  <a:gd name="T58" fmla="*/ 536 w 539"/>
                  <a:gd name="T59" fmla="*/ 411 h 459"/>
                  <a:gd name="T60" fmla="*/ 525 w 539"/>
                  <a:gd name="T61" fmla="*/ 393 h 459"/>
                  <a:gd name="T62" fmla="*/ 515 w 539"/>
                  <a:gd name="T63" fmla="*/ 364 h 459"/>
                  <a:gd name="T64" fmla="*/ 466 w 539"/>
                  <a:gd name="T65" fmla="*/ 316 h 459"/>
                  <a:gd name="T66" fmla="*/ 491 w 539"/>
                  <a:gd name="T67" fmla="*/ 289 h 459"/>
                  <a:gd name="T68" fmla="*/ 470 w 539"/>
                  <a:gd name="T69" fmla="*/ 263 h 459"/>
                  <a:gd name="T70" fmla="*/ 469 w 539"/>
                  <a:gd name="T71" fmla="*/ 234 h 459"/>
                  <a:gd name="T72" fmla="*/ 461 w 539"/>
                  <a:gd name="T73" fmla="*/ 192 h 459"/>
                  <a:gd name="T74" fmla="*/ 472 w 539"/>
                  <a:gd name="T75" fmla="*/ 160 h 459"/>
                  <a:gd name="T76" fmla="*/ 484 w 539"/>
                  <a:gd name="T77" fmla="*/ 134 h 459"/>
                  <a:gd name="T78" fmla="*/ 479 w 539"/>
                  <a:gd name="T79" fmla="*/ 109 h 459"/>
                  <a:gd name="T80" fmla="*/ 463 w 539"/>
                  <a:gd name="T81" fmla="*/ 102 h 459"/>
                  <a:gd name="T82" fmla="*/ 448 w 539"/>
                  <a:gd name="T83" fmla="*/ 89 h 459"/>
                  <a:gd name="T84" fmla="*/ 430 w 539"/>
                  <a:gd name="T85" fmla="*/ 74 h 459"/>
                  <a:gd name="T86" fmla="*/ 403 w 539"/>
                  <a:gd name="T87" fmla="*/ 69 h 459"/>
                  <a:gd name="T88" fmla="*/ 377 w 539"/>
                  <a:gd name="T89" fmla="*/ 59 h 459"/>
                  <a:gd name="T90" fmla="*/ 359 w 539"/>
                  <a:gd name="T91" fmla="*/ 48 h 459"/>
                  <a:gd name="T92" fmla="*/ 339 w 539"/>
                  <a:gd name="T93" fmla="*/ 60 h 459"/>
                  <a:gd name="T94" fmla="*/ 268 w 539"/>
                  <a:gd name="T95" fmla="*/ 91 h 459"/>
                  <a:gd name="T96" fmla="*/ 215 w 539"/>
                  <a:gd name="T97" fmla="*/ 99 h 459"/>
                  <a:gd name="T98" fmla="*/ 171 w 539"/>
                  <a:gd name="T99" fmla="*/ 77 h 459"/>
                  <a:gd name="T100" fmla="*/ 134 w 539"/>
                  <a:gd name="T101" fmla="*/ 43 h 459"/>
                  <a:gd name="T102" fmla="*/ 125 w 539"/>
                  <a:gd name="T103" fmla="*/ 44 h 459"/>
                  <a:gd name="T104" fmla="*/ 103 w 539"/>
                  <a:gd name="T105" fmla="*/ 25 h 459"/>
                  <a:gd name="T106" fmla="*/ 101 w 539"/>
                  <a:gd name="T107" fmla="*/ 4 h 459"/>
                  <a:gd name="T108" fmla="*/ 69 w 539"/>
                  <a:gd name="T109" fmla="*/ 28 h 459"/>
                  <a:gd name="T110" fmla="*/ 60 w 539"/>
                  <a:gd name="T111" fmla="*/ 29 h 459"/>
                  <a:gd name="T112" fmla="*/ 16 w 539"/>
                  <a:gd name="T113" fmla="*/ 4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9" h="459">
                    <a:moveTo>
                      <a:pt x="136" y="298"/>
                    </a:moveTo>
                    <a:cubicBezTo>
                      <a:pt x="138" y="297"/>
                      <a:pt x="137" y="295"/>
                      <a:pt x="136" y="294"/>
                    </a:cubicBezTo>
                    <a:cubicBezTo>
                      <a:pt x="136" y="294"/>
                      <a:pt x="138" y="294"/>
                      <a:pt x="139" y="294"/>
                    </a:cubicBezTo>
                    <a:cubicBezTo>
                      <a:pt x="140" y="294"/>
                      <a:pt x="141" y="294"/>
                      <a:pt x="142" y="294"/>
                    </a:cubicBezTo>
                    <a:cubicBezTo>
                      <a:pt x="143" y="295"/>
                      <a:pt x="144" y="295"/>
                      <a:pt x="144" y="297"/>
                    </a:cubicBezTo>
                    <a:cubicBezTo>
                      <a:pt x="144" y="298"/>
                      <a:pt x="143" y="298"/>
                      <a:pt x="142" y="298"/>
                    </a:cubicBezTo>
                    <a:cubicBezTo>
                      <a:pt x="141" y="298"/>
                      <a:pt x="139" y="298"/>
                      <a:pt x="138" y="298"/>
                    </a:cubicBezTo>
                    <a:cubicBezTo>
                      <a:pt x="138" y="298"/>
                      <a:pt x="137" y="298"/>
                      <a:pt x="137" y="298"/>
                    </a:cubicBezTo>
                    <a:cubicBezTo>
                      <a:pt x="137" y="298"/>
                      <a:pt x="137" y="298"/>
                      <a:pt x="136" y="298"/>
                    </a:cubicBezTo>
                    <a:moveTo>
                      <a:pt x="12" y="0"/>
                    </a:moveTo>
                    <a:cubicBezTo>
                      <a:pt x="11" y="0"/>
                      <a:pt x="11" y="0"/>
                      <a:pt x="11" y="0"/>
                    </a:cubicBezTo>
                    <a:cubicBezTo>
                      <a:pt x="11" y="0"/>
                      <a:pt x="11" y="0"/>
                      <a:pt x="11" y="0"/>
                    </a:cubicBezTo>
                    <a:cubicBezTo>
                      <a:pt x="12" y="7"/>
                      <a:pt x="9" y="10"/>
                      <a:pt x="7" y="10"/>
                    </a:cubicBezTo>
                    <a:cubicBezTo>
                      <a:pt x="5" y="11"/>
                      <a:pt x="3" y="11"/>
                      <a:pt x="0" y="12"/>
                    </a:cubicBezTo>
                    <a:cubicBezTo>
                      <a:pt x="1" y="13"/>
                      <a:pt x="1" y="13"/>
                      <a:pt x="1" y="13"/>
                    </a:cubicBezTo>
                    <a:cubicBezTo>
                      <a:pt x="1" y="15"/>
                      <a:pt x="1" y="16"/>
                      <a:pt x="2" y="17"/>
                    </a:cubicBezTo>
                    <a:cubicBezTo>
                      <a:pt x="3" y="20"/>
                      <a:pt x="4" y="22"/>
                      <a:pt x="5" y="24"/>
                    </a:cubicBezTo>
                    <a:cubicBezTo>
                      <a:pt x="8" y="26"/>
                      <a:pt x="8" y="33"/>
                      <a:pt x="8" y="38"/>
                    </a:cubicBezTo>
                    <a:cubicBezTo>
                      <a:pt x="9" y="38"/>
                      <a:pt x="10" y="39"/>
                      <a:pt x="11" y="40"/>
                    </a:cubicBezTo>
                    <a:cubicBezTo>
                      <a:pt x="13" y="43"/>
                      <a:pt x="11" y="48"/>
                      <a:pt x="10" y="50"/>
                    </a:cubicBezTo>
                    <a:cubicBezTo>
                      <a:pt x="8" y="51"/>
                      <a:pt x="6" y="54"/>
                      <a:pt x="6" y="54"/>
                    </a:cubicBezTo>
                    <a:cubicBezTo>
                      <a:pt x="6" y="54"/>
                      <a:pt x="6" y="54"/>
                      <a:pt x="6" y="54"/>
                    </a:cubicBezTo>
                    <a:cubicBezTo>
                      <a:pt x="6" y="54"/>
                      <a:pt x="6" y="54"/>
                      <a:pt x="6" y="54"/>
                    </a:cubicBezTo>
                    <a:cubicBezTo>
                      <a:pt x="7" y="55"/>
                      <a:pt x="8" y="56"/>
                      <a:pt x="9" y="57"/>
                    </a:cubicBezTo>
                    <a:cubicBezTo>
                      <a:pt x="10" y="57"/>
                      <a:pt x="12" y="58"/>
                      <a:pt x="13" y="59"/>
                    </a:cubicBezTo>
                    <a:cubicBezTo>
                      <a:pt x="13" y="59"/>
                      <a:pt x="14" y="60"/>
                      <a:pt x="14" y="60"/>
                    </a:cubicBezTo>
                    <a:cubicBezTo>
                      <a:pt x="14" y="60"/>
                      <a:pt x="15" y="60"/>
                      <a:pt x="15" y="61"/>
                    </a:cubicBezTo>
                    <a:cubicBezTo>
                      <a:pt x="16" y="62"/>
                      <a:pt x="16" y="64"/>
                      <a:pt x="16" y="65"/>
                    </a:cubicBezTo>
                    <a:cubicBezTo>
                      <a:pt x="16" y="66"/>
                      <a:pt x="16" y="66"/>
                      <a:pt x="15" y="67"/>
                    </a:cubicBezTo>
                    <a:cubicBezTo>
                      <a:pt x="15" y="68"/>
                      <a:pt x="15" y="68"/>
                      <a:pt x="15" y="68"/>
                    </a:cubicBezTo>
                    <a:cubicBezTo>
                      <a:pt x="15" y="68"/>
                      <a:pt x="15" y="69"/>
                      <a:pt x="15" y="70"/>
                    </a:cubicBezTo>
                    <a:cubicBezTo>
                      <a:pt x="15" y="70"/>
                      <a:pt x="16" y="71"/>
                      <a:pt x="16" y="71"/>
                    </a:cubicBezTo>
                    <a:cubicBezTo>
                      <a:pt x="18" y="72"/>
                      <a:pt x="20" y="73"/>
                      <a:pt x="21" y="75"/>
                    </a:cubicBezTo>
                    <a:cubicBezTo>
                      <a:pt x="21" y="76"/>
                      <a:pt x="21" y="76"/>
                      <a:pt x="21" y="76"/>
                    </a:cubicBezTo>
                    <a:cubicBezTo>
                      <a:pt x="22" y="78"/>
                      <a:pt x="21" y="80"/>
                      <a:pt x="21" y="81"/>
                    </a:cubicBezTo>
                    <a:cubicBezTo>
                      <a:pt x="21" y="82"/>
                      <a:pt x="21" y="82"/>
                      <a:pt x="21" y="82"/>
                    </a:cubicBezTo>
                    <a:cubicBezTo>
                      <a:pt x="21" y="82"/>
                      <a:pt x="22" y="83"/>
                      <a:pt x="22" y="85"/>
                    </a:cubicBezTo>
                    <a:cubicBezTo>
                      <a:pt x="24" y="87"/>
                      <a:pt x="24" y="88"/>
                      <a:pt x="24" y="89"/>
                    </a:cubicBezTo>
                    <a:cubicBezTo>
                      <a:pt x="24" y="89"/>
                      <a:pt x="24" y="90"/>
                      <a:pt x="23" y="91"/>
                    </a:cubicBezTo>
                    <a:cubicBezTo>
                      <a:pt x="23" y="91"/>
                      <a:pt x="23" y="91"/>
                      <a:pt x="23" y="91"/>
                    </a:cubicBezTo>
                    <a:cubicBezTo>
                      <a:pt x="24" y="91"/>
                      <a:pt x="24" y="91"/>
                      <a:pt x="24" y="91"/>
                    </a:cubicBezTo>
                    <a:cubicBezTo>
                      <a:pt x="24" y="90"/>
                      <a:pt x="24" y="90"/>
                      <a:pt x="24" y="90"/>
                    </a:cubicBezTo>
                    <a:cubicBezTo>
                      <a:pt x="24" y="92"/>
                      <a:pt x="24" y="92"/>
                      <a:pt x="24" y="92"/>
                    </a:cubicBezTo>
                    <a:cubicBezTo>
                      <a:pt x="25" y="92"/>
                      <a:pt x="25" y="92"/>
                      <a:pt x="25" y="92"/>
                    </a:cubicBezTo>
                    <a:cubicBezTo>
                      <a:pt x="26" y="93"/>
                      <a:pt x="26" y="93"/>
                      <a:pt x="26" y="93"/>
                    </a:cubicBezTo>
                    <a:cubicBezTo>
                      <a:pt x="28" y="94"/>
                      <a:pt x="28" y="96"/>
                      <a:pt x="28" y="97"/>
                    </a:cubicBezTo>
                    <a:cubicBezTo>
                      <a:pt x="28" y="98"/>
                      <a:pt x="28" y="99"/>
                      <a:pt x="28" y="100"/>
                    </a:cubicBezTo>
                    <a:cubicBezTo>
                      <a:pt x="28" y="100"/>
                      <a:pt x="28" y="100"/>
                      <a:pt x="28" y="100"/>
                    </a:cubicBezTo>
                    <a:cubicBezTo>
                      <a:pt x="28" y="100"/>
                      <a:pt x="28" y="100"/>
                      <a:pt x="28" y="100"/>
                    </a:cubicBezTo>
                    <a:cubicBezTo>
                      <a:pt x="29" y="101"/>
                      <a:pt x="29" y="101"/>
                      <a:pt x="29" y="101"/>
                    </a:cubicBezTo>
                    <a:cubicBezTo>
                      <a:pt x="29" y="101"/>
                      <a:pt x="31" y="102"/>
                      <a:pt x="32" y="103"/>
                    </a:cubicBezTo>
                    <a:cubicBezTo>
                      <a:pt x="38" y="102"/>
                      <a:pt x="38" y="102"/>
                      <a:pt x="38" y="102"/>
                    </a:cubicBezTo>
                    <a:cubicBezTo>
                      <a:pt x="33" y="105"/>
                      <a:pt x="33" y="105"/>
                      <a:pt x="33" y="105"/>
                    </a:cubicBezTo>
                    <a:cubicBezTo>
                      <a:pt x="33" y="105"/>
                      <a:pt x="33" y="105"/>
                      <a:pt x="33" y="105"/>
                    </a:cubicBezTo>
                    <a:cubicBezTo>
                      <a:pt x="33" y="105"/>
                      <a:pt x="34" y="106"/>
                      <a:pt x="34" y="106"/>
                    </a:cubicBezTo>
                    <a:cubicBezTo>
                      <a:pt x="35" y="109"/>
                      <a:pt x="35" y="111"/>
                      <a:pt x="36" y="114"/>
                    </a:cubicBezTo>
                    <a:cubicBezTo>
                      <a:pt x="36" y="116"/>
                      <a:pt x="36" y="116"/>
                      <a:pt x="36" y="116"/>
                    </a:cubicBezTo>
                    <a:cubicBezTo>
                      <a:pt x="36" y="116"/>
                      <a:pt x="37" y="115"/>
                      <a:pt x="37" y="115"/>
                    </a:cubicBezTo>
                    <a:cubicBezTo>
                      <a:pt x="37" y="115"/>
                      <a:pt x="38" y="116"/>
                      <a:pt x="39" y="116"/>
                    </a:cubicBezTo>
                    <a:cubicBezTo>
                      <a:pt x="40" y="116"/>
                      <a:pt x="41" y="117"/>
                      <a:pt x="42" y="118"/>
                    </a:cubicBezTo>
                    <a:cubicBezTo>
                      <a:pt x="44" y="119"/>
                      <a:pt x="45" y="120"/>
                      <a:pt x="46" y="121"/>
                    </a:cubicBezTo>
                    <a:cubicBezTo>
                      <a:pt x="46" y="121"/>
                      <a:pt x="46" y="122"/>
                      <a:pt x="47" y="122"/>
                    </a:cubicBezTo>
                    <a:cubicBezTo>
                      <a:pt x="47" y="122"/>
                      <a:pt x="47" y="122"/>
                      <a:pt x="47" y="122"/>
                    </a:cubicBezTo>
                    <a:cubicBezTo>
                      <a:pt x="48" y="122"/>
                      <a:pt x="49" y="121"/>
                      <a:pt x="50" y="121"/>
                    </a:cubicBezTo>
                    <a:cubicBezTo>
                      <a:pt x="51" y="121"/>
                      <a:pt x="51" y="121"/>
                      <a:pt x="51" y="121"/>
                    </a:cubicBezTo>
                    <a:cubicBezTo>
                      <a:pt x="52" y="121"/>
                      <a:pt x="52" y="121"/>
                      <a:pt x="52" y="121"/>
                    </a:cubicBezTo>
                    <a:cubicBezTo>
                      <a:pt x="53" y="121"/>
                      <a:pt x="53" y="121"/>
                      <a:pt x="53" y="121"/>
                    </a:cubicBezTo>
                    <a:cubicBezTo>
                      <a:pt x="53" y="121"/>
                      <a:pt x="54" y="121"/>
                      <a:pt x="54" y="121"/>
                    </a:cubicBezTo>
                    <a:cubicBezTo>
                      <a:pt x="56" y="121"/>
                      <a:pt x="57" y="121"/>
                      <a:pt x="59" y="122"/>
                    </a:cubicBezTo>
                    <a:cubicBezTo>
                      <a:pt x="59" y="122"/>
                      <a:pt x="60" y="122"/>
                      <a:pt x="60" y="122"/>
                    </a:cubicBezTo>
                    <a:cubicBezTo>
                      <a:pt x="71" y="125"/>
                      <a:pt x="71" y="125"/>
                      <a:pt x="71" y="125"/>
                    </a:cubicBezTo>
                    <a:cubicBezTo>
                      <a:pt x="63" y="129"/>
                      <a:pt x="63" y="129"/>
                      <a:pt x="63" y="129"/>
                    </a:cubicBezTo>
                    <a:cubicBezTo>
                      <a:pt x="62" y="130"/>
                      <a:pt x="61" y="130"/>
                      <a:pt x="60" y="130"/>
                    </a:cubicBezTo>
                    <a:cubicBezTo>
                      <a:pt x="57" y="131"/>
                      <a:pt x="56" y="132"/>
                      <a:pt x="56" y="132"/>
                    </a:cubicBezTo>
                    <a:cubicBezTo>
                      <a:pt x="56" y="132"/>
                      <a:pt x="56" y="132"/>
                      <a:pt x="56" y="132"/>
                    </a:cubicBezTo>
                    <a:cubicBezTo>
                      <a:pt x="56" y="133"/>
                      <a:pt x="56" y="133"/>
                      <a:pt x="56" y="134"/>
                    </a:cubicBezTo>
                    <a:cubicBezTo>
                      <a:pt x="56" y="135"/>
                      <a:pt x="56" y="135"/>
                      <a:pt x="56" y="135"/>
                    </a:cubicBezTo>
                    <a:cubicBezTo>
                      <a:pt x="56" y="135"/>
                      <a:pt x="56" y="135"/>
                      <a:pt x="56" y="136"/>
                    </a:cubicBezTo>
                    <a:cubicBezTo>
                      <a:pt x="56" y="137"/>
                      <a:pt x="56" y="137"/>
                      <a:pt x="57" y="137"/>
                    </a:cubicBezTo>
                    <a:cubicBezTo>
                      <a:pt x="57" y="138"/>
                      <a:pt x="57" y="138"/>
                      <a:pt x="57" y="138"/>
                    </a:cubicBezTo>
                    <a:cubicBezTo>
                      <a:pt x="58" y="140"/>
                      <a:pt x="60" y="142"/>
                      <a:pt x="60" y="145"/>
                    </a:cubicBezTo>
                    <a:cubicBezTo>
                      <a:pt x="60" y="146"/>
                      <a:pt x="60" y="147"/>
                      <a:pt x="60" y="147"/>
                    </a:cubicBezTo>
                    <a:cubicBezTo>
                      <a:pt x="60" y="148"/>
                      <a:pt x="60" y="148"/>
                      <a:pt x="60" y="148"/>
                    </a:cubicBezTo>
                    <a:cubicBezTo>
                      <a:pt x="60" y="151"/>
                      <a:pt x="60" y="151"/>
                      <a:pt x="60" y="151"/>
                    </a:cubicBezTo>
                    <a:cubicBezTo>
                      <a:pt x="57" y="151"/>
                      <a:pt x="57" y="151"/>
                      <a:pt x="57" y="151"/>
                    </a:cubicBezTo>
                    <a:cubicBezTo>
                      <a:pt x="56" y="152"/>
                      <a:pt x="55" y="152"/>
                      <a:pt x="54" y="152"/>
                    </a:cubicBezTo>
                    <a:cubicBezTo>
                      <a:pt x="53" y="153"/>
                      <a:pt x="52" y="153"/>
                      <a:pt x="51" y="153"/>
                    </a:cubicBezTo>
                    <a:cubicBezTo>
                      <a:pt x="49" y="156"/>
                      <a:pt x="48" y="158"/>
                      <a:pt x="48" y="161"/>
                    </a:cubicBezTo>
                    <a:cubicBezTo>
                      <a:pt x="48" y="163"/>
                      <a:pt x="48" y="163"/>
                      <a:pt x="48" y="163"/>
                    </a:cubicBezTo>
                    <a:cubicBezTo>
                      <a:pt x="47" y="165"/>
                      <a:pt x="47" y="166"/>
                      <a:pt x="47" y="167"/>
                    </a:cubicBezTo>
                    <a:cubicBezTo>
                      <a:pt x="46" y="168"/>
                      <a:pt x="45" y="169"/>
                      <a:pt x="43" y="169"/>
                    </a:cubicBezTo>
                    <a:cubicBezTo>
                      <a:pt x="42" y="169"/>
                      <a:pt x="42" y="169"/>
                      <a:pt x="41" y="169"/>
                    </a:cubicBezTo>
                    <a:cubicBezTo>
                      <a:pt x="41" y="169"/>
                      <a:pt x="41" y="169"/>
                      <a:pt x="41" y="169"/>
                    </a:cubicBezTo>
                    <a:cubicBezTo>
                      <a:pt x="41" y="169"/>
                      <a:pt x="41" y="169"/>
                      <a:pt x="41" y="169"/>
                    </a:cubicBezTo>
                    <a:cubicBezTo>
                      <a:pt x="41" y="170"/>
                      <a:pt x="42" y="170"/>
                      <a:pt x="42" y="171"/>
                    </a:cubicBezTo>
                    <a:cubicBezTo>
                      <a:pt x="43" y="172"/>
                      <a:pt x="43" y="174"/>
                      <a:pt x="43" y="176"/>
                    </a:cubicBezTo>
                    <a:cubicBezTo>
                      <a:pt x="42" y="176"/>
                      <a:pt x="42" y="177"/>
                      <a:pt x="42" y="177"/>
                    </a:cubicBezTo>
                    <a:cubicBezTo>
                      <a:pt x="41" y="179"/>
                      <a:pt x="41" y="179"/>
                      <a:pt x="41" y="179"/>
                    </a:cubicBezTo>
                    <a:cubicBezTo>
                      <a:pt x="41" y="180"/>
                      <a:pt x="40" y="182"/>
                      <a:pt x="39" y="184"/>
                    </a:cubicBezTo>
                    <a:cubicBezTo>
                      <a:pt x="39" y="184"/>
                      <a:pt x="39" y="184"/>
                      <a:pt x="39" y="184"/>
                    </a:cubicBezTo>
                    <a:cubicBezTo>
                      <a:pt x="47" y="184"/>
                      <a:pt x="47" y="184"/>
                      <a:pt x="47" y="184"/>
                    </a:cubicBezTo>
                    <a:cubicBezTo>
                      <a:pt x="43" y="189"/>
                      <a:pt x="43" y="189"/>
                      <a:pt x="43" y="189"/>
                    </a:cubicBezTo>
                    <a:cubicBezTo>
                      <a:pt x="45" y="191"/>
                      <a:pt x="45" y="191"/>
                      <a:pt x="45" y="191"/>
                    </a:cubicBezTo>
                    <a:cubicBezTo>
                      <a:pt x="50" y="186"/>
                      <a:pt x="50" y="186"/>
                      <a:pt x="50" y="186"/>
                    </a:cubicBezTo>
                    <a:cubicBezTo>
                      <a:pt x="46" y="192"/>
                      <a:pt x="46" y="192"/>
                      <a:pt x="46" y="192"/>
                    </a:cubicBezTo>
                    <a:cubicBezTo>
                      <a:pt x="46" y="192"/>
                      <a:pt x="46" y="192"/>
                      <a:pt x="46" y="192"/>
                    </a:cubicBezTo>
                    <a:cubicBezTo>
                      <a:pt x="47" y="193"/>
                      <a:pt x="47" y="193"/>
                      <a:pt x="47" y="193"/>
                    </a:cubicBezTo>
                    <a:cubicBezTo>
                      <a:pt x="48" y="193"/>
                      <a:pt x="48" y="193"/>
                      <a:pt x="48" y="193"/>
                    </a:cubicBezTo>
                    <a:cubicBezTo>
                      <a:pt x="49" y="193"/>
                      <a:pt x="51" y="194"/>
                      <a:pt x="53" y="196"/>
                    </a:cubicBezTo>
                    <a:cubicBezTo>
                      <a:pt x="53" y="196"/>
                      <a:pt x="53" y="197"/>
                      <a:pt x="54" y="197"/>
                    </a:cubicBezTo>
                    <a:cubicBezTo>
                      <a:pt x="54" y="199"/>
                      <a:pt x="54" y="200"/>
                      <a:pt x="54" y="201"/>
                    </a:cubicBezTo>
                    <a:cubicBezTo>
                      <a:pt x="54" y="202"/>
                      <a:pt x="54" y="203"/>
                      <a:pt x="54" y="203"/>
                    </a:cubicBezTo>
                    <a:cubicBezTo>
                      <a:pt x="54" y="204"/>
                      <a:pt x="55" y="205"/>
                      <a:pt x="55" y="206"/>
                    </a:cubicBezTo>
                    <a:cubicBezTo>
                      <a:pt x="55" y="207"/>
                      <a:pt x="55" y="207"/>
                      <a:pt x="55" y="207"/>
                    </a:cubicBezTo>
                    <a:cubicBezTo>
                      <a:pt x="55" y="209"/>
                      <a:pt x="56" y="211"/>
                      <a:pt x="56" y="212"/>
                    </a:cubicBezTo>
                    <a:cubicBezTo>
                      <a:pt x="57" y="213"/>
                      <a:pt x="57" y="213"/>
                      <a:pt x="57" y="213"/>
                    </a:cubicBezTo>
                    <a:cubicBezTo>
                      <a:pt x="58" y="213"/>
                      <a:pt x="58" y="213"/>
                      <a:pt x="58" y="213"/>
                    </a:cubicBezTo>
                    <a:cubicBezTo>
                      <a:pt x="59" y="213"/>
                      <a:pt x="59" y="213"/>
                      <a:pt x="60" y="213"/>
                    </a:cubicBezTo>
                    <a:cubicBezTo>
                      <a:pt x="62" y="214"/>
                      <a:pt x="63" y="214"/>
                      <a:pt x="65" y="215"/>
                    </a:cubicBezTo>
                    <a:cubicBezTo>
                      <a:pt x="67" y="216"/>
                      <a:pt x="69" y="217"/>
                      <a:pt x="71" y="218"/>
                    </a:cubicBezTo>
                    <a:cubicBezTo>
                      <a:pt x="84" y="228"/>
                      <a:pt x="84" y="228"/>
                      <a:pt x="84" y="228"/>
                    </a:cubicBezTo>
                    <a:cubicBezTo>
                      <a:pt x="84" y="228"/>
                      <a:pt x="84" y="228"/>
                      <a:pt x="84" y="229"/>
                    </a:cubicBezTo>
                    <a:cubicBezTo>
                      <a:pt x="85" y="228"/>
                      <a:pt x="85" y="228"/>
                      <a:pt x="85" y="228"/>
                    </a:cubicBezTo>
                    <a:cubicBezTo>
                      <a:pt x="85" y="228"/>
                      <a:pt x="86" y="228"/>
                      <a:pt x="87" y="228"/>
                    </a:cubicBezTo>
                    <a:cubicBezTo>
                      <a:pt x="87" y="228"/>
                      <a:pt x="88" y="228"/>
                      <a:pt x="89" y="229"/>
                    </a:cubicBezTo>
                    <a:cubicBezTo>
                      <a:pt x="91" y="229"/>
                      <a:pt x="92" y="230"/>
                      <a:pt x="94" y="232"/>
                    </a:cubicBezTo>
                    <a:cubicBezTo>
                      <a:pt x="96" y="234"/>
                      <a:pt x="98" y="237"/>
                      <a:pt x="99" y="239"/>
                    </a:cubicBezTo>
                    <a:cubicBezTo>
                      <a:pt x="100" y="241"/>
                      <a:pt x="100" y="241"/>
                      <a:pt x="100" y="241"/>
                    </a:cubicBezTo>
                    <a:cubicBezTo>
                      <a:pt x="101" y="242"/>
                      <a:pt x="102" y="244"/>
                      <a:pt x="103" y="245"/>
                    </a:cubicBezTo>
                    <a:cubicBezTo>
                      <a:pt x="106" y="249"/>
                      <a:pt x="107" y="252"/>
                      <a:pt x="108" y="254"/>
                    </a:cubicBezTo>
                    <a:cubicBezTo>
                      <a:pt x="108" y="254"/>
                      <a:pt x="108" y="254"/>
                      <a:pt x="108" y="254"/>
                    </a:cubicBezTo>
                    <a:cubicBezTo>
                      <a:pt x="108" y="255"/>
                      <a:pt x="108" y="255"/>
                      <a:pt x="108" y="255"/>
                    </a:cubicBezTo>
                    <a:cubicBezTo>
                      <a:pt x="108" y="255"/>
                      <a:pt x="108" y="256"/>
                      <a:pt x="107" y="257"/>
                    </a:cubicBezTo>
                    <a:cubicBezTo>
                      <a:pt x="107" y="257"/>
                      <a:pt x="107" y="257"/>
                      <a:pt x="107" y="257"/>
                    </a:cubicBezTo>
                    <a:cubicBezTo>
                      <a:pt x="107" y="259"/>
                      <a:pt x="107" y="259"/>
                      <a:pt x="107" y="259"/>
                    </a:cubicBezTo>
                    <a:cubicBezTo>
                      <a:pt x="106" y="260"/>
                      <a:pt x="106" y="261"/>
                      <a:pt x="105" y="263"/>
                    </a:cubicBezTo>
                    <a:cubicBezTo>
                      <a:pt x="105" y="263"/>
                      <a:pt x="105" y="263"/>
                      <a:pt x="105" y="263"/>
                    </a:cubicBezTo>
                    <a:cubicBezTo>
                      <a:pt x="104" y="264"/>
                      <a:pt x="104" y="264"/>
                      <a:pt x="104" y="264"/>
                    </a:cubicBezTo>
                    <a:cubicBezTo>
                      <a:pt x="104" y="266"/>
                      <a:pt x="104" y="268"/>
                      <a:pt x="104" y="270"/>
                    </a:cubicBezTo>
                    <a:cubicBezTo>
                      <a:pt x="103" y="272"/>
                      <a:pt x="103" y="273"/>
                      <a:pt x="103" y="275"/>
                    </a:cubicBezTo>
                    <a:cubicBezTo>
                      <a:pt x="104" y="275"/>
                      <a:pt x="105" y="275"/>
                      <a:pt x="106" y="275"/>
                    </a:cubicBezTo>
                    <a:cubicBezTo>
                      <a:pt x="108" y="275"/>
                      <a:pt x="109" y="275"/>
                      <a:pt x="110" y="276"/>
                    </a:cubicBezTo>
                    <a:cubicBezTo>
                      <a:pt x="111" y="276"/>
                      <a:pt x="111" y="276"/>
                      <a:pt x="111" y="276"/>
                    </a:cubicBezTo>
                    <a:cubicBezTo>
                      <a:pt x="112" y="277"/>
                      <a:pt x="112" y="277"/>
                      <a:pt x="112" y="277"/>
                    </a:cubicBezTo>
                    <a:cubicBezTo>
                      <a:pt x="112" y="278"/>
                      <a:pt x="113" y="279"/>
                      <a:pt x="113" y="279"/>
                    </a:cubicBezTo>
                    <a:cubicBezTo>
                      <a:pt x="113" y="280"/>
                      <a:pt x="113" y="281"/>
                      <a:pt x="113" y="282"/>
                    </a:cubicBezTo>
                    <a:cubicBezTo>
                      <a:pt x="114" y="284"/>
                      <a:pt x="113" y="287"/>
                      <a:pt x="113" y="290"/>
                    </a:cubicBezTo>
                    <a:cubicBezTo>
                      <a:pt x="113" y="291"/>
                      <a:pt x="113" y="292"/>
                      <a:pt x="113" y="292"/>
                    </a:cubicBezTo>
                    <a:cubicBezTo>
                      <a:pt x="113" y="293"/>
                      <a:pt x="113" y="293"/>
                      <a:pt x="114" y="293"/>
                    </a:cubicBezTo>
                    <a:cubicBezTo>
                      <a:pt x="115" y="294"/>
                      <a:pt x="116" y="295"/>
                      <a:pt x="117" y="296"/>
                    </a:cubicBezTo>
                    <a:cubicBezTo>
                      <a:pt x="119" y="297"/>
                      <a:pt x="120" y="299"/>
                      <a:pt x="121" y="300"/>
                    </a:cubicBezTo>
                    <a:cubicBezTo>
                      <a:pt x="122" y="301"/>
                      <a:pt x="122" y="302"/>
                      <a:pt x="123" y="303"/>
                    </a:cubicBezTo>
                    <a:cubicBezTo>
                      <a:pt x="123" y="303"/>
                      <a:pt x="123" y="303"/>
                      <a:pt x="123" y="303"/>
                    </a:cubicBezTo>
                    <a:cubicBezTo>
                      <a:pt x="124" y="304"/>
                      <a:pt x="125" y="306"/>
                      <a:pt x="128" y="308"/>
                    </a:cubicBezTo>
                    <a:cubicBezTo>
                      <a:pt x="131" y="310"/>
                      <a:pt x="131" y="310"/>
                      <a:pt x="131" y="310"/>
                    </a:cubicBezTo>
                    <a:cubicBezTo>
                      <a:pt x="133" y="309"/>
                      <a:pt x="134" y="309"/>
                      <a:pt x="135" y="308"/>
                    </a:cubicBezTo>
                    <a:cubicBezTo>
                      <a:pt x="135" y="308"/>
                      <a:pt x="135" y="305"/>
                      <a:pt x="135" y="304"/>
                    </a:cubicBezTo>
                    <a:cubicBezTo>
                      <a:pt x="135" y="303"/>
                      <a:pt x="134" y="303"/>
                      <a:pt x="134" y="302"/>
                    </a:cubicBezTo>
                    <a:cubicBezTo>
                      <a:pt x="133" y="301"/>
                      <a:pt x="133" y="300"/>
                      <a:pt x="133" y="300"/>
                    </a:cubicBezTo>
                    <a:cubicBezTo>
                      <a:pt x="135" y="299"/>
                      <a:pt x="136" y="298"/>
                      <a:pt x="136" y="298"/>
                    </a:cubicBezTo>
                    <a:cubicBezTo>
                      <a:pt x="137" y="298"/>
                      <a:pt x="137" y="299"/>
                      <a:pt x="137" y="299"/>
                    </a:cubicBezTo>
                    <a:cubicBezTo>
                      <a:pt x="139" y="299"/>
                      <a:pt x="141" y="300"/>
                      <a:pt x="143" y="301"/>
                    </a:cubicBezTo>
                    <a:cubicBezTo>
                      <a:pt x="143" y="302"/>
                      <a:pt x="144" y="302"/>
                      <a:pt x="145" y="302"/>
                    </a:cubicBezTo>
                    <a:cubicBezTo>
                      <a:pt x="147" y="303"/>
                      <a:pt x="150" y="305"/>
                      <a:pt x="151" y="307"/>
                    </a:cubicBezTo>
                    <a:cubicBezTo>
                      <a:pt x="151" y="307"/>
                      <a:pt x="152" y="308"/>
                      <a:pt x="152" y="308"/>
                    </a:cubicBezTo>
                    <a:cubicBezTo>
                      <a:pt x="152" y="309"/>
                      <a:pt x="153" y="309"/>
                      <a:pt x="153" y="309"/>
                    </a:cubicBezTo>
                    <a:cubicBezTo>
                      <a:pt x="153" y="309"/>
                      <a:pt x="153" y="309"/>
                      <a:pt x="154" y="309"/>
                    </a:cubicBezTo>
                    <a:cubicBezTo>
                      <a:pt x="155" y="309"/>
                      <a:pt x="156" y="307"/>
                      <a:pt x="157" y="307"/>
                    </a:cubicBezTo>
                    <a:cubicBezTo>
                      <a:pt x="159" y="306"/>
                      <a:pt x="162" y="306"/>
                      <a:pt x="164" y="305"/>
                    </a:cubicBezTo>
                    <a:cubicBezTo>
                      <a:pt x="164" y="305"/>
                      <a:pt x="165" y="305"/>
                      <a:pt x="165" y="305"/>
                    </a:cubicBezTo>
                    <a:cubicBezTo>
                      <a:pt x="165" y="305"/>
                      <a:pt x="166" y="305"/>
                      <a:pt x="166" y="305"/>
                    </a:cubicBezTo>
                    <a:cubicBezTo>
                      <a:pt x="168" y="305"/>
                      <a:pt x="170" y="307"/>
                      <a:pt x="170" y="309"/>
                    </a:cubicBezTo>
                    <a:cubicBezTo>
                      <a:pt x="171" y="311"/>
                      <a:pt x="172" y="313"/>
                      <a:pt x="172" y="314"/>
                    </a:cubicBezTo>
                    <a:cubicBezTo>
                      <a:pt x="173" y="315"/>
                      <a:pt x="174" y="316"/>
                      <a:pt x="174" y="317"/>
                    </a:cubicBezTo>
                    <a:cubicBezTo>
                      <a:pt x="176" y="319"/>
                      <a:pt x="178" y="320"/>
                      <a:pt x="180" y="322"/>
                    </a:cubicBezTo>
                    <a:cubicBezTo>
                      <a:pt x="182" y="324"/>
                      <a:pt x="183" y="327"/>
                      <a:pt x="184" y="329"/>
                    </a:cubicBezTo>
                    <a:cubicBezTo>
                      <a:pt x="185" y="331"/>
                      <a:pt x="185" y="333"/>
                      <a:pt x="183" y="336"/>
                    </a:cubicBezTo>
                    <a:cubicBezTo>
                      <a:pt x="185" y="336"/>
                      <a:pt x="186" y="337"/>
                      <a:pt x="187" y="337"/>
                    </a:cubicBezTo>
                    <a:cubicBezTo>
                      <a:pt x="190" y="338"/>
                      <a:pt x="191" y="339"/>
                      <a:pt x="192" y="342"/>
                    </a:cubicBezTo>
                    <a:cubicBezTo>
                      <a:pt x="192" y="343"/>
                      <a:pt x="192" y="343"/>
                      <a:pt x="192" y="343"/>
                    </a:cubicBezTo>
                    <a:cubicBezTo>
                      <a:pt x="192" y="346"/>
                      <a:pt x="193" y="349"/>
                      <a:pt x="194" y="352"/>
                    </a:cubicBezTo>
                    <a:cubicBezTo>
                      <a:pt x="195" y="354"/>
                      <a:pt x="197" y="357"/>
                      <a:pt x="198" y="360"/>
                    </a:cubicBezTo>
                    <a:cubicBezTo>
                      <a:pt x="199" y="362"/>
                      <a:pt x="200" y="364"/>
                      <a:pt x="201" y="367"/>
                    </a:cubicBezTo>
                    <a:cubicBezTo>
                      <a:pt x="201" y="367"/>
                      <a:pt x="201" y="367"/>
                      <a:pt x="201" y="367"/>
                    </a:cubicBezTo>
                    <a:cubicBezTo>
                      <a:pt x="203" y="370"/>
                      <a:pt x="204" y="372"/>
                      <a:pt x="206" y="373"/>
                    </a:cubicBezTo>
                    <a:cubicBezTo>
                      <a:pt x="207" y="374"/>
                      <a:pt x="209" y="375"/>
                      <a:pt x="211" y="376"/>
                    </a:cubicBezTo>
                    <a:cubicBezTo>
                      <a:pt x="212" y="376"/>
                      <a:pt x="213" y="376"/>
                      <a:pt x="214" y="376"/>
                    </a:cubicBezTo>
                    <a:cubicBezTo>
                      <a:pt x="214" y="376"/>
                      <a:pt x="215" y="376"/>
                      <a:pt x="215" y="376"/>
                    </a:cubicBezTo>
                    <a:cubicBezTo>
                      <a:pt x="216" y="376"/>
                      <a:pt x="216" y="376"/>
                      <a:pt x="216" y="376"/>
                    </a:cubicBezTo>
                    <a:cubicBezTo>
                      <a:pt x="216" y="376"/>
                      <a:pt x="217" y="376"/>
                      <a:pt x="217" y="376"/>
                    </a:cubicBezTo>
                    <a:cubicBezTo>
                      <a:pt x="219" y="376"/>
                      <a:pt x="221" y="376"/>
                      <a:pt x="222" y="377"/>
                    </a:cubicBezTo>
                    <a:cubicBezTo>
                      <a:pt x="223" y="377"/>
                      <a:pt x="223" y="378"/>
                      <a:pt x="224" y="378"/>
                    </a:cubicBezTo>
                    <a:cubicBezTo>
                      <a:pt x="226" y="379"/>
                      <a:pt x="229" y="380"/>
                      <a:pt x="231" y="381"/>
                    </a:cubicBezTo>
                    <a:cubicBezTo>
                      <a:pt x="232" y="381"/>
                      <a:pt x="232" y="382"/>
                      <a:pt x="232" y="382"/>
                    </a:cubicBezTo>
                    <a:cubicBezTo>
                      <a:pt x="233" y="382"/>
                      <a:pt x="233" y="382"/>
                      <a:pt x="234" y="382"/>
                    </a:cubicBezTo>
                    <a:cubicBezTo>
                      <a:pt x="234" y="383"/>
                      <a:pt x="235" y="383"/>
                      <a:pt x="236" y="384"/>
                    </a:cubicBezTo>
                    <a:cubicBezTo>
                      <a:pt x="236" y="385"/>
                      <a:pt x="237" y="385"/>
                      <a:pt x="238" y="386"/>
                    </a:cubicBezTo>
                    <a:cubicBezTo>
                      <a:pt x="239" y="388"/>
                      <a:pt x="241" y="390"/>
                      <a:pt x="242" y="392"/>
                    </a:cubicBezTo>
                    <a:cubicBezTo>
                      <a:pt x="244" y="394"/>
                      <a:pt x="246" y="396"/>
                      <a:pt x="248" y="397"/>
                    </a:cubicBezTo>
                    <a:cubicBezTo>
                      <a:pt x="248" y="397"/>
                      <a:pt x="248" y="397"/>
                      <a:pt x="248" y="397"/>
                    </a:cubicBezTo>
                    <a:cubicBezTo>
                      <a:pt x="251" y="399"/>
                      <a:pt x="253" y="400"/>
                      <a:pt x="256" y="401"/>
                    </a:cubicBezTo>
                    <a:cubicBezTo>
                      <a:pt x="256" y="401"/>
                      <a:pt x="256" y="401"/>
                      <a:pt x="256" y="401"/>
                    </a:cubicBezTo>
                    <a:cubicBezTo>
                      <a:pt x="259" y="402"/>
                      <a:pt x="261" y="403"/>
                      <a:pt x="263" y="404"/>
                    </a:cubicBezTo>
                    <a:cubicBezTo>
                      <a:pt x="264" y="405"/>
                      <a:pt x="264" y="405"/>
                      <a:pt x="264" y="405"/>
                    </a:cubicBezTo>
                    <a:cubicBezTo>
                      <a:pt x="265" y="407"/>
                      <a:pt x="266" y="408"/>
                      <a:pt x="269" y="410"/>
                    </a:cubicBezTo>
                    <a:cubicBezTo>
                      <a:pt x="269" y="410"/>
                      <a:pt x="269" y="410"/>
                      <a:pt x="269" y="410"/>
                    </a:cubicBezTo>
                    <a:cubicBezTo>
                      <a:pt x="272" y="411"/>
                      <a:pt x="274" y="412"/>
                      <a:pt x="277" y="413"/>
                    </a:cubicBezTo>
                    <a:cubicBezTo>
                      <a:pt x="280" y="413"/>
                      <a:pt x="283" y="413"/>
                      <a:pt x="287" y="414"/>
                    </a:cubicBezTo>
                    <a:cubicBezTo>
                      <a:pt x="287" y="414"/>
                      <a:pt x="288" y="414"/>
                      <a:pt x="289" y="414"/>
                    </a:cubicBezTo>
                    <a:cubicBezTo>
                      <a:pt x="291" y="415"/>
                      <a:pt x="294" y="415"/>
                      <a:pt x="296" y="416"/>
                    </a:cubicBezTo>
                    <a:cubicBezTo>
                      <a:pt x="296" y="417"/>
                      <a:pt x="296" y="417"/>
                      <a:pt x="296" y="418"/>
                    </a:cubicBezTo>
                    <a:cubicBezTo>
                      <a:pt x="301" y="416"/>
                      <a:pt x="305" y="415"/>
                      <a:pt x="309" y="414"/>
                    </a:cubicBezTo>
                    <a:cubicBezTo>
                      <a:pt x="310" y="413"/>
                      <a:pt x="311" y="413"/>
                      <a:pt x="312" y="413"/>
                    </a:cubicBezTo>
                    <a:cubicBezTo>
                      <a:pt x="315" y="412"/>
                      <a:pt x="318" y="411"/>
                      <a:pt x="321" y="410"/>
                    </a:cubicBezTo>
                    <a:cubicBezTo>
                      <a:pt x="323" y="409"/>
                      <a:pt x="323" y="406"/>
                      <a:pt x="324" y="405"/>
                    </a:cubicBezTo>
                    <a:cubicBezTo>
                      <a:pt x="326" y="402"/>
                      <a:pt x="330" y="400"/>
                      <a:pt x="334" y="399"/>
                    </a:cubicBezTo>
                    <a:cubicBezTo>
                      <a:pt x="338" y="398"/>
                      <a:pt x="342" y="398"/>
                      <a:pt x="345" y="398"/>
                    </a:cubicBezTo>
                    <a:cubicBezTo>
                      <a:pt x="345" y="398"/>
                      <a:pt x="346" y="398"/>
                      <a:pt x="346" y="398"/>
                    </a:cubicBezTo>
                    <a:cubicBezTo>
                      <a:pt x="347" y="398"/>
                      <a:pt x="347" y="398"/>
                      <a:pt x="347" y="398"/>
                    </a:cubicBezTo>
                    <a:cubicBezTo>
                      <a:pt x="350" y="398"/>
                      <a:pt x="354" y="398"/>
                      <a:pt x="357" y="399"/>
                    </a:cubicBezTo>
                    <a:cubicBezTo>
                      <a:pt x="359" y="399"/>
                      <a:pt x="361" y="400"/>
                      <a:pt x="363" y="403"/>
                    </a:cubicBezTo>
                    <a:cubicBezTo>
                      <a:pt x="363" y="403"/>
                      <a:pt x="363" y="403"/>
                      <a:pt x="363" y="403"/>
                    </a:cubicBezTo>
                    <a:cubicBezTo>
                      <a:pt x="364" y="406"/>
                      <a:pt x="365" y="409"/>
                      <a:pt x="366" y="412"/>
                    </a:cubicBezTo>
                    <a:cubicBezTo>
                      <a:pt x="366" y="415"/>
                      <a:pt x="367" y="419"/>
                      <a:pt x="367" y="421"/>
                    </a:cubicBezTo>
                    <a:cubicBezTo>
                      <a:pt x="367" y="422"/>
                      <a:pt x="367" y="423"/>
                      <a:pt x="368" y="424"/>
                    </a:cubicBezTo>
                    <a:cubicBezTo>
                      <a:pt x="368" y="426"/>
                      <a:pt x="369" y="428"/>
                      <a:pt x="369" y="430"/>
                    </a:cubicBezTo>
                    <a:cubicBezTo>
                      <a:pt x="370" y="433"/>
                      <a:pt x="371" y="436"/>
                      <a:pt x="373" y="438"/>
                    </a:cubicBezTo>
                    <a:cubicBezTo>
                      <a:pt x="373" y="438"/>
                      <a:pt x="373" y="438"/>
                      <a:pt x="373" y="438"/>
                    </a:cubicBezTo>
                    <a:cubicBezTo>
                      <a:pt x="374" y="441"/>
                      <a:pt x="377" y="441"/>
                      <a:pt x="381" y="441"/>
                    </a:cubicBezTo>
                    <a:cubicBezTo>
                      <a:pt x="381" y="441"/>
                      <a:pt x="382" y="441"/>
                      <a:pt x="382" y="441"/>
                    </a:cubicBezTo>
                    <a:cubicBezTo>
                      <a:pt x="385" y="442"/>
                      <a:pt x="387" y="442"/>
                      <a:pt x="390" y="442"/>
                    </a:cubicBezTo>
                    <a:cubicBezTo>
                      <a:pt x="394" y="443"/>
                      <a:pt x="397" y="443"/>
                      <a:pt x="400" y="444"/>
                    </a:cubicBezTo>
                    <a:cubicBezTo>
                      <a:pt x="403" y="444"/>
                      <a:pt x="406" y="445"/>
                      <a:pt x="409" y="445"/>
                    </a:cubicBezTo>
                    <a:cubicBezTo>
                      <a:pt x="411" y="446"/>
                      <a:pt x="412" y="446"/>
                      <a:pt x="414" y="446"/>
                    </a:cubicBezTo>
                    <a:cubicBezTo>
                      <a:pt x="415" y="446"/>
                      <a:pt x="416" y="446"/>
                      <a:pt x="417" y="447"/>
                    </a:cubicBezTo>
                    <a:cubicBezTo>
                      <a:pt x="418" y="448"/>
                      <a:pt x="418" y="448"/>
                      <a:pt x="418" y="448"/>
                    </a:cubicBezTo>
                    <a:cubicBezTo>
                      <a:pt x="421" y="450"/>
                      <a:pt x="422" y="451"/>
                      <a:pt x="424" y="451"/>
                    </a:cubicBezTo>
                    <a:cubicBezTo>
                      <a:pt x="425" y="451"/>
                      <a:pt x="426" y="450"/>
                      <a:pt x="426" y="450"/>
                    </a:cubicBezTo>
                    <a:cubicBezTo>
                      <a:pt x="427" y="450"/>
                      <a:pt x="427" y="450"/>
                      <a:pt x="428" y="450"/>
                    </a:cubicBezTo>
                    <a:cubicBezTo>
                      <a:pt x="431" y="449"/>
                      <a:pt x="434" y="449"/>
                      <a:pt x="436" y="449"/>
                    </a:cubicBezTo>
                    <a:cubicBezTo>
                      <a:pt x="437" y="449"/>
                      <a:pt x="438" y="449"/>
                      <a:pt x="439" y="449"/>
                    </a:cubicBezTo>
                    <a:cubicBezTo>
                      <a:pt x="441" y="449"/>
                      <a:pt x="442" y="449"/>
                      <a:pt x="444" y="450"/>
                    </a:cubicBezTo>
                    <a:cubicBezTo>
                      <a:pt x="446" y="450"/>
                      <a:pt x="447" y="450"/>
                      <a:pt x="449" y="450"/>
                    </a:cubicBezTo>
                    <a:cubicBezTo>
                      <a:pt x="453" y="450"/>
                      <a:pt x="457" y="450"/>
                      <a:pt x="460" y="450"/>
                    </a:cubicBezTo>
                    <a:cubicBezTo>
                      <a:pt x="461" y="450"/>
                      <a:pt x="462" y="450"/>
                      <a:pt x="462" y="450"/>
                    </a:cubicBezTo>
                    <a:cubicBezTo>
                      <a:pt x="463" y="450"/>
                      <a:pt x="463" y="450"/>
                      <a:pt x="463" y="450"/>
                    </a:cubicBezTo>
                    <a:cubicBezTo>
                      <a:pt x="465" y="451"/>
                      <a:pt x="465" y="452"/>
                      <a:pt x="467" y="454"/>
                    </a:cubicBezTo>
                    <a:cubicBezTo>
                      <a:pt x="467" y="454"/>
                      <a:pt x="467" y="454"/>
                      <a:pt x="467" y="454"/>
                    </a:cubicBezTo>
                    <a:cubicBezTo>
                      <a:pt x="469" y="456"/>
                      <a:pt x="472" y="457"/>
                      <a:pt x="475" y="457"/>
                    </a:cubicBezTo>
                    <a:cubicBezTo>
                      <a:pt x="478" y="458"/>
                      <a:pt x="481" y="459"/>
                      <a:pt x="483" y="459"/>
                    </a:cubicBezTo>
                    <a:cubicBezTo>
                      <a:pt x="484" y="459"/>
                      <a:pt x="484" y="459"/>
                      <a:pt x="484" y="459"/>
                    </a:cubicBezTo>
                    <a:cubicBezTo>
                      <a:pt x="484" y="459"/>
                      <a:pt x="485" y="459"/>
                      <a:pt x="485" y="459"/>
                    </a:cubicBezTo>
                    <a:cubicBezTo>
                      <a:pt x="487" y="459"/>
                      <a:pt x="490" y="459"/>
                      <a:pt x="492" y="458"/>
                    </a:cubicBezTo>
                    <a:cubicBezTo>
                      <a:pt x="492" y="457"/>
                      <a:pt x="492" y="457"/>
                      <a:pt x="492" y="456"/>
                    </a:cubicBezTo>
                    <a:cubicBezTo>
                      <a:pt x="492" y="456"/>
                      <a:pt x="492" y="455"/>
                      <a:pt x="492" y="455"/>
                    </a:cubicBezTo>
                    <a:cubicBezTo>
                      <a:pt x="492" y="454"/>
                      <a:pt x="492" y="454"/>
                      <a:pt x="492" y="454"/>
                    </a:cubicBezTo>
                    <a:cubicBezTo>
                      <a:pt x="493" y="453"/>
                      <a:pt x="493" y="452"/>
                      <a:pt x="493" y="451"/>
                    </a:cubicBezTo>
                    <a:cubicBezTo>
                      <a:pt x="493" y="450"/>
                      <a:pt x="493" y="450"/>
                      <a:pt x="493" y="450"/>
                    </a:cubicBezTo>
                    <a:cubicBezTo>
                      <a:pt x="494" y="449"/>
                      <a:pt x="494" y="449"/>
                      <a:pt x="494" y="448"/>
                    </a:cubicBezTo>
                    <a:cubicBezTo>
                      <a:pt x="494" y="446"/>
                      <a:pt x="494" y="446"/>
                      <a:pt x="494" y="446"/>
                    </a:cubicBezTo>
                    <a:cubicBezTo>
                      <a:pt x="496" y="441"/>
                      <a:pt x="497" y="436"/>
                      <a:pt x="498" y="431"/>
                    </a:cubicBezTo>
                    <a:cubicBezTo>
                      <a:pt x="499" y="425"/>
                      <a:pt x="500" y="424"/>
                      <a:pt x="504" y="422"/>
                    </a:cubicBezTo>
                    <a:cubicBezTo>
                      <a:pt x="505" y="421"/>
                      <a:pt x="505" y="421"/>
                      <a:pt x="505" y="421"/>
                    </a:cubicBezTo>
                    <a:cubicBezTo>
                      <a:pt x="506" y="421"/>
                      <a:pt x="506" y="420"/>
                      <a:pt x="507" y="419"/>
                    </a:cubicBezTo>
                    <a:cubicBezTo>
                      <a:pt x="508" y="419"/>
                      <a:pt x="508" y="419"/>
                      <a:pt x="508" y="419"/>
                    </a:cubicBezTo>
                    <a:cubicBezTo>
                      <a:pt x="509" y="418"/>
                      <a:pt x="510" y="417"/>
                      <a:pt x="511" y="416"/>
                    </a:cubicBezTo>
                    <a:cubicBezTo>
                      <a:pt x="513" y="414"/>
                      <a:pt x="515" y="414"/>
                      <a:pt x="518" y="413"/>
                    </a:cubicBezTo>
                    <a:cubicBezTo>
                      <a:pt x="529" y="411"/>
                      <a:pt x="529" y="411"/>
                      <a:pt x="529" y="411"/>
                    </a:cubicBezTo>
                    <a:cubicBezTo>
                      <a:pt x="530" y="411"/>
                      <a:pt x="531" y="411"/>
                      <a:pt x="532" y="411"/>
                    </a:cubicBezTo>
                    <a:cubicBezTo>
                      <a:pt x="534" y="411"/>
                      <a:pt x="535" y="411"/>
                      <a:pt x="536" y="411"/>
                    </a:cubicBezTo>
                    <a:cubicBezTo>
                      <a:pt x="537" y="404"/>
                      <a:pt x="537" y="404"/>
                      <a:pt x="537" y="404"/>
                    </a:cubicBezTo>
                    <a:cubicBezTo>
                      <a:pt x="538" y="402"/>
                      <a:pt x="538" y="401"/>
                      <a:pt x="539" y="399"/>
                    </a:cubicBezTo>
                    <a:cubicBezTo>
                      <a:pt x="538" y="399"/>
                      <a:pt x="538" y="399"/>
                      <a:pt x="538" y="399"/>
                    </a:cubicBezTo>
                    <a:cubicBezTo>
                      <a:pt x="537" y="399"/>
                      <a:pt x="537" y="399"/>
                      <a:pt x="537" y="399"/>
                    </a:cubicBezTo>
                    <a:cubicBezTo>
                      <a:pt x="536" y="399"/>
                      <a:pt x="536" y="399"/>
                      <a:pt x="535" y="399"/>
                    </a:cubicBezTo>
                    <a:cubicBezTo>
                      <a:pt x="534" y="399"/>
                      <a:pt x="534" y="399"/>
                      <a:pt x="534" y="399"/>
                    </a:cubicBezTo>
                    <a:cubicBezTo>
                      <a:pt x="533" y="399"/>
                      <a:pt x="533" y="399"/>
                      <a:pt x="532" y="399"/>
                    </a:cubicBezTo>
                    <a:cubicBezTo>
                      <a:pt x="532" y="399"/>
                      <a:pt x="532" y="399"/>
                      <a:pt x="532" y="399"/>
                    </a:cubicBezTo>
                    <a:cubicBezTo>
                      <a:pt x="528" y="399"/>
                      <a:pt x="526" y="397"/>
                      <a:pt x="525" y="393"/>
                    </a:cubicBezTo>
                    <a:cubicBezTo>
                      <a:pt x="524" y="391"/>
                      <a:pt x="525" y="389"/>
                      <a:pt x="525" y="387"/>
                    </a:cubicBezTo>
                    <a:cubicBezTo>
                      <a:pt x="525" y="386"/>
                      <a:pt x="525" y="386"/>
                      <a:pt x="525" y="386"/>
                    </a:cubicBezTo>
                    <a:cubicBezTo>
                      <a:pt x="525" y="375"/>
                      <a:pt x="525" y="375"/>
                      <a:pt x="525" y="375"/>
                    </a:cubicBezTo>
                    <a:cubicBezTo>
                      <a:pt x="525" y="374"/>
                      <a:pt x="525" y="373"/>
                      <a:pt x="525" y="372"/>
                    </a:cubicBezTo>
                    <a:cubicBezTo>
                      <a:pt x="525" y="370"/>
                      <a:pt x="526" y="369"/>
                      <a:pt x="526" y="368"/>
                    </a:cubicBezTo>
                    <a:cubicBezTo>
                      <a:pt x="525" y="368"/>
                      <a:pt x="524" y="367"/>
                      <a:pt x="524" y="367"/>
                    </a:cubicBezTo>
                    <a:cubicBezTo>
                      <a:pt x="523" y="367"/>
                      <a:pt x="523" y="367"/>
                      <a:pt x="523" y="367"/>
                    </a:cubicBezTo>
                    <a:cubicBezTo>
                      <a:pt x="522" y="366"/>
                      <a:pt x="520" y="366"/>
                      <a:pt x="519" y="365"/>
                    </a:cubicBezTo>
                    <a:cubicBezTo>
                      <a:pt x="518" y="365"/>
                      <a:pt x="516" y="364"/>
                      <a:pt x="515" y="364"/>
                    </a:cubicBezTo>
                    <a:cubicBezTo>
                      <a:pt x="515" y="364"/>
                      <a:pt x="514" y="363"/>
                      <a:pt x="513" y="363"/>
                    </a:cubicBezTo>
                    <a:cubicBezTo>
                      <a:pt x="512" y="363"/>
                      <a:pt x="512" y="363"/>
                      <a:pt x="512" y="363"/>
                    </a:cubicBezTo>
                    <a:cubicBezTo>
                      <a:pt x="511" y="362"/>
                      <a:pt x="510" y="362"/>
                      <a:pt x="509" y="361"/>
                    </a:cubicBezTo>
                    <a:cubicBezTo>
                      <a:pt x="506" y="360"/>
                      <a:pt x="502" y="358"/>
                      <a:pt x="500" y="355"/>
                    </a:cubicBezTo>
                    <a:cubicBezTo>
                      <a:pt x="497" y="351"/>
                      <a:pt x="494" y="348"/>
                      <a:pt x="491" y="344"/>
                    </a:cubicBezTo>
                    <a:cubicBezTo>
                      <a:pt x="491" y="343"/>
                      <a:pt x="491" y="343"/>
                      <a:pt x="491" y="343"/>
                    </a:cubicBezTo>
                    <a:cubicBezTo>
                      <a:pt x="485" y="335"/>
                      <a:pt x="478" y="327"/>
                      <a:pt x="472" y="318"/>
                    </a:cubicBezTo>
                    <a:cubicBezTo>
                      <a:pt x="472" y="317"/>
                      <a:pt x="472" y="317"/>
                      <a:pt x="472" y="317"/>
                    </a:cubicBezTo>
                    <a:cubicBezTo>
                      <a:pt x="466" y="316"/>
                      <a:pt x="466" y="316"/>
                      <a:pt x="466" y="316"/>
                    </a:cubicBezTo>
                    <a:cubicBezTo>
                      <a:pt x="471" y="313"/>
                      <a:pt x="471" y="313"/>
                      <a:pt x="471" y="313"/>
                    </a:cubicBezTo>
                    <a:cubicBezTo>
                      <a:pt x="471" y="312"/>
                      <a:pt x="471" y="312"/>
                      <a:pt x="471" y="312"/>
                    </a:cubicBezTo>
                    <a:cubicBezTo>
                      <a:pt x="472" y="311"/>
                      <a:pt x="472" y="311"/>
                      <a:pt x="472" y="311"/>
                    </a:cubicBezTo>
                    <a:cubicBezTo>
                      <a:pt x="473" y="310"/>
                      <a:pt x="475" y="308"/>
                      <a:pt x="476" y="306"/>
                    </a:cubicBezTo>
                    <a:cubicBezTo>
                      <a:pt x="482" y="299"/>
                      <a:pt x="482" y="299"/>
                      <a:pt x="482" y="299"/>
                    </a:cubicBezTo>
                    <a:cubicBezTo>
                      <a:pt x="484" y="298"/>
                      <a:pt x="485" y="297"/>
                      <a:pt x="486" y="295"/>
                    </a:cubicBezTo>
                    <a:cubicBezTo>
                      <a:pt x="487" y="294"/>
                      <a:pt x="487" y="294"/>
                      <a:pt x="487" y="294"/>
                    </a:cubicBezTo>
                    <a:cubicBezTo>
                      <a:pt x="488" y="293"/>
                      <a:pt x="488" y="292"/>
                      <a:pt x="489" y="292"/>
                    </a:cubicBezTo>
                    <a:cubicBezTo>
                      <a:pt x="489" y="291"/>
                      <a:pt x="490" y="290"/>
                      <a:pt x="491" y="289"/>
                    </a:cubicBezTo>
                    <a:cubicBezTo>
                      <a:pt x="493" y="287"/>
                      <a:pt x="495" y="285"/>
                      <a:pt x="496" y="283"/>
                    </a:cubicBezTo>
                    <a:cubicBezTo>
                      <a:pt x="498" y="280"/>
                      <a:pt x="498" y="279"/>
                      <a:pt x="498" y="277"/>
                    </a:cubicBezTo>
                    <a:cubicBezTo>
                      <a:pt x="498" y="277"/>
                      <a:pt x="497" y="276"/>
                      <a:pt x="497" y="276"/>
                    </a:cubicBezTo>
                    <a:cubicBezTo>
                      <a:pt x="497" y="275"/>
                      <a:pt x="496" y="274"/>
                      <a:pt x="496" y="274"/>
                    </a:cubicBezTo>
                    <a:cubicBezTo>
                      <a:pt x="493" y="270"/>
                      <a:pt x="493" y="270"/>
                      <a:pt x="493" y="270"/>
                    </a:cubicBezTo>
                    <a:cubicBezTo>
                      <a:pt x="493" y="270"/>
                      <a:pt x="493" y="269"/>
                      <a:pt x="492" y="269"/>
                    </a:cubicBezTo>
                    <a:cubicBezTo>
                      <a:pt x="477" y="267"/>
                      <a:pt x="477" y="267"/>
                      <a:pt x="477" y="267"/>
                    </a:cubicBezTo>
                    <a:cubicBezTo>
                      <a:pt x="477" y="267"/>
                      <a:pt x="476" y="267"/>
                      <a:pt x="476" y="267"/>
                    </a:cubicBezTo>
                    <a:cubicBezTo>
                      <a:pt x="475" y="267"/>
                      <a:pt x="471" y="267"/>
                      <a:pt x="470" y="263"/>
                    </a:cubicBezTo>
                    <a:cubicBezTo>
                      <a:pt x="470" y="263"/>
                      <a:pt x="470" y="262"/>
                      <a:pt x="470" y="261"/>
                    </a:cubicBezTo>
                    <a:cubicBezTo>
                      <a:pt x="469" y="260"/>
                      <a:pt x="469" y="259"/>
                      <a:pt x="470" y="258"/>
                    </a:cubicBezTo>
                    <a:cubicBezTo>
                      <a:pt x="470" y="257"/>
                      <a:pt x="470" y="257"/>
                      <a:pt x="470" y="257"/>
                    </a:cubicBezTo>
                    <a:cubicBezTo>
                      <a:pt x="470" y="257"/>
                      <a:pt x="470" y="256"/>
                      <a:pt x="470" y="256"/>
                    </a:cubicBezTo>
                    <a:cubicBezTo>
                      <a:pt x="469" y="250"/>
                      <a:pt x="469" y="250"/>
                      <a:pt x="469" y="250"/>
                    </a:cubicBezTo>
                    <a:cubicBezTo>
                      <a:pt x="469" y="248"/>
                      <a:pt x="469" y="246"/>
                      <a:pt x="470" y="243"/>
                    </a:cubicBezTo>
                    <a:cubicBezTo>
                      <a:pt x="470" y="242"/>
                      <a:pt x="470" y="241"/>
                      <a:pt x="470" y="239"/>
                    </a:cubicBezTo>
                    <a:cubicBezTo>
                      <a:pt x="470" y="238"/>
                      <a:pt x="470" y="237"/>
                      <a:pt x="469" y="237"/>
                    </a:cubicBezTo>
                    <a:cubicBezTo>
                      <a:pt x="469" y="234"/>
                      <a:pt x="469" y="234"/>
                      <a:pt x="469" y="234"/>
                    </a:cubicBezTo>
                    <a:cubicBezTo>
                      <a:pt x="468" y="234"/>
                      <a:pt x="468" y="233"/>
                      <a:pt x="468" y="232"/>
                    </a:cubicBezTo>
                    <a:cubicBezTo>
                      <a:pt x="465" y="222"/>
                      <a:pt x="465" y="222"/>
                      <a:pt x="465" y="222"/>
                    </a:cubicBezTo>
                    <a:cubicBezTo>
                      <a:pt x="465" y="221"/>
                      <a:pt x="465" y="220"/>
                      <a:pt x="465" y="220"/>
                    </a:cubicBezTo>
                    <a:cubicBezTo>
                      <a:pt x="463" y="212"/>
                      <a:pt x="463" y="212"/>
                      <a:pt x="463" y="212"/>
                    </a:cubicBezTo>
                    <a:cubicBezTo>
                      <a:pt x="463" y="208"/>
                      <a:pt x="466" y="205"/>
                      <a:pt x="469" y="201"/>
                    </a:cubicBezTo>
                    <a:cubicBezTo>
                      <a:pt x="469" y="201"/>
                      <a:pt x="469" y="201"/>
                      <a:pt x="469" y="201"/>
                    </a:cubicBezTo>
                    <a:cubicBezTo>
                      <a:pt x="466" y="201"/>
                      <a:pt x="464" y="200"/>
                      <a:pt x="463" y="198"/>
                    </a:cubicBezTo>
                    <a:cubicBezTo>
                      <a:pt x="462" y="197"/>
                      <a:pt x="461" y="195"/>
                      <a:pt x="461" y="193"/>
                    </a:cubicBezTo>
                    <a:cubicBezTo>
                      <a:pt x="461" y="192"/>
                      <a:pt x="461" y="192"/>
                      <a:pt x="461" y="192"/>
                    </a:cubicBezTo>
                    <a:cubicBezTo>
                      <a:pt x="460" y="191"/>
                      <a:pt x="460" y="189"/>
                      <a:pt x="460" y="188"/>
                    </a:cubicBezTo>
                    <a:cubicBezTo>
                      <a:pt x="460" y="184"/>
                      <a:pt x="461" y="182"/>
                      <a:pt x="461" y="181"/>
                    </a:cubicBezTo>
                    <a:cubicBezTo>
                      <a:pt x="461" y="180"/>
                      <a:pt x="461" y="180"/>
                      <a:pt x="461" y="180"/>
                    </a:cubicBezTo>
                    <a:cubicBezTo>
                      <a:pt x="459" y="181"/>
                      <a:pt x="459" y="181"/>
                      <a:pt x="459" y="181"/>
                    </a:cubicBezTo>
                    <a:cubicBezTo>
                      <a:pt x="469" y="171"/>
                      <a:pt x="469" y="171"/>
                      <a:pt x="469" y="171"/>
                    </a:cubicBezTo>
                    <a:cubicBezTo>
                      <a:pt x="469" y="171"/>
                      <a:pt x="468" y="170"/>
                      <a:pt x="468" y="170"/>
                    </a:cubicBezTo>
                    <a:cubicBezTo>
                      <a:pt x="465" y="167"/>
                      <a:pt x="465" y="167"/>
                      <a:pt x="465" y="167"/>
                    </a:cubicBezTo>
                    <a:cubicBezTo>
                      <a:pt x="467" y="165"/>
                      <a:pt x="467" y="165"/>
                      <a:pt x="467" y="165"/>
                    </a:cubicBezTo>
                    <a:cubicBezTo>
                      <a:pt x="469" y="163"/>
                      <a:pt x="470" y="162"/>
                      <a:pt x="472" y="160"/>
                    </a:cubicBezTo>
                    <a:cubicBezTo>
                      <a:pt x="474" y="159"/>
                      <a:pt x="474" y="159"/>
                      <a:pt x="474" y="159"/>
                    </a:cubicBezTo>
                    <a:cubicBezTo>
                      <a:pt x="476" y="157"/>
                      <a:pt x="476" y="157"/>
                      <a:pt x="476" y="155"/>
                    </a:cubicBezTo>
                    <a:cubicBezTo>
                      <a:pt x="477" y="153"/>
                      <a:pt x="477" y="153"/>
                      <a:pt x="477" y="153"/>
                    </a:cubicBezTo>
                    <a:cubicBezTo>
                      <a:pt x="477" y="152"/>
                      <a:pt x="477" y="152"/>
                      <a:pt x="477" y="152"/>
                    </a:cubicBezTo>
                    <a:cubicBezTo>
                      <a:pt x="477" y="151"/>
                      <a:pt x="477" y="151"/>
                      <a:pt x="477" y="151"/>
                    </a:cubicBezTo>
                    <a:cubicBezTo>
                      <a:pt x="478" y="150"/>
                      <a:pt x="478" y="149"/>
                      <a:pt x="478" y="148"/>
                    </a:cubicBezTo>
                    <a:cubicBezTo>
                      <a:pt x="481" y="138"/>
                      <a:pt x="481" y="138"/>
                      <a:pt x="481" y="138"/>
                    </a:cubicBezTo>
                    <a:cubicBezTo>
                      <a:pt x="484" y="134"/>
                      <a:pt x="484" y="134"/>
                      <a:pt x="484" y="134"/>
                    </a:cubicBezTo>
                    <a:cubicBezTo>
                      <a:pt x="484" y="134"/>
                      <a:pt x="484" y="134"/>
                      <a:pt x="484" y="134"/>
                    </a:cubicBezTo>
                    <a:cubicBezTo>
                      <a:pt x="483" y="134"/>
                      <a:pt x="483" y="133"/>
                      <a:pt x="483" y="133"/>
                    </a:cubicBezTo>
                    <a:cubicBezTo>
                      <a:pt x="482" y="131"/>
                      <a:pt x="482" y="131"/>
                      <a:pt x="482" y="131"/>
                    </a:cubicBezTo>
                    <a:cubicBezTo>
                      <a:pt x="482" y="130"/>
                      <a:pt x="482" y="129"/>
                      <a:pt x="482" y="128"/>
                    </a:cubicBezTo>
                    <a:cubicBezTo>
                      <a:pt x="481" y="128"/>
                      <a:pt x="481" y="127"/>
                      <a:pt x="481" y="127"/>
                    </a:cubicBezTo>
                    <a:cubicBezTo>
                      <a:pt x="480" y="124"/>
                      <a:pt x="480" y="124"/>
                      <a:pt x="480" y="124"/>
                    </a:cubicBezTo>
                    <a:cubicBezTo>
                      <a:pt x="479" y="120"/>
                      <a:pt x="479" y="117"/>
                      <a:pt x="479" y="114"/>
                    </a:cubicBezTo>
                    <a:cubicBezTo>
                      <a:pt x="479" y="113"/>
                      <a:pt x="479" y="113"/>
                      <a:pt x="479" y="113"/>
                    </a:cubicBezTo>
                    <a:cubicBezTo>
                      <a:pt x="479" y="112"/>
                      <a:pt x="479" y="111"/>
                      <a:pt x="479" y="110"/>
                    </a:cubicBezTo>
                    <a:cubicBezTo>
                      <a:pt x="479" y="109"/>
                      <a:pt x="479" y="109"/>
                      <a:pt x="479" y="109"/>
                    </a:cubicBezTo>
                    <a:cubicBezTo>
                      <a:pt x="480" y="107"/>
                      <a:pt x="480" y="104"/>
                      <a:pt x="479" y="102"/>
                    </a:cubicBezTo>
                    <a:cubicBezTo>
                      <a:pt x="479" y="102"/>
                      <a:pt x="479" y="102"/>
                      <a:pt x="479" y="102"/>
                    </a:cubicBezTo>
                    <a:cubicBezTo>
                      <a:pt x="478" y="101"/>
                      <a:pt x="477" y="101"/>
                      <a:pt x="475" y="101"/>
                    </a:cubicBezTo>
                    <a:cubicBezTo>
                      <a:pt x="474" y="101"/>
                      <a:pt x="474" y="101"/>
                      <a:pt x="473" y="101"/>
                    </a:cubicBezTo>
                    <a:cubicBezTo>
                      <a:pt x="470" y="102"/>
                      <a:pt x="470" y="102"/>
                      <a:pt x="470" y="102"/>
                    </a:cubicBezTo>
                    <a:cubicBezTo>
                      <a:pt x="468" y="102"/>
                      <a:pt x="467" y="102"/>
                      <a:pt x="465" y="102"/>
                    </a:cubicBezTo>
                    <a:cubicBezTo>
                      <a:pt x="465" y="106"/>
                      <a:pt x="465" y="106"/>
                      <a:pt x="465" y="106"/>
                    </a:cubicBezTo>
                    <a:cubicBezTo>
                      <a:pt x="464" y="102"/>
                      <a:pt x="464" y="102"/>
                      <a:pt x="464" y="102"/>
                    </a:cubicBezTo>
                    <a:cubicBezTo>
                      <a:pt x="463" y="102"/>
                      <a:pt x="463" y="102"/>
                      <a:pt x="463" y="102"/>
                    </a:cubicBezTo>
                    <a:cubicBezTo>
                      <a:pt x="461" y="102"/>
                      <a:pt x="460" y="101"/>
                      <a:pt x="458" y="101"/>
                    </a:cubicBezTo>
                    <a:cubicBezTo>
                      <a:pt x="457" y="101"/>
                      <a:pt x="457" y="100"/>
                      <a:pt x="456" y="100"/>
                    </a:cubicBezTo>
                    <a:cubicBezTo>
                      <a:pt x="456" y="99"/>
                      <a:pt x="456" y="99"/>
                      <a:pt x="456" y="99"/>
                    </a:cubicBezTo>
                    <a:cubicBezTo>
                      <a:pt x="455" y="98"/>
                      <a:pt x="454" y="97"/>
                      <a:pt x="453" y="96"/>
                    </a:cubicBezTo>
                    <a:cubicBezTo>
                      <a:pt x="452" y="94"/>
                      <a:pt x="452" y="94"/>
                      <a:pt x="452" y="94"/>
                    </a:cubicBezTo>
                    <a:cubicBezTo>
                      <a:pt x="451" y="93"/>
                      <a:pt x="450" y="92"/>
                      <a:pt x="450" y="91"/>
                    </a:cubicBezTo>
                    <a:cubicBezTo>
                      <a:pt x="449" y="91"/>
                      <a:pt x="449" y="91"/>
                      <a:pt x="449" y="91"/>
                    </a:cubicBezTo>
                    <a:cubicBezTo>
                      <a:pt x="449" y="90"/>
                      <a:pt x="449" y="90"/>
                      <a:pt x="448" y="89"/>
                    </a:cubicBezTo>
                    <a:cubicBezTo>
                      <a:pt x="448" y="89"/>
                      <a:pt x="448" y="89"/>
                      <a:pt x="448" y="89"/>
                    </a:cubicBezTo>
                    <a:cubicBezTo>
                      <a:pt x="446" y="88"/>
                      <a:pt x="444" y="87"/>
                      <a:pt x="441" y="87"/>
                    </a:cubicBezTo>
                    <a:cubicBezTo>
                      <a:pt x="441" y="87"/>
                      <a:pt x="441" y="87"/>
                      <a:pt x="441" y="87"/>
                    </a:cubicBezTo>
                    <a:cubicBezTo>
                      <a:pt x="440" y="86"/>
                      <a:pt x="439" y="86"/>
                      <a:pt x="438" y="86"/>
                    </a:cubicBezTo>
                    <a:cubicBezTo>
                      <a:pt x="437" y="86"/>
                      <a:pt x="437" y="86"/>
                      <a:pt x="437" y="86"/>
                    </a:cubicBezTo>
                    <a:cubicBezTo>
                      <a:pt x="436" y="85"/>
                      <a:pt x="436" y="85"/>
                      <a:pt x="436" y="85"/>
                    </a:cubicBezTo>
                    <a:cubicBezTo>
                      <a:pt x="436" y="84"/>
                      <a:pt x="436" y="84"/>
                      <a:pt x="436" y="84"/>
                    </a:cubicBezTo>
                    <a:cubicBezTo>
                      <a:pt x="435" y="83"/>
                      <a:pt x="434" y="83"/>
                      <a:pt x="434" y="82"/>
                    </a:cubicBezTo>
                    <a:cubicBezTo>
                      <a:pt x="433" y="79"/>
                      <a:pt x="433" y="79"/>
                      <a:pt x="433" y="79"/>
                    </a:cubicBezTo>
                    <a:cubicBezTo>
                      <a:pt x="432" y="78"/>
                      <a:pt x="431" y="76"/>
                      <a:pt x="430" y="74"/>
                    </a:cubicBezTo>
                    <a:cubicBezTo>
                      <a:pt x="429" y="74"/>
                      <a:pt x="429" y="74"/>
                      <a:pt x="429" y="74"/>
                    </a:cubicBezTo>
                    <a:cubicBezTo>
                      <a:pt x="427" y="71"/>
                      <a:pt x="424" y="70"/>
                      <a:pt x="419" y="69"/>
                    </a:cubicBezTo>
                    <a:cubicBezTo>
                      <a:pt x="419" y="69"/>
                      <a:pt x="418" y="69"/>
                      <a:pt x="418" y="69"/>
                    </a:cubicBezTo>
                    <a:cubicBezTo>
                      <a:pt x="417" y="69"/>
                      <a:pt x="416" y="69"/>
                      <a:pt x="414" y="69"/>
                    </a:cubicBezTo>
                    <a:cubicBezTo>
                      <a:pt x="407" y="69"/>
                      <a:pt x="407" y="69"/>
                      <a:pt x="407" y="69"/>
                    </a:cubicBezTo>
                    <a:cubicBezTo>
                      <a:pt x="407" y="69"/>
                      <a:pt x="407" y="69"/>
                      <a:pt x="407" y="69"/>
                    </a:cubicBezTo>
                    <a:cubicBezTo>
                      <a:pt x="407" y="69"/>
                      <a:pt x="406" y="69"/>
                      <a:pt x="406" y="69"/>
                    </a:cubicBezTo>
                    <a:cubicBezTo>
                      <a:pt x="403" y="69"/>
                      <a:pt x="403" y="69"/>
                      <a:pt x="403" y="69"/>
                    </a:cubicBezTo>
                    <a:cubicBezTo>
                      <a:pt x="403" y="69"/>
                      <a:pt x="403" y="69"/>
                      <a:pt x="403" y="69"/>
                    </a:cubicBezTo>
                    <a:cubicBezTo>
                      <a:pt x="403" y="69"/>
                      <a:pt x="402" y="69"/>
                      <a:pt x="402" y="69"/>
                    </a:cubicBezTo>
                    <a:cubicBezTo>
                      <a:pt x="400" y="69"/>
                      <a:pt x="400" y="69"/>
                      <a:pt x="399" y="68"/>
                    </a:cubicBezTo>
                    <a:cubicBezTo>
                      <a:pt x="398" y="68"/>
                      <a:pt x="397" y="68"/>
                      <a:pt x="397" y="67"/>
                    </a:cubicBezTo>
                    <a:cubicBezTo>
                      <a:pt x="392" y="64"/>
                      <a:pt x="392" y="64"/>
                      <a:pt x="392" y="64"/>
                    </a:cubicBezTo>
                    <a:cubicBezTo>
                      <a:pt x="391" y="63"/>
                      <a:pt x="390" y="62"/>
                      <a:pt x="389" y="62"/>
                    </a:cubicBezTo>
                    <a:cubicBezTo>
                      <a:pt x="387" y="61"/>
                      <a:pt x="387" y="61"/>
                      <a:pt x="387" y="61"/>
                    </a:cubicBezTo>
                    <a:cubicBezTo>
                      <a:pt x="386" y="61"/>
                      <a:pt x="385" y="61"/>
                      <a:pt x="384" y="61"/>
                    </a:cubicBezTo>
                    <a:cubicBezTo>
                      <a:pt x="382" y="60"/>
                      <a:pt x="381" y="60"/>
                      <a:pt x="378" y="60"/>
                    </a:cubicBezTo>
                    <a:cubicBezTo>
                      <a:pt x="377" y="59"/>
                      <a:pt x="377" y="59"/>
                      <a:pt x="377" y="59"/>
                    </a:cubicBezTo>
                    <a:cubicBezTo>
                      <a:pt x="374" y="59"/>
                      <a:pt x="373" y="57"/>
                      <a:pt x="371" y="55"/>
                    </a:cubicBezTo>
                    <a:cubicBezTo>
                      <a:pt x="371" y="54"/>
                      <a:pt x="371" y="54"/>
                      <a:pt x="371" y="54"/>
                    </a:cubicBezTo>
                    <a:cubicBezTo>
                      <a:pt x="364" y="57"/>
                      <a:pt x="364" y="57"/>
                      <a:pt x="364" y="57"/>
                    </a:cubicBezTo>
                    <a:cubicBezTo>
                      <a:pt x="370" y="53"/>
                      <a:pt x="370" y="53"/>
                      <a:pt x="370" y="53"/>
                    </a:cubicBezTo>
                    <a:cubicBezTo>
                      <a:pt x="370" y="52"/>
                      <a:pt x="370" y="52"/>
                      <a:pt x="370" y="52"/>
                    </a:cubicBezTo>
                    <a:cubicBezTo>
                      <a:pt x="369" y="49"/>
                      <a:pt x="369" y="49"/>
                      <a:pt x="368" y="49"/>
                    </a:cubicBezTo>
                    <a:cubicBezTo>
                      <a:pt x="367" y="49"/>
                      <a:pt x="365" y="49"/>
                      <a:pt x="364" y="49"/>
                    </a:cubicBezTo>
                    <a:cubicBezTo>
                      <a:pt x="363" y="49"/>
                      <a:pt x="363" y="49"/>
                      <a:pt x="363" y="49"/>
                    </a:cubicBezTo>
                    <a:cubicBezTo>
                      <a:pt x="361" y="49"/>
                      <a:pt x="360" y="48"/>
                      <a:pt x="359" y="48"/>
                    </a:cubicBezTo>
                    <a:cubicBezTo>
                      <a:pt x="358" y="48"/>
                      <a:pt x="358" y="48"/>
                      <a:pt x="358" y="48"/>
                    </a:cubicBezTo>
                    <a:cubicBezTo>
                      <a:pt x="357" y="48"/>
                      <a:pt x="357" y="48"/>
                      <a:pt x="356" y="48"/>
                    </a:cubicBezTo>
                    <a:cubicBezTo>
                      <a:pt x="355" y="48"/>
                      <a:pt x="353" y="48"/>
                      <a:pt x="351" y="49"/>
                    </a:cubicBezTo>
                    <a:cubicBezTo>
                      <a:pt x="350" y="49"/>
                      <a:pt x="350" y="49"/>
                      <a:pt x="350" y="49"/>
                    </a:cubicBezTo>
                    <a:cubicBezTo>
                      <a:pt x="350" y="49"/>
                      <a:pt x="350" y="49"/>
                      <a:pt x="350" y="49"/>
                    </a:cubicBezTo>
                    <a:cubicBezTo>
                      <a:pt x="350" y="49"/>
                      <a:pt x="350" y="49"/>
                      <a:pt x="350" y="49"/>
                    </a:cubicBezTo>
                    <a:cubicBezTo>
                      <a:pt x="346" y="53"/>
                      <a:pt x="345" y="55"/>
                      <a:pt x="341" y="55"/>
                    </a:cubicBezTo>
                    <a:cubicBezTo>
                      <a:pt x="340" y="55"/>
                      <a:pt x="340" y="55"/>
                      <a:pt x="340" y="55"/>
                    </a:cubicBezTo>
                    <a:cubicBezTo>
                      <a:pt x="339" y="60"/>
                      <a:pt x="339" y="60"/>
                      <a:pt x="339" y="60"/>
                    </a:cubicBezTo>
                    <a:cubicBezTo>
                      <a:pt x="338" y="55"/>
                      <a:pt x="338" y="55"/>
                      <a:pt x="338" y="55"/>
                    </a:cubicBezTo>
                    <a:cubicBezTo>
                      <a:pt x="336" y="55"/>
                      <a:pt x="334" y="54"/>
                      <a:pt x="333" y="54"/>
                    </a:cubicBezTo>
                    <a:cubicBezTo>
                      <a:pt x="332" y="54"/>
                      <a:pt x="331" y="54"/>
                      <a:pt x="330" y="55"/>
                    </a:cubicBezTo>
                    <a:cubicBezTo>
                      <a:pt x="325" y="55"/>
                      <a:pt x="321" y="56"/>
                      <a:pt x="317" y="57"/>
                    </a:cubicBezTo>
                    <a:cubicBezTo>
                      <a:pt x="281" y="94"/>
                      <a:pt x="281" y="94"/>
                      <a:pt x="281" y="94"/>
                    </a:cubicBezTo>
                    <a:cubicBezTo>
                      <a:pt x="280" y="93"/>
                      <a:pt x="280" y="93"/>
                      <a:pt x="280" y="93"/>
                    </a:cubicBezTo>
                    <a:cubicBezTo>
                      <a:pt x="279" y="93"/>
                      <a:pt x="278" y="93"/>
                      <a:pt x="277" y="93"/>
                    </a:cubicBezTo>
                    <a:cubicBezTo>
                      <a:pt x="276" y="93"/>
                      <a:pt x="276" y="93"/>
                      <a:pt x="275" y="93"/>
                    </a:cubicBezTo>
                    <a:cubicBezTo>
                      <a:pt x="273" y="93"/>
                      <a:pt x="271" y="92"/>
                      <a:pt x="268" y="91"/>
                    </a:cubicBezTo>
                    <a:cubicBezTo>
                      <a:pt x="269" y="91"/>
                      <a:pt x="269" y="91"/>
                      <a:pt x="270" y="91"/>
                    </a:cubicBezTo>
                    <a:cubicBezTo>
                      <a:pt x="271" y="91"/>
                      <a:pt x="273" y="91"/>
                      <a:pt x="275" y="90"/>
                    </a:cubicBezTo>
                    <a:cubicBezTo>
                      <a:pt x="273" y="90"/>
                      <a:pt x="271" y="90"/>
                      <a:pt x="268" y="91"/>
                    </a:cubicBezTo>
                    <a:cubicBezTo>
                      <a:pt x="264" y="91"/>
                      <a:pt x="260" y="92"/>
                      <a:pt x="255" y="93"/>
                    </a:cubicBezTo>
                    <a:cubicBezTo>
                      <a:pt x="250" y="93"/>
                      <a:pt x="246" y="94"/>
                      <a:pt x="241" y="96"/>
                    </a:cubicBezTo>
                    <a:cubicBezTo>
                      <a:pt x="239" y="96"/>
                      <a:pt x="237" y="97"/>
                      <a:pt x="234" y="97"/>
                    </a:cubicBezTo>
                    <a:cubicBezTo>
                      <a:pt x="232" y="98"/>
                      <a:pt x="229" y="98"/>
                      <a:pt x="227" y="99"/>
                    </a:cubicBezTo>
                    <a:cubicBezTo>
                      <a:pt x="224" y="99"/>
                      <a:pt x="222" y="100"/>
                      <a:pt x="219" y="100"/>
                    </a:cubicBezTo>
                    <a:cubicBezTo>
                      <a:pt x="218" y="100"/>
                      <a:pt x="217" y="100"/>
                      <a:pt x="215" y="99"/>
                    </a:cubicBezTo>
                    <a:cubicBezTo>
                      <a:pt x="214" y="99"/>
                      <a:pt x="213" y="99"/>
                      <a:pt x="211" y="99"/>
                    </a:cubicBezTo>
                    <a:cubicBezTo>
                      <a:pt x="210" y="98"/>
                      <a:pt x="208" y="98"/>
                      <a:pt x="206" y="97"/>
                    </a:cubicBezTo>
                    <a:cubicBezTo>
                      <a:pt x="203" y="97"/>
                      <a:pt x="201" y="96"/>
                      <a:pt x="198" y="95"/>
                    </a:cubicBezTo>
                    <a:cubicBezTo>
                      <a:pt x="195" y="94"/>
                      <a:pt x="193" y="93"/>
                      <a:pt x="190" y="92"/>
                    </a:cubicBezTo>
                    <a:cubicBezTo>
                      <a:pt x="190" y="92"/>
                      <a:pt x="190" y="92"/>
                      <a:pt x="190" y="92"/>
                    </a:cubicBezTo>
                    <a:cubicBezTo>
                      <a:pt x="188" y="91"/>
                      <a:pt x="185" y="90"/>
                      <a:pt x="183" y="88"/>
                    </a:cubicBezTo>
                    <a:cubicBezTo>
                      <a:pt x="180" y="87"/>
                      <a:pt x="178" y="85"/>
                      <a:pt x="176" y="83"/>
                    </a:cubicBezTo>
                    <a:cubicBezTo>
                      <a:pt x="175" y="82"/>
                      <a:pt x="174" y="81"/>
                      <a:pt x="173" y="80"/>
                    </a:cubicBezTo>
                    <a:cubicBezTo>
                      <a:pt x="173" y="79"/>
                      <a:pt x="172" y="78"/>
                      <a:pt x="171" y="77"/>
                    </a:cubicBezTo>
                    <a:cubicBezTo>
                      <a:pt x="169" y="76"/>
                      <a:pt x="167" y="74"/>
                      <a:pt x="164" y="74"/>
                    </a:cubicBezTo>
                    <a:cubicBezTo>
                      <a:pt x="161" y="73"/>
                      <a:pt x="158" y="72"/>
                      <a:pt x="155" y="71"/>
                    </a:cubicBezTo>
                    <a:cubicBezTo>
                      <a:pt x="155" y="71"/>
                      <a:pt x="155" y="71"/>
                      <a:pt x="155" y="71"/>
                    </a:cubicBezTo>
                    <a:cubicBezTo>
                      <a:pt x="152" y="71"/>
                      <a:pt x="149" y="70"/>
                      <a:pt x="146" y="69"/>
                    </a:cubicBezTo>
                    <a:cubicBezTo>
                      <a:pt x="144" y="68"/>
                      <a:pt x="141" y="67"/>
                      <a:pt x="140" y="65"/>
                    </a:cubicBezTo>
                    <a:cubicBezTo>
                      <a:pt x="139" y="64"/>
                      <a:pt x="138" y="63"/>
                      <a:pt x="138" y="62"/>
                    </a:cubicBezTo>
                    <a:cubicBezTo>
                      <a:pt x="137" y="60"/>
                      <a:pt x="137" y="59"/>
                      <a:pt x="136" y="57"/>
                    </a:cubicBezTo>
                    <a:cubicBezTo>
                      <a:pt x="136" y="54"/>
                      <a:pt x="135" y="51"/>
                      <a:pt x="134" y="48"/>
                    </a:cubicBezTo>
                    <a:cubicBezTo>
                      <a:pt x="134" y="46"/>
                      <a:pt x="134" y="45"/>
                      <a:pt x="134" y="43"/>
                    </a:cubicBezTo>
                    <a:cubicBezTo>
                      <a:pt x="132" y="43"/>
                      <a:pt x="132" y="43"/>
                      <a:pt x="132" y="43"/>
                    </a:cubicBezTo>
                    <a:cubicBezTo>
                      <a:pt x="132" y="43"/>
                      <a:pt x="131" y="43"/>
                      <a:pt x="130" y="43"/>
                    </a:cubicBezTo>
                    <a:cubicBezTo>
                      <a:pt x="130" y="44"/>
                      <a:pt x="130" y="44"/>
                      <a:pt x="130" y="44"/>
                    </a:cubicBezTo>
                    <a:cubicBezTo>
                      <a:pt x="129" y="44"/>
                      <a:pt x="128" y="44"/>
                      <a:pt x="128" y="44"/>
                    </a:cubicBezTo>
                    <a:cubicBezTo>
                      <a:pt x="128" y="44"/>
                      <a:pt x="128" y="44"/>
                      <a:pt x="128" y="44"/>
                    </a:cubicBezTo>
                    <a:cubicBezTo>
                      <a:pt x="127" y="44"/>
                      <a:pt x="127" y="44"/>
                      <a:pt x="127" y="44"/>
                    </a:cubicBezTo>
                    <a:cubicBezTo>
                      <a:pt x="127" y="44"/>
                      <a:pt x="126" y="44"/>
                      <a:pt x="126" y="44"/>
                    </a:cubicBezTo>
                    <a:cubicBezTo>
                      <a:pt x="126" y="44"/>
                      <a:pt x="126" y="44"/>
                      <a:pt x="126" y="44"/>
                    </a:cubicBezTo>
                    <a:cubicBezTo>
                      <a:pt x="125" y="44"/>
                      <a:pt x="125" y="44"/>
                      <a:pt x="125" y="44"/>
                    </a:cubicBezTo>
                    <a:cubicBezTo>
                      <a:pt x="125" y="44"/>
                      <a:pt x="124" y="44"/>
                      <a:pt x="124" y="43"/>
                    </a:cubicBezTo>
                    <a:cubicBezTo>
                      <a:pt x="122" y="43"/>
                      <a:pt x="121" y="41"/>
                      <a:pt x="121" y="40"/>
                    </a:cubicBezTo>
                    <a:cubicBezTo>
                      <a:pt x="120" y="39"/>
                      <a:pt x="120" y="39"/>
                      <a:pt x="120" y="38"/>
                    </a:cubicBezTo>
                    <a:cubicBezTo>
                      <a:pt x="120" y="38"/>
                      <a:pt x="119" y="38"/>
                      <a:pt x="118" y="38"/>
                    </a:cubicBezTo>
                    <a:cubicBezTo>
                      <a:pt x="117" y="36"/>
                      <a:pt x="116" y="36"/>
                      <a:pt x="115" y="35"/>
                    </a:cubicBezTo>
                    <a:cubicBezTo>
                      <a:pt x="114" y="35"/>
                      <a:pt x="114" y="34"/>
                      <a:pt x="113" y="34"/>
                    </a:cubicBezTo>
                    <a:cubicBezTo>
                      <a:pt x="112" y="33"/>
                      <a:pt x="112" y="33"/>
                      <a:pt x="112" y="33"/>
                    </a:cubicBezTo>
                    <a:cubicBezTo>
                      <a:pt x="112" y="32"/>
                      <a:pt x="112" y="32"/>
                      <a:pt x="112" y="32"/>
                    </a:cubicBezTo>
                    <a:cubicBezTo>
                      <a:pt x="103" y="25"/>
                      <a:pt x="103" y="25"/>
                      <a:pt x="103" y="25"/>
                    </a:cubicBezTo>
                    <a:cubicBezTo>
                      <a:pt x="112" y="19"/>
                      <a:pt x="112" y="19"/>
                      <a:pt x="112" y="19"/>
                    </a:cubicBezTo>
                    <a:cubicBezTo>
                      <a:pt x="110" y="17"/>
                      <a:pt x="109" y="15"/>
                      <a:pt x="111" y="12"/>
                    </a:cubicBezTo>
                    <a:cubicBezTo>
                      <a:pt x="111" y="11"/>
                      <a:pt x="112" y="10"/>
                      <a:pt x="112" y="9"/>
                    </a:cubicBezTo>
                    <a:cubicBezTo>
                      <a:pt x="113" y="8"/>
                      <a:pt x="113" y="8"/>
                      <a:pt x="113" y="8"/>
                    </a:cubicBezTo>
                    <a:cubicBezTo>
                      <a:pt x="112" y="7"/>
                      <a:pt x="112" y="7"/>
                      <a:pt x="112" y="7"/>
                    </a:cubicBezTo>
                    <a:cubicBezTo>
                      <a:pt x="111" y="5"/>
                      <a:pt x="111" y="5"/>
                      <a:pt x="111" y="5"/>
                    </a:cubicBezTo>
                    <a:cubicBezTo>
                      <a:pt x="108" y="2"/>
                      <a:pt x="107" y="1"/>
                      <a:pt x="107" y="1"/>
                    </a:cubicBezTo>
                    <a:cubicBezTo>
                      <a:pt x="107" y="1"/>
                      <a:pt x="105" y="1"/>
                      <a:pt x="102" y="4"/>
                    </a:cubicBezTo>
                    <a:cubicBezTo>
                      <a:pt x="101" y="4"/>
                      <a:pt x="101" y="4"/>
                      <a:pt x="101" y="4"/>
                    </a:cubicBezTo>
                    <a:cubicBezTo>
                      <a:pt x="97" y="7"/>
                      <a:pt x="94" y="9"/>
                      <a:pt x="90" y="11"/>
                    </a:cubicBezTo>
                    <a:cubicBezTo>
                      <a:pt x="88" y="13"/>
                      <a:pt x="88" y="13"/>
                      <a:pt x="88" y="13"/>
                    </a:cubicBezTo>
                    <a:cubicBezTo>
                      <a:pt x="86" y="14"/>
                      <a:pt x="85" y="14"/>
                      <a:pt x="84" y="15"/>
                    </a:cubicBezTo>
                    <a:cubicBezTo>
                      <a:pt x="81" y="17"/>
                      <a:pt x="79" y="18"/>
                      <a:pt x="78" y="20"/>
                    </a:cubicBezTo>
                    <a:cubicBezTo>
                      <a:pt x="77" y="20"/>
                      <a:pt x="76" y="21"/>
                      <a:pt x="76" y="22"/>
                    </a:cubicBezTo>
                    <a:cubicBezTo>
                      <a:pt x="75" y="23"/>
                      <a:pt x="75" y="23"/>
                      <a:pt x="75" y="23"/>
                    </a:cubicBezTo>
                    <a:cubicBezTo>
                      <a:pt x="73" y="24"/>
                      <a:pt x="73" y="24"/>
                      <a:pt x="73" y="24"/>
                    </a:cubicBezTo>
                    <a:cubicBezTo>
                      <a:pt x="72" y="25"/>
                      <a:pt x="71" y="26"/>
                      <a:pt x="70" y="27"/>
                    </a:cubicBezTo>
                    <a:cubicBezTo>
                      <a:pt x="69" y="28"/>
                      <a:pt x="69" y="28"/>
                      <a:pt x="69" y="28"/>
                    </a:cubicBezTo>
                    <a:cubicBezTo>
                      <a:pt x="65" y="35"/>
                      <a:pt x="65" y="35"/>
                      <a:pt x="65" y="35"/>
                    </a:cubicBezTo>
                    <a:cubicBezTo>
                      <a:pt x="65" y="32"/>
                      <a:pt x="65" y="32"/>
                      <a:pt x="65" y="32"/>
                    </a:cubicBezTo>
                    <a:cubicBezTo>
                      <a:pt x="65" y="32"/>
                      <a:pt x="65" y="32"/>
                      <a:pt x="65" y="32"/>
                    </a:cubicBezTo>
                    <a:cubicBezTo>
                      <a:pt x="64" y="28"/>
                      <a:pt x="64" y="28"/>
                      <a:pt x="64" y="28"/>
                    </a:cubicBezTo>
                    <a:cubicBezTo>
                      <a:pt x="64" y="28"/>
                      <a:pt x="64" y="28"/>
                      <a:pt x="64" y="28"/>
                    </a:cubicBezTo>
                    <a:cubicBezTo>
                      <a:pt x="64" y="28"/>
                      <a:pt x="64" y="28"/>
                      <a:pt x="64" y="28"/>
                    </a:cubicBezTo>
                    <a:cubicBezTo>
                      <a:pt x="64" y="28"/>
                      <a:pt x="64" y="28"/>
                      <a:pt x="64" y="28"/>
                    </a:cubicBezTo>
                    <a:cubicBezTo>
                      <a:pt x="63" y="28"/>
                      <a:pt x="62" y="28"/>
                      <a:pt x="61" y="29"/>
                    </a:cubicBezTo>
                    <a:cubicBezTo>
                      <a:pt x="60" y="29"/>
                      <a:pt x="60" y="29"/>
                      <a:pt x="60" y="29"/>
                    </a:cubicBezTo>
                    <a:cubicBezTo>
                      <a:pt x="60" y="30"/>
                      <a:pt x="60" y="30"/>
                      <a:pt x="60" y="30"/>
                    </a:cubicBezTo>
                    <a:cubicBezTo>
                      <a:pt x="57" y="30"/>
                      <a:pt x="57" y="30"/>
                      <a:pt x="57" y="30"/>
                    </a:cubicBezTo>
                    <a:cubicBezTo>
                      <a:pt x="57" y="30"/>
                      <a:pt x="52" y="29"/>
                      <a:pt x="49" y="29"/>
                    </a:cubicBezTo>
                    <a:cubicBezTo>
                      <a:pt x="44" y="28"/>
                      <a:pt x="34" y="25"/>
                      <a:pt x="32" y="22"/>
                    </a:cubicBezTo>
                    <a:cubicBezTo>
                      <a:pt x="31" y="21"/>
                      <a:pt x="29" y="19"/>
                      <a:pt x="28" y="18"/>
                    </a:cubicBezTo>
                    <a:cubicBezTo>
                      <a:pt x="27" y="17"/>
                      <a:pt x="27" y="17"/>
                      <a:pt x="27" y="17"/>
                    </a:cubicBezTo>
                    <a:cubicBezTo>
                      <a:pt x="27" y="16"/>
                      <a:pt x="26" y="16"/>
                      <a:pt x="25" y="15"/>
                    </a:cubicBezTo>
                    <a:cubicBezTo>
                      <a:pt x="20" y="10"/>
                      <a:pt x="17" y="7"/>
                      <a:pt x="16" y="5"/>
                    </a:cubicBezTo>
                    <a:cubicBezTo>
                      <a:pt x="16" y="4"/>
                      <a:pt x="16" y="4"/>
                      <a:pt x="16" y="4"/>
                    </a:cubicBezTo>
                    <a:cubicBezTo>
                      <a:pt x="15" y="4"/>
                      <a:pt x="15" y="4"/>
                      <a:pt x="15" y="4"/>
                    </a:cubicBezTo>
                    <a:cubicBezTo>
                      <a:pt x="15" y="3"/>
                      <a:pt x="15" y="3"/>
                      <a:pt x="15" y="3"/>
                    </a:cubicBezTo>
                    <a:cubicBezTo>
                      <a:pt x="14" y="2"/>
                      <a:pt x="14" y="2"/>
                      <a:pt x="14" y="2"/>
                    </a:cubicBezTo>
                    <a:cubicBezTo>
                      <a:pt x="14" y="2"/>
                      <a:pt x="14" y="2"/>
                      <a:pt x="14" y="2"/>
                    </a:cubicBezTo>
                    <a:cubicBezTo>
                      <a:pt x="14" y="1"/>
                      <a:pt x="14" y="1"/>
                      <a:pt x="14" y="1"/>
                    </a:cubicBezTo>
                    <a:cubicBezTo>
                      <a:pt x="12" y="0"/>
                      <a:pt x="12" y="0"/>
                      <a:pt x="12" y="0"/>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15" name="Freeform 343">
                <a:extLst>
                  <a:ext uri="{FF2B5EF4-FFF2-40B4-BE49-F238E27FC236}">
                    <a16:creationId xmlns:a16="http://schemas.microsoft.com/office/drawing/2014/main" id="{D4E2D5FA-8BA5-43E6-92C7-323CA201F5D2}"/>
                  </a:ext>
                </a:extLst>
              </p:cNvPr>
              <p:cNvSpPr>
                <a:spLocks/>
              </p:cNvSpPr>
              <p:nvPr/>
            </p:nvSpPr>
            <p:spPr bwMode="auto">
              <a:xfrm>
                <a:off x="9091180" y="4893834"/>
                <a:ext cx="51592" cy="103183"/>
              </a:xfrm>
              <a:custGeom>
                <a:avLst/>
                <a:gdLst>
                  <a:gd name="T0" fmla="*/ 16 w 16"/>
                  <a:gd name="T1" fmla="*/ 0 h 33"/>
                  <a:gd name="T2" fmla="*/ 15 w 16"/>
                  <a:gd name="T3" fmla="*/ 0 h 33"/>
                  <a:gd name="T4" fmla="*/ 10 w 16"/>
                  <a:gd name="T5" fmla="*/ 4 h 33"/>
                  <a:gd name="T6" fmla="*/ 5 w 16"/>
                  <a:gd name="T7" fmla="*/ 8 h 33"/>
                  <a:gd name="T8" fmla="*/ 2 w 16"/>
                  <a:gd name="T9" fmla="*/ 12 h 33"/>
                  <a:gd name="T10" fmla="*/ 0 w 16"/>
                  <a:gd name="T11" fmla="*/ 13 h 33"/>
                  <a:gd name="T12" fmla="*/ 11 w 16"/>
                  <a:gd name="T13" fmla="*/ 33 h 33"/>
                  <a:gd name="T14" fmla="*/ 9 w 16"/>
                  <a:gd name="T15" fmla="*/ 23 h 33"/>
                  <a:gd name="T16" fmla="*/ 12 w 16"/>
                  <a:gd name="T17" fmla="*/ 15 h 33"/>
                  <a:gd name="T18" fmla="*/ 11 w 16"/>
                  <a:gd name="T19" fmla="*/ 12 h 33"/>
                  <a:gd name="T20" fmla="*/ 9 w 16"/>
                  <a:gd name="T21" fmla="*/ 12 h 33"/>
                  <a:gd name="T22" fmla="*/ 8 w 16"/>
                  <a:gd name="T23" fmla="*/ 12 h 33"/>
                  <a:gd name="T24" fmla="*/ 10 w 16"/>
                  <a:gd name="T25" fmla="*/ 8 h 33"/>
                  <a:gd name="T26" fmla="*/ 15 w 16"/>
                  <a:gd name="T27" fmla="*/ 1 h 33"/>
                  <a:gd name="T28" fmla="*/ 16 w 16"/>
                  <a:gd name="T2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33">
                    <a:moveTo>
                      <a:pt x="16" y="0"/>
                    </a:moveTo>
                    <a:cubicBezTo>
                      <a:pt x="15" y="0"/>
                      <a:pt x="15" y="0"/>
                      <a:pt x="15" y="0"/>
                    </a:cubicBezTo>
                    <a:cubicBezTo>
                      <a:pt x="13" y="1"/>
                      <a:pt x="12" y="3"/>
                      <a:pt x="10" y="4"/>
                    </a:cubicBezTo>
                    <a:cubicBezTo>
                      <a:pt x="8" y="6"/>
                      <a:pt x="7" y="7"/>
                      <a:pt x="5" y="8"/>
                    </a:cubicBezTo>
                    <a:cubicBezTo>
                      <a:pt x="2" y="11"/>
                      <a:pt x="2" y="12"/>
                      <a:pt x="2" y="12"/>
                    </a:cubicBezTo>
                    <a:cubicBezTo>
                      <a:pt x="1" y="12"/>
                      <a:pt x="1" y="12"/>
                      <a:pt x="0" y="13"/>
                    </a:cubicBezTo>
                    <a:cubicBezTo>
                      <a:pt x="4" y="20"/>
                      <a:pt x="8" y="26"/>
                      <a:pt x="11" y="33"/>
                    </a:cubicBezTo>
                    <a:cubicBezTo>
                      <a:pt x="11" y="30"/>
                      <a:pt x="10" y="27"/>
                      <a:pt x="9" y="23"/>
                    </a:cubicBezTo>
                    <a:cubicBezTo>
                      <a:pt x="9" y="20"/>
                      <a:pt x="11" y="18"/>
                      <a:pt x="12" y="15"/>
                    </a:cubicBezTo>
                    <a:cubicBezTo>
                      <a:pt x="12" y="13"/>
                      <a:pt x="12" y="12"/>
                      <a:pt x="11" y="12"/>
                    </a:cubicBezTo>
                    <a:cubicBezTo>
                      <a:pt x="11" y="12"/>
                      <a:pt x="10" y="12"/>
                      <a:pt x="9" y="12"/>
                    </a:cubicBezTo>
                    <a:cubicBezTo>
                      <a:pt x="9" y="12"/>
                      <a:pt x="9" y="12"/>
                      <a:pt x="8" y="12"/>
                    </a:cubicBezTo>
                    <a:cubicBezTo>
                      <a:pt x="7" y="12"/>
                      <a:pt x="10" y="9"/>
                      <a:pt x="10" y="8"/>
                    </a:cubicBezTo>
                    <a:cubicBezTo>
                      <a:pt x="12" y="5"/>
                      <a:pt x="13" y="3"/>
                      <a:pt x="15" y="1"/>
                    </a:cubicBezTo>
                    <a:cubicBezTo>
                      <a:pt x="15"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16" name="Freeform 344">
                <a:extLst>
                  <a:ext uri="{FF2B5EF4-FFF2-40B4-BE49-F238E27FC236}">
                    <a16:creationId xmlns:a16="http://schemas.microsoft.com/office/drawing/2014/main" id="{5982D5C2-D232-401D-BF91-D0E036052608}"/>
                  </a:ext>
                </a:extLst>
              </p:cNvPr>
              <p:cNvSpPr>
                <a:spLocks/>
              </p:cNvSpPr>
              <p:nvPr/>
            </p:nvSpPr>
            <p:spPr bwMode="auto">
              <a:xfrm>
                <a:off x="9109606" y="4827502"/>
                <a:ext cx="1249254" cy="773874"/>
              </a:xfrm>
              <a:custGeom>
                <a:avLst/>
                <a:gdLst>
                  <a:gd name="T0" fmla="*/ 163 w 393"/>
                  <a:gd name="T1" fmla="*/ 14 h 244"/>
                  <a:gd name="T2" fmla="*/ 153 w 393"/>
                  <a:gd name="T3" fmla="*/ 9 h 244"/>
                  <a:gd name="T4" fmla="*/ 130 w 393"/>
                  <a:gd name="T5" fmla="*/ 23 h 244"/>
                  <a:gd name="T6" fmla="*/ 126 w 393"/>
                  <a:gd name="T7" fmla="*/ 36 h 244"/>
                  <a:gd name="T8" fmla="*/ 107 w 393"/>
                  <a:gd name="T9" fmla="*/ 49 h 244"/>
                  <a:gd name="T10" fmla="*/ 86 w 393"/>
                  <a:gd name="T11" fmla="*/ 49 h 244"/>
                  <a:gd name="T12" fmla="*/ 74 w 393"/>
                  <a:gd name="T13" fmla="*/ 46 h 244"/>
                  <a:gd name="T14" fmla="*/ 53 w 393"/>
                  <a:gd name="T15" fmla="*/ 24 h 244"/>
                  <a:gd name="T16" fmla="*/ 36 w 393"/>
                  <a:gd name="T17" fmla="*/ 14 h 244"/>
                  <a:gd name="T18" fmla="*/ 30 w 393"/>
                  <a:gd name="T19" fmla="*/ 18 h 244"/>
                  <a:gd name="T20" fmla="*/ 53 w 393"/>
                  <a:gd name="T21" fmla="*/ 60 h 244"/>
                  <a:gd name="T22" fmla="*/ 47 w 393"/>
                  <a:gd name="T23" fmla="*/ 66 h 244"/>
                  <a:gd name="T24" fmla="*/ 31 w 393"/>
                  <a:gd name="T25" fmla="*/ 69 h 244"/>
                  <a:gd name="T26" fmla="*/ 21 w 393"/>
                  <a:gd name="T27" fmla="*/ 65 h 244"/>
                  <a:gd name="T28" fmla="*/ 7 w 393"/>
                  <a:gd name="T29" fmla="*/ 89 h 244"/>
                  <a:gd name="T30" fmla="*/ 17 w 393"/>
                  <a:gd name="T31" fmla="*/ 91 h 244"/>
                  <a:gd name="T32" fmla="*/ 20 w 393"/>
                  <a:gd name="T33" fmla="*/ 90 h 244"/>
                  <a:gd name="T34" fmla="*/ 17 w 393"/>
                  <a:gd name="T35" fmla="*/ 105 h 244"/>
                  <a:gd name="T36" fmla="*/ 14 w 393"/>
                  <a:gd name="T37" fmla="*/ 111 h 244"/>
                  <a:gd name="T38" fmla="*/ 35 w 393"/>
                  <a:gd name="T39" fmla="*/ 183 h 244"/>
                  <a:gd name="T40" fmla="*/ 97 w 393"/>
                  <a:gd name="T41" fmla="*/ 150 h 244"/>
                  <a:gd name="T42" fmla="*/ 104 w 393"/>
                  <a:gd name="T43" fmla="*/ 145 h 244"/>
                  <a:gd name="T44" fmla="*/ 116 w 393"/>
                  <a:gd name="T45" fmla="*/ 143 h 244"/>
                  <a:gd name="T46" fmla="*/ 137 w 393"/>
                  <a:gd name="T47" fmla="*/ 155 h 244"/>
                  <a:gd name="T48" fmla="*/ 156 w 393"/>
                  <a:gd name="T49" fmla="*/ 161 h 244"/>
                  <a:gd name="T50" fmla="*/ 163 w 393"/>
                  <a:gd name="T51" fmla="*/ 164 h 244"/>
                  <a:gd name="T52" fmla="*/ 186 w 393"/>
                  <a:gd name="T53" fmla="*/ 166 h 244"/>
                  <a:gd name="T54" fmla="*/ 197 w 393"/>
                  <a:gd name="T55" fmla="*/ 178 h 244"/>
                  <a:gd name="T56" fmla="*/ 213 w 393"/>
                  <a:gd name="T57" fmla="*/ 188 h 244"/>
                  <a:gd name="T58" fmla="*/ 222 w 393"/>
                  <a:gd name="T59" fmla="*/ 197 h 244"/>
                  <a:gd name="T60" fmla="*/ 239 w 393"/>
                  <a:gd name="T61" fmla="*/ 197 h 244"/>
                  <a:gd name="T62" fmla="*/ 244 w 393"/>
                  <a:gd name="T63" fmla="*/ 216 h 244"/>
                  <a:gd name="T64" fmla="*/ 251 w 393"/>
                  <a:gd name="T65" fmla="*/ 233 h 244"/>
                  <a:gd name="T66" fmla="*/ 269 w 393"/>
                  <a:gd name="T67" fmla="*/ 240 h 244"/>
                  <a:gd name="T68" fmla="*/ 285 w 393"/>
                  <a:gd name="T69" fmla="*/ 241 h 244"/>
                  <a:gd name="T70" fmla="*/ 294 w 393"/>
                  <a:gd name="T71" fmla="*/ 229 h 244"/>
                  <a:gd name="T72" fmla="*/ 325 w 393"/>
                  <a:gd name="T73" fmla="*/ 214 h 244"/>
                  <a:gd name="T74" fmla="*/ 336 w 393"/>
                  <a:gd name="T75" fmla="*/ 198 h 244"/>
                  <a:gd name="T76" fmla="*/ 362 w 393"/>
                  <a:gd name="T77" fmla="*/ 178 h 244"/>
                  <a:gd name="T78" fmla="*/ 371 w 393"/>
                  <a:gd name="T79" fmla="*/ 168 h 244"/>
                  <a:gd name="T80" fmla="*/ 383 w 393"/>
                  <a:gd name="T81" fmla="*/ 173 h 244"/>
                  <a:gd name="T82" fmla="*/ 390 w 393"/>
                  <a:gd name="T83" fmla="*/ 174 h 244"/>
                  <a:gd name="T84" fmla="*/ 393 w 393"/>
                  <a:gd name="T85" fmla="*/ 162 h 244"/>
                  <a:gd name="T86" fmla="*/ 376 w 393"/>
                  <a:gd name="T87" fmla="*/ 150 h 244"/>
                  <a:gd name="T88" fmla="*/ 357 w 393"/>
                  <a:gd name="T89" fmla="*/ 145 h 244"/>
                  <a:gd name="T90" fmla="*/ 313 w 393"/>
                  <a:gd name="T91" fmla="*/ 118 h 244"/>
                  <a:gd name="T92" fmla="*/ 283 w 393"/>
                  <a:gd name="T93" fmla="*/ 98 h 244"/>
                  <a:gd name="T94" fmla="*/ 273 w 393"/>
                  <a:gd name="T95" fmla="*/ 85 h 244"/>
                  <a:gd name="T96" fmla="*/ 255 w 393"/>
                  <a:gd name="T97" fmla="*/ 52 h 244"/>
                  <a:gd name="T98" fmla="*/ 227 w 393"/>
                  <a:gd name="T99" fmla="*/ 51 h 244"/>
                  <a:gd name="T100" fmla="*/ 212 w 393"/>
                  <a:gd name="T101" fmla="*/ 47 h 244"/>
                  <a:gd name="T102" fmla="*/ 207 w 393"/>
                  <a:gd name="T103" fmla="*/ 34 h 244"/>
                  <a:gd name="T104" fmla="*/ 204 w 393"/>
                  <a:gd name="T105" fmla="*/ 20 h 244"/>
                  <a:gd name="T106" fmla="*/ 189 w 393"/>
                  <a:gd name="T107" fmla="*/ 14 h 244"/>
                  <a:gd name="T108" fmla="*/ 181 w 393"/>
                  <a:gd name="T109" fmla="*/ 7 h 244"/>
                  <a:gd name="T110" fmla="*/ 174 w 393"/>
                  <a:gd name="T111" fmla="*/ 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3" h="244">
                    <a:moveTo>
                      <a:pt x="168" y="0"/>
                    </a:moveTo>
                    <a:cubicBezTo>
                      <a:pt x="168" y="0"/>
                      <a:pt x="168" y="0"/>
                      <a:pt x="168" y="0"/>
                    </a:cubicBezTo>
                    <a:cubicBezTo>
                      <a:pt x="165" y="3"/>
                      <a:pt x="164" y="4"/>
                      <a:pt x="165" y="5"/>
                    </a:cubicBezTo>
                    <a:cubicBezTo>
                      <a:pt x="165" y="6"/>
                      <a:pt x="167" y="8"/>
                      <a:pt x="167" y="9"/>
                    </a:cubicBezTo>
                    <a:cubicBezTo>
                      <a:pt x="182" y="26"/>
                      <a:pt x="182" y="26"/>
                      <a:pt x="182" y="26"/>
                    </a:cubicBezTo>
                    <a:cubicBezTo>
                      <a:pt x="163" y="14"/>
                      <a:pt x="163" y="14"/>
                      <a:pt x="163" y="14"/>
                    </a:cubicBezTo>
                    <a:cubicBezTo>
                      <a:pt x="162" y="14"/>
                      <a:pt x="161" y="13"/>
                      <a:pt x="161" y="12"/>
                    </a:cubicBezTo>
                    <a:cubicBezTo>
                      <a:pt x="160" y="11"/>
                      <a:pt x="160" y="11"/>
                      <a:pt x="160" y="11"/>
                    </a:cubicBezTo>
                    <a:cubicBezTo>
                      <a:pt x="159" y="10"/>
                      <a:pt x="158" y="10"/>
                      <a:pt x="157" y="9"/>
                    </a:cubicBezTo>
                    <a:cubicBezTo>
                      <a:pt x="156" y="9"/>
                      <a:pt x="156" y="9"/>
                      <a:pt x="156" y="9"/>
                    </a:cubicBezTo>
                    <a:cubicBezTo>
                      <a:pt x="155" y="9"/>
                      <a:pt x="155" y="9"/>
                      <a:pt x="154" y="9"/>
                    </a:cubicBezTo>
                    <a:cubicBezTo>
                      <a:pt x="153" y="9"/>
                      <a:pt x="153" y="9"/>
                      <a:pt x="153" y="9"/>
                    </a:cubicBezTo>
                    <a:cubicBezTo>
                      <a:pt x="153" y="9"/>
                      <a:pt x="153" y="10"/>
                      <a:pt x="152" y="11"/>
                    </a:cubicBezTo>
                    <a:cubicBezTo>
                      <a:pt x="152" y="12"/>
                      <a:pt x="152" y="13"/>
                      <a:pt x="151" y="14"/>
                    </a:cubicBezTo>
                    <a:cubicBezTo>
                      <a:pt x="149" y="18"/>
                      <a:pt x="146" y="19"/>
                      <a:pt x="142" y="20"/>
                    </a:cubicBezTo>
                    <a:cubicBezTo>
                      <a:pt x="141" y="21"/>
                      <a:pt x="140" y="21"/>
                      <a:pt x="138" y="21"/>
                    </a:cubicBezTo>
                    <a:cubicBezTo>
                      <a:pt x="136" y="22"/>
                      <a:pt x="133" y="22"/>
                      <a:pt x="131" y="23"/>
                    </a:cubicBezTo>
                    <a:cubicBezTo>
                      <a:pt x="131" y="23"/>
                      <a:pt x="130" y="23"/>
                      <a:pt x="130" y="23"/>
                    </a:cubicBezTo>
                    <a:cubicBezTo>
                      <a:pt x="130" y="23"/>
                      <a:pt x="130" y="23"/>
                      <a:pt x="130" y="23"/>
                    </a:cubicBezTo>
                    <a:cubicBezTo>
                      <a:pt x="129" y="24"/>
                      <a:pt x="128" y="28"/>
                      <a:pt x="127" y="29"/>
                    </a:cubicBezTo>
                    <a:cubicBezTo>
                      <a:pt x="127" y="31"/>
                      <a:pt x="126" y="32"/>
                      <a:pt x="126" y="33"/>
                    </a:cubicBezTo>
                    <a:cubicBezTo>
                      <a:pt x="126" y="34"/>
                      <a:pt x="126" y="34"/>
                      <a:pt x="126" y="34"/>
                    </a:cubicBezTo>
                    <a:cubicBezTo>
                      <a:pt x="126" y="35"/>
                      <a:pt x="126" y="35"/>
                      <a:pt x="126" y="35"/>
                    </a:cubicBezTo>
                    <a:cubicBezTo>
                      <a:pt x="126" y="36"/>
                      <a:pt x="126" y="36"/>
                      <a:pt x="126" y="36"/>
                    </a:cubicBezTo>
                    <a:cubicBezTo>
                      <a:pt x="126" y="36"/>
                      <a:pt x="126" y="37"/>
                      <a:pt x="127" y="38"/>
                    </a:cubicBezTo>
                    <a:cubicBezTo>
                      <a:pt x="127" y="39"/>
                      <a:pt x="127" y="40"/>
                      <a:pt x="127" y="40"/>
                    </a:cubicBezTo>
                    <a:cubicBezTo>
                      <a:pt x="128" y="40"/>
                      <a:pt x="128" y="40"/>
                      <a:pt x="128" y="40"/>
                    </a:cubicBezTo>
                    <a:cubicBezTo>
                      <a:pt x="148" y="42"/>
                      <a:pt x="148" y="42"/>
                      <a:pt x="148" y="42"/>
                    </a:cubicBezTo>
                    <a:cubicBezTo>
                      <a:pt x="128" y="47"/>
                      <a:pt x="128" y="47"/>
                      <a:pt x="128" y="47"/>
                    </a:cubicBezTo>
                    <a:cubicBezTo>
                      <a:pt x="121" y="48"/>
                      <a:pt x="114" y="49"/>
                      <a:pt x="107" y="49"/>
                    </a:cubicBezTo>
                    <a:cubicBezTo>
                      <a:pt x="102" y="49"/>
                      <a:pt x="98" y="49"/>
                      <a:pt x="94" y="48"/>
                    </a:cubicBezTo>
                    <a:cubicBezTo>
                      <a:pt x="93" y="48"/>
                      <a:pt x="93" y="48"/>
                      <a:pt x="93" y="48"/>
                    </a:cubicBezTo>
                    <a:cubicBezTo>
                      <a:pt x="93" y="49"/>
                      <a:pt x="92" y="49"/>
                      <a:pt x="92" y="49"/>
                    </a:cubicBezTo>
                    <a:cubicBezTo>
                      <a:pt x="90" y="49"/>
                      <a:pt x="90" y="49"/>
                      <a:pt x="90" y="49"/>
                    </a:cubicBezTo>
                    <a:cubicBezTo>
                      <a:pt x="90" y="48"/>
                      <a:pt x="90" y="48"/>
                      <a:pt x="90" y="48"/>
                    </a:cubicBezTo>
                    <a:cubicBezTo>
                      <a:pt x="89" y="49"/>
                      <a:pt x="87" y="49"/>
                      <a:pt x="86" y="49"/>
                    </a:cubicBezTo>
                    <a:cubicBezTo>
                      <a:pt x="84" y="49"/>
                      <a:pt x="81" y="49"/>
                      <a:pt x="79" y="49"/>
                    </a:cubicBezTo>
                    <a:cubicBezTo>
                      <a:pt x="79" y="50"/>
                      <a:pt x="79" y="50"/>
                      <a:pt x="79" y="50"/>
                    </a:cubicBezTo>
                    <a:cubicBezTo>
                      <a:pt x="78" y="49"/>
                      <a:pt x="78" y="49"/>
                      <a:pt x="78" y="49"/>
                    </a:cubicBezTo>
                    <a:cubicBezTo>
                      <a:pt x="78" y="49"/>
                      <a:pt x="77" y="49"/>
                      <a:pt x="76" y="49"/>
                    </a:cubicBezTo>
                    <a:cubicBezTo>
                      <a:pt x="76" y="48"/>
                      <a:pt x="76" y="48"/>
                      <a:pt x="76" y="48"/>
                    </a:cubicBezTo>
                    <a:cubicBezTo>
                      <a:pt x="75" y="48"/>
                      <a:pt x="74" y="47"/>
                      <a:pt x="74" y="46"/>
                    </a:cubicBezTo>
                    <a:cubicBezTo>
                      <a:pt x="72" y="44"/>
                      <a:pt x="70" y="42"/>
                      <a:pt x="68" y="40"/>
                    </a:cubicBezTo>
                    <a:cubicBezTo>
                      <a:pt x="67" y="38"/>
                      <a:pt x="67" y="38"/>
                      <a:pt x="67" y="38"/>
                    </a:cubicBezTo>
                    <a:cubicBezTo>
                      <a:pt x="67" y="37"/>
                      <a:pt x="66" y="36"/>
                      <a:pt x="65" y="35"/>
                    </a:cubicBezTo>
                    <a:cubicBezTo>
                      <a:pt x="64" y="33"/>
                      <a:pt x="62" y="31"/>
                      <a:pt x="60" y="30"/>
                    </a:cubicBezTo>
                    <a:cubicBezTo>
                      <a:pt x="58" y="28"/>
                      <a:pt x="58" y="28"/>
                      <a:pt x="58" y="28"/>
                    </a:cubicBezTo>
                    <a:cubicBezTo>
                      <a:pt x="56" y="27"/>
                      <a:pt x="54" y="25"/>
                      <a:pt x="53" y="24"/>
                    </a:cubicBezTo>
                    <a:cubicBezTo>
                      <a:pt x="50" y="21"/>
                      <a:pt x="46" y="18"/>
                      <a:pt x="43" y="16"/>
                    </a:cubicBezTo>
                    <a:cubicBezTo>
                      <a:pt x="42" y="15"/>
                      <a:pt x="42" y="15"/>
                      <a:pt x="42" y="15"/>
                    </a:cubicBezTo>
                    <a:cubicBezTo>
                      <a:pt x="42" y="15"/>
                      <a:pt x="41" y="14"/>
                      <a:pt x="41" y="14"/>
                    </a:cubicBezTo>
                    <a:cubicBezTo>
                      <a:pt x="40" y="14"/>
                      <a:pt x="40" y="14"/>
                      <a:pt x="39" y="14"/>
                    </a:cubicBezTo>
                    <a:cubicBezTo>
                      <a:pt x="39" y="14"/>
                      <a:pt x="39" y="14"/>
                      <a:pt x="38" y="14"/>
                    </a:cubicBezTo>
                    <a:cubicBezTo>
                      <a:pt x="38" y="14"/>
                      <a:pt x="37" y="14"/>
                      <a:pt x="36" y="14"/>
                    </a:cubicBezTo>
                    <a:cubicBezTo>
                      <a:pt x="35" y="14"/>
                      <a:pt x="35" y="14"/>
                      <a:pt x="35" y="14"/>
                    </a:cubicBezTo>
                    <a:cubicBezTo>
                      <a:pt x="32" y="15"/>
                      <a:pt x="29" y="15"/>
                      <a:pt x="25" y="16"/>
                    </a:cubicBezTo>
                    <a:cubicBezTo>
                      <a:pt x="21" y="16"/>
                      <a:pt x="16" y="18"/>
                      <a:pt x="12" y="20"/>
                    </a:cubicBezTo>
                    <a:cubicBezTo>
                      <a:pt x="14" y="19"/>
                      <a:pt x="16" y="19"/>
                      <a:pt x="19" y="18"/>
                    </a:cubicBezTo>
                    <a:cubicBezTo>
                      <a:pt x="21" y="18"/>
                      <a:pt x="24" y="17"/>
                      <a:pt x="27" y="17"/>
                    </a:cubicBezTo>
                    <a:cubicBezTo>
                      <a:pt x="28" y="17"/>
                      <a:pt x="29" y="17"/>
                      <a:pt x="30" y="18"/>
                    </a:cubicBezTo>
                    <a:cubicBezTo>
                      <a:pt x="37" y="19"/>
                      <a:pt x="33" y="21"/>
                      <a:pt x="34" y="25"/>
                    </a:cubicBezTo>
                    <a:cubicBezTo>
                      <a:pt x="35" y="28"/>
                      <a:pt x="37" y="30"/>
                      <a:pt x="38" y="33"/>
                    </a:cubicBezTo>
                    <a:cubicBezTo>
                      <a:pt x="38" y="36"/>
                      <a:pt x="38" y="38"/>
                      <a:pt x="40" y="40"/>
                    </a:cubicBezTo>
                    <a:cubicBezTo>
                      <a:pt x="44" y="44"/>
                      <a:pt x="50" y="47"/>
                      <a:pt x="55" y="50"/>
                    </a:cubicBezTo>
                    <a:cubicBezTo>
                      <a:pt x="57" y="52"/>
                      <a:pt x="60" y="55"/>
                      <a:pt x="58" y="58"/>
                    </a:cubicBezTo>
                    <a:cubicBezTo>
                      <a:pt x="57" y="60"/>
                      <a:pt x="55" y="60"/>
                      <a:pt x="53" y="60"/>
                    </a:cubicBezTo>
                    <a:cubicBezTo>
                      <a:pt x="53" y="60"/>
                      <a:pt x="52" y="60"/>
                      <a:pt x="51" y="60"/>
                    </a:cubicBezTo>
                    <a:cubicBezTo>
                      <a:pt x="50" y="60"/>
                      <a:pt x="49" y="60"/>
                      <a:pt x="48" y="60"/>
                    </a:cubicBezTo>
                    <a:cubicBezTo>
                      <a:pt x="46" y="60"/>
                      <a:pt x="45" y="61"/>
                      <a:pt x="45" y="63"/>
                    </a:cubicBezTo>
                    <a:cubicBezTo>
                      <a:pt x="45" y="64"/>
                      <a:pt x="46" y="66"/>
                      <a:pt x="48" y="66"/>
                    </a:cubicBezTo>
                    <a:cubicBezTo>
                      <a:pt x="48" y="66"/>
                      <a:pt x="48" y="66"/>
                      <a:pt x="48" y="66"/>
                    </a:cubicBezTo>
                    <a:cubicBezTo>
                      <a:pt x="47" y="66"/>
                      <a:pt x="47" y="66"/>
                      <a:pt x="47" y="66"/>
                    </a:cubicBezTo>
                    <a:cubicBezTo>
                      <a:pt x="48" y="67"/>
                      <a:pt x="48" y="67"/>
                      <a:pt x="48" y="67"/>
                    </a:cubicBezTo>
                    <a:cubicBezTo>
                      <a:pt x="47" y="67"/>
                      <a:pt x="45" y="67"/>
                      <a:pt x="43" y="67"/>
                    </a:cubicBezTo>
                    <a:cubicBezTo>
                      <a:pt x="43" y="67"/>
                      <a:pt x="42" y="67"/>
                      <a:pt x="42" y="67"/>
                    </a:cubicBezTo>
                    <a:cubicBezTo>
                      <a:pt x="41" y="67"/>
                      <a:pt x="41" y="67"/>
                      <a:pt x="40" y="67"/>
                    </a:cubicBezTo>
                    <a:cubicBezTo>
                      <a:pt x="38" y="67"/>
                      <a:pt x="36" y="67"/>
                      <a:pt x="34" y="68"/>
                    </a:cubicBezTo>
                    <a:cubicBezTo>
                      <a:pt x="33" y="68"/>
                      <a:pt x="32" y="69"/>
                      <a:pt x="31" y="69"/>
                    </a:cubicBezTo>
                    <a:cubicBezTo>
                      <a:pt x="30" y="69"/>
                      <a:pt x="30" y="69"/>
                      <a:pt x="30" y="69"/>
                    </a:cubicBezTo>
                    <a:cubicBezTo>
                      <a:pt x="27" y="68"/>
                      <a:pt x="28" y="63"/>
                      <a:pt x="27" y="62"/>
                    </a:cubicBezTo>
                    <a:cubicBezTo>
                      <a:pt x="26" y="61"/>
                      <a:pt x="26" y="61"/>
                      <a:pt x="26" y="61"/>
                    </a:cubicBezTo>
                    <a:cubicBezTo>
                      <a:pt x="26" y="61"/>
                      <a:pt x="26" y="62"/>
                      <a:pt x="24" y="64"/>
                    </a:cubicBezTo>
                    <a:cubicBezTo>
                      <a:pt x="23" y="64"/>
                      <a:pt x="23" y="65"/>
                      <a:pt x="21" y="65"/>
                    </a:cubicBezTo>
                    <a:cubicBezTo>
                      <a:pt x="21" y="65"/>
                      <a:pt x="21" y="65"/>
                      <a:pt x="21" y="65"/>
                    </a:cubicBezTo>
                    <a:cubicBezTo>
                      <a:pt x="20" y="65"/>
                      <a:pt x="15" y="64"/>
                      <a:pt x="14" y="64"/>
                    </a:cubicBezTo>
                    <a:cubicBezTo>
                      <a:pt x="10" y="63"/>
                      <a:pt x="8" y="58"/>
                      <a:pt x="6" y="54"/>
                    </a:cubicBezTo>
                    <a:cubicBezTo>
                      <a:pt x="5" y="60"/>
                      <a:pt x="5" y="66"/>
                      <a:pt x="2" y="71"/>
                    </a:cubicBezTo>
                    <a:cubicBezTo>
                      <a:pt x="1" y="73"/>
                      <a:pt x="0" y="76"/>
                      <a:pt x="0" y="79"/>
                    </a:cubicBezTo>
                    <a:cubicBezTo>
                      <a:pt x="0" y="81"/>
                      <a:pt x="1" y="83"/>
                      <a:pt x="2" y="85"/>
                    </a:cubicBezTo>
                    <a:cubicBezTo>
                      <a:pt x="2" y="90"/>
                      <a:pt x="1" y="89"/>
                      <a:pt x="7" y="89"/>
                    </a:cubicBezTo>
                    <a:cubicBezTo>
                      <a:pt x="8" y="89"/>
                      <a:pt x="8" y="89"/>
                      <a:pt x="9" y="89"/>
                    </a:cubicBezTo>
                    <a:cubicBezTo>
                      <a:pt x="9" y="89"/>
                      <a:pt x="10" y="89"/>
                      <a:pt x="10" y="89"/>
                    </a:cubicBezTo>
                    <a:cubicBezTo>
                      <a:pt x="11" y="89"/>
                      <a:pt x="11" y="89"/>
                      <a:pt x="12" y="89"/>
                    </a:cubicBezTo>
                    <a:cubicBezTo>
                      <a:pt x="12" y="89"/>
                      <a:pt x="12" y="89"/>
                      <a:pt x="12" y="89"/>
                    </a:cubicBezTo>
                    <a:cubicBezTo>
                      <a:pt x="14" y="90"/>
                      <a:pt x="15" y="90"/>
                      <a:pt x="16" y="91"/>
                    </a:cubicBezTo>
                    <a:cubicBezTo>
                      <a:pt x="16" y="91"/>
                      <a:pt x="17" y="91"/>
                      <a:pt x="17" y="91"/>
                    </a:cubicBezTo>
                    <a:cubicBezTo>
                      <a:pt x="17" y="91"/>
                      <a:pt x="17" y="91"/>
                      <a:pt x="18" y="91"/>
                    </a:cubicBezTo>
                    <a:cubicBezTo>
                      <a:pt x="18" y="90"/>
                      <a:pt x="18" y="90"/>
                      <a:pt x="18" y="90"/>
                    </a:cubicBezTo>
                    <a:cubicBezTo>
                      <a:pt x="19" y="90"/>
                      <a:pt x="19" y="90"/>
                      <a:pt x="19" y="90"/>
                    </a:cubicBezTo>
                    <a:cubicBezTo>
                      <a:pt x="19" y="90"/>
                      <a:pt x="19" y="90"/>
                      <a:pt x="19" y="90"/>
                    </a:cubicBezTo>
                    <a:cubicBezTo>
                      <a:pt x="19" y="90"/>
                      <a:pt x="19" y="90"/>
                      <a:pt x="20" y="90"/>
                    </a:cubicBezTo>
                    <a:cubicBezTo>
                      <a:pt x="20" y="90"/>
                      <a:pt x="20" y="90"/>
                      <a:pt x="20" y="90"/>
                    </a:cubicBezTo>
                    <a:cubicBezTo>
                      <a:pt x="20" y="90"/>
                      <a:pt x="21" y="90"/>
                      <a:pt x="21" y="90"/>
                    </a:cubicBezTo>
                    <a:cubicBezTo>
                      <a:pt x="22" y="91"/>
                      <a:pt x="20" y="95"/>
                      <a:pt x="20" y="96"/>
                    </a:cubicBezTo>
                    <a:cubicBezTo>
                      <a:pt x="21" y="100"/>
                      <a:pt x="25" y="102"/>
                      <a:pt x="29" y="104"/>
                    </a:cubicBezTo>
                    <a:cubicBezTo>
                      <a:pt x="27" y="105"/>
                      <a:pt x="25" y="105"/>
                      <a:pt x="23" y="106"/>
                    </a:cubicBezTo>
                    <a:cubicBezTo>
                      <a:pt x="23" y="105"/>
                      <a:pt x="23" y="103"/>
                      <a:pt x="23" y="102"/>
                    </a:cubicBezTo>
                    <a:cubicBezTo>
                      <a:pt x="22" y="103"/>
                      <a:pt x="19" y="105"/>
                      <a:pt x="17" y="105"/>
                    </a:cubicBezTo>
                    <a:cubicBezTo>
                      <a:pt x="16" y="105"/>
                      <a:pt x="16" y="105"/>
                      <a:pt x="15" y="105"/>
                    </a:cubicBezTo>
                    <a:cubicBezTo>
                      <a:pt x="15" y="104"/>
                      <a:pt x="17" y="101"/>
                      <a:pt x="17" y="100"/>
                    </a:cubicBezTo>
                    <a:cubicBezTo>
                      <a:pt x="16" y="100"/>
                      <a:pt x="12" y="105"/>
                      <a:pt x="12" y="107"/>
                    </a:cubicBezTo>
                    <a:cubicBezTo>
                      <a:pt x="11" y="110"/>
                      <a:pt x="13" y="113"/>
                      <a:pt x="13" y="116"/>
                    </a:cubicBezTo>
                    <a:cubicBezTo>
                      <a:pt x="14" y="114"/>
                      <a:pt x="15" y="112"/>
                      <a:pt x="13" y="111"/>
                    </a:cubicBezTo>
                    <a:cubicBezTo>
                      <a:pt x="14" y="111"/>
                      <a:pt x="14" y="111"/>
                      <a:pt x="14" y="111"/>
                    </a:cubicBezTo>
                    <a:cubicBezTo>
                      <a:pt x="21" y="111"/>
                      <a:pt x="26" y="117"/>
                      <a:pt x="32" y="122"/>
                    </a:cubicBezTo>
                    <a:cubicBezTo>
                      <a:pt x="35" y="124"/>
                      <a:pt x="36" y="124"/>
                      <a:pt x="35" y="128"/>
                    </a:cubicBezTo>
                    <a:cubicBezTo>
                      <a:pt x="34" y="131"/>
                      <a:pt x="33" y="133"/>
                      <a:pt x="32" y="136"/>
                    </a:cubicBezTo>
                    <a:cubicBezTo>
                      <a:pt x="31" y="145"/>
                      <a:pt x="31" y="156"/>
                      <a:pt x="32" y="165"/>
                    </a:cubicBezTo>
                    <a:cubicBezTo>
                      <a:pt x="33" y="167"/>
                      <a:pt x="33" y="176"/>
                      <a:pt x="34" y="177"/>
                    </a:cubicBezTo>
                    <a:cubicBezTo>
                      <a:pt x="35" y="179"/>
                      <a:pt x="35" y="181"/>
                      <a:pt x="35" y="183"/>
                    </a:cubicBezTo>
                    <a:cubicBezTo>
                      <a:pt x="36" y="185"/>
                      <a:pt x="36" y="187"/>
                      <a:pt x="36" y="188"/>
                    </a:cubicBezTo>
                    <a:cubicBezTo>
                      <a:pt x="72" y="153"/>
                      <a:pt x="72" y="153"/>
                      <a:pt x="72" y="153"/>
                    </a:cubicBezTo>
                    <a:cubicBezTo>
                      <a:pt x="76" y="151"/>
                      <a:pt x="82" y="150"/>
                      <a:pt x="88" y="150"/>
                    </a:cubicBezTo>
                    <a:cubicBezTo>
                      <a:pt x="89" y="150"/>
                      <a:pt x="90" y="149"/>
                      <a:pt x="90" y="149"/>
                    </a:cubicBezTo>
                    <a:cubicBezTo>
                      <a:pt x="92" y="149"/>
                      <a:pt x="94" y="150"/>
                      <a:pt x="96" y="150"/>
                    </a:cubicBezTo>
                    <a:cubicBezTo>
                      <a:pt x="97" y="150"/>
                      <a:pt x="97" y="150"/>
                      <a:pt x="97" y="150"/>
                    </a:cubicBezTo>
                    <a:cubicBezTo>
                      <a:pt x="97" y="150"/>
                      <a:pt x="97" y="150"/>
                      <a:pt x="98" y="150"/>
                    </a:cubicBezTo>
                    <a:cubicBezTo>
                      <a:pt x="98" y="150"/>
                      <a:pt x="98" y="150"/>
                      <a:pt x="98" y="150"/>
                    </a:cubicBezTo>
                    <a:cubicBezTo>
                      <a:pt x="98" y="150"/>
                      <a:pt x="98" y="150"/>
                      <a:pt x="98" y="150"/>
                    </a:cubicBezTo>
                    <a:cubicBezTo>
                      <a:pt x="98" y="150"/>
                      <a:pt x="98" y="150"/>
                      <a:pt x="98" y="150"/>
                    </a:cubicBezTo>
                    <a:cubicBezTo>
                      <a:pt x="100" y="150"/>
                      <a:pt x="100" y="150"/>
                      <a:pt x="102" y="147"/>
                    </a:cubicBezTo>
                    <a:cubicBezTo>
                      <a:pt x="103" y="146"/>
                      <a:pt x="103" y="146"/>
                      <a:pt x="104" y="145"/>
                    </a:cubicBezTo>
                    <a:cubicBezTo>
                      <a:pt x="104" y="145"/>
                      <a:pt x="104" y="145"/>
                      <a:pt x="104" y="145"/>
                    </a:cubicBezTo>
                    <a:cubicBezTo>
                      <a:pt x="105" y="145"/>
                      <a:pt x="106" y="144"/>
                      <a:pt x="107" y="144"/>
                    </a:cubicBezTo>
                    <a:cubicBezTo>
                      <a:pt x="107" y="144"/>
                      <a:pt x="107" y="144"/>
                      <a:pt x="107" y="144"/>
                    </a:cubicBezTo>
                    <a:cubicBezTo>
                      <a:pt x="109" y="144"/>
                      <a:pt x="111" y="143"/>
                      <a:pt x="114" y="143"/>
                    </a:cubicBezTo>
                    <a:cubicBezTo>
                      <a:pt x="114" y="143"/>
                      <a:pt x="115" y="143"/>
                      <a:pt x="115" y="143"/>
                    </a:cubicBezTo>
                    <a:cubicBezTo>
                      <a:pt x="116" y="143"/>
                      <a:pt x="116" y="143"/>
                      <a:pt x="116" y="143"/>
                    </a:cubicBezTo>
                    <a:cubicBezTo>
                      <a:pt x="118" y="143"/>
                      <a:pt x="120" y="144"/>
                      <a:pt x="122" y="144"/>
                    </a:cubicBezTo>
                    <a:cubicBezTo>
                      <a:pt x="123" y="144"/>
                      <a:pt x="123" y="144"/>
                      <a:pt x="123" y="144"/>
                    </a:cubicBezTo>
                    <a:cubicBezTo>
                      <a:pt x="124" y="144"/>
                      <a:pt x="125" y="144"/>
                      <a:pt x="126" y="144"/>
                    </a:cubicBezTo>
                    <a:cubicBezTo>
                      <a:pt x="132" y="145"/>
                      <a:pt x="134" y="149"/>
                      <a:pt x="135" y="152"/>
                    </a:cubicBezTo>
                    <a:cubicBezTo>
                      <a:pt x="135" y="152"/>
                      <a:pt x="135" y="152"/>
                      <a:pt x="135" y="152"/>
                    </a:cubicBezTo>
                    <a:cubicBezTo>
                      <a:pt x="136" y="154"/>
                      <a:pt x="136" y="154"/>
                      <a:pt x="137" y="155"/>
                    </a:cubicBezTo>
                    <a:cubicBezTo>
                      <a:pt x="140" y="155"/>
                      <a:pt x="142" y="155"/>
                      <a:pt x="144" y="156"/>
                    </a:cubicBezTo>
                    <a:cubicBezTo>
                      <a:pt x="144" y="156"/>
                      <a:pt x="146" y="156"/>
                      <a:pt x="147" y="157"/>
                    </a:cubicBezTo>
                    <a:cubicBezTo>
                      <a:pt x="148" y="157"/>
                      <a:pt x="148" y="157"/>
                      <a:pt x="148" y="157"/>
                    </a:cubicBezTo>
                    <a:cubicBezTo>
                      <a:pt x="149" y="157"/>
                      <a:pt x="149" y="157"/>
                      <a:pt x="150" y="157"/>
                    </a:cubicBezTo>
                    <a:cubicBezTo>
                      <a:pt x="152" y="158"/>
                      <a:pt x="153" y="159"/>
                      <a:pt x="155" y="160"/>
                    </a:cubicBezTo>
                    <a:cubicBezTo>
                      <a:pt x="156" y="161"/>
                      <a:pt x="156" y="161"/>
                      <a:pt x="156" y="161"/>
                    </a:cubicBezTo>
                    <a:cubicBezTo>
                      <a:pt x="156" y="162"/>
                      <a:pt x="157" y="162"/>
                      <a:pt x="158" y="163"/>
                    </a:cubicBezTo>
                    <a:cubicBezTo>
                      <a:pt x="159" y="164"/>
                      <a:pt x="159" y="164"/>
                      <a:pt x="159" y="164"/>
                    </a:cubicBezTo>
                    <a:cubicBezTo>
                      <a:pt x="159" y="164"/>
                      <a:pt x="159" y="164"/>
                      <a:pt x="159" y="164"/>
                    </a:cubicBezTo>
                    <a:cubicBezTo>
                      <a:pt x="160" y="164"/>
                      <a:pt x="160" y="164"/>
                      <a:pt x="161" y="164"/>
                    </a:cubicBezTo>
                    <a:cubicBezTo>
                      <a:pt x="162" y="164"/>
                      <a:pt x="162" y="164"/>
                      <a:pt x="162" y="164"/>
                    </a:cubicBezTo>
                    <a:cubicBezTo>
                      <a:pt x="162" y="164"/>
                      <a:pt x="163" y="164"/>
                      <a:pt x="163" y="164"/>
                    </a:cubicBezTo>
                    <a:cubicBezTo>
                      <a:pt x="164" y="164"/>
                      <a:pt x="164" y="164"/>
                      <a:pt x="164" y="164"/>
                    </a:cubicBezTo>
                    <a:cubicBezTo>
                      <a:pt x="164" y="164"/>
                      <a:pt x="165" y="164"/>
                      <a:pt x="165" y="164"/>
                    </a:cubicBezTo>
                    <a:cubicBezTo>
                      <a:pt x="165" y="164"/>
                      <a:pt x="165" y="164"/>
                      <a:pt x="166" y="164"/>
                    </a:cubicBezTo>
                    <a:cubicBezTo>
                      <a:pt x="172" y="164"/>
                      <a:pt x="172" y="164"/>
                      <a:pt x="172" y="164"/>
                    </a:cubicBezTo>
                    <a:cubicBezTo>
                      <a:pt x="173" y="164"/>
                      <a:pt x="174" y="164"/>
                      <a:pt x="175" y="164"/>
                    </a:cubicBezTo>
                    <a:cubicBezTo>
                      <a:pt x="179" y="164"/>
                      <a:pt x="182" y="165"/>
                      <a:pt x="186" y="166"/>
                    </a:cubicBezTo>
                    <a:cubicBezTo>
                      <a:pt x="186" y="166"/>
                      <a:pt x="186" y="166"/>
                      <a:pt x="187" y="166"/>
                    </a:cubicBezTo>
                    <a:cubicBezTo>
                      <a:pt x="187" y="167"/>
                      <a:pt x="187" y="167"/>
                      <a:pt x="187" y="167"/>
                    </a:cubicBezTo>
                    <a:cubicBezTo>
                      <a:pt x="188" y="167"/>
                      <a:pt x="188" y="167"/>
                      <a:pt x="188" y="167"/>
                    </a:cubicBezTo>
                    <a:cubicBezTo>
                      <a:pt x="190" y="168"/>
                      <a:pt x="192" y="170"/>
                      <a:pt x="193" y="171"/>
                    </a:cubicBezTo>
                    <a:cubicBezTo>
                      <a:pt x="193" y="172"/>
                      <a:pt x="193" y="172"/>
                      <a:pt x="193" y="172"/>
                    </a:cubicBezTo>
                    <a:cubicBezTo>
                      <a:pt x="195" y="174"/>
                      <a:pt x="196" y="176"/>
                      <a:pt x="197" y="178"/>
                    </a:cubicBezTo>
                    <a:cubicBezTo>
                      <a:pt x="198" y="179"/>
                      <a:pt x="198" y="179"/>
                      <a:pt x="198" y="179"/>
                    </a:cubicBezTo>
                    <a:cubicBezTo>
                      <a:pt x="198" y="180"/>
                      <a:pt x="198" y="181"/>
                      <a:pt x="199" y="181"/>
                    </a:cubicBezTo>
                    <a:cubicBezTo>
                      <a:pt x="201" y="182"/>
                      <a:pt x="201" y="182"/>
                      <a:pt x="201" y="182"/>
                    </a:cubicBezTo>
                    <a:cubicBezTo>
                      <a:pt x="204" y="182"/>
                      <a:pt x="207" y="183"/>
                      <a:pt x="209" y="184"/>
                    </a:cubicBezTo>
                    <a:cubicBezTo>
                      <a:pt x="211" y="185"/>
                      <a:pt x="212" y="186"/>
                      <a:pt x="212" y="187"/>
                    </a:cubicBezTo>
                    <a:cubicBezTo>
                      <a:pt x="213" y="188"/>
                      <a:pt x="213" y="188"/>
                      <a:pt x="213" y="188"/>
                    </a:cubicBezTo>
                    <a:cubicBezTo>
                      <a:pt x="214" y="189"/>
                      <a:pt x="215" y="191"/>
                      <a:pt x="215" y="192"/>
                    </a:cubicBezTo>
                    <a:cubicBezTo>
                      <a:pt x="217" y="194"/>
                      <a:pt x="217" y="194"/>
                      <a:pt x="217" y="194"/>
                    </a:cubicBezTo>
                    <a:cubicBezTo>
                      <a:pt x="218" y="195"/>
                      <a:pt x="218" y="196"/>
                      <a:pt x="219" y="196"/>
                    </a:cubicBezTo>
                    <a:cubicBezTo>
                      <a:pt x="219" y="196"/>
                      <a:pt x="219" y="196"/>
                      <a:pt x="219" y="196"/>
                    </a:cubicBezTo>
                    <a:cubicBezTo>
                      <a:pt x="219" y="196"/>
                      <a:pt x="220" y="197"/>
                      <a:pt x="221" y="197"/>
                    </a:cubicBezTo>
                    <a:cubicBezTo>
                      <a:pt x="222" y="197"/>
                      <a:pt x="222" y="197"/>
                      <a:pt x="222" y="197"/>
                    </a:cubicBezTo>
                    <a:cubicBezTo>
                      <a:pt x="224" y="197"/>
                      <a:pt x="225" y="197"/>
                      <a:pt x="227" y="197"/>
                    </a:cubicBezTo>
                    <a:cubicBezTo>
                      <a:pt x="228" y="197"/>
                      <a:pt x="228" y="197"/>
                      <a:pt x="228" y="197"/>
                    </a:cubicBezTo>
                    <a:cubicBezTo>
                      <a:pt x="229" y="196"/>
                      <a:pt x="230" y="196"/>
                      <a:pt x="230" y="196"/>
                    </a:cubicBezTo>
                    <a:cubicBezTo>
                      <a:pt x="231" y="196"/>
                      <a:pt x="232" y="196"/>
                      <a:pt x="233" y="196"/>
                    </a:cubicBezTo>
                    <a:cubicBezTo>
                      <a:pt x="235" y="196"/>
                      <a:pt x="237" y="196"/>
                      <a:pt x="239" y="197"/>
                    </a:cubicBezTo>
                    <a:cubicBezTo>
                      <a:pt x="239" y="197"/>
                      <a:pt x="239" y="197"/>
                      <a:pt x="239" y="197"/>
                    </a:cubicBezTo>
                    <a:cubicBezTo>
                      <a:pt x="240" y="197"/>
                      <a:pt x="241" y="197"/>
                      <a:pt x="242" y="198"/>
                    </a:cubicBezTo>
                    <a:cubicBezTo>
                      <a:pt x="243" y="199"/>
                      <a:pt x="244" y="200"/>
                      <a:pt x="244" y="201"/>
                    </a:cubicBezTo>
                    <a:cubicBezTo>
                      <a:pt x="244" y="202"/>
                      <a:pt x="244" y="202"/>
                      <a:pt x="244" y="202"/>
                    </a:cubicBezTo>
                    <a:cubicBezTo>
                      <a:pt x="245" y="205"/>
                      <a:pt x="245" y="208"/>
                      <a:pt x="244" y="211"/>
                    </a:cubicBezTo>
                    <a:cubicBezTo>
                      <a:pt x="244" y="212"/>
                      <a:pt x="244" y="213"/>
                      <a:pt x="244" y="214"/>
                    </a:cubicBezTo>
                    <a:cubicBezTo>
                      <a:pt x="244" y="216"/>
                      <a:pt x="244" y="216"/>
                      <a:pt x="244" y="216"/>
                    </a:cubicBezTo>
                    <a:cubicBezTo>
                      <a:pt x="244" y="219"/>
                      <a:pt x="244" y="222"/>
                      <a:pt x="245" y="224"/>
                    </a:cubicBezTo>
                    <a:cubicBezTo>
                      <a:pt x="246" y="228"/>
                      <a:pt x="246" y="228"/>
                      <a:pt x="246" y="228"/>
                    </a:cubicBezTo>
                    <a:cubicBezTo>
                      <a:pt x="247" y="229"/>
                      <a:pt x="247" y="230"/>
                      <a:pt x="247" y="231"/>
                    </a:cubicBezTo>
                    <a:cubicBezTo>
                      <a:pt x="247" y="232"/>
                      <a:pt x="247" y="232"/>
                      <a:pt x="247" y="232"/>
                    </a:cubicBezTo>
                    <a:cubicBezTo>
                      <a:pt x="248" y="232"/>
                      <a:pt x="248" y="232"/>
                      <a:pt x="248" y="232"/>
                    </a:cubicBezTo>
                    <a:cubicBezTo>
                      <a:pt x="251" y="233"/>
                      <a:pt x="251" y="233"/>
                      <a:pt x="251" y="233"/>
                    </a:cubicBezTo>
                    <a:cubicBezTo>
                      <a:pt x="251" y="233"/>
                      <a:pt x="251" y="233"/>
                      <a:pt x="251" y="233"/>
                    </a:cubicBezTo>
                    <a:cubicBezTo>
                      <a:pt x="253" y="234"/>
                      <a:pt x="255" y="234"/>
                      <a:pt x="257" y="234"/>
                    </a:cubicBezTo>
                    <a:cubicBezTo>
                      <a:pt x="257" y="234"/>
                      <a:pt x="257" y="234"/>
                      <a:pt x="257" y="234"/>
                    </a:cubicBezTo>
                    <a:cubicBezTo>
                      <a:pt x="259" y="235"/>
                      <a:pt x="260" y="235"/>
                      <a:pt x="261" y="235"/>
                    </a:cubicBezTo>
                    <a:cubicBezTo>
                      <a:pt x="263" y="236"/>
                      <a:pt x="265" y="237"/>
                      <a:pt x="267" y="238"/>
                    </a:cubicBezTo>
                    <a:cubicBezTo>
                      <a:pt x="268" y="239"/>
                      <a:pt x="268" y="239"/>
                      <a:pt x="269" y="240"/>
                    </a:cubicBezTo>
                    <a:cubicBezTo>
                      <a:pt x="271" y="242"/>
                      <a:pt x="271" y="242"/>
                      <a:pt x="271" y="242"/>
                    </a:cubicBezTo>
                    <a:cubicBezTo>
                      <a:pt x="271" y="243"/>
                      <a:pt x="272" y="243"/>
                      <a:pt x="272" y="244"/>
                    </a:cubicBezTo>
                    <a:cubicBezTo>
                      <a:pt x="273" y="244"/>
                      <a:pt x="273" y="244"/>
                      <a:pt x="273" y="244"/>
                    </a:cubicBezTo>
                    <a:cubicBezTo>
                      <a:pt x="273" y="244"/>
                      <a:pt x="273" y="244"/>
                      <a:pt x="273" y="244"/>
                    </a:cubicBezTo>
                    <a:cubicBezTo>
                      <a:pt x="277" y="241"/>
                      <a:pt x="280" y="241"/>
                      <a:pt x="282" y="241"/>
                    </a:cubicBezTo>
                    <a:cubicBezTo>
                      <a:pt x="285" y="241"/>
                      <a:pt x="285" y="241"/>
                      <a:pt x="285" y="241"/>
                    </a:cubicBezTo>
                    <a:cubicBezTo>
                      <a:pt x="286" y="240"/>
                      <a:pt x="286" y="240"/>
                      <a:pt x="286" y="240"/>
                    </a:cubicBezTo>
                    <a:cubicBezTo>
                      <a:pt x="287" y="240"/>
                      <a:pt x="287" y="240"/>
                      <a:pt x="287" y="240"/>
                    </a:cubicBezTo>
                    <a:cubicBezTo>
                      <a:pt x="288" y="240"/>
                      <a:pt x="290" y="238"/>
                      <a:pt x="293" y="235"/>
                    </a:cubicBezTo>
                    <a:cubicBezTo>
                      <a:pt x="294" y="234"/>
                      <a:pt x="294" y="234"/>
                      <a:pt x="294" y="234"/>
                    </a:cubicBezTo>
                    <a:cubicBezTo>
                      <a:pt x="294" y="233"/>
                      <a:pt x="295" y="232"/>
                      <a:pt x="295" y="231"/>
                    </a:cubicBezTo>
                    <a:cubicBezTo>
                      <a:pt x="294" y="229"/>
                      <a:pt x="294" y="229"/>
                      <a:pt x="294" y="229"/>
                    </a:cubicBezTo>
                    <a:cubicBezTo>
                      <a:pt x="300" y="222"/>
                      <a:pt x="300" y="222"/>
                      <a:pt x="300" y="222"/>
                    </a:cubicBezTo>
                    <a:cubicBezTo>
                      <a:pt x="302" y="222"/>
                      <a:pt x="302" y="222"/>
                      <a:pt x="302" y="222"/>
                    </a:cubicBezTo>
                    <a:cubicBezTo>
                      <a:pt x="303" y="222"/>
                      <a:pt x="305" y="222"/>
                      <a:pt x="306" y="221"/>
                    </a:cubicBezTo>
                    <a:cubicBezTo>
                      <a:pt x="308" y="221"/>
                      <a:pt x="309" y="220"/>
                      <a:pt x="311" y="220"/>
                    </a:cubicBezTo>
                    <a:cubicBezTo>
                      <a:pt x="316" y="217"/>
                      <a:pt x="316" y="217"/>
                      <a:pt x="316" y="217"/>
                    </a:cubicBezTo>
                    <a:cubicBezTo>
                      <a:pt x="319" y="216"/>
                      <a:pt x="322" y="215"/>
                      <a:pt x="325" y="214"/>
                    </a:cubicBezTo>
                    <a:cubicBezTo>
                      <a:pt x="328" y="213"/>
                      <a:pt x="330" y="211"/>
                      <a:pt x="333" y="209"/>
                    </a:cubicBezTo>
                    <a:cubicBezTo>
                      <a:pt x="334" y="208"/>
                      <a:pt x="334" y="208"/>
                      <a:pt x="334" y="208"/>
                    </a:cubicBezTo>
                    <a:cubicBezTo>
                      <a:pt x="335" y="207"/>
                      <a:pt x="335" y="206"/>
                      <a:pt x="335" y="203"/>
                    </a:cubicBezTo>
                    <a:cubicBezTo>
                      <a:pt x="335" y="202"/>
                      <a:pt x="335" y="202"/>
                      <a:pt x="335" y="201"/>
                    </a:cubicBezTo>
                    <a:cubicBezTo>
                      <a:pt x="335" y="200"/>
                      <a:pt x="335" y="200"/>
                      <a:pt x="335" y="200"/>
                    </a:cubicBezTo>
                    <a:cubicBezTo>
                      <a:pt x="336" y="199"/>
                      <a:pt x="336" y="198"/>
                      <a:pt x="336" y="198"/>
                    </a:cubicBezTo>
                    <a:cubicBezTo>
                      <a:pt x="337" y="197"/>
                      <a:pt x="337" y="197"/>
                      <a:pt x="337" y="197"/>
                    </a:cubicBezTo>
                    <a:cubicBezTo>
                      <a:pt x="355" y="178"/>
                      <a:pt x="355" y="178"/>
                      <a:pt x="355" y="178"/>
                    </a:cubicBezTo>
                    <a:cubicBezTo>
                      <a:pt x="357" y="178"/>
                      <a:pt x="357" y="178"/>
                      <a:pt x="357" y="178"/>
                    </a:cubicBezTo>
                    <a:cubicBezTo>
                      <a:pt x="358" y="178"/>
                      <a:pt x="359" y="178"/>
                      <a:pt x="360" y="178"/>
                    </a:cubicBezTo>
                    <a:cubicBezTo>
                      <a:pt x="360" y="178"/>
                      <a:pt x="360" y="178"/>
                      <a:pt x="360" y="178"/>
                    </a:cubicBezTo>
                    <a:cubicBezTo>
                      <a:pt x="361" y="178"/>
                      <a:pt x="362" y="178"/>
                      <a:pt x="362" y="178"/>
                    </a:cubicBezTo>
                    <a:cubicBezTo>
                      <a:pt x="363" y="177"/>
                      <a:pt x="365" y="174"/>
                      <a:pt x="366" y="172"/>
                    </a:cubicBezTo>
                    <a:cubicBezTo>
                      <a:pt x="368" y="170"/>
                      <a:pt x="368" y="170"/>
                      <a:pt x="368" y="170"/>
                    </a:cubicBezTo>
                    <a:cubicBezTo>
                      <a:pt x="368" y="170"/>
                      <a:pt x="369" y="169"/>
                      <a:pt x="370" y="169"/>
                    </a:cubicBezTo>
                    <a:cubicBezTo>
                      <a:pt x="370" y="169"/>
                      <a:pt x="370" y="169"/>
                      <a:pt x="370" y="169"/>
                    </a:cubicBezTo>
                    <a:cubicBezTo>
                      <a:pt x="371" y="168"/>
                      <a:pt x="371" y="168"/>
                      <a:pt x="371" y="168"/>
                    </a:cubicBezTo>
                    <a:cubicBezTo>
                      <a:pt x="371" y="168"/>
                      <a:pt x="371" y="168"/>
                      <a:pt x="371" y="168"/>
                    </a:cubicBezTo>
                    <a:cubicBezTo>
                      <a:pt x="374" y="168"/>
                      <a:pt x="374" y="168"/>
                      <a:pt x="374" y="168"/>
                    </a:cubicBezTo>
                    <a:cubicBezTo>
                      <a:pt x="375" y="169"/>
                      <a:pt x="376" y="169"/>
                      <a:pt x="377" y="170"/>
                    </a:cubicBezTo>
                    <a:cubicBezTo>
                      <a:pt x="378" y="170"/>
                      <a:pt x="378" y="170"/>
                      <a:pt x="378" y="170"/>
                    </a:cubicBezTo>
                    <a:cubicBezTo>
                      <a:pt x="379" y="171"/>
                      <a:pt x="379" y="171"/>
                      <a:pt x="379" y="171"/>
                    </a:cubicBezTo>
                    <a:cubicBezTo>
                      <a:pt x="380" y="171"/>
                      <a:pt x="381" y="172"/>
                      <a:pt x="382" y="172"/>
                    </a:cubicBezTo>
                    <a:cubicBezTo>
                      <a:pt x="383" y="173"/>
                      <a:pt x="383" y="173"/>
                      <a:pt x="383" y="173"/>
                    </a:cubicBezTo>
                    <a:cubicBezTo>
                      <a:pt x="384" y="173"/>
                      <a:pt x="385" y="173"/>
                      <a:pt x="385" y="173"/>
                    </a:cubicBezTo>
                    <a:cubicBezTo>
                      <a:pt x="385" y="174"/>
                      <a:pt x="386" y="174"/>
                      <a:pt x="386" y="174"/>
                    </a:cubicBezTo>
                    <a:cubicBezTo>
                      <a:pt x="387" y="174"/>
                      <a:pt x="387" y="174"/>
                      <a:pt x="387" y="174"/>
                    </a:cubicBezTo>
                    <a:cubicBezTo>
                      <a:pt x="387" y="174"/>
                      <a:pt x="387" y="174"/>
                      <a:pt x="388" y="174"/>
                    </a:cubicBezTo>
                    <a:cubicBezTo>
                      <a:pt x="390" y="174"/>
                      <a:pt x="390" y="174"/>
                      <a:pt x="390" y="174"/>
                    </a:cubicBezTo>
                    <a:cubicBezTo>
                      <a:pt x="390" y="174"/>
                      <a:pt x="390" y="174"/>
                      <a:pt x="390" y="174"/>
                    </a:cubicBezTo>
                    <a:cubicBezTo>
                      <a:pt x="390" y="174"/>
                      <a:pt x="390" y="174"/>
                      <a:pt x="390" y="174"/>
                    </a:cubicBezTo>
                    <a:cubicBezTo>
                      <a:pt x="391" y="173"/>
                      <a:pt x="391" y="172"/>
                      <a:pt x="391" y="171"/>
                    </a:cubicBezTo>
                    <a:cubicBezTo>
                      <a:pt x="391" y="170"/>
                      <a:pt x="391" y="170"/>
                      <a:pt x="391" y="170"/>
                    </a:cubicBezTo>
                    <a:cubicBezTo>
                      <a:pt x="391" y="170"/>
                      <a:pt x="391" y="169"/>
                      <a:pt x="391" y="169"/>
                    </a:cubicBezTo>
                    <a:cubicBezTo>
                      <a:pt x="392" y="165"/>
                      <a:pt x="392" y="165"/>
                      <a:pt x="392" y="165"/>
                    </a:cubicBezTo>
                    <a:cubicBezTo>
                      <a:pt x="392" y="164"/>
                      <a:pt x="392" y="163"/>
                      <a:pt x="393" y="162"/>
                    </a:cubicBezTo>
                    <a:cubicBezTo>
                      <a:pt x="393" y="161"/>
                      <a:pt x="393" y="161"/>
                      <a:pt x="393" y="161"/>
                    </a:cubicBezTo>
                    <a:cubicBezTo>
                      <a:pt x="393" y="160"/>
                      <a:pt x="393" y="159"/>
                      <a:pt x="393" y="159"/>
                    </a:cubicBezTo>
                    <a:cubicBezTo>
                      <a:pt x="389" y="157"/>
                      <a:pt x="389" y="157"/>
                      <a:pt x="389" y="157"/>
                    </a:cubicBezTo>
                    <a:cubicBezTo>
                      <a:pt x="387" y="156"/>
                      <a:pt x="385" y="155"/>
                      <a:pt x="383" y="154"/>
                    </a:cubicBezTo>
                    <a:cubicBezTo>
                      <a:pt x="381" y="153"/>
                      <a:pt x="381" y="153"/>
                      <a:pt x="381" y="153"/>
                    </a:cubicBezTo>
                    <a:cubicBezTo>
                      <a:pt x="377" y="150"/>
                      <a:pt x="376" y="150"/>
                      <a:pt x="376" y="150"/>
                    </a:cubicBezTo>
                    <a:cubicBezTo>
                      <a:pt x="375" y="151"/>
                      <a:pt x="375" y="151"/>
                      <a:pt x="375" y="151"/>
                    </a:cubicBezTo>
                    <a:cubicBezTo>
                      <a:pt x="374" y="151"/>
                      <a:pt x="373" y="151"/>
                      <a:pt x="372" y="152"/>
                    </a:cubicBezTo>
                    <a:cubicBezTo>
                      <a:pt x="371" y="152"/>
                      <a:pt x="371" y="152"/>
                      <a:pt x="370" y="152"/>
                    </a:cubicBezTo>
                    <a:cubicBezTo>
                      <a:pt x="366" y="152"/>
                      <a:pt x="364" y="150"/>
                      <a:pt x="361" y="148"/>
                    </a:cubicBezTo>
                    <a:cubicBezTo>
                      <a:pt x="360" y="148"/>
                      <a:pt x="360" y="148"/>
                      <a:pt x="360" y="148"/>
                    </a:cubicBezTo>
                    <a:cubicBezTo>
                      <a:pt x="359" y="147"/>
                      <a:pt x="358" y="146"/>
                      <a:pt x="357" y="145"/>
                    </a:cubicBezTo>
                    <a:cubicBezTo>
                      <a:pt x="355" y="144"/>
                      <a:pt x="352" y="142"/>
                      <a:pt x="350" y="140"/>
                    </a:cubicBezTo>
                    <a:cubicBezTo>
                      <a:pt x="349" y="140"/>
                      <a:pt x="348" y="139"/>
                      <a:pt x="347" y="139"/>
                    </a:cubicBezTo>
                    <a:cubicBezTo>
                      <a:pt x="346" y="138"/>
                      <a:pt x="345" y="137"/>
                      <a:pt x="343" y="137"/>
                    </a:cubicBezTo>
                    <a:cubicBezTo>
                      <a:pt x="339" y="135"/>
                      <a:pt x="335" y="132"/>
                      <a:pt x="332" y="129"/>
                    </a:cubicBezTo>
                    <a:cubicBezTo>
                      <a:pt x="328" y="125"/>
                      <a:pt x="322" y="122"/>
                      <a:pt x="316" y="120"/>
                    </a:cubicBezTo>
                    <a:cubicBezTo>
                      <a:pt x="313" y="118"/>
                      <a:pt x="313" y="118"/>
                      <a:pt x="313" y="118"/>
                    </a:cubicBezTo>
                    <a:cubicBezTo>
                      <a:pt x="312" y="118"/>
                      <a:pt x="311" y="117"/>
                      <a:pt x="309" y="116"/>
                    </a:cubicBezTo>
                    <a:cubicBezTo>
                      <a:pt x="304" y="114"/>
                      <a:pt x="300" y="110"/>
                      <a:pt x="295" y="107"/>
                    </a:cubicBezTo>
                    <a:cubicBezTo>
                      <a:pt x="294" y="106"/>
                      <a:pt x="294" y="106"/>
                      <a:pt x="294" y="106"/>
                    </a:cubicBezTo>
                    <a:cubicBezTo>
                      <a:pt x="293" y="105"/>
                      <a:pt x="292" y="104"/>
                      <a:pt x="290" y="103"/>
                    </a:cubicBezTo>
                    <a:cubicBezTo>
                      <a:pt x="286" y="100"/>
                      <a:pt x="286" y="100"/>
                      <a:pt x="286" y="100"/>
                    </a:cubicBezTo>
                    <a:cubicBezTo>
                      <a:pt x="285" y="99"/>
                      <a:pt x="284" y="99"/>
                      <a:pt x="283" y="98"/>
                    </a:cubicBezTo>
                    <a:cubicBezTo>
                      <a:pt x="283" y="98"/>
                      <a:pt x="283" y="98"/>
                      <a:pt x="283" y="98"/>
                    </a:cubicBezTo>
                    <a:cubicBezTo>
                      <a:pt x="281" y="97"/>
                      <a:pt x="278" y="95"/>
                      <a:pt x="276" y="93"/>
                    </a:cubicBezTo>
                    <a:cubicBezTo>
                      <a:pt x="276" y="93"/>
                      <a:pt x="276" y="92"/>
                      <a:pt x="276" y="92"/>
                    </a:cubicBezTo>
                    <a:cubicBezTo>
                      <a:pt x="275" y="91"/>
                      <a:pt x="275" y="91"/>
                      <a:pt x="275" y="91"/>
                    </a:cubicBezTo>
                    <a:cubicBezTo>
                      <a:pt x="275" y="91"/>
                      <a:pt x="275" y="91"/>
                      <a:pt x="275" y="91"/>
                    </a:cubicBezTo>
                    <a:cubicBezTo>
                      <a:pt x="274" y="89"/>
                      <a:pt x="274" y="86"/>
                      <a:pt x="273" y="85"/>
                    </a:cubicBezTo>
                    <a:cubicBezTo>
                      <a:pt x="273" y="84"/>
                      <a:pt x="273" y="83"/>
                      <a:pt x="272" y="82"/>
                    </a:cubicBezTo>
                    <a:cubicBezTo>
                      <a:pt x="272" y="81"/>
                      <a:pt x="272" y="81"/>
                      <a:pt x="272" y="81"/>
                    </a:cubicBezTo>
                    <a:cubicBezTo>
                      <a:pt x="272" y="80"/>
                      <a:pt x="271" y="79"/>
                      <a:pt x="270" y="78"/>
                    </a:cubicBezTo>
                    <a:cubicBezTo>
                      <a:pt x="268" y="77"/>
                      <a:pt x="267" y="75"/>
                      <a:pt x="266" y="73"/>
                    </a:cubicBezTo>
                    <a:cubicBezTo>
                      <a:pt x="265" y="71"/>
                      <a:pt x="264" y="70"/>
                      <a:pt x="264" y="68"/>
                    </a:cubicBezTo>
                    <a:cubicBezTo>
                      <a:pt x="261" y="62"/>
                      <a:pt x="259" y="55"/>
                      <a:pt x="255" y="52"/>
                    </a:cubicBezTo>
                    <a:cubicBezTo>
                      <a:pt x="252" y="50"/>
                      <a:pt x="251" y="49"/>
                      <a:pt x="250" y="49"/>
                    </a:cubicBezTo>
                    <a:cubicBezTo>
                      <a:pt x="250" y="50"/>
                      <a:pt x="250" y="50"/>
                      <a:pt x="249" y="51"/>
                    </a:cubicBezTo>
                    <a:cubicBezTo>
                      <a:pt x="248" y="52"/>
                      <a:pt x="245" y="53"/>
                      <a:pt x="242" y="54"/>
                    </a:cubicBezTo>
                    <a:cubicBezTo>
                      <a:pt x="239" y="53"/>
                      <a:pt x="239" y="53"/>
                      <a:pt x="239" y="53"/>
                    </a:cubicBezTo>
                    <a:cubicBezTo>
                      <a:pt x="238" y="53"/>
                      <a:pt x="237" y="53"/>
                      <a:pt x="235" y="52"/>
                    </a:cubicBezTo>
                    <a:cubicBezTo>
                      <a:pt x="232" y="52"/>
                      <a:pt x="230" y="51"/>
                      <a:pt x="227" y="51"/>
                    </a:cubicBezTo>
                    <a:cubicBezTo>
                      <a:pt x="227" y="51"/>
                      <a:pt x="226" y="51"/>
                      <a:pt x="226" y="51"/>
                    </a:cubicBezTo>
                    <a:cubicBezTo>
                      <a:pt x="225" y="51"/>
                      <a:pt x="225" y="51"/>
                      <a:pt x="224" y="51"/>
                    </a:cubicBezTo>
                    <a:cubicBezTo>
                      <a:pt x="223" y="51"/>
                      <a:pt x="223" y="51"/>
                      <a:pt x="222" y="51"/>
                    </a:cubicBezTo>
                    <a:cubicBezTo>
                      <a:pt x="220" y="51"/>
                      <a:pt x="218" y="51"/>
                      <a:pt x="215" y="49"/>
                    </a:cubicBezTo>
                    <a:cubicBezTo>
                      <a:pt x="214" y="48"/>
                      <a:pt x="214" y="48"/>
                      <a:pt x="214" y="48"/>
                    </a:cubicBezTo>
                    <a:cubicBezTo>
                      <a:pt x="213" y="48"/>
                      <a:pt x="213" y="48"/>
                      <a:pt x="212" y="47"/>
                    </a:cubicBezTo>
                    <a:cubicBezTo>
                      <a:pt x="210" y="46"/>
                      <a:pt x="210" y="46"/>
                      <a:pt x="210" y="46"/>
                    </a:cubicBezTo>
                    <a:cubicBezTo>
                      <a:pt x="210" y="46"/>
                      <a:pt x="210" y="46"/>
                      <a:pt x="210" y="46"/>
                    </a:cubicBezTo>
                    <a:cubicBezTo>
                      <a:pt x="208" y="45"/>
                      <a:pt x="205" y="42"/>
                      <a:pt x="207" y="38"/>
                    </a:cubicBezTo>
                    <a:cubicBezTo>
                      <a:pt x="208" y="36"/>
                      <a:pt x="208" y="36"/>
                      <a:pt x="208" y="36"/>
                    </a:cubicBezTo>
                    <a:cubicBezTo>
                      <a:pt x="208" y="35"/>
                      <a:pt x="208" y="35"/>
                      <a:pt x="208" y="35"/>
                    </a:cubicBezTo>
                    <a:cubicBezTo>
                      <a:pt x="208" y="35"/>
                      <a:pt x="208" y="35"/>
                      <a:pt x="207" y="34"/>
                    </a:cubicBezTo>
                    <a:cubicBezTo>
                      <a:pt x="204" y="30"/>
                      <a:pt x="204" y="30"/>
                      <a:pt x="204" y="30"/>
                    </a:cubicBezTo>
                    <a:cubicBezTo>
                      <a:pt x="208" y="28"/>
                      <a:pt x="208" y="28"/>
                      <a:pt x="208" y="28"/>
                    </a:cubicBezTo>
                    <a:cubicBezTo>
                      <a:pt x="207" y="28"/>
                      <a:pt x="206" y="27"/>
                      <a:pt x="204" y="26"/>
                    </a:cubicBezTo>
                    <a:cubicBezTo>
                      <a:pt x="196" y="23"/>
                      <a:pt x="196" y="23"/>
                      <a:pt x="196" y="23"/>
                    </a:cubicBezTo>
                    <a:cubicBezTo>
                      <a:pt x="204" y="20"/>
                      <a:pt x="204" y="20"/>
                      <a:pt x="204" y="20"/>
                    </a:cubicBezTo>
                    <a:cubicBezTo>
                      <a:pt x="204" y="20"/>
                      <a:pt x="204" y="20"/>
                      <a:pt x="204" y="20"/>
                    </a:cubicBezTo>
                    <a:cubicBezTo>
                      <a:pt x="204" y="20"/>
                      <a:pt x="204" y="20"/>
                      <a:pt x="204" y="20"/>
                    </a:cubicBezTo>
                    <a:cubicBezTo>
                      <a:pt x="204" y="19"/>
                      <a:pt x="204" y="18"/>
                      <a:pt x="204" y="17"/>
                    </a:cubicBezTo>
                    <a:cubicBezTo>
                      <a:pt x="202" y="16"/>
                      <a:pt x="199" y="15"/>
                      <a:pt x="198" y="15"/>
                    </a:cubicBezTo>
                    <a:cubicBezTo>
                      <a:pt x="197" y="15"/>
                      <a:pt x="197" y="15"/>
                      <a:pt x="197" y="15"/>
                    </a:cubicBezTo>
                    <a:cubicBezTo>
                      <a:pt x="196" y="14"/>
                      <a:pt x="192" y="15"/>
                      <a:pt x="189" y="14"/>
                    </a:cubicBezTo>
                    <a:cubicBezTo>
                      <a:pt x="189" y="14"/>
                      <a:pt x="189" y="14"/>
                      <a:pt x="189" y="14"/>
                    </a:cubicBezTo>
                    <a:cubicBezTo>
                      <a:pt x="188" y="14"/>
                      <a:pt x="188" y="14"/>
                      <a:pt x="188" y="14"/>
                    </a:cubicBezTo>
                    <a:cubicBezTo>
                      <a:pt x="187" y="14"/>
                      <a:pt x="186" y="13"/>
                      <a:pt x="185" y="12"/>
                    </a:cubicBezTo>
                    <a:cubicBezTo>
                      <a:pt x="184" y="11"/>
                      <a:pt x="183" y="11"/>
                      <a:pt x="183" y="10"/>
                    </a:cubicBezTo>
                    <a:cubicBezTo>
                      <a:pt x="182" y="9"/>
                      <a:pt x="182" y="9"/>
                      <a:pt x="182" y="9"/>
                    </a:cubicBezTo>
                    <a:cubicBezTo>
                      <a:pt x="182" y="9"/>
                      <a:pt x="182" y="8"/>
                      <a:pt x="181" y="8"/>
                    </a:cubicBezTo>
                    <a:cubicBezTo>
                      <a:pt x="181" y="7"/>
                      <a:pt x="181" y="7"/>
                      <a:pt x="181" y="7"/>
                    </a:cubicBezTo>
                    <a:cubicBezTo>
                      <a:pt x="180" y="7"/>
                      <a:pt x="180" y="7"/>
                      <a:pt x="180" y="7"/>
                    </a:cubicBezTo>
                    <a:cubicBezTo>
                      <a:pt x="180" y="7"/>
                      <a:pt x="180" y="7"/>
                      <a:pt x="180" y="7"/>
                    </a:cubicBezTo>
                    <a:cubicBezTo>
                      <a:pt x="180" y="7"/>
                      <a:pt x="180" y="7"/>
                      <a:pt x="179" y="7"/>
                    </a:cubicBezTo>
                    <a:cubicBezTo>
                      <a:pt x="179" y="7"/>
                      <a:pt x="179" y="7"/>
                      <a:pt x="179" y="7"/>
                    </a:cubicBezTo>
                    <a:cubicBezTo>
                      <a:pt x="178" y="7"/>
                      <a:pt x="177" y="7"/>
                      <a:pt x="177" y="7"/>
                    </a:cubicBezTo>
                    <a:cubicBezTo>
                      <a:pt x="176" y="7"/>
                      <a:pt x="175" y="6"/>
                      <a:pt x="174" y="5"/>
                    </a:cubicBezTo>
                    <a:cubicBezTo>
                      <a:pt x="172" y="4"/>
                      <a:pt x="170" y="2"/>
                      <a:pt x="169" y="0"/>
                    </a:cubicBezTo>
                    <a:cubicBezTo>
                      <a:pt x="168" y="0"/>
                      <a:pt x="168" y="0"/>
                      <a:pt x="1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17" name="Rectangle 345">
                <a:extLst>
                  <a:ext uri="{FF2B5EF4-FFF2-40B4-BE49-F238E27FC236}">
                    <a16:creationId xmlns:a16="http://schemas.microsoft.com/office/drawing/2014/main" id="{C2E3E104-A3AB-4F44-9304-4984DFC7D6B0}"/>
                  </a:ext>
                </a:extLst>
              </p:cNvPr>
              <p:cNvSpPr>
                <a:spLocks noChangeArrowheads="1"/>
              </p:cNvSpPr>
              <p:nvPr/>
            </p:nvSpPr>
            <p:spPr bwMode="auto">
              <a:xfrm>
                <a:off x="10616818" y="5100201"/>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18" name="Freeform 346">
                <a:extLst>
                  <a:ext uri="{FF2B5EF4-FFF2-40B4-BE49-F238E27FC236}">
                    <a16:creationId xmlns:a16="http://schemas.microsoft.com/office/drawing/2014/main" id="{95F76EC0-C9D5-41AA-A75A-9FBD80884E5B}"/>
                  </a:ext>
                </a:extLst>
              </p:cNvPr>
              <p:cNvSpPr>
                <a:spLocks/>
              </p:cNvSpPr>
              <p:nvPr/>
            </p:nvSpPr>
            <p:spPr bwMode="auto">
              <a:xfrm>
                <a:off x="10616818" y="5100201"/>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19" name="Freeform 347">
                <a:extLst>
                  <a:ext uri="{FF2B5EF4-FFF2-40B4-BE49-F238E27FC236}">
                    <a16:creationId xmlns:a16="http://schemas.microsoft.com/office/drawing/2014/main" id="{2B58B712-6B2E-4475-8C8C-34E3CC4D00EF}"/>
                  </a:ext>
                </a:extLst>
              </p:cNvPr>
              <p:cNvSpPr>
                <a:spLocks/>
              </p:cNvSpPr>
              <p:nvPr/>
            </p:nvSpPr>
            <p:spPr bwMode="auto">
              <a:xfrm>
                <a:off x="10447303" y="5100201"/>
                <a:ext cx="674376" cy="346401"/>
              </a:xfrm>
              <a:custGeom>
                <a:avLst/>
                <a:gdLst>
                  <a:gd name="T0" fmla="*/ 44 w 212"/>
                  <a:gd name="T1" fmla="*/ 5 h 109"/>
                  <a:gd name="T2" fmla="*/ 41 w 212"/>
                  <a:gd name="T3" fmla="*/ 5 h 109"/>
                  <a:gd name="T4" fmla="*/ 40 w 212"/>
                  <a:gd name="T5" fmla="*/ 23 h 109"/>
                  <a:gd name="T6" fmla="*/ 35 w 212"/>
                  <a:gd name="T7" fmla="*/ 12 h 109"/>
                  <a:gd name="T8" fmla="*/ 27 w 212"/>
                  <a:gd name="T9" fmla="*/ 22 h 109"/>
                  <a:gd name="T10" fmla="*/ 19 w 212"/>
                  <a:gd name="T11" fmla="*/ 22 h 109"/>
                  <a:gd name="T12" fmla="*/ 6 w 212"/>
                  <a:gd name="T13" fmla="*/ 20 h 109"/>
                  <a:gd name="T14" fmla="*/ 4 w 212"/>
                  <a:gd name="T15" fmla="*/ 21 h 109"/>
                  <a:gd name="T16" fmla="*/ 0 w 212"/>
                  <a:gd name="T17" fmla="*/ 27 h 109"/>
                  <a:gd name="T18" fmla="*/ 4 w 212"/>
                  <a:gd name="T19" fmla="*/ 31 h 109"/>
                  <a:gd name="T20" fmla="*/ 22 w 212"/>
                  <a:gd name="T21" fmla="*/ 39 h 109"/>
                  <a:gd name="T22" fmla="*/ 21 w 212"/>
                  <a:gd name="T23" fmla="*/ 53 h 109"/>
                  <a:gd name="T24" fmla="*/ 24 w 212"/>
                  <a:gd name="T25" fmla="*/ 57 h 109"/>
                  <a:gd name="T26" fmla="*/ 17 w 212"/>
                  <a:gd name="T27" fmla="*/ 82 h 109"/>
                  <a:gd name="T28" fmla="*/ 13 w 212"/>
                  <a:gd name="T29" fmla="*/ 92 h 109"/>
                  <a:gd name="T30" fmla="*/ 15 w 212"/>
                  <a:gd name="T31" fmla="*/ 101 h 109"/>
                  <a:gd name="T32" fmla="*/ 21 w 212"/>
                  <a:gd name="T33" fmla="*/ 97 h 109"/>
                  <a:gd name="T34" fmla="*/ 34 w 212"/>
                  <a:gd name="T35" fmla="*/ 91 h 109"/>
                  <a:gd name="T36" fmla="*/ 36 w 212"/>
                  <a:gd name="T37" fmla="*/ 90 h 109"/>
                  <a:gd name="T38" fmla="*/ 46 w 212"/>
                  <a:gd name="T39" fmla="*/ 92 h 109"/>
                  <a:gd name="T40" fmla="*/ 51 w 212"/>
                  <a:gd name="T41" fmla="*/ 95 h 109"/>
                  <a:gd name="T42" fmla="*/ 51 w 212"/>
                  <a:gd name="T43" fmla="*/ 91 h 109"/>
                  <a:gd name="T44" fmla="*/ 54 w 212"/>
                  <a:gd name="T45" fmla="*/ 84 h 109"/>
                  <a:gd name="T46" fmla="*/ 69 w 212"/>
                  <a:gd name="T47" fmla="*/ 81 h 109"/>
                  <a:gd name="T48" fmla="*/ 74 w 212"/>
                  <a:gd name="T49" fmla="*/ 82 h 109"/>
                  <a:gd name="T50" fmla="*/ 74 w 212"/>
                  <a:gd name="T51" fmla="*/ 79 h 109"/>
                  <a:gd name="T52" fmla="*/ 74 w 212"/>
                  <a:gd name="T53" fmla="*/ 69 h 109"/>
                  <a:gd name="T54" fmla="*/ 84 w 212"/>
                  <a:gd name="T55" fmla="*/ 62 h 109"/>
                  <a:gd name="T56" fmla="*/ 97 w 212"/>
                  <a:gd name="T57" fmla="*/ 51 h 109"/>
                  <a:gd name="T58" fmla="*/ 104 w 212"/>
                  <a:gd name="T59" fmla="*/ 54 h 109"/>
                  <a:gd name="T60" fmla="*/ 110 w 212"/>
                  <a:gd name="T61" fmla="*/ 54 h 109"/>
                  <a:gd name="T62" fmla="*/ 109 w 212"/>
                  <a:gd name="T63" fmla="*/ 60 h 109"/>
                  <a:gd name="T64" fmla="*/ 116 w 212"/>
                  <a:gd name="T65" fmla="*/ 69 h 109"/>
                  <a:gd name="T66" fmla="*/ 116 w 212"/>
                  <a:gd name="T67" fmla="*/ 95 h 109"/>
                  <a:gd name="T68" fmla="*/ 116 w 212"/>
                  <a:gd name="T69" fmla="*/ 97 h 109"/>
                  <a:gd name="T70" fmla="*/ 116 w 212"/>
                  <a:gd name="T71" fmla="*/ 104 h 109"/>
                  <a:gd name="T72" fmla="*/ 119 w 212"/>
                  <a:gd name="T73" fmla="*/ 109 h 109"/>
                  <a:gd name="T74" fmla="*/ 136 w 212"/>
                  <a:gd name="T75" fmla="*/ 102 h 109"/>
                  <a:gd name="T76" fmla="*/ 162 w 212"/>
                  <a:gd name="T77" fmla="*/ 85 h 109"/>
                  <a:gd name="T78" fmla="*/ 179 w 212"/>
                  <a:gd name="T79" fmla="*/ 90 h 109"/>
                  <a:gd name="T80" fmla="*/ 188 w 212"/>
                  <a:gd name="T81" fmla="*/ 88 h 109"/>
                  <a:gd name="T82" fmla="*/ 194 w 212"/>
                  <a:gd name="T83" fmla="*/ 86 h 109"/>
                  <a:gd name="T84" fmla="*/ 210 w 212"/>
                  <a:gd name="T85" fmla="*/ 91 h 109"/>
                  <a:gd name="T86" fmla="*/ 209 w 212"/>
                  <a:gd name="T87" fmla="*/ 81 h 109"/>
                  <a:gd name="T88" fmla="*/ 206 w 212"/>
                  <a:gd name="T89" fmla="*/ 61 h 109"/>
                  <a:gd name="T90" fmla="*/ 199 w 212"/>
                  <a:gd name="T91" fmla="*/ 55 h 109"/>
                  <a:gd name="T92" fmla="*/ 193 w 212"/>
                  <a:gd name="T93" fmla="*/ 51 h 109"/>
                  <a:gd name="T94" fmla="*/ 186 w 212"/>
                  <a:gd name="T95" fmla="*/ 52 h 109"/>
                  <a:gd name="T96" fmla="*/ 180 w 212"/>
                  <a:gd name="T97" fmla="*/ 53 h 109"/>
                  <a:gd name="T98" fmla="*/ 173 w 212"/>
                  <a:gd name="T99" fmla="*/ 38 h 109"/>
                  <a:gd name="T100" fmla="*/ 167 w 212"/>
                  <a:gd name="T101" fmla="*/ 40 h 109"/>
                  <a:gd name="T102" fmla="*/ 170 w 212"/>
                  <a:gd name="T103" fmla="*/ 30 h 109"/>
                  <a:gd name="T104" fmla="*/ 164 w 212"/>
                  <a:gd name="T105" fmla="*/ 27 h 109"/>
                  <a:gd name="T106" fmla="*/ 144 w 212"/>
                  <a:gd name="T107" fmla="*/ 28 h 109"/>
                  <a:gd name="T108" fmla="*/ 132 w 212"/>
                  <a:gd name="T109" fmla="*/ 33 h 109"/>
                  <a:gd name="T110" fmla="*/ 120 w 212"/>
                  <a:gd name="T111" fmla="*/ 31 h 109"/>
                  <a:gd name="T112" fmla="*/ 117 w 212"/>
                  <a:gd name="T113" fmla="*/ 25 h 109"/>
                  <a:gd name="T114" fmla="*/ 114 w 212"/>
                  <a:gd name="T115" fmla="*/ 25 h 109"/>
                  <a:gd name="T116" fmla="*/ 101 w 212"/>
                  <a:gd name="T117" fmla="*/ 27 h 109"/>
                  <a:gd name="T118" fmla="*/ 99 w 212"/>
                  <a:gd name="T119" fmla="*/ 26 h 109"/>
                  <a:gd name="T120" fmla="*/ 83 w 212"/>
                  <a:gd name="T121" fmla="*/ 23 h 109"/>
                  <a:gd name="T122" fmla="*/ 47 w 212"/>
                  <a:gd name="T123" fmla="*/ 23 h 109"/>
                  <a:gd name="T124" fmla="*/ 48 w 212"/>
                  <a:gd name="T125" fmla="*/ 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 h="109">
                    <a:moveTo>
                      <a:pt x="46" y="0"/>
                    </a:moveTo>
                    <a:cubicBezTo>
                      <a:pt x="46" y="1"/>
                      <a:pt x="46" y="3"/>
                      <a:pt x="45" y="4"/>
                    </a:cubicBezTo>
                    <a:cubicBezTo>
                      <a:pt x="44" y="5"/>
                      <a:pt x="44" y="5"/>
                      <a:pt x="44" y="5"/>
                    </a:cubicBezTo>
                    <a:cubicBezTo>
                      <a:pt x="42" y="5"/>
                      <a:pt x="42" y="5"/>
                      <a:pt x="42" y="5"/>
                    </a:cubicBezTo>
                    <a:cubicBezTo>
                      <a:pt x="42" y="5"/>
                      <a:pt x="42" y="5"/>
                      <a:pt x="42" y="5"/>
                    </a:cubicBezTo>
                    <a:cubicBezTo>
                      <a:pt x="41" y="5"/>
                      <a:pt x="41" y="5"/>
                      <a:pt x="41" y="5"/>
                    </a:cubicBezTo>
                    <a:cubicBezTo>
                      <a:pt x="41" y="6"/>
                      <a:pt x="41" y="6"/>
                      <a:pt x="41" y="6"/>
                    </a:cubicBezTo>
                    <a:cubicBezTo>
                      <a:pt x="41" y="7"/>
                      <a:pt x="41" y="7"/>
                      <a:pt x="41" y="8"/>
                    </a:cubicBezTo>
                    <a:cubicBezTo>
                      <a:pt x="40" y="23"/>
                      <a:pt x="40" y="23"/>
                      <a:pt x="40" y="23"/>
                    </a:cubicBezTo>
                    <a:cubicBezTo>
                      <a:pt x="35" y="10"/>
                      <a:pt x="35" y="10"/>
                      <a:pt x="35" y="10"/>
                    </a:cubicBezTo>
                    <a:cubicBezTo>
                      <a:pt x="35" y="11"/>
                      <a:pt x="35" y="11"/>
                      <a:pt x="35" y="11"/>
                    </a:cubicBezTo>
                    <a:cubicBezTo>
                      <a:pt x="35" y="12"/>
                      <a:pt x="35" y="12"/>
                      <a:pt x="35" y="12"/>
                    </a:cubicBezTo>
                    <a:cubicBezTo>
                      <a:pt x="33" y="18"/>
                      <a:pt x="32" y="21"/>
                      <a:pt x="30" y="22"/>
                    </a:cubicBezTo>
                    <a:cubicBezTo>
                      <a:pt x="30" y="22"/>
                      <a:pt x="29" y="22"/>
                      <a:pt x="29" y="22"/>
                    </a:cubicBezTo>
                    <a:cubicBezTo>
                      <a:pt x="28" y="22"/>
                      <a:pt x="27" y="22"/>
                      <a:pt x="27" y="22"/>
                    </a:cubicBezTo>
                    <a:cubicBezTo>
                      <a:pt x="26" y="22"/>
                      <a:pt x="25" y="22"/>
                      <a:pt x="25" y="22"/>
                    </a:cubicBezTo>
                    <a:cubicBezTo>
                      <a:pt x="24" y="22"/>
                      <a:pt x="24" y="22"/>
                      <a:pt x="24" y="22"/>
                    </a:cubicBezTo>
                    <a:cubicBezTo>
                      <a:pt x="22" y="22"/>
                      <a:pt x="21" y="22"/>
                      <a:pt x="19" y="22"/>
                    </a:cubicBezTo>
                    <a:cubicBezTo>
                      <a:pt x="16" y="21"/>
                      <a:pt x="13" y="21"/>
                      <a:pt x="9" y="20"/>
                    </a:cubicBezTo>
                    <a:cubicBezTo>
                      <a:pt x="8" y="20"/>
                      <a:pt x="7" y="20"/>
                      <a:pt x="7" y="20"/>
                    </a:cubicBezTo>
                    <a:cubicBezTo>
                      <a:pt x="7" y="20"/>
                      <a:pt x="6" y="20"/>
                      <a:pt x="6" y="20"/>
                    </a:cubicBezTo>
                    <a:cubicBezTo>
                      <a:pt x="6" y="20"/>
                      <a:pt x="6" y="20"/>
                      <a:pt x="6" y="20"/>
                    </a:cubicBezTo>
                    <a:cubicBezTo>
                      <a:pt x="5" y="20"/>
                      <a:pt x="5" y="20"/>
                      <a:pt x="5" y="20"/>
                    </a:cubicBezTo>
                    <a:cubicBezTo>
                      <a:pt x="5" y="21"/>
                      <a:pt x="4" y="21"/>
                      <a:pt x="4" y="21"/>
                    </a:cubicBezTo>
                    <a:cubicBezTo>
                      <a:pt x="3" y="22"/>
                      <a:pt x="3" y="22"/>
                      <a:pt x="3" y="22"/>
                    </a:cubicBezTo>
                    <a:cubicBezTo>
                      <a:pt x="1" y="23"/>
                      <a:pt x="1" y="24"/>
                      <a:pt x="0" y="26"/>
                    </a:cubicBezTo>
                    <a:cubicBezTo>
                      <a:pt x="0" y="27"/>
                      <a:pt x="0" y="27"/>
                      <a:pt x="0" y="27"/>
                    </a:cubicBezTo>
                    <a:cubicBezTo>
                      <a:pt x="1" y="27"/>
                      <a:pt x="1" y="28"/>
                      <a:pt x="2" y="29"/>
                    </a:cubicBezTo>
                    <a:cubicBezTo>
                      <a:pt x="2" y="29"/>
                      <a:pt x="2" y="29"/>
                      <a:pt x="2" y="29"/>
                    </a:cubicBezTo>
                    <a:cubicBezTo>
                      <a:pt x="3" y="30"/>
                      <a:pt x="4" y="30"/>
                      <a:pt x="4" y="31"/>
                    </a:cubicBezTo>
                    <a:cubicBezTo>
                      <a:pt x="7" y="33"/>
                      <a:pt x="7" y="33"/>
                      <a:pt x="11" y="33"/>
                    </a:cubicBezTo>
                    <a:cubicBezTo>
                      <a:pt x="11" y="33"/>
                      <a:pt x="13" y="33"/>
                      <a:pt x="14" y="34"/>
                    </a:cubicBezTo>
                    <a:cubicBezTo>
                      <a:pt x="17" y="34"/>
                      <a:pt x="21" y="36"/>
                      <a:pt x="22" y="39"/>
                    </a:cubicBezTo>
                    <a:cubicBezTo>
                      <a:pt x="22" y="39"/>
                      <a:pt x="23" y="40"/>
                      <a:pt x="23" y="41"/>
                    </a:cubicBezTo>
                    <a:cubicBezTo>
                      <a:pt x="23" y="43"/>
                      <a:pt x="22" y="46"/>
                      <a:pt x="22" y="49"/>
                    </a:cubicBezTo>
                    <a:cubicBezTo>
                      <a:pt x="21" y="53"/>
                      <a:pt x="21" y="53"/>
                      <a:pt x="21" y="53"/>
                    </a:cubicBezTo>
                    <a:cubicBezTo>
                      <a:pt x="21" y="53"/>
                      <a:pt x="21" y="54"/>
                      <a:pt x="21" y="54"/>
                    </a:cubicBezTo>
                    <a:cubicBezTo>
                      <a:pt x="22" y="55"/>
                      <a:pt x="22" y="55"/>
                      <a:pt x="22" y="55"/>
                    </a:cubicBezTo>
                    <a:cubicBezTo>
                      <a:pt x="24" y="57"/>
                      <a:pt x="24" y="57"/>
                      <a:pt x="24" y="57"/>
                    </a:cubicBezTo>
                    <a:cubicBezTo>
                      <a:pt x="25" y="58"/>
                      <a:pt x="26" y="59"/>
                      <a:pt x="26" y="60"/>
                    </a:cubicBezTo>
                    <a:cubicBezTo>
                      <a:pt x="31" y="65"/>
                      <a:pt x="24" y="74"/>
                      <a:pt x="19" y="80"/>
                    </a:cubicBezTo>
                    <a:cubicBezTo>
                      <a:pt x="18" y="81"/>
                      <a:pt x="17" y="82"/>
                      <a:pt x="17" y="82"/>
                    </a:cubicBezTo>
                    <a:cubicBezTo>
                      <a:pt x="16" y="84"/>
                      <a:pt x="16" y="84"/>
                      <a:pt x="16" y="84"/>
                    </a:cubicBezTo>
                    <a:cubicBezTo>
                      <a:pt x="15" y="86"/>
                      <a:pt x="14" y="87"/>
                      <a:pt x="13" y="89"/>
                    </a:cubicBezTo>
                    <a:cubicBezTo>
                      <a:pt x="13" y="89"/>
                      <a:pt x="13" y="90"/>
                      <a:pt x="13" y="92"/>
                    </a:cubicBezTo>
                    <a:cubicBezTo>
                      <a:pt x="12" y="94"/>
                      <a:pt x="12" y="95"/>
                      <a:pt x="11" y="97"/>
                    </a:cubicBezTo>
                    <a:cubicBezTo>
                      <a:pt x="11" y="97"/>
                      <a:pt x="11" y="98"/>
                      <a:pt x="11" y="98"/>
                    </a:cubicBezTo>
                    <a:cubicBezTo>
                      <a:pt x="15" y="101"/>
                      <a:pt x="15" y="101"/>
                      <a:pt x="15" y="101"/>
                    </a:cubicBezTo>
                    <a:cubicBezTo>
                      <a:pt x="15" y="101"/>
                      <a:pt x="15" y="101"/>
                      <a:pt x="15" y="101"/>
                    </a:cubicBezTo>
                    <a:cubicBezTo>
                      <a:pt x="15" y="101"/>
                      <a:pt x="16" y="100"/>
                      <a:pt x="16" y="100"/>
                    </a:cubicBezTo>
                    <a:cubicBezTo>
                      <a:pt x="18" y="98"/>
                      <a:pt x="20" y="97"/>
                      <a:pt x="21" y="97"/>
                    </a:cubicBezTo>
                    <a:cubicBezTo>
                      <a:pt x="22" y="96"/>
                      <a:pt x="23" y="95"/>
                      <a:pt x="24" y="95"/>
                    </a:cubicBezTo>
                    <a:cubicBezTo>
                      <a:pt x="27" y="94"/>
                      <a:pt x="30" y="93"/>
                      <a:pt x="32" y="92"/>
                    </a:cubicBezTo>
                    <a:cubicBezTo>
                      <a:pt x="33" y="92"/>
                      <a:pt x="33" y="92"/>
                      <a:pt x="34" y="91"/>
                    </a:cubicBezTo>
                    <a:cubicBezTo>
                      <a:pt x="35" y="92"/>
                      <a:pt x="35" y="92"/>
                      <a:pt x="35" y="92"/>
                    </a:cubicBezTo>
                    <a:cubicBezTo>
                      <a:pt x="34" y="91"/>
                      <a:pt x="34" y="91"/>
                      <a:pt x="34" y="91"/>
                    </a:cubicBezTo>
                    <a:cubicBezTo>
                      <a:pt x="35" y="91"/>
                      <a:pt x="35" y="90"/>
                      <a:pt x="36" y="90"/>
                    </a:cubicBezTo>
                    <a:cubicBezTo>
                      <a:pt x="38" y="89"/>
                      <a:pt x="39" y="89"/>
                      <a:pt x="40" y="89"/>
                    </a:cubicBezTo>
                    <a:cubicBezTo>
                      <a:pt x="42" y="89"/>
                      <a:pt x="43" y="90"/>
                      <a:pt x="44" y="91"/>
                    </a:cubicBezTo>
                    <a:cubicBezTo>
                      <a:pt x="45" y="91"/>
                      <a:pt x="45" y="92"/>
                      <a:pt x="46" y="92"/>
                    </a:cubicBezTo>
                    <a:cubicBezTo>
                      <a:pt x="48" y="94"/>
                      <a:pt x="48" y="94"/>
                      <a:pt x="48" y="94"/>
                    </a:cubicBezTo>
                    <a:cubicBezTo>
                      <a:pt x="49" y="95"/>
                      <a:pt x="50" y="95"/>
                      <a:pt x="50" y="96"/>
                    </a:cubicBezTo>
                    <a:cubicBezTo>
                      <a:pt x="50" y="96"/>
                      <a:pt x="50" y="96"/>
                      <a:pt x="51" y="95"/>
                    </a:cubicBezTo>
                    <a:cubicBezTo>
                      <a:pt x="51" y="95"/>
                      <a:pt x="51" y="95"/>
                      <a:pt x="51" y="94"/>
                    </a:cubicBezTo>
                    <a:cubicBezTo>
                      <a:pt x="51" y="94"/>
                      <a:pt x="51" y="94"/>
                      <a:pt x="51" y="94"/>
                    </a:cubicBezTo>
                    <a:cubicBezTo>
                      <a:pt x="51" y="93"/>
                      <a:pt x="51" y="92"/>
                      <a:pt x="51" y="91"/>
                    </a:cubicBezTo>
                    <a:cubicBezTo>
                      <a:pt x="52" y="89"/>
                      <a:pt x="52" y="89"/>
                      <a:pt x="52" y="89"/>
                    </a:cubicBezTo>
                    <a:cubicBezTo>
                      <a:pt x="52" y="88"/>
                      <a:pt x="52" y="86"/>
                      <a:pt x="54" y="84"/>
                    </a:cubicBezTo>
                    <a:cubicBezTo>
                      <a:pt x="54" y="84"/>
                      <a:pt x="54" y="84"/>
                      <a:pt x="54" y="84"/>
                    </a:cubicBezTo>
                    <a:cubicBezTo>
                      <a:pt x="55" y="81"/>
                      <a:pt x="57" y="80"/>
                      <a:pt x="61" y="80"/>
                    </a:cubicBezTo>
                    <a:cubicBezTo>
                      <a:pt x="63" y="80"/>
                      <a:pt x="66" y="80"/>
                      <a:pt x="67" y="81"/>
                    </a:cubicBezTo>
                    <a:cubicBezTo>
                      <a:pt x="68" y="81"/>
                      <a:pt x="68" y="81"/>
                      <a:pt x="69" y="81"/>
                    </a:cubicBezTo>
                    <a:cubicBezTo>
                      <a:pt x="71" y="81"/>
                      <a:pt x="72" y="82"/>
                      <a:pt x="73" y="82"/>
                    </a:cubicBezTo>
                    <a:cubicBezTo>
                      <a:pt x="74" y="82"/>
                      <a:pt x="74" y="82"/>
                      <a:pt x="74" y="82"/>
                    </a:cubicBezTo>
                    <a:cubicBezTo>
                      <a:pt x="74" y="82"/>
                      <a:pt x="74" y="82"/>
                      <a:pt x="74" y="82"/>
                    </a:cubicBezTo>
                    <a:cubicBezTo>
                      <a:pt x="74" y="81"/>
                      <a:pt x="74" y="81"/>
                      <a:pt x="75" y="81"/>
                    </a:cubicBezTo>
                    <a:cubicBezTo>
                      <a:pt x="75" y="80"/>
                      <a:pt x="75" y="80"/>
                      <a:pt x="75" y="80"/>
                    </a:cubicBezTo>
                    <a:cubicBezTo>
                      <a:pt x="75" y="80"/>
                      <a:pt x="74" y="80"/>
                      <a:pt x="74" y="79"/>
                    </a:cubicBezTo>
                    <a:cubicBezTo>
                      <a:pt x="74" y="79"/>
                      <a:pt x="74" y="79"/>
                      <a:pt x="74" y="79"/>
                    </a:cubicBezTo>
                    <a:cubicBezTo>
                      <a:pt x="73" y="78"/>
                      <a:pt x="72" y="76"/>
                      <a:pt x="72" y="75"/>
                    </a:cubicBezTo>
                    <a:cubicBezTo>
                      <a:pt x="71" y="74"/>
                      <a:pt x="71" y="71"/>
                      <a:pt x="74" y="69"/>
                    </a:cubicBezTo>
                    <a:cubicBezTo>
                      <a:pt x="75" y="68"/>
                      <a:pt x="77" y="67"/>
                      <a:pt x="79" y="65"/>
                    </a:cubicBezTo>
                    <a:cubicBezTo>
                      <a:pt x="80" y="65"/>
                      <a:pt x="81" y="63"/>
                      <a:pt x="82" y="62"/>
                    </a:cubicBezTo>
                    <a:cubicBezTo>
                      <a:pt x="84" y="62"/>
                      <a:pt x="84" y="62"/>
                      <a:pt x="84" y="62"/>
                    </a:cubicBezTo>
                    <a:cubicBezTo>
                      <a:pt x="83" y="61"/>
                      <a:pt x="83" y="61"/>
                      <a:pt x="83" y="61"/>
                    </a:cubicBezTo>
                    <a:cubicBezTo>
                      <a:pt x="85" y="58"/>
                      <a:pt x="87" y="55"/>
                      <a:pt x="90" y="54"/>
                    </a:cubicBezTo>
                    <a:cubicBezTo>
                      <a:pt x="92" y="52"/>
                      <a:pt x="94" y="52"/>
                      <a:pt x="97" y="51"/>
                    </a:cubicBezTo>
                    <a:cubicBezTo>
                      <a:pt x="99" y="51"/>
                      <a:pt x="99" y="51"/>
                      <a:pt x="99" y="51"/>
                    </a:cubicBezTo>
                    <a:cubicBezTo>
                      <a:pt x="101" y="52"/>
                      <a:pt x="101" y="52"/>
                      <a:pt x="101" y="52"/>
                    </a:cubicBezTo>
                    <a:cubicBezTo>
                      <a:pt x="102" y="53"/>
                      <a:pt x="103" y="53"/>
                      <a:pt x="104" y="54"/>
                    </a:cubicBezTo>
                    <a:cubicBezTo>
                      <a:pt x="105" y="55"/>
                      <a:pt x="105" y="56"/>
                      <a:pt x="106" y="56"/>
                    </a:cubicBezTo>
                    <a:cubicBezTo>
                      <a:pt x="111" y="52"/>
                      <a:pt x="111" y="52"/>
                      <a:pt x="111" y="52"/>
                    </a:cubicBezTo>
                    <a:cubicBezTo>
                      <a:pt x="110" y="54"/>
                      <a:pt x="110" y="54"/>
                      <a:pt x="110" y="54"/>
                    </a:cubicBezTo>
                    <a:cubicBezTo>
                      <a:pt x="111" y="53"/>
                      <a:pt x="111" y="53"/>
                      <a:pt x="111" y="53"/>
                    </a:cubicBezTo>
                    <a:cubicBezTo>
                      <a:pt x="107" y="58"/>
                      <a:pt x="107" y="58"/>
                      <a:pt x="107" y="58"/>
                    </a:cubicBezTo>
                    <a:cubicBezTo>
                      <a:pt x="109" y="60"/>
                      <a:pt x="109" y="60"/>
                      <a:pt x="109" y="60"/>
                    </a:cubicBezTo>
                    <a:cubicBezTo>
                      <a:pt x="109" y="61"/>
                      <a:pt x="110" y="61"/>
                      <a:pt x="110" y="62"/>
                    </a:cubicBezTo>
                    <a:cubicBezTo>
                      <a:pt x="111" y="63"/>
                      <a:pt x="112" y="65"/>
                      <a:pt x="112" y="67"/>
                    </a:cubicBezTo>
                    <a:cubicBezTo>
                      <a:pt x="113" y="68"/>
                      <a:pt x="115" y="68"/>
                      <a:pt x="116" y="69"/>
                    </a:cubicBezTo>
                    <a:cubicBezTo>
                      <a:pt x="118" y="70"/>
                      <a:pt x="119" y="72"/>
                      <a:pt x="119" y="74"/>
                    </a:cubicBezTo>
                    <a:cubicBezTo>
                      <a:pt x="118" y="77"/>
                      <a:pt x="118" y="80"/>
                      <a:pt x="118" y="83"/>
                    </a:cubicBezTo>
                    <a:cubicBezTo>
                      <a:pt x="118" y="87"/>
                      <a:pt x="117" y="91"/>
                      <a:pt x="116" y="95"/>
                    </a:cubicBezTo>
                    <a:cubicBezTo>
                      <a:pt x="124" y="97"/>
                      <a:pt x="124" y="97"/>
                      <a:pt x="124" y="97"/>
                    </a:cubicBezTo>
                    <a:cubicBezTo>
                      <a:pt x="116" y="97"/>
                      <a:pt x="116" y="97"/>
                      <a:pt x="116" y="97"/>
                    </a:cubicBezTo>
                    <a:cubicBezTo>
                      <a:pt x="116" y="97"/>
                      <a:pt x="116" y="97"/>
                      <a:pt x="116" y="97"/>
                    </a:cubicBezTo>
                    <a:cubicBezTo>
                      <a:pt x="116" y="98"/>
                      <a:pt x="115" y="98"/>
                      <a:pt x="115" y="99"/>
                    </a:cubicBezTo>
                    <a:cubicBezTo>
                      <a:pt x="115" y="100"/>
                      <a:pt x="115" y="100"/>
                      <a:pt x="115" y="101"/>
                    </a:cubicBezTo>
                    <a:cubicBezTo>
                      <a:pt x="115" y="102"/>
                      <a:pt x="115" y="103"/>
                      <a:pt x="116" y="104"/>
                    </a:cubicBezTo>
                    <a:cubicBezTo>
                      <a:pt x="116" y="105"/>
                      <a:pt x="117" y="106"/>
                      <a:pt x="117" y="107"/>
                    </a:cubicBezTo>
                    <a:cubicBezTo>
                      <a:pt x="117" y="107"/>
                      <a:pt x="117" y="107"/>
                      <a:pt x="117" y="107"/>
                    </a:cubicBezTo>
                    <a:cubicBezTo>
                      <a:pt x="118" y="107"/>
                      <a:pt x="118" y="108"/>
                      <a:pt x="119" y="109"/>
                    </a:cubicBezTo>
                    <a:cubicBezTo>
                      <a:pt x="132" y="104"/>
                      <a:pt x="132" y="104"/>
                      <a:pt x="132" y="104"/>
                    </a:cubicBezTo>
                    <a:cubicBezTo>
                      <a:pt x="132" y="104"/>
                      <a:pt x="132" y="104"/>
                      <a:pt x="133" y="103"/>
                    </a:cubicBezTo>
                    <a:cubicBezTo>
                      <a:pt x="136" y="102"/>
                      <a:pt x="136" y="102"/>
                      <a:pt x="136" y="102"/>
                    </a:cubicBezTo>
                    <a:cubicBezTo>
                      <a:pt x="139" y="101"/>
                      <a:pt x="143" y="100"/>
                      <a:pt x="145" y="98"/>
                    </a:cubicBezTo>
                    <a:cubicBezTo>
                      <a:pt x="149" y="94"/>
                      <a:pt x="153" y="90"/>
                      <a:pt x="159" y="87"/>
                    </a:cubicBezTo>
                    <a:cubicBezTo>
                      <a:pt x="160" y="86"/>
                      <a:pt x="161" y="86"/>
                      <a:pt x="162" y="85"/>
                    </a:cubicBezTo>
                    <a:cubicBezTo>
                      <a:pt x="164" y="85"/>
                      <a:pt x="165" y="84"/>
                      <a:pt x="167" y="84"/>
                    </a:cubicBezTo>
                    <a:cubicBezTo>
                      <a:pt x="170" y="84"/>
                      <a:pt x="172" y="85"/>
                      <a:pt x="175" y="87"/>
                    </a:cubicBezTo>
                    <a:cubicBezTo>
                      <a:pt x="176" y="88"/>
                      <a:pt x="178" y="89"/>
                      <a:pt x="179" y="90"/>
                    </a:cubicBezTo>
                    <a:cubicBezTo>
                      <a:pt x="180" y="91"/>
                      <a:pt x="180" y="91"/>
                      <a:pt x="180" y="91"/>
                    </a:cubicBezTo>
                    <a:cubicBezTo>
                      <a:pt x="183" y="90"/>
                      <a:pt x="186" y="89"/>
                      <a:pt x="187" y="89"/>
                    </a:cubicBezTo>
                    <a:cubicBezTo>
                      <a:pt x="188" y="88"/>
                      <a:pt x="188" y="88"/>
                      <a:pt x="188" y="88"/>
                    </a:cubicBezTo>
                    <a:cubicBezTo>
                      <a:pt x="188" y="87"/>
                      <a:pt x="189" y="87"/>
                      <a:pt x="190" y="86"/>
                    </a:cubicBezTo>
                    <a:cubicBezTo>
                      <a:pt x="191" y="86"/>
                      <a:pt x="192" y="86"/>
                      <a:pt x="193" y="86"/>
                    </a:cubicBezTo>
                    <a:cubicBezTo>
                      <a:pt x="194" y="86"/>
                      <a:pt x="194" y="86"/>
                      <a:pt x="194" y="86"/>
                    </a:cubicBezTo>
                    <a:cubicBezTo>
                      <a:pt x="195" y="86"/>
                      <a:pt x="196" y="86"/>
                      <a:pt x="196" y="86"/>
                    </a:cubicBezTo>
                    <a:cubicBezTo>
                      <a:pt x="199" y="87"/>
                      <a:pt x="202" y="88"/>
                      <a:pt x="205" y="89"/>
                    </a:cubicBezTo>
                    <a:cubicBezTo>
                      <a:pt x="210" y="91"/>
                      <a:pt x="210" y="91"/>
                      <a:pt x="210" y="91"/>
                    </a:cubicBezTo>
                    <a:cubicBezTo>
                      <a:pt x="211" y="91"/>
                      <a:pt x="212" y="90"/>
                      <a:pt x="212" y="89"/>
                    </a:cubicBezTo>
                    <a:cubicBezTo>
                      <a:pt x="211" y="88"/>
                      <a:pt x="210" y="86"/>
                      <a:pt x="209" y="84"/>
                    </a:cubicBezTo>
                    <a:cubicBezTo>
                      <a:pt x="209" y="81"/>
                      <a:pt x="209" y="81"/>
                      <a:pt x="209" y="81"/>
                    </a:cubicBezTo>
                    <a:cubicBezTo>
                      <a:pt x="209" y="80"/>
                      <a:pt x="208" y="79"/>
                      <a:pt x="208" y="77"/>
                    </a:cubicBezTo>
                    <a:cubicBezTo>
                      <a:pt x="208" y="75"/>
                      <a:pt x="208" y="75"/>
                      <a:pt x="208" y="75"/>
                    </a:cubicBezTo>
                    <a:cubicBezTo>
                      <a:pt x="207" y="70"/>
                      <a:pt x="207" y="66"/>
                      <a:pt x="206" y="61"/>
                    </a:cubicBezTo>
                    <a:cubicBezTo>
                      <a:pt x="206" y="59"/>
                      <a:pt x="206" y="59"/>
                      <a:pt x="203" y="58"/>
                    </a:cubicBezTo>
                    <a:cubicBezTo>
                      <a:pt x="202" y="57"/>
                      <a:pt x="202" y="57"/>
                      <a:pt x="202" y="57"/>
                    </a:cubicBezTo>
                    <a:cubicBezTo>
                      <a:pt x="201" y="56"/>
                      <a:pt x="200" y="55"/>
                      <a:pt x="199" y="55"/>
                    </a:cubicBezTo>
                    <a:cubicBezTo>
                      <a:pt x="198" y="54"/>
                      <a:pt x="198" y="54"/>
                      <a:pt x="198" y="54"/>
                    </a:cubicBezTo>
                    <a:cubicBezTo>
                      <a:pt x="197" y="54"/>
                      <a:pt x="196" y="53"/>
                      <a:pt x="196" y="53"/>
                    </a:cubicBezTo>
                    <a:cubicBezTo>
                      <a:pt x="194" y="52"/>
                      <a:pt x="193" y="52"/>
                      <a:pt x="193" y="51"/>
                    </a:cubicBezTo>
                    <a:cubicBezTo>
                      <a:pt x="192" y="51"/>
                      <a:pt x="192" y="51"/>
                      <a:pt x="191" y="51"/>
                    </a:cubicBezTo>
                    <a:cubicBezTo>
                      <a:pt x="190" y="51"/>
                      <a:pt x="190" y="51"/>
                      <a:pt x="190" y="51"/>
                    </a:cubicBezTo>
                    <a:cubicBezTo>
                      <a:pt x="189" y="51"/>
                      <a:pt x="188" y="52"/>
                      <a:pt x="186" y="52"/>
                    </a:cubicBezTo>
                    <a:cubicBezTo>
                      <a:pt x="185" y="52"/>
                      <a:pt x="185" y="52"/>
                      <a:pt x="185" y="52"/>
                    </a:cubicBezTo>
                    <a:cubicBezTo>
                      <a:pt x="184" y="53"/>
                      <a:pt x="182" y="53"/>
                      <a:pt x="181" y="53"/>
                    </a:cubicBezTo>
                    <a:cubicBezTo>
                      <a:pt x="181" y="53"/>
                      <a:pt x="180" y="53"/>
                      <a:pt x="180" y="53"/>
                    </a:cubicBezTo>
                    <a:cubicBezTo>
                      <a:pt x="178" y="53"/>
                      <a:pt x="176" y="52"/>
                      <a:pt x="176" y="50"/>
                    </a:cubicBezTo>
                    <a:cubicBezTo>
                      <a:pt x="175" y="49"/>
                      <a:pt x="174" y="48"/>
                      <a:pt x="174" y="45"/>
                    </a:cubicBezTo>
                    <a:cubicBezTo>
                      <a:pt x="173" y="44"/>
                      <a:pt x="172" y="41"/>
                      <a:pt x="173" y="38"/>
                    </a:cubicBezTo>
                    <a:cubicBezTo>
                      <a:pt x="174" y="38"/>
                      <a:pt x="174" y="37"/>
                      <a:pt x="174" y="37"/>
                    </a:cubicBezTo>
                    <a:cubicBezTo>
                      <a:pt x="174" y="36"/>
                      <a:pt x="174" y="36"/>
                      <a:pt x="174" y="36"/>
                    </a:cubicBezTo>
                    <a:cubicBezTo>
                      <a:pt x="167" y="40"/>
                      <a:pt x="167" y="40"/>
                      <a:pt x="167" y="40"/>
                    </a:cubicBezTo>
                    <a:cubicBezTo>
                      <a:pt x="173" y="35"/>
                      <a:pt x="173" y="35"/>
                      <a:pt x="173" y="35"/>
                    </a:cubicBezTo>
                    <a:cubicBezTo>
                      <a:pt x="172" y="34"/>
                      <a:pt x="171" y="32"/>
                      <a:pt x="170" y="30"/>
                    </a:cubicBezTo>
                    <a:cubicBezTo>
                      <a:pt x="170" y="30"/>
                      <a:pt x="170" y="30"/>
                      <a:pt x="170" y="30"/>
                    </a:cubicBezTo>
                    <a:cubicBezTo>
                      <a:pt x="171" y="26"/>
                      <a:pt x="171" y="26"/>
                      <a:pt x="171" y="26"/>
                    </a:cubicBezTo>
                    <a:cubicBezTo>
                      <a:pt x="170" y="26"/>
                      <a:pt x="169" y="26"/>
                      <a:pt x="167" y="27"/>
                    </a:cubicBezTo>
                    <a:cubicBezTo>
                      <a:pt x="164" y="27"/>
                      <a:pt x="164" y="27"/>
                      <a:pt x="164" y="27"/>
                    </a:cubicBezTo>
                    <a:cubicBezTo>
                      <a:pt x="163" y="27"/>
                      <a:pt x="161" y="27"/>
                      <a:pt x="160" y="27"/>
                    </a:cubicBezTo>
                    <a:cubicBezTo>
                      <a:pt x="156" y="28"/>
                      <a:pt x="154" y="28"/>
                      <a:pt x="151" y="28"/>
                    </a:cubicBezTo>
                    <a:cubicBezTo>
                      <a:pt x="144" y="28"/>
                      <a:pt x="144" y="28"/>
                      <a:pt x="144" y="28"/>
                    </a:cubicBezTo>
                    <a:cubicBezTo>
                      <a:pt x="141" y="28"/>
                      <a:pt x="141" y="29"/>
                      <a:pt x="139" y="32"/>
                    </a:cubicBezTo>
                    <a:cubicBezTo>
                      <a:pt x="135" y="36"/>
                      <a:pt x="135" y="36"/>
                      <a:pt x="135" y="36"/>
                    </a:cubicBezTo>
                    <a:cubicBezTo>
                      <a:pt x="132" y="33"/>
                      <a:pt x="132" y="33"/>
                      <a:pt x="132" y="33"/>
                    </a:cubicBezTo>
                    <a:cubicBezTo>
                      <a:pt x="131" y="32"/>
                      <a:pt x="128" y="32"/>
                      <a:pt x="125" y="31"/>
                    </a:cubicBezTo>
                    <a:cubicBezTo>
                      <a:pt x="124" y="31"/>
                      <a:pt x="124" y="31"/>
                      <a:pt x="124" y="31"/>
                    </a:cubicBezTo>
                    <a:cubicBezTo>
                      <a:pt x="120" y="31"/>
                      <a:pt x="120" y="31"/>
                      <a:pt x="120" y="31"/>
                    </a:cubicBezTo>
                    <a:cubicBezTo>
                      <a:pt x="120" y="31"/>
                      <a:pt x="120" y="31"/>
                      <a:pt x="120" y="31"/>
                    </a:cubicBezTo>
                    <a:cubicBezTo>
                      <a:pt x="117" y="29"/>
                      <a:pt x="117" y="27"/>
                      <a:pt x="117" y="25"/>
                    </a:cubicBezTo>
                    <a:cubicBezTo>
                      <a:pt x="117" y="25"/>
                      <a:pt x="117" y="25"/>
                      <a:pt x="117" y="25"/>
                    </a:cubicBezTo>
                    <a:cubicBezTo>
                      <a:pt x="117" y="25"/>
                      <a:pt x="116" y="25"/>
                      <a:pt x="116" y="25"/>
                    </a:cubicBezTo>
                    <a:cubicBezTo>
                      <a:pt x="116" y="25"/>
                      <a:pt x="115" y="25"/>
                      <a:pt x="115" y="25"/>
                    </a:cubicBezTo>
                    <a:cubicBezTo>
                      <a:pt x="114" y="25"/>
                      <a:pt x="114" y="25"/>
                      <a:pt x="114" y="25"/>
                    </a:cubicBezTo>
                    <a:cubicBezTo>
                      <a:pt x="113" y="24"/>
                      <a:pt x="112" y="24"/>
                      <a:pt x="112" y="23"/>
                    </a:cubicBezTo>
                    <a:cubicBezTo>
                      <a:pt x="111" y="22"/>
                      <a:pt x="111" y="22"/>
                      <a:pt x="111" y="22"/>
                    </a:cubicBezTo>
                    <a:cubicBezTo>
                      <a:pt x="107" y="25"/>
                      <a:pt x="104" y="27"/>
                      <a:pt x="101" y="27"/>
                    </a:cubicBezTo>
                    <a:cubicBezTo>
                      <a:pt x="100" y="27"/>
                      <a:pt x="100" y="27"/>
                      <a:pt x="100" y="26"/>
                    </a:cubicBezTo>
                    <a:cubicBezTo>
                      <a:pt x="100" y="26"/>
                      <a:pt x="100" y="26"/>
                      <a:pt x="100" y="26"/>
                    </a:cubicBezTo>
                    <a:cubicBezTo>
                      <a:pt x="99" y="26"/>
                      <a:pt x="99" y="26"/>
                      <a:pt x="99" y="26"/>
                    </a:cubicBezTo>
                    <a:cubicBezTo>
                      <a:pt x="99" y="26"/>
                      <a:pt x="99" y="26"/>
                      <a:pt x="99" y="26"/>
                    </a:cubicBezTo>
                    <a:cubicBezTo>
                      <a:pt x="98" y="26"/>
                      <a:pt x="98" y="26"/>
                      <a:pt x="98" y="26"/>
                    </a:cubicBezTo>
                    <a:cubicBezTo>
                      <a:pt x="93" y="25"/>
                      <a:pt x="89" y="24"/>
                      <a:pt x="83" y="23"/>
                    </a:cubicBezTo>
                    <a:cubicBezTo>
                      <a:pt x="79" y="22"/>
                      <a:pt x="75" y="22"/>
                      <a:pt x="70" y="22"/>
                    </a:cubicBezTo>
                    <a:cubicBezTo>
                      <a:pt x="65" y="22"/>
                      <a:pt x="59" y="22"/>
                      <a:pt x="52" y="23"/>
                    </a:cubicBezTo>
                    <a:cubicBezTo>
                      <a:pt x="47" y="23"/>
                      <a:pt x="47" y="23"/>
                      <a:pt x="47" y="23"/>
                    </a:cubicBezTo>
                    <a:cubicBezTo>
                      <a:pt x="47" y="19"/>
                      <a:pt x="47" y="19"/>
                      <a:pt x="47" y="19"/>
                    </a:cubicBezTo>
                    <a:cubicBezTo>
                      <a:pt x="48" y="16"/>
                      <a:pt x="48" y="12"/>
                      <a:pt x="48" y="9"/>
                    </a:cubicBezTo>
                    <a:cubicBezTo>
                      <a:pt x="48" y="1"/>
                      <a:pt x="48" y="1"/>
                      <a:pt x="48" y="1"/>
                    </a:cubicBezTo>
                    <a:cubicBezTo>
                      <a:pt x="48" y="0"/>
                      <a:pt x="48" y="0"/>
                      <a:pt x="48" y="0"/>
                    </a:cubicBezTo>
                    <a:cubicBezTo>
                      <a:pt x="47" y="0"/>
                      <a:pt x="47" y="0"/>
                      <a:pt x="4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20" name="Freeform 348">
                <a:extLst>
                  <a:ext uri="{FF2B5EF4-FFF2-40B4-BE49-F238E27FC236}">
                    <a16:creationId xmlns:a16="http://schemas.microsoft.com/office/drawing/2014/main" id="{DD90F676-E1E7-4DCF-BF28-C9C5C8AF18BF}"/>
                  </a:ext>
                </a:extLst>
              </p:cNvPr>
              <p:cNvSpPr>
                <a:spLocks/>
              </p:cNvSpPr>
              <p:nvPr/>
            </p:nvSpPr>
            <p:spPr bwMode="auto">
              <a:xfrm>
                <a:off x="10613133" y="5011758"/>
                <a:ext cx="117924" cy="88443"/>
              </a:xfrm>
              <a:custGeom>
                <a:avLst/>
                <a:gdLst>
                  <a:gd name="T0" fmla="*/ 31 w 37"/>
                  <a:gd name="T1" fmla="*/ 0 h 27"/>
                  <a:gd name="T2" fmla="*/ 31 w 37"/>
                  <a:gd name="T3" fmla="*/ 0 h 27"/>
                  <a:gd name="T4" fmla="*/ 30 w 37"/>
                  <a:gd name="T5" fmla="*/ 1 h 27"/>
                  <a:gd name="T6" fmla="*/ 29 w 37"/>
                  <a:gd name="T7" fmla="*/ 2 h 27"/>
                  <a:gd name="T8" fmla="*/ 27 w 37"/>
                  <a:gd name="T9" fmla="*/ 3 h 27"/>
                  <a:gd name="T10" fmla="*/ 26 w 37"/>
                  <a:gd name="T11" fmla="*/ 4 h 27"/>
                  <a:gd name="T12" fmla="*/ 21 w 37"/>
                  <a:gd name="T13" fmla="*/ 8 h 27"/>
                  <a:gd name="T14" fmla="*/ 21 w 37"/>
                  <a:gd name="T15" fmla="*/ 8 h 27"/>
                  <a:gd name="T16" fmla="*/ 19 w 37"/>
                  <a:gd name="T17" fmla="*/ 9 h 27"/>
                  <a:gd name="T18" fmla="*/ 16 w 37"/>
                  <a:gd name="T19" fmla="*/ 10 h 27"/>
                  <a:gd name="T20" fmla="*/ 10 w 37"/>
                  <a:gd name="T21" fmla="*/ 12 h 27"/>
                  <a:gd name="T22" fmla="*/ 6 w 37"/>
                  <a:gd name="T23" fmla="*/ 11 h 27"/>
                  <a:gd name="T24" fmla="*/ 6 w 37"/>
                  <a:gd name="T25" fmla="*/ 11 h 27"/>
                  <a:gd name="T26" fmla="*/ 5 w 37"/>
                  <a:gd name="T27" fmla="*/ 11 h 27"/>
                  <a:gd name="T28" fmla="*/ 2 w 37"/>
                  <a:gd name="T29" fmla="*/ 9 h 27"/>
                  <a:gd name="T30" fmla="*/ 2 w 37"/>
                  <a:gd name="T31" fmla="*/ 9 h 27"/>
                  <a:gd name="T32" fmla="*/ 0 w 37"/>
                  <a:gd name="T33" fmla="*/ 12 h 27"/>
                  <a:gd name="T34" fmla="*/ 1 w 37"/>
                  <a:gd name="T35" fmla="*/ 20 h 27"/>
                  <a:gd name="T36" fmla="*/ 1 w 37"/>
                  <a:gd name="T37" fmla="*/ 20 h 27"/>
                  <a:gd name="T38" fmla="*/ 2 w 37"/>
                  <a:gd name="T39" fmla="*/ 23 h 27"/>
                  <a:gd name="T40" fmla="*/ 2 w 37"/>
                  <a:gd name="T41" fmla="*/ 25 h 27"/>
                  <a:gd name="T42" fmla="*/ 6 w 37"/>
                  <a:gd name="T43" fmla="*/ 23 h 27"/>
                  <a:gd name="T44" fmla="*/ 8 w 37"/>
                  <a:gd name="T45" fmla="*/ 22 h 27"/>
                  <a:gd name="T46" fmla="*/ 9 w 37"/>
                  <a:gd name="T47" fmla="*/ 22 h 27"/>
                  <a:gd name="T48" fmla="*/ 17 w 37"/>
                  <a:gd name="T49" fmla="*/ 20 h 27"/>
                  <a:gd name="T50" fmla="*/ 35 w 37"/>
                  <a:gd name="T51" fmla="*/ 27 h 27"/>
                  <a:gd name="T52" fmla="*/ 37 w 37"/>
                  <a:gd name="T53" fmla="*/ 25 h 27"/>
                  <a:gd name="T54" fmla="*/ 36 w 37"/>
                  <a:gd name="T55" fmla="*/ 25 h 27"/>
                  <a:gd name="T56" fmla="*/ 36 w 37"/>
                  <a:gd name="T57" fmla="*/ 25 h 27"/>
                  <a:gd name="T58" fmla="*/ 28 w 37"/>
                  <a:gd name="T59" fmla="*/ 20 h 27"/>
                  <a:gd name="T60" fmla="*/ 23 w 37"/>
                  <a:gd name="T61" fmla="*/ 17 h 27"/>
                  <a:gd name="T62" fmla="*/ 27 w 37"/>
                  <a:gd name="T63" fmla="*/ 14 h 27"/>
                  <a:gd name="T64" fmla="*/ 36 w 37"/>
                  <a:gd name="T65" fmla="*/ 6 h 27"/>
                  <a:gd name="T66" fmla="*/ 31 w 37"/>
                  <a:gd name="T6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 h="27">
                    <a:moveTo>
                      <a:pt x="31" y="0"/>
                    </a:moveTo>
                    <a:cubicBezTo>
                      <a:pt x="31" y="0"/>
                      <a:pt x="31" y="0"/>
                      <a:pt x="31" y="0"/>
                    </a:cubicBezTo>
                    <a:cubicBezTo>
                      <a:pt x="30" y="1"/>
                      <a:pt x="30" y="1"/>
                      <a:pt x="30" y="1"/>
                    </a:cubicBezTo>
                    <a:cubicBezTo>
                      <a:pt x="30" y="1"/>
                      <a:pt x="30" y="2"/>
                      <a:pt x="29" y="2"/>
                    </a:cubicBezTo>
                    <a:cubicBezTo>
                      <a:pt x="28" y="2"/>
                      <a:pt x="28" y="3"/>
                      <a:pt x="27" y="3"/>
                    </a:cubicBezTo>
                    <a:cubicBezTo>
                      <a:pt x="26" y="4"/>
                      <a:pt x="26" y="4"/>
                      <a:pt x="26" y="4"/>
                    </a:cubicBezTo>
                    <a:cubicBezTo>
                      <a:pt x="25" y="5"/>
                      <a:pt x="23" y="7"/>
                      <a:pt x="21" y="8"/>
                    </a:cubicBezTo>
                    <a:cubicBezTo>
                      <a:pt x="21" y="8"/>
                      <a:pt x="21" y="8"/>
                      <a:pt x="21" y="8"/>
                    </a:cubicBezTo>
                    <a:cubicBezTo>
                      <a:pt x="20" y="8"/>
                      <a:pt x="19" y="9"/>
                      <a:pt x="19" y="9"/>
                    </a:cubicBezTo>
                    <a:cubicBezTo>
                      <a:pt x="18" y="9"/>
                      <a:pt x="17" y="10"/>
                      <a:pt x="16" y="10"/>
                    </a:cubicBezTo>
                    <a:cubicBezTo>
                      <a:pt x="15" y="11"/>
                      <a:pt x="13" y="12"/>
                      <a:pt x="10" y="12"/>
                    </a:cubicBezTo>
                    <a:cubicBezTo>
                      <a:pt x="9" y="12"/>
                      <a:pt x="8" y="12"/>
                      <a:pt x="6" y="11"/>
                    </a:cubicBezTo>
                    <a:cubicBezTo>
                      <a:pt x="6" y="11"/>
                      <a:pt x="6" y="11"/>
                      <a:pt x="6" y="11"/>
                    </a:cubicBezTo>
                    <a:cubicBezTo>
                      <a:pt x="5" y="11"/>
                      <a:pt x="5" y="11"/>
                      <a:pt x="5" y="11"/>
                    </a:cubicBezTo>
                    <a:cubicBezTo>
                      <a:pt x="4" y="10"/>
                      <a:pt x="3" y="9"/>
                      <a:pt x="2" y="9"/>
                    </a:cubicBezTo>
                    <a:cubicBezTo>
                      <a:pt x="2" y="9"/>
                      <a:pt x="2" y="9"/>
                      <a:pt x="2" y="9"/>
                    </a:cubicBezTo>
                    <a:cubicBezTo>
                      <a:pt x="0" y="11"/>
                      <a:pt x="0" y="12"/>
                      <a:pt x="0" y="12"/>
                    </a:cubicBezTo>
                    <a:cubicBezTo>
                      <a:pt x="0" y="14"/>
                      <a:pt x="0" y="17"/>
                      <a:pt x="1" y="20"/>
                    </a:cubicBezTo>
                    <a:cubicBezTo>
                      <a:pt x="1" y="20"/>
                      <a:pt x="1" y="20"/>
                      <a:pt x="1" y="20"/>
                    </a:cubicBezTo>
                    <a:cubicBezTo>
                      <a:pt x="2" y="21"/>
                      <a:pt x="2" y="22"/>
                      <a:pt x="2" y="23"/>
                    </a:cubicBezTo>
                    <a:cubicBezTo>
                      <a:pt x="2" y="25"/>
                      <a:pt x="2" y="25"/>
                      <a:pt x="2" y="25"/>
                    </a:cubicBezTo>
                    <a:cubicBezTo>
                      <a:pt x="3" y="24"/>
                      <a:pt x="5" y="23"/>
                      <a:pt x="6" y="23"/>
                    </a:cubicBezTo>
                    <a:cubicBezTo>
                      <a:pt x="7" y="23"/>
                      <a:pt x="7" y="23"/>
                      <a:pt x="8" y="22"/>
                    </a:cubicBezTo>
                    <a:cubicBezTo>
                      <a:pt x="9" y="22"/>
                      <a:pt x="9" y="22"/>
                      <a:pt x="9" y="22"/>
                    </a:cubicBezTo>
                    <a:cubicBezTo>
                      <a:pt x="12" y="21"/>
                      <a:pt x="15" y="20"/>
                      <a:pt x="17" y="20"/>
                    </a:cubicBezTo>
                    <a:cubicBezTo>
                      <a:pt x="23" y="20"/>
                      <a:pt x="31" y="24"/>
                      <a:pt x="35" y="27"/>
                    </a:cubicBezTo>
                    <a:cubicBezTo>
                      <a:pt x="37" y="25"/>
                      <a:pt x="37" y="25"/>
                      <a:pt x="37" y="25"/>
                    </a:cubicBezTo>
                    <a:cubicBezTo>
                      <a:pt x="36" y="25"/>
                      <a:pt x="36" y="25"/>
                      <a:pt x="36" y="25"/>
                    </a:cubicBezTo>
                    <a:cubicBezTo>
                      <a:pt x="36" y="25"/>
                      <a:pt x="36" y="25"/>
                      <a:pt x="36" y="25"/>
                    </a:cubicBezTo>
                    <a:cubicBezTo>
                      <a:pt x="33" y="23"/>
                      <a:pt x="31" y="22"/>
                      <a:pt x="28" y="20"/>
                    </a:cubicBezTo>
                    <a:cubicBezTo>
                      <a:pt x="23" y="17"/>
                      <a:pt x="23" y="17"/>
                      <a:pt x="23" y="17"/>
                    </a:cubicBezTo>
                    <a:cubicBezTo>
                      <a:pt x="27" y="14"/>
                      <a:pt x="27" y="14"/>
                      <a:pt x="27" y="14"/>
                    </a:cubicBezTo>
                    <a:cubicBezTo>
                      <a:pt x="30" y="11"/>
                      <a:pt x="33" y="9"/>
                      <a:pt x="36" y="6"/>
                    </a:cubicBezTo>
                    <a:cubicBezTo>
                      <a:pt x="31" y="0"/>
                      <a:pt x="31"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21" name="Freeform 349">
                <a:extLst>
                  <a:ext uri="{FF2B5EF4-FFF2-40B4-BE49-F238E27FC236}">
                    <a16:creationId xmlns:a16="http://schemas.microsoft.com/office/drawing/2014/main" id="{9CB72206-520C-4671-A327-EE90F2CBC101}"/>
                  </a:ext>
                </a:extLst>
              </p:cNvPr>
              <p:cNvSpPr>
                <a:spLocks/>
              </p:cNvSpPr>
              <p:nvPr/>
            </p:nvSpPr>
            <p:spPr bwMode="auto">
              <a:xfrm>
                <a:off x="11593374" y="6102552"/>
                <a:ext cx="585933" cy="364826"/>
              </a:xfrm>
              <a:custGeom>
                <a:avLst/>
                <a:gdLst>
                  <a:gd name="T0" fmla="*/ 38 w 184"/>
                  <a:gd name="T1" fmla="*/ 1 h 115"/>
                  <a:gd name="T2" fmla="*/ 37 w 184"/>
                  <a:gd name="T3" fmla="*/ 2 h 115"/>
                  <a:gd name="T4" fmla="*/ 31 w 184"/>
                  <a:gd name="T5" fmla="*/ 11 h 115"/>
                  <a:gd name="T6" fmla="*/ 22 w 184"/>
                  <a:gd name="T7" fmla="*/ 10 h 115"/>
                  <a:gd name="T8" fmla="*/ 8 w 184"/>
                  <a:gd name="T9" fmla="*/ 25 h 115"/>
                  <a:gd name="T10" fmla="*/ 5 w 184"/>
                  <a:gd name="T11" fmla="*/ 28 h 115"/>
                  <a:gd name="T12" fmla="*/ 3 w 184"/>
                  <a:gd name="T13" fmla="*/ 37 h 115"/>
                  <a:gd name="T14" fmla="*/ 0 w 184"/>
                  <a:gd name="T15" fmla="*/ 44 h 115"/>
                  <a:gd name="T16" fmla="*/ 6 w 184"/>
                  <a:gd name="T17" fmla="*/ 43 h 115"/>
                  <a:gd name="T18" fmla="*/ 18 w 184"/>
                  <a:gd name="T19" fmla="*/ 52 h 115"/>
                  <a:gd name="T20" fmla="*/ 33 w 184"/>
                  <a:gd name="T21" fmla="*/ 56 h 115"/>
                  <a:gd name="T22" fmla="*/ 38 w 184"/>
                  <a:gd name="T23" fmla="*/ 66 h 115"/>
                  <a:gd name="T24" fmla="*/ 42 w 184"/>
                  <a:gd name="T25" fmla="*/ 69 h 115"/>
                  <a:gd name="T26" fmla="*/ 47 w 184"/>
                  <a:gd name="T27" fmla="*/ 72 h 115"/>
                  <a:gd name="T28" fmla="*/ 52 w 184"/>
                  <a:gd name="T29" fmla="*/ 71 h 115"/>
                  <a:gd name="T30" fmla="*/ 60 w 184"/>
                  <a:gd name="T31" fmla="*/ 74 h 115"/>
                  <a:gd name="T32" fmla="*/ 73 w 184"/>
                  <a:gd name="T33" fmla="*/ 79 h 115"/>
                  <a:gd name="T34" fmla="*/ 75 w 184"/>
                  <a:gd name="T35" fmla="*/ 84 h 115"/>
                  <a:gd name="T36" fmla="*/ 88 w 184"/>
                  <a:gd name="T37" fmla="*/ 88 h 115"/>
                  <a:gd name="T38" fmla="*/ 92 w 184"/>
                  <a:gd name="T39" fmla="*/ 85 h 115"/>
                  <a:gd name="T40" fmla="*/ 95 w 184"/>
                  <a:gd name="T41" fmla="*/ 85 h 115"/>
                  <a:gd name="T42" fmla="*/ 102 w 184"/>
                  <a:gd name="T43" fmla="*/ 87 h 115"/>
                  <a:gd name="T44" fmla="*/ 104 w 184"/>
                  <a:gd name="T45" fmla="*/ 79 h 115"/>
                  <a:gd name="T46" fmla="*/ 115 w 184"/>
                  <a:gd name="T47" fmla="*/ 84 h 115"/>
                  <a:gd name="T48" fmla="*/ 118 w 184"/>
                  <a:gd name="T49" fmla="*/ 85 h 115"/>
                  <a:gd name="T50" fmla="*/ 129 w 184"/>
                  <a:gd name="T51" fmla="*/ 95 h 115"/>
                  <a:gd name="T52" fmla="*/ 130 w 184"/>
                  <a:gd name="T53" fmla="*/ 99 h 115"/>
                  <a:gd name="T54" fmla="*/ 141 w 184"/>
                  <a:gd name="T55" fmla="*/ 103 h 115"/>
                  <a:gd name="T56" fmla="*/ 143 w 184"/>
                  <a:gd name="T57" fmla="*/ 104 h 115"/>
                  <a:gd name="T58" fmla="*/ 146 w 184"/>
                  <a:gd name="T59" fmla="*/ 106 h 115"/>
                  <a:gd name="T60" fmla="*/ 148 w 184"/>
                  <a:gd name="T61" fmla="*/ 106 h 115"/>
                  <a:gd name="T62" fmla="*/ 154 w 184"/>
                  <a:gd name="T63" fmla="*/ 104 h 115"/>
                  <a:gd name="T64" fmla="*/ 157 w 184"/>
                  <a:gd name="T65" fmla="*/ 105 h 115"/>
                  <a:gd name="T66" fmla="*/ 159 w 184"/>
                  <a:gd name="T67" fmla="*/ 107 h 115"/>
                  <a:gd name="T68" fmla="*/ 163 w 184"/>
                  <a:gd name="T69" fmla="*/ 112 h 115"/>
                  <a:gd name="T70" fmla="*/ 168 w 184"/>
                  <a:gd name="T71" fmla="*/ 111 h 115"/>
                  <a:gd name="T72" fmla="*/ 173 w 184"/>
                  <a:gd name="T73" fmla="*/ 111 h 115"/>
                  <a:gd name="T74" fmla="*/ 184 w 184"/>
                  <a:gd name="T75" fmla="*/ 115 h 115"/>
                  <a:gd name="T76" fmla="*/ 176 w 184"/>
                  <a:gd name="T77" fmla="*/ 76 h 115"/>
                  <a:gd name="T78" fmla="*/ 170 w 184"/>
                  <a:gd name="T79" fmla="*/ 74 h 115"/>
                  <a:gd name="T80" fmla="*/ 156 w 184"/>
                  <a:gd name="T81" fmla="*/ 68 h 115"/>
                  <a:gd name="T82" fmla="*/ 155 w 184"/>
                  <a:gd name="T83" fmla="*/ 66 h 115"/>
                  <a:gd name="T84" fmla="*/ 148 w 184"/>
                  <a:gd name="T85" fmla="*/ 65 h 115"/>
                  <a:gd name="T86" fmla="*/ 143 w 184"/>
                  <a:gd name="T87" fmla="*/ 66 h 115"/>
                  <a:gd name="T88" fmla="*/ 136 w 184"/>
                  <a:gd name="T89" fmla="*/ 58 h 115"/>
                  <a:gd name="T90" fmla="*/ 127 w 184"/>
                  <a:gd name="T91" fmla="*/ 56 h 115"/>
                  <a:gd name="T92" fmla="*/ 120 w 184"/>
                  <a:gd name="T93" fmla="*/ 52 h 115"/>
                  <a:gd name="T94" fmla="*/ 116 w 184"/>
                  <a:gd name="T95" fmla="*/ 49 h 115"/>
                  <a:gd name="T96" fmla="*/ 109 w 184"/>
                  <a:gd name="T97" fmla="*/ 37 h 115"/>
                  <a:gd name="T98" fmla="*/ 101 w 184"/>
                  <a:gd name="T99" fmla="*/ 39 h 115"/>
                  <a:gd name="T100" fmla="*/ 91 w 184"/>
                  <a:gd name="T101" fmla="*/ 34 h 115"/>
                  <a:gd name="T102" fmla="*/ 87 w 184"/>
                  <a:gd name="T103" fmla="*/ 28 h 115"/>
                  <a:gd name="T104" fmla="*/ 86 w 184"/>
                  <a:gd name="T105" fmla="*/ 27 h 115"/>
                  <a:gd name="T106" fmla="*/ 82 w 184"/>
                  <a:gd name="T107" fmla="*/ 32 h 115"/>
                  <a:gd name="T108" fmla="*/ 79 w 184"/>
                  <a:gd name="T109" fmla="*/ 24 h 115"/>
                  <a:gd name="T110" fmla="*/ 70 w 184"/>
                  <a:gd name="T111" fmla="*/ 20 h 115"/>
                  <a:gd name="T112" fmla="*/ 62 w 184"/>
                  <a:gd name="T113" fmla="*/ 14 h 115"/>
                  <a:gd name="T114" fmla="*/ 53 w 184"/>
                  <a:gd name="T115" fmla="*/ 9 h 115"/>
                  <a:gd name="T116" fmla="*/ 41 w 184"/>
                  <a:gd name="T117" fmla="*/ 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 h="115">
                    <a:moveTo>
                      <a:pt x="39" y="0"/>
                    </a:moveTo>
                    <a:cubicBezTo>
                      <a:pt x="39" y="0"/>
                      <a:pt x="38" y="1"/>
                      <a:pt x="38" y="1"/>
                    </a:cubicBezTo>
                    <a:cubicBezTo>
                      <a:pt x="38" y="1"/>
                      <a:pt x="38" y="1"/>
                      <a:pt x="38" y="1"/>
                    </a:cubicBezTo>
                    <a:cubicBezTo>
                      <a:pt x="37" y="1"/>
                      <a:pt x="37" y="1"/>
                      <a:pt x="37" y="1"/>
                    </a:cubicBezTo>
                    <a:cubicBezTo>
                      <a:pt x="37" y="2"/>
                      <a:pt x="37" y="2"/>
                      <a:pt x="37" y="2"/>
                    </a:cubicBezTo>
                    <a:cubicBezTo>
                      <a:pt x="37" y="2"/>
                      <a:pt x="37" y="2"/>
                      <a:pt x="37" y="2"/>
                    </a:cubicBezTo>
                    <a:cubicBezTo>
                      <a:pt x="35" y="4"/>
                      <a:pt x="35" y="6"/>
                      <a:pt x="34" y="8"/>
                    </a:cubicBezTo>
                    <a:cubicBezTo>
                      <a:pt x="33" y="11"/>
                      <a:pt x="33" y="11"/>
                      <a:pt x="33" y="11"/>
                    </a:cubicBezTo>
                    <a:cubicBezTo>
                      <a:pt x="31" y="11"/>
                      <a:pt x="31" y="11"/>
                      <a:pt x="31" y="11"/>
                    </a:cubicBezTo>
                    <a:cubicBezTo>
                      <a:pt x="29" y="12"/>
                      <a:pt x="28" y="12"/>
                      <a:pt x="27" y="12"/>
                    </a:cubicBezTo>
                    <a:cubicBezTo>
                      <a:pt x="25" y="12"/>
                      <a:pt x="24" y="12"/>
                      <a:pt x="24" y="11"/>
                    </a:cubicBezTo>
                    <a:cubicBezTo>
                      <a:pt x="22" y="10"/>
                      <a:pt x="22" y="10"/>
                      <a:pt x="22" y="10"/>
                    </a:cubicBezTo>
                    <a:cubicBezTo>
                      <a:pt x="22" y="10"/>
                      <a:pt x="22" y="10"/>
                      <a:pt x="22" y="10"/>
                    </a:cubicBezTo>
                    <a:cubicBezTo>
                      <a:pt x="8" y="24"/>
                      <a:pt x="8" y="24"/>
                      <a:pt x="8" y="24"/>
                    </a:cubicBezTo>
                    <a:cubicBezTo>
                      <a:pt x="8" y="24"/>
                      <a:pt x="8" y="24"/>
                      <a:pt x="8" y="25"/>
                    </a:cubicBezTo>
                    <a:cubicBezTo>
                      <a:pt x="7" y="25"/>
                      <a:pt x="7" y="26"/>
                      <a:pt x="6" y="26"/>
                    </a:cubicBezTo>
                    <a:cubicBezTo>
                      <a:pt x="5" y="27"/>
                      <a:pt x="5" y="27"/>
                      <a:pt x="5" y="27"/>
                    </a:cubicBezTo>
                    <a:cubicBezTo>
                      <a:pt x="5" y="28"/>
                      <a:pt x="5" y="28"/>
                      <a:pt x="5" y="28"/>
                    </a:cubicBezTo>
                    <a:cubicBezTo>
                      <a:pt x="5" y="28"/>
                      <a:pt x="5" y="28"/>
                      <a:pt x="5" y="28"/>
                    </a:cubicBezTo>
                    <a:cubicBezTo>
                      <a:pt x="5" y="29"/>
                      <a:pt x="6" y="30"/>
                      <a:pt x="6" y="32"/>
                    </a:cubicBezTo>
                    <a:cubicBezTo>
                      <a:pt x="6" y="33"/>
                      <a:pt x="5" y="35"/>
                      <a:pt x="3" y="37"/>
                    </a:cubicBezTo>
                    <a:cubicBezTo>
                      <a:pt x="3" y="38"/>
                      <a:pt x="3" y="38"/>
                      <a:pt x="3" y="38"/>
                    </a:cubicBezTo>
                    <a:cubicBezTo>
                      <a:pt x="2" y="39"/>
                      <a:pt x="1" y="40"/>
                      <a:pt x="1" y="42"/>
                    </a:cubicBezTo>
                    <a:cubicBezTo>
                      <a:pt x="0" y="42"/>
                      <a:pt x="0" y="43"/>
                      <a:pt x="0" y="44"/>
                    </a:cubicBezTo>
                    <a:cubicBezTo>
                      <a:pt x="0" y="45"/>
                      <a:pt x="1" y="46"/>
                      <a:pt x="2" y="47"/>
                    </a:cubicBezTo>
                    <a:cubicBezTo>
                      <a:pt x="2" y="47"/>
                      <a:pt x="4" y="48"/>
                      <a:pt x="6" y="49"/>
                    </a:cubicBezTo>
                    <a:cubicBezTo>
                      <a:pt x="6" y="43"/>
                      <a:pt x="6" y="43"/>
                      <a:pt x="6" y="43"/>
                    </a:cubicBezTo>
                    <a:cubicBezTo>
                      <a:pt x="11" y="48"/>
                      <a:pt x="11" y="48"/>
                      <a:pt x="11" y="48"/>
                    </a:cubicBezTo>
                    <a:cubicBezTo>
                      <a:pt x="13" y="49"/>
                      <a:pt x="15" y="50"/>
                      <a:pt x="17" y="51"/>
                    </a:cubicBezTo>
                    <a:cubicBezTo>
                      <a:pt x="18" y="52"/>
                      <a:pt x="18" y="52"/>
                      <a:pt x="18" y="52"/>
                    </a:cubicBezTo>
                    <a:cubicBezTo>
                      <a:pt x="20" y="53"/>
                      <a:pt x="23" y="54"/>
                      <a:pt x="25" y="56"/>
                    </a:cubicBezTo>
                    <a:cubicBezTo>
                      <a:pt x="27" y="57"/>
                      <a:pt x="29" y="58"/>
                      <a:pt x="31" y="59"/>
                    </a:cubicBezTo>
                    <a:cubicBezTo>
                      <a:pt x="33" y="56"/>
                      <a:pt x="33" y="56"/>
                      <a:pt x="33" y="56"/>
                    </a:cubicBezTo>
                    <a:cubicBezTo>
                      <a:pt x="32" y="60"/>
                      <a:pt x="32" y="60"/>
                      <a:pt x="32" y="60"/>
                    </a:cubicBezTo>
                    <a:cubicBezTo>
                      <a:pt x="32" y="61"/>
                      <a:pt x="32" y="61"/>
                      <a:pt x="32" y="61"/>
                    </a:cubicBezTo>
                    <a:cubicBezTo>
                      <a:pt x="34" y="63"/>
                      <a:pt x="36" y="64"/>
                      <a:pt x="38" y="66"/>
                    </a:cubicBezTo>
                    <a:cubicBezTo>
                      <a:pt x="38" y="66"/>
                      <a:pt x="38" y="66"/>
                      <a:pt x="38" y="66"/>
                    </a:cubicBezTo>
                    <a:cubicBezTo>
                      <a:pt x="39" y="67"/>
                      <a:pt x="39" y="67"/>
                      <a:pt x="40" y="67"/>
                    </a:cubicBezTo>
                    <a:cubicBezTo>
                      <a:pt x="40" y="68"/>
                      <a:pt x="41" y="68"/>
                      <a:pt x="42" y="69"/>
                    </a:cubicBezTo>
                    <a:cubicBezTo>
                      <a:pt x="44" y="71"/>
                      <a:pt x="44" y="71"/>
                      <a:pt x="44" y="71"/>
                    </a:cubicBezTo>
                    <a:cubicBezTo>
                      <a:pt x="46" y="72"/>
                      <a:pt x="47" y="72"/>
                      <a:pt x="47" y="72"/>
                    </a:cubicBezTo>
                    <a:cubicBezTo>
                      <a:pt x="47" y="72"/>
                      <a:pt x="47" y="72"/>
                      <a:pt x="47" y="72"/>
                    </a:cubicBezTo>
                    <a:cubicBezTo>
                      <a:pt x="48" y="72"/>
                      <a:pt x="48" y="72"/>
                      <a:pt x="48" y="72"/>
                    </a:cubicBezTo>
                    <a:cubicBezTo>
                      <a:pt x="49" y="72"/>
                      <a:pt x="50" y="71"/>
                      <a:pt x="51" y="71"/>
                    </a:cubicBezTo>
                    <a:cubicBezTo>
                      <a:pt x="52" y="71"/>
                      <a:pt x="52" y="71"/>
                      <a:pt x="52" y="71"/>
                    </a:cubicBezTo>
                    <a:cubicBezTo>
                      <a:pt x="53" y="71"/>
                      <a:pt x="53" y="71"/>
                      <a:pt x="53" y="71"/>
                    </a:cubicBezTo>
                    <a:cubicBezTo>
                      <a:pt x="53" y="71"/>
                      <a:pt x="54" y="71"/>
                      <a:pt x="54" y="72"/>
                    </a:cubicBezTo>
                    <a:cubicBezTo>
                      <a:pt x="56" y="73"/>
                      <a:pt x="58" y="73"/>
                      <a:pt x="60" y="74"/>
                    </a:cubicBezTo>
                    <a:cubicBezTo>
                      <a:pt x="72" y="78"/>
                      <a:pt x="72" y="78"/>
                      <a:pt x="72" y="78"/>
                    </a:cubicBezTo>
                    <a:cubicBezTo>
                      <a:pt x="73" y="79"/>
                      <a:pt x="73" y="79"/>
                      <a:pt x="73" y="79"/>
                    </a:cubicBezTo>
                    <a:cubicBezTo>
                      <a:pt x="73" y="79"/>
                      <a:pt x="73" y="79"/>
                      <a:pt x="73" y="79"/>
                    </a:cubicBezTo>
                    <a:cubicBezTo>
                      <a:pt x="74" y="80"/>
                      <a:pt x="74" y="80"/>
                      <a:pt x="74" y="80"/>
                    </a:cubicBezTo>
                    <a:cubicBezTo>
                      <a:pt x="74" y="81"/>
                      <a:pt x="74" y="82"/>
                      <a:pt x="75" y="83"/>
                    </a:cubicBezTo>
                    <a:cubicBezTo>
                      <a:pt x="75" y="83"/>
                      <a:pt x="75" y="84"/>
                      <a:pt x="75" y="84"/>
                    </a:cubicBezTo>
                    <a:cubicBezTo>
                      <a:pt x="76" y="84"/>
                      <a:pt x="77" y="84"/>
                      <a:pt x="77" y="84"/>
                    </a:cubicBezTo>
                    <a:cubicBezTo>
                      <a:pt x="79" y="85"/>
                      <a:pt x="81" y="85"/>
                      <a:pt x="82" y="85"/>
                    </a:cubicBezTo>
                    <a:cubicBezTo>
                      <a:pt x="84" y="86"/>
                      <a:pt x="86" y="87"/>
                      <a:pt x="88" y="88"/>
                    </a:cubicBezTo>
                    <a:cubicBezTo>
                      <a:pt x="91" y="86"/>
                      <a:pt x="91" y="86"/>
                      <a:pt x="91" y="86"/>
                    </a:cubicBezTo>
                    <a:cubicBezTo>
                      <a:pt x="91" y="86"/>
                      <a:pt x="91" y="86"/>
                      <a:pt x="92" y="85"/>
                    </a:cubicBezTo>
                    <a:cubicBezTo>
                      <a:pt x="92" y="85"/>
                      <a:pt x="92" y="85"/>
                      <a:pt x="92" y="85"/>
                    </a:cubicBezTo>
                    <a:cubicBezTo>
                      <a:pt x="93" y="85"/>
                      <a:pt x="93" y="85"/>
                      <a:pt x="94" y="85"/>
                    </a:cubicBezTo>
                    <a:cubicBezTo>
                      <a:pt x="94" y="85"/>
                      <a:pt x="94" y="85"/>
                      <a:pt x="94" y="85"/>
                    </a:cubicBezTo>
                    <a:cubicBezTo>
                      <a:pt x="95" y="85"/>
                      <a:pt x="95" y="85"/>
                      <a:pt x="95" y="85"/>
                    </a:cubicBezTo>
                    <a:cubicBezTo>
                      <a:pt x="95" y="85"/>
                      <a:pt x="95" y="85"/>
                      <a:pt x="95" y="85"/>
                    </a:cubicBezTo>
                    <a:cubicBezTo>
                      <a:pt x="96" y="85"/>
                      <a:pt x="96" y="85"/>
                      <a:pt x="96" y="85"/>
                    </a:cubicBezTo>
                    <a:cubicBezTo>
                      <a:pt x="102" y="87"/>
                      <a:pt x="102" y="87"/>
                      <a:pt x="102" y="87"/>
                    </a:cubicBezTo>
                    <a:cubicBezTo>
                      <a:pt x="103" y="87"/>
                      <a:pt x="103" y="87"/>
                      <a:pt x="103" y="87"/>
                    </a:cubicBezTo>
                    <a:cubicBezTo>
                      <a:pt x="103" y="86"/>
                      <a:pt x="104" y="85"/>
                      <a:pt x="105" y="85"/>
                    </a:cubicBezTo>
                    <a:cubicBezTo>
                      <a:pt x="104" y="79"/>
                      <a:pt x="104" y="79"/>
                      <a:pt x="104" y="79"/>
                    </a:cubicBezTo>
                    <a:cubicBezTo>
                      <a:pt x="107" y="84"/>
                      <a:pt x="107" y="84"/>
                      <a:pt x="107" y="84"/>
                    </a:cubicBezTo>
                    <a:cubicBezTo>
                      <a:pt x="108" y="84"/>
                      <a:pt x="110" y="83"/>
                      <a:pt x="111" y="83"/>
                    </a:cubicBezTo>
                    <a:cubicBezTo>
                      <a:pt x="113" y="83"/>
                      <a:pt x="114" y="84"/>
                      <a:pt x="115" y="84"/>
                    </a:cubicBezTo>
                    <a:cubicBezTo>
                      <a:pt x="116" y="84"/>
                      <a:pt x="116" y="84"/>
                      <a:pt x="116" y="84"/>
                    </a:cubicBezTo>
                    <a:cubicBezTo>
                      <a:pt x="117" y="85"/>
                      <a:pt x="117" y="85"/>
                      <a:pt x="117" y="85"/>
                    </a:cubicBezTo>
                    <a:cubicBezTo>
                      <a:pt x="118" y="85"/>
                      <a:pt x="118" y="85"/>
                      <a:pt x="118" y="85"/>
                    </a:cubicBezTo>
                    <a:cubicBezTo>
                      <a:pt x="120" y="86"/>
                      <a:pt x="123" y="87"/>
                      <a:pt x="125" y="88"/>
                    </a:cubicBezTo>
                    <a:cubicBezTo>
                      <a:pt x="126" y="89"/>
                      <a:pt x="128" y="90"/>
                      <a:pt x="128" y="93"/>
                    </a:cubicBezTo>
                    <a:cubicBezTo>
                      <a:pt x="129" y="94"/>
                      <a:pt x="129" y="94"/>
                      <a:pt x="129" y="95"/>
                    </a:cubicBezTo>
                    <a:cubicBezTo>
                      <a:pt x="129" y="95"/>
                      <a:pt x="129" y="96"/>
                      <a:pt x="129" y="97"/>
                    </a:cubicBezTo>
                    <a:cubicBezTo>
                      <a:pt x="129" y="98"/>
                      <a:pt x="129" y="98"/>
                      <a:pt x="129" y="98"/>
                    </a:cubicBezTo>
                    <a:cubicBezTo>
                      <a:pt x="129" y="98"/>
                      <a:pt x="130" y="98"/>
                      <a:pt x="130" y="99"/>
                    </a:cubicBezTo>
                    <a:cubicBezTo>
                      <a:pt x="131" y="99"/>
                      <a:pt x="132" y="99"/>
                      <a:pt x="133" y="100"/>
                    </a:cubicBezTo>
                    <a:cubicBezTo>
                      <a:pt x="134" y="100"/>
                      <a:pt x="134" y="100"/>
                      <a:pt x="134" y="100"/>
                    </a:cubicBezTo>
                    <a:cubicBezTo>
                      <a:pt x="136" y="101"/>
                      <a:pt x="139" y="101"/>
                      <a:pt x="141" y="103"/>
                    </a:cubicBezTo>
                    <a:cubicBezTo>
                      <a:pt x="145" y="96"/>
                      <a:pt x="145" y="96"/>
                      <a:pt x="145" y="96"/>
                    </a:cubicBezTo>
                    <a:cubicBezTo>
                      <a:pt x="143" y="104"/>
                      <a:pt x="143" y="104"/>
                      <a:pt x="143" y="104"/>
                    </a:cubicBezTo>
                    <a:cubicBezTo>
                      <a:pt x="143" y="104"/>
                      <a:pt x="143" y="104"/>
                      <a:pt x="143" y="104"/>
                    </a:cubicBezTo>
                    <a:cubicBezTo>
                      <a:pt x="144" y="104"/>
                      <a:pt x="144" y="105"/>
                      <a:pt x="145" y="105"/>
                    </a:cubicBezTo>
                    <a:cubicBezTo>
                      <a:pt x="145" y="106"/>
                      <a:pt x="145" y="106"/>
                      <a:pt x="145" y="106"/>
                    </a:cubicBezTo>
                    <a:cubicBezTo>
                      <a:pt x="146" y="106"/>
                      <a:pt x="146" y="106"/>
                      <a:pt x="146" y="106"/>
                    </a:cubicBezTo>
                    <a:cubicBezTo>
                      <a:pt x="146" y="106"/>
                      <a:pt x="146" y="106"/>
                      <a:pt x="146" y="106"/>
                    </a:cubicBezTo>
                    <a:cubicBezTo>
                      <a:pt x="146" y="106"/>
                      <a:pt x="146" y="106"/>
                      <a:pt x="147" y="106"/>
                    </a:cubicBezTo>
                    <a:cubicBezTo>
                      <a:pt x="148" y="106"/>
                      <a:pt x="148" y="106"/>
                      <a:pt x="148" y="106"/>
                    </a:cubicBezTo>
                    <a:cubicBezTo>
                      <a:pt x="149" y="105"/>
                      <a:pt x="150" y="105"/>
                      <a:pt x="151" y="104"/>
                    </a:cubicBezTo>
                    <a:cubicBezTo>
                      <a:pt x="152" y="104"/>
                      <a:pt x="152" y="104"/>
                      <a:pt x="152" y="104"/>
                    </a:cubicBezTo>
                    <a:cubicBezTo>
                      <a:pt x="153" y="104"/>
                      <a:pt x="153" y="104"/>
                      <a:pt x="154" y="104"/>
                    </a:cubicBezTo>
                    <a:cubicBezTo>
                      <a:pt x="154" y="104"/>
                      <a:pt x="154" y="104"/>
                      <a:pt x="154" y="104"/>
                    </a:cubicBezTo>
                    <a:cubicBezTo>
                      <a:pt x="156" y="104"/>
                      <a:pt x="156" y="104"/>
                      <a:pt x="156" y="104"/>
                    </a:cubicBezTo>
                    <a:cubicBezTo>
                      <a:pt x="157" y="105"/>
                      <a:pt x="157" y="105"/>
                      <a:pt x="157" y="105"/>
                    </a:cubicBezTo>
                    <a:cubicBezTo>
                      <a:pt x="157" y="105"/>
                      <a:pt x="158" y="105"/>
                      <a:pt x="158" y="106"/>
                    </a:cubicBezTo>
                    <a:cubicBezTo>
                      <a:pt x="158" y="106"/>
                      <a:pt x="158" y="106"/>
                      <a:pt x="158" y="106"/>
                    </a:cubicBezTo>
                    <a:cubicBezTo>
                      <a:pt x="159" y="107"/>
                      <a:pt x="159" y="107"/>
                      <a:pt x="159" y="107"/>
                    </a:cubicBezTo>
                    <a:cubicBezTo>
                      <a:pt x="160" y="108"/>
                      <a:pt x="160" y="109"/>
                      <a:pt x="161" y="110"/>
                    </a:cubicBezTo>
                    <a:cubicBezTo>
                      <a:pt x="161" y="110"/>
                      <a:pt x="162" y="111"/>
                      <a:pt x="162" y="112"/>
                    </a:cubicBezTo>
                    <a:cubicBezTo>
                      <a:pt x="162" y="112"/>
                      <a:pt x="163" y="112"/>
                      <a:pt x="163" y="112"/>
                    </a:cubicBezTo>
                    <a:cubicBezTo>
                      <a:pt x="164" y="112"/>
                      <a:pt x="164" y="112"/>
                      <a:pt x="165" y="112"/>
                    </a:cubicBezTo>
                    <a:cubicBezTo>
                      <a:pt x="166" y="111"/>
                      <a:pt x="166" y="111"/>
                      <a:pt x="166" y="111"/>
                    </a:cubicBezTo>
                    <a:cubicBezTo>
                      <a:pt x="167" y="111"/>
                      <a:pt x="167" y="111"/>
                      <a:pt x="168" y="111"/>
                    </a:cubicBezTo>
                    <a:cubicBezTo>
                      <a:pt x="168" y="111"/>
                      <a:pt x="169" y="111"/>
                      <a:pt x="169" y="111"/>
                    </a:cubicBezTo>
                    <a:cubicBezTo>
                      <a:pt x="170" y="111"/>
                      <a:pt x="171" y="111"/>
                      <a:pt x="172" y="111"/>
                    </a:cubicBezTo>
                    <a:cubicBezTo>
                      <a:pt x="173" y="111"/>
                      <a:pt x="173" y="111"/>
                      <a:pt x="173" y="111"/>
                    </a:cubicBezTo>
                    <a:cubicBezTo>
                      <a:pt x="174" y="112"/>
                      <a:pt x="176" y="112"/>
                      <a:pt x="177" y="112"/>
                    </a:cubicBezTo>
                    <a:cubicBezTo>
                      <a:pt x="178" y="113"/>
                      <a:pt x="179" y="113"/>
                      <a:pt x="180" y="114"/>
                    </a:cubicBezTo>
                    <a:cubicBezTo>
                      <a:pt x="184" y="115"/>
                      <a:pt x="184" y="115"/>
                      <a:pt x="184" y="115"/>
                    </a:cubicBezTo>
                    <a:cubicBezTo>
                      <a:pt x="184" y="73"/>
                      <a:pt x="184" y="73"/>
                      <a:pt x="184" y="73"/>
                    </a:cubicBezTo>
                    <a:cubicBezTo>
                      <a:pt x="183" y="74"/>
                      <a:pt x="181" y="76"/>
                      <a:pt x="178" y="76"/>
                    </a:cubicBezTo>
                    <a:cubicBezTo>
                      <a:pt x="178" y="76"/>
                      <a:pt x="177" y="76"/>
                      <a:pt x="176" y="76"/>
                    </a:cubicBezTo>
                    <a:cubicBezTo>
                      <a:pt x="175" y="76"/>
                      <a:pt x="175" y="76"/>
                      <a:pt x="175" y="76"/>
                    </a:cubicBezTo>
                    <a:cubicBezTo>
                      <a:pt x="173" y="75"/>
                      <a:pt x="172" y="75"/>
                      <a:pt x="170" y="74"/>
                    </a:cubicBezTo>
                    <a:cubicBezTo>
                      <a:pt x="170" y="74"/>
                      <a:pt x="170" y="74"/>
                      <a:pt x="170" y="74"/>
                    </a:cubicBezTo>
                    <a:cubicBezTo>
                      <a:pt x="167" y="82"/>
                      <a:pt x="167" y="82"/>
                      <a:pt x="167" y="82"/>
                    </a:cubicBezTo>
                    <a:cubicBezTo>
                      <a:pt x="161" y="75"/>
                      <a:pt x="161" y="75"/>
                      <a:pt x="161" y="75"/>
                    </a:cubicBezTo>
                    <a:cubicBezTo>
                      <a:pt x="160" y="72"/>
                      <a:pt x="158" y="70"/>
                      <a:pt x="156" y="68"/>
                    </a:cubicBezTo>
                    <a:cubicBezTo>
                      <a:pt x="156" y="67"/>
                      <a:pt x="156" y="67"/>
                      <a:pt x="156" y="67"/>
                    </a:cubicBezTo>
                    <a:cubicBezTo>
                      <a:pt x="156" y="67"/>
                      <a:pt x="155" y="67"/>
                      <a:pt x="155" y="66"/>
                    </a:cubicBezTo>
                    <a:cubicBezTo>
                      <a:pt x="155" y="66"/>
                      <a:pt x="155" y="66"/>
                      <a:pt x="155" y="66"/>
                    </a:cubicBezTo>
                    <a:cubicBezTo>
                      <a:pt x="154" y="65"/>
                      <a:pt x="153" y="65"/>
                      <a:pt x="152" y="65"/>
                    </a:cubicBezTo>
                    <a:cubicBezTo>
                      <a:pt x="152" y="65"/>
                      <a:pt x="152" y="65"/>
                      <a:pt x="152" y="65"/>
                    </a:cubicBezTo>
                    <a:cubicBezTo>
                      <a:pt x="151" y="65"/>
                      <a:pt x="150" y="65"/>
                      <a:pt x="148" y="65"/>
                    </a:cubicBezTo>
                    <a:cubicBezTo>
                      <a:pt x="148" y="65"/>
                      <a:pt x="148" y="65"/>
                      <a:pt x="148" y="65"/>
                    </a:cubicBezTo>
                    <a:cubicBezTo>
                      <a:pt x="147" y="65"/>
                      <a:pt x="146" y="66"/>
                      <a:pt x="145" y="66"/>
                    </a:cubicBezTo>
                    <a:cubicBezTo>
                      <a:pt x="144" y="66"/>
                      <a:pt x="143" y="66"/>
                      <a:pt x="143" y="66"/>
                    </a:cubicBezTo>
                    <a:cubicBezTo>
                      <a:pt x="142" y="66"/>
                      <a:pt x="141" y="66"/>
                      <a:pt x="141" y="66"/>
                    </a:cubicBezTo>
                    <a:cubicBezTo>
                      <a:pt x="139" y="65"/>
                      <a:pt x="137" y="64"/>
                      <a:pt x="137" y="63"/>
                    </a:cubicBezTo>
                    <a:cubicBezTo>
                      <a:pt x="135" y="61"/>
                      <a:pt x="136" y="59"/>
                      <a:pt x="136" y="58"/>
                    </a:cubicBezTo>
                    <a:cubicBezTo>
                      <a:pt x="135" y="58"/>
                      <a:pt x="135" y="58"/>
                      <a:pt x="134" y="58"/>
                    </a:cubicBezTo>
                    <a:cubicBezTo>
                      <a:pt x="133" y="58"/>
                      <a:pt x="132" y="58"/>
                      <a:pt x="132" y="58"/>
                    </a:cubicBezTo>
                    <a:cubicBezTo>
                      <a:pt x="130" y="58"/>
                      <a:pt x="128" y="57"/>
                      <a:pt x="127" y="56"/>
                    </a:cubicBezTo>
                    <a:cubicBezTo>
                      <a:pt x="125" y="56"/>
                      <a:pt x="124" y="55"/>
                      <a:pt x="123" y="54"/>
                    </a:cubicBezTo>
                    <a:cubicBezTo>
                      <a:pt x="122" y="54"/>
                      <a:pt x="122" y="54"/>
                      <a:pt x="122" y="54"/>
                    </a:cubicBezTo>
                    <a:cubicBezTo>
                      <a:pt x="122" y="53"/>
                      <a:pt x="121" y="53"/>
                      <a:pt x="120" y="52"/>
                    </a:cubicBezTo>
                    <a:cubicBezTo>
                      <a:pt x="119" y="51"/>
                      <a:pt x="119" y="51"/>
                      <a:pt x="119" y="51"/>
                    </a:cubicBezTo>
                    <a:cubicBezTo>
                      <a:pt x="118" y="51"/>
                      <a:pt x="117" y="50"/>
                      <a:pt x="116" y="50"/>
                    </a:cubicBezTo>
                    <a:cubicBezTo>
                      <a:pt x="116" y="49"/>
                      <a:pt x="116" y="49"/>
                      <a:pt x="116" y="49"/>
                    </a:cubicBezTo>
                    <a:cubicBezTo>
                      <a:pt x="114" y="49"/>
                      <a:pt x="111" y="46"/>
                      <a:pt x="111" y="41"/>
                    </a:cubicBezTo>
                    <a:cubicBezTo>
                      <a:pt x="110" y="40"/>
                      <a:pt x="110" y="40"/>
                      <a:pt x="110" y="40"/>
                    </a:cubicBezTo>
                    <a:cubicBezTo>
                      <a:pt x="109" y="39"/>
                      <a:pt x="109" y="38"/>
                      <a:pt x="109" y="37"/>
                    </a:cubicBezTo>
                    <a:cubicBezTo>
                      <a:pt x="109" y="37"/>
                      <a:pt x="109" y="37"/>
                      <a:pt x="109" y="37"/>
                    </a:cubicBezTo>
                    <a:cubicBezTo>
                      <a:pt x="107" y="37"/>
                      <a:pt x="104" y="38"/>
                      <a:pt x="102" y="38"/>
                    </a:cubicBezTo>
                    <a:cubicBezTo>
                      <a:pt x="101" y="39"/>
                      <a:pt x="101" y="39"/>
                      <a:pt x="101" y="39"/>
                    </a:cubicBezTo>
                    <a:cubicBezTo>
                      <a:pt x="100" y="39"/>
                      <a:pt x="99" y="39"/>
                      <a:pt x="99" y="39"/>
                    </a:cubicBezTo>
                    <a:cubicBezTo>
                      <a:pt x="95" y="39"/>
                      <a:pt x="94" y="37"/>
                      <a:pt x="92" y="34"/>
                    </a:cubicBezTo>
                    <a:cubicBezTo>
                      <a:pt x="91" y="34"/>
                      <a:pt x="91" y="34"/>
                      <a:pt x="91" y="34"/>
                    </a:cubicBezTo>
                    <a:cubicBezTo>
                      <a:pt x="91" y="34"/>
                      <a:pt x="91" y="33"/>
                      <a:pt x="91" y="33"/>
                    </a:cubicBezTo>
                    <a:cubicBezTo>
                      <a:pt x="90" y="33"/>
                      <a:pt x="90" y="33"/>
                      <a:pt x="90" y="33"/>
                    </a:cubicBezTo>
                    <a:cubicBezTo>
                      <a:pt x="89" y="31"/>
                      <a:pt x="88" y="30"/>
                      <a:pt x="87" y="28"/>
                    </a:cubicBezTo>
                    <a:cubicBezTo>
                      <a:pt x="87" y="28"/>
                      <a:pt x="87" y="28"/>
                      <a:pt x="87" y="28"/>
                    </a:cubicBezTo>
                    <a:cubicBezTo>
                      <a:pt x="87" y="28"/>
                      <a:pt x="87" y="28"/>
                      <a:pt x="87" y="28"/>
                    </a:cubicBezTo>
                    <a:cubicBezTo>
                      <a:pt x="86" y="27"/>
                      <a:pt x="86" y="27"/>
                      <a:pt x="86" y="27"/>
                    </a:cubicBezTo>
                    <a:cubicBezTo>
                      <a:pt x="85" y="27"/>
                      <a:pt x="85" y="26"/>
                      <a:pt x="84" y="26"/>
                    </a:cubicBezTo>
                    <a:cubicBezTo>
                      <a:pt x="84" y="25"/>
                      <a:pt x="84" y="25"/>
                      <a:pt x="84" y="25"/>
                    </a:cubicBezTo>
                    <a:cubicBezTo>
                      <a:pt x="82" y="32"/>
                      <a:pt x="82" y="32"/>
                      <a:pt x="82" y="32"/>
                    </a:cubicBezTo>
                    <a:cubicBezTo>
                      <a:pt x="82" y="25"/>
                      <a:pt x="82" y="25"/>
                      <a:pt x="82" y="25"/>
                    </a:cubicBezTo>
                    <a:cubicBezTo>
                      <a:pt x="81" y="25"/>
                      <a:pt x="81" y="25"/>
                      <a:pt x="81" y="25"/>
                    </a:cubicBezTo>
                    <a:cubicBezTo>
                      <a:pt x="80" y="25"/>
                      <a:pt x="80" y="24"/>
                      <a:pt x="79" y="24"/>
                    </a:cubicBezTo>
                    <a:cubicBezTo>
                      <a:pt x="79" y="24"/>
                      <a:pt x="79" y="24"/>
                      <a:pt x="79" y="24"/>
                    </a:cubicBezTo>
                    <a:cubicBezTo>
                      <a:pt x="76" y="24"/>
                      <a:pt x="74" y="23"/>
                      <a:pt x="71" y="21"/>
                    </a:cubicBezTo>
                    <a:cubicBezTo>
                      <a:pt x="70" y="20"/>
                      <a:pt x="70" y="20"/>
                      <a:pt x="70" y="20"/>
                    </a:cubicBezTo>
                    <a:cubicBezTo>
                      <a:pt x="68" y="19"/>
                      <a:pt x="67" y="17"/>
                      <a:pt x="66" y="16"/>
                    </a:cubicBezTo>
                    <a:cubicBezTo>
                      <a:pt x="65" y="15"/>
                      <a:pt x="64" y="15"/>
                      <a:pt x="64" y="15"/>
                    </a:cubicBezTo>
                    <a:cubicBezTo>
                      <a:pt x="62" y="14"/>
                      <a:pt x="62" y="14"/>
                      <a:pt x="62" y="14"/>
                    </a:cubicBezTo>
                    <a:cubicBezTo>
                      <a:pt x="61" y="13"/>
                      <a:pt x="60" y="13"/>
                      <a:pt x="59" y="13"/>
                    </a:cubicBezTo>
                    <a:cubicBezTo>
                      <a:pt x="56" y="12"/>
                      <a:pt x="55" y="11"/>
                      <a:pt x="53" y="10"/>
                    </a:cubicBezTo>
                    <a:cubicBezTo>
                      <a:pt x="53" y="9"/>
                      <a:pt x="53" y="9"/>
                      <a:pt x="53" y="9"/>
                    </a:cubicBezTo>
                    <a:cubicBezTo>
                      <a:pt x="52" y="7"/>
                      <a:pt x="51" y="6"/>
                      <a:pt x="51" y="5"/>
                    </a:cubicBezTo>
                    <a:cubicBezTo>
                      <a:pt x="50" y="4"/>
                      <a:pt x="50" y="2"/>
                      <a:pt x="49" y="2"/>
                    </a:cubicBezTo>
                    <a:cubicBezTo>
                      <a:pt x="49" y="2"/>
                      <a:pt x="45" y="1"/>
                      <a:pt x="41" y="1"/>
                    </a:cubicBezTo>
                    <a:cubicBezTo>
                      <a:pt x="40" y="1"/>
                      <a:pt x="40" y="1"/>
                      <a:pt x="40" y="1"/>
                    </a:cubicBezTo>
                    <a:cubicBezTo>
                      <a:pt x="40" y="0"/>
                      <a:pt x="39" y="0"/>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22" name="Rectangle 350">
                <a:extLst>
                  <a:ext uri="{FF2B5EF4-FFF2-40B4-BE49-F238E27FC236}">
                    <a16:creationId xmlns:a16="http://schemas.microsoft.com/office/drawing/2014/main" id="{2D43028F-2419-4867-8588-4992ACEEBD0C}"/>
                  </a:ext>
                </a:extLst>
              </p:cNvPr>
              <p:cNvSpPr>
                <a:spLocks noChangeArrowheads="1"/>
              </p:cNvSpPr>
              <p:nvPr/>
            </p:nvSpPr>
            <p:spPr bwMode="auto">
              <a:xfrm>
                <a:off x="11707612" y="6102552"/>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23" name="Freeform 351">
                <a:extLst>
                  <a:ext uri="{FF2B5EF4-FFF2-40B4-BE49-F238E27FC236}">
                    <a16:creationId xmlns:a16="http://schemas.microsoft.com/office/drawing/2014/main" id="{D6CD6AF1-7D68-4DF5-A6CA-A0A287AA272B}"/>
                  </a:ext>
                </a:extLst>
              </p:cNvPr>
              <p:cNvSpPr>
                <a:spLocks/>
              </p:cNvSpPr>
              <p:nvPr/>
            </p:nvSpPr>
            <p:spPr bwMode="auto">
              <a:xfrm>
                <a:off x="11707612" y="6102552"/>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24" name="Freeform 352">
                <a:extLst>
                  <a:ext uri="{FF2B5EF4-FFF2-40B4-BE49-F238E27FC236}">
                    <a16:creationId xmlns:a16="http://schemas.microsoft.com/office/drawing/2014/main" id="{09928A97-A56F-4E8C-8E28-0499F1FFBBEE}"/>
                  </a:ext>
                </a:extLst>
              </p:cNvPr>
              <p:cNvSpPr>
                <a:spLocks/>
              </p:cNvSpPr>
              <p:nvPr/>
            </p:nvSpPr>
            <p:spPr bwMode="auto">
              <a:xfrm>
                <a:off x="10620503" y="4775911"/>
                <a:ext cx="961815" cy="405363"/>
              </a:xfrm>
              <a:custGeom>
                <a:avLst/>
                <a:gdLst>
                  <a:gd name="T0" fmla="*/ 124 w 303"/>
                  <a:gd name="T1" fmla="*/ 4 h 128"/>
                  <a:gd name="T2" fmla="*/ 115 w 303"/>
                  <a:gd name="T3" fmla="*/ 27 h 128"/>
                  <a:gd name="T4" fmla="*/ 78 w 303"/>
                  <a:gd name="T5" fmla="*/ 16 h 128"/>
                  <a:gd name="T6" fmla="*/ 57 w 303"/>
                  <a:gd name="T7" fmla="*/ 16 h 128"/>
                  <a:gd name="T8" fmla="*/ 51 w 303"/>
                  <a:gd name="T9" fmla="*/ 19 h 128"/>
                  <a:gd name="T10" fmla="*/ 47 w 303"/>
                  <a:gd name="T11" fmla="*/ 26 h 128"/>
                  <a:gd name="T12" fmla="*/ 50 w 303"/>
                  <a:gd name="T13" fmla="*/ 37 h 128"/>
                  <a:gd name="T14" fmla="*/ 30 w 303"/>
                  <a:gd name="T15" fmla="*/ 54 h 128"/>
                  <a:gd name="T16" fmla="*/ 42 w 303"/>
                  <a:gd name="T17" fmla="*/ 61 h 128"/>
                  <a:gd name="T18" fmla="*/ 58 w 303"/>
                  <a:gd name="T19" fmla="*/ 51 h 128"/>
                  <a:gd name="T20" fmla="*/ 76 w 303"/>
                  <a:gd name="T21" fmla="*/ 61 h 128"/>
                  <a:gd name="T22" fmla="*/ 85 w 303"/>
                  <a:gd name="T23" fmla="*/ 68 h 128"/>
                  <a:gd name="T24" fmla="*/ 106 w 303"/>
                  <a:gd name="T25" fmla="*/ 74 h 128"/>
                  <a:gd name="T26" fmla="*/ 104 w 303"/>
                  <a:gd name="T27" fmla="*/ 84 h 128"/>
                  <a:gd name="T28" fmla="*/ 97 w 303"/>
                  <a:gd name="T29" fmla="*/ 87 h 128"/>
                  <a:gd name="T30" fmla="*/ 88 w 303"/>
                  <a:gd name="T31" fmla="*/ 92 h 128"/>
                  <a:gd name="T32" fmla="*/ 78 w 303"/>
                  <a:gd name="T33" fmla="*/ 95 h 128"/>
                  <a:gd name="T34" fmla="*/ 57 w 303"/>
                  <a:gd name="T35" fmla="*/ 100 h 128"/>
                  <a:gd name="T36" fmla="*/ 52 w 303"/>
                  <a:gd name="T37" fmla="*/ 99 h 128"/>
                  <a:gd name="T38" fmla="*/ 44 w 303"/>
                  <a:gd name="T39" fmla="*/ 101 h 128"/>
                  <a:gd name="T40" fmla="*/ 38 w 303"/>
                  <a:gd name="T41" fmla="*/ 106 h 128"/>
                  <a:gd name="T42" fmla="*/ 34 w 303"/>
                  <a:gd name="T43" fmla="*/ 109 h 128"/>
                  <a:gd name="T44" fmla="*/ 29 w 303"/>
                  <a:gd name="T45" fmla="*/ 111 h 128"/>
                  <a:gd name="T46" fmla="*/ 8 w 303"/>
                  <a:gd name="T47" fmla="*/ 104 h 128"/>
                  <a:gd name="T48" fmla="*/ 2 w 303"/>
                  <a:gd name="T49" fmla="*/ 110 h 128"/>
                  <a:gd name="T50" fmla="*/ 44 w 303"/>
                  <a:gd name="T51" fmla="*/ 121 h 128"/>
                  <a:gd name="T52" fmla="*/ 57 w 303"/>
                  <a:gd name="T53" fmla="*/ 116 h 128"/>
                  <a:gd name="T54" fmla="*/ 70 w 303"/>
                  <a:gd name="T55" fmla="*/ 126 h 128"/>
                  <a:gd name="T56" fmla="*/ 96 w 303"/>
                  <a:gd name="T57" fmla="*/ 123 h 128"/>
                  <a:gd name="T58" fmla="*/ 117 w 303"/>
                  <a:gd name="T59" fmla="*/ 120 h 128"/>
                  <a:gd name="T60" fmla="*/ 124 w 303"/>
                  <a:gd name="T61" fmla="*/ 117 h 128"/>
                  <a:gd name="T62" fmla="*/ 126 w 303"/>
                  <a:gd name="T63" fmla="*/ 107 h 128"/>
                  <a:gd name="T64" fmla="*/ 151 w 303"/>
                  <a:gd name="T65" fmla="*/ 93 h 128"/>
                  <a:gd name="T66" fmla="*/ 155 w 303"/>
                  <a:gd name="T67" fmla="*/ 85 h 128"/>
                  <a:gd name="T68" fmla="*/ 167 w 303"/>
                  <a:gd name="T69" fmla="*/ 84 h 128"/>
                  <a:gd name="T70" fmla="*/ 175 w 303"/>
                  <a:gd name="T71" fmla="*/ 81 h 128"/>
                  <a:gd name="T72" fmla="*/ 181 w 303"/>
                  <a:gd name="T73" fmla="*/ 92 h 128"/>
                  <a:gd name="T74" fmla="*/ 188 w 303"/>
                  <a:gd name="T75" fmla="*/ 89 h 128"/>
                  <a:gd name="T76" fmla="*/ 197 w 303"/>
                  <a:gd name="T77" fmla="*/ 89 h 128"/>
                  <a:gd name="T78" fmla="*/ 202 w 303"/>
                  <a:gd name="T79" fmla="*/ 78 h 128"/>
                  <a:gd name="T80" fmla="*/ 230 w 303"/>
                  <a:gd name="T81" fmla="*/ 65 h 128"/>
                  <a:gd name="T82" fmla="*/ 251 w 303"/>
                  <a:gd name="T83" fmla="*/ 61 h 128"/>
                  <a:gd name="T84" fmla="*/ 263 w 303"/>
                  <a:gd name="T85" fmla="*/ 50 h 128"/>
                  <a:gd name="T86" fmla="*/ 302 w 303"/>
                  <a:gd name="T87" fmla="*/ 35 h 128"/>
                  <a:gd name="T88" fmla="*/ 302 w 303"/>
                  <a:gd name="T89" fmla="*/ 32 h 128"/>
                  <a:gd name="T90" fmla="*/ 290 w 303"/>
                  <a:gd name="T91" fmla="*/ 26 h 128"/>
                  <a:gd name="T92" fmla="*/ 275 w 303"/>
                  <a:gd name="T93" fmla="*/ 14 h 128"/>
                  <a:gd name="T94" fmla="*/ 259 w 303"/>
                  <a:gd name="T95" fmla="*/ 12 h 128"/>
                  <a:gd name="T96" fmla="*/ 248 w 303"/>
                  <a:gd name="T97" fmla="*/ 12 h 128"/>
                  <a:gd name="T98" fmla="*/ 227 w 303"/>
                  <a:gd name="T99" fmla="*/ 10 h 128"/>
                  <a:gd name="T100" fmla="*/ 197 w 303"/>
                  <a:gd name="T101" fmla="*/ 9 h 128"/>
                  <a:gd name="T102" fmla="*/ 169 w 303"/>
                  <a:gd name="T103" fmla="*/ 12 h 128"/>
                  <a:gd name="T104" fmla="*/ 155 w 303"/>
                  <a:gd name="T105" fmla="*/ 9 h 128"/>
                  <a:gd name="T106" fmla="*/ 142 w 303"/>
                  <a:gd name="T107" fmla="*/ 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3" h="128">
                    <a:moveTo>
                      <a:pt x="133" y="0"/>
                    </a:moveTo>
                    <a:cubicBezTo>
                      <a:pt x="131" y="1"/>
                      <a:pt x="128" y="1"/>
                      <a:pt x="126" y="3"/>
                    </a:cubicBezTo>
                    <a:cubicBezTo>
                      <a:pt x="126" y="3"/>
                      <a:pt x="126" y="3"/>
                      <a:pt x="126" y="3"/>
                    </a:cubicBezTo>
                    <a:cubicBezTo>
                      <a:pt x="124" y="4"/>
                      <a:pt x="124" y="4"/>
                      <a:pt x="124" y="4"/>
                    </a:cubicBezTo>
                    <a:cubicBezTo>
                      <a:pt x="124" y="4"/>
                      <a:pt x="124" y="4"/>
                      <a:pt x="124" y="4"/>
                    </a:cubicBezTo>
                    <a:cubicBezTo>
                      <a:pt x="118" y="6"/>
                      <a:pt x="117" y="13"/>
                      <a:pt x="118" y="18"/>
                    </a:cubicBezTo>
                    <a:cubicBezTo>
                      <a:pt x="118" y="18"/>
                      <a:pt x="118" y="19"/>
                      <a:pt x="118" y="19"/>
                    </a:cubicBezTo>
                    <a:cubicBezTo>
                      <a:pt x="118" y="20"/>
                      <a:pt x="119" y="21"/>
                      <a:pt x="119" y="22"/>
                    </a:cubicBezTo>
                    <a:cubicBezTo>
                      <a:pt x="124" y="30"/>
                      <a:pt x="124" y="30"/>
                      <a:pt x="124" y="30"/>
                    </a:cubicBezTo>
                    <a:cubicBezTo>
                      <a:pt x="115" y="27"/>
                      <a:pt x="115" y="27"/>
                      <a:pt x="115" y="27"/>
                    </a:cubicBezTo>
                    <a:cubicBezTo>
                      <a:pt x="111" y="26"/>
                      <a:pt x="107" y="24"/>
                      <a:pt x="103" y="23"/>
                    </a:cubicBezTo>
                    <a:cubicBezTo>
                      <a:pt x="96" y="21"/>
                      <a:pt x="90" y="19"/>
                      <a:pt x="83" y="17"/>
                    </a:cubicBezTo>
                    <a:cubicBezTo>
                      <a:pt x="82" y="17"/>
                      <a:pt x="81" y="16"/>
                      <a:pt x="80" y="16"/>
                    </a:cubicBezTo>
                    <a:cubicBezTo>
                      <a:pt x="79" y="16"/>
                      <a:pt x="79" y="16"/>
                      <a:pt x="79" y="16"/>
                    </a:cubicBezTo>
                    <a:cubicBezTo>
                      <a:pt x="78" y="16"/>
                      <a:pt x="78" y="16"/>
                      <a:pt x="78" y="16"/>
                    </a:cubicBezTo>
                    <a:cubicBezTo>
                      <a:pt x="77" y="16"/>
                      <a:pt x="77" y="16"/>
                      <a:pt x="76" y="16"/>
                    </a:cubicBezTo>
                    <a:cubicBezTo>
                      <a:pt x="62" y="16"/>
                      <a:pt x="62" y="16"/>
                      <a:pt x="62" y="16"/>
                    </a:cubicBezTo>
                    <a:cubicBezTo>
                      <a:pt x="62" y="16"/>
                      <a:pt x="62" y="16"/>
                      <a:pt x="62" y="16"/>
                    </a:cubicBezTo>
                    <a:cubicBezTo>
                      <a:pt x="61" y="16"/>
                      <a:pt x="61" y="16"/>
                      <a:pt x="60" y="16"/>
                    </a:cubicBezTo>
                    <a:cubicBezTo>
                      <a:pt x="59" y="16"/>
                      <a:pt x="58" y="16"/>
                      <a:pt x="57" y="16"/>
                    </a:cubicBezTo>
                    <a:cubicBezTo>
                      <a:pt x="56" y="16"/>
                      <a:pt x="56" y="16"/>
                      <a:pt x="56" y="16"/>
                    </a:cubicBezTo>
                    <a:cubicBezTo>
                      <a:pt x="56" y="16"/>
                      <a:pt x="56" y="16"/>
                      <a:pt x="56" y="16"/>
                    </a:cubicBezTo>
                    <a:cubicBezTo>
                      <a:pt x="56" y="16"/>
                      <a:pt x="56" y="16"/>
                      <a:pt x="56" y="16"/>
                    </a:cubicBezTo>
                    <a:cubicBezTo>
                      <a:pt x="55" y="17"/>
                      <a:pt x="53" y="18"/>
                      <a:pt x="53" y="19"/>
                    </a:cubicBezTo>
                    <a:cubicBezTo>
                      <a:pt x="51" y="19"/>
                      <a:pt x="51" y="19"/>
                      <a:pt x="51" y="19"/>
                    </a:cubicBezTo>
                    <a:cubicBezTo>
                      <a:pt x="52" y="19"/>
                      <a:pt x="52" y="19"/>
                      <a:pt x="52" y="19"/>
                    </a:cubicBezTo>
                    <a:cubicBezTo>
                      <a:pt x="52" y="20"/>
                      <a:pt x="51" y="21"/>
                      <a:pt x="51" y="21"/>
                    </a:cubicBezTo>
                    <a:cubicBezTo>
                      <a:pt x="49" y="23"/>
                      <a:pt x="49" y="23"/>
                      <a:pt x="49" y="23"/>
                    </a:cubicBezTo>
                    <a:cubicBezTo>
                      <a:pt x="48" y="24"/>
                      <a:pt x="47" y="25"/>
                      <a:pt x="46" y="26"/>
                    </a:cubicBezTo>
                    <a:cubicBezTo>
                      <a:pt x="47" y="26"/>
                      <a:pt x="47" y="26"/>
                      <a:pt x="47" y="26"/>
                    </a:cubicBezTo>
                    <a:cubicBezTo>
                      <a:pt x="47" y="26"/>
                      <a:pt x="47" y="26"/>
                      <a:pt x="47" y="26"/>
                    </a:cubicBezTo>
                    <a:cubicBezTo>
                      <a:pt x="47" y="26"/>
                      <a:pt x="48" y="27"/>
                      <a:pt x="50" y="27"/>
                    </a:cubicBezTo>
                    <a:cubicBezTo>
                      <a:pt x="51" y="27"/>
                      <a:pt x="52" y="27"/>
                      <a:pt x="53" y="28"/>
                    </a:cubicBezTo>
                    <a:cubicBezTo>
                      <a:pt x="61" y="29"/>
                      <a:pt x="61" y="29"/>
                      <a:pt x="61" y="29"/>
                    </a:cubicBezTo>
                    <a:cubicBezTo>
                      <a:pt x="50" y="37"/>
                      <a:pt x="50" y="37"/>
                      <a:pt x="50" y="37"/>
                    </a:cubicBezTo>
                    <a:cubicBezTo>
                      <a:pt x="45" y="39"/>
                      <a:pt x="33" y="47"/>
                      <a:pt x="27" y="52"/>
                    </a:cubicBezTo>
                    <a:cubicBezTo>
                      <a:pt x="27" y="52"/>
                      <a:pt x="27" y="52"/>
                      <a:pt x="27" y="52"/>
                    </a:cubicBezTo>
                    <a:cubicBezTo>
                      <a:pt x="27" y="52"/>
                      <a:pt x="28" y="52"/>
                      <a:pt x="28" y="52"/>
                    </a:cubicBezTo>
                    <a:cubicBezTo>
                      <a:pt x="29" y="53"/>
                      <a:pt x="29" y="53"/>
                      <a:pt x="29" y="53"/>
                    </a:cubicBezTo>
                    <a:cubicBezTo>
                      <a:pt x="29" y="53"/>
                      <a:pt x="30" y="53"/>
                      <a:pt x="30" y="54"/>
                    </a:cubicBezTo>
                    <a:cubicBezTo>
                      <a:pt x="38" y="51"/>
                      <a:pt x="38" y="51"/>
                      <a:pt x="38" y="51"/>
                    </a:cubicBezTo>
                    <a:cubicBezTo>
                      <a:pt x="39" y="55"/>
                      <a:pt x="39" y="55"/>
                      <a:pt x="39" y="55"/>
                    </a:cubicBezTo>
                    <a:cubicBezTo>
                      <a:pt x="39" y="56"/>
                      <a:pt x="39" y="56"/>
                      <a:pt x="39" y="57"/>
                    </a:cubicBezTo>
                    <a:cubicBezTo>
                      <a:pt x="40" y="59"/>
                      <a:pt x="40" y="60"/>
                      <a:pt x="41" y="60"/>
                    </a:cubicBezTo>
                    <a:cubicBezTo>
                      <a:pt x="41" y="60"/>
                      <a:pt x="41" y="61"/>
                      <a:pt x="42" y="61"/>
                    </a:cubicBezTo>
                    <a:cubicBezTo>
                      <a:pt x="45" y="62"/>
                      <a:pt x="49" y="63"/>
                      <a:pt x="53" y="63"/>
                    </a:cubicBezTo>
                    <a:cubicBezTo>
                      <a:pt x="53" y="62"/>
                      <a:pt x="53" y="61"/>
                      <a:pt x="54" y="59"/>
                    </a:cubicBezTo>
                    <a:cubicBezTo>
                      <a:pt x="55" y="55"/>
                      <a:pt x="55" y="55"/>
                      <a:pt x="55" y="55"/>
                    </a:cubicBezTo>
                    <a:cubicBezTo>
                      <a:pt x="58" y="57"/>
                      <a:pt x="58" y="57"/>
                      <a:pt x="58" y="57"/>
                    </a:cubicBezTo>
                    <a:cubicBezTo>
                      <a:pt x="58" y="51"/>
                      <a:pt x="58" y="51"/>
                      <a:pt x="58" y="51"/>
                    </a:cubicBezTo>
                    <a:cubicBezTo>
                      <a:pt x="63" y="52"/>
                      <a:pt x="63" y="52"/>
                      <a:pt x="63" y="52"/>
                    </a:cubicBezTo>
                    <a:cubicBezTo>
                      <a:pt x="69" y="54"/>
                      <a:pt x="71" y="57"/>
                      <a:pt x="73" y="61"/>
                    </a:cubicBezTo>
                    <a:cubicBezTo>
                      <a:pt x="74" y="62"/>
                      <a:pt x="74" y="62"/>
                      <a:pt x="74" y="62"/>
                    </a:cubicBezTo>
                    <a:cubicBezTo>
                      <a:pt x="74" y="62"/>
                      <a:pt x="74" y="62"/>
                      <a:pt x="74" y="62"/>
                    </a:cubicBezTo>
                    <a:cubicBezTo>
                      <a:pt x="74" y="62"/>
                      <a:pt x="75" y="61"/>
                      <a:pt x="76" y="61"/>
                    </a:cubicBezTo>
                    <a:cubicBezTo>
                      <a:pt x="77" y="61"/>
                      <a:pt x="78" y="62"/>
                      <a:pt x="80" y="62"/>
                    </a:cubicBezTo>
                    <a:cubicBezTo>
                      <a:pt x="81" y="64"/>
                      <a:pt x="81" y="65"/>
                      <a:pt x="81" y="68"/>
                    </a:cubicBezTo>
                    <a:cubicBezTo>
                      <a:pt x="82" y="68"/>
                      <a:pt x="82" y="68"/>
                      <a:pt x="83" y="68"/>
                    </a:cubicBezTo>
                    <a:cubicBezTo>
                      <a:pt x="85" y="61"/>
                      <a:pt x="85" y="61"/>
                      <a:pt x="85" y="61"/>
                    </a:cubicBezTo>
                    <a:cubicBezTo>
                      <a:pt x="85" y="68"/>
                      <a:pt x="85" y="68"/>
                      <a:pt x="85" y="68"/>
                    </a:cubicBezTo>
                    <a:cubicBezTo>
                      <a:pt x="87" y="69"/>
                      <a:pt x="87" y="69"/>
                      <a:pt x="87" y="69"/>
                    </a:cubicBezTo>
                    <a:cubicBezTo>
                      <a:pt x="88" y="69"/>
                      <a:pt x="89" y="70"/>
                      <a:pt x="90" y="70"/>
                    </a:cubicBezTo>
                    <a:cubicBezTo>
                      <a:pt x="91" y="71"/>
                      <a:pt x="92" y="72"/>
                      <a:pt x="92" y="73"/>
                    </a:cubicBezTo>
                    <a:cubicBezTo>
                      <a:pt x="94" y="73"/>
                      <a:pt x="98" y="73"/>
                      <a:pt x="101" y="73"/>
                    </a:cubicBezTo>
                    <a:cubicBezTo>
                      <a:pt x="103" y="73"/>
                      <a:pt x="104" y="74"/>
                      <a:pt x="106" y="74"/>
                    </a:cubicBezTo>
                    <a:cubicBezTo>
                      <a:pt x="110" y="74"/>
                      <a:pt x="110" y="74"/>
                      <a:pt x="110" y="74"/>
                    </a:cubicBezTo>
                    <a:cubicBezTo>
                      <a:pt x="109" y="78"/>
                      <a:pt x="109" y="78"/>
                      <a:pt x="109" y="78"/>
                    </a:cubicBezTo>
                    <a:cubicBezTo>
                      <a:pt x="108" y="80"/>
                      <a:pt x="107" y="81"/>
                      <a:pt x="106" y="82"/>
                    </a:cubicBezTo>
                    <a:cubicBezTo>
                      <a:pt x="105" y="82"/>
                      <a:pt x="105" y="82"/>
                      <a:pt x="105" y="82"/>
                    </a:cubicBezTo>
                    <a:cubicBezTo>
                      <a:pt x="105" y="83"/>
                      <a:pt x="104" y="83"/>
                      <a:pt x="104" y="84"/>
                    </a:cubicBezTo>
                    <a:cubicBezTo>
                      <a:pt x="102" y="84"/>
                      <a:pt x="101" y="85"/>
                      <a:pt x="100" y="85"/>
                    </a:cubicBezTo>
                    <a:cubicBezTo>
                      <a:pt x="99" y="85"/>
                      <a:pt x="99" y="85"/>
                      <a:pt x="99" y="85"/>
                    </a:cubicBezTo>
                    <a:cubicBezTo>
                      <a:pt x="98" y="86"/>
                      <a:pt x="98" y="86"/>
                      <a:pt x="98" y="86"/>
                    </a:cubicBezTo>
                    <a:cubicBezTo>
                      <a:pt x="98" y="86"/>
                      <a:pt x="98" y="86"/>
                      <a:pt x="98" y="86"/>
                    </a:cubicBezTo>
                    <a:cubicBezTo>
                      <a:pt x="98" y="86"/>
                      <a:pt x="97" y="87"/>
                      <a:pt x="97" y="87"/>
                    </a:cubicBezTo>
                    <a:cubicBezTo>
                      <a:pt x="96" y="89"/>
                      <a:pt x="95" y="91"/>
                      <a:pt x="92" y="92"/>
                    </a:cubicBezTo>
                    <a:cubicBezTo>
                      <a:pt x="92" y="92"/>
                      <a:pt x="92" y="92"/>
                      <a:pt x="92" y="92"/>
                    </a:cubicBezTo>
                    <a:cubicBezTo>
                      <a:pt x="91" y="92"/>
                      <a:pt x="91" y="92"/>
                      <a:pt x="90" y="92"/>
                    </a:cubicBezTo>
                    <a:cubicBezTo>
                      <a:pt x="89" y="92"/>
                      <a:pt x="88" y="91"/>
                      <a:pt x="88" y="91"/>
                    </a:cubicBezTo>
                    <a:cubicBezTo>
                      <a:pt x="88" y="92"/>
                      <a:pt x="88" y="92"/>
                      <a:pt x="88" y="92"/>
                    </a:cubicBezTo>
                    <a:cubicBezTo>
                      <a:pt x="89" y="98"/>
                      <a:pt x="89" y="98"/>
                      <a:pt x="89" y="98"/>
                    </a:cubicBezTo>
                    <a:cubicBezTo>
                      <a:pt x="82" y="96"/>
                      <a:pt x="82" y="96"/>
                      <a:pt x="82" y="96"/>
                    </a:cubicBezTo>
                    <a:cubicBezTo>
                      <a:pt x="81" y="95"/>
                      <a:pt x="79" y="94"/>
                      <a:pt x="78" y="94"/>
                    </a:cubicBezTo>
                    <a:cubicBezTo>
                      <a:pt x="78" y="95"/>
                      <a:pt x="78" y="95"/>
                      <a:pt x="78" y="95"/>
                    </a:cubicBezTo>
                    <a:cubicBezTo>
                      <a:pt x="78" y="95"/>
                      <a:pt x="78" y="95"/>
                      <a:pt x="78" y="95"/>
                    </a:cubicBezTo>
                    <a:cubicBezTo>
                      <a:pt x="77" y="98"/>
                      <a:pt x="76" y="99"/>
                      <a:pt x="74" y="101"/>
                    </a:cubicBezTo>
                    <a:cubicBezTo>
                      <a:pt x="72" y="101"/>
                      <a:pt x="72" y="101"/>
                      <a:pt x="72" y="101"/>
                    </a:cubicBezTo>
                    <a:cubicBezTo>
                      <a:pt x="70" y="102"/>
                      <a:pt x="68" y="103"/>
                      <a:pt x="65" y="103"/>
                    </a:cubicBezTo>
                    <a:cubicBezTo>
                      <a:pt x="63" y="103"/>
                      <a:pt x="62" y="103"/>
                      <a:pt x="59" y="102"/>
                    </a:cubicBezTo>
                    <a:cubicBezTo>
                      <a:pt x="59" y="101"/>
                      <a:pt x="58" y="101"/>
                      <a:pt x="57" y="100"/>
                    </a:cubicBezTo>
                    <a:cubicBezTo>
                      <a:pt x="56" y="100"/>
                      <a:pt x="56" y="100"/>
                      <a:pt x="56" y="100"/>
                    </a:cubicBezTo>
                    <a:cubicBezTo>
                      <a:pt x="55" y="100"/>
                      <a:pt x="54" y="99"/>
                      <a:pt x="54" y="99"/>
                    </a:cubicBezTo>
                    <a:cubicBezTo>
                      <a:pt x="54" y="99"/>
                      <a:pt x="54" y="99"/>
                      <a:pt x="54" y="99"/>
                    </a:cubicBezTo>
                    <a:cubicBezTo>
                      <a:pt x="54" y="99"/>
                      <a:pt x="53" y="99"/>
                      <a:pt x="53" y="99"/>
                    </a:cubicBezTo>
                    <a:cubicBezTo>
                      <a:pt x="53" y="99"/>
                      <a:pt x="52" y="99"/>
                      <a:pt x="52" y="99"/>
                    </a:cubicBezTo>
                    <a:cubicBezTo>
                      <a:pt x="51" y="99"/>
                      <a:pt x="51" y="99"/>
                      <a:pt x="50" y="99"/>
                    </a:cubicBezTo>
                    <a:cubicBezTo>
                      <a:pt x="49" y="99"/>
                      <a:pt x="48" y="99"/>
                      <a:pt x="48" y="100"/>
                    </a:cubicBezTo>
                    <a:cubicBezTo>
                      <a:pt x="47" y="100"/>
                      <a:pt x="47" y="100"/>
                      <a:pt x="47" y="100"/>
                    </a:cubicBezTo>
                    <a:cubicBezTo>
                      <a:pt x="46" y="100"/>
                      <a:pt x="46" y="100"/>
                      <a:pt x="46" y="100"/>
                    </a:cubicBezTo>
                    <a:cubicBezTo>
                      <a:pt x="44" y="101"/>
                      <a:pt x="44" y="101"/>
                      <a:pt x="44" y="101"/>
                    </a:cubicBezTo>
                    <a:cubicBezTo>
                      <a:pt x="42" y="103"/>
                      <a:pt x="42" y="103"/>
                      <a:pt x="42" y="103"/>
                    </a:cubicBezTo>
                    <a:cubicBezTo>
                      <a:pt x="41" y="104"/>
                      <a:pt x="41" y="104"/>
                      <a:pt x="41" y="104"/>
                    </a:cubicBezTo>
                    <a:cubicBezTo>
                      <a:pt x="40" y="104"/>
                      <a:pt x="40" y="104"/>
                      <a:pt x="40" y="104"/>
                    </a:cubicBezTo>
                    <a:cubicBezTo>
                      <a:pt x="40" y="105"/>
                      <a:pt x="39" y="105"/>
                      <a:pt x="38" y="106"/>
                    </a:cubicBezTo>
                    <a:cubicBezTo>
                      <a:pt x="38" y="106"/>
                      <a:pt x="38" y="106"/>
                      <a:pt x="38" y="106"/>
                    </a:cubicBezTo>
                    <a:cubicBezTo>
                      <a:pt x="38" y="106"/>
                      <a:pt x="38" y="106"/>
                      <a:pt x="38" y="106"/>
                    </a:cubicBezTo>
                    <a:cubicBezTo>
                      <a:pt x="37" y="107"/>
                      <a:pt x="37" y="107"/>
                      <a:pt x="36" y="107"/>
                    </a:cubicBezTo>
                    <a:cubicBezTo>
                      <a:pt x="35" y="108"/>
                      <a:pt x="35" y="108"/>
                      <a:pt x="35" y="108"/>
                    </a:cubicBezTo>
                    <a:cubicBezTo>
                      <a:pt x="35" y="109"/>
                      <a:pt x="34" y="109"/>
                      <a:pt x="34" y="109"/>
                    </a:cubicBezTo>
                    <a:cubicBezTo>
                      <a:pt x="34" y="109"/>
                      <a:pt x="34" y="109"/>
                      <a:pt x="34" y="109"/>
                    </a:cubicBezTo>
                    <a:cubicBezTo>
                      <a:pt x="33" y="110"/>
                      <a:pt x="33" y="110"/>
                      <a:pt x="33" y="110"/>
                    </a:cubicBezTo>
                    <a:cubicBezTo>
                      <a:pt x="33" y="110"/>
                      <a:pt x="33" y="110"/>
                      <a:pt x="33" y="110"/>
                    </a:cubicBezTo>
                    <a:cubicBezTo>
                      <a:pt x="33" y="110"/>
                      <a:pt x="33" y="110"/>
                      <a:pt x="33" y="110"/>
                    </a:cubicBezTo>
                    <a:cubicBezTo>
                      <a:pt x="32" y="111"/>
                      <a:pt x="32" y="111"/>
                      <a:pt x="32" y="111"/>
                    </a:cubicBezTo>
                    <a:cubicBezTo>
                      <a:pt x="30" y="111"/>
                      <a:pt x="30" y="111"/>
                      <a:pt x="29" y="111"/>
                    </a:cubicBezTo>
                    <a:cubicBezTo>
                      <a:pt x="26" y="111"/>
                      <a:pt x="26" y="111"/>
                      <a:pt x="26" y="111"/>
                    </a:cubicBezTo>
                    <a:cubicBezTo>
                      <a:pt x="25" y="108"/>
                      <a:pt x="25" y="108"/>
                      <a:pt x="25" y="108"/>
                    </a:cubicBezTo>
                    <a:cubicBezTo>
                      <a:pt x="25" y="107"/>
                      <a:pt x="26" y="107"/>
                      <a:pt x="26" y="106"/>
                    </a:cubicBezTo>
                    <a:cubicBezTo>
                      <a:pt x="22" y="104"/>
                      <a:pt x="17" y="102"/>
                      <a:pt x="14" y="102"/>
                    </a:cubicBezTo>
                    <a:cubicBezTo>
                      <a:pt x="13" y="102"/>
                      <a:pt x="11" y="103"/>
                      <a:pt x="8" y="104"/>
                    </a:cubicBezTo>
                    <a:cubicBezTo>
                      <a:pt x="8" y="104"/>
                      <a:pt x="8" y="104"/>
                      <a:pt x="8" y="104"/>
                    </a:cubicBezTo>
                    <a:cubicBezTo>
                      <a:pt x="7" y="104"/>
                      <a:pt x="6" y="105"/>
                      <a:pt x="5" y="105"/>
                    </a:cubicBezTo>
                    <a:cubicBezTo>
                      <a:pt x="5" y="105"/>
                      <a:pt x="5" y="105"/>
                      <a:pt x="5" y="105"/>
                    </a:cubicBezTo>
                    <a:cubicBezTo>
                      <a:pt x="5" y="105"/>
                      <a:pt x="4" y="105"/>
                      <a:pt x="3" y="108"/>
                    </a:cubicBezTo>
                    <a:cubicBezTo>
                      <a:pt x="2" y="109"/>
                      <a:pt x="2" y="109"/>
                      <a:pt x="2" y="110"/>
                    </a:cubicBezTo>
                    <a:cubicBezTo>
                      <a:pt x="0" y="112"/>
                      <a:pt x="0" y="112"/>
                      <a:pt x="0" y="112"/>
                    </a:cubicBezTo>
                    <a:cubicBezTo>
                      <a:pt x="0" y="118"/>
                      <a:pt x="0" y="118"/>
                      <a:pt x="0" y="118"/>
                    </a:cubicBezTo>
                    <a:cubicBezTo>
                      <a:pt x="5" y="117"/>
                      <a:pt x="10" y="117"/>
                      <a:pt x="15" y="117"/>
                    </a:cubicBezTo>
                    <a:cubicBezTo>
                      <a:pt x="20" y="117"/>
                      <a:pt x="25" y="117"/>
                      <a:pt x="29" y="118"/>
                    </a:cubicBezTo>
                    <a:cubicBezTo>
                      <a:pt x="35" y="119"/>
                      <a:pt x="39" y="120"/>
                      <a:pt x="44" y="121"/>
                    </a:cubicBezTo>
                    <a:cubicBezTo>
                      <a:pt x="45" y="116"/>
                      <a:pt x="45" y="116"/>
                      <a:pt x="45" y="116"/>
                    </a:cubicBezTo>
                    <a:cubicBezTo>
                      <a:pt x="46" y="122"/>
                      <a:pt x="46" y="122"/>
                      <a:pt x="46" y="122"/>
                    </a:cubicBezTo>
                    <a:cubicBezTo>
                      <a:pt x="47" y="121"/>
                      <a:pt x="51" y="119"/>
                      <a:pt x="53" y="118"/>
                    </a:cubicBezTo>
                    <a:cubicBezTo>
                      <a:pt x="54" y="118"/>
                      <a:pt x="54" y="118"/>
                      <a:pt x="54" y="118"/>
                    </a:cubicBezTo>
                    <a:cubicBezTo>
                      <a:pt x="56" y="117"/>
                      <a:pt x="57" y="116"/>
                      <a:pt x="57" y="116"/>
                    </a:cubicBezTo>
                    <a:cubicBezTo>
                      <a:pt x="62" y="114"/>
                      <a:pt x="62" y="114"/>
                      <a:pt x="62" y="114"/>
                    </a:cubicBezTo>
                    <a:cubicBezTo>
                      <a:pt x="62" y="120"/>
                      <a:pt x="62" y="120"/>
                      <a:pt x="62" y="120"/>
                    </a:cubicBezTo>
                    <a:cubicBezTo>
                      <a:pt x="62" y="120"/>
                      <a:pt x="62" y="120"/>
                      <a:pt x="62" y="120"/>
                    </a:cubicBezTo>
                    <a:cubicBezTo>
                      <a:pt x="68" y="120"/>
                      <a:pt x="69" y="125"/>
                      <a:pt x="69" y="126"/>
                    </a:cubicBezTo>
                    <a:cubicBezTo>
                      <a:pt x="70" y="126"/>
                      <a:pt x="70" y="126"/>
                      <a:pt x="70" y="126"/>
                    </a:cubicBezTo>
                    <a:cubicBezTo>
                      <a:pt x="71" y="126"/>
                      <a:pt x="71" y="126"/>
                      <a:pt x="71" y="126"/>
                    </a:cubicBezTo>
                    <a:cubicBezTo>
                      <a:pt x="74" y="127"/>
                      <a:pt x="77" y="127"/>
                      <a:pt x="79" y="128"/>
                    </a:cubicBezTo>
                    <a:cubicBezTo>
                      <a:pt x="81" y="125"/>
                      <a:pt x="84" y="123"/>
                      <a:pt x="89" y="123"/>
                    </a:cubicBezTo>
                    <a:cubicBezTo>
                      <a:pt x="90" y="123"/>
                      <a:pt x="90" y="123"/>
                      <a:pt x="90" y="123"/>
                    </a:cubicBezTo>
                    <a:cubicBezTo>
                      <a:pt x="96" y="123"/>
                      <a:pt x="96" y="123"/>
                      <a:pt x="96" y="123"/>
                    </a:cubicBezTo>
                    <a:cubicBezTo>
                      <a:pt x="98" y="123"/>
                      <a:pt x="101" y="123"/>
                      <a:pt x="104" y="123"/>
                    </a:cubicBezTo>
                    <a:cubicBezTo>
                      <a:pt x="105" y="122"/>
                      <a:pt x="106" y="122"/>
                      <a:pt x="108" y="122"/>
                    </a:cubicBezTo>
                    <a:cubicBezTo>
                      <a:pt x="111" y="122"/>
                      <a:pt x="111" y="122"/>
                      <a:pt x="111" y="122"/>
                    </a:cubicBezTo>
                    <a:cubicBezTo>
                      <a:pt x="113" y="121"/>
                      <a:pt x="115" y="121"/>
                      <a:pt x="117" y="121"/>
                    </a:cubicBezTo>
                    <a:cubicBezTo>
                      <a:pt x="117" y="120"/>
                      <a:pt x="117" y="120"/>
                      <a:pt x="117" y="120"/>
                    </a:cubicBezTo>
                    <a:cubicBezTo>
                      <a:pt x="119" y="120"/>
                      <a:pt x="119" y="120"/>
                      <a:pt x="119" y="120"/>
                    </a:cubicBezTo>
                    <a:cubicBezTo>
                      <a:pt x="121" y="119"/>
                      <a:pt x="121" y="119"/>
                      <a:pt x="121" y="119"/>
                    </a:cubicBezTo>
                    <a:cubicBezTo>
                      <a:pt x="121" y="119"/>
                      <a:pt x="122" y="119"/>
                      <a:pt x="122" y="118"/>
                    </a:cubicBezTo>
                    <a:cubicBezTo>
                      <a:pt x="124" y="118"/>
                      <a:pt x="124" y="118"/>
                      <a:pt x="124" y="118"/>
                    </a:cubicBezTo>
                    <a:cubicBezTo>
                      <a:pt x="124" y="117"/>
                      <a:pt x="124" y="117"/>
                      <a:pt x="124" y="117"/>
                    </a:cubicBezTo>
                    <a:cubicBezTo>
                      <a:pt x="124" y="116"/>
                      <a:pt x="124" y="115"/>
                      <a:pt x="124" y="114"/>
                    </a:cubicBezTo>
                    <a:cubicBezTo>
                      <a:pt x="125" y="112"/>
                      <a:pt x="125" y="112"/>
                      <a:pt x="125" y="112"/>
                    </a:cubicBezTo>
                    <a:cubicBezTo>
                      <a:pt x="125" y="111"/>
                      <a:pt x="125" y="110"/>
                      <a:pt x="125" y="110"/>
                    </a:cubicBezTo>
                    <a:cubicBezTo>
                      <a:pt x="125" y="109"/>
                      <a:pt x="125" y="109"/>
                      <a:pt x="125" y="109"/>
                    </a:cubicBezTo>
                    <a:cubicBezTo>
                      <a:pt x="126" y="108"/>
                      <a:pt x="126" y="108"/>
                      <a:pt x="126" y="107"/>
                    </a:cubicBezTo>
                    <a:cubicBezTo>
                      <a:pt x="126" y="105"/>
                      <a:pt x="127" y="101"/>
                      <a:pt x="130" y="100"/>
                    </a:cubicBezTo>
                    <a:cubicBezTo>
                      <a:pt x="139" y="97"/>
                      <a:pt x="139" y="97"/>
                      <a:pt x="139" y="97"/>
                    </a:cubicBezTo>
                    <a:cubicBezTo>
                      <a:pt x="139" y="97"/>
                      <a:pt x="140" y="96"/>
                      <a:pt x="140" y="96"/>
                    </a:cubicBezTo>
                    <a:cubicBezTo>
                      <a:pt x="141" y="96"/>
                      <a:pt x="141" y="96"/>
                      <a:pt x="141" y="96"/>
                    </a:cubicBezTo>
                    <a:cubicBezTo>
                      <a:pt x="144" y="95"/>
                      <a:pt x="148" y="94"/>
                      <a:pt x="151" y="93"/>
                    </a:cubicBezTo>
                    <a:cubicBezTo>
                      <a:pt x="151" y="93"/>
                      <a:pt x="151" y="93"/>
                      <a:pt x="151" y="93"/>
                    </a:cubicBezTo>
                    <a:cubicBezTo>
                      <a:pt x="151" y="92"/>
                      <a:pt x="151" y="92"/>
                      <a:pt x="151" y="92"/>
                    </a:cubicBezTo>
                    <a:cubicBezTo>
                      <a:pt x="150" y="90"/>
                      <a:pt x="150" y="89"/>
                      <a:pt x="150" y="89"/>
                    </a:cubicBezTo>
                    <a:cubicBezTo>
                      <a:pt x="150" y="85"/>
                      <a:pt x="150" y="85"/>
                      <a:pt x="150" y="85"/>
                    </a:cubicBezTo>
                    <a:cubicBezTo>
                      <a:pt x="155" y="85"/>
                      <a:pt x="155" y="85"/>
                      <a:pt x="155" y="85"/>
                    </a:cubicBezTo>
                    <a:cubicBezTo>
                      <a:pt x="155" y="86"/>
                      <a:pt x="156" y="86"/>
                      <a:pt x="157" y="86"/>
                    </a:cubicBezTo>
                    <a:cubicBezTo>
                      <a:pt x="157" y="86"/>
                      <a:pt x="158" y="86"/>
                      <a:pt x="159" y="86"/>
                    </a:cubicBezTo>
                    <a:cubicBezTo>
                      <a:pt x="160" y="86"/>
                      <a:pt x="161" y="87"/>
                      <a:pt x="162" y="87"/>
                    </a:cubicBezTo>
                    <a:cubicBezTo>
                      <a:pt x="163" y="87"/>
                      <a:pt x="164" y="86"/>
                      <a:pt x="167" y="85"/>
                    </a:cubicBezTo>
                    <a:cubicBezTo>
                      <a:pt x="167" y="84"/>
                      <a:pt x="167" y="84"/>
                      <a:pt x="167" y="84"/>
                    </a:cubicBezTo>
                    <a:cubicBezTo>
                      <a:pt x="168" y="84"/>
                      <a:pt x="168" y="84"/>
                      <a:pt x="168" y="84"/>
                    </a:cubicBezTo>
                    <a:cubicBezTo>
                      <a:pt x="169" y="83"/>
                      <a:pt x="171" y="81"/>
                      <a:pt x="173" y="81"/>
                    </a:cubicBezTo>
                    <a:cubicBezTo>
                      <a:pt x="174" y="81"/>
                      <a:pt x="174" y="81"/>
                      <a:pt x="174" y="81"/>
                    </a:cubicBezTo>
                    <a:cubicBezTo>
                      <a:pt x="174" y="81"/>
                      <a:pt x="174" y="81"/>
                      <a:pt x="174" y="81"/>
                    </a:cubicBezTo>
                    <a:cubicBezTo>
                      <a:pt x="175" y="81"/>
                      <a:pt x="175" y="81"/>
                      <a:pt x="175" y="81"/>
                    </a:cubicBezTo>
                    <a:cubicBezTo>
                      <a:pt x="176" y="81"/>
                      <a:pt x="176" y="81"/>
                      <a:pt x="176" y="81"/>
                    </a:cubicBezTo>
                    <a:cubicBezTo>
                      <a:pt x="177" y="82"/>
                      <a:pt x="177" y="82"/>
                      <a:pt x="177" y="82"/>
                    </a:cubicBezTo>
                    <a:cubicBezTo>
                      <a:pt x="179" y="83"/>
                      <a:pt x="179" y="85"/>
                      <a:pt x="179" y="86"/>
                    </a:cubicBezTo>
                    <a:cubicBezTo>
                      <a:pt x="180" y="87"/>
                      <a:pt x="180" y="89"/>
                      <a:pt x="180" y="90"/>
                    </a:cubicBezTo>
                    <a:cubicBezTo>
                      <a:pt x="180" y="91"/>
                      <a:pt x="181" y="91"/>
                      <a:pt x="181" y="92"/>
                    </a:cubicBezTo>
                    <a:cubicBezTo>
                      <a:pt x="181" y="92"/>
                      <a:pt x="181" y="92"/>
                      <a:pt x="181" y="92"/>
                    </a:cubicBezTo>
                    <a:cubicBezTo>
                      <a:pt x="182" y="92"/>
                      <a:pt x="182" y="92"/>
                      <a:pt x="182" y="92"/>
                    </a:cubicBezTo>
                    <a:cubicBezTo>
                      <a:pt x="183" y="92"/>
                      <a:pt x="183" y="92"/>
                      <a:pt x="183" y="92"/>
                    </a:cubicBezTo>
                    <a:cubicBezTo>
                      <a:pt x="183" y="91"/>
                      <a:pt x="184" y="91"/>
                      <a:pt x="185" y="90"/>
                    </a:cubicBezTo>
                    <a:cubicBezTo>
                      <a:pt x="186" y="90"/>
                      <a:pt x="187" y="89"/>
                      <a:pt x="188" y="89"/>
                    </a:cubicBezTo>
                    <a:cubicBezTo>
                      <a:pt x="189" y="89"/>
                      <a:pt x="191" y="89"/>
                      <a:pt x="192" y="89"/>
                    </a:cubicBezTo>
                    <a:cubicBezTo>
                      <a:pt x="192" y="89"/>
                      <a:pt x="192" y="89"/>
                      <a:pt x="193" y="89"/>
                    </a:cubicBezTo>
                    <a:cubicBezTo>
                      <a:pt x="194" y="89"/>
                      <a:pt x="195" y="89"/>
                      <a:pt x="196" y="89"/>
                    </a:cubicBezTo>
                    <a:cubicBezTo>
                      <a:pt x="196" y="90"/>
                      <a:pt x="196" y="90"/>
                      <a:pt x="196" y="90"/>
                    </a:cubicBezTo>
                    <a:cubicBezTo>
                      <a:pt x="197" y="89"/>
                      <a:pt x="197" y="89"/>
                      <a:pt x="197" y="89"/>
                    </a:cubicBezTo>
                    <a:cubicBezTo>
                      <a:pt x="197" y="89"/>
                      <a:pt x="198" y="88"/>
                      <a:pt x="199" y="87"/>
                    </a:cubicBezTo>
                    <a:cubicBezTo>
                      <a:pt x="200" y="86"/>
                      <a:pt x="201" y="84"/>
                      <a:pt x="201" y="84"/>
                    </a:cubicBezTo>
                    <a:cubicBezTo>
                      <a:pt x="201" y="83"/>
                      <a:pt x="201" y="83"/>
                      <a:pt x="201" y="83"/>
                    </a:cubicBezTo>
                    <a:cubicBezTo>
                      <a:pt x="201" y="82"/>
                      <a:pt x="201" y="81"/>
                      <a:pt x="201" y="80"/>
                    </a:cubicBezTo>
                    <a:cubicBezTo>
                      <a:pt x="202" y="78"/>
                      <a:pt x="202" y="78"/>
                      <a:pt x="202" y="78"/>
                    </a:cubicBezTo>
                    <a:cubicBezTo>
                      <a:pt x="203" y="77"/>
                      <a:pt x="204" y="76"/>
                      <a:pt x="205" y="75"/>
                    </a:cubicBezTo>
                    <a:cubicBezTo>
                      <a:pt x="206" y="75"/>
                      <a:pt x="206" y="74"/>
                      <a:pt x="207" y="73"/>
                    </a:cubicBezTo>
                    <a:cubicBezTo>
                      <a:pt x="209" y="71"/>
                      <a:pt x="211" y="68"/>
                      <a:pt x="214" y="67"/>
                    </a:cubicBezTo>
                    <a:cubicBezTo>
                      <a:pt x="217" y="66"/>
                      <a:pt x="222" y="66"/>
                      <a:pt x="225" y="65"/>
                    </a:cubicBezTo>
                    <a:cubicBezTo>
                      <a:pt x="227" y="65"/>
                      <a:pt x="228" y="65"/>
                      <a:pt x="230" y="65"/>
                    </a:cubicBezTo>
                    <a:cubicBezTo>
                      <a:pt x="232" y="65"/>
                      <a:pt x="232" y="65"/>
                      <a:pt x="232" y="65"/>
                    </a:cubicBezTo>
                    <a:cubicBezTo>
                      <a:pt x="235" y="65"/>
                      <a:pt x="238" y="64"/>
                      <a:pt x="241" y="64"/>
                    </a:cubicBezTo>
                    <a:cubicBezTo>
                      <a:pt x="248" y="63"/>
                      <a:pt x="248" y="63"/>
                      <a:pt x="248" y="63"/>
                    </a:cubicBezTo>
                    <a:cubicBezTo>
                      <a:pt x="249" y="63"/>
                      <a:pt x="249" y="63"/>
                      <a:pt x="249" y="63"/>
                    </a:cubicBezTo>
                    <a:cubicBezTo>
                      <a:pt x="249" y="62"/>
                      <a:pt x="250" y="61"/>
                      <a:pt x="251" y="61"/>
                    </a:cubicBezTo>
                    <a:cubicBezTo>
                      <a:pt x="252" y="60"/>
                      <a:pt x="252" y="60"/>
                      <a:pt x="252" y="60"/>
                    </a:cubicBezTo>
                    <a:cubicBezTo>
                      <a:pt x="252" y="59"/>
                      <a:pt x="252" y="59"/>
                      <a:pt x="253" y="58"/>
                    </a:cubicBezTo>
                    <a:cubicBezTo>
                      <a:pt x="253" y="58"/>
                      <a:pt x="254" y="57"/>
                      <a:pt x="255" y="56"/>
                    </a:cubicBezTo>
                    <a:cubicBezTo>
                      <a:pt x="257" y="54"/>
                      <a:pt x="259" y="51"/>
                      <a:pt x="262" y="50"/>
                    </a:cubicBezTo>
                    <a:cubicBezTo>
                      <a:pt x="263" y="50"/>
                      <a:pt x="263" y="50"/>
                      <a:pt x="263" y="50"/>
                    </a:cubicBezTo>
                    <a:cubicBezTo>
                      <a:pt x="266" y="48"/>
                      <a:pt x="270" y="46"/>
                      <a:pt x="274" y="45"/>
                    </a:cubicBezTo>
                    <a:cubicBezTo>
                      <a:pt x="275" y="44"/>
                      <a:pt x="275" y="44"/>
                      <a:pt x="275" y="44"/>
                    </a:cubicBezTo>
                    <a:cubicBezTo>
                      <a:pt x="277" y="44"/>
                      <a:pt x="278" y="43"/>
                      <a:pt x="280" y="43"/>
                    </a:cubicBezTo>
                    <a:cubicBezTo>
                      <a:pt x="285" y="40"/>
                      <a:pt x="291" y="38"/>
                      <a:pt x="297" y="36"/>
                    </a:cubicBezTo>
                    <a:cubicBezTo>
                      <a:pt x="302" y="35"/>
                      <a:pt x="302" y="35"/>
                      <a:pt x="302" y="35"/>
                    </a:cubicBezTo>
                    <a:cubicBezTo>
                      <a:pt x="303" y="34"/>
                      <a:pt x="303" y="34"/>
                      <a:pt x="303" y="34"/>
                    </a:cubicBezTo>
                    <a:cubicBezTo>
                      <a:pt x="303" y="33"/>
                      <a:pt x="303" y="33"/>
                      <a:pt x="303" y="33"/>
                    </a:cubicBezTo>
                    <a:cubicBezTo>
                      <a:pt x="303" y="33"/>
                      <a:pt x="303" y="33"/>
                      <a:pt x="303" y="33"/>
                    </a:cubicBezTo>
                    <a:cubicBezTo>
                      <a:pt x="303" y="33"/>
                      <a:pt x="303" y="33"/>
                      <a:pt x="303" y="33"/>
                    </a:cubicBezTo>
                    <a:cubicBezTo>
                      <a:pt x="302" y="32"/>
                      <a:pt x="302" y="32"/>
                      <a:pt x="302" y="32"/>
                    </a:cubicBezTo>
                    <a:cubicBezTo>
                      <a:pt x="302" y="32"/>
                      <a:pt x="301" y="31"/>
                      <a:pt x="301" y="30"/>
                    </a:cubicBezTo>
                    <a:cubicBezTo>
                      <a:pt x="300" y="29"/>
                      <a:pt x="299" y="29"/>
                      <a:pt x="298" y="28"/>
                    </a:cubicBezTo>
                    <a:cubicBezTo>
                      <a:pt x="297" y="27"/>
                      <a:pt x="297" y="27"/>
                      <a:pt x="296" y="27"/>
                    </a:cubicBezTo>
                    <a:cubicBezTo>
                      <a:pt x="295" y="26"/>
                      <a:pt x="294" y="26"/>
                      <a:pt x="293" y="26"/>
                    </a:cubicBezTo>
                    <a:cubicBezTo>
                      <a:pt x="292" y="26"/>
                      <a:pt x="291" y="26"/>
                      <a:pt x="290" y="26"/>
                    </a:cubicBezTo>
                    <a:cubicBezTo>
                      <a:pt x="285" y="26"/>
                      <a:pt x="282" y="25"/>
                      <a:pt x="278" y="20"/>
                    </a:cubicBezTo>
                    <a:cubicBezTo>
                      <a:pt x="278" y="19"/>
                      <a:pt x="278" y="19"/>
                      <a:pt x="278" y="19"/>
                    </a:cubicBezTo>
                    <a:cubicBezTo>
                      <a:pt x="278" y="18"/>
                      <a:pt x="277" y="16"/>
                      <a:pt x="276" y="15"/>
                    </a:cubicBezTo>
                    <a:cubicBezTo>
                      <a:pt x="275" y="14"/>
                      <a:pt x="275" y="14"/>
                      <a:pt x="275" y="14"/>
                    </a:cubicBezTo>
                    <a:cubicBezTo>
                      <a:pt x="275" y="14"/>
                      <a:pt x="275" y="14"/>
                      <a:pt x="275" y="14"/>
                    </a:cubicBezTo>
                    <a:cubicBezTo>
                      <a:pt x="274" y="14"/>
                      <a:pt x="274" y="14"/>
                      <a:pt x="273" y="14"/>
                    </a:cubicBezTo>
                    <a:cubicBezTo>
                      <a:pt x="273" y="15"/>
                      <a:pt x="272" y="15"/>
                      <a:pt x="271" y="15"/>
                    </a:cubicBezTo>
                    <a:cubicBezTo>
                      <a:pt x="269" y="15"/>
                      <a:pt x="267" y="14"/>
                      <a:pt x="265" y="14"/>
                    </a:cubicBezTo>
                    <a:cubicBezTo>
                      <a:pt x="262" y="13"/>
                      <a:pt x="262" y="13"/>
                      <a:pt x="262" y="13"/>
                    </a:cubicBezTo>
                    <a:cubicBezTo>
                      <a:pt x="261" y="12"/>
                      <a:pt x="260" y="12"/>
                      <a:pt x="259" y="12"/>
                    </a:cubicBezTo>
                    <a:cubicBezTo>
                      <a:pt x="258" y="12"/>
                      <a:pt x="257" y="11"/>
                      <a:pt x="256" y="11"/>
                    </a:cubicBezTo>
                    <a:cubicBezTo>
                      <a:pt x="256" y="11"/>
                      <a:pt x="256" y="11"/>
                      <a:pt x="255" y="11"/>
                    </a:cubicBezTo>
                    <a:cubicBezTo>
                      <a:pt x="255" y="11"/>
                      <a:pt x="254" y="11"/>
                      <a:pt x="254" y="11"/>
                    </a:cubicBezTo>
                    <a:cubicBezTo>
                      <a:pt x="253" y="11"/>
                      <a:pt x="253" y="11"/>
                      <a:pt x="253" y="11"/>
                    </a:cubicBezTo>
                    <a:cubicBezTo>
                      <a:pt x="251" y="11"/>
                      <a:pt x="250" y="12"/>
                      <a:pt x="248" y="12"/>
                    </a:cubicBezTo>
                    <a:cubicBezTo>
                      <a:pt x="243" y="12"/>
                      <a:pt x="238" y="11"/>
                      <a:pt x="233" y="11"/>
                    </a:cubicBezTo>
                    <a:cubicBezTo>
                      <a:pt x="232" y="11"/>
                      <a:pt x="232" y="11"/>
                      <a:pt x="232" y="11"/>
                    </a:cubicBezTo>
                    <a:cubicBezTo>
                      <a:pt x="231" y="11"/>
                      <a:pt x="230" y="11"/>
                      <a:pt x="229" y="11"/>
                    </a:cubicBezTo>
                    <a:cubicBezTo>
                      <a:pt x="228" y="16"/>
                      <a:pt x="228" y="16"/>
                      <a:pt x="228" y="16"/>
                    </a:cubicBezTo>
                    <a:cubicBezTo>
                      <a:pt x="227" y="10"/>
                      <a:pt x="227" y="10"/>
                      <a:pt x="227" y="10"/>
                    </a:cubicBezTo>
                    <a:cubicBezTo>
                      <a:pt x="226" y="10"/>
                      <a:pt x="226" y="10"/>
                      <a:pt x="226" y="10"/>
                    </a:cubicBezTo>
                    <a:cubicBezTo>
                      <a:pt x="220" y="10"/>
                      <a:pt x="213" y="10"/>
                      <a:pt x="206" y="10"/>
                    </a:cubicBezTo>
                    <a:cubicBezTo>
                      <a:pt x="205" y="10"/>
                      <a:pt x="205" y="10"/>
                      <a:pt x="205" y="10"/>
                    </a:cubicBezTo>
                    <a:cubicBezTo>
                      <a:pt x="203" y="10"/>
                      <a:pt x="200" y="10"/>
                      <a:pt x="198" y="9"/>
                    </a:cubicBezTo>
                    <a:cubicBezTo>
                      <a:pt x="197" y="9"/>
                      <a:pt x="197" y="9"/>
                      <a:pt x="197" y="9"/>
                    </a:cubicBezTo>
                    <a:cubicBezTo>
                      <a:pt x="194" y="9"/>
                      <a:pt x="191" y="9"/>
                      <a:pt x="188" y="9"/>
                    </a:cubicBezTo>
                    <a:cubicBezTo>
                      <a:pt x="186" y="9"/>
                      <a:pt x="184" y="9"/>
                      <a:pt x="182" y="9"/>
                    </a:cubicBezTo>
                    <a:cubicBezTo>
                      <a:pt x="181" y="9"/>
                      <a:pt x="181" y="9"/>
                      <a:pt x="181" y="9"/>
                    </a:cubicBezTo>
                    <a:cubicBezTo>
                      <a:pt x="180" y="10"/>
                      <a:pt x="179" y="10"/>
                      <a:pt x="178" y="10"/>
                    </a:cubicBezTo>
                    <a:cubicBezTo>
                      <a:pt x="175" y="11"/>
                      <a:pt x="172" y="12"/>
                      <a:pt x="169" y="12"/>
                    </a:cubicBezTo>
                    <a:cubicBezTo>
                      <a:pt x="168" y="12"/>
                      <a:pt x="167" y="12"/>
                      <a:pt x="166" y="12"/>
                    </a:cubicBezTo>
                    <a:cubicBezTo>
                      <a:pt x="164" y="12"/>
                      <a:pt x="164" y="12"/>
                      <a:pt x="164" y="12"/>
                    </a:cubicBezTo>
                    <a:cubicBezTo>
                      <a:pt x="163" y="11"/>
                      <a:pt x="162" y="11"/>
                      <a:pt x="162" y="11"/>
                    </a:cubicBezTo>
                    <a:cubicBezTo>
                      <a:pt x="159" y="10"/>
                      <a:pt x="159" y="10"/>
                      <a:pt x="159" y="10"/>
                    </a:cubicBezTo>
                    <a:cubicBezTo>
                      <a:pt x="158" y="10"/>
                      <a:pt x="157" y="10"/>
                      <a:pt x="155" y="9"/>
                    </a:cubicBezTo>
                    <a:cubicBezTo>
                      <a:pt x="153" y="9"/>
                      <a:pt x="153" y="9"/>
                      <a:pt x="153" y="9"/>
                    </a:cubicBezTo>
                    <a:cubicBezTo>
                      <a:pt x="152" y="8"/>
                      <a:pt x="150" y="7"/>
                      <a:pt x="148" y="6"/>
                    </a:cubicBezTo>
                    <a:cubicBezTo>
                      <a:pt x="147" y="6"/>
                      <a:pt x="147" y="6"/>
                      <a:pt x="147" y="6"/>
                    </a:cubicBezTo>
                    <a:cubicBezTo>
                      <a:pt x="147" y="5"/>
                      <a:pt x="146" y="5"/>
                      <a:pt x="146" y="5"/>
                    </a:cubicBezTo>
                    <a:cubicBezTo>
                      <a:pt x="145" y="4"/>
                      <a:pt x="143" y="3"/>
                      <a:pt x="142" y="2"/>
                    </a:cubicBezTo>
                    <a:cubicBezTo>
                      <a:pt x="140" y="1"/>
                      <a:pt x="138" y="1"/>
                      <a:pt x="135" y="1"/>
                    </a:cubicBezTo>
                    <a:cubicBezTo>
                      <a:pt x="134" y="1"/>
                      <a:pt x="133" y="1"/>
                      <a:pt x="1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25" name="Freeform 353">
                <a:extLst>
                  <a:ext uri="{FF2B5EF4-FFF2-40B4-BE49-F238E27FC236}">
                    <a16:creationId xmlns:a16="http://schemas.microsoft.com/office/drawing/2014/main" id="{6A37BA3A-F6A5-4993-8809-C9D2F05B2977}"/>
                  </a:ext>
                </a:extLst>
              </p:cNvPr>
              <p:cNvSpPr>
                <a:spLocks/>
              </p:cNvSpPr>
              <p:nvPr/>
            </p:nvSpPr>
            <p:spPr bwMode="auto">
              <a:xfrm>
                <a:off x="10797389" y="4820132"/>
                <a:ext cx="3685" cy="3685"/>
              </a:xfrm>
              <a:custGeom>
                <a:avLst/>
                <a:gdLst>
                  <a:gd name="T0" fmla="*/ 0 w 1"/>
                  <a:gd name="T1" fmla="*/ 0 h 1"/>
                  <a:gd name="T2" fmla="*/ 0 w 1"/>
                  <a:gd name="T3" fmla="*/ 0 h 1"/>
                  <a:gd name="T4" fmla="*/ 0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lnTo>
                      <a:pt x="0" y="0"/>
                    </a:lnTo>
                    <a:lnTo>
                      <a:pt x="0" y="1"/>
                    </a:lnTo>
                    <a:lnTo>
                      <a:pt x="1"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26" name="Freeform 354">
                <a:extLst>
                  <a:ext uri="{FF2B5EF4-FFF2-40B4-BE49-F238E27FC236}">
                    <a16:creationId xmlns:a16="http://schemas.microsoft.com/office/drawing/2014/main" id="{CCBEFE51-16B1-4849-B06E-E33F0A872500}"/>
                  </a:ext>
                </a:extLst>
              </p:cNvPr>
              <p:cNvSpPr>
                <a:spLocks/>
              </p:cNvSpPr>
              <p:nvPr/>
            </p:nvSpPr>
            <p:spPr bwMode="auto">
              <a:xfrm>
                <a:off x="10797389" y="4820132"/>
                <a:ext cx="3685" cy="3685"/>
              </a:xfrm>
              <a:custGeom>
                <a:avLst/>
                <a:gdLst>
                  <a:gd name="T0" fmla="*/ 0 w 1"/>
                  <a:gd name="T1" fmla="*/ 0 h 1"/>
                  <a:gd name="T2" fmla="*/ 0 w 1"/>
                  <a:gd name="T3" fmla="*/ 0 h 1"/>
                  <a:gd name="T4" fmla="*/ 0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lnTo>
                      <a:pt x="0" y="0"/>
                    </a:lnTo>
                    <a:lnTo>
                      <a:pt x="0" y="1"/>
                    </a:lnTo>
                    <a:lnTo>
                      <a:pt x="1" y="1"/>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27" name="Freeform 355">
                <a:extLst>
                  <a:ext uri="{FF2B5EF4-FFF2-40B4-BE49-F238E27FC236}">
                    <a16:creationId xmlns:a16="http://schemas.microsoft.com/office/drawing/2014/main" id="{F6E9E5EA-D04F-47D4-8C8D-1E6881D06D41}"/>
                  </a:ext>
                </a:extLst>
              </p:cNvPr>
              <p:cNvSpPr>
                <a:spLocks noEditPoints="1"/>
              </p:cNvSpPr>
              <p:nvPr/>
            </p:nvSpPr>
            <p:spPr bwMode="auto">
              <a:xfrm>
                <a:off x="9419156" y="4477416"/>
                <a:ext cx="1499842" cy="921279"/>
              </a:xfrm>
              <a:custGeom>
                <a:avLst/>
                <a:gdLst>
                  <a:gd name="T0" fmla="*/ 91 w 473"/>
                  <a:gd name="T1" fmla="*/ 13 h 290"/>
                  <a:gd name="T2" fmla="*/ 82 w 473"/>
                  <a:gd name="T3" fmla="*/ 1 h 290"/>
                  <a:gd name="T4" fmla="*/ 75 w 473"/>
                  <a:gd name="T5" fmla="*/ 11 h 290"/>
                  <a:gd name="T6" fmla="*/ 73 w 473"/>
                  <a:gd name="T7" fmla="*/ 30 h 290"/>
                  <a:gd name="T8" fmla="*/ 74 w 473"/>
                  <a:gd name="T9" fmla="*/ 39 h 290"/>
                  <a:gd name="T10" fmla="*/ 63 w 473"/>
                  <a:gd name="T11" fmla="*/ 50 h 290"/>
                  <a:gd name="T12" fmla="*/ 70 w 473"/>
                  <a:gd name="T13" fmla="*/ 12 h 290"/>
                  <a:gd name="T14" fmla="*/ 1 w 473"/>
                  <a:gd name="T15" fmla="*/ 30 h 290"/>
                  <a:gd name="T16" fmla="*/ 11 w 473"/>
                  <a:gd name="T17" fmla="*/ 152 h 290"/>
                  <a:gd name="T18" fmla="*/ 23 w 473"/>
                  <a:gd name="T19" fmla="*/ 151 h 290"/>
                  <a:gd name="T20" fmla="*/ 41 w 473"/>
                  <a:gd name="T21" fmla="*/ 124 h 290"/>
                  <a:gd name="T22" fmla="*/ 61 w 473"/>
                  <a:gd name="T23" fmla="*/ 112 h 290"/>
                  <a:gd name="T24" fmla="*/ 82 w 473"/>
                  <a:gd name="T25" fmla="*/ 110 h 290"/>
                  <a:gd name="T26" fmla="*/ 101 w 473"/>
                  <a:gd name="T27" fmla="*/ 118 h 290"/>
                  <a:gd name="T28" fmla="*/ 120 w 473"/>
                  <a:gd name="T29" fmla="*/ 142 h 290"/>
                  <a:gd name="T30" fmla="*/ 120 w 473"/>
                  <a:gd name="T31" fmla="*/ 152 h 290"/>
                  <a:gd name="T32" fmla="*/ 146 w 473"/>
                  <a:gd name="T33" fmla="*/ 157 h 290"/>
                  <a:gd name="T34" fmla="*/ 175 w 473"/>
                  <a:gd name="T35" fmla="*/ 180 h 290"/>
                  <a:gd name="T36" fmla="*/ 190 w 473"/>
                  <a:gd name="T37" fmla="*/ 202 h 290"/>
                  <a:gd name="T38" fmla="*/ 250 w 473"/>
                  <a:gd name="T39" fmla="*/ 241 h 290"/>
                  <a:gd name="T40" fmla="*/ 274 w 473"/>
                  <a:gd name="T41" fmla="*/ 255 h 290"/>
                  <a:gd name="T42" fmla="*/ 303 w 473"/>
                  <a:gd name="T43" fmla="*/ 268 h 290"/>
                  <a:gd name="T44" fmla="*/ 309 w 473"/>
                  <a:gd name="T45" fmla="*/ 284 h 290"/>
                  <a:gd name="T46" fmla="*/ 324 w 473"/>
                  <a:gd name="T47" fmla="*/ 289 h 290"/>
                  <a:gd name="T48" fmla="*/ 330 w 473"/>
                  <a:gd name="T49" fmla="*/ 282 h 290"/>
                  <a:gd name="T50" fmla="*/ 343 w 473"/>
                  <a:gd name="T51" fmla="*/ 258 h 290"/>
                  <a:gd name="T52" fmla="*/ 334 w 473"/>
                  <a:gd name="T53" fmla="*/ 236 h 290"/>
                  <a:gd name="T54" fmla="*/ 324 w 473"/>
                  <a:gd name="T55" fmla="*/ 212 h 290"/>
                  <a:gd name="T56" fmla="*/ 350 w 473"/>
                  <a:gd name="T57" fmla="*/ 211 h 290"/>
                  <a:gd name="T58" fmla="*/ 366 w 473"/>
                  <a:gd name="T59" fmla="*/ 189 h 290"/>
                  <a:gd name="T60" fmla="*/ 376 w 473"/>
                  <a:gd name="T61" fmla="*/ 170 h 290"/>
                  <a:gd name="T62" fmla="*/ 385 w 473"/>
                  <a:gd name="T63" fmla="*/ 174 h 290"/>
                  <a:gd name="T64" fmla="*/ 398 w 473"/>
                  <a:gd name="T65" fmla="*/ 168 h 290"/>
                  <a:gd name="T66" fmla="*/ 419 w 473"/>
                  <a:gd name="T67" fmla="*/ 178 h 290"/>
                  <a:gd name="T68" fmla="*/ 425 w 473"/>
                  <a:gd name="T69" fmla="*/ 187 h 290"/>
                  <a:gd name="T70" fmla="*/ 448 w 473"/>
                  <a:gd name="T71" fmla="*/ 189 h 290"/>
                  <a:gd name="T72" fmla="*/ 456 w 473"/>
                  <a:gd name="T73" fmla="*/ 181 h 290"/>
                  <a:gd name="T74" fmla="*/ 461 w 473"/>
                  <a:gd name="T75" fmla="*/ 176 h 290"/>
                  <a:gd name="T76" fmla="*/ 470 w 473"/>
                  <a:gd name="T77" fmla="*/ 177 h 290"/>
                  <a:gd name="T78" fmla="*/ 464 w 473"/>
                  <a:gd name="T79" fmla="*/ 170 h 290"/>
                  <a:gd name="T80" fmla="*/ 454 w 473"/>
                  <a:gd name="T81" fmla="*/ 171 h 290"/>
                  <a:gd name="T82" fmla="*/ 446 w 473"/>
                  <a:gd name="T83" fmla="*/ 158 h 290"/>
                  <a:gd name="T84" fmla="*/ 439 w 473"/>
                  <a:gd name="T85" fmla="*/ 162 h 290"/>
                  <a:gd name="T86" fmla="*/ 412 w 473"/>
                  <a:gd name="T87" fmla="*/ 155 h 290"/>
                  <a:gd name="T88" fmla="*/ 402 w 473"/>
                  <a:gd name="T89" fmla="*/ 152 h 290"/>
                  <a:gd name="T90" fmla="*/ 383 w 473"/>
                  <a:gd name="T91" fmla="*/ 151 h 290"/>
                  <a:gd name="T92" fmla="*/ 360 w 473"/>
                  <a:gd name="T93" fmla="*/ 171 h 290"/>
                  <a:gd name="T94" fmla="*/ 353 w 473"/>
                  <a:gd name="T95" fmla="*/ 183 h 290"/>
                  <a:gd name="T96" fmla="*/ 333 w 473"/>
                  <a:gd name="T97" fmla="*/ 172 h 290"/>
                  <a:gd name="T98" fmla="*/ 333 w 473"/>
                  <a:gd name="T99" fmla="*/ 163 h 290"/>
                  <a:gd name="T100" fmla="*/ 297 w 473"/>
                  <a:gd name="T101" fmla="*/ 155 h 290"/>
                  <a:gd name="T102" fmla="*/ 290 w 473"/>
                  <a:gd name="T103" fmla="*/ 135 h 290"/>
                  <a:gd name="T104" fmla="*/ 279 w 473"/>
                  <a:gd name="T105" fmla="*/ 120 h 290"/>
                  <a:gd name="T106" fmla="*/ 272 w 473"/>
                  <a:gd name="T107" fmla="*/ 98 h 290"/>
                  <a:gd name="T108" fmla="*/ 250 w 473"/>
                  <a:gd name="T109" fmla="*/ 76 h 290"/>
                  <a:gd name="T110" fmla="*/ 228 w 473"/>
                  <a:gd name="T111" fmla="*/ 81 h 290"/>
                  <a:gd name="T112" fmla="*/ 167 w 473"/>
                  <a:gd name="T113" fmla="*/ 83 h 290"/>
                  <a:gd name="T114" fmla="*/ 117 w 473"/>
                  <a:gd name="T115" fmla="*/ 39 h 290"/>
                  <a:gd name="T116" fmla="*/ 104 w 473"/>
                  <a:gd name="T117" fmla="*/ 60 h 290"/>
                  <a:gd name="T118" fmla="*/ 95 w 473"/>
                  <a:gd name="T119" fmla="*/ 23 h 290"/>
                  <a:gd name="T120" fmla="*/ 95 w 473"/>
                  <a:gd name="T121" fmla="*/ 19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73" h="290">
                    <a:moveTo>
                      <a:pt x="91" y="13"/>
                    </a:moveTo>
                    <a:cubicBezTo>
                      <a:pt x="91" y="13"/>
                      <a:pt x="91" y="13"/>
                      <a:pt x="91" y="13"/>
                    </a:cubicBezTo>
                    <a:cubicBezTo>
                      <a:pt x="91" y="13"/>
                      <a:pt x="91" y="13"/>
                      <a:pt x="91" y="13"/>
                    </a:cubicBezTo>
                    <a:cubicBezTo>
                      <a:pt x="91" y="13"/>
                      <a:pt x="91" y="13"/>
                      <a:pt x="91" y="13"/>
                    </a:cubicBezTo>
                    <a:moveTo>
                      <a:pt x="91" y="16"/>
                    </a:moveTo>
                    <a:cubicBezTo>
                      <a:pt x="91" y="16"/>
                      <a:pt x="91" y="16"/>
                      <a:pt x="91" y="15"/>
                    </a:cubicBezTo>
                    <a:cubicBezTo>
                      <a:pt x="91" y="14"/>
                      <a:pt x="91" y="12"/>
                      <a:pt x="91" y="10"/>
                    </a:cubicBezTo>
                    <a:cubicBezTo>
                      <a:pt x="93" y="11"/>
                      <a:pt x="91" y="11"/>
                      <a:pt x="91" y="13"/>
                    </a:cubicBezTo>
                    <a:cubicBezTo>
                      <a:pt x="91" y="13"/>
                      <a:pt x="91" y="14"/>
                      <a:pt x="91" y="14"/>
                    </a:cubicBezTo>
                    <a:cubicBezTo>
                      <a:pt x="91" y="15"/>
                      <a:pt x="91" y="16"/>
                      <a:pt x="91" y="16"/>
                    </a:cubicBezTo>
                    <a:moveTo>
                      <a:pt x="85" y="0"/>
                    </a:moveTo>
                    <a:cubicBezTo>
                      <a:pt x="84" y="0"/>
                      <a:pt x="84" y="1"/>
                      <a:pt x="84" y="3"/>
                    </a:cubicBezTo>
                    <a:cubicBezTo>
                      <a:pt x="84" y="4"/>
                      <a:pt x="84" y="5"/>
                      <a:pt x="83" y="5"/>
                    </a:cubicBezTo>
                    <a:cubicBezTo>
                      <a:pt x="83" y="5"/>
                      <a:pt x="83" y="5"/>
                      <a:pt x="83" y="5"/>
                    </a:cubicBezTo>
                    <a:cubicBezTo>
                      <a:pt x="82" y="4"/>
                      <a:pt x="84" y="2"/>
                      <a:pt x="82" y="2"/>
                    </a:cubicBezTo>
                    <a:cubicBezTo>
                      <a:pt x="82" y="1"/>
                      <a:pt x="82" y="1"/>
                      <a:pt x="82" y="1"/>
                    </a:cubicBezTo>
                    <a:cubicBezTo>
                      <a:pt x="81" y="1"/>
                      <a:pt x="81" y="4"/>
                      <a:pt x="81" y="5"/>
                    </a:cubicBezTo>
                    <a:cubicBezTo>
                      <a:pt x="81" y="7"/>
                      <a:pt x="79" y="9"/>
                      <a:pt x="77" y="10"/>
                    </a:cubicBezTo>
                    <a:cubicBezTo>
                      <a:pt x="77" y="10"/>
                      <a:pt x="77" y="10"/>
                      <a:pt x="77" y="10"/>
                    </a:cubicBezTo>
                    <a:cubicBezTo>
                      <a:pt x="76" y="11"/>
                      <a:pt x="76" y="11"/>
                      <a:pt x="76" y="11"/>
                    </a:cubicBezTo>
                    <a:cubicBezTo>
                      <a:pt x="75" y="11"/>
                      <a:pt x="75" y="11"/>
                      <a:pt x="75" y="11"/>
                    </a:cubicBezTo>
                    <a:cubicBezTo>
                      <a:pt x="75" y="11"/>
                      <a:pt x="75" y="11"/>
                      <a:pt x="75" y="11"/>
                    </a:cubicBezTo>
                    <a:cubicBezTo>
                      <a:pt x="75" y="11"/>
                      <a:pt x="75" y="11"/>
                      <a:pt x="75" y="11"/>
                    </a:cubicBezTo>
                    <a:cubicBezTo>
                      <a:pt x="75" y="11"/>
                      <a:pt x="75" y="11"/>
                      <a:pt x="75" y="11"/>
                    </a:cubicBezTo>
                    <a:cubicBezTo>
                      <a:pt x="76" y="11"/>
                      <a:pt x="76" y="11"/>
                      <a:pt x="76" y="11"/>
                    </a:cubicBezTo>
                    <a:cubicBezTo>
                      <a:pt x="74" y="13"/>
                      <a:pt x="74" y="13"/>
                      <a:pt x="74" y="13"/>
                    </a:cubicBezTo>
                    <a:cubicBezTo>
                      <a:pt x="74" y="13"/>
                      <a:pt x="74" y="13"/>
                      <a:pt x="74" y="13"/>
                    </a:cubicBezTo>
                    <a:cubicBezTo>
                      <a:pt x="73" y="15"/>
                      <a:pt x="72" y="17"/>
                      <a:pt x="73" y="20"/>
                    </a:cubicBezTo>
                    <a:cubicBezTo>
                      <a:pt x="74" y="21"/>
                      <a:pt x="76" y="22"/>
                      <a:pt x="75" y="23"/>
                    </a:cubicBezTo>
                    <a:cubicBezTo>
                      <a:pt x="75" y="24"/>
                      <a:pt x="73" y="26"/>
                      <a:pt x="72" y="27"/>
                    </a:cubicBezTo>
                    <a:cubicBezTo>
                      <a:pt x="72" y="28"/>
                      <a:pt x="71" y="30"/>
                      <a:pt x="72" y="30"/>
                    </a:cubicBezTo>
                    <a:cubicBezTo>
                      <a:pt x="72" y="30"/>
                      <a:pt x="73" y="30"/>
                      <a:pt x="73" y="30"/>
                    </a:cubicBezTo>
                    <a:cubicBezTo>
                      <a:pt x="74" y="29"/>
                      <a:pt x="76" y="28"/>
                      <a:pt x="76" y="28"/>
                    </a:cubicBezTo>
                    <a:cubicBezTo>
                      <a:pt x="76" y="28"/>
                      <a:pt x="76" y="28"/>
                      <a:pt x="76" y="29"/>
                    </a:cubicBezTo>
                    <a:cubicBezTo>
                      <a:pt x="77" y="31"/>
                      <a:pt x="75" y="31"/>
                      <a:pt x="75" y="31"/>
                    </a:cubicBezTo>
                    <a:cubicBezTo>
                      <a:pt x="75" y="32"/>
                      <a:pt x="75" y="33"/>
                      <a:pt x="75" y="34"/>
                    </a:cubicBezTo>
                    <a:cubicBezTo>
                      <a:pt x="75" y="38"/>
                      <a:pt x="77" y="37"/>
                      <a:pt x="77" y="39"/>
                    </a:cubicBezTo>
                    <a:cubicBezTo>
                      <a:pt x="76" y="39"/>
                      <a:pt x="76" y="38"/>
                      <a:pt x="76" y="38"/>
                    </a:cubicBezTo>
                    <a:cubicBezTo>
                      <a:pt x="76" y="38"/>
                      <a:pt x="75" y="39"/>
                      <a:pt x="75" y="39"/>
                    </a:cubicBezTo>
                    <a:cubicBezTo>
                      <a:pt x="75" y="39"/>
                      <a:pt x="74" y="39"/>
                      <a:pt x="74" y="39"/>
                    </a:cubicBezTo>
                    <a:cubicBezTo>
                      <a:pt x="74" y="39"/>
                      <a:pt x="74" y="39"/>
                      <a:pt x="73" y="39"/>
                    </a:cubicBezTo>
                    <a:cubicBezTo>
                      <a:pt x="73" y="39"/>
                      <a:pt x="72" y="37"/>
                      <a:pt x="71" y="37"/>
                    </a:cubicBezTo>
                    <a:cubicBezTo>
                      <a:pt x="71" y="37"/>
                      <a:pt x="71" y="38"/>
                      <a:pt x="70" y="39"/>
                    </a:cubicBezTo>
                    <a:cubicBezTo>
                      <a:pt x="70" y="40"/>
                      <a:pt x="70" y="41"/>
                      <a:pt x="71" y="41"/>
                    </a:cubicBezTo>
                    <a:cubicBezTo>
                      <a:pt x="71" y="41"/>
                      <a:pt x="71" y="40"/>
                      <a:pt x="71" y="40"/>
                    </a:cubicBezTo>
                    <a:cubicBezTo>
                      <a:pt x="72" y="40"/>
                      <a:pt x="72" y="40"/>
                      <a:pt x="72" y="40"/>
                    </a:cubicBezTo>
                    <a:cubicBezTo>
                      <a:pt x="72" y="40"/>
                      <a:pt x="73" y="41"/>
                      <a:pt x="72" y="43"/>
                    </a:cubicBezTo>
                    <a:cubicBezTo>
                      <a:pt x="71" y="47"/>
                      <a:pt x="66" y="50"/>
                      <a:pt x="63" y="50"/>
                    </a:cubicBezTo>
                    <a:cubicBezTo>
                      <a:pt x="61" y="50"/>
                      <a:pt x="59" y="48"/>
                      <a:pt x="60" y="45"/>
                    </a:cubicBezTo>
                    <a:cubicBezTo>
                      <a:pt x="61" y="43"/>
                      <a:pt x="62" y="43"/>
                      <a:pt x="62" y="42"/>
                    </a:cubicBezTo>
                    <a:cubicBezTo>
                      <a:pt x="62" y="40"/>
                      <a:pt x="61" y="39"/>
                      <a:pt x="60" y="37"/>
                    </a:cubicBezTo>
                    <a:cubicBezTo>
                      <a:pt x="59" y="33"/>
                      <a:pt x="61" y="32"/>
                      <a:pt x="62" y="29"/>
                    </a:cubicBezTo>
                    <a:cubicBezTo>
                      <a:pt x="62" y="27"/>
                      <a:pt x="63" y="23"/>
                      <a:pt x="64" y="21"/>
                    </a:cubicBezTo>
                    <a:cubicBezTo>
                      <a:pt x="65" y="20"/>
                      <a:pt x="65" y="19"/>
                      <a:pt x="66" y="18"/>
                    </a:cubicBezTo>
                    <a:cubicBezTo>
                      <a:pt x="67" y="16"/>
                      <a:pt x="68" y="16"/>
                      <a:pt x="69" y="14"/>
                    </a:cubicBezTo>
                    <a:cubicBezTo>
                      <a:pt x="69" y="14"/>
                      <a:pt x="69" y="13"/>
                      <a:pt x="70" y="12"/>
                    </a:cubicBezTo>
                    <a:cubicBezTo>
                      <a:pt x="69" y="12"/>
                      <a:pt x="69" y="12"/>
                      <a:pt x="69" y="12"/>
                    </a:cubicBezTo>
                    <a:cubicBezTo>
                      <a:pt x="66" y="13"/>
                      <a:pt x="66" y="13"/>
                      <a:pt x="66" y="13"/>
                    </a:cubicBezTo>
                    <a:cubicBezTo>
                      <a:pt x="64" y="13"/>
                      <a:pt x="62" y="14"/>
                      <a:pt x="60" y="14"/>
                    </a:cubicBezTo>
                    <a:cubicBezTo>
                      <a:pt x="58" y="15"/>
                      <a:pt x="58" y="15"/>
                      <a:pt x="58" y="15"/>
                    </a:cubicBezTo>
                    <a:cubicBezTo>
                      <a:pt x="50" y="17"/>
                      <a:pt x="50" y="17"/>
                      <a:pt x="50" y="17"/>
                    </a:cubicBezTo>
                    <a:cubicBezTo>
                      <a:pt x="36" y="21"/>
                      <a:pt x="23" y="24"/>
                      <a:pt x="10" y="28"/>
                    </a:cubicBezTo>
                    <a:cubicBezTo>
                      <a:pt x="9" y="28"/>
                      <a:pt x="8" y="28"/>
                      <a:pt x="7" y="29"/>
                    </a:cubicBezTo>
                    <a:cubicBezTo>
                      <a:pt x="5" y="29"/>
                      <a:pt x="2" y="30"/>
                      <a:pt x="1" y="30"/>
                    </a:cubicBezTo>
                    <a:cubicBezTo>
                      <a:pt x="0" y="31"/>
                      <a:pt x="0" y="31"/>
                      <a:pt x="0" y="31"/>
                    </a:cubicBezTo>
                    <a:cubicBezTo>
                      <a:pt x="0" y="31"/>
                      <a:pt x="0" y="31"/>
                      <a:pt x="0" y="31"/>
                    </a:cubicBezTo>
                    <a:cubicBezTo>
                      <a:pt x="0" y="50"/>
                      <a:pt x="0" y="69"/>
                      <a:pt x="0" y="88"/>
                    </a:cubicBezTo>
                    <a:cubicBezTo>
                      <a:pt x="0" y="151"/>
                      <a:pt x="0" y="151"/>
                      <a:pt x="0" y="151"/>
                    </a:cubicBezTo>
                    <a:cubicBezTo>
                      <a:pt x="8" y="151"/>
                      <a:pt x="8" y="151"/>
                      <a:pt x="8" y="151"/>
                    </a:cubicBezTo>
                    <a:cubicBezTo>
                      <a:pt x="7" y="152"/>
                      <a:pt x="7" y="152"/>
                      <a:pt x="7" y="152"/>
                    </a:cubicBezTo>
                    <a:cubicBezTo>
                      <a:pt x="7" y="152"/>
                      <a:pt x="7" y="152"/>
                      <a:pt x="7" y="152"/>
                    </a:cubicBezTo>
                    <a:cubicBezTo>
                      <a:pt x="8" y="152"/>
                      <a:pt x="10" y="152"/>
                      <a:pt x="11" y="152"/>
                    </a:cubicBezTo>
                    <a:cubicBezTo>
                      <a:pt x="11" y="152"/>
                      <a:pt x="12" y="152"/>
                      <a:pt x="12" y="152"/>
                    </a:cubicBezTo>
                    <a:cubicBezTo>
                      <a:pt x="12" y="152"/>
                      <a:pt x="12" y="152"/>
                      <a:pt x="12" y="152"/>
                    </a:cubicBezTo>
                    <a:cubicBezTo>
                      <a:pt x="12" y="152"/>
                      <a:pt x="13" y="152"/>
                      <a:pt x="13" y="152"/>
                    </a:cubicBezTo>
                    <a:cubicBezTo>
                      <a:pt x="13" y="152"/>
                      <a:pt x="13" y="152"/>
                      <a:pt x="13" y="152"/>
                    </a:cubicBezTo>
                    <a:cubicBezTo>
                      <a:pt x="14" y="152"/>
                      <a:pt x="15" y="152"/>
                      <a:pt x="17" y="152"/>
                    </a:cubicBezTo>
                    <a:cubicBezTo>
                      <a:pt x="19" y="152"/>
                      <a:pt x="19" y="152"/>
                      <a:pt x="19" y="152"/>
                    </a:cubicBezTo>
                    <a:cubicBezTo>
                      <a:pt x="21" y="151"/>
                      <a:pt x="22" y="151"/>
                      <a:pt x="23" y="151"/>
                    </a:cubicBezTo>
                    <a:cubicBezTo>
                      <a:pt x="23" y="151"/>
                      <a:pt x="23" y="151"/>
                      <a:pt x="23" y="151"/>
                    </a:cubicBezTo>
                    <a:cubicBezTo>
                      <a:pt x="23" y="150"/>
                      <a:pt x="22" y="148"/>
                      <a:pt x="22" y="146"/>
                    </a:cubicBezTo>
                    <a:cubicBezTo>
                      <a:pt x="21" y="144"/>
                      <a:pt x="22" y="143"/>
                      <a:pt x="23" y="140"/>
                    </a:cubicBezTo>
                    <a:cubicBezTo>
                      <a:pt x="23" y="139"/>
                      <a:pt x="23" y="138"/>
                      <a:pt x="24" y="137"/>
                    </a:cubicBezTo>
                    <a:cubicBezTo>
                      <a:pt x="25" y="134"/>
                      <a:pt x="26" y="130"/>
                      <a:pt x="28" y="128"/>
                    </a:cubicBezTo>
                    <a:cubicBezTo>
                      <a:pt x="30" y="127"/>
                      <a:pt x="30" y="127"/>
                      <a:pt x="30" y="127"/>
                    </a:cubicBezTo>
                    <a:cubicBezTo>
                      <a:pt x="30" y="127"/>
                      <a:pt x="31" y="126"/>
                      <a:pt x="32" y="126"/>
                    </a:cubicBezTo>
                    <a:cubicBezTo>
                      <a:pt x="34" y="125"/>
                      <a:pt x="37" y="125"/>
                      <a:pt x="40" y="124"/>
                    </a:cubicBezTo>
                    <a:cubicBezTo>
                      <a:pt x="41" y="124"/>
                      <a:pt x="41" y="124"/>
                      <a:pt x="41" y="124"/>
                    </a:cubicBezTo>
                    <a:cubicBezTo>
                      <a:pt x="42" y="124"/>
                      <a:pt x="43" y="124"/>
                      <a:pt x="44" y="124"/>
                    </a:cubicBezTo>
                    <a:cubicBezTo>
                      <a:pt x="47" y="123"/>
                      <a:pt x="47" y="122"/>
                      <a:pt x="48" y="121"/>
                    </a:cubicBezTo>
                    <a:cubicBezTo>
                      <a:pt x="48" y="120"/>
                      <a:pt x="49" y="119"/>
                      <a:pt x="49" y="119"/>
                    </a:cubicBezTo>
                    <a:cubicBezTo>
                      <a:pt x="50" y="116"/>
                      <a:pt x="51" y="112"/>
                      <a:pt x="55" y="111"/>
                    </a:cubicBezTo>
                    <a:cubicBezTo>
                      <a:pt x="55" y="111"/>
                      <a:pt x="56" y="111"/>
                      <a:pt x="56" y="111"/>
                    </a:cubicBezTo>
                    <a:cubicBezTo>
                      <a:pt x="57" y="111"/>
                      <a:pt x="58" y="111"/>
                      <a:pt x="58" y="112"/>
                    </a:cubicBezTo>
                    <a:cubicBezTo>
                      <a:pt x="59" y="112"/>
                      <a:pt x="60" y="112"/>
                      <a:pt x="60" y="112"/>
                    </a:cubicBezTo>
                    <a:cubicBezTo>
                      <a:pt x="61" y="112"/>
                      <a:pt x="61" y="112"/>
                      <a:pt x="61" y="112"/>
                    </a:cubicBezTo>
                    <a:cubicBezTo>
                      <a:pt x="62" y="109"/>
                      <a:pt x="64" y="107"/>
                      <a:pt x="66" y="105"/>
                    </a:cubicBezTo>
                    <a:cubicBezTo>
                      <a:pt x="67" y="104"/>
                      <a:pt x="68" y="103"/>
                      <a:pt x="69" y="103"/>
                    </a:cubicBezTo>
                    <a:cubicBezTo>
                      <a:pt x="71" y="100"/>
                      <a:pt x="71" y="100"/>
                      <a:pt x="71" y="100"/>
                    </a:cubicBezTo>
                    <a:cubicBezTo>
                      <a:pt x="74" y="102"/>
                      <a:pt x="74" y="102"/>
                      <a:pt x="74" y="102"/>
                    </a:cubicBezTo>
                    <a:cubicBezTo>
                      <a:pt x="74" y="103"/>
                      <a:pt x="75" y="103"/>
                      <a:pt x="75" y="104"/>
                    </a:cubicBezTo>
                    <a:cubicBezTo>
                      <a:pt x="77" y="105"/>
                      <a:pt x="77" y="105"/>
                      <a:pt x="77" y="105"/>
                    </a:cubicBezTo>
                    <a:cubicBezTo>
                      <a:pt x="78" y="107"/>
                      <a:pt x="80" y="109"/>
                      <a:pt x="81" y="110"/>
                    </a:cubicBezTo>
                    <a:cubicBezTo>
                      <a:pt x="82" y="110"/>
                      <a:pt x="82" y="110"/>
                      <a:pt x="82" y="110"/>
                    </a:cubicBezTo>
                    <a:cubicBezTo>
                      <a:pt x="82" y="110"/>
                      <a:pt x="83" y="110"/>
                      <a:pt x="83" y="110"/>
                    </a:cubicBezTo>
                    <a:cubicBezTo>
                      <a:pt x="84" y="110"/>
                      <a:pt x="84" y="110"/>
                      <a:pt x="85" y="110"/>
                    </a:cubicBezTo>
                    <a:cubicBezTo>
                      <a:pt x="87" y="110"/>
                      <a:pt x="88" y="111"/>
                      <a:pt x="89" y="113"/>
                    </a:cubicBezTo>
                    <a:cubicBezTo>
                      <a:pt x="92" y="116"/>
                      <a:pt x="92" y="116"/>
                      <a:pt x="92" y="116"/>
                    </a:cubicBezTo>
                    <a:cubicBezTo>
                      <a:pt x="92" y="116"/>
                      <a:pt x="92" y="117"/>
                      <a:pt x="93" y="117"/>
                    </a:cubicBezTo>
                    <a:cubicBezTo>
                      <a:pt x="93" y="117"/>
                      <a:pt x="93" y="117"/>
                      <a:pt x="93" y="117"/>
                    </a:cubicBezTo>
                    <a:cubicBezTo>
                      <a:pt x="94" y="118"/>
                      <a:pt x="94" y="118"/>
                      <a:pt x="94" y="118"/>
                    </a:cubicBezTo>
                    <a:cubicBezTo>
                      <a:pt x="96" y="118"/>
                      <a:pt x="99" y="118"/>
                      <a:pt x="101" y="118"/>
                    </a:cubicBezTo>
                    <a:cubicBezTo>
                      <a:pt x="102" y="118"/>
                      <a:pt x="102" y="118"/>
                      <a:pt x="102" y="118"/>
                    </a:cubicBezTo>
                    <a:cubicBezTo>
                      <a:pt x="106" y="118"/>
                      <a:pt x="110" y="121"/>
                      <a:pt x="114" y="122"/>
                    </a:cubicBezTo>
                    <a:cubicBezTo>
                      <a:pt x="120" y="126"/>
                      <a:pt x="120" y="126"/>
                      <a:pt x="120" y="126"/>
                    </a:cubicBezTo>
                    <a:cubicBezTo>
                      <a:pt x="114" y="129"/>
                      <a:pt x="114" y="129"/>
                      <a:pt x="114" y="129"/>
                    </a:cubicBezTo>
                    <a:cubicBezTo>
                      <a:pt x="114" y="129"/>
                      <a:pt x="115" y="131"/>
                      <a:pt x="114" y="132"/>
                    </a:cubicBezTo>
                    <a:cubicBezTo>
                      <a:pt x="117" y="133"/>
                      <a:pt x="119" y="135"/>
                      <a:pt x="121" y="137"/>
                    </a:cubicBezTo>
                    <a:cubicBezTo>
                      <a:pt x="124" y="140"/>
                      <a:pt x="124" y="140"/>
                      <a:pt x="124" y="140"/>
                    </a:cubicBezTo>
                    <a:cubicBezTo>
                      <a:pt x="120" y="142"/>
                      <a:pt x="120" y="142"/>
                      <a:pt x="120" y="142"/>
                    </a:cubicBezTo>
                    <a:cubicBezTo>
                      <a:pt x="119" y="143"/>
                      <a:pt x="119" y="143"/>
                      <a:pt x="118" y="143"/>
                    </a:cubicBezTo>
                    <a:cubicBezTo>
                      <a:pt x="118" y="144"/>
                      <a:pt x="118" y="145"/>
                      <a:pt x="118" y="146"/>
                    </a:cubicBezTo>
                    <a:cubicBezTo>
                      <a:pt x="118" y="147"/>
                      <a:pt x="118" y="147"/>
                      <a:pt x="118" y="147"/>
                    </a:cubicBezTo>
                    <a:cubicBezTo>
                      <a:pt x="118" y="148"/>
                      <a:pt x="118" y="148"/>
                      <a:pt x="117" y="149"/>
                    </a:cubicBezTo>
                    <a:cubicBezTo>
                      <a:pt x="117" y="149"/>
                      <a:pt x="117" y="149"/>
                      <a:pt x="117" y="149"/>
                    </a:cubicBezTo>
                    <a:cubicBezTo>
                      <a:pt x="117" y="150"/>
                      <a:pt x="117" y="150"/>
                      <a:pt x="117" y="150"/>
                    </a:cubicBezTo>
                    <a:cubicBezTo>
                      <a:pt x="119" y="151"/>
                      <a:pt x="119" y="151"/>
                      <a:pt x="119" y="151"/>
                    </a:cubicBezTo>
                    <a:cubicBezTo>
                      <a:pt x="119" y="152"/>
                      <a:pt x="120" y="152"/>
                      <a:pt x="120" y="152"/>
                    </a:cubicBezTo>
                    <a:cubicBezTo>
                      <a:pt x="121" y="153"/>
                      <a:pt x="121" y="153"/>
                      <a:pt x="121" y="153"/>
                    </a:cubicBezTo>
                    <a:cubicBezTo>
                      <a:pt x="123" y="154"/>
                      <a:pt x="124" y="154"/>
                      <a:pt x="125" y="154"/>
                    </a:cubicBezTo>
                    <a:cubicBezTo>
                      <a:pt x="125" y="154"/>
                      <a:pt x="126" y="154"/>
                      <a:pt x="127" y="154"/>
                    </a:cubicBezTo>
                    <a:cubicBezTo>
                      <a:pt x="127" y="154"/>
                      <a:pt x="128" y="154"/>
                      <a:pt x="129" y="154"/>
                    </a:cubicBezTo>
                    <a:cubicBezTo>
                      <a:pt x="130" y="154"/>
                      <a:pt x="130" y="154"/>
                      <a:pt x="131" y="154"/>
                    </a:cubicBezTo>
                    <a:cubicBezTo>
                      <a:pt x="134" y="154"/>
                      <a:pt x="137" y="155"/>
                      <a:pt x="140" y="155"/>
                    </a:cubicBezTo>
                    <a:cubicBezTo>
                      <a:pt x="141" y="156"/>
                      <a:pt x="142" y="156"/>
                      <a:pt x="144" y="156"/>
                    </a:cubicBezTo>
                    <a:cubicBezTo>
                      <a:pt x="146" y="157"/>
                      <a:pt x="146" y="157"/>
                      <a:pt x="146" y="157"/>
                    </a:cubicBezTo>
                    <a:cubicBezTo>
                      <a:pt x="146" y="157"/>
                      <a:pt x="147" y="156"/>
                      <a:pt x="147" y="156"/>
                    </a:cubicBezTo>
                    <a:cubicBezTo>
                      <a:pt x="147" y="155"/>
                      <a:pt x="148" y="155"/>
                      <a:pt x="148" y="154"/>
                    </a:cubicBezTo>
                    <a:cubicBezTo>
                      <a:pt x="149" y="153"/>
                      <a:pt x="150" y="153"/>
                      <a:pt x="151" y="152"/>
                    </a:cubicBezTo>
                    <a:cubicBezTo>
                      <a:pt x="152" y="152"/>
                      <a:pt x="152" y="152"/>
                      <a:pt x="153" y="152"/>
                    </a:cubicBezTo>
                    <a:cubicBezTo>
                      <a:pt x="156" y="152"/>
                      <a:pt x="159" y="154"/>
                      <a:pt x="162" y="157"/>
                    </a:cubicBezTo>
                    <a:cubicBezTo>
                      <a:pt x="167" y="161"/>
                      <a:pt x="170" y="169"/>
                      <a:pt x="173" y="175"/>
                    </a:cubicBezTo>
                    <a:cubicBezTo>
                      <a:pt x="174" y="176"/>
                      <a:pt x="174" y="176"/>
                      <a:pt x="174" y="176"/>
                    </a:cubicBezTo>
                    <a:cubicBezTo>
                      <a:pt x="174" y="178"/>
                      <a:pt x="175" y="179"/>
                      <a:pt x="175" y="180"/>
                    </a:cubicBezTo>
                    <a:cubicBezTo>
                      <a:pt x="176" y="181"/>
                      <a:pt x="176" y="182"/>
                      <a:pt x="177" y="183"/>
                    </a:cubicBezTo>
                    <a:cubicBezTo>
                      <a:pt x="179" y="184"/>
                      <a:pt x="181" y="186"/>
                      <a:pt x="182" y="189"/>
                    </a:cubicBezTo>
                    <a:cubicBezTo>
                      <a:pt x="182" y="189"/>
                      <a:pt x="182" y="189"/>
                      <a:pt x="182" y="190"/>
                    </a:cubicBezTo>
                    <a:cubicBezTo>
                      <a:pt x="182" y="191"/>
                      <a:pt x="183" y="192"/>
                      <a:pt x="183" y="193"/>
                    </a:cubicBezTo>
                    <a:cubicBezTo>
                      <a:pt x="183" y="193"/>
                      <a:pt x="183" y="193"/>
                      <a:pt x="183" y="193"/>
                    </a:cubicBezTo>
                    <a:cubicBezTo>
                      <a:pt x="183" y="195"/>
                      <a:pt x="184" y="196"/>
                      <a:pt x="184" y="198"/>
                    </a:cubicBezTo>
                    <a:cubicBezTo>
                      <a:pt x="185" y="199"/>
                      <a:pt x="185" y="199"/>
                      <a:pt x="185" y="199"/>
                    </a:cubicBezTo>
                    <a:cubicBezTo>
                      <a:pt x="186" y="200"/>
                      <a:pt x="188" y="201"/>
                      <a:pt x="190" y="202"/>
                    </a:cubicBezTo>
                    <a:cubicBezTo>
                      <a:pt x="191" y="203"/>
                      <a:pt x="192" y="203"/>
                      <a:pt x="193" y="204"/>
                    </a:cubicBezTo>
                    <a:cubicBezTo>
                      <a:pt x="197" y="207"/>
                      <a:pt x="197" y="207"/>
                      <a:pt x="197" y="207"/>
                    </a:cubicBezTo>
                    <a:cubicBezTo>
                      <a:pt x="199" y="209"/>
                      <a:pt x="201" y="210"/>
                      <a:pt x="202" y="211"/>
                    </a:cubicBezTo>
                    <a:cubicBezTo>
                      <a:pt x="206" y="214"/>
                      <a:pt x="211" y="218"/>
                      <a:pt x="216" y="220"/>
                    </a:cubicBezTo>
                    <a:cubicBezTo>
                      <a:pt x="217" y="221"/>
                      <a:pt x="218" y="222"/>
                      <a:pt x="220" y="222"/>
                    </a:cubicBezTo>
                    <a:cubicBezTo>
                      <a:pt x="223" y="224"/>
                      <a:pt x="223" y="224"/>
                      <a:pt x="223" y="224"/>
                    </a:cubicBezTo>
                    <a:cubicBezTo>
                      <a:pt x="228" y="226"/>
                      <a:pt x="235" y="229"/>
                      <a:pt x="239" y="234"/>
                    </a:cubicBezTo>
                    <a:cubicBezTo>
                      <a:pt x="242" y="237"/>
                      <a:pt x="246" y="239"/>
                      <a:pt x="250" y="241"/>
                    </a:cubicBezTo>
                    <a:cubicBezTo>
                      <a:pt x="253" y="243"/>
                      <a:pt x="253" y="243"/>
                      <a:pt x="253" y="243"/>
                    </a:cubicBezTo>
                    <a:cubicBezTo>
                      <a:pt x="254" y="243"/>
                      <a:pt x="256" y="244"/>
                      <a:pt x="257" y="245"/>
                    </a:cubicBezTo>
                    <a:cubicBezTo>
                      <a:pt x="259" y="246"/>
                      <a:pt x="261" y="248"/>
                      <a:pt x="264" y="249"/>
                    </a:cubicBezTo>
                    <a:cubicBezTo>
                      <a:pt x="265" y="250"/>
                      <a:pt x="265" y="250"/>
                      <a:pt x="265" y="250"/>
                    </a:cubicBezTo>
                    <a:cubicBezTo>
                      <a:pt x="266" y="251"/>
                      <a:pt x="266" y="251"/>
                      <a:pt x="267" y="252"/>
                    </a:cubicBezTo>
                    <a:cubicBezTo>
                      <a:pt x="268" y="253"/>
                      <a:pt x="268" y="253"/>
                      <a:pt x="268" y="253"/>
                    </a:cubicBezTo>
                    <a:cubicBezTo>
                      <a:pt x="271" y="254"/>
                      <a:pt x="272" y="255"/>
                      <a:pt x="273" y="255"/>
                    </a:cubicBezTo>
                    <a:cubicBezTo>
                      <a:pt x="273" y="255"/>
                      <a:pt x="273" y="255"/>
                      <a:pt x="274" y="255"/>
                    </a:cubicBezTo>
                    <a:cubicBezTo>
                      <a:pt x="274" y="255"/>
                      <a:pt x="274" y="255"/>
                      <a:pt x="274" y="255"/>
                    </a:cubicBezTo>
                    <a:cubicBezTo>
                      <a:pt x="276" y="254"/>
                      <a:pt x="276" y="254"/>
                      <a:pt x="276" y="254"/>
                    </a:cubicBezTo>
                    <a:cubicBezTo>
                      <a:pt x="277" y="254"/>
                      <a:pt x="278" y="253"/>
                      <a:pt x="279" y="253"/>
                    </a:cubicBezTo>
                    <a:cubicBezTo>
                      <a:pt x="282" y="253"/>
                      <a:pt x="285" y="255"/>
                      <a:pt x="288" y="257"/>
                    </a:cubicBezTo>
                    <a:cubicBezTo>
                      <a:pt x="289" y="257"/>
                      <a:pt x="289" y="257"/>
                      <a:pt x="289" y="257"/>
                    </a:cubicBezTo>
                    <a:cubicBezTo>
                      <a:pt x="291" y="258"/>
                      <a:pt x="292" y="259"/>
                      <a:pt x="294" y="260"/>
                    </a:cubicBezTo>
                    <a:cubicBezTo>
                      <a:pt x="301" y="263"/>
                      <a:pt x="301" y="263"/>
                      <a:pt x="301" y="263"/>
                    </a:cubicBezTo>
                    <a:cubicBezTo>
                      <a:pt x="304" y="265"/>
                      <a:pt x="303" y="267"/>
                      <a:pt x="303" y="268"/>
                    </a:cubicBezTo>
                    <a:cubicBezTo>
                      <a:pt x="303" y="269"/>
                      <a:pt x="303" y="269"/>
                      <a:pt x="303" y="270"/>
                    </a:cubicBezTo>
                    <a:cubicBezTo>
                      <a:pt x="303" y="270"/>
                      <a:pt x="303" y="271"/>
                      <a:pt x="303" y="272"/>
                    </a:cubicBezTo>
                    <a:cubicBezTo>
                      <a:pt x="303" y="273"/>
                      <a:pt x="303" y="273"/>
                      <a:pt x="303" y="273"/>
                    </a:cubicBezTo>
                    <a:cubicBezTo>
                      <a:pt x="302" y="274"/>
                      <a:pt x="302" y="275"/>
                      <a:pt x="302" y="276"/>
                    </a:cubicBezTo>
                    <a:cubicBezTo>
                      <a:pt x="301" y="282"/>
                      <a:pt x="301" y="282"/>
                      <a:pt x="301" y="282"/>
                    </a:cubicBezTo>
                    <a:cubicBezTo>
                      <a:pt x="301" y="282"/>
                      <a:pt x="301" y="283"/>
                      <a:pt x="301" y="284"/>
                    </a:cubicBezTo>
                    <a:cubicBezTo>
                      <a:pt x="305" y="284"/>
                      <a:pt x="305" y="284"/>
                      <a:pt x="305" y="284"/>
                    </a:cubicBezTo>
                    <a:cubicBezTo>
                      <a:pt x="306" y="284"/>
                      <a:pt x="308" y="284"/>
                      <a:pt x="309" y="284"/>
                    </a:cubicBezTo>
                    <a:cubicBezTo>
                      <a:pt x="312" y="284"/>
                      <a:pt x="314" y="285"/>
                      <a:pt x="316" y="288"/>
                    </a:cubicBezTo>
                    <a:cubicBezTo>
                      <a:pt x="317" y="288"/>
                      <a:pt x="317" y="288"/>
                      <a:pt x="317" y="288"/>
                    </a:cubicBezTo>
                    <a:cubicBezTo>
                      <a:pt x="318" y="289"/>
                      <a:pt x="318" y="289"/>
                      <a:pt x="318" y="289"/>
                    </a:cubicBezTo>
                    <a:cubicBezTo>
                      <a:pt x="318" y="289"/>
                      <a:pt x="318" y="289"/>
                      <a:pt x="318" y="289"/>
                    </a:cubicBezTo>
                    <a:cubicBezTo>
                      <a:pt x="318" y="289"/>
                      <a:pt x="318" y="289"/>
                      <a:pt x="318" y="289"/>
                    </a:cubicBezTo>
                    <a:cubicBezTo>
                      <a:pt x="319" y="289"/>
                      <a:pt x="319" y="289"/>
                      <a:pt x="319" y="289"/>
                    </a:cubicBezTo>
                    <a:cubicBezTo>
                      <a:pt x="320" y="289"/>
                      <a:pt x="321" y="290"/>
                      <a:pt x="322" y="290"/>
                    </a:cubicBezTo>
                    <a:cubicBezTo>
                      <a:pt x="323" y="290"/>
                      <a:pt x="324" y="289"/>
                      <a:pt x="324" y="289"/>
                    </a:cubicBezTo>
                    <a:cubicBezTo>
                      <a:pt x="326" y="289"/>
                      <a:pt x="327" y="289"/>
                      <a:pt x="328" y="289"/>
                    </a:cubicBezTo>
                    <a:cubicBezTo>
                      <a:pt x="328" y="287"/>
                      <a:pt x="328" y="287"/>
                      <a:pt x="328" y="287"/>
                    </a:cubicBezTo>
                    <a:cubicBezTo>
                      <a:pt x="329" y="288"/>
                      <a:pt x="329" y="288"/>
                      <a:pt x="329" y="288"/>
                    </a:cubicBezTo>
                    <a:cubicBezTo>
                      <a:pt x="330" y="287"/>
                      <a:pt x="330" y="287"/>
                      <a:pt x="330" y="287"/>
                    </a:cubicBezTo>
                    <a:cubicBezTo>
                      <a:pt x="330" y="286"/>
                      <a:pt x="330" y="286"/>
                      <a:pt x="330" y="286"/>
                    </a:cubicBezTo>
                    <a:cubicBezTo>
                      <a:pt x="330" y="286"/>
                      <a:pt x="330" y="285"/>
                      <a:pt x="330" y="285"/>
                    </a:cubicBezTo>
                    <a:cubicBezTo>
                      <a:pt x="330" y="284"/>
                      <a:pt x="330" y="283"/>
                      <a:pt x="330" y="283"/>
                    </a:cubicBezTo>
                    <a:cubicBezTo>
                      <a:pt x="330" y="282"/>
                      <a:pt x="330" y="282"/>
                      <a:pt x="330" y="282"/>
                    </a:cubicBezTo>
                    <a:cubicBezTo>
                      <a:pt x="330" y="282"/>
                      <a:pt x="330" y="281"/>
                      <a:pt x="331" y="281"/>
                    </a:cubicBezTo>
                    <a:cubicBezTo>
                      <a:pt x="332" y="279"/>
                      <a:pt x="333" y="278"/>
                      <a:pt x="334" y="276"/>
                    </a:cubicBezTo>
                    <a:cubicBezTo>
                      <a:pt x="335" y="274"/>
                      <a:pt x="335" y="274"/>
                      <a:pt x="335" y="274"/>
                    </a:cubicBezTo>
                    <a:cubicBezTo>
                      <a:pt x="336" y="274"/>
                      <a:pt x="336" y="273"/>
                      <a:pt x="336" y="273"/>
                    </a:cubicBezTo>
                    <a:cubicBezTo>
                      <a:pt x="337" y="272"/>
                      <a:pt x="337" y="272"/>
                      <a:pt x="337" y="272"/>
                    </a:cubicBezTo>
                    <a:cubicBezTo>
                      <a:pt x="344" y="263"/>
                      <a:pt x="345" y="261"/>
                      <a:pt x="345" y="260"/>
                    </a:cubicBezTo>
                    <a:cubicBezTo>
                      <a:pt x="345" y="260"/>
                      <a:pt x="345" y="260"/>
                      <a:pt x="345" y="260"/>
                    </a:cubicBezTo>
                    <a:cubicBezTo>
                      <a:pt x="344" y="259"/>
                      <a:pt x="344" y="259"/>
                      <a:pt x="343" y="258"/>
                    </a:cubicBezTo>
                    <a:cubicBezTo>
                      <a:pt x="343" y="258"/>
                      <a:pt x="342" y="257"/>
                      <a:pt x="342" y="257"/>
                    </a:cubicBezTo>
                    <a:cubicBezTo>
                      <a:pt x="341" y="256"/>
                      <a:pt x="341" y="256"/>
                      <a:pt x="341" y="256"/>
                    </a:cubicBezTo>
                    <a:cubicBezTo>
                      <a:pt x="341" y="256"/>
                      <a:pt x="340" y="255"/>
                      <a:pt x="340" y="255"/>
                    </a:cubicBezTo>
                    <a:cubicBezTo>
                      <a:pt x="339" y="254"/>
                      <a:pt x="338" y="252"/>
                      <a:pt x="338" y="250"/>
                    </a:cubicBezTo>
                    <a:cubicBezTo>
                      <a:pt x="338" y="250"/>
                      <a:pt x="338" y="249"/>
                      <a:pt x="338" y="248"/>
                    </a:cubicBezTo>
                    <a:cubicBezTo>
                      <a:pt x="339" y="244"/>
                      <a:pt x="339" y="244"/>
                      <a:pt x="339" y="244"/>
                    </a:cubicBezTo>
                    <a:cubicBezTo>
                      <a:pt x="340" y="239"/>
                      <a:pt x="340" y="238"/>
                      <a:pt x="340" y="238"/>
                    </a:cubicBezTo>
                    <a:cubicBezTo>
                      <a:pt x="339" y="237"/>
                      <a:pt x="336" y="236"/>
                      <a:pt x="334" y="236"/>
                    </a:cubicBezTo>
                    <a:cubicBezTo>
                      <a:pt x="329" y="236"/>
                      <a:pt x="327" y="236"/>
                      <a:pt x="323" y="232"/>
                    </a:cubicBezTo>
                    <a:cubicBezTo>
                      <a:pt x="322" y="231"/>
                      <a:pt x="322" y="231"/>
                      <a:pt x="322" y="231"/>
                    </a:cubicBezTo>
                    <a:cubicBezTo>
                      <a:pt x="321" y="230"/>
                      <a:pt x="321" y="230"/>
                      <a:pt x="321" y="230"/>
                    </a:cubicBezTo>
                    <a:cubicBezTo>
                      <a:pt x="320" y="229"/>
                      <a:pt x="320" y="228"/>
                      <a:pt x="319" y="228"/>
                    </a:cubicBezTo>
                    <a:cubicBezTo>
                      <a:pt x="318" y="226"/>
                      <a:pt x="317" y="224"/>
                      <a:pt x="317" y="222"/>
                    </a:cubicBezTo>
                    <a:cubicBezTo>
                      <a:pt x="317" y="221"/>
                      <a:pt x="317" y="221"/>
                      <a:pt x="317" y="221"/>
                    </a:cubicBezTo>
                    <a:cubicBezTo>
                      <a:pt x="318" y="217"/>
                      <a:pt x="319" y="215"/>
                      <a:pt x="323" y="212"/>
                    </a:cubicBezTo>
                    <a:cubicBezTo>
                      <a:pt x="324" y="212"/>
                      <a:pt x="324" y="212"/>
                      <a:pt x="324" y="212"/>
                    </a:cubicBezTo>
                    <a:cubicBezTo>
                      <a:pt x="325" y="211"/>
                      <a:pt x="326" y="210"/>
                      <a:pt x="328" y="209"/>
                    </a:cubicBezTo>
                    <a:cubicBezTo>
                      <a:pt x="328" y="209"/>
                      <a:pt x="328" y="209"/>
                      <a:pt x="328" y="209"/>
                    </a:cubicBezTo>
                    <a:cubicBezTo>
                      <a:pt x="329" y="209"/>
                      <a:pt x="330" y="209"/>
                      <a:pt x="331" y="209"/>
                    </a:cubicBezTo>
                    <a:cubicBezTo>
                      <a:pt x="332" y="209"/>
                      <a:pt x="333" y="209"/>
                      <a:pt x="334" y="209"/>
                    </a:cubicBezTo>
                    <a:cubicBezTo>
                      <a:pt x="337" y="210"/>
                      <a:pt x="341" y="210"/>
                      <a:pt x="344" y="211"/>
                    </a:cubicBezTo>
                    <a:cubicBezTo>
                      <a:pt x="345" y="211"/>
                      <a:pt x="347" y="211"/>
                      <a:pt x="348" y="211"/>
                    </a:cubicBezTo>
                    <a:cubicBezTo>
                      <a:pt x="348" y="211"/>
                      <a:pt x="349" y="211"/>
                      <a:pt x="349" y="211"/>
                    </a:cubicBezTo>
                    <a:cubicBezTo>
                      <a:pt x="350" y="211"/>
                      <a:pt x="350" y="211"/>
                      <a:pt x="350" y="211"/>
                    </a:cubicBezTo>
                    <a:cubicBezTo>
                      <a:pt x="350" y="211"/>
                      <a:pt x="350" y="211"/>
                      <a:pt x="350" y="211"/>
                    </a:cubicBezTo>
                    <a:cubicBezTo>
                      <a:pt x="351" y="210"/>
                      <a:pt x="351" y="209"/>
                      <a:pt x="352" y="206"/>
                    </a:cubicBezTo>
                    <a:cubicBezTo>
                      <a:pt x="352" y="205"/>
                      <a:pt x="352" y="205"/>
                      <a:pt x="352" y="205"/>
                    </a:cubicBezTo>
                    <a:cubicBezTo>
                      <a:pt x="353" y="203"/>
                      <a:pt x="354" y="201"/>
                      <a:pt x="356" y="200"/>
                    </a:cubicBezTo>
                    <a:cubicBezTo>
                      <a:pt x="356" y="199"/>
                      <a:pt x="356" y="199"/>
                      <a:pt x="357" y="198"/>
                    </a:cubicBezTo>
                    <a:cubicBezTo>
                      <a:pt x="355" y="198"/>
                      <a:pt x="354" y="197"/>
                      <a:pt x="353" y="195"/>
                    </a:cubicBezTo>
                    <a:cubicBezTo>
                      <a:pt x="351" y="191"/>
                      <a:pt x="351" y="191"/>
                      <a:pt x="351" y="191"/>
                    </a:cubicBezTo>
                    <a:cubicBezTo>
                      <a:pt x="366" y="189"/>
                      <a:pt x="366" y="189"/>
                      <a:pt x="366" y="189"/>
                    </a:cubicBezTo>
                    <a:cubicBezTo>
                      <a:pt x="367" y="189"/>
                      <a:pt x="367" y="189"/>
                      <a:pt x="367" y="189"/>
                    </a:cubicBezTo>
                    <a:cubicBezTo>
                      <a:pt x="368" y="189"/>
                      <a:pt x="369" y="189"/>
                      <a:pt x="370" y="189"/>
                    </a:cubicBezTo>
                    <a:cubicBezTo>
                      <a:pt x="369" y="186"/>
                      <a:pt x="369" y="182"/>
                      <a:pt x="369" y="180"/>
                    </a:cubicBezTo>
                    <a:cubicBezTo>
                      <a:pt x="370" y="178"/>
                      <a:pt x="371" y="176"/>
                      <a:pt x="372" y="174"/>
                    </a:cubicBezTo>
                    <a:cubicBezTo>
                      <a:pt x="372" y="173"/>
                      <a:pt x="372" y="173"/>
                      <a:pt x="372" y="173"/>
                    </a:cubicBezTo>
                    <a:cubicBezTo>
                      <a:pt x="373" y="172"/>
                      <a:pt x="373" y="172"/>
                      <a:pt x="373" y="172"/>
                    </a:cubicBezTo>
                    <a:cubicBezTo>
                      <a:pt x="374" y="171"/>
                      <a:pt x="374" y="171"/>
                      <a:pt x="374" y="171"/>
                    </a:cubicBezTo>
                    <a:cubicBezTo>
                      <a:pt x="376" y="170"/>
                      <a:pt x="376" y="170"/>
                      <a:pt x="376" y="170"/>
                    </a:cubicBezTo>
                    <a:cubicBezTo>
                      <a:pt x="376" y="170"/>
                      <a:pt x="376" y="170"/>
                      <a:pt x="376" y="170"/>
                    </a:cubicBezTo>
                    <a:cubicBezTo>
                      <a:pt x="377" y="170"/>
                      <a:pt x="377" y="170"/>
                      <a:pt x="378" y="171"/>
                    </a:cubicBezTo>
                    <a:cubicBezTo>
                      <a:pt x="378" y="171"/>
                      <a:pt x="378" y="171"/>
                      <a:pt x="378" y="171"/>
                    </a:cubicBezTo>
                    <a:cubicBezTo>
                      <a:pt x="379" y="171"/>
                      <a:pt x="380" y="171"/>
                      <a:pt x="380" y="171"/>
                    </a:cubicBezTo>
                    <a:cubicBezTo>
                      <a:pt x="381" y="172"/>
                      <a:pt x="381" y="172"/>
                      <a:pt x="381" y="172"/>
                    </a:cubicBezTo>
                    <a:cubicBezTo>
                      <a:pt x="382" y="172"/>
                      <a:pt x="382" y="172"/>
                      <a:pt x="382" y="172"/>
                    </a:cubicBezTo>
                    <a:cubicBezTo>
                      <a:pt x="383" y="172"/>
                      <a:pt x="383" y="173"/>
                      <a:pt x="384" y="173"/>
                    </a:cubicBezTo>
                    <a:cubicBezTo>
                      <a:pt x="385" y="174"/>
                      <a:pt x="385" y="174"/>
                      <a:pt x="385" y="174"/>
                    </a:cubicBezTo>
                    <a:cubicBezTo>
                      <a:pt x="386" y="174"/>
                      <a:pt x="386" y="174"/>
                      <a:pt x="386" y="174"/>
                    </a:cubicBezTo>
                    <a:cubicBezTo>
                      <a:pt x="386" y="174"/>
                      <a:pt x="386" y="174"/>
                      <a:pt x="386" y="174"/>
                    </a:cubicBezTo>
                    <a:cubicBezTo>
                      <a:pt x="387" y="174"/>
                      <a:pt x="387" y="174"/>
                      <a:pt x="387" y="174"/>
                    </a:cubicBezTo>
                    <a:cubicBezTo>
                      <a:pt x="387" y="174"/>
                      <a:pt x="388" y="174"/>
                      <a:pt x="388" y="173"/>
                    </a:cubicBezTo>
                    <a:cubicBezTo>
                      <a:pt x="390" y="172"/>
                      <a:pt x="391" y="172"/>
                      <a:pt x="393" y="171"/>
                    </a:cubicBezTo>
                    <a:cubicBezTo>
                      <a:pt x="393" y="171"/>
                      <a:pt x="393" y="171"/>
                      <a:pt x="393" y="171"/>
                    </a:cubicBezTo>
                    <a:cubicBezTo>
                      <a:pt x="394" y="170"/>
                      <a:pt x="394" y="170"/>
                      <a:pt x="394" y="170"/>
                    </a:cubicBezTo>
                    <a:cubicBezTo>
                      <a:pt x="395" y="170"/>
                      <a:pt x="397" y="168"/>
                      <a:pt x="398" y="168"/>
                    </a:cubicBezTo>
                    <a:cubicBezTo>
                      <a:pt x="399" y="167"/>
                      <a:pt x="399" y="167"/>
                      <a:pt x="399" y="167"/>
                    </a:cubicBezTo>
                    <a:cubicBezTo>
                      <a:pt x="400" y="166"/>
                      <a:pt x="400" y="166"/>
                      <a:pt x="401" y="165"/>
                    </a:cubicBezTo>
                    <a:cubicBezTo>
                      <a:pt x="402" y="165"/>
                      <a:pt x="402" y="164"/>
                      <a:pt x="403" y="164"/>
                    </a:cubicBezTo>
                    <a:cubicBezTo>
                      <a:pt x="403" y="163"/>
                      <a:pt x="404" y="163"/>
                      <a:pt x="405" y="162"/>
                    </a:cubicBezTo>
                    <a:cubicBezTo>
                      <a:pt x="406" y="162"/>
                      <a:pt x="406" y="162"/>
                      <a:pt x="406" y="162"/>
                    </a:cubicBezTo>
                    <a:cubicBezTo>
                      <a:pt x="408" y="160"/>
                      <a:pt x="408" y="160"/>
                      <a:pt x="408" y="160"/>
                    </a:cubicBezTo>
                    <a:cubicBezTo>
                      <a:pt x="422" y="176"/>
                      <a:pt x="422" y="176"/>
                      <a:pt x="422" y="176"/>
                    </a:cubicBezTo>
                    <a:cubicBezTo>
                      <a:pt x="419" y="178"/>
                      <a:pt x="419" y="178"/>
                      <a:pt x="419" y="178"/>
                    </a:cubicBezTo>
                    <a:cubicBezTo>
                      <a:pt x="417" y="180"/>
                      <a:pt x="414" y="182"/>
                      <a:pt x="411" y="185"/>
                    </a:cubicBezTo>
                    <a:cubicBezTo>
                      <a:pt x="412" y="186"/>
                      <a:pt x="414" y="187"/>
                      <a:pt x="415" y="188"/>
                    </a:cubicBezTo>
                    <a:cubicBezTo>
                      <a:pt x="416" y="188"/>
                      <a:pt x="417" y="188"/>
                      <a:pt x="418" y="188"/>
                    </a:cubicBezTo>
                    <a:cubicBezTo>
                      <a:pt x="419" y="188"/>
                      <a:pt x="419" y="188"/>
                      <a:pt x="419" y="188"/>
                    </a:cubicBezTo>
                    <a:cubicBezTo>
                      <a:pt x="419" y="188"/>
                      <a:pt x="420" y="188"/>
                      <a:pt x="420" y="188"/>
                    </a:cubicBezTo>
                    <a:cubicBezTo>
                      <a:pt x="422" y="187"/>
                      <a:pt x="422" y="187"/>
                      <a:pt x="422" y="187"/>
                    </a:cubicBezTo>
                    <a:cubicBezTo>
                      <a:pt x="423" y="187"/>
                      <a:pt x="423" y="187"/>
                      <a:pt x="423" y="187"/>
                    </a:cubicBezTo>
                    <a:cubicBezTo>
                      <a:pt x="423" y="187"/>
                      <a:pt x="424" y="187"/>
                      <a:pt x="425" y="187"/>
                    </a:cubicBezTo>
                    <a:cubicBezTo>
                      <a:pt x="425" y="187"/>
                      <a:pt x="425" y="187"/>
                      <a:pt x="425" y="187"/>
                    </a:cubicBezTo>
                    <a:cubicBezTo>
                      <a:pt x="427" y="186"/>
                      <a:pt x="429" y="186"/>
                      <a:pt x="431" y="186"/>
                    </a:cubicBezTo>
                    <a:cubicBezTo>
                      <a:pt x="433" y="186"/>
                      <a:pt x="433" y="186"/>
                      <a:pt x="433" y="186"/>
                    </a:cubicBezTo>
                    <a:cubicBezTo>
                      <a:pt x="434" y="186"/>
                      <a:pt x="435" y="186"/>
                      <a:pt x="435" y="186"/>
                    </a:cubicBezTo>
                    <a:cubicBezTo>
                      <a:pt x="436" y="187"/>
                      <a:pt x="437" y="187"/>
                      <a:pt x="439" y="188"/>
                    </a:cubicBezTo>
                    <a:cubicBezTo>
                      <a:pt x="440" y="188"/>
                      <a:pt x="441" y="189"/>
                      <a:pt x="442" y="190"/>
                    </a:cubicBezTo>
                    <a:cubicBezTo>
                      <a:pt x="443" y="190"/>
                      <a:pt x="443" y="190"/>
                      <a:pt x="444" y="190"/>
                    </a:cubicBezTo>
                    <a:cubicBezTo>
                      <a:pt x="445" y="190"/>
                      <a:pt x="446" y="190"/>
                      <a:pt x="448" y="189"/>
                    </a:cubicBezTo>
                    <a:cubicBezTo>
                      <a:pt x="448" y="189"/>
                      <a:pt x="448" y="189"/>
                      <a:pt x="448" y="189"/>
                    </a:cubicBezTo>
                    <a:cubicBezTo>
                      <a:pt x="449" y="189"/>
                      <a:pt x="449" y="189"/>
                      <a:pt x="449" y="189"/>
                    </a:cubicBezTo>
                    <a:cubicBezTo>
                      <a:pt x="449" y="188"/>
                      <a:pt x="450" y="188"/>
                      <a:pt x="450" y="188"/>
                    </a:cubicBezTo>
                    <a:cubicBezTo>
                      <a:pt x="450" y="187"/>
                      <a:pt x="450" y="186"/>
                      <a:pt x="450" y="186"/>
                    </a:cubicBezTo>
                    <a:cubicBezTo>
                      <a:pt x="451" y="184"/>
                      <a:pt x="452" y="183"/>
                      <a:pt x="453" y="183"/>
                    </a:cubicBezTo>
                    <a:cubicBezTo>
                      <a:pt x="453" y="182"/>
                      <a:pt x="454" y="182"/>
                      <a:pt x="454" y="182"/>
                    </a:cubicBezTo>
                    <a:cubicBezTo>
                      <a:pt x="455" y="182"/>
                      <a:pt x="455" y="182"/>
                      <a:pt x="455" y="182"/>
                    </a:cubicBezTo>
                    <a:cubicBezTo>
                      <a:pt x="456" y="181"/>
                      <a:pt x="456" y="181"/>
                      <a:pt x="456" y="181"/>
                    </a:cubicBezTo>
                    <a:cubicBezTo>
                      <a:pt x="456" y="183"/>
                      <a:pt x="456" y="183"/>
                      <a:pt x="456" y="183"/>
                    </a:cubicBezTo>
                    <a:cubicBezTo>
                      <a:pt x="456" y="181"/>
                      <a:pt x="456" y="181"/>
                      <a:pt x="456" y="181"/>
                    </a:cubicBezTo>
                    <a:cubicBezTo>
                      <a:pt x="456" y="181"/>
                      <a:pt x="457" y="181"/>
                      <a:pt x="457" y="181"/>
                    </a:cubicBezTo>
                    <a:cubicBezTo>
                      <a:pt x="457" y="181"/>
                      <a:pt x="457" y="181"/>
                      <a:pt x="457" y="181"/>
                    </a:cubicBezTo>
                    <a:cubicBezTo>
                      <a:pt x="458" y="181"/>
                      <a:pt x="458" y="181"/>
                      <a:pt x="459" y="181"/>
                    </a:cubicBezTo>
                    <a:cubicBezTo>
                      <a:pt x="459" y="180"/>
                      <a:pt x="459" y="180"/>
                      <a:pt x="459" y="180"/>
                    </a:cubicBezTo>
                    <a:cubicBezTo>
                      <a:pt x="459" y="180"/>
                      <a:pt x="459" y="180"/>
                      <a:pt x="459" y="180"/>
                    </a:cubicBezTo>
                    <a:cubicBezTo>
                      <a:pt x="459" y="178"/>
                      <a:pt x="460" y="177"/>
                      <a:pt x="461" y="176"/>
                    </a:cubicBezTo>
                    <a:cubicBezTo>
                      <a:pt x="462" y="176"/>
                      <a:pt x="462" y="176"/>
                      <a:pt x="462" y="176"/>
                    </a:cubicBezTo>
                    <a:cubicBezTo>
                      <a:pt x="463" y="176"/>
                      <a:pt x="463" y="176"/>
                      <a:pt x="463" y="176"/>
                    </a:cubicBezTo>
                    <a:cubicBezTo>
                      <a:pt x="464" y="176"/>
                      <a:pt x="465" y="176"/>
                      <a:pt x="466" y="176"/>
                    </a:cubicBezTo>
                    <a:cubicBezTo>
                      <a:pt x="466" y="176"/>
                      <a:pt x="466" y="176"/>
                      <a:pt x="466" y="176"/>
                    </a:cubicBezTo>
                    <a:cubicBezTo>
                      <a:pt x="467" y="177"/>
                      <a:pt x="468" y="177"/>
                      <a:pt x="468" y="178"/>
                    </a:cubicBezTo>
                    <a:cubicBezTo>
                      <a:pt x="469" y="178"/>
                      <a:pt x="469" y="178"/>
                      <a:pt x="469" y="179"/>
                    </a:cubicBezTo>
                    <a:cubicBezTo>
                      <a:pt x="470" y="178"/>
                      <a:pt x="470" y="178"/>
                      <a:pt x="470" y="178"/>
                    </a:cubicBezTo>
                    <a:cubicBezTo>
                      <a:pt x="470" y="177"/>
                      <a:pt x="470" y="177"/>
                      <a:pt x="470" y="177"/>
                    </a:cubicBezTo>
                    <a:cubicBezTo>
                      <a:pt x="471" y="177"/>
                      <a:pt x="471" y="176"/>
                      <a:pt x="471" y="176"/>
                    </a:cubicBezTo>
                    <a:cubicBezTo>
                      <a:pt x="473" y="174"/>
                      <a:pt x="473" y="174"/>
                      <a:pt x="473" y="174"/>
                    </a:cubicBezTo>
                    <a:cubicBezTo>
                      <a:pt x="473" y="174"/>
                      <a:pt x="473" y="174"/>
                      <a:pt x="473" y="174"/>
                    </a:cubicBezTo>
                    <a:cubicBezTo>
                      <a:pt x="471" y="174"/>
                      <a:pt x="469" y="173"/>
                      <a:pt x="467" y="173"/>
                    </a:cubicBezTo>
                    <a:cubicBezTo>
                      <a:pt x="467" y="172"/>
                      <a:pt x="467" y="172"/>
                      <a:pt x="467" y="172"/>
                    </a:cubicBezTo>
                    <a:cubicBezTo>
                      <a:pt x="466" y="171"/>
                      <a:pt x="466" y="171"/>
                      <a:pt x="466" y="171"/>
                    </a:cubicBezTo>
                    <a:cubicBezTo>
                      <a:pt x="466" y="171"/>
                      <a:pt x="465" y="170"/>
                      <a:pt x="465" y="170"/>
                    </a:cubicBezTo>
                    <a:cubicBezTo>
                      <a:pt x="465" y="170"/>
                      <a:pt x="465" y="170"/>
                      <a:pt x="464" y="170"/>
                    </a:cubicBezTo>
                    <a:cubicBezTo>
                      <a:pt x="463" y="169"/>
                      <a:pt x="463" y="169"/>
                      <a:pt x="463" y="169"/>
                    </a:cubicBezTo>
                    <a:cubicBezTo>
                      <a:pt x="462" y="173"/>
                      <a:pt x="462" y="173"/>
                      <a:pt x="462" y="173"/>
                    </a:cubicBezTo>
                    <a:cubicBezTo>
                      <a:pt x="462" y="169"/>
                      <a:pt x="462" y="169"/>
                      <a:pt x="462" y="169"/>
                    </a:cubicBezTo>
                    <a:cubicBezTo>
                      <a:pt x="461" y="169"/>
                      <a:pt x="461" y="169"/>
                      <a:pt x="461" y="169"/>
                    </a:cubicBezTo>
                    <a:cubicBezTo>
                      <a:pt x="461" y="169"/>
                      <a:pt x="460" y="169"/>
                      <a:pt x="460" y="169"/>
                    </a:cubicBezTo>
                    <a:cubicBezTo>
                      <a:pt x="460" y="169"/>
                      <a:pt x="460" y="169"/>
                      <a:pt x="460" y="169"/>
                    </a:cubicBezTo>
                    <a:cubicBezTo>
                      <a:pt x="459" y="169"/>
                      <a:pt x="459" y="169"/>
                      <a:pt x="458" y="169"/>
                    </a:cubicBezTo>
                    <a:cubicBezTo>
                      <a:pt x="454" y="171"/>
                      <a:pt x="454" y="171"/>
                      <a:pt x="454" y="171"/>
                    </a:cubicBezTo>
                    <a:cubicBezTo>
                      <a:pt x="454" y="166"/>
                      <a:pt x="454" y="166"/>
                      <a:pt x="454" y="166"/>
                    </a:cubicBezTo>
                    <a:cubicBezTo>
                      <a:pt x="454" y="166"/>
                      <a:pt x="453" y="165"/>
                      <a:pt x="453" y="164"/>
                    </a:cubicBezTo>
                    <a:cubicBezTo>
                      <a:pt x="453" y="164"/>
                      <a:pt x="453" y="163"/>
                      <a:pt x="453" y="163"/>
                    </a:cubicBezTo>
                    <a:cubicBezTo>
                      <a:pt x="453" y="163"/>
                      <a:pt x="453" y="163"/>
                      <a:pt x="453" y="163"/>
                    </a:cubicBezTo>
                    <a:cubicBezTo>
                      <a:pt x="452" y="163"/>
                      <a:pt x="452" y="163"/>
                      <a:pt x="452" y="163"/>
                    </a:cubicBezTo>
                    <a:cubicBezTo>
                      <a:pt x="451" y="163"/>
                      <a:pt x="451" y="163"/>
                      <a:pt x="451" y="163"/>
                    </a:cubicBezTo>
                    <a:cubicBezTo>
                      <a:pt x="450" y="163"/>
                      <a:pt x="448" y="162"/>
                      <a:pt x="448" y="161"/>
                    </a:cubicBezTo>
                    <a:cubicBezTo>
                      <a:pt x="447" y="160"/>
                      <a:pt x="447" y="159"/>
                      <a:pt x="446" y="158"/>
                    </a:cubicBezTo>
                    <a:cubicBezTo>
                      <a:pt x="445" y="157"/>
                      <a:pt x="445" y="156"/>
                      <a:pt x="444" y="155"/>
                    </a:cubicBezTo>
                    <a:cubicBezTo>
                      <a:pt x="444" y="158"/>
                      <a:pt x="444" y="158"/>
                      <a:pt x="444" y="158"/>
                    </a:cubicBezTo>
                    <a:cubicBezTo>
                      <a:pt x="440" y="158"/>
                      <a:pt x="440" y="158"/>
                      <a:pt x="440" y="158"/>
                    </a:cubicBezTo>
                    <a:cubicBezTo>
                      <a:pt x="440" y="158"/>
                      <a:pt x="440" y="158"/>
                      <a:pt x="440" y="158"/>
                    </a:cubicBezTo>
                    <a:cubicBezTo>
                      <a:pt x="440" y="158"/>
                      <a:pt x="440" y="158"/>
                      <a:pt x="440" y="158"/>
                    </a:cubicBezTo>
                    <a:cubicBezTo>
                      <a:pt x="440" y="158"/>
                      <a:pt x="439" y="158"/>
                      <a:pt x="439" y="158"/>
                    </a:cubicBezTo>
                    <a:cubicBezTo>
                      <a:pt x="439" y="159"/>
                      <a:pt x="439" y="159"/>
                      <a:pt x="439" y="159"/>
                    </a:cubicBezTo>
                    <a:cubicBezTo>
                      <a:pt x="439" y="160"/>
                      <a:pt x="439" y="161"/>
                      <a:pt x="439" y="162"/>
                    </a:cubicBezTo>
                    <a:cubicBezTo>
                      <a:pt x="439" y="165"/>
                      <a:pt x="439" y="165"/>
                      <a:pt x="439" y="165"/>
                    </a:cubicBezTo>
                    <a:cubicBezTo>
                      <a:pt x="435" y="165"/>
                      <a:pt x="435" y="165"/>
                      <a:pt x="435" y="165"/>
                    </a:cubicBezTo>
                    <a:cubicBezTo>
                      <a:pt x="434" y="165"/>
                      <a:pt x="434" y="165"/>
                      <a:pt x="433" y="165"/>
                    </a:cubicBezTo>
                    <a:cubicBezTo>
                      <a:pt x="433" y="165"/>
                      <a:pt x="432" y="165"/>
                      <a:pt x="432" y="164"/>
                    </a:cubicBezTo>
                    <a:cubicBezTo>
                      <a:pt x="430" y="164"/>
                      <a:pt x="430" y="164"/>
                      <a:pt x="430" y="164"/>
                    </a:cubicBezTo>
                    <a:cubicBezTo>
                      <a:pt x="430" y="164"/>
                      <a:pt x="429" y="164"/>
                      <a:pt x="428" y="164"/>
                    </a:cubicBezTo>
                    <a:cubicBezTo>
                      <a:pt x="425" y="163"/>
                      <a:pt x="421" y="163"/>
                      <a:pt x="418" y="161"/>
                    </a:cubicBezTo>
                    <a:cubicBezTo>
                      <a:pt x="414" y="159"/>
                      <a:pt x="413" y="157"/>
                      <a:pt x="412" y="155"/>
                    </a:cubicBezTo>
                    <a:cubicBezTo>
                      <a:pt x="412" y="154"/>
                      <a:pt x="412" y="154"/>
                      <a:pt x="412" y="154"/>
                    </a:cubicBezTo>
                    <a:cubicBezTo>
                      <a:pt x="410" y="155"/>
                      <a:pt x="410" y="155"/>
                      <a:pt x="410" y="155"/>
                    </a:cubicBezTo>
                    <a:cubicBezTo>
                      <a:pt x="410" y="155"/>
                      <a:pt x="409" y="155"/>
                      <a:pt x="408" y="155"/>
                    </a:cubicBezTo>
                    <a:cubicBezTo>
                      <a:pt x="407" y="155"/>
                      <a:pt x="406" y="155"/>
                      <a:pt x="404" y="153"/>
                    </a:cubicBezTo>
                    <a:cubicBezTo>
                      <a:pt x="404" y="153"/>
                      <a:pt x="404" y="153"/>
                      <a:pt x="404" y="153"/>
                    </a:cubicBezTo>
                    <a:cubicBezTo>
                      <a:pt x="403" y="152"/>
                      <a:pt x="403" y="152"/>
                      <a:pt x="403" y="152"/>
                    </a:cubicBezTo>
                    <a:cubicBezTo>
                      <a:pt x="403" y="152"/>
                      <a:pt x="403" y="152"/>
                      <a:pt x="403" y="152"/>
                    </a:cubicBezTo>
                    <a:cubicBezTo>
                      <a:pt x="402" y="152"/>
                      <a:pt x="402" y="152"/>
                      <a:pt x="402" y="152"/>
                    </a:cubicBezTo>
                    <a:cubicBezTo>
                      <a:pt x="401" y="152"/>
                      <a:pt x="400" y="152"/>
                      <a:pt x="399" y="152"/>
                    </a:cubicBezTo>
                    <a:cubicBezTo>
                      <a:pt x="399" y="151"/>
                      <a:pt x="399" y="151"/>
                      <a:pt x="399" y="151"/>
                    </a:cubicBezTo>
                    <a:cubicBezTo>
                      <a:pt x="398" y="151"/>
                      <a:pt x="397" y="150"/>
                      <a:pt x="397" y="150"/>
                    </a:cubicBezTo>
                    <a:cubicBezTo>
                      <a:pt x="395" y="146"/>
                      <a:pt x="398" y="143"/>
                      <a:pt x="401" y="141"/>
                    </a:cubicBezTo>
                    <a:cubicBezTo>
                      <a:pt x="403" y="139"/>
                      <a:pt x="407" y="136"/>
                      <a:pt x="411" y="133"/>
                    </a:cubicBezTo>
                    <a:cubicBezTo>
                      <a:pt x="395" y="142"/>
                      <a:pt x="395" y="142"/>
                      <a:pt x="395" y="142"/>
                    </a:cubicBezTo>
                    <a:cubicBezTo>
                      <a:pt x="391" y="144"/>
                      <a:pt x="388" y="147"/>
                      <a:pt x="384" y="150"/>
                    </a:cubicBezTo>
                    <a:cubicBezTo>
                      <a:pt x="383" y="151"/>
                      <a:pt x="383" y="151"/>
                      <a:pt x="383" y="151"/>
                    </a:cubicBezTo>
                    <a:cubicBezTo>
                      <a:pt x="381" y="152"/>
                      <a:pt x="379" y="153"/>
                      <a:pt x="377" y="155"/>
                    </a:cubicBezTo>
                    <a:cubicBezTo>
                      <a:pt x="381" y="161"/>
                      <a:pt x="381" y="161"/>
                      <a:pt x="381" y="161"/>
                    </a:cubicBezTo>
                    <a:cubicBezTo>
                      <a:pt x="375" y="156"/>
                      <a:pt x="375" y="156"/>
                      <a:pt x="375" y="156"/>
                    </a:cubicBezTo>
                    <a:cubicBezTo>
                      <a:pt x="375" y="156"/>
                      <a:pt x="375" y="156"/>
                      <a:pt x="375" y="156"/>
                    </a:cubicBezTo>
                    <a:cubicBezTo>
                      <a:pt x="373" y="157"/>
                      <a:pt x="372" y="158"/>
                      <a:pt x="371" y="160"/>
                    </a:cubicBezTo>
                    <a:cubicBezTo>
                      <a:pt x="370" y="161"/>
                      <a:pt x="370" y="162"/>
                      <a:pt x="368" y="163"/>
                    </a:cubicBezTo>
                    <a:cubicBezTo>
                      <a:pt x="365" y="165"/>
                      <a:pt x="365" y="165"/>
                      <a:pt x="365" y="165"/>
                    </a:cubicBezTo>
                    <a:cubicBezTo>
                      <a:pt x="361" y="167"/>
                      <a:pt x="360" y="169"/>
                      <a:pt x="360" y="171"/>
                    </a:cubicBezTo>
                    <a:cubicBezTo>
                      <a:pt x="360" y="172"/>
                      <a:pt x="360" y="172"/>
                      <a:pt x="360" y="172"/>
                    </a:cubicBezTo>
                    <a:cubicBezTo>
                      <a:pt x="360" y="173"/>
                      <a:pt x="360" y="173"/>
                      <a:pt x="360" y="173"/>
                    </a:cubicBezTo>
                    <a:cubicBezTo>
                      <a:pt x="360" y="176"/>
                      <a:pt x="360" y="179"/>
                      <a:pt x="357" y="182"/>
                    </a:cubicBezTo>
                    <a:cubicBezTo>
                      <a:pt x="357" y="182"/>
                      <a:pt x="356" y="182"/>
                      <a:pt x="355" y="182"/>
                    </a:cubicBezTo>
                    <a:cubicBezTo>
                      <a:pt x="355" y="183"/>
                      <a:pt x="355" y="183"/>
                      <a:pt x="355" y="183"/>
                    </a:cubicBezTo>
                    <a:cubicBezTo>
                      <a:pt x="354" y="181"/>
                      <a:pt x="354" y="181"/>
                      <a:pt x="354" y="181"/>
                    </a:cubicBezTo>
                    <a:cubicBezTo>
                      <a:pt x="354" y="183"/>
                      <a:pt x="354" y="183"/>
                      <a:pt x="354" y="183"/>
                    </a:cubicBezTo>
                    <a:cubicBezTo>
                      <a:pt x="353" y="183"/>
                      <a:pt x="353" y="183"/>
                      <a:pt x="353" y="183"/>
                    </a:cubicBezTo>
                    <a:cubicBezTo>
                      <a:pt x="353" y="183"/>
                      <a:pt x="353" y="183"/>
                      <a:pt x="353" y="183"/>
                    </a:cubicBezTo>
                    <a:cubicBezTo>
                      <a:pt x="353" y="183"/>
                      <a:pt x="352" y="183"/>
                      <a:pt x="352" y="183"/>
                    </a:cubicBezTo>
                    <a:cubicBezTo>
                      <a:pt x="352" y="181"/>
                      <a:pt x="352" y="181"/>
                      <a:pt x="352" y="181"/>
                    </a:cubicBezTo>
                    <a:cubicBezTo>
                      <a:pt x="352" y="181"/>
                      <a:pt x="352" y="181"/>
                      <a:pt x="352" y="181"/>
                    </a:cubicBezTo>
                    <a:cubicBezTo>
                      <a:pt x="351" y="182"/>
                      <a:pt x="351" y="182"/>
                      <a:pt x="351" y="182"/>
                    </a:cubicBezTo>
                    <a:cubicBezTo>
                      <a:pt x="351" y="182"/>
                      <a:pt x="350" y="182"/>
                      <a:pt x="350" y="182"/>
                    </a:cubicBezTo>
                    <a:cubicBezTo>
                      <a:pt x="344" y="180"/>
                      <a:pt x="341" y="178"/>
                      <a:pt x="336" y="175"/>
                    </a:cubicBezTo>
                    <a:cubicBezTo>
                      <a:pt x="333" y="172"/>
                      <a:pt x="333" y="172"/>
                      <a:pt x="333" y="172"/>
                    </a:cubicBezTo>
                    <a:cubicBezTo>
                      <a:pt x="336" y="169"/>
                      <a:pt x="336" y="169"/>
                      <a:pt x="336" y="169"/>
                    </a:cubicBezTo>
                    <a:cubicBezTo>
                      <a:pt x="336" y="169"/>
                      <a:pt x="338" y="168"/>
                      <a:pt x="338" y="167"/>
                    </a:cubicBezTo>
                    <a:cubicBezTo>
                      <a:pt x="337" y="166"/>
                      <a:pt x="337" y="166"/>
                      <a:pt x="337" y="166"/>
                    </a:cubicBezTo>
                    <a:cubicBezTo>
                      <a:pt x="337" y="165"/>
                      <a:pt x="337" y="165"/>
                      <a:pt x="337" y="165"/>
                    </a:cubicBezTo>
                    <a:cubicBezTo>
                      <a:pt x="337" y="165"/>
                      <a:pt x="337" y="165"/>
                      <a:pt x="337" y="165"/>
                    </a:cubicBezTo>
                    <a:cubicBezTo>
                      <a:pt x="336" y="165"/>
                      <a:pt x="336" y="165"/>
                      <a:pt x="335" y="164"/>
                    </a:cubicBezTo>
                    <a:cubicBezTo>
                      <a:pt x="335" y="164"/>
                      <a:pt x="334" y="163"/>
                      <a:pt x="334" y="163"/>
                    </a:cubicBezTo>
                    <a:cubicBezTo>
                      <a:pt x="334" y="163"/>
                      <a:pt x="333" y="163"/>
                      <a:pt x="333" y="163"/>
                    </a:cubicBezTo>
                    <a:cubicBezTo>
                      <a:pt x="332" y="163"/>
                      <a:pt x="330" y="163"/>
                      <a:pt x="330" y="163"/>
                    </a:cubicBezTo>
                    <a:cubicBezTo>
                      <a:pt x="329" y="163"/>
                      <a:pt x="329" y="163"/>
                      <a:pt x="329" y="163"/>
                    </a:cubicBezTo>
                    <a:cubicBezTo>
                      <a:pt x="328" y="163"/>
                      <a:pt x="328" y="163"/>
                      <a:pt x="327" y="163"/>
                    </a:cubicBezTo>
                    <a:cubicBezTo>
                      <a:pt x="303" y="164"/>
                      <a:pt x="303" y="164"/>
                      <a:pt x="303" y="164"/>
                    </a:cubicBezTo>
                    <a:cubicBezTo>
                      <a:pt x="303" y="164"/>
                      <a:pt x="303" y="164"/>
                      <a:pt x="303" y="164"/>
                    </a:cubicBezTo>
                    <a:cubicBezTo>
                      <a:pt x="301" y="163"/>
                      <a:pt x="299" y="162"/>
                      <a:pt x="299" y="161"/>
                    </a:cubicBezTo>
                    <a:cubicBezTo>
                      <a:pt x="299" y="159"/>
                      <a:pt x="298" y="158"/>
                      <a:pt x="298" y="157"/>
                    </a:cubicBezTo>
                    <a:cubicBezTo>
                      <a:pt x="297" y="155"/>
                      <a:pt x="297" y="155"/>
                      <a:pt x="297" y="155"/>
                    </a:cubicBezTo>
                    <a:cubicBezTo>
                      <a:pt x="297" y="154"/>
                      <a:pt x="297" y="154"/>
                      <a:pt x="297" y="154"/>
                    </a:cubicBezTo>
                    <a:cubicBezTo>
                      <a:pt x="296" y="150"/>
                      <a:pt x="296" y="150"/>
                      <a:pt x="296" y="150"/>
                    </a:cubicBezTo>
                    <a:cubicBezTo>
                      <a:pt x="295" y="146"/>
                      <a:pt x="294" y="143"/>
                      <a:pt x="293" y="139"/>
                    </a:cubicBezTo>
                    <a:cubicBezTo>
                      <a:pt x="293" y="138"/>
                      <a:pt x="293" y="138"/>
                      <a:pt x="293" y="137"/>
                    </a:cubicBezTo>
                    <a:cubicBezTo>
                      <a:pt x="293" y="137"/>
                      <a:pt x="293" y="137"/>
                      <a:pt x="293" y="137"/>
                    </a:cubicBezTo>
                    <a:cubicBezTo>
                      <a:pt x="293" y="136"/>
                      <a:pt x="293" y="135"/>
                      <a:pt x="293" y="135"/>
                    </a:cubicBezTo>
                    <a:cubicBezTo>
                      <a:pt x="292" y="135"/>
                      <a:pt x="292" y="135"/>
                      <a:pt x="292" y="135"/>
                    </a:cubicBezTo>
                    <a:cubicBezTo>
                      <a:pt x="291" y="135"/>
                      <a:pt x="290" y="135"/>
                      <a:pt x="290" y="135"/>
                    </a:cubicBezTo>
                    <a:cubicBezTo>
                      <a:pt x="289" y="135"/>
                      <a:pt x="288" y="135"/>
                      <a:pt x="287" y="135"/>
                    </a:cubicBezTo>
                    <a:cubicBezTo>
                      <a:pt x="287" y="135"/>
                      <a:pt x="286" y="135"/>
                      <a:pt x="286" y="135"/>
                    </a:cubicBezTo>
                    <a:cubicBezTo>
                      <a:pt x="286" y="135"/>
                      <a:pt x="286" y="135"/>
                      <a:pt x="286" y="135"/>
                    </a:cubicBezTo>
                    <a:cubicBezTo>
                      <a:pt x="285" y="136"/>
                      <a:pt x="285" y="136"/>
                      <a:pt x="285" y="136"/>
                    </a:cubicBezTo>
                    <a:cubicBezTo>
                      <a:pt x="282" y="135"/>
                      <a:pt x="280" y="134"/>
                      <a:pt x="279" y="132"/>
                    </a:cubicBezTo>
                    <a:cubicBezTo>
                      <a:pt x="279" y="130"/>
                      <a:pt x="279" y="128"/>
                      <a:pt x="279" y="126"/>
                    </a:cubicBezTo>
                    <a:cubicBezTo>
                      <a:pt x="279" y="124"/>
                      <a:pt x="279" y="123"/>
                      <a:pt x="279" y="122"/>
                    </a:cubicBezTo>
                    <a:cubicBezTo>
                      <a:pt x="279" y="121"/>
                      <a:pt x="279" y="121"/>
                      <a:pt x="279" y="120"/>
                    </a:cubicBezTo>
                    <a:cubicBezTo>
                      <a:pt x="279" y="118"/>
                      <a:pt x="280" y="116"/>
                      <a:pt x="280" y="113"/>
                    </a:cubicBezTo>
                    <a:cubicBezTo>
                      <a:pt x="280" y="111"/>
                      <a:pt x="281" y="109"/>
                      <a:pt x="281" y="107"/>
                    </a:cubicBezTo>
                    <a:cubicBezTo>
                      <a:pt x="281" y="106"/>
                      <a:pt x="281" y="106"/>
                      <a:pt x="281" y="106"/>
                    </a:cubicBezTo>
                    <a:cubicBezTo>
                      <a:pt x="281" y="105"/>
                      <a:pt x="281" y="104"/>
                      <a:pt x="282" y="103"/>
                    </a:cubicBezTo>
                    <a:cubicBezTo>
                      <a:pt x="281" y="103"/>
                      <a:pt x="280" y="103"/>
                      <a:pt x="280" y="103"/>
                    </a:cubicBezTo>
                    <a:cubicBezTo>
                      <a:pt x="276" y="103"/>
                      <a:pt x="274" y="100"/>
                      <a:pt x="273" y="99"/>
                    </a:cubicBezTo>
                    <a:cubicBezTo>
                      <a:pt x="272" y="98"/>
                      <a:pt x="272" y="98"/>
                      <a:pt x="272" y="98"/>
                    </a:cubicBezTo>
                    <a:cubicBezTo>
                      <a:pt x="272" y="98"/>
                      <a:pt x="272" y="98"/>
                      <a:pt x="272" y="98"/>
                    </a:cubicBezTo>
                    <a:cubicBezTo>
                      <a:pt x="271" y="97"/>
                      <a:pt x="271" y="97"/>
                      <a:pt x="271" y="97"/>
                    </a:cubicBezTo>
                    <a:cubicBezTo>
                      <a:pt x="270" y="95"/>
                      <a:pt x="270" y="95"/>
                      <a:pt x="270" y="95"/>
                    </a:cubicBezTo>
                    <a:cubicBezTo>
                      <a:pt x="267" y="92"/>
                      <a:pt x="265" y="90"/>
                      <a:pt x="262" y="87"/>
                    </a:cubicBezTo>
                    <a:cubicBezTo>
                      <a:pt x="260" y="86"/>
                      <a:pt x="260" y="86"/>
                      <a:pt x="260" y="86"/>
                    </a:cubicBezTo>
                    <a:cubicBezTo>
                      <a:pt x="259" y="85"/>
                      <a:pt x="258" y="84"/>
                      <a:pt x="258" y="84"/>
                    </a:cubicBezTo>
                    <a:cubicBezTo>
                      <a:pt x="255" y="81"/>
                      <a:pt x="255" y="81"/>
                      <a:pt x="255" y="81"/>
                    </a:cubicBezTo>
                    <a:cubicBezTo>
                      <a:pt x="254" y="80"/>
                      <a:pt x="253" y="78"/>
                      <a:pt x="251" y="78"/>
                    </a:cubicBezTo>
                    <a:cubicBezTo>
                      <a:pt x="251" y="77"/>
                      <a:pt x="250" y="76"/>
                      <a:pt x="250" y="76"/>
                    </a:cubicBezTo>
                    <a:cubicBezTo>
                      <a:pt x="249" y="77"/>
                      <a:pt x="247" y="77"/>
                      <a:pt x="247" y="78"/>
                    </a:cubicBezTo>
                    <a:cubicBezTo>
                      <a:pt x="246" y="78"/>
                      <a:pt x="246" y="78"/>
                      <a:pt x="246" y="78"/>
                    </a:cubicBezTo>
                    <a:cubicBezTo>
                      <a:pt x="249" y="84"/>
                      <a:pt x="249" y="84"/>
                      <a:pt x="249" y="84"/>
                    </a:cubicBezTo>
                    <a:cubicBezTo>
                      <a:pt x="244" y="79"/>
                      <a:pt x="244" y="79"/>
                      <a:pt x="244" y="79"/>
                    </a:cubicBezTo>
                    <a:cubicBezTo>
                      <a:pt x="244" y="79"/>
                      <a:pt x="244" y="79"/>
                      <a:pt x="244" y="79"/>
                    </a:cubicBezTo>
                    <a:cubicBezTo>
                      <a:pt x="242" y="80"/>
                      <a:pt x="239" y="81"/>
                      <a:pt x="237" y="81"/>
                    </a:cubicBezTo>
                    <a:cubicBezTo>
                      <a:pt x="236" y="81"/>
                      <a:pt x="236" y="81"/>
                      <a:pt x="236" y="81"/>
                    </a:cubicBezTo>
                    <a:cubicBezTo>
                      <a:pt x="228" y="81"/>
                      <a:pt x="228" y="81"/>
                      <a:pt x="228" y="81"/>
                    </a:cubicBezTo>
                    <a:cubicBezTo>
                      <a:pt x="225" y="80"/>
                      <a:pt x="222" y="80"/>
                      <a:pt x="219" y="80"/>
                    </a:cubicBezTo>
                    <a:cubicBezTo>
                      <a:pt x="214" y="80"/>
                      <a:pt x="210" y="79"/>
                      <a:pt x="206" y="79"/>
                    </a:cubicBezTo>
                    <a:cubicBezTo>
                      <a:pt x="204" y="79"/>
                      <a:pt x="203" y="79"/>
                      <a:pt x="202" y="79"/>
                    </a:cubicBezTo>
                    <a:cubicBezTo>
                      <a:pt x="196" y="80"/>
                      <a:pt x="191" y="81"/>
                      <a:pt x="185" y="82"/>
                    </a:cubicBezTo>
                    <a:cubicBezTo>
                      <a:pt x="181" y="82"/>
                      <a:pt x="176" y="83"/>
                      <a:pt x="172" y="84"/>
                    </a:cubicBezTo>
                    <a:cubicBezTo>
                      <a:pt x="172" y="84"/>
                      <a:pt x="171" y="84"/>
                      <a:pt x="171" y="84"/>
                    </a:cubicBezTo>
                    <a:cubicBezTo>
                      <a:pt x="170" y="84"/>
                      <a:pt x="169" y="84"/>
                      <a:pt x="168" y="83"/>
                    </a:cubicBezTo>
                    <a:cubicBezTo>
                      <a:pt x="167" y="83"/>
                      <a:pt x="167" y="83"/>
                      <a:pt x="167" y="83"/>
                    </a:cubicBezTo>
                    <a:cubicBezTo>
                      <a:pt x="166" y="83"/>
                      <a:pt x="164" y="82"/>
                      <a:pt x="163" y="81"/>
                    </a:cubicBezTo>
                    <a:cubicBezTo>
                      <a:pt x="163" y="81"/>
                      <a:pt x="163" y="81"/>
                      <a:pt x="163" y="81"/>
                    </a:cubicBezTo>
                    <a:cubicBezTo>
                      <a:pt x="162" y="80"/>
                      <a:pt x="161" y="79"/>
                      <a:pt x="161" y="79"/>
                    </a:cubicBezTo>
                    <a:cubicBezTo>
                      <a:pt x="159" y="77"/>
                      <a:pt x="159" y="77"/>
                      <a:pt x="159" y="77"/>
                    </a:cubicBezTo>
                    <a:cubicBezTo>
                      <a:pt x="159" y="77"/>
                      <a:pt x="158" y="76"/>
                      <a:pt x="158" y="76"/>
                    </a:cubicBezTo>
                    <a:cubicBezTo>
                      <a:pt x="155" y="72"/>
                      <a:pt x="151" y="69"/>
                      <a:pt x="148" y="66"/>
                    </a:cubicBezTo>
                    <a:cubicBezTo>
                      <a:pt x="148" y="65"/>
                      <a:pt x="142" y="59"/>
                      <a:pt x="139" y="54"/>
                    </a:cubicBezTo>
                    <a:cubicBezTo>
                      <a:pt x="137" y="51"/>
                      <a:pt x="122" y="42"/>
                      <a:pt x="117" y="39"/>
                    </a:cubicBezTo>
                    <a:cubicBezTo>
                      <a:pt x="114" y="38"/>
                      <a:pt x="114" y="38"/>
                      <a:pt x="114" y="38"/>
                    </a:cubicBezTo>
                    <a:cubicBezTo>
                      <a:pt x="114" y="42"/>
                      <a:pt x="114" y="47"/>
                      <a:pt x="113" y="51"/>
                    </a:cubicBezTo>
                    <a:cubicBezTo>
                      <a:pt x="113" y="52"/>
                      <a:pt x="113" y="54"/>
                      <a:pt x="112" y="55"/>
                    </a:cubicBezTo>
                    <a:cubicBezTo>
                      <a:pt x="111" y="56"/>
                      <a:pt x="107" y="57"/>
                      <a:pt x="107" y="58"/>
                    </a:cubicBezTo>
                    <a:cubicBezTo>
                      <a:pt x="106" y="59"/>
                      <a:pt x="108" y="61"/>
                      <a:pt x="107" y="62"/>
                    </a:cubicBezTo>
                    <a:cubicBezTo>
                      <a:pt x="107" y="62"/>
                      <a:pt x="107" y="62"/>
                      <a:pt x="107" y="62"/>
                    </a:cubicBezTo>
                    <a:cubicBezTo>
                      <a:pt x="106" y="62"/>
                      <a:pt x="106" y="60"/>
                      <a:pt x="105" y="60"/>
                    </a:cubicBezTo>
                    <a:cubicBezTo>
                      <a:pt x="104" y="60"/>
                      <a:pt x="104" y="60"/>
                      <a:pt x="104" y="60"/>
                    </a:cubicBezTo>
                    <a:cubicBezTo>
                      <a:pt x="103" y="60"/>
                      <a:pt x="103" y="60"/>
                      <a:pt x="102" y="60"/>
                    </a:cubicBezTo>
                    <a:cubicBezTo>
                      <a:pt x="101" y="61"/>
                      <a:pt x="100" y="61"/>
                      <a:pt x="99" y="61"/>
                    </a:cubicBezTo>
                    <a:cubicBezTo>
                      <a:pt x="99" y="61"/>
                      <a:pt x="99" y="61"/>
                      <a:pt x="99" y="61"/>
                    </a:cubicBezTo>
                    <a:cubicBezTo>
                      <a:pt x="95" y="60"/>
                      <a:pt x="97" y="58"/>
                      <a:pt x="95" y="56"/>
                    </a:cubicBezTo>
                    <a:cubicBezTo>
                      <a:pt x="91" y="52"/>
                      <a:pt x="89" y="48"/>
                      <a:pt x="87" y="43"/>
                    </a:cubicBezTo>
                    <a:cubicBezTo>
                      <a:pt x="86" y="37"/>
                      <a:pt x="91" y="31"/>
                      <a:pt x="94" y="25"/>
                    </a:cubicBezTo>
                    <a:cubicBezTo>
                      <a:pt x="94" y="25"/>
                      <a:pt x="94" y="25"/>
                      <a:pt x="94" y="25"/>
                    </a:cubicBezTo>
                    <a:cubicBezTo>
                      <a:pt x="95" y="23"/>
                      <a:pt x="95" y="23"/>
                      <a:pt x="95" y="23"/>
                    </a:cubicBezTo>
                    <a:cubicBezTo>
                      <a:pt x="95" y="23"/>
                      <a:pt x="95" y="23"/>
                      <a:pt x="95" y="23"/>
                    </a:cubicBezTo>
                    <a:cubicBezTo>
                      <a:pt x="100" y="26"/>
                      <a:pt x="105" y="29"/>
                      <a:pt x="110" y="32"/>
                    </a:cubicBezTo>
                    <a:cubicBezTo>
                      <a:pt x="105" y="29"/>
                      <a:pt x="100" y="26"/>
                      <a:pt x="95" y="23"/>
                    </a:cubicBezTo>
                    <a:cubicBezTo>
                      <a:pt x="96" y="22"/>
                      <a:pt x="96" y="22"/>
                      <a:pt x="96" y="21"/>
                    </a:cubicBezTo>
                    <a:cubicBezTo>
                      <a:pt x="96" y="21"/>
                      <a:pt x="96" y="21"/>
                      <a:pt x="96" y="21"/>
                    </a:cubicBezTo>
                    <a:cubicBezTo>
                      <a:pt x="95" y="20"/>
                      <a:pt x="95" y="20"/>
                      <a:pt x="95" y="20"/>
                    </a:cubicBezTo>
                    <a:cubicBezTo>
                      <a:pt x="95" y="20"/>
                      <a:pt x="96" y="19"/>
                      <a:pt x="95" y="18"/>
                    </a:cubicBezTo>
                    <a:cubicBezTo>
                      <a:pt x="95" y="19"/>
                      <a:pt x="95" y="19"/>
                      <a:pt x="95" y="19"/>
                    </a:cubicBezTo>
                    <a:cubicBezTo>
                      <a:pt x="93" y="18"/>
                      <a:pt x="93" y="15"/>
                      <a:pt x="93" y="13"/>
                    </a:cubicBezTo>
                    <a:cubicBezTo>
                      <a:pt x="93" y="11"/>
                      <a:pt x="94" y="9"/>
                      <a:pt x="93" y="9"/>
                    </a:cubicBezTo>
                    <a:cubicBezTo>
                      <a:pt x="92" y="9"/>
                      <a:pt x="92" y="9"/>
                      <a:pt x="91" y="10"/>
                    </a:cubicBezTo>
                    <a:cubicBezTo>
                      <a:pt x="91" y="8"/>
                      <a:pt x="91" y="7"/>
                      <a:pt x="91" y="7"/>
                    </a:cubicBezTo>
                    <a:cubicBezTo>
                      <a:pt x="90" y="6"/>
                      <a:pt x="89" y="6"/>
                      <a:pt x="88" y="5"/>
                    </a:cubicBezTo>
                    <a:cubicBezTo>
                      <a:pt x="87" y="4"/>
                      <a:pt x="88" y="2"/>
                      <a:pt x="86" y="1"/>
                    </a:cubicBezTo>
                    <a:cubicBezTo>
                      <a:pt x="86" y="0"/>
                      <a:pt x="85" y="0"/>
                      <a:pt x="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28" name="Freeform 356">
                <a:extLst>
                  <a:ext uri="{FF2B5EF4-FFF2-40B4-BE49-F238E27FC236}">
                    <a16:creationId xmlns:a16="http://schemas.microsoft.com/office/drawing/2014/main" id="{CDEA4871-48A8-4DA9-9300-4253FDA5EF1D}"/>
                  </a:ext>
                </a:extLst>
              </p:cNvPr>
              <p:cNvSpPr>
                <a:spLocks/>
              </p:cNvSpPr>
              <p:nvPr/>
            </p:nvSpPr>
            <p:spPr bwMode="auto">
              <a:xfrm>
                <a:off x="9349138" y="6636894"/>
                <a:ext cx="401678" cy="221107"/>
              </a:xfrm>
              <a:custGeom>
                <a:avLst/>
                <a:gdLst>
                  <a:gd name="T0" fmla="*/ 31 w 127"/>
                  <a:gd name="T1" fmla="*/ 0 h 70"/>
                  <a:gd name="T2" fmla="*/ 27 w 127"/>
                  <a:gd name="T3" fmla="*/ 3 h 70"/>
                  <a:gd name="T4" fmla="*/ 24 w 127"/>
                  <a:gd name="T5" fmla="*/ 5 h 70"/>
                  <a:gd name="T6" fmla="*/ 19 w 127"/>
                  <a:gd name="T7" fmla="*/ 9 h 70"/>
                  <a:gd name="T8" fmla="*/ 18 w 127"/>
                  <a:gd name="T9" fmla="*/ 6 h 70"/>
                  <a:gd name="T10" fmla="*/ 18 w 127"/>
                  <a:gd name="T11" fmla="*/ 6 h 70"/>
                  <a:gd name="T12" fmla="*/ 16 w 127"/>
                  <a:gd name="T13" fmla="*/ 16 h 70"/>
                  <a:gd name="T14" fmla="*/ 17 w 127"/>
                  <a:gd name="T15" fmla="*/ 17 h 70"/>
                  <a:gd name="T16" fmla="*/ 17 w 127"/>
                  <a:gd name="T17" fmla="*/ 17 h 70"/>
                  <a:gd name="T18" fmla="*/ 22 w 127"/>
                  <a:gd name="T19" fmla="*/ 21 h 70"/>
                  <a:gd name="T20" fmla="*/ 25 w 127"/>
                  <a:gd name="T21" fmla="*/ 26 h 70"/>
                  <a:gd name="T22" fmla="*/ 18 w 127"/>
                  <a:gd name="T23" fmla="*/ 27 h 70"/>
                  <a:gd name="T24" fmla="*/ 12 w 127"/>
                  <a:gd name="T25" fmla="*/ 28 h 70"/>
                  <a:gd name="T26" fmla="*/ 11 w 127"/>
                  <a:gd name="T27" fmla="*/ 28 h 70"/>
                  <a:gd name="T28" fmla="*/ 12 w 127"/>
                  <a:gd name="T29" fmla="*/ 34 h 70"/>
                  <a:gd name="T30" fmla="*/ 9 w 127"/>
                  <a:gd name="T31" fmla="*/ 28 h 70"/>
                  <a:gd name="T32" fmla="*/ 9 w 127"/>
                  <a:gd name="T33" fmla="*/ 28 h 70"/>
                  <a:gd name="T34" fmla="*/ 6 w 127"/>
                  <a:gd name="T35" fmla="*/ 33 h 70"/>
                  <a:gd name="T36" fmla="*/ 6 w 127"/>
                  <a:gd name="T37" fmla="*/ 34 h 70"/>
                  <a:gd name="T38" fmla="*/ 5 w 127"/>
                  <a:gd name="T39" fmla="*/ 38 h 70"/>
                  <a:gd name="T40" fmla="*/ 3 w 127"/>
                  <a:gd name="T41" fmla="*/ 49 h 70"/>
                  <a:gd name="T42" fmla="*/ 1 w 127"/>
                  <a:gd name="T43" fmla="*/ 57 h 70"/>
                  <a:gd name="T44" fmla="*/ 1 w 127"/>
                  <a:gd name="T45" fmla="*/ 59 h 70"/>
                  <a:gd name="T46" fmla="*/ 1 w 127"/>
                  <a:gd name="T47" fmla="*/ 60 h 70"/>
                  <a:gd name="T48" fmla="*/ 0 w 127"/>
                  <a:gd name="T49" fmla="*/ 63 h 70"/>
                  <a:gd name="T50" fmla="*/ 2 w 127"/>
                  <a:gd name="T51" fmla="*/ 68 h 70"/>
                  <a:gd name="T52" fmla="*/ 3 w 127"/>
                  <a:gd name="T53" fmla="*/ 68 h 70"/>
                  <a:gd name="T54" fmla="*/ 4 w 127"/>
                  <a:gd name="T55" fmla="*/ 70 h 70"/>
                  <a:gd name="T56" fmla="*/ 127 w 127"/>
                  <a:gd name="T57" fmla="*/ 70 h 70"/>
                  <a:gd name="T58" fmla="*/ 123 w 127"/>
                  <a:gd name="T59" fmla="*/ 69 h 70"/>
                  <a:gd name="T60" fmla="*/ 116 w 127"/>
                  <a:gd name="T61" fmla="*/ 66 h 70"/>
                  <a:gd name="T62" fmla="*/ 112 w 127"/>
                  <a:gd name="T63" fmla="*/ 60 h 70"/>
                  <a:gd name="T64" fmla="*/ 106 w 127"/>
                  <a:gd name="T65" fmla="*/ 53 h 70"/>
                  <a:gd name="T66" fmla="*/ 98 w 127"/>
                  <a:gd name="T67" fmla="*/ 43 h 70"/>
                  <a:gd name="T68" fmla="*/ 92 w 127"/>
                  <a:gd name="T69" fmla="*/ 36 h 70"/>
                  <a:gd name="T70" fmla="*/ 91 w 127"/>
                  <a:gd name="T71" fmla="*/ 36 h 70"/>
                  <a:gd name="T72" fmla="*/ 88 w 127"/>
                  <a:gd name="T73" fmla="*/ 37 h 70"/>
                  <a:gd name="T74" fmla="*/ 87 w 127"/>
                  <a:gd name="T75" fmla="*/ 37 h 70"/>
                  <a:gd name="T76" fmla="*/ 81 w 127"/>
                  <a:gd name="T77" fmla="*/ 35 h 70"/>
                  <a:gd name="T78" fmla="*/ 70 w 127"/>
                  <a:gd name="T79" fmla="*/ 32 h 70"/>
                  <a:gd name="T80" fmla="*/ 48 w 127"/>
                  <a:gd name="T81" fmla="*/ 24 h 70"/>
                  <a:gd name="T82" fmla="*/ 42 w 127"/>
                  <a:gd name="T83" fmla="*/ 17 h 70"/>
                  <a:gd name="T84" fmla="*/ 36 w 127"/>
                  <a:gd name="T85" fmla="*/ 10 h 70"/>
                  <a:gd name="T86" fmla="*/ 33 w 127"/>
                  <a:gd name="T87" fmla="*/ 5 h 70"/>
                  <a:gd name="T88" fmla="*/ 32 w 127"/>
                  <a:gd name="T89" fmla="*/ 1 h 70"/>
                  <a:gd name="T90" fmla="*/ 31 w 127"/>
                  <a:gd name="T91"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7" h="70">
                    <a:moveTo>
                      <a:pt x="31" y="0"/>
                    </a:moveTo>
                    <a:cubicBezTo>
                      <a:pt x="30" y="2"/>
                      <a:pt x="28" y="3"/>
                      <a:pt x="27" y="3"/>
                    </a:cubicBezTo>
                    <a:cubicBezTo>
                      <a:pt x="26" y="4"/>
                      <a:pt x="25" y="4"/>
                      <a:pt x="24" y="5"/>
                    </a:cubicBezTo>
                    <a:cubicBezTo>
                      <a:pt x="19" y="9"/>
                      <a:pt x="19" y="9"/>
                      <a:pt x="19" y="9"/>
                    </a:cubicBezTo>
                    <a:cubicBezTo>
                      <a:pt x="18" y="6"/>
                      <a:pt x="18" y="6"/>
                      <a:pt x="18" y="6"/>
                    </a:cubicBezTo>
                    <a:cubicBezTo>
                      <a:pt x="18" y="6"/>
                      <a:pt x="18" y="6"/>
                      <a:pt x="18" y="6"/>
                    </a:cubicBezTo>
                    <a:cubicBezTo>
                      <a:pt x="17" y="9"/>
                      <a:pt x="16" y="12"/>
                      <a:pt x="16" y="16"/>
                    </a:cubicBezTo>
                    <a:cubicBezTo>
                      <a:pt x="17" y="17"/>
                      <a:pt x="17" y="17"/>
                      <a:pt x="17" y="17"/>
                    </a:cubicBezTo>
                    <a:cubicBezTo>
                      <a:pt x="17" y="17"/>
                      <a:pt x="17" y="17"/>
                      <a:pt x="17" y="17"/>
                    </a:cubicBezTo>
                    <a:cubicBezTo>
                      <a:pt x="20" y="19"/>
                      <a:pt x="21" y="20"/>
                      <a:pt x="22" y="21"/>
                    </a:cubicBezTo>
                    <a:cubicBezTo>
                      <a:pt x="25" y="26"/>
                      <a:pt x="25" y="26"/>
                      <a:pt x="25" y="26"/>
                    </a:cubicBezTo>
                    <a:cubicBezTo>
                      <a:pt x="18" y="27"/>
                      <a:pt x="18" y="27"/>
                      <a:pt x="18" y="27"/>
                    </a:cubicBezTo>
                    <a:cubicBezTo>
                      <a:pt x="16" y="28"/>
                      <a:pt x="14" y="28"/>
                      <a:pt x="12" y="28"/>
                    </a:cubicBezTo>
                    <a:cubicBezTo>
                      <a:pt x="11" y="28"/>
                      <a:pt x="11" y="28"/>
                      <a:pt x="11" y="28"/>
                    </a:cubicBezTo>
                    <a:cubicBezTo>
                      <a:pt x="12" y="34"/>
                      <a:pt x="12" y="34"/>
                      <a:pt x="12" y="34"/>
                    </a:cubicBezTo>
                    <a:cubicBezTo>
                      <a:pt x="9" y="28"/>
                      <a:pt x="9" y="28"/>
                      <a:pt x="9" y="28"/>
                    </a:cubicBezTo>
                    <a:cubicBezTo>
                      <a:pt x="9" y="28"/>
                      <a:pt x="9" y="28"/>
                      <a:pt x="9" y="28"/>
                    </a:cubicBezTo>
                    <a:cubicBezTo>
                      <a:pt x="7" y="29"/>
                      <a:pt x="7" y="30"/>
                      <a:pt x="6" y="33"/>
                    </a:cubicBezTo>
                    <a:cubicBezTo>
                      <a:pt x="6" y="34"/>
                      <a:pt x="6" y="34"/>
                      <a:pt x="6" y="34"/>
                    </a:cubicBezTo>
                    <a:cubicBezTo>
                      <a:pt x="6" y="36"/>
                      <a:pt x="6" y="37"/>
                      <a:pt x="5" y="38"/>
                    </a:cubicBezTo>
                    <a:cubicBezTo>
                      <a:pt x="5" y="41"/>
                      <a:pt x="4" y="45"/>
                      <a:pt x="3" y="49"/>
                    </a:cubicBezTo>
                    <a:cubicBezTo>
                      <a:pt x="1" y="57"/>
                      <a:pt x="1" y="57"/>
                      <a:pt x="1" y="57"/>
                    </a:cubicBezTo>
                    <a:cubicBezTo>
                      <a:pt x="1" y="58"/>
                      <a:pt x="1" y="59"/>
                      <a:pt x="1" y="59"/>
                    </a:cubicBezTo>
                    <a:cubicBezTo>
                      <a:pt x="1" y="60"/>
                      <a:pt x="1" y="60"/>
                      <a:pt x="1" y="60"/>
                    </a:cubicBezTo>
                    <a:cubicBezTo>
                      <a:pt x="0" y="61"/>
                      <a:pt x="0" y="63"/>
                      <a:pt x="0" y="63"/>
                    </a:cubicBezTo>
                    <a:cubicBezTo>
                      <a:pt x="1" y="65"/>
                      <a:pt x="2" y="66"/>
                      <a:pt x="2" y="68"/>
                    </a:cubicBezTo>
                    <a:cubicBezTo>
                      <a:pt x="3" y="68"/>
                      <a:pt x="3" y="68"/>
                      <a:pt x="3" y="68"/>
                    </a:cubicBezTo>
                    <a:cubicBezTo>
                      <a:pt x="3" y="69"/>
                      <a:pt x="3" y="70"/>
                      <a:pt x="4" y="70"/>
                    </a:cubicBezTo>
                    <a:cubicBezTo>
                      <a:pt x="127" y="70"/>
                      <a:pt x="127" y="70"/>
                      <a:pt x="127" y="70"/>
                    </a:cubicBezTo>
                    <a:cubicBezTo>
                      <a:pt x="126" y="69"/>
                      <a:pt x="125" y="69"/>
                      <a:pt x="123" y="69"/>
                    </a:cubicBezTo>
                    <a:cubicBezTo>
                      <a:pt x="119" y="69"/>
                      <a:pt x="118" y="68"/>
                      <a:pt x="116" y="66"/>
                    </a:cubicBezTo>
                    <a:cubicBezTo>
                      <a:pt x="115" y="64"/>
                      <a:pt x="113" y="62"/>
                      <a:pt x="112" y="60"/>
                    </a:cubicBezTo>
                    <a:cubicBezTo>
                      <a:pt x="110" y="58"/>
                      <a:pt x="108" y="56"/>
                      <a:pt x="106" y="53"/>
                    </a:cubicBezTo>
                    <a:cubicBezTo>
                      <a:pt x="103" y="50"/>
                      <a:pt x="101" y="47"/>
                      <a:pt x="98" y="43"/>
                    </a:cubicBezTo>
                    <a:cubicBezTo>
                      <a:pt x="97" y="41"/>
                      <a:pt x="94" y="37"/>
                      <a:pt x="92" y="36"/>
                    </a:cubicBezTo>
                    <a:cubicBezTo>
                      <a:pt x="92" y="36"/>
                      <a:pt x="91" y="36"/>
                      <a:pt x="91" y="36"/>
                    </a:cubicBezTo>
                    <a:cubicBezTo>
                      <a:pt x="90" y="36"/>
                      <a:pt x="90" y="37"/>
                      <a:pt x="88" y="37"/>
                    </a:cubicBezTo>
                    <a:cubicBezTo>
                      <a:pt x="88" y="37"/>
                      <a:pt x="88" y="37"/>
                      <a:pt x="87" y="37"/>
                    </a:cubicBezTo>
                    <a:cubicBezTo>
                      <a:pt x="85" y="37"/>
                      <a:pt x="84" y="36"/>
                      <a:pt x="81" y="35"/>
                    </a:cubicBezTo>
                    <a:cubicBezTo>
                      <a:pt x="77" y="33"/>
                      <a:pt x="74" y="34"/>
                      <a:pt x="70" y="32"/>
                    </a:cubicBezTo>
                    <a:cubicBezTo>
                      <a:pt x="63" y="29"/>
                      <a:pt x="54" y="29"/>
                      <a:pt x="48" y="24"/>
                    </a:cubicBezTo>
                    <a:cubicBezTo>
                      <a:pt x="45" y="22"/>
                      <a:pt x="44" y="20"/>
                      <a:pt x="42" y="17"/>
                    </a:cubicBezTo>
                    <a:cubicBezTo>
                      <a:pt x="40" y="15"/>
                      <a:pt x="38" y="13"/>
                      <a:pt x="36" y="10"/>
                    </a:cubicBezTo>
                    <a:cubicBezTo>
                      <a:pt x="35" y="8"/>
                      <a:pt x="34" y="7"/>
                      <a:pt x="33" y="5"/>
                    </a:cubicBezTo>
                    <a:cubicBezTo>
                      <a:pt x="32" y="3"/>
                      <a:pt x="32" y="2"/>
                      <a:pt x="32" y="1"/>
                    </a:cubicBezTo>
                    <a:cubicBezTo>
                      <a:pt x="31" y="1"/>
                      <a:pt x="31"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29" name="Freeform 357">
                <a:extLst>
                  <a:ext uri="{FF2B5EF4-FFF2-40B4-BE49-F238E27FC236}">
                    <a16:creationId xmlns:a16="http://schemas.microsoft.com/office/drawing/2014/main" id="{BAB915E9-F3A7-4945-9E3E-70280D2BD94E}"/>
                  </a:ext>
                </a:extLst>
              </p:cNvPr>
              <p:cNvSpPr>
                <a:spLocks/>
              </p:cNvSpPr>
              <p:nvPr/>
            </p:nvSpPr>
            <p:spPr bwMode="auto">
              <a:xfrm>
                <a:off x="9032218" y="6526341"/>
                <a:ext cx="412733" cy="298494"/>
              </a:xfrm>
              <a:custGeom>
                <a:avLst/>
                <a:gdLst>
                  <a:gd name="T0" fmla="*/ 118 w 130"/>
                  <a:gd name="T1" fmla="*/ 0 h 94"/>
                  <a:gd name="T2" fmla="*/ 112 w 130"/>
                  <a:gd name="T3" fmla="*/ 9 h 94"/>
                  <a:gd name="T4" fmla="*/ 104 w 130"/>
                  <a:gd name="T5" fmla="*/ 16 h 94"/>
                  <a:gd name="T6" fmla="*/ 85 w 130"/>
                  <a:gd name="T7" fmla="*/ 34 h 94"/>
                  <a:gd name="T8" fmla="*/ 79 w 130"/>
                  <a:gd name="T9" fmla="*/ 42 h 94"/>
                  <a:gd name="T10" fmla="*/ 73 w 130"/>
                  <a:gd name="T11" fmla="*/ 52 h 94"/>
                  <a:gd name="T12" fmla="*/ 70 w 130"/>
                  <a:gd name="T13" fmla="*/ 53 h 94"/>
                  <a:gd name="T14" fmla="*/ 64 w 130"/>
                  <a:gd name="T15" fmla="*/ 51 h 94"/>
                  <a:gd name="T16" fmla="*/ 55 w 130"/>
                  <a:gd name="T17" fmla="*/ 58 h 94"/>
                  <a:gd name="T18" fmla="*/ 54 w 130"/>
                  <a:gd name="T19" fmla="*/ 58 h 94"/>
                  <a:gd name="T20" fmla="*/ 48 w 130"/>
                  <a:gd name="T21" fmla="*/ 57 h 94"/>
                  <a:gd name="T22" fmla="*/ 37 w 130"/>
                  <a:gd name="T23" fmla="*/ 56 h 94"/>
                  <a:gd name="T24" fmla="*/ 26 w 130"/>
                  <a:gd name="T25" fmla="*/ 57 h 94"/>
                  <a:gd name="T26" fmla="*/ 6 w 130"/>
                  <a:gd name="T27" fmla="*/ 61 h 94"/>
                  <a:gd name="T28" fmla="*/ 0 w 130"/>
                  <a:gd name="T29" fmla="*/ 60 h 94"/>
                  <a:gd name="T30" fmla="*/ 4 w 130"/>
                  <a:gd name="T31" fmla="*/ 63 h 94"/>
                  <a:gd name="T32" fmla="*/ 5 w 130"/>
                  <a:gd name="T33" fmla="*/ 65 h 94"/>
                  <a:gd name="T34" fmla="*/ 9 w 130"/>
                  <a:gd name="T35" fmla="*/ 70 h 94"/>
                  <a:gd name="T36" fmla="*/ 13 w 130"/>
                  <a:gd name="T37" fmla="*/ 75 h 94"/>
                  <a:gd name="T38" fmla="*/ 23 w 130"/>
                  <a:gd name="T39" fmla="*/ 88 h 94"/>
                  <a:gd name="T40" fmla="*/ 93 w 130"/>
                  <a:gd name="T41" fmla="*/ 94 h 94"/>
                  <a:gd name="T42" fmla="*/ 94 w 130"/>
                  <a:gd name="T43" fmla="*/ 91 h 94"/>
                  <a:gd name="T44" fmla="*/ 94 w 130"/>
                  <a:gd name="T45" fmla="*/ 90 h 94"/>
                  <a:gd name="T46" fmla="*/ 96 w 130"/>
                  <a:gd name="T47" fmla="*/ 83 h 94"/>
                  <a:gd name="T48" fmla="*/ 98 w 130"/>
                  <a:gd name="T49" fmla="*/ 70 h 94"/>
                  <a:gd name="T50" fmla="*/ 99 w 130"/>
                  <a:gd name="T51" fmla="*/ 68 h 94"/>
                  <a:gd name="T52" fmla="*/ 99 w 130"/>
                  <a:gd name="T53" fmla="*/ 67 h 94"/>
                  <a:gd name="T54" fmla="*/ 99 w 130"/>
                  <a:gd name="T55" fmla="*/ 65 h 94"/>
                  <a:gd name="T56" fmla="*/ 106 w 130"/>
                  <a:gd name="T57" fmla="*/ 56 h 94"/>
                  <a:gd name="T58" fmla="*/ 108 w 130"/>
                  <a:gd name="T59" fmla="*/ 55 h 94"/>
                  <a:gd name="T60" fmla="*/ 109 w 130"/>
                  <a:gd name="T61" fmla="*/ 55 h 94"/>
                  <a:gd name="T62" fmla="*/ 110 w 130"/>
                  <a:gd name="T63" fmla="*/ 55 h 94"/>
                  <a:gd name="T64" fmla="*/ 110 w 130"/>
                  <a:gd name="T65" fmla="*/ 55 h 94"/>
                  <a:gd name="T66" fmla="*/ 111 w 130"/>
                  <a:gd name="T67" fmla="*/ 55 h 94"/>
                  <a:gd name="T68" fmla="*/ 109 w 130"/>
                  <a:gd name="T69" fmla="*/ 52 h 94"/>
                  <a:gd name="T70" fmla="*/ 112 w 130"/>
                  <a:gd name="T71" fmla="*/ 35 h 94"/>
                  <a:gd name="T72" fmla="*/ 113 w 130"/>
                  <a:gd name="T73" fmla="*/ 33 h 94"/>
                  <a:gd name="T74" fmla="*/ 121 w 130"/>
                  <a:gd name="T75" fmla="*/ 33 h 94"/>
                  <a:gd name="T76" fmla="*/ 125 w 130"/>
                  <a:gd name="T77" fmla="*/ 31 h 94"/>
                  <a:gd name="T78" fmla="*/ 126 w 130"/>
                  <a:gd name="T79" fmla="*/ 27 h 94"/>
                  <a:gd name="T80" fmla="*/ 127 w 130"/>
                  <a:gd name="T81" fmla="*/ 26 h 94"/>
                  <a:gd name="T82" fmla="*/ 128 w 130"/>
                  <a:gd name="T83" fmla="*/ 27 h 94"/>
                  <a:gd name="T84" fmla="*/ 128 w 130"/>
                  <a:gd name="T85" fmla="*/ 25 h 94"/>
                  <a:gd name="T86" fmla="*/ 129 w 130"/>
                  <a:gd name="T87" fmla="*/ 25 h 94"/>
                  <a:gd name="T88" fmla="*/ 130 w 130"/>
                  <a:gd name="T89" fmla="*/ 19 h 94"/>
                  <a:gd name="T90" fmla="*/ 128 w 130"/>
                  <a:gd name="T91" fmla="*/ 13 h 94"/>
                  <a:gd name="T92" fmla="*/ 125 w 130"/>
                  <a:gd name="T93" fmla="*/ 14 h 94"/>
                  <a:gd name="T94" fmla="*/ 122 w 130"/>
                  <a:gd name="T95" fmla="*/ 13 h 94"/>
                  <a:gd name="T96" fmla="*/ 118 w 130"/>
                  <a:gd name="T97" fmla="*/ 1 h 94"/>
                  <a:gd name="T98" fmla="*/ 118 w 130"/>
                  <a:gd name="T99"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0" h="94">
                    <a:moveTo>
                      <a:pt x="118" y="0"/>
                    </a:moveTo>
                    <a:cubicBezTo>
                      <a:pt x="116" y="3"/>
                      <a:pt x="114" y="6"/>
                      <a:pt x="112" y="9"/>
                    </a:cubicBezTo>
                    <a:cubicBezTo>
                      <a:pt x="110" y="11"/>
                      <a:pt x="106" y="13"/>
                      <a:pt x="104" y="16"/>
                    </a:cubicBezTo>
                    <a:cubicBezTo>
                      <a:pt x="98" y="22"/>
                      <a:pt x="92" y="29"/>
                      <a:pt x="85" y="34"/>
                    </a:cubicBezTo>
                    <a:cubicBezTo>
                      <a:pt x="81" y="37"/>
                      <a:pt x="80" y="38"/>
                      <a:pt x="79" y="42"/>
                    </a:cubicBezTo>
                    <a:cubicBezTo>
                      <a:pt x="77" y="44"/>
                      <a:pt x="76" y="50"/>
                      <a:pt x="73" y="52"/>
                    </a:cubicBezTo>
                    <a:cubicBezTo>
                      <a:pt x="72" y="52"/>
                      <a:pt x="71" y="53"/>
                      <a:pt x="70" y="53"/>
                    </a:cubicBezTo>
                    <a:cubicBezTo>
                      <a:pt x="68" y="53"/>
                      <a:pt x="66" y="51"/>
                      <a:pt x="64" y="51"/>
                    </a:cubicBezTo>
                    <a:cubicBezTo>
                      <a:pt x="68" y="54"/>
                      <a:pt x="58" y="57"/>
                      <a:pt x="55" y="58"/>
                    </a:cubicBezTo>
                    <a:cubicBezTo>
                      <a:pt x="55" y="58"/>
                      <a:pt x="54" y="58"/>
                      <a:pt x="54" y="58"/>
                    </a:cubicBezTo>
                    <a:cubicBezTo>
                      <a:pt x="52" y="58"/>
                      <a:pt x="50" y="57"/>
                      <a:pt x="48" y="57"/>
                    </a:cubicBezTo>
                    <a:cubicBezTo>
                      <a:pt x="45" y="56"/>
                      <a:pt x="41" y="56"/>
                      <a:pt x="37" y="56"/>
                    </a:cubicBezTo>
                    <a:cubicBezTo>
                      <a:pt x="34" y="56"/>
                      <a:pt x="30" y="56"/>
                      <a:pt x="26" y="57"/>
                    </a:cubicBezTo>
                    <a:cubicBezTo>
                      <a:pt x="23" y="58"/>
                      <a:pt x="13" y="61"/>
                      <a:pt x="6" y="61"/>
                    </a:cubicBezTo>
                    <a:cubicBezTo>
                      <a:pt x="4" y="61"/>
                      <a:pt x="2" y="61"/>
                      <a:pt x="0" y="60"/>
                    </a:cubicBezTo>
                    <a:cubicBezTo>
                      <a:pt x="1" y="61"/>
                      <a:pt x="3" y="62"/>
                      <a:pt x="4" y="63"/>
                    </a:cubicBezTo>
                    <a:cubicBezTo>
                      <a:pt x="5" y="65"/>
                      <a:pt x="5" y="65"/>
                      <a:pt x="5" y="65"/>
                    </a:cubicBezTo>
                    <a:cubicBezTo>
                      <a:pt x="6" y="66"/>
                      <a:pt x="9" y="70"/>
                      <a:pt x="9" y="70"/>
                    </a:cubicBezTo>
                    <a:cubicBezTo>
                      <a:pt x="13" y="75"/>
                      <a:pt x="13" y="75"/>
                      <a:pt x="13" y="75"/>
                    </a:cubicBezTo>
                    <a:cubicBezTo>
                      <a:pt x="17" y="79"/>
                      <a:pt x="20" y="84"/>
                      <a:pt x="23" y="88"/>
                    </a:cubicBezTo>
                    <a:cubicBezTo>
                      <a:pt x="93" y="94"/>
                      <a:pt x="93" y="94"/>
                      <a:pt x="93" y="94"/>
                    </a:cubicBezTo>
                    <a:cubicBezTo>
                      <a:pt x="93" y="93"/>
                      <a:pt x="94" y="92"/>
                      <a:pt x="94" y="91"/>
                    </a:cubicBezTo>
                    <a:cubicBezTo>
                      <a:pt x="94" y="91"/>
                      <a:pt x="94" y="90"/>
                      <a:pt x="94" y="90"/>
                    </a:cubicBezTo>
                    <a:cubicBezTo>
                      <a:pt x="96" y="83"/>
                      <a:pt x="96" y="83"/>
                      <a:pt x="96" y="83"/>
                    </a:cubicBezTo>
                    <a:cubicBezTo>
                      <a:pt x="97" y="79"/>
                      <a:pt x="98" y="74"/>
                      <a:pt x="98" y="70"/>
                    </a:cubicBezTo>
                    <a:cubicBezTo>
                      <a:pt x="99" y="70"/>
                      <a:pt x="99" y="69"/>
                      <a:pt x="99" y="68"/>
                    </a:cubicBezTo>
                    <a:cubicBezTo>
                      <a:pt x="99" y="67"/>
                      <a:pt x="99" y="67"/>
                      <a:pt x="99" y="67"/>
                    </a:cubicBezTo>
                    <a:cubicBezTo>
                      <a:pt x="99" y="66"/>
                      <a:pt x="99" y="66"/>
                      <a:pt x="99" y="65"/>
                    </a:cubicBezTo>
                    <a:cubicBezTo>
                      <a:pt x="100" y="62"/>
                      <a:pt x="101" y="58"/>
                      <a:pt x="106" y="56"/>
                    </a:cubicBezTo>
                    <a:cubicBezTo>
                      <a:pt x="107" y="55"/>
                      <a:pt x="108" y="55"/>
                      <a:pt x="108" y="55"/>
                    </a:cubicBezTo>
                    <a:cubicBezTo>
                      <a:pt x="109" y="55"/>
                      <a:pt x="109" y="55"/>
                      <a:pt x="109" y="55"/>
                    </a:cubicBezTo>
                    <a:cubicBezTo>
                      <a:pt x="110" y="55"/>
                      <a:pt x="110" y="55"/>
                      <a:pt x="110" y="55"/>
                    </a:cubicBezTo>
                    <a:cubicBezTo>
                      <a:pt x="110" y="55"/>
                      <a:pt x="110" y="55"/>
                      <a:pt x="110" y="55"/>
                    </a:cubicBezTo>
                    <a:cubicBezTo>
                      <a:pt x="111" y="55"/>
                      <a:pt x="111" y="55"/>
                      <a:pt x="111" y="55"/>
                    </a:cubicBezTo>
                    <a:cubicBezTo>
                      <a:pt x="110" y="54"/>
                      <a:pt x="109" y="53"/>
                      <a:pt x="109" y="52"/>
                    </a:cubicBezTo>
                    <a:cubicBezTo>
                      <a:pt x="109" y="46"/>
                      <a:pt x="110" y="41"/>
                      <a:pt x="112" y="35"/>
                    </a:cubicBezTo>
                    <a:cubicBezTo>
                      <a:pt x="113" y="33"/>
                      <a:pt x="113" y="33"/>
                      <a:pt x="113" y="33"/>
                    </a:cubicBezTo>
                    <a:cubicBezTo>
                      <a:pt x="121" y="33"/>
                      <a:pt x="121" y="33"/>
                      <a:pt x="121" y="33"/>
                    </a:cubicBezTo>
                    <a:cubicBezTo>
                      <a:pt x="122" y="32"/>
                      <a:pt x="124" y="31"/>
                      <a:pt x="125" y="31"/>
                    </a:cubicBezTo>
                    <a:cubicBezTo>
                      <a:pt x="125" y="30"/>
                      <a:pt x="126" y="29"/>
                      <a:pt x="126" y="27"/>
                    </a:cubicBezTo>
                    <a:cubicBezTo>
                      <a:pt x="127" y="26"/>
                      <a:pt x="127" y="26"/>
                      <a:pt x="127" y="26"/>
                    </a:cubicBezTo>
                    <a:cubicBezTo>
                      <a:pt x="128" y="27"/>
                      <a:pt x="128" y="27"/>
                      <a:pt x="128" y="27"/>
                    </a:cubicBezTo>
                    <a:cubicBezTo>
                      <a:pt x="128" y="25"/>
                      <a:pt x="128" y="25"/>
                      <a:pt x="128" y="25"/>
                    </a:cubicBezTo>
                    <a:cubicBezTo>
                      <a:pt x="129" y="25"/>
                      <a:pt x="129" y="25"/>
                      <a:pt x="129" y="25"/>
                    </a:cubicBezTo>
                    <a:cubicBezTo>
                      <a:pt x="130" y="23"/>
                      <a:pt x="130" y="20"/>
                      <a:pt x="130" y="19"/>
                    </a:cubicBezTo>
                    <a:cubicBezTo>
                      <a:pt x="129" y="17"/>
                      <a:pt x="128" y="15"/>
                      <a:pt x="128" y="13"/>
                    </a:cubicBezTo>
                    <a:cubicBezTo>
                      <a:pt x="127" y="13"/>
                      <a:pt x="126" y="14"/>
                      <a:pt x="125" y="14"/>
                    </a:cubicBezTo>
                    <a:cubicBezTo>
                      <a:pt x="124" y="14"/>
                      <a:pt x="123" y="13"/>
                      <a:pt x="122" y="13"/>
                    </a:cubicBezTo>
                    <a:cubicBezTo>
                      <a:pt x="119" y="11"/>
                      <a:pt x="119" y="6"/>
                      <a:pt x="118" y="1"/>
                    </a:cubicBezTo>
                    <a:cubicBezTo>
                      <a:pt x="118" y="0"/>
                      <a:pt x="118" y="0"/>
                      <a:pt x="1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30" name="Freeform 358">
                <a:extLst>
                  <a:ext uri="{FF2B5EF4-FFF2-40B4-BE49-F238E27FC236}">
                    <a16:creationId xmlns:a16="http://schemas.microsoft.com/office/drawing/2014/main" id="{30887203-258F-474B-9BB4-D0C5C0315962}"/>
                  </a:ext>
                </a:extLst>
              </p:cNvPr>
              <p:cNvSpPr>
                <a:spLocks/>
              </p:cNvSpPr>
              <p:nvPr/>
            </p:nvSpPr>
            <p:spPr bwMode="auto">
              <a:xfrm>
                <a:off x="7469730" y="5933037"/>
                <a:ext cx="1868353" cy="924964"/>
              </a:xfrm>
              <a:custGeom>
                <a:avLst/>
                <a:gdLst>
                  <a:gd name="T0" fmla="*/ 117 w 588"/>
                  <a:gd name="T1" fmla="*/ 6 h 291"/>
                  <a:gd name="T2" fmla="*/ 80 w 588"/>
                  <a:gd name="T3" fmla="*/ 17 h 291"/>
                  <a:gd name="T4" fmla="*/ 97 w 588"/>
                  <a:gd name="T5" fmla="*/ 39 h 291"/>
                  <a:gd name="T6" fmla="*/ 100 w 588"/>
                  <a:gd name="T7" fmla="*/ 43 h 291"/>
                  <a:gd name="T8" fmla="*/ 87 w 588"/>
                  <a:gd name="T9" fmla="*/ 66 h 291"/>
                  <a:gd name="T10" fmla="*/ 74 w 588"/>
                  <a:gd name="T11" fmla="*/ 69 h 291"/>
                  <a:gd name="T12" fmla="*/ 67 w 588"/>
                  <a:gd name="T13" fmla="*/ 70 h 291"/>
                  <a:gd name="T14" fmla="*/ 53 w 588"/>
                  <a:gd name="T15" fmla="*/ 84 h 291"/>
                  <a:gd name="T16" fmla="*/ 36 w 588"/>
                  <a:gd name="T17" fmla="*/ 90 h 291"/>
                  <a:gd name="T18" fmla="*/ 16 w 588"/>
                  <a:gd name="T19" fmla="*/ 87 h 291"/>
                  <a:gd name="T20" fmla="*/ 13 w 588"/>
                  <a:gd name="T21" fmla="*/ 88 h 291"/>
                  <a:gd name="T22" fmla="*/ 3 w 588"/>
                  <a:gd name="T23" fmla="*/ 124 h 291"/>
                  <a:gd name="T24" fmla="*/ 5 w 588"/>
                  <a:gd name="T25" fmla="*/ 121 h 291"/>
                  <a:gd name="T26" fmla="*/ 9 w 588"/>
                  <a:gd name="T27" fmla="*/ 122 h 291"/>
                  <a:gd name="T28" fmla="*/ 14 w 588"/>
                  <a:gd name="T29" fmla="*/ 121 h 291"/>
                  <a:gd name="T30" fmla="*/ 39 w 588"/>
                  <a:gd name="T31" fmla="*/ 155 h 291"/>
                  <a:gd name="T32" fmla="*/ 67 w 588"/>
                  <a:gd name="T33" fmla="*/ 198 h 291"/>
                  <a:gd name="T34" fmla="*/ 86 w 588"/>
                  <a:gd name="T35" fmla="*/ 236 h 291"/>
                  <a:gd name="T36" fmla="*/ 113 w 588"/>
                  <a:gd name="T37" fmla="*/ 255 h 291"/>
                  <a:gd name="T38" fmla="*/ 130 w 588"/>
                  <a:gd name="T39" fmla="*/ 291 h 291"/>
                  <a:gd name="T40" fmla="*/ 585 w 588"/>
                  <a:gd name="T41" fmla="*/ 288 h 291"/>
                  <a:gd name="T42" fmla="*/ 499 w 588"/>
                  <a:gd name="T43" fmla="*/ 266 h 291"/>
                  <a:gd name="T44" fmla="*/ 482 w 588"/>
                  <a:gd name="T45" fmla="*/ 242 h 291"/>
                  <a:gd name="T46" fmla="*/ 478 w 588"/>
                  <a:gd name="T47" fmla="*/ 234 h 291"/>
                  <a:gd name="T48" fmla="*/ 482 w 588"/>
                  <a:gd name="T49" fmla="*/ 227 h 291"/>
                  <a:gd name="T50" fmla="*/ 478 w 588"/>
                  <a:gd name="T51" fmla="*/ 228 h 291"/>
                  <a:gd name="T52" fmla="*/ 472 w 588"/>
                  <a:gd name="T53" fmla="*/ 228 h 291"/>
                  <a:gd name="T54" fmla="*/ 469 w 588"/>
                  <a:gd name="T55" fmla="*/ 229 h 291"/>
                  <a:gd name="T56" fmla="*/ 468 w 588"/>
                  <a:gd name="T57" fmla="*/ 228 h 291"/>
                  <a:gd name="T58" fmla="*/ 463 w 588"/>
                  <a:gd name="T59" fmla="*/ 222 h 291"/>
                  <a:gd name="T60" fmla="*/ 440 w 588"/>
                  <a:gd name="T61" fmla="*/ 181 h 291"/>
                  <a:gd name="T62" fmla="*/ 446 w 588"/>
                  <a:gd name="T63" fmla="*/ 174 h 291"/>
                  <a:gd name="T64" fmla="*/ 445 w 588"/>
                  <a:gd name="T65" fmla="*/ 166 h 291"/>
                  <a:gd name="T66" fmla="*/ 426 w 588"/>
                  <a:gd name="T67" fmla="*/ 150 h 291"/>
                  <a:gd name="T68" fmla="*/ 415 w 588"/>
                  <a:gd name="T69" fmla="*/ 142 h 291"/>
                  <a:gd name="T70" fmla="*/ 417 w 588"/>
                  <a:gd name="T71" fmla="*/ 139 h 291"/>
                  <a:gd name="T72" fmla="*/ 412 w 588"/>
                  <a:gd name="T73" fmla="*/ 137 h 291"/>
                  <a:gd name="T74" fmla="*/ 397 w 588"/>
                  <a:gd name="T75" fmla="*/ 111 h 291"/>
                  <a:gd name="T76" fmla="*/ 394 w 588"/>
                  <a:gd name="T77" fmla="*/ 111 h 291"/>
                  <a:gd name="T78" fmla="*/ 389 w 588"/>
                  <a:gd name="T79" fmla="*/ 112 h 291"/>
                  <a:gd name="T80" fmla="*/ 369 w 588"/>
                  <a:gd name="T81" fmla="*/ 106 h 291"/>
                  <a:gd name="T82" fmla="*/ 368 w 588"/>
                  <a:gd name="T83" fmla="*/ 104 h 291"/>
                  <a:gd name="T84" fmla="*/ 368 w 588"/>
                  <a:gd name="T85" fmla="*/ 101 h 291"/>
                  <a:gd name="T86" fmla="*/ 367 w 588"/>
                  <a:gd name="T87" fmla="*/ 100 h 291"/>
                  <a:gd name="T88" fmla="*/ 342 w 588"/>
                  <a:gd name="T89" fmla="*/ 94 h 291"/>
                  <a:gd name="T90" fmla="*/ 338 w 588"/>
                  <a:gd name="T91" fmla="*/ 96 h 291"/>
                  <a:gd name="T92" fmla="*/ 333 w 588"/>
                  <a:gd name="T93" fmla="*/ 95 h 291"/>
                  <a:gd name="T94" fmla="*/ 274 w 588"/>
                  <a:gd name="T95" fmla="*/ 79 h 291"/>
                  <a:gd name="T96" fmla="*/ 232 w 588"/>
                  <a:gd name="T97" fmla="*/ 47 h 291"/>
                  <a:gd name="T98" fmla="*/ 199 w 588"/>
                  <a:gd name="T99" fmla="*/ 24 h 291"/>
                  <a:gd name="T100" fmla="*/ 167 w 588"/>
                  <a:gd name="T101" fmla="*/ 5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88" h="291">
                    <a:moveTo>
                      <a:pt x="133" y="0"/>
                    </a:moveTo>
                    <a:cubicBezTo>
                      <a:pt x="131" y="0"/>
                      <a:pt x="131" y="0"/>
                      <a:pt x="131" y="0"/>
                    </a:cubicBezTo>
                    <a:cubicBezTo>
                      <a:pt x="127" y="3"/>
                      <a:pt x="122" y="4"/>
                      <a:pt x="117" y="6"/>
                    </a:cubicBezTo>
                    <a:cubicBezTo>
                      <a:pt x="115" y="6"/>
                      <a:pt x="115" y="6"/>
                      <a:pt x="115" y="6"/>
                    </a:cubicBezTo>
                    <a:cubicBezTo>
                      <a:pt x="113" y="7"/>
                      <a:pt x="111" y="7"/>
                      <a:pt x="109" y="8"/>
                    </a:cubicBezTo>
                    <a:cubicBezTo>
                      <a:pt x="100" y="11"/>
                      <a:pt x="90" y="14"/>
                      <a:pt x="80" y="17"/>
                    </a:cubicBezTo>
                    <a:cubicBezTo>
                      <a:pt x="77" y="18"/>
                      <a:pt x="77" y="18"/>
                      <a:pt x="77" y="18"/>
                    </a:cubicBezTo>
                    <a:cubicBezTo>
                      <a:pt x="83" y="24"/>
                      <a:pt x="89" y="30"/>
                      <a:pt x="95" y="37"/>
                    </a:cubicBezTo>
                    <a:cubicBezTo>
                      <a:pt x="95" y="38"/>
                      <a:pt x="96" y="38"/>
                      <a:pt x="97" y="39"/>
                    </a:cubicBezTo>
                    <a:cubicBezTo>
                      <a:pt x="97" y="39"/>
                      <a:pt x="97" y="39"/>
                      <a:pt x="97" y="39"/>
                    </a:cubicBezTo>
                    <a:cubicBezTo>
                      <a:pt x="98" y="40"/>
                      <a:pt x="98" y="41"/>
                      <a:pt x="99" y="41"/>
                    </a:cubicBezTo>
                    <a:cubicBezTo>
                      <a:pt x="99" y="42"/>
                      <a:pt x="100" y="42"/>
                      <a:pt x="100" y="43"/>
                    </a:cubicBezTo>
                    <a:cubicBezTo>
                      <a:pt x="102" y="44"/>
                      <a:pt x="102" y="45"/>
                      <a:pt x="102" y="47"/>
                    </a:cubicBezTo>
                    <a:cubicBezTo>
                      <a:pt x="103" y="48"/>
                      <a:pt x="103" y="51"/>
                      <a:pt x="89" y="63"/>
                    </a:cubicBezTo>
                    <a:cubicBezTo>
                      <a:pt x="88" y="64"/>
                      <a:pt x="88" y="65"/>
                      <a:pt x="87" y="66"/>
                    </a:cubicBezTo>
                    <a:cubicBezTo>
                      <a:pt x="84" y="67"/>
                      <a:pt x="81" y="68"/>
                      <a:pt x="78" y="68"/>
                    </a:cubicBezTo>
                    <a:cubicBezTo>
                      <a:pt x="77" y="68"/>
                      <a:pt x="77" y="68"/>
                      <a:pt x="77" y="68"/>
                    </a:cubicBezTo>
                    <a:cubicBezTo>
                      <a:pt x="76" y="68"/>
                      <a:pt x="75" y="68"/>
                      <a:pt x="74" y="69"/>
                    </a:cubicBezTo>
                    <a:cubicBezTo>
                      <a:pt x="73" y="69"/>
                      <a:pt x="73" y="69"/>
                      <a:pt x="72" y="69"/>
                    </a:cubicBezTo>
                    <a:cubicBezTo>
                      <a:pt x="70" y="69"/>
                      <a:pt x="70" y="69"/>
                      <a:pt x="70" y="69"/>
                    </a:cubicBezTo>
                    <a:cubicBezTo>
                      <a:pt x="69" y="69"/>
                      <a:pt x="68" y="70"/>
                      <a:pt x="67" y="70"/>
                    </a:cubicBezTo>
                    <a:cubicBezTo>
                      <a:pt x="64" y="71"/>
                      <a:pt x="62" y="74"/>
                      <a:pt x="59" y="77"/>
                    </a:cubicBezTo>
                    <a:cubicBezTo>
                      <a:pt x="59" y="78"/>
                      <a:pt x="58" y="79"/>
                      <a:pt x="57" y="80"/>
                    </a:cubicBezTo>
                    <a:cubicBezTo>
                      <a:pt x="53" y="84"/>
                      <a:pt x="53" y="84"/>
                      <a:pt x="53" y="84"/>
                    </a:cubicBezTo>
                    <a:cubicBezTo>
                      <a:pt x="50" y="88"/>
                      <a:pt x="48" y="90"/>
                      <a:pt x="46" y="91"/>
                    </a:cubicBezTo>
                    <a:cubicBezTo>
                      <a:pt x="46" y="91"/>
                      <a:pt x="45" y="92"/>
                      <a:pt x="44" y="92"/>
                    </a:cubicBezTo>
                    <a:cubicBezTo>
                      <a:pt x="42" y="92"/>
                      <a:pt x="39" y="91"/>
                      <a:pt x="36" y="90"/>
                    </a:cubicBezTo>
                    <a:cubicBezTo>
                      <a:pt x="35" y="90"/>
                      <a:pt x="35" y="90"/>
                      <a:pt x="35" y="90"/>
                    </a:cubicBezTo>
                    <a:cubicBezTo>
                      <a:pt x="35" y="90"/>
                      <a:pt x="34" y="90"/>
                      <a:pt x="34" y="90"/>
                    </a:cubicBezTo>
                    <a:cubicBezTo>
                      <a:pt x="16" y="87"/>
                      <a:pt x="16" y="87"/>
                      <a:pt x="16" y="87"/>
                    </a:cubicBezTo>
                    <a:cubicBezTo>
                      <a:pt x="16" y="87"/>
                      <a:pt x="15" y="87"/>
                      <a:pt x="15" y="87"/>
                    </a:cubicBezTo>
                    <a:cubicBezTo>
                      <a:pt x="15" y="87"/>
                      <a:pt x="14" y="87"/>
                      <a:pt x="14" y="87"/>
                    </a:cubicBezTo>
                    <a:cubicBezTo>
                      <a:pt x="13" y="88"/>
                      <a:pt x="13" y="88"/>
                      <a:pt x="13" y="88"/>
                    </a:cubicBezTo>
                    <a:cubicBezTo>
                      <a:pt x="12" y="88"/>
                      <a:pt x="12" y="88"/>
                      <a:pt x="12" y="88"/>
                    </a:cubicBezTo>
                    <a:cubicBezTo>
                      <a:pt x="10" y="96"/>
                      <a:pt x="8" y="103"/>
                      <a:pt x="5" y="111"/>
                    </a:cubicBezTo>
                    <a:cubicBezTo>
                      <a:pt x="5" y="113"/>
                      <a:pt x="0" y="124"/>
                      <a:pt x="3" y="124"/>
                    </a:cubicBezTo>
                    <a:cubicBezTo>
                      <a:pt x="3" y="124"/>
                      <a:pt x="3" y="124"/>
                      <a:pt x="3" y="124"/>
                    </a:cubicBezTo>
                    <a:cubicBezTo>
                      <a:pt x="4" y="124"/>
                      <a:pt x="4" y="122"/>
                      <a:pt x="4" y="122"/>
                    </a:cubicBezTo>
                    <a:cubicBezTo>
                      <a:pt x="5" y="121"/>
                      <a:pt x="5" y="121"/>
                      <a:pt x="5" y="121"/>
                    </a:cubicBezTo>
                    <a:cubicBezTo>
                      <a:pt x="6" y="121"/>
                      <a:pt x="6" y="122"/>
                      <a:pt x="7" y="122"/>
                    </a:cubicBezTo>
                    <a:cubicBezTo>
                      <a:pt x="7" y="122"/>
                      <a:pt x="8" y="122"/>
                      <a:pt x="8" y="122"/>
                    </a:cubicBezTo>
                    <a:cubicBezTo>
                      <a:pt x="8" y="122"/>
                      <a:pt x="9" y="122"/>
                      <a:pt x="9" y="122"/>
                    </a:cubicBezTo>
                    <a:cubicBezTo>
                      <a:pt x="9" y="122"/>
                      <a:pt x="10" y="122"/>
                      <a:pt x="10" y="122"/>
                    </a:cubicBezTo>
                    <a:cubicBezTo>
                      <a:pt x="11" y="122"/>
                      <a:pt x="11" y="122"/>
                      <a:pt x="12" y="122"/>
                    </a:cubicBezTo>
                    <a:cubicBezTo>
                      <a:pt x="12" y="122"/>
                      <a:pt x="13" y="121"/>
                      <a:pt x="14" y="121"/>
                    </a:cubicBezTo>
                    <a:cubicBezTo>
                      <a:pt x="14" y="121"/>
                      <a:pt x="14" y="121"/>
                      <a:pt x="14" y="121"/>
                    </a:cubicBezTo>
                    <a:cubicBezTo>
                      <a:pt x="16" y="121"/>
                      <a:pt x="18" y="123"/>
                      <a:pt x="20" y="125"/>
                    </a:cubicBezTo>
                    <a:cubicBezTo>
                      <a:pt x="27" y="135"/>
                      <a:pt x="32" y="146"/>
                      <a:pt x="39" y="155"/>
                    </a:cubicBezTo>
                    <a:cubicBezTo>
                      <a:pt x="47" y="165"/>
                      <a:pt x="51" y="179"/>
                      <a:pt x="61" y="185"/>
                    </a:cubicBezTo>
                    <a:cubicBezTo>
                      <a:pt x="63" y="186"/>
                      <a:pt x="62" y="187"/>
                      <a:pt x="62" y="189"/>
                    </a:cubicBezTo>
                    <a:cubicBezTo>
                      <a:pt x="62" y="193"/>
                      <a:pt x="64" y="195"/>
                      <a:pt x="67" y="198"/>
                    </a:cubicBezTo>
                    <a:cubicBezTo>
                      <a:pt x="71" y="202"/>
                      <a:pt x="76" y="208"/>
                      <a:pt x="78" y="213"/>
                    </a:cubicBezTo>
                    <a:cubicBezTo>
                      <a:pt x="79" y="216"/>
                      <a:pt x="79" y="221"/>
                      <a:pt x="80" y="224"/>
                    </a:cubicBezTo>
                    <a:cubicBezTo>
                      <a:pt x="81" y="229"/>
                      <a:pt x="83" y="232"/>
                      <a:pt x="86" y="236"/>
                    </a:cubicBezTo>
                    <a:cubicBezTo>
                      <a:pt x="88" y="240"/>
                      <a:pt x="91" y="239"/>
                      <a:pt x="95" y="240"/>
                    </a:cubicBezTo>
                    <a:cubicBezTo>
                      <a:pt x="100" y="240"/>
                      <a:pt x="105" y="247"/>
                      <a:pt x="109" y="250"/>
                    </a:cubicBezTo>
                    <a:cubicBezTo>
                      <a:pt x="111" y="252"/>
                      <a:pt x="111" y="253"/>
                      <a:pt x="113" y="255"/>
                    </a:cubicBezTo>
                    <a:cubicBezTo>
                      <a:pt x="116" y="261"/>
                      <a:pt x="120" y="266"/>
                      <a:pt x="122" y="273"/>
                    </a:cubicBezTo>
                    <a:cubicBezTo>
                      <a:pt x="125" y="279"/>
                      <a:pt x="127" y="284"/>
                      <a:pt x="130" y="290"/>
                    </a:cubicBezTo>
                    <a:cubicBezTo>
                      <a:pt x="130" y="290"/>
                      <a:pt x="130" y="291"/>
                      <a:pt x="130" y="291"/>
                    </a:cubicBezTo>
                    <a:cubicBezTo>
                      <a:pt x="588" y="291"/>
                      <a:pt x="588" y="291"/>
                      <a:pt x="588" y="291"/>
                    </a:cubicBezTo>
                    <a:cubicBezTo>
                      <a:pt x="587" y="290"/>
                      <a:pt x="587" y="289"/>
                      <a:pt x="586" y="289"/>
                    </a:cubicBezTo>
                    <a:cubicBezTo>
                      <a:pt x="585" y="288"/>
                      <a:pt x="585" y="288"/>
                      <a:pt x="585" y="288"/>
                    </a:cubicBezTo>
                    <a:cubicBezTo>
                      <a:pt x="513" y="281"/>
                      <a:pt x="513" y="281"/>
                      <a:pt x="513" y="281"/>
                    </a:cubicBezTo>
                    <a:cubicBezTo>
                      <a:pt x="512" y="281"/>
                      <a:pt x="511" y="280"/>
                      <a:pt x="510" y="280"/>
                    </a:cubicBezTo>
                    <a:cubicBezTo>
                      <a:pt x="506" y="275"/>
                      <a:pt x="503" y="270"/>
                      <a:pt x="499" y="266"/>
                    </a:cubicBezTo>
                    <a:cubicBezTo>
                      <a:pt x="492" y="257"/>
                      <a:pt x="492" y="257"/>
                      <a:pt x="492" y="257"/>
                    </a:cubicBezTo>
                    <a:cubicBezTo>
                      <a:pt x="491" y="255"/>
                      <a:pt x="491" y="255"/>
                      <a:pt x="491" y="255"/>
                    </a:cubicBezTo>
                    <a:cubicBezTo>
                      <a:pt x="487" y="251"/>
                      <a:pt x="483" y="247"/>
                      <a:pt x="482" y="242"/>
                    </a:cubicBezTo>
                    <a:cubicBezTo>
                      <a:pt x="481" y="238"/>
                      <a:pt x="481" y="238"/>
                      <a:pt x="481" y="238"/>
                    </a:cubicBezTo>
                    <a:cubicBezTo>
                      <a:pt x="480" y="238"/>
                      <a:pt x="478" y="238"/>
                      <a:pt x="477" y="237"/>
                    </a:cubicBezTo>
                    <a:cubicBezTo>
                      <a:pt x="476" y="237"/>
                      <a:pt x="477" y="234"/>
                      <a:pt x="478" y="234"/>
                    </a:cubicBezTo>
                    <a:cubicBezTo>
                      <a:pt x="479" y="232"/>
                      <a:pt x="481" y="231"/>
                      <a:pt x="481" y="230"/>
                    </a:cubicBezTo>
                    <a:cubicBezTo>
                      <a:pt x="482" y="230"/>
                      <a:pt x="482" y="230"/>
                      <a:pt x="482" y="230"/>
                    </a:cubicBezTo>
                    <a:cubicBezTo>
                      <a:pt x="482" y="227"/>
                      <a:pt x="482" y="227"/>
                      <a:pt x="482" y="227"/>
                    </a:cubicBezTo>
                    <a:cubicBezTo>
                      <a:pt x="482" y="227"/>
                      <a:pt x="482" y="227"/>
                      <a:pt x="482" y="227"/>
                    </a:cubicBezTo>
                    <a:cubicBezTo>
                      <a:pt x="480" y="228"/>
                      <a:pt x="479" y="228"/>
                      <a:pt x="479" y="228"/>
                    </a:cubicBezTo>
                    <a:cubicBezTo>
                      <a:pt x="479" y="228"/>
                      <a:pt x="478" y="228"/>
                      <a:pt x="478" y="228"/>
                    </a:cubicBezTo>
                    <a:cubicBezTo>
                      <a:pt x="478" y="228"/>
                      <a:pt x="477" y="228"/>
                      <a:pt x="476" y="228"/>
                    </a:cubicBezTo>
                    <a:cubicBezTo>
                      <a:pt x="476" y="228"/>
                      <a:pt x="476" y="228"/>
                      <a:pt x="476" y="228"/>
                    </a:cubicBezTo>
                    <a:cubicBezTo>
                      <a:pt x="475" y="228"/>
                      <a:pt x="473" y="228"/>
                      <a:pt x="472" y="228"/>
                    </a:cubicBezTo>
                    <a:cubicBezTo>
                      <a:pt x="471" y="228"/>
                      <a:pt x="471" y="228"/>
                      <a:pt x="470" y="229"/>
                    </a:cubicBezTo>
                    <a:cubicBezTo>
                      <a:pt x="469" y="229"/>
                      <a:pt x="469" y="229"/>
                      <a:pt x="469" y="229"/>
                    </a:cubicBezTo>
                    <a:cubicBezTo>
                      <a:pt x="469" y="229"/>
                      <a:pt x="469" y="229"/>
                      <a:pt x="469" y="229"/>
                    </a:cubicBezTo>
                    <a:cubicBezTo>
                      <a:pt x="469" y="229"/>
                      <a:pt x="469" y="229"/>
                      <a:pt x="469" y="229"/>
                    </a:cubicBezTo>
                    <a:cubicBezTo>
                      <a:pt x="468" y="229"/>
                      <a:pt x="468" y="229"/>
                      <a:pt x="468" y="229"/>
                    </a:cubicBezTo>
                    <a:cubicBezTo>
                      <a:pt x="468" y="228"/>
                      <a:pt x="468" y="228"/>
                      <a:pt x="468" y="228"/>
                    </a:cubicBezTo>
                    <a:cubicBezTo>
                      <a:pt x="466" y="228"/>
                      <a:pt x="465" y="226"/>
                      <a:pt x="464" y="224"/>
                    </a:cubicBezTo>
                    <a:cubicBezTo>
                      <a:pt x="463" y="222"/>
                      <a:pt x="463" y="222"/>
                      <a:pt x="463" y="222"/>
                    </a:cubicBezTo>
                    <a:cubicBezTo>
                      <a:pt x="463" y="222"/>
                      <a:pt x="463" y="222"/>
                      <a:pt x="463" y="222"/>
                    </a:cubicBezTo>
                    <a:cubicBezTo>
                      <a:pt x="459" y="216"/>
                      <a:pt x="455" y="210"/>
                      <a:pt x="451" y="204"/>
                    </a:cubicBezTo>
                    <a:cubicBezTo>
                      <a:pt x="448" y="198"/>
                      <a:pt x="442" y="192"/>
                      <a:pt x="440" y="186"/>
                    </a:cubicBezTo>
                    <a:cubicBezTo>
                      <a:pt x="440" y="185"/>
                      <a:pt x="439" y="182"/>
                      <a:pt x="440" y="181"/>
                    </a:cubicBezTo>
                    <a:cubicBezTo>
                      <a:pt x="441" y="181"/>
                      <a:pt x="441" y="180"/>
                      <a:pt x="441" y="180"/>
                    </a:cubicBezTo>
                    <a:cubicBezTo>
                      <a:pt x="442" y="180"/>
                      <a:pt x="443" y="183"/>
                      <a:pt x="444" y="185"/>
                    </a:cubicBezTo>
                    <a:cubicBezTo>
                      <a:pt x="445" y="182"/>
                      <a:pt x="447" y="176"/>
                      <a:pt x="446" y="174"/>
                    </a:cubicBezTo>
                    <a:cubicBezTo>
                      <a:pt x="444" y="170"/>
                      <a:pt x="438" y="169"/>
                      <a:pt x="440" y="164"/>
                    </a:cubicBezTo>
                    <a:cubicBezTo>
                      <a:pt x="441" y="165"/>
                      <a:pt x="442" y="166"/>
                      <a:pt x="444" y="166"/>
                    </a:cubicBezTo>
                    <a:cubicBezTo>
                      <a:pt x="444" y="166"/>
                      <a:pt x="444" y="166"/>
                      <a:pt x="445" y="166"/>
                    </a:cubicBezTo>
                    <a:cubicBezTo>
                      <a:pt x="442" y="164"/>
                      <a:pt x="441" y="161"/>
                      <a:pt x="438" y="160"/>
                    </a:cubicBezTo>
                    <a:cubicBezTo>
                      <a:pt x="437" y="159"/>
                      <a:pt x="435" y="159"/>
                      <a:pt x="434" y="158"/>
                    </a:cubicBezTo>
                    <a:cubicBezTo>
                      <a:pt x="431" y="156"/>
                      <a:pt x="430" y="150"/>
                      <a:pt x="426" y="150"/>
                    </a:cubicBezTo>
                    <a:cubicBezTo>
                      <a:pt x="426" y="150"/>
                      <a:pt x="426" y="150"/>
                      <a:pt x="426" y="150"/>
                    </a:cubicBezTo>
                    <a:cubicBezTo>
                      <a:pt x="426" y="150"/>
                      <a:pt x="426" y="151"/>
                      <a:pt x="426" y="151"/>
                    </a:cubicBezTo>
                    <a:cubicBezTo>
                      <a:pt x="422" y="151"/>
                      <a:pt x="420" y="144"/>
                      <a:pt x="415" y="142"/>
                    </a:cubicBezTo>
                    <a:cubicBezTo>
                      <a:pt x="417" y="142"/>
                      <a:pt x="418" y="141"/>
                      <a:pt x="420" y="140"/>
                    </a:cubicBezTo>
                    <a:cubicBezTo>
                      <a:pt x="419" y="139"/>
                      <a:pt x="418" y="139"/>
                      <a:pt x="417" y="139"/>
                    </a:cubicBezTo>
                    <a:cubicBezTo>
                      <a:pt x="417" y="139"/>
                      <a:pt x="417" y="139"/>
                      <a:pt x="417" y="139"/>
                    </a:cubicBezTo>
                    <a:cubicBezTo>
                      <a:pt x="416" y="139"/>
                      <a:pt x="416" y="139"/>
                      <a:pt x="416" y="139"/>
                    </a:cubicBezTo>
                    <a:cubicBezTo>
                      <a:pt x="415" y="139"/>
                      <a:pt x="415" y="139"/>
                      <a:pt x="414" y="139"/>
                    </a:cubicBezTo>
                    <a:cubicBezTo>
                      <a:pt x="413" y="138"/>
                      <a:pt x="412" y="137"/>
                      <a:pt x="412" y="137"/>
                    </a:cubicBezTo>
                    <a:cubicBezTo>
                      <a:pt x="409" y="136"/>
                      <a:pt x="408" y="137"/>
                      <a:pt x="406" y="134"/>
                    </a:cubicBezTo>
                    <a:cubicBezTo>
                      <a:pt x="404" y="132"/>
                      <a:pt x="404" y="127"/>
                      <a:pt x="402" y="124"/>
                    </a:cubicBezTo>
                    <a:cubicBezTo>
                      <a:pt x="401" y="120"/>
                      <a:pt x="399" y="116"/>
                      <a:pt x="397" y="111"/>
                    </a:cubicBezTo>
                    <a:cubicBezTo>
                      <a:pt x="396" y="112"/>
                      <a:pt x="396" y="112"/>
                      <a:pt x="396" y="112"/>
                    </a:cubicBezTo>
                    <a:cubicBezTo>
                      <a:pt x="395" y="112"/>
                      <a:pt x="395" y="112"/>
                      <a:pt x="395" y="112"/>
                    </a:cubicBezTo>
                    <a:cubicBezTo>
                      <a:pt x="394" y="111"/>
                      <a:pt x="394" y="111"/>
                      <a:pt x="394" y="111"/>
                    </a:cubicBezTo>
                    <a:cubicBezTo>
                      <a:pt x="393" y="112"/>
                      <a:pt x="393" y="112"/>
                      <a:pt x="393" y="112"/>
                    </a:cubicBezTo>
                    <a:cubicBezTo>
                      <a:pt x="392" y="112"/>
                      <a:pt x="391" y="112"/>
                      <a:pt x="390" y="112"/>
                    </a:cubicBezTo>
                    <a:cubicBezTo>
                      <a:pt x="389" y="112"/>
                      <a:pt x="389" y="112"/>
                      <a:pt x="389" y="112"/>
                    </a:cubicBezTo>
                    <a:cubicBezTo>
                      <a:pt x="387" y="112"/>
                      <a:pt x="385" y="112"/>
                      <a:pt x="383" y="112"/>
                    </a:cubicBezTo>
                    <a:cubicBezTo>
                      <a:pt x="379" y="112"/>
                      <a:pt x="376" y="112"/>
                      <a:pt x="374" y="111"/>
                    </a:cubicBezTo>
                    <a:cubicBezTo>
                      <a:pt x="372" y="110"/>
                      <a:pt x="370" y="108"/>
                      <a:pt x="369" y="106"/>
                    </a:cubicBezTo>
                    <a:cubicBezTo>
                      <a:pt x="368" y="105"/>
                      <a:pt x="368" y="105"/>
                      <a:pt x="368" y="104"/>
                    </a:cubicBezTo>
                    <a:cubicBezTo>
                      <a:pt x="368" y="104"/>
                      <a:pt x="368" y="104"/>
                      <a:pt x="368" y="104"/>
                    </a:cubicBezTo>
                    <a:cubicBezTo>
                      <a:pt x="368" y="104"/>
                      <a:pt x="368" y="104"/>
                      <a:pt x="368" y="104"/>
                    </a:cubicBezTo>
                    <a:cubicBezTo>
                      <a:pt x="368" y="103"/>
                      <a:pt x="368" y="103"/>
                      <a:pt x="368" y="103"/>
                    </a:cubicBezTo>
                    <a:cubicBezTo>
                      <a:pt x="368" y="103"/>
                      <a:pt x="368" y="103"/>
                      <a:pt x="368" y="103"/>
                    </a:cubicBezTo>
                    <a:cubicBezTo>
                      <a:pt x="368" y="102"/>
                      <a:pt x="368" y="102"/>
                      <a:pt x="368" y="101"/>
                    </a:cubicBezTo>
                    <a:cubicBezTo>
                      <a:pt x="367" y="101"/>
                      <a:pt x="367" y="101"/>
                      <a:pt x="367" y="101"/>
                    </a:cubicBezTo>
                    <a:cubicBezTo>
                      <a:pt x="367" y="101"/>
                      <a:pt x="367" y="100"/>
                      <a:pt x="367" y="100"/>
                    </a:cubicBezTo>
                    <a:cubicBezTo>
                      <a:pt x="367" y="100"/>
                      <a:pt x="367" y="100"/>
                      <a:pt x="367" y="100"/>
                    </a:cubicBezTo>
                    <a:cubicBezTo>
                      <a:pt x="343" y="94"/>
                      <a:pt x="343" y="94"/>
                      <a:pt x="343" y="94"/>
                    </a:cubicBezTo>
                    <a:cubicBezTo>
                      <a:pt x="343" y="94"/>
                      <a:pt x="343" y="94"/>
                      <a:pt x="343" y="94"/>
                    </a:cubicBezTo>
                    <a:cubicBezTo>
                      <a:pt x="342" y="94"/>
                      <a:pt x="342" y="94"/>
                      <a:pt x="342" y="94"/>
                    </a:cubicBezTo>
                    <a:cubicBezTo>
                      <a:pt x="341" y="95"/>
                      <a:pt x="341" y="95"/>
                      <a:pt x="341" y="95"/>
                    </a:cubicBezTo>
                    <a:cubicBezTo>
                      <a:pt x="341" y="95"/>
                      <a:pt x="340" y="95"/>
                      <a:pt x="339" y="95"/>
                    </a:cubicBezTo>
                    <a:cubicBezTo>
                      <a:pt x="338" y="96"/>
                      <a:pt x="338" y="96"/>
                      <a:pt x="338" y="96"/>
                    </a:cubicBezTo>
                    <a:cubicBezTo>
                      <a:pt x="337" y="96"/>
                      <a:pt x="336" y="95"/>
                      <a:pt x="335" y="95"/>
                    </a:cubicBezTo>
                    <a:cubicBezTo>
                      <a:pt x="334" y="95"/>
                      <a:pt x="334" y="95"/>
                      <a:pt x="334" y="95"/>
                    </a:cubicBezTo>
                    <a:cubicBezTo>
                      <a:pt x="333" y="95"/>
                      <a:pt x="333" y="95"/>
                      <a:pt x="333" y="95"/>
                    </a:cubicBezTo>
                    <a:cubicBezTo>
                      <a:pt x="294" y="91"/>
                      <a:pt x="294" y="91"/>
                      <a:pt x="294" y="91"/>
                    </a:cubicBezTo>
                    <a:cubicBezTo>
                      <a:pt x="292" y="91"/>
                      <a:pt x="289" y="91"/>
                      <a:pt x="287" y="89"/>
                    </a:cubicBezTo>
                    <a:cubicBezTo>
                      <a:pt x="282" y="86"/>
                      <a:pt x="278" y="83"/>
                      <a:pt x="274" y="79"/>
                    </a:cubicBezTo>
                    <a:cubicBezTo>
                      <a:pt x="270" y="76"/>
                      <a:pt x="266" y="74"/>
                      <a:pt x="263" y="71"/>
                    </a:cubicBezTo>
                    <a:cubicBezTo>
                      <a:pt x="244" y="56"/>
                      <a:pt x="244" y="56"/>
                      <a:pt x="244" y="56"/>
                    </a:cubicBezTo>
                    <a:cubicBezTo>
                      <a:pt x="240" y="53"/>
                      <a:pt x="236" y="50"/>
                      <a:pt x="232" y="47"/>
                    </a:cubicBezTo>
                    <a:cubicBezTo>
                      <a:pt x="226" y="42"/>
                      <a:pt x="220" y="36"/>
                      <a:pt x="213" y="32"/>
                    </a:cubicBezTo>
                    <a:cubicBezTo>
                      <a:pt x="207" y="28"/>
                      <a:pt x="207" y="28"/>
                      <a:pt x="207" y="28"/>
                    </a:cubicBezTo>
                    <a:cubicBezTo>
                      <a:pt x="204" y="27"/>
                      <a:pt x="202" y="26"/>
                      <a:pt x="199" y="24"/>
                    </a:cubicBezTo>
                    <a:cubicBezTo>
                      <a:pt x="192" y="21"/>
                      <a:pt x="183" y="16"/>
                      <a:pt x="175" y="11"/>
                    </a:cubicBezTo>
                    <a:cubicBezTo>
                      <a:pt x="174" y="10"/>
                      <a:pt x="174" y="10"/>
                      <a:pt x="173" y="9"/>
                    </a:cubicBezTo>
                    <a:cubicBezTo>
                      <a:pt x="171" y="8"/>
                      <a:pt x="168" y="6"/>
                      <a:pt x="167" y="5"/>
                    </a:cubicBezTo>
                    <a:cubicBezTo>
                      <a:pt x="133" y="0"/>
                      <a:pt x="133" y="0"/>
                      <a:pt x="1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31" name="Freeform 359">
                <a:extLst>
                  <a:ext uri="{FF2B5EF4-FFF2-40B4-BE49-F238E27FC236}">
                    <a16:creationId xmlns:a16="http://schemas.microsoft.com/office/drawing/2014/main" id="{4A57B66A-771A-4F22-ABD3-A0393D319197}"/>
                  </a:ext>
                </a:extLst>
              </p:cNvPr>
              <p:cNvSpPr>
                <a:spLocks/>
              </p:cNvSpPr>
              <p:nvPr/>
            </p:nvSpPr>
            <p:spPr bwMode="auto">
              <a:xfrm>
                <a:off x="3637210" y="3357141"/>
                <a:ext cx="228477" cy="151090"/>
              </a:xfrm>
              <a:custGeom>
                <a:avLst/>
                <a:gdLst>
                  <a:gd name="T0" fmla="*/ 47 w 72"/>
                  <a:gd name="T1" fmla="*/ 0 h 47"/>
                  <a:gd name="T2" fmla="*/ 44 w 72"/>
                  <a:gd name="T3" fmla="*/ 0 h 47"/>
                  <a:gd name="T4" fmla="*/ 42 w 72"/>
                  <a:gd name="T5" fmla="*/ 0 h 47"/>
                  <a:gd name="T6" fmla="*/ 40 w 72"/>
                  <a:gd name="T7" fmla="*/ 0 h 47"/>
                  <a:gd name="T8" fmla="*/ 25 w 72"/>
                  <a:gd name="T9" fmla="*/ 6 h 47"/>
                  <a:gd name="T10" fmla="*/ 23 w 72"/>
                  <a:gd name="T11" fmla="*/ 6 h 47"/>
                  <a:gd name="T12" fmla="*/ 22 w 72"/>
                  <a:gd name="T13" fmla="*/ 6 h 47"/>
                  <a:gd name="T14" fmla="*/ 23 w 72"/>
                  <a:gd name="T15" fmla="*/ 7 h 47"/>
                  <a:gd name="T16" fmla="*/ 22 w 72"/>
                  <a:gd name="T17" fmla="*/ 8 h 47"/>
                  <a:gd name="T18" fmla="*/ 22 w 72"/>
                  <a:gd name="T19" fmla="*/ 9 h 47"/>
                  <a:gd name="T20" fmla="*/ 21 w 72"/>
                  <a:gd name="T21" fmla="*/ 10 h 47"/>
                  <a:gd name="T22" fmla="*/ 20 w 72"/>
                  <a:gd name="T23" fmla="*/ 11 h 47"/>
                  <a:gd name="T24" fmla="*/ 16 w 72"/>
                  <a:gd name="T25" fmla="*/ 18 h 47"/>
                  <a:gd name="T26" fmla="*/ 11 w 72"/>
                  <a:gd name="T27" fmla="*/ 22 h 47"/>
                  <a:gd name="T28" fmla="*/ 14 w 72"/>
                  <a:gd name="T29" fmla="*/ 25 h 47"/>
                  <a:gd name="T30" fmla="*/ 0 w 72"/>
                  <a:gd name="T31" fmla="*/ 31 h 47"/>
                  <a:gd name="T32" fmla="*/ 5 w 72"/>
                  <a:gd name="T33" fmla="*/ 34 h 47"/>
                  <a:gd name="T34" fmla="*/ 16 w 72"/>
                  <a:gd name="T35" fmla="*/ 39 h 47"/>
                  <a:gd name="T36" fmla="*/ 19 w 72"/>
                  <a:gd name="T37" fmla="*/ 34 h 47"/>
                  <a:gd name="T38" fmla="*/ 23 w 72"/>
                  <a:gd name="T39" fmla="*/ 31 h 47"/>
                  <a:gd name="T40" fmla="*/ 25 w 72"/>
                  <a:gd name="T41" fmla="*/ 31 h 47"/>
                  <a:gd name="T42" fmla="*/ 26 w 72"/>
                  <a:gd name="T43" fmla="*/ 31 h 47"/>
                  <a:gd name="T44" fmla="*/ 29 w 72"/>
                  <a:gd name="T45" fmla="*/ 32 h 47"/>
                  <a:gd name="T46" fmla="*/ 40 w 72"/>
                  <a:gd name="T47" fmla="*/ 39 h 47"/>
                  <a:gd name="T48" fmla="*/ 40 w 72"/>
                  <a:gd name="T49" fmla="*/ 39 h 47"/>
                  <a:gd name="T50" fmla="*/ 41 w 72"/>
                  <a:gd name="T51" fmla="*/ 42 h 47"/>
                  <a:gd name="T52" fmla="*/ 42 w 72"/>
                  <a:gd name="T53" fmla="*/ 42 h 47"/>
                  <a:gd name="T54" fmla="*/ 47 w 72"/>
                  <a:gd name="T55" fmla="*/ 41 h 47"/>
                  <a:gd name="T56" fmla="*/ 50 w 72"/>
                  <a:gd name="T57" fmla="*/ 41 h 47"/>
                  <a:gd name="T58" fmla="*/ 49 w 72"/>
                  <a:gd name="T59" fmla="*/ 45 h 47"/>
                  <a:gd name="T60" fmla="*/ 53 w 72"/>
                  <a:gd name="T61" fmla="*/ 47 h 47"/>
                  <a:gd name="T62" fmla="*/ 54 w 72"/>
                  <a:gd name="T63" fmla="*/ 46 h 47"/>
                  <a:gd name="T64" fmla="*/ 63 w 72"/>
                  <a:gd name="T65" fmla="*/ 39 h 47"/>
                  <a:gd name="T66" fmla="*/ 65 w 72"/>
                  <a:gd name="T67" fmla="*/ 39 h 47"/>
                  <a:gd name="T68" fmla="*/ 65 w 72"/>
                  <a:gd name="T69" fmla="*/ 39 h 47"/>
                  <a:gd name="T70" fmla="*/ 65 w 72"/>
                  <a:gd name="T71" fmla="*/ 39 h 47"/>
                  <a:gd name="T72" fmla="*/ 66 w 72"/>
                  <a:gd name="T73" fmla="*/ 38 h 47"/>
                  <a:gd name="T74" fmla="*/ 64 w 72"/>
                  <a:gd name="T75" fmla="*/ 34 h 47"/>
                  <a:gd name="T76" fmla="*/ 66 w 72"/>
                  <a:gd name="T77" fmla="*/ 30 h 47"/>
                  <a:gd name="T78" fmla="*/ 70 w 72"/>
                  <a:gd name="T79" fmla="*/ 34 h 47"/>
                  <a:gd name="T80" fmla="*/ 70 w 72"/>
                  <a:gd name="T81" fmla="*/ 34 h 47"/>
                  <a:gd name="T82" fmla="*/ 69 w 72"/>
                  <a:gd name="T83" fmla="*/ 25 h 47"/>
                  <a:gd name="T84" fmla="*/ 67 w 72"/>
                  <a:gd name="T85" fmla="*/ 22 h 47"/>
                  <a:gd name="T86" fmla="*/ 66 w 72"/>
                  <a:gd name="T87" fmla="*/ 22 h 47"/>
                  <a:gd name="T88" fmla="*/ 60 w 72"/>
                  <a:gd name="T89" fmla="*/ 23 h 47"/>
                  <a:gd name="T90" fmla="*/ 59 w 72"/>
                  <a:gd name="T91" fmla="*/ 23 h 47"/>
                  <a:gd name="T92" fmla="*/ 64 w 72"/>
                  <a:gd name="T93" fmla="*/ 16 h 47"/>
                  <a:gd name="T94" fmla="*/ 56 w 72"/>
                  <a:gd name="T95" fmla="*/ 5 h 47"/>
                  <a:gd name="T96" fmla="*/ 47 w 72"/>
                  <a:gd name="T9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 h="47">
                    <a:moveTo>
                      <a:pt x="47" y="0"/>
                    </a:moveTo>
                    <a:cubicBezTo>
                      <a:pt x="46" y="0"/>
                      <a:pt x="45" y="0"/>
                      <a:pt x="44" y="0"/>
                    </a:cubicBezTo>
                    <a:cubicBezTo>
                      <a:pt x="44" y="0"/>
                      <a:pt x="43" y="0"/>
                      <a:pt x="42" y="0"/>
                    </a:cubicBezTo>
                    <a:cubicBezTo>
                      <a:pt x="41" y="0"/>
                      <a:pt x="41" y="0"/>
                      <a:pt x="40" y="0"/>
                    </a:cubicBezTo>
                    <a:cubicBezTo>
                      <a:pt x="34" y="1"/>
                      <a:pt x="30" y="3"/>
                      <a:pt x="25" y="6"/>
                    </a:cubicBezTo>
                    <a:cubicBezTo>
                      <a:pt x="24" y="6"/>
                      <a:pt x="24" y="6"/>
                      <a:pt x="23" y="6"/>
                    </a:cubicBezTo>
                    <a:cubicBezTo>
                      <a:pt x="23" y="6"/>
                      <a:pt x="22" y="6"/>
                      <a:pt x="22" y="6"/>
                    </a:cubicBezTo>
                    <a:cubicBezTo>
                      <a:pt x="23" y="7"/>
                      <a:pt x="23" y="7"/>
                      <a:pt x="23" y="7"/>
                    </a:cubicBezTo>
                    <a:cubicBezTo>
                      <a:pt x="22" y="8"/>
                      <a:pt x="22" y="8"/>
                      <a:pt x="22" y="8"/>
                    </a:cubicBezTo>
                    <a:cubicBezTo>
                      <a:pt x="22" y="9"/>
                      <a:pt x="22" y="9"/>
                      <a:pt x="22" y="9"/>
                    </a:cubicBezTo>
                    <a:cubicBezTo>
                      <a:pt x="21" y="10"/>
                      <a:pt x="21" y="10"/>
                      <a:pt x="21" y="10"/>
                    </a:cubicBezTo>
                    <a:cubicBezTo>
                      <a:pt x="20" y="10"/>
                      <a:pt x="20" y="11"/>
                      <a:pt x="20" y="11"/>
                    </a:cubicBezTo>
                    <a:cubicBezTo>
                      <a:pt x="19" y="13"/>
                      <a:pt x="17" y="15"/>
                      <a:pt x="16" y="18"/>
                    </a:cubicBezTo>
                    <a:cubicBezTo>
                      <a:pt x="15" y="21"/>
                      <a:pt x="12" y="22"/>
                      <a:pt x="11" y="22"/>
                    </a:cubicBezTo>
                    <a:cubicBezTo>
                      <a:pt x="14" y="25"/>
                      <a:pt x="14" y="25"/>
                      <a:pt x="14" y="25"/>
                    </a:cubicBezTo>
                    <a:cubicBezTo>
                      <a:pt x="0" y="31"/>
                      <a:pt x="0" y="31"/>
                      <a:pt x="0" y="31"/>
                    </a:cubicBezTo>
                    <a:cubicBezTo>
                      <a:pt x="1" y="32"/>
                      <a:pt x="3" y="33"/>
                      <a:pt x="5" y="34"/>
                    </a:cubicBezTo>
                    <a:cubicBezTo>
                      <a:pt x="16" y="39"/>
                      <a:pt x="16" y="39"/>
                      <a:pt x="16" y="39"/>
                    </a:cubicBezTo>
                    <a:cubicBezTo>
                      <a:pt x="17" y="37"/>
                      <a:pt x="17" y="35"/>
                      <a:pt x="19" y="34"/>
                    </a:cubicBezTo>
                    <a:cubicBezTo>
                      <a:pt x="20" y="32"/>
                      <a:pt x="22" y="31"/>
                      <a:pt x="23" y="31"/>
                    </a:cubicBezTo>
                    <a:cubicBezTo>
                      <a:pt x="24" y="31"/>
                      <a:pt x="24" y="31"/>
                      <a:pt x="25" y="31"/>
                    </a:cubicBezTo>
                    <a:cubicBezTo>
                      <a:pt x="26" y="31"/>
                      <a:pt x="26" y="31"/>
                      <a:pt x="26" y="31"/>
                    </a:cubicBezTo>
                    <a:cubicBezTo>
                      <a:pt x="27" y="31"/>
                      <a:pt x="28" y="31"/>
                      <a:pt x="29" y="32"/>
                    </a:cubicBezTo>
                    <a:cubicBezTo>
                      <a:pt x="34" y="32"/>
                      <a:pt x="38" y="35"/>
                      <a:pt x="40" y="39"/>
                    </a:cubicBezTo>
                    <a:cubicBezTo>
                      <a:pt x="40" y="39"/>
                      <a:pt x="40" y="39"/>
                      <a:pt x="40" y="39"/>
                    </a:cubicBezTo>
                    <a:cubicBezTo>
                      <a:pt x="41" y="40"/>
                      <a:pt x="41" y="41"/>
                      <a:pt x="41" y="42"/>
                    </a:cubicBezTo>
                    <a:cubicBezTo>
                      <a:pt x="42" y="42"/>
                      <a:pt x="42" y="42"/>
                      <a:pt x="42" y="42"/>
                    </a:cubicBezTo>
                    <a:cubicBezTo>
                      <a:pt x="47" y="41"/>
                      <a:pt x="47" y="41"/>
                      <a:pt x="47" y="41"/>
                    </a:cubicBezTo>
                    <a:cubicBezTo>
                      <a:pt x="50" y="41"/>
                      <a:pt x="50" y="41"/>
                      <a:pt x="50" y="41"/>
                    </a:cubicBezTo>
                    <a:cubicBezTo>
                      <a:pt x="49" y="45"/>
                      <a:pt x="49" y="45"/>
                      <a:pt x="49" y="45"/>
                    </a:cubicBezTo>
                    <a:cubicBezTo>
                      <a:pt x="51" y="45"/>
                      <a:pt x="52" y="47"/>
                      <a:pt x="53" y="47"/>
                    </a:cubicBezTo>
                    <a:cubicBezTo>
                      <a:pt x="54" y="47"/>
                      <a:pt x="54" y="46"/>
                      <a:pt x="54" y="46"/>
                    </a:cubicBezTo>
                    <a:cubicBezTo>
                      <a:pt x="58" y="44"/>
                      <a:pt x="59" y="41"/>
                      <a:pt x="63" y="39"/>
                    </a:cubicBezTo>
                    <a:cubicBezTo>
                      <a:pt x="64" y="39"/>
                      <a:pt x="64" y="39"/>
                      <a:pt x="65" y="39"/>
                    </a:cubicBezTo>
                    <a:cubicBezTo>
                      <a:pt x="65" y="39"/>
                      <a:pt x="65" y="39"/>
                      <a:pt x="65" y="39"/>
                    </a:cubicBezTo>
                    <a:cubicBezTo>
                      <a:pt x="65" y="39"/>
                      <a:pt x="65" y="39"/>
                      <a:pt x="65" y="39"/>
                    </a:cubicBezTo>
                    <a:cubicBezTo>
                      <a:pt x="65" y="39"/>
                      <a:pt x="66" y="39"/>
                      <a:pt x="66" y="38"/>
                    </a:cubicBezTo>
                    <a:cubicBezTo>
                      <a:pt x="69" y="36"/>
                      <a:pt x="68" y="34"/>
                      <a:pt x="64" y="34"/>
                    </a:cubicBezTo>
                    <a:cubicBezTo>
                      <a:pt x="65" y="33"/>
                      <a:pt x="65" y="31"/>
                      <a:pt x="66" y="30"/>
                    </a:cubicBezTo>
                    <a:cubicBezTo>
                      <a:pt x="67" y="31"/>
                      <a:pt x="69" y="34"/>
                      <a:pt x="70" y="34"/>
                    </a:cubicBezTo>
                    <a:cubicBezTo>
                      <a:pt x="70" y="34"/>
                      <a:pt x="70" y="34"/>
                      <a:pt x="70" y="34"/>
                    </a:cubicBezTo>
                    <a:cubicBezTo>
                      <a:pt x="72" y="33"/>
                      <a:pt x="69" y="26"/>
                      <a:pt x="69" y="25"/>
                    </a:cubicBezTo>
                    <a:cubicBezTo>
                      <a:pt x="68" y="23"/>
                      <a:pt x="69" y="22"/>
                      <a:pt x="67" y="22"/>
                    </a:cubicBezTo>
                    <a:cubicBezTo>
                      <a:pt x="67" y="22"/>
                      <a:pt x="67" y="22"/>
                      <a:pt x="66" y="22"/>
                    </a:cubicBezTo>
                    <a:cubicBezTo>
                      <a:pt x="65" y="22"/>
                      <a:pt x="61" y="23"/>
                      <a:pt x="60" y="23"/>
                    </a:cubicBezTo>
                    <a:cubicBezTo>
                      <a:pt x="60" y="23"/>
                      <a:pt x="60" y="23"/>
                      <a:pt x="59" y="23"/>
                    </a:cubicBezTo>
                    <a:cubicBezTo>
                      <a:pt x="55" y="20"/>
                      <a:pt x="67" y="19"/>
                      <a:pt x="64" y="16"/>
                    </a:cubicBezTo>
                    <a:cubicBezTo>
                      <a:pt x="62" y="12"/>
                      <a:pt x="57" y="9"/>
                      <a:pt x="56" y="5"/>
                    </a:cubicBezTo>
                    <a:cubicBezTo>
                      <a:pt x="54" y="0"/>
                      <a:pt x="51" y="0"/>
                      <a:pt x="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32" name="Freeform 360">
                <a:extLst>
                  <a:ext uri="{FF2B5EF4-FFF2-40B4-BE49-F238E27FC236}">
                    <a16:creationId xmlns:a16="http://schemas.microsoft.com/office/drawing/2014/main" id="{8AC77FEB-894F-48AA-B8EB-BF65F864E463}"/>
                  </a:ext>
                </a:extLst>
              </p:cNvPr>
              <p:cNvSpPr>
                <a:spLocks/>
              </p:cNvSpPr>
              <p:nvPr/>
            </p:nvSpPr>
            <p:spPr bwMode="auto">
              <a:xfrm>
                <a:off x="3559822" y="3338716"/>
                <a:ext cx="169515" cy="103183"/>
              </a:xfrm>
              <a:custGeom>
                <a:avLst/>
                <a:gdLst>
                  <a:gd name="T0" fmla="*/ 41 w 53"/>
                  <a:gd name="T1" fmla="*/ 0 h 32"/>
                  <a:gd name="T2" fmla="*/ 44 w 53"/>
                  <a:gd name="T3" fmla="*/ 3 h 32"/>
                  <a:gd name="T4" fmla="*/ 42 w 53"/>
                  <a:gd name="T5" fmla="*/ 3 h 32"/>
                  <a:gd name="T6" fmla="*/ 37 w 53"/>
                  <a:gd name="T7" fmla="*/ 3 h 32"/>
                  <a:gd name="T8" fmla="*/ 38 w 53"/>
                  <a:gd name="T9" fmla="*/ 12 h 32"/>
                  <a:gd name="T10" fmla="*/ 35 w 53"/>
                  <a:gd name="T11" fmla="*/ 13 h 32"/>
                  <a:gd name="T12" fmla="*/ 34 w 53"/>
                  <a:gd name="T13" fmla="*/ 12 h 32"/>
                  <a:gd name="T14" fmla="*/ 35 w 53"/>
                  <a:gd name="T15" fmla="*/ 9 h 32"/>
                  <a:gd name="T16" fmla="*/ 34 w 53"/>
                  <a:gd name="T17" fmla="*/ 5 h 32"/>
                  <a:gd name="T18" fmla="*/ 32 w 53"/>
                  <a:gd name="T19" fmla="*/ 4 h 32"/>
                  <a:gd name="T20" fmla="*/ 30 w 53"/>
                  <a:gd name="T21" fmla="*/ 4 h 32"/>
                  <a:gd name="T22" fmla="*/ 32 w 53"/>
                  <a:gd name="T23" fmla="*/ 10 h 32"/>
                  <a:gd name="T24" fmla="*/ 29 w 53"/>
                  <a:gd name="T25" fmla="*/ 5 h 32"/>
                  <a:gd name="T26" fmla="*/ 23 w 53"/>
                  <a:gd name="T27" fmla="*/ 8 h 32"/>
                  <a:gd name="T28" fmla="*/ 24 w 53"/>
                  <a:gd name="T29" fmla="*/ 6 h 32"/>
                  <a:gd name="T30" fmla="*/ 18 w 53"/>
                  <a:gd name="T31" fmla="*/ 9 h 32"/>
                  <a:gd name="T32" fmla="*/ 19 w 53"/>
                  <a:gd name="T33" fmla="*/ 8 h 32"/>
                  <a:gd name="T34" fmla="*/ 16 w 53"/>
                  <a:gd name="T35" fmla="*/ 9 h 32"/>
                  <a:gd name="T36" fmla="*/ 16 w 53"/>
                  <a:gd name="T37" fmla="*/ 9 h 32"/>
                  <a:gd name="T38" fmla="*/ 13 w 53"/>
                  <a:gd name="T39" fmla="*/ 11 h 32"/>
                  <a:gd name="T40" fmla="*/ 9 w 53"/>
                  <a:gd name="T41" fmla="*/ 20 h 32"/>
                  <a:gd name="T42" fmla="*/ 0 w 53"/>
                  <a:gd name="T43" fmla="*/ 26 h 32"/>
                  <a:gd name="T44" fmla="*/ 14 w 53"/>
                  <a:gd name="T45" fmla="*/ 29 h 32"/>
                  <a:gd name="T46" fmla="*/ 19 w 53"/>
                  <a:gd name="T47" fmla="*/ 28 h 32"/>
                  <a:gd name="T48" fmla="*/ 17 w 53"/>
                  <a:gd name="T49" fmla="*/ 32 h 32"/>
                  <a:gd name="T50" fmla="*/ 23 w 53"/>
                  <a:gd name="T51" fmla="*/ 30 h 32"/>
                  <a:gd name="T52" fmla="*/ 22 w 53"/>
                  <a:gd name="T53" fmla="*/ 28 h 32"/>
                  <a:gd name="T54" fmla="*/ 20 w 53"/>
                  <a:gd name="T55" fmla="*/ 24 h 32"/>
                  <a:gd name="T56" fmla="*/ 24 w 53"/>
                  <a:gd name="T57" fmla="*/ 23 h 32"/>
                  <a:gd name="T58" fmla="*/ 29 w 53"/>
                  <a:gd name="T59" fmla="*/ 22 h 32"/>
                  <a:gd name="T60" fmla="*/ 32 w 53"/>
                  <a:gd name="T61" fmla="*/ 22 h 32"/>
                  <a:gd name="T62" fmla="*/ 34 w 53"/>
                  <a:gd name="T63" fmla="*/ 21 h 32"/>
                  <a:gd name="T64" fmla="*/ 38 w 53"/>
                  <a:gd name="T65" fmla="*/ 13 h 32"/>
                  <a:gd name="T66" fmla="*/ 40 w 53"/>
                  <a:gd name="T67" fmla="*/ 11 h 32"/>
                  <a:gd name="T68" fmla="*/ 41 w 53"/>
                  <a:gd name="T69" fmla="*/ 9 h 32"/>
                  <a:gd name="T70" fmla="*/ 42 w 53"/>
                  <a:gd name="T71" fmla="*/ 8 h 32"/>
                  <a:gd name="T72" fmla="*/ 45 w 53"/>
                  <a:gd name="T73" fmla="*/ 11 h 32"/>
                  <a:gd name="T74" fmla="*/ 48 w 53"/>
                  <a:gd name="T75" fmla="*/ 8 h 32"/>
                  <a:gd name="T76" fmla="*/ 52 w 53"/>
                  <a:gd name="T77" fmla="*/ 6 h 32"/>
                  <a:gd name="T78" fmla="*/ 52 w 53"/>
                  <a:gd name="T79" fmla="*/ 5 h 32"/>
                  <a:gd name="T80" fmla="*/ 41 w 53"/>
                  <a:gd name="T8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 h="32">
                    <a:moveTo>
                      <a:pt x="41" y="0"/>
                    </a:moveTo>
                    <a:cubicBezTo>
                      <a:pt x="41" y="1"/>
                      <a:pt x="43" y="2"/>
                      <a:pt x="44" y="3"/>
                    </a:cubicBezTo>
                    <a:cubicBezTo>
                      <a:pt x="43" y="3"/>
                      <a:pt x="42" y="3"/>
                      <a:pt x="42" y="3"/>
                    </a:cubicBezTo>
                    <a:cubicBezTo>
                      <a:pt x="40" y="3"/>
                      <a:pt x="39" y="3"/>
                      <a:pt x="37" y="3"/>
                    </a:cubicBezTo>
                    <a:cubicBezTo>
                      <a:pt x="37" y="5"/>
                      <a:pt x="39" y="11"/>
                      <a:pt x="38" y="12"/>
                    </a:cubicBezTo>
                    <a:cubicBezTo>
                      <a:pt x="38" y="12"/>
                      <a:pt x="36" y="13"/>
                      <a:pt x="35" y="13"/>
                    </a:cubicBezTo>
                    <a:cubicBezTo>
                      <a:pt x="34" y="13"/>
                      <a:pt x="34" y="13"/>
                      <a:pt x="34" y="12"/>
                    </a:cubicBezTo>
                    <a:cubicBezTo>
                      <a:pt x="34" y="10"/>
                      <a:pt x="36" y="10"/>
                      <a:pt x="35" y="9"/>
                    </a:cubicBezTo>
                    <a:cubicBezTo>
                      <a:pt x="34" y="5"/>
                      <a:pt x="34" y="5"/>
                      <a:pt x="34" y="5"/>
                    </a:cubicBezTo>
                    <a:cubicBezTo>
                      <a:pt x="33" y="4"/>
                      <a:pt x="33" y="4"/>
                      <a:pt x="32" y="4"/>
                    </a:cubicBezTo>
                    <a:cubicBezTo>
                      <a:pt x="32" y="4"/>
                      <a:pt x="31" y="4"/>
                      <a:pt x="30" y="4"/>
                    </a:cubicBezTo>
                    <a:cubicBezTo>
                      <a:pt x="31" y="6"/>
                      <a:pt x="33" y="8"/>
                      <a:pt x="32" y="10"/>
                    </a:cubicBezTo>
                    <a:cubicBezTo>
                      <a:pt x="30" y="8"/>
                      <a:pt x="27" y="7"/>
                      <a:pt x="29" y="5"/>
                    </a:cubicBezTo>
                    <a:cubicBezTo>
                      <a:pt x="26" y="6"/>
                      <a:pt x="25" y="8"/>
                      <a:pt x="23" y="8"/>
                    </a:cubicBezTo>
                    <a:cubicBezTo>
                      <a:pt x="23" y="7"/>
                      <a:pt x="23" y="6"/>
                      <a:pt x="24" y="6"/>
                    </a:cubicBezTo>
                    <a:cubicBezTo>
                      <a:pt x="22" y="6"/>
                      <a:pt x="20" y="8"/>
                      <a:pt x="18" y="9"/>
                    </a:cubicBezTo>
                    <a:cubicBezTo>
                      <a:pt x="19" y="8"/>
                      <a:pt x="19" y="8"/>
                      <a:pt x="19" y="8"/>
                    </a:cubicBezTo>
                    <a:cubicBezTo>
                      <a:pt x="17" y="9"/>
                      <a:pt x="17" y="9"/>
                      <a:pt x="16" y="9"/>
                    </a:cubicBezTo>
                    <a:cubicBezTo>
                      <a:pt x="16" y="9"/>
                      <a:pt x="16" y="9"/>
                      <a:pt x="16" y="9"/>
                    </a:cubicBezTo>
                    <a:cubicBezTo>
                      <a:pt x="15" y="9"/>
                      <a:pt x="14" y="9"/>
                      <a:pt x="13" y="11"/>
                    </a:cubicBezTo>
                    <a:cubicBezTo>
                      <a:pt x="11" y="15"/>
                      <a:pt x="10" y="15"/>
                      <a:pt x="9" y="20"/>
                    </a:cubicBezTo>
                    <a:cubicBezTo>
                      <a:pt x="8" y="24"/>
                      <a:pt x="4" y="24"/>
                      <a:pt x="0" y="26"/>
                    </a:cubicBezTo>
                    <a:cubicBezTo>
                      <a:pt x="4" y="27"/>
                      <a:pt x="10" y="29"/>
                      <a:pt x="14" y="29"/>
                    </a:cubicBezTo>
                    <a:cubicBezTo>
                      <a:pt x="16" y="29"/>
                      <a:pt x="18" y="29"/>
                      <a:pt x="19" y="28"/>
                    </a:cubicBezTo>
                    <a:cubicBezTo>
                      <a:pt x="18" y="30"/>
                      <a:pt x="17" y="31"/>
                      <a:pt x="17" y="32"/>
                    </a:cubicBezTo>
                    <a:cubicBezTo>
                      <a:pt x="23" y="30"/>
                      <a:pt x="23" y="30"/>
                      <a:pt x="23" y="30"/>
                    </a:cubicBezTo>
                    <a:cubicBezTo>
                      <a:pt x="22" y="29"/>
                      <a:pt x="22" y="29"/>
                      <a:pt x="22" y="28"/>
                    </a:cubicBezTo>
                    <a:cubicBezTo>
                      <a:pt x="20" y="24"/>
                      <a:pt x="20" y="24"/>
                      <a:pt x="20" y="24"/>
                    </a:cubicBezTo>
                    <a:cubicBezTo>
                      <a:pt x="24" y="23"/>
                      <a:pt x="24" y="23"/>
                      <a:pt x="24" y="23"/>
                    </a:cubicBezTo>
                    <a:cubicBezTo>
                      <a:pt x="25" y="23"/>
                      <a:pt x="27" y="23"/>
                      <a:pt x="29" y="22"/>
                    </a:cubicBezTo>
                    <a:cubicBezTo>
                      <a:pt x="32" y="22"/>
                      <a:pt x="32" y="22"/>
                      <a:pt x="32" y="22"/>
                    </a:cubicBezTo>
                    <a:cubicBezTo>
                      <a:pt x="32" y="22"/>
                      <a:pt x="34" y="21"/>
                      <a:pt x="34" y="21"/>
                    </a:cubicBezTo>
                    <a:cubicBezTo>
                      <a:pt x="35" y="18"/>
                      <a:pt x="37" y="15"/>
                      <a:pt x="38" y="13"/>
                    </a:cubicBezTo>
                    <a:cubicBezTo>
                      <a:pt x="39" y="12"/>
                      <a:pt x="39" y="11"/>
                      <a:pt x="40" y="11"/>
                    </a:cubicBezTo>
                    <a:cubicBezTo>
                      <a:pt x="40" y="10"/>
                      <a:pt x="41" y="10"/>
                      <a:pt x="41" y="9"/>
                    </a:cubicBezTo>
                    <a:cubicBezTo>
                      <a:pt x="42" y="8"/>
                      <a:pt x="42" y="8"/>
                      <a:pt x="42" y="8"/>
                    </a:cubicBezTo>
                    <a:cubicBezTo>
                      <a:pt x="45" y="11"/>
                      <a:pt x="45" y="11"/>
                      <a:pt x="45" y="11"/>
                    </a:cubicBezTo>
                    <a:cubicBezTo>
                      <a:pt x="46" y="10"/>
                      <a:pt x="47" y="9"/>
                      <a:pt x="48" y="8"/>
                    </a:cubicBezTo>
                    <a:cubicBezTo>
                      <a:pt x="49" y="8"/>
                      <a:pt x="51" y="7"/>
                      <a:pt x="52" y="6"/>
                    </a:cubicBezTo>
                    <a:cubicBezTo>
                      <a:pt x="53" y="5"/>
                      <a:pt x="53" y="7"/>
                      <a:pt x="52" y="5"/>
                    </a:cubicBezTo>
                    <a:cubicBezTo>
                      <a:pt x="50" y="2"/>
                      <a:pt x="44" y="1"/>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33" name="Freeform 361">
                <a:extLst>
                  <a:ext uri="{FF2B5EF4-FFF2-40B4-BE49-F238E27FC236}">
                    <a16:creationId xmlns:a16="http://schemas.microsoft.com/office/drawing/2014/main" id="{1DE41ABD-0BD2-4BC1-8AD1-7E5845251CE9}"/>
                  </a:ext>
                </a:extLst>
              </p:cNvPr>
              <p:cNvSpPr>
                <a:spLocks/>
              </p:cNvSpPr>
              <p:nvPr/>
            </p:nvSpPr>
            <p:spPr bwMode="auto">
              <a:xfrm>
                <a:off x="3412418" y="3449269"/>
                <a:ext cx="397992" cy="372197"/>
              </a:xfrm>
              <a:custGeom>
                <a:avLst/>
                <a:gdLst>
                  <a:gd name="T0" fmla="*/ 57 w 126"/>
                  <a:gd name="T1" fmla="*/ 4 h 117"/>
                  <a:gd name="T2" fmla="*/ 55 w 126"/>
                  <a:gd name="T3" fmla="*/ 10 h 117"/>
                  <a:gd name="T4" fmla="*/ 38 w 126"/>
                  <a:gd name="T5" fmla="*/ 12 h 117"/>
                  <a:gd name="T6" fmla="*/ 18 w 126"/>
                  <a:gd name="T7" fmla="*/ 6 h 117"/>
                  <a:gd name="T8" fmla="*/ 14 w 126"/>
                  <a:gd name="T9" fmla="*/ 8 h 117"/>
                  <a:gd name="T10" fmla="*/ 17 w 126"/>
                  <a:gd name="T11" fmla="*/ 14 h 117"/>
                  <a:gd name="T12" fmla="*/ 25 w 126"/>
                  <a:gd name="T13" fmla="*/ 23 h 117"/>
                  <a:gd name="T14" fmla="*/ 17 w 126"/>
                  <a:gd name="T15" fmla="*/ 34 h 117"/>
                  <a:gd name="T16" fmla="*/ 7 w 126"/>
                  <a:gd name="T17" fmla="*/ 36 h 117"/>
                  <a:gd name="T18" fmla="*/ 8 w 126"/>
                  <a:gd name="T19" fmla="*/ 41 h 117"/>
                  <a:gd name="T20" fmla="*/ 25 w 126"/>
                  <a:gd name="T21" fmla="*/ 48 h 117"/>
                  <a:gd name="T22" fmla="*/ 43 w 126"/>
                  <a:gd name="T23" fmla="*/ 47 h 117"/>
                  <a:gd name="T24" fmla="*/ 39 w 126"/>
                  <a:gd name="T25" fmla="*/ 52 h 117"/>
                  <a:gd name="T26" fmla="*/ 38 w 126"/>
                  <a:gd name="T27" fmla="*/ 53 h 117"/>
                  <a:gd name="T28" fmla="*/ 35 w 126"/>
                  <a:gd name="T29" fmla="*/ 52 h 117"/>
                  <a:gd name="T30" fmla="*/ 33 w 126"/>
                  <a:gd name="T31" fmla="*/ 54 h 117"/>
                  <a:gd name="T32" fmla="*/ 24 w 126"/>
                  <a:gd name="T33" fmla="*/ 68 h 117"/>
                  <a:gd name="T34" fmla="*/ 39 w 126"/>
                  <a:gd name="T35" fmla="*/ 68 h 117"/>
                  <a:gd name="T36" fmla="*/ 27 w 126"/>
                  <a:gd name="T37" fmla="*/ 74 h 117"/>
                  <a:gd name="T38" fmla="*/ 24 w 126"/>
                  <a:gd name="T39" fmla="*/ 74 h 117"/>
                  <a:gd name="T40" fmla="*/ 15 w 126"/>
                  <a:gd name="T41" fmla="*/ 80 h 117"/>
                  <a:gd name="T42" fmla="*/ 13 w 126"/>
                  <a:gd name="T43" fmla="*/ 84 h 117"/>
                  <a:gd name="T44" fmla="*/ 8 w 126"/>
                  <a:gd name="T45" fmla="*/ 85 h 117"/>
                  <a:gd name="T46" fmla="*/ 1 w 126"/>
                  <a:gd name="T47" fmla="*/ 89 h 117"/>
                  <a:gd name="T48" fmla="*/ 10 w 126"/>
                  <a:gd name="T49" fmla="*/ 91 h 117"/>
                  <a:gd name="T50" fmla="*/ 17 w 126"/>
                  <a:gd name="T51" fmla="*/ 90 h 117"/>
                  <a:gd name="T52" fmla="*/ 16 w 126"/>
                  <a:gd name="T53" fmla="*/ 91 h 117"/>
                  <a:gd name="T54" fmla="*/ 8 w 126"/>
                  <a:gd name="T55" fmla="*/ 95 h 117"/>
                  <a:gd name="T56" fmla="*/ 17 w 126"/>
                  <a:gd name="T57" fmla="*/ 102 h 117"/>
                  <a:gd name="T58" fmla="*/ 9 w 126"/>
                  <a:gd name="T59" fmla="*/ 111 h 117"/>
                  <a:gd name="T60" fmla="*/ 17 w 126"/>
                  <a:gd name="T61" fmla="*/ 113 h 117"/>
                  <a:gd name="T62" fmla="*/ 23 w 126"/>
                  <a:gd name="T63" fmla="*/ 113 h 117"/>
                  <a:gd name="T64" fmla="*/ 21 w 126"/>
                  <a:gd name="T65" fmla="*/ 117 h 117"/>
                  <a:gd name="T66" fmla="*/ 49 w 126"/>
                  <a:gd name="T67" fmla="*/ 112 h 117"/>
                  <a:gd name="T68" fmla="*/ 65 w 126"/>
                  <a:gd name="T69" fmla="*/ 103 h 117"/>
                  <a:gd name="T70" fmla="*/ 98 w 126"/>
                  <a:gd name="T71" fmla="*/ 85 h 117"/>
                  <a:gd name="T72" fmla="*/ 116 w 126"/>
                  <a:gd name="T73" fmla="*/ 89 h 117"/>
                  <a:gd name="T74" fmla="*/ 119 w 126"/>
                  <a:gd name="T75" fmla="*/ 76 h 117"/>
                  <a:gd name="T76" fmla="*/ 124 w 126"/>
                  <a:gd name="T77" fmla="*/ 50 h 117"/>
                  <a:gd name="T78" fmla="*/ 120 w 126"/>
                  <a:gd name="T79" fmla="*/ 29 h 117"/>
                  <a:gd name="T80" fmla="*/ 120 w 126"/>
                  <a:gd name="T81" fmla="*/ 16 h 117"/>
                  <a:gd name="T82" fmla="*/ 115 w 126"/>
                  <a:gd name="T83" fmla="*/ 19 h 117"/>
                  <a:gd name="T84" fmla="*/ 106 w 126"/>
                  <a:gd name="T85" fmla="*/ 16 h 117"/>
                  <a:gd name="T86" fmla="*/ 99 w 126"/>
                  <a:gd name="T87" fmla="*/ 10 h 117"/>
                  <a:gd name="T88" fmla="*/ 95 w 126"/>
                  <a:gd name="T89" fmla="*/ 9 h 117"/>
                  <a:gd name="T90" fmla="*/ 93 w 126"/>
                  <a:gd name="T91" fmla="*/ 16 h 117"/>
                  <a:gd name="T92" fmla="*/ 64 w 126"/>
                  <a:gd name="T93" fmla="*/ 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 h="117">
                    <a:moveTo>
                      <a:pt x="59" y="0"/>
                    </a:moveTo>
                    <a:cubicBezTo>
                      <a:pt x="59" y="0"/>
                      <a:pt x="59" y="0"/>
                      <a:pt x="59" y="0"/>
                    </a:cubicBezTo>
                    <a:cubicBezTo>
                      <a:pt x="58" y="1"/>
                      <a:pt x="58" y="3"/>
                      <a:pt x="57" y="4"/>
                    </a:cubicBezTo>
                    <a:cubicBezTo>
                      <a:pt x="56" y="5"/>
                      <a:pt x="54" y="7"/>
                      <a:pt x="56" y="8"/>
                    </a:cubicBezTo>
                    <a:cubicBezTo>
                      <a:pt x="55" y="8"/>
                      <a:pt x="55" y="9"/>
                      <a:pt x="54" y="10"/>
                    </a:cubicBezTo>
                    <a:cubicBezTo>
                      <a:pt x="54" y="10"/>
                      <a:pt x="55" y="10"/>
                      <a:pt x="55" y="10"/>
                    </a:cubicBezTo>
                    <a:cubicBezTo>
                      <a:pt x="52" y="10"/>
                      <a:pt x="47" y="8"/>
                      <a:pt x="44" y="8"/>
                    </a:cubicBezTo>
                    <a:cubicBezTo>
                      <a:pt x="43" y="8"/>
                      <a:pt x="43" y="8"/>
                      <a:pt x="43" y="8"/>
                    </a:cubicBezTo>
                    <a:cubicBezTo>
                      <a:pt x="40" y="8"/>
                      <a:pt x="39" y="9"/>
                      <a:pt x="38" y="12"/>
                    </a:cubicBezTo>
                    <a:cubicBezTo>
                      <a:pt x="36" y="11"/>
                      <a:pt x="36" y="10"/>
                      <a:pt x="35" y="9"/>
                    </a:cubicBezTo>
                    <a:cubicBezTo>
                      <a:pt x="33" y="6"/>
                      <a:pt x="26" y="6"/>
                      <a:pt x="21" y="6"/>
                    </a:cubicBezTo>
                    <a:cubicBezTo>
                      <a:pt x="20" y="6"/>
                      <a:pt x="19" y="6"/>
                      <a:pt x="18" y="6"/>
                    </a:cubicBezTo>
                    <a:cubicBezTo>
                      <a:pt x="18" y="6"/>
                      <a:pt x="17" y="6"/>
                      <a:pt x="17" y="8"/>
                    </a:cubicBezTo>
                    <a:cubicBezTo>
                      <a:pt x="15" y="10"/>
                      <a:pt x="15" y="11"/>
                      <a:pt x="15" y="11"/>
                    </a:cubicBezTo>
                    <a:cubicBezTo>
                      <a:pt x="14" y="11"/>
                      <a:pt x="14" y="8"/>
                      <a:pt x="14" y="8"/>
                    </a:cubicBezTo>
                    <a:cubicBezTo>
                      <a:pt x="13" y="8"/>
                      <a:pt x="13" y="7"/>
                      <a:pt x="13" y="7"/>
                    </a:cubicBezTo>
                    <a:cubicBezTo>
                      <a:pt x="12" y="7"/>
                      <a:pt x="11" y="8"/>
                      <a:pt x="11" y="9"/>
                    </a:cubicBezTo>
                    <a:cubicBezTo>
                      <a:pt x="17" y="14"/>
                      <a:pt x="17" y="14"/>
                      <a:pt x="17" y="14"/>
                    </a:cubicBezTo>
                    <a:cubicBezTo>
                      <a:pt x="17" y="18"/>
                      <a:pt x="15" y="20"/>
                      <a:pt x="15" y="24"/>
                    </a:cubicBezTo>
                    <a:cubicBezTo>
                      <a:pt x="15" y="24"/>
                      <a:pt x="16" y="24"/>
                      <a:pt x="17" y="24"/>
                    </a:cubicBezTo>
                    <a:cubicBezTo>
                      <a:pt x="19" y="24"/>
                      <a:pt x="22" y="23"/>
                      <a:pt x="25" y="23"/>
                    </a:cubicBezTo>
                    <a:cubicBezTo>
                      <a:pt x="22" y="27"/>
                      <a:pt x="20" y="27"/>
                      <a:pt x="16" y="28"/>
                    </a:cubicBezTo>
                    <a:cubicBezTo>
                      <a:pt x="18" y="30"/>
                      <a:pt x="20" y="32"/>
                      <a:pt x="22" y="34"/>
                    </a:cubicBezTo>
                    <a:cubicBezTo>
                      <a:pt x="21" y="34"/>
                      <a:pt x="19" y="34"/>
                      <a:pt x="17" y="34"/>
                    </a:cubicBezTo>
                    <a:cubicBezTo>
                      <a:pt x="14" y="34"/>
                      <a:pt x="11" y="34"/>
                      <a:pt x="13" y="36"/>
                    </a:cubicBezTo>
                    <a:cubicBezTo>
                      <a:pt x="12" y="36"/>
                      <a:pt x="12" y="36"/>
                      <a:pt x="11" y="36"/>
                    </a:cubicBezTo>
                    <a:cubicBezTo>
                      <a:pt x="10" y="36"/>
                      <a:pt x="9" y="36"/>
                      <a:pt x="7" y="36"/>
                    </a:cubicBezTo>
                    <a:cubicBezTo>
                      <a:pt x="9" y="38"/>
                      <a:pt x="10" y="39"/>
                      <a:pt x="11" y="40"/>
                    </a:cubicBezTo>
                    <a:cubicBezTo>
                      <a:pt x="11" y="40"/>
                      <a:pt x="10" y="40"/>
                      <a:pt x="10" y="40"/>
                    </a:cubicBezTo>
                    <a:cubicBezTo>
                      <a:pt x="9" y="40"/>
                      <a:pt x="8" y="41"/>
                      <a:pt x="8" y="41"/>
                    </a:cubicBezTo>
                    <a:cubicBezTo>
                      <a:pt x="11" y="42"/>
                      <a:pt x="24" y="41"/>
                      <a:pt x="25" y="43"/>
                    </a:cubicBezTo>
                    <a:cubicBezTo>
                      <a:pt x="26" y="44"/>
                      <a:pt x="24" y="47"/>
                      <a:pt x="24" y="48"/>
                    </a:cubicBezTo>
                    <a:cubicBezTo>
                      <a:pt x="24" y="48"/>
                      <a:pt x="24" y="48"/>
                      <a:pt x="25" y="48"/>
                    </a:cubicBezTo>
                    <a:cubicBezTo>
                      <a:pt x="27" y="48"/>
                      <a:pt x="30" y="48"/>
                      <a:pt x="32" y="48"/>
                    </a:cubicBezTo>
                    <a:cubicBezTo>
                      <a:pt x="35" y="47"/>
                      <a:pt x="37" y="47"/>
                      <a:pt x="40" y="47"/>
                    </a:cubicBezTo>
                    <a:cubicBezTo>
                      <a:pt x="41" y="47"/>
                      <a:pt x="42" y="47"/>
                      <a:pt x="43" y="47"/>
                    </a:cubicBezTo>
                    <a:cubicBezTo>
                      <a:pt x="43" y="50"/>
                      <a:pt x="42" y="52"/>
                      <a:pt x="40" y="52"/>
                    </a:cubicBezTo>
                    <a:cubicBezTo>
                      <a:pt x="40" y="52"/>
                      <a:pt x="39" y="52"/>
                      <a:pt x="39" y="52"/>
                    </a:cubicBezTo>
                    <a:cubicBezTo>
                      <a:pt x="39" y="52"/>
                      <a:pt x="39" y="52"/>
                      <a:pt x="39" y="52"/>
                    </a:cubicBezTo>
                    <a:cubicBezTo>
                      <a:pt x="38" y="52"/>
                      <a:pt x="38" y="52"/>
                      <a:pt x="38" y="52"/>
                    </a:cubicBezTo>
                    <a:cubicBezTo>
                      <a:pt x="38" y="53"/>
                      <a:pt x="38" y="53"/>
                      <a:pt x="38" y="53"/>
                    </a:cubicBezTo>
                    <a:cubicBezTo>
                      <a:pt x="38" y="53"/>
                      <a:pt x="38" y="53"/>
                      <a:pt x="38" y="53"/>
                    </a:cubicBezTo>
                    <a:cubicBezTo>
                      <a:pt x="36" y="53"/>
                      <a:pt x="36" y="53"/>
                      <a:pt x="36" y="53"/>
                    </a:cubicBezTo>
                    <a:cubicBezTo>
                      <a:pt x="36" y="53"/>
                      <a:pt x="36" y="53"/>
                      <a:pt x="36" y="53"/>
                    </a:cubicBezTo>
                    <a:cubicBezTo>
                      <a:pt x="36" y="53"/>
                      <a:pt x="35" y="52"/>
                      <a:pt x="35" y="52"/>
                    </a:cubicBezTo>
                    <a:cubicBezTo>
                      <a:pt x="35" y="52"/>
                      <a:pt x="34" y="52"/>
                      <a:pt x="34" y="52"/>
                    </a:cubicBezTo>
                    <a:cubicBezTo>
                      <a:pt x="34" y="52"/>
                      <a:pt x="34" y="52"/>
                      <a:pt x="34" y="52"/>
                    </a:cubicBezTo>
                    <a:cubicBezTo>
                      <a:pt x="33" y="52"/>
                      <a:pt x="33" y="53"/>
                      <a:pt x="33" y="54"/>
                    </a:cubicBezTo>
                    <a:cubicBezTo>
                      <a:pt x="31" y="55"/>
                      <a:pt x="30" y="57"/>
                      <a:pt x="29" y="59"/>
                    </a:cubicBezTo>
                    <a:cubicBezTo>
                      <a:pt x="28" y="61"/>
                      <a:pt x="29" y="65"/>
                      <a:pt x="27" y="67"/>
                    </a:cubicBezTo>
                    <a:cubicBezTo>
                      <a:pt x="26" y="68"/>
                      <a:pt x="25" y="68"/>
                      <a:pt x="24" y="68"/>
                    </a:cubicBezTo>
                    <a:cubicBezTo>
                      <a:pt x="23" y="69"/>
                      <a:pt x="22" y="70"/>
                      <a:pt x="21" y="71"/>
                    </a:cubicBezTo>
                    <a:cubicBezTo>
                      <a:pt x="19" y="72"/>
                      <a:pt x="17" y="73"/>
                      <a:pt x="15" y="74"/>
                    </a:cubicBezTo>
                    <a:cubicBezTo>
                      <a:pt x="23" y="72"/>
                      <a:pt x="31" y="70"/>
                      <a:pt x="39" y="68"/>
                    </a:cubicBezTo>
                    <a:cubicBezTo>
                      <a:pt x="41" y="67"/>
                      <a:pt x="42" y="67"/>
                      <a:pt x="43" y="67"/>
                    </a:cubicBezTo>
                    <a:cubicBezTo>
                      <a:pt x="44" y="67"/>
                      <a:pt x="45" y="68"/>
                      <a:pt x="49" y="70"/>
                    </a:cubicBezTo>
                    <a:cubicBezTo>
                      <a:pt x="42" y="72"/>
                      <a:pt x="34" y="74"/>
                      <a:pt x="27" y="74"/>
                    </a:cubicBezTo>
                    <a:cubicBezTo>
                      <a:pt x="27" y="74"/>
                      <a:pt x="27" y="74"/>
                      <a:pt x="27" y="74"/>
                    </a:cubicBezTo>
                    <a:cubicBezTo>
                      <a:pt x="26" y="74"/>
                      <a:pt x="26" y="74"/>
                      <a:pt x="26" y="74"/>
                    </a:cubicBezTo>
                    <a:cubicBezTo>
                      <a:pt x="25" y="74"/>
                      <a:pt x="25" y="74"/>
                      <a:pt x="24" y="74"/>
                    </a:cubicBezTo>
                    <a:cubicBezTo>
                      <a:pt x="24" y="74"/>
                      <a:pt x="23" y="74"/>
                      <a:pt x="23" y="74"/>
                    </a:cubicBezTo>
                    <a:cubicBezTo>
                      <a:pt x="21" y="75"/>
                      <a:pt x="21" y="78"/>
                      <a:pt x="19" y="79"/>
                    </a:cubicBezTo>
                    <a:cubicBezTo>
                      <a:pt x="17" y="80"/>
                      <a:pt x="16" y="79"/>
                      <a:pt x="15" y="80"/>
                    </a:cubicBezTo>
                    <a:cubicBezTo>
                      <a:pt x="19" y="81"/>
                      <a:pt x="17" y="85"/>
                      <a:pt x="20" y="86"/>
                    </a:cubicBezTo>
                    <a:cubicBezTo>
                      <a:pt x="19" y="86"/>
                      <a:pt x="17" y="87"/>
                      <a:pt x="15" y="87"/>
                    </a:cubicBezTo>
                    <a:cubicBezTo>
                      <a:pt x="13" y="87"/>
                      <a:pt x="12" y="86"/>
                      <a:pt x="13" y="84"/>
                    </a:cubicBezTo>
                    <a:cubicBezTo>
                      <a:pt x="11" y="84"/>
                      <a:pt x="11" y="86"/>
                      <a:pt x="9" y="87"/>
                    </a:cubicBezTo>
                    <a:cubicBezTo>
                      <a:pt x="9" y="87"/>
                      <a:pt x="9" y="87"/>
                      <a:pt x="9" y="87"/>
                    </a:cubicBezTo>
                    <a:cubicBezTo>
                      <a:pt x="8" y="87"/>
                      <a:pt x="9" y="85"/>
                      <a:pt x="8" y="85"/>
                    </a:cubicBezTo>
                    <a:cubicBezTo>
                      <a:pt x="8" y="85"/>
                      <a:pt x="8" y="85"/>
                      <a:pt x="8" y="85"/>
                    </a:cubicBezTo>
                    <a:cubicBezTo>
                      <a:pt x="6" y="85"/>
                      <a:pt x="2" y="87"/>
                      <a:pt x="1" y="89"/>
                    </a:cubicBezTo>
                    <a:cubicBezTo>
                      <a:pt x="1" y="89"/>
                      <a:pt x="1" y="89"/>
                      <a:pt x="1" y="89"/>
                    </a:cubicBezTo>
                    <a:cubicBezTo>
                      <a:pt x="1" y="89"/>
                      <a:pt x="1" y="89"/>
                      <a:pt x="0" y="89"/>
                    </a:cubicBezTo>
                    <a:cubicBezTo>
                      <a:pt x="3" y="90"/>
                      <a:pt x="6" y="91"/>
                      <a:pt x="10" y="91"/>
                    </a:cubicBezTo>
                    <a:cubicBezTo>
                      <a:pt x="10" y="91"/>
                      <a:pt x="10" y="91"/>
                      <a:pt x="10" y="91"/>
                    </a:cubicBezTo>
                    <a:cubicBezTo>
                      <a:pt x="11" y="91"/>
                      <a:pt x="12" y="91"/>
                      <a:pt x="13" y="91"/>
                    </a:cubicBezTo>
                    <a:cubicBezTo>
                      <a:pt x="13" y="91"/>
                      <a:pt x="14" y="91"/>
                      <a:pt x="15" y="91"/>
                    </a:cubicBezTo>
                    <a:cubicBezTo>
                      <a:pt x="14" y="90"/>
                      <a:pt x="16" y="90"/>
                      <a:pt x="17" y="90"/>
                    </a:cubicBezTo>
                    <a:cubicBezTo>
                      <a:pt x="18" y="90"/>
                      <a:pt x="19" y="90"/>
                      <a:pt x="20" y="90"/>
                    </a:cubicBezTo>
                    <a:cubicBezTo>
                      <a:pt x="19" y="91"/>
                      <a:pt x="18" y="91"/>
                      <a:pt x="17" y="91"/>
                    </a:cubicBezTo>
                    <a:cubicBezTo>
                      <a:pt x="16" y="91"/>
                      <a:pt x="16" y="91"/>
                      <a:pt x="16" y="91"/>
                    </a:cubicBezTo>
                    <a:cubicBezTo>
                      <a:pt x="15" y="92"/>
                      <a:pt x="15" y="93"/>
                      <a:pt x="14" y="93"/>
                    </a:cubicBezTo>
                    <a:cubicBezTo>
                      <a:pt x="14" y="92"/>
                      <a:pt x="14" y="92"/>
                      <a:pt x="14" y="92"/>
                    </a:cubicBezTo>
                    <a:cubicBezTo>
                      <a:pt x="13" y="95"/>
                      <a:pt x="10" y="94"/>
                      <a:pt x="8" y="95"/>
                    </a:cubicBezTo>
                    <a:cubicBezTo>
                      <a:pt x="7" y="96"/>
                      <a:pt x="6" y="96"/>
                      <a:pt x="5" y="96"/>
                    </a:cubicBezTo>
                    <a:cubicBezTo>
                      <a:pt x="4" y="98"/>
                      <a:pt x="4" y="100"/>
                      <a:pt x="2" y="100"/>
                    </a:cubicBezTo>
                    <a:cubicBezTo>
                      <a:pt x="7" y="101"/>
                      <a:pt x="12" y="102"/>
                      <a:pt x="17" y="102"/>
                    </a:cubicBezTo>
                    <a:cubicBezTo>
                      <a:pt x="18" y="102"/>
                      <a:pt x="19" y="102"/>
                      <a:pt x="21" y="101"/>
                    </a:cubicBezTo>
                    <a:cubicBezTo>
                      <a:pt x="22" y="101"/>
                      <a:pt x="23" y="101"/>
                      <a:pt x="25" y="100"/>
                    </a:cubicBezTo>
                    <a:cubicBezTo>
                      <a:pt x="20" y="104"/>
                      <a:pt x="13" y="107"/>
                      <a:pt x="9" y="111"/>
                    </a:cubicBezTo>
                    <a:cubicBezTo>
                      <a:pt x="9" y="111"/>
                      <a:pt x="9" y="111"/>
                      <a:pt x="9" y="111"/>
                    </a:cubicBezTo>
                    <a:cubicBezTo>
                      <a:pt x="14" y="111"/>
                      <a:pt x="19" y="110"/>
                      <a:pt x="24" y="109"/>
                    </a:cubicBezTo>
                    <a:cubicBezTo>
                      <a:pt x="21" y="110"/>
                      <a:pt x="20" y="112"/>
                      <a:pt x="17" y="113"/>
                    </a:cubicBezTo>
                    <a:cubicBezTo>
                      <a:pt x="18" y="113"/>
                      <a:pt x="18" y="113"/>
                      <a:pt x="18" y="113"/>
                    </a:cubicBezTo>
                    <a:cubicBezTo>
                      <a:pt x="19" y="113"/>
                      <a:pt x="20" y="113"/>
                      <a:pt x="21" y="113"/>
                    </a:cubicBezTo>
                    <a:cubicBezTo>
                      <a:pt x="21" y="113"/>
                      <a:pt x="22" y="113"/>
                      <a:pt x="23" y="113"/>
                    </a:cubicBezTo>
                    <a:cubicBezTo>
                      <a:pt x="23" y="113"/>
                      <a:pt x="23" y="113"/>
                      <a:pt x="23" y="113"/>
                    </a:cubicBezTo>
                    <a:cubicBezTo>
                      <a:pt x="21" y="114"/>
                      <a:pt x="19" y="114"/>
                      <a:pt x="18" y="115"/>
                    </a:cubicBezTo>
                    <a:cubicBezTo>
                      <a:pt x="18" y="116"/>
                      <a:pt x="19" y="117"/>
                      <a:pt x="21" y="117"/>
                    </a:cubicBezTo>
                    <a:cubicBezTo>
                      <a:pt x="24" y="117"/>
                      <a:pt x="29" y="115"/>
                      <a:pt x="31" y="115"/>
                    </a:cubicBezTo>
                    <a:cubicBezTo>
                      <a:pt x="31" y="116"/>
                      <a:pt x="31" y="116"/>
                      <a:pt x="31" y="116"/>
                    </a:cubicBezTo>
                    <a:cubicBezTo>
                      <a:pt x="37" y="116"/>
                      <a:pt x="43" y="113"/>
                      <a:pt x="49" y="112"/>
                    </a:cubicBezTo>
                    <a:cubicBezTo>
                      <a:pt x="55" y="110"/>
                      <a:pt x="57" y="107"/>
                      <a:pt x="60" y="102"/>
                    </a:cubicBezTo>
                    <a:cubicBezTo>
                      <a:pt x="61" y="102"/>
                      <a:pt x="63" y="103"/>
                      <a:pt x="64" y="103"/>
                    </a:cubicBezTo>
                    <a:cubicBezTo>
                      <a:pt x="65" y="103"/>
                      <a:pt x="65" y="103"/>
                      <a:pt x="65" y="103"/>
                    </a:cubicBezTo>
                    <a:cubicBezTo>
                      <a:pt x="70" y="100"/>
                      <a:pt x="74" y="96"/>
                      <a:pt x="80" y="94"/>
                    </a:cubicBezTo>
                    <a:cubicBezTo>
                      <a:pt x="85" y="91"/>
                      <a:pt x="91" y="93"/>
                      <a:pt x="96" y="91"/>
                    </a:cubicBezTo>
                    <a:cubicBezTo>
                      <a:pt x="99" y="89"/>
                      <a:pt x="98" y="89"/>
                      <a:pt x="98" y="85"/>
                    </a:cubicBezTo>
                    <a:cubicBezTo>
                      <a:pt x="99" y="87"/>
                      <a:pt x="100" y="88"/>
                      <a:pt x="101" y="90"/>
                    </a:cubicBezTo>
                    <a:cubicBezTo>
                      <a:pt x="102" y="87"/>
                      <a:pt x="104" y="86"/>
                      <a:pt x="106" y="86"/>
                    </a:cubicBezTo>
                    <a:cubicBezTo>
                      <a:pt x="109" y="86"/>
                      <a:pt x="113" y="88"/>
                      <a:pt x="116" y="89"/>
                    </a:cubicBezTo>
                    <a:cubicBezTo>
                      <a:pt x="115" y="87"/>
                      <a:pt x="115" y="84"/>
                      <a:pt x="113" y="82"/>
                    </a:cubicBezTo>
                    <a:cubicBezTo>
                      <a:pt x="113" y="82"/>
                      <a:pt x="114" y="83"/>
                      <a:pt x="114" y="83"/>
                    </a:cubicBezTo>
                    <a:cubicBezTo>
                      <a:pt x="117" y="83"/>
                      <a:pt x="118" y="79"/>
                      <a:pt x="119" y="76"/>
                    </a:cubicBezTo>
                    <a:cubicBezTo>
                      <a:pt x="121" y="71"/>
                      <a:pt x="124" y="66"/>
                      <a:pt x="125" y="61"/>
                    </a:cubicBezTo>
                    <a:cubicBezTo>
                      <a:pt x="126" y="59"/>
                      <a:pt x="126" y="59"/>
                      <a:pt x="126" y="57"/>
                    </a:cubicBezTo>
                    <a:cubicBezTo>
                      <a:pt x="126" y="55"/>
                      <a:pt x="125" y="52"/>
                      <a:pt x="124" y="50"/>
                    </a:cubicBezTo>
                    <a:cubicBezTo>
                      <a:pt x="124" y="47"/>
                      <a:pt x="124" y="45"/>
                      <a:pt x="124" y="43"/>
                    </a:cubicBezTo>
                    <a:cubicBezTo>
                      <a:pt x="124" y="41"/>
                      <a:pt x="125" y="36"/>
                      <a:pt x="124" y="35"/>
                    </a:cubicBezTo>
                    <a:cubicBezTo>
                      <a:pt x="121" y="33"/>
                      <a:pt x="121" y="32"/>
                      <a:pt x="120" y="29"/>
                    </a:cubicBezTo>
                    <a:cubicBezTo>
                      <a:pt x="119" y="28"/>
                      <a:pt x="116" y="24"/>
                      <a:pt x="116" y="22"/>
                    </a:cubicBezTo>
                    <a:cubicBezTo>
                      <a:pt x="117" y="19"/>
                      <a:pt x="122" y="20"/>
                      <a:pt x="124" y="19"/>
                    </a:cubicBezTo>
                    <a:cubicBezTo>
                      <a:pt x="122" y="17"/>
                      <a:pt x="121" y="17"/>
                      <a:pt x="120" y="16"/>
                    </a:cubicBezTo>
                    <a:cubicBezTo>
                      <a:pt x="120" y="19"/>
                      <a:pt x="120" y="19"/>
                      <a:pt x="120" y="19"/>
                    </a:cubicBezTo>
                    <a:cubicBezTo>
                      <a:pt x="118" y="19"/>
                      <a:pt x="118" y="19"/>
                      <a:pt x="118" y="19"/>
                    </a:cubicBezTo>
                    <a:cubicBezTo>
                      <a:pt x="115" y="19"/>
                      <a:pt x="115" y="19"/>
                      <a:pt x="115" y="19"/>
                    </a:cubicBezTo>
                    <a:cubicBezTo>
                      <a:pt x="113" y="20"/>
                      <a:pt x="112" y="20"/>
                      <a:pt x="111" y="20"/>
                    </a:cubicBezTo>
                    <a:cubicBezTo>
                      <a:pt x="110" y="20"/>
                      <a:pt x="109" y="20"/>
                      <a:pt x="108" y="19"/>
                    </a:cubicBezTo>
                    <a:cubicBezTo>
                      <a:pt x="106" y="18"/>
                      <a:pt x="106" y="17"/>
                      <a:pt x="106" y="16"/>
                    </a:cubicBezTo>
                    <a:cubicBezTo>
                      <a:pt x="106" y="15"/>
                      <a:pt x="106" y="15"/>
                      <a:pt x="105" y="14"/>
                    </a:cubicBezTo>
                    <a:cubicBezTo>
                      <a:pt x="105" y="13"/>
                      <a:pt x="105" y="13"/>
                      <a:pt x="105" y="13"/>
                    </a:cubicBezTo>
                    <a:cubicBezTo>
                      <a:pt x="104" y="11"/>
                      <a:pt x="102" y="10"/>
                      <a:pt x="99" y="10"/>
                    </a:cubicBezTo>
                    <a:cubicBezTo>
                      <a:pt x="98" y="9"/>
                      <a:pt x="97" y="9"/>
                      <a:pt x="97" y="9"/>
                    </a:cubicBezTo>
                    <a:cubicBezTo>
                      <a:pt x="95" y="9"/>
                      <a:pt x="95" y="9"/>
                      <a:pt x="95" y="9"/>
                    </a:cubicBezTo>
                    <a:cubicBezTo>
                      <a:pt x="95" y="9"/>
                      <a:pt x="95" y="9"/>
                      <a:pt x="95" y="9"/>
                    </a:cubicBezTo>
                    <a:cubicBezTo>
                      <a:pt x="95" y="9"/>
                      <a:pt x="95" y="9"/>
                      <a:pt x="95" y="9"/>
                    </a:cubicBezTo>
                    <a:cubicBezTo>
                      <a:pt x="94" y="10"/>
                      <a:pt x="94" y="12"/>
                      <a:pt x="94" y="13"/>
                    </a:cubicBezTo>
                    <a:cubicBezTo>
                      <a:pt x="93" y="14"/>
                      <a:pt x="93" y="15"/>
                      <a:pt x="93" y="16"/>
                    </a:cubicBezTo>
                    <a:cubicBezTo>
                      <a:pt x="91" y="19"/>
                      <a:pt x="91" y="19"/>
                      <a:pt x="91" y="19"/>
                    </a:cubicBezTo>
                    <a:cubicBezTo>
                      <a:pt x="73" y="12"/>
                      <a:pt x="73" y="12"/>
                      <a:pt x="73" y="12"/>
                    </a:cubicBezTo>
                    <a:cubicBezTo>
                      <a:pt x="69" y="10"/>
                      <a:pt x="67" y="7"/>
                      <a:pt x="64" y="5"/>
                    </a:cubicBezTo>
                    <a:cubicBezTo>
                      <a:pt x="59" y="0"/>
                      <a:pt x="59" y="0"/>
                      <a:pt x="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34" name="Freeform 362">
                <a:extLst>
                  <a:ext uri="{FF2B5EF4-FFF2-40B4-BE49-F238E27FC236}">
                    <a16:creationId xmlns:a16="http://schemas.microsoft.com/office/drawing/2014/main" id="{B102B2C0-1533-4B9B-B6CF-22ECEA3DCE91}"/>
                  </a:ext>
                </a:extLst>
              </p:cNvPr>
              <p:cNvSpPr>
                <a:spLocks/>
              </p:cNvSpPr>
              <p:nvPr/>
            </p:nvSpPr>
            <p:spPr bwMode="auto">
              <a:xfrm>
                <a:off x="5103886" y="3379252"/>
                <a:ext cx="29481" cy="36851"/>
              </a:xfrm>
              <a:custGeom>
                <a:avLst/>
                <a:gdLst>
                  <a:gd name="T0" fmla="*/ 4 w 9"/>
                  <a:gd name="T1" fmla="*/ 0 h 11"/>
                  <a:gd name="T2" fmla="*/ 0 w 9"/>
                  <a:gd name="T3" fmla="*/ 11 h 11"/>
                  <a:gd name="T4" fmla="*/ 1 w 9"/>
                  <a:gd name="T5" fmla="*/ 7 h 11"/>
                  <a:gd name="T6" fmla="*/ 1 w 9"/>
                  <a:gd name="T7" fmla="*/ 6 h 11"/>
                  <a:gd name="T8" fmla="*/ 2 w 9"/>
                  <a:gd name="T9" fmla="*/ 7 h 11"/>
                  <a:gd name="T10" fmla="*/ 3 w 9"/>
                  <a:gd name="T11" fmla="*/ 7 h 11"/>
                  <a:gd name="T12" fmla="*/ 3 w 9"/>
                  <a:gd name="T13" fmla="*/ 7 h 11"/>
                  <a:gd name="T14" fmla="*/ 8 w 9"/>
                  <a:gd name="T15" fmla="*/ 6 h 11"/>
                  <a:gd name="T16" fmla="*/ 9 w 9"/>
                  <a:gd name="T17" fmla="*/ 6 h 11"/>
                  <a:gd name="T18" fmla="*/ 9 w 9"/>
                  <a:gd name="T19" fmla="*/ 6 h 11"/>
                  <a:gd name="T20" fmla="*/ 7 w 9"/>
                  <a:gd name="T21" fmla="*/ 6 h 11"/>
                  <a:gd name="T22" fmla="*/ 5 w 9"/>
                  <a:gd name="T23" fmla="*/ 6 h 11"/>
                  <a:gd name="T24" fmla="*/ 4 w 9"/>
                  <a:gd name="T25" fmla="*/ 6 h 11"/>
                  <a:gd name="T26" fmla="*/ 4 w 9"/>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1">
                    <a:moveTo>
                      <a:pt x="4" y="0"/>
                    </a:moveTo>
                    <a:cubicBezTo>
                      <a:pt x="0" y="1"/>
                      <a:pt x="0" y="8"/>
                      <a:pt x="0" y="11"/>
                    </a:cubicBezTo>
                    <a:cubicBezTo>
                      <a:pt x="0" y="10"/>
                      <a:pt x="0" y="7"/>
                      <a:pt x="1" y="7"/>
                    </a:cubicBezTo>
                    <a:cubicBezTo>
                      <a:pt x="1" y="6"/>
                      <a:pt x="1" y="6"/>
                      <a:pt x="1" y="6"/>
                    </a:cubicBezTo>
                    <a:cubicBezTo>
                      <a:pt x="2" y="6"/>
                      <a:pt x="2" y="7"/>
                      <a:pt x="2" y="7"/>
                    </a:cubicBezTo>
                    <a:cubicBezTo>
                      <a:pt x="2" y="7"/>
                      <a:pt x="3" y="7"/>
                      <a:pt x="3" y="7"/>
                    </a:cubicBezTo>
                    <a:cubicBezTo>
                      <a:pt x="3" y="7"/>
                      <a:pt x="3" y="7"/>
                      <a:pt x="3" y="7"/>
                    </a:cubicBezTo>
                    <a:cubicBezTo>
                      <a:pt x="5" y="7"/>
                      <a:pt x="6" y="6"/>
                      <a:pt x="8" y="6"/>
                    </a:cubicBezTo>
                    <a:cubicBezTo>
                      <a:pt x="8" y="6"/>
                      <a:pt x="9" y="6"/>
                      <a:pt x="9" y="6"/>
                    </a:cubicBezTo>
                    <a:cubicBezTo>
                      <a:pt x="9" y="6"/>
                      <a:pt x="9" y="6"/>
                      <a:pt x="9" y="6"/>
                    </a:cubicBezTo>
                    <a:cubicBezTo>
                      <a:pt x="8" y="6"/>
                      <a:pt x="8" y="6"/>
                      <a:pt x="7" y="6"/>
                    </a:cubicBezTo>
                    <a:cubicBezTo>
                      <a:pt x="7" y="6"/>
                      <a:pt x="6" y="6"/>
                      <a:pt x="5" y="6"/>
                    </a:cubicBezTo>
                    <a:cubicBezTo>
                      <a:pt x="5" y="6"/>
                      <a:pt x="5" y="6"/>
                      <a:pt x="4" y="6"/>
                    </a:cubicBezTo>
                    <a:cubicBezTo>
                      <a:pt x="0" y="5"/>
                      <a:pt x="3"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35" name="Freeform 363">
                <a:extLst>
                  <a:ext uri="{FF2B5EF4-FFF2-40B4-BE49-F238E27FC236}">
                    <a16:creationId xmlns:a16="http://schemas.microsoft.com/office/drawing/2014/main" id="{4F9BAF3E-1CB2-4B1B-8236-CD354A098BFC}"/>
                  </a:ext>
                </a:extLst>
              </p:cNvPr>
              <p:cNvSpPr>
                <a:spLocks/>
              </p:cNvSpPr>
              <p:nvPr/>
            </p:nvSpPr>
            <p:spPr bwMode="auto">
              <a:xfrm>
                <a:off x="4904889" y="3405048"/>
                <a:ext cx="795985" cy="884428"/>
              </a:xfrm>
              <a:custGeom>
                <a:avLst/>
                <a:gdLst>
                  <a:gd name="T0" fmla="*/ 83 w 251"/>
                  <a:gd name="T1" fmla="*/ 2 h 278"/>
                  <a:gd name="T2" fmla="*/ 74 w 251"/>
                  <a:gd name="T3" fmla="*/ 17 h 278"/>
                  <a:gd name="T4" fmla="*/ 89 w 251"/>
                  <a:gd name="T5" fmla="*/ 38 h 278"/>
                  <a:gd name="T6" fmla="*/ 70 w 251"/>
                  <a:gd name="T7" fmla="*/ 40 h 278"/>
                  <a:gd name="T8" fmla="*/ 63 w 251"/>
                  <a:gd name="T9" fmla="*/ 48 h 278"/>
                  <a:gd name="T10" fmla="*/ 49 w 251"/>
                  <a:gd name="T11" fmla="*/ 44 h 278"/>
                  <a:gd name="T12" fmla="*/ 34 w 251"/>
                  <a:gd name="T13" fmla="*/ 59 h 278"/>
                  <a:gd name="T14" fmla="*/ 34 w 251"/>
                  <a:gd name="T15" fmla="*/ 75 h 278"/>
                  <a:gd name="T16" fmla="*/ 24 w 251"/>
                  <a:gd name="T17" fmla="*/ 89 h 278"/>
                  <a:gd name="T18" fmla="*/ 26 w 251"/>
                  <a:gd name="T19" fmla="*/ 110 h 278"/>
                  <a:gd name="T20" fmla="*/ 14 w 251"/>
                  <a:gd name="T21" fmla="*/ 118 h 278"/>
                  <a:gd name="T22" fmla="*/ 3 w 251"/>
                  <a:gd name="T23" fmla="*/ 117 h 278"/>
                  <a:gd name="T24" fmla="*/ 5 w 251"/>
                  <a:gd name="T25" fmla="*/ 137 h 278"/>
                  <a:gd name="T26" fmla="*/ 1 w 251"/>
                  <a:gd name="T27" fmla="*/ 147 h 278"/>
                  <a:gd name="T28" fmla="*/ 2 w 251"/>
                  <a:gd name="T29" fmla="*/ 155 h 278"/>
                  <a:gd name="T30" fmla="*/ 9 w 251"/>
                  <a:gd name="T31" fmla="*/ 178 h 278"/>
                  <a:gd name="T32" fmla="*/ 6 w 251"/>
                  <a:gd name="T33" fmla="*/ 184 h 278"/>
                  <a:gd name="T34" fmla="*/ 12 w 251"/>
                  <a:gd name="T35" fmla="*/ 201 h 278"/>
                  <a:gd name="T36" fmla="*/ 26 w 251"/>
                  <a:gd name="T37" fmla="*/ 212 h 278"/>
                  <a:gd name="T38" fmla="*/ 44 w 251"/>
                  <a:gd name="T39" fmla="*/ 215 h 278"/>
                  <a:gd name="T40" fmla="*/ 50 w 251"/>
                  <a:gd name="T41" fmla="*/ 216 h 278"/>
                  <a:gd name="T42" fmla="*/ 64 w 251"/>
                  <a:gd name="T43" fmla="*/ 225 h 278"/>
                  <a:gd name="T44" fmla="*/ 45 w 251"/>
                  <a:gd name="T45" fmla="*/ 259 h 278"/>
                  <a:gd name="T46" fmla="*/ 46 w 251"/>
                  <a:gd name="T47" fmla="*/ 271 h 278"/>
                  <a:gd name="T48" fmla="*/ 51 w 251"/>
                  <a:gd name="T49" fmla="*/ 270 h 278"/>
                  <a:gd name="T50" fmla="*/ 63 w 251"/>
                  <a:gd name="T51" fmla="*/ 270 h 278"/>
                  <a:gd name="T52" fmla="*/ 74 w 251"/>
                  <a:gd name="T53" fmla="*/ 261 h 278"/>
                  <a:gd name="T54" fmla="*/ 82 w 251"/>
                  <a:gd name="T55" fmla="*/ 267 h 278"/>
                  <a:gd name="T56" fmla="*/ 101 w 251"/>
                  <a:gd name="T57" fmla="*/ 271 h 278"/>
                  <a:gd name="T58" fmla="*/ 110 w 251"/>
                  <a:gd name="T59" fmla="*/ 271 h 278"/>
                  <a:gd name="T60" fmla="*/ 120 w 251"/>
                  <a:gd name="T61" fmla="*/ 278 h 278"/>
                  <a:gd name="T62" fmla="*/ 143 w 251"/>
                  <a:gd name="T63" fmla="*/ 276 h 278"/>
                  <a:gd name="T64" fmla="*/ 166 w 251"/>
                  <a:gd name="T65" fmla="*/ 269 h 278"/>
                  <a:gd name="T66" fmla="*/ 181 w 251"/>
                  <a:gd name="T67" fmla="*/ 266 h 278"/>
                  <a:gd name="T68" fmla="*/ 188 w 251"/>
                  <a:gd name="T69" fmla="*/ 266 h 278"/>
                  <a:gd name="T70" fmla="*/ 193 w 251"/>
                  <a:gd name="T71" fmla="*/ 264 h 278"/>
                  <a:gd name="T72" fmla="*/ 201 w 251"/>
                  <a:gd name="T73" fmla="*/ 244 h 278"/>
                  <a:gd name="T74" fmla="*/ 211 w 251"/>
                  <a:gd name="T75" fmla="*/ 233 h 278"/>
                  <a:gd name="T76" fmla="*/ 215 w 251"/>
                  <a:gd name="T77" fmla="*/ 233 h 278"/>
                  <a:gd name="T78" fmla="*/ 211 w 251"/>
                  <a:gd name="T79" fmla="*/ 226 h 278"/>
                  <a:gd name="T80" fmla="*/ 189 w 251"/>
                  <a:gd name="T81" fmla="*/ 210 h 278"/>
                  <a:gd name="T82" fmla="*/ 178 w 251"/>
                  <a:gd name="T83" fmla="*/ 189 h 278"/>
                  <a:gd name="T84" fmla="*/ 168 w 251"/>
                  <a:gd name="T85" fmla="*/ 174 h 278"/>
                  <a:gd name="T86" fmla="*/ 176 w 251"/>
                  <a:gd name="T87" fmla="*/ 173 h 278"/>
                  <a:gd name="T88" fmla="*/ 192 w 251"/>
                  <a:gd name="T89" fmla="*/ 166 h 278"/>
                  <a:gd name="T90" fmla="*/ 221 w 251"/>
                  <a:gd name="T91" fmla="*/ 152 h 278"/>
                  <a:gd name="T92" fmla="*/ 235 w 251"/>
                  <a:gd name="T93" fmla="*/ 143 h 278"/>
                  <a:gd name="T94" fmla="*/ 250 w 251"/>
                  <a:gd name="T95" fmla="*/ 136 h 278"/>
                  <a:gd name="T96" fmla="*/ 242 w 251"/>
                  <a:gd name="T97" fmla="*/ 124 h 278"/>
                  <a:gd name="T98" fmla="*/ 237 w 251"/>
                  <a:gd name="T99" fmla="*/ 95 h 278"/>
                  <a:gd name="T100" fmla="*/ 229 w 251"/>
                  <a:gd name="T101" fmla="*/ 80 h 278"/>
                  <a:gd name="T102" fmla="*/ 231 w 251"/>
                  <a:gd name="T103" fmla="*/ 51 h 278"/>
                  <a:gd name="T104" fmla="*/ 214 w 251"/>
                  <a:gd name="T105" fmla="*/ 27 h 278"/>
                  <a:gd name="T106" fmla="*/ 180 w 251"/>
                  <a:gd name="T107" fmla="*/ 19 h 278"/>
                  <a:gd name="T108" fmla="*/ 171 w 251"/>
                  <a:gd name="T109" fmla="*/ 28 h 278"/>
                  <a:gd name="T110" fmla="*/ 136 w 251"/>
                  <a:gd name="T111" fmla="*/ 31 h 278"/>
                  <a:gd name="T112" fmla="*/ 121 w 251"/>
                  <a:gd name="T113" fmla="*/ 16 h 278"/>
                  <a:gd name="T114" fmla="*/ 97 w 251"/>
                  <a:gd name="T115"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1" h="278">
                    <a:moveTo>
                      <a:pt x="97" y="0"/>
                    </a:moveTo>
                    <a:cubicBezTo>
                      <a:pt x="98" y="4"/>
                      <a:pt x="98" y="4"/>
                      <a:pt x="98" y="4"/>
                    </a:cubicBezTo>
                    <a:cubicBezTo>
                      <a:pt x="96" y="4"/>
                      <a:pt x="96" y="4"/>
                      <a:pt x="96" y="4"/>
                    </a:cubicBezTo>
                    <a:cubicBezTo>
                      <a:pt x="96" y="4"/>
                      <a:pt x="95" y="4"/>
                      <a:pt x="95" y="4"/>
                    </a:cubicBezTo>
                    <a:cubicBezTo>
                      <a:pt x="91" y="4"/>
                      <a:pt x="87" y="3"/>
                      <a:pt x="84" y="2"/>
                    </a:cubicBezTo>
                    <a:cubicBezTo>
                      <a:pt x="83" y="2"/>
                      <a:pt x="83" y="2"/>
                      <a:pt x="83" y="2"/>
                    </a:cubicBezTo>
                    <a:cubicBezTo>
                      <a:pt x="80" y="2"/>
                      <a:pt x="78" y="1"/>
                      <a:pt x="75" y="1"/>
                    </a:cubicBezTo>
                    <a:cubicBezTo>
                      <a:pt x="75" y="1"/>
                      <a:pt x="75" y="1"/>
                      <a:pt x="75" y="1"/>
                    </a:cubicBezTo>
                    <a:cubicBezTo>
                      <a:pt x="77" y="3"/>
                      <a:pt x="79" y="7"/>
                      <a:pt x="80" y="9"/>
                    </a:cubicBezTo>
                    <a:cubicBezTo>
                      <a:pt x="80" y="10"/>
                      <a:pt x="82" y="11"/>
                      <a:pt x="82" y="12"/>
                    </a:cubicBezTo>
                    <a:cubicBezTo>
                      <a:pt x="83" y="14"/>
                      <a:pt x="84" y="14"/>
                      <a:pt x="81" y="16"/>
                    </a:cubicBezTo>
                    <a:cubicBezTo>
                      <a:pt x="78" y="17"/>
                      <a:pt x="76" y="16"/>
                      <a:pt x="74" y="17"/>
                    </a:cubicBezTo>
                    <a:cubicBezTo>
                      <a:pt x="73" y="18"/>
                      <a:pt x="72" y="18"/>
                      <a:pt x="72" y="19"/>
                    </a:cubicBezTo>
                    <a:cubicBezTo>
                      <a:pt x="72" y="21"/>
                      <a:pt x="79" y="21"/>
                      <a:pt x="82" y="21"/>
                    </a:cubicBezTo>
                    <a:cubicBezTo>
                      <a:pt x="80" y="22"/>
                      <a:pt x="78" y="23"/>
                      <a:pt x="78" y="25"/>
                    </a:cubicBezTo>
                    <a:cubicBezTo>
                      <a:pt x="77" y="27"/>
                      <a:pt x="81" y="30"/>
                      <a:pt x="78" y="31"/>
                    </a:cubicBezTo>
                    <a:cubicBezTo>
                      <a:pt x="82" y="34"/>
                      <a:pt x="87" y="35"/>
                      <a:pt x="90" y="38"/>
                    </a:cubicBezTo>
                    <a:cubicBezTo>
                      <a:pt x="90" y="38"/>
                      <a:pt x="89" y="38"/>
                      <a:pt x="89" y="38"/>
                    </a:cubicBezTo>
                    <a:cubicBezTo>
                      <a:pt x="88" y="38"/>
                      <a:pt x="87" y="38"/>
                      <a:pt x="86" y="38"/>
                    </a:cubicBezTo>
                    <a:cubicBezTo>
                      <a:pt x="86" y="38"/>
                      <a:pt x="85" y="38"/>
                      <a:pt x="85" y="38"/>
                    </a:cubicBezTo>
                    <a:cubicBezTo>
                      <a:pt x="83" y="38"/>
                      <a:pt x="82" y="38"/>
                      <a:pt x="80" y="38"/>
                    </a:cubicBezTo>
                    <a:cubicBezTo>
                      <a:pt x="78" y="38"/>
                      <a:pt x="77" y="37"/>
                      <a:pt x="75" y="37"/>
                    </a:cubicBezTo>
                    <a:cubicBezTo>
                      <a:pt x="75" y="37"/>
                      <a:pt x="74" y="38"/>
                      <a:pt x="73" y="38"/>
                    </a:cubicBezTo>
                    <a:cubicBezTo>
                      <a:pt x="71" y="38"/>
                      <a:pt x="72" y="38"/>
                      <a:pt x="70" y="40"/>
                    </a:cubicBezTo>
                    <a:cubicBezTo>
                      <a:pt x="70" y="40"/>
                      <a:pt x="70" y="42"/>
                      <a:pt x="69" y="42"/>
                    </a:cubicBezTo>
                    <a:cubicBezTo>
                      <a:pt x="69" y="44"/>
                      <a:pt x="69" y="45"/>
                      <a:pt x="69" y="47"/>
                    </a:cubicBezTo>
                    <a:cubicBezTo>
                      <a:pt x="69" y="49"/>
                      <a:pt x="71" y="50"/>
                      <a:pt x="70" y="52"/>
                    </a:cubicBezTo>
                    <a:cubicBezTo>
                      <a:pt x="70" y="54"/>
                      <a:pt x="69" y="56"/>
                      <a:pt x="69" y="58"/>
                    </a:cubicBezTo>
                    <a:cubicBezTo>
                      <a:pt x="70" y="52"/>
                      <a:pt x="71" y="52"/>
                      <a:pt x="67" y="49"/>
                    </a:cubicBezTo>
                    <a:cubicBezTo>
                      <a:pt x="66" y="49"/>
                      <a:pt x="65" y="48"/>
                      <a:pt x="63" y="48"/>
                    </a:cubicBezTo>
                    <a:cubicBezTo>
                      <a:pt x="63" y="48"/>
                      <a:pt x="62" y="48"/>
                      <a:pt x="62" y="48"/>
                    </a:cubicBezTo>
                    <a:cubicBezTo>
                      <a:pt x="60" y="51"/>
                      <a:pt x="64" y="50"/>
                      <a:pt x="64" y="51"/>
                    </a:cubicBezTo>
                    <a:cubicBezTo>
                      <a:pt x="64" y="52"/>
                      <a:pt x="64" y="52"/>
                      <a:pt x="63" y="52"/>
                    </a:cubicBezTo>
                    <a:cubicBezTo>
                      <a:pt x="62" y="54"/>
                      <a:pt x="61" y="55"/>
                      <a:pt x="60" y="55"/>
                    </a:cubicBezTo>
                    <a:cubicBezTo>
                      <a:pt x="59" y="55"/>
                      <a:pt x="58" y="54"/>
                      <a:pt x="56" y="52"/>
                    </a:cubicBezTo>
                    <a:cubicBezTo>
                      <a:pt x="64" y="51"/>
                      <a:pt x="52" y="44"/>
                      <a:pt x="49" y="44"/>
                    </a:cubicBezTo>
                    <a:cubicBezTo>
                      <a:pt x="49" y="44"/>
                      <a:pt x="48" y="44"/>
                      <a:pt x="48" y="44"/>
                    </a:cubicBezTo>
                    <a:cubicBezTo>
                      <a:pt x="43" y="45"/>
                      <a:pt x="33" y="45"/>
                      <a:pt x="29" y="49"/>
                    </a:cubicBezTo>
                    <a:cubicBezTo>
                      <a:pt x="29" y="49"/>
                      <a:pt x="29" y="49"/>
                      <a:pt x="29" y="49"/>
                    </a:cubicBezTo>
                    <a:cubicBezTo>
                      <a:pt x="29" y="49"/>
                      <a:pt x="28" y="52"/>
                      <a:pt x="27" y="52"/>
                    </a:cubicBezTo>
                    <a:cubicBezTo>
                      <a:pt x="27" y="53"/>
                      <a:pt x="27" y="53"/>
                      <a:pt x="27" y="54"/>
                    </a:cubicBezTo>
                    <a:cubicBezTo>
                      <a:pt x="26" y="59"/>
                      <a:pt x="30" y="58"/>
                      <a:pt x="34" y="59"/>
                    </a:cubicBezTo>
                    <a:cubicBezTo>
                      <a:pt x="33" y="60"/>
                      <a:pt x="33" y="60"/>
                      <a:pt x="33" y="60"/>
                    </a:cubicBezTo>
                    <a:cubicBezTo>
                      <a:pt x="35" y="59"/>
                      <a:pt x="35" y="59"/>
                      <a:pt x="35" y="59"/>
                    </a:cubicBezTo>
                    <a:cubicBezTo>
                      <a:pt x="35" y="61"/>
                      <a:pt x="35" y="61"/>
                      <a:pt x="35" y="61"/>
                    </a:cubicBezTo>
                    <a:cubicBezTo>
                      <a:pt x="35" y="62"/>
                      <a:pt x="36" y="65"/>
                      <a:pt x="35" y="68"/>
                    </a:cubicBezTo>
                    <a:cubicBezTo>
                      <a:pt x="35" y="69"/>
                      <a:pt x="35" y="71"/>
                      <a:pt x="35" y="72"/>
                    </a:cubicBezTo>
                    <a:cubicBezTo>
                      <a:pt x="34" y="73"/>
                      <a:pt x="34" y="74"/>
                      <a:pt x="34" y="75"/>
                    </a:cubicBezTo>
                    <a:cubicBezTo>
                      <a:pt x="33" y="77"/>
                      <a:pt x="32" y="79"/>
                      <a:pt x="32" y="81"/>
                    </a:cubicBezTo>
                    <a:cubicBezTo>
                      <a:pt x="32" y="81"/>
                      <a:pt x="32" y="81"/>
                      <a:pt x="32" y="81"/>
                    </a:cubicBezTo>
                    <a:cubicBezTo>
                      <a:pt x="32" y="83"/>
                      <a:pt x="31" y="86"/>
                      <a:pt x="28" y="88"/>
                    </a:cubicBezTo>
                    <a:cubicBezTo>
                      <a:pt x="26" y="89"/>
                      <a:pt x="24" y="89"/>
                      <a:pt x="23" y="89"/>
                    </a:cubicBezTo>
                    <a:cubicBezTo>
                      <a:pt x="23" y="89"/>
                      <a:pt x="23" y="89"/>
                      <a:pt x="23" y="89"/>
                    </a:cubicBezTo>
                    <a:cubicBezTo>
                      <a:pt x="24" y="89"/>
                      <a:pt x="24" y="89"/>
                      <a:pt x="24" y="89"/>
                    </a:cubicBezTo>
                    <a:cubicBezTo>
                      <a:pt x="26" y="90"/>
                      <a:pt x="32" y="92"/>
                      <a:pt x="31" y="99"/>
                    </a:cubicBezTo>
                    <a:cubicBezTo>
                      <a:pt x="31" y="103"/>
                      <a:pt x="27" y="105"/>
                      <a:pt x="24" y="107"/>
                    </a:cubicBezTo>
                    <a:cubicBezTo>
                      <a:pt x="23" y="108"/>
                      <a:pt x="23" y="108"/>
                      <a:pt x="23" y="108"/>
                    </a:cubicBezTo>
                    <a:cubicBezTo>
                      <a:pt x="23" y="108"/>
                      <a:pt x="23" y="108"/>
                      <a:pt x="23" y="108"/>
                    </a:cubicBezTo>
                    <a:cubicBezTo>
                      <a:pt x="24" y="108"/>
                      <a:pt x="24" y="108"/>
                      <a:pt x="24" y="108"/>
                    </a:cubicBezTo>
                    <a:cubicBezTo>
                      <a:pt x="26" y="110"/>
                      <a:pt x="26" y="110"/>
                      <a:pt x="26" y="110"/>
                    </a:cubicBezTo>
                    <a:cubicBezTo>
                      <a:pt x="24" y="113"/>
                      <a:pt x="24" y="113"/>
                      <a:pt x="24" y="113"/>
                    </a:cubicBezTo>
                    <a:cubicBezTo>
                      <a:pt x="24" y="114"/>
                      <a:pt x="23" y="115"/>
                      <a:pt x="22" y="115"/>
                    </a:cubicBezTo>
                    <a:cubicBezTo>
                      <a:pt x="21" y="116"/>
                      <a:pt x="21" y="116"/>
                      <a:pt x="21" y="116"/>
                    </a:cubicBezTo>
                    <a:cubicBezTo>
                      <a:pt x="22" y="121"/>
                      <a:pt x="22" y="121"/>
                      <a:pt x="22" y="121"/>
                    </a:cubicBezTo>
                    <a:cubicBezTo>
                      <a:pt x="19" y="117"/>
                      <a:pt x="19" y="117"/>
                      <a:pt x="19" y="117"/>
                    </a:cubicBezTo>
                    <a:cubicBezTo>
                      <a:pt x="18" y="117"/>
                      <a:pt x="16" y="118"/>
                      <a:pt x="14" y="118"/>
                    </a:cubicBezTo>
                    <a:cubicBezTo>
                      <a:pt x="13" y="118"/>
                      <a:pt x="12" y="119"/>
                      <a:pt x="12" y="119"/>
                    </a:cubicBezTo>
                    <a:cubicBezTo>
                      <a:pt x="11" y="119"/>
                      <a:pt x="11" y="119"/>
                      <a:pt x="11" y="119"/>
                    </a:cubicBezTo>
                    <a:cubicBezTo>
                      <a:pt x="10" y="119"/>
                      <a:pt x="10" y="119"/>
                      <a:pt x="10" y="119"/>
                    </a:cubicBezTo>
                    <a:cubicBezTo>
                      <a:pt x="10" y="119"/>
                      <a:pt x="10" y="119"/>
                      <a:pt x="10" y="119"/>
                    </a:cubicBezTo>
                    <a:cubicBezTo>
                      <a:pt x="8" y="119"/>
                      <a:pt x="6" y="118"/>
                      <a:pt x="4" y="117"/>
                    </a:cubicBezTo>
                    <a:cubicBezTo>
                      <a:pt x="3" y="117"/>
                      <a:pt x="3" y="117"/>
                      <a:pt x="3" y="117"/>
                    </a:cubicBezTo>
                    <a:cubicBezTo>
                      <a:pt x="3" y="117"/>
                      <a:pt x="3" y="117"/>
                      <a:pt x="3" y="117"/>
                    </a:cubicBezTo>
                    <a:cubicBezTo>
                      <a:pt x="2" y="117"/>
                      <a:pt x="2" y="117"/>
                      <a:pt x="2" y="117"/>
                    </a:cubicBezTo>
                    <a:cubicBezTo>
                      <a:pt x="1" y="117"/>
                      <a:pt x="1" y="117"/>
                      <a:pt x="1" y="117"/>
                    </a:cubicBezTo>
                    <a:cubicBezTo>
                      <a:pt x="1" y="118"/>
                      <a:pt x="0" y="118"/>
                      <a:pt x="0" y="118"/>
                    </a:cubicBezTo>
                    <a:cubicBezTo>
                      <a:pt x="2" y="121"/>
                      <a:pt x="4" y="123"/>
                      <a:pt x="6" y="126"/>
                    </a:cubicBezTo>
                    <a:cubicBezTo>
                      <a:pt x="8" y="129"/>
                      <a:pt x="8" y="133"/>
                      <a:pt x="5" y="137"/>
                    </a:cubicBezTo>
                    <a:cubicBezTo>
                      <a:pt x="5" y="138"/>
                      <a:pt x="5" y="138"/>
                      <a:pt x="5" y="138"/>
                    </a:cubicBezTo>
                    <a:cubicBezTo>
                      <a:pt x="17" y="139"/>
                      <a:pt x="17" y="139"/>
                      <a:pt x="17" y="139"/>
                    </a:cubicBezTo>
                    <a:cubicBezTo>
                      <a:pt x="4" y="145"/>
                      <a:pt x="4" y="145"/>
                      <a:pt x="4" y="145"/>
                    </a:cubicBezTo>
                    <a:cubicBezTo>
                      <a:pt x="3" y="145"/>
                      <a:pt x="3" y="145"/>
                      <a:pt x="2" y="146"/>
                    </a:cubicBezTo>
                    <a:cubicBezTo>
                      <a:pt x="2" y="146"/>
                      <a:pt x="2" y="146"/>
                      <a:pt x="2" y="146"/>
                    </a:cubicBezTo>
                    <a:cubicBezTo>
                      <a:pt x="1" y="146"/>
                      <a:pt x="1" y="146"/>
                      <a:pt x="1" y="147"/>
                    </a:cubicBezTo>
                    <a:cubicBezTo>
                      <a:pt x="1" y="147"/>
                      <a:pt x="1" y="147"/>
                      <a:pt x="1" y="147"/>
                    </a:cubicBezTo>
                    <a:cubicBezTo>
                      <a:pt x="2" y="148"/>
                      <a:pt x="2" y="148"/>
                      <a:pt x="3" y="149"/>
                    </a:cubicBezTo>
                    <a:cubicBezTo>
                      <a:pt x="3" y="150"/>
                      <a:pt x="3" y="150"/>
                      <a:pt x="3" y="150"/>
                    </a:cubicBezTo>
                    <a:cubicBezTo>
                      <a:pt x="3" y="151"/>
                      <a:pt x="3" y="151"/>
                      <a:pt x="3" y="151"/>
                    </a:cubicBezTo>
                    <a:cubicBezTo>
                      <a:pt x="3" y="152"/>
                      <a:pt x="3" y="153"/>
                      <a:pt x="2" y="154"/>
                    </a:cubicBezTo>
                    <a:cubicBezTo>
                      <a:pt x="2" y="155"/>
                      <a:pt x="2" y="155"/>
                      <a:pt x="2" y="155"/>
                    </a:cubicBezTo>
                    <a:cubicBezTo>
                      <a:pt x="2" y="155"/>
                      <a:pt x="2" y="155"/>
                      <a:pt x="2" y="155"/>
                    </a:cubicBezTo>
                    <a:cubicBezTo>
                      <a:pt x="2" y="155"/>
                      <a:pt x="2" y="155"/>
                      <a:pt x="2" y="155"/>
                    </a:cubicBezTo>
                    <a:cubicBezTo>
                      <a:pt x="4" y="159"/>
                      <a:pt x="4" y="159"/>
                      <a:pt x="4" y="159"/>
                    </a:cubicBezTo>
                    <a:cubicBezTo>
                      <a:pt x="7" y="162"/>
                      <a:pt x="9" y="165"/>
                      <a:pt x="11" y="168"/>
                    </a:cubicBezTo>
                    <a:cubicBezTo>
                      <a:pt x="13" y="174"/>
                      <a:pt x="11" y="176"/>
                      <a:pt x="9" y="178"/>
                    </a:cubicBezTo>
                    <a:cubicBezTo>
                      <a:pt x="9" y="178"/>
                      <a:pt x="9" y="178"/>
                      <a:pt x="9" y="178"/>
                    </a:cubicBezTo>
                    <a:cubicBezTo>
                      <a:pt x="8" y="178"/>
                      <a:pt x="8" y="179"/>
                      <a:pt x="8" y="179"/>
                    </a:cubicBezTo>
                    <a:cubicBezTo>
                      <a:pt x="7" y="180"/>
                      <a:pt x="6" y="180"/>
                      <a:pt x="6" y="180"/>
                    </a:cubicBezTo>
                    <a:cubicBezTo>
                      <a:pt x="6" y="181"/>
                      <a:pt x="6" y="181"/>
                      <a:pt x="6" y="181"/>
                    </a:cubicBezTo>
                    <a:cubicBezTo>
                      <a:pt x="9" y="185"/>
                      <a:pt x="9" y="185"/>
                      <a:pt x="9" y="185"/>
                    </a:cubicBezTo>
                    <a:cubicBezTo>
                      <a:pt x="6" y="184"/>
                      <a:pt x="6" y="184"/>
                      <a:pt x="6" y="184"/>
                    </a:cubicBezTo>
                    <a:cubicBezTo>
                      <a:pt x="6" y="184"/>
                      <a:pt x="6" y="184"/>
                      <a:pt x="6" y="184"/>
                    </a:cubicBezTo>
                    <a:cubicBezTo>
                      <a:pt x="6" y="185"/>
                      <a:pt x="6" y="185"/>
                      <a:pt x="6" y="185"/>
                    </a:cubicBezTo>
                    <a:cubicBezTo>
                      <a:pt x="6" y="185"/>
                      <a:pt x="6" y="186"/>
                      <a:pt x="8" y="187"/>
                    </a:cubicBezTo>
                    <a:cubicBezTo>
                      <a:pt x="9" y="187"/>
                      <a:pt x="9" y="188"/>
                      <a:pt x="10" y="188"/>
                    </a:cubicBezTo>
                    <a:cubicBezTo>
                      <a:pt x="11" y="188"/>
                      <a:pt x="12" y="189"/>
                      <a:pt x="12" y="189"/>
                    </a:cubicBezTo>
                    <a:cubicBezTo>
                      <a:pt x="13" y="190"/>
                      <a:pt x="13" y="190"/>
                      <a:pt x="13" y="191"/>
                    </a:cubicBezTo>
                    <a:cubicBezTo>
                      <a:pt x="16" y="194"/>
                      <a:pt x="14" y="198"/>
                      <a:pt x="12" y="201"/>
                    </a:cubicBezTo>
                    <a:cubicBezTo>
                      <a:pt x="12" y="201"/>
                      <a:pt x="12" y="201"/>
                      <a:pt x="12" y="201"/>
                    </a:cubicBezTo>
                    <a:cubicBezTo>
                      <a:pt x="12" y="201"/>
                      <a:pt x="12" y="202"/>
                      <a:pt x="11" y="202"/>
                    </a:cubicBezTo>
                    <a:cubicBezTo>
                      <a:pt x="15" y="204"/>
                      <a:pt x="17" y="206"/>
                      <a:pt x="19" y="209"/>
                    </a:cubicBezTo>
                    <a:cubicBezTo>
                      <a:pt x="20" y="210"/>
                      <a:pt x="20" y="210"/>
                      <a:pt x="20" y="210"/>
                    </a:cubicBezTo>
                    <a:cubicBezTo>
                      <a:pt x="21" y="211"/>
                      <a:pt x="22" y="211"/>
                      <a:pt x="24" y="212"/>
                    </a:cubicBezTo>
                    <a:cubicBezTo>
                      <a:pt x="25" y="212"/>
                      <a:pt x="26" y="212"/>
                      <a:pt x="26" y="212"/>
                    </a:cubicBezTo>
                    <a:cubicBezTo>
                      <a:pt x="28" y="212"/>
                      <a:pt x="29" y="213"/>
                      <a:pt x="30" y="213"/>
                    </a:cubicBezTo>
                    <a:cubicBezTo>
                      <a:pt x="31" y="213"/>
                      <a:pt x="31" y="213"/>
                      <a:pt x="31" y="213"/>
                    </a:cubicBezTo>
                    <a:cubicBezTo>
                      <a:pt x="31" y="212"/>
                      <a:pt x="32" y="212"/>
                      <a:pt x="32" y="212"/>
                    </a:cubicBezTo>
                    <a:cubicBezTo>
                      <a:pt x="35" y="212"/>
                      <a:pt x="35" y="212"/>
                      <a:pt x="35" y="212"/>
                    </a:cubicBezTo>
                    <a:cubicBezTo>
                      <a:pt x="35" y="212"/>
                      <a:pt x="36" y="212"/>
                      <a:pt x="36" y="212"/>
                    </a:cubicBezTo>
                    <a:cubicBezTo>
                      <a:pt x="39" y="212"/>
                      <a:pt x="42" y="214"/>
                      <a:pt x="44" y="215"/>
                    </a:cubicBezTo>
                    <a:cubicBezTo>
                      <a:pt x="44" y="216"/>
                      <a:pt x="44" y="216"/>
                      <a:pt x="44" y="216"/>
                    </a:cubicBezTo>
                    <a:cubicBezTo>
                      <a:pt x="45" y="216"/>
                      <a:pt x="45" y="216"/>
                      <a:pt x="45" y="216"/>
                    </a:cubicBezTo>
                    <a:cubicBezTo>
                      <a:pt x="46" y="216"/>
                      <a:pt x="46" y="216"/>
                      <a:pt x="46" y="216"/>
                    </a:cubicBezTo>
                    <a:cubicBezTo>
                      <a:pt x="46" y="217"/>
                      <a:pt x="47" y="217"/>
                      <a:pt x="47" y="217"/>
                    </a:cubicBezTo>
                    <a:cubicBezTo>
                      <a:pt x="48" y="217"/>
                      <a:pt x="48" y="217"/>
                      <a:pt x="48" y="217"/>
                    </a:cubicBezTo>
                    <a:cubicBezTo>
                      <a:pt x="49" y="217"/>
                      <a:pt x="49" y="216"/>
                      <a:pt x="50" y="216"/>
                    </a:cubicBezTo>
                    <a:cubicBezTo>
                      <a:pt x="51" y="216"/>
                      <a:pt x="52" y="217"/>
                      <a:pt x="53" y="217"/>
                    </a:cubicBezTo>
                    <a:cubicBezTo>
                      <a:pt x="54" y="217"/>
                      <a:pt x="54" y="217"/>
                      <a:pt x="55" y="218"/>
                    </a:cubicBezTo>
                    <a:cubicBezTo>
                      <a:pt x="58" y="218"/>
                      <a:pt x="58" y="218"/>
                      <a:pt x="58" y="218"/>
                    </a:cubicBezTo>
                    <a:cubicBezTo>
                      <a:pt x="59" y="219"/>
                      <a:pt x="60" y="219"/>
                      <a:pt x="61" y="219"/>
                    </a:cubicBezTo>
                    <a:cubicBezTo>
                      <a:pt x="67" y="221"/>
                      <a:pt x="67" y="221"/>
                      <a:pt x="67" y="221"/>
                    </a:cubicBezTo>
                    <a:cubicBezTo>
                      <a:pt x="64" y="225"/>
                      <a:pt x="64" y="225"/>
                      <a:pt x="64" y="225"/>
                    </a:cubicBezTo>
                    <a:cubicBezTo>
                      <a:pt x="58" y="232"/>
                      <a:pt x="54" y="238"/>
                      <a:pt x="51" y="246"/>
                    </a:cubicBezTo>
                    <a:cubicBezTo>
                      <a:pt x="51" y="247"/>
                      <a:pt x="50" y="247"/>
                      <a:pt x="50" y="248"/>
                    </a:cubicBezTo>
                    <a:cubicBezTo>
                      <a:pt x="48" y="251"/>
                      <a:pt x="47" y="253"/>
                      <a:pt x="46" y="255"/>
                    </a:cubicBezTo>
                    <a:cubicBezTo>
                      <a:pt x="46" y="256"/>
                      <a:pt x="46" y="256"/>
                      <a:pt x="46" y="256"/>
                    </a:cubicBezTo>
                    <a:cubicBezTo>
                      <a:pt x="46" y="256"/>
                      <a:pt x="45" y="257"/>
                      <a:pt x="45" y="257"/>
                    </a:cubicBezTo>
                    <a:cubicBezTo>
                      <a:pt x="45" y="259"/>
                      <a:pt x="45" y="259"/>
                      <a:pt x="45" y="259"/>
                    </a:cubicBezTo>
                    <a:cubicBezTo>
                      <a:pt x="45" y="260"/>
                      <a:pt x="45" y="260"/>
                      <a:pt x="45" y="261"/>
                    </a:cubicBezTo>
                    <a:cubicBezTo>
                      <a:pt x="45" y="261"/>
                      <a:pt x="45" y="261"/>
                      <a:pt x="45" y="261"/>
                    </a:cubicBezTo>
                    <a:cubicBezTo>
                      <a:pt x="45" y="263"/>
                      <a:pt x="45" y="264"/>
                      <a:pt x="45" y="265"/>
                    </a:cubicBezTo>
                    <a:cubicBezTo>
                      <a:pt x="45" y="265"/>
                      <a:pt x="45" y="267"/>
                      <a:pt x="45" y="268"/>
                    </a:cubicBezTo>
                    <a:cubicBezTo>
                      <a:pt x="45" y="268"/>
                      <a:pt x="45" y="269"/>
                      <a:pt x="46" y="270"/>
                    </a:cubicBezTo>
                    <a:cubicBezTo>
                      <a:pt x="46" y="271"/>
                      <a:pt x="46" y="271"/>
                      <a:pt x="46" y="271"/>
                    </a:cubicBezTo>
                    <a:cubicBezTo>
                      <a:pt x="47" y="271"/>
                      <a:pt x="47" y="271"/>
                      <a:pt x="47" y="271"/>
                    </a:cubicBezTo>
                    <a:cubicBezTo>
                      <a:pt x="47" y="270"/>
                      <a:pt x="48" y="270"/>
                      <a:pt x="48" y="270"/>
                    </a:cubicBezTo>
                    <a:cubicBezTo>
                      <a:pt x="49" y="270"/>
                      <a:pt x="49" y="270"/>
                      <a:pt x="49" y="270"/>
                    </a:cubicBezTo>
                    <a:cubicBezTo>
                      <a:pt x="49" y="270"/>
                      <a:pt x="50" y="270"/>
                      <a:pt x="50" y="270"/>
                    </a:cubicBezTo>
                    <a:cubicBezTo>
                      <a:pt x="51" y="270"/>
                      <a:pt x="51" y="270"/>
                      <a:pt x="51" y="270"/>
                    </a:cubicBezTo>
                    <a:cubicBezTo>
                      <a:pt x="51" y="270"/>
                      <a:pt x="51" y="270"/>
                      <a:pt x="51" y="270"/>
                    </a:cubicBezTo>
                    <a:cubicBezTo>
                      <a:pt x="52" y="270"/>
                      <a:pt x="52" y="270"/>
                      <a:pt x="53" y="270"/>
                    </a:cubicBezTo>
                    <a:cubicBezTo>
                      <a:pt x="53" y="270"/>
                      <a:pt x="54" y="270"/>
                      <a:pt x="54" y="270"/>
                    </a:cubicBezTo>
                    <a:cubicBezTo>
                      <a:pt x="55" y="270"/>
                      <a:pt x="55" y="270"/>
                      <a:pt x="55" y="270"/>
                    </a:cubicBezTo>
                    <a:cubicBezTo>
                      <a:pt x="57" y="270"/>
                      <a:pt x="59" y="270"/>
                      <a:pt x="61" y="270"/>
                    </a:cubicBezTo>
                    <a:cubicBezTo>
                      <a:pt x="61" y="270"/>
                      <a:pt x="62" y="270"/>
                      <a:pt x="63" y="270"/>
                    </a:cubicBezTo>
                    <a:cubicBezTo>
                      <a:pt x="63" y="270"/>
                      <a:pt x="63" y="270"/>
                      <a:pt x="63" y="270"/>
                    </a:cubicBezTo>
                    <a:cubicBezTo>
                      <a:pt x="63" y="270"/>
                      <a:pt x="63" y="270"/>
                      <a:pt x="64" y="270"/>
                    </a:cubicBezTo>
                    <a:cubicBezTo>
                      <a:pt x="64" y="270"/>
                      <a:pt x="64" y="270"/>
                      <a:pt x="65" y="270"/>
                    </a:cubicBezTo>
                    <a:cubicBezTo>
                      <a:pt x="65" y="270"/>
                      <a:pt x="65" y="270"/>
                      <a:pt x="65" y="270"/>
                    </a:cubicBezTo>
                    <a:cubicBezTo>
                      <a:pt x="64" y="268"/>
                      <a:pt x="64" y="267"/>
                      <a:pt x="65" y="266"/>
                    </a:cubicBezTo>
                    <a:cubicBezTo>
                      <a:pt x="66" y="264"/>
                      <a:pt x="68" y="263"/>
                      <a:pt x="70" y="262"/>
                    </a:cubicBezTo>
                    <a:cubicBezTo>
                      <a:pt x="74" y="261"/>
                      <a:pt x="74" y="261"/>
                      <a:pt x="74" y="261"/>
                    </a:cubicBezTo>
                    <a:cubicBezTo>
                      <a:pt x="75" y="264"/>
                      <a:pt x="75" y="264"/>
                      <a:pt x="75" y="264"/>
                    </a:cubicBezTo>
                    <a:cubicBezTo>
                      <a:pt x="75" y="264"/>
                      <a:pt x="75" y="264"/>
                      <a:pt x="75" y="264"/>
                    </a:cubicBezTo>
                    <a:cubicBezTo>
                      <a:pt x="76" y="265"/>
                      <a:pt x="76" y="265"/>
                      <a:pt x="76" y="265"/>
                    </a:cubicBezTo>
                    <a:cubicBezTo>
                      <a:pt x="77" y="266"/>
                      <a:pt x="77" y="266"/>
                      <a:pt x="77" y="266"/>
                    </a:cubicBezTo>
                    <a:cubicBezTo>
                      <a:pt x="78" y="266"/>
                      <a:pt x="79" y="267"/>
                      <a:pt x="80" y="267"/>
                    </a:cubicBezTo>
                    <a:cubicBezTo>
                      <a:pt x="81" y="267"/>
                      <a:pt x="82" y="267"/>
                      <a:pt x="82" y="267"/>
                    </a:cubicBezTo>
                    <a:cubicBezTo>
                      <a:pt x="83" y="267"/>
                      <a:pt x="83" y="267"/>
                      <a:pt x="83" y="267"/>
                    </a:cubicBezTo>
                    <a:cubicBezTo>
                      <a:pt x="84" y="267"/>
                      <a:pt x="84" y="267"/>
                      <a:pt x="85" y="267"/>
                    </a:cubicBezTo>
                    <a:cubicBezTo>
                      <a:pt x="85" y="267"/>
                      <a:pt x="86" y="267"/>
                      <a:pt x="87" y="267"/>
                    </a:cubicBezTo>
                    <a:cubicBezTo>
                      <a:pt x="88" y="267"/>
                      <a:pt x="89" y="267"/>
                      <a:pt x="90" y="267"/>
                    </a:cubicBezTo>
                    <a:cubicBezTo>
                      <a:pt x="93" y="268"/>
                      <a:pt x="97" y="269"/>
                      <a:pt x="100" y="271"/>
                    </a:cubicBezTo>
                    <a:cubicBezTo>
                      <a:pt x="100" y="271"/>
                      <a:pt x="101" y="271"/>
                      <a:pt x="101" y="271"/>
                    </a:cubicBezTo>
                    <a:cubicBezTo>
                      <a:pt x="102" y="271"/>
                      <a:pt x="102" y="271"/>
                      <a:pt x="102" y="271"/>
                    </a:cubicBezTo>
                    <a:cubicBezTo>
                      <a:pt x="102" y="271"/>
                      <a:pt x="102" y="271"/>
                      <a:pt x="102" y="271"/>
                    </a:cubicBezTo>
                    <a:cubicBezTo>
                      <a:pt x="106" y="271"/>
                      <a:pt x="106" y="271"/>
                      <a:pt x="106" y="271"/>
                    </a:cubicBezTo>
                    <a:cubicBezTo>
                      <a:pt x="107" y="271"/>
                      <a:pt x="108" y="271"/>
                      <a:pt x="108" y="271"/>
                    </a:cubicBezTo>
                    <a:cubicBezTo>
                      <a:pt x="109" y="271"/>
                      <a:pt x="109" y="271"/>
                      <a:pt x="109" y="271"/>
                    </a:cubicBezTo>
                    <a:cubicBezTo>
                      <a:pt x="109" y="271"/>
                      <a:pt x="110" y="271"/>
                      <a:pt x="110" y="271"/>
                    </a:cubicBezTo>
                    <a:cubicBezTo>
                      <a:pt x="111" y="271"/>
                      <a:pt x="111" y="272"/>
                      <a:pt x="111" y="272"/>
                    </a:cubicBezTo>
                    <a:cubicBezTo>
                      <a:pt x="112" y="272"/>
                      <a:pt x="112" y="272"/>
                      <a:pt x="113" y="273"/>
                    </a:cubicBezTo>
                    <a:cubicBezTo>
                      <a:pt x="114" y="273"/>
                      <a:pt x="115" y="274"/>
                      <a:pt x="115" y="274"/>
                    </a:cubicBezTo>
                    <a:cubicBezTo>
                      <a:pt x="115" y="274"/>
                      <a:pt x="115" y="274"/>
                      <a:pt x="115" y="274"/>
                    </a:cubicBezTo>
                    <a:cubicBezTo>
                      <a:pt x="117" y="275"/>
                      <a:pt x="118" y="276"/>
                      <a:pt x="119" y="277"/>
                    </a:cubicBezTo>
                    <a:cubicBezTo>
                      <a:pt x="120" y="278"/>
                      <a:pt x="120" y="278"/>
                      <a:pt x="120" y="278"/>
                    </a:cubicBezTo>
                    <a:cubicBezTo>
                      <a:pt x="121" y="277"/>
                      <a:pt x="121" y="276"/>
                      <a:pt x="121" y="273"/>
                    </a:cubicBezTo>
                    <a:cubicBezTo>
                      <a:pt x="121" y="269"/>
                      <a:pt x="121" y="269"/>
                      <a:pt x="121" y="269"/>
                    </a:cubicBezTo>
                    <a:cubicBezTo>
                      <a:pt x="137" y="271"/>
                      <a:pt x="137" y="271"/>
                      <a:pt x="137" y="271"/>
                    </a:cubicBezTo>
                    <a:cubicBezTo>
                      <a:pt x="140" y="272"/>
                      <a:pt x="141" y="275"/>
                      <a:pt x="141" y="276"/>
                    </a:cubicBezTo>
                    <a:cubicBezTo>
                      <a:pt x="141" y="276"/>
                      <a:pt x="141" y="276"/>
                      <a:pt x="141" y="276"/>
                    </a:cubicBezTo>
                    <a:cubicBezTo>
                      <a:pt x="142" y="276"/>
                      <a:pt x="142" y="276"/>
                      <a:pt x="143" y="276"/>
                    </a:cubicBezTo>
                    <a:cubicBezTo>
                      <a:pt x="146" y="276"/>
                      <a:pt x="148" y="275"/>
                      <a:pt x="149" y="275"/>
                    </a:cubicBezTo>
                    <a:cubicBezTo>
                      <a:pt x="149" y="274"/>
                      <a:pt x="149" y="274"/>
                      <a:pt x="149" y="274"/>
                    </a:cubicBezTo>
                    <a:cubicBezTo>
                      <a:pt x="151" y="270"/>
                      <a:pt x="158" y="269"/>
                      <a:pt x="160" y="269"/>
                    </a:cubicBezTo>
                    <a:cubicBezTo>
                      <a:pt x="161" y="269"/>
                      <a:pt x="161" y="269"/>
                      <a:pt x="161" y="269"/>
                    </a:cubicBezTo>
                    <a:cubicBezTo>
                      <a:pt x="162" y="269"/>
                      <a:pt x="164" y="269"/>
                      <a:pt x="165" y="269"/>
                    </a:cubicBezTo>
                    <a:cubicBezTo>
                      <a:pt x="166" y="269"/>
                      <a:pt x="166" y="269"/>
                      <a:pt x="166" y="269"/>
                    </a:cubicBezTo>
                    <a:cubicBezTo>
                      <a:pt x="167" y="269"/>
                      <a:pt x="169" y="269"/>
                      <a:pt x="169" y="269"/>
                    </a:cubicBezTo>
                    <a:cubicBezTo>
                      <a:pt x="170" y="268"/>
                      <a:pt x="171" y="268"/>
                      <a:pt x="171" y="268"/>
                    </a:cubicBezTo>
                    <a:cubicBezTo>
                      <a:pt x="172" y="268"/>
                      <a:pt x="172" y="268"/>
                      <a:pt x="172" y="268"/>
                    </a:cubicBezTo>
                    <a:cubicBezTo>
                      <a:pt x="173" y="267"/>
                      <a:pt x="176" y="266"/>
                      <a:pt x="178" y="266"/>
                    </a:cubicBezTo>
                    <a:cubicBezTo>
                      <a:pt x="179" y="266"/>
                      <a:pt x="179" y="266"/>
                      <a:pt x="180" y="266"/>
                    </a:cubicBezTo>
                    <a:cubicBezTo>
                      <a:pt x="181" y="266"/>
                      <a:pt x="181" y="266"/>
                      <a:pt x="181" y="266"/>
                    </a:cubicBezTo>
                    <a:cubicBezTo>
                      <a:pt x="182" y="267"/>
                      <a:pt x="182" y="267"/>
                      <a:pt x="182" y="267"/>
                    </a:cubicBezTo>
                    <a:cubicBezTo>
                      <a:pt x="182" y="267"/>
                      <a:pt x="183" y="267"/>
                      <a:pt x="183" y="267"/>
                    </a:cubicBezTo>
                    <a:cubicBezTo>
                      <a:pt x="184" y="267"/>
                      <a:pt x="184" y="267"/>
                      <a:pt x="184" y="267"/>
                    </a:cubicBezTo>
                    <a:cubicBezTo>
                      <a:pt x="184" y="267"/>
                      <a:pt x="184" y="267"/>
                      <a:pt x="184" y="267"/>
                    </a:cubicBezTo>
                    <a:cubicBezTo>
                      <a:pt x="185" y="267"/>
                      <a:pt x="185" y="267"/>
                      <a:pt x="186" y="267"/>
                    </a:cubicBezTo>
                    <a:cubicBezTo>
                      <a:pt x="186" y="266"/>
                      <a:pt x="187" y="266"/>
                      <a:pt x="188" y="266"/>
                    </a:cubicBezTo>
                    <a:cubicBezTo>
                      <a:pt x="188" y="266"/>
                      <a:pt x="188" y="266"/>
                      <a:pt x="188" y="266"/>
                    </a:cubicBezTo>
                    <a:cubicBezTo>
                      <a:pt x="189" y="266"/>
                      <a:pt x="189" y="266"/>
                      <a:pt x="189" y="266"/>
                    </a:cubicBezTo>
                    <a:cubicBezTo>
                      <a:pt x="191" y="267"/>
                      <a:pt x="191" y="267"/>
                      <a:pt x="191" y="267"/>
                    </a:cubicBezTo>
                    <a:cubicBezTo>
                      <a:pt x="191" y="266"/>
                      <a:pt x="191" y="266"/>
                      <a:pt x="191" y="266"/>
                    </a:cubicBezTo>
                    <a:cubicBezTo>
                      <a:pt x="191" y="266"/>
                      <a:pt x="192" y="265"/>
                      <a:pt x="192" y="264"/>
                    </a:cubicBezTo>
                    <a:cubicBezTo>
                      <a:pt x="193" y="264"/>
                      <a:pt x="193" y="264"/>
                      <a:pt x="193" y="264"/>
                    </a:cubicBezTo>
                    <a:cubicBezTo>
                      <a:pt x="192" y="263"/>
                      <a:pt x="192" y="263"/>
                      <a:pt x="192" y="263"/>
                    </a:cubicBezTo>
                    <a:cubicBezTo>
                      <a:pt x="192" y="263"/>
                      <a:pt x="192" y="263"/>
                      <a:pt x="192" y="263"/>
                    </a:cubicBezTo>
                    <a:cubicBezTo>
                      <a:pt x="188" y="259"/>
                      <a:pt x="186" y="256"/>
                      <a:pt x="186" y="253"/>
                    </a:cubicBezTo>
                    <a:cubicBezTo>
                      <a:pt x="187" y="250"/>
                      <a:pt x="190" y="248"/>
                      <a:pt x="197" y="245"/>
                    </a:cubicBezTo>
                    <a:cubicBezTo>
                      <a:pt x="198" y="245"/>
                      <a:pt x="198" y="245"/>
                      <a:pt x="198" y="245"/>
                    </a:cubicBezTo>
                    <a:cubicBezTo>
                      <a:pt x="199" y="245"/>
                      <a:pt x="200" y="244"/>
                      <a:pt x="201" y="244"/>
                    </a:cubicBezTo>
                    <a:cubicBezTo>
                      <a:pt x="202" y="244"/>
                      <a:pt x="202" y="244"/>
                      <a:pt x="202" y="244"/>
                    </a:cubicBezTo>
                    <a:cubicBezTo>
                      <a:pt x="203" y="243"/>
                      <a:pt x="205" y="243"/>
                      <a:pt x="205" y="242"/>
                    </a:cubicBezTo>
                    <a:cubicBezTo>
                      <a:pt x="205" y="242"/>
                      <a:pt x="205" y="241"/>
                      <a:pt x="205" y="241"/>
                    </a:cubicBezTo>
                    <a:cubicBezTo>
                      <a:pt x="205" y="240"/>
                      <a:pt x="205" y="240"/>
                      <a:pt x="206" y="239"/>
                    </a:cubicBezTo>
                    <a:cubicBezTo>
                      <a:pt x="206" y="235"/>
                      <a:pt x="209" y="234"/>
                      <a:pt x="210" y="234"/>
                    </a:cubicBezTo>
                    <a:cubicBezTo>
                      <a:pt x="211" y="233"/>
                      <a:pt x="211" y="233"/>
                      <a:pt x="211" y="233"/>
                    </a:cubicBezTo>
                    <a:cubicBezTo>
                      <a:pt x="211" y="233"/>
                      <a:pt x="211" y="233"/>
                      <a:pt x="211" y="233"/>
                    </a:cubicBezTo>
                    <a:cubicBezTo>
                      <a:pt x="212" y="233"/>
                      <a:pt x="212" y="234"/>
                      <a:pt x="212" y="234"/>
                    </a:cubicBezTo>
                    <a:cubicBezTo>
                      <a:pt x="213" y="234"/>
                      <a:pt x="213" y="234"/>
                      <a:pt x="213" y="234"/>
                    </a:cubicBezTo>
                    <a:cubicBezTo>
                      <a:pt x="213" y="234"/>
                      <a:pt x="213" y="234"/>
                      <a:pt x="214" y="234"/>
                    </a:cubicBezTo>
                    <a:cubicBezTo>
                      <a:pt x="214" y="234"/>
                      <a:pt x="214" y="234"/>
                      <a:pt x="215" y="234"/>
                    </a:cubicBezTo>
                    <a:cubicBezTo>
                      <a:pt x="215" y="234"/>
                      <a:pt x="215" y="233"/>
                      <a:pt x="215" y="233"/>
                    </a:cubicBezTo>
                    <a:cubicBezTo>
                      <a:pt x="215" y="232"/>
                      <a:pt x="215" y="232"/>
                      <a:pt x="215" y="232"/>
                    </a:cubicBezTo>
                    <a:cubicBezTo>
                      <a:pt x="215" y="232"/>
                      <a:pt x="215" y="232"/>
                      <a:pt x="215" y="232"/>
                    </a:cubicBezTo>
                    <a:cubicBezTo>
                      <a:pt x="216" y="232"/>
                      <a:pt x="216" y="232"/>
                      <a:pt x="216" y="232"/>
                    </a:cubicBezTo>
                    <a:cubicBezTo>
                      <a:pt x="216" y="231"/>
                      <a:pt x="216" y="231"/>
                      <a:pt x="216" y="231"/>
                    </a:cubicBezTo>
                    <a:cubicBezTo>
                      <a:pt x="215" y="230"/>
                      <a:pt x="214" y="229"/>
                      <a:pt x="213" y="228"/>
                    </a:cubicBezTo>
                    <a:cubicBezTo>
                      <a:pt x="211" y="226"/>
                      <a:pt x="211" y="226"/>
                      <a:pt x="211" y="226"/>
                    </a:cubicBezTo>
                    <a:cubicBezTo>
                      <a:pt x="209" y="226"/>
                      <a:pt x="208" y="226"/>
                      <a:pt x="207" y="225"/>
                    </a:cubicBezTo>
                    <a:cubicBezTo>
                      <a:pt x="205" y="224"/>
                      <a:pt x="203" y="222"/>
                      <a:pt x="202" y="221"/>
                    </a:cubicBezTo>
                    <a:cubicBezTo>
                      <a:pt x="201" y="220"/>
                      <a:pt x="201" y="220"/>
                      <a:pt x="201" y="220"/>
                    </a:cubicBezTo>
                    <a:cubicBezTo>
                      <a:pt x="199" y="218"/>
                      <a:pt x="196" y="216"/>
                      <a:pt x="193" y="214"/>
                    </a:cubicBezTo>
                    <a:cubicBezTo>
                      <a:pt x="193" y="213"/>
                      <a:pt x="193" y="213"/>
                      <a:pt x="193" y="213"/>
                    </a:cubicBezTo>
                    <a:cubicBezTo>
                      <a:pt x="192" y="213"/>
                      <a:pt x="190" y="212"/>
                      <a:pt x="189" y="210"/>
                    </a:cubicBezTo>
                    <a:cubicBezTo>
                      <a:pt x="188" y="210"/>
                      <a:pt x="188" y="210"/>
                      <a:pt x="188" y="210"/>
                    </a:cubicBezTo>
                    <a:cubicBezTo>
                      <a:pt x="188" y="210"/>
                      <a:pt x="187" y="209"/>
                      <a:pt x="187" y="209"/>
                    </a:cubicBezTo>
                    <a:cubicBezTo>
                      <a:pt x="186" y="208"/>
                      <a:pt x="186" y="208"/>
                      <a:pt x="186" y="208"/>
                    </a:cubicBezTo>
                    <a:cubicBezTo>
                      <a:pt x="184" y="207"/>
                      <a:pt x="183" y="206"/>
                      <a:pt x="182" y="205"/>
                    </a:cubicBezTo>
                    <a:cubicBezTo>
                      <a:pt x="179" y="201"/>
                      <a:pt x="177" y="198"/>
                      <a:pt x="177" y="196"/>
                    </a:cubicBezTo>
                    <a:cubicBezTo>
                      <a:pt x="175" y="193"/>
                      <a:pt x="177" y="191"/>
                      <a:pt x="178" y="189"/>
                    </a:cubicBezTo>
                    <a:cubicBezTo>
                      <a:pt x="178" y="189"/>
                      <a:pt x="179" y="189"/>
                      <a:pt x="179" y="188"/>
                    </a:cubicBezTo>
                    <a:cubicBezTo>
                      <a:pt x="179" y="188"/>
                      <a:pt x="179" y="188"/>
                      <a:pt x="179" y="188"/>
                    </a:cubicBezTo>
                    <a:cubicBezTo>
                      <a:pt x="178" y="188"/>
                      <a:pt x="178" y="188"/>
                      <a:pt x="178" y="187"/>
                    </a:cubicBezTo>
                    <a:cubicBezTo>
                      <a:pt x="173" y="185"/>
                      <a:pt x="171" y="181"/>
                      <a:pt x="169" y="177"/>
                    </a:cubicBezTo>
                    <a:cubicBezTo>
                      <a:pt x="169" y="176"/>
                      <a:pt x="169" y="176"/>
                      <a:pt x="169" y="176"/>
                    </a:cubicBezTo>
                    <a:cubicBezTo>
                      <a:pt x="168" y="176"/>
                      <a:pt x="168" y="175"/>
                      <a:pt x="168" y="174"/>
                    </a:cubicBezTo>
                    <a:cubicBezTo>
                      <a:pt x="160" y="158"/>
                      <a:pt x="160" y="158"/>
                      <a:pt x="160" y="158"/>
                    </a:cubicBezTo>
                    <a:cubicBezTo>
                      <a:pt x="173" y="170"/>
                      <a:pt x="173" y="170"/>
                      <a:pt x="173" y="170"/>
                    </a:cubicBezTo>
                    <a:cubicBezTo>
                      <a:pt x="174" y="170"/>
                      <a:pt x="174" y="171"/>
                      <a:pt x="175" y="172"/>
                    </a:cubicBezTo>
                    <a:cubicBezTo>
                      <a:pt x="175" y="172"/>
                      <a:pt x="175" y="172"/>
                      <a:pt x="175" y="172"/>
                    </a:cubicBezTo>
                    <a:cubicBezTo>
                      <a:pt x="175" y="172"/>
                      <a:pt x="176" y="173"/>
                      <a:pt x="176" y="173"/>
                    </a:cubicBezTo>
                    <a:cubicBezTo>
                      <a:pt x="176" y="173"/>
                      <a:pt x="176" y="173"/>
                      <a:pt x="176" y="173"/>
                    </a:cubicBezTo>
                    <a:cubicBezTo>
                      <a:pt x="179" y="169"/>
                      <a:pt x="182" y="167"/>
                      <a:pt x="185" y="166"/>
                    </a:cubicBezTo>
                    <a:cubicBezTo>
                      <a:pt x="185" y="166"/>
                      <a:pt x="185" y="166"/>
                      <a:pt x="185" y="166"/>
                    </a:cubicBezTo>
                    <a:cubicBezTo>
                      <a:pt x="186" y="166"/>
                      <a:pt x="186" y="166"/>
                      <a:pt x="186" y="166"/>
                    </a:cubicBezTo>
                    <a:cubicBezTo>
                      <a:pt x="186" y="166"/>
                      <a:pt x="187" y="166"/>
                      <a:pt x="188" y="166"/>
                    </a:cubicBezTo>
                    <a:cubicBezTo>
                      <a:pt x="189" y="166"/>
                      <a:pt x="190" y="166"/>
                      <a:pt x="191" y="166"/>
                    </a:cubicBezTo>
                    <a:cubicBezTo>
                      <a:pt x="191" y="166"/>
                      <a:pt x="192" y="166"/>
                      <a:pt x="192" y="166"/>
                    </a:cubicBezTo>
                    <a:cubicBezTo>
                      <a:pt x="193" y="166"/>
                      <a:pt x="193" y="166"/>
                      <a:pt x="193" y="166"/>
                    </a:cubicBezTo>
                    <a:cubicBezTo>
                      <a:pt x="194" y="166"/>
                      <a:pt x="194" y="166"/>
                      <a:pt x="194" y="166"/>
                    </a:cubicBezTo>
                    <a:cubicBezTo>
                      <a:pt x="198" y="164"/>
                      <a:pt x="202" y="162"/>
                      <a:pt x="205" y="159"/>
                    </a:cubicBezTo>
                    <a:cubicBezTo>
                      <a:pt x="208" y="157"/>
                      <a:pt x="211" y="157"/>
                      <a:pt x="213" y="156"/>
                    </a:cubicBezTo>
                    <a:cubicBezTo>
                      <a:pt x="214" y="155"/>
                      <a:pt x="215" y="155"/>
                      <a:pt x="216" y="155"/>
                    </a:cubicBezTo>
                    <a:cubicBezTo>
                      <a:pt x="218" y="154"/>
                      <a:pt x="219" y="153"/>
                      <a:pt x="221" y="152"/>
                    </a:cubicBezTo>
                    <a:cubicBezTo>
                      <a:pt x="220" y="149"/>
                      <a:pt x="220" y="149"/>
                      <a:pt x="220" y="149"/>
                    </a:cubicBezTo>
                    <a:cubicBezTo>
                      <a:pt x="223" y="152"/>
                      <a:pt x="223" y="152"/>
                      <a:pt x="223" y="152"/>
                    </a:cubicBezTo>
                    <a:cubicBezTo>
                      <a:pt x="231" y="149"/>
                      <a:pt x="231" y="149"/>
                      <a:pt x="231" y="149"/>
                    </a:cubicBezTo>
                    <a:cubicBezTo>
                      <a:pt x="231" y="149"/>
                      <a:pt x="231" y="148"/>
                      <a:pt x="231" y="148"/>
                    </a:cubicBezTo>
                    <a:cubicBezTo>
                      <a:pt x="229" y="139"/>
                      <a:pt x="229" y="139"/>
                      <a:pt x="229" y="139"/>
                    </a:cubicBezTo>
                    <a:cubicBezTo>
                      <a:pt x="235" y="143"/>
                      <a:pt x="235" y="143"/>
                      <a:pt x="235" y="143"/>
                    </a:cubicBezTo>
                    <a:cubicBezTo>
                      <a:pt x="236" y="143"/>
                      <a:pt x="237" y="143"/>
                      <a:pt x="238" y="143"/>
                    </a:cubicBezTo>
                    <a:cubicBezTo>
                      <a:pt x="240" y="143"/>
                      <a:pt x="242" y="144"/>
                      <a:pt x="244" y="145"/>
                    </a:cubicBezTo>
                    <a:cubicBezTo>
                      <a:pt x="244" y="146"/>
                      <a:pt x="245" y="146"/>
                      <a:pt x="245" y="146"/>
                    </a:cubicBezTo>
                    <a:cubicBezTo>
                      <a:pt x="246" y="147"/>
                      <a:pt x="247" y="147"/>
                      <a:pt x="247" y="148"/>
                    </a:cubicBezTo>
                    <a:cubicBezTo>
                      <a:pt x="248" y="146"/>
                      <a:pt x="248" y="146"/>
                      <a:pt x="248" y="146"/>
                    </a:cubicBezTo>
                    <a:cubicBezTo>
                      <a:pt x="250" y="142"/>
                      <a:pt x="251" y="138"/>
                      <a:pt x="250" y="136"/>
                    </a:cubicBezTo>
                    <a:cubicBezTo>
                      <a:pt x="250" y="135"/>
                      <a:pt x="248" y="134"/>
                      <a:pt x="246" y="132"/>
                    </a:cubicBezTo>
                    <a:cubicBezTo>
                      <a:pt x="245" y="131"/>
                      <a:pt x="245" y="131"/>
                      <a:pt x="245" y="131"/>
                    </a:cubicBezTo>
                    <a:cubicBezTo>
                      <a:pt x="245" y="131"/>
                      <a:pt x="243" y="129"/>
                      <a:pt x="243" y="127"/>
                    </a:cubicBezTo>
                    <a:cubicBezTo>
                      <a:pt x="243" y="127"/>
                      <a:pt x="243" y="126"/>
                      <a:pt x="243" y="126"/>
                    </a:cubicBezTo>
                    <a:cubicBezTo>
                      <a:pt x="242" y="125"/>
                      <a:pt x="242" y="125"/>
                      <a:pt x="242" y="124"/>
                    </a:cubicBezTo>
                    <a:cubicBezTo>
                      <a:pt x="242" y="124"/>
                      <a:pt x="242" y="124"/>
                      <a:pt x="242" y="124"/>
                    </a:cubicBezTo>
                    <a:cubicBezTo>
                      <a:pt x="240" y="121"/>
                      <a:pt x="238" y="118"/>
                      <a:pt x="240" y="114"/>
                    </a:cubicBezTo>
                    <a:cubicBezTo>
                      <a:pt x="242" y="109"/>
                      <a:pt x="242" y="108"/>
                      <a:pt x="242" y="104"/>
                    </a:cubicBezTo>
                    <a:cubicBezTo>
                      <a:pt x="241" y="103"/>
                      <a:pt x="241" y="103"/>
                      <a:pt x="241" y="103"/>
                    </a:cubicBezTo>
                    <a:cubicBezTo>
                      <a:pt x="241" y="103"/>
                      <a:pt x="241" y="102"/>
                      <a:pt x="240" y="102"/>
                    </a:cubicBezTo>
                    <a:cubicBezTo>
                      <a:pt x="240" y="101"/>
                      <a:pt x="240" y="101"/>
                      <a:pt x="240" y="101"/>
                    </a:cubicBezTo>
                    <a:cubicBezTo>
                      <a:pt x="238" y="99"/>
                      <a:pt x="237" y="97"/>
                      <a:pt x="237" y="95"/>
                    </a:cubicBezTo>
                    <a:cubicBezTo>
                      <a:pt x="237" y="93"/>
                      <a:pt x="238" y="91"/>
                      <a:pt x="239" y="89"/>
                    </a:cubicBezTo>
                    <a:cubicBezTo>
                      <a:pt x="239" y="89"/>
                      <a:pt x="239" y="89"/>
                      <a:pt x="239" y="89"/>
                    </a:cubicBezTo>
                    <a:cubicBezTo>
                      <a:pt x="238" y="88"/>
                      <a:pt x="238" y="88"/>
                      <a:pt x="238" y="88"/>
                    </a:cubicBezTo>
                    <a:cubicBezTo>
                      <a:pt x="236" y="87"/>
                      <a:pt x="234" y="85"/>
                      <a:pt x="232" y="83"/>
                    </a:cubicBezTo>
                    <a:cubicBezTo>
                      <a:pt x="231" y="81"/>
                      <a:pt x="231" y="81"/>
                      <a:pt x="231" y="81"/>
                    </a:cubicBezTo>
                    <a:cubicBezTo>
                      <a:pt x="230" y="81"/>
                      <a:pt x="230" y="80"/>
                      <a:pt x="229" y="80"/>
                    </a:cubicBezTo>
                    <a:cubicBezTo>
                      <a:pt x="228" y="78"/>
                      <a:pt x="226" y="76"/>
                      <a:pt x="226" y="73"/>
                    </a:cubicBezTo>
                    <a:cubicBezTo>
                      <a:pt x="227" y="71"/>
                      <a:pt x="228" y="69"/>
                      <a:pt x="230" y="68"/>
                    </a:cubicBezTo>
                    <a:cubicBezTo>
                      <a:pt x="231" y="68"/>
                      <a:pt x="231" y="68"/>
                      <a:pt x="231" y="68"/>
                    </a:cubicBezTo>
                    <a:cubicBezTo>
                      <a:pt x="232" y="67"/>
                      <a:pt x="232" y="66"/>
                      <a:pt x="233" y="64"/>
                    </a:cubicBezTo>
                    <a:cubicBezTo>
                      <a:pt x="233" y="60"/>
                      <a:pt x="233" y="57"/>
                      <a:pt x="232" y="53"/>
                    </a:cubicBezTo>
                    <a:cubicBezTo>
                      <a:pt x="231" y="52"/>
                      <a:pt x="231" y="51"/>
                      <a:pt x="231" y="51"/>
                    </a:cubicBezTo>
                    <a:cubicBezTo>
                      <a:pt x="229" y="43"/>
                      <a:pt x="229" y="43"/>
                      <a:pt x="229" y="43"/>
                    </a:cubicBezTo>
                    <a:cubicBezTo>
                      <a:pt x="229" y="43"/>
                      <a:pt x="229" y="43"/>
                      <a:pt x="229" y="43"/>
                    </a:cubicBezTo>
                    <a:cubicBezTo>
                      <a:pt x="228" y="43"/>
                      <a:pt x="228" y="43"/>
                      <a:pt x="227" y="42"/>
                    </a:cubicBezTo>
                    <a:cubicBezTo>
                      <a:pt x="224" y="42"/>
                      <a:pt x="223" y="39"/>
                      <a:pt x="220" y="38"/>
                    </a:cubicBezTo>
                    <a:cubicBezTo>
                      <a:pt x="221" y="36"/>
                      <a:pt x="220" y="34"/>
                      <a:pt x="219" y="32"/>
                    </a:cubicBezTo>
                    <a:cubicBezTo>
                      <a:pt x="218" y="28"/>
                      <a:pt x="218" y="27"/>
                      <a:pt x="214" y="27"/>
                    </a:cubicBezTo>
                    <a:cubicBezTo>
                      <a:pt x="210" y="26"/>
                      <a:pt x="207" y="27"/>
                      <a:pt x="204" y="24"/>
                    </a:cubicBezTo>
                    <a:cubicBezTo>
                      <a:pt x="202" y="22"/>
                      <a:pt x="200" y="20"/>
                      <a:pt x="199" y="17"/>
                    </a:cubicBezTo>
                    <a:cubicBezTo>
                      <a:pt x="198" y="16"/>
                      <a:pt x="197" y="16"/>
                      <a:pt x="197" y="16"/>
                    </a:cubicBezTo>
                    <a:cubicBezTo>
                      <a:pt x="196" y="16"/>
                      <a:pt x="196" y="16"/>
                      <a:pt x="195" y="16"/>
                    </a:cubicBezTo>
                    <a:cubicBezTo>
                      <a:pt x="192" y="19"/>
                      <a:pt x="189" y="20"/>
                      <a:pt x="185" y="20"/>
                    </a:cubicBezTo>
                    <a:cubicBezTo>
                      <a:pt x="183" y="20"/>
                      <a:pt x="182" y="19"/>
                      <a:pt x="180" y="19"/>
                    </a:cubicBezTo>
                    <a:cubicBezTo>
                      <a:pt x="181" y="17"/>
                      <a:pt x="183" y="17"/>
                      <a:pt x="185" y="17"/>
                    </a:cubicBezTo>
                    <a:cubicBezTo>
                      <a:pt x="188" y="16"/>
                      <a:pt x="190" y="16"/>
                      <a:pt x="194" y="15"/>
                    </a:cubicBezTo>
                    <a:cubicBezTo>
                      <a:pt x="191" y="15"/>
                      <a:pt x="188" y="14"/>
                      <a:pt x="186" y="14"/>
                    </a:cubicBezTo>
                    <a:cubicBezTo>
                      <a:pt x="184" y="14"/>
                      <a:pt x="183" y="14"/>
                      <a:pt x="182" y="15"/>
                    </a:cubicBezTo>
                    <a:cubicBezTo>
                      <a:pt x="179" y="18"/>
                      <a:pt x="174" y="28"/>
                      <a:pt x="171" y="28"/>
                    </a:cubicBezTo>
                    <a:cubicBezTo>
                      <a:pt x="171" y="28"/>
                      <a:pt x="171" y="28"/>
                      <a:pt x="171" y="28"/>
                    </a:cubicBezTo>
                    <a:cubicBezTo>
                      <a:pt x="169" y="28"/>
                      <a:pt x="169" y="26"/>
                      <a:pt x="167" y="26"/>
                    </a:cubicBezTo>
                    <a:cubicBezTo>
                      <a:pt x="167" y="26"/>
                      <a:pt x="166" y="27"/>
                      <a:pt x="166" y="27"/>
                    </a:cubicBezTo>
                    <a:cubicBezTo>
                      <a:pt x="163" y="28"/>
                      <a:pt x="160" y="30"/>
                      <a:pt x="157" y="31"/>
                    </a:cubicBezTo>
                    <a:cubicBezTo>
                      <a:pt x="153" y="33"/>
                      <a:pt x="150" y="35"/>
                      <a:pt x="146" y="35"/>
                    </a:cubicBezTo>
                    <a:cubicBezTo>
                      <a:pt x="146" y="35"/>
                      <a:pt x="146" y="35"/>
                      <a:pt x="146" y="35"/>
                    </a:cubicBezTo>
                    <a:cubicBezTo>
                      <a:pt x="142" y="35"/>
                      <a:pt x="134" y="36"/>
                      <a:pt x="136" y="31"/>
                    </a:cubicBezTo>
                    <a:cubicBezTo>
                      <a:pt x="139" y="26"/>
                      <a:pt x="141" y="22"/>
                      <a:pt x="143" y="17"/>
                    </a:cubicBezTo>
                    <a:cubicBezTo>
                      <a:pt x="142" y="18"/>
                      <a:pt x="139" y="18"/>
                      <a:pt x="137" y="18"/>
                    </a:cubicBezTo>
                    <a:cubicBezTo>
                      <a:pt x="136" y="19"/>
                      <a:pt x="135" y="21"/>
                      <a:pt x="132" y="21"/>
                    </a:cubicBezTo>
                    <a:cubicBezTo>
                      <a:pt x="132" y="21"/>
                      <a:pt x="132" y="21"/>
                      <a:pt x="132" y="21"/>
                    </a:cubicBezTo>
                    <a:cubicBezTo>
                      <a:pt x="129" y="21"/>
                      <a:pt x="124" y="17"/>
                      <a:pt x="121" y="16"/>
                    </a:cubicBezTo>
                    <a:cubicBezTo>
                      <a:pt x="121" y="16"/>
                      <a:pt x="121" y="16"/>
                      <a:pt x="121" y="16"/>
                    </a:cubicBezTo>
                    <a:cubicBezTo>
                      <a:pt x="119" y="16"/>
                      <a:pt x="117" y="19"/>
                      <a:pt x="116" y="20"/>
                    </a:cubicBezTo>
                    <a:cubicBezTo>
                      <a:pt x="117" y="18"/>
                      <a:pt x="117" y="16"/>
                      <a:pt x="117" y="15"/>
                    </a:cubicBezTo>
                    <a:cubicBezTo>
                      <a:pt x="114" y="15"/>
                      <a:pt x="110" y="15"/>
                      <a:pt x="107" y="14"/>
                    </a:cubicBezTo>
                    <a:cubicBezTo>
                      <a:pt x="108" y="14"/>
                      <a:pt x="110" y="13"/>
                      <a:pt x="111" y="12"/>
                    </a:cubicBezTo>
                    <a:cubicBezTo>
                      <a:pt x="114" y="9"/>
                      <a:pt x="111" y="2"/>
                      <a:pt x="107" y="2"/>
                    </a:cubicBezTo>
                    <a:cubicBezTo>
                      <a:pt x="104" y="1"/>
                      <a:pt x="100" y="1"/>
                      <a:pt x="9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36" name="Freeform 364">
                <a:extLst>
                  <a:ext uri="{FF2B5EF4-FFF2-40B4-BE49-F238E27FC236}">
                    <a16:creationId xmlns:a16="http://schemas.microsoft.com/office/drawing/2014/main" id="{E3A4CC70-4E22-4A26-B5EA-6EC1A501A39C}"/>
                  </a:ext>
                </a:extLst>
              </p:cNvPr>
              <p:cNvSpPr>
                <a:spLocks/>
              </p:cNvSpPr>
              <p:nvPr/>
            </p:nvSpPr>
            <p:spPr bwMode="auto">
              <a:xfrm>
                <a:off x="5085460" y="3124979"/>
                <a:ext cx="257958" cy="276384"/>
              </a:xfrm>
              <a:custGeom>
                <a:avLst/>
                <a:gdLst>
                  <a:gd name="T0" fmla="*/ 45 w 81"/>
                  <a:gd name="T1" fmla="*/ 1 h 87"/>
                  <a:gd name="T2" fmla="*/ 42 w 81"/>
                  <a:gd name="T3" fmla="*/ 1 h 87"/>
                  <a:gd name="T4" fmla="*/ 37 w 81"/>
                  <a:gd name="T5" fmla="*/ 1 h 87"/>
                  <a:gd name="T6" fmla="*/ 31 w 81"/>
                  <a:gd name="T7" fmla="*/ 14 h 87"/>
                  <a:gd name="T8" fmla="*/ 27 w 81"/>
                  <a:gd name="T9" fmla="*/ 17 h 87"/>
                  <a:gd name="T10" fmla="*/ 24 w 81"/>
                  <a:gd name="T11" fmla="*/ 10 h 87"/>
                  <a:gd name="T12" fmla="*/ 18 w 81"/>
                  <a:gd name="T13" fmla="*/ 16 h 87"/>
                  <a:gd name="T14" fmla="*/ 4 w 81"/>
                  <a:gd name="T15" fmla="*/ 14 h 87"/>
                  <a:gd name="T16" fmla="*/ 1 w 81"/>
                  <a:gd name="T17" fmla="*/ 31 h 87"/>
                  <a:gd name="T18" fmla="*/ 4 w 81"/>
                  <a:gd name="T19" fmla="*/ 38 h 87"/>
                  <a:gd name="T20" fmla="*/ 8 w 81"/>
                  <a:gd name="T21" fmla="*/ 45 h 87"/>
                  <a:gd name="T22" fmla="*/ 6 w 81"/>
                  <a:gd name="T23" fmla="*/ 45 h 87"/>
                  <a:gd name="T24" fmla="*/ 1 w 81"/>
                  <a:gd name="T25" fmla="*/ 57 h 87"/>
                  <a:gd name="T26" fmla="*/ 5 w 81"/>
                  <a:gd name="T27" fmla="*/ 59 h 87"/>
                  <a:gd name="T28" fmla="*/ 14 w 81"/>
                  <a:gd name="T29" fmla="*/ 75 h 87"/>
                  <a:gd name="T30" fmla="*/ 13 w 81"/>
                  <a:gd name="T31" fmla="*/ 74 h 87"/>
                  <a:gd name="T32" fmla="*/ 11 w 81"/>
                  <a:gd name="T33" fmla="*/ 75 h 87"/>
                  <a:gd name="T34" fmla="*/ 17 w 81"/>
                  <a:gd name="T35" fmla="*/ 76 h 87"/>
                  <a:gd name="T36" fmla="*/ 17 w 81"/>
                  <a:gd name="T37" fmla="*/ 84 h 87"/>
                  <a:gd name="T38" fmla="*/ 19 w 81"/>
                  <a:gd name="T39" fmla="*/ 82 h 87"/>
                  <a:gd name="T40" fmla="*/ 38 w 81"/>
                  <a:gd name="T41" fmla="*/ 85 h 87"/>
                  <a:gd name="T42" fmla="*/ 40 w 81"/>
                  <a:gd name="T43" fmla="*/ 85 h 87"/>
                  <a:gd name="T44" fmla="*/ 44 w 81"/>
                  <a:gd name="T45" fmla="*/ 85 h 87"/>
                  <a:gd name="T46" fmla="*/ 44 w 81"/>
                  <a:gd name="T47" fmla="*/ 81 h 87"/>
                  <a:gd name="T48" fmla="*/ 42 w 81"/>
                  <a:gd name="T49" fmla="*/ 80 h 87"/>
                  <a:gd name="T50" fmla="*/ 40 w 81"/>
                  <a:gd name="T51" fmla="*/ 79 h 87"/>
                  <a:gd name="T52" fmla="*/ 43 w 81"/>
                  <a:gd name="T53" fmla="*/ 67 h 87"/>
                  <a:gd name="T54" fmla="*/ 43 w 81"/>
                  <a:gd name="T55" fmla="*/ 54 h 87"/>
                  <a:gd name="T56" fmla="*/ 50 w 81"/>
                  <a:gd name="T57" fmla="*/ 54 h 87"/>
                  <a:gd name="T58" fmla="*/ 54 w 81"/>
                  <a:gd name="T59" fmla="*/ 54 h 87"/>
                  <a:gd name="T60" fmla="*/ 56 w 81"/>
                  <a:gd name="T61" fmla="*/ 47 h 87"/>
                  <a:gd name="T62" fmla="*/ 60 w 81"/>
                  <a:gd name="T63" fmla="*/ 47 h 87"/>
                  <a:gd name="T64" fmla="*/ 69 w 81"/>
                  <a:gd name="T65" fmla="*/ 31 h 87"/>
                  <a:gd name="T66" fmla="*/ 69 w 81"/>
                  <a:gd name="T67" fmla="*/ 37 h 87"/>
                  <a:gd name="T68" fmla="*/ 81 w 81"/>
                  <a:gd name="T69" fmla="*/ 23 h 87"/>
                  <a:gd name="T70" fmla="*/ 65 w 81"/>
                  <a:gd name="T71" fmla="*/ 19 h 87"/>
                  <a:gd name="T72" fmla="*/ 64 w 81"/>
                  <a:gd name="T73" fmla="*/ 18 h 87"/>
                  <a:gd name="T74" fmla="*/ 65 w 81"/>
                  <a:gd name="T75" fmla="*/ 15 h 87"/>
                  <a:gd name="T76" fmla="*/ 62 w 81"/>
                  <a:gd name="T77" fmla="*/ 13 h 87"/>
                  <a:gd name="T78" fmla="*/ 63 w 81"/>
                  <a:gd name="T79" fmla="*/ 8 h 87"/>
                  <a:gd name="T80" fmla="*/ 57 w 81"/>
                  <a:gd name="T8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87">
                    <a:moveTo>
                      <a:pt x="57" y="0"/>
                    </a:moveTo>
                    <a:cubicBezTo>
                      <a:pt x="53" y="0"/>
                      <a:pt x="49" y="1"/>
                      <a:pt x="45" y="1"/>
                    </a:cubicBezTo>
                    <a:cubicBezTo>
                      <a:pt x="45" y="1"/>
                      <a:pt x="45" y="1"/>
                      <a:pt x="45" y="1"/>
                    </a:cubicBezTo>
                    <a:cubicBezTo>
                      <a:pt x="44" y="1"/>
                      <a:pt x="43" y="1"/>
                      <a:pt x="42" y="1"/>
                    </a:cubicBezTo>
                    <a:cubicBezTo>
                      <a:pt x="41" y="1"/>
                      <a:pt x="39" y="1"/>
                      <a:pt x="38" y="1"/>
                    </a:cubicBezTo>
                    <a:cubicBezTo>
                      <a:pt x="38" y="1"/>
                      <a:pt x="37" y="1"/>
                      <a:pt x="37" y="1"/>
                    </a:cubicBezTo>
                    <a:cubicBezTo>
                      <a:pt x="35" y="4"/>
                      <a:pt x="32" y="6"/>
                      <a:pt x="32" y="10"/>
                    </a:cubicBezTo>
                    <a:cubicBezTo>
                      <a:pt x="31" y="11"/>
                      <a:pt x="31" y="13"/>
                      <a:pt x="31" y="14"/>
                    </a:cubicBezTo>
                    <a:cubicBezTo>
                      <a:pt x="36" y="14"/>
                      <a:pt x="35" y="14"/>
                      <a:pt x="36" y="20"/>
                    </a:cubicBezTo>
                    <a:cubicBezTo>
                      <a:pt x="33" y="18"/>
                      <a:pt x="31" y="18"/>
                      <a:pt x="27" y="17"/>
                    </a:cubicBezTo>
                    <a:cubicBezTo>
                      <a:pt x="29" y="16"/>
                      <a:pt x="29" y="14"/>
                      <a:pt x="31" y="13"/>
                    </a:cubicBezTo>
                    <a:cubicBezTo>
                      <a:pt x="29" y="12"/>
                      <a:pt x="27" y="11"/>
                      <a:pt x="24" y="10"/>
                    </a:cubicBezTo>
                    <a:cubicBezTo>
                      <a:pt x="24" y="11"/>
                      <a:pt x="23" y="13"/>
                      <a:pt x="22" y="14"/>
                    </a:cubicBezTo>
                    <a:cubicBezTo>
                      <a:pt x="21" y="15"/>
                      <a:pt x="18" y="15"/>
                      <a:pt x="18" y="16"/>
                    </a:cubicBezTo>
                    <a:cubicBezTo>
                      <a:pt x="17" y="19"/>
                      <a:pt x="20" y="19"/>
                      <a:pt x="18" y="22"/>
                    </a:cubicBezTo>
                    <a:cubicBezTo>
                      <a:pt x="15" y="21"/>
                      <a:pt x="3" y="18"/>
                      <a:pt x="4" y="14"/>
                    </a:cubicBezTo>
                    <a:cubicBezTo>
                      <a:pt x="3" y="16"/>
                      <a:pt x="1" y="19"/>
                      <a:pt x="1" y="21"/>
                    </a:cubicBezTo>
                    <a:cubicBezTo>
                      <a:pt x="1" y="25"/>
                      <a:pt x="2" y="28"/>
                      <a:pt x="1" y="31"/>
                    </a:cubicBezTo>
                    <a:cubicBezTo>
                      <a:pt x="1" y="35"/>
                      <a:pt x="0" y="38"/>
                      <a:pt x="1" y="41"/>
                    </a:cubicBezTo>
                    <a:cubicBezTo>
                      <a:pt x="2" y="40"/>
                      <a:pt x="3" y="39"/>
                      <a:pt x="4" y="38"/>
                    </a:cubicBezTo>
                    <a:cubicBezTo>
                      <a:pt x="6" y="40"/>
                      <a:pt x="7" y="42"/>
                      <a:pt x="9" y="45"/>
                    </a:cubicBezTo>
                    <a:cubicBezTo>
                      <a:pt x="8" y="45"/>
                      <a:pt x="8" y="45"/>
                      <a:pt x="8" y="45"/>
                    </a:cubicBezTo>
                    <a:cubicBezTo>
                      <a:pt x="8" y="45"/>
                      <a:pt x="7" y="45"/>
                      <a:pt x="7" y="45"/>
                    </a:cubicBezTo>
                    <a:cubicBezTo>
                      <a:pt x="6" y="45"/>
                      <a:pt x="6" y="45"/>
                      <a:pt x="6" y="45"/>
                    </a:cubicBezTo>
                    <a:cubicBezTo>
                      <a:pt x="4" y="45"/>
                      <a:pt x="2" y="45"/>
                      <a:pt x="1" y="42"/>
                    </a:cubicBezTo>
                    <a:cubicBezTo>
                      <a:pt x="2" y="48"/>
                      <a:pt x="4" y="52"/>
                      <a:pt x="1" y="57"/>
                    </a:cubicBezTo>
                    <a:cubicBezTo>
                      <a:pt x="0" y="61"/>
                      <a:pt x="3" y="62"/>
                      <a:pt x="6" y="63"/>
                    </a:cubicBezTo>
                    <a:cubicBezTo>
                      <a:pt x="6" y="61"/>
                      <a:pt x="5" y="60"/>
                      <a:pt x="5" y="59"/>
                    </a:cubicBezTo>
                    <a:cubicBezTo>
                      <a:pt x="5" y="59"/>
                      <a:pt x="6" y="59"/>
                      <a:pt x="6" y="59"/>
                    </a:cubicBezTo>
                    <a:cubicBezTo>
                      <a:pt x="13" y="59"/>
                      <a:pt x="21" y="73"/>
                      <a:pt x="14" y="75"/>
                    </a:cubicBezTo>
                    <a:cubicBezTo>
                      <a:pt x="14" y="75"/>
                      <a:pt x="14" y="75"/>
                      <a:pt x="14" y="75"/>
                    </a:cubicBezTo>
                    <a:cubicBezTo>
                      <a:pt x="13" y="75"/>
                      <a:pt x="13" y="75"/>
                      <a:pt x="13" y="74"/>
                    </a:cubicBezTo>
                    <a:cubicBezTo>
                      <a:pt x="12" y="74"/>
                      <a:pt x="12" y="74"/>
                      <a:pt x="12" y="74"/>
                    </a:cubicBezTo>
                    <a:cubicBezTo>
                      <a:pt x="12" y="74"/>
                      <a:pt x="11" y="74"/>
                      <a:pt x="11" y="75"/>
                    </a:cubicBezTo>
                    <a:cubicBezTo>
                      <a:pt x="10" y="76"/>
                      <a:pt x="12" y="77"/>
                      <a:pt x="13" y="77"/>
                    </a:cubicBezTo>
                    <a:cubicBezTo>
                      <a:pt x="15" y="77"/>
                      <a:pt x="16" y="76"/>
                      <a:pt x="17" y="76"/>
                    </a:cubicBezTo>
                    <a:cubicBezTo>
                      <a:pt x="16" y="79"/>
                      <a:pt x="15" y="82"/>
                      <a:pt x="16" y="84"/>
                    </a:cubicBezTo>
                    <a:cubicBezTo>
                      <a:pt x="17" y="84"/>
                      <a:pt x="17" y="84"/>
                      <a:pt x="17" y="84"/>
                    </a:cubicBezTo>
                    <a:cubicBezTo>
                      <a:pt x="17" y="82"/>
                      <a:pt x="17" y="82"/>
                      <a:pt x="17" y="82"/>
                    </a:cubicBezTo>
                    <a:cubicBezTo>
                      <a:pt x="19" y="82"/>
                      <a:pt x="19" y="82"/>
                      <a:pt x="19" y="82"/>
                    </a:cubicBezTo>
                    <a:cubicBezTo>
                      <a:pt x="22" y="82"/>
                      <a:pt x="25" y="83"/>
                      <a:pt x="28" y="83"/>
                    </a:cubicBezTo>
                    <a:cubicBezTo>
                      <a:pt x="32" y="84"/>
                      <a:pt x="35" y="85"/>
                      <a:pt x="38" y="85"/>
                    </a:cubicBezTo>
                    <a:cubicBezTo>
                      <a:pt x="38" y="85"/>
                      <a:pt x="38" y="85"/>
                      <a:pt x="39" y="85"/>
                    </a:cubicBezTo>
                    <a:cubicBezTo>
                      <a:pt x="40" y="85"/>
                      <a:pt x="40" y="85"/>
                      <a:pt x="40" y="85"/>
                    </a:cubicBezTo>
                    <a:cubicBezTo>
                      <a:pt x="40" y="87"/>
                      <a:pt x="40" y="87"/>
                      <a:pt x="40" y="87"/>
                    </a:cubicBezTo>
                    <a:cubicBezTo>
                      <a:pt x="42" y="86"/>
                      <a:pt x="42" y="85"/>
                      <a:pt x="44" y="85"/>
                    </a:cubicBezTo>
                    <a:cubicBezTo>
                      <a:pt x="44" y="85"/>
                      <a:pt x="45" y="85"/>
                      <a:pt x="46" y="86"/>
                    </a:cubicBezTo>
                    <a:cubicBezTo>
                      <a:pt x="48" y="83"/>
                      <a:pt x="46" y="82"/>
                      <a:pt x="44" y="81"/>
                    </a:cubicBezTo>
                    <a:cubicBezTo>
                      <a:pt x="43" y="80"/>
                      <a:pt x="43" y="80"/>
                      <a:pt x="42" y="80"/>
                    </a:cubicBezTo>
                    <a:cubicBezTo>
                      <a:pt x="42" y="80"/>
                      <a:pt x="42" y="80"/>
                      <a:pt x="42" y="80"/>
                    </a:cubicBezTo>
                    <a:cubicBezTo>
                      <a:pt x="41" y="80"/>
                      <a:pt x="41" y="80"/>
                      <a:pt x="41" y="80"/>
                    </a:cubicBezTo>
                    <a:cubicBezTo>
                      <a:pt x="40" y="80"/>
                      <a:pt x="40" y="80"/>
                      <a:pt x="40" y="79"/>
                    </a:cubicBezTo>
                    <a:cubicBezTo>
                      <a:pt x="39" y="74"/>
                      <a:pt x="43" y="77"/>
                      <a:pt x="45" y="74"/>
                    </a:cubicBezTo>
                    <a:cubicBezTo>
                      <a:pt x="46" y="72"/>
                      <a:pt x="44" y="69"/>
                      <a:pt x="43" y="67"/>
                    </a:cubicBezTo>
                    <a:cubicBezTo>
                      <a:pt x="42" y="61"/>
                      <a:pt x="43" y="60"/>
                      <a:pt x="47" y="57"/>
                    </a:cubicBezTo>
                    <a:cubicBezTo>
                      <a:pt x="46" y="56"/>
                      <a:pt x="44" y="55"/>
                      <a:pt x="43" y="54"/>
                    </a:cubicBezTo>
                    <a:cubicBezTo>
                      <a:pt x="44" y="53"/>
                      <a:pt x="46" y="53"/>
                      <a:pt x="47" y="53"/>
                    </a:cubicBezTo>
                    <a:cubicBezTo>
                      <a:pt x="48" y="53"/>
                      <a:pt x="49" y="53"/>
                      <a:pt x="50" y="54"/>
                    </a:cubicBezTo>
                    <a:cubicBezTo>
                      <a:pt x="51" y="54"/>
                      <a:pt x="52" y="54"/>
                      <a:pt x="53" y="54"/>
                    </a:cubicBezTo>
                    <a:cubicBezTo>
                      <a:pt x="54" y="54"/>
                      <a:pt x="54" y="54"/>
                      <a:pt x="54" y="54"/>
                    </a:cubicBezTo>
                    <a:cubicBezTo>
                      <a:pt x="54" y="52"/>
                      <a:pt x="52" y="47"/>
                      <a:pt x="54" y="47"/>
                    </a:cubicBezTo>
                    <a:cubicBezTo>
                      <a:pt x="55" y="47"/>
                      <a:pt x="55" y="47"/>
                      <a:pt x="56" y="47"/>
                    </a:cubicBezTo>
                    <a:cubicBezTo>
                      <a:pt x="57" y="48"/>
                      <a:pt x="58" y="48"/>
                      <a:pt x="59" y="48"/>
                    </a:cubicBezTo>
                    <a:cubicBezTo>
                      <a:pt x="59" y="48"/>
                      <a:pt x="59" y="48"/>
                      <a:pt x="60" y="47"/>
                    </a:cubicBezTo>
                    <a:cubicBezTo>
                      <a:pt x="62" y="45"/>
                      <a:pt x="62" y="30"/>
                      <a:pt x="67" y="30"/>
                    </a:cubicBezTo>
                    <a:cubicBezTo>
                      <a:pt x="67" y="30"/>
                      <a:pt x="68" y="30"/>
                      <a:pt x="69" y="31"/>
                    </a:cubicBezTo>
                    <a:cubicBezTo>
                      <a:pt x="66" y="34"/>
                      <a:pt x="64" y="36"/>
                      <a:pt x="69" y="36"/>
                    </a:cubicBezTo>
                    <a:cubicBezTo>
                      <a:pt x="69" y="37"/>
                      <a:pt x="69" y="37"/>
                      <a:pt x="69" y="37"/>
                    </a:cubicBezTo>
                    <a:cubicBezTo>
                      <a:pt x="70" y="37"/>
                      <a:pt x="70" y="37"/>
                      <a:pt x="71" y="37"/>
                    </a:cubicBezTo>
                    <a:cubicBezTo>
                      <a:pt x="77" y="33"/>
                      <a:pt x="79" y="30"/>
                      <a:pt x="81" y="23"/>
                    </a:cubicBezTo>
                    <a:cubicBezTo>
                      <a:pt x="78" y="23"/>
                      <a:pt x="75" y="22"/>
                      <a:pt x="72" y="21"/>
                    </a:cubicBezTo>
                    <a:cubicBezTo>
                      <a:pt x="69" y="21"/>
                      <a:pt x="68" y="19"/>
                      <a:pt x="65" y="19"/>
                    </a:cubicBezTo>
                    <a:cubicBezTo>
                      <a:pt x="65" y="18"/>
                      <a:pt x="64" y="18"/>
                      <a:pt x="64" y="18"/>
                    </a:cubicBezTo>
                    <a:cubicBezTo>
                      <a:pt x="64" y="18"/>
                      <a:pt x="64" y="18"/>
                      <a:pt x="64" y="18"/>
                    </a:cubicBezTo>
                    <a:cubicBezTo>
                      <a:pt x="62" y="20"/>
                      <a:pt x="62" y="23"/>
                      <a:pt x="60" y="23"/>
                    </a:cubicBezTo>
                    <a:cubicBezTo>
                      <a:pt x="61" y="20"/>
                      <a:pt x="63" y="18"/>
                      <a:pt x="65" y="15"/>
                    </a:cubicBezTo>
                    <a:cubicBezTo>
                      <a:pt x="62" y="15"/>
                      <a:pt x="60" y="14"/>
                      <a:pt x="58" y="14"/>
                    </a:cubicBezTo>
                    <a:cubicBezTo>
                      <a:pt x="59" y="13"/>
                      <a:pt x="61" y="13"/>
                      <a:pt x="62" y="13"/>
                    </a:cubicBezTo>
                    <a:cubicBezTo>
                      <a:pt x="63" y="13"/>
                      <a:pt x="63" y="13"/>
                      <a:pt x="64" y="13"/>
                    </a:cubicBezTo>
                    <a:cubicBezTo>
                      <a:pt x="64" y="12"/>
                      <a:pt x="63" y="10"/>
                      <a:pt x="63" y="8"/>
                    </a:cubicBezTo>
                    <a:cubicBezTo>
                      <a:pt x="62" y="7"/>
                      <a:pt x="64" y="4"/>
                      <a:pt x="63" y="3"/>
                    </a:cubicBezTo>
                    <a:cubicBezTo>
                      <a:pt x="62" y="1"/>
                      <a:pt x="59" y="0"/>
                      <a:pt x="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37" name="Freeform 365">
                <a:extLst>
                  <a:ext uri="{FF2B5EF4-FFF2-40B4-BE49-F238E27FC236}">
                    <a16:creationId xmlns:a16="http://schemas.microsoft.com/office/drawing/2014/main" id="{D31B244B-78C5-4530-B65C-016E532CA43A}"/>
                  </a:ext>
                </a:extLst>
              </p:cNvPr>
              <p:cNvSpPr>
                <a:spLocks/>
              </p:cNvSpPr>
              <p:nvPr/>
            </p:nvSpPr>
            <p:spPr bwMode="auto">
              <a:xfrm>
                <a:off x="9422841" y="6489489"/>
                <a:ext cx="33166" cy="62647"/>
              </a:xfrm>
              <a:custGeom>
                <a:avLst/>
                <a:gdLst>
                  <a:gd name="T0" fmla="*/ 7 w 11"/>
                  <a:gd name="T1" fmla="*/ 0 h 20"/>
                  <a:gd name="T2" fmla="*/ 0 w 11"/>
                  <a:gd name="T3" fmla="*/ 6 h 20"/>
                  <a:gd name="T4" fmla="*/ 2 w 11"/>
                  <a:gd name="T5" fmla="*/ 6 h 20"/>
                  <a:gd name="T6" fmla="*/ 2 w 11"/>
                  <a:gd name="T7" fmla="*/ 7 h 20"/>
                  <a:gd name="T8" fmla="*/ 2 w 11"/>
                  <a:gd name="T9" fmla="*/ 10 h 20"/>
                  <a:gd name="T10" fmla="*/ 2 w 11"/>
                  <a:gd name="T11" fmla="*/ 12 h 20"/>
                  <a:gd name="T12" fmla="*/ 3 w 11"/>
                  <a:gd name="T13" fmla="*/ 18 h 20"/>
                  <a:gd name="T14" fmla="*/ 3 w 11"/>
                  <a:gd name="T15" fmla="*/ 18 h 20"/>
                  <a:gd name="T16" fmla="*/ 5 w 11"/>
                  <a:gd name="T17" fmla="*/ 20 h 20"/>
                  <a:gd name="T18" fmla="*/ 9 w 11"/>
                  <a:gd name="T19" fmla="*/ 8 h 20"/>
                  <a:gd name="T20" fmla="*/ 5 w 11"/>
                  <a:gd name="T21" fmla="*/ 6 h 20"/>
                  <a:gd name="T22" fmla="*/ 11 w 11"/>
                  <a:gd name="T23" fmla="*/ 1 h 20"/>
                  <a:gd name="T24" fmla="*/ 7 w 11"/>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0">
                    <a:moveTo>
                      <a:pt x="7" y="0"/>
                    </a:moveTo>
                    <a:cubicBezTo>
                      <a:pt x="4" y="0"/>
                      <a:pt x="2" y="3"/>
                      <a:pt x="0" y="6"/>
                    </a:cubicBezTo>
                    <a:cubicBezTo>
                      <a:pt x="2" y="6"/>
                      <a:pt x="2" y="6"/>
                      <a:pt x="2" y="6"/>
                    </a:cubicBezTo>
                    <a:cubicBezTo>
                      <a:pt x="2" y="7"/>
                      <a:pt x="2" y="7"/>
                      <a:pt x="2" y="7"/>
                    </a:cubicBezTo>
                    <a:cubicBezTo>
                      <a:pt x="2" y="8"/>
                      <a:pt x="2" y="9"/>
                      <a:pt x="2" y="10"/>
                    </a:cubicBezTo>
                    <a:cubicBezTo>
                      <a:pt x="2" y="12"/>
                      <a:pt x="2" y="12"/>
                      <a:pt x="2" y="12"/>
                    </a:cubicBezTo>
                    <a:cubicBezTo>
                      <a:pt x="2" y="15"/>
                      <a:pt x="3" y="17"/>
                      <a:pt x="3" y="18"/>
                    </a:cubicBezTo>
                    <a:cubicBezTo>
                      <a:pt x="3" y="18"/>
                      <a:pt x="3" y="18"/>
                      <a:pt x="3" y="18"/>
                    </a:cubicBezTo>
                    <a:cubicBezTo>
                      <a:pt x="5" y="20"/>
                      <a:pt x="5" y="20"/>
                      <a:pt x="5" y="20"/>
                    </a:cubicBezTo>
                    <a:cubicBezTo>
                      <a:pt x="7" y="17"/>
                      <a:pt x="8" y="10"/>
                      <a:pt x="9" y="8"/>
                    </a:cubicBezTo>
                    <a:cubicBezTo>
                      <a:pt x="7" y="8"/>
                      <a:pt x="6" y="7"/>
                      <a:pt x="5" y="6"/>
                    </a:cubicBezTo>
                    <a:cubicBezTo>
                      <a:pt x="7" y="4"/>
                      <a:pt x="9" y="3"/>
                      <a:pt x="11" y="1"/>
                    </a:cubicBezTo>
                    <a:cubicBezTo>
                      <a:pt x="9" y="1"/>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38" name="Freeform 366">
                <a:extLst>
                  <a:ext uri="{FF2B5EF4-FFF2-40B4-BE49-F238E27FC236}">
                    <a16:creationId xmlns:a16="http://schemas.microsoft.com/office/drawing/2014/main" id="{FA230EDE-6313-4298-81CD-1809A9FA53E2}"/>
                  </a:ext>
                </a:extLst>
              </p:cNvPr>
              <p:cNvSpPr>
                <a:spLocks/>
              </p:cNvSpPr>
              <p:nvPr/>
            </p:nvSpPr>
            <p:spPr bwMode="auto">
              <a:xfrm>
                <a:off x="6253642" y="1263995"/>
                <a:ext cx="936019" cy="1485102"/>
              </a:xfrm>
              <a:custGeom>
                <a:avLst/>
                <a:gdLst>
                  <a:gd name="T0" fmla="*/ 179 w 295"/>
                  <a:gd name="T1" fmla="*/ 5 h 468"/>
                  <a:gd name="T2" fmla="*/ 166 w 295"/>
                  <a:gd name="T3" fmla="*/ 6 h 468"/>
                  <a:gd name="T4" fmla="*/ 145 w 295"/>
                  <a:gd name="T5" fmla="*/ 19 h 468"/>
                  <a:gd name="T6" fmla="*/ 138 w 295"/>
                  <a:gd name="T7" fmla="*/ 50 h 468"/>
                  <a:gd name="T8" fmla="*/ 127 w 295"/>
                  <a:gd name="T9" fmla="*/ 60 h 468"/>
                  <a:gd name="T10" fmla="*/ 109 w 295"/>
                  <a:gd name="T11" fmla="*/ 75 h 468"/>
                  <a:gd name="T12" fmla="*/ 81 w 295"/>
                  <a:gd name="T13" fmla="*/ 65 h 468"/>
                  <a:gd name="T14" fmla="*/ 35 w 295"/>
                  <a:gd name="T15" fmla="*/ 62 h 468"/>
                  <a:gd name="T16" fmla="*/ 9 w 295"/>
                  <a:gd name="T17" fmla="*/ 40 h 468"/>
                  <a:gd name="T18" fmla="*/ 2 w 295"/>
                  <a:gd name="T19" fmla="*/ 50 h 468"/>
                  <a:gd name="T20" fmla="*/ 75 w 295"/>
                  <a:gd name="T21" fmla="*/ 98 h 468"/>
                  <a:gd name="T22" fmla="*/ 75 w 295"/>
                  <a:gd name="T23" fmla="*/ 108 h 468"/>
                  <a:gd name="T24" fmla="*/ 74 w 295"/>
                  <a:gd name="T25" fmla="*/ 123 h 468"/>
                  <a:gd name="T26" fmla="*/ 80 w 295"/>
                  <a:gd name="T27" fmla="*/ 137 h 468"/>
                  <a:gd name="T28" fmla="*/ 85 w 295"/>
                  <a:gd name="T29" fmla="*/ 152 h 468"/>
                  <a:gd name="T30" fmla="*/ 85 w 295"/>
                  <a:gd name="T31" fmla="*/ 164 h 468"/>
                  <a:gd name="T32" fmla="*/ 79 w 295"/>
                  <a:gd name="T33" fmla="*/ 182 h 468"/>
                  <a:gd name="T34" fmla="*/ 91 w 295"/>
                  <a:gd name="T35" fmla="*/ 206 h 468"/>
                  <a:gd name="T36" fmla="*/ 120 w 295"/>
                  <a:gd name="T37" fmla="*/ 237 h 468"/>
                  <a:gd name="T38" fmla="*/ 120 w 295"/>
                  <a:gd name="T39" fmla="*/ 250 h 468"/>
                  <a:gd name="T40" fmla="*/ 94 w 295"/>
                  <a:gd name="T41" fmla="*/ 265 h 468"/>
                  <a:gd name="T42" fmla="*/ 68 w 295"/>
                  <a:gd name="T43" fmla="*/ 286 h 468"/>
                  <a:gd name="T44" fmla="*/ 36 w 295"/>
                  <a:gd name="T45" fmla="*/ 314 h 468"/>
                  <a:gd name="T46" fmla="*/ 15 w 295"/>
                  <a:gd name="T47" fmla="*/ 326 h 468"/>
                  <a:gd name="T48" fmla="*/ 6 w 295"/>
                  <a:gd name="T49" fmla="*/ 361 h 468"/>
                  <a:gd name="T50" fmla="*/ 14 w 295"/>
                  <a:gd name="T51" fmla="*/ 396 h 468"/>
                  <a:gd name="T52" fmla="*/ 10 w 295"/>
                  <a:gd name="T53" fmla="*/ 421 h 468"/>
                  <a:gd name="T54" fmla="*/ 19 w 295"/>
                  <a:gd name="T55" fmla="*/ 438 h 468"/>
                  <a:gd name="T56" fmla="*/ 58 w 295"/>
                  <a:gd name="T57" fmla="*/ 448 h 468"/>
                  <a:gd name="T58" fmla="*/ 41 w 295"/>
                  <a:gd name="T59" fmla="*/ 456 h 468"/>
                  <a:gd name="T60" fmla="*/ 39 w 295"/>
                  <a:gd name="T61" fmla="*/ 464 h 468"/>
                  <a:gd name="T62" fmla="*/ 61 w 295"/>
                  <a:gd name="T63" fmla="*/ 468 h 468"/>
                  <a:gd name="T64" fmla="*/ 78 w 295"/>
                  <a:gd name="T65" fmla="*/ 464 h 468"/>
                  <a:gd name="T66" fmla="*/ 99 w 295"/>
                  <a:gd name="T67" fmla="*/ 463 h 468"/>
                  <a:gd name="T68" fmla="*/ 140 w 295"/>
                  <a:gd name="T69" fmla="*/ 453 h 468"/>
                  <a:gd name="T70" fmla="*/ 142 w 295"/>
                  <a:gd name="T71" fmla="*/ 444 h 468"/>
                  <a:gd name="T72" fmla="*/ 179 w 295"/>
                  <a:gd name="T73" fmla="*/ 442 h 468"/>
                  <a:gd name="T74" fmla="*/ 227 w 295"/>
                  <a:gd name="T75" fmla="*/ 409 h 468"/>
                  <a:gd name="T76" fmla="*/ 288 w 295"/>
                  <a:gd name="T77" fmla="*/ 352 h 468"/>
                  <a:gd name="T78" fmla="*/ 292 w 295"/>
                  <a:gd name="T79" fmla="*/ 333 h 468"/>
                  <a:gd name="T80" fmla="*/ 253 w 295"/>
                  <a:gd name="T81" fmla="*/ 297 h 468"/>
                  <a:gd name="T82" fmla="*/ 259 w 295"/>
                  <a:gd name="T83" fmla="*/ 276 h 468"/>
                  <a:gd name="T84" fmla="*/ 253 w 295"/>
                  <a:gd name="T85" fmla="*/ 258 h 468"/>
                  <a:gd name="T86" fmla="*/ 241 w 295"/>
                  <a:gd name="T87" fmla="*/ 245 h 468"/>
                  <a:gd name="T88" fmla="*/ 242 w 295"/>
                  <a:gd name="T89" fmla="*/ 225 h 468"/>
                  <a:gd name="T90" fmla="*/ 241 w 295"/>
                  <a:gd name="T91" fmla="*/ 211 h 468"/>
                  <a:gd name="T92" fmla="*/ 231 w 295"/>
                  <a:gd name="T93" fmla="*/ 163 h 468"/>
                  <a:gd name="T94" fmla="*/ 226 w 295"/>
                  <a:gd name="T95" fmla="*/ 148 h 468"/>
                  <a:gd name="T96" fmla="*/ 231 w 295"/>
                  <a:gd name="T97" fmla="*/ 98 h 468"/>
                  <a:gd name="T98" fmla="*/ 211 w 295"/>
                  <a:gd name="T99" fmla="*/ 84 h 468"/>
                  <a:gd name="T100" fmla="*/ 212 w 295"/>
                  <a:gd name="T101" fmla="*/ 67 h 468"/>
                  <a:gd name="T102" fmla="*/ 203 w 295"/>
                  <a:gd name="T103" fmla="*/ 56 h 468"/>
                  <a:gd name="T104" fmla="*/ 222 w 295"/>
                  <a:gd name="T105" fmla="*/ 48 h 468"/>
                  <a:gd name="T106" fmla="*/ 222 w 295"/>
                  <a:gd name="T107" fmla="*/ 46 h 468"/>
                  <a:gd name="T108" fmla="*/ 228 w 295"/>
                  <a:gd name="T109" fmla="*/ 31 h 468"/>
                  <a:gd name="T110" fmla="*/ 216 w 295"/>
                  <a:gd name="T111" fmla="*/ 15 h 468"/>
                  <a:gd name="T112" fmla="*/ 200 w 295"/>
                  <a:gd name="T113" fmla="*/ 5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5" h="468">
                    <a:moveTo>
                      <a:pt x="191" y="0"/>
                    </a:moveTo>
                    <a:cubicBezTo>
                      <a:pt x="190" y="0"/>
                      <a:pt x="189" y="0"/>
                      <a:pt x="188" y="1"/>
                    </a:cubicBezTo>
                    <a:cubicBezTo>
                      <a:pt x="188" y="1"/>
                      <a:pt x="188" y="1"/>
                      <a:pt x="187" y="2"/>
                    </a:cubicBezTo>
                    <a:cubicBezTo>
                      <a:pt x="186" y="2"/>
                      <a:pt x="185" y="3"/>
                      <a:pt x="183" y="4"/>
                    </a:cubicBezTo>
                    <a:cubicBezTo>
                      <a:pt x="182" y="4"/>
                      <a:pt x="181" y="5"/>
                      <a:pt x="179" y="5"/>
                    </a:cubicBezTo>
                    <a:cubicBezTo>
                      <a:pt x="178" y="5"/>
                      <a:pt x="177" y="6"/>
                      <a:pt x="176" y="6"/>
                    </a:cubicBezTo>
                    <a:cubicBezTo>
                      <a:pt x="175" y="6"/>
                      <a:pt x="175" y="6"/>
                      <a:pt x="175" y="6"/>
                    </a:cubicBezTo>
                    <a:cubicBezTo>
                      <a:pt x="174" y="6"/>
                      <a:pt x="173" y="6"/>
                      <a:pt x="172" y="6"/>
                    </a:cubicBezTo>
                    <a:cubicBezTo>
                      <a:pt x="168" y="6"/>
                      <a:pt x="168" y="6"/>
                      <a:pt x="168" y="6"/>
                    </a:cubicBezTo>
                    <a:cubicBezTo>
                      <a:pt x="168" y="6"/>
                      <a:pt x="167" y="6"/>
                      <a:pt x="166" y="6"/>
                    </a:cubicBezTo>
                    <a:cubicBezTo>
                      <a:pt x="160" y="7"/>
                      <a:pt x="158" y="7"/>
                      <a:pt x="155" y="12"/>
                    </a:cubicBezTo>
                    <a:cubicBezTo>
                      <a:pt x="154" y="12"/>
                      <a:pt x="154" y="12"/>
                      <a:pt x="154" y="12"/>
                    </a:cubicBezTo>
                    <a:cubicBezTo>
                      <a:pt x="153" y="14"/>
                      <a:pt x="151" y="15"/>
                      <a:pt x="149" y="16"/>
                    </a:cubicBezTo>
                    <a:cubicBezTo>
                      <a:pt x="149" y="16"/>
                      <a:pt x="149" y="16"/>
                      <a:pt x="149" y="16"/>
                    </a:cubicBezTo>
                    <a:cubicBezTo>
                      <a:pt x="147" y="17"/>
                      <a:pt x="146" y="18"/>
                      <a:pt x="145" y="19"/>
                    </a:cubicBezTo>
                    <a:cubicBezTo>
                      <a:pt x="144" y="19"/>
                      <a:pt x="144" y="19"/>
                      <a:pt x="144" y="19"/>
                    </a:cubicBezTo>
                    <a:cubicBezTo>
                      <a:pt x="143" y="21"/>
                      <a:pt x="143" y="22"/>
                      <a:pt x="142" y="25"/>
                    </a:cubicBezTo>
                    <a:cubicBezTo>
                      <a:pt x="141" y="30"/>
                      <a:pt x="141" y="30"/>
                      <a:pt x="141" y="30"/>
                    </a:cubicBezTo>
                    <a:cubicBezTo>
                      <a:pt x="140" y="33"/>
                      <a:pt x="140" y="36"/>
                      <a:pt x="140" y="39"/>
                    </a:cubicBezTo>
                    <a:cubicBezTo>
                      <a:pt x="139" y="43"/>
                      <a:pt x="139" y="47"/>
                      <a:pt x="138" y="50"/>
                    </a:cubicBezTo>
                    <a:cubicBezTo>
                      <a:pt x="137" y="52"/>
                      <a:pt x="137" y="54"/>
                      <a:pt x="136" y="56"/>
                    </a:cubicBezTo>
                    <a:cubicBezTo>
                      <a:pt x="135" y="57"/>
                      <a:pt x="135" y="57"/>
                      <a:pt x="135" y="57"/>
                    </a:cubicBezTo>
                    <a:cubicBezTo>
                      <a:pt x="134" y="59"/>
                      <a:pt x="132" y="60"/>
                      <a:pt x="130" y="60"/>
                    </a:cubicBezTo>
                    <a:cubicBezTo>
                      <a:pt x="129" y="60"/>
                      <a:pt x="128" y="60"/>
                      <a:pt x="128" y="60"/>
                    </a:cubicBezTo>
                    <a:cubicBezTo>
                      <a:pt x="127" y="60"/>
                      <a:pt x="127" y="60"/>
                      <a:pt x="127" y="60"/>
                    </a:cubicBezTo>
                    <a:cubicBezTo>
                      <a:pt x="119" y="69"/>
                      <a:pt x="119" y="69"/>
                      <a:pt x="119" y="69"/>
                    </a:cubicBezTo>
                    <a:cubicBezTo>
                      <a:pt x="119" y="69"/>
                      <a:pt x="119" y="69"/>
                      <a:pt x="119" y="69"/>
                    </a:cubicBezTo>
                    <a:cubicBezTo>
                      <a:pt x="118" y="70"/>
                      <a:pt x="118" y="70"/>
                      <a:pt x="118" y="70"/>
                    </a:cubicBezTo>
                    <a:cubicBezTo>
                      <a:pt x="116" y="72"/>
                      <a:pt x="114" y="75"/>
                      <a:pt x="111" y="75"/>
                    </a:cubicBezTo>
                    <a:cubicBezTo>
                      <a:pt x="110" y="75"/>
                      <a:pt x="110" y="75"/>
                      <a:pt x="109" y="75"/>
                    </a:cubicBezTo>
                    <a:cubicBezTo>
                      <a:pt x="94" y="68"/>
                      <a:pt x="94" y="68"/>
                      <a:pt x="94" y="68"/>
                    </a:cubicBezTo>
                    <a:cubicBezTo>
                      <a:pt x="93" y="68"/>
                      <a:pt x="92" y="67"/>
                      <a:pt x="90" y="66"/>
                    </a:cubicBezTo>
                    <a:cubicBezTo>
                      <a:pt x="88" y="65"/>
                      <a:pt x="84" y="63"/>
                      <a:pt x="82" y="63"/>
                    </a:cubicBezTo>
                    <a:cubicBezTo>
                      <a:pt x="82" y="63"/>
                      <a:pt x="82" y="63"/>
                      <a:pt x="81" y="63"/>
                    </a:cubicBezTo>
                    <a:cubicBezTo>
                      <a:pt x="81" y="64"/>
                      <a:pt x="81" y="65"/>
                      <a:pt x="81" y="65"/>
                    </a:cubicBezTo>
                    <a:cubicBezTo>
                      <a:pt x="80" y="66"/>
                      <a:pt x="79" y="67"/>
                      <a:pt x="77" y="67"/>
                    </a:cubicBezTo>
                    <a:cubicBezTo>
                      <a:pt x="43" y="68"/>
                      <a:pt x="43" y="68"/>
                      <a:pt x="43" y="68"/>
                    </a:cubicBezTo>
                    <a:cubicBezTo>
                      <a:pt x="43" y="68"/>
                      <a:pt x="42" y="68"/>
                      <a:pt x="42" y="68"/>
                    </a:cubicBezTo>
                    <a:cubicBezTo>
                      <a:pt x="41" y="68"/>
                      <a:pt x="40" y="68"/>
                      <a:pt x="39" y="67"/>
                    </a:cubicBezTo>
                    <a:cubicBezTo>
                      <a:pt x="36" y="67"/>
                      <a:pt x="36" y="65"/>
                      <a:pt x="35" y="62"/>
                    </a:cubicBezTo>
                    <a:cubicBezTo>
                      <a:pt x="35" y="62"/>
                      <a:pt x="35" y="62"/>
                      <a:pt x="35" y="62"/>
                    </a:cubicBezTo>
                    <a:cubicBezTo>
                      <a:pt x="35" y="60"/>
                      <a:pt x="30" y="55"/>
                      <a:pt x="24" y="50"/>
                    </a:cubicBezTo>
                    <a:cubicBezTo>
                      <a:pt x="12" y="42"/>
                      <a:pt x="12" y="42"/>
                      <a:pt x="12" y="42"/>
                    </a:cubicBezTo>
                    <a:cubicBezTo>
                      <a:pt x="11" y="41"/>
                      <a:pt x="10" y="40"/>
                      <a:pt x="9" y="40"/>
                    </a:cubicBezTo>
                    <a:cubicBezTo>
                      <a:pt x="9" y="40"/>
                      <a:pt x="9" y="40"/>
                      <a:pt x="9" y="40"/>
                    </a:cubicBezTo>
                    <a:cubicBezTo>
                      <a:pt x="9" y="40"/>
                      <a:pt x="8" y="40"/>
                      <a:pt x="7" y="40"/>
                    </a:cubicBezTo>
                    <a:cubicBezTo>
                      <a:pt x="6" y="41"/>
                      <a:pt x="6" y="41"/>
                      <a:pt x="5" y="41"/>
                    </a:cubicBezTo>
                    <a:cubicBezTo>
                      <a:pt x="5" y="41"/>
                      <a:pt x="5" y="42"/>
                      <a:pt x="5" y="42"/>
                    </a:cubicBezTo>
                    <a:cubicBezTo>
                      <a:pt x="5" y="43"/>
                      <a:pt x="5" y="44"/>
                      <a:pt x="5" y="46"/>
                    </a:cubicBezTo>
                    <a:cubicBezTo>
                      <a:pt x="5" y="46"/>
                      <a:pt x="5" y="48"/>
                      <a:pt x="2" y="50"/>
                    </a:cubicBezTo>
                    <a:cubicBezTo>
                      <a:pt x="1" y="51"/>
                      <a:pt x="1" y="51"/>
                      <a:pt x="1" y="51"/>
                    </a:cubicBezTo>
                    <a:cubicBezTo>
                      <a:pt x="0" y="51"/>
                      <a:pt x="0" y="51"/>
                      <a:pt x="0" y="51"/>
                    </a:cubicBezTo>
                    <a:cubicBezTo>
                      <a:pt x="63" y="87"/>
                      <a:pt x="63" y="87"/>
                      <a:pt x="63" y="87"/>
                    </a:cubicBezTo>
                    <a:cubicBezTo>
                      <a:pt x="67" y="90"/>
                      <a:pt x="69" y="92"/>
                      <a:pt x="73" y="95"/>
                    </a:cubicBezTo>
                    <a:cubicBezTo>
                      <a:pt x="75" y="98"/>
                      <a:pt x="75" y="98"/>
                      <a:pt x="75" y="98"/>
                    </a:cubicBezTo>
                    <a:cubicBezTo>
                      <a:pt x="76" y="99"/>
                      <a:pt x="76" y="99"/>
                      <a:pt x="77" y="100"/>
                    </a:cubicBezTo>
                    <a:cubicBezTo>
                      <a:pt x="78" y="101"/>
                      <a:pt x="78" y="102"/>
                      <a:pt x="78" y="103"/>
                    </a:cubicBezTo>
                    <a:cubicBezTo>
                      <a:pt x="78" y="104"/>
                      <a:pt x="78" y="104"/>
                      <a:pt x="78" y="104"/>
                    </a:cubicBezTo>
                    <a:cubicBezTo>
                      <a:pt x="78" y="104"/>
                      <a:pt x="78" y="104"/>
                      <a:pt x="78" y="104"/>
                    </a:cubicBezTo>
                    <a:cubicBezTo>
                      <a:pt x="78" y="107"/>
                      <a:pt x="76" y="107"/>
                      <a:pt x="75" y="108"/>
                    </a:cubicBezTo>
                    <a:cubicBezTo>
                      <a:pt x="74" y="109"/>
                      <a:pt x="75" y="111"/>
                      <a:pt x="75" y="113"/>
                    </a:cubicBezTo>
                    <a:cubicBezTo>
                      <a:pt x="75" y="114"/>
                      <a:pt x="75" y="116"/>
                      <a:pt x="75" y="117"/>
                    </a:cubicBezTo>
                    <a:cubicBezTo>
                      <a:pt x="75" y="119"/>
                      <a:pt x="75" y="121"/>
                      <a:pt x="74" y="123"/>
                    </a:cubicBezTo>
                    <a:cubicBezTo>
                      <a:pt x="74" y="123"/>
                      <a:pt x="74" y="123"/>
                      <a:pt x="74" y="123"/>
                    </a:cubicBezTo>
                    <a:cubicBezTo>
                      <a:pt x="74" y="123"/>
                      <a:pt x="74" y="123"/>
                      <a:pt x="74" y="123"/>
                    </a:cubicBezTo>
                    <a:cubicBezTo>
                      <a:pt x="74" y="124"/>
                      <a:pt x="75" y="124"/>
                      <a:pt x="75" y="124"/>
                    </a:cubicBezTo>
                    <a:cubicBezTo>
                      <a:pt x="78" y="125"/>
                      <a:pt x="81" y="128"/>
                      <a:pt x="82" y="130"/>
                    </a:cubicBezTo>
                    <a:cubicBezTo>
                      <a:pt x="82" y="131"/>
                      <a:pt x="82" y="131"/>
                      <a:pt x="82" y="131"/>
                    </a:cubicBezTo>
                    <a:cubicBezTo>
                      <a:pt x="83" y="133"/>
                      <a:pt x="82" y="134"/>
                      <a:pt x="81" y="136"/>
                    </a:cubicBezTo>
                    <a:cubicBezTo>
                      <a:pt x="80" y="137"/>
                      <a:pt x="80" y="137"/>
                      <a:pt x="80" y="137"/>
                    </a:cubicBezTo>
                    <a:cubicBezTo>
                      <a:pt x="79" y="137"/>
                      <a:pt x="78" y="138"/>
                      <a:pt x="78" y="139"/>
                    </a:cubicBezTo>
                    <a:cubicBezTo>
                      <a:pt x="77" y="139"/>
                      <a:pt x="77" y="140"/>
                      <a:pt x="77" y="140"/>
                    </a:cubicBezTo>
                    <a:cubicBezTo>
                      <a:pt x="77" y="142"/>
                      <a:pt x="80" y="145"/>
                      <a:pt x="82" y="148"/>
                    </a:cubicBezTo>
                    <a:cubicBezTo>
                      <a:pt x="83" y="149"/>
                      <a:pt x="84" y="150"/>
                      <a:pt x="85" y="151"/>
                    </a:cubicBezTo>
                    <a:cubicBezTo>
                      <a:pt x="85" y="152"/>
                      <a:pt x="85" y="152"/>
                      <a:pt x="85" y="152"/>
                    </a:cubicBezTo>
                    <a:cubicBezTo>
                      <a:pt x="86" y="153"/>
                      <a:pt x="87" y="154"/>
                      <a:pt x="88" y="156"/>
                    </a:cubicBezTo>
                    <a:cubicBezTo>
                      <a:pt x="88" y="157"/>
                      <a:pt x="88" y="158"/>
                      <a:pt x="88" y="159"/>
                    </a:cubicBezTo>
                    <a:cubicBezTo>
                      <a:pt x="87" y="165"/>
                      <a:pt x="87" y="165"/>
                      <a:pt x="87" y="165"/>
                    </a:cubicBezTo>
                    <a:cubicBezTo>
                      <a:pt x="85" y="163"/>
                      <a:pt x="85" y="163"/>
                      <a:pt x="85" y="163"/>
                    </a:cubicBezTo>
                    <a:cubicBezTo>
                      <a:pt x="85" y="164"/>
                      <a:pt x="85" y="164"/>
                      <a:pt x="85" y="164"/>
                    </a:cubicBezTo>
                    <a:cubicBezTo>
                      <a:pt x="85" y="165"/>
                      <a:pt x="85" y="165"/>
                      <a:pt x="85" y="165"/>
                    </a:cubicBezTo>
                    <a:cubicBezTo>
                      <a:pt x="84" y="167"/>
                      <a:pt x="83" y="169"/>
                      <a:pt x="82" y="171"/>
                    </a:cubicBezTo>
                    <a:cubicBezTo>
                      <a:pt x="81" y="174"/>
                      <a:pt x="79" y="178"/>
                      <a:pt x="79" y="180"/>
                    </a:cubicBezTo>
                    <a:cubicBezTo>
                      <a:pt x="79" y="181"/>
                      <a:pt x="79" y="181"/>
                      <a:pt x="79" y="182"/>
                    </a:cubicBezTo>
                    <a:cubicBezTo>
                      <a:pt x="79" y="182"/>
                      <a:pt x="79" y="182"/>
                      <a:pt x="79" y="182"/>
                    </a:cubicBezTo>
                    <a:cubicBezTo>
                      <a:pt x="80" y="183"/>
                      <a:pt x="80" y="183"/>
                      <a:pt x="80" y="183"/>
                    </a:cubicBezTo>
                    <a:cubicBezTo>
                      <a:pt x="80" y="183"/>
                      <a:pt x="81" y="184"/>
                      <a:pt x="82" y="185"/>
                    </a:cubicBezTo>
                    <a:cubicBezTo>
                      <a:pt x="83" y="186"/>
                      <a:pt x="85" y="187"/>
                      <a:pt x="86" y="190"/>
                    </a:cubicBezTo>
                    <a:cubicBezTo>
                      <a:pt x="92" y="205"/>
                      <a:pt x="92" y="205"/>
                      <a:pt x="92" y="205"/>
                    </a:cubicBezTo>
                    <a:cubicBezTo>
                      <a:pt x="91" y="206"/>
                      <a:pt x="91" y="206"/>
                      <a:pt x="91" y="206"/>
                    </a:cubicBezTo>
                    <a:cubicBezTo>
                      <a:pt x="93" y="206"/>
                      <a:pt x="98" y="207"/>
                      <a:pt x="99" y="208"/>
                    </a:cubicBezTo>
                    <a:cubicBezTo>
                      <a:pt x="103" y="211"/>
                      <a:pt x="105" y="212"/>
                      <a:pt x="109" y="214"/>
                    </a:cubicBezTo>
                    <a:cubicBezTo>
                      <a:pt x="112" y="215"/>
                      <a:pt x="119" y="216"/>
                      <a:pt x="121" y="219"/>
                    </a:cubicBezTo>
                    <a:cubicBezTo>
                      <a:pt x="122" y="221"/>
                      <a:pt x="122" y="228"/>
                      <a:pt x="122" y="231"/>
                    </a:cubicBezTo>
                    <a:cubicBezTo>
                      <a:pt x="121" y="234"/>
                      <a:pt x="118" y="235"/>
                      <a:pt x="120" y="237"/>
                    </a:cubicBezTo>
                    <a:cubicBezTo>
                      <a:pt x="121" y="238"/>
                      <a:pt x="123" y="238"/>
                      <a:pt x="124" y="239"/>
                    </a:cubicBezTo>
                    <a:cubicBezTo>
                      <a:pt x="125" y="241"/>
                      <a:pt x="126" y="243"/>
                      <a:pt x="127" y="245"/>
                    </a:cubicBezTo>
                    <a:cubicBezTo>
                      <a:pt x="124" y="244"/>
                      <a:pt x="122" y="243"/>
                      <a:pt x="121" y="243"/>
                    </a:cubicBezTo>
                    <a:cubicBezTo>
                      <a:pt x="120" y="243"/>
                      <a:pt x="120" y="245"/>
                      <a:pt x="124" y="248"/>
                    </a:cubicBezTo>
                    <a:cubicBezTo>
                      <a:pt x="123" y="250"/>
                      <a:pt x="121" y="250"/>
                      <a:pt x="120" y="250"/>
                    </a:cubicBezTo>
                    <a:cubicBezTo>
                      <a:pt x="119" y="250"/>
                      <a:pt x="117" y="249"/>
                      <a:pt x="115" y="248"/>
                    </a:cubicBezTo>
                    <a:cubicBezTo>
                      <a:pt x="114" y="248"/>
                      <a:pt x="114" y="248"/>
                      <a:pt x="113" y="248"/>
                    </a:cubicBezTo>
                    <a:cubicBezTo>
                      <a:pt x="111" y="248"/>
                      <a:pt x="108" y="250"/>
                      <a:pt x="106" y="251"/>
                    </a:cubicBezTo>
                    <a:cubicBezTo>
                      <a:pt x="102" y="252"/>
                      <a:pt x="101" y="253"/>
                      <a:pt x="99" y="256"/>
                    </a:cubicBezTo>
                    <a:cubicBezTo>
                      <a:pt x="97" y="259"/>
                      <a:pt x="96" y="263"/>
                      <a:pt x="94" y="265"/>
                    </a:cubicBezTo>
                    <a:cubicBezTo>
                      <a:pt x="88" y="269"/>
                      <a:pt x="83" y="274"/>
                      <a:pt x="78" y="280"/>
                    </a:cubicBezTo>
                    <a:cubicBezTo>
                      <a:pt x="77" y="281"/>
                      <a:pt x="75" y="286"/>
                      <a:pt x="74" y="286"/>
                    </a:cubicBezTo>
                    <a:cubicBezTo>
                      <a:pt x="74" y="286"/>
                      <a:pt x="74" y="286"/>
                      <a:pt x="74" y="286"/>
                    </a:cubicBezTo>
                    <a:cubicBezTo>
                      <a:pt x="73" y="286"/>
                      <a:pt x="70" y="285"/>
                      <a:pt x="69" y="285"/>
                    </a:cubicBezTo>
                    <a:cubicBezTo>
                      <a:pt x="68" y="285"/>
                      <a:pt x="68" y="285"/>
                      <a:pt x="68" y="286"/>
                    </a:cubicBezTo>
                    <a:cubicBezTo>
                      <a:pt x="67" y="288"/>
                      <a:pt x="69" y="291"/>
                      <a:pt x="67" y="292"/>
                    </a:cubicBezTo>
                    <a:cubicBezTo>
                      <a:pt x="62" y="293"/>
                      <a:pt x="61" y="295"/>
                      <a:pt x="58" y="298"/>
                    </a:cubicBezTo>
                    <a:cubicBezTo>
                      <a:pt x="56" y="300"/>
                      <a:pt x="54" y="302"/>
                      <a:pt x="51" y="303"/>
                    </a:cubicBezTo>
                    <a:cubicBezTo>
                      <a:pt x="48" y="304"/>
                      <a:pt x="44" y="305"/>
                      <a:pt x="41" y="307"/>
                    </a:cubicBezTo>
                    <a:cubicBezTo>
                      <a:pt x="39" y="308"/>
                      <a:pt x="33" y="311"/>
                      <a:pt x="36" y="314"/>
                    </a:cubicBezTo>
                    <a:cubicBezTo>
                      <a:pt x="39" y="318"/>
                      <a:pt x="40" y="319"/>
                      <a:pt x="35" y="322"/>
                    </a:cubicBezTo>
                    <a:cubicBezTo>
                      <a:pt x="33" y="323"/>
                      <a:pt x="30" y="323"/>
                      <a:pt x="29" y="326"/>
                    </a:cubicBezTo>
                    <a:cubicBezTo>
                      <a:pt x="28" y="323"/>
                      <a:pt x="28" y="321"/>
                      <a:pt x="25" y="321"/>
                    </a:cubicBezTo>
                    <a:cubicBezTo>
                      <a:pt x="25" y="321"/>
                      <a:pt x="24" y="321"/>
                      <a:pt x="24" y="321"/>
                    </a:cubicBezTo>
                    <a:cubicBezTo>
                      <a:pt x="19" y="322"/>
                      <a:pt x="18" y="322"/>
                      <a:pt x="15" y="326"/>
                    </a:cubicBezTo>
                    <a:cubicBezTo>
                      <a:pt x="15" y="326"/>
                      <a:pt x="19" y="330"/>
                      <a:pt x="19" y="330"/>
                    </a:cubicBezTo>
                    <a:cubicBezTo>
                      <a:pt x="20" y="333"/>
                      <a:pt x="16" y="333"/>
                      <a:pt x="14" y="334"/>
                    </a:cubicBezTo>
                    <a:cubicBezTo>
                      <a:pt x="10" y="335"/>
                      <a:pt x="7" y="339"/>
                      <a:pt x="5" y="343"/>
                    </a:cubicBezTo>
                    <a:cubicBezTo>
                      <a:pt x="2" y="348"/>
                      <a:pt x="3" y="350"/>
                      <a:pt x="4" y="356"/>
                    </a:cubicBezTo>
                    <a:cubicBezTo>
                      <a:pt x="4" y="358"/>
                      <a:pt x="5" y="360"/>
                      <a:pt x="6" y="361"/>
                    </a:cubicBezTo>
                    <a:cubicBezTo>
                      <a:pt x="7" y="363"/>
                      <a:pt x="9" y="362"/>
                      <a:pt x="10" y="364"/>
                    </a:cubicBezTo>
                    <a:cubicBezTo>
                      <a:pt x="12" y="369"/>
                      <a:pt x="11" y="371"/>
                      <a:pt x="9" y="376"/>
                    </a:cubicBezTo>
                    <a:cubicBezTo>
                      <a:pt x="8" y="381"/>
                      <a:pt x="12" y="384"/>
                      <a:pt x="15" y="388"/>
                    </a:cubicBezTo>
                    <a:cubicBezTo>
                      <a:pt x="17" y="391"/>
                      <a:pt x="18" y="394"/>
                      <a:pt x="20" y="397"/>
                    </a:cubicBezTo>
                    <a:cubicBezTo>
                      <a:pt x="18" y="397"/>
                      <a:pt x="16" y="396"/>
                      <a:pt x="14" y="396"/>
                    </a:cubicBezTo>
                    <a:cubicBezTo>
                      <a:pt x="14" y="396"/>
                      <a:pt x="13" y="396"/>
                      <a:pt x="13" y="397"/>
                    </a:cubicBezTo>
                    <a:cubicBezTo>
                      <a:pt x="14" y="398"/>
                      <a:pt x="13" y="400"/>
                      <a:pt x="13" y="402"/>
                    </a:cubicBezTo>
                    <a:cubicBezTo>
                      <a:pt x="13" y="404"/>
                      <a:pt x="16" y="406"/>
                      <a:pt x="15" y="408"/>
                    </a:cubicBezTo>
                    <a:cubicBezTo>
                      <a:pt x="15" y="412"/>
                      <a:pt x="15" y="413"/>
                      <a:pt x="12" y="415"/>
                    </a:cubicBezTo>
                    <a:cubicBezTo>
                      <a:pt x="8" y="418"/>
                      <a:pt x="8" y="417"/>
                      <a:pt x="10" y="421"/>
                    </a:cubicBezTo>
                    <a:cubicBezTo>
                      <a:pt x="11" y="424"/>
                      <a:pt x="12" y="426"/>
                      <a:pt x="12" y="429"/>
                    </a:cubicBezTo>
                    <a:cubicBezTo>
                      <a:pt x="12" y="431"/>
                      <a:pt x="11" y="435"/>
                      <a:pt x="12" y="437"/>
                    </a:cubicBezTo>
                    <a:cubicBezTo>
                      <a:pt x="13" y="439"/>
                      <a:pt x="15" y="442"/>
                      <a:pt x="17" y="442"/>
                    </a:cubicBezTo>
                    <a:cubicBezTo>
                      <a:pt x="17" y="442"/>
                      <a:pt x="17" y="442"/>
                      <a:pt x="17" y="442"/>
                    </a:cubicBezTo>
                    <a:cubicBezTo>
                      <a:pt x="19" y="442"/>
                      <a:pt x="20" y="439"/>
                      <a:pt x="19" y="438"/>
                    </a:cubicBezTo>
                    <a:cubicBezTo>
                      <a:pt x="24" y="438"/>
                      <a:pt x="27" y="442"/>
                      <a:pt x="31" y="444"/>
                    </a:cubicBezTo>
                    <a:cubicBezTo>
                      <a:pt x="33" y="445"/>
                      <a:pt x="45" y="448"/>
                      <a:pt x="45" y="449"/>
                    </a:cubicBezTo>
                    <a:cubicBezTo>
                      <a:pt x="44" y="452"/>
                      <a:pt x="43" y="454"/>
                      <a:pt x="45" y="454"/>
                    </a:cubicBezTo>
                    <a:cubicBezTo>
                      <a:pt x="45" y="454"/>
                      <a:pt x="46" y="454"/>
                      <a:pt x="47" y="454"/>
                    </a:cubicBezTo>
                    <a:cubicBezTo>
                      <a:pt x="51" y="453"/>
                      <a:pt x="55" y="450"/>
                      <a:pt x="58" y="448"/>
                    </a:cubicBezTo>
                    <a:cubicBezTo>
                      <a:pt x="58" y="450"/>
                      <a:pt x="56" y="452"/>
                      <a:pt x="54" y="454"/>
                    </a:cubicBezTo>
                    <a:cubicBezTo>
                      <a:pt x="55" y="453"/>
                      <a:pt x="55" y="452"/>
                      <a:pt x="55" y="451"/>
                    </a:cubicBezTo>
                    <a:cubicBezTo>
                      <a:pt x="53" y="451"/>
                      <a:pt x="53" y="453"/>
                      <a:pt x="51" y="454"/>
                    </a:cubicBezTo>
                    <a:cubicBezTo>
                      <a:pt x="50" y="454"/>
                      <a:pt x="47" y="454"/>
                      <a:pt x="45" y="455"/>
                    </a:cubicBezTo>
                    <a:cubicBezTo>
                      <a:pt x="45" y="455"/>
                      <a:pt x="41" y="455"/>
                      <a:pt x="41" y="456"/>
                    </a:cubicBezTo>
                    <a:cubicBezTo>
                      <a:pt x="39" y="458"/>
                      <a:pt x="44" y="457"/>
                      <a:pt x="45" y="458"/>
                    </a:cubicBezTo>
                    <a:cubicBezTo>
                      <a:pt x="45" y="458"/>
                      <a:pt x="44" y="458"/>
                      <a:pt x="44" y="458"/>
                    </a:cubicBezTo>
                    <a:cubicBezTo>
                      <a:pt x="42" y="458"/>
                      <a:pt x="41" y="458"/>
                      <a:pt x="42" y="460"/>
                    </a:cubicBezTo>
                    <a:cubicBezTo>
                      <a:pt x="41" y="460"/>
                      <a:pt x="41" y="460"/>
                      <a:pt x="41" y="460"/>
                    </a:cubicBezTo>
                    <a:cubicBezTo>
                      <a:pt x="39" y="460"/>
                      <a:pt x="40" y="462"/>
                      <a:pt x="39" y="464"/>
                    </a:cubicBezTo>
                    <a:cubicBezTo>
                      <a:pt x="45" y="464"/>
                      <a:pt x="49" y="465"/>
                      <a:pt x="51" y="460"/>
                    </a:cubicBezTo>
                    <a:cubicBezTo>
                      <a:pt x="52" y="459"/>
                      <a:pt x="53" y="458"/>
                      <a:pt x="53" y="457"/>
                    </a:cubicBezTo>
                    <a:cubicBezTo>
                      <a:pt x="53" y="457"/>
                      <a:pt x="53" y="457"/>
                      <a:pt x="53" y="457"/>
                    </a:cubicBezTo>
                    <a:cubicBezTo>
                      <a:pt x="54" y="460"/>
                      <a:pt x="61" y="461"/>
                      <a:pt x="63" y="462"/>
                    </a:cubicBezTo>
                    <a:cubicBezTo>
                      <a:pt x="63" y="463"/>
                      <a:pt x="61" y="466"/>
                      <a:pt x="61" y="468"/>
                    </a:cubicBezTo>
                    <a:cubicBezTo>
                      <a:pt x="62" y="467"/>
                      <a:pt x="63" y="465"/>
                      <a:pt x="65" y="464"/>
                    </a:cubicBezTo>
                    <a:cubicBezTo>
                      <a:pt x="64" y="466"/>
                      <a:pt x="63" y="467"/>
                      <a:pt x="61" y="468"/>
                    </a:cubicBezTo>
                    <a:cubicBezTo>
                      <a:pt x="67" y="465"/>
                      <a:pt x="70" y="464"/>
                      <a:pt x="75" y="464"/>
                    </a:cubicBezTo>
                    <a:cubicBezTo>
                      <a:pt x="76" y="464"/>
                      <a:pt x="77" y="464"/>
                      <a:pt x="78" y="464"/>
                    </a:cubicBezTo>
                    <a:cubicBezTo>
                      <a:pt x="78" y="464"/>
                      <a:pt x="78" y="464"/>
                      <a:pt x="78" y="464"/>
                    </a:cubicBezTo>
                    <a:cubicBezTo>
                      <a:pt x="82" y="464"/>
                      <a:pt x="90" y="463"/>
                      <a:pt x="92" y="461"/>
                    </a:cubicBezTo>
                    <a:cubicBezTo>
                      <a:pt x="93" y="461"/>
                      <a:pt x="93" y="461"/>
                      <a:pt x="94" y="461"/>
                    </a:cubicBezTo>
                    <a:cubicBezTo>
                      <a:pt x="95" y="461"/>
                      <a:pt x="95" y="462"/>
                      <a:pt x="96" y="462"/>
                    </a:cubicBezTo>
                    <a:cubicBezTo>
                      <a:pt x="97" y="463"/>
                      <a:pt x="97" y="464"/>
                      <a:pt x="98" y="464"/>
                    </a:cubicBezTo>
                    <a:cubicBezTo>
                      <a:pt x="98" y="464"/>
                      <a:pt x="99" y="464"/>
                      <a:pt x="99" y="463"/>
                    </a:cubicBezTo>
                    <a:cubicBezTo>
                      <a:pt x="101" y="462"/>
                      <a:pt x="101" y="459"/>
                      <a:pt x="100" y="457"/>
                    </a:cubicBezTo>
                    <a:cubicBezTo>
                      <a:pt x="106" y="455"/>
                      <a:pt x="113" y="456"/>
                      <a:pt x="119" y="455"/>
                    </a:cubicBezTo>
                    <a:cubicBezTo>
                      <a:pt x="121" y="454"/>
                      <a:pt x="126" y="454"/>
                      <a:pt x="128" y="452"/>
                    </a:cubicBezTo>
                    <a:cubicBezTo>
                      <a:pt x="130" y="451"/>
                      <a:pt x="131" y="449"/>
                      <a:pt x="133" y="448"/>
                    </a:cubicBezTo>
                    <a:cubicBezTo>
                      <a:pt x="134" y="450"/>
                      <a:pt x="138" y="452"/>
                      <a:pt x="140" y="453"/>
                    </a:cubicBezTo>
                    <a:cubicBezTo>
                      <a:pt x="139" y="451"/>
                      <a:pt x="140" y="450"/>
                      <a:pt x="140" y="448"/>
                    </a:cubicBezTo>
                    <a:cubicBezTo>
                      <a:pt x="141" y="449"/>
                      <a:pt x="142" y="449"/>
                      <a:pt x="144" y="449"/>
                    </a:cubicBezTo>
                    <a:cubicBezTo>
                      <a:pt x="144" y="449"/>
                      <a:pt x="144" y="449"/>
                      <a:pt x="145" y="449"/>
                    </a:cubicBezTo>
                    <a:cubicBezTo>
                      <a:pt x="143" y="449"/>
                      <a:pt x="143" y="447"/>
                      <a:pt x="142" y="446"/>
                    </a:cubicBezTo>
                    <a:cubicBezTo>
                      <a:pt x="142" y="445"/>
                      <a:pt x="142" y="444"/>
                      <a:pt x="142" y="444"/>
                    </a:cubicBezTo>
                    <a:cubicBezTo>
                      <a:pt x="143" y="444"/>
                      <a:pt x="144" y="445"/>
                      <a:pt x="145" y="445"/>
                    </a:cubicBezTo>
                    <a:cubicBezTo>
                      <a:pt x="146" y="446"/>
                      <a:pt x="148" y="446"/>
                      <a:pt x="149" y="446"/>
                    </a:cubicBezTo>
                    <a:cubicBezTo>
                      <a:pt x="149" y="446"/>
                      <a:pt x="150" y="446"/>
                      <a:pt x="150" y="446"/>
                    </a:cubicBezTo>
                    <a:cubicBezTo>
                      <a:pt x="156" y="443"/>
                      <a:pt x="162" y="442"/>
                      <a:pt x="169" y="442"/>
                    </a:cubicBezTo>
                    <a:cubicBezTo>
                      <a:pt x="172" y="442"/>
                      <a:pt x="176" y="442"/>
                      <a:pt x="179" y="442"/>
                    </a:cubicBezTo>
                    <a:cubicBezTo>
                      <a:pt x="180" y="440"/>
                      <a:pt x="180" y="440"/>
                      <a:pt x="180" y="440"/>
                    </a:cubicBezTo>
                    <a:cubicBezTo>
                      <a:pt x="181" y="440"/>
                      <a:pt x="181" y="440"/>
                      <a:pt x="181" y="440"/>
                    </a:cubicBezTo>
                    <a:cubicBezTo>
                      <a:pt x="181" y="440"/>
                      <a:pt x="182" y="440"/>
                      <a:pt x="182" y="440"/>
                    </a:cubicBezTo>
                    <a:cubicBezTo>
                      <a:pt x="185" y="440"/>
                      <a:pt x="189" y="438"/>
                      <a:pt x="193" y="436"/>
                    </a:cubicBezTo>
                    <a:cubicBezTo>
                      <a:pt x="203" y="426"/>
                      <a:pt x="215" y="417"/>
                      <a:pt x="227" y="409"/>
                    </a:cubicBezTo>
                    <a:cubicBezTo>
                      <a:pt x="236" y="403"/>
                      <a:pt x="244" y="395"/>
                      <a:pt x="252" y="387"/>
                    </a:cubicBezTo>
                    <a:cubicBezTo>
                      <a:pt x="255" y="383"/>
                      <a:pt x="258" y="380"/>
                      <a:pt x="261" y="377"/>
                    </a:cubicBezTo>
                    <a:cubicBezTo>
                      <a:pt x="266" y="372"/>
                      <a:pt x="272" y="367"/>
                      <a:pt x="278" y="362"/>
                    </a:cubicBezTo>
                    <a:cubicBezTo>
                      <a:pt x="279" y="361"/>
                      <a:pt x="280" y="360"/>
                      <a:pt x="281" y="359"/>
                    </a:cubicBezTo>
                    <a:cubicBezTo>
                      <a:pt x="284" y="357"/>
                      <a:pt x="287" y="354"/>
                      <a:pt x="288" y="352"/>
                    </a:cubicBezTo>
                    <a:cubicBezTo>
                      <a:pt x="289" y="350"/>
                      <a:pt x="290" y="348"/>
                      <a:pt x="291" y="346"/>
                    </a:cubicBezTo>
                    <a:cubicBezTo>
                      <a:pt x="291" y="346"/>
                      <a:pt x="291" y="346"/>
                      <a:pt x="291" y="346"/>
                    </a:cubicBezTo>
                    <a:cubicBezTo>
                      <a:pt x="292" y="344"/>
                      <a:pt x="293" y="341"/>
                      <a:pt x="294" y="339"/>
                    </a:cubicBezTo>
                    <a:cubicBezTo>
                      <a:pt x="295" y="337"/>
                      <a:pt x="295" y="337"/>
                      <a:pt x="294" y="335"/>
                    </a:cubicBezTo>
                    <a:cubicBezTo>
                      <a:pt x="293" y="335"/>
                      <a:pt x="293" y="334"/>
                      <a:pt x="292" y="333"/>
                    </a:cubicBezTo>
                    <a:cubicBezTo>
                      <a:pt x="285" y="323"/>
                      <a:pt x="274" y="317"/>
                      <a:pt x="264" y="310"/>
                    </a:cubicBezTo>
                    <a:cubicBezTo>
                      <a:pt x="263" y="310"/>
                      <a:pt x="263" y="310"/>
                      <a:pt x="263" y="310"/>
                    </a:cubicBezTo>
                    <a:cubicBezTo>
                      <a:pt x="259" y="307"/>
                      <a:pt x="256" y="305"/>
                      <a:pt x="253" y="303"/>
                    </a:cubicBezTo>
                    <a:cubicBezTo>
                      <a:pt x="248" y="299"/>
                      <a:pt x="248" y="299"/>
                      <a:pt x="248" y="299"/>
                    </a:cubicBezTo>
                    <a:cubicBezTo>
                      <a:pt x="253" y="297"/>
                      <a:pt x="253" y="297"/>
                      <a:pt x="253" y="297"/>
                    </a:cubicBezTo>
                    <a:cubicBezTo>
                      <a:pt x="258" y="294"/>
                      <a:pt x="261" y="292"/>
                      <a:pt x="265" y="288"/>
                    </a:cubicBezTo>
                    <a:cubicBezTo>
                      <a:pt x="267" y="286"/>
                      <a:pt x="267" y="286"/>
                      <a:pt x="267" y="286"/>
                    </a:cubicBezTo>
                    <a:cubicBezTo>
                      <a:pt x="268" y="285"/>
                      <a:pt x="270" y="282"/>
                      <a:pt x="268" y="280"/>
                    </a:cubicBezTo>
                    <a:cubicBezTo>
                      <a:pt x="268" y="279"/>
                      <a:pt x="264" y="278"/>
                      <a:pt x="262" y="277"/>
                    </a:cubicBezTo>
                    <a:cubicBezTo>
                      <a:pt x="261" y="277"/>
                      <a:pt x="260" y="276"/>
                      <a:pt x="259" y="276"/>
                    </a:cubicBezTo>
                    <a:cubicBezTo>
                      <a:pt x="256" y="274"/>
                      <a:pt x="254" y="269"/>
                      <a:pt x="252" y="266"/>
                    </a:cubicBezTo>
                    <a:cubicBezTo>
                      <a:pt x="252" y="265"/>
                      <a:pt x="252" y="265"/>
                      <a:pt x="252" y="265"/>
                    </a:cubicBezTo>
                    <a:cubicBezTo>
                      <a:pt x="252" y="264"/>
                      <a:pt x="252" y="263"/>
                      <a:pt x="251" y="263"/>
                    </a:cubicBezTo>
                    <a:cubicBezTo>
                      <a:pt x="250" y="260"/>
                      <a:pt x="250" y="260"/>
                      <a:pt x="250" y="260"/>
                    </a:cubicBezTo>
                    <a:cubicBezTo>
                      <a:pt x="253" y="258"/>
                      <a:pt x="253" y="258"/>
                      <a:pt x="253" y="258"/>
                    </a:cubicBezTo>
                    <a:cubicBezTo>
                      <a:pt x="254" y="258"/>
                      <a:pt x="254" y="258"/>
                      <a:pt x="255" y="258"/>
                    </a:cubicBezTo>
                    <a:cubicBezTo>
                      <a:pt x="256" y="257"/>
                      <a:pt x="256" y="257"/>
                      <a:pt x="256" y="257"/>
                    </a:cubicBezTo>
                    <a:cubicBezTo>
                      <a:pt x="256" y="257"/>
                      <a:pt x="256" y="257"/>
                      <a:pt x="256" y="257"/>
                    </a:cubicBezTo>
                    <a:cubicBezTo>
                      <a:pt x="254" y="256"/>
                      <a:pt x="254" y="256"/>
                      <a:pt x="251" y="256"/>
                    </a:cubicBezTo>
                    <a:cubicBezTo>
                      <a:pt x="246" y="255"/>
                      <a:pt x="242" y="250"/>
                      <a:pt x="241" y="245"/>
                    </a:cubicBezTo>
                    <a:cubicBezTo>
                      <a:pt x="240" y="240"/>
                      <a:pt x="244" y="237"/>
                      <a:pt x="246" y="236"/>
                    </a:cubicBezTo>
                    <a:cubicBezTo>
                      <a:pt x="245" y="236"/>
                      <a:pt x="245" y="236"/>
                      <a:pt x="245" y="236"/>
                    </a:cubicBezTo>
                    <a:cubicBezTo>
                      <a:pt x="245" y="235"/>
                      <a:pt x="244" y="235"/>
                      <a:pt x="244" y="235"/>
                    </a:cubicBezTo>
                    <a:cubicBezTo>
                      <a:pt x="239" y="233"/>
                      <a:pt x="241" y="229"/>
                      <a:pt x="241" y="226"/>
                    </a:cubicBezTo>
                    <a:cubicBezTo>
                      <a:pt x="242" y="225"/>
                      <a:pt x="242" y="225"/>
                      <a:pt x="242" y="225"/>
                    </a:cubicBezTo>
                    <a:cubicBezTo>
                      <a:pt x="242" y="224"/>
                      <a:pt x="242" y="224"/>
                      <a:pt x="242" y="224"/>
                    </a:cubicBezTo>
                    <a:cubicBezTo>
                      <a:pt x="242" y="224"/>
                      <a:pt x="242" y="224"/>
                      <a:pt x="242" y="224"/>
                    </a:cubicBezTo>
                    <a:cubicBezTo>
                      <a:pt x="243" y="221"/>
                      <a:pt x="245" y="218"/>
                      <a:pt x="245" y="216"/>
                    </a:cubicBezTo>
                    <a:cubicBezTo>
                      <a:pt x="245" y="216"/>
                      <a:pt x="245" y="215"/>
                      <a:pt x="244" y="215"/>
                    </a:cubicBezTo>
                    <a:cubicBezTo>
                      <a:pt x="241" y="211"/>
                      <a:pt x="241" y="211"/>
                      <a:pt x="241" y="211"/>
                    </a:cubicBezTo>
                    <a:cubicBezTo>
                      <a:pt x="246" y="210"/>
                      <a:pt x="246" y="210"/>
                      <a:pt x="246" y="210"/>
                    </a:cubicBezTo>
                    <a:cubicBezTo>
                      <a:pt x="248" y="209"/>
                      <a:pt x="251" y="209"/>
                      <a:pt x="253" y="209"/>
                    </a:cubicBezTo>
                    <a:cubicBezTo>
                      <a:pt x="239" y="176"/>
                      <a:pt x="239" y="176"/>
                      <a:pt x="239" y="176"/>
                    </a:cubicBezTo>
                    <a:cubicBezTo>
                      <a:pt x="238" y="172"/>
                      <a:pt x="235" y="169"/>
                      <a:pt x="233" y="166"/>
                    </a:cubicBezTo>
                    <a:cubicBezTo>
                      <a:pt x="233" y="165"/>
                      <a:pt x="232" y="164"/>
                      <a:pt x="231" y="163"/>
                    </a:cubicBezTo>
                    <a:cubicBezTo>
                      <a:pt x="231" y="163"/>
                      <a:pt x="231" y="162"/>
                      <a:pt x="230" y="162"/>
                    </a:cubicBezTo>
                    <a:cubicBezTo>
                      <a:pt x="230" y="162"/>
                      <a:pt x="230" y="162"/>
                      <a:pt x="230" y="162"/>
                    </a:cubicBezTo>
                    <a:cubicBezTo>
                      <a:pt x="229" y="161"/>
                      <a:pt x="227" y="159"/>
                      <a:pt x="226" y="157"/>
                    </a:cubicBezTo>
                    <a:cubicBezTo>
                      <a:pt x="225" y="156"/>
                      <a:pt x="225" y="154"/>
                      <a:pt x="225" y="153"/>
                    </a:cubicBezTo>
                    <a:cubicBezTo>
                      <a:pt x="225" y="151"/>
                      <a:pt x="225" y="149"/>
                      <a:pt x="226" y="148"/>
                    </a:cubicBezTo>
                    <a:cubicBezTo>
                      <a:pt x="250" y="116"/>
                      <a:pt x="250" y="116"/>
                      <a:pt x="250" y="116"/>
                    </a:cubicBezTo>
                    <a:cubicBezTo>
                      <a:pt x="249" y="115"/>
                      <a:pt x="247" y="114"/>
                      <a:pt x="246" y="114"/>
                    </a:cubicBezTo>
                    <a:cubicBezTo>
                      <a:pt x="246" y="113"/>
                      <a:pt x="245" y="113"/>
                      <a:pt x="245" y="113"/>
                    </a:cubicBezTo>
                    <a:cubicBezTo>
                      <a:pt x="242" y="110"/>
                      <a:pt x="240" y="107"/>
                      <a:pt x="239" y="105"/>
                    </a:cubicBezTo>
                    <a:cubicBezTo>
                      <a:pt x="237" y="102"/>
                      <a:pt x="235" y="99"/>
                      <a:pt x="231" y="98"/>
                    </a:cubicBezTo>
                    <a:cubicBezTo>
                      <a:pt x="231" y="98"/>
                      <a:pt x="230" y="98"/>
                      <a:pt x="230" y="98"/>
                    </a:cubicBezTo>
                    <a:cubicBezTo>
                      <a:pt x="230" y="98"/>
                      <a:pt x="229" y="98"/>
                      <a:pt x="228" y="98"/>
                    </a:cubicBezTo>
                    <a:cubicBezTo>
                      <a:pt x="228" y="97"/>
                      <a:pt x="228" y="97"/>
                      <a:pt x="228" y="97"/>
                    </a:cubicBezTo>
                    <a:cubicBezTo>
                      <a:pt x="223" y="97"/>
                      <a:pt x="218" y="96"/>
                      <a:pt x="216" y="93"/>
                    </a:cubicBezTo>
                    <a:cubicBezTo>
                      <a:pt x="213" y="91"/>
                      <a:pt x="212" y="87"/>
                      <a:pt x="211" y="84"/>
                    </a:cubicBezTo>
                    <a:cubicBezTo>
                      <a:pt x="211" y="83"/>
                      <a:pt x="211" y="83"/>
                      <a:pt x="211" y="83"/>
                    </a:cubicBezTo>
                    <a:cubicBezTo>
                      <a:pt x="210" y="82"/>
                      <a:pt x="210" y="81"/>
                      <a:pt x="210" y="80"/>
                    </a:cubicBezTo>
                    <a:cubicBezTo>
                      <a:pt x="208" y="76"/>
                      <a:pt x="210" y="72"/>
                      <a:pt x="211" y="69"/>
                    </a:cubicBezTo>
                    <a:cubicBezTo>
                      <a:pt x="212" y="68"/>
                      <a:pt x="212" y="68"/>
                      <a:pt x="212" y="68"/>
                    </a:cubicBezTo>
                    <a:cubicBezTo>
                      <a:pt x="212" y="68"/>
                      <a:pt x="212" y="67"/>
                      <a:pt x="212" y="67"/>
                    </a:cubicBezTo>
                    <a:cubicBezTo>
                      <a:pt x="213" y="65"/>
                      <a:pt x="213" y="65"/>
                      <a:pt x="213" y="65"/>
                    </a:cubicBezTo>
                    <a:cubicBezTo>
                      <a:pt x="213" y="63"/>
                      <a:pt x="214" y="62"/>
                      <a:pt x="214" y="61"/>
                    </a:cubicBezTo>
                    <a:cubicBezTo>
                      <a:pt x="214" y="61"/>
                      <a:pt x="214" y="61"/>
                      <a:pt x="214" y="61"/>
                    </a:cubicBezTo>
                    <a:cubicBezTo>
                      <a:pt x="212" y="61"/>
                      <a:pt x="210" y="61"/>
                      <a:pt x="209" y="60"/>
                    </a:cubicBezTo>
                    <a:cubicBezTo>
                      <a:pt x="203" y="56"/>
                      <a:pt x="203" y="56"/>
                      <a:pt x="203" y="56"/>
                    </a:cubicBezTo>
                    <a:cubicBezTo>
                      <a:pt x="209" y="53"/>
                      <a:pt x="209" y="53"/>
                      <a:pt x="209" y="53"/>
                    </a:cubicBezTo>
                    <a:cubicBezTo>
                      <a:pt x="211" y="52"/>
                      <a:pt x="213" y="52"/>
                      <a:pt x="215" y="51"/>
                    </a:cubicBezTo>
                    <a:cubicBezTo>
                      <a:pt x="220" y="49"/>
                      <a:pt x="220" y="49"/>
                      <a:pt x="220" y="49"/>
                    </a:cubicBezTo>
                    <a:cubicBezTo>
                      <a:pt x="220" y="49"/>
                      <a:pt x="221" y="49"/>
                      <a:pt x="222" y="49"/>
                    </a:cubicBezTo>
                    <a:cubicBezTo>
                      <a:pt x="222" y="48"/>
                      <a:pt x="222" y="48"/>
                      <a:pt x="222" y="48"/>
                    </a:cubicBezTo>
                    <a:cubicBezTo>
                      <a:pt x="223" y="48"/>
                      <a:pt x="223" y="48"/>
                      <a:pt x="223" y="48"/>
                    </a:cubicBezTo>
                    <a:cubicBezTo>
                      <a:pt x="222" y="47"/>
                      <a:pt x="222" y="47"/>
                      <a:pt x="222" y="47"/>
                    </a:cubicBezTo>
                    <a:cubicBezTo>
                      <a:pt x="222" y="47"/>
                      <a:pt x="222" y="47"/>
                      <a:pt x="222" y="47"/>
                    </a:cubicBezTo>
                    <a:cubicBezTo>
                      <a:pt x="222" y="47"/>
                      <a:pt x="222" y="47"/>
                      <a:pt x="222" y="47"/>
                    </a:cubicBezTo>
                    <a:cubicBezTo>
                      <a:pt x="222" y="46"/>
                      <a:pt x="222" y="46"/>
                      <a:pt x="222" y="46"/>
                    </a:cubicBezTo>
                    <a:cubicBezTo>
                      <a:pt x="222" y="45"/>
                      <a:pt x="222" y="44"/>
                      <a:pt x="222" y="43"/>
                    </a:cubicBezTo>
                    <a:cubicBezTo>
                      <a:pt x="221" y="42"/>
                      <a:pt x="222" y="41"/>
                      <a:pt x="222" y="41"/>
                    </a:cubicBezTo>
                    <a:cubicBezTo>
                      <a:pt x="222" y="39"/>
                      <a:pt x="222" y="38"/>
                      <a:pt x="223" y="37"/>
                    </a:cubicBezTo>
                    <a:cubicBezTo>
                      <a:pt x="225" y="34"/>
                      <a:pt x="225" y="34"/>
                      <a:pt x="225" y="34"/>
                    </a:cubicBezTo>
                    <a:cubicBezTo>
                      <a:pt x="226" y="33"/>
                      <a:pt x="227" y="32"/>
                      <a:pt x="228" y="31"/>
                    </a:cubicBezTo>
                    <a:cubicBezTo>
                      <a:pt x="229" y="30"/>
                      <a:pt x="230" y="28"/>
                      <a:pt x="231" y="27"/>
                    </a:cubicBezTo>
                    <a:cubicBezTo>
                      <a:pt x="231" y="27"/>
                      <a:pt x="231" y="27"/>
                      <a:pt x="231" y="27"/>
                    </a:cubicBezTo>
                    <a:cubicBezTo>
                      <a:pt x="232" y="26"/>
                      <a:pt x="232" y="26"/>
                      <a:pt x="232" y="25"/>
                    </a:cubicBezTo>
                    <a:cubicBezTo>
                      <a:pt x="231" y="23"/>
                      <a:pt x="227" y="20"/>
                      <a:pt x="222" y="17"/>
                    </a:cubicBezTo>
                    <a:cubicBezTo>
                      <a:pt x="220" y="16"/>
                      <a:pt x="218" y="15"/>
                      <a:pt x="216" y="15"/>
                    </a:cubicBezTo>
                    <a:cubicBezTo>
                      <a:pt x="211" y="12"/>
                      <a:pt x="211" y="12"/>
                      <a:pt x="211" y="12"/>
                    </a:cubicBezTo>
                    <a:cubicBezTo>
                      <a:pt x="207" y="11"/>
                      <a:pt x="205" y="9"/>
                      <a:pt x="204" y="8"/>
                    </a:cubicBezTo>
                    <a:cubicBezTo>
                      <a:pt x="203" y="8"/>
                      <a:pt x="202" y="7"/>
                      <a:pt x="201" y="6"/>
                    </a:cubicBezTo>
                    <a:cubicBezTo>
                      <a:pt x="201" y="6"/>
                      <a:pt x="201" y="6"/>
                      <a:pt x="201" y="6"/>
                    </a:cubicBezTo>
                    <a:cubicBezTo>
                      <a:pt x="200" y="5"/>
                      <a:pt x="200" y="5"/>
                      <a:pt x="200" y="5"/>
                    </a:cubicBezTo>
                    <a:cubicBezTo>
                      <a:pt x="196" y="2"/>
                      <a:pt x="194" y="0"/>
                      <a:pt x="19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39" name="Freeform 367">
                <a:extLst>
                  <a:ext uri="{FF2B5EF4-FFF2-40B4-BE49-F238E27FC236}">
                    <a16:creationId xmlns:a16="http://schemas.microsoft.com/office/drawing/2014/main" id="{7C050256-E3F5-4F04-9D43-54246A1083C9}"/>
                  </a:ext>
                </a:extLst>
              </p:cNvPr>
              <p:cNvSpPr>
                <a:spLocks/>
              </p:cNvSpPr>
              <p:nvPr/>
            </p:nvSpPr>
            <p:spPr bwMode="auto">
              <a:xfrm>
                <a:off x="7974590" y="4735374"/>
                <a:ext cx="582248" cy="246903"/>
              </a:xfrm>
              <a:custGeom>
                <a:avLst/>
                <a:gdLst>
                  <a:gd name="T0" fmla="*/ 0 w 183"/>
                  <a:gd name="T1" fmla="*/ 5 h 78"/>
                  <a:gd name="T2" fmla="*/ 13 w 183"/>
                  <a:gd name="T3" fmla="*/ 12 h 78"/>
                  <a:gd name="T4" fmla="*/ 40 w 183"/>
                  <a:gd name="T5" fmla="*/ 32 h 78"/>
                  <a:gd name="T6" fmla="*/ 47 w 183"/>
                  <a:gd name="T7" fmla="*/ 56 h 78"/>
                  <a:gd name="T8" fmla="*/ 43 w 183"/>
                  <a:gd name="T9" fmla="*/ 64 h 78"/>
                  <a:gd name="T10" fmla="*/ 49 w 183"/>
                  <a:gd name="T11" fmla="*/ 65 h 78"/>
                  <a:gd name="T12" fmla="*/ 56 w 183"/>
                  <a:gd name="T13" fmla="*/ 65 h 78"/>
                  <a:gd name="T14" fmla="*/ 66 w 183"/>
                  <a:gd name="T15" fmla="*/ 66 h 78"/>
                  <a:gd name="T16" fmla="*/ 74 w 183"/>
                  <a:gd name="T17" fmla="*/ 62 h 78"/>
                  <a:gd name="T18" fmla="*/ 82 w 183"/>
                  <a:gd name="T19" fmla="*/ 68 h 78"/>
                  <a:gd name="T20" fmla="*/ 84 w 183"/>
                  <a:gd name="T21" fmla="*/ 67 h 78"/>
                  <a:gd name="T22" fmla="*/ 86 w 183"/>
                  <a:gd name="T23" fmla="*/ 69 h 78"/>
                  <a:gd name="T24" fmla="*/ 92 w 183"/>
                  <a:gd name="T25" fmla="*/ 73 h 78"/>
                  <a:gd name="T26" fmla="*/ 96 w 183"/>
                  <a:gd name="T27" fmla="*/ 76 h 78"/>
                  <a:gd name="T28" fmla="*/ 97 w 183"/>
                  <a:gd name="T29" fmla="*/ 77 h 78"/>
                  <a:gd name="T30" fmla="*/ 101 w 183"/>
                  <a:gd name="T31" fmla="*/ 77 h 78"/>
                  <a:gd name="T32" fmla="*/ 124 w 183"/>
                  <a:gd name="T33" fmla="*/ 74 h 78"/>
                  <a:gd name="T34" fmla="*/ 128 w 183"/>
                  <a:gd name="T35" fmla="*/ 74 h 78"/>
                  <a:gd name="T36" fmla="*/ 132 w 183"/>
                  <a:gd name="T37" fmla="*/ 74 h 78"/>
                  <a:gd name="T38" fmla="*/ 132 w 183"/>
                  <a:gd name="T39" fmla="*/ 73 h 78"/>
                  <a:gd name="T40" fmla="*/ 142 w 183"/>
                  <a:gd name="T41" fmla="*/ 69 h 78"/>
                  <a:gd name="T42" fmla="*/ 149 w 183"/>
                  <a:gd name="T43" fmla="*/ 66 h 78"/>
                  <a:gd name="T44" fmla="*/ 158 w 183"/>
                  <a:gd name="T45" fmla="*/ 71 h 78"/>
                  <a:gd name="T46" fmla="*/ 162 w 183"/>
                  <a:gd name="T47" fmla="*/ 73 h 78"/>
                  <a:gd name="T48" fmla="*/ 179 w 183"/>
                  <a:gd name="T49" fmla="*/ 77 h 78"/>
                  <a:gd name="T50" fmla="*/ 182 w 183"/>
                  <a:gd name="T51" fmla="*/ 75 h 78"/>
                  <a:gd name="T52" fmla="*/ 172 w 183"/>
                  <a:gd name="T53" fmla="*/ 67 h 78"/>
                  <a:gd name="T54" fmla="*/ 175 w 183"/>
                  <a:gd name="T55" fmla="*/ 56 h 78"/>
                  <a:gd name="T56" fmla="*/ 157 w 183"/>
                  <a:gd name="T57" fmla="*/ 48 h 78"/>
                  <a:gd name="T58" fmla="*/ 155 w 183"/>
                  <a:gd name="T59" fmla="*/ 37 h 78"/>
                  <a:gd name="T60" fmla="*/ 138 w 183"/>
                  <a:gd name="T61" fmla="*/ 29 h 78"/>
                  <a:gd name="T62" fmla="*/ 135 w 183"/>
                  <a:gd name="T63" fmla="*/ 40 h 78"/>
                  <a:gd name="T64" fmla="*/ 127 w 183"/>
                  <a:gd name="T65" fmla="*/ 29 h 78"/>
                  <a:gd name="T66" fmla="*/ 120 w 183"/>
                  <a:gd name="T67" fmla="*/ 31 h 78"/>
                  <a:gd name="T68" fmla="*/ 107 w 183"/>
                  <a:gd name="T69" fmla="*/ 34 h 78"/>
                  <a:gd name="T70" fmla="*/ 100 w 183"/>
                  <a:gd name="T71" fmla="*/ 29 h 78"/>
                  <a:gd name="T72" fmla="*/ 100 w 183"/>
                  <a:gd name="T73" fmla="*/ 27 h 78"/>
                  <a:gd name="T74" fmla="*/ 67 w 183"/>
                  <a:gd name="T75" fmla="*/ 12 h 78"/>
                  <a:gd name="T76" fmla="*/ 56 w 183"/>
                  <a:gd name="T77" fmla="*/ 13 h 78"/>
                  <a:gd name="T78" fmla="*/ 15 w 183"/>
                  <a:gd name="T79" fmla="*/ 2 h 78"/>
                  <a:gd name="T80" fmla="*/ 11 w 183"/>
                  <a:gd name="T81" fmla="*/ 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3" h="78">
                    <a:moveTo>
                      <a:pt x="2" y="0"/>
                    </a:moveTo>
                    <a:cubicBezTo>
                      <a:pt x="2" y="1"/>
                      <a:pt x="1" y="3"/>
                      <a:pt x="0" y="5"/>
                    </a:cubicBezTo>
                    <a:cubicBezTo>
                      <a:pt x="0" y="6"/>
                      <a:pt x="0" y="6"/>
                      <a:pt x="0" y="6"/>
                    </a:cubicBezTo>
                    <a:cubicBezTo>
                      <a:pt x="4" y="9"/>
                      <a:pt x="8" y="11"/>
                      <a:pt x="13" y="12"/>
                    </a:cubicBezTo>
                    <a:cubicBezTo>
                      <a:pt x="19" y="14"/>
                      <a:pt x="25" y="15"/>
                      <a:pt x="28" y="21"/>
                    </a:cubicBezTo>
                    <a:cubicBezTo>
                      <a:pt x="31" y="27"/>
                      <a:pt x="39" y="26"/>
                      <a:pt x="40" y="32"/>
                    </a:cubicBezTo>
                    <a:cubicBezTo>
                      <a:pt x="41" y="36"/>
                      <a:pt x="42" y="46"/>
                      <a:pt x="47" y="46"/>
                    </a:cubicBezTo>
                    <a:cubicBezTo>
                      <a:pt x="44" y="50"/>
                      <a:pt x="48" y="52"/>
                      <a:pt x="47" y="56"/>
                    </a:cubicBezTo>
                    <a:cubicBezTo>
                      <a:pt x="46" y="60"/>
                      <a:pt x="45" y="62"/>
                      <a:pt x="43" y="64"/>
                    </a:cubicBezTo>
                    <a:cubicBezTo>
                      <a:pt x="43" y="64"/>
                      <a:pt x="43" y="64"/>
                      <a:pt x="43" y="64"/>
                    </a:cubicBezTo>
                    <a:cubicBezTo>
                      <a:pt x="44" y="65"/>
                      <a:pt x="45" y="65"/>
                      <a:pt x="46" y="65"/>
                    </a:cubicBezTo>
                    <a:cubicBezTo>
                      <a:pt x="47" y="65"/>
                      <a:pt x="48" y="65"/>
                      <a:pt x="49" y="65"/>
                    </a:cubicBezTo>
                    <a:cubicBezTo>
                      <a:pt x="51" y="65"/>
                      <a:pt x="52" y="65"/>
                      <a:pt x="53" y="65"/>
                    </a:cubicBezTo>
                    <a:cubicBezTo>
                      <a:pt x="54" y="65"/>
                      <a:pt x="55" y="65"/>
                      <a:pt x="56" y="65"/>
                    </a:cubicBezTo>
                    <a:cubicBezTo>
                      <a:pt x="58" y="65"/>
                      <a:pt x="58" y="65"/>
                      <a:pt x="58" y="65"/>
                    </a:cubicBezTo>
                    <a:cubicBezTo>
                      <a:pt x="61" y="65"/>
                      <a:pt x="63" y="66"/>
                      <a:pt x="66" y="66"/>
                    </a:cubicBezTo>
                    <a:cubicBezTo>
                      <a:pt x="67" y="64"/>
                      <a:pt x="69" y="62"/>
                      <a:pt x="71" y="62"/>
                    </a:cubicBezTo>
                    <a:cubicBezTo>
                      <a:pt x="72" y="62"/>
                      <a:pt x="73" y="62"/>
                      <a:pt x="74" y="62"/>
                    </a:cubicBezTo>
                    <a:cubicBezTo>
                      <a:pt x="77" y="62"/>
                      <a:pt x="80" y="63"/>
                      <a:pt x="83" y="66"/>
                    </a:cubicBezTo>
                    <a:cubicBezTo>
                      <a:pt x="82" y="68"/>
                      <a:pt x="82" y="68"/>
                      <a:pt x="82" y="68"/>
                    </a:cubicBezTo>
                    <a:cubicBezTo>
                      <a:pt x="83" y="67"/>
                      <a:pt x="83" y="67"/>
                      <a:pt x="83" y="67"/>
                    </a:cubicBezTo>
                    <a:cubicBezTo>
                      <a:pt x="84" y="67"/>
                      <a:pt x="84" y="67"/>
                      <a:pt x="84" y="67"/>
                    </a:cubicBezTo>
                    <a:cubicBezTo>
                      <a:pt x="84" y="68"/>
                      <a:pt x="85" y="68"/>
                      <a:pt x="85" y="68"/>
                    </a:cubicBezTo>
                    <a:cubicBezTo>
                      <a:pt x="85" y="69"/>
                      <a:pt x="86" y="69"/>
                      <a:pt x="86" y="69"/>
                    </a:cubicBezTo>
                    <a:cubicBezTo>
                      <a:pt x="87" y="70"/>
                      <a:pt x="87" y="70"/>
                      <a:pt x="87" y="70"/>
                    </a:cubicBezTo>
                    <a:cubicBezTo>
                      <a:pt x="89" y="71"/>
                      <a:pt x="90" y="72"/>
                      <a:pt x="92" y="73"/>
                    </a:cubicBezTo>
                    <a:cubicBezTo>
                      <a:pt x="93" y="74"/>
                      <a:pt x="93" y="74"/>
                      <a:pt x="93" y="74"/>
                    </a:cubicBezTo>
                    <a:cubicBezTo>
                      <a:pt x="94" y="75"/>
                      <a:pt x="95" y="76"/>
                      <a:pt x="96" y="76"/>
                    </a:cubicBezTo>
                    <a:cubicBezTo>
                      <a:pt x="97" y="77"/>
                      <a:pt x="97" y="77"/>
                      <a:pt x="97" y="77"/>
                    </a:cubicBezTo>
                    <a:cubicBezTo>
                      <a:pt x="97" y="77"/>
                      <a:pt x="97" y="77"/>
                      <a:pt x="97" y="77"/>
                    </a:cubicBezTo>
                    <a:cubicBezTo>
                      <a:pt x="98" y="77"/>
                      <a:pt x="98" y="77"/>
                      <a:pt x="98" y="77"/>
                    </a:cubicBezTo>
                    <a:cubicBezTo>
                      <a:pt x="101" y="77"/>
                      <a:pt x="101" y="77"/>
                      <a:pt x="101" y="77"/>
                    </a:cubicBezTo>
                    <a:cubicBezTo>
                      <a:pt x="106" y="76"/>
                      <a:pt x="112" y="76"/>
                      <a:pt x="118" y="75"/>
                    </a:cubicBezTo>
                    <a:cubicBezTo>
                      <a:pt x="120" y="74"/>
                      <a:pt x="122" y="74"/>
                      <a:pt x="124" y="74"/>
                    </a:cubicBezTo>
                    <a:cubicBezTo>
                      <a:pt x="125" y="74"/>
                      <a:pt x="126" y="74"/>
                      <a:pt x="127" y="74"/>
                    </a:cubicBezTo>
                    <a:cubicBezTo>
                      <a:pt x="128" y="74"/>
                      <a:pt x="128" y="74"/>
                      <a:pt x="128" y="74"/>
                    </a:cubicBezTo>
                    <a:cubicBezTo>
                      <a:pt x="129" y="74"/>
                      <a:pt x="130" y="74"/>
                      <a:pt x="131" y="74"/>
                    </a:cubicBezTo>
                    <a:cubicBezTo>
                      <a:pt x="132" y="74"/>
                      <a:pt x="132" y="74"/>
                      <a:pt x="132" y="74"/>
                    </a:cubicBezTo>
                    <a:cubicBezTo>
                      <a:pt x="132" y="74"/>
                      <a:pt x="133" y="74"/>
                      <a:pt x="133" y="74"/>
                    </a:cubicBezTo>
                    <a:cubicBezTo>
                      <a:pt x="132" y="73"/>
                      <a:pt x="132" y="73"/>
                      <a:pt x="132" y="73"/>
                    </a:cubicBezTo>
                    <a:cubicBezTo>
                      <a:pt x="138" y="72"/>
                      <a:pt x="138" y="72"/>
                      <a:pt x="138" y="72"/>
                    </a:cubicBezTo>
                    <a:cubicBezTo>
                      <a:pt x="139" y="71"/>
                      <a:pt x="141" y="70"/>
                      <a:pt x="142" y="69"/>
                    </a:cubicBezTo>
                    <a:cubicBezTo>
                      <a:pt x="144" y="68"/>
                      <a:pt x="144" y="68"/>
                      <a:pt x="144" y="68"/>
                    </a:cubicBezTo>
                    <a:cubicBezTo>
                      <a:pt x="146" y="67"/>
                      <a:pt x="147" y="66"/>
                      <a:pt x="149" y="66"/>
                    </a:cubicBezTo>
                    <a:cubicBezTo>
                      <a:pt x="149" y="66"/>
                      <a:pt x="150" y="66"/>
                      <a:pt x="150" y="66"/>
                    </a:cubicBezTo>
                    <a:cubicBezTo>
                      <a:pt x="154" y="68"/>
                      <a:pt x="156" y="69"/>
                      <a:pt x="158" y="71"/>
                    </a:cubicBezTo>
                    <a:cubicBezTo>
                      <a:pt x="159" y="71"/>
                      <a:pt x="159" y="71"/>
                      <a:pt x="159" y="71"/>
                    </a:cubicBezTo>
                    <a:cubicBezTo>
                      <a:pt x="160" y="72"/>
                      <a:pt x="161" y="73"/>
                      <a:pt x="162" y="73"/>
                    </a:cubicBezTo>
                    <a:cubicBezTo>
                      <a:pt x="163" y="74"/>
                      <a:pt x="164" y="74"/>
                      <a:pt x="165" y="74"/>
                    </a:cubicBezTo>
                    <a:cubicBezTo>
                      <a:pt x="169" y="76"/>
                      <a:pt x="174" y="76"/>
                      <a:pt x="179" y="77"/>
                    </a:cubicBezTo>
                    <a:cubicBezTo>
                      <a:pt x="180" y="77"/>
                      <a:pt x="181" y="77"/>
                      <a:pt x="182" y="78"/>
                    </a:cubicBezTo>
                    <a:cubicBezTo>
                      <a:pt x="183" y="75"/>
                      <a:pt x="183" y="75"/>
                      <a:pt x="182" y="75"/>
                    </a:cubicBezTo>
                    <a:cubicBezTo>
                      <a:pt x="180" y="73"/>
                      <a:pt x="178" y="72"/>
                      <a:pt x="177" y="70"/>
                    </a:cubicBezTo>
                    <a:cubicBezTo>
                      <a:pt x="175" y="69"/>
                      <a:pt x="174" y="68"/>
                      <a:pt x="172" y="67"/>
                    </a:cubicBezTo>
                    <a:cubicBezTo>
                      <a:pt x="168" y="65"/>
                      <a:pt x="168" y="65"/>
                      <a:pt x="168" y="65"/>
                    </a:cubicBezTo>
                    <a:cubicBezTo>
                      <a:pt x="175" y="56"/>
                      <a:pt x="175" y="56"/>
                      <a:pt x="175" y="56"/>
                    </a:cubicBezTo>
                    <a:cubicBezTo>
                      <a:pt x="174" y="55"/>
                      <a:pt x="174" y="55"/>
                      <a:pt x="173" y="55"/>
                    </a:cubicBezTo>
                    <a:cubicBezTo>
                      <a:pt x="168" y="54"/>
                      <a:pt x="157" y="48"/>
                      <a:pt x="157" y="48"/>
                    </a:cubicBezTo>
                    <a:cubicBezTo>
                      <a:pt x="156" y="47"/>
                      <a:pt x="155" y="46"/>
                      <a:pt x="155" y="44"/>
                    </a:cubicBezTo>
                    <a:cubicBezTo>
                      <a:pt x="154" y="42"/>
                      <a:pt x="154" y="40"/>
                      <a:pt x="155" y="37"/>
                    </a:cubicBezTo>
                    <a:cubicBezTo>
                      <a:pt x="150" y="36"/>
                      <a:pt x="142" y="32"/>
                      <a:pt x="138" y="30"/>
                    </a:cubicBezTo>
                    <a:cubicBezTo>
                      <a:pt x="138" y="29"/>
                      <a:pt x="138" y="29"/>
                      <a:pt x="138" y="29"/>
                    </a:cubicBezTo>
                    <a:cubicBezTo>
                      <a:pt x="137" y="30"/>
                      <a:pt x="137" y="30"/>
                      <a:pt x="137" y="31"/>
                    </a:cubicBezTo>
                    <a:cubicBezTo>
                      <a:pt x="135" y="40"/>
                      <a:pt x="135" y="40"/>
                      <a:pt x="135" y="40"/>
                    </a:cubicBezTo>
                    <a:cubicBezTo>
                      <a:pt x="131" y="32"/>
                      <a:pt x="131" y="32"/>
                      <a:pt x="131" y="32"/>
                    </a:cubicBezTo>
                    <a:cubicBezTo>
                      <a:pt x="130" y="30"/>
                      <a:pt x="129" y="30"/>
                      <a:pt x="127" y="29"/>
                    </a:cubicBezTo>
                    <a:cubicBezTo>
                      <a:pt x="127" y="29"/>
                      <a:pt x="127" y="29"/>
                      <a:pt x="127" y="29"/>
                    </a:cubicBezTo>
                    <a:cubicBezTo>
                      <a:pt x="125" y="29"/>
                      <a:pt x="123" y="30"/>
                      <a:pt x="120" y="31"/>
                    </a:cubicBezTo>
                    <a:cubicBezTo>
                      <a:pt x="116" y="34"/>
                      <a:pt x="113" y="35"/>
                      <a:pt x="111" y="35"/>
                    </a:cubicBezTo>
                    <a:cubicBezTo>
                      <a:pt x="109" y="35"/>
                      <a:pt x="108" y="35"/>
                      <a:pt x="107" y="34"/>
                    </a:cubicBezTo>
                    <a:cubicBezTo>
                      <a:pt x="107" y="34"/>
                      <a:pt x="102" y="33"/>
                      <a:pt x="100" y="30"/>
                    </a:cubicBezTo>
                    <a:cubicBezTo>
                      <a:pt x="100" y="29"/>
                      <a:pt x="100" y="29"/>
                      <a:pt x="100" y="29"/>
                    </a:cubicBezTo>
                    <a:cubicBezTo>
                      <a:pt x="100" y="27"/>
                      <a:pt x="100" y="27"/>
                      <a:pt x="100" y="27"/>
                    </a:cubicBezTo>
                    <a:cubicBezTo>
                      <a:pt x="100" y="27"/>
                      <a:pt x="100" y="27"/>
                      <a:pt x="100" y="27"/>
                    </a:cubicBezTo>
                    <a:cubicBezTo>
                      <a:pt x="94" y="26"/>
                      <a:pt x="81" y="19"/>
                      <a:pt x="79" y="16"/>
                    </a:cubicBezTo>
                    <a:cubicBezTo>
                      <a:pt x="77" y="15"/>
                      <a:pt x="72" y="12"/>
                      <a:pt x="67" y="12"/>
                    </a:cubicBezTo>
                    <a:cubicBezTo>
                      <a:pt x="65" y="12"/>
                      <a:pt x="63" y="12"/>
                      <a:pt x="62" y="13"/>
                    </a:cubicBezTo>
                    <a:cubicBezTo>
                      <a:pt x="60" y="13"/>
                      <a:pt x="58" y="13"/>
                      <a:pt x="56" y="13"/>
                    </a:cubicBezTo>
                    <a:cubicBezTo>
                      <a:pt x="44" y="13"/>
                      <a:pt x="25" y="7"/>
                      <a:pt x="22" y="5"/>
                    </a:cubicBezTo>
                    <a:cubicBezTo>
                      <a:pt x="19" y="3"/>
                      <a:pt x="16" y="2"/>
                      <a:pt x="15" y="2"/>
                    </a:cubicBezTo>
                    <a:cubicBezTo>
                      <a:pt x="14" y="2"/>
                      <a:pt x="14" y="2"/>
                      <a:pt x="14" y="2"/>
                    </a:cubicBezTo>
                    <a:cubicBezTo>
                      <a:pt x="13" y="2"/>
                      <a:pt x="12" y="2"/>
                      <a:pt x="11" y="2"/>
                    </a:cubicBezTo>
                    <a:cubicBezTo>
                      <a:pt x="9" y="2"/>
                      <a:pt x="5"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40" name="Freeform 368">
                <a:extLst>
                  <a:ext uri="{FF2B5EF4-FFF2-40B4-BE49-F238E27FC236}">
                    <a16:creationId xmlns:a16="http://schemas.microsoft.com/office/drawing/2014/main" id="{1E49C6F8-BCBA-43B1-BE14-8EA21E346181}"/>
                  </a:ext>
                </a:extLst>
              </p:cNvPr>
              <p:cNvSpPr>
                <a:spLocks/>
              </p:cNvSpPr>
              <p:nvPr/>
            </p:nvSpPr>
            <p:spPr bwMode="auto">
              <a:xfrm>
                <a:off x="9912961" y="3618784"/>
                <a:ext cx="18426" cy="7370"/>
              </a:xfrm>
              <a:custGeom>
                <a:avLst/>
                <a:gdLst>
                  <a:gd name="T0" fmla="*/ 0 w 5"/>
                  <a:gd name="T1" fmla="*/ 0 h 2"/>
                  <a:gd name="T2" fmla="*/ 0 w 5"/>
                  <a:gd name="T3" fmla="*/ 1 h 2"/>
                  <a:gd name="T4" fmla="*/ 1 w 5"/>
                  <a:gd name="T5" fmla="*/ 2 h 2"/>
                  <a:gd name="T6" fmla="*/ 2 w 5"/>
                  <a:gd name="T7" fmla="*/ 2 h 2"/>
                  <a:gd name="T8" fmla="*/ 3 w 5"/>
                  <a:gd name="T9" fmla="*/ 2 h 2"/>
                  <a:gd name="T10" fmla="*/ 4 w 5"/>
                  <a:gd name="T11" fmla="*/ 2 h 2"/>
                  <a:gd name="T12" fmla="*/ 5 w 5"/>
                  <a:gd name="T13" fmla="*/ 2 h 2"/>
                  <a:gd name="T14" fmla="*/ 5 w 5"/>
                  <a:gd name="T15" fmla="*/ 2 h 2"/>
                  <a:gd name="T16" fmla="*/ 3 w 5"/>
                  <a:gd name="T17" fmla="*/ 1 h 2"/>
                  <a:gd name="T18" fmla="*/ 0 w 5"/>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2">
                    <a:moveTo>
                      <a:pt x="0" y="0"/>
                    </a:moveTo>
                    <a:cubicBezTo>
                      <a:pt x="0" y="1"/>
                      <a:pt x="0" y="1"/>
                      <a:pt x="0" y="1"/>
                    </a:cubicBezTo>
                    <a:cubicBezTo>
                      <a:pt x="1" y="2"/>
                      <a:pt x="1" y="2"/>
                      <a:pt x="1" y="2"/>
                    </a:cubicBezTo>
                    <a:cubicBezTo>
                      <a:pt x="1" y="2"/>
                      <a:pt x="1" y="2"/>
                      <a:pt x="2" y="2"/>
                    </a:cubicBezTo>
                    <a:cubicBezTo>
                      <a:pt x="2" y="2"/>
                      <a:pt x="2" y="2"/>
                      <a:pt x="3" y="2"/>
                    </a:cubicBezTo>
                    <a:cubicBezTo>
                      <a:pt x="3" y="2"/>
                      <a:pt x="4" y="2"/>
                      <a:pt x="4" y="2"/>
                    </a:cubicBezTo>
                    <a:cubicBezTo>
                      <a:pt x="5" y="2"/>
                      <a:pt x="5" y="2"/>
                      <a:pt x="5" y="2"/>
                    </a:cubicBezTo>
                    <a:cubicBezTo>
                      <a:pt x="5" y="2"/>
                      <a:pt x="5" y="2"/>
                      <a:pt x="5" y="2"/>
                    </a:cubicBezTo>
                    <a:cubicBezTo>
                      <a:pt x="3" y="1"/>
                      <a:pt x="3" y="1"/>
                      <a:pt x="3" y="1"/>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41" name="Rectangle 369">
                <a:extLst>
                  <a:ext uri="{FF2B5EF4-FFF2-40B4-BE49-F238E27FC236}">
                    <a16:creationId xmlns:a16="http://schemas.microsoft.com/office/drawing/2014/main" id="{2CD39721-173F-420A-9EAC-9C7F86F5475C}"/>
                  </a:ext>
                </a:extLst>
              </p:cNvPr>
              <p:cNvSpPr>
                <a:spLocks noChangeArrowheads="1"/>
              </p:cNvSpPr>
              <p:nvPr/>
            </p:nvSpPr>
            <p:spPr bwMode="auto">
              <a:xfrm>
                <a:off x="10288843" y="342347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42" name="Rectangle 370">
                <a:extLst>
                  <a:ext uri="{FF2B5EF4-FFF2-40B4-BE49-F238E27FC236}">
                    <a16:creationId xmlns:a16="http://schemas.microsoft.com/office/drawing/2014/main" id="{6C0AA1BA-A57E-47A5-B439-C43CC1583B37}"/>
                  </a:ext>
                </a:extLst>
              </p:cNvPr>
              <p:cNvSpPr>
                <a:spLocks noChangeArrowheads="1"/>
              </p:cNvSpPr>
              <p:nvPr/>
            </p:nvSpPr>
            <p:spPr bwMode="auto">
              <a:xfrm>
                <a:off x="10288843" y="342347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43" name="Freeform 371">
                <a:extLst>
                  <a:ext uri="{FF2B5EF4-FFF2-40B4-BE49-F238E27FC236}">
                    <a16:creationId xmlns:a16="http://schemas.microsoft.com/office/drawing/2014/main" id="{8E58F12A-88BF-4E1A-8F96-570997B285C0}"/>
                  </a:ext>
                </a:extLst>
              </p:cNvPr>
              <p:cNvSpPr>
                <a:spLocks/>
              </p:cNvSpPr>
              <p:nvPr/>
            </p:nvSpPr>
            <p:spPr bwMode="auto">
              <a:xfrm>
                <a:off x="8800056" y="4422140"/>
                <a:ext cx="3685" cy="3685"/>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0"/>
                      <a:pt x="1" y="0"/>
                      <a:pt x="1"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44" name="Rectangle 372">
                <a:extLst>
                  <a:ext uri="{FF2B5EF4-FFF2-40B4-BE49-F238E27FC236}">
                    <a16:creationId xmlns:a16="http://schemas.microsoft.com/office/drawing/2014/main" id="{29CF5D17-5DF1-47C2-8B33-E8031F9C87ED}"/>
                  </a:ext>
                </a:extLst>
              </p:cNvPr>
              <p:cNvSpPr>
                <a:spLocks noChangeArrowheads="1"/>
              </p:cNvSpPr>
              <p:nvPr/>
            </p:nvSpPr>
            <p:spPr bwMode="auto">
              <a:xfrm>
                <a:off x="8766890" y="436686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45" name="Freeform 373">
                <a:extLst>
                  <a:ext uri="{FF2B5EF4-FFF2-40B4-BE49-F238E27FC236}">
                    <a16:creationId xmlns:a16="http://schemas.microsoft.com/office/drawing/2014/main" id="{6138266A-A447-4B72-AF08-6A20235593A1}"/>
                  </a:ext>
                </a:extLst>
              </p:cNvPr>
              <p:cNvSpPr>
                <a:spLocks/>
              </p:cNvSpPr>
              <p:nvPr/>
            </p:nvSpPr>
            <p:spPr bwMode="auto">
              <a:xfrm>
                <a:off x="8766890" y="4366863"/>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46" name="Freeform 374">
                <a:extLst>
                  <a:ext uri="{FF2B5EF4-FFF2-40B4-BE49-F238E27FC236}">
                    <a16:creationId xmlns:a16="http://schemas.microsoft.com/office/drawing/2014/main" id="{6652DB1F-1355-4C49-B518-432FF6B61E5D}"/>
                  </a:ext>
                </a:extLst>
              </p:cNvPr>
              <p:cNvSpPr>
                <a:spLocks noEditPoints="1"/>
              </p:cNvSpPr>
              <p:nvPr/>
            </p:nvSpPr>
            <p:spPr bwMode="auto">
              <a:xfrm>
                <a:off x="12090864" y="445900"/>
                <a:ext cx="88443" cy="103183"/>
              </a:xfrm>
              <a:custGeom>
                <a:avLst/>
                <a:gdLst>
                  <a:gd name="T0" fmla="*/ 9 w 28"/>
                  <a:gd name="T1" fmla="*/ 22 h 32"/>
                  <a:gd name="T2" fmla="*/ 10 w 28"/>
                  <a:gd name="T3" fmla="*/ 23 h 32"/>
                  <a:gd name="T4" fmla="*/ 7 w 28"/>
                  <a:gd name="T5" fmla="*/ 25 h 32"/>
                  <a:gd name="T6" fmla="*/ 5 w 28"/>
                  <a:gd name="T7" fmla="*/ 26 h 32"/>
                  <a:gd name="T8" fmla="*/ 5 w 28"/>
                  <a:gd name="T9" fmla="*/ 27 h 32"/>
                  <a:gd name="T10" fmla="*/ 6 w 28"/>
                  <a:gd name="T11" fmla="*/ 27 h 32"/>
                  <a:gd name="T12" fmla="*/ 6 w 28"/>
                  <a:gd name="T13" fmla="*/ 28 h 32"/>
                  <a:gd name="T14" fmla="*/ 6 w 28"/>
                  <a:gd name="T15" fmla="*/ 28 h 32"/>
                  <a:gd name="T16" fmla="*/ 6 w 28"/>
                  <a:gd name="T17" fmla="*/ 29 h 32"/>
                  <a:gd name="T18" fmla="*/ 6 w 28"/>
                  <a:gd name="T19" fmla="*/ 30 h 32"/>
                  <a:gd name="T20" fmla="*/ 12 w 28"/>
                  <a:gd name="T21" fmla="*/ 31 h 32"/>
                  <a:gd name="T22" fmla="*/ 17 w 28"/>
                  <a:gd name="T23" fmla="*/ 31 h 32"/>
                  <a:gd name="T24" fmla="*/ 18 w 28"/>
                  <a:gd name="T25" fmla="*/ 31 h 32"/>
                  <a:gd name="T26" fmla="*/ 22 w 28"/>
                  <a:gd name="T27" fmla="*/ 31 h 32"/>
                  <a:gd name="T28" fmla="*/ 22 w 28"/>
                  <a:gd name="T29" fmla="*/ 31 h 32"/>
                  <a:gd name="T30" fmla="*/ 27 w 28"/>
                  <a:gd name="T31" fmla="*/ 24 h 32"/>
                  <a:gd name="T32" fmla="*/ 22 w 28"/>
                  <a:gd name="T33" fmla="*/ 23 h 32"/>
                  <a:gd name="T34" fmla="*/ 11 w 28"/>
                  <a:gd name="T35" fmla="*/ 22 h 32"/>
                  <a:gd name="T36" fmla="*/ 26 w 28"/>
                  <a:gd name="T37" fmla="*/ 15 h 32"/>
                  <a:gd name="T38" fmla="*/ 24 w 28"/>
                  <a:gd name="T39" fmla="*/ 16 h 32"/>
                  <a:gd name="T40" fmla="*/ 23 w 28"/>
                  <a:gd name="T41" fmla="*/ 16 h 32"/>
                  <a:gd name="T42" fmla="*/ 23 w 28"/>
                  <a:gd name="T43" fmla="*/ 17 h 32"/>
                  <a:gd name="T44" fmla="*/ 24 w 28"/>
                  <a:gd name="T45" fmla="*/ 17 h 32"/>
                  <a:gd name="T46" fmla="*/ 25 w 28"/>
                  <a:gd name="T47" fmla="*/ 18 h 32"/>
                  <a:gd name="T48" fmla="*/ 26 w 28"/>
                  <a:gd name="T49" fmla="*/ 18 h 32"/>
                  <a:gd name="T50" fmla="*/ 27 w 28"/>
                  <a:gd name="T51" fmla="*/ 15 h 32"/>
                  <a:gd name="T52" fmla="*/ 9 w 28"/>
                  <a:gd name="T53" fmla="*/ 0 h 32"/>
                  <a:gd name="T54" fmla="*/ 10 w 28"/>
                  <a:gd name="T55" fmla="*/ 1 h 32"/>
                  <a:gd name="T56" fmla="*/ 10 w 28"/>
                  <a:gd name="T57" fmla="*/ 1 h 32"/>
                  <a:gd name="T58" fmla="*/ 10 w 28"/>
                  <a:gd name="T59" fmla="*/ 2 h 32"/>
                  <a:gd name="T60" fmla="*/ 6 w 28"/>
                  <a:gd name="T61" fmla="*/ 4 h 32"/>
                  <a:gd name="T62" fmla="*/ 4 w 28"/>
                  <a:gd name="T63" fmla="*/ 5 h 32"/>
                  <a:gd name="T64" fmla="*/ 3 w 28"/>
                  <a:gd name="T65" fmla="*/ 6 h 32"/>
                  <a:gd name="T66" fmla="*/ 3 w 28"/>
                  <a:gd name="T67" fmla="*/ 7 h 32"/>
                  <a:gd name="T68" fmla="*/ 3 w 28"/>
                  <a:gd name="T69" fmla="*/ 8 h 32"/>
                  <a:gd name="T70" fmla="*/ 3 w 28"/>
                  <a:gd name="T71" fmla="*/ 8 h 32"/>
                  <a:gd name="T72" fmla="*/ 1 w 28"/>
                  <a:gd name="T73" fmla="*/ 9 h 32"/>
                  <a:gd name="T74" fmla="*/ 1 w 28"/>
                  <a:gd name="T75" fmla="*/ 9 h 32"/>
                  <a:gd name="T76" fmla="*/ 0 w 28"/>
                  <a:gd name="T77" fmla="*/ 10 h 32"/>
                  <a:gd name="T78" fmla="*/ 1 w 28"/>
                  <a:gd name="T79" fmla="*/ 10 h 32"/>
                  <a:gd name="T80" fmla="*/ 2 w 28"/>
                  <a:gd name="T81" fmla="*/ 10 h 32"/>
                  <a:gd name="T82" fmla="*/ 5 w 28"/>
                  <a:gd name="T83" fmla="*/ 11 h 32"/>
                  <a:gd name="T84" fmla="*/ 7 w 28"/>
                  <a:gd name="T85" fmla="*/ 11 h 32"/>
                  <a:gd name="T86" fmla="*/ 10 w 28"/>
                  <a:gd name="T87" fmla="*/ 11 h 32"/>
                  <a:gd name="T88" fmla="*/ 10 w 28"/>
                  <a:gd name="T89" fmla="*/ 11 h 32"/>
                  <a:gd name="T90" fmla="*/ 13 w 28"/>
                  <a:gd name="T91" fmla="*/ 11 h 32"/>
                  <a:gd name="T92" fmla="*/ 15 w 28"/>
                  <a:gd name="T93" fmla="*/ 11 h 32"/>
                  <a:gd name="T94" fmla="*/ 19 w 28"/>
                  <a:gd name="T95" fmla="*/ 13 h 32"/>
                  <a:gd name="T96" fmla="*/ 20 w 28"/>
                  <a:gd name="T97" fmla="*/ 13 h 32"/>
                  <a:gd name="T98" fmla="*/ 26 w 28"/>
                  <a:gd name="T99" fmla="*/ 14 h 32"/>
                  <a:gd name="T100" fmla="*/ 27 w 28"/>
                  <a:gd name="T101" fmla="*/ 14 h 32"/>
                  <a:gd name="T102" fmla="*/ 27 w 28"/>
                  <a:gd name="T103" fmla="*/ 10 h 32"/>
                  <a:gd name="T104" fmla="*/ 26 w 28"/>
                  <a:gd name="T105" fmla="*/ 9 h 32"/>
                  <a:gd name="T106" fmla="*/ 25 w 28"/>
                  <a:gd name="T107" fmla="*/ 9 h 32"/>
                  <a:gd name="T108" fmla="*/ 23 w 28"/>
                  <a:gd name="T109" fmla="*/ 6 h 32"/>
                  <a:gd name="T110" fmla="*/ 18 w 28"/>
                  <a:gd name="T111" fmla="*/ 6 h 32"/>
                  <a:gd name="T112" fmla="*/ 9 w 28"/>
                  <a:gd name="T11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 h="32">
                    <a:moveTo>
                      <a:pt x="11" y="22"/>
                    </a:moveTo>
                    <a:cubicBezTo>
                      <a:pt x="9" y="22"/>
                      <a:pt x="9" y="22"/>
                      <a:pt x="9" y="22"/>
                    </a:cubicBezTo>
                    <a:cubicBezTo>
                      <a:pt x="10" y="23"/>
                      <a:pt x="10" y="23"/>
                      <a:pt x="10" y="23"/>
                    </a:cubicBezTo>
                    <a:cubicBezTo>
                      <a:pt x="10" y="23"/>
                      <a:pt x="10" y="23"/>
                      <a:pt x="10" y="23"/>
                    </a:cubicBezTo>
                    <a:cubicBezTo>
                      <a:pt x="9" y="23"/>
                      <a:pt x="9" y="23"/>
                      <a:pt x="9" y="23"/>
                    </a:cubicBezTo>
                    <a:cubicBezTo>
                      <a:pt x="7" y="25"/>
                      <a:pt x="7" y="25"/>
                      <a:pt x="7" y="25"/>
                    </a:cubicBezTo>
                    <a:cubicBezTo>
                      <a:pt x="5" y="25"/>
                      <a:pt x="5" y="25"/>
                      <a:pt x="5" y="25"/>
                    </a:cubicBezTo>
                    <a:cubicBezTo>
                      <a:pt x="5" y="26"/>
                      <a:pt x="5" y="26"/>
                      <a:pt x="5" y="26"/>
                    </a:cubicBezTo>
                    <a:cubicBezTo>
                      <a:pt x="5" y="26"/>
                      <a:pt x="5" y="26"/>
                      <a:pt x="5" y="26"/>
                    </a:cubicBezTo>
                    <a:cubicBezTo>
                      <a:pt x="5" y="27"/>
                      <a:pt x="5" y="27"/>
                      <a:pt x="5" y="27"/>
                    </a:cubicBezTo>
                    <a:cubicBezTo>
                      <a:pt x="5" y="27"/>
                      <a:pt x="5" y="27"/>
                      <a:pt x="5" y="27"/>
                    </a:cubicBezTo>
                    <a:cubicBezTo>
                      <a:pt x="6" y="27"/>
                      <a:pt x="6" y="27"/>
                      <a:pt x="6" y="27"/>
                    </a:cubicBezTo>
                    <a:cubicBezTo>
                      <a:pt x="6" y="27"/>
                      <a:pt x="6" y="27"/>
                      <a:pt x="6" y="27"/>
                    </a:cubicBezTo>
                    <a:cubicBezTo>
                      <a:pt x="6" y="28"/>
                      <a:pt x="6" y="28"/>
                      <a:pt x="6" y="28"/>
                    </a:cubicBezTo>
                    <a:cubicBezTo>
                      <a:pt x="6" y="28"/>
                      <a:pt x="6" y="28"/>
                      <a:pt x="6" y="28"/>
                    </a:cubicBezTo>
                    <a:cubicBezTo>
                      <a:pt x="6" y="28"/>
                      <a:pt x="6" y="28"/>
                      <a:pt x="6" y="28"/>
                    </a:cubicBezTo>
                    <a:cubicBezTo>
                      <a:pt x="6" y="29"/>
                      <a:pt x="6" y="29"/>
                      <a:pt x="6" y="29"/>
                    </a:cubicBezTo>
                    <a:cubicBezTo>
                      <a:pt x="6" y="29"/>
                      <a:pt x="6" y="29"/>
                      <a:pt x="6" y="29"/>
                    </a:cubicBezTo>
                    <a:cubicBezTo>
                      <a:pt x="6" y="30"/>
                      <a:pt x="6" y="30"/>
                      <a:pt x="6" y="30"/>
                    </a:cubicBezTo>
                    <a:cubicBezTo>
                      <a:pt x="6" y="30"/>
                      <a:pt x="6" y="30"/>
                      <a:pt x="6" y="30"/>
                    </a:cubicBezTo>
                    <a:cubicBezTo>
                      <a:pt x="7" y="30"/>
                      <a:pt x="7" y="30"/>
                      <a:pt x="7" y="30"/>
                    </a:cubicBezTo>
                    <a:cubicBezTo>
                      <a:pt x="8" y="31"/>
                      <a:pt x="10" y="31"/>
                      <a:pt x="12" y="31"/>
                    </a:cubicBezTo>
                    <a:cubicBezTo>
                      <a:pt x="14" y="31"/>
                      <a:pt x="15" y="31"/>
                      <a:pt x="16" y="31"/>
                    </a:cubicBezTo>
                    <a:cubicBezTo>
                      <a:pt x="17" y="31"/>
                      <a:pt x="17" y="31"/>
                      <a:pt x="17" y="31"/>
                    </a:cubicBezTo>
                    <a:cubicBezTo>
                      <a:pt x="17" y="31"/>
                      <a:pt x="17" y="31"/>
                      <a:pt x="17" y="31"/>
                    </a:cubicBezTo>
                    <a:cubicBezTo>
                      <a:pt x="18" y="31"/>
                      <a:pt x="18" y="31"/>
                      <a:pt x="18" y="31"/>
                    </a:cubicBezTo>
                    <a:cubicBezTo>
                      <a:pt x="19" y="31"/>
                      <a:pt x="19" y="31"/>
                      <a:pt x="19" y="31"/>
                    </a:cubicBezTo>
                    <a:cubicBezTo>
                      <a:pt x="20" y="31"/>
                      <a:pt x="21" y="31"/>
                      <a:pt x="22" y="31"/>
                    </a:cubicBezTo>
                    <a:cubicBezTo>
                      <a:pt x="22" y="31"/>
                      <a:pt x="22" y="31"/>
                      <a:pt x="22" y="31"/>
                    </a:cubicBezTo>
                    <a:cubicBezTo>
                      <a:pt x="22" y="31"/>
                      <a:pt x="22" y="31"/>
                      <a:pt x="22" y="31"/>
                    </a:cubicBezTo>
                    <a:cubicBezTo>
                      <a:pt x="23" y="31"/>
                      <a:pt x="24" y="31"/>
                      <a:pt x="27" y="32"/>
                    </a:cubicBezTo>
                    <a:cubicBezTo>
                      <a:pt x="27" y="24"/>
                      <a:pt x="27" y="24"/>
                      <a:pt x="27" y="24"/>
                    </a:cubicBezTo>
                    <a:cubicBezTo>
                      <a:pt x="25" y="23"/>
                      <a:pt x="25" y="23"/>
                      <a:pt x="25" y="23"/>
                    </a:cubicBezTo>
                    <a:cubicBezTo>
                      <a:pt x="22" y="23"/>
                      <a:pt x="22" y="23"/>
                      <a:pt x="22" y="23"/>
                    </a:cubicBezTo>
                    <a:cubicBezTo>
                      <a:pt x="14" y="22"/>
                      <a:pt x="14" y="22"/>
                      <a:pt x="14" y="22"/>
                    </a:cubicBezTo>
                    <a:cubicBezTo>
                      <a:pt x="11" y="22"/>
                      <a:pt x="11" y="22"/>
                      <a:pt x="11" y="22"/>
                    </a:cubicBezTo>
                    <a:moveTo>
                      <a:pt x="27" y="15"/>
                    </a:moveTo>
                    <a:cubicBezTo>
                      <a:pt x="26" y="15"/>
                      <a:pt x="26" y="15"/>
                      <a:pt x="26" y="15"/>
                    </a:cubicBezTo>
                    <a:cubicBezTo>
                      <a:pt x="25" y="16"/>
                      <a:pt x="25" y="16"/>
                      <a:pt x="25" y="16"/>
                    </a:cubicBezTo>
                    <a:cubicBezTo>
                      <a:pt x="24" y="16"/>
                      <a:pt x="24" y="16"/>
                      <a:pt x="24" y="16"/>
                    </a:cubicBezTo>
                    <a:cubicBezTo>
                      <a:pt x="23" y="16"/>
                      <a:pt x="23" y="16"/>
                      <a:pt x="23" y="16"/>
                    </a:cubicBezTo>
                    <a:cubicBezTo>
                      <a:pt x="23" y="16"/>
                      <a:pt x="23" y="16"/>
                      <a:pt x="23" y="16"/>
                    </a:cubicBezTo>
                    <a:cubicBezTo>
                      <a:pt x="23" y="17"/>
                      <a:pt x="23" y="17"/>
                      <a:pt x="23" y="17"/>
                    </a:cubicBezTo>
                    <a:cubicBezTo>
                      <a:pt x="23" y="17"/>
                      <a:pt x="23" y="17"/>
                      <a:pt x="23" y="17"/>
                    </a:cubicBezTo>
                    <a:cubicBezTo>
                      <a:pt x="24" y="17"/>
                      <a:pt x="24" y="17"/>
                      <a:pt x="24" y="17"/>
                    </a:cubicBezTo>
                    <a:cubicBezTo>
                      <a:pt x="24" y="17"/>
                      <a:pt x="24" y="17"/>
                      <a:pt x="24" y="17"/>
                    </a:cubicBezTo>
                    <a:cubicBezTo>
                      <a:pt x="25" y="18"/>
                      <a:pt x="25" y="18"/>
                      <a:pt x="25" y="18"/>
                    </a:cubicBezTo>
                    <a:cubicBezTo>
                      <a:pt x="25" y="18"/>
                      <a:pt x="25" y="18"/>
                      <a:pt x="25" y="18"/>
                    </a:cubicBezTo>
                    <a:cubicBezTo>
                      <a:pt x="25" y="18"/>
                      <a:pt x="25" y="18"/>
                      <a:pt x="25" y="18"/>
                    </a:cubicBezTo>
                    <a:cubicBezTo>
                      <a:pt x="26" y="18"/>
                      <a:pt x="26" y="18"/>
                      <a:pt x="26" y="18"/>
                    </a:cubicBezTo>
                    <a:cubicBezTo>
                      <a:pt x="27" y="19"/>
                      <a:pt x="27" y="19"/>
                      <a:pt x="27" y="19"/>
                    </a:cubicBezTo>
                    <a:cubicBezTo>
                      <a:pt x="27" y="15"/>
                      <a:pt x="27" y="15"/>
                      <a:pt x="27" y="15"/>
                    </a:cubicBezTo>
                    <a:moveTo>
                      <a:pt x="9" y="0"/>
                    </a:moveTo>
                    <a:cubicBezTo>
                      <a:pt x="9" y="0"/>
                      <a:pt x="9" y="0"/>
                      <a:pt x="9" y="0"/>
                    </a:cubicBezTo>
                    <a:cubicBezTo>
                      <a:pt x="9" y="1"/>
                      <a:pt x="9" y="1"/>
                      <a:pt x="9" y="1"/>
                    </a:cubicBezTo>
                    <a:cubicBezTo>
                      <a:pt x="10" y="1"/>
                      <a:pt x="10" y="1"/>
                      <a:pt x="10" y="1"/>
                    </a:cubicBezTo>
                    <a:cubicBezTo>
                      <a:pt x="10" y="1"/>
                      <a:pt x="10" y="1"/>
                      <a:pt x="10" y="1"/>
                    </a:cubicBezTo>
                    <a:cubicBezTo>
                      <a:pt x="10" y="1"/>
                      <a:pt x="10" y="1"/>
                      <a:pt x="10" y="1"/>
                    </a:cubicBezTo>
                    <a:cubicBezTo>
                      <a:pt x="11" y="2"/>
                      <a:pt x="11" y="2"/>
                      <a:pt x="11" y="2"/>
                    </a:cubicBezTo>
                    <a:cubicBezTo>
                      <a:pt x="10" y="2"/>
                      <a:pt x="10" y="2"/>
                      <a:pt x="10" y="2"/>
                    </a:cubicBezTo>
                    <a:cubicBezTo>
                      <a:pt x="9" y="3"/>
                      <a:pt x="9" y="3"/>
                      <a:pt x="9" y="3"/>
                    </a:cubicBezTo>
                    <a:cubicBezTo>
                      <a:pt x="6" y="4"/>
                      <a:pt x="6" y="4"/>
                      <a:pt x="6" y="4"/>
                    </a:cubicBezTo>
                    <a:cubicBezTo>
                      <a:pt x="5" y="5"/>
                      <a:pt x="5" y="5"/>
                      <a:pt x="5" y="5"/>
                    </a:cubicBezTo>
                    <a:cubicBezTo>
                      <a:pt x="4" y="5"/>
                      <a:pt x="4" y="5"/>
                      <a:pt x="4" y="5"/>
                    </a:cubicBezTo>
                    <a:cubicBezTo>
                      <a:pt x="3" y="6"/>
                      <a:pt x="3" y="6"/>
                      <a:pt x="3" y="6"/>
                    </a:cubicBezTo>
                    <a:cubicBezTo>
                      <a:pt x="3" y="6"/>
                      <a:pt x="3" y="6"/>
                      <a:pt x="3" y="6"/>
                    </a:cubicBezTo>
                    <a:cubicBezTo>
                      <a:pt x="3" y="6"/>
                      <a:pt x="3" y="6"/>
                      <a:pt x="3" y="6"/>
                    </a:cubicBezTo>
                    <a:cubicBezTo>
                      <a:pt x="3" y="7"/>
                      <a:pt x="3" y="7"/>
                      <a:pt x="3" y="7"/>
                    </a:cubicBezTo>
                    <a:cubicBezTo>
                      <a:pt x="3" y="7"/>
                      <a:pt x="3" y="7"/>
                      <a:pt x="3" y="7"/>
                    </a:cubicBezTo>
                    <a:cubicBezTo>
                      <a:pt x="3" y="8"/>
                      <a:pt x="3" y="8"/>
                      <a:pt x="3" y="8"/>
                    </a:cubicBezTo>
                    <a:cubicBezTo>
                      <a:pt x="3" y="8"/>
                      <a:pt x="3" y="8"/>
                      <a:pt x="3" y="8"/>
                    </a:cubicBezTo>
                    <a:cubicBezTo>
                      <a:pt x="3" y="8"/>
                      <a:pt x="3" y="8"/>
                      <a:pt x="3" y="8"/>
                    </a:cubicBezTo>
                    <a:cubicBezTo>
                      <a:pt x="2" y="8"/>
                      <a:pt x="2" y="8"/>
                      <a:pt x="2" y="8"/>
                    </a:cubicBezTo>
                    <a:cubicBezTo>
                      <a:pt x="1" y="9"/>
                      <a:pt x="1" y="9"/>
                      <a:pt x="1" y="9"/>
                    </a:cubicBezTo>
                    <a:cubicBezTo>
                      <a:pt x="1" y="9"/>
                      <a:pt x="1" y="9"/>
                      <a:pt x="1" y="9"/>
                    </a:cubicBezTo>
                    <a:cubicBezTo>
                      <a:pt x="1" y="9"/>
                      <a:pt x="1" y="9"/>
                      <a:pt x="1" y="9"/>
                    </a:cubicBezTo>
                    <a:cubicBezTo>
                      <a:pt x="0" y="9"/>
                      <a:pt x="0" y="9"/>
                      <a:pt x="0" y="9"/>
                    </a:cubicBezTo>
                    <a:cubicBezTo>
                      <a:pt x="0" y="10"/>
                      <a:pt x="0" y="10"/>
                      <a:pt x="0" y="10"/>
                    </a:cubicBezTo>
                    <a:cubicBezTo>
                      <a:pt x="1" y="10"/>
                      <a:pt x="1" y="10"/>
                      <a:pt x="1" y="10"/>
                    </a:cubicBezTo>
                    <a:cubicBezTo>
                      <a:pt x="1" y="10"/>
                      <a:pt x="1" y="10"/>
                      <a:pt x="1" y="10"/>
                    </a:cubicBezTo>
                    <a:cubicBezTo>
                      <a:pt x="2" y="10"/>
                      <a:pt x="2" y="10"/>
                      <a:pt x="2" y="10"/>
                    </a:cubicBezTo>
                    <a:cubicBezTo>
                      <a:pt x="2" y="10"/>
                      <a:pt x="2" y="10"/>
                      <a:pt x="2" y="10"/>
                    </a:cubicBezTo>
                    <a:cubicBezTo>
                      <a:pt x="3" y="10"/>
                      <a:pt x="3" y="10"/>
                      <a:pt x="4" y="10"/>
                    </a:cubicBezTo>
                    <a:cubicBezTo>
                      <a:pt x="4" y="11"/>
                      <a:pt x="5" y="11"/>
                      <a:pt x="5" y="11"/>
                    </a:cubicBezTo>
                    <a:cubicBezTo>
                      <a:pt x="6" y="11"/>
                      <a:pt x="6" y="11"/>
                      <a:pt x="7" y="11"/>
                    </a:cubicBezTo>
                    <a:cubicBezTo>
                      <a:pt x="7" y="11"/>
                      <a:pt x="7" y="11"/>
                      <a:pt x="7" y="11"/>
                    </a:cubicBezTo>
                    <a:cubicBezTo>
                      <a:pt x="8" y="10"/>
                      <a:pt x="8" y="10"/>
                      <a:pt x="8" y="10"/>
                    </a:cubicBezTo>
                    <a:cubicBezTo>
                      <a:pt x="9" y="11"/>
                      <a:pt x="9" y="11"/>
                      <a:pt x="10" y="11"/>
                    </a:cubicBezTo>
                    <a:cubicBezTo>
                      <a:pt x="10" y="11"/>
                      <a:pt x="10" y="11"/>
                      <a:pt x="10" y="11"/>
                    </a:cubicBezTo>
                    <a:cubicBezTo>
                      <a:pt x="10" y="11"/>
                      <a:pt x="10" y="11"/>
                      <a:pt x="10" y="11"/>
                    </a:cubicBezTo>
                    <a:cubicBezTo>
                      <a:pt x="11" y="11"/>
                      <a:pt x="12" y="11"/>
                      <a:pt x="13" y="11"/>
                    </a:cubicBezTo>
                    <a:cubicBezTo>
                      <a:pt x="13" y="11"/>
                      <a:pt x="13" y="11"/>
                      <a:pt x="13" y="11"/>
                    </a:cubicBezTo>
                    <a:cubicBezTo>
                      <a:pt x="14" y="11"/>
                      <a:pt x="14" y="11"/>
                      <a:pt x="14" y="11"/>
                    </a:cubicBezTo>
                    <a:cubicBezTo>
                      <a:pt x="15" y="11"/>
                      <a:pt x="15" y="11"/>
                      <a:pt x="15" y="11"/>
                    </a:cubicBezTo>
                    <a:cubicBezTo>
                      <a:pt x="16" y="11"/>
                      <a:pt x="16" y="11"/>
                      <a:pt x="16" y="11"/>
                    </a:cubicBezTo>
                    <a:cubicBezTo>
                      <a:pt x="18" y="12"/>
                      <a:pt x="17" y="13"/>
                      <a:pt x="19" y="13"/>
                    </a:cubicBezTo>
                    <a:cubicBezTo>
                      <a:pt x="20" y="13"/>
                      <a:pt x="20" y="13"/>
                      <a:pt x="20" y="13"/>
                    </a:cubicBezTo>
                    <a:cubicBezTo>
                      <a:pt x="20" y="13"/>
                      <a:pt x="20" y="13"/>
                      <a:pt x="20" y="13"/>
                    </a:cubicBezTo>
                    <a:cubicBezTo>
                      <a:pt x="21" y="14"/>
                      <a:pt x="22" y="14"/>
                      <a:pt x="23" y="14"/>
                    </a:cubicBezTo>
                    <a:cubicBezTo>
                      <a:pt x="24" y="14"/>
                      <a:pt x="25" y="14"/>
                      <a:pt x="26" y="14"/>
                    </a:cubicBezTo>
                    <a:cubicBezTo>
                      <a:pt x="27" y="14"/>
                      <a:pt x="27" y="14"/>
                      <a:pt x="27" y="14"/>
                    </a:cubicBezTo>
                    <a:cubicBezTo>
                      <a:pt x="27" y="14"/>
                      <a:pt x="27" y="14"/>
                      <a:pt x="27" y="14"/>
                    </a:cubicBezTo>
                    <a:cubicBezTo>
                      <a:pt x="27" y="10"/>
                      <a:pt x="27" y="10"/>
                      <a:pt x="27" y="10"/>
                    </a:cubicBezTo>
                    <a:cubicBezTo>
                      <a:pt x="27" y="10"/>
                      <a:pt x="27" y="10"/>
                      <a:pt x="27" y="10"/>
                    </a:cubicBezTo>
                    <a:cubicBezTo>
                      <a:pt x="26" y="10"/>
                      <a:pt x="26" y="10"/>
                      <a:pt x="26" y="10"/>
                    </a:cubicBezTo>
                    <a:cubicBezTo>
                      <a:pt x="26" y="9"/>
                      <a:pt x="26" y="9"/>
                      <a:pt x="26" y="9"/>
                    </a:cubicBezTo>
                    <a:cubicBezTo>
                      <a:pt x="26" y="9"/>
                      <a:pt x="26" y="9"/>
                      <a:pt x="26" y="9"/>
                    </a:cubicBezTo>
                    <a:cubicBezTo>
                      <a:pt x="25" y="9"/>
                      <a:pt x="25" y="9"/>
                      <a:pt x="25" y="9"/>
                    </a:cubicBezTo>
                    <a:cubicBezTo>
                      <a:pt x="23" y="8"/>
                      <a:pt x="28" y="6"/>
                      <a:pt x="24" y="6"/>
                    </a:cubicBezTo>
                    <a:cubicBezTo>
                      <a:pt x="23" y="6"/>
                      <a:pt x="23" y="6"/>
                      <a:pt x="23" y="6"/>
                    </a:cubicBezTo>
                    <a:cubicBezTo>
                      <a:pt x="22" y="6"/>
                      <a:pt x="22" y="6"/>
                      <a:pt x="22" y="6"/>
                    </a:cubicBezTo>
                    <a:cubicBezTo>
                      <a:pt x="20" y="6"/>
                      <a:pt x="19" y="6"/>
                      <a:pt x="18" y="6"/>
                    </a:cubicBezTo>
                    <a:cubicBezTo>
                      <a:pt x="15" y="6"/>
                      <a:pt x="17" y="5"/>
                      <a:pt x="10" y="1"/>
                    </a:cubicBezTo>
                    <a:cubicBezTo>
                      <a:pt x="9" y="0"/>
                      <a:pt x="9" y="0"/>
                      <a:pt x="9"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47" name="Freeform 375">
                <a:extLst>
                  <a:ext uri="{FF2B5EF4-FFF2-40B4-BE49-F238E27FC236}">
                    <a16:creationId xmlns:a16="http://schemas.microsoft.com/office/drawing/2014/main" id="{C3E73A44-2DE5-410B-B355-670A0F71A758}"/>
                  </a:ext>
                </a:extLst>
              </p:cNvPr>
              <p:cNvSpPr>
                <a:spLocks noEditPoints="1"/>
              </p:cNvSpPr>
              <p:nvPr/>
            </p:nvSpPr>
            <p:spPr bwMode="auto">
              <a:xfrm>
                <a:off x="6839575" y="615415"/>
                <a:ext cx="5339732" cy="4326326"/>
              </a:xfrm>
              <a:custGeom>
                <a:avLst/>
                <a:gdLst>
                  <a:gd name="T0" fmla="*/ 235 w 1682"/>
                  <a:gd name="T1" fmla="*/ 574 h 1362"/>
                  <a:gd name="T2" fmla="*/ 211 w 1682"/>
                  <a:gd name="T3" fmla="*/ 553 h 1362"/>
                  <a:gd name="T4" fmla="*/ 88 w 1682"/>
                  <a:gd name="T5" fmla="*/ 495 h 1362"/>
                  <a:gd name="T6" fmla="*/ 8 w 1682"/>
                  <a:gd name="T7" fmla="*/ 761 h 1362"/>
                  <a:gd name="T8" fmla="*/ 39 w 1682"/>
                  <a:gd name="T9" fmla="*/ 831 h 1362"/>
                  <a:gd name="T10" fmla="*/ 1149 w 1682"/>
                  <a:gd name="T11" fmla="*/ 870 h 1362"/>
                  <a:gd name="T12" fmla="*/ 1245 w 1682"/>
                  <a:gd name="T13" fmla="*/ 904 h 1362"/>
                  <a:gd name="T14" fmla="*/ 943 w 1682"/>
                  <a:gd name="T15" fmla="*/ 250 h 1362"/>
                  <a:gd name="T16" fmla="*/ 748 w 1682"/>
                  <a:gd name="T17" fmla="*/ 284 h 1362"/>
                  <a:gd name="T18" fmla="*/ 569 w 1682"/>
                  <a:gd name="T19" fmla="*/ 359 h 1362"/>
                  <a:gd name="T20" fmla="*/ 1119 w 1682"/>
                  <a:gd name="T21" fmla="*/ 205 h 1362"/>
                  <a:gd name="T22" fmla="*/ 1116 w 1682"/>
                  <a:gd name="T23" fmla="*/ 150 h 1362"/>
                  <a:gd name="T24" fmla="*/ 142 w 1682"/>
                  <a:gd name="T25" fmla="*/ 946 h 1362"/>
                  <a:gd name="T26" fmla="*/ 229 w 1682"/>
                  <a:gd name="T27" fmla="*/ 1024 h 1362"/>
                  <a:gd name="T28" fmla="*/ 312 w 1682"/>
                  <a:gd name="T29" fmla="*/ 1168 h 1362"/>
                  <a:gd name="T30" fmla="*/ 357 w 1682"/>
                  <a:gd name="T31" fmla="*/ 1291 h 1362"/>
                  <a:gd name="T32" fmla="*/ 552 w 1682"/>
                  <a:gd name="T33" fmla="*/ 1130 h 1362"/>
                  <a:gd name="T34" fmla="*/ 1346 w 1682"/>
                  <a:gd name="T35" fmla="*/ 915 h 1362"/>
                  <a:gd name="T36" fmla="*/ 1562 w 1682"/>
                  <a:gd name="T37" fmla="*/ 1033 h 1362"/>
                  <a:gd name="T38" fmla="*/ 1675 w 1682"/>
                  <a:gd name="T39" fmla="*/ 1072 h 1362"/>
                  <a:gd name="T40" fmla="*/ 1039 w 1682"/>
                  <a:gd name="T41" fmla="*/ 895 h 1362"/>
                  <a:gd name="T42" fmla="*/ 259 w 1682"/>
                  <a:gd name="T43" fmla="*/ 457 h 1362"/>
                  <a:gd name="T44" fmla="*/ 367 w 1682"/>
                  <a:gd name="T45" fmla="*/ 457 h 1362"/>
                  <a:gd name="T46" fmla="*/ 56 w 1682"/>
                  <a:gd name="T47" fmla="*/ 240 h 1362"/>
                  <a:gd name="T48" fmla="*/ 194 w 1682"/>
                  <a:gd name="T49" fmla="*/ 428 h 1362"/>
                  <a:gd name="T50" fmla="*/ 213 w 1682"/>
                  <a:gd name="T51" fmla="*/ 374 h 1362"/>
                  <a:gd name="T52" fmla="*/ 134 w 1682"/>
                  <a:gd name="T53" fmla="*/ 233 h 1362"/>
                  <a:gd name="T54" fmla="*/ 1501 w 1682"/>
                  <a:gd name="T55" fmla="*/ 31 h 1362"/>
                  <a:gd name="T56" fmla="*/ 1510 w 1682"/>
                  <a:gd name="T57" fmla="*/ 63 h 1362"/>
                  <a:gd name="T58" fmla="*/ 1516 w 1682"/>
                  <a:gd name="T59" fmla="*/ 97 h 1362"/>
                  <a:gd name="T60" fmla="*/ 1378 w 1682"/>
                  <a:gd name="T61" fmla="*/ 106 h 1362"/>
                  <a:gd name="T62" fmla="*/ 1431 w 1682"/>
                  <a:gd name="T63" fmla="*/ 136 h 1362"/>
                  <a:gd name="T64" fmla="*/ 1457 w 1682"/>
                  <a:gd name="T65" fmla="*/ 157 h 1362"/>
                  <a:gd name="T66" fmla="*/ 1432 w 1682"/>
                  <a:gd name="T67" fmla="*/ 152 h 1362"/>
                  <a:gd name="T68" fmla="*/ 1386 w 1682"/>
                  <a:gd name="T69" fmla="*/ 142 h 1362"/>
                  <a:gd name="T70" fmla="*/ 1364 w 1682"/>
                  <a:gd name="T71" fmla="*/ 120 h 1362"/>
                  <a:gd name="T72" fmla="*/ 1365 w 1682"/>
                  <a:gd name="T73" fmla="*/ 96 h 1362"/>
                  <a:gd name="T74" fmla="*/ 1366 w 1682"/>
                  <a:gd name="T75" fmla="*/ 74 h 1362"/>
                  <a:gd name="T76" fmla="*/ 1313 w 1682"/>
                  <a:gd name="T77" fmla="*/ 108 h 1362"/>
                  <a:gd name="T78" fmla="*/ 1315 w 1682"/>
                  <a:gd name="T79" fmla="*/ 195 h 1362"/>
                  <a:gd name="T80" fmla="*/ 1317 w 1682"/>
                  <a:gd name="T81" fmla="*/ 249 h 1362"/>
                  <a:gd name="T82" fmla="*/ 1399 w 1682"/>
                  <a:gd name="T83" fmla="*/ 248 h 1362"/>
                  <a:gd name="T84" fmla="*/ 1421 w 1682"/>
                  <a:gd name="T85" fmla="*/ 306 h 1362"/>
                  <a:gd name="T86" fmla="*/ 1445 w 1682"/>
                  <a:gd name="T87" fmla="*/ 321 h 1362"/>
                  <a:gd name="T88" fmla="*/ 1463 w 1682"/>
                  <a:gd name="T89" fmla="*/ 326 h 1362"/>
                  <a:gd name="T90" fmla="*/ 1414 w 1682"/>
                  <a:gd name="T91" fmla="*/ 277 h 1362"/>
                  <a:gd name="T92" fmla="*/ 1331 w 1682"/>
                  <a:gd name="T93" fmla="*/ 286 h 1362"/>
                  <a:gd name="T94" fmla="*/ 1316 w 1682"/>
                  <a:gd name="T95" fmla="*/ 354 h 1362"/>
                  <a:gd name="T96" fmla="*/ 1270 w 1682"/>
                  <a:gd name="T97" fmla="*/ 387 h 1362"/>
                  <a:gd name="T98" fmla="*/ 1204 w 1682"/>
                  <a:gd name="T99" fmla="*/ 359 h 1362"/>
                  <a:gd name="T100" fmla="*/ 1271 w 1682"/>
                  <a:gd name="T101" fmla="*/ 344 h 1362"/>
                  <a:gd name="T102" fmla="*/ 1298 w 1682"/>
                  <a:gd name="T103" fmla="*/ 303 h 1362"/>
                  <a:gd name="T104" fmla="*/ 1281 w 1682"/>
                  <a:gd name="T105" fmla="*/ 226 h 1362"/>
                  <a:gd name="T106" fmla="*/ 1285 w 1682"/>
                  <a:gd name="T107" fmla="*/ 176 h 1362"/>
                  <a:gd name="T108" fmla="*/ 1274 w 1682"/>
                  <a:gd name="T109" fmla="*/ 108 h 1362"/>
                  <a:gd name="T110" fmla="*/ 1260 w 1682"/>
                  <a:gd name="T111" fmla="*/ 57 h 1362"/>
                  <a:gd name="T112" fmla="*/ 1188 w 1682"/>
                  <a:gd name="T113" fmla="*/ 52 h 1362"/>
                  <a:gd name="T114" fmla="*/ 1174 w 1682"/>
                  <a:gd name="T115" fmla="*/ 82 h 1362"/>
                  <a:gd name="T116" fmla="*/ 1143 w 1682"/>
                  <a:gd name="T117" fmla="*/ 129 h 1362"/>
                  <a:gd name="T118" fmla="*/ 1125 w 1682"/>
                  <a:gd name="T119" fmla="*/ 194 h 1362"/>
                  <a:gd name="T120" fmla="*/ 1144 w 1682"/>
                  <a:gd name="T121" fmla="*/ 229 h 1362"/>
                  <a:gd name="T122" fmla="*/ 1163 w 1682"/>
                  <a:gd name="T123" fmla="*/ 255 h 1362"/>
                  <a:gd name="T124" fmla="*/ 1180 w 1682"/>
                  <a:gd name="T125" fmla="*/ 265 h 1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82" h="1362">
                    <a:moveTo>
                      <a:pt x="86" y="603"/>
                    </a:moveTo>
                    <a:cubicBezTo>
                      <a:pt x="86" y="603"/>
                      <a:pt x="87" y="603"/>
                      <a:pt x="87" y="602"/>
                    </a:cubicBezTo>
                    <a:cubicBezTo>
                      <a:pt x="89" y="602"/>
                      <a:pt x="93" y="594"/>
                      <a:pt x="94" y="593"/>
                    </a:cubicBezTo>
                    <a:cubicBezTo>
                      <a:pt x="94" y="592"/>
                      <a:pt x="94" y="592"/>
                      <a:pt x="95" y="592"/>
                    </a:cubicBezTo>
                    <a:cubicBezTo>
                      <a:pt x="96" y="592"/>
                      <a:pt x="98" y="594"/>
                      <a:pt x="99" y="595"/>
                    </a:cubicBezTo>
                    <a:cubicBezTo>
                      <a:pt x="109" y="601"/>
                      <a:pt x="119" y="607"/>
                      <a:pt x="128" y="613"/>
                    </a:cubicBezTo>
                    <a:cubicBezTo>
                      <a:pt x="135" y="617"/>
                      <a:pt x="138" y="620"/>
                      <a:pt x="143" y="626"/>
                    </a:cubicBezTo>
                    <a:cubicBezTo>
                      <a:pt x="146" y="630"/>
                      <a:pt x="149" y="634"/>
                      <a:pt x="152" y="638"/>
                    </a:cubicBezTo>
                    <a:cubicBezTo>
                      <a:pt x="154" y="640"/>
                      <a:pt x="151" y="646"/>
                      <a:pt x="150" y="648"/>
                    </a:cubicBezTo>
                    <a:cubicBezTo>
                      <a:pt x="149" y="647"/>
                      <a:pt x="147" y="646"/>
                      <a:pt x="147" y="646"/>
                    </a:cubicBezTo>
                    <a:cubicBezTo>
                      <a:pt x="146" y="646"/>
                      <a:pt x="146" y="647"/>
                      <a:pt x="146" y="649"/>
                    </a:cubicBezTo>
                    <a:cubicBezTo>
                      <a:pt x="147" y="651"/>
                      <a:pt x="146" y="651"/>
                      <a:pt x="146" y="653"/>
                    </a:cubicBezTo>
                    <a:cubicBezTo>
                      <a:pt x="146" y="654"/>
                      <a:pt x="145" y="655"/>
                      <a:pt x="145" y="656"/>
                    </a:cubicBezTo>
                    <a:cubicBezTo>
                      <a:pt x="145" y="656"/>
                      <a:pt x="146" y="657"/>
                      <a:pt x="145" y="658"/>
                    </a:cubicBezTo>
                    <a:cubicBezTo>
                      <a:pt x="145" y="660"/>
                      <a:pt x="144" y="661"/>
                      <a:pt x="142" y="661"/>
                    </a:cubicBezTo>
                    <a:cubicBezTo>
                      <a:pt x="142" y="661"/>
                      <a:pt x="141" y="661"/>
                      <a:pt x="141" y="661"/>
                    </a:cubicBezTo>
                    <a:cubicBezTo>
                      <a:pt x="136" y="660"/>
                      <a:pt x="131" y="659"/>
                      <a:pt x="126" y="659"/>
                    </a:cubicBezTo>
                    <a:cubicBezTo>
                      <a:pt x="125" y="658"/>
                      <a:pt x="122" y="658"/>
                      <a:pt x="121" y="658"/>
                    </a:cubicBezTo>
                    <a:cubicBezTo>
                      <a:pt x="121" y="658"/>
                      <a:pt x="121" y="658"/>
                      <a:pt x="121" y="658"/>
                    </a:cubicBezTo>
                    <a:cubicBezTo>
                      <a:pt x="118" y="659"/>
                      <a:pt x="116" y="666"/>
                      <a:pt x="115" y="669"/>
                    </a:cubicBezTo>
                    <a:cubicBezTo>
                      <a:pt x="116" y="669"/>
                      <a:pt x="116" y="669"/>
                      <a:pt x="116" y="669"/>
                    </a:cubicBezTo>
                    <a:cubicBezTo>
                      <a:pt x="115" y="669"/>
                      <a:pt x="114" y="672"/>
                      <a:pt x="113" y="672"/>
                    </a:cubicBezTo>
                    <a:cubicBezTo>
                      <a:pt x="112" y="673"/>
                      <a:pt x="111" y="673"/>
                      <a:pt x="110" y="673"/>
                    </a:cubicBezTo>
                    <a:cubicBezTo>
                      <a:pt x="107" y="673"/>
                      <a:pt x="104" y="671"/>
                      <a:pt x="101" y="671"/>
                    </a:cubicBezTo>
                    <a:cubicBezTo>
                      <a:pt x="102" y="670"/>
                      <a:pt x="102" y="669"/>
                      <a:pt x="103" y="669"/>
                    </a:cubicBezTo>
                    <a:cubicBezTo>
                      <a:pt x="99" y="661"/>
                      <a:pt x="95" y="653"/>
                      <a:pt x="91" y="645"/>
                    </a:cubicBezTo>
                    <a:cubicBezTo>
                      <a:pt x="89" y="640"/>
                      <a:pt x="87" y="635"/>
                      <a:pt x="84" y="630"/>
                    </a:cubicBezTo>
                    <a:cubicBezTo>
                      <a:pt x="81" y="626"/>
                      <a:pt x="67" y="620"/>
                      <a:pt x="67" y="617"/>
                    </a:cubicBezTo>
                    <a:cubicBezTo>
                      <a:pt x="68" y="615"/>
                      <a:pt x="68" y="614"/>
                      <a:pt x="69" y="614"/>
                    </a:cubicBezTo>
                    <a:cubicBezTo>
                      <a:pt x="69" y="614"/>
                      <a:pt x="69" y="614"/>
                      <a:pt x="70" y="615"/>
                    </a:cubicBezTo>
                    <a:cubicBezTo>
                      <a:pt x="70" y="615"/>
                      <a:pt x="71" y="616"/>
                      <a:pt x="72" y="616"/>
                    </a:cubicBezTo>
                    <a:cubicBezTo>
                      <a:pt x="72" y="616"/>
                      <a:pt x="72" y="616"/>
                      <a:pt x="72" y="616"/>
                    </a:cubicBezTo>
                    <a:cubicBezTo>
                      <a:pt x="74" y="615"/>
                      <a:pt x="77" y="608"/>
                      <a:pt x="77" y="607"/>
                    </a:cubicBezTo>
                    <a:cubicBezTo>
                      <a:pt x="78" y="606"/>
                      <a:pt x="77" y="604"/>
                      <a:pt x="77" y="604"/>
                    </a:cubicBezTo>
                    <a:cubicBezTo>
                      <a:pt x="77" y="604"/>
                      <a:pt x="77" y="604"/>
                      <a:pt x="77" y="604"/>
                    </a:cubicBezTo>
                    <a:cubicBezTo>
                      <a:pt x="78" y="603"/>
                      <a:pt x="81" y="603"/>
                      <a:pt x="84" y="603"/>
                    </a:cubicBezTo>
                    <a:cubicBezTo>
                      <a:pt x="84" y="603"/>
                      <a:pt x="85" y="603"/>
                      <a:pt x="85" y="603"/>
                    </a:cubicBezTo>
                    <a:cubicBezTo>
                      <a:pt x="85" y="603"/>
                      <a:pt x="85" y="603"/>
                      <a:pt x="86" y="603"/>
                    </a:cubicBezTo>
                    <a:moveTo>
                      <a:pt x="213" y="562"/>
                    </a:moveTo>
                    <a:cubicBezTo>
                      <a:pt x="213" y="561"/>
                      <a:pt x="212" y="560"/>
                      <a:pt x="211" y="558"/>
                    </a:cubicBezTo>
                    <a:cubicBezTo>
                      <a:pt x="211" y="558"/>
                      <a:pt x="211" y="558"/>
                      <a:pt x="211" y="558"/>
                    </a:cubicBezTo>
                    <a:cubicBezTo>
                      <a:pt x="212" y="559"/>
                      <a:pt x="213" y="561"/>
                      <a:pt x="213" y="562"/>
                    </a:cubicBezTo>
                    <a:moveTo>
                      <a:pt x="211" y="558"/>
                    </a:moveTo>
                    <a:cubicBezTo>
                      <a:pt x="210" y="557"/>
                      <a:pt x="209" y="557"/>
                      <a:pt x="208" y="556"/>
                    </a:cubicBezTo>
                    <a:cubicBezTo>
                      <a:pt x="206" y="554"/>
                      <a:pt x="205" y="553"/>
                      <a:pt x="203" y="551"/>
                    </a:cubicBezTo>
                    <a:cubicBezTo>
                      <a:pt x="201" y="549"/>
                      <a:pt x="201" y="547"/>
                      <a:pt x="199" y="544"/>
                    </a:cubicBezTo>
                    <a:cubicBezTo>
                      <a:pt x="199" y="544"/>
                      <a:pt x="196" y="544"/>
                      <a:pt x="198" y="542"/>
                    </a:cubicBezTo>
                    <a:cubicBezTo>
                      <a:pt x="198" y="542"/>
                      <a:pt x="198" y="542"/>
                      <a:pt x="198" y="542"/>
                    </a:cubicBezTo>
                    <a:cubicBezTo>
                      <a:pt x="200" y="542"/>
                      <a:pt x="203" y="544"/>
                      <a:pt x="204" y="545"/>
                    </a:cubicBezTo>
                    <a:cubicBezTo>
                      <a:pt x="214" y="549"/>
                      <a:pt x="223" y="554"/>
                      <a:pt x="233" y="559"/>
                    </a:cubicBezTo>
                    <a:cubicBezTo>
                      <a:pt x="236" y="561"/>
                      <a:pt x="236" y="571"/>
                      <a:pt x="235" y="574"/>
                    </a:cubicBezTo>
                    <a:cubicBezTo>
                      <a:pt x="234" y="576"/>
                      <a:pt x="230" y="578"/>
                      <a:pt x="232" y="581"/>
                    </a:cubicBezTo>
                    <a:cubicBezTo>
                      <a:pt x="239" y="589"/>
                      <a:pt x="245" y="597"/>
                      <a:pt x="252" y="606"/>
                    </a:cubicBezTo>
                    <a:cubicBezTo>
                      <a:pt x="255" y="610"/>
                      <a:pt x="251" y="610"/>
                      <a:pt x="252" y="615"/>
                    </a:cubicBezTo>
                    <a:cubicBezTo>
                      <a:pt x="252" y="616"/>
                      <a:pt x="253" y="617"/>
                      <a:pt x="254" y="618"/>
                    </a:cubicBezTo>
                    <a:cubicBezTo>
                      <a:pt x="249" y="622"/>
                      <a:pt x="243" y="625"/>
                      <a:pt x="238" y="629"/>
                    </a:cubicBezTo>
                    <a:cubicBezTo>
                      <a:pt x="240" y="630"/>
                      <a:pt x="240" y="630"/>
                      <a:pt x="238" y="630"/>
                    </a:cubicBezTo>
                    <a:cubicBezTo>
                      <a:pt x="238" y="630"/>
                      <a:pt x="238" y="630"/>
                      <a:pt x="237" y="630"/>
                    </a:cubicBezTo>
                    <a:cubicBezTo>
                      <a:pt x="235" y="630"/>
                      <a:pt x="228" y="629"/>
                      <a:pt x="228" y="628"/>
                    </a:cubicBezTo>
                    <a:cubicBezTo>
                      <a:pt x="228" y="626"/>
                      <a:pt x="227" y="626"/>
                      <a:pt x="227" y="625"/>
                    </a:cubicBezTo>
                    <a:cubicBezTo>
                      <a:pt x="227" y="625"/>
                      <a:pt x="227" y="625"/>
                      <a:pt x="227" y="625"/>
                    </a:cubicBezTo>
                    <a:cubicBezTo>
                      <a:pt x="228" y="625"/>
                      <a:pt x="229" y="625"/>
                      <a:pt x="230" y="623"/>
                    </a:cubicBezTo>
                    <a:cubicBezTo>
                      <a:pt x="232" y="621"/>
                      <a:pt x="232" y="619"/>
                      <a:pt x="229" y="617"/>
                    </a:cubicBezTo>
                    <a:cubicBezTo>
                      <a:pt x="225" y="613"/>
                      <a:pt x="221" y="610"/>
                      <a:pt x="216" y="606"/>
                    </a:cubicBezTo>
                    <a:cubicBezTo>
                      <a:pt x="213" y="603"/>
                      <a:pt x="209" y="603"/>
                      <a:pt x="206" y="601"/>
                    </a:cubicBezTo>
                    <a:cubicBezTo>
                      <a:pt x="201" y="598"/>
                      <a:pt x="199" y="593"/>
                      <a:pt x="195" y="590"/>
                    </a:cubicBezTo>
                    <a:cubicBezTo>
                      <a:pt x="195" y="590"/>
                      <a:pt x="196" y="590"/>
                      <a:pt x="197" y="590"/>
                    </a:cubicBezTo>
                    <a:cubicBezTo>
                      <a:pt x="198" y="590"/>
                      <a:pt x="199" y="591"/>
                      <a:pt x="200" y="592"/>
                    </a:cubicBezTo>
                    <a:cubicBezTo>
                      <a:pt x="201" y="588"/>
                      <a:pt x="199" y="585"/>
                      <a:pt x="199" y="581"/>
                    </a:cubicBezTo>
                    <a:cubicBezTo>
                      <a:pt x="198" y="579"/>
                      <a:pt x="195" y="579"/>
                      <a:pt x="194" y="578"/>
                    </a:cubicBezTo>
                    <a:cubicBezTo>
                      <a:pt x="191" y="575"/>
                      <a:pt x="193" y="573"/>
                      <a:pt x="192" y="570"/>
                    </a:cubicBezTo>
                    <a:cubicBezTo>
                      <a:pt x="192" y="570"/>
                      <a:pt x="187" y="564"/>
                      <a:pt x="187" y="564"/>
                    </a:cubicBezTo>
                    <a:cubicBezTo>
                      <a:pt x="187" y="564"/>
                      <a:pt x="186" y="564"/>
                      <a:pt x="186" y="564"/>
                    </a:cubicBezTo>
                    <a:cubicBezTo>
                      <a:pt x="186" y="564"/>
                      <a:pt x="185" y="564"/>
                      <a:pt x="185" y="564"/>
                    </a:cubicBezTo>
                    <a:cubicBezTo>
                      <a:pt x="185" y="565"/>
                      <a:pt x="185" y="565"/>
                      <a:pt x="184" y="565"/>
                    </a:cubicBezTo>
                    <a:cubicBezTo>
                      <a:pt x="184" y="565"/>
                      <a:pt x="184" y="565"/>
                      <a:pt x="184" y="565"/>
                    </a:cubicBezTo>
                    <a:cubicBezTo>
                      <a:pt x="183" y="564"/>
                      <a:pt x="183" y="562"/>
                      <a:pt x="182" y="561"/>
                    </a:cubicBezTo>
                    <a:cubicBezTo>
                      <a:pt x="183" y="561"/>
                      <a:pt x="183" y="560"/>
                      <a:pt x="183" y="560"/>
                    </a:cubicBezTo>
                    <a:cubicBezTo>
                      <a:pt x="186" y="562"/>
                      <a:pt x="189" y="566"/>
                      <a:pt x="192" y="568"/>
                    </a:cubicBezTo>
                    <a:cubicBezTo>
                      <a:pt x="193" y="569"/>
                      <a:pt x="195" y="570"/>
                      <a:pt x="195" y="570"/>
                    </a:cubicBezTo>
                    <a:cubicBezTo>
                      <a:pt x="195" y="572"/>
                      <a:pt x="193" y="571"/>
                      <a:pt x="193" y="572"/>
                    </a:cubicBezTo>
                    <a:cubicBezTo>
                      <a:pt x="194" y="577"/>
                      <a:pt x="201" y="578"/>
                      <a:pt x="204" y="581"/>
                    </a:cubicBezTo>
                    <a:cubicBezTo>
                      <a:pt x="204" y="578"/>
                      <a:pt x="203" y="575"/>
                      <a:pt x="201" y="573"/>
                    </a:cubicBezTo>
                    <a:cubicBezTo>
                      <a:pt x="202" y="573"/>
                      <a:pt x="204" y="574"/>
                      <a:pt x="205" y="575"/>
                    </a:cubicBezTo>
                    <a:cubicBezTo>
                      <a:pt x="204" y="572"/>
                      <a:pt x="201" y="565"/>
                      <a:pt x="198" y="563"/>
                    </a:cubicBezTo>
                    <a:cubicBezTo>
                      <a:pt x="201" y="565"/>
                      <a:pt x="203" y="569"/>
                      <a:pt x="207" y="570"/>
                    </a:cubicBezTo>
                    <a:cubicBezTo>
                      <a:pt x="205" y="565"/>
                      <a:pt x="199" y="562"/>
                      <a:pt x="198" y="557"/>
                    </a:cubicBezTo>
                    <a:cubicBezTo>
                      <a:pt x="203" y="559"/>
                      <a:pt x="207" y="564"/>
                      <a:pt x="208" y="569"/>
                    </a:cubicBezTo>
                    <a:cubicBezTo>
                      <a:pt x="209" y="571"/>
                      <a:pt x="209" y="573"/>
                      <a:pt x="211" y="576"/>
                    </a:cubicBezTo>
                    <a:cubicBezTo>
                      <a:pt x="212" y="577"/>
                      <a:pt x="215" y="581"/>
                      <a:pt x="216" y="581"/>
                    </a:cubicBezTo>
                    <a:cubicBezTo>
                      <a:pt x="217" y="581"/>
                      <a:pt x="217" y="581"/>
                      <a:pt x="217" y="580"/>
                    </a:cubicBezTo>
                    <a:cubicBezTo>
                      <a:pt x="220" y="578"/>
                      <a:pt x="213" y="574"/>
                      <a:pt x="214" y="571"/>
                    </a:cubicBezTo>
                    <a:cubicBezTo>
                      <a:pt x="216" y="572"/>
                      <a:pt x="217" y="574"/>
                      <a:pt x="219" y="574"/>
                    </a:cubicBezTo>
                    <a:cubicBezTo>
                      <a:pt x="221" y="574"/>
                      <a:pt x="222" y="575"/>
                      <a:pt x="223" y="577"/>
                    </a:cubicBezTo>
                    <a:cubicBezTo>
                      <a:pt x="225" y="572"/>
                      <a:pt x="228" y="566"/>
                      <a:pt x="225" y="561"/>
                    </a:cubicBezTo>
                    <a:cubicBezTo>
                      <a:pt x="225" y="560"/>
                      <a:pt x="224" y="559"/>
                      <a:pt x="223" y="559"/>
                    </a:cubicBezTo>
                    <a:cubicBezTo>
                      <a:pt x="223" y="558"/>
                      <a:pt x="223" y="557"/>
                      <a:pt x="222" y="557"/>
                    </a:cubicBezTo>
                    <a:cubicBezTo>
                      <a:pt x="222" y="557"/>
                      <a:pt x="222" y="557"/>
                      <a:pt x="222" y="557"/>
                    </a:cubicBezTo>
                    <a:cubicBezTo>
                      <a:pt x="221" y="557"/>
                      <a:pt x="220" y="558"/>
                      <a:pt x="219" y="558"/>
                    </a:cubicBezTo>
                    <a:cubicBezTo>
                      <a:pt x="219" y="558"/>
                      <a:pt x="219" y="558"/>
                      <a:pt x="219" y="558"/>
                    </a:cubicBezTo>
                    <a:cubicBezTo>
                      <a:pt x="217" y="558"/>
                      <a:pt x="216" y="557"/>
                      <a:pt x="215" y="556"/>
                    </a:cubicBezTo>
                    <a:cubicBezTo>
                      <a:pt x="214" y="554"/>
                      <a:pt x="213" y="553"/>
                      <a:pt x="211" y="553"/>
                    </a:cubicBezTo>
                    <a:cubicBezTo>
                      <a:pt x="211" y="553"/>
                      <a:pt x="211" y="553"/>
                      <a:pt x="211" y="553"/>
                    </a:cubicBezTo>
                    <a:cubicBezTo>
                      <a:pt x="209" y="553"/>
                      <a:pt x="210" y="556"/>
                      <a:pt x="211" y="558"/>
                    </a:cubicBezTo>
                    <a:moveTo>
                      <a:pt x="560" y="457"/>
                    </a:moveTo>
                    <a:cubicBezTo>
                      <a:pt x="367" y="457"/>
                      <a:pt x="367" y="457"/>
                      <a:pt x="367" y="457"/>
                    </a:cubicBezTo>
                    <a:cubicBezTo>
                      <a:pt x="367" y="457"/>
                      <a:pt x="368" y="457"/>
                      <a:pt x="368" y="457"/>
                    </a:cubicBezTo>
                    <a:cubicBezTo>
                      <a:pt x="368" y="458"/>
                      <a:pt x="371" y="468"/>
                      <a:pt x="370" y="468"/>
                    </a:cubicBezTo>
                    <a:cubicBezTo>
                      <a:pt x="370" y="468"/>
                      <a:pt x="370" y="468"/>
                      <a:pt x="370" y="468"/>
                    </a:cubicBezTo>
                    <a:cubicBezTo>
                      <a:pt x="367" y="467"/>
                      <a:pt x="365" y="467"/>
                      <a:pt x="362" y="467"/>
                    </a:cubicBezTo>
                    <a:cubicBezTo>
                      <a:pt x="343" y="464"/>
                      <a:pt x="324" y="462"/>
                      <a:pt x="305" y="459"/>
                    </a:cubicBezTo>
                    <a:cubicBezTo>
                      <a:pt x="305" y="459"/>
                      <a:pt x="305" y="459"/>
                      <a:pt x="304" y="459"/>
                    </a:cubicBezTo>
                    <a:cubicBezTo>
                      <a:pt x="303" y="459"/>
                      <a:pt x="304" y="461"/>
                      <a:pt x="302" y="462"/>
                    </a:cubicBezTo>
                    <a:cubicBezTo>
                      <a:pt x="302" y="462"/>
                      <a:pt x="301" y="462"/>
                      <a:pt x="301" y="462"/>
                    </a:cubicBezTo>
                    <a:cubicBezTo>
                      <a:pt x="299" y="462"/>
                      <a:pt x="298" y="461"/>
                      <a:pt x="299" y="458"/>
                    </a:cubicBezTo>
                    <a:cubicBezTo>
                      <a:pt x="300" y="458"/>
                      <a:pt x="300" y="457"/>
                      <a:pt x="301" y="457"/>
                    </a:cubicBezTo>
                    <a:cubicBezTo>
                      <a:pt x="259" y="457"/>
                      <a:pt x="259" y="457"/>
                      <a:pt x="259" y="457"/>
                    </a:cubicBezTo>
                    <a:cubicBezTo>
                      <a:pt x="263" y="462"/>
                      <a:pt x="268" y="467"/>
                      <a:pt x="272" y="471"/>
                    </a:cubicBezTo>
                    <a:cubicBezTo>
                      <a:pt x="274" y="473"/>
                      <a:pt x="276" y="476"/>
                      <a:pt x="280" y="476"/>
                    </a:cubicBezTo>
                    <a:cubicBezTo>
                      <a:pt x="280" y="476"/>
                      <a:pt x="280" y="476"/>
                      <a:pt x="280" y="476"/>
                    </a:cubicBezTo>
                    <a:cubicBezTo>
                      <a:pt x="281" y="476"/>
                      <a:pt x="282" y="475"/>
                      <a:pt x="284" y="475"/>
                    </a:cubicBezTo>
                    <a:cubicBezTo>
                      <a:pt x="284" y="475"/>
                      <a:pt x="284" y="475"/>
                      <a:pt x="284" y="475"/>
                    </a:cubicBezTo>
                    <a:cubicBezTo>
                      <a:pt x="285" y="475"/>
                      <a:pt x="285" y="475"/>
                      <a:pt x="286" y="475"/>
                    </a:cubicBezTo>
                    <a:cubicBezTo>
                      <a:pt x="286" y="475"/>
                      <a:pt x="287" y="475"/>
                      <a:pt x="287" y="475"/>
                    </a:cubicBezTo>
                    <a:cubicBezTo>
                      <a:pt x="288" y="475"/>
                      <a:pt x="288" y="475"/>
                      <a:pt x="288" y="475"/>
                    </a:cubicBezTo>
                    <a:cubicBezTo>
                      <a:pt x="290" y="474"/>
                      <a:pt x="289" y="472"/>
                      <a:pt x="291" y="472"/>
                    </a:cubicBezTo>
                    <a:cubicBezTo>
                      <a:pt x="291" y="472"/>
                      <a:pt x="291" y="472"/>
                      <a:pt x="291" y="472"/>
                    </a:cubicBezTo>
                    <a:cubicBezTo>
                      <a:pt x="293" y="472"/>
                      <a:pt x="293" y="474"/>
                      <a:pt x="294" y="475"/>
                    </a:cubicBezTo>
                    <a:cubicBezTo>
                      <a:pt x="295" y="477"/>
                      <a:pt x="296" y="476"/>
                      <a:pt x="298" y="478"/>
                    </a:cubicBezTo>
                    <a:cubicBezTo>
                      <a:pt x="299" y="480"/>
                      <a:pt x="298" y="481"/>
                      <a:pt x="298" y="484"/>
                    </a:cubicBezTo>
                    <a:cubicBezTo>
                      <a:pt x="299" y="486"/>
                      <a:pt x="301" y="488"/>
                      <a:pt x="300" y="491"/>
                    </a:cubicBezTo>
                    <a:cubicBezTo>
                      <a:pt x="299" y="493"/>
                      <a:pt x="295" y="496"/>
                      <a:pt x="293" y="496"/>
                    </a:cubicBezTo>
                    <a:cubicBezTo>
                      <a:pt x="291" y="497"/>
                      <a:pt x="290" y="497"/>
                      <a:pt x="288" y="497"/>
                    </a:cubicBezTo>
                    <a:cubicBezTo>
                      <a:pt x="286" y="497"/>
                      <a:pt x="287" y="498"/>
                      <a:pt x="286" y="499"/>
                    </a:cubicBezTo>
                    <a:cubicBezTo>
                      <a:pt x="285" y="500"/>
                      <a:pt x="284" y="501"/>
                      <a:pt x="282" y="501"/>
                    </a:cubicBezTo>
                    <a:cubicBezTo>
                      <a:pt x="281" y="501"/>
                      <a:pt x="281" y="501"/>
                      <a:pt x="280" y="501"/>
                    </a:cubicBezTo>
                    <a:cubicBezTo>
                      <a:pt x="274" y="499"/>
                      <a:pt x="269" y="498"/>
                      <a:pt x="264" y="496"/>
                    </a:cubicBezTo>
                    <a:cubicBezTo>
                      <a:pt x="257" y="494"/>
                      <a:pt x="255" y="493"/>
                      <a:pt x="250" y="487"/>
                    </a:cubicBezTo>
                    <a:cubicBezTo>
                      <a:pt x="248" y="485"/>
                      <a:pt x="246" y="483"/>
                      <a:pt x="244" y="481"/>
                    </a:cubicBezTo>
                    <a:cubicBezTo>
                      <a:pt x="235" y="474"/>
                      <a:pt x="223" y="477"/>
                      <a:pt x="213" y="472"/>
                    </a:cubicBezTo>
                    <a:cubicBezTo>
                      <a:pt x="212" y="472"/>
                      <a:pt x="208" y="469"/>
                      <a:pt x="207" y="468"/>
                    </a:cubicBezTo>
                    <a:cubicBezTo>
                      <a:pt x="206" y="466"/>
                      <a:pt x="207" y="466"/>
                      <a:pt x="207" y="464"/>
                    </a:cubicBezTo>
                    <a:cubicBezTo>
                      <a:pt x="208" y="462"/>
                      <a:pt x="207" y="460"/>
                      <a:pt x="209" y="459"/>
                    </a:cubicBezTo>
                    <a:cubicBezTo>
                      <a:pt x="210" y="458"/>
                      <a:pt x="212" y="458"/>
                      <a:pt x="213" y="457"/>
                    </a:cubicBezTo>
                    <a:cubicBezTo>
                      <a:pt x="77" y="457"/>
                      <a:pt x="77" y="457"/>
                      <a:pt x="77" y="457"/>
                    </a:cubicBezTo>
                    <a:cubicBezTo>
                      <a:pt x="78" y="457"/>
                      <a:pt x="78" y="458"/>
                      <a:pt x="78" y="458"/>
                    </a:cubicBezTo>
                    <a:cubicBezTo>
                      <a:pt x="80" y="461"/>
                      <a:pt x="80" y="463"/>
                      <a:pt x="80" y="464"/>
                    </a:cubicBezTo>
                    <a:cubicBezTo>
                      <a:pt x="79" y="466"/>
                      <a:pt x="77" y="467"/>
                      <a:pt x="75" y="468"/>
                    </a:cubicBezTo>
                    <a:cubicBezTo>
                      <a:pt x="77" y="471"/>
                      <a:pt x="77" y="473"/>
                      <a:pt x="78" y="474"/>
                    </a:cubicBezTo>
                    <a:cubicBezTo>
                      <a:pt x="79" y="474"/>
                      <a:pt x="79" y="474"/>
                      <a:pt x="80" y="474"/>
                    </a:cubicBezTo>
                    <a:cubicBezTo>
                      <a:pt x="80" y="474"/>
                      <a:pt x="80" y="474"/>
                      <a:pt x="80" y="474"/>
                    </a:cubicBezTo>
                    <a:cubicBezTo>
                      <a:pt x="84" y="476"/>
                      <a:pt x="88" y="477"/>
                      <a:pt x="90" y="480"/>
                    </a:cubicBezTo>
                    <a:cubicBezTo>
                      <a:pt x="94" y="486"/>
                      <a:pt x="91" y="492"/>
                      <a:pt x="88" y="495"/>
                    </a:cubicBezTo>
                    <a:cubicBezTo>
                      <a:pt x="86" y="497"/>
                      <a:pt x="86" y="497"/>
                      <a:pt x="86" y="497"/>
                    </a:cubicBezTo>
                    <a:cubicBezTo>
                      <a:pt x="83" y="500"/>
                      <a:pt x="81" y="502"/>
                      <a:pt x="77" y="504"/>
                    </a:cubicBezTo>
                    <a:cubicBezTo>
                      <a:pt x="79" y="506"/>
                      <a:pt x="81" y="507"/>
                      <a:pt x="83" y="508"/>
                    </a:cubicBezTo>
                    <a:cubicBezTo>
                      <a:pt x="94" y="515"/>
                      <a:pt x="106" y="522"/>
                      <a:pt x="114" y="533"/>
                    </a:cubicBezTo>
                    <a:cubicBezTo>
                      <a:pt x="114" y="533"/>
                      <a:pt x="115" y="534"/>
                      <a:pt x="115" y="535"/>
                    </a:cubicBezTo>
                    <a:cubicBezTo>
                      <a:pt x="115" y="535"/>
                      <a:pt x="115" y="535"/>
                      <a:pt x="115" y="535"/>
                    </a:cubicBezTo>
                    <a:cubicBezTo>
                      <a:pt x="118" y="538"/>
                      <a:pt x="120" y="541"/>
                      <a:pt x="116" y="547"/>
                    </a:cubicBezTo>
                    <a:cubicBezTo>
                      <a:pt x="115" y="548"/>
                      <a:pt x="114" y="550"/>
                      <a:pt x="114" y="552"/>
                    </a:cubicBezTo>
                    <a:cubicBezTo>
                      <a:pt x="113" y="555"/>
                      <a:pt x="112" y="557"/>
                      <a:pt x="110" y="560"/>
                    </a:cubicBezTo>
                    <a:cubicBezTo>
                      <a:pt x="108" y="563"/>
                      <a:pt x="105" y="566"/>
                      <a:pt x="101" y="568"/>
                    </a:cubicBezTo>
                    <a:cubicBezTo>
                      <a:pt x="100" y="569"/>
                      <a:pt x="99" y="570"/>
                      <a:pt x="98" y="571"/>
                    </a:cubicBezTo>
                    <a:cubicBezTo>
                      <a:pt x="92" y="576"/>
                      <a:pt x="87" y="581"/>
                      <a:pt x="82" y="586"/>
                    </a:cubicBezTo>
                    <a:cubicBezTo>
                      <a:pt x="79" y="589"/>
                      <a:pt x="76" y="592"/>
                      <a:pt x="73" y="595"/>
                    </a:cubicBezTo>
                    <a:cubicBezTo>
                      <a:pt x="65" y="604"/>
                      <a:pt x="57" y="612"/>
                      <a:pt x="47" y="619"/>
                    </a:cubicBezTo>
                    <a:cubicBezTo>
                      <a:pt x="36" y="626"/>
                      <a:pt x="24" y="634"/>
                      <a:pt x="15" y="644"/>
                    </a:cubicBezTo>
                    <a:cubicBezTo>
                      <a:pt x="18" y="643"/>
                      <a:pt x="21" y="643"/>
                      <a:pt x="24" y="642"/>
                    </a:cubicBezTo>
                    <a:cubicBezTo>
                      <a:pt x="24" y="639"/>
                      <a:pt x="30" y="640"/>
                      <a:pt x="33" y="636"/>
                    </a:cubicBezTo>
                    <a:cubicBezTo>
                      <a:pt x="36" y="644"/>
                      <a:pt x="26" y="638"/>
                      <a:pt x="32" y="645"/>
                    </a:cubicBezTo>
                    <a:cubicBezTo>
                      <a:pt x="34" y="647"/>
                      <a:pt x="34" y="648"/>
                      <a:pt x="34" y="648"/>
                    </a:cubicBezTo>
                    <a:cubicBezTo>
                      <a:pt x="33" y="648"/>
                      <a:pt x="28" y="645"/>
                      <a:pt x="27" y="644"/>
                    </a:cubicBezTo>
                    <a:cubicBezTo>
                      <a:pt x="31" y="654"/>
                      <a:pt x="44" y="656"/>
                      <a:pt x="53" y="660"/>
                    </a:cubicBezTo>
                    <a:cubicBezTo>
                      <a:pt x="57" y="661"/>
                      <a:pt x="60" y="662"/>
                      <a:pt x="63" y="663"/>
                    </a:cubicBezTo>
                    <a:cubicBezTo>
                      <a:pt x="66" y="664"/>
                      <a:pt x="69" y="666"/>
                      <a:pt x="73" y="667"/>
                    </a:cubicBezTo>
                    <a:cubicBezTo>
                      <a:pt x="75" y="672"/>
                      <a:pt x="75" y="672"/>
                      <a:pt x="75" y="672"/>
                    </a:cubicBezTo>
                    <a:cubicBezTo>
                      <a:pt x="71" y="672"/>
                      <a:pt x="71" y="672"/>
                      <a:pt x="71" y="672"/>
                    </a:cubicBezTo>
                    <a:cubicBezTo>
                      <a:pt x="68" y="672"/>
                      <a:pt x="65" y="671"/>
                      <a:pt x="62" y="670"/>
                    </a:cubicBezTo>
                    <a:cubicBezTo>
                      <a:pt x="59" y="669"/>
                      <a:pt x="54" y="668"/>
                      <a:pt x="51" y="668"/>
                    </a:cubicBezTo>
                    <a:cubicBezTo>
                      <a:pt x="49" y="668"/>
                      <a:pt x="48" y="668"/>
                      <a:pt x="47" y="668"/>
                    </a:cubicBezTo>
                    <a:cubicBezTo>
                      <a:pt x="44" y="670"/>
                      <a:pt x="40" y="674"/>
                      <a:pt x="38" y="677"/>
                    </a:cubicBezTo>
                    <a:cubicBezTo>
                      <a:pt x="37" y="677"/>
                      <a:pt x="37" y="677"/>
                      <a:pt x="37" y="677"/>
                    </a:cubicBezTo>
                    <a:cubicBezTo>
                      <a:pt x="35" y="677"/>
                      <a:pt x="32" y="675"/>
                      <a:pt x="30" y="675"/>
                    </a:cubicBezTo>
                    <a:cubicBezTo>
                      <a:pt x="30" y="675"/>
                      <a:pt x="30" y="675"/>
                      <a:pt x="29" y="675"/>
                    </a:cubicBezTo>
                    <a:cubicBezTo>
                      <a:pt x="28" y="675"/>
                      <a:pt x="26" y="675"/>
                      <a:pt x="25" y="676"/>
                    </a:cubicBezTo>
                    <a:cubicBezTo>
                      <a:pt x="23" y="677"/>
                      <a:pt x="21" y="678"/>
                      <a:pt x="20" y="678"/>
                    </a:cubicBezTo>
                    <a:cubicBezTo>
                      <a:pt x="19" y="678"/>
                      <a:pt x="18" y="677"/>
                      <a:pt x="17" y="676"/>
                    </a:cubicBezTo>
                    <a:cubicBezTo>
                      <a:pt x="15" y="679"/>
                      <a:pt x="15" y="683"/>
                      <a:pt x="15" y="686"/>
                    </a:cubicBezTo>
                    <a:cubicBezTo>
                      <a:pt x="22" y="691"/>
                      <a:pt x="22" y="691"/>
                      <a:pt x="22" y="691"/>
                    </a:cubicBezTo>
                    <a:cubicBezTo>
                      <a:pt x="21" y="694"/>
                      <a:pt x="21" y="694"/>
                      <a:pt x="21" y="694"/>
                    </a:cubicBezTo>
                    <a:cubicBezTo>
                      <a:pt x="21" y="694"/>
                      <a:pt x="20" y="695"/>
                      <a:pt x="20" y="695"/>
                    </a:cubicBezTo>
                    <a:cubicBezTo>
                      <a:pt x="25" y="698"/>
                      <a:pt x="25" y="698"/>
                      <a:pt x="25" y="698"/>
                    </a:cubicBezTo>
                    <a:cubicBezTo>
                      <a:pt x="18" y="700"/>
                      <a:pt x="18" y="700"/>
                      <a:pt x="18" y="700"/>
                    </a:cubicBezTo>
                    <a:cubicBezTo>
                      <a:pt x="17" y="701"/>
                      <a:pt x="13" y="702"/>
                      <a:pt x="12" y="706"/>
                    </a:cubicBezTo>
                    <a:cubicBezTo>
                      <a:pt x="10" y="712"/>
                      <a:pt x="5" y="718"/>
                      <a:pt x="2" y="719"/>
                    </a:cubicBezTo>
                    <a:cubicBezTo>
                      <a:pt x="2" y="719"/>
                      <a:pt x="1" y="721"/>
                      <a:pt x="2" y="723"/>
                    </a:cubicBezTo>
                    <a:cubicBezTo>
                      <a:pt x="3" y="727"/>
                      <a:pt x="2" y="732"/>
                      <a:pt x="2" y="735"/>
                    </a:cubicBezTo>
                    <a:cubicBezTo>
                      <a:pt x="2" y="736"/>
                      <a:pt x="2" y="736"/>
                      <a:pt x="2" y="737"/>
                    </a:cubicBezTo>
                    <a:cubicBezTo>
                      <a:pt x="2" y="737"/>
                      <a:pt x="2" y="743"/>
                      <a:pt x="5" y="746"/>
                    </a:cubicBezTo>
                    <a:cubicBezTo>
                      <a:pt x="10" y="749"/>
                      <a:pt x="11" y="754"/>
                      <a:pt x="12" y="756"/>
                    </a:cubicBezTo>
                    <a:cubicBezTo>
                      <a:pt x="12" y="758"/>
                      <a:pt x="11" y="759"/>
                      <a:pt x="10" y="760"/>
                    </a:cubicBezTo>
                    <a:cubicBezTo>
                      <a:pt x="9" y="761"/>
                      <a:pt x="9" y="761"/>
                      <a:pt x="9" y="761"/>
                    </a:cubicBezTo>
                    <a:cubicBezTo>
                      <a:pt x="8" y="761"/>
                      <a:pt x="8" y="761"/>
                      <a:pt x="8" y="761"/>
                    </a:cubicBezTo>
                    <a:cubicBezTo>
                      <a:pt x="7" y="761"/>
                      <a:pt x="7" y="761"/>
                      <a:pt x="7" y="761"/>
                    </a:cubicBezTo>
                    <a:cubicBezTo>
                      <a:pt x="7" y="761"/>
                      <a:pt x="7" y="761"/>
                      <a:pt x="6" y="761"/>
                    </a:cubicBezTo>
                    <a:cubicBezTo>
                      <a:pt x="6" y="761"/>
                      <a:pt x="6" y="761"/>
                      <a:pt x="6" y="761"/>
                    </a:cubicBezTo>
                    <a:cubicBezTo>
                      <a:pt x="5" y="762"/>
                      <a:pt x="5" y="762"/>
                      <a:pt x="5" y="762"/>
                    </a:cubicBezTo>
                    <a:cubicBezTo>
                      <a:pt x="4" y="762"/>
                      <a:pt x="4" y="762"/>
                      <a:pt x="4" y="762"/>
                    </a:cubicBezTo>
                    <a:cubicBezTo>
                      <a:pt x="4" y="762"/>
                      <a:pt x="4" y="762"/>
                      <a:pt x="4" y="762"/>
                    </a:cubicBezTo>
                    <a:cubicBezTo>
                      <a:pt x="3" y="763"/>
                      <a:pt x="3" y="763"/>
                      <a:pt x="3" y="763"/>
                    </a:cubicBezTo>
                    <a:cubicBezTo>
                      <a:pt x="3" y="763"/>
                      <a:pt x="3" y="763"/>
                      <a:pt x="3" y="763"/>
                    </a:cubicBezTo>
                    <a:cubicBezTo>
                      <a:pt x="2" y="764"/>
                      <a:pt x="2" y="764"/>
                      <a:pt x="2" y="764"/>
                    </a:cubicBezTo>
                    <a:cubicBezTo>
                      <a:pt x="2" y="764"/>
                      <a:pt x="2" y="765"/>
                      <a:pt x="1" y="765"/>
                    </a:cubicBezTo>
                    <a:cubicBezTo>
                      <a:pt x="1" y="765"/>
                      <a:pt x="1" y="765"/>
                      <a:pt x="1" y="765"/>
                    </a:cubicBezTo>
                    <a:cubicBezTo>
                      <a:pt x="1" y="766"/>
                      <a:pt x="1" y="766"/>
                      <a:pt x="1" y="766"/>
                    </a:cubicBezTo>
                    <a:cubicBezTo>
                      <a:pt x="1" y="766"/>
                      <a:pt x="1" y="766"/>
                      <a:pt x="1" y="766"/>
                    </a:cubicBezTo>
                    <a:cubicBezTo>
                      <a:pt x="1" y="766"/>
                      <a:pt x="1" y="767"/>
                      <a:pt x="1" y="767"/>
                    </a:cubicBezTo>
                    <a:cubicBezTo>
                      <a:pt x="0" y="768"/>
                      <a:pt x="0" y="768"/>
                      <a:pt x="0" y="768"/>
                    </a:cubicBezTo>
                    <a:cubicBezTo>
                      <a:pt x="0" y="768"/>
                      <a:pt x="0" y="768"/>
                      <a:pt x="0" y="768"/>
                    </a:cubicBezTo>
                    <a:cubicBezTo>
                      <a:pt x="0" y="769"/>
                      <a:pt x="0" y="769"/>
                      <a:pt x="0" y="769"/>
                    </a:cubicBezTo>
                    <a:cubicBezTo>
                      <a:pt x="1" y="770"/>
                      <a:pt x="1" y="770"/>
                      <a:pt x="1" y="770"/>
                    </a:cubicBezTo>
                    <a:cubicBezTo>
                      <a:pt x="1" y="771"/>
                      <a:pt x="1" y="771"/>
                      <a:pt x="1" y="771"/>
                    </a:cubicBezTo>
                    <a:cubicBezTo>
                      <a:pt x="1" y="771"/>
                      <a:pt x="1" y="771"/>
                      <a:pt x="1" y="771"/>
                    </a:cubicBezTo>
                    <a:cubicBezTo>
                      <a:pt x="2" y="771"/>
                      <a:pt x="2" y="771"/>
                      <a:pt x="2" y="771"/>
                    </a:cubicBezTo>
                    <a:cubicBezTo>
                      <a:pt x="2" y="771"/>
                      <a:pt x="2" y="771"/>
                      <a:pt x="2" y="771"/>
                    </a:cubicBezTo>
                    <a:cubicBezTo>
                      <a:pt x="5" y="773"/>
                      <a:pt x="9" y="775"/>
                      <a:pt x="9" y="775"/>
                    </a:cubicBezTo>
                    <a:cubicBezTo>
                      <a:pt x="11" y="776"/>
                      <a:pt x="12" y="777"/>
                      <a:pt x="13" y="778"/>
                    </a:cubicBezTo>
                    <a:cubicBezTo>
                      <a:pt x="14" y="781"/>
                      <a:pt x="12" y="786"/>
                      <a:pt x="10" y="788"/>
                    </a:cubicBezTo>
                    <a:cubicBezTo>
                      <a:pt x="10" y="789"/>
                      <a:pt x="10" y="789"/>
                      <a:pt x="10" y="789"/>
                    </a:cubicBezTo>
                    <a:cubicBezTo>
                      <a:pt x="10" y="790"/>
                      <a:pt x="11" y="792"/>
                      <a:pt x="10" y="794"/>
                    </a:cubicBezTo>
                    <a:cubicBezTo>
                      <a:pt x="9" y="794"/>
                      <a:pt x="9" y="794"/>
                      <a:pt x="9" y="794"/>
                    </a:cubicBezTo>
                    <a:cubicBezTo>
                      <a:pt x="10" y="795"/>
                      <a:pt x="10" y="795"/>
                      <a:pt x="10" y="795"/>
                    </a:cubicBezTo>
                    <a:cubicBezTo>
                      <a:pt x="14" y="796"/>
                      <a:pt x="16" y="799"/>
                      <a:pt x="18" y="805"/>
                    </a:cubicBezTo>
                    <a:cubicBezTo>
                      <a:pt x="20" y="810"/>
                      <a:pt x="20" y="811"/>
                      <a:pt x="20" y="812"/>
                    </a:cubicBezTo>
                    <a:cubicBezTo>
                      <a:pt x="21" y="813"/>
                      <a:pt x="21" y="813"/>
                      <a:pt x="21" y="813"/>
                    </a:cubicBezTo>
                    <a:cubicBezTo>
                      <a:pt x="21" y="813"/>
                      <a:pt x="21" y="813"/>
                      <a:pt x="22" y="814"/>
                    </a:cubicBezTo>
                    <a:cubicBezTo>
                      <a:pt x="22" y="814"/>
                      <a:pt x="22" y="814"/>
                      <a:pt x="22" y="814"/>
                    </a:cubicBezTo>
                    <a:cubicBezTo>
                      <a:pt x="22" y="815"/>
                      <a:pt x="22" y="815"/>
                      <a:pt x="22" y="815"/>
                    </a:cubicBezTo>
                    <a:cubicBezTo>
                      <a:pt x="22" y="816"/>
                      <a:pt x="22" y="816"/>
                      <a:pt x="22" y="816"/>
                    </a:cubicBezTo>
                    <a:cubicBezTo>
                      <a:pt x="22" y="818"/>
                      <a:pt x="22" y="818"/>
                      <a:pt x="22" y="818"/>
                    </a:cubicBezTo>
                    <a:cubicBezTo>
                      <a:pt x="23" y="819"/>
                      <a:pt x="23" y="819"/>
                      <a:pt x="23" y="819"/>
                    </a:cubicBezTo>
                    <a:cubicBezTo>
                      <a:pt x="23" y="824"/>
                      <a:pt x="23" y="824"/>
                      <a:pt x="23" y="824"/>
                    </a:cubicBezTo>
                    <a:cubicBezTo>
                      <a:pt x="23" y="825"/>
                      <a:pt x="23" y="825"/>
                      <a:pt x="23" y="825"/>
                    </a:cubicBezTo>
                    <a:cubicBezTo>
                      <a:pt x="24" y="825"/>
                      <a:pt x="24" y="825"/>
                      <a:pt x="24" y="825"/>
                    </a:cubicBezTo>
                    <a:cubicBezTo>
                      <a:pt x="24" y="825"/>
                      <a:pt x="25" y="826"/>
                      <a:pt x="25" y="826"/>
                    </a:cubicBezTo>
                    <a:cubicBezTo>
                      <a:pt x="26" y="827"/>
                      <a:pt x="26" y="827"/>
                      <a:pt x="26" y="827"/>
                    </a:cubicBezTo>
                    <a:cubicBezTo>
                      <a:pt x="27" y="827"/>
                      <a:pt x="28" y="827"/>
                      <a:pt x="29" y="828"/>
                    </a:cubicBezTo>
                    <a:cubicBezTo>
                      <a:pt x="29" y="828"/>
                      <a:pt x="29" y="828"/>
                      <a:pt x="29" y="828"/>
                    </a:cubicBezTo>
                    <a:cubicBezTo>
                      <a:pt x="34" y="830"/>
                      <a:pt x="34" y="830"/>
                      <a:pt x="34" y="830"/>
                    </a:cubicBezTo>
                    <a:cubicBezTo>
                      <a:pt x="35" y="830"/>
                      <a:pt x="35" y="830"/>
                      <a:pt x="35" y="831"/>
                    </a:cubicBezTo>
                    <a:cubicBezTo>
                      <a:pt x="36" y="831"/>
                      <a:pt x="36" y="831"/>
                      <a:pt x="37" y="831"/>
                    </a:cubicBezTo>
                    <a:cubicBezTo>
                      <a:pt x="37" y="831"/>
                      <a:pt x="37" y="831"/>
                      <a:pt x="37" y="831"/>
                    </a:cubicBezTo>
                    <a:cubicBezTo>
                      <a:pt x="38" y="831"/>
                      <a:pt x="38" y="831"/>
                      <a:pt x="39" y="831"/>
                    </a:cubicBezTo>
                    <a:cubicBezTo>
                      <a:pt x="39" y="831"/>
                      <a:pt x="39" y="831"/>
                      <a:pt x="39" y="831"/>
                    </a:cubicBezTo>
                    <a:cubicBezTo>
                      <a:pt x="40" y="831"/>
                      <a:pt x="41" y="831"/>
                      <a:pt x="42" y="831"/>
                    </a:cubicBezTo>
                    <a:cubicBezTo>
                      <a:pt x="43" y="831"/>
                      <a:pt x="43" y="831"/>
                      <a:pt x="43" y="831"/>
                    </a:cubicBezTo>
                    <a:cubicBezTo>
                      <a:pt x="44" y="830"/>
                      <a:pt x="45" y="830"/>
                      <a:pt x="47" y="830"/>
                    </a:cubicBezTo>
                    <a:cubicBezTo>
                      <a:pt x="47" y="829"/>
                      <a:pt x="48" y="829"/>
                      <a:pt x="48" y="829"/>
                    </a:cubicBezTo>
                    <a:cubicBezTo>
                      <a:pt x="48" y="829"/>
                      <a:pt x="49" y="829"/>
                      <a:pt x="49" y="830"/>
                    </a:cubicBezTo>
                    <a:cubicBezTo>
                      <a:pt x="50" y="830"/>
                      <a:pt x="50" y="830"/>
                      <a:pt x="50" y="830"/>
                    </a:cubicBezTo>
                    <a:cubicBezTo>
                      <a:pt x="51" y="830"/>
                      <a:pt x="53" y="831"/>
                      <a:pt x="54" y="833"/>
                    </a:cubicBezTo>
                    <a:cubicBezTo>
                      <a:pt x="54" y="834"/>
                      <a:pt x="54" y="834"/>
                      <a:pt x="54" y="834"/>
                    </a:cubicBezTo>
                    <a:cubicBezTo>
                      <a:pt x="55" y="833"/>
                      <a:pt x="55" y="833"/>
                      <a:pt x="55" y="833"/>
                    </a:cubicBezTo>
                    <a:cubicBezTo>
                      <a:pt x="56" y="835"/>
                      <a:pt x="57" y="837"/>
                      <a:pt x="57" y="838"/>
                    </a:cubicBezTo>
                    <a:cubicBezTo>
                      <a:pt x="57" y="839"/>
                      <a:pt x="57" y="839"/>
                      <a:pt x="57" y="839"/>
                    </a:cubicBezTo>
                    <a:cubicBezTo>
                      <a:pt x="57" y="840"/>
                      <a:pt x="57" y="840"/>
                      <a:pt x="57" y="841"/>
                    </a:cubicBezTo>
                    <a:cubicBezTo>
                      <a:pt x="58" y="840"/>
                      <a:pt x="59" y="840"/>
                      <a:pt x="60" y="839"/>
                    </a:cubicBezTo>
                    <a:cubicBezTo>
                      <a:pt x="61" y="839"/>
                      <a:pt x="62" y="838"/>
                      <a:pt x="63" y="837"/>
                    </a:cubicBezTo>
                    <a:cubicBezTo>
                      <a:pt x="63" y="837"/>
                      <a:pt x="64" y="837"/>
                      <a:pt x="65" y="836"/>
                    </a:cubicBezTo>
                    <a:cubicBezTo>
                      <a:pt x="66" y="836"/>
                      <a:pt x="66" y="836"/>
                      <a:pt x="66" y="836"/>
                    </a:cubicBezTo>
                    <a:cubicBezTo>
                      <a:pt x="66" y="836"/>
                      <a:pt x="66" y="836"/>
                      <a:pt x="67" y="836"/>
                    </a:cubicBezTo>
                    <a:cubicBezTo>
                      <a:pt x="67" y="836"/>
                      <a:pt x="68" y="835"/>
                      <a:pt x="68" y="835"/>
                    </a:cubicBezTo>
                    <a:cubicBezTo>
                      <a:pt x="69" y="835"/>
                      <a:pt x="69" y="835"/>
                      <a:pt x="69" y="835"/>
                    </a:cubicBezTo>
                    <a:cubicBezTo>
                      <a:pt x="70" y="835"/>
                      <a:pt x="71" y="835"/>
                      <a:pt x="72" y="835"/>
                    </a:cubicBezTo>
                    <a:cubicBezTo>
                      <a:pt x="73" y="835"/>
                      <a:pt x="73" y="835"/>
                      <a:pt x="73" y="835"/>
                    </a:cubicBezTo>
                    <a:cubicBezTo>
                      <a:pt x="75" y="835"/>
                      <a:pt x="77" y="835"/>
                      <a:pt x="79" y="836"/>
                    </a:cubicBezTo>
                    <a:cubicBezTo>
                      <a:pt x="79" y="836"/>
                      <a:pt x="79" y="836"/>
                      <a:pt x="79" y="836"/>
                    </a:cubicBezTo>
                    <a:cubicBezTo>
                      <a:pt x="82" y="836"/>
                      <a:pt x="84" y="837"/>
                      <a:pt x="86" y="838"/>
                    </a:cubicBezTo>
                    <a:cubicBezTo>
                      <a:pt x="96" y="842"/>
                      <a:pt x="99" y="845"/>
                      <a:pt x="99" y="846"/>
                    </a:cubicBezTo>
                    <a:cubicBezTo>
                      <a:pt x="100" y="847"/>
                      <a:pt x="100" y="847"/>
                      <a:pt x="100" y="847"/>
                    </a:cubicBezTo>
                    <a:cubicBezTo>
                      <a:pt x="101" y="858"/>
                      <a:pt x="101" y="858"/>
                      <a:pt x="101" y="858"/>
                    </a:cubicBezTo>
                    <a:cubicBezTo>
                      <a:pt x="98" y="861"/>
                      <a:pt x="98" y="861"/>
                      <a:pt x="98" y="861"/>
                    </a:cubicBezTo>
                    <a:cubicBezTo>
                      <a:pt x="99" y="862"/>
                      <a:pt x="99" y="862"/>
                      <a:pt x="99" y="862"/>
                    </a:cubicBezTo>
                    <a:cubicBezTo>
                      <a:pt x="100" y="863"/>
                      <a:pt x="105" y="869"/>
                      <a:pt x="103" y="873"/>
                    </a:cubicBezTo>
                    <a:cubicBezTo>
                      <a:pt x="102" y="874"/>
                      <a:pt x="102" y="874"/>
                      <a:pt x="102" y="874"/>
                    </a:cubicBezTo>
                    <a:cubicBezTo>
                      <a:pt x="101" y="874"/>
                      <a:pt x="100" y="876"/>
                      <a:pt x="98" y="879"/>
                    </a:cubicBezTo>
                    <a:cubicBezTo>
                      <a:pt x="103" y="881"/>
                      <a:pt x="108" y="884"/>
                      <a:pt x="108" y="889"/>
                    </a:cubicBezTo>
                    <a:cubicBezTo>
                      <a:pt x="108" y="891"/>
                      <a:pt x="110" y="898"/>
                      <a:pt x="118" y="902"/>
                    </a:cubicBezTo>
                    <a:cubicBezTo>
                      <a:pt x="124" y="904"/>
                      <a:pt x="126" y="909"/>
                      <a:pt x="126" y="911"/>
                    </a:cubicBezTo>
                    <a:cubicBezTo>
                      <a:pt x="127" y="913"/>
                      <a:pt x="127" y="914"/>
                      <a:pt x="126" y="915"/>
                    </a:cubicBezTo>
                    <a:cubicBezTo>
                      <a:pt x="560" y="915"/>
                      <a:pt x="560" y="915"/>
                      <a:pt x="560" y="915"/>
                    </a:cubicBezTo>
                    <a:cubicBezTo>
                      <a:pt x="560" y="457"/>
                      <a:pt x="560" y="457"/>
                      <a:pt x="560" y="457"/>
                    </a:cubicBezTo>
                    <a:moveTo>
                      <a:pt x="1682" y="457"/>
                    </a:moveTo>
                    <a:cubicBezTo>
                      <a:pt x="1122" y="457"/>
                      <a:pt x="1122" y="457"/>
                      <a:pt x="1122" y="457"/>
                    </a:cubicBezTo>
                    <a:cubicBezTo>
                      <a:pt x="1122" y="877"/>
                      <a:pt x="1122" y="877"/>
                      <a:pt x="1122" y="877"/>
                    </a:cubicBezTo>
                    <a:cubicBezTo>
                      <a:pt x="1122" y="877"/>
                      <a:pt x="1122" y="877"/>
                      <a:pt x="1122" y="877"/>
                    </a:cubicBezTo>
                    <a:cubicBezTo>
                      <a:pt x="1124" y="877"/>
                      <a:pt x="1125" y="876"/>
                      <a:pt x="1127" y="875"/>
                    </a:cubicBezTo>
                    <a:cubicBezTo>
                      <a:pt x="1129" y="875"/>
                      <a:pt x="1129" y="875"/>
                      <a:pt x="1129" y="875"/>
                    </a:cubicBezTo>
                    <a:cubicBezTo>
                      <a:pt x="1131" y="874"/>
                      <a:pt x="1131" y="874"/>
                      <a:pt x="1131" y="874"/>
                    </a:cubicBezTo>
                    <a:cubicBezTo>
                      <a:pt x="1132" y="874"/>
                      <a:pt x="1132" y="874"/>
                      <a:pt x="1132" y="874"/>
                    </a:cubicBezTo>
                    <a:cubicBezTo>
                      <a:pt x="1143" y="872"/>
                      <a:pt x="1143" y="872"/>
                      <a:pt x="1143" y="872"/>
                    </a:cubicBezTo>
                    <a:cubicBezTo>
                      <a:pt x="1143" y="872"/>
                      <a:pt x="1143" y="872"/>
                      <a:pt x="1143" y="872"/>
                    </a:cubicBezTo>
                    <a:cubicBezTo>
                      <a:pt x="1144" y="871"/>
                      <a:pt x="1144" y="871"/>
                      <a:pt x="1144" y="871"/>
                    </a:cubicBezTo>
                    <a:cubicBezTo>
                      <a:pt x="1145" y="870"/>
                      <a:pt x="1146" y="870"/>
                      <a:pt x="1147" y="870"/>
                    </a:cubicBezTo>
                    <a:cubicBezTo>
                      <a:pt x="1148" y="870"/>
                      <a:pt x="1148" y="870"/>
                      <a:pt x="1149" y="870"/>
                    </a:cubicBezTo>
                    <a:cubicBezTo>
                      <a:pt x="1150" y="870"/>
                      <a:pt x="1150" y="870"/>
                      <a:pt x="1151" y="870"/>
                    </a:cubicBezTo>
                    <a:cubicBezTo>
                      <a:pt x="1152" y="871"/>
                      <a:pt x="1152" y="871"/>
                      <a:pt x="1152" y="871"/>
                    </a:cubicBezTo>
                    <a:cubicBezTo>
                      <a:pt x="1152" y="871"/>
                      <a:pt x="1152" y="871"/>
                      <a:pt x="1152" y="871"/>
                    </a:cubicBezTo>
                    <a:cubicBezTo>
                      <a:pt x="1153" y="871"/>
                      <a:pt x="1153" y="870"/>
                      <a:pt x="1154" y="870"/>
                    </a:cubicBezTo>
                    <a:cubicBezTo>
                      <a:pt x="1156" y="868"/>
                      <a:pt x="1156" y="868"/>
                      <a:pt x="1156" y="868"/>
                    </a:cubicBezTo>
                    <a:cubicBezTo>
                      <a:pt x="1157" y="868"/>
                      <a:pt x="1157" y="868"/>
                      <a:pt x="1157" y="868"/>
                    </a:cubicBezTo>
                    <a:cubicBezTo>
                      <a:pt x="1158" y="867"/>
                      <a:pt x="1158" y="867"/>
                      <a:pt x="1158" y="867"/>
                    </a:cubicBezTo>
                    <a:cubicBezTo>
                      <a:pt x="1159" y="867"/>
                      <a:pt x="1160" y="866"/>
                      <a:pt x="1161" y="865"/>
                    </a:cubicBezTo>
                    <a:cubicBezTo>
                      <a:pt x="1162" y="865"/>
                      <a:pt x="1165" y="863"/>
                      <a:pt x="1166" y="862"/>
                    </a:cubicBezTo>
                    <a:cubicBezTo>
                      <a:pt x="1167" y="861"/>
                      <a:pt x="1167" y="860"/>
                      <a:pt x="1167" y="859"/>
                    </a:cubicBezTo>
                    <a:cubicBezTo>
                      <a:pt x="1168" y="857"/>
                      <a:pt x="1168" y="857"/>
                      <a:pt x="1168" y="857"/>
                    </a:cubicBezTo>
                    <a:cubicBezTo>
                      <a:pt x="1169" y="856"/>
                      <a:pt x="1171" y="855"/>
                      <a:pt x="1173" y="855"/>
                    </a:cubicBezTo>
                    <a:cubicBezTo>
                      <a:pt x="1173" y="855"/>
                      <a:pt x="1173" y="855"/>
                      <a:pt x="1173" y="855"/>
                    </a:cubicBezTo>
                    <a:cubicBezTo>
                      <a:pt x="1174" y="855"/>
                      <a:pt x="1174" y="855"/>
                      <a:pt x="1174" y="855"/>
                    </a:cubicBezTo>
                    <a:cubicBezTo>
                      <a:pt x="1174" y="855"/>
                      <a:pt x="1174" y="855"/>
                      <a:pt x="1174" y="855"/>
                    </a:cubicBezTo>
                    <a:cubicBezTo>
                      <a:pt x="1181" y="855"/>
                      <a:pt x="1181" y="855"/>
                      <a:pt x="1181" y="855"/>
                    </a:cubicBezTo>
                    <a:cubicBezTo>
                      <a:pt x="1182" y="855"/>
                      <a:pt x="1182" y="855"/>
                      <a:pt x="1182" y="855"/>
                    </a:cubicBezTo>
                    <a:cubicBezTo>
                      <a:pt x="1182" y="855"/>
                      <a:pt x="1182" y="855"/>
                      <a:pt x="1182" y="855"/>
                    </a:cubicBezTo>
                    <a:cubicBezTo>
                      <a:pt x="1186" y="855"/>
                      <a:pt x="1186" y="855"/>
                      <a:pt x="1186" y="855"/>
                    </a:cubicBezTo>
                    <a:cubicBezTo>
                      <a:pt x="1186" y="855"/>
                      <a:pt x="1186" y="855"/>
                      <a:pt x="1186" y="855"/>
                    </a:cubicBezTo>
                    <a:cubicBezTo>
                      <a:pt x="1187" y="855"/>
                      <a:pt x="1187" y="855"/>
                      <a:pt x="1187" y="855"/>
                    </a:cubicBezTo>
                    <a:cubicBezTo>
                      <a:pt x="1187" y="855"/>
                      <a:pt x="1187" y="855"/>
                      <a:pt x="1187" y="855"/>
                    </a:cubicBezTo>
                    <a:cubicBezTo>
                      <a:pt x="1198" y="855"/>
                      <a:pt x="1198" y="855"/>
                      <a:pt x="1198" y="855"/>
                    </a:cubicBezTo>
                    <a:cubicBezTo>
                      <a:pt x="1200" y="855"/>
                      <a:pt x="1201" y="856"/>
                      <a:pt x="1202" y="857"/>
                    </a:cubicBezTo>
                    <a:cubicBezTo>
                      <a:pt x="1204" y="858"/>
                      <a:pt x="1204" y="858"/>
                      <a:pt x="1204" y="858"/>
                    </a:cubicBezTo>
                    <a:cubicBezTo>
                      <a:pt x="1205" y="859"/>
                      <a:pt x="1206" y="860"/>
                      <a:pt x="1207" y="861"/>
                    </a:cubicBezTo>
                    <a:cubicBezTo>
                      <a:pt x="1208" y="861"/>
                      <a:pt x="1208" y="861"/>
                      <a:pt x="1208" y="861"/>
                    </a:cubicBezTo>
                    <a:cubicBezTo>
                      <a:pt x="1209" y="861"/>
                      <a:pt x="1209" y="861"/>
                      <a:pt x="1209" y="861"/>
                    </a:cubicBezTo>
                    <a:cubicBezTo>
                      <a:pt x="1210" y="862"/>
                      <a:pt x="1211" y="862"/>
                      <a:pt x="1213" y="863"/>
                    </a:cubicBezTo>
                    <a:cubicBezTo>
                      <a:pt x="1214" y="863"/>
                      <a:pt x="1214" y="863"/>
                      <a:pt x="1214" y="863"/>
                    </a:cubicBezTo>
                    <a:cubicBezTo>
                      <a:pt x="1215" y="861"/>
                      <a:pt x="1219" y="859"/>
                      <a:pt x="1222" y="857"/>
                    </a:cubicBezTo>
                    <a:cubicBezTo>
                      <a:pt x="1223" y="857"/>
                      <a:pt x="1223" y="857"/>
                      <a:pt x="1223" y="857"/>
                    </a:cubicBezTo>
                    <a:cubicBezTo>
                      <a:pt x="1229" y="856"/>
                      <a:pt x="1229" y="856"/>
                      <a:pt x="1229" y="856"/>
                    </a:cubicBezTo>
                    <a:cubicBezTo>
                      <a:pt x="1230" y="857"/>
                      <a:pt x="1230" y="857"/>
                      <a:pt x="1230" y="857"/>
                    </a:cubicBezTo>
                    <a:cubicBezTo>
                      <a:pt x="1232" y="857"/>
                      <a:pt x="1234" y="859"/>
                      <a:pt x="1235" y="860"/>
                    </a:cubicBezTo>
                    <a:cubicBezTo>
                      <a:pt x="1237" y="864"/>
                      <a:pt x="1239" y="868"/>
                      <a:pt x="1241" y="872"/>
                    </a:cubicBezTo>
                    <a:cubicBezTo>
                      <a:pt x="1247" y="883"/>
                      <a:pt x="1247" y="883"/>
                      <a:pt x="1247" y="883"/>
                    </a:cubicBezTo>
                    <a:cubicBezTo>
                      <a:pt x="1247" y="885"/>
                      <a:pt x="1247" y="886"/>
                      <a:pt x="1246" y="887"/>
                    </a:cubicBezTo>
                    <a:cubicBezTo>
                      <a:pt x="1246" y="888"/>
                      <a:pt x="1246" y="888"/>
                      <a:pt x="1246" y="888"/>
                    </a:cubicBezTo>
                    <a:cubicBezTo>
                      <a:pt x="1244" y="890"/>
                      <a:pt x="1244" y="890"/>
                      <a:pt x="1244" y="890"/>
                    </a:cubicBezTo>
                    <a:cubicBezTo>
                      <a:pt x="1244" y="892"/>
                      <a:pt x="1244" y="892"/>
                      <a:pt x="1244" y="892"/>
                    </a:cubicBezTo>
                    <a:cubicBezTo>
                      <a:pt x="1245" y="892"/>
                      <a:pt x="1245" y="892"/>
                      <a:pt x="1245" y="892"/>
                    </a:cubicBezTo>
                    <a:cubicBezTo>
                      <a:pt x="1245" y="893"/>
                      <a:pt x="1245" y="893"/>
                      <a:pt x="1245" y="893"/>
                    </a:cubicBezTo>
                    <a:cubicBezTo>
                      <a:pt x="1245" y="894"/>
                      <a:pt x="1245" y="894"/>
                      <a:pt x="1245" y="894"/>
                    </a:cubicBezTo>
                    <a:cubicBezTo>
                      <a:pt x="1245" y="894"/>
                      <a:pt x="1245" y="894"/>
                      <a:pt x="1245" y="894"/>
                    </a:cubicBezTo>
                    <a:cubicBezTo>
                      <a:pt x="1246" y="896"/>
                      <a:pt x="1246" y="896"/>
                      <a:pt x="1246" y="896"/>
                    </a:cubicBezTo>
                    <a:cubicBezTo>
                      <a:pt x="1246" y="899"/>
                      <a:pt x="1245" y="900"/>
                      <a:pt x="1243" y="901"/>
                    </a:cubicBezTo>
                    <a:cubicBezTo>
                      <a:pt x="1243" y="902"/>
                      <a:pt x="1242" y="902"/>
                      <a:pt x="1242" y="902"/>
                    </a:cubicBezTo>
                    <a:cubicBezTo>
                      <a:pt x="1243" y="903"/>
                      <a:pt x="1243" y="903"/>
                      <a:pt x="1243" y="903"/>
                    </a:cubicBezTo>
                    <a:cubicBezTo>
                      <a:pt x="1245" y="904"/>
                      <a:pt x="1245" y="904"/>
                      <a:pt x="1245" y="904"/>
                    </a:cubicBezTo>
                    <a:cubicBezTo>
                      <a:pt x="1245" y="904"/>
                      <a:pt x="1245" y="904"/>
                      <a:pt x="1245" y="904"/>
                    </a:cubicBezTo>
                    <a:cubicBezTo>
                      <a:pt x="1246" y="904"/>
                      <a:pt x="1246" y="904"/>
                      <a:pt x="1247" y="904"/>
                    </a:cubicBezTo>
                    <a:cubicBezTo>
                      <a:pt x="1248" y="904"/>
                      <a:pt x="1250" y="904"/>
                      <a:pt x="1251" y="903"/>
                    </a:cubicBezTo>
                    <a:cubicBezTo>
                      <a:pt x="1256" y="903"/>
                      <a:pt x="1256" y="903"/>
                      <a:pt x="1256" y="903"/>
                    </a:cubicBezTo>
                    <a:cubicBezTo>
                      <a:pt x="1263" y="901"/>
                      <a:pt x="1263" y="901"/>
                      <a:pt x="1263" y="901"/>
                    </a:cubicBezTo>
                    <a:cubicBezTo>
                      <a:pt x="1264" y="901"/>
                      <a:pt x="1264" y="901"/>
                      <a:pt x="1264" y="901"/>
                    </a:cubicBezTo>
                    <a:cubicBezTo>
                      <a:pt x="1263" y="900"/>
                      <a:pt x="1263" y="899"/>
                      <a:pt x="1263" y="898"/>
                    </a:cubicBezTo>
                    <a:cubicBezTo>
                      <a:pt x="1262" y="895"/>
                      <a:pt x="1262" y="895"/>
                      <a:pt x="1262" y="895"/>
                    </a:cubicBezTo>
                    <a:cubicBezTo>
                      <a:pt x="1269" y="893"/>
                      <a:pt x="1269" y="893"/>
                      <a:pt x="1269" y="893"/>
                    </a:cubicBezTo>
                    <a:cubicBezTo>
                      <a:pt x="1271" y="894"/>
                      <a:pt x="1271" y="894"/>
                      <a:pt x="1271" y="894"/>
                    </a:cubicBezTo>
                    <a:cubicBezTo>
                      <a:pt x="1272" y="895"/>
                      <a:pt x="1272" y="895"/>
                      <a:pt x="1272" y="895"/>
                    </a:cubicBezTo>
                    <a:cubicBezTo>
                      <a:pt x="1277" y="900"/>
                      <a:pt x="1277" y="900"/>
                      <a:pt x="1277" y="900"/>
                    </a:cubicBezTo>
                    <a:cubicBezTo>
                      <a:pt x="1278" y="901"/>
                      <a:pt x="1278" y="903"/>
                      <a:pt x="1279" y="904"/>
                    </a:cubicBezTo>
                    <a:cubicBezTo>
                      <a:pt x="1279" y="904"/>
                      <a:pt x="1279" y="904"/>
                      <a:pt x="1279" y="904"/>
                    </a:cubicBezTo>
                    <a:cubicBezTo>
                      <a:pt x="1280" y="903"/>
                      <a:pt x="1280" y="903"/>
                      <a:pt x="1280" y="903"/>
                    </a:cubicBezTo>
                    <a:cubicBezTo>
                      <a:pt x="1280" y="903"/>
                      <a:pt x="1281" y="903"/>
                      <a:pt x="1282" y="903"/>
                    </a:cubicBezTo>
                    <a:cubicBezTo>
                      <a:pt x="1283" y="903"/>
                      <a:pt x="1283" y="903"/>
                      <a:pt x="1284" y="903"/>
                    </a:cubicBezTo>
                    <a:cubicBezTo>
                      <a:pt x="1285" y="903"/>
                      <a:pt x="1285" y="904"/>
                      <a:pt x="1285" y="904"/>
                    </a:cubicBezTo>
                    <a:cubicBezTo>
                      <a:pt x="1286" y="904"/>
                      <a:pt x="1286" y="904"/>
                      <a:pt x="1286" y="904"/>
                    </a:cubicBezTo>
                    <a:cubicBezTo>
                      <a:pt x="1287" y="904"/>
                      <a:pt x="1288" y="905"/>
                      <a:pt x="1289" y="905"/>
                    </a:cubicBezTo>
                    <a:cubicBezTo>
                      <a:pt x="1289" y="906"/>
                      <a:pt x="1289" y="906"/>
                      <a:pt x="1289" y="906"/>
                    </a:cubicBezTo>
                    <a:cubicBezTo>
                      <a:pt x="1292" y="907"/>
                      <a:pt x="1295" y="908"/>
                      <a:pt x="1296" y="909"/>
                    </a:cubicBezTo>
                    <a:cubicBezTo>
                      <a:pt x="1297" y="909"/>
                      <a:pt x="1297" y="909"/>
                      <a:pt x="1297" y="909"/>
                    </a:cubicBezTo>
                    <a:cubicBezTo>
                      <a:pt x="1321" y="904"/>
                      <a:pt x="1321" y="904"/>
                      <a:pt x="1321" y="904"/>
                    </a:cubicBezTo>
                    <a:cubicBezTo>
                      <a:pt x="1318" y="911"/>
                      <a:pt x="1318" y="911"/>
                      <a:pt x="1318" y="911"/>
                    </a:cubicBezTo>
                    <a:cubicBezTo>
                      <a:pt x="1317" y="911"/>
                      <a:pt x="1317" y="912"/>
                      <a:pt x="1316" y="913"/>
                    </a:cubicBezTo>
                    <a:cubicBezTo>
                      <a:pt x="1314" y="915"/>
                      <a:pt x="1314" y="915"/>
                      <a:pt x="1314" y="915"/>
                    </a:cubicBezTo>
                    <a:cubicBezTo>
                      <a:pt x="1346" y="915"/>
                      <a:pt x="1346" y="915"/>
                      <a:pt x="1346" y="915"/>
                    </a:cubicBezTo>
                    <a:cubicBezTo>
                      <a:pt x="1347" y="915"/>
                      <a:pt x="1347" y="915"/>
                      <a:pt x="1347" y="915"/>
                    </a:cubicBezTo>
                    <a:cubicBezTo>
                      <a:pt x="1351" y="913"/>
                      <a:pt x="1355" y="911"/>
                      <a:pt x="1359" y="909"/>
                    </a:cubicBezTo>
                    <a:cubicBezTo>
                      <a:pt x="1362" y="907"/>
                      <a:pt x="1366" y="905"/>
                      <a:pt x="1371" y="903"/>
                    </a:cubicBezTo>
                    <a:cubicBezTo>
                      <a:pt x="1424" y="881"/>
                      <a:pt x="1424" y="881"/>
                      <a:pt x="1424" y="881"/>
                    </a:cubicBezTo>
                    <a:cubicBezTo>
                      <a:pt x="1404" y="898"/>
                      <a:pt x="1404" y="898"/>
                      <a:pt x="1404" y="898"/>
                    </a:cubicBezTo>
                    <a:cubicBezTo>
                      <a:pt x="1404" y="901"/>
                      <a:pt x="1404" y="901"/>
                      <a:pt x="1404" y="901"/>
                    </a:cubicBezTo>
                    <a:cubicBezTo>
                      <a:pt x="1404" y="903"/>
                      <a:pt x="1404" y="904"/>
                      <a:pt x="1403" y="906"/>
                    </a:cubicBezTo>
                    <a:cubicBezTo>
                      <a:pt x="1403" y="907"/>
                      <a:pt x="1403" y="907"/>
                      <a:pt x="1403" y="907"/>
                    </a:cubicBezTo>
                    <a:cubicBezTo>
                      <a:pt x="1402" y="907"/>
                      <a:pt x="1402" y="907"/>
                      <a:pt x="1402" y="907"/>
                    </a:cubicBezTo>
                    <a:cubicBezTo>
                      <a:pt x="1402" y="907"/>
                      <a:pt x="1402" y="907"/>
                      <a:pt x="1402" y="907"/>
                    </a:cubicBezTo>
                    <a:cubicBezTo>
                      <a:pt x="1401" y="908"/>
                      <a:pt x="1401" y="908"/>
                      <a:pt x="1401" y="908"/>
                    </a:cubicBezTo>
                    <a:cubicBezTo>
                      <a:pt x="1401" y="908"/>
                      <a:pt x="1400" y="909"/>
                      <a:pt x="1400" y="909"/>
                    </a:cubicBezTo>
                    <a:cubicBezTo>
                      <a:pt x="1399" y="909"/>
                      <a:pt x="1399" y="909"/>
                      <a:pt x="1399" y="909"/>
                    </a:cubicBezTo>
                    <a:cubicBezTo>
                      <a:pt x="1400" y="911"/>
                      <a:pt x="1402" y="912"/>
                      <a:pt x="1403" y="913"/>
                    </a:cubicBezTo>
                    <a:cubicBezTo>
                      <a:pt x="1405" y="915"/>
                      <a:pt x="1405" y="915"/>
                      <a:pt x="1405" y="915"/>
                    </a:cubicBezTo>
                    <a:cubicBezTo>
                      <a:pt x="1682" y="915"/>
                      <a:pt x="1682" y="915"/>
                      <a:pt x="1682" y="915"/>
                    </a:cubicBezTo>
                    <a:cubicBezTo>
                      <a:pt x="1682" y="457"/>
                      <a:pt x="1682" y="457"/>
                      <a:pt x="1682" y="457"/>
                    </a:cubicBezTo>
                    <a:moveTo>
                      <a:pt x="955" y="212"/>
                    </a:moveTo>
                    <a:cubicBezTo>
                      <a:pt x="955" y="212"/>
                      <a:pt x="955" y="212"/>
                      <a:pt x="955" y="212"/>
                    </a:cubicBezTo>
                    <a:cubicBezTo>
                      <a:pt x="948" y="214"/>
                      <a:pt x="942" y="220"/>
                      <a:pt x="936" y="221"/>
                    </a:cubicBezTo>
                    <a:cubicBezTo>
                      <a:pt x="933" y="222"/>
                      <a:pt x="927" y="220"/>
                      <a:pt x="929" y="225"/>
                    </a:cubicBezTo>
                    <a:cubicBezTo>
                      <a:pt x="931" y="230"/>
                      <a:pt x="932" y="232"/>
                      <a:pt x="935" y="235"/>
                    </a:cubicBezTo>
                    <a:cubicBezTo>
                      <a:pt x="937" y="237"/>
                      <a:pt x="940" y="240"/>
                      <a:pt x="940" y="243"/>
                    </a:cubicBezTo>
                    <a:cubicBezTo>
                      <a:pt x="940" y="243"/>
                      <a:pt x="941" y="250"/>
                      <a:pt x="943" y="250"/>
                    </a:cubicBezTo>
                    <a:cubicBezTo>
                      <a:pt x="943" y="250"/>
                      <a:pt x="944" y="250"/>
                      <a:pt x="945" y="249"/>
                    </a:cubicBezTo>
                    <a:cubicBezTo>
                      <a:pt x="945" y="248"/>
                      <a:pt x="946" y="247"/>
                      <a:pt x="947" y="247"/>
                    </a:cubicBezTo>
                    <a:cubicBezTo>
                      <a:pt x="948" y="247"/>
                      <a:pt x="949" y="250"/>
                      <a:pt x="950" y="252"/>
                    </a:cubicBezTo>
                    <a:cubicBezTo>
                      <a:pt x="951" y="256"/>
                      <a:pt x="951" y="258"/>
                      <a:pt x="948" y="260"/>
                    </a:cubicBezTo>
                    <a:cubicBezTo>
                      <a:pt x="941" y="265"/>
                      <a:pt x="931" y="267"/>
                      <a:pt x="924" y="270"/>
                    </a:cubicBezTo>
                    <a:cubicBezTo>
                      <a:pt x="923" y="270"/>
                      <a:pt x="923" y="270"/>
                      <a:pt x="923" y="270"/>
                    </a:cubicBezTo>
                    <a:cubicBezTo>
                      <a:pt x="923" y="270"/>
                      <a:pt x="923" y="270"/>
                      <a:pt x="923" y="270"/>
                    </a:cubicBezTo>
                    <a:cubicBezTo>
                      <a:pt x="922" y="272"/>
                      <a:pt x="920" y="274"/>
                      <a:pt x="920" y="276"/>
                    </a:cubicBezTo>
                    <a:cubicBezTo>
                      <a:pt x="920" y="277"/>
                      <a:pt x="922" y="278"/>
                      <a:pt x="922" y="279"/>
                    </a:cubicBezTo>
                    <a:cubicBezTo>
                      <a:pt x="922" y="282"/>
                      <a:pt x="921" y="285"/>
                      <a:pt x="919" y="286"/>
                    </a:cubicBezTo>
                    <a:cubicBezTo>
                      <a:pt x="917" y="287"/>
                      <a:pt x="916" y="287"/>
                      <a:pt x="914" y="287"/>
                    </a:cubicBezTo>
                    <a:cubicBezTo>
                      <a:pt x="910" y="287"/>
                      <a:pt x="905" y="285"/>
                      <a:pt x="902" y="285"/>
                    </a:cubicBezTo>
                    <a:cubicBezTo>
                      <a:pt x="895" y="283"/>
                      <a:pt x="899" y="282"/>
                      <a:pt x="898" y="278"/>
                    </a:cubicBezTo>
                    <a:cubicBezTo>
                      <a:pt x="898" y="277"/>
                      <a:pt x="897" y="276"/>
                      <a:pt x="897" y="274"/>
                    </a:cubicBezTo>
                    <a:cubicBezTo>
                      <a:pt x="897" y="274"/>
                      <a:pt x="899" y="271"/>
                      <a:pt x="899" y="271"/>
                    </a:cubicBezTo>
                    <a:cubicBezTo>
                      <a:pt x="902" y="269"/>
                      <a:pt x="908" y="270"/>
                      <a:pt x="907" y="266"/>
                    </a:cubicBezTo>
                    <a:cubicBezTo>
                      <a:pt x="906" y="265"/>
                      <a:pt x="901" y="262"/>
                      <a:pt x="900" y="261"/>
                    </a:cubicBezTo>
                    <a:cubicBezTo>
                      <a:pt x="897" y="259"/>
                      <a:pt x="895" y="259"/>
                      <a:pt x="892" y="258"/>
                    </a:cubicBezTo>
                    <a:cubicBezTo>
                      <a:pt x="895" y="256"/>
                      <a:pt x="898" y="256"/>
                      <a:pt x="901" y="255"/>
                    </a:cubicBezTo>
                    <a:cubicBezTo>
                      <a:pt x="900" y="255"/>
                      <a:pt x="899" y="255"/>
                      <a:pt x="898" y="255"/>
                    </a:cubicBezTo>
                    <a:cubicBezTo>
                      <a:pt x="890" y="255"/>
                      <a:pt x="882" y="259"/>
                      <a:pt x="875" y="265"/>
                    </a:cubicBezTo>
                    <a:cubicBezTo>
                      <a:pt x="877" y="266"/>
                      <a:pt x="879" y="266"/>
                      <a:pt x="879" y="268"/>
                    </a:cubicBezTo>
                    <a:cubicBezTo>
                      <a:pt x="877" y="267"/>
                      <a:pt x="874" y="265"/>
                      <a:pt x="872" y="263"/>
                    </a:cubicBezTo>
                    <a:cubicBezTo>
                      <a:pt x="872" y="262"/>
                      <a:pt x="874" y="261"/>
                      <a:pt x="873" y="261"/>
                    </a:cubicBezTo>
                    <a:cubicBezTo>
                      <a:pt x="873" y="261"/>
                      <a:pt x="872" y="261"/>
                      <a:pt x="870" y="262"/>
                    </a:cubicBezTo>
                    <a:cubicBezTo>
                      <a:pt x="864" y="265"/>
                      <a:pt x="855" y="268"/>
                      <a:pt x="851" y="273"/>
                    </a:cubicBezTo>
                    <a:cubicBezTo>
                      <a:pt x="849" y="275"/>
                      <a:pt x="851" y="276"/>
                      <a:pt x="847" y="276"/>
                    </a:cubicBezTo>
                    <a:cubicBezTo>
                      <a:pt x="846" y="276"/>
                      <a:pt x="846" y="276"/>
                      <a:pt x="845" y="276"/>
                    </a:cubicBezTo>
                    <a:cubicBezTo>
                      <a:pt x="842" y="276"/>
                      <a:pt x="838" y="275"/>
                      <a:pt x="835" y="275"/>
                    </a:cubicBezTo>
                    <a:cubicBezTo>
                      <a:pt x="831" y="274"/>
                      <a:pt x="828" y="273"/>
                      <a:pt x="825" y="273"/>
                    </a:cubicBezTo>
                    <a:cubicBezTo>
                      <a:pt x="824" y="273"/>
                      <a:pt x="822" y="273"/>
                      <a:pt x="821" y="274"/>
                    </a:cubicBezTo>
                    <a:cubicBezTo>
                      <a:pt x="820" y="274"/>
                      <a:pt x="819" y="274"/>
                      <a:pt x="818" y="274"/>
                    </a:cubicBezTo>
                    <a:cubicBezTo>
                      <a:pt x="816" y="274"/>
                      <a:pt x="814" y="273"/>
                      <a:pt x="811" y="272"/>
                    </a:cubicBezTo>
                    <a:cubicBezTo>
                      <a:pt x="810" y="272"/>
                      <a:pt x="810" y="272"/>
                      <a:pt x="810" y="272"/>
                    </a:cubicBezTo>
                    <a:cubicBezTo>
                      <a:pt x="805" y="272"/>
                      <a:pt x="797" y="279"/>
                      <a:pt x="793" y="281"/>
                    </a:cubicBezTo>
                    <a:cubicBezTo>
                      <a:pt x="789" y="284"/>
                      <a:pt x="785" y="287"/>
                      <a:pt x="781" y="289"/>
                    </a:cubicBezTo>
                    <a:cubicBezTo>
                      <a:pt x="779" y="291"/>
                      <a:pt x="780" y="292"/>
                      <a:pt x="779" y="293"/>
                    </a:cubicBezTo>
                    <a:cubicBezTo>
                      <a:pt x="778" y="294"/>
                      <a:pt x="777" y="295"/>
                      <a:pt x="776" y="295"/>
                    </a:cubicBezTo>
                    <a:cubicBezTo>
                      <a:pt x="776" y="295"/>
                      <a:pt x="775" y="294"/>
                      <a:pt x="773" y="293"/>
                    </a:cubicBezTo>
                    <a:cubicBezTo>
                      <a:pt x="771" y="292"/>
                      <a:pt x="770" y="290"/>
                      <a:pt x="767" y="290"/>
                    </a:cubicBezTo>
                    <a:cubicBezTo>
                      <a:pt x="767" y="290"/>
                      <a:pt x="766" y="290"/>
                      <a:pt x="765" y="291"/>
                    </a:cubicBezTo>
                    <a:cubicBezTo>
                      <a:pt x="762" y="292"/>
                      <a:pt x="761" y="294"/>
                      <a:pt x="760" y="294"/>
                    </a:cubicBezTo>
                    <a:cubicBezTo>
                      <a:pt x="759" y="294"/>
                      <a:pt x="758" y="293"/>
                      <a:pt x="758" y="290"/>
                    </a:cubicBezTo>
                    <a:cubicBezTo>
                      <a:pt x="755" y="291"/>
                      <a:pt x="754" y="293"/>
                      <a:pt x="752" y="293"/>
                    </a:cubicBezTo>
                    <a:cubicBezTo>
                      <a:pt x="751" y="293"/>
                      <a:pt x="750" y="293"/>
                      <a:pt x="749" y="292"/>
                    </a:cubicBezTo>
                    <a:cubicBezTo>
                      <a:pt x="744" y="291"/>
                      <a:pt x="739" y="290"/>
                      <a:pt x="735" y="287"/>
                    </a:cubicBezTo>
                    <a:cubicBezTo>
                      <a:pt x="738" y="286"/>
                      <a:pt x="740" y="287"/>
                      <a:pt x="743" y="286"/>
                    </a:cubicBezTo>
                    <a:cubicBezTo>
                      <a:pt x="742" y="286"/>
                      <a:pt x="742" y="285"/>
                      <a:pt x="741" y="285"/>
                    </a:cubicBezTo>
                    <a:cubicBezTo>
                      <a:pt x="742" y="284"/>
                      <a:pt x="743" y="284"/>
                      <a:pt x="744" y="284"/>
                    </a:cubicBezTo>
                    <a:cubicBezTo>
                      <a:pt x="745" y="284"/>
                      <a:pt x="746" y="284"/>
                      <a:pt x="746" y="284"/>
                    </a:cubicBezTo>
                    <a:cubicBezTo>
                      <a:pt x="747" y="284"/>
                      <a:pt x="748" y="284"/>
                      <a:pt x="748" y="284"/>
                    </a:cubicBezTo>
                    <a:cubicBezTo>
                      <a:pt x="749" y="284"/>
                      <a:pt x="750" y="284"/>
                      <a:pt x="751" y="284"/>
                    </a:cubicBezTo>
                    <a:cubicBezTo>
                      <a:pt x="750" y="280"/>
                      <a:pt x="750" y="279"/>
                      <a:pt x="748" y="276"/>
                    </a:cubicBezTo>
                    <a:cubicBezTo>
                      <a:pt x="744" y="272"/>
                      <a:pt x="746" y="272"/>
                      <a:pt x="748" y="268"/>
                    </a:cubicBezTo>
                    <a:cubicBezTo>
                      <a:pt x="749" y="266"/>
                      <a:pt x="749" y="266"/>
                      <a:pt x="751" y="264"/>
                    </a:cubicBezTo>
                    <a:cubicBezTo>
                      <a:pt x="753" y="263"/>
                      <a:pt x="755" y="263"/>
                      <a:pt x="752" y="261"/>
                    </a:cubicBezTo>
                    <a:cubicBezTo>
                      <a:pt x="749" y="260"/>
                      <a:pt x="744" y="261"/>
                      <a:pt x="742" y="259"/>
                    </a:cubicBezTo>
                    <a:cubicBezTo>
                      <a:pt x="743" y="259"/>
                      <a:pt x="744" y="259"/>
                      <a:pt x="745" y="259"/>
                    </a:cubicBezTo>
                    <a:cubicBezTo>
                      <a:pt x="736" y="261"/>
                      <a:pt x="728" y="263"/>
                      <a:pt x="719" y="267"/>
                    </a:cubicBezTo>
                    <a:cubicBezTo>
                      <a:pt x="716" y="268"/>
                      <a:pt x="713" y="270"/>
                      <a:pt x="710" y="271"/>
                    </a:cubicBezTo>
                    <a:cubicBezTo>
                      <a:pt x="707" y="272"/>
                      <a:pt x="702" y="274"/>
                      <a:pt x="706" y="275"/>
                    </a:cubicBezTo>
                    <a:cubicBezTo>
                      <a:pt x="707" y="276"/>
                      <a:pt x="708" y="276"/>
                      <a:pt x="708" y="276"/>
                    </a:cubicBezTo>
                    <a:cubicBezTo>
                      <a:pt x="708" y="276"/>
                      <a:pt x="709" y="276"/>
                      <a:pt x="709" y="276"/>
                    </a:cubicBezTo>
                    <a:cubicBezTo>
                      <a:pt x="709" y="276"/>
                      <a:pt x="709" y="276"/>
                      <a:pt x="709" y="276"/>
                    </a:cubicBezTo>
                    <a:cubicBezTo>
                      <a:pt x="710" y="276"/>
                      <a:pt x="710" y="276"/>
                      <a:pt x="711" y="276"/>
                    </a:cubicBezTo>
                    <a:cubicBezTo>
                      <a:pt x="712" y="276"/>
                      <a:pt x="713" y="278"/>
                      <a:pt x="714" y="279"/>
                    </a:cubicBezTo>
                    <a:cubicBezTo>
                      <a:pt x="716" y="281"/>
                      <a:pt x="718" y="281"/>
                      <a:pt x="714" y="284"/>
                    </a:cubicBezTo>
                    <a:cubicBezTo>
                      <a:pt x="713" y="285"/>
                      <a:pt x="708" y="288"/>
                      <a:pt x="706" y="288"/>
                    </a:cubicBezTo>
                    <a:cubicBezTo>
                      <a:pt x="706" y="288"/>
                      <a:pt x="706" y="288"/>
                      <a:pt x="706" y="288"/>
                    </a:cubicBezTo>
                    <a:cubicBezTo>
                      <a:pt x="703" y="288"/>
                      <a:pt x="704" y="288"/>
                      <a:pt x="704" y="284"/>
                    </a:cubicBezTo>
                    <a:cubicBezTo>
                      <a:pt x="705" y="283"/>
                      <a:pt x="704" y="281"/>
                      <a:pt x="706" y="281"/>
                    </a:cubicBezTo>
                    <a:cubicBezTo>
                      <a:pt x="705" y="279"/>
                      <a:pt x="701" y="279"/>
                      <a:pt x="699" y="279"/>
                    </a:cubicBezTo>
                    <a:cubicBezTo>
                      <a:pt x="700" y="279"/>
                      <a:pt x="701" y="278"/>
                      <a:pt x="702" y="276"/>
                    </a:cubicBezTo>
                    <a:cubicBezTo>
                      <a:pt x="697" y="277"/>
                      <a:pt x="687" y="278"/>
                      <a:pt x="683" y="281"/>
                    </a:cubicBezTo>
                    <a:cubicBezTo>
                      <a:pt x="682" y="282"/>
                      <a:pt x="685" y="282"/>
                      <a:pt x="684" y="283"/>
                    </a:cubicBezTo>
                    <a:cubicBezTo>
                      <a:pt x="683" y="284"/>
                      <a:pt x="682" y="283"/>
                      <a:pt x="681" y="284"/>
                    </a:cubicBezTo>
                    <a:cubicBezTo>
                      <a:pt x="680" y="284"/>
                      <a:pt x="677" y="285"/>
                      <a:pt x="675" y="285"/>
                    </a:cubicBezTo>
                    <a:cubicBezTo>
                      <a:pt x="672" y="286"/>
                      <a:pt x="669" y="287"/>
                      <a:pt x="665" y="287"/>
                    </a:cubicBezTo>
                    <a:cubicBezTo>
                      <a:pt x="660" y="288"/>
                      <a:pt x="658" y="289"/>
                      <a:pt x="654" y="292"/>
                    </a:cubicBezTo>
                    <a:cubicBezTo>
                      <a:pt x="651" y="294"/>
                      <a:pt x="647" y="295"/>
                      <a:pt x="644" y="297"/>
                    </a:cubicBezTo>
                    <a:cubicBezTo>
                      <a:pt x="641" y="298"/>
                      <a:pt x="640" y="301"/>
                      <a:pt x="637" y="303"/>
                    </a:cubicBezTo>
                    <a:cubicBezTo>
                      <a:pt x="634" y="304"/>
                      <a:pt x="631" y="305"/>
                      <a:pt x="628" y="306"/>
                    </a:cubicBezTo>
                    <a:cubicBezTo>
                      <a:pt x="625" y="307"/>
                      <a:pt x="622" y="309"/>
                      <a:pt x="618" y="310"/>
                    </a:cubicBezTo>
                    <a:cubicBezTo>
                      <a:pt x="616" y="311"/>
                      <a:pt x="614" y="311"/>
                      <a:pt x="611" y="311"/>
                    </a:cubicBezTo>
                    <a:cubicBezTo>
                      <a:pt x="610" y="312"/>
                      <a:pt x="609" y="312"/>
                      <a:pt x="608" y="312"/>
                    </a:cubicBezTo>
                    <a:cubicBezTo>
                      <a:pt x="605" y="312"/>
                      <a:pt x="606" y="312"/>
                      <a:pt x="605" y="314"/>
                    </a:cubicBezTo>
                    <a:cubicBezTo>
                      <a:pt x="604" y="318"/>
                      <a:pt x="605" y="317"/>
                      <a:pt x="608" y="318"/>
                    </a:cubicBezTo>
                    <a:cubicBezTo>
                      <a:pt x="611" y="319"/>
                      <a:pt x="612" y="321"/>
                      <a:pt x="614" y="322"/>
                    </a:cubicBezTo>
                    <a:cubicBezTo>
                      <a:pt x="613" y="322"/>
                      <a:pt x="612" y="322"/>
                      <a:pt x="612" y="322"/>
                    </a:cubicBezTo>
                    <a:cubicBezTo>
                      <a:pt x="609" y="322"/>
                      <a:pt x="606" y="322"/>
                      <a:pt x="603" y="321"/>
                    </a:cubicBezTo>
                    <a:cubicBezTo>
                      <a:pt x="600" y="321"/>
                      <a:pt x="597" y="321"/>
                      <a:pt x="594" y="321"/>
                    </a:cubicBezTo>
                    <a:cubicBezTo>
                      <a:pt x="593" y="321"/>
                      <a:pt x="592" y="321"/>
                      <a:pt x="591" y="321"/>
                    </a:cubicBezTo>
                    <a:cubicBezTo>
                      <a:pt x="588" y="321"/>
                      <a:pt x="588" y="322"/>
                      <a:pt x="586" y="323"/>
                    </a:cubicBezTo>
                    <a:cubicBezTo>
                      <a:pt x="584" y="324"/>
                      <a:pt x="578" y="323"/>
                      <a:pt x="577" y="324"/>
                    </a:cubicBezTo>
                    <a:cubicBezTo>
                      <a:pt x="576" y="326"/>
                      <a:pt x="581" y="328"/>
                      <a:pt x="581" y="330"/>
                    </a:cubicBezTo>
                    <a:cubicBezTo>
                      <a:pt x="581" y="333"/>
                      <a:pt x="577" y="335"/>
                      <a:pt x="576" y="338"/>
                    </a:cubicBezTo>
                    <a:cubicBezTo>
                      <a:pt x="576" y="339"/>
                      <a:pt x="576" y="340"/>
                      <a:pt x="576" y="342"/>
                    </a:cubicBezTo>
                    <a:cubicBezTo>
                      <a:pt x="575" y="342"/>
                      <a:pt x="574" y="342"/>
                      <a:pt x="574" y="343"/>
                    </a:cubicBezTo>
                    <a:cubicBezTo>
                      <a:pt x="573" y="344"/>
                      <a:pt x="574" y="344"/>
                      <a:pt x="574" y="345"/>
                    </a:cubicBezTo>
                    <a:cubicBezTo>
                      <a:pt x="575" y="348"/>
                      <a:pt x="576" y="350"/>
                      <a:pt x="574" y="353"/>
                    </a:cubicBezTo>
                    <a:cubicBezTo>
                      <a:pt x="573" y="354"/>
                      <a:pt x="572" y="355"/>
                      <a:pt x="571" y="356"/>
                    </a:cubicBezTo>
                    <a:cubicBezTo>
                      <a:pt x="570" y="357"/>
                      <a:pt x="571" y="359"/>
                      <a:pt x="569" y="359"/>
                    </a:cubicBezTo>
                    <a:cubicBezTo>
                      <a:pt x="569" y="359"/>
                      <a:pt x="568" y="359"/>
                      <a:pt x="567" y="359"/>
                    </a:cubicBezTo>
                    <a:cubicBezTo>
                      <a:pt x="566" y="358"/>
                      <a:pt x="564" y="358"/>
                      <a:pt x="563" y="358"/>
                    </a:cubicBezTo>
                    <a:cubicBezTo>
                      <a:pt x="562" y="358"/>
                      <a:pt x="561" y="358"/>
                      <a:pt x="560" y="358"/>
                    </a:cubicBezTo>
                    <a:cubicBezTo>
                      <a:pt x="560" y="457"/>
                      <a:pt x="560" y="457"/>
                      <a:pt x="560" y="457"/>
                    </a:cubicBezTo>
                    <a:cubicBezTo>
                      <a:pt x="1122" y="457"/>
                      <a:pt x="1122" y="457"/>
                      <a:pt x="1122" y="457"/>
                    </a:cubicBezTo>
                    <a:cubicBezTo>
                      <a:pt x="1122" y="261"/>
                      <a:pt x="1122" y="261"/>
                      <a:pt x="1122" y="261"/>
                    </a:cubicBezTo>
                    <a:cubicBezTo>
                      <a:pt x="1120" y="261"/>
                      <a:pt x="1119" y="261"/>
                      <a:pt x="1118" y="260"/>
                    </a:cubicBezTo>
                    <a:cubicBezTo>
                      <a:pt x="1117" y="260"/>
                      <a:pt x="1117" y="260"/>
                      <a:pt x="1117" y="260"/>
                    </a:cubicBezTo>
                    <a:cubicBezTo>
                      <a:pt x="1117" y="260"/>
                      <a:pt x="1117" y="260"/>
                      <a:pt x="1117" y="260"/>
                    </a:cubicBezTo>
                    <a:cubicBezTo>
                      <a:pt x="1117" y="260"/>
                      <a:pt x="1116" y="260"/>
                      <a:pt x="1116" y="260"/>
                    </a:cubicBezTo>
                    <a:cubicBezTo>
                      <a:pt x="1111" y="260"/>
                      <a:pt x="1108" y="258"/>
                      <a:pt x="1103" y="257"/>
                    </a:cubicBezTo>
                    <a:cubicBezTo>
                      <a:pt x="1092" y="253"/>
                      <a:pt x="1092" y="253"/>
                      <a:pt x="1092" y="253"/>
                    </a:cubicBezTo>
                    <a:cubicBezTo>
                      <a:pt x="1089" y="251"/>
                      <a:pt x="1089" y="251"/>
                      <a:pt x="1089" y="251"/>
                    </a:cubicBezTo>
                    <a:cubicBezTo>
                      <a:pt x="1089" y="249"/>
                      <a:pt x="1089" y="249"/>
                      <a:pt x="1089" y="249"/>
                    </a:cubicBezTo>
                    <a:cubicBezTo>
                      <a:pt x="1089" y="249"/>
                      <a:pt x="1089" y="249"/>
                      <a:pt x="1089" y="249"/>
                    </a:cubicBezTo>
                    <a:cubicBezTo>
                      <a:pt x="1087" y="248"/>
                      <a:pt x="1087" y="248"/>
                      <a:pt x="1087" y="248"/>
                    </a:cubicBezTo>
                    <a:cubicBezTo>
                      <a:pt x="1085" y="247"/>
                      <a:pt x="1085" y="247"/>
                      <a:pt x="1085" y="247"/>
                    </a:cubicBezTo>
                    <a:cubicBezTo>
                      <a:pt x="1067" y="241"/>
                      <a:pt x="1067" y="241"/>
                      <a:pt x="1067" y="241"/>
                    </a:cubicBezTo>
                    <a:cubicBezTo>
                      <a:pt x="1066" y="242"/>
                      <a:pt x="1066" y="242"/>
                      <a:pt x="1066" y="242"/>
                    </a:cubicBezTo>
                    <a:cubicBezTo>
                      <a:pt x="1066" y="243"/>
                      <a:pt x="1066" y="243"/>
                      <a:pt x="1066" y="243"/>
                    </a:cubicBezTo>
                    <a:cubicBezTo>
                      <a:pt x="1066" y="243"/>
                      <a:pt x="1066" y="243"/>
                      <a:pt x="1066" y="243"/>
                    </a:cubicBezTo>
                    <a:cubicBezTo>
                      <a:pt x="1066" y="242"/>
                      <a:pt x="1066" y="242"/>
                      <a:pt x="1066" y="242"/>
                    </a:cubicBezTo>
                    <a:cubicBezTo>
                      <a:pt x="1065" y="243"/>
                      <a:pt x="1063" y="245"/>
                      <a:pt x="1063" y="245"/>
                    </a:cubicBezTo>
                    <a:cubicBezTo>
                      <a:pt x="1063" y="245"/>
                      <a:pt x="1063" y="245"/>
                      <a:pt x="1063" y="245"/>
                    </a:cubicBezTo>
                    <a:cubicBezTo>
                      <a:pt x="1063" y="246"/>
                      <a:pt x="1063" y="246"/>
                      <a:pt x="1063" y="246"/>
                    </a:cubicBezTo>
                    <a:cubicBezTo>
                      <a:pt x="1061" y="247"/>
                      <a:pt x="1061" y="247"/>
                      <a:pt x="1061" y="247"/>
                    </a:cubicBezTo>
                    <a:cubicBezTo>
                      <a:pt x="1061" y="247"/>
                      <a:pt x="1059" y="242"/>
                      <a:pt x="1061" y="241"/>
                    </a:cubicBezTo>
                    <a:cubicBezTo>
                      <a:pt x="1061" y="240"/>
                      <a:pt x="1061" y="240"/>
                      <a:pt x="1062" y="240"/>
                    </a:cubicBezTo>
                    <a:cubicBezTo>
                      <a:pt x="1062" y="240"/>
                      <a:pt x="1063" y="240"/>
                      <a:pt x="1063" y="241"/>
                    </a:cubicBezTo>
                    <a:cubicBezTo>
                      <a:pt x="1064" y="241"/>
                      <a:pt x="1064" y="241"/>
                      <a:pt x="1065" y="241"/>
                    </a:cubicBezTo>
                    <a:cubicBezTo>
                      <a:pt x="1065" y="241"/>
                      <a:pt x="1066" y="241"/>
                      <a:pt x="1066" y="240"/>
                    </a:cubicBezTo>
                    <a:cubicBezTo>
                      <a:pt x="1066" y="239"/>
                      <a:pt x="1060" y="237"/>
                      <a:pt x="1059" y="236"/>
                    </a:cubicBezTo>
                    <a:cubicBezTo>
                      <a:pt x="1054" y="234"/>
                      <a:pt x="1050" y="231"/>
                      <a:pt x="1044" y="229"/>
                    </a:cubicBezTo>
                    <a:cubicBezTo>
                      <a:pt x="1029" y="223"/>
                      <a:pt x="1013" y="220"/>
                      <a:pt x="997" y="218"/>
                    </a:cubicBezTo>
                    <a:cubicBezTo>
                      <a:pt x="986" y="217"/>
                      <a:pt x="975" y="216"/>
                      <a:pt x="964" y="214"/>
                    </a:cubicBezTo>
                    <a:cubicBezTo>
                      <a:pt x="962" y="214"/>
                      <a:pt x="957" y="212"/>
                      <a:pt x="955" y="212"/>
                    </a:cubicBezTo>
                    <a:moveTo>
                      <a:pt x="1121" y="202"/>
                    </a:moveTo>
                    <a:cubicBezTo>
                      <a:pt x="1121" y="202"/>
                      <a:pt x="1121" y="202"/>
                      <a:pt x="1121" y="202"/>
                    </a:cubicBezTo>
                    <a:cubicBezTo>
                      <a:pt x="1121" y="202"/>
                      <a:pt x="1121" y="202"/>
                      <a:pt x="1121" y="202"/>
                    </a:cubicBezTo>
                    <a:cubicBezTo>
                      <a:pt x="1120" y="203"/>
                      <a:pt x="1120" y="203"/>
                      <a:pt x="1120" y="203"/>
                    </a:cubicBezTo>
                    <a:cubicBezTo>
                      <a:pt x="1120" y="203"/>
                      <a:pt x="1120" y="203"/>
                      <a:pt x="1120" y="203"/>
                    </a:cubicBezTo>
                    <a:cubicBezTo>
                      <a:pt x="1120" y="203"/>
                      <a:pt x="1120" y="203"/>
                      <a:pt x="1120" y="203"/>
                    </a:cubicBezTo>
                    <a:cubicBezTo>
                      <a:pt x="1119" y="204"/>
                      <a:pt x="1119" y="204"/>
                      <a:pt x="1119" y="204"/>
                    </a:cubicBezTo>
                    <a:cubicBezTo>
                      <a:pt x="1119" y="204"/>
                      <a:pt x="1119" y="204"/>
                      <a:pt x="1119" y="204"/>
                    </a:cubicBezTo>
                    <a:cubicBezTo>
                      <a:pt x="1119" y="204"/>
                      <a:pt x="1119" y="204"/>
                      <a:pt x="1119" y="204"/>
                    </a:cubicBezTo>
                    <a:cubicBezTo>
                      <a:pt x="1119" y="204"/>
                      <a:pt x="1119" y="204"/>
                      <a:pt x="1119" y="204"/>
                    </a:cubicBezTo>
                    <a:cubicBezTo>
                      <a:pt x="1119" y="204"/>
                      <a:pt x="1119" y="204"/>
                      <a:pt x="1119" y="204"/>
                    </a:cubicBezTo>
                    <a:cubicBezTo>
                      <a:pt x="1119" y="205"/>
                      <a:pt x="1119" y="205"/>
                      <a:pt x="1119" y="205"/>
                    </a:cubicBezTo>
                    <a:cubicBezTo>
                      <a:pt x="1119" y="205"/>
                      <a:pt x="1119" y="205"/>
                      <a:pt x="1119" y="205"/>
                    </a:cubicBezTo>
                    <a:cubicBezTo>
                      <a:pt x="1119" y="205"/>
                      <a:pt x="1119" y="205"/>
                      <a:pt x="1119" y="205"/>
                    </a:cubicBezTo>
                    <a:cubicBezTo>
                      <a:pt x="1119" y="205"/>
                      <a:pt x="1119" y="205"/>
                      <a:pt x="1119" y="205"/>
                    </a:cubicBezTo>
                    <a:cubicBezTo>
                      <a:pt x="1118" y="213"/>
                      <a:pt x="1115" y="214"/>
                      <a:pt x="1116" y="225"/>
                    </a:cubicBezTo>
                    <a:cubicBezTo>
                      <a:pt x="1117" y="226"/>
                      <a:pt x="1117" y="226"/>
                      <a:pt x="1117" y="226"/>
                    </a:cubicBezTo>
                    <a:cubicBezTo>
                      <a:pt x="1117" y="226"/>
                      <a:pt x="1117" y="226"/>
                      <a:pt x="1117" y="226"/>
                    </a:cubicBezTo>
                    <a:cubicBezTo>
                      <a:pt x="1117" y="226"/>
                      <a:pt x="1117" y="226"/>
                      <a:pt x="1117" y="226"/>
                    </a:cubicBezTo>
                    <a:cubicBezTo>
                      <a:pt x="1117" y="227"/>
                      <a:pt x="1117" y="227"/>
                      <a:pt x="1117" y="227"/>
                    </a:cubicBezTo>
                    <a:cubicBezTo>
                      <a:pt x="1118" y="226"/>
                      <a:pt x="1118" y="226"/>
                      <a:pt x="1118" y="226"/>
                    </a:cubicBezTo>
                    <a:cubicBezTo>
                      <a:pt x="1118" y="226"/>
                      <a:pt x="1118" y="226"/>
                      <a:pt x="1118" y="226"/>
                    </a:cubicBezTo>
                    <a:cubicBezTo>
                      <a:pt x="1118" y="224"/>
                      <a:pt x="1118" y="224"/>
                      <a:pt x="1118" y="224"/>
                    </a:cubicBezTo>
                    <a:cubicBezTo>
                      <a:pt x="1118" y="223"/>
                      <a:pt x="1118" y="223"/>
                      <a:pt x="1118" y="223"/>
                    </a:cubicBezTo>
                    <a:cubicBezTo>
                      <a:pt x="1119" y="223"/>
                      <a:pt x="1119" y="223"/>
                      <a:pt x="1119" y="223"/>
                    </a:cubicBezTo>
                    <a:cubicBezTo>
                      <a:pt x="1119" y="223"/>
                      <a:pt x="1119" y="223"/>
                      <a:pt x="1119" y="223"/>
                    </a:cubicBezTo>
                    <a:cubicBezTo>
                      <a:pt x="1119" y="223"/>
                      <a:pt x="1119" y="223"/>
                      <a:pt x="1119" y="223"/>
                    </a:cubicBezTo>
                    <a:cubicBezTo>
                      <a:pt x="1120" y="223"/>
                      <a:pt x="1120" y="223"/>
                      <a:pt x="1120" y="223"/>
                    </a:cubicBezTo>
                    <a:cubicBezTo>
                      <a:pt x="1120" y="223"/>
                      <a:pt x="1120" y="223"/>
                      <a:pt x="1120" y="223"/>
                    </a:cubicBezTo>
                    <a:cubicBezTo>
                      <a:pt x="1120" y="223"/>
                      <a:pt x="1120" y="223"/>
                      <a:pt x="1120" y="223"/>
                    </a:cubicBezTo>
                    <a:cubicBezTo>
                      <a:pt x="1121" y="223"/>
                      <a:pt x="1121" y="223"/>
                      <a:pt x="1121" y="223"/>
                    </a:cubicBezTo>
                    <a:cubicBezTo>
                      <a:pt x="1121" y="222"/>
                      <a:pt x="1121" y="222"/>
                      <a:pt x="1121" y="222"/>
                    </a:cubicBezTo>
                    <a:cubicBezTo>
                      <a:pt x="1122" y="221"/>
                      <a:pt x="1122" y="221"/>
                      <a:pt x="1122" y="221"/>
                    </a:cubicBezTo>
                    <a:cubicBezTo>
                      <a:pt x="1122" y="220"/>
                      <a:pt x="1122" y="220"/>
                      <a:pt x="1122" y="220"/>
                    </a:cubicBezTo>
                    <a:cubicBezTo>
                      <a:pt x="1122" y="202"/>
                      <a:pt x="1122" y="202"/>
                      <a:pt x="1122" y="202"/>
                    </a:cubicBezTo>
                    <a:cubicBezTo>
                      <a:pt x="1122" y="202"/>
                      <a:pt x="1122" y="202"/>
                      <a:pt x="1121" y="202"/>
                    </a:cubicBezTo>
                    <a:moveTo>
                      <a:pt x="1121" y="138"/>
                    </a:moveTo>
                    <a:cubicBezTo>
                      <a:pt x="1119" y="138"/>
                      <a:pt x="1119" y="140"/>
                      <a:pt x="1118" y="142"/>
                    </a:cubicBezTo>
                    <a:cubicBezTo>
                      <a:pt x="1118" y="142"/>
                      <a:pt x="1118" y="142"/>
                      <a:pt x="1118" y="142"/>
                    </a:cubicBezTo>
                    <a:cubicBezTo>
                      <a:pt x="1118" y="143"/>
                      <a:pt x="1118" y="143"/>
                      <a:pt x="1118" y="143"/>
                    </a:cubicBezTo>
                    <a:cubicBezTo>
                      <a:pt x="1118" y="143"/>
                      <a:pt x="1118" y="143"/>
                      <a:pt x="1118" y="143"/>
                    </a:cubicBezTo>
                    <a:cubicBezTo>
                      <a:pt x="1118" y="143"/>
                      <a:pt x="1118" y="143"/>
                      <a:pt x="1118" y="143"/>
                    </a:cubicBezTo>
                    <a:cubicBezTo>
                      <a:pt x="1117" y="144"/>
                      <a:pt x="1117" y="144"/>
                      <a:pt x="1117" y="144"/>
                    </a:cubicBezTo>
                    <a:cubicBezTo>
                      <a:pt x="1117" y="144"/>
                      <a:pt x="1117" y="144"/>
                      <a:pt x="1117" y="144"/>
                    </a:cubicBezTo>
                    <a:cubicBezTo>
                      <a:pt x="1117" y="144"/>
                      <a:pt x="1117" y="144"/>
                      <a:pt x="1117" y="144"/>
                    </a:cubicBezTo>
                    <a:cubicBezTo>
                      <a:pt x="1117" y="145"/>
                      <a:pt x="1117" y="145"/>
                      <a:pt x="1117" y="145"/>
                    </a:cubicBezTo>
                    <a:cubicBezTo>
                      <a:pt x="1117" y="145"/>
                      <a:pt x="1117" y="145"/>
                      <a:pt x="1117" y="145"/>
                    </a:cubicBezTo>
                    <a:cubicBezTo>
                      <a:pt x="1116" y="145"/>
                      <a:pt x="1116" y="145"/>
                      <a:pt x="1116" y="145"/>
                    </a:cubicBezTo>
                    <a:cubicBezTo>
                      <a:pt x="1116" y="146"/>
                      <a:pt x="1116" y="146"/>
                      <a:pt x="1116" y="146"/>
                    </a:cubicBezTo>
                    <a:cubicBezTo>
                      <a:pt x="1116" y="146"/>
                      <a:pt x="1116" y="146"/>
                      <a:pt x="1116" y="146"/>
                    </a:cubicBezTo>
                    <a:cubicBezTo>
                      <a:pt x="1115" y="147"/>
                      <a:pt x="1114" y="147"/>
                      <a:pt x="1113" y="149"/>
                    </a:cubicBezTo>
                    <a:cubicBezTo>
                      <a:pt x="1112" y="151"/>
                      <a:pt x="1112" y="151"/>
                      <a:pt x="1112" y="151"/>
                    </a:cubicBezTo>
                    <a:cubicBezTo>
                      <a:pt x="1112" y="152"/>
                      <a:pt x="1112" y="152"/>
                      <a:pt x="1112" y="152"/>
                    </a:cubicBezTo>
                    <a:cubicBezTo>
                      <a:pt x="1112" y="152"/>
                      <a:pt x="1112" y="152"/>
                      <a:pt x="1112" y="152"/>
                    </a:cubicBezTo>
                    <a:cubicBezTo>
                      <a:pt x="1112" y="153"/>
                      <a:pt x="1112" y="153"/>
                      <a:pt x="1112" y="153"/>
                    </a:cubicBezTo>
                    <a:cubicBezTo>
                      <a:pt x="1113" y="153"/>
                      <a:pt x="1113" y="153"/>
                      <a:pt x="1114" y="153"/>
                    </a:cubicBezTo>
                    <a:cubicBezTo>
                      <a:pt x="1114" y="153"/>
                      <a:pt x="1114" y="153"/>
                      <a:pt x="1114" y="153"/>
                    </a:cubicBezTo>
                    <a:cubicBezTo>
                      <a:pt x="1114" y="153"/>
                      <a:pt x="1114" y="153"/>
                      <a:pt x="1114" y="153"/>
                    </a:cubicBezTo>
                    <a:cubicBezTo>
                      <a:pt x="1114" y="153"/>
                      <a:pt x="1114" y="153"/>
                      <a:pt x="1114" y="153"/>
                    </a:cubicBezTo>
                    <a:cubicBezTo>
                      <a:pt x="1115" y="153"/>
                      <a:pt x="1115" y="153"/>
                      <a:pt x="1115" y="153"/>
                    </a:cubicBezTo>
                    <a:cubicBezTo>
                      <a:pt x="1115" y="153"/>
                      <a:pt x="1115" y="153"/>
                      <a:pt x="1115" y="153"/>
                    </a:cubicBezTo>
                    <a:cubicBezTo>
                      <a:pt x="1115" y="153"/>
                      <a:pt x="1115" y="153"/>
                      <a:pt x="1115" y="153"/>
                    </a:cubicBezTo>
                    <a:cubicBezTo>
                      <a:pt x="1115" y="152"/>
                      <a:pt x="1115" y="152"/>
                      <a:pt x="1115" y="152"/>
                    </a:cubicBezTo>
                    <a:cubicBezTo>
                      <a:pt x="1115" y="151"/>
                      <a:pt x="1115" y="151"/>
                      <a:pt x="1115" y="151"/>
                    </a:cubicBezTo>
                    <a:cubicBezTo>
                      <a:pt x="1115" y="151"/>
                      <a:pt x="1115" y="151"/>
                      <a:pt x="1115" y="151"/>
                    </a:cubicBezTo>
                    <a:cubicBezTo>
                      <a:pt x="1116" y="150"/>
                      <a:pt x="1116" y="150"/>
                      <a:pt x="1116" y="150"/>
                    </a:cubicBezTo>
                    <a:cubicBezTo>
                      <a:pt x="1117" y="150"/>
                      <a:pt x="1117" y="150"/>
                      <a:pt x="1117" y="150"/>
                    </a:cubicBezTo>
                    <a:cubicBezTo>
                      <a:pt x="1118" y="149"/>
                      <a:pt x="1118" y="149"/>
                      <a:pt x="1118" y="149"/>
                    </a:cubicBezTo>
                    <a:cubicBezTo>
                      <a:pt x="1119" y="150"/>
                      <a:pt x="1119" y="150"/>
                      <a:pt x="1119" y="150"/>
                    </a:cubicBezTo>
                    <a:cubicBezTo>
                      <a:pt x="1119" y="150"/>
                      <a:pt x="1119" y="150"/>
                      <a:pt x="1119" y="150"/>
                    </a:cubicBezTo>
                    <a:cubicBezTo>
                      <a:pt x="1118" y="150"/>
                      <a:pt x="1118" y="150"/>
                      <a:pt x="1118" y="150"/>
                    </a:cubicBezTo>
                    <a:cubicBezTo>
                      <a:pt x="1118" y="150"/>
                      <a:pt x="1118" y="150"/>
                      <a:pt x="1118" y="150"/>
                    </a:cubicBezTo>
                    <a:cubicBezTo>
                      <a:pt x="1118" y="151"/>
                      <a:pt x="1118" y="151"/>
                      <a:pt x="1118" y="151"/>
                    </a:cubicBezTo>
                    <a:cubicBezTo>
                      <a:pt x="1118" y="151"/>
                      <a:pt x="1118" y="151"/>
                      <a:pt x="1118" y="151"/>
                    </a:cubicBezTo>
                    <a:cubicBezTo>
                      <a:pt x="1118" y="152"/>
                      <a:pt x="1118" y="153"/>
                      <a:pt x="1117" y="153"/>
                    </a:cubicBezTo>
                    <a:cubicBezTo>
                      <a:pt x="1117" y="154"/>
                      <a:pt x="1117" y="154"/>
                      <a:pt x="1117" y="154"/>
                    </a:cubicBezTo>
                    <a:cubicBezTo>
                      <a:pt x="1117" y="154"/>
                      <a:pt x="1117" y="154"/>
                      <a:pt x="1117" y="154"/>
                    </a:cubicBezTo>
                    <a:cubicBezTo>
                      <a:pt x="1115" y="157"/>
                      <a:pt x="1115" y="157"/>
                      <a:pt x="1112" y="159"/>
                    </a:cubicBezTo>
                    <a:cubicBezTo>
                      <a:pt x="1112" y="160"/>
                      <a:pt x="1112" y="160"/>
                      <a:pt x="1112" y="160"/>
                    </a:cubicBezTo>
                    <a:cubicBezTo>
                      <a:pt x="1112" y="161"/>
                      <a:pt x="1112" y="161"/>
                      <a:pt x="1112" y="161"/>
                    </a:cubicBezTo>
                    <a:cubicBezTo>
                      <a:pt x="1112" y="161"/>
                      <a:pt x="1112" y="161"/>
                      <a:pt x="1112" y="161"/>
                    </a:cubicBezTo>
                    <a:cubicBezTo>
                      <a:pt x="1112" y="161"/>
                      <a:pt x="1112" y="161"/>
                      <a:pt x="1112" y="161"/>
                    </a:cubicBezTo>
                    <a:cubicBezTo>
                      <a:pt x="1112" y="162"/>
                      <a:pt x="1112" y="162"/>
                      <a:pt x="1112" y="162"/>
                    </a:cubicBezTo>
                    <a:cubicBezTo>
                      <a:pt x="1113" y="162"/>
                      <a:pt x="1113" y="162"/>
                      <a:pt x="1113" y="162"/>
                    </a:cubicBezTo>
                    <a:cubicBezTo>
                      <a:pt x="1113" y="162"/>
                      <a:pt x="1113" y="162"/>
                      <a:pt x="1113" y="162"/>
                    </a:cubicBezTo>
                    <a:cubicBezTo>
                      <a:pt x="1113" y="163"/>
                      <a:pt x="1113" y="163"/>
                      <a:pt x="1113" y="163"/>
                    </a:cubicBezTo>
                    <a:cubicBezTo>
                      <a:pt x="1113" y="164"/>
                      <a:pt x="1113" y="164"/>
                      <a:pt x="1113" y="164"/>
                    </a:cubicBezTo>
                    <a:cubicBezTo>
                      <a:pt x="1113" y="165"/>
                      <a:pt x="1113" y="165"/>
                      <a:pt x="1113" y="165"/>
                    </a:cubicBezTo>
                    <a:cubicBezTo>
                      <a:pt x="1113" y="165"/>
                      <a:pt x="1113" y="165"/>
                      <a:pt x="1113" y="165"/>
                    </a:cubicBezTo>
                    <a:cubicBezTo>
                      <a:pt x="1114" y="165"/>
                      <a:pt x="1114" y="165"/>
                      <a:pt x="1114" y="165"/>
                    </a:cubicBezTo>
                    <a:cubicBezTo>
                      <a:pt x="1114" y="165"/>
                      <a:pt x="1114" y="165"/>
                      <a:pt x="1114" y="165"/>
                    </a:cubicBezTo>
                    <a:cubicBezTo>
                      <a:pt x="1114" y="165"/>
                      <a:pt x="1114" y="165"/>
                      <a:pt x="1114" y="165"/>
                    </a:cubicBezTo>
                    <a:cubicBezTo>
                      <a:pt x="1115" y="165"/>
                      <a:pt x="1115" y="165"/>
                      <a:pt x="1115" y="165"/>
                    </a:cubicBezTo>
                    <a:cubicBezTo>
                      <a:pt x="1116" y="164"/>
                      <a:pt x="1118" y="164"/>
                      <a:pt x="1120" y="164"/>
                    </a:cubicBezTo>
                    <a:cubicBezTo>
                      <a:pt x="1121" y="164"/>
                      <a:pt x="1121" y="164"/>
                      <a:pt x="1121" y="164"/>
                    </a:cubicBezTo>
                    <a:cubicBezTo>
                      <a:pt x="1121" y="164"/>
                      <a:pt x="1121" y="164"/>
                      <a:pt x="1121" y="164"/>
                    </a:cubicBezTo>
                    <a:cubicBezTo>
                      <a:pt x="1122" y="164"/>
                      <a:pt x="1122" y="164"/>
                      <a:pt x="1122" y="164"/>
                    </a:cubicBezTo>
                    <a:cubicBezTo>
                      <a:pt x="1122" y="163"/>
                      <a:pt x="1122" y="163"/>
                      <a:pt x="1122" y="163"/>
                    </a:cubicBezTo>
                    <a:cubicBezTo>
                      <a:pt x="1122" y="138"/>
                      <a:pt x="1122" y="138"/>
                      <a:pt x="1122" y="138"/>
                    </a:cubicBezTo>
                    <a:cubicBezTo>
                      <a:pt x="1122" y="138"/>
                      <a:pt x="1122" y="138"/>
                      <a:pt x="1122" y="138"/>
                    </a:cubicBezTo>
                    <a:cubicBezTo>
                      <a:pt x="1121" y="138"/>
                      <a:pt x="1121" y="138"/>
                      <a:pt x="1121" y="138"/>
                    </a:cubicBezTo>
                    <a:moveTo>
                      <a:pt x="560" y="915"/>
                    </a:moveTo>
                    <a:cubicBezTo>
                      <a:pt x="126" y="915"/>
                      <a:pt x="126" y="915"/>
                      <a:pt x="126" y="915"/>
                    </a:cubicBezTo>
                    <a:cubicBezTo>
                      <a:pt x="126" y="916"/>
                      <a:pt x="126" y="916"/>
                      <a:pt x="126" y="917"/>
                    </a:cubicBezTo>
                    <a:cubicBezTo>
                      <a:pt x="128" y="918"/>
                      <a:pt x="133" y="919"/>
                      <a:pt x="142" y="920"/>
                    </a:cubicBezTo>
                    <a:cubicBezTo>
                      <a:pt x="150" y="920"/>
                      <a:pt x="150" y="920"/>
                      <a:pt x="150" y="920"/>
                    </a:cubicBezTo>
                    <a:cubicBezTo>
                      <a:pt x="144" y="926"/>
                      <a:pt x="144" y="926"/>
                      <a:pt x="144" y="926"/>
                    </a:cubicBezTo>
                    <a:cubicBezTo>
                      <a:pt x="143" y="926"/>
                      <a:pt x="143" y="926"/>
                      <a:pt x="143" y="926"/>
                    </a:cubicBezTo>
                    <a:cubicBezTo>
                      <a:pt x="144" y="926"/>
                      <a:pt x="144" y="927"/>
                      <a:pt x="146" y="928"/>
                    </a:cubicBezTo>
                    <a:cubicBezTo>
                      <a:pt x="147" y="928"/>
                      <a:pt x="148" y="929"/>
                      <a:pt x="149" y="930"/>
                    </a:cubicBezTo>
                    <a:cubicBezTo>
                      <a:pt x="151" y="931"/>
                      <a:pt x="153" y="933"/>
                      <a:pt x="153" y="936"/>
                    </a:cubicBezTo>
                    <a:cubicBezTo>
                      <a:pt x="153" y="937"/>
                      <a:pt x="152" y="938"/>
                      <a:pt x="151" y="940"/>
                    </a:cubicBezTo>
                    <a:cubicBezTo>
                      <a:pt x="151" y="940"/>
                      <a:pt x="150" y="941"/>
                      <a:pt x="149" y="941"/>
                    </a:cubicBezTo>
                    <a:cubicBezTo>
                      <a:pt x="148" y="941"/>
                      <a:pt x="147" y="942"/>
                      <a:pt x="145" y="943"/>
                    </a:cubicBezTo>
                    <a:cubicBezTo>
                      <a:pt x="145" y="944"/>
                      <a:pt x="144" y="944"/>
                      <a:pt x="144" y="945"/>
                    </a:cubicBezTo>
                    <a:cubicBezTo>
                      <a:pt x="143" y="945"/>
                      <a:pt x="143" y="945"/>
                      <a:pt x="143" y="945"/>
                    </a:cubicBezTo>
                    <a:cubicBezTo>
                      <a:pt x="142" y="946"/>
                      <a:pt x="142" y="946"/>
                      <a:pt x="142" y="946"/>
                    </a:cubicBezTo>
                    <a:cubicBezTo>
                      <a:pt x="141" y="946"/>
                      <a:pt x="141" y="946"/>
                      <a:pt x="141" y="946"/>
                    </a:cubicBezTo>
                    <a:cubicBezTo>
                      <a:pt x="138" y="948"/>
                      <a:pt x="138" y="948"/>
                      <a:pt x="138" y="948"/>
                    </a:cubicBezTo>
                    <a:cubicBezTo>
                      <a:pt x="137" y="948"/>
                      <a:pt x="137" y="948"/>
                      <a:pt x="137" y="948"/>
                    </a:cubicBezTo>
                    <a:cubicBezTo>
                      <a:pt x="136" y="948"/>
                      <a:pt x="136" y="949"/>
                      <a:pt x="136" y="949"/>
                    </a:cubicBezTo>
                    <a:cubicBezTo>
                      <a:pt x="135" y="949"/>
                      <a:pt x="135" y="949"/>
                      <a:pt x="134" y="949"/>
                    </a:cubicBezTo>
                    <a:cubicBezTo>
                      <a:pt x="134" y="949"/>
                      <a:pt x="134" y="949"/>
                      <a:pt x="134" y="949"/>
                    </a:cubicBezTo>
                    <a:cubicBezTo>
                      <a:pt x="132" y="950"/>
                      <a:pt x="130" y="950"/>
                      <a:pt x="128" y="950"/>
                    </a:cubicBezTo>
                    <a:cubicBezTo>
                      <a:pt x="127" y="950"/>
                      <a:pt x="126" y="950"/>
                      <a:pt x="125" y="950"/>
                    </a:cubicBezTo>
                    <a:cubicBezTo>
                      <a:pt x="123" y="950"/>
                      <a:pt x="121" y="949"/>
                      <a:pt x="119" y="949"/>
                    </a:cubicBezTo>
                    <a:cubicBezTo>
                      <a:pt x="119" y="949"/>
                      <a:pt x="119" y="949"/>
                      <a:pt x="119" y="949"/>
                    </a:cubicBezTo>
                    <a:cubicBezTo>
                      <a:pt x="117" y="949"/>
                      <a:pt x="116" y="949"/>
                      <a:pt x="115" y="949"/>
                    </a:cubicBezTo>
                    <a:cubicBezTo>
                      <a:pt x="114" y="949"/>
                      <a:pt x="114" y="949"/>
                      <a:pt x="114" y="949"/>
                    </a:cubicBezTo>
                    <a:cubicBezTo>
                      <a:pt x="113" y="949"/>
                      <a:pt x="113" y="949"/>
                      <a:pt x="112" y="949"/>
                    </a:cubicBezTo>
                    <a:cubicBezTo>
                      <a:pt x="112" y="949"/>
                      <a:pt x="112" y="949"/>
                      <a:pt x="112" y="949"/>
                    </a:cubicBezTo>
                    <a:cubicBezTo>
                      <a:pt x="112" y="949"/>
                      <a:pt x="112" y="949"/>
                      <a:pt x="112" y="949"/>
                    </a:cubicBezTo>
                    <a:cubicBezTo>
                      <a:pt x="113" y="951"/>
                      <a:pt x="114" y="953"/>
                      <a:pt x="115" y="953"/>
                    </a:cubicBezTo>
                    <a:cubicBezTo>
                      <a:pt x="118" y="955"/>
                      <a:pt x="121" y="959"/>
                      <a:pt x="119" y="972"/>
                    </a:cubicBezTo>
                    <a:cubicBezTo>
                      <a:pt x="119" y="975"/>
                      <a:pt x="120" y="976"/>
                      <a:pt x="121" y="977"/>
                    </a:cubicBezTo>
                    <a:cubicBezTo>
                      <a:pt x="122" y="978"/>
                      <a:pt x="122" y="978"/>
                      <a:pt x="122" y="978"/>
                    </a:cubicBezTo>
                    <a:cubicBezTo>
                      <a:pt x="123" y="979"/>
                      <a:pt x="123" y="979"/>
                      <a:pt x="123" y="979"/>
                    </a:cubicBezTo>
                    <a:cubicBezTo>
                      <a:pt x="123" y="979"/>
                      <a:pt x="123" y="979"/>
                      <a:pt x="123" y="979"/>
                    </a:cubicBezTo>
                    <a:cubicBezTo>
                      <a:pt x="123" y="980"/>
                      <a:pt x="123" y="980"/>
                      <a:pt x="123" y="980"/>
                    </a:cubicBezTo>
                    <a:cubicBezTo>
                      <a:pt x="125" y="983"/>
                      <a:pt x="125" y="983"/>
                      <a:pt x="125" y="983"/>
                    </a:cubicBezTo>
                    <a:cubicBezTo>
                      <a:pt x="126" y="983"/>
                      <a:pt x="128" y="983"/>
                      <a:pt x="129" y="983"/>
                    </a:cubicBezTo>
                    <a:cubicBezTo>
                      <a:pt x="131" y="983"/>
                      <a:pt x="132" y="983"/>
                      <a:pt x="133" y="982"/>
                    </a:cubicBezTo>
                    <a:cubicBezTo>
                      <a:pt x="133" y="982"/>
                      <a:pt x="133" y="982"/>
                      <a:pt x="133" y="982"/>
                    </a:cubicBezTo>
                    <a:cubicBezTo>
                      <a:pt x="136" y="978"/>
                      <a:pt x="139" y="973"/>
                      <a:pt x="145" y="973"/>
                    </a:cubicBezTo>
                    <a:cubicBezTo>
                      <a:pt x="146" y="973"/>
                      <a:pt x="147" y="973"/>
                      <a:pt x="147" y="973"/>
                    </a:cubicBezTo>
                    <a:cubicBezTo>
                      <a:pt x="149" y="974"/>
                      <a:pt x="151" y="974"/>
                      <a:pt x="154" y="974"/>
                    </a:cubicBezTo>
                    <a:cubicBezTo>
                      <a:pt x="157" y="974"/>
                      <a:pt x="161" y="973"/>
                      <a:pt x="165" y="972"/>
                    </a:cubicBezTo>
                    <a:cubicBezTo>
                      <a:pt x="168" y="971"/>
                      <a:pt x="172" y="971"/>
                      <a:pt x="175" y="971"/>
                    </a:cubicBezTo>
                    <a:cubicBezTo>
                      <a:pt x="177" y="971"/>
                      <a:pt x="180" y="971"/>
                      <a:pt x="181" y="973"/>
                    </a:cubicBezTo>
                    <a:cubicBezTo>
                      <a:pt x="182" y="973"/>
                      <a:pt x="182" y="973"/>
                      <a:pt x="182" y="973"/>
                    </a:cubicBezTo>
                    <a:cubicBezTo>
                      <a:pt x="189" y="979"/>
                      <a:pt x="192" y="983"/>
                      <a:pt x="191" y="986"/>
                    </a:cubicBezTo>
                    <a:cubicBezTo>
                      <a:pt x="191" y="987"/>
                      <a:pt x="191" y="987"/>
                      <a:pt x="191" y="987"/>
                    </a:cubicBezTo>
                    <a:cubicBezTo>
                      <a:pt x="191" y="988"/>
                      <a:pt x="191" y="989"/>
                      <a:pt x="192" y="989"/>
                    </a:cubicBezTo>
                    <a:cubicBezTo>
                      <a:pt x="194" y="990"/>
                      <a:pt x="197" y="992"/>
                      <a:pt x="199" y="994"/>
                    </a:cubicBezTo>
                    <a:cubicBezTo>
                      <a:pt x="200" y="996"/>
                      <a:pt x="200" y="996"/>
                      <a:pt x="200" y="997"/>
                    </a:cubicBezTo>
                    <a:cubicBezTo>
                      <a:pt x="201" y="1000"/>
                      <a:pt x="201" y="1000"/>
                      <a:pt x="201" y="1000"/>
                    </a:cubicBezTo>
                    <a:cubicBezTo>
                      <a:pt x="198" y="1001"/>
                      <a:pt x="198" y="1001"/>
                      <a:pt x="198" y="1001"/>
                    </a:cubicBezTo>
                    <a:cubicBezTo>
                      <a:pt x="195" y="1001"/>
                      <a:pt x="194" y="1002"/>
                      <a:pt x="192" y="1002"/>
                    </a:cubicBezTo>
                    <a:cubicBezTo>
                      <a:pt x="194" y="1005"/>
                      <a:pt x="195" y="1009"/>
                      <a:pt x="194" y="1012"/>
                    </a:cubicBezTo>
                    <a:cubicBezTo>
                      <a:pt x="194" y="1013"/>
                      <a:pt x="194" y="1013"/>
                      <a:pt x="194" y="1014"/>
                    </a:cubicBezTo>
                    <a:cubicBezTo>
                      <a:pt x="195" y="1014"/>
                      <a:pt x="196" y="1014"/>
                      <a:pt x="197" y="1014"/>
                    </a:cubicBezTo>
                    <a:cubicBezTo>
                      <a:pt x="199" y="1014"/>
                      <a:pt x="201" y="1014"/>
                      <a:pt x="203" y="1016"/>
                    </a:cubicBezTo>
                    <a:cubicBezTo>
                      <a:pt x="204" y="1016"/>
                      <a:pt x="205" y="1016"/>
                      <a:pt x="206" y="1016"/>
                    </a:cubicBezTo>
                    <a:cubicBezTo>
                      <a:pt x="207" y="1016"/>
                      <a:pt x="207" y="1016"/>
                      <a:pt x="208" y="1016"/>
                    </a:cubicBezTo>
                    <a:cubicBezTo>
                      <a:pt x="209" y="1016"/>
                      <a:pt x="210" y="1015"/>
                      <a:pt x="211" y="1015"/>
                    </a:cubicBezTo>
                    <a:cubicBezTo>
                      <a:pt x="213" y="1015"/>
                      <a:pt x="216" y="1016"/>
                      <a:pt x="219" y="1018"/>
                    </a:cubicBezTo>
                    <a:cubicBezTo>
                      <a:pt x="222" y="1021"/>
                      <a:pt x="225" y="1022"/>
                      <a:pt x="225" y="1022"/>
                    </a:cubicBezTo>
                    <a:cubicBezTo>
                      <a:pt x="229" y="1024"/>
                      <a:pt x="229" y="1024"/>
                      <a:pt x="229" y="1024"/>
                    </a:cubicBezTo>
                    <a:cubicBezTo>
                      <a:pt x="226" y="1028"/>
                      <a:pt x="226" y="1028"/>
                      <a:pt x="226" y="1028"/>
                    </a:cubicBezTo>
                    <a:cubicBezTo>
                      <a:pt x="226" y="1028"/>
                      <a:pt x="225" y="1029"/>
                      <a:pt x="226" y="1030"/>
                    </a:cubicBezTo>
                    <a:cubicBezTo>
                      <a:pt x="228" y="1035"/>
                      <a:pt x="230" y="1040"/>
                      <a:pt x="229" y="1043"/>
                    </a:cubicBezTo>
                    <a:cubicBezTo>
                      <a:pt x="229" y="1044"/>
                      <a:pt x="230" y="1045"/>
                      <a:pt x="231" y="1046"/>
                    </a:cubicBezTo>
                    <a:cubicBezTo>
                      <a:pt x="232" y="1046"/>
                      <a:pt x="233" y="1047"/>
                      <a:pt x="234" y="1047"/>
                    </a:cubicBezTo>
                    <a:cubicBezTo>
                      <a:pt x="235" y="1047"/>
                      <a:pt x="235" y="1047"/>
                      <a:pt x="236" y="1046"/>
                    </a:cubicBezTo>
                    <a:cubicBezTo>
                      <a:pt x="238" y="1045"/>
                      <a:pt x="240" y="1045"/>
                      <a:pt x="243" y="1045"/>
                    </a:cubicBezTo>
                    <a:cubicBezTo>
                      <a:pt x="246" y="1045"/>
                      <a:pt x="249" y="1046"/>
                      <a:pt x="252" y="1048"/>
                    </a:cubicBezTo>
                    <a:cubicBezTo>
                      <a:pt x="254" y="1049"/>
                      <a:pt x="257" y="1050"/>
                      <a:pt x="260" y="1050"/>
                    </a:cubicBezTo>
                    <a:cubicBezTo>
                      <a:pt x="263" y="1050"/>
                      <a:pt x="265" y="1049"/>
                      <a:pt x="267" y="1049"/>
                    </a:cubicBezTo>
                    <a:cubicBezTo>
                      <a:pt x="273" y="1046"/>
                      <a:pt x="281" y="1044"/>
                      <a:pt x="281" y="1044"/>
                    </a:cubicBezTo>
                    <a:cubicBezTo>
                      <a:pt x="282" y="1044"/>
                      <a:pt x="282" y="1044"/>
                      <a:pt x="282" y="1044"/>
                    </a:cubicBezTo>
                    <a:cubicBezTo>
                      <a:pt x="283" y="1044"/>
                      <a:pt x="286" y="1045"/>
                      <a:pt x="291" y="1050"/>
                    </a:cubicBezTo>
                    <a:cubicBezTo>
                      <a:pt x="293" y="1053"/>
                      <a:pt x="297" y="1059"/>
                      <a:pt x="299" y="1062"/>
                    </a:cubicBezTo>
                    <a:cubicBezTo>
                      <a:pt x="302" y="1059"/>
                      <a:pt x="304" y="1058"/>
                      <a:pt x="306" y="1058"/>
                    </a:cubicBezTo>
                    <a:cubicBezTo>
                      <a:pt x="306" y="1058"/>
                      <a:pt x="306" y="1058"/>
                      <a:pt x="307" y="1058"/>
                    </a:cubicBezTo>
                    <a:cubicBezTo>
                      <a:pt x="308" y="1058"/>
                      <a:pt x="310" y="1058"/>
                      <a:pt x="311" y="1059"/>
                    </a:cubicBezTo>
                    <a:cubicBezTo>
                      <a:pt x="312" y="1059"/>
                      <a:pt x="313" y="1059"/>
                      <a:pt x="314" y="1059"/>
                    </a:cubicBezTo>
                    <a:cubicBezTo>
                      <a:pt x="319" y="1060"/>
                      <a:pt x="323" y="1064"/>
                      <a:pt x="324" y="1066"/>
                    </a:cubicBezTo>
                    <a:cubicBezTo>
                      <a:pt x="325" y="1067"/>
                      <a:pt x="325" y="1067"/>
                      <a:pt x="325" y="1067"/>
                    </a:cubicBezTo>
                    <a:cubicBezTo>
                      <a:pt x="326" y="1067"/>
                      <a:pt x="326" y="1067"/>
                      <a:pt x="326" y="1067"/>
                    </a:cubicBezTo>
                    <a:cubicBezTo>
                      <a:pt x="327" y="1066"/>
                      <a:pt x="329" y="1065"/>
                      <a:pt x="332" y="1065"/>
                    </a:cubicBezTo>
                    <a:cubicBezTo>
                      <a:pt x="334" y="1065"/>
                      <a:pt x="338" y="1066"/>
                      <a:pt x="341" y="1070"/>
                    </a:cubicBezTo>
                    <a:cubicBezTo>
                      <a:pt x="342" y="1070"/>
                      <a:pt x="343" y="1071"/>
                      <a:pt x="343" y="1072"/>
                    </a:cubicBezTo>
                    <a:cubicBezTo>
                      <a:pt x="346" y="1075"/>
                      <a:pt x="348" y="1077"/>
                      <a:pt x="352" y="1077"/>
                    </a:cubicBezTo>
                    <a:cubicBezTo>
                      <a:pt x="353" y="1077"/>
                      <a:pt x="355" y="1077"/>
                      <a:pt x="357" y="1075"/>
                    </a:cubicBezTo>
                    <a:cubicBezTo>
                      <a:pt x="361" y="1074"/>
                      <a:pt x="361" y="1074"/>
                      <a:pt x="361" y="1074"/>
                    </a:cubicBezTo>
                    <a:cubicBezTo>
                      <a:pt x="362" y="1078"/>
                      <a:pt x="362" y="1078"/>
                      <a:pt x="362" y="1078"/>
                    </a:cubicBezTo>
                    <a:cubicBezTo>
                      <a:pt x="364" y="1085"/>
                      <a:pt x="363" y="1089"/>
                      <a:pt x="362" y="1092"/>
                    </a:cubicBezTo>
                    <a:cubicBezTo>
                      <a:pt x="362" y="1092"/>
                      <a:pt x="362" y="1092"/>
                      <a:pt x="362" y="1092"/>
                    </a:cubicBezTo>
                    <a:cubicBezTo>
                      <a:pt x="361" y="1095"/>
                      <a:pt x="356" y="1099"/>
                      <a:pt x="352" y="1102"/>
                    </a:cubicBezTo>
                    <a:cubicBezTo>
                      <a:pt x="354" y="1102"/>
                      <a:pt x="357" y="1103"/>
                      <a:pt x="357" y="1103"/>
                    </a:cubicBezTo>
                    <a:cubicBezTo>
                      <a:pt x="378" y="1107"/>
                      <a:pt x="378" y="1107"/>
                      <a:pt x="378" y="1107"/>
                    </a:cubicBezTo>
                    <a:cubicBezTo>
                      <a:pt x="357" y="1110"/>
                      <a:pt x="357" y="1110"/>
                      <a:pt x="357" y="1110"/>
                    </a:cubicBezTo>
                    <a:cubicBezTo>
                      <a:pt x="354" y="1110"/>
                      <a:pt x="351" y="1112"/>
                      <a:pt x="349" y="1113"/>
                    </a:cubicBezTo>
                    <a:cubicBezTo>
                      <a:pt x="353" y="1114"/>
                      <a:pt x="354" y="1117"/>
                      <a:pt x="355" y="1119"/>
                    </a:cubicBezTo>
                    <a:cubicBezTo>
                      <a:pt x="356" y="1121"/>
                      <a:pt x="358" y="1125"/>
                      <a:pt x="357" y="1128"/>
                    </a:cubicBezTo>
                    <a:cubicBezTo>
                      <a:pt x="357" y="1129"/>
                      <a:pt x="357" y="1130"/>
                      <a:pt x="356" y="1131"/>
                    </a:cubicBezTo>
                    <a:cubicBezTo>
                      <a:pt x="355" y="1132"/>
                      <a:pt x="353" y="1138"/>
                      <a:pt x="352" y="1141"/>
                    </a:cubicBezTo>
                    <a:cubicBezTo>
                      <a:pt x="352" y="1142"/>
                      <a:pt x="351" y="1144"/>
                      <a:pt x="350" y="1145"/>
                    </a:cubicBezTo>
                    <a:cubicBezTo>
                      <a:pt x="349" y="1146"/>
                      <a:pt x="346" y="1147"/>
                      <a:pt x="344" y="1147"/>
                    </a:cubicBezTo>
                    <a:cubicBezTo>
                      <a:pt x="343" y="1147"/>
                      <a:pt x="342" y="1147"/>
                      <a:pt x="341" y="1146"/>
                    </a:cubicBezTo>
                    <a:cubicBezTo>
                      <a:pt x="338" y="1146"/>
                      <a:pt x="333" y="1145"/>
                      <a:pt x="330" y="1145"/>
                    </a:cubicBezTo>
                    <a:cubicBezTo>
                      <a:pt x="329" y="1145"/>
                      <a:pt x="328" y="1145"/>
                      <a:pt x="328" y="1146"/>
                    </a:cubicBezTo>
                    <a:cubicBezTo>
                      <a:pt x="326" y="1148"/>
                      <a:pt x="321" y="1151"/>
                      <a:pt x="316" y="1152"/>
                    </a:cubicBezTo>
                    <a:cubicBezTo>
                      <a:pt x="313" y="1152"/>
                      <a:pt x="309" y="1154"/>
                      <a:pt x="309" y="1159"/>
                    </a:cubicBezTo>
                    <a:cubicBezTo>
                      <a:pt x="309" y="1160"/>
                      <a:pt x="309" y="1161"/>
                      <a:pt x="309" y="1162"/>
                    </a:cubicBezTo>
                    <a:cubicBezTo>
                      <a:pt x="309" y="1165"/>
                      <a:pt x="309" y="1165"/>
                      <a:pt x="309" y="1165"/>
                    </a:cubicBezTo>
                    <a:cubicBezTo>
                      <a:pt x="309" y="1166"/>
                      <a:pt x="309" y="1167"/>
                      <a:pt x="308" y="1168"/>
                    </a:cubicBezTo>
                    <a:cubicBezTo>
                      <a:pt x="310" y="1167"/>
                      <a:pt x="312" y="1167"/>
                      <a:pt x="314" y="1166"/>
                    </a:cubicBezTo>
                    <a:cubicBezTo>
                      <a:pt x="313" y="1167"/>
                      <a:pt x="312" y="1167"/>
                      <a:pt x="312" y="1168"/>
                    </a:cubicBezTo>
                    <a:cubicBezTo>
                      <a:pt x="315" y="1168"/>
                      <a:pt x="320" y="1168"/>
                      <a:pt x="323" y="1167"/>
                    </a:cubicBezTo>
                    <a:cubicBezTo>
                      <a:pt x="324" y="1166"/>
                      <a:pt x="324" y="1164"/>
                      <a:pt x="326" y="1164"/>
                    </a:cubicBezTo>
                    <a:cubicBezTo>
                      <a:pt x="326" y="1164"/>
                      <a:pt x="326" y="1164"/>
                      <a:pt x="326" y="1164"/>
                    </a:cubicBezTo>
                    <a:cubicBezTo>
                      <a:pt x="329" y="1165"/>
                      <a:pt x="332" y="1165"/>
                      <a:pt x="334" y="1165"/>
                    </a:cubicBezTo>
                    <a:cubicBezTo>
                      <a:pt x="334" y="1167"/>
                      <a:pt x="333" y="1170"/>
                      <a:pt x="335" y="1170"/>
                    </a:cubicBezTo>
                    <a:cubicBezTo>
                      <a:pt x="336" y="1170"/>
                      <a:pt x="336" y="1169"/>
                      <a:pt x="337" y="1169"/>
                    </a:cubicBezTo>
                    <a:cubicBezTo>
                      <a:pt x="332" y="1172"/>
                      <a:pt x="322" y="1178"/>
                      <a:pt x="316" y="1178"/>
                    </a:cubicBezTo>
                    <a:cubicBezTo>
                      <a:pt x="315" y="1178"/>
                      <a:pt x="315" y="1178"/>
                      <a:pt x="315" y="1178"/>
                    </a:cubicBezTo>
                    <a:cubicBezTo>
                      <a:pt x="314" y="1178"/>
                      <a:pt x="314" y="1178"/>
                      <a:pt x="314" y="1178"/>
                    </a:cubicBezTo>
                    <a:cubicBezTo>
                      <a:pt x="313" y="1178"/>
                      <a:pt x="313" y="1178"/>
                      <a:pt x="313" y="1178"/>
                    </a:cubicBezTo>
                    <a:cubicBezTo>
                      <a:pt x="312" y="1178"/>
                      <a:pt x="311" y="1178"/>
                      <a:pt x="310" y="1179"/>
                    </a:cubicBezTo>
                    <a:cubicBezTo>
                      <a:pt x="311" y="1180"/>
                      <a:pt x="315" y="1184"/>
                      <a:pt x="315" y="1184"/>
                    </a:cubicBezTo>
                    <a:cubicBezTo>
                      <a:pt x="314" y="1186"/>
                      <a:pt x="300" y="1186"/>
                      <a:pt x="298" y="1187"/>
                    </a:cubicBezTo>
                    <a:cubicBezTo>
                      <a:pt x="298" y="1187"/>
                      <a:pt x="298" y="1187"/>
                      <a:pt x="298" y="1187"/>
                    </a:cubicBezTo>
                    <a:cubicBezTo>
                      <a:pt x="297" y="1187"/>
                      <a:pt x="295" y="1186"/>
                      <a:pt x="294" y="1186"/>
                    </a:cubicBezTo>
                    <a:cubicBezTo>
                      <a:pt x="293" y="1186"/>
                      <a:pt x="292" y="1185"/>
                      <a:pt x="292" y="1185"/>
                    </a:cubicBezTo>
                    <a:cubicBezTo>
                      <a:pt x="292" y="1185"/>
                      <a:pt x="292" y="1185"/>
                      <a:pt x="291" y="1185"/>
                    </a:cubicBezTo>
                    <a:cubicBezTo>
                      <a:pt x="291" y="1186"/>
                      <a:pt x="292" y="1188"/>
                      <a:pt x="293" y="1190"/>
                    </a:cubicBezTo>
                    <a:cubicBezTo>
                      <a:pt x="294" y="1192"/>
                      <a:pt x="295" y="1193"/>
                      <a:pt x="297" y="1194"/>
                    </a:cubicBezTo>
                    <a:cubicBezTo>
                      <a:pt x="301" y="1197"/>
                      <a:pt x="315" y="1202"/>
                      <a:pt x="314" y="1208"/>
                    </a:cubicBezTo>
                    <a:cubicBezTo>
                      <a:pt x="312" y="1207"/>
                      <a:pt x="310" y="1207"/>
                      <a:pt x="308" y="1206"/>
                    </a:cubicBezTo>
                    <a:cubicBezTo>
                      <a:pt x="307" y="1206"/>
                      <a:pt x="306" y="1205"/>
                      <a:pt x="306" y="1204"/>
                    </a:cubicBezTo>
                    <a:cubicBezTo>
                      <a:pt x="306" y="1204"/>
                      <a:pt x="306" y="1204"/>
                      <a:pt x="306" y="1204"/>
                    </a:cubicBezTo>
                    <a:cubicBezTo>
                      <a:pt x="302" y="1204"/>
                      <a:pt x="300" y="1212"/>
                      <a:pt x="300" y="1215"/>
                    </a:cubicBezTo>
                    <a:cubicBezTo>
                      <a:pt x="300" y="1213"/>
                      <a:pt x="300" y="1208"/>
                      <a:pt x="299" y="1208"/>
                    </a:cubicBezTo>
                    <a:cubicBezTo>
                      <a:pt x="300" y="1208"/>
                      <a:pt x="300" y="1207"/>
                      <a:pt x="301" y="1207"/>
                    </a:cubicBezTo>
                    <a:cubicBezTo>
                      <a:pt x="300" y="1207"/>
                      <a:pt x="300" y="1207"/>
                      <a:pt x="300" y="1207"/>
                    </a:cubicBezTo>
                    <a:cubicBezTo>
                      <a:pt x="299" y="1207"/>
                      <a:pt x="298" y="1208"/>
                      <a:pt x="297" y="1209"/>
                    </a:cubicBezTo>
                    <a:cubicBezTo>
                      <a:pt x="296" y="1209"/>
                      <a:pt x="290" y="1222"/>
                      <a:pt x="288" y="1222"/>
                    </a:cubicBezTo>
                    <a:cubicBezTo>
                      <a:pt x="288" y="1222"/>
                      <a:pt x="287" y="1221"/>
                      <a:pt x="287" y="1221"/>
                    </a:cubicBezTo>
                    <a:cubicBezTo>
                      <a:pt x="286" y="1223"/>
                      <a:pt x="296" y="1233"/>
                      <a:pt x="287" y="1233"/>
                    </a:cubicBezTo>
                    <a:cubicBezTo>
                      <a:pt x="287" y="1233"/>
                      <a:pt x="287" y="1233"/>
                      <a:pt x="287" y="1233"/>
                    </a:cubicBezTo>
                    <a:cubicBezTo>
                      <a:pt x="281" y="1233"/>
                      <a:pt x="277" y="1232"/>
                      <a:pt x="271" y="1230"/>
                    </a:cubicBezTo>
                    <a:cubicBezTo>
                      <a:pt x="269" y="1230"/>
                      <a:pt x="267" y="1230"/>
                      <a:pt x="266" y="1230"/>
                    </a:cubicBezTo>
                    <a:cubicBezTo>
                      <a:pt x="264" y="1230"/>
                      <a:pt x="263" y="1230"/>
                      <a:pt x="261" y="1232"/>
                    </a:cubicBezTo>
                    <a:cubicBezTo>
                      <a:pt x="262" y="1231"/>
                      <a:pt x="262" y="1231"/>
                      <a:pt x="263" y="1231"/>
                    </a:cubicBezTo>
                    <a:cubicBezTo>
                      <a:pt x="264" y="1231"/>
                      <a:pt x="265" y="1232"/>
                      <a:pt x="265" y="1232"/>
                    </a:cubicBezTo>
                    <a:cubicBezTo>
                      <a:pt x="266" y="1233"/>
                      <a:pt x="267" y="1233"/>
                      <a:pt x="268" y="1233"/>
                    </a:cubicBezTo>
                    <a:cubicBezTo>
                      <a:pt x="268" y="1233"/>
                      <a:pt x="268" y="1233"/>
                      <a:pt x="269" y="1233"/>
                    </a:cubicBezTo>
                    <a:cubicBezTo>
                      <a:pt x="265" y="1237"/>
                      <a:pt x="262" y="1237"/>
                      <a:pt x="258" y="1237"/>
                    </a:cubicBezTo>
                    <a:cubicBezTo>
                      <a:pt x="262" y="1240"/>
                      <a:pt x="266" y="1241"/>
                      <a:pt x="270" y="1243"/>
                    </a:cubicBezTo>
                    <a:cubicBezTo>
                      <a:pt x="275" y="1244"/>
                      <a:pt x="279" y="1252"/>
                      <a:pt x="283" y="1255"/>
                    </a:cubicBezTo>
                    <a:cubicBezTo>
                      <a:pt x="283" y="1255"/>
                      <a:pt x="284" y="1255"/>
                      <a:pt x="285" y="1255"/>
                    </a:cubicBezTo>
                    <a:cubicBezTo>
                      <a:pt x="287" y="1255"/>
                      <a:pt x="290" y="1255"/>
                      <a:pt x="291" y="1255"/>
                    </a:cubicBezTo>
                    <a:cubicBezTo>
                      <a:pt x="291" y="1255"/>
                      <a:pt x="292" y="1255"/>
                      <a:pt x="292" y="1255"/>
                    </a:cubicBezTo>
                    <a:cubicBezTo>
                      <a:pt x="295" y="1255"/>
                      <a:pt x="295" y="1256"/>
                      <a:pt x="298" y="1258"/>
                    </a:cubicBezTo>
                    <a:cubicBezTo>
                      <a:pt x="299" y="1260"/>
                      <a:pt x="301" y="1264"/>
                      <a:pt x="303" y="1265"/>
                    </a:cubicBezTo>
                    <a:cubicBezTo>
                      <a:pt x="306" y="1267"/>
                      <a:pt x="311" y="1267"/>
                      <a:pt x="314" y="1268"/>
                    </a:cubicBezTo>
                    <a:cubicBezTo>
                      <a:pt x="320" y="1269"/>
                      <a:pt x="325" y="1275"/>
                      <a:pt x="329" y="1278"/>
                    </a:cubicBezTo>
                    <a:cubicBezTo>
                      <a:pt x="337" y="1284"/>
                      <a:pt x="345" y="1291"/>
                      <a:pt x="352" y="1298"/>
                    </a:cubicBezTo>
                    <a:cubicBezTo>
                      <a:pt x="354" y="1293"/>
                      <a:pt x="356" y="1292"/>
                      <a:pt x="357" y="1291"/>
                    </a:cubicBezTo>
                    <a:cubicBezTo>
                      <a:pt x="358" y="1290"/>
                      <a:pt x="358" y="1290"/>
                      <a:pt x="359" y="1290"/>
                    </a:cubicBezTo>
                    <a:cubicBezTo>
                      <a:pt x="360" y="1290"/>
                      <a:pt x="360" y="1290"/>
                      <a:pt x="361" y="1290"/>
                    </a:cubicBezTo>
                    <a:cubicBezTo>
                      <a:pt x="361" y="1291"/>
                      <a:pt x="361" y="1291"/>
                      <a:pt x="361" y="1291"/>
                    </a:cubicBezTo>
                    <a:cubicBezTo>
                      <a:pt x="365" y="1292"/>
                      <a:pt x="368" y="1292"/>
                      <a:pt x="369" y="1292"/>
                    </a:cubicBezTo>
                    <a:cubicBezTo>
                      <a:pt x="370" y="1292"/>
                      <a:pt x="370" y="1292"/>
                      <a:pt x="370" y="1292"/>
                    </a:cubicBezTo>
                    <a:cubicBezTo>
                      <a:pt x="371" y="1292"/>
                      <a:pt x="372" y="1292"/>
                      <a:pt x="373" y="1292"/>
                    </a:cubicBezTo>
                    <a:cubicBezTo>
                      <a:pt x="377" y="1292"/>
                      <a:pt x="381" y="1294"/>
                      <a:pt x="384" y="1296"/>
                    </a:cubicBezTo>
                    <a:cubicBezTo>
                      <a:pt x="384" y="1296"/>
                      <a:pt x="385" y="1296"/>
                      <a:pt x="387" y="1297"/>
                    </a:cubicBezTo>
                    <a:cubicBezTo>
                      <a:pt x="394" y="1300"/>
                      <a:pt x="407" y="1304"/>
                      <a:pt x="414" y="1304"/>
                    </a:cubicBezTo>
                    <a:cubicBezTo>
                      <a:pt x="415" y="1304"/>
                      <a:pt x="417" y="1303"/>
                      <a:pt x="418" y="1303"/>
                    </a:cubicBezTo>
                    <a:cubicBezTo>
                      <a:pt x="420" y="1302"/>
                      <a:pt x="422" y="1302"/>
                      <a:pt x="425" y="1302"/>
                    </a:cubicBezTo>
                    <a:cubicBezTo>
                      <a:pt x="432" y="1302"/>
                      <a:pt x="439" y="1306"/>
                      <a:pt x="442" y="1308"/>
                    </a:cubicBezTo>
                    <a:cubicBezTo>
                      <a:pt x="444" y="1311"/>
                      <a:pt x="457" y="1317"/>
                      <a:pt x="459" y="1317"/>
                    </a:cubicBezTo>
                    <a:cubicBezTo>
                      <a:pt x="462" y="1317"/>
                      <a:pt x="463" y="1318"/>
                      <a:pt x="464" y="1319"/>
                    </a:cubicBezTo>
                    <a:cubicBezTo>
                      <a:pt x="465" y="1321"/>
                      <a:pt x="465" y="1323"/>
                      <a:pt x="465" y="1324"/>
                    </a:cubicBezTo>
                    <a:cubicBezTo>
                      <a:pt x="466" y="1324"/>
                      <a:pt x="466" y="1324"/>
                      <a:pt x="467" y="1325"/>
                    </a:cubicBezTo>
                    <a:cubicBezTo>
                      <a:pt x="468" y="1325"/>
                      <a:pt x="468" y="1325"/>
                      <a:pt x="469" y="1325"/>
                    </a:cubicBezTo>
                    <a:cubicBezTo>
                      <a:pt x="470" y="1325"/>
                      <a:pt x="472" y="1324"/>
                      <a:pt x="474" y="1323"/>
                    </a:cubicBezTo>
                    <a:cubicBezTo>
                      <a:pt x="478" y="1320"/>
                      <a:pt x="481" y="1319"/>
                      <a:pt x="484" y="1319"/>
                    </a:cubicBezTo>
                    <a:cubicBezTo>
                      <a:pt x="485" y="1319"/>
                      <a:pt x="486" y="1319"/>
                      <a:pt x="487" y="1319"/>
                    </a:cubicBezTo>
                    <a:cubicBezTo>
                      <a:pt x="489" y="1320"/>
                      <a:pt x="490" y="1320"/>
                      <a:pt x="491" y="1321"/>
                    </a:cubicBezTo>
                    <a:cubicBezTo>
                      <a:pt x="492" y="1320"/>
                      <a:pt x="492" y="1320"/>
                      <a:pt x="493" y="1320"/>
                    </a:cubicBezTo>
                    <a:cubicBezTo>
                      <a:pt x="494" y="1319"/>
                      <a:pt x="494" y="1319"/>
                      <a:pt x="495" y="1319"/>
                    </a:cubicBezTo>
                    <a:cubicBezTo>
                      <a:pt x="497" y="1319"/>
                      <a:pt x="499" y="1320"/>
                      <a:pt x="501" y="1321"/>
                    </a:cubicBezTo>
                    <a:cubicBezTo>
                      <a:pt x="504" y="1324"/>
                      <a:pt x="516" y="1328"/>
                      <a:pt x="518" y="1328"/>
                    </a:cubicBezTo>
                    <a:cubicBezTo>
                      <a:pt x="525" y="1328"/>
                      <a:pt x="525" y="1328"/>
                      <a:pt x="525" y="1328"/>
                    </a:cubicBezTo>
                    <a:cubicBezTo>
                      <a:pt x="521" y="1334"/>
                      <a:pt x="521" y="1334"/>
                      <a:pt x="521" y="1334"/>
                    </a:cubicBezTo>
                    <a:cubicBezTo>
                      <a:pt x="520" y="1336"/>
                      <a:pt x="519" y="1339"/>
                      <a:pt x="519" y="1339"/>
                    </a:cubicBezTo>
                    <a:cubicBezTo>
                      <a:pt x="523" y="1341"/>
                      <a:pt x="530" y="1345"/>
                      <a:pt x="532" y="1345"/>
                    </a:cubicBezTo>
                    <a:cubicBezTo>
                      <a:pt x="533" y="1344"/>
                      <a:pt x="533" y="1344"/>
                      <a:pt x="533" y="1344"/>
                    </a:cubicBezTo>
                    <a:cubicBezTo>
                      <a:pt x="534" y="1345"/>
                      <a:pt x="534" y="1345"/>
                      <a:pt x="534" y="1345"/>
                    </a:cubicBezTo>
                    <a:cubicBezTo>
                      <a:pt x="535" y="1346"/>
                      <a:pt x="536" y="1347"/>
                      <a:pt x="537" y="1348"/>
                    </a:cubicBezTo>
                    <a:cubicBezTo>
                      <a:pt x="537" y="1348"/>
                      <a:pt x="537" y="1348"/>
                      <a:pt x="537" y="1348"/>
                    </a:cubicBezTo>
                    <a:cubicBezTo>
                      <a:pt x="539" y="1348"/>
                      <a:pt x="539" y="1348"/>
                      <a:pt x="539" y="1348"/>
                    </a:cubicBezTo>
                    <a:cubicBezTo>
                      <a:pt x="541" y="1348"/>
                      <a:pt x="542" y="1348"/>
                      <a:pt x="543" y="1348"/>
                    </a:cubicBezTo>
                    <a:cubicBezTo>
                      <a:pt x="543" y="1348"/>
                      <a:pt x="544" y="1348"/>
                      <a:pt x="544" y="1348"/>
                    </a:cubicBezTo>
                    <a:cubicBezTo>
                      <a:pt x="549" y="1349"/>
                      <a:pt x="553" y="1353"/>
                      <a:pt x="555" y="1357"/>
                    </a:cubicBezTo>
                    <a:cubicBezTo>
                      <a:pt x="556" y="1359"/>
                      <a:pt x="558" y="1361"/>
                      <a:pt x="558" y="1361"/>
                    </a:cubicBezTo>
                    <a:cubicBezTo>
                      <a:pt x="559" y="1361"/>
                      <a:pt x="559" y="1361"/>
                      <a:pt x="560" y="1362"/>
                    </a:cubicBezTo>
                    <a:cubicBezTo>
                      <a:pt x="560" y="1272"/>
                      <a:pt x="560" y="1272"/>
                      <a:pt x="560" y="1272"/>
                    </a:cubicBezTo>
                    <a:cubicBezTo>
                      <a:pt x="559" y="1271"/>
                      <a:pt x="557" y="1269"/>
                      <a:pt x="555" y="1268"/>
                    </a:cubicBezTo>
                    <a:cubicBezTo>
                      <a:pt x="552" y="1266"/>
                      <a:pt x="549" y="1266"/>
                      <a:pt x="547" y="1265"/>
                    </a:cubicBezTo>
                    <a:cubicBezTo>
                      <a:pt x="542" y="1262"/>
                      <a:pt x="549" y="1255"/>
                      <a:pt x="552" y="1252"/>
                    </a:cubicBezTo>
                    <a:cubicBezTo>
                      <a:pt x="556" y="1248"/>
                      <a:pt x="558" y="1246"/>
                      <a:pt x="560" y="1243"/>
                    </a:cubicBezTo>
                    <a:cubicBezTo>
                      <a:pt x="560" y="1149"/>
                      <a:pt x="560" y="1149"/>
                      <a:pt x="560" y="1149"/>
                    </a:cubicBezTo>
                    <a:cubicBezTo>
                      <a:pt x="560" y="1149"/>
                      <a:pt x="560" y="1149"/>
                      <a:pt x="559" y="1149"/>
                    </a:cubicBezTo>
                    <a:cubicBezTo>
                      <a:pt x="555" y="1146"/>
                      <a:pt x="555" y="1143"/>
                      <a:pt x="555" y="1138"/>
                    </a:cubicBezTo>
                    <a:cubicBezTo>
                      <a:pt x="555" y="1137"/>
                      <a:pt x="555" y="1136"/>
                      <a:pt x="555" y="1135"/>
                    </a:cubicBezTo>
                    <a:cubicBezTo>
                      <a:pt x="555" y="1133"/>
                      <a:pt x="555" y="1132"/>
                      <a:pt x="555" y="1131"/>
                    </a:cubicBezTo>
                    <a:cubicBezTo>
                      <a:pt x="554" y="1130"/>
                      <a:pt x="554" y="1130"/>
                      <a:pt x="554" y="1130"/>
                    </a:cubicBezTo>
                    <a:cubicBezTo>
                      <a:pt x="554" y="1130"/>
                      <a:pt x="553" y="1130"/>
                      <a:pt x="552" y="1130"/>
                    </a:cubicBezTo>
                    <a:cubicBezTo>
                      <a:pt x="551" y="1129"/>
                      <a:pt x="551" y="1129"/>
                      <a:pt x="551" y="1129"/>
                    </a:cubicBezTo>
                    <a:cubicBezTo>
                      <a:pt x="549" y="1128"/>
                      <a:pt x="547" y="1128"/>
                      <a:pt x="545" y="1127"/>
                    </a:cubicBezTo>
                    <a:cubicBezTo>
                      <a:pt x="543" y="1126"/>
                      <a:pt x="543" y="1126"/>
                      <a:pt x="543" y="1126"/>
                    </a:cubicBezTo>
                    <a:cubicBezTo>
                      <a:pt x="542" y="1126"/>
                      <a:pt x="542" y="1126"/>
                      <a:pt x="542" y="1126"/>
                    </a:cubicBezTo>
                    <a:cubicBezTo>
                      <a:pt x="541" y="1126"/>
                      <a:pt x="541" y="1126"/>
                      <a:pt x="541" y="1126"/>
                    </a:cubicBezTo>
                    <a:cubicBezTo>
                      <a:pt x="539" y="1125"/>
                      <a:pt x="537" y="1123"/>
                      <a:pt x="537" y="1121"/>
                    </a:cubicBezTo>
                    <a:cubicBezTo>
                      <a:pt x="537" y="1120"/>
                      <a:pt x="537" y="1120"/>
                      <a:pt x="537" y="1120"/>
                    </a:cubicBezTo>
                    <a:cubicBezTo>
                      <a:pt x="537" y="1120"/>
                      <a:pt x="537" y="1120"/>
                      <a:pt x="537" y="1120"/>
                    </a:cubicBezTo>
                    <a:cubicBezTo>
                      <a:pt x="538" y="1117"/>
                      <a:pt x="539" y="1113"/>
                      <a:pt x="541" y="1111"/>
                    </a:cubicBezTo>
                    <a:cubicBezTo>
                      <a:pt x="541" y="1110"/>
                      <a:pt x="541" y="1110"/>
                      <a:pt x="541" y="1110"/>
                    </a:cubicBezTo>
                    <a:cubicBezTo>
                      <a:pt x="544" y="1106"/>
                      <a:pt x="547" y="1102"/>
                      <a:pt x="550" y="1098"/>
                    </a:cubicBezTo>
                    <a:cubicBezTo>
                      <a:pt x="550" y="1098"/>
                      <a:pt x="550" y="1098"/>
                      <a:pt x="550" y="1098"/>
                    </a:cubicBezTo>
                    <a:cubicBezTo>
                      <a:pt x="551" y="1097"/>
                      <a:pt x="551" y="1097"/>
                      <a:pt x="551" y="1097"/>
                    </a:cubicBezTo>
                    <a:cubicBezTo>
                      <a:pt x="552" y="1095"/>
                      <a:pt x="552" y="1095"/>
                      <a:pt x="550" y="1093"/>
                    </a:cubicBezTo>
                    <a:cubicBezTo>
                      <a:pt x="550" y="1093"/>
                      <a:pt x="550" y="1093"/>
                      <a:pt x="550" y="1093"/>
                    </a:cubicBezTo>
                    <a:cubicBezTo>
                      <a:pt x="548" y="1091"/>
                      <a:pt x="548" y="1091"/>
                      <a:pt x="548" y="1091"/>
                    </a:cubicBezTo>
                    <a:cubicBezTo>
                      <a:pt x="547" y="1091"/>
                      <a:pt x="546" y="1090"/>
                      <a:pt x="546" y="1090"/>
                    </a:cubicBezTo>
                    <a:cubicBezTo>
                      <a:pt x="545" y="1088"/>
                      <a:pt x="545" y="1087"/>
                      <a:pt x="545" y="1086"/>
                    </a:cubicBezTo>
                    <a:cubicBezTo>
                      <a:pt x="545" y="1085"/>
                      <a:pt x="545" y="1084"/>
                      <a:pt x="546" y="1084"/>
                    </a:cubicBezTo>
                    <a:cubicBezTo>
                      <a:pt x="546" y="1083"/>
                      <a:pt x="546" y="1081"/>
                      <a:pt x="546" y="1080"/>
                    </a:cubicBezTo>
                    <a:cubicBezTo>
                      <a:pt x="547" y="1075"/>
                      <a:pt x="547" y="1075"/>
                      <a:pt x="547" y="1075"/>
                    </a:cubicBezTo>
                    <a:cubicBezTo>
                      <a:pt x="547" y="1074"/>
                      <a:pt x="547" y="1074"/>
                      <a:pt x="548" y="1073"/>
                    </a:cubicBezTo>
                    <a:cubicBezTo>
                      <a:pt x="548" y="1071"/>
                      <a:pt x="548" y="1071"/>
                      <a:pt x="548" y="1071"/>
                    </a:cubicBezTo>
                    <a:cubicBezTo>
                      <a:pt x="548" y="1070"/>
                      <a:pt x="548" y="1070"/>
                      <a:pt x="548" y="1069"/>
                    </a:cubicBezTo>
                    <a:cubicBezTo>
                      <a:pt x="550" y="1066"/>
                      <a:pt x="553" y="1065"/>
                      <a:pt x="555" y="1064"/>
                    </a:cubicBezTo>
                    <a:cubicBezTo>
                      <a:pt x="556" y="1063"/>
                      <a:pt x="557" y="1063"/>
                      <a:pt x="558" y="1063"/>
                    </a:cubicBezTo>
                    <a:cubicBezTo>
                      <a:pt x="558" y="1062"/>
                      <a:pt x="558" y="1062"/>
                      <a:pt x="558" y="1062"/>
                    </a:cubicBezTo>
                    <a:cubicBezTo>
                      <a:pt x="559" y="1062"/>
                      <a:pt x="559" y="1062"/>
                      <a:pt x="559" y="1062"/>
                    </a:cubicBezTo>
                    <a:cubicBezTo>
                      <a:pt x="560" y="1060"/>
                      <a:pt x="560" y="1060"/>
                      <a:pt x="560" y="1060"/>
                    </a:cubicBezTo>
                    <a:cubicBezTo>
                      <a:pt x="560" y="1060"/>
                      <a:pt x="560" y="1060"/>
                      <a:pt x="560" y="1059"/>
                    </a:cubicBezTo>
                    <a:cubicBezTo>
                      <a:pt x="560" y="915"/>
                      <a:pt x="560" y="915"/>
                      <a:pt x="560" y="915"/>
                    </a:cubicBezTo>
                    <a:moveTo>
                      <a:pt x="1346" y="915"/>
                    </a:moveTo>
                    <a:cubicBezTo>
                      <a:pt x="1314" y="915"/>
                      <a:pt x="1314" y="915"/>
                      <a:pt x="1314" y="915"/>
                    </a:cubicBezTo>
                    <a:cubicBezTo>
                      <a:pt x="1314" y="915"/>
                      <a:pt x="1314" y="915"/>
                      <a:pt x="1314" y="915"/>
                    </a:cubicBezTo>
                    <a:cubicBezTo>
                      <a:pt x="1312" y="917"/>
                      <a:pt x="1311" y="918"/>
                      <a:pt x="1310" y="919"/>
                    </a:cubicBezTo>
                    <a:cubicBezTo>
                      <a:pt x="1308" y="920"/>
                      <a:pt x="1308" y="920"/>
                      <a:pt x="1308" y="920"/>
                    </a:cubicBezTo>
                    <a:cubicBezTo>
                      <a:pt x="1307" y="921"/>
                      <a:pt x="1307" y="921"/>
                      <a:pt x="1307" y="921"/>
                    </a:cubicBezTo>
                    <a:cubicBezTo>
                      <a:pt x="1306" y="922"/>
                      <a:pt x="1305" y="923"/>
                      <a:pt x="1304" y="924"/>
                    </a:cubicBezTo>
                    <a:cubicBezTo>
                      <a:pt x="1304" y="925"/>
                      <a:pt x="1304" y="925"/>
                      <a:pt x="1304" y="925"/>
                    </a:cubicBezTo>
                    <a:cubicBezTo>
                      <a:pt x="1306" y="929"/>
                      <a:pt x="1306" y="929"/>
                      <a:pt x="1306" y="929"/>
                    </a:cubicBezTo>
                    <a:cubicBezTo>
                      <a:pt x="1309" y="927"/>
                      <a:pt x="1309" y="927"/>
                      <a:pt x="1309" y="927"/>
                    </a:cubicBezTo>
                    <a:cubicBezTo>
                      <a:pt x="1312" y="925"/>
                      <a:pt x="1314" y="924"/>
                      <a:pt x="1316" y="924"/>
                    </a:cubicBezTo>
                    <a:cubicBezTo>
                      <a:pt x="1317" y="924"/>
                      <a:pt x="1317" y="924"/>
                      <a:pt x="1317" y="924"/>
                    </a:cubicBezTo>
                    <a:cubicBezTo>
                      <a:pt x="1325" y="925"/>
                      <a:pt x="1325" y="925"/>
                      <a:pt x="1325" y="925"/>
                    </a:cubicBezTo>
                    <a:cubicBezTo>
                      <a:pt x="1328" y="925"/>
                      <a:pt x="1328" y="925"/>
                      <a:pt x="1328" y="925"/>
                    </a:cubicBezTo>
                    <a:cubicBezTo>
                      <a:pt x="1329" y="926"/>
                      <a:pt x="1330" y="926"/>
                      <a:pt x="1330" y="926"/>
                    </a:cubicBezTo>
                    <a:cubicBezTo>
                      <a:pt x="1331" y="926"/>
                      <a:pt x="1331" y="926"/>
                      <a:pt x="1331" y="926"/>
                    </a:cubicBezTo>
                    <a:cubicBezTo>
                      <a:pt x="1331" y="924"/>
                      <a:pt x="1331" y="924"/>
                      <a:pt x="1331" y="924"/>
                    </a:cubicBezTo>
                    <a:cubicBezTo>
                      <a:pt x="1331" y="923"/>
                      <a:pt x="1332" y="922"/>
                      <a:pt x="1333" y="921"/>
                    </a:cubicBezTo>
                    <a:cubicBezTo>
                      <a:pt x="1334" y="920"/>
                      <a:pt x="1334" y="920"/>
                      <a:pt x="1334" y="920"/>
                    </a:cubicBezTo>
                    <a:cubicBezTo>
                      <a:pt x="1346" y="915"/>
                      <a:pt x="1346" y="915"/>
                      <a:pt x="1346" y="915"/>
                    </a:cubicBezTo>
                    <a:moveTo>
                      <a:pt x="1682" y="915"/>
                    </a:moveTo>
                    <a:cubicBezTo>
                      <a:pt x="1405" y="915"/>
                      <a:pt x="1405" y="915"/>
                      <a:pt x="1405" y="915"/>
                    </a:cubicBezTo>
                    <a:cubicBezTo>
                      <a:pt x="1409" y="918"/>
                      <a:pt x="1409" y="918"/>
                      <a:pt x="1409" y="918"/>
                    </a:cubicBezTo>
                    <a:cubicBezTo>
                      <a:pt x="1425" y="930"/>
                      <a:pt x="1425" y="930"/>
                      <a:pt x="1425" y="930"/>
                    </a:cubicBezTo>
                    <a:cubicBezTo>
                      <a:pt x="1429" y="933"/>
                      <a:pt x="1433" y="937"/>
                      <a:pt x="1436" y="940"/>
                    </a:cubicBezTo>
                    <a:cubicBezTo>
                      <a:pt x="1449" y="958"/>
                      <a:pt x="1449" y="958"/>
                      <a:pt x="1449" y="958"/>
                    </a:cubicBezTo>
                    <a:cubicBezTo>
                      <a:pt x="1454" y="965"/>
                      <a:pt x="1454" y="965"/>
                      <a:pt x="1454" y="965"/>
                    </a:cubicBezTo>
                    <a:cubicBezTo>
                      <a:pt x="1461" y="976"/>
                      <a:pt x="1468" y="988"/>
                      <a:pt x="1475" y="998"/>
                    </a:cubicBezTo>
                    <a:cubicBezTo>
                      <a:pt x="1481" y="1008"/>
                      <a:pt x="1487" y="1018"/>
                      <a:pt x="1493" y="1027"/>
                    </a:cubicBezTo>
                    <a:cubicBezTo>
                      <a:pt x="1495" y="1029"/>
                      <a:pt x="1495" y="1029"/>
                      <a:pt x="1495" y="1029"/>
                    </a:cubicBezTo>
                    <a:cubicBezTo>
                      <a:pt x="1495" y="1029"/>
                      <a:pt x="1496" y="1028"/>
                      <a:pt x="1497" y="1027"/>
                    </a:cubicBezTo>
                    <a:cubicBezTo>
                      <a:pt x="1497" y="1027"/>
                      <a:pt x="1497" y="1027"/>
                      <a:pt x="1497" y="1027"/>
                    </a:cubicBezTo>
                    <a:cubicBezTo>
                      <a:pt x="1499" y="1027"/>
                      <a:pt x="1500" y="1026"/>
                      <a:pt x="1501" y="1026"/>
                    </a:cubicBezTo>
                    <a:cubicBezTo>
                      <a:pt x="1502" y="1026"/>
                      <a:pt x="1502" y="1026"/>
                      <a:pt x="1502" y="1026"/>
                    </a:cubicBezTo>
                    <a:cubicBezTo>
                      <a:pt x="1502" y="1025"/>
                      <a:pt x="1502" y="1025"/>
                      <a:pt x="1502" y="1025"/>
                    </a:cubicBezTo>
                    <a:cubicBezTo>
                      <a:pt x="1502" y="1025"/>
                      <a:pt x="1502" y="1025"/>
                      <a:pt x="1502" y="1025"/>
                    </a:cubicBezTo>
                    <a:cubicBezTo>
                      <a:pt x="1501" y="1024"/>
                      <a:pt x="1501" y="1024"/>
                      <a:pt x="1501" y="1024"/>
                    </a:cubicBezTo>
                    <a:cubicBezTo>
                      <a:pt x="1501" y="1023"/>
                      <a:pt x="1501" y="1023"/>
                      <a:pt x="1501" y="1022"/>
                    </a:cubicBezTo>
                    <a:cubicBezTo>
                      <a:pt x="1501" y="1021"/>
                      <a:pt x="1501" y="1021"/>
                      <a:pt x="1501" y="1021"/>
                    </a:cubicBezTo>
                    <a:cubicBezTo>
                      <a:pt x="1501" y="1021"/>
                      <a:pt x="1501" y="1021"/>
                      <a:pt x="1501" y="1021"/>
                    </a:cubicBezTo>
                    <a:cubicBezTo>
                      <a:pt x="1501" y="1020"/>
                      <a:pt x="1501" y="1020"/>
                      <a:pt x="1501" y="1020"/>
                    </a:cubicBezTo>
                    <a:cubicBezTo>
                      <a:pt x="1501" y="1019"/>
                      <a:pt x="1501" y="1019"/>
                      <a:pt x="1501" y="1019"/>
                    </a:cubicBezTo>
                    <a:cubicBezTo>
                      <a:pt x="1501" y="1018"/>
                      <a:pt x="1501" y="1018"/>
                      <a:pt x="1501" y="1018"/>
                    </a:cubicBezTo>
                    <a:cubicBezTo>
                      <a:pt x="1502" y="1017"/>
                      <a:pt x="1502" y="1016"/>
                      <a:pt x="1503" y="1016"/>
                    </a:cubicBezTo>
                    <a:cubicBezTo>
                      <a:pt x="1504" y="1015"/>
                      <a:pt x="1505" y="1015"/>
                      <a:pt x="1506" y="1015"/>
                    </a:cubicBezTo>
                    <a:cubicBezTo>
                      <a:pt x="1506" y="1015"/>
                      <a:pt x="1506" y="1015"/>
                      <a:pt x="1506" y="1015"/>
                    </a:cubicBezTo>
                    <a:cubicBezTo>
                      <a:pt x="1506" y="1015"/>
                      <a:pt x="1506" y="1015"/>
                      <a:pt x="1506" y="1015"/>
                    </a:cubicBezTo>
                    <a:cubicBezTo>
                      <a:pt x="1507" y="1015"/>
                      <a:pt x="1507" y="1015"/>
                      <a:pt x="1507" y="1015"/>
                    </a:cubicBezTo>
                    <a:cubicBezTo>
                      <a:pt x="1508" y="1015"/>
                      <a:pt x="1508" y="1015"/>
                      <a:pt x="1508" y="1015"/>
                    </a:cubicBezTo>
                    <a:cubicBezTo>
                      <a:pt x="1508" y="1014"/>
                      <a:pt x="1509" y="1011"/>
                      <a:pt x="1512" y="1011"/>
                    </a:cubicBezTo>
                    <a:cubicBezTo>
                      <a:pt x="1512" y="1011"/>
                      <a:pt x="1513" y="1011"/>
                      <a:pt x="1513" y="1012"/>
                    </a:cubicBezTo>
                    <a:cubicBezTo>
                      <a:pt x="1523" y="1015"/>
                      <a:pt x="1523" y="1015"/>
                      <a:pt x="1523" y="1015"/>
                    </a:cubicBezTo>
                    <a:cubicBezTo>
                      <a:pt x="1527" y="1016"/>
                      <a:pt x="1528" y="1019"/>
                      <a:pt x="1528" y="1020"/>
                    </a:cubicBezTo>
                    <a:cubicBezTo>
                      <a:pt x="1527" y="1022"/>
                      <a:pt x="1527" y="1022"/>
                      <a:pt x="1527" y="1022"/>
                    </a:cubicBezTo>
                    <a:cubicBezTo>
                      <a:pt x="1527" y="1023"/>
                      <a:pt x="1527" y="1023"/>
                      <a:pt x="1527" y="1024"/>
                    </a:cubicBezTo>
                    <a:cubicBezTo>
                      <a:pt x="1527" y="1024"/>
                      <a:pt x="1526" y="1025"/>
                      <a:pt x="1526" y="1025"/>
                    </a:cubicBezTo>
                    <a:cubicBezTo>
                      <a:pt x="1526" y="1025"/>
                      <a:pt x="1526" y="1025"/>
                      <a:pt x="1526" y="1025"/>
                    </a:cubicBezTo>
                    <a:cubicBezTo>
                      <a:pt x="1527" y="1026"/>
                      <a:pt x="1527" y="1026"/>
                      <a:pt x="1527" y="1026"/>
                    </a:cubicBezTo>
                    <a:cubicBezTo>
                      <a:pt x="1528" y="1027"/>
                      <a:pt x="1529" y="1028"/>
                      <a:pt x="1531" y="1029"/>
                    </a:cubicBezTo>
                    <a:cubicBezTo>
                      <a:pt x="1531" y="1029"/>
                      <a:pt x="1531" y="1029"/>
                      <a:pt x="1531" y="1029"/>
                    </a:cubicBezTo>
                    <a:cubicBezTo>
                      <a:pt x="1532" y="1030"/>
                      <a:pt x="1533" y="1032"/>
                      <a:pt x="1535" y="1032"/>
                    </a:cubicBezTo>
                    <a:cubicBezTo>
                      <a:pt x="1535" y="1033"/>
                      <a:pt x="1535" y="1033"/>
                      <a:pt x="1535" y="1033"/>
                    </a:cubicBezTo>
                    <a:cubicBezTo>
                      <a:pt x="1536" y="1033"/>
                      <a:pt x="1536" y="1033"/>
                      <a:pt x="1536" y="1033"/>
                    </a:cubicBezTo>
                    <a:cubicBezTo>
                      <a:pt x="1537" y="1033"/>
                      <a:pt x="1537" y="1033"/>
                      <a:pt x="1537" y="1033"/>
                    </a:cubicBezTo>
                    <a:cubicBezTo>
                      <a:pt x="1537" y="1033"/>
                      <a:pt x="1538" y="1033"/>
                      <a:pt x="1538" y="1033"/>
                    </a:cubicBezTo>
                    <a:cubicBezTo>
                      <a:pt x="1539" y="1033"/>
                      <a:pt x="1539" y="1033"/>
                      <a:pt x="1539" y="1033"/>
                    </a:cubicBezTo>
                    <a:cubicBezTo>
                      <a:pt x="1539" y="1033"/>
                      <a:pt x="1540" y="1032"/>
                      <a:pt x="1540" y="1032"/>
                    </a:cubicBezTo>
                    <a:cubicBezTo>
                      <a:pt x="1541" y="1032"/>
                      <a:pt x="1541" y="1032"/>
                      <a:pt x="1541" y="1032"/>
                    </a:cubicBezTo>
                    <a:cubicBezTo>
                      <a:pt x="1542" y="1032"/>
                      <a:pt x="1543" y="1032"/>
                      <a:pt x="1545" y="1032"/>
                    </a:cubicBezTo>
                    <a:cubicBezTo>
                      <a:pt x="1546" y="1032"/>
                      <a:pt x="1546" y="1032"/>
                      <a:pt x="1547" y="1032"/>
                    </a:cubicBezTo>
                    <a:cubicBezTo>
                      <a:pt x="1562" y="1033"/>
                      <a:pt x="1562" y="1033"/>
                      <a:pt x="1562" y="1033"/>
                    </a:cubicBezTo>
                    <a:cubicBezTo>
                      <a:pt x="1563" y="1033"/>
                      <a:pt x="1563" y="1033"/>
                      <a:pt x="1563" y="1033"/>
                    </a:cubicBezTo>
                    <a:cubicBezTo>
                      <a:pt x="1564" y="1033"/>
                      <a:pt x="1564" y="1032"/>
                      <a:pt x="1565" y="1032"/>
                    </a:cubicBezTo>
                    <a:cubicBezTo>
                      <a:pt x="1566" y="1031"/>
                      <a:pt x="1566" y="1031"/>
                      <a:pt x="1566" y="1031"/>
                    </a:cubicBezTo>
                    <a:cubicBezTo>
                      <a:pt x="1566" y="1031"/>
                      <a:pt x="1566" y="1031"/>
                      <a:pt x="1566" y="1031"/>
                    </a:cubicBezTo>
                    <a:cubicBezTo>
                      <a:pt x="1567" y="1030"/>
                      <a:pt x="1567" y="1030"/>
                      <a:pt x="1567" y="1030"/>
                    </a:cubicBezTo>
                    <a:cubicBezTo>
                      <a:pt x="1567" y="1029"/>
                      <a:pt x="1568" y="1027"/>
                      <a:pt x="1570" y="1026"/>
                    </a:cubicBezTo>
                    <a:cubicBezTo>
                      <a:pt x="1571" y="1026"/>
                      <a:pt x="1571" y="1026"/>
                      <a:pt x="1571" y="1026"/>
                    </a:cubicBezTo>
                    <a:cubicBezTo>
                      <a:pt x="1580" y="1023"/>
                      <a:pt x="1580" y="1023"/>
                      <a:pt x="1580" y="1023"/>
                    </a:cubicBezTo>
                    <a:cubicBezTo>
                      <a:pt x="1581" y="1023"/>
                      <a:pt x="1581" y="1023"/>
                      <a:pt x="1582" y="1023"/>
                    </a:cubicBezTo>
                    <a:cubicBezTo>
                      <a:pt x="1582" y="1023"/>
                      <a:pt x="1582" y="1023"/>
                      <a:pt x="1582" y="1023"/>
                    </a:cubicBezTo>
                    <a:cubicBezTo>
                      <a:pt x="1583" y="1023"/>
                      <a:pt x="1583" y="1023"/>
                      <a:pt x="1583" y="1023"/>
                    </a:cubicBezTo>
                    <a:cubicBezTo>
                      <a:pt x="1596" y="1026"/>
                      <a:pt x="1596" y="1026"/>
                      <a:pt x="1596" y="1026"/>
                    </a:cubicBezTo>
                    <a:cubicBezTo>
                      <a:pt x="1597" y="1026"/>
                      <a:pt x="1598" y="1027"/>
                      <a:pt x="1600" y="1027"/>
                    </a:cubicBezTo>
                    <a:cubicBezTo>
                      <a:pt x="1601" y="1027"/>
                      <a:pt x="1602" y="1028"/>
                      <a:pt x="1603" y="1029"/>
                    </a:cubicBezTo>
                    <a:cubicBezTo>
                      <a:pt x="1604" y="1029"/>
                      <a:pt x="1604" y="1029"/>
                      <a:pt x="1604" y="1029"/>
                    </a:cubicBezTo>
                    <a:cubicBezTo>
                      <a:pt x="1605" y="1030"/>
                      <a:pt x="1605" y="1030"/>
                      <a:pt x="1605" y="1030"/>
                    </a:cubicBezTo>
                    <a:cubicBezTo>
                      <a:pt x="1607" y="1032"/>
                      <a:pt x="1607" y="1032"/>
                      <a:pt x="1607" y="1032"/>
                    </a:cubicBezTo>
                    <a:cubicBezTo>
                      <a:pt x="1611" y="1037"/>
                      <a:pt x="1611" y="1037"/>
                      <a:pt x="1611" y="1037"/>
                    </a:cubicBezTo>
                    <a:cubicBezTo>
                      <a:pt x="1612" y="1039"/>
                      <a:pt x="1613" y="1042"/>
                      <a:pt x="1614" y="1044"/>
                    </a:cubicBezTo>
                    <a:cubicBezTo>
                      <a:pt x="1614" y="1045"/>
                      <a:pt x="1614" y="1045"/>
                      <a:pt x="1614" y="1045"/>
                    </a:cubicBezTo>
                    <a:cubicBezTo>
                      <a:pt x="1615" y="1046"/>
                      <a:pt x="1615" y="1047"/>
                      <a:pt x="1615" y="1048"/>
                    </a:cubicBezTo>
                    <a:cubicBezTo>
                      <a:pt x="1615" y="1049"/>
                      <a:pt x="1615" y="1049"/>
                      <a:pt x="1615" y="1049"/>
                    </a:cubicBezTo>
                    <a:cubicBezTo>
                      <a:pt x="1616" y="1050"/>
                      <a:pt x="1616" y="1050"/>
                      <a:pt x="1616" y="1050"/>
                    </a:cubicBezTo>
                    <a:cubicBezTo>
                      <a:pt x="1616" y="1050"/>
                      <a:pt x="1616" y="1050"/>
                      <a:pt x="1616" y="1050"/>
                    </a:cubicBezTo>
                    <a:cubicBezTo>
                      <a:pt x="1619" y="1051"/>
                      <a:pt x="1619" y="1051"/>
                      <a:pt x="1619" y="1051"/>
                    </a:cubicBezTo>
                    <a:cubicBezTo>
                      <a:pt x="1620" y="1051"/>
                      <a:pt x="1620" y="1051"/>
                      <a:pt x="1621" y="1051"/>
                    </a:cubicBezTo>
                    <a:cubicBezTo>
                      <a:pt x="1638" y="1061"/>
                      <a:pt x="1638" y="1061"/>
                      <a:pt x="1638" y="1061"/>
                    </a:cubicBezTo>
                    <a:cubicBezTo>
                      <a:pt x="1639" y="1062"/>
                      <a:pt x="1639" y="1062"/>
                      <a:pt x="1639" y="1062"/>
                    </a:cubicBezTo>
                    <a:cubicBezTo>
                      <a:pt x="1639" y="1062"/>
                      <a:pt x="1639" y="1063"/>
                      <a:pt x="1639" y="1063"/>
                    </a:cubicBezTo>
                    <a:cubicBezTo>
                      <a:pt x="1644" y="1063"/>
                      <a:pt x="1644" y="1063"/>
                      <a:pt x="1644" y="1063"/>
                    </a:cubicBezTo>
                    <a:cubicBezTo>
                      <a:pt x="1639" y="1065"/>
                      <a:pt x="1639" y="1065"/>
                      <a:pt x="1639" y="1065"/>
                    </a:cubicBezTo>
                    <a:cubicBezTo>
                      <a:pt x="1638" y="1065"/>
                      <a:pt x="1638" y="1065"/>
                      <a:pt x="1638" y="1065"/>
                    </a:cubicBezTo>
                    <a:cubicBezTo>
                      <a:pt x="1638" y="1066"/>
                      <a:pt x="1638" y="1066"/>
                      <a:pt x="1638" y="1066"/>
                    </a:cubicBezTo>
                    <a:cubicBezTo>
                      <a:pt x="1638" y="1066"/>
                      <a:pt x="1639" y="1066"/>
                      <a:pt x="1639" y="1067"/>
                    </a:cubicBezTo>
                    <a:cubicBezTo>
                      <a:pt x="1640" y="1068"/>
                      <a:pt x="1640" y="1068"/>
                      <a:pt x="1640" y="1068"/>
                    </a:cubicBezTo>
                    <a:cubicBezTo>
                      <a:pt x="1640" y="1069"/>
                      <a:pt x="1640" y="1069"/>
                      <a:pt x="1640" y="1069"/>
                    </a:cubicBezTo>
                    <a:cubicBezTo>
                      <a:pt x="1641" y="1070"/>
                      <a:pt x="1641" y="1070"/>
                      <a:pt x="1641" y="1070"/>
                    </a:cubicBezTo>
                    <a:cubicBezTo>
                      <a:pt x="1641" y="1070"/>
                      <a:pt x="1641" y="1070"/>
                      <a:pt x="1641" y="1070"/>
                    </a:cubicBezTo>
                    <a:cubicBezTo>
                      <a:pt x="1641" y="1071"/>
                      <a:pt x="1641" y="1071"/>
                      <a:pt x="1641" y="1071"/>
                    </a:cubicBezTo>
                    <a:cubicBezTo>
                      <a:pt x="1642" y="1071"/>
                      <a:pt x="1643" y="1072"/>
                      <a:pt x="1643" y="1074"/>
                    </a:cubicBezTo>
                    <a:cubicBezTo>
                      <a:pt x="1643" y="1075"/>
                      <a:pt x="1643" y="1075"/>
                      <a:pt x="1643" y="1075"/>
                    </a:cubicBezTo>
                    <a:cubicBezTo>
                      <a:pt x="1644" y="1075"/>
                      <a:pt x="1644" y="1075"/>
                      <a:pt x="1644" y="1075"/>
                    </a:cubicBezTo>
                    <a:cubicBezTo>
                      <a:pt x="1648" y="1073"/>
                      <a:pt x="1648" y="1073"/>
                      <a:pt x="1648" y="1073"/>
                    </a:cubicBezTo>
                    <a:cubicBezTo>
                      <a:pt x="1645" y="1076"/>
                      <a:pt x="1645" y="1076"/>
                      <a:pt x="1645" y="1076"/>
                    </a:cubicBezTo>
                    <a:cubicBezTo>
                      <a:pt x="1658" y="1077"/>
                      <a:pt x="1658" y="1077"/>
                      <a:pt x="1658" y="1077"/>
                    </a:cubicBezTo>
                    <a:cubicBezTo>
                      <a:pt x="1660" y="1077"/>
                      <a:pt x="1660" y="1077"/>
                      <a:pt x="1660" y="1077"/>
                    </a:cubicBezTo>
                    <a:cubicBezTo>
                      <a:pt x="1666" y="1077"/>
                      <a:pt x="1666" y="1077"/>
                      <a:pt x="1666" y="1077"/>
                    </a:cubicBezTo>
                    <a:cubicBezTo>
                      <a:pt x="1666" y="1079"/>
                      <a:pt x="1666" y="1079"/>
                      <a:pt x="1666" y="1079"/>
                    </a:cubicBezTo>
                    <a:cubicBezTo>
                      <a:pt x="1666" y="1079"/>
                      <a:pt x="1666" y="1079"/>
                      <a:pt x="1667" y="1079"/>
                    </a:cubicBezTo>
                    <a:cubicBezTo>
                      <a:pt x="1670" y="1077"/>
                      <a:pt x="1670" y="1077"/>
                      <a:pt x="1670" y="1077"/>
                    </a:cubicBezTo>
                    <a:cubicBezTo>
                      <a:pt x="1671" y="1075"/>
                      <a:pt x="1673" y="1073"/>
                      <a:pt x="1675" y="1072"/>
                    </a:cubicBezTo>
                    <a:cubicBezTo>
                      <a:pt x="1682" y="1065"/>
                      <a:pt x="1682" y="1065"/>
                      <a:pt x="1682" y="1065"/>
                    </a:cubicBezTo>
                    <a:cubicBezTo>
                      <a:pt x="1682" y="915"/>
                      <a:pt x="1682" y="915"/>
                      <a:pt x="1682" y="915"/>
                    </a:cubicBezTo>
                    <a:moveTo>
                      <a:pt x="1122" y="457"/>
                    </a:moveTo>
                    <a:cubicBezTo>
                      <a:pt x="560" y="457"/>
                      <a:pt x="560" y="457"/>
                      <a:pt x="560" y="457"/>
                    </a:cubicBezTo>
                    <a:cubicBezTo>
                      <a:pt x="560" y="915"/>
                      <a:pt x="560" y="915"/>
                      <a:pt x="560" y="915"/>
                    </a:cubicBezTo>
                    <a:cubicBezTo>
                      <a:pt x="946" y="915"/>
                      <a:pt x="946" y="915"/>
                      <a:pt x="946" y="915"/>
                    </a:cubicBezTo>
                    <a:cubicBezTo>
                      <a:pt x="944" y="914"/>
                      <a:pt x="944" y="914"/>
                      <a:pt x="944" y="914"/>
                    </a:cubicBezTo>
                    <a:cubicBezTo>
                      <a:pt x="950" y="912"/>
                      <a:pt x="950" y="912"/>
                      <a:pt x="950" y="912"/>
                    </a:cubicBezTo>
                    <a:cubicBezTo>
                      <a:pt x="951" y="910"/>
                      <a:pt x="951" y="910"/>
                      <a:pt x="951" y="910"/>
                    </a:cubicBezTo>
                    <a:cubicBezTo>
                      <a:pt x="951" y="910"/>
                      <a:pt x="952" y="910"/>
                      <a:pt x="954" y="910"/>
                    </a:cubicBezTo>
                    <a:cubicBezTo>
                      <a:pt x="954" y="910"/>
                      <a:pt x="954" y="910"/>
                      <a:pt x="954" y="910"/>
                    </a:cubicBezTo>
                    <a:cubicBezTo>
                      <a:pt x="956" y="908"/>
                      <a:pt x="958" y="906"/>
                      <a:pt x="961" y="906"/>
                    </a:cubicBezTo>
                    <a:cubicBezTo>
                      <a:pt x="961" y="906"/>
                      <a:pt x="962" y="906"/>
                      <a:pt x="962" y="906"/>
                    </a:cubicBezTo>
                    <a:cubicBezTo>
                      <a:pt x="963" y="906"/>
                      <a:pt x="963" y="906"/>
                      <a:pt x="963" y="906"/>
                    </a:cubicBezTo>
                    <a:cubicBezTo>
                      <a:pt x="964" y="906"/>
                      <a:pt x="964" y="906"/>
                      <a:pt x="964" y="906"/>
                    </a:cubicBezTo>
                    <a:cubicBezTo>
                      <a:pt x="964" y="905"/>
                      <a:pt x="964" y="905"/>
                      <a:pt x="964" y="905"/>
                    </a:cubicBezTo>
                    <a:cubicBezTo>
                      <a:pt x="966" y="906"/>
                      <a:pt x="966" y="906"/>
                      <a:pt x="966" y="906"/>
                    </a:cubicBezTo>
                    <a:cubicBezTo>
                      <a:pt x="969" y="907"/>
                      <a:pt x="971" y="908"/>
                      <a:pt x="974" y="908"/>
                    </a:cubicBezTo>
                    <a:cubicBezTo>
                      <a:pt x="974" y="908"/>
                      <a:pt x="974" y="908"/>
                      <a:pt x="975" y="908"/>
                    </a:cubicBezTo>
                    <a:cubicBezTo>
                      <a:pt x="975" y="908"/>
                      <a:pt x="975" y="908"/>
                      <a:pt x="975" y="908"/>
                    </a:cubicBezTo>
                    <a:cubicBezTo>
                      <a:pt x="976" y="908"/>
                      <a:pt x="976" y="908"/>
                      <a:pt x="976" y="908"/>
                    </a:cubicBezTo>
                    <a:cubicBezTo>
                      <a:pt x="983" y="907"/>
                      <a:pt x="983" y="907"/>
                      <a:pt x="983" y="907"/>
                    </a:cubicBezTo>
                    <a:cubicBezTo>
                      <a:pt x="984" y="903"/>
                      <a:pt x="984" y="903"/>
                      <a:pt x="984" y="903"/>
                    </a:cubicBezTo>
                    <a:cubicBezTo>
                      <a:pt x="985" y="907"/>
                      <a:pt x="985" y="907"/>
                      <a:pt x="985" y="907"/>
                    </a:cubicBezTo>
                    <a:cubicBezTo>
                      <a:pt x="985" y="907"/>
                      <a:pt x="985" y="907"/>
                      <a:pt x="985" y="907"/>
                    </a:cubicBezTo>
                    <a:cubicBezTo>
                      <a:pt x="986" y="907"/>
                      <a:pt x="987" y="907"/>
                      <a:pt x="988" y="907"/>
                    </a:cubicBezTo>
                    <a:cubicBezTo>
                      <a:pt x="989" y="907"/>
                      <a:pt x="989" y="907"/>
                      <a:pt x="989" y="907"/>
                    </a:cubicBezTo>
                    <a:cubicBezTo>
                      <a:pt x="989" y="907"/>
                      <a:pt x="989" y="907"/>
                      <a:pt x="989" y="907"/>
                    </a:cubicBezTo>
                    <a:cubicBezTo>
                      <a:pt x="990" y="907"/>
                      <a:pt x="991" y="907"/>
                      <a:pt x="992" y="907"/>
                    </a:cubicBezTo>
                    <a:cubicBezTo>
                      <a:pt x="993" y="907"/>
                      <a:pt x="993" y="907"/>
                      <a:pt x="993" y="907"/>
                    </a:cubicBezTo>
                    <a:cubicBezTo>
                      <a:pt x="994" y="907"/>
                      <a:pt x="994" y="907"/>
                      <a:pt x="994" y="907"/>
                    </a:cubicBezTo>
                    <a:cubicBezTo>
                      <a:pt x="995" y="905"/>
                      <a:pt x="995" y="905"/>
                      <a:pt x="995" y="905"/>
                    </a:cubicBezTo>
                    <a:cubicBezTo>
                      <a:pt x="997" y="906"/>
                      <a:pt x="997" y="906"/>
                      <a:pt x="997" y="906"/>
                    </a:cubicBezTo>
                    <a:cubicBezTo>
                      <a:pt x="997" y="906"/>
                      <a:pt x="997" y="906"/>
                      <a:pt x="997" y="906"/>
                    </a:cubicBezTo>
                    <a:cubicBezTo>
                      <a:pt x="998" y="905"/>
                      <a:pt x="999" y="905"/>
                      <a:pt x="1000" y="905"/>
                    </a:cubicBezTo>
                    <a:cubicBezTo>
                      <a:pt x="1000" y="905"/>
                      <a:pt x="1000" y="905"/>
                      <a:pt x="1000" y="905"/>
                    </a:cubicBezTo>
                    <a:cubicBezTo>
                      <a:pt x="1001" y="905"/>
                      <a:pt x="1001" y="905"/>
                      <a:pt x="1001" y="905"/>
                    </a:cubicBezTo>
                    <a:cubicBezTo>
                      <a:pt x="1001" y="905"/>
                      <a:pt x="1002" y="904"/>
                      <a:pt x="1002" y="904"/>
                    </a:cubicBezTo>
                    <a:cubicBezTo>
                      <a:pt x="1003" y="904"/>
                      <a:pt x="1003" y="904"/>
                      <a:pt x="1003" y="904"/>
                    </a:cubicBezTo>
                    <a:cubicBezTo>
                      <a:pt x="997" y="904"/>
                      <a:pt x="997" y="904"/>
                      <a:pt x="997" y="904"/>
                    </a:cubicBezTo>
                    <a:cubicBezTo>
                      <a:pt x="1013" y="901"/>
                      <a:pt x="1013" y="901"/>
                      <a:pt x="1013" y="901"/>
                    </a:cubicBezTo>
                    <a:cubicBezTo>
                      <a:pt x="1013" y="894"/>
                      <a:pt x="1013" y="894"/>
                      <a:pt x="1013" y="894"/>
                    </a:cubicBezTo>
                    <a:cubicBezTo>
                      <a:pt x="1014" y="901"/>
                      <a:pt x="1014" y="901"/>
                      <a:pt x="1014" y="901"/>
                    </a:cubicBezTo>
                    <a:cubicBezTo>
                      <a:pt x="1028" y="898"/>
                      <a:pt x="1028" y="898"/>
                      <a:pt x="1028" y="898"/>
                    </a:cubicBezTo>
                    <a:cubicBezTo>
                      <a:pt x="1028" y="898"/>
                      <a:pt x="1028" y="898"/>
                      <a:pt x="1029" y="898"/>
                    </a:cubicBezTo>
                    <a:cubicBezTo>
                      <a:pt x="1031" y="897"/>
                      <a:pt x="1031" y="897"/>
                      <a:pt x="1031" y="897"/>
                    </a:cubicBezTo>
                    <a:cubicBezTo>
                      <a:pt x="1031" y="898"/>
                      <a:pt x="1031" y="898"/>
                      <a:pt x="1031" y="898"/>
                    </a:cubicBezTo>
                    <a:cubicBezTo>
                      <a:pt x="1035" y="897"/>
                      <a:pt x="1035" y="897"/>
                      <a:pt x="1035" y="897"/>
                    </a:cubicBezTo>
                    <a:cubicBezTo>
                      <a:pt x="1036" y="896"/>
                      <a:pt x="1036" y="896"/>
                      <a:pt x="1036" y="896"/>
                    </a:cubicBezTo>
                    <a:cubicBezTo>
                      <a:pt x="1037" y="896"/>
                      <a:pt x="1037" y="896"/>
                      <a:pt x="1037" y="896"/>
                    </a:cubicBezTo>
                    <a:cubicBezTo>
                      <a:pt x="1039" y="895"/>
                      <a:pt x="1039" y="895"/>
                      <a:pt x="1039" y="895"/>
                    </a:cubicBezTo>
                    <a:cubicBezTo>
                      <a:pt x="1039" y="896"/>
                      <a:pt x="1039" y="896"/>
                      <a:pt x="1039" y="896"/>
                    </a:cubicBezTo>
                    <a:cubicBezTo>
                      <a:pt x="1042" y="895"/>
                      <a:pt x="1042" y="895"/>
                      <a:pt x="1042" y="895"/>
                    </a:cubicBezTo>
                    <a:cubicBezTo>
                      <a:pt x="1042" y="895"/>
                      <a:pt x="1042" y="895"/>
                      <a:pt x="1042" y="895"/>
                    </a:cubicBezTo>
                    <a:cubicBezTo>
                      <a:pt x="1046" y="895"/>
                      <a:pt x="1046" y="895"/>
                      <a:pt x="1046" y="895"/>
                    </a:cubicBezTo>
                    <a:cubicBezTo>
                      <a:pt x="1046" y="895"/>
                      <a:pt x="1046" y="895"/>
                      <a:pt x="1046" y="895"/>
                    </a:cubicBezTo>
                    <a:cubicBezTo>
                      <a:pt x="1047" y="895"/>
                      <a:pt x="1047" y="895"/>
                      <a:pt x="1048" y="895"/>
                    </a:cubicBezTo>
                    <a:cubicBezTo>
                      <a:pt x="1048" y="895"/>
                      <a:pt x="1048" y="895"/>
                      <a:pt x="1048" y="895"/>
                    </a:cubicBezTo>
                    <a:cubicBezTo>
                      <a:pt x="1049" y="894"/>
                      <a:pt x="1050" y="894"/>
                      <a:pt x="1051" y="894"/>
                    </a:cubicBezTo>
                    <a:cubicBezTo>
                      <a:pt x="1051" y="894"/>
                      <a:pt x="1051" y="894"/>
                      <a:pt x="1051" y="894"/>
                    </a:cubicBezTo>
                    <a:cubicBezTo>
                      <a:pt x="1051" y="894"/>
                      <a:pt x="1052" y="894"/>
                      <a:pt x="1052" y="894"/>
                    </a:cubicBezTo>
                    <a:cubicBezTo>
                      <a:pt x="1053" y="893"/>
                      <a:pt x="1053" y="893"/>
                      <a:pt x="1054" y="893"/>
                    </a:cubicBezTo>
                    <a:cubicBezTo>
                      <a:pt x="1054" y="893"/>
                      <a:pt x="1054" y="893"/>
                      <a:pt x="1054" y="893"/>
                    </a:cubicBezTo>
                    <a:cubicBezTo>
                      <a:pt x="1054" y="893"/>
                      <a:pt x="1055" y="893"/>
                      <a:pt x="1055" y="893"/>
                    </a:cubicBezTo>
                    <a:cubicBezTo>
                      <a:pt x="1056" y="893"/>
                      <a:pt x="1056" y="893"/>
                      <a:pt x="1056" y="894"/>
                    </a:cubicBezTo>
                    <a:cubicBezTo>
                      <a:pt x="1057" y="894"/>
                      <a:pt x="1057" y="894"/>
                      <a:pt x="1057" y="894"/>
                    </a:cubicBezTo>
                    <a:cubicBezTo>
                      <a:pt x="1058" y="894"/>
                      <a:pt x="1058" y="894"/>
                      <a:pt x="1058" y="894"/>
                    </a:cubicBezTo>
                    <a:cubicBezTo>
                      <a:pt x="1060" y="894"/>
                      <a:pt x="1060" y="894"/>
                      <a:pt x="1060" y="894"/>
                    </a:cubicBezTo>
                    <a:cubicBezTo>
                      <a:pt x="1060" y="893"/>
                      <a:pt x="1062" y="892"/>
                      <a:pt x="1064" y="892"/>
                    </a:cubicBezTo>
                    <a:cubicBezTo>
                      <a:pt x="1065" y="892"/>
                      <a:pt x="1065" y="892"/>
                      <a:pt x="1066" y="893"/>
                    </a:cubicBezTo>
                    <a:cubicBezTo>
                      <a:pt x="1067" y="892"/>
                      <a:pt x="1067" y="892"/>
                      <a:pt x="1067" y="891"/>
                    </a:cubicBezTo>
                    <a:cubicBezTo>
                      <a:pt x="1067" y="891"/>
                      <a:pt x="1067" y="891"/>
                      <a:pt x="1067" y="891"/>
                    </a:cubicBezTo>
                    <a:cubicBezTo>
                      <a:pt x="1069" y="890"/>
                      <a:pt x="1069" y="890"/>
                      <a:pt x="1069" y="890"/>
                    </a:cubicBezTo>
                    <a:cubicBezTo>
                      <a:pt x="1069" y="890"/>
                      <a:pt x="1069" y="890"/>
                      <a:pt x="1069" y="890"/>
                    </a:cubicBezTo>
                    <a:cubicBezTo>
                      <a:pt x="1070" y="888"/>
                      <a:pt x="1070" y="888"/>
                      <a:pt x="1070" y="888"/>
                    </a:cubicBezTo>
                    <a:cubicBezTo>
                      <a:pt x="1060" y="886"/>
                      <a:pt x="1060" y="886"/>
                      <a:pt x="1060" y="886"/>
                    </a:cubicBezTo>
                    <a:cubicBezTo>
                      <a:pt x="1080" y="883"/>
                      <a:pt x="1080" y="883"/>
                      <a:pt x="1080" y="883"/>
                    </a:cubicBezTo>
                    <a:cubicBezTo>
                      <a:pt x="1082" y="883"/>
                      <a:pt x="1082" y="883"/>
                      <a:pt x="1082" y="883"/>
                    </a:cubicBezTo>
                    <a:cubicBezTo>
                      <a:pt x="1087" y="883"/>
                      <a:pt x="1087" y="883"/>
                      <a:pt x="1087" y="883"/>
                    </a:cubicBezTo>
                    <a:cubicBezTo>
                      <a:pt x="1089" y="881"/>
                      <a:pt x="1089" y="881"/>
                      <a:pt x="1089" y="881"/>
                    </a:cubicBezTo>
                    <a:cubicBezTo>
                      <a:pt x="1090" y="881"/>
                      <a:pt x="1091" y="881"/>
                      <a:pt x="1092" y="881"/>
                    </a:cubicBezTo>
                    <a:cubicBezTo>
                      <a:pt x="1092" y="880"/>
                      <a:pt x="1092" y="880"/>
                      <a:pt x="1093" y="880"/>
                    </a:cubicBezTo>
                    <a:cubicBezTo>
                      <a:pt x="1093" y="880"/>
                      <a:pt x="1093" y="880"/>
                      <a:pt x="1093" y="880"/>
                    </a:cubicBezTo>
                    <a:cubicBezTo>
                      <a:pt x="1094" y="880"/>
                      <a:pt x="1094" y="881"/>
                      <a:pt x="1095" y="881"/>
                    </a:cubicBezTo>
                    <a:cubicBezTo>
                      <a:pt x="1096" y="881"/>
                      <a:pt x="1096" y="882"/>
                      <a:pt x="1096" y="883"/>
                    </a:cubicBezTo>
                    <a:cubicBezTo>
                      <a:pt x="1100" y="882"/>
                      <a:pt x="1100" y="882"/>
                      <a:pt x="1100" y="882"/>
                    </a:cubicBezTo>
                    <a:cubicBezTo>
                      <a:pt x="1101" y="882"/>
                      <a:pt x="1103" y="881"/>
                      <a:pt x="1104" y="881"/>
                    </a:cubicBezTo>
                    <a:cubicBezTo>
                      <a:pt x="1106" y="880"/>
                      <a:pt x="1106" y="880"/>
                      <a:pt x="1106" y="880"/>
                    </a:cubicBezTo>
                    <a:cubicBezTo>
                      <a:pt x="1108" y="880"/>
                      <a:pt x="1110" y="880"/>
                      <a:pt x="1111" y="880"/>
                    </a:cubicBezTo>
                    <a:cubicBezTo>
                      <a:pt x="1109" y="878"/>
                      <a:pt x="1109" y="878"/>
                      <a:pt x="1109" y="878"/>
                    </a:cubicBezTo>
                    <a:cubicBezTo>
                      <a:pt x="1120" y="878"/>
                      <a:pt x="1120" y="878"/>
                      <a:pt x="1120" y="878"/>
                    </a:cubicBezTo>
                    <a:cubicBezTo>
                      <a:pt x="1122" y="877"/>
                      <a:pt x="1122" y="877"/>
                      <a:pt x="1122" y="877"/>
                    </a:cubicBezTo>
                    <a:cubicBezTo>
                      <a:pt x="1122" y="457"/>
                      <a:pt x="1122" y="457"/>
                      <a:pt x="1122" y="457"/>
                    </a:cubicBezTo>
                    <a:moveTo>
                      <a:pt x="271" y="437"/>
                    </a:moveTo>
                    <a:cubicBezTo>
                      <a:pt x="271" y="437"/>
                      <a:pt x="271" y="437"/>
                      <a:pt x="271" y="437"/>
                    </a:cubicBezTo>
                    <a:cubicBezTo>
                      <a:pt x="265" y="438"/>
                      <a:pt x="265" y="440"/>
                      <a:pt x="265" y="445"/>
                    </a:cubicBezTo>
                    <a:cubicBezTo>
                      <a:pt x="265" y="447"/>
                      <a:pt x="261" y="450"/>
                      <a:pt x="260" y="450"/>
                    </a:cubicBezTo>
                    <a:cubicBezTo>
                      <a:pt x="260" y="450"/>
                      <a:pt x="259" y="450"/>
                      <a:pt x="259" y="450"/>
                    </a:cubicBezTo>
                    <a:cubicBezTo>
                      <a:pt x="258" y="450"/>
                      <a:pt x="258" y="450"/>
                      <a:pt x="257" y="450"/>
                    </a:cubicBezTo>
                    <a:cubicBezTo>
                      <a:pt x="256" y="449"/>
                      <a:pt x="256" y="449"/>
                      <a:pt x="255" y="449"/>
                    </a:cubicBezTo>
                    <a:cubicBezTo>
                      <a:pt x="255" y="449"/>
                      <a:pt x="254" y="449"/>
                      <a:pt x="254" y="449"/>
                    </a:cubicBezTo>
                    <a:cubicBezTo>
                      <a:pt x="255" y="452"/>
                      <a:pt x="257" y="455"/>
                      <a:pt x="259" y="457"/>
                    </a:cubicBezTo>
                    <a:cubicBezTo>
                      <a:pt x="301" y="457"/>
                      <a:pt x="301" y="457"/>
                      <a:pt x="301" y="457"/>
                    </a:cubicBezTo>
                    <a:cubicBezTo>
                      <a:pt x="302" y="456"/>
                      <a:pt x="305" y="456"/>
                      <a:pt x="307" y="456"/>
                    </a:cubicBezTo>
                    <a:cubicBezTo>
                      <a:pt x="308" y="456"/>
                      <a:pt x="309" y="456"/>
                      <a:pt x="309" y="456"/>
                    </a:cubicBezTo>
                    <a:cubicBezTo>
                      <a:pt x="309" y="455"/>
                      <a:pt x="309" y="455"/>
                      <a:pt x="310" y="454"/>
                    </a:cubicBezTo>
                    <a:cubicBezTo>
                      <a:pt x="303" y="450"/>
                      <a:pt x="296" y="447"/>
                      <a:pt x="289" y="444"/>
                    </a:cubicBezTo>
                    <a:cubicBezTo>
                      <a:pt x="285" y="442"/>
                      <a:pt x="281" y="440"/>
                      <a:pt x="276" y="439"/>
                    </a:cubicBezTo>
                    <a:cubicBezTo>
                      <a:pt x="275" y="438"/>
                      <a:pt x="273" y="437"/>
                      <a:pt x="271" y="437"/>
                    </a:cubicBezTo>
                    <a:moveTo>
                      <a:pt x="448" y="271"/>
                    </a:moveTo>
                    <a:cubicBezTo>
                      <a:pt x="453" y="277"/>
                      <a:pt x="458" y="281"/>
                      <a:pt x="466" y="283"/>
                    </a:cubicBezTo>
                    <a:cubicBezTo>
                      <a:pt x="468" y="284"/>
                      <a:pt x="472" y="286"/>
                      <a:pt x="474" y="289"/>
                    </a:cubicBezTo>
                    <a:cubicBezTo>
                      <a:pt x="476" y="290"/>
                      <a:pt x="476" y="292"/>
                      <a:pt x="477" y="295"/>
                    </a:cubicBezTo>
                    <a:cubicBezTo>
                      <a:pt x="477" y="295"/>
                      <a:pt x="479" y="299"/>
                      <a:pt x="479" y="300"/>
                    </a:cubicBezTo>
                    <a:cubicBezTo>
                      <a:pt x="479" y="302"/>
                      <a:pt x="479" y="301"/>
                      <a:pt x="477" y="302"/>
                    </a:cubicBezTo>
                    <a:cubicBezTo>
                      <a:pt x="476" y="303"/>
                      <a:pt x="473" y="303"/>
                      <a:pt x="473" y="304"/>
                    </a:cubicBezTo>
                    <a:cubicBezTo>
                      <a:pt x="471" y="307"/>
                      <a:pt x="475" y="307"/>
                      <a:pt x="475" y="307"/>
                    </a:cubicBezTo>
                    <a:cubicBezTo>
                      <a:pt x="475" y="309"/>
                      <a:pt x="473" y="309"/>
                      <a:pt x="471" y="310"/>
                    </a:cubicBezTo>
                    <a:cubicBezTo>
                      <a:pt x="470" y="313"/>
                      <a:pt x="471" y="318"/>
                      <a:pt x="470" y="320"/>
                    </a:cubicBezTo>
                    <a:cubicBezTo>
                      <a:pt x="468" y="325"/>
                      <a:pt x="461" y="332"/>
                      <a:pt x="462" y="337"/>
                    </a:cubicBezTo>
                    <a:cubicBezTo>
                      <a:pt x="462" y="342"/>
                      <a:pt x="468" y="343"/>
                      <a:pt x="471" y="344"/>
                    </a:cubicBezTo>
                    <a:cubicBezTo>
                      <a:pt x="473" y="345"/>
                      <a:pt x="474" y="347"/>
                      <a:pt x="477" y="348"/>
                    </a:cubicBezTo>
                    <a:cubicBezTo>
                      <a:pt x="477" y="348"/>
                      <a:pt x="477" y="349"/>
                      <a:pt x="478" y="349"/>
                    </a:cubicBezTo>
                    <a:cubicBezTo>
                      <a:pt x="478" y="349"/>
                      <a:pt x="478" y="348"/>
                      <a:pt x="478" y="348"/>
                    </a:cubicBezTo>
                    <a:cubicBezTo>
                      <a:pt x="478" y="348"/>
                      <a:pt x="479" y="348"/>
                      <a:pt x="479" y="348"/>
                    </a:cubicBezTo>
                    <a:cubicBezTo>
                      <a:pt x="479" y="348"/>
                      <a:pt x="480" y="349"/>
                      <a:pt x="480" y="350"/>
                    </a:cubicBezTo>
                    <a:cubicBezTo>
                      <a:pt x="481" y="352"/>
                      <a:pt x="482" y="354"/>
                      <a:pt x="483" y="356"/>
                    </a:cubicBezTo>
                    <a:cubicBezTo>
                      <a:pt x="484" y="360"/>
                      <a:pt x="485" y="367"/>
                      <a:pt x="483" y="371"/>
                    </a:cubicBezTo>
                    <a:cubicBezTo>
                      <a:pt x="478" y="377"/>
                      <a:pt x="469" y="385"/>
                      <a:pt x="471" y="394"/>
                    </a:cubicBezTo>
                    <a:cubicBezTo>
                      <a:pt x="472" y="395"/>
                      <a:pt x="473" y="395"/>
                      <a:pt x="473" y="397"/>
                    </a:cubicBezTo>
                    <a:cubicBezTo>
                      <a:pt x="473" y="398"/>
                      <a:pt x="472" y="399"/>
                      <a:pt x="472" y="400"/>
                    </a:cubicBezTo>
                    <a:cubicBezTo>
                      <a:pt x="472" y="402"/>
                      <a:pt x="474" y="403"/>
                      <a:pt x="474" y="406"/>
                    </a:cubicBezTo>
                    <a:cubicBezTo>
                      <a:pt x="473" y="405"/>
                      <a:pt x="470" y="402"/>
                      <a:pt x="470" y="400"/>
                    </a:cubicBezTo>
                    <a:cubicBezTo>
                      <a:pt x="469" y="398"/>
                      <a:pt x="470" y="398"/>
                      <a:pt x="469" y="396"/>
                    </a:cubicBezTo>
                    <a:cubicBezTo>
                      <a:pt x="468" y="393"/>
                      <a:pt x="466" y="392"/>
                      <a:pt x="464" y="392"/>
                    </a:cubicBezTo>
                    <a:cubicBezTo>
                      <a:pt x="460" y="392"/>
                      <a:pt x="456" y="395"/>
                      <a:pt x="454" y="397"/>
                    </a:cubicBezTo>
                    <a:cubicBezTo>
                      <a:pt x="455" y="398"/>
                      <a:pt x="456" y="399"/>
                      <a:pt x="455" y="401"/>
                    </a:cubicBezTo>
                    <a:cubicBezTo>
                      <a:pt x="454" y="400"/>
                      <a:pt x="449" y="397"/>
                      <a:pt x="449" y="396"/>
                    </a:cubicBezTo>
                    <a:cubicBezTo>
                      <a:pt x="449" y="396"/>
                      <a:pt x="452" y="394"/>
                      <a:pt x="452" y="394"/>
                    </a:cubicBezTo>
                    <a:cubicBezTo>
                      <a:pt x="454" y="393"/>
                      <a:pt x="460" y="390"/>
                      <a:pt x="460" y="389"/>
                    </a:cubicBezTo>
                    <a:cubicBezTo>
                      <a:pt x="461" y="386"/>
                      <a:pt x="455" y="385"/>
                      <a:pt x="453" y="384"/>
                    </a:cubicBezTo>
                    <a:cubicBezTo>
                      <a:pt x="452" y="384"/>
                      <a:pt x="451" y="384"/>
                      <a:pt x="451" y="383"/>
                    </a:cubicBezTo>
                    <a:cubicBezTo>
                      <a:pt x="450" y="383"/>
                      <a:pt x="450" y="382"/>
                      <a:pt x="450" y="381"/>
                    </a:cubicBezTo>
                    <a:cubicBezTo>
                      <a:pt x="448" y="380"/>
                      <a:pt x="446" y="380"/>
                      <a:pt x="443" y="380"/>
                    </a:cubicBezTo>
                    <a:cubicBezTo>
                      <a:pt x="436" y="380"/>
                      <a:pt x="432" y="379"/>
                      <a:pt x="426" y="377"/>
                    </a:cubicBezTo>
                    <a:cubicBezTo>
                      <a:pt x="424" y="377"/>
                      <a:pt x="422" y="375"/>
                      <a:pt x="420" y="375"/>
                    </a:cubicBezTo>
                    <a:cubicBezTo>
                      <a:pt x="419" y="375"/>
                      <a:pt x="419" y="375"/>
                      <a:pt x="418" y="376"/>
                    </a:cubicBezTo>
                    <a:cubicBezTo>
                      <a:pt x="413" y="379"/>
                      <a:pt x="409" y="385"/>
                      <a:pt x="404" y="389"/>
                    </a:cubicBezTo>
                    <a:cubicBezTo>
                      <a:pt x="400" y="393"/>
                      <a:pt x="396" y="394"/>
                      <a:pt x="390" y="396"/>
                    </a:cubicBezTo>
                    <a:cubicBezTo>
                      <a:pt x="383" y="399"/>
                      <a:pt x="375" y="401"/>
                      <a:pt x="369" y="406"/>
                    </a:cubicBezTo>
                    <a:cubicBezTo>
                      <a:pt x="363" y="410"/>
                      <a:pt x="356" y="414"/>
                      <a:pt x="350" y="419"/>
                    </a:cubicBezTo>
                    <a:cubicBezTo>
                      <a:pt x="341" y="426"/>
                      <a:pt x="354" y="437"/>
                      <a:pt x="360" y="443"/>
                    </a:cubicBezTo>
                    <a:cubicBezTo>
                      <a:pt x="364" y="448"/>
                      <a:pt x="366" y="451"/>
                      <a:pt x="367" y="457"/>
                    </a:cubicBezTo>
                    <a:cubicBezTo>
                      <a:pt x="560" y="457"/>
                      <a:pt x="560" y="457"/>
                      <a:pt x="560" y="457"/>
                    </a:cubicBezTo>
                    <a:cubicBezTo>
                      <a:pt x="560" y="358"/>
                      <a:pt x="560" y="358"/>
                      <a:pt x="560" y="358"/>
                    </a:cubicBezTo>
                    <a:cubicBezTo>
                      <a:pt x="558" y="359"/>
                      <a:pt x="555" y="359"/>
                      <a:pt x="552" y="360"/>
                    </a:cubicBezTo>
                    <a:cubicBezTo>
                      <a:pt x="550" y="360"/>
                      <a:pt x="547" y="360"/>
                      <a:pt x="544" y="361"/>
                    </a:cubicBezTo>
                    <a:cubicBezTo>
                      <a:pt x="541" y="362"/>
                      <a:pt x="540" y="364"/>
                      <a:pt x="537" y="365"/>
                    </a:cubicBezTo>
                    <a:cubicBezTo>
                      <a:pt x="540" y="362"/>
                      <a:pt x="545" y="359"/>
                      <a:pt x="540" y="359"/>
                    </a:cubicBezTo>
                    <a:cubicBezTo>
                      <a:pt x="539" y="359"/>
                      <a:pt x="539" y="359"/>
                      <a:pt x="538" y="360"/>
                    </a:cubicBezTo>
                    <a:cubicBezTo>
                      <a:pt x="535" y="360"/>
                      <a:pt x="532" y="361"/>
                      <a:pt x="529" y="361"/>
                    </a:cubicBezTo>
                    <a:cubicBezTo>
                      <a:pt x="528" y="361"/>
                      <a:pt x="527" y="361"/>
                      <a:pt x="527" y="361"/>
                    </a:cubicBezTo>
                    <a:cubicBezTo>
                      <a:pt x="522" y="360"/>
                      <a:pt x="519" y="355"/>
                      <a:pt x="517" y="352"/>
                    </a:cubicBezTo>
                    <a:cubicBezTo>
                      <a:pt x="513" y="346"/>
                      <a:pt x="508" y="342"/>
                      <a:pt x="502" y="339"/>
                    </a:cubicBezTo>
                    <a:cubicBezTo>
                      <a:pt x="497" y="338"/>
                      <a:pt x="494" y="335"/>
                      <a:pt x="496" y="330"/>
                    </a:cubicBezTo>
                    <a:cubicBezTo>
                      <a:pt x="497" y="327"/>
                      <a:pt x="500" y="325"/>
                      <a:pt x="503" y="324"/>
                    </a:cubicBezTo>
                    <a:cubicBezTo>
                      <a:pt x="506" y="323"/>
                      <a:pt x="508" y="323"/>
                      <a:pt x="507" y="319"/>
                    </a:cubicBezTo>
                    <a:cubicBezTo>
                      <a:pt x="506" y="316"/>
                      <a:pt x="515" y="315"/>
                      <a:pt x="516" y="315"/>
                    </a:cubicBezTo>
                    <a:cubicBezTo>
                      <a:pt x="521" y="315"/>
                      <a:pt x="527" y="315"/>
                      <a:pt x="532" y="313"/>
                    </a:cubicBezTo>
                    <a:cubicBezTo>
                      <a:pt x="534" y="313"/>
                      <a:pt x="535" y="313"/>
                      <a:pt x="537" y="313"/>
                    </a:cubicBezTo>
                    <a:cubicBezTo>
                      <a:pt x="537" y="313"/>
                      <a:pt x="538" y="313"/>
                      <a:pt x="539" y="313"/>
                    </a:cubicBezTo>
                    <a:cubicBezTo>
                      <a:pt x="540" y="313"/>
                      <a:pt x="542" y="314"/>
                      <a:pt x="544" y="314"/>
                    </a:cubicBezTo>
                    <a:cubicBezTo>
                      <a:pt x="544" y="314"/>
                      <a:pt x="545" y="313"/>
                      <a:pt x="546" y="313"/>
                    </a:cubicBezTo>
                    <a:cubicBezTo>
                      <a:pt x="548" y="310"/>
                      <a:pt x="543" y="306"/>
                      <a:pt x="542" y="304"/>
                    </a:cubicBezTo>
                    <a:cubicBezTo>
                      <a:pt x="540" y="300"/>
                      <a:pt x="541" y="298"/>
                      <a:pt x="537" y="295"/>
                    </a:cubicBezTo>
                    <a:cubicBezTo>
                      <a:pt x="533" y="292"/>
                      <a:pt x="528" y="290"/>
                      <a:pt x="526" y="286"/>
                    </a:cubicBezTo>
                    <a:cubicBezTo>
                      <a:pt x="524" y="284"/>
                      <a:pt x="523" y="282"/>
                      <a:pt x="526" y="282"/>
                    </a:cubicBezTo>
                    <a:cubicBezTo>
                      <a:pt x="500" y="278"/>
                      <a:pt x="474" y="275"/>
                      <a:pt x="448" y="271"/>
                    </a:cubicBezTo>
                    <a:moveTo>
                      <a:pt x="128" y="206"/>
                    </a:moveTo>
                    <a:cubicBezTo>
                      <a:pt x="128" y="206"/>
                      <a:pt x="127" y="206"/>
                      <a:pt x="127" y="206"/>
                    </a:cubicBezTo>
                    <a:cubicBezTo>
                      <a:pt x="123" y="207"/>
                      <a:pt x="127" y="210"/>
                      <a:pt x="129" y="212"/>
                    </a:cubicBezTo>
                    <a:cubicBezTo>
                      <a:pt x="129" y="213"/>
                      <a:pt x="131" y="214"/>
                      <a:pt x="130" y="215"/>
                    </a:cubicBezTo>
                    <a:cubicBezTo>
                      <a:pt x="130" y="216"/>
                      <a:pt x="130" y="216"/>
                      <a:pt x="130" y="216"/>
                    </a:cubicBezTo>
                    <a:cubicBezTo>
                      <a:pt x="129" y="216"/>
                      <a:pt x="128" y="215"/>
                      <a:pt x="128" y="215"/>
                    </a:cubicBezTo>
                    <a:cubicBezTo>
                      <a:pt x="126" y="214"/>
                      <a:pt x="124" y="212"/>
                      <a:pt x="122" y="212"/>
                    </a:cubicBezTo>
                    <a:cubicBezTo>
                      <a:pt x="122" y="212"/>
                      <a:pt x="122" y="212"/>
                      <a:pt x="122" y="212"/>
                    </a:cubicBezTo>
                    <a:cubicBezTo>
                      <a:pt x="118" y="213"/>
                      <a:pt x="121" y="215"/>
                      <a:pt x="120" y="216"/>
                    </a:cubicBezTo>
                    <a:cubicBezTo>
                      <a:pt x="119" y="218"/>
                      <a:pt x="117" y="218"/>
                      <a:pt x="114" y="218"/>
                    </a:cubicBezTo>
                    <a:cubicBezTo>
                      <a:pt x="109" y="218"/>
                      <a:pt x="102" y="217"/>
                      <a:pt x="98" y="216"/>
                    </a:cubicBezTo>
                    <a:cubicBezTo>
                      <a:pt x="98" y="217"/>
                      <a:pt x="98" y="217"/>
                      <a:pt x="98" y="217"/>
                    </a:cubicBezTo>
                    <a:cubicBezTo>
                      <a:pt x="99" y="220"/>
                      <a:pt x="100" y="224"/>
                      <a:pt x="98" y="226"/>
                    </a:cubicBezTo>
                    <a:cubicBezTo>
                      <a:pt x="96" y="228"/>
                      <a:pt x="95" y="229"/>
                      <a:pt x="92" y="229"/>
                    </a:cubicBezTo>
                    <a:cubicBezTo>
                      <a:pt x="92" y="229"/>
                      <a:pt x="92" y="229"/>
                      <a:pt x="92" y="229"/>
                    </a:cubicBezTo>
                    <a:cubicBezTo>
                      <a:pt x="91" y="229"/>
                      <a:pt x="91" y="229"/>
                      <a:pt x="91" y="229"/>
                    </a:cubicBezTo>
                    <a:cubicBezTo>
                      <a:pt x="90" y="229"/>
                      <a:pt x="90" y="229"/>
                      <a:pt x="89" y="229"/>
                    </a:cubicBezTo>
                    <a:cubicBezTo>
                      <a:pt x="89" y="229"/>
                      <a:pt x="89" y="229"/>
                      <a:pt x="89" y="229"/>
                    </a:cubicBezTo>
                    <a:cubicBezTo>
                      <a:pt x="88" y="229"/>
                      <a:pt x="88" y="229"/>
                      <a:pt x="88" y="229"/>
                    </a:cubicBezTo>
                    <a:cubicBezTo>
                      <a:pt x="85" y="228"/>
                      <a:pt x="82" y="227"/>
                      <a:pt x="80" y="226"/>
                    </a:cubicBezTo>
                    <a:cubicBezTo>
                      <a:pt x="78" y="225"/>
                      <a:pt x="78" y="225"/>
                      <a:pt x="78" y="225"/>
                    </a:cubicBezTo>
                    <a:cubicBezTo>
                      <a:pt x="78" y="225"/>
                      <a:pt x="78" y="225"/>
                      <a:pt x="78" y="225"/>
                    </a:cubicBezTo>
                    <a:cubicBezTo>
                      <a:pt x="77" y="227"/>
                      <a:pt x="77" y="228"/>
                      <a:pt x="76" y="229"/>
                    </a:cubicBezTo>
                    <a:cubicBezTo>
                      <a:pt x="73" y="234"/>
                      <a:pt x="71" y="237"/>
                      <a:pt x="64" y="238"/>
                    </a:cubicBezTo>
                    <a:cubicBezTo>
                      <a:pt x="62" y="239"/>
                      <a:pt x="62" y="239"/>
                      <a:pt x="62" y="239"/>
                    </a:cubicBezTo>
                    <a:cubicBezTo>
                      <a:pt x="60" y="239"/>
                      <a:pt x="58" y="239"/>
                      <a:pt x="56" y="240"/>
                    </a:cubicBezTo>
                    <a:cubicBezTo>
                      <a:pt x="55" y="240"/>
                      <a:pt x="55" y="240"/>
                      <a:pt x="55" y="240"/>
                    </a:cubicBezTo>
                    <a:cubicBezTo>
                      <a:pt x="55" y="241"/>
                      <a:pt x="55" y="241"/>
                      <a:pt x="55" y="241"/>
                    </a:cubicBezTo>
                    <a:cubicBezTo>
                      <a:pt x="53" y="241"/>
                      <a:pt x="49" y="246"/>
                      <a:pt x="48" y="250"/>
                    </a:cubicBezTo>
                    <a:cubicBezTo>
                      <a:pt x="46" y="252"/>
                      <a:pt x="46" y="252"/>
                      <a:pt x="46" y="252"/>
                    </a:cubicBezTo>
                    <a:cubicBezTo>
                      <a:pt x="46" y="257"/>
                      <a:pt x="42" y="258"/>
                      <a:pt x="40" y="259"/>
                    </a:cubicBezTo>
                    <a:cubicBezTo>
                      <a:pt x="40" y="259"/>
                      <a:pt x="39" y="259"/>
                      <a:pt x="38" y="260"/>
                    </a:cubicBezTo>
                    <a:cubicBezTo>
                      <a:pt x="38" y="261"/>
                      <a:pt x="38" y="261"/>
                      <a:pt x="38" y="261"/>
                    </a:cubicBezTo>
                    <a:cubicBezTo>
                      <a:pt x="38" y="265"/>
                      <a:pt x="36" y="268"/>
                      <a:pt x="35" y="271"/>
                    </a:cubicBezTo>
                    <a:cubicBezTo>
                      <a:pt x="35" y="273"/>
                      <a:pt x="35" y="273"/>
                      <a:pt x="35" y="273"/>
                    </a:cubicBezTo>
                    <a:cubicBezTo>
                      <a:pt x="35" y="274"/>
                      <a:pt x="34" y="275"/>
                      <a:pt x="34" y="276"/>
                    </a:cubicBezTo>
                    <a:cubicBezTo>
                      <a:pt x="33" y="277"/>
                      <a:pt x="32" y="280"/>
                      <a:pt x="32" y="281"/>
                    </a:cubicBezTo>
                    <a:cubicBezTo>
                      <a:pt x="33" y="282"/>
                      <a:pt x="33" y="284"/>
                      <a:pt x="34" y="285"/>
                    </a:cubicBezTo>
                    <a:cubicBezTo>
                      <a:pt x="34" y="288"/>
                      <a:pt x="35" y="291"/>
                      <a:pt x="37" y="292"/>
                    </a:cubicBezTo>
                    <a:cubicBezTo>
                      <a:pt x="38" y="293"/>
                      <a:pt x="43" y="294"/>
                      <a:pt x="45" y="295"/>
                    </a:cubicBezTo>
                    <a:cubicBezTo>
                      <a:pt x="46" y="295"/>
                      <a:pt x="47" y="295"/>
                      <a:pt x="47" y="295"/>
                    </a:cubicBezTo>
                    <a:cubicBezTo>
                      <a:pt x="48" y="295"/>
                      <a:pt x="49" y="295"/>
                      <a:pt x="49" y="295"/>
                    </a:cubicBezTo>
                    <a:cubicBezTo>
                      <a:pt x="55" y="297"/>
                      <a:pt x="58" y="301"/>
                      <a:pt x="60" y="305"/>
                    </a:cubicBezTo>
                    <a:cubicBezTo>
                      <a:pt x="62" y="308"/>
                      <a:pt x="63" y="310"/>
                      <a:pt x="65" y="311"/>
                    </a:cubicBezTo>
                    <a:cubicBezTo>
                      <a:pt x="66" y="312"/>
                      <a:pt x="66" y="312"/>
                      <a:pt x="66" y="312"/>
                    </a:cubicBezTo>
                    <a:cubicBezTo>
                      <a:pt x="71" y="316"/>
                      <a:pt x="73" y="317"/>
                      <a:pt x="74" y="320"/>
                    </a:cubicBezTo>
                    <a:cubicBezTo>
                      <a:pt x="74" y="321"/>
                      <a:pt x="74" y="321"/>
                      <a:pt x="74" y="321"/>
                    </a:cubicBezTo>
                    <a:cubicBezTo>
                      <a:pt x="73" y="323"/>
                      <a:pt x="73" y="323"/>
                      <a:pt x="73" y="323"/>
                    </a:cubicBezTo>
                    <a:cubicBezTo>
                      <a:pt x="48" y="356"/>
                      <a:pt x="48" y="356"/>
                      <a:pt x="48" y="356"/>
                    </a:cubicBezTo>
                    <a:cubicBezTo>
                      <a:pt x="48" y="356"/>
                      <a:pt x="48" y="356"/>
                      <a:pt x="48" y="356"/>
                    </a:cubicBezTo>
                    <a:cubicBezTo>
                      <a:pt x="48" y="357"/>
                      <a:pt x="48" y="358"/>
                      <a:pt x="48" y="358"/>
                    </a:cubicBezTo>
                    <a:cubicBezTo>
                      <a:pt x="49" y="359"/>
                      <a:pt x="49" y="360"/>
                      <a:pt x="50" y="360"/>
                    </a:cubicBezTo>
                    <a:cubicBezTo>
                      <a:pt x="51" y="361"/>
                      <a:pt x="52" y="362"/>
                      <a:pt x="52" y="362"/>
                    </a:cubicBezTo>
                    <a:cubicBezTo>
                      <a:pt x="53" y="363"/>
                      <a:pt x="54" y="364"/>
                      <a:pt x="55" y="366"/>
                    </a:cubicBezTo>
                    <a:cubicBezTo>
                      <a:pt x="57" y="369"/>
                      <a:pt x="60" y="373"/>
                      <a:pt x="62" y="377"/>
                    </a:cubicBezTo>
                    <a:cubicBezTo>
                      <a:pt x="79" y="419"/>
                      <a:pt x="79" y="419"/>
                      <a:pt x="79" y="419"/>
                    </a:cubicBezTo>
                    <a:cubicBezTo>
                      <a:pt x="75" y="419"/>
                      <a:pt x="75" y="419"/>
                      <a:pt x="75" y="419"/>
                    </a:cubicBezTo>
                    <a:cubicBezTo>
                      <a:pt x="74" y="419"/>
                      <a:pt x="73" y="419"/>
                      <a:pt x="71" y="419"/>
                    </a:cubicBezTo>
                    <a:cubicBezTo>
                      <a:pt x="71" y="419"/>
                      <a:pt x="71" y="419"/>
                      <a:pt x="71" y="419"/>
                    </a:cubicBezTo>
                    <a:cubicBezTo>
                      <a:pt x="70" y="419"/>
                      <a:pt x="69" y="420"/>
                      <a:pt x="68" y="420"/>
                    </a:cubicBezTo>
                    <a:cubicBezTo>
                      <a:pt x="68" y="420"/>
                      <a:pt x="68" y="420"/>
                      <a:pt x="68" y="420"/>
                    </a:cubicBezTo>
                    <a:cubicBezTo>
                      <a:pt x="68" y="424"/>
                      <a:pt x="66" y="428"/>
                      <a:pt x="65" y="431"/>
                    </a:cubicBezTo>
                    <a:cubicBezTo>
                      <a:pt x="64" y="432"/>
                      <a:pt x="64" y="432"/>
                      <a:pt x="64" y="432"/>
                    </a:cubicBezTo>
                    <a:cubicBezTo>
                      <a:pt x="64" y="433"/>
                      <a:pt x="64" y="433"/>
                      <a:pt x="64" y="433"/>
                    </a:cubicBezTo>
                    <a:cubicBezTo>
                      <a:pt x="64" y="433"/>
                      <a:pt x="65" y="434"/>
                      <a:pt x="66" y="434"/>
                    </a:cubicBezTo>
                    <a:cubicBezTo>
                      <a:pt x="67" y="436"/>
                      <a:pt x="70" y="438"/>
                      <a:pt x="69" y="441"/>
                    </a:cubicBezTo>
                    <a:cubicBezTo>
                      <a:pt x="69" y="444"/>
                      <a:pt x="67" y="445"/>
                      <a:pt x="66" y="446"/>
                    </a:cubicBezTo>
                    <a:cubicBezTo>
                      <a:pt x="64" y="447"/>
                      <a:pt x="64" y="447"/>
                      <a:pt x="64" y="448"/>
                    </a:cubicBezTo>
                    <a:cubicBezTo>
                      <a:pt x="64" y="450"/>
                      <a:pt x="66" y="452"/>
                      <a:pt x="68" y="453"/>
                    </a:cubicBezTo>
                    <a:cubicBezTo>
                      <a:pt x="72" y="453"/>
                      <a:pt x="74" y="454"/>
                      <a:pt x="77" y="457"/>
                    </a:cubicBezTo>
                    <a:cubicBezTo>
                      <a:pt x="213" y="457"/>
                      <a:pt x="213" y="457"/>
                      <a:pt x="213" y="457"/>
                    </a:cubicBezTo>
                    <a:cubicBezTo>
                      <a:pt x="213" y="457"/>
                      <a:pt x="213" y="457"/>
                      <a:pt x="213" y="457"/>
                    </a:cubicBezTo>
                    <a:cubicBezTo>
                      <a:pt x="212" y="457"/>
                      <a:pt x="211" y="456"/>
                      <a:pt x="210" y="456"/>
                    </a:cubicBezTo>
                    <a:cubicBezTo>
                      <a:pt x="209" y="456"/>
                      <a:pt x="208" y="457"/>
                      <a:pt x="207" y="457"/>
                    </a:cubicBezTo>
                    <a:cubicBezTo>
                      <a:pt x="208" y="456"/>
                      <a:pt x="210" y="455"/>
                      <a:pt x="211" y="454"/>
                    </a:cubicBezTo>
                    <a:cubicBezTo>
                      <a:pt x="207" y="449"/>
                      <a:pt x="205" y="446"/>
                      <a:pt x="203" y="439"/>
                    </a:cubicBezTo>
                    <a:cubicBezTo>
                      <a:pt x="202" y="434"/>
                      <a:pt x="197" y="432"/>
                      <a:pt x="194" y="428"/>
                    </a:cubicBezTo>
                    <a:cubicBezTo>
                      <a:pt x="195" y="428"/>
                      <a:pt x="195" y="428"/>
                      <a:pt x="196" y="427"/>
                    </a:cubicBezTo>
                    <a:cubicBezTo>
                      <a:pt x="197" y="427"/>
                      <a:pt x="198" y="426"/>
                      <a:pt x="199" y="426"/>
                    </a:cubicBezTo>
                    <a:cubicBezTo>
                      <a:pt x="199" y="426"/>
                      <a:pt x="199" y="426"/>
                      <a:pt x="199" y="426"/>
                    </a:cubicBezTo>
                    <a:cubicBezTo>
                      <a:pt x="200" y="426"/>
                      <a:pt x="200" y="426"/>
                      <a:pt x="200" y="426"/>
                    </a:cubicBezTo>
                    <a:cubicBezTo>
                      <a:pt x="201" y="426"/>
                      <a:pt x="201" y="426"/>
                      <a:pt x="201" y="426"/>
                    </a:cubicBezTo>
                    <a:cubicBezTo>
                      <a:pt x="201" y="426"/>
                      <a:pt x="202" y="426"/>
                      <a:pt x="202" y="426"/>
                    </a:cubicBezTo>
                    <a:cubicBezTo>
                      <a:pt x="203" y="425"/>
                      <a:pt x="203" y="420"/>
                      <a:pt x="203" y="419"/>
                    </a:cubicBezTo>
                    <a:cubicBezTo>
                      <a:pt x="203" y="416"/>
                      <a:pt x="204" y="413"/>
                      <a:pt x="204" y="410"/>
                    </a:cubicBezTo>
                    <a:cubicBezTo>
                      <a:pt x="204" y="410"/>
                      <a:pt x="204" y="409"/>
                      <a:pt x="204" y="409"/>
                    </a:cubicBezTo>
                    <a:cubicBezTo>
                      <a:pt x="205" y="409"/>
                      <a:pt x="206" y="410"/>
                      <a:pt x="206" y="411"/>
                    </a:cubicBezTo>
                    <a:cubicBezTo>
                      <a:pt x="207" y="411"/>
                      <a:pt x="209" y="413"/>
                      <a:pt x="211" y="413"/>
                    </a:cubicBezTo>
                    <a:cubicBezTo>
                      <a:pt x="211" y="413"/>
                      <a:pt x="211" y="412"/>
                      <a:pt x="211" y="411"/>
                    </a:cubicBezTo>
                    <a:cubicBezTo>
                      <a:pt x="209" y="405"/>
                      <a:pt x="205" y="401"/>
                      <a:pt x="201" y="396"/>
                    </a:cubicBezTo>
                    <a:cubicBezTo>
                      <a:pt x="198" y="393"/>
                      <a:pt x="187" y="392"/>
                      <a:pt x="183" y="391"/>
                    </a:cubicBezTo>
                    <a:cubicBezTo>
                      <a:pt x="177" y="389"/>
                      <a:pt x="171" y="387"/>
                      <a:pt x="165" y="385"/>
                    </a:cubicBezTo>
                    <a:cubicBezTo>
                      <a:pt x="167" y="384"/>
                      <a:pt x="178" y="383"/>
                      <a:pt x="176" y="379"/>
                    </a:cubicBezTo>
                    <a:cubicBezTo>
                      <a:pt x="173" y="375"/>
                      <a:pt x="160" y="376"/>
                      <a:pt x="156" y="375"/>
                    </a:cubicBezTo>
                    <a:cubicBezTo>
                      <a:pt x="158" y="374"/>
                      <a:pt x="159" y="374"/>
                      <a:pt x="161" y="374"/>
                    </a:cubicBezTo>
                    <a:cubicBezTo>
                      <a:pt x="158" y="373"/>
                      <a:pt x="155" y="373"/>
                      <a:pt x="152" y="372"/>
                    </a:cubicBezTo>
                    <a:cubicBezTo>
                      <a:pt x="156" y="371"/>
                      <a:pt x="161" y="371"/>
                      <a:pt x="164" y="369"/>
                    </a:cubicBezTo>
                    <a:cubicBezTo>
                      <a:pt x="163" y="368"/>
                      <a:pt x="161" y="368"/>
                      <a:pt x="160" y="368"/>
                    </a:cubicBezTo>
                    <a:cubicBezTo>
                      <a:pt x="159" y="368"/>
                      <a:pt x="159" y="368"/>
                      <a:pt x="159" y="368"/>
                    </a:cubicBezTo>
                    <a:cubicBezTo>
                      <a:pt x="158" y="368"/>
                      <a:pt x="158" y="368"/>
                      <a:pt x="158" y="368"/>
                    </a:cubicBezTo>
                    <a:cubicBezTo>
                      <a:pt x="157" y="368"/>
                      <a:pt x="156" y="368"/>
                      <a:pt x="155" y="367"/>
                    </a:cubicBezTo>
                    <a:cubicBezTo>
                      <a:pt x="154" y="367"/>
                      <a:pt x="153" y="366"/>
                      <a:pt x="151" y="366"/>
                    </a:cubicBezTo>
                    <a:cubicBezTo>
                      <a:pt x="149" y="365"/>
                      <a:pt x="153" y="364"/>
                      <a:pt x="152" y="364"/>
                    </a:cubicBezTo>
                    <a:cubicBezTo>
                      <a:pt x="151" y="362"/>
                      <a:pt x="149" y="362"/>
                      <a:pt x="146" y="361"/>
                    </a:cubicBezTo>
                    <a:cubicBezTo>
                      <a:pt x="145" y="361"/>
                      <a:pt x="138" y="358"/>
                      <a:pt x="139" y="355"/>
                    </a:cubicBezTo>
                    <a:cubicBezTo>
                      <a:pt x="142" y="351"/>
                      <a:pt x="142" y="352"/>
                      <a:pt x="139" y="350"/>
                    </a:cubicBezTo>
                    <a:cubicBezTo>
                      <a:pt x="134" y="346"/>
                      <a:pt x="130" y="348"/>
                      <a:pt x="124" y="345"/>
                    </a:cubicBezTo>
                    <a:cubicBezTo>
                      <a:pt x="124" y="345"/>
                      <a:pt x="125" y="345"/>
                      <a:pt x="125" y="345"/>
                    </a:cubicBezTo>
                    <a:cubicBezTo>
                      <a:pt x="127" y="345"/>
                      <a:pt x="128" y="346"/>
                      <a:pt x="130" y="346"/>
                    </a:cubicBezTo>
                    <a:cubicBezTo>
                      <a:pt x="131" y="346"/>
                      <a:pt x="131" y="346"/>
                      <a:pt x="131" y="346"/>
                    </a:cubicBezTo>
                    <a:cubicBezTo>
                      <a:pt x="132" y="346"/>
                      <a:pt x="133" y="346"/>
                      <a:pt x="134" y="346"/>
                    </a:cubicBezTo>
                    <a:cubicBezTo>
                      <a:pt x="135" y="345"/>
                      <a:pt x="137" y="345"/>
                      <a:pt x="138" y="345"/>
                    </a:cubicBezTo>
                    <a:cubicBezTo>
                      <a:pt x="138" y="345"/>
                      <a:pt x="138" y="345"/>
                      <a:pt x="139" y="345"/>
                    </a:cubicBezTo>
                    <a:cubicBezTo>
                      <a:pt x="141" y="345"/>
                      <a:pt x="144" y="346"/>
                      <a:pt x="146" y="347"/>
                    </a:cubicBezTo>
                    <a:cubicBezTo>
                      <a:pt x="149" y="347"/>
                      <a:pt x="153" y="348"/>
                      <a:pt x="155" y="349"/>
                    </a:cubicBezTo>
                    <a:cubicBezTo>
                      <a:pt x="150" y="350"/>
                      <a:pt x="150" y="351"/>
                      <a:pt x="152" y="354"/>
                    </a:cubicBezTo>
                    <a:cubicBezTo>
                      <a:pt x="154" y="356"/>
                      <a:pt x="157" y="358"/>
                      <a:pt x="159" y="359"/>
                    </a:cubicBezTo>
                    <a:cubicBezTo>
                      <a:pt x="162" y="361"/>
                      <a:pt x="167" y="365"/>
                      <a:pt x="171" y="366"/>
                    </a:cubicBezTo>
                    <a:cubicBezTo>
                      <a:pt x="174" y="367"/>
                      <a:pt x="178" y="367"/>
                      <a:pt x="181" y="367"/>
                    </a:cubicBezTo>
                    <a:cubicBezTo>
                      <a:pt x="181" y="367"/>
                      <a:pt x="182" y="367"/>
                      <a:pt x="182" y="367"/>
                    </a:cubicBezTo>
                    <a:cubicBezTo>
                      <a:pt x="185" y="367"/>
                      <a:pt x="184" y="366"/>
                      <a:pt x="188" y="365"/>
                    </a:cubicBezTo>
                    <a:cubicBezTo>
                      <a:pt x="188" y="365"/>
                      <a:pt x="188" y="364"/>
                      <a:pt x="189" y="364"/>
                    </a:cubicBezTo>
                    <a:cubicBezTo>
                      <a:pt x="191" y="364"/>
                      <a:pt x="194" y="367"/>
                      <a:pt x="196" y="368"/>
                    </a:cubicBezTo>
                    <a:cubicBezTo>
                      <a:pt x="200" y="369"/>
                      <a:pt x="198" y="369"/>
                      <a:pt x="198" y="371"/>
                    </a:cubicBezTo>
                    <a:cubicBezTo>
                      <a:pt x="199" y="374"/>
                      <a:pt x="198" y="375"/>
                      <a:pt x="200" y="375"/>
                    </a:cubicBezTo>
                    <a:cubicBezTo>
                      <a:pt x="200" y="375"/>
                      <a:pt x="201" y="375"/>
                      <a:pt x="202" y="375"/>
                    </a:cubicBezTo>
                    <a:cubicBezTo>
                      <a:pt x="204" y="374"/>
                      <a:pt x="208" y="374"/>
                      <a:pt x="211" y="374"/>
                    </a:cubicBezTo>
                    <a:cubicBezTo>
                      <a:pt x="211" y="374"/>
                      <a:pt x="212" y="374"/>
                      <a:pt x="213" y="374"/>
                    </a:cubicBezTo>
                    <a:cubicBezTo>
                      <a:pt x="219" y="375"/>
                      <a:pt x="225" y="377"/>
                      <a:pt x="231" y="378"/>
                    </a:cubicBezTo>
                    <a:cubicBezTo>
                      <a:pt x="253" y="383"/>
                      <a:pt x="276" y="389"/>
                      <a:pt x="299" y="394"/>
                    </a:cubicBezTo>
                    <a:cubicBezTo>
                      <a:pt x="305" y="396"/>
                      <a:pt x="309" y="397"/>
                      <a:pt x="314" y="397"/>
                    </a:cubicBezTo>
                    <a:cubicBezTo>
                      <a:pt x="317" y="397"/>
                      <a:pt x="320" y="396"/>
                      <a:pt x="323" y="396"/>
                    </a:cubicBezTo>
                    <a:cubicBezTo>
                      <a:pt x="327" y="395"/>
                      <a:pt x="330" y="395"/>
                      <a:pt x="334" y="394"/>
                    </a:cubicBezTo>
                    <a:cubicBezTo>
                      <a:pt x="337" y="394"/>
                      <a:pt x="339" y="392"/>
                      <a:pt x="343" y="391"/>
                    </a:cubicBezTo>
                    <a:cubicBezTo>
                      <a:pt x="351" y="389"/>
                      <a:pt x="360" y="387"/>
                      <a:pt x="366" y="381"/>
                    </a:cubicBezTo>
                    <a:cubicBezTo>
                      <a:pt x="373" y="376"/>
                      <a:pt x="379" y="368"/>
                      <a:pt x="385" y="361"/>
                    </a:cubicBezTo>
                    <a:cubicBezTo>
                      <a:pt x="389" y="357"/>
                      <a:pt x="395" y="353"/>
                      <a:pt x="394" y="347"/>
                    </a:cubicBezTo>
                    <a:cubicBezTo>
                      <a:pt x="394" y="343"/>
                      <a:pt x="393" y="343"/>
                      <a:pt x="391" y="342"/>
                    </a:cubicBezTo>
                    <a:cubicBezTo>
                      <a:pt x="388" y="341"/>
                      <a:pt x="387" y="342"/>
                      <a:pt x="387" y="337"/>
                    </a:cubicBezTo>
                    <a:cubicBezTo>
                      <a:pt x="388" y="335"/>
                      <a:pt x="388" y="333"/>
                      <a:pt x="386" y="331"/>
                    </a:cubicBezTo>
                    <a:cubicBezTo>
                      <a:pt x="386" y="330"/>
                      <a:pt x="385" y="330"/>
                      <a:pt x="385" y="330"/>
                    </a:cubicBezTo>
                    <a:cubicBezTo>
                      <a:pt x="385" y="330"/>
                      <a:pt x="384" y="330"/>
                      <a:pt x="384" y="330"/>
                    </a:cubicBezTo>
                    <a:cubicBezTo>
                      <a:pt x="384" y="330"/>
                      <a:pt x="384" y="330"/>
                      <a:pt x="384" y="330"/>
                    </a:cubicBezTo>
                    <a:cubicBezTo>
                      <a:pt x="384" y="330"/>
                      <a:pt x="384" y="329"/>
                      <a:pt x="384" y="326"/>
                    </a:cubicBezTo>
                    <a:cubicBezTo>
                      <a:pt x="383" y="325"/>
                      <a:pt x="384" y="318"/>
                      <a:pt x="383" y="318"/>
                    </a:cubicBezTo>
                    <a:cubicBezTo>
                      <a:pt x="379" y="318"/>
                      <a:pt x="376" y="317"/>
                      <a:pt x="372" y="317"/>
                    </a:cubicBezTo>
                    <a:cubicBezTo>
                      <a:pt x="368" y="316"/>
                      <a:pt x="367" y="315"/>
                      <a:pt x="364" y="312"/>
                    </a:cubicBezTo>
                    <a:cubicBezTo>
                      <a:pt x="360" y="308"/>
                      <a:pt x="356" y="304"/>
                      <a:pt x="352" y="300"/>
                    </a:cubicBezTo>
                    <a:cubicBezTo>
                      <a:pt x="352" y="299"/>
                      <a:pt x="348" y="296"/>
                      <a:pt x="347" y="296"/>
                    </a:cubicBezTo>
                    <a:cubicBezTo>
                      <a:pt x="347" y="296"/>
                      <a:pt x="347" y="296"/>
                      <a:pt x="347" y="297"/>
                    </a:cubicBezTo>
                    <a:cubicBezTo>
                      <a:pt x="347" y="297"/>
                      <a:pt x="349" y="298"/>
                      <a:pt x="349" y="299"/>
                    </a:cubicBezTo>
                    <a:cubicBezTo>
                      <a:pt x="341" y="297"/>
                      <a:pt x="332" y="294"/>
                      <a:pt x="323" y="292"/>
                    </a:cubicBezTo>
                    <a:cubicBezTo>
                      <a:pt x="319" y="290"/>
                      <a:pt x="315" y="289"/>
                      <a:pt x="311" y="288"/>
                    </a:cubicBezTo>
                    <a:cubicBezTo>
                      <a:pt x="308" y="287"/>
                      <a:pt x="307" y="285"/>
                      <a:pt x="305" y="283"/>
                    </a:cubicBezTo>
                    <a:cubicBezTo>
                      <a:pt x="300" y="278"/>
                      <a:pt x="297" y="275"/>
                      <a:pt x="291" y="273"/>
                    </a:cubicBezTo>
                    <a:cubicBezTo>
                      <a:pt x="281" y="268"/>
                      <a:pt x="271" y="264"/>
                      <a:pt x="261" y="259"/>
                    </a:cubicBezTo>
                    <a:cubicBezTo>
                      <a:pt x="251" y="254"/>
                      <a:pt x="241" y="250"/>
                      <a:pt x="230" y="245"/>
                    </a:cubicBezTo>
                    <a:cubicBezTo>
                      <a:pt x="226" y="243"/>
                      <a:pt x="223" y="241"/>
                      <a:pt x="218" y="241"/>
                    </a:cubicBezTo>
                    <a:cubicBezTo>
                      <a:pt x="218" y="241"/>
                      <a:pt x="218" y="241"/>
                      <a:pt x="218" y="241"/>
                    </a:cubicBezTo>
                    <a:cubicBezTo>
                      <a:pt x="217" y="241"/>
                      <a:pt x="217" y="241"/>
                      <a:pt x="217" y="241"/>
                    </a:cubicBezTo>
                    <a:cubicBezTo>
                      <a:pt x="211" y="241"/>
                      <a:pt x="205" y="241"/>
                      <a:pt x="199" y="240"/>
                    </a:cubicBezTo>
                    <a:cubicBezTo>
                      <a:pt x="194" y="239"/>
                      <a:pt x="188" y="238"/>
                      <a:pt x="182" y="238"/>
                    </a:cubicBezTo>
                    <a:cubicBezTo>
                      <a:pt x="181" y="238"/>
                      <a:pt x="181" y="238"/>
                      <a:pt x="180" y="238"/>
                    </a:cubicBezTo>
                    <a:cubicBezTo>
                      <a:pt x="180" y="238"/>
                      <a:pt x="180" y="238"/>
                      <a:pt x="179" y="238"/>
                    </a:cubicBezTo>
                    <a:cubicBezTo>
                      <a:pt x="179" y="238"/>
                      <a:pt x="179" y="238"/>
                      <a:pt x="179" y="238"/>
                    </a:cubicBezTo>
                    <a:cubicBezTo>
                      <a:pt x="178" y="238"/>
                      <a:pt x="178" y="238"/>
                      <a:pt x="178" y="238"/>
                    </a:cubicBezTo>
                    <a:cubicBezTo>
                      <a:pt x="175" y="238"/>
                      <a:pt x="173" y="239"/>
                      <a:pt x="172" y="241"/>
                    </a:cubicBezTo>
                    <a:cubicBezTo>
                      <a:pt x="171" y="245"/>
                      <a:pt x="173" y="245"/>
                      <a:pt x="169" y="248"/>
                    </a:cubicBezTo>
                    <a:cubicBezTo>
                      <a:pt x="168" y="249"/>
                      <a:pt x="168" y="249"/>
                      <a:pt x="167" y="250"/>
                    </a:cubicBezTo>
                    <a:cubicBezTo>
                      <a:pt x="166" y="250"/>
                      <a:pt x="163" y="251"/>
                      <a:pt x="162" y="251"/>
                    </a:cubicBezTo>
                    <a:cubicBezTo>
                      <a:pt x="158" y="252"/>
                      <a:pt x="159" y="253"/>
                      <a:pt x="156" y="257"/>
                    </a:cubicBezTo>
                    <a:cubicBezTo>
                      <a:pt x="156" y="253"/>
                      <a:pt x="157" y="251"/>
                      <a:pt x="161" y="250"/>
                    </a:cubicBezTo>
                    <a:cubicBezTo>
                      <a:pt x="165" y="249"/>
                      <a:pt x="167" y="247"/>
                      <a:pt x="170" y="246"/>
                    </a:cubicBezTo>
                    <a:cubicBezTo>
                      <a:pt x="169" y="245"/>
                      <a:pt x="163" y="243"/>
                      <a:pt x="164" y="241"/>
                    </a:cubicBezTo>
                    <a:cubicBezTo>
                      <a:pt x="164" y="240"/>
                      <a:pt x="166" y="240"/>
                      <a:pt x="167" y="239"/>
                    </a:cubicBezTo>
                    <a:cubicBezTo>
                      <a:pt x="168" y="238"/>
                      <a:pt x="167" y="235"/>
                      <a:pt x="167" y="233"/>
                    </a:cubicBezTo>
                    <a:cubicBezTo>
                      <a:pt x="162" y="235"/>
                      <a:pt x="156" y="238"/>
                      <a:pt x="151" y="239"/>
                    </a:cubicBezTo>
                    <a:cubicBezTo>
                      <a:pt x="153" y="237"/>
                      <a:pt x="149" y="236"/>
                      <a:pt x="147" y="236"/>
                    </a:cubicBezTo>
                    <a:cubicBezTo>
                      <a:pt x="142" y="235"/>
                      <a:pt x="138" y="235"/>
                      <a:pt x="134" y="233"/>
                    </a:cubicBezTo>
                    <a:cubicBezTo>
                      <a:pt x="135" y="231"/>
                      <a:pt x="129" y="229"/>
                      <a:pt x="128" y="227"/>
                    </a:cubicBezTo>
                    <a:cubicBezTo>
                      <a:pt x="127" y="225"/>
                      <a:pt x="130" y="219"/>
                      <a:pt x="132" y="217"/>
                    </a:cubicBezTo>
                    <a:cubicBezTo>
                      <a:pt x="133" y="218"/>
                      <a:pt x="132" y="220"/>
                      <a:pt x="133" y="221"/>
                    </a:cubicBezTo>
                    <a:cubicBezTo>
                      <a:pt x="135" y="223"/>
                      <a:pt x="143" y="223"/>
                      <a:pt x="146" y="224"/>
                    </a:cubicBezTo>
                    <a:cubicBezTo>
                      <a:pt x="147" y="224"/>
                      <a:pt x="150" y="225"/>
                      <a:pt x="153" y="225"/>
                    </a:cubicBezTo>
                    <a:cubicBezTo>
                      <a:pt x="153" y="225"/>
                      <a:pt x="154" y="225"/>
                      <a:pt x="154" y="225"/>
                    </a:cubicBezTo>
                    <a:cubicBezTo>
                      <a:pt x="156" y="224"/>
                      <a:pt x="160" y="219"/>
                      <a:pt x="159" y="218"/>
                    </a:cubicBezTo>
                    <a:cubicBezTo>
                      <a:pt x="159" y="217"/>
                      <a:pt x="152" y="216"/>
                      <a:pt x="151" y="215"/>
                    </a:cubicBezTo>
                    <a:cubicBezTo>
                      <a:pt x="150" y="215"/>
                      <a:pt x="150" y="215"/>
                      <a:pt x="150" y="215"/>
                    </a:cubicBezTo>
                    <a:cubicBezTo>
                      <a:pt x="149" y="215"/>
                      <a:pt x="149" y="215"/>
                      <a:pt x="148" y="216"/>
                    </a:cubicBezTo>
                    <a:cubicBezTo>
                      <a:pt x="147" y="216"/>
                      <a:pt x="147" y="216"/>
                      <a:pt x="146" y="216"/>
                    </a:cubicBezTo>
                    <a:cubicBezTo>
                      <a:pt x="145" y="216"/>
                      <a:pt x="144" y="215"/>
                      <a:pt x="143" y="215"/>
                    </a:cubicBezTo>
                    <a:cubicBezTo>
                      <a:pt x="142" y="214"/>
                      <a:pt x="142" y="213"/>
                      <a:pt x="141" y="212"/>
                    </a:cubicBezTo>
                    <a:cubicBezTo>
                      <a:pt x="139" y="211"/>
                      <a:pt x="138" y="211"/>
                      <a:pt x="137" y="211"/>
                    </a:cubicBezTo>
                    <a:cubicBezTo>
                      <a:pt x="137" y="211"/>
                      <a:pt x="136" y="211"/>
                      <a:pt x="136" y="211"/>
                    </a:cubicBezTo>
                    <a:cubicBezTo>
                      <a:pt x="136" y="211"/>
                      <a:pt x="136" y="211"/>
                      <a:pt x="136" y="211"/>
                    </a:cubicBezTo>
                    <a:cubicBezTo>
                      <a:pt x="134" y="211"/>
                      <a:pt x="133" y="210"/>
                      <a:pt x="132" y="208"/>
                    </a:cubicBezTo>
                    <a:cubicBezTo>
                      <a:pt x="131" y="207"/>
                      <a:pt x="129" y="206"/>
                      <a:pt x="128" y="206"/>
                    </a:cubicBezTo>
                    <a:moveTo>
                      <a:pt x="1682" y="0"/>
                    </a:moveTo>
                    <a:cubicBezTo>
                      <a:pt x="1506" y="16"/>
                      <a:pt x="1506" y="16"/>
                      <a:pt x="1506" y="16"/>
                    </a:cubicBezTo>
                    <a:cubicBezTo>
                      <a:pt x="1506" y="16"/>
                      <a:pt x="1506" y="16"/>
                      <a:pt x="1506" y="16"/>
                    </a:cubicBezTo>
                    <a:cubicBezTo>
                      <a:pt x="1507" y="17"/>
                      <a:pt x="1507" y="17"/>
                      <a:pt x="1507" y="17"/>
                    </a:cubicBezTo>
                    <a:cubicBezTo>
                      <a:pt x="1507" y="18"/>
                      <a:pt x="1507" y="18"/>
                      <a:pt x="1506" y="19"/>
                    </a:cubicBezTo>
                    <a:cubicBezTo>
                      <a:pt x="1506" y="19"/>
                      <a:pt x="1506" y="19"/>
                      <a:pt x="1506" y="19"/>
                    </a:cubicBezTo>
                    <a:cubicBezTo>
                      <a:pt x="1506" y="20"/>
                      <a:pt x="1506" y="20"/>
                      <a:pt x="1506" y="20"/>
                    </a:cubicBezTo>
                    <a:cubicBezTo>
                      <a:pt x="1506" y="20"/>
                      <a:pt x="1506" y="20"/>
                      <a:pt x="1506" y="20"/>
                    </a:cubicBezTo>
                    <a:cubicBezTo>
                      <a:pt x="1507" y="20"/>
                      <a:pt x="1507" y="20"/>
                      <a:pt x="1507" y="20"/>
                    </a:cubicBezTo>
                    <a:cubicBezTo>
                      <a:pt x="1508" y="20"/>
                      <a:pt x="1508" y="20"/>
                      <a:pt x="1508" y="20"/>
                    </a:cubicBezTo>
                    <a:cubicBezTo>
                      <a:pt x="1508" y="20"/>
                      <a:pt x="1508" y="20"/>
                      <a:pt x="1508" y="20"/>
                    </a:cubicBezTo>
                    <a:cubicBezTo>
                      <a:pt x="1509" y="19"/>
                      <a:pt x="1509" y="19"/>
                      <a:pt x="1509" y="19"/>
                    </a:cubicBezTo>
                    <a:cubicBezTo>
                      <a:pt x="1510" y="19"/>
                      <a:pt x="1510" y="19"/>
                      <a:pt x="1510" y="19"/>
                    </a:cubicBezTo>
                    <a:cubicBezTo>
                      <a:pt x="1510" y="19"/>
                      <a:pt x="1510" y="19"/>
                      <a:pt x="1510" y="19"/>
                    </a:cubicBezTo>
                    <a:cubicBezTo>
                      <a:pt x="1511" y="20"/>
                      <a:pt x="1511" y="20"/>
                      <a:pt x="1511" y="20"/>
                    </a:cubicBezTo>
                    <a:cubicBezTo>
                      <a:pt x="1511" y="20"/>
                      <a:pt x="1511" y="20"/>
                      <a:pt x="1511" y="20"/>
                    </a:cubicBezTo>
                    <a:cubicBezTo>
                      <a:pt x="1510" y="20"/>
                      <a:pt x="1510" y="20"/>
                      <a:pt x="1510" y="20"/>
                    </a:cubicBezTo>
                    <a:cubicBezTo>
                      <a:pt x="1510" y="21"/>
                      <a:pt x="1510" y="21"/>
                      <a:pt x="1510" y="21"/>
                    </a:cubicBezTo>
                    <a:cubicBezTo>
                      <a:pt x="1509" y="23"/>
                      <a:pt x="1508" y="23"/>
                      <a:pt x="1506" y="24"/>
                    </a:cubicBezTo>
                    <a:cubicBezTo>
                      <a:pt x="1505" y="25"/>
                      <a:pt x="1505" y="25"/>
                      <a:pt x="1505" y="25"/>
                    </a:cubicBezTo>
                    <a:cubicBezTo>
                      <a:pt x="1503" y="26"/>
                      <a:pt x="1503" y="26"/>
                      <a:pt x="1503" y="26"/>
                    </a:cubicBezTo>
                    <a:cubicBezTo>
                      <a:pt x="1501" y="27"/>
                      <a:pt x="1502" y="27"/>
                      <a:pt x="1500" y="28"/>
                    </a:cubicBezTo>
                    <a:cubicBezTo>
                      <a:pt x="1500" y="28"/>
                      <a:pt x="1500" y="28"/>
                      <a:pt x="1500" y="28"/>
                    </a:cubicBezTo>
                    <a:cubicBezTo>
                      <a:pt x="1500" y="29"/>
                      <a:pt x="1500" y="29"/>
                      <a:pt x="1500" y="29"/>
                    </a:cubicBezTo>
                    <a:cubicBezTo>
                      <a:pt x="1499" y="29"/>
                      <a:pt x="1499" y="29"/>
                      <a:pt x="1499" y="29"/>
                    </a:cubicBezTo>
                    <a:cubicBezTo>
                      <a:pt x="1499" y="29"/>
                      <a:pt x="1499" y="29"/>
                      <a:pt x="1499" y="29"/>
                    </a:cubicBezTo>
                    <a:cubicBezTo>
                      <a:pt x="1499" y="30"/>
                      <a:pt x="1499" y="30"/>
                      <a:pt x="1499" y="30"/>
                    </a:cubicBezTo>
                    <a:cubicBezTo>
                      <a:pt x="1499" y="30"/>
                      <a:pt x="1499" y="30"/>
                      <a:pt x="1499" y="30"/>
                    </a:cubicBezTo>
                    <a:cubicBezTo>
                      <a:pt x="1499" y="30"/>
                      <a:pt x="1499" y="30"/>
                      <a:pt x="1499" y="30"/>
                    </a:cubicBezTo>
                    <a:cubicBezTo>
                      <a:pt x="1500" y="30"/>
                      <a:pt x="1500" y="30"/>
                      <a:pt x="1500" y="30"/>
                    </a:cubicBezTo>
                    <a:cubicBezTo>
                      <a:pt x="1500" y="31"/>
                      <a:pt x="1500" y="31"/>
                      <a:pt x="1500" y="31"/>
                    </a:cubicBezTo>
                    <a:cubicBezTo>
                      <a:pt x="1501" y="31"/>
                      <a:pt x="1501" y="31"/>
                      <a:pt x="1501" y="31"/>
                    </a:cubicBezTo>
                    <a:cubicBezTo>
                      <a:pt x="1501" y="31"/>
                      <a:pt x="1501" y="31"/>
                      <a:pt x="1501" y="31"/>
                    </a:cubicBezTo>
                    <a:cubicBezTo>
                      <a:pt x="1502" y="31"/>
                      <a:pt x="1502" y="31"/>
                      <a:pt x="1502" y="31"/>
                    </a:cubicBezTo>
                    <a:cubicBezTo>
                      <a:pt x="1502" y="31"/>
                      <a:pt x="1502" y="31"/>
                      <a:pt x="1502" y="31"/>
                    </a:cubicBezTo>
                    <a:cubicBezTo>
                      <a:pt x="1503" y="31"/>
                      <a:pt x="1503" y="31"/>
                      <a:pt x="1503" y="31"/>
                    </a:cubicBezTo>
                    <a:cubicBezTo>
                      <a:pt x="1503" y="31"/>
                      <a:pt x="1504" y="31"/>
                      <a:pt x="1504" y="31"/>
                    </a:cubicBezTo>
                    <a:cubicBezTo>
                      <a:pt x="1504" y="31"/>
                      <a:pt x="1505" y="31"/>
                      <a:pt x="1505" y="32"/>
                    </a:cubicBezTo>
                    <a:cubicBezTo>
                      <a:pt x="1506" y="32"/>
                      <a:pt x="1506" y="32"/>
                      <a:pt x="1506" y="32"/>
                    </a:cubicBezTo>
                    <a:cubicBezTo>
                      <a:pt x="1506" y="32"/>
                      <a:pt x="1506" y="32"/>
                      <a:pt x="1506" y="32"/>
                    </a:cubicBezTo>
                    <a:cubicBezTo>
                      <a:pt x="1507" y="32"/>
                      <a:pt x="1507" y="32"/>
                      <a:pt x="1507" y="32"/>
                    </a:cubicBezTo>
                    <a:cubicBezTo>
                      <a:pt x="1506" y="33"/>
                      <a:pt x="1506" y="33"/>
                      <a:pt x="1506" y="33"/>
                    </a:cubicBezTo>
                    <a:cubicBezTo>
                      <a:pt x="1505" y="34"/>
                      <a:pt x="1505" y="34"/>
                      <a:pt x="1505" y="34"/>
                    </a:cubicBezTo>
                    <a:cubicBezTo>
                      <a:pt x="1501" y="36"/>
                      <a:pt x="1501" y="36"/>
                      <a:pt x="1501" y="36"/>
                    </a:cubicBezTo>
                    <a:cubicBezTo>
                      <a:pt x="1500" y="37"/>
                      <a:pt x="1500" y="37"/>
                      <a:pt x="1500" y="37"/>
                    </a:cubicBezTo>
                    <a:cubicBezTo>
                      <a:pt x="1499" y="37"/>
                      <a:pt x="1499" y="37"/>
                      <a:pt x="1499" y="37"/>
                    </a:cubicBezTo>
                    <a:cubicBezTo>
                      <a:pt x="1499" y="37"/>
                      <a:pt x="1499" y="37"/>
                      <a:pt x="1499" y="37"/>
                    </a:cubicBezTo>
                    <a:cubicBezTo>
                      <a:pt x="1500" y="37"/>
                      <a:pt x="1500" y="37"/>
                      <a:pt x="1500" y="37"/>
                    </a:cubicBezTo>
                    <a:cubicBezTo>
                      <a:pt x="1500" y="37"/>
                      <a:pt x="1500" y="37"/>
                      <a:pt x="1500" y="37"/>
                    </a:cubicBezTo>
                    <a:cubicBezTo>
                      <a:pt x="1501" y="38"/>
                      <a:pt x="1501" y="38"/>
                      <a:pt x="1501" y="38"/>
                    </a:cubicBezTo>
                    <a:cubicBezTo>
                      <a:pt x="1501" y="38"/>
                      <a:pt x="1501" y="38"/>
                      <a:pt x="1501" y="38"/>
                    </a:cubicBezTo>
                    <a:cubicBezTo>
                      <a:pt x="1502" y="38"/>
                      <a:pt x="1502" y="38"/>
                      <a:pt x="1502" y="38"/>
                    </a:cubicBezTo>
                    <a:cubicBezTo>
                      <a:pt x="1502" y="38"/>
                      <a:pt x="1502" y="38"/>
                      <a:pt x="1502" y="38"/>
                    </a:cubicBezTo>
                    <a:cubicBezTo>
                      <a:pt x="1503" y="38"/>
                      <a:pt x="1503" y="38"/>
                      <a:pt x="1503" y="38"/>
                    </a:cubicBezTo>
                    <a:cubicBezTo>
                      <a:pt x="1504" y="38"/>
                      <a:pt x="1504" y="38"/>
                      <a:pt x="1504" y="38"/>
                    </a:cubicBezTo>
                    <a:cubicBezTo>
                      <a:pt x="1504" y="38"/>
                      <a:pt x="1504" y="38"/>
                      <a:pt x="1504" y="38"/>
                    </a:cubicBezTo>
                    <a:cubicBezTo>
                      <a:pt x="1505" y="39"/>
                      <a:pt x="1505" y="39"/>
                      <a:pt x="1505" y="39"/>
                    </a:cubicBezTo>
                    <a:cubicBezTo>
                      <a:pt x="1505" y="39"/>
                      <a:pt x="1505" y="39"/>
                      <a:pt x="1505" y="39"/>
                    </a:cubicBezTo>
                    <a:cubicBezTo>
                      <a:pt x="1506" y="39"/>
                      <a:pt x="1506" y="39"/>
                      <a:pt x="1506" y="39"/>
                    </a:cubicBezTo>
                    <a:cubicBezTo>
                      <a:pt x="1507" y="39"/>
                      <a:pt x="1507" y="39"/>
                      <a:pt x="1507" y="39"/>
                    </a:cubicBezTo>
                    <a:cubicBezTo>
                      <a:pt x="1507" y="39"/>
                      <a:pt x="1507" y="39"/>
                      <a:pt x="1507" y="39"/>
                    </a:cubicBezTo>
                    <a:cubicBezTo>
                      <a:pt x="1507" y="40"/>
                      <a:pt x="1507" y="40"/>
                      <a:pt x="1507" y="40"/>
                    </a:cubicBezTo>
                    <a:cubicBezTo>
                      <a:pt x="1507" y="40"/>
                      <a:pt x="1507" y="40"/>
                      <a:pt x="1507" y="40"/>
                    </a:cubicBezTo>
                    <a:cubicBezTo>
                      <a:pt x="1505" y="41"/>
                      <a:pt x="1505" y="41"/>
                      <a:pt x="1505" y="41"/>
                    </a:cubicBezTo>
                    <a:cubicBezTo>
                      <a:pt x="1505" y="42"/>
                      <a:pt x="1505" y="42"/>
                      <a:pt x="1505" y="42"/>
                    </a:cubicBezTo>
                    <a:cubicBezTo>
                      <a:pt x="1505" y="42"/>
                      <a:pt x="1505" y="42"/>
                      <a:pt x="1505" y="42"/>
                    </a:cubicBezTo>
                    <a:cubicBezTo>
                      <a:pt x="1505" y="42"/>
                      <a:pt x="1505" y="42"/>
                      <a:pt x="1505" y="42"/>
                    </a:cubicBezTo>
                    <a:cubicBezTo>
                      <a:pt x="1506" y="43"/>
                      <a:pt x="1506" y="43"/>
                      <a:pt x="1506" y="43"/>
                    </a:cubicBezTo>
                    <a:cubicBezTo>
                      <a:pt x="1506" y="43"/>
                      <a:pt x="1506" y="43"/>
                      <a:pt x="1506" y="43"/>
                    </a:cubicBezTo>
                    <a:cubicBezTo>
                      <a:pt x="1507" y="43"/>
                      <a:pt x="1507" y="43"/>
                      <a:pt x="1507" y="43"/>
                    </a:cubicBezTo>
                    <a:cubicBezTo>
                      <a:pt x="1508" y="44"/>
                      <a:pt x="1511" y="43"/>
                      <a:pt x="1512" y="44"/>
                    </a:cubicBezTo>
                    <a:cubicBezTo>
                      <a:pt x="1512" y="44"/>
                      <a:pt x="1512" y="44"/>
                      <a:pt x="1512" y="44"/>
                    </a:cubicBezTo>
                    <a:cubicBezTo>
                      <a:pt x="1512" y="45"/>
                      <a:pt x="1512" y="45"/>
                      <a:pt x="1512" y="45"/>
                    </a:cubicBezTo>
                    <a:cubicBezTo>
                      <a:pt x="1514" y="46"/>
                      <a:pt x="1513" y="46"/>
                      <a:pt x="1514" y="47"/>
                    </a:cubicBezTo>
                    <a:cubicBezTo>
                      <a:pt x="1514" y="48"/>
                      <a:pt x="1514" y="48"/>
                      <a:pt x="1514" y="48"/>
                    </a:cubicBezTo>
                    <a:cubicBezTo>
                      <a:pt x="1515" y="48"/>
                      <a:pt x="1515" y="48"/>
                      <a:pt x="1515" y="48"/>
                    </a:cubicBezTo>
                    <a:cubicBezTo>
                      <a:pt x="1515" y="49"/>
                      <a:pt x="1515" y="49"/>
                      <a:pt x="1515" y="49"/>
                    </a:cubicBezTo>
                    <a:cubicBezTo>
                      <a:pt x="1516" y="53"/>
                      <a:pt x="1515" y="54"/>
                      <a:pt x="1513" y="58"/>
                    </a:cubicBezTo>
                    <a:cubicBezTo>
                      <a:pt x="1513" y="58"/>
                      <a:pt x="1513" y="58"/>
                      <a:pt x="1513" y="58"/>
                    </a:cubicBezTo>
                    <a:cubicBezTo>
                      <a:pt x="1513" y="59"/>
                      <a:pt x="1513" y="59"/>
                      <a:pt x="1513" y="59"/>
                    </a:cubicBezTo>
                    <a:cubicBezTo>
                      <a:pt x="1513" y="59"/>
                      <a:pt x="1513" y="59"/>
                      <a:pt x="1513" y="59"/>
                    </a:cubicBezTo>
                    <a:cubicBezTo>
                      <a:pt x="1513" y="59"/>
                      <a:pt x="1513" y="59"/>
                      <a:pt x="1513" y="59"/>
                    </a:cubicBezTo>
                    <a:cubicBezTo>
                      <a:pt x="1512" y="60"/>
                      <a:pt x="1512" y="60"/>
                      <a:pt x="1512" y="60"/>
                    </a:cubicBezTo>
                    <a:cubicBezTo>
                      <a:pt x="1511" y="61"/>
                      <a:pt x="1509" y="61"/>
                      <a:pt x="1510" y="63"/>
                    </a:cubicBezTo>
                    <a:cubicBezTo>
                      <a:pt x="1510" y="63"/>
                      <a:pt x="1510" y="63"/>
                      <a:pt x="1510" y="63"/>
                    </a:cubicBezTo>
                    <a:cubicBezTo>
                      <a:pt x="1510" y="63"/>
                      <a:pt x="1510" y="63"/>
                      <a:pt x="1510" y="63"/>
                    </a:cubicBezTo>
                    <a:cubicBezTo>
                      <a:pt x="1511" y="65"/>
                      <a:pt x="1510" y="66"/>
                      <a:pt x="1513" y="67"/>
                    </a:cubicBezTo>
                    <a:cubicBezTo>
                      <a:pt x="1513" y="67"/>
                      <a:pt x="1513" y="67"/>
                      <a:pt x="1513" y="67"/>
                    </a:cubicBezTo>
                    <a:cubicBezTo>
                      <a:pt x="1514" y="67"/>
                      <a:pt x="1514" y="67"/>
                      <a:pt x="1514" y="67"/>
                    </a:cubicBezTo>
                    <a:cubicBezTo>
                      <a:pt x="1514" y="67"/>
                      <a:pt x="1514" y="67"/>
                      <a:pt x="1514" y="67"/>
                    </a:cubicBezTo>
                    <a:cubicBezTo>
                      <a:pt x="1515" y="67"/>
                      <a:pt x="1515" y="67"/>
                      <a:pt x="1515" y="67"/>
                    </a:cubicBezTo>
                    <a:cubicBezTo>
                      <a:pt x="1515" y="67"/>
                      <a:pt x="1515" y="67"/>
                      <a:pt x="1515" y="67"/>
                    </a:cubicBezTo>
                    <a:cubicBezTo>
                      <a:pt x="1515" y="68"/>
                      <a:pt x="1515" y="68"/>
                      <a:pt x="1515" y="68"/>
                    </a:cubicBezTo>
                    <a:cubicBezTo>
                      <a:pt x="1515" y="68"/>
                      <a:pt x="1515" y="68"/>
                      <a:pt x="1515" y="68"/>
                    </a:cubicBezTo>
                    <a:cubicBezTo>
                      <a:pt x="1515" y="68"/>
                      <a:pt x="1515" y="68"/>
                      <a:pt x="1515" y="68"/>
                    </a:cubicBezTo>
                    <a:cubicBezTo>
                      <a:pt x="1515" y="69"/>
                      <a:pt x="1515" y="69"/>
                      <a:pt x="1515" y="69"/>
                    </a:cubicBezTo>
                    <a:cubicBezTo>
                      <a:pt x="1514" y="69"/>
                      <a:pt x="1514" y="69"/>
                      <a:pt x="1514" y="69"/>
                    </a:cubicBezTo>
                    <a:cubicBezTo>
                      <a:pt x="1514" y="69"/>
                      <a:pt x="1514" y="69"/>
                      <a:pt x="1514" y="69"/>
                    </a:cubicBezTo>
                    <a:cubicBezTo>
                      <a:pt x="1514" y="70"/>
                      <a:pt x="1514" y="70"/>
                      <a:pt x="1514" y="70"/>
                    </a:cubicBezTo>
                    <a:cubicBezTo>
                      <a:pt x="1513" y="70"/>
                      <a:pt x="1513" y="70"/>
                      <a:pt x="1513" y="70"/>
                    </a:cubicBezTo>
                    <a:cubicBezTo>
                      <a:pt x="1513" y="71"/>
                      <a:pt x="1513" y="71"/>
                      <a:pt x="1513" y="71"/>
                    </a:cubicBezTo>
                    <a:cubicBezTo>
                      <a:pt x="1512" y="71"/>
                      <a:pt x="1512" y="71"/>
                      <a:pt x="1512" y="71"/>
                    </a:cubicBezTo>
                    <a:cubicBezTo>
                      <a:pt x="1512" y="72"/>
                      <a:pt x="1512" y="72"/>
                      <a:pt x="1512" y="72"/>
                    </a:cubicBezTo>
                    <a:cubicBezTo>
                      <a:pt x="1512" y="73"/>
                      <a:pt x="1514" y="74"/>
                      <a:pt x="1515" y="74"/>
                    </a:cubicBezTo>
                    <a:cubicBezTo>
                      <a:pt x="1516" y="75"/>
                      <a:pt x="1516" y="75"/>
                      <a:pt x="1516" y="75"/>
                    </a:cubicBezTo>
                    <a:cubicBezTo>
                      <a:pt x="1516" y="76"/>
                      <a:pt x="1516" y="76"/>
                      <a:pt x="1516" y="76"/>
                    </a:cubicBezTo>
                    <a:cubicBezTo>
                      <a:pt x="1520" y="79"/>
                      <a:pt x="1520" y="79"/>
                      <a:pt x="1520" y="79"/>
                    </a:cubicBezTo>
                    <a:cubicBezTo>
                      <a:pt x="1554" y="86"/>
                      <a:pt x="1554" y="86"/>
                      <a:pt x="1554" y="86"/>
                    </a:cubicBezTo>
                    <a:cubicBezTo>
                      <a:pt x="1555" y="94"/>
                      <a:pt x="1555" y="94"/>
                      <a:pt x="1555" y="94"/>
                    </a:cubicBezTo>
                    <a:cubicBezTo>
                      <a:pt x="1554" y="94"/>
                      <a:pt x="1554" y="94"/>
                      <a:pt x="1554" y="94"/>
                    </a:cubicBezTo>
                    <a:cubicBezTo>
                      <a:pt x="1556" y="97"/>
                      <a:pt x="1556" y="97"/>
                      <a:pt x="1556" y="97"/>
                    </a:cubicBezTo>
                    <a:cubicBezTo>
                      <a:pt x="1556" y="98"/>
                      <a:pt x="1556" y="98"/>
                      <a:pt x="1556" y="98"/>
                    </a:cubicBezTo>
                    <a:cubicBezTo>
                      <a:pt x="1568" y="107"/>
                      <a:pt x="1568" y="107"/>
                      <a:pt x="1568" y="107"/>
                    </a:cubicBezTo>
                    <a:cubicBezTo>
                      <a:pt x="1568" y="113"/>
                      <a:pt x="1568" y="113"/>
                      <a:pt x="1568" y="113"/>
                    </a:cubicBezTo>
                    <a:cubicBezTo>
                      <a:pt x="1559" y="115"/>
                      <a:pt x="1559" y="115"/>
                      <a:pt x="1559" y="115"/>
                    </a:cubicBezTo>
                    <a:cubicBezTo>
                      <a:pt x="1558" y="115"/>
                      <a:pt x="1558" y="115"/>
                      <a:pt x="1558" y="115"/>
                    </a:cubicBezTo>
                    <a:cubicBezTo>
                      <a:pt x="1555" y="116"/>
                      <a:pt x="1553" y="117"/>
                      <a:pt x="1550" y="117"/>
                    </a:cubicBezTo>
                    <a:cubicBezTo>
                      <a:pt x="1550" y="117"/>
                      <a:pt x="1549" y="117"/>
                      <a:pt x="1549" y="117"/>
                    </a:cubicBezTo>
                    <a:cubicBezTo>
                      <a:pt x="1549" y="117"/>
                      <a:pt x="1549" y="117"/>
                      <a:pt x="1549" y="117"/>
                    </a:cubicBezTo>
                    <a:cubicBezTo>
                      <a:pt x="1548" y="117"/>
                      <a:pt x="1548" y="117"/>
                      <a:pt x="1548" y="117"/>
                    </a:cubicBezTo>
                    <a:cubicBezTo>
                      <a:pt x="1548" y="116"/>
                      <a:pt x="1548" y="116"/>
                      <a:pt x="1548" y="116"/>
                    </a:cubicBezTo>
                    <a:cubicBezTo>
                      <a:pt x="1547" y="116"/>
                      <a:pt x="1546" y="116"/>
                      <a:pt x="1545" y="116"/>
                    </a:cubicBezTo>
                    <a:cubicBezTo>
                      <a:pt x="1545" y="116"/>
                      <a:pt x="1544" y="116"/>
                      <a:pt x="1544" y="116"/>
                    </a:cubicBezTo>
                    <a:cubicBezTo>
                      <a:pt x="1544" y="116"/>
                      <a:pt x="1544" y="116"/>
                      <a:pt x="1544" y="116"/>
                    </a:cubicBezTo>
                    <a:cubicBezTo>
                      <a:pt x="1543" y="116"/>
                      <a:pt x="1543" y="116"/>
                      <a:pt x="1543" y="116"/>
                    </a:cubicBezTo>
                    <a:cubicBezTo>
                      <a:pt x="1543" y="117"/>
                      <a:pt x="1543" y="117"/>
                      <a:pt x="1543" y="117"/>
                    </a:cubicBezTo>
                    <a:cubicBezTo>
                      <a:pt x="1542" y="117"/>
                      <a:pt x="1542" y="117"/>
                      <a:pt x="1542" y="117"/>
                    </a:cubicBezTo>
                    <a:cubicBezTo>
                      <a:pt x="1541" y="117"/>
                      <a:pt x="1541" y="117"/>
                      <a:pt x="1541" y="117"/>
                    </a:cubicBezTo>
                    <a:cubicBezTo>
                      <a:pt x="1541" y="117"/>
                      <a:pt x="1541" y="117"/>
                      <a:pt x="1541" y="117"/>
                    </a:cubicBezTo>
                    <a:cubicBezTo>
                      <a:pt x="1538" y="115"/>
                      <a:pt x="1538" y="115"/>
                      <a:pt x="1538" y="115"/>
                    </a:cubicBezTo>
                    <a:cubicBezTo>
                      <a:pt x="1533" y="111"/>
                      <a:pt x="1533" y="111"/>
                      <a:pt x="1533" y="111"/>
                    </a:cubicBezTo>
                    <a:cubicBezTo>
                      <a:pt x="1521" y="102"/>
                      <a:pt x="1521" y="102"/>
                      <a:pt x="1521" y="102"/>
                    </a:cubicBezTo>
                    <a:cubicBezTo>
                      <a:pt x="1517" y="99"/>
                      <a:pt x="1517" y="99"/>
                      <a:pt x="1517" y="99"/>
                    </a:cubicBezTo>
                    <a:cubicBezTo>
                      <a:pt x="1516" y="97"/>
                      <a:pt x="1516" y="97"/>
                      <a:pt x="1516" y="97"/>
                    </a:cubicBezTo>
                    <a:cubicBezTo>
                      <a:pt x="1516" y="97"/>
                      <a:pt x="1516" y="97"/>
                      <a:pt x="1516" y="97"/>
                    </a:cubicBezTo>
                    <a:cubicBezTo>
                      <a:pt x="1514" y="96"/>
                      <a:pt x="1514" y="96"/>
                      <a:pt x="1514" y="96"/>
                    </a:cubicBezTo>
                    <a:cubicBezTo>
                      <a:pt x="1512" y="95"/>
                      <a:pt x="1512" y="95"/>
                      <a:pt x="1512" y="95"/>
                    </a:cubicBezTo>
                    <a:cubicBezTo>
                      <a:pt x="1492" y="89"/>
                      <a:pt x="1492" y="89"/>
                      <a:pt x="1492" y="89"/>
                    </a:cubicBezTo>
                    <a:cubicBezTo>
                      <a:pt x="1449" y="81"/>
                      <a:pt x="1449" y="81"/>
                      <a:pt x="1449" y="81"/>
                    </a:cubicBezTo>
                    <a:cubicBezTo>
                      <a:pt x="1449" y="81"/>
                      <a:pt x="1449" y="81"/>
                      <a:pt x="1449" y="81"/>
                    </a:cubicBezTo>
                    <a:cubicBezTo>
                      <a:pt x="1419" y="90"/>
                      <a:pt x="1419" y="90"/>
                      <a:pt x="1419" y="90"/>
                    </a:cubicBezTo>
                    <a:cubicBezTo>
                      <a:pt x="1419" y="91"/>
                      <a:pt x="1419" y="91"/>
                      <a:pt x="1419" y="91"/>
                    </a:cubicBezTo>
                    <a:cubicBezTo>
                      <a:pt x="1418" y="94"/>
                      <a:pt x="1418" y="94"/>
                      <a:pt x="1418" y="94"/>
                    </a:cubicBezTo>
                    <a:cubicBezTo>
                      <a:pt x="1417" y="95"/>
                      <a:pt x="1417" y="95"/>
                      <a:pt x="1417" y="95"/>
                    </a:cubicBezTo>
                    <a:cubicBezTo>
                      <a:pt x="1417" y="95"/>
                      <a:pt x="1417" y="95"/>
                      <a:pt x="1417" y="95"/>
                    </a:cubicBezTo>
                    <a:cubicBezTo>
                      <a:pt x="1417" y="96"/>
                      <a:pt x="1417" y="96"/>
                      <a:pt x="1417" y="96"/>
                    </a:cubicBezTo>
                    <a:cubicBezTo>
                      <a:pt x="1417" y="96"/>
                      <a:pt x="1417" y="96"/>
                      <a:pt x="1417" y="96"/>
                    </a:cubicBezTo>
                    <a:cubicBezTo>
                      <a:pt x="1418" y="96"/>
                      <a:pt x="1418" y="96"/>
                      <a:pt x="1418" y="96"/>
                    </a:cubicBezTo>
                    <a:cubicBezTo>
                      <a:pt x="1418" y="97"/>
                      <a:pt x="1418" y="97"/>
                      <a:pt x="1418" y="97"/>
                    </a:cubicBezTo>
                    <a:cubicBezTo>
                      <a:pt x="1419" y="97"/>
                      <a:pt x="1419" y="97"/>
                      <a:pt x="1419" y="97"/>
                    </a:cubicBezTo>
                    <a:cubicBezTo>
                      <a:pt x="1419" y="97"/>
                      <a:pt x="1419" y="97"/>
                      <a:pt x="1419" y="97"/>
                    </a:cubicBezTo>
                    <a:cubicBezTo>
                      <a:pt x="1420" y="97"/>
                      <a:pt x="1420" y="97"/>
                      <a:pt x="1420" y="97"/>
                    </a:cubicBezTo>
                    <a:cubicBezTo>
                      <a:pt x="1420" y="97"/>
                      <a:pt x="1420" y="97"/>
                      <a:pt x="1420" y="97"/>
                    </a:cubicBezTo>
                    <a:cubicBezTo>
                      <a:pt x="1421" y="97"/>
                      <a:pt x="1421" y="97"/>
                      <a:pt x="1421" y="97"/>
                    </a:cubicBezTo>
                    <a:cubicBezTo>
                      <a:pt x="1422" y="97"/>
                      <a:pt x="1422" y="97"/>
                      <a:pt x="1422" y="97"/>
                    </a:cubicBezTo>
                    <a:cubicBezTo>
                      <a:pt x="1424" y="97"/>
                      <a:pt x="1424" y="96"/>
                      <a:pt x="1426" y="95"/>
                    </a:cubicBezTo>
                    <a:cubicBezTo>
                      <a:pt x="1427" y="95"/>
                      <a:pt x="1427" y="95"/>
                      <a:pt x="1427" y="95"/>
                    </a:cubicBezTo>
                    <a:cubicBezTo>
                      <a:pt x="1427" y="95"/>
                      <a:pt x="1427" y="95"/>
                      <a:pt x="1427" y="95"/>
                    </a:cubicBezTo>
                    <a:cubicBezTo>
                      <a:pt x="1428" y="95"/>
                      <a:pt x="1428" y="95"/>
                      <a:pt x="1428" y="95"/>
                    </a:cubicBezTo>
                    <a:cubicBezTo>
                      <a:pt x="1429" y="95"/>
                      <a:pt x="1429" y="95"/>
                      <a:pt x="1429" y="95"/>
                    </a:cubicBezTo>
                    <a:cubicBezTo>
                      <a:pt x="1429" y="95"/>
                      <a:pt x="1431" y="94"/>
                      <a:pt x="1432" y="94"/>
                    </a:cubicBezTo>
                    <a:cubicBezTo>
                      <a:pt x="1432" y="94"/>
                      <a:pt x="1433" y="95"/>
                      <a:pt x="1434" y="95"/>
                    </a:cubicBezTo>
                    <a:cubicBezTo>
                      <a:pt x="1434" y="95"/>
                      <a:pt x="1434" y="95"/>
                      <a:pt x="1434" y="95"/>
                    </a:cubicBezTo>
                    <a:cubicBezTo>
                      <a:pt x="1435" y="95"/>
                      <a:pt x="1435" y="95"/>
                      <a:pt x="1435" y="95"/>
                    </a:cubicBezTo>
                    <a:cubicBezTo>
                      <a:pt x="1436" y="96"/>
                      <a:pt x="1437" y="97"/>
                      <a:pt x="1438" y="98"/>
                    </a:cubicBezTo>
                    <a:cubicBezTo>
                      <a:pt x="1438" y="99"/>
                      <a:pt x="1438" y="99"/>
                      <a:pt x="1438" y="99"/>
                    </a:cubicBezTo>
                    <a:cubicBezTo>
                      <a:pt x="1438" y="100"/>
                      <a:pt x="1438" y="100"/>
                      <a:pt x="1438" y="100"/>
                    </a:cubicBezTo>
                    <a:cubicBezTo>
                      <a:pt x="1438" y="105"/>
                      <a:pt x="1438" y="105"/>
                      <a:pt x="1438" y="105"/>
                    </a:cubicBezTo>
                    <a:cubicBezTo>
                      <a:pt x="1438" y="106"/>
                      <a:pt x="1438" y="106"/>
                      <a:pt x="1438" y="106"/>
                    </a:cubicBezTo>
                    <a:cubicBezTo>
                      <a:pt x="1437" y="107"/>
                      <a:pt x="1437" y="107"/>
                      <a:pt x="1437" y="107"/>
                    </a:cubicBezTo>
                    <a:cubicBezTo>
                      <a:pt x="1434" y="108"/>
                      <a:pt x="1429" y="110"/>
                      <a:pt x="1426" y="110"/>
                    </a:cubicBezTo>
                    <a:cubicBezTo>
                      <a:pt x="1426" y="110"/>
                      <a:pt x="1426" y="110"/>
                      <a:pt x="1426" y="110"/>
                    </a:cubicBezTo>
                    <a:cubicBezTo>
                      <a:pt x="1425" y="110"/>
                      <a:pt x="1425" y="110"/>
                      <a:pt x="1425" y="110"/>
                    </a:cubicBezTo>
                    <a:cubicBezTo>
                      <a:pt x="1425" y="110"/>
                      <a:pt x="1425" y="110"/>
                      <a:pt x="1425" y="110"/>
                    </a:cubicBezTo>
                    <a:cubicBezTo>
                      <a:pt x="1424" y="110"/>
                      <a:pt x="1424" y="110"/>
                      <a:pt x="1424" y="110"/>
                    </a:cubicBezTo>
                    <a:cubicBezTo>
                      <a:pt x="1423" y="110"/>
                      <a:pt x="1421" y="109"/>
                      <a:pt x="1419" y="108"/>
                    </a:cubicBezTo>
                    <a:cubicBezTo>
                      <a:pt x="1419" y="108"/>
                      <a:pt x="1419" y="108"/>
                      <a:pt x="1419" y="108"/>
                    </a:cubicBezTo>
                    <a:cubicBezTo>
                      <a:pt x="1419" y="107"/>
                      <a:pt x="1419" y="107"/>
                      <a:pt x="1419" y="107"/>
                    </a:cubicBezTo>
                    <a:cubicBezTo>
                      <a:pt x="1417" y="105"/>
                      <a:pt x="1418" y="106"/>
                      <a:pt x="1415" y="104"/>
                    </a:cubicBezTo>
                    <a:cubicBezTo>
                      <a:pt x="1414" y="104"/>
                      <a:pt x="1414" y="104"/>
                      <a:pt x="1414" y="104"/>
                    </a:cubicBezTo>
                    <a:cubicBezTo>
                      <a:pt x="1413" y="103"/>
                      <a:pt x="1413" y="103"/>
                      <a:pt x="1413" y="103"/>
                    </a:cubicBezTo>
                    <a:cubicBezTo>
                      <a:pt x="1409" y="101"/>
                      <a:pt x="1409" y="101"/>
                      <a:pt x="1409" y="101"/>
                    </a:cubicBezTo>
                    <a:cubicBezTo>
                      <a:pt x="1378" y="105"/>
                      <a:pt x="1378" y="105"/>
                      <a:pt x="1378" y="105"/>
                    </a:cubicBezTo>
                    <a:cubicBezTo>
                      <a:pt x="1378" y="105"/>
                      <a:pt x="1378" y="105"/>
                      <a:pt x="1378" y="105"/>
                    </a:cubicBezTo>
                    <a:cubicBezTo>
                      <a:pt x="1378" y="106"/>
                      <a:pt x="1378" y="106"/>
                      <a:pt x="1378" y="106"/>
                    </a:cubicBezTo>
                    <a:cubicBezTo>
                      <a:pt x="1378" y="106"/>
                      <a:pt x="1378" y="106"/>
                      <a:pt x="1378" y="106"/>
                    </a:cubicBezTo>
                    <a:cubicBezTo>
                      <a:pt x="1378" y="106"/>
                      <a:pt x="1378" y="106"/>
                      <a:pt x="1378" y="106"/>
                    </a:cubicBezTo>
                    <a:cubicBezTo>
                      <a:pt x="1379" y="106"/>
                      <a:pt x="1379" y="106"/>
                      <a:pt x="1379" y="106"/>
                    </a:cubicBezTo>
                    <a:cubicBezTo>
                      <a:pt x="1379" y="107"/>
                      <a:pt x="1379" y="107"/>
                      <a:pt x="1379" y="107"/>
                    </a:cubicBezTo>
                    <a:cubicBezTo>
                      <a:pt x="1379" y="107"/>
                      <a:pt x="1379" y="107"/>
                      <a:pt x="1379" y="107"/>
                    </a:cubicBezTo>
                    <a:cubicBezTo>
                      <a:pt x="1380" y="107"/>
                      <a:pt x="1380" y="107"/>
                      <a:pt x="1380" y="107"/>
                    </a:cubicBezTo>
                    <a:cubicBezTo>
                      <a:pt x="1380" y="107"/>
                      <a:pt x="1380" y="107"/>
                      <a:pt x="1380" y="107"/>
                    </a:cubicBezTo>
                    <a:cubicBezTo>
                      <a:pt x="1381" y="108"/>
                      <a:pt x="1381" y="108"/>
                      <a:pt x="1381" y="108"/>
                    </a:cubicBezTo>
                    <a:cubicBezTo>
                      <a:pt x="1381" y="109"/>
                      <a:pt x="1381" y="110"/>
                      <a:pt x="1382" y="111"/>
                    </a:cubicBezTo>
                    <a:cubicBezTo>
                      <a:pt x="1382" y="112"/>
                      <a:pt x="1382" y="112"/>
                      <a:pt x="1382" y="112"/>
                    </a:cubicBezTo>
                    <a:cubicBezTo>
                      <a:pt x="1382" y="112"/>
                      <a:pt x="1382" y="112"/>
                      <a:pt x="1382" y="112"/>
                    </a:cubicBezTo>
                    <a:cubicBezTo>
                      <a:pt x="1382" y="112"/>
                      <a:pt x="1382" y="112"/>
                      <a:pt x="1382" y="112"/>
                    </a:cubicBezTo>
                    <a:cubicBezTo>
                      <a:pt x="1382" y="113"/>
                      <a:pt x="1382" y="113"/>
                      <a:pt x="1382" y="113"/>
                    </a:cubicBezTo>
                    <a:cubicBezTo>
                      <a:pt x="1382" y="113"/>
                      <a:pt x="1383" y="114"/>
                      <a:pt x="1383" y="115"/>
                    </a:cubicBezTo>
                    <a:cubicBezTo>
                      <a:pt x="1383" y="116"/>
                      <a:pt x="1383" y="116"/>
                      <a:pt x="1383" y="116"/>
                    </a:cubicBezTo>
                    <a:cubicBezTo>
                      <a:pt x="1383" y="116"/>
                      <a:pt x="1383" y="116"/>
                      <a:pt x="1383" y="116"/>
                    </a:cubicBezTo>
                    <a:cubicBezTo>
                      <a:pt x="1385" y="118"/>
                      <a:pt x="1384" y="122"/>
                      <a:pt x="1386" y="124"/>
                    </a:cubicBezTo>
                    <a:cubicBezTo>
                      <a:pt x="1387" y="124"/>
                      <a:pt x="1387" y="124"/>
                      <a:pt x="1387" y="124"/>
                    </a:cubicBezTo>
                    <a:cubicBezTo>
                      <a:pt x="1388" y="124"/>
                      <a:pt x="1388" y="124"/>
                      <a:pt x="1388" y="124"/>
                    </a:cubicBezTo>
                    <a:cubicBezTo>
                      <a:pt x="1388" y="124"/>
                      <a:pt x="1388" y="124"/>
                      <a:pt x="1388" y="124"/>
                    </a:cubicBezTo>
                    <a:cubicBezTo>
                      <a:pt x="1389" y="124"/>
                      <a:pt x="1389" y="124"/>
                      <a:pt x="1389" y="124"/>
                    </a:cubicBezTo>
                    <a:cubicBezTo>
                      <a:pt x="1389" y="124"/>
                      <a:pt x="1389" y="124"/>
                      <a:pt x="1389" y="124"/>
                    </a:cubicBezTo>
                    <a:cubicBezTo>
                      <a:pt x="1397" y="125"/>
                      <a:pt x="1395" y="129"/>
                      <a:pt x="1403" y="130"/>
                    </a:cubicBezTo>
                    <a:cubicBezTo>
                      <a:pt x="1404" y="131"/>
                      <a:pt x="1404" y="131"/>
                      <a:pt x="1404" y="131"/>
                    </a:cubicBezTo>
                    <a:cubicBezTo>
                      <a:pt x="1405" y="131"/>
                      <a:pt x="1405" y="131"/>
                      <a:pt x="1405" y="131"/>
                    </a:cubicBezTo>
                    <a:cubicBezTo>
                      <a:pt x="1405" y="131"/>
                      <a:pt x="1406" y="131"/>
                      <a:pt x="1406" y="131"/>
                    </a:cubicBezTo>
                    <a:cubicBezTo>
                      <a:pt x="1407" y="131"/>
                      <a:pt x="1407" y="131"/>
                      <a:pt x="1407" y="131"/>
                    </a:cubicBezTo>
                    <a:cubicBezTo>
                      <a:pt x="1407" y="131"/>
                      <a:pt x="1407" y="131"/>
                      <a:pt x="1407" y="131"/>
                    </a:cubicBezTo>
                    <a:cubicBezTo>
                      <a:pt x="1408" y="131"/>
                      <a:pt x="1408" y="131"/>
                      <a:pt x="1409" y="132"/>
                    </a:cubicBezTo>
                    <a:cubicBezTo>
                      <a:pt x="1411" y="133"/>
                      <a:pt x="1411" y="133"/>
                      <a:pt x="1411" y="133"/>
                    </a:cubicBezTo>
                    <a:cubicBezTo>
                      <a:pt x="1412" y="134"/>
                      <a:pt x="1412" y="134"/>
                      <a:pt x="1412" y="134"/>
                    </a:cubicBezTo>
                    <a:cubicBezTo>
                      <a:pt x="1414" y="135"/>
                      <a:pt x="1415" y="136"/>
                      <a:pt x="1417" y="136"/>
                    </a:cubicBezTo>
                    <a:cubicBezTo>
                      <a:pt x="1418" y="137"/>
                      <a:pt x="1418" y="137"/>
                      <a:pt x="1418" y="137"/>
                    </a:cubicBezTo>
                    <a:cubicBezTo>
                      <a:pt x="1418" y="137"/>
                      <a:pt x="1418" y="137"/>
                      <a:pt x="1418" y="137"/>
                    </a:cubicBezTo>
                    <a:cubicBezTo>
                      <a:pt x="1419" y="137"/>
                      <a:pt x="1419" y="137"/>
                      <a:pt x="1419" y="137"/>
                    </a:cubicBezTo>
                    <a:cubicBezTo>
                      <a:pt x="1419" y="137"/>
                      <a:pt x="1419" y="137"/>
                      <a:pt x="1419" y="137"/>
                    </a:cubicBezTo>
                    <a:cubicBezTo>
                      <a:pt x="1419" y="137"/>
                      <a:pt x="1419" y="137"/>
                      <a:pt x="1419" y="137"/>
                    </a:cubicBezTo>
                    <a:cubicBezTo>
                      <a:pt x="1419" y="136"/>
                      <a:pt x="1419" y="136"/>
                      <a:pt x="1419" y="136"/>
                    </a:cubicBezTo>
                    <a:cubicBezTo>
                      <a:pt x="1419" y="136"/>
                      <a:pt x="1419" y="136"/>
                      <a:pt x="1419" y="136"/>
                    </a:cubicBezTo>
                    <a:cubicBezTo>
                      <a:pt x="1420" y="136"/>
                      <a:pt x="1420" y="136"/>
                      <a:pt x="1420" y="136"/>
                    </a:cubicBezTo>
                    <a:cubicBezTo>
                      <a:pt x="1421" y="136"/>
                      <a:pt x="1422" y="137"/>
                      <a:pt x="1423" y="137"/>
                    </a:cubicBezTo>
                    <a:cubicBezTo>
                      <a:pt x="1424" y="138"/>
                      <a:pt x="1425" y="139"/>
                      <a:pt x="1427" y="139"/>
                    </a:cubicBezTo>
                    <a:cubicBezTo>
                      <a:pt x="1427" y="139"/>
                      <a:pt x="1427" y="138"/>
                      <a:pt x="1427" y="138"/>
                    </a:cubicBezTo>
                    <a:cubicBezTo>
                      <a:pt x="1428" y="138"/>
                      <a:pt x="1428" y="138"/>
                      <a:pt x="1428" y="138"/>
                    </a:cubicBezTo>
                    <a:cubicBezTo>
                      <a:pt x="1428" y="138"/>
                      <a:pt x="1428" y="138"/>
                      <a:pt x="1428" y="138"/>
                    </a:cubicBezTo>
                    <a:cubicBezTo>
                      <a:pt x="1428" y="138"/>
                      <a:pt x="1428" y="138"/>
                      <a:pt x="1428" y="138"/>
                    </a:cubicBezTo>
                    <a:cubicBezTo>
                      <a:pt x="1427" y="137"/>
                      <a:pt x="1428" y="136"/>
                      <a:pt x="1429" y="136"/>
                    </a:cubicBezTo>
                    <a:cubicBezTo>
                      <a:pt x="1429" y="136"/>
                      <a:pt x="1429" y="136"/>
                      <a:pt x="1429" y="136"/>
                    </a:cubicBezTo>
                    <a:cubicBezTo>
                      <a:pt x="1430" y="136"/>
                      <a:pt x="1430" y="136"/>
                      <a:pt x="1430" y="136"/>
                    </a:cubicBezTo>
                    <a:cubicBezTo>
                      <a:pt x="1430" y="136"/>
                      <a:pt x="1430" y="136"/>
                      <a:pt x="1430" y="136"/>
                    </a:cubicBezTo>
                    <a:cubicBezTo>
                      <a:pt x="1431" y="136"/>
                      <a:pt x="1431" y="136"/>
                      <a:pt x="1431" y="136"/>
                    </a:cubicBezTo>
                    <a:cubicBezTo>
                      <a:pt x="1431" y="136"/>
                      <a:pt x="1431" y="136"/>
                      <a:pt x="1431" y="136"/>
                    </a:cubicBezTo>
                    <a:cubicBezTo>
                      <a:pt x="1432" y="135"/>
                      <a:pt x="1432" y="135"/>
                      <a:pt x="1432" y="135"/>
                    </a:cubicBezTo>
                    <a:cubicBezTo>
                      <a:pt x="1432" y="135"/>
                      <a:pt x="1432" y="135"/>
                      <a:pt x="1432" y="135"/>
                    </a:cubicBezTo>
                    <a:cubicBezTo>
                      <a:pt x="1434" y="135"/>
                      <a:pt x="1434" y="135"/>
                      <a:pt x="1434" y="135"/>
                    </a:cubicBezTo>
                    <a:cubicBezTo>
                      <a:pt x="1435" y="135"/>
                      <a:pt x="1435" y="135"/>
                      <a:pt x="1435" y="135"/>
                    </a:cubicBezTo>
                    <a:cubicBezTo>
                      <a:pt x="1435" y="135"/>
                      <a:pt x="1435" y="135"/>
                      <a:pt x="1435" y="135"/>
                    </a:cubicBezTo>
                    <a:cubicBezTo>
                      <a:pt x="1435" y="135"/>
                      <a:pt x="1435" y="135"/>
                      <a:pt x="1435" y="135"/>
                    </a:cubicBezTo>
                    <a:cubicBezTo>
                      <a:pt x="1435" y="136"/>
                      <a:pt x="1435" y="136"/>
                      <a:pt x="1435" y="136"/>
                    </a:cubicBezTo>
                    <a:cubicBezTo>
                      <a:pt x="1434" y="137"/>
                      <a:pt x="1434" y="137"/>
                      <a:pt x="1434" y="137"/>
                    </a:cubicBezTo>
                    <a:cubicBezTo>
                      <a:pt x="1434" y="139"/>
                      <a:pt x="1434" y="139"/>
                      <a:pt x="1434" y="139"/>
                    </a:cubicBezTo>
                    <a:cubicBezTo>
                      <a:pt x="1434" y="140"/>
                      <a:pt x="1434" y="140"/>
                      <a:pt x="1434" y="140"/>
                    </a:cubicBezTo>
                    <a:cubicBezTo>
                      <a:pt x="1434" y="140"/>
                      <a:pt x="1434" y="140"/>
                      <a:pt x="1434" y="140"/>
                    </a:cubicBezTo>
                    <a:cubicBezTo>
                      <a:pt x="1434" y="140"/>
                      <a:pt x="1434" y="140"/>
                      <a:pt x="1434" y="140"/>
                    </a:cubicBezTo>
                    <a:cubicBezTo>
                      <a:pt x="1434" y="139"/>
                      <a:pt x="1434" y="139"/>
                      <a:pt x="1434" y="139"/>
                    </a:cubicBezTo>
                    <a:cubicBezTo>
                      <a:pt x="1435" y="139"/>
                      <a:pt x="1435" y="139"/>
                      <a:pt x="1435" y="139"/>
                    </a:cubicBezTo>
                    <a:cubicBezTo>
                      <a:pt x="1435" y="139"/>
                      <a:pt x="1435" y="139"/>
                      <a:pt x="1435" y="139"/>
                    </a:cubicBezTo>
                    <a:cubicBezTo>
                      <a:pt x="1435" y="139"/>
                      <a:pt x="1435" y="139"/>
                      <a:pt x="1435" y="139"/>
                    </a:cubicBezTo>
                    <a:cubicBezTo>
                      <a:pt x="1436" y="139"/>
                      <a:pt x="1436" y="139"/>
                      <a:pt x="1436" y="139"/>
                    </a:cubicBezTo>
                    <a:cubicBezTo>
                      <a:pt x="1437" y="139"/>
                      <a:pt x="1437" y="139"/>
                      <a:pt x="1437" y="139"/>
                    </a:cubicBezTo>
                    <a:cubicBezTo>
                      <a:pt x="1438" y="139"/>
                      <a:pt x="1438" y="139"/>
                      <a:pt x="1438" y="139"/>
                    </a:cubicBezTo>
                    <a:cubicBezTo>
                      <a:pt x="1442" y="140"/>
                      <a:pt x="1442" y="140"/>
                      <a:pt x="1442" y="140"/>
                    </a:cubicBezTo>
                    <a:cubicBezTo>
                      <a:pt x="1443" y="141"/>
                      <a:pt x="1443" y="141"/>
                      <a:pt x="1443" y="141"/>
                    </a:cubicBezTo>
                    <a:cubicBezTo>
                      <a:pt x="1444" y="141"/>
                      <a:pt x="1444" y="141"/>
                      <a:pt x="1444" y="141"/>
                    </a:cubicBezTo>
                    <a:cubicBezTo>
                      <a:pt x="1444" y="141"/>
                      <a:pt x="1444" y="141"/>
                      <a:pt x="1444" y="141"/>
                    </a:cubicBezTo>
                    <a:cubicBezTo>
                      <a:pt x="1444" y="142"/>
                      <a:pt x="1444" y="142"/>
                      <a:pt x="1444" y="142"/>
                    </a:cubicBezTo>
                    <a:cubicBezTo>
                      <a:pt x="1444" y="143"/>
                      <a:pt x="1444" y="143"/>
                      <a:pt x="1444" y="143"/>
                    </a:cubicBezTo>
                    <a:cubicBezTo>
                      <a:pt x="1442" y="149"/>
                      <a:pt x="1442" y="147"/>
                      <a:pt x="1446" y="151"/>
                    </a:cubicBezTo>
                    <a:cubicBezTo>
                      <a:pt x="1446" y="151"/>
                      <a:pt x="1446" y="151"/>
                      <a:pt x="1446" y="151"/>
                    </a:cubicBezTo>
                    <a:cubicBezTo>
                      <a:pt x="1447" y="150"/>
                      <a:pt x="1447" y="150"/>
                      <a:pt x="1447" y="150"/>
                    </a:cubicBezTo>
                    <a:cubicBezTo>
                      <a:pt x="1447" y="149"/>
                      <a:pt x="1447" y="149"/>
                      <a:pt x="1447" y="149"/>
                    </a:cubicBezTo>
                    <a:cubicBezTo>
                      <a:pt x="1449" y="149"/>
                      <a:pt x="1449" y="149"/>
                      <a:pt x="1449" y="149"/>
                    </a:cubicBezTo>
                    <a:cubicBezTo>
                      <a:pt x="1449" y="149"/>
                      <a:pt x="1449" y="149"/>
                      <a:pt x="1449" y="149"/>
                    </a:cubicBezTo>
                    <a:cubicBezTo>
                      <a:pt x="1450" y="149"/>
                      <a:pt x="1450" y="149"/>
                      <a:pt x="1450" y="149"/>
                    </a:cubicBezTo>
                    <a:cubicBezTo>
                      <a:pt x="1450" y="150"/>
                      <a:pt x="1450" y="150"/>
                      <a:pt x="1450" y="150"/>
                    </a:cubicBezTo>
                    <a:cubicBezTo>
                      <a:pt x="1451" y="151"/>
                      <a:pt x="1451" y="151"/>
                      <a:pt x="1451" y="151"/>
                    </a:cubicBezTo>
                    <a:cubicBezTo>
                      <a:pt x="1450" y="151"/>
                      <a:pt x="1450" y="151"/>
                      <a:pt x="1450" y="151"/>
                    </a:cubicBezTo>
                    <a:cubicBezTo>
                      <a:pt x="1450" y="151"/>
                      <a:pt x="1450" y="151"/>
                      <a:pt x="1450" y="151"/>
                    </a:cubicBezTo>
                    <a:cubicBezTo>
                      <a:pt x="1450" y="151"/>
                      <a:pt x="1450" y="151"/>
                      <a:pt x="1450" y="151"/>
                    </a:cubicBezTo>
                    <a:cubicBezTo>
                      <a:pt x="1449" y="152"/>
                      <a:pt x="1449" y="152"/>
                      <a:pt x="1449" y="152"/>
                    </a:cubicBezTo>
                    <a:cubicBezTo>
                      <a:pt x="1449" y="152"/>
                      <a:pt x="1449" y="152"/>
                      <a:pt x="1449" y="152"/>
                    </a:cubicBezTo>
                    <a:cubicBezTo>
                      <a:pt x="1449" y="153"/>
                      <a:pt x="1449" y="153"/>
                      <a:pt x="1449" y="153"/>
                    </a:cubicBezTo>
                    <a:cubicBezTo>
                      <a:pt x="1448" y="154"/>
                      <a:pt x="1448" y="154"/>
                      <a:pt x="1448" y="154"/>
                    </a:cubicBezTo>
                    <a:cubicBezTo>
                      <a:pt x="1448" y="156"/>
                      <a:pt x="1448" y="156"/>
                      <a:pt x="1448" y="156"/>
                    </a:cubicBezTo>
                    <a:cubicBezTo>
                      <a:pt x="1448" y="157"/>
                      <a:pt x="1448" y="157"/>
                      <a:pt x="1448" y="157"/>
                    </a:cubicBezTo>
                    <a:cubicBezTo>
                      <a:pt x="1448" y="157"/>
                      <a:pt x="1448" y="157"/>
                      <a:pt x="1448" y="157"/>
                    </a:cubicBezTo>
                    <a:cubicBezTo>
                      <a:pt x="1449" y="157"/>
                      <a:pt x="1449" y="157"/>
                      <a:pt x="1449" y="157"/>
                    </a:cubicBezTo>
                    <a:cubicBezTo>
                      <a:pt x="1449" y="157"/>
                      <a:pt x="1449" y="157"/>
                      <a:pt x="1449" y="157"/>
                    </a:cubicBezTo>
                    <a:cubicBezTo>
                      <a:pt x="1450" y="156"/>
                      <a:pt x="1451" y="155"/>
                      <a:pt x="1452" y="155"/>
                    </a:cubicBezTo>
                    <a:cubicBezTo>
                      <a:pt x="1452" y="155"/>
                      <a:pt x="1453" y="156"/>
                      <a:pt x="1454" y="156"/>
                    </a:cubicBezTo>
                    <a:cubicBezTo>
                      <a:pt x="1454" y="156"/>
                      <a:pt x="1455" y="157"/>
                      <a:pt x="1456" y="157"/>
                    </a:cubicBezTo>
                    <a:cubicBezTo>
                      <a:pt x="1456" y="157"/>
                      <a:pt x="1456" y="157"/>
                      <a:pt x="1456" y="157"/>
                    </a:cubicBezTo>
                    <a:cubicBezTo>
                      <a:pt x="1457" y="157"/>
                      <a:pt x="1457" y="157"/>
                      <a:pt x="1457" y="157"/>
                    </a:cubicBezTo>
                    <a:cubicBezTo>
                      <a:pt x="1457" y="156"/>
                      <a:pt x="1457" y="156"/>
                      <a:pt x="1457" y="156"/>
                    </a:cubicBezTo>
                    <a:cubicBezTo>
                      <a:pt x="1458" y="156"/>
                      <a:pt x="1458" y="156"/>
                      <a:pt x="1458" y="156"/>
                    </a:cubicBezTo>
                    <a:cubicBezTo>
                      <a:pt x="1458" y="156"/>
                      <a:pt x="1458" y="156"/>
                      <a:pt x="1458" y="156"/>
                    </a:cubicBezTo>
                    <a:cubicBezTo>
                      <a:pt x="1458" y="155"/>
                      <a:pt x="1458" y="155"/>
                      <a:pt x="1458" y="155"/>
                    </a:cubicBezTo>
                    <a:cubicBezTo>
                      <a:pt x="1458" y="154"/>
                      <a:pt x="1458" y="154"/>
                      <a:pt x="1458" y="154"/>
                    </a:cubicBezTo>
                    <a:cubicBezTo>
                      <a:pt x="1458" y="154"/>
                      <a:pt x="1458" y="154"/>
                      <a:pt x="1458" y="154"/>
                    </a:cubicBezTo>
                    <a:cubicBezTo>
                      <a:pt x="1458" y="153"/>
                      <a:pt x="1458" y="153"/>
                      <a:pt x="1458" y="153"/>
                    </a:cubicBezTo>
                    <a:cubicBezTo>
                      <a:pt x="1458" y="153"/>
                      <a:pt x="1458" y="153"/>
                      <a:pt x="1458" y="153"/>
                    </a:cubicBezTo>
                    <a:cubicBezTo>
                      <a:pt x="1459" y="153"/>
                      <a:pt x="1459" y="153"/>
                      <a:pt x="1459" y="153"/>
                    </a:cubicBezTo>
                    <a:cubicBezTo>
                      <a:pt x="1459" y="153"/>
                      <a:pt x="1459" y="153"/>
                      <a:pt x="1459" y="153"/>
                    </a:cubicBezTo>
                    <a:cubicBezTo>
                      <a:pt x="1460" y="153"/>
                      <a:pt x="1460" y="153"/>
                      <a:pt x="1460" y="153"/>
                    </a:cubicBezTo>
                    <a:cubicBezTo>
                      <a:pt x="1460" y="153"/>
                      <a:pt x="1460" y="153"/>
                      <a:pt x="1460" y="153"/>
                    </a:cubicBezTo>
                    <a:cubicBezTo>
                      <a:pt x="1461" y="153"/>
                      <a:pt x="1461" y="153"/>
                      <a:pt x="1461" y="153"/>
                    </a:cubicBezTo>
                    <a:cubicBezTo>
                      <a:pt x="1462" y="153"/>
                      <a:pt x="1462" y="153"/>
                      <a:pt x="1462" y="153"/>
                    </a:cubicBezTo>
                    <a:cubicBezTo>
                      <a:pt x="1465" y="153"/>
                      <a:pt x="1465" y="153"/>
                      <a:pt x="1465" y="153"/>
                    </a:cubicBezTo>
                    <a:cubicBezTo>
                      <a:pt x="1466" y="153"/>
                      <a:pt x="1466" y="153"/>
                      <a:pt x="1466" y="153"/>
                    </a:cubicBezTo>
                    <a:cubicBezTo>
                      <a:pt x="1467" y="153"/>
                      <a:pt x="1467" y="153"/>
                      <a:pt x="1467" y="153"/>
                    </a:cubicBezTo>
                    <a:cubicBezTo>
                      <a:pt x="1466" y="153"/>
                      <a:pt x="1466" y="153"/>
                      <a:pt x="1466" y="153"/>
                    </a:cubicBezTo>
                    <a:cubicBezTo>
                      <a:pt x="1466" y="153"/>
                      <a:pt x="1466" y="153"/>
                      <a:pt x="1466" y="153"/>
                    </a:cubicBezTo>
                    <a:cubicBezTo>
                      <a:pt x="1466" y="154"/>
                      <a:pt x="1466" y="154"/>
                      <a:pt x="1466" y="154"/>
                    </a:cubicBezTo>
                    <a:cubicBezTo>
                      <a:pt x="1466" y="154"/>
                      <a:pt x="1466" y="154"/>
                      <a:pt x="1466" y="154"/>
                    </a:cubicBezTo>
                    <a:cubicBezTo>
                      <a:pt x="1463" y="157"/>
                      <a:pt x="1459" y="158"/>
                      <a:pt x="1456" y="158"/>
                    </a:cubicBezTo>
                    <a:cubicBezTo>
                      <a:pt x="1455" y="158"/>
                      <a:pt x="1455" y="158"/>
                      <a:pt x="1455" y="158"/>
                    </a:cubicBezTo>
                    <a:cubicBezTo>
                      <a:pt x="1454" y="158"/>
                      <a:pt x="1454" y="158"/>
                      <a:pt x="1454" y="158"/>
                    </a:cubicBezTo>
                    <a:cubicBezTo>
                      <a:pt x="1454" y="158"/>
                      <a:pt x="1454" y="158"/>
                      <a:pt x="1453" y="158"/>
                    </a:cubicBezTo>
                    <a:cubicBezTo>
                      <a:pt x="1452" y="158"/>
                      <a:pt x="1451" y="158"/>
                      <a:pt x="1450" y="158"/>
                    </a:cubicBezTo>
                    <a:cubicBezTo>
                      <a:pt x="1449" y="159"/>
                      <a:pt x="1448" y="159"/>
                      <a:pt x="1447" y="159"/>
                    </a:cubicBezTo>
                    <a:cubicBezTo>
                      <a:pt x="1447" y="159"/>
                      <a:pt x="1446" y="159"/>
                      <a:pt x="1445" y="158"/>
                    </a:cubicBezTo>
                    <a:cubicBezTo>
                      <a:pt x="1445" y="158"/>
                      <a:pt x="1445" y="158"/>
                      <a:pt x="1445" y="158"/>
                    </a:cubicBezTo>
                    <a:cubicBezTo>
                      <a:pt x="1444" y="157"/>
                      <a:pt x="1444" y="157"/>
                      <a:pt x="1444" y="157"/>
                    </a:cubicBezTo>
                    <a:cubicBezTo>
                      <a:pt x="1444" y="157"/>
                      <a:pt x="1444" y="157"/>
                      <a:pt x="1444" y="157"/>
                    </a:cubicBezTo>
                    <a:cubicBezTo>
                      <a:pt x="1443" y="157"/>
                      <a:pt x="1443" y="157"/>
                      <a:pt x="1443" y="157"/>
                    </a:cubicBezTo>
                    <a:cubicBezTo>
                      <a:pt x="1443" y="157"/>
                      <a:pt x="1443" y="157"/>
                      <a:pt x="1443" y="157"/>
                    </a:cubicBezTo>
                    <a:cubicBezTo>
                      <a:pt x="1442" y="156"/>
                      <a:pt x="1442" y="156"/>
                      <a:pt x="1442" y="156"/>
                    </a:cubicBezTo>
                    <a:cubicBezTo>
                      <a:pt x="1442" y="156"/>
                      <a:pt x="1442" y="156"/>
                      <a:pt x="1442" y="156"/>
                    </a:cubicBezTo>
                    <a:cubicBezTo>
                      <a:pt x="1441" y="156"/>
                      <a:pt x="1441" y="156"/>
                      <a:pt x="1441" y="156"/>
                    </a:cubicBezTo>
                    <a:cubicBezTo>
                      <a:pt x="1441" y="156"/>
                      <a:pt x="1441" y="156"/>
                      <a:pt x="1441" y="156"/>
                    </a:cubicBezTo>
                    <a:cubicBezTo>
                      <a:pt x="1440" y="156"/>
                      <a:pt x="1440" y="156"/>
                      <a:pt x="1440" y="156"/>
                    </a:cubicBezTo>
                    <a:cubicBezTo>
                      <a:pt x="1440" y="156"/>
                      <a:pt x="1440" y="156"/>
                      <a:pt x="1440" y="156"/>
                    </a:cubicBezTo>
                    <a:cubicBezTo>
                      <a:pt x="1439" y="156"/>
                      <a:pt x="1439" y="156"/>
                      <a:pt x="1439" y="156"/>
                    </a:cubicBezTo>
                    <a:cubicBezTo>
                      <a:pt x="1438" y="156"/>
                      <a:pt x="1438" y="156"/>
                      <a:pt x="1438" y="156"/>
                    </a:cubicBezTo>
                    <a:cubicBezTo>
                      <a:pt x="1438" y="156"/>
                      <a:pt x="1438" y="156"/>
                      <a:pt x="1438" y="156"/>
                    </a:cubicBezTo>
                    <a:cubicBezTo>
                      <a:pt x="1437" y="156"/>
                      <a:pt x="1437" y="156"/>
                      <a:pt x="1437" y="156"/>
                    </a:cubicBezTo>
                    <a:cubicBezTo>
                      <a:pt x="1437" y="156"/>
                      <a:pt x="1437" y="156"/>
                      <a:pt x="1437" y="156"/>
                    </a:cubicBezTo>
                    <a:cubicBezTo>
                      <a:pt x="1437" y="156"/>
                      <a:pt x="1437" y="156"/>
                      <a:pt x="1437" y="156"/>
                    </a:cubicBezTo>
                    <a:cubicBezTo>
                      <a:pt x="1435" y="156"/>
                      <a:pt x="1433" y="155"/>
                      <a:pt x="1432" y="153"/>
                    </a:cubicBezTo>
                    <a:cubicBezTo>
                      <a:pt x="1432" y="153"/>
                      <a:pt x="1432" y="153"/>
                      <a:pt x="1432" y="153"/>
                    </a:cubicBezTo>
                    <a:cubicBezTo>
                      <a:pt x="1432" y="153"/>
                      <a:pt x="1432" y="153"/>
                      <a:pt x="1432" y="153"/>
                    </a:cubicBezTo>
                    <a:cubicBezTo>
                      <a:pt x="1432" y="153"/>
                      <a:pt x="1432" y="153"/>
                      <a:pt x="1432" y="153"/>
                    </a:cubicBezTo>
                    <a:cubicBezTo>
                      <a:pt x="1432" y="152"/>
                      <a:pt x="1432" y="152"/>
                      <a:pt x="1432" y="152"/>
                    </a:cubicBezTo>
                    <a:cubicBezTo>
                      <a:pt x="1432" y="152"/>
                      <a:pt x="1432" y="152"/>
                      <a:pt x="1432" y="152"/>
                    </a:cubicBezTo>
                    <a:cubicBezTo>
                      <a:pt x="1432" y="152"/>
                      <a:pt x="1432" y="152"/>
                      <a:pt x="1432" y="152"/>
                    </a:cubicBezTo>
                    <a:cubicBezTo>
                      <a:pt x="1432" y="151"/>
                      <a:pt x="1432" y="151"/>
                      <a:pt x="1432" y="151"/>
                    </a:cubicBezTo>
                    <a:cubicBezTo>
                      <a:pt x="1432" y="151"/>
                      <a:pt x="1432" y="151"/>
                      <a:pt x="1432" y="151"/>
                    </a:cubicBezTo>
                    <a:cubicBezTo>
                      <a:pt x="1432" y="149"/>
                      <a:pt x="1432" y="149"/>
                      <a:pt x="1432" y="149"/>
                    </a:cubicBezTo>
                    <a:cubicBezTo>
                      <a:pt x="1432" y="149"/>
                      <a:pt x="1432" y="149"/>
                      <a:pt x="1432" y="149"/>
                    </a:cubicBezTo>
                    <a:cubicBezTo>
                      <a:pt x="1432" y="149"/>
                      <a:pt x="1432" y="149"/>
                      <a:pt x="1432" y="149"/>
                    </a:cubicBezTo>
                    <a:cubicBezTo>
                      <a:pt x="1432" y="149"/>
                      <a:pt x="1432" y="149"/>
                      <a:pt x="1432" y="149"/>
                    </a:cubicBezTo>
                    <a:cubicBezTo>
                      <a:pt x="1432" y="148"/>
                      <a:pt x="1432" y="148"/>
                      <a:pt x="1432" y="148"/>
                    </a:cubicBezTo>
                    <a:cubicBezTo>
                      <a:pt x="1431" y="148"/>
                      <a:pt x="1431" y="148"/>
                      <a:pt x="1431" y="148"/>
                    </a:cubicBezTo>
                    <a:cubicBezTo>
                      <a:pt x="1431" y="148"/>
                      <a:pt x="1431" y="148"/>
                      <a:pt x="1431" y="148"/>
                    </a:cubicBezTo>
                    <a:cubicBezTo>
                      <a:pt x="1430" y="146"/>
                      <a:pt x="1427" y="145"/>
                      <a:pt x="1425" y="145"/>
                    </a:cubicBezTo>
                    <a:cubicBezTo>
                      <a:pt x="1424" y="145"/>
                      <a:pt x="1424" y="145"/>
                      <a:pt x="1424" y="145"/>
                    </a:cubicBezTo>
                    <a:cubicBezTo>
                      <a:pt x="1424" y="145"/>
                      <a:pt x="1424" y="145"/>
                      <a:pt x="1424" y="145"/>
                    </a:cubicBezTo>
                    <a:cubicBezTo>
                      <a:pt x="1423" y="145"/>
                      <a:pt x="1423" y="145"/>
                      <a:pt x="1423" y="145"/>
                    </a:cubicBezTo>
                    <a:cubicBezTo>
                      <a:pt x="1422" y="145"/>
                      <a:pt x="1422" y="145"/>
                      <a:pt x="1422" y="145"/>
                    </a:cubicBezTo>
                    <a:cubicBezTo>
                      <a:pt x="1422" y="145"/>
                      <a:pt x="1422" y="145"/>
                      <a:pt x="1422" y="145"/>
                    </a:cubicBezTo>
                    <a:cubicBezTo>
                      <a:pt x="1421" y="145"/>
                      <a:pt x="1420" y="145"/>
                      <a:pt x="1419" y="145"/>
                    </a:cubicBezTo>
                    <a:cubicBezTo>
                      <a:pt x="1418" y="145"/>
                      <a:pt x="1417" y="145"/>
                      <a:pt x="1417" y="145"/>
                    </a:cubicBezTo>
                    <a:cubicBezTo>
                      <a:pt x="1416" y="145"/>
                      <a:pt x="1416" y="145"/>
                      <a:pt x="1416" y="145"/>
                    </a:cubicBezTo>
                    <a:cubicBezTo>
                      <a:pt x="1416" y="144"/>
                      <a:pt x="1416" y="144"/>
                      <a:pt x="1416" y="144"/>
                    </a:cubicBezTo>
                    <a:cubicBezTo>
                      <a:pt x="1415" y="144"/>
                      <a:pt x="1415" y="144"/>
                      <a:pt x="1415" y="144"/>
                    </a:cubicBezTo>
                    <a:cubicBezTo>
                      <a:pt x="1415" y="144"/>
                      <a:pt x="1415" y="144"/>
                      <a:pt x="1415" y="144"/>
                    </a:cubicBezTo>
                    <a:cubicBezTo>
                      <a:pt x="1414" y="144"/>
                      <a:pt x="1414" y="144"/>
                      <a:pt x="1414" y="144"/>
                    </a:cubicBezTo>
                    <a:cubicBezTo>
                      <a:pt x="1414" y="144"/>
                      <a:pt x="1414" y="144"/>
                      <a:pt x="1414" y="144"/>
                    </a:cubicBezTo>
                    <a:cubicBezTo>
                      <a:pt x="1413" y="144"/>
                      <a:pt x="1413" y="144"/>
                      <a:pt x="1413" y="144"/>
                    </a:cubicBezTo>
                    <a:cubicBezTo>
                      <a:pt x="1413" y="144"/>
                      <a:pt x="1413" y="144"/>
                      <a:pt x="1413" y="144"/>
                    </a:cubicBezTo>
                    <a:cubicBezTo>
                      <a:pt x="1412" y="144"/>
                      <a:pt x="1412" y="144"/>
                      <a:pt x="1412" y="144"/>
                    </a:cubicBezTo>
                    <a:cubicBezTo>
                      <a:pt x="1411" y="144"/>
                      <a:pt x="1411" y="144"/>
                      <a:pt x="1411" y="144"/>
                    </a:cubicBezTo>
                    <a:cubicBezTo>
                      <a:pt x="1411" y="144"/>
                      <a:pt x="1411" y="144"/>
                      <a:pt x="1411" y="144"/>
                    </a:cubicBezTo>
                    <a:cubicBezTo>
                      <a:pt x="1410" y="144"/>
                      <a:pt x="1410" y="144"/>
                      <a:pt x="1410" y="144"/>
                    </a:cubicBezTo>
                    <a:cubicBezTo>
                      <a:pt x="1410" y="144"/>
                      <a:pt x="1410" y="144"/>
                      <a:pt x="1410" y="144"/>
                    </a:cubicBezTo>
                    <a:cubicBezTo>
                      <a:pt x="1409" y="144"/>
                      <a:pt x="1409" y="144"/>
                      <a:pt x="1409" y="144"/>
                    </a:cubicBezTo>
                    <a:cubicBezTo>
                      <a:pt x="1408" y="144"/>
                      <a:pt x="1408" y="144"/>
                      <a:pt x="1408" y="144"/>
                    </a:cubicBezTo>
                    <a:cubicBezTo>
                      <a:pt x="1407" y="145"/>
                      <a:pt x="1407" y="145"/>
                      <a:pt x="1407" y="145"/>
                    </a:cubicBezTo>
                    <a:cubicBezTo>
                      <a:pt x="1405" y="148"/>
                      <a:pt x="1405" y="148"/>
                      <a:pt x="1405" y="148"/>
                    </a:cubicBezTo>
                    <a:cubicBezTo>
                      <a:pt x="1405" y="149"/>
                      <a:pt x="1405" y="149"/>
                      <a:pt x="1405" y="149"/>
                    </a:cubicBezTo>
                    <a:cubicBezTo>
                      <a:pt x="1404" y="149"/>
                      <a:pt x="1404" y="149"/>
                      <a:pt x="1404" y="149"/>
                    </a:cubicBezTo>
                    <a:cubicBezTo>
                      <a:pt x="1404" y="149"/>
                      <a:pt x="1404" y="149"/>
                      <a:pt x="1404" y="149"/>
                    </a:cubicBezTo>
                    <a:cubicBezTo>
                      <a:pt x="1405" y="147"/>
                      <a:pt x="1402" y="147"/>
                      <a:pt x="1404" y="144"/>
                    </a:cubicBezTo>
                    <a:cubicBezTo>
                      <a:pt x="1404" y="144"/>
                      <a:pt x="1404" y="144"/>
                      <a:pt x="1404" y="144"/>
                    </a:cubicBezTo>
                    <a:cubicBezTo>
                      <a:pt x="1404" y="144"/>
                      <a:pt x="1404" y="144"/>
                      <a:pt x="1404" y="144"/>
                    </a:cubicBezTo>
                    <a:cubicBezTo>
                      <a:pt x="1403" y="143"/>
                      <a:pt x="1403" y="143"/>
                      <a:pt x="1403" y="143"/>
                    </a:cubicBezTo>
                    <a:cubicBezTo>
                      <a:pt x="1403" y="143"/>
                      <a:pt x="1403" y="143"/>
                      <a:pt x="1403" y="143"/>
                    </a:cubicBezTo>
                    <a:cubicBezTo>
                      <a:pt x="1399" y="143"/>
                      <a:pt x="1397" y="142"/>
                      <a:pt x="1396" y="142"/>
                    </a:cubicBezTo>
                    <a:cubicBezTo>
                      <a:pt x="1395" y="142"/>
                      <a:pt x="1394" y="142"/>
                      <a:pt x="1394" y="142"/>
                    </a:cubicBezTo>
                    <a:cubicBezTo>
                      <a:pt x="1393" y="142"/>
                      <a:pt x="1392" y="143"/>
                      <a:pt x="1391" y="143"/>
                    </a:cubicBezTo>
                    <a:cubicBezTo>
                      <a:pt x="1390" y="143"/>
                      <a:pt x="1389" y="142"/>
                      <a:pt x="1388" y="142"/>
                    </a:cubicBezTo>
                    <a:cubicBezTo>
                      <a:pt x="1387" y="142"/>
                      <a:pt x="1387" y="142"/>
                      <a:pt x="1387" y="142"/>
                    </a:cubicBezTo>
                    <a:cubicBezTo>
                      <a:pt x="1387" y="142"/>
                      <a:pt x="1387" y="142"/>
                      <a:pt x="1387" y="142"/>
                    </a:cubicBezTo>
                    <a:cubicBezTo>
                      <a:pt x="1386" y="142"/>
                      <a:pt x="1386" y="142"/>
                      <a:pt x="1386" y="142"/>
                    </a:cubicBezTo>
                    <a:cubicBezTo>
                      <a:pt x="1386" y="142"/>
                      <a:pt x="1386" y="142"/>
                      <a:pt x="1386" y="142"/>
                    </a:cubicBezTo>
                    <a:cubicBezTo>
                      <a:pt x="1385" y="142"/>
                      <a:pt x="1385" y="142"/>
                      <a:pt x="1385" y="142"/>
                    </a:cubicBezTo>
                    <a:cubicBezTo>
                      <a:pt x="1384" y="142"/>
                      <a:pt x="1384" y="142"/>
                      <a:pt x="1384" y="142"/>
                    </a:cubicBezTo>
                    <a:cubicBezTo>
                      <a:pt x="1382" y="143"/>
                      <a:pt x="1382" y="143"/>
                      <a:pt x="1382" y="143"/>
                    </a:cubicBezTo>
                    <a:cubicBezTo>
                      <a:pt x="1381" y="143"/>
                      <a:pt x="1381" y="143"/>
                      <a:pt x="1381" y="143"/>
                    </a:cubicBezTo>
                    <a:cubicBezTo>
                      <a:pt x="1381" y="143"/>
                      <a:pt x="1381" y="143"/>
                      <a:pt x="1381" y="143"/>
                    </a:cubicBezTo>
                    <a:cubicBezTo>
                      <a:pt x="1381" y="142"/>
                      <a:pt x="1381" y="142"/>
                      <a:pt x="1381" y="142"/>
                    </a:cubicBezTo>
                    <a:cubicBezTo>
                      <a:pt x="1380" y="142"/>
                      <a:pt x="1380" y="142"/>
                      <a:pt x="1380" y="142"/>
                    </a:cubicBezTo>
                    <a:cubicBezTo>
                      <a:pt x="1380" y="142"/>
                      <a:pt x="1380" y="142"/>
                      <a:pt x="1380" y="142"/>
                    </a:cubicBezTo>
                    <a:cubicBezTo>
                      <a:pt x="1380" y="141"/>
                      <a:pt x="1380" y="141"/>
                      <a:pt x="1380" y="141"/>
                    </a:cubicBezTo>
                    <a:cubicBezTo>
                      <a:pt x="1379" y="141"/>
                      <a:pt x="1379" y="141"/>
                      <a:pt x="1379" y="141"/>
                    </a:cubicBezTo>
                    <a:cubicBezTo>
                      <a:pt x="1379" y="141"/>
                      <a:pt x="1379" y="141"/>
                      <a:pt x="1379" y="141"/>
                    </a:cubicBezTo>
                    <a:cubicBezTo>
                      <a:pt x="1378" y="141"/>
                      <a:pt x="1378" y="141"/>
                      <a:pt x="1378" y="141"/>
                    </a:cubicBezTo>
                    <a:cubicBezTo>
                      <a:pt x="1376" y="140"/>
                      <a:pt x="1374" y="140"/>
                      <a:pt x="1372" y="140"/>
                    </a:cubicBezTo>
                    <a:cubicBezTo>
                      <a:pt x="1371" y="139"/>
                      <a:pt x="1371" y="139"/>
                      <a:pt x="1371" y="139"/>
                    </a:cubicBezTo>
                    <a:cubicBezTo>
                      <a:pt x="1370" y="139"/>
                      <a:pt x="1370" y="139"/>
                      <a:pt x="1370" y="139"/>
                    </a:cubicBezTo>
                    <a:cubicBezTo>
                      <a:pt x="1370" y="139"/>
                      <a:pt x="1370" y="139"/>
                      <a:pt x="1370" y="139"/>
                    </a:cubicBezTo>
                    <a:cubicBezTo>
                      <a:pt x="1369" y="139"/>
                      <a:pt x="1369" y="139"/>
                      <a:pt x="1369" y="139"/>
                    </a:cubicBezTo>
                    <a:cubicBezTo>
                      <a:pt x="1369" y="139"/>
                      <a:pt x="1369" y="139"/>
                      <a:pt x="1369" y="139"/>
                    </a:cubicBezTo>
                    <a:cubicBezTo>
                      <a:pt x="1368" y="138"/>
                      <a:pt x="1368" y="138"/>
                      <a:pt x="1368" y="138"/>
                    </a:cubicBezTo>
                    <a:cubicBezTo>
                      <a:pt x="1364" y="137"/>
                      <a:pt x="1364" y="138"/>
                      <a:pt x="1359" y="135"/>
                    </a:cubicBezTo>
                    <a:cubicBezTo>
                      <a:pt x="1358" y="134"/>
                      <a:pt x="1358" y="134"/>
                      <a:pt x="1358" y="134"/>
                    </a:cubicBezTo>
                    <a:cubicBezTo>
                      <a:pt x="1357" y="134"/>
                      <a:pt x="1357" y="134"/>
                      <a:pt x="1357" y="134"/>
                    </a:cubicBezTo>
                    <a:cubicBezTo>
                      <a:pt x="1356" y="133"/>
                      <a:pt x="1357" y="132"/>
                      <a:pt x="1356" y="130"/>
                    </a:cubicBezTo>
                    <a:cubicBezTo>
                      <a:pt x="1357" y="130"/>
                      <a:pt x="1357" y="130"/>
                      <a:pt x="1357" y="130"/>
                    </a:cubicBezTo>
                    <a:cubicBezTo>
                      <a:pt x="1357" y="129"/>
                      <a:pt x="1357" y="129"/>
                      <a:pt x="1357" y="129"/>
                    </a:cubicBezTo>
                    <a:cubicBezTo>
                      <a:pt x="1358" y="129"/>
                      <a:pt x="1358" y="129"/>
                      <a:pt x="1358" y="129"/>
                    </a:cubicBezTo>
                    <a:cubicBezTo>
                      <a:pt x="1358" y="129"/>
                      <a:pt x="1358" y="129"/>
                      <a:pt x="1358" y="129"/>
                    </a:cubicBezTo>
                    <a:cubicBezTo>
                      <a:pt x="1359" y="129"/>
                      <a:pt x="1359" y="129"/>
                      <a:pt x="1359" y="129"/>
                    </a:cubicBezTo>
                    <a:cubicBezTo>
                      <a:pt x="1359" y="129"/>
                      <a:pt x="1359" y="129"/>
                      <a:pt x="1359" y="129"/>
                    </a:cubicBezTo>
                    <a:cubicBezTo>
                      <a:pt x="1360" y="129"/>
                      <a:pt x="1360" y="129"/>
                      <a:pt x="1360" y="129"/>
                    </a:cubicBezTo>
                    <a:cubicBezTo>
                      <a:pt x="1360" y="129"/>
                      <a:pt x="1360" y="129"/>
                      <a:pt x="1360" y="129"/>
                    </a:cubicBezTo>
                    <a:cubicBezTo>
                      <a:pt x="1361" y="130"/>
                      <a:pt x="1361" y="130"/>
                      <a:pt x="1361" y="130"/>
                    </a:cubicBezTo>
                    <a:cubicBezTo>
                      <a:pt x="1361" y="130"/>
                      <a:pt x="1361" y="130"/>
                      <a:pt x="1361" y="130"/>
                    </a:cubicBezTo>
                    <a:cubicBezTo>
                      <a:pt x="1362" y="129"/>
                      <a:pt x="1362" y="129"/>
                      <a:pt x="1362" y="129"/>
                    </a:cubicBezTo>
                    <a:cubicBezTo>
                      <a:pt x="1362" y="129"/>
                      <a:pt x="1362" y="129"/>
                      <a:pt x="1362" y="129"/>
                    </a:cubicBezTo>
                    <a:cubicBezTo>
                      <a:pt x="1362" y="129"/>
                      <a:pt x="1362" y="129"/>
                      <a:pt x="1362" y="129"/>
                    </a:cubicBezTo>
                    <a:cubicBezTo>
                      <a:pt x="1362" y="129"/>
                      <a:pt x="1362" y="129"/>
                      <a:pt x="1362" y="129"/>
                    </a:cubicBezTo>
                    <a:cubicBezTo>
                      <a:pt x="1362" y="128"/>
                      <a:pt x="1362" y="128"/>
                      <a:pt x="1362" y="128"/>
                    </a:cubicBezTo>
                    <a:cubicBezTo>
                      <a:pt x="1362" y="128"/>
                      <a:pt x="1362" y="128"/>
                      <a:pt x="1362" y="128"/>
                    </a:cubicBezTo>
                    <a:cubicBezTo>
                      <a:pt x="1362" y="128"/>
                      <a:pt x="1362" y="128"/>
                      <a:pt x="1362" y="128"/>
                    </a:cubicBezTo>
                    <a:cubicBezTo>
                      <a:pt x="1362" y="126"/>
                      <a:pt x="1367" y="126"/>
                      <a:pt x="1363" y="124"/>
                    </a:cubicBezTo>
                    <a:cubicBezTo>
                      <a:pt x="1361" y="122"/>
                      <a:pt x="1361" y="122"/>
                      <a:pt x="1361" y="122"/>
                    </a:cubicBezTo>
                    <a:cubicBezTo>
                      <a:pt x="1361" y="121"/>
                      <a:pt x="1361" y="121"/>
                      <a:pt x="1361" y="121"/>
                    </a:cubicBezTo>
                    <a:cubicBezTo>
                      <a:pt x="1361" y="121"/>
                      <a:pt x="1361" y="121"/>
                      <a:pt x="1361" y="121"/>
                    </a:cubicBezTo>
                    <a:cubicBezTo>
                      <a:pt x="1361" y="121"/>
                      <a:pt x="1361" y="121"/>
                      <a:pt x="1361" y="121"/>
                    </a:cubicBezTo>
                    <a:cubicBezTo>
                      <a:pt x="1362" y="121"/>
                      <a:pt x="1362" y="121"/>
                      <a:pt x="1362" y="121"/>
                    </a:cubicBezTo>
                    <a:cubicBezTo>
                      <a:pt x="1362" y="121"/>
                      <a:pt x="1362" y="121"/>
                      <a:pt x="1362" y="121"/>
                    </a:cubicBezTo>
                    <a:cubicBezTo>
                      <a:pt x="1363" y="120"/>
                      <a:pt x="1363" y="120"/>
                      <a:pt x="1363" y="120"/>
                    </a:cubicBezTo>
                    <a:cubicBezTo>
                      <a:pt x="1363" y="120"/>
                      <a:pt x="1363" y="120"/>
                      <a:pt x="1363" y="120"/>
                    </a:cubicBezTo>
                    <a:cubicBezTo>
                      <a:pt x="1364" y="120"/>
                      <a:pt x="1364" y="120"/>
                      <a:pt x="1364" y="120"/>
                    </a:cubicBezTo>
                    <a:cubicBezTo>
                      <a:pt x="1364" y="120"/>
                      <a:pt x="1364" y="120"/>
                      <a:pt x="1364" y="120"/>
                    </a:cubicBezTo>
                    <a:cubicBezTo>
                      <a:pt x="1363" y="119"/>
                      <a:pt x="1363" y="119"/>
                      <a:pt x="1363" y="119"/>
                    </a:cubicBezTo>
                    <a:cubicBezTo>
                      <a:pt x="1362" y="118"/>
                      <a:pt x="1362" y="118"/>
                      <a:pt x="1362" y="118"/>
                    </a:cubicBezTo>
                    <a:cubicBezTo>
                      <a:pt x="1359" y="116"/>
                      <a:pt x="1359" y="116"/>
                      <a:pt x="1359" y="116"/>
                    </a:cubicBezTo>
                    <a:cubicBezTo>
                      <a:pt x="1358" y="115"/>
                      <a:pt x="1358" y="115"/>
                      <a:pt x="1358" y="115"/>
                    </a:cubicBezTo>
                    <a:cubicBezTo>
                      <a:pt x="1357" y="114"/>
                      <a:pt x="1357" y="114"/>
                      <a:pt x="1357" y="114"/>
                    </a:cubicBezTo>
                    <a:cubicBezTo>
                      <a:pt x="1357" y="114"/>
                      <a:pt x="1357" y="114"/>
                      <a:pt x="1357" y="114"/>
                    </a:cubicBezTo>
                    <a:cubicBezTo>
                      <a:pt x="1357" y="114"/>
                      <a:pt x="1357" y="114"/>
                      <a:pt x="1357" y="114"/>
                    </a:cubicBezTo>
                    <a:cubicBezTo>
                      <a:pt x="1357" y="113"/>
                      <a:pt x="1357" y="113"/>
                      <a:pt x="1357" y="113"/>
                    </a:cubicBezTo>
                    <a:cubicBezTo>
                      <a:pt x="1357" y="113"/>
                      <a:pt x="1357" y="113"/>
                      <a:pt x="1357" y="113"/>
                    </a:cubicBezTo>
                    <a:cubicBezTo>
                      <a:pt x="1357" y="113"/>
                      <a:pt x="1357" y="113"/>
                      <a:pt x="1357" y="113"/>
                    </a:cubicBezTo>
                    <a:cubicBezTo>
                      <a:pt x="1356" y="113"/>
                      <a:pt x="1356" y="113"/>
                      <a:pt x="1356" y="113"/>
                    </a:cubicBezTo>
                    <a:cubicBezTo>
                      <a:pt x="1356" y="112"/>
                      <a:pt x="1356" y="112"/>
                      <a:pt x="1356" y="112"/>
                    </a:cubicBezTo>
                    <a:cubicBezTo>
                      <a:pt x="1356" y="112"/>
                      <a:pt x="1356" y="112"/>
                      <a:pt x="1356" y="112"/>
                    </a:cubicBezTo>
                    <a:cubicBezTo>
                      <a:pt x="1356" y="112"/>
                      <a:pt x="1356" y="112"/>
                      <a:pt x="1356" y="112"/>
                    </a:cubicBezTo>
                    <a:cubicBezTo>
                      <a:pt x="1356" y="111"/>
                      <a:pt x="1356" y="111"/>
                      <a:pt x="1356" y="111"/>
                    </a:cubicBezTo>
                    <a:cubicBezTo>
                      <a:pt x="1356" y="111"/>
                      <a:pt x="1356" y="111"/>
                      <a:pt x="1356" y="111"/>
                    </a:cubicBezTo>
                    <a:cubicBezTo>
                      <a:pt x="1356" y="111"/>
                      <a:pt x="1356" y="111"/>
                      <a:pt x="1356" y="111"/>
                    </a:cubicBezTo>
                    <a:cubicBezTo>
                      <a:pt x="1356" y="110"/>
                      <a:pt x="1356" y="110"/>
                      <a:pt x="1356" y="110"/>
                    </a:cubicBezTo>
                    <a:cubicBezTo>
                      <a:pt x="1356" y="110"/>
                      <a:pt x="1356" y="110"/>
                      <a:pt x="1356" y="110"/>
                    </a:cubicBezTo>
                    <a:cubicBezTo>
                      <a:pt x="1356" y="108"/>
                      <a:pt x="1358" y="107"/>
                      <a:pt x="1358" y="106"/>
                    </a:cubicBezTo>
                    <a:cubicBezTo>
                      <a:pt x="1357" y="105"/>
                      <a:pt x="1357" y="105"/>
                      <a:pt x="1357" y="105"/>
                    </a:cubicBezTo>
                    <a:cubicBezTo>
                      <a:pt x="1357" y="105"/>
                      <a:pt x="1357" y="105"/>
                      <a:pt x="1357" y="105"/>
                    </a:cubicBezTo>
                    <a:cubicBezTo>
                      <a:pt x="1357" y="104"/>
                      <a:pt x="1357" y="104"/>
                      <a:pt x="1357" y="104"/>
                    </a:cubicBezTo>
                    <a:cubicBezTo>
                      <a:pt x="1357" y="104"/>
                      <a:pt x="1357" y="104"/>
                      <a:pt x="1357" y="104"/>
                    </a:cubicBezTo>
                    <a:cubicBezTo>
                      <a:pt x="1357" y="104"/>
                      <a:pt x="1357" y="104"/>
                      <a:pt x="1357" y="104"/>
                    </a:cubicBezTo>
                    <a:cubicBezTo>
                      <a:pt x="1357" y="103"/>
                      <a:pt x="1357" y="103"/>
                      <a:pt x="1357" y="103"/>
                    </a:cubicBezTo>
                    <a:cubicBezTo>
                      <a:pt x="1358" y="103"/>
                      <a:pt x="1358" y="103"/>
                      <a:pt x="1358" y="103"/>
                    </a:cubicBezTo>
                    <a:cubicBezTo>
                      <a:pt x="1358" y="103"/>
                      <a:pt x="1358" y="103"/>
                      <a:pt x="1358" y="103"/>
                    </a:cubicBezTo>
                    <a:cubicBezTo>
                      <a:pt x="1359" y="103"/>
                      <a:pt x="1359" y="103"/>
                      <a:pt x="1359" y="103"/>
                    </a:cubicBezTo>
                    <a:cubicBezTo>
                      <a:pt x="1359" y="103"/>
                      <a:pt x="1359" y="103"/>
                      <a:pt x="1359" y="103"/>
                    </a:cubicBezTo>
                    <a:cubicBezTo>
                      <a:pt x="1360" y="103"/>
                      <a:pt x="1360" y="103"/>
                      <a:pt x="1360" y="103"/>
                    </a:cubicBezTo>
                    <a:cubicBezTo>
                      <a:pt x="1361" y="103"/>
                      <a:pt x="1361" y="103"/>
                      <a:pt x="1361" y="103"/>
                    </a:cubicBezTo>
                    <a:cubicBezTo>
                      <a:pt x="1361" y="103"/>
                      <a:pt x="1361" y="103"/>
                      <a:pt x="1361" y="103"/>
                    </a:cubicBezTo>
                    <a:cubicBezTo>
                      <a:pt x="1362" y="102"/>
                      <a:pt x="1362" y="102"/>
                      <a:pt x="1362" y="102"/>
                    </a:cubicBezTo>
                    <a:cubicBezTo>
                      <a:pt x="1362" y="102"/>
                      <a:pt x="1362" y="102"/>
                      <a:pt x="1362" y="102"/>
                    </a:cubicBezTo>
                    <a:cubicBezTo>
                      <a:pt x="1362" y="102"/>
                      <a:pt x="1362" y="102"/>
                      <a:pt x="1362" y="102"/>
                    </a:cubicBezTo>
                    <a:cubicBezTo>
                      <a:pt x="1362" y="101"/>
                      <a:pt x="1362" y="101"/>
                      <a:pt x="1362" y="101"/>
                    </a:cubicBezTo>
                    <a:cubicBezTo>
                      <a:pt x="1362" y="101"/>
                      <a:pt x="1362" y="101"/>
                      <a:pt x="1362" y="101"/>
                    </a:cubicBezTo>
                    <a:cubicBezTo>
                      <a:pt x="1362" y="101"/>
                      <a:pt x="1362" y="101"/>
                      <a:pt x="1362" y="101"/>
                    </a:cubicBezTo>
                    <a:cubicBezTo>
                      <a:pt x="1362" y="101"/>
                      <a:pt x="1362" y="101"/>
                      <a:pt x="1362" y="101"/>
                    </a:cubicBezTo>
                    <a:cubicBezTo>
                      <a:pt x="1362" y="101"/>
                      <a:pt x="1362" y="101"/>
                      <a:pt x="1362" y="101"/>
                    </a:cubicBezTo>
                    <a:cubicBezTo>
                      <a:pt x="1362" y="100"/>
                      <a:pt x="1362" y="100"/>
                      <a:pt x="1362" y="100"/>
                    </a:cubicBezTo>
                    <a:cubicBezTo>
                      <a:pt x="1362" y="100"/>
                      <a:pt x="1362" y="100"/>
                      <a:pt x="1362" y="100"/>
                    </a:cubicBezTo>
                    <a:cubicBezTo>
                      <a:pt x="1362" y="100"/>
                      <a:pt x="1362" y="100"/>
                      <a:pt x="1362" y="100"/>
                    </a:cubicBezTo>
                    <a:cubicBezTo>
                      <a:pt x="1362" y="99"/>
                      <a:pt x="1362" y="99"/>
                      <a:pt x="1362" y="99"/>
                    </a:cubicBezTo>
                    <a:cubicBezTo>
                      <a:pt x="1362" y="99"/>
                      <a:pt x="1362" y="99"/>
                      <a:pt x="1362" y="99"/>
                    </a:cubicBezTo>
                    <a:cubicBezTo>
                      <a:pt x="1362" y="98"/>
                      <a:pt x="1363" y="98"/>
                      <a:pt x="1364" y="97"/>
                    </a:cubicBezTo>
                    <a:cubicBezTo>
                      <a:pt x="1364" y="97"/>
                      <a:pt x="1364" y="97"/>
                      <a:pt x="1364" y="97"/>
                    </a:cubicBezTo>
                    <a:cubicBezTo>
                      <a:pt x="1364" y="97"/>
                      <a:pt x="1364" y="97"/>
                      <a:pt x="1364" y="97"/>
                    </a:cubicBezTo>
                    <a:cubicBezTo>
                      <a:pt x="1365" y="96"/>
                      <a:pt x="1365" y="96"/>
                      <a:pt x="1365" y="96"/>
                    </a:cubicBezTo>
                    <a:cubicBezTo>
                      <a:pt x="1365" y="96"/>
                      <a:pt x="1365" y="96"/>
                      <a:pt x="1365" y="96"/>
                    </a:cubicBezTo>
                    <a:cubicBezTo>
                      <a:pt x="1365" y="95"/>
                      <a:pt x="1365" y="95"/>
                      <a:pt x="1365" y="95"/>
                    </a:cubicBezTo>
                    <a:cubicBezTo>
                      <a:pt x="1364" y="95"/>
                      <a:pt x="1364" y="95"/>
                      <a:pt x="1364" y="95"/>
                    </a:cubicBezTo>
                    <a:cubicBezTo>
                      <a:pt x="1364" y="95"/>
                      <a:pt x="1364" y="95"/>
                      <a:pt x="1364" y="95"/>
                    </a:cubicBezTo>
                    <a:cubicBezTo>
                      <a:pt x="1364" y="94"/>
                      <a:pt x="1364" y="94"/>
                      <a:pt x="1364" y="94"/>
                    </a:cubicBezTo>
                    <a:cubicBezTo>
                      <a:pt x="1364" y="94"/>
                      <a:pt x="1364" y="94"/>
                      <a:pt x="1364" y="94"/>
                    </a:cubicBezTo>
                    <a:cubicBezTo>
                      <a:pt x="1364" y="93"/>
                      <a:pt x="1364" y="93"/>
                      <a:pt x="1364" y="93"/>
                    </a:cubicBezTo>
                    <a:cubicBezTo>
                      <a:pt x="1364" y="93"/>
                      <a:pt x="1364" y="93"/>
                      <a:pt x="1364" y="93"/>
                    </a:cubicBezTo>
                    <a:cubicBezTo>
                      <a:pt x="1365" y="93"/>
                      <a:pt x="1365" y="93"/>
                      <a:pt x="1365" y="93"/>
                    </a:cubicBezTo>
                    <a:cubicBezTo>
                      <a:pt x="1365" y="92"/>
                      <a:pt x="1365" y="92"/>
                      <a:pt x="1366" y="91"/>
                    </a:cubicBezTo>
                    <a:cubicBezTo>
                      <a:pt x="1366" y="90"/>
                      <a:pt x="1366" y="90"/>
                      <a:pt x="1366" y="90"/>
                    </a:cubicBezTo>
                    <a:cubicBezTo>
                      <a:pt x="1366" y="90"/>
                      <a:pt x="1366" y="90"/>
                      <a:pt x="1366" y="90"/>
                    </a:cubicBezTo>
                    <a:cubicBezTo>
                      <a:pt x="1367" y="90"/>
                      <a:pt x="1367" y="90"/>
                      <a:pt x="1367" y="90"/>
                    </a:cubicBezTo>
                    <a:cubicBezTo>
                      <a:pt x="1367" y="89"/>
                      <a:pt x="1368" y="88"/>
                      <a:pt x="1369" y="88"/>
                    </a:cubicBezTo>
                    <a:cubicBezTo>
                      <a:pt x="1369" y="88"/>
                      <a:pt x="1369" y="88"/>
                      <a:pt x="1369" y="88"/>
                    </a:cubicBezTo>
                    <a:cubicBezTo>
                      <a:pt x="1370" y="88"/>
                      <a:pt x="1370" y="88"/>
                      <a:pt x="1370" y="88"/>
                    </a:cubicBezTo>
                    <a:cubicBezTo>
                      <a:pt x="1370" y="87"/>
                      <a:pt x="1370" y="87"/>
                      <a:pt x="1370" y="87"/>
                    </a:cubicBezTo>
                    <a:cubicBezTo>
                      <a:pt x="1370" y="87"/>
                      <a:pt x="1370" y="87"/>
                      <a:pt x="1370" y="87"/>
                    </a:cubicBezTo>
                    <a:cubicBezTo>
                      <a:pt x="1371" y="87"/>
                      <a:pt x="1371" y="87"/>
                      <a:pt x="1371" y="87"/>
                    </a:cubicBezTo>
                    <a:cubicBezTo>
                      <a:pt x="1371" y="86"/>
                      <a:pt x="1371" y="86"/>
                      <a:pt x="1371" y="86"/>
                    </a:cubicBezTo>
                    <a:cubicBezTo>
                      <a:pt x="1371" y="86"/>
                      <a:pt x="1371" y="86"/>
                      <a:pt x="1371" y="86"/>
                    </a:cubicBezTo>
                    <a:cubicBezTo>
                      <a:pt x="1370" y="85"/>
                      <a:pt x="1370" y="85"/>
                      <a:pt x="1370" y="85"/>
                    </a:cubicBezTo>
                    <a:cubicBezTo>
                      <a:pt x="1369" y="84"/>
                      <a:pt x="1369" y="84"/>
                      <a:pt x="1369" y="84"/>
                    </a:cubicBezTo>
                    <a:cubicBezTo>
                      <a:pt x="1369" y="84"/>
                      <a:pt x="1369" y="84"/>
                      <a:pt x="1369" y="84"/>
                    </a:cubicBezTo>
                    <a:cubicBezTo>
                      <a:pt x="1369" y="83"/>
                      <a:pt x="1369" y="83"/>
                      <a:pt x="1369" y="83"/>
                    </a:cubicBezTo>
                    <a:cubicBezTo>
                      <a:pt x="1369" y="83"/>
                      <a:pt x="1369" y="83"/>
                      <a:pt x="1369" y="83"/>
                    </a:cubicBezTo>
                    <a:cubicBezTo>
                      <a:pt x="1369" y="83"/>
                      <a:pt x="1369" y="83"/>
                      <a:pt x="1369" y="83"/>
                    </a:cubicBezTo>
                    <a:cubicBezTo>
                      <a:pt x="1369" y="82"/>
                      <a:pt x="1369" y="82"/>
                      <a:pt x="1369" y="82"/>
                    </a:cubicBezTo>
                    <a:cubicBezTo>
                      <a:pt x="1368" y="82"/>
                      <a:pt x="1368" y="82"/>
                      <a:pt x="1368" y="82"/>
                    </a:cubicBezTo>
                    <a:cubicBezTo>
                      <a:pt x="1368" y="81"/>
                      <a:pt x="1368" y="81"/>
                      <a:pt x="1368" y="81"/>
                    </a:cubicBezTo>
                    <a:cubicBezTo>
                      <a:pt x="1368" y="81"/>
                      <a:pt x="1368" y="81"/>
                      <a:pt x="1368" y="81"/>
                    </a:cubicBezTo>
                    <a:cubicBezTo>
                      <a:pt x="1368" y="81"/>
                      <a:pt x="1368" y="81"/>
                      <a:pt x="1368" y="81"/>
                    </a:cubicBezTo>
                    <a:cubicBezTo>
                      <a:pt x="1368" y="80"/>
                      <a:pt x="1368" y="80"/>
                      <a:pt x="1368" y="80"/>
                    </a:cubicBezTo>
                    <a:cubicBezTo>
                      <a:pt x="1368" y="80"/>
                      <a:pt x="1368" y="80"/>
                      <a:pt x="1368" y="80"/>
                    </a:cubicBezTo>
                    <a:cubicBezTo>
                      <a:pt x="1368" y="79"/>
                      <a:pt x="1368" y="79"/>
                      <a:pt x="1368" y="79"/>
                    </a:cubicBezTo>
                    <a:cubicBezTo>
                      <a:pt x="1368" y="79"/>
                      <a:pt x="1368" y="79"/>
                      <a:pt x="1368" y="79"/>
                    </a:cubicBezTo>
                    <a:cubicBezTo>
                      <a:pt x="1367" y="79"/>
                      <a:pt x="1367" y="79"/>
                      <a:pt x="1367" y="79"/>
                    </a:cubicBezTo>
                    <a:cubicBezTo>
                      <a:pt x="1367" y="78"/>
                      <a:pt x="1367" y="78"/>
                      <a:pt x="1367" y="78"/>
                    </a:cubicBezTo>
                    <a:cubicBezTo>
                      <a:pt x="1367" y="78"/>
                      <a:pt x="1367" y="78"/>
                      <a:pt x="1367" y="78"/>
                    </a:cubicBezTo>
                    <a:cubicBezTo>
                      <a:pt x="1367" y="78"/>
                      <a:pt x="1367" y="78"/>
                      <a:pt x="1367" y="78"/>
                    </a:cubicBezTo>
                    <a:cubicBezTo>
                      <a:pt x="1367" y="78"/>
                      <a:pt x="1367" y="78"/>
                      <a:pt x="1367" y="78"/>
                    </a:cubicBezTo>
                    <a:cubicBezTo>
                      <a:pt x="1367" y="77"/>
                      <a:pt x="1367" y="77"/>
                      <a:pt x="1367" y="77"/>
                    </a:cubicBezTo>
                    <a:cubicBezTo>
                      <a:pt x="1366" y="77"/>
                      <a:pt x="1366" y="77"/>
                      <a:pt x="1366" y="77"/>
                    </a:cubicBezTo>
                    <a:cubicBezTo>
                      <a:pt x="1366" y="77"/>
                      <a:pt x="1366" y="77"/>
                      <a:pt x="1366" y="77"/>
                    </a:cubicBezTo>
                    <a:cubicBezTo>
                      <a:pt x="1366" y="76"/>
                      <a:pt x="1366" y="76"/>
                      <a:pt x="1366" y="76"/>
                    </a:cubicBezTo>
                    <a:cubicBezTo>
                      <a:pt x="1366" y="76"/>
                      <a:pt x="1366" y="76"/>
                      <a:pt x="1366" y="76"/>
                    </a:cubicBezTo>
                    <a:cubicBezTo>
                      <a:pt x="1366" y="76"/>
                      <a:pt x="1366" y="76"/>
                      <a:pt x="1366" y="76"/>
                    </a:cubicBezTo>
                    <a:cubicBezTo>
                      <a:pt x="1366" y="75"/>
                      <a:pt x="1366" y="75"/>
                      <a:pt x="1366" y="75"/>
                    </a:cubicBezTo>
                    <a:cubicBezTo>
                      <a:pt x="1365" y="75"/>
                      <a:pt x="1365" y="75"/>
                      <a:pt x="1365" y="75"/>
                    </a:cubicBezTo>
                    <a:cubicBezTo>
                      <a:pt x="1365" y="75"/>
                      <a:pt x="1365" y="75"/>
                      <a:pt x="1365" y="75"/>
                    </a:cubicBezTo>
                    <a:cubicBezTo>
                      <a:pt x="1366" y="74"/>
                      <a:pt x="1366" y="74"/>
                      <a:pt x="1366" y="74"/>
                    </a:cubicBezTo>
                    <a:cubicBezTo>
                      <a:pt x="1366" y="74"/>
                      <a:pt x="1366" y="74"/>
                      <a:pt x="1366" y="74"/>
                    </a:cubicBezTo>
                    <a:cubicBezTo>
                      <a:pt x="1366" y="74"/>
                      <a:pt x="1366" y="74"/>
                      <a:pt x="1366" y="74"/>
                    </a:cubicBezTo>
                    <a:cubicBezTo>
                      <a:pt x="1364" y="71"/>
                      <a:pt x="1364" y="71"/>
                      <a:pt x="1364" y="71"/>
                    </a:cubicBezTo>
                    <a:cubicBezTo>
                      <a:pt x="1361" y="68"/>
                      <a:pt x="1361" y="68"/>
                      <a:pt x="1361" y="68"/>
                    </a:cubicBezTo>
                    <a:cubicBezTo>
                      <a:pt x="1353" y="59"/>
                      <a:pt x="1353" y="59"/>
                      <a:pt x="1353" y="59"/>
                    </a:cubicBezTo>
                    <a:cubicBezTo>
                      <a:pt x="1350" y="56"/>
                      <a:pt x="1350" y="56"/>
                      <a:pt x="1350" y="56"/>
                    </a:cubicBezTo>
                    <a:cubicBezTo>
                      <a:pt x="1348" y="54"/>
                      <a:pt x="1348" y="54"/>
                      <a:pt x="1348" y="54"/>
                    </a:cubicBezTo>
                    <a:cubicBezTo>
                      <a:pt x="1348" y="55"/>
                      <a:pt x="1348" y="55"/>
                      <a:pt x="1348" y="55"/>
                    </a:cubicBezTo>
                    <a:cubicBezTo>
                      <a:pt x="1347" y="55"/>
                      <a:pt x="1347" y="55"/>
                      <a:pt x="1347" y="55"/>
                    </a:cubicBezTo>
                    <a:cubicBezTo>
                      <a:pt x="1347" y="55"/>
                      <a:pt x="1347" y="55"/>
                      <a:pt x="1347" y="55"/>
                    </a:cubicBezTo>
                    <a:cubicBezTo>
                      <a:pt x="1346" y="55"/>
                      <a:pt x="1346" y="55"/>
                      <a:pt x="1346" y="55"/>
                    </a:cubicBezTo>
                    <a:cubicBezTo>
                      <a:pt x="1345" y="56"/>
                      <a:pt x="1345" y="56"/>
                      <a:pt x="1345" y="56"/>
                    </a:cubicBezTo>
                    <a:cubicBezTo>
                      <a:pt x="1344" y="57"/>
                      <a:pt x="1341" y="57"/>
                      <a:pt x="1344" y="59"/>
                    </a:cubicBezTo>
                    <a:cubicBezTo>
                      <a:pt x="1344" y="59"/>
                      <a:pt x="1344" y="59"/>
                      <a:pt x="1344" y="59"/>
                    </a:cubicBezTo>
                    <a:cubicBezTo>
                      <a:pt x="1344" y="59"/>
                      <a:pt x="1344" y="59"/>
                      <a:pt x="1344" y="59"/>
                    </a:cubicBezTo>
                    <a:cubicBezTo>
                      <a:pt x="1346" y="60"/>
                      <a:pt x="1346" y="61"/>
                      <a:pt x="1347" y="62"/>
                    </a:cubicBezTo>
                    <a:cubicBezTo>
                      <a:pt x="1348" y="63"/>
                      <a:pt x="1348" y="63"/>
                      <a:pt x="1348" y="63"/>
                    </a:cubicBezTo>
                    <a:cubicBezTo>
                      <a:pt x="1348" y="63"/>
                      <a:pt x="1348" y="63"/>
                      <a:pt x="1348" y="63"/>
                    </a:cubicBezTo>
                    <a:cubicBezTo>
                      <a:pt x="1348" y="63"/>
                      <a:pt x="1348" y="63"/>
                      <a:pt x="1348" y="63"/>
                    </a:cubicBezTo>
                    <a:cubicBezTo>
                      <a:pt x="1349" y="64"/>
                      <a:pt x="1349" y="64"/>
                      <a:pt x="1349" y="64"/>
                    </a:cubicBezTo>
                    <a:cubicBezTo>
                      <a:pt x="1349" y="65"/>
                      <a:pt x="1350" y="66"/>
                      <a:pt x="1351" y="67"/>
                    </a:cubicBezTo>
                    <a:cubicBezTo>
                      <a:pt x="1351" y="67"/>
                      <a:pt x="1351" y="67"/>
                      <a:pt x="1351" y="67"/>
                    </a:cubicBezTo>
                    <a:cubicBezTo>
                      <a:pt x="1351" y="67"/>
                      <a:pt x="1351" y="67"/>
                      <a:pt x="1351" y="67"/>
                    </a:cubicBezTo>
                    <a:cubicBezTo>
                      <a:pt x="1351" y="69"/>
                      <a:pt x="1352" y="69"/>
                      <a:pt x="1351" y="71"/>
                    </a:cubicBezTo>
                    <a:cubicBezTo>
                      <a:pt x="1351" y="72"/>
                      <a:pt x="1351" y="72"/>
                      <a:pt x="1351" y="72"/>
                    </a:cubicBezTo>
                    <a:cubicBezTo>
                      <a:pt x="1351" y="72"/>
                      <a:pt x="1351" y="72"/>
                      <a:pt x="1351" y="72"/>
                    </a:cubicBezTo>
                    <a:cubicBezTo>
                      <a:pt x="1352" y="75"/>
                      <a:pt x="1353" y="77"/>
                      <a:pt x="1353" y="80"/>
                    </a:cubicBezTo>
                    <a:cubicBezTo>
                      <a:pt x="1353" y="81"/>
                      <a:pt x="1353" y="81"/>
                      <a:pt x="1353" y="81"/>
                    </a:cubicBezTo>
                    <a:cubicBezTo>
                      <a:pt x="1353" y="81"/>
                      <a:pt x="1353" y="81"/>
                      <a:pt x="1353" y="81"/>
                    </a:cubicBezTo>
                    <a:cubicBezTo>
                      <a:pt x="1353" y="82"/>
                      <a:pt x="1353" y="83"/>
                      <a:pt x="1353" y="84"/>
                    </a:cubicBezTo>
                    <a:cubicBezTo>
                      <a:pt x="1353" y="85"/>
                      <a:pt x="1353" y="85"/>
                      <a:pt x="1353" y="85"/>
                    </a:cubicBezTo>
                    <a:cubicBezTo>
                      <a:pt x="1353" y="85"/>
                      <a:pt x="1353" y="85"/>
                      <a:pt x="1353" y="85"/>
                    </a:cubicBezTo>
                    <a:cubicBezTo>
                      <a:pt x="1352" y="86"/>
                      <a:pt x="1352" y="87"/>
                      <a:pt x="1352" y="88"/>
                    </a:cubicBezTo>
                    <a:cubicBezTo>
                      <a:pt x="1352" y="89"/>
                      <a:pt x="1352" y="89"/>
                      <a:pt x="1352" y="89"/>
                    </a:cubicBezTo>
                    <a:cubicBezTo>
                      <a:pt x="1352" y="90"/>
                      <a:pt x="1352" y="90"/>
                      <a:pt x="1352" y="90"/>
                    </a:cubicBezTo>
                    <a:cubicBezTo>
                      <a:pt x="1351" y="90"/>
                      <a:pt x="1351" y="90"/>
                      <a:pt x="1351" y="90"/>
                    </a:cubicBezTo>
                    <a:cubicBezTo>
                      <a:pt x="1351" y="90"/>
                      <a:pt x="1351" y="90"/>
                      <a:pt x="1351" y="90"/>
                    </a:cubicBezTo>
                    <a:cubicBezTo>
                      <a:pt x="1351" y="91"/>
                      <a:pt x="1351" y="91"/>
                      <a:pt x="1351" y="91"/>
                    </a:cubicBezTo>
                    <a:cubicBezTo>
                      <a:pt x="1348" y="96"/>
                      <a:pt x="1349" y="95"/>
                      <a:pt x="1343" y="98"/>
                    </a:cubicBezTo>
                    <a:cubicBezTo>
                      <a:pt x="1342" y="98"/>
                      <a:pt x="1342" y="98"/>
                      <a:pt x="1342" y="98"/>
                    </a:cubicBezTo>
                    <a:cubicBezTo>
                      <a:pt x="1342" y="98"/>
                      <a:pt x="1342" y="98"/>
                      <a:pt x="1342" y="98"/>
                    </a:cubicBezTo>
                    <a:cubicBezTo>
                      <a:pt x="1341" y="98"/>
                      <a:pt x="1341" y="98"/>
                      <a:pt x="1341" y="98"/>
                    </a:cubicBezTo>
                    <a:cubicBezTo>
                      <a:pt x="1339" y="99"/>
                      <a:pt x="1338" y="100"/>
                      <a:pt x="1336" y="101"/>
                    </a:cubicBezTo>
                    <a:cubicBezTo>
                      <a:pt x="1335" y="101"/>
                      <a:pt x="1335" y="101"/>
                      <a:pt x="1335" y="101"/>
                    </a:cubicBezTo>
                    <a:cubicBezTo>
                      <a:pt x="1334" y="101"/>
                      <a:pt x="1334" y="101"/>
                      <a:pt x="1334" y="101"/>
                    </a:cubicBezTo>
                    <a:cubicBezTo>
                      <a:pt x="1328" y="103"/>
                      <a:pt x="1322" y="105"/>
                      <a:pt x="1316" y="107"/>
                    </a:cubicBezTo>
                    <a:cubicBezTo>
                      <a:pt x="1316" y="107"/>
                      <a:pt x="1316" y="107"/>
                      <a:pt x="1316" y="107"/>
                    </a:cubicBezTo>
                    <a:cubicBezTo>
                      <a:pt x="1315" y="107"/>
                      <a:pt x="1315" y="107"/>
                      <a:pt x="1315" y="107"/>
                    </a:cubicBezTo>
                    <a:cubicBezTo>
                      <a:pt x="1315" y="107"/>
                      <a:pt x="1315" y="107"/>
                      <a:pt x="1315" y="107"/>
                    </a:cubicBezTo>
                    <a:cubicBezTo>
                      <a:pt x="1314" y="107"/>
                      <a:pt x="1314" y="107"/>
                      <a:pt x="1314" y="107"/>
                    </a:cubicBezTo>
                    <a:cubicBezTo>
                      <a:pt x="1314" y="108"/>
                      <a:pt x="1314" y="108"/>
                      <a:pt x="1314" y="108"/>
                    </a:cubicBezTo>
                    <a:cubicBezTo>
                      <a:pt x="1313" y="108"/>
                      <a:pt x="1313" y="108"/>
                      <a:pt x="1313" y="108"/>
                    </a:cubicBezTo>
                    <a:cubicBezTo>
                      <a:pt x="1312" y="109"/>
                      <a:pt x="1309" y="109"/>
                      <a:pt x="1308" y="110"/>
                    </a:cubicBezTo>
                    <a:cubicBezTo>
                      <a:pt x="1308" y="111"/>
                      <a:pt x="1308" y="111"/>
                      <a:pt x="1308" y="111"/>
                    </a:cubicBezTo>
                    <a:cubicBezTo>
                      <a:pt x="1307" y="111"/>
                      <a:pt x="1307" y="111"/>
                      <a:pt x="1307" y="111"/>
                    </a:cubicBezTo>
                    <a:cubicBezTo>
                      <a:pt x="1306" y="112"/>
                      <a:pt x="1306" y="113"/>
                      <a:pt x="1307" y="114"/>
                    </a:cubicBezTo>
                    <a:cubicBezTo>
                      <a:pt x="1307" y="115"/>
                      <a:pt x="1307" y="115"/>
                      <a:pt x="1307" y="115"/>
                    </a:cubicBezTo>
                    <a:cubicBezTo>
                      <a:pt x="1308" y="115"/>
                      <a:pt x="1308" y="115"/>
                      <a:pt x="1308" y="115"/>
                    </a:cubicBezTo>
                    <a:cubicBezTo>
                      <a:pt x="1308" y="116"/>
                      <a:pt x="1308" y="116"/>
                      <a:pt x="1308" y="116"/>
                    </a:cubicBezTo>
                    <a:cubicBezTo>
                      <a:pt x="1308" y="116"/>
                      <a:pt x="1308" y="118"/>
                      <a:pt x="1307" y="119"/>
                    </a:cubicBezTo>
                    <a:cubicBezTo>
                      <a:pt x="1307" y="119"/>
                      <a:pt x="1307" y="119"/>
                      <a:pt x="1307" y="119"/>
                    </a:cubicBezTo>
                    <a:cubicBezTo>
                      <a:pt x="1306" y="120"/>
                      <a:pt x="1306" y="120"/>
                      <a:pt x="1306" y="120"/>
                    </a:cubicBezTo>
                    <a:cubicBezTo>
                      <a:pt x="1304" y="121"/>
                      <a:pt x="1304" y="122"/>
                      <a:pt x="1303" y="123"/>
                    </a:cubicBezTo>
                    <a:cubicBezTo>
                      <a:pt x="1302" y="124"/>
                      <a:pt x="1302" y="124"/>
                      <a:pt x="1302" y="124"/>
                    </a:cubicBezTo>
                    <a:cubicBezTo>
                      <a:pt x="1300" y="126"/>
                      <a:pt x="1300" y="126"/>
                      <a:pt x="1300" y="126"/>
                    </a:cubicBezTo>
                    <a:cubicBezTo>
                      <a:pt x="1296" y="130"/>
                      <a:pt x="1296" y="130"/>
                      <a:pt x="1296" y="130"/>
                    </a:cubicBezTo>
                    <a:cubicBezTo>
                      <a:pt x="1294" y="131"/>
                      <a:pt x="1294" y="131"/>
                      <a:pt x="1294" y="131"/>
                    </a:cubicBezTo>
                    <a:cubicBezTo>
                      <a:pt x="1294" y="132"/>
                      <a:pt x="1294" y="132"/>
                      <a:pt x="1294" y="132"/>
                    </a:cubicBezTo>
                    <a:cubicBezTo>
                      <a:pt x="1294" y="132"/>
                      <a:pt x="1294" y="132"/>
                      <a:pt x="1294" y="132"/>
                    </a:cubicBezTo>
                    <a:cubicBezTo>
                      <a:pt x="1295" y="133"/>
                      <a:pt x="1295" y="133"/>
                      <a:pt x="1295" y="133"/>
                    </a:cubicBezTo>
                    <a:cubicBezTo>
                      <a:pt x="1295" y="133"/>
                      <a:pt x="1295" y="133"/>
                      <a:pt x="1295" y="133"/>
                    </a:cubicBezTo>
                    <a:cubicBezTo>
                      <a:pt x="1296" y="133"/>
                      <a:pt x="1296" y="133"/>
                      <a:pt x="1296" y="133"/>
                    </a:cubicBezTo>
                    <a:cubicBezTo>
                      <a:pt x="1307" y="138"/>
                      <a:pt x="1309" y="138"/>
                      <a:pt x="1313" y="150"/>
                    </a:cubicBezTo>
                    <a:cubicBezTo>
                      <a:pt x="1313" y="150"/>
                      <a:pt x="1313" y="150"/>
                      <a:pt x="1313" y="150"/>
                    </a:cubicBezTo>
                    <a:cubicBezTo>
                      <a:pt x="1313" y="150"/>
                      <a:pt x="1313" y="150"/>
                      <a:pt x="1313" y="150"/>
                    </a:cubicBezTo>
                    <a:cubicBezTo>
                      <a:pt x="1313" y="150"/>
                      <a:pt x="1313" y="150"/>
                      <a:pt x="1313" y="150"/>
                    </a:cubicBezTo>
                    <a:cubicBezTo>
                      <a:pt x="1316" y="154"/>
                      <a:pt x="1319" y="153"/>
                      <a:pt x="1319" y="158"/>
                    </a:cubicBezTo>
                    <a:cubicBezTo>
                      <a:pt x="1319" y="159"/>
                      <a:pt x="1319" y="159"/>
                      <a:pt x="1319" y="159"/>
                    </a:cubicBezTo>
                    <a:cubicBezTo>
                      <a:pt x="1319" y="160"/>
                      <a:pt x="1319" y="161"/>
                      <a:pt x="1320" y="162"/>
                    </a:cubicBezTo>
                    <a:cubicBezTo>
                      <a:pt x="1321" y="163"/>
                      <a:pt x="1321" y="163"/>
                      <a:pt x="1321" y="163"/>
                    </a:cubicBezTo>
                    <a:cubicBezTo>
                      <a:pt x="1321" y="163"/>
                      <a:pt x="1321" y="163"/>
                      <a:pt x="1321" y="163"/>
                    </a:cubicBezTo>
                    <a:cubicBezTo>
                      <a:pt x="1323" y="164"/>
                      <a:pt x="1324" y="165"/>
                      <a:pt x="1325" y="166"/>
                    </a:cubicBezTo>
                    <a:cubicBezTo>
                      <a:pt x="1326" y="166"/>
                      <a:pt x="1326" y="166"/>
                      <a:pt x="1326" y="166"/>
                    </a:cubicBezTo>
                    <a:cubicBezTo>
                      <a:pt x="1326" y="166"/>
                      <a:pt x="1326" y="166"/>
                      <a:pt x="1326" y="166"/>
                    </a:cubicBezTo>
                    <a:cubicBezTo>
                      <a:pt x="1327" y="167"/>
                      <a:pt x="1327" y="167"/>
                      <a:pt x="1327" y="167"/>
                    </a:cubicBezTo>
                    <a:cubicBezTo>
                      <a:pt x="1327" y="167"/>
                      <a:pt x="1327" y="167"/>
                      <a:pt x="1327" y="167"/>
                    </a:cubicBezTo>
                    <a:cubicBezTo>
                      <a:pt x="1328" y="167"/>
                      <a:pt x="1328" y="167"/>
                      <a:pt x="1328" y="167"/>
                    </a:cubicBezTo>
                    <a:cubicBezTo>
                      <a:pt x="1328" y="168"/>
                      <a:pt x="1328" y="168"/>
                      <a:pt x="1328" y="168"/>
                    </a:cubicBezTo>
                    <a:cubicBezTo>
                      <a:pt x="1328" y="168"/>
                      <a:pt x="1328" y="168"/>
                      <a:pt x="1328" y="168"/>
                    </a:cubicBezTo>
                    <a:cubicBezTo>
                      <a:pt x="1329" y="168"/>
                      <a:pt x="1329" y="168"/>
                      <a:pt x="1329" y="168"/>
                    </a:cubicBezTo>
                    <a:cubicBezTo>
                      <a:pt x="1330" y="170"/>
                      <a:pt x="1330" y="170"/>
                      <a:pt x="1330" y="172"/>
                    </a:cubicBezTo>
                    <a:cubicBezTo>
                      <a:pt x="1330" y="173"/>
                      <a:pt x="1330" y="173"/>
                      <a:pt x="1330" y="173"/>
                    </a:cubicBezTo>
                    <a:cubicBezTo>
                      <a:pt x="1331" y="173"/>
                      <a:pt x="1331" y="173"/>
                      <a:pt x="1331" y="173"/>
                    </a:cubicBezTo>
                    <a:cubicBezTo>
                      <a:pt x="1331" y="173"/>
                      <a:pt x="1331" y="173"/>
                      <a:pt x="1331" y="173"/>
                    </a:cubicBezTo>
                    <a:cubicBezTo>
                      <a:pt x="1331" y="174"/>
                      <a:pt x="1331" y="174"/>
                      <a:pt x="1331" y="174"/>
                    </a:cubicBezTo>
                    <a:cubicBezTo>
                      <a:pt x="1331" y="174"/>
                      <a:pt x="1331" y="174"/>
                      <a:pt x="1331" y="174"/>
                    </a:cubicBezTo>
                    <a:cubicBezTo>
                      <a:pt x="1331" y="174"/>
                      <a:pt x="1331" y="174"/>
                      <a:pt x="1331" y="174"/>
                    </a:cubicBezTo>
                    <a:cubicBezTo>
                      <a:pt x="1331" y="175"/>
                      <a:pt x="1331" y="175"/>
                      <a:pt x="1331" y="175"/>
                    </a:cubicBezTo>
                    <a:cubicBezTo>
                      <a:pt x="1331" y="175"/>
                      <a:pt x="1331" y="175"/>
                      <a:pt x="1331" y="175"/>
                    </a:cubicBezTo>
                    <a:cubicBezTo>
                      <a:pt x="1329" y="178"/>
                      <a:pt x="1329" y="178"/>
                      <a:pt x="1329" y="178"/>
                    </a:cubicBezTo>
                    <a:cubicBezTo>
                      <a:pt x="1326" y="181"/>
                      <a:pt x="1326" y="181"/>
                      <a:pt x="1326" y="181"/>
                    </a:cubicBezTo>
                    <a:cubicBezTo>
                      <a:pt x="1318" y="191"/>
                      <a:pt x="1318" y="191"/>
                      <a:pt x="1318" y="191"/>
                    </a:cubicBezTo>
                    <a:cubicBezTo>
                      <a:pt x="1315" y="195"/>
                      <a:pt x="1315" y="195"/>
                      <a:pt x="1315" y="195"/>
                    </a:cubicBezTo>
                    <a:cubicBezTo>
                      <a:pt x="1313" y="197"/>
                      <a:pt x="1313" y="197"/>
                      <a:pt x="1313" y="197"/>
                    </a:cubicBezTo>
                    <a:cubicBezTo>
                      <a:pt x="1311" y="199"/>
                      <a:pt x="1315" y="198"/>
                      <a:pt x="1315" y="200"/>
                    </a:cubicBezTo>
                    <a:cubicBezTo>
                      <a:pt x="1315" y="200"/>
                      <a:pt x="1315" y="200"/>
                      <a:pt x="1315" y="200"/>
                    </a:cubicBezTo>
                    <a:cubicBezTo>
                      <a:pt x="1315" y="201"/>
                      <a:pt x="1315" y="201"/>
                      <a:pt x="1315" y="201"/>
                    </a:cubicBezTo>
                    <a:cubicBezTo>
                      <a:pt x="1314" y="202"/>
                      <a:pt x="1313" y="203"/>
                      <a:pt x="1313" y="204"/>
                    </a:cubicBezTo>
                    <a:cubicBezTo>
                      <a:pt x="1313" y="205"/>
                      <a:pt x="1313" y="205"/>
                      <a:pt x="1313" y="205"/>
                    </a:cubicBezTo>
                    <a:cubicBezTo>
                      <a:pt x="1313" y="205"/>
                      <a:pt x="1313" y="205"/>
                      <a:pt x="1313" y="205"/>
                    </a:cubicBezTo>
                    <a:cubicBezTo>
                      <a:pt x="1312" y="206"/>
                      <a:pt x="1312" y="206"/>
                      <a:pt x="1312" y="206"/>
                    </a:cubicBezTo>
                    <a:cubicBezTo>
                      <a:pt x="1312" y="209"/>
                      <a:pt x="1312" y="209"/>
                      <a:pt x="1312" y="209"/>
                    </a:cubicBezTo>
                    <a:cubicBezTo>
                      <a:pt x="1309" y="215"/>
                      <a:pt x="1309" y="215"/>
                      <a:pt x="1309" y="215"/>
                    </a:cubicBezTo>
                    <a:cubicBezTo>
                      <a:pt x="1308" y="217"/>
                      <a:pt x="1308" y="217"/>
                      <a:pt x="1308" y="217"/>
                    </a:cubicBezTo>
                    <a:cubicBezTo>
                      <a:pt x="1308" y="219"/>
                      <a:pt x="1308" y="219"/>
                      <a:pt x="1308" y="219"/>
                    </a:cubicBezTo>
                    <a:cubicBezTo>
                      <a:pt x="1308" y="219"/>
                      <a:pt x="1308" y="219"/>
                      <a:pt x="1308" y="219"/>
                    </a:cubicBezTo>
                    <a:cubicBezTo>
                      <a:pt x="1308" y="219"/>
                      <a:pt x="1308" y="219"/>
                      <a:pt x="1308" y="219"/>
                    </a:cubicBezTo>
                    <a:cubicBezTo>
                      <a:pt x="1308" y="220"/>
                      <a:pt x="1308" y="220"/>
                      <a:pt x="1308" y="220"/>
                    </a:cubicBezTo>
                    <a:cubicBezTo>
                      <a:pt x="1309" y="220"/>
                      <a:pt x="1309" y="220"/>
                      <a:pt x="1309" y="220"/>
                    </a:cubicBezTo>
                    <a:cubicBezTo>
                      <a:pt x="1309" y="220"/>
                      <a:pt x="1309" y="220"/>
                      <a:pt x="1309" y="220"/>
                    </a:cubicBezTo>
                    <a:cubicBezTo>
                      <a:pt x="1309" y="221"/>
                      <a:pt x="1309" y="221"/>
                      <a:pt x="1309" y="221"/>
                    </a:cubicBezTo>
                    <a:cubicBezTo>
                      <a:pt x="1309" y="221"/>
                      <a:pt x="1309" y="221"/>
                      <a:pt x="1309" y="221"/>
                    </a:cubicBezTo>
                    <a:cubicBezTo>
                      <a:pt x="1309" y="221"/>
                      <a:pt x="1309" y="221"/>
                      <a:pt x="1309" y="221"/>
                    </a:cubicBezTo>
                    <a:cubicBezTo>
                      <a:pt x="1310" y="222"/>
                      <a:pt x="1310" y="222"/>
                      <a:pt x="1310" y="222"/>
                    </a:cubicBezTo>
                    <a:cubicBezTo>
                      <a:pt x="1310" y="222"/>
                      <a:pt x="1310" y="222"/>
                      <a:pt x="1310" y="222"/>
                    </a:cubicBezTo>
                    <a:cubicBezTo>
                      <a:pt x="1310" y="222"/>
                      <a:pt x="1310" y="222"/>
                      <a:pt x="1310" y="222"/>
                    </a:cubicBezTo>
                    <a:cubicBezTo>
                      <a:pt x="1311" y="224"/>
                      <a:pt x="1311" y="224"/>
                      <a:pt x="1313" y="225"/>
                    </a:cubicBezTo>
                    <a:cubicBezTo>
                      <a:pt x="1314" y="226"/>
                      <a:pt x="1314" y="226"/>
                      <a:pt x="1314" y="226"/>
                    </a:cubicBezTo>
                    <a:cubicBezTo>
                      <a:pt x="1314" y="226"/>
                      <a:pt x="1314" y="226"/>
                      <a:pt x="1314" y="226"/>
                    </a:cubicBezTo>
                    <a:cubicBezTo>
                      <a:pt x="1314" y="226"/>
                      <a:pt x="1314" y="226"/>
                      <a:pt x="1314" y="226"/>
                    </a:cubicBezTo>
                    <a:cubicBezTo>
                      <a:pt x="1314" y="227"/>
                      <a:pt x="1314" y="227"/>
                      <a:pt x="1314" y="227"/>
                    </a:cubicBezTo>
                    <a:cubicBezTo>
                      <a:pt x="1315" y="228"/>
                      <a:pt x="1316" y="229"/>
                      <a:pt x="1317" y="230"/>
                    </a:cubicBezTo>
                    <a:cubicBezTo>
                      <a:pt x="1317" y="230"/>
                      <a:pt x="1317" y="230"/>
                      <a:pt x="1317" y="230"/>
                    </a:cubicBezTo>
                    <a:cubicBezTo>
                      <a:pt x="1317" y="230"/>
                      <a:pt x="1317" y="230"/>
                      <a:pt x="1317" y="230"/>
                    </a:cubicBezTo>
                    <a:cubicBezTo>
                      <a:pt x="1317" y="231"/>
                      <a:pt x="1317" y="231"/>
                      <a:pt x="1317" y="231"/>
                    </a:cubicBezTo>
                    <a:cubicBezTo>
                      <a:pt x="1317" y="231"/>
                      <a:pt x="1317" y="231"/>
                      <a:pt x="1317" y="231"/>
                    </a:cubicBezTo>
                    <a:cubicBezTo>
                      <a:pt x="1317" y="231"/>
                      <a:pt x="1317" y="231"/>
                      <a:pt x="1317" y="231"/>
                    </a:cubicBezTo>
                    <a:cubicBezTo>
                      <a:pt x="1318" y="232"/>
                      <a:pt x="1318" y="232"/>
                      <a:pt x="1318" y="232"/>
                    </a:cubicBezTo>
                    <a:cubicBezTo>
                      <a:pt x="1318" y="232"/>
                      <a:pt x="1318" y="232"/>
                      <a:pt x="1318" y="232"/>
                    </a:cubicBezTo>
                    <a:cubicBezTo>
                      <a:pt x="1318" y="232"/>
                      <a:pt x="1318" y="232"/>
                      <a:pt x="1318" y="232"/>
                    </a:cubicBezTo>
                    <a:cubicBezTo>
                      <a:pt x="1318" y="233"/>
                      <a:pt x="1318" y="233"/>
                      <a:pt x="1318" y="233"/>
                    </a:cubicBezTo>
                    <a:cubicBezTo>
                      <a:pt x="1318" y="234"/>
                      <a:pt x="1318" y="234"/>
                      <a:pt x="1318" y="234"/>
                    </a:cubicBezTo>
                    <a:cubicBezTo>
                      <a:pt x="1317" y="237"/>
                      <a:pt x="1317" y="237"/>
                      <a:pt x="1317" y="237"/>
                    </a:cubicBezTo>
                    <a:cubicBezTo>
                      <a:pt x="1315" y="243"/>
                      <a:pt x="1315" y="243"/>
                      <a:pt x="1315" y="243"/>
                    </a:cubicBezTo>
                    <a:cubicBezTo>
                      <a:pt x="1315" y="245"/>
                      <a:pt x="1315" y="245"/>
                      <a:pt x="1315" y="245"/>
                    </a:cubicBezTo>
                    <a:cubicBezTo>
                      <a:pt x="1314" y="247"/>
                      <a:pt x="1314" y="247"/>
                      <a:pt x="1314" y="247"/>
                    </a:cubicBezTo>
                    <a:cubicBezTo>
                      <a:pt x="1315" y="247"/>
                      <a:pt x="1315" y="247"/>
                      <a:pt x="1315" y="247"/>
                    </a:cubicBezTo>
                    <a:cubicBezTo>
                      <a:pt x="1315" y="247"/>
                      <a:pt x="1315" y="247"/>
                      <a:pt x="1315" y="247"/>
                    </a:cubicBezTo>
                    <a:cubicBezTo>
                      <a:pt x="1315" y="248"/>
                      <a:pt x="1315" y="248"/>
                      <a:pt x="1315" y="248"/>
                    </a:cubicBezTo>
                    <a:cubicBezTo>
                      <a:pt x="1315" y="248"/>
                      <a:pt x="1315" y="248"/>
                      <a:pt x="1315" y="248"/>
                    </a:cubicBezTo>
                    <a:cubicBezTo>
                      <a:pt x="1316" y="248"/>
                      <a:pt x="1316" y="248"/>
                      <a:pt x="1316" y="248"/>
                    </a:cubicBezTo>
                    <a:cubicBezTo>
                      <a:pt x="1316" y="249"/>
                      <a:pt x="1316" y="249"/>
                      <a:pt x="1316" y="249"/>
                    </a:cubicBezTo>
                    <a:cubicBezTo>
                      <a:pt x="1316" y="249"/>
                      <a:pt x="1316" y="249"/>
                      <a:pt x="1316" y="249"/>
                    </a:cubicBezTo>
                    <a:cubicBezTo>
                      <a:pt x="1317" y="249"/>
                      <a:pt x="1317" y="249"/>
                      <a:pt x="1317" y="249"/>
                    </a:cubicBezTo>
                    <a:cubicBezTo>
                      <a:pt x="1317" y="249"/>
                      <a:pt x="1317" y="249"/>
                      <a:pt x="1317" y="249"/>
                    </a:cubicBezTo>
                    <a:cubicBezTo>
                      <a:pt x="1318" y="250"/>
                      <a:pt x="1319" y="251"/>
                      <a:pt x="1320" y="251"/>
                    </a:cubicBezTo>
                    <a:cubicBezTo>
                      <a:pt x="1320" y="251"/>
                      <a:pt x="1321" y="251"/>
                      <a:pt x="1322" y="251"/>
                    </a:cubicBezTo>
                    <a:cubicBezTo>
                      <a:pt x="1322" y="250"/>
                      <a:pt x="1322" y="250"/>
                      <a:pt x="1322" y="250"/>
                    </a:cubicBezTo>
                    <a:cubicBezTo>
                      <a:pt x="1323" y="250"/>
                      <a:pt x="1323" y="250"/>
                      <a:pt x="1323" y="250"/>
                    </a:cubicBezTo>
                    <a:cubicBezTo>
                      <a:pt x="1325" y="250"/>
                      <a:pt x="1326" y="248"/>
                      <a:pt x="1328" y="248"/>
                    </a:cubicBezTo>
                    <a:cubicBezTo>
                      <a:pt x="1328" y="248"/>
                      <a:pt x="1328" y="248"/>
                      <a:pt x="1328" y="248"/>
                    </a:cubicBezTo>
                    <a:cubicBezTo>
                      <a:pt x="1328" y="248"/>
                      <a:pt x="1328" y="248"/>
                      <a:pt x="1328" y="248"/>
                    </a:cubicBezTo>
                    <a:cubicBezTo>
                      <a:pt x="1329" y="248"/>
                      <a:pt x="1329" y="248"/>
                      <a:pt x="1329" y="248"/>
                    </a:cubicBezTo>
                    <a:cubicBezTo>
                      <a:pt x="1329" y="248"/>
                      <a:pt x="1329" y="248"/>
                      <a:pt x="1329" y="248"/>
                    </a:cubicBezTo>
                    <a:cubicBezTo>
                      <a:pt x="1330" y="248"/>
                      <a:pt x="1330" y="248"/>
                      <a:pt x="1331" y="248"/>
                    </a:cubicBezTo>
                    <a:cubicBezTo>
                      <a:pt x="1335" y="248"/>
                      <a:pt x="1338" y="249"/>
                      <a:pt x="1342" y="251"/>
                    </a:cubicBezTo>
                    <a:cubicBezTo>
                      <a:pt x="1343" y="251"/>
                      <a:pt x="1343" y="251"/>
                      <a:pt x="1343" y="251"/>
                    </a:cubicBezTo>
                    <a:cubicBezTo>
                      <a:pt x="1343" y="251"/>
                      <a:pt x="1343" y="251"/>
                      <a:pt x="1343" y="251"/>
                    </a:cubicBezTo>
                    <a:cubicBezTo>
                      <a:pt x="1344" y="251"/>
                      <a:pt x="1344" y="251"/>
                      <a:pt x="1344" y="251"/>
                    </a:cubicBezTo>
                    <a:cubicBezTo>
                      <a:pt x="1344" y="251"/>
                      <a:pt x="1344" y="251"/>
                      <a:pt x="1344" y="251"/>
                    </a:cubicBezTo>
                    <a:cubicBezTo>
                      <a:pt x="1345" y="251"/>
                      <a:pt x="1345" y="251"/>
                      <a:pt x="1345" y="251"/>
                    </a:cubicBezTo>
                    <a:cubicBezTo>
                      <a:pt x="1347" y="250"/>
                      <a:pt x="1347" y="250"/>
                      <a:pt x="1350" y="250"/>
                    </a:cubicBezTo>
                    <a:cubicBezTo>
                      <a:pt x="1350" y="250"/>
                      <a:pt x="1350" y="250"/>
                      <a:pt x="1350" y="250"/>
                    </a:cubicBezTo>
                    <a:cubicBezTo>
                      <a:pt x="1351" y="250"/>
                      <a:pt x="1351" y="250"/>
                      <a:pt x="1351" y="250"/>
                    </a:cubicBezTo>
                    <a:cubicBezTo>
                      <a:pt x="1354" y="250"/>
                      <a:pt x="1350" y="248"/>
                      <a:pt x="1355" y="246"/>
                    </a:cubicBezTo>
                    <a:cubicBezTo>
                      <a:pt x="1355" y="246"/>
                      <a:pt x="1355" y="246"/>
                      <a:pt x="1355" y="246"/>
                    </a:cubicBezTo>
                    <a:cubicBezTo>
                      <a:pt x="1356" y="246"/>
                      <a:pt x="1356" y="246"/>
                      <a:pt x="1356" y="246"/>
                    </a:cubicBezTo>
                    <a:cubicBezTo>
                      <a:pt x="1356" y="246"/>
                      <a:pt x="1356" y="246"/>
                      <a:pt x="1356" y="246"/>
                    </a:cubicBezTo>
                    <a:cubicBezTo>
                      <a:pt x="1357" y="246"/>
                      <a:pt x="1357" y="246"/>
                      <a:pt x="1357" y="246"/>
                    </a:cubicBezTo>
                    <a:cubicBezTo>
                      <a:pt x="1359" y="245"/>
                      <a:pt x="1359" y="244"/>
                      <a:pt x="1362" y="243"/>
                    </a:cubicBezTo>
                    <a:cubicBezTo>
                      <a:pt x="1362" y="243"/>
                      <a:pt x="1362" y="243"/>
                      <a:pt x="1362" y="243"/>
                    </a:cubicBezTo>
                    <a:cubicBezTo>
                      <a:pt x="1363" y="243"/>
                      <a:pt x="1363" y="243"/>
                      <a:pt x="1363" y="243"/>
                    </a:cubicBezTo>
                    <a:cubicBezTo>
                      <a:pt x="1363" y="242"/>
                      <a:pt x="1364" y="242"/>
                      <a:pt x="1366" y="242"/>
                    </a:cubicBezTo>
                    <a:cubicBezTo>
                      <a:pt x="1366" y="242"/>
                      <a:pt x="1367" y="242"/>
                      <a:pt x="1368" y="242"/>
                    </a:cubicBezTo>
                    <a:cubicBezTo>
                      <a:pt x="1369" y="243"/>
                      <a:pt x="1369" y="243"/>
                      <a:pt x="1369" y="243"/>
                    </a:cubicBezTo>
                    <a:cubicBezTo>
                      <a:pt x="1370" y="243"/>
                      <a:pt x="1370" y="243"/>
                      <a:pt x="1370" y="243"/>
                    </a:cubicBezTo>
                    <a:cubicBezTo>
                      <a:pt x="1370" y="243"/>
                      <a:pt x="1370" y="243"/>
                      <a:pt x="1370" y="243"/>
                    </a:cubicBezTo>
                    <a:cubicBezTo>
                      <a:pt x="1371" y="243"/>
                      <a:pt x="1371" y="243"/>
                      <a:pt x="1371" y="243"/>
                    </a:cubicBezTo>
                    <a:cubicBezTo>
                      <a:pt x="1371" y="243"/>
                      <a:pt x="1371" y="243"/>
                      <a:pt x="1371" y="243"/>
                    </a:cubicBezTo>
                    <a:cubicBezTo>
                      <a:pt x="1372" y="243"/>
                      <a:pt x="1372" y="243"/>
                      <a:pt x="1372" y="243"/>
                    </a:cubicBezTo>
                    <a:cubicBezTo>
                      <a:pt x="1372" y="243"/>
                      <a:pt x="1373" y="243"/>
                      <a:pt x="1373" y="243"/>
                    </a:cubicBezTo>
                    <a:cubicBezTo>
                      <a:pt x="1375" y="243"/>
                      <a:pt x="1376" y="243"/>
                      <a:pt x="1376" y="243"/>
                    </a:cubicBezTo>
                    <a:cubicBezTo>
                      <a:pt x="1377" y="243"/>
                      <a:pt x="1378" y="243"/>
                      <a:pt x="1378" y="243"/>
                    </a:cubicBezTo>
                    <a:cubicBezTo>
                      <a:pt x="1379" y="243"/>
                      <a:pt x="1380" y="243"/>
                      <a:pt x="1384" y="246"/>
                    </a:cubicBezTo>
                    <a:cubicBezTo>
                      <a:pt x="1385" y="246"/>
                      <a:pt x="1385" y="246"/>
                      <a:pt x="1385" y="246"/>
                    </a:cubicBezTo>
                    <a:cubicBezTo>
                      <a:pt x="1385" y="246"/>
                      <a:pt x="1385" y="246"/>
                      <a:pt x="1385" y="246"/>
                    </a:cubicBezTo>
                    <a:cubicBezTo>
                      <a:pt x="1386" y="246"/>
                      <a:pt x="1386" y="246"/>
                      <a:pt x="1386" y="246"/>
                    </a:cubicBezTo>
                    <a:cubicBezTo>
                      <a:pt x="1388" y="247"/>
                      <a:pt x="1388" y="248"/>
                      <a:pt x="1391" y="248"/>
                    </a:cubicBezTo>
                    <a:cubicBezTo>
                      <a:pt x="1392" y="248"/>
                      <a:pt x="1392" y="248"/>
                      <a:pt x="1392" y="248"/>
                    </a:cubicBezTo>
                    <a:cubicBezTo>
                      <a:pt x="1393" y="248"/>
                      <a:pt x="1393" y="248"/>
                      <a:pt x="1393" y="248"/>
                    </a:cubicBezTo>
                    <a:cubicBezTo>
                      <a:pt x="1394" y="248"/>
                      <a:pt x="1394" y="248"/>
                      <a:pt x="1395" y="248"/>
                    </a:cubicBezTo>
                    <a:cubicBezTo>
                      <a:pt x="1395" y="248"/>
                      <a:pt x="1395" y="248"/>
                      <a:pt x="1396" y="248"/>
                    </a:cubicBezTo>
                    <a:cubicBezTo>
                      <a:pt x="1396" y="248"/>
                      <a:pt x="1397" y="248"/>
                      <a:pt x="1398" y="248"/>
                    </a:cubicBezTo>
                    <a:cubicBezTo>
                      <a:pt x="1398" y="248"/>
                      <a:pt x="1398" y="248"/>
                      <a:pt x="1398" y="248"/>
                    </a:cubicBezTo>
                    <a:cubicBezTo>
                      <a:pt x="1399" y="248"/>
                      <a:pt x="1399" y="248"/>
                      <a:pt x="1399" y="248"/>
                    </a:cubicBezTo>
                    <a:cubicBezTo>
                      <a:pt x="1399" y="249"/>
                      <a:pt x="1399" y="249"/>
                      <a:pt x="1399" y="249"/>
                    </a:cubicBezTo>
                    <a:cubicBezTo>
                      <a:pt x="1400" y="249"/>
                      <a:pt x="1400" y="249"/>
                      <a:pt x="1400" y="249"/>
                    </a:cubicBezTo>
                    <a:cubicBezTo>
                      <a:pt x="1400" y="249"/>
                      <a:pt x="1400" y="249"/>
                      <a:pt x="1400" y="249"/>
                    </a:cubicBezTo>
                    <a:cubicBezTo>
                      <a:pt x="1400" y="249"/>
                      <a:pt x="1400" y="249"/>
                      <a:pt x="1400" y="249"/>
                    </a:cubicBezTo>
                    <a:cubicBezTo>
                      <a:pt x="1402" y="250"/>
                      <a:pt x="1401" y="252"/>
                      <a:pt x="1403" y="253"/>
                    </a:cubicBezTo>
                    <a:cubicBezTo>
                      <a:pt x="1403" y="253"/>
                      <a:pt x="1403" y="253"/>
                      <a:pt x="1403" y="253"/>
                    </a:cubicBezTo>
                    <a:cubicBezTo>
                      <a:pt x="1403" y="254"/>
                      <a:pt x="1403" y="254"/>
                      <a:pt x="1403" y="254"/>
                    </a:cubicBezTo>
                    <a:cubicBezTo>
                      <a:pt x="1404" y="255"/>
                      <a:pt x="1406" y="254"/>
                      <a:pt x="1407" y="255"/>
                    </a:cubicBezTo>
                    <a:cubicBezTo>
                      <a:pt x="1407" y="255"/>
                      <a:pt x="1407" y="255"/>
                      <a:pt x="1407" y="255"/>
                    </a:cubicBezTo>
                    <a:cubicBezTo>
                      <a:pt x="1408" y="255"/>
                      <a:pt x="1408" y="255"/>
                      <a:pt x="1408" y="255"/>
                    </a:cubicBezTo>
                    <a:cubicBezTo>
                      <a:pt x="1408" y="255"/>
                      <a:pt x="1408" y="255"/>
                      <a:pt x="1408" y="255"/>
                    </a:cubicBezTo>
                    <a:cubicBezTo>
                      <a:pt x="1417" y="255"/>
                      <a:pt x="1415" y="259"/>
                      <a:pt x="1421" y="259"/>
                    </a:cubicBezTo>
                    <a:cubicBezTo>
                      <a:pt x="1421" y="259"/>
                      <a:pt x="1421" y="259"/>
                      <a:pt x="1421" y="259"/>
                    </a:cubicBezTo>
                    <a:cubicBezTo>
                      <a:pt x="1422" y="259"/>
                      <a:pt x="1422" y="259"/>
                      <a:pt x="1422" y="259"/>
                    </a:cubicBezTo>
                    <a:cubicBezTo>
                      <a:pt x="1422" y="259"/>
                      <a:pt x="1422" y="259"/>
                      <a:pt x="1422" y="259"/>
                    </a:cubicBezTo>
                    <a:cubicBezTo>
                      <a:pt x="1423" y="259"/>
                      <a:pt x="1423" y="259"/>
                      <a:pt x="1423" y="259"/>
                    </a:cubicBezTo>
                    <a:cubicBezTo>
                      <a:pt x="1423" y="259"/>
                      <a:pt x="1423" y="259"/>
                      <a:pt x="1423" y="259"/>
                    </a:cubicBezTo>
                    <a:cubicBezTo>
                      <a:pt x="1424" y="260"/>
                      <a:pt x="1424" y="260"/>
                      <a:pt x="1424" y="260"/>
                    </a:cubicBezTo>
                    <a:cubicBezTo>
                      <a:pt x="1425" y="263"/>
                      <a:pt x="1425" y="263"/>
                      <a:pt x="1425" y="263"/>
                    </a:cubicBezTo>
                    <a:cubicBezTo>
                      <a:pt x="1426" y="270"/>
                      <a:pt x="1426" y="270"/>
                      <a:pt x="1426" y="270"/>
                    </a:cubicBezTo>
                    <a:cubicBezTo>
                      <a:pt x="1427" y="273"/>
                      <a:pt x="1427" y="273"/>
                      <a:pt x="1427" y="273"/>
                    </a:cubicBezTo>
                    <a:cubicBezTo>
                      <a:pt x="1427" y="275"/>
                      <a:pt x="1427" y="275"/>
                      <a:pt x="1427" y="275"/>
                    </a:cubicBezTo>
                    <a:cubicBezTo>
                      <a:pt x="1427" y="275"/>
                      <a:pt x="1427" y="275"/>
                      <a:pt x="1427" y="275"/>
                    </a:cubicBezTo>
                    <a:cubicBezTo>
                      <a:pt x="1428" y="275"/>
                      <a:pt x="1428" y="275"/>
                      <a:pt x="1428" y="275"/>
                    </a:cubicBezTo>
                    <a:cubicBezTo>
                      <a:pt x="1428" y="276"/>
                      <a:pt x="1428" y="276"/>
                      <a:pt x="1428" y="276"/>
                    </a:cubicBezTo>
                    <a:cubicBezTo>
                      <a:pt x="1428" y="278"/>
                      <a:pt x="1428" y="278"/>
                      <a:pt x="1428" y="278"/>
                    </a:cubicBezTo>
                    <a:cubicBezTo>
                      <a:pt x="1429" y="279"/>
                      <a:pt x="1429" y="279"/>
                      <a:pt x="1429" y="279"/>
                    </a:cubicBezTo>
                    <a:cubicBezTo>
                      <a:pt x="1429" y="279"/>
                      <a:pt x="1429" y="279"/>
                      <a:pt x="1429" y="279"/>
                    </a:cubicBezTo>
                    <a:cubicBezTo>
                      <a:pt x="1430" y="279"/>
                      <a:pt x="1430" y="279"/>
                      <a:pt x="1430" y="279"/>
                    </a:cubicBezTo>
                    <a:cubicBezTo>
                      <a:pt x="1430" y="279"/>
                      <a:pt x="1430" y="279"/>
                      <a:pt x="1430" y="279"/>
                    </a:cubicBezTo>
                    <a:cubicBezTo>
                      <a:pt x="1431" y="279"/>
                      <a:pt x="1431" y="279"/>
                      <a:pt x="1431" y="279"/>
                    </a:cubicBezTo>
                    <a:cubicBezTo>
                      <a:pt x="1431" y="279"/>
                      <a:pt x="1431" y="279"/>
                      <a:pt x="1431" y="279"/>
                    </a:cubicBezTo>
                    <a:cubicBezTo>
                      <a:pt x="1432" y="281"/>
                      <a:pt x="1432" y="281"/>
                      <a:pt x="1432" y="281"/>
                    </a:cubicBezTo>
                    <a:cubicBezTo>
                      <a:pt x="1432" y="282"/>
                      <a:pt x="1432" y="282"/>
                      <a:pt x="1432" y="282"/>
                    </a:cubicBezTo>
                    <a:cubicBezTo>
                      <a:pt x="1433" y="282"/>
                      <a:pt x="1433" y="282"/>
                      <a:pt x="1433" y="282"/>
                    </a:cubicBezTo>
                    <a:cubicBezTo>
                      <a:pt x="1433" y="283"/>
                      <a:pt x="1433" y="283"/>
                      <a:pt x="1433" y="283"/>
                    </a:cubicBezTo>
                    <a:cubicBezTo>
                      <a:pt x="1433" y="284"/>
                      <a:pt x="1433" y="284"/>
                      <a:pt x="1433" y="284"/>
                    </a:cubicBezTo>
                    <a:cubicBezTo>
                      <a:pt x="1434" y="285"/>
                      <a:pt x="1434" y="285"/>
                      <a:pt x="1434" y="285"/>
                    </a:cubicBezTo>
                    <a:cubicBezTo>
                      <a:pt x="1434" y="285"/>
                      <a:pt x="1434" y="285"/>
                      <a:pt x="1434" y="285"/>
                    </a:cubicBezTo>
                    <a:cubicBezTo>
                      <a:pt x="1434" y="285"/>
                      <a:pt x="1434" y="285"/>
                      <a:pt x="1434" y="285"/>
                    </a:cubicBezTo>
                    <a:cubicBezTo>
                      <a:pt x="1435" y="286"/>
                      <a:pt x="1436" y="286"/>
                      <a:pt x="1437" y="287"/>
                    </a:cubicBezTo>
                    <a:cubicBezTo>
                      <a:pt x="1439" y="290"/>
                      <a:pt x="1439" y="290"/>
                      <a:pt x="1439" y="290"/>
                    </a:cubicBezTo>
                    <a:cubicBezTo>
                      <a:pt x="1439" y="291"/>
                      <a:pt x="1439" y="291"/>
                      <a:pt x="1439" y="291"/>
                    </a:cubicBezTo>
                    <a:cubicBezTo>
                      <a:pt x="1439" y="292"/>
                      <a:pt x="1439" y="292"/>
                      <a:pt x="1439" y="292"/>
                    </a:cubicBezTo>
                    <a:cubicBezTo>
                      <a:pt x="1439" y="292"/>
                      <a:pt x="1439" y="292"/>
                      <a:pt x="1439" y="292"/>
                    </a:cubicBezTo>
                    <a:cubicBezTo>
                      <a:pt x="1438" y="292"/>
                      <a:pt x="1438" y="292"/>
                      <a:pt x="1438" y="292"/>
                    </a:cubicBezTo>
                    <a:cubicBezTo>
                      <a:pt x="1436" y="292"/>
                      <a:pt x="1433" y="293"/>
                      <a:pt x="1430" y="293"/>
                    </a:cubicBezTo>
                    <a:cubicBezTo>
                      <a:pt x="1430" y="293"/>
                      <a:pt x="1430" y="293"/>
                      <a:pt x="1430" y="293"/>
                    </a:cubicBezTo>
                    <a:cubicBezTo>
                      <a:pt x="1429" y="293"/>
                      <a:pt x="1429" y="293"/>
                      <a:pt x="1429" y="293"/>
                    </a:cubicBezTo>
                    <a:cubicBezTo>
                      <a:pt x="1423" y="294"/>
                      <a:pt x="1420" y="300"/>
                      <a:pt x="1420" y="305"/>
                    </a:cubicBezTo>
                    <a:cubicBezTo>
                      <a:pt x="1421" y="306"/>
                      <a:pt x="1421" y="306"/>
                      <a:pt x="1421" y="306"/>
                    </a:cubicBezTo>
                    <a:cubicBezTo>
                      <a:pt x="1422" y="307"/>
                      <a:pt x="1422" y="307"/>
                      <a:pt x="1422" y="307"/>
                    </a:cubicBezTo>
                    <a:cubicBezTo>
                      <a:pt x="1422" y="308"/>
                      <a:pt x="1422" y="308"/>
                      <a:pt x="1422" y="308"/>
                    </a:cubicBezTo>
                    <a:cubicBezTo>
                      <a:pt x="1422" y="310"/>
                      <a:pt x="1422" y="310"/>
                      <a:pt x="1422" y="310"/>
                    </a:cubicBezTo>
                    <a:cubicBezTo>
                      <a:pt x="1420" y="313"/>
                      <a:pt x="1420" y="313"/>
                      <a:pt x="1420" y="313"/>
                    </a:cubicBezTo>
                    <a:cubicBezTo>
                      <a:pt x="1420" y="315"/>
                      <a:pt x="1420" y="315"/>
                      <a:pt x="1420" y="315"/>
                    </a:cubicBezTo>
                    <a:cubicBezTo>
                      <a:pt x="1420" y="316"/>
                      <a:pt x="1420" y="316"/>
                      <a:pt x="1420" y="316"/>
                    </a:cubicBezTo>
                    <a:cubicBezTo>
                      <a:pt x="1420" y="316"/>
                      <a:pt x="1420" y="316"/>
                      <a:pt x="1420" y="316"/>
                    </a:cubicBezTo>
                    <a:cubicBezTo>
                      <a:pt x="1420" y="316"/>
                      <a:pt x="1420" y="316"/>
                      <a:pt x="1420" y="316"/>
                    </a:cubicBezTo>
                    <a:cubicBezTo>
                      <a:pt x="1421" y="317"/>
                      <a:pt x="1421" y="317"/>
                      <a:pt x="1421" y="317"/>
                    </a:cubicBezTo>
                    <a:cubicBezTo>
                      <a:pt x="1421" y="317"/>
                      <a:pt x="1421" y="317"/>
                      <a:pt x="1421" y="317"/>
                    </a:cubicBezTo>
                    <a:cubicBezTo>
                      <a:pt x="1422" y="317"/>
                      <a:pt x="1422" y="317"/>
                      <a:pt x="1422" y="317"/>
                    </a:cubicBezTo>
                    <a:cubicBezTo>
                      <a:pt x="1422" y="317"/>
                      <a:pt x="1422" y="317"/>
                      <a:pt x="1422" y="317"/>
                    </a:cubicBezTo>
                    <a:cubicBezTo>
                      <a:pt x="1423" y="317"/>
                      <a:pt x="1423" y="317"/>
                      <a:pt x="1423" y="317"/>
                    </a:cubicBezTo>
                    <a:cubicBezTo>
                      <a:pt x="1423" y="317"/>
                      <a:pt x="1423" y="317"/>
                      <a:pt x="1423" y="317"/>
                    </a:cubicBezTo>
                    <a:cubicBezTo>
                      <a:pt x="1424" y="317"/>
                      <a:pt x="1424" y="317"/>
                      <a:pt x="1424" y="317"/>
                    </a:cubicBezTo>
                    <a:cubicBezTo>
                      <a:pt x="1424" y="318"/>
                      <a:pt x="1424" y="318"/>
                      <a:pt x="1424" y="318"/>
                    </a:cubicBezTo>
                    <a:cubicBezTo>
                      <a:pt x="1425" y="318"/>
                      <a:pt x="1425" y="318"/>
                      <a:pt x="1425" y="318"/>
                    </a:cubicBezTo>
                    <a:cubicBezTo>
                      <a:pt x="1425" y="318"/>
                      <a:pt x="1425" y="318"/>
                      <a:pt x="1425" y="318"/>
                    </a:cubicBezTo>
                    <a:cubicBezTo>
                      <a:pt x="1426" y="318"/>
                      <a:pt x="1426" y="318"/>
                      <a:pt x="1426" y="318"/>
                    </a:cubicBezTo>
                    <a:cubicBezTo>
                      <a:pt x="1426" y="317"/>
                      <a:pt x="1426" y="317"/>
                      <a:pt x="1426" y="317"/>
                    </a:cubicBezTo>
                    <a:cubicBezTo>
                      <a:pt x="1427" y="317"/>
                      <a:pt x="1427" y="317"/>
                      <a:pt x="1427" y="317"/>
                    </a:cubicBezTo>
                    <a:cubicBezTo>
                      <a:pt x="1427" y="317"/>
                      <a:pt x="1427" y="317"/>
                      <a:pt x="1427" y="317"/>
                    </a:cubicBezTo>
                    <a:cubicBezTo>
                      <a:pt x="1427" y="317"/>
                      <a:pt x="1427" y="317"/>
                      <a:pt x="1427" y="317"/>
                    </a:cubicBezTo>
                    <a:cubicBezTo>
                      <a:pt x="1428" y="317"/>
                      <a:pt x="1428" y="317"/>
                      <a:pt x="1428" y="317"/>
                    </a:cubicBezTo>
                    <a:cubicBezTo>
                      <a:pt x="1428" y="316"/>
                      <a:pt x="1428" y="316"/>
                      <a:pt x="1428" y="316"/>
                    </a:cubicBezTo>
                    <a:cubicBezTo>
                      <a:pt x="1428" y="316"/>
                      <a:pt x="1428" y="316"/>
                      <a:pt x="1428" y="316"/>
                    </a:cubicBezTo>
                    <a:cubicBezTo>
                      <a:pt x="1428" y="315"/>
                      <a:pt x="1428" y="315"/>
                      <a:pt x="1428" y="315"/>
                    </a:cubicBezTo>
                    <a:cubicBezTo>
                      <a:pt x="1428" y="315"/>
                      <a:pt x="1428" y="315"/>
                      <a:pt x="1428" y="315"/>
                    </a:cubicBezTo>
                    <a:cubicBezTo>
                      <a:pt x="1429" y="315"/>
                      <a:pt x="1429" y="315"/>
                      <a:pt x="1429" y="315"/>
                    </a:cubicBezTo>
                    <a:cubicBezTo>
                      <a:pt x="1429" y="316"/>
                      <a:pt x="1429" y="316"/>
                      <a:pt x="1429" y="316"/>
                    </a:cubicBezTo>
                    <a:cubicBezTo>
                      <a:pt x="1429" y="316"/>
                      <a:pt x="1429" y="316"/>
                      <a:pt x="1429" y="316"/>
                    </a:cubicBezTo>
                    <a:cubicBezTo>
                      <a:pt x="1431" y="319"/>
                      <a:pt x="1431" y="320"/>
                      <a:pt x="1432" y="320"/>
                    </a:cubicBezTo>
                    <a:cubicBezTo>
                      <a:pt x="1432" y="320"/>
                      <a:pt x="1433" y="319"/>
                      <a:pt x="1434" y="319"/>
                    </a:cubicBezTo>
                    <a:cubicBezTo>
                      <a:pt x="1435" y="319"/>
                      <a:pt x="1435" y="319"/>
                      <a:pt x="1435" y="319"/>
                    </a:cubicBezTo>
                    <a:cubicBezTo>
                      <a:pt x="1435" y="319"/>
                      <a:pt x="1435" y="319"/>
                      <a:pt x="1435" y="319"/>
                    </a:cubicBezTo>
                    <a:cubicBezTo>
                      <a:pt x="1435" y="319"/>
                      <a:pt x="1435" y="319"/>
                      <a:pt x="1435" y="319"/>
                    </a:cubicBezTo>
                    <a:cubicBezTo>
                      <a:pt x="1436" y="320"/>
                      <a:pt x="1436" y="320"/>
                      <a:pt x="1437" y="320"/>
                    </a:cubicBezTo>
                    <a:cubicBezTo>
                      <a:pt x="1437" y="321"/>
                      <a:pt x="1437" y="321"/>
                      <a:pt x="1437" y="321"/>
                    </a:cubicBezTo>
                    <a:cubicBezTo>
                      <a:pt x="1438" y="321"/>
                      <a:pt x="1438" y="321"/>
                      <a:pt x="1438" y="321"/>
                    </a:cubicBezTo>
                    <a:cubicBezTo>
                      <a:pt x="1438" y="321"/>
                      <a:pt x="1439" y="321"/>
                      <a:pt x="1439" y="321"/>
                    </a:cubicBezTo>
                    <a:cubicBezTo>
                      <a:pt x="1439" y="321"/>
                      <a:pt x="1440" y="321"/>
                      <a:pt x="1440" y="320"/>
                    </a:cubicBezTo>
                    <a:cubicBezTo>
                      <a:pt x="1440" y="320"/>
                      <a:pt x="1440" y="320"/>
                      <a:pt x="1440" y="320"/>
                    </a:cubicBezTo>
                    <a:cubicBezTo>
                      <a:pt x="1441" y="320"/>
                      <a:pt x="1441" y="320"/>
                      <a:pt x="1441" y="320"/>
                    </a:cubicBezTo>
                    <a:cubicBezTo>
                      <a:pt x="1441" y="321"/>
                      <a:pt x="1441" y="321"/>
                      <a:pt x="1441" y="321"/>
                    </a:cubicBezTo>
                    <a:cubicBezTo>
                      <a:pt x="1442" y="321"/>
                      <a:pt x="1442" y="321"/>
                      <a:pt x="1442" y="321"/>
                    </a:cubicBezTo>
                    <a:cubicBezTo>
                      <a:pt x="1442" y="321"/>
                      <a:pt x="1442" y="321"/>
                      <a:pt x="1442" y="321"/>
                    </a:cubicBezTo>
                    <a:cubicBezTo>
                      <a:pt x="1443" y="321"/>
                      <a:pt x="1443" y="321"/>
                      <a:pt x="1443" y="321"/>
                    </a:cubicBezTo>
                    <a:cubicBezTo>
                      <a:pt x="1443" y="320"/>
                      <a:pt x="1443" y="320"/>
                      <a:pt x="1444" y="320"/>
                    </a:cubicBezTo>
                    <a:cubicBezTo>
                      <a:pt x="1444" y="320"/>
                      <a:pt x="1444" y="320"/>
                      <a:pt x="1445" y="320"/>
                    </a:cubicBezTo>
                    <a:cubicBezTo>
                      <a:pt x="1445" y="321"/>
                      <a:pt x="1445" y="321"/>
                      <a:pt x="1445" y="321"/>
                    </a:cubicBezTo>
                    <a:cubicBezTo>
                      <a:pt x="1445" y="321"/>
                      <a:pt x="1445" y="321"/>
                      <a:pt x="1445" y="321"/>
                    </a:cubicBezTo>
                    <a:cubicBezTo>
                      <a:pt x="1445" y="321"/>
                      <a:pt x="1445" y="321"/>
                      <a:pt x="1445" y="321"/>
                    </a:cubicBezTo>
                    <a:cubicBezTo>
                      <a:pt x="1446" y="322"/>
                      <a:pt x="1446" y="322"/>
                      <a:pt x="1446" y="322"/>
                    </a:cubicBezTo>
                    <a:cubicBezTo>
                      <a:pt x="1446" y="322"/>
                      <a:pt x="1446" y="322"/>
                      <a:pt x="1446" y="322"/>
                    </a:cubicBezTo>
                    <a:cubicBezTo>
                      <a:pt x="1446" y="322"/>
                      <a:pt x="1446" y="322"/>
                      <a:pt x="1446" y="322"/>
                    </a:cubicBezTo>
                    <a:cubicBezTo>
                      <a:pt x="1447" y="321"/>
                      <a:pt x="1447" y="321"/>
                      <a:pt x="1447" y="321"/>
                    </a:cubicBezTo>
                    <a:cubicBezTo>
                      <a:pt x="1447" y="321"/>
                      <a:pt x="1447" y="321"/>
                      <a:pt x="1447" y="321"/>
                    </a:cubicBezTo>
                    <a:cubicBezTo>
                      <a:pt x="1447" y="320"/>
                      <a:pt x="1447" y="320"/>
                      <a:pt x="1447" y="320"/>
                    </a:cubicBezTo>
                    <a:cubicBezTo>
                      <a:pt x="1447" y="320"/>
                      <a:pt x="1447" y="320"/>
                      <a:pt x="1447" y="320"/>
                    </a:cubicBezTo>
                    <a:cubicBezTo>
                      <a:pt x="1447" y="320"/>
                      <a:pt x="1447" y="320"/>
                      <a:pt x="1447" y="320"/>
                    </a:cubicBezTo>
                    <a:cubicBezTo>
                      <a:pt x="1447" y="319"/>
                      <a:pt x="1447" y="319"/>
                      <a:pt x="1447" y="319"/>
                    </a:cubicBezTo>
                    <a:cubicBezTo>
                      <a:pt x="1447" y="319"/>
                      <a:pt x="1447" y="319"/>
                      <a:pt x="1447" y="319"/>
                    </a:cubicBezTo>
                    <a:cubicBezTo>
                      <a:pt x="1447" y="319"/>
                      <a:pt x="1447" y="319"/>
                      <a:pt x="1447" y="319"/>
                    </a:cubicBezTo>
                    <a:cubicBezTo>
                      <a:pt x="1447" y="319"/>
                      <a:pt x="1447" y="319"/>
                      <a:pt x="1447" y="319"/>
                    </a:cubicBezTo>
                    <a:cubicBezTo>
                      <a:pt x="1448" y="319"/>
                      <a:pt x="1448" y="319"/>
                      <a:pt x="1448" y="319"/>
                    </a:cubicBezTo>
                    <a:cubicBezTo>
                      <a:pt x="1448" y="319"/>
                      <a:pt x="1448" y="319"/>
                      <a:pt x="1448" y="319"/>
                    </a:cubicBezTo>
                    <a:cubicBezTo>
                      <a:pt x="1448" y="319"/>
                      <a:pt x="1448" y="319"/>
                      <a:pt x="1448" y="319"/>
                    </a:cubicBezTo>
                    <a:cubicBezTo>
                      <a:pt x="1448" y="320"/>
                      <a:pt x="1448" y="320"/>
                      <a:pt x="1448" y="320"/>
                    </a:cubicBezTo>
                    <a:cubicBezTo>
                      <a:pt x="1448" y="320"/>
                      <a:pt x="1448" y="320"/>
                      <a:pt x="1448" y="320"/>
                    </a:cubicBezTo>
                    <a:cubicBezTo>
                      <a:pt x="1448" y="320"/>
                      <a:pt x="1448" y="320"/>
                      <a:pt x="1448" y="320"/>
                    </a:cubicBezTo>
                    <a:cubicBezTo>
                      <a:pt x="1449" y="321"/>
                      <a:pt x="1449" y="321"/>
                      <a:pt x="1449" y="321"/>
                    </a:cubicBezTo>
                    <a:cubicBezTo>
                      <a:pt x="1450" y="321"/>
                      <a:pt x="1450" y="321"/>
                      <a:pt x="1450" y="321"/>
                    </a:cubicBezTo>
                    <a:cubicBezTo>
                      <a:pt x="1452" y="321"/>
                      <a:pt x="1452" y="321"/>
                      <a:pt x="1452" y="321"/>
                    </a:cubicBezTo>
                    <a:cubicBezTo>
                      <a:pt x="1452" y="322"/>
                      <a:pt x="1452" y="322"/>
                      <a:pt x="1452" y="322"/>
                    </a:cubicBezTo>
                    <a:cubicBezTo>
                      <a:pt x="1452" y="322"/>
                      <a:pt x="1452" y="322"/>
                      <a:pt x="1452" y="322"/>
                    </a:cubicBezTo>
                    <a:cubicBezTo>
                      <a:pt x="1451" y="322"/>
                      <a:pt x="1451" y="322"/>
                      <a:pt x="1451" y="322"/>
                    </a:cubicBezTo>
                    <a:cubicBezTo>
                      <a:pt x="1451" y="322"/>
                      <a:pt x="1451" y="322"/>
                      <a:pt x="1451" y="322"/>
                    </a:cubicBezTo>
                    <a:cubicBezTo>
                      <a:pt x="1449" y="322"/>
                      <a:pt x="1449" y="322"/>
                      <a:pt x="1449" y="322"/>
                    </a:cubicBezTo>
                    <a:cubicBezTo>
                      <a:pt x="1449" y="322"/>
                      <a:pt x="1449" y="322"/>
                      <a:pt x="1449" y="322"/>
                    </a:cubicBezTo>
                    <a:cubicBezTo>
                      <a:pt x="1449" y="323"/>
                      <a:pt x="1449" y="323"/>
                      <a:pt x="1449" y="323"/>
                    </a:cubicBezTo>
                    <a:cubicBezTo>
                      <a:pt x="1449" y="323"/>
                      <a:pt x="1449" y="323"/>
                      <a:pt x="1449" y="323"/>
                    </a:cubicBezTo>
                    <a:cubicBezTo>
                      <a:pt x="1450" y="323"/>
                      <a:pt x="1451" y="323"/>
                      <a:pt x="1452" y="323"/>
                    </a:cubicBezTo>
                    <a:cubicBezTo>
                      <a:pt x="1453" y="323"/>
                      <a:pt x="1454" y="323"/>
                      <a:pt x="1455" y="322"/>
                    </a:cubicBezTo>
                    <a:cubicBezTo>
                      <a:pt x="1455" y="322"/>
                      <a:pt x="1455" y="322"/>
                      <a:pt x="1455" y="322"/>
                    </a:cubicBezTo>
                    <a:cubicBezTo>
                      <a:pt x="1455" y="322"/>
                      <a:pt x="1455" y="322"/>
                      <a:pt x="1455" y="322"/>
                    </a:cubicBezTo>
                    <a:cubicBezTo>
                      <a:pt x="1455" y="321"/>
                      <a:pt x="1455" y="321"/>
                      <a:pt x="1455" y="321"/>
                    </a:cubicBezTo>
                    <a:cubicBezTo>
                      <a:pt x="1456" y="321"/>
                      <a:pt x="1456" y="321"/>
                      <a:pt x="1456" y="321"/>
                    </a:cubicBezTo>
                    <a:cubicBezTo>
                      <a:pt x="1456" y="321"/>
                      <a:pt x="1456" y="321"/>
                      <a:pt x="1456" y="321"/>
                    </a:cubicBezTo>
                    <a:cubicBezTo>
                      <a:pt x="1457" y="321"/>
                      <a:pt x="1457" y="321"/>
                      <a:pt x="1457" y="321"/>
                    </a:cubicBezTo>
                    <a:cubicBezTo>
                      <a:pt x="1457" y="321"/>
                      <a:pt x="1457" y="321"/>
                      <a:pt x="1457" y="321"/>
                    </a:cubicBezTo>
                    <a:cubicBezTo>
                      <a:pt x="1458" y="322"/>
                      <a:pt x="1458" y="322"/>
                      <a:pt x="1458" y="322"/>
                    </a:cubicBezTo>
                    <a:cubicBezTo>
                      <a:pt x="1458" y="323"/>
                      <a:pt x="1458" y="323"/>
                      <a:pt x="1458" y="323"/>
                    </a:cubicBezTo>
                    <a:cubicBezTo>
                      <a:pt x="1459" y="323"/>
                      <a:pt x="1459" y="323"/>
                      <a:pt x="1459" y="323"/>
                    </a:cubicBezTo>
                    <a:cubicBezTo>
                      <a:pt x="1459" y="323"/>
                      <a:pt x="1459" y="323"/>
                      <a:pt x="1459" y="323"/>
                    </a:cubicBezTo>
                    <a:cubicBezTo>
                      <a:pt x="1460" y="323"/>
                      <a:pt x="1460" y="323"/>
                      <a:pt x="1460" y="323"/>
                    </a:cubicBezTo>
                    <a:cubicBezTo>
                      <a:pt x="1461" y="323"/>
                      <a:pt x="1461" y="323"/>
                      <a:pt x="1461" y="323"/>
                    </a:cubicBezTo>
                    <a:cubicBezTo>
                      <a:pt x="1462" y="324"/>
                      <a:pt x="1462" y="324"/>
                      <a:pt x="1462" y="324"/>
                    </a:cubicBezTo>
                    <a:cubicBezTo>
                      <a:pt x="1463" y="325"/>
                      <a:pt x="1463" y="325"/>
                      <a:pt x="1463" y="325"/>
                    </a:cubicBezTo>
                    <a:cubicBezTo>
                      <a:pt x="1464" y="325"/>
                      <a:pt x="1464" y="325"/>
                      <a:pt x="1464" y="325"/>
                    </a:cubicBezTo>
                    <a:cubicBezTo>
                      <a:pt x="1464" y="325"/>
                      <a:pt x="1464" y="325"/>
                      <a:pt x="1464" y="325"/>
                    </a:cubicBezTo>
                    <a:cubicBezTo>
                      <a:pt x="1463" y="325"/>
                      <a:pt x="1463" y="325"/>
                      <a:pt x="1463" y="325"/>
                    </a:cubicBezTo>
                    <a:cubicBezTo>
                      <a:pt x="1463" y="326"/>
                      <a:pt x="1463" y="326"/>
                      <a:pt x="1463" y="326"/>
                    </a:cubicBezTo>
                    <a:cubicBezTo>
                      <a:pt x="1463" y="326"/>
                      <a:pt x="1462" y="326"/>
                      <a:pt x="1462" y="326"/>
                    </a:cubicBezTo>
                    <a:cubicBezTo>
                      <a:pt x="1461" y="326"/>
                      <a:pt x="1460" y="325"/>
                      <a:pt x="1459" y="325"/>
                    </a:cubicBezTo>
                    <a:cubicBezTo>
                      <a:pt x="1458" y="324"/>
                      <a:pt x="1457" y="324"/>
                      <a:pt x="1456" y="324"/>
                    </a:cubicBezTo>
                    <a:cubicBezTo>
                      <a:pt x="1456" y="324"/>
                      <a:pt x="1455" y="324"/>
                      <a:pt x="1455" y="324"/>
                    </a:cubicBezTo>
                    <a:cubicBezTo>
                      <a:pt x="1455" y="324"/>
                      <a:pt x="1455" y="324"/>
                      <a:pt x="1455" y="324"/>
                    </a:cubicBezTo>
                    <a:cubicBezTo>
                      <a:pt x="1454" y="324"/>
                      <a:pt x="1454" y="324"/>
                      <a:pt x="1454" y="324"/>
                    </a:cubicBezTo>
                    <a:cubicBezTo>
                      <a:pt x="1454" y="325"/>
                      <a:pt x="1454" y="325"/>
                      <a:pt x="1454" y="325"/>
                    </a:cubicBezTo>
                    <a:cubicBezTo>
                      <a:pt x="1454" y="325"/>
                      <a:pt x="1453" y="324"/>
                      <a:pt x="1453" y="324"/>
                    </a:cubicBezTo>
                    <a:cubicBezTo>
                      <a:pt x="1452" y="324"/>
                      <a:pt x="1452" y="325"/>
                      <a:pt x="1451" y="325"/>
                    </a:cubicBezTo>
                    <a:cubicBezTo>
                      <a:pt x="1451" y="325"/>
                      <a:pt x="1451" y="325"/>
                      <a:pt x="1451" y="325"/>
                    </a:cubicBezTo>
                    <a:cubicBezTo>
                      <a:pt x="1451" y="325"/>
                      <a:pt x="1451" y="325"/>
                      <a:pt x="1451" y="325"/>
                    </a:cubicBezTo>
                    <a:cubicBezTo>
                      <a:pt x="1450" y="326"/>
                      <a:pt x="1449" y="326"/>
                      <a:pt x="1449" y="326"/>
                    </a:cubicBezTo>
                    <a:cubicBezTo>
                      <a:pt x="1448" y="326"/>
                      <a:pt x="1448" y="326"/>
                      <a:pt x="1447" y="326"/>
                    </a:cubicBezTo>
                    <a:cubicBezTo>
                      <a:pt x="1447" y="326"/>
                      <a:pt x="1447" y="326"/>
                      <a:pt x="1447" y="326"/>
                    </a:cubicBezTo>
                    <a:cubicBezTo>
                      <a:pt x="1444" y="325"/>
                      <a:pt x="1444" y="325"/>
                      <a:pt x="1444" y="325"/>
                    </a:cubicBezTo>
                    <a:cubicBezTo>
                      <a:pt x="1426" y="326"/>
                      <a:pt x="1426" y="326"/>
                      <a:pt x="1426" y="326"/>
                    </a:cubicBezTo>
                    <a:cubicBezTo>
                      <a:pt x="1417" y="319"/>
                      <a:pt x="1417" y="319"/>
                      <a:pt x="1417" y="319"/>
                    </a:cubicBezTo>
                    <a:cubicBezTo>
                      <a:pt x="1410" y="315"/>
                      <a:pt x="1410" y="315"/>
                      <a:pt x="1410" y="315"/>
                    </a:cubicBezTo>
                    <a:cubicBezTo>
                      <a:pt x="1409" y="314"/>
                      <a:pt x="1409" y="314"/>
                      <a:pt x="1409" y="314"/>
                    </a:cubicBezTo>
                    <a:cubicBezTo>
                      <a:pt x="1409" y="313"/>
                      <a:pt x="1409" y="313"/>
                      <a:pt x="1409" y="313"/>
                    </a:cubicBezTo>
                    <a:cubicBezTo>
                      <a:pt x="1409" y="313"/>
                      <a:pt x="1409" y="313"/>
                      <a:pt x="1409" y="313"/>
                    </a:cubicBezTo>
                    <a:cubicBezTo>
                      <a:pt x="1409" y="313"/>
                      <a:pt x="1409" y="313"/>
                      <a:pt x="1409" y="313"/>
                    </a:cubicBezTo>
                    <a:cubicBezTo>
                      <a:pt x="1409" y="312"/>
                      <a:pt x="1409" y="312"/>
                      <a:pt x="1409" y="312"/>
                    </a:cubicBezTo>
                    <a:cubicBezTo>
                      <a:pt x="1409" y="312"/>
                      <a:pt x="1409" y="312"/>
                      <a:pt x="1409" y="312"/>
                    </a:cubicBezTo>
                    <a:cubicBezTo>
                      <a:pt x="1410" y="312"/>
                      <a:pt x="1410" y="312"/>
                      <a:pt x="1410" y="312"/>
                    </a:cubicBezTo>
                    <a:cubicBezTo>
                      <a:pt x="1410" y="312"/>
                      <a:pt x="1410" y="312"/>
                      <a:pt x="1410" y="312"/>
                    </a:cubicBezTo>
                    <a:cubicBezTo>
                      <a:pt x="1411" y="312"/>
                      <a:pt x="1411" y="312"/>
                      <a:pt x="1411" y="312"/>
                    </a:cubicBezTo>
                    <a:cubicBezTo>
                      <a:pt x="1411" y="312"/>
                      <a:pt x="1411" y="312"/>
                      <a:pt x="1411" y="312"/>
                    </a:cubicBezTo>
                    <a:cubicBezTo>
                      <a:pt x="1411" y="312"/>
                      <a:pt x="1411" y="312"/>
                      <a:pt x="1411" y="312"/>
                    </a:cubicBezTo>
                    <a:cubicBezTo>
                      <a:pt x="1412" y="312"/>
                      <a:pt x="1412" y="312"/>
                      <a:pt x="1412" y="312"/>
                    </a:cubicBezTo>
                    <a:cubicBezTo>
                      <a:pt x="1412" y="312"/>
                      <a:pt x="1412" y="312"/>
                      <a:pt x="1412" y="312"/>
                    </a:cubicBezTo>
                    <a:cubicBezTo>
                      <a:pt x="1414" y="310"/>
                      <a:pt x="1414" y="310"/>
                      <a:pt x="1414" y="310"/>
                    </a:cubicBezTo>
                    <a:cubicBezTo>
                      <a:pt x="1413" y="301"/>
                      <a:pt x="1413" y="301"/>
                      <a:pt x="1413" y="301"/>
                    </a:cubicBezTo>
                    <a:cubicBezTo>
                      <a:pt x="1413" y="300"/>
                      <a:pt x="1413" y="300"/>
                      <a:pt x="1413" y="300"/>
                    </a:cubicBezTo>
                    <a:cubicBezTo>
                      <a:pt x="1414" y="297"/>
                      <a:pt x="1414" y="297"/>
                      <a:pt x="1414" y="297"/>
                    </a:cubicBezTo>
                    <a:cubicBezTo>
                      <a:pt x="1416" y="294"/>
                      <a:pt x="1416" y="294"/>
                      <a:pt x="1416" y="294"/>
                    </a:cubicBezTo>
                    <a:cubicBezTo>
                      <a:pt x="1416" y="293"/>
                      <a:pt x="1416" y="293"/>
                      <a:pt x="1416" y="293"/>
                    </a:cubicBezTo>
                    <a:cubicBezTo>
                      <a:pt x="1416" y="292"/>
                      <a:pt x="1416" y="292"/>
                      <a:pt x="1416" y="292"/>
                    </a:cubicBezTo>
                    <a:cubicBezTo>
                      <a:pt x="1415" y="292"/>
                      <a:pt x="1415" y="292"/>
                      <a:pt x="1415" y="292"/>
                    </a:cubicBezTo>
                    <a:cubicBezTo>
                      <a:pt x="1414" y="292"/>
                      <a:pt x="1414" y="292"/>
                      <a:pt x="1414" y="292"/>
                    </a:cubicBezTo>
                    <a:cubicBezTo>
                      <a:pt x="1412" y="290"/>
                      <a:pt x="1412" y="290"/>
                      <a:pt x="1412" y="290"/>
                    </a:cubicBezTo>
                    <a:cubicBezTo>
                      <a:pt x="1412" y="290"/>
                      <a:pt x="1412" y="290"/>
                      <a:pt x="1412" y="290"/>
                    </a:cubicBezTo>
                    <a:cubicBezTo>
                      <a:pt x="1411" y="289"/>
                      <a:pt x="1411" y="289"/>
                      <a:pt x="1411" y="289"/>
                    </a:cubicBezTo>
                    <a:cubicBezTo>
                      <a:pt x="1412" y="289"/>
                      <a:pt x="1412" y="289"/>
                      <a:pt x="1412" y="289"/>
                    </a:cubicBezTo>
                    <a:cubicBezTo>
                      <a:pt x="1412" y="288"/>
                      <a:pt x="1412" y="288"/>
                      <a:pt x="1412" y="288"/>
                    </a:cubicBezTo>
                    <a:cubicBezTo>
                      <a:pt x="1413" y="286"/>
                      <a:pt x="1413" y="286"/>
                      <a:pt x="1413" y="286"/>
                    </a:cubicBezTo>
                    <a:cubicBezTo>
                      <a:pt x="1414" y="281"/>
                      <a:pt x="1414" y="281"/>
                      <a:pt x="1414" y="281"/>
                    </a:cubicBezTo>
                    <a:cubicBezTo>
                      <a:pt x="1415" y="279"/>
                      <a:pt x="1415" y="279"/>
                      <a:pt x="1415" y="279"/>
                    </a:cubicBezTo>
                    <a:cubicBezTo>
                      <a:pt x="1415" y="278"/>
                      <a:pt x="1415" y="278"/>
                      <a:pt x="1415" y="278"/>
                    </a:cubicBezTo>
                    <a:cubicBezTo>
                      <a:pt x="1415" y="278"/>
                      <a:pt x="1415" y="278"/>
                      <a:pt x="1415" y="278"/>
                    </a:cubicBezTo>
                    <a:cubicBezTo>
                      <a:pt x="1414" y="277"/>
                      <a:pt x="1414" y="277"/>
                      <a:pt x="1414" y="277"/>
                    </a:cubicBezTo>
                    <a:cubicBezTo>
                      <a:pt x="1414" y="277"/>
                      <a:pt x="1414" y="277"/>
                      <a:pt x="1414" y="277"/>
                    </a:cubicBezTo>
                    <a:cubicBezTo>
                      <a:pt x="1414" y="277"/>
                      <a:pt x="1414" y="277"/>
                      <a:pt x="1414" y="277"/>
                    </a:cubicBezTo>
                    <a:cubicBezTo>
                      <a:pt x="1413" y="276"/>
                      <a:pt x="1412" y="275"/>
                      <a:pt x="1411" y="275"/>
                    </a:cubicBezTo>
                    <a:cubicBezTo>
                      <a:pt x="1411" y="275"/>
                      <a:pt x="1411" y="275"/>
                      <a:pt x="1411" y="275"/>
                    </a:cubicBezTo>
                    <a:cubicBezTo>
                      <a:pt x="1411" y="275"/>
                      <a:pt x="1411" y="275"/>
                      <a:pt x="1411" y="275"/>
                    </a:cubicBezTo>
                    <a:cubicBezTo>
                      <a:pt x="1411" y="276"/>
                      <a:pt x="1411" y="276"/>
                      <a:pt x="1411" y="276"/>
                    </a:cubicBezTo>
                    <a:cubicBezTo>
                      <a:pt x="1410" y="276"/>
                      <a:pt x="1410" y="276"/>
                      <a:pt x="1410" y="276"/>
                    </a:cubicBezTo>
                    <a:cubicBezTo>
                      <a:pt x="1410" y="276"/>
                      <a:pt x="1410" y="276"/>
                      <a:pt x="1410" y="276"/>
                    </a:cubicBezTo>
                    <a:cubicBezTo>
                      <a:pt x="1410" y="276"/>
                      <a:pt x="1410" y="276"/>
                      <a:pt x="1410" y="276"/>
                    </a:cubicBezTo>
                    <a:cubicBezTo>
                      <a:pt x="1409" y="276"/>
                      <a:pt x="1409" y="276"/>
                      <a:pt x="1409" y="276"/>
                    </a:cubicBezTo>
                    <a:cubicBezTo>
                      <a:pt x="1409" y="275"/>
                      <a:pt x="1409" y="275"/>
                      <a:pt x="1409" y="275"/>
                    </a:cubicBezTo>
                    <a:cubicBezTo>
                      <a:pt x="1408" y="274"/>
                      <a:pt x="1408" y="274"/>
                      <a:pt x="1408" y="274"/>
                    </a:cubicBezTo>
                    <a:cubicBezTo>
                      <a:pt x="1408" y="274"/>
                      <a:pt x="1408" y="274"/>
                      <a:pt x="1408" y="274"/>
                    </a:cubicBezTo>
                    <a:cubicBezTo>
                      <a:pt x="1408" y="273"/>
                      <a:pt x="1406" y="272"/>
                      <a:pt x="1405" y="272"/>
                    </a:cubicBezTo>
                    <a:cubicBezTo>
                      <a:pt x="1405" y="271"/>
                      <a:pt x="1405" y="271"/>
                      <a:pt x="1405" y="271"/>
                    </a:cubicBezTo>
                    <a:cubicBezTo>
                      <a:pt x="1404" y="270"/>
                      <a:pt x="1404" y="270"/>
                      <a:pt x="1404" y="270"/>
                    </a:cubicBezTo>
                    <a:cubicBezTo>
                      <a:pt x="1402" y="267"/>
                      <a:pt x="1402" y="267"/>
                      <a:pt x="1402" y="267"/>
                    </a:cubicBezTo>
                    <a:cubicBezTo>
                      <a:pt x="1398" y="260"/>
                      <a:pt x="1398" y="260"/>
                      <a:pt x="1398" y="260"/>
                    </a:cubicBezTo>
                    <a:cubicBezTo>
                      <a:pt x="1396" y="258"/>
                      <a:pt x="1396" y="258"/>
                      <a:pt x="1396" y="258"/>
                    </a:cubicBezTo>
                    <a:cubicBezTo>
                      <a:pt x="1394" y="256"/>
                      <a:pt x="1394" y="256"/>
                      <a:pt x="1394" y="256"/>
                    </a:cubicBezTo>
                    <a:cubicBezTo>
                      <a:pt x="1394" y="256"/>
                      <a:pt x="1394" y="256"/>
                      <a:pt x="1394" y="256"/>
                    </a:cubicBezTo>
                    <a:cubicBezTo>
                      <a:pt x="1393" y="256"/>
                      <a:pt x="1393" y="256"/>
                      <a:pt x="1393" y="256"/>
                    </a:cubicBezTo>
                    <a:cubicBezTo>
                      <a:pt x="1393" y="256"/>
                      <a:pt x="1393" y="256"/>
                      <a:pt x="1393" y="256"/>
                    </a:cubicBezTo>
                    <a:cubicBezTo>
                      <a:pt x="1392" y="256"/>
                      <a:pt x="1392" y="256"/>
                      <a:pt x="1392" y="256"/>
                    </a:cubicBezTo>
                    <a:cubicBezTo>
                      <a:pt x="1392" y="256"/>
                      <a:pt x="1392" y="256"/>
                      <a:pt x="1392" y="256"/>
                    </a:cubicBezTo>
                    <a:cubicBezTo>
                      <a:pt x="1391" y="256"/>
                      <a:pt x="1391" y="256"/>
                      <a:pt x="1391" y="256"/>
                    </a:cubicBezTo>
                    <a:cubicBezTo>
                      <a:pt x="1391" y="256"/>
                      <a:pt x="1391" y="256"/>
                      <a:pt x="1391" y="256"/>
                    </a:cubicBezTo>
                    <a:cubicBezTo>
                      <a:pt x="1390" y="256"/>
                      <a:pt x="1390" y="256"/>
                      <a:pt x="1390" y="256"/>
                    </a:cubicBezTo>
                    <a:cubicBezTo>
                      <a:pt x="1389" y="256"/>
                      <a:pt x="1388" y="256"/>
                      <a:pt x="1387" y="256"/>
                    </a:cubicBezTo>
                    <a:cubicBezTo>
                      <a:pt x="1384" y="256"/>
                      <a:pt x="1382" y="256"/>
                      <a:pt x="1380" y="257"/>
                    </a:cubicBezTo>
                    <a:cubicBezTo>
                      <a:pt x="1379" y="257"/>
                      <a:pt x="1379" y="257"/>
                      <a:pt x="1379" y="257"/>
                    </a:cubicBezTo>
                    <a:cubicBezTo>
                      <a:pt x="1379" y="257"/>
                      <a:pt x="1379" y="257"/>
                      <a:pt x="1379" y="257"/>
                    </a:cubicBezTo>
                    <a:cubicBezTo>
                      <a:pt x="1378" y="257"/>
                      <a:pt x="1378" y="257"/>
                      <a:pt x="1378" y="257"/>
                    </a:cubicBezTo>
                    <a:cubicBezTo>
                      <a:pt x="1378" y="257"/>
                      <a:pt x="1378" y="257"/>
                      <a:pt x="1378" y="257"/>
                    </a:cubicBezTo>
                    <a:cubicBezTo>
                      <a:pt x="1378" y="257"/>
                      <a:pt x="1378" y="257"/>
                      <a:pt x="1378" y="257"/>
                    </a:cubicBezTo>
                    <a:cubicBezTo>
                      <a:pt x="1377" y="257"/>
                      <a:pt x="1377" y="257"/>
                      <a:pt x="1377" y="257"/>
                    </a:cubicBezTo>
                    <a:cubicBezTo>
                      <a:pt x="1376" y="257"/>
                      <a:pt x="1376" y="257"/>
                      <a:pt x="1376" y="257"/>
                    </a:cubicBezTo>
                    <a:cubicBezTo>
                      <a:pt x="1372" y="258"/>
                      <a:pt x="1372" y="258"/>
                      <a:pt x="1372" y="258"/>
                    </a:cubicBezTo>
                    <a:cubicBezTo>
                      <a:pt x="1335" y="270"/>
                      <a:pt x="1335" y="270"/>
                      <a:pt x="1335" y="270"/>
                    </a:cubicBezTo>
                    <a:cubicBezTo>
                      <a:pt x="1334" y="270"/>
                      <a:pt x="1334" y="270"/>
                      <a:pt x="1334" y="270"/>
                    </a:cubicBezTo>
                    <a:cubicBezTo>
                      <a:pt x="1334" y="270"/>
                      <a:pt x="1334" y="270"/>
                      <a:pt x="1334" y="270"/>
                    </a:cubicBezTo>
                    <a:cubicBezTo>
                      <a:pt x="1334" y="271"/>
                      <a:pt x="1334" y="271"/>
                      <a:pt x="1334" y="271"/>
                    </a:cubicBezTo>
                    <a:cubicBezTo>
                      <a:pt x="1334" y="271"/>
                      <a:pt x="1334" y="271"/>
                      <a:pt x="1334" y="271"/>
                    </a:cubicBezTo>
                    <a:cubicBezTo>
                      <a:pt x="1334" y="271"/>
                      <a:pt x="1334" y="271"/>
                      <a:pt x="1334" y="271"/>
                    </a:cubicBezTo>
                    <a:cubicBezTo>
                      <a:pt x="1334" y="272"/>
                      <a:pt x="1334" y="272"/>
                      <a:pt x="1334" y="272"/>
                    </a:cubicBezTo>
                    <a:cubicBezTo>
                      <a:pt x="1334" y="273"/>
                      <a:pt x="1333" y="274"/>
                      <a:pt x="1333" y="275"/>
                    </a:cubicBezTo>
                    <a:cubicBezTo>
                      <a:pt x="1333" y="275"/>
                      <a:pt x="1333" y="275"/>
                      <a:pt x="1333" y="275"/>
                    </a:cubicBezTo>
                    <a:cubicBezTo>
                      <a:pt x="1334" y="276"/>
                      <a:pt x="1334" y="276"/>
                      <a:pt x="1334" y="276"/>
                    </a:cubicBezTo>
                    <a:cubicBezTo>
                      <a:pt x="1334" y="276"/>
                      <a:pt x="1334" y="276"/>
                      <a:pt x="1334" y="276"/>
                    </a:cubicBezTo>
                    <a:cubicBezTo>
                      <a:pt x="1337" y="280"/>
                      <a:pt x="1330" y="284"/>
                      <a:pt x="1331" y="286"/>
                    </a:cubicBezTo>
                    <a:cubicBezTo>
                      <a:pt x="1331" y="286"/>
                      <a:pt x="1331" y="286"/>
                      <a:pt x="1331" y="286"/>
                    </a:cubicBezTo>
                    <a:cubicBezTo>
                      <a:pt x="1331" y="286"/>
                      <a:pt x="1331" y="286"/>
                      <a:pt x="1331" y="286"/>
                    </a:cubicBezTo>
                    <a:cubicBezTo>
                      <a:pt x="1332" y="287"/>
                      <a:pt x="1332" y="287"/>
                      <a:pt x="1332" y="287"/>
                    </a:cubicBezTo>
                    <a:cubicBezTo>
                      <a:pt x="1332" y="287"/>
                      <a:pt x="1332" y="287"/>
                      <a:pt x="1332" y="287"/>
                    </a:cubicBezTo>
                    <a:cubicBezTo>
                      <a:pt x="1332" y="287"/>
                      <a:pt x="1332" y="287"/>
                      <a:pt x="1332" y="287"/>
                    </a:cubicBezTo>
                    <a:cubicBezTo>
                      <a:pt x="1333" y="287"/>
                      <a:pt x="1333" y="287"/>
                      <a:pt x="1333" y="287"/>
                    </a:cubicBezTo>
                    <a:cubicBezTo>
                      <a:pt x="1335" y="290"/>
                      <a:pt x="1338" y="291"/>
                      <a:pt x="1340" y="294"/>
                    </a:cubicBezTo>
                    <a:cubicBezTo>
                      <a:pt x="1340" y="294"/>
                      <a:pt x="1340" y="294"/>
                      <a:pt x="1340" y="294"/>
                    </a:cubicBezTo>
                    <a:cubicBezTo>
                      <a:pt x="1340" y="294"/>
                      <a:pt x="1340" y="294"/>
                      <a:pt x="1340" y="294"/>
                    </a:cubicBezTo>
                    <a:cubicBezTo>
                      <a:pt x="1343" y="298"/>
                      <a:pt x="1342" y="297"/>
                      <a:pt x="1343" y="301"/>
                    </a:cubicBezTo>
                    <a:cubicBezTo>
                      <a:pt x="1343" y="301"/>
                      <a:pt x="1343" y="301"/>
                      <a:pt x="1343" y="301"/>
                    </a:cubicBezTo>
                    <a:cubicBezTo>
                      <a:pt x="1343" y="302"/>
                      <a:pt x="1343" y="302"/>
                      <a:pt x="1343" y="302"/>
                    </a:cubicBezTo>
                    <a:cubicBezTo>
                      <a:pt x="1343" y="302"/>
                      <a:pt x="1343" y="302"/>
                      <a:pt x="1343" y="302"/>
                    </a:cubicBezTo>
                    <a:cubicBezTo>
                      <a:pt x="1343" y="302"/>
                      <a:pt x="1343" y="302"/>
                      <a:pt x="1343" y="302"/>
                    </a:cubicBezTo>
                    <a:cubicBezTo>
                      <a:pt x="1343" y="303"/>
                      <a:pt x="1343" y="303"/>
                      <a:pt x="1343" y="303"/>
                    </a:cubicBezTo>
                    <a:cubicBezTo>
                      <a:pt x="1343" y="303"/>
                      <a:pt x="1343" y="303"/>
                      <a:pt x="1343" y="303"/>
                    </a:cubicBezTo>
                    <a:cubicBezTo>
                      <a:pt x="1344" y="303"/>
                      <a:pt x="1344" y="303"/>
                      <a:pt x="1344" y="303"/>
                    </a:cubicBezTo>
                    <a:cubicBezTo>
                      <a:pt x="1344" y="304"/>
                      <a:pt x="1344" y="304"/>
                      <a:pt x="1344" y="304"/>
                    </a:cubicBezTo>
                    <a:cubicBezTo>
                      <a:pt x="1344" y="304"/>
                      <a:pt x="1344" y="304"/>
                      <a:pt x="1344" y="304"/>
                    </a:cubicBezTo>
                    <a:cubicBezTo>
                      <a:pt x="1344" y="304"/>
                      <a:pt x="1344" y="304"/>
                      <a:pt x="1344" y="304"/>
                    </a:cubicBezTo>
                    <a:cubicBezTo>
                      <a:pt x="1344" y="304"/>
                      <a:pt x="1344" y="304"/>
                      <a:pt x="1344" y="304"/>
                    </a:cubicBezTo>
                    <a:cubicBezTo>
                      <a:pt x="1344" y="304"/>
                      <a:pt x="1344" y="304"/>
                      <a:pt x="1344" y="304"/>
                    </a:cubicBezTo>
                    <a:cubicBezTo>
                      <a:pt x="1344" y="305"/>
                      <a:pt x="1344" y="305"/>
                      <a:pt x="1344" y="305"/>
                    </a:cubicBezTo>
                    <a:cubicBezTo>
                      <a:pt x="1344" y="305"/>
                      <a:pt x="1344" y="305"/>
                      <a:pt x="1344" y="305"/>
                    </a:cubicBezTo>
                    <a:cubicBezTo>
                      <a:pt x="1344" y="305"/>
                      <a:pt x="1344" y="305"/>
                      <a:pt x="1344" y="305"/>
                    </a:cubicBezTo>
                    <a:cubicBezTo>
                      <a:pt x="1344" y="305"/>
                      <a:pt x="1344" y="305"/>
                      <a:pt x="1344" y="305"/>
                    </a:cubicBezTo>
                    <a:cubicBezTo>
                      <a:pt x="1344" y="306"/>
                      <a:pt x="1344" y="306"/>
                      <a:pt x="1344" y="306"/>
                    </a:cubicBezTo>
                    <a:cubicBezTo>
                      <a:pt x="1344" y="306"/>
                      <a:pt x="1344" y="306"/>
                      <a:pt x="1344" y="306"/>
                    </a:cubicBezTo>
                    <a:cubicBezTo>
                      <a:pt x="1345" y="306"/>
                      <a:pt x="1345" y="306"/>
                      <a:pt x="1345" y="306"/>
                    </a:cubicBezTo>
                    <a:cubicBezTo>
                      <a:pt x="1344" y="308"/>
                      <a:pt x="1344" y="308"/>
                      <a:pt x="1344" y="308"/>
                    </a:cubicBezTo>
                    <a:cubicBezTo>
                      <a:pt x="1344" y="310"/>
                      <a:pt x="1344" y="310"/>
                      <a:pt x="1344" y="310"/>
                    </a:cubicBezTo>
                    <a:cubicBezTo>
                      <a:pt x="1343" y="316"/>
                      <a:pt x="1343" y="316"/>
                      <a:pt x="1343" y="316"/>
                    </a:cubicBezTo>
                    <a:cubicBezTo>
                      <a:pt x="1342" y="318"/>
                      <a:pt x="1342" y="318"/>
                      <a:pt x="1342" y="318"/>
                    </a:cubicBezTo>
                    <a:cubicBezTo>
                      <a:pt x="1342" y="320"/>
                      <a:pt x="1342" y="320"/>
                      <a:pt x="1342" y="320"/>
                    </a:cubicBezTo>
                    <a:cubicBezTo>
                      <a:pt x="1341" y="320"/>
                      <a:pt x="1341" y="320"/>
                      <a:pt x="1341" y="320"/>
                    </a:cubicBezTo>
                    <a:cubicBezTo>
                      <a:pt x="1341" y="320"/>
                      <a:pt x="1341" y="320"/>
                      <a:pt x="1341" y="320"/>
                    </a:cubicBezTo>
                    <a:cubicBezTo>
                      <a:pt x="1340" y="321"/>
                      <a:pt x="1340" y="321"/>
                      <a:pt x="1340" y="321"/>
                    </a:cubicBezTo>
                    <a:cubicBezTo>
                      <a:pt x="1337" y="324"/>
                      <a:pt x="1333" y="326"/>
                      <a:pt x="1330" y="328"/>
                    </a:cubicBezTo>
                    <a:cubicBezTo>
                      <a:pt x="1327" y="331"/>
                      <a:pt x="1327" y="331"/>
                      <a:pt x="1327" y="331"/>
                    </a:cubicBezTo>
                    <a:cubicBezTo>
                      <a:pt x="1322" y="336"/>
                      <a:pt x="1322" y="336"/>
                      <a:pt x="1322" y="336"/>
                    </a:cubicBezTo>
                    <a:cubicBezTo>
                      <a:pt x="1320" y="338"/>
                      <a:pt x="1320" y="338"/>
                      <a:pt x="1320" y="338"/>
                    </a:cubicBezTo>
                    <a:cubicBezTo>
                      <a:pt x="1319" y="339"/>
                      <a:pt x="1319" y="339"/>
                      <a:pt x="1319" y="339"/>
                    </a:cubicBezTo>
                    <a:cubicBezTo>
                      <a:pt x="1319" y="339"/>
                      <a:pt x="1319" y="339"/>
                      <a:pt x="1319" y="339"/>
                    </a:cubicBezTo>
                    <a:cubicBezTo>
                      <a:pt x="1319" y="340"/>
                      <a:pt x="1319" y="340"/>
                      <a:pt x="1319" y="340"/>
                    </a:cubicBezTo>
                    <a:cubicBezTo>
                      <a:pt x="1319" y="340"/>
                      <a:pt x="1319" y="340"/>
                      <a:pt x="1319" y="340"/>
                    </a:cubicBezTo>
                    <a:cubicBezTo>
                      <a:pt x="1319" y="340"/>
                      <a:pt x="1319" y="340"/>
                      <a:pt x="1319" y="340"/>
                    </a:cubicBezTo>
                    <a:cubicBezTo>
                      <a:pt x="1320" y="342"/>
                      <a:pt x="1319" y="343"/>
                      <a:pt x="1319" y="345"/>
                    </a:cubicBezTo>
                    <a:cubicBezTo>
                      <a:pt x="1318" y="350"/>
                      <a:pt x="1318" y="350"/>
                      <a:pt x="1318" y="350"/>
                    </a:cubicBezTo>
                    <a:cubicBezTo>
                      <a:pt x="1317" y="352"/>
                      <a:pt x="1317" y="352"/>
                      <a:pt x="1317" y="352"/>
                    </a:cubicBezTo>
                    <a:cubicBezTo>
                      <a:pt x="1317" y="354"/>
                      <a:pt x="1317" y="354"/>
                      <a:pt x="1317" y="354"/>
                    </a:cubicBezTo>
                    <a:cubicBezTo>
                      <a:pt x="1316" y="354"/>
                      <a:pt x="1316" y="354"/>
                      <a:pt x="1316" y="354"/>
                    </a:cubicBezTo>
                    <a:cubicBezTo>
                      <a:pt x="1316" y="354"/>
                      <a:pt x="1316" y="354"/>
                      <a:pt x="1316" y="354"/>
                    </a:cubicBezTo>
                    <a:cubicBezTo>
                      <a:pt x="1315" y="354"/>
                      <a:pt x="1315" y="354"/>
                      <a:pt x="1315" y="354"/>
                    </a:cubicBezTo>
                    <a:cubicBezTo>
                      <a:pt x="1315" y="355"/>
                      <a:pt x="1315" y="355"/>
                      <a:pt x="1315" y="355"/>
                    </a:cubicBezTo>
                    <a:cubicBezTo>
                      <a:pt x="1314" y="355"/>
                      <a:pt x="1314" y="355"/>
                      <a:pt x="1314" y="355"/>
                    </a:cubicBezTo>
                    <a:cubicBezTo>
                      <a:pt x="1314" y="355"/>
                      <a:pt x="1314" y="355"/>
                      <a:pt x="1314" y="355"/>
                    </a:cubicBezTo>
                    <a:cubicBezTo>
                      <a:pt x="1314" y="355"/>
                      <a:pt x="1314" y="355"/>
                      <a:pt x="1314" y="355"/>
                    </a:cubicBezTo>
                    <a:cubicBezTo>
                      <a:pt x="1313" y="355"/>
                      <a:pt x="1313" y="355"/>
                      <a:pt x="1313" y="355"/>
                    </a:cubicBezTo>
                    <a:cubicBezTo>
                      <a:pt x="1313" y="355"/>
                      <a:pt x="1313" y="355"/>
                      <a:pt x="1313" y="355"/>
                    </a:cubicBezTo>
                    <a:cubicBezTo>
                      <a:pt x="1310" y="357"/>
                      <a:pt x="1309" y="360"/>
                      <a:pt x="1307" y="361"/>
                    </a:cubicBezTo>
                    <a:cubicBezTo>
                      <a:pt x="1306" y="361"/>
                      <a:pt x="1306" y="361"/>
                      <a:pt x="1306" y="361"/>
                    </a:cubicBezTo>
                    <a:cubicBezTo>
                      <a:pt x="1306" y="361"/>
                      <a:pt x="1306" y="361"/>
                      <a:pt x="1306" y="361"/>
                    </a:cubicBezTo>
                    <a:cubicBezTo>
                      <a:pt x="1305" y="361"/>
                      <a:pt x="1304" y="361"/>
                      <a:pt x="1303" y="362"/>
                    </a:cubicBezTo>
                    <a:cubicBezTo>
                      <a:pt x="1303" y="362"/>
                      <a:pt x="1303" y="362"/>
                      <a:pt x="1303" y="362"/>
                    </a:cubicBezTo>
                    <a:cubicBezTo>
                      <a:pt x="1302" y="362"/>
                      <a:pt x="1302" y="362"/>
                      <a:pt x="1302" y="362"/>
                    </a:cubicBezTo>
                    <a:cubicBezTo>
                      <a:pt x="1302" y="362"/>
                      <a:pt x="1302" y="362"/>
                      <a:pt x="1302" y="362"/>
                    </a:cubicBezTo>
                    <a:cubicBezTo>
                      <a:pt x="1301" y="362"/>
                      <a:pt x="1301" y="362"/>
                      <a:pt x="1301" y="362"/>
                    </a:cubicBezTo>
                    <a:cubicBezTo>
                      <a:pt x="1301" y="362"/>
                      <a:pt x="1301" y="362"/>
                      <a:pt x="1301" y="362"/>
                    </a:cubicBezTo>
                    <a:cubicBezTo>
                      <a:pt x="1297" y="363"/>
                      <a:pt x="1294" y="366"/>
                      <a:pt x="1292" y="369"/>
                    </a:cubicBezTo>
                    <a:cubicBezTo>
                      <a:pt x="1291" y="369"/>
                      <a:pt x="1291" y="369"/>
                      <a:pt x="1291" y="369"/>
                    </a:cubicBezTo>
                    <a:cubicBezTo>
                      <a:pt x="1290" y="369"/>
                      <a:pt x="1290" y="369"/>
                      <a:pt x="1290" y="369"/>
                    </a:cubicBezTo>
                    <a:cubicBezTo>
                      <a:pt x="1290" y="369"/>
                      <a:pt x="1290" y="369"/>
                      <a:pt x="1290" y="369"/>
                    </a:cubicBezTo>
                    <a:cubicBezTo>
                      <a:pt x="1290" y="369"/>
                      <a:pt x="1290" y="369"/>
                      <a:pt x="1289" y="369"/>
                    </a:cubicBezTo>
                    <a:cubicBezTo>
                      <a:pt x="1289" y="369"/>
                      <a:pt x="1288" y="369"/>
                      <a:pt x="1287" y="370"/>
                    </a:cubicBezTo>
                    <a:cubicBezTo>
                      <a:pt x="1287" y="370"/>
                      <a:pt x="1287" y="370"/>
                      <a:pt x="1287" y="370"/>
                    </a:cubicBezTo>
                    <a:cubicBezTo>
                      <a:pt x="1286" y="370"/>
                      <a:pt x="1286" y="370"/>
                      <a:pt x="1286" y="370"/>
                    </a:cubicBezTo>
                    <a:cubicBezTo>
                      <a:pt x="1286" y="370"/>
                      <a:pt x="1286" y="370"/>
                      <a:pt x="1286" y="370"/>
                    </a:cubicBezTo>
                    <a:cubicBezTo>
                      <a:pt x="1286" y="370"/>
                      <a:pt x="1286" y="370"/>
                      <a:pt x="1286" y="370"/>
                    </a:cubicBezTo>
                    <a:cubicBezTo>
                      <a:pt x="1285" y="370"/>
                      <a:pt x="1285" y="370"/>
                      <a:pt x="1285" y="370"/>
                    </a:cubicBezTo>
                    <a:cubicBezTo>
                      <a:pt x="1285" y="370"/>
                      <a:pt x="1285" y="370"/>
                      <a:pt x="1285" y="370"/>
                    </a:cubicBezTo>
                    <a:cubicBezTo>
                      <a:pt x="1284" y="370"/>
                      <a:pt x="1284" y="370"/>
                      <a:pt x="1284" y="370"/>
                    </a:cubicBezTo>
                    <a:cubicBezTo>
                      <a:pt x="1283" y="371"/>
                      <a:pt x="1283" y="371"/>
                      <a:pt x="1283" y="371"/>
                    </a:cubicBezTo>
                    <a:cubicBezTo>
                      <a:pt x="1281" y="372"/>
                      <a:pt x="1281" y="372"/>
                      <a:pt x="1281" y="372"/>
                    </a:cubicBezTo>
                    <a:cubicBezTo>
                      <a:pt x="1276" y="375"/>
                      <a:pt x="1276" y="375"/>
                      <a:pt x="1276" y="375"/>
                    </a:cubicBezTo>
                    <a:cubicBezTo>
                      <a:pt x="1274" y="376"/>
                      <a:pt x="1274" y="376"/>
                      <a:pt x="1274" y="376"/>
                    </a:cubicBezTo>
                    <a:cubicBezTo>
                      <a:pt x="1273" y="376"/>
                      <a:pt x="1273" y="376"/>
                      <a:pt x="1273" y="376"/>
                    </a:cubicBezTo>
                    <a:cubicBezTo>
                      <a:pt x="1274" y="376"/>
                      <a:pt x="1274" y="376"/>
                      <a:pt x="1274" y="376"/>
                    </a:cubicBezTo>
                    <a:cubicBezTo>
                      <a:pt x="1274" y="376"/>
                      <a:pt x="1274" y="376"/>
                      <a:pt x="1274" y="376"/>
                    </a:cubicBezTo>
                    <a:cubicBezTo>
                      <a:pt x="1274" y="376"/>
                      <a:pt x="1274" y="376"/>
                      <a:pt x="1274" y="376"/>
                    </a:cubicBezTo>
                    <a:cubicBezTo>
                      <a:pt x="1275" y="376"/>
                      <a:pt x="1275" y="376"/>
                      <a:pt x="1275" y="376"/>
                    </a:cubicBezTo>
                    <a:cubicBezTo>
                      <a:pt x="1275" y="376"/>
                      <a:pt x="1275" y="376"/>
                      <a:pt x="1275" y="376"/>
                    </a:cubicBezTo>
                    <a:cubicBezTo>
                      <a:pt x="1275" y="376"/>
                      <a:pt x="1275" y="376"/>
                      <a:pt x="1275" y="376"/>
                    </a:cubicBezTo>
                    <a:cubicBezTo>
                      <a:pt x="1275" y="377"/>
                      <a:pt x="1275" y="377"/>
                      <a:pt x="1275" y="377"/>
                    </a:cubicBezTo>
                    <a:cubicBezTo>
                      <a:pt x="1275" y="378"/>
                      <a:pt x="1275" y="378"/>
                      <a:pt x="1275" y="378"/>
                    </a:cubicBezTo>
                    <a:cubicBezTo>
                      <a:pt x="1275" y="378"/>
                      <a:pt x="1275" y="378"/>
                      <a:pt x="1275" y="378"/>
                    </a:cubicBezTo>
                    <a:cubicBezTo>
                      <a:pt x="1275" y="379"/>
                      <a:pt x="1275" y="379"/>
                      <a:pt x="1275" y="379"/>
                    </a:cubicBezTo>
                    <a:cubicBezTo>
                      <a:pt x="1275" y="381"/>
                      <a:pt x="1275" y="381"/>
                      <a:pt x="1275" y="381"/>
                    </a:cubicBezTo>
                    <a:cubicBezTo>
                      <a:pt x="1274" y="384"/>
                      <a:pt x="1274" y="384"/>
                      <a:pt x="1274" y="384"/>
                    </a:cubicBezTo>
                    <a:cubicBezTo>
                      <a:pt x="1274" y="386"/>
                      <a:pt x="1274" y="386"/>
                      <a:pt x="1274" y="386"/>
                    </a:cubicBezTo>
                    <a:cubicBezTo>
                      <a:pt x="1273" y="386"/>
                      <a:pt x="1273" y="386"/>
                      <a:pt x="1273" y="386"/>
                    </a:cubicBezTo>
                    <a:cubicBezTo>
                      <a:pt x="1272" y="387"/>
                      <a:pt x="1272" y="387"/>
                      <a:pt x="1272" y="387"/>
                    </a:cubicBezTo>
                    <a:cubicBezTo>
                      <a:pt x="1272" y="387"/>
                      <a:pt x="1272" y="387"/>
                      <a:pt x="1272" y="387"/>
                    </a:cubicBezTo>
                    <a:cubicBezTo>
                      <a:pt x="1270" y="387"/>
                      <a:pt x="1270" y="387"/>
                      <a:pt x="1270" y="387"/>
                    </a:cubicBezTo>
                    <a:cubicBezTo>
                      <a:pt x="1269" y="388"/>
                      <a:pt x="1269" y="388"/>
                      <a:pt x="1269" y="388"/>
                    </a:cubicBezTo>
                    <a:cubicBezTo>
                      <a:pt x="1268" y="388"/>
                      <a:pt x="1268" y="388"/>
                      <a:pt x="1268" y="388"/>
                    </a:cubicBezTo>
                    <a:cubicBezTo>
                      <a:pt x="1267" y="389"/>
                      <a:pt x="1267" y="389"/>
                      <a:pt x="1267" y="389"/>
                    </a:cubicBezTo>
                    <a:cubicBezTo>
                      <a:pt x="1266" y="389"/>
                      <a:pt x="1266" y="389"/>
                      <a:pt x="1266" y="389"/>
                    </a:cubicBezTo>
                    <a:cubicBezTo>
                      <a:pt x="1265" y="389"/>
                      <a:pt x="1265" y="389"/>
                      <a:pt x="1265" y="389"/>
                    </a:cubicBezTo>
                    <a:cubicBezTo>
                      <a:pt x="1264" y="389"/>
                      <a:pt x="1264" y="389"/>
                      <a:pt x="1264" y="389"/>
                    </a:cubicBezTo>
                    <a:cubicBezTo>
                      <a:pt x="1264" y="389"/>
                      <a:pt x="1264" y="389"/>
                      <a:pt x="1264" y="389"/>
                    </a:cubicBezTo>
                    <a:cubicBezTo>
                      <a:pt x="1264" y="389"/>
                      <a:pt x="1264" y="389"/>
                      <a:pt x="1264" y="389"/>
                    </a:cubicBezTo>
                    <a:cubicBezTo>
                      <a:pt x="1264" y="389"/>
                      <a:pt x="1264" y="389"/>
                      <a:pt x="1264" y="389"/>
                    </a:cubicBezTo>
                    <a:cubicBezTo>
                      <a:pt x="1263" y="389"/>
                      <a:pt x="1263" y="389"/>
                      <a:pt x="1263" y="389"/>
                    </a:cubicBezTo>
                    <a:cubicBezTo>
                      <a:pt x="1263" y="388"/>
                      <a:pt x="1263" y="388"/>
                      <a:pt x="1263" y="388"/>
                    </a:cubicBezTo>
                    <a:cubicBezTo>
                      <a:pt x="1263" y="388"/>
                      <a:pt x="1263" y="388"/>
                      <a:pt x="1263" y="388"/>
                    </a:cubicBezTo>
                    <a:cubicBezTo>
                      <a:pt x="1262" y="388"/>
                      <a:pt x="1262" y="389"/>
                      <a:pt x="1261" y="389"/>
                    </a:cubicBezTo>
                    <a:cubicBezTo>
                      <a:pt x="1261" y="389"/>
                      <a:pt x="1261" y="389"/>
                      <a:pt x="1260" y="389"/>
                    </a:cubicBezTo>
                    <a:cubicBezTo>
                      <a:pt x="1260" y="389"/>
                      <a:pt x="1260" y="389"/>
                      <a:pt x="1259" y="389"/>
                    </a:cubicBezTo>
                    <a:cubicBezTo>
                      <a:pt x="1259" y="389"/>
                      <a:pt x="1259" y="389"/>
                      <a:pt x="1259" y="389"/>
                    </a:cubicBezTo>
                    <a:cubicBezTo>
                      <a:pt x="1259" y="388"/>
                      <a:pt x="1259" y="388"/>
                      <a:pt x="1259" y="388"/>
                    </a:cubicBezTo>
                    <a:cubicBezTo>
                      <a:pt x="1258" y="387"/>
                      <a:pt x="1258" y="386"/>
                      <a:pt x="1257" y="386"/>
                    </a:cubicBezTo>
                    <a:cubicBezTo>
                      <a:pt x="1256" y="385"/>
                      <a:pt x="1256" y="385"/>
                      <a:pt x="1256" y="385"/>
                    </a:cubicBezTo>
                    <a:cubicBezTo>
                      <a:pt x="1256" y="385"/>
                      <a:pt x="1256" y="385"/>
                      <a:pt x="1256" y="385"/>
                    </a:cubicBezTo>
                    <a:cubicBezTo>
                      <a:pt x="1255" y="385"/>
                      <a:pt x="1255" y="385"/>
                      <a:pt x="1255" y="385"/>
                    </a:cubicBezTo>
                    <a:cubicBezTo>
                      <a:pt x="1255" y="385"/>
                      <a:pt x="1255" y="385"/>
                      <a:pt x="1255" y="385"/>
                    </a:cubicBezTo>
                    <a:cubicBezTo>
                      <a:pt x="1254" y="385"/>
                      <a:pt x="1254" y="385"/>
                      <a:pt x="1254" y="385"/>
                    </a:cubicBezTo>
                    <a:cubicBezTo>
                      <a:pt x="1250" y="384"/>
                      <a:pt x="1248" y="383"/>
                      <a:pt x="1244" y="383"/>
                    </a:cubicBezTo>
                    <a:cubicBezTo>
                      <a:pt x="1244" y="383"/>
                      <a:pt x="1244" y="383"/>
                      <a:pt x="1244" y="383"/>
                    </a:cubicBezTo>
                    <a:cubicBezTo>
                      <a:pt x="1243" y="383"/>
                      <a:pt x="1243" y="383"/>
                      <a:pt x="1243" y="383"/>
                    </a:cubicBezTo>
                    <a:cubicBezTo>
                      <a:pt x="1243" y="383"/>
                      <a:pt x="1242" y="383"/>
                      <a:pt x="1242" y="383"/>
                    </a:cubicBezTo>
                    <a:cubicBezTo>
                      <a:pt x="1241" y="383"/>
                      <a:pt x="1240" y="383"/>
                      <a:pt x="1239" y="383"/>
                    </a:cubicBezTo>
                    <a:cubicBezTo>
                      <a:pt x="1238" y="383"/>
                      <a:pt x="1237" y="383"/>
                      <a:pt x="1236" y="383"/>
                    </a:cubicBezTo>
                    <a:cubicBezTo>
                      <a:pt x="1235" y="383"/>
                      <a:pt x="1234" y="383"/>
                      <a:pt x="1234" y="383"/>
                    </a:cubicBezTo>
                    <a:cubicBezTo>
                      <a:pt x="1233" y="383"/>
                      <a:pt x="1233" y="383"/>
                      <a:pt x="1233" y="383"/>
                    </a:cubicBezTo>
                    <a:cubicBezTo>
                      <a:pt x="1233" y="383"/>
                      <a:pt x="1233" y="383"/>
                      <a:pt x="1233" y="383"/>
                    </a:cubicBezTo>
                    <a:cubicBezTo>
                      <a:pt x="1232" y="383"/>
                      <a:pt x="1232" y="383"/>
                      <a:pt x="1232" y="383"/>
                    </a:cubicBezTo>
                    <a:cubicBezTo>
                      <a:pt x="1232" y="383"/>
                      <a:pt x="1232" y="383"/>
                      <a:pt x="1232" y="383"/>
                    </a:cubicBezTo>
                    <a:cubicBezTo>
                      <a:pt x="1231" y="383"/>
                      <a:pt x="1231" y="383"/>
                      <a:pt x="1231" y="383"/>
                    </a:cubicBezTo>
                    <a:cubicBezTo>
                      <a:pt x="1226" y="384"/>
                      <a:pt x="1223" y="384"/>
                      <a:pt x="1221" y="384"/>
                    </a:cubicBezTo>
                    <a:cubicBezTo>
                      <a:pt x="1218" y="384"/>
                      <a:pt x="1216" y="384"/>
                      <a:pt x="1209" y="381"/>
                    </a:cubicBezTo>
                    <a:cubicBezTo>
                      <a:pt x="1209" y="381"/>
                      <a:pt x="1209" y="381"/>
                      <a:pt x="1209" y="381"/>
                    </a:cubicBezTo>
                    <a:cubicBezTo>
                      <a:pt x="1208" y="381"/>
                      <a:pt x="1208" y="381"/>
                      <a:pt x="1208" y="381"/>
                    </a:cubicBezTo>
                    <a:cubicBezTo>
                      <a:pt x="1208" y="381"/>
                      <a:pt x="1208" y="381"/>
                      <a:pt x="1208" y="381"/>
                    </a:cubicBezTo>
                    <a:cubicBezTo>
                      <a:pt x="1202" y="380"/>
                      <a:pt x="1204" y="378"/>
                      <a:pt x="1199" y="377"/>
                    </a:cubicBezTo>
                    <a:cubicBezTo>
                      <a:pt x="1198" y="377"/>
                      <a:pt x="1198" y="377"/>
                      <a:pt x="1198" y="377"/>
                    </a:cubicBezTo>
                    <a:cubicBezTo>
                      <a:pt x="1198" y="377"/>
                      <a:pt x="1198" y="377"/>
                      <a:pt x="1198" y="377"/>
                    </a:cubicBezTo>
                    <a:cubicBezTo>
                      <a:pt x="1193" y="376"/>
                      <a:pt x="1191" y="377"/>
                      <a:pt x="1187" y="374"/>
                    </a:cubicBezTo>
                    <a:cubicBezTo>
                      <a:pt x="1186" y="374"/>
                      <a:pt x="1186" y="374"/>
                      <a:pt x="1186" y="374"/>
                    </a:cubicBezTo>
                    <a:cubicBezTo>
                      <a:pt x="1183" y="371"/>
                      <a:pt x="1183" y="371"/>
                      <a:pt x="1183" y="371"/>
                    </a:cubicBezTo>
                    <a:cubicBezTo>
                      <a:pt x="1179" y="363"/>
                      <a:pt x="1179" y="363"/>
                      <a:pt x="1179" y="363"/>
                    </a:cubicBezTo>
                    <a:cubicBezTo>
                      <a:pt x="1178" y="362"/>
                      <a:pt x="1178" y="362"/>
                      <a:pt x="1178" y="362"/>
                    </a:cubicBezTo>
                    <a:cubicBezTo>
                      <a:pt x="1187" y="361"/>
                      <a:pt x="1187" y="361"/>
                      <a:pt x="1187" y="361"/>
                    </a:cubicBezTo>
                    <a:cubicBezTo>
                      <a:pt x="1202" y="359"/>
                      <a:pt x="1202" y="359"/>
                      <a:pt x="1202" y="359"/>
                    </a:cubicBezTo>
                    <a:cubicBezTo>
                      <a:pt x="1204" y="359"/>
                      <a:pt x="1204" y="359"/>
                      <a:pt x="1204" y="359"/>
                    </a:cubicBezTo>
                    <a:cubicBezTo>
                      <a:pt x="1206" y="359"/>
                      <a:pt x="1206" y="359"/>
                      <a:pt x="1206" y="359"/>
                    </a:cubicBezTo>
                    <a:cubicBezTo>
                      <a:pt x="1206" y="360"/>
                      <a:pt x="1206" y="360"/>
                      <a:pt x="1206" y="360"/>
                    </a:cubicBezTo>
                    <a:cubicBezTo>
                      <a:pt x="1206" y="360"/>
                      <a:pt x="1206" y="360"/>
                      <a:pt x="1206" y="360"/>
                    </a:cubicBezTo>
                    <a:cubicBezTo>
                      <a:pt x="1207" y="360"/>
                      <a:pt x="1207" y="360"/>
                      <a:pt x="1207" y="360"/>
                    </a:cubicBezTo>
                    <a:cubicBezTo>
                      <a:pt x="1208" y="361"/>
                      <a:pt x="1208" y="361"/>
                      <a:pt x="1208" y="361"/>
                    </a:cubicBezTo>
                    <a:cubicBezTo>
                      <a:pt x="1209" y="363"/>
                      <a:pt x="1209" y="363"/>
                      <a:pt x="1209" y="363"/>
                    </a:cubicBezTo>
                    <a:cubicBezTo>
                      <a:pt x="1215" y="366"/>
                      <a:pt x="1215" y="366"/>
                      <a:pt x="1215" y="366"/>
                    </a:cubicBezTo>
                    <a:cubicBezTo>
                      <a:pt x="1217" y="367"/>
                      <a:pt x="1217" y="367"/>
                      <a:pt x="1217" y="367"/>
                    </a:cubicBezTo>
                    <a:cubicBezTo>
                      <a:pt x="1218" y="368"/>
                      <a:pt x="1218" y="368"/>
                      <a:pt x="1218" y="368"/>
                    </a:cubicBezTo>
                    <a:cubicBezTo>
                      <a:pt x="1219" y="368"/>
                      <a:pt x="1219" y="368"/>
                      <a:pt x="1219" y="368"/>
                    </a:cubicBezTo>
                    <a:cubicBezTo>
                      <a:pt x="1219" y="367"/>
                      <a:pt x="1219" y="367"/>
                      <a:pt x="1219" y="367"/>
                    </a:cubicBezTo>
                    <a:cubicBezTo>
                      <a:pt x="1220" y="367"/>
                      <a:pt x="1220" y="367"/>
                      <a:pt x="1220" y="367"/>
                    </a:cubicBezTo>
                    <a:cubicBezTo>
                      <a:pt x="1222" y="367"/>
                      <a:pt x="1222" y="367"/>
                      <a:pt x="1222" y="367"/>
                    </a:cubicBezTo>
                    <a:cubicBezTo>
                      <a:pt x="1222" y="367"/>
                      <a:pt x="1222" y="367"/>
                      <a:pt x="1222" y="367"/>
                    </a:cubicBezTo>
                    <a:cubicBezTo>
                      <a:pt x="1223" y="367"/>
                      <a:pt x="1223" y="367"/>
                      <a:pt x="1223" y="367"/>
                    </a:cubicBezTo>
                    <a:cubicBezTo>
                      <a:pt x="1223" y="367"/>
                      <a:pt x="1223" y="367"/>
                      <a:pt x="1223" y="367"/>
                    </a:cubicBezTo>
                    <a:cubicBezTo>
                      <a:pt x="1223" y="367"/>
                      <a:pt x="1223" y="367"/>
                      <a:pt x="1223" y="367"/>
                    </a:cubicBezTo>
                    <a:cubicBezTo>
                      <a:pt x="1222" y="366"/>
                      <a:pt x="1222" y="366"/>
                      <a:pt x="1222" y="366"/>
                    </a:cubicBezTo>
                    <a:cubicBezTo>
                      <a:pt x="1222" y="366"/>
                      <a:pt x="1222" y="366"/>
                      <a:pt x="1222" y="366"/>
                    </a:cubicBezTo>
                    <a:cubicBezTo>
                      <a:pt x="1221" y="366"/>
                      <a:pt x="1221" y="366"/>
                      <a:pt x="1221" y="366"/>
                    </a:cubicBezTo>
                    <a:cubicBezTo>
                      <a:pt x="1221" y="366"/>
                      <a:pt x="1221" y="366"/>
                      <a:pt x="1221" y="366"/>
                    </a:cubicBezTo>
                    <a:cubicBezTo>
                      <a:pt x="1221" y="366"/>
                      <a:pt x="1221" y="366"/>
                      <a:pt x="1221" y="366"/>
                    </a:cubicBezTo>
                    <a:cubicBezTo>
                      <a:pt x="1223" y="366"/>
                      <a:pt x="1223" y="366"/>
                      <a:pt x="1225" y="365"/>
                    </a:cubicBezTo>
                    <a:cubicBezTo>
                      <a:pt x="1225" y="365"/>
                      <a:pt x="1225" y="365"/>
                      <a:pt x="1225" y="365"/>
                    </a:cubicBezTo>
                    <a:cubicBezTo>
                      <a:pt x="1224" y="365"/>
                      <a:pt x="1224" y="365"/>
                      <a:pt x="1224" y="365"/>
                    </a:cubicBezTo>
                    <a:cubicBezTo>
                      <a:pt x="1224" y="365"/>
                      <a:pt x="1224" y="365"/>
                      <a:pt x="1224" y="365"/>
                    </a:cubicBezTo>
                    <a:cubicBezTo>
                      <a:pt x="1223" y="365"/>
                      <a:pt x="1223" y="365"/>
                      <a:pt x="1223" y="365"/>
                    </a:cubicBezTo>
                    <a:cubicBezTo>
                      <a:pt x="1223" y="365"/>
                      <a:pt x="1223" y="365"/>
                      <a:pt x="1223" y="365"/>
                    </a:cubicBezTo>
                    <a:cubicBezTo>
                      <a:pt x="1224" y="365"/>
                      <a:pt x="1224" y="365"/>
                      <a:pt x="1224" y="365"/>
                    </a:cubicBezTo>
                    <a:cubicBezTo>
                      <a:pt x="1224" y="364"/>
                      <a:pt x="1224" y="364"/>
                      <a:pt x="1224" y="364"/>
                    </a:cubicBezTo>
                    <a:cubicBezTo>
                      <a:pt x="1225" y="364"/>
                      <a:pt x="1225" y="364"/>
                      <a:pt x="1225" y="364"/>
                    </a:cubicBezTo>
                    <a:cubicBezTo>
                      <a:pt x="1226" y="364"/>
                      <a:pt x="1226" y="364"/>
                      <a:pt x="1226" y="364"/>
                    </a:cubicBezTo>
                    <a:cubicBezTo>
                      <a:pt x="1227" y="364"/>
                      <a:pt x="1227" y="364"/>
                      <a:pt x="1227" y="364"/>
                    </a:cubicBezTo>
                    <a:cubicBezTo>
                      <a:pt x="1228" y="364"/>
                      <a:pt x="1228" y="364"/>
                      <a:pt x="1228" y="364"/>
                    </a:cubicBezTo>
                    <a:cubicBezTo>
                      <a:pt x="1228" y="364"/>
                      <a:pt x="1228" y="364"/>
                      <a:pt x="1228" y="364"/>
                    </a:cubicBezTo>
                    <a:cubicBezTo>
                      <a:pt x="1229" y="364"/>
                      <a:pt x="1229" y="364"/>
                      <a:pt x="1229" y="364"/>
                    </a:cubicBezTo>
                    <a:cubicBezTo>
                      <a:pt x="1229" y="363"/>
                      <a:pt x="1229" y="363"/>
                      <a:pt x="1229" y="363"/>
                    </a:cubicBezTo>
                    <a:cubicBezTo>
                      <a:pt x="1258" y="357"/>
                      <a:pt x="1258" y="357"/>
                      <a:pt x="1258" y="357"/>
                    </a:cubicBezTo>
                    <a:cubicBezTo>
                      <a:pt x="1258" y="356"/>
                      <a:pt x="1258" y="356"/>
                      <a:pt x="1258" y="356"/>
                    </a:cubicBezTo>
                    <a:cubicBezTo>
                      <a:pt x="1258" y="356"/>
                      <a:pt x="1258" y="356"/>
                      <a:pt x="1258" y="356"/>
                    </a:cubicBezTo>
                    <a:cubicBezTo>
                      <a:pt x="1258" y="355"/>
                      <a:pt x="1260" y="354"/>
                      <a:pt x="1261" y="353"/>
                    </a:cubicBezTo>
                    <a:cubicBezTo>
                      <a:pt x="1261" y="352"/>
                      <a:pt x="1261" y="352"/>
                      <a:pt x="1261" y="352"/>
                    </a:cubicBezTo>
                    <a:cubicBezTo>
                      <a:pt x="1261" y="352"/>
                      <a:pt x="1261" y="352"/>
                      <a:pt x="1261" y="352"/>
                    </a:cubicBezTo>
                    <a:cubicBezTo>
                      <a:pt x="1261" y="352"/>
                      <a:pt x="1261" y="352"/>
                      <a:pt x="1261" y="352"/>
                    </a:cubicBezTo>
                    <a:cubicBezTo>
                      <a:pt x="1262" y="352"/>
                      <a:pt x="1262" y="352"/>
                      <a:pt x="1262" y="352"/>
                    </a:cubicBezTo>
                    <a:cubicBezTo>
                      <a:pt x="1263" y="351"/>
                      <a:pt x="1265" y="349"/>
                      <a:pt x="1266" y="348"/>
                    </a:cubicBezTo>
                    <a:cubicBezTo>
                      <a:pt x="1269" y="346"/>
                      <a:pt x="1269" y="346"/>
                      <a:pt x="1269" y="346"/>
                    </a:cubicBezTo>
                    <a:cubicBezTo>
                      <a:pt x="1270" y="345"/>
                      <a:pt x="1270" y="345"/>
                      <a:pt x="1270" y="345"/>
                    </a:cubicBezTo>
                    <a:cubicBezTo>
                      <a:pt x="1271" y="344"/>
                      <a:pt x="1271" y="344"/>
                      <a:pt x="1271" y="344"/>
                    </a:cubicBezTo>
                    <a:cubicBezTo>
                      <a:pt x="1271" y="344"/>
                      <a:pt x="1271" y="344"/>
                      <a:pt x="1271" y="344"/>
                    </a:cubicBezTo>
                    <a:cubicBezTo>
                      <a:pt x="1271" y="344"/>
                      <a:pt x="1271" y="344"/>
                      <a:pt x="1271" y="344"/>
                    </a:cubicBezTo>
                    <a:cubicBezTo>
                      <a:pt x="1271" y="343"/>
                      <a:pt x="1271" y="343"/>
                      <a:pt x="1271" y="343"/>
                    </a:cubicBezTo>
                    <a:cubicBezTo>
                      <a:pt x="1271" y="343"/>
                      <a:pt x="1271" y="343"/>
                      <a:pt x="1271" y="343"/>
                    </a:cubicBezTo>
                    <a:cubicBezTo>
                      <a:pt x="1271" y="342"/>
                      <a:pt x="1271" y="342"/>
                      <a:pt x="1271" y="342"/>
                    </a:cubicBezTo>
                    <a:cubicBezTo>
                      <a:pt x="1271" y="342"/>
                      <a:pt x="1271" y="342"/>
                      <a:pt x="1271" y="342"/>
                    </a:cubicBezTo>
                    <a:cubicBezTo>
                      <a:pt x="1270" y="342"/>
                      <a:pt x="1270" y="342"/>
                      <a:pt x="1270" y="342"/>
                    </a:cubicBezTo>
                    <a:cubicBezTo>
                      <a:pt x="1271" y="341"/>
                      <a:pt x="1271" y="341"/>
                      <a:pt x="1271" y="341"/>
                    </a:cubicBezTo>
                    <a:cubicBezTo>
                      <a:pt x="1272" y="340"/>
                      <a:pt x="1272" y="340"/>
                      <a:pt x="1272" y="340"/>
                    </a:cubicBezTo>
                    <a:cubicBezTo>
                      <a:pt x="1274" y="338"/>
                      <a:pt x="1274" y="338"/>
                      <a:pt x="1274" y="338"/>
                    </a:cubicBezTo>
                    <a:cubicBezTo>
                      <a:pt x="1275" y="337"/>
                      <a:pt x="1275" y="337"/>
                      <a:pt x="1275" y="337"/>
                    </a:cubicBezTo>
                    <a:cubicBezTo>
                      <a:pt x="1276" y="337"/>
                      <a:pt x="1276" y="337"/>
                      <a:pt x="1276" y="337"/>
                    </a:cubicBezTo>
                    <a:cubicBezTo>
                      <a:pt x="1276" y="336"/>
                      <a:pt x="1276" y="336"/>
                      <a:pt x="1276" y="336"/>
                    </a:cubicBezTo>
                    <a:cubicBezTo>
                      <a:pt x="1276" y="336"/>
                      <a:pt x="1276" y="336"/>
                      <a:pt x="1276" y="336"/>
                    </a:cubicBezTo>
                    <a:cubicBezTo>
                      <a:pt x="1277" y="336"/>
                      <a:pt x="1277" y="336"/>
                      <a:pt x="1277" y="336"/>
                    </a:cubicBezTo>
                    <a:cubicBezTo>
                      <a:pt x="1277" y="335"/>
                      <a:pt x="1277" y="335"/>
                      <a:pt x="1277" y="335"/>
                    </a:cubicBezTo>
                    <a:cubicBezTo>
                      <a:pt x="1277" y="335"/>
                      <a:pt x="1277" y="335"/>
                      <a:pt x="1277" y="335"/>
                    </a:cubicBezTo>
                    <a:cubicBezTo>
                      <a:pt x="1277" y="334"/>
                      <a:pt x="1277" y="334"/>
                      <a:pt x="1277" y="333"/>
                    </a:cubicBezTo>
                    <a:cubicBezTo>
                      <a:pt x="1277" y="333"/>
                      <a:pt x="1277" y="333"/>
                      <a:pt x="1277" y="333"/>
                    </a:cubicBezTo>
                    <a:cubicBezTo>
                      <a:pt x="1279" y="331"/>
                      <a:pt x="1279" y="331"/>
                      <a:pt x="1279" y="331"/>
                    </a:cubicBezTo>
                    <a:cubicBezTo>
                      <a:pt x="1282" y="329"/>
                      <a:pt x="1282" y="329"/>
                      <a:pt x="1282" y="329"/>
                    </a:cubicBezTo>
                    <a:cubicBezTo>
                      <a:pt x="1291" y="323"/>
                      <a:pt x="1291" y="323"/>
                      <a:pt x="1291" y="323"/>
                    </a:cubicBezTo>
                    <a:cubicBezTo>
                      <a:pt x="1295" y="320"/>
                      <a:pt x="1295" y="320"/>
                      <a:pt x="1295" y="320"/>
                    </a:cubicBezTo>
                    <a:cubicBezTo>
                      <a:pt x="1297" y="319"/>
                      <a:pt x="1297" y="319"/>
                      <a:pt x="1297" y="319"/>
                    </a:cubicBezTo>
                    <a:cubicBezTo>
                      <a:pt x="1297" y="318"/>
                      <a:pt x="1297" y="318"/>
                      <a:pt x="1297" y="318"/>
                    </a:cubicBezTo>
                    <a:cubicBezTo>
                      <a:pt x="1297" y="318"/>
                      <a:pt x="1297" y="317"/>
                      <a:pt x="1297" y="317"/>
                    </a:cubicBezTo>
                    <a:cubicBezTo>
                      <a:pt x="1297" y="316"/>
                      <a:pt x="1297" y="316"/>
                      <a:pt x="1297" y="316"/>
                    </a:cubicBezTo>
                    <a:cubicBezTo>
                      <a:pt x="1297" y="316"/>
                      <a:pt x="1297" y="316"/>
                      <a:pt x="1297" y="316"/>
                    </a:cubicBezTo>
                    <a:cubicBezTo>
                      <a:pt x="1296" y="316"/>
                      <a:pt x="1296" y="316"/>
                      <a:pt x="1295" y="315"/>
                    </a:cubicBezTo>
                    <a:cubicBezTo>
                      <a:pt x="1295" y="314"/>
                      <a:pt x="1295" y="314"/>
                      <a:pt x="1295" y="314"/>
                    </a:cubicBezTo>
                    <a:cubicBezTo>
                      <a:pt x="1296" y="314"/>
                      <a:pt x="1296" y="314"/>
                      <a:pt x="1296" y="314"/>
                    </a:cubicBezTo>
                    <a:cubicBezTo>
                      <a:pt x="1297" y="312"/>
                      <a:pt x="1297" y="312"/>
                      <a:pt x="1297" y="312"/>
                    </a:cubicBezTo>
                    <a:cubicBezTo>
                      <a:pt x="1298" y="312"/>
                      <a:pt x="1298" y="312"/>
                      <a:pt x="1298" y="312"/>
                    </a:cubicBezTo>
                    <a:cubicBezTo>
                      <a:pt x="1299" y="311"/>
                      <a:pt x="1299" y="311"/>
                      <a:pt x="1299" y="310"/>
                    </a:cubicBezTo>
                    <a:cubicBezTo>
                      <a:pt x="1299" y="310"/>
                      <a:pt x="1299" y="310"/>
                      <a:pt x="1299" y="310"/>
                    </a:cubicBezTo>
                    <a:cubicBezTo>
                      <a:pt x="1299" y="309"/>
                      <a:pt x="1299" y="309"/>
                      <a:pt x="1299" y="309"/>
                    </a:cubicBezTo>
                    <a:cubicBezTo>
                      <a:pt x="1299" y="309"/>
                      <a:pt x="1298" y="309"/>
                      <a:pt x="1299" y="308"/>
                    </a:cubicBezTo>
                    <a:cubicBezTo>
                      <a:pt x="1299" y="308"/>
                      <a:pt x="1299" y="308"/>
                      <a:pt x="1299" y="308"/>
                    </a:cubicBezTo>
                    <a:cubicBezTo>
                      <a:pt x="1299" y="307"/>
                      <a:pt x="1299" y="307"/>
                      <a:pt x="1299" y="307"/>
                    </a:cubicBezTo>
                    <a:cubicBezTo>
                      <a:pt x="1299" y="307"/>
                      <a:pt x="1299" y="307"/>
                      <a:pt x="1299" y="307"/>
                    </a:cubicBezTo>
                    <a:cubicBezTo>
                      <a:pt x="1299" y="306"/>
                      <a:pt x="1299" y="306"/>
                      <a:pt x="1299" y="306"/>
                    </a:cubicBezTo>
                    <a:cubicBezTo>
                      <a:pt x="1299" y="306"/>
                      <a:pt x="1299" y="306"/>
                      <a:pt x="1299" y="306"/>
                    </a:cubicBezTo>
                    <a:cubicBezTo>
                      <a:pt x="1299" y="305"/>
                      <a:pt x="1299" y="305"/>
                      <a:pt x="1299" y="305"/>
                    </a:cubicBezTo>
                    <a:cubicBezTo>
                      <a:pt x="1298" y="305"/>
                      <a:pt x="1298" y="305"/>
                      <a:pt x="1298" y="305"/>
                    </a:cubicBezTo>
                    <a:cubicBezTo>
                      <a:pt x="1298" y="305"/>
                      <a:pt x="1298" y="305"/>
                      <a:pt x="1298" y="305"/>
                    </a:cubicBezTo>
                    <a:cubicBezTo>
                      <a:pt x="1298" y="305"/>
                      <a:pt x="1298" y="305"/>
                      <a:pt x="1298" y="305"/>
                    </a:cubicBezTo>
                    <a:cubicBezTo>
                      <a:pt x="1298" y="304"/>
                      <a:pt x="1298" y="304"/>
                      <a:pt x="1298" y="304"/>
                    </a:cubicBezTo>
                    <a:cubicBezTo>
                      <a:pt x="1298" y="304"/>
                      <a:pt x="1298" y="304"/>
                      <a:pt x="1298" y="304"/>
                    </a:cubicBezTo>
                    <a:cubicBezTo>
                      <a:pt x="1298" y="304"/>
                      <a:pt x="1298" y="304"/>
                      <a:pt x="1298" y="304"/>
                    </a:cubicBezTo>
                    <a:cubicBezTo>
                      <a:pt x="1298" y="304"/>
                      <a:pt x="1298" y="304"/>
                      <a:pt x="1298" y="304"/>
                    </a:cubicBezTo>
                    <a:cubicBezTo>
                      <a:pt x="1298" y="304"/>
                      <a:pt x="1298" y="304"/>
                      <a:pt x="1298" y="304"/>
                    </a:cubicBezTo>
                    <a:cubicBezTo>
                      <a:pt x="1298" y="304"/>
                      <a:pt x="1298" y="304"/>
                      <a:pt x="1298" y="304"/>
                    </a:cubicBezTo>
                    <a:cubicBezTo>
                      <a:pt x="1298" y="303"/>
                      <a:pt x="1298" y="303"/>
                      <a:pt x="1298" y="303"/>
                    </a:cubicBezTo>
                    <a:cubicBezTo>
                      <a:pt x="1297" y="303"/>
                      <a:pt x="1297" y="303"/>
                      <a:pt x="1297" y="303"/>
                    </a:cubicBezTo>
                    <a:cubicBezTo>
                      <a:pt x="1297" y="303"/>
                      <a:pt x="1297" y="303"/>
                      <a:pt x="1297" y="303"/>
                    </a:cubicBezTo>
                    <a:cubicBezTo>
                      <a:pt x="1297" y="302"/>
                      <a:pt x="1297" y="302"/>
                      <a:pt x="1297" y="302"/>
                    </a:cubicBezTo>
                    <a:cubicBezTo>
                      <a:pt x="1296" y="301"/>
                      <a:pt x="1294" y="300"/>
                      <a:pt x="1296" y="298"/>
                    </a:cubicBezTo>
                    <a:cubicBezTo>
                      <a:pt x="1296" y="298"/>
                      <a:pt x="1296" y="298"/>
                      <a:pt x="1296" y="298"/>
                    </a:cubicBezTo>
                    <a:cubicBezTo>
                      <a:pt x="1298" y="296"/>
                      <a:pt x="1298" y="296"/>
                      <a:pt x="1298" y="296"/>
                    </a:cubicBezTo>
                    <a:cubicBezTo>
                      <a:pt x="1300" y="293"/>
                      <a:pt x="1300" y="293"/>
                      <a:pt x="1300" y="293"/>
                    </a:cubicBezTo>
                    <a:cubicBezTo>
                      <a:pt x="1307" y="286"/>
                      <a:pt x="1307" y="286"/>
                      <a:pt x="1307" y="286"/>
                    </a:cubicBezTo>
                    <a:cubicBezTo>
                      <a:pt x="1310" y="283"/>
                      <a:pt x="1310" y="283"/>
                      <a:pt x="1310" y="283"/>
                    </a:cubicBezTo>
                    <a:cubicBezTo>
                      <a:pt x="1311" y="281"/>
                      <a:pt x="1311" y="281"/>
                      <a:pt x="1311" y="281"/>
                    </a:cubicBezTo>
                    <a:cubicBezTo>
                      <a:pt x="1312" y="280"/>
                      <a:pt x="1311" y="278"/>
                      <a:pt x="1310" y="277"/>
                    </a:cubicBezTo>
                    <a:cubicBezTo>
                      <a:pt x="1309" y="277"/>
                      <a:pt x="1309" y="277"/>
                      <a:pt x="1309" y="277"/>
                    </a:cubicBezTo>
                    <a:cubicBezTo>
                      <a:pt x="1309" y="277"/>
                      <a:pt x="1309" y="277"/>
                      <a:pt x="1309" y="277"/>
                    </a:cubicBezTo>
                    <a:cubicBezTo>
                      <a:pt x="1306" y="274"/>
                      <a:pt x="1305" y="275"/>
                      <a:pt x="1303" y="273"/>
                    </a:cubicBezTo>
                    <a:cubicBezTo>
                      <a:pt x="1302" y="273"/>
                      <a:pt x="1302" y="273"/>
                      <a:pt x="1302" y="273"/>
                    </a:cubicBezTo>
                    <a:cubicBezTo>
                      <a:pt x="1302" y="272"/>
                      <a:pt x="1302" y="272"/>
                      <a:pt x="1302" y="272"/>
                    </a:cubicBezTo>
                    <a:cubicBezTo>
                      <a:pt x="1301" y="272"/>
                      <a:pt x="1301" y="272"/>
                      <a:pt x="1301" y="272"/>
                    </a:cubicBezTo>
                    <a:cubicBezTo>
                      <a:pt x="1294" y="266"/>
                      <a:pt x="1293" y="268"/>
                      <a:pt x="1287" y="264"/>
                    </a:cubicBezTo>
                    <a:cubicBezTo>
                      <a:pt x="1286" y="263"/>
                      <a:pt x="1286" y="263"/>
                      <a:pt x="1286" y="263"/>
                    </a:cubicBezTo>
                    <a:cubicBezTo>
                      <a:pt x="1286" y="263"/>
                      <a:pt x="1286" y="263"/>
                      <a:pt x="1286" y="263"/>
                    </a:cubicBezTo>
                    <a:cubicBezTo>
                      <a:pt x="1285" y="263"/>
                      <a:pt x="1285" y="263"/>
                      <a:pt x="1285" y="263"/>
                    </a:cubicBezTo>
                    <a:cubicBezTo>
                      <a:pt x="1285" y="263"/>
                      <a:pt x="1285" y="263"/>
                      <a:pt x="1285" y="263"/>
                    </a:cubicBezTo>
                    <a:cubicBezTo>
                      <a:pt x="1285" y="262"/>
                      <a:pt x="1285" y="262"/>
                      <a:pt x="1285" y="262"/>
                    </a:cubicBezTo>
                    <a:cubicBezTo>
                      <a:pt x="1284" y="262"/>
                      <a:pt x="1284" y="262"/>
                      <a:pt x="1284" y="262"/>
                    </a:cubicBezTo>
                    <a:cubicBezTo>
                      <a:pt x="1284" y="262"/>
                      <a:pt x="1284" y="262"/>
                      <a:pt x="1284" y="262"/>
                    </a:cubicBezTo>
                    <a:cubicBezTo>
                      <a:pt x="1283" y="261"/>
                      <a:pt x="1281" y="258"/>
                      <a:pt x="1281" y="258"/>
                    </a:cubicBezTo>
                    <a:cubicBezTo>
                      <a:pt x="1281" y="257"/>
                      <a:pt x="1281" y="257"/>
                      <a:pt x="1281" y="257"/>
                    </a:cubicBezTo>
                    <a:cubicBezTo>
                      <a:pt x="1281" y="257"/>
                      <a:pt x="1281" y="257"/>
                      <a:pt x="1281" y="257"/>
                    </a:cubicBezTo>
                    <a:cubicBezTo>
                      <a:pt x="1280" y="256"/>
                      <a:pt x="1280" y="255"/>
                      <a:pt x="1280" y="253"/>
                    </a:cubicBezTo>
                    <a:cubicBezTo>
                      <a:pt x="1280" y="253"/>
                      <a:pt x="1280" y="253"/>
                      <a:pt x="1280" y="253"/>
                    </a:cubicBezTo>
                    <a:cubicBezTo>
                      <a:pt x="1280" y="253"/>
                      <a:pt x="1280" y="253"/>
                      <a:pt x="1280" y="253"/>
                    </a:cubicBezTo>
                    <a:cubicBezTo>
                      <a:pt x="1280" y="253"/>
                      <a:pt x="1280" y="253"/>
                      <a:pt x="1280" y="253"/>
                    </a:cubicBezTo>
                    <a:cubicBezTo>
                      <a:pt x="1280" y="252"/>
                      <a:pt x="1280" y="252"/>
                      <a:pt x="1280" y="252"/>
                    </a:cubicBezTo>
                    <a:cubicBezTo>
                      <a:pt x="1280" y="252"/>
                      <a:pt x="1280" y="252"/>
                      <a:pt x="1280" y="252"/>
                    </a:cubicBezTo>
                    <a:cubicBezTo>
                      <a:pt x="1280" y="248"/>
                      <a:pt x="1282" y="244"/>
                      <a:pt x="1283" y="240"/>
                    </a:cubicBezTo>
                    <a:cubicBezTo>
                      <a:pt x="1283" y="240"/>
                      <a:pt x="1283" y="240"/>
                      <a:pt x="1283" y="240"/>
                    </a:cubicBezTo>
                    <a:cubicBezTo>
                      <a:pt x="1282" y="239"/>
                      <a:pt x="1282" y="239"/>
                      <a:pt x="1282" y="239"/>
                    </a:cubicBezTo>
                    <a:cubicBezTo>
                      <a:pt x="1282" y="239"/>
                      <a:pt x="1282" y="238"/>
                      <a:pt x="1282" y="238"/>
                    </a:cubicBezTo>
                    <a:cubicBezTo>
                      <a:pt x="1282" y="237"/>
                      <a:pt x="1282" y="237"/>
                      <a:pt x="1282" y="237"/>
                    </a:cubicBezTo>
                    <a:cubicBezTo>
                      <a:pt x="1282" y="237"/>
                      <a:pt x="1282" y="237"/>
                      <a:pt x="1282" y="237"/>
                    </a:cubicBezTo>
                    <a:cubicBezTo>
                      <a:pt x="1282" y="236"/>
                      <a:pt x="1282" y="236"/>
                      <a:pt x="1282" y="236"/>
                    </a:cubicBezTo>
                    <a:cubicBezTo>
                      <a:pt x="1282" y="234"/>
                      <a:pt x="1283" y="231"/>
                      <a:pt x="1282" y="229"/>
                    </a:cubicBezTo>
                    <a:cubicBezTo>
                      <a:pt x="1282" y="228"/>
                      <a:pt x="1282" y="228"/>
                      <a:pt x="1282" y="228"/>
                    </a:cubicBezTo>
                    <a:cubicBezTo>
                      <a:pt x="1282" y="228"/>
                      <a:pt x="1282" y="228"/>
                      <a:pt x="1282" y="228"/>
                    </a:cubicBezTo>
                    <a:cubicBezTo>
                      <a:pt x="1282" y="228"/>
                      <a:pt x="1282" y="228"/>
                      <a:pt x="1282" y="228"/>
                    </a:cubicBezTo>
                    <a:cubicBezTo>
                      <a:pt x="1282" y="227"/>
                      <a:pt x="1282" y="227"/>
                      <a:pt x="1282" y="227"/>
                    </a:cubicBezTo>
                    <a:cubicBezTo>
                      <a:pt x="1281" y="227"/>
                      <a:pt x="1281" y="227"/>
                      <a:pt x="1281" y="227"/>
                    </a:cubicBezTo>
                    <a:cubicBezTo>
                      <a:pt x="1281" y="227"/>
                      <a:pt x="1281" y="227"/>
                      <a:pt x="1281" y="227"/>
                    </a:cubicBezTo>
                    <a:cubicBezTo>
                      <a:pt x="1281" y="226"/>
                      <a:pt x="1281" y="226"/>
                      <a:pt x="1281" y="226"/>
                    </a:cubicBezTo>
                    <a:cubicBezTo>
                      <a:pt x="1281" y="226"/>
                      <a:pt x="1281" y="226"/>
                      <a:pt x="1281" y="226"/>
                    </a:cubicBezTo>
                    <a:cubicBezTo>
                      <a:pt x="1281" y="226"/>
                      <a:pt x="1281" y="226"/>
                      <a:pt x="1281" y="226"/>
                    </a:cubicBezTo>
                    <a:cubicBezTo>
                      <a:pt x="1281" y="225"/>
                      <a:pt x="1281" y="225"/>
                      <a:pt x="1281" y="225"/>
                    </a:cubicBezTo>
                    <a:cubicBezTo>
                      <a:pt x="1281" y="223"/>
                      <a:pt x="1281" y="223"/>
                      <a:pt x="1281" y="223"/>
                    </a:cubicBezTo>
                    <a:cubicBezTo>
                      <a:pt x="1283" y="219"/>
                      <a:pt x="1283" y="219"/>
                      <a:pt x="1283" y="219"/>
                    </a:cubicBezTo>
                    <a:cubicBezTo>
                      <a:pt x="1283" y="217"/>
                      <a:pt x="1283" y="217"/>
                      <a:pt x="1283" y="217"/>
                    </a:cubicBezTo>
                    <a:cubicBezTo>
                      <a:pt x="1284" y="216"/>
                      <a:pt x="1284" y="216"/>
                      <a:pt x="1284" y="216"/>
                    </a:cubicBezTo>
                    <a:cubicBezTo>
                      <a:pt x="1284" y="215"/>
                      <a:pt x="1284" y="214"/>
                      <a:pt x="1284" y="214"/>
                    </a:cubicBezTo>
                    <a:cubicBezTo>
                      <a:pt x="1284" y="213"/>
                      <a:pt x="1284" y="213"/>
                      <a:pt x="1284" y="213"/>
                    </a:cubicBezTo>
                    <a:cubicBezTo>
                      <a:pt x="1284" y="213"/>
                      <a:pt x="1284" y="213"/>
                      <a:pt x="1284" y="213"/>
                    </a:cubicBezTo>
                    <a:cubicBezTo>
                      <a:pt x="1284" y="213"/>
                      <a:pt x="1284" y="213"/>
                      <a:pt x="1284" y="213"/>
                    </a:cubicBezTo>
                    <a:cubicBezTo>
                      <a:pt x="1284" y="211"/>
                      <a:pt x="1283" y="210"/>
                      <a:pt x="1282" y="208"/>
                    </a:cubicBezTo>
                    <a:cubicBezTo>
                      <a:pt x="1282" y="208"/>
                      <a:pt x="1282" y="208"/>
                      <a:pt x="1282" y="208"/>
                    </a:cubicBezTo>
                    <a:cubicBezTo>
                      <a:pt x="1282" y="208"/>
                      <a:pt x="1282" y="208"/>
                      <a:pt x="1282" y="208"/>
                    </a:cubicBezTo>
                    <a:cubicBezTo>
                      <a:pt x="1281" y="208"/>
                      <a:pt x="1281" y="208"/>
                      <a:pt x="1281" y="208"/>
                    </a:cubicBezTo>
                    <a:cubicBezTo>
                      <a:pt x="1281" y="207"/>
                      <a:pt x="1281" y="207"/>
                      <a:pt x="1281" y="207"/>
                    </a:cubicBezTo>
                    <a:cubicBezTo>
                      <a:pt x="1281" y="207"/>
                      <a:pt x="1281" y="207"/>
                      <a:pt x="1281" y="207"/>
                    </a:cubicBezTo>
                    <a:cubicBezTo>
                      <a:pt x="1280" y="207"/>
                      <a:pt x="1280" y="207"/>
                      <a:pt x="1280" y="207"/>
                    </a:cubicBezTo>
                    <a:cubicBezTo>
                      <a:pt x="1280" y="206"/>
                      <a:pt x="1280" y="206"/>
                      <a:pt x="1280" y="206"/>
                    </a:cubicBezTo>
                    <a:cubicBezTo>
                      <a:pt x="1280" y="206"/>
                      <a:pt x="1280" y="206"/>
                      <a:pt x="1280" y="206"/>
                    </a:cubicBezTo>
                    <a:cubicBezTo>
                      <a:pt x="1280" y="206"/>
                      <a:pt x="1280" y="206"/>
                      <a:pt x="1280" y="206"/>
                    </a:cubicBezTo>
                    <a:cubicBezTo>
                      <a:pt x="1280" y="205"/>
                      <a:pt x="1280" y="205"/>
                      <a:pt x="1280" y="205"/>
                    </a:cubicBezTo>
                    <a:cubicBezTo>
                      <a:pt x="1280" y="203"/>
                      <a:pt x="1280" y="203"/>
                      <a:pt x="1280" y="203"/>
                    </a:cubicBezTo>
                    <a:cubicBezTo>
                      <a:pt x="1281" y="199"/>
                      <a:pt x="1281" y="199"/>
                      <a:pt x="1281" y="199"/>
                    </a:cubicBezTo>
                    <a:cubicBezTo>
                      <a:pt x="1282" y="198"/>
                      <a:pt x="1282" y="197"/>
                      <a:pt x="1282" y="195"/>
                    </a:cubicBezTo>
                    <a:cubicBezTo>
                      <a:pt x="1282" y="195"/>
                      <a:pt x="1282" y="195"/>
                      <a:pt x="1282" y="195"/>
                    </a:cubicBezTo>
                    <a:cubicBezTo>
                      <a:pt x="1281" y="195"/>
                      <a:pt x="1281" y="195"/>
                      <a:pt x="1281" y="195"/>
                    </a:cubicBezTo>
                    <a:cubicBezTo>
                      <a:pt x="1281" y="195"/>
                      <a:pt x="1281" y="195"/>
                      <a:pt x="1281" y="195"/>
                    </a:cubicBezTo>
                    <a:cubicBezTo>
                      <a:pt x="1281" y="194"/>
                      <a:pt x="1281" y="194"/>
                      <a:pt x="1281" y="194"/>
                    </a:cubicBezTo>
                    <a:cubicBezTo>
                      <a:pt x="1280" y="194"/>
                      <a:pt x="1280" y="194"/>
                      <a:pt x="1280" y="194"/>
                    </a:cubicBezTo>
                    <a:cubicBezTo>
                      <a:pt x="1280" y="193"/>
                      <a:pt x="1280" y="193"/>
                      <a:pt x="1280" y="193"/>
                    </a:cubicBezTo>
                    <a:cubicBezTo>
                      <a:pt x="1279" y="193"/>
                      <a:pt x="1279" y="193"/>
                      <a:pt x="1279" y="193"/>
                    </a:cubicBezTo>
                    <a:cubicBezTo>
                      <a:pt x="1278" y="191"/>
                      <a:pt x="1278" y="191"/>
                      <a:pt x="1278" y="191"/>
                    </a:cubicBezTo>
                    <a:cubicBezTo>
                      <a:pt x="1277" y="190"/>
                      <a:pt x="1277" y="190"/>
                      <a:pt x="1277" y="190"/>
                    </a:cubicBezTo>
                    <a:cubicBezTo>
                      <a:pt x="1277" y="189"/>
                      <a:pt x="1277" y="189"/>
                      <a:pt x="1277" y="189"/>
                    </a:cubicBezTo>
                    <a:cubicBezTo>
                      <a:pt x="1278" y="189"/>
                      <a:pt x="1278" y="189"/>
                      <a:pt x="1278" y="189"/>
                    </a:cubicBezTo>
                    <a:cubicBezTo>
                      <a:pt x="1278" y="188"/>
                      <a:pt x="1279" y="187"/>
                      <a:pt x="1280" y="187"/>
                    </a:cubicBezTo>
                    <a:cubicBezTo>
                      <a:pt x="1280" y="186"/>
                      <a:pt x="1280" y="186"/>
                      <a:pt x="1280" y="186"/>
                    </a:cubicBezTo>
                    <a:cubicBezTo>
                      <a:pt x="1281" y="186"/>
                      <a:pt x="1281" y="186"/>
                      <a:pt x="1281" y="186"/>
                    </a:cubicBezTo>
                    <a:cubicBezTo>
                      <a:pt x="1282" y="185"/>
                      <a:pt x="1282" y="185"/>
                      <a:pt x="1282" y="185"/>
                    </a:cubicBezTo>
                    <a:cubicBezTo>
                      <a:pt x="1285" y="184"/>
                      <a:pt x="1285" y="184"/>
                      <a:pt x="1285" y="184"/>
                    </a:cubicBezTo>
                    <a:cubicBezTo>
                      <a:pt x="1286" y="183"/>
                      <a:pt x="1286" y="183"/>
                      <a:pt x="1286" y="183"/>
                    </a:cubicBezTo>
                    <a:cubicBezTo>
                      <a:pt x="1287" y="183"/>
                      <a:pt x="1287" y="183"/>
                      <a:pt x="1287" y="183"/>
                    </a:cubicBezTo>
                    <a:cubicBezTo>
                      <a:pt x="1286" y="182"/>
                      <a:pt x="1286" y="182"/>
                      <a:pt x="1286" y="182"/>
                    </a:cubicBezTo>
                    <a:cubicBezTo>
                      <a:pt x="1286" y="182"/>
                      <a:pt x="1286" y="182"/>
                      <a:pt x="1286" y="182"/>
                    </a:cubicBezTo>
                    <a:cubicBezTo>
                      <a:pt x="1286" y="182"/>
                      <a:pt x="1286" y="182"/>
                      <a:pt x="1286" y="182"/>
                    </a:cubicBezTo>
                    <a:cubicBezTo>
                      <a:pt x="1286" y="181"/>
                      <a:pt x="1286" y="181"/>
                      <a:pt x="1286" y="181"/>
                    </a:cubicBezTo>
                    <a:cubicBezTo>
                      <a:pt x="1286" y="181"/>
                      <a:pt x="1286" y="181"/>
                      <a:pt x="1286" y="181"/>
                    </a:cubicBezTo>
                    <a:cubicBezTo>
                      <a:pt x="1286" y="180"/>
                      <a:pt x="1287" y="178"/>
                      <a:pt x="1286" y="177"/>
                    </a:cubicBezTo>
                    <a:cubicBezTo>
                      <a:pt x="1286" y="176"/>
                      <a:pt x="1286" y="176"/>
                      <a:pt x="1286" y="176"/>
                    </a:cubicBezTo>
                    <a:cubicBezTo>
                      <a:pt x="1286" y="176"/>
                      <a:pt x="1286" y="176"/>
                      <a:pt x="1286" y="176"/>
                    </a:cubicBezTo>
                    <a:cubicBezTo>
                      <a:pt x="1286" y="176"/>
                      <a:pt x="1286" y="176"/>
                      <a:pt x="1286" y="176"/>
                    </a:cubicBezTo>
                    <a:cubicBezTo>
                      <a:pt x="1285" y="176"/>
                      <a:pt x="1285" y="176"/>
                      <a:pt x="1285" y="176"/>
                    </a:cubicBezTo>
                    <a:cubicBezTo>
                      <a:pt x="1285" y="175"/>
                      <a:pt x="1285" y="175"/>
                      <a:pt x="1285" y="175"/>
                    </a:cubicBezTo>
                    <a:cubicBezTo>
                      <a:pt x="1285" y="173"/>
                      <a:pt x="1285" y="173"/>
                      <a:pt x="1285" y="173"/>
                    </a:cubicBezTo>
                    <a:cubicBezTo>
                      <a:pt x="1286" y="171"/>
                      <a:pt x="1286" y="171"/>
                      <a:pt x="1286" y="171"/>
                    </a:cubicBezTo>
                    <a:cubicBezTo>
                      <a:pt x="1286" y="169"/>
                      <a:pt x="1286" y="169"/>
                      <a:pt x="1286" y="169"/>
                    </a:cubicBezTo>
                    <a:cubicBezTo>
                      <a:pt x="1287" y="168"/>
                      <a:pt x="1287" y="168"/>
                      <a:pt x="1287" y="168"/>
                    </a:cubicBezTo>
                    <a:cubicBezTo>
                      <a:pt x="1287" y="167"/>
                      <a:pt x="1287" y="167"/>
                      <a:pt x="1287" y="167"/>
                    </a:cubicBezTo>
                    <a:cubicBezTo>
                      <a:pt x="1287" y="167"/>
                      <a:pt x="1287" y="167"/>
                      <a:pt x="1287" y="167"/>
                    </a:cubicBezTo>
                    <a:cubicBezTo>
                      <a:pt x="1287" y="166"/>
                      <a:pt x="1287" y="166"/>
                      <a:pt x="1287" y="166"/>
                    </a:cubicBezTo>
                    <a:cubicBezTo>
                      <a:pt x="1287" y="165"/>
                      <a:pt x="1287" y="165"/>
                      <a:pt x="1287" y="165"/>
                    </a:cubicBezTo>
                    <a:cubicBezTo>
                      <a:pt x="1288" y="164"/>
                      <a:pt x="1288" y="164"/>
                      <a:pt x="1288" y="164"/>
                    </a:cubicBezTo>
                    <a:cubicBezTo>
                      <a:pt x="1288" y="163"/>
                      <a:pt x="1288" y="163"/>
                      <a:pt x="1288" y="163"/>
                    </a:cubicBezTo>
                    <a:cubicBezTo>
                      <a:pt x="1288" y="161"/>
                      <a:pt x="1289" y="160"/>
                      <a:pt x="1288" y="159"/>
                    </a:cubicBezTo>
                    <a:cubicBezTo>
                      <a:pt x="1287" y="158"/>
                      <a:pt x="1287" y="158"/>
                      <a:pt x="1287" y="158"/>
                    </a:cubicBezTo>
                    <a:cubicBezTo>
                      <a:pt x="1287" y="158"/>
                      <a:pt x="1287" y="158"/>
                      <a:pt x="1287" y="158"/>
                    </a:cubicBezTo>
                    <a:cubicBezTo>
                      <a:pt x="1285" y="156"/>
                      <a:pt x="1285" y="157"/>
                      <a:pt x="1284" y="155"/>
                    </a:cubicBezTo>
                    <a:cubicBezTo>
                      <a:pt x="1284" y="154"/>
                      <a:pt x="1284" y="154"/>
                      <a:pt x="1284" y="154"/>
                    </a:cubicBezTo>
                    <a:cubicBezTo>
                      <a:pt x="1284" y="154"/>
                      <a:pt x="1284" y="154"/>
                      <a:pt x="1284" y="154"/>
                    </a:cubicBezTo>
                    <a:cubicBezTo>
                      <a:pt x="1284" y="154"/>
                      <a:pt x="1284" y="154"/>
                      <a:pt x="1284" y="154"/>
                    </a:cubicBezTo>
                    <a:cubicBezTo>
                      <a:pt x="1283" y="153"/>
                      <a:pt x="1283" y="153"/>
                      <a:pt x="1283" y="153"/>
                    </a:cubicBezTo>
                    <a:cubicBezTo>
                      <a:pt x="1283" y="153"/>
                      <a:pt x="1283" y="153"/>
                      <a:pt x="1283" y="153"/>
                    </a:cubicBezTo>
                    <a:cubicBezTo>
                      <a:pt x="1283" y="153"/>
                      <a:pt x="1283" y="153"/>
                      <a:pt x="1283" y="153"/>
                    </a:cubicBezTo>
                    <a:cubicBezTo>
                      <a:pt x="1282" y="149"/>
                      <a:pt x="1285" y="149"/>
                      <a:pt x="1282" y="146"/>
                    </a:cubicBezTo>
                    <a:cubicBezTo>
                      <a:pt x="1282" y="146"/>
                      <a:pt x="1282" y="146"/>
                      <a:pt x="1282" y="146"/>
                    </a:cubicBezTo>
                    <a:cubicBezTo>
                      <a:pt x="1282" y="145"/>
                      <a:pt x="1282" y="145"/>
                      <a:pt x="1282" y="145"/>
                    </a:cubicBezTo>
                    <a:cubicBezTo>
                      <a:pt x="1280" y="144"/>
                      <a:pt x="1278" y="145"/>
                      <a:pt x="1275" y="143"/>
                    </a:cubicBezTo>
                    <a:cubicBezTo>
                      <a:pt x="1275" y="143"/>
                      <a:pt x="1275" y="143"/>
                      <a:pt x="1275" y="143"/>
                    </a:cubicBezTo>
                    <a:cubicBezTo>
                      <a:pt x="1274" y="142"/>
                      <a:pt x="1274" y="142"/>
                      <a:pt x="1274" y="142"/>
                    </a:cubicBezTo>
                    <a:cubicBezTo>
                      <a:pt x="1274" y="142"/>
                      <a:pt x="1274" y="142"/>
                      <a:pt x="1274" y="142"/>
                    </a:cubicBezTo>
                    <a:cubicBezTo>
                      <a:pt x="1269" y="139"/>
                      <a:pt x="1267" y="139"/>
                      <a:pt x="1264" y="135"/>
                    </a:cubicBezTo>
                    <a:cubicBezTo>
                      <a:pt x="1263" y="134"/>
                      <a:pt x="1263" y="134"/>
                      <a:pt x="1263" y="134"/>
                    </a:cubicBezTo>
                    <a:cubicBezTo>
                      <a:pt x="1263" y="134"/>
                      <a:pt x="1263" y="134"/>
                      <a:pt x="1263" y="134"/>
                    </a:cubicBezTo>
                    <a:cubicBezTo>
                      <a:pt x="1263" y="134"/>
                      <a:pt x="1263" y="134"/>
                      <a:pt x="1263" y="134"/>
                    </a:cubicBezTo>
                    <a:cubicBezTo>
                      <a:pt x="1262" y="133"/>
                      <a:pt x="1262" y="133"/>
                      <a:pt x="1262" y="133"/>
                    </a:cubicBezTo>
                    <a:cubicBezTo>
                      <a:pt x="1262" y="133"/>
                      <a:pt x="1262" y="133"/>
                      <a:pt x="1262" y="133"/>
                    </a:cubicBezTo>
                    <a:cubicBezTo>
                      <a:pt x="1262" y="133"/>
                      <a:pt x="1262" y="133"/>
                      <a:pt x="1262" y="133"/>
                    </a:cubicBezTo>
                    <a:cubicBezTo>
                      <a:pt x="1262" y="133"/>
                      <a:pt x="1262" y="133"/>
                      <a:pt x="1262" y="133"/>
                    </a:cubicBezTo>
                    <a:cubicBezTo>
                      <a:pt x="1260" y="128"/>
                      <a:pt x="1258" y="126"/>
                      <a:pt x="1262" y="125"/>
                    </a:cubicBezTo>
                    <a:cubicBezTo>
                      <a:pt x="1262" y="124"/>
                      <a:pt x="1262" y="124"/>
                      <a:pt x="1262" y="124"/>
                    </a:cubicBezTo>
                    <a:cubicBezTo>
                      <a:pt x="1263" y="124"/>
                      <a:pt x="1263" y="124"/>
                      <a:pt x="1263" y="124"/>
                    </a:cubicBezTo>
                    <a:cubicBezTo>
                      <a:pt x="1263" y="124"/>
                      <a:pt x="1263" y="123"/>
                      <a:pt x="1264" y="123"/>
                    </a:cubicBezTo>
                    <a:cubicBezTo>
                      <a:pt x="1264" y="123"/>
                      <a:pt x="1264" y="123"/>
                      <a:pt x="1264" y="123"/>
                    </a:cubicBezTo>
                    <a:cubicBezTo>
                      <a:pt x="1264" y="124"/>
                      <a:pt x="1264" y="124"/>
                      <a:pt x="1265" y="124"/>
                    </a:cubicBezTo>
                    <a:cubicBezTo>
                      <a:pt x="1265" y="124"/>
                      <a:pt x="1266" y="123"/>
                      <a:pt x="1268" y="122"/>
                    </a:cubicBezTo>
                    <a:cubicBezTo>
                      <a:pt x="1269" y="122"/>
                      <a:pt x="1269" y="122"/>
                      <a:pt x="1269" y="122"/>
                    </a:cubicBezTo>
                    <a:cubicBezTo>
                      <a:pt x="1270" y="120"/>
                      <a:pt x="1270" y="120"/>
                      <a:pt x="1270" y="120"/>
                    </a:cubicBezTo>
                    <a:cubicBezTo>
                      <a:pt x="1273" y="116"/>
                      <a:pt x="1273" y="116"/>
                      <a:pt x="1273" y="116"/>
                    </a:cubicBezTo>
                    <a:cubicBezTo>
                      <a:pt x="1273" y="112"/>
                      <a:pt x="1273" y="112"/>
                      <a:pt x="1273" y="112"/>
                    </a:cubicBezTo>
                    <a:cubicBezTo>
                      <a:pt x="1274" y="110"/>
                      <a:pt x="1274" y="110"/>
                      <a:pt x="1274" y="110"/>
                    </a:cubicBezTo>
                    <a:cubicBezTo>
                      <a:pt x="1274" y="109"/>
                      <a:pt x="1274" y="109"/>
                      <a:pt x="1274" y="109"/>
                    </a:cubicBezTo>
                    <a:cubicBezTo>
                      <a:pt x="1274" y="108"/>
                      <a:pt x="1274" y="108"/>
                      <a:pt x="1274" y="108"/>
                    </a:cubicBezTo>
                    <a:cubicBezTo>
                      <a:pt x="1274" y="108"/>
                      <a:pt x="1274" y="108"/>
                      <a:pt x="1274" y="108"/>
                    </a:cubicBezTo>
                    <a:cubicBezTo>
                      <a:pt x="1275" y="108"/>
                      <a:pt x="1275" y="108"/>
                      <a:pt x="1275" y="108"/>
                    </a:cubicBezTo>
                    <a:cubicBezTo>
                      <a:pt x="1275" y="108"/>
                      <a:pt x="1275" y="108"/>
                      <a:pt x="1275" y="108"/>
                    </a:cubicBezTo>
                    <a:cubicBezTo>
                      <a:pt x="1276" y="107"/>
                      <a:pt x="1276" y="107"/>
                      <a:pt x="1276" y="107"/>
                    </a:cubicBezTo>
                    <a:cubicBezTo>
                      <a:pt x="1276" y="107"/>
                      <a:pt x="1276" y="107"/>
                      <a:pt x="1276" y="107"/>
                    </a:cubicBezTo>
                    <a:cubicBezTo>
                      <a:pt x="1277" y="107"/>
                      <a:pt x="1277" y="107"/>
                      <a:pt x="1277" y="107"/>
                    </a:cubicBezTo>
                    <a:cubicBezTo>
                      <a:pt x="1277" y="106"/>
                      <a:pt x="1277" y="106"/>
                      <a:pt x="1277" y="106"/>
                    </a:cubicBezTo>
                    <a:cubicBezTo>
                      <a:pt x="1278" y="105"/>
                      <a:pt x="1278" y="105"/>
                      <a:pt x="1278" y="105"/>
                    </a:cubicBezTo>
                    <a:cubicBezTo>
                      <a:pt x="1280" y="101"/>
                      <a:pt x="1280" y="101"/>
                      <a:pt x="1280" y="101"/>
                    </a:cubicBezTo>
                    <a:cubicBezTo>
                      <a:pt x="1281" y="99"/>
                      <a:pt x="1281" y="99"/>
                      <a:pt x="1281" y="99"/>
                    </a:cubicBezTo>
                    <a:cubicBezTo>
                      <a:pt x="1281" y="98"/>
                      <a:pt x="1281" y="98"/>
                      <a:pt x="1281" y="98"/>
                    </a:cubicBezTo>
                    <a:cubicBezTo>
                      <a:pt x="1282" y="96"/>
                      <a:pt x="1282" y="96"/>
                      <a:pt x="1282" y="96"/>
                    </a:cubicBezTo>
                    <a:cubicBezTo>
                      <a:pt x="1284" y="94"/>
                      <a:pt x="1284" y="94"/>
                      <a:pt x="1284" y="94"/>
                    </a:cubicBezTo>
                    <a:cubicBezTo>
                      <a:pt x="1288" y="89"/>
                      <a:pt x="1288" y="89"/>
                      <a:pt x="1288" y="89"/>
                    </a:cubicBezTo>
                    <a:cubicBezTo>
                      <a:pt x="1289" y="86"/>
                      <a:pt x="1289" y="86"/>
                      <a:pt x="1289" y="86"/>
                    </a:cubicBezTo>
                    <a:cubicBezTo>
                      <a:pt x="1290" y="85"/>
                      <a:pt x="1290" y="85"/>
                      <a:pt x="1290" y="85"/>
                    </a:cubicBezTo>
                    <a:cubicBezTo>
                      <a:pt x="1289" y="85"/>
                      <a:pt x="1289" y="85"/>
                      <a:pt x="1289" y="85"/>
                    </a:cubicBezTo>
                    <a:cubicBezTo>
                      <a:pt x="1289" y="84"/>
                      <a:pt x="1289" y="84"/>
                      <a:pt x="1289" y="84"/>
                    </a:cubicBezTo>
                    <a:cubicBezTo>
                      <a:pt x="1289" y="84"/>
                      <a:pt x="1289" y="84"/>
                      <a:pt x="1289" y="84"/>
                    </a:cubicBezTo>
                    <a:cubicBezTo>
                      <a:pt x="1289" y="84"/>
                      <a:pt x="1289" y="84"/>
                      <a:pt x="1289" y="84"/>
                    </a:cubicBezTo>
                    <a:cubicBezTo>
                      <a:pt x="1289" y="83"/>
                      <a:pt x="1289" y="83"/>
                      <a:pt x="1289" y="83"/>
                    </a:cubicBezTo>
                    <a:cubicBezTo>
                      <a:pt x="1288" y="83"/>
                      <a:pt x="1288" y="83"/>
                      <a:pt x="1288" y="83"/>
                    </a:cubicBezTo>
                    <a:cubicBezTo>
                      <a:pt x="1288" y="83"/>
                      <a:pt x="1288" y="83"/>
                      <a:pt x="1288" y="83"/>
                    </a:cubicBezTo>
                    <a:cubicBezTo>
                      <a:pt x="1288" y="82"/>
                      <a:pt x="1288" y="82"/>
                      <a:pt x="1288" y="82"/>
                    </a:cubicBezTo>
                    <a:cubicBezTo>
                      <a:pt x="1288" y="82"/>
                      <a:pt x="1288" y="82"/>
                      <a:pt x="1288" y="82"/>
                    </a:cubicBezTo>
                    <a:cubicBezTo>
                      <a:pt x="1288" y="81"/>
                      <a:pt x="1288" y="81"/>
                      <a:pt x="1288" y="81"/>
                    </a:cubicBezTo>
                    <a:cubicBezTo>
                      <a:pt x="1288" y="81"/>
                      <a:pt x="1288" y="81"/>
                      <a:pt x="1288" y="81"/>
                    </a:cubicBezTo>
                    <a:cubicBezTo>
                      <a:pt x="1287" y="80"/>
                      <a:pt x="1287" y="80"/>
                      <a:pt x="1287" y="80"/>
                    </a:cubicBezTo>
                    <a:cubicBezTo>
                      <a:pt x="1287" y="80"/>
                      <a:pt x="1287" y="80"/>
                      <a:pt x="1287" y="80"/>
                    </a:cubicBezTo>
                    <a:cubicBezTo>
                      <a:pt x="1287" y="80"/>
                      <a:pt x="1287" y="80"/>
                      <a:pt x="1287" y="80"/>
                    </a:cubicBezTo>
                    <a:cubicBezTo>
                      <a:pt x="1287" y="79"/>
                      <a:pt x="1287" y="79"/>
                      <a:pt x="1287" y="79"/>
                    </a:cubicBezTo>
                    <a:cubicBezTo>
                      <a:pt x="1288" y="78"/>
                      <a:pt x="1288" y="78"/>
                      <a:pt x="1288" y="78"/>
                    </a:cubicBezTo>
                    <a:cubicBezTo>
                      <a:pt x="1288" y="74"/>
                      <a:pt x="1288" y="74"/>
                      <a:pt x="1288" y="74"/>
                    </a:cubicBezTo>
                    <a:cubicBezTo>
                      <a:pt x="1288" y="71"/>
                      <a:pt x="1288" y="71"/>
                      <a:pt x="1288" y="71"/>
                    </a:cubicBezTo>
                    <a:cubicBezTo>
                      <a:pt x="1288" y="65"/>
                      <a:pt x="1288" y="65"/>
                      <a:pt x="1288" y="65"/>
                    </a:cubicBezTo>
                    <a:cubicBezTo>
                      <a:pt x="1288" y="63"/>
                      <a:pt x="1288" y="63"/>
                      <a:pt x="1288" y="63"/>
                    </a:cubicBezTo>
                    <a:cubicBezTo>
                      <a:pt x="1287" y="62"/>
                      <a:pt x="1287" y="62"/>
                      <a:pt x="1287" y="62"/>
                    </a:cubicBezTo>
                    <a:cubicBezTo>
                      <a:pt x="1284" y="62"/>
                      <a:pt x="1282" y="61"/>
                      <a:pt x="1280" y="60"/>
                    </a:cubicBezTo>
                    <a:cubicBezTo>
                      <a:pt x="1279" y="60"/>
                      <a:pt x="1279" y="60"/>
                      <a:pt x="1279" y="60"/>
                    </a:cubicBezTo>
                    <a:cubicBezTo>
                      <a:pt x="1279" y="60"/>
                      <a:pt x="1279" y="60"/>
                      <a:pt x="1279" y="60"/>
                    </a:cubicBezTo>
                    <a:cubicBezTo>
                      <a:pt x="1278" y="59"/>
                      <a:pt x="1278" y="59"/>
                      <a:pt x="1278" y="59"/>
                    </a:cubicBezTo>
                    <a:cubicBezTo>
                      <a:pt x="1277" y="59"/>
                      <a:pt x="1277" y="59"/>
                      <a:pt x="1277" y="59"/>
                    </a:cubicBezTo>
                    <a:cubicBezTo>
                      <a:pt x="1275" y="59"/>
                      <a:pt x="1273" y="58"/>
                      <a:pt x="1271" y="57"/>
                    </a:cubicBezTo>
                    <a:cubicBezTo>
                      <a:pt x="1270" y="57"/>
                      <a:pt x="1270" y="57"/>
                      <a:pt x="1270" y="57"/>
                    </a:cubicBezTo>
                    <a:cubicBezTo>
                      <a:pt x="1269" y="57"/>
                      <a:pt x="1269" y="57"/>
                      <a:pt x="1269" y="57"/>
                    </a:cubicBezTo>
                    <a:cubicBezTo>
                      <a:pt x="1268" y="56"/>
                      <a:pt x="1268" y="56"/>
                      <a:pt x="1267" y="56"/>
                    </a:cubicBezTo>
                    <a:cubicBezTo>
                      <a:pt x="1266" y="56"/>
                      <a:pt x="1266" y="57"/>
                      <a:pt x="1264" y="58"/>
                    </a:cubicBezTo>
                    <a:cubicBezTo>
                      <a:pt x="1263" y="58"/>
                      <a:pt x="1263" y="58"/>
                      <a:pt x="1263" y="58"/>
                    </a:cubicBezTo>
                    <a:cubicBezTo>
                      <a:pt x="1263" y="58"/>
                      <a:pt x="1263" y="58"/>
                      <a:pt x="1263" y="58"/>
                    </a:cubicBezTo>
                    <a:cubicBezTo>
                      <a:pt x="1262" y="58"/>
                      <a:pt x="1262" y="58"/>
                      <a:pt x="1262" y="58"/>
                    </a:cubicBezTo>
                    <a:cubicBezTo>
                      <a:pt x="1260" y="57"/>
                      <a:pt x="1260" y="57"/>
                      <a:pt x="1260" y="57"/>
                    </a:cubicBezTo>
                    <a:cubicBezTo>
                      <a:pt x="1260" y="57"/>
                      <a:pt x="1260" y="57"/>
                      <a:pt x="1260" y="57"/>
                    </a:cubicBezTo>
                    <a:cubicBezTo>
                      <a:pt x="1261" y="57"/>
                      <a:pt x="1261" y="57"/>
                      <a:pt x="1261" y="57"/>
                    </a:cubicBezTo>
                    <a:cubicBezTo>
                      <a:pt x="1262" y="57"/>
                      <a:pt x="1262" y="57"/>
                      <a:pt x="1262" y="57"/>
                    </a:cubicBezTo>
                    <a:cubicBezTo>
                      <a:pt x="1263" y="56"/>
                      <a:pt x="1263" y="56"/>
                      <a:pt x="1263" y="56"/>
                    </a:cubicBezTo>
                    <a:cubicBezTo>
                      <a:pt x="1264" y="56"/>
                      <a:pt x="1264" y="56"/>
                      <a:pt x="1264" y="56"/>
                    </a:cubicBezTo>
                    <a:cubicBezTo>
                      <a:pt x="1264" y="56"/>
                      <a:pt x="1264" y="56"/>
                      <a:pt x="1264" y="56"/>
                    </a:cubicBezTo>
                    <a:cubicBezTo>
                      <a:pt x="1263" y="55"/>
                      <a:pt x="1263" y="55"/>
                      <a:pt x="1263" y="55"/>
                    </a:cubicBezTo>
                    <a:cubicBezTo>
                      <a:pt x="1263" y="55"/>
                      <a:pt x="1263" y="55"/>
                      <a:pt x="1263" y="55"/>
                    </a:cubicBezTo>
                    <a:cubicBezTo>
                      <a:pt x="1262" y="55"/>
                      <a:pt x="1262" y="55"/>
                      <a:pt x="1262" y="55"/>
                    </a:cubicBezTo>
                    <a:cubicBezTo>
                      <a:pt x="1255" y="55"/>
                      <a:pt x="1255" y="52"/>
                      <a:pt x="1250" y="52"/>
                    </a:cubicBezTo>
                    <a:cubicBezTo>
                      <a:pt x="1249" y="52"/>
                      <a:pt x="1248" y="52"/>
                      <a:pt x="1247" y="52"/>
                    </a:cubicBezTo>
                    <a:cubicBezTo>
                      <a:pt x="1246" y="52"/>
                      <a:pt x="1246" y="52"/>
                      <a:pt x="1246" y="52"/>
                    </a:cubicBezTo>
                    <a:cubicBezTo>
                      <a:pt x="1246" y="52"/>
                      <a:pt x="1246" y="52"/>
                      <a:pt x="1246" y="52"/>
                    </a:cubicBezTo>
                    <a:cubicBezTo>
                      <a:pt x="1245" y="53"/>
                      <a:pt x="1245" y="53"/>
                      <a:pt x="1245" y="53"/>
                    </a:cubicBezTo>
                    <a:cubicBezTo>
                      <a:pt x="1244" y="53"/>
                      <a:pt x="1244" y="53"/>
                      <a:pt x="1243" y="53"/>
                    </a:cubicBezTo>
                    <a:cubicBezTo>
                      <a:pt x="1242" y="53"/>
                      <a:pt x="1242" y="53"/>
                      <a:pt x="1241" y="53"/>
                    </a:cubicBezTo>
                    <a:cubicBezTo>
                      <a:pt x="1241" y="52"/>
                      <a:pt x="1240" y="52"/>
                      <a:pt x="1240" y="52"/>
                    </a:cubicBezTo>
                    <a:cubicBezTo>
                      <a:pt x="1239" y="52"/>
                      <a:pt x="1239" y="52"/>
                      <a:pt x="1239" y="52"/>
                    </a:cubicBezTo>
                    <a:cubicBezTo>
                      <a:pt x="1238" y="52"/>
                      <a:pt x="1238" y="52"/>
                      <a:pt x="1238" y="52"/>
                    </a:cubicBezTo>
                    <a:cubicBezTo>
                      <a:pt x="1237" y="52"/>
                      <a:pt x="1237" y="52"/>
                      <a:pt x="1237" y="52"/>
                    </a:cubicBezTo>
                    <a:cubicBezTo>
                      <a:pt x="1237" y="52"/>
                      <a:pt x="1236" y="52"/>
                      <a:pt x="1235" y="52"/>
                    </a:cubicBezTo>
                    <a:cubicBezTo>
                      <a:pt x="1234" y="52"/>
                      <a:pt x="1233" y="53"/>
                      <a:pt x="1231" y="53"/>
                    </a:cubicBezTo>
                    <a:cubicBezTo>
                      <a:pt x="1231" y="53"/>
                      <a:pt x="1231" y="53"/>
                      <a:pt x="1231" y="53"/>
                    </a:cubicBezTo>
                    <a:cubicBezTo>
                      <a:pt x="1230" y="53"/>
                      <a:pt x="1230" y="53"/>
                      <a:pt x="1230" y="53"/>
                    </a:cubicBezTo>
                    <a:cubicBezTo>
                      <a:pt x="1230" y="53"/>
                      <a:pt x="1230" y="53"/>
                      <a:pt x="1230" y="53"/>
                    </a:cubicBezTo>
                    <a:cubicBezTo>
                      <a:pt x="1229" y="53"/>
                      <a:pt x="1229" y="53"/>
                      <a:pt x="1229" y="53"/>
                    </a:cubicBezTo>
                    <a:cubicBezTo>
                      <a:pt x="1229" y="53"/>
                      <a:pt x="1229" y="53"/>
                      <a:pt x="1229" y="53"/>
                    </a:cubicBezTo>
                    <a:cubicBezTo>
                      <a:pt x="1224" y="53"/>
                      <a:pt x="1220" y="52"/>
                      <a:pt x="1216" y="52"/>
                    </a:cubicBezTo>
                    <a:cubicBezTo>
                      <a:pt x="1215" y="52"/>
                      <a:pt x="1214" y="53"/>
                      <a:pt x="1213" y="53"/>
                    </a:cubicBezTo>
                    <a:cubicBezTo>
                      <a:pt x="1212" y="53"/>
                      <a:pt x="1212" y="53"/>
                      <a:pt x="1212" y="53"/>
                    </a:cubicBezTo>
                    <a:cubicBezTo>
                      <a:pt x="1212" y="53"/>
                      <a:pt x="1212" y="53"/>
                      <a:pt x="1212" y="53"/>
                    </a:cubicBezTo>
                    <a:cubicBezTo>
                      <a:pt x="1211" y="53"/>
                      <a:pt x="1211" y="53"/>
                      <a:pt x="1211" y="53"/>
                    </a:cubicBezTo>
                    <a:cubicBezTo>
                      <a:pt x="1210" y="53"/>
                      <a:pt x="1209" y="53"/>
                      <a:pt x="1207" y="53"/>
                    </a:cubicBezTo>
                    <a:cubicBezTo>
                      <a:pt x="1207" y="53"/>
                      <a:pt x="1206" y="53"/>
                      <a:pt x="1206" y="53"/>
                    </a:cubicBezTo>
                    <a:cubicBezTo>
                      <a:pt x="1205" y="53"/>
                      <a:pt x="1205" y="53"/>
                      <a:pt x="1205" y="53"/>
                    </a:cubicBezTo>
                    <a:cubicBezTo>
                      <a:pt x="1203" y="53"/>
                      <a:pt x="1201" y="54"/>
                      <a:pt x="1199" y="54"/>
                    </a:cubicBezTo>
                    <a:cubicBezTo>
                      <a:pt x="1199" y="54"/>
                      <a:pt x="1198" y="54"/>
                      <a:pt x="1198" y="54"/>
                    </a:cubicBezTo>
                    <a:cubicBezTo>
                      <a:pt x="1197" y="54"/>
                      <a:pt x="1197" y="54"/>
                      <a:pt x="1197" y="54"/>
                    </a:cubicBezTo>
                    <a:cubicBezTo>
                      <a:pt x="1196" y="53"/>
                      <a:pt x="1196" y="53"/>
                      <a:pt x="1196" y="53"/>
                    </a:cubicBezTo>
                    <a:cubicBezTo>
                      <a:pt x="1195" y="52"/>
                      <a:pt x="1195" y="52"/>
                      <a:pt x="1195" y="52"/>
                    </a:cubicBezTo>
                    <a:cubicBezTo>
                      <a:pt x="1195" y="52"/>
                      <a:pt x="1195" y="52"/>
                      <a:pt x="1195" y="52"/>
                    </a:cubicBezTo>
                    <a:cubicBezTo>
                      <a:pt x="1195" y="52"/>
                      <a:pt x="1195" y="52"/>
                      <a:pt x="1195" y="52"/>
                    </a:cubicBezTo>
                    <a:cubicBezTo>
                      <a:pt x="1198" y="51"/>
                      <a:pt x="1199" y="51"/>
                      <a:pt x="1201" y="50"/>
                    </a:cubicBezTo>
                    <a:cubicBezTo>
                      <a:pt x="1201" y="49"/>
                      <a:pt x="1201" y="49"/>
                      <a:pt x="1201" y="49"/>
                    </a:cubicBezTo>
                    <a:cubicBezTo>
                      <a:pt x="1201" y="49"/>
                      <a:pt x="1201" y="49"/>
                      <a:pt x="1201" y="49"/>
                    </a:cubicBezTo>
                    <a:cubicBezTo>
                      <a:pt x="1200" y="49"/>
                      <a:pt x="1200" y="49"/>
                      <a:pt x="1200" y="49"/>
                    </a:cubicBezTo>
                    <a:cubicBezTo>
                      <a:pt x="1200" y="49"/>
                      <a:pt x="1200" y="49"/>
                      <a:pt x="1200" y="49"/>
                    </a:cubicBezTo>
                    <a:cubicBezTo>
                      <a:pt x="1199" y="49"/>
                      <a:pt x="1199" y="49"/>
                      <a:pt x="1199" y="49"/>
                    </a:cubicBezTo>
                    <a:cubicBezTo>
                      <a:pt x="1198" y="49"/>
                      <a:pt x="1197" y="49"/>
                      <a:pt x="1195" y="49"/>
                    </a:cubicBezTo>
                    <a:cubicBezTo>
                      <a:pt x="1192" y="49"/>
                      <a:pt x="1188" y="49"/>
                      <a:pt x="1188" y="52"/>
                    </a:cubicBezTo>
                    <a:cubicBezTo>
                      <a:pt x="1188" y="52"/>
                      <a:pt x="1188" y="52"/>
                      <a:pt x="1188" y="52"/>
                    </a:cubicBezTo>
                    <a:cubicBezTo>
                      <a:pt x="1188" y="52"/>
                      <a:pt x="1188" y="52"/>
                      <a:pt x="1188" y="52"/>
                    </a:cubicBezTo>
                    <a:cubicBezTo>
                      <a:pt x="1188" y="53"/>
                      <a:pt x="1188" y="53"/>
                      <a:pt x="1188" y="53"/>
                    </a:cubicBezTo>
                    <a:cubicBezTo>
                      <a:pt x="1188" y="54"/>
                      <a:pt x="1188" y="55"/>
                      <a:pt x="1187" y="56"/>
                    </a:cubicBezTo>
                    <a:cubicBezTo>
                      <a:pt x="1187" y="56"/>
                      <a:pt x="1187" y="56"/>
                      <a:pt x="1187" y="56"/>
                    </a:cubicBezTo>
                    <a:cubicBezTo>
                      <a:pt x="1187" y="56"/>
                      <a:pt x="1187" y="56"/>
                      <a:pt x="1187" y="56"/>
                    </a:cubicBezTo>
                    <a:cubicBezTo>
                      <a:pt x="1186" y="58"/>
                      <a:pt x="1185" y="59"/>
                      <a:pt x="1184" y="60"/>
                    </a:cubicBezTo>
                    <a:cubicBezTo>
                      <a:pt x="1184" y="60"/>
                      <a:pt x="1184" y="60"/>
                      <a:pt x="1184" y="60"/>
                    </a:cubicBezTo>
                    <a:cubicBezTo>
                      <a:pt x="1183" y="60"/>
                      <a:pt x="1183" y="60"/>
                      <a:pt x="1183" y="60"/>
                    </a:cubicBezTo>
                    <a:cubicBezTo>
                      <a:pt x="1183" y="61"/>
                      <a:pt x="1183" y="61"/>
                      <a:pt x="1183" y="61"/>
                    </a:cubicBezTo>
                    <a:cubicBezTo>
                      <a:pt x="1181" y="61"/>
                      <a:pt x="1181" y="61"/>
                      <a:pt x="1181" y="61"/>
                    </a:cubicBezTo>
                    <a:cubicBezTo>
                      <a:pt x="1181" y="61"/>
                      <a:pt x="1181" y="61"/>
                      <a:pt x="1181" y="61"/>
                    </a:cubicBezTo>
                    <a:cubicBezTo>
                      <a:pt x="1181" y="62"/>
                      <a:pt x="1181" y="62"/>
                      <a:pt x="1181" y="62"/>
                    </a:cubicBezTo>
                    <a:cubicBezTo>
                      <a:pt x="1180" y="63"/>
                      <a:pt x="1180" y="63"/>
                      <a:pt x="1180" y="63"/>
                    </a:cubicBezTo>
                    <a:cubicBezTo>
                      <a:pt x="1180" y="65"/>
                      <a:pt x="1180" y="65"/>
                      <a:pt x="1180" y="65"/>
                    </a:cubicBezTo>
                    <a:cubicBezTo>
                      <a:pt x="1180" y="65"/>
                      <a:pt x="1180" y="65"/>
                      <a:pt x="1180" y="65"/>
                    </a:cubicBezTo>
                    <a:cubicBezTo>
                      <a:pt x="1180" y="66"/>
                      <a:pt x="1180" y="66"/>
                      <a:pt x="1180" y="66"/>
                    </a:cubicBezTo>
                    <a:cubicBezTo>
                      <a:pt x="1179" y="66"/>
                      <a:pt x="1179" y="66"/>
                      <a:pt x="1179" y="66"/>
                    </a:cubicBezTo>
                    <a:cubicBezTo>
                      <a:pt x="1179" y="66"/>
                      <a:pt x="1179" y="66"/>
                      <a:pt x="1179" y="66"/>
                    </a:cubicBezTo>
                    <a:cubicBezTo>
                      <a:pt x="1179" y="66"/>
                      <a:pt x="1179" y="66"/>
                      <a:pt x="1179" y="66"/>
                    </a:cubicBezTo>
                    <a:cubicBezTo>
                      <a:pt x="1179" y="66"/>
                      <a:pt x="1179" y="66"/>
                      <a:pt x="1179" y="66"/>
                    </a:cubicBezTo>
                    <a:cubicBezTo>
                      <a:pt x="1178" y="66"/>
                      <a:pt x="1178" y="66"/>
                      <a:pt x="1178" y="66"/>
                    </a:cubicBezTo>
                    <a:cubicBezTo>
                      <a:pt x="1178" y="67"/>
                      <a:pt x="1178" y="67"/>
                      <a:pt x="1178" y="67"/>
                    </a:cubicBezTo>
                    <a:cubicBezTo>
                      <a:pt x="1178" y="68"/>
                      <a:pt x="1178" y="69"/>
                      <a:pt x="1177" y="70"/>
                    </a:cubicBezTo>
                    <a:cubicBezTo>
                      <a:pt x="1177" y="70"/>
                      <a:pt x="1177" y="70"/>
                      <a:pt x="1177" y="70"/>
                    </a:cubicBezTo>
                    <a:cubicBezTo>
                      <a:pt x="1177" y="70"/>
                      <a:pt x="1177" y="70"/>
                      <a:pt x="1177" y="70"/>
                    </a:cubicBezTo>
                    <a:cubicBezTo>
                      <a:pt x="1177" y="71"/>
                      <a:pt x="1177" y="71"/>
                      <a:pt x="1177" y="71"/>
                    </a:cubicBezTo>
                    <a:cubicBezTo>
                      <a:pt x="1177" y="71"/>
                      <a:pt x="1177" y="71"/>
                      <a:pt x="1177" y="71"/>
                    </a:cubicBezTo>
                    <a:cubicBezTo>
                      <a:pt x="1176" y="72"/>
                      <a:pt x="1176" y="72"/>
                      <a:pt x="1176" y="72"/>
                    </a:cubicBezTo>
                    <a:cubicBezTo>
                      <a:pt x="1176" y="72"/>
                      <a:pt x="1176" y="72"/>
                      <a:pt x="1176" y="72"/>
                    </a:cubicBezTo>
                    <a:cubicBezTo>
                      <a:pt x="1177" y="74"/>
                      <a:pt x="1177" y="74"/>
                      <a:pt x="1177" y="74"/>
                    </a:cubicBezTo>
                    <a:cubicBezTo>
                      <a:pt x="1177" y="75"/>
                      <a:pt x="1177" y="75"/>
                      <a:pt x="1177" y="75"/>
                    </a:cubicBezTo>
                    <a:cubicBezTo>
                      <a:pt x="1176" y="75"/>
                      <a:pt x="1176" y="75"/>
                      <a:pt x="1176" y="75"/>
                    </a:cubicBezTo>
                    <a:cubicBezTo>
                      <a:pt x="1176" y="75"/>
                      <a:pt x="1176" y="75"/>
                      <a:pt x="1176" y="75"/>
                    </a:cubicBezTo>
                    <a:cubicBezTo>
                      <a:pt x="1176" y="76"/>
                      <a:pt x="1176" y="76"/>
                      <a:pt x="1176" y="76"/>
                    </a:cubicBezTo>
                    <a:cubicBezTo>
                      <a:pt x="1175" y="76"/>
                      <a:pt x="1175" y="76"/>
                      <a:pt x="1175" y="76"/>
                    </a:cubicBezTo>
                    <a:cubicBezTo>
                      <a:pt x="1175" y="76"/>
                      <a:pt x="1175" y="76"/>
                      <a:pt x="1175" y="76"/>
                    </a:cubicBezTo>
                    <a:cubicBezTo>
                      <a:pt x="1175" y="77"/>
                      <a:pt x="1175" y="77"/>
                      <a:pt x="1175" y="77"/>
                    </a:cubicBezTo>
                    <a:cubicBezTo>
                      <a:pt x="1175" y="77"/>
                      <a:pt x="1175" y="77"/>
                      <a:pt x="1175" y="77"/>
                    </a:cubicBezTo>
                    <a:cubicBezTo>
                      <a:pt x="1175" y="77"/>
                      <a:pt x="1175" y="77"/>
                      <a:pt x="1175" y="77"/>
                    </a:cubicBezTo>
                    <a:cubicBezTo>
                      <a:pt x="1175" y="78"/>
                      <a:pt x="1175" y="78"/>
                      <a:pt x="1175" y="78"/>
                    </a:cubicBezTo>
                    <a:cubicBezTo>
                      <a:pt x="1175" y="78"/>
                      <a:pt x="1175" y="78"/>
                      <a:pt x="1175" y="78"/>
                    </a:cubicBezTo>
                    <a:cubicBezTo>
                      <a:pt x="1175" y="78"/>
                      <a:pt x="1175" y="78"/>
                      <a:pt x="1175" y="78"/>
                    </a:cubicBezTo>
                    <a:cubicBezTo>
                      <a:pt x="1175" y="79"/>
                      <a:pt x="1175" y="79"/>
                      <a:pt x="1175" y="79"/>
                    </a:cubicBezTo>
                    <a:cubicBezTo>
                      <a:pt x="1174" y="79"/>
                      <a:pt x="1174" y="79"/>
                      <a:pt x="1174" y="79"/>
                    </a:cubicBezTo>
                    <a:cubicBezTo>
                      <a:pt x="1174" y="79"/>
                      <a:pt x="1174" y="79"/>
                      <a:pt x="1174" y="79"/>
                    </a:cubicBezTo>
                    <a:cubicBezTo>
                      <a:pt x="1174" y="80"/>
                      <a:pt x="1174" y="80"/>
                      <a:pt x="1174" y="80"/>
                    </a:cubicBezTo>
                    <a:cubicBezTo>
                      <a:pt x="1174" y="80"/>
                      <a:pt x="1174" y="80"/>
                      <a:pt x="1174" y="80"/>
                    </a:cubicBezTo>
                    <a:cubicBezTo>
                      <a:pt x="1174" y="80"/>
                      <a:pt x="1174" y="80"/>
                      <a:pt x="1174" y="80"/>
                    </a:cubicBezTo>
                    <a:cubicBezTo>
                      <a:pt x="1174" y="81"/>
                      <a:pt x="1174" y="81"/>
                      <a:pt x="1174" y="81"/>
                    </a:cubicBezTo>
                    <a:cubicBezTo>
                      <a:pt x="1174" y="81"/>
                      <a:pt x="1174" y="81"/>
                      <a:pt x="1174" y="81"/>
                    </a:cubicBezTo>
                    <a:cubicBezTo>
                      <a:pt x="1174" y="81"/>
                      <a:pt x="1174" y="81"/>
                      <a:pt x="1174" y="81"/>
                    </a:cubicBezTo>
                    <a:cubicBezTo>
                      <a:pt x="1174" y="82"/>
                      <a:pt x="1174" y="82"/>
                      <a:pt x="1174" y="82"/>
                    </a:cubicBezTo>
                    <a:cubicBezTo>
                      <a:pt x="1174" y="82"/>
                      <a:pt x="1174" y="82"/>
                      <a:pt x="1174" y="82"/>
                    </a:cubicBezTo>
                    <a:cubicBezTo>
                      <a:pt x="1174" y="83"/>
                      <a:pt x="1174" y="83"/>
                      <a:pt x="1174" y="83"/>
                    </a:cubicBezTo>
                    <a:cubicBezTo>
                      <a:pt x="1174" y="83"/>
                      <a:pt x="1174" y="83"/>
                      <a:pt x="1174" y="83"/>
                    </a:cubicBezTo>
                    <a:cubicBezTo>
                      <a:pt x="1174" y="84"/>
                      <a:pt x="1173" y="83"/>
                      <a:pt x="1173" y="86"/>
                    </a:cubicBezTo>
                    <a:cubicBezTo>
                      <a:pt x="1173" y="86"/>
                      <a:pt x="1173" y="86"/>
                      <a:pt x="1173" y="86"/>
                    </a:cubicBezTo>
                    <a:cubicBezTo>
                      <a:pt x="1173" y="86"/>
                      <a:pt x="1173" y="86"/>
                      <a:pt x="1173" y="86"/>
                    </a:cubicBezTo>
                    <a:cubicBezTo>
                      <a:pt x="1172" y="88"/>
                      <a:pt x="1172" y="88"/>
                      <a:pt x="1172" y="89"/>
                    </a:cubicBezTo>
                    <a:cubicBezTo>
                      <a:pt x="1172" y="90"/>
                      <a:pt x="1172" y="90"/>
                      <a:pt x="1172" y="90"/>
                    </a:cubicBezTo>
                    <a:cubicBezTo>
                      <a:pt x="1171" y="90"/>
                      <a:pt x="1171" y="90"/>
                      <a:pt x="1171" y="90"/>
                    </a:cubicBezTo>
                    <a:cubicBezTo>
                      <a:pt x="1171" y="90"/>
                      <a:pt x="1171" y="90"/>
                      <a:pt x="1171" y="90"/>
                    </a:cubicBezTo>
                    <a:cubicBezTo>
                      <a:pt x="1171" y="91"/>
                      <a:pt x="1171" y="91"/>
                      <a:pt x="1171" y="91"/>
                    </a:cubicBezTo>
                    <a:cubicBezTo>
                      <a:pt x="1171" y="92"/>
                      <a:pt x="1170" y="93"/>
                      <a:pt x="1170" y="94"/>
                    </a:cubicBezTo>
                    <a:cubicBezTo>
                      <a:pt x="1170" y="94"/>
                      <a:pt x="1170" y="94"/>
                      <a:pt x="1170" y="94"/>
                    </a:cubicBezTo>
                    <a:cubicBezTo>
                      <a:pt x="1169" y="96"/>
                      <a:pt x="1169" y="96"/>
                      <a:pt x="1169" y="98"/>
                    </a:cubicBezTo>
                    <a:cubicBezTo>
                      <a:pt x="1169" y="98"/>
                      <a:pt x="1169" y="98"/>
                      <a:pt x="1169" y="98"/>
                    </a:cubicBezTo>
                    <a:cubicBezTo>
                      <a:pt x="1169" y="98"/>
                      <a:pt x="1169" y="98"/>
                      <a:pt x="1169" y="98"/>
                    </a:cubicBezTo>
                    <a:cubicBezTo>
                      <a:pt x="1169" y="99"/>
                      <a:pt x="1169" y="99"/>
                      <a:pt x="1169" y="99"/>
                    </a:cubicBezTo>
                    <a:cubicBezTo>
                      <a:pt x="1169" y="99"/>
                      <a:pt x="1169" y="99"/>
                      <a:pt x="1169" y="99"/>
                    </a:cubicBezTo>
                    <a:cubicBezTo>
                      <a:pt x="1168" y="100"/>
                      <a:pt x="1168" y="100"/>
                      <a:pt x="1168" y="100"/>
                    </a:cubicBezTo>
                    <a:cubicBezTo>
                      <a:pt x="1168" y="100"/>
                      <a:pt x="1167" y="101"/>
                      <a:pt x="1167" y="102"/>
                    </a:cubicBezTo>
                    <a:cubicBezTo>
                      <a:pt x="1167" y="102"/>
                      <a:pt x="1167" y="102"/>
                      <a:pt x="1167" y="102"/>
                    </a:cubicBezTo>
                    <a:cubicBezTo>
                      <a:pt x="1167" y="103"/>
                      <a:pt x="1167" y="103"/>
                      <a:pt x="1167" y="103"/>
                    </a:cubicBezTo>
                    <a:cubicBezTo>
                      <a:pt x="1167" y="104"/>
                      <a:pt x="1167" y="104"/>
                      <a:pt x="1166" y="106"/>
                    </a:cubicBezTo>
                    <a:cubicBezTo>
                      <a:pt x="1165" y="106"/>
                      <a:pt x="1165" y="106"/>
                      <a:pt x="1165" y="106"/>
                    </a:cubicBezTo>
                    <a:cubicBezTo>
                      <a:pt x="1165" y="107"/>
                      <a:pt x="1165" y="107"/>
                      <a:pt x="1165" y="107"/>
                    </a:cubicBezTo>
                    <a:cubicBezTo>
                      <a:pt x="1165" y="107"/>
                      <a:pt x="1165" y="107"/>
                      <a:pt x="1165" y="107"/>
                    </a:cubicBezTo>
                    <a:cubicBezTo>
                      <a:pt x="1164" y="112"/>
                      <a:pt x="1164" y="110"/>
                      <a:pt x="1161" y="115"/>
                    </a:cubicBezTo>
                    <a:cubicBezTo>
                      <a:pt x="1160" y="115"/>
                      <a:pt x="1160" y="115"/>
                      <a:pt x="1160" y="115"/>
                    </a:cubicBezTo>
                    <a:cubicBezTo>
                      <a:pt x="1160" y="116"/>
                      <a:pt x="1160" y="116"/>
                      <a:pt x="1160" y="116"/>
                    </a:cubicBezTo>
                    <a:cubicBezTo>
                      <a:pt x="1160" y="117"/>
                      <a:pt x="1160" y="117"/>
                      <a:pt x="1160" y="117"/>
                    </a:cubicBezTo>
                    <a:cubicBezTo>
                      <a:pt x="1160" y="118"/>
                      <a:pt x="1160" y="118"/>
                      <a:pt x="1160" y="118"/>
                    </a:cubicBezTo>
                    <a:cubicBezTo>
                      <a:pt x="1160" y="118"/>
                      <a:pt x="1160" y="118"/>
                      <a:pt x="1160" y="118"/>
                    </a:cubicBezTo>
                    <a:cubicBezTo>
                      <a:pt x="1160" y="117"/>
                      <a:pt x="1160" y="117"/>
                      <a:pt x="1160" y="117"/>
                    </a:cubicBezTo>
                    <a:cubicBezTo>
                      <a:pt x="1160" y="117"/>
                      <a:pt x="1160" y="117"/>
                      <a:pt x="1160" y="117"/>
                    </a:cubicBezTo>
                    <a:cubicBezTo>
                      <a:pt x="1159" y="117"/>
                      <a:pt x="1159" y="117"/>
                      <a:pt x="1159" y="117"/>
                    </a:cubicBezTo>
                    <a:cubicBezTo>
                      <a:pt x="1158" y="117"/>
                      <a:pt x="1158" y="117"/>
                      <a:pt x="1158" y="117"/>
                    </a:cubicBezTo>
                    <a:cubicBezTo>
                      <a:pt x="1157" y="118"/>
                      <a:pt x="1155" y="121"/>
                      <a:pt x="1153" y="122"/>
                    </a:cubicBezTo>
                    <a:cubicBezTo>
                      <a:pt x="1153" y="123"/>
                      <a:pt x="1153" y="123"/>
                      <a:pt x="1153" y="123"/>
                    </a:cubicBezTo>
                    <a:cubicBezTo>
                      <a:pt x="1152" y="123"/>
                      <a:pt x="1152" y="123"/>
                      <a:pt x="1152" y="123"/>
                    </a:cubicBezTo>
                    <a:cubicBezTo>
                      <a:pt x="1152" y="123"/>
                      <a:pt x="1152" y="123"/>
                      <a:pt x="1152" y="123"/>
                    </a:cubicBezTo>
                    <a:cubicBezTo>
                      <a:pt x="1151" y="124"/>
                      <a:pt x="1151" y="124"/>
                      <a:pt x="1150" y="124"/>
                    </a:cubicBezTo>
                    <a:cubicBezTo>
                      <a:pt x="1150" y="125"/>
                      <a:pt x="1150" y="125"/>
                      <a:pt x="1150" y="125"/>
                    </a:cubicBezTo>
                    <a:cubicBezTo>
                      <a:pt x="1150" y="125"/>
                      <a:pt x="1150" y="125"/>
                      <a:pt x="1150" y="125"/>
                    </a:cubicBezTo>
                    <a:cubicBezTo>
                      <a:pt x="1149" y="126"/>
                      <a:pt x="1149" y="126"/>
                      <a:pt x="1148" y="126"/>
                    </a:cubicBezTo>
                    <a:cubicBezTo>
                      <a:pt x="1147" y="126"/>
                      <a:pt x="1147" y="126"/>
                      <a:pt x="1147" y="126"/>
                    </a:cubicBezTo>
                    <a:cubicBezTo>
                      <a:pt x="1147" y="127"/>
                      <a:pt x="1147" y="127"/>
                      <a:pt x="1147" y="127"/>
                    </a:cubicBezTo>
                    <a:cubicBezTo>
                      <a:pt x="1146" y="127"/>
                      <a:pt x="1146" y="127"/>
                      <a:pt x="1146" y="127"/>
                    </a:cubicBezTo>
                    <a:cubicBezTo>
                      <a:pt x="1146" y="127"/>
                      <a:pt x="1146" y="127"/>
                      <a:pt x="1146" y="127"/>
                    </a:cubicBezTo>
                    <a:cubicBezTo>
                      <a:pt x="1145" y="127"/>
                      <a:pt x="1145" y="127"/>
                      <a:pt x="1145" y="127"/>
                    </a:cubicBezTo>
                    <a:cubicBezTo>
                      <a:pt x="1145" y="128"/>
                      <a:pt x="1145" y="128"/>
                      <a:pt x="1145" y="128"/>
                    </a:cubicBezTo>
                    <a:cubicBezTo>
                      <a:pt x="1144" y="128"/>
                      <a:pt x="1144" y="129"/>
                      <a:pt x="1143" y="129"/>
                    </a:cubicBezTo>
                    <a:cubicBezTo>
                      <a:pt x="1142" y="129"/>
                      <a:pt x="1142" y="129"/>
                      <a:pt x="1142" y="129"/>
                    </a:cubicBezTo>
                    <a:cubicBezTo>
                      <a:pt x="1142" y="130"/>
                      <a:pt x="1142" y="130"/>
                      <a:pt x="1142" y="130"/>
                    </a:cubicBezTo>
                    <a:cubicBezTo>
                      <a:pt x="1141" y="130"/>
                      <a:pt x="1140" y="130"/>
                      <a:pt x="1139" y="131"/>
                    </a:cubicBezTo>
                    <a:cubicBezTo>
                      <a:pt x="1139" y="131"/>
                      <a:pt x="1139" y="131"/>
                      <a:pt x="1139" y="131"/>
                    </a:cubicBezTo>
                    <a:cubicBezTo>
                      <a:pt x="1139" y="131"/>
                      <a:pt x="1139" y="131"/>
                      <a:pt x="1139" y="131"/>
                    </a:cubicBezTo>
                    <a:cubicBezTo>
                      <a:pt x="1139" y="132"/>
                      <a:pt x="1139" y="132"/>
                      <a:pt x="1139" y="132"/>
                    </a:cubicBezTo>
                    <a:cubicBezTo>
                      <a:pt x="1139" y="132"/>
                      <a:pt x="1139" y="132"/>
                      <a:pt x="1139" y="132"/>
                    </a:cubicBezTo>
                    <a:cubicBezTo>
                      <a:pt x="1138" y="132"/>
                      <a:pt x="1137" y="132"/>
                      <a:pt x="1136" y="133"/>
                    </a:cubicBezTo>
                    <a:cubicBezTo>
                      <a:pt x="1136" y="133"/>
                      <a:pt x="1136" y="133"/>
                      <a:pt x="1136" y="133"/>
                    </a:cubicBezTo>
                    <a:cubicBezTo>
                      <a:pt x="1135" y="133"/>
                      <a:pt x="1135" y="133"/>
                      <a:pt x="1135" y="133"/>
                    </a:cubicBezTo>
                    <a:cubicBezTo>
                      <a:pt x="1134" y="134"/>
                      <a:pt x="1133" y="134"/>
                      <a:pt x="1132" y="135"/>
                    </a:cubicBezTo>
                    <a:cubicBezTo>
                      <a:pt x="1132" y="135"/>
                      <a:pt x="1132" y="135"/>
                      <a:pt x="1132" y="135"/>
                    </a:cubicBezTo>
                    <a:cubicBezTo>
                      <a:pt x="1131" y="135"/>
                      <a:pt x="1131" y="135"/>
                      <a:pt x="1131" y="135"/>
                    </a:cubicBezTo>
                    <a:cubicBezTo>
                      <a:pt x="1131" y="135"/>
                      <a:pt x="1131" y="135"/>
                      <a:pt x="1131" y="135"/>
                    </a:cubicBezTo>
                    <a:cubicBezTo>
                      <a:pt x="1130" y="135"/>
                      <a:pt x="1130" y="135"/>
                      <a:pt x="1130" y="135"/>
                    </a:cubicBezTo>
                    <a:cubicBezTo>
                      <a:pt x="1130" y="135"/>
                      <a:pt x="1130" y="135"/>
                      <a:pt x="1130" y="135"/>
                    </a:cubicBezTo>
                    <a:cubicBezTo>
                      <a:pt x="1129" y="136"/>
                      <a:pt x="1129" y="136"/>
                      <a:pt x="1129" y="136"/>
                    </a:cubicBezTo>
                    <a:cubicBezTo>
                      <a:pt x="1129" y="136"/>
                      <a:pt x="1129" y="136"/>
                      <a:pt x="1129" y="136"/>
                    </a:cubicBezTo>
                    <a:cubicBezTo>
                      <a:pt x="1126" y="137"/>
                      <a:pt x="1125" y="137"/>
                      <a:pt x="1122" y="138"/>
                    </a:cubicBezTo>
                    <a:cubicBezTo>
                      <a:pt x="1122" y="138"/>
                      <a:pt x="1122" y="138"/>
                      <a:pt x="1122" y="138"/>
                    </a:cubicBezTo>
                    <a:cubicBezTo>
                      <a:pt x="1122" y="138"/>
                      <a:pt x="1122" y="138"/>
                      <a:pt x="1122" y="138"/>
                    </a:cubicBezTo>
                    <a:cubicBezTo>
                      <a:pt x="1122" y="163"/>
                      <a:pt x="1122" y="163"/>
                      <a:pt x="1122" y="163"/>
                    </a:cubicBezTo>
                    <a:cubicBezTo>
                      <a:pt x="1122" y="163"/>
                      <a:pt x="1122" y="163"/>
                      <a:pt x="1122" y="163"/>
                    </a:cubicBezTo>
                    <a:cubicBezTo>
                      <a:pt x="1122" y="163"/>
                      <a:pt x="1122" y="163"/>
                      <a:pt x="1122" y="163"/>
                    </a:cubicBezTo>
                    <a:cubicBezTo>
                      <a:pt x="1122" y="163"/>
                      <a:pt x="1122" y="163"/>
                      <a:pt x="1122" y="163"/>
                    </a:cubicBezTo>
                    <a:cubicBezTo>
                      <a:pt x="1124" y="163"/>
                      <a:pt x="1125" y="162"/>
                      <a:pt x="1126" y="162"/>
                    </a:cubicBezTo>
                    <a:cubicBezTo>
                      <a:pt x="1126" y="162"/>
                      <a:pt x="1126" y="162"/>
                      <a:pt x="1127" y="162"/>
                    </a:cubicBezTo>
                    <a:cubicBezTo>
                      <a:pt x="1127" y="162"/>
                      <a:pt x="1127" y="162"/>
                      <a:pt x="1127" y="162"/>
                    </a:cubicBezTo>
                    <a:cubicBezTo>
                      <a:pt x="1129" y="163"/>
                      <a:pt x="1129" y="163"/>
                      <a:pt x="1129" y="163"/>
                    </a:cubicBezTo>
                    <a:cubicBezTo>
                      <a:pt x="1131" y="164"/>
                      <a:pt x="1133" y="165"/>
                      <a:pt x="1132" y="168"/>
                    </a:cubicBezTo>
                    <a:cubicBezTo>
                      <a:pt x="1131" y="168"/>
                      <a:pt x="1131" y="168"/>
                      <a:pt x="1131" y="168"/>
                    </a:cubicBezTo>
                    <a:cubicBezTo>
                      <a:pt x="1131" y="169"/>
                      <a:pt x="1131" y="169"/>
                      <a:pt x="1131" y="169"/>
                    </a:cubicBezTo>
                    <a:cubicBezTo>
                      <a:pt x="1131" y="169"/>
                      <a:pt x="1131" y="169"/>
                      <a:pt x="1131" y="169"/>
                    </a:cubicBezTo>
                    <a:cubicBezTo>
                      <a:pt x="1131" y="169"/>
                      <a:pt x="1131" y="169"/>
                      <a:pt x="1131" y="169"/>
                    </a:cubicBezTo>
                    <a:cubicBezTo>
                      <a:pt x="1130" y="171"/>
                      <a:pt x="1130" y="171"/>
                      <a:pt x="1130" y="173"/>
                    </a:cubicBezTo>
                    <a:cubicBezTo>
                      <a:pt x="1130" y="173"/>
                      <a:pt x="1130" y="173"/>
                      <a:pt x="1130" y="173"/>
                    </a:cubicBezTo>
                    <a:cubicBezTo>
                      <a:pt x="1130" y="173"/>
                      <a:pt x="1130" y="173"/>
                      <a:pt x="1130" y="173"/>
                    </a:cubicBezTo>
                    <a:cubicBezTo>
                      <a:pt x="1129" y="175"/>
                      <a:pt x="1129" y="175"/>
                      <a:pt x="1129" y="177"/>
                    </a:cubicBezTo>
                    <a:cubicBezTo>
                      <a:pt x="1130" y="179"/>
                      <a:pt x="1130" y="179"/>
                      <a:pt x="1130" y="179"/>
                    </a:cubicBezTo>
                    <a:cubicBezTo>
                      <a:pt x="1130" y="180"/>
                      <a:pt x="1130" y="180"/>
                      <a:pt x="1130" y="180"/>
                    </a:cubicBezTo>
                    <a:cubicBezTo>
                      <a:pt x="1130" y="181"/>
                      <a:pt x="1130" y="181"/>
                      <a:pt x="1130" y="181"/>
                    </a:cubicBezTo>
                    <a:cubicBezTo>
                      <a:pt x="1130" y="181"/>
                      <a:pt x="1130" y="181"/>
                      <a:pt x="1130" y="181"/>
                    </a:cubicBezTo>
                    <a:cubicBezTo>
                      <a:pt x="1130" y="181"/>
                      <a:pt x="1130" y="181"/>
                      <a:pt x="1130" y="181"/>
                    </a:cubicBezTo>
                    <a:cubicBezTo>
                      <a:pt x="1130" y="182"/>
                      <a:pt x="1130" y="182"/>
                      <a:pt x="1130" y="182"/>
                    </a:cubicBezTo>
                    <a:cubicBezTo>
                      <a:pt x="1130" y="182"/>
                      <a:pt x="1130" y="182"/>
                      <a:pt x="1130" y="182"/>
                    </a:cubicBezTo>
                    <a:cubicBezTo>
                      <a:pt x="1130" y="184"/>
                      <a:pt x="1129" y="183"/>
                      <a:pt x="1128" y="185"/>
                    </a:cubicBezTo>
                    <a:cubicBezTo>
                      <a:pt x="1128" y="186"/>
                      <a:pt x="1128" y="186"/>
                      <a:pt x="1128" y="186"/>
                    </a:cubicBezTo>
                    <a:cubicBezTo>
                      <a:pt x="1128" y="186"/>
                      <a:pt x="1128" y="186"/>
                      <a:pt x="1128" y="186"/>
                    </a:cubicBezTo>
                    <a:cubicBezTo>
                      <a:pt x="1127" y="188"/>
                      <a:pt x="1127" y="189"/>
                      <a:pt x="1126" y="190"/>
                    </a:cubicBezTo>
                    <a:cubicBezTo>
                      <a:pt x="1126" y="193"/>
                      <a:pt x="1126" y="193"/>
                      <a:pt x="1126" y="193"/>
                    </a:cubicBezTo>
                    <a:cubicBezTo>
                      <a:pt x="1125" y="194"/>
                      <a:pt x="1125" y="194"/>
                      <a:pt x="1125" y="194"/>
                    </a:cubicBezTo>
                    <a:cubicBezTo>
                      <a:pt x="1125" y="194"/>
                      <a:pt x="1125" y="194"/>
                      <a:pt x="1125" y="194"/>
                    </a:cubicBezTo>
                    <a:cubicBezTo>
                      <a:pt x="1126" y="195"/>
                      <a:pt x="1126" y="195"/>
                      <a:pt x="1126" y="195"/>
                    </a:cubicBezTo>
                    <a:cubicBezTo>
                      <a:pt x="1126" y="195"/>
                      <a:pt x="1126" y="195"/>
                      <a:pt x="1126" y="195"/>
                    </a:cubicBezTo>
                    <a:cubicBezTo>
                      <a:pt x="1127" y="195"/>
                      <a:pt x="1127" y="195"/>
                      <a:pt x="1127" y="195"/>
                    </a:cubicBezTo>
                    <a:cubicBezTo>
                      <a:pt x="1128" y="196"/>
                      <a:pt x="1128" y="196"/>
                      <a:pt x="1128" y="196"/>
                    </a:cubicBezTo>
                    <a:cubicBezTo>
                      <a:pt x="1130" y="196"/>
                      <a:pt x="1130" y="196"/>
                      <a:pt x="1130" y="196"/>
                    </a:cubicBezTo>
                    <a:cubicBezTo>
                      <a:pt x="1131" y="197"/>
                      <a:pt x="1131" y="197"/>
                      <a:pt x="1131" y="197"/>
                    </a:cubicBezTo>
                    <a:cubicBezTo>
                      <a:pt x="1131" y="199"/>
                      <a:pt x="1131" y="199"/>
                      <a:pt x="1131" y="199"/>
                    </a:cubicBezTo>
                    <a:cubicBezTo>
                      <a:pt x="1131" y="199"/>
                      <a:pt x="1131" y="199"/>
                      <a:pt x="1131" y="199"/>
                    </a:cubicBezTo>
                    <a:cubicBezTo>
                      <a:pt x="1131" y="200"/>
                      <a:pt x="1131" y="200"/>
                      <a:pt x="1131" y="200"/>
                    </a:cubicBezTo>
                    <a:cubicBezTo>
                      <a:pt x="1131" y="200"/>
                      <a:pt x="1131" y="200"/>
                      <a:pt x="1131" y="200"/>
                    </a:cubicBezTo>
                    <a:cubicBezTo>
                      <a:pt x="1131" y="201"/>
                      <a:pt x="1131" y="201"/>
                      <a:pt x="1131" y="201"/>
                    </a:cubicBezTo>
                    <a:cubicBezTo>
                      <a:pt x="1131" y="201"/>
                      <a:pt x="1131" y="201"/>
                      <a:pt x="1131" y="201"/>
                    </a:cubicBezTo>
                    <a:cubicBezTo>
                      <a:pt x="1130" y="202"/>
                      <a:pt x="1130" y="203"/>
                      <a:pt x="1129" y="204"/>
                    </a:cubicBezTo>
                    <a:cubicBezTo>
                      <a:pt x="1129" y="204"/>
                      <a:pt x="1129" y="204"/>
                      <a:pt x="1129" y="204"/>
                    </a:cubicBezTo>
                    <a:cubicBezTo>
                      <a:pt x="1129" y="205"/>
                      <a:pt x="1129" y="205"/>
                      <a:pt x="1129" y="205"/>
                    </a:cubicBezTo>
                    <a:cubicBezTo>
                      <a:pt x="1128" y="205"/>
                      <a:pt x="1128" y="205"/>
                      <a:pt x="1128" y="205"/>
                    </a:cubicBezTo>
                    <a:cubicBezTo>
                      <a:pt x="1128" y="205"/>
                      <a:pt x="1128" y="205"/>
                      <a:pt x="1128" y="205"/>
                    </a:cubicBezTo>
                    <a:cubicBezTo>
                      <a:pt x="1128" y="205"/>
                      <a:pt x="1128" y="205"/>
                      <a:pt x="1128" y="205"/>
                    </a:cubicBezTo>
                    <a:cubicBezTo>
                      <a:pt x="1127" y="205"/>
                      <a:pt x="1127" y="205"/>
                      <a:pt x="1127" y="205"/>
                    </a:cubicBezTo>
                    <a:cubicBezTo>
                      <a:pt x="1127" y="205"/>
                      <a:pt x="1126" y="206"/>
                      <a:pt x="1126" y="206"/>
                    </a:cubicBezTo>
                    <a:cubicBezTo>
                      <a:pt x="1124" y="206"/>
                      <a:pt x="1123" y="203"/>
                      <a:pt x="1122" y="202"/>
                    </a:cubicBezTo>
                    <a:cubicBezTo>
                      <a:pt x="1122" y="220"/>
                      <a:pt x="1122" y="220"/>
                      <a:pt x="1122" y="220"/>
                    </a:cubicBezTo>
                    <a:cubicBezTo>
                      <a:pt x="1122" y="220"/>
                      <a:pt x="1122" y="220"/>
                      <a:pt x="1122" y="220"/>
                    </a:cubicBezTo>
                    <a:cubicBezTo>
                      <a:pt x="1122" y="220"/>
                      <a:pt x="1122" y="220"/>
                      <a:pt x="1122" y="220"/>
                    </a:cubicBezTo>
                    <a:cubicBezTo>
                      <a:pt x="1123" y="220"/>
                      <a:pt x="1123" y="220"/>
                      <a:pt x="1123" y="220"/>
                    </a:cubicBezTo>
                    <a:cubicBezTo>
                      <a:pt x="1123" y="220"/>
                      <a:pt x="1123" y="220"/>
                      <a:pt x="1123" y="220"/>
                    </a:cubicBezTo>
                    <a:cubicBezTo>
                      <a:pt x="1124" y="220"/>
                      <a:pt x="1124" y="220"/>
                      <a:pt x="1124" y="220"/>
                    </a:cubicBezTo>
                    <a:cubicBezTo>
                      <a:pt x="1124" y="220"/>
                      <a:pt x="1124" y="220"/>
                      <a:pt x="1124" y="220"/>
                    </a:cubicBezTo>
                    <a:cubicBezTo>
                      <a:pt x="1126" y="221"/>
                      <a:pt x="1127" y="221"/>
                      <a:pt x="1128" y="222"/>
                    </a:cubicBezTo>
                    <a:cubicBezTo>
                      <a:pt x="1129" y="222"/>
                      <a:pt x="1129" y="222"/>
                      <a:pt x="1129" y="222"/>
                    </a:cubicBezTo>
                    <a:cubicBezTo>
                      <a:pt x="1130" y="223"/>
                      <a:pt x="1130" y="223"/>
                      <a:pt x="1130" y="223"/>
                    </a:cubicBezTo>
                    <a:cubicBezTo>
                      <a:pt x="1130" y="223"/>
                      <a:pt x="1130" y="223"/>
                      <a:pt x="1130" y="223"/>
                    </a:cubicBezTo>
                    <a:cubicBezTo>
                      <a:pt x="1131" y="223"/>
                      <a:pt x="1131" y="223"/>
                      <a:pt x="1131" y="223"/>
                    </a:cubicBezTo>
                    <a:cubicBezTo>
                      <a:pt x="1132" y="224"/>
                      <a:pt x="1133" y="224"/>
                      <a:pt x="1133" y="224"/>
                    </a:cubicBezTo>
                    <a:cubicBezTo>
                      <a:pt x="1134" y="224"/>
                      <a:pt x="1134" y="224"/>
                      <a:pt x="1135" y="224"/>
                    </a:cubicBezTo>
                    <a:cubicBezTo>
                      <a:pt x="1135" y="224"/>
                      <a:pt x="1135" y="224"/>
                      <a:pt x="1135" y="224"/>
                    </a:cubicBezTo>
                    <a:cubicBezTo>
                      <a:pt x="1136" y="224"/>
                      <a:pt x="1136" y="224"/>
                      <a:pt x="1136" y="224"/>
                    </a:cubicBezTo>
                    <a:cubicBezTo>
                      <a:pt x="1138" y="225"/>
                      <a:pt x="1138" y="225"/>
                      <a:pt x="1140" y="225"/>
                    </a:cubicBezTo>
                    <a:cubicBezTo>
                      <a:pt x="1141" y="226"/>
                      <a:pt x="1141" y="226"/>
                      <a:pt x="1141" y="226"/>
                    </a:cubicBezTo>
                    <a:cubicBezTo>
                      <a:pt x="1141" y="226"/>
                      <a:pt x="1141" y="226"/>
                      <a:pt x="1141" y="226"/>
                    </a:cubicBezTo>
                    <a:cubicBezTo>
                      <a:pt x="1141" y="226"/>
                      <a:pt x="1141" y="226"/>
                      <a:pt x="1141" y="226"/>
                    </a:cubicBezTo>
                    <a:cubicBezTo>
                      <a:pt x="1141" y="227"/>
                      <a:pt x="1141" y="227"/>
                      <a:pt x="1141" y="227"/>
                    </a:cubicBezTo>
                    <a:cubicBezTo>
                      <a:pt x="1142" y="227"/>
                      <a:pt x="1142" y="227"/>
                      <a:pt x="1142" y="227"/>
                    </a:cubicBezTo>
                    <a:cubicBezTo>
                      <a:pt x="1142" y="227"/>
                      <a:pt x="1142" y="227"/>
                      <a:pt x="1142" y="227"/>
                    </a:cubicBezTo>
                    <a:cubicBezTo>
                      <a:pt x="1142" y="227"/>
                      <a:pt x="1142" y="227"/>
                      <a:pt x="1142" y="227"/>
                    </a:cubicBezTo>
                    <a:cubicBezTo>
                      <a:pt x="1143" y="228"/>
                      <a:pt x="1143" y="228"/>
                      <a:pt x="1143" y="228"/>
                    </a:cubicBezTo>
                    <a:cubicBezTo>
                      <a:pt x="1143" y="228"/>
                      <a:pt x="1143" y="228"/>
                      <a:pt x="1143" y="228"/>
                    </a:cubicBezTo>
                    <a:cubicBezTo>
                      <a:pt x="1144" y="228"/>
                      <a:pt x="1144" y="228"/>
                      <a:pt x="1144" y="228"/>
                    </a:cubicBezTo>
                    <a:cubicBezTo>
                      <a:pt x="1144" y="228"/>
                      <a:pt x="1144" y="228"/>
                      <a:pt x="1144" y="228"/>
                    </a:cubicBezTo>
                    <a:cubicBezTo>
                      <a:pt x="1144" y="229"/>
                      <a:pt x="1144" y="229"/>
                      <a:pt x="1144" y="229"/>
                    </a:cubicBezTo>
                    <a:cubicBezTo>
                      <a:pt x="1145" y="229"/>
                      <a:pt x="1145" y="229"/>
                      <a:pt x="1145" y="229"/>
                    </a:cubicBezTo>
                    <a:cubicBezTo>
                      <a:pt x="1145" y="229"/>
                      <a:pt x="1145" y="229"/>
                      <a:pt x="1145" y="229"/>
                    </a:cubicBezTo>
                    <a:cubicBezTo>
                      <a:pt x="1146" y="229"/>
                      <a:pt x="1146" y="229"/>
                      <a:pt x="1146" y="229"/>
                    </a:cubicBezTo>
                    <a:cubicBezTo>
                      <a:pt x="1146" y="230"/>
                      <a:pt x="1146" y="230"/>
                      <a:pt x="1146" y="230"/>
                    </a:cubicBezTo>
                    <a:cubicBezTo>
                      <a:pt x="1147" y="230"/>
                      <a:pt x="1147" y="230"/>
                      <a:pt x="1147" y="230"/>
                    </a:cubicBezTo>
                    <a:cubicBezTo>
                      <a:pt x="1148" y="230"/>
                      <a:pt x="1148" y="230"/>
                      <a:pt x="1148" y="230"/>
                    </a:cubicBezTo>
                    <a:cubicBezTo>
                      <a:pt x="1148" y="230"/>
                      <a:pt x="1148" y="230"/>
                      <a:pt x="1148" y="230"/>
                    </a:cubicBezTo>
                    <a:cubicBezTo>
                      <a:pt x="1149" y="230"/>
                      <a:pt x="1149" y="230"/>
                      <a:pt x="1149" y="230"/>
                    </a:cubicBezTo>
                    <a:cubicBezTo>
                      <a:pt x="1149" y="230"/>
                      <a:pt x="1149" y="230"/>
                      <a:pt x="1149" y="230"/>
                    </a:cubicBezTo>
                    <a:cubicBezTo>
                      <a:pt x="1150" y="231"/>
                      <a:pt x="1150" y="231"/>
                      <a:pt x="1150" y="231"/>
                    </a:cubicBezTo>
                    <a:cubicBezTo>
                      <a:pt x="1150" y="231"/>
                      <a:pt x="1150" y="231"/>
                      <a:pt x="1150" y="231"/>
                    </a:cubicBezTo>
                    <a:cubicBezTo>
                      <a:pt x="1151" y="231"/>
                      <a:pt x="1151" y="231"/>
                      <a:pt x="1151" y="231"/>
                    </a:cubicBezTo>
                    <a:cubicBezTo>
                      <a:pt x="1151" y="230"/>
                      <a:pt x="1151" y="230"/>
                      <a:pt x="1151" y="230"/>
                    </a:cubicBezTo>
                    <a:cubicBezTo>
                      <a:pt x="1151" y="229"/>
                      <a:pt x="1151" y="229"/>
                      <a:pt x="1151" y="229"/>
                    </a:cubicBezTo>
                    <a:cubicBezTo>
                      <a:pt x="1152" y="229"/>
                      <a:pt x="1152" y="229"/>
                      <a:pt x="1152" y="229"/>
                    </a:cubicBezTo>
                    <a:cubicBezTo>
                      <a:pt x="1153" y="228"/>
                      <a:pt x="1153" y="228"/>
                      <a:pt x="1153" y="228"/>
                    </a:cubicBezTo>
                    <a:cubicBezTo>
                      <a:pt x="1153" y="228"/>
                      <a:pt x="1153" y="228"/>
                      <a:pt x="1153" y="228"/>
                    </a:cubicBezTo>
                    <a:cubicBezTo>
                      <a:pt x="1154" y="229"/>
                      <a:pt x="1154" y="229"/>
                      <a:pt x="1154" y="229"/>
                    </a:cubicBezTo>
                    <a:cubicBezTo>
                      <a:pt x="1154" y="229"/>
                      <a:pt x="1154" y="229"/>
                      <a:pt x="1154" y="229"/>
                    </a:cubicBezTo>
                    <a:cubicBezTo>
                      <a:pt x="1154" y="230"/>
                      <a:pt x="1154" y="230"/>
                      <a:pt x="1154" y="230"/>
                    </a:cubicBezTo>
                    <a:cubicBezTo>
                      <a:pt x="1154" y="231"/>
                      <a:pt x="1154" y="231"/>
                      <a:pt x="1154" y="231"/>
                    </a:cubicBezTo>
                    <a:cubicBezTo>
                      <a:pt x="1154" y="231"/>
                      <a:pt x="1154" y="231"/>
                      <a:pt x="1154" y="231"/>
                    </a:cubicBezTo>
                    <a:cubicBezTo>
                      <a:pt x="1154" y="232"/>
                      <a:pt x="1154" y="232"/>
                      <a:pt x="1154" y="232"/>
                    </a:cubicBezTo>
                    <a:cubicBezTo>
                      <a:pt x="1153" y="232"/>
                      <a:pt x="1153" y="232"/>
                      <a:pt x="1153" y="232"/>
                    </a:cubicBezTo>
                    <a:cubicBezTo>
                      <a:pt x="1153" y="232"/>
                      <a:pt x="1153" y="232"/>
                      <a:pt x="1153" y="232"/>
                    </a:cubicBezTo>
                    <a:cubicBezTo>
                      <a:pt x="1153" y="233"/>
                      <a:pt x="1153" y="233"/>
                      <a:pt x="1153" y="233"/>
                    </a:cubicBezTo>
                    <a:cubicBezTo>
                      <a:pt x="1153" y="233"/>
                      <a:pt x="1153" y="233"/>
                      <a:pt x="1153" y="233"/>
                    </a:cubicBezTo>
                    <a:cubicBezTo>
                      <a:pt x="1154" y="234"/>
                      <a:pt x="1154" y="234"/>
                      <a:pt x="1154" y="234"/>
                    </a:cubicBezTo>
                    <a:cubicBezTo>
                      <a:pt x="1154" y="235"/>
                      <a:pt x="1154" y="235"/>
                      <a:pt x="1154" y="235"/>
                    </a:cubicBezTo>
                    <a:cubicBezTo>
                      <a:pt x="1153" y="236"/>
                      <a:pt x="1153" y="236"/>
                      <a:pt x="1153" y="236"/>
                    </a:cubicBezTo>
                    <a:cubicBezTo>
                      <a:pt x="1152" y="238"/>
                      <a:pt x="1152" y="238"/>
                      <a:pt x="1152" y="238"/>
                    </a:cubicBezTo>
                    <a:cubicBezTo>
                      <a:pt x="1152" y="238"/>
                      <a:pt x="1152" y="238"/>
                      <a:pt x="1152" y="238"/>
                    </a:cubicBezTo>
                    <a:cubicBezTo>
                      <a:pt x="1152" y="239"/>
                      <a:pt x="1152" y="239"/>
                      <a:pt x="1152" y="239"/>
                    </a:cubicBezTo>
                    <a:cubicBezTo>
                      <a:pt x="1152" y="239"/>
                      <a:pt x="1152" y="239"/>
                      <a:pt x="1152" y="239"/>
                    </a:cubicBezTo>
                    <a:cubicBezTo>
                      <a:pt x="1152" y="240"/>
                      <a:pt x="1152" y="240"/>
                      <a:pt x="1152" y="240"/>
                    </a:cubicBezTo>
                    <a:cubicBezTo>
                      <a:pt x="1152" y="240"/>
                      <a:pt x="1152" y="240"/>
                      <a:pt x="1152" y="240"/>
                    </a:cubicBezTo>
                    <a:cubicBezTo>
                      <a:pt x="1152" y="240"/>
                      <a:pt x="1152" y="240"/>
                      <a:pt x="1152" y="240"/>
                    </a:cubicBezTo>
                    <a:cubicBezTo>
                      <a:pt x="1152" y="241"/>
                      <a:pt x="1152" y="241"/>
                      <a:pt x="1152" y="241"/>
                    </a:cubicBezTo>
                    <a:cubicBezTo>
                      <a:pt x="1152" y="241"/>
                      <a:pt x="1152" y="241"/>
                      <a:pt x="1152" y="241"/>
                    </a:cubicBezTo>
                    <a:cubicBezTo>
                      <a:pt x="1152" y="241"/>
                      <a:pt x="1152" y="241"/>
                      <a:pt x="1152" y="241"/>
                    </a:cubicBezTo>
                    <a:cubicBezTo>
                      <a:pt x="1154" y="243"/>
                      <a:pt x="1156" y="245"/>
                      <a:pt x="1157" y="247"/>
                    </a:cubicBezTo>
                    <a:cubicBezTo>
                      <a:pt x="1157" y="247"/>
                      <a:pt x="1157" y="247"/>
                      <a:pt x="1157" y="247"/>
                    </a:cubicBezTo>
                    <a:cubicBezTo>
                      <a:pt x="1158" y="248"/>
                      <a:pt x="1158" y="248"/>
                      <a:pt x="1158" y="248"/>
                    </a:cubicBezTo>
                    <a:cubicBezTo>
                      <a:pt x="1160" y="250"/>
                      <a:pt x="1161" y="250"/>
                      <a:pt x="1163" y="254"/>
                    </a:cubicBezTo>
                    <a:cubicBezTo>
                      <a:pt x="1163" y="254"/>
                      <a:pt x="1163" y="254"/>
                      <a:pt x="1163" y="254"/>
                    </a:cubicBezTo>
                    <a:cubicBezTo>
                      <a:pt x="1163" y="254"/>
                      <a:pt x="1163" y="254"/>
                      <a:pt x="1163" y="254"/>
                    </a:cubicBezTo>
                    <a:cubicBezTo>
                      <a:pt x="1163" y="255"/>
                      <a:pt x="1163" y="255"/>
                      <a:pt x="1163" y="255"/>
                    </a:cubicBezTo>
                    <a:cubicBezTo>
                      <a:pt x="1163" y="255"/>
                      <a:pt x="1163" y="255"/>
                      <a:pt x="1163" y="255"/>
                    </a:cubicBezTo>
                    <a:cubicBezTo>
                      <a:pt x="1163" y="255"/>
                      <a:pt x="1163" y="255"/>
                      <a:pt x="1163" y="255"/>
                    </a:cubicBezTo>
                    <a:cubicBezTo>
                      <a:pt x="1163" y="255"/>
                      <a:pt x="1163" y="255"/>
                      <a:pt x="1163" y="255"/>
                    </a:cubicBezTo>
                    <a:cubicBezTo>
                      <a:pt x="1163" y="255"/>
                      <a:pt x="1163" y="255"/>
                      <a:pt x="1163" y="255"/>
                    </a:cubicBezTo>
                    <a:cubicBezTo>
                      <a:pt x="1163" y="255"/>
                      <a:pt x="1163" y="255"/>
                      <a:pt x="1163" y="255"/>
                    </a:cubicBezTo>
                    <a:cubicBezTo>
                      <a:pt x="1164" y="256"/>
                      <a:pt x="1164" y="256"/>
                      <a:pt x="1164" y="256"/>
                    </a:cubicBezTo>
                    <a:cubicBezTo>
                      <a:pt x="1164" y="256"/>
                      <a:pt x="1164" y="256"/>
                      <a:pt x="1164" y="256"/>
                    </a:cubicBezTo>
                    <a:cubicBezTo>
                      <a:pt x="1164" y="256"/>
                      <a:pt x="1164" y="256"/>
                      <a:pt x="1164" y="256"/>
                    </a:cubicBezTo>
                    <a:cubicBezTo>
                      <a:pt x="1165" y="256"/>
                      <a:pt x="1165" y="256"/>
                      <a:pt x="1165" y="256"/>
                    </a:cubicBezTo>
                    <a:cubicBezTo>
                      <a:pt x="1165" y="257"/>
                      <a:pt x="1165" y="257"/>
                      <a:pt x="1165" y="257"/>
                    </a:cubicBezTo>
                    <a:cubicBezTo>
                      <a:pt x="1166" y="257"/>
                      <a:pt x="1166" y="257"/>
                      <a:pt x="1166" y="257"/>
                    </a:cubicBezTo>
                    <a:cubicBezTo>
                      <a:pt x="1166" y="257"/>
                      <a:pt x="1166" y="257"/>
                      <a:pt x="1166" y="257"/>
                    </a:cubicBezTo>
                    <a:cubicBezTo>
                      <a:pt x="1168" y="258"/>
                      <a:pt x="1169" y="259"/>
                      <a:pt x="1171" y="259"/>
                    </a:cubicBezTo>
                    <a:cubicBezTo>
                      <a:pt x="1172" y="259"/>
                      <a:pt x="1172" y="259"/>
                      <a:pt x="1172" y="259"/>
                    </a:cubicBezTo>
                    <a:cubicBezTo>
                      <a:pt x="1172" y="259"/>
                      <a:pt x="1172" y="259"/>
                      <a:pt x="1172" y="259"/>
                    </a:cubicBezTo>
                    <a:cubicBezTo>
                      <a:pt x="1173" y="259"/>
                      <a:pt x="1173" y="259"/>
                      <a:pt x="1173" y="259"/>
                    </a:cubicBezTo>
                    <a:cubicBezTo>
                      <a:pt x="1173" y="259"/>
                      <a:pt x="1173" y="259"/>
                      <a:pt x="1173" y="259"/>
                    </a:cubicBezTo>
                    <a:cubicBezTo>
                      <a:pt x="1173" y="259"/>
                      <a:pt x="1173" y="259"/>
                      <a:pt x="1173" y="259"/>
                    </a:cubicBezTo>
                    <a:cubicBezTo>
                      <a:pt x="1175" y="259"/>
                      <a:pt x="1175" y="258"/>
                      <a:pt x="1177" y="258"/>
                    </a:cubicBezTo>
                    <a:cubicBezTo>
                      <a:pt x="1177" y="257"/>
                      <a:pt x="1177" y="257"/>
                      <a:pt x="1177" y="257"/>
                    </a:cubicBezTo>
                    <a:cubicBezTo>
                      <a:pt x="1178" y="257"/>
                      <a:pt x="1178" y="257"/>
                      <a:pt x="1178" y="257"/>
                    </a:cubicBezTo>
                    <a:cubicBezTo>
                      <a:pt x="1178" y="257"/>
                      <a:pt x="1178" y="257"/>
                      <a:pt x="1178" y="257"/>
                    </a:cubicBezTo>
                    <a:cubicBezTo>
                      <a:pt x="1178" y="257"/>
                      <a:pt x="1178" y="257"/>
                      <a:pt x="1178" y="257"/>
                    </a:cubicBezTo>
                    <a:cubicBezTo>
                      <a:pt x="1179" y="257"/>
                      <a:pt x="1179" y="257"/>
                      <a:pt x="1179" y="257"/>
                    </a:cubicBezTo>
                    <a:cubicBezTo>
                      <a:pt x="1179" y="257"/>
                      <a:pt x="1179" y="257"/>
                      <a:pt x="1179" y="257"/>
                    </a:cubicBezTo>
                    <a:cubicBezTo>
                      <a:pt x="1179" y="257"/>
                      <a:pt x="1179" y="257"/>
                      <a:pt x="1179" y="257"/>
                    </a:cubicBezTo>
                    <a:cubicBezTo>
                      <a:pt x="1180" y="257"/>
                      <a:pt x="1180" y="257"/>
                      <a:pt x="1180" y="257"/>
                    </a:cubicBezTo>
                    <a:cubicBezTo>
                      <a:pt x="1180" y="258"/>
                      <a:pt x="1180" y="258"/>
                      <a:pt x="1180" y="258"/>
                    </a:cubicBezTo>
                    <a:cubicBezTo>
                      <a:pt x="1181" y="258"/>
                      <a:pt x="1181" y="258"/>
                      <a:pt x="1181" y="258"/>
                    </a:cubicBezTo>
                    <a:cubicBezTo>
                      <a:pt x="1181" y="258"/>
                      <a:pt x="1181" y="258"/>
                      <a:pt x="1181" y="258"/>
                    </a:cubicBezTo>
                    <a:cubicBezTo>
                      <a:pt x="1182" y="257"/>
                      <a:pt x="1182" y="257"/>
                      <a:pt x="1182" y="257"/>
                    </a:cubicBezTo>
                    <a:cubicBezTo>
                      <a:pt x="1182" y="257"/>
                      <a:pt x="1182" y="257"/>
                      <a:pt x="1182" y="257"/>
                    </a:cubicBezTo>
                    <a:cubicBezTo>
                      <a:pt x="1183" y="257"/>
                      <a:pt x="1183" y="257"/>
                      <a:pt x="1183" y="257"/>
                    </a:cubicBezTo>
                    <a:cubicBezTo>
                      <a:pt x="1185" y="257"/>
                      <a:pt x="1185" y="257"/>
                      <a:pt x="1185" y="257"/>
                    </a:cubicBezTo>
                    <a:cubicBezTo>
                      <a:pt x="1185" y="257"/>
                      <a:pt x="1185" y="257"/>
                      <a:pt x="1185" y="257"/>
                    </a:cubicBezTo>
                    <a:cubicBezTo>
                      <a:pt x="1185" y="257"/>
                      <a:pt x="1185" y="257"/>
                      <a:pt x="1185" y="257"/>
                    </a:cubicBezTo>
                    <a:cubicBezTo>
                      <a:pt x="1181" y="259"/>
                      <a:pt x="1186" y="258"/>
                      <a:pt x="1179" y="260"/>
                    </a:cubicBezTo>
                    <a:cubicBezTo>
                      <a:pt x="1178" y="260"/>
                      <a:pt x="1178" y="260"/>
                      <a:pt x="1178" y="260"/>
                    </a:cubicBezTo>
                    <a:cubicBezTo>
                      <a:pt x="1178" y="261"/>
                      <a:pt x="1178" y="261"/>
                      <a:pt x="1178" y="261"/>
                    </a:cubicBezTo>
                    <a:cubicBezTo>
                      <a:pt x="1179" y="261"/>
                      <a:pt x="1179" y="261"/>
                      <a:pt x="1179" y="261"/>
                    </a:cubicBezTo>
                    <a:cubicBezTo>
                      <a:pt x="1179" y="261"/>
                      <a:pt x="1179" y="261"/>
                      <a:pt x="1179" y="261"/>
                    </a:cubicBezTo>
                    <a:cubicBezTo>
                      <a:pt x="1180" y="261"/>
                      <a:pt x="1180" y="261"/>
                      <a:pt x="1180" y="261"/>
                    </a:cubicBezTo>
                    <a:cubicBezTo>
                      <a:pt x="1181" y="261"/>
                      <a:pt x="1181" y="261"/>
                      <a:pt x="1181" y="261"/>
                    </a:cubicBezTo>
                    <a:cubicBezTo>
                      <a:pt x="1182" y="262"/>
                      <a:pt x="1182" y="262"/>
                      <a:pt x="1182" y="262"/>
                    </a:cubicBezTo>
                    <a:cubicBezTo>
                      <a:pt x="1182" y="262"/>
                      <a:pt x="1182" y="262"/>
                      <a:pt x="1182" y="262"/>
                    </a:cubicBezTo>
                    <a:cubicBezTo>
                      <a:pt x="1182" y="262"/>
                      <a:pt x="1182" y="262"/>
                      <a:pt x="1182" y="262"/>
                    </a:cubicBezTo>
                    <a:cubicBezTo>
                      <a:pt x="1182" y="263"/>
                      <a:pt x="1182" y="263"/>
                      <a:pt x="1182" y="263"/>
                    </a:cubicBezTo>
                    <a:cubicBezTo>
                      <a:pt x="1182" y="263"/>
                      <a:pt x="1182" y="263"/>
                      <a:pt x="1182" y="263"/>
                    </a:cubicBezTo>
                    <a:cubicBezTo>
                      <a:pt x="1182" y="263"/>
                      <a:pt x="1182" y="263"/>
                      <a:pt x="1182" y="263"/>
                    </a:cubicBezTo>
                    <a:cubicBezTo>
                      <a:pt x="1181" y="264"/>
                      <a:pt x="1181" y="264"/>
                      <a:pt x="1181" y="264"/>
                    </a:cubicBezTo>
                    <a:cubicBezTo>
                      <a:pt x="1181" y="264"/>
                      <a:pt x="1181" y="264"/>
                      <a:pt x="1181" y="264"/>
                    </a:cubicBezTo>
                    <a:cubicBezTo>
                      <a:pt x="1180" y="264"/>
                      <a:pt x="1180" y="264"/>
                      <a:pt x="1180" y="264"/>
                    </a:cubicBezTo>
                    <a:cubicBezTo>
                      <a:pt x="1180" y="264"/>
                      <a:pt x="1180" y="264"/>
                      <a:pt x="1180" y="264"/>
                    </a:cubicBezTo>
                    <a:cubicBezTo>
                      <a:pt x="1180" y="264"/>
                      <a:pt x="1180" y="264"/>
                      <a:pt x="1180" y="264"/>
                    </a:cubicBezTo>
                    <a:cubicBezTo>
                      <a:pt x="1180" y="265"/>
                      <a:pt x="1180" y="265"/>
                      <a:pt x="1180" y="265"/>
                    </a:cubicBezTo>
                    <a:cubicBezTo>
                      <a:pt x="1179" y="265"/>
                      <a:pt x="1179" y="265"/>
                      <a:pt x="1179" y="265"/>
                    </a:cubicBezTo>
                    <a:cubicBezTo>
                      <a:pt x="1179" y="265"/>
                      <a:pt x="1179" y="265"/>
                      <a:pt x="1179" y="265"/>
                    </a:cubicBezTo>
                    <a:cubicBezTo>
                      <a:pt x="1179" y="267"/>
                      <a:pt x="1180" y="266"/>
                      <a:pt x="1179" y="267"/>
                    </a:cubicBezTo>
                    <a:cubicBezTo>
                      <a:pt x="1179" y="268"/>
                      <a:pt x="1179" y="268"/>
                      <a:pt x="1179" y="268"/>
                    </a:cubicBezTo>
                    <a:cubicBezTo>
                      <a:pt x="1179" y="268"/>
                      <a:pt x="1179" y="268"/>
                      <a:pt x="1179" y="268"/>
                    </a:cubicBezTo>
                    <a:cubicBezTo>
                      <a:pt x="1179" y="268"/>
                      <a:pt x="1179" y="268"/>
                      <a:pt x="1179" y="268"/>
                    </a:cubicBezTo>
                    <a:cubicBezTo>
                      <a:pt x="1178" y="270"/>
                      <a:pt x="1177" y="273"/>
                      <a:pt x="1176" y="275"/>
                    </a:cubicBezTo>
                    <a:cubicBezTo>
                      <a:pt x="1176" y="275"/>
                      <a:pt x="1176" y="275"/>
                      <a:pt x="1176" y="275"/>
                    </a:cubicBezTo>
                    <a:cubicBezTo>
                      <a:pt x="1176" y="275"/>
                      <a:pt x="1176" y="275"/>
                      <a:pt x="1176" y="275"/>
                    </a:cubicBezTo>
                    <a:cubicBezTo>
                      <a:pt x="1175" y="276"/>
                      <a:pt x="1175" y="276"/>
                      <a:pt x="1175" y="276"/>
                    </a:cubicBezTo>
                    <a:cubicBezTo>
                      <a:pt x="1175" y="276"/>
                      <a:pt x="1175" y="276"/>
                      <a:pt x="1175" y="276"/>
                    </a:cubicBezTo>
                    <a:cubicBezTo>
                      <a:pt x="1173" y="279"/>
                      <a:pt x="1172" y="280"/>
                      <a:pt x="1170" y="282"/>
                    </a:cubicBezTo>
                    <a:cubicBezTo>
                      <a:pt x="1170" y="283"/>
                      <a:pt x="1170" y="283"/>
                      <a:pt x="1170" y="283"/>
                    </a:cubicBezTo>
                    <a:cubicBezTo>
                      <a:pt x="1169" y="283"/>
                      <a:pt x="1169" y="283"/>
                      <a:pt x="1169" y="283"/>
                    </a:cubicBezTo>
                    <a:cubicBezTo>
                      <a:pt x="1169" y="283"/>
                      <a:pt x="1169" y="283"/>
                      <a:pt x="1169" y="283"/>
                    </a:cubicBezTo>
                    <a:cubicBezTo>
                      <a:pt x="1169" y="284"/>
                      <a:pt x="1169" y="284"/>
                      <a:pt x="1169" y="284"/>
                    </a:cubicBezTo>
                    <a:cubicBezTo>
                      <a:pt x="1169" y="284"/>
                      <a:pt x="1169" y="284"/>
                      <a:pt x="1169" y="284"/>
                    </a:cubicBezTo>
                    <a:cubicBezTo>
                      <a:pt x="1168" y="285"/>
                      <a:pt x="1168" y="285"/>
                      <a:pt x="1168" y="285"/>
                    </a:cubicBezTo>
                    <a:cubicBezTo>
                      <a:pt x="1168" y="286"/>
                      <a:pt x="1168" y="286"/>
                      <a:pt x="1168" y="286"/>
                    </a:cubicBezTo>
                    <a:cubicBezTo>
                      <a:pt x="1169" y="288"/>
                      <a:pt x="1169" y="288"/>
                      <a:pt x="1169" y="288"/>
                    </a:cubicBezTo>
                    <a:cubicBezTo>
                      <a:pt x="1169" y="288"/>
                      <a:pt x="1169" y="288"/>
                      <a:pt x="1169" y="288"/>
                    </a:cubicBezTo>
                    <a:cubicBezTo>
                      <a:pt x="1168" y="289"/>
                      <a:pt x="1168" y="289"/>
                      <a:pt x="1168" y="289"/>
                    </a:cubicBezTo>
                    <a:cubicBezTo>
                      <a:pt x="1168" y="289"/>
                      <a:pt x="1168" y="289"/>
                      <a:pt x="1168" y="289"/>
                    </a:cubicBezTo>
                    <a:cubicBezTo>
                      <a:pt x="1167" y="289"/>
                      <a:pt x="1167" y="289"/>
                      <a:pt x="1167" y="289"/>
                    </a:cubicBezTo>
                    <a:cubicBezTo>
                      <a:pt x="1166" y="289"/>
                      <a:pt x="1166" y="290"/>
                      <a:pt x="1165" y="291"/>
                    </a:cubicBezTo>
                    <a:cubicBezTo>
                      <a:pt x="1165" y="291"/>
                      <a:pt x="1165" y="291"/>
                      <a:pt x="1165" y="291"/>
                    </a:cubicBezTo>
                    <a:cubicBezTo>
                      <a:pt x="1164" y="292"/>
                      <a:pt x="1164" y="292"/>
                      <a:pt x="1164" y="292"/>
                    </a:cubicBezTo>
                    <a:cubicBezTo>
                      <a:pt x="1164" y="292"/>
                      <a:pt x="1164" y="292"/>
                      <a:pt x="1164" y="292"/>
                    </a:cubicBezTo>
                    <a:cubicBezTo>
                      <a:pt x="1161" y="293"/>
                      <a:pt x="1161" y="293"/>
                      <a:pt x="1161" y="293"/>
                    </a:cubicBezTo>
                    <a:cubicBezTo>
                      <a:pt x="1126" y="263"/>
                      <a:pt x="1126" y="263"/>
                      <a:pt x="1126" y="263"/>
                    </a:cubicBezTo>
                    <a:cubicBezTo>
                      <a:pt x="1125" y="262"/>
                      <a:pt x="1125" y="262"/>
                      <a:pt x="1125" y="262"/>
                    </a:cubicBezTo>
                    <a:cubicBezTo>
                      <a:pt x="1124" y="262"/>
                      <a:pt x="1123" y="262"/>
                      <a:pt x="1122" y="261"/>
                    </a:cubicBezTo>
                    <a:cubicBezTo>
                      <a:pt x="1122" y="457"/>
                      <a:pt x="1122" y="457"/>
                      <a:pt x="1122" y="457"/>
                    </a:cubicBezTo>
                    <a:cubicBezTo>
                      <a:pt x="1682" y="457"/>
                      <a:pt x="1682" y="457"/>
                      <a:pt x="1682" y="457"/>
                    </a:cubicBezTo>
                    <a:cubicBezTo>
                      <a:pt x="1682" y="0"/>
                      <a:pt x="1682" y="0"/>
                      <a:pt x="16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48" name="Freeform 376">
                <a:extLst>
                  <a:ext uri="{FF2B5EF4-FFF2-40B4-BE49-F238E27FC236}">
                    <a16:creationId xmlns:a16="http://schemas.microsoft.com/office/drawing/2014/main" id="{A5E9805D-AC9C-41A1-90D6-39821286697D}"/>
                  </a:ext>
                </a:extLst>
              </p:cNvPr>
              <p:cNvSpPr>
                <a:spLocks noEditPoints="1"/>
              </p:cNvSpPr>
              <p:nvPr/>
            </p:nvSpPr>
            <p:spPr bwMode="auto">
              <a:xfrm>
                <a:off x="8615800" y="3519286"/>
                <a:ext cx="1293475" cy="1448250"/>
              </a:xfrm>
              <a:custGeom>
                <a:avLst/>
                <a:gdLst>
                  <a:gd name="T0" fmla="*/ 19 w 408"/>
                  <a:gd name="T1" fmla="*/ 454 h 456"/>
                  <a:gd name="T2" fmla="*/ 36 w 408"/>
                  <a:gd name="T3" fmla="*/ 435 h 456"/>
                  <a:gd name="T4" fmla="*/ 13 w 408"/>
                  <a:gd name="T5" fmla="*/ 369 h 456"/>
                  <a:gd name="T6" fmla="*/ 0 w 408"/>
                  <a:gd name="T7" fmla="*/ 357 h 456"/>
                  <a:gd name="T8" fmla="*/ 0 w 408"/>
                  <a:gd name="T9" fmla="*/ 234 h 456"/>
                  <a:gd name="T10" fmla="*/ 7 w 408"/>
                  <a:gd name="T11" fmla="*/ 308 h 456"/>
                  <a:gd name="T12" fmla="*/ 25 w 408"/>
                  <a:gd name="T13" fmla="*/ 304 h 456"/>
                  <a:gd name="T14" fmla="*/ 43 w 408"/>
                  <a:gd name="T15" fmla="*/ 291 h 456"/>
                  <a:gd name="T16" fmla="*/ 52 w 408"/>
                  <a:gd name="T17" fmla="*/ 283 h 456"/>
                  <a:gd name="T18" fmla="*/ 40 w 408"/>
                  <a:gd name="T19" fmla="*/ 277 h 456"/>
                  <a:gd name="T20" fmla="*/ 34 w 408"/>
                  <a:gd name="T21" fmla="*/ 273 h 456"/>
                  <a:gd name="T22" fmla="*/ 44 w 408"/>
                  <a:gd name="T23" fmla="*/ 265 h 456"/>
                  <a:gd name="T24" fmla="*/ 47 w 408"/>
                  <a:gd name="T25" fmla="*/ 264 h 456"/>
                  <a:gd name="T26" fmla="*/ 41 w 408"/>
                  <a:gd name="T27" fmla="*/ 257 h 456"/>
                  <a:gd name="T28" fmla="*/ 24 w 408"/>
                  <a:gd name="T29" fmla="*/ 234 h 456"/>
                  <a:gd name="T30" fmla="*/ 2 w 408"/>
                  <a:gd name="T31" fmla="*/ 138 h 456"/>
                  <a:gd name="T32" fmla="*/ 14 w 408"/>
                  <a:gd name="T33" fmla="*/ 131 h 456"/>
                  <a:gd name="T34" fmla="*/ 35 w 408"/>
                  <a:gd name="T35" fmla="*/ 151 h 456"/>
                  <a:gd name="T36" fmla="*/ 43 w 408"/>
                  <a:gd name="T37" fmla="*/ 147 h 456"/>
                  <a:gd name="T38" fmla="*/ 40 w 408"/>
                  <a:gd name="T39" fmla="*/ 136 h 456"/>
                  <a:gd name="T40" fmla="*/ 41 w 408"/>
                  <a:gd name="T41" fmla="*/ 121 h 456"/>
                  <a:gd name="T42" fmla="*/ 55 w 408"/>
                  <a:gd name="T43" fmla="*/ 116 h 456"/>
                  <a:gd name="T44" fmla="*/ 83 w 408"/>
                  <a:gd name="T45" fmla="*/ 99 h 456"/>
                  <a:gd name="T46" fmla="*/ 89 w 408"/>
                  <a:gd name="T47" fmla="*/ 93 h 456"/>
                  <a:gd name="T48" fmla="*/ 104 w 408"/>
                  <a:gd name="T49" fmla="*/ 79 h 456"/>
                  <a:gd name="T50" fmla="*/ 123 w 408"/>
                  <a:gd name="T51" fmla="*/ 90 h 456"/>
                  <a:gd name="T52" fmla="*/ 127 w 408"/>
                  <a:gd name="T53" fmla="*/ 89 h 456"/>
                  <a:gd name="T54" fmla="*/ 151 w 408"/>
                  <a:gd name="T55" fmla="*/ 84 h 456"/>
                  <a:gd name="T56" fmla="*/ 154 w 408"/>
                  <a:gd name="T57" fmla="*/ 91 h 456"/>
                  <a:gd name="T58" fmla="*/ 166 w 408"/>
                  <a:gd name="T59" fmla="*/ 89 h 456"/>
                  <a:gd name="T60" fmla="*/ 206 w 408"/>
                  <a:gd name="T61" fmla="*/ 111 h 456"/>
                  <a:gd name="T62" fmla="*/ 214 w 408"/>
                  <a:gd name="T63" fmla="*/ 107 h 456"/>
                  <a:gd name="T64" fmla="*/ 241 w 408"/>
                  <a:gd name="T65" fmla="*/ 125 h 456"/>
                  <a:gd name="T66" fmla="*/ 250 w 408"/>
                  <a:gd name="T67" fmla="*/ 120 h 456"/>
                  <a:gd name="T68" fmla="*/ 259 w 408"/>
                  <a:gd name="T69" fmla="*/ 111 h 456"/>
                  <a:gd name="T70" fmla="*/ 289 w 408"/>
                  <a:gd name="T71" fmla="*/ 110 h 456"/>
                  <a:gd name="T72" fmla="*/ 297 w 408"/>
                  <a:gd name="T73" fmla="*/ 110 h 456"/>
                  <a:gd name="T74" fmla="*/ 329 w 408"/>
                  <a:gd name="T75" fmla="*/ 117 h 456"/>
                  <a:gd name="T76" fmla="*/ 338 w 408"/>
                  <a:gd name="T77" fmla="*/ 120 h 456"/>
                  <a:gd name="T78" fmla="*/ 355 w 408"/>
                  <a:gd name="T79" fmla="*/ 126 h 456"/>
                  <a:gd name="T80" fmla="*/ 360 w 408"/>
                  <a:gd name="T81" fmla="*/ 115 h 456"/>
                  <a:gd name="T82" fmla="*/ 386 w 408"/>
                  <a:gd name="T83" fmla="*/ 120 h 456"/>
                  <a:gd name="T84" fmla="*/ 402 w 408"/>
                  <a:gd name="T85" fmla="*/ 113 h 456"/>
                  <a:gd name="T86" fmla="*/ 377 w 408"/>
                  <a:gd name="T87" fmla="*/ 90 h 456"/>
                  <a:gd name="T88" fmla="*/ 364 w 408"/>
                  <a:gd name="T89" fmla="*/ 81 h 456"/>
                  <a:gd name="T90" fmla="*/ 364 w 408"/>
                  <a:gd name="T91" fmla="*/ 70 h 456"/>
                  <a:gd name="T92" fmla="*/ 378 w 408"/>
                  <a:gd name="T93" fmla="*/ 64 h 456"/>
                  <a:gd name="T94" fmla="*/ 388 w 408"/>
                  <a:gd name="T95" fmla="*/ 59 h 456"/>
                  <a:gd name="T96" fmla="*/ 384 w 408"/>
                  <a:gd name="T97" fmla="*/ 42 h 456"/>
                  <a:gd name="T98" fmla="*/ 395 w 408"/>
                  <a:gd name="T99" fmla="*/ 32 h 456"/>
                  <a:gd name="T100" fmla="*/ 405 w 408"/>
                  <a:gd name="T101" fmla="*/ 31 h 456"/>
                  <a:gd name="T102" fmla="*/ 402 w 408"/>
                  <a:gd name="T103" fmla="*/ 29 h 456"/>
                  <a:gd name="T104" fmla="*/ 388 w 408"/>
                  <a:gd name="T105" fmla="*/ 30 h 456"/>
                  <a:gd name="T106" fmla="*/ 395 w 408"/>
                  <a:gd name="T107" fmla="*/ 17 h 456"/>
                  <a:gd name="T108" fmla="*/ 386 w 408"/>
                  <a:gd name="T109" fmla="*/ 13 h 456"/>
                  <a:gd name="T110" fmla="*/ 391 w 408"/>
                  <a:gd name="T111" fmla="*/ 6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8" h="456">
                    <a:moveTo>
                      <a:pt x="0" y="357"/>
                    </a:moveTo>
                    <a:cubicBezTo>
                      <a:pt x="0" y="447"/>
                      <a:pt x="0" y="447"/>
                      <a:pt x="0" y="447"/>
                    </a:cubicBezTo>
                    <a:cubicBezTo>
                      <a:pt x="2" y="448"/>
                      <a:pt x="4" y="451"/>
                      <a:pt x="4" y="451"/>
                    </a:cubicBezTo>
                    <a:cubicBezTo>
                      <a:pt x="5" y="453"/>
                      <a:pt x="6" y="455"/>
                      <a:pt x="11" y="456"/>
                    </a:cubicBezTo>
                    <a:cubicBezTo>
                      <a:pt x="13" y="456"/>
                      <a:pt x="15" y="456"/>
                      <a:pt x="16" y="456"/>
                    </a:cubicBezTo>
                    <a:cubicBezTo>
                      <a:pt x="18" y="456"/>
                      <a:pt x="18" y="456"/>
                      <a:pt x="19" y="454"/>
                    </a:cubicBezTo>
                    <a:cubicBezTo>
                      <a:pt x="21" y="449"/>
                      <a:pt x="23" y="448"/>
                      <a:pt x="25" y="447"/>
                    </a:cubicBezTo>
                    <a:cubicBezTo>
                      <a:pt x="25" y="447"/>
                      <a:pt x="26" y="447"/>
                      <a:pt x="26" y="446"/>
                    </a:cubicBezTo>
                    <a:cubicBezTo>
                      <a:pt x="26" y="446"/>
                      <a:pt x="27" y="445"/>
                      <a:pt x="28" y="444"/>
                    </a:cubicBezTo>
                    <a:cubicBezTo>
                      <a:pt x="31" y="443"/>
                      <a:pt x="35" y="439"/>
                      <a:pt x="36" y="437"/>
                    </a:cubicBezTo>
                    <a:cubicBezTo>
                      <a:pt x="36" y="435"/>
                      <a:pt x="36" y="435"/>
                      <a:pt x="36" y="435"/>
                    </a:cubicBezTo>
                    <a:cubicBezTo>
                      <a:pt x="36" y="435"/>
                      <a:pt x="36" y="435"/>
                      <a:pt x="36" y="435"/>
                    </a:cubicBezTo>
                    <a:cubicBezTo>
                      <a:pt x="29" y="431"/>
                      <a:pt x="27" y="423"/>
                      <a:pt x="22" y="417"/>
                    </a:cubicBezTo>
                    <a:cubicBezTo>
                      <a:pt x="19" y="414"/>
                      <a:pt x="17" y="412"/>
                      <a:pt x="15" y="408"/>
                    </a:cubicBezTo>
                    <a:cubicBezTo>
                      <a:pt x="14" y="406"/>
                      <a:pt x="14" y="404"/>
                      <a:pt x="13" y="403"/>
                    </a:cubicBezTo>
                    <a:cubicBezTo>
                      <a:pt x="12" y="402"/>
                      <a:pt x="9" y="401"/>
                      <a:pt x="9" y="400"/>
                    </a:cubicBezTo>
                    <a:cubicBezTo>
                      <a:pt x="10" y="391"/>
                      <a:pt x="11" y="383"/>
                      <a:pt x="12" y="374"/>
                    </a:cubicBezTo>
                    <a:cubicBezTo>
                      <a:pt x="12" y="372"/>
                      <a:pt x="12" y="370"/>
                      <a:pt x="13" y="369"/>
                    </a:cubicBezTo>
                    <a:cubicBezTo>
                      <a:pt x="13" y="369"/>
                      <a:pt x="12" y="369"/>
                      <a:pt x="12" y="369"/>
                    </a:cubicBezTo>
                    <a:cubicBezTo>
                      <a:pt x="8" y="369"/>
                      <a:pt x="8" y="376"/>
                      <a:pt x="7" y="380"/>
                    </a:cubicBezTo>
                    <a:cubicBezTo>
                      <a:pt x="6" y="380"/>
                      <a:pt x="5" y="379"/>
                      <a:pt x="4" y="378"/>
                    </a:cubicBezTo>
                    <a:cubicBezTo>
                      <a:pt x="5" y="377"/>
                      <a:pt x="8" y="373"/>
                      <a:pt x="8" y="373"/>
                    </a:cubicBezTo>
                    <a:cubicBezTo>
                      <a:pt x="8" y="371"/>
                      <a:pt x="7" y="369"/>
                      <a:pt x="6" y="366"/>
                    </a:cubicBezTo>
                    <a:cubicBezTo>
                      <a:pt x="4" y="362"/>
                      <a:pt x="2" y="359"/>
                      <a:pt x="0" y="357"/>
                    </a:cubicBezTo>
                    <a:moveTo>
                      <a:pt x="23" y="234"/>
                    </a:moveTo>
                    <a:cubicBezTo>
                      <a:pt x="22" y="234"/>
                      <a:pt x="21" y="234"/>
                      <a:pt x="20" y="234"/>
                    </a:cubicBezTo>
                    <a:cubicBezTo>
                      <a:pt x="18" y="234"/>
                      <a:pt x="17" y="235"/>
                      <a:pt x="15" y="235"/>
                    </a:cubicBezTo>
                    <a:cubicBezTo>
                      <a:pt x="14" y="235"/>
                      <a:pt x="12" y="236"/>
                      <a:pt x="11" y="236"/>
                    </a:cubicBezTo>
                    <a:cubicBezTo>
                      <a:pt x="10" y="236"/>
                      <a:pt x="9" y="236"/>
                      <a:pt x="7" y="236"/>
                    </a:cubicBezTo>
                    <a:cubicBezTo>
                      <a:pt x="5" y="236"/>
                      <a:pt x="3" y="236"/>
                      <a:pt x="0" y="234"/>
                    </a:cubicBezTo>
                    <a:cubicBezTo>
                      <a:pt x="0" y="328"/>
                      <a:pt x="0" y="328"/>
                      <a:pt x="0" y="328"/>
                    </a:cubicBezTo>
                    <a:cubicBezTo>
                      <a:pt x="1" y="326"/>
                      <a:pt x="2" y="324"/>
                      <a:pt x="3" y="322"/>
                    </a:cubicBezTo>
                    <a:cubicBezTo>
                      <a:pt x="4" y="318"/>
                      <a:pt x="6" y="314"/>
                      <a:pt x="7" y="310"/>
                    </a:cubicBezTo>
                    <a:cubicBezTo>
                      <a:pt x="8" y="309"/>
                      <a:pt x="8" y="309"/>
                      <a:pt x="7" y="308"/>
                    </a:cubicBezTo>
                    <a:cubicBezTo>
                      <a:pt x="8" y="309"/>
                      <a:pt x="8" y="309"/>
                      <a:pt x="8" y="309"/>
                    </a:cubicBezTo>
                    <a:cubicBezTo>
                      <a:pt x="7" y="308"/>
                      <a:pt x="7" y="308"/>
                      <a:pt x="7" y="308"/>
                    </a:cubicBezTo>
                    <a:cubicBezTo>
                      <a:pt x="8" y="306"/>
                      <a:pt x="8" y="306"/>
                      <a:pt x="8" y="306"/>
                    </a:cubicBezTo>
                    <a:cubicBezTo>
                      <a:pt x="10" y="307"/>
                      <a:pt x="12" y="309"/>
                      <a:pt x="12" y="309"/>
                    </a:cubicBezTo>
                    <a:cubicBezTo>
                      <a:pt x="13" y="307"/>
                      <a:pt x="12" y="305"/>
                      <a:pt x="11" y="302"/>
                    </a:cubicBezTo>
                    <a:cubicBezTo>
                      <a:pt x="13" y="304"/>
                      <a:pt x="15" y="306"/>
                      <a:pt x="18" y="308"/>
                    </a:cubicBezTo>
                    <a:cubicBezTo>
                      <a:pt x="19" y="304"/>
                      <a:pt x="20" y="304"/>
                      <a:pt x="22" y="304"/>
                    </a:cubicBezTo>
                    <a:cubicBezTo>
                      <a:pt x="23" y="304"/>
                      <a:pt x="24" y="304"/>
                      <a:pt x="25" y="304"/>
                    </a:cubicBezTo>
                    <a:cubicBezTo>
                      <a:pt x="26" y="304"/>
                      <a:pt x="26" y="304"/>
                      <a:pt x="27" y="304"/>
                    </a:cubicBezTo>
                    <a:cubicBezTo>
                      <a:pt x="28" y="304"/>
                      <a:pt x="29" y="304"/>
                      <a:pt x="30" y="302"/>
                    </a:cubicBezTo>
                    <a:cubicBezTo>
                      <a:pt x="33" y="300"/>
                      <a:pt x="36" y="298"/>
                      <a:pt x="39" y="295"/>
                    </a:cubicBezTo>
                    <a:cubicBezTo>
                      <a:pt x="39" y="295"/>
                      <a:pt x="39" y="295"/>
                      <a:pt x="39" y="295"/>
                    </a:cubicBezTo>
                    <a:cubicBezTo>
                      <a:pt x="40" y="295"/>
                      <a:pt x="44" y="299"/>
                      <a:pt x="45" y="299"/>
                    </a:cubicBezTo>
                    <a:cubicBezTo>
                      <a:pt x="43" y="298"/>
                      <a:pt x="43" y="294"/>
                      <a:pt x="43" y="291"/>
                    </a:cubicBezTo>
                    <a:cubicBezTo>
                      <a:pt x="43" y="289"/>
                      <a:pt x="44" y="289"/>
                      <a:pt x="46" y="289"/>
                    </a:cubicBezTo>
                    <a:cubicBezTo>
                      <a:pt x="47" y="289"/>
                      <a:pt x="47" y="289"/>
                      <a:pt x="48" y="289"/>
                    </a:cubicBezTo>
                    <a:cubicBezTo>
                      <a:pt x="49" y="289"/>
                      <a:pt x="50" y="289"/>
                      <a:pt x="50" y="289"/>
                    </a:cubicBezTo>
                    <a:cubicBezTo>
                      <a:pt x="51" y="289"/>
                      <a:pt x="53" y="289"/>
                      <a:pt x="53" y="289"/>
                    </a:cubicBezTo>
                    <a:cubicBezTo>
                      <a:pt x="54" y="288"/>
                      <a:pt x="54" y="286"/>
                      <a:pt x="55" y="284"/>
                    </a:cubicBezTo>
                    <a:cubicBezTo>
                      <a:pt x="54" y="284"/>
                      <a:pt x="53" y="283"/>
                      <a:pt x="52" y="283"/>
                    </a:cubicBezTo>
                    <a:cubicBezTo>
                      <a:pt x="51" y="282"/>
                      <a:pt x="49" y="281"/>
                      <a:pt x="47" y="281"/>
                    </a:cubicBezTo>
                    <a:cubicBezTo>
                      <a:pt x="45" y="285"/>
                      <a:pt x="45" y="285"/>
                      <a:pt x="45" y="285"/>
                    </a:cubicBezTo>
                    <a:cubicBezTo>
                      <a:pt x="46" y="280"/>
                      <a:pt x="46" y="280"/>
                      <a:pt x="46" y="280"/>
                    </a:cubicBezTo>
                    <a:cubicBezTo>
                      <a:pt x="45" y="280"/>
                      <a:pt x="45" y="280"/>
                      <a:pt x="45" y="280"/>
                    </a:cubicBezTo>
                    <a:cubicBezTo>
                      <a:pt x="44" y="279"/>
                      <a:pt x="42" y="278"/>
                      <a:pt x="41" y="278"/>
                    </a:cubicBezTo>
                    <a:cubicBezTo>
                      <a:pt x="40" y="277"/>
                      <a:pt x="40" y="277"/>
                      <a:pt x="40" y="277"/>
                    </a:cubicBezTo>
                    <a:cubicBezTo>
                      <a:pt x="40" y="277"/>
                      <a:pt x="40" y="277"/>
                      <a:pt x="40" y="277"/>
                    </a:cubicBezTo>
                    <a:cubicBezTo>
                      <a:pt x="40" y="277"/>
                      <a:pt x="40" y="277"/>
                      <a:pt x="40" y="277"/>
                    </a:cubicBezTo>
                    <a:cubicBezTo>
                      <a:pt x="39" y="277"/>
                      <a:pt x="39" y="277"/>
                      <a:pt x="39" y="277"/>
                    </a:cubicBezTo>
                    <a:cubicBezTo>
                      <a:pt x="37" y="277"/>
                      <a:pt x="37" y="277"/>
                      <a:pt x="37" y="277"/>
                    </a:cubicBezTo>
                    <a:cubicBezTo>
                      <a:pt x="36" y="276"/>
                      <a:pt x="35" y="275"/>
                      <a:pt x="35" y="274"/>
                    </a:cubicBezTo>
                    <a:cubicBezTo>
                      <a:pt x="34" y="273"/>
                      <a:pt x="34" y="273"/>
                      <a:pt x="34" y="273"/>
                    </a:cubicBezTo>
                    <a:cubicBezTo>
                      <a:pt x="32" y="271"/>
                      <a:pt x="32" y="271"/>
                      <a:pt x="32" y="271"/>
                    </a:cubicBezTo>
                    <a:cubicBezTo>
                      <a:pt x="33" y="269"/>
                      <a:pt x="33" y="269"/>
                      <a:pt x="33" y="269"/>
                    </a:cubicBezTo>
                    <a:cubicBezTo>
                      <a:pt x="33" y="268"/>
                      <a:pt x="34" y="267"/>
                      <a:pt x="35" y="266"/>
                    </a:cubicBezTo>
                    <a:cubicBezTo>
                      <a:pt x="35" y="265"/>
                      <a:pt x="36" y="264"/>
                      <a:pt x="37" y="264"/>
                    </a:cubicBezTo>
                    <a:cubicBezTo>
                      <a:pt x="38" y="263"/>
                      <a:pt x="39" y="263"/>
                      <a:pt x="40" y="263"/>
                    </a:cubicBezTo>
                    <a:cubicBezTo>
                      <a:pt x="42" y="263"/>
                      <a:pt x="43" y="264"/>
                      <a:pt x="44" y="265"/>
                    </a:cubicBezTo>
                    <a:cubicBezTo>
                      <a:pt x="45" y="265"/>
                      <a:pt x="45" y="265"/>
                      <a:pt x="46" y="265"/>
                    </a:cubicBezTo>
                    <a:cubicBezTo>
                      <a:pt x="46" y="266"/>
                      <a:pt x="47" y="266"/>
                      <a:pt x="47" y="266"/>
                    </a:cubicBezTo>
                    <a:cubicBezTo>
                      <a:pt x="47" y="266"/>
                      <a:pt x="47" y="266"/>
                      <a:pt x="47" y="266"/>
                    </a:cubicBezTo>
                    <a:cubicBezTo>
                      <a:pt x="47" y="265"/>
                      <a:pt x="47" y="265"/>
                      <a:pt x="47" y="265"/>
                    </a:cubicBezTo>
                    <a:cubicBezTo>
                      <a:pt x="47" y="265"/>
                      <a:pt x="47" y="265"/>
                      <a:pt x="47" y="265"/>
                    </a:cubicBezTo>
                    <a:cubicBezTo>
                      <a:pt x="47" y="264"/>
                      <a:pt x="47" y="264"/>
                      <a:pt x="47" y="264"/>
                    </a:cubicBezTo>
                    <a:cubicBezTo>
                      <a:pt x="46" y="264"/>
                      <a:pt x="46" y="264"/>
                      <a:pt x="46" y="264"/>
                    </a:cubicBezTo>
                    <a:cubicBezTo>
                      <a:pt x="46" y="263"/>
                      <a:pt x="46" y="263"/>
                      <a:pt x="46" y="263"/>
                    </a:cubicBezTo>
                    <a:cubicBezTo>
                      <a:pt x="46" y="263"/>
                      <a:pt x="45" y="262"/>
                      <a:pt x="45" y="262"/>
                    </a:cubicBezTo>
                    <a:cubicBezTo>
                      <a:pt x="45" y="262"/>
                      <a:pt x="45" y="262"/>
                      <a:pt x="45" y="262"/>
                    </a:cubicBezTo>
                    <a:cubicBezTo>
                      <a:pt x="44" y="261"/>
                      <a:pt x="44" y="260"/>
                      <a:pt x="43" y="260"/>
                    </a:cubicBezTo>
                    <a:cubicBezTo>
                      <a:pt x="42" y="259"/>
                      <a:pt x="41" y="258"/>
                      <a:pt x="41" y="257"/>
                    </a:cubicBezTo>
                    <a:cubicBezTo>
                      <a:pt x="39" y="254"/>
                      <a:pt x="37" y="252"/>
                      <a:pt x="36" y="249"/>
                    </a:cubicBezTo>
                    <a:cubicBezTo>
                      <a:pt x="31" y="243"/>
                      <a:pt x="31" y="243"/>
                      <a:pt x="31" y="243"/>
                    </a:cubicBezTo>
                    <a:cubicBezTo>
                      <a:pt x="30" y="241"/>
                      <a:pt x="29" y="240"/>
                      <a:pt x="28" y="238"/>
                    </a:cubicBezTo>
                    <a:cubicBezTo>
                      <a:pt x="27" y="237"/>
                      <a:pt x="26" y="235"/>
                      <a:pt x="25" y="234"/>
                    </a:cubicBezTo>
                    <a:cubicBezTo>
                      <a:pt x="24" y="234"/>
                      <a:pt x="24" y="234"/>
                      <a:pt x="24" y="234"/>
                    </a:cubicBezTo>
                    <a:cubicBezTo>
                      <a:pt x="24" y="234"/>
                      <a:pt x="24" y="234"/>
                      <a:pt x="24" y="234"/>
                    </a:cubicBezTo>
                    <a:cubicBezTo>
                      <a:pt x="24" y="234"/>
                      <a:pt x="23" y="234"/>
                      <a:pt x="23" y="234"/>
                    </a:cubicBezTo>
                    <a:moveTo>
                      <a:pt x="386" y="0"/>
                    </a:moveTo>
                    <a:cubicBezTo>
                      <a:pt x="0" y="0"/>
                      <a:pt x="0" y="0"/>
                      <a:pt x="0" y="0"/>
                    </a:cubicBezTo>
                    <a:cubicBezTo>
                      <a:pt x="0" y="144"/>
                      <a:pt x="0" y="144"/>
                      <a:pt x="0" y="144"/>
                    </a:cubicBezTo>
                    <a:cubicBezTo>
                      <a:pt x="1" y="143"/>
                      <a:pt x="1" y="141"/>
                      <a:pt x="2" y="139"/>
                    </a:cubicBezTo>
                    <a:cubicBezTo>
                      <a:pt x="2" y="138"/>
                      <a:pt x="2" y="138"/>
                      <a:pt x="2" y="138"/>
                    </a:cubicBezTo>
                    <a:cubicBezTo>
                      <a:pt x="2" y="138"/>
                      <a:pt x="2" y="137"/>
                      <a:pt x="2" y="136"/>
                    </a:cubicBezTo>
                    <a:cubicBezTo>
                      <a:pt x="3" y="136"/>
                      <a:pt x="3" y="135"/>
                      <a:pt x="3" y="135"/>
                    </a:cubicBezTo>
                    <a:cubicBezTo>
                      <a:pt x="5" y="132"/>
                      <a:pt x="8" y="131"/>
                      <a:pt x="11" y="131"/>
                    </a:cubicBezTo>
                    <a:cubicBezTo>
                      <a:pt x="12" y="131"/>
                      <a:pt x="12" y="131"/>
                      <a:pt x="12" y="131"/>
                    </a:cubicBezTo>
                    <a:cubicBezTo>
                      <a:pt x="12" y="131"/>
                      <a:pt x="13" y="131"/>
                      <a:pt x="13" y="131"/>
                    </a:cubicBezTo>
                    <a:cubicBezTo>
                      <a:pt x="14" y="131"/>
                      <a:pt x="14" y="131"/>
                      <a:pt x="14" y="131"/>
                    </a:cubicBezTo>
                    <a:cubicBezTo>
                      <a:pt x="19" y="133"/>
                      <a:pt x="23" y="138"/>
                      <a:pt x="25" y="140"/>
                    </a:cubicBezTo>
                    <a:cubicBezTo>
                      <a:pt x="26" y="142"/>
                      <a:pt x="26" y="142"/>
                      <a:pt x="26" y="142"/>
                    </a:cubicBezTo>
                    <a:cubicBezTo>
                      <a:pt x="27" y="142"/>
                      <a:pt x="28" y="143"/>
                      <a:pt x="28" y="144"/>
                    </a:cubicBezTo>
                    <a:cubicBezTo>
                      <a:pt x="29" y="145"/>
                      <a:pt x="29" y="145"/>
                      <a:pt x="29" y="145"/>
                    </a:cubicBezTo>
                    <a:cubicBezTo>
                      <a:pt x="31" y="147"/>
                      <a:pt x="33" y="149"/>
                      <a:pt x="34" y="150"/>
                    </a:cubicBezTo>
                    <a:cubicBezTo>
                      <a:pt x="35" y="151"/>
                      <a:pt x="35" y="151"/>
                      <a:pt x="35" y="151"/>
                    </a:cubicBezTo>
                    <a:cubicBezTo>
                      <a:pt x="36" y="151"/>
                      <a:pt x="36" y="151"/>
                      <a:pt x="36" y="151"/>
                    </a:cubicBezTo>
                    <a:cubicBezTo>
                      <a:pt x="36" y="151"/>
                      <a:pt x="37" y="150"/>
                      <a:pt x="38" y="150"/>
                    </a:cubicBezTo>
                    <a:cubicBezTo>
                      <a:pt x="38" y="150"/>
                      <a:pt x="38" y="150"/>
                      <a:pt x="38" y="150"/>
                    </a:cubicBezTo>
                    <a:cubicBezTo>
                      <a:pt x="40" y="150"/>
                      <a:pt x="42" y="149"/>
                      <a:pt x="44" y="148"/>
                    </a:cubicBezTo>
                    <a:cubicBezTo>
                      <a:pt x="43" y="147"/>
                      <a:pt x="43" y="147"/>
                      <a:pt x="43" y="147"/>
                    </a:cubicBezTo>
                    <a:cubicBezTo>
                      <a:pt x="43" y="147"/>
                      <a:pt x="43" y="147"/>
                      <a:pt x="43" y="147"/>
                    </a:cubicBezTo>
                    <a:cubicBezTo>
                      <a:pt x="42" y="146"/>
                      <a:pt x="42" y="146"/>
                      <a:pt x="42" y="146"/>
                    </a:cubicBezTo>
                    <a:cubicBezTo>
                      <a:pt x="42" y="145"/>
                      <a:pt x="42" y="143"/>
                      <a:pt x="42" y="143"/>
                    </a:cubicBezTo>
                    <a:cubicBezTo>
                      <a:pt x="42" y="143"/>
                      <a:pt x="42" y="143"/>
                      <a:pt x="42" y="143"/>
                    </a:cubicBezTo>
                    <a:cubicBezTo>
                      <a:pt x="42" y="142"/>
                      <a:pt x="42" y="142"/>
                      <a:pt x="42" y="142"/>
                    </a:cubicBezTo>
                    <a:cubicBezTo>
                      <a:pt x="41" y="141"/>
                      <a:pt x="41" y="141"/>
                      <a:pt x="41" y="140"/>
                    </a:cubicBezTo>
                    <a:cubicBezTo>
                      <a:pt x="40" y="138"/>
                      <a:pt x="40" y="137"/>
                      <a:pt x="40" y="136"/>
                    </a:cubicBezTo>
                    <a:cubicBezTo>
                      <a:pt x="39" y="135"/>
                      <a:pt x="39" y="133"/>
                      <a:pt x="39" y="132"/>
                    </a:cubicBezTo>
                    <a:cubicBezTo>
                      <a:pt x="38" y="131"/>
                      <a:pt x="38" y="131"/>
                      <a:pt x="38" y="131"/>
                    </a:cubicBezTo>
                    <a:cubicBezTo>
                      <a:pt x="37" y="129"/>
                      <a:pt x="36" y="127"/>
                      <a:pt x="36" y="124"/>
                    </a:cubicBezTo>
                    <a:cubicBezTo>
                      <a:pt x="36" y="120"/>
                      <a:pt x="36" y="120"/>
                      <a:pt x="36" y="120"/>
                    </a:cubicBezTo>
                    <a:cubicBezTo>
                      <a:pt x="38" y="120"/>
                      <a:pt x="38" y="120"/>
                      <a:pt x="38" y="120"/>
                    </a:cubicBezTo>
                    <a:cubicBezTo>
                      <a:pt x="41" y="121"/>
                      <a:pt x="41" y="121"/>
                      <a:pt x="41" y="121"/>
                    </a:cubicBezTo>
                    <a:cubicBezTo>
                      <a:pt x="42" y="122"/>
                      <a:pt x="43" y="122"/>
                      <a:pt x="43" y="122"/>
                    </a:cubicBezTo>
                    <a:cubicBezTo>
                      <a:pt x="44" y="122"/>
                      <a:pt x="46" y="121"/>
                      <a:pt x="48" y="120"/>
                    </a:cubicBezTo>
                    <a:cubicBezTo>
                      <a:pt x="49" y="119"/>
                      <a:pt x="50" y="119"/>
                      <a:pt x="50" y="118"/>
                    </a:cubicBezTo>
                    <a:cubicBezTo>
                      <a:pt x="51" y="118"/>
                      <a:pt x="51" y="118"/>
                      <a:pt x="52" y="118"/>
                    </a:cubicBezTo>
                    <a:cubicBezTo>
                      <a:pt x="52" y="117"/>
                      <a:pt x="52" y="117"/>
                      <a:pt x="52" y="117"/>
                    </a:cubicBezTo>
                    <a:cubicBezTo>
                      <a:pt x="53" y="117"/>
                      <a:pt x="54" y="117"/>
                      <a:pt x="55" y="116"/>
                    </a:cubicBezTo>
                    <a:cubicBezTo>
                      <a:pt x="55" y="116"/>
                      <a:pt x="55" y="116"/>
                      <a:pt x="55" y="116"/>
                    </a:cubicBezTo>
                    <a:cubicBezTo>
                      <a:pt x="56" y="116"/>
                      <a:pt x="58" y="115"/>
                      <a:pt x="59" y="115"/>
                    </a:cubicBezTo>
                    <a:cubicBezTo>
                      <a:pt x="59" y="114"/>
                      <a:pt x="59" y="114"/>
                      <a:pt x="59" y="114"/>
                    </a:cubicBezTo>
                    <a:cubicBezTo>
                      <a:pt x="56" y="110"/>
                      <a:pt x="56" y="110"/>
                      <a:pt x="56" y="110"/>
                    </a:cubicBezTo>
                    <a:cubicBezTo>
                      <a:pt x="81" y="99"/>
                      <a:pt x="81" y="99"/>
                      <a:pt x="81" y="99"/>
                    </a:cubicBezTo>
                    <a:cubicBezTo>
                      <a:pt x="81" y="99"/>
                      <a:pt x="82" y="99"/>
                      <a:pt x="83" y="99"/>
                    </a:cubicBezTo>
                    <a:cubicBezTo>
                      <a:pt x="83" y="99"/>
                      <a:pt x="83" y="99"/>
                      <a:pt x="83" y="99"/>
                    </a:cubicBezTo>
                    <a:cubicBezTo>
                      <a:pt x="85" y="98"/>
                      <a:pt x="86" y="98"/>
                      <a:pt x="86" y="98"/>
                    </a:cubicBezTo>
                    <a:cubicBezTo>
                      <a:pt x="86" y="97"/>
                      <a:pt x="86" y="97"/>
                      <a:pt x="86" y="97"/>
                    </a:cubicBezTo>
                    <a:cubicBezTo>
                      <a:pt x="87" y="95"/>
                      <a:pt x="87" y="95"/>
                      <a:pt x="87" y="95"/>
                    </a:cubicBezTo>
                    <a:cubicBezTo>
                      <a:pt x="88" y="94"/>
                      <a:pt x="88" y="94"/>
                      <a:pt x="88" y="94"/>
                    </a:cubicBezTo>
                    <a:cubicBezTo>
                      <a:pt x="89" y="93"/>
                      <a:pt x="89" y="93"/>
                      <a:pt x="89" y="93"/>
                    </a:cubicBezTo>
                    <a:cubicBezTo>
                      <a:pt x="92" y="88"/>
                      <a:pt x="93" y="86"/>
                      <a:pt x="98" y="86"/>
                    </a:cubicBezTo>
                    <a:cubicBezTo>
                      <a:pt x="99" y="86"/>
                      <a:pt x="99" y="86"/>
                      <a:pt x="99" y="86"/>
                    </a:cubicBezTo>
                    <a:cubicBezTo>
                      <a:pt x="99" y="86"/>
                      <a:pt x="99" y="86"/>
                      <a:pt x="99" y="86"/>
                    </a:cubicBezTo>
                    <a:cubicBezTo>
                      <a:pt x="99" y="85"/>
                      <a:pt x="99" y="85"/>
                      <a:pt x="99" y="84"/>
                    </a:cubicBezTo>
                    <a:cubicBezTo>
                      <a:pt x="96" y="78"/>
                      <a:pt x="96" y="78"/>
                      <a:pt x="96" y="78"/>
                    </a:cubicBezTo>
                    <a:cubicBezTo>
                      <a:pt x="104" y="79"/>
                      <a:pt x="104" y="79"/>
                      <a:pt x="104" y="79"/>
                    </a:cubicBezTo>
                    <a:cubicBezTo>
                      <a:pt x="105" y="80"/>
                      <a:pt x="107" y="80"/>
                      <a:pt x="110" y="81"/>
                    </a:cubicBezTo>
                    <a:cubicBezTo>
                      <a:pt x="111" y="81"/>
                      <a:pt x="111" y="81"/>
                      <a:pt x="112" y="82"/>
                    </a:cubicBezTo>
                    <a:cubicBezTo>
                      <a:pt x="114" y="82"/>
                      <a:pt x="116" y="83"/>
                      <a:pt x="117" y="83"/>
                    </a:cubicBezTo>
                    <a:cubicBezTo>
                      <a:pt x="118" y="84"/>
                      <a:pt x="121" y="85"/>
                      <a:pt x="122" y="88"/>
                    </a:cubicBezTo>
                    <a:cubicBezTo>
                      <a:pt x="123" y="84"/>
                      <a:pt x="123" y="84"/>
                      <a:pt x="123" y="84"/>
                    </a:cubicBezTo>
                    <a:cubicBezTo>
                      <a:pt x="123" y="90"/>
                      <a:pt x="123" y="90"/>
                      <a:pt x="123" y="90"/>
                    </a:cubicBezTo>
                    <a:cubicBezTo>
                      <a:pt x="123" y="90"/>
                      <a:pt x="123" y="90"/>
                      <a:pt x="123" y="90"/>
                    </a:cubicBezTo>
                    <a:cubicBezTo>
                      <a:pt x="124" y="91"/>
                      <a:pt x="125" y="91"/>
                      <a:pt x="125" y="91"/>
                    </a:cubicBezTo>
                    <a:cubicBezTo>
                      <a:pt x="126" y="91"/>
                      <a:pt x="126" y="91"/>
                      <a:pt x="126" y="91"/>
                    </a:cubicBezTo>
                    <a:cubicBezTo>
                      <a:pt x="126" y="91"/>
                      <a:pt x="126" y="91"/>
                      <a:pt x="126" y="91"/>
                    </a:cubicBezTo>
                    <a:cubicBezTo>
                      <a:pt x="126" y="91"/>
                      <a:pt x="126" y="91"/>
                      <a:pt x="126" y="91"/>
                    </a:cubicBezTo>
                    <a:cubicBezTo>
                      <a:pt x="126" y="90"/>
                      <a:pt x="126" y="90"/>
                      <a:pt x="127" y="89"/>
                    </a:cubicBezTo>
                    <a:cubicBezTo>
                      <a:pt x="127" y="88"/>
                      <a:pt x="127" y="88"/>
                      <a:pt x="127" y="88"/>
                    </a:cubicBezTo>
                    <a:cubicBezTo>
                      <a:pt x="127" y="87"/>
                      <a:pt x="128" y="84"/>
                      <a:pt x="133" y="83"/>
                    </a:cubicBezTo>
                    <a:cubicBezTo>
                      <a:pt x="138" y="83"/>
                      <a:pt x="139" y="82"/>
                      <a:pt x="144" y="79"/>
                    </a:cubicBezTo>
                    <a:cubicBezTo>
                      <a:pt x="147" y="77"/>
                      <a:pt x="147" y="77"/>
                      <a:pt x="147" y="77"/>
                    </a:cubicBezTo>
                    <a:cubicBezTo>
                      <a:pt x="149" y="81"/>
                      <a:pt x="149" y="81"/>
                      <a:pt x="149" y="81"/>
                    </a:cubicBezTo>
                    <a:cubicBezTo>
                      <a:pt x="150" y="81"/>
                      <a:pt x="150" y="82"/>
                      <a:pt x="151" y="84"/>
                    </a:cubicBezTo>
                    <a:cubicBezTo>
                      <a:pt x="151" y="85"/>
                      <a:pt x="152" y="87"/>
                      <a:pt x="152" y="88"/>
                    </a:cubicBezTo>
                    <a:cubicBezTo>
                      <a:pt x="153" y="89"/>
                      <a:pt x="153" y="89"/>
                      <a:pt x="153" y="89"/>
                    </a:cubicBezTo>
                    <a:cubicBezTo>
                      <a:pt x="153" y="89"/>
                      <a:pt x="153" y="90"/>
                      <a:pt x="153" y="90"/>
                    </a:cubicBezTo>
                    <a:cubicBezTo>
                      <a:pt x="154" y="90"/>
                      <a:pt x="154" y="90"/>
                      <a:pt x="154" y="90"/>
                    </a:cubicBezTo>
                    <a:cubicBezTo>
                      <a:pt x="154" y="91"/>
                      <a:pt x="154" y="91"/>
                      <a:pt x="154" y="91"/>
                    </a:cubicBezTo>
                    <a:cubicBezTo>
                      <a:pt x="154" y="91"/>
                      <a:pt x="154" y="91"/>
                      <a:pt x="154" y="91"/>
                    </a:cubicBezTo>
                    <a:cubicBezTo>
                      <a:pt x="154" y="91"/>
                      <a:pt x="154" y="91"/>
                      <a:pt x="154" y="91"/>
                    </a:cubicBezTo>
                    <a:cubicBezTo>
                      <a:pt x="155" y="90"/>
                      <a:pt x="155" y="90"/>
                      <a:pt x="155" y="90"/>
                    </a:cubicBezTo>
                    <a:cubicBezTo>
                      <a:pt x="153" y="83"/>
                      <a:pt x="153" y="83"/>
                      <a:pt x="153" y="83"/>
                    </a:cubicBezTo>
                    <a:cubicBezTo>
                      <a:pt x="157" y="90"/>
                      <a:pt x="157" y="90"/>
                      <a:pt x="157" y="90"/>
                    </a:cubicBezTo>
                    <a:cubicBezTo>
                      <a:pt x="157" y="90"/>
                      <a:pt x="157" y="90"/>
                      <a:pt x="157" y="90"/>
                    </a:cubicBezTo>
                    <a:cubicBezTo>
                      <a:pt x="160" y="89"/>
                      <a:pt x="163" y="89"/>
                      <a:pt x="166" y="89"/>
                    </a:cubicBezTo>
                    <a:cubicBezTo>
                      <a:pt x="166" y="89"/>
                      <a:pt x="167" y="89"/>
                      <a:pt x="167" y="89"/>
                    </a:cubicBezTo>
                    <a:cubicBezTo>
                      <a:pt x="171" y="89"/>
                      <a:pt x="176" y="89"/>
                      <a:pt x="179" y="91"/>
                    </a:cubicBezTo>
                    <a:cubicBezTo>
                      <a:pt x="186" y="94"/>
                      <a:pt x="193" y="100"/>
                      <a:pt x="199" y="105"/>
                    </a:cubicBezTo>
                    <a:cubicBezTo>
                      <a:pt x="200" y="106"/>
                      <a:pt x="200" y="106"/>
                      <a:pt x="200" y="106"/>
                    </a:cubicBezTo>
                    <a:cubicBezTo>
                      <a:pt x="202" y="108"/>
                      <a:pt x="203" y="109"/>
                      <a:pt x="205" y="111"/>
                    </a:cubicBezTo>
                    <a:cubicBezTo>
                      <a:pt x="206" y="111"/>
                      <a:pt x="206" y="111"/>
                      <a:pt x="206" y="111"/>
                    </a:cubicBezTo>
                    <a:cubicBezTo>
                      <a:pt x="205" y="109"/>
                      <a:pt x="205" y="109"/>
                      <a:pt x="205" y="109"/>
                    </a:cubicBezTo>
                    <a:cubicBezTo>
                      <a:pt x="208" y="108"/>
                      <a:pt x="208" y="108"/>
                      <a:pt x="208" y="108"/>
                    </a:cubicBezTo>
                    <a:cubicBezTo>
                      <a:pt x="209" y="107"/>
                      <a:pt x="210" y="107"/>
                      <a:pt x="211" y="107"/>
                    </a:cubicBezTo>
                    <a:cubicBezTo>
                      <a:pt x="211" y="107"/>
                      <a:pt x="211" y="107"/>
                      <a:pt x="211" y="107"/>
                    </a:cubicBezTo>
                    <a:cubicBezTo>
                      <a:pt x="212" y="107"/>
                      <a:pt x="213" y="107"/>
                      <a:pt x="213" y="107"/>
                    </a:cubicBezTo>
                    <a:cubicBezTo>
                      <a:pt x="214" y="107"/>
                      <a:pt x="214" y="107"/>
                      <a:pt x="214" y="107"/>
                    </a:cubicBezTo>
                    <a:cubicBezTo>
                      <a:pt x="215" y="107"/>
                      <a:pt x="215" y="107"/>
                      <a:pt x="215" y="107"/>
                    </a:cubicBezTo>
                    <a:cubicBezTo>
                      <a:pt x="215" y="108"/>
                      <a:pt x="215" y="108"/>
                      <a:pt x="215" y="108"/>
                    </a:cubicBezTo>
                    <a:cubicBezTo>
                      <a:pt x="217" y="108"/>
                      <a:pt x="219" y="110"/>
                      <a:pt x="220" y="111"/>
                    </a:cubicBezTo>
                    <a:cubicBezTo>
                      <a:pt x="224" y="114"/>
                      <a:pt x="224" y="114"/>
                      <a:pt x="224" y="114"/>
                    </a:cubicBezTo>
                    <a:cubicBezTo>
                      <a:pt x="228" y="116"/>
                      <a:pt x="231" y="119"/>
                      <a:pt x="235" y="121"/>
                    </a:cubicBezTo>
                    <a:cubicBezTo>
                      <a:pt x="239" y="124"/>
                      <a:pt x="241" y="125"/>
                      <a:pt x="241" y="125"/>
                    </a:cubicBezTo>
                    <a:cubicBezTo>
                      <a:pt x="242" y="124"/>
                      <a:pt x="242" y="124"/>
                      <a:pt x="242" y="124"/>
                    </a:cubicBezTo>
                    <a:cubicBezTo>
                      <a:pt x="243" y="124"/>
                      <a:pt x="243" y="124"/>
                      <a:pt x="243" y="124"/>
                    </a:cubicBezTo>
                    <a:cubicBezTo>
                      <a:pt x="244" y="123"/>
                      <a:pt x="245" y="123"/>
                      <a:pt x="245" y="122"/>
                    </a:cubicBezTo>
                    <a:cubicBezTo>
                      <a:pt x="246" y="122"/>
                      <a:pt x="246" y="122"/>
                      <a:pt x="247" y="121"/>
                    </a:cubicBezTo>
                    <a:cubicBezTo>
                      <a:pt x="248" y="121"/>
                      <a:pt x="248" y="120"/>
                      <a:pt x="249" y="120"/>
                    </a:cubicBezTo>
                    <a:cubicBezTo>
                      <a:pt x="250" y="120"/>
                      <a:pt x="250" y="120"/>
                      <a:pt x="250" y="120"/>
                    </a:cubicBezTo>
                    <a:cubicBezTo>
                      <a:pt x="250" y="119"/>
                      <a:pt x="250" y="119"/>
                      <a:pt x="250" y="119"/>
                    </a:cubicBezTo>
                    <a:cubicBezTo>
                      <a:pt x="250" y="118"/>
                      <a:pt x="250" y="118"/>
                      <a:pt x="250" y="118"/>
                    </a:cubicBezTo>
                    <a:cubicBezTo>
                      <a:pt x="250" y="117"/>
                      <a:pt x="250" y="117"/>
                      <a:pt x="251" y="117"/>
                    </a:cubicBezTo>
                    <a:cubicBezTo>
                      <a:pt x="252" y="114"/>
                      <a:pt x="255" y="113"/>
                      <a:pt x="256" y="113"/>
                    </a:cubicBezTo>
                    <a:cubicBezTo>
                      <a:pt x="257" y="113"/>
                      <a:pt x="257" y="113"/>
                      <a:pt x="258" y="112"/>
                    </a:cubicBezTo>
                    <a:cubicBezTo>
                      <a:pt x="258" y="112"/>
                      <a:pt x="259" y="111"/>
                      <a:pt x="259" y="111"/>
                    </a:cubicBezTo>
                    <a:cubicBezTo>
                      <a:pt x="260" y="108"/>
                      <a:pt x="262" y="107"/>
                      <a:pt x="265" y="106"/>
                    </a:cubicBezTo>
                    <a:cubicBezTo>
                      <a:pt x="270" y="106"/>
                      <a:pt x="274" y="105"/>
                      <a:pt x="279" y="104"/>
                    </a:cubicBezTo>
                    <a:cubicBezTo>
                      <a:pt x="280" y="104"/>
                      <a:pt x="281" y="104"/>
                      <a:pt x="281" y="104"/>
                    </a:cubicBezTo>
                    <a:cubicBezTo>
                      <a:pt x="284" y="104"/>
                      <a:pt x="286" y="105"/>
                      <a:pt x="287" y="107"/>
                    </a:cubicBezTo>
                    <a:cubicBezTo>
                      <a:pt x="288" y="108"/>
                      <a:pt x="288" y="109"/>
                      <a:pt x="289" y="109"/>
                    </a:cubicBezTo>
                    <a:cubicBezTo>
                      <a:pt x="289" y="110"/>
                      <a:pt x="289" y="110"/>
                      <a:pt x="289" y="110"/>
                    </a:cubicBezTo>
                    <a:cubicBezTo>
                      <a:pt x="290" y="111"/>
                      <a:pt x="292" y="113"/>
                      <a:pt x="293" y="113"/>
                    </a:cubicBezTo>
                    <a:cubicBezTo>
                      <a:pt x="293" y="113"/>
                      <a:pt x="293" y="113"/>
                      <a:pt x="294" y="113"/>
                    </a:cubicBezTo>
                    <a:cubicBezTo>
                      <a:pt x="295" y="113"/>
                      <a:pt x="296" y="113"/>
                      <a:pt x="296" y="112"/>
                    </a:cubicBezTo>
                    <a:cubicBezTo>
                      <a:pt x="297" y="112"/>
                      <a:pt x="297" y="112"/>
                      <a:pt x="297" y="112"/>
                    </a:cubicBezTo>
                    <a:cubicBezTo>
                      <a:pt x="297" y="111"/>
                      <a:pt x="297" y="111"/>
                      <a:pt x="297" y="111"/>
                    </a:cubicBezTo>
                    <a:cubicBezTo>
                      <a:pt x="297" y="110"/>
                      <a:pt x="297" y="110"/>
                      <a:pt x="297" y="110"/>
                    </a:cubicBezTo>
                    <a:cubicBezTo>
                      <a:pt x="297" y="106"/>
                      <a:pt x="299" y="104"/>
                      <a:pt x="305" y="103"/>
                    </a:cubicBezTo>
                    <a:cubicBezTo>
                      <a:pt x="306" y="103"/>
                      <a:pt x="306" y="103"/>
                      <a:pt x="306" y="103"/>
                    </a:cubicBezTo>
                    <a:cubicBezTo>
                      <a:pt x="307" y="103"/>
                      <a:pt x="309" y="103"/>
                      <a:pt x="310" y="103"/>
                    </a:cubicBezTo>
                    <a:cubicBezTo>
                      <a:pt x="317" y="103"/>
                      <a:pt x="327" y="104"/>
                      <a:pt x="328" y="114"/>
                    </a:cubicBezTo>
                    <a:cubicBezTo>
                      <a:pt x="329" y="115"/>
                      <a:pt x="329" y="115"/>
                      <a:pt x="329" y="115"/>
                    </a:cubicBezTo>
                    <a:cubicBezTo>
                      <a:pt x="329" y="115"/>
                      <a:pt x="329" y="117"/>
                      <a:pt x="329" y="117"/>
                    </a:cubicBezTo>
                    <a:cubicBezTo>
                      <a:pt x="329" y="117"/>
                      <a:pt x="329" y="117"/>
                      <a:pt x="331" y="118"/>
                    </a:cubicBezTo>
                    <a:cubicBezTo>
                      <a:pt x="332" y="119"/>
                      <a:pt x="333" y="119"/>
                      <a:pt x="334" y="120"/>
                    </a:cubicBezTo>
                    <a:cubicBezTo>
                      <a:pt x="334" y="120"/>
                      <a:pt x="334" y="120"/>
                      <a:pt x="334" y="120"/>
                    </a:cubicBezTo>
                    <a:cubicBezTo>
                      <a:pt x="334" y="120"/>
                      <a:pt x="334" y="120"/>
                      <a:pt x="334" y="120"/>
                    </a:cubicBezTo>
                    <a:cubicBezTo>
                      <a:pt x="335" y="120"/>
                      <a:pt x="335" y="120"/>
                      <a:pt x="335" y="120"/>
                    </a:cubicBezTo>
                    <a:cubicBezTo>
                      <a:pt x="336" y="120"/>
                      <a:pt x="337" y="120"/>
                      <a:pt x="338" y="120"/>
                    </a:cubicBezTo>
                    <a:cubicBezTo>
                      <a:pt x="338" y="120"/>
                      <a:pt x="338" y="120"/>
                      <a:pt x="338" y="120"/>
                    </a:cubicBezTo>
                    <a:cubicBezTo>
                      <a:pt x="339" y="120"/>
                      <a:pt x="340" y="121"/>
                      <a:pt x="341" y="121"/>
                    </a:cubicBezTo>
                    <a:cubicBezTo>
                      <a:pt x="345" y="121"/>
                      <a:pt x="348" y="122"/>
                      <a:pt x="351" y="123"/>
                    </a:cubicBezTo>
                    <a:cubicBezTo>
                      <a:pt x="352" y="123"/>
                      <a:pt x="353" y="124"/>
                      <a:pt x="354" y="126"/>
                    </a:cubicBezTo>
                    <a:cubicBezTo>
                      <a:pt x="354" y="126"/>
                      <a:pt x="354" y="126"/>
                      <a:pt x="354" y="126"/>
                    </a:cubicBezTo>
                    <a:cubicBezTo>
                      <a:pt x="355" y="126"/>
                      <a:pt x="355" y="126"/>
                      <a:pt x="355" y="126"/>
                    </a:cubicBezTo>
                    <a:cubicBezTo>
                      <a:pt x="355" y="125"/>
                      <a:pt x="356" y="125"/>
                      <a:pt x="356" y="125"/>
                    </a:cubicBezTo>
                    <a:cubicBezTo>
                      <a:pt x="357" y="124"/>
                      <a:pt x="357" y="124"/>
                      <a:pt x="357" y="124"/>
                    </a:cubicBezTo>
                    <a:cubicBezTo>
                      <a:pt x="357" y="124"/>
                      <a:pt x="358" y="123"/>
                      <a:pt x="358" y="122"/>
                    </a:cubicBezTo>
                    <a:cubicBezTo>
                      <a:pt x="359" y="120"/>
                      <a:pt x="359" y="119"/>
                      <a:pt x="360" y="117"/>
                    </a:cubicBezTo>
                    <a:cubicBezTo>
                      <a:pt x="360" y="116"/>
                      <a:pt x="360" y="116"/>
                      <a:pt x="360" y="116"/>
                    </a:cubicBezTo>
                    <a:cubicBezTo>
                      <a:pt x="360" y="115"/>
                      <a:pt x="360" y="115"/>
                      <a:pt x="360" y="115"/>
                    </a:cubicBezTo>
                    <a:cubicBezTo>
                      <a:pt x="362" y="112"/>
                      <a:pt x="362" y="112"/>
                      <a:pt x="362" y="112"/>
                    </a:cubicBezTo>
                    <a:cubicBezTo>
                      <a:pt x="370" y="117"/>
                      <a:pt x="370" y="117"/>
                      <a:pt x="370" y="117"/>
                    </a:cubicBezTo>
                    <a:cubicBezTo>
                      <a:pt x="372" y="118"/>
                      <a:pt x="372" y="118"/>
                      <a:pt x="372" y="118"/>
                    </a:cubicBezTo>
                    <a:cubicBezTo>
                      <a:pt x="376" y="119"/>
                      <a:pt x="380" y="120"/>
                      <a:pt x="383" y="120"/>
                    </a:cubicBezTo>
                    <a:cubicBezTo>
                      <a:pt x="385" y="121"/>
                      <a:pt x="385" y="121"/>
                      <a:pt x="385" y="121"/>
                    </a:cubicBezTo>
                    <a:cubicBezTo>
                      <a:pt x="386" y="120"/>
                      <a:pt x="386" y="120"/>
                      <a:pt x="386" y="120"/>
                    </a:cubicBezTo>
                    <a:cubicBezTo>
                      <a:pt x="387" y="120"/>
                      <a:pt x="388" y="120"/>
                      <a:pt x="389" y="120"/>
                    </a:cubicBezTo>
                    <a:cubicBezTo>
                      <a:pt x="393" y="119"/>
                      <a:pt x="398" y="118"/>
                      <a:pt x="400" y="117"/>
                    </a:cubicBezTo>
                    <a:cubicBezTo>
                      <a:pt x="401" y="116"/>
                      <a:pt x="401" y="116"/>
                      <a:pt x="401" y="116"/>
                    </a:cubicBezTo>
                    <a:cubicBezTo>
                      <a:pt x="401" y="116"/>
                      <a:pt x="401" y="116"/>
                      <a:pt x="401" y="116"/>
                    </a:cubicBezTo>
                    <a:cubicBezTo>
                      <a:pt x="401" y="116"/>
                      <a:pt x="402" y="115"/>
                      <a:pt x="402" y="115"/>
                    </a:cubicBezTo>
                    <a:cubicBezTo>
                      <a:pt x="402" y="113"/>
                      <a:pt x="402" y="113"/>
                      <a:pt x="402" y="113"/>
                    </a:cubicBezTo>
                    <a:cubicBezTo>
                      <a:pt x="402" y="112"/>
                      <a:pt x="402" y="112"/>
                      <a:pt x="402" y="111"/>
                    </a:cubicBezTo>
                    <a:cubicBezTo>
                      <a:pt x="403" y="110"/>
                      <a:pt x="403" y="110"/>
                      <a:pt x="403" y="110"/>
                    </a:cubicBezTo>
                    <a:cubicBezTo>
                      <a:pt x="403" y="107"/>
                      <a:pt x="405" y="105"/>
                      <a:pt x="406" y="103"/>
                    </a:cubicBezTo>
                    <a:cubicBezTo>
                      <a:pt x="391" y="96"/>
                      <a:pt x="391" y="96"/>
                      <a:pt x="391" y="96"/>
                    </a:cubicBezTo>
                    <a:cubicBezTo>
                      <a:pt x="382" y="91"/>
                      <a:pt x="382" y="91"/>
                      <a:pt x="382" y="91"/>
                    </a:cubicBezTo>
                    <a:cubicBezTo>
                      <a:pt x="377" y="90"/>
                      <a:pt x="377" y="90"/>
                      <a:pt x="377" y="90"/>
                    </a:cubicBezTo>
                    <a:cubicBezTo>
                      <a:pt x="377" y="90"/>
                      <a:pt x="376" y="90"/>
                      <a:pt x="375" y="90"/>
                    </a:cubicBezTo>
                    <a:cubicBezTo>
                      <a:pt x="372" y="88"/>
                      <a:pt x="372" y="88"/>
                      <a:pt x="372" y="88"/>
                    </a:cubicBezTo>
                    <a:cubicBezTo>
                      <a:pt x="369" y="86"/>
                      <a:pt x="369" y="86"/>
                      <a:pt x="369" y="86"/>
                    </a:cubicBezTo>
                    <a:cubicBezTo>
                      <a:pt x="370" y="85"/>
                      <a:pt x="370" y="85"/>
                      <a:pt x="370" y="85"/>
                    </a:cubicBezTo>
                    <a:cubicBezTo>
                      <a:pt x="368" y="84"/>
                      <a:pt x="367" y="83"/>
                      <a:pt x="365" y="82"/>
                    </a:cubicBezTo>
                    <a:cubicBezTo>
                      <a:pt x="364" y="81"/>
                      <a:pt x="364" y="81"/>
                      <a:pt x="364" y="81"/>
                    </a:cubicBezTo>
                    <a:cubicBezTo>
                      <a:pt x="363" y="79"/>
                      <a:pt x="363" y="79"/>
                      <a:pt x="363" y="79"/>
                    </a:cubicBezTo>
                    <a:cubicBezTo>
                      <a:pt x="362" y="78"/>
                      <a:pt x="362" y="78"/>
                      <a:pt x="361" y="78"/>
                    </a:cubicBezTo>
                    <a:cubicBezTo>
                      <a:pt x="360" y="76"/>
                      <a:pt x="360" y="76"/>
                      <a:pt x="360" y="76"/>
                    </a:cubicBezTo>
                    <a:cubicBezTo>
                      <a:pt x="361" y="72"/>
                      <a:pt x="361" y="72"/>
                      <a:pt x="361" y="72"/>
                    </a:cubicBezTo>
                    <a:cubicBezTo>
                      <a:pt x="361" y="70"/>
                      <a:pt x="361" y="70"/>
                      <a:pt x="361" y="70"/>
                    </a:cubicBezTo>
                    <a:cubicBezTo>
                      <a:pt x="364" y="70"/>
                      <a:pt x="364" y="70"/>
                      <a:pt x="364" y="70"/>
                    </a:cubicBezTo>
                    <a:cubicBezTo>
                      <a:pt x="368" y="70"/>
                      <a:pt x="368" y="70"/>
                      <a:pt x="368" y="70"/>
                    </a:cubicBezTo>
                    <a:cubicBezTo>
                      <a:pt x="369" y="70"/>
                      <a:pt x="369" y="70"/>
                      <a:pt x="369" y="70"/>
                    </a:cubicBezTo>
                    <a:cubicBezTo>
                      <a:pt x="370" y="69"/>
                      <a:pt x="370" y="69"/>
                      <a:pt x="370" y="69"/>
                    </a:cubicBezTo>
                    <a:cubicBezTo>
                      <a:pt x="371" y="68"/>
                      <a:pt x="372" y="67"/>
                      <a:pt x="373" y="67"/>
                    </a:cubicBezTo>
                    <a:cubicBezTo>
                      <a:pt x="375" y="65"/>
                      <a:pt x="375" y="65"/>
                      <a:pt x="375" y="65"/>
                    </a:cubicBezTo>
                    <a:cubicBezTo>
                      <a:pt x="377" y="64"/>
                      <a:pt x="377" y="64"/>
                      <a:pt x="378" y="64"/>
                    </a:cubicBezTo>
                    <a:cubicBezTo>
                      <a:pt x="379" y="64"/>
                      <a:pt x="379" y="64"/>
                      <a:pt x="380" y="64"/>
                    </a:cubicBezTo>
                    <a:cubicBezTo>
                      <a:pt x="382" y="64"/>
                      <a:pt x="382" y="64"/>
                      <a:pt x="383" y="63"/>
                    </a:cubicBezTo>
                    <a:cubicBezTo>
                      <a:pt x="383" y="63"/>
                      <a:pt x="383" y="63"/>
                      <a:pt x="384" y="62"/>
                    </a:cubicBezTo>
                    <a:cubicBezTo>
                      <a:pt x="384" y="62"/>
                      <a:pt x="385" y="62"/>
                      <a:pt x="385" y="62"/>
                    </a:cubicBezTo>
                    <a:cubicBezTo>
                      <a:pt x="386" y="61"/>
                      <a:pt x="387" y="60"/>
                      <a:pt x="388" y="60"/>
                    </a:cubicBezTo>
                    <a:cubicBezTo>
                      <a:pt x="388" y="59"/>
                      <a:pt x="388" y="59"/>
                      <a:pt x="388" y="59"/>
                    </a:cubicBezTo>
                    <a:cubicBezTo>
                      <a:pt x="381" y="50"/>
                      <a:pt x="381" y="50"/>
                      <a:pt x="381" y="50"/>
                    </a:cubicBezTo>
                    <a:cubicBezTo>
                      <a:pt x="357" y="46"/>
                      <a:pt x="357" y="46"/>
                      <a:pt x="357" y="46"/>
                    </a:cubicBezTo>
                    <a:cubicBezTo>
                      <a:pt x="381" y="44"/>
                      <a:pt x="381" y="44"/>
                      <a:pt x="381" y="44"/>
                    </a:cubicBezTo>
                    <a:cubicBezTo>
                      <a:pt x="381" y="43"/>
                      <a:pt x="381" y="43"/>
                      <a:pt x="381" y="43"/>
                    </a:cubicBezTo>
                    <a:cubicBezTo>
                      <a:pt x="381" y="43"/>
                      <a:pt x="381" y="43"/>
                      <a:pt x="381" y="43"/>
                    </a:cubicBezTo>
                    <a:cubicBezTo>
                      <a:pt x="384" y="42"/>
                      <a:pt x="384" y="42"/>
                      <a:pt x="384" y="42"/>
                    </a:cubicBezTo>
                    <a:cubicBezTo>
                      <a:pt x="385" y="40"/>
                      <a:pt x="386" y="39"/>
                      <a:pt x="388" y="37"/>
                    </a:cubicBezTo>
                    <a:cubicBezTo>
                      <a:pt x="389" y="36"/>
                      <a:pt x="389" y="36"/>
                      <a:pt x="389" y="36"/>
                    </a:cubicBezTo>
                    <a:cubicBezTo>
                      <a:pt x="389" y="35"/>
                      <a:pt x="389" y="35"/>
                      <a:pt x="389" y="35"/>
                    </a:cubicBezTo>
                    <a:cubicBezTo>
                      <a:pt x="391" y="33"/>
                      <a:pt x="391" y="33"/>
                      <a:pt x="391" y="33"/>
                    </a:cubicBezTo>
                    <a:cubicBezTo>
                      <a:pt x="392" y="33"/>
                      <a:pt x="392" y="33"/>
                      <a:pt x="392" y="33"/>
                    </a:cubicBezTo>
                    <a:cubicBezTo>
                      <a:pt x="393" y="32"/>
                      <a:pt x="394" y="32"/>
                      <a:pt x="395" y="32"/>
                    </a:cubicBezTo>
                    <a:cubicBezTo>
                      <a:pt x="396" y="31"/>
                      <a:pt x="396" y="31"/>
                      <a:pt x="396" y="31"/>
                    </a:cubicBezTo>
                    <a:cubicBezTo>
                      <a:pt x="396" y="31"/>
                      <a:pt x="397" y="31"/>
                      <a:pt x="398" y="31"/>
                    </a:cubicBezTo>
                    <a:cubicBezTo>
                      <a:pt x="399" y="31"/>
                      <a:pt x="400" y="31"/>
                      <a:pt x="400" y="32"/>
                    </a:cubicBezTo>
                    <a:cubicBezTo>
                      <a:pt x="401" y="32"/>
                      <a:pt x="401" y="32"/>
                      <a:pt x="402" y="32"/>
                    </a:cubicBezTo>
                    <a:cubicBezTo>
                      <a:pt x="403" y="31"/>
                      <a:pt x="403" y="31"/>
                      <a:pt x="405" y="31"/>
                    </a:cubicBezTo>
                    <a:cubicBezTo>
                      <a:pt x="405" y="31"/>
                      <a:pt x="405" y="31"/>
                      <a:pt x="405" y="31"/>
                    </a:cubicBezTo>
                    <a:cubicBezTo>
                      <a:pt x="407" y="31"/>
                      <a:pt x="407" y="31"/>
                      <a:pt x="407" y="31"/>
                    </a:cubicBezTo>
                    <a:cubicBezTo>
                      <a:pt x="408" y="32"/>
                      <a:pt x="408" y="32"/>
                      <a:pt x="408" y="32"/>
                    </a:cubicBezTo>
                    <a:cubicBezTo>
                      <a:pt x="407" y="31"/>
                      <a:pt x="407" y="31"/>
                      <a:pt x="407" y="31"/>
                    </a:cubicBezTo>
                    <a:cubicBezTo>
                      <a:pt x="407" y="31"/>
                      <a:pt x="407" y="31"/>
                      <a:pt x="407" y="31"/>
                    </a:cubicBezTo>
                    <a:cubicBezTo>
                      <a:pt x="406" y="30"/>
                      <a:pt x="405" y="30"/>
                      <a:pt x="405" y="30"/>
                    </a:cubicBezTo>
                    <a:cubicBezTo>
                      <a:pt x="402" y="29"/>
                      <a:pt x="402" y="29"/>
                      <a:pt x="402" y="29"/>
                    </a:cubicBezTo>
                    <a:cubicBezTo>
                      <a:pt x="402" y="29"/>
                      <a:pt x="401" y="28"/>
                      <a:pt x="400" y="28"/>
                    </a:cubicBezTo>
                    <a:cubicBezTo>
                      <a:pt x="400" y="28"/>
                      <a:pt x="399" y="28"/>
                      <a:pt x="399" y="28"/>
                    </a:cubicBezTo>
                    <a:cubicBezTo>
                      <a:pt x="398" y="28"/>
                      <a:pt x="398" y="28"/>
                      <a:pt x="398" y="28"/>
                    </a:cubicBezTo>
                    <a:cubicBezTo>
                      <a:pt x="396" y="27"/>
                      <a:pt x="396" y="27"/>
                      <a:pt x="396" y="27"/>
                    </a:cubicBezTo>
                    <a:cubicBezTo>
                      <a:pt x="395" y="26"/>
                      <a:pt x="395" y="26"/>
                      <a:pt x="395" y="26"/>
                    </a:cubicBezTo>
                    <a:cubicBezTo>
                      <a:pt x="388" y="30"/>
                      <a:pt x="388" y="30"/>
                      <a:pt x="388" y="30"/>
                    </a:cubicBezTo>
                    <a:cubicBezTo>
                      <a:pt x="392" y="26"/>
                      <a:pt x="392" y="26"/>
                      <a:pt x="392" y="26"/>
                    </a:cubicBezTo>
                    <a:cubicBezTo>
                      <a:pt x="386" y="28"/>
                      <a:pt x="386" y="28"/>
                      <a:pt x="386" y="28"/>
                    </a:cubicBezTo>
                    <a:cubicBezTo>
                      <a:pt x="393" y="23"/>
                      <a:pt x="393" y="23"/>
                      <a:pt x="393" y="23"/>
                    </a:cubicBezTo>
                    <a:cubicBezTo>
                      <a:pt x="392" y="22"/>
                      <a:pt x="392" y="22"/>
                      <a:pt x="392" y="22"/>
                    </a:cubicBezTo>
                    <a:cubicBezTo>
                      <a:pt x="394" y="18"/>
                      <a:pt x="394" y="18"/>
                      <a:pt x="394" y="18"/>
                    </a:cubicBezTo>
                    <a:cubicBezTo>
                      <a:pt x="395" y="17"/>
                      <a:pt x="395" y="17"/>
                      <a:pt x="395" y="17"/>
                    </a:cubicBezTo>
                    <a:cubicBezTo>
                      <a:pt x="395" y="16"/>
                      <a:pt x="395" y="16"/>
                      <a:pt x="395" y="16"/>
                    </a:cubicBezTo>
                    <a:cubicBezTo>
                      <a:pt x="395" y="16"/>
                      <a:pt x="395" y="16"/>
                      <a:pt x="395" y="16"/>
                    </a:cubicBezTo>
                    <a:cubicBezTo>
                      <a:pt x="393" y="16"/>
                      <a:pt x="393" y="16"/>
                      <a:pt x="393" y="16"/>
                    </a:cubicBezTo>
                    <a:cubicBezTo>
                      <a:pt x="392" y="15"/>
                      <a:pt x="392" y="15"/>
                      <a:pt x="390" y="15"/>
                    </a:cubicBezTo>
                    <a:cubicBezTo>
                      <a:pt x="387" y="14"/>
                      <a:pt x="387" y="14"/>
                      <a:pt x="387" y="14"/>
                    </a:cubicBezTo>
                    <a:cubicBezTo>
                      <a:pt x="386" y="13"/>
                      <a:pt x="386" y="13"/>
                      <a:pt x="386" y="13"/>
                    </a:cubicBezTo>
                    <a:cubicBezTo>
                      <a:pt x="385" y="10"/>
                      <a:pt x="385" y="10"/>
                      <a:pt x="385" y="10"/>
                    </a:cubicBezTo>
                    <a:cubicBezTo>
                      <a:pt x="387" y="7"/>
                      <a:pt x="387" y="7"/>
                      <a:pt x="387" y="7"/>
                    </a:cubicBezTo>
                    <a:cubicBezTo>
                      <a:pt x="388" y="7"/>
                      <a:pt x="388" y="7"/>
                      <a:pt x="388" y="7"/>
                    </a:cubicBezTo>
                    <a:cubicBezTo>
                      <a:pt x="389" y="6"/>
                      <a:pt x="390" y="6"/>
                      <a:pt x="390" y="6"/>
                    </a:cubicBezTo>
                    <a:cubicBezTo>
                      <a:pt x="391" y="6"/>
                      <a:pt x="391" y="6"/>
                      <a:pt x="391" y="6"/>
                    </a:cubicBezTo>
                    <a:cubicBezTo>
                      <a:pt x="391" y="6"/>
                      <a:pt x="391" y="6"/>
                      <a:pt x="391" y="6"/>
                    </a:cubicBezTo>
                    <a:cubicBezTo>
                      <a:pt x="393" y="5"/>
                      <a:pt x="393" y="5"/>
                      <a:pt x="393" y="5"/>
                    </a:cubicBezTo>
                    <a:cubicBezTo>
                      <a:pt x="386" y="0"/>
                      <a:pt x="386" y="0"/>
                      <a:pt x="3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49" name="Freeform 377">
                <a:extLst>
                  <a:ext uri="{FF2B5EF4-FFF2-40B4-BE49-F238E27FC236}">
                    <a16:creationId xmlns:a16="http://schemas.microsoft.com/office/drawing/2014/main" id="{BC2390CF-B69F-4994-B53D-42E655B1EA4F}"/>
                  </a:ext>
                </a:extLst>
              </p:cNvPr>
              <p:cNvSpPr>
                <a:spLocks/>
              </p:cNvSpPr>
              <p:nvPr/>
            </p:nvSpPr>
            <p:spPr bwMode="auto">
              <a:xfrm>
                <a:off x="7665041" y="4529008"/>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50" name="Freeform 378">
                <a:extLst>
                  <a:ext uri="{FF2B5EF4-FFF2-40B4-BE49-F238E27FC236}">
                    <a16:creationId xmlns:a16="http://schemas.microsoft.com/office/drawing/2014/main" id="{96EA9435-A65D-4354-A5D6-73A9494C7E3C}"/>
                  </a:ext>
                </a:extLst>
              </p:cNvPr>
              <p:cNvSpPr>
                <a:spLocks/>
              </p:cNvSpPr>
              <p:nvPr/>
            </p:nvSpPr>
            <p:spPr bwMode="auto">
              <a:xfrm>
                <a:off x="7034886" y="4536378"/>
                <a:ext cx="7370" cy="3685"/>
              </a:xfrm>
              <a:custGeom>
                <a:avLst/>
                <a:gdLst>
                  <a:gd name="T0" fmla="*/ 2 w 2"/>
                  <a:gd name="T1" fmla="*/ 0 h 1"/>
                  <a:gd name="T2" fmla="*/ 0 w 2"/>
                  <a:gd name="T3" fmla="*/ 0 h 1"/>
                  <a:gd name="T4" fmla="*/ 1 w 2"/>
                  <a:gd name="T5" fmla="*/ 1 h 1"/>
                  <a:gd name="T6" fmla="*/ 2 w 2"/>
                  <a:gd name="T7" fmla="*/ 0 h 1"/>
                  <a:gd name="T8" fmla="*/ 2 w 2"/>
                  <a:gd name="T9" fmla="*/ 0 h 1"/>
                </a:gdLst>
                <a:ahLst/>
                <a:cxnLst>
                  <a:cxn ang="0">
                    <a:pos x="T0" y="T1"/>
                  </a:cxn>
                  <a:cxn ang="0">
                    <a:pos x="T2" y="T3"/>
                  </a:cxn>
                  <a:cxn ang="0">
                    <a:pos x="T4" y="T5"/>
                  </a:cxn>
                  <a:cxn ang="0">
                    <a:pos x="T6" y="T7"/>
                  </a:cxn>
                  <a:cxn ang="0">
                    <a:pos x="T8" y="T9"/>
                  </a:cxn>
                </a:cxnLst>
                <a:rect l="0" t="0" r="r" b="b"/>
                <a:pathLst>
                  <a:path w="2" h="1">
                    <a:moveTo>
                      <a:pt x="2" y="0"/>
                    </a:moveTo>
                    <a:lnTo>
                      <a:pt x="0" y="0"/>
                    </a:lnTo>
                    <a:lnTo>
                      <a:pt x="1" y="1"/>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51" name="Freeform 379">
                <a:extLst>
                  <a:ext uri="{FF2B5EF4-FFF2-40B4-BE49-F238E27FC236}">
                    <a16:creationId xmlns:a16="http://schemas.microsoft.com/office/drawing/2014/main" id="{A9E38C65-F0F5-40D5-9CA0-5FB87E8621CC}"/>
                  </a:ext>
                </a:extLst>
              </p:cNvPr>
              <p:cNvSpPr>
                <a:spLocks/>
              </p:cNvSpPr>
              <p:nvPr/>
            </p:nvSpPr>
            <p:spPr bwMode="auto">
              <a:xfrm>
                <a:off x="7034886" y="4536378"/>
                <a:ext cx="7370" cy="3685"/>
              </a:xfrm>
              <a:custGeom>
                <a:avLst/>
                <a:gdLst>
                  <a:gd name="T0" fmla="*/ 2 w 2"/>
                  <a:gd name="T1" fmla="*/ 0 h 1"/>
                  <a:gd name="T2" fmla="*/ 0 w 2"/>
                  <a:gd name="T3" fmla="*/ 0 h 1"/>
                  <a:gd name="T4" fmla="*/ 1 w 2"/>
                  <a:gd name="T5" fmla="*/ 1 h 1"/>
                  <a:gd name="T6" fmla="*/ 2 w 2"/>
                  <a:gd name="T7" fmla="*/ 0 h 1"/>
                  <a:gd name="T8" fmla="*/ 2 w 2"/>
                  <a:gd name="T9" fmla="*/ 0 h 1"/>
                </a:gdLst>
                <a:ahLst/>
                <a:cxnLst>
                  <a:cxn ang="0">
                    <a:pos x="T0" y="T1"/>
                  </a:cxn>
                  <a:cxn ang="0">
                    <a:pos x="T2" y="T3"/>
                  </a:cxn>
                  <a:cxn ang="0">
                    <a:pos x="T4" y="T5"/>
                  </a:cxn>
                  <a:cxn ang="0">
                    <a:pos x="T6" y="T7"/>
                  </a:cxn>
                  <a:cxn ang="0">
                    <a:pos x="T8" y="T9"/>
                  </a:cxn>
                </a:cxnLst>
                <a:rect l="0" t="0" r="r" b="b"/>
                <a:pathLst>
                  <a:path w="2" h="1">
                    <a:moveTo>
                      <a:pt x="2" y="0"/>
                    </a:moveTo>
                    <a:lnTo>
                      <a:pt x="0" y="0"/>
                    </a:lnTo>
                    <a:lnTo>
                      <a:pt x="1" y="1"/>
                    </a:lnTo>
                    <a:lnTo>
                      <a:pt x="2"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52" name="Freeform 380">
                <a:extLst>
                  <a:ext uri="{FF2B5EF4-FFF2-40B4-BE49-F238E27FC236}">
                    <a16:creationId xmlns:a16="http://schemas.microsoft.com/office/drawing/2014/main" id="{65BE0AD0-DEC8-414F-BEAA-10873525D576}"/>
                  </a:ext>
                </a:extLst>
              </p:cNvPr>
              <p:cNvSpPr>
                <a:spLocks noEditPoints="1"/>
              </p:cNvSpPr>
              <p:nvPr/>
            </p:nvSpPr>
            <p:spPr bwMode="auto">
              <a:xfrm>
                <a:off x="6360510" y="3714597"/>
                <a:ext cx="1614081" cy="917594"/>
              </a:xfrm>
              <a:custGeom>
                <a:avLst/>
                <a:gdLst>
                  <a:gd name="T0" fmla="*/ 317 w 508"/>
                  <a:gd name="T1" fmla="*/ 1 h 289"/>
                  <a:gd name="T2" fmla="*/ 269 w 508"/>
                  <a:gd name="T3" fmla="*/ 10 h 289"/>
                  <a:gd name="T4" fmla="*/ 256 w 508"/>
                  <a:gd name="T5" fmla="*/ 12 h 289"/>
                  <a:gd name="T6" fmla="*/ 239 w 508"/>
                  <a:gd name="T7" fmla="*/ 29 h 289"/>
                  <a:gd name="T8" fmla="*/ 206 w 508"/>
                  <a:gd name="T9" fmla="*/ 38 h 289"/>
                  <a:gd name="T10" fmla="*/ 196 w 508"/>
                  <a:gd name="T11" fmla="*/ 30 h 289"/>
                  <a:gd name="T12" fmla="*/ 184 w 508"/>
                  <a:gd name="T13" fmla="*/ 36 h 289"/>
                  <a:gd name="T14" fmla="*/ 154 w 508"/>
                  <a:gd name="T15" fmla="*/ 30 h 289"/>
                  <a:gd name="T16" fmla="*/ 72 w 508"/>
                  <a:gd name="T17" fmla="*/ 18 h 289"/>
                  <a:gd name="T18" fmla="*/ 46 w 508"/>
                  <a:gd name="T19" fmla="*/ 31 h 289"/>
                  <a:gd name="T20" fmla="*/ 55 w 508"/>
                  <a:gd name="T21" fmla="*/ 57 h 289"/>
                  <a:gd name="T22" fmla="*/ 39 w 508"/>
                  <a:gd name="T23" fmla="*/ 80 h 289"/>
                  <a:gd name="T24" fmla="*/ 17 w 508"/>
                  <a:gd name="T25" fmla="*/ 118 h 289"/>
                  <a:gd name="T26" fmla="*/ 1 w 508"/>
                  <a:gd name="T27" fmla="*/ 140 h 289"/>
                  <a:gd name="T28" fmla="*/ 6 w 508"/>
                  <a:gd name="T29" fmla="*/ 150 h 289"/>
                  <a:gd name="T30" fmla="*/ 28 w 508"/>
                  <a:gd name="T31" fmla="*/ 155 h 289"/>
                  <a:gd name="T32" fmla="*/ 47 w 508"/>
                  <a:gd name="T33" fmla="*/ 159 h 289"/>
                  <a:gd name="T34" fmla="*/ 83 w 508"/>
                  <a:gd name="T35" fmla="*/ 165 h 289"/>
                  <a:gd name="T36" fmla="*/ 132 w 508"/>
                  <a:gd name="T37" fmla="*/ 145 h 289"/>
                  <a:gd name="T38" fmla="*/ 157 w 508"/>
                  <a:gd name="T39" fmla="*/ 144 h 289"/>
                  <a:gd name="T40" fmla="*/ 197 w 508"/>
                  <a:gd name="T41" fmla="*/ 159 h 289"/>
                  <a:gd name="T42" fmla="*/ 207 w 508"/>
                  <a:gd name="T43" fmla="*/ 182 h 289"/>
                  <a:gd name="T44" fmla="*/ 218 w 508"/>
                  <a:gd name="T45" fmla="*/ 200 h 289"/>
                  <a:gd name="T46" fmla="*/ 226 w 508"/>
                  <a:gd name="T47" fmla="*/ 218 h 289"/>
                  <a:gd name="T48" fmla="*/ 215 w 508"/>
                  <a:gd name="T49" fmla="*/ 221 h 289"/>
                  <a:gd name="T50" fmla="*/ 201 w 508"/>
                  <a:gd name="T51" fmla="*/ 221 h 289"/>
                  <a:gd name="T52" fmla="*/ 194 w 508"/>
                  <a:gd name="T53" fmla="*/ 220 h 289"/>
                  <a:gd name="T54" fmla="*/ 187 w 508"/>
                  <a:gd name="T55" fmla="*/ 239 h 289"/>
                  <a:gd name="T56" fmla="*/ 174 w 508"/>
                  <a:gd name="T57" fmla="*/ 252 h 289"/>
                  <a:gd name="T58" fmla="*/ 212 w 508"/>
                  <a:gd name="T59" fmla="*/ 254 h 289"/>
                  <a:gd name="T60" fmla="*/ 226 w 508"/>
                  <a:gd name="T61" fmla="*/ 238 h 289"/>
                  <a:gd name="T62" fmla="*/ 228 w 508"/>
                  <a:gd name="T63" fmla="*/ 221 h 289"/>
                  <a:gd name="T64" fmla="*/ 239 w 508"/>
                  <a:gd name="T65" fmla="*/ 218 h 289"/>
                  <a:gd name="T66" fmla="*/ 267 w 508"/>
                  <a:gd name="T67" fmla="*/ 204 h 289"/>
                  <a:gd name="T68" fmla="*/ 276 w 508"/>
                  <a:gd name="T69" fmla="*/ 200 h 289"/>
                  <a:gd name="T70" fmla="*/ 274 w 508"/>
                  <a:gd name="T71" fmla="*/ 198 h 289"/>
                  <a:gd name="T72" fmla="*/ 274 w 508"/>
                  <a:gd name="T73" fmla="*/ 196 h 289"/>
                  <a:gd name="T74" fmla="*/ 278 w 508"/>
                  <a:gd name="T75" fmla="*/ 201 h 289"/>
                  <a:gd name="T76" fmla="*/ 274 w 508"/>
                  <a:gd name="T77" fmla="*/ 214 h 289"/>
                  <a:gd name="T78" fmla="*/ 276 w 508"/>
                  <a:gd name="T79" fmla="*/ 221 h 289"/>
                  <a:gd name="T80" fmla="*/ 290 w 508"/>
                  <a:gd name="T81" fmla="*/ 229 h 289"/>
                  <a:gd name="T82" fmla="*/ 318 w 508"/>
                  <a:gd name="T83" fmla="*/ 231 h 289"/>
                  <a:gd name="T84" fmla="*/ 313 w 508"/>
                  <a:gd name="T85" fmla="*/ 242 h 289"/>
                  <a:gd name="T86" fmla="*/ 309 w 508"/>
                  <a:gd name="T87" fmla="*/ 261 h 289"/>
                  <a:gd name="T88" fmla="*/ 318 w 508"/>
                  <a:gd name="T89" fmla="*/ 285 h 289"/>
                  <a:gd name="T90" fmla="*/ 388 w 508"/>
                  <a:gd name="T91" fmla="*/ 268 h 289"/>
                  <a:gd name="T92" fmla="*/ 400 w 508"/>
                  <a:gd name="T93" fmla="*/ 267 h 289"/>
                  <a:gd name="T94" fmla="*/ 393 w 508"/>
                  <a:gd name="T95" fmla="*/ 256 h 289"/>
                  <a:gd name="T96" fmla="*/ 360 w 508"/>
                  <a:gd name="T97" fmla="*/ 236 h 289"/>
                  <a:gd name="T98" fmla="*/ 363 w 508"/>
                  <a:gd name="T99" fmla="*/ 229 h 289"/>
                  <a:gd name="T100" fmla="*/ 406 w 508"/>
                  <a:gd name="T101" fmla="*/ 206 h 289"/>
                  <a:gd name="T102" fmla="*/ 431 w 508"/>
                  <a:gd name="T103" fmla="*/ 199 h 289"/>
                  <a:gd name="T104" fmla="*/ 455 w 508"/>
                  <a:gd name="T105" fmla="*/ 193 h 289"/>
                  <a:gd name="T106" fmla="*/ 494 w 508"/>
                  <a:gd name="T107" fmla="*/ 165 h 289"/>
                  <a:gd name="T108" fmla="*/ 493 w 508"/>
                  <a:gd name="T109" fmla="*/ 136 h 289"/>
                  <a:gd name="T110" fmla="*/ 501 w 508"/>
                  <a:gd name="T111" fmla="*/ 106 h 289"/>
                  <a:gd name="T112" fmla="*/ 469 w 508"/>
                  <a:gd name="T113" fmla="*/ 93 h 289"/>
                  <a:gd name="T114" fmla="*/ 432 w 508"/>
                  <a:gd name="T115" fmla="*/ 73 h 289"/>
                  <a:gd name="T116" fmla="*/ 371 w 508"/>
                  <a:gd name="T117" fmla="*/ 57 h 289"/>
                  <a:gd name="T118" fmla="*/ 342 w 508"/>
                  <a:gd name="T119" fmla="*/ 43 h 289"/>
                  <a:gd name="T120" fmla="*/ 328 w 508"/>
                  <a:gd name="T121" fmla="*/ 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8" h="289">
                    <a:moveTo>
                      <a:pt x="275" y="197"/>
                    </a:moveTo>
                    <a:cubicBezTo>
                      <a:pt x="275" y="197"/>
                      <a:pt x="275" y="197"/>
                      <a:pt x="275" y="197"/>
                    </a:cubicBezTo>
                    <a:cubicBezTo>
                      <a:pt x="275" y="197"/>
                      <a:pt x="275" y="197"/>
                      <a:pt x="275" y="197"/>
                    </a:cubicBezTo>
                    <a:cubicBezTo>
                      <a:pt x="275" y="197"/>
                      <a:pt x="275" y="197"/>
                      <a:pt x="275" y="197"/>
                    </a:cubicBezTo>
                    <a:moveTo>
                      <a:pt x="77" y="168"/>
                    </a:moveTo>
                    <a:cubicBezTo>
                      <a:pt x="77" y="168"/>
                      <a:pt x="77" y="168"/>
                      <a:pt x="77" y="168"/>
                    </a:cubicBezTo>
                    <a:cubicBezTo>
                      <a:pt x="77" y="168"/>
                      <a:pt x="77" y="168"/>
                      <a:pt x="77" y="168"/>
                    </a:cubicBezTo>
                    <a:moveTo>
                      <a:pt x="325" y="0"/>
                    </a:moveTo>
                    <a:cubicBezTo>
                      <a:pt x="323" y="0"/>
                      <a:pt x="320" y="0"/>
                      <a:pt x="317" y="1"/>
                    </a:cubicBezTo>
                    <a:cubicBezTo>
                      <a:pt x="312" y="2"/>
                      <a:pt x="308" y="3"/>
                      <a:pt x="304" y="3"/>
                    </a:cubicBezTo>
                    <a:cubicBezTo>
                      <a:pt x="301" y="3"/>
                      <a:pt x="299" y="3"/>
                      <a:pt x="296" y="2"/>
                    </a:cubicBezTo>
                    <a:cubicBezTo>
                      <a:pt x="296" y="2"/>
                      <a:pt x="296" y="2"/>
                      <a:pt x="295" y="2"/>
                    </a:cubicBezTo>
                    <a:cubicBezTo>
                      <a:pt x="292" y="2"/>
                      <a:pt x="290" y="5"/>
                      <a:pt x="288" y="8"/>
                    </a:cubicBezTo>
                    <a:cubicBezTo>
                      <a:pt x="287" y="9"/>
                      <a:pt x="287" y="9"/>
                      <a:pt x="287" y="9"/>
                    </a:cubicBezTo>
                    <a:cubicBezTo>
                      <a:pt x="286" y="12"/>
                      <a:pt x="283" y="12"/>
                      <a:pt x="279" y="12"/>
                    </a:cubicBezTo>
                    <a:cubicBezTo>
                      <a:pt x="276" y="12"/>
                      <a:pt x="273" y="12"/>
                      <a:pt x="271" y="11"/>
                    </a:cubicBezTo>
                    <a:cubicBezTo>
                      <a:pt x="269" y="10"/>
                      <a:pt x="269" y="10"/>
                      <a:pt x="269" y="10"/>
                    </a:cubicBezTo>
                    <a:cubicBezTo>
                      <a:pt x="269" y="10"/>
                      <a:pt x="269" y="10"/>
                      <a:pt x="269" y="10"/>
                    </a:cubicBezTo>
                    <a:cubicBezTo>
                      <a:pt x="267" y="10"/>
                      <a:pt x="267" y="10"/>
                      <a:pt x="267" y="10"/>
                    </a:cubicBezTo>
                    <a:cubicBezTo>
                      <a:pt x="267" y="10"/>
                      <a:pt x="267" y="10"/>
                      <a:pt x="267" y="10"/>
                    </a:cubicBezTo>
                    <a:cubicBezTo>
                      <a:pt x="266" y="10"/>
                      <a:pt x="266" y="10"/>
                      <a:pt x="265" y="10"/>
                    </a:cubicBezTo>
                    <a:cubicBezTo>
                      <a:pt x="264" y="10"/>
                      <a:pt x="263" y="10"/>
                      <a:pt x="263" y="10"/>
                    </a:cubicBezTo>
                    <a:cubicBezTo>
                      <a:pt x="263" y="10"/>
                      <a:pt x="262" y="10"/>
                      <a:pt x="262" y="10"/>
                    </a:cubicBezTo>
                    <a:cubicBezTo>
                      <a:pt x="261" y="10"/>
                      <a:pt x="260" y="10"/>
                      <a:pt x="260" y="10"/>
                    </a:cubicBezTo>
                    <a:cubicBezTo>
                      <a:pt x="259" y="11"/>
                      <a:pt x="259" y="11"/>
                      <a:pt x="259" y="11"/>
                    </a:cubicBezTo>
                    <a:cubicBezTo>
                      <a:pt x="258" y="11"/>
                      <a:pt x="257" y="12"/>
                      <a:pt x="256" y="12"/>
                    </a:cubicBezTo>
                    <a:cubicBezTo>
                      <a:pt x="256" y="12"/>
                      <a:pt x="256" y="12"/>
                      <a:pt x="256" y="12"/>
                    </a:cubicBezTo>
                    <a:cubicBezTo>
                      <a:pt x="255" y="12"/>
                      <a:pt x="254" y="12"/>
                      <a:pt x="253" y="12"/>
                    </a:cubicBezTo>
                    <a:cubicBezTo>
                      <a:pt x="252" y="11"/>
                      <a:pt x="252" y="11"/>
                      <a:pt x="252" y="11"/>
                    </a:cubicBezTo>
                    <a:cubicBezTo>
                      <a:pt x="249" y="11"/>
                      <a:pt x="248" y="13"/>
                      <a:pt x="245" y="17"/>
                    </a:cubicBezTo>
                    <a:cubicBezTo>
                      <a:pt x="243" y="19"/>
                      <a:pt x="243" y="19"/>
                      <a:pt x="243" y="19"/>
                    </a:cubicBezTo>
                    <a:cubicBezTo>
                      <a:pt x="242" y="20"/>
                      <a:pt x="242" y="20"/>
                      <a:pt x="241" y="21"/>
                    </a:cubicBezTo>
                    <a:cubicBezTo>
                      <a:pt x="241" y="21"/>
                      <a:pt x="241" y="21"/>
                      <a:pt x="241" y="22"/>
                    </a:cubicBezTo>
                    <a:cubicBezTo>
                      <a:pt x="241" y="22"/>
                      <a:pt x="241" y="22"/>
                      <a:pt x="241" y="22"/>
                    </a:cubicBezTo>
                    <a:cubicBezTo>
                      <a:pt x="240" y="23"/>
                      <a:pt x="240" y="23"/>
                      <a:pt x="239" y="24"/>
                    </a:cubicBezTo>
                    <a:cubicBezTo>
                      <a:pt x="239" y="26"/>
                      <a:pt x="238" y="27"/>
                      <a:pt x="239" y="29"/>
                    </a:cubicBezTo>
                    <a:cubicBezTo>
                      <a:pt x="239" y="30"/>
                      <a:pt x="239" y="31"/>
                      <a:pt x="239" y="32"/>
                    </a:cubicBezTo>
                    <a:cubicBezTo>
                      <a:pt x="240" y="35"/>
                      <a:pt x="240" y="37"/>
                      <a:pt x="239" y="41"/>
                    </a:cubicBezTo>
                    <a:cubicBezTo>
                      <a:pt x="237" y="44"/>
                      <a:pt x="237" y="44"/>
                      <a:pt x="237" y="44"/>
                    </a:cubicBezTo>
                    <a:cubicBezTo>
                      <a:pt x="235" y="42"/>
                      <a:pt x="235" y="42"/>
                      <a:pt x="235" y="42"/>
                    </a:cubicBezTo>
                    <a:cubicBezTo>
                      <a:pt x="234" y="41"/>
                      <a:pt x="233" y="40"/>
                      <a:pt x="232" y="39"/>
                    </a:cubicBezTo>
                    <a:cubicBezTo>
                      <a:pt x="230" y="37"/>
                      <a:pt x="229" y="36"/>
                      <a:pt x="227" y="35"/>
                    </a:cubicBezTo>
                    <a:cubicBezTo>
                      <a:pt x="226" y="34"/>
                      <a:pt x="226" y="34"/>
                      <a:pt x="225" y="34"/>
                    </a:cubicBezTo>
                    <a:cubicBezTo>
                      <a:pt x="222" y="34"/>
                      <a:pt x="219" y="35"/>
                      <a:pt x="215" y="36"/>
                    </a:cubicBezTo>
                    <a:cubicBezTo>
                      <a:pt x="212" y="37"/>
                      <a:pt x="208" y="38"/>
                      <a:pt x="206" y="38"/>
                    </a:cubicBezTo>
                    <a:cubicBezTo>
                      <a:pt x="205" y="38"/>
                      <a:pt x="204" y="38"/>
                      <a:pt x="203" y="38"/>
                    </a:cubicBezTo>
                    <a:cubicBezTo>
                      <a:pt x="202" y="38"/>
                      <a:pt x="201" y="37"/>
                      <a:pt x="200" y="36"/>
                    </a:cubicBezTo>
                    <a:cubicBezTo>
                      <a:pt x="200" y="36"/>
                      <a:pt x="200" y="36"/>
                      <a:pt x="200" y="36"/>
                    </a:cubicBezTo>
                    <a:cubicBezTo>
                      <a:pt x="199" y="35"/>
                      <a:pt x="199" y="35"/>
                      <a:pt x="199" y="35"/>
                    </a:cubicBezTo>
                    <a:cubicBezTo>
                      <a:pt x="200" y="33"/>
                      <a:pt x="200" y="33"/>
                      <a:pt x="200" y="33"/>
                    </a:cubicBezTo>
                    <a:cubicBezTo>
                      <a:pt x="200" y="33"/>
                      <a:pt x="200" y="33"/>
                      <a:pt x="200" y="33"/>
                    </a:cubicBezTo>
                    <a:cubicBezTo>
                      <a:pt x="199" y="34"/>
                      <a:pt x="199" y="34"/>
                      <a:pt x="199" y="34"/>
                    </a:cubicBezTo>
                    <a:cubicBezTo>
                      <a:pt x="198" y="34"/>
                      <a:pt x="198" y="33"/>
                      <a:pt x="197" y="32"/>
                    </a:cubicBezTo>
                    <a:cubicBezTo>
                      <a:pt x="197" y="31"/>
                      <a:pt x="196" y="30"/>
                      <a:pt x="196" y="30"/>
                    </a:cubicBezTo>
                    <a:cubicBezTo>
                      <a:pt x="195" y="29"/>
                      <a:pt x="195" y="29"/>
                      <a:pt x="195" y="29"/>
                    </a:cubicBezTo>
                    <a:cubicBezTo>
                      <a:pt x="194" y="29"/>
                      <a:pt x="194" y="29"/>
                      <a:pt x="194" y="29"/>
                    </a:cubicBezTo>
                    <a:cubicBezTo>
                      <a:pt x="194" y="29"/>
                      <a:pt x="194" y="29"/>
                      <a:pt x="194" y="29"/>
                    </a:cubicBezTo>
                    <a:cubicBezTo>
                      <a:pt x="194" y="29"/>
                      <a:pt x="194" y="29"/>
                      <a:pt x="194" y="29"/>
                    </a:cubicBezTo>
                    <a:cubicBezTo>
                      <a:pt x="194" y="29"/>
                      <a:pt x="193" y="30"/>
                      <a:pt x="192" y="30"/>
                    </a:cubicBezTo>
                    <a:cubicBezTo>
                      <a:pt x="192" y="31"/>
                      <a:pt x="191" y="31"/>
                      <a:pt x="190" y="31"/>
                    </a:cubicBezTo>
                    <a:cubicBezTo>
                      <a:pt x="189" y="32"/>
                      <a:pt x="189" y="32"/>
                      <a:pt x="187" y="35"/>
                    </a:cubicBezTo>
                    <a:cubicBezTo>
                      <a:pt x="186" y="37"/>
                      <a:pt x="186" y="37"/>
                      <a:pt x="186" y="37"/>
                    </a:cubicBezTo>
                    <a:cubicBezTo>
                      <a:pt x="184" y="36"/>
                      <a:pt x="184" y="36"/>
                      <a:pt x="184" y="36"/>
                    </a:cubicBezTo>
                    <a:cubicBezTo>
                      <a:pt x="182" y="35"/>
                      <a:pt x="181" y="35"/>
                      <a:pt x="179" y="34"/>
                    </a:cubicBezTo>
                    <a:cubicBezTo>
                      <a:pt x="176" y="32"/>
                      <a:pt x="173" y="31"/>
                      <a:pt x="171" y="28"/>
                    </a:cubicBezTo>
                    <a:cubicBezTo>
                      <a:pt x="171" y="28"/>
                      <a:pt x="171" y="28"/>
                      <a:pt x="171" y="28"/>
                    </a:cubicBezTo>
                    <a:cubicBezTo>
                      <a:pt x="170" y="28"/>
                      <a:pt x="170" y="28"/>
                      <a:pt x="169" y="28"/>
                    </a:cubicBezTo>
                    <a:cubicBezTo>
                      <a:pt x="168" y="28"/>
                      <a:pt x="167" y="29"/>
                      <a:pt x="166" y="29"/>
                    </a:cubicBezTo>
                    <a:cubicBezTo>
                      <a:pt x="161" y="29"/>
                      <a:pt x="161" y="29"/>
                      <a:pt x="156" y="33"/>
                    </a:cubicBezTo>
                    <a:cubicBezTo>
                      <a:pt x="144" y="45"/>
                      <a:pt x="144" y="45"/>
                      <a:pt x="144" y="45"/>
                    </a:cubicBezTo>
                    <a:cubicBezTo>
                      <a:pt x="153" y="30"/>
                      <a:pt x="153" y="30"/>
                      <a:pt x="153" y="30"/>
                    </a:cubicBezTo>
                    <a:cubicBezTo>
                      <a:pt x="154" y="30"/>
                      <a:pt x="154" y="30"/>
                      <a:pt x="154" y="30"/>
                    </a:cubicBezTo>
                    <a:cubicBezTo>
                      <a:pt x="153" y="29"/>
                      <a:pt x="151" y="28"/>
                      <a:pt x="146" y="27"/>
                    </a:cubicBezTo>
                    <a:cubicBezTo>
                      <a:pt x="145" y="27"/>
                      <a:pt x="144" y="27"/>
                      <a:pt x="143" y="27"/>
                    </a:cubicBezTo>
                    <a:cubicBezTo>
                      <a:pt x="107" y="20"/>
                      <a:pt x="107" y="20"/>
                      <a:pt x="107" y="20"/>
                    </a:cubicBezTo>
                    <a:cubicBezTo>
                      <a:pt x="100" y="19"/>
                      <a:pt x="94" y="17"/>
                      <a:pt x="88" y="17"/>
                    </a:cubicBezTo>
                    <a:cubicBezTo>
                      <a:pt x="87" y="16"/>
                      <a:pt x="87" y="16"/>
                      <a:pt x="86" y="16"/>
                    </a:cubicBezTo>
                    <a:cubicBezTo>
                      <a:pt x="85" y="16"/>
                      <a:pt x="85" y="16"/>
                      <a:pt x="85" y="16"/>
                    </a:cubicBezTo>
                    <a:cubicBezTo>
                      <a:pt x="83" y="17"/>
                      <a:pt x="81" y="17"/>
                      <a:pt x="79" y="17"/>
                    </a:cubicBezTo>
                    <a:cubicBezTo>
                      <a:pt x="78" y="18"/>
                      <a:pt x="76" y="18"/>
                      <a:pt x="74" y="18"/>
                    </a:cubicBezTo>
                    <a:cubicBezTo>
                      <a:pt x="73" y="18"/>
                      <a:pt x="72" y="18"/>
                      <a:pt x="72" y="18"/>
                    </a:cubicBezTo>
                    <a:cubicBezTo>
                      <a:pt x="71" y="18"/>
                      <a:pt x="70" y="18"/>
                      <a:pt x="70" y="18"/>
                    </a:cubicBezTo>
                    <a:cubicBezTo>
                      <a:pt x="69" y="18"/>
                      <a:pt x="68" y="18"/>
                      <a:pt x="68" y="18"/>
                    </a:cubicBezTo>
                    <a:cubicBezTo>
                      <a:pt x="66" y="18"/>
                      <a:pt x="65" y="18"/>
                      <a:pt x="64" y="19"/>
                    </a:cubicBezTo>
                    <a:cubicBezTo>
                      <a:pt x="62" y="19"/>
                      <a:pt x="60" y="21"/>
                      <a:pt x="59" y="23"/>
                    </a:cubicBezTo>
                    <a:cubicBezTo>
                      <a:pt x="57" y="25"/>
                      <a:pt x="56" y="27"/>
                      <a:pt x="54" y="28"/>
                    </a:cubicBezTo>
                    <a:cubicBezTo>
                      <a:pt x="53" y="28"/>
                      <a:pt x="52" y="29"/>
                      <a:pt x="51" y="29"/>
                    </a:cubicBezTo>
                    <a:cubicBezTo>
                      <a:pt x="50" y="30"/>
                      <a:pt x="50" y="30"/>
                      <a:pt x="50" y="30"/>
                    </a:cubicBezTo>
                    <a:cubicBezTo>
                      <a:pt x="49" y="30"/>
                      <a:pt x="48" y="31"/>
                      <a:pt x="47" y="31"/>
                    </a:cubicBezTo>
                    <a:cubicBezTo>
                      <a:pt x="46" y="31"/>
                      <a:pt x="46" y="31"/>
                      <a:pt x="46" y="31"/>
                    </a:cubicBezTo>
                    <a:cubicBezTo>
                      <a:pt x="45" y="31"/>
                      <a:pt x="44" y="32"/>
                      <a:pt x="43" y="32"/>
                    </a:cubicBezTo>
                    <a:cubicBezTo>
                      <a:pt x="42" y="32"/>
                      <a:pt x="42" y="32"/>
                      <a:pt x="42" y="32"/>
                    </a:cubicBezTo>
                    <a:cubicBezTo>
                      <a:pt x="43" y="34"/>
                      <a:pt x="44" y="35"/>
                      <a:pt x="44" y="37"/>
                    </a:cubicBezTo>
                    <a:cubicBezTo>
                      <a:pt x="46" y="42"/>
                      <a:pt x="48" y="46"/>
                      <a:pt x="51" y="50"/>
                    </a:cubicBezTo>
                    <a:cubicBezTo>
                      <a:pt x="51" y="50"/>
                      <a:pt x="51" y="50"/>
                      <a:pt x="51" y="50"/>
                    </a:cubicBezTo>
                    <a:cubicBezTo>
                      <a:pt x="52" y="51"/>
                      <a:pt x="52" y="51"/>
                      <a:pt x="53" y="52"/>
                    </a:cubicBezTo>
                    <a:cubicBezTo>
                      <a:pt x="54" y="52"/>
                      <a:pt x="54" y="53"/>
                      <a:pt x="55" y="53"/>
                    </a:cubicBezTo>
                    <a:cubicBezTo>
                      <a:pt x="59" y="55"/>
                      <a:pt x="59" y="55"/>
                      <a:pt x="59" y="55"/>
                    </a:cubicBezTo>
                    <a:cubicBezTo>
                      <a:pt x="55" y="57"/>
                      <a:pt x="55" y="57"/>
                      <a:pt x="55" y="57"/>
                    </a:cubicBezTo>
                    <a:cubicBezTo>
                      <a:pt x="55" y="57"/>
                      <a:pt x="54" y="57"/>
                      <a:pt x="54" y="58"/>
                    </a:cubicBezTo>
                    <a:cubicBezTo>
                      <a:pt x="53" y="58"/>
                      <a:pt x="53" y="58"/>
                      <a:pt x="53" y="58"/>
                    </a:cubicBezTo>
                    <a:cubicBezTo>
                      <a:pt x="52" y="58"/>
                      <a:pt x="52" y="58"/>
                      <a:pt x="52" y="58"/>
                    </a:cubicBezTo>
                    <a:cubicBezTo>
                      <a:pt x="52" y="58"/>
                      <a:pt x="52" y="58"/>
                      <a:pt x="52" y="58"/>
                    </a:cubicBezTo>
                    <a:cubicBezTo>
                      <a:pt x="52" y="58"/>
                      <a:pt x="53" y="59"/>
                      <a:pt x="53" y="60"/>
                    </a:cubicBezTo>
                    <a:cubicBezTo>
                      <a:pt x="54" y="61"/>
                      <a:pt x="55" y="62"/>
                      <a:pt x="56" y="64"/>
                    </a:cubicBezTo>
                    <a:cubicBezTo>
                      <a:pt x="56" y="66"/>
                      <a:pt x="54" y="72"/>
                      <a:pt x="52" y="73"/>
                    </a:cubicBezTo>
                    <a:cubicBezTo>
                      <a:pt x="50" y="76"/>
                      <a:pt x="46" y="77"/>
                      <a:pt x="42" y="79"/>
                    </a:cubicBezTo>
                    <a:cubicBezTo>
                      <a:pt x="41" y="79"/>
                      <a:pt x="40" y="80"/>
                      <a:pt x="39" y="80"/>
                    </a:cubicBezTo>
                    <a:cubicBezTo>
                      <a:pt x="37" y="81"/>
                      <a:pt x="34" y="84"/>
                      <a:pt x="33" y="86"/>
                    </a:cubicBezTo>
                    <a:cubicBezTo>
                      <a:pt x="32" y="87"/>
                      <a:pt x="31" y="88"/>
                      <a:pt x="30" y="89"/>
                    </a:cubicBezTo>
                    <a:cubicBezTo>
                      <a:pt x="15" y="104"/>
                      <a:pt x="15" y="104"/>
                      <a:pt x="15" y="104"/>
                    </a:cubicBezTo>
                    <a:cubicBezTo>
                      <a:pt x="14" y="105"/>
                      <a:pt x="15" y="110"/>
                      <a:pt x="15" y="112"/>
                    </a:cubicBezTo>
                    <a:cubicBezTo>
                      <a:pt x="16" y="113"/>
                      <a:pt x="16" y="115"/>
                      <a:pt x="16" y="115"/>
                    </a:cubicBezTo>
                    <a:cubicBezTo>
                      <a:pt x="16" y="116"/>
                      <a:pt x="16" y="116"/>
                      <a:pt x="16" y="116"/>
                    </a:cubicBezTo>
                    <a:cubicBezTo>
                      <a:pt x="16" y="117"/>
                      <a:pt x="16" y="117"/>
                      <a:pt x="16" y="117"/>
                    </a:cubicBezTo>
                    <a:cubicBezTo>
                      <a:pt x="18" y="116"/>
                      <a:pt x="18" y="116"/>
                      <a:pt x="18" y="116"/>
                    </a:cubicBezTo>
                    <a:cubicBezTo>
                      <a:pt x="17" y="118"/>
                      <a:pt x="17" y="118"/>
                      <a:pt x="17" y="118"/>
                    </a:cubicBezTo>
                    <a:cubicBezTo>
                      <a:pt x="17" y="119"/>
                      <a:pt x="18" y="120"/>
                      <a:pt x="19" y="122"/>
                    </a:cubicBezTo>
                    <a:cubicBezTo>
                      <a:pt x="25" y="128"/>
                      <a:pt x="25" y="128"/>
                      <a:pt x="25" y="128"/>
                    </a:cubicBezTo>
                    <a:cubicBezTo>
                      <a:pt x="18" y="126"/>
                      <a:pt x="18" y="126"/>
                      <a:pt x="18" y="126"/>
                    </a:cubicBezTo>
                    <a:cubicBezTo>
                      <a:pt x="16" y="125"/>
                      <a:pt x="14" y="125"/>
                      <a:pt x="12" y="124"/>
                    </a:cubicBezTo>
                    <a:cubicBezTo>
                      <a:pt x="10" y="124"/>
                      <a:pt x="10" y="124"/>
                      <a:pt x="10" y="124"/>
                    </a:cubicBezTo>
                    <a:cubicBezTo>
                      <a:pt x="9" y="125"/>
                      <a:pt x="8" y="128"/>
                      <a:pt x="7" y="129"/>
                    </a:cubicBezTo>
                    <a:cubicBezTo>
                      <a:pt x="7" y="129"/>
                      <a:pt x="7" y="130"/>
                      <a:pt x="7" y="130"/>
                    </a:cubicBezTo>
                    <a:cubicBezTo>
                      <a:pt x="6" y="131"/>
                      <a:pt x="6" y="131"/>
                      <a:pt x="5" y="132"/>
                    </a:cubicBezTo>
                    <a:cubicBezTo>
                      <a:pt x="3" y="135"/>
                      <a:pt x="2" y="137"/>
                      <a:pt x="1" y="140"/>
                    </a:cubicBezTo>
                    <a:cubicBezTo>
                      <a:pt x="0" y="141"/>
                      <a:pt x="0" y="141"/>
                      <a:pt x="0" y="141"/>
                    </a:cubicBezTo>
                    <a:cubicBezTo>
                      <a:pt x="0" y="141"/>
                      <a:pt x="0" y="142"/>
                      <a:pt x="0" y="143"/>
                    </a:cubicBezTo>
                    <a:cubicBezTo>
                      <a:pt x="0" y="144"/>
                      <a:pt x="0" y="144"/>
                      <a:pt x="0" y="144"/>
                    </a:cubicBezTo>
                    <a:cubicBezTo>
                      <a:pt x="0" y="144"/>
                      <a:pt x="0" y="144"/>
                      <a:pt x="0" y="144"/>
                    </a:cubicBezTo>
                    <a:cubicBezTo>
                      <a:pt x="0" y="144"/>
                      <a:pt x="0" y="144"/>
                      <a:pt x="0" y="144"/>
                    </a:cubicBezTo>
                    <a:cubicBezTo>
                      <a:pt x="1" y="144"/>
                      <a:pt x="1" y="144"/>
                      <a:pt x="1" y="144"/>
                    </a:cubicBezTo>
                    <a:cubicBezTo>
                      <a:pt x="0" y="145"/>
                      <a:pt x="0" y="145"/>
                      <a:pt x="0" y="145"/>
                    </a:cubicBezTo>
                    <a:cubicBezTo>
                      <a:pt x="1" y="145"/>
                      <a:pt x="1" y="145"/>
                      <a:pt x="1" y="145"/>
                    </a:cubicBezTo>
                    <a:cubicBezTo>
                      <a:pt x="2" y="147"/>
                      <a:pt x="4" y="148"/>
                      <a:pt x="6" y="150"/>
                    </a:cubicBezTo>
                    <a:cubicBezTo>
                      <a:pt x="7" y="150"/>
                      <a:pt x="8" y="151"/>
                      <a:pt x="9" y="152"/>
                    </a:cubicBezTo>
                    <a:cubicBezTo>
                      <a:pt x="10" y="152"/>
                      <a:pt x="11" y="153"/>
                      <a:pt x="12" y="154"/>
                    </a:cubicBezTo>
                    <a:cubicBezTo>
                      <a:pt x="14" y="156"/>
                      <a:pt x="16" y="159"/>
                      <a:pt x="18" y="159"/>
                    </a:cubicBezTo>
                    <a:cubicBezTo>
                      <a:pt x="19" y="159"/>
                      <a:pt x="19" y="159"/>
                      <a:pt x="19" y="159"/>
                    </a:cubicBezTo>
                    <a:cubicBezTo>
                      <a:pt x="19" y="159"/>
                      <a:pt x="19" y="159"/>
                      <a:pt x="19" y="159"/>
                    </a:cubicBezTo>
                    <a:cubicBezTo>
                      <a:pt x="21" y="158"/>
                      <a:pt x="23" y="157"/>
                      <a:pt x="24" y="156"/>
                    </a:cubicBezTo>
                    <a:cubicBezTo>
                      <a:pt x="25" y="156"/>
                      <a:pt x="26" y="155"/>
                      <a:pt x="27" y="155"/>
                    </a:cubicBezTo>
                    <a:cubicBezTo>
                      <a:pt x="27" y="155"/>
                      <a:pt x="27" y="155"/>
                      <a:pt x="27" y="155"/>
                    </a:cubicBezTo>
                    <a:cubicBezTo>
                      <a:pt x="28" y="155"/>
                      <a:pt x="28" y="155"/>
                      <a:pt x="28" y="155"/>
                    </a:cubicBezTo>
                    <a:cubicBezTo>
                      <a:pt x="28" y="155"/>
                      <a:pt x="28" y="155"/>
                      <a:pt x="29" y="155"/>
                    </a:cubicBezTo>
                    <a:cubicBezTo>
                      <a:pt x="29" y="155"/>
                      <a:pt x="30" y="156"/>
                      <a:pt x="30" y="156"/>
                    </a:cubicBezTo>
                    <a:cubicBezTo>
                      <a:pt x="30" y="156"/>
                      <a:pt x="30" y="156"/>
                      <a:pt x="30" y="156"/>
                    </a:cubicBezTo>
                    <a:cubicBezTo>
                      <a:pt x="32" y="156"/>
                      <a:pt x="33" y="157"/>
                      <a:pt x="34" y="158"/>
                    </a:cubicBezTo>
                    <a:cubicBezTo>
                      <a:pt x="35" y="159"/>
                      <a:pt x="35" y="159"/>
                      <a:pt x="35" y="159"/>
                    </a:cubicBezTo>
                    <a:cubicBezTo>
                      <a:pt x="36" y="159"/>
                      <a:pt x="36" y="159"/>
                      <a:pt x="36" y="159"/>
                    </a:cubicBezTo>
                    <a:cubicBezTo>
                      <a:pt x="37" y="158"/>
                      <a:pt x="38" y="158"/>
                      <a:pt x="39" y="158"/>
                    </a:cubicBezTo>
                    <a:cubicBezTo>
                      <a:pt x="41" y="158"/>
                      <a:pt x="43" y="158"/>
                      <a:pt x="45" y="159"/>
                    </a:cubicBezTo>
                    <a:cubicBezTo>
                      <a:pt x="46" y="159"/>
                      <a:pt x="46" y="159"/>
                      <a:pt x="47" y="159"/>
                    </a:cubicBezTo>
                    <a:cubicBezTo>
                      <a:pt x="54" y="160"/>
                      <a:pt x="54" y="160"/>
                      <a:pt x="54" y="160"/>
                    </a:cubicBezTo>
                    <a:cubicBezTo>
                      <a:pt x="55" y="160"/>
                      <a:pt x="56" y="160"/>
                      <a:pt x="57" y="160"/>
                    </a:cubicBezTo>
                    <a:cubicBezTo>
                      <a:pt x="57" y="160"/>
                      <a:pt x="58" y="160"/>
                      <a:pt x="58" y="160"/>
                    </a:cubicBezTo>
                    <a:cubicBezTo>
                      <a:pt x="59" y="160"/>
                      <a:pt x="59" y="160"/>
                      <a:pt x="59" y="160"/>
                    </a:cubicBezTo>
                    <a:cubicBezTo>
                      <a:pt x="62" y="160"/>
                      <a:pt x="65" y="160"/>
                      <a:pt x="67" y="161"/>
                    </a:cubicBezTo>
                    <a:cubicBezTo>
                      <a:pt x="70" y="162"/>
                      <a:pt x="72" y="164"/>
                      <a:pt x="73" y="165"/>
                    </a:cubicBezTo>
                    <a:cubicBezTo>
                      <a:pt x="75" y="167"/>
                      <a:pt x="76" y="168"/>
                      <a:pt x="77" y="168"/>
                    </a:cubicBezTo>
                    <a:cubicBezTo>
                      <a:pt x="77" y="168"/>
                      <a:pt x="78" y="168"/>
                      <a:pt x="79" y="167"/>
                    </a:cubicBezTo>
                    <a:cubicBezTo>
                      <a:pt x="83" y="165"/>
                      <a:pt x="83" y="165"/>
                      <a:pt x="83" y="165"/>
                    </a:cubicBezTo>
                    <a:cubicBezTo>
                      <a:pt x="84" y="163"/>
                      <a:pt x="87" y="162"/>
                      <a:pt x="89" y="162"/>
                    </a:cubicBezTo>
                    <a:cubicBezTo>
                      <a:pt x="90" y="161"/>
                      <a:pt x="91" y="161"/>
                      <a:pt x="92" y="161"/>
                    </a:cubicBezTo>
                    <a:cubicBezTo>
                      <a:pt x="92" y="161"/>
                      <a:pt x="92" y="161"/>
                      <a:pt x="92" y="161"/>
                    </a:cubicBezTo>
                    <a:cubicBezTo>
                      <a:pt x="94" y="161"/>
                      <a:pt x="96" y="161"/>
                      <a:pt x="98" y="161"/>
                    </a:cubicBezTo>
                    <a:cubicBezTo>
                      <a:pt x="102" y="161"/>
                      <a:pt x="106" y="161"/>
                      <a:pt x="109" y="160"/>
                    </a:cubicBezTo>
                    <a:cubicBezTo>
                      <a:pt x="109" y="159"/>
                      <a:pt x="110" y="159"/>
                      <a:pt x="110" y="159"/>
                    </a:cubicBezTo>
                    <a:cubicBezTo>
                      <a:pt x="123" y="150"/>
                      <a:pt x="123" y="150"/>
                      <a:pt x="123" y="150"/>
                    </a:cubicBezTo>
                    <a:cubicBezTo>
                      <a:pt x="126" y="149"/>
                      <a:pt x="126" y="149"/>
                      <a:pt x="126" y="149"/>
                    </a:cubicBezTo>
                    <a:cubicBezTo>
                      <a:pt x="127" y="147"/>
                      <a:pt x="130" y="145"/>
                      <a:pt x="132" y="145"/>
                    </a:cubicBezTo>
                    <a:cubicBezTo>
                      <a:pt x="133" y="145"/>
                      <a:pt x="134" y="145"/>
                      <a:pt x="135" y="145"/>
                    </a:cubicBezTo>
                    <a:cubicBezTo>
                      <a:pt x="136" y="145"/>
                      <a:pt x="137" y="145"/>
                      <a:pt x="138" y="145"/>
                    </a:cubicBezTo>
                    <a:cubicBezTo>
                      <a:pt x="139" y="145"/>
                      <a:pt x="139" y="145"/>
                      <a:pt x="140" y="145"/>
                    </a:cubicBezTo>
                    <a:cubicBezTo>
                      <a:pt x="143" y="145"/>
                      <a:pt x="145" y="144"/>
                      <a:pt x="150" y="142"/>
                    </a:cubicBezTo>
                    <a:cubicBezTo>
                      <a:pt x="150" y="142"/>
                      <a:pt x="150" y="142"/>
                      <a:pt x="150" y="142"/>
                    </a:cubicBezTo>
                    <a:cubicBezTo>
                      <a:pt x="151" y="142"/>
                      <a:pt x="151" y="142"/>
                      <a:pt x="151" y="142"/>
                    </a:cubicBezTo>
                    <a:cubicBezTo>
                      <a:pt x="152" y="142"/>
                      <a:pt x="152" y="142"/>
                      <a:pt x="153" y="142"/>
                    </a:cubicBezTo>
                    <a:cubicBezTo>
                      <a:pt x="154" y="143"/>
                      <a:pt x="154" y="143"/>
                      <a:pt x="154" y="143"/>
                    </a:cubicBezTo>
                    <a:cubicBezTo>
                      <a:pt x="154" y="143"/>
                      <a:pt x="155" y="143"/>
                      <a:pt x="157" y="144"/>
                    </a:cubicBezTo>
                    <a:cubicBezTo>
                      <a:pt x="162" y="145"/>
                      <a:pt x="167" y="148"/>
                      <a:pt x="172" y="151"/>
                    </a:cubicBezTo>
                    <a:cubicBezTo>
                      <a:pt x="174" y="151"/>
                      <a:pt x="175" y="152"/>
                      <a:pt x="176" y="153"/>
                    </a:cubicBezTo>
                    <a:cubicBezTo>
                      <a:pt x="179" y="154"/>
                      <a:pt x="181" y="155"/>
                      <a:pt x="183" y="156"/>
                    </a:cubicBezTo>
                    <a:cubicBezTo>
                      <a:pt x="184" y="156"/>
                      <a:pt x="185" y="157"/>
                      <a:pt x="187" y="158"/>
                    </a:cubicBezTo>
                    <a:cubicBezTo>
                      <a:pt x="188" y="158"/>
                      <a:pt x="188" y="158"/>
                      <a:pt x="188" y="158"/>
                    </a:cubicBezTo>
                    <a:cubicBezTo>
                      <a:pt x="190" y="159"/>
                      <a:pt x="192" y="160"/>
                      <a:pt x="194" y="160"/>
                    </a:cubicBezTo>
                    <a:cubicBezTo>
                      <a:pt x="194" y="160"/>
                      <a:pt x="194" y="160"/>
                      <a:pt x="194" y="160"/>
                    </a:cubicBezTo>
                    <a:cubicBezTo>
                      <a:pt x="194" y="159"/>
                      <a:pt x="195" y="159"/>
                      <a:pt x="196" y="159"/>
                    </a:cubicBezTo>
                    <a:cubicBezTo>
                      <a:pt x="196" y="159"/>
                      <a:pt x="197" y="159"/>
                      <a:pt x="197" y="159"/>
                    </a:cubicBezTo>
                    <a:cubicBezTo>
                      <a:pt x="199" y="160"/>
                      <a:pt x="200" y="162"/>
                      <a:pt x="200" y="162"/>
                    </a:cubicBezTo>
                    <a:cubicBezTo>
                      <a:pt x="201" y="163"/>
                      <a:pt x="201" y="164"/>
                      <a:pt x="201" y="164"/>
                    </a:cubicBezTo>
                    <a:cubicBezTo>
                      <a:pt x="202" y="168"/>
                      <a:pt x="201" y="174"/>
                      <a:pt x="200" y="175"/>
                    </a:cubicBezTo>
                    <a:cubicBezTo>
                      <a:pt x="200" y="176"/>
                      <a:pt x="199" y="177"/>
                      <a:pt x="199" y="177"/>
                    </a:cubicBezTo>
                    <a:cubicBezTo>
                      <a:pt x="199" y="178"/>
                      <a:pt x="200" y="179"/>
                      <a:pt x="201" y="180"/>
                    </a:cubicBezTo>
                    <a:cubicBezTo>
                      <a:pt x="202" y="181"/>
                      <a:pt x="204" y="183"/>
                      <a:pt x="205" y="183"/>
                    </a:cubicBezTo>
                    <a:cubicBezTo>
                      <a:pt x="205" y="183"/>
                      <a:pt x="205" y="183"/>
                      <a:pt x="206" y="183"/>
                    </a:cubicBezTo>
                    <a:cubicBezTo>
                      <a:pt x="206" y="182"/>
                      <a:pt x="207" y="182"/>
                      <a:pt x="207" y="182"/>
                    </a:cubicBezTo>
                    <a:cubicBezTo>
                      <a:pt x="207" y="182"/>
                      <a:pt x="207" y="182"/>
                      <a:pt x="207" y="182"/>
                    </a:cubicBezTo>
                    <a:cubicBezTo>
                      <a:pt x="208" y="182"/>
                      <a:pt x="208" y="182"/>
                      <a:pt x="209" y="183"/>
                    </a:cubicBezTo>
                    <a:cubicBezTo>
                      <a:pt x="211" y="183"/>
                      <a:pt x="211" y="185"/>
                      <a:pt x="211" y="188"/>
                    </a:cubicBezTo>
                    <a:cubicBezTo>
                      <a:pt x="211" y="189"/>
                      <a:pt x="211" y="191"/>
                      <a:pt x="210" y="193"/>
                    </a:cubicBezTo>
                    <a:cubicBezTo>
                      <a:pt x="210" y="193"/>
                      <a:pt x="210" y="193"/>
                      <a:pt x="210" y="193"/>
                    </a:cubicBezTo>
                    <a:cubicBezTo>
                      <a:pt x="212" y="195"/>
                      <a:pt x="214" y="197"/>
                      <a:pt x="216" y="199"/>
                    </a:cubicBezTo>
                    <a:cubicBezTo>
                      <a:pt x="215" y="201"/>
                      <a:pt x="215" y="201"/>
                      <a:pt x="215" y="201"/>
                    </a:cubicBezTo>
                    <a:cubicBezTo>
                      <a:pt x="216" y="200"/>
                      <a:pt x="216" y="200"/>
                      <a:pt x="216" y="200"/>
                    </a:cubicBezTo>
                    <a:cubicBezTo>
                      <a:pt x="216" y="200"/>
                      <a:pt x="217" y="200"/>
                      <a:pt x="217" y="200"/>
                    </a:cubicBezTo>
                    <a:cubicBezTo>
                      <a:pt x="217" y="200"/>
                      <a:pt x="218" y="200"/>
                      <a:pt x="218" y="200"/>
                    </a:cubicBezTo>
                    <a:cubicBezTo>
                      <a:pt x="218" y="200"/>
                      <a:pt x="218" y="200"/>
                      <a:pt x="218" y="200"/>
                    </a:cubicBezTo>
                    <a:cubicBezTo>
                      <a:pt x="219" y="201"/>
                      <a:pt x="219" y="201"/>
                      <a:pt x="219" y="201"/>
                    </a:cubicBezTo>
                    <a:cubicBezTo>
                      <a:pt x="220" y="202"/>
                      <a:pt x="221" y="202"/>
                      <a:pt x="221" y="204"/>
                    </a:cubicBezTo>
                    <a:cubicBezTo>
                      <a:pt x="222" y="207"/>
                      <a:pt x="221" y="209"/>
                      <a:pt x="221" y="210"/>
                    </a:cubicBezTo>
                    <a:cubicBezTo>
                      <a:pt x="220" y="212"/>
                      <a:pt x="220" y="212"/>
                      <a:pt x="222" y="214"/>
                    </a:cubicBezTo>
                    <a:cubicBezTo>
                      <a:pt x="223" y="214"/>
                      <a:pt x="223" y="214"/>
                      <a:pt x="223" y="214"/>
                    </a:cubicBezTo>
                    <a:cubicBezTo>
                      <a:pt x="224" y="215"/>
                      <a:pt x="225" y="216"/>
                      <a:pt x="226" y="216"/>
                    </a:cubicBezTo>
                    <a:cubicBezTo>
                      <a:pt x="226" y="217"/>
                      <a:pt x="226" y="217"/>
                      <a:pt x="226" y="217"/>
                    </a:cubicBezTo>
                    <a:cubicBezTo>
                      <a:pt x="226" y="218"/>
                      <a:pt x="226" y="218"/>
                      <a:pt x="226" y="218"/>
                    </a:cubicBezTo>
                    <a:cubicBezTo>
                      <a:pt x="226" y="220"/>
                      <a:pt x="225" y="220"/>
                      <a:pt x="223" y="221"/>
                    </a:cubicBezTo>
                    <a:cubicBezTo>
                      <a:pt x="223" y="221"/>
                      <a:pt x="223" y="221"/>
                      <a:pt x="223" y="221"/>
                    </a:cubicBezTo>
                    <a:cubicBezTo>
                      <a:pt x="222" y="221"/>
                      <a:pt x="220" y="222"/>
                      <a:pt x="219" y="222"/>
                    </a:cubicBezTo>
                    <a:cubicBezTo>
                      <a:pt x="218" y="222"/>
                      <a:pt x="218" y="222"/>
                      <a:pt x="218" y="222"/>
                    </a:cubicBezTo>
                    <a:cubicBezTo>
                      <a:pt x="217" y="222"/>
                      <a:pt x="217" y="222"/>
                      <a:pt x="217" y="222"/>
                    </a:cubicBezTo>
                    <a:cubicBezTo>
                      <a:pt x="217" y="222"/>
                      <a:pt x="217" y="222"/>
                      <a:pt x="217" y="222"/>
                    </a:cubicBezTo>
                    <a:cubicBezTo>
                      <a:pt x="216" y="222"/>
                      <a:pt x="215" y="222"/>
                      <a:pt x="215" y="221"/>
                    </a:cubicBezTo>
                    <a:cubicBezTo>
                      <a:pt x="215" y="221"/>
                      <a:pt x="215" y="221"/>
                      <a:pt x="215" y="221"/>
                    </a:cubicBezTo>
                    <a:cubicBezTo>
                      <a:pt x="215" y="221"/>
                      <a:pt x="215" y="221"/>
                      <a:pt x="215" y="221"/>
                    </a:cubicBezTo>
                    <a:cubicBezTo>
                      <a:pt x="215" y="221"/>
                      <a:pt x="215" y="221"/>
                      <a:pt x="215" y="221"/>
                    </a:cubicBezTo>
                    <a:cubicBezTo>
                      <a:pt x="214" y="221"/>
                      <a:pt x="214" y="221"/>
                      <a:pt x="214" y="221"/>
                    </a:cubicBezTo>
                    <a:cubicBezTo>
                      <a:pt x="213" y="221"/>
                      <a:pt x="212" y="221"/>
                      <a:pt x="212" y="221"/>
                    </a:cubicBezTo>
                    <a:cubicBezTo>
                      <a:pt x="211" y="221"/>
                      <a:pt x="209" y="221"/>
                      <a:pt x="208" y="220"/>
                    </a:cubicBezTo>
                    <a:cubicBezTo>
                      <a:pt x="207" y="220"/>
                      <a:pt x="207" y="219"/>
                      <a:pt x="206" y="219"/>
                    </a:cubicBezTo>
                    <a:cubicBezTo>
                      <a:pt x="206" y="218"/>
                      <a:pt x="206" y="218"/>
                      <a:pt x="206" y="218"/>
                    </a:cubicBezTo>
                    <a:cubicBezTo>
                      <a:pt x="205" y="218"/>
                      <a:pt x="205" y="218"/>
                      <a:pt x="205" y="218"/>
                    </a:cubicBezTo>
                    <a:cubicBezTo>
                      <a:pt x="204" y="219"/>
                      <a:pt x="203" y="220"/>
                      <a:pt x="202" y="220"/>
                    </a:cubicBezTo>
                    <a:cubicBezTo>
                      <a:pt x="201" y="220"/>
                      <a:pt x="201" y="221"/>
                      <a:pt x="201" y="221"/>
                    </a:cubicBezTo>
                    <a:cubicBezTo>
                      <a:pt x="200" y="221"/>
                      <a:pt x="200" y="221"/>
                      <a:pt x="199" y="221"/>
                    </a:cubicBezTo>
                    <a:cubicBezTo>
                      <a:pt x="199" y="221"/>
                      <a:pt x="199" y="221"/>
                      <a:pt x="199" y="221"/>
                    </a:cubicBezTo>
                    <a:cubicBezTo>
                      <a:pt x="198" y="221"/>
                      <a:pt x="197" y="221"/>
                      <a:pt x="197" y="220"/>
                    </a:cubicBezTo>
                    <a:cubicBezTo>
                      <a:pt x="196" y="220"/>
                      <a:pt x="196" y="220"/>
                      <a:pt x="196" y="220"/>
                    </a:cubicBezTo>
                    <a:cubicBezTo>
                      <a:pt x="196" y="219"/>
                      <a:pt x="195" y="219"/>
                      <a:pt x="195" y="218"/>
                    </a:cubicBezTo>
                    <a:cubicBezTo>
                      <a:pt x="195" y="218"/>
                      <a:pt x="195" y="218"/>
                      <a:pt x="195" y="218"/>
                    </a:cubicBezTo>
                    <a:cubicBezTo>
                      <a:pt x="194" y="217"/>
                      <a:pt x="194" y="217"/>
                      <a:pt x="194" y="217"/>
                    </a:cubicBezTo>
                    <a:cubicBezTo>
                      <a:pt x="194" y="218"/>
                      <a:pt x="194" y="218"/>
                      <a:pt x="194" y="219"/>
                    </a:cubicBezTo>
                    <a:cubicBezTo>
                      <a:pt x="194" y="219"/>
                      <a:pt x="194" y="219"/>
                      <a:pt x="194" y="220"/>
                    </a:cubicBezTo>
                    <a:cubicBezTo>
                      <a:pt x="194" y="221"/>
                      <a:pt x="194" y="222"/>
                      <a:pt x="194" y="223"/>
                    </a:cubicBezTo>
                    <a:cubicBezTo>
                      <a:pt x="194" y="224"/>
                      <a:pt x="195" y="225"/>
                      <a:pt x="194" y="226"/>
                    </a:cubicBezTo>
                    <a:cubicBezTo>
                      <a:pt x="194" y="227"/>
                      <a:pt x="194" y="228"/>
                      <a:pt x="193" y="229"/>
                    </a:cubicBezTo>
                    <a:cubicBezTo>
                      <a:pt x="193" y="230"/>
                      <a:pt x="193" y="230"/>
                      <a:pt x="193" y="230"/>
                    </a:cubicBezTo>
                    <a:cubicBezTo>
                      <a:pt x="193" y="230"/>
                      <a:pt x="193" y="231"/>
                      <a:pt x="193" y="231"/>
                    </a:cubicBezTo>
                    <a:cubicBezTo>
                      <a:pt x="192" y="232"/>
                      <a:pt x="192" y="232"/>
                      <a:pt x="192" y="232"/>
                    </a:cubicBezTo>
                    <a:cubicBezTo>
                      <a:pt x="192" y="234"/>
                      <a:pt x="190" y="234"/>
                      <a:pt x="190" y="235"/>
                    </a:cubicBezTo>
                    <a:cubicBezTo>
                      <a:pt x="189" y="235"/>
                      <a:pt x="189" y="235"/>
                      <a:pt x="189" y="235"/>
                    </a:cubicBezTo>
                    <a:cubicBezTo>
                      <a:pt x="188" y="236"/>
                      <a:pt x="188" y="237"/>
                      <a:pt x="187" y="239"/>
                    </a:cubicBezTo>
                    <a:cubicBezTo>
                      <a:pt x="186" y="239"/>
                      <a:pt x="186" y="239"/>
                      <a:pt x="186" y="239"/>
                    </a:cubicBezTo>
                    <a:cubicBezTo>
                      <a:pt x="186" y="240"/>
                      <a:pt x="186" y="240"/>
                      <a:pt x="186" y="240"/>
                    </a:cubicBezTo>
                    <a:cubicBezTo>
                      <a:pt x="185" y="240"/>
                      <a:pt x="185" y="240"/>
                      <a:pt x="185" y="240"/>
                    </a:cubicBezTo>
                    <a:cubicBezTo>
                      <a:pt x="185" y="241"/>
                      <a:pt x="184" y="241"/>
                      <a:pt x="183" y="242"/>
                    </a:cubicBezTo>
                    <a:cubicBezTo>
                      <a:pt x="182" y="243"/>
                      <a:pt x="181" y="244"/>
                      <a:pt x="181" y="244"/>
                    </a:cubicBezTo>
                    <a:cubicBezTo>
                      <a:pt x="180" y="245"/>
                      <a:pt x="180" y="245"/>
                      <a:pt x="181" y="245"/>
                    </a:cubicBezTo>
                    <a:cubicBezTo>
                      <a:pt x="184" y="248"/>
                      <a:pt x="184" y="248"/>
                      <a:pt x="184" y="248"/>
                    </a:cubicBezTo>
                    <a:cubicBezTo>
                      <a:pt x="180" y="249"/>
                      <a:pt x="180" y="249"/>
                      <a:pt x="180" y="249"/>
                    </a:cubicBezTo>
                    <a:cubicBezTo>
                      <a:pt x="177" y="250"/>
                      <a:pt x="175" y="251"/>
                      <a:pt x="174" y="252"/>
                    </a:cubicBezTo>
                    <a:cubicBezTo>
                      <a:pt x="174" y="252"/>
                      <a:pt x="174" y="252"/>
                      <a:pt x="174" y="252"/>
                    </a:cubicBezTo>
                    <a:cubicBezTo>
                      <a:pt x="176" y="253"/>
                      <a:pt x="177" y="254"/>
                      <a:pt x="179" y="255"/>
                    </a:cubicBezTo>
                    <a:cubicBezTo>
                      <a:pt x="180" y="256"/>
                      <a:pt x="181" y="256"/>
                      <a:pt x="182" y="257"/>
                    </a:cubicBezTo>
                    <a:cubicBezTo>
                      <a:pt x="185" y="256"/>
                      <a:pt x="185" y="256"/>
                      <a:pt x="185" y="256"/>
                    </a:cubicBezTo>
                    <a:cubicBezTo>
                      <a:pt x="189" y="256"/>
                      <a:pt x="189" y="255"/>
                      <a:pt x="191" y="255"/>
                    </a:cubicBezTo>
                    <a:cubicBezTo>
                      <a:pt x="193" y="254"/>
                      <a:pt x="193" y="254"/>
                      <a:pt x="193" y="254"/>
                    </a:cubicBezTo>
                    <a:cubicBezTo>
                      <a:pt x="196" y="253"/>
                      <a:pt x="201" y="250"/>
                      <a:pt x="204" y="250"/>
                    </a:cubicBezTo>
                    <a:cubicBezTo>
                      <a:pt x="204" y="250"/>
                      <a:pt x="205" y="250"/>
                      <a:pt x="205" y="251"/>
                    </a:cubicBezTo>
                    <a:cubicBezTo>
                      <a:pt x="207" y="251"/>
                      <a:pt x="211" y="252"/>
                      <a:pt x="212" y="254"/>
                    </a:cubicBezTo>
                    <a:cubicBezTo>
                      <a:pt x="213" y="255"/>
                      <a:pt x="213" y="255"/>
                      <a:pt x="213" y="255"/>
                    </a:cubicBezTo>
                    <a:cubicBezTo>
                      <a:pt x="213" y="250"/>
                      <a:pt x="211" y="245"/>
                      <a:pt x="210" y="239"/>
                    </a:cubicBezTo>
                    <a:cubicBezTo>
                      <a:pt x="213" y="241"/>
                      <a:pt x="211" y="244"/>
                      <a:pt x="212" y="244"/>
                    </a:cubicBezTo>
                    <a:cubicBezTo>
                      <a:pt x="213" y="244"/>
                      <a:pt x="214" y="244"/>
                      <a:pt x="215" y="242"/>
                    </a:cubicBezTo>
                    <a:cubicBezTo>
                      <a:pt x="217" y="241"/>
                      <a:pt x="219" y="239"/>
                      <a:pt x="220" y="239"/>
                    </a:cubicBezTo>
                    <a:cubicBezTo>
                      <a:pt x="221" y="238"/>
                      <a:pt x="221" y="238"/>
                      <a:pt x="222" y="238"/>
                    </a:cubicBezTo>
                    <a:cubicBezTo>
                      <a:pt x="222" y="238"/>
                      <a:pt x="222" y="238"/>
                      <a:pt x="223" y="238"/>
                    </a:cubicBezTo>
                    <a:cubicBezTo>
                      <a:pt x="223" y="239"/>
                      <a:pt x="223" y="239"/>
                      <a:pt x="224" y="239"/>
                    </a:cubicBezTo>
                    <a:cubicBezTo>
                      <a:pt x="224" y="239"/>
                      <a:pt x="225" y="238"/>
                      <a:pt x="226" y="238"/>
                    </a:cubicBezTo>
                    <a:cubicBezTo>
                      <a:pt x="227" y="237"/>
                      <a:pt x="233" y="232"/>
                      <a:pt x="232" y="232"/>
                    </a:cubicBezTo>
                    <a:cubicBezTo>
                      <a:pt x="231" y="229"/>
                      <a:pt x="229" y="226"/>
                      <a:pt x="227" y="223"/>
                    </a:cubicBezTo>
                    <a:cubicBezTo>
                      <a:pt x="226" y="222"/>
                      <a:pt x="225" y="221"/>
                      <a:pt x="225" y="220"/>
                    </a:cubicBezTo>
                    <a:cubicBezTo>
                      <a:pt x="226" y="220"/>
                      <a:pt x="226" y="220"/>
                      <a:pt x="226" y="219"/>
                    </a:cubicBezTo>
                    <a:cubicBezTo>
                      <a:pt x="226" y="219"/>
                      <a:pt x="227" y="219"/>
                      <a:pt x="227" y="219"/>
                    </a:cubicBezTo>
                    <a:cubicBezTo>
                      <a:pt x="227" y="219"/>
                      <a:pt x="227" y="219"/>
                      <a:pt x="227" y="219"/>
                    </a:cubicBezTo>
                    <a:cubicBezTo>
                      <a:pt x="228" y="220"/>
                      <a:pt x="228" y="220"/>
                      <a:pt x="228" y="220"/>
                    </a:cubicBezTo>
                    <a:cubicBezTo>
                      <a:pt x="228" y="221"/>
                      <a:pt x="228" y="221"/>
                      <a:pt x="228" y="221"/>
                    </a:cubicBezTo>
                    <a:cubicBezTo>
                      <a:pt x="228" y="221"/>
                      <a:pt x="228" y="221"/>
                      <a:pt x="228" y="221"/>
                    </a:cubicBezTo>
                    <a:cubicBezTo>
                      <a:pt x="228" y="221"/>
                      <a:pt x="228" y="221"/>
                      <a:pt x="228" y="221"/>
                    </a:cubicBezTo>
                    <a:cubicBezTo>
                      <a:pt x="229" y="221"/>
                      <a:pt x="229" y="221"/>
                      <a:pt x="229" y="221"/>
                    </a:cubicBezTo>
                    <a:cubicBezTo>
                      <a:pt x="229" y="221"/>
                      <a:pt x="229" y="220"/>
                      <a:pt x="230" y="220"/>
                    </a:cubicBezTo>
                    <a:cubicBezTo>
                      <a:pt x="230" y="221"/>
                      <a:pt x="230" y="221"/>
                      <a:pt x="230" y="222"/>
                    </a:cubicBezTo>
                    <a:cubicBezTo>
                      <a:pt x="231" y="222"/>
                      <a:pt x="232" y="223"/>
                      <a:pt x="232" y="224"/>
                    </a:cubicBezTo>
                    <a:cubicBezTo>
                      <a:pt x="233" y="224"/>
                      <a:pt x="233" y="225"/>
                      <a:pt x="233" y="225"/>
                    </a:cubicBezTo>
                    <a:cubicBezTo>
                      <a:pt x="233" y="225"/>
                      <a:pt x="233" y="225"/>
                      <a:pt x="233" y="225"/>
                    </a:cubicBezTo>
                    <a:cubicBezTo>
                      <a:pt x="234" y="224"/>
                      <a:pt x="235" y="223"/>
                      <a:pt x="236" y="222"/>
                    </a:cubicBezTo>
                    <a:cubicBezTo>
                      <a:pt x="237" y="220"/>
                      <a:pt x="238" y="219"/>
                      <a:pt x="239" y="218"/>
                    </a:cubicBezTo>
                    <a:cubicBezTo>
                      <a:pt x="241" y="215"/>
                      <a:pt x="244" y="213"/>
                      <a:pt x="247" y="212"/>
                    </a:cubicBezTo>
                    <a:cubicBezTo>
                      <a:pt x="248" y="212"/>
                      <a:pt x="248" y="212"/>
                      <a:pt x="249" y="212"/>
                    </a:cubicBezTo>
                    <a:cubicBezTo>
                      <a:pt x="250" y="212"/>
                      <a:pt x="251" y="211"/>
                      <a:pt x="251" y="211"/>
                    </a:cubicBezTo>
                    <a:cubicBezTo>
                      <a:pt x="252" y="211"/>
                      <a:pt x="253" y="211"/>
                      <a:pt x="253" y="211"/>
                    </a:cubicBezTo>
                    <a:cubicBezTo>
                      <a:pt x="254" y="211"/>
                      <a:pt x="255" y="211"/>
                      <a:pt x="256" y="211"/>
                    </a:cubicBezTo>
                    <a:cubicBezTo>
                      <a:pt x="257" y="211"/>
                      <a:pt x="257" y="211"/>
                      <a:pt x="257" y="211"/>
                    </a:cubicBezTo>
                    <a:cubicBezTo>
                      <a:pt x="258" y="211"/>
                      <a:pt x="258" y="211"/>
                      <a:pt x="259" y="210"/>
                    </a:cubicBezTo>
                    <a:cubicBezTo>
                      <a:pt x="260" y="210"/>
                      <a:pt x="260" y="210"/>
                      <a:pt x="260" y="210"/>
                    </a:cubicBezTo>
                    <a:cubicBezTo>
                      <a:pt x="262" y="208"/>
                      <a:pt x="264" y="205"/>
                      <a:pt x="267" y="204"/>
                    </a:cubicBezTo>
                    <a:cubicBezTo>
                      <a:pt x="267" y="204"/>
                      <a:pt x="267" y="204"/>
                      <a:pt x="267" y="204"/>
                    </a:cubicBezTo>
                    <a:cubicBezTo>
                      <a:pt x="267" y="204"/>
                      <a:pt x="266" y="204"/>
                      <a:pt x="266" y="205"/>
                    </a:cubicBezTo>
                    <a:cubicBezTo>
                      <a:pt x="266" y="205"/>
                      <a:pt x="265" y="206"/>
                      <a:pt x="265" y="206"/>
                    </a:cubicBezTo>
                    <a:cubicBezTo>
                      <a:pt x="265" y="206"/>
                      <a:pt x="265" y="206"/>
                      <a:pt x="265" y="206"/>
                    </a:cubicBezTo>
                    <a:cubicBezTo>
                      <a:pt x="266" y="207"/>
                      <a:pt x="264" y="207"/>
                      <a:pt x="267" y="207"/>
                    </a:cubicBezTo>
                    <a:cubicBezTo>
                      <a:pt x="270" y="208"/>
                      <a:pt x="272" y="209"/>
                      <a:pt x="275" y="209"/>
                    </a:cubicBezTo>
                    <a:cubicBezTo>
                      <a:pt x="275" y="206"/>
                      <a:pt x="275" y="205"/>
                      <a:pt x="276" y="202"/>
                    </a:cubicBezTo>
                    <a:cubicBezTo>
                      <a:pt x="277" y="201"/>
                      <a:pt x="277" y="200"/>
                      <a:pt x="276" y="200"/>
                    </a:cubicBezTo>
                    <a:cubicBezTo>
                      <a:pt x="276" y="200"/>
                      <a:pt x="276" y="200"/>
                      <a:pt x="276" y="200"/>
                    </a:cubicBezTo>
                    <a:cubicBezTo>
                      <a:pt x="276" y="200"/>
                      <a:pt x="276" y="200"/>
                      <a:pt x="276" y="200"/>
                    </a:cubicBezTo>
                    <a:cubicBezTo>
                      <a:pt x="276" y="200"/>
                      <a:pt x="276" y="200"/>
                      <a:pt x="276" y="200"/>
                    </a:cubicBezTo>
                    <a:cubicBezTo>
                      <a:pt x="276" y="200"/>
                      <a:pt x="275" y="199"/>
                      <a:pt x="275" y="199"/>
                    </a:cubicBezTo>
                    <a:cubicBezTo>
                      <a:pt x="275" y="199"/>
                      <a:pt x="275" y="199"/>
                      <a:pt x="275" y="199"/>
                    </a:cubicBezTo>
                    <a:cubicBezTo>
                      <a:pt x="275" y="199"/>
                      <a:pt x="275" y="199"/>
                      <a:pt x="276" y="198"/>
                    </a:cubicBezTo>
                    <a:cubicBezTo>
                      <a:pt x="276" y="198"/>
                      <a:pt x="276" y="197"/>
                      <a:pt x="276" y="197"/>
                    </a:cubicBezTo>
                    <a:cubicBezTo>
                      <a:pt x="276" y="197"/>
                      <a:pt x="276" y="197"/>
                      <a:pt x="276" y="197"/>
                    </a:cubicBezTo>
                    <a:cubicBezTo>
                      <a:pt x="275" y="197"/>
                      <a:pt x="275" y="198"/>
                      <a:pt x="274" y="198"/>
                    </a:cubicBezTo>
                    <a:cubicBezTo>
                      <a:pt x="274" y="198"/>
                      <a:pt x="274" y="198"/>
                      <a:pt x="274" y="198"/>
                    </a:cubicBezTo>
                    <a:cubicBezTo>
                      <a:pt x="273" y="197"/>
                      <a:pt x="274" y="195"/>
                      <a:pt x="274" y="194"/>
                    </a:cubicBezTo>
                    <a:cubicBezTo>
                      <a:pt x="274" y="193"/>
                      <a:pt x="272" y="193"/>
                      <a:pt x="272" y="193"/>
                    </a:cubicBezTo>
                    <a:cubicBezTo>
                      <a:pt x="272" y="192"/>
                      <a:pt x="272" y="192"/>
                      <a:pt x="272" y="191"/>
                    </a:cubicBezTo>
                    <a:cubicBezTo>
                      <a:pt x="272" y="191"/>
                      <a:pt x="272" y="191"/>
                      <a:pt x="272" y="190"/>
                    </a:cubicBezTo>
                    <a:cubicBezTo>
                      <a:pt x="272" y="190"/>
                      <a:pt x="272" y="190"/>
                      <a:pt x="272" y="190"/>
                    </a:cubicBezTo>
                    <a:cubicBezTo>
                      <a:pt x="273" y="190"/>
                      <a:pt x="273" y="190"/>
                      <a:pt x="273" y="191"/>
                    </a:cubicBezTo>
                    <a:cubicBezTo>
                      <a:pt x="274" y="192"/>
                      <a:pt x="274" y="195"/>
                      <a:pt x="274" y="195"/>
                    </a:cubicBezTo>
                    <a:cubicBezTo>
                      <a:pt x="274" y="195"/>
                      <a:pt x="274" y="195"/>
                      <a:pt x="274" y="195"/>
                    </a:cubicBezTo>
                    <a:cubicBezTo>
                      <a:pt x="274" y="195"/>
                      <a:pt x="274" y="196"/>
                      <a:pt x="274" y="196"/>
                    </a:cubicBezTo>
                    <a:cubicBezTo>
                      <a:pt x="275" y="196"/>
                      <a:pt x="275" y="197"/>
                      <a:pt x="275" y="197"/>
                    </a:cubicBezTo>
                    <a:cubicBezTo>
                      <a:pt x="275" y="197"/>
                      <a:pt x="275" y="197"/>
                      <a:pt x="275" y="197"/>
                    </a:cubicBezTo>
                    <a:cubicBezTo>
                      <a:pt x="275" y="197"/>
                      <a:pt x="275" y="197"/>
                      <a:pt x="275" y="197"/>
                    </a:cubicBezTo>
                    <a:cubicBezTo>
                      <a:pt x="276" y="197"/>
                      <a:pt x="276" y="197"/>
                      <a:pt x="276" y="197"/>
                    </a:cubicBezTo>
                    <a:cubicBezTo>
                      <a:pt x="277" y="197"/>
                      <a:pt x="277" y="197"/>
                      <a:pt x="277" y="197"/>
                    </a:cubicBezTo>
                    <a:cubicBezTo>
                      <a:pt x="277" y="197"/>
                      <a:pt x="277" y="197"/>
                      <a:pt x="277" y="197"/>
                    </a:cubicBezTo>
                    <a:cubicBezTo>
                      <a:pt x="277" y="198"/>
                      <a:pt x="276" y="198"/>
                      <a:pt x="276" y="199"/>
                    </a:cubicBezTo>
                    <a:cubicBezTo>
                      <a:pt x="276" y="200"/>
                      <a:pt x="276" y="200"/>
                      <a:pt x="277" y="200"/>
                    </a:cubicBezTo>
                    <a:cubicBezTo>
                      <a:pt x="277" y="200"/>
                      <a:pt x="278" y="200"/>
                      <a:pt x="278" y="201"/>
                    </a:cubicBezTo>
                    <a:cubicBezTo>
                      <a:pt x="278" y="201"/>
                      <a:pt x="278" y="201"/>
                      <a:pt x="278" y="201"/>
                    </a:cubicBezTo>
                    <a:cubicBezTo>
                      <a:pt x="278" y="204"/>
                      <a:pt x="275" y="205"/>
                      <a:pt x="278" y="208"/>
                    </a:cubicBezTo>
                    <a:cubicBezTo>
                      <a:pt x="280" y="211"/>
                      <a:pt x="281" y="213"/>
                      <a:pt x="284" y="213"/>
                    </a:cubicBezTo>
                    <a:cubicBezTo>
                      <a:pt x="285" y="213"/>
                      <a:pt x="285" y="213"/>
                      <a:pt x="286" y="213"/>
                    </a:cubicBezTo>
                    <a:cubicBezTo>
                      <a:pt x="286" y="213"/>
                      <a:pt x="287" y="213"/>
                      <a:pt x="288" y="213"/>
                    </a:cubicBezTo>
                    <a:cubicBezTo>
                      <a:pt x="291" y="213"/>
                      <a:pt x="293" y="210"/>
                      <a:pt x="296" y="210"/>
                    </a:cubicBezTo>
                    <a:cubicBezTo>
                      <a:pt x="292" y="213"/>
                      <a:pt x="290" y="216"/>
                      <a:pt x="286" y="216"/>
                    </a:cubicBezTo>
                    <a:cubicBezTo>
                      <a:pt x="285" y="216"/>
                      <a:pt x="285" y="216"/>
                      <a:pt x="285" y="216"/>
                    </a:cubicBezTo>
                    <a:cubicBezTo>
                      <a:pt x="281" y="216"/>
                      <a:pt x="278" y="215"/>
                      <a:pt x="274" y="214"/>
                    </a:cubicBezTo>
                    <a:cubicBezTo>
                      <a:pt x="271" y="214"/>
                      <a:pt x="267" y="213"/>
                      <a:pt x="264" y="212"/>
                    </a:cubicBezTo>
                    <a:cubicBezTo>
                      <a:pt x="265" y="213"/>
                      <a:pt x="266" y="215"/>
                      <a:pt x="266" y="215"/>
                    </a:cubicBezTo>
                    <a:cubicBezTo>
                      <a:pt x="267" y="215"/>
                      <a:pt x="267" y="216"/>
                      <a:pt x="268" y="216"/>
                    </a:cubicBezTo>
                    <a:cubicBezTo>
                      <a:pt x="268" y="216"/>
                      <a:pt x="269" y="216"/>
                      <a:pt x="269" y="216"/>
                    </a:cubicBezTo>
                    <a:cubicBezTo>
                      <a:pt x="269" y="216"/>
                      <a:pt x="270" y="216"/>
                      <a:pt x="270" y="216"/>
                    </a:cubicBezTo>
                    <a:cubicBezTo>
                      <a:pt x="271" y="216"/>
                      <a:pt x="271" y="216"/>
                      <a:pt x="272" y="216"/>
                    </a:cubicBezTo>
                    <a:cubicBezTo>
                      <a:pt x="272" y="216"/>
                      <a:pt x="273" y="216"/>
                      <a:pt x="273" y="217"/>
                    </a:cubicBezTo>
                    <a:cubicBezTo>
                      <a:pt x="275" y="218"/>
                      <a:pt x="276" y="219"/>
                      <a:pt x="277" y="221"/>
                    </a:cubicBezTo>
                    <a:cubicBezTo>
                      <a:pt x="276" y="221"/>
                      <a:pt x="276" y="221"/>
                      <a:pt x="276" y="221"/>
                    </a:cubicBezTo>
                    <a:cubicBezTo>
                      <a:pt x="276" y="221"/>
                      <a:pt x="275" y="221"/>
                      <a:pt x="275" y="221"/>
                    </a:cubicBezTo>
                    <a:cubicBezTo>
                      <a:pt x="275" y="221"/>
                      <a:pt x="275" y="221"/>
                      <a:pt x="275" y="221"/>
                    </a:cubicBezTo>
                    <a:cubicBezTo>
                      <a:pt x="273" y="221"/>
                      <a:pt x="271" y="221"/>
                      <a:pt x="271" y="222"/>
                    </a:cubicBezTo>
                    <a:cubicBezTo>
                      <a:pt x="271" y="223"/>
                      <a:pt x="273" y="224"/>
                      <a:pt x="276" y="224"/>
                    </a:cubicBezTo>
                    <a:cubicBezTo>
                      <a:pt x="280" y="225"/>
                      <a:pt x="283" y="226"/>
                      <a:pt x="284" y="227"/>
                    </a:cubicBezTo>
                    <a:cubicBezTo>
                      <a:pt x="285" y="227"/>
                      <a:pt x="285" y="228"/>
                      <a:pt x="286" y="228"/>
                    </a:cubicBezTo>
                    <a:cubicBezTo>
                      <a:pt x="286" y="228"/>
                      <a:pt x="286" y="229"/>
                      <a:pt x="287" y="229"/>
                    </a:cubicBezTo>
                    <a:cubicBezTo>
                      <a:pt x="288" y="229"/>
                      <a:pt x="289" y="229"/>
                      <a:pt x="290" y="229"/>
                    </a:cubicBezTo>
                    <a:cubicBezTo>
                      <a:pt x="290" y="229"/>
                      <a:pt x="290" y="229"/>
                      <a:pt x="290" y="229"/>
                    </a:cubicBezTo>
                    <a:cubicBezTo>
                      <a:pt x="291" y="229"/>
                      <a:pt x="292" y="229"/>
                      <a:pt x="293" y="229"/>
                    </a:cubicBezTo>
                    <a:cubicBezTo>
                      <a:pt x="296" y="229"/>
                      <a:pt x="298" y="228"/>
                      <a:pt x="299" y="228"/>
                    </a:cubicBezTo>
                    <a:cubicBezTo>
                      <a:pt x="300" y="228"/>
                      <a:pt x="300" y="228"/>
                      <a:pt x="300" y="228"/>
                    </a:cubicBezTo>
                    <a:cubicBezTo>
                      <a:pt x="303" y="227"/>
                      <a:pt x="307" y="226"/>
                      <a:pt x="310" y="226"/>
                    </a:cubicBezTo>
                    <a:cubicBezTo>
                      <a:pt x="310" y="226"/>
                      <a:pt x="311" y="226"/>
                      <a:pt x="311" y="226"/>
                    </a:cubicBezTo>
                    <a:cubicBezTo>
                      <a:pt x="313" y="226"/>
                      <a:pt x="313" y="227"/>
                      <a:pt x="313" y="227"/>
                    </a:cubicBezTo>
                    <a:cubicBezTo>
                      <a:pt x="313" y="228"/>
                      <a:pt x="314" y="229"/>
                      <a:pt x="314" y="230"/>
                    </a:cubicBezTo>
                    <a:cubicBezTo>
                      <a:pt x="315" y="230"/>
                      <a:pt x="316" y="231"/>
                      <a:pt x="317" y="231"/>
                    </a:cubicBezTo>
                    <a:cubicBezTo>
                      <a:pt x="317" y="231"/>
                      <a:pt x="317" y="231"/>
                      <a:pt x="318" y="231"/>
                    </a:cubicBezTo>
                    <a:cubicBezTo>
                      <a:pt x="319" y="231"/>
                      <a:pt x="320" y="230"/>
                      <a:pt x="321" y="230"/>
                    </a:cubicBezTo>
                    <a:cubicBezTo>
                      <a:pt x="322" y="229"/>
                      <a:pt x="323" y="229"/>
                      <a:pt x="324" y="228"/>
                    </a:cubicBezTo>
                    <a:cubicBezTo>
                      <a:pt x="324" y="229"/>
                      <a:pt x="324" y="230"/>
                      <a:pt x="324" y="231"/>
                    </a:cubicBezTo>
                    <a:cubicBezTo>
                      <a:pt x="324" y="233"/>
                      <a:pt x="324" y="236"/>
                      <a:pt x="326" y="236"/>
                    </a:cubicBezTo>
                    <a:cubicBezTo>
                      <a:pt x="326" y="238"/>
                      <a:pt x="323" y="238"/>
                      <a:pt x="321" y="238"/>
                    </a:cubicBezTo>
                    <a:cubicBezTo>
                      <a:pt x="320" y="238"/>
                      <a:pt x="319" y="239"/>
                      <a:pt x="318" y="239"/>
                    </a:cubicBezTo>
                    <a:cubicBezTo>
                      <a:pt x="317" y="239"/>
                      <a:pt x="316" y="240"/>
                      <a:pt x="315" y="241"/>
                    </a:cubicBezTo>
                    <a:cubicBezTo>
                      <a:pt x="314" y="241"/>
                      <a:pt x="314" y="242"/>
                      <a:pt x="313" y="242"/>
                    </a:cubicBezTo>
                    <a:cubicBezTo>
                      <a:pt x="313" y="242"/>
                      <a:pt x="313" y="242"/>
                      <a:pt x="313" y="242"/>
                    </a:cubicBezTo>
                    <a:cubicBezTo>
                      <a:pt x="312" y="242"/>
                      <a:pt x="312" y="242"/>
                      <a:pt x="311" y="242"/>
                    </a:cubicBezTo>
                    <a:cubicBezTo>
                      <a:pt x="311" y="243"/>
                      <a:pt x="306" y="244"/>
                      <a:pt x="304" y="245"/>
                    </a:cubicBezTo>
                    <a:cubicBezTo>
                      <a:pt x="303" y="245"/>
                      <a:pt x="303" y="246"/>
                      <a:pt x="302" y="247"/>
                    </a:cubicBezTo>
                    <a:cubicBezTo>
                      <a:pt x="301" y="248"/>
                      <a:pt x="301" y="248"/>
                      <a:pt x="300" y="249"/>
                    </a:cubicBezTo>
                    <a:cubicBezTo>
                      <a:pt x="300" y="249"/>
                      <a:pt x="298" y="249"/>
                      <a:pt x="297" y="250"/>
                    </a:cubicBezTo>
                    <a:cubicBezTo>
                      <a:pt x="296" y="250"/>
                      <a:pt x="295" y="250"/>
                      <a:pt x="295" y="251"/>
                    </a:cubicBezTo>
                    <a:cubicBezTo>
                      <a:pt x="293" y="252"/>
                      <a:pt x="292" y="252"/>
                      <a:pt x="292" y="253"/>
                    </a:cubicBezTo>
                    <a:cubicBezTo>
                      <a:pt x="292" y="254"/>
                      <a:pt x="292" y="254"/>
                      <a:pt x="292" y="254"/>
                    </a:cubicBezTo>
                    <a:cubicBezTo>
                      <a:pt x="292" y="258"/>
                      <a:pt x="302" y="260"/>
                      <a:pt x="309" y="261"/>
                    </a:cubicBezTo>
                    <a:cubicBezTo>
                      <a:pt x="310" y="261"/>
                      <a:pt x="312" y="262"/>
                      <a:pt x="313" y="262"/>
                    </a:cubicBezTo>
                    <a:cubicBezTo>
                      <a:pt x="316" y="263"/>
                      <a:pt x="321" y="263"/>
                      <a:pt x="323" y="266"/>
                    </a:cubicBezTo>
                    <a:cubicBezTo>
                      <a:pt x="323" y="267"/>
                      <a:pt x="324" y="269"/>
                      <a:pt x="324" y="270"/>
                    </a:cubicBezTo>
                    <a:cubicBezTo>
                      <a:pt x="324" y="273"/>
                      <a:pt x="322" y="273"/>
                      <a:pt x="322" y="274"/>
                    </a:cubicBezTo>
                    <a:cubicBezTo>
                      <a:pt x="321" y="275"/>
                      <a:pt x="321" y="275"/>
                      <a:pt x="321" y="276"/>
                    </a:cubicBezTo>
                    <a:cubicBezTo>
                      <a:pt x="321" y="277"/>
                      <a:pt x="321" y="278"/>
                      <a:pt x="321" y="279"/>
                    </a:cubicBezTo>
                    <a:cubicBezTo>
                      <a:pt x="321" y="281"/>
                      <a:pt x="322" y="282"/>
                      <a:pt x="322" y="282"/>
                    </a:cubicBezTo>
                    <a:cubicBezTo>
                      <a:pt x="320" y="282"/>
                      <a:pt x="318" y="282"/>
                      <a:pt x="317" y="283"/>
                    </a:cubicBezTo>
                    <a:cubicBezTo>
                      <a:pt x="317" y="284"/>
                      <a:pt x="318" y="284"/>
                      <a:pt x="318" y="285"/>
                    </a:cubicBezTo>
                    <a:cubicBezTo>
                      <a:pt x="319" y="285"/>
                      <a:pt x="320" y="285"/>
                      <a:pt x="321" y="286"/>
                    </a:cubicBezTo>
                    <a:cubicBezTo>
                      <a:pt x="323" y="287"/>
                      <a:pt x="324" y="289"/>
                      <a:pt x="326" y="289"/>
                    </a:cubicBezTo>
                    <a:cubicBezTo>
                      <a:pt x="327" y="289"/>
                      <a:pt x="327" y="289"/>
                      <a:pt x="327" y="289"/>
                    </a:cubicBezTo>
                    <a:cubicBezTo>
                      <a:pt x="328" y="289"/>
                      <a:pt x="329" y="288"/>
                      <a:pt x="330" y="288"/>
                    </a:cubicBezTo>
                    <a:cubicBezTo>
                      <a:pt x="337" y="284"/>
                      <a:pt x="345" y="280"/>
                      <a:pt x="353" y="277"/>
                    </a:cubicBezTo>
                    <a:cubicBezTo>
                      <a:pt x="360" y="273"/>
                      <a:pt x="367" y="269"/>
                      <a:pt x="375" y="266"/>
                    </a:cubicBezTo>
                    <a:cubicBezTo>
                      <a:pt x="376" y="265"/>
                      <a:pt x="377" y="265"/>
                      <a:pt x="379" y="265"/>
                    </a:cubicBezTo>
                    <a:cubicBezTo>
                      <a:pt x="381" y="265"/>
                      <a:pt x="383" y="266"/>
                      <a:pt x="386" y="267"/>
                    </a:cubicBezTo>
                    <a:cubicBezTo>
                      <a:pt x="387" y="268"/>
                      <a:pt x="387" y="268"/>
                      <a:pt x="388" y="268"/>
                    </a:cubicBezTo>
                    <a:cubicBezTo>
                      <a:pt x="388" y="268"/>
                      <a:pt x="388" y="268"/>
                      <a:pt x="388" y="268"/>
                    </a:cubicBezTo>
                    <a:cubicBezTo>
                      <a:pt x="389" y="268"/>
                      <a:pt x="389" y="269"/>
                      <a:pt x="389" y="269"/>
                    </a:cubicBezTo>
                    <a:cubicBezTo>
                      <a:pt x="391" y="269"/>
                      <a:pt x="393" y="268"/>
                      <a:pt x="395" y="267"/>
                    </a:cubicBezTo>
                    <a:cubicBezTo>
                      <a:pt x="395" y="267"/>
                      <a:pt x="395" y="267"/>
                      <a:pt x="395" y="267"/>
                    </a:cubicBezTo>
                    <a:cubicBezTo>
                      <a:pt x="396" y="267"/>
                      <a:pt x="396" y="267"/>
                      <a:pt x="396" y="267"/>
                    </a:cubicBezTo>
                    <a:cubicBezTo>
                      <a:pt x="397" y="268"/>
                      <a:pt x="397" y="268"/>
                      <a:pt x="398" y="268"/>
                    </a:cubicBezTo>
                    <a:cubicBezTo>
                      <a:pt x="398" y="268"/>
                      <a:pt x="398" y="268"/>
                      <a:pt x="398" y="268"/>
                    </a:cubicBezTo>
                    <a:cubicBezTo>
                      <a:pt x="398" y="268"/>
                      <a:pt x="399" y="268"/>
                      <a:pt x="399" y="268"/>
                    </a:cubicBezTo>
                    <a:cubicBezTo>
                      <a:pt x="399" y="268"/>
                      <a:pt x="400" y="267"/>
                      <a:pt x="400" y="267"/>
                    </a:cubicBezTo>
                    <a:cubicBezTo>
                      <a:pt x="403" y="266"/>
                      <a:pt x="402" y="264"/>
                      <a:pt x="403" y="261"/>
                    </a:cubicBezTo>
                    <a:cubicBezTo>
                      <a:pt x="404" y="259"/>
                      <a:pt x="405" y="258"/>
                      <a:pt x="405" y="258"/>
                    </a:cubicBezTo>
                    <a:cubicBezTo>
                      <a:pt x="406" y="257"/>
                      <a:pt x="407" y="257"/>
                      <a:pt x="407" y="257"/>
                    </a:cubicBezTo>
                    <a:cubicBezTo>
                      <a:pt x="408" y="257"/>
                      <a:pt x="409" y="256"/>
                      <a:pt x="409" y="256"/>
                    </a:cubicBezTo>
                    <a:cubicBezTo>
                      <a:pt x="408" y="256"/>
                      <a:pt x="407" y="256"/>
                      <a:pt x="406" y="256"/>
                    </a:cubicBezTo>
                    <a:cubicBezTo>
                      <a:pt x="405" y="256"/>
                      <a:pt x="405" y="256"/>
                      <a:pt x="405" y="256"/>
                    </a:cubicBezTo>
                    <a:cubicBezTo>
                      <a:pt x="404" y="256"/>
                      <a:pt x="402" y="256"/>
                      <a:pt x="400" y="256"/>
                    </a:cubicBezTo>
                    <a:cubicBezTo>
                      <a:pt x="399" y="256"/>
                      <a:pt x="399" y="256"/>
                      <a:pt x="398" y="256"/>
                    </a:cubicBezTo>
                    <a:cubicBezTo>
                      <a:pt x="397" y="256"/>
                      <a:pt x="395" y="256"/>
                      <a:pt x="393" y="256"/>
                    </a:cubicBezTo>
                    <a:cubicBezTo>
                      <a:pt x="393" y="256"/>
                      <a:pt x="392" y="256"/>
                      <a:pt x="391" y="256"/>
                    </a:cubicBezTo>
                    <a:cubicBezTo>
                      <a:pt x="390" y="256"/>
                      <a:pt x="389" y="255"/>
                      <a:pt x="388" y="255"/>
                    </a:cubicBezTo>
                    <a:cubicBezTo>
                      <a:pt x="387" y="255"/>
                      <a:pt x="387" y="255"/>
                      <a:pt x="386" y="255"/>
                    </a:cubicBezTo>
                    <a:cubicBezTo>
                      <a:pt x="386" y="255"/>
                      <a:pt x="386" y="255"/>
                      <a:pt x="386" y="255"/>
                    </a:cubicBezTo>
                    <a:cubicBezTo>
                      <a:pt x="385" y="255"/>
                      <a:pt x="385" y="255"/>
                      <a:pt x="384" y="255"/>
                    </a:cubicBezTo>
                    <a:cubicBezTo>
                      <a:pt x="383" y="255"/>
                      <a:pt x="381" y="258"/>
                      <a:pt x="379" y="258"/>
                    </a:cubicBezTo>
                    <a:cubicBezTo>
                      <a:pt x="379" y="258"/>
                      <a:pt x="379" y="258"/>
                      <a:pt x="379" y="258"/>
                    </a:cubicBezTo>
                    <a:cubicBezTo>
                      <a:pt x="375" y="258"/>
                      <a:pt x="374" y="254"/>
                      <a:pt x="371" y="252"/>
                    </a:cubicBezTo>
                    <a:cubicBezTo>
                      <a:pt x="366" y="246"/>
                      <a:pt x="363" y="242"/>
                      <a:pt x="360" y="236"/>
                    </a:cubicBezTo>
                    <a:cubicBezTo>
                      <a:pt x="360" y="234"/>
                      <a:pt x="359" y="232"/>
                      <a:pt x="358" y="229"/>
                    </a:cubicBezTo>
                    <a:cubicBezTo>
                      <a:pt x="358" y="228"/>
                      <a:pt x="358" y="227"/>
                      <a:pt x="358" y="226"/>
                    </a:cubicBezTo>
                    <a:cubicBezTo>
                      <a:pt x="358" y="226"/>
                      <a:pt x="359" y="225"/>
                      <a:pt x="360" y="225"/>
                    </a:cubicBezTo>
                    <a:cubicBezTo>
                      <a:pt x="360" y="224"/>
                      <a:pt x="361" y="224"/>
                      <a:pt x="362" y="224"/>
                    </a:cubicBezTo>
                    <a:cubicBezTo>
                      <a:pt x="363" y="224"/>
                      <a:pt x="364" y="223"/>
                      <a:pt x="366" y="223"/>
                    </a:cubicBezTo>
                    <a:cubicBezTo>
                      <a:pt x="367" y="222"/>
                      <a:pt x="368" y="217"/>
                      <a:pt x="368" y="215"/>
                    </a:cubicBezTo>
                    <a:cubicBezTo>
                      <a:pt x="369" y="216"/>
                      <a:pt x="370" y="217"/>
                      <a:pt x="371" y="218"/>
                    </a:cubicBezTo>
                    <a:cubicBezTo>
                      <a:pt x="370" y="219"/>
                      <a:pt x="370" y="219"/>
                      <a:pt x="372" y="220"/>
                    </a:cubicBezTo>
                    <a:cubicBezTo>
                      <a:pt x="375" y="221"/>
                      <a:pt x="364" y="229"/>
                      <a:pt x="363" y="229"/>
                    </a:cubicBezTo>
                    <a:cubicBezTo>
                      <a:pt x="367" y="226"/>
                      <a:pt x="372" y="223"/>
                      <a:pt x="376" y="220"/>
                    </a:cubicBezTo>
                    <a:cubicBezTo>
                      <a:pt x="376" y="219"/>
                      <a:pt x="377" y="218"/>
                      <a:pt x="378" y="217"/>
                    </a:cubicBezTo>
                    <a:cubicBezTo>
                      <a:pt x="379" y="216"/>
                      <a:pt x="380" y="215"/>
                      <a:pt x="381" y="215"/>
                    </a:cubicBezTo>
                    <a:cubicBezTo>
                      <a:pt x="383" y="213"/>
                      <a:pt x="384" y="212"/>
                      <a:pt x="386" y="211"/>
                    </a:cubicBezTo>
                    <a:cubicBezTo>
                      <a:pt x="387" y="211"/>
                      <a:pt x="387" y="210"/>
                      <a:pt x="387" y="210"/>
                    </a:cubicBezTo>
                    <a:cubicBezTo>
                      <a:pt x="389" y="210"/>
                      <a:pt x="390" y="210"/>
                      <a:pt x="391" y="210"/>
                    </a:cubicBezTo>
                    <a:cubicBezTo>
                      <a:pt x="392" y="209"/>
                      <a:pt x="393" y="210"/>
                      <a:pt x="394" y="209"/>
                    </a:cubicBezTo>
                    <a:cubicBezTo>
                      <a:pt x="397" y="209"/>
                      <a:pt x="399" y="208"/>
                      <a:pt x="402" y="207"/>
                    </a:cubicBezTo>
                    <a:cubicBezTo>
                      <a:pt x="404" y="206"/>
                      <a:pt x="405" y="206"/>
                      <a:pt x="406" y="206"/>
                    </a:cubicBezTo>
                    <a:cubicBezTo>
                      <a:pt x="407" y="205"/>
                      <a:pt x="408" y="205"/>
                      <a:pt x="409" y="205"/>
                    </a:cubicBezTo>
                    <a:cubicBezTo>
                      <a:pt x="409" y="205"/>
                      <a:pt x="410" y="205"/>
                      <a:pt x="410" y="205"/>
                    </a:cubicBezTo>
                    <a:cubicBezTo>
                      <a:pt x="411" y="206"/>
                      <a:pt x="412" y="206"/>
                      <a:pt x="412" y="206"/>
                    </a:cubicBezTo>
                    <a:cubicBezTo>
                      <a:pt x="413" y="206"/>
                      <a:pt x="413" y="206"/>
                      <a:pt x="413" y="207"/>
                    </a:cubicBezTo>
                    <a:cubicBezTo>
                      <a:pt x="414" y="207"/>
                      <a:pt x="413" y="208"/>
                      <a:pt x="414" y="210"/>
                    </a:cubicBezTo>
                    <a:cubicBezTo>
                      <a:pt x="415" y="208"/>
                      <a:pt x="417" y="206"/>
                      <a:pt x="419" y="203"/>
                    </a:cubicBezTo>
                    <a:cubicBezTo>
                      <a:pt x="420" y="203"/>
                      <a:pt x="421" y="202"/>
                      <a:pt x="422" y="202"/>
                    </a:cubicBezTo>
                    <a:cubicBezTo>
                      <a:pt x="424" y="201"/>
                      <a:pt x="426" y="202"/>
                      <a:pt x="428" y="201"/>
                    </a:cubicBezTo>
                    <a:cubicBezTo>
                      <a:pt x="429" y="201"/>
                      <a:pt x="430" y="200"/>
                      <a:pt x="431" y="199"/>
                    </a:cubicBezTo>
                    <a:cubicBezTo>
                      <a:pt x="434" y="196"/>
                      <a:pt x="435" y="195"/>
                      <a:pt x="438" y="194"/>
                    </a:cubicBezTo>
                    <a:cubicBezTo>
                      <a:pt x="440" y="194"/>
                      <a:pt x="442" y="193"/>
                      <a:pt x="445" y="193"/>
                    </a:cubicBezTo>
                    <a:cubicBezTo>
                      <a:pt x="445" y="193"/>
                      <a:pt x="445" y="193"/>
                      <a:pt x="445" y="193"/>
                    </a:cubicBezTo>
                    <a:cubicBezTo>
                      <a:pt x="446" y="193"/>
                      <a:pt x="446" y="193"/>
                      <a:pt x="447" y="193"/>
                    </a:cubicBezTo>
                    <a:cubicBezTo>
                      <a:pt x="447" y="193"/>
                      <a:pt x="447" y="193"/>
                      <a:pt x="448" y="193"/>
                    </a:cubicBezTo>
                    <a:cubicBezTo>
                      <a:pt x="449" y="193"/>
                      <a:pt x="450" y="193"/>
                      <a:pt x="451" y="193"/>
                    </a:cubicBezTo>
                    <a:cubicBezTo>
                      <a:pt x="451" y="193"/>
                      <a:pt x="451" y="193"/>
                      <a:pt x="451" y="193"/>
                    </a:cubicBezTo>
                    <a:cubicBezTo>
                      <a:pt x="452" y="193"/>
                      <a:pt x="453" y="193"/>
                      <a:pt x="454" y="193"/>
                    </a:cubicBezTo>
                    <a:cubicBezTo>
                      <a:pt x="455" y="193"/>
                      <a:pt x="455" y="193"/>
                      <a:pt x="455" y="193"/>
                    </a:cubicBezTo>
                    <a:cubicBezTo>
                      <a:pt x="455" y="193"/>
                      <a:pt x="455" y="193"/>
                      <a:pt x="455" y="193"/>
                    </a:cubicBezTo>
                    <a:cubicBezTo>
                      <a:pt x="453" y="192"/>
                      <a:pt x="453" y="192"/>
                      <a:pt x="453" y="192"/>
                    </a:cubicBezTo>
                    <a:cubicBezTo>
                      <a:pt x="453" y="192"/>
                      <a:pt x="453" y="190"/>
                      <a:pt x="453" y="188"/>
                    </a:cubicBezTo>
                    <a:cubicBezTo>
                      <a:pt x="453" y="187"/>
                      <a:pt x="453" y="185"/>
                      <a:pt x="453" y="182"/>
                    </a:cubicBezTo>
                    <a:cubicBezTo>
                      <a:pt x="454" y="176"/>
                      <a:pt x="458" y="171"/>
                      <a:pt x="465" y="170"/>
                    </a:cubicBezTo>
                    <a:cubicBezTo>
                      <a:pt x="469" y="169"/>
                      <a:pt x="472" y="167"/>
                      <a:pt x="474" y="165"/>
                    </a:cubicBezTo>
                    <a:cubicBezTo>
                      <a:pt x="476" y="164"/>
                      <a:pt x="478" y="163"/>
                      <a:pt x="481" y="163"/>
                    </a:cubicBezTo>
                    <a:cubicBezTo>
                      <a:pt x="484" y="163"/>
                      <a:pt x="487" y="164"/>
                      <a:pt x="492" y="165"/>
                    </a:cubicBezTo>
                    <a:cubicBezTo>
                      <a:pt x="493" y="165"/>
                      <a:pt x="493" y="165"/>
                      <a:pt x="494" y="165"/>
                    </a:cubicBezTo>
                    <a:cubicBezTo>
                      <a:pt x="496" y="165"/>
                      <a:pt x="496" y="164"/>
                      <a:pt x="496" y="164"/>
                    </a:cubicBezTo>
                    <a:cubicBezTo>
                      <a:pt x="496" y="164"/>
                      <a:pt x="496" y="164"/>
                      <a:pt x="496" y="164"/>
                    </a:cubicBezTo>
                    <a:cubicBezTo>
                      <a:pt x="496" y="163"/>
                      <a:pt x="496" y="163"/>
                      <a:pt x="496" y="163"/>
                    </a:cubicBezTo>
                    <a:cubicBezTo>
                      <a:pt x="497" y="162"/>
                      <a:pt x="500" y="154"/>
                      <a:pt x="502" y="152"/>
                    </a:cubicBezTo>
                    <a:cubicBezTo>
                      <a:pt x="502" y="151"/>
                      <a:pt x="503" y="150"/>
                      <a:pt x="500" y="145"/>
                    </a:cubicBezTo>
                    <a:cubicBezTo>
                      <a:pt x="499" y="143"/>
                      <a:pt x="498" y="142"/>
                      <a:pt x="496" y="142"/>
                    </a:cubicBezTo>
                    <a:cubicBezTo>
                      <a:pt x="495" y="142"/>
                      <a:pt x="495" y="142"/>
                      <a:pt x="495" y="142"/>
                    </a:cubicBezTo>
                    <a:cubicBezTo>
                      <a:pt x="494" y="141"/>
                      <a:pt x="494" y="141"/>
                      <a:pt x="494" y="141"/>
                    </a:cubicBezTo>
                    <a:cubicBezTo>
                      <a:pt x="493" y="140"/>
                      <a:pt x="493" y="138"/>
                      <a:pt x="493" y="136"/>
                    </a:cubicBezTo>
                    <a:cubicBezTo>
                      <a:pt x="494" y="134"/>
                      <a:pt x="496" y="132"/>
                      <a:pt x="499" y="130"/>
                    </a:cubicBezTo>
                    <a:cubicBezTo>
                      <a:pt x="497" y="130"/>
                      <a:pt x="497" y="129"/>
                      <a:pt x="496" y="128"/>
                    </a:cubicBezTo>
                    <a:cubicBezTo>
                      <a:pt x="495" y="127"/>
                      <a:pt x="495" y="127"/>
                      <a:pt x="495" y="127"/>
                    </a:cubicBezTo>
                    <a:cubicBezTo>
                      <a:pt x="492" y="125"/>
                      <a:pt x="492" y="125"/>
                      <a:pt x="492" y="125"/>
                    </a:cubicBezTo>
                    <a:cubicBezTo>
                      <a:pt x="495" y="123"/>
                      <a:pt x="495" y="123"/>
                      <a:pt x="495" y="123"/>
                    </a:cubicBezTo>
                    <a:cubicBezTo>
                      <a:pt x="500" y="120"/>
                      <a:pt x="506" y="115"/>
                      <a:pt x="506" y="114"/>
                    </a:cubicBezTo>
                    <a:cubicBezTo>
                      <a:pt x="506" y="114"/>
                      <a:pt x="506" y="114"/>
                      <a:pt x="506" y="114"/>
                    </a:cubicBezTo>
                    <a:cubicBezTo>
                      <a:pt x="507" y="112"/>
                      <a:pt x="508" y="109"/>
                      <a:pt x="507" y="105"/>
                    </a:cubicBezTo>
                    <a:cubicBezTo>
                      <a:pt x="505" y="106"/>
                      <a:pt x="503" y="106"/>
                      <a:pt x="501" y="106"/>
                    </a:cubicBezTo>
                    <a:cubicBezTo>
                      <a:pt x="496" y="106"/>
                      <a:pt x="492" y="102"/>
                      <a:pt x="489" y="99"/>
                    </a:cubicBezTo>
                    <a:cubicBezTo>
                      <a:pt x="489" y="99"/>
                      <a:pt x="488" y="98"/>
                      <a:pt x="487" y="97"/>
                    </a:cubicBezTo>
                    <a:cubicBezTo>
                      <a:pt x="485" y="95"/>
                      <a:pt x="483" y="94"/>
                      <a:pt x="482" y="94"/>
                    </a:cubicBezTo>
                    <a:cubicBezTo>
                      <a:pt x="481" y="94"/>
                      <a:pt x="480" y="95"/>
                      <a:pt x="479" y="95"/>
                    </a:cubicBezTo>
                    <a:cubicBezTo>
                      <a:pt x="478" y="96"/>
                      <a:pt x="477" y="96"/>
                      <a:pt x="476" y="96"/>
                    </a:cubicBezTo>
                    <a:cubicBezTo>
                      <a:pt x="476" y="96"/>
                      <a:pt x="476" y="96"/>
                      <a:pt x="476" y="96"/>
                    </a:cubicBezTo>
                    <a:cubicBezTo>
                      <a:pt x="475" y="96"/>
                      <a:pt x="475" y="96"/>
                      <a:pt x="475" y="96"/>
                    </a:cubicBezTo>
                    <a:cubicBezTo>
                      <a:pt x="474" y="96"/>
                      <a:pt x="474" y="96"/>
                      <a:pt x="474" y="96"/>
                    </a:cubicBezTo>
                    <a:cubicBezTo>
                      <a:pt x="472" y="96"/>
                      <a:pt x="470" y="94"/>
                      <a:pt x="469" y="93"/>
                    </a:cubicBezTo>
                    <a:cubicBezTo>
                      <a:pt x="469" y="92"/>
                      <a:pt x="467" y="89"/>
                      <a:pt x="464" y="89"/>
                    </a:cubicBezTo>
                    <a:cubicBezTo>
                      <a:pt x="462" y="89"/>
                      <a:pt x="460" y="88"/>
                      <a:pt x="459" y="87"/>
                    </a:cubicBezTo>
                    <a:cubicBezTo>
                      <a:pt x="458" y="87"/>
                      <a:pt x="457" y="87"/>
                      <a:pt x="457" y="87"/>
                    </a:cubicBezTo>
                    <a:cubicBezTo>
                      <a:pt x="457" y="87"/>
                      <a:pt x="457" y="87"/>
                      <a:pt x="457" y="87"/>
                    </a:cubicBezTo>
                    <a:cubicBezTo>
                      <a:pt x="456" y="87"/>
                      <a:pt x="453" y="90"/>
                      <a:pt x="450" y="92"/>
                    </a:cubicBezTo>
                    <a:cubicBezTo>
                      <a:pt x="449" y="94"/>
                      <a:pt x="449" y="94"/>
                      <a:pt x="449" y="94"/>
                    </a:cubicBezTo>
                    <a:cubicBezTo>
                      <a:pt x="447" y="92"/>
                      <a:pt x="447" y="92"/>
                      <a:pt x="447" y="92"/>
                    </a:cubicBezTo>
                    <a:cubicBezTo>
                      <a:pt x="447" y="92"/>
                      <a:pt x="440" y="81"/>
                      <a:pt x="436" y="77"/>
                    </a:cubicBezTo>
                    <a:cubicBezTo>
                      <a:pt x="434" y="74"/>
                      <a:pt x="433" y="74"/>
                      <a:pt x="432" y="73"/>
                    </a:cubicBezTo>
                    <a:cubicBezTo>
                      <a:pt x="430" y="74"/>
                      <a:pt x="424" y="76"/>
                      <a:pt x="419" y="78"/>
                    </a:cubicBezTo>
                    <a:cubicBezTo>
                      <a:pt x="416" y="79"/>
                      <a:pt x="413" y="79"/>
                      <a:pt x="410" y="79"/>
                    </a:cubicBezTo>
                    <a:cubicBezTo>
                      <a:pt x="406" y="79"/>
                      <a:pt x="401" y="78"/>
                      <a:pt x="399" y="76"/>
                    </a:cubicBezTo>
                    <a:cubicBezTo>
                      <a:pt x="397" y="75"/>
                      <a:pt x="395" y="74"/>
                      <a:pt x="393" y="74"/>
                    </a:cubicBezTo>
                    <a:cubicBezTo>
                      <a:pt x="391" y="74"/>
                      <a:pt x="390" y="74"/>
                      <a:pt x="389" y="75"/>
                    </a:cubicBezTo>
                    <a:cubicBezTo>
                      <a:pt x="387" y="76"/>
                      <a:pt x="386" y="76"/>
                      <a:pt x="384" y="76"/>
                    </a:cubicBezTo>
                    <a:cubicBezTo>
                      <a:pt x="382" y="76"/>
                      <a:pt x="380" y="75"/>
                      <a:pt x="378" y="74"/>
                    </a:cubicBezTo>
                    <a:cubicBezTo>
                      <a:pt x="376" y="72"/>
                      <a:pt x="373" y="69"/>
                      <a:pt x="374" y="66"/>
                    </a:cubicBezTo>
                    <a:cubicBezTo>
                      <a:pt x="374" y="65"/>
                      <a:pt x="373" y="61"/>
                      <a:pt x="371" y="57"/>
                    </a:cubicBezTo>
                    <a:cubicBezTo>
                      <a:pt x="369" y="54"/>
                      <a:pt x="370" y="52"/>
                      <a:pt x="370" y="50"/>
                    </a:cubicBezTo>
                    <a:cubicBezTo>
                      <a:pt x="369" y="49"/>
                      <a:pt x="368" y="48"/>
                      <a:pt x="366" y="47"/>
                    </a:cubicBezTo>
                    <a:cubicBezTo>
                      <a:pt x="363" y="45"/>
                      <a:pt x="362" y="45"/>
                      <a:pt x="361" y="45"/>
                    </a:cubicBezTo>
                    <a:cubicBezTo>
                      <a:pt x="361" y="45"/>
                      <a:pt x="361" y="45"/>
                      <a:pt x="360" y="45"/>
                    </a:cubicBezTo>
                    <a:cubicBezTo>
                      <a:pt x="359" y="45"/>
                      <a:pt x="358" y="46"/>
                      <a:pt x="356" y="46"/>
                    </a:cubicBezTo>
                    <a:cubicBezTo>
                      <a:pt x="354" y="46"/>
                      <a:pt x="352" y="45"/>
                      <a:pt x="350" y="44"/>
                    </a:cubicBezTo>
                    <a:cubicBezTo>
                      <a:pt x="349" y="43"/>
                      <a:pt x="348" y="43"/>
                      <a:pt x="347" y="43"/>
                    </a:cubicBezTo>
                    <a:cubicBezTo>
                      <a:pt x="346" y="43"/>
                      <a:pt x="345" y="43"/>
                      <a:pt x="343" y="43"/>
                    </a:cubicBezTo>
                    <a:cubicBezTo>
                      <a:pt x="343" y="43"/>
                      <a:pt x="343" y="43"/>
                      <a:pt x="342" y="43"/>
                    </a:cubicBezTo>
                    <a:cubicBezTo>
                      <a:pt x="341" y="43"/>
                      <a:pt x="340" y="43"/>
                      <a:pt x="340" y="42"/>
                    </a:cubicBezTo>
                    <a:cubicBezTo>
                      <a:pt x="338" y="41"/>
                      <a:pt x="338" y="38"/>
                      <a:pt x="339" y="34"/>
                    </a:cubicBezTo>
                    <a:cubicBezTo>
                      <a:pt x="339" y="32"/>
                      <a:pt x="338" y="28"/>
                      <a:pt x="336" y="27"/>
                    </a:cubicBezTo>
                    <a:cubicBezTo>
                      <a:pt x="334" y="26"/>
                      <a:pt x="334" y="26"/>
                      <a:pt x="334" y="26"/>
                    </a:cubicBezTo>
                    <a:cubicBezTo>
                      <a:pt x="335" y="24"/>
                      <a:pt x="335" y="24"/>
                      <a:pt x="335" y="24"/>
                    </a:cubicBezTo>
                    <a:cubicBezTo>
                      <a:pt x="336" y="24"/>
                      <a:pt x="336" y="22"/>
                      <a:pt x="343" y="20"/>
                    </a:cubicBezTo>
                    <a:cubicBezTo>
                      <a:pt x="342" y="19"/>
                      <a:pt x="341" y="18"/>
                      <a:pt x="340" y="18"/>
                    </a:cubicBezTo>
                    <a:cubicBezTo>
                      <a:pt x="336" y="16"/>
                      <a:pt x="334" y="12"/>
                      <a:pt x="335" y="8"/>
                    </a:cubicBezTo>
                    <a:cubicBezTo>
                      <a:pt x="335" y="8"/>
                      <a:pt x="335" y="6"/>
                      <a:pt x="328" y="1"/>
                    </a:cubicBezTo>
                    <a:cubicBezTo>
                      <a:pt x="328" y="0"/>
                      <a:pt x="328" y="0"/>
                      <a:pt x="328" y="0"/>
                    </a:cubicBezTo>
                    <a:cubicBezTo>
                      <a:pt x="328" y="0"/>
                      <a:pt x="327" y="0"/>
                      <a:pt x="3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367" name="Group 723">
              <a:extLst>
                <a:ext uri="{FF2B5EF4-FFF2-40B4-BE49-F238E27FC236}">
                  <a16:creationId xmlns:a16="http://schemas.microsoft.com/office/drawing/2014/main" id="{FDB22B9F-F423-4F19-8696-164698DE80FB}"/>
                </a:ext>
              </a:extLst>
            </p:cNvPr>
            <p:cNvGrpSpPr>
              <a:grpSpLocks noChangeAspect="1"/>
            </p:cNvGrpSpPr>
            <p:nvPr/>
          </p:nvGrpSpPr>
          <p:grpSpPr bwMode="auto">
            <a:xfrm>
              <a:off x="5156200" y="-232098"/>
              <a:ext cx="2459038" cy="1411288"/>
              <a:chOff x="3248" y="-337"/>
              <a:chExt cx="1549" cy="889"/>
            </a:xfrm>
            <a:grpFill/>
          </p:grpSpPr>
          <p:sp>
            <p:nvSpPr>
              <p:cNvPr id="368" name="Freeform 724">
                <a:extLst>
                  <a:ext uri="{FF2B5EF4-FFF2-40B4-BE49-F238E27FC236}">
                    <a16:creationId xmlns:a16="http://schemas.microsoft.com/office/drawing/2014/main" id="{3CE086F1-999D-4AE6-9609-D3A2E6CF023D}"/>
                  </a:ext>
                </a:extLst>
              </p:cNvPr>
              <p:cNvSpPr>
                <a:spLocks/>
              </p:cNvSpPr>
              <p:nvPr/>
            </p:nvSpPr>
            <p:spPr bwMode="auto">
              <a:xfrm>
                <a:off x="4297" y="-82"/>
                <a:ext cx="54" cy="31"/>
              </a:xfrm>
              <a:custGeom>
                <a:avLst/>
                <a:gdLst>
                  <a:gd name="T0" fmla="*/ 10 w 23"/>
                  <a:gd name="T1" fmla="*/ 2 h 13"/>
                  <a:gd name="T2" fmla="*/ 15 w 23"/>
                  <a:gd name="T3" fmla="*/ 13 h 13"/>
                  <a:gd name="T4" fmla="*/ 21 w 23"/>
                  <a:gd name="T5" fmla="*/ 12 h 13"/>
                  <a:gd name="T6" fmla="*/ 23 w 23"/>
                  <a:gd name="T7" fmla="*/ 9 h 13"/>
                  <a:gd name="T8" fmla="*/ 14 w 23"/>
                  <a:gd name="T9" fmla="*/ 5 h 13"/>
                  <a:gd name="T10" fmla="*/ 10 w 23"/>
                  <a:gd name="T11" fmla="*/ 2 h 13"/>
                </a:gdLst>
                <a:ahLst/>
                <a:cxnLst>
                  <a:cxn ang="0">
                    <a:pos x="T0" y="T1"/>
                  </a:cxn>
                  <a:cxn ang="0">
                    <a:pos x="T2" y="T3"/>
                  </a:cxn>
                  <a:cxn ang="0">
                    <a:pos x="T4" y="T5"/>
                  </a:cxn>
                  <a:cxn ang="0">
                    <a:pos x="T6" y="T7"/>
                  </a:cxn>
                  <a:cxn ang="0">
                    <a:pos x="T8" y="T9"/>
                  </a:cxn>
                  <a:cxn ang="0">
                    <a:pos x="T10" y="T11"/>
                  </a:cxn>
                </a:cxnLst>
                <a:rect l="0" t="0" r="r" b="b"/>
                <a:pathLst>
                  <a:path w="23" h="13">
                    <a:moveTo>
                      <a:pt x="10" y="2"/>
                    </a:moveTo>
                    <a:cubicBezTo>
                      <a:pt x="0" y="0"/>
                      <a:pt x="13" y="12"/>
                      <a:pt x="15" y="13"/>
                    </a:cubicBezTo>
                    <a:cubicBezTo>
                      <a:pt x="17" y="13"/>
                      <a:pt x="19" y="13"/>
                      <a:pt x="21" y="12"/>
                    </a:cubicBezTo>
                    <a:cubicBezTo>
                      <a:pt x="22" y="11"/>
                      <a:pt x="21" y="10"/>
                      <a:pt x="23" y="9"/>
                    </a:cubicBezTo>
                    <a:cubicBezTo>
                      <a:pt x="20" y="8"/>
                      <a:pt x="17" y="7"/>
                      <a:pt x="14" y="5"/>
                    </a:cubicBezTo>
                    <a:cubicBezTo>
                      <a:pt x="13" y="4"/>
                      <a:pt x="12" y="2"/>
                      <a:pt x="1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9" name="Freeform 725">
                <a:extLst>
                  <a:ext uri="{FF2B5EF4-FFF2-40B4-BE49-F238E27FC236}">
                    <a16:creationId xmlns:a16="http://schemas.microsoft.com/office/drawing/2014/main" id="{34A634B5-44C9-43C4-BFC4-9BEBA5A7DC9D}"/>
                  </a:ext>
                </a:extLst>
              </p:cNvPr>
              <p:cNvSpPr>
                <a:spLocks/>
              </p:cNvSpPr>
              <p:nvPr/>
            </p:nvSpPr>
            <p:spPr bwMode="auto">
              <a:xfrm>
                <a:off x="3789" y="530"/>
                <a:ext cx="38" cy="22"/>
              </a:xfrm>
              <a:custGeom>
                <a:avLst/>
                <a:gdLst>
                  <a:gd name="T0" fmla="*/ 10 w 16"/>
                  <a:gd name="T1" fmla="*/ 9 h 9"/>
                  <a:gd name="T2" fmla="*/ 16 w 16"/>
                  <a:gd name="T3" fmla="*/ 4 h 9"/>
                  <a:gd name="T4" fmla="*/ 10 w 16"/>
                  <a:gd name="T5" fmla="*/ 0 h 9"/>
                  <a:gd name="T6" fmla="*/ 4 w 16"/>
                  <a:gd name="T7" fmla="*/ 0 h 9"/>
                  <a:gd name="T8" fmla="*/ 10 w 16"/>
                  <a:gd name="T9" fmla="*/ 9 h 9"/>
                </a:gdLst>
                <a:ahLst/>
                <a:cxnLst>
                  <a:cxn ang="0">
                    <a:pos x="T0" y="T1"/>
                  </a:cxn>
                  <a:cxn ang="0">
                    <a:pos x="T2" y="T3"/>
                  </a:cxn>
                  <a:cxn ang="0">
                    <a:pos x="T4" y="T5"/>
                  </a:cxn>
                  <a:cxn ang="0">
                    <a:pos x="T6" y="T7"/>
                  </a:cxn>
                  <a:cxn ang="0">
                    <a:pos x="T8" y="T9"/>
                  </a:cxn>
                </a:cxnLst>
                <a:rect l="0" t="0" r="r" b="b"/>
                <a:pathLst>
                  <a:path w="16" h="9">
                    <a:moveTo>
                      <a:pt x="10" y="9"/>
                    </a:moveTo>
                    <a:cubicBezTo>
                      <a:pt x="12" y="9"/>
                      <a:pt x="16" y="6"/>
                      <a:pt x="16" y="4"/>
                    </a:cubicBezTo>
                    <a:cubicBezTo>
                      <a:pt x="16" y="0"/>
                      <a:pt x="12" y="0"/>
                      <a:pt x="10" y="0"/>
                    </a:cubicBezTo>
                    <a:cubicBezTo>
                      <a:pt x="8" y="0"/>
                      <a:pt x="6" y="0"/>
                      <a:pt x="4" y="0"/>
                    </a:cubicBezTo>
                    <a:cubicBezTo>
                      <a:pt x="0" y="1"/>
                      <a:pt x="9" y="8"/>
                      <a:pt x="1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0" name="Freeform 726">
                <a:extLst>
                  <a:ext uri="{FF2B5EF4-FFF2-40B4-BE49-F238E27FC236}">
                    <a16:creationId xmlns:a16="http://schemas.microsoft.com/office/drawing/2014/main" id="{B6FF16BD-D66E-48DB-BF42-DA3117312D57}"/>
                  </a:ext>
                </a:extLst>
              </p:cNvPr>
              <p:cNvSpPr>
                <a:spLocks/>
              </p:cNvSpPr>
              <p:nvPr/>
            </p:nvSpPr>
            <p:spPr bwMode="auto">
              <a:xfrm>
                <a:off x="3248" y="-263"/>
                <a:ext cx="733" cy="512"/>
              </a:xfrm>
              <a:custGeom>
                <a:avLst/>
                <a:gdLst>
                  <a:gd name="T0" fmla="*/ 27 w 309"/>
                  <a:gd name="T1" fmla="*/ 47 h 215"/>
                  <a:gd name="T2" fmla="*/ 34 w 309"/>
                  <a:gd name="T3" fmla="*/ 57 h 215"/>
                  <a:gd name="T4" fmla="*/ 32 w 309"/>
                  <a:gd name="T5" fmla="*/ 69 h 215"/>
                  <a:gd name="T6" fmla="*/ 22 w 309"/>
                  <a:gd name="T7" fmla="*/ 82 h 215"/>
                  <a:gd name="T8" fmla="*/ 65 w 309"/>
                  <a:gd name="T9" fmla="*/ 95 h 215"/>
                  <a:gd name="T10" fmla="*/ 83 w 309"/>
                  <a:gd name="T11" fmla="*/ 116 h 215"/>
                  <a:gd name="T12" fmla="*/ 98 w 309"/>
                  <a:gd name="T13" fmla="*/ 110 h 215"/>
                  <a:gd name="T14" fmla="*/ 103 w 309"/>
                  <a:gd name="T15" fmla="*/ 99 h 215"/>
                  <a:gd name="T16" fmla="*/ 118 w 309"/>
                  <a:gd name="T17" fmla="*/ 91 h 215"/>
                  <a:gd name="T18" fmla="*/ 130 w 309"/>
                  <a:gd name="T19" fmla="*/ 76 h 215"/>
                  <a:gd name="T20" fmla="*/ 150 w 309"/>
                  <a:gd name="T21" fmla="*/ 98 h 215"/>
                  <a:gd name="T22" fmla="*/ 162 w 309"/>
                  <a:gd name="T23" fmla="*/ 87 h 215"/>
                  <a:gd name="T24" fmla="*/ 166 w 309"/>
                  <a:gd name="T25" fmla="*/ 102 h 215"/>
                  <a:gd name="T26" fmla="*/ 138 w 309"/>
                  <a:gd name="T27" fmla="*/ 115 h 215"/>
                  <a:gd name="T28" fmla="*/ 83 w 309"/>
                  <a:gd name="T29" fmla="*/ 124 h 215"/>
                  <a:gd name="T30" fmla="*/ 93 w 309"/>
                  <a:gd name="T31" fmla="*/ 143 h 215"/>
                  <a:gd name="T32" fmla="*/ 128 w 309"/>
                  <a:gd name="T33" fmla="*/ 138 h 215"/>
                  <a:gd name="T34" fmla="*/ 167 w 309"/>
                  <a:gd name="T35" fmla="*/ 137 h 215"/>
                  <a:gd name="T36" fmla="*/ 181 w 309"/>
                  <a:gd name="T37" fmla="*/ 141 h 215"/>
                  <a:gd name="T38" fmla="*/ 129 w 309"/>
                  <a:gd name="T39" fmla="*/ 145 h 215"/>
                  <a:gd name="T40" fmla="*/ 157 w 309"/>
                  <a:gd name="T41" fmla="*/ 160 h 215"/>
                  <a:gd name="T42" fmla="*/ 128 w 309"/>
                  <a:gd name="T43" fmla="*/ 156 h 215"/>
                  <a:gd name="T44" fmla="*/ 106 w 309"/>
                  <a:gd name="T45" fmla="*/ 157 h 215"/>
                  <a:gd name="T46" fmla="*/ 111 w 309"/>
                  <a:gd name="T47" fmla="*/ 179 h 215"/>
                  <a:gd name="T48" fmla="*/ 145 w 309"/>
                  <a:gd name="T49" fmla="*/ 185 h 215"/>
                  <a:gd name="T50" fmla="*/ 158 w 309"/>
                  <a:gd name="T51" fmla="*/ 190 h 215"/>
                  <a:gd name="T52" fmla="*/ 150 w 309"/>
                  <a:gd name="T53" fmla="*/ 203 h 215"/>
                  <a:gd name="T54" fmla="*/ 179 w 309"/>
                  <a:gd name="T55" fmla="*/ 212 h 215"/>
                  <a:gd name="T56" fmla="*/ 180 w 309"/>
                  <a:gd name="T57" fmla="*/ 197 h 215"/>
                  <a:gd name="T58" fmla="*/ 192 w 309"/>
                  <a:gd name="T59" fmla="*/ 175 h 215"/>
                  <a:gd name="T60" fmla="*/ 214 w 309"/>
                  <a:gd name="T61" fmla="*/ 159 h 215"/>
                  <a:gd name="T62" fmla="*/ 238 w 309"/>
                  <a:gd name="T63" fmla="*/ 118 h 215"/>
                  <a:gd name="T64" fmla="*/ 248 w 309"/>
                  <a:gd name="T65" fmla="*/ 97 h 215"/>
                  <a:gd name="T66" fmla="*/ 268 w 309"/>
                  <a:gd name="T67" fmla="*/ 89 h 215"/>
                  <a:gd name="T68" fmla="*/ 288 w 309"/>
                  <a:gd name="T69" fmla="*/ 86 h 215"/>
                  <a:gd name="T70" fmla="*/ 305 w 309"/>
                  <a:gd name="T71" fmla="*/ 84 h 215"/>
                  <a:gd name="T72" fmla="*/ 263 w 309"/>
                  <a:gd name="T73" fmla="*/ 65 h 215"/>
                  <a:gd name="T74" fmla="*/ 236 w 309"/>
                  <a:gd name="T75" fmla="*/ 56 h 215"/>
                  <a:gd name="T76" fmla="*/ 221 w 309"/>
                  <a:gd name="T77" fmla="*/ 31 h 215"/>
                  <a:gd name="T78" fmla="*/ 200 w 309"/>
                  <a:gd name="T79" fmla="*/ 38 h 215"/>
                  <a:gd name="T80" fmla="*/ 180 w 309"/>
                  <a:gd name="T81" fmla="*/ 12 h 215"/>
                  <a:gd name="T82" fmla="*/ 158 w 309"/>
                  <a:gd name="T83" fmla="*/ 3 h 215"/>
                  <a:gd name="T84" fmla="*/ 148 w 309"/>
                  <a:gd name="T85" fmla="*/ 22 h 215"/>
                  <a:gd name="T86" fmla="*/ 161 w 309"/>
                  <a:gd name="T87" fmla="*/ 51 h 215"/>
                  <a:gd name="T88" fmla="*/ 161 w 309"/>
                  <a:gd name="T89" fmla="*/ 66 h 215"/>
                  <a:gd name="T90" fmla="*/ 148 w 309"/>
                  <a:gd name="T91" fmla="*/ 54 h 215"/>
                  <a:gd name="T92" fmla="*/ 138 w 309"/>
                  <a:gd name="T93" fmla="*/ 36 h 215"/>
                  <a:gd name="T94" fmla="*/ 117 w 309"/>
                  <a:gd name="T95" fmla="*/ 15 h 215"/>
                  <a:gd name="T96" fmla="*/ 100 w 309"/>
                  <a:gd name="T97" fmla="*/ 41 h 215"/>
                  <a:gd name="T98" fmla="*/ 86 w 309"/>
                  <a:gd name="T99" fmla="*/ 35 h 215"/>
                  <a:gd name="T100" fmla="*/ 52 w 309"/>
                  <a:gd name="T101" fmla="*/ 30 h 215"/>
                  <a:gd name="T102" fmla="*/ 96 w 309"/>
                  <a:gd name="T103" fmla="*/ 17 h 215"/>
                  <a:gd name="T104" fmla="*/ 53 w 309"/>
                  <a:gd name="T105" fmla="*/ 18 h 215"/>
                  <a:gd name="T106" fmla="*/ 41 w 309"/>
                  <a:gd name="T107" fmla="*/ 23 h 215"/>
                  <a:gd name="T108" fmla="*/ 16 w 309"/>
                  <a:gd name="T109" fmla="*/ 17 h 215"/>
                  <a:gd name="T110" fmla="*/ 12 w 309"/>
                  <a:gd name="T111" fmla="*/ 3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9" h="215">
                    <a:moveTo>
                      <a:pt x="15" y="53"/>
                    </a:moveTo>
                    <a:cubicBezTo>
                      <a:pt x="16" y="56"/>
                      <a:pt x="14" y="58"/>
                      <a:pt x="18" y="59"/>
                    </a:cubicBezTo>
                    <a:cubicBezTo>
                      <a:pt x="21" y="60"/>
                      <a:pt x="31" y="57"/>
                      <a:pt x="30" y="53"/>
                    </a:cubicBezTo>
                    <a:cubicBezTo>
                      <a:pt x="30" y="51"/>
                      <a:pt x="26" y="49"/>
                      <a:pt x="27" y="47"/>
                    </a:cubicBezTo>
                    <a:cubicBezTo>
                      <a:pt x="28" y="43"/>
                      <a:pt x="34" y="49"/>
                      <a:pt x="36" y="50"/>
                    </a:cubicBezTo>
                    <a:cubicBezTo>
                      <a:pt x="33" y="47"/>
                      <a:pt x="34" y="48"/>
                      <a:pt x="37" y="48"/>
                    </a:cubicBezTo>
                    <a:cubicBezTo>
                      <a:pt x="40" y="47"/>
                      <a:pt x="42" y="47"/>
                      <a:pt x="39" y="51"/>
                    </a:cubicBezTo>
                    <a:cubicBezTo>
                      <a:pt x="38" y="53"/>
                      <a:pt x="36" y="54"/>
                      <a:pt x="34" y="57"/>
                    </a:cubicBezTo>
                    <a:cubicBezTo>
                      <a:pt x="33" y="58"/>
                      <a:pt x="32" y="61"/>
                      <a:pt x="30" y="61"/>
                    </a:cubicBezTo>
                    <a:cubicBezTo>
                      <a:pt x="33" y="63"/>
                      <a:pt x="37" y="65"/>
                      <a:pt x="40" y="66"/>
                    </a:cubicBezTo>
                    <a:cubicBezTo>
                      <a:pt x="43" y="66"/>
                      <a:pt x="50" y="66"/>
                      <a:pt x="47" y="70"/>
                    </a:cubicBezTo>
                    <a:cubicBezTo>
                      <a:pt x="44" y="74"/>
                      <a:pt x="36" y="71"/>
                      <a:pt x="32" y="69"/>
                    </a:cubicBezTo>
                    <a:cubicBezTo>
                      <a:pt x="27" y="68"/>
                      <a:pt x="21" y="65"/>
                      <a:pt x="16" y="66"/>
                    </a:cubicBezTo>
                    <a:cubicBezTo>
                      <a:pt x="12" y="67"/>
                      <a:pt x="12" y="67"/>
                      <a:pt x="15" y="70"/>
                    </a:cubicBezTo>
                    <a:cubicBezTo>
                      <a:pt x="17" y="73"/>
                      <a:pt x="20" y="75"/>
                      <a:pt x="22" y="78"/>
                    </a:cubicBezTo>
                    <a:cubicBezTo>
                      <a:pt x="23" y="79"/>
                      <a:pt x="20" y="81"/>
                      <a:pt x="22" y="82"/>
                    </a:cubicBezTo>
                    <a:cubicBezTo>
                      <a:pt x="25" y="83"/>
                      <a:pt x="29" y="84"/>
                      <a:pt x="32" y="86"/>
                    </a:cubicBezTo>
                    <a:cubicBezTo>
                      <a:pt x="38" y="88"/>
                      <a:pt x="44" y="91"/>
                      <a:pt x="49" y="93"/>
                    </a:cubicBezTo>
                    <a:cubicBezTo>
                      <a:pt x="51" y="94"/>
                      <a:pt x="55" y="96"/>
                      <a:pt x="57" y="96"/>
                    </a:cubicBezTo>
                    <a:cubicBezTo>
                      <a:pt x="59" y="95"/>
                      <a:pt x="63" y="94"/>
                      <a:pt x="65" y="95"/>
                    </a:cubicBezTo>
                    <a:cubicBezTo>
                      <a:pt x="59" y="100"/>
                      <a:pt x="50" y="97"/>
                      <a:pt x="42" y="98"/>
                    </a:cubicBezTo>
                    <a:cubicBezTo>
                      <a:pt x="45" y="104"/>
                      <a:pt x="51" y="107"/>
                      <a:pt x="55" y="111"/>
                    </a:cubicBezTo>
                    <a:cubicBezTo>
                      <a:pt x="59" y="115"/>
                      <a:pt x="60" y="116"/>
                      <a:pt x="66" y="116"/>
                    </a:cubicBezTo>
                    <a:cubicBezTo>
                      <a:pt x="71" y="116"/>
                      <a:pt x="79" y="118"/>
                      <a:pt x="83" y="116"/>
                    </a:cubicBezTo>
                    <a:cubicBezTo>
                      <a:pt x="87" y="115"/>
                      <a:pt x="85" y="115"/>
                      <a:pt x="83" y="112"/>
                    </a:cubicBezTo>
                    <a:cubicBezTo>
                      <a:pt x="85" y="112"/>
                      <a:pt x="86" y="113"/>
                      <a:pt x="88" y="113"/>
                    </a:cubicBezTo>
                    <a:cubicBezTo>
                      <a:pt x="89" y="113"/>
                      <a:pt x="89" y="111"/>
                      <a:pt x="90" y="111"/>
                    </a:cubicBezTo>
                    <a:cubicBezTo>
                      <a:pt x="93" y="110"/>
                      <a:pt x="95" y="112"/>
                      <a:pt x="98" y="110"/>
                    </a:cubicBezTo>
                    <a:cubicBezTo>
                      <a:pt x="101" y="108"/>
                      <a:pt x="96" y="107"/>
                      <a:pt x="98" y="105"/>
                    </a:cubicBezTo>
                    <a:cubicBezTo>
                      <a:pt x="99" y="104"/>
                      <a:pt x="104" y="105"/>
                      <a:pt x="106" y="105"/>
                    </a:cubicBezTo>
                    <a:cubicBezTo>
                      <a:pt x="108" y="105"/>
                      <a:pt x="112" y="106"/>
                      <a:pt x="111" y="103"/>
                    </a:cubicBezTo>
                    <a:cubicBezTo>
                      <a:pt x="110" y="99"/>
                      <a:pt x="105" y="101"/>
                      <a:pt x="103" y="99"/>
                    </a:cubicBezTo>
                    <a:cubicBezTo>
                      <a:pt x="99" y="96"/>
                      <a:pt x="108" y="96"/>
                      <a:pt x="107" y="94"/>
                    </a:cubicBezTo>
                    <a:cubicBezTo>
                      <a:pt x="107" y="92"/>
                      <a:pt x="107" y="88"/>
                      <a:pt x="105" y="87"/>
                    </a:cubicBezTo>
                    <a:cubicBezTo>
                      <a:pt x="107" y="86"/>
                      <a:pt x="109" y="83"/>
                      <a:pt x="111" y="83"/>
                    </a:cubicBezTo>
                    <a:cubicBezTo>
                      <a:pt x="116" y="83"/>
                      <a:pt x="114" y="90"/>
                      <a:pt x="118" y="91"/>
                    </a:cubicBezTo>
                    <a:cubicBezTo>
                      <a:pt x="121" y="92"/>
                      <a:pt x="120" y="89"/>
                      <a:pt x="123" y="88"/>
                    </a:cubicBezTo>
                    <a:cubicBezTo>
                      <a:pt x="124" y="88"/>
                      <a:pt x="125" y="88"/>
                      <a:pt x="126" y="88"/>
                    </a:cubicBezTo>
                    <a:cubicBezTo>
                      <a:pt x="128" y="87"/>
                      <a:pt x="126" y="86"/>
                      <a:pt x="126" y="85"/>
                    </a:cubicBezTo>
                    <a:cubicBezTo>
                      <a:pt x="127" y="83"/>
                      <a:pt x="126" y="78"/>
                      <a:pt x="130" y="76"/>
                    </a:cubicBezTo>
                    <a:cubicBezTo>
                      <a:pt x="135" y="75"/>
                      <a:pt x="134" y="85"/>
                      <a:pt x="133" y="88"/>
                    </a:cubicBezTo>
                    <a:cubicBezTo>
                      <a:pt x="131" y="93"/>
                      <a:pt x="125" y="97"/>
                      <a:pt x="132" y="100"/>
                    </a:cubicBezTo>
                    <a:cubicBezTo>
                      <a:pt x="135" y="101"/>
                      <a:pt x="137" y="100"/>
                      <a:pt x="140" y="100"/>
                    </a:cubicBezTo>
                    <a:cubicBezTo>
                      <a:pt x="143" y="99"/>
                      <a:pt x="147" y="100"/>
                      <a:pt x="150" y="98"/>
                    </a:cubicBezTo>
                    <a:cubicBezTo>
                      <a:pt x="151" y="98"/>
                      <a:pt x="152" y="96"/>
                      <a:pt x="154" y="95"/>
                    </a:cubicBezTo>
                    <a:cubicBezTo>
                      <a:pt x="155" y="94"/>
                      <a:pt x="156" y="94"/>
                      <a:pt x="157" y="94"/>
                    </a:cubicBezTo>
                    <a:cubicBezTo>
                      <a:pt x="159" y="93"/>
                      <a:pt x="159" y="91"/>
                      <a:pt x="160" y="89"/>
                    </a:cubicBezTo>
                    <a:cubicBezTo>
                      <a:pt x="161" y="88"/>
                      <a:pt x="161" y="88"/>
                      <a:pt x="162" y="87"/>
                    </a:cubicBezTo>
                    <a:cubicBezTo>
                      <a:pt x="163" y="85"/>
                      <a:pt x="163" y="83"/>
                      <a:pt x="166" y="84"/>
                    </a:cubicBezTo>
                    <a:cubicBezTo>
                      <a:pt x="168" y="85"/>
                      <a:pt x="170" y="87"/>
                      <a:pt x="172" y="86"/>
                    </a:cubicBezTo>
                    <a:cubicBezTo>
                      <a:pt x="169" y="92"/>
                      <a:pt x="164" y="96"/>
                      <a:pt x="161" y="101"/>
                    </a:cubicBezTo>
                    <a:cubicBezTo>
                      <a:pt x="163" y="102"/>
                      <a:pt x="164" y="102"/>
                      <a:pt x="166" y="102"/>
                    </a:cubicBezTo>
                    <a:cubicBezTo>
                      <a:pt x="168" y="103"/>
                      <a:pt x="170" y="104"/>
                      <a:pt x="172" y="104"/>
                    </a:cubicBezTo>
                    <a:cubicBezTo>
                      <a:pt x="166" y="105"/>
                      <a:pt x="159" y="106"/>
                      <a:pt x="152" y="107"/>
                    </a:cubicBezTo>
                    <a:cubicBezTo>
                      <a:pt x="149" y="107"/>
                      <a:pt x="144" y="107"/>
                      <a:pt x="142" y="109"/>
                    </a:cubicBezTo>
                    <a:cubicBezTo>
                      <a:pt x="139" y="112"/>
                      <a:pt x="143" y="114"/>
                      <a:pt x="138" y="115"/>
                    </a:cubicBezTo>
                    <a:cubicBezTo>
                      <a:pt x="134" y="117"/>
                      <a:pt x="129" y="118"/>
                      <a:pt x="124" y="120"/>
                    </a:cubicBezTo>
                    <a:cubicBezTo>
                      <a:pt x="115" y="122"/>
                      <a:pt x="107" y="125"/>
                      <a:pt x="98" y="128"/>
                    </a:cubicBezTo>
                    <a:cubicBezTo>
                      <a:pt x="96" y="129"/>
                      <a:pt x="90" y="124"/>
                      <a:pt x="87" y="123"/>
                    </a:cubicBezTo>
                    <a:cubicBezTo>
                      <a:pt x="86" y="122"/>
                      <a:pt x="85" y="123"/>
                      <a:pt x="83" y="124"/>
                    </a:cubicBezTo>
                    <a:cubicBezTo>
                      <a:pt x="78" y="125"/>
                      <a:pt x="79" y="125"/>
                      <a:pt x="80" y="130"/>
                    </a:cubicBezTo>
                    <a:cubicBezTo>
                      <a:pt x="80" y="133"/>
                      <a:pt x="80" y="136"/>
                      <a:pt x="81" y="139"/>
                    </a:cubicBezTo>
                    <a:cubicBezTo>
                      <a:pt x="82" y="142"/>
                      <a:pt x="83" y="144"/>
                      <a:pt x="86" y="144"/>
                    </a:cubicBezTo>
                    <a:cubicBezTo>
                      <a:pt x="90" y="145"/>
                      <a:pt x="90" y="144"/>
                      <a:pt x="93" y="143"/>
                    </a:cubicBezTo>
                    <a:cubicBezTo>
                      <a:pt x="95" y="142"/>
                      <a:pt x="109" y="144"/>
                      <a:pt x="108" y="142"/>
                    </a:cubicBezTo>
                    <a:cubicBezTo>
                      <a:pt x="108" y="142"/>
                      <a:pt x="110" y="143"/>
                      <a:pt x="111" y="142"/>
                    </a:cubicBezTo>
                    <a:cubicBezTo>
                      <a:pt x="114" y="142"/>
                      <a:pt x="117" y="142"/>
                      <a:pt x="120" y="141"/>
                    </a:cubicBezTo>
                    <a:cubicBezTo>
                      <a:pt x="124" y="141"/>
                      <a:pt x="125" y="139"/>
                      <a:pt x="128" y="138"/>
                    </a:cubicBezTo>
                    <a:cubicBezTo>
                      <a:pt x="130" y="137"/>
                      <a:pt x="135" y="135"/>
                      <a:pt x="137" y="135"/>
                    </a:cubicBezTo>
                    <a:cubicBezTo>
                      <a:pt x="139" y="136"/>
                      <a:pt x="141" y="138"/>
                      <a:pt x="144" y="139"/>
                    </a:cubicBezTo>
                    <a:cubicBezTo>
                      <a:pt x="150" y="139"/>
                      <a:pt x="156" y="138"/>
                      <a:pt x="162" y="137"/>
                    </a:cubicBezTo>
                    <a:cubicBezTo>
                      <a:pt x="164" y="137"/>
                      <a:pt x="165" y="137"/>
                      <a:pt x="167" y="137"/>
                    </a:cubicBezTo>
                    <a:cubicBezTo>
                      <a:pt x="170" y="137"/>
                      <a:pt x="169" y="136"/>
                      <a:pt x="170" y="134"/>
                    </a:cubicBezTo>
                    <a:cubicBezTo>
                      <a:pt x="172" y="133"/>
                      <a:pt x="176" y="132"/>
                      <a:pt x="178" y="132"/>
                    </a:cubicBezTo>
                    <a:cubicBezTo>
                      <a:pt x="177" y="134"/>
                      <a:pt x="175" y="135"/>
                      <a:pt x="173" y="135"/>
                    </a:cubicBezTo>
                    <a:cubicBezTo>
                      <a:pt x="173" y="140"/>
                      <a:pt x="178" y="140"/>
                      <a:pt x="181" y="141"/>
                    </a:cubicBezTo>
                    <a:cubicBezTo>
                      <a:pt x="178" y="141"/>
                      <a:pt x="175" y="140"/>
                      <a:pt x="172" y="140"/>
                    </a:cubicBezTo>
                    <a:cubicBezTo>
                      <a:pt x="169" y="140"/>
                      <a:pt x="166" y="141"/>
                      <a:pt x="163" y="141"/>
                    </a:cubicBezTo>
                    <a:cubicBezTo>
                      <a:pt x="158" y="141"/>
                      <a:pt x="152" y="143"/>
                      <a:pt x="146" y="143"/>
                    </a:cubicBezTo>
                    <a:cubicBezTo>
                      <a:pt x="141" y="143"/>
                      <a:pt x="135" y="145"/>
                      <a:pt x="129" y="145"/>
                    </a:cubicBezTo>
                    <a:cubicBezTo>
                      <a:pt x="124" y="146"/>
                      <a:pt x="118" y="147"/>
                      <a:pt x="113" y="149"/>
                    </a:cubicBezTo>
                    <a:cubicBezTo>
                      <a:pt x="118" y="153"/>
                      <a:pt x="131" y="152"/>
                      <a:pt x="137" y="154"/>
                    </a:cubicBezTo>
                    <a:cubicBezTo>
                      <a:pt x="142" y="154"/>
                      <a:pt x="145" y="154"/>
                      <a:pt x="148" y="157"/>
                    </a:cubicBezTo>
                    <a:cubicBezTo>
                      <a:pt x="151" y="159"/>
                      <a:pt x="154" y="159"/>
                      <a:pt x="157" y="160"/>
                    </a:cubicBezTo>
                    <a:cubicBezTo>
                      <a:pt x="156" y="160"/>
                      <a:pt x="155" y="162"/>
                      <a:pt x="154" y="162"/>
                    </a:cubicBezTo>
                    <a:cubicBezTo>
                      <a:pt x="151" y="162"/>
                      <a:pt x="149" y="159"/>
                      <a:pt x="146" y="158"/>
                    </a:cubicBezTo>
                    <a:cubicBezTo>
                      <a:pt x="143" y="157"/>
                      <a:pt x="140" y="156"/>
                      <a:pt x="137" y="157"/>
                    </a:cubicBezTo>
                    <a:cubicBezTo>
                      <a:pt x="134" y="157"/>
                      <a:pt x="131" y="157"/>
                      <a:pt x="128" y="156"/>
                    </a:cubicBezTo>
                    <a:cubicBezTo>
                      <a:pt x="125" y="156"/>
                      <a:pt x="122" y="155"/>
                      <a:pt x="120" y="155"/>
                    </a:cubicBezTo>
                    <a:cubicBezTo>
                      <a:pt x="118" y="155"/>
                      <a:pt x="117" y="156"/>
                      <a:pt x="115" y="156"/>
                    </a:cubicBezTo>
                    <a:cubicBezTo>
                      <a:pt x="113" y="156"/>
                      <a:pt x="113" y="157"/>
                      <a:pt x="112" y="159"/>
                    </a:cubicBezTo>
                    <a:cubicBezTo>
                      <a:pt x="111" y="161"/>
                      <a:pt x="106" y="160"/>
                      <a:pt x="106" y="157"/>
                    </a:cubicBezTo>
                    <a:cubicBezTo>
                      <a:pt x="107" y="152"/>
                      <a:pt x="94" y="154"/>
                      <a:pt x="91" y="156"/>
                    </a:cubicBezTo>
                    <a:cubicBezTo>
                      <a:pt x="88" y="157"/>
                      <a:pt x="88" y="157"/>
                      <a:pt x="90" y="160"/>
                    </a:cubicBezTo>
                    <a:cubicBezTo>
                      <a:pt x="91" y="163"/>
                      <a:pt x="93" y="167"/>
                      <a:pt x="94" y="170"/>
                    </a:cubicBezTo>
                    <a:cubicBezTo>
                      <a:pt x="98" y="176"/>
                      <a:pt x="105" y="177"/>
                      <a:pt x="111" y="179"/>
                    </a:cubicBezTo>
                    <a:cubicBezTo>
                      <a:pt x="115" y="180"/>
                      <a:pt x="119" y="180"/>
                      <a:pt x="123" y="182"/>
                    </a:cubicBezTo>
                    <a:cubicBezTo>
                      <a:pt x="128" y="185"/>
                      <a:pt x="132" y="188"/>
                      <a:pt x="138" y="189"/>
                    </a:cubicBezTo>
                    <a:cubicBezTo>
                      <a:pt x="140" y="189"/>
                      <a:pt x="142" y="188"/>
                      <a:pt x="144" y="188"/>
                    </a:cubicBezTo>
                    <a:cubicBezTo>
                      <a:pt x="148" y="188"/>
                      <a:pt x="144" y="186"/>
                      <a:pt x="145" y="185"/>
                    </a:cubicBezTo>
                    <a:cubicBezTo>
                      <a:pt x="145" y="186"/>
                      <a:pt x="149" y="184"/>
                      <a:pt x="148" y="184"/>
                    </a:cubicBezTo>
                    <a:cubicBezTo>
                      <a:pt x="152" y="184"/>
                      <a:pt x="154" y="189"/>
                      <a:pt x="157" y="189"/>
                    </a:cubicBezTo>
                    <a:cubicBezTo>
                      <a:pt x="159" y="190"/>
                      <a:pt x="162" y="189"/>
                      <a:pt x="164" y="189"/>
                    </a:cubicBezTo>
                    <a:cubicBezTo>
                      <a:pt x="162" y="190"/>
                      <a:pt x="160" y="189"/>
                      <a:pt x="158" y="190"/>
                    </a:cubicBezTo>
                    <a:cubicBezTo>
                      <a:pt x="158" y="191"/>
                      <a:pt x="156" y="194"/>
                      <a:pt x="156" y="192"/>
                    </a:cubicBezTo>
                    <a:cubicBezTo>
                      <a:pt x="155" y="189"/>
                      <a:pt x="151" y="190"/>
                      <a:pt x="149" y="190"/>
                    </a:cubicBezTo>
                    <a:cubicBezTo>
                      <a:pt x="146" y="191"/>
                      <a:pt x="137" y="192"/>
                      <a:pt x="135" y="195"/>
                    </a:cubicBezTo>
                    <a:cubicBezTo>
                      <a:pt x="140" y="199"/>
                      <a:pt x="145" y="201"/>
                      <a:pt x="150" y="203"/>
                    </a:cubicBezTo>
                    <a:cubicBezTo>
                      <a:pt x="152" y="204"/>
                      <a:pt x="156" y="206"/>
                      <a:pt x="157" y="207"/>
                    </a:cubicBezTo>
                    <a:cubicBezTo>
                      <a:pt x="158" y="209"/>
                      <a:pt x="158" y="212"/>
                      <a:pt x="158" y="214"/>
                    </a:cubicBezTo>
                    <a:cubicBezTo>
                      <a:pt x="164" y="209"/>
                      <a:pt x="166" y="215"/>
                      <a:pt x="173" y="214"/>
                    </a:cubicBezTo>
                    <a:cubicBezTo>
                      <a:pt x="175" y="214"/>
                      <a:pt x="177" y="213"/>
                      <a:pt x="179" y="212"/>
                    </a:cubicBezTo>
                    <a:cubicBezTo>
                      <a:pt x="179" y="211"/>
                      <a:pt x="183" y="208"/>
                      <a:pt x="183" y="207"/>
                    </a:cubicBezTo>
                    <a:cubicBezTo>
                      <a:pt x="184" y="204"/>
                      <a:pt x="180" y="204"/>
                      <a:pt x="178" y="202"/>
                    </a:cubicBezTo>
                    <a:cubicBezTo>
                      <a:pt x="177" y="201"/>
                      <a:pt x="175" y="202"/>
                      <a:pt x="178" y="200"/>
                    </a:cubicBezTo>
                    <a:cubicBezTo>
                      <a:pt x="180" y="199"/>
                      <a:pt x="179" y="198"/>
                      <a:pt x="180" y="197"/>
                    </a:cubicBezTo>
                    <a:cubicBezTo>
                      <a:pt x="182" y="195"/>
                      <a:pt x="186" y="194"/>
                      <a:pt x="186" y="192"/>
                    </a:cubicBezTo>
                    <a:cubicBezTo>
                      <a:pt x="188" y="189"/>
                      <a:pt x="184" y="188"/>
                      <a:pt x="182" y="186"/>
                    </a:cubicBezTo>
                    <a:cubicBezTo>
                      <a:pt x="187" y="185"/>
                      <a:pt x="187" y="187"/>
                      <a:pt x="189" y="182"/>
                    </a:cubicBezTo>
                    <a:cubicBezTo>
                      <a:pt x="190" y="180"/>
                      <a:pt x="191" y="178"/>
                      <a:pt x="192" y="175"/>
                    </a:cubicBezTo>
                    <a:cubicBezTo>
                      <a:pt x="192" y="174"/>
                      <a:pt x="193" y="170"/>
                      <a:pt x="194" y="169"/>
                    </a:cubicBezTo>
                    <a:cubicBezTo>
                      <a:pt x="195" y="166"/>
                      <a:pt x="197" y="162"/>
                      <a:pt x="199" y="161"/>
                    </a:cubicBezTo>
                    <a:cubicBezTo>
                      <a:pt x="201" y="159"/>
                      <a:pt x="203" y="158"/>
                      <a:pt x="206" y="158"/>
                    </a:cubicBezTo>
                    <a:cubicBezTo>
                      <a:pt x="208" y="158"/>
                      <a:pt x="211" y="159"/>
                      <a:pt x="214" y="159"/>
                    </a:cubicBezTo>
                    <a:cubicBezTo>
                      <a:pt x="216" y="159"/>
                      <a:pt x="217" y="153"/>
                      <a:pt x="217" y="150"/>
                    </a:cubicBezTo>
                    <a:cubicBezTo>
                      <a:pt x="219" y="146"/>
                      <a:pt x="220" y="142"/>
                      <a:pt x="220" y="138"/>
                    </a:cubicBezTo>
                    <a:cubicBezTo>
                      <a:pt x="220" y="135"/>
                      <a:pt x="221" y="124"/>
                      <a:pt x="224" y="125"/>
                    </a:cubicBezTo>
                    <a:cubicBezTo>
                      <a:pt x="230" y="126"/>
                      <a:pt x="240" y="127"/>
                      <a:pt x="238" y="118"/>
                    </a:cubicBezTo>
                    <a:cubicBezTo>
                      <a:pt x="237" y="115"/>
                      <a:pt x="235" y="111"/>
                      <a:pt x="236" y="108"/>
                    </a:cubicBezTo>
                    <a:cubicBezTo>
                      <a:pt x="236" y="107"/>
                      <a:pt x="238" y="107"/>
                      <a:pt x="238" y="105"/>
                    </a:cubicBezTo>
                    <a:cubicBezTo>
                      <a:pt x="238" y="100"/>
                      <a:pt x="234" y="100"/>
                      <a:pt x="240" y="99"/>
                    </a:cubicBezTo>
                    <a:cubicBezTo>
                      <a:pt x="243" y="99"/>
                      <a:pt x="246" y="98"/>
                      <a:pt x="248" y="97"/>
                    </a:cubicBezTo>
                    <a:cubicBezTo>
                      <a:pt x="250" y="97"/>
                      <a:pt x="252" y="97"/>
                      <a:pt x="253" y="97"/>
                    </a:cubicBezTo>
                    <a:cubicBezTo>
                      <a:pt x="256" y="97"/>
                      <a:pt x="256" y="93"/>
                      <a:pt x="257" y="91"/>
                    </a:cubicBezTo>
                    <a:cubicBezTo>
                      <a:pt x="259" y="88"/>
                      <a:pt x="262" y="91"/>
                      <a:pt x="265" y="91"/>
                    </a:cubicBezTo>
                    <a:cubicBezTo>
                      <a:pt x="266" y="91"/>
                      <a:pt x="267" y="89"/>
                      <a:pt x="268" y="89"/>
                    </a:cubicBezTo>
                    <a:cubicBezTo>
                      <a:pt x="269" y="88"/>
                      <a:pt x="272" y="88"/>
                      <a:pt x="273" y="88"/>
                    </a:cubicBezTo>
                    <a:cubicBezTo>
                      <a:pt x="276" y="88"/>
                      <a:pt x="279" y="90"/>
                      <a:pt x="282" y="89"/>
                    </a:cubicBezTo>
                    <a:cubicBezTo>
                      <a:pt x="283" y="89"/>
                      <a:pt x="283" y="87"/>
                      <a:pt x="284" y="86"/>
                    </a:cubicBezTo>
                    <a:cubicBezTo>
                      <a:pt x="285" y="85"/>
                      <a:pt x="286" y="86"/>
                      <a:pt x="288" y="86"/>
                    </a:cubicBezTo>
                    <a:cubicBezTo>
                      <a:pt x="290" y="86"/>
                      <a:pt x="293" y="89"/>
                      <a:pt x="296" y="88"/>
                    </a:cubicBezTo>
                    <a:cubicBezTo>
                      <a:pt x="297" y="88"/>
                      <a:pt x="298" y="87"/>
                      <a:pt x="299" y="87"/>
                    </a:cubicBezTo>
                    <a:cubicBezTo>
                      <a:pt x="300" y="86"/>
                      <a:pt x="302" y="88"/>
                      <a:pt x="303" y="87"/>
                    </a:cubicBezTo>
                    <a:cubicBezTo>
                      <a:pt x="305" y="87"/>
                      <a:pt x="304" y="86"/>
                      <a:pt x="305" y="84"/>
                    </a:cubicBezTo>
                    <a:cubicBezTo>
                      <a:pt x="306" y="83"/>
                      <a:pt x="309" y="82"/>
                      <a:pt x="309" y="81"/>
                    </a:cubicBezTo>
                    <a:cubicBezTo>
                      <a:pt x="309" y="78"/>
                      <a:pt x="288" y="73"/>
                      <a:pt x="285" y="72"/>
                    </a:cubicBezTo>
                    <a:cubicBezTo>
                      <a:pt x="280" y="70"/>
                      <a:pt x="276" y="68"/>
                      <a:pt x="271" y="66"/>
                    </a:cubicBezTo>
                    <a:cubicBezTo>
                      <a:pt x="269" y="66"/>
                      <a:pt x="264" y="66"/>
                      <a:pt x="263" y="65"/>
                    </a:cubicBezTo>
                    <a:cubicBezTo>
                      <a:pt x="260" y="62"/>
                      <a:pt x="260" y="58"/>
                      <a:pt x="256" y="57"/>
                    </a:cubicBezTo>
                    <a:cubicBezTo>
                      <a:pt x="252" y="56"/>
                      <a:pt x="248" y="54"/>
                      <a:pt x="244" y="55"/>
                    </a:cubicBezTo>
                    <a:cubicBezTo>
                      <a:pt x="242" y="55"/>
                      <a:pt x="242" y="57"/>
                      <a:pt x="240" y="57"/>
                    </a:cubicBezTo>
                    <a:cubicBezTo>
                      <a:pt x="239" y="57"/>
                      <a:pt x="237" y="57"/>
                      <a:pt x="236" y="56"/>
                    </a:cubicBezTo>
                    <a:cubicBezTo>
                      <a:pt x="233" y="54"/>
                      <a:pt x="231" y="47"/>
                      <a:pt x="231" y="43"/>
                    </a:cubicBezTo>
                    <a:cubicBezTo>
                      <a:pt x="232" y="41"/>
                      <a:pt x="233" y="42"/>
                      <a:pt x="232" y="39"/>
                    </a:cubicBezTo>
                    <a:cubicBezTo>
                      <a:pt x="232" y="37"/>
                      <a:pt x="231" y="36"/>
                      <a:pt x="229" y="34"/>
                    </a:cubicBezTo>
                    <a:cubicBezTo>
                      <a:pt x="227" y="32"/>
                      <a:pt x="225" y="32"/>
                      <a:pt x="221" y="31"/>
                    </a:cubicBezTo>
                    <a:cubicBezTo>
                      <a:pt x="219" y="31"/>
                      <a:pt x="211" y="29"/>
                      <a:pt x="209" y="30"/>
                    </a:cubicBezTo>
                    <a:cubicBezTo>
                      <a:pt x="207" y="32"/>
                      <a:pt x="208" y="36"/>
                      <a:pt x="206" y="38"/>
                    </a:cubicBezTo>
                    <a:cubicBezTo>
                      <a:pt x="206" y="39"/>
                      <a:pt x="199" y="44"/>
                      <a:pt x="198" y="42"/>
                    </a:cubicBezTo>
                    <a:cubicBezTo>
                      <a:pt x="197" y="42"/>
                      <a:pt x="201" y="40"/>
                      <a:pt x="200" y="38"/>
                    </a:cubicBezTo>
                    <a:cubicBezTo>
                      <a:pt x="200" y="37"/>
                      <a:pt x="200" y="34"/>
                      <a:pt x="200" y="33"/>
                    </a:cubicBezTo>
                    <a:cubicBezTo>
                      <a:pt x="200" y="29"/>
                      <a:pt x="200" y="26"/>
                      <a:pt x="204" y="24"/>
                    </a:cubicBezTo>
                    <a:cubicBezTo>
                      <a:pt x="204" y="24"/>
                      <a:pt x="212" y="20"/>
                      <a:pt x="210" y="20"/>
                    </a:cubicBezTo>
                    <a:cubicBezTo>
                      <a:pt x="200" y="17"/>
                      <a:pt x="190" y="15"/>
                      <a:pt x="180" y="12"/>
                    </a:cubicBezTo>
                    <a:cubicBezTo>
                      <a:pt x="179" y="12"/>
                      <a:pt x="174" y="11"/>
                      <a:pt x="173" y="10"/>
                    </a:cubicBezTo>
                    <a:cubicBezTo>
                      <a:pt x="170" y="7"/>
                      <a:pt x="168" y="3"/>
                      <a:pt x="166" y="0"/>
                    </a:cubicBezTo>
                    <a:cubicBezTo>
                      <a:pt x="160" y="1"/>
                      <a:pt x="155" y="1"/>
                      <a:pt x="150" y="2"/>
                    </a:cubicBezTo>
                    <a:cubicBezTo>
                      <a:pt x="152" y="2"/>
                      <a:pt x="157" y="0"/>
                      <a:pt x="158" y="3"/>
                    </a:cubicBezTo>
                    <a:cubicBezTo>
                      <a:pt x="158" y="5"/>
                      <a:pt x="159" y="8"/>
                      <a:pt x="160" y="9"/>
                    </a:cubicBezTo>
                    <a:cubicBezTo>
                      <a:pt x="160" y="10"/>
                      <a:pt x="160" y="10"/>
                      <a:pt x="160" y="10"/>
                    </a:cubicBezTo>
                    <a:cubicBezTo>
                      <a:pt x="158" y="12"/>
                      <a:pt x="151" y="8"/>
                      <a:pt x="148" y="10"/>
                    </a:cubicBezTo>
                    <a:cubicBezTo>
                      <a:pt x="145" y="12"/>
                      <a:pt x="147" y="19"/>
                      <a:pt x="148" y="22"/>
                    </a:cubicBezTo>
                    <a:cubicBezTo>
                      <a:pt x="149" y="24"/>
                      <a:pt x="152" y="27"/>
                      <a:pt x="153" y="30"/>
                    </a:cubicBezTo>
                    <a:cubicBezTo>
                      <a:pt x="153" y="32"/>
                      <a:pt x="154" y="36"/>
                      <a:pt x="155" y="39"/>
                    </a:cubicBezTo>
                    <a:cubicBezTo>
                      <a:pt x="155" y="43"/>
                      <a:pt x="156" y="45"/>
                      <a:pt x="158" y="47"/>
                    </a:cubicBezTo>
                    <a:cubicBezTo>
                      <a:pt x="159" y="49"/>
                      <a:pt x="160" y="49"/>
                      <a:pt x="161" y="51"/>
                    </a:cubicBezTo>
                    <a:cubicBezTo>
                      <a:pt x="162" y="52"/>
                      <a:pt x="161" y="54"/>
                      <a:pt x="162" y="56"/>
                    </a:cubicBezTo>
                    <a:cubicBezTo>
                      <a:pt x="163" y="59"/>
                      <a:pt x="166" y="61"/>
                      <a:pt x="167" y="64"/>
                    </a:cubicBezTo>
                    <a:cubicBezTo>
                      <a:pt x="168" y="66"/>
                      <a:pt x="170" y="68"/>
                      <a:pt x="171" y="70"/>
                    </a:cubicBezTo>
                    <a:cubicBezTo>
                      <a:pt x="168" y="70"/>
                      <a:pt x="162" y="69"/>
                      <a:pt x="161" y="66"/>
                    </a:cubicBezTo>
                    <a:cubicBezTo>
                      <a:pt x="160" y="65"/>
                      <a:pt x="161" y="64"/>
                      <a:pt x="161" y="63"/>
                    </a:cubicBezTo>
                    <a:cubicBezTo>
                      <a:pt x="160" y="61"/>
                      <a:pt x="159" y="61"/>
                      <a:pt x="158" y="60"/>
                    </a:cubicBezTo>
                    <a:cubicBezTo>
                      <a:pt x="156" y="58"/>
                      <a:pt x="155" y="55"/>
                      <a:pt x="152" y="55"/>
                    </a:cubicBezTo>
                    <a:cubicBezTo>
                      <a:pt x="149" y="55"/>
                      <a:pt x="145" y="60"/>
                      <a:pt x="148" y="54"/>
                    </a:cubicBezTo>
                    <a:cubicBezTo>
                      <a:pt x="150" y="51"/>
                      <a:pt x="151" y="52"/>
                      <a:pt x="149" y="50"/>
                    </a:cubicBezTo>
                    <a:cubicBezTo>
                      <a:pt x="149" y="49"/>
                      <a:pt x="146" y="47"/>
                      <a:pt x="146" y="47"/>
                    </a:cubicBezTo>
                    <a:cubicBezTo>
                      <a:pt x="143" y="45"/>
                      <a:pt x="142" y="44"/>
                      <a:pt x="140" y="41"/>
                    </a:cubicBezTo>
                    <a:cubicBezTo>
                      <a:pt x="140" y="39"/>
                      <a:pt x="139" y="38"/>
                      <a:pt x="138" y="36"/>
                    </a:cubicBezTo>
                    <a:cubicBezTo>
                      <a:pt x="138" y="35"/>
                      <a:pt x="137" y="33"/>
                      <a:pt x="136" y="32"/>
                    </a:cubicBezTo>
                    <a:cubicBezTo>
                      <a:pt x="136" y="31"/>
                      <a:pt x="136" y="28"/>
                      <a:pt x="136" y="27"/>
                    </a:cubicBezTo>
                    <a:cubicBezTo>
                      <a:pt x="135" y="26"/>
                      <a:pt x="133" y="26"/>
                      <a:pt x="132" y="25"/>
                    </a:cubicBezTo>
                    <a:cubicBezTo>
                      <a:pt x="127" y="22"/>
                      <a:pt x="124" y="16"/>
                      <a:pt x="117" y="15"/>
                    </a:cubicBezTo>
                    <a:cubicBezTo>
                      <a:pt x="112" y="14"/>
                      <a:pt x="111" y="18"/>
                      <a:pt x="107" y="21"/>
                    </a:cubicBezTo>
                    <a:cubicBezTo>
                      <a:pt x="106" y="23"/>
                      <a:pt x="100" y="25"/>
                      <a:pt x="105" y="27"/>
                    </a:cubicBezTo>
                    <a:cubicBezTo>
                      <a:pt x="102" y="27"/>
                      <a:pt x="98" y="27"/>
                      <a:pt x="96" y="30"/>
                    </a:cubicBezTo>
                    <a:cubicBezTo>
                      <a:pt x="94" y="32"/>
                      <a:pt x="99" y="38"/>
                      <a:pt x="100" y="41"/>
                    </a:cubicBezTo>
                    <a:cubicBezTo>
                      <a:pt x="101" y="44"/>
                      <a:pt x="102" y="44"/>
                      <a:pt x="100" y="47"/>
                    </a:cubicBezTo>
                    <a:cubicBezTo>
                      <a:pt x="99" y="49"/>
                      <a:pt x="98" y="48"/>
                      <a:pt x="96" y="48"/>
                    </a:cubicBezTo>
                    <a:cubicBezTo>
                      <a:pt x="93" y="48"/>
                      <a:pt x="95" y="42"/>
                      <a:pt x="92" y="40"/>
                    </a:cubicBezTo>
                    <a:cubicBezTo>
                      <a:pt x="90" y="39"/>
                      <a:pt x="88" y="36"/>
                      <a:pt x="86" y="35"/>
                    </a:cubicBezTo>
                    <a:cubicBezTo>
                      <a:pt x="83" y="34"/>
                      <a:pt x="78" y="39"/>
                      <a:pt x="76" y="36"/>
                    </a:cubicBezTo>
                    <a:cubicBezTo>
                      <a:pt x="73" y="32"/>
                      <a:pt x="84" y="33"/>
                      <a:pt x="82" y="29"/>
                    </a:cubicBezTo>
                    <a:cubicBezTo>
                      <a:pt x="80" y="27"/>
                      <a:pt x="73" y="28"/>
                      <a:pt x="70" y="28"/>
                    </a:cubicBezTo>
                    <a:cubicBezTo>
                      <a:pt x="66" y="29"/>
                      <a:pt x="55" y="33"/>
                      <a:pt x="52" y="30"/>
                    </a:cubicBezTo>
                    <a:cubicBezTo>
                      <a:pt x="55" y="28"/>
                      <a:pt x="58" y="28"/>
                      <a:pt x="62" y="26"/>
                    </a:cubicBezTo>
                    <a:cubicBezTo>
                      <a:pt x="64" y="25"/>
                      <a:pt x="67" y="23"/>
                      <a:pt x="69" y="22"/>
                    </a:cubicBezTo>
                    <a:cubicBezTo>
                      <a:pt x="71" y="21"/>
                      <a:pt x="75" y="22"/>
                      <a:pt x="78" y="21"/>
                    </a:cubicBezTo>
                    <a:cubicBezTo>
                      <a:pt x="83" y="21"/>
                      <a:pt x="93" y="23"/>
                      <a:pt x="96" y="17"/>
                    </a:cubicBezTo>
                    <a:cubicBezTo>
                      <a:pt x="101" y="8"/>
                      <a:pt x="83" y="11"/>
                      <a:pt x="79" y="11"/>
                    </a:cubicBezTo>
                    <a:cubicBezTo>
                      <a:pt x="76" y="12"/>
                      <a:pt x="74" y="13"/>
                      <a:pt x="70" y="13"/>
                    </a:cubicBezTo>
                    <a:cubicBezTo>
                      <a:pt x="67" y="13"/>
                      <a:pt x="65" y="16"/>
                      <a:pt x="62" y="16"/>
                    </a:cubicBezTo>
                    <a:cubicBezTo>
                      <a:pt x="61" y="17"/>
                      <a:pt x="54" y="18"/>
                      <a:pt x="53" y="18"/>
                    </a:cubicBezTo>
                    <a:cubicBezTo>
                      <a:pt x="52" y="16"/>
                      <a:pt x="53" y="15"/>
                      <a:pt x="51" y="14"/>
                    </a:cubicBezTo>
                    <a:cubicBezTo>
                      <a:pt x="50" y="13"/>
                      <a:pt x="49" y="13"/>
                      <a:pt x="47" y="13"/>
                    </a:cubicBezTo>
                    <a:cubicBezTo>
                      <a:pt x="45" y="13"/>
                      <a:pt x="44" y="13"/>
                      <a:pt x="43" y="15"/>
                    </a:cubicBezTo>
                    <a:cubicBezTo>
                      <a:pt x="42" y="16"/>
                      <a:pt x="42" y="24"/>
                      <a:pt x="41" y="23"/>
                    </a:cubicBezTo>
                    <a:cubicBezTo>
                      <a:pt x="40" y="22"/>
                      <a:pt x="37" y="16"/>
                      <a:pt x="37" y="16"/>
                    </a:cubicBezTo>
                    <a:cubicBezTo>
                      <a:pt x="37" y="13"/>
                      <a:pt x="31" y="12"/>
                      <a:pt x="29" y="13"/>
                    </a:cubicBezTo>
                    <a:cubicBezTo>
                      <a:pt x="26" y="14"/>
                      <a:pt x="24" y="16"/>
                      <a:pt x="21" y="16"/>
                    </a:cubicBezTo>
                    <a:cubicBezTo>
                      <a:pt x="20" y="16"/>
                      <a:pt x="17" y="15"/>
                      <a:pt x="16" y="17"/>
                    </a:cubicBezTo>
                    <a:cubicBezTo>
                      <a:pt x="15" y="19"/>
                      <a:pt x="17" y="24"/>
                      <a:pt x="14" y="25"/>
                    </a:cubicBezTo>
                    <a:cubicBezTo>
                      <a:pt x="13" y="26"/>
                      <a:pt x="11" y="25"/>
                      <a:pt x="10" y="25"/>
                    </a:cubicBezTo>
                    <a:cubicBezTo>
                      <a:pt x="9" y="25"/>
                      <a:pt x="7" y="26"/>
                      <a:pt x="6" y="27"/>
                    </a:cubicBezTo>
                    <a:cubicBezTo>
                      <a:pt x="8" y="29"/>
                      <a:pt x="11" y="29"/>
                      <a:pt x="12" y="30"/>
                    </a:cubicBezTo>
                    <a:cubicBezTo>
                      <a:pt x="11" y="30"/>
                      <a:pt x="3" y="29"/>
                      <a:pt x="2" y="30"/>
                    </a:cubicBezTo>
                    <a:cubicBezTo>
                      <a:pt x="0" y="32"/>
                      <a:pt x="5" y="42"/>
                      <a:pt x="6" y="44"/>
                    </a:cubicBezTo>
                    <a:cubicBezTo>
                      <a:pt x="8" y="47"/>
                      <a:pt x="13" y="50"/>
                      <a:pt x="15"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1" name="Freeform 727">
                <a:extLst>
                  <a:ext uri="{FF2B5EF4-FFF2-40B4-BE49-F238E27FC236}">
                    <a16:creationId xmlns:a16="http://schemas.microsoft.com/office/drawing/2014/main" id="{80ACFBD3-2EE6-438F-BCD6-12A9855FB544}"/>
                  </a:ext>
                </a:extLst>
              </p:cNvPr>
              <p:cNvSpPr>
                <a:spLocks/>
              </p:cNvSpPr>
              <p:nvPr/>
            </p:nvSpPr>
            <p:spPr bwMode="auto">
              <a:xfrm>
                <a:off x="3922" y="4"/>
                <a:ext cx="287" cy="145"/>
              </a:xfrm>
              <a:custGeom>
                <a:avLst/>
                <a:gdLst>
                  <a:gd name="T0" fmla="*/ 121 w 121"/>
                  <a:gd name="T1" fmla="*/ 31 h 61"/>
                  <a:gd name="T2" fmla="*/ 105 w 121"/>
                  <a:gd name="T3" fmla="*/ 24 h 61"/>
                  <a:gd name="T4" fmla="*/ 103 w 121"/>
                  <a:gd name="T5" fmla="*/ 22 h 61"/>
                  <a:gd name="T6" fmla="*/ 102 w 121"/>
                  <a:gd name="T7" fmla="*/ 23 h 61"/>
                  <a:gd name="T8" fmla="*/ 97 w 121"/>
                  <a:gd name="T9" fmla="*/ 23 h 61"/>
                  <a:gd name="T10" fmla="*/ 90 w 121"/>
                  <a:gd name="T11" fmla="*/ 25 h 61"/>
                  <a:gd name="T12" fmla="*/ 81 w 121"/>
                  <a:gd name="T13" fmla="*/ 22 h 61"/>
                  <a:gd name="T14" fmla="*/ 74 w 121"/>
                  <a:gd name="T15" fmla="*/ 18 h 61"/>
                  <a:gd name="T16" fmla="*/ 78 w 121"/>
                  <a:gd name="T17" fmla="*/ 10 h 61"/>
                  <a:gd name="T18" fmla="*/ 77 w 121"/>
                  <a:gd name="T19" fmla="*/ 5 h 61"/>
                  <a:gd name="T20" fmla="*/ 69 w 121"/>
                  <a:gd name="T21" fmla="*/ 2 h 61"/>
                  <a:gd name="T22" fmla="*/ 52 w 121"/>
                  <a:gd name="T23" fmla="*/ 2 h 61"/>
                  <a:gd name="T24" fmla="*/ 48 w 121"/>
                  <a:gd name="T25" fmla="*/ 4 h 61"/>
                  <a:gd name="T26" fmla="*/ 43 w 121"/>
                  <a:gd name="T27" fmla="*/ 4 h 61"/>
                  <a:gd name="T28" fmla="*/ 34 w 121"/>
                  <a:gd name="T29" fmla="*/ 3 h 61"/>
                  <a:gd name="T30" fmla="*/ 18 w 121"/>
                  <a:gd name="T31" fmla="*/ 6 h 61"/>
                  <a:gd name="T32" fmla="*/ 9 w 121"/>
                  <a:gd name="T33" fmla="*/ 13 h 61"/>
                  <a:gd name="T34" fmla="*/ 17 w 121"/>
                  <a:gd name="T35" fmla="*/ 17 h 61"/>
                  <a:gd name="T36" fmla="*/ 28 w 121"/>
                  <a:gd name="T37" fmla="*/ 21 h 61"/>
                  <a:gd name="T38" fmla="*/ 26 w 121"/>
                  <a:gd name="T39" fmla="*/ 24 h 61"/>
                  <a:gd name="T40" fmla="*/ 22 w 121"/>
                  <a:gd name="T41" fmla="*/ 28 h 61"/>
                  <a:gd name="T42" fmla="*/ 17 w 121"/>
                  <a:gd name="T43" fmla="*/ 36 h 61"/>
                  <a:gd name="T44" fmla="*/ 12 w 121"/>
                  <a:gd name="T45" fmla="*/ 41 h 61"/>
                  <a:gd name="T46" fmla="*/ 5 w 121"/>
                  <a:gd name="T47" fmla="*/ 49 h 61"/>
                  <a:gd name="T48" fmla="*/ 28 w 121"/>
                  <a:gd name="T49" fmla="*/ 46 h 61"/>
                  <a:gd name="T50" fmla="*/ 59 w 121"/>
                  <a:gd name="T51" fmla="*/ 43 h 61"/>
                  <a:gd name="T52" fmla="*/ 55 w 121"/>
                  <a:gd name="T53" fmla="*/ 48 h 61"/>
                  <a:gd name="T54" fmla="*/ 53 w 121"/>
                  <a:gd name="T55" fmla="*/ 56 h 61"/>
                  <a:gd name="T56" fmla="*/ 61 w 121"/>
                  <a:gd name="T57" fmla="*/ 60 h 61"/>
                  <a:gd name="T58" fmla="*/ 64 w 121"/>
                  <a:gd name="T59" fmla="*/ 57 h 61"/>
                  <a:gd name="T60" fmla="*/ 75 w 121"/>
                  <a:gd name="T61" fmla="*/ 55 h 61"/>
                  <a:gd name="T62" fmla="*/ 81 w 121"/>
                  <a:gd name="T63" fmla="*/ 52 h 61"/>
                  <a:gd name="T64" fmla="*/ 89 w 121"/>
                  <a:gd name="T65" fmla="*/ 49 h 61"/>
                  <a:gd name="T66" fmla="*/ 98 w 121"/>
                  <a:gd name="T67" fmla="*/ 40 h 61"/>
                  <a:gd name="T68" fmla="*/ 121 w 121"/>
                  <a:gd name="T69"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1" h="61">
                    <a:moveTo>
                      <a:pt x="121" y="31"/>
                    </a:moveTo>
                    <a:cubicBezTo>
                      <a:pt x="115" y="28"/>
                      <a:pt x="111" y="25"/>
                      <a:pt x="105" y="24"/>
                    </a:cubicBezTo>
                    <a:cubicBezTo>
                      <a:pt x="104" y="23"/>
                      <a:pt x="104" y="22"/>
                      <a:pt x="103" y="22"/>
                    </a:cubicBezTo>
                    <a:cubicBezTo>
                      <a:pt x="103" y="22"/>
                      <a:pt x="102" y="23"/>
                      <a:pt x="102" y="23"/>
                    </a:cubicBezTo>
                    <a:cubicBezTo>
                      <a:pt x="100" y="23"/>
                      <a:pt x="98" y="23"/>
                      <a:pt x="97" y="23"/>
                    </a:cubicBezTo>
                    <a:cubicBezTo>
                      <a:pt x="94" y="24"/>
                      <a:pt x="93" y="25"/>
                      <a:pt x="90" y="25"/>
                    </a:cubicBezTo>
                    <a:cubicBezTo>
                      <a:pt x="86" y="25"/>
                      <a:pt x="84" y="23"/>
                      <a:pt x="81" y="22"/>
                    </a:cubicBezTo>
                    <a:cubicBezTo>
                      <a:pt x="81" y="22"/>
                      <a:pt x="74" y="19"/>
                      <a:pt x="74" y="18"/>
                    </a:cubicBezTo>
                    <a:cubicBezTo>
                      <a:pt x="73" y="16"/>
                      <a:pt x="77" y="12"/>
                      <a:pt x="78" y="10"/>
                    </a:cubicBezTo>
                    <a:cubicBezTo>
                      <a:pt x="79" y="7"/>
                      <a:pt x="79" y="7"/>
                      <a:pt x="77" y="5"/>
                    </a:cubicBezTo>
                    <a:cubicBezTo>
                      <a:pt x="75" y="3"/>
                      <a:pt x="72" y="2"/>
                      <a:pt x="69" y="2"/>
                    </a:cubicBezTo>
                    <a:cubicBezTo>
                      <a:pt x="63" y="1"/>
                      <a:pt x="58" y="0"/>
                      <a:pt x="52" y="2"/>
                    </a:cubicBezTo>
                    <a:cubicBezTo>
                      <a:pt x="51" y="3"/>
                      <a:pt x="51" y="4"/>
                      <a:pt x="48" y="4"/>
                    </a:cubicBezTo>
                    <a:cubicBezTo>
                      <a:pt x="47" y="4"/>
                      <a:pt x="45" y="4"/>
                      <a:pt x="43" y="4"/>
                    </a:cubicBezTo>
                    <a:cubicBezTo>
                      <a:pt x="40" y="4"/>
                      <a:pt x="37" y="3"/>
                      <a:pt x="34" y="3"/>
                    </a:cubicBezTo>
                    <a:cubicBezTo>
                      <a:pt x="29" y="3"/>
                      <a:pt x="23" y="4"/>
                      <a:pt x="18" y="6"/>
                    </a:cubicBezTo>
                    <a:cubicBezTo>
                      <a:pt x="14" y="7"/>
                      <a:pt x="0" y="9"/>
                      <a:pt x="9" y="13"/>
                    </a:cubicBezTo>
                    <a:cubicBezTo>
                      <a:pt x="12" y="14"/>
                      <a:pt x="14" y="15"/>
                      <a:pt x="17" y="17"/>
                    </a:cubicBezTo>
                    <a:cubicBezTo>
                      <a:pt x="20" y="18"/>
                      <a:pt x="26" y="19"/>
                      <a:pt x="28" y="21"/>
                    </a:cubicBezTo>
                    <a:cubicBezTo>
                      <a:pt x="25" y="22"/>
                      <a:pt x="26" y="23"/>
                      <a:pt x="26" y="24"/>
                    </a:cubicBezTo>
                    <a:cubicBezTo>
                      <a:pt x="24" y="25"/>
                      <a:pt x="23" y="26"/>
                      <a:pt x="22" y="28"/>
                    </a:cubicBezTo>
                    <a:cubicBezTo>
                      <a:pt x="19" y="30"/>
                      <a:pt x="17" y="32"/>
                      <a:pt x="17" y="36"/>
                    </a:cubicBezTo>
                    <a:cubicBezTo>
                      <a:pt x="16" y="39"/>
                      <a:pt x="16" y="41"/>
                      <a:pt x="12" y="41"/>
                    </a:cubicBezTo>
                    <a:cubicBezTo>
                      <a:pt x="6" y="42"/>
                      <a:pt x="6" y="43"/>
                      <a:pt x="5" y="49"/>
                    </a:cubicBezTo>
                    <a:cubicBezTo>
                      <a:pt x="13" y="48"/>
                      <a:pt x="21" y="47"/>
                      <a:pt x="28" y="46"/>
                    </a:cubicBezTo>
                    <a:cubicBezTo>
                      <a:pt x="38" y="45"/>
                      <a:pt x="48" y="44"/>
                      <a:pt x="59" y="43"/>
                    </a:cubicBezTo>
                    <a:cubicBezTo>
                      <a:pt x="63" y="43"/>
                      <a:pt x="56" y="47"/>
                      <a:pt x="55" y="48"/>
                    </a:cubicBezTo>
                    <a:cubicBezTo>
                      <a:pt x="50" y="51"/>
                      <a:pt x="49" y="51"/>
                      <a:pt x="53" y="56"/>
                    </a:cubicBezTo>
                    <a:cubicBezTo>
                      <a:pt x="55" y="58"/>
                      <a:pt x="58" y="61"/>
                      <a:pt x="61" y="60"/>
                    </a:cubicBezTo>
                    <a:cubicBezTo>
                      <a:pt x="64" y="59"/>
                      <a:pt x="63" y="58"/>
                      <a:pt x="64" y="57"/>
                    </a:cubicBezTo>
                    <a:cubicBezTo>
                      <a:pt x="66" y="55"/>
                      <a:pt x="72" y="55"/>
                      <a:pt x="75" y="55"/>
                    </a:cubicBezTo>
                    <a:cubicBezTo>
                      <a:pt x="77" y="54"/>
                      <a:pt x="79" y="53"/>
                      <a:pt x="81" y="52"/>
                    </a:cubicBezTo>
                    <a:cubicBezTo>
                      <a:pt x="84" y="50"/>
                      <a:pt x="86" y="50"/>
                      <a:pt x="89" y="49"/>
                    </a:cubicBezTo>
                    <a:cubicBezTo>
                      <a:pt x="93" y="46"/>
                      <a:pt x="94" y="42"/>
                      <a:pt x="98" y="40"/>
                    </a:cubicBezTo>
                    <a:cubicBezTo>
                      <a:pt x="106" y="37"/>
                      <a:pt x="114" y="35"/>
                      <a:pt x="121"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2" name="Freeform 728">
                <a:extLst>
                  <a:ext uri="{FF2B5EF4-FFF2-40B4-BE49-F238E27FC236}">
                    <a16:creationId xmlns:a16="http://schemas.microsoft.com/office/drawing/2014/main" id="{BB2B8672-6EDD-492B-BFDF-8723A72ADD0B}"/>
                  </a:ext>
                </a:extLst>
              </p:cNvPr>
              <p:cNvSpPr>
                <a:spLocks/>
              </p:cNvSpPr>
              <p:nvPr/>
            </p:nvSpPr>
            <p:spPr bwMode="auto">
              <a:xfrm>
                <a:off x="3725" y="-337"/>
                <a:ext cx="643" cy="212"/>
              </a:xfrm>
              <a:custGeom>
                <a:avLst/>
                <a:gdLst>
                  <a:gd name="T0" fmla="*/ 30 w 271"/>
                  <a:gd name="T1" fmla="*/ 32 h 89"/>
                  <a:gd name="T2" fmla="*/ 27 w 271"/>
                  <a:gd name="T3" fmla="*/ 33 h 89"/>
                  <a:gd name="T4" fmla="*/ 23 w 271"/>
                  <a:gd name="T5" fmla="*/ 36 h 89"/>
                  <a:gd name="T6" fmla="*/ 25 w 271"/>
                  <a:gd name="T7" fmla="*/ 44 h 89"/>
                  <a:gd name="T8" fmla="*/ 35 w 271"/>
                  <a:gd name="T9" fmla="*/ 51 h 89"/>
                  <a:gd name="T10" fmla="*/ 71 w 271"/>
                  <a:gd name="T11" fmla="*/ 47 h 89"/>
                  <a:gd name="T12" fmla="*/ 129 w 271"/>
                  <a:gd name="T13" fmla="*/ 46 h 89"/>
                  <a:gd name="T14" fmla="*/ 117 w 271"/>
                  <a:gd name="T15" fmla="*/ 50 h 89"/>
                  <a:gd name="T16" fmla="*/ 114 w 271"/>
                  <a:gd name="T17" fmla="*/ 52 h 89"/>
                  <a:gd name="T18" fmla="*/ 86 w 271"/>
                  <a:gd name="T19" fmla="*/ 52 h 89"/>
                  <a:gd name="T20" fmla="*/ 83 w 271"/>
                  <a:gd name="T21" fmla="*/ 60 h 89"/>
                  <a:gd name="T22" fmla="*/ 90 w 271"/>
                  <a:gd name="T23" fmla="*/ 74 h 89"/>
                  <a:gd name="T24" fmla="*/ 115 w 271"/>
                  <a:gd name="T25" fmla="*/ 73 h 89"/>
                  <a:gd name="T26" fmla="*/ 147 w 271"/>
                  <a:gd name="T27" fmla="*/ 74 h 89"/>
                  <a:gd name="T28" fmla="*/ 186 w 271"/>
                  <a:gd name="T29" fmla="*/ 80 h 89"/>
                  <a:gd name="T30" fmla="*/ 193 w 271"/>
                  <a:gd name="T31" fmla="*/ 76 h 89"/>
                  <a:gd name="T32" fmla="*/ 220 w 271"/>
                  <a:gd name="T33" fmla="*/ 73 h 89"/>
                  <a:gd name="T34" fmla="*/ 233 w 271"/>
                  <a:gd name="T35" fmla="*/ 66 h 89"/>
                  <a:gd name="T36" fmla="*/ 236 w 271"/>
                  <a:gd name="T37" fmla="*/ 56 h 89"/>
                  <a:gd name="T38" fmla="*/ 264 w 271"/>
                  <a:gd name="T39" fmla="*/ 43 h 89"/>
                  <a:gd name="T40" fmla="*/ 267 w 271"/>
                  <a:gd name="T41" fmla="*/ 35 h 89"/>
                  <a:gd name="T42" fmla="*/ 210 w 271"/>
                  <a:gd name="T43" fmla="*/ 14 h 89"/>
                  <a:gd name="T44" fmla="*/ 183 w 271"/>
                  <a:gd name="T45" fmla="*/ 10 h 89"/>
                  <a:gd name="T46" fmla="*/ 174 w 271"/>
                  <a:gd name="T47" fmla="*/ 13 h 89"/>
                  <a:gd name="T48" fmla="*/ 152 w 271"/>
                  <a:gd name="T49" fmla="*/ 25 h 89"/>
                  <a:gd name="T50" fmla="*/ 157 w 271"/>
                  <a:gd name="T51" fmla="*/ 15 h 89"/>
                  <a:gd name="T52" fmla="*/ 152 w 271"/>
                  <a:gd name="T53" fmla="*/ 6 h 89"/>
                  <a:gd name="T54" fmla="*/ 132 w 271"/>
                  <a:gd name="T55" fmla="*/ 5 h 89"/>
                  <a:gd name="T56" fmla="*/ 136 w 271"/>
                  <a:gd name="T57" fmla="*/ 12 h 89"/>
                  <a:gd name="T58" fmla="*/ 134 w 271"/>
                  <a:gd name="T59" fmla="*/ 19 h 89"/>
                  <a:gd name="T60" fmla="*/ 127 w 271"/>
                  <a:gd name="T61" fmla="*/ 34 h 89"/>
                  <a:gd name="T62" fmla="*/ 110 w 271"/>
                  <a:gd name="T63" fmla="*/ 25 h 89"/>
                  <a:gd name="T64" fmla="*/ 91 w 271"/>
                  <a:gd name="T65" fmla="*/ 19 h 89"/>
                  <a:gd name="T66" fmla="*/ 71 w 271"/>
                  <a:gd name="T67" fmla="*/ 8 h 89"/>
                  <a:gd name="T68" fmla="*/ 49 w 271"/>
                  <a:gd name="T69" fmla="*/ 6 h 89"/>
                  <a:gd name="T70" fmla="*/ 58 w 271"/>
                  <a:gd name="T71" fmla="*/ 10 h 89"/>
                  <a:gd name="T72" fmla="*/ 53 w 271"/>
                  <a:gd name="T73" fmla="*/ 18 h 89"/>
                  <a:gd name="T74" fmla="*/ 35 w 271"/>
                  <a:gd name="T75" fmla="*/ 11 h 89"/>
                  <a:gd name="T76" fmla="*/ 40 w 271"/>
                  <a:gd name="T77" fmla="*/ 18 h 89"/>
                  <a:gd name="T78" fmla="*/ 33 w 271"/>
                  <a:gd name="T79" fmla="*/ 3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89">
                    <a:moveTo>
                      <a:pt x="33" y="30"/>
                    </a:moveTo>
                    <a:cubicBezTo>
                      <a:pt x="32" y="31"/>
                      <a:pt x="32" y="32"/>
                      <a:pt x="30" y="32"/>
                    </a:cubicBezTo>
                    <a:cubicBezTo>
                      <a:pt x="28" y="32"/>
                      <a:pt x="30" y="33"/>
                      <a:pt x="29" y="34"/>
                    </a:cubicBezTo>
                    <a:cubicBezTo>
                      <a:pt x="28" y="34"/>
                      <a:pt x="29" y="35"/>
                      <a:pt x="27" y="33"/>
                    </a:cubicBezTo>
                    <a:cubicBezTo>
                      <a:pt x="26" y="32"/>
                      <a:pt x="24" y="32"/>
                      <a:pt x="25" y="34"/>
                    </a:cubicBezTo>
                    <a:cubicBezTo>
                      <a:pt x="27" y="36"/>
                      <a:pt x="23" y="35"/>
                      <a:pt x="23" y="36"/>
                    </a:cubicBezTo>
                    <a:cubicBezTo>
                      <a:pt x="22" y="37"/>
                      <a:pt x="22" y="37"/>
                      <a:pt x="22" y="39"/>
                    </a:cubicBezTo>
                    <a:cubicBezTo>
                      <a:pt x="23" y="41"/>
                      <a:pt x="24" y="42"/>
                      <a:pt x="25" y="44"/>
                    </a:cubicBezTo>
                    <a:cubicBezTo>
                      <a:pt x="25" y="45"/>
                      <a:pt x="28" y="51"/>
                      <a:pt x="30" y="51"/>
                    </a:cubicBezTo>
                    <a:cubicBezTo>
                      <a:pt x="32" y="50"/>
                      <a:pt x="33" y="50"/>
                      <a:pt x="35" y="51"/>
                    </a:cubicBezTo>
                    <a:cubicBezTo>
                      <a:pt x="43" y="51"/>
                      <a:pt x="50" y="52"/>
                      <a:pt x="57" y="50"/>
                    </a:cubicBezTo>
                    <a:cubicBezTo>
                      <a:pt x="62" y="49"/>
                      <a:pt x="67" y="48"/>
                      <a:pt x="71" y="47"/>
                    </a:cubicBezTo>
                    <a:cubicBezTo>
                      <a:pt x="80" y="45"/>
                      <a:pt x="89" y="46"/>
                      <a:pt x="97" y="46"/>
                    </a:cubicBezTo>
                    <a:cubicBezTo>
                      <a:pt x="108" y="46"/>
                      <a:pt x="118" y="46"/>
                      <a:pt x="129" y="46"/>
                    </a:cubicBezTo>
                    <a:cubicBezTo>
                      <a:pt x="133" y="46"/>
                      <a:pt x="126" y="48"/>
                      <a:pt x="125" y="48"/>
                    </a:cubicBezTo>
                    <a:cubicBezTo>
                      <a:pt x="122" y="49"/>
                      <a:pt x="119" y="49"/>
                      <a:pt x="117" y="50"/>
                    </a:cubicBezTo>
                    <a:cubicBezTo>
                      <a:pt x="117" y="50"/>
                      <a:pt x="117" y="52"/>
                      <a:pt x="116" y="52"/>
                    </a:cubicBezTo>
                    <a:cubicBezTo>
                      <a:pt x="116" y="52"/>
                      <a:pt x="114" y="52"/>
                      <a:pt x="114" y="52"/>
                    </a:cubicBezTo>
                    <a:cubicBezTo>
                      <a:pt x="112" y="52"/>
                      <a:pt x="110" y="52"/>
                      <a:pt x="108" y="52"/>
                    </a:cubicBezTo>
                    <a:cubicBezTo>
                      <a:pt x="100" y="51"/>
                      <a:pt x="93" y="52"/>
                      <a:pt x="86" y="52"/>
                    </a:cubicBezTo>
                    <a:cubicBezTo>
                      <a:pt x="88" y="56"/>
                      <a:pt x="93" y="58"/>
                      <a:pt x="97" y="61"/>
                    </a:cubicBezTo>
                    <a:cubicBezTo>
                      <a:pt x="94" y="62"/>
                      <a:pt x="86" y="60"/>
                      <a:pt x="83" y="60"/>
                    </a:cubicBezTo>
                    <a:cubicBezTo>
                      <a:pt x="76" y="59"/>
                      <a:pt x="71" y="55"/>
                      <a:pt x="64" y="56"/>
                    </a:cubicBezTo>
                    <a:cubicBezTo>
                      <a:pt x="68" y="67"/>
                      <a:pt x="79" y="73"/>
                      <a:pt x="90" y="74"/>
                    </a:cubicBezTo>
                    <a:cubicBezTo>
                      <a:pt x="95" y="74"/>
                      <a:pt x="99" y="72"/>
                      <a:pt x="104" y="72"/>
                    </a:cubicBezTo>
                    <a:cubicBezTo>
                      <a:pt x="107" y="72"/>
                      <a:pt x="111" y="74"/>
                      <a:pt x="115" y="73"/>
                    </a:cubicBezTo>
                    <a:cubicBezTo>
                      <a:pt x="117" y="73"/>
                      <a:pt x="119" y="72"/>
                      <a:pt x="121" y="72"/>
                    </a:cubicBezTo>
                    <a:cubicBezTo>
                      <a:pt x="130" y="70"/>
                      <a:pt x="139" y="73"/>
                      <a:pt x="147" y="74"/>
                    </a:cubicBezTo>
                    <a:cubicBezTo>
                      <a:pt x="159" y="76"/>
                      <a:pt x="168" y="89"/>
                      <a:pt x="181" y="85"/>
                    </a:cubicBezTo>
                    <a:cubicBezTo>
                      <a:pt x="184" y="84"/>
                      <a:pt x="184" y="82"/>
                      <a:pt x="186" y="80"/>
                    </a:cubicBezTo>
                    <a:cubicBezTo>
                      <a:pt x="187" y="78"/>
                      <a:pt x="186" y="77"/>
                      <a:pt x="189" y="77"/>
                    </a:cubicBezTo>
                    <a:cubicBezTo>
                      <a:pt x="190" y="77"/>
                      <a:pt x="192" y="77"/>
                      <a:pt x="193" y="76"/>
                    </a:cubicBezTo>
                    <a:cubicBezTo>
                      <a:pt x="199" y="75"/>
                      <a:pt x="206" y="77"/>
                      <a:pt x="213" y="76"/>
                    </a:cubicBezTo>
                    <a:cubicBezTo>
                      <a:pt x="215" y="75"/>
                      <a:pt x="217" y="74"/>
                      <a:pt x="220" y="73"/>
                    </a:cubicBezTo>
                    <a:cubicBezTo>
                      <a:pt x="222" y="72"/>
                      <a:pt x="225" y="72"/>
                      <a:pt x="227" y="71"/>
                    </a:cubicBezTo>
                    <a:cubicBezTo>
                      <a:pt x="230" y="69"/>
                      <a:pt x="230" y="67"/>
                      <a:pt x="233" y="66"/>
                    </a:cubicBezTo>
                    <a:cubicBezTo>
                      <a:pt x="237" y="63"/>
                      <a:pt x="231" y="61"/>
                      <a:pt x="230" y="59"/>
                    </a:cubicBezTo>
                    <a:cubicBezTo>
                      <a:pt x="230" y="57"/>
                      <a:pt x="233" y="56"/>
                      <a:pt x="236" y="56"/>
                    </a:cubicBezTo>
                    <a:cubicBezTo>
                      <a:pt x="241" y="54"/>
                      <a:pt x="246" y="53"/>
                      <a:pt x="250" y="50"/>
                    </a:cubicBezTo>
                    <a:cubicBezTo>
                      <a:pt x="254" y="48"/>
                      <a:pt x="258" y="44"/>
                      <a:pt x="264" y="43"/>
                    </a:cubicBezTo>
                    <a:cubicBezTo>
                      <a:pt x="266" y="43"/>
                      <a:pt x="271" y="41"/>
                      <a:pt x="270" y="38"/>
                    </a:cubicBezTo>
                    <a:cubicBezTo>
                      <a:pt x="270" y="37"/>
                      <a:pt x="267" y="37"/>
                      <a:pt x="267" y="35"/>
                    </a:cubicBezTo>
                    <a:cubicBezTo>
                      <a:pt x="267" y="33"/>
                      <a:pt x="270" y="28"/>
                      <a:pt x="270" y="27"/>
                    </a:cubicBezTo>
                    <a:cubicBezTo>
                      <a:pt x="250" y="22"/>
                      <a:pt x="230" y="18"/>
                      <a:pt x="210" y="14"/>
                    </a:cubicBezTo>
                    <a:cubicBezTo>
                      <a:pt x="202" y="12"/>
                      <a:pt x="195" y="10"/>
                      <a:pt x="187" y="9"/>
                    </a:cubicBezTo>
                    <a:cubicBezTo>
                      <a:pt x="186" y="9"/>
                      <a:pt x="182" y="9"/>
                      <a:pt x="183" y="10"/>
                    </a:cubicBezTo>
                    <a:cubicBezTo>
                      <a:pt x="183" y="12"/>
                      <a:pt x="188" y="12"/>
                      <a:pt x="189" y="12"/>
                    </a:cubicBezTo>
                    <a:cubicBezTo>
                      <a:pt x="184" y="13"/>
                      <a:pt x="179" y="13"/>
                      <a:pt x="174" y="13"/>
                    </a:cubicBezTo>
                    <a:cubicBezTo>
                      <a:pt x="171" y="13"/>
                      <a:pt x="169" y="16"/>
                      <a:pt x="172" y="17"/>
                    </a:cubicBezTo>
                    <a:cubicBezTo>
                      <a:pt x="168" y="20"/>
                      <a:pt x="158" y="26"/>
                      <a:pt x="152" y="25"/>
                    </a:cubicBezTo>
                    <a:cubicBezTo>
                      <a:pt x="149" y="24"/>
                      <a:pt x="149" y="17"/>
                      <a:pt x="152" y="16"/>
                    </a:cubicBezTo>
                    <a:cubicBezTo>
                      <a:pt x="154" y="16"/>
                      <a:pt x="156" y="16"/>
                      <a:pt x="157" y="15"/>
                    </a:cubicBezTo>
                    <a:cubicBezTo>
                      <a:pt x="158" y="15"/>
                      <a:pt x="159" y="12"/>
                      <a:pt x="159" y="11"/>
                    </a:cubicBezTo>
                    <a:cubicBezTo>
                      <a:pt x="158" y="10"/>
                      <a:pt x="153" y="7"/>
                      <a:pt x="152" y="6"/>
                    </a:cubicBezTo>
                    <a:cubicBezTo>
                      <a:pt x="149" y="4"/>
                      <a:pt x="146" y="1"/>
                      <a:pt x="143" y="0"/>
                    </a:cubicBezTo>
                    <a:cubicBezTo>
                      <a:pt x="146" y="7"/>
                      <a:pt x="136" y="2"/>
                      <a:pt x="132" y="5"/>
                    </a:cubicBezTo>
                    <a:cubicBezTo>
                      <a:pt x="130" y="7"/>
                      <a:pt x="130" y="9"/>
                      <a:pt x="132" y="11"/>
                    </a:cubicBezTo>
                    <a:cubicBezTo>
                      <a:pt x="133" y="12"/>
                      <a:pt x="135" y="11"/>
                      <a:pt x="136" y="12"/>
                    </a:cubicBezTo>
                    <a:cubicBezTo>
                      <a:pt x="139" y="15"/>
                      <a:pt x="135" y="14"/>
                      <a:pt x="134" y="16"/>
                    </a:cubicBezTo>
                    <a:cubicBezTo>
                      <a:pt x="134" y="17"/>
                      <a:pt x="135" y="18"/>
                      <a:pt x="134" y="19"/>
                    </a:cubicBezTo>
                    <a:cubicBezTo>
                      <a:pt x="134" y="20"/>
                      <a:pt x="133" y="21"/>
                      <a:pt x="133" y="21"/>
                    </a:cubicBezTo>
                    <a:cubicBezTo>
                      <a:pt x="132" y="26"/>
                      <a:pt x="133" y="31"/>
                      <a:pt x="127" y="34"/>
                    </a:cubicBezTo>
                    <a:cubicBezTo>
                      <a:pt x="126" y="31"/>
                      <a:pt x="127" y="31"/>
                      <a:pt x="125" y="29"/>
                    </a:cubicBezTo>
                    <a:cubicBezTo>
                      <a:pt x="122" y="25"/>
                      <a:pt x="115" y="27"/>
                      <a:pt x="110" y="25"/>
                    </a:cubicBezTo>
                    <a:cubicBezTo>
                      <a:pt x="110" y="25"/>
                      <a:pt x="111" y="23"/>
                      <a:pt x="112" y="23"/>
                    </a:cubicBezTo>
                    <a:cubicBezTo>
                      <a:pt x="105" y="21"/>
                      <a:pt x="98" y="21"/>
                      <a:pt x="91" y="19"/>
                    </a:cubicBezTo>
                    <a:cubicBezTo>
                      <a:pt x="87" y="19"/>
                      <a:pt x="86" y="16"/>
                      <a:pt x="83" y="14"/>
                    </a:cubicBezTo>
                    <a:cubicBezTo>
                      <a:pt x="79" y="12"/>
                      <a:pt x="76" y="10"/>
                      <a:pt x="71" y="8"/>
                    </a:cubicBezTo>
                    <a:cubicBezTo>
                      <a:pt x="65" y="6"/>
                      <a:pt x="59" y="3"/>
                      <a:pt x="53" y="1"/>
                    </a:cubicBezTo>
                    <a:cubicBezTo>
                      <a:pt x="53" y="1"/>
                      <a:pt x="45" y="4"/>
                      <a:pt x="49" y="6"/>
                    </a:cubicBezTo>
                    <a:cubicBezTo>
                      <a:pt x="52" y="8"/>
                      <a:pt x="57" y="7"/>
                      <a:pt x="61" y="8"/>
                    </a:cubicBezTo>
                    <a:cubicBezTo>
                      <a:pt x="60" y="9"/>
                      <a:pt x="59" y="10"/>
                      <a:pt x="58" y="10"/>
                    </a:cubicBezTo>
                    <a:cubicBezTo>
                      <a:pt x="58" y="11"/>
                      <a:pt x="59" y="11"/>
                      <a:pt x="59" y="11"/>
                    </a:cubicBezTo>
                    <a:cubicBezTo>
                      <a:pt x="56" y="12"/>
                      <a:pt x="56" y="17"/>
                      <a:pt x="53" y="18"/>
                    </a:cubicBezTo>
                    <a:cubicBezTo>
                      <a:pt x="51" y="19"/>
                      <a:pt x="42" y="13"/>
                      <a:pt x="40" y="12"/>
                    </a:cubicBezTo>
                    <a:cubicBezTo>
                      <a:pt x="40" y="12"/>
                      <a:pt x="35" y="10"/>
                      <a:pt x="35" y="11"/>
                    </a:cubicBezTo>
                    <a:cubicBezTo>
                      <a:pt x="35" y="12"/>
                      <a:pt x="37" y="12"/>
                      <a:pt x="37" y="13"/>
                    </a:cubicBezTo>
                    <a:cubicBezTo>
                      <a:pt x="38" y="15"/>
                      <a:pt x="38" y="17"/>
                      <a:pt x="40" y="18"/>
                    </a:cubicBezTo>
                    <a:cubicBezTo>
                      <a:pt x="27" y="20"/>
                      <a:pt x="13" y="23"/>
                      <a:pt x="0" y="25"/>
                    </a:cubicBezTo>
                    <a:cubicBezTo>
                      <a:pt x="11" y="26"/>
                      <a:pt x="22" y="28"/>
                      <a:pt x="33"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3" name="Freeform 729">
                <a:extLst>
                  <a:ext uri="{FF2B5EF4-FFF2-40B4-BE49-F238E27FC236}">
                    <a16:creationId xmlns:a16="http://schemas.microsoft.com/office/drawing/2014/main" id="{97D6C9DB-86CB-405F-AF37-E431D1CFE9BD}"/>
                  </a:ext>
                </a:extLst>
              </p:cNvPr>
              <p:cNvSpPr>
                <a:spLocks/>
              </p:cNvSpPr>
              <p:nvPr/>
            </p:nvSpPr>
            <p:spPr bwMode="auto">
              <a:xfrm>
                <a:off x="4669" y="-291"/>
                <a:ext cx="128" cy="21"/>
              </a:xfrm>
              <a:custGeom>
                <a:avLst/>
                <a:gdLst>
                  <a:gd name="T0" fmla="*/ 41 w 54"/>
                  <a:gd name="T1" fmla="*/ 3 h 9"/>
                  <a:gd name="T2" fmla="*/ 54 w 54"/>
                  <a:gd name="T3" fmla="*/ 0 h 9"/>
                  <a:gd name="T4" fmla="*/ 0 w 54"/>
                  <a:gd name="T5" fmla="*/ 9 h 9"/>
                  <a:gd name="T6" fmla="*/ 28 w 54"/>
                  <a:gd name="T7" fmla="*/ 6 h 9"/>
                  <a:gd name="T8" fmla="*/ 41 w 54"/>
                  <a:gd name="T9" fmla="*/ 3 h 9"/>
                </a:gdLst>
                <a:ahLst/>
                <a:cxnLst>
                  <a:cxn ang="0">
                    <a:pos x="T0" y="T1"/>
                  </a:cxn>
                  <a:cxn ang="0">
                    <a:pos x="T2" y="T3"/>
                  </a:cxn>
                  <a:cxn ang="0">
                    <a:pos x="T4" y="T5"/>
                  </a:cxn>
                  <a:cxn ang="0">
                    <a:pos x="T6" y="T7"/>
                  </a:cxn>
                  <a:cxn ang="0">
                    <a:pos x="T8" y="T9"/>
                  </a:cxn>
                </a:cxnLst>
                <a:rect l="0" t="0" r="r" b="b"/>
                <a:pathLst>
                  <a:path w="54" h="9">
                    <a:moveTo>
                      <a:pt x="41" y="3"/>
                    </a:moveTo>
                    <a:cubicBezTo>
                      <a:pt x="45" y="2"/>
                      <a:pt x="51" y="2"/>
                      <a:pt x="54" y="0"/>
                    </a:cubicBezTo>
                    <a:cubicBezTo>
                      <a:pt x="36" y="3"/>
                      <a:pt x="18" y="6"/>
                      <a:pt x="0" y="9"/>
                    </a:cubicBezTo>
                    <a:cubicBezTo>
                      <a:pt x="9" y="8"/>
                      <a:pt x="19" y="7"/>
                      <a:pt x="28" y="6"/>
                    </a:cubicBezTo>
                    <a:cubicBezTo>
                      <a:pt x="33" y="5"/>
                      <a:pt x="37" y="4"/>
                      <a:pt x="4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4" name="Freeform 730">
                <a:extLst>
                  <a:ext uri="{FF2B5EF4-FFF2-40B4-BE49-F238E27FC236}">
                    <a16:creationId xmlns:a16="http://schemas.microsoft.com/office/drawing/2014/main" id="{C6AF5B87-3978-4E6E-937D-459793147A45}"/>
                  </a:ext>
                </a:extLst>
              </p:cNvPr>
              <p:cNvSpPr>
                <a:spLocks/>
              </p:cNvSpPr>
              <p:nvPr/>
            </p:nvSpPr>
            <p:spPr bwMode="auto">
              <a:xfrm>
                <a:off x="4408" y="-101"/>
                <a:ext cx="121" cy="24"/>
              </a:xfrm>
              <a:custGeom>
                <a:avLst/>
                <a:gdLst>
                  <a:gd name="T0" fmla="*/ 18 w 51"/>
                  <a:gd name="T1" fmla="*/ 5 h 10"/>
                  <a:gd name="T2" fmla="*/ 29 w 51"/>
                  <a:gd name="T3" fmla="*/ 4 h 10"/>
                  <a:gd name="T4" fmla="*/ 41 w 51"/>
                  <a:gd name="T5" fmla="*/ 7 h 10"/>
                  <a:gd name="T6" fmla="*/ 51 w 51"/>
                  <a:gd name="T7" fmla="*/ 5 h 10"/>
                  <a:gd name="T8" fmla="*/ 24 w 51"/>
                  <a:gd name="T9" fmla="*/ 0 h 10"/>
                  <a:gd name="T10" fmla="*/ 0 w 51"/>
                  <a:gd name="T11" fmla="*/ 7 h 10"/>
                  <a:gd name="T12" fmla="*/ 7 w 51"/>
                  <a:gd name="T13" fmla="*/ 10 h 10"/>
                  <a:gd name="T14" fmla="*/ 18 w 51"/>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0">
                    <a:moveTo>
                      <a:pt x="18" y="5"/>
                    </a:moveTo>
                    <a:cubicBezTo>
                      <a:pt x="22" y="5"/>
                      <a:pt x="26" y="3"/>
                      <a:pt x="29" y="4"/>
                    </a:cubicBezTo>
                    <a:cubicBezTo>
                      <a:pt x="33" y="5"/>
                      <a:pt x="36" y="8"/>
                      <a:pt x="41" y="7"/>
                    </a:cubicBezTo>
                    <a:cubicBezTo>
                      <a:pt x="44" y="7"/>
                      <a:pt x="48" y="5"/>
                      <a:pt x="51" y="5"/>
                    </a:cubicBezTo>
                    <a:cubicBezTo>
                      <a:pt x="43" y="2"/>
                      <a:pt x="33" y="1"/>
                      <a:pt x="24" y="0"/>
                    </a:cubicBezTo>
                    <a:cubicBezTo>
                      <a:pt x="15" y="0"/>
                      <a:pt x="9" y="5"/>
                      <a:pt x="0" y="7"/>
                    </a:cubicBezTo>
                    <a:cubicBezTo>
                      <a:pt x="2" y="9"/>
                      <a:pt x="5" y="9"/>
                      <a:pt x="7" y="10"/>
                    </a:cubicBezTo>
                    <a:cubicBezTo>
                      <a:pt x="9" y="8"/>
                      <a:pt x="15" y="5"/>
                      <a:pt x="1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5" name="Freeform 731">
                <a:extLst>
                  <a:ext uri="{FF2B5EF4-FFF2-40B4-BE49-F238E27FC236}">
                    <a16:creationId xmlns:a16="http://schemas.microsoft.com/office/drawing/2014/main" id="{A5146FF7-2BEE-4C7A-A43B-FEF0ED38E8BD}"/>
                  </a:ext>
                </a:extLst>
              </p:cNvPr>
              <p:cNvSpPr>
                <a:spLocks/>
              </p:cNvSpPr>
              <p:nvPr/>
            </p:nvSpPr>
            <p:spPr bwMode="auto">
              <a:xfrm>
                <a:off x="4213" y="242"/>
                <a:ext cx="27" cy="24"/>
              </a:xfrm>
              <a:custGeom>
                <a:avLst/>
                <a:gdLst>
                  <a:gd name="T0" fmla="*/ 0 w 11"/>
                  <a:gd name="T1" fmla="*/ 10 h 10"/>
                  <a:gd name="T2" fmla="*/ 11 w 11"/>
                  <a:gd name="T3" fmla="*/ 0 h 10"/>
                  <a:gd name="T4" fmla="*/ 0 w 11"/>
                  <a:gd name="T5" fmla="*/ 10 h 10"/>
                </a:gdLst>
                <a:ahLst/>
                <a:cxnLst>
                  <a:cxn ang="0">
                    <a:pos x="T0" y="T1"/>
                  </a:cxn>
                  <a:cxn ang="0">
                    <a:pos x="T2" y="T3"/>
                  </a:cxn>
                  <a:cxn ang="0">
                    <a:pos x="T4" y="T5"/>
                  </a:cxn>
                </a:cxnLst>
                <a:rect l="0" t="0" r="r" b="b"/>
                <a:pathLst>
                  <a:path w="11" h="10">
                    <a:moveTo>
                      <a:pt x="0" y="10"/>
                    </a:moveTo>
                    <a:cubicBezTo>
                      <a:pt x="4" y="7"/>
                      <a:pt x="8" y="3"/>
                      <a:pt x="11" y="0"/>
                    </a:cubicBezTo>
                    <a:cubicBezTo>
                      <a:pt x="7" y="2"/>
                      <a:pt x="3" y="6"/>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6" name="Freeform 732">
                <a:extLst>
                  <a:ext uri="{FF2B5EF4-FFF2-40B4-BE49-F238E27FC236}">
                    <a16:creationId xmlns:a16="http://schemas.microsoft.com/office/drawing/2014/main" id="{2FF05918-C52E-48C1-942C-917B66B708C7}"/>
                  </a:ext>
                </a:extLst>
              </p:cNvPr>
              <p:cNvSpPr>
                <a:spLocks/>
              </p:cNvSpPr>
              <p:nvPr/>
            </p:nvSpPr>
            <p:spPr bwMode="auto">
              <a:xfrm>
                <a:off x="3886" y="-49"/>
                <a:ext cx="142" cy="62"/>
              </a:xfrm>
              <a:custGeom>
                <a:avLst/>
                <a:gdLst>
                  <a:gd name="T0" fmla="*/ 29 w 60"/>
                  <a:gd name="T1" fmla="*/ 25 h 26"/>
                  <a:gd name="T2" fmla="*/ 36 w 60"/>
                  <a:gd name="T3" fmla="*/ 24 h 26"/>
                  <a:gd name="T4" fmla="*/ 54 w 60"/>
                  <a:gd name="T5" fmla="*/ 22 h 26"/>
                  <a:gd name="T6" fmla="*/ 60 w 60"/>
                  <a:gd name="T7" fmla="*/ 18 h 26"/>
                  <a:gd name="T8" fmla="*/ 60 w 60"/>
                  <a:gd name="T9" fmla="*/ 13 h 26"/>
                  <a:gd name="T10" fmla="*/ 60 w 60"/>
                  <a:gd name="T11" fmla="*/ 8 h 26"/>
                  <a:gd name="T12" fmla="*/ 57 w 60"/>
                  <a:gd name="T13" fmla="*/ 6 h 26"/>
                  <a:gd name="T14" fmla="*/ 56 w 60"/>
                  <a:gd name="T15" fmla="*/ 2 h 26"/>
                  <a:gd name="T16" fmla="*/ 52 w 60"/>
                  <a:gd name="T17" fmla="*/ 3 h 26"/>
                  <a:gd name="T18" fmla="*/ 48 w 60"/>
                  <a:gd name="T19" fmla="*/ 2 h 26"/>
                  <a:gd name="T20" fmla="*/ 44 w 60"/>
                  <a:gd name="T21" fmla="*/ 1 h 26"/>
                  <a:gd name="T22" fmla="*/ 40 w 60"/>
                  <a:gd name="T23" fmla="*/ 3 h 26"/>
                  <a:gd name="T24" fmla="*/ 33 w 60"/>
                  <a:gd name="T25" fmla="*/ 0 h 26"/>
                  <a:gd name="T26" fmla="*/ 27 w 60"/>
                  <a:gd name="T27" fmla="*/ 4 h 26"/>
                  <a:gd name="T28" fmla="*/ 18 w 60"/>
                  <a:gd name="T29" fmla="*/ 5 h 26"/>
                  <a:gd name="T30" fmla="*/ 0 w 60"/>
                  <a:gd name="T31" fmla="*/ 9 h 26"/>
                  <a:gd name="T32" fmla="*/ 15 w 60"/>
                  <a:gd name="T33" fmla="*/ 16 h 26"/>
                  <a:gd name="T34" fmla="*/ 18 w 60"/>
                  <a:gd name="T35" fmla="*/ 21 h 26"/>
                  <a:gd name="T36" fmla="*/ 16 w 60"/>
                  <a:gd name="T37" fmla="*/ 26 h 26"/>
                  <a:gd name="T38" fmla="*/ 29 w 60"/>
                  <a:gd name="T3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 h="26">
                    <a:moveTo>
                      <a:pt x="29" y="25"/>
                    </a:moveTo>
                    <a:cubicBezTo>
                      <a:pt x="31" y="25"/>
                      <a:pt x="33" y="24"/>
                      <a:pt x="36" y="24"/>
                    </a:cubicBezTo>
                    <a:cubicBezTo>
                      <a:pt x="42" y="23"/>
                      <a:pt x="48" y="23"/>
                      <a:pt x="54" y="22"/>
                    </a:cubicBezTo>
                    <a:cubicBezTo>
                      <a:pt x="57" y="22"/>
                      <a:pt x="60" y="21"/>
                      <a:pt x="60" y="18"/>
                    </a:cubicBezTo>
                    <a:cubicBezTo>
                      <a:pt x="60" y="16"/>
                      <a:pt x="59" y="15"/>
                      <a:pt x="60" y="13"/>
                    </a:cubicBezTo>
                    <a:cubicBezTo>
                      <a:pt x="60" y="11"/>
                      <a:pt x="60" y="9"/>
                      <a:pt x="60" y="8"/>
                    </a:cubicBezTo>
                    <a:cubicBezTo>
                      <a:pt x="59" y="7"/>
                      <a:pt x="58" y="7"/>
                      <a:pt x="57" y="6"/>
                    </a:cubicBezTo>
                    <a:cubicBezTo>
                      <a:pt x="57" y="6"/>
                      <a:pt x="56" y="2"/>
                      <a:pt x="56" y="2"/>
                    </a:cubicBezTo>
                    <a:cubicBezTo>
                      <a:pt x="54" y="1"/>
                      <a:pt x="53" y="3"/>
                      <a:pt x="52" y="3"/>
                    </a:cubicBezTo>
                    <a:cubicBezTo>
                      <a:pt x="51" y="3"/>
                      <a:pt x="48" y="2"/>
                      <a:pt x="48" y="2"/>
                    </a:cubicBezTo>
                    <a:cubicBezTo>
                      <a:pt x="46" y="2"/>
                      <a:pt x="46" y="1"/>
                      <a:pt x="44" y="1"/>
                    </a:cubicBezTo>
                    <a:cubicBezTo>
                      <a:pt x="42" y="1"/>
                      <a:pt x="41" y="3"/>
                      <a:pt x="40" y="3"/>
                    </a:cubicBezTo>
                    <a:cubicBezTo>
                      <a:pt x="37" y="3"/>
                      <a:pt x="36" y="0"/>
                      <a:pt x="33" y="0"/>
                    </a:cubicBezTo>
                    <a:cubicBezTo>
                      <a:pt x="28" y="0"/>
                      <a:pt x="30" y="2"/>
                      <a:pt x="27" y="4"/>
                    </a:cubicBezTo>
                    <a:cubicBezTo>
                      <a:pt x="24" y="5"/>
                      <a:pt x="21" y="4"/>
                      <a:pt x="18" y="5"/>
                    </a:cubicBezTo>
                    <a:cubicBezTo>
                      <a:pt x="12" y="6"/>
                      <a:pt x="5" y="6"/>
                      <a:pt x="0" y="9"/>
                    </a:cubicBezTo>
                    <a:cubicBezTo>
                      <a:pt x="4" y="11"/>
                      <a:pt x="14" y="12"/>
                      <a:pt x="15" y="16"/>
                    </a:cubicBezTo>
                    <a:cubicBezTo>
                      <a:pt x="16" y="18"/>
                      <a:pt x="18" y="20"/>
                      <a:pt x="18" y="21"/>
                    </a:cubicBezTo>
                    <a:cubicBezTo>
                      <a:pt x="18" y="23"/>
                      <a:pt x="16" y="25"/>
                      <a:pt x="16" y="26"/>
                    </a:cubicBezTo>
                    <a:cubicBezTo>
                      <a:pt x="18" y="23"/>
                      <a:pt x="25" y="26"/>
                      <a:pt x="29"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sp>
        <p:nvSpPr>
          <p:cNvPr id="5" name="Footer Placeholder 4">
            <a:extLst>
              <a:ext uri="{FF2B5EF4-FFF2-40B4-BE49-F238E27FC236}">
                <a16:creationId xmlns:a16="http://schemas.microsoft.com/office/drawing/2014/main" id="{0AC1EF1D-2A19-40E6-96D9-91C8FEE04D8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C72DDD9B-7958-4B62-BD69-CCBD217B2AEA}"/>
              </a:ext>
            </a:extLst>
          </p:cNvPr>
          <p:cNvSpPr>
            <a:spLocks noGrp="1"/>
          </p:cNvSpPr>
          <p:nvPr>
            <p:ph type="sldNum" sz="quarter" idx="10"/>
          </p:nvPr>
        </p:nvSpPr>
        <p:spPr/>
        <p:txBody>
          <a:bodyPr/>
          <a:lstStyle/>
          <a:p>
            <a:fld id="{1F90F471-3972-4120-B8B3-0237DE626C35}" type="slidenum">
              <a:rPr lang="en-US" smtClean="0"/>
              <a:pPr/>
              <a:t>360</a:t>
            </a:fld>
            <a:endParaRPr lang="en-US" dirty="0"/>
          </a:p>
        </p:txBody>
      </p:sp>
    </p:spTree>
    <p:extLst>
      <p:ext uri="{BB962C8B-B14F-4D97-AF65-F5344CB8AC3E}">
        <p14:creationId xmlns:p14="http://schemas.microsoft.com/office/powerpoint/2010/main" val="1959072123"/>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Group 70">
            <a:extLst>
              <a:ext uri="{FF2B5EF4-FFF2-40B4-BE49-F238E27FC236}">
                <a16:creationId xmlns:a16="http://schemas.microsoft.com/office/drawing/2014/main" id="{EB015583-425A-429D-AC9B-4B0955CE62D8}"/>
              </a:ext>
            </a:extLst>
          </p:cNvPr>
          <p:cNvGrpSpPr>
            <a:grpSpLocks noChangeAspect="1"/>
          </p:cNvGrpSpPr>
          <p:nvPr/>
        </p:nvGrpSpPr>
        <p:grpSpPr>
          <a:xfrm>
            <a:off x="0" y="545487"/>
            <a:ext cx="7132320" cy="6312513"/>
            <a:chOff x="0" y="545487"/>
            <a:chExt cx="7132320" cy="6312513"/>
          </a:xfrm>
        </p:grpSpPr>
        <p:grpSp>
          <p:nvGrpSpPr>
            <p:cNvPr id="72" name="Asia_Map">
              <a:extLst>
                <a:ext uri="{FF2B5EF4-FFF2-40B4-BE49-F238E27FC236}">
                  <a16:creationId xmlns:a16="http://schemas.microsoft.com/office/drawing/2014/main" id="{A529F33E-002B-441E-84FB-67DD9195536B}"/>
                </a:ext>
              </a:extLst>
            </p:cNvPr>
            <p:cNvGrpSpPr>
              <a:grpSpLocks noChangeAspect="1"/>
            </p:cNvGrpSpPr>
            <p:nvPr/>
          </p:nvGrpSpPr>
          <p:grpSpPr>
            <a:xfrm>
              <a:off x="0" y="545487"/>
              <a:ext cx="7132320" cy="6312513"/>
              <a:chOff x="0" y="545487"/>
              <a:chExt cx="7132320" cy="6312513"/>
            </a:xfrm>
          </p:grpSpPr>
          <p:grpSp>
            <p:nvGrpSpPr>
              <p:cNvPr id="74" name="Graphic 4">
                <a:extLst>
                  <a:ext uri="{FF2B5EF4-FFF2-40B4-BE49-F238E27FC236}">
                    <a16:creationId xmlns:a16="http://schemas.microsoft.com/office/drawing/2014/main" id="{556C05EB-7AB1-4957-A0F6-1A9516EFC7A3}"/>
                  </a:ext>
                </a:extLst>
              </p:cNvPr>
              <p:cNvGrpSpPr/>
              <p:nvPr/>
            </p:nvGrpSpPr>
            <p:grpSpPr>
              <a:xfrm>
                <a:off x="6" y="545481"/>
                <a:ext cx="6166300" cy="6107097"/>
                <a:chOff x="6" y="545481"/>
                <a:chExt cx="6166300" cy="6107097"/>
              </a:xfrm>
              <a:solidFill>
                <a:srgbClr val="D6D6D2"/>
              </a:solidFill>
            </p:grpSpPr>
            <p:sp>
              <p:nvSpPr>
                <p:cNvPr id="98" name="Freeform: Shape 97">
                  <a:extLst>
                    <a:ext uri="{FF2B5EF4-FFF2-40B4-BE49-F238E27FC236}">
                      <a16:creationId xmlns:a16="http://schemas.microsoft.com/office/drawing/2014/main" id="{92765980-0609-49BD-A05B-CAB5EA27AEF9}"/>
                    </a:ext>
                  </a:extLst>
                </p:cNvPr>
                <p:cNvSpPr/>
                <p:nvPr/>
              </p:nvSpPr>
              <p:spPr>
                <a:xfrm>
                  <a:off x="2446827" y="4841042"/>
                  <a:ext cx="382126" cy="791585"/>
                </a:xfrm>
                <a:custGeom>
                  <a:avLst/>
                  <a:gdLst>
                    <a:gd name="connsiteX0" fmla="*/ 169703 w 382126"/>
                    <a:gd name="connsiteY0" fmla="*/ 3500 h 791585"/>
                    <a:gd name="connsiteX1" fmla="*/ 176930 w 382126"/>
                    <a:gd name="connsiteY1" fmla="*/ 10094 h 791585"/>
                    <a:gd name="connsiteX2" fmla="*/ 178148 w 382126"/>
                    <a:gd name="connsiteY2" fmla="*/ 15364 h 791585"/>
                    <a:gd name="connsiteX3" fmla="*/ 185385 w 382126"/>
                    <a:gd name="connsiteY3" fmla="*/ 16230 h 791585"/>
                    <a:gd name="connsiteX4" fmla="*/ 192963 w 382126"/>
                    <a:gd name="connsiteY4" fmla="*/ 23199 h 791585"/>
                    <a:gd name="connsiteX5" fmla="*/ 200599 w 382126"/>
                    <a:gd name="connsiteY5" fmla="*/ 21102 h 791585"/>
                    <a:gd name="connsiteX6" fmla="*/ 209417 w 382126"/>
                    <a:gd name="connsiteY6" fmla="*/ 20259 h 791585"/>
                    <a:gd name="connsiteX7" fmla="*/ 213376 w 382126"/>
                    <a:gd name="connsiteY7" fmla="*/ 25483 h 791585"/>
                    <a:gd name="connsiteX8" fmla="*/ 226469 w 382126"/>
                    <a:gd name="connsiteY8" fmla="*/ 23058 h 791585"/>
                    <a:gd name="connsiteX9" fmla="*/ 243205 w 382126"/>
                    <a:gd name="connsiteY9" fmla="*/ 30495 h 791585"/>
                    <a:gd name="connsiteX10" fmla="*/ 235265 w 382126"/>
                    <a:gd name="connsiteY10" fmla="*/ 42300 h 791585"/>
                    <a:gd name="connsiteX11" fmla="*/ 230920 w 382126"/>
                    <a:gd name="connsiteY11" fmla="*/ 43448 h 791585"/>
                    <a:gd name="connsiteX12" fmla="*/ 229386 w 382126"/>
                    <a:gd name="connsiteY12" fmla="*/ 51564 h 791585"/>
                    <a:gd name="connsiteX13" fmla="*/ 233227 w 382126"/>
                    <a:gd name="connsiteY13" fmla="*/ 55757 h 791585"/>
                    <a:gd name="connsiteX14" fmla="*/ 234960 w 382126"/>
                    <a:gd name="connsiteY14" fmla="*/ 63486 h 791585"/>
                    <a:gd name="connsiteX15" fmla="*/ 235347 w 382126"/>
                    <a:gd name="connsiteY15" fmla="*/ 74191 h 791585"/>
                    <a:gd name="connsiteX16" fmla="*/ 245360 w 382126"/>
                    <a:gd name="connsiteY16" fmla="*/ 74929 h 791585"/>
                    <a:gd name="connsiteX17" fmla="*/ 254542 w 382126"/>
                    <a:gd name="connsiteY17" fmla="*/ 79859 h 791585"/>
                    <a:gd name="connsiteX18" fmla="*/ 254636 w 382126"/>
                    <a:gd name="connsiteY18" fmla="*/ 84134 h 791585"/>
                    <a:gd name="connsiteX19" fmla="*/ 263712 w 382126"/>
                    <a:gd name="connsiteY19" fmla="*/ 89369 h 791585"/>
                    <a:gd name="connsiteX20" fmla="*/ 267155 w 382126"/>
                    <a:gd name="connsiteY20" fmla="*/ 89006 h 791585"/>
                    <a:gd name="connsiteX21" fmla="*/ 270188 w 382126"/>
                    <a:gd name="connsiteY21" fmla="*/ 92519 h 791585"/>
                    <a:gd name="connsiteX22" fmla="*/ 273198 w 382126"/>
                    <a:gd name="connsiteY22" fmla="*/ 94616 h 791585"/>
                    <a:gd name="connsiteX23" fmla="*/ 276970 w 382126"/>
                    <a:gd name="connsiteY23" fmla="*/ 92824 h 791585"/>
                    <a:gd name="connsiteX24" fmla="*/ 279288 w 382126"/>
                    <a:gd name="connsiteY24" fmla="*/ 96267 h 791585"/>
                    <a:gd name="connsiteX25" fmla="*/ 281303 w 382126"/>
                    <a:gd name="connsiteY25" fmla="*/ 95049 h 791585"/>
                    <a:gd name="connsiteX26" fmla="*/ 291714 w 382126"/>
                    <a:gd name="connsiteY26" fmla="*/ 92566 h 791585"/>
                    <a:gd name="connsiteX27" fmla="*/ 305382 w 382126"/>
                    <a:gd name="connsiteY27" fmla="*/ 101631 h 791585"/>
                    <a:gd name="connsiteX28" fmla="*/ 302184 w 382126"/>
                    <a:gd name="connsiteY28" fmla="*/ 103973 h 791585"/>
                    <a:gd name="connsiteX29" fmla="*/ 298683 w 382126"/>
                    <a:gd name="connsiteY29" fmla="*/ 99195 h 791585"/>
                    <a:gd name="connsiteX30" fmla="*/ 297301 w 382126"/>
                    <a:gd name="connsiteY30" fmla="*/ 101479 h 791585"/>
                    <a:gd name="connsiteX31" fmla="*/ 296797 w 382126"/>
                    <a:gd name="connsiteY31" fmla="*/ 99394 h 791585"/>
                    <a:gd name="connsiteX32" fmla="*/ 296481 w 382126"/>
                    <a:gd name="connsiteY32" fmla="*/ 101221 h 791585"/>
                    <a:gd name="connsiteX33" fmla="*/ 292921 w 382126"/>
                    <a:gd name="connsiteY33" fmla="*/ 100108 h 791585"/>
                    <a:gd name="connsiteX34" fmla="*/ 286807 w 382126"/>
                    <a:gd name="connsiteY34" fmla="*/ 107217 h 791585"/>
                    <a:gd name="connsiteX35" fmla="*/ 286491 w 382126"/>
                    <a:gd name="connsiteY35" fmla="*/ 110192 h 791585"/>
                    <a:gd name="connsiteX36" fmla="*/ 280928 w 382126"/>
                    <a:gd name="connsiteY36" fmla="*/ 109103 h 791585"/>
                    <a:gd name="connsiteX37" fmla="*/ 281724 w 382126"/>
                    <a:gd name="connsiteY37" fmla="*/ 111644 h 791585"/>
                    <a:gd name="connsiteX38" fmla="*/ 275025 w 382126"/>
                    <a:gd name="connsiteY38" fmla="*/ 110930 h 791585"/>
                    <a:gd name="connsiteX39" fmla="*/ 276794 w 382126"/>
                    <a:gd name="connsiteY39" fmla="*/ 112417 h 791585"/>
                    <a:gd name="connsiteX40" fmla="*/ 273948 w 382126"/>
                    <a:gd name="connsiteY40" fmla="*/ 118039 h 791585"/>
                    <a:gd name="connsiteX41" fmla="*/ 264707 w 382126"/>
                    <a:gd name="connsiteY41" fmla="*/ 128521 h 791585"/>
                    <a:gd name="connsiteX42" fmla="*/ 265738 w 382126"/>
                    <a:gd name="connsiteY42" fmla="*/ 129247 h 791585"/>
                    <a:gd name="connsiteX43" fmla="*/ 257142 w 382126"/>
                    <a:gd name="connsiteY43" fmla="*/ 130359 h 791585"/>
                    <a:gd name="connsiteX44" fmla="*/ 261463 w 382126"/>
                    <a:gd name="connsiteY44" fmla="*/ 125897 h 791585"/>
                    <a:gd name="connsiteX45" fmla="*/ 258067 w 382126"/>
                    <a:gd name="connsiteY45" fmla="*/ 127806 h 791585"/>
                    <a:gd name="connsiteX46" fmla="*/ 257891 w 382126"/>
                    <a:gd name="connsiteY46" fmla="*/ 126284 h 791585"/>
                    <a:gd name="connsiteX47" fmla="*/ 256990 w 382126"/>
                    <a:gd name="connsiteY47" fmla="*/ 127619 h 791585"/>
                    <a:gd name="connsiteX48" fmla="*/ 256802 w 382126"/>
                    <a:gd name="connsiteY48" fmla="*/ 126284 h 791585"/>
                    <a:gd name="connsiteX49" fmla="*/ 256088 w 382126"/>
                    <a:gd name="connsiteY49" fmla="*/ 128146 h 791585"/>
                    <a:gd name="connsiteX50" fmla="*/ 255022 w 382126"/>
                    <a:gd name="connsiteY50" fmla="*/ 126284 h 791585"/>
                    <a:gd name="connsiteX51" fmla="*/ 255736 w 382126"/>
                    <a:gd name="connsiteY51" fmla="*/ 128146 h 791585"/>
                    <a:gd name="connsiteX52" fmla="*/ 253558 w 382126"/>
                    <a:gd name="connsiteY52" fmla="*/ 127022 h 791585"/>
                    <a:gd name="connsiteX53" fmla="*/ 246039 w 382126"/>
                    <a:gd name="connsiteY53" fmla="*/ 128532 h 791585"/>
                    <a:gd name="connsiteX54" fmla="*/ 250689 w 382126"/>
                    <a:gd name="connsiteY54" fmla="*/ 133369 h 791585"/>
                    <a:gd name="connsiteX55" fmla="*/ 247093 w 382126"/>
                    <a:gd name="connsiteY55" fmla="*/ 131507 h 791585"/>
                    <a:gd name="connsiteX56" fmla="*/ 246777 w 382126"/>
                    <a:gd name="connsiteY56" fmla="*/ 134505 h 791585"/>
                    <a:gd name="connsiteX57" fmla="*/ 241800 w 382126"/>
                    <a:gd name="connsiteY57" fmla="*/ 130430 h 791585"/>
                    <a:gd name="connsiteX58" fmla="*/ 242116 w 382126"/>
                    <a:gd name="connsiteY58" fmla="*/ 126612 h 791585"/>
                    <a:gd name="connsiteX59" fmla="*/ 242456 w 382126"/>
                    <a:gd name="connsiteY59" fmla="*/ 127385 h 791585"/>
                    <a:gd name="connsiteX60" fmla="*/ 238930 w 382126"/>
                    <a:gd name="connsiteY60" fmla="*/ 127806 h 791585"/>
                    <a:gd name="connsiteX61" fmla="*/ 234984 w 382126"/>
                    <a:gd name="connsiteY61" fmla="*/ 127022 h 791585"/>
                    <a:gd name="connsiteX62" fmla="*/ 237127 w 382126"/>
                    <a:gd name="connsiteY62" fmla="*/ 128146 h 791585"/>
                    <a:gd name="connsiteX63" fmla="*/ 235710 w 382126"/>
                    <a:gd name="connsiteY63" fmla="*/ 127806 h 791585"/>
                    <a:gd name="connsiteX64" fmla="*/ 240324 w 382126"/>
                    <a:gd name="connsiteY64" fmla="*/ 134494 h 791585"/>
                    <a:gd name="connsiteX65" fmla="*/ 238942 w 382126"/>
                    <a:gd name="connsiteY65" fmla="*/ 133369 h 791585"/>
                    <a:gd name="connsiteX66" fmla="*/ 238017 w 382126"/>
                    <a:gd name="connsiteY66" fmla="*/ 134494 h 791585"/>
                    <a:gd name="connsiteX67" fmla="*/ 238942 w 382126"/>
                    <a:gd name="connsiteY67" fmla="*/ 138581 h 791585"/>
                    <a:gd name="connsiteX68" fmla="*/ 243545 w 382126"/>
                    <a:gd name="connsiteY68" fmla="*/ 145666 h 791585"/>
                    <a:gd name="connsiteX69" fmla="*/ 236061 w 382126"/>
                    <a:gd name="connsiteY69" fmla="*/ 144554 h 791585"/>
                    <a:gd name="connsiteX70" fmla="*/ 232103 w 382126"/>
                    <a:gd name="connsiteY70" fmla="*/ 146451 h 791585"/>
                    <a:gd name="connsiteX71" fmla="*/ 228554 w 382126"/>
                    <a:gd name="connsiteY71" fmla="*/ 153103 h 791585"/>
                    <a:gd name="connsiteX72" fmla="*/ 231740 w 382126"/>
                    <a:gd name="connsiteY72" fmla="*/ 152764 h 791585"/>
                    <a:gd name="connsiteX73" fmla="*/ 228554 w 382126"/>
                    <a:gd name="connsiteY73" fmla="*/ 158737 h 791585"/>
                    <a:gd name="connsiteX74" fmla="*/ 231400 w 382126"/>
                    <a:gd name="connsiteY74" fmla="*/ 162473 h 791585"/>
                    <a:gd name="connsiteX75" fmla="*/ 231049 w 382126"/>
                    <a:gd name="connsiteY75" fmla="*/ 161699 h 791585"/>
                    <a:gd name="connsiteX76" fmla="*/ 230697 w 382126"/>
                    <a:gd name="connsiteY76" fmla="*/ 162074 h 791585"/>
                    <a:gd name="connsiteX77" fmla="*/ 231857 w 382126"/>
                    <a:gd name="connsiteY77" fmla="*/ 168141 h 791585"/>
                    <a:gd name="connsiteX78" fmla="*/ 227500 w 382126"/>
                    <a:gd name="connsiteY78" fmla="*/ 165740 h 791585"/>
                    <a:gd name="connsiteX79" fmla="*/ 227840 w 382126"/>
                    <a:gd name="connsiteY79" fmla="*/ 166337 h 791585"/>
                    <a:gd name="connsiteX80" fmla="*/ 222113 w 382126"/>
                    <a:gd name="connsiteY80" fmla="*/ 171373 h 791585"/>
                    <a:gd name="connsiteX81" fmla="*/ 222464 w 382126"/>
                    <a:gd name="connsiteY81" fmla="*/ 170635 h 791585"/>
                    <a:gd name="connsiteX82" fmla="*/ 211783 w 382126"/>
                    <a:gd name="connsiteY82" fmla="*/ 181796 h 791585"/>
                    <a:gd name="connsiteX83" fmla="*/ 212111 w 382126"/>
                    <a:gd name="connsiteY83" fmla="*/ 179899 h 791585"/>
                    <a:gd name="connsiteX84" fmla="*/ 207099 w 382126"/>
                    <a:gd name="connsiteY84" fmla="*/ 184384 h 791585"/>
                    <a:gd name="connsiteX85" fmla="*/ 207473 w 382126"/>
                    <a:gd name="connsiteY85" fmla="*/ 180684 h 791585"/>
                    <a:gd name="connsiteX86" fmla="*/ 201372 w 382126"/>
                    <a:gd name="connsiteY86" fmla="*/ 184455 h 791585"/>
                    <a:gd name="connsiteX87" fmla="*/ 197776 w 382126"/>
                    <a:gd name="connsiteY87" fmla="*/ 193683 h 791585"/>
                    <a:gd name="connsiteX88" fmla="*/ 194590 w 382126"/>
                    <a:gd name="connsiteY88" fmla="*/ 194796 h 791585"/>
                    <a:gd name="connsiteX89" fmla="*/ 197776 w 382126"/>
                    <a:gd name="connsiteY89" fmla="*/ 194433 h 791585"/>
                    <a:gd name="connsiteX90" fmla="*/ 192073 w 382126"/>
                    <a:gd name="connsiteY90" fmla="*/ 204856 h 791585"/>
                    <a:gd name="connsiteX91" fmla="*/ 190644 w 382126"/>
                    <a:gd name="connsiteY91" fmla="*/ 204856 h 791585"/>
                    <a:gd name="connsiteX92" fmla="*/ 191358 w 382126"/>
                    <a:gd name="connsiteY92" fmla="*/ 203709 h 791585"/>
                    <a:gd name="connsiteX93" fmla="*/ 189590 w 382126"/>
                    <a:gd name="connsiteY93" fmla="*/ 214507 h 791585"/>
                    <a:gd name="connsiteX94" fmla="*/ 191745 w 382126"/>
                    <a:gd name="connsiteY94" fmla="*/ 220046 h 791585"/>
                    <a:gd name="connsiteX95" fmla="*/ 190655 w 382126"/>
                    <a:gd name="connsiteY95" fmla="*/ 219320 h 791585"/>
                    <a:gd name="connsiteX96" fmla="*/ 185631 w 382126"/>
                    <a:gd name="connsiteY96" fmla="*/ 232273 h 791585"/>
                    <a:gd name="connsiteX97" fmla="*/ 181813 w 382126"/>
                    <a:gd name="connsiteY97" fmla="*/ 239112 h 791585"/>
                    <a:gd name="connsiteX98" fmla="*/ 186006 w 382126"/>
                    <a:gd name="connsiteY98" fmla="*/ 245613 h 791585"/>
                    <a:gd name="connsiteX99" fmla="*/ 184554 w 382126"/>
                    <a:gd name="connsiteY99" fmla="*/ 244511 h 791585"/>
                    <a:gd name="connsiteX100" fmla="*/ 188512 w 382126"/>
                    <a:gd name="connsiteY100" fmla="*/ 254864 h 791585"/>
                    <a:gd name="connsiteX101" fmla="*/ 189227 w 382126"/>
                    <a:gd name="connsiteY101" fmla="*/ 249676 h 791585"/>
                    <a:gd name="connsiteX102" fmla="*/ 197987 w 382126"/>
                    <a:gd name="connsiteY102" fmla="*/ 265159 h 791585"/>
                    <a:gd name="connsiteX103" fmla="*/ 206396 w 382126"/>
                    <a:gd name="connsiteY103" fmla="*/ 276660 h 791585"/>
                    <a:gd name="connsiteX104" fmla="*/ 219981 w 382126"/>
                    <a:gd name="connsiteY104" fmla="*/ 284425 h 791585"/>
                    <a:gd name="connsiteX105" fmla="*/ 217487 w 382126"/>
                    <a:gd name="connsiteY105" fmla="*/ 285186 h 791585"/>
                    <a:gd name="connsiteX106" fmla="*/ 219255 w 382126"/>
                    <a:gd name="connsiteY106" fmla="*/ 285186 h 791585"/>
                    <a:gd name="connsiteX107" fmla="*/ 219583 w 382126"/>
                    <a:gd name="connsiteY107" fmla="*/ 287387 h 791585"/>
                    <a:gd name="connsiteX108" fmla="*/ 224197 w 382126"/>
                    <a:gd name="connsiteY108" fmla="*/ 283944 h 791585"/>
                    <a:gd name="connsiteX109" fmla="*/ 224256 w 382126"/>
                    <a:gd name="connsiteY109" fmla="*/ 296944 h 791585"/>
                    <a:gd name="connsiteX110" fmla="*/ 227500 w 382126"/>
                    <a:gd name="connsiteY110" fmla="*/ 306161 h 791585"/>
                    <a:gd name="connsiteX111" fmla="*/ 216386 w 382126"/>
                    <a:gd name="connsiteY111" fmla="*/ 302859 h 791585"/>
                    <a:gd name="connsiteX112" fmla="*/ 223916 w 382126"/>
                    <a:gd name="connsiteY112" fmla="*/ 305458 h 791585"/>
                    <a:gd name="connsiteX113" fmla="*/ 222839 w 382126"/>
                    <a:gd name="connsiteY113" fmla="*/ 307660 h 791585"/>
                    <a:gd name="connsiteX114" fmla="*/ 222113 w 382126"/>
                    <a:gd name="connsiteY114" fmla="*/ 306559 h 791585"/>
                    <a:gd name="connsiteX115" fmla="*/ 241366 w 382126"/>
                    <a:gd name="connsiteY115" fmla="*/ 326328 h 791585"/>
                    <a:gd name="connsiteX116" fmla="*/ 261077 w 382126"/>
                    <a:gd name="connsiteY116" fmla="*/ 351450 h 791585"/>
                    <a:gd name="connsiteX117" fmla="*/ 286819 w 382126"/>
                    <a:gd name="connsiteY117" fmla="*/ 366885 h 791585"/>
                    <a:gd name="connsiteX118" fmla="*/ 276805 w 382126"/>
                    <a:gd name="connsiteY118" fmla="*/ 363231 h 791585"/>
                    <a:gd name="connsiteX119" fmla="*/ 286819 w 382126"/>
                    <a:gd name="connsiteY119" fmla="*/ 368384 h 791585"/>
                    <a:gd name="connsiteX120" fmla="*/ 285413 w 382126"/>
                    <a:gd name="connsiteY120" fmla="*/ 368747 h 791585"/>
                    <a:gd name="connsiteX121" fmla="*/ 288271 w 382126"/>
                    <a:gd name="connsiteY121" fmla="*/ 368384 h 791585"/>
                    <a:gd name="connsiteX122" fmla="*/ 288271 w 382126"/>
                    <a:gd name="connsiteY122" fmla="*/ 371312 h 791585"/>
                    <a:gd name="connsiteX123" fmla="*/ 290040 w 382126"/>
                    <a:gd name="connsiteY123" fmla="*/ 370083 h 791585"/>
                    <a:gd name="connsiteX124" fmla="*/ 297558 w 382126"/>
                    <a:gd name="connsiteY124" fmla="*/ 377613 h 791585"/>
                    <a:gd name="connsiteX125" fmla="*/ 295228 w 382126"/>
                    <a:gd name="connsiteY125" fmla="*/ 377203 h 791585"/>
                    <a:gd name="connsiteX126" fmla="*/ 302196 w 382126"/>
                    <a:gd name="connsiteY126" fmla="*/ 379030 h 791585"/>
                    <a:gd name="connsiteX127" fmla="*/ 308099 w 382126"/>
                    <a:gd name="connsiteY127" fmla="*/ 379393 h 791585"/>
                    <a:gd name="connsiteX128" fmla="*/ 310781 w 382126"/>
                    <a:gd name="connsiteY128" fmla="*/ 385272 h 791585"/>
                    <a:gd name="connsiteX129" fmla="*/ 308567 w 382126"/>
                    <a:gd name="connsiteY129" fmla="*/ 383914 h 791585"/>
                    <a:gd name="connsiteX130" fmla="*/ 316519 w 382126"/>
                    <a:gd name="connsiteY130" fmla="*/ 386338 h 791585"/>
                    <a:gd name="connsiteX131" fmla="*/ 316168 w 382126"/>
                    <a:gd name="connsiteY131" fmla="*/ 397745 h 791585"/>
                    <a:gd name="connsiteX132" fmla="*/ 319365 w 382126"/>
                    <a:gd name="connsiteY132" fmla="*/ 397382 h 791585"/>
                    <a:gd name="connsiteX133" fmla="*/ 323148 w 382126"/>
                    <a:gd name="connsiteY133" fmla="*/ 389641 h 791585"/>
                    <a:gd name="connsiteX134" fmla="*/ 324026 w 382126"/>
                    <a:gd name="connsiteY134" fmla="*/ 390742 h 791585"/>
                    <a:gd name="connsiteX135" fmla="*/ 326509 w 382126"/>
                    <a:gd name="connsiteY135" fmla="*/ 404327 h 791585"/>
                    <a:gd name="connsiteX136" fmla="*/ 325420 w 382126"/>
                    <a:gd name="connsiteY136" fmla="*/ 404936 h 791585"/>
                    <a:gd name="connsiteX137" fmla="*/ 341512 w 382126"/>
                    <a:gd name="connsiteY137" fmla="*/ 423721 h 791585"/>
                    <a:gd name="connsiteX138" fmla="*/ 342214 w 382126"/>
                    <a:gd name="connsiteY138" fmla="*/ 425174 h 791585"/>
                    <a:gd name="connsiteX139" fmla="*/ 346173 w 382126"/>
                    <a:gd name="connsiteY139" fmla="*/ 433992 h 791585"/>
                    <a:gd name="connsiteX140" fmla="*/ 348703 w 382126"/>
                    <a:gd name="connsiteY140" fmla="*/ 432540 h 791585"/>
                    <a:gd name="connsiteX141" fmla="*/ 347602 w 382126"/>
                    <a:gd name="connsiteY141" fmla="*/ 428453 h 791585"/>
                    <a:gd name="connsiteX142" fmla="*/ 349019 w 382126"/>
                    <a:gd name="connsiteY142" fmla="*/ 428453 h 791585"/>
                    <a:gd name="connsiteX143" fmla="*/ 355507 w 382126"/>
                    <a:gd name="connsiteY143" fmla="*/ 437998 h 791585"/>
                    <a:gd name="connsiteX144" fmla="*/ 352977 w 382126"/>
                    <a:gd name="connsiteY144" fmla="*/ 439450 h 791585"/>
                    <a:gd name="connsiteX145" fmla="*/ 354090 w 382126"/>
                    <a:gd name="connsiteY145" fmla="*/ 440586 h 791585"/>
                    <a:gd name="connsiteX146" fmla="*/ 350857 w 382126"/>
                    <a:gd name="connsiteY146" fmla="*/ 443221 h 791585"/>
                    <a:gd name="connsiteX147" fmla="*/ 352989 w 382126"/>
                    <a:gd name="connsiteY147" fmla="*/ 444954 h 791585"/>
                    <a:gd name="connsiteX148" fmla="*/ 353340 w 382126"/>
                    <a:gd name="connsiteY148" fmla="*/ 443526 h 791585"/>
                    <a:gd name="connsiteX149" fmla="*/ 357264 w 382126"/>
                    <a:gd name="connsiteY149" fmla="*/ 460062 h 791585"/>
                    <a:gd name="connsiteX150" fmla="*/ 362979 w 382126"/>
                    <a:gd name="connsiteY150" fmla="*/ 469080 h 791585"/>
                    <a:gd name="connsiteX151" fmla="*/ 362007 w 382126"/>
                    <a:gd name="connsiteY151" fmla="*/ 468108 h 791585"/>
                    <a:gd name="connsiteX152" fmla="*/ 361527 w 382126"/>
                    <a:gd name="connsiteY152" fmla="*/ 475299 h 791585"/>
                    <a:gd name="connsiteX153" fmla="*/ 361913 w 382126"/>
                    <a:gd name="connsiteY153" fmla="*/ 473812 h 791585"/>
                    <a:gd name="connsiteX154" fmla="*/ 370474 w 382126"/>
                    <a:gd name="connsiteY154" fmla="*/ 497516 h 791585"/>
                    <a:gd name="connsiteX155" fmla="*/ 367125 w 382126"/>
                    <a:gd name="connsiteY155" fmla="*/ 495443 h 791585"/>
                    <a:gd name="connsiteX156" fmla="*/ 372102 w 382126"/>
                    <a:gd name="connsiteY156" fmla="*/ 517589 h 791585"/>
                    <a:gd name="connsiteX157" fmla="*/ 371142 w 382126"/>
                    <a:gd name="connsiteY157" fmla="*/ 510398 h 791585"/>
                    <a:gd name="connsiteX158" fmla="*/ 371540 w 382126"/>
                    <a:gd name="connsiteY158" fmla="*/ 516442 h 791585"/>
                    <a:gd name="connsiteX159" fmla="*/ 373367 w 382126"/>
                    <a:gd name="connsiteY159" fmla="*/ 529559 h 791585"/>
                    <a:gd name="connsiteX160" fmla="*/ 369046 w 382126"/>
                    <a:gd name="connsiteY160" fmla="*/ 523375 h 791585"/>
                    <a:gd name="connsiteX161" fmla="*/ 374409 w 382126"/>
                    <a:gd name="connsiteY161" fmla="*/ 529957 h 791585"/>
                    <a:gd name="connsiteX162" fmla="*/ 372266 w 382126"/>
                    <a:gd name="connsiteY162" fmla="*/ 534829 h 791585"/>
                    <a:gd name="connsiteX163" fmla="*/ 373625 w 382126"/>
                    <a:gd name="connsiteY163" fmla="*/ 538354 h 791585"/>
                    <a:gd name="connsiteX164" fmla="*/ 373367 w 382126"/>
                    <a:gd name="connsiteY164" fmla="*/ 541926 h 791585"/>
                    <a:gd name="connsiteX165" fmla="*/ 373367 w 382126"/>
                    <a:gd name="connsiteY165" fmla="*/ 545217 h 791585"/>
                    <a:gd name="connsiteX166" fmla="*/ 373871 w 382126"/>
                    <a:gd name="connsiteY166" fmla="*/ 541621 h 791585"/>
                    <a:gd name="connsiteX167" fmla="*/ 375299 w 382126"/>
                    <a:gd name="connsiteY167" fmla="*/ 552736 h 791585"/>
                    <a:gd name="connsiteX168" fmla="*/ 380488 w 382126"/>
                    <a:gd name="connsiteY168" fmla="*/ 565911 h 791585"/>
                    <a:gd name="connsiteX169" fmla="*/ 381425 w 382126"/>
                    <a:gd name="connsiteY169" fmla="*/ 564236 h 791585"/>
                    <a:gd name="connsiteX170" fmla="*/ 380980 w 382126"/>
                    <a:gd name="connsiteY170" fmla="*/ 580773 h 791585"/>
                    <a:gd name="connsiteX171" fmla="*/ 379071 w 382126"/>
                    <a:gd name="connsiteY171" fmla="*/ 574261 h 791585"/>
                    <a:gd name="connsiteX172" fmla="*/ 377642 w 382126"/>
                    <a:gd name="connsiteY172" fmla="*/ 574988 h 791585"/>
                    <a:gd name="connsiteX173" fmla="*/ 377642 w 382126"/>
                    <a:gd name="connsiteY173" fmla="*/ 576815 h 791585"/>
                    <a:gd name="connsiteX174" fmla="*/ 375862 w 382126"/>
                    <a:gd name="connsiteY174" fmla="*/ 575690 h 791585"/>
                    <a:gd name="connsiteX175" fmla="*/ 376740 w 382126"/>
                    <a:gd name="connsiteY175" fmla="*/ 568429 h 791585"/>
                    <a:gd name="connsiteX176" fmla="*/ 369046 w 382126"/>
                    <a:gd name="connsiteY176" fmla="*/ 581886 h 791585"/>
                    <a:gd name="connsiteX177" fmla="*/ 370135 w 382126"/>
                    <a:gd name="connsiteY177" fmla="*/ 579333 h 791585"/>
                    <a:gd name="connsiteX178" fmla="*/ 375862 w 382126"/>
                    <a:gd name="connsiteY178" fmla="*/ 590587 h 791585"/>
                    <a:gd name="connsiteX179" fmla="*/ 366188 w 382126"/>
                    <a:gd name="connsiteY179" fmla="*/ 586570 h 791585"/>
                    <a:gd name="connsiteX180" fmla="*/ 366914 w 382126"/>
                    <a:gd name="connsiteY180" fmla="*/ 587694 h 791585"/>
                    <a:gd name="connsiteX181" fmla="*/ 365837 w 382126"/>
                    <a:gd name="connsiteY181" fmla="*/ 587331 h 791585"/>
                    <a:gd name="connsiteX182" fmla="*/ 370662 w 382126"/>
                    <a:gd name="connsiteY182" fmla="*/ 594944 h 791585"/>
                    <a:gd name="connsiteX183" fmla="*/ 367265 w 382126"/>
                    <a:gd name="connsiteY183" fmla="*/ 596010 h 791585"/>
                    <a:gd name="connsiteX184" fmla="*/ 369748 w 382126"/>
                    <a:gd name="connsiteY184" fmla="*/ 600015 h 791585"/>
                    <a:gd name="connsiteX185" fmla="*/ 367640 w 382126"/>
                    <a:gd name="connsiteY185" fmla="*/ 600378 h 791585"/>
                    <a:gd name="connsiteX186" fmla="*/ 367956 w 382126"/>
                    <a:gd name="connsiteY186" fmla="*/ 600015 h 791585"/>
                    <a:gd name="connsiteX187" fmla="*/ 373367 w 382126"/>
                    <a:gd name="connsiteY187" fmla="*/ 617454 h 791585"/>
                    <a:gd name="connsiteX188" fmla="*/ 367242 w 382126"/>
                    <a:gd name="connsiteY188" fmla="*/ 603786 h 791585"/>
                    <a:gd name="connsiteX189" fmla="*/ 366539 w 382126"/>
                    <a:gd name="connsiteY189" fmla="*/ 604711 h 791585"/>
                    <a:gd name="connsiteX190" fmla="*/ 367734 w 382126"/>
                    <a:gd name="connsiteY190" fmla="*/ 614432 h 791585"/>
                    <a:gd name="connsiteX191" fmla="*/ 368706 w 382126"/>
                    <a:gd name="connsiteY191" fmla="*/ 617617 h 791585"/>
                    <a:gd name="connsiteX192" fmla="*/ 367945 w 382126"/>
                    <a:gd name="connsiteY192" fmla="*/ 628216 h 791585"/>
                    <a:gd name="connsiteX193" fmla="*/ 360309 w 382126"/>
                    <a:gd name="connsiteY193" fmla="*/ 629751 h 791585"/>
                    <a:gd name="connsiteX194" fmla="*/ 359091 w 382126"/>
                    <a:gd name="connsiteY194" fmla="*/ 630043 h 791585"/>
                    <a:gd name="connsiteX195" fmla="*/ 360145 w 382126"/>
                    <a:gd name="connsiteY195" fmla="*/ 634798 h 791585"/>
                    <a:gd name="connsiteX196" fmla="*/ 358669 w 382126"/>
                    <a:gd name="connsiteY196" fmla="*/ 634798 h 791585"/>
                    <a:gd name="connsiteX197" fmla="*/ 358974 w 382126"/>
                    <a:gd name="connsiteY197" fmla="*/ 644671 h 791585"/>
                    <a:gd name="connsiteX198" fmla="*/ 351853 w 382126"/>
                    <a:gd name="connsiteY198" fmla="*/ 645924 h 791585"/>
                    <a:gd name="connsiteX199" fmla="*/ 345248 w 382126"/>
                    <a:gd name="connsiteY199" fmla="*/ 650527 h 791585"/>
                    <a:gd name="connsiteX200" fmla="*/ 343304 w 382126"/>
                    <a:gd name="connsiteY200" fmla="*/ 654005 h 791585"/>
                    <a:gd name="connsiteX201" fmla="*/ 340446 w 382126"/>
                    <a:gd name="connsiteY201" fmla="*/ 653326 h 791585"/>
                    <a:gd name="connsiteX202" fmla="*/ 335059 w 382126"/>
                    <a:gd name="connsiteY202" fmla="*/ 654895 h 791585"/>
                    <a:gd name="connsiteX203" fmla="*/ 331018 w 382126"/>
                    <a:gd name="connsiteY203" fmla="*/ 660083 h 791585"/>
                    <a:gd name="connsiteX204" fmla="*/ 325303 w 382126"/>
                    <a:gd name="connsiteY204" fmla="*/ 662168 h 791585"/>
                    <a:gd name="connsiteX205" fmla="*/ 321192 w 382126"/>
                    <a:gd name="connsiteY205" fmla="*/ 668071 h 791585"/>
                    <a:gd name="connsiteX206" fmla="*/ 308298 w 382126"/>
                    <a:gd name="connsiteY206" fmla="*/ 672919 h 791585"/>
                    <a:gd name="connsiteX207" fmla="*/ 305780 w 382126"/>
                    <a:gd name="connsiteY207" fmla="*/ 679337 h 791585"/>
                    <a:gd name="connsiteX208" fmla="*/ 302091 w 382126"/>
                    <a:gd name="connsiteY208" fmla="*/ 678248 h 791585"/>
                    <a:gd name="connsiteX209" fmla="*/ 293307 w 382126"/>
                    <a:gd name="connsiteY209" fmla="*/ 682078 h 791585"/>
                    <a:gd name="connsiteX210" fmla="*/ 263630 w 382126"/>
                    <a:gd name="connsiteY210" fmla="*/ 694843 h 791585"/>
                    <a:gd name="connsiteX211" fmla="*/ 256826 w 382126"/>
                    <a:gd name="connsiteY211" fmla="*/ 690850 h 791585"/>
                    <a:gd name="connsiteX212" fmla="*/ 256826 w 382126"/>
                    <a:gd name="connsiteY212" fmla="*/ 689409 h 791585"/>
                    <a:gd name="connsiteX213" fmla="*/ 255373 w 382126"/>
                    <a:gd name="connsiteY213" fmla="*/ 691213 h 791585"/>
                    <a:gd name="connsiteX214" fmla="*/ 255057 w 382126"/>
                    <a:gd name="connsiteY214" fmla="*/ 689772 h 791585"/>
                    <a:gd name="connsiteX215" fmla="*/ 253265 w 382126"/>
                    <a:gd name="connsiteY215" fmla="*/ 690850 h 791585"/>
                    <a:gd name="connsiteX216" fmla="*/ 254308 w 382126"/>
                    <a:gd name="connsiteY216" fmla="*/ 682570 h 791585"/>
                    <a:gd name="connsiteX217" fmla="*/ 252891 w 382126"/>
                    <a:gd name="connsiteY217" fmla="*/ 679337 h 791585"/>
                    <a:gd name="connsiteX218" fmla="*/ 255069 w 382126"/>
                    <a:gd name="connsiteY218" fmla="*/ 687969 h 791585"/>
                    <a:gd name="connsiteX219" fmla="*/ 253605 w 382126"/>
                    <a:gd name="connsiteY219" fmla="*/ 683261 h 791585"/>
                    <a:gd name="connsiteX220" fmla="*/ 254319 w 382126"/>
                    <a:gd name="connsiteY220" fmla="*/ 688695 h 791585"/>
                    <a:gd name="connsiteX221" fmla="*/ 251825 w 382126"/>
                    <a:gd name="connsiteY221" fmla="*/ 691611 h 791585"/>
                    <a:gd name="connsiteX222" fmla="*/ 249389 w 382126"/>
                    <a:gd name="connsiteY222" fmla="*/ 683378 h 791585"/>
                    <a:gd name="connsiteX223" fmla="*/ 241753 w 382126"/>
                    <a:gd name="connsiteY223" fmla="*/ 680075 h 791585"/>
                    <a:gd name="connsiteX224" fmla="*/ 235780 w 382126"/>
                    <a:gd name="connsiteY224" fmla="*/ 688695 h 791585"/>
                    <a:gd name="connsiteX225" fmla="*/ 236448 w 382126"/>
                    <a:gd name="connsiteY225" fmla="*/ 690147 h 791585"/>
                    <a:gd name="connsiteX226" fmla="*/ 232571 w 382126"/>
                    <a:gd name="connsiteY226" fmla="*/ 693051 h 791585"/>
                    <a:gd name="connsiteX227" fmla="*/ 231821 w 382126"/>
                    <a:gd name="connsiteY227" fmla="*/ 690498 h 791585"/>
                    <a:gd name="connsiteX228" fmla="*/ 235792 w 382126"/>
                    <a:gd name="connsiteY228" fmla="*/ 691224 h 791585"/>
                    <a:gd name="connsiteX229" fmla="*/ 239785 w 382126"/>
                    <a:gd name="connsiteY229" fmla="*/ 691388 h 791585"/>
                    <a:gd name="connsiteX230" fmla="*/ 243076 w 382126"/>
                    <a:gd name="connsiteY230" fmla="*/ 700032 h 791585"/>
                    <a:gd name="connsiteX231" fmla="*/ 223600 w 382126"/>
                    <a:gd name="connsiteY231" fmla="*/ 699504 h 791585"/>
                    <a:gd name="connsiteX232" fmla="*/ 238310 w 382126"/>
                    <a:gd name="connsiteY232" fmla="*/ 713628 h 791585"/>
                    <a:gd name="connsiteX233" fmla="*/ 238310 w 382126"/>
                    <a:gd name="connsiteY233" fmla="*/ 711802 h 791585"/>
                    <a:gd name="connsiteX234" fmla="*/ 233754 w 382126"/>
                    <a:gd name="connsiteY234" fmla="*/ 717552 h 791585"/>
                    <a:gd name="connsiteX235" fmla="*/ 216819 w 382126"/>
                    <a:gd name="connsiteY235" fmla="*/ 702420 h 791585"/>
                    <a:gd name="connsiteX236" fmla="*/ 225954 w 382126"/>
                    <a:gd name="connsiteY236" fmla="*/ 714601 h 791585"/>
                    <a:gd name="connsiteX237" fmla="*/ 236448 w 382126"/>
                    <a:gd name="connsiteY237" fmla="*/ 724485 h 791585"/>
                    <a:gd name="connsiteX238" fmla="*/ 236131 w 382126"/>
                    <a:gd name="connsiteY238" fmla="*/ 722330 h 791585"/>
                    <a:gd name="connsiteX239" fmla="*/ 207907 w 382126"/>
                    <a:gd name="connsiteY239" fmla="*/ 703533 h 791585"/>
                    <a:gd name="connsiteX240" fmla="*/ 207485 w 382126"/>
                    <a:gd name="connsiteY240" fmla="*/ 703861 h 791585"/>
                    <a:gd name="connsiteX241" fmla="*/ 231658 w 382126"/>
                    <a:gd name="connsiteY241" fmla="*/ 734030 h 791585"/>
                    <a:gd name="connsiteX242" fmla="*/ 192143 w 382126"/>
                    <a:gd name="connsiteY242" fmla="*/ 715772 h 791585"/>
                    <a:gd name="connsiteX243" fmla="*/ 210401 w 382126"/>
                    <a:gd name="connsiteY243" fmla="*/ 746819 h 791585"/>
                    <a:gd name="connsiteX244" fmla="*/ 189063 w 382126"/>
                    <a:gd name="connsiteY244" fmla="*/ 757734 h 791585"/>
                    <a:gd name="connsiteX245" fmla="*/ 170746 w 382126"/>
                    <a:gd name="connsiteY245" fmla="*/ 769739 h 791585"/>
                    <a:gd name="connsiteX246" fmla="*/ 134838 w 382126"/>
                    <a:gd name="connsiteY246" fmla="*/ 789121 h 791585"/>
                    <a:gd name="connsiteX247" fmla="*/ 140015 w 382126"/>
                    <a:gd name="connsiteY247" fmla="*/ 785057 h 791585"/>
                    <a:gd name="connsiteX248" fmla="*/ 147510 w 382126"/>
                    <a:gd name="connsiteY248" fmla="*/ 783558 h 791585"/>
                    <a:gd name="connsiteX249" fmla="*/ 141514 w 382126"/>
                    <a:gd name="connsiteY249" fmla="*/ 783335 h 791585"/>
                    <a:gd name="connsiteX250" fmla="*/ 145320 w 382126"/>
                    <a:gd name="connsiteY250" fmla="*/ 778827 h 791585"/>
                    <a:gd name="connsiteX251" fmla="*/ 139511 w 382126"/>
                    <a:gd name="connsiteY251" fmla="*/ 771109 h 791585"/>
                    <a:gd name="connsiteX252" fmla="*/ 140343 w 382126"/>
                    <a:gd name="connsiteY252" fmla="*/ 747709 h 791585"/>
                    <a:gd name="connsiteX253" fmla="*/ 143821 w 382126"/>
                    <a:gd name="connsiteY253" fmla="*/ 724028 h 791585"/>
                    <a:gd name="connsiteX254" fmla="*/ 149080 w 382126"/>
                    <a:gd name="connsiteY254" fmla="*/ 722084 h 791585"/>
                    <a:gd name="connsiteX255" fmla="*/ 155322 w 382126"/>
                    <a:gd name="connsiteY255" fmla="*/ 723712 h 791585"/>
                    <a:gd name="connsiteX256" fmla="*/ 141947 w 382126"/>
                    <a:gd name="connsiteY256" fmla="*/ 709260 h 791585"/>
                    <a:gd name="connsiteX257" fmla="*/ 134159 w 382126"/>
                    <a:gd name="connsiteY257" fmla="*/ 704482 h 791585"/>
                    <a:gd name="connsiteX258" fmla="*/ 129217 w 382126"/>
                    <a:gd name="connsiteY258" fmla="*/ 708581 h 791585"/>
                    <a:gd name="connsiteX259" fmla="*/ 125270 w 382126"/>
                    <a:gd name="connsiteY259" fmla="*/ 701331 h 791585"/>
                    <a:gd name="connsiteX260" fmla="*/ 124626 w 382126"/>
                    <a:gd name="connsiteY260" fmla="*/ 694105 h 791585"/>
                    <a:gd name="connsiteX261" fmla="*/ 120913 w 382126"/>
                    <a:gd name="connsiteY261" fmla="*/ 696190 h 791585"/>
                    <a:gd name="connsiteX262" fmla="*/ 120785 w 382126"/>
                    <a:gd name="connsiteY262" fmla="*/ 694082 h 791585"/>
                    <a:gd name="connsiteX263" fmla="*/ 126148 w 382126"/>
                    <a:gd name="connsiteY263" fmla="*/ 688894 h 791585"/>
                    <a:gd name="connsiteX264" fmla="*/ 134405 w 382126"/>
                    <a:gd name="connsiteY264" fmla="*/ 688648 h 791585"/>
                    <a:gd name="connsiteX265" fmla="*/ 146491 w 382126"/>
                    <a:gd name="connsiteY265" fmla="*/ 682382 h 791585"/>
                    <a:gd name="connsiteX266" fmla="*/ 152851 w 382126"/>
                    <a:gd name="connsiteY266" fmla="*/ 676854 h 791585"/>
                    <a:gd name="connsiteX267" fmla="*/ 150321 w 382126"/>
                    <a:gd name="connsiteY267" fmla="*/ 668773 h 791585"/>
                    <a:gd name="connsiteX268" fmla="*/ 160885 w 382126"/>
                    <a:gd name="connsiteY268" fmla="*/ 669300 h 791585"/>
                    <a:gd name="connsiteX269" fmla="*/ 166483 w 382126"/>
                    <a:gd name="connsiteY269" fmla="*/ 671490 h 791585"/>
                    <a:gd name="connsiteX270" fmla="*/ 171788 w 382126"/>
                    <a:gd name="connsiteY270" fmla="*/ 665752 h 791585"/>
                    <a:gd name="connsiteX271" fmla="*/ 184296 w 382126"/>
                    <a:gd name="connsiteY271" fmla="*/ 663831 h 791585"/>
                    <a:gd name="connsiteX272" fmla="*/ 192260 w 382126"/>
                    <a:gd name="connsiteY272" fmla="*/ 667719 h 791585"/>
                    <a:gd name="connsiteX273" fmla="*/ 197975 w 382126"/>
                    <a:gd name="connsiteY273" fmla="*/ 668949 h 791585"/>
                    <a:gd name="connsiteX274" fmla="*/ 210811 w 382126"/>
                    <a:gd name="connsiteY274" fmla="*/ 675789 h 791585"/>
                    <a:gd name="connsiteX275" fmla="*/ 211361 w 382126"/>
                    <a:gd name="connsiteY275" fmla="*/ 664733 h 791585"/>
                    <a:gd name="connsiteX276" fmla="*/ 206091 w 382126"/>
                    <a:gd name="connsiteY276" fmla="*/ 660517 h 791585"/>
                    <a:gd name="connsiteX277" fmla="*/ 196886 w 382126"/>
                    <a:gd name="connsiteY277" fmla="*/ 652354 h 791585"/>
                    <a:gd name="connsiteX278" fmla="*/ 194848 w 382126"/>
                    <a:gd name="connsiteY278" fmla="*/ 641661 h 791585"/>
                    <a:gd name="connsiteX279" fmla="*/ 190632 w 382126"/>
                    <a:gd name="connsiteY279" fmla="*/ 632456 h 791585"/>
                    <a:gd name="connsiteX280" fmla="*/ 198889 w 382126"/>
                    <a:gd name="connsiteY280" fmla="*/ 628498 h 791585"/>
                    <a:gd name="connsiteX281" fmla="*/ 208562 w 382126"/>
                    <a:gd name="connsiteY281" fmla="*/ 624035 h 791585"/>
                    <a:gd name="connsiteX282" fmla="*/ 220555 w 382126"/>
                    <a:gd name="connsiteY282" fmla="*/ 627115 h 791585"/>
                    <a:gd name="connsiteX283" fmla="*/ 223014 w 382126"/>
                    <a:gd name="connsiteY283" fmla="*/ 621810 h 791585"/>
                    <a:gd name="connsiteX284" fmla="*/ 222124 w 382126"/>
                    <a:gd name="connsiteY284" fmla="*/ 612254 h 791585"/>
                    <a:gd name="connsiteX285" fmla="*/ 234468 w 382126"/>
                    <a:gd name="connsiteY285" fmla="*/ 611926 h 791585"/>
                    <a:gd name="connsiteX286" fmla="*/ 240465 w 382126"/>
                    <a:gd name="connsiteY286" fmla="*/ 608190 h 791585"/>
                    <a:gd name="connsiteX287" fmla="*/ 250829 w 382126"/>
                    <a:gd name="connsiteY287" fmla="*/ 606585 h 791585"/>
                    <a:gd name="connsiteX288" fmla="*/ 269310 w 382126"/>
                    <a:gd name="connsiteY288" fmla="*/ 593351 h 791585"/>
                    <a:gd name="connsiteX289" fmla="*/ 275424 w 382126"/>
                    <a:gd name="connsiteY289" fmla="*/ 597181 h 791585"/>
                    <a:gd name="connsiteX290" fmla="*/ 280987 w 382126"/>
                    <a:gd name="connsiteY290" fmla="*/ 591220 h 791585"/>
                    <a:gd name="connsiteX291" fmla="*/ 282228 w 382126"/>
                    <a:gd name="connsiteY291" fmla="*/ 574203 h 791585"/>
                    <a:gd name="connsiteX292" fmla="*/ 278281 w 382126"/>
                    <a:gd name="connsiteY292" fmla="*/ 559376 h 791585"/>
                    <a:gd name="connsiteX293" fmla="*/ 285495 w 382126"/>
                    <a:gd name="connsiteY293" fmla="*/ 537276 h 791585"/>
                    <a:gd name="connsiteX294" fmla="*/ 276841 w 382126"/>
                    <a:gd name="connsiteY294" fmla="*/ 516055 h 791585"/>
                    <a:gd name="connsiteX295" fmla="*/ 275072 w 382126"/>
                    <a:gd name="connsiteY295" fmla="*/ 504589 h 791585"/>
                    <a:gd name="connsiteX296" fmla="*/ 271418 w 382126"/>
                    <a:gd name="connsiteY296" fmla="*/ 499764 h 791585"/>
                    <a:gd name="connsiteX297" fmla="*/ 272718 w 382126"/>
                    <a:gd name="connsiteY297" fmla="*/ 489716 h 791585"/>
                    <a:gd name="connsiteX298" fmla="*/ 273667 w 382126"/>
                    <a:gd name="connsiteY298" fmla="*/ 483052 h 791585"/>
                    <a:gd name="connsiteX299" fmla="*/ 277977 w 382126"/>
                    <a:gd name="connsiteY299" fmla="*/ 480698 h 791585"/>
                    <a:gd name="connsiteX300" fmla="*/ 280951 w 382126"/>
                    <a:gd name="connsiteY300" fmla="*/ 466328 h 791585"/>
                    <a:gd name="connsiteX301" fmla="*/ 280858 w 382126"/>
                    <a:gd name="connsiteY301" fmla="*/ 459957 h 791585"/>
                    <a:gd name="connsiteX302" fmla="*/ 282357 w 382126"/>
                    <a:gd name="connsiteY302" fmla="*/ 456853 h 791585"/>
                    <a:gd name="connsiteX303" fmla="*/ 277414 w 382126"/>
                    <a:gd name="connsiteY303" fmla="*/ 453059 h 791585"/>
                    <a:gd name="connsiteX304" fmla="*/ 281232 w 382126"/>
                    <a:gd name="connsiteY304" fmla="*/ 448690 h 791585"/>
                    <a:gd name="connsiteX305" fmla="*/ 285156 w 382126"/>
                    <a:gd name="connsiteY305" fmla="*/ 445036 h 791585"/>
                    <a:gd name="connsiteX306" fmla="*/ 284324 w 382126"/>
                    <a:gd name="connsiteY306" fmla="*/ 432997 h 791585"/>
                    <a:gd name="connsiteX307" fmla="*/ 277379 w 382126"/>
                    <a:gd name="connsiteY307" fmla="*/ 424846 h 791585"/>
                    <a:gd name="connsiteX308" fmla="*/ 273632 w 382126"/>
                    <a:gd name="connsiteY308" fmla="*/ 425267 h 791585"/>
                    <a:gd name="connsiteX309" fmla="*/ 265961 w 382126"/>
                    <a:gd name="connsiteY309" fmla="*/ 416050 h 791585"/>
                    <a:gd name="connsiteX310" fmla="*/ 272542 w 382126"/>
                    <a:gd name="connsiteY310" fmla="*/ 402617 h 791585"/>
                    <a:gd name="connsiteX311" fmla="*/ 276302 w 382126"/>
                    <a:gd name="connsiteY311" fmla="*/ 395403 h 791585"/>
                    <a:gd name="connsiteX312" fmla="*/ 269298 w 382126"/>
                    <a:gd name="connsiteY312" fmla="*/ 394466 h 791585"/>
                    <a:gd name="connsiteX313" fmla="*/ 256463 w 382126"/>
                    <a:gd name="connsiteY313" fmla="*/ 382145 h 791585"/>
                    <a:gd name="connsiteX314" fmla="*/ 250537 w 382126"/>
                    <a:gd name="connsiteY314" fmla="*/ 379112 h 791585"/>
                    <a:gd name="connsiteX315" fmla="*/ 246192 w 382126"/>
                    <a:gd name="connsiteY315" fmla="*/ 375751 h 791585"/>
                    <a:gd name="connsiteX316" fmla="*/ 236811 w 382126"/>
                    <a:gd name="connsiteY316" fmla="*/ 374381 h 791585"/>
                    <a:gd name="connsiteX317" fmla="*/ 235148 w 382126"/>
                    <a:gd name="connsiteY317" fmla="*/ 367155 h 791585"/>
                    <a:gd name="connsiteX318" fmla="*/ 231107 w 382126"/>
                    <a:gd name="connsiteY318" fmla="*/ 364777 h 791585"/>
                    <a:gd name="connsiteX319" fmla="*/ 228905 w 382126"/>
                    <a:gd name="connsiteY319" fmla="*/ 344950 h 791585"/>
                    <a:gd name="connsiteX320" fmla="*/ 217545 w 382126"/>
                    <a:gd name="connsiteY320" fmla="*/ 331868 h 791585"/>
                    <a:gd name="connsiteX321" fmla="*/ 213107 w 382126"/>
                    <a:gd name="connsiteY321" fmla="*/ 331224 h 791585"/>
                    <a:gd name="connsiteX322" fmla="*/ 198010 w 382126"/>
                    <a:gd name="connsiteY322" fmla="*/ 317755 h 791585"/>
                    <a:gd name="connsiteX323" fmla="*/ 180361 w 382126"/>
                    <a:gd name="connsiteY323" fmla="*/ 296640 h 791585"/>
                    <a:gd name="connsiteX324" fmla="*/ 174248 w 382126"/>
                    <a:gd name="connsiteY324" fmla="*/ 282070 h 791585"/>
                    <a:gd name="connsiteX325" fmla="*/ 169071 w 382126"/>
                    <a:gd name="connsiteY325" fmla="*/ 282211 h 791585"/>
                    <a:gd name="connsiteX326" fmla="*/ 164644 w 382126"/>
                    <a:gd name="connsiteY326" fmla="*/ 277011 h 791585"/>
                    <a:gd name="connsiteX327" fmla="*/ 153694 w 382126"/>
                    <a:gd name="connsiteY327" fmla="*/ 265007 h 791585"/>
                    <a:gd name="connsiteX328" fmla="*/ 158226 w 382126"/>
                    <a:gd name="connsiteY328" fmla="*/ 257277 h 791585"/>
                    <a:gd name="connsiteX329" fmla="*/ 150169 w 382126"/>
                    <a:gd name="connsiteY329" fmla="*/ 251867 h 791585"/>
                    <a:gd name="connsiteX330" fmla="*/ 130154 w 382126"/>
                    <a:gd name="connsiteY330" fmla="*/ 245179 h 791585"/>
                    <a:gd name="connsiteX331" fmla="*/ 89316 w 382126"/>
                    <a:gd name="connsiteY331" fmla="*/ 220444 h 791585"/>
                    <a:gd name="connsiteX332" fmla="*/ 102152 w 382126"/>
                    <a:gd name="connsiteY332" fmla="*/ 209857 h 791585"/>
                    <a:gd name="connsiteX333" fmla="*/ 97280 w 382126"/>
                    <a:gd name="connsiteY333" fmla="*/ 199832 h 791585"/>
                    <a:gd name="connsiteX334" fmla="*/ 107141 w 382126"/>
                    <a:gd name="connsiteY334" fmla="*/ 199001 h 791585"/>
                    <a:gd name="connsiteX335" fmla="*/ 118161 w 382126"/>
                    <a:gd name="connsiteY335" fmla="*/ 200710 h 791585"/>
                    <a:gd name="connsiteX336" fmla="*/ 127893 w 382126"/>
                    <a:gd name="connsiteY336" fmla="*/ 203346 h 791585"/>
                    <a:gd name="connsiteX337" fmla="*/ 136642 w 382126"/>
                    <a:gd name="connsiteY337" fmla="*/ 189737 h 791585"/>
                    <a:gd name="connsiteX338" fmla="*/ 146784 w 382126"/>
                    <a:gd name="connsiteY338" fmla="*/ 181023 h 791585"/>
                    <a:gd name="connsiteX339" fmla="*/ 139968 w 382126"/>
                    <a:gd name="connsiteY339" fmla="*/ 170518 h 791585"/>
                    <a:gd name="connsiteX340" fmla="*/ 131301 w 382126"/>
                    <a:gd name="connsiteY340" fmla="*/ 170260 h 791585"/>
                    <a:gd name="connsiteX341" fmla="*/ 133152 w 382126"/>
                    <a:gd name="connsiteY341" fmla="*/ 166173 h 791585"/>
                    <a:gd name="connsiteX342" fmla="*/ 115983 w 382126"/>
                    <a:gd name="connsiteY342" fmla="*/ 158631 h 791585"/>
                    <a:gd name="connsiteX343" fmla="*/ 120445 w 382126"/>
                    <a:gd name="connsiteY343" fmla="*/ 153478 h 791585"/>
                    <a:gd name="connsiteX344" fmla="*/ 126406 w 382126"/>
                    <a:gd name="connsiteY344" fmla="*/ 152248 h 791585"/>
                    <a:gd name="connsiteX345" fmla="*/ 123584 w 382126"/>
                    <a:gd name="connsiteY345" fmla="*/ 144683 h 791585"/>
                    <a:gd name="connsiteX346" fmla="*/ 113676 w 382126"/>
                    <a:gd name="connsiteY346" fmla="*/ 136356 h 791585"/>
                    <a:gd name="connsiteX347" fmla="*/ 89421 w 382126"/>
                    <a:gd name="connsiteY347" fmla="*/ 135501 h 791585"/>
                    <a:gd name="connsiteX348" fmla="*/ 82746 w 382126"/>
                    <a:gd name="connsiteY348" fmla="*/ 143020 h 791585"/>
                    <a:gd name="connsiteX349" fmla="*/ 75976 w 382126"/>
                    <a:gd name="connsiteY349" fmla="*/ 143113 h 791585"/>
                    <a:gd name="connsiteX350" fmla="*/ 69898 w 382126"/>
                    <a:gd name="connsiteY350" fmla="*/ 140970 h 791585"/>
                    <a:gd name="connsiteX351" fmla="*/ 67298 w 382126"/>
                    <a:gd name="connsiteY351" fmla="*/ 137901 h 791585"/>
                    <a:gd name="connsiteX352" fmla="*/ 65459 w 382126"/>
                    <a:gd name="connsiteY352" fmla="*/ 139319 h 791585"/>
                    <a:gd name="connsiteX353" fmla="*/ 53666 w 382126"/>
                    <a:gd name="connsiteY353" fmla="*/ 136648 h 791585"/>
                    <a:gd name="connsiteX354" fmla="*/ 34705 w 382126"/>
                    <a:gd name="connsiteY354" fmla="*/ 114244 h 791585"/>
                    <a:gd name="connsiteX355" fmla="*/ 40795 w 382126"/>
                    <a:gd name="connsiteY355" fmla="*/ 103587 h 791585"/>
                    <a:gd name="connsiteX356" fmla="*/ 37235 w 382126"/>
                    <a:gd name="connsiteY356" fmla="*/ 104933 h 791585"/>
                    <a:gd name="connsiteX357" fmla="*/ 43043 w 382126"/>
                    <a:gd name="connsiteY357" fmla="*/ 92672 h 791585"/>
                    <a:gd name="connsiteX358" fmla="*/ 37996 w 382126"/>
                    <a:gd name="connsiteY358" fmla="*/ 89627 h 791585"/>
                    <a:gd name="connsiteX359" fmla="*/ 34974 w 382126"/>
                    <a:gd name="connsiteY359" fmla="*/ 82494 h 791585"/>
                    <a:gd name="connsiteX360" fmla="*/ 27877 w 382126"/>
                    <a:gd name="connsiteY360" fmla="*/ 92180 h 791585"/>
                    <a:gd name="connsiteX361" fmla="*/ 25090 w 382126"/>
                    <a:gd name="connsiteY361" fmla="*/ 81920 h 791585"/>
                    <a:gd name="connsiteX362" fmla="*/ 17618 w 382126"/>
                    <a:gd name="connsiteY362" fmla="*/ 73031 h 791585"/>
                    <a:gd name="connsiteX363" fmla="*/ 11539 w 382126"/>
                    <a:gd name="connsiteY363" fmla="*/ 66122 h 791585"/>
                    <a:gd name="connsiteX364" fmla="*/ 554 w 382126"/>
                    <a:gd name="connsiteY364" fmla="*/ 50487 h 791585"/>
                    <a:gd name="connsiteX365" fmla="*/ 4641 w 382126"/>
                    <a:gd name="connsiteY365" fmla="*/ 50592 h 791585"/>
                    <a:gd name="connsiteX366" fmla="*/ 6831 w 382126"/>
                    <a:gd name="connsiteY366" fmla="*/ 45638 h 791585"/>
                    <a:gd name="connsiteX367" fmla="*/ 12652 w 382126"/>
                    <a:gd name="connsiteY367" fmla="*/ 36386 h 791585"/>
                    <a:gd name="connsiteX368" fmla="*/ 19234 w 382126"/>
                    <a:gd name="connsiteY368" fmla="*/ 32264 h 791585"/>
                    <a:gd name="connsiteX369" fmla="*/ 24153 w 382126"/>
                    <a:gd name="connsiteY369" fmla="*/ 34934 h 791585"/>
                    <a:gd name="connsiteX370" fmla="*/ 36672 w 382126"/>
                    <a:gd name="connsiteY370" fmla="*/ 41059 h 791585"/>
                    <a:gd name="connsiteX371" fmla="*/ 46030 w 382126"/>
                    <a:gd name="connsiteY371" fmla="*/ 49995 h 791585"/>
                    <a:gd name="connsiteX372" fmla="*/ 51851 w 382126"/>
                    <a:gd name="connsiteY372" fmla="*/ 41879 h 791585"/>
                    <a:gd name="connsiteX373" fmla="*/ 61583 w 382126"/>
                    <a:gd name="connsiteY373" fmla="*/ 30179 h 791585"/>
                    <a:gd name="connsiteX374" fmla="*/ 67930 w 382126"/>
                    <a:gd name="connsiteY374" fmla="*/ 38881 h 791585"/>
                    <a:gd name="connsiteX375" fmla="*/ 74161 w 382126"/>
                    <a:gd name="connsiteY375" fmla="*/ 34501 h 791585"/>
                    <a:gd name="connsiteX376" fmla="*/ 93719 w 382126"/>
                    <a:gd name="connsiteY376" fmla="*/ 44690 h 791585"/>
                    <a:gd name="connsiteX377" fmla="*/ 98345 w 382126"/>
                    <a:gd name="connsiteY377" fmla="*/ 34501 h 791585"/>
                    <a:gd name="connsiteX378" fmla="*/ 109811 w 382126"/>
                    <a:gd name="connsiteY378" fmla="*/ 28352 h 791585"/>
                    <a:gd name="connsiteX379" fmla="*/ 114191 w 382126"/>
                    <a:gd name="connsiteY379" fmla="*/ 35590 h 791585"/>
                    <a:gd name="connsiteX380" fmla="*/ 126102 w 382126"/>
                    <a:gd name="connsiteY380" fmla="*/ 27708 h 791585"/>
                    <a:gd name="connsiteX381" fmla="*/ 137614 w 382126"/>
                    <a:gd name="connsiteY381" fmla="*/ 24405 h 791585"/>
                    <a:gd name="connsiteX382" fmla="*/ 139558 w 382126"/>
                    <a:gd name="connsiteY382" fmla="*/ 13420 h 791585"/>
                    <a:gd name="connsiteX383" fmla="*/ 144922 w 382126"/>
                    <a:gd name="connsiteY383" fmla="*/ 9941 h 791585"/>
                    <a:gd name="connsiteX384" fmla="*/ 158601 w 382126"/>
                    <a:gd name="connsiteY384" fmla="*/ 4531 h 791585"/>
                    <a:gd name="connsiteX385" fmla="*/ 169703 w 382126"/>
                    <a:gd name="connsiteY385" fmla="*/ 3500 h 791585"/>
                    <a:gd name="connsiteX386" fmla="*/ 169703 w 382126"/>
                    <a:gd name="connsiteY386" fmla="*/ 3500 h 79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Lst>
                  <a:rect l="l" t="t" r="r" b="b"/>
                  <a:pathLst>
                    <a:path w="382126" h="791585">
                      <a:moveTo>
                        <a:pt x="169703" y="3500"/>
                      </a:moveTo>
                      <a:cubicBezTo>
                        <a:pt x="172350" y="4238"/>
                        <a:pt x="175009" y="7541"/>
                        <a:pt x="176930" y="10094"/>
                      </a:cubicBezTo>
                      <a:cubicBezTo>
                        <a:pt x="177995" y="11511"/>
                        <a:pt x="176414" y="14216"/>
                        <a:pt x="178148" y="15364"/>
                      </a:cubicBezTo>
                      <a:cubicBezTo>
                        <a:pt x="180080" y="16652"/>
                        <a:pt x="183406" y="15223"/>
                        <a:pt x="185385" y="16230"/>
                      </a:cubicBezTo>
                      <a:cubicBezTo>
                        <a:pt x="187974" y="17531"/>
                        <a:pt x="190679" y="22461"/>
                        <a:pt x="192963" y="23199"/>
                      </a:cubicBezTo>
                      <a:cubicBezTo>
                        <a:pt x="195246" y="23925"/>
                        <a:pt x="198116" y="21782"/>
                        <a:pt x="200599" y="21102"/>
                      </a:cubicBezTo>
                      <a:cubicBezTo>
                        <a:pt x="202941" y="20458"/>
                        <a:pt x="206185" y="18643"/>
                        <a:pt x="209417" y="20259"/>
                      </a:cubicBezTo>
                      <a:cubicBezTo>
                        <a:pt x="211432" y="21267"/>
                        <a:pt x="212697" y="25166"/>
                        <a:pt x="213376" y="25483"/>
                      </a:cubicBezTo>
                      <a:cubicBezTo>
                        <a:pt x="218517" y="27872"/>
                        <a:pt x="223014" y="22965"/>
                        <a:pt x="226469" y="23058"/>
                      </a:cubicBezTo>
                      <a:cubicBezTo>
                        <a:pt x="233766" y="23269"/>
                        <a:pt x="236693" y="29605"/>
                        <a:pt x="243205" y="30495"/>
                      </a:cubicBezTo>
                      <a:cubicBezTo>
                        <a:pt x="239364" y="33154"/>
                        <a:pt x="238263" y="39396"/>
                        <a:pt x="235265" y="42300"/>
                      </a:cubicBezTo>
                      <a:cubicBezTo>
                        <a:pt x="235019" y="42546"/>
                        <a:pt x="233297" y="40204"/>
                        <a:pt x="230920" y="43448"/>
                      </a:cubicBezTo>
                      <a:cubicBezTo>
                        <a:pt x="229831" y="44924"/>
                        <a:pt x="228812" y="49655"/>
                        <a:pt x="229386" y="51564"/>
                      </a:cubicBezTo>
                      <a:cubicBezTo>
                        <a:pt x="230299" y="54656"/>
                        <a:pt x="232630" y="54504"/>
                        <a:pt x="233227" y="55757"/>
                      </a:cubicBezTo>
                      <a:cubicBezTo>
                        <a:pt x="234609" y="58685"/>
                        <a:pt x="234574" y="60852"/>
                        <a:pt x="234960" y="63486"/>
                      </a:cubicBezTo>
                      <a:cubicBezTo>
                        <a:pt x="235066" y="64213"/>
                        <a:pt x="235804" y="74835"/>
                        <a:pt x="235347" y="74191"/>
                      </a:cubicBezTo>
                      <a:cubicBezTo>
                        <a:pt x="235710" y="74706"/>
                        <a:pt x="242210" y="74261"/>
                        <a:pt x="245360" y="74929"/>
                      </a:cubicBezTo>
                      <a:cubicBezTo>
                        <a:pt x="248850" y="75666"/>
                        <a:pt x="253125" y="78653"/>
                        <a:pt x="254542" y="79859"/>
                      </a:cubicBezTo>
                      <a:cubicBezTo>
                        <a:pt x="253418" y="78899"/>
                        <a:pt x="254273" y="83619"/>
                        <a:pt x="254636" y="84134"/>
                      </a:cubicBezTo>
                      <a:cubicBezTo>
                        <a:pt x="255385" y="85211"/>
                        <a:pt x="262424" y="88596"/>
                        <a:pt x="263712" y="89369"/>
                      </a:cubicBezTo>
                      <a:cubicBezTo>
                        <a:pt x="264801" y="90013"/>
                        <a:pt x="266394" y="88444"/>
                        <a:pt x="267155" y="89006"/>
                      </a:cubicBezTo>
                      <a:cubicBezTo>
                        <a:pt x="267378" y="89170"/>
                        <a:pt x="270587" y="92625"/>
                        <a:pt x="270188" y="92519"/>
                      </a:cubicBezTo>
                      <a:cubicBezTo>
                        <a:pt x="267132" y="91747"/>
                        <a:pt x="275728" y="96220"/>
                        <a:pt x="273198" y="94616"/>
                      </a:cubicBezTo>
                      <a:cubicBezTo>
                        <a:pt x="272929" y="94440"/>
                        <a:pt x="276208" y="92695"/>
                        <a:pt x="276970" y="92824"/>
                      </a:cubicBezTo>
                      <a:cubicBezTo>
                        <a:pt x="278398" y="93058"/>
                        <a:pt x="276841" y="96197"/>
                        <a:pt x="279288" y="96267"/>
                      </a:cubicBezTo>
                      <a:cubicBezTo>
                        <a:pt x="280014" y="96291"/>
                        <a:pt x="281443" y="95061"/>
                        <a:pt x="281303" y="95049"/>
                      </a:cubicBezTo>
                      <a:cubicBezTo>
                        <a:pt x="284968" y="95541"/>
                        <a:pt x="288962" y="92402"/>
                        <a:pt x="291714" y="92566"/>
                      </a:cubicBezTo>
                      <a:cubicBezTo>
                        <a:pt x="297816" y="92929"/>
                        <a:pt x="300791" y="97192"/>
                        <a:pt x="305382" y="101631"/>
                      </a:cubicBezTo>
                      <a:cubicBezTo>
                        <a:pt x="304574" y="102369"/>
                        <a:pt x="303180" y="103458"/>
                        <a:pt x="302184" y="103973"/>
                      </a:cubicBezTo>
                      <a:cubicBezTo>
                        <a:pt x="302266" y="100764"/>
                        <a:pt x="300674" y="98890"/>
                        <a:pt x="298683" y="99195"/>
                      </a:cubicBezTo>
                      <a:cubicBezTo>
                        <a:pt x="298530" y="99265"/>
                        <a:pt x="297324" y="101432"/>
                        <a:pt x="297301" y="101479"/>
                      </a:cubicBezTo>
                      <a:cubicBezTo>
                        <a:pt x="296856" y="100659"/>
                        <a:pt x="297137" y="100261"/>
                        <a:pt x="296797" y="99394"/>
                      </a:cubicBezTo>
                      <a:cubicBezTo>
                        <a:pt x="296458" y="100331"/>
                        <a:pt x="296387" y="99745"/>
                        <a:pt x="296481" y="101221"/>
                      </a:cubicBezTo>
                      <a:cubicBezTo>
                        <a:pt x="294841" y="100097"/>
                        <a:pt x="295509" y="100249"/>
                        <a:pt x="292921" y="100108"/>
                      </a:cubicBezTo>
                      <a:cubicBezTo>
                        <a:pt x="299280" y="103259"/>
                        <a:pt x="288130" y="106281"/>
                        <a:pt x="286807" y="107217"/>
                      </a:cubicBezTo>
                      <a:cubicBezTo>
                        <a:pt x="287053" y="108904"/>
                        <a:pt x="286596" y="109278"/>
                        <a:pt x="286491" y="110192"/>
                      </a:cubicBezTo>
                      <a:cubicBezTo>
                        <a:pt x="284851" y="112324"/>
                        <a:pt x="282802" y="112183"/>
                        <a:pt x="280928" y="109103"/>
                      </a:cubicBezTo>
                      <a:cubicBezTo>
                        <a:pt x="281197" y="110321"/>
                        <a:pt x="281279" y="110813"/>
                        <a:pt x="281724" y="111644"/>
                      </a:cubicBezTo>
                      <a:cubicBezTo>
                        <a:pt x="279441" y="111258"/>
                        <a:pt x="276407" y="111152"/>
                        <a:pt x="275025" y="110930"/>
                      </a:cubicBezTo>
                      <a:cubicBezTo>
                        <a:pt x="275587" y="111516"/>
                        <a:pt x="276372" y="111914"/>
                        <a:pt x="276794" y="112417"/>
                      </a:cubicBezTo>
                      <a:cubicBezTo>
                        <a:pt x="272308" y="112218"/>
                        <a:pt x="271243" y="116270"/>
                        <a:pt x="273948" y="118039"/>
                      </a:cubicBezTo>
                      <a:cubicBezTo>
                        <a:pt x="271594" y="126178"/>
                        <a:pt x="274346" y="126939"/>
                        <a:pt x="264707" y="128521"/>
                      </a:cubicBezTo>
                      <a:cubicBezTo>
                        <a:pt x="264801" y="128884"/>
                        <a:pt x="265598" y="128802"/>
                        <a:pt x="265738" y="129247"/>
                      </a:cubicBezTo>
                      <a:cubicBezTo>
                        <a:pt x="263653" y="132303"/>
                        <a:pt x="260749" y="132245"/>
                        <a:pt x="257142" y="130359"/>
                      </a:cubicBezTo>
                      <a:cubicBezTo>
                        <a:pt x="258512" y="129001"/>
                        <a:pt x="259742" y="126869"/>
                        <a:pt x="261463" y="125897"/>
                      </a:cubicBezTo>
                      <a:cubicBezTo>
                        <a:pt x="259754" y="126518"/>
                        <a:pt x="259320" y="126904"/>
                        <a:pt x="258067" y="127806"/>
                      </a:cubicBezTo>
                      <a:cubicBezTo>
                        <a:pt x="257844" y="127396"/>
                        <a:pt x="258489" y="126459"/>
                        <a:pt x="257891" y="126284"/>
                      </a:cubicBezTo>
                      <a:cubicBezTo>
                        <a:pt x="257763" y="126858"/>
                        <a:pt x="257458" y="127303"/>
                        <a:pt x="256990" y="127619"/>
                      </a:cubicBezTo>
                      <a:cubicBezTo>
                        <a:pt x="256498" y="127349"/>
                        <a:pt x="256439" y="126904"/>
                        <a:pt x="256802" y="126284"/>
                      </a:cubicBezTo>
                      <a:cubicBezTo>
                        <a:pt x="256404" y="126424"/>
                        <a:pt x="256357" y="127525"/>
                        <a:pt x="256088" y="128146"/>
                      </a:cubicBezTo>
                      <a:cubicBezTo>
                        <a:pt x="255877" y="126494"/>
                        <a:pt x="255795" y="127221"/>
                        <a:pt x="255022" y="126284"/>
                      </a:cubicBezTo>
                      <a:cubicBezTo>
                        <a:pt x="254882" y="126588"/>
                        <a:pt x="255912" y="128439"/>
                        <a:pt x="255736" y="128146"/>
                      </a:cubicBezTo>
                      <a:cubicBezTo>
                        <a:pt x="255912" y="128251"/>
                        <a:pt x="253172" y="127092"/>
                        <a:pt x="253558" y="127022"/>
                      </a:cubicBezTo>
                      <a:cubicBezTo>
                        <a:pt x="258020" y="133393"/>
                        <a:pt x="247761" y="129095"/>
                        <a:pt x="246039" y="128532"/>
                      </a:cubicBezTo>
                      <a:cubicBezTo>
                        <a:pt x="247972" y="129879"/>
                        <a:pt x="249412" y="131835"/>
                        <a:pt x="250689" y="133369"/>
                      </a:cubicBezTo>
                      <a:cubicBezTo>
                        <a:pt x="249963" y="132819"/>
                        <a:pt x="247937" y="132069"/>
                        <a:pt x="247093" y="131507"/>
                      </a:cubicBezTo>
                      <a:cubicBezTo>
                        <a:pt x="247304" y="133100"/>
                        <a:pt x="246754" y="133088"/>
                        <a:pt x="246777" y="134505"/>
                      </a:cubicBezTo>
                      <a:cubicBezTo>
                        <a:pt x="244540" y="131800"/>
                        <a:pt x="244833" y="132069"/>
                        <a:pt x="241800" y="130430"/>
                      </a:cubicBezTo>
                      <a:cubicBezTo>
                        <a:pt x="244786" y="129024"/>
                        <a:pt x="244482" y="128146"/>
                        <a:pt x="242116" y="126612"/>
                      </a:cubicBezTo>
                      <a:cubicBezTo>
                        <a:pt x="242198" y="126577"/>
                        <a:pt x="242350" y="127373"/>
                        <a:pt x="242456" y="127385"/>
                      </a:cubicBezTo>
                      <a:cubicBezTo>
                        <a:pt x="239481" y="127162"/>
                        <a:pt x="239785" y="126928"/>
                        <a:pt x="238930" y="127806"/>
                      </a:cubicBezTo>
                      <a:cubicBezTo>
                        <a:pt x="237291" y="127268"/>
                        <a:pt x="236518" y="127150"/>
                        <a:pt x="234984" y="127022"/>
                      </a:cubicBezTo>
                      <a:cubicBezTo>
                        <a:pt x="235710" y="127432"/>
                        <a:pt x="236623" y="127783"/>
                        <a:pt x="237127" y="128146"/>
                      </a:cubicBezTo>
                      <a:cubicBezTo>
                        <a:pt x="236670" y="127970"/>
                        <a:pt x="236202" y="127865"/>
                        <a:pt x="235710" y="127806"/>
                      </a:cubicBezTo>
                      <a:cubicBezTo>
                        <a:pt x="237607" y="131039"/>
                        <a:pt x="241554" y="130570"/>
                        <a:pt x="240324" y="134494"/>
                      </a:cubicBezTo>
                      <a:cubicBezTo>
                        <a:pt x="240043" y="134388"/>
                        <a:pt x="239083" y="133381"/>
                        <a:pt x="238942" y="133369"/>
                      </a:cubicBezTo>
                      <a:cubicBezTo>
                        <a:pt x="238638" y="133744"/>
                        <a:pt x="238321" y="134119"/>
                        <a:pt x="238017" y="134494"/>
                      </a:cubicBezTo>
                      <a:cubicBezTo>
                        <a:pt x="240523" y="136648"/>
                        <a:pt x="241647" y="137808"/>
                        <a:pt x="238942" y="138581"/>
                      </a:cubicBezTo>
                      <a:cubicBezTo>
                        <a:pt x="241074" y="141169"/>
                        <a:pt x="242620" y="142715"/>
                        <a:pt x="243545" y="145666"/>
                      </a:cubicBezTo>
                      <a:cubicBezTo>
                        <a:pt x="241343" y="143980"/>
                        <a:pt x="239212" y="144027"/>
                        <a:pt x="236061" y="144554"/>
                      </a:cubicBezTo>
                      <a:cubicBezTo>
                        <a:pt x="240043" y="147763"/>
                        <a:pt x="234831" y="149414"/>
                        <a:pt x="232103" y="146451"/>
                      </a:cubicBezTo>
                      <a:cubicBezTo>
                        <a:pt x="235651" y="149683"/>
                        <a:pt x="233250" y="152190"/>
                        <a:pt x="228554" y="153103"/>
                      </a:cubicBezTo>
                      <a:cubicBezTo>
                        <a:pt x="229608" y="152916"/>
                        <a:pt x="230381" y="153185"/>
                        <a:pt x="231740" y="152764"/>
                      </a:cubicBezTo>
                      <a:cubicBezTo>
                        <a:pt x="232056" y="155446"/>
                        <a:pt x="231084" y="157050"/>
                        <a:pt x="228554" y="158737"/>
                      </a:cubicBezTo>
                      <a:cubicBezTo>
                        <a:pt x="232536" y="156535"/>
                        <a:pt x="233157" y="158971"/>
                        <a:pt x="231400" y="162473"/>
                      </a:cubicBezTo>
                      <a:cubicBezTo>
                        <a:pt x="231236" y="162226"/>
                        <a:pt x="231119" y="161980"/>
                        <a:pt x="231049" y="161699"/>
                      </a:cubicBezTo>
                      <a:cubicBezTo>
                        <a:pt x="231259" y="162109"/>
                        <a:pt x="230826" y="162004"/>
                        <a:pt x="230697" y="162074"/>
                      </a:cubicBezTo>
                      <a:cubicBezTo>
                        <a:pt x="232126" y="164393"/>
                        <a:pt x="231845" y="165775"/>
                        <a:pt x="231857" y="168141"/>
                      </a:cubicBezTo>
                      <a:cubicBezTo>
                        <a:pt x="230287" y="167168"/>
                        <a:pt x="228718" y="166443"/>
                        <a:pt x="227500" y="165740"/>
                      </a:cubicBezTo>
                      <a:cubicBezTo>
                        <a:pt x="227617" y="165939"/>
                        <a:pt x="227734" y="166138"/>
                        <a:pt x="227840" y="166337"/>
                      </a:cubicBezTo>
                      <a:cubicBezTo>
                        <a:pt x="235839" y="167052"/>
                        <a:pt x="226669" y="170881"/>
                        <a:pt x="222113" y="171373"/>
                      </a:cubicBezTo>
                      <a:cubicBezTo>
                        <a:pt x="221808" y="170975"/>
                        <a:pt x="222839" y="170811"/>
                        <a:pt x="222464" y="170635"/>
                      </a:cubicBezTo>
                      <a:cubicBezTo>
                        <a:pt x="219583" y="172966"/>
                        <a:pt x="215742" y="178482"/>
                        <a:pt x="211783" y="181796"/>
                      </a:cubicBezTo>
                      <a:cubicBezTo>
                        <a:pt x="212404" y="180930"/>
                        <a:pt x="212170" y="180532"/>
                        <a:pt x="212111" y="179899"/>
                      </a:cubicBezTo>
                      <a:cubicBezTo>
                        <a:pt x="211057" y="182932"/>
                        <a:pt x="209816" y="183131"/>
                        <a:pt x="207099" y="184384"/>
                      </a:cubicBezTo>
                      <a:cubicBezTo>
                        <a:pt x="207227" y="183167"/>
                        <a:pt x="207110" y="182042"/>
                        <a:pt x="207473" y="180684"/>
                      </a:cubicBezTo>
                      <a:cubicBezTo>
                        <a:pt x="206419" y="186083"/>
                        <a:pt x="204112" y="181761"/>
                        <a:pt x="201372" y="184455"/>
                      </a:cubicBezTo>
                      <a:cubicBezTo>
                        <a:pt x="198619" y="187137"/>
                        <a:pt x="198502" y="189959"/>
                        <a:pt x="197776" y="193683"/>
                      </a:cubicBezTo>
                      <a:cubicBezTo>
                        <a:pt x="197155" y="193801"/>
                        <a:pt x="196054" y="194410"/>
                        <a:pt x="194590" y="194796"/>
                      </a:cubicBezTo>
                      <a:cubicBezTo>
                        <a:pt x="195258" y="194726"/>
                        <a:pt x="196745" y="194597"/>
                        <a:pt x="197776" y="194433"/>
                      </a:cubicBezTo>
                      <a:cubicBezTo>
                        <a:pt x="195399" y="197876"/>
                        <a:pt x="192307" y="199879"/>
                        <a:pt x="192073" y="204856"/>
                      </a:cubicBezTo>
                      <a:cubicBezTo>
                        <a:pt x="190433" y="202538"/>
                        <a:pt x="192084" y="204610"/>
                        <a:pt x="190644" y="204856"/>
                      </a:cubicBezTo>
                      <a:cubicBezTo>
                        <a:pt x="190714" y="204856"/>
                        <a:pt x="191358" y="203837"/>
                        <a:pt x="191358" y="203709"/>
                      </a:cubicBezTo>
                      <a:cubicBezTo>
                        <a:pt x="192728" y="207433"/>
                        <a:pt x="192483" y="213921"/>
                        <a:pt x="189590" y="214507"/>
                      </a:cubicBezTo>
                      <a:cubicBezTo>
                        <a:pt x="190445" y="216088"/>
                        <a:pt x="190737" y="218418"/>
                        <a:pt x="191745" y="220046"/>
                      </a:cubicBezTo>
                      <a:cubicBezTo>
                        <a:pt x="191382" y="219800"/>
                        <a:pt x="191019" y="219554"/>
                        <a:pt x="190655" y="219320"/>
                      </a:cubicBezTo>
                      <a:cubicBezTo>
                        <a:pt x="191932" y="221768"/>
                        <a:pt x="187376" y="229099"/>
                        <a:pt x="185631" y="232273"/>
                      </a:cubicBezTo>
                      <a:cubicBezTo>
                        <a:pt x="184624" y="234112"/>
                        <a:pt x="180853" y="234287"/>
                        <a:pt x="181813" y="239112"/>
                      </a:cubicBezTo>
                      <a:cubicBezTo>
                        <a:pt x="182364" y="241888"/>
                        <a:pt x="185503" y="244793"/>
                        <a:pt x="186006" y="245613"/>
                      </a:cubicBezTo>
                      <a:cubicBezTo>
                        <a:pt x="185374" y="245226"/>
                        <a:pt x="185432" y="244793"/>
                        <a:pt x="184554" y="244511"/>
                      </a:cubicBezTo>
                      <a:cubicBezTo>
                        <a:pt x="188372" y="246807"/>
                        <a:pt x="189004" y="250320"/>
                        <a:pt x="188512" y="254864"/>
                      </a:cubicBezTo>
                      <a:cubicBezTo>
                        <a:pt x="188770" y="253412"/>
                        <a:pt x="189274" y="252182"/>
                        <a:pt x="189227" y="249676"/>
                      </a:cubicBezTo>
                      <a:cubicBezTo>
                        <a:pt x="191967" y="254876"/>
                        <a:pt x="194122" y="260416"/>
                        <a:pt x="197987" y="265159"/>
                      </a:cubicBezTo>
                      <a:cubicBezTo>
                        <a:pt x="200013" y="267642"/>
                        <a:pt x="206665" y="274868"/>
                        <a:pt x="206396" y="276660"/>
                      </a:cubicBezTo>
                      <a:cubicBezTo>
                        <a:pt x="211490" y="275418"/>
                        <a:pt x="217065" y="280314"/>
                        <a:pt x="219981" y="284425"/>
                      </a:cubicBezTo>
                      <a:cubicBezTo>
                        <a:pt x="218763" y="284624"/>
                        <a:pt x="218588" y="284823"/>
                        <a:pt x="217487" y="285186"/>
                      </a:cubicBezTo>
                      <a:cubicBezTo>
                        <a:pt x="218377" y="286345"/>
                        <a:pt x="218400" y="284553"/>
                        <a:pt x="219255" y="285186"/>
                      </a:cubicBezTo>
                      <a:cubicBezTo>
                        <a:pt x="219115" y="286064"/>
                        <a:pt x="218904" y="286556"/>
                        <a:pt x="219583" y="287387"/>
                      </a:cubicBezTo>
                      <a:cubicBezTo>
                        <a:pt x="220860" y="284729"/>
                        <a:pt x="221715" y="285010"/>
                        <a:pt x="224197" y="283944"/>
                      </a:cubicBezTo>
                      <a:cubicBezTo>
                        <a:pt x="222780" y="289812"/>
                        <a:pt x="233438" y="293852"/>
                        <a:pt x="224256" y="296944"/>
                      </a:cubicBezTo>
                      <a:cubicBezTo>
                        <a:pt x="225169" y="299333"/>
                        <a:pt x="225767" y="303257"/>
                        <a:pt x="227500" y="306161"/>
                      </a:cubicBezTo>
                      <a:cubicBezTo>
                        <a:pt x="224443" y="305072"/>
                        <a:pt x="220414" y="302695"/>
                        <a:pt x="216386" y="302859"/>
                      </a:cubicBezTo>
                      <a:cubicBezTo>
                        <a:pt x="218669" y="303994"/>
                        <a:pt x="221890" y="304896"/>
                        <a:pt x="223916" y="305458"/>
                      </a:cubicBezTo>
                      <a:cubicBezTo>
                        <a:pt x="220239" y="307028"/>
                        <a:pt x="223050" y="305025"/>
                        <a:pt x="222839" y="307660"/>
                      </a:cubicBezTo>
                      <a:cubicBezTo>
                        <a:pt x="222851" y="307613"/>
                        <a:pt x="222405" y="306571"/>
                        <a:pt x="222113" y="306559"/>
                      </a:cubicBezTo>
                      <a:cubicBezTo>
                        <a:pt x="229643" y="304311"/>
                        <a:pt x="236143" y="321480"/>
                        <a:pt x="241366" y="326328"/>
                      </a:cubicBezTo>
                      <a:cubicBezTo>
                        <a:pt x="245325" y="329994"/>
                        <a:pt x="271805" y="346343"/>
                        <a:pt x="261077" y="351450"/>
                      </a:cubicBezTo>
                      <a:cubicBezTo>
                        <a:pt x="267670" y="346191"/>
                        <a:pt x="280389" y="362938"/>
                        <a:pt x="286819" y="366885"/>
                      </a:cubicBezTo>
                      <a:cubicBezTo>
                        <a:pt x="283258" y="365831"/>
                        <a:pt x="280389" y="363290"/>
                        <a:pt x="276805" y="363231"/>
                      </a:cubicBezTo>
                      <a:cubicBezTo>
                        <a:pt x="280647" y="365152"/>
                        <a:pt x="284020" y="366534"/>
                        <a:pt x="286819" y="368384"/>
                      </a:cubicBezTo>
                      <a:cubicBezTo>
                        <a:pt x="285882" y="367377"/>
                        <a:pt x="285870" y="368384"/>
                        <a:pt x="285413" y="368747"/>
                      </a:cubicBezTo>
                      <a:cubicBezTo>
                        <a:pt x="286245" y="369017"/>
                        <a:pt x="287463" y="368584"/>
                        <a:pt x="288271" y="368384"/>
                      </a:cubicBezTo>
                      <a:cubicBezTo>
                        <a:pt x="287850" y="370106"/>
                        <a:pt x="287650" y="369532"/>
                        <a:pt x="288271" y="371312"/>
                      </a:cubicBezTo>
                      <a:cubicBezTo>
                        <a:pt x="288693" y="371055"/>
                        <a:pt x="289513" y="370258"/>
                        <a:pt x="290040" y="370083"/>
                      </a:cubicBezTo>
                      <a:cubicBezTo>
                        <a:pt x="292429" y="372636"/>
                        <a:pt x="294841" y="375411"/>
                        <a:pt x="297558" y="377613"/>
                      </a:cubicBezTo>
                      <a:cubicBezTo>
                        <a:pt x="296633" y="377566"/>
                        <a:pt x="296364" y="377636"/>
                        <a:pt x="295228" y="377203"/>
                      </a:cubicBezTo>
                      <a:cubicBezTo>
                        <a:pt x="295040" y="382672"/>
                        <a:pt x="302501" y="385413"/>
                        <a:pt x="302196" y="379030"/>
                      </a:cubicBezTo>
                      <a:cubicBezTo>
                        <a:pt x="305639" y="380588"/>
                        <a:pt x="305358" y="380073"/>
                        <a:pt x="308099" y="379393"/>
                      </a:cubicBezTo>
                      <a:cubicBezTo>
                        <a:pt x="308825" y="381361"/>
                        <a:pt x="310090" y="383340"/>
                        <a:pt x="310781" y="385272"/>
                      </a:cubicBezTo>
                      <a:cubicBezTo>
                        <a:pt x="310476" y="385191"/>
                        <a:pt x="308872" y="384113"/>
                        <a:pt x="308567" y="383914"/>
                      </a:cubicBezTo>
                      <a:cubicBezTo>
                        <a:pt x="309891" y="386116"/>
                        <a:pt x="313088" y="386303"/>
                        <a:pt x="316519" y="386338"/>
                      </a:cubicBezTo>
                      <a:cubicBezTo>
                        <a:pt x="307560" y="391983"/>
                        <a:pt x="321380" y="391948"/>
                        <a:pt x="316168" y="397745"/>
                      </a:cubicBezTo>
                      <a:cubicBezTo>
                        <a:pt x="316718" y="397687"/>
                        <a:pt x="319494" y="397347"/>
                        <a:pt x="319365" y="397382"/>
                      </a:cubicBezTo>
                      <a:cubicBezTo>
                        <a:pt x="318335" y="391269"/>
                        <a:pt x="316859" y="388224"/>
                        <a:pt x="323148" y="389641"/>
                      </a:cubicBezTo>
                      <a:cubicBezTo>
                        <a:pt x="323113" y="389793"/>
                        <a:pt x="324401" y="390941"/>
                        <a:pt x="324026" y="390742"/>
                      </a:cubicBezTo>
                      <a:cubicBezTo>
                        <a:pt x="315489" y="393295"/>
                        <a:pt x="321555" y="399631"/>
                        <a:pt x="326509" y="404327"/>
                      </a:cubicBezTo>
                      <a:cubicBezTo>
                        <a:pt x="326310" y="403941"/>
                        <a:pt x="325479" y="404807"/>
                        <a:pt x="325420" y="404936"/>
                      </a:cubicBezTo>
                      <a:cubicBezTo>
                        <a:pt x="329062" y="403788"/>
                        <a:pt x="333372" y="423991"/>
                        <a:pt x="341512" y="423721"/>
                      </a:cubicBezTo>
                      <a:cubicBezTo>
                        <a:pt x="338432" y="424904"/>
                        <a:pt x="337471" y="429765"/>
                        <a:pt x="342214" y="425174"/>
                      </a:cubicBezTo>
                      <a:cubicBezTo>
                        <a:pt x="343151" y="428957"/>
                        <a:pt x="346817" y="430069"/>
                        <a:pt x="346173" y="433992"/>
                      </a:cubicBezTo>
                      <a:cubicBezTo>
                        <a:pt x="346431" y="433852"/>
                        <a:pt x="348562" y="432669"/>
                        <a:pt x="348703" y="432540"/>
                      </a:cubicBezTo>
                      <a:cubicBezTo>
                        <a:pt x="347274" y="430584"/>
                        <a:pt x="347941" y="430666"/>
                        <a:pt x="347602" y="428453"/>
                      </a:cubicBezTo>
                      <a:cubicBezTo>
                        <a:pt x="348152" y="428910"/>
                        <a:pt x="348492" y="428699"/>
                        <a:pt x="349019" y="428453"/>
                      </a:cubicBezTo>
                      <a:cubicBezTo>
                        <a:pt x="350576" y="432084"/>
                        <a:pt x="351338" y="436709"/>
                        <a:pt x="355507" y="437998"/>
                      </a:cubicBezTo>
                      <a:cubicBezTo>
                        <a:pt x="354336" y="438689"/>
                        <a:pt x="354430" y="439063"/>
                        <a:pt x="352977" y="439450"/>
                      </a:cubicBezTo>
                      <a:cubicBezTo>
                        <a:pt x="352954" y="439426"/>
                        <a:pt x="354418" y="440035"/>
                        <a:pt x="354090" y="440586"/>
                      </a:cubicBezTo>
                      <a:cubicBezTo>
                        <a:pt x="352884" y="441359"/>
                        <a:pt x="352778" y="442378"/>
                        <a:pt x="350857" y="443221"/>
                      </a:cubicBezTo>
                      <a:cubicBezTo>
                        <a:pt x="351970" y="443420"/>
                        <a:pt x="352275" y="444545"/>
                        <a:pt x="352989" y="444954"/>
                      </a:cubicBezTo>
                      <a:cubicBezTo>
                        <a:pt x="353165" y="444626"/>
                        <a:pt x="352907" y="443736"/>
                        <a:pt x="353340" y="443526"/>
                      </a:cubicBezTo>
                      <a:cubicBezTo>
                        <a:pt x="353504" y="447730"/>
                        <a:pt x="358423" y="458540"/>
                        <a:pt x="357264" y="460062"/>
                      </a:cubicBezTo>
                      <a:cubicBezTo>
                        <a:pt x="359992" y="462241"/>
                        <a:pt x="362546" y="465321"/>
                        <a:pt x="362979" y="469080"/>
                      </a:cubicBezTo>
                      <a:cubicBezTo>
                        <a:pt x="362733" y="469361"/>
                        <a:pt x="361983" y="468108"/>
                        <a:pt x="362007" y="468108"/>
                      </a:cubicBezTo>
                      <a:cubicBezTo>
                        <a:pt x="362686" y="471176"/>
                        <a:pt x="362522" y="473402"/>
                        <a:pt x="361527" y="475299"/>
                      </a:cubicBezTo>
                      <a:cubicBezTo>
                        <a:pt x="361702" y="475065"/>
                        <a:pt x="361960" y="474116"/>
                        <a:pt x="361913" y="473812"/>
                      </a:cubicBezTo>
                      <a:cubicBezTo>
                        <a:pt x="365052" y="481190"/>
                        <a:pt x="365801" y="491602"/>
                        <a:pt x="370474" y="497516"/>
                      </a:cubicBezTo>
                      <a:cubicBezTo>
                        <a:pt x="369420" y="496860"/>
                        <a:pt x="368132" y="496239"/>
                        <a:pt x="367125" y="495443"/>
                      </a:cubicBezTo>
                      <a:cubicBezTo>
                        <a:pt x="369174" y="498944"/>
                        <a:pt x="377677" y="515868"/>
                        <a:pt x="372102" y="517589"/>
                      </a:cubicBezTo>
                      <a:cubicBezTo>
                        <a:pt x="372512" y="514919"/>
                        <a:pt x="371692" y="512928"/>
                        <a:pt x="371142" y="510398"/>
                      </a:cubicBezTo>
                      <a:cubicBezTo>
                        <a:pt x="369256" y="513033"/>
                        <a:pt x="369256" y="515130"/>
                        <a:pt x="371540" y="516442"/>
                      </a:cubicBezTo>
                      <a:cubicBezTo>
                        <a:pt x="367265" y="521314"/>
                        <a:pt x="373953" y="526150"/>
                        <a:pt x="373367" y="529559"/>
                      </a:cubicBezTo>
                      <a:cubicBezTo>
                        <a:pt x="372243" y="527298"/>
                        <a:pt x="370392" y="525155"/>
                        <a:pt x="369046" y="523375"/>
                      </a:cubicBezTo>
                      <a:cubicBezTo>
                        <a:pt x="370580" y="526420"/>
                        <a:pt x="371329" y="530425"/>
                        <a:pt x="374409" y="529957"/>
                      </a:cubicBezTo>
                      <a:cubicBezTo>
                        <a:pt x="375264" y="532908"/>
                        <a:pt x="376553" y="535894"/>
                        <a:pt x="372266" y="534829"/>
                      </a:cubicBezTo>
                      <a:cubicBezTo>
                        <a:pt x="374199" y="527591"/>
                        <a:pt x="365731" y="538272"/>
                        <a:pt x="373625" y="538354"/>
                      </a:cubicBezTo>
                      <a:cubicBezTo>
                        <a:pt x="373554" y="539853"/>
                        <a:pt x="373918" y="540521"/>
                        <a:pt x="373367" y="541926"/>
                      </a:cubicBezTo>
                      <a:cubicBezTo>
                        <a:pt x="371927" y="542863"/>
                        <a:pt x="371154" y="541270"/>
                        <a:pt x="373367" y="545217"/>
                      </a:cubicBezTo>
                      <a:cubicBezTo>
                        <a:pt x="373636" y="543753"/>
                        <a:pt x="373789" y="542769"/>
                        <a:pt x="373871" y="541621"/>
                      </a:cubicBezTo>
                      <a:cubicBezTo>
                        <a:pt x="375217" y="544912"/>
                        <a:pt x="373800" y="548847"/>
                        <a:pt x="375299" y="552736"/>
                      </a:cubicBezTo>
                      <a:cubicBezTo>
                        <a:pt x="376763" y="556530"/>
                        <a:pt x="385758" y="562515"/>
                        <a:pt x="380488" y="565911"/>
                      </a:cubicBezTo>
                      <a:cubicBezTo>
                        <a:pt x="380605" y="565536"/>
                        <a:pt x="381530" y="564763"/>
                        <a:pt x="381425" y="564236"/>
                      </a:cubicBezTo>
                      <a:cubicBezTo>
                        <a:pt x="372336" y="567187"/>
                        <a:pt x="384446" y="574882"/>
                        <a:pt x="380980" y="580773"/>
                      </a:cubicBezTo>
                      <a:cubicBezTo>
                        <a:pt x="379445" y="578232"/>
                        <a:pt x="379035" y="576791"/>
                        <a:pt x="379071" y="574261"/>
                      </a:cubicBezTo>
                      <a:cubicBezTo>
                        <a:pt x="378497" y="575069"/>
                        <a:pt x="378801" y="574999"/>
                        <a:pt x="377642" y="574988"/>
                      </a:cubicBezTo>
                      <a:cubicBezTo>
                        <a:pt x="377677" y="574952"/>
                        <a:pt x="377829" y="576498"/>
                        <a:pt x="377642" y="576815"/>
                      </a:cubicBezTo>
                      <a:cubicBezTo>
                        <a:pt x="377419" y="576112"/>
                        <a:pt x="376635" y="575468"/>
                        <a:pt x="375862" y="575690"/>
                      </a:cubicBezTo>
                      <a:cubicBezTo>
                        <a:pt x="378344" y="573594"/>
                        <a:pt x="378520" y="571181"/>
                        <a:pt x="376740" y="568429"/>
                      </a:cubicBezTo>
                      <a:cubicBezTo>
                        <a:pt x="372875" y="572083"/>
                        <a:pt x="366738" y="575971"/>
                        <a:pt x="369046" y="581886"/>
                      </a:cubicBezTo>
                      <a:cubicBezTo>
                        <a:pt x="369514" y="580960"/>
                        <a:pt x="369971" y="579813"/>
                        <a:pt x="370135" y="579333"/>
                      </a:cubicBezTo>
                      <a:cubicBezTo>
                        <a:pt x="369713" y="582330"/>
                        <a:pt x="374257" y="588210"/>
                        <a:pt x="375862" y="590587"/>
                      </a:cubicBezTo>
                      <a:cubicBezTo>
                        <a:pt x="371962" y="594159"/>
                        <a:pt x="371411" y="586476"/>
                        <a:pt x="366188" y="586570"/>
                      </a:cubicBezTo>
                      <a:cubicBezTo>
                        <a:pt x="366176" y="586816"/>
                        <a:pt x="366937" y="587414"/>
                        <a:pt x="366914" y="587694"/>
                      </a:cubicBezTo>
                      <a:cubicBezTo>
                        <a:pt x="366879" y="587835"/>
                        <a:pt x="366036" y="587109"/>
                        <a:pt x="365837" y="587331"/>
                      </a:cubicBezTo>
                      <a:cubicBezTo>
                        <a:pt x="368120" y="589135"/>
                        <a:pt x="369526" y="592051"/>
                        <a:pt x="370662" y="594944"/>
                      </a:cubicBezTo>
                      <a:cubicBezTo>
                        <a:pt x="368741" y="595401"/>
                        <a:pt x="369327" y="596162"/>
                        <a:pt x="367265" y="596010"/>
                      </a:cubicBezTo>
                      <a:cubicBezTo>
                        <a:pt x="368928" y="597520"/>
                        <a:pt x="368331" y="598387"/>
                        <a:pt x="369748" y="600015"/>
                      </a:cubicBezTo>
                      <a:cubicBezTo>
                        <a:pt x="368202" y="599664"/>
                        <a:pt x="368530" y="600132"/>
                        <a:pt x="367640" y="600378"/>
                      </a:cubicBezTo>
                      <a:cubicBezTo>
                        <a:pt x="367910" y="600296"/>
                        <a:pt x="368015" y="600179"/>
                        <a:pt x="367956" y="600015"/>
                      </a:cubicBezTo>
                      <a:cubicBezTo>
                        <a:pt x="370872" y="603528"/>
                        <a:pt x="372629" y="613682"/>
                        <a:pt x="373367" y="617454"/>
                      </a:cubicBezTo>
                      <a:cubicBezTo>
                        <a:pt x="367476" y="618332"/>
                        <a:pt x="369245" y="608436"/>
                        <a:pt x="367242" y="603786"/>
                      </a:cubicBezTo>
                      <a:cubicBezTo>
                        <a:pt x="367008" y="604091"/>
                        <a:pt x="366774" y="604407"/>
                        <a:pt x="366539" y="604711"/>
                      </a:cubicBezTo>
                      <a:cubicBezTo>
                        <a:pt x="368448" y="608717"/>
                        <a:pt x="368003" y="610263"/>
                        <a:pt x="367734" y="614432"/>
                      </a:cubicBezTo>
                      <a:cubicBezTo>
                        <a:pt x="367663" y="615627"/>
                        <a:pt x="362698" y="623743"/>
                        <a:pt x="368706" y="617617"/>
                      </a:cubicBezTo>
                      <a:cubicBezTo>
                        <a:pt x="366973" y="622853"/>
                        <a:pt x="370521" y="623286"/>
                        <a:pt x="367945" y="628216"/>
                      </a:cubicBezTo>
                      <a:cubicBezTo>
                        <a:pt x="366094" y="631730"/>
                        <a:pt x="362440" y="636579"/>
                        <a:pt x="360309" y="629751"/>
                      </a:cubicBezTo>
                      <a:cubicBezTo>
                        <a:pt x="359911" y="629856"/>
                        <a:pt x="359501" y="629950"/>
                        <a:pt x="359091" y="630043"/>
                      </a:cubicBezTo>
                      <a:cubicBezTo>
                        <a:pt x="359747" y="631917"/>
                        <a:pt x="359700" y="632749"/>
                        <a:pt x="360145" y="634798"/>
                      </a:cubicBezTo>
                      <a:cubicBezTo>
                        <a:pt x="359992" y="634904"/>
                        <a:pt x="358763" y="634658"/>
                        <a:pt x="358669" y="634798"/>
                      </a:cubicBezTo>
                      <a:cubicBezTo>
                        <a:pt x="359419" y="636590"/>
                        <a:pt x="360379" y="642996"/>
                        <a:pt x="358974" y="644671"/>
                      </a:cubicBezTo>
                      <a:cubicBezTo>
                        <a:pt x="356081" y="648102"/>
                        <a:pt x="354488" y="644917"/>
                        <a:pt x="351853" y="645924"/>
                      </a:cubicBezTo>
                      <a:cubicBezTo>
                        <a:pt x="348504" y="647201"/>
                        <a:pt x="347848" y="648852"/>
                        <a:pt x="345248" y="650527"/>
                      </a:cubicBezTo>
                      <a:cubicBezTo>
                        <a:pt x="344311" y="651124"/>
                        <a:pt x="344721" y="653209"/>
                        <a:pt x="343304" y="654005"/>
                      </a:cubicBezTo>
                      <a:cubicBezTo>
                        <a:pt x="342355" y="654532"/>
                        <a:pt x="341160" y="652986"/>
                        <a:pt x="340446" y="653326"/>
                      </a:cubicBezTo>
                      <a:cubicBezTo>
                        <a:pt x="338701" y="654169"/>
                        <a:pt x="336698" y="654017"/>
                        <a:pt x="335059" y="654895"/>
                      </a:cubicBezTo>
                      <a:cubicBezTo>
                        <a:pt x="332131" y="656465"/>
                        <a:pt x="333079" y="658339"/>
                        <a:pt x="331018" y="660083"/>
                      </a:cubicBezTo>
                      <a:cubicBezTo>
                        <a:pt x="329683" y="661208"/>
                        <a:pt x="326416" y="661067"/>
                        <a:pt x="325303" y="662168"/>
                      </a:cubicBezTo>
                      <a:cubicBezTo>
                        <a:pt x="323453" y="663995"/>
                        <a:pt x="323359" y="666443"/>
                        <a:pt x="321192" y="668071"/>
                      </a:cubicBezTo>
                      <a:cubicBezTo>
                        <a:pt x="317562" y="661524"/>
                        <a:pt x="310781" y="669558"/>
                        <a:pt x="308298" y="672919"/>
                      </a:cubicBezTo>
                      <a:cubicBezTo>
                        <a:pt x="307138" y="674477"/>
                        <a:pt x="307677" y="678084"/>
                        <a:pt x="305780" y="679337"/>
                      </a:cubicBezTo>
                      <a:cubicBezTo>
                        <a:pt x="305054" y="679817"/>
                        <a:pt x="303028" y="677815"/>
                        <a:pt x="302091" y="678248"/>
                      </a:cubicBezTo>
                      <a:cubicBezTo>
                        <a:pt x="299420" y="679478"/>
                        <a:pt x="296141" y="680754"/>
                        <a:pt x="293307" y="682078"/>
                      </a:cubicBezTo>
                      <a:cubicBezTo>
                        <a:pt x="286444" y="685287"/>
                        <a:pt x="268853" y="698310"/>
                        <a:pt x="263630" y="694843"/>
                      </a:cubicBezTo>
                      <a:cubicBezTo>
                        <a:pt x="265738" y="690709"/>
                        <a:pt x="260327" y="690440"/>
                        <a:pt x="256826" y="690850"/>
                      </a:cubicBezTo>
                      <a:cubicBezTo>
                        <a:pt x="257271" y="691119"/>
                        <a:pt x="256580" y="689140"/>
                        <a:pt x="256826" y="689409"/>
                      </a:cubicBezTo>
                      <a:cubicBezTo>
                        <a:pt x="256662" y="689526"/>
                        <a:pt x="255502" y="691049"/>
                        <a:pt x="255373" y="691213"/>
                      </a:cubicBezTo>
                      <a:cubicBezTo>
                        <a:pt x="255151" y="690756"/>
                        <a:pt x="255045" y="690276"/>
                        <a:pt x="255057" y="689772"/>
                      </a:cubicBezTo>
                      <a:cubicBezTo>
                        <a:pt x="254659" y="690135"/>
                        <a:pt x="253699" y="690662"/>
                        <a:pt x="253265" y="690850"/>
                      </a:cubicBezTo>
                      <a:cubicBezTo>
                        <a:pt x="255678" y="688894"/>
                        <a:pt x="256463" y="685486"/>
                        <a:pt x="254308" y="682570"/>
                      </a:cubicBezTo>
                      <a:cubicBezTo>
                        <a:pt x="254401" y="682956"/>
                        <a:pt x="254507" y="681106"/>
                        <a:pt x="252891" y="679337"/>
                      </a:cubicBezTo>
                      <a:cubicBezTo>
                        <a:pt x="254331" y="682218"/>
                        <a:pt x="254425" y="684853"/>
                        <a:pt x="255069" y="687969"/>
                      </a:cubicBezTo>
                      <a:cubicBezTo>
                        <a:pt x="253991" y="685989"/>
                        <a:pt x="253769" y="686493"/>
                        <a:pt x="253605" y="683261"/>
                      </a:cubicBezTo>
                      <a:cubicBezTo>
                        <a:pt x="253336" y="685685"/>
                        <a:pt x="253429" y="686223"/>
                        <a:pt x="254319" y="688695"/>
                      </a:cubicBezTo>
                      <a:cubicBezTo>
                        <a:pt x="253886" y="689421"/>
                        <a:pt x="252527" y="690943"/>
                        <a:pt x="251825" y="691611"/>
                      </a:cubicBezTo>
                      <a:cubicBezTo>
                        <a:pt x="251544" y="689350"/>
                        <a:pt x="250911" y="685076"/>
                        <a:pt x="249389" y="683378"/>
                      </a:cubicBezTo>
                      <a:cubicBezTo>
                        <a:pt x="249201" y="683167"/>
                        <a:pt x="241413" y="680227"/>
                        <a:pt x="241753" y="680075"/>
                      </a:cubicBezTo>
                      <a:cubicBezTo>
                        <a:pt x="239844" y="681000"/>
                        <a:pt x="242830" y="692372"/>
                        <a:pt x="235780" y="688695"/>
                      </a:cubicBezTo>
                      <a:cubicBezTo>
                        <a:pt x="235815" y="688367"/>
                        <a:pt x="236084" y="690463"/>
                        <a:pt x="236448" y="690147"/>
                      </a:cubicBezTo>
                      <a:cubicBezTo>
                        <a:pt x="235546" y="691236"/>
                        <a:pt x="233672" y="691974"/>
                        <a:pt x="232571" y="693051"/>
                      </a:cubicBezTo>
                      <a:cubicBezTo>
                        <a:pt x="232712" y="693192"/>
                        <a:pt x="231845" y="690604"/>
                        <a:pt x="231821" y="690498"/>
                      </a:cubicBezTo>
                      <a:cubicBezTo>
                        <a:pt x="232817" y="694070"/>
                        <a:pt x="233274" y="693356"/>
                        <a:pt x="235792" y="691224"/>
                      </a:cubicBezTo>
                      <a:cubicBezTo>
                        <a:pt x="238474" y="695066"/>
                        <a:pt x="238134" y="690053"/>
                        <a:pt x="239785" y="691388"/>
                      </a:cubicBezTo>
                      <a:cubicBezTo>
                        <a:pt x="241554" y="692805"/>
                        <a:pt x="244376" y="697619"/>
                        <a:pt x="243076" y="700032"/>
                      </a:cubicBezTo>
                      <a:cubicBezTo>
                        <a:pt x="241085" y="703732"/>
                        <a:pt x="227746" y="700184"/>
                        <a:pt x="223600" y="699504"/>
                      </a:cubicBezTo>
                      <a:cubicBezTo>
                        <a:pt x="223846" y="699692"/>
                        <a:pt x="255502" y="711005"/>
                        <a:pt x="238310" y="713628"/>
                      </a:cubicBezTo>
                      <a:cubicBezTo>
                        <a:pt x="238298" y="713593"/>
                        <a:pt x="238368" y="712094"/>
                        <a:pt x="238310" y="711802"/>
                      </a:cubicBezTo>
                      <a:cubicBezTo>
                        <a:pt x="237045" y="714191"/>
                        <a:pt x="237021" y="717306"/>
                        <a:pt x="233754" y="717552"/>
                      </a:cubicBezTo>
                      <a:cubicBezTo>
                        <a:pt x="225685" y="718172"/>
                        <a:pt x="223061" y="704482"/>
                        <a:pt x="216819" y="702420"/>
                      </a:cubicBezTo>
                      <a:cubicBezTo>
                        <a:pt x="221000" y="705431"/>
                        <a:pt x="221914" y="710900"/>
                        <a:pt x="225954" y="714601"/>
                      </a:cubicBezTo>
                      <a:cubicBezTo>
                        <a:pt x="229034" y="717400"/>
                        <a:pt x="240242" y="719859"/>
                        <a:pt x="236448" y="724485"/>
                      </a:cubicBezTo>
                      <a:cubicBezTo>
                        <a:pt x="236834" y="723337"/>
                        <a:pt x="236928" y="723115"/>
                        <a:pt x="236131" y="722330"/>
                      </a:cubicBezTo>
                      <a:cubicBezTo>
                        <a:pt x="233379" y="732332"/>
                        <a:pt x="211385" y="705840"/>
                        <a:pt x="207907" y="703533"/>
                      </a:cubicBezTo>
                      <a:cubicBezTo>
                        <a:pt x="207766" y="703662"/>
                        <a:pt x="207637" y="703768"/>
                        <a:pt x="207485" y="703861"/>
                      </a:cubicBezTo>
                      <a:cubicBezTo>
                        <a:pt x="213634" y="709178"/>
                        <a:pt x="232805" y="726663"/>
                        <a:pt x="231658" y="734030"/>
                      </a:cubicBezTo>
                      <a:cubicBezTo>
                        <a:pt x="228425" y="754865"/>
                        <a:pt x="198420" y="717458"/>
                        <a:pt x="192143" y="715772"/>
                      </a:cubicBezTo>
                      <a:cubicBezTo>
                        <a:pt x="196078" y="720796"/>
                        <a:pt x="218833" y="739640"/>
                        <a:pt x="210401" y="746819"/>
                      </a:cubicBezTo>
                      <a:cubicBezTo>
                        <a:pt x="213575" y="750977"/>
                        <a:pt x="193771" y="755884"/>
                        <a:pt x="189063" y="757734"/>
                      </a:cubicBezTo>
                      <a:cubicBezTo>
                        <a:pt x="180865" y="760931"/>
                        <a:pt x="175126" y="763063"/>
                        <a:pt x="170746" y="769739"/>
                      </a:cubicBezTo>
                      <a:cubicBezTo>
                        <a:pt x="163895" y="780185"/>
                        <a:pt x="149068" y="798162"/>
                        <a:pt x="134838" y="789121"/>
                      </a:cubicBezTo>
                      <a:cubicBezTo>
                        <a:pt x="138024" y="788945"/>
                        <a:pt x="141116" y="787505"/>
                        <a:pt x="140015" y="785057"/>
                      </a:cubicBezTo>
                      <a:cubicBezTo>
                        <a:pt x="142650" y="785701"/>
                        <a:pt x="145402" y="785315"/>
                        <a:pt x="147510" y="783558"/>
                      </a:cubicBezTo>
                      <a:cubicBezTo>
                        <a:pt x="144348" y="784565"/>
                        <a:pt x="143985" y="783968"/>
                        <a:pt x="141514" y="783335"/>
                      </a:cubicBezTo>
                      <a:cubicBezTo>
                        <a:pt x="144746" y="783383"/>
                        <a:pt x="146163" y="782047"/>
                        <a:pt x="145320" y="778827"/>
                      </a:cubicBezTo>
                      <a:cubicBezTo>
                        <a:pt x="136326" y="785889"/>
                        <a:pt x="139078" y="775372"/>
                        <a:pt x="139511" y="771109"/>
                      </a:cubicBezTo>
                      <a:cubicBezTo>
                        <a:pt x="140296" y="763485"/>
                        <a:pt x="139992" y="755415"/>
                        <a:pt x="140343" y="747709"/>
                      </a:cubicBezTo>
                      <a:cubicBezTo>
                        <a:pt x="140636" y="741233"/>
                        <a:pt x="139582" y="729264"/>
                        <a:pt x="143821" y="724028"/>
                      </a:cubicBezTo>
                      <a:cubicBezTo>
                        <a:pt x="143189" y="724801"/>
                        <a:pt x="149396" y="721979"/>
                        <a:pt x="149080" y="722084"/>
                      </a:cubicBezTo>
                      <a:cubicBezTo>
                        <a:pt x="152652" y="720890"/>
                        <a:pt x="154631" y="716627"/>
                        <a:pt x="155322" y="723712"/>
                      </a:cubicBezTo>
                      <a:cubicBezTo>
                        <a:pt x="156306" y="713289"/>
                        <a:pt x="148260" y="712481"/>
                        <a:pt x="141947" y="709260"/>
                      </a:cubicBezTo>
                      <a:cubicBezTo>
                        <a:pt x="137883" y="707175"/>
                        <a:pt x="139874" y="704154"/>
                        <a:pt x="134159" y="704482"/>
                      </a:cubicBezTo>
                      <a:cubicBezTo>
                        <a:pt x="132847" y="704564"/>
                        <a:pt x="130985" y="708101"/>
                        <a:pt x="129217" y="708581"/>
                      </a:cubicBezTo>
                      <a:cubicBezTo>
                        <a:pt x="128865" y="705384"/>
                        <a:pt x="128139" y="701285"/>
                        <a:pt x="125270" y="701331"/>
                      </a:cubicBezTo>
                      <a:cubicBezTo>
                        <a:pt x="123630" y="698825"/>
                        <a:pt x="123443" y="696178"/>
                        <a:pt x="124626" y="694105"/>
                      </a:cubicBezTo>
                      <a:cubicBezTo>
                        <a:pt x="123466" y="694820"/>
                        <a:pt x="122167" y="695511"/>
                        <a:pt x="120913" y="696190"/>
                      </a:cubicBezTo>
                      <a:cubicBezTo>
                        <a:pt x="121077" y="695722"/>
                        <a:pt x="121066" y="694492"/>
                        <a:pt x="120785" y="694082"/>
                      </a:cubicBezTo>
                      <a:cubicBezTo>
                        <a:pt x="124193" y="693555"/>
                        <a:pt x="123595" y="689936"/>
                        <a:pt x="126148" y="688894"/>
                      </a:cubicBezTo>
                      <a:cubicBezTo>
                        <a:pt x="129135" y="687676"/>
                        <a:pt x="131208" y="688870"/>
                        <a:pt x="134405" y="688648"/>
                      </a:cubicBezTo>
                      <a:cubicBezTo>
                        <a:pt x="142392" y="688132"/>
                        <a:pt x="140565" y="687488"/>
                        <a:pt x="146491" y="682382"/>
                      </a:cubicBezTo>
                      <a:cubicBezTo>
                        <a:pt x="149443" y="679841"/>
                        <a:pt x="152195" y="680696"/>
                        <a:pt x="152851" y="676854"/>
                      </a:cubicBezTo>
                      <a:cubicBezTo>
                        <a:pt x="153296" y="674231"/>
                        <a:pt x="148646" y="671947"/>
                        <a:pt x="150321" y="668773"/>
                      </a:cubicBezTo>
                      <a:cubicBezTo>
                        <a:pt x="152499" y="664663"/>
                        <a:pt x="157254" y="668422"/>
                        <a:pt x="160885" y="669300"/>
                      </a:cubicBezTo>
                      <a:cubicBezTo>
                        <a:pt x="163087" y="669839"/>
                        <a:pt x="164679" y="671924"/>
                        <a:pt x="166483" y="671490"/>
                      </a:cubicBezTo>
                      <a:cubicBezTo>
                        <a:pt x="167127" y="671326"/>
                        <a:pt x="170395" y="666396"/>
                        <a:pt x="171788" y="665752"/>
                      </a:cubicBezTo>
                      <a:cubicBezTo>
                        <a:pt x="173147" y="665131"/>
                        <a:pt x="182188" y="663948"/>
                        <a:pt x="184296" y="663831"/>
                      </a:cubicBezTo>
                      <a:cubicBezTo>
                        <a:pt x="190257" y="663527"/>
                        <a:pt x="187400" y="663456"/>
                        <a:pt x="192260" y="667719"/>
                      </a:cubicBezTo>
                      <a:cubicBezTo>
                        <a:pt x="194356" y="669535"/>
                        <a:pt x="196441" y="676280"/>
                        <a:pt x="197975" y="668949"/>
                      </a:cubicBezTo>
                      <a:cubicBezTo>
                        <a:pt x="201910" y="673271"/>
                        <a:pt x="206021" y="673458"/>
                        <a:pt x="210811" y="675789"/>
                      </a:cubicBezTo>
                      <a:cubicBezTo>
                        <a:pt x="210120" y="671725"/>
                        <a:pt x="204709" y="664756"/>
                        <a:pt x="211361" y="664733"/>
                      </a:cubicBezTo>
                      <a:cubicBezTo>
                        <a:pt x="210928" y="660892"/>
                        <a:pt x="208996" y="657811"/>
                        <a:pt x="206091" y="660517"/>
                      </a:cubicBezTo>
                      <a:cubicBezTo>
                        <a:pt x="203491" y="657343"/>
                        <a:pt x="198994" y="654919"/>
                        <a:pt x="196886" y="652354"/>
                      </a:cubicBezTo>
                      <a:cubicBezTo>
                        <a:pt x="193291" y="647962"/>
                        <a:pt x="195469" y="647084"/>
                        <a:pt x="194848" y="641661"/>
                      </a:cubicBezTo>
                      <a:cubicBezTo>
                        <a:pt x="194684" y="640268"/>
                        <a:pt x="190890" y="631367"/>
                        <a:pt x="190632" y="632456"/>
                      </a:cubicBezTo>
                      <a:cubicBezTo>
                        <a:pt x="191909" y="627080"/>
                        <a:pt x="195809" y="630266"/>
                        <a:pt x="198889" y="628498"/>
                      </a:cubicBezTo>
                      <a:cubicBezTo>
                        <a:pt x="204112" y="625476"/>
                        <a:pt x="200060" y="622021"/>
                        <a:pt x="208562" y="624035"/>
                      </a:cubicBezTo>
                      <a:cubicBezTo>
                        <a:pt x="214090" y="625347"/>
                        <a:pt x="215179" y="627607"/>
                        <a:pt x="220555" y="627115"/>
                      </a:cubicBezTo>
                      <a:cubicBezTo>
                        <a:pt x="225462" y="626670"/>
                        <a:pt x="223167" y="628252"/>
                        <a:pt x="223014" y="621810"/>
                      </a:cubicBezTo>
                      <a:cubicBezTo>
                        <a:pt x="222921" y="617840"/>
                        <a:pt x="225720" y="616528"/>
                        <a:pt x="222124" y="612254"/>
                      </a:cubicBezTo>
                      <a:cubicBezTo>
                        <a:pt x="225380" y="612886"/>
                        <a:pt x="232747" y="612839"/>
                        <a:pt x="234468" y="611926"/>
                      </a:cubicBezTo>
                      <a:cubicBezTo>
                        <a:pt x="239996" y="613928"/>
                        <a:pt x="237209" y="609279"/>
                        <a:pt x="240465" y="608190"/>
                      </a:cubicBezTo>
                      <a:cubicBezTo>
                        <a:pt x="243697" y="607101"/>
                        <a:pt x="247492" y="607991"/>
                        <a:pt x="250829" y="606585"/>
                      </a:cubicBezTo>
                      <a:cubicBezTo>
                        <a:pt x="257564" y="603727"/>
                        <a:pt x="260562" y="592508"/>
                        <a:pt x="269310" y="593351"/>
                      </a:cubicBezTo>
                      <a:cubicBezTo>
                        <a:pt x="272226" y="593621"/>
                        <a:pt x="272613" y="597567"/>
                        <a:pt x="275424" y="597181"/>
                      </a:cubicBezTo>
                      <a:cubicBezTo>
                        <a:pt x="276618" y="597017"/>
                        <a:pt x="280354" y="592496"/>
                        <a:pt x="280987" y="591220"/>
                      </a:cubicBezTo>
                      <a:cubicBezTo>
                        <a:pt x="283762" y="585680"/>
                        <a:pt x="283083" y="580105"/>
                        <a:pt x="282228" y="574203"/>
                      </a:cubicBezTo>
                      <a:cubicBezTo>
                        <a:pt x="281455" y="568757"/>
                        <a:pt x="278773" y="564552"/>
                        <a:pt x="278281" y="559376"/>
                      </a:cubicBezTo>
                      <a:cubicBezTo>
                        <a:pt x="277625" y="552454"/>
                        <a:pt x="284477" y="544982"/>
                        <a:pt x="285495" y="537276"/>
                      </a:cubicBezTo>
                      <a:cubicBezTo>
                        <a:pt x="286737" y="527802"/>
                        <a:pt x="279007" y="523667"/>
                        <a:pt x="276841" y="516055"/>
                      </a:cubicBezTo>
                      <a:cubicBezTo>
                        <a:pt x="275681" y="512003"/>
                        <a:pt x="276723" y="508372"/>
                        <a:pt x="275072" y="504589"/>
                      </a:cubicBezTo>
                      <a:cubicBezTo>
                        <a:pt x="274592" y="503489"/>
                        <a:pt x="272250" y="503184"/>
                        <a:pt x="271418" y="499764"/>
                      </a:cubicBezTo>
                      <a:cubicBezTo>
                        <a:pt x="270598" y="496333"/>
                        <a:pt x="271887" y="493534"/>
                        <a:pt x="272718" y="489716"/>
                      </a:cubicBezTo>
                      <a:cubicBezTo>
                        <a:pt x="273210" y="487420"/>
                        <a:pt x="272297" y="485781"/>
                        <a:pt x="273667" y="483052"/>
                      </a:cubicBezTo>
                      <a:cubicBezTo>
                        <a:pt x="274990" y="480382"/>
                        <a:pt x="276243" y="483602"/>
                        <a:pt x="277977" y="480698"/>
                      </a:cubicBezTo>
                      <a:cubicBezTo>
                        <a:pt x="280623" y="476294"/>
                        <a:pt x="280413" y="470931"/>
                        <a:pt x="280951" y="466328"/>
                      </a:cubicBezTo>
                      <a:cubicBezTo>
                        <a:pt x="280987" y="466106"/>
                        <a:pt x="280858" y="460004"/>
                        <a:pt x="280858" y="459957"/>
                      </a:cubicBezTo>
                      <a:cubicBezTo>
                        <a:pt x="280682" y="458797"/>
                        <a:pt x="282755" y="458505"/>
                        <a:pt x="282357" y="456853"/>
                      </a:cubicBezTo>
                      <a:cubicBezTo>
                        <a:pt x="281959" y="455225"/>
                        <a:pt x="277625" y="454804"/>
                        <a:pt x="277414" y="453059"/>
                      </a:cubicBezTo>
                      <a:cubicBezTo>
                        <a:pt x="276829" y="447952"/>
                        <a:pt x="278796" y="451419"/>
                        <a:pt x="281232" y="448690"/>
                      </a:cubicBezTo>
                      <a:cubicBezTo>
                        <a:pt x="282474" y="447285"/>
                        <a:pt x="283446" y="447215"/>
                        <a:pt x="285156" y="445036"/>
                      </a:cubicBezTo>
                      <a:cubicBezTo>
                        <a:pt x="289056" y="440012"/>
                        <a:pt x="288377" y="437857"/>
                        <a:pt x="284324" y="432997"/>
                      </a:cubicBezTo>
                      <a:cubicBezTo>
                        <a:pt x="281994" y="430210"/>
                        <a:pt x="280225" y="426825"/>
                        <a:pt x="277379" y="424846"/>
                      </a:cubicBezTo>
                      <a:cubicBezTo>
                        <a:pt x="276419" y="424166"/>
                        <a:pt x="273515" y="425197"/>
                        <a:pt x="273632" y="425267"/>
                      </a:cubicBezTo>
                      <a:cubicBezTo>
                        <a:pt x="271079" y="423440"/>
                        <a:pt x="268010" y="418545"/>
                        <a:pt x="265961" y="416050"/>
                      </a:cubicBezTo>
                      <a:cubicBezTo>
                        <a:pt x="257306" y="405463"/>
                        <a:pt x="265644" y="408297"/>
                        <a:pt x="272542" y="402617"/>
                      </a:cubicBezTo>
                      <a:cubicBezTo>
                        <a:pt x="274545" y="400966"/>
                        <a:pt x="277590" y="397979"/>
                        <a:pt x="276302" y="395403"/>
                      </a:cubicBezTo>
                      <a:cubicBezTo>
                        <a:pt x="274979" y="392721"/>
                        <a:pt x="272402" y="395707"/>
                        <a:pt x="269298" y="394466"/>
                      </a:cubicBezTo>
                      <a:cubicBezTo>
                        <a:pt x="263548" y="392182"/>
                        <a:pt x="260398" y="385577"/>
                        <a:pt x="256463" y="382145"/>
                      </a:cubicBezTo>
                      <a:cubicBezTo>
                        <a:pt x="254964" y="380857"/>
                        <a:pt x="252270" y="380541"/>
                        <a:pt x="250537" y="379112"/>
                      </a:cubicBezTo>
                      <a:cubicBezTo>
                        <a:pt x="248920" y="377777"/>
                        <a:pt x="247398" y="376325"/>
                        <a:pt x="246192" y="375751"/>
                      </a:cubicBezTo>
                      <a:cubicBezTo>
                        <a:pt x="249576" y="363946"/>
                        <a:pt x="240582" y="377309"/>
                        <a:pt x="236811" y="374381"/>
                      </a:cubicBezTo>
                      <a:cubicBezTo>
                        <a:pt x="234199" y="372343"/>
                        <a:pt x="236331" y="369134"/>
                        <a:pt x="235148" y="367155"/>
                      </a:cubicBezTo>
                      <a:cubicBezTo>
                        <a:pt x="234386" y="365866"/>
                        <a:pt x="231704" y="366276"/>
                        <a:pt x="231107" y="364777"/>
                      </a:cubicBezTo>
                      <a:cubicBezTo>
                        <a:pt x="228624" y="358500"/>
                        <a:pt x="230252" y="351590"/>
                        <a:pt x="228905" y="344950"/>
                      </a:cubicBezTo>
                      <a:cubicBezTo>
                        <a:pt x="221925" y="350278"/>
                        <a:pt x="219794" y="334116"/>
                        <a:pt x="217545" y="331868"/>
                      </a:cubicBezTo>
                      <a:cubicBezTo>
                        <a:pt x="213786" y="328097"/>
                        <a:pt x="215203" y="332348"/>
                        <a:pt x="213107" y="331224"/>
                      </a:cubicBezTo>
                      <a:cubicBezTo>
                        <a:pt x="207110" y="328003"/>
                        <a:pt x="202484" y="322967"/>
                        <a:pt x="198010" y="317755"/>
                      </a:cubicBezTo>
                      <a:cubicBezTo>
                        <a:pt x="191592" y="310260"/>
                        <a:pt x="184519" y="305751"/>
                        <a:pt x="180361" y="296640"/>
                      </a:cubicBezTo>
                      <a:cubicBezTo>
                        <a:pt x="178721" y="293032"/>
                        <a:pt x="178218" y="284541"/>
                        <a:pt x="174248" y="282070"/>
                      </a:cubicBezTo>
                      <a:cubicBezTo>
                        <a:pt x="172514" y="280993"/>
                        <a:pt x="167631" y="281344"/>
                        <a:pt x="169071" y="282211"/>
                      </a:cubicBezTo>
                      <a:cubicBezTo>
                        <a:pt x="166729" y="280817"/>
                        <a:pt x="166155" y="278217"/>
                        <a:pt x="164644" y="277011"/>
                      </a:cubicBezTo>
                      <a:cubicBezTo>
                        <a:pt x="161213" y="274259"/>
                        <a:pt x="154022" y="271741"/>
                        <a:pt x="153694" y="265007"/>
                      </a:cubicBezTo>
                      <a:cubicBezTo>
                        <a:pt x="153542" y="261950"/>
                        <a:pt x="158273" y="257476"/>
                        <a:pt x="158226" y="257277"/>
                      </a:cubicBezTo>
                      <a:cubicBezTo>
                        <a:pt x="157395" y="253026"/>
                        <a:pt x="153272" y="253389"/>
                        <a:pt x="150169" y="251867"/>
                      </a:cubicBezTo>
                      <a:cubicBezTo>
                        <a:pt x="143985" y="248821"/>
                        <a:pt x="136384" y="249325"/>
                        <a:pt x="130154" y="245179"/>
                      </a:cubicBezTo>
                      <a:cubicBezTo>
                        <a:pt x="115760" y="235622"/>
                        <a:pt x="104810" y="226464"/>
                        <a:pt x="89316" y="220444"/>
                      </a:cubicBezTo>
                      <a:cubicBezTo>
                        <a:pt x="92384" y="217845"/>
                        <a:pt x="101730" y="213710"/>
                        <a:pt x="102152" y="209857"/>
                      </a:cubicBezTo>
                      <a:cubicBezTo>
                        <a:pt x="102573" y="206144"/>
                        <a:pt x="95183" y="203872"/>
                        <a:pt x="97280" y="199832"/>
                      </a:cubicBezTo>
                      <a:cubicBezTo>
                        <a:pt x="96179" y="201964"/>
                        <a:pt x="106543" y="199024"/>
                        <a:pt x="107141" y="199001"/>
                      </a:cubicBezTo>
                      <a:cubicBezTo>
                        <a:pt x="111029" y="198907"/>
                        <a:pt x="114847" y="199575"/>
                        <a:pt x="118161" y="200710"/>
                      </a:cubicBezTo>
                      <a:cubicBezTo>
                        <a:pt x="122108" y="202057"/>
                        <a:pt x="123513" y="204950"/>
                        <a:pt x="127893" y="203346"/>
                      </a:cubicBezTo>
                      <a:cubicBezTo>
                        <a:pt x="129100" y="202901"/>
                        <a:pt x="144735" y="190861"/>
                        <a:pt x="136642" y="189737"/>
                      </a:cubicBezTo>
                      <a:cubicBezTo>
                        <a:pt x="139347" y="185860"/>
                        <a:pt x="145953" y="184139"/>
                        <a:pt x="146784" y="181023"/>
                      </a:cubicBezTo>
                      <a:cubicBezTo>
                        <a:pt x="147709" y="177545"/>
                        <a:pt x="144231" y="171935"/>
                        <a:pt x="139968" y="170518"/>
                      </a:cubicBezTo>
                      <a:cubicBezTo>
                        <a:pt x="136431" y="169347"/>
                        <a:pt x="134311" y="173376"/>
                        <a:pt x="131301" y="170260"/>
                      </a:cubicBezTo>
                      <a:cubicBezTo>
                        <a:pt x="129662" y="168551"/>
                        <a:pt x="133339" y="166571"/>
                        <a:pt x="133152" y="166173"/>
                      </a:cubicBezTo>
                      <a:cubicBezTo>
                        <a:pt x="129556" y="158139"/>
                        <a:pt x="122354" y="162800"/>
                        <a:pt x="115983" y="158631"/>
                      </a:cubicBezTo>
                      <a:cubicBezTo>
                        <a:pt x="117248" y="157085"/>
                        <a:pt x="118958" y="154942"/>
                        <a:pt x="120445" y="153478"/>
                      </a:cubicBezTo>
                      <a:cubicBezTo>
                        <a:pt x="123174" y="155094"/>
                        <a:pt x="124333" y="154707"/>
                        <a:pt x="126406" y="152248"/>
                      </a:cubicBezTo>
                      <a:cubicBezTo>
                        <a:pt x="131384" y="146334"/>
                        <a:pt x="128046" y="147950"/>
                        <a:pt x="123584" y="144683"/>
                      </a:cubicBezTo>
                      <a:cubicBezTo>
                        <a:pt x="120012" y="142071"/>
                        <a:pt x="117482" y="139108"/>
                        <a:pt x="113676" y="136356"/>
                      </a:cubicBezTo>
                      <a:cubicBezTo>
                        <a:pt x="105560" y="130488"/>
                        <a:pt x="99516" y="129739"/>
                        <a:pt x="89421" y="135501"/>
                      </a:cubicBezTo>
                      <a:cubicBezTo>
                        <a:pt x="85135" y="137960"/>
                        <a:pt x="85451" y="139694"/>
                        <a:pt x="82746" y="143020"/>
                      </a:cubicBezTo>
                      <a:cubicBezTo>
                        <a:pt x="78974" y="147634"/>
                        <a:pt x="82605" y="146287"/>
                        <a:pt x="75976" y="143113"/>
                      </a:cubicBezTo>
                      <a:cubicBezTo>
                        <a:pt x="74278" y="142305"/>
                        <a:pt x="71655" y="141567"/>
                        <a:pt x="69898" y="140970"/>
                      </a:cubicBezTo>
                      <a:cubicBezTo>
                        <a:pt x="68727" y="140572"/>
                        <a:pt x="68914" y="138370"/>
                        <a:pt x="67298" y="137901"/>
                      </a:cubicBezTo>
                      <a:cubicBezTo>
                        <a:pt x="66970" y="137808"/>
                        <a:pt x="66092" y="139529"/>
                        <a:pt x="65459" y="139319"/>
                      </a:cubicBezTo>
                      <a:cubicBezTo>
                        <a:pt x="62122" y="138171"/>
                        <a:pt x="56886" y="138663"/>
                        <a:pt x="53666" y="136648"/>
                      </a:cubicBezTo>
                      <a:cubicBezTo>
                        <a:pt x="47377" y="132713"/>
                        <a:pt x="40877" y="113788"/>
                        <a:pt x="34705" y="114244"/>
                      </a:cubicBezTo>
                      <a:cubicBezTo>
                        <a:pt x="39460" y="112066"/>
                        <a:pt x="38101" y="107686"/>
                        <a:pt x="40795" y="103587"/>
                      </a:cubicBezTo>
                      <a:cubicBezTo>
                        <a:pt x="39729" y="104067"/>
                        <a:pt x="38452" y="104184"/>
                        <a:pt x="37235" y="104933"/>
                      </a:cubicBezTo>
                      <a:cubicBezTo>
                        <a:pt x="40268" y="99546"/>
                        <a:pt x="43980" y="98645"/>
                        <a:pt x="43043" y="92672"/>
                      </a:cubicBezTo>
                      <a:cubicBezTo>
                        <a:pt x="41638" y="83666"/>
                        <a:pt x="40971" y="93269"/>
                        <a:pt x="37996" y="89627"/>
                      </a:cubicBezTo>
                      <a:cubicBezTo>
                        <a:pt x="36555" y="87858"/>
                        <a:pt x="36309" y="85083"/>
                        <a:pt x="34974" y="82494"/>
                      </a:cubicBezTo>
                      <a:cubicBezTo>
                        <a:pt x="34166" y="85165"/>
                        <a:pt x="33639" y="94042"/>
                        <a:pt x="27877" y="92180"/>
                      </a:cubicBezTo>
                      <a:cubicBezTo>
                        <a:pt x="24235" y="91009"/>
                        <a:pt x="26671" y="85165"/>
                        <a:pt x="25090" y="81920"/>
                      </a:cubicBezTo>
                      <a:cubicBezTo>
                        <a:pt x="23591" y="78828"/>
                        <a:pt x="19187" y="74858"/>
                        <a:pt x="17618" y="73031"/>
                      </a:cubicBezTo>
                      <a:cubicBezTo>
                        <a:pt x="16247" y="71439"/>
                        <a:pt x="13893" y="68148"/>
                        <a:pt x="11539" y="66122"/>
                      </a:cubicBezTo>
                      <a:cubicBezTo>
                        <a:pt x="6656" y="61906"/>
                        <a:pt x="-2315" y="56881"/>
                        <a:pt x="554" y="50487"/>
                      </a:cubicBezTo>
                      <a:cubicBezTo>
                        <a:pt x="1034" y="49397"/>
                        <a:pt x="3822" y="51435"/>
                        <a:pt x="4641" y="50592"/>
                      </a:cubicBezTo>
                      <a:cubicBezTo>
                        <a:pt x="5883" y="49281"/>
                        <a:pt x="5461" y="47102"/>
                        <a:pt x="6831" y="45638"/>
                      </a:cubicBezTo>
                      <a:cubicBezTo>
                        <a:pt x="11083" y="41070"/>
                        <a:pt x="11294" y="38318"/>
                        <a:pt x="12652" y="36386"/>
                      </a:cubicBezTo>
                      <a:cubicBezTo>
                        <a:pt x="15334" y="32627"/>
                        <a:pt x="15111" y="32416"/>
                        <a:pt x="19234" y="32264"/>
                      </a:cubicBezTo>
                      <a:cubicBezTo>
                        <a:pt x="18285" y="32299"/>
                        <a:pt x="24445" y="35086"/>
                        <a:pt x="24153" y="34934"/>
                      </a:cubicBezTo>
                      <a:cubicBezTo>
                        <a:pt x="27807" y="36890"/>
                        <a:pt x="33639" y="38213"/>
                        <a:pt x="36672" y="41059"/>
                      </a:cubicBezTo>
                      <a:cubicBezTo>
                        <a:pt x="39507" y="43729"/>
                        <a:pt x="40432" y="50440"/>
                        <a:pt x="46030" y="49995"/>
                      </a:cubicBezTo>
                      <a:cubicBezTo>
                        <a:pt x="47529" y="49878"/>
                        <a:pt x="51604" y="42125"/>
                        <a:pt x="51851" y="41879"/>
                      </a:cubicBezTo>
                      <a:cubicBezTo>
                        <a:pt x="52682" y="41082"/>
                        <a:pt x="61513" y="30191"/>
                        <a:pt x="61583" y="30179"/>
                      </a:cubicBezTo>
                      <a:cubicBezTo>
                        <a:pt x="66209" y="29301"/>
                        <a:pt x="65623" y="37077"/>
                        <a:pt x="67930" y="38881"/>
                      </a:cubicBezTo>
                      <a:cubicBezTo>
                        <a:pt x="74407" y="43940"/>
                        <a:pt x="71350" y="38318"/>
                        <a:pt x="74161" y="34501"/>
                      </a:cubicBezTo>
                      <a:cubicBezTo>
                        <a:pt x="83038" y="22426"/>
                        <a:pt x="85392" y="44010"/>
                        <a:pt x="93719" y="44690"/>
                      </a:cubicBezTo>
                      <a:cubicBezTo>
                        <a:pt x="98943" y="45111"/>
                        <a:pt x="95652" y="38881"/>
                        <a:pt x="98345" y="34501"/>
                      </a:cubicBezTo>
                      <a:cubicBezTo>
                        <a:pt x="101226" y="29781"/>
                        <a:pt x="104388" y="29265"/>
                        <a:pt x="109811" y="28352"/>
                      </a:cubicBezTo>
                      <a:cubicBezTo>
                        <a:pt x="108171" y="31854"/>
                        <a:pt x="110396" y="34946"/>
                        <a:pt x="114191" y="35590"/>
                      </a:cubicBezTo>
                      <a:cubicBezTo>
                        <a:pt x="118185" y="36257"/>
                        <a:pt x="123385" y="30366"/>
                        <a:pt x="126102" y="27708"/>
                      </a:cubicBezTo>
                      <a:cubicBezTo>
                        <a:pt x="129357" y="30729"/>
                        <a:pt x="134546" y="28609"/>
                        <a:pt x="137614" y="24405"/>
                      </a:cubicBezTo>
                      <a:cubicBezTo>
                        <a:pt x="140858" y="19966"/>
                        <a:pt x="137509" y="18292"/>
                        <a:pt x="139558" y="13420"/>
                      </a:cubicBezTo>
                      <a:cubicBezTo>
                        <a:pt x="140319" y="11604"/>
                        <a:pt x="144254" y="10328"/>
                        <a:pt x="144922" y="9941"/>
                      </a:cubicBezTo>
                      <a:cubicBezTo>
                        <a:pt x="148283" y="7974"/>
                        <a:pt x="155732" y="6229"/>
                        <a:pt x="158601" y="4531"/>
                      </a:cubicBezTo>
                      <a:cubicBezTo>
                        <a:pt x="164469" y="982"/>
                        <a:pt x="163005" y="-3070"/>
                        <a:pt x="169703" y="3500"/>
                      </a:cubicBezTo>
                      <a:lnTo>
                        <a:pt x="169703" y="3500"/>
                      </a:lnTo>
                      <a:close/>
                    </a:path>
                  </a:pathLst>
                </a:custGeom>
                <a:solidFill>
                  <a:srgbClr val="D6D6D2"/>
                </a:solidFill>
                <a:ln w="8774" cap="rnd">
                  <a:solidFill>
                    <a:srgbClr val="FFFFFF"/>
                  </a:solidFill>
                  <a:prstDash val="solid"/>
                  <a:round/>
                </a:ln>
              </p:spPr>
              <p:txBody>
                <a:bodyPr rtlCol="0" anchor="ctr"/>
                <a:lstStyle/>
                <a:p>
                  <a:endParaRPr lang="en-US"/>
                </a:p>
              </p:txBody>
            </p:sp>
            <p:sp>
              <p:nvSpPr>
                <p:cNvPr id="99" name="Freeform: Shape 98">
                  <a:extLst>
                    <a:ext uri="{FF2B5EF4-FFF2-40B4-BE49-F238E27FC236}">
                      <a16:creationId xmlns:a16="http://schemas.microsoft.com/office/drawing/2014/main" id="{85B12D50-4182-4485-A391-A881D4DF92F5}"/>
                    </a:ext>
                  </a:extLst>
                </p:cNvPr>
                <p:cNvSpPr/>
                <p:nvPr/>
              </p:nvSpPr>
              <p:spPr>
                <a:xfrm>
                  <a:off x="38533" y="3525417"/>
                  <a:ext cx="894622" cy="521687"/>
                </a:xfrm>
                <a:custGeom>
                  <a:avLst/>
                  <a:gdLst>
                    <a:gd name="connsiteX0" fmla="*/ 121891 w 894622"/>
                    <a:gd name="connsiteY0" fmla="*/ 72960 h 521687"/>
                    <a:gd name="connsiteX1" fmla="*/ 139517 w 894622"/>
                    <a:gd name="connsiteY1" fmla="*/ 54573 h 521687"/>
                    <a:gd name="connsiteX2" fmla="*/ 140313 w 894622"/>
                    <a:gd name="connsiteY2" fmla="*/ 56084 h 521687"/>
                    <a:gd name="connsiteX3" fmla="*/ 140173 w 894622"/>
                    <a:gd name="connsiteY3" fmla="*/ 50579 h 521687"/>
                    <a:gd name="connsiteX4" fmla="*/ 146450 w 894622"/>
                    <a:gd name="connsiteY4" fmla="*/ 52652 h 521687"/>
                    <a:gd name="connsiteX5" fmla="*/ 145420 w 894622"/>
                    <a:gd name="connsiteY5" fmla="*/ 46340 h 521687"/>
                    <a:gd name="connsiteX6" fmla="*/ 144447 w 894622"/>
                    <a:gd name="connsiteY6" fmla="*/ 41304 h 521687"/>
                    <a:gd name="connsiteX7" fmla="*/ 146907 w 894622"/>
                    <a:gd name="connsiteY7" fmla="*/ 39536 h 521687"/>
                    <a:gd name="connsiteX8" fmla="*/ 141274 w 894622"/>
                    <a:gd name="connsiteY8" fmla="*/ 37064 h 521687"/>
                    <a:gd name="connsiteX9" fmla="*/ 148207 w 894622"/>
                    <a:gd name="connsiteY9" fmla="*/ 24018 h 521687"/>
                    <a:gd name="connsiteX10" fmla="*/ 144752 w 894622"/>
                    <a:gd name="connsiteY10" fmla="*/ 5642 h 521687"/>
                    <a:gd name="connsiteX11" fmla="*/ 168889 w 894622"/>
                    <a:gd name="connsiteY11" fmla="*/ 19872 h 521687"/>
                    <a:gd name="connsiteX12" fmla="*/ 177837 w 894622"/>
                    <a:gd name="connsiteY12" fmla="*/ 34090 h 521687"/>
                    <a:gd name="connsiteX13" fmla="*/ 177263 w 894622"/>
                    <a:gd name="connsiteY13" fmla="*/ 66062 h 521687"/>
                    <a:gd name="connsiteX14" fmla="*/ 191212 w 894622"/>
                    <a:gd name="connsiteY14" fmla="*/ 81603 h 521687"/>
                    <a:gd name="connsiteX15" fmla="*/ 192383 w 894622"/>
                    <a:gd name="connsiteY15" fmla="*/ 90762 h 521687"/>
                    <a:gd name="connsiteX16" fmla="*/ 207280 w 894622"/>
                    <a:gd name="connsiteY16" fmla="*/ 83934 h 521687"/>
                    <a:gd name="connsiteX17" fmla="*/ 204387 w 894622"/>
                    <a:gd name="connsiteY17" fmla="*/ 80233 h 521687"/>
                    <a:gd name="connsiteX18" fmla="*/ 209540 w 894622"/>
                    <a:gd name="connsiteY18" fmla="*/ 78851 h 521687"/>
                    <a:gd name="connsiteX19" fmla="*/ 209400 w 894622"/>
                    <a:gd name="connsiteY19" fmla="*/ 60640 h 521687"/>
                    <a:gd name="connsiteX20" fmla="*/ 213335 w 894622"/>
                    <a:gd name="connsiteY20" fmla="*/ 45989 h 521687"/>
                    <a:gd name="connsiteX21" fmla="*/ 248622 w 894622"/>
                    <a:gd name="connsiteY21" fmla="*/ 66636 h 521687"/>
                    <a:gd name="connsiteX22" fmla="*/ 264385 w 894622"/>
                    <a:gd name="connsiteY22" fmla="*/ 75853 h 521687"/>
                    <a:gd name="connsiteX23" fmla="*/ 269433 w 894622"/>
                    <a:gd name="connsiteY23" fmla="*/ 87436 h 521687"/>
                    <a:gd name="connsiteX24" fmla="*/ 301241 w 894622"/>
                    <a:gd name="connsiteY24" fmla="*/ 119677 h 521687"/>
                    <a:gd name="connsiteX25" fmla="*/ 325953 w 894622"/>
                    <a:gd name="connsiteY25" fmla="*/ 131776 h 521687"/>
                    <a:gd name="connsiteX26" fmla="*/ 397592 w 894622"/>
                    <a:gd name="connsiteY26" fmla="*/ 125685 h 521687"/>
                    <a:gd name="connsiteX27" fmla="*/ 438383 w 894622"/>
                    <a:gd name="connsiteY27" fmla="*/ 128965 h 521687"/>
                    <a:gd name="connsiteX28" fmla="*/ 467990 w 894622"/>
                    <a:gd name="connsiteY28" fmla="*/ 118916 h 521687"/>
                    <a:gd name="connsiteX29" fmla="*/ 482723 w 894622"/>
                    <a:gd name="connsiteY29" fmla="*/ 135008 h 521687"/>
                    <a:gd name="connsiteX30" fmla="*/ 498592 w 894622"/>
                    <a:gd name="connsiteY30" fmla="*/ 145888 h 521687"/>
                    <a:gd name="connsiteX31" fmla="*/ 509812 w 894622"/>
                    <a:gd name="connsiteY31" fmla="*/ 166453 h 521687"/>
                    <a:gd name="connsiteX32" fmla="*/ 528597 w 894622"/>
                    <a:gd name="connsiteY32" fmla="*/ 164486 h 521687"/>
                    <a:gd name="connsiteX33" fmla="*/ 523995 w 894622"/>
                    <a:gd name="connsiteY33" fmla="*/ 202876 h 521687"/>
                    <a:gd name="connsiteX34" fmla="*/ 523749 w 894622"/>
                    <a:gd name="connsiteY34" fmla="*/ 226569 h 521687"/>
                    <a:gd name="connsiteX35" fmla="*/ 548191 w 894622"/>
                    <a:gd name="connsiteY35" fmla="*/ 226990 h 521687"/>
                    <a:gd name="connsiteX36" fmla="*/ 556482 w 894622"/>
                    <a:gd name="connsiteY36" fmla="*/ 265498 h 521687"/>
                    <a:gd name="connsiteX37" fmla="*/ 563708 w 894622"/>
                    <a:gd name="connsiteY37" fmla="*/ 279821 h 521687"/>
                    <a:gd name="connsiteX38" fmla="*/ 588713 w 894622"/>
                    <a:gd name="connsiteY38" fmla="*/ 279095 h 521687"/>
                    <a:gd name="connsiteX39" fmla="*/ 614513 w 894622"/>
                    <a:gd name="connsiteY39" fmla="*/ 277678 h 521687"/>
                    <a:gd name="connsiteX40" fmla="*/ 624374 w 894622"/>
                    <a:gd name="connsiteY40" fmla="*/ 276670 h 521687"/>
                    <a:gd name="connsiteX41" fmla="*/ 629422 w 894622"/>
                    <a:gd name="connsiteY41" fmla="*/ 286461 h 521687"/>
                    <a:gd name="connsiteX42" fmla="*/ 631916 w 894622"/>
                    <a:gd name="connsiteY42" fmla="*/ 286461 h 521687"/>
                    <a:gd name="connsiteX43" fmla="*/ 633767 w 894622"/>
                    <a:gd name="connsiteY43" fmla="*/ 284974 h 521687"/>
                    <a:gd name="connsiteX44" fmla="*/ 634493 w 894622"/>
                    <a:gd name="connsiteY44" fmla="*/ 287281 h 521687"/>
                    <a:gd name="connsiteX45" fmla="*/ 632842 w 894622"/>
                    <a:gd name="connsiteY45" fmla="*/ 288265 h 521687"/>
                    <a:gd name="connsiteX46" fmla="*/ 627162 w 894622"/>
                    <a:gd name="connsiteY46" fmla="*/ 300820 h 521687"/>
                    <a:gd name="connsiteX47" fmla="*/ 650760 w 894622"/>
                    <a:gd name="connsiteY47" fmla="*/ 314370 h 521687"/>
                    <a:gd name="connsiteX48" fmla="*/ 659392 w 894622"/>
                    <a:gd name="connsiteY48" fmla="*/ 313480 h 521687"/>
                    <a:gd name="connsiteX49" fmla="*/ 657764 w 894622"/>
                    <a:gd name="connsiteY49" fmla="*/ 306254 h 521687"/>
                    <a:gd name="connsiteX50" fmla="*/ 657424 w 894622"/>
                    <a:gd name="connsiteY50" fmla="*/ 294472 h 521687"/>
                    <a:gd name="connsiteX51" fmla="*/ 668913 w 894622"/>
                    <a:gd name="connsiteY51" fmla="*/ 283323 h 521687"/>
                    <a:gd name="connsiteX52" fmla="*/ 682042 w 894622"/>
                    <a:gd name="connsiteY52" fmla="*/ 273930 h 521687"/>
                    <a:gd name="connsiteX53" fmla="*/ 685016 w 894622"/>
                    <a:gd name="connsiteY53" fmla="*/ 264327 h 521687"/>
                    <a:gd name="connsiteX54" fmla="*/ 697852 w 894622"/>
                    <a:gd name="connsiteY54" fmla="*/ 259513 h 521687"/>
                    <a:gd name="connsiteX55" fmla="*/ 710758 w 894622"/>
                    <a:gd name="connsiteY55" fmla="*/ 248914 h 521687"/>
                    <a:gd name="connsiteX56" fmla="*/ 731230 w 894622"/>
                    <a:gd name="connsiteY56" fmla="*/ 241278 h 521687"/>
                    <a:gd name="connsiteX57" fmla="*/ 746912 w 894622"/>
                    <a:gd name="connsiteY57" fmla="*/ 227716 h 521687"/>
                    <a:gd name="connsiteX58" fmla="*/ 753178 w 894622"/>
                    <a:gd name="connsiteY58" fmla="*/ 221884 h 521687"/>
                    <a:gd name="connsiteX59" fmla="*/ 759455 w 894622"/>
                    <a:gd name="connsiteY59" fmla="*/ 224835 h 521687"/>
                    <a:gd name="connsiteX60" fmla="*/ 771530 w 894622"/>
                    <a:gd name="connsiteY60" fmla="*/ 214354 h 521687"/>
                    <a:gd name="connsiteX61" fmla="*/ 781988 w 894622"/>
                    <a:gd name="connsiteY61" fmla="*/ 210711 h 521687"/>
                    <a:gd name="connsiteX62" fmla="*/ 797342 w 894622"/>
                    <a:gd name="connsiteY62" fmla="*/ 214365 h 521687"/>
                    <a:gd name="connsiteX63" fmla="*/ 778217 w 894622"/>
                    <a:gd name="connsiteY63" fmla="*/ 224367 h 521687"/>
                    <a:gd name="connsiteX64" fmla="*/ 774469 w 894622"/>
                    <a:gd name="connsiteY64" fmla="*/ 231757 h 521687"/>
                    <a:gd name="connsiteX65" fmla="*/ 764467 w 894622"/>
                    <a:gd name="connsiteY65" fmla="*/ 234837 h 521687"/>
                    <a:gd name="connsiteX66" fmla="*/ 755660 w 894622"/>
                    <a:gd name="connsiteY66" fmla="*/ 244756 h 521687"/>
                    <a:gd name="connsiteX67" fmla="*/ 746315 w 894622"/>
                    <a:gd name="connsiteY67" fmla="*/ 250167 h 521687"/>
                    <a:gd name="connsiteX68" fmla="*/ 750015 w 894622"/>
                    <a:gd name="connsiteY68" fmla="*/ 258412 h 521687"/>
                    <a:gd name="connsiteX69" fmla="*/ 754817 w 894622"/>
                    <a:gd name="connsiteY69" fmla="*/ 263226 h 521687"/>
                    <a:gd name="connsiteX70" fmla="*/ 764022 w 894622"/>
                    <a:gd name="connsiteY70" fmla="*/ 260520 h 521687"/>
                    <a:gd name="connsiteX71" fmla="*/ 771401 w 894622"/>
                    <a:gd name="connsiteY71" fmla="*/ 272337 h 521687"/>
                    <a:gd name="connsiteX72" fmla="*/ 793547 w 894622"/>
                    <a:gd name="connsiteY72" fmla="*/ 282362 h 521687"/>
                    <a:gd name="connsiteX73" fmla="*/ 799251 w 894622"/>
                    <a:gd name="connsiteY73" fmla="*/ 282011 h 521687"/>
                    <a:gd name="connsiteX74" fmla="*/ 805259 w 894622"/>
                    <a:gd name="connsiteY74" fmla="*/ 281624 h 521687"/>
                    <a:gd name="connsiteX75" fmla="*/ 805985 w 894622"/>
                    <a:gd name="connsiteY75" fmla="*/ 267477 h 521687"/>
                    <a:gd name="connsiteX76" fmla="*/ 815120 w 894622"/>
                    <a:gd name="connsiteY76" fmla="*/ 268121 h 521687"/>
                    <a:gd name="connsiteX77" fmla="*/ 815729 w 894622"/>
                    <a:gd name="connsiteY77" fmla="*/ 259408 h 521687"/>
                    <a:gd name="connsiteX78" fmla="*/ 819184 w 894622"/>
                    <a:gd name="connsiteY78" fmla="*/ 262605 h 521687"/>
                    <a:gd name="connsiteX79" fmla="*/ 820449 w 894622"/>
                    <a:gd name="connsiteY79" fmla="*/ 261235 h 521687"/>
                    <a:gd name="connsiteX80" fmla="*/ 821772 w 894622"/>
                    <a:gd name="connsiteY80" fmla="*/ 262652 h 521687"/>
                    <a:gd name="connsiteX81" fmla="*/ 822568 w 894622"/>
                    <a:gd name="connsiteY81" fmla="*/ 260743 h 521687"/>
                    <a:gd name="connsiteX82" fmla="*/ 829314 w 894622"/>
                    <a:gd name="connsiteY82" fmla="*/ 274363 h 521687"/>
                    <a:gd name="connsiteX83" fmla="*/ 838437 w 894622"/>
                    <a:gd name="connsiteY83" fmla="*/ 279130 h 521687"/>
                    <a:gd name="connsiteX84" fmla="*/ 845136 w 894622"/>
                    <a:gd name="connsiteY84" fmla="*/ 278591 h 521687"/>
                    <a:gd name="connsiteX85" fmla="*/ 844891 w 894622"/>
                    <a:gd name="connsiteY85" fmla="*/ 289108 h 521687"/>
                    <a:gd name="connsiteX86" fmla="*/ 853604 w 894622"/>
                    <a:gd name="connsiteY86" fmla="*/ 284541 h 521687"/>
                    <a:gd name="connsiteX87" fmla="*/ 861579 w 894622"/>
                    <a:gd name="connsiteY87" fmla="*/ 289096 h 521687"/>
                    <a:gd name="connsiteX88" fmla="*/ 869614 w 894622"/>
                    <a:gd name="connsiteY88" fmla="*/ 296908 h 521687"/>
                    <a:gd name="connsiteX89" fmla="*/ 881676 w 894622"/>
                    <a:gd name="connsiteY89" fmla="*/ 300339 h 521687"/>
                    <a:gd name="connsiteX90" fmla="*/ 888504 w 894622"/>
                    <a:gd name="connsiteY90" fmla="*/ 305001 h 521687"/>
                    <a:gd name="connsiteX91" fmla="*/ 878995 w 894622"/>
                    <a:gd name="connsiteY91" fmla="*/ 308830 h 521687"/>
                    <a:gd name="connsiteX92" fmla="*/ 875481 w 894622"/>
                    <a:gd name="connsiteY92" fmla="*/ 314358 h 521687"/>
                    <a:gd name="connsiteX93" fmla="*/ 868899 w 894622"/>
                    <a:gd name="connsiteY93" fmla="*/ 319382 h 521687"/>
                    <a:gd name="connsiteX94" fmla="*/ 855244 w 894622"/>
                    <a:gd name="connsiteY94" fmla="*/ 319277 h 521687"/>
                    <a:gd name="connsiteX95" fmla="*/ 857902 w 894622"/>
                    <a:gd name="connsiteY95" fmla="*/ 325554 h 521687"/>
                    <a:gd name="connsiteX96" fmla="*/ 847327 w 894622"/>
                    <a:gd name="connsiteY96" fmla="*/ 324629 h 521687"/>
                    <a:gd name="connsiteX97" fmla="*/ 850044 w 894622"/>
                    <a:gd name="connsiteY97" fmla="*/ 322966 h 521687"/>
                    <a:gd name="connsiteX98" fmla="*/ 837606 w 894622"/>
                    <a:gd name="connsiteY98" fmla="*/ 335404 h 521687"/>
                    <a:gd name="connsiteX99" fmla="*/ 832230 w 894622"/>
                    <a:gd name="connsiteY99" fmla="*/ 335896 h 521687"/>
                    <a:gd name="connsiteX100" fmla="*/ 828225 w 894622"/>
                    <a:gd name="connsiteY100" fmla="*/ 335486 h 521687"/>
                    <a:gd name="connsiteX101" fmla="*/ 825157 w 894622"/>
                    <a:gd name="connsiteY101" fmla="*/ 338929 h 521687"/>
                    <a:gd name="connsiteX102" fmla="*/ 816900 w 894622"/>
                    <a:gd name="connsiteY102" fmla="*/ 334900 h 521687"/>
                    <a:gd name="connsiteX103" fmla="*/ 799625 w 894622"/>
                    <a:gd name="connsiteY103" fmla="*/ 332745 h 521687"/>
                    <a:gd name="connsiteX104" fmla="*/ 796217 w 894622"/>
                    <a:gd name="connsiteY104" fmla="*/ 331633 h 521687"/>
                    <a:gd name="connsiteX105" fmla="*/ 792950 w 894622"/>
                    <a:gd name="connsiteY105" fmla="*/ 334725 h 521687"/>
                    <a:gd name="connsiteX106" fmla="*/ 772642 w 894622"/>
                    <a:gd name="connsiteY106" fmla="*/ 337453 h 521687"/>
                    <a:gd name="connsiteX107" fmla="*/ 764432 w 894622"/>
                    <a:gd name="connsiteY107" fmla="*/ 338531 h 521687"/>
                    <a:gd name="connsiteX108" fmla="*/ 760345 w 894622"/>
                    <a:gd name="connsiteY108" fmla="*/ 331223 h 521687"/>
                    <a:gd name="connsiteX109" fmla="*/ 751854 w 894622"/>
                    <a:gd name="connsiteY109" fmla="*/ 326737 h 521687"/>
                    <a:gd name="connsiteX110" fmla="*/ 762781 w 894622"/>
                    <a:gd name="connsiteY110" fmla="*/ 314639 h 521687"/>
                    <a:gd name="connsiteX111" fmla="*/ 771740 w 894622"/>
                    <a:gd name="connsiteY111" fmla="*/ 306359 h 521687"/>
                    <a:gd name="connsiteX112" fmla="*/ 768648 w 894622"/>
                    <a:gd name="connsiteY112" fmla="*/ 302131 h 521687"/>
                    <a:gd name="connsiteX113" fmla="*/ 756843 w 894622"/>
                    <a:gd name="connsiteY113" fmla="*/ 289073 h 521687"/>
                    <a:gd name="connsiteX114" fmla="*/ 744687 w 894622"/>
                    <a:gd name="connsiteY114" fmla="*/ 297669 h 521687"/>
                    <a:gd name="connsiteX115" fmla="*/ 721674 w 894622"/>
                    <a:gd name="connsiteY115" fmla="*/ 307308 h 521687"/>
                    <a:gd name="connsiteX116" fmla="*/ 712070 w 894622"/>
                    <a:gd name="connsiteY116" fmla="*/ 308784 h 521687"/>
                    <a:gd name="connsiteX117" fmla="*/ 701577 w 894622"/>
                    <a:gd name="connsiteY117" fmla="*/ 301183 h 521687"/>
                    <a:gd name="connsiteX118" fmla="*/ 696131 w 894622"/>
                    <a:gd name="connsiteY118" fmla="*/ 313246 h 521687"/>
                    <a:gd name="connsiteX119" fmla="*/ 690123 w 894622"/>
                    <a:gd name="connsiteY119" fmla="*/ 316525 h 521687"/>
                    <a:gd name="connsiteX120" fmla="*/ 693847 w 894622"/>
                    <a:gd name="connsiteY120" fmla="*/ 324957 h 521687"/>
                    <a:gd name="connsiteX121" fmla="*/ 690650 w 894622"/>
                    <a:gd name="connsiteY121" fmla="*/ 332452 h 521687"/>
                    <a:gd name="connsiteX122" fmla="*/ 680777 w 894622"/>
                    <a:gd name="connsiteY122" fmla="*/ 336540 h 521687"/>
                    <a:gd name="connsiteX123" fmla="*/ 657928 w 894622"/>
                    <a:gd name="connsiteY123" fmla="*/ 340721 h 521687"/>
                    <a:gd name="connsiteX124" fmla="*/ 678763 w 894622"/>
                    <a:gd name="connsiteY124" fmla="*/ 343813 h 521687"/>
                    <a:gd name="connsiteX125" fmla="*/ 668035 w 894622"/>
                    <a:gd name="connsiteY125" fmla="*/ 345909 h 521687"/>
                    <a:gd name="connsiteX126" fmla="*/ 672673 w 894622"/>
                    <a:gd name="connsiteY126" fmla="*/ 356040 h 521687"/>
                    <a:gd name="connsiteX127" fmla="*/ 667215 w 894622"/>
                    <a:gd name="connsiteY127" fmla="*/ 352023 h 521687"/>
                    <a:gd name="connsiteX128" fmla="*/ 666325 w 894622"/>
                    <a:gd name="connsiteY128" fmla="*/ 361919 h 521687"/>
                    <a:gd name="connsiteX129" fmla="*/ 654203 w 894622"/>
                    <a:gd name="connsiteY129" fmla="*/ 377741 h 521687"/>
                    <a:gd name="connsiteX130" fmla="*/ 615626 w 894622"/>
                    <a:gd name="connsiteY130" fmla="*/ 374075 h 521687"/>
                    <a:gd name="connsiteX131" fmla="*/ 596770 w 894622"/>
                    <a:gd name="connsiteY131" fmla="*/ 387789 h 521687"/>
                    <a:gd name="connsiteX132" fmla="*/ 593339 w 894622"/>
                    <a:gd name="connsiteY132" fmla="*/ 396245 h 521687"/>
                    <a:gd name="connsiteX133" fmla="*/ 607767 w 894622"/>
                    <a:gd name="connsiteY133" fmla="*/ 402839 h 521687"/>
                    <a:gd name="connsiteX134" fmla="*/ 610391 w 894622"/>
                    <a:gd name="connsiteY134" fmla="*/ 411025 h 521687"/>
                    <a:gd name="connsiteX135" fmla="*/ 622535 w 894622"/>
                    <a:gd name="connsiteY135" fmla="*/ 412758 h 521687"/>
                    <a:gd name="connsiteX136" fmla="*/ 636296 w 894622"/>
                    <a:gd name="connsiteY136" fmla="*/ 419212 h 521687"/>
                    <a:gd name="connsiteX137" fmla="*/ 631038 w 894622"/>
                    <a:gd name="connsiteY137" fmla="*/ 425337 h 521687"/>
                    <a:gd name="connsiteX138" fmla="*/ 630089 w 894622"/>
                    <a:gd name="connsiteY138" fmla="*/ 433078 h 521687"/>
                    <a:gd name="connsiteX139" fmla="*/ 632596 w 894622"/>
                    <a:gd name="connsiteY139" fmla="*/ 445715 h 521687"/>
                    <a:gd name="connsiteX140" fmla="*/ 644963 w 894622"/>
                    <a:gd name="connsiteY140" fmla="*/ 458094 h 521687"/>
                    <a:gd name="connsiteX141" fmla="*/ 633732 w 894622"/>
                    <a:gd name="connsiteY141" fmla="*/ 479104 h 521687"/>
                    <a:gd name="connsiteX142" fmla="*/ 626459 w 894622"/>
                    <a:gd name="connsiteY142" fmla="*/ 492139 h 521687"/>
                    <a:gd name="connsiteX143" fmla="*/ 618015 w 894622"/>
                    <a:gd name="connsiteY143" fmla="*/ 503125 h 521687"/>
                    <a:gd name="connsiteX144" fmla="*/ 616188 w 894622"/>
                    <a:gd name="connsiteY144" fmla="*/ 521688 h 521687"/>
                    <a:gd name="connsiteX145" fmla="*/ 604781 w 894622"/>
                    <a:gd name="connsiteY145" fmla="*/ 519790 h 521687"/>
                    <a:gd name="connsiteX146" fmla="*/ 599909 w 894622"/>
                    <a:gd name="connsiteY146" fmla="*/ 516850 h 521687"/>
                    <a:gd name="connsiteX147" fmla="*/ 593467 w 894622"/>
                    <a:gd name="connsiteY147" fmla="*/ 520224 h 521687"/>
                    <a:gd name="connsiteX148" fmla="*/ 582166 w 894622"/>
                    <a:gd name="connsiteY148" fmla="*/ 516265 h 521687"/>
                    <a:gd name="connsiteX149" fmla="*/ 561144 w 894622"/>
                    <a:gd name="connsiteY149" fmla="*/ 511405 h 521687"/>
                    <a:gd name="connsiteX150" fmla="*/ 552782 w 894622"/>
                    <a:gd name="connsiteY150" fmla="*/ 510749 h 521687"/>
                    <a:gd name="connsiteX151" fmla="*/ 550498 w 894622"/>
                    <a:gd name="connsiteY151" fmla="*/ 507622 h 521687"/>
                    <a:gd name="connsiteX152" fmla="*/ 550287 w 894622"/>
                    <a:gd name="connsiteY152" fmla="*/ 487127 h 521687"/>
                    <a:gd name="connsiteX153" fmla="*/ 550744 w 894622"/>
                    <a:gd name="connsiteY153" fmla="*/ 470812 h 521687"/>
                    <a:gd name="connsiteX154" fmla="*/ 536912 w 894622"/>
                    <a:gd name="connsiteY154" fmla="*/ 465097 h 521687"/>
                    <a:gd name="connsiteX155" fmla="*/ 525505 w 894622"/>
                    <a:gd name="connsiteY155" fmla="*/ 459066 h 521687"/>
                    <a:gd name="connsiteX156" fmla="*/ 497046 w 894622"/>
                    <a:gd name="connsiteY156" fmla="*/ 454932 h 521687"/>
                    <a:gd name="connsiteX157" fmla="*/ 465215 w 894622"/>
                    <a:gd name="connsiteY157" fmla="*/ 433242 h 521687"/>
                    <a:gd name="connsiteX158" fmla="*/ 449931 w 894622"/>
                    <a:gd name="connsiteY158" fmla="*/ 426004 h 521687"/>
                    <a:gd name="connsiteX159" fmla="*/ 436228 w 894622"/>
                    <a:gd name="connsiteY159" fmla="*/ 413672 h 521687"/>
                    <a:gd name="connsiteX160" fmla="*/ 427597 w 894622"/>
                    <a:gd name="connsiteY160" fmla="*/ 415300 h 521687"/>
                    <a:gd name="connsiteX161" fmla="*/ 413250 w 894622"/>
                    <a:gd name="connsiteY161" fmla="*/ 406587 h 521687"/>
                    <a:gd name="connsiteX162" fmla="*/ 384487 w 894622"/>
                    <a:gd name="connsiteY162" fmla="*/ 382789 h 521687"/>
                    <a:gd name="connsiteX163" fmla="*/ 350699 w 894622"/>
                    <a:gd name="connsiteY163" fmla="*/ 360876 h 521687"/>
                    <a:gd name="connsiteX164" fmla="*/ 337278 w 894622"/>
                    <a:gd name="connsiteY164" fmla="*/ 341295 h 521687"/>
                    <a:gd name="connsiteX165" fmla="*/ 333038 w 894622"/>
                    <a:gd name="connsiteY165" fmla="*/ 324290 h 521687"/>
                    <a:gd name="connsiteX166" fmla="*/ 324091 w 894622"/>
                    <a:gd name="connsiteY166" fmla="*/ 318820 h 521687"/>
                    <a:gd name="connsiteX167" fmla="*/ 317520 w 894622"/>
                    <a:gd name="connsiteY167" fmla="*/ 307530 h 521687"/>
                    <a:gd name="connsiteX168" fmla="*/ 309908 w 894622"/>
                    <a:gd name="connsiteY168" fmla="*/ 283194 h 521687"/>
                    <a:gd name="connsiteX169" fmla="*/ 283065 w 894622"/>
                    <a:gd name="connsiteY169" fmla="*/ 272700 h 521687"/>
                    <a:gd name="connsiteX170" fmla="*/ 275628 w 894622"/>
                    <a:gd name="connsiteY170" fmla="*/ 279294 h 521687"/>
                    <a:gd name="connsiteX171" fmla="*/ 263003 w 894622"/>
                    <a:gd name="connsiteY171" fmla="*/ 274282 h 521687"/>
                    <a:gd name="connsiteX172" fmla="*/ 243632 w 894622"/>
                    <a:gd name="connsiteY172" fmla="*/ 274188 h 521687"/>
                    <a:gd name="connsiteX173" fmla="*/ 222235 w 894622"/>
                    <a:gd name="connsiteY173" fmla="*/ 268039 h 521687"/>
                    <a:gd name="connsiteX174" fmla="*/ 214974 w 894622"/>
                    <a:gd name="connsiteY174" fmla="*/ 255309 h 521687"/>
                    <a:gd name="connsiteX175" fmla="*/ 218464 w 894622"/>
                    <a:gd name="connsiteY175" fmla="*/ 251467 h 521687"/>
                    <a:gd name="connsiteX176" fmla="*/ 213229 w 894622"/>
                    <a:gd name="connsiteY176" fmla="*/ 241688 h 521687"/>
                    <a:gd name="connsiteX177" fmla="*/ 223149 w 894622"/>
                    <a:gd name="connsiteY177" fmla="*/ 239112 h 521687"/>
                    <a:gd name="connsiteX178" fmla="*/ 208123 w 894622"/>
                    <a:gd name="connsiteY178" fmla="*/ 229965 h 521687"/>
                    <a:gd name="connsiteX179" fmla="*/ 206987 w 894622"/>
                    <a:gd name="connsiteY179" fmla="*/ 227131 h 521687"/>
                    <a:gd name="connsiteX180" fmla="*/ 210102 w 894622"/>
                    <a:gd name="connsiteY180" fmla="*/ 226030 h 521687"/>
                    <a:gd name="connsiteX181" fmla="*/ 208990 w 894622"/>
                    <a:gd name="connsiteY181" fmla="*/ 220467 h 521687"/>
                    <a:gd name="connsiteX182" fmla="*/ 205734 w 894622"/>
                    <a:gd name="connsiteY182" fmla="*/ 210219 h 521687"/>
                    <a:gd name="connsiteX183" fmla="*/ 170939 w 894622"/>
                    <a:gd name="connsiteY183" fmla="*/ 203755 h 521687"/>
                    <a:gd name="connsiteX184" fmla="*/ 162835 w 894622"/>
                    <a:gd name="connsiteY184" fmla="*/ 193214 h 521687"/>
                    <a:gd name="connsiteX185" fmla="*/ 146556 w 894622"/>
                    <a:gd name="connsiteY185" fmla="*/ 186656 h 521687"/>
                    <a:gd name="connsiteX186" fmla="*/ 137011 w 894622"/>
                    <a:gd name="connsiteY186" fmla="*/ 177169 h 521687"/>
                    <a:gd name="connsiteX187" fmla="*/ 133368 w 894622"/>
                    <a:gd name="connsiteY187" fmla="*/ 185695 h 521687"/>
                    <a:gd name="connsiteX188" fmla="*/ 114782 w 894622"/>
                    <a:gd name="connsiteY188" fmla="*/ 185520 h 521687"/>
                    <a:gd name="connsiteX189" fmla="*/ 122793 w 894622"/>
                    <a:gd name="connsiteY189" fmla="*/ 194608 h 521687"/>
                    <a:gd name="connsiteX190" fmla="*/ 128824 w 894622"/>
                    <a:gd name="connsiteY190" fmla="*/ 204235 h 521687"/>
                    <a:gd name="connsiteX191" fmla="*/ 127641 w 894622"/>
                    <a:gd name="connsiteY191" fmla="*/ 208814 h 521687"/>
                    <a:gd name="connsiteX192" fmla="*/ 117417 w 894622"/>
                    <a:gd name="connsiteY192" fmla="*/ 197349 h 521687"/>
                    <a:gd name="connsiteX193" fmla="*/ 105343 w 894622"/>
                    <a:gd name="connsiteY193" fmla="*/ 196365 h 521687"/>
                    <a:gd name="connsiteX194" fmla="*/ 100119 w 894622"/>
                    <a:gd name="connsiteY194" fmla="*/ 210266 h 521687"/>
                    <a:gd name="connsiteX195" fmla="*/ 87436 w 894622"/>
                    <a:gd name="connsiteY195" fmla="*/ 217188 h 521687"/>
                    <a:gd name="connsiteX196" fmla="*/ 74612 w 894622"/>
                    <a:gd name="connsiteY196" fmla="*/ 205031 h 521687"/>
                    <a:gd name="connsiteX197" fmla="*/ 57618 w 894622"/>
                    <a:gd name="connsiteY197" fmla="*/ 230035 h 521687"/>
                    <a:gd name="connsiteX198" fmla="*/ 51540 w 894622"/>
                    <a:gd name="connsiteY198" fmla="*/ 238772 h 521687"/>
                    <a:gd name="connsiteX199" fmla="*/ 52711 w 894622"/>
                    <a:gd name="connsiteY199" fmla="*/ 250987 h 521687"/>
                    <a:gd name="connsiteX200" fmla="*/ 62268 w 894622"/>
                    <a:gd name="connsiteY200" fmla="*/ 266165 h 521687"/>
                    <a:gd name="connsiteX201" fmla="*/ 56634 w 894622"/>
                    <a:gd name="connsiteY201" fmla="*/ 270686 h 521687"/>
                    <a:gd name="connsiteX202" fmla="*/ 43541 w 894622"/>
                    <a:gd name="connsiteY202" fmla="*/ 271248 h 521687"/>
                    <a:gd name="connsiteX203" fmla="*/ 10210 w 894622"/>
                    <a:gd name="connsiteY203" fmla="*/ 269503 h 521687"/>
                    <a:gd name="connsiteX204" fmla="*/ 583 w 894622"/>
                    <a:gd name="connsiteY204" fmla="*/ 263226 h 521687"/>
                    <a:gd name="connsiteX205" fmla="*/ 548 w 894622"/>
                    <a:gd name="connsiteY205" fmla="*/ 243222 h 521687"/>
                    <a:gd name="connsiteX206" fmla="*/ 513 w 894622"/>
                    <a:gd name="connsiteY206" fmla="*/ 209903 h 521687"/>
                    <a:gd name="connsiteX207" fmla="*/ 407 w 894622"/>
                    <a:gd name="connsiteY207" fmla="*/ 65067 h 521687"/>
                    <a:gd name="connsiteX208" fmla="*/ 525 w 894622"/>
                    <a:gd name="connsiteY208" fmla="*/ 36397 h 521687"/>
                    <a:gd name="connsiteX209" fmla="*/ 40145 w 894622"/>
                    <a:gd name="connsiteY209" fmla="*/ 25212 h 521687"/>
                    <a:gd name="connsiteX210" fmla="*/ 97285 w 894622"/>
                    <a:gd name="connsiteY210" fmla="*/ 9355 h 521687"/>
                    <a:gd name="connsiteX211" fmla="*/ 123987 w 894622"/>
                    <a:gd name="connsiteY211" fmla="*/ 2398 h 521687"/>
                    <a:gd name="connsiteX212" fmla="*/ 135149 w 894622"/>
                    <a:gd name="connsiteY212" fmla="*/ 5455 h 521687"/>
                    <a:gd name="connsiteX213" fmla="*/ 127583 w 894622"/>
                    <a:gd name="connsiteY213" fmla="*/ 17752 h 521687"/>
                    <a:gd name="connsiteX214" fmla="*/ 122160 w 894622"/>
                    <a:gd name="connsiteY214" fmla="*/ 32848 h 521687"/>
                    <a:gd name="connsiteX215" fmla="*/ 117897 w 894622"/>
                    <a:gd name="connsiteY215" fmla="*/ 46820 h 521687"/>
                    <a:gd name="connsiteX216" fmla="*/ 122453 w 894622"/>
                    <a:gd name="connsiteY216" fmla="*/ 58157 h 521687"/>
                    <a:gd name="connsiteX217" fmla="*/ 121891 w 894622"/>
                    <a:gd name="connsiteY217" fmla="*/ 72960 h 521687"/>
                    <a:gd name="connsiteX218" fmla="*/ 121891 w 894622"/>
                    <a:gd name="connsiteY218" fmla="*/ 72960 h 521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Lst>
                  <a:rect l="l" t="t" r="r" b="b"/>
                  <a:pathLst>
                    <a:path w="894622" h="521687">
                      <a:moveTo>
                        <a:pt x="121891" y="72960"/>
                      </a:moveTo>
                      <a:cubicBezTo>
                        <a:pt x="129082" y="74612"/>
                        <a:pt x="147129" y="56986"/>
                        <a:pt x="139517" y="54573"/>
                      </a:cubicBezTo>
                      <a:cubicBezTo>
                        <a:pt x="139775" y="55077"/>
                        <a:pt x="140056" y="55580"/>
                        <a:pt x="140313" y="56084"/>
                      </a:cubicBezTo>
                      <a:cubicBezTo>
                        <a:pt x="136601" y="55850"/>
                        <a:pt x="137303" y="52090"/>
                        <a:pt x="140173" y="50579"/>
                      </a:cubicBezTo>
                      <a:cubicBezTo>
                        <a:pt x="142574" y="49315"/>
                        <a:pt x="142855" y="56014"/>
                        <a:pt x="146450" y="52652"/>
                      </a:cubicBezTo>
                      <a:cubicBezTo>
                        <a:pt x="146848" y="52289"/>
                        <a:pt x="145431" y="47652"/>
                        <a:pt x="145420" y="46340"/>
                      </a:cubicBezTo>
                      <a:cubicBezTo>
                        <a:pt x="145408" y="44935"/>
                        <a:pt x="144108" y="42674"/>
                        <a:pt x="144447" y="41304"/>
                      </a:cubicBezTo>
                      <a:cubicBezTo>
                        <a:pt x="144729" y="40180"/>
                        <a:pt x="146907" y="39536"/>
                        <a:pt x="146907" y="39536"/>
                      </a:cubicBezTo>
                      <a:cubicBezTo>
                        <a:pt x="148617" y="27719"/>
                        <a:pt x="147399" y="38622"/>
                        <a:pt x="141274" y="37064"/>
                      </a:cubicBezTo>
                      <a:cubicBezTo>
                        <a:pt x="135172" y="35507"/>
                        <a:pt x="145420" y="25646"/>
                        <a:pt x="148207" y="24018"/>
                      </a:cubicBezTo>
                      <a:cubicBezTo>
                        <a:pt x="141648" y="21055"/>
                        <a:pt x="141531" y="11123"/>
                        <a:pt x="144752" y="5642"/>
                      </a:cubicBezTo>
                      <a:cubicBezTo>
                        <a:pt x="152810" y="10362"/>
                        <a:pt x="160844" y="15140"/>
                        <a:pt x="168889" y="19872"/>
                      </a:cubicBezTo>
                      <a:cubicBezTo>
                        <a:pt x="177544" y="24966"/>
                        <a:pt x="182627" y="24674"/>
                        <a:pt x="177837" y="34090"/>
                      </a:cubicBezTo>
                      <a:cubicBezTo>
                        <a:pt x="171103" y="47335"/>
                        <a:pt x="164205" y="53894"/>
                        <a:pt x="177263" y="66062"/>
                      </a:cubicBezTo>
                      <a:cubicBezTo>
                        <a:pt x="182299" y="70747"/>
                        <a:pt x="192289" y="75150"/>
                        <a:pt x="191212" y="81603"/>
                      </a:cubicBezTo>
                      <a:cubicBezTo>
                        <a:pt x="190310" y="87002"/>
                        <a:pt x="180051" y="90633"/>
                        <a:pt x="192383" y="90762"/>
                      </a:cubicBezTo>
                      <a:cubicBezTo>
                        <a:pt x="196388" y="90809"/>
                        <a:pt x="205312" y="88092"/>
                        <a:pt x="207280" y="83934"/>
                      </a:cubicBezTo>
                      <a:cubicBezTo>
                        <a:pt x="207971" y="82517"/>
                        <a:pt x="202525" y="82821"/>
                        <a:pt x="204387" y="80233"/>
                      </a:cubicBezTo>
                      <a:cubicBezTo>
                        <a:pt x="205734" y="78359"/>
                        <a:pt x="209037" y="79542"/>
                        <a:pt x="209540" y="78851"/>
                      </a:cubicBezTo>
                      <a:cubicBezTo>
                        <a:pt x="214822" y="71520"/>
                        <a:pt x="208873" y="68569"/>
                        <a:pt x="209400" y="60640"/>
                      </a:cubicBezTo>
                      <a:cubicBezTo>
                        <a:pt x="209704" y="55850"/>
                        <a:pt x="213393" y="52289"/>
                        <a:pt x="213335" y="45989"/>
                      </a:cubicBezTo>
                      <a:cubicBezTo>
                        <a:pt x="225093" y="52875"/>
                        <a:pt x="236851" y="59761"/>
                        <a:pt x="248622" y="66636"/>
                      </a:cubicBezTo>
                      <a:cubicBezTo>
                        <a:pt x="252885" y="69130"/>
                        <a:pt x="261153" y="72047"/>
                        <a:pt x="264385" y="75853"/>
                      </a:cubicBezTo>
                      <a:cubicBezTo>
                        <a:pt x="267407" y="79413"/>
                        <a:pt x="267126" y="83442"/>
                        <a:pt x="269433" y="87436"/>
                      </a:cubicBezTo>
                      <a:cubicBezTo>
                        <a:pt x="276167" y="99112"/>
                        <a:pt x="291732" y="109980"/>
                        <a:pt x="301241" y="119677"/>
                      </a:cubicBezTo>
                      <a:cubicBezTo>
                        <a:pt x="310939" y="129585"/>
                        <a:pt x="312590" y="133942"/>
                        <a:pt x="325953" y="131776"/>
                      </a:cubicBezTo>
                      <a:cubicBezTo>
                        <a:pt x="350078" y="127852"/>
                        <a:pt x="373174" y="123753"/>
                        <a:pt x="397592" y="125685"/>
                      </a:cubicBezTo>
                      <a:cubicBezTo>
                        <a:pt x="410651" y="126716"/>
                        <a:pt x="425325" y="129913"/>
                        <a:pt x="438383" y="128965"/>
                      </a:cubicBezTo>
                      <a:cubicBezTo>
                        <a:pt x="447378" y="128309"/>
                        <a:pt x="459886" y="115895"/>
                        <a:pt x="467990" y="118916"/>
                      </a:cubicBezTo>
                      <a:cubicBezTo>
                        <a:pt x="473342" y="120919"/>
                        <a:pt x="478308" y="131260"/>
                        <a:pt x="482723" y="135008"/>
                      </a:cubicBezTo>
                      <a:cubicBezTo>
                        <a:pt x="487595" y="139154"/>
                        <a:pt x="494400" y="141133"/>
                        <a:pt x="498592" y="145888"/>
                      </a:cubicBezTo>
                      <a:cubicBezTo>
                        <a:pt x="503605" y="151580"/>
                        <a:pt x="505280" y="160351"/>
                        <a:pt x="509812" y="166453"/>
                      </a:cubicBezTo>
                      <a:cubicBezTo>
                        <a:pt x="515867" y="174605"/>
                        <a:pt x="519369" y="168925"/>
                        <a:pt x="528597" y="164486"/>
                      </a:cubicBezTo>
                      <a:cubicBezTo>
                        <a:pt x="527672" y="177287"/>
                        <a:pt x="525845" y="191692"/>
                        <a:pt x="523995" y="202876"/>
                      </a:cubicBezTo>
                      <a:cubicBezTo>
                        <a:pt x="523526" y="205734"/>
                        <a:pt x="522062" y="224742"/>
                        <a:pt x="523749" y="226569"/>
                      </a:cubicBezTo>
                      <a:cubicBezTo>
                        <a:pt x="527906" y="231089"/>
                        <a:pt x="543108" y="223582"/>
                        <a:pt x="548191" y="226990"/>
                      </a:cubicBezTo>
                      <a:cubicBezTo>
                        <a:pt x="552735" y="230047"/>
                        <a:pt x="554562" y="257604"/>
                        <a:pt x="556482" y="265498"/>
                      </a:cubicBezTo>
                      <a:cubicBezTo>
                        <a:pt x="557970" y="271623"/>
                        <a:pt x="557771" y="277279"/>
                        <a:pt x="563708" y="279821"/>
                      </a:cubicBezTo>
                      <a:cubicBezTo>
                        <a:pt x="569857" y="282456"/>
                        <a:pt x="582025" y="279446"/>
                        <a:pt x="588713" y="279095"/>
                      </a:cubicBezTo>
                      <a:cubicBezTo>
                        <a:pt x="597285" y="278638"/>
                        <a:pt x="605917" y="277842"/>
                        <a:pt x="614513" y="277678"/>
                      </a:cubicBezTo>
                      <a:cubicBezTo>
                        <a:pt x="618741" y="277596"/>
                        <a:pt x="620135" y="280828"/>
                        <a:pt x="624374" y="276670"/>
                      </a:cubicBezTo>
                      <a:cubicBezTo>
                        <a:pt x="625944" y="280079"/>
                        <a:pt x="628520" y="282772"/>
                        <a:pt x="629422" y="286461"/>
                      </a:cubicBezTo>
                      <a:cubicBezTo>
                        <a:pt x="631026" y="285478"/>
                        <a:pt x="630722" y="286473"/>
                        <a:pt x="631916" y="286461"/>
                      </a:cubicBezTo>
                      <a:cubicBezTo>
                        <a:pt x="631940" y="286450"/>
                        <a:pt x="633626" y="285080"/>
                        <a:pt x="633767" y="284974"/>
                      </a:cubicBezTo>
                      <a:cubicBezTo>
                        <a:pt x="633720" y="286344"/>
                        <a:pt x="634235" y="286567"/>
                        <a:pt x="634493" y="287281"/>
                      </a:cubicBezTo>
                      <a:cubicBezTo>
                        <a:pt x="634083" y="287738"/>
                        <a:pt x="633228" y="287843"/>
                        <a:pt x="632842" y="288265"/>
                      </a:cubicBezTo>
                      <a:cubicBezTo>
                        <a:pt x="635910" y="292715"/>
                        <a:pt x="631284" y="298759"/>
                        <a:pt x="627162" y="300820"/>
                      </a:cubicBezTo>
                      <a:cubicBezTo>
                        <a:pt x="635652" y="302471"/>
                        <a:pt x="641567" y="312473"/>
                        <a:pt x="650760" y="314370"/>
                      </a:cubicBezTo>
                      <a:cubicBezTo>
                        <a:pt x="650538" y="314323"/>
                        <a:pt x="659684" y="313199"/>
                        <a:pt x="659392" y="313480"/>
                      </a:cubicBezTo>
                      <a:cubicBezTo>
                        <a:pt x="661921" y="310962"/>
                        <a:pt x="658162" y="308245"/>
                        <a:pt x="657764" y="306254"/>
                      </a:cubicBezTo>
                      <a:cubicBezTo>
                        <a:pt x="656909" y="301862"/>
                        <a:pt x="656721" y="298759"/>
                        <a:pt x="657424" y="294472"/>
                      </a:cubicBezTo>
                      <a:cubicBezTo>
                        <a:pt x="662308" y="292142"/>
                        <a:pt x="664685" y="287691"/>
                        <a:pt x="668913" y="283323"/>
                      </a:cubicBezTo>
                      <a:cubicBezTo>
                        <a:pt x="672766" y="279341"/>
                        <a:pt x="679899" y="279352"/>
                        <a:pt x="682042" y="273930"/>
                      </a:cubicBezTo>
                      <a:cubicBezTo>
                        <a:pt x="685204" y="265966"/>
                        <a:pt x="680121" y="269468"/>
                        <a:pt x="685016" y="264327"/>
                      </a:cubicBezTo>
                      <a:cubicBezTo>
                        <a:pt x="688249" y="260918"/>
                        <a:pt x="693648" y="261727"/>
                        <a:pt x="697852" y="259513"/>
                      </a:cubicBezTo>
                      <a:cubicBezTo>
                        <a:pt x="700921" y="257897"/>
                        <a:pt x="703860" y="252580"/>
                        <a:pt x="710758" y="248914"/>
                      </a:cubicBezTo>
                      <a:cubicBezTo>
                        <a:pt x="717680" y="245237"/>
                        <a:pt x="724637" y="245202"/>
                        <a:pt x="731230" y="241278"/>
                      </a:cubicBezTo>
                      <a:cubicBezTo>
                        <a:pt x="737437" y="237601"/>
                        <a:pt x="742005" y="232471"/>
                        <a:pt x="746912" y="227716"/>
                      </a:cubicBezTo>
                      <a:cubicBezTo>
                        <a:pt x="749266" y="225444"/>
                        <a:pt x="749067" y="222657"/>
                        <a:pt x="753178" y="221884"/>
                      </a:cubicBezTo>
                      <a:cubicBezTo>
                        <a:pt x="757968" y="220982"/>
                        <a:pt x="757253" y="224847"/>
                        <a:pt x="759455" y="224835"/>
                      </a:cubicBezTo>
                      <a:cubicBezTo>
                        <a:pt x="766505" y="224835"/>
                        <a:pt x="765826" y="217726"/>
                        <a:pt x="771530" y="214354"/>
                      </a:cubicBezTo>
                      <a:cubicBezTo>
                        <a:pt x="772748" y="213627"/>
                        <a:pt x="780044" y="211390"/>
                        <a:pt x="781988" y="210711"/>
                      </a:cubicBezTo>
                      <a:cubicBezTo>
                        <a:pt x="789401" y="208147"/>
                        <a:pt x="789518" y="211543"/>
                        <a:pt x="797342" y="214365"/>
                      </a:cubicBezTo>
                      <a:cubicBezTo>
                        <a:pt x="795538" y="221041"/>
                        <a:pt x="782445" y="221064"/>
                        <a:pt x="778217" y="224367"/>
                      </a:cubicBezTo>
                      <a:cubicBezTo>
                        <a:pt x="775582" y="226428"/>
                        <a:pt x="776554" y="230059"/>
                        <a:pt x="774469" y="231757"/>
                      </a:cubicBezTo>
                      <a:cubicBezTo>
                        <a:pt x="772115" y="233678"/>
                        <a:pt x="767407" y="233150"/>
                        <a:pt x="764467" y="234837"/>
                      </a:cubicBezTo>
                      <a:cubicBezTo>
                        <a:pt x="759947" y="237425"/>
                        <a:pt x="759104" y="241583"/>
                        <a:pt x="755660" y="244756"/>
                      </a:cubicBezTo>
                      <a:cubicBezTo>
                        <a:pt x="753178" y="247040"/>
                        <a:pt x="749161" y="248352"/>
                        <a:pt x="746315" y="250167"/>
                      </a:cubicBezTo>
                      <a:cubicBezTo>
                        <a:pt x="734849" y="257499"/>
                        <a:pt x="743141" y="254946"/>
                        <a:pt x="750015" y="258412"/>
                      </a:cubicBezTo>
                      <a:cubicBezTo>
                        <a:pt x="751175" y="258998"/>
                        <a:pt x="754372" y="263120"/>
                        <a:pt x="754817" y="263226"/>
                      </a:cubicBezTo>
                      <a:cubicBezTo>
                        <a:pt x="758823" y="264174"/>
                        <a:pt x="760052" y="260696"/>
                        <a:pt x="764022" y="260520"/>
                      </a:cubicBezTo>
                      <a:cubicBezTo>
                        <a:pt x="773356" y="260099"/>
                        <a:pt x="768543" y="267945"/>
                        <a:pt x="771401" y="272337"/>
                      </a:cubicBezTo>
                      <a:cubicBezTo>
                        <a:pt x="774926" y="277760"/>
                        <a:pt x="788394" y="275722"/>
                        <a:pt x="793547" y="282362"/>
                      </a:cubicBezTo>
                      <a:cubicBezTo>
                        <a:pt x="792786" y="273263"/>
                        <a:pt x="796721" y="281050"/>
                        <a:pt x="799251" y="282011"/>
                      </a:cubicBezTo>
                      <a:cubicBezTo>
                        <a:pt x="796979" y="281144"/>
                        <a:pt x="807074" y="279563"/>
                        <a:pt x="805259" y="281624"/>
                      </a:cubicBezTo>
                      <a:cubicBezTo>
                        <a:pt x="807800" y="278732"/>
                        <a:pt x="805563" y="271178"/>
                        <a:pt x="805985" y="267477"/>
                      </a:cubicBezTo>
                      <a:cubicBezTo>
                        <a:pt x="809346" y="270873"/>
                        <a:pt x="812086" y="271236"/>
                        <a:pt x="815120" y="268121"/>
                      </a:cubicBezTo>
                      <a:cubicBezTo>
                        <a:pt x="818938" y="264209"/>
                        <a:pt x="814862" y="261551"/>
                        <a:pt x="815729" y="259408"/>
                      </a:cubicBezTo>
                      <a:cubicBezTo>
                        <a:pt x="818352" y="252955"/>
                        <a:pt x="822217" y="255883"/>
                        <a:pt x="819184" y="262605"/>
                      </a:cubicBezTo>
                      <a:cubicBezTo>
                        <a:pt x="819804" y="262219"/>
                        <a:pt x="819769" y="262031"/>
                        <a:pt x="820449" y="261235"/>
                      </a:cubicBezTo>
                      <a:cubicBezTo>
                        <a:pt x="821467" y="260918"/>
                        <a:pt x="820812" y="262710"/>
                        <a:pt x="821772" y="262652"/>
                      </a:cubicBezTo>
                      <a:cubicBezTo>
                        <a:pt x="822065" y="262043"/>
                        <a:pt x="822147" y="261282"/>
                        <a:pt x="822568" y="260743"/>
                      </a:cubicBezTo>
                      <a:cubicBezTo>
                        <a:pt x="827604" y="265158"/>
                        <a:pt x="826515" y="270452"/>
                        <a:pt x="829314" y="274363"/>
                      </a:cubicBezTo>
                      <a:cubicBezTo>
                        <a:pt x="831094" y="276846"/>
                        <a:pt x="834690" y="278861"/>
                        <a:pt x="838437" y="279130"/>
                      </a:cubicBezTo>
                      <a:cubicBezTo>
                        <a:pt x="842103" y="279387"/>
                        <a:pt x="841494" y="274738"/>
                        <a:pt x="845136" y="278591"/>
                      </a:cubicBezTo>
                      <a:cubicBezTo>
                        <a:pt x="846928" y="280489"/>
                        <a:pt x="846050" y="286883"/>
                        <a:pt x="844891" y="289108"/>
                      </a:cubicBezTo>
                      <a:cubicBezTo>
                        <a:pt x="848240" y="288780"/>
                        <a:pt x="852046" y="284611"/>
                        <a:pt x="853604" y="284541"/>
                      </a:cubicBezTo>
                      <a:cubicBezTo>
                        <a:pt x="853042" y="284564"/>
                        <a:pt x="861814" y="289272"/>
                        <a:pt x="861579" y="289096"/>
                      </a:cubicBezTo>
                      <a:cubicBezTo>
                        <a:pt x="863418" y="290490"/>
                        <a:pt x="866088" y="295444"/>
                        <a:pt x="869614" y="296908"/>
                      </a:cubicBezTo>
                      <a:cubicBezTo>
                        <a:pt x="873759" y="298630"/>
                        <a:pt x="882039" y="294168"/>
                        <a:pt x="881676" y="300339"/>
                      </a:cubicBezTo>
                      <a:cubicBezTo>
                        <a:pt x="888270" y="295878"/>
                        <a:pt x="902886" y="297821"/>
                        <a:pt x="888504" y="305001"/>
                      </a:cubicBezTo>
                      <a:cubicBezTo>
                        <a:pt x="886115" y="306195"/>
                        <a:pt x="880763" y="307308"/>
                        <a:pt x="878995" y="308830"/>
                      </a:cubicBezTo>
                      <a:cubicBezTo>
                        <a:pt x="877168" y="310400"/>
                        <a:pt x="876793" y="313164"/>
                        <a:pt x="875481" y="314358"/>
                      </a:cubicBezTo>
                      <a:cubicBezTo>
                        <a:pt x="875844" y="314018"/>
                        <a:pt x="868255" y="319441"/>
                        <a:pt x="868899" y="319382"/>
                      </a:cubicBezTo>
                      <a:cubicBezTo>
                        <a:pt x="861345" y="320003"/>
                        <a:pt x="854096" y="307484"/>
                        <a:pt x="855244" y="319277"/>
                      </a:cubicBezTo>
                      <a:cubicBezTo>
                        <a:pt x="855489" y="321854"/>
                        <a:pt x="860795" y="321479"/>
                        <a:pt x="857902" y="325554"/>
                      </a:cubicBezTo>
                      <a:cubicBezTo>
                        <a:pt x="855489" y="328951"/>
                        <a:pt x="850805" y="324594"/>
                        <a:pt x="847327" y="324629"/>
                      </a:cubicBezTo>
                      <a:cubicBezTo>
                        <a:pt x="848029" y="324290"/>
                        <a:pt x="849399" y="323236"/>
                        <a:pt x="850044" y="322966"/>
                      </a:cubicBezTo>
                      <a:cubicBezTo>
                        <a:pt x="844352" y="321256"/>
                        <a:pt x="829630" y="331855"/>
                        <a:pt x="837606" y="335404"/>
                      </a:cubicBezTo>
                      <a:cubicBezTo>
                        <a:pt x="836201" y="335954"/>
                        <a:pt x="833788" y="335193"/>
                        <a:pt x="832230" y="335896"/>
                      </a:cubicBezTo>
                      <a:cubicBezTo>
                        <a:pt x="831200" y="336364"/>
                        <a:pt x="829466" y="335053"/>
                        <a:pt x="828225" y="335486"/>
                      </a:cubicBezTo>
                      <a:cubicBezTo>
                        <a:pt x="826656" y="336024"/>
                        <a:pt x="826211" y="338531"/>
                        <a:pt x="825157" y="338929"/>
                      </a:cubicBezTo>
                      <a:cubicBezTo>
                        <a:pt x="817087" y="342032"/>
                        <a:pt x="821784" y="341353"/>
                        <a:pt x="816900" y="334900"/>
                      </a:cubicBezTo>
                      <a:cubicBezTo>
                        <a:pt x="814417" y="343719"/>
                        <a:pt x="804896" y="332757"/>
                        <a:pt x="799625" y="332745"/>
                      </a:cubicBezTo>
                      <a:cubicBezTo>
                        <a:pt x="797904" y="332745"/>
                        <a:pt x="797939" y="331422"/>
                        <a:pt x="796217" y="331633"/>
                      </a:cubicBezTo>
                      <a:cubicBezTo>
                        <a:pt x="795409" y="331727"/>
                        <a:pt x="794742" y="334397"/>
                        <a:pt x="792950" y="334725"/>
                      </a:cubicBezTo>
                      <a:cubicBezTo>
                        <a:pt x="786274" y="335954"/>
                        <a:pt x="779692" y="336399"/>
                        <a:pt x="772642" y="337453"/>
                      </a:cubicBezTo>
                      <a:cubicBezTo>
                        <a:pt x="770429" y="337781"/>
                        <a:pt x="766763" y="339679"/>
                        <a:pt x="764432" y="338531"/>
                      </a:cubicBezTo>
                      <a:cubicBezTo>
                        <a:pt x="760931" y="336821"/>
                        <a:pt x="762711" y="333214"/>
                        <a:pt x="760345" y="331223"/>
                      </a:cubicBezTo>
                      <a:cubicBezTo>
                        <a:pt x="756867" y="328272"/>
                        <a:pt x="753787" y="330509"/>
                        <a:pt x="751854" y="326737"/>
                      </a:cubicBezTo>
                      <a:cubicBezTo>
                        <a:pt x="748481" y="320179"/>
                        <a:pt x="757979" y="318668"/>
                        <a:pt x="762781" y="314639"/>
                      </a:cubicBezTo>
                      <a:cubicBezTo>
                        <a:pt x="764409" y="313269"/>
                        <a:pt x="772139" y="308936"/>
                        <a:pt x="771740" y="306359"/>
                      </a:cubicBezTo>
                      <a:cubicBezTo>
                        <a:pt x="771729" y="306289"/>
                        <a:pt x="758471" y="296721"/>
                        <a:pt x="768648" y="302131"/>
                      </a:cubicBezTo>
                      <a:cubicBezTo>
                        <a:pt x="767606" y="298349"/>
                        <a:pt x="760720" y="291041"/>
                        <a:pt x="756843" y="289073"/>
                      </a:cubicBezTo>
                      <a:cubicBezTo>
                        <a:pt x="748200" y="284681"/>
                        <a:pt x="751760" y="292668"/>
                        <a:pt x="744687" y="297669"/>
                      </a:cubicBezTo>
                      <a:cubicBezTo>
                        <a:pt x="737882" y="302483"/>
                        <a:pt x="729064" y="303829"/>
                        <a:pt x="721674" y="307308"/>
                      </a:cubicBezTo>
                      <a:cubicBezTo>
                        <a:pt x="715209" y="310341"/>
                        <a:pt x="718371" y="312695"/>
                        <a:pt x="712070" y="308784"/>
                      </a:cubicBezTo>
                      <a:cubicBezTo>
                        <a:pt x="709013" y="306886"/>
                        <a:pt x="705769" y="300656"/>
                        <a:pt x="701577" y="301183"/>
                      </a:cubicBezTo>
                      <a:cubicBezTo>
                        <a:pt x="693542" y="302201"/>
                        <a:pt x="698356" y="309322"/>
                        <a:pt x="696131" y="313246"/>
                      </a:cubicBezTo>
                      <a:cubicBezTo>
                        <a:pt x="694901" y="315412"/>
                        <a:pt x="690509" y="313749"/>
                        <a:pt x="690123" y="316525"/>
                      </a:cubicBezTo>
                      <a:cubicBezTo>
                        <a:pt x="689877" y="318375"/>
                        <a:pt x="693109" y="322861"/>
                        <a:pt x="693847" y="324957"/>
                      </a:cubicBezTo>
                      <a:cubicBezTo>
                        <a:pt x="695217" y="328834"/>
                        <a:pt x="698192" y="335228"/>
                        <a:pt x="690650" y="332452"/>
                      </a:cubicBezTo>
                      <a:cubicBezTo>
                        <a:pt x="697478" y="344094"/>
                        <a:pt x="689397" y="337266"/>
                        <a:pt x="680777" y="336540"/>
                      </a:cubicBezTo>
                      <a:cubicBezTo>
                        <a:pt x="675881" y="336130"/>
                        <a:pt x="662331" y="338344"/>
                        <a:pt x="657928" y="340721"/>
                      </a:cubicBezTo>
                      <a:cubicBezTo>
                        <a:pt x="663268" y="347162"/>
                        <a:pt x="676350" y="338074"/>
                        <a:pt x="678763" y="343813"/>
                      </a:cubicBezTo>
                      <a:cubicBezTo>
                        <a:pt x="680835" y="348696"/>
                        <a:pt x="669522" y="347549"/>
                        <a:pt x="668035" y="345909"/>
                      </a:cubicBezTo>
                      <a:cubicBezTo>
                        <a:pt x="667379" y="350312"/>
                        <a:pt x="671736" y="351519"/>
                        <a:pt x="672673" y="356040"/>
                      </a:cubicBezTo>
                      <a:cubicBezTo>
                        <a:pt x="674195" y="363406"/>
                        <a:pt x="668784" y="353791"/>
                        <a:pt x="667215" y="352023"/>
                      </a:cubicBezTo>
                      <a:cubicBezTo>
                        <a:pt x="668082" y="355665"/>
                        <a:pt x="668972" y="358886"/>
                        <a:pt x="666325" y="361919"/>
                      </a:cubicBezTo>
                      <a:cubicBezTo>
                        <a:pt x="660071" y="352468"/>
                        <a:pt x="659380" y="374087"/>
                        <a:pt x="654203" y="377741"/>
                      </a:cubicBezTo>
                      <a:cubicBezTo>
                        <a:pt x="644729" y="384393"/>
                        <a:pt x="627290" y="373630"/>
                        <a:pt x="615626" y="374075"/>
                      </a:cubicBezTo>
                      <a:cubicBezTo>
                        <a:pt x="604629" y="374497"/>
                        <a:pt x="600494" y="380716"/>
                        <a:pt x="596770" y="387789"/>
                      </a:cubicBezTo>
                      <a:cubicBezTo>
                        <a:pt x="596407" y="388492"/>
                        <a:pt x="593315" y="396128"/>
                        <a:pt x="593339" y="396245"/>
                      </a:cubicBezTo>
                      <a:cubicBezTo>
                        <a:pt x="594557" y="403565"/>
                        <a:pt x="603258" y="399630"/>
                        <a:pt x="607767" y="402839"/>
                      </a:cubicBezTo>
                      <a:cubicBezTo>
                        <a:pt x="612065" y="405884"/>
                        <a:pt x="607346" y="407301"/>
                        <a:pt x="610391" y="411025"/>
                      </a:cubicBezTo>
                      <a:cubicBezTo>
                        <a:pt x="613482" y="414796"/>
                        <a:pt x="618132" y="412899"/>
                        <a:pt x="622535" y="412758"/>
                      </a:cubicBezTo>
                      <a:cubicBezTo>
                        <a:pt x="627349" y="412606"/>
                        <a:pt x="636051" y="410451"/>
                        <a:pt x="636296" y="419212"/>
                      </a:cubicBezTo>
                      <a:cubicBezTo>
                        <a:pt x="636437" y="424552"/>
                        <a:pt x="632783" y="422339"/>
                        <a:pt x="631038" y="425337"/>
                      </a:cubicBezTo>
                      <a:cubicBezTo>
                        <a:pt x="630335" y="426543"/>
                        <a:pt x="630089" y="431520"/>
                        <a:pt x="630089" y="433078"/>
                      </a:cubicBezTo>
                      <a:cubicBezTo>
                        <a:pt x="630078" y="437364"/>
                        <a:pt x="630839" y="441897"/>
                        <a:pt x="632596" y="445715"/>
                      </a:cubicBezTo>
                      <a:cubicBezTo>
                        <a:pt x="635301" y="451606"/>
                        <a:pt x="642000" y="453046"/>
                        <a:pt x="644963" y="458094"/>
                      </a:cubicBezTo>
                      <a:cubicBezTo>
                        <a:pt x="651463" y="469161"/>
                        <a:pt x="638346" y="474186"/>
                        <a:pt x="633732" y="479104"/>
                      </a:cubicBezTo>
                      <a:cubicBezTo>
                        <a:pt x="630839" y="482196"/>
                        <a:pt x="629516" y="488474"/>
                        <a:pt x="626459" y="492139"/>
                      </a:cubicBezTo>
                      <a:cubicBezTo>
                        <a:pt x="623426" y="495758"/>
                        <a:pt x="619455" y="498300"/>
                        <a:pt x="618015" y="503125"/>
                      </a:cubicBezTo>
                      <a:cubicBezTo>
                        <a:pt x="616106" y="509507"/>
                        <a:pt x="619666" y="515386"/>
                        <a:pt x="616188" y="521688"/>
                      </a:cubicBezTo>
                      <a:cubicBezTo>
                        <a:pt x="612885" y="516101"/>
                        <a:pt x="608329" y="520165"/>
                        <a:pt x="604781" y="519790"/>
                      </a:cubicBezTo>
                      <a:cubicBezTo>
                        <a:pt x="602204" y="519521"/>
                        <a:pt x="603434" y="516581"/>
                        <a:pt x="599909" y="516850"/>
                      </a:cubicBezTo>
                      <a:cubicBezTo>
                        <a:pt x="598702" y="516944"/>
                        <a:pt x="595353" y="519802"/>
                        <a:pt x="593467" y="520224"/>
                      </a:cubicBezTo>
                      <a:cubicBezTo>
                        <a:pt x="588127" y="521418"/>
                        <a:pt x="586394" y="520528"/>
                        <a:pt x="582166" y="516265"/>
                      </a:cubicBezTo>
                      <a:cubicBezTo>
                        <a:pt x="574624" y="508664"/>
                        <a:pt x="572644" y="511358"/>
                        <a:pt x="561144" y="511405"/>
                      </a:cubicBezTo>
                      <a:cubicBezTo>
                        <a:pt x="558239" y="511416"/>
                        <a:pt x="556318" y="512658"/>
                        <a:pt x="552782" y="510749"/>
                      </a:cubicBezTo>
                      <a:cubicBezTo>
                        <a:pt x="547898" y="508114"/>
                        <a:pt x="552044" y="510772"/>
                        <a:pt x="550498" y="507622"/>
                      </a:cubicBezTo>
                      <a:cubicBezTo>
                        <a:pt x="548987" y="504507"/>
                        <a:pt x="548929" y="492116"/>
                        <a:pt x="550287" y="487127"/>
                      </a:cubicBezTo>
                      <a:cubicBezTo>
                        <a:pt x="552746" y="478132"/>
                        <a:pt x="561343" y="476059"/>
                        <a:pt x="550744" y="470812"/>
                      </a:cubicBezTo>
                      <a:cubicBezTo>
                        <a:pt x="546223" y="468587"/>
                        <a:pt x="541597" y="467920"/>
                        <a:pt x="536912" y="465097"/>
                      </a:cubicBezTo>
                      <a:cubicBezTo>
                        <a:pt x="533387" y="462978"/>
                        <a:pt x="529335" y="460635"/>
                        <a:pt x="525505" y="459066"/>
                      </a:cubicBezTo>
                      <a:cubicBezTo>
                        <a:pt x="514098" y="454393"/>
                        <a:pt x="508243" y="461455"/>
                        <a:pt x="497046" y="454932"/>
                      </a:cubicBezTo>
                      <a:cubicBezTo>
                        <a:pt x="486061" y="448537"/>
                        <a:pt x="476516" y="438571"/>
                        <a:pt x="465215" y="433242"/>
                      </a:cubicBezTo>
                      <a:cubicBezTo>
                        <a:pt x="459909" y="430736"/>
                        <a:pt x="454873" y="429377"/>
                        <a:pt x="449931" y="426004"/>
                      </a:cubicBezTo>
                      <a:cubicBezTo>
                        <a:pt x="446289" y="423510"/>
                        <a:pt x="440070" y="415007"/>
                        <a:pt x="436228" y="413672"/>
                      </a:cubicBezTo>
                      <a:cubicBezTo>
                        <a:pt x="433031" y="412559"/>
                        <a:pt x="430853" y="415663"/>
                        <a:pt x="427597" y="415300"/>
                      </a:cubicBezTo>
                      <a:cubicBezTo>
                        <a:pt x="422819" y="414773"/>
                        <a:pt x="417267" y="409210"/>
                        <a:pt x="413250" y="406587"/>
                      </a:cubicBezTo>
                      <a:cubicBezTo>
                        <a:pt x="402441" y="399525"/>
                        <a:pt x="395285" y="389769"/>
                        <a:pt x="384487" y="382789"/>
                      </a:cubicBezTo>
                      <a:cubicBezTo>
                        <a:pt x="373232" y="375504"/>
                        <a:pt x="361790" y="368419"/>
                        <a:pt x="350699" y="360876"/>
                      </a:cubicBezTo>
                      <a:cubicBezTo>
                        <a:pt x="341541" y="354634"/>
                        <a:pt x="338847" y="351320"/>
                        <a:pt x="337278" y="341295"/>
                      </a:cubicBezTo>
                      <a:cubicBezTo>
                        <a:pt x="336727" y="337875"/>
                        <a:pt x="335462" y="327112"/>
                        <a:pt x="333038" y="324290"/>
                      </a:cubicBezTo>
                      <a:cubicBezTo>
                        <a:pt x="330684" y="321549"/>
                        <a:pt x="326456" y="321374"/>
                        <a:pt x="324091" y="318820"/>
                      </a:cubicBezTo>
                      <a:cubicBezTo>
                        <a:pt x="321643" y="316174"/>
                        <a:pt x="318832" y="310634"/>
                        <a:pt x="317520" y="307530"/>
                      </a:cubicBezTo>
                      <a:cubicBezTo>
                        <a:pt x="314124" y="299438"/>
                        <a:pt x="315600" y="290045"/>
                        <a:pt x="309908" y="283194"/>
                      </a:cubicBezTo>
                      <a:cubicBezTo>
                        <a:pt x="304099" y="276225"/>
                        <a:pt x="290479" y="268051"/>
                        <a:pt x="283065" y="272700"/>
                      </a:cubicBezTo>
                      <a:cubicBezTo>
                        <a:pt x="280102" y="274562"/>
                        <a:pt x="280641" y="278872"/>
                        <a:pt x="275628" y="279294"/>
                      </a:cubicBezTo>
                      <a:cubicBezTo>
                        <a:pt x="272454" y="279563"/>
                        <a:pt x="265439" y="274949"/>
                        <a:pt x="263003" y="274282"/>
                      </a:cubicBezTo>
                      <a:cubicBezTo>
                        <a:pt x="261809" y="276237"/>
                        <a:pt x="248493" y="273497"/>
                        <a:pt x="243632" y="274188"/>
                      </a:cubicBezTo>
                      <a:cubicBezTo>
                        <a:pt x="232788" y="275745"/>
                        <a:pt x="231968" y="273216"/>
                        <a:pt x="222235" y="268039"/>
                      </a:cubicBezTo>
                      <a:cubicBezTo>
                        <a:pt x="213955" y="263635"/>
                        <a:pt x="213007" y="264256"/>
                        <a:pt x="214974" y="255309"/>
                      </a:cubicBezTo>
                      <a:cubicBezTo>
                        <a:pt x="215443" y="253142"/>
                        <a:pt x="218546" y="254266"/>
                        <a:pt x="218464" y="251467"/>
                      </a:cubicBezTo>
                      <a:cubicBezTo>
                        <a:pt x="218382" y="248504"/>
                        <a:pt x="211262" y="245436"/>
                        <a:pt x="213229" y="241688"/>
                      </a:cubicBezTo>
                      <a:cubicBezTo>
                        <a:pt x="216028" y="236336"/>
                        <a:pt x="223407" y="244089"/>
                        <a:pt x="223149" y="239112"/>
                      </a:cubicBezTo>
                      <a:cubicBezTo>
                        <a:pt x="222891" y="234169"/>
                        <a:pt x="210313" y="231745"/>
                        <a:pt x="208123" y="229965"/>
                      </a:cubicBezTo>
                      <a:cubicBezTo>
                        <a:pt x="204949" y="227377"/>
                        <a:pt x="207280" y="229251"/>
                        <a:pt x="206987" y="227131"/>
                      </a:cubicBezTo>
                      <a:cubicBezTo>
                        <a:pt x="206952" y="226885"/>
                        <a:pt x="209950" y="226627"/>
                        <a:pt x="210102" y="226030"/>
                      </a:cubicBezTo>
                      <a:cubicBezTo>
                        <a:pt x="210547" y="224308"/>
                        <a:pt x="208521" y="221814"/>
                        <a:pt x="208990" y="220467"/>
                      </a:cubicBezTo>
                      <a:cubicBezTo>
                        <a:pt x="211074" y="214599"/>
                        <a:pt x="213358" y="214248"/>
                        <a:pt x="205734" y="210219"/>
                      </a:cubicBezTo>
                      <a:cubicBezTo>
                        <a:pt x="195931" y="205055"/>
                        <a:pt x="178786" y="213241"/>
                        <a:pt x="170939" y="203755"/>
                      </a:cubicBezTo>
                      <a:cubicBezTo>
                        <a:pt x="166957" y="198941"/>
                        <a:pt x="170611" y="195486"/>
                        <a:pt x="162835" y="193214"/>
                      </a:cubicBezTo>
                      <a:cubicBezTo>
                        <a:pt x="156194" y="191270"/>
                        <a:pt x="152856" y="192851"/>
                        <a:pt x="146556" y="186656"/>
                      </a:cubicBezTo>
                      <a:cubicBezTo>
                        <a:pt x="145267" y="185391"/>
                        <a:pt x="139037" y="176666"/>
                        <a:pt x="137011" y="177169"/>
                      </a:cubicBezTo>
                      <a:cubicBezTo>
                        <a:pt x="134329" y="177849"/>
                        <a:pt x="136085" y="183857"/>
                        <a:pt x="133368" y="185695"/>
                      </a:cubicBezTo>
                      <a:cubicBezTo>
                        <a:pt x="127653" y="189560"/>
                        <a:pt x="120755" y="179687"/>
                        <a:pt x="114782" y="185520"/>
                      </a:cubicBezTo>
                      <a:cubicBezTo>
                        <a:pt x="109524" y="190661"/>
                        <a:pt x="118881" y="190626"/>
                        <a:pt x="122793" y="194608"/>
                      </a:cubicBezTo>
                      <a:cubicBezTo>
                        <a:pt x="124561" y="196400"/>
                        <a:pt x="128028" y="201986"/>
                        <a:pt x="128824" y="204235"/>
                      </a:cubicBezTo>
                      <a:cubicBezTo>
                        <a:pt x="128438" y="203134"/>
                        <a:pt x="133509" y="214775"/>
                        <a:pt x="127641" y="208814"/>
                      </a:cubicBezTo>
                      <a:cubicBezTo>
                        <a:pt x="123320" y="204422"/>
                        <a:pt x="126705" y="200616"/>
                        <a:pt x="117417" y="197349"/>
                      </a:cubicBezTo>
                      <a:cubicBezTo>
                        <a:pt x="114443" y="196306"/>
                        <a:pt x="108317" y="194971"/>
                        <a:pt x="105343" y="196365"/>
                      </a:cubicBezTo>
                      <a:cubicBezTo>
                        <a:pt x="100026" y="198847"/>
                        <a:pt x="102345" y="205055"/>
                        <a:pt x="100119" y="210266"/>
                      </a:cubicBezTo>
                      <a:cubicBezTo>
                        <a:pt x="97437" y="216543"/>
                        <a:pt x="94592" y="213686"/>
                        <a:pt x="87436" y="217188"/>
                      </a:cubicBezTo>
                      <a:cubicBezTo>
                        <a:pt x="87553" y="211613"/>
                        <a:pt x="79226" y="205394"/>
                        <a:pt x="74612" y="205031"/>
                      </a:cubicBezTo>
                      <a:cubicBezTo>
                        <a:pt x="61249" y="203977"/>
                        <a:pt x="62771" y="222587"/>
                        <a:pt x="57618" y="230035"/>
                      </a:cubicBezTo>
                      <a:cubicBezTo>
                        <a:pt x="54643" y="234333"/>
                        <a:pt x="52711" y="233080"/>
                        <a:pt x="51540" y="238772"/>
                      </a:cubicBezTo>
                      <a:cubicBezTo>
                        <a:pt x="50861" y="242016"/>
                        <a:pt x="52231" y="247720"/>
                        <a:pt x="52711" y="250987"/>
                      </a:cubicBezTo>
                      <a:cubicBezTo>
                        <a:pt x="53554" y="256667"/>
                        <a:pt x="55229" y="265322"/>
                        <a:pt x="62268" y="266165"/>
                      </a:cubicBezTo>
                      <a:cubicBezTo>
                        <a:pt x="60523" y="267325"/>
                        <a:pt x="58485" y="269655"/>
                        <a:pt x="56634" y="270686"/>
                      </a:cubicBezTo>
                      <a:cubicBezTo>
                        <a:pt x="51997" y="273251"/>
                        <a:pt x="49701" y="272010"/>
                        <a:pt x="43541" y="271248"/>
                      </a:cubicBezTo>
                      <a:cubicBezTo>
                        <a:pt x="32614" y="269913"/>
                        <a:pt x="21207" y="269960"/>
                        <a:pt x="10210" y="269503"/>
                      </a:cubicBezTo>
                      <a:cubicBezTo>
                        <a:pt x="1520" y="269140"/>
                        <a:pt x="2035" y="270709"/>
                        <a:pt x="583" y="263226"/>
                      </a:cubicBezTo>
                      <a:cubicBezTo>
                        <a:pt x="-612" y="257136"/>
                        <a:pt x="548" y="249418"/>
                        <a:pt x="548" y="243222"/>
                      </a:cubicBezTo>
                      <a:cubicBezTo>
                        <a:pt x="525" y="232155"/>
                        <a:pt x="525" y="221006"/>
                        <a:pt x="513" y="209903"/>
                      </a:cubicBezTo>
                      <a:cubicBezTo>
                        <a:pt x="489" y="161675"/>
                        <a:pt x="513" y="112733"/>
                        <a:pt x="407" y="65067"/>
                      </a:cubicBezTo>
                      <a:cubicBezTo>
                        <a:pt x="396" y="59117"/>
                        <a:pt x="-576" y="37709"/>
                        <a:pt x="525" y="36397"/>
                      </a:cubicBezTo>
                      <a:cubicBezTo>
                        <a:pt x="4799" y="31244"/>
                        <a:pt x="31595" y="27613"/>
                        <a:pt x="40145" y="25212"/>
                      </a:cubicBezTo>
                      <a:cubicBezTo>
                        <a:pt x="59188" y="19884"/>
                        <a:pt x="78195" y="14508"/>
                        <a:pt x="97285" y="9355"/>
                      </a:cubicBezTo>
                      <a:cubicBezTo>
                        <a:pt x="106162" y="6954"/>
                        <a:pt x="115075" y="4635"/>
                        <a:pt x="123987" y="2398"/>
                      </a:cubicBezTo>
                      <a:cubicBezTo>
                        <a:pt x="132349" y="314"/>
                        <a:pt x="136624" y="-2930"/>
                        <a:pt x="135149" y="5455"/>
                      </a:cubicBezTo>
                      <a:cubicBezTo>
                        <a:pt x="134200" y="10795"/>
                        <a:pt x="130054" y="12962"/>
                        <a:pt x="127583" y="17752"/>
                      </a:cubicBezTo>
                      <a:cubicBezTo>
                        <a:pt x="125229" y="22343"/>
                        <a:pt x="124210" y="28210"/>
                        <a:pt x="122160" y="32848"/>
                      </a:cubicBezTo>
                      <a:cubicBezTo>
                        <a:pt x="120251" y="37158"/>
                        <a:pt x="117242" y="41878"/>
                        <a:pt x="117897" y="46820"/>
                      </a:cubicBezTo>
                      <a:cubicBezTo>
                        <a:pt x="118436" y="50825"/>
                        <a:pt x="122769" y="54128"/>
                        <a:pt x="122453" y="58157"/>
                      </a:cubicBezTo>
                      <a:cubicBezTo>
                        <a:pt x="122032" y="63872"/>
                        <a:pt x="114044" y="67175"/>
                        <a:pt x="121891" y="72960"/>
                      </a:cubicBezTo>
                      <a:lnTo>
                        <a:pt x="121891" y="72960"/>
                      </a:lnTo>
                      <a:close/>
                    </a:path>
                  </a:pathLst>
                </a:custGeom>
                <a:solidFill>
                  <a:srgbClr val="D6D6D2"/>
                </a:solidFill>
                <a:ln w="8774" cap="rnd">
                  <a:solidFill>
                    <a:srgbClr val="FFFFFF"/>
                  </a:solidFill>
                  <a:prstDash val="solid"/>
                  <a:round/>
                </a:ln>
              </p:spPr>
              <p:txBody>
                <a:bodyPr rtlCol="0" anchor="ctr"/>
                <a:lstStyle/>
                <a:p>
                  <a:endParaRPr lang="en-US"/>
                </a:p>
              </p:txBody>
            </p:sp>
            <p:sp>
              <p:nvSpPr>
                <p:cNvPr id="100" name="Freeform: Shape 99">
                  <a:extLst>
                    <a:ext uri="{FF2B5EF4-FFF2-40B4-BE49-F238E27FC236}">
                      <a16:creationId xmlns:a16="http://schemas.microsoft.com/office/drawing/2014/main" id="{4F6D943B-0A7C-4700-B92C-4D9F26A666E8}"/>
                    </a:ext>
                  </a:extLst>
                </p:cNvPr>
                <p:cNvSpPr/>
                <p:nvPr/>
              </p:nvSpPr>
              <p:spPr>
                <a:xfrm>
                  <a:off x="6115935" y="3021449"/>
                  <a:ext cx="50370" cy="18287"/>
                </a:xfrm>
                <a:custGeom>
                  <a:avLst/>
                  <a:gdLst>
                    <a:gd name="connsiteX0" fmla="*/ 22322 w 50370"/>
                    <a:gd name="connsiteY0" fmla="*/ 920 h 18287"/>
                    <a:gd name="connsiteX1" fmla="*/ 34642 w 50370"/>
                    <a:gd name="connsiteY1" fmla="*/ 6178 h 18287"/>
                    <a:gd name="connsiteX2" fmla="*/ 36060 w 50370"/>
                    <a:gd name="connsiteY2" fmla="*/ 7138 h 18287"/>
                    <a:gd name="connsiteX3" fmla="*/ 41048 w 50370"/>
                    <a:gd name="connsiteY3" fmla="*/ 10043 h 18287"/>
                    <a:gd name="connsiteX4" fmla="*/ 50371 w 50370"/>
                    <a:gd name="connsiteY4" fmla="*/ 11050 h 18287"/>
                    <a:gd name="connsiteX5" fmla="*/ 44093 w 50370"/>
                    <a:gd name="connsiteY5" fmla="*/ 14353 h 18287"/>
                    <a:gd name="connsiteX6" fmla="*/ 36786 w 50370"/>
                    <a:gd name="connsiteY6" fmla="*/ 13451 h 18287"/>
                    <a:gd name="connsiteX7" fmla="*/ 37160 w 50370"/>
                    <a:gd name="connsiteY7" fmla="*/ 15407 h 18287"/>
                    <a:gd name="connsiteX8" fmla="*/ 31105 w 50370"/>
                    <a:gd name="connsiteY8" fmla="*/ 13275 h 18287"/>
                    <a:gd name="connsiteX9" fmla="*/ 22497 w 50370"/>
                    <a:gd name="connsiteY9" fmla="*/ 18288 h 18287"/>
                    <a:gd name="connsiteX10" fmla="*/ 14979 w 50370"/>
                    <a:gd name="connsiteY10" fmla="*/ 15395 h 18287"/>
                    <a:gd name="connsiteX11" fmla="*/ 17473 w 50370"/>
                    <a:gd name="connsiteY11" fmla="*/ 8895 h 18287"/>
                    <a:gd name="connsiteX12" fmla="*/ 7823 w 50370"/>
                    <a:gd name="connsiteY12" fmla="*/ 10019 h 18287"/>
                    <a:gd name="connsiteX13" fmla="*/ 0 w 50370"/>
                    <a:gd name="connsiteY13" fmla="*/ 6166 h 18287"/>
                    <a:gd name="connsiteX14" fmla="*/ 22322 w 50370"/>
                    <a:gd name="connsiteY14" fmla="*/ 920 h 18287"/>
                    <a:gd name="connsiteX15" fmla="*/ 22322 w 50370"/>
                    <a:gd name="connsiteY15" fmla="*/ 920 h 18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370" h="18287">
                      <a:moveTo>
                        <a:pt x="22322" y="920"/>
                      </a:moveTo>
                      <a:cubicBezTo>
                        <a:pt x="24126" y="2992"/>
                        <a:pt x="42477" y="100"/>
                        <a:pt x="34642" y="6178"/>
                      </a:cubicBezTo>
                      <a:cubicBezTo>
                        <a:pt x="35135" y="6166"/>
                        <a:pt x="36563" y="5909"/>
                        <a:pt x="36060" y="7138"/>
                      </a:cubicBezTo>
                      <a:cubicBezTo>
                        <a:pt x="39714" y="3742"/>
                        <a:pt x="47689" y="6494"/>
                        <a:pt x="41048" y="10043"/>
                      </a:cubicBezTo>
                      <a:cubicBezTo>
                        <a:pt x="43930" y="11507"/>
                        <a:pt x="47244" y="11846"/>
                        <a:pt x="50371" y="11050"/>
                      </a:cubicBezTo>
                      <a:cubicBezTo>
                        <a:pt x="48778" y="12303"/>
                        <a:pt x="45979" y="13755"/>
                        <a:pt x="44093" y="14353"/>
                      </a:cubicBezTo>
                      <a:cubicBezTo>
                        <a:pt x="41646" y="11179"/>
                        <a:pt x="38050" y="12174"/>
                        <a:pt x="36786" y="13451"/>
                      </a:cubicBezTo>
                      <a:cubicBezTo>
                        <a:pt x="36715" y="14973"/>
                        <a:pt x="36692" y="14189"/>
                        <a:pt x="37160" y="15407"/>
                      </a:cubicBezTo>
                      <a:cubicBezTo>
                        <a:pt x="34596" y="15524"/>
                        <a:pt x="32253" y="12959"/>
                        <a:pt x="31105" y="13275"/>
                      </a:cubicBezTo>
                      <a:cubicBezTo>
                        <a:pt x="27322" y="14341"/>
                        <a:pt x="26491" y="18323"/>
                        <a:pt x="22497" y="18288"/>
                      </a:cubicBezTo>
                      <a:cubicBezTo>
                        <a:pt x="22029" y="13744"/>
                        <a:pt x="18305" y="15875"/>
                        <a:pt x="14979" y="15395"/>
                      </a:cubicBezTo>
                      <a:cubicBezTo>
                        <a:pt x="16138" y="13580"/>
                        <a:pt x="16478" y="10991"/>
                        <a:pt x="17473" y="8895"/>
                      </a:cubicBezTo>
                      <a:cubicBezTo>
                        <a:pt x="14616" y="9340"/>
                        <a:pt x="10985" y="10183"/>
                        <a:pt x="7823" y="10019"/>
                      </a:cubicBezTo>
                      <a:cubicBezTo>
                        <a:pt x="12226" y="3648"/>
                        <a:pt x="3653" y="7560"/>
                        <a:pt x="0" y="6166"/>
                      </a:cubicBezTo>
                      <a:cubicBezTo>
                        <a:pt x="6300" y="1821"/>
                        <a:pt x="13714" y="-1751"/>
                        <a:pt x="22322" y="920"/>
                      </a:cubicBezTo>
                      <a:lnTo>
                        <a:pt x="22322" y="920"/>
                      </a:lnTo>
                      <a:close/>
                    </a:path>
                  </a:pathLst>
                </a:custGeom>
                <a:solidFill>
                  <a:srgbClr val="D6D6D2"/>
                </a:solidFill>
                <a:ln w="11699"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3E2D496F-F1A8-4BC0-93CC-4447700B9C76}"/>
                    </a:ext>
                  </a:extLst>
                </p:cNvPr>
                <p:cNvSpPr/>
                <p:nvPr/>
              </p:nvSpPr>
              <p:spPr>
                <a:xfrm>
                  <a:off x="3381749" y="4733503"/>
                  <a:ext cx="101504" cy="186250"/>
                </a:xfrm>
                <a:custGeom>
                  <a:avLst/>
                  <a:gdLst>
                    <a:gd name="connsiteX0" fmla="*/ 82227 w 101504"/>
                    <a:gd name="connsiteY0" fmla="*/ 3340 h 186250"/>
                    <a:gd name="connsiteX1" fmla="*/ 84745 w 101504"/>
                    <a:gd name="connsiteY1" fmla="*/ 4570 h 186250"/>
                    <a:gd name="connsiteX2" fmla="*/ 95625 w 101504"/>
                    <a:gd name="connsiteY2" fmla="*/ 9395 h 186250"/>
                    <a:gd name="connsiteX3" fmla="*/ 101504 w 101504"/>
                    <a:gd name="connsiteY3" fmla="*/ 15602 h 186250"/>
                    <a:gd name="connsiteX4" fmla="*/ 95051 w 101504"/>
                    <a:gd name="connsiteY4" fmla="*/ 38018 h 186250"/>
                    <a:gd name="connsiteX5" fmla="*/ 92908 w 101504"/>
                    <a:gd name="connsiteY5" fmla="*/ 38428 h 186250"/>
                    <a:gd name="connsiteX6" fmla="*/ 89360 w 101504"/>
                    <a:gd name="connsiteY6" fmla="*/ 53993 h 186250"/>
                    <a:gd name="connsiteX7" fmla="*/ 82497 w 101504"/>
                    <a:gd name="connsiteY7" fmla="*/ 63900 h 186250"/>
                    <a:gd name="connsiteX8" fmla="*/ 80365 w 101504"/>
                    <a:gd name="connsiteY8" fmla="*/ 75518 h 186250"/>
                    <a:gd name="connsiteX9" fmla="*/ 68291 w 101504"/>
                    <a:gd name="connsiteY9" fmla="*/ 120690 h 186250"/>
                    <a:gd name="connsiteX10" fmla="*/ 50349 w 101504"/>
                    <a:gd name="connsiteY10" fmla="*/ 145272 h 186250"/>
                    <a:gd name="connsiteX11" fmla="*/ 42537 w 101504"/>
                    <a:gd name="connsiteY11" fmla="*/ 165205 h 186250"/>
                    <a:gd name="connsiteX12" fmla="*/ 42432 w 101504"/>
                    <a:gd name="connsiteY12" fmla="*/ 179399 h 186250"/>
                    <a:gd name="connsiteX13" fmla="*/ 40722 w 101504"/>
                    <a:gd name="connsiteY13" fmla="*/ 186251 h 186250"/>
                    <a:gd name="connsiteX14" fmla="*/ 33507 w 101504"/>
                    <a:gd name="connsiteY14" fmla="*/ 182726 h 186250"/>
                    <a:gd name="connsiteX15" fmla="*/ 29713 w 101504"/>
                    <a:gd name="connsiteY15" fmla="*/ 165896 h 186250"/>
                    <a:gd name="connsiteX16" fmla="*/ 11771 w 101504"/>
                    <a:gd name="connsiteY16" fmla="*/ 149231 h 186250"/>
                    <a:gd name="connsiteX17" fmla="*/ 14301 w 101504"/>
                    <a:gd name="connsiteY17" fmla="*/ 152205 h 186250"/>
                    <a:gd name="connsiteX18" fmla="*/ 5564 w 101504"/>
                    <a:gd name="connsiteY18" fmla="*/ 124437 h 186250"/>
                    <a:gd name="connsiteX19" fmla="*/ 2858 w 101504"/>
                    <a:gd name="connsiteY19" fmla="*/ 125761 h 186250"/>
                    <a:gd name="connsiteX20" fmla="*/ 2132 w 101504"/>
                    <a:gd name="connsiteY20" fmla="*/ 120842 h 186250"/>
                    <a:gd name="connsiteX21" fmla="*/ 1 w 101504"/>
                    <a:gd name="connsiteY21" fmla="*/ 120092 h 186250"/>
                    <a:gd name="connsiteX22" fmla="*/ 1558 w 101504"/>
                    <a:gd name="connsiteY22" fmla="*/ 119706 h 186250"/>
                    <a:gd name="connsiteX23" fmla="*/ 4674 w 101504"/>
                    <a:gd name="connsiteY23" fmla="*/ 108451 h 186250"/>
                    <a:gd name="connsiteX24" fmla="*/ 3198 w 101504"/>
                    <a:gd name="connsiteY24" fmla="*/ 108029 h 186250"/>
                    <a:gd name="connsiteX25" fmla="*/ 5482 w 101504"/>
                    <a:gd name="connsiteY25" fmla="*/ 106273 h 186250"/>
                    <a:gd name="connsiteX26" fmla="*/ 5119 w 101504"/>
                    <a:gd name="connsiteY26" fmla="*/ 99129 h 186250"/>
                    <a:gd name="connsiteX27" fmla="*/ 46378 w 101504"/>
                    <a:gd name="connsiteY27" fmla="*/ 21048 h 186250"/>
                    <a:gd name="connsiteX28" fmla="*/ 72167 w 101504"/>
                    <a:gd name="connsiteY28" fmla="*/ 8130 h 186250"/>
                    <a:gd name="connsiteX29" fmla="*/ 82227 w 101504"/>
                    <a:gd name="connsiteY29" fmla="*/ 3340 h 186250"/>
                    <a:gd name="connsiteX30" fmla="*/ 82227 w 101504"/>
                    <a:gd name="connsiteY30" fmla="*/ 3340 h 18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1504" h="186250">
                      <a:moveTo>
                        <a:pt x="82227" y="3340"/>
                      </a:moveTo>
                      <a:cubicBezTo>
                        <a:pt x="83118" y="4382"/>
                        <a:pt x="83012" y="5120"/>
                        <a:pt x="84745" y="4570"/>
                      </a:cubicBezTo>
                      <a:cubicBezTo>
                        <a:pt x="85635" y="9102"/>
                        <a:pt x="91561" y="7006"/>
                        <a:pt x="95625" y="9395"/>
                      </a:cubicBezTo>
                      <a:cubicBezTo>
                        <a:pt x="98097" y="10847"/>
                        <a:pt x="95672" y="15415"/>
                        <a:pt x="101504" y="15602"/>
                      </a:cubicBezTo>
                      <a:cubicBezTo>
                        <a:pt x="94688" y="17886"/>
                        <a:pt x="84452" y="35453"/>
                        <a:pt x="95051" y="38018"/>
                      </a:cubicBezTo>
                      <a:cubicBezTo>
                        <a:pt x="94923" y="38077"/>
                        <a:pt x="93119" y="38416"/>
                        <a:pt x="92908" y="38428"/>
                      </a:cubicBezTo>
                      <a:cubicBezTo>
                        <a:pt x="93646" y="41485"/>
                        <a:pt x="90859" y="50795"/>
                        <a:pt x="89360" y="53993"/>
                      </a:cubicBezTo>
                      <a:cubicBezTo>
                        <a:pt x="87439" y="58092"/>
                        <a:pt x="84054" y="59438"/>
                        <a:pt x="82497" y="63900"/>
                      </a:cubicBezTo>
                      <a:cubicBezTo>
                        <a:pt x="81115" y="67871"/>
                        <a:pt x="81150" y="70974"/>
                        <a:pt x="80365" y="75518"/>
                      </a:cubicBezTo>
                      <a:cubicBezTo>
                        <a:pt x="77812" y="90591"/>
                        <a:pt x="73327" y="106847"/>
                        <a:pt x="68291" y="120690"/>
                      </a:cubicBezTo>
                      <a:cubicBezTo>
                        <a:pt x="64508" y="131101"/>
                        <a:pt x="57258" y="137238"/>
                        <a:pt x="50349" y="145272"/>
                      </a:cubicBezTo>
                      <a:cubicBezTo>
                        <a:pt x="46121" y="150191"/>
                        <a:pt x="43568" y="159010"/>
                        <a:pt x="42537" y="165205"/>
                      </a:cubicBezTo>
                      <a:cubicBezTo>
                        <a:pt x="41776" y="169819"/>
                        <a:pt x="43193" y="174738"/>
                        <a:pt x="42432" y="179399"/>
                      </a:cubicBezTo>
                      <a:cubicBezTo>
                        <a:pt x="41998" y="182105"/>
                        <a:pt x="40007" y="182749"/>
                        <a:pt x="40722" y="186251"/>
                      </a:cubicBezTo>
                      <a:cubicBezTo>
                        <a:pt x="37243" y="181367"/>
                        <a:pt x="35252" y="185560"/>
                        <a:pt x="33507" y="182726"/>
                      </a:cubicBezTo>
                      <a:cubicBezTo>
                        <a:pt x="30626" y="178076"/>
                        <a:pt x="32840" y="171635"/>
                        <a:pt x="29713" y="165896"/>
                      </a:cubicBezTo>
                      <a:cubicBezTo>
                        <a:pt x="25391" y="158002"/>
                        <a:pt x="15249" y="156433"/>
                        <a:pt x="11771" y="149231"/>
                      </a:cubicBezTo>
                      <a:cubicBezTo>
                        <a:pt x="12614" y="150215"/>
                        <a:pt x="13457" y="151210"/>
                        <a:pt x="14301" y="152205"/>
                      </a:cubicBezTo>
                      <a:cubicBezTo>
                        <a:pt x="11970" y="143925"/>
                        <a:pt x="2729" y="133174"/>
                        <a:pt x="5564" y="124437"/>
                      </a:cubicBezTo>
                      <a:cubicBezTo>
                        <a:pt x="4182" y="124847"/>
                        <a:pt x="4029" y="124894"/>
                        <a:pt x="2858" y="125761"/>
                      </a:cubicBezTo>
                      <a:cubicBezTo>
                        <a:pt x="668" y="123957"/>
                        <a:pt x="-1276" y="123336"/>
                        <a:pt x="2132" y="120842"/>
                      </a:cubicBezTo>
                      <a:cubicBezTo>
                        <a:pt x="1898" y="120772"/>
                        <a:pt x="94" y="120174"/>
                        <a:pt x="1" y="120092"/>
                      </a:cubicBezTo>
                      <a:cubicBezTo>
                        <a:pt x="-34" y="120128"/>
                        <a:pt x="1312" y="118991"/>
                        <a:pt x="1558" y="119706"/>
                      </a:cubicBezTo>
                      <a:cubicBezTo>
                        <a:pt x="-444" y="116802"/>
                        <a:pt x="2062" y="109388"/>
                        <a:pt x="4674" y="108451"/>
                      </a:cubicBezTo>
                      <a:cubicBezTo>
                        <a:pt x="4135" y="107913"/>
                        <a:pt x="4275" y="108029"/>
                        <a:pt x="3198" y="108029"/>
                      </a:cubicBezTo>
                      <a:cubicBezTo>
                        <a:pt x="4580" y="106741"/>
                        <a:pt x="3573" y="107315"/>
                        <a:pt x="5482" y="106273"/>
                      </a:cubicBezTo>
                      <a:cubicBezTo>
                        <a:pt x="3725" y="103661"/>
                        <a:pt x="3491" y="101319"/>
                        <a:pt x="5119" y="99129"/>
                      </a:cubicBezTo>
                      <a:cubicBezTo>
                        <a:pt x="-5117" y="95416"/>
                        <a:pt x="42806" y="27653"/>
                        <a:pt x="46378" y="21048"/>
                      </a:cubicBezTo>
                      <a:cubicBezTo>
                        <a:pt x="49974" y="14431"/>
                        <a:pt x="65023" y="3118"/>
                        <a:pt x="72167" y="8130"/>
                      </a:cubicBezTo>
                      <a:cubicBezTo>
                        <a:pt x="66065" y="3539"/>
                        <a:pt x="78538" y="-4612"/>
                        <a:pt x="82227" y="3340"/>
                      </a:cubicBezTo>
                      <a:lnTo>
                        <a:pt x="82227" y="3340"/>
                      </a:lnTo>
                      <a:close/>
                    </a:path>
                  </a:pathLst>
                </a:custGeom>
                <a:solidFill>
                  <a:srgbClr val="D6D6D2"/>
                </a:solidFill>
                <a:ln w="8774" cap="rnd">
                  <a:solidFill>
                    <a:srgbClr val="FFFFFF"/>
                  </a:solidFill>
                  <a:prstDash val="solid"/>
                  <a:round/>
                </a:ln>
              </p:spPr>
              <p:txBody>
                <a:bodyPr rtlCol="0" anchor="ctr"/>
                <a:lstStyle/>
                <a:p>
                  <a:endParaRPr lang="en-US"/>
                </a:p>
              </p:txBody>
            </p:sp>
            <p:sp>
              <p:nvSpPr>
                <p:cNvPr id="102" name="Freeform: Shape 101">
                  <a:extLst>
                    <a:ext uri="{FF2B5EF4-FFF2-40B4-BE49-F238E27FC236}">
                      <a16:creationId xmlns:a16="http://schemas.microsoft.com/office/drawing/2014/main" id="{C7F45AC1-B2F5-4CAD-9D7B-FF47054FD0B3}"/>
                    </a:ext>
                  </a:extLst>
                </p:cNvPr>
                <p:cNvSpPr/>
                <p:nvPr/>
              </p:nvSpPr>
              <p:spPr>
                <a:xfrm>
                  <a:off x="3634375" y="6515912"/>
                  <a:ext cx="124606" cy="60952"/>
                </a:xfrm>
                <a:custGeom>
                  <a:avLst/>
                  <a:gdLst>
                    <a:gd name="connsiteX0" fmla="*/ 114040 w 124606"/>
                    <a:gd name="connsiteY0" fmla="*/ 1915 h 60952"/>
                    <a:gd name="connsiteX1" fmla="*/ 124369 w 124606"/>
                    <a:gd name="connsiteY1" fmla="*/ 2957 h 60952"/>
                    <a:gd name="connsiteX2" fmla="*/ 111721 w 124606"/>
                    <a:gd name="connsiteY2" fmla="*/ 16953 h 60952"/>
                    <a:gd name="connsiteX3" fmla="*/ 91694 w 124606"/>
                    <a:gd name="connsiteY3" fmla="*/ 23523 h 60952"/>
                    <a:gd name="connsiteX4" fmla="*/ 79315 w 124606"/>
                    <a:gd name="connsiteY4" fmla="*/ 33079 h 60952"/>
                    <a:gd name="connsiteX5" fmla="*/ 65191 w 124606"/>
                    <a:gd name="connsiteY5" fmla="*/ 35093 h 60952"/>
                    <a:gd name="connsiteX6" fmla="*/ 54498 w 124606"/>
                    <a:gd name="connsiteY6" fmla="*/ 42015 h 60952"/>
                    <a:gd name="connsiteX7" fmla="*/ 38840 w 124606"/>
                    <a:gd name="connsiteY7" fmla="*/ 45493 h 60952"/>
                    <a:gd name="connsiteX8" fmla="*/ 20242 w 124606"/>
                    <a:gd name="connsiteY8" fmla="*/ 53586 h 60952"/>
                    <a:gd name="connsiteX9" fmla="*/ 8285 w 124606"/>
                    <a:gd name="connsiteY9" fmla="*/ 60953 h 60952"/>
                    <a:gd name="connsiteX10" fmla="*/ 3331 w 124606"/>
                    <a:gd name="connsiteY10" fmla="*/ 46020 h 60952"/>
                    <a:gd name="connsiteX11" fmla="*/ 12864 w 124606"/>
                    <a:gd name="connsiteY11" fmla="*/ 43807 h 60952"/>
                    <a:gd name="connsiteX12" fmla="*/ 8624 w 124606"/>
                    <a:gd name="connsiteY12" fmla="*/ 36241 h 60952"/>
                    <a:gd name="connsiteX13" fmla="*/ 976 w 124606"/>
                    <a:gd name="connsiteY13" fmla="*/ 38853 h 60952"/>
                    <a:gd name="connsiteX14" fmla="*/ 3225 w 124606"/>
                    <a:gd name="connsiteY14" fmla="*/ 31885 h 60952"/>
                    <a:gd name="connsiteX15" fmla="*/ 10076 w 124606"/>
                    <a:gd name="connsiteY15" fmla="*/ 24635 h 60952"/>
                    <a:gd name="connsiteX16" fmla="*/ 12852 w 124606"/>
                    <a:gd name="connsiteY16" fmla="*/ 15969 h 60952"/>
                    <a:gd name="connsiteX17" fmla="*/ 33289 w 124606"/>
                    <a:gd name="connsiteY17" fmla="*/ 11483 h 60952"/>
                    <a:gd name="connsiteX18" fmla="*/ 57403 w 124606"/>
                    <a:gd name="connsiteY18" fmla="*/ 9152 h 60952"/>
                    <a:gd name="connsiteX19" fmla="*/ 74419 w 124606"/>
                    <a:gd name="connsiteY19" fmla="*/ 6307 h 60952"/>
                    <a:gd name="connsiteX20" fmla="*/ 81645 w 124606"/>
                    <a:gd name="connsiteY20" fmla="*/ 6213 h 60952"/>
                    <a:gd name="connsiteX21" fmla="*/ 92338 w 124606"/>
                    <a:gd name="connsiteY21" fmla="*/ 5733 h 60952"/>
                    <a:gd name="connsiteX22" fmla="*/ 114040 w 124606"/>
                    <a:gd name="connsiteY22" fmla="*/ 1915 h 60952"/>
                    <a:gd name="connsiteX23" fmla="*/ 114040 w 124606"/>
                    <a:gd name="connsiteY23" fmla="*/ 1915 h 60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4606" h="60952">
                      <a:moveTo>
                        <a:pt x="114040" y="1915"/>
                      </a:moveTo>
                      <a:cubicBezTo>
                        <a:pt x="116522" y="884"/>
                        <a:pt x="122659" y="-334"/>
                        <a:pt x="124369" y="2957"/>
                      </a:cubicBezTo>
                      <a:cubicBezTo>
                        <a:pt x="126313" y="6717"/>
                        <a:pt x="115773" y="14294"/>
                        <a:pt x="111721" y="16953"/>
                      </a:cubicBezTo>
                      <a:cubicBezTo>
                        <a:pt x="105174" y="21262"/>
                        <a:pt x="98756" y="20700"/>
                        <a:pt x="91694" y="23523"/>
                      </a:cubicBezTo>
                      <a:cubicBezTo>
                        <a:pt x="86354" y="25666"/>
                        <a:pt x="84597" y="30842"/>
                        <a:pt x="79315" y="33079"/>
                      </a:cubicBezTo>
                      <a:cubicBezTo>
                        <a:pt x="75087" y="34871"/>
                        <a:pt x="69536" y="33431"/>
                        <a:pt x="65191" y="35093"/>
                      </a:cubicBezTo>
                      <a:cubicBezTo>
                        <a:pt x="61186" y="36628"/>
                        <a:pt x="58386" y="40387"/>
                        <a:pt x="54498" y="42015"/>
                      </a:cubicBezTo>
                      <a:cubicBezTo>
                        <a:pt x="50481" y="43701"/>
                        <a:pt x="43325" y="44240"/>
                        <a:pt x="38840" y="45493"/>
                      </a:cubicBezTo>
                      <a:cubicBezTo>
                        <a:pt x="32387" y="47285"/>
                        <a:pt x="26402" y="50050"/>
                        <a:pt x="20242" y="53586"/>
                      </a:cubicBezTo>
                      <a:cubicBezTo>
                        <a:pt x="16787" y="55577"/>
                        <a:pt x="11072" y="57955"/>
                        <a:pt x="8285" y="60953"/>
                      </a:cubicBezTo>
                      <a:cubicBezTo>
                        <a:pt x="7477" y="57018"/>
                        <a:pt x="1304" y="49300"/>
                        <a:pt x="3331" y="46020"/>
                      </a:cubicBezTo>
                      <a:cubicBezTo>
                        <a:pt x="5017" y="43303"/>
                        <a:pt x="10767" y="47672"/>
                        <a:pt x="12864" y="43807"/>
                      </a:cubicBezTo>
                      <a:cubicBezTo>
                        <a:pt x="16342" y="37377"/>
                        <a:pt x="10662" y="36194"/>
                        <a:pt x="8624" y="36241"/>
                      </a:cubicBezTo>
                      <a:cubicBezTo>
                        <a:pt x="6422" y="36288"/>
                        <a:pt x="3893" y="41371"/>
                        <a:pt x="976" y="38853"/>
                      </a:cubicBezTo>
                      <a:cubicBezTo>
                        <a:pt x="-1893" y="36359"/>
                        <a:pt x="2394" y="33314"/>
                        <a:pt x="3225" y="31885"/>
                      </a:cubicBezTo>
                      <a:cubicBezTo>
                        <a:pt x="4911" y="28992"/>
                        <a:pt x="8894" y="26849"/>
                        <a:pt x="10076" y="24635"/>
                      </a:cubicBezTo>
                      <a:cubicBezTo>
                        <a:pt x="11857" y="21309"/>
                        <a:pt x="9772" y="18592"/>
                        <a:pt x="12852" y="15969"/>
                      </a:cubicBezTo>
                      <a:cubicBezTo>
                        <a:pt x="16330" y="12982"/>
                        <a:pt x="29119" y="12080"/>
                        <a:pt x="33289" y="11483"/>
                      </a:cubicBezTo>
                      <a:cubicBezTo>
                        <a:pt x="40878" y="10394"/>
                        <a:pt x="48900" y="8649"/>
                        <a:pt x="57403" y="9152"/>
                      </a:cubicBezTo>
                      <a:cubicBezTo>
                        <a:pt x="63984" y="9539"/>
                        <a:pt x="68119" y="7431"/>
                        <a:pt x="74419" y="6307"/>
                      </a:cubicBezTo>
                      <a:cubicBezTo>
                        <a:pt x="77992" y="5674"/>
                        <a:pt x="78308" y="6049"/>
                        <a:pt x="81645" y="6213"/>
                      </a:cubicBezTo>
                      <a:cubicBezTo>
                        <a:pt x="86986" y="6494"/>
                        <a:pt x="86295" y="7185"/>
                        <a:pt x="92338" y="5733"/>
                      </a:cubicBezTo>
                      <a:cubicBezTo>
                        <a:pt x="99681" y="3941"/>
                        <a:pt x="106860" y="-3437"/>
                        <a:pt x="114040" y="1915"/>
                      </a:cubicBezTo>
                      <a:lnTo>
                        <a:pt x="114040" y="1915"/>
                      </a:lnTo>
                      <a:close/>
                    </a:path>
                  </a:pathLst>
                </a:custGeom>
                <a:solidFill>
                  <a:srgbClr val="D6D6D2"/>
                </a:solidFill>
                <a:ln w="11699"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346533A6-F129-44ED-8654-B84B6E4D9573}"/>
                    </a:ext>
                  </a:extLst>
                </p:cNvPr>
                <p:cNvSpPr/>
                <p:nvPr/>
              </p:nvSpPr>
              <p:spPr>
                <a:xfrm>
                  <a:off x="1370" y="3704141"/>
                  <a:ext cx="593657" cy="464693"/>
                </a:xfrm>
                <a:custGeom>
                  <a:avLst/>
                  <a:gdLst>
                    <a:gd name="connsiteX0" fmla="*/ 12 w 593657"/>
                    <a:gd name="connsiteY0" fmla="*/ 82523 h 464693"/>
                    <a:gd name="connsiteX1" fmla="*/ 12871 w 593657"/>
                    <a:gd name="connsiteY1" fmla="*/ 94187 h 464693"/>
                    <a:gd name="connsiteX2" fmla="*/ 43426 w 593657"/>
                    <a:gd name="connsiteY2" fmla="*/ 90674 h 464693"/>
                    <a:gd name="connsiteX3" fmla="*/ 79381 w 593657"/>
                    <a:gd name="connsiteY3" fmla="*/ 92430 h 464693"/>
                    <a:gd name="connsiteX4" fmla="*/ 92568 w 593657"/>
                    <a:gd name="connsiteY4" fmla="*/ 94082 h 464693"/>
                    <a:gd name="connsiteX5" fmla="*/ 99454 w 593657"/>
                    <a:gd name="connsiteY5" fmla="*/ 87524 h 464693"/>
                    <a:gd name="connsiteX6" fmla="*/ 94559 w 593657"/>
                    <a:gd name="connsiteY6" fmla="*/ 52647 h 464693"/>
                    <a:gd name="connsiteX7" fmla="*/ 94535 w 593657"/>
                    <a:gd name="connsiteY7" fmla="*/ 68984 h 464693"/>
                    <a:gd name="connsiteX8" fmla="*/ 97662 w 593657"/>
                    <a:gd name="connsiteY8" fmla="*/ 60552 h 464693"/>
                    <a:gd name="connsiteX9" fmla="*/ 103038 w 593657"/>
                    <a:gd name="connsiteY9" fmla="*/ 68832 h 464693"/>
                    <a:gd name="connsiteX10" fmla="*/ 110264 w 593657"/>
                    <a:gd name="connsiteY10" fmla="*/ 76620 h 464693"/>
                    <a:gd name="connsiteX11" fmla="*/ 113766 w 593657"/>
                    <a:gd name="connsiteY11" fmla="*/ 73071 h 464693"/>
                    <a:gd name="connsiteX12" fmla="*/ 117818 w 593657"/>
                    <a:gd name="connsiteY12" fmla="*/ 74219 h 464693"/>
                    <a:gd name="connsiteX13" fmla="*/ 125653 w 593657"/>
                    <a:gd name="connsiteY13" fmla="*/ 72088 h 464693"/>
                    <a:gd name="connsiteX14" fmla="*/ 136837 w 593657"/>
                    <a:gd name="connsiteY14" fmla="*/ 60669 h 464693"/>
                    <a:gd name="connsiteX15" fmla="*/ 130806 w 593657"/>
                    <a:gd name="connsiteY15" fmla="*/ 54977 h 464693"/>
                    <a:gd name="connsiteX16" fmla="*/ 126344 w 593657"/>
                    <a:gd name="connsiteY16" fmla="*/ 53607 h 464693"/>
                    <a:gd name="connsiteX17" fmla="*/ 128124 w 593657"/>
                    <a:gd name="connsiteY17" fmla="*/ 49414 h 464693"/>
                    <a:gd name="connsiteX18" fmla="*/ 124693 w 593657"/>
                    <a:gd name="connsiteY18" fmla="*/ 40092 h 464693"/>
                    <a:gd name="connsiteX19" fmla="*/ 137294 w 593657"/>
                    <a:gd name="connsiteY19" fmla="*/ 31671 h 464693"/>
                    <a:gd name="connsiteX20" fmla="*/ 144602 w 593657"/>
                    <a:gd name="connsiteY20" fmla="*/ 16552 h 464693"/>
                    <a:gd name="connsiteX21" fmla="*/ 151934 w 593657"/>
                    <a:gd name="connsiteY21" fmla="*/ 19082 h 464693"/>
                    <a:gd name="connsiteX22" fmla="*/ 162615 w 593657"/>
                    <a:gd name="connsiteY22" fmla="*/ 22876 h 464693"/>
                    <a:gd name="connsiteX23" fmla="*/ 164348 w 593657"/>
                    <a:gd name="connsiteY23" fmla="*/ 30125 h 464693"/>
                    <a:gd name="connsiteX24" fmla="*/ 168927 w 593657"/>
                    <a:gd name="connsiteY24" fmla="*/ 28825 h 464693"/>
                    <a:gd name="connsiteX25" fmla="*/ 164160 w 593657"/>
                    <a:gd name="connsiteY25" fmla="*/ 22876 h 464693"/>
                    <a:gd name="connsiteX26" fmla="*/ 156267 w 593657"/>
                    <a:gd name="connsiteY26" fmla="*/ 13132 h 464693"/>
                    <a:gd name="connsiteX27" fmla="*/ 151910 w 593657"/>
                    <a:gd name="connsiteY27" fmla="*/ 6878 h 464693"/>
                    <a:gd name="connsiteX28" fmla="*/ 163575 w 593657"/>
                    <a:gd name="connsiteY28" fmla="*/ 6772 h 464693"/>
                    <a:gd name="connsiteX29" fmla="*/ 170005 w 593657"/>
                    <a:gd name="connsiteY29" fmla="*/ 7241 h 464693"/>
                    <a:gd name="connsiteX30" fmla="*/ 172768 w 593657"/>
                    <a:gd name="connsiteY30" fmla="*/ 308 h 464693"/>
                    <a:gd name="connsiteX31" fmla="*/ 195817 w 593657"/>
                    <a:gd name="connsiteY31" fmla="*/ 15486 h 464693"/>
                    <a:gd name="connsiteX32" fmla="*/ 202949 w 593657"/>
                    <a:gd name="connsiteY32" fmla="*/ 14994 h 464693"/>
                    <a:gd name="connsiteX33" fmla="*/ 208149 w 593657"/>
                    <a:gd name="connsiteY33" fmla="*/ 25125 h 464693"/>
                    <a:gd name="connsiteX34" fmla="*/ 231338 w 593657"/>
                    <a:gd name="connsiteY34" fmla="*/ 28626 h 464693"/>
                    <a:gd name="connsiteX35" fmla="*/ 248612 w 593657"/>
                    <a:gd name="connsiteY35" fmla="*/ 38007 h 464693"/>
                    <a:gd name="connsiteX36" fmla="*/ 247301 w 593657"/>
                    <a:gd name="connsiteY36" fmla="*/ 47341 h 464693"/>
                    <a:gd name="connsiteX37" fmla="*/ 245251 w 593657"/>
                    <a:gd name="connsiteY37" fmla="*/ 51253 h 464693"/>
                    <a:gd name="connsiteX38" fmla="*/ 257466 w 593657"/>
                    <a:gd name="connsiteY38" fmla="*/ 58093 h 464693"/>
                    <a:gd name="connsiteX39" fmla="*/ 256412 w 593657"/>
                    <a:gd name="connsiteY39" fmla="*/ 61243 h 464693"/>
                    <a:gd name="connsiteX40" fmla="*/ 251306 w 593657"/>
                    <a:gd name="connsiteY40" fmla="*/ 67005 h 464693"/>
                    <a:gd name="connsiteX41" fmla="*/ 256026 w 593657"/>
                    <a:gd name="connsiteY41" fmla="*/ 73704 h 464693"/>
                    <a:gd name="connsiteX42" fmla="*/ 252313 w 593657"/>
                    <a:gd name="connsiteY42" fmla="*/ 76456 h 464693"/>
                    <a:gd name="connsiteX43" fmla="*/ 252290 w 593657"/>
                    <a:gd name="connsiteY43" fmla="*/ 86130 h 464693"/>
                    <a:gd name="connsiteX44" fmla="*/ 269822 w 593657"/>
                    <a:gd name="connsiteY44" fmla="*/ 96249 h 464693"/>
                    <a:gd name="connsiteX45" fmla="*/ 285586 w 593657"/>
                    <a:gd name="connsiteY45" fmla="*/ 95019 h 464693"/>
                    <a:gd name="connsiteX46" fmla="*/ 300190 w 593657"/>
                    <a:gd name="connsiteY46" fmla="*/ 95628 h 464693"/>
                    <a:gd name="connsiteX47" fmla="*/ 316527 w 593657"/>
                    <a:gd name="connsiteY47" fmla="*/ 99422 h 464693"/>
                    <a:gd name="connsiteX48" fmla="*/ 326728 w 593657"/>
                    <a:gd name="connsiteY48" fmla="*/ 92513 h 464693"/>
                    <a:gd name="connsiteX49" fmla="*/ 348371 w 593657"/>
                    <a:gd name="connsiteY49" fmla="*/ 106508 h 464693"/>
                    <a:gd name="connsiteX50" fmla="*/ 352728 w 593657"/>
                    <a:gd name="connsiteY50" fmla="*/ 122517 h 464693"/>
                    <a:gd name="connsiteX51" fmla="*/ 360938 w 593657"/>
                    <a:gd name="connsiteY51" fmla="*/ 139171 h 464693"/>
                    <a:gd name="connsiteX52" fmla="*/ 370459 w 593657"/>
                    <a:gd name="connsiteY52" fmla="*/ 148517 h 464693"/>
                    <a:gd name="connsiteX53" fmla="*/ 379149 w 593657"/>
                    <a:gd name="connsiteY53" fmla="*/ 175828 h 464693"/>
                    <a:gd name="connsiteX54" fmla="*/ 429333 w 593657"/>
                    <a:gd name="connsiteY54" fmla="*/ 209159 h 464693"/>
                    <a:gd name="connsiteX55" fmla="*/ 450355 w 593657"/>
                    <a:gd name="connsiteY55" fmla="*/ 227874 h 464693"/>
                    <a:gd name="connsiteX56" fmla="*/ 462406 w 593657"/>
                    <a:gd name="connsiteY56" fmla="*/ 235721 h 464693"/>
                    <a:gd name="connsiteX57" fmla="*/ 469890 w 593657"/>
                    <a:gd name="connsiteY57" fmla="*/ 235112 h 464693"/>
                    <a:gd name="connsiteX58" fmla="*/ 487855 w 593657"/>
                    <a:gd name="connsiteY58" fmla="*/ 247925 h 464693"/>
                    <a:gd name="connsiteX59" fmla="*/ 512520 w 593657"/>
                    <a:gd name="connsiteY59" fmla="*/ 261487 h 464693"/>
                    <a:gd name="connsiteX60" fmla="*/ 538894 w 593657"/>
                    <a:gd name="connsiteY60" fmla="*/ 279183 h 464693"/>
                    <a:gd name="connsiteX61" fmla="*/ 557925 w 593657"/>
                    <a:gd name="connsiteY61" fmla="*/ 279347 h 464693"/>
                    <a:gd name="connsiteX62" fmla="*/ 580376 w 593657"/>
                    <a:gd name="connsiteY62" fmla="*/ 290953 h 464693"/>
                    <a:gd name="connsiteX63" fmla="*/ 593657 w 593657"/>
                    <a:gd name="connsiteY63" fmla="*/ 298272 h 464693"/>
                    <a:gd name="connsiteX64" fmla="*/ 587321 w 593657"/>
                    <a:gd name="connsiteY64" fmla="*/ 309644 h 464693"/>
                    <a:gd name="connsiteX65" fmla="*/ 586244 w 593657"/>
                    <a:gd name="connsiteY65" fmla="*/ 322445 h 464693"/>
                    <a:gd name="connsiteX66" fmla="*/ 588563 w 593657"/>
                    <a:gd name="connsiteY66" fmla="*/ 327914 h 464693"/>
                    <a:gd name="connsiteX67" fmla="*/ 587567 w 593657"/>
                    <a:gd name="connsiteY67" fmla="*/ 332505 h 464693"/>
                    <a:gd name="connsiteX68" fmla="*/ 548006 w 593657"/>
                    <a:gd name="connsiteY68" fmla="*/ 319611 h 464693"/>
                    <a:gd name="connsiteX69" fmla="*/ 541459 w 593657"/>
                    <a:gd name="connsiteY69" fmla="*/ 325900 h 464693"/>
                    <a:gd name="connsiteX70" fmla="*/ 535369 w 593657"/>
                    <a:gd name="connsiteY70" fmla="*/ 339392 h 464693"/>
                    <a:gd name="connsiteX71" fmla="*/ 506746 w 593657"/>
                    <a:gd name="connsiteY71" fmla="*/ 342038 h 464693"/>
                    <a:gd name="connsiteX72" fmla="*/ 496580 w 593657"/>
                    <a:gd name="connsiteY72" fmla="*/ 358575 h 464693"/>
                    <a:gd name="connsiteX73" fmla="*/ 486836 w 593657"/>
                    <a:gd name="connsiteY73" fmla="*/ 378309 h 464693"/>
                    <a:gd name="connsiteX74" fmla="*/ 484155 w 593657"/>
                    <a:gd name="connsiteY74" fmla="*/ 393839 h 464693"/>
                    <a:gd name="connsiteX75" fmla="*/ 477573 w 593657"/>
                    <a:gd name="connsiteY75" fmla="*/ 399847 h 464693"/>
                    <a:gd name="connsiteX76" fmla="*/ 470019 w 593657"/>
                    <a:gd name="connsiteY76" fmla="*/ 405058 h 464693"/>
                    <a:gd name="connsiteX77" fmla="*/ 458495 w 593657"/>
                    <a:gd name="connsiteY77" fmla="*/ 414205 h 464693"/>
                    <a:gd name="connsiteX78" fmla="*/ 432706 w 593657"/>
                    <a:gd name="connsiteY78" fmla="*/ 417742 h 464693"/>
                    <a:gd name="connsiteX79" fmla="*/ 421053 w 593657"/>
                    <a:gd name="connsiteY79" fmla="*/ 422637 h 464693"/>
                    <a:gd name="connsiteX80" fmla="*/ 408580 w 593657"/>
                    <a:gd name="connsiteY80" fmla="*/ 424886 h 464693"/>
                    <a:gd name="connsiteX81" fmla="*/ 414588 w 593657"/>
                    <a:gd name="connsiteY81" fmla="*/ 431597 h 464693"/>
                    <a:gd name="connsiteX82" fmla="*/ 407889 w 593657"/>
                    <a:gd name="connsiteY82" fmla="*/ 437323 h 464693"/>
                    <a:gd name="connsiteX83" fmla="*/ 408299 w 593657"/>
                    <a:gd name="connsiteY83" fmla="*/ 447032 h 464693"/>
                    <a:gd name="connsiteX84" fmla="*/ 396260 w 593657"/>
                    <a:gd name="connsiteY84" fmla="*/ 453028 h 464693"/>
                    <a:gd name="connsiteX85" fmla="*/ 386152 w 593657"/>
                    <a:gd name="connsiteY85" fmla="*/ 459481 h 464693"/>
                    <a:gd name="connsiteX86" fmla="*/ 377474 w 593657"/>
                    <a:gd name="connsiteY86" fmla="*/ 458240 h 464693"/>
                    <a:gd name="connsiteX87" fmla="*/ 373504 w 593657"/>
                    <a:gd name="connsiteY87" fmla="*/ 457561 h 464693"/>
                    <a:gd name="connsiteX88" fmla="*/ 367590 w 593657"/>
                    <a:gd name="connsiteY88" fmla="*/ 464693 h 464693"/>
                    <a:gd name="connsiteX89" fmla="*/ 364053 w 593657"/>
                    <a:gd name="connsiteY89" fmla="*/ 456074 h 464693"/>
                    <a:gd name="connsiteX90" fmla="*/ 338229 w 593657"/>
                    <a:gd name="connsiteY90" fmla="*/ 448929 h 464693"/>
                    <a:gd name="connsiteX91" fmla="*/ 319654 w 593657"/>
                    <a:gd name="connsiteY91" fmla="*/ 438682 h 464693"/>
                    <a:gd name="connsiteX92" fmla="*/ 312698 w 593657"/>
                    <a:gd name="connsiteY92" fmla="*/ 429242 h 464693"/>
                    <a:gd name="connsiteX93" fmla="*/ 306444 w 593657"/>
                    <a:gd name="connsiteY93" fmla="*/ 415868 h 464693"/>
                    <a:gd name="connsiteX94" fmla="*/ 307861 w 593657"/>
                    <a:gd name="connsiteY94" fmla="*/ 394858 h 464693"/>
                    <a:gd name="connsiteX95" fmla="*/ 309137 w 593657"/>
                    <a:gd name="connsiteY95" fmla="*/ 379106 h 464693"/>
                    <a:gd name="connsiteX96" fmla="*/ 282822 w 593657"/>
                    <a:gd name="connsiteY96" fmla="*/ 375803 h 464693"/>
                    <a:gd name="connsiteX97" fmla="*/ 266671 w 593657"/>
                    <a:gd name="connsiteY97" fmla="*/ 376072 h 464693"/>
                    <a:gd name="connsiteX98" fmla="*/ 259937 w 593657"/>
                    <a:gd name="connsiteY98" fmla="*/ 368155 h 464693"/>
                    <a:gd name="connsiteX99" fmla="*/ 236936 w 593657"/>
                    <a:gd name="connsiteY99" fmla="*/ 347648 h 464693"/>
                    <a:gd name="connsiteX100" fmla="*/ 227403 w 593657"/>
                    <a:gd name="connsiteY100" fmla="*/ 346852 h 464693"/>
                    <a:gd name="connsiteX101" fmla="*/ 223140 w 593657"/>
                    <a:gd name="connsiteY101" fmla="*/ 342495 h 464693"/>
                    <a:gd name="connsiteX102" fmla="*/ 215293 w 593657"/>
                    <a:gd name="connsiteY102" fmla="*/ 336007 h 464693"/>
                    <a:gd name="connsiteX103" fmla="*/ 208992 w 593657"/>
                    <a:gd name="connsiteY103" fmla="*/ 322808 h 464693"/>
                    <a:gd name="connsiteX104" fmla="*/ 184972 w 593657"/>
                    <a:gd name="connsiteY104" fmla="*/ 312572 h 464693"/>
                    <a:gd name="connsiteX105" fmla="*/ 170824 w 593657"/>
                    <a:gd name="connsiteY105" fmla="*/ 312221 h 464693"/>
                    <a:gd name="connsiteX106" fmla="*/ 162568 w 593657"/>
                    <a:gd name="connsiteY106" fmla="*/ 316449 h 464693"/>
                    <a:gd name="connsiteX107" fmla="*/ 153702 w 593657"/>
                    <a:gd name="connsiteY107" fmla="*/ 311998 h 464693"/>
                    <a:gd name="connsiteX108" fmla="*/ 151360 w 593657"/>
                    <a:gd name="connsiteY108" fmla="*/ 306927 h 464693"/>
                    <a:gd name="connsiteX109" fmla="*/ 136685 w 593657"/>
                    <a:gd name="connsiteY109" fmla="*/ 302149 h 464693"/>
                    <a:gd name="connsiteX110" fmla="*/ 121613 w 593657"/>
                    <a:gd name="connsiteY110" fmla="*/ 298811 h 464693"/>
                    <a:gd name="connsiteX111" fmla="*/ 108742 w 593657"/>
                    <a:gd name="connsiteY111" fmla="*/ 295286 h 464693"/>
                    <a:gd name="connsiteX112" fmla="*/ 105556 w 593657"/>
                    <a:gd name="connsiteY112" fmla="*/ 284265 h 464693"/>
                    <a:gd name="connsiteX113" fmla="*/ 94688 w 593657"/>
                    <a:gd name="connsiteY113" fmla="*/ 281724 h 464693"/>
                    <a:gd name="connsiteX114" fmla="*/ 81219 w 593657"/>
                    <a:gd name="connsiteY114" fmla="*/ 280272 h 464693"/>
                    <a:gd name="connsiteX115" fmla="*/ 70246 w 593657"/>
                    <a:gd name="connsiteY115" fmla="*/ 279792 h 464693"/>
                    <a:gd name="connsiteX116" fmla="*/ 59752 w 593657"/>
                    <a:gd name="connsiteY116" fmla="*/ 279358 h 464693"/>
                    <a:gd name="connsiteX117" fmla="*/ 55302 w 593657"/>
                    <a:gd name="connsiteY117" fmla="*/ 288704 h 464693"/>
                    <a:gd name="connsiteX118" fmla="*/ 29466 w 593657"/>
                    <a:gd name="connsiteY118" fmla="*/ 288154 h 464693"/>
                    <a:gd name="connsiteX119" fmla="*/ 0 w 593657"/>
                    <a:gd name="connsiteY119" fmla="*/ 294337 h 464693"/>
                    <a:gd name="connsiteX120" fmla="*/ 12 w 593657"/>
                    <a:gd name="connsiteY120" fmla="*/ 82523 h 464693"/>
                    <a:gd name="connsiteX121" fmla="*/ 12 w 593657"/>
                    <a:gd name="connsiteY121" fmla="*/ 82523 h 464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593657" h="464693">
                      <a:moveTo>
                        <a:pt x="12" y="82523"/>
                      </a:moveTo>
                      <a:cubicBezTo>
                        <a:pt x="4825" y="85931"/>
                        <a:pt x="7542" y="92360"/>
                        <a:pt x="12871" y="94187"/>
                      </a:cubicBezTo>
                      <a:cubicBezTo>
                        <a:pt x="20929" y="96963"/>
                        <a:pt x="34408" y="90170"/>
                        <a:pt x="43426" y="90674"/>
                      </a:cubicBezTo>
                      <a:cubicBezTo>
                        <a:pt x="55349" y="91341"/>
                        <a:pt x="67517" y="91166"/>
                        <a:pt x="79381" y="92430"/>
                      </a:cubicBezTo>
                      <a:cubicBezTo>
                        <a:pt x="83374" y="92864"/>
                        <a:pt x="88879" y="95323"/>
                        <a:pt x="92568" y="94082"/>
                      </a:cubicBezTo>
                      <a:cubicBezTo>
                        <a:pt x="93985" y="93602"/>
                        <a:pt x="97803" y="88648"/>
                        <a:pt x="99454" y="87524"/>
                      </a:cubicBezTo>
                      <a:cubicBezTo>
                        <a:pt x="88773" y="86235"/>
                        <a:pt x="83667" y="54392"/>
                        <a:pt x="94559" y="52647"/>
                      </a:cubicBezTo>
                      <a:cubicBezTo>
                        <a:pt x="94290" y="57097"/>
                        <a:pt x="91479" y="65155"/>
                        <a:pt x="94535" y="68984"/>
                      </a:cubicBezTo>
                      <a:cubicBezTo>
                        <a:pt x="95109" y="66419"/>
                        <a:pt x="95824" y="62918"/>
                        <a:pt x="97662" y="60552"/>
                      </a:cubicBezTo>
                      <a:cubicBezTo>
                        <a:pt x="98892" y="63199"/>
                        <a:pt x="101773" y="66935"/>
                        <a:pt x="103038" y="68832"/>
                      </a:cubicBezTo>
                      <a:cubicBezTo>
                        <a:pt x="105099" y="71900"/>
                        <a:pt x="105029" y="75636"/>
                        <a:pt x="110264" y="76620"/>
                      </a:cubicBezTo>
                      <a:cubicBezTo>
                        <a:pt x="111400" y="76831"/>
                        <a:pt x="112677" y="73282"/>
                        <a:pt x="113766" y="73071"/>
                      </a:cubicBezTo>
                      <a:cubicBezTo>
                        <a:pt x="115476" y="72732"/>
                        <a:pt x="115897" y="74664"/>
                        <a:pt x="117818" y="74219"/>
                      </a:cubicBezTo>
                      <a:cubicBezTo>
                        <a:pt x="120476" y="73599"/>
                        <a:pt x="122866" y="73060"/>
                        <a:pt x="125653" y="72088"/>
                      </a:cubicBezTo>
                      <a:cubicBezTo>
                        <a:pt x="130162" y="70519"/>
                        <a:pt x="138629" y="67052"/>
                        <a:pt x="136837" y="60669"/>
                      </a:cubicBezTo>
                      <a:cubicBezTo>
                        <a:pt x="136147" y="58221"/>
                        <a:pt x="133289" y="57296"/>
                        <a:pt x="130806" y="54977"/>
                      </a:cubicBezTo>
                      <a:cubicBezTo>
                        <a:pt x="129483" y="53748"/>
                        <a:pt x="127503" y="55293"/>
                        <a:pt x="126344" y="53607"/>
                      </a:cubicBezTo>
                      <a:cubicBezTo>
                        <a:pt x="125548" y="52424"/>
                        <a:pt x="127702" y="48770"/>
                        <a:pt x="128124" y="49414"/>
                      </a:cubicBezTo>
                      <a:cubicBezTo>
                        <a:pt x="125747" y="45842"/>
                        <a:pt x="121261" y="44437"/>
                        <a:pt x="124693" y="40092"/>
                      </a:cubicBezTo>
                      <a:cubicBezTo>
                        <a:pt x="128733" y="34962"/>
                        <a:pt x="134847" y="37843"/>
                        <a:pt x="137294" y="31671"/>
                      </a:cubicBezTo>
                      <a:cubicBezTo>
                        <a:pt x="139367" y="26448"/>
                        <a:pt x="137365" y="17898"/>
                        <a:pt x="144602" y="16552"/>
                      </a:cubicBezTo>
                      <a:cubicBezTo>
                        <a:pt x="146874" y="16130"/>
                        <a:pt x="150095" y="18519"/>
                        <a:pt x="151934" y="19082"/>
                      </a:cubicBezTo>
                      <a:cubicBezTo>
                        <a:pt x="155271" y="20089"/>
                        <a:pt x="159698" y="19163"/>
                        <a:pt x="162615" y="22876"/>
                      </a:cubicBezTo>
                      <a:cubicBezTo>
                        <a:pt x="164524" y="25324"/>
                        <a:pt x="162451" y="28216"/>
                        <a:pt x="164348" y="30125"/>
                      </a:cubicBezTo>
                      <a:cubicBezTo>
                        <a:pt x="164957" y="30746"/>
                        <a:pt x="168716" y="30020"/>
                        <a:pt x="168927" y="28825"/>
                      </a:cubicBezTo>
                      <a:cubicBezTo>
                        <a:pt x="169021" y="28310"/>
                        <a:pt x="164570" y="23485"/>
                        <a:pt x="164160" y="22876"/>
                      </a:cubicBezTo>
                      <a:cubicBezTo>
                        <a:pt x="161455" y="18871"/>
                        <a:pt x="159816" y="16189"/>
                        <a:pt x="156267" y="13132"/>
                      </a:cubicBezTo>
                      <a:cubicBezTo>
                        <a:pt x="152484" y="9888"/>
                        <a:pt x="147202" y="11363"/>
                        <a:pt x="151910" y="6878"/>
                      </a:cubicBezTo>
                      <a:cubicBezTo>
                        <a:pt x="156232" y="2756"/>
                        <a:pt x="159007" y="6339"/>
                        <a:pt x="163575" y="6772"/>
                      </a:cubicBezTo>
                      <a:cubicBezTo>
                        <a:pt x="165355" y="6948"/>
                        <a:pt x="168213" y="8225"/>
                        <a:pt x="170005" y="7241"/>
                      </a:cubicBezTo>
                      <a:cubicBezTo>
                        <a:pt x="172686" y="5742"/>
                        <a:pt x="171223" y="1292"/>
                        <a:pt x="172768" y="308"/>
                      </a:cubicBezTo>
                      <a:cubicBezTo>
                        <a:pt x="177067" y="-2398"/>
                        <a:pt x="187865" y="13577"/>
                        <a:pt x="195817" y="15486"/>
                      </a:cubicBezTo>
                      <a:cubicBezTo>
                        <a:pt x="198581" y="16154"/>
                        <a:pt x="200220" y="13694"/>
                        <a:pt x="202949" y="14994"/>
                      </a:cubicBezTo>
                      <a:cubicBezTo>
                        <a:pt x="208383" y="17582"/>
                        <a:pt x="205303" y="21904"/>
                        <a:pt x="208149" y="25125"/>
                      </a:cubicBezTo>
                      <a:cubicBezTo>
                        <a:pt x="213946" y="31695"/>
                        <a:pt x="223456" y="29048"/>
                        <a:pt x="231338" y="28626"/>
                      </a:cubicBezTo>
                      <a:cubicBezTo>
                        <a:pt x="239138" y="28193"/>
                        <a:pt x="247160" y="32292"/>
                        <a:pt x="248612" y="38007"/>
                      </a:cubicBezTo>
                      <a:cubicBezTo>
                        <a:pt x="248097" y="35981"/>
                        <a:pt x="247265" y="47529"/>
                        <a:pt x="247301" y="47341"/>
                      </a:cubicBezTo>
                      <a:cubicBezTo>
                        <a:pt x="246422" y="51300"/>
                        <a:pt x="239442" y="46135"/>
                        <a:pt x="245251" y="51253"/>
                      </a:cubicBezTo>
                      <a:cubicBezTo>
                        <a:pt x="248659" y="54263"/>
                        <a:pt x="254199" y="53548"/>
                        <a:pt x="257466" y="58093"/>
                      </a:cubicBezTo>
                      <a:cubicBezTo>
                        <a:pt x="262081" y="64487"/>
                        <a:pt x="259504" y="59673"/>
                        <a:pt x="256412" y="61243"/>
                      </a:cubicBezTo>
                      <a:cubicBezTo>
                        <a:pt x="252219" y="63386"/>
                        <a:pt x="249865" y="59791"/>
                        <a:pt x="251306" y="67005"/>
                      </a:cubicBezTo>
                      <a:cubicBezTo>
                        <a:pt x="251810" y="69488"/>
                        <a:pt x="256037" y="71256"/>
                        <a:pt x="256026" y="73704"/>
                      </a:cubicBezTo>
                      <a:cubicBezTo>
                        <a:pt x="256014" y="75613"/>
                        <a:pt x="252606" y="74957"/>
                        <a:pt x="252313" y="76456"/>
                      </a:cubicBezTo>
                      <a:cubicBezTo>
                        <a:pt x="251575" y="80192"/>
                        <a:pt x="249561" y="82687"/>
                        <a:pt x="252290" y="86130"/>
                      </a:cubicBezTo>
                      <a:cubicBezTo>
                        <a:pt x="253882" y="88133"/>
                        <a:pt x="267245" y="95335"/>
                        <a:pt x="269822" y="96249"/>
                      </a:cubicBezTo>
                      <a:cubicBezTo>
                        <a:pt x="275127" y="98146"/>
                        <a:pt x="280140" y="95522"/>
                        <a:pt x="285586" y="95019"/>
                      </a:cubicBezTo>
                      <a:cubicBezTo>
                        <a:pt x="290247" y="94586"/>
                        <a:pt x="298749" y="98357"/>
                        <a:pt x="300190" y="95628"/>
                      </a:cubicBezTo>
                      <a:cubicBezTo>
                        <a:pt x="304383" y="96764"/>
                        <a:pt x="311234" y="102245"/>
                        <a:pt x="316527" y="99422"/>
                      </a:cubicBezTo>
                      <a:cubicBezTo>
                        <a:pt x="322828" y="96050"/>
                        <a:pt x="318109" y="91974"/>
                        <a:pt x="326728" y="92513"/>
                      </a:cubicBezTo>
                      <a:cubicBezTo>
                        <a:pt x="334224" y="92981"/>
                        <a:pt x="344553" y="100254"/>
                        <a:pt x="348371" y="106508"/>
                      </a:cubicBezTo>
                      <a:cubicBezTo>
                        <a:pt x="351557" y="111743"/>
                        <a:pt x="350959" y="116826"/>
                        <a:pt x="352728" y="122517"/>
                      </a:cubicBezTo>
                      <a:cubicBezTo>
                        <a:pt x="354543" y="128373"/>
                        <a:pt x="356991" y="134370"/>
                        <a:pt x="360938" y="139171"/>
                      </a:cubicBezTo>
                      <a:cubicBezTo>
                        <a:pt x="364123" y="143060"/>
                        <a:pt x="368093" y="144067"/>
                        <a:pt x="370459" y="148517"/>
                      </a:cubicBezTo>
                      <a:cubicBezTo>
                        <a:pt x="375378" y="157746"/>
                        <a:pt x="371747" y="167982"/>
                        <a:pt x="379149" y="175828"/>
                      </a:cubicBezTo>
                      <a:cubicBezTo>
                        <a:pt x="392617" y="190116"/>
                        <a:pt x="414366" y="196534"/>
                        <a:pt x="429333" y="209159"/>
                      </a:cubicBezTo>
                      <a:cubicBezTo>
                        <a:pt x="436828" y="215472"/>
                        <a:pt x="441911" y="222358"/>
                        <a:pt x="450355" y="227874"/>
                      </a:cubicBezTo>
                      <a:cubicBezTo>
                        <a:pt x="453775" y="230100"/>
                        <a:pt x="458600" y="234796"/>
                        <a:pt x="462406" y="235721"/>
                      </a:cubicBezTo>
                      <a:cubicBezTo>
                        <a:pt x="465299" y="236424"/>
                        <a:pt x="467618" y="234702"/>
                        <a:pt x="469890" y="235112"/>
                      </a:cubicBezTo>
                      <a:cubicBezTo>
                        <a:pt x="476589" y="236330"/>
                        <a:pt x="481320" y="243533"/>
                        <a:pt x="487855" y="247925"/>
                      </a:cubicBezTo>
                      <a:cubicBezTo>
                        <a:pt x="495971" y="253370"/>
                        <a:pt x="504814" y="255232"/>
                        <a:pt x="512520" y="261487"/>
                      </a:cubicBezTo>
                      <a:cubicBezTo>
                        <a:pt x="520109" y="267647"/>
                        <a:pt x="529654" y="275611"/>
                        <a:pt x="538894" y="279183"/>
                      </a:cubicBezTo>
                      <a:cubicBezTo>
                        <a:pt x="546390" y="282076"/>
                        <a:pt x="550465" y="277531"/>
                        <a:pt x="557925" y="279347"/>
                      </a:cubicBezTo>
                      <a:cubicBezTo>
                        <a:pt x="566908" y="281537"/>
                        <a:pt x="572389" y="287650"/>
                        <a:pt x="580376" y="290953"/>
                      </a:cubicBezTo>
                      <a:cubicBezTo>
                        <a:pt x="585752" y="293178"/>
                        <a:pt x="593681" y="290882"/>
                        <a:pt x="593657" y="298272"/>
                      </a:cubicBezTo>
                      <a:cubicBezTo>
                        <a:pt x="593646" y="301493"/>
                        <a:pt x="588176" y="306037"/>
                        <a:pt x="587321" y="309644"/>
                      </a:cubicBezTo>
                      <a:cubicBezTo>
                        <a:pt x="586630" y="312572"/>
                        <a:pt x="586267" y="319377"/>
                        <a:pt x="586244" y="322445"/>
                      </a:cubicBezTo>
                      <a:cubicBezTo>
                        <a:pt x="586244" y="324998"/>
                        <a:pt x="588668" y="325549"/>
                        <a:pt x="588563" y="327914"/>
                      </a:cubicBezTo>
                      <a:cubicBezTo>
                        <a:pt x="588399" y="331182"/>
                        <a:pt x="585963" y="328968"/>
                        <a:pt x="587567" y="332505"/>
                      </a:cubicBezTo>
                      <a:cubicBezTo>
                        <a:pt x="580236" y="340211"/>
                        <a:pt x="553838" y="325338"/>
                        <a:pt x="548006" y="319611"/>
                      </a:cubicBezTo>
                      <a:cubicBezTo>
                        <a:pt x="547057" y="323452"/>
                        <a:pt x="543544" y="322281"/>
                        <a:pt x="541459" y="325900"/>
                      </a:cubicBezTo>
                      <a:cubicBezTo>
                        <a:pt x="538566" y="330948"/>
                        <a:pt x="542841" y="335808"/>
                        <a:pt x="535369" y="339392"/>
                      </a:cubicBezTo>
                      <a:cubicBezTo>
                        <a:pt x="527312" y="343268"/>
                        <a:pt x="515600" y="338947"/>
                        <a:pt x="506746" y="342038"/>
                      </a:cubicBezTo>
                      <a:cubicBezTo>
                        <a:pt x="493453" y="346676"/>
                        <a:pt x="498665" y="348398"/>
                        <a:pt x="496580" y="358575"/>
                      </a:cubicBezTo>
                      <a:cubicBezTo>
                        <a:pt x="495105" y="365731"/>
                        <a:pt x="487844" y="370767"/>
                        <a:pt x="486836" y="378309"/>
                      </a:cubicBezTo>
                      <a:cubicBezTo>
                        <a:pt x="485982" y="384750"/>
                        <a:pt x="488687" y="387502"/>
                        <a:pt x="484155" y="393839"/>
                      </a:cubicBezTo>
                      <a:cubicBezTo>
                        <a:pt x="481894" y="397001"/>
                        <a:pt x="480501" y="397762"/>
                        <a:pt x="477573" y="399847"/>
                      </a:cubicBezTo>
                      <a:cubicBezTo>
                        <a:pt x="476612" y="400526"/>
                        <a:pt x="470663" y="404765"/>
                        <a:pt x="470019" y="405058"/>
                      </a:cubicBezTo>
                      <a:cubicBezTo>
                        <a:pt x="466002" y="406874"/>
                        <a:pt x="454747" y="404168"/>
                        <a:pt x="458495" y="414205"/>
                      </a:cubicBezTo>
                      <a:cubicBezTo>
                        <a:pt x="451433" y="410082"/>
                        <a:pt x="439253" y="415130"/>
                        <a:pt x="432706" y="417742"/>
                      </a:cubicBezTo>
                      <a:cubicBezTo>
                        <a:pt x="428607" y="419381"/>
                        <a:pt x="426147" y="422017"/>
                        <a:pt x="421053" y="422637"/>
                      </a:cubicBezTo>
                      <a:cubicBezTo>
                        <a:pt x="417270" y="423106"/>
                        <a:pt x="409177" y="419990"/>
                        <a:pt x="408580" y="424886"/>
                      </a:cubicBezTo>
                      <a:cubicBezTo>
                        <a:pt x="408194" y="428036"/>
                        <a:pt x="414565" y="430015"/>
                        <a:pt x="414588" y="431597"/>
                      </a:cubicBezTo>
                      <a:cubicBezTo>
                        <a:pt x="414635" y="434852"/>
                        <a:pt x="409517" y="433997"/>
                        <a:pt x="407889" y="437323"/>
                      </a:cubicBezTo>
                      <a:cubicBezTo>
                        <a:pt x="406413" y="440310"/>
                        <a:pt x="410536" y="443460"/>
                        <a:pt x="408299" y="447032"/>
                      </a:cubicBezTo>
                      <a:cubicBezTo>
                        <a:pt x="407081" y="448988"/>
                        <a:pt x="398637" y="451506"/>
                        <a:pt x="396260" y="453028"/>
                      </a:cubicBezTo>
                      <a:cubicBezTo>
                        <a:pt x="393238" y="454949"/>
                        <a:pt x="389561" y="458545"/>
                        <a:pt x="386152" y="459481"/>
                      </a:cubicBezTo>
                      <a:cubicBezTo>
                        <a:pt x="381960" y="460641"/>
                        <a:pt x="380625" y="458076"/>
                        <a:pt x="377474" y="458240"/>
                      </a:cubicBezTo>
                      <a:cubicBezTo>
                        <a:pt x="375671" y="458334"/>
                        <a:pt x="375764" y="456823"/>
                        <a:pt x="373504" y="457561"/>
                      </a:cubicBezTo>
                      <a:cubicBezTo>
                        <a:pt x="371220" y="458322"/>
                        <a:pt x="369651" y="464646"/>
                        <a:pt x="367590" y="464693"/>
                      </a:cubicBezTo>
                      <a:cubicBezTo>
                        <a:pt x="363877" y="464775"/>
                        <a:pt x="365798" y="458568"/>
                        <a:pt x="364053" y="456074"/>
                      </a:cubicBezTo>
                      <a:cubicBezTo>
                        <a:pt x="356874" y="445721"/>
                        <a:pt x="348172" y="448695"/>
                        <a:pt x="338229" y="448929"/>
                      </a:cubicBezTo>
                      <a:cubicBezTo>
                        <a:pt x="328696" y="449164"/>
                        <a:pt x="325253" y="442137"/>
                        <a:pt x="319654" y="438682"/>
                      </a:cubicBezTo>
                      <a:cubicBezTo>
                        <a:pt x="314595" y="435567"/>
                        <a:pt x="313178" y="436211"/>
                        <a:pt x="312698" y="429242"/>
                      </a:cubicBezTo>
                      <a:cubicBezTo>
                        <a:pt x="312346" y="424089"/>
                        <a:pt x="313740" y="417004"/>
                        <a:pt x="306444" y="415868"/>
                      </a:cubicBezTo>
                      <a:cubicBezTo>
                        <a:pt x="312979" y="408290"/>
                        <a:pt x="309032" y="403254"/>
                        <a:pt x="307861" y="394858"/>
                      </a:cubicBezTo>
                      <a:cubicBezTo>
                        <a:pt x="307275" y="390688"/>
                        <a:pt x="310859" y="382795"/>
                        <a:pt x="309137" y="379106"/>
                      </a:cubicBezTo>
                      <a:cubicBezTo>
                        <a:pt x="305999" y="372324"/>
                        <a:pt x="289931" y="375686"/>
                        <a:pt x="282822" y="375803"/>
                      </a:cubicBezTo>
                      <a:cubicBezTo>
                        <a:pt x="278535" y="375873"/>
                        <a:pt x="270560" y="377548"/>
                        <a:pt x="266671" y="376072"/>
                      </a:cubicBezTo>
                      <a:cubicBezTo>
                        <a:pt x="262409" y="374444"/>
                        <a:pt x="262608" y="372020"/>
                        <a:pt x="259937" y="368155"/>
                      </a:cubicBezTo>
                      <a:cubicBezTo>
                        <a:pt x="253238" y="358446"/>
                        <a:pt x="247558" y="351958"/>
                        <a:pt x="236936" y="347648"/>
                      </a:cubicBezTo>
                      <a:cubicBezTo>
                        <a:pt x="233832" y="346395"/>
                        <a:pt x="228363" y="347156"/>
                        <a:pt x="227403" y="346852"/>
                      </a:cubicBezTo>
                      <a:cubicBezTo>
                        <a:pt x="226173" y="346442"/>
                        <a:pt x="224299" y="343362"/>
                        <a:pt x="223140" y="342495"/>
                      </a:cubicBezTo>
                      <a:cubicBezTo>
                        <a:pt x="221102" y="340984"/>
                        <a:pt x="217015" y="340246"/>
                        <a:pt x="215293" y="336007"/>
                      </a:cubicBezTo>
                      <a:cubicBezTo>
                        <a:pt x="212096" y="328067"/>
                        <a:pt x="215574" y="326474"/>
                        <a:pt x="208992" y="322808"/>
                      </a:cubicBezTo>
                      <a:cubicBezTo>
                        <a:pt x="202434" y="319154"/>
                        <a:pt x="192420" y="316507"/>
                        <a:pt x="184972" y="312572"/>
                      </a:cubicBezTo>
                      <a:cubicBezTo>
                        <a:pt x="180580" y="319072"/>
                        <a:pt x="176376" y="312116"/>
                        <a:pt x="170824" y="312221"/>
                      </a:cubicBezTo>
                      <a:cubicBezTo>
                        <a:pt x="168869" y="312256"/>
                        <a:pt x="166386" y="316285"/>
                        <a:pt x="162568" y="316449"/>
                      </a:cubicBezTo>
                      <a:cubicBezTo>
                        <a:pt x="159054" y="316601"/>
                        <a:pt x="155588" y="313404"/>
                        <a:pt x="153702" y="311998"/>
                      </a:cubicBezTo>
                      <a:cubicBezTo>
                        <a:pt x="152543" y="311143"/>
                        <a:pt x="152578" y="307981"/>
                        <a:pt x="151360" y="306927"/>
                      </a:cubicBezTo>
                      <a:cubicBezTo>
                        <a:pt x="149427" y="305264"/>
                        <a:pt x="139215" y="303027"/>
                        <a:pt x="136685" y="302149"/>
                      </a:cubicBezTo>
                      <a:cubicBezTo>
                        <a:pt x="131638" y="300404"/>
                        <a:pt x="127269" y="299806"/>
                        <a:pt x="121613" y="298811"/>
                      </a:cubicBezTo>
                      <a:cubicBezTo>
                        <a:pt x="117584" y="298097"/>
                        <a:pt x="111623" y="299081"/>
                        <a:pt x="108742" y="295286"/>
                      </a:cubicBezTo>
                      <a:cubicBezTo>
                        <a:pt x="107828" y="294080"/>
                        <a:pt x="107160" y="287088"/>
                        <a:pt x="105556" y="284265"/>
                      </a:cubicBezTo>
                      <a:cubicBezTo>
                        <a:pt x="99946" y="274463"/>
                        <a:pt x="102300" y="279721"/>
                        <a:pt x="94688" y="281724"/>
                      </a:cubicBezTo>
                      <a:cubicBezTo>
                        <a:pt x="90577" y="282801"/>
                        <a:pt x="85834" y="281221"/>
                        <a:pt x="81219" y="280272"/>
                      </a:cubicBezTo>
                      <a:cubicBezTo>
                        <a:pt x="75879" y="279171"/>
                        <a:pt x="75961" y="279745"/>
                        <a:pt x="70246" y="279792"/>
                      </a:cubicBezTo>
                      <a:cubicBezTo>
                        <a:pt x="66650" y="279815"/>
                        <a:pt x="63910" y="277485"/>
                        <a:pt x="59752" y="279358"/>
                      </a:cubicBezTo>
                      <a:cubicBezTo>
                        <a:pt x="51976" y="282872"/>
                        <a:pt x="58523" y="286116"/>
                        <a:pt x="55302" y="288704"/>
                      </a:cubicBezTo>
                      <a:cubicBezTo>
                        <a:pt x="50242" y="292780"/>
                        <a:pt x="35357" y="289055"/>
                        <a:pt x="29466" y="288154"/>
                      </a:cubicBezTo>
                      <a:cubicBezTo>
                        <a:pt x="17380" y="286291"/>
                        <a:pt x="10669" y="291456"/>
                        <a:pt x="0" y="294337"/>
                      </a:cubicBezTo>
                      <a:cubicBezTo>
                        <a:pt x="12" y="223740"/>
                        <a:pt x="12" y="153131"/>
                        <a:pt x="12" y="82523"/>
                      </a:cubicBezTo>
                      <a:lnTo>
                        <a:pt x="12" y="82523"/>
                      </a:lnTo>
                      <a:close/>
                    </a:path>
                  </a:pathLst>
                </a:custGeom>
                <a:solidFill>
                  <a:srgbClr val="D6D6D2"/>
                </a:solidFill>
                <a:ln w="8774" cap="rnd">
                  <a:solidFill>
                    <a:srgbClr val="FFFFFF"/>
                  </a:solidFill>
                  <a:prstDash val="solid"/>
                  <a:round/>
                </a:ln>
              </p:spPr>
              <p:txBody>
                <a:bodyPr rtlCol="0" anchor="ctr"/>
                <a:lstStyle/>
                <a:p>
                  <a:endParaRPr lang="en-US"/>
                </a:p>
              </p:txBody>
            </p:sp>
            <p:sp>
              <p:nvSpPr>
                <p:cNvPr id="104" name="Freeform: Shape 103">
                  <a:extLst>
                    <a:ext uri="{FF2B5EF4-FFF2-40B4-BE49-F238E27FC236}">
                      <a16:creationId xmlns:a16="http://schemas.microsoft.com/office/drawing/2014/main" id="{43EA2190-8815-48DD-AC19-2BCEC71EE508}"/>
                    </a:ext>
                  </a:extLst>
                </p:cNvPr>
                <p:cNvSpPr/>
                <p:nvPr/>
              </p:nvSpPr>
              <p:spPr>
                <a:xfrm>
                  <a:off x="632176" y="3812206"/>
                  <a:ext cx="407689" cy="265533"/>
                </a:xfrm>
                <a:custGeom>
                  <a:avLst/>
                  <a:gdLst>
                    <a:gd name="connsiteX0" fmla="*/ 165168 w 407689"/>
                    <a:gd name="connsiteY0" fmla="*/ 4029 h 265533"/>
                    <a:gd name="connsiteX1" fmla="*/ 175029 w 407689"/>
                    <a:gd name="connsiteY1" fmla="*/ 15412 h 265533"/>
                    <a:gd name="connsiteX2" fmla="*/ 177008 w 407689"/>
                    <a:gd name="connsiteY2" fmla="*/ 21667 h 265533"/>
                    <a:gd name="connsiteX3" fmla="*/ 163505 w 407689"/>
                    <a:gd name="connsiteY3" fmla="*/ 32640 h 265533"/>
                    <a:gd name="connsiteX4" fmla="*/ 158047 w 407689"/>
                    <a:gd name="connsiteY4" fmla="*/ 40581 h 265533"/>
                    <a:gd name="connsiteX5" fmla="*/ 164512 w 407689"/>
                    <a:gd name="connsiteY5" fmla="*/ 42513 h 265533"/>
                    <a:gd name="connsiteX6" fmla="*/ 170801 w 407689"/>
                    <a:gd name="connsiteY6" fmla="*/ 51812 h 265533"/>
                    <a:gd name="connsiteX7" fmla="*/ 185979 w 407689"/>
                    <a:gd name="connsiteY7" fmla="*/ 53838 h 265533"/>
                    <a:gd name="connsiteX8" fmla="*/ 172370 w 407689"/>
                    <a:gd name="connsiteY8" fmla="*/ 58288 h 265533"/>
                    <a:gd name="connsiteX9" fmla="*/ 164125 w 407689"/>
                    <a:gd name="connsiteY9" fmla="*/ 68290 h 265533"/>
                    <a:gd name="connsiteX10" fmla="*/ 164559 w 407689"/>
                    <a:gd name="connsiteY10" fmla="*/ 61287 h 265533"/>
                    <a:gd name="connsiteX11" fmla="*/ 146300 w 407689"/>
                    <a:gd name="connsiteY11" fmla="*/ 55747 h 265533"/>
                    <a:gd name="connsiteX12" fmla="*/ 129459 w 407689"/>
                    <a:gd name="connsiteY12" fmla="*/ 53416 h 265533"/>
                    <a:gd name="connsiteX13" fmla="*/ 113180 w 407689"/>
                    <a:gd name="connsiteY13" fmla="*/ 56403 h 265533"/>
                    <a:gd name="connsiteX14" fmla="*/ 111096 w 407689"/>
                    <a:gd name="connsiteY14" fmla="*/ 65842 h 265533"/>
                    <a:gd name="connsiteX15" fmla="*/ 106680 w 407689"/>
                    <a:gd name="connsiteY15" fmla="*/ 69473 h 265533"/>
                    <a:gd name="connsiteX16" fmla="*/ 102335 w 407689"/>
                    <a:gd name="connsiteY16" fmla="*/ 65432 h 265533"/>
                    <a:gd name="connsiteX17" fmla="*/ 98705 w 407689"/>
                    <a:gd name="connsiteY17" fmla="*/ 80974 h 265533"/>
                    <a:gd name="connsiteX18" fmla="*/ 101445 w 407689"/>
                    <a:gd name="connsiteY18" fmla="*/ 93130 h 265533"/>
                    <a:gd name="connsiteX19" fmla="*/ 124236 w 407689"/>
                    <a:gd name="connsiteY19" fmla="*/ 90577 h 265533"/>
                    <a:gd name="connsiteX20" fmla="*/ 148783 w 407689"/>
                    <a:gd name="connsiteY20" fmla="*/ 87473 h 265533"/>
                    <a:gd name="connsiteX21" fmla="*/ 161455 w 407689"/>
                    <a:gd name="connsiteY21" fmla="*/ 88972 h 265533"/>
                    <a:gd name="connsiteX22" fmla="*/ 175099 w 407689"/>
                    <a:gd name="connsiteY22" fmla="*/ 97299 h 265533"/>
                    <a:gd name="connsiteX23" fmla="*/ 179936 w 407689"/>
                    <a:gd name="connsiteY23" fmla="*/ 101797 h 265533"/>
                    <a:gd name="connsiteX24" fmla="*/ 187525 w 407689"/>
                    <a:gd name="connsiteY24" fmla="*/ 100708 h 265533"/>
                    <a:gd name="connsiteX25" fmla="*/ 193767 w 407689"/>
                    <a:gd name="connsiteY25" fmla="*/ 95086 h 265533"/>
                    <a:gd name="connsiteX26" fmla="*/ 205736 w 407689"/>
                    <a:gd name="connsiteY26" fmla="*/ 91772 h 265533"/>
                    <a:gd name="connsiteX27" fmla="*/ 213501 w 407689"/>
                    <a:gd name="connsiteY27" fmla="*/ 88001 h 265533"/>
                    <a:gd name="connsiteX28" fmla="*/ 216534 w 407689"/>
                    <a:gd name="connsiteY28" fmla="*/ 94231 h 265533"/>
                    <a:gd name="connsiteX29" fmla="*/ 228223 w 407689"/>
                    <a:gd name="connsiteY29" fmla="*/ 97288 h 265533"/>
                    <a:gd name="connsiteX30" fmla="*/ 227614 w 407689"/>
                    <a:gd name="connsiteY30" fmla="*/ 105111 h 265533"/>
                    <a:gd name="connsiteX31" fmla="*/ 246118 w 407689"/>
                    <a:gd name="connsiteY31" fmla="*/ 103483 h 265533"/>
                    <a:gd name="connsiteX32" fmla="*/ 255112 w 407689"/>
                    <a:gd name="connsiteY32" fmla="*/ 113743 h 265533"/>
                    <a:gd name="connsiteX33" fmla="*/ 262186 w 407689"/>
                    <a:gd name="connsiteY33" fmla="*/ 104361 h 265533"/>
                    <a:gd name="connsiteX34" fmla="*/ 271825 w 407689"/>
                    <a:gd name="connsiteY34" fmla="*/ 103366 h 265533"/>
                    <a:gd name="connsiteX35" fmla="*/ 298176 w 407689"/>
                    <a:gd name="connsiteY35" fmla="*/ 102745 h 265533"/>
                    <a:gd name="connsiteX36" fmla="*/ 310391 w 407689"/>
                    <a:gd name="connsiteY36" fmla="*/ 101738 h 265533"/>
                    <a:gd name="connsiteX37" fmla="*/ 322817 w 407689"/>
                    <a:gd name="connsiteY37" fmla="*/ 96925 h 265533"/>
                    <a:gd name="connsiteX38" fmla="*/ 328251 w 407689"/>
                    <a:gd name="connsiteY38" fmla="*/ 104842 h 265533"/>
                    <a:gd name="connsiteX39" fmla="*/ 330441 w 407689"/>
                    <a:gd name="connsiteY39" fmla="*/ 117479 h 265533"/>
                    <a:gd name="connsiteX40" fmla="*/ 337889 w 407689"/>
                    <a:gd name="connsiteY40" fmla="*/ 126789 h 265533"/>
                    <a:gd name="connsiteX41" fmla="*/ 330734 w 407689"/>
                    <a:gd name="connsiteY41" fmla="*/ 131966 h 265533"/>
                    <a:gd name="connsiteX42" fmla="*/ 337386 w 407689"/>
                    <a:gd name="connsiteY42" fmla="*/ 150505 h 265533"/>
                    <a:gd name="connsiteX43" fmla="*/ 349296 w 407689"/>
                    <a:gd name="connsiteY43" fmla="*/ 153878 h 265533"/>
                    <a:gd name="connsiteX44" fmla="*/ 351838 w 407689"/>
                    <a:gd name="connsiteY44" fmla="*/ 147905 h 265533"/>
                    <a:gd name="connsiteX45" fmla="*/ 379723 w 407689"/>
                    <a:gd name="connsiteY45" fmla="*/ 151688 h 265533"/>
                    <a:gd name="connsiteX46" fmla="*/ 390978 w 407689"/>
                    <a:gd name="connsiteY46" fmla="*/ 160764 h 265533"/>
                    <a:gd name="connsiteX47" fmla="*/ 387171 w 407689"/>
                    <a:gd name="connsiteY47" fmla="*/ 169887 h 265533"/>
                    <a:gd name="connsiteX48" fmla="*/ 393460 w 407689"/>
                    <a:gd name="connsiteY48" fmla="*/ 188251 h 265533"/>
                    <a:gd name="connsiteX49" fmla="*/ 393039 w 407689"/>
                    <a:gd name="connsiteY49" fmla="*/ 195501 h 265533"/>
                    <a:gd name="connsiteX50" fmla="*/ 397243 w 407689"/>
                    <a:gd name="connsiteY50" fmla="*/ 199541 h 265533"/>
                    <a:gd name="connsiteX51" fmla="*/ 395580 w 407689"/>
                    <a:gd name="connsiteY51" fmla="*/ 202867 h 265533"/>
                    <a:gd name="connsiteX52" fmla="*/ 394760 w 407689"/>
                    <a:gd name="connsiteY52" fmla="*/ 211967 h 265533"/>
                    <a:gd name="connsiteX53" fmla="*/ 407690 w 407689"/>
                    <a:gd name="connsiteY53" fmla="*/ 222203 h 265533"/>
                    <a:gd name="connsiteX54" fmla="*/ 396599 w 407689"/>
                    <a:gd name="connsiteY54" fmla="*/ 229382 h 265533"/>
                    <a:gd name="connsiteX55" fmla="*/ 388846 w 407689"/>
                    <a:gd name="connsiteY55" fmla="*/ 227122 h 265533"/>
                    <a:gd name="connsiteX56" fmla="*/ 363432 w 407689"/>
                    <a:gd name="connsiteY56" fmla="*/ 220622 h 265533"/>
                    <a:gd name="connsiteX57" fmla="*/ 334306 w 407689"/>
                    <a:gd name="connsiteY57" fmla="*/ 232485 h 265533"/>
                    <a:gd name="connsiteX58" fmla="*/ 334107 w 407689"/>
                    <a:gd name="connsiteY58" fmla="*/ 220528 h 265533"/>
                    <a:gd name="connsiteX59" fmla="*/ 312780 w 407689"/>
                    <a:gd name="connsiteY59" fmla="*/ 218408 h 265533"/>
                    <a:gd name="connsiteX60" fmla="*/ 301302 w 407689"/>
                    <a:gd name="connsiteY60" fmla="*/ 223632 h 265533"/>
                    <a:gd name="connsiteX61" fmla="*/ 295587 w 407689"/>
                    <a:gd name="connsiteY61" fmla="*/ 227579 h 265533"/>
                    <a:gd name="connsiteX62" fmla="*/ 285984 w 407689"/>
                    <a:gd name="connsiteY62" fmla="*/ 231876 h 265533"/>
                    <a:gd name="connsiteX63" fmla="*/ 269213 w 407689"/>
                    <a:gd name="connsiteY63" fmla="*/ 245626 h 265533"/>
                    <a:gd name="connsiteX64" fmla="*/ 251517 w 407689"/>
                    <a:gd name="connsiteY64" fmla="*/ 252067 h 265533"/>
                    <a:gd name="connsiteX65" fmla="*/ 229534 w 407689"/>
                    <a:gd name="connsiteY65" fmla="*/ 265512 h 265533"/>
                    <a:gd name="connsiteX66" fmla="*/ 213021 w 407689"/>
                    <a:gd name="connsiteY66" fmla="*/ 242639 h 265533"/>
                    <a:gd name="connsiteX67" fmla="*/ 216347 w 407689"/>
                    <a:gd name="connsiteY67" fmla="*/ 225880 h 265533"/>
                    <a:gd name="connsiteX68" fmla="*/ 217624 w 407689"/>
                    <a:gd name="connsiteY68" fmla="*/ 208149 h 265533"/>
                    <a:gd name="connsiteX69" fmla="*/ 214567 w 407689"/>
                    <a:gd name="connsiteY69" fmla="*/ 189949 h 265533"/>
                    <a:gd name="connsiteX70" fmla="*/ 203851 w 407689"/>
                    <a:gd name="connsiteY70" fmla="*/ 189024 h 265533"/>
                    <a:gd name="connsiteX71" fmla="*/ 209461 w 407689"/>
                    <a:gd name="connsiteY71" fmla="*/ 173495 h 265533"/>
                    <a:gd name="connsiteX72" fmla="*/ 187537 w 407689"/>
                    <a:gd name="connsiteY72" fmla="*/ 157824 h 265533"/>
                    <a:gd name="connsiteX73" fmla="*/ 177699 w 407689"/>
                    <a:gd name="connsiteY73" fmla="*/ 159593 h 265533"/>
                    <a:gd name="connsiteX74" fmla="*/ 169384 w 407689"/>
                    <a:gd name="connsiteY74" fmla="*/ 166175 h 265533"/>
                    <a:gd name="connsiteX75" fmla="*/ 160963 w 407689"/>
                    <a:gd name="connsiteY75" fmla="*/ 179772 h 265533"/>
                    <a:gd name="connsiteX76" fmla="*/ 151945 w 407689"/>
                    <a:gd name="connsiteY76" fmla="*/ 189692 h 265533"/>
                    <a:gd name="connsiteX77" fmla="*/ 147284 w 407689"/>
                    <a:gd name="connsiteY77" fmla="*/ 189282 h 265533"/>
                    <a:gd name="connsiteX78" fmla="*/ 151008 w 407689"/>
                    <a:gd name="connsiteY78" fmla="*/ 209016 h 265533"/>
                    <a:gd name="connsiteX79" fmla="*/ 133465 w 407689"/>
                    <a:gd name="connsiteY79" fmla="*/ 209098 h 265533"/>
                    <a:gd name="connsiteX80" fmla="*/ 121999 w 407689"/>
                    <a:gd name="connsiteY80" fmla="*/ 211417 h 265533"/>
                    <a:gd name="connsiteX81" fmla="*/ 107711 w 407689"/>
                    <a:gd name="connsiteY81" fmla="*/ 217694 h 265533"/>
                    <a:gd name="connsiteX82" fmla="*/ 105486 w 407689"/>
                    <a:gd name="connsiteY82" fmla="*/ 236983 h 265533"/>
                    <a:gd name="connsiteX83" fmla="*/ 80283 w 407689"/>
                    <a:gd name="connsiteY83" fmla="*/ 225939 h 265533"/>
                    <a:gd name="connsiteX84" fmla="*/ 81758 w 407689"/>
                    <a:gd name="connsiteY84" fmla="*/ 229499 h 265533"/>
                    <a:gd name="connsiteX85" fmla="*/ 76769 w 407689"/>
                    <a:gd name="connsiteY85" fmla="*/ 231197 h 265533"/>
                    <a:gd name="connsiteX86" fmla="*/ 68266 w 407689"/>
                    <a:gd name="connsiteY86" fmla="*/ 230190 h 265533"/>
                    <a:gd name="connsiteX87" fmla="*/ 68993 w 407689"/>
                    <a:gd name="connsiteY87" fmla="*/ 231420 h 265533"/>
                    <a:gd name="connsiteX88" fmla="*/ 55044 w 407689"/>
                    <a:gd name="connsiteY88" fmla="*/ 237159 h 265533"/>
                    <a:gd name="connsiteX89" fmla="*/ 52058 w 407689"/>
                    <a:gd name="connsiteY89" fmla="*/ 239852 h 265533"/>
                    <a:gd name="connsiteX90" fmla="*/ 49294 w 407689"/>
                    <a:gd name="connsiteY90" fmla="*/ 239876 h 265533"/>
                    <a:gd name="connsiteX91" fmla="*/ 48825 w 407689"/>
                    <a:gd name="connsiteY91" fmla="*/ 243565 h 265533"/>
                    <a:gd name="connsiteX92" fmla="*/ 37770 w 407689"/>
                    <a:gd name="connsiteY92" fmla="*/ 249432 h 265533"/>
                    <a:gd name="connsiteX93" fmla="*/ 29337 w 407689"/>
                    <a:gd name="connsiteY93" fmla="*/ 244818 h 265533"/>
                    <a:gd name="connsiteX94" fmla="*/ 23259 w 407689"/>
                    <a:gd name="connsiteY94" fmla="*/ 233106 h 265533"/>
                    <a:gd name="connsiteX95" fmla="*/ 26761 w 407689"/>
                    <a:gd name="connsiteY95" fmla="*/ 211862 h 265533"/>
                    <a:gd name="connsiteX96" fmla="*/ 42478 w 407689"/>
                    <a:gd name="connsiteY96" fmla="*/ 190324 h 265533"/>
                    <a:gd name="connsiteX97" fmla="*/ 50160 w 407689"/>
                    <a:gd name="connsiteY97" fmla="*/ 183098 h 265533"/>
                    <a:gd name="connsiteX98" fmla="*/ 43590 w 407689"/>
                    <a:gd name="connsiteY98" fmla="*/ 165695 h 265533"/>
                    <a:gd name="connsiteX99" fmla="*/ 37489 w 407689"/>
                    <a:gd name="connsiteY99" fmla="*/ 138255 h 265533"/>
                    <a:gd name="connsiteX100" fmla="*/ 41014 w 407689"/>
                    <a:gd name="connsiteY100" fmla="*/ 130080 h 265533"/>
                    <a:gd name="connsiteX101" fmla="*/ 32909 w 407689"/>
                    <a:gd name="connsiteY101" fmla="*/ 125477 h 265533"/>
                    <a:gd name="connsiteX102" fmla="*/ 17169 w 407689"/>
                    <a:gd name="connsiteY102" fmla="*/ 125325 h 265533"/>
                    <a:gd name="connsiteX103" fmla="*/ 14265 w 407689"/>
                    <a:gd name="connsiteY103" fmla="*/ 116190 h 265533"/>
                    <a:gd name="connsiteX104" fmla="*/ 0 w 407689"/>
                    <a:gd name="connsiteY104" fmla="*/ 108074 h 265533"/>
                    <a:gd name="connsiteX105" fmla="*/ 5001 w 407689"/>
                    <a:gd name="connsiteY105" fmla="*/ 95589 h 265533"/>
                    <a:gd name="connsiteX106" fmla="*/ 19324 w 407689"/>
                    <a:gd name="connsiteY106" fmla="*/ 87157 h 265533"/>
                    <a:gd name="connsiteX107" fmla="*/ 51589 w 407689"/>
                    <a:gd name="connsiteY107" fmla="*/ 93013 h 265533"/>
                    <a:gd name="connsiteX108" fmla="*/ 64952 w 407689"/>
                    <a:gd name="connsiteY108" fmla="*/ 86595 h 265533"/>
                    <a:gd name="connsiteX109" fmla="*/ 72693 w 407689"/>
                    <a:gd name="connsiteY109" fmla="*/ 75153 h 265533"/>
                    <a:gd name="connsiteX110" fmla="*/ 73584 w 407689"/>
                    <a:gd name="connsiteY110" fmla="*/ 65257 h 265533"/>
                    <a:gd name="connsiteX111" fmla="*/ 79041 w 407689"/>
                    <a:gd name="connsiteY111" fmla="*/ 69274 h 265533"/>
                    <a:gd name="connsiteX112" fmla="*/ 74403 w 407689"/>
                    <a:gd name="connsiteY112" fmla="*/ 59143 h 265533"/>
                    <a:gd name="connsiteX113" fmla="*/ 85131 w 407689"/>
                    <a:gd name="connsiteY113" fmla="*/ 57047 h 265533"/>
                    <a:gd name="connsiteX114" fmla="*/ 64296 w 407689"/>
                    <a:gd name="connsiteY114" fmla="*/ 53955 h 265533"/>
                    <a:gd name="connsiteX115" fmla="*/ 87145 w 407689"/>
                    <a:gd name="connsiteY115" fmla="*/ 49774 h 265533"/>
                    <a:gd name="connsiteX116" fmla="*/ 97018 w 407689"/>
                    <a:gd name="connsiteY116" fmla="*/ 45687 h 265533"/>
                    <a:gd name="connsiteX117" fmla="*/ 100883 w 407689"/>
                    <a:gd name="connsiteY117" fmla="*/ 39316 h 265533"/>
                    <a:gd name="connsiteX118" fmla="*/ 97522 w 407689"/>
                    <a:gd name="connsiteY118" fmla="*/ 32019 h 265533"/>
                    <a:gd name="connsiteX119" fmla="*/ 100743 w 407689"/>
                    <a:gd name="connsiteY119" fmla="*/ 27803 h 265533"/>
                    <a:gd name="connsiteX120" fmla="*/ 114902 w 407689"/>
                    <a:gd name="connsiteY120" fmla="*/ 18680 h 265533"/>
                    <a:gd name="connsiteX121" fmla="*/ 123229 w 407689"/>
                    <a:gd name="connsiteY121" fmla="*/ 24934 h 265533"/>
                    <a:gd name="connsiteX122" fmla="*/ 137798 w 407689"/>
                    <a:gd name="connsiteY122" fmla="*/ 17591 h 265533"/>
                    <a:gd name="connsiteX123" fmla="*/ 148432 w 407689"/>
                    <a:gd name="connsiteY123" fmla="*/ 12192 h 265533"/>
                    <a:gd name="connsiteX124" fmla="*/ 156536 w 407689"/>
                    <a:gd name="connsiteY124" fmla="*/ 3560 h 265533"/>
                    <a:gd name="connsiteX125" fmla="*/ 161549 w 407689"/>
                    <a:gd name="connsiteY125" fmla="*/ 691 h 265533"/>
                    <a:gd name="connsiteX126" fmla="*/ 165168 w 407689"/>
                    <a:gd name="connsiteY126" fmla="*/ 4029 h 265533"/>
                    <a:gd name="connsiteX127" fmla="*/ 165168 w 407689"/>
                    <a:gd name="connsiteY127" fmla="*/ 4029 h 265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407689" h="265533">
                      <a:moveTo>
                        <a:pt x="165168" y="4029"/>
                      </a:moveTo>
                      <a:cubicBezTo>
                        <a:pt x="168435" y="7355"/>
                        <a:pt x="173869" y="11103"/>
                        <a:pt x="175029" y="15412"/>
                      </a:cubicBezTo>
                      <a:cubicBezTo>
                        <a:pt x="165765" y="11665"/>
                        <a:pt x="178495" y="18036"/>
                        <a:pt x="177008" y="21667"/>
                      </a:cubicBezTo>
                      <a:cubicBezTo>
                        <a:pt x="175825" y="24524"/>
                        <a:pt x="166444" y="30508"/>
                        <a:pt x="163505" y="32640"/>
                      </a:cubicBezTo>
                      <a:cubicBezTo>
                        <a:pt x="159968" y="35205"/>
                        <a:pt x="154604" y="35462"/>
                        <a:pt x="158047" y="40581"/>
                      </a:cubicBezTo>
                      <a:cubicBezTo>
                        <a:pt x="160202" y="43766"/>
                        <a:pt x="162439" y="40756"/>
                        <a:pt x="164512" y="42513"/>
                      </a:cubicBezTo>
                      <a:cubicBezTo>
                        <a:pt x="167487" y="45043"/>
                        <a:pt x="167170" y="50032"/>
                        <a:pt x="170801" y="51812"/>
                      </a:cubicBezTo>
                      <a:cubicBezTo>
                        <a:pt x="173764" y="53276"/>
                        <a:pt x="196637" y="45640"/>
                        <a:pt x="185979" y="53838"/>
                      </a:cubicBezTo>
                      <a:cubicBezTo>
                        <a:pt x="182676" y="56379"/>
                        <a:pt x="176258" y="53416"/>
                        <a:pt x="172370" y="58288"/>
                      </a:cubicBezTo>
                      <a:cubicBezTo>
                        <a:pt x="168763" y="62809"/>
                        <a:pt x="171984" y="67365"/>
                        <a:pt x="164125" y="68290"/>
                      </a:cubicBezTo>
                      <a:cubicBezTo>
                        <a:pt x="157907" y="69016"/>
                        <a:pt x="167920" y="65643"/>
                        <a:pt x="164559" y="61287"/>
                      </a:cubicBezTo>
                      <a:cubicBezTo>
                        <a:pt x="162439" y="58546"/>
                        <a:pt x="149662" y="57269"/>
                        <a:pt x="146300" y="55747"/>
                      </a:cubicBezTo>
                      <a:cubicBezTo>
                        <a:pt x="137974" y="51964"/>
                        <a:pt x="138278" y="50676"/>
                        <a:pt x="129459" y="53416"/>
                      </a:cubicBezTo>
                      <a:cubicBezTo>
                        <a:pt x="124915" y="54822"/>
                        <a:pt x="117010" y="59846"/>
                        <a:pt x="113180" y="56403"/>
                      </a:cubicBezTo>
                      <a:cubicBezTo>
                        <a:pt x="110650" y="59893"/>
                        <a:pt x="112325" y="62914"/>
                        <a:pt x="111096" y="65842"/>
                      </a:cubicBezTo>
                      <a:cubicBezTo>
                        <a:pt x="109725" y="69122"/>
                        <a:pt x="112583" y="69438"/>
                        <a:pt x="106680" y="69473"/>
                      </a:cubicBezTo>
                      <a:cubicBezTo>
                        <a:pt x="105029" y="69484"/>
                        <a:pt x="104654" y="64812"/>
                        <a:pt x="102335" y="65432"/>
                      </a:cubicBezTo>
                      <a:cubicBezTo>
                        <a:pt x="98634" y="66416"/>
                        <a:pt x="98424" y="78093"/>
                        <a:pt x="98705" y="80974"/>
                      </a:cubicBezTo>
                      <a:cubicBezTo>
                        <a:pt x="98740" y="81278"/>
                        <a:pt x="102218" y="94137"/>
                        <a:pt x="101445" y="93130"/>
                      </a:cubicBezTo>
                      <a:cubicBezTo>
                        <a:pt x="102874" y="95016"/>
                        <a:pt x="119914" y="90296"/>
                        <a:pt x="124236" y="90577"/>
                      </a:cubicBezTo>
                      <a:cubicBezTo>
                        <a:pt x="130115" y="90964"/>
                        <a:pt x="146359" y="94524"/>
                        <a:pt x="148783" y="87473"/>
                      </a:cubicBezTo>
                      <a:cubicBezTo>
                        <a:pt x="148479" y="98107"/>
                        <a:pt x="155002" y="89523"/>
                        <a:pt x="161455" y="88972"/>
                      </a:cubicBezTo>
                      <a:cubicBezTo>
                        <a:pt x="168400" y="88387"/>
                        <a:pt x="171293" y="92685"/>
                        <a:pt x="175099" y="97299"/>
                      </a:cubicBezTo>
                      <a:cubicBezTo>
                        <a:pt x="177558" y="100274"/>
                        <a:pt x="174314" y="100508"/>
                        <a:pt x="179936" y="101797"/>
                      </a:cubicBezTo>
                      <a:cubicBezTo>
                        <a:pt x="180182" y="101855"/>
                        <a:pt x="187993" y="100508"/>
                        <a:pt x="187525" y="100708"/>
                      </a:cubicBezTo>
                      <a:cubicBezTo>
                        <a:pt x="190839" y="99279"/>
                        <a:pt x="190722" y="96995"/>
                        <a:pt x="193767" y="95086"/>
                      </a:cubicBezTo>
                      <a:cubicBezTo>
                        <a:pt x="197281" y="92884"/>
                        <a:pt x="202281" y="92990"/>
                        <a:pt x="205736" y="91772"/>
                      </a:cubicBezTo>
                      <a:cubicBezTo>
                        <a:pt x="207962" y="90987"/>
                        <a:pt x="210843" y="87614"/>
                        <a:pt x="213501" y="88001"/>
                      </a:cubicBezTo>
                      <a:cubicBezTo>
                        <a:pt x="220247" y="88984"/>
                        <a:pt x="214977" y="92076"/>
                        <a:pt x="216534" y="94231"/>
                      </a:cubicBezTo>
                      <a:cubicBezTo>
                        <a:pt x="220622" y="99864"/>
                        <a:pt x="224252" y="93786"/>
                        <a:pt x="228223" y="97288"/>
                      </a:cubicBezTo>
                      <a:cubicBezTo>
                        <a:pt x="232017" y="100625"/>
                        <a:pt x="226665" y="102698"/>
                        <a:pt x="227614" y="105111"/>
                      </a:cubicBezTo>
                      <a:cubicBezTo>
                        <a:pt x="231268" y="114480"/>
                        <a:pt x="239700" y="101574"/>
                        <a:pt x="246118" y="103483"/>
                      </a:cubicBezTo>
                      <a:cubicBezTo>
                        <a:pt x="246680" y="103647"/>
                        <a:pt x="253133" y="114398"/>
                        <a:pt x="255112" y="113743"/>
                      </a:cubicBezTo>
                      <a:cubicBezTo>
                        <a:pt x="256822" y="113180"/>
                        <a:pt x="259375" y="106036"/>
                        <a:pt x="262186" y="104361"/>
                      </a:cubicBezTo>
                      <a:cubicBezTo>
                        <a:pt x="264493" y="102991"/>
                        <a:pt x="269798" y="103647"/>
                        <a:pt x="271825" y="103366"/>
                      </a:cubicBezTo>
                      <a:cubicBezTo>
                        <a:pt x="279613" y="102265"/>
                        <a:pt x="289614" y="103050"/>
                        <a:pt x="298176" y="102745"/>
                      </a:cubicBezTo>
                      <a:cubicBezTo>
                        <a:pt x="302579" y="102593"/>
                        <a:pt x="305601" y="103670"/>
                        <a:pt x="310391" y="101738"/>
                      </a:cubicBezTo>
                      <a:cubicBezTo>
                        <a:pt x="314068" y="100263"/>
                        <a:pt x="316844" y="95519"/>
                        <a:pt x="322817" y="96925"/>
                      </a:cubicBezTo>
                      <a:cubicBezTo>
                        <a:pt x="328403" y="98248"/>
                        <a:pt x="328239" y="98904"/>
                        <a:pt x="328251" y="104842"/>
                      </a:cubicBezTo>
                      <a:cubicBezTo>
                        <a:pt x="328262" y="112759"/>
                        <a:pt x="325452" y="110299"/>
                        <a:pt x="330441" y="117479"/>
                      </a:cubicBezTo>
                      <a:cubicBezTo>
                        <a:pt x="331401" y="118872"/>
                        <a:pt x="337878" y="125735"/>
                        <a:pt x="337889" y="126789"/>
                      </a:cubicBezTo>
                      <a:cubicBezTo>
                        <a:pt x="337901" y="131731"/>
                        <a:pt x="332666" y="128112"/>
                        <a:pt x="330734" y="131966"/>
                      </a:cubicBezTo>
                      <a:cubicBezTo>
                        <a:pt x="329656" y="134132"/>
                        <a:pt x="335547" y="148772"/>
                        <a:pt x="337386" y="150505"/>
                      </a:cubicBezTo>
                      <a:cubicBezTo>
                        <a:pt x="339810" y="152800"/>
                        <a:pt x="346041" y="155318"/>
                        <a:pt x="349296" y="153878"/>
                      </a:cubicBezTo>
                      <a:cubicBezTo>
                        <a:pt x="349004" y="154018"/>
                        <a:pt x="350467" y="149018"/>
                        <a:pt x="351838" y="147905"/>
                      </a:cubicBezTo>
                      <a:cubicBezTo>
                        <a:pt x="358724" y="142377"/>
                        <a:pt x="371021" y="148326"/>
                        <a:pt x="379723" y="151688"/>
                      </a:cubicBezTo>
                      <a:cubicBezTo>
                        <a:pt x="383810" y="153257"/>
                        <a:pt x="390685" y="155681"/>
                        <a:pt x="390978" y="160764"/>
                      </a:cubicBezTo>
                      <a:cubicBezTo>
                        <a:pt x="391165" y="164067"/>
                        <a:pt x="387874" y="166561"/>
                        <a:pt x="387171" y="169887"/>
                      </a:cubicBezTo>
                      <a:cubicBezTo>
                        <a:pt x="385227" y="178917"/>
                        <a:pt x="391516" y="181892"/>
                        <a:pt x="393460" y="188251"/>
                      </a:cubicBezTo>
                      <a:cubicBezTo>
                        <a:pt x="394257" y="190863"/>
                        <a:pt x="392734" y="194329"/>
                        <a:pt x="393039" y="195501"/>
                      </a:cubicBezTo>
                      <a:cubicBezTo>
                        <a:pt x="393554" y="197492"/>
                        <a:pt x="397419" y="197866"/>
                        <a:pt x="397243" y="199541"/>
                      </a:cubicBezTo>
                      <a:cubicBezTo>
                        <a:pt x="397126" y="200806"/>
                        <a:pt x="395604" y="201836"/>
                        <a:pt x="395580" y="202867"/>
                      </a:cubicBezTo>
                      <a:cubicBezTo>
                        <a:pt x="395463" y="207318"/>
                        <a:pt x="391645" y="206814"/>
                        <a:pt x="394760" y="211967"/>
                      </a:cubicBezTo>
                      <a:cubicBezTo>
                        <a:pt x="396400" y="214684"/>
                        <a:pt x="404844" y="220469"/>
                        <a:pt x="407690" y="222203"/>
                      </a:cubicBezTo>
                      <a:cubicBezTo>
                        <a:pt x="402525" y="222753"/>
                        <a:pt x="402080" y="227684"/>
                        <a:pt x="396599" y="229382"/>
                      </a:cubicBezTo>
                      <a:cubicBezTo>
                        <a:pt x="390451" y="231291"/>
                        <a:pt x="395721" y="231994"/>
                        <a:pt x="388846" y="227122"/>
                      </a:cubicBezTo>
                      <a:cubicBezTo>
                        <a:pt x="381433" y="221875"/>
                        <a:pt x="369077" y="225939"/>
                        <a:pt x="363432" y="220622"/>
                      </a:cubicBezTo>
                      <a:cubicBezTo>
                        <a:pt x="356101" y="224147"/>
                        <a:pt x="345174" y="231022"/>
                        <a:pt x="334306" y="232485"/>
                      </a:cubicBezTo>
                      <a:cubicBezTo>
                        <a:pt x="318635" y="234594"/>
                        <a:pt x="334704" y="227485"/>
                        <a:pt x="334107" y="220528"/>
                      </a:cubicBezTo>
                      <a:cubicBezTo>
                        <a:pt x="326435" y="220540"/>
                        <a:pt x="319842" y="216429"/>
                        <a:pt x="312780" y="218408"/>
                      </a:cubicBezTo>
                      <a:cubicBezTo>
                        <a:pt x="308517" y="219603"/>
                        <a:pt x="305144" y="221301"/>
                        <a:pt x="301302" y="223632"/>
                      </a:cubicBezTo>
                      <a:cubicBezTo>
                        <a:pt x="299522" y="224709"/>
                        <a:pt x="297391" y="226454"/>
                        <a:pt x="295587" y="227579"/>
                      </a:cubicBezTo>
                      <a:cubicBezTo>
                        <a:pt x="293140" y="229101"/>
                        <a:pt x="288127" y="230178"/>
                        <a:pt x="285984" y="231876"/>
                      </a:cubicBezTo>
                      <a:cubicBezTo>
                        <a:pt x="278172" y="238072"/>
                        <a:pt x="280116" y="244232"/>
                        <a:pt x="269213" y="245626"/>
                      </a:cubicBezTo>
                      <a:cubicBezTo>
                        <a:pt x="261928" y="246563"/>
                        <a:pt x="257642" y="247898"/>
                        <a:pt x="251517" y="252067"/>
                      </a:cubicBezTo>
                      <a:cubicBezTo>
                        <a:pt x="245087" y="256447"/>
                        <a:pt x="237709" y="264950"/>
                        <a:pt x="229534" y="265512"/>
                      </a:cubicBezTo>
                      <a:cubicBezTo>
                        <a:pt x="219685" y="266191"/>
                        <a:pt x="213489" y="250791"/>
                        <a:pt x="213021" y="242639"/>
                      </a:cubicBezTo>
                      <a:cubicBezTo>
                        <a:pt x="212670" y="236514"/>
                        <a:pt x="215223" y="231502"/>
                        <a:pt x="216347" y="225880"/>
                      </a:cubicBezTo>
                      <a:cubicBezTo>
                        <a:pt x="217436" y="220505"/>
                        <a:pt x="217214" y="213396"/>
                        <a:pt x="217624" y="208149"/>
                      </a:cubicBezTo>
                      <a:cubicBezTo>
                        <a:pt x="218233" y="200372"/>
                        <a:pt x="226770" y="189984"/>
                        <a:pt x="214567" y="189949"/>
                      </a:cubicBezTo>
                      <a:cubicBezTo>
                        <a:pt x="210421" y="189938"/>
                        <a:pt x="205760" y="194950"/>
                        <a:pt x="203851" y="189024"/>
                      </a:cubicBezTo>
                      <a:cubicBezTo>
                        <a:pt x="202551" y="185007"/>
                        <a:pt x="210081" y="178167"/>
                        <a:pt x="209461" y="173495"/>
                      </a:cubicBezTo>
                      <a:cubicBezTo>
                        <a:pt x="208617" y="167077"/>
                        <a:pt x="192713" y="158668"/>
                        <a:pt x="187537" y="157824"/>
                      </a:cubicBezTo>
                      <a:cubicBezTo>
                        <a:pt x="188673" y="158012"/>
                        <a:pt x="179186" y="159054"/>
                        <a:pt x="177699" y="159593"/>
                      </a:cubicBezTo>
                      <a:cubicBezTo>
                        <a:pt x="174092" y="160893"/>
                        <a:pt x="171351" y="163165"/>
                        <a:pt x="169384" y="166175"/>
                      </a:cubicBezTo>
                      <a:cubicBezTo>
                        <a:pt x="166737" y="170227"/>
                        <a:pt x="164430" y="175685"/>
                        <a:pt x="160963" y="179772"/>
                      </a:cubicBezTo>
                      <a:cubicBezTo>
                        <a:pt x="157965" y="183309"/>
                        <a:pt x="151992" y="186014"/>
                        <a:pt x="151945" y="189692"/>
                      </a:cubicBezTo>
                      <a:cubicBezTo>
                        <a:pt x="149943" y="189364"/>
                        <a:pt x="149392" y="190418"/>
                        <a:pt x="147284" y="189282"/>
                      </a:cubicBezTo>
                      <a:cubicBezTo>
                        <a:pt x="144661" y="196508"/>
                        <a:pt x="156162" y="199764"/>
                        <a:pt x="151008" y="209016"/>
                      </a:cubicBezTo>
                      <a:cubicBezTo>
                        <a:pt x="145223" y="219451"/>
                        <a:pt x="139765" y="210363"/>
                        <a:pt x="133465" y="209098"/>
                      </a:cubicBezTo>
                      <a:cubicBezTo>
                        <a:pt x="130689" y="208536"/>
                        <a:pt x="125149" y="211299"/>
                        <a:pt x="121999" y="211417"/>
                      </a:cubicBezTo>
                      <a:cubicBezTo>
                        <a:pt x="115417" y="211663"/>
                        <a:pt x="110908" y="210913"/>
                        <a:pt x="107711" y="217694"/>
                      </a:cubicBezTo>
                      <a:cubicBezTo>
                        <a:pt x="104291" y="224955"/>
                        <a:pt x="111318" y="232040"/>
                        <a:pt x="105486" y="236983"/>
                      </a:cubicBezTo>
                      <a:cubicBezTo>
                        <a:pt x="93692" y="246961"/>
                        <a:pt x="90600" y="225131"/>
                        <a:pt x="80283" y="225939"/>
                      </a:cubicBezTo>
                      <a:cubicBezTo>
                        <a:pt x="80716" y="226700"/>
                        <a:pt x="81419" y="228995"/>
                        <a:pt x="81758" y="229499"/>
                      </a:cubicBezTo>
                      <a:cubicBezTo>
                        <a:pt x="78538" y="225892"/>
                        <a:pt x="75879" y="225529"/>
                        <a:pt x="76769" y="231197"/>
                      </a:cubicBezTo>
                      <a:cubicBezTo>
                        <a:pt x="74087" y="229757"/>
                        <a:pt x="70984" y="229054"/>
                        <a:pt x="68266" y="230190"/>
                      </a:cubicBezTo>
                      <a:cubicBezTo>
                        <a:pt x="68337" y="230776"/>
                        <a:pt x="69028" y="230471"/>
                        <a:pt x="68993" y="231420"/>
                      </a:cubicBezTo>
                      <a:cubicBezTo>
                        <a:pt x="66521" y="234301"/>
                        <a:pt x="59647" y="237709"/>
                        <a:pt x="55044" y="237159"/>
                      </a:cubicBezTo>
                      <a:cubicBezTo>
                        <a:pt x="55841" y="241480"/>
                        <a:pt x="53932" y="238084"/>
                        <a:pt x="52058" y="239852"/>
                      </a:cubicBezTo>
                      <a:cubicBezTo>
                        <a:pt x="51812" y="240086"/>
                        <a:pt x="50079" y="239173"/>
                        <a:pt x="49294" y="239876"/>
                      </a:cubicBezTo>
                      <a:cubicBezTo>
                        <a:pt x="48603" y="240473"/>
                        <a:pt x="48954" y="243494"/>
                        <a:pt x="48825" y="243565"/>
                      </a:cubicBezTo>
                      <a:cubicBezTo>
                        <a:pt x="48228" y="243904"/>
                        <a:pt x="40428" y="249034"/>
                        <a:pt x="37770" y="249432"/>
                      </a:cubicBezTo>
                      <a:cubicBezTo>
                        <a:pt x="33308" y="250111"/>
                        <a:pt x="33495" y="248308"/>
                        <a:pt x="29337" y="244818"/>
                      </a:cubicBezTo>
                      <a:cubicBezTo>
                        <a:pt x="23517" y="239922"/>
                        <a:pt x="22709" y="241433"/>
                        <a:pt x="23259" y="233106"/>
                      </a:cubicBezTo>
                      <a:cubicBezTo>
                        <a:pt x="23728" y="226115"/>
                        <a:pt x="22720" y="218057"/>
                        <a:pt x="26761" y="211862"/>
                      </a:cubicBezTo>
                      <a:cubicBezTo>
                        <a:pt x="31200" y="205045"/>
                        <a:pt x="37594" y="195934"/>
                        <a:pt x="42478" y="190324"/>
                      </a:cubicBezTo>
                      <a:cubicBezTo>
                        <a:pt x="44961" y="187466"/>
                        <a:pt x="47947" y="187795"/>
                        <a:pt x="50160" y="183098"/>
                      </a:cubicBezTo>
                      <a:cubicBezTo>
                        <a:pt x="55267" y="172312"/>
                        <a:pt x="50289" y="172464"/>
                        <a:pt x="43590" y="165695"/>
                      </a:cubicBezTo>
                      <a:cubicBezTo>
                        <a:pt x="37688" y="159734"/>
                        <a:pt x="33554" y="145047"/>
                        <a:pt x="37489" y="138255"/>
                      </a:cubicBezTo>
                      <a:cubicBezTo>
                        <a:pt x="40053" y="133828"/>
                        <a:pt x="44761" y="137470"/>
                        <a:pt x="41014" y="130080"/>
                      </a:cubicBezTo>
                      <a:cubicBezTo>
                        <a:pt x="38355" y="124868"/>
                        <a:pt x="37899" y="125700"/>
                        <a:pt x="32909" y="125477"/>
                      </a:cubicBezTo>
                      <a:cubicBezTo>
                        <a:pt x="28846" y="125290"/>
                        <a:pt x="20999" y="129483"/>
                        <a:pt x="17169" y="125325"/>
                      </a:cubicBezTo>
                      <a:cubicBezTo>
                        <a:pt x="14347" y="122257"/>
                        <a:pt x="17942" y="119177"/>
                        <a:pt x="14265" y="116190"/>
                      </a:cubicBezTo>
                      <a:cubicBezTo>
                        <a:pt x="8807" y="111763"/>
                        <a:pt x="445" y="117326"/>
                        <a:pt x="0" y="108074"/>
                      </a:cubicBezTo>
                      <a:cubicBezTo>
                        <a:pt x="0" y="108004"/>
                        <a:pt x="4275" y="96831"/>
                        <a:pt x="5001" y="95589"/>
                      </a:cubicBezTo>
                      <a:cubicBezTo>
                        <a:pt x="6313" y="93317"/>
                        <a:pt x="14288" y="87930"/>
                        <a:pt x="19324" y="87157"/>
                      </a:cubicBezTo>
                      <a:cubicBezTo>
                        <a:pt x="29056" y="85681"/>
                        <a:pt x="41564" y="92615"/>
                        <a:pt x="51589" y="93013"/>
                      </a:cubicBezTo>
                      <a:cubicBezTo>
                        <a:pt x="57199" y="93247"/>
                        <a:pt x="62727" y="91994"/>
                        <a:pt x="64952" y="86595"/>
                      </a:cubicBezTo>
                      <a:cubicBezTo>
                        <a:pt x="66182" y="83597"/>
                        <a:pt x="65842" y="65058"/>
                        <a:pt x="72693" y="75153"/>
                      </a:cubicBezTo>
                      <a:cubicBezTo>
                        <a:pt x="75352" y="72143"/>
                        <a:pt x="74509" y="68875"/>
                        <a:pt x="73584" y="65257"/>
                      </a:cubicBezTo>
                      <a:cubicBezTo>
                        <a:pt x="75200" y="67212"/>
                        <a:pt x="80528" y="76476"/>
                        <a:pt x="79041" y="69274"/>
                      </a:cubicBezTo>
                      <a:cubicBezTo>
                        <a:pt x="78151" y="64917"/>
                        <a:pt x="73724" y="63430"/>
                        <a:pt x="74403" y="59143"/>
                      </a:cubicBezTo>
                      <a:cubicBezTo>
                        <a:pt x="75891" y="60783"/>
                        <a:pt x="87204" y="61931"/>
                        <a:pt x="85131" y="57047"/>
                      </a:cubicBezTo>
                      <a:cubicBezTo>
                        <a:pt x="82719" y="51308"/>
                        <a:pt x="69637" y="60396"/>
                        <a:pt x="64296" y="53955"/>
                      </a:cubicBezTo>
                      <a:cubicBezTo>
                        <a:pt x="68594" y="51578"/>
                        <a:pt x="82320" y="49329"/>
                        <a:pt x="87145" y="49774"/>
                      </a:cubicBezTo>
                      <a:cubicBezTo>
                        <a:pt x="95847" y="50559"/>
                        <a:pt x="103706" y="57293"/>
                        <a:pt x="97018" y="45687"/>
                      </a:cubicBezTo>
                      <a:cubicBezTo>
                        <a:pt x="103506" y="48041"/>
                        <a:pt x="101902" y="43251"/>
                        <a:pt x="100883" y="39316"/>
                      </a:cubicBezTo>
                      <a:cubicBezTo>
                        <a:pt x="100309" y="37090"/>
                        <a:pt x="97487" y="34128"/>
                        <a:pt x="97522" y="32019"/>
                      </a:cubicBezTo>
                      <a:cubicBezTo>
                        <a:pt x="97616" y="26327"/>
                        <a:pt x="99431" y="31586"/>
                        <a:pt x="100743" y="27803"/>
                      </a:cubicBezTo>
                      <a:cubicBezTo>
                        <a:pt x="103389" y="20156"/>
                        <a:pt x="104385" y="9966"/>
                        <a:pt x="114902" y="18680"/>
                      </a:cubicBezTo>
                      <a:cubicBezTo>
                        <a:pt x="117689" y="20987"/>
                        <a:pt x="119376" y="25098"/>
                        <a:pt x="123229" y="24934"/>
                      </a:cubicBezTo>
                      <a:cubicBezTo>
                        <a:pt x="123885" y="24910"/>
                        <a:pt x="136990" y="17919"/>
                        <a:pt x="137798" y="17591"/>
                      </a:cubicBezTo>
                      <a:cubicBezTo>
                        <a:pt x="141136" y="16197"/>
                        <a:pt x="145328" y="13972"/>
                        <a:pt x="148432" y="12192"/>
                      </a:cubicBezTo>
                      <a:cubicBezTo>
                        <a:pt x="152953" y="9604"/>
                        <a:pt x="153644" y="5868"/>
                        <a:pt x="156536" y="3560"/>
                      </a:cubicBezTo>
                      <a:cubicBezTo>
                        <a:pt x="159019" y="1581"/>
                        <a:pt x="156583" y="-1347"/>
                        <a:pt x="161549" y="691"/>
                      </a:cubicBezTo>
                      <a:cubicBezTo>
                        <a:pt x="162240" y="995"/>
                        <a:pt x="164758" y="3525"/>
                        <a:pt x="165168" y="4029"/>
                      </a:cubicBezTo>
                      <a:lnTo>
                        <a:pt x="165168" y="4029"/>
                      </a:lnTo>
                      <a:close/>
                    </a:path>
                  </a:pathLst>
                </a:custGeom>
                <a:solidFill>
                  <a:srgbClr val="D6D6D2"/>
                </a:solidFill>
                <a:ln w="8774" cap="rnd">
                  <a:solidFill>
                    <a:srgbClr val="FFFFFF"/>
                  </a:solidFill>
                  <a:prstDash val="solid"/>
                  <a:round/>
                </a:ln>
              </p:spPr>
              <p:txBody>
                <a:bodyPr rtlCol="0" anchor="ctr"/>
                <a:lstStyle/>
                <a:p>
                  <a:endParaRPr lang="en-US"/>
                </a:p>
              </p:txBody>
            </p:sp>
            <p:sp>
              <p:nvSpPr>
                <p:cNvPr id="105" name="Freeform: Shape 104">
                  <a:extLst>
                    <a:ext uri="{FF2B5EF4-FFF2-40B4-BE49-F238E27FC236}">
                      <a16:creationId xmlns:a16="http://schemas.microsoft.com/office/drawing/2014/main" id="{36654CE2-41F4-4A00-BE71-3A5C6522A665}"/>
                    </a:ext>
                  </a:extLst>
                </p:cNvPr>
                <p:cNvSpPr/>
                <p:nvPr/>
              </p:nvSpPr>
              <p:spPr>
                <a:xfrm>
                  <a:off x="2197246" y="4999179"/>
                  <a:ext cx="432741" cy="787188"/>
                </a:xfrm>
                <a:custGeom>
                  <a:avLst/>
                  <a:gdLst>
                    <a:gd name="connsiteX0" fmla="*/ 137423 w 432741"/>
                    <a:gd name="connsiteY0" fmla="*/ 3317 h 787188"/>
                    <a:gd name="connsiteX1" fmla="*/ 143888 w 432741"/>
                    <a:gd name="connsiteY1" fmla="*/ 10449 h 787188"/>
                    <a:gd name="connsiteX2" fmla="*/ 149521 w 432741"/>
                    <a:gd name="connsiteY2" fmla="*/ 5870 h 787188"/>
                    <a:gd name="connsiteX3" fmla="*/ 166655 w 432741"/>
                    <a:gd name="connsiteY3" fmla="*/ 15216 h 787188"/>
                    <a:gd name="connsiteX4" fmla="*/ 159499 w 432741"/>
                    <a:gd name="connsiteY4" fmla="*/ 41016 h 787188"/>
                    <a:gd name="connsiteX5" fmla="*/ 165296 w 432741"/>
                    <a:gd name="connsiteY5" fmla="*/ 51311 h 787188"/>
                    <a:gd name="connsiteX6" fmla="*/ 169548 w 432741"/>
                    <a:gd name="connsiteY6" fmla="*/ 49425 h 787188"/>
                    <a:gd name="connsiteX7" fmla="*/ 176633 w 432741"/>
                    <a:gd name="connsiteY7" fmla="*/ 51732 h 787188"/>
                    <a:gd name="connsiteX8" fmla="*/ 186635 w 432741"/>
                    <a:gd name="connsiteY8" fmla="*/ 45314 h 787188"/>
                    <a:gd name="connsiteX9" fmla="*/ 199225 w 432741"/>
                    <a:gd name="connsiteY9" fmla="*/ 47493 h 787188"/>
                    <a:gd name="connsiteX10" fmla="*/ 202738 w 432741"/>
                    <a:gd name="connsiteY10" fmla="*/ 52927 h 787188"/>
                    <a:gd name="connsiteX11" fmla="*/ 199436 w 432741"/>
                    <a:gd name="connsiteY11" fmla="*/ 57014 h 787188"/>
                    <a:gd name="connsiteX12" fmla="*/ 201321 w 432741"/>
                    <a:gd name="connsiteY12" fmla="*/ 61137 h 787188"/>
                    <a:gd name="connsiteX13" fmla="*/ 202141 w 432741"/>
                    <a:gd name="connsiteY13" fmla="*/ 69428 h 787188"/>
                    <a:gd name="connsiteX14" fmla="*/ 206545 w 432741"/>
                    <a:gd name="connsiteY14" fmla="*/ 75378 h 787188"/>
                    <a:gd name="connsiteX15" fmla="*/ 202258 w 432741"/>
                    <a:gd name="connsiteY15" fmla="*/ 89525 h 787188"/>
                    <a:gd name="connsiteX16" fmla="*/ 199073 w 432741"/>
                    <a:gd name="connsiteY16" fmla="*/ 99749 h 787188"/>
                    <a:gd name="connsiteX17" fmla="*/ 192093 w 432741"/>
                    <a:gd name="connsiteY17" fmla="*/ 108580 h 787188"/>
                    <a:gd name="connsiteX18" fmla="*/ 194611 w 432741"/>
                    <a:gd name="connsiteY18" fmla="*/ 112808 h 787188"/>
                    <a:gd name="connsiteX19" fmla="*/ 198405 w 432741"/>
                    <a:gd name="connsiteY19" fmla="*/ 115033 h 787188"/>
                    <a:gd name="connsiteX20" fmla="*/ 197058 w 432741"/>
                    <a:gd name="connsiteY20" fmla="*/ 117001 h 787188"/>
                    <a:gd name="connsiteX21" fmla="*/ 197913 w 432741"/>
                    <a:gd name="connsiteY21" fmla="*/ 126792 h 787188"/>
                    <a:gd name="connsiteX22" fmla="*/ 189001 w 432741"/>
                    <a:gd name="connsiteY22" fmla="*/ 144124 h 787188"/>
                    <a:gd name="connsiteX23" fmla="*/ 184340 w 432741"/>
                    <a:gd name="connsiteY23" fmla="*/ 154173 h 787188"/>
                    <a:gd name="connsiteX24" fmla="*/ 194142 w 432741"/>
                    <a:gd name="connsiteY24" fmla="*/ 159970 h 787188"/>
                    <a:gd name="connsiteX25" fmla="*/ 201696 w 432741"/>
                    <a:gd name="connsiteY25" fmla="*/ 156656 h 787188"/>
                    <a:gd name="connsiteX26" fmla="*/ 210245 w 432741"/>
                    <a:gd name="connsiteY26" fmla="*/ 147450 h 787188"/>
                    <a:gd name="connsiteX27" fmla="*/ 214754 w 432741"/>
                    <a:gd name="connsiteY27" fmla="*/ 147474 h 787188"/>
                    <a:gd name="connsiteX28" fmla="*/ 219333 w 432741"/>
                    <a:gd name="connsiteY28" fmla="*/ 143609 h 787188"/>
                    <a:gd name="connsiteX29" fmla="*/ 218162 w 432741"/>
                    <a:gd name="connsiteY29" fmla="*/ 142684 h 787188"/>
                    <a:gd name="connsiteX30" fmla="*/ 220446 w 432741"/>
                    <a:gd name="connsiteY30" fmla="*/ 139522 h 787188"/>
                    <a:gd name="connsiteX31" fmla="*/ 228539 w 432741"/>
                    <a:gd name="connsiteY31" fmla="*/ 136091 h 787188"/>
                    <a:gd name="connsiteX32" fmla="*/ 232872 w 432741"/>
                    <a:gd name="connsiteY32" fmla="*/ 129204 h 787188"/>
                    <a:gd name="connsiteX33" fmla="*/ 236948 w 432741"/>
                    <a:gd name="connsiteY33" fmla="*/ 130598 h 787188"/>
                    <a:gd name="connsiteX34" fmla="*/ 243331 w 432741"/>
                    <a:gd name="connsiteY34" fmla="*/ 124227 h 787188"/>
                    <a:gd name="connsiteX35" fmla="*/ 250943 w 432741"/>
                    <a:gd name="connsiteY35" fmla="*/ 121357 h 787188"/>
                    <a:gd name="connsiteX36" fmla="*/ 263275 w 432741"/>
                    <a:gd name="connsiteY36" fmla="*/ 132144 h 787188"/>
                    <a:gd name="connsiteX37" fmla="*/ 273757 w 432741"/>
                    <a:gd name="connsiteY37" fmla="*/ 134837 h 787188"/>
                    <a:gd name="connsiteX38" fmla="*/ 278102 w 432741"/>
                    <a:gd name="connsiteY38" fmla="*/ 142637 h 787188"/>
                    <a:gd name="connsiteX39" fmla="*/ 291863 w 432741"/>
                    <a:gd name="connsiteY39" fmla="*/ 131851 h 787188"/>
                    <a:gd name="connsiteX40" fmla="*/ 298211 w 432741"/>
                    <a:gd name="connsiteY40" fmla="*/ 131031 h 787188"/>
                    <a:gd name="connsiteX41" fmla="*/ 299475 w 432741"/>
                    <a:gd name="connsiteY41" fmla="*/ 124812 h 787188"/>
                    <a:gd name="connsiteX42" fmla="*/ 299288 w 432741"/>
                    <a:gd name="connsiteY42" fmla="*/ 125164 h 787188"/>
                    <a:gd name="connsiteX43" fmla="*/ 302521 w 432741"/>
                    <a:gd name="connsiteY43" fmla="*/ 120479 h 787188"/>
                    <a:gd name="connsiteX44" fmla="*/ 307451 w 432741"/>
                    <a:gd name="connsiteY44" fmla="*/ 117785 h 787188"/>
                    <a:gd name="connsiteX45" fmla="*/ 310051 w 432741"/>
                    <a:gd name="connsiteY45" fmla="*/ 116919 h 787188"/>
                    <a:gd name="connsiteX46" fmla="*/ 307615 w 432741"/>
                    <a:gd name="connsiteY46" fmla="*/ 114506 h 787188"/>
                    <a:gd name="connsiteX47" fmla="*/ 307990 w 432741"/>
                    <a:gd name="connsiteY47" fmla="*/ 111121 h 787188"/>
                    <a:gd name="connsiteX48" fmla="*/ 338557 w 432741"/>
                    <a:gd name="connsiteY48" fmla="*/ 115783 h 787188"/>
                    <a:gd name="connsiteX49" fmla="*/ 346169 w 432741"/>
                    <a:gd name="connsiteY49" fmla="*/ 114963 h 787188"/>
                    <a:gd name="connsiteX50" fmla="*/ 358033 w 432741"/>
                    <a:gd name="connsiteY50" fmla="*/ 132554 h 787188"/>
                    <a:gd name="connsiteX51" fmla="*/ 367953 w 432741"/>
                    <a:gd name="connsiteY51" fmla="*/ 146455 h 787188"/>
                    <a:gd name="connsiteX52" fmla="*/ 382206 w 432741"/>
                    <a:gd name="connsiteY52" fmla="*/ 157101 h 787188"/>
                    <a:gd name="connsiteX53" fmla="*/ 385860 w 432741"/>
                    <a:gd name="connsiteY53" fmla="*/ 190502 h 787188"/>
                    <a:gd name="connsiteX54" fmla="*/ 387382 w 432741"/>
                    <a:gd name="connsiteY54" fmla="*/ 202319 h 787188"/>
                    <a:gd name="connsiteX55" fmla="*/ 390989 w 432741"/>
                    <a:gd name="connsiteY55" fmla="*/ 215120 h 787188"/>
                    <a:gd name="connsiteX56" fmla="*/ 398321 w 432741"/>
                    <a:gd name="connsiteY56" fmla="*/ 224044 h 787188"/>
                    <a:gd name="connsiteX57" fmla="*/ 402830 w 432741"/>
                    <a:gd name="connsiteY57" fmla="*/ 233952 h 787188"/>
                    <a:gd name="connsiteX58" fmla="*/ 421053 w 432741"/>
                    <a:gd name="connsiteY58" fmla="*/ 239597 h 787188"/>
                    <a:gd name="connsiteX59" fmla="*/ 417785 w 432741"/>
                    <a:gd name="connsiteY59" fmla="*/ 243637 h 787188"/>
                    <a:gd name="connsiteX60" fmla="*/ 422341 w 432741"/>
                    <a:gd name="connsiteY60" fmla="*/ 252327 h 787188"/>
                    <a:gd name="connsiteX61" fmla="*/ 430937 w 432741"/>
                    <a:gd name="connsiteY61" fmla="*/ 254658 h 787188"/>
                    <a:gd name="connsiteX62" fmla="*/ 431008 w 432741"/>
                    <a:gd name="connsiteY62" fmla="*/ 265936 h 787188"/>
                    <a:gd name="connsiteX63" fmla="*/ 426604 w 432741"/>
                    <a:gd name="connsiteY63" fmla="*/ 272120 h 787188"/>
                    <a:gd name="connsiteX64" fmla="*/ 423969 w 432741"/>
                    <a:gd name="connsiteY64" fmla="*/ 274064 h 787188"/>
                    <a:gd name="connsiteX65" fmla="*/ 427084 w 432741"/>
                    <a:gd name="connsiteY65" fmla="*/ 276020 h 787188"/>
                    <a:gd name="connsiteX66" fmla="*/ 426709 w 432741"/>
                    <a:gd name="connsiteY66" fmla="*/ 279685 h 787188"/>
                    <a:gd name="connsiteX67" fmla="*/ 422119 w 432741"/>
                    <a:gd name="connsiteY67" fmla="*/ 286314 h 787188"/>
                    <a:gd name="connsiteX68" fmla="*/ 429907 w 432741"/>
                    <a:gd name="connsiteY68" fmla="*/ 293669 h 787188"/>
                    <a:gd name="connsiteX69" fmla="*/ 425093 w 432741"/>
                    <a:gd name="connsiteY69" fmla="*/ 308461 h 787188"/>
                    <a:gd name="connsiteX70" fmla="*/ 415314 w 432741"/>
                    <a:gd name="connsiteY70" fmla="*/ 325548 h 787188"/>
                    <a:gd name="connsiteX71" fmla="*/ 405851 w 432741"/>
                    <a:gd name="connsiteY71" fmla="*/ 331509 h 787188"/>
                    <a:gd name="connsiteX72" fmla="*/ 399820 w 432741"/>
                    <a:gd name="connsiteY72" fmla="*/ 333992 h 787188"/>
                    <a:gd name="connsiteX73" fmla="*/ 397852 w 432741"/>
                    <a:gd name="connsiteY73" fmla="*/ 326824 h 787188"/>
                    <a:gd name="connsiteX74" fmla="*/ 379477 w 432741"/>
                    <a:gd name="connsiteY74" fmla="*/ 324119 h 787188"/>
                    <a:gd name="connsiteX75" fmla="*/ 370377 w 432741"/>
                    <a:gd name="connsiteY75" fmla="*/ 327445 h 787188"/>
                    <a:gd name="connsiteX76" fmla="*/ 356487 w 432741"/>
                    <a:gd name="connsiteY76" fmla="*/ 324939 h 787188"/>
                    <a:gd name="connsiteX77" fmla="*/ 340419 w 432741"/>
                    <a:gd name="connsiteY77" fmla="*/ 328253 h 787188"/>
                    <a:gd name="connsiteX78" fmla="*/ 329867 w 432741"/>
                    <a:gd name="connsiteY78" fmla="*/ 325864 h 787188"/>
                    <a:gd name="connsiteX79" fmla="*/ 328661 w 432741"/>
                    <a:gd name="connsiteY79" fmla="*/ 322877 h 787188"/>
                    <a:gd name="connsiteX80" fmla="*/ 326014 w 432741"/>
                    <a:gd name="connsiteY80" fmla="*/ 324798 h 787188"/>
                    <a:gd name="connsiteX81" fmla="*/ 303411 w 432741"/>
                    <a:gd name="connsiteY81" fmla="*/ 329202 h 787188"/>
                    <a:gd name="connsiteX82" fmla="*/ 290973 w 432741"/>
                    <a:gd name="connsiteY82" fmla="*/ 335947 h 787188"/>
                    <a:gd name="connsiteX83" fmla="*/ 287905 w 432741"/>
                    <a:gd name="connsiteY83" fmla="*/ 345001 h 787188"/>
                    <a:gd name="connsiteX84" fmla="*/ 279250 w 432741"/>
                    <a:gd name="connsiteY84" fmla="*/ 357251 h 787188"/>
                    <a:gd name="connsiteX85" fmla="*/ 273640 w 432741"/>
                    <a:gd name="connsiteY85" fmla="*/ 367393 h 787188"/>
                    <a:gd name="connsiteX86" fmla="*/ 259680 w 432741"/>
                    <a:gd name="connsiteY86" fmla="*/ 373190 h 787188"/>
                    <a:gd name="connsiteX87" fmla="*/ 264610 w 432741"/>
                    <a:gd name="connsiteY87" fmla="*/ 395454 h 787188"/>
                    <a:gd name="connsiteX88" fmla="*/ 268557 w 432741"/>
                    <a:gd name="connsiteY88" fmla="*/ 412143 h 787188"/>
                    <a:gd name="connsiteX89" fmla="*/ 267831 w 432741"/>
                    <a:gd name="connsiteY89" fmla="*/ 417471 h 787188"/>
                    <a:gd name="connsiteX90" fmla="*/ 276111 w 432741"/>
                    <a:gd name="connsiteY90" fmla="*/ 423163 h 787188"/>
                    <a:gd name="connsiteX91" fmla="*/ 280585 w 432741"/>
                    <a:gd name="connsiteY91" fmla="*/ 432380 h 787188"/>
                    <a:gd name="connsiteX92" fmla="*/ 278793 w 432741"/>
                    <a:gd name="connsiteY92" fmla="*/ 444115 h 787188"/>
                    <a:gd name="connsiteX93" fmla="*/ 283114 w 432741"/>
                    <a:gd name="connsiteY93" fmla="*/ 451458 h 787188"/>
                    <a:gd name="connsiteX94" fmla="*/ 290141 w 432741"/>
                    <a:gd name="connsiteY94" fmla="*/ 471216 h 787188"/>
                    <a:gd name="connsiteX95" fmla="*/ 283887 w 432741"/>
                    <a:gd name="connsiteY95" fmla="*/ 458649 h 787188"/>
                    <a:gd name="connsiteX96" fmla="*/ 275350 w 432741"/>
                    <a:gd name="connsiteY96" fmla="*/ 443963 h 787188"/>
                    <a:gd name="connsiteX97" fmla="*/ 276568 w 432741"/>
                    <a:gd name="connsiteY97" fmla="*/ 444080 h 787188"/>
                    <a:gd name="connsiteX98" fmla="*/ 274073 w 432741"/>
                    <a:gd name="connsiteY98" fmla="*/ 440801 h 787188"/>
                    <a:gd name="connsiteX99" fmla="*/ 272855 w 432741"/>
                    <a:gd name="connsiteY99" fmla="*/ 449901 h 787188"/>
                    <a:gd name="connsiteX100" fmla="*/ 256190 w 432741"/>
                    <a:gd name="connsiteY100" fmla="*/ 437170 h 787188"/>
                    <a:gd name="connsiteX101" fmla="*/ 259387 w 432741"/>
                    <a:gd name="connsiteY101" fmla="*/ 433165 h 787188"/>
                    <a:gd name="connsiteX102" fmla="*/ 258321 w 432741"/>
                    <a:gd name="connsiteY102" fmla="*/ 429874 h 787188"/>
                    <a:gd name="connsiteX103" fmla="*/ 256541 w 432741"/>
                    <a:gd name="connsiteY103" fmla="*/ 431724 h 787188"/>
                    <a:gd name="connsiteX104" fmla="*/ 256541 w 432741"/>
                    <a:gd name="connsiteY104" fmla="*/ 429183 h 787188"/>
                    <a:gd name="connsiteX105" fmla="*/ 252946 w 432741"/>
                    <a:gd name="connsiteY105" fmla="*/ 429546 h 787188"/>
                    <a:gd name="connsiteX106" fmla="*/ 253320 w 432741"/>
                    <a:gd name="connsiteY106" fmla="*/ 431350 h 787188"/>
                    <a:gd name="connsiteX107" fmla="*/ 254761 w 432741"/>
                    <a:gd name="connsiteY107" fmla="*/ 430600 h 787188"/>
                    <a:gd name="connsiteX108" fmla="*/ 256260 w 432741"/>
                    <a:gd name="connsiteY108" fmla="*/ 436292 h 787188"/>
                    <a:gd name="connsiteX109" fmla="*/ 246539 w 432741"/>
                    <a:gd name="connsiteY109" fmla="*/ 425529 h 787188"/>
                    <a:gd name="connsiteX110" fmla="*/ 247605 w 432741"/>
                    <a:gd name="connsiteY110" fmla="*/ 426255 h 787188"/>
                    <a:gd name="connsiteX111" fmla="*/ 248320 w 432741"/>
                    <a:gd name="connsiteY111" fmla="*/ 424042 h 787188"/>
                    <a:gd name="connsiteX112" fmla="*/ 246551 w 432741"/>
                    <a:gd name="connsiteY112" fmla="*/ 424440 h 787188"/>
                    <a:gd name="connsiteX113" fmla="*/ 247617 w 432741"/>
                    <a:gd name="connsiteY113" fmla="*/ 423726 h 787188"/>
                    <a:gd name="connsiteX114" fmla="*/ 244970 w 432741"/>
                    <a:gd name="connsiteY114" fmla="*/ 423772 h 787188"/>
                    <a:gd name="connsiteX115" fmla="*/ 245825 w 432741"/>
                    <a:gd name="connsiteY115" fmla="*/ 422262 h 787188"/>
                    <a:gd name="connsiteX116" fmla="*/ 242956 w 432741"/>
                    <a:gd name="connsiteY116" fmla="*/ 422589 h 787188"/>
                    <a:gd name="connsiteX117" fmla="*/ 245825 w 432741"/>
                    <a:gd name="connsiteY117" fmla="*/ 424791 h 787188"/>
                    <a:gd name="connsiteX118" fmla="*/ 245450 w 432741"/>
                    <a:gd name="connsiteY118" fmla="*/ 427684 h 787188"/>
                    <a:gd name="connsiteX119" fmla="*/ 240414 w 432741"/>
                    <a:gd name="connsiteY119" fmla="*/ 424030 h 787188"/>
                    <a:gd name="connsiteX120" fmla="*/ 239852 w 432741"/>
                    <a:gd name="connsiteY120" fmla="*/ 420376 h 787188"/>
                    <a:gd name="connsiteX121" fmla="*/ 239735 w 432741"/>
                    <a:gd name="connsiteY121" fmla="*/ 424428 h 787188"/>
                    <a:gd name="connsiteX122" fmla="*/ 236866 w 432741"/>
                    <a:gd name="connsiteY122" fmla="*/ 421570 h 787188"/>
                    <a:gd name="connsiteX123" fmla="*/ 237931 w 432741"/>
                    <a:gd name="connsiteY123" fmla="*/ 421899 h 787188"/>
                    <a:gd name="connsiteX124" fmla="*/ 219837 w 432741"/>
                    <a:gd name="connsiteY124" fmla="*/ 419053 h 787188"/>
                    <a:gd name="connsiteX125" fmla="*/ 205221 w 432741"/>
                    <a:gd name="connsiteY125" fmla="*/ 417987 h 787188"/>
                    <a:gd name="connsiteX126" fmla="*/ 188965 w 432741"/>
                    <a:gd name="connsiteY126" fmla="*/ 420809 h 787188"/>
                    <a:gd name="connsiteX127" fmla="*/ 182876 w 432741"/>
                    <a:gd name="connsiteY127" fmla="*/ 417917 h 787188"/>
                    <a:gd name="connsiteX128" fmla="*/ 181810 w 432741"/>
                    <a:gd name="connsiteY128" fmla="*/ 414989 h 787188"/>
                    <a:gd name="connsiteX129" fmla="*/ 186120 w 432741"/>
                    <a:gd name="connsiteY129" fmla="*/ 409531 h 787188"/>
                    <a:gd name="connsiteX130" fmla="*/ 184667 w 432741"/>
                    <a:gd name="connsiteY130" fmla="*/ 402258 h 787188"/>
                    <a:gd name="connsiteX131" fmla="*/ 186284 w 432741"/>
                    <a:gd name="connsiteY131" fmla="*/ 397234 h 787188"/>
                    <a:gd name="connsiteX132" fmla="*/ 184164 w 432741"/>
                    <a:gd name="connsiteY132" fmla="*/ 394845 h 787188"/>
                    <a:gd name="connsiteX133" fmla="*/ 185885 w 432741"/>
                    <a:gd name="connsiteY133" fmla="*/ 391284 h 787188"/>
                    <a:gd name="connsiteX134" fmla="*/ 185792 w 432741"/>
                    <a:gd name="connsiteY134" fmla="*/ 384082 h 787188"/>
                    <a:gd name="connsiteX135" fmla="*/ 190055 w 432741"/>
                    <a:gd name="connsiteY135" fmla="*/ 373167 h 787188"/>
                    <a:gd name="connsiteX136" fmla="*/ 169314 w 432741"/>
                    <a:gd name="connsiteY136" fmla="*/ 367007 h 787188"/>
                    <a:gd name="connsiteX137" fmla="*/ 152461 w 432741"/>
                    <a:gd name="connsiteY137" fmla="*/ 372089 h 787188"/>
                    <a:gd name="connsiteX138" fmla="*/ 138184 w 432741"/>
                    <a:gd name="connsiteY138" fmla="*/ 379761 h 787188"/>
                    <a:gd name="connsiteX139" fmla="*/ 139555 w 432741"/>
                    <a:gd name="connsiteY139" fmla="*/ 389200 h 787188"/>
                    <a:gd name="connsiteX140" fmla="*/ 142541 w 432741"/>
                    <a:gd name="connsiteY140" fmla="*/ 398815 h 787188"/>
                    <a:gd name="connsiteX141" fmla="*/ 136416 w 432741"/>
                    <a:gd name="connsiteY141" fmla="*/ 414321 h 787188"/>
                    <a:gd name="connsiteX142" fmla="*/ 137083 w 432741"/>
                    <a:gd name="connsiteY142" fmla="*/ 428106 h 787188"/>
                    <a:gd name="connsiteX143" fmla="*/ 134987 w 432741"/>
                    <a:gd name="connsiteY143" fmla="*/ 449491 h 787188"/>
                    <a:gd name="connsiteX144" fmla="*/ 128206 w 432741"/>
                    <a:gd name="connsiteY144" fmla="*/ 461741 h 787188"/>
                    <a:gd name="connsiteX145" fmla="*/ 123791 w 432741"/>
                    <a:gd name="connsiteY145" fmla="*/ 470103 h 787188"/>
                    <a:gd name="connsiteX146" fmla="*/ 115663 w 432741"/>
                    <a:gd name="connsiteY146" fmla="*/ 495857 h 787188"/>
                    <a:gd name="connsiteX147" fmla="*/ 112641 w 432741"/>
                    <a:gd name="connsiteY147" fmla="*/ 512358 h 787188"/>
                    <a:gd name="connsiteX148" fmla="*/ 99970 w 432741"/>
                    <a:gd name="connsiteY148" fmla="*/ 531249 h 787188"/>
                    <a:gd name="connsiteX149" fmla="*/ 101071 w 432741"/>
                    <a:gd name="connsiteY149" fmla="*/ 536671 h 787188"/>
                    <a:gd name="connsiteX150" fmla="*/ 98002 w 432741"/>
                    <a:gd name="connsiteY150" fmla="*/ 539260 h 787188"/>
                    <a:gd name="connsiteX151" fmla="*/ 93856 w 432741"/>
                    <a:gd name="connsiteY151" fmla="*/ 539787 h 787188"/>
                    <a:gd name="connsiteX152" fmla="*/ 99243 w 432741"/>
                    <a:gd name="connsiteY152" fmla="*/ 545690 h 787188"/>
                    <a:gd name="connsiteX153" fmla="*/ 94735 w 432741"/>
                    <a:gd name="connsiteY153" fmla="*/ 566232 h 787188"/>
                    <a:gd name="connsiteX154" fmla="*/ 102827 w 432741"/>
                    <a:gd name="connsiteY154" fmla="*/ 590076 h 787188"/>
                    <a:gd name="connsiteX155" fmla="*/ 98166 w 432741"/>
                    <a:gd name="connsiteY155" fmla="*/ 596037 h 787188"/>
                    <a:gd name="connsiteX156" fmla="*/ 111435 w 432741"/>
                    <a:gd name="connsiteY156" fmla="*/ 599598 h 787188"/>
                    <a:gd name="connsiteX157" fmla="*/ 116916 w 432741"/>
                    <a:gd name="connsiteY157" fmla="*/ 596224 h 787188"/>
                    <a:gd name="connsiteX158" fmla="*/ 121929 w 432741"/>
                    <a:gd name="connsiteY158" fmla="*/ 594058 h 787188"/>
                    <a:gd name="connsiteX159" fmla="*/ 130630 w 432741"/>
                    <a:gd name="connsiteY159" fmla="*/ 596693 h 787188"/>
                    <a:gd name="connsiteX160" fmla="*/ 135947 w 432741"/>
                    <a:gd name="connsiteY160" fmla="*/ 629181 h 787188"/>
                    <a:gd name="connsiteX161" fmla="*/ 143572 w 432741"/>
                    <a:gd name="connsiteY161" fmla="*/ 641267 h 787188"/>
                    <a:gd name="connsiteX162" fmla="*/ 144954 w 432741"/>
                    <a:gd name="connsiteY162" fmla="*/ 636173 h 787188"/>
                    <a:gd name="connsiteX163" fmla="*/ 156326 w 432741"/>
                    <a:gd name="connsiteY163" fmla="*/ 667946 h 787188"/>
                    <a:gd name="connsiteX164" fmla="*/ 161092 w 432741"/>
                    <a:gd name="connsiteY164" fmla="*/ 690643 h 787188"/>
                    <a:gd name="connsiteX165" fmla="*/ 168072 w 432741"/>
                    <a:gd name="connsiteY165" fmla="*/ 705435 h 787188"/>
                    <a:gd name="connsiteX166" fmla="*/ 160331 w 432741"/>
                    <a:gd name="connsiteY166" fmla="*/ 701628 h 787188"/>
                    <a:gd name="connsiteX167" fmla="*/ 153245 w 432741"/>
                    <a:gd name="connsiteY167" fmla="*/ 688488 h 787188"/>
                    <a:gd name="connsiteX168" fmla="*/ 154135 w 432741"/>
                    <a:gd name="connsiteY168" fmla="*/ 675922 h 787188"/>
                    <a:gd name="connsiteX169" fmla="*/ 147237 w 432741"/>
                    <a:gd name="connsiteY169" fmla="*/ 686380 h 787188"/>
                    <a:gd name="connsiteX170" fmla="*/ 160389 w 432741"/>
                    <a:gd name="connsiteY170" fmla="*/ 702799 h 787188"/>
                    <a:gd name="connsiteX171" fmla="*/ 168658 w 432741"/>
                    <a:gd name="connsiteY171" fmla="*/ 703900 h 787188"/>
                    <a:gd name="connsiteX172" fmla="*/ 186916 w 432741"/>
                    <a:gd name="connsiteY172" fmla="*/ 721409 h 787188"/>
                    <a:gd name="connsiteX173" fmla="*/ 208629 w 432741"/>
                    <a:gd name="connsiteY173" fmla="*/ 722159 h 787188"/>
                    <a:gd name="connsiteX174" fmla="*/ 203991 w 432741"/>
                    <a:gd name="connsiteY174" fmla="*/ 718540 h 787188"/>
                    <a:gd name="connsiteX175" fmla="*/ 221723 w 432741"/>
                    <a:gd name="connsiteY175" fmla="*/ 727675 h 787188"/>
                    <a:gd name="connsiteX176" fmla="*/ 232427 w 432741"/>
                    <a:gd name="connsiteY176" fmla="*/ 743673 h 787188"/>
                    <a:gd name="connsiteX177" fmla="*/ 246083 w 432741"/>
                    <a:gd name="connsiteY177" fmla="*/ 755993 h 787188"/>
                    <a:gd name="connsiteX178" fmla="*/ 239712 w 432741"/>
                    <a:gd name="connsiteY178" fmla="*/ 768150 h 787188"/>
                    <a:gd name="connsiteX179" fmla="*/ 235402 w 432741"/>
                    <a:gd name="connsiteY179" fmla="*/ 777695 h 787188"/>
                    <a:gd name="connsiteX180" fmla="*/ 230096 w 432741"/>
                    <a:gd name="connsiteY180" fmla="*/ 781138 h 787188"/>
                    <a:gd name="connsiteX181" fmla="*/ 225025 w 432741"/>
                    <a:gd name="connsiteY181" fmla="*/ 780295 h 787188"/>
                    <a:gd name="connsiteX182" fmla="*/ 212330 w 432741"/>
                    <a:gd name="connsiteY182" fmla="*/ 775200 h 787188"/>
                    <a:gd name="connsiteX183" fmla="*/ 202633 w 432741"/>
                    <a:gd name="connsiteY183" fmla="*/ 781559 h 787188"/>
                    <a:gd name="connsiteX184" fmla="*/ 197398 w 432741"/>
                    <a:gd name="connsiteY184" fmla="*/ 787181 h 787188"/>
                    <a:gd name="connsiteX185" fmla="*/ 189551 w 432741"/>
                    <a:gd name="connsiteY185" fmla="*/ 776512 h 787188"/>
                    <a:gd name="connsiteX186" fmla="*/ 194868 w 432741"/>
                    <a:gd name="connsiteY186" fmla="*/ 767084 h 787188"/>
                    <a:gd name="connsiteX187" fmla="*/ 193439 w 432741"/>
                    <a:gd name="connsiteY187" fmla="*/ 759308 h 787188"/>
                    <a:gd name="connsiteX188" fmla="*/ 188954 w 432741"/>
                    <a:gd name="connsiteY188" fmla="*/ 753768 h 787188"/>
                    <a:gd name="connsiteX189" fmla="*/ 181002 w 432741"/>
                    <a:gd name="connsiteY189" fmla="*/ 754389 h 787188"/>
                    <a:gd name="connsiteX190" fmla="*/ 176212 w 432741"/>
                    <a:gd name="connsiteY190" fmla="*/ 742185 h 787188"/>
                    <a:gd name="connsiteX191" fmla="*/ 160378 w 432741"/>
                    <a:gd name="connsiteY191" fmla="*/ 741108 h 787188"/>
                    <a:gd name="connsiteX192" fmla="*/ 151547 w 432741"/>
                    <a:gd name="connsiteY192" fmla="*/ 731329 h 787188"/>
                    <a:gd name="connsiteX193" fmla="*/ 144778 w 432741"/>
                    <a:gd name="connsiteY193" fmla="*/ 744844 h 787188"/>
                    <a:gd name="connsiteX194" fmla="*/ 143536 w 432741"/>
                    <a:gd name="connsiteY194" fmla="*/ 740089 h 787188"/>
                    <a:gd name="connsiteX195" fmla="*/ 141440 w 432741"/>
                    <a:gd name="connsiteY195" fmla="*/ 741483 h 787188"/>
                    <a:gd name="connsiteX196" fmla="*/ 136264 w 432741"/>
                    <a:gd name="connsiteY196" fmla="*/ 736915 h 787188"/>
                    <a:gd name="connsiteX197" fmla="*/ 126965 w 432741"/>
                    <a:gd name="connsiteY197" fmla="*/ 724747 h 787188"/>
                    <a:gd name="connsiteX198" fmla="*/ 122573 w 432741"/>
                    <a:gd name="connsiteY198" fmla="*/ 717568 h 787188"/>
                    <a:gd name="connsiteX199" fmla="*/ 124599 w 432741"/>
                    <a:gd name="connsiteY199" fmla="*/ 708444 h 787188"/>
                    <a:gd name="connsiteX200" fmla="*/ 121050 w 432741"/>
                    <a:gd name="connsiteY200" fmla="*/ 706688 h 787188"/>
                    <a:gd name="connsiteX201" fmla="*/ 114597 w 432741"/>
                    <a:gd name="connsiteY201" fmla="*/ 704052 h 787188"/>
                    <a:gd name="connsiteX202" fmla="*/ 117443 w 432741"/>
                    <a:gd name="connsiteY202" fmla="*/ 695913 h 787188"/>
                    <a:gd name="connsiteX203" fmla="*/ 113168 w 432741"/>
                    <a:gd name="connsiteY203" fmla="*/ 695527 h 787188"/>
                    <a:gd name="connsiteX204" fmla="*/ 101387 w 432741"/>
                    <a:gd name="connsiteY204" fmla="*/ 689050 h 787188"/>
                    <a:gd name="connsiteX205" fmla="*/ 92439 w 432741"/>
                    <a:gd name="connsiteY205" fmla="*/ 675406 h 787188"/>
                    <a:gd name="connsiteX206" fmla="*/ 87626 w 432741"/>
                    <a:gd name="connsiteY206" fmla="*/ 676858 h 787188"/>
                    <a:gd name="connsiteX207" fmla="*/ 89593 w 432741"/>
                    <a:gd name="connsiteY207" fmla="*/ 667126 h 787188"/>
                    <a:gd name="connsiteX208" fmla="*/ 83105 w 432741"/>
                    <a:gd name="connsiteY208" fmla="*/ 662137 h 787188"/>
                    <a:gd name="connsiteX209" fmla="*/ 75539 w 432741"/>
                    <a:gd name="connsiteY209" fmla="*/ 660427 h 787188"/>
                    <a:gd name="connsiteX210" fmla="*/ 73982 w 432741"/>
                    <a:gd name="connsiteY210" fmla="*/ 661938 h 787188"/>
                    <a:gd name="connsiteX211" fmla="*/ 71733 w 432741"/>
                    <a:gd name="connsiteY211" fmla="*/ 649852 h 787188"/>
                    <a:gd name="connsiteX212" fmla="*/ 70656 w 432741"/>
                    <a:gd name="connsiteY212" fmla="*/ 651327 h 787188"/>
                    <a:gd name="connsiteX213" fmla="*/ 66346 w 432741"/>
                    <a:gd name="connsiteY213" fmla="*/ 648423 h 787188"/>
                    <a:gd name="connsiteX214" fmla="*/ 67997 w 432741"/>
                    <a:gd name="connsiteY214" fmla="*/ 643258 h 787188"/>
                    <a:gd name="connsiteX215" fmla="*/ 65292 w 432741"/>
                    <a:gd name="connsiteY215" fmla="*/ 642333 h 787188"/>
                    <a:gd name="connsiteX216" fmla="*/ 55829 w 432741"/>
                    <a:gd name="connsiteY216" fmla="*/ 647100 h 787188"/>
                    <a:gd name="connsiteX217" fmla="*/ 54213 w 432741"/>
                    <a:gd name="connsiteY217" fmla="*/ 656024 h 787188"/>
                    <a:gd name="connsiteX218" fmla="*/ 44738 w 432741"/>
                    <a:gd name="connsiteY218" fmla="*/ 632659 h 787188"/>
                    <a:gd name="connsiteX219" fmla="*/ 46706 w 432741"/>
                    <a:gd name="connsiteY219" fmla="*/ 636173 h 787188"/>
                    <a:gd name="connsiteX220" fmla="*/ 52796 w 432741"/>
                    <a:gd name="connsiteY220" fmla="*/ 612023 h 787188"/>
                    <a:gd name="connsiteX221" fmla="*/ 54213 w 432741"/>
                    <a:gd name="connsiteY221" fmla="*/ 608803 h 787188"/>
                    <a:gd name="connsiteX222" fmla="*/ 53732 w 432741"/>
                    <a:gd name="connsiteY222" fmla="*/ 606882 h 787188"/>
                    <a:gd name="connsiteX223" fmla="*/ 50617 w 432741"/>
                    <a:gd name="connsiteY223" fmla="*/ 599644 h 787188"/>
                    <a:gd name="connsiteX224" fmla="*/ 57668 w 432741"/>
                    <a:gd name="connsiteY224" fmla="*/ 581819 h 787188"/>
                    <a:gd name="connsiteX225" fmla="*/ 61368 w 432741"/>
                    <a:gd name="connsiteY225" fmla="*/ 580367 h 787188"/>
                    <a:gd name="connsiteX226" fmla="*/ 57984 w 432741"/>
                    <a:gd name="connsiteY226" fmla="*/ 578868 h 787188"/>
                    <a:gd name="connsiteX227" fmla="*/ 59916 w 432741"/>
                    <a:gd name="connsiteY227" fmla="*/ 572790 h 787188"/>
                    <a:gd name="connsiteX228" fmla="*/ 63313 w 432741"/>
                    <a:gd name="connsiteY228" fmla="*/ 571584 h 787188"/>
                    <a:gd name="connsiteX229" fmla="*/ 60291 w 432741"/>
                    <a:gd name="connsiteY229" fmla="*/ 571712 h 787188"/>
                    <a:gd name="connsiteX230" fmla="*/ 64203 w 432741"/>
                    <a:gd name="connsiteY230" fmla="*/ 566313 h 787188"/>
                    <a:gd name="connsiteX231" fmla="*/ 66826 w 432741"/>
                    <a:gd name="connsiteY231" fmla="*/ 559989 h 787188"/>
                    <a:gd name="connsiteX232" fmla="*/ 71382 w 432741"/>
                    <a:gd name="connsiteY232" fmla="*/ 546029 h 787188"/>
                    <a:gd name="connsiteX233" fmla="*/ 74544 w 432741"/>
                    <a:gd name="connsiteY233" fmla="*/ 528122 h 787188"/>
                    <a:gd name="connsiteX234" fmla="*/ 79275 w 432741"/>
                    <a:gd name="connsiteY234" fmla="*/ 517230 h 787188"/>
                    <a:gd name="connsiteX235" fmla="*/ 83000 w 432741"/>
                    <a:gd name="connsiteY235" fmla="*/ 515263 h 787188"/>
                    <a:gd name="connsiteX236" fmla="*/ 85014 w 432741"/>
                    <a:gd name="connsiteY236" fmla="*/ 510824 h 787188"/>
                    <a:gd name="connsiteX237" fmla="*/ 98834 w 432741"/>
                    <a:gd name="connsiteY237" fmla="*/ 494568 h 787188"/>
                    <a:gd name="connsiteX238" fmla="*/ 106903 w 432741"/>
                    <a:gd name="connsiteY238" fmla="*/ 480702 h 787188"/>
                    <a:gd name="connsiteX239" fmla="*/ 108917 w 432741"/>
                    <a:gd name="connsiteY239" fmla="*/ 474366 h 787188"/>
                    <a:gd name="connsiteX240" fmla="*/ 115148 w 432741"/>
                    <a:gd name="connsiteY240" fmla="*/ 470302 h 787188"/>
                    <a:gd name="connsiteX241" fmla="*/ 117080 w 432741"/>
                    <a:gd name="connsiteY241" fmla="*/ 460956 h 787188"/>
                    <a:gd name="connsiteX242" fmla="*/ 115862 w 432741"/>
                    <a:gd name="connsiteY242" fmla="*/ 454784 h 787188"/>
                    <a:gd name="connsiteX243" fmla="*/ 113590 w 432741"/>
                    <a:gd name="connsiteY243" fmla="*/ 448366 h 787188"/>
                    <a:gd name="connsiteX244" fmla="*/ 109573 w 432741"/>
                    <a:gd name="connsiteY244" fmla="*/ 445614 h 787188"/>
                    <a:gd name="connsiteX245" fmla="*/ 106376 w 432741"/>
                    <a:gd name="connsiteY245" fmla="*/ 428879 h 787188"/>
                    <a:gd name="connsiteX246" fmla="*/ 107090 w 432741"/>
                    <a:gd name="connsiteY246" fmla="*/ 422449 h 787188"/>
                    <a:gd name="connsiteX247" fmla="*/ 100251 w 432741"/>
                    <a:gd name="connsiteY247" fmla="*/ 416792 h 787188"/>
                    <a:gd name="connsiteX248" fmla="*/ 92943 w 432741"/>
                    <a:gd name="connsiteY248" fmla="*/ 389153 h 787188"/>
                    <a:gd name="connsiteX249" fmla="*/ 95917 w 432741"/>
                    <a:gd name="connsiteY249" fmla="*/ 387338 h 787188"/>
                    <a:gd name="connsiteX250" fmla="*/ 95203 w 432741"/>
                    <a:gd name="connsiteY250" fmla="*/ 383051 h 787188"/>
                    <a:gd name="connsiteX251" fmla="*/ 93891 w 432741"/>
                    <a:gd name="connsiteY251" fmla="*/ 367451 h 787188"/>
                    <a:gd name="connsiteX252" fmla="*/ 88703 w 432741"/>
                    <a:gd name="connsiteY252" fmla="*/ 351243 h 787188"/>
                    <a:gd name="connsiteX253" fmla="*/ 74111 w 432741"/>
                    <a:gd name="connsiteY253" fmla="*/ 336475 h 787188"/>
                    <a:gd name="connsiteX254" fmla="*/ 58769 w 432741"/>
                    <a:gd name="connsiteY254" fmla="*/ 318907 h 787188"/>
                    <a:gd name="connsiteX255" fmla="*/ 45347 w 432741"/>
                    <a:gd name="connsiteY255" fmla="*/ 298295 h 787188"/>
                    <a:gd name="connsiteX256" fmla="*/ 43063 w 432741"/>
                    <a:gd name="connsiteY256" fmla="*/ 281372 h 787188"/>
                    <a:gd name="connsiteX257" fmla="*/ 54271 w 432741"/>
                    <a:gd name="connsiteY257" fmla="*/ 279369 h 787188"/>
                    <a:gd name="connsiteX258" fmla="*/ 61650 w 432741"/>
                    <a:gd name="connsiteY258" fmla="*/ 275739 h 787188"/>
                    <a:gd name="connsiteX259" fmla="*/ 62118 w 432741"/>
                    <a:gd name="connsiteY259" fmla="*/ 254189 h 787188"/>
                    <a:gd name="connsiteX260" fmla="*/ 62364 w 432741"/>
                    <a:gd name="connsiteY260" fmla="*/ 237184 h 787188"/>
                    <a:gd name="connsiteX261" fmla="*/ 67974 w 432741"/>
                    <a:gd name="connsiteY261" fmla="*/ 233952 h 787188"/>
                    <a:gd name="connsiteX262" fmla="*/ 77167 w 432741"/>
                    <a:gd name="connsiteY262" fmla="*/ 232476 h 787188"/>
                    <a:gd name="connsiteX263" fmla="*/ 77612 w 432741"/>
                    <a:gd name="connsiteY263" fmla="*/ 214440 h 787188"/>
                    <a:gd name="connsiteX264" fmla="*/ 68103 w 432741"/>
                    <a:gd name="connsiteY264" fmla="*/ 223587 h 787188"/>
                    <a:gd name="connsiteX265" fmla="*/ 63430 w 432741"/>
                    <a:gd name="connsiteY265" fmla="*/ 209030 h 787188"/>
                    <a:gd name="connsiteX266" fmla="*/ 57550 w 432741"/>
                    <a:gd name="connsiteY266" fmla="*/ 200047 h 787188"/>
                    <a:gd name="connsiteX267" fmla="*/ 61204 w 432741"/>
                    <a:gd name="connsiteY267" fmla="*/ 194168 h 787188"/>
                    <a:gd name="connsiteX268" fmla="*/ 57574 w 432741"/>
                    <a:gd name="connsiteY268" fmla="*/ 187211 h 787188"/>
                    <a:gd name="connsiteX269" fmla="*/ 49821 w 432741"/>
                    <a:gd name="connsiteY269" fmla="*/ 183019 h 787188"/>
                    <a:gd name="connsiteX270" fmla="*/ 39081 w 432741"/>
                    <a:gd name="connsiteY270" fmla="*/ 169902 h 787188"/>
                    <a:gd name="connsiteX271" fmla="*/ 31141 w 432741"/>
                    <a:gd name="connsiteY271" fmla="*/ 158085 h 787188"/>
                    <a:gd name="connsiteX272" fmla="*/ 16923 w 432741"/>
                    <a:gd name="connsiteY272" fmla="*/ 141525 h 787188"/>
                    <a:gd name="connsiteX273" fmla="*/ 19219 w 432741"/>
                    <a:gd name="connsiteY273" fmla="*/ 129532 h 787188"/>
                    <a:gd name="connsiteX274" fmla="*/ 14030 w 432741"/>
                    <a:gd name="connsiteY274" fmla="*/ 119659 h 787188"/>
                    <a:gd name="connsiteX275" fmla="*/ 10997 w 432741"/>
                    <a:gd name="connsiteY275" fmla="*/ 114576 h 787188"/>
                    <a:gd name="connsiteX276" fmla="*/ 6781 w 432741"/>
                    <a:gd name="connsiteY276" fmla="*/ 116380 h 787188"/>
                    <a:gd name="connsiteX277" fmla="*/ 0 w 432741"/>
                    <a:gd name="connsiteY277" fmla="*/ 102666 h 787188"/>
                    <a:gd name="connsiteX278" fmla="*/ 5809 w 432741"/>
                    <a:gd name="connsiteY278" fmla="*/ 105840 h 787188"/>
                    <a:gd name="connsiteX279" fmla="*/ 20413 w 432741"/>
                    <a:gd name="connsiteY279" fmla="*/ 101694 h 787188"/>
                    <a:gd name="connsiteX280" fmla="*/ 20050 w 432741"/>
                    <a:gd name="connsiteY280" fmla="*/ 91270 h 787188"/>
                    <a:gd name="connsiteX281" fmla="*/ 16197 w 432741"/>
                    <a:gd name="connsiteY281" fmla="*/ 83084 h 787188"/>
                    <a:gd name="connsiteX282" fmla="*/ 21245 w 432741"/>
                    <a:gd name="connsiteY282" fmla="*/ 75190 h 787188"/>
                    <a:gd name="connsiteX283" fmla="*/ 21538 w 432741"/>
                    <a:gd name="connsiteY283" fmla="*/ 64041 h 787188"/>
                    <a:gd name="connsiteX284" fmla="*/ 22205 w 432741"/>
                    <a:gd name="connsiteY284" fmla="*/ 58911 h 787188"/>
                    <a:gd name="connsiteX285" fmla="*/ 25707 w 432741"/>
                    <a:gd name="connsiteY285" fmla="*/ 51135 h 787188"/>
                    <a:gd name="connsiteX286" fmla="*/ 27885 w 432741"/>
                    <a:gd name="connsiteY286" fmla="*/ 47446 h 787188"/>
                    <a:gd name="connsiteX287" fmla="*/ 32769 w 432741"/>
                    <a:gd name="connsiteY287" fmla="*/ 44166 h 787188"/>
                    <a:gd name="connsiteX288" fmla="*/ 35650 w 432741"/>
                    <a:gd name="connsiteY288" fmla="*/ 34832 h 787188"/>
                    <a:gd name="connsiteX289" fmla="*/ 43227 w 432741"/>
                    <a:gd name="connsiteY289" fmla="*/ 38978 h 787188"/>
                    <a:gd name="connsiteX290" fmla="*/ 49879 w 432741"/>
                    <a:gd name="connsiteY290" fmla="*/ 41110 h 787188"/>
                    <a:gd name="connsiteX291" fmla="*/ 65924 w 432741"/>
                    <a:gd name="connsiteY291" fmla="*/ 38943 h 787188"/>
                    <a:gd name="connsiteX292" fmla="*/ 78280 w 432741"/>
                    <a:gd name="connsiteY292" fmla="*/ 36004 h 787188"/>
                    <a:gd name="connsiteX293" fmla="*/ 86244 w 432741"/>
                    <a:gd name="connsiteY293" fmla="*/ 33322 h 787188"/>
                    <a:gd name="connsiteX294" fmla="*/ 86876 w 432741"/>
                    <a:gd name="connsiteY294" fmla="*/ 22067 h 787188"/>
                    <a:gd name="connsiteX295" fmla="*/ 99361 w 432741"/>
                    <a:gd name="connsiteY295" fmla="*/ 19549 h 787188"/>
                    <a:gd name="connsiteX296" fmla="*/ 107933 w 432741"/>
                    <a:gd name="connsiteY296" fmla="*/ 3902 h 787188"/>
                    <a:gd name="connsiteX297" fmla="*/ 127058 w 432741"/>
                    <a:gd name="connsiteY297" fmla="*/ 6151 h 787188"/>
                    <a:gd name="connsiteX298" fmla="*/ 137423 w 432741"/>
                    <a:gd name="connsiteY298" fmla="*/ 3317 h 787188"/>
                    <a:gd name="connsiteX299" fmla="*/ 137423 w 432741"/>
                    <a:gd name="connsiteY299" fmla="*/ 3317 h 787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Lst>
                  <a:rect l="l" t="t" r="r" b="b"/>
                  <a:pathLst>
                    <a:path w="432741" h="787188">
                      <a:moveTo>
                        <a:pt x="137423" y="3317"/>
                      </a:moveTo>
                      <a:cubicBezTo>
                        <a:pt x="141346" y="4406"/>
                        <a:pt x="141897" y="9688"/>
                        <a:pt x="143888" y="10449"/>
                      </a:cubicBezTo>
                      <a:cubicBezTo>
                        <a:pt x="147718" y="11913"/>
                        <a:pt x="146792" y="7896"/>
                        <a:pt x="149521" y="5870"/>
                      </a:cubicBezTo>
                      <a:cubicBezTo>
                        <a:pt x="161069" y="-2680"/>
                        <a:pt x="157836" y="18155"/>
                        <a:pt x="166655" y="15216"/>
                      </a:cubicBezTo>
                      <a:cubicBezTo>
                        <a:pt x="168306" y="25955"/>
                        <a:pt x="158492" y="32502"/>
                        <a:pt x="159499" y="41016"/>
                      </a:cubicBezTo>
                      <a:cubicBezTo>
                        <a:pt x="159921" y="44623"/>
                        <a:pt x="161877" y="49964"/>
                        <a:pt x="165296" y="51311"/>
                      </a:cubicBezTo>
                      <a:cubicBezTo>
                        <a:pt x="168213" y="52458"/>
                        <a:pt x="167826" y="49191"/>
                        <a:pt x="169548" y="49425"/>
                      </a:cubicBezTo>
                      <a:cubicBezTo>
                        <a:pt x="170942" y="49613"/>
                        <a:pt x="175837" y="51873"/>
                        <a:pt x="176633" y="51732"/>
                      </a:cubicBezTo>
                      <a:cubicBezTo>
                        <a:pt x="180135" y="51088"/>
                        <a:pt x="181939" y="45947"/>
                        <a:pt x="186635" y="45314"/>
                      </a:cubicBezTo>
                      <a:cubicBezTo>
                        <a:pt x="189317" y="44951"/>
                        <a:pt x="197046" y="46532"/>
                        <a:pt x="199225" y="47493"/>
                      </a:cubicBezTo>
                      <a:cubicBezTo>
                        <a:pt x="203218" y="49238"/>
                        <a:pt x="203464" y="46626"/>
                        <a:pt x="202738" y="52927"/>
                      </a:cubicBezTo>
                      <a:cubicBezTo>
                        <a:pt x="202691" y="53231"/>
                        <a:pt x="199693" y="55222"/>
                        <a:pt x="199436" y="57014"/>
                      </a:cubicBezTo>
                      <a:cubicBezTo>
                        <a:pt x="198991" y="59930"/>
                        <a:pt x="201110" y="59228"/>
                        <a:pt x="201321" y="61137"/>
                      </a:cubicBezTo>
                      <a:cubicBezTo>
                        <a:pt x="201567" y="63174"/>
                        <a:pt x="201450" y="67625"/>
                        <a:pt x="202141" y="69428"/>
                      </a:cubicBezTo>
                      <a:cubicBezTo>
                        <a:pt x="202855" y="71244"/>
                        <a:pt x="206357" y="73996"/>
                        <a:pt x="206545" y="75378"/>
                      </a:cubicBezTo>
                      <a:cubicBezTo>
                        <a:pt x="207013" y="78997"/>
                        <a:pt x="202797" y="84794"/>
                        <a:pt x="202258" y="89525"/>
                      </a:cubicBezTo>
                      <a:cubicBezTo>
                        <a:pt x="201544" y="95627"/>
                        <a:pt x="202117" y="95053"/>
                        <a:pt x="199073" y="99749"/>
                      </a:cubicBezTo>
                      <a:cubicBezTo>
                        <a:pt x="197773" y="101752"/>
                        <a:pt x="192174" y="105945"/>
                        <a:pt x="192093" y="108580"/>
                      </a:cubicBezTo>
                      <a:cubicBezTo>
                        <a:pt x="192022" y="110993"/>
                        <a:pt x="194119" y="110957"/>
                        <a:pt x="194611" y="112808"/>
                      </a:cubicBezTo>
                      <a:cubicBezTo>
                        <a:pt x="194821" y="113604"/>
                        <a:pt x="197796" y="113979"/>
                        <a:pt x="198405" y="115033"/>
                      </a:cubicBezTo>
                      <a:cubicBezTo>
                        <a:pt x="198674" y="115513"/>
                        <a:pt x="196836" y="116380"/>
                        <a:pt x="197058" y="117001"/>
                      </a:cubicBezTo>
                      <a:cubicBezTo>
                        <a:pt x="198288" y="120573"/>
                        <a:pt x="198393" y="123032"/>
                        <a:pt x="197913" y="126792"/>
                      </a:cubicBezTo>
                      <a:cubicBezTo>
                        <a:pt x="197175" y="132460"/>
                        <a:pt x="190921" y="138983"/>
                        <a:pt x="189001" y="144124"/>
                      </a:cubicBezTo>
                      <a:cubicBezTo>
                        <a:pt x="188567" y="145284"/>
                        <a:pt x="184211" y="153693"/>
                        <a:pt x="184340" y="154173"/>
                      </a:cubicBezTo>
                      <a:cubicBezTo>
                        <a:pt x="184527" y="154899"/>
                        <a:pt x="192385" y="159713"/>
                        <a:pt x="194142" y="159970"/>
                      </a:cubicBezTo>
                      <a:cubicBezTo>
                        <a:pt x="199143" y="160696"/>
                        <a:pt x="197773" y="160052"/>
                        <a:pt x="201696" y="156656"/>
                      </a:cubicBezTo>
                      <a:cubicBezTo>
                        <a:pt x="204518" y="154208"/>
                        <a:pt x="211405" y="149231"/>
                        <a:pt x="210245" y="147450"/>
                      </a:cubicBezTo>
                      <a:cubicBezTo>
                        <a:pt x="213806" y="146783"/>
                        <a:pt x="212506" y="145565"/>
                        <a:pt x="214754" y="147474"/>
                      </a:cubicBezTo>
                      <a:cubicBezTo>
                        <a:pt x="216171" y="146162"/>
                        <a:pt x="217940" y="144956"/>
                        <a:pt x="219333" y="143609"/>
                      </a:cubicBezTo>
                      <a:cubicBezTo>
                        <a:pt x="218947" y="143305"/>
                        <a:pt x="218561" y="142989"/>
                        <a:pt x="218162" y="142684"/>
                      </a:cubicBezTo>
                      <a:cubicBezTo>
                        <a:pt x="220024" y="141337"/>
                        <a:pt x="219919" y="141923"/>
                        <a:pt x="220446" y="139522"/>
                      </a:cubicBezTo>
                      <a:cubicBezTo>
                        <a:pt x="222097" y="139253"/>
                        <a:pt x="227051" y="137882"/>
                        <a:pt x="228539" y="136091"/>
                      </a:cubicBezTo>
                      <a:cubicBezTo>
                        <a:pt x="231420" y="132589"/>
                        <a:pt x="230295" y="130691"/>
                        <a:pt x="232872" y="129204"/>
                      </a:cubicBezTo>
                      <a:cubicBezTo>
                        <a:pt x="234020" y="128536"/>
                        <a:pt x="235706" y="131125"/>
                        <a:pt x="236948" y="130598"/>
                      </a:cubicBezTo>
                      <a:cubicBezTo>
                        <a:pt x="239618" y="129438"/>
                        <a:pt x="241011" y="125948"/>
                        <a:pt x="243331" y="124227"/>
                      </a:cubicBezTo>
                      <a:cubicBezTo>
                        <a:pt x="246411" y="121955"/>
                        <a:pt x="246539" y="119882"/>
                        <a:pt x="250943" y="121357"/>
                      </a:cubicBezTo>
                      <a:cubicBezTo>
                        <a:pt x="254480" y="122540"/>
                        <a:pt x="258942" y="130363"/>
                        <a:pt x="263275" y="132144"/>
                      </a:cubicBezTo>
                      <a:cubicBezTo>
                        <a:pt x="266215" y="133362"/>
                        <a:pt x="271532" y="133057"/>
                        <a:pt x="273757" y="134837"/>
                      </a:cubicBezTo>
                      <a:cubicBezTo>
                        <a:pt x="277188" y="137590"/>
                        <a:pt x="270396" y="142098"/>
                        <a:pt x="278102" y="142637"/>
                      </a:cubicBezTo>
                      <a:cubicBezTo>
                        <a:pt x="276615" y="138187"/>
                        <a:pt x="287506" y="133397"/>
                        <a:pt x="291863" y="131851"/>
                      </a:cubicBezTo>
                      <a:cubicBezTo>
                        <a:pt x="295060" y="130715"/>
                        <a:pt x="294627" y="134076"/>
                        <a:pt x="298211" y="131031"/>
                      </a:cubicBezTo>
                      <a:cubicBezTo>
                        <a:pt x="298433" y="130843"/>
                        <a:pt x="299007" y="125749"/>
                        <a:pt x="299475" y="124812"/>
                      </a:cubicBezTo>
                      <a:cubicBezTo>
                        <a:pt x="299499" y="124812"/>
                        <a:pt x="299335" y="125105"/>
                        <a:pt x="299288" y="125164"/>
                      </a:cubicBezTo>
                      <a:cubicBezTo>
                        <a:pt x="301677" y="123840"/>
                        <a:pt x="301092" y="121545"/>
                        <a:pt x="302521" y="120479"/>
                      </a:cubicBezTo>
                      <a:cubicBezTo>
                        <a:pt x="302743" y="120315"/>
                        <a:pt x="307533" y="117621"/>
                        <a:pt x="307451" y="117785"/>
                      </a:cubicBezTo>
                      <a:cubicBezTo>
                        <a:pt x="307673" y="117352"/>
                        <a:pt x="309571" y="117657"/>
                        <a:pt x="310051" y="116919"/>
                      </a:cubicBezTo>
                      <a:cubicBezTo>
                        <a:pt x="310707" y="115876"/>
                        <a:pt x="307486" y="114682"/>
                        <a:pt x="307615" y="114506"/>
                      </a:cubicBezTo>
                      <a:cubicBezTo>
                        <a:pt x="307357" y="114881"/>
                        <a:pt x="307439" y="111929"/>
                        <a:pt x="307990" y="111121"/>
                      </a:cubicBezTo>
                      <a:cubicBezTo>
                        <a:pt x="313752" y="102572"/>
                        <a:pt x="332514" y="115349"/>
                        <a:pt x="338557" y="115783"/>
                      </a:cubicBezTo>
                      <a:cubicBezTo>
                        <a:pt x="340407" y="115923"/>
                        <a:pt x="343698" y="114073"/>
                        <a:pt x="346169" y="114963"/>
                      </a:cubicBezTo>
                      <a:cubicBezTo>
                        <a:pt x="349226" y="116087"/>
                        <a:pt x="355820" y="129216"/>
                        <a:pt x="358033" y="132554"/>
                      </a:cubicBezTo>
                      <a:cubicBezTo>
                        <a:pt x="361617" y="137964"/>
                        <a:pt x="363467" y="141677"/>
                        <a:pt x="367953" y="146455"/>
                      </a:cubicBezTo>
                      <a:cubicBezTo>
                        <a:pt x="372310" y="151093"/>
                        <a:pt x="376889" y="153084"/>
                        <a:pt x="382206" y="157101"/>
                      </a:cubicBezTo>
                      <a:cubicBezTo>
                        <a:pt x="394714" y="166529"/>
                        <a:pt x="386141" y="178018"/>
                        <a:pt x="385860" y="190502"/>
                      </a:cubicBezTo>
                      <a:cubicBezTo>
                        <a:pt x="385778" y="194250"/>
                        <a:pt x="387593" y="198454"/>
                        <a:pt x="387382" y="202319"/>
                      </a:cubicBezTo>
                      <a:cubicBezTo>
                        <a:pt x="386867" y="211512"/>
                        <a:pt x="385672" y="208444"/>
                        <a:pt x="390989" y="215120"/>
                      </a:cubicBezTo>
                      <a:cubicBezTo>
                        <a:pt x="392992" y="217638"/>
                        <a:pt x="396798" y="221421"/>
                        <a:pt x="398321" y="224044"/>
                      </a:cubicBezTo>
                      <a:cubicBezTo>
                        <a:pt x="400066" y="227054"/>
                        <a:pt x="400136" y="231258"/>
                        <a:pt x="402830" y="233952"/>
                      </a:cubicBezTo>
                      <a:cubicBezTo>
                        <a:pt x="406554" y="237676"/>
                        <a:pt x="418711" y="235510"/>
                        <a:pt x="421053" y="239597"/>
                      </a:cubicBezTo>
                      <a:cubicBezTo>
                        <a:pt x="421053" y="239609"/>
                        <a:pt x="417481" y="242103"/>
                        <a:pt x="417785" y="243637"/>
                      </a:cubicBezTo>
                      <a:cubicBezTo>
                        <a:pt x="418406" y="246811"/>
                        <a:pt x="419776" y="250336"/>
                        <a:pt x="422341" y="252327"/>
                      </a:cubicBezTo>
                      <a:cubicBezTo>
                        <a:pt x="424461" y="253979"/>
                        <a:pt x="428349" y="251789"/>
                        <a:pt x="430937" y="254658"/>
                      </a:cubicBezTo>
                      <a:cubicBezTo>
                        <a:pt x="434018" y="258054"/>
                        <a:pt x="432542" y="262177"/>
                        <a:pt x="431008" y="265936"/>
                      </a:cubicBezTo>
                      <a:cubicBezTo>
                        <a:pt x="430036" y="268360"/>
                        <a:pt x="427213" y="270621"/>
                        <a:pt x="426604" y="272120"/>
                      </a:cubicBezTo>
                      <a:cubicBezTo>
                        <a:pt x="426206" y="273127"/>
                        <a:pt x="424344" y="272448"/>
                        <a:pt x="423969" y="274064"/>
                      </a:cubicBezTo>
                      <a:cubicBezTo>
                        <a:pt x="423559" y="275938"/>
                        <a:pt x="427002" y="276406"/>
                        <a:pt x="427084" y="276020"/>
                      </a:cubicBezTo>
                      <a:cubicBezTo>
                        <a:pt x="427225" y="275294"/>
                        <a:pt x="426944" y="278796"/>
                        <a:pt x="426709" y="279685"/>
                      </a:cubicBezTo>
                      <a:cubicBezTo>
                        <a:pt x="426042" y="282145"/>
                        <a:pt x="422060" y="282906"/>
                        <a:pt x="422119" y="286314"/>
                      </a:cubicBezTo>
                      <a:cubicBezTo>
                        <a:pt x="422165" y="288317"/>
                        <a:pt x="428244" y="292381"/>
                        <a:pt x="429907" y="293669"/>
                      </a:cubicBezTo>
                      <a:cubicBezTo>
                        <a:pt x="425304" y="296620"/>
                        <a:pt x="425410" y="303261"/>
                        <a:pt x="425093" y="308461"/>
                      </a:cubicBezTo>
                      <a:cubicBezTo>
                        <a:pt x="424508" y="318240"/>
                        <a:pt x="423383" y="321765"/>
                        <a:pt x="415314" y="325548"/>
                      </a:cubicBezTo>
                      <a:cubicBezTo>
                        <a:pt x="412562" y="326848"/>
                        <a:pt x="408545" y="330068"/>
                        <a:pt x="405851" y="331509"/>
                      </a:cubicBezTo>
                      <a:cubicBezTo>
                        <a:pt x="403146" y="332973"/>
                        <a:pt x="403415" y="336123"/>
                        <a:pt x="399820" y="333992"/>
                      </a:cubicBezTo>
                      <a:cubicBezTo>
                        <a:pt x="396939" y="332294"/>
                        <a:pt x="399129" y="328089"/>
                        <a:pt x="397852" y="326824"/>
                      </a:cubicBezTo>
                      <a:cubicBezTo>
                        <a:pt x="393578" y="322596"/>
                        <a:pt x="383002" y="323381"/>
                        <a:pt x="379477" y="324119"/>
                      </a:cubicBezTo>
                      <a:cubicBezTo>
                        <a:pt x="376010" y="324845"/>
                        <a:pt x="374347" y="327340"/>
                        <a:pt x="370377" y="327445"/>
                      </a:cubicBezTo>
                      <a:cubicBezTo>
                        <a:pt x="366864" y="327551"/>
                        <a:pt x="357904" y="325653"/>
                        <a:pt x="356487" y="324939"/>
                      </a:cubicBezTo>
                      <a:cubicBezTo>
                        <a:pt x="353349" y="327609"/>
                        <a:pt x="344167" y="328675"/>
                        <a:pt x="340419" y="328253"/>
                      </a:cubicBezTo>
                      <a:cubicBezTo>
                        <a:pt x="337210" y="327890"/>
                        <a:pt x="333310" y="326438"/>
                        <a:pt x="329867" y="325864"/>
                      </a:cubicBezTo>
                      <a:cubicBezTo>
                        <a:pt x="329352" y="325782"/>
                        <a:pt x="330230" y="323147"/>
                        <a:pt x="328661" y="322877"/>
                      </a:cubicBezTo>
                      <a:cubicBezTo>
                        <a:pt x="326834" y="322585"/>
                        <a:pt x="327525" y="324763"/>
                        <a:pt x="326014" y="324798"/>
                      </a:cubicBezTo>
                      <a:cubicBezTo>
                        <a:pt x="319690" y="324915"/>
                        <a:pt x="310285" y="326812"/>
                        <a:pt x="303411" y="329202"/>
                      </a:cubicBezTo>
                      <a:cubicBezTo>
                        <a:pt x="300014" y="330385"/>
                        <a:pt x="293245" y="333219"/>
                        <a:pt x="290973" y="335947"/>
                      </a:cubicBezTo>
                      <a:cubicBezTo>
                        <a:pt x="289076" y="338243"/>
                        <a:pt x="289380" y="342529"/>
                        <a:pt x="287905" y="345001"/>
                      </a:cubicBezTo>
                      <a:cubicBezTo>
                        <a:pt x="285761" y="348608"/>
                        <a:pt x="281838" y="353819"/>
                        <a:pt x="279250" y="357251"/>
                      </a:cubicBezTo>
                      <a:cubicBezTo>
                        <a:pt x="276778" y="360507"/>
                        <a:pt x="266835" y="363809"/>
                        <a:pt x="273640" y="367393"/>
                      </a:cubicBezTo>
                      <a:cubicBezTo>
                        <a:pt x="266859" y="371633"/>
                        <a:pt x="261870" y="367018"/>
                        <a:pt x="259680" y="373190"/>
                      </a:cubicBezTo>
                      <a:cubicBezTo>
                        <a:pt x="256881" y="381072"/>
                        <a:pt x="261600" y="388837"/>
                        <a:pt x="264610" y="395454"/>
                      </a:cubicBezTo>
                      <a:cubicBezTo>
                        <a:pt x="267374" y="401556"/>
                        <a:pt x="267034" y="404554"/>
                        <a:pt x="268557" y="412143"/>
                      </a:cubicBezTo>
                      <a:cubicBezTo>
                        <a:pt x="268897" y="413853"/>
                        <a:pt x="266777" y="415071"/>
                        <a:pt x="267831" y="417471"/>
                      </a:cubicBezTo>
                      <a:cubicBezTo>
                        <a:pt x="268100" y="418104"/>
                        <a:pt x="275162" y="422367"/>
                        <a:pt x="276111" y="423163"/>
                      </a:cubicBezTo>
                      <a:cubicBezTo>
                        <a:pt x="280632" y="426958"/>
                        <a:pt x="280468" y="428516"/>
                        <a:pt x="280585" y="432380"/>
                      </a:cubicBezTo>
                      <a:cubicBezTo>
                        <a:pt x="280702" y="435976"/>
                        <a:pt x="277915" y="440169"/>
                        <a:pt x="278793" y="444115"/>
                      </a:cubicBezTo>
                      <a:cubicBezTo>
                        <a:pt x="279402" y="446926"/>
                        <a:pt x="281861" y="448929"/>
                        <a:pt x="283114" y="451458"/>
                      </a:cubicBezTo>
                      <a:cubicBezTo>
                        <a:pt x="285515" y="456295"/>
                        <a:pt x="292648" y="465899"/>
                        <a:pt x="290141" y="471216"/>
                      </a:cubicBezTo>
                      <a:cubicBezTo>
                        <a:pt x="290610" y="464927"/>
                        <a:pt x="286522" y="463709"/>
                        <a:pt x="283887" y="458649"/>
                      </a:cubicBezTo>
                      <a:cubicBezTo>
                        <a:pt x="280807" y="452735"/>
                        <a:pt x="280175" y="449866"/>
                        <a:pt x="275350" y="443963"/>
                      </a:cubicBezTo>
                      <a:cubicBezTo>
                        <a:pt x="275760" y="443998"/>
                        <a:pt x="276158" y="444045"/>
                        <a:pt x="276568" y="444080"/>
                      </a:cubicBezTo>
                      <a:cubicBezTo>
                        <a:pt x="275771" y="442675"/>
                        <a:pt x="274647" y="442077"/>
                        <a:pt x="274073" y="440801"/>
                      </a:cubicBezTo>
                      <a:cubicBezTo>
                        <a:pt x="270138" y="442406"/>
                        <a:pt x="271965" y="446551"/>
                        <a:pt x="272855" y="449901"/>
                      </a:cubicBezTo>
                      <a:cubicBezTo>
                        <a:pt x="267925" y="444338"/>
                        <a:pt x="257010" y="445158"/>
                        <a:pt x="256190" y="437170"/>
                      </a:cubicBezTo>
                      <a:cubicBezTo>
                        <a:pt x="259937" y="437615"/>
                        <a:pt x="262490" y="434570"/>
                        <a:pt x="259387" y="433165"/>
                      </a:cubicBezTo>
                      <a:cubicBezTo>
                        <a:pt x="259539" y="437604"/>
                        <a:pt x="255979" y="434242"/>
                        <a:pt x="258321" y="429874"/>
                      </a:cubicBezTo>
                      <a:cubicBezTo>
                        <a:pt x="257911" y="430296"/>
                        <a:pt x="256834" y="431279"/>
                        <a:pt x="256541" y="431724"/>
                      </a:cubicBezTo>
                      <a:cubicBezTo>
                        <a:pt x="256459" y="431502"/>
                        <a:pt x="256319" y="428972"/>
                        <a:pt x="256541" y="429183"/>
                      </a:cubicBezTo>
                      <a:cubicBezTo>
                        <a:pt x="254843" y="429523"/>
                        <a:pt x="254468" y="429605"/>
                        <a:pt x="252946" y="429546"/>
                      </a:cubicBezTo>
                      <a:cubicBezTo>
                        <a:pt x="253789" y="430272"/>
                        <a:pt x="253625" y="430307"/>
                        <a:pt x="253320" y="431350"/>
                      </a:cubicBezTo>
                      <a:cubicBezTo>
                        <a:pt x="253801" y="431326"/>
                        <a:pt x="254398" y="430565"/>
                        <a:pt x="254761" y="430600"/>
                      </a:cubicBezTo>
                      <a:cubicBezTo>
                        <a:pt x="255850" y="432368"/>
                        <a:pt x="256412" y="434278"/>
                        <a:pt x="256260" y="436292"/>
                      </a:cubicBezTo>
                      <a:cubicBezTo>
                        <a:pt x="252313" y="433774"/>
                        <a:pt x="247137" y="430085"/>
                        <a:pt x="246539" y="425529"/>
                      </a:cubicBezTo>
                      <a:cubicBezTo>
                        <a:pt x="246575" y="425529"/>
                        <a:pt x="247113" y="426419"/>
                        <a:pt x="247605" y="426255"/>
                      </a:cubicBezTo>
                      <a:cubicBezTo>
                        <a:pt x="247675" y="425998"/>
                        <a:pt x="246938" y="424815"/>
                        <a:pt x="248320" y="424042"/>
                      </a:cubicBezTo>
                      <a:cubicBezTo>
                        <a:pt x="247160" y="424475"/>
                        <a:pt x="247734" y="424592"/>
                        <a:pt x="246551" y="424440"/>
                      </a:cubicBezTo>
                      <a:cubicBezTo>
                        <a:pt x="246551" y="424616"/>
                        <a:pt x="247570" y="423527"/>
                        <a:pt x="247617" y="423726"/>
                      </a:cubicBezTo>
                      <a:cubicBezTo>
                        <a:pt x="246739" y="423737"/>
                        <a:pt x="245860" y="423761"/>
                        <a:pt x="244970" y="423772"/>
                      </a:cubicBezTo>
                      <a:cubicBezTo>
                        <a:pt x="244314" y="422765"/>
                        <a:pt x="245755" y="423152"/>
                        <a:pt x="245825" y="422262"/>
                      </a:cubicBezTo>
                      <a:cubicBezTo>
                        <a:pt x="245099" y="422344"/>
                        <a:pt x="243670" y="422624"/>
                        <a:pt x="242956" y="422589"/>
                      </a:cubicBezTo>
                      <a:cubicBezTo>
                        <a:pt x="243893" y="423550"/>
                        <a:pt x="244841" y="424077"/>
                        <a:pt x="245825" y="424791"/>
                      </a:cubicBezTo>
                      <a:cubicBezTo>
                        <a:pt x="245790" y="425693"/>
                        <a:pt x="245099" y="426712"/>
                        <a:pt x="245450" y="427684"/>
                      </a:cubicBezTo>
                      <a:cubicBezTo>
                        <a:pt x="243331" y="424697"/>
                        <a:pt x="243237" y="425037"/>
                        <a:pt x="240414" y="424030"/>
                      </a:cubicBezTo>
                      <a:cubicBezTo>
                        <a:pt x="240227" y="422859"/>
                        <a:pt x="239993" y="421454"/>
                        <a:pt x="239852" y="420376"/>
                      </a:cubicBezTo>
                      <a:cubicBezTo>
                        <a:pt x="239852" y="421570"/>
                        <a:pt x="239653" y="422765"/>
                        <a:pt x="239735" y="424428"/>
                      </a:cubicBezTo>
                      <a:cubicBezTo>
                        <a:pt x="238845" y="423327"/>
                        <a:pt x="237674" y="422789"/>
                        <a:pt x="236866" y="421570"/>
                      </a:cubicBezTo>
                      <a:cubicBezTo>
                        <a:pt x="237217" y="421688"/>
                        <a:pt x="237580" y="421793"/>
                        <a:pt x="237931" y="421899"/>
                      </a:cubicBezTo>
                      <a:cubicBezTo>
                        <a:pt x="231490" y="414321"/>
                        <a:pt x="227918" y="415715"/>
                        <a:pt x="219837" y="419053"/>
                      </a:cubicBezTo>
                      <a:cubicBezTo>
                        <a:pt x="214391" y="421290"/>
                        <a:pt x="210585" y="419451"/>
                        <a:pt x="205221" y="417987"/>
                      </a:cubicBezTo>
                      <a:cubicBezTo>
                        <a:pt x="201040" y="416839"/>
                        <a:pt x="189539" y="414333"/>
                        <a:pt x="188965" y="420809"/>
                      </a:cubicBezTo>
                      <a:cubicBezTo>
                        <a:pt x="187092" y="418584"/>
                        <a:pt x="186377" y="417085"/>
                        <a:pt x="182876" y="417917"/>
                      </a:cubicBezTo>
                      <a:cubicBezTo>
                        <a:pt x="182852" y="417308"/>
                        <a:pt x="181810" y="414989"/>
                        <a:pt x="181810" y="414989"/>
                      </a:cubicBezTo>
                      <a:cubicBezTo>
                        <a:pt x="182220" y="410843"/>
                        <a:pt x="185405" y="413174"/>
                        <a:pt x="186120" y="409531"/>
                      </a:cubicBezTo>
                      <a:cubicBezTo>
                        <a:pt x="186436" y="407891"/>
                        <a:pt x="184714" y="403336"/>
                        <a:pt x="184667" y="402258"/>
                      </a:cubicBezTo>
                      <a:cubicBezTo>
                        <a:pt x="184609" y="400970"/>
                        <a:pt x="185944" y="398792"/>
                        <a:pt x="186284" y="397234"/>
                      </a:cubicBezTo>
                      <a:cubicBezTo>
                        <a:pt x="186412" y="396613"/>
                        <a:pt x="184187" y="394728"/>
                        <a:pt x="184164" y="394845"/>
                      </a:cubicBezTo>
                      <a:cubicBezTo>
                        <a:pt x="184328" y="393896"/>
                        <a:pt x="185956" y="392315"/>
                        <a:pt x="185885" y="391284"/>
                      </a:cubicBezTo>
                      <a:cubicBezTo>
                        <a:pt x="185874" y="391168"/>
                        <a:pt x="185780" y="384152"/>
                        <a:pt x="185792" y="384082"/>
                      </a:cubicBezTo>
                      <a:cubicBezTo>
                        <a:pt x="187021" y="379725"/>
                        <a:pt x="189329" y="378285"/>
                        <a:pt x="190055" y="373167"/>
                      </a:cubicBezTo>
                      <a:cubicBezTo>
                        <a:pt x="185874" y="376411"/>
                        <a:pt x="167615" y="373670"/>
                        <a:pt x="169314" y="367007"/>
                      </a:cubicBezTo>
                      <a:cubicBezTo>
                        <a:pt x="169524" y="374853"/>
                        <a:pt x="157426" y="375205"/>
                        <a:pt x="152461" y="372089"/>
                      </a:cubicBezTo>
                      <a:cubicBezTo>
                        <a:pt x="149568" y="375989"/>
                        <a:pt x="141405" y="377266"/>
                        <a:pt x="138184" y="379761"/>
                      </a:cubicBezTo>
                      <a:cubicBezTo>
                        <a:pt x="136568" y="384468"/>
                        <a:pt x="136720" y="383344"/>
                        <a:pt x="139555" y="389200"/>
                      </a:cubicBezTo>
                      <a:cubicBezTo>
                        <a:pt x="141534" y="393276"/>
                        <a:pt x="143220" y="393744"/>
                        <a:pt x="142541" y="398815"/>
                      </a:cubicBezTo>
                      <a:cubicBezTo>
                        <a:pt x="141862" y="403886"/>
                        <a:pt x="137353" y="409063"/>
                        <a:pt x="136416" y="414321"/>
                      </a:cubicBezTo>
                      <a:cubicBezTo>
                        <a:pt x="135631" y="418783"/>
                        <a:pt x="136662" y="423667"/>
                        <a:pt x="137083" y="428106"/>
                      </a:cubicBezTo>
                      <a:cubicBezTo>
                        <a:pt x="137880" y="436713"/>
                        <a:pt x="140433" y="441878"/>
                        <a:pt x="134987" y="449491"/>
                      </a:cubicBezTo>
                      <a:cubicBezTo>
                        <a:pt x="131544" y="454304"/>
                        <a:pt x="129752" y="457665"/>
                        <a:pt x="128206" y="461741"/>
                      </a:cubicBezTo>
                      <a:cubicBezTo>
                        <a:pt x="126508" y="466238"/>
                        <a:pt x="127129" y="465301"/>
                        <a:pt x="123791" y="470103"/>
                      </a:cubicBezTo>
                      <a:cubicBezTo>
                        <a:pt x="118017" y="478418"/>
                        <a:pt x="117420" y="487506"/>
                        <a:pt x="115663" y="495857"/>
                      </a:cubicBezTo>
                      <a:cubicBezTo>
                        <a:pt x="110791" y="493362"/>
                        <a:pt x="111482" y="508716"/>
                        <a:pt x="112641" y="512358"/>
                      </a:cubicBezTo>
                      <a:cubicBezTo>
                        <a:pt x="108987" y="510824"/>
                        <a:pt x="98728" y="530300"/>
                        <a:pt x="99970" y="531249"/>
                      </a:cubicBezTo>
                      <a:cubicBezTo>
                        <a:pt x="98119" y="534505"/>
                        <a:pt x="101621" y="535266"/>
                        <a:pt x="101071" y="536671"/>
                      </a:cubicBezTo>
                      <a:cubicBezTo>
                        <a:pt x="100157" y="539049"/>
                        <a:pt x="98189" y="538955"/>
                        <a:pt x="98002" y="539260"/>
                      </a:cubicBezTo>
                      <a:cubicBezTo>
                        <a:pt x="98178" y="538990"/>
                        <a:pt x="94442" y="537362"/>
                        <a:pt x="93856" y="539787"/>
                      </a:cubicBezTo>
                      <a:cubicBezTo>
                        <a:pt x="93130" y="542808"/>
                        <a:pt x="97124" y="545490"/>
                        <a:pt x="99243" y="545690"/>
                      </a:cubicBezTo>
                      <a:cubicBezTo>
                        <a:pt x="91748" y="548781"/>
                        <a:pt x="94571" y="559673"/>
                        <a:pt x="94735" y="566232"/>
                      </a:cubicBezTo>
                      <a:cubicBezTo>
                        <a:pt x="94957" y="574605"/>
                        <a:pt x="96269" y="582604"/>
                        <a:pt x="102827" y="590076"/>
                      </a:cubicBezTo>
                      <a:cubicBezTo>
                        <a:pt x="100239" y="590334"/>
                        <a:pt x="97323" y="592711"/>
                        <a:pt x="98166" y="596037"/>
                      </a:cubicBezTo>
                      <a:cubicBezTo>
                        <a:pt x="99349" y="600769"/>
                        <a:pt x="107723" y="600382"/>
                        <a:pt x="111435" y="599598"/>
                      </a:cubicBezTo>
                      <a:cubicBezTo>
                        <a:pt x="111951" y="599492"/>
                        <a:pt x="115886" y="596658"/>
                        <a:pt x="116916" y="596224"/>
                      </a:cubicBezTo>
                      <a:cubicBezTo>
                        <a:pt x="118134" y="595721"/>
                        <a:pt x="120816" y="594152"/>
                        <a:pt x="121929" y="594058"/>
                      </a:cubicBezTo>
                      <a:cubicBezTo>
                        <a:pt x="126180" y="593742"/>
                        <a:pt x="128288" y="593730"/>
                        <a:pt x="130630" y="596693"/>
                      </a:cubicBezTo>
                      <a:cubicBezTo>
                        <a:pt x="137083" y="604868"/>
                        <a:pt x="131837" y="618898"/>
                        <a:pt x="135947" y="629181"/>
                      </a:cubicBezTo>
                      <a:cubicBezTo>
                        <a:pt x="136838" y="631383"/>
                        <a:pt x="141393" y="640108"/>
                        <a:pt x="143572" y="641267"/>
                      </a:cubicBezTo>
                      <a:cubicBezTo>
                        <a:pt x="149029" y="644183"/>
                        <a:pt x="148725" y="638609"/>
                        <a:pt x="144954" y="636173"/>
                      </a:cubicBezTo>
                      <a:cubicBezTo>
                        <a:pt x="154054" y="637121"/>
                        <a:pt x="154744" y="660661"/>
                        <a:pt x="156326" y="667946"/>
                      </a:cubicBezTo>
                      <a:cubicBezTo>
                        <a:pt x="157930" y="675406"/>
                        <a:pt x="158773" y="683394"/>
                        <a:pt x="161092" y="690643"/>
                      </a:cubicBezTo>
                      <a:cubicBezTo>
                        <a:pt x="162767" y="695866"/>
                        <a:pt x="166831" y="700305"/>
                        <a:pt x="168072" y="705435"/>
                      </a:cubicBezTo>
                      <a:cubicBezTo>
                        <a:pt x="166011" y="703900"/>
                        <a:pt x="163013" y="702120"/>
                        <a:pt x="160331" y="701628"/>
                      </a:cubicBezTo>
                      <a:cubicBezTo>
                        <a:pt x="160893" y="697928"/>
                        <a:pt x="157965" y="677796"/>
                        <a:pt x="153245" y="688488"/>
                      </a:cubicBezTo>
                      <a:cubicBezTo>
                        <a:pt x="151126" y="684916"/>
                        <a:pt x="158609" y="680899"/>
                        <a:pt x="154135" y="675922"/>
                      </a:cubicBezTo>
                      <a:cubicBezTo>
                        <a:pt x="147823" y="668895"/>
                        <a:pt x="145469" y="681367"/>
                        <a:pt x="147237" y="686380"/>
                      </a:cubicBezTo>
                      <a:cubicBezTo>
                        <a:pt x="149954" y="694121"/>
                        <a:pt x="156126" y="697845"/>
                        <a:pt x="160389" y="702799"/>
                      </a:cubicBezTo>
                      <a:cubicBezTo>
                        <a:pt x="155599" y="706746"/>
                        <a:pt x="169466" y="712555"/>
                        <a:pt x="168658" y="703900"/>
                      </a:cubicBezTo>
                      <a:cubicBezTo>
                        <a:pt x="174549" y="711220"/>
                        <a:pt x="178589" y="718329"/>
                        <a:pt x="186916" y="721409"/>
                      </a:cubicBezTo>
                      <a:cubicBezTo>
                        <a:pt x="194821" y="724325"/>
                        <a:pt x="202059" y="719383"/>
                        <a:pt x="208629" y="722159"/>
                      </a:cubicBezTo>
                      <a:cubicBezTo>
                        <a:pt x="206849" y="720449"/>
                        <a:pt x="207118" y="719664"/>
                        <a:pt x="203991" y="718540"/>
                      </a:cubicBezTo>
                      <a:cubicBezTo>
                        <a:pt x="210035" y="717755"/>
                        <a:pt x="218104" y="723166"/>
                        <a:pt x="221723" y="727675"/>
                      </a:cubicBezTo>
                      <a:cubicBezTo>
                        <a:pt x="225740" y="732711"/>
                        <a:pt x="227824" y="739035"/>
                        <a:pt x="232427" y="743673"/>
                      </a:cubicBezTo>
                      <a:cubicBezTo>
                        <a:pt x="236503" y="747783"/>
                        <a:pt x="244630" y="750454"/>
                        <a:pt x="246083" y="755993"/>
                      </a:cubicBezTo>
                      <a:cubicBezTo>
                        <a:pt x="248120" y="763746"/>
                        <a:pt x="242909" y="763137"/>
                        <a:pt x="239712" y="768150"/>
                      </a:cubicBezTo>
                      <a:cubicBezTo>
                        <a:pt x="237486" y="771628"/>
                        <a:pt x="238248" y="774521"/>
                        <a:pt x="235402" y="777695"/>
                      </a:cubicBezTo>
                      <a:cubicBezTo>
                        <a:pt x="233141" y="780213"/>
                        <a:pt x="232802" y="780763"/>
                        <a:pt x="230096" y="781138"/>
                      </a:cubicBezTo>
                      <a:cubicBezTo>
                        <a:pt x="231326" y="780962"/>
                        <a:pt x="224557" y="779943"/>
                        <a:pt x="225025" y="780295"/>
                      </a:cubicBezTo>
                      <a:cubicBezTo>
                        <a:pt x="218572" y="775551"/>
                        <a:pt x="223772" y="770972"/>
                        <a:pt x="212330" y="775200"/>
                      </a:cubicBezTo>
                      <a:cubicBezTo>
                        <a:pt x="207704" y="776910"/>
                        <a:pt x="205549" y="778960"/>
                        <a:pt x="202633" y="781559"/>
                      </a:cubicBezTo>
                      <a:cubicBezTo>
                        <a:pt x="200864" y="783141"/>
                        <a:pt x="201345" y="786923"/>
                        <a:pt x="197398" y="787181"/>
                      </a:cubicBezTo>
                      <a:cubicBezTo>
                        <a:pt x="193416" y="787450"/>
                        <a:pt x="188989" y="779768"/>
                        <a:pt x="189551" y="776512"/>
                      </a:cubicBezTo>
                      <a:cubicBezTo>
                        <a:pt x="190336" y="771933"/>
                        <a:pt x="194201" y="772436"/>
                        <a:pt x="194868" y="767084"/>
                      </a:cubicBezTo>
                      <a:cubicBezTo>
                        <a:pt x="195266" y="763910"/>
                        <a:pt x="194142" y="761591"/>
                        <a:pt x="193439" y="759308"/>
                      </a:cubicBezTo>
                      <a:cubicBezTo>
                        <a:pt x="192584" y="756544"/>
                        <a:pt x="196356" y="754482"/>
                        <a:pt x="188954" y="753768"/>
                      </a:cubicBezTo>
                      <a:cubicBezTo>
                        <a:pt x="186073" y="753499"/>
                        <a:pt x="183414" y="756895"/>
                        <a:pt x="181002" y="754389"/>
                      </a:cubicBezTo>
                      <a:cubicBezTo>
                        <a:pt x="178812" y="752128"/>
                        <a:pt x="179034" y="744926"/>
                        <a:pt x="176212" y="742185"/>
                      </a:cubicBezTo>
                      <a:cubicBezTo>
                        <a:pt x="171890" y="746003"/>
                        <a:pt x="164863" y="743485"/>
                        <a:pt x="160378" y="741108"/>
                      </a:cubicBezTo>
                      <a:cubicBezTo>
                        <a:pt x="155916" y="738754"/>
                        <a:pt x="154733" y="732863"/>
                        <a:pt x="151547" y="731329"/>
                      </a:cubicBezTo>
                      <a:cubicBezTo>
                        <a:pt x="145199" y="728237"/>
                        <a:pt x="146078" y="740487"/>
                        <a:pt x="144778" y="744844"/>
                      </a:cubicBezTo>
                      <a:cubicBezTo>
                        <a:pt x="144040" y="741904"/>
                        <a:pt x="143244" y="743322"/>
                        <a:pt x="143536" y="740089"/>
                      </a:cubicBezTo>
                      <a:cubicBezTo>
                        <a:pt x="142588" y="740710"/>
                        <a:pt x="142447" y="740007"/>
                        <a:pt x="141440" y="741483"/>
                      </a:cubicBezTo>
                      <a:cubicBezTo>
                        <a:pt x="139800" y="739257"/>
                        <a:pt x="137575" y="737700"/>
                        <a:pt x="136264" y="736915"/>
                      </a:cubicBezTo>
                      <a:cubicBezTo>
                        <a:pt x="137072" y="731961"/>
                        <a:pt x="130115" y="727722"/>
                        <a:pt x="126965" y="724747"/>
                      </a:cubicBezTo>
                      <a:cubicBezTo>
                        <a:pt x="122046" y="720098"/>
                        <a:pt x="122702" y="722440"/>
                        <a:pt x="122573" y="717568"/>
                      </a:cubicBezTo>
                      <a:cubicBezTo>
                        <a:pt x="122479" y="714183"/>
                        <a:pt x="122503" y="712052"/>
                        <a:pt x="124599" y="708444"/>
                      </a:cubicBezTo>
                      <a:cubicBezTo>
                        <a:pt x="120781" y="708971"/>
                        <a:pt x="122889" y="709709"/>
                        <a:pt x="121050" y="706688"/>
                      </a:cubicBezTo>
                      <a:cubicBezTo>
                        <a:pt x="118251" y="709252"/>
                        <a:pt x="115593" y="707941"/>
                        <a:pt x="114597" y="704052"/>
                      </a:cubicBezTo>
                      <a:cubicBezTo>
                        <a:pt x="113906" y="701371"/>
                        <a:pt x="116869" y="699063"/>
                        <a:pt x="117443" y="695913"/>
                      </a:cubicBezTo>
                      <a:cubicBezTo>
                        <a:pt x="115382" y="700094"/>
                        <a:pt x="113028" y="700926"/>
                        <a:pt x="113168" y="695527"/>
                      </a:cubicBezTo>
                      <a:cubicBezTo>
                        <a:pt x="109081" y="710131"/>
                        <a:pt x="104479" y="689952"/>
                        <a:pt x="101387" y="689050"/>
                      </a:cubicBezTo>
                      <a:cubicBezTo>
                        <a:pt x="103987" y="682456"/>
                        <a:pt x="96070" y="680313"/>
                        <a:pt x="92439" y="675406"/>
                      </a:cubicBezTo>
                      <a:cubicBezTo>
                        <a:pt x="92228" y="679294"/>
                        <a:pt x="89476" y="680735"/>
                        <a:pt x="87626" y="676858"/>
                      </a:cubicBezTo>
                      <a:cubicBezTo>
                        <a:pt x="85939" y="673333"/>
                        <a:pt x="88832" y="670733"/>
                        <a:pt x="89593" y="667126"/>
                      </a:cubicBezTo>
                      <a:cubicBezTo>
                        <a:pt x="84932" y="669703"/>
                        <a:pt x="85857" y="663542"/>
                        <a:pt x="83105" y="662137"/>
                      </a:cubicBezTo>
                      <a:cubicBezTo>
                        <a:pt x="80107" y="660603"/>
                        <a:pt x="77905" y="664632"/>
                        <a:pt x="75539" y="660427"/>
                      </a:cubicBezTo>
                      <a:cubicBezTo>
                        <a:pt x="74860" y="660931"/>
                        <a:pt x="74942" y="661657"/>
                        <a:pt x="73982" y="661938"/>
                      </a:cubicBezTo>
                      <a:cubicBezTo>
                        <a:pt x="71932" y="658202"/>
                        <a:pt x="73256" y="653892"/>
                        <a:pt x="71733" y="649852"/>
                      </a:cubicBezTo>
                      <a:cubicBezTo>
                        <a:pt x="72108" y="650063"/>
                        <a:pt x="70714" y="651292"/>
                        <a:pt x="70656" y="651327"/>
                      </a:cubicBezTo>
                      <a:cubicBezTo>
                        <a:pt x="71382" y="646572"/>
                        <a:pt x="68852" y="646690"/>
                        <a:pt x="66346" y="648423"/>
                      </a:cubicBezTo>
                      <a:cubicBezTo>
                        <a:pt x="67212" y="646315"/>
                        <a:pt x="66463" y="645249"/>
                        <a:pt x="67997" y="643258"/>
                      </a:cubicBezTo>
                      <a:cubicBezTo>
                        <a:pt x="67130" y="642954"/>
                        <a:pt x="66194" y="642544"/>
                        <a:pt x="65292" y="642333"/>
                      </a:cubicBezTo>
                      <a:cubicBezTo>
                        <a:pt x="62387" y="646057"/>
                        <a:pt x="58862" y="645226"/>
                        <a:pt x="55829" y="647100"/>
                      </a:cubicBezTo>
                      <a:cubicBezTo>
                        <a:pt x="60244" y="649992"/>
                        <a:pt x="56684" y="654970"/>
                        <a:pt x="54213" y="656024"/>
                      </a:cubicBezTo>
                      <a:cubicBezTo>
                        <a:pt x="50149" y="649875"/>
                        <a:pt x="41752" y="642368"/>
                        <a:pt x="44738" y="632659"/>
                      </a:cubicBezTo>
                      <a:cubicBezTo>
                        <a:pt x="45382" y="633748"/>
                        <a:pt x="46073" y="635037"/>
                        <a:pt x="46706" y="636173"/>
                      </a:cubicBezTo>
                      <a:cubicBezTo>
                        <a:pt x="44000" y="632015"/>
                        <a:pt x="46073" y="611953"/>
                        <a:pt x="52796" y="612023"/>
                      </a:cubicBezTo>
                      <a:cubicBezTo>
                        <a:pt x="53311" y="611028"/>
                        <a:pt x="53252" y="610103"/>
                        <a:pt x="54213" y="608803"/>
                      </a:cubicBezTo>
                      <a:cubicBezTo>
                        <a:pt x="50067" y="609447"/>
                        <a:pt x="50758" y="608592"/>
                        <a:pt x="53732" y="606882"/>
                      </a:cubicBezTo>
                      <a:cubicBezTo>
                        <a:pt x="52151" y="604715"/>
                        <a:pt x="51074" y="602244"/>
                        <a:pt x="50617" y="599644"/>
                      </a:cubicBezTo>
                      <a:cubicBezTo>
                        <a:pt x="53311" y="599761"/>
                        <a:pt x="56192" y="586574"/>
                        <a:pt x="57668" y="581819"/>
                      </a:cubicBezTo>
                      <a:cubicBezTo>
                        <a:pt x="60607" y="582206"/>
                        <a:pt x="59225" y="581866"/>
                        <a:pt x="61368" y="580367"/>
                      </a:cubicBezTo>
                      <a:cubicBezTo>
                        <a:pt x="59272" y="580027"/>
                        <a:pt x="59776" y="579571"/>
                        <a:pt x="57984" y="578868"/>
                      </a:cubicBezTo>
                      <a:cubicBezTo>
                        <a:pt x="60549" y="576819"/>
                        <a:pt x="61111" y="574582"/>
                        <a:pt x="59916" y="572790"/>
                      </a:cubicBezTo>
                      <a:cubicBezTo>
                        <a:pt x="62973" y="572696"/>
                        <a:pt x="61005" y="573247"/>
                        <a:pt x="63313" y="571584"/>
                      </a:cubicBezTo>
                      <a:cubicBezTo>
                        <a:pt x="62270" y="571560"/>
                        <a:pt x="60736" y="571759"/>
                        <a:pt x="60291" y="571712"/>
                      </a:cubicBezTo>
                      <a:cubicBezTo>
                        <a:pt x="61193" y="569651"/>
                        <a:pt x="62106" y="568129"/>
                        <a:pt x="64203" y="566313"/>
                      </a:cubicBezTo>
                      <a:cubicBezTo>
                        <a:pt x="58499" y="569956"/>
                        <a:pt x="64425" y="561406"/>
                        <a:pt x="66826" y="559989"/>
                      </a:cubicBezTo>
                      <a:cubicBezTo>
                        <a:pt x="63289" y="559076"/>
                        <a:pt x="70234" y="549625"/>
                        <a:pt x="71382" y="546029"/>
                      </a:cubicBezTo>
                      <a:cubicBezTo>
                        <a:pt x="73244" y="540173"/>
                        <a:pt x="74134" y="534013"/>
                        <a:pt x="74544" y="528122"/>
                      </a:cubicBezTo>
                      <a:cubicBezTo>
                        <a:pt x="74954" y="522184"/>
                        <a:pt x="73619" y="521903"/>
                        <a:pt x="79275" y="517230"/>
                      </a:cubicBezTo>
                      <a:cubicBezTo>
                        <a:pt x="80142" y="516516"/>
                        <a:pt x="82672" y="515626"/>
                        <a:pt x="83000" y="515263"/>
                      </a:cubicBezTo>
                      <a:cubicBezTo>
                        <a:pt x="83866" y="514302"/>
                        <a:pt x="84909" y="510918"/>
                        <a:pt x="85014" y="510824"/>
                      </a:cubicBezTo>
                      <a:cubicBezTo>
                        <a:pt x="89160" y="506725"/>
                        <a:pt x="94606" y="501514"/>
                        <a:pt x="98834" y="494568"/>
                      </a:cubicBezTo>
                      <a:cubicBezTo>
                        <a:pt x="101668" y="489907"/>
                        <a:pt x="104807" y="485539"/>
                        <a:pt x="106903" y="480702"/>
                      </a:cubicBezTo>
                      <a:cubicBezTo>
                        <a:pt x="107313" y="479765"/>
                        <a:pt x="108648" y="474706"/>
                        <a:pt x="108917" y="474366"/>
                      </a:cubicBezTo>
                      <a:cubicBezTo>
                        <a:pt x="110803" y="472000"/>
                        <a:pt x="113145" y="472645"/>
                        <a:pt x="115148" y="470302"/>
                      </a:cubicBezTo>
                      <a:cubicBezTo>
                        <a:pt x="118872" y="465934"/>
                        <a:pt x="117385" y="464271"/>
                        <a:pt x="117080" y="460956"/>
                      </a:cubicBezTo>
                      <a:cubicBezTo>
                        <a:pt x="117092" y="461109"/>
                        <a:pt x="115850" y="454726"/>
                        <a:pt x="115862" y="454784"/>
                      </a:cubicBezTo>
                      <a:cubicBezTo>
                        <a:pt x="115487" y="453602"/>
                        <a:pt x="114000" y="448999"/>
                        <a:pt x="113590" y="448366"/>
                      </a:cubicBezTo>
                      <a:cubicBezTo>
                        <a:pt x="112243" y="446270"/>
                        <a:pt x="116401" y="442839"/>
                        <a:pt x="109573" y="445614"/>
                      </a:cubicBezTo>
                      <a:cubicBezTo>
                        <a:pt x="111669" y="440086"/>
                        <a:pt x="107125" y="434816"/>
                        <a:pt x="106376" y="428879"/>
                      </a:cubicBezTo>
                      <a:cubicBezTo>
                        <a:pt x="106118" y="426829"/>
                        <a:pt x="108062" y="424545"/>
                        <a:pt x="107090" y="422449"/>
                      </a:cubicBezTo>
                      <a:cubicBezTo>
                        <a:pt x="105884" y="419861"/>
                        <a:pt x="102031" y="418783"/>
                        <a:pt x="100251" y="416792"/>
                      </a:cubicBezTo>
                      <a:cubicBezTo>
                        <a:pt x="94360" y="410222"/>
                        <a:pt x="90354" y="396789"/>
                        <a:pt x="92943" y="389153"/>
                      </a:cubicBezTo>
                      <a:cubicBezTo>
                        <a:pt x="93107" y="388696"/>
                        <a:pt x="95437" y="388848"/>
                        <a:pt x="95917" y="387338"/>
                      </a:cubicBezTo>
                      <a:cubicBezTo>
                        <a:pt x="96292" y="386131"/>
                        <a:pt x="94957" y="384422"/>
                        <a:pt x="95203" y="383051"/>
                      </a:cubicBezTo>
                      <a:cubicBezTo>
                        <a:pt x="96140" y="377805"/>
                        <a:pt x="94910" y="372850"/>
                        <a:pt x="93891" y="367451"/>
                      </a:cubicBezTo>
                      <a:cubicBezTo>
                        <a:pt x="92697" y="361233"/>
                        <a:pt x="91631" y="356326"/>
                        <a:pt x="88703" y="351243"/>
                      </a:cubicBezTo>
                      <a:cubicBezTo>
                        <a:pt x="84838" y="344532"/>
                        <a:pt x="80388" y="341054"/>
                        <a:pt x="74111" y="336475"/>
                      </a:cubicBezTo>
                      <a:cubicBezTo>
                        <a:pt x="67388" y="331544"/>
                        <a:pt x="63711" y="326895"/>
                        <a:pt x="58769" y="318907"/>
                      </a:cubicBezTo>
                      <a:cubicBezTo>
                        <a:pt x="54494" y="312009"/>
                        <a:pt x="47397" y="306516"/>
                        <a:pt x="45347" y="298295"/>
                      </a:cubicBezTo>
                      <a:cubicBezTo>
                        <a:pt x="43743" y="291854"/>
                        <a:pt x="43637" y="287579"/>
                        <a:pt x="43063" y="281372"/>
                      </a:cubicBezTo>
                      <a:cubicBezTo>
                        <a:pt x="48240" y="281419"/>
                        <a:pt x="48544" y="274895"/>
                        <a:pt x="54271" y="279369"/>
                      </a:cubicBezTo>
                      <a:cubicBezTo>
                        <a:pt x="52468" y="274755"/>
                        <a:pt x="59167" y="269637"/>
                        <a:pt x="61650" y="275739"/>
                      </a:cubicBezTo>
                      <a:cubicBezTo>
                        <a:pt x="66240" y="270469"/>
                        <a:pt x="61556" y="260748"/>
                        <a:pt x="62118" y="254189"/>
                      </a:cubicBezTo>
                      <a:cubicBezTo>
                        <a:pt x="62575" y="248861"/>
                        <a:pt x="66205" y="241951"/>
                        <a:pt x="62364" y="237184"/>
                      </a:cubicBezTo>
                      <a:cubicBezTo>
                        <a:pt x="66299" y="238039"/>
                        <a:pt x="65725" y="234584"/>
                        <a:pt x="67974" y="233952"/>
                      </a:cubicBezTo>
                      <a:cubicBezTo>
                        <a:pt x="71616" y="232921"/>
                        <a:pt x="74193" y="234760"/>
                        <a:pt x="77167" y="232476"/>
                      </a:cubicBezTo>
                      <a:cubicBezTo>
                        <a:pt x="81957" y="228787"/>
                        <a:pt x="80388" y="218329"/>
                        <a:pt x="77612" y="214440"/>
                      </a:cubicBezTo>
                      <a:cubicBezTo>
                        <a:pt x="75926" y="217919"/>
                        <a:pt x="71569" y="226316"/>
                        <a:pt x="68103" y="223587"/>
                      </a:cubicBezTo>
                      <a:cubicBezTo>
                        <a:pt x="66885" y="222627"/>
                        <a:pt x="64402" y="210693"/>
                        <a:pt x="63430" y="209030"/>
                      </a:cubicBezTo>
                      <a:cubicBezTo>
                        <a:pt x="61884" y="206371"/>
                        <a:pt x="58183" y="203010"/>
                        <a:pt x="57550" y="200047"/>
                      </a:cubicBezTo>
                      <a:cubicBezTo>
                        <a:pt x="57199" y="198349"/>
                        <a:pt x="61966" y="193652"/>
                        <a:pt x="61204" y="194168"/>
                      </a:cubicBezTo>
                      <a:cubicBezTo>
                        <a:pt x="60080" y="191978"/>
                        <a:pt x="59319" y="189015"/>
                        <a:pt x="57574" y="187211"/>
                      </a:cubicBezTo>
                      <a:cubicBezTo>
                        <a:pt x="54845" y="184412"/>
                        <a:pt x="52433" y="185138"/>
                        <a:pt x="49821" y="183019"/>
                      </a:cubicBezTo>
                      <a:cubicBezTo>
                        <a:pt x="47373" y="181027"/>
                        <a:pt x="42841" y="174293"/>
                        <a:pt x="39081" y="169902"/>
                      </a:cubicBezTo>
                      <a:cubicBezTo>
                        <a:pt x="36493" y="166880"/>
                        <a:pt x="34350" y="161692"/>
                        <a:pt x="31141" y="158085"/>
                      </a:cubicBezTo>
                      <a:cubicBezTo>
                        <a:pt x="26234" y="152568"/>
                        <a:pt x="21795" y="146490"/>
                        <a:pt x="16923" y="141525"/>
                      </a:cubicBezTo>
                      <a:cubicBezTo>
                        <a:pt x="17942" y="136652"/>
                        <a:pt x="20366" y="135528"/>
                        <a:pt x="19219" y="129532"/>
                      </a:cubicBezTo>
                      <a:cubicBezTo>
                        <a:pt x="18797" y="127318"/>
                        <a:pt x="15541" y="122611"/>
                        <a:pt x="14030" y="119659"/>
                      </a:cubicBezTo>
                      <a:cubicBezTo>
                        <a:pt x="12520" y="116684"/>
                        <a:pt x="16783" y="116989"/>
                        <a:pt x="10997" y="114576"/>
                      </a:cubicBezTo>
                      <a:cubicBezTo>
                        <a:pt x="10564" y="114401"/>
                        <a:pt x="10388" y="118687"/>
                        <a:pt x="6781" y="116380"/>
                      </a:cubicBezTo>
                      <a:cubicBezTo>
                        <a:pt x="3666" y="114389"/>
                        <a:pt x="2623" y="105945"/>
                        <a:pt x="0" y="102666"/>
                      </a:cubicBezTo>
                      <a:cubicBezTo>
                        <a:pt x="1288" y="104001"/>
                        <a:pt x="3806" y="105863"/>
                        <a:pt x="5809" y="105840"/>
                      </a:cubicBezTo>
                      <a:cubicBezTo>
                        <a:pt x="7179" y="105816"/>
                        <a:pt x="19757" y="102560"/>
                        <a:pt x="20413" y="101694"/>
                      </a:cubicBezTo>
                      <a:cubicBezTo>
                        <a:pt x="22147" y="99375"/>
                        <a:pt x="20706" y="93929"/>
                        <a:pt x="20050" y="91270"/>
                      </a:cubicBezTo>
                      <a:cubicBezTo>
                        <a:pt x="19558" y="89303"/>
                        <a:pt x="16185" y="83845"/>
                        <a:pt x="16197" y="83084"/>
                      </a:cubicBezTo>
                      <a:cubicBezTo>
                        <a:pt x="16197" y="80988"/>
                        <a:pt x="20132" y="77287"/>
                        <a:pt x="21245" y="75190"/>
                      </a:cubicBezTo>
                      <a:cubicBezTo>
                        <a:pt x="24372" y="69335"/>
                        <a:pt x="22287" y="69229"/>
                        <a:pt x="21538" y="64041"/>
                      </a:cubicBezTo>
                      <a:cubicBezTo>
                        <a:pt x="21725" y="65294"/>
                        <a:pt x="22228" y="58829"/>
                        <a:pt x="22205" y="58911"/>
                      </a:cubicBezTo>
                      <a:cubicBezTo>
                        <a:pt x="22849" y="56405"/>
                        <a:pt x="24126" y="53278"/>
                        <a:pt x="25707" y="51135"/>
                      </a:cubicBezTo>
                      <a:cubicBezTo>
                        <a:pt x="26831" y="49624"/>
                        <a:pt x="26316" y="49015"/>
                        <a:pt x="27885" y="47446"/>
                      </a:cubicBezTo>
                      <a:cubicBezTo>
                        <a:pt x="29279" y="46052"/>
                        <a:pt x="31410" y="45783"/>
                        <a:pt x="32769" y="44166"/>
                      </a:cubicBezTo>
                      <a:cubicBezTo>
                        <a:pt x="34244" y="42422"/>
                        <a:pt x="33507" y="36062"/>
                        <a:pt x="35650" y="34832"/>
                      </a:cubicBezTo>
                      <a:cubicBezTo>
                        <a:pt x="36493" y="34352"/>
                        <a:pt x="42220" y="38416"/>
                        <a:pt x="43227" y="38978"/>
                      </a:cubicBezTo>
                      <a:cubicBezTo>
                        <a:pt x="47631" y="41368"/>
                        <a:pt x="44422" y="40630"/>
                        <a:pt x="49879" y="41110"/>
                      </a:cubicBezTo>
                      <a:cubicBezTo>
                        <a:pt x="57351" y="41766"/>
                        <a:pt x="60314" y="40419"/>
                        <a:pt x="65924" y="38943"/>
                      </a:cubicBezTo>
                      <a:cubicBezTo>
                        <a:pt x="70293" y="37796"/>
                        <a:pt x="74813" y="36449"/>
                        <a:pt x="78280" y="36004"/>
                      </a:cubicBezTo>
                      <a:cubicBezTo>
                        <a:pt x="80669" y="35699"/>
                        <a:pt x="83726" y="38440"/>
                        <a:pt x="86244" y="33322"/>
                      </a:cubicBezTo>
                      <a:cubicBezTo>
                        <a:pt x="87766" y="30195"/>
                        <a:pt x="84920" y="25358"/>
                        <a:pt x="86876" y="22067"/>
                      </a:cubicBezTo>
                      <a:cubicBezTo>
                        <a:pt x="90682" y="15672"/>
                        <a:pt x="94266" y="19268"/>
                        <a:pt x="99361" y="19549"/>
                      </a:cubicBezTo>
                      <a:cubicBezTo>
                        <a:pt x="109889" y="20111"/>
                        <a:pt x="118626" y="13787"/>
                        <a:pt x="107933" y="3902"/>
                      </a:cubicBezTo>
                      <a:cubicBezTo>
                        <a:pt x="114340" y="4745"/>
                        <a:pt x="120078" y="9372"/>
                        <a:pt x="127058" y="6151"/>
                      </a:cubicBezTo>
                      <a:cubicBezTo>
                        <a:pt x="129752" y="4945"/>
                        <a:pt x="134062" y="-5069"/>
                        <a:pt x="137423" y="3317"/>
                      </a:cubicBezTo>
                      <a:lnTo>
                        <a:pt x="137423" y="3317"/>
                      </a:lnTo>
                      <a:close/>
                    </a:path>
                  </a:pathLst>
                </a:custGeom>
                <a:solidFill>
                  <a:srgbClr val="D6D6D2"/>
                </a:solidFill>
                <a:ln w="8774" cap="rnd">
                  <a:solidFill>
                    <a:srgbClr val="FFFFFF"/>
                  </a:solidFill>
                  <a:prstDash val="solid"/>
                  <a:round/>
                </a:ln>
              </p:spPr>
              <p:txBody>
                <a:bodyPr rtlCol="0" anchor="ctr"/>
                <a:lstStyle/>
                <a:p>
                  <a:endParaRPr lang="en-US"/>
                </a:p>
              </p:txBody>
            </p:sp>
            <p:sp>
              <p:nvSpPr>
                <p:cNvPr id="106" name="Freeform: Shape 105">
                  <a:extLst>
                    <a:ext uri="{FF2B5EF4-FFF2-40B4-BE49-F238E27FC236}">
                      <a16:creationId xmlns:a16="http://schemas.microsoft.com/office/drawing/2014/main" id="{E2E50725-C2C5-4BB4-A992-4560DC52EED6}"/>
                    </a:ext>
                  </a:extLst>
                </p:cNvPr>
                <p:cNvSpPr/>
                <p:nvPr/>
              </p:nvSpPr>
              <p:spPr>
                <a:xfrm>
                  <a:off x="5320291" y="6496951"/>
                  <a:ext cx="34933" cy="34250"/>
                </a:xfrm>
                <a:custGeom>
                  <a:avLst/>
                  <a:gdLst>
                    <a:gd name="connsiteX0" fmla="*/ 21535 w 34933"/>
                    <a:gd name="connsiteY0" fmla="*/ 11764 h 34250"/>
                    <a:gd name="connsiteX1" fmla="*/ 21734 w 34933"/>
                    <a:gd name="connsiteY1" fmla="*/ 14458 h 34250"/>
                    <a:gd name="connsiteX2" fmla="*/ 34593 w 34933"/>
                    <a:gd name="connsiteY2" fmla="*/ 32411 h 34250"/>
                    <a:gd name="connsiteX3" fmla="*/ 29955 w 34933"/>
                    <a:gd name="connsiteY3" fmla="*/ 31030 h 34250"/>
                    <a:gd name="connsiteX4" fmla="*/ 31033 w 34933"/>
                    <a:gd name="connsiteY4" fmla="*/ 34250 h 34250"/>
                    <a:gd name="connsiteX5" fmla="*/ 17822 w 34933"/>
                    <a:gd name="connsiteY5" fmla="*/ 18791 h 34250"/>
                    <a:gd name="connsiteX6" fmla="*/ 20820 w 34933"/>
                    <a:gd name="connsiteY6" fmla="*/ 23382 h 34250"/>
                    <a:gd name="connsiteX7" fmla="*/ 11369 w 34933"/>
                    <a:gd name="connsiteY7" fmla="*/ 15910 h 34250"/>
                    <a:gd name="connsiteX8" fmla="*/ 852 w 34933"/>
                    <a:gd name="connsiteY8" fmla="*/ 12174 h 34250"/>
                    <a:gd name="connsiteX9" fmla="*/ 5056 w 34933"/>
                    <a:gd name="connsiteY9" fmla="*/ 9949 h 34250"/>
                    <a:gd name="connsiteX10" fmla="*/ 11369 w 34933"/>
                    <a:gd name="connsiteY10" fmla="*/ 755 h 34250"/>
                    <a:gd name="connsiteX11" fmla="*/ 21535 w 34933"/>
                    <a:gd name="connsiteY11" fmla="*/ 11764 h 34250"/>
                    <a:gd name="connsiteX12" fmla="*/ 21535 w 34933"/>
                    <a:gd name="connsiteY12" fmla="*/ 11764 h 34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933" h="34250">
                      <a:moveTo>
                        <a:pt x="21535" y="11764"/>
                      </a:moveTo>
                      <a:cubicBezTo>
                        <a:pt x="21500" y="12572"/>
                        <a:pt x="21956" y="13509"/>
                        <a:pt x="21734" y="14458"/>
                      </a:cubicBezTo>
                      <a:cubicBezTo>
                        <a:pt x="30471" y="10440"/>
                        <a:pt x="36455" y="26099"/>
                        <a:pt x="34593" y="32411"/>
                      </a:cubicBezTo>
                      <a:cubicBezTo>
                        <a:pt x="33281" y="31627"/>
                        <a:pt x="31091" y="31744"/>
                        <a:pt x="29955" y="31030"/>
                      </a:cubicBezTo>
                      <a:cubicBezTo>
                        <a:pt x="30424" y="32037"/>
                        <a:pt x="30658" y="33337"/>
                        <a:pt x="31033" y="34250"/>
                      </a:cubicBezTo>
                      <a:cubicBezTo>
                        <a:pt x="28351" y="26966"/>
                        <a:pt x="16194" y="29097"/>
                        <a:pt x="17822" y="18791"/>
                      </a:cubicBezTo>
                      <a:cubicBezTo>
                        <a:pt x="18490" y="21391"/>
                        <a:pt x="19532" y="21859"/>
                        <a:pt x="20820" y="23382"/>
                      </a:cubicBezTo>
                      <a:cubicBezTo>
                        <a:pt x="20422" y="17046"/>
                        <a:pt x="16440" y="15079"/>
                        <a:pt x="11369" y="15910"/>
                      </a:cubicBezTo>
                      <a:cubicBezTo>
                        <a:pt x="6404" y="16730"/>
                        <a:pt x="-2849" y="23101"/>
                        <a:pt x="852" y="12174"/>
                      </a:cubicBezTo>
                      <a:cubicBezTo>
                        <a:pt x="817" y="12268"/>
                        <a:pt x="4530" y="10534"/>
                        <a:pt x="5056" y="9949"/>
                      </a:cubicBezTo>
                      <a:cubicBezTo>
                        <a:pt x="7153" y="7513"/>
                        <a:pt x="7375" y="2266"/>
                        <a:pt x="11369" y="755"/>
                      </a:cubicBezTo>
                      <a:cubicBezTo>
                        <a:pt x="20715" y="-2805"/>
                        <a:pt x="18607" y="7126"/>
                        <a:pt x="21535" y="11764"/>
                      </a:cubicBezTo>
                      <a:lnTo>
                        <a:pt x="21535" y="11764"/>
                      </a:lnTo>
                      <a:close/>
                    </a:path>
                  </a:pathLst>
                </a:custGeom>
                <a:solidFill>
                  <a:srgbClr val="D6D6D2"/>
                </a:solidFill>
                <a:ln w="11699"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2131AF44-4FB3-467D-96C4-B7D8225EB3F8}"/>
                    </a:ext>
                  </a:extLst>
                </p:cNvPr>
                <p:cNvSpPr/>
                <p:nvPr/>
              </p:nvSpPr>
              <p:spPr>
                <a:xfrm>
                  <a:off x="5279684" y="6425545"/>
                  <a:ext cx="56438" cy="43444"/>
                </a:xfrm>
                <a:custGeom>
                  <a:avLst/>
                  <a:gdLst>
                    <a:gd name="connsiteX0" fmla="*/ 7144 w 56438"/>
                    <a:gd name="connsiteY0" fmla="*/ 2431 h 43444"/>
                    <a:gd name="connsiteX1" fmla="*/ 28284 w 56438"/>
                    <a:gd name="connsiteY1" fmla="*/ 13814 h 43444"/>
                    <a:gd name="connsiteX2" fmla="*/ 37992 w 56438"/>
                    <a:gd name="connsiteY2" fmla="*/ 28536 h 43444"/>
                    <a:gd name="connsiteX3" fmla="*/ 49458 w 56438"/>
                    <a:gd name="connsiteY3" fmla="*/ 37706 h 43444"/>
                    <a:gd name="connsiteX4" fmla="*/ 52351 w 56438"/>
                    <a:gd name="connsiteY4" fmla="*/ 43445 h 43444"/>
                    <a:gd name="connsiteX5" fmla="*/ 45511 w 56438"/>
                    <a:gd name="connsiteY5" fmla="*/ 38421 h 43444"/>
                    <a:gd name="connsiteX6" fmla="*/ 29748 w 56438"/>
                    <a:gd name="connsiteY6" fmla="*/ 35598 h 43444"/>
                    <a:gd name="connsiteX7" fmla="*/ 11806 w 56438"/>
                    <a:gd name="connsiteY7" fmla="*/ 14798 h 43444"/>
                    <a:gd name="connsiteX8" fmla="*/ 118 w 56438"/>
                    <a:gd name="connsiteY8" fmla="*/ 3239 h 43444"/>
                    <a:gd name="connsiteX9" fmla="*/ 7144 w 56438"/>
                    <a:gd name="connsiteY9" fmla="*/ 2431 h 43444"/>
                    <a:gd name="connsiteX10" fmla="*/ 7144 w 56438"/>
                    <a:gd name="connsiteY10" fmla="*/ 2431 h 4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438" h="43444">
                      <a:moveTo>
                        <a:pt x="7144" y="2431"/>
                      </a:moveTo>
                      <a:cubicBezTo>
                        <a:pt x="11278" y="2115"/>
                        <a:pt x="24068" y="11144"/>
                        <a:pt x="28284" y="13814"/>
                      </a:cubicBezTo>
                      <a:cubicBezTo>
                        <a:pt x="34596" y="17796"/>
                        <a:pt x="33636" y="22844"/>
                        <a:pt x="37992" y="28536"/>
                      </a:cubicBezTo>
                      <a:cubicBezTo>
                        <a:pt x="39187" y="30105"/>
                        <a:pt x="46132" y="36523"/>
                        <a:pt x="49458" y="37706"/>
                      </a:cubicBezTo>
                      <a:cubicBezTo>
                        <a:pt x="52609" y="38842"/>
                        <a:pt x="61650" y="36652"/>
                        <a:pt x="52351" y="43445"/>
                      </a:cubicBezTo>
                      <a:cubicBezTo>
                        <a:pt x="50067" y="41934"/>
                        <a:pt x="45160" y="42320"/>
                        <a:pt x="45511" y="38421"/>
                      </a:cubicBezTo>
                      <a:cubicBezTo>
                        <a:pt x="40440" y="42754"/>
                        <a:pt x="34362" y="34766"/>
                        <a:pt x="29748" y="35598"/>
                      </a:cubicBezTo>
                      <a:cubicBezTo>
                        <a:pt x="28132" y="31475"/>
                        <a:pt x="16385" y="18933"/>
                        <a:pt x="11806" y="14798"/>
                      </a:cubicBezTo>
                      <a:cubicBezTo>
                        <a:pt x="8655" y="11964"/>
                        <a:pt x="-1183" y="9118"/>
                        <a:pt x="118" y="3239"/>
                      </a:cubicBezTo>
                      <a:cubicBezTo>
                        <a:pt x="1043" y="-977"/>
                        <a:pt x="5142" y="-895"/>
                        <a:pt x="7144" y="2431"/>
                      </a:cubicBezTo>
                      <a:lnTo>
                        <a:pt x="7144" y="2431"/>
                      </a:lnTo>
                      <a:close/>
                    </a:path>
                  </a:pathLst>
                </a:custGeom>
                <a:solidFill>
                  <a:srgbClr val="D6D6D2"/>
                </a:solidFill>
                <a:ln w="11699"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9DA9FCC0-647F-4E00-8A6D-86026A1CA036}"/>
                    </a:ext>
                  </a:extLst>
                </p:cNvPr>
                <p:cNvSpPr/>
                <p:nvPr/>
              </p:nvSpPr>
              <p:spPr>
                <a:xfrm>
                  <a:off x="1381" y="4881761"/>
                  <a:ext cx="19103" cy="96749"/>
                </a:xfrm>
                <a:custGeom>
                  <a:avLst/>
                  <a:gdLst>
                    <a:gd name="connsiteX0" fmla="*/ 0 w 19103"/>
                    <a:gd name="connsiteY0" fmla="*/ 0 h 96749"/>
                    <a:gd name="connsiteX1" fmla="*/ 15939 w 19103"/>
                    <a:gd name="connsiteY1" fmla="*/ 25918 h 96749"/>
                    <a:gd name="connsiteX2" fmla="*/ 16900 w 19103"/>
                    <a:gd name="connsiteY2" fmla="*/ 43544 h 96749"/>
                    <a:gd name="connsiteX3" fmla="*/ 0 w 19103"/>
                    <a:gd name="connsiteY3" fmla="*/ 96749 h 96749"/>
                    <a:gd name="connsiteX4" fmla="*/ 0 w 19103"/>
                    <a:gd name="connsiteY4" fmla="*/ 0 h 96749"/>
                    <a:gd name="connsiteX5" fmla="*/ 0 w 19103"/>
                    <a:gd name="connsiteY5" fmla="*/ 0 h 96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03" h="96749">
                      <a:moveTo>
                        <a:pt x="0" y="0"/>
                      </a:moveTo>
                      <a:cubicBezTo>
                        <a:pt x="5282" y="8643"/>
                        <a:pt x="10868" y="17146"/>
                        <a:pt x="15939" y="25918"/>
                      </a:cubicBezTo>
                      <a:cubicBezTo>
                        <a:pt x="20401" y="33612"/>
                        <a:pt x="19593" y="35006"/>
                        <a:pt x="16900" y="43544"/>
                      </a:cubicBezTo>
                      <a:cubicBezTo>
                        <a:pt x="11290" y="61286"/>
                        <a:pt x="5657" y="79030"/>
                        <a:pt x="0" y="96749"/>
                      </a:cubicBezTo>
                      <a:cubicBezTo>
                        <a:pt x="0" y="64496"/>
                        <a:pt x="0" y="32254"/>
                        <a:pt x="0" y="0"/>
                      </a:cubicBezTo>
                      <a:lnTo>
                        <a:pt x="0" y="0"/>
                      </a:lnTo>
                      <a:close/>
                    </a:path>
                  </a:pathLst>
                </a:custGeom>
                <a:solidFill>
                  <a:srgbClr val="D6D6D2"/>
                </a:solidFill>
                <a:ln w="11699"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A67805C1-52AE-4551-AECF-F2F0FCF48C74}"/>
                    </a:ext>
                  </a:extLst>
                </p:cNvPr>
                <p:cNvSpPr/>
                <p:nvPr/>
              </p:nvSpPr>
              <p:spPr>
                <a:xfrm>
                  <a:off x="6" y="545481"/>
                  <a:ext cx="5957508" cy="3102400"/>
                </a:xfrm>
                <a:custGeom>
                  <a:avLst/>
                  <a:gdLst>
                    <a:gd name="connsiteX0" fmla="*/ 4752263 w 5957508"/>
                    <a:gd name="connsiteY0" fmla="*/ 3052849 h 3102400"/>
                    <a:gd name="connsiteX1" fmla="*/ 4764700 w 5957508"/>
                    <a:gd name="connsiteY1" fmla="*/ 3051479 h 3102400"/>
                    <a:gd name="connsiteX2" fmla="*/ 4759500 w 5957508"/>
                    <a:gd name="connsiteY2" fmla="*/ 3056163 h 3102400"/>
                    <a:gd name="connsiteX3" fmla="*/ 4751853 w 5957508"/>
                    <a:gd name="connsiteY3" fmla="*/ 3061586 h 3102400"/>
                    <a:gd name="connsiteX4" fmla="*/ 4737541 w 5957508"/>
                    <a:gd name="connsiteY4" fmla="*/ 3068015 h 3102400"/>
                    <a:gd name="connsiteX5" fmla="*/ 4724377 w 5957508"/>
                    <a:gd name="connsiteY5" fmla="*/ 3082643 h 3102400"/>
                    <a:gd name="connsiteX6" fmla="*/ 4715758 w 5957508"/>
                    <a:gd name="connsiteY6" fmla="*/ 3088007 h 3102400"/>
                    <a:gd name="connsiteX7" fmla="*/ 4711705 w 5957508"/>
                    <a:gd name="connsiteY7" fmla="*/ 3102400 h 3102400"/>
                    <a:gd name="connsiteX8" fmla="*/ 4705803 w 5957508"/>
                    <a:gd name="connsiteY8" fmla="*/ 3097833 h 3102400"/>
                    <a:gd name="connsiteX9" fmla="*/ 4705756 w 5957508"/>
                    <a:gd name="connsiteY9" fmla="*/ 3089799 h 3102400"/>
                    <a:gd name="connsiteX10" fmla="*/ 4717924 w 5957508"/>
                    <a:gd name="connsiteY10" fmla="*/ 3079422 h 3102400"/>
                    <a:gd name="connsiteX11" fmla="*/ 4722761 w 5957508"/>
                    <a:gd name="connsiteY11" fmla="*/ 3072243 h 3102400"/>
                    <a:gd name="connsiteX12" fmla="*/ 4735140 w 5957508"/>
                    <a:gd name="connsiteY12" fmla="*/ 3058740 h 3102400"/>
                    <a:gd name="connsiteX13" fmla="*/ 4740340 w 5957508"/>
                    <a:gd name="connsiteY13" fmla="*/ 3048762 h 3102400"/>
                    <a:gd name="connsiteX14" fmla="*/ 4752263 w 5957508"/>
                    <a:gd name="connsiteY14" fmla="*/ 3052849 h 3102400"/>
                    <a:gd name="connsiteX15" fmla="*/ 4752263 w 5957508"/>
                    <a:gd name="connsiteY15" fmla="*/ 3052849 h 3102400"/>
                    <a:gd name="connsiteX16" fmla="*/ 4881792 w 5957508"/>
                    <a:gd name="connsiteY16" fmla="*/ 2994584 h 3102400"/>
                    <a:gd name="connsiteX17" fmla="*/ 4868570 w 5957508"/>
                    <a:gd name="connsiteY17" fmla="*/ 2996130 h 3102400"/>
                    <a:gd name="connsiteX18" fmla="*/ 4850464 w 5957508"/>
                    <a:gd name="connsiteY18" fmla="*/ 3003485 h 3102400"/>
                    <a:gd name="connsiteX19" fmla="*/ 4826326 w 5957508"/>
                    <a:gd name="connsiteY19" fmla="*/ 3018932 h 3102400"/>
                    <a:gd name="connsiteX20" fmla="*/ 4822344 w 5957508"/>
                    <a:gd name="connsiteY20" fmla="*/ 3016028 h 3102400"/>
                    <a:gd name="connsiteX21" fmla="*/ 4819604 w 5957508"/>
                    <a:gd name="connsiteY21" fmla="*/ 3020197 h 3102400"/>
                    <a:gd name="connsiteX22" fmla="*/ 4814181 w 5957508"/>
                    <a:gd name="connsiteY22" fmla="*/ 3028923 h 3102400"/>
                    <a:gd name="connsiteX23" fmla="*/ 4786074 w 5957508"/>
                    <a:gd name="connsiteY23" fmla="*/ 3050624 h 3102400"/>
                    <a:gd name="connsiteX24" fmla="*/ 4783743 w 5957508"/>
                    <a:gd name="connsiteY24" fmla="*/ 3040259 h 3102400"/>
                    <a:gd name="connsiteX25" fmla="*/ 4786952 w 5957508"/>
                    <a:gd name="connsiteY25" fmla="*/ 3037835 h 3102400"/>
                    <a:gd name="connsiteX26" fmla="*/ 4797328 w 5957508"/>
                    <a:gd name="connsiteY26" fmla="*/ 3034275 h 3102400"/>
                    <a:gd name="connsiteX27" fmla="*/ 4793265 w 5957508"/>
                    <a:gd name="connsiteY27" fmla="*/ 3027130 h 3102400"/>
                    <a:gd name="connsiteX28" fmla="*/ 4799179 w 5957508"/>
                    <a:gd name="connsiteY28" fmla="*/ 3028360 h 3102400"/>
                    <a:gd name="connsiteX29" fmla="*/ 4802107 w 5957508"/>
                    <a:gd name="connsiteY29" fmla="*/ 3024085 h 3102400"/>
                    <a:gd name="connsiteX30" fmla="*/ 4812999 w 5957508"/>
                    <a:gd name="connsiteY30" fmla="*/ 3015079 h 3102400"/>
                    <a:gd name="connsiteX31" fmla="*/ 4813198 w 5957508"/>
                    <a:gd name="connsiteY31" fmla="*/ 3011027 h 3102400"/>
                    <a:gd name="connsiteX32" fmla="*/ 4817344 w 5957508"/>
                    <a:gd name="connsiteY32" fmla="*/ 3011566 h 3102400"/>
                    <a:gd name="connsiteX33" fmla="*/ 4826525 w 5957508"/>
                    <a:gd name="connsiteY33" fmla="*/ 3004117 h 3102400"/>
                    <a:gd name="connsiteX34" fmla="*/ 4833704 w 5957508"/>
                    <a:gd name="connsiteY34" fmla="*/ 3001646 h 3102400"/>
                    <a:gd name="connsiteX35" fmla="*/ 4832639 w 5957508"/>
                    <a:gd name="connsiteY35" fmla="*/ 2996107 h 3102400"/>
                    <a:gd name="connsiteX36" fmla="*/ 4836632 w 5957508"/>
                    <a:gd name="connsiteY36" fmla="*/ 2988225 h 3102400"/>
                    <a:gd name="connsiteX37" fmla="*/ 4846107 w 5957508"/>
                    <a:gd name="connsiteY37" fmla="*/ 2999480 h 3102400"/>
                    <a:gd name="connsiteX38" fmla="*/ 4866310 w 5957508"/>
                    <a:gd name="connsiteY38" fmla="*/ 2988459 h 3102400"/>
                    <a:gd name="connsiteX39" fmla="*/ 4878571 w 5957508"/>
                    <a:gd name="connsiteY39" fmla="*/ 2982018 h 3102400"/>
                    <a:gd name="connsiteX40" fmla="*/ 4881687 w 5957508"/>
                    <a:gd name="connsiteY40" fmla="*/ 2987733 h 3102400"/>
                    <a:gd name="connsiteX41" fmla="*/ 4881792 w 5957508"/>
                    <a:gd name="connsiteY41" fmla="*/ 2994584 h 3102400"/>
                    <a:gd name="connsiteX42" fmla="*/ 4881792 w 5957508"/>
                    <a:gd name="connsiteY42" fmla="*/ 2994584 h 3102400"/>
                    <a:gd name="connsiteX43" fmla="*/ 4973224 w 5957508"/>
                    <a:gd name="connsiteY43" fmla="*/ 2936190 h 3102400"/>
                    <a:gd name="connsiteX44" fmla="*/ 4953830 w 5957508"/>
                    <a:gd name="connsiteY44" fmla="*/ 2955878 h 3102400"/>
                    <a:gd name="connsiteX45" fmla="*/ 4940127 w 5957508"/>
                    <a:gd name="connsiteY45" fmla="*/ 2963232 h 3102400"/>
                    <a:gd name="connsiteX46" fmla="*/ 4921459 w 5957508"/>
                    <a:gd name="connsiteY46" fmla="*/ 2974874 h 3102400"/>
                    <a:gd name="connsiteX47" fmla="*/ 4914127 w 5957508"/>
                    <a:gd name="connsiteY47" fmla="*/ 2978141 h 3102400"/>
                    <a:gd name="connsiteX48" fmla="*/ 4926858 w 5957508"/>
                    <a:gd name="connsiteY48" fmla="*/ 2960597 h 3102400"/>
                    <a:gd name="connsiteX49" fmla="*/ 4935735 w 5957508"/>
                    <a:gd name="connsiteY49" fmla="*/ 2956697 h 3102400"/>
                    <a:gd name="connsiteX50" fmla="*/ 4943781 w 5957508"/>
                    <a:gd name="connsiteY50" fmla="*/ 2947305 h 3102400"/>
                    <a:gd name="connsiteX51" fmla="*/ 4953022 w 5957508"/>
                    <a:gd name="connsiteY51" fmla="*/ 2940887 h 3102400"/>
                    <a:gd name="connsiteX52" fmla="*/ 4973224 w 5957508"/>
                    <a:gd name="connsiteY52" fmla="*/ 2936190 h 3102400"/>
                    <a:gd name="connsiteX53" fmla="*/ 4973224 w 5957508"/>
                    <a:gd name="connsiteY53" fmla="*/ 2936190 h 3102400"/>
                    <a:gd name="connsiteX54" fmla="*/ 5262721 w 5957508"/>
                    <a:gd name="connsiteY54" fmla="*/ 2650980 h 3102400"/>
                    <a:gd name="connsiteX55" fmla="*/ 5249218 w 5957508"/>
                    <a:gd name="connsiteY55" fmla="*/ 2668125 h 3102400"/>
                    <a:gd name="connsiteX56" fmla="*/ 5233618 w 5957508"/>
                    <a:gd name="connsiteY56" fmla="*/ 2673641 h 3102400"/>
                    <a:gd name="connsiteX57" fmla="*/ 5223335 w 5957508"/>
                    <a:gd name="connsiteY57" fmla="*/ 2684990 h 3102400"/>
                    <a:gd name="connsiteX58" fmla="*/ 5215453 w 5957508"/>
                    <a:gd name="connsiteY58" fmla="*/ 2679474 h 3102400"/>
                    <a:gd name="connsiteX59" fmla="*/ 5217503 w 5957508"/>
                    <a:gd name="connsiteY59" fmla="*/ 2673618 h 3102400"/>
                    <a:gd name="connsiteX60" fmla="*/ 5214388 w 5957508"/>
                    <a:gd name="connsiteY60" fmla="*/ 2667715 h 3102400"/>
                    <a:gd name="connsiteX61" fmla="*/ 5218311 w 5957508"/>
                    <a:gd name="connsiteY61" fmla="*/ 2664085 h 3102400"/>
                    <a:gd name="connsiteX62" fmla="*/ 5221731 w 5957508"/>
                    <a:gd name="connsiteY62" fmla="*/ 2664846 h 3102400"/>
                    <a:gd name="connsiteX63" fmla="*/ 5225069 w 5957508"/>
                    <a:gd name="connsiteY63" fmla="*/ 2661028 h 3102400"/>
                    <a:gd name="connsiteX64" fmla="*/ 5236886 w 5957508"/>
                    <a:gd name="connsiteY64" fmla="*/ 2658709 h 3102400"/>
                    <a:gd name="connsiteX65" fmla="*/ 5257381 w 5957508"/>
                    <a:gd name="connsiteY65" fmla="*/ 2632991 h 3102400"/>
                    <a:gd name="connsiteX66" fmla="*/ 5262721 w 5957508"/>
                    <a:gd name="connsiteY66" fmla="*/ 2650980 h 3102400"/>
                    <a:gd name="connsiteX67" fmla="*/ 5262721 w 5957508"/>
                    <a:gd name="connsiteY67" fmla="*/ 2650980 h 3102400"/>
                    <a:gd name="connsiteX68" fmla="*/ 4570184 w 5957508"/>
                    <a:gd name="connsiteY68" fmla="*/ 2385749 h 3102400"/>
                    <a:gd name="connsiteX69" fmla="*/ 4570640 w 5957508"/>
                    <a:gd name="connsiteY69" fmla="*/ 2415028 h 3102400"/>
                    <a:gd name="connsiteX70" fmla="*/ 4578487 w 5957508"/>
                    <a:gd name="connsiteY70" fmla="*/ 2427254 h 3102400"/>
                    <a:gd name="connsiteX71" fmla="*/ 4577761 w 5957508"/>
                    <a:gd name="connsiteY71" fmla="*/ 2427699 h 3102400"/>
                    <a:gd name="connsiteX72" fmla="*/ 4576683 w 5957508"/>
                    <a:gd name="connsiteY72" fmla="*/ 2429690 h 3102400"/>
                    <a:gd name="connsiteX73" fmla="*/ 4579892 w 5957508"/>
                    <a:gd name="connsiteY73" fmla="*/ 2431143 h 3102400"/>
                    <a:gd name="connsiteX74" fmla="*/ 4578159 w 5957508"/>
                    <a:gd name="connsiteY74" fmla="*/ 2432607 h 3102400"/>
                    <a:gd name="connsiteX75" fmla="*/ 4582047 w 5957508"/>
                    <a:gd name="connsiteY75" fmla="*/ 2434551 h 3102400"/>
                    <a:gd name="connsiteX76" fmla="*/ 4577761 w 5957508"/>
                    <a:gd name="connsiteY76" fmla="*/ 2436542 h 3102400"/>
                    <a:gd name="connsiteX77" fmla="*/ 4583090 w 5957508"/>
                    <a:gd name="connsiteY77" fmla="*/ 2437291 h 3102400"/>
                    <a:gd name="connsiteX78" fmla="*/ 4582539 w 5957508"/>
                    <a:gd name="connsiteY78" fmla="*/ 2443639 h 3102400"/>
                    <a:gd name="connsiteX79" fmla="*/ 4583265 w 5957508"/>
                    <a:gd name="connsiteY79" fmla="*/ 2449928 h 3102400"/>
                    <a:gd name="connsiteX80" fmla="*/ 4595879 w 5957508"/>
                    <a:gd name="connsiteY80" fmla="*/ 2483071 h 3102400"/>
                    <a:gd name="connsiteX81" fmla="*/ 4588477 w 5957508"/>
                    <a:gd name="connsiteY81" fmla="*/ 2523605 h 3102400"/>
                    <a:gd name="connsiteX82" fmla="*/ 4590655 w 5957508"/>
                    <a:gd name="connsiteY82" fmla="*/ 2513510 h 3102400"/>
                    <a:gd name="connsiteX83" fmla="*/ 4590761 w 5957508"/>
                    <a:gd name="connsiteY83" fmla="*/ 2508146 h 3102400"/>
                    <a:gd name="connsiteX84" fmla="*/ 4585127 w 5957508"/>
                    <a:gd name="connsiteY84" fmla="*/ 2524320 h 3102400"/>
                    <a:gd name="connsiteX85" fmla="*/ 4587060 w 5957508"/>
                    <a:gd name="connsiteY85" fmla="*/ 2523078 h 3102400"/>
                    <a:gd name="connsiteX86" fmla="*/ 4586287 w 5957508"/>
                    <a:gd name="connsiteY86" fmla="*/ 2538771 h 3102400"/>
                    <a:gd name="connsiteX87" fmla="*/ 4584401 w 5957508"/>
                    <a:gd name="connsiteY87" fmla="*/ 2536464 h 3102400"/>
                    <a:gd name="connsiteX88" fmla="*/ 4584928 w 5957508"/>
                    <a:gd name="connsiteY88" fmla="*/ 2549452 h 3102400"/>
                    <a:gd name="connsiteX89" fmla="*/ 4590819 w 5957508"/>
                    <a:gd name="connsiteY89" fmla="*/ 2554711 h 3102400"/>
                    <a:gd name="connsiteX90" fmla="*/ 4594965 w 5957508"/>
                    <a:gd name="connsiteY90" fmla="*/ 2567605 h 3102400"/>
                    <a:gd name="connsiteX91" fmla="*/ 4590737 w 5957508"/>
                    <a:gd name="connsiteY91" fmla="*/ 2581226 h 3102400"/>
                    <a:gd name="connsiteX92" fmla="*/ 4597448 w 5957508"/>
                    <a:gd name="connsiteY92" fmla="*/ 2571868 h 3102400"/>
                    <a:gd name="connsiteX93" fmla="*/ 4603152 w 5957508"/>
                    <a:gd name="connsiteY93" fmla="*/ 2592785 h 3102400"/>
                    <a:gd name="connsiteX94" fmla="*/ 4598174 w 5957508"/>
                    <a:gd name="connsiteY94" fmla="*/ 2592317 h 3102400"/>
                    <a:gd name="connsiteX95" fmla="*/ 4603585 w 5957508"/>
                    <a:gd name="connsiteY95" fmla="*/ 2601756 h 3102400"/>
                    <a:gd name="connsiteX96" fmla="*/ 4604229 w 5957508"/>
                    <a:gd name="connsiteY96" fmla="*/ 2595151 h 3102400"/>
                    <a:gd name="connsiteX97" fmla="*/ 4610998 w 5957508"/>
                    <a:gd name="connsiteY97" fmla="*/ 2623610 h 3102400"/>
                    <a:gd name="connsiteX98" fmla="*/ 4617990 w 5957508"/>
                    <a:gd name="connsiteY98" fmla="*/ 2656765 h 3102400"/>
                    <a:gd name="connsiteX99" fmla="*/ 4630205 w 5957508"/>
                    <a:gd name="connsiteY99" fmla="*/ 2683140 h 3102400"/>
                    <a:gd name="connsiteX100" fmla="*/ 4637373 w 5957508"/>
                    <a:gd name="connsiteY100" fmla="*/ 2706527 h 3102400"/>
                    <a:gd name="connsiteX101" fmla="*/ 4642104 w 5957508"/>
                    <a:gd name="connsiteY101" fmla="*/ 2723099 h 3102400"/>
                    <a:gd name="connsiteX102" fmla="*/ 4652773 w 5957508"/>
                    <a:gd name="connsiteY102" fmla="*/ 2750914 h 3102400"/>
                    <a:gd name="connsiteX103" fmla="*/ 4667178 w 5957508"/>
                    <a:gd name="connsiteY103" fmla="*/ 2765190 h 3102400"/>
                    <a:gd name="connsiteX104" fmla="*/ 4670012 w 5957508"/>
                    <a:gd name="connsiteY104" fmla="*/ 2776656 h 3102400"/>
                    <a:gd name="connsiteX105" fmla="*/ 4664309 w 5957508"/>
                    <a:gd name="connsiteY105" fmla="*/ 2767451 h 3102400"/>
                    <a:gd name="connsiteX106" fmla="*/ 4651379 w 5957508"/>
                    <a:gd name="connsiteY106" fmla="*/ 2752015 h 3102400"/>
                    <a:gd name="connsiteX107" fmla="*/ 4638473 w 5957508"/>
                    <a:gd name="connsiteY107" fmla="*/ 2739460 h 3102400"/>
                    <a:gd name="connsiteX108" fmla="*/ 4614242 w 5957508"/>
                    <a:gd name="connsiteY108" fmla="*/ 2730946 h 3102400"/>
                    <a:gd name="connsiteX109" fmla="*/ 4616385 w 5957508"/>
                    <a:gd name="connsiteY109" fmla="*/ 2730068 h 3102400"/>
                    <a:gd name="connsiteX110" fmla="*/ 4602519 w 5957508"/>
                    <a:gd name="connsiteY110" fmla="*/ 2728217 h 3102400"/>
                    <a:gd name="connsiteX111" fmla="*/ 4594133 w 5957508"/>
                    <a:gd name="connsiteY111" fmla="*/ 2725348 h 3102400"/>
                    <a:gd name="connsiteX112" fmla="*/ 4595141 w 5957508"/>
                    <a:gd name="connsiteY112" fmla="*/ 2731204 h 3102400"/>
                    <a:gd name="connsiteX113" fmla="*/ 4613165 w 5957508"/>
                    <a:gd name="connsiteY113" fmla="*/ 2731450 h 3102400"/>
                    <a:gd name="connsiteX114" fmla="*/ 4578194 w 5957508"/>
                    <a:gd name="connsiteY114" fmla="*/ 2745773 h 3102400"/>
                    <a:gd name="connsiteX115" fmla="*/ 4576109 w 5957508"/>
                    <a:gd name="connsiteY115" fmla="*/ 2762122 h 3102400"/>
                    <a:gd name="connsiteX116" fmla="*/ 4566728 w 5957508"/>
                    <a:gd name="connsiteY116" fmla="*/ 2784433 h 3102400"/>
                    <a:gd name="connsiteX117" fmla="*/ 4565241 w 5957508"/>
                    <a:gd name="connsiteY117" fmla="*/ 2856470 h 3102400"/>
                    <a:gd name="connsiteX118" fmla="*/ 4563473 w 5957508"/>
                    <a:gd name="connsiteY118" fmla="*/ 2856470 h 3102400"/>
                    <a:gd name="connsiteX119" fmla="*/ 4579693 w 5957508"/>
                    <a:gd name="connsiteY119" fmla="*/ 2871484 h 3102400"/>
                    <a:gd name="connsiteX120" fmla="*/ 4582445 w 5957508"/>
                    <a:gd name="connsiteY120" fmla="*/ 2885761 h 3102400"/>
                    <a:gd name="connsiteX121" fmla="*/ 4583476 w 5957508"/>
                    <a:gd name="connsiteY121" fmla="*/ 2894005 h 3102400"/>
                    <a:gd name="connsiteX122" fmla="*/ 4586931 w 5957508"/>
                    <a:gd name="connsiteY122" fmla="*/ 2894228 h 3102400"/>
                    <a:gd name="connsiteX123" fmla="*/ 4582761 w 5957508"/>
                    <a:gd name="connsiteY123" fmla="*/ 2898081 h 3102400"/>
                    <a:gd name="connsiteX124" fmla="*/ 4587247 w 5957508"/>
                    <a:gd name="connsiteY124" fmla="*/ 2904722 h 3102400"/>
                    <a:gd name="connsiteX125" fmla="*/ 4598502 w 5957508"/>
                    <a:gd name="connsiteY125" fmla="*/ 2903902 h 3102400"/>
                    <a:gd name="connsiteX126" fmla="*/ 4587435 w 5957508"/>
                    <a:gd name="connsiteY126" fmla="*/ 2898069 h 3102400"/>
                    <a:gd name="connsiteX127" fmla="*/ 4602109 w 5957508"/>
                    <a:gd name="connsiteY127" fmla="*/ 2895786 h 3102400"/>
                    <a:gd name="connsiteX128" fmla="*/ 4607485 w 5957508"/>
                    <a:gd name="connsiteY128" fmla="*/ 2925416 h 3102400"/>
                    <a:gd name="connsiteX129" fmla="*/ 4611045 w 5957508"/>
                    <a:gd name="connsiteY129" fmla="*/ 2926833 h 3102400"/>
                    <a:gd name="connsiteX130" fmla="*/ 4605014 w 5957508"/>
                    <a:gd name="connsiteY130" fmla="*/ 2936776 h 3102400"/>
                    <a:gd name="connsiteX131" fmla="*/ 4600856 w 5957508"/>
                    <a:gd name="connsiteY131" fmla="*/ 2949647 h 3102400"/>
                    <a:gd name="connsiteX132" fmla="*/ 4600446 w 5957508"/>
                    <a:gd name="connsiteY132" fmla="*/ 2937045 h 3102400"/>
                    <a:gd name="connsiteX133" fmla="*/ 4595914 w 5957508"/>
                    <a:gd name="connsiteY133" fmla="*/ 2918799 h 3102400"/>
                    <a:gd name="connsiteX134" fmla="*/ 4592822 w 5957508"/>
                    <a:gd name="connsiteY134" fmla="*/ 2914676 h 3102400"/>
                    <a:gd name="connsiteX135" fmla="*/ 4594216 w 5957508"/>
                    <a:gd name="connsiteY135" fmla="*/ 2917686 h 3102400"/>
                    <a:gd name="connsiteX136" fmla="*/ 4573474 w 5957508"/>
                    <a:gd name="connsiteY136" fmla="*/ 2911748 h 3102400"/>
                    <a:gd name="connsiteX137" fmla="*/ 4564585 w 5957508"/>
                    <a:gd name="connsiteY137" fmla="*/ 2905776 h 3102400"/>
                    <a:gd name="connsiteX138" fmla="*/ 4557289 w 5957508"/>
                    <a:gd name="connsiteY138" fmla="*/ 2904862 h 3102400"/>
                    <a:gd name="connsiteX139" fmla="*/ 4536103 w 5957508"/>
                    <a:gd name="connsiteY139" fmla="*/ 2950080 h 3102400"/>
                    <a:gd name="connsiteX140" fmla="*/ 4530013 w 5957508"/>
                    <a:gd name="connsiteY140" fmla="*/ 2957166 h 3102400"/>
                    <a:gd name="connsiteX141" fmla="*/ 4522576 w 5957508"/>
                    <a:gd name="connsiteY141" fmla="*/ 2942983 h 3102400"/>
                    <a:gd name="connsiteX142" fmla="*/ 4517493 w 5957508"/>
                    <a:gd name="connsiteY142" fmla="*/ 2910894 h 3102400"/>
                    <a:gd name="connsiteX143" fmla="*/ 4529533 w 5957508"/>
                    <a:gd name="connsiteY143" fmla="*/ 2878581 h 3102400"/>
                    <a:gd name="connsiteX144" fmla="*/ 4523958 w 5957508"/>
                    <a:gd name="connsiteY144" fmla="*/ 2856775 h 3102400"/>
                    <a:gd name="connsiteX145" fmla="*/ 4529474 w 5957508"/>
                    <a:gd name="connsiteY145" fmla="*/ 2834253 h 3102400"/>
                    <a:gd name="connsiteX146" fmla="*/ 4535143 w 5957508"/>
                    <a:gd name="connsiteY146" fmla="*/ 2808629 h 3102400"/>
                    <a:gd name="connsiteX147" fmla="*/ 4530868 w 5957508"/>
                    <a:gd name="connsiteY147" fmla="*/ 2792467 h 3102400"/>
                    <a:gd name="connsiteX148" fmla="*/ 4519109 w 5957508"/>
                    <a:gd name="connsiteY148" fmla="*/ 2771913 h 3102400"/>
                    <a:gd name="connsiteX149" fmla="*/ 4526441 w 5957508"/>
                    <a:gd name="connsiteY149" fmla="*/ 2754334 h 3102400"/>
                    <a:gd name="connsiteX150" fmla="*/ 4534182 w 5957508"/>
                    <a:gd name="connsiteY150" fmla="*/ 2701128 h 3102400"/>
                    <a:gd name="connsiteX151" fmla="*/ 4532578 w 5957508"/>
                    <a:gd name="connsiteY151" fmla="*/ 2657070 h 3102400"/>
                    <a:gd name="connsiteX152" fmla="*/ 4531184 w 5957508"/>
                    <a:gd name="connsiteY152" fmla="*/ 2629489 h 3102400"/>
                    <a:gd name="connsiteX153" fmla="*/ 4539476 w 5957508"/>
                    <a:gd name="connsiteY153" fmla="*/ 2605492 h 3102400"/>
                    <a:gd name="connsiteX154" fmla="*/ 4527917 w 5957508"/>
                    <a:gd name="connsiteY154" fmla="*/ 2581823 h 3102400"/>
                    <a:gd name="connsiteX155" fmla="*/ 4509869 w 5957508"/>
                    <a:gd name="connsiteY155" fmla="*/ 2564748 h 3102400"/>
                    <a:gd name="connsiteX156" fmla="*/ 4516861 w 5957508"/>
                    <a:gd name="connsiteY156" fmla="*/ 2564748 h 3102400"/>
                    <a:gd name="connsiteX157" fmla="*/ 4507375 w 5957508"/>
                    <a:gd name="connsiteY157" fmla="*/ 2555203 h 3102400"/>
                    <a:gd name="connsiteX158" fmla="*/ 4508932 w 5957508"/>
                    <a:gd name="connsiteY158" fmla="*/ 2527318 h 3102400"/>
                    <a:gd name="connsiteX159" fmla="*/ 4518044 w 5957508"/>
                    <a:gd name="connsiteY159" fmla="*/ 2505792 h 3102400"/>
                    <a:gd name="connsiteX160" fmla="*/ 4521709 w 5957508"/>
                    <a:gd name="connsiteY160" fmla="*/ 2477696 h 3102400"/>
                    <a:gd name="connsiteX161" fmla="*/ 4517610 w 5957508"/>
                    <a:gd name="connsiteY161" fmla="*/ 2465340 h 3102400"/>
                    <a:gd name="connsiteX162" fmla="*/ 4514132 w 5957508"/>
                    <a:gd name="connsiteY162" fmla="*/ 2450654 h 3102400"/>
                    <a:gd name="connsiteX163" fmla="*/ 4538761 w 5957508"/>
                    <a:gd name="connsiteY163" fmla="*/ 2439446 h 3102400"/>
                    <a:gd name="connsiteX164" fmla="*/ 4543774 w 5957508"/>
                    <a:gd name="connsiteY164" fmla="*/ 2451076 h 3102400"/>
                    <a:gd name="connsiteX165" fmla="*/ 4562056 w 5957508"/>
                    <a:gd name="connsiteY165" fmla="*/ 2439446 h 3102400"/>
                    <a:gd name="connsiteX166" fmla="*/ 4553026 w 5957508"/>
                    <a:gd name="connsiteY166" fmla="*/ 2438287 h 3102400"/>
                    <a:gd name="connsiteX167" fmla="*/ 4559666 w 5957508"/>
                    <a:gd name="connsiteY167" fmla="*/ 2428590 h 3102400"/>
                    <a:gd name="connsiteX168" fmla="*/ 4568157 w 5957508"/>
                    <a:gd name="connsiteY168" fmla="*/ 2426798 h 3102400"/>
                    <a:gd name="connsiteX169" fmla="*/ 4564761 w 5957508"/>
                    <a:gd name="connsiteY169" fmla="*/ 2416901 h 3102400"/>
                    <a:gd name="connsiteX170" fmla="*/ 4557711 w 5957508"/>
                    <a:gd name="connsiteY170" fmla="*/ 2427465 h 3102400"/>
                    <a:gd name="connsiteX171" fmla="*/ 4557429 w 5957508"/>
                    <a:gd name="connsiteY171" fmla="*/ 2403152 h 3102400"/>
                    <a:gd name="connsiteX172" fmla="*/ 4540952 w 5957508"/>
                    <a:gd name="connsiteY172" fmla="*/ 2384086 h 3102400"/>
                    <a:gd name="connsiteX173" fmla="*/ 4554232 w 5957508"/>
                    <a:gd name="connsiteY173" fmla="*/ 2384613 h 3102400"/>
                    <a:gd name="connsiteX174" fmla="*/ 4555942 w 5957508"/>
                    <a:gd name="connsiteY174" fmla="*/ 2386053 h 3102400"/>
                    <a:gd name="connsiteX175" fmla="*/ 4561833 w 5957508"/>
                    <a:gd name="connsiteY175" fmla="*/ 2378394 h 3102400"/>
                    <a:gd name="connsiteX176" fmla="*/ 4565581 w 5957508"/>
                    <a:gd name="connsiteY176" fmla="*/ 2377293 h 3102400"/>
                    <a:gd name="connsiteX177" fmla="*/ 4570184 w 5957508"/>
                    <a:gd name="connsiteY177" fmla="*/ 2385749 h 3102400"/>
                    <a:gd name="connsiteX178" fmla="*/ 4570184 w 5957508"/>
                    <a:gd name="connsiteY178" fmla="*/ 2385749 h 3102400"/>
                    <a:gd name="connsiteX179" fmla="*/ 4306428 w 5957508"/>
                    <a:gd name="connsiteY179" fmla="*/ 2323853 h 3102400"/>
                    <a:gd name="connsiteX180" fmla="*/ 4311476 w 5957508"/>
                    <a:gd name="connsiteY180" fmla="*/ 2333632 h 3102400"/>
                    <a:gd name="connsiteX181" fmla="*/ 4328633 w 5957508"/>
                    <a:gd name="connsiteY181" fmla="*/ 2331196 h 3102400"/>
                    <a:gd name="connsiteX182" fmla="*/ 4317296 w 5957508"/>
                    <a:gd name="connsiteY182" fmla="*/ 2344430 h 3102400"/>
                    <a:gd name="connsiteX183" fmla="*/ 4303969 w 5957508"/>
                    <a:gd name="connsiteY183" fmla="*/ 2358707 h 3102400"/>
                    <a:gd name="connsiteX184" fmla="*/ 4299799 w 5957508"/>
                    <a:gd name="connsiteY184" fmla="*/ 2359000 h 3102400"/>
                    <a:gd name="connsiteX185" fmla="*/ 4293780 w 5957508"/>
                    <a:gd name="connsiteY185" fmla="*/ 2349419 h 3102400"/>
                    <a:gd name="connsiteX186" fmla="*/ 4287865 w 5957508"/>
                    <a:gd name="connsiteY186" fmla="*/ 2343564 h 3102400"/>
                    <a:gd name="connsiteX187" fmla="*/ 4277184 w 5957508"/>
                    <a:gd name="connsiteY187" fmla="*/ 2349911 h 3102400"/>
                    <a:gd name="connsiteX188" fmla="*/ 4281494 w 5957508"/>
                    <a:gd name="connsiteY188" fmla="*/ 2338657 h 3102400"/>
                    <a:gd name="connsiteX189" fmla="*/ 4290055 w 5957508"/>
                    <a:gd name="connsiteY189" fmla="*/ 2330880 h 3102400"/>
                    <a:gd name="connsiteX190" fmla="*/ 4295021 w 5957508"/>
                    <a:gd name="connsiteY190" fmla="*/ 2319696 h 3102400"/>
                    <a:gd name="connsiteX191" fmla="*/ 4306428 w 5957508"/>
                    <a:gd name="connsiteY191" fmla="*/ 2323853 h 3102400"/>
                    <a:gd name="connsiteX192" fmla="*/ 4306428 w 5957508"/>
                    <a:gd name="connsiteY192" fmla="*/ 2323853 h 3102400"/>
                    <a:gd name="connsiteX193" fmla="*/ 5775803 w 5957508"/>
                    <a:gd name="connsiteY193" fmla="*/ 2307375 h 3102400"/>
                    <a:gd name="connsiteX194" fmla="*/ 5793125 w 5957508"/>
                    <a:gd name="connsiteY194" fmla="*/ 2311767 h 3102400"/>
                    <a:gd name="connsiteX195" fmla="*/ 5801885 w 5957508"/>
                    <a:gd name="connsiteY195" fmla="*/ 2336994 h 3102400"/>
                    <a:gd name="connsiteX196" fmla="*/ 5812776 w 5957508"/>
                    <a:gd name="connsiteY196" fmla="*/ 2356997 h 3102400"/>
                    <a:gd name="connsiteX197" fmla="*/ 5804203 w 5957508"/>
                    <a:gd name="connsiteY197" fmla="*/ 2346538 h 3102400"/>
                    <a:gd name="connsiteX198" fmla="*/ 5797633 w 5957508"/>
                    <a:gd name="connsiteY198" fmla="*/ 2345918 h 3102400"/>
                    <a:gd name="connsiteX199" fmla="*/ 5792832 w 5957508"/>
                    <a:gd name="connsiteY199" fmla="*/ 2340495 h 3102400"/>
                    <a:gd name="connsiteX200" fmla="*/ 5783509 w 5957508"/>
                    <a:gd name="connsiteY200" fmla="*/ 2330599 h 3102400"/>
                    <a:gd name="connsiteX201" fmla="*/ 5777747 w 5957508"/>
                    <a:gd name="connsiteY201" fmla="*/ 2317728 h 3102400"/>
                    <a:gd name="connsiteX202" fmla="*/ 5764876 w 5957508"/>
                    <a:gd name="connsiteY202" fmla="*/ 2312259 h 3102400"/>
                    <a:gd name="connsiteX203" fmla="*/ 5775803 w 5957508"/>
                    <a:gd name="connsiteY203" fmla="*/ 2307375 h 3102400"/>
                    <a:gd name="connsiteX204" fmla="*/ 5775803 w 5957508"/>
                    <a:gd name="connsiteY204" fmla="*/ 2307375 h 3102400"/>
                    <a:gd name="connsiteX205" fmla="*/ 5704082 w 5957508"/>
                    <a:gd name="connsiteY205" fmla="*/ 2021426 h 3102400"/>
                    <a:gd name="connsiteX206" fmla="*/ 5710254 w 5957508"/>
                    <a:gd name="connsiteY206" fmla="*/ 2038115 h 3102400"/>
                    <a:gd name="connsiteX207" fmla="*/ 5703309 w 5957508"/>
                    <a:gd name="connsiteY207" fmla="*/ 2046044 h 3102400"/>
                    <a:gd name="connsiteX208" fmla="*/ 5693541 w 5957508"/>
                    <a:gd name="connsiteY208" fmla="*/ 2046606 h 3102400"/>
                    <a:gd name="connsiteX209" fmla="*/ 5688505 w 5957508"/>
                    <a:gd name="connsiteY209" fmla="*/ 2050389 h 3102400"/>
                    <a:gd name="connsiteX210" fmla="*/ 5681830 w 5957508"/>
                    <a:gd name="connsiteY210" fmla="*/ 2049534 h 3102400"/>
                    <a:gd name="connsiteX211" fmla="*/ 5671852 w 5957508"/>
                    <a:gd name="connsiteY211" fmla="*/ 2057486 h 3102400"/>
                    <a:gd name="connsiteX212" fmla="*/ 5647175 w 5957508"/>
                    <a:gd name="connsiteY212" fmla="*/ 2077970 h 3102400"/>
                    <a:gd name="connsiteX213" fmla="*/ 5643346 w 5957508"/>
                    <a:gd name="connsiteY213" fmla="*/ 2069924 h 3102400"/>
                    <a:gd name="connsiteX214" fmla="*/ 5650583 w 5957508"/>
                    <a:gd name="connsiteY214" fmla="*/ 2068167 h 3102400"/>
                    <a:gd name="connsiteX215" fmla="*/ 5655549 w 5957508"/>
                    <a:gd name="connsiteY215" fmla="*/ 2059946 h 3102400"/>
                    <a:gd name="connsiteX216" fmla="*/ 5669252 w 5957508"/>
                    <a:gd name="connsiteY216" fmla="*/ 2035925 h 3102400"/>
                    <a:gd name="connsiteX217" fmla="*/ 5657938 w 5957508"/>
                    <a:gd name="connsiteY217" fmla="*/ 2036113 h 3102400"/>
                    <a:gd name="connsiteX218" fmla="*/ 5669263 w 5957508"/>
                    <a:gd name="connsiteY218" fmla="*/ 2033232 h 3102400"/>
                    <a:gd name="connsiteX219" fmla="*/ 5687217 w 5957508"/>
                    <a:gd name="connsiteY219" fmla="*/ 2027282 h 3102400"/>
                    <a:gd name="connsiteX220" fmla="*/ 5704082 w 5957508"/>
                    <a:gd name="connsiteY220" fmla="*/ 2021426 h 3102400"/>
                    <a:gd name="connsiteX221" fmla="*/ 5704082 w 5957508"/>
                    <a:gd name="connsiteY221" fmla="*/ 2021426 h 3102400"/>
                    <a:gd name="connsiteX222" fmla="*/ 732936 w 5957508"/>
                    <a:gd name="connsiteY222" fmla="*/ 1397530 h 3102400"/>
                    <a:gd name="connsiteX223" fmla="*/ 739694 w 5957508"/>
                    <a:gd name="connsiteY223" fmla="*/ 1396605 h 3102400"/>
                    <a:gd name="connsiteX224" fmla="*/ 744648 w 5957508"/>
                    <a:gd name="connsiteY224" fmla="*/ 1401524 h 3102400"/>
                    <a:gd name="connsiteX225" fmla="*/ 753010 w 5957508"/>
                    <a:gd name="connsiteY225" fmla="*/ 1406361 h 3102400"/>
                    <a:gd name="connsiteX226" fmla="*/ 746534 w 5957508"/>
                    <a:gd name="connsiteY226" fmla="*/ 1400235 h 3102400"/>
                    <a:gd name="connsiteX227" fmla="*/ 759088 w 5957508"/>
                    <a:gd name="connsiteY227" fmla="*/ 1401594 h 3102400"/>
                    <a:gd name="connsiteX228" fmla="*/ 757671 w 5957508"/>
                    <a:gd name="connsiteY228" fmla="*/ 1402133 h 3102400"/>
                    <a:gd name="connsiteX229" fmla="*/ 774512 w 5957508"/>
                    <a:gd name="connsiteY229" fmla="*/ 1406255 h 3102400"/>
                    <a:gd name="connsiteX230" fmla="*/ 777335 w 5957508"/>
                    <a:gd name="connsiteY230" fmla="*/ 1418341 h 3102400"/>
                    <a:gd name="connsiteX231" fmla="*/ 772674 w 5957508"/>
                    <a:gd name="connsiteY231" fmla="*/ 1418880 h 3102400"/>
                    <a:gd name="connsiteX232" fmla="*/ 764792 w 5957508"/>
                    <a:gd name="connsiteY232" fmla="*/ 1424115 h 3102400"/>
                    <a:gd name="connsiteX233" fmla="*/ 746393 w 5957508"/>
                    <a:gd name="connsiteY233" fmla="*/ 1414406 h 3102400"/>
                    <a:gd name="connsiteX234" fmla="*/ 732995 w 5957508"/>
                    <a:gd name="connsiteY234" fmla="*/ 1400388 h 3102400"/>
                    <a:gd name="connsiteX235" fmla="*/ 733721 w 5957508"/>
                    <a:gd name="connsiteY235" fmla="*/ 1401582 h 3102400"/>
                    <a:gd name="connsiteX236" fmla="*/ 732936 w 5957508"/>
                    <a:gd name="connsiteY236" fmla="*/ 1397530 h 3102400"/>
                    <a:gd name="connsiteX237" fmla="*/ 732936 w 5957508"/>
                    <a:gd name="connsiteY237" fmla="*/ 1397530 h 3102400"/>
                    <a:gd name="connsiteX238" fmla="*/ 5536841 w 5957508"/>
                    <a:gd name="connsiteY238" fmla="*/ 1150089 h 3102400"/>
                    <a:gd name="connsiteX239" fmla="*/ 5532566 w 5957508"/>
                    <a:gd name="connsiteY239" fmla="*/ 1162257 h 3102400"/>
                    <a:gd name="connsiteX240" fmla="*/ 5536045 w 5957508"/>
                    <a:gd name="connsiteY240" fmla="*/ 1167574 h 3102400"/>
                    <a:gd name="connsiteX241" fmla="*/ 5535846 w 5957508"/>
                    <a:gd name="connsiteY241" fmla="*/ 1175538 h 3102400"/>
                    <a:gd name="connsiteX242" fmla="*/ 5534757 w 5957508"/>
                    <a:gd name="connsiteY242" fmla="*/ 1179696 h 3102400"/>
                    <a:gd name="connsiteX243" fmla="*/ 5537567 w 5957508"/>
                    <a:gd name="connsiteY243" fmla="*/ 1183045 h 3102400"/>
                    <a:gd name="connsiteX244" fmla="*/ 5537743 w 5957508"/>
                    <a:gd name="connsiteY244" fmla="*/ 1190915 h 3102400"/>
                    <a:gd name="connsiteX245" fmla="*/ 5538657 w 5957508"/>
                    <a:gd name="connsiteY245" fmla="*/ 1210005 h 3102400"/>
                    <a:gd name="connsiteX246" fmla="*/ 5526617 w 5957508"/>
                    <a:gd name="connsiteY246" fmla="*/ 1192836 h 3102400"/>
                    <a:gd name="connsiteX247" fmla="*/ 5523959 w 5957508"/>
                    <a:gd name="connsiteY247" fmla="*/ 1178700 h 3102400"/>
                    <a:gd name="connsiteX248" fmla="*/ 5526125 w 5957508"/>
                    <a:gd name="connsiteY248" fmla="*/ 1170420 h 3102400"/>
                    <a:gd name="connsiteX249" fmla="*/ 5521112 w 5957508"/>
                    <a:gd name="connsiteY249" fmla="*/ 1159388 h 3102400"/>
                    <a:gd name="connsiteX250" fmla="*/ 5536841 w 5957508"/>
                    <a:gd name="connsiteY250" fmla="*/ 1150089 h 3102400"/>
                    <a:gd name="connsiteX251" fmla="*/ 5536841 w 5957508"/>
                    <a:gd name="connsiteY251" fmla="*/ 1150089 h 3102400"/>
                    <a:gd name="connsiteX252" fmla="*/ 5956102 w 5957508"/>
                    <a:gd name="connsiteY252" fmla="*/ 1129313 h 3102400"/>
                    <a:gd name="connsiteX253" fmla="*/ 5941849 w 5957508"/>
                    <a:gd name="connsiteY253" fmla="*/ 1147653 h 3102400"/>
                    <a:gd name="connsiteX254" fmla="*/ 5889405 w 5957508"/>
                    <a:gd name="connsiteY254" fmla="*/ 1134618 h 3102400"/>
                    <a:gd name="connsiteX255" fmla="*/ 5882027 w 5957508"/>
                    <a:gd name="connsiteY255" fmla="*/ 1129102 h 3102400"/>
                    <a:gd name="connsiteX256" fmla="*/ 5871522 w 5957508"/>
                    <a:gd name="connsiteY256" fmla="*/ 1125741 h 3102400"/>
                    <a:gd name="connsiteX257" fmla="*/ 5883690 w 5957508"/>
                    <a:gd name="connsiteY257" fmla="*/ 1111101 h 3102400"/>
                    <a:gd name="connsiteX258" fmla="*/ 5924926 w 5957508"/>
                    <a:gd name="connsiteY258" fmla="*/ 1112987 h 3102400"/>
                    <a:gd name="connsiteX259" fmla="*/ 5956102 w 5957508"/>
                    <a:gd name="connsiteY259" fmla="*/ 1129313 h 3102400"/>
                    <a:gd name="connsiteX260" fmla="*/ 5956102 w 5957508"/>
                    <a:gd name="connsiteY260" fmla="*/ 1129313 h 3102400"/>
                    <a:gd name="connsiteX261" fmla="*/ 215064 w 5957508"/>
                    <a:gd name="connsiteY261" fmla="*/ 1074866 h 3102400"/>
                    <a:gd name="connsiteX262" fmla="*/ 225054 w 5957508"/>
                    <a:gd name="connsiteY262" fmla="*/ 1084211 h 3102400"/>
                    <a:gd name="connsiteX263" fmla="*/ 226776 w 5957508"/>
                    <a:gd name="connsiteY263" fmla="*/ 1089189 h 3102400"/>
                    <a:gd name="connsiteX264" fmla="*/ 234857 w 5957508"/>
                    <a:gd name="connsiteY264" fmla="*/ 1091555 h 3102400"/>
                    <a:gd name="connsiteX265" fmla="*/ 243875 w 5957508"/>
                    <a:gd name="connsiteY265" fmla="*/ 1098019 h 3102400"/>
                    <a:gd name="connsiteX266" fmla="*/ 253982 w 5957508"/>
                    <a:gd name="connsiteY266" fmla="*/ 1101826 h 3102400"/>
                    <a:gd name="connsiteX267" fmla="*/ 265143 w 5957508"/>
                    <a:gd name="connsiteY267" fmla="*/ 1110258 h 3102400"/>
                    <a:gd name="connsiteX268" fmla="*/ 270460 w 5957508"/>
                    <a:gd name="connsiteY268" fmla="*/ 1111382 h 3102400"/>
                    <a:gd name="connsiteX269" fmla="*/ 272955 w 5957508"/>
                    <a:gd name="connsiteY269" fmla="*/ 1120412 h 3102400"/>
                    <a:gd name="connsiteX270" fmla="*/ 276714 w 5957508"/>
                    <a:gd name="connsiteY270" fmla="*/ 1126607 h 3102400"/>
                    <a:gd name="connsiteX271" fmla="*/ 273692 w 5957508"/>
                    <a:gd name="connsiteY271" fmla="*/ 1133728 h 3102400"/>
                    <a:gd name="connsiteX272" fmla="*/ 256593 w 5957508"/>
                    <a:gd name="connsiteY272" fmla="*/ 1135777 h 3102400"/>
                    <a:gd name="connsiteX273" fmla="*/ 245432 w 5957508"/>
                    <a:gd name="connsiteY273" fmla="*/ 1138787 h 3102400"/>
                    <a:gd name="connsiteX274" fmla="*/ 226108 w 5957508"/>
                    <a:gd name="connsiteY274" fmla="*/ 1134407 h 3102400"/>
                    <a:gd name="connsiteX275" fmla="*/ 221623 w 5957508"/>
                    <a:gd name="connsiteY275" fmla="*/ 1120623 h 3102400"/>
                    <a:gd name="connsiteX276" fmla="*/ 193562 w 5957508"/>
                    <a:gd name="connsiteY276" fmla="*/ 1113303 h 3102400"/>
                    <a:gd name="connsiteX277" fmla="*/ 203611 w 5957508"/>
                    <a:gd name="connsiteY277" fmla="*/ 1119721 h 3102400"/>
                    <a:gd name="connsiteX278" fmla="*/ 191981 w 5957508"/>
                    <a:gd name="connsiteY278" fmla="*/ 1115095 h 3102400"/>
                    <a:gd name="connsiteX279" fmla="*/ 178548 w 5957508"/>
                    <a:gd name="connsiteY279" fmla="*/ 1105152 h 3102400"/>
                    <a:gd name="connsiteX280" fmla="*/ 173207 w 5957508"/>
                    <a:gd name="connsiteY280" fmla="*/ 1095396 h 3102400"/>
                    <a:gd name="connsiteX281" fmla="*/ 176452 w 5957508"/>
                    <a:gd name="connsiteY281" fmla="*/ 1094822 h 3102400"/>
                    <a:gd name="connsiteX282" fmla="*/ 175374 w 5957508"/>
                    <a:gd name="connsiteY282" fmla="*/ 1090981 h 3102400"/>
                    <a:gd name="connsiteX283" fmla="*/ 168171 w 5957508"/>
                    <a:gd name="connsiteY283" fmla="*/ 1089646 h 3102400"/>
                    <a:gd name="connsiteX284" fmla="*/ 170713 w 5957508"/>
                    <a:gd name="connsiteY284" fmla="*/ 1086460 h 3102400"/>
                    <a:gd name="connsiteX285" fmla="*/ 167445 w 5957508"/>
                    <a:gd name="connsiteY285" fmla="*/ 1082584 h 3102400"/>
                    <a:gd name="connsiteX286" fmla="*/ 187554 w 5957508"/>
                    <a:gd name="connsiteY286" fmla="*/ 1087725 h 3102400"/>
                    <a:gd name="connsiteX287" fmla="*/ 170350 w 5957508"/>
                    <a:gd name="connsiteY287" fmla="*/ 1076833 h 3102400"/>
                    <a:gd name="connsiteX288" fmla="*/ 177880 w 5957508"/>
                    <a:gd name="connsiteY288" fmla="*/ 1076833 h 3102400"/>
                    <a:gd name="connsiteX289" fmla="*/ 184287 w 5957508"/>
                    <a:gd name="connsiteY289" fmla="*/ 1070732 h 3102400"/>
                    <a:gd name="connsiteX290" fmla="*/ 182670 w 5957508"/>
                    <a:gd name="connsiteY290" fmla="*/ 1068729 h 3102400"/>
                    <a:gd name="connsiteX291" fmla="*/ 189440 w 5957508"/>
                    <a:gd name="connsiteY291" fmla="*/ 1067183 h 3102400"/>
                    <a:gd name="connsiteX292" fmla="*/ 196806 w 5957508"/>
                    <a:gd name="connsiteY292" fmla="*/ 1063353 h 3102400"/>
                    <a:gd name="connsiteX293" fmla="*/ 199512 w 5957508"/>
                    <a:gd name="connsiteY293" fmla="*/ 1065801 h 3102400"/>
                    <a:gd name="connsiteX294" fmla="*/ 215064 w 5957508"/>
                    <a:gd name="connsiteY294" fmla="*/ 1074866 h 3102400"/>
                    <a:gd name="connsiteX295" fmla="*/ 215064 w 5957508"/>
                    <a:gd name="connsiteY295" fmla="*/ 1074866 h 3102400"/>
                    <a:gd name="connsiteX296" fmla="*/ 1458770 w 5957508"/>
                    <a:gd name="connsiteY296" fmla="*/ 1072441 h 3102400"/>
                    <a:gd name="connsiteX297" fmla="*/ 1452024 w 5957508"/>
                    <a:gd name="connsiteY297" fmla="*/ 1073718 h 3102400"/>
                    <a:gd name="connsiteX298" fmla="*/ 1467999 w 5957508"/>
                    <a:gd name="connsiteY298" fmla="*/ 1033770 h 3102400"/>
                    <a:gd name="connsiteX299" fmla="*/ 1464333 w 5957508"/>
                    <a:gd name="connsiteY299" fmla="*/ 1051091 h 3102400"/>
                    <a:gd name="connsiteX300" fmla="*/ 1462155 w 5957508"/>
                    <a:gd name="connsiteY300" fmla="*/ 1056444 h 3102400"/>
                    <a:gd name="connsiteX301" fmla="*/ 1464720 w 5957508"/>
                    <a:gd name="connsiteY301" fmla="*/ 1062861 h 3102400"/>
                    <a:gd name="connsiteX302" fmla="*/ 1458770 w 5957508"/>
                    <a:gd name="connsiteY302" fmla="*/ 1072441 h 3102400"/>
                    <a:gd name="connsiteX303" fmla="*/ 1458770 w 5957508"/>
                    <a:gd name="connsiteY303" fmla="*/ 1072441 h 3102400"/>
                    <a:gd name="connsiteX304" fmla="*/ 4310785 w 5957508"/>
                    <a:gd name="connsiteY304" fmla="*/ 958113 h 3102400"/>
                    <a:gd name="connsiteX305" fmla="*/ 4301568 w 5957508"/>
                    <a:gd name="connsiteY305" fmla="*/ 973538 h 3102400"/>
                    <a:gd name="connsiteX306" fmla="*/ 4279327 w 5957508"/>
                    <a:gd name="connsiteY306" fmla="*/ 966721 h 3102400"/>
                    <a:gd name="connsiteX307" fmla="*/ 4286835 w 5957508"/>
                    <a:gd name="connsiteY307" fmla="*/ 970001 h 3102400"/>
                    <a:gd name="connsiteX308" fmla="*/ 4285066 w 5957508"/>
                    <a:gd name="connsiteY308" fmla="*/ 970715 h 3102400"/>
                    <a:gd name="connsiteX309" fmla="*/ 4264981 w 5957508"/>
                    <a:gd name="connsiteY309" fmla="*/ 964086 h 3102400"/>
                    <a:gd name="connsiteX310" fmla="*/ 4289681 w 5957508"/>
                    <a:gd name="connsiteY310" fmla="*/ 957434 h 3102400"/>
                    <a:gd name="connsiteX311" fmla="*/ 4310785 w 5957508"/>
                    <a:gd name="connsiteY311" fmla="*/ 958113 h 3102400"/>
                    <a:gd name="connsiteX312" fmla="*/ 4310785 w 5957508"/>
                    <a:gd name="connsiteY312" fmla="*/ 958113 h 3102400"/>
                    <a:gd name="connsiteX313" fmla="*/ 1175855 w 5957508"/>
                    <a:gd name="connsiteY313" fmla="*/ 887575 h 3102400"/>
                    <a:gd name="connsiteX314" fmla="*/ 1127990 w 5957508"/>
                    <a:gd name="connsiteY314" fmla="*/ 884846 h 3102400"/>
                    <a:gd name="connsiteX315" fmla="*/ 1147009 w 5957508"/>
                    <a:gd name="connsiteY315" fmla="*/ 872643 h 3102400"/>
                    <a:gd name="connsiteX316" fmla="*/ 1158217 w 5957508"/>
                    <a:gd name="connsiteY316" fmla="*/ 860955 h 3102400"/>
                    <a:gd name="connsiteX317" fmla="*/ 1180223 w 5957508"/>
                    <a:gd name="connsiteY317" fmla="*/ 856739 h 3102400"/>
                    <a:gd name="connsiteX318" fmla="*/ 1203564 w 5957508"/>
                    <a:gd name="connsiteY318" fmla="*/ 864339 h 3102400"/>
                    <a:gd name="connsiteX319" fmla="*/ 1195811 w 5957508"/>
                    <a:gd name="connsiteY319" fmla="*/ 876730 h 3102400"/>
                    <a:gd name="connsiteX320" fmla="*/ 1175855 w 5957508"/>
                    <a:gd name="connsiteY320" fmla="*/ 887575 h 3102400"/>
                    <a:gd name="connsiteX321" fmla="*/ 1175855 w 5957508"/>
                    <a:gd name="connsiteY321" fmla="*/ 887575 h 3102400"/>
                    <a:gd name="connsiteX322" fmla="*/ 3843413 w 5957508"/>
                    <a:gd name="connsiteY322" fmla="*/ 854607 h 3102400"/>
                    <a:gd name="connsiteX323" fmla="*/ 3846774 w 5957508"/>
                    <a:gd name="connsiteY323" fmla="*/ 859175 h 3102400"/>
                    <a:gd name="connsiteX324" fmla="*/ 3836058 w 5957508"/>
                    <a:gd name="connsiteY324" fmla="*/ 863285 h 3102400"/>
                    <a:gd name="connsiteX325" fmla="*/ 3836772 w 5957508"/>
                    <a:gd name="connsiteY325" fmla="*/ 863964 h 3102400"/>
                    <a:gd name="connsiteX326" fmla="*/ 3801357 w 5957508"/>
                    <a:gd name="connsiteY326" fmla="*/ 855146 h 3102400"/>
                    <a:gd name="connsiteX327" fmla="*/ 3843413 w 5957508"/>
                    <a:gd name="connsiteY327" fmla="*/ 854607 h 3102400"/>
                    <a:gd name="connsiteX328" fmla="*/ 3843413 w 5957508"/>
                    <a:gd name="connsiteY328" fmla="*/ 854607 h 3102400"/>
                    <a:gd name="connsiteX329" fmla="*/ 3865524 w 5957508"/>
                    <a:gd name="connsiteY329" fmla="*/ 841396 h 3102400"/>
                    <a:gd name="connsiteX330" fmla="*/ 3812482 w 5957508"/>
                    <a:gd name="connsiteY330" fmla="*/ 837567 h 3102400"/>
                    <a:gd name="connsiteX331" fmla="*/ 3825904 w 5957508"/>
                    <a:gd name="connsiteY331" fmla="*/ 830926 h 3102400"/>
                    <a:gd name="connsiteX332" fmla="*/ 3845216 w 5957508"/>
                    <a:gd name="connsiteY332" fmla="*/ 826382 h 3102400"/>
                    <a:gd name="connsiteX333" fmla="*/ 3861976 w 5957508"/>
                    <a:gd name="connsiteY333" fmla="*/ 827799 h 3102400"/>
                    <a:gd name="connsiteX334" fmla="*/ 3865524 w 5957508"/>
                    <a:gd name="connsiteY334" fmla="*/ 841396 h 3102400"/>
                    <a:gd name="connsiteX335" fmla="*/ 3865524 w 5957508"/>
                    <a:gd name="connsiteY335" fmla="*/ 841396 h 3102400"/>
                    <a:gd name="connsiteX336" fmla="*/ 1268212 w 5957508"/>
                    <a:gd name="connsiteY336" fmla="*/ 826335 h 3102400"/>
                    <a:gd name="connsiteX337" fmla="*/ 1265565 w 5957508"/>
                    <a:gd name="connsiteY337" fmla="*/ 828034 h 3102400"/>
                    <a:gd name="connsiteX338" fmla="*/ 1261161 w 5957508"/>
                    <a:gd name="connsiteY338" fmla="*/ 848119 h 3102400"/>
                    <a:gd name="connsiteX339" fmla="*/ 1221120 w 5957508"/>
                    <a:gd name="connsiteY339" fmla="*/ 833889 h 3102400"/>
                    <a:gd name="connsiteX340" fmla="*/ 1219574 w 5957508"/>
                    <a:gd name="connsiteY340" fmla="*/ 838176 h 3102400"/>
                    <a:gd name="connsiteX341" fmla="*/ 1244332 w 5957508"/>
                    <a:gd name="connsiteY341" fmla="*/ 811790 h 3102400"/>
                    <a:gd name="connsiteX342" fmla="*/ 1268212 w 5957508"/>
                    <a:gd name="connsiteY342" fmla="*/ 826335 h 3102400"/>
                    <a:gd name="connsiteX343" fmla="*/ 1268212 w 5957508"/>
                    <a:gd name="connsiteY343" fmla="*/ 826335 h 3102400"/>
                    <a:gd name="connsiteX344" fmla="*/ 1023242 w 5957508"/>
                    <a:gd name="connsiteY344" fmla="*/ 809588 h 3102400"/>
                    <a:gd name="connsiteX345" fmla="*/ 1029320 w 5957508"/>
                    <a:gd name="connsiteY345" fmla="*/ 812949 h 3102400"/>
                    <a:gd name="connsiteX346" fmla="*/ 1017456 w 5957508"/>
                    <a:gd name="connsiteY346" fmla="*/ 809705 h 3102400"/>
                    <a:gd name="connsiteX347" fmla="*/ 1012795 w 5957508"/>
                    <a:gd name="connsiteY347" fmla="*/ 821815 h 3102400"/>
                    <a:gd name="connsiteX348" fmla="*/ 1015465 w 5957508"/>
                    <a:gd name="connsiteY348" fmla="*/ 830142 h 3102400"/>
                    <a:gd name="connsiteX349" fmla="*/ 1010383 w 5957508"/>
                    <a:gd name="connsiteY349" fmla="*/ 829322 h 3102400"/>
                    <a:gd name="connsiteX350" fmla="*/ 984582 w 5957508"/>
                    <a:gd name="connsiteY350" fmla="*/ 815198 h 3102400"/>
                    <a:gd name="connsiteX351" fmla="*/ 1023242 w 5957508"/>
                    <a:gd name="connsiteY351" fmla="*/ 809588 h 3102400"/>
                    <a:gd name="connsiteX352" fmla="*/ 1023242 w 5957508"/>
                    <a:gd name="connsiteY352" fmla="*/ 809588 h 3102400"/>
                    <a:gd name="connsiteX353" fmla="*/ 3368323 w 5957508"/>
                    <a:gd name="connsiteY353" fmla="*/ 814987 h 3102400"/>
                    <a:gd name="connsiteX354" fmla="*/ 3363123 w 5957508"/>
                    <a:gd name="connsiteY354" fmla="*/ 814308 h 3102400"/>
                    <a:gd name="connsiteX355" fmla="*/ 3359563 w 5957508"/>
                    <a:gd name="connsiteY355" fmla="*/ 806133 h 3102400"/>
                    <a:gd name="connsiteX356" fmla="*/ 3384250 w 5957508"/>
                    <a:gd name="connsiteY356" fmla="*/ 804025 h 3102400"/>
                    <a:gd name="connsiteX357" fmla="*/ 3390633 w 5957508"/>
                    <a:gd name="connsiteY357" fmla="*/ 814987 h 3102400"/>
                    <a:gd name="connsiteX358" fmla="*/ 3368323 w 5957508"/>
                    <a:gd name="connsiteY358" fmla="*/ 814987 h 3102400"/>
                    <a:gd name="connsiteX359" fmla="*/ 3368323 w 5957508"/>
                    <a:gd name="connsiteY359" fmla="*/ 814987 h 3102400"/>
                    <a:gd name="connsiteX360" fmla="*/ 1376 w 5957508"/>
                    <a:gd name="connsiteY360" fmla="*/ 783506 h 3102400"/>
                    <a:gd name="connsiteX361" fmla="*/ 30280 w 5957508"/>
                    <a:gd name="connsiteY361" fmla="*/ 788355 h 3102400"/>
                    <a:gd name="connsiteX362" fmla="*/ 60367 w 5957508"/>
                    <a:gd name="connsiteY362" fmla="*/ 795487 h 3102400"/>
                    <a:gd name="connsiteX363" fmla="*/ 68823 w 5957508"/>
                    <a:gd name="connsiteY363" fmla="*/ 806801 h 3102400"/>
                    <a:gd name="connsiteX364" fmla="*/ 30233 w 5957508"/>
                    <a:gd name="connsiteY364" fmla="*/ 812352 h 3102400"/>
                    <a:gd name="connsiteX365" fmla="*/ 64560 w 5957508"/>
                    <a:gd name="connsiteY365" fmla="*/ 813710 h 3102400"/>
                    <a:gd name="connsiteX366" fmla="*/ 20231 w 5957508"/>
                    <a:gd name="connsiteY366" fmla="*/ 822553 h 3102400"/>
                    <a:gd name="connsiteX367" fmla="*/ 45118 w 5957508"/>
                    <a:gd name="connsiteY367" fmla="*/ 822400 h 3102400"/>
                    <a:gd name="connsiteX368" fmla="*/ 51911 w 5957508"/>
                    <a:gd name="connsiteY368" fmla="*/ 832835 h 3102400"/>
                    <a:gd name="connsiteX369" fmla="*/ 35620 w 5957508"/>
                    <a:gd name="connsiteY369" fmla="*/ 839136 h 3102400"/>
                    <a:gd name="connsiteX370" fmla="*/ 22632 w 5957508"/>
                    <a:gd name="connsiteY370" fmla="*/ 840132 h 3102400"/>
                    <a:gd name="connsiteX371" fmla="*/ 10593 w 5957508"/>
                    <a:gd name="connsiteY371" fmla="*/ 840237 h 3102400"/>
                    <a:gd name="connsiteX372" fmla="*/ 37424 w 5957508"/>
                    <a:gd name="connsiteY372" fmla="*/ 851773 h 3102400"/>
                    <a:gd name="connsiteX373" fmla="*/ 20231 w 5957508"/>
                    <a:gd name="connsiteY373" fmla="*/ 849009 h 3102400"/>
                    <a:gd name="connsiteX374" fmla="*/ 20559 w 5957508"/>
                    <a:gd name="connsiteY374" fmla="*/ 856551 h 3102400"/>
                    <a:gd name="connsiteX375" fmla="*/ 1997 w 5957508"/>
                    <a:gd name="connsiteY375" fmla="*/ 859865 h 3102400"/>
                    <a:gd name="connsiteX376" fmla="*/ 16285 w 5957508"/>
                    <a:gd name="connsiteY376" fmla="*/ 868661 h 3102400"/>
                    <a:gd name="connsiteX377" fmla="*/ 1388 w 5957508"/>
                    <a:gd name="connsiteY377" fmla="*/ 872010 h 3102400"/>
                    <a:gd name="connsiteX378" fmla="*/ 1376 w 5957508"/>
                    <a:gd name="connsiteY378" fmla="*/ 783506 h 3102400"/>
                    <a:gd name="connsiteX379" fmla="*/ 1376 w 5957508"/>
                    <a:gd name="connsiteY379" fmla="*/ 783506 h 3102400"/>
                    <a:gd name="connsiteX380" fmla="*/ 820000 w 5957508"/>
                    <a:gd name="connsiteY380" fmla="*/ 767098 h 3102400"/>
                    <a:gd name="connsiteX381" fmla="*/ 836654 w 5957508"/>
                    <a:gd name="connsiteY381" fmla="*/ 774547 h 3102400"/>
                    <a:gd name="connsiteX382" fmla="*/ 828491 w 5957508"/>
                    <a:gd name="connsiteY382" fmla="*/ 774172 h 3102400"/>
                    <a:gd name="connsiteX383" fmla="*/ 821651 w 5957508"/>
                    <a:gd name="connsiteY383" fmla="*/ 792431 h 3102400"/>
                    <a:gd name="connsiteX384" fmla="*/ 837755 w 5957508"/>
                    <a:gd name="connsiteY384" fmla="*/ 793801 h 3102400"/>
                    <a:gd name="connsiteX385" fmla="*/ 845402 w 5957508"/>
                    <a:gd name="connsiteY385" fmla="*/ 783647 h 3102400"/>
                    <a:gd name="connsiteX386" fmla="*/ 860381 w 5957508"/>
                    <a:gd name="connsiteY386" fmla="*/ 808803 h 3102400"/>
                    <a:gd name="connsiteX387" fmla="*/ 852640 w 5957508"/>
                    <a:gd name="connsiteY387" fmla="*/ 807831 h 3102400"/>
                    <a:gd name="connsiteX388" fmla="*/ 839066 w 5957508"/>
                    <a:gd name="connsiteY388" fmla="*/ 802702 h 3102400"/>
                    <a:gd name="connsiteX389" fmla="*/ 799821 w 5957508"/>
                    <a:gd name="connsiteY389" fmla="*/ 811239 h 3102400"/>
                    <a:gd name="connsiteX390" fmla="*/ 780052 w 5957508"/>
                    <a:gd name="connsiteY390" fmla="*/ 813125 h 3102400"/>
                    <a:gd name="connsiteX391" fmla="*/ 770495 w 5957508"/>
                    <a:gd name="connsiteY391" fmla="*/ 812855 h 3102400"/>
                    <a:gd name="connsiteX392" fmla="*/ 775777 w 5957508"/>
                    <a:gd name="connsiteY392" fmla="*/ 817142 h 3102400"/>
                    <a:gd name="connsiteX393" fmla="*/ 765588 w 5957508"/>
                    <a:gd name="connsiteY393" fmla="*/ 808171 h 3102400"/>
                    <a:gd name="connsiteX394" fmla="*/ 771503 w 5957508"/>
                    <a:gd name="connsiteY394" fmla="*/ 787418 h 3102400"/>
                    <a:gd name="connsiteX395" fmla="*/ 769594 w 5957508"/>
                    <a:gd name="connsiteY395" fmla="*/ 778119 h 3102400"/>
                    <a:gd name="connsiteX396" fmla="*/ 791564 w 5957508"/>
                    <a:gd name="connsiteY396" fmla="*/ 770190 h 3102400"/>
                    <a:gd name="connsiteX397" fmla="*/ 820000 w 5957508"/>
                    <a:gd name="connsiteY397" fmla="*/ 767098 h 3102400"/>
                    <a:gd name="connsiteX398" fmla="*/ 820000 w 5957508"/>
                    <a:gd name="connsiteY398" fmla="*/ 767098 h 3102400"/>
                    <a:gd name="connsiteX399" fmla="*/ 1076494 w 5957508"/>
                    <a:gd name="connsiteY399" fmla="*/ 768715 h 3102400"/>
                    <a:gd name="connsiteX400" fmla="*/ 1078286 w 5957508"/>
                    <a:gd name="connsiteY400" fmla="*/ 771795 h 3102400"/>
                    <a:gd name="connsiteX401" fmla="*/ 1057217 w 5957508"/>
                    <a:gd name="connsiteY401" fmla="*/ 773926 h 3102400"/>
                    <a:gd name="connsiteX402" fmla="*/ 1059700 w 5957508"/>
                    <a:gd name="connsiteY402" fmla="*/ 769054 h 3102400"/>
                    <a:gd name="connsiteX403" fmla="*/ 1051654 w 5957508"/>
                    <a:gd name="connsiteY403" fmla="*/ 773493 h 3102400"/>
                    <a:gd name="connsiteX404" fmla="*/ 1050776 w 5957508"/>
                    <a:gd name="connsiteY404" fmla="*/ 778037 h 3102400"/>
                    <a:gd name="connsiteX405" fmla="*/ 1047965 w 5957508"/>
                    <a:gd name="connsiteY405" fmla="*/ 775507 h 3102400"/>
                    <a:gd name="connsiteX406" fmla="*/ 1087620 w 5957508"/>
                    <a:gd name="connsiteY406" fmla="*/ 762871 h 3102400"/>
                    <a:gd name="connsiteX407" fmla="*/ 1076494 w 5957508"/>
                    <a:gd name="connsiteY407" fmla="*/ 768715 h 3102400"/>
                    <a:gd name="connsiteX408" fmla="*/ 1076494 w 5957508"/>
                    <a:gd name="connsiteY408" fmla="*/ 768715 h 3102400"/>
                    <a:gd name="connsiteX409" fmla="*/ 4540495 w 5957508"/>
                    <a:gd name="connsiteY409" fmla="*/ 731894 h 3102400"/>
                    <a:gd name="connsiteX410" fmla="*/ 4579986 w 5957508"/>
                    <a:gd name="connsiteY410" fmla="*/ 752846 h 3102400"/>
                    <a:gd name="connsiteX411" fmla="*/ 4600411 w 5957508"/>
                    <a:gd name="connsiteY411" fmla="*/ 765623 h 3102400"/>
                    <a:gd name="connsiteX412" fmla="*/ 4606091 w 5957508"/>
                    <a:gd name="connsiteY412" fmla="*/ 774114 h 3102400"/>
                    <a:gd name="connsiteX413" fmla="*/ 4601594 w 5957508"/>
                    <a:gd name="connsiteY413" fmla="*/ 778681 h 3102400"/>
                    <a:gd name="connsiteX414" fmla="*/ 4601278 w 5957508"/>
                    <a:gd name="connsiteY414" fmla="*/ 799633 h 3102400"/>
                    <a:gd name="connsiteX415" fmla="*/ 4575090 w 5957508"/>
                    <a:gd name="connsiteY415" fmla="*/ 798813 h 3102400"/>
                    <a:gd name="connsiteX416" fmla="*/ 4550672 w 5957508"/>
                    <a:gd name="connsiteY416" fmla="*/ 796846 h 3102400"/>
                    <a:gd name="connsiteX417" fmla="*/ 4499973 w 5957508"/>
                    <a:gd name="connsiteY417" fmla="*/ 788800 h 3102400"/>
                    <a:gd name="connsiteX418" fmla="*/ 4448137 w 5957508"/>
                    <a:gd name="connsiteY418" fmla="*/ 778377 h 3102400"/>
                    <a:gd name="connsiteX419" fmla="*/ 4423684 w 5957508"/>
                    <a:gd name="connsiteY419" fmla="*/ 785579 h 3102400"/>
                    <a:gd name="connsiteX420" fmla="*/ 4412277 w 5957508"/>
                    <a:gd name="connsiteY420" fmla="*/ 775191 h 3102400"/>
                    <a:gd name="connsiteX421" fmla="*/ 4434962 w 5957508"/>
                    <a:gd name="connsiteY421" fmla="*/ 773458 h 3102400"/>
                    <a:gd name="connsiteX422" fmla="*/ 4456289 w 5957508"/>
                    <a:gd name="connsiteY422" fmla="*/ 760786 h 3102400"/>
                    <a:gd name="connsiteX423" fmla="*/ 4483167 w 5957508"/>
                    <a:gd name="connsiteY423" fmla="*/ 730793 h 3102400"/>
                    <a:gd name="connsiteX424" fmla="*/ 4493625 w 5957508"/>
                    <a:gd name="connsiteY424" fmla="*/ 731941 h 3102400"/>
                    <a:gd name="connsiteX425" fmla="*/ 4507175 w 5957508"/>
                    <a:gd name="connsiteY425" fmla="*/ 727689 h 3102400"/>
                    <a:gd name="connsiteX426" fmla="*/ 4540495 w 5957508"/>
                    <a:gd name="connsiteY426" fmla="*/ 731894 h 3102400"/>
                    <a:gd name="connsiteX427" fmla="*/ 4540495 w 5957508"/>
                    <a:gd name="connsiteY427" fmla="*/ 731894 h 3102400"/>
                    <a:gd name="connsiteX428" fmla="*/ 4199935 w 5957508"/>
                    <a:gd name="connsiteY428" fmla="*/ 700835 h 3102400"/>
                    <a:gd name="connsiteX429" fmla="*/ 4226942 w 5957508"/>
                    <a:gd name="connsiteY429" fmla="*/ 719351 h 3102400"/>
                    <a:gd name="connsiteX430" fmla="*/ 4222796 w 5957508"/>
                    <a:gd name="connsiteY430" fmla="*/ 728872 h 3102400"/>
                    <a:gd name="connsiteX431" fmla="*/ 4216648 w 5957508"/>
                    <a:gd name="connsiteY431" fmla="*/ 727385 h 3102400"/>
                    <a:gd name="connsiteX432" fmla="*/ 4195941 w 5957508"/>
                    <a:gd name="connsiteY432" fmla="*/ 707616 h 3102400"/>
                    <a:gd name="connsiteX433" fmla="*/ 4184921 w 5957508"/>
                    <a:gd name="connsiteY433" fmla="*/ 702076 h 3102400"/>
                    <a:gd name="connsiteX434" fmla="*/ 4179545 w 5957508"/>
                    <a:gd name="connsiteY434" fmla="*/ 691747 h 3102400"/>
                    <a:gd name="connsiteX435" fmla="*/ 4199935 w 5957508"/>
                    <a:gd name="connsiteY435" fmla="*/ 700835 h 3102400"/>
                    <a:gd name="connsiteX436" fmla="*/ 4199935 w 5957508"/>
                    <a:gd name="connsiteY436" fmla="*/ 700835 h 3102400"/>
                    <a:gd name="connsiteX437" fmla="*/ 4450316 w 5957508"/>
                    <a:gd name="connsiteY437" fmla="*/ 726799 h 3102400"/>
                    <a:gd name="connsiteX438" fmla="*/ 4433475 w 5957508"/>
                    <a:gd name="connsiteY438" fmla="*/ 695752 h 3102400"/>
                    <a:gd name="connsiteX439" fmla="*/ 4477369 w 5957508"/>
                    <a:gd name="connsiteY439" fmla="*/ 694909 h 3102400"/>
                    <a:gd name="connsiteX440" fmla="*/ 4477510 w 5957508"/>
                    <a:gd name="connsiteY440" fmla="*/ 712476 h 3102400"/>
                    <a:gd name="connsiteX441" fmla="*/ 4450316 w 5957508"/>
                    <a:gd name="connsiteY441" fmla="*/ 726799 h 3102400"/>
                    <a:gd name="connsiteX442" fmla="*/ 4450316 w 5957508"/>
                    <a:gd name="connsiteY442" fmla="*/ 726799 h 3102400"/>
                    <a:gd name="connsiteX443" fmla="*/ 3032612 w 5957508"/>
                    <a:gd name="connsiteY443" fmla="*/ 682295 h 3102400"/>
                    <a:gd name="connsiteX444" fmla="*/ 3026077 w 5957508"/>
                    <a:gd name="connsiteY444" fmla="*/ 687554 h 3102400"/>
                    <a:gd name="connsiteX445" fmla="*/ 3028185 w 5957508"/>
                    <a:gd name="connsiteY445" fmla="*/ 689650 h 3102400"/>
                    <a:gd name="connsiteX446" fmla="*/ 3021603 w 5957508"/>
                    <a:gd name="connsiteY446" fmla="*/ 695225 h 3102400"/>
                    <a:gd name="connsiteX447" fmla="*/ 3011040 w 5957508"/>
                    <a:gd name="connsiteY447" fmla="*/ 699324 h 3102400"/>
                    <a:gd name="connsiteX448" fmla="*/ 3002654 w 5957508"/>
                    <a:gd name="connsiteY448" fmla="*/ 708822 h 3102400"/>
                    <a:gd name="connsiteX449" fmla="*/ 2990064 w 5957508"/>
                    <a:gd name="connsiteY449" fmla="*/ 707276 h 3102400"/>
                    <a:gd name="connsiteX450" fmla="*/ 2963479 w 5957508"/>
                    <a:gd name="connsiteY450" fmla="*/ 699148 h 3102400"/>
                    <a:gd name="connsiteX451" fmla="*/ 2935043 w 5957508"/>
                    <a:gd name="connsiteY451" fmla="*/ 688737 h 3102400"/>
                    <a:gd name="connsiteX452" fmla="*/ 2949894 w 5957508"/>
                    <a:gd name="connsiteY452" fmla="*/ 681347 h 3102400"/>
                    <a:gd name="connsiteX453" fmla="*/ 2960328 w 5957508"/>
                    <a:gd name="connsiteY453" fmla="*/ 674343 h 3102400"/>
                    <a:gd name="connsiteX454" fmla="*/ 2967742 w 5957508"/>
                    <a:gd name="connsiteY454" fmla="*/ 661824 h 3102400"/>
                    <a:gd name="connsiteX455" fmla="*/ 2999843 w 5957508"/>
                    <a:gd name="connsiteY455" fmla="*/ 667305 h 3102400"/>
                    <a:gd name="connsiteX456" fmla="*/ 3029872 w 5957508"/>
                    <a:gd name="connsiteY456" fmla="*/ 669096 h 3102400"/>
                    <a:gd name="connsiteX457" fmla="*/ 3032612 w 5957508"/>
                    <a:gd name="connsiteY457" fmla="*/ 682295 h 3102400"/>
                    <a:gd name="connsiteX458" fmla="*/ 3032612 w 5957508"/>
                    <a:gd name="connsiteY458" fmla="*/ 682295 h 3102400"/>
                    <a:gd name="connsiteX459" fmla="*/ 1663640 w 5957508"/>
                    <a:gd name="connsiteY459" fmla="*/ 620177 h 3102400"/>
                    <a:gd name="connsiteX460" fmla="*/ 1647513 w 5957508"/>
                    <a:gd name="connsiteY460" fmla="*/ 624101 h 3102400"/>
                    <a:gd name="connsiteX461" fmla="*/ 1654505 w 5957508"/>
                    <a:gd name="connsiteY461" fmla="*/ 631725 h 3102400"/>
                    <a:gd name="connsiteX462" fmla="*/ 1630531 w 5957508"/>
                    <a:gd name="connsiteY462" fmla="*/ 630425 h 3102400"/>
                    <a:gd name="connsiteX463" fmla="*/ 1616243 w 5957508"/>
                    <a:gd name="connsiteY463" fmla="*/ 625213 h 3102400"/>
                    <a:gd name="connsiteX464" fmla="*/ 1636282 w 5957508"/>
                    <a:gd name="connsiteY464" fmla="*/ 623785 h 3102400"/>
                    <a:gd name="connsiteX465" fmla="*/ 1631269 w 5957508"/>
                    <a:gd name="connsiteY465" fmla="*/ 622367 h 3102400"/>
                    <a:gd name="connsiteX466" fmla="*/ 1630930 w 5957508"/>
                    <a:gd name="connsiteY466" fmla="*/ 617378 h 3102400"/>
                    <a:gd name="connsiteX467" fmla="*/ 1638460 w 5957508"/>
                    <a:gd name="connsiteY467" fmla="*/ 618034 h 3102400"/>
                    <a:gd name="connsiteX468" fmla="*/ 1637383 w 5957508"/>
                    <a:gd name="connsiteY468" fmla="*/ 620283 h 3102400"/>
                    <a:gd name="connsiteX469" fmla="*/ 1663640 w 5957508"/>
                    <a:gd name="connsiteY469" fmla="*/ 620177 h 3102400"/>
                    <a:gd name="connsiteX470" fmla="*/ 1663640 w 5957508"/>
                    <a:gd name="connsiteY470" fmla="*/ 620177 h 3102400"/>
                    <a:gd name="connsiteX471" fmla="*/ 1403246 w 5957508"/>
                    <a:gd name="connsiteY471" fmla="*/ 567171 h 3102400"/>
                    <a:gd name="connsiteX472" fmla="*/ 1405026 w 5957508"/>
                    <a:gd name="connsiteY472" fmla="*/ 569221 h 3102400"/>
                    <a:gd name="connsiteX473" fmla="*/ 1397121 w 5957508"/>
                    <a:gd name="connsiteY473" fmla="*/ 568553 h 3102400"/>
                    <a:gd name="connsiteX474" fmla="*/ 1408200 w 5957508"/>
                    <a:gd name="connsiteY474" fmla="*/ 573378 h 3102400"/>
                    <a:gd name="connsiteX475" fmla="*/ 1411795 w 5957508"/>
                    <a:gd name="connsiteY475" fmla="*/ 580124 h 3102400"/>
                    <a:gd name="connsiteX476" fmla="*/ 1398210 w 5957508"/>
                    <a:gd name="connsiteY476" fmla="*/ 585804 h 3102400"/>
                    <a:gd name="connsiteX477" fmla="*/ 1397121 w 5957508"/>
                    <a:gd name="connsiteY477" fmla="*/ 596602 h 3102400"/>
                    <a:gd name="connsiteX478" fmla="*/ 1391089 w 5957508"/>
                    <a:gd name="connsiteY478" fmla="*/ 589423 h 3102400"/>
                    <a:gd name="connsiteX479" fmla="*/ 1386732 w 5957508"/>
                    <a:gd name="connsiteY479" fmla="*/ 584434 h 3102400"/>
                    <a:gd name="connsiteX480" fmla="*/ 1381404 w 5957508"/>
                    <a:gd name="connsiteY480" fmla="*/ 582209 h 3102400"/>
                    <a:gd name="connsiteX481" fmla="*/ 1374634 w 5957508"/>
                    <a:gd name="connsiteY481" fmla="*/ 578613 h 3102400"/>
                    <a:gd name="connsiteX482" fmla="*/ 1385667 w 5957508"/>
                    <a:gd name="connsiteY482" fmla="*/ 566328 h 3102400"/>
                    <a:gd name="connsiteX483" fmla="*/ 1384601 w 5957508"/>
                    <a:gd name="connsiteY483" fmla="*/ 573530 h 3102400"/>
                    <a:gd name="connsiteX484" fmla="*/ 1382821 w 5957508"/>
                    <a:gd name="connsiteY484" fmla="*/ 575029 h 3102400"/>
                    <a:gd name="connsiteX485" fmla="*/ 1389614 w 5957508"/>
                    <a:gd name="connsiteY485" fmla="*/ 568541 h 3102400"/>
                    <a:gd name="connsiteX486" fmla="*/ 1391066 w 5957508"/>
                    <a:gd name="connsiteY486" fmla="*/ 563435 h 3102400"/>
                    <a:gd name="connsiteX487" fmla="*/ 1405366 w 5957508"/>
                    <a:gd name="connsiteY487" fmla="*/ 560542 h 3102400"/>
                    <a:gd name="connsiteX488" fmla="*/ 1403246 w 5957508"/>
                    <a:gd name="connsiteY488" fmla="*/ 567171 h 3102400"/>
                    <a:gd name="connsiteX489" fmla="*/ 1403246 w 5957508"/>
                    <a:gd name="connsiteY489" fmla="*/ 567171 h 3102400"/>
                    <a:gd name="connsiteX490" fmla="*/ 4772921 w 5957508"/>
                    <a:gd name="connsiteY490" fmla="*/ 563903 h 3102400"/>
                    <a:gd name="connsiteX491" fmla="*/ 4773952 w 5957508"/>
                    <a:gd name="connsiteY491" fmla="*/ 574362 h 3102400"/>
                    <a:gd name="connsiteX492" fmla="*/ 4805140 w 5957508"/>
                    <a:gd name="connsiteY492" fmla="*/ 577934 h 3102400"/>
                    <a:gd name="connsiteX493" fmla="*/ 4795806 w 5957508"/>
                    <a:gd name="connsiteY493" fmla="*/ 577208 h 3102400"/>
                    <a:gd name="connsiteX494" fmla="*/ 4809766 w 5957508"/>
                    <a:gd name="connsiteY494" fmla="*/ 574327 h 3102400"/>
                    <a:gd name="connsiteX495" fmla="*/ 4804402 w 5957508"/>
                    <a:gd name="connsiteY495" fmla="*/ 569993 h 3102400"/>
                    <a:gd name="connsiteX496" fmla="*/ 4836597 w 5957508"/>
                    <a:gd name="connsiteY496" fmla="*/ 571141 h 3102400"/>
                    <a:gd name="connsiteX497" fmla="*/ 4854609 w 5957508"/>
                    <a:gd name="connsiteY497" fmla="*/ 571012 h 3102400"/>
                    <a:gd name="connsiteX498" fmla="*/ 4869460 w 5957508"/>
                    <a:gd name="connsiteY498" fmla="*/ 575041 h 3102400"/>
                    <a:gd name="connsiteX499" fmla="*/ 4862386 w 5957508"/>
                    <a:gd name="connsiteY499" fmla="*/ 585055 h 3102400"/>
                    <a:gd name="connsiteX500" fmla="*/ 4869647 w 5957508"/>
                    <a:gd name="connsiteY500" fmla="*/ 592234 h 3102400"/>
                    <a:gd name="connsiteX501" fmla="*/ 4899359 w 5957508"/>
                    <a:gd name="connsiteY501" fmla="*/ 587139 h 3102400"/>
                    <a:gd name="connsiteX502" fmla="*/ 4936192 w 5957508"/>
                    <a:gd name="connsiteY502" fmla="*/ 590313 h 3102400"/>
                    <a:gd name="connsiteX503" fmla="*/ 4952049 w 5957508"/>
                    <a:gd name="connsiteY503" fmla="*/ 598745 h 3102400"/>
                    <a:gd name="connsiteX504" fmla="*/ 4972779 w 5957508"/>
                    <a:gd name="connsiteY504" fmla="*/ 601673 h 3102400"/>
                    <a:gd name="connsiteX505" fmla="*/ 4968130 w 5957508"/>
                    <a:gd name="connsiteY505" fmla="*/ 604531 h 3102400"/>
                    <a:gd name="connsiteX506" fmla="*/ 4978236 w 5957508"/>
                    <a:gd name="connsiteY506" fmla="*/ 599237 h 3102400"/>
                    <a:gd name="connsiteX507" fmla="*/ 4993497 w 5957508"/>
                    <a:gd name="connsiteY507" fmla="*/ 600244 h 3102400"/>
                    <a:gd name="connsiteX508" fmla="*/ 4979138 w 5957508"/>
                    <a:gd name="connsiteY508" fmla="*/ 613162 h 3102400"/>
                    <a:gd name="connsiteX509" fmla="*/ 4971877 w 5957508"/>
                    <a:gd name="connsiteY509" fmla="*/ 626958 h 3102400"/>
                    <a:gd name="connsiteX510" fmla="*/ 4932890 w 5957508"/>
                    <a:gd name="connsiteY510" fmla="*/ 635402 h 3102400"/>
                    <a:gd name="connsiteX511" fmla="*/ 4923461 w 5957508"/>
                    <a:gd name="connsiteY511" fmla="*/ 639337 h 3102400"/>
                    <a:gd name="connsiteX512" fmla="*/ 4904512 w 5957508"/>
                    <a:gd name="connsiteY512" fmla="*/ 639572 h 3102400"/>
                    <a:gd name="connsiteX513" fmla="*/ 4833669 w 5957508"/>
                    <a:gd name="connsiteY513" fmla="*/ 627942 h 3102400"/>
                    <a:gd name="connsiteX514" fmla="*/ 4808735 w 5957508"/>
                    <a:gd name="connsiteY514" fmla="*/ 617999 h 3102400"/>
                    <a:gd name="connsiteX515" fmla="*/ 4775369 w 5957508"/>
                    <a:gd name="connsiteY515" fmla="*/ 604929 h 3102400"/>
                    <a:gd name="connsiteX516" fmla="*/ 4740270 w 5957508"/>
                    <a:gd name="connsiteY516" fmla="*/ 592819 h 3102400"/>
                    <a:gd name="connsiteX517" fmla="*/ 4743678 w 5957508"/>
                    <a:gd name="connsiteY517" fmla="*/ 573601 h 3102400"/>
                    <a:gd name="connsiteX518" fmla="*/ 4749745 w 5957508"/>
                    <a:gd name="connsiteY518" fmla="*/ 572875 h 3102400"/>
                    <a:gd name="connsiteX519" fmla="*/ 4756115 w 5957508"/>
                    <a:gd name="connsiteY519" fmla="*/ 565672 h 3102400"/>
                    <a:gd name="connsiteX520" fmla="*/ 4758926 w 5957508"/>
                    <a:gd name="connsiteY520" fmla="*/ 552543 h 3102400"/>
                    <a:gd name="connsiteX521" fmla="*/ 4775088 w 5957508"/>
                    <a:gd name="connsiteY521" fmla="*/ 561936 h 3102400"/>
                    <a:gd name="connsiteX522" fmla="*/ 4772921 w 5957508"/>
                    <a:gd name="connsiteY522" fmla="*/ 563903 h 3102400"/>
                    <a:gd name="connsiteX523" fmla="*/ 4772921 w 5957508"/>
                    <a:gd name="connsiteY523" fmla="*/ 563903 h 3102400"/>
                    <a:gd name="connsiteX524" fmla="*/ 4205135 w 5957508"/>
                    <a:gd name="connsiteY524" fmla="*/ 575029 h 3102400"/>
                    <a:gd name="connsiteX525" fmla="*/ 4184546 w 5957508"/>
                    <a:gd name="connsiteY525" fmla="*/ 575767 h 3102400"/>
                    <a:gd name="connsiteX526" fmla="*/ 4187005 w 5957508"/>
                    <a:gd name="connsiteY526" fmla="*/ 564876 h 3102400"/>
                    <a:gd name="connsiteX527" fmla="*/ 4192077 w 5957508"/>
                    <a:gd name="connsiteY527" fmla="*/ 555448 h 3102400"/>
                    <a:gd name="connsiteX528" fmla="*/ 4189559 w 5957508"/>
                    <a:gd name="connsiteY528" fmla="*/ 543631 h 3102400"/>
                    <a:gd name="connsiteX529" fmla="*/ 4197230 w 5957508"/>
                    <a:gd name="connsiteY529" fmla="*/ 523475 h 3102400"/>
                    <a:gd name="connsiteX530" fmla="*/ 4205276 w 5957508"/>
                    <a:gd name="connsiteY530" fmla="*/ 538724 h 3102400"/>
                    <a:gd name="connsiteX531" fmla="*/ 4218146 w 5957508"/>
                    <a:gd name="connsiteY531" fmla="*/ 547507 h 3102400"/>
                    <a:gd name="connsiteX532" fmla="*/ 4211565 w 5957508"/>
                    <a:gd name="connsiteY532" fmla="*/ 561784 h 3102400"/>
                    <a:gd name="connsiteX533" fmla="*/ 4214727 w 5957508"/>
                    <a:gd name="connsiteY533" fmla="*/ 568963 h 3102400"/>
                    <a:gd name="connsiteX534" fmla="*/ 4205135 w 5957508"/>
                    <a:gd name="connsiteY534" fmla="*/ 575029 h 3102400"/>
                    <a:gd name="connsiteX535" fmla="*/ 4205135 w 5957508"/>
                    <a:gd name="connsiteY535" fmla="*/ 575029 h 3102400"/>
                    <a:gd name="connsiteX536" fmla="*/ 4375456 w 5957508"/>
                    <a:gd name="connsiteY536" fmla="*/ 499162 h 3102400"/>
                    <a:gd name="connsiteX537" fmla="*/ 4399582 w 5957508"/>
                    <a:gd name="connsiteY537" fmla="*/ 509023 h 3102400"/>
                    <a:gd name="connsiteX538" fmla="*/ 4417289 w 5957508"/>
                    <a:gd name="connsiteY538" fmla="*/ 516214 h 3102400"/>
                    <a:gd name="connsiteX539" fmla="*/ 4417805 w 5957508"/>
                    <a:gd name="connsiteY539" fmla="*/ 525478 h 3102400"/>
                    <a:gd name="connsiteX540" fmla="*/ 4432608 w 5957508"/>
                    <a:gd name="connsiteY540" fmla="*/ 529179 h 3102400"/>
                    <a:gd name="connsiteX541" fmla="*/ 4446978 w 5957508"/>
                    <a:gd name="connsiteY541" fmla="*/ 530772 h 3102400"/>
                    <a:gd name="connsiteX542" fmla="*/ 4445807 w 5957508"/>
                    <a:gd name="connsiteY542" fmla="*/ 547449 h 3102400"/>
                    <a:gd name="connsiteX543" fmla="*/ 4477323 w 5957508"/>
                    <a:gd name="connsiteY543" fmla="*/ 546781 h 3102400"/>
                    <a:gd name="connsiteX544" fmla="*/ 4472709 w 5957508"/>
                    <a:gd name="connsiteY544" fmla="*/ 543818 h 3102400"/>
                    <a:gd name="connsiteX545" fmla="*/ 4474465 w 5957508"/>
                    <a:gd name="connsiteY545" fmla="*/ 542425 h 3102400"/>
                    <a:gd name="connsiteX546" fmla="*/ 4467333 w 5957508"/>
                    <a:gd name="connsiteY546" fmla="*/ 536534 h 3102400"/>
                    <a:gd name="connsiteX547" fmla="*/ 4468738 w 5957508"/>
                    <a:gd name="connsiteY547" fmla="*/ 524354 h 3102400"/>
                    <a:gd name="connsiteX548" fmla="*/ 4469429 w 5957508"/>
                    <a:gd name="connsiteY548" fmla="*/ 510839 h 3102400"/>
                    <a:gd name="connsiteX549" fmla="*/ 4506648 w 5957508"/>
                    <a:gd name="connsiteY549" fmla="*/ 508133 h 3102400"/>
                    <a:gd name="connsiteX550" fmla="*/ 4490240 w 5957508"/>
                    <a:gd name="connsiteY550" fmla="*/ 489758 h 3102400"/>
                    <a:gd name="connsiteX551" fmla="*/ 4520890 w 5957508"/>
                    <a:gd name="connsiteY551" fmla="*/ 502547 h 3102400"/>
                    <a:gd name="connsiteX552" fmla="*/ 4546655 w 5957508"/>
                    <a:gd name="connsiteY552" fmla="*/ 517409 h 3102400"/>
                    <a:gd name="connsiteX553" fmla="*/ 4570359 w 5957508"/>
                    <a:gd name="connsiteY553" fmla="*/ 526719 h 3102400"/>
                    <a:gd name="connsiteX554" fmla="*/ 4582305 w 5957508"/>
                    <a:gd name="connsiteY554" fmla="*/ 530069 h 3102400"/>
                    <a:gd name="connsiteX555" fmla="*/ 4598502 w 5957508"/>
                    <a:gd name="connsiteY555" fmla="*/ 530116 h 3102400"/>
                    <a:gd name="connsiteX556" fmla="*/ 4618622 w 5957508"/>
                    <a:gd name="connsiteY556" fmla="*/ 526134 h 3102400"/>
                    <a:gd name="connsiteX557" fmla="*/ 4635557 w 5957508"/>
                    <a:gd name="connsiteY557" fmla="*/ 531533 h 3102400"/>
                    <a:gd name="connsiteX558" fmla="*/ 4662353 w 5957508"/>
                    <a:gd name="connsiteY558" fmla="*/ 541640 h 3102400"/>
                    <a:gd name="connsiteX559" fmla="*/ 4669673 w 5957508"/>
                    <a:gd name="connsiteY559" fmla="*/ 544111 h 3102400"/>
                    <a:gd name="connsiteX560" fmla="*/ 4680705 w 5957508"/>
                    <a:gd name="connsiteY560" fmla="*/ 548983 h 3102400"/>
                    <a:gd name="connsiteX561" fmla="*/ 4703074 w 5957508"/>
                    <a:gd name="connsiteY561" fmla="*/ 560917 h 3102400"/>
                    <a:gd name="connsiteX562" fmla="*/ 4677637 w 5957508"/>
                    <a:gd name="connsiteY562" fmla="*/ 566503 h 3102400"/>
                    <a:gd name="connsiteX563" fmla="*/ 4667050 w 5957508"/>
                    <a:gd name="connsiteY563" fmla="*/ 576013 h 3102400"/>
                    <a:gd name="connsiteX564" fmla="*/ 4679639 w 5957508"/>
                    <a:gd name="connsiteY564" fmla="*/ 586542 h 3102400"/>
                    <a:gd name="connsiteX565" fmla="*/ 4668361 w 5957508"/>
                    <a:gd name="connsiteY565" fmla="*/ 590981 h 3102400"/>
                    <a:gd name="connsiteX566" fmla="*/ 4664004 w 5957508"/>
                    <a:gd name="connsiteY566" fmla="*/ 599670 h 3102400"/>
                    <a:gd name="connsiteX567" fmla="*/ 4638543 w 5957508"/>
                    <a:gd name="connsiteY567" fmla="*/ 610328 h 3102400"/>
                    <a:gd name="connsiteX568" fmla="*/ 4627078 w 5957508"/>
                    <a:gd name="connsiteY568" fmla="*/ 611347 h 3102400"/>
                    <a:gd name="connsiteX569" fmla="*/ 4614312 w 5957508"/>
                    <a:gd name="connsiteY569" fmla="*/ 606463 h 3102400"/>
                    <a:gd name="connsiteX570" fmla="*/ 4598572 w 5957508"/>
                    <a:gd name="connsiteY570" fmla="*/ 607962 h 3102400"/>
                    <a:gd name="connsiteX571" fmla="*/ 4582691 w 5957508"/>
                    <a:gd name="connsiteY571" fmla="*/ 603512 h 3102400"/>
                    <a:gd name="connsiteX572" fmla="*/ 4573662 w 5957508"/>
                    <a:gd name="connsiteY572" fmla="*/ 600502 h 3102400"/>
                    <a:gd name="connsiteX573" fmla="*/ 4570652 w 5957508"/>
                    <a:gd name="connsiteY573" fmla="*/ 594260 h 3102400"/>
                    <a:gd name="connsiteX574" fmla="*/ 4563122 w 5957508"/>
                    <a:gd name="connsiteY574" fmla="*/ 590172 h 3102400"/>
                    <a:gd name="connsiteX575" fmla="*/ 4560146 w 5957508"/>
                    <a:gd name="connsiteY575" fmla="*/ 582232 h 3102400"/>
                    <a:gd name="connsiteX576" fmla="*/ 4553225 w 5957508"/>
                    <a:gd name="connsiteY576" fmla="*/ 568366 h 3102400"/>
                    <a:gd name="connsiteX577" fmla="*/ 4565674 w 5957508"/>
                    <a:gd name="connsiteY577" fmla="*/ 556994 h 3102400"/>
                    <a:gd name="connsiteX578" fmla="*/ 4580408 w 5957508"/>
                    <a:gd name="connsiteY578" fmla="*/ 548667 h 3102400"/>
                    <a:gd name="connsiteX579" fmla="*/ 4569890 w 5957508"/>
                    <a:gd name="connsiteY579" fmla="*/ 539368 h 3102400"/>
                    <a:gd name="connsiteX580" fmla="*/ 4541338 w 5957508"/>
                    <a:gd name="connsiteY580" fmla="*/ 540270 h 3102400"/>
                    <a:gd name="connsiteX581" fmla="*/ 4546866 w 5957508"/>
                    <a:gd name="connsiteY581" fmla="*/ 545341 h 3102400"/>
                    <a:gd name="connsiteX582" fmla="*/ 4526640 w 5957508"/>
                    <a:gd name="connsiteY582" fmla="*/ 545341 h 3102400"/>
                    <a:gd name="connsiteX583" fmla="*/ 4536993 w 5957508"/>
                    <a:gd name="connsiteY583" fmla="*/ 548304 h 3102400"/>
                    <a:gd name="connsiteX584" fmla="*/ 4526640 w 5957508"/>
                    <a:gd name="connsiteY584" fmla="*/ 549686 h 3102400"/>
                    <a:gd name="connsiteX585" fmla="*/ 4530599 w 5957508"/>
                    <a:gd name="connsiteY585" fmla="*/ 558469 h 3102400"/>
                    <a:gd name="connsiteX586" fmla="*/ 4533632 w 5957508"/>
                    <a:gd name="connsiteY586" fmla="*/ 563341 h 3102400"/>
                    <a:gd name="connsiteX587" fmla="*/ 4535611 w 5957508"/>
                    <a:gd name="connsiteY587" fmla="*/ 566995 h 3102400"/>
                    <a:gd name="connsiteX588" fmla="*/ 4534405 w 5957508"/>
                    <a:gd name="connsiteY588" fmla="*/ 572640 h 3102400"/>
                    <a:gd name="connsiteX589" fmla="*/ 4548259 w 5957508"/>
                    <a:gd name="connsiteY589" fmla="*/ 588369 h 3102400"/>
                    <a:gd name="connsiteX590" fmla="*/ 4548423 w 5957508"/>
                    <a:gd name="connsiteY590" fmla="*/ 592538 h 3102400"/>
                    <a:gd name="connsiteX591" fmla="*/ 4555942 w 5957508"/>
                    <a:gd name="connsiteY591" fmla="*/ 597914 h 3102400"/>
                    <a:gd name="connsiteX592" fmla="*/ 4569762 w 5957508"/>
                    <a:gd name="connsiteY592" fmla="*/ 607751 h 3102400"/>
                    <a:gd name="connsiteX593" fmla="*/ 4594906 w 5957508"/>
                    <a:gd name="connsiteY593" fmla="*/ 613080 h 3102400"/>
                    <a:gd name="connsiteX594" fmla="*/ 4615308 w 5957508"/>
                    <a:gd name="connsiteY594" fmla="*/ 620587 h 3102400"/>
                    <a:gd name="connsiteX595" fmla="*/ 4599942 w 5957508"/>
                    <a:gd name="connsiteY595" fmla="*/ 625740 h 3102400"/>
                    <a:gd name="connsiteX596" fmla="*/ 4571659 w 5957508"/>
                    <a:gd name="connsiteY596" fmla="*/ 627193 h 3102400"/>
                    <a:gd name="connsiteX597" fmla="*/ 4558835 w 5957508"/>
                    <a:gd name="connsiteY597" fmla="*/ 630940 h 3102400"/>
                    <a:gd name="connsiteX598" fmla="*/ 4563473 w 5957508"/>
                    <a:gd name="connsiteY598" fmla="*/ 630940 h 3102400"/>
                    <a:gd name="connsiteX599" fmla="*/ 4545413 w 5957508"/>
                    <a:gd name="connsiteY599" fmla="*/ 633447 h 3102400"/>
                    <a:gd name="connsiteX600" fmla="*/ 4526605 w 5957508"/>
                    <a:gd name="connsiteY600" fmla="*/ 623012 h 3102400"/>
                    <a:gd name="connsiteX601" fmla="*/ 4545238 w 5957508"/>
                    <a:gd name="connsiteY601" fmla="*/ 622356 h 3102400"/>
                    <a:gd name="connsiteX602" fmla="*/ 4508499 w 5957508"/>
                    <a:gd name="connsiteY602" fmla="*/ 618995 h 3102400"/>
                    <a:gd name="connsiteX603" fmla="*/ 4454555 w 5957508"/>
                    <a:gd name="connsiteY603" fmla="*/ 628083 h 3102400"/>
                    <a:gd name="connsiteX604" fmla="*/ 4429844 w 5957508"/>
                    <a:gd name="connsiteY604" fmla="*/ 632674 h 3102400"/>
                    <a:gd name="connsiteX605" fmla="*/ 4419573 w 5957508"/>
                    <a:gd name="connsiteY605" fmla="*/ 624616 h 3102400"/>
                    <a:gd name="connsiteX606" fmla="*/ 4414795 w 5957508"/>
                    <a:gd name="connsiteY606" fmla="*/ 621993 h 3102400"/>
                    <a:gd name="connsiteX607" fmla="*/ 4409993 w 5957508"/>
                    <a:gd name="connsiteY607" fmla="*/ 618491 h 3102400"/>
                    <a:gd name="connsiteX608" fmla="*/ 4393656 w 5957508"/>
                    <a:gd name="connsiteY608" fmla="*/ 622367 h 3102400"/>
                    <a:gd name="connsiteX609" fmla="*/ 4403376 w 5957508"/>
                    <a:gd name="connsiteY609" fmla="*/ 626689 h 3102400"/>
                    <a:gd name="connsiteX610" fmla="*/ 4370619 w 5957508"/>
                    <a:gd name="connsiteY610" fmla="*/ 650709 h 3102400"/>
                    <a:gd name="connsiteX611" fmla="*/ 4357490 w 5957508"/>
                    <a:gd name="connsiteY611" fmla="*/ 644362 h 3102400"/>
                    <a:gd name="connsiteX612" fmla="*/ 4342418 w 5957508"/>
                    <a:gd name="connsiteY612" fmla="*/ 641504 h 3102400"/>
                    <a:gd name="connsiteX613" fmla="*/ 4312541 w 5957508"/>
                    <a:gd name="connsiteY613" fmla="*/ 631420 h 3102400"/>
                    <a:gd name="connsiteX614" fmla="*/ 4306979 w 5957508"/>
                    <a:gd name="connsiteY614" fmla="*/ 617940 h 3102400"/>
                    <a:gd name="connsiteX615" fmla="*/ 4281963 w 5957508"/>
                    <a:gd name="connsiteY615" fmla="*/ 606311 h 3102400"/>
                    <a:gd name="connsiteX616" fmla="*/ 4263927 w 5957508"/>
                    <a:gd name="connsiteY616" fmla="*/ 589528 h 3102400"/>
                    <a:gd name="connsiteX617" fmla="*/ 4261526 w 5957508"/>
                    <a:gd name="connsiteY617" fmla="*/ 582677 h 3102400"/>
                    <a:gd name="connsiteX618" fmla="*/ 4258223 w 5957508"/>
                    <a:gd name="connsiteY618" fmla="*/ 577196 h 3102400"/>
                    <a:gd name="connsiteX619" fmla="*/ 4275990 w 5957508"/>
                    <a:gd name="connsiteY619" fmla="*/ 579901 h 3102400"/>
                    <a:gd name="connsiteX620" fmla="*/ 4287608 w 5957508"/>
                    <a:gd name="connsiteY620" fmla="*/ 573366 h 3102400"/>
                    <a:gd name="connsiteX621" fmla="*/ 4272886 w 5957508"/>
                    <a:gd name="connsiteY621" fmla="*/ 572113 h 3102400"/>
                    <a:gd name="connsiteX622" fmla="*/ 4281108 w 5957508"/>
                    <a:gd name="connsiteY622" fmla="*/ 565672 h 3102400"/>
                    <a:gd name="connsiteX623" fmla="*/ 4280733 w 5957508"/>
                    <a:gd name="connsiteY623" fmla="*/ 551899 h 3102400"/>
                    <a:gd name="connsiteX624" fmla="*/ 4272722 w 5957508"/>
                    <a:gd name="connsiteY624" fmla="*/ 546477 h 3102400"/>
                    <a:gd name="connsiteX625" fmla="*/ 4268951 w 5957508"/>
                    <a:gd name="connsiteY625" fmla="*/ 538735 h 3102400"/>
                    <a:gd name="connsiteX626" fmla="*/ 4281705 w 5957508"/>
                    <a:gd name="connsiteY626" fmla="*/ 531814 h 3102400"/>
                    <a:gd name="connsiteX627" fmla="*/ 4290301 w 5957508"/>
                    <a:gd name="connsiteY627" fmla="*/ 533617 h 3102400"/>
                    <a:gd name="connsiteX628" fmla="*/ 4301439 w 5957508"/>
                    <a:gd name="connsiteY628" fmla="*/ 536627 h 3102400"/>
                    <a:gd name="connsiteX629" fmla="*/ 4299600 w 5957508"/>
                    <a:gd name="connsiteY629" fmla="*/ 530982 h 3102400"/>
                    <a:gd name="connsiteX630" fmla="*/ 4299097 w 5957508"/>
                    <a:gd name="connsiteY630" fmla="*/ 509644 h 3102400"/>
                    <a:gd name="connsiteX631" fmla="*/ 4319006 w 5957508"/>
                    <a:gd name="connsiteY631" fmla="*/ 506119 h 3102400"/>
                    <a:gd name="connsiteX632" fmla="*/ 4316149 w 5957508"/>
                    <a:gd name="connsiteY632" fmla="*/ 503730 h 3102400"/>
                    <a:gd name="connsiteX633" fmla="*/ 4337229 w 5957508"/>
                    <a:gd name="connsiteY633" fmla="*/ 492697 h 3102400"/>
                    <a:gd name="connsiteX634" fmla="*/ 4341879 w 5957508"/>
                    <a:gd name="connsiteY634" fmla="*/ 498799 h 3102400"/>
                    <a:gd name="connsiteX635" fmla="*/ 4346095 w 5957508"/>
                    <a:gd name="connsiteY635" fmla="*/ 489442 h 3102400"/>
                    <a:gd name="connsiteX636" fmla="*/ 4372270 w 5957508"/>
                    <a:gd name="connsiteY636" fmla="*/ 483890 h 3102400"/>
                    <a:gd name="connsiteX637" fmla="*/ 4364365 w 5957508"/>
                    <a:gd name="connsiteY637" fmla="*/ 486080 h 3102400"/>
                    <a:gd name="connsiteX638" fmla="*/ 4375456 w 5957508"/>
                    <a:gd name="connsiteY638" fmla="*/ 499162 h 3102400"/>
                    <a:gd name="connsiteX639" fmla="*/ 4375456 w 5957508"/>
                    <a:gd name="connsiteY639" fmla="*/ 499162 h 3102400"/>
                    <a:gd name="connsiteX640" fmla="*/ 2141494 w 5957508"/>
                    <a:gd name="connsiteY640" fmla="*/ 476325 h 3102400"/>
                    <a:gd name="connsiteX641" fmla="*/ 2160443 w 5957508"/>
                    <a:gd name="connsiteY641" fmla="*/ 482930 h 3102400"/>
                    <a:gd name="connsiteX642" fmla="*/ 2157796 w 5957508"/>
                    <a:gd name="connsiteY642" fmla="*/ 492686 h 3102400"/>
                    <a:gd name="connsiteX643" fmla="*/ 2151085 w 5957508"/>
                    <a:gd name="connsiteY643" fmla="*/ 480880 h 3102400"/>
                    <a:gd name="connsiteX644" fmla="*/ 2148860 w 5957508"/>
                    <a:gd name="connsiteY644" fmla="*/ 486748 h 3102400"/>
                    <a:gd name="connsiteX645" fmla="*/ 2139561 w 5957508"/>
                    <a:gd name="connsiteY645" fmla="*/ 487533 h 3102400"/>
                    <a:gd name="connsiteX646" fmla="*/ 2143485 w 5957508"/>
                    <a:gd name="connsiteY646" fmla="*/ 494946 h 3102400"/>
                    <a:gd name="connsiteX647" fmla="*/ 2146014 w 5957508"/>
                    <a:gd name="connsiteY647" fmla="*/ 497136 h 3102400"/>
                    <a:gd name="connsiteX648" fmla="*/ 2135767 w 5957508"/>
                    <a:gd name="connsiteY648" fmla="*/ 492943 h 3102400"/>
                    <a:gd name="connsiteX649" fmla="*/ 2117625 w 5957508"/>
                    <a:gd name="connsiteY649" fmla="*/ 492206 h 3102400"/>
                    <a:gd name="connsiteX650" fmla="*/ 2107155 w 5957508"/>
                    <a:gd name="connsiteY650" fmla="*/ 488235 h 3102400"/>
                    <a:gd name="connsiteX651" fmla="*/ 2088429 w 5957508"/>
                    <a:gd name="connsiteY651" fmla="*/ 486080 h 3102400"/>
                    <a:gd name="connsiteX652" fmla="*/ 2097435 w 5957508"/>
                    <a:gd name="connsiteY652" fmla="*/ 478761 h 3102400"/>
                    <a:gd name="connsiteX653" fmla="*/ 2104298 w 5957508"/>
                    <a:gd name="connsiteY653" fmla="*/ 483972 h 3102400"/>
                    <a:gd name="connsiteX654" fmla="*/ 2114159 w 5957508"/>
                    <a:gd name="connsiteY654" fmla="*/ 477519 h 3102400"/>
                    <a:gd name="connsiteX655" fmla="*/ 2121280 w 5957508"/>
                    <a:gd name="connsiteY655" fmla="*/ 479405 h 3102400"/>
                    <a:gd name="connsiteX656" fmla="*/ 2129068 w 5957508"/>
                    <a:gd name="connsiteY656" fmla="*/ 479112 h 3102400"/>
                    <a:gd name="connsiteX657" fmla="*/ 2130485 w 5957508"/>
                    <a:gd name="connsiteY657" fmla="*/ 481806 h 3102400"/>
                    <a:gd name="connsiteX658" fmla="*/ 2133354 w 5957508"/>
                    <a:gd name="connsiteY658" fmla="*/ 484289 h 3102400"/>
                    <a:gd name="connsiteX659" fmla="*/ 2141494 w 5957508"/>
                    <a:gd name="connsiteY659" fmla="*/ 476325 h 3102400"/>
                    <a:gd name="connsiteX660" fmla="*/ 2141494 w 5957508"/>
                    <a:gd name="connsiteY660" fmla="*/ 476325 h 3102400"/>
                    <a:gd name="connsiteX661" fmla="*/ 2988389 w 5957508"/>
                    <a:gd name="connsiteY661" fmla="*/ 443169 h 3102400"/>
                    <a:gd name="connsiteX662" fmla="*/ 2986715 w 5957508"/>
                    <a:gd name="connsiteY662" fmla="*/ 444645 h 3102400"/>
                    <a:gd name="connsiteX663" fmla="*/ 2989935 w 5957508"/>
                    <a:gd name="connsiteY663" fmla="*/ 446870 h 3102400"/>
                    <a:gd name="connsiteX664" fmla="*/ 2988495 w 5957508"/>
                    <a:gd name="connsiteY664" fmla="*/ 448346 h 3102400"/>
                    <a:gd name="connsiteX665" fmla="*/ 2991048 w 5957508"/>
                    <a:gd name="connsiteY665" fmla="*/ 449763 h 3102400"/>
                    <a:gd name="connsiteX666" fmla="*/ 2987815 w 5957508"/>
                    <a:gd name="connsiteY666" fmla="*/ 451309 h 3102400"/>
                    <a:gd name="connsiteX667" fmla="*/ 2991387 w 5957508"/>
                    <a:gd name="connsiteY667" fmla="*/ 455736 h 3102400"/>
                    <a:gd name="connsiteX668" fmla="*/ 2991821 w 5957508"/>
                    <a:gd name="connsiteY668" fmla="*/ 461767 h 3102400"/>
                    <a:gd name="connsiteX669" fmla="*/ 2980355 w 5957508"/>
                    <a:gd name="connsiteY669" fmla="*/ 455642 h 3102400"/>
                    <a:gd name="connsiteX670" fmla="*/ 2967027 w 5957508"/>
                    <a:gd name="connsiteY670" fmla="*/ 450103 h 3102400"/>
                    <a:gd name="connsiteX671" fmla="*/ 2959181 w 5957508"/>
                    <a:gd name="connsiteY671" fmla="*/ 444633 h 3102400"/>
                    <a:gd name="connsiteX672" fmla="*/ 2962425 w 5957508"/>
                    <a:gd name="connsiteY672" fmla="*/ 443837 h 3102400"/>
                    <a:gd name="connsiteX673" fmla="*/ 2959579 w 5957508"/>
                    <a:gd name="connsiteY673" fmla="*/ 441612 h 3102400"/>
                    <a:gd name="connsiteX674" fmla="*/ 2972239 w 5957508"/>
                    <a:gd name="connsiteY674" fmla="*/ 442033 h 3102400"/>
                    <a:gd name="connsiteX675" fmla="*/ 2976971 w 5957508"/>
                    <a:gd name="connsiteY675" fmla="*/ 442607 h 3102400"/>
                    <a:gd name="connsiteX676" fmla="*/ 2978095 w 5957508"/>
                    <a:gd name="connsiteY676" fmla="*/ 439515 h 3102400"/>
                    <a:gd name="connsiteX677" fmla="*/ 2988389 w 5957508"/>
                    <a:gd name="connsiteY677" fmla="*/ 443169 h 3102400"/>
                    <a:gd name="connsiteX678" fmla="*/ 2988389 w 5957508"/>
                    <a:gd name="connsiteY678" fmla="*/ 443169 h 3102400"/>
                    <a:gd name="connsiteX679" fmla="*/ 4904688 w 5957508"/>
                    <a:gd name="connsiteY679" fmla="*/ 441225 h 3102400"/>
                    <a:gd name="connsiteX680" fmla="*/ 4879075 w 5957508"/>
                    <a:gd name="connsiteY680" fmla="*/ 441787 h 3102400"/>
                    <a:gd name="connsiteX681" fmla="*/ 4864237 w 5957508"/>
                    <a:gd name="connsiteY681" fmla="*/ 438508 h 3102400"/>
                    <a:gd name="connsiteX682" fmla="*/ 4887437 w 5957508"/>
                    <a:gd name="connsiteY682" fmla="*/ 430006 h 3102400"/>
                    <a:gd name="connsiteX683" fmla="*/ 4914994 w 5957508"/>
                    <a:gd name="connsiteY683" fmla="*/ 426539 h 3102400"/>
                    <a:gd name="connsiteX684" fmla="*/ 4904688 w 5957508"/>
                    <a:gd name="connsiteY684" fmla="*/ 441225 h 3102400"/>
                    <a:gd name="connsiteX685" fmla="*/ 4904688 w 5957508"/>
                    <a:gd name="connsiteY685" fmla="*/ 441225 h 3102400"/>
                    <a:gd name="connsiteX686" fmla="*/ 1376 w 5957508"/>
                    <a:gd name="connsiteY686" fmla="*/ 747365 h 3102400"/>
                    <a:gd name="connsiteX687" fmla="*/ 6306 w 5957508"/>
                    <a:gd name="connsiteY687" fmla="*/ 746943 h 3102400"/>
                    <a:gd name="connsiteX688" fmla="*/ 1376 w 5957508"/>
                    <a:gd name="connsiteY688" fmla="*/ 746486 h 3102400"/>
                    <a:gd name="connsiteX689" fmla="*/ 1376 w 5957508"/>
                    <a:gd name="connsiteY689" fmla="*/ 701865 h 3102400"/>
                    <a:gd name="connsiteX690" fmla="*/ 20595 w 5957508"/>
                    <a:gd name="connsiteY690" fmla="*/ 705063 h 3102400"/>
                    <a:gd name="connsiteX691" fmla="*/ 33302 w 5957508"/>
                    <a:gd name="connsiteY691" fmla="*/ 705625 h 3102400"/>
                    <a:gd name="connsiteX692" fmla="*/ 24998 w 5957508"/>
                    <a:gd name="connsiteY692" fmla="*/ 702802 h 3102400"/>
                    <a:gd name="connsiteX693" fmla="*/ 20021 w 5957508"/>
                    <a:gd name="connsiteY693" fmla="*/ 698633 h 3102400"/>
                    <a:gd name="connsiteX694" fmla="*/ 1376 w 5957508"/>
                    <a:gd name="connsiteY694" fmla="*/ 687530 h 3102400"/>
                    <a:gd name="connsiteX695" fmla="*/ 16636 w 5957508"/>
                    <a:gd name="connsiteY695" fmla="*/ 689076 h 3102400"/>
                    <a:gd name="connsiteX696" fmla="*/ 23031 w 5957508"/>
                    <a:gd name="connsiteY696" fmla="*/ 688678 h 3102400"/>
                    <a:gd name="connsiteX697" fmla="*/ 26567 w 5957508"/>
                    <a:gd name="connsiteY697" fmla="*/ 689170 h 3102400"/>
                    <a:gd name="connsiteX698" fmla="*/ 1388 w 5957508"/>
                    <a:gd name="connsiteY698" fmla="*/ 680984 h 3102400"/>
                    <a:gd name="connsiteX699" fmla="*/ 36382 w 5957508"/>
                    <a:gd name="connsiteY699" fmla="*/ 670654 h 3102400"/>
                    <a:gd name="connsiteX700" fmla="*/ 54851 w 5957508"/>
                    <a:gd name="connsiteY700" fmla="*/ 668546 h 3102400"/>
                    <a:gd name="connsiteX701" fmla="*/ 40984 w 5957508"/>
                    <a:gd name="connsiteY701" fmla="*/ 667820 h 3102400"/>
                    <a:gd name="connsiteX702" fmla="*/ 44509 w 5957508"/>
                    <a:gd name="connsiteY702" fmla="*/ 664939 h 3102400"/>
                    <a:gd name="connsiteX703" fmla="*/ 22340 w 5957508"/>
                    <a:gd name="connsiteY703" fmla="*/ 664939 h 3102400"/>
                    <a:gd name="connsiteX704" fmla="*/ 14130 w 5957508"/>
                    <a:gd name="connsiteY704" fmla="*/ 660067 h 3102400"/>
                    <a:gd name="connsiteX705" fmla="*/ 23815 w 5957508"/>
                    <a:gd name="connsiteY705" fmla="*/ 648390 h 3102400"/>
                    <a:gd name="connsiteX706" fmla="*/ 43256 w 5957508"/>
                    <a:gd name="connsiteY706" fmla="*/ 648308 h 3102400"/>
                    <a:gd name="connsiteX707" fmla="*/ 63845 w 5957508"/>
                    <a:gd name="connsiteY707" fmla="*/ 645954 h 3102400"/>
                    <a:gd name="connsiteX708" fmla="*/ 91719 w 5957508"/>
                    <a:gd name="connsiteY708" fmla="*/ 647290 h 3102400"/>
                    <a:gd name="connsiteX709" fmla="*/ 71668 w 5957508"/>
                    <a:gd name="connsiteY709" fmla="*/ 646575 h 3102400"/>
                    <a:gd name="connsiteX710" fmla="*/ 61983 w 5957508"/>
                    <a:gd name="connsiteY710" fmla="*/ 640790 h 3102400"/>
                    <a:gd name="connsiteX711" fmla="*/ 66375 w 5957508"/>
                    <a:gd name="connsiteY711" fmla="*/ 636609 h 3102400"/>
                    <a:gd name="connsiteX712" fmla="*/ 32938 w 5957508"/>
                    <a:gd name="connsiteY712" fmla="*/ 631924 h 3102400"/>
                    <a:gd name="connsiteX713" fmla="*/ 55870 w 5957508"/>
                    <a:gd name="connsiteY713" fmla="*/ 625975 h 3102400"/>
                    <a:gd name="connsiteX714" fmla="*/ 75627 w 5957508"/>
                    <a:gd name="connsiteY714" fmla="*/ 620470 h 3102400"/>
                    <a:gd name="connsiteX715" fmla="*/ 58879 w 5957508"/>
                    <a:gd name="connsiteY715" fmla="*/ 621278 h 3102400"/>
                    <a:gd name="connsiteX716" fmla="*/ 60238 w 5957508"/>
                    <a:gd name="connsiteY716" fmla="*/ 618784 h 3102400"/>
                    <a:gd name="connsiteX717" fmla="*/ 55624 w 5957508"/>
                    <a:gd name="connsiteY717" fmla="*/ 618784 h 3102400"/>
                    <a:gd name="connsiteX718" fmla="*/ 55237 w 5957508"/>
                    <a:gd name="connsiteY718" fmla="*/ 612647 h 3102400"/>
                    <a:gd name="connsiteX719" fmla="*/ 37424 w 5957508"/>
                    <a:gd name="connsiteY719" fmla="*/ 607377 h 3102400"/>
                    <a:gd name="connsiteX720" fmla="*/ 25958 w 5957508"/>
                    <a:gd name="connsiteY720" fmla="*/ 606604 h 3102400"/>
                    <a:gd name="connsiteX721" fmla="*/ 45622 w 5957508"/>
                    <a:gd name="connsiteY721" fmla="*/ 593018 h 3102400"/>
                    <a:gd name="connsiteX722" fmla="*/ 44509 w 5957508"/>
                    <a:gd name="connsiteY722" fmla="*/ 594447 h 3102400"/>
                    <a:gd name="connsiteX723" fmla="*/ 52415 w 5957508"/>
                    <a:gd name="connsiteY723" fmla="*/ 594447 h 3102400"/>
                    <a:gd name="connsiteX724" fmla="*/ 47379 w 5957508"/>
                    <a:gd name="connsiteY724" fmla="*/ 598734 h 3102400"/>
                    <a:gd name="connsiteX725" fmla="*/ 59606 w 5957508"/>
                    <a:gd name="connsiteY725" fmla="*/ 595431 h 3102400"/>
                    <a:gd name="connsiteX726" fmla="*/ 63482 w 5957508"/>
                    <a:gd name="connsiteY726" fmla="*/ 608091 h 3102400"/>
                    <a:gd name="connsiteX727" fmla="*/ 81506 w 5957508"/>
                    <a:gd name="connsiteY727" fmla="*/ 594424 h 3102400"/>
                    <a:gd name="connsiteX728" fmla="*/ 87608 w 5957508"/>
                    <a:gd name="connsiteY728" fmla="*/ 589575 h 3102400"/>
                    <a:gd name="connsiteX729" fmla="*/ 83298 w 5957508"/>
                    <a:gd name="connsiteY729" fmla="*/ 584914 h 3102400"/>
                    <a:gd name="connsiteX730" fmla="*/ 79773 w 5957508"/>
                    <a:gd name="connsiteY730" fmla="*/ 581764 h 3102400"/>
                    <a:gd name="connsiteX731" fmla="*/ 91988 w 5957508"/>
                    <a:gd name="connsiteY731" fmla="*/ 574549 h 3102400"/>
                    <a:gd name="connsiteX732" fmla="*/ 114615 w 5957508"/>
                    <a:gd name="connsiteY732" fmla="*/ 575744 h 3102400"/>
                    <a:gd name="connsiteX733" fmla="*/ 131058 w 5957508"/>
                    <a:gd name="connsiteY733" fmla="*/ 580768 h 3102400"/>
                    <a:gd name="connsiteX734" fmla="*/ 126830 w 5957508"/>
                    <a:gd name="connsiteY734" fmla="*/ 570813 h 3102400"/>
                    <a:gd name="connsiteX735" fmla="*/ 118526 w 5957508"/>
                    <a:gd name="connsiteY735" fmla="*/ 562709 h 3102400"/>
                    <a:gd name="connsiteX736" fmla="*/ 134571 w 5957508"/>
                    <a:gd name="connsiteY736" fmla="*/ 557509 h 3102400"/>
                    <a:gd name="connsiteX737" fmla="*/ 151365 w 5957508"/>
                    <a:gd name="connsiteY737" fmla="*/ 554733 h 3102400"/>
                    <a:gd name="connsiteX738" fmla="*/ 140696 w 5957508"/>
                    <a:gd name="connsiteY738" fmla="*/ 548983 h 3102400"/>
                    <a:gd name="connsiteX739" fmla="*/ 157619 w 5957508"/>
                    <a:gd name="connsiteY739" fmla="*/ 542261 h 3102400"/>
                    <a:gd name="connsiteX740" fmla="*/ 176088 w 5957508"/>
                    <a:gd name="connsiteY740" fmla="*/ 537986 h 3102400"/>
                    <a:gd name="connsiteX741" fmla="*/ 172528 w 5957508"/>
                    <a:gd name="connsiteY741" fmla="*/ 535081 h 3102400"/>
                    <a:gd name="connsiteX742" fmla="*/ 179344 w 5957508"/>
                    <a:gd name="connsiteY742" fmla="*/ 532189 h 3102400"/>
                    <a:gd name="connsiteX743" fmla="*/ 182483 w 5957508"/>
                    <a:gd name="connsiteY743" fmla="*/ 528792 h 3102400"/>
                    <a:gd name="connsiteX744" fmla="*/ 201432 w 5957508"/>
                    <a:gd name="connsiteY744" fmla="*/ 523803 h 3102400"/>
                    <a:gd name="connsiteX745" fmla="*/ 219831 w 5957508"/>
                    <a:gd name="connsiteY745" fmla="*/ 516261 h 3102400"/>
                    <a:gd name="connsiteX746" fmla="*/ 239155 w 5957508"/>
                    <a:gd name="connsiteY746" fmla="*/ 515383 h 3102400"/>
                    <a:gd name="connsiteX747" fmla="*/ 257027 w 5957508"/>
                    <a:gd name="connsiteY747" fmla="*/ 510042 h 3102400"/>
                    <a:gd name="connsiteX748" fmla="*/ 251101 w 5957508"/>
                    <a:gd name="connsiteY748" fmla="*/ 503695 h 3102400"/>
                    <a:gd name="connsiteX749" fmla="*/ 292606 w 5957508"/>
                    <a:gd name="connsiteY749" fmla="*/ 496316 h 3102400"/>
                    <a:gd name="connsiteX750" fmla="*/ 273329 w 5957508"/>
                    <a:gd name="connsiteY750" fmla="*/ 508086 h 3102400"/>
                    <a:gd name="connsiteX751" fmla="*/ 282090 w 5957508"/>
                    <a:gd name="connsiteY751" fmla="*/ 509773 h 3102400"/>
                    <a:gd name="connsiteX752" fmla="*/ 290428 w 5957508"/>
                    <a:gd name="connsiteY752" fmla="*/ 504444 h 3102400"/>
                    <a:gd name="connsiteX753" fmla="*/ 309061 w 5957508"/>
                    <a:gd name="connsiteY753" fmla="*/ 495672 h 3102400"/>
                    <a:gd name="connsiteX754" fmla="*/ 299235 w 5957508"/>
                    <a:gd name="connsiteY754" fmla="*/ 494314 h 3102400"/>
                    <a:gd name="connsiteX755" fmla="*/ 299071 w 5957508"/>
                    <a:gd name="connsiteY755" fmla="*/ 489418 h 3102400"/>
                    <a:gd name="connsiteX756" fmla="*/ 301495 w 5957508"/>
                    <a:gd name="connsiteY756" fmla="*/ 485401 h 3102400"/>
                    <a:gd name="connsiteX757" fmla="*/ 301390 w 5957508"/>
                    <a:gd name="connsiteY757" fmla="*/ 482227 h 3102400"/>
                    <a:gd name="connsiteX758" fmla="*/ 309811 w 5957508"/>
                    <a:gd name="connsiteY758" fmla="*/ 479440 h 3102400"/>
                    <a:gd name="connsiteX759" fmla="*/ 332988 w 5957508"/>
                    <a:gd name="connsiteY759" fmla="*/ 477250 h 3102400"/>
                    <a:gd name="connsiteX760" fmla="*/ 348787 w 5957508"/>
                    <a:gd name="connsiteY760" fmla="*/ 477789 h 3102400"/>
                    <a:gd name="connsiteX761" fmla="*/ 358929 w 5957508"/>
                    <a:gd name="connsiteY761" fmla="*/ 482192 h 3102400"/>
                    <a:gd name="connsiteX762" fmla="*/ 374294 w 5957508"/>
                    <a:gd name="connsiteY762" fmla="*/ 481232 h 3102400"/>
                    <a:gd name="connsiteX763" fmla="*/ 379471 w 5957508"/>
                    <a:gd name="connsiteY763" fmla="*/ 490437 h 3102400"/>
                    <a:gd name="connsiteX764" fmla="*/ 387037 w 5957508"/>
                    <a:gd name="connsiteY764" fmla="*/ 485225 h 3102400"/>
                    <a:gd name="connsiteX765" fmla="*/ 397354 w 5957508"/>
                    <a:gd name="connsiteY765" fmla="*/ 484640 h 3102400"/>
                    <a:gd name="connsiteX766" fmla="*/ 401266 w 5957508"/>
                    <a:gd name="connsiteY766" fmla="*/ 484640 h 3102400"/>
                    <a:gd name="connsiteX767" fmla="*/ 414231 w 5957508"/>
                    <a:gd name="connsiteY767" fmla="*/ 483363 h 3102400"/>
                    <a:gd name="connsiteX768" fmla="*/ 430299 w 5957508"/>
                    <a:gd name="connsiteY768" fmla="*/ 478304 h 3102400"/>
                    <a:gd name="connsiteX769" fmla="*/ 451192 w 5957508"/>
                    <a:gd name="connsiteY769" fmla="*/ 472226 h 3102400"/>
                    <a:gd name="connsiteX770" fmla="*/ 455619 w 5957508"/>
                    <a:gd name="connsiteY770" fmla="*/ 470750 h 3102400"/>
                    <a:gd name="connsiteX771" fmla="*/ 458535 w 5957508"/>
                    <a:gd name="connsiteY771" fmla="*/ 474826 h 3102400"/>
                    <a:gd name="connsiteX772" fmla="*/ 469872 w 5957508"/>
                    <a:gd name="connsiteY772" fmla="*/ 472226 h 3102400"/>
                    <a:gd name="connsiteX773" fmla="*/ 480998 w 5957508"/>
                    <a:gd name="connsiteY773" fmla="*/ 469602 h 3102400"/>
                    <a:gd name="connsiteX774" fmla="*/ 484195 w 5957508"/>
                    <a:gd name="connsiteY774" fmla="*/ 466440 h 3102400"/>
                    <a:gd name="connsiteX775" fmla="*/ 492768 w 5957508"/>
                    <a:gd name="connsiteY775" fmla="*/ 468314 h 3102400"/>
                    <a:gd name="connsiteX776" fmla="*/ 499573 w 5957508"/>
                    <a:gd name="connsiteY776" fmla="*/ 460936 h 3102400"/>
                    <a:gd name="connsiteX777" fmla="*/ 507630 w 5957508"/>
                    <a:gd name="connsiteY777" fmla="*/ 455841 h 3102400"/>
                    <a:gd name="connsiteX778" fmla="*/ 515020 w 5957508"/>
                    <a:gd name="connsiteY778" fmla="*/ 458956 h 3102400"/>
                    <a:gd name="connsiteX779" fmla="*/ 533829 w 5957508"/>
                    <a:gd name="connsiteY779" fmla="*/ 448018 h 3102400"/>
                    <a:gd name="connsiteX780" fmla="*/ 562639 w 5957508"/>
                    <a:gd name="connsiteY780" fmla="*/ 451285 h 3102400"/>
                    <a:gd name="connsiteX781" fmla="*/ 556022 w 5957508"/>
                    <a:gd name="connsiteY781" fmla="*/ 440850 h 3102400"/>
                    <a:gd name="connsiteX782" fmla="*/ 557463 w 5957508"/>
                    <a:gd name="connsiteY782" fmla="*/ 429092 h 3102400"/>
                    <a:gd name="connsiteX783" fmla="*/ 580698 w 5957508"/>
                    <a:gd name="connsiteY783" fmla="*/ 421772 h 3102400"/>
                    <a:gd name="connsiteX784" fmla="*/ 587397 w 5957508"/>
                    <a:gd name="connsiteY784" fmla="*/ 416338 h 3102400"/>
                    <a:gd name="connsiteX785" fmla="*/ 595607 w 5957508"/>
                    <a:gd name="connsiteY785" fmla="*/ 412298 h 3102400"/>
                    <a:gd name="connsiteX786" fmla="*/ 609708 w 5957508"/>
                    <a:gd name="connsiteY786" fmla="*/ 407285 h 3102400"/>
                    <a:gd name="connsiteX787" fmla="*/ 624617 w 5957508"/>
                    <a:gd name="connsiteY787" fmla="*/ 406442 h 3102400"/>
                    <a:gd name="connsiteX788" fmla="*/ 659435 w 5957508"/>
                    <a:gd name="connsiteY788" fmla="*/ 400785 h 3102400"/>
                    <a:gd name="connsiteX789" fmla="*/ 675527 w 5957508"/>
                    <a:gd name="connsiteY789" fmla="*/ 404908 h 3102400"/>
                    <a:gd name="connsiteX790" fmla="*/ 692895 w 5957508"/>
                    <a:gd name="connsiteY790" fmla="*/ 406430 h 3102400"/>
                    <a:gd name="connsiteX791" fmla="*/ 708307 w 5957508"/>
                    <a:gd name="connsiteY791" fmla="*/ 415530 h 3102400"/>
                    <a:gd name="connsiteX792" fmla="*/ 714268 w 5957508"/>
                    <a:gd name="connsiteY792" fmla="*/ 424162 h 3102400"/>
                    <a:gd name="connsiteX793" fmla="*/ 720054 w 5957508"/>
                    <a:gd name="connsiteY793" fmla="*/ 432664 h 3102400"/>
                    <a:gd name="connsiteX794" fmla="*/ 707218 w 5957508"/>
                    <a:gd name="connsiteY794" fmla="*/ 446086 h 3102400"/>
                    <a:gd name="connsiteX795" fmla="*/ 715076 w 5957508"/>
                    <a:gd name="connsiteY795" fmla="*/ 448311 h 3102400"/>
                    <a:gd name="connsiteX796" fmla="*/ 697638 w 5957508"/>
                    <a:gd name="connsiteY796" fmla="*/ 461404 h 3102400"/>
                    <a:gd name="connsiteX797" fmla="*/ 688960 w 5957508"/>
                    <a:gd name="connsiteY797" fmla="*/ 466850 h 3102400"/>
                    <a:gd name="connsiteX798" fmla="*/ 675409 w 5957508"/>
                    <a:gd name="connsiteY798" fmla="*/ 475704 h 3102400"/>
                    <a:gd name="connsiteX799" fmla="*/ 683221 w 5957508"/>
                    <a:gd name="connsiteY799" fmla="*/ 477882 h 3102400"/>
                    <a:gd name="connsiteX800" fmla="*/ 660875 w 5957508"/>
                    <a:gd name="connsiteY800" fmla="*/ 482028 h 3102400"/>
                    <a:gd name="connsiteX801" fmla="*/ 634033 w 5957508"/>
                    <a:gd name="connsiteY801" fmla="*/ 491187 h 3102400"/>
                    <a:gd name="connsiteX802" fmla="*/ 612003 w 5957508"/>
                    <a:gd name="connsiteY802" fmla="*/ 499631 h 3102400"/>
                    <a:gd name="connsiteX803" fmla="*/ 589084 w 5957508"/>
                    <a:gd name="connsiteY803" fmla="*/ 506939 h 3102400"/>
                    <a:gd name="connsiteX804" fmla="*/ 543151 w 5957508"/>
                    <a:gd name="connsiteY804" fmla="*/ 519962 h 3102400"/>
                    <a:gd name="connsiteX805" fmla="*/ 524869 w 5957508"/>
                    <a:gd name="connsiteY805" fmla="*/ 524143 h 3102400"/>
                    <a:gd name="connsiteX806" fmla="*/ 515535 w 5957508"/>
                    <a:gd name="connsiteY806" fmla="*/ 529132 h 3102400"/>
                    <a:gd name="connsiteX807" fmla="*/ 492347 w 5957508"/>
                    <a:gd name="connsiteY807" fmla="*/ 533383 h 3102400"/>
                    <a:gd name="connsiteX808" fmla="*/ 464028 w 5957508"/>
                    <a:gd name="connsiteY808" fmla="*/ 539391 h 3102400"/>
                    <a:gd name="connsiteX809" fmla="*/ 442327 w 5957508"/>
                    <a:gd name="connsiteY809" fmla="*/ 548245 h 3102400"/>
                    <a:gd name="connsiteX810" fmla="*/ 434129 w 5957508"/>
                    <a:gd name="connsiteY810" fmla="*/ 540223 h 3102400"/>
                    <a:gd name="connsiteX811" fmla="*/ 421761 w 5957508"/>
                    <a:gd name="connsiteY811" fmla="*/ 552965 h 3102400"/>
                    <a:gd name="connsiteX812" fmla="*/ 406876 w 5957508"/>
                    <a:gd name="connsiteY812" fmla="*/ 553340 h 3102400"/>
                    <a:gd name="connsiteX813" fmla="*/ 387107 w 5957508"/>
                    <a:gd name="connsiteY813" fmla="*/ 560870 h 3102400"/>
                    <a:gd name="connsiteX814" fmla="*/ 368579 w 5957508"/>
                    <a:gd name="connsiteY814" fmla="*/ 568412 h 3102400"/>
                    <a:gd name="connsiteX815" fmla="*/ 356891 w 5957508"/>
                    <a:gd name="connsiteY815" fmla="*/ 568319 h 3102400"/>
                    <a:gd name="connsiteX816" fmla="*/ 346749 w 5957508"/>
                    <a:gd name="connsiteY816" fmla="*/ 574409 h 3102400"/>
                    <a:gd name="connsiteX817" fmla="*/ 337204 w 5957508"/>
                    <a:gd name="connsiteY817" fmla="*/ 575732 h 3102400"/>
                    <a:gd name="connsiteX818" fmla="*/ 335436 w 5957508"/>
                    <a:gd name="connsiteY818" fmla="*/ 580756 h 3102400"/>
                    <a:gd name="connsiteX819" fmla="*/ 336888 w 5957508"/>
                    <a:gd name="connsiteY819" fmla="*/ 582185 h 3102400"/>
                    <a:gd name="connsiteX820" fmla="*/ 334018 w 5957508"/>
                    <a:gd name="connsiteY820" fmla="*/ 583684 h 3102400"/>
                    <a:gd name="connsiteX821" fmla="*/ 335119 w 5957508"/>
                    <a:gd name="connsiteY821" fmla="*/ 585827 h 3102400"/>
                    <a:gd name="connsiteX822" fmla="*/ 325083 w 5957508"/>
                    <a:gd name="connsiteY822" fmla="*/ 591648 h 3102400"/>
                    <a:gd name="connsiteX823" fmla="*/ 320820 w 5957508"/>
                    <a:gd name="connsiteY823" fmla="*/ 580089 h 3102400"/>
                    <a:gd name="connsiteX824" fmla="*/ 315444 w 5957508"/>
                    <a:gd name="connsiteY824" fmla="*/ 580745 h 3102400"/>
                    <a:gd name="connsiteX825" fmla="*/ 287957 w 5957508"/>
                    <a:gd name="connsiteY825" fmla="*/ 603781 h 3102400"/>
                    <a:gd name="connsiteX826" fmla="*/ 278693 w 5957508"/>
                    <a:gd name="connsiteY826" fmla="*/ 608196 h 3102400"/>
                    <a:gd name="connsiteX827" fmla="*/ 276117 w 5957508"/>
                    <a:gd name="connsiteY827" fmla="*/ 603055 h 3102400"/>
                    <a:gd name="connsiteX828" fmla="*/ 271491 w 5957508"/>
                    <a:gd name="connsiteY828" fmla="*/ 610211 h 3102400"/>
                    <a:gd name="connsiteX829" fmla="*/ 273282 w 5957508"/>
                    <a:gd name="connsiteY829" fmla="*/ 611698 h 3102400"/>
                    <a:gd name="connsiteX830" fmla="*/ 261091 w 5957508"/>
                    <a:gd name="connsiteY830" fmla="*/ 615973 h 3102400"/>
                    <a:gd name="connsiteX831" fmla="*/ 262531 w 5957508"/>
                    <a:gd name="connsiteY831" fmla="*/ 614486 h 3102400"/>
                    <a:gd name="connsiteX832" fmla="*/ 245046 w 5957508"/>
                    <a:gd name="connsiteY832" fmla="*/ 614486 h 3102400"/>
                    <a:gd name="connsiteX833" fmla="*/ 281691 w 5957508"/>
                    <a:gd name="connsiteY833" fmla="*/ 618959 h 3102400"/>
                    <a:gd name="connsiteX834" fmla="*/ 258983 w 5957508"/>
                    <a:gd name="connsiteY834" fmla="*/ 630179 h 3102400"/>
                    <a:gd name="connsiteX835" fmla="*/ 266150 w 5957508"/>
                    <a:gd name="connsiteY835" fmla="*/ 634665 h 3102400"/>
                    <a:gd name="connsiteX836" fmla="*/ 255809 w 5957508"/>
                    <a:gd name="connsiteY836" fmla="*/ 642160 h 3102400"/>
                    <a:gd name="connsiteX837" fmla="*/ 223216 w 5957508"/>
                    <a:gd name="connsiteY837" fmla="*/ 635918 h 3102400"/>
                    <a:gd name="connsiteX838" fmla="*/ 229634 w 5957508"/>
                    <a:gd name="connsiteY838" fmla="*/ 643038 h 3102400"/>
                    <a:gd name="connsiteX839" fmla="*/ 237679 w 5957508"/>
                    <a:gd name="connsiteY839" fmla="*/ 645041 h 3102400"/>
                    <a:gd name="connsiteX840" fmla="*/ 241462 w 5957508"/>
                    <a:gd name="connsiteY840" fmla="*/ 654106 h 3102400"/>
                    <a:gd name="connsiteX841" fmla="*/ 201409 w 5957508"/>
                    <a:gd name="connsiteY841" fmla="*/ 642289 h 3102400"/>
                    <a:gd name="connsiteX842" fmla="*/ 211809 w 5957508"/>
                    <a:gd name="connsiteY842" fmla="*/ 652185 h 3102400"/>
                    <a:gd name="connsiteX843" fmla="*/ 201046 w 5957508"/>
                    <a:gd name="connsiteY843" fmla="*/ 651541 h 3102400"/>
                    <a:gd name="connsiteX844" fmla="*/ 204278 w 5957508"/>
                    <a:gd name="connsiteY844" fmla="*/ 672680 h 3102400"/>
                    <a:gd name="connsiteX845" fmla="*/ 162690 w 5957508"/>
                    <a:gd name="connsiteY845" fmla="*/ 660957 h 3102400"/>
                    <a:gd name="connsiteX846" fmla="*/ 162468 w 5957508"/>
                    <a:gd name="connsiteY846" fmla="*/ 664482 h 3102400"/>
                    <a:gd name="connsiteX847" fmla="*/ 177833 w 5957508"/>
                    <a:gd name="connsiteY847" fmla="*/ 674788 h 3102400"/>
                    <a:gd name="connsiteX848" fmla="*/ 174261 w 5957508"/>
                    <a:gd name="connsiteY848" fmla="*/ 678360 h 3102400"/>
                    <a:gd name="connsiteX849" fmla="*/ 180047 w 5957508"/>
                    <a:gd name="connsiteY849" fmla="*/ 686582 h 3102400"/>
                    <a:gd name="connsiteX850" fmla="*/ 183162 w 5957508"/>
                    <a:gd name="connsiteY850" fmla="*/ 690283 h 3102400"/>
                    <a:gd name="connsiteX851" fmla="*/ 180000 w 5957508"/>
                    <a:gd name="connsiteY851" fmla="*/ 692449 h 3102400"/>
                    <a:gd name="connsiteX852" fmla="*/ 182495 w 5957508"/>
                    <a:gd name="connsiteY852" fmla="*/ 693784 h 3102400"/>
                    <a:gd name="connsiteX853" fmla="*/ 172481 w 5957508"/>
                    <a:gd name="connsiteY853" fmla="*/ 693784 h 3102400"/>
                    <a:gd name="connsiteX854" fmla="*/ 178899 w 5957508"/>
                    <a:gd name="connsiteY854" fmla="*/ 695951 h 3102400"/>
                    <a:gd name="connsiteX855" fmla="*/ 171029 w 5957508"/>
                    <a:gd name="connsiteY855" fmla="*/ 695951 h 3102400"/>
                    <a:gd name="connsiteX856" fmla="*/ 175339 w 5957508"/>
                    <a:gd name="connsiteY856" fmla="*/ 699371 h 3102400"/>
                    <a:gd name="connsiteX857" fmla="*/ 162363 w 5957508"/>
                    <a:gd name="connsiteY857" fmla="*/ 698750 h 3102400"/>
                    <a:gd name="connsiteX858" fmla="*/ 161133 w 5957508"/>
                    <a:gd name="connsiteY858" fmla="*/ 694991 h 3102400"/>
                    <a:gd name="connsiteX859" fmla="*/ 171755 w 5957508"/>
                    <a:gd name="connsiteY859" fmla="*/ 702943 h 3102400"/>
                    <a:gd name="connsiteX860" fmla="*/ 160594 w 5957508"/>
                    <a:gd name="connsiteY860" fmla="*/ 709232 h 3102400"/>
                    <a:gd name="connsiteX861" fmla="*/ 152068 w 5957508"/>
                    <a:gd name="connsiteY861" fmla="*/ 703692 h 3102400"/>
                    <a:gd name="connsiteX862" fmla="*/ 149597 w 5957508"/>
                    <a:gd name="connsiteY862" fmla="*/ 712054 h 3102400"/>
                    <a:gd name="connsiteX863" fmla="*/ 154656 w 5957508"/>
                    <a:gd name="connsiteY863" fmla="*/ 717606 h 3102400"/>
                    <a:gd name="connsiteX864" fmla="*/ 140942 w 5957508"/>
                    <a:gd name="connsiteY864" fmla="*/ 717325 h 3102400"/>
                    <a:gd name="connsiteX865" fmla="*/ 125752 w 5957508"/>
                    <a:gd name="connsiteY865" fmla="*/ 706843 h 3102400"/>
                    <a:gd name="connsiteX866" fmla="*/ 113853 w 5957508"/>
                    <a:gd name="connsiteY866" fmla="*/ 699382 h 3102400"/>
                    <a:gd name="connsiteX867" fmla="*/ 119498 w 5957508"/>
                    <a:gd name="connsiteY867" fmla="*/ 709103 h 3102400"/>
                    <a:gd name="connsiteX868" fmla="*/ 105948 w 5957508"/>
                    <a:gd name="connsiteY868" fmla="*/ 709981 h 3102400"/>
                    <a:gd name="connsiteX869" fmla="*/ 139912 w 5957508"/>
                    <a:gd name="connsiteY869" fmla="*/ 726741 h 3102400"/>
                    <a:gd name="connsiteX870" fmla="*/ 134559 w 5957508"/>
                    <a:gd name="connsiteY870" fmla="*/ 728814 h 3102400"/>
                    <a:gd name="connsiteX871" fmla="*/ 124382 w 5957508"/>
                    <a:gd name="connsiteY871" fmla="*/ 742586 h 3102400"/>
                    <a:gd name="connsiteX872" fmla="*/ 100526 w 5957508"/>
                    <a:gd name="connsiteY872" fmla="*/ 732631 h 3102400"/>
                    <a:gd name="connsiteX873" fmla="*/ 69162 w 5957508"/>
                    <a:gd name="connsiteY873" fmla="*/ 729505 h 3102400"/>
                    <a:gd name="connsiteX874" fmla="*/ 96427 w 5957508"/>
                    <a:gd name="connsiteY874" fmla="*/ 735185 h 3102400"/>
                    <a:gd name="connsiteX875" fmla="*/ 107166 w 5957508"/>
                    <a:gd name="connsiteY875" fmla="*/ 735794 h 3102400"/>
                    <a:gd name="connsiteX876" fmla="*/ 114134 w 5957508"/>
                    <a:gd name="connsiteY876" fmla="*/ 740326 h 3102400"/>
                    <a:gd name="connsiteX877" fmla="*/ 124581 w 5957508"/>
                    <a:gd name="connsiteY877" fmla="*/ 751768 h 3102400"/>
                    <a:gd name="connsiteX878" fmla="*/ 109544 w 5957508"/>
                    <a:gd name="connsiteY878" fmla="*/ 761360 h 3102400"/>
                    <a:gd name="connsiteX879" fmla="*/ 110621 w 5957508"/>
                    <a:gd name="connsiteY879" fmla="*/ 763421 h 3102400"/>
                    <a:gd name="connsiteX880" fmla="*/ 84891 w 5957508"/>
                    <a:gd name="connsiteY880" fmla="*/ 753771 h 3102400"/>
                    <a:gd name="connsiteX881" fmla="*/ 84563 w 5957508"/>
                    <a:gd name="connsiteY881" fmla="*/ 757226 h 3102400"/>
                    <a:gd name="connsiteX882" fmla="*/ 79152 w 5957508"/>
                    <a:gd name="connsiteY882" fmla="*/ 757975 h 3102400"/>
                    <a:gd name="connsiteX883" fmla="*/ 105608 w 5957508"/>
                    <a:gd name="connsiteY883" fmla="*/ 773107 h 3102400"/>
                    <a:gd name="connsiteX884" fmla="*/ 87139 w 5957508"/>
                    <a:gd name="connsiteY884" fmla="*/ 787488 h 3102400"/>
                    <a:gd name="connsiteX885" fmla="*/ 81260 w 5957508"/>
                    <a:gd name="connsiteY885" fmla="*/ 782464 h 3102400"/>
                    <a:gd name="connsiteX886" fmla="*/ 81694 w 5957508"/>
                    <a:gd name="connsiteY886" fmla="*/ 786821 h 3102400"/>
                    <a:gd name="connsiteX887" fmla="*/ 79902 w 5957508"/>
                    <a:gd name="connsiteY887" fmla="*/ 793731 h 3102400"/>
                    <a:gd name="connsiteX888" fmla="*/ 50248 w 5957508"/>
                    <a:gd name="connsiteY888" fmla="*/ 790358 h 3102400"/>
                    <a:gd name="connsiteX889" fmla="*/ 42308 w 5957508"/>
                    <a:gd name="connsiteY889" fmla="*/ 783799 h 3102400"/>
                    <a:gd name="connsiteX890" fmla="*/ 33442 w 5957508"/>
                    <a:gd name="connsiteY890" fmla="*/ 775238 h 3102400"/>
                    <a:gd name="connsiteX891" fmla="*/ 39181 w 5957508"/>
                    <a:gd name="connsiteY891" fmla="*/ 785942 h 3102400"/>
                    <a:gd name="connsiteX892" fmla="*/ 22410 w 5957508"/>
                    <a:gd name="connsiteY892" fmla="*/ 784677 h 3102400"/>
                    <a:gd name="connsiteX893" fmla="*/ 1388 w 5957508"/>
                    <a:gd name="connsiteY893" fmla="*/ 778623 h 3102400"/>
                    <a:gd name="connsiteX894" fmla="*/ 1376 w 5957508"/>
                    <a:gd name="connsiteY894" fmla="*/ 747365 h 3102400"/>
                    <a:gd name="connsiteX895" fmla="*/ 1376 w 5957508"/>
                    <a:gd name="connsiteY895" fmla="*/ 747365 h 3102400"/>
                    <a:gd name="connsiteX896" fmla="*/ 2151624 w 5957508"/>
                    <a:gd name="connsiteY896" fmla="*/ 392224 h 3102400"/>
                    <a:gd name="connsiteX897" fmla="*/ 2140615 w 5957508"/>
                    <a:gd name="connsiteY897" fmla="*/ 397494 h 3102400"/>
                    <a:gd name="connsiteX898" fmla="*/ 2142794 w 5957508"/>
                    <a:gd name="connsiteY898" fmla="*/ 399755 h 3102400"/>
                    <a:gd name="connsiteX899" fmla="*/ 2131000 w 5957508"/>
                    <a:gd name="connsiteY899" fmla="*/ 400938 h 3102400"/>
                    <a:gd name="connsiteX900" fmla="*/ 2110282 w 5957508"/>
                    <a:gd name="connsiteY900" fmla="*/ 406477 h 3102400"/>
                    <a:gd name="connsiteX901" fmla="*/ 2124207 w 5957508"/>
                    <a:gd name="connsiteY901" fmla="*/ 399755 h 3102400"/>
                    <a:gd name="connsiteX902" fmla="*/ 2086672 w 5957508"/>
                    <a:gd name="connsiteY902" fmla="*/ 400563 h 3102400"/>
                    <a:gd name="connsiteX903" fmla="*/ 2129349 w 5957508"/>
                    <a:gd name="connsiteY903" fmla="*/ 387575 h 3102400"/>
                    <a:gd name="connsiteX904" fmla="*/ 2142489 w 5957508"/>
                    <a:gd name="connsiteY904" fmla="*/ 383605 h 3102400"/>
                    <a:gd name="connsiteX905" fmla="*/ 2150851 w 5957508"/>
                    <a:gd name="connsiteY905" fmla="*/ 378135 h 3102400"/>
                    <a:gd name="connsiteX906" fmla="*/ 2151624 w 5957508"/>
                    <a:gd name="connsiteY906" fmla="*/ 392224 h 3102400"/>
                    <a:gd name="connsiteX907" fmla="*/ 2151624 w 5957508"/>
                    <a:gd name="connsiteY907" fmla="*/ 392224 h 3102400"/>
                    <a:gd name="connsiteX908" fmla="*/ 1800536 w 5957508"/>
                    <a:gd name="connsiteY908" fmla="*/ 383171 h 3102400"/>
                    <a:gd name="connsiteX909" fmla="*/ 1777300 w 5957508"/>
                    <a:gd name="connsiteY909" fmla="*/ 385068 h 3102400"/>
                    <a:gd name="connsiteX910" fmla="*/ 1774794 w 5957508"/>
                    <a:gd name="connsiteY910" fmla="*/ 368977 h 3102400"/>
                    <a:gd name="connsiteX911" fmla="*/ 1794399 w 5957508"/>
                    <a:gd name="connsiteY911" fmla="*/ 367396 h 3102400"/>
                    <a:gd name="connsiteX912" fmla="*/ 1800536 w 5957508"/>
                    <a:gd name="connsiteY912" fmla="*/ 383171 h 3102400"/>
                    <a:gd name="connsiteX913" fmla="*/ 1800536 w 5957508"/>
                    <a:gd name="connsiteY913" fmla="*/ 383171 h 3102400"/>
                    <a:gd name="connsiteX914" fmla="*/ 2734038 w 5957508"/>
                    <a:gd name="connsiteY914" fmla="*/ 271572 h 3102400"/>
                    <a:gd name="connsiteX915" fmla="*/ 2731649 w 5957508"/>
                    <a:gd name="connsiteY915" fmla="*/ 281714 h 3102400"/>
                    <a:gd name="connsiteX916" fmla="*/ 2722069 w 5957508"/>
                    <a:gd name="connsiteY916" fmla="*/ 279243 h 3102400"/>
                    <a:gd name="connsiteX917" fmla="*/ 2711166 w 5957508"/>
                    <a:gd name="connsiteY917" fmla="*/ 280836 h 3102400"/>
                    <a:gd name="connsiteX918" fmla="*/ 2694629 w 5957508"/>
                    <a:gd name="connsiteY918" fmla="*/ 278693 h 3102400"/>
                    <a:gd name="connsiteX919" fmla="*/ 2668969 w 5957508"/>
                    <a:gd name="connsiteY919" fmla="*/ 275355 h 3102400"/>
                    <a:gd name="connsiteX920" fmla="*/ 2707395 w 5957508"/>
                    <a:gd name="connsiteY920" fmla="*/ 270717 h 3102400"/>
                    <a:gd name="connsiteX921" fmla="*/ 2734038 w 5957508"/>
                    <a:gd name="connsiteY921" fmla="*/ 271572 h 3102400"/>
                    <a:gd name="connsiteX922" fmla="*/ 2734038 w 5957508"/>
                    <a:gd name="connsiteY922" fmla="*/ 271572 h 3102400"/>
                    <a:gd name="connsiteX923" fmla="*/ 2687426 w 5957508"/>
                    <a:gd name="connsiteY923" fmla="*/ 256347 h 3102400"/>
                    <a:gd name="connsiteX924" fmla="*/ 2683117 w 5957508"/>
                    <a:gd name="connsiteY924" fmla="*/ 260446 h 3102400"/>
                    <a:gd name="connsiteX925" fmla="*/ 2680763 w 5957508"/>
                    <a:gd name="connsiteY925" fmla="*/ 257799 h 3102400"/>
                    <a:gd name="connsiteX926" fmla="*/ 2671838 w 5957508"/>
                    <a:gd name="connsiteY926" fmla="*/ 260598 h 3102400"/>
                    <a:gd name="connsiteX927" fmla="*/ 2676125 w 5957508"/>
                    <a:gd name="connsiteY927" fmla="*/ 261442 h 3102400"/>
                    <a:gd name="connsiteX928" fmla="*/ 2647888 w 5957508"/>
                    <a:gd name="connsiteY928" fmla="*/ 265365 h 3102400"/>
                    <a:gd name="connsiteX929" fmla="*/ 2668430 w 5957508"/>
                    <a:gd name="connsiteY929" fmla="*/ 257108 h 3102400"/>
                    <a:gd name="connsiteX930" fmla="*/ 2680563 w 5957508"/>
                    <a:gd name="connsiteY930" fmla="*/ 251709 h 3102400"/>
                    <a:gd name="connsiteX931" fmla="*/ 2687426 w 5957508"/>
                    <a:gd name="connsiteY931" fmla="*/ 256347 h 3102400"/>
                    <a:gd name="connsiteX932" fmla="*/ 2687426 w 5957508"/>
                    <a:gd name="connsiteY932" fmla="*/ 256347 h 3102400"/>
                    <a:gd name="connsiteX933" fmla="*/ 2488225 w 5957508"/>
                    <a:gd name="connsiteY933" fmla="*/ 143987 h 3102400"/>
                    <a:gd name="connsiteX934" fmla="*/ 2482768 w 5957508"/>
                    <a:gd name="connsiteY934" fmla="*/ 149643 h 3102400"/>
                    <a:gd name="connsiteX935" fmla="*/ 2484536 w 5957508"/>
                    <a:gd name="connsiteY935" fmla="*/ 150440 h 3102400"/>
                    <a:gd name="connsiteX936" fmla="*/ 2478446 w 5957508"/>
                    <a:gd name="connsiteY936" fmla="*/ 157584 h 3102400"/>
                    <a:gd name="connsiteX937" fmla="*/ 2479922 w 5957508"/>
                    <a:gd name="connsiteY937" fmla="*/ 162397 h 3102400"/>
                    <a:gd name="connsiteX938" fmla="*/ 2475061 w 5957508"/>
                    <a:gd name="connsiteY938" fmla="*/ 167656 h 3102400"/>
                    <a:gd name="connsiteX939" fmla="*/ 2476033 w 5957508"/>
                    <a:gd name="connsiteY939" fmla="*/ 171743 h 3102400"/>
                    <a:gd name="connsiteX940" fmla="*/ 2459485 w 5957508"/>
                    <a:gd name="connsiteY940" fmla="*/ 196501 h 3102400"/>
                    <a:gd name="connsiteX941" fmla="*/ 2478341 w 5957508"/>
                    <a:gd name="connsiteY941" fmla="*/ 183689 h 3102400"/>
                    <a:gd name="connsiteX942" fmla="*/ 2493097 w 5957508"/>
                    <a:gd name="connsiteY942" fmla="*/ 168909 h 3102400"/>
                    <a:gd name="connsiteX943" fmla="*/ 2507057 w 5957508"/>
                    <a:gd name="connsiteY943" fmla="*/ 165583 h 3102400"/>
                    <a:gd name="connsiteX944" fmla="*/ 2508720 w 5957508"/>
                    <a:gd name="connsiteY944" fmla="*/ 163264 h 3102400"/>
                    <a:gd name="connsiteX945" fmla="*/ 2515993 w 5957508"/>
                    <a:gd name="connsiteY945" fmla="*/ 162807 h 3102400"/>
                    <a:gd name="connsiteX946" fmla="*/ 2525585 w 5957508"/>
                    <a:gd name="connsiteY946" fmla="*/ 156869 h 3102400"/>
                    <a:gd name="connsiteX947" fmla="*/ 2523477 w 5957508"/>
                    <a:gd name="connsiteY947" fmla="*/ 159973 h 3102400"/>
                    <a:gd name="connsiteX948" fmla="*/ 2543750 w 5957508"/>
                    <a:gd name="connsiteY948" fmla="*/ 161027 h 3102400"/>
                    <a:gd name="connsiteX949" fmla="*/ 2542766 w 5957508"/>
                    <a:gd name="connsiteY949" fmla="*/ 168745 h 3102400"/>
                    <a:gd name="connsiteX950" fmla="*/ 2547848 w 5957508"/>
                    <a:gd name="connsiteY950" fmla="*/ 175444 h 3102400"/>
                    <a:gd name="connsiteX951" fmla="*/ 2562394 w 5957508"/>
                    <a:gd name="connsiteY951" fmla="*/ 177130 h 3102400"/>
                    <a:gd name="connsiteX952" fmla="*/ 2571400 w 5957508"/>
                    <a:gd name="connsiteY952" fmla="*/ 189275 h 3102400"/>
                    <a:gd name="connsiteX953" fmla="*/ 2563144 w 5957508"/>
                    <a:gd name="connsiteY953" fmla="*/ 192496 h 3102400"/>
                    <a:gd name="connsiteX954" fmla="*/ 2578216 w 5957508"/>
                    <a:gd name="connsiteY954" fmla="*/ 195927 h 3102400"/>
                    <a:gd name="connsiteX955" fmla="*/ 2574211 w 5957508"/>
                    <a:gd name="connsiteY955" fmla="*/ 201924 h 3102400"/>
                    <a:gd name="connsiteX956" fmla="*/ 2581718 w 5957508"/>
                    <a:gd name="connsiteY956" fmla="*/ 194065 h 3102400"/>
                    <a:gd name="connsiteX957" fmla="*/ 2601195 w 5957508"/>
                    <a:gd name="connsiteY957" fmla="*/ 195330 h 3102400"/>
                    <a:gd name="connsiteX958" fmla="*/ 2608948 w 5957508"/>
                    <a:gd name="connsiteY958" fmla="*/ 208342 h 3102400"/>
                    <a:gd name="connsiteX959" fmla="*/ 2613667 w 5957508"/>
                    <a:gd name="connsiteY959" fmla="*/ 220861 h 3102400"/>
                    <a:gd name="connsiteX960" fmla="*/ 2615951 w 5957508"/>
                    <a:gd name="connsiteY960" fmla="*/ 229504 h 3102400"/>
                    <a:gd name="connsiteX961" fmla="*/ 2597740 w 5957508"/>
                    <a:gd name="connsiteY961" fmla="*/ 243593 h 3102400"/>
                    <a:gd name="connsiteX962" fmla="*/ 2579985 w 5957508"/>
                    <a:gd name="connsiteY962" fmla="*/ 251007 h 3102400"/>
                    <a:gd name="connsiteX963" fmla="*/ 2541372 w 5957508"/>
                    <a:gd name="connsiteY963" fmla="*/ 258408 h 3102400"/>
                    <a:gd name="connsiteX964" fmla="*/ 2509575 w 5957508"/>
                    <a:gd name="connsiteY964" fmla="*/ 261512 h 3102400"/>
                    <a:gd name="connsiteX965" fmla="*/ 2484829 w 5957508"/>
                    <a:gd name="connsiteY965" fmla="*/ 265377 h 3102400"/>
                    <a:gd name="connsiteX966" fmla="*/ 2486246 w 5957508"/>
                    <a:gd name="connsiteY966" fmla="*/ 266782 h 3102400"/>
                    <a:gd name="connsiteX967" fmla="*/ 2474113 w 5957508"/>
                    <a:gd name="connsiteY967" fmla="*/ 271560 h 3102400"/>
                    <a:gd name="connsiteX968" fmla="*/ 2441555 w 5957508"/>
                    <a:gd name="connsiteY968" fmla="*/ 269124 h 3102400"/>
                    <a:gd name="connsiteX969" fmla="*/ 2439002 w 5957508"/>
                    <a:gd name="connsiteY969" fmla="*/ 266384 h 3102400"/>
                    <a:gd name="connsiteX970" fmla="*/ 2424397 w 5957508"/>
                    <a:gd name="connsiteY970" fmla="*/ 268023 h 3102400"/>
                    <a:gd name="connsiteX971" fmla="*/ 2398445 w 5957508"/>
                    <a:gd name="connsiteY971" fmla="*/ 268293 h 3102400"/>
                    <a:gd name="connsiteX972" fmla="*/ 2375431 w 5957508"/>
                    <a:gd name="connsiteY972" fmla="*/ 279852 h 3102400"/>
                    <a:gd name="connsiteX973" fmla="*/ 2352289 w 5957508"/>
                    <a:gd name="connsiteY973" fmla="*/ 288425 h 3102400"/>
                    <a:gd name="connsiteX974" fmla="*/ 2325751 w 5957508"/>
                    <a:gd name="connsiteY974" fmla="*/ 295101 h 3102400"/>
                    <a:gd name="connsiteX975" fmla="*/ 2312552 w 5957508"/>
                    <a:gd name="connsiteY975" fmla="*/ 296026 h 3102400"/>
                    <a:gd name="connsiteX976" fmla="*/ 2302551 w 5957508"/>
                    <a:gd name="connsiteY976" fmla="*/ 294679 h 3102400"/>
                    <a:gd name="connsiteX977" fmla="*/ 2297187 w 5957508"/>
                    <a:gd name="connsiteY977" fmla="*/ 285450 h 3102400"/>
                    <a:gd name="connsiteX978" fmla="*/ 2311135 w 5957508"/>
                    <a:gd name="connsiteY978" fmla="*/ 273832 h 3102400"/>
                    <a:gd name="connsiteX979" fmla="*/ 2314660 w 5957508"/>
                    <a:gd name="connsiteY979" fmla="*/ 268433 h 3102400"/>
                    <a:gd name="connsiteX980" fmla="*/ 2322273 w 5957508"/>
                    <a:gd name="connsiteY980" fmla="*/ 260516 h 3102400"/>
                    <a:gd name="connsiteX981" fmla="*/ 2337744 w 5957508"/>
                    <a:gd name="connsiteY981" fmla="*/ 250398 h 3102400"/>
                    <a:gd name="connsiteX982" fmla="*/ 2335917 w 5957508"/>
                    <a:gd name="connsiteY982" fmla="*/ 244881 h 3102400"/>
                    <a:gd name="connsiteX983" fmla="*/ 2339266 w 5957508"/>
                    <a:gd name="connsiteY983" fmla="*/ 240501 h 3102400"/>
                    <a:gd name="connsiteX984" fmla="*/ 2350111 w 5957508"/>
                    <a:gd name="connsiteY984" fmla="*/ 221974 h 3102400"/>
                    <a:gd name="connsiteX985" fmla="*/ 2348635 w 5957508"/>
                    <a:gd name="connsiteY985" fmla="*/ 214537 h 3102400"/>
                    <a:gd name="connsiteX986" fmla="*/ 2356306 w 5957508"/>
                    <a:gd name="connsiteY986" fmla="*/ 203985 h 3102400"/>
                    <a:gd name="connsiteX987" fmla="*/ 2396161 w 5957508"/>
                    <a:gd name="connsiteY987" fmla="*/ 203575 h 3102400"/>
                    <a:gd name="connsiteX988" fmla="*/ 2383477 w 5957508"/>
                    <a:gd name="connsiteY988" fmla="*/ 200471 h 3102400"/>
                    <a:gd name="connsiteX989" fmla="*/ 2378781 w 5957508"/>
                    <a:gd name="connsiteY989" fmla="*/ 195482 h 3102400"/>
                    <a:gd name="connsiteX990" fmla="*/ 2381229 w 5957508"/>
                    <a:gd name="connsiteY990" fmla="*/ 181909 h 3102400"/>
                    <a:gd name="connsiteX991" fmla="*/ 2391523 w 5957508"/>
                    <a:gd name="connsiteY991" fmla="*/ 172071 h 3102400"/>
                    <a:gd name="connsiteX992" fmla="*/ 2420134 w 5957508"/>
                    <a:gd name="connsiteY992" fmla="*/ 177528 h 3102400"/>
                    <a:gd name="connsiteX993" fmla="*/ 2386874 w 5957508"/>
                    <a:gd name="connsiteY993" fmla="*/ 168745 h 3102400"/>
                    <a:gd name="connsiteX994" fmla="*/ 2397695 w 5957508"/>
                    <a:gd name="connsiteY994" fmla="*/ 158942 h 3102400"/>
                    <a:gd name="connsiteX995" fmla="*/ 2394064 w 5957508"/>
                    <a:gd name="connsiteY995" fmla="*/ 156869 h 3102400"/>
                    <a:gd name="connsiteX996" fmla="*/ 2400635 w 5957508"/>
                    <a:gd name="connsiteY996" fmla="*/ 150381 h 3102400"/>
                    <a:gd name="connsiteX997" fmla="*/ 2416574 w 5957508"/>
                    <a:gd name="connsiteY997" fmla="*/ 146481 h 3102400"/>
                    <a:gd name="connsiteX998" fmla="*/ 2415122 w 5957508"/>
                    <a:gd name="connsiteY998" fmla="*/ 140907 h 3102400"/>
                    <a:gd name="connsiteX999" fmla="*/ 2427021 w 5957508"/>
                    <a:gd name="connsiteY999" fmla="*/ 133154 h 3102400"/>
                    <a:gd name="connsiteX1000" fmla="*/ 2437819 w 5957508"/>
                    <a:gd name="connsiteY1000" fmla="*/ 142078 h 3102400"/>
                    <a:gd name="connsiteX1001" fmla="*/ 2437514 w 5957508"/>
                    <a:gd name="connsiteY1001" fmla="*/ 144888 h 3102400"/>
                    <a:gd name="connsiteX1002" fmla="*/ 2442304 w 5957508"/>
                    <a:gd name="connsiteY1002" fmla="*/ 145685 h 3102400"/>
                    <a:gd name="connsiteX1003" fmla="*/ 2453383 w 5957508"/>
                    <a:gd name="connsiteY1003" fmla="*/ 146481 h 3102400"/>
                    <a:gd name="connsiteX1004" fmla="*/ 2447059 w 5957508"/>
                    <a:gd name="connsiteY1004" fmla="*/ 134243 h 3102400"/>
                    <a:gd name="connsiteX1005" fmla="*/ 2478891 w 5957508"/>
                    <a:gd name="connsiteY1005" fmla="*/ 130788 h 3102400"/>
                    <a:gd name="connsiteX1006" fmla="*/ 2487651 w 5957508"/>
                    <a:gd name="connsiteY1006" fmla="*/ 134055 h 3102400"/>
                    <a:gd name="connsiteX1007" fmla="*/ 2497993 w 5957508"/>
                    <a:gd name="connsiteY1007" fmla="*/ 138037 h 3102400"/>
                    <a:gd name="connsiteX1008" fmla="*/ 2488225 w 5957508"/>
                    <a:gd name="connsiteY1008" fmla="*/ 143987 h 3102400"/>
                    <a:gd name="connsiteX1009" fmla="*/ 2488225 w 5957508"/>
                    <a:gd name="connsiteY1009" fmla="*/ 143987 h 3102400"/>
                    <a:gd name="connsiteX1010" fmla="*/ 1097961 w 5957508"/>
                    <a:gd name="connsiteY1010" fmla="*/ 100654 h 3102400"/>
                    <a:gd name="connsiteX1011" fmla="*/ 1090806 w 5957508"/>
                    <a:gd name="connsiteY1011" fmla="*/ 101450 h 3102400"/>
                    <a:gd name="connsiteX1012" fmla="*/ 1104918 w 5957508"/>
                    <a:gd name="connsiteY1012" fmla="*/ 103383 h 3102400"/>
                    <a:gd name="connsiteX1013" fmla="*/ 1119698 w 5957508"/>
                    <a:gd name="connsiteY1013" fmla="*/ 103336 h 3102400"/>
                    <a:gd name="connsiteX1014" fmla="*/ 1155605 w 5957508"/>
                    <a:gd name="connsiteY1014" fmla="*/ 111382 h 3102400"/>
                    <a:gd name="connsiteX1015" fmla="*/ 1156051 w 5957508"/>
                    <a:gd name="connsiteY1015" fmla="*/ 118725 h 3102400"/>
                    <a:gd name="connsiteX1016" fmla="*/ 1116911 w 5957508"/>
                    <a:gd name="connsiteY1016" fmla="*/ 119252 h 3102400"/>
                    <a:gd name="connsiteX1017" fmla="*/ 1100960 w 5957508"/>
                    <a:gd name="connsiteY1017" fmla="*/ 111276 h 3102400"/>
                    <a:gd name="connsiteX1018" fmla="*/ 1086203 w 5957508"/>
                    <a:gd name="connsiteY1018" fmla="*/ 102540 h 3102400"/>
                    <a:gd name="connsiteX1019" fmla="*/ 1097961 w 5957508"/>
                    <a:gd name="connsiteY1019" fmla="*/ 100654 h 3102400"/>
                    <a:gd name="connsiteX1020" fmla="*/ 1097961 w 5957508"/>
                    <a:gd name="connsiteY1020" fmla="*/ 100654 h 3102400"/>
                    <a:gd name="connsiteX1021" fmla="*/ 1860815 w 5957508"/>
                    <a:gd name="connsiteY1021" fmla="*/ 49908 h 3102400"/>
                    <a:gd name="connsiteX1022" fmla="*/ 1886498 w 5957508"/>
                    <a:gd name="connsiteY1022" fmla="*/ 52930 h 3102400"/>
                    <a:gd name="connsiteX1023" fmla="*/ 1910718 w 5957508"/>
                    <a:gd name="connsiteY1023" fmla="*/ 52016 h 3102400"/>
                    <a:gd name="connsiteX1024" fmla="*/ 1938978 w 5957508"/>
                    <a:gd name="connsiteY1024" fmla="*/ 54979 h 3102400"/>
                    <a:gd name="connsiteX1025" fmla="*/ 1963115 w 5957508"/>
                    <a:gd name="connsiteY1025" fmla="*/ 61924 h 3102400"/>
                    <a:gd name="connsiteX1026" fmla="*/ 2012550 w 5957508"/>
                    <a:gd name="connsiteY1026" fmla="*/ 70743 h 3102400"/>
                    <a:gd name="connsiteX1027" fmla="*/ 1973281 w 5957508"/>
                    <a:gd name="connsiteY1027" fmla="*/ 92269 h 3102400"/>
                    <a:gd name="connsiteX1028" fmla="*/ 1913997 w 5957508"/>
                    <a:gd name="connsiteY1028" fmla="*/ 96696 h 3102400"/>
                    <a:gd name="connsiteX1029" fmla="*/ 1916527 w 5957508"/>
                    <a:gd name="connsiteY1029" fmla="*/ 95009 h 3102400"/>
                    <a:gd name="connsiteX1030" fmla="*/ 1913693 w 5957508"/>
                    <a:gd name="connsiteY1030" fmla="*/ 93393 h 3102400"/>
                    <a:gd name="connsiteX1031" fmla="*/ 1935968 w 5957508"/>
                    <a:gd name="connsiteY1031" fmla="*/ 90863 h 3102400"/>
                    <a:gd name="connsiteX1032" fmla="*/ 1907649 w 5957508"/>
                    <a:gd name="connsiteY1032" fmla="*/ 79808 h 3102400"/>
                    <a:gd name="connsiteX1033" fmla="*/ 1875759 w 5957508"/>
                    <a:gd name="connsiteY1033" fmla="*/ 76915 h 3102400"/>
                    <a:gd name="connsiteX1034" fmla="*/ 1881474 w 5957508"/>
                    <a:gd name="connsiteY1034" fmla="*/ 68283 h 3102400"/>
                    <a:gd name="connsiteX1035" fmla="*/ 1866823 w 5957508"/>
                    <a:gd name="connsiteY1035" fmla="*/ 62603 h 3102400"/>
                    <a:gd name="connsiteX1036" fmla="*/ 1873358 w 5957508"/>
                    <a:gd name="connsiteY1036" fmla="*/ 54300 h 3102400"/>
                    <a:gd name="connsiteX1037" fmla="*/ 1858953 w 5957508"/>
                    <a:gd name="connsiteY1037" fmla="*/ 51220 h 3102400"/>
                    <a:gd name="connsiteX1038" fmla="*/ 1860815 w 5957508"/>
                    <a:gd name="connsiteY1038" fmla="*/ 49908 h 3102400"/>
                    <a:gd name="connsiteX1039" fmla="*/ 1860815 w 5957508"/>
                    <a:gd name="connsiteY1039" fmla="*/ 49908 h 3102400"/>
                    <a:gd name="connsiteX1040" fmla="*/ 235185 w 5957508"/>
                    <a:gd name="connsiteY1040" fmla="*/ 63458 h 3102400"/>
                    <a:gd name="connsiteX1041" fmla="*/ 219409 w 5957508"/>
                    <a:gd name="connsiteY1041" fmla="*/ 66164 h 3102400"/>
                    <a:gd name="connsiteX1042" fmla="*/ 205765 w 5957508"/>
                    <a:gd name="connsiteY1042" fmla="*/ 65859 h 3102400"/>
                    <a:gd name="connsiteX1043" fmla="*/ 207171 w 5957508"/>
                    <a:gd name="connsiteY1043" fmla="*/ 64231 h 3102400"/>
                    <a:gd name="connsiteX1044" fmla="*/ 185177 w 5957508"/>
                    <a:gd name="connsiteY1044" fmla="*/ 54230 h 3102400"/>
                    <a:gd name="connsiteX1045" fmla="*/ 216353 w 5957508"/>
                    <a:gd name="connsiteY1045" fmla="*/ 46184 h 3102400"/>
                    <a:gd name="connsiteX1046" fmla="*/ 240350 w 5957508"/>
                    <a:gd name="connsiteY1046" fmla="*/ 49639 h 3102400"/>
                    <a:gd name="connsiteX1047" fmla="*/ 245081 w 5957508"/>
                    <a:gd name="connsiteY1047" fmla="*/ 59277 h 3102400"/>
                    <a:gd name="connsiteX1048" fmla="*/ 235185 w 5957508"/>
                    <a:gd name="connsiteY1048" fmla="*/ 63458 h 3102400"/>
                    <a:gd name="connsiteX1049" fmla="*/ 235185 w 5957508"/>
                    <a:gd name="connsiteY1049" fmla="*/ 63458 h 3102400"/>
                    <a:gd name="connsiteX1050" fmla="*/ 2219293 w 5957508"/>
                    <a:gd name="connsiteY1050" fmla="*/ 43010 h 3102400"/>
                    <a:gd name="connsiteX1051" fmla="*/ 2234940 w 5957508"/>
                    <a:gd name="connsiteY1051" fmla="*/ 53421 h 3102400"/>
                    <a:gd name="connsiteX1052" fmla="*/ 2223896 w 5957508"/>
                    <a:gd name="connsiteY1052" fmla="*/ 58703 h 3102400"/>
                    <a:gd name="connsiteX1053" fmla="*/ 2218977 w 5957508"/>
                    <a:gd name="connsiteY1053" fmla="*/ 65039 h 3102400"/>
                    <a:gd name="connsiteX1054" fmla="*/ 2222163 w 5957508"/>
                    <a:gd name="connsiteY1054" fmla="*/ 66597 h 3102400"/>
                    <a:gd name="connsiteX1055" fmla="*/ 2209268 w 5957508"/>
                    <a:gd name="connsiteY1055" fmla="*/ 75638 h 3102400"/>
                    <a:gd name="connsiteX1056" fmla="*/ 2213227 w 5957508"/>
                    <a:gd name="connsiteY1056" fmla="*/ 78871 h 3102400"/>
                    <a:gd name="connsiteX1057" fmla="*/ 2206048 w 5957508"/>
                    <a:gd name="connsiteY1057" fmla="*/ 81307 h 3102400"/>
                    <a:gd name="connsiteX1058" fmla="*/ 2211774 w 5957508"/>
                    <a:gd name="connsiteY1058" fmla="*/ 83743 h 3102400"/>
                    <a:gd name="connsiteX1059" fmla="*/ 2188890 w 5957508"/>
                    <a:gd name="connsiteY1059" fmla="*/ 93405 h 3102400"/>
                    <a:gd name="connsiteX1060" fmla="*/ 2213660 w 5957508"/>
                    <a:gd name="connsiteY1060" fmla="*/ 87303 h 3102400"/>
                    <a:gd name="connsiteX1061" fmla="*/ 2216611 w 5957508"/>
                    <a:gd name="connsiteY1061" fmla="*/ 81763 h 3102400"/>
                    <a:gd name="connsiteX1062" fmla="*/ 2224505 w 5957508"/>
                    <a:gd name="connsiteY1062" fmla="*/ 77711 h 3102400"/>
                    <a:gd name="connsiteX1063" fmla="*/ 2225465 w 5957508"/>
                    <a:gd name="connsiteY1063" fmla="*/ 71445 h 3102400"/>
                    <a:gd name="connsiteX1064" fmla="*/ 2238711 w 5957508"/>
                    <a:gd name="connsiteY1064" fmla="*/ 71258 h 3102400"/>
                    <a:gd name="connsiteX1065" fmla="*/ 2252905 w 5957508"/>
                    <a:gd name="connsiteY1065" fmla="*/ 68283 h 3102400"/>
                    <a:gd name="connsiteX1066" fmla="*/ 2260108 w 5957508"/>
                    <a:gd name="connsiteY1066" fmla="*/ 62404 h 3102400"/>
                    <a:gd name="connsiteX1067" fmla="*/ 2256934 w 5957508"/>
                    <a:gd name="connsiteY1067" fmla="*/ 53304 h 3102400"/>
                    <a:gd name="connsiteX1068" fmla="*/ 2272510 w 5957508"/>
                    <a:gd name="connsiteY1068" fmla="*/ 54042 h 3102400"/>
                    <a:gd name="connsiteX1069" fmla="*/ 2296144 w 5957508"/>
                    <a:gd name="connsiteY1069" fmla="*/ 54405 h 3102400"/>
                    <a:gd name="connsiteX1070" fmla="*/ 2291483 w 5957508"/>
                    <a:gd name="connsiteY1070" fmla="*/ 56841 h 3102400"/>
                    <a:gd name="connsiteX1071" fmla="*/ 2301497 w 5957508"/>
                    <a:gd name="connsiteY1071" fmla="*/ 60085 h 3102400"/>
                    <a:gd name="connsiteX1072" fmla="*/ 2312587 w 5957508"/>
                    <a:gd name="connsiteY1072" fmla="*/ 62592 h 3102400"/>
                    <a:gd name="connsiteX1073" fmla="*/ 2309390 w 5957508"/>
                    <a:gd name="connsiteY1073" fmla="*/ 64208 h 3102400"/>
                    <a:gd name="connsiteX1074" fmla="*/ 2321558 w 5957508"/>
                    <a:gd name="connsiteY1074" fmla="*/ 67791 h 3102400"/>
                    <a:gd name="connsiteX1075" fmla="*/ 2326407 w 5957508"/>
                    <a:gd name="connsiteY1075" fmla="*/ 72464 h 3102400"/>
                    <a:gd name="connsiteX1076" fmla="*/ 2332989 w 5957508"/>
                    <a:gd name="connsiteY1076" fmla="*/ 76692 h 3102400"/>
                    <a:gd name="connsiteX1077" fmla="*/ 2339395 w 5957508"/>
                    <a:gd name="connsiteY1077" fmla="*/ 84434 h 3102400"/>
                    <a:gd name="connsiteX1078" fmla="*/ 2325845 w 5957508"/>
                    <a:gd name="connsiteY1078" fmla="*/ 89294 h 3102400"/>
                    <a:gd name="connsiteX1079" fmla="*/ 2323163 w 5957508"/>
                    <a:gd name="connsiteY1079" fmla="*/ 104261 h 3102400"/>
                    <a:gd name="connsiteX1080" fmla="*/ 2321055 w 5957508"/>
                    <a:gd name="connsiteY1080" fmla="*/ 111569 h 3102400"/>
                    <a:gd name="connsiteX1081" fmla="*/ 2324088 w 5957508"/>
                    <a:gd name="connsiteY1081" fmla="*/ 115504 h 3102400"/>
                    <a:gd name="connsiteX1082" fmla="*/ 2319450 w 5957508"/>
                    <a:gd name="connsiteY1082" fmla="*/ 119896 h 3102400"/>
                    <a:gd name="connsiteX1083" fmla="*/ 2321371 w 5957508"/>
                    <a:gd name="connsiteY1083" fmla="*/ 134606 h 3102400"/>
                    <a:gd name="connsiteX1084" fmla="*/ 2307224 w 5957508"/>
                    <a:gd name="connsiteY1084" fmla="*/ 147254 h 3102400"/>
                    <a:gd name="connsiteX1085" fmla="*/ 2285030 w 5957508"/>
                    <a:gd name="connsiteY1085" fmla="*/ 141609 h 3102400"/>
                    <a:gd name="connsiteX1086" fmla="*/ 2315082 w 5957508"/>
                    <a:gd name="connsiteY1086" fmla="*/ 157572 h 3102400"/>
                    <a:gd name="connsiteX1087" fmla="*/ 2308676 w 5957508"/>
                    <a:gd name="connsiteY1087" fmla="*/ 159165 h 3102400"/>
                    <a:gd name="connsiteX1088" fmla="*/ 2329030 w 5957508"/>
                    <a:gd name="connsiteY1088" fmla="*/ 170150 h 3102400"/>
                    <a:gd name="connsiteX1089" fmla="*/ 2332567 w 5957508"/>
                    <a:gd name="connsiteY1089" fmla="*/ 179449 h 3102400"/>
                    <a:gd name="connsiteX1090" fmla="*/ 2319497 w 5957508"/>
                    <a:gd name="connsiteY1090" fmla="*/ 187577 h 3102400"/>
                    <a:gd name="connsiteX1091" fmla="*/ 2307809 w 5957508"/>
                    <a:gd name="connsiteY1091" fmla="*/ 195353 h 3102400"/>
                    <a:gd name="connsiteX1092" fmla="*/ 2290956 w 5957508"/>
                    <a:gd name="connsiteY1092" fmla="*/ 195951 h 3102400"/>
                    <a:gd name="connsiteX1093" fmla="*/ 2278718 w 5957508"/>
                    <a:gd name="connsiteY1093" fmla="*/ 198188 h 3102400"/>
                    <a:gd name="connsiteX1094" fmla="*/ 2260026 w 5957508"/>
                    <a:gd name="connsiteY1094" fmla="*/ 198785 h 3102400"/>
                    <a:gd name="connsiteX1095" fmla="*/ 2262497 w 5957508"/>
                    <a:gd name="connsiteY1095" fmla="*/ 199933 h 3102400"/>
                    <a:gd name="connsiteX1096" fmla="*/ 2235736 w 5957508"/>
                    <a:gd name="connsiteY1096" fmla="*/ 198059 h 3102400"/>
                    <a:gd name="connsiteX1097" fmla="*/ 2237153 w 5957508"/>
                    <a:gd name="connsiteY1097" fmla="*/ 197204 h 3102400"/>
                    <a:gd name="connsiteX1098" fmla="*/ 2218438 w 5957508"/>
                    <a:gd name="connsiteY1098" fmla="*/ 197590 h 3102400"/>
                    <a:gd name="connsiteX1099" fmla="*/ 2199993 w 5957508"/>
                    <a:gd name="connsiteY1099" fmla="*/ 195635 h 3102400"/>
                    <a:gd name="connsiteX1100" fmla="*/ 2210357 w 5957508"/>
                    <a:gd name="connsiteY1100" fmla="*/ 194065 h 3102400"/>
                    <a:gd name="connsiteX1101" fmla="*/ 2190401 w 5957508"/>
                    <a:gd name="connsiteY1101" fmla="*/ 190692 h 3102400"/>
                    <a:gd name="connsiteX1102" fmla="*/ 2170655 w 5957508"/>
                    <a:gd name="connsiteY1102" fmla="*/ 182237 h 3102400"/>
                    <a:gd name="connsiteX1103" fmla="*/ 2141353 w 5957508"/>
                    <a:gd name="connsiteY1103" fmla="*/ 176638 h 3102400"/>
                    <a:gd name="connsiteX1104" fmla="*/ 2146003 w 5957508"/>
                    <a:gd name="connsiteY1104" fmla="*/ 173476 h 3102400"/>
                    <a:gd name="connsiteX1105" fmla="*/ 2109521 w 5957508"/>
                    <a:gd name="connsiteY1105" fmla="*/ 167937 h 3102400"/>
                    <a:gd name="connsiteX1106" fmla="*/ 2098946 w 5957508"/>
                    <a:gd name="connsiteY1106" fmla="*/ 163053 h 3102400"/>
                    <a:gd name="connsiteX1107" fmla="*/ 2078802 w 5957508"/>
                    <a:gd name="connsiteY1107" fmla="*/ 171345 h 3102400"/>
                    <a:gd name="connsiteX1108" fmla="*/ 2074152 w 5957508"/>
                    <a:gd name="connsiteY1108" fmla="*/ 168710 h 3102400"/>
                    <a:gd name="connsiteX1109" fmla="*/ 2066165 w 5957508"/>
                    <a:gd name="connsiteY1109" fmla="*/ 168475 h 3102400"/>
                    <a:gd name="connsiteX1110" fmla="*/ 2055742 w 5957508"/>
                    <a:gd name="connsiteY1110" fmla="*/ 161460 h 3102400"/>
                    <a:gd name="connsiteX1111" fmla="*/ 2055964 w 5957508"/>
                    <a:gd name="connsiteY1111" fmla="*/ 156717 h 3102400"/>
                    <a:gd name="connsiteX1112" fmla="*/ 2051971 w 5957508"/>
                    <a:gd name="connsiteY1112" fmla="*/ 151787 h 3102400"/>
                    <a:gd name="connsiteX1113" fmla="*/ 2040212 w 5957508"/>
                    <a:gd name="connsiteY1113" fmla="*/ 147442 h 3102400"/>
                    <a:gd name="connsiteX1114" fmla="*/ 2039978 w 5957508"/>
                    <a:gd name="connsiteY1114" fmla="*/ 136971 h 3102400"/>
                    <a:gd name="connsiteX1115" fmla="*/ 2040763 w 5957508"/>
                    <a:gd name="connsiteY1115" fmla="*/ 126291 h 3102400"/>
                    <a:gd name="connsiteX1116" fmla="*/ 2025175 w 5957508"/>
                    <a:gd name="connsiteY1116" fmla="*/ 120821 h 3102400"/>
                    <a:gd name="connsiteX1117" fmla="*/ 2006577 w 5957508"/>
                    <a:gd name="connsiteY1117" fmla="*/ 122414 h 3102400"/>
                    <a:gd name="connsiteX1118" fmla="*/ 2021931 w 5957508"/>
                    <a:gd name="connsiteY1118" fmla="*/ 118420 h 3102400"/>
                    <a:gd name="connsiteX1119" fmla="*/ 2006237 w 5957508"/>
                    <a:gd name="connsiteY1119" fmla="*/ 112729 h 3102400"/>
                    <a:gd name="connsiteX1120" fmla="*/ 2016239 w 5957508"/>
                    <a:gd name="connsiteY1120" fmla="*/ 105514 h 3102400"/>
                    <a:gd name="connsiteX1121" fmla="*/ 2006893 w 5957508"/>
                    <a:gd name="connsiteY1121" fmla="*/ 107529 h 3102400"/>
                    <a:gd name="connsiteX1122" fmla="*/ 2000686 w 5957508"/>
                    <a:gd name="connsiteY1122" fmla="*/ 111347 h 3102400"/>
                    <a:gd name="connsiteX1123" fmla="*/ 1998367 w 5957508"/>
                    <a:gd name="connsiteY1123" fmla="*/ 119229 h 3102400"/>
                    <a:gd name="connsiteX1124" fmla="*/ 1976185 w 5957508"/>
                    <a:gd name="connsiteY1124" fmla="*/ 121559 h 3102400"/>
                    <a:gd name="connsiteX1125" fmla="*/ 1986925 w 5957508"/>
                    <a:gd name="connsiteY1125" fmla="*/ 117554 h 3102400"/>
                    <a:gd name="connsiteX1126" fmla="*/ 1971196 w 5957508"/>
                    <a:gd name="connsiteY1126" fmla="*/ 114345 h 3102400"/>
                    <a:gd name="connsiteX1127" fmla="*/ 1972414 w 5957508"/>
                    <a:gd name="connsiteY1127" fmla="*/ 113689 h 3102400"/>
                    <a:gd name="connsiteX1128" fmla="*/ 1962623 w 5957508"/>
                    <a:gd name="connsiteY1128" fmla="*/ 111136 h 3102400"/>
                    <a:gd name="connsiteX1129" fmla="*/ 1975014 w 5957508"/>
                    <a:gd name="connsiteY1129" fmla="*/ 111487 h 3102400"/>
                    <a:gd name="connsiteX1130" fmla="*/ 1987065 w 5957508"/>
                    <a:gd name="connsiteY1130" fmla="*/ 110515 h 3102400"/>
                    <a:gd name="connsiteX1131" fmla="*/ 2010278 w 5957508"/>
                    <a:gd name="connsiteY1131" fmla="*/ 99776 h 3102400"/>
                    <a:gd name="connsiteX1132" fmla="*/ 2015817 w 5957508"/>
                    <a:gd name="connsiteY1132" fmla="*/ 92433 h 3102400"/>
                    <a:gd name="connsiteX1133" fmla="*/ 2030948 w 5957508"/>
                    <a:gd name="connsiteY1133" fmla="*/ 85452 h 3102400"/>
                    <a:gd name="connsiteX1134" fmla="*/ 2058400 w 5957508"/>
                    <a:gd name="connsiteY1134" fmla="*/ 80487 h 3102400"/>
                    <a:gd name="connsiteX1135" fmla="*/ 2044253 w 5957508"/>
                    <a:gd name="connsiteY1135" fmla="*/ 75392 h 3102400"/>
                    <a:gd name="connsiteX1136" fmla="*/ 2034111 w 5957508"/>
                    <a:gd name="connsiteY1136" fmla="*/ 70696 h 3102400"/>
                    <a:gd name="connsiteX1137" fmla="*/ 2042356 w 5957508"/>
                    <a:gd name="connsiteY1137" fmla="*/ 66573 h 3102400"/>
                    <a:gd name="connsiteX1138" fmla="*/ 2039147 w 5957508"/>
                    <a:gd name="connsiteY1138" fmla="*/ 62592 h 3102400"/>
                    <a:gd name="connsiteX1139" fmla="*/ 2061188 w 5957508"/>
                    <a:gd name="connsiteY1139" fmla="*/ 57872 h 3102400"/>
                    <a:gd name="connsiteX1140" fmla="*/ 2064994 w 5957508"/>
                    <a:gd name="connsiteY1140" fmla="*/ 53480 h 3102400"/>
                    <a:gd name="connsiteX1141" fmla="*/ 2069878 w 5957508"/>
                    <a:gd name="connsiteY1141" fmla="*/ 47074 h 3102400"/>
                    <a:gd name="connsiteX1142" fmla="*/ 2081144 w 5957508"/>
                    <a:gd name="connsiteY1142" fmla="*/ 52695 h 3102400"/>
                    <a:gd name="connsiteX1143" fmla="*/ 2093102 w 5957508"/>
                    <a:gd name="connsiteY1143" fmla="*/ 52028 h 3102400"/>
                    <a:gd name="connsiteX1144" fmla="*/ 2105773 w 5957508"/>
                    <a:gd name="connsiteY1144" fmla="*/ 45399 h 3102400"/>
                    <a:gd name="connsiteX1145" fmla="*/ 2132464 w 5957508"/>
                    <a:gd name="connsiteY1145" fmla="*/ 45446 h 3102400"/>
                    <a:gd name="connsiteX1146" fmla="*/ 2132101 w 5957508"/>
                    <a:gd name="connsiteY1146" fmla="*/ 47894 h 3102400"/>
                    <a:gd name="connsiteX1147" fmla="*/ 2141857 w 5957508"/>
                    <a:gd name="connsiteY1147" fmla="*/ 44849 h 3102400"/>
                    <a:gd name="connsiteX1148" fmla="*/ 2152889 w 5957508"/>
                    <a:gd name="connsiteY1148" fmla="*/ 45961 h 3102400"/>
                    <a:gd name="connsiteX1149" fmla="*/ 2157878 w 5957508"/>
                    <a:gd name="connsiteY1149" fmla="*/ 42295 h 3102400"/>
                    <a:gd name="connsiteX1150" fmla="*/ 2164565 w 5957508"/>
                    <a:gd name="connsiteY1150" fmla="*/ 44532 h 3102400"/>
                    <a:gd name="connsiteX1151" fmla="*/ 2219293 w 5957508"/>
                    <a:gd name="connsiteY1151" fmla="*/ 43010 h 3102400"/>
                    <a:gd name="connsiteX1152" fmla="*/ 2219293 w 5957508"/>
                    <a:gd name="connsiteY1152" fmla="*/ 43010 h 3102400"/>
                    <a:gd name="connsiteX1153" fmla="*/ 97492 w 5957508"/>
                    <a:gd name="connsiteY1153" fmla="*/ 17397 h 3102400"/>
                    <a:gd name="connsiteX1154" fmla="*/ 96766 w 5957508"/>
                    <a:gd name="connsiteY1154" fmla="*/ 27855 h 3102400"/>
                    <a:gd name="connsiteX1155" fmla="*/ 100209 w 5957508"/>
                    <a:gd name="connsiteY1155" fmla="*/ 35315 h 3102400"/>
                    <a:gd name="connsiteX1156" fmla="*/ 96930 w 5957508"/>
                    <a:gd name="connsiteY1156" fmla="*/ 37974 h 3102400"/>
                    <a:gd name="connsiteX1157" fmla="*/ 95876 w 5957508"/>
                    <a:gd name="connsiteY1157" fmla="*/ 41839 h 3102400"/>
                    <a:gd name="connsiteX1158" fmla="*/ 95490 w 5957508"/>
                    <a:gd name="connsiteY1158" fmla="*/ 49135 h 3102400"/>
                    <a:gd name="connsiteX1159" fmla="*/ 59652 w 5957508"/>
                    <a:gd name="connsiteY1159" fmla="*/ 49967 h 3102400"/>
                    <a:gd name="connsiteX1160" fmla="*/ 40926 w 5957508"/>
                    <a:gd name="connsiteY1160" fmla="*/ 49428 h 3102400"/>
                    <a:gd name="connsiteX1161" fmla="*/ 25209 w 5957508"/>
                    <a:gd name="connsiteY1161" fmla="*/ 46359 h 3102400"/>
                    <a:gd name="connsiteX1162" fmla="*/ 42729 w 5957508"/>
                    <a:gd name="connsiteY1162" fmla="*/ 34777 h 3102400"/>
                    <a:gd name="connsiteX1163" fmla="*/ 47754 w 5957508"/>
                    <a:gd name="connsiteY1163" fmla="*/ 16764 h 3102400"/>
                    <a:gd name="connsiteX1164" fmla="*/ 76353 w 5957508"/>
                    <a:gd name="connsiteY1164" fmla="*/ 17572 h 3102400"/>
                    <a:gd name="connsiteX1165" fmla="*/ 76833 w 5957508"/>
                    <a:gd name="connsiteY1165" fmla="*/ 15113 h 3102400"/>
                    <a:gd name="connsiteX1166" fmla="*/ 82513 w 5957508"/>
                    <a:gd name="connsiteY1166" fmla="*/ 14785 h 3102400"/>
                    <a:gd name="connsiteX1167" fmla="*/ 97492 w 5957508"/>
                    <a:gd name="connsiteY1167" fmla="*/ 17397 h 3102400"/>
                    <a:gd name="connsiteX1168" fmla="*/ 97492 w 5957508"/>
                    <a:gd name="connsiteY1168" fmla="*/ 17397 h 3102400"/>
                    <a:gd name="connsiteX1169" fmla="*/ 210520 w 5957508"/>
                    <a:gd name="connsiteY1169" fmla="*/ 17643 h 3102400"/>
                    <a:gd name="connsiteX1170" fmla="*/ 175257 w 5957508"/>
                    <a:gd name="connsiteY1170" fmla="*/ 19798 h 3102400"/>
                    <a:gd name="connsiteX1171" fmla="*/ 148578 w 5957508"/>
                    <a:gd name="connsiteY1171" fmla="*/ 27422 h 3102400"/>
                    <a:gd name="connsiteX1172" fmla="*/ 169343 w 5957508"/>
                    <a:gd name="connsiteY1172" fmla="*/ 32142 h 3102400"/>
                    <a:gd name="connsiteX1173" fmla="*/ 152021 w 5957508"/>
                    <a:gd name="connsiteY1173" fmla="*/ 37189 h 3102400"/>
                    <a:gd name="connsiteX1174" fmla="*/ 140567 w 5957508"/>
                    <a:gd name="connsiteY1174" fmla="*/ 36241 h 3102400"/>
                    <a:gd name="connsiteX1175" fmla="*/ 145334 w 5957508"/>
                    <a:gd name="connsiteY1175" fmla="*/ 45458 h 3102400"/>
                    <a:gd name="connsiteX1176" fmla="*/ 129594 w 5957508"/>
                    <a:gd name="connsiteY1176" fmla="*/ 46910 h 3102400"/>
                    <a:gd name="connsiteX1177" fmla="*/ 114252 w 5957508"/>
                    <a:gd name="connsiteY1177" fmla="*/ 43244 h 3102400"/>
                    <a:gd name="connsiteX1178" fmla="*/ 103852 w 5957508"/>
                    <a:gd name="connsiteY1178" fmla="*/ 29870 h 3102400"/>
                    <a:gd name="connsiteX1179" fmla="*/ 103032 w 5957508"/>
                    <a:gd name="connsiteY1179" fmla="*/ 16038 h 3102400"/>
                    <a:gd name="connsiteX1180" fmla="*/ 104133 w 5957508"/>
                    <a:gd name="connsiteY1180" fmla="*/ 8637 h 3102400"/>
                    <a:gd name="connsiteX1181" fmla="*/ 89575 w 5957508"/>
                    <a:gd name="connsiteY1181" fmla="*/ 977 h 3102400"/>
                    <a:gd name="connsiteX1182" fmla="*/ 156706 w 5957508"/>
                    <a:gd name="connsiteY1182" fmla="*/ 2359 h 3102400"/>
                    <a:gd name="connsiteX1183" fmla="*/ 186617 w 5957508"/>
                    <a:gd name="connsiteY1183" fmla="*/ 7454 h 3102400"/>
                    <a:gd name="connsiteX1184" fmla="*/ 210520 w 5957508"/>
                    <a:gd name="connsiteY1184" fmla="*/ 17643 h 3102400"/>
                    <a:gd name="connsiteX1185" fmla="*/ 210520 w 5957508"/>
                    <a:gd name="connsiteY1185" fmla="*/ 17643 h 3102400"/>
                    <a:gd name="connsiteX1186" fmla="*/ 320749 w 5957508"/>
                    <a:gd name="connsiteY1186" fmla="*/ 825 h 3102400"/>
                    <a:gd name="connsiteX1187" fmla="*/ 302901 w 5957508"/>
                    <a:gd name="connsiteY1187" fmla="*/ 10089 h 3102400"/>
                    <a:gd name="connsiteX1188" fmla="*/ 268352 w 5957508"/>
                    <a:gd name="connsiteY1188" fmla="*/ 825 h 3102400"/>
                    <a:gd name="connsiteX1189" fmla="*/ 320749 w 5957508"/>
                    <a:gd name="connsiteY1189" fmla="*/ 825 h 3102400"/>
                    <a:gd name="connsiteX1190" fmla="*/ 320749 w 5957508"/>
                    <a:gd name="connsiteY1190" fmla="*/ 825 h 3102400"/>
                    <a:gd name="connsiteX1191" fmla="*/ 2186618 w 5957508"/>
                    <a:gd name="connsiteY1191" fmla="*/ 825 h 3102400"/>
                    <a:gd name="connsiteX1192" fmla="*/ 2189523 w 5957508"/>
                    <a:gd name="connsiteY1192" fmla="*/ 6599 h 3102400"/>
                    <a:gd name="connsiteX1193" fmla="*/ 2189300 w 5957508"/>
                    <a:gd name="connsiteY1193" fmla="*/ 15265 h 3102400"/>
                    <a:gd name="connsiteX1194" fmla="*/ 2196210 w 5957508"/>
                    <a:gd name="connsiteY1194" fmla="*/ 24400 h 3102400"/>
                    <a:gd name="connsiteX1195" fmla="*/ 2131000 w 5957508"/>
                    <a:gd name="connsiteY1195" fmla="*/ 36651 h 3102400"/>
                    <a:gd name="connsiteX1196" fmla="*/ 2094659 w 5957508"/>
                    <a:gd name="connsiteY1196" fmla="*/ 40328 h 3102400"/>
                    <a:gd name="connsiteX1197" fmla="*/ 2075874 w 5957508"/>
                    <a:gd name="connsiteY1197" fmla="*/ 42096 h 3102400"/>
                    <a:gd name="connsiteX1198" fmla="*/ 2060555 w 5957508"/>
                    <a:gd name="connsiteY1198" fmla="*/ 44380 h 3102400"/>
                    <a:gd name="connsiteX1199" fmla="*/ 2048317 w 5957508"/>
                    <a:gd name="connsiteY1199" fmla="*/ 44333 h 3102400"/>
                    <a:gd name="connsiteX1200" fmla="*/ 2036101 w 5957508"/>
                    <a:gd name="connsiteY1200" fmla="*/ 51723 h 3102400"/>
                    <a:gd name="connsiteX1201" fmla="*/ 2001658 w 5957508"/>
                    <a:gd name="connsiteY1201" fmla="*/ 57345 h 3102400"/>
                    <a:gd name="connsiteX1202" fmla="*/ 1965645 w 5957508"/>
                    <a:gd name="connsiteY1202" fmla="*/ 44778 h 3102400"/>
                    <a:gd name="connsiteX1203" fmla="*/ 1921504 w 5957508"/>
                    <a:gd name="connsiteY1203" fmla="*/ 38091 h 3102400"/>
                    <a:gd name="connsiteX1204" fmla="*/ 1927407 w 5957508"/>
                    <a:gd name="connsiteY1204" fmla="*/ 34917 h 3102400"/>
                    <a:gd name="connsiteX1205" fmla="*/ 1933274 w 5957508"/>
                    <a:gd name="connsiteY1205" fmla="*/ 35034 h 3102400"/>
                    <a:gd name="connsiteX1206" fmla="*/ 1964392 w 5957508"/>
                    <a:gd name="connsiteY1206" fmla="*/ 38091 h 3102400"/>
                    <a:gd name="connsiteX1207" fmla="*/ 1939927 w 5957508"/>
                    <a:gd name="connsiteY1207" fmla="*/ 33067 h 3102400"/>
                    <a:gd name="connsiteX1208" fmla="*/ 1923671 w 5957508"/>
                    <a:gd name="connsiteY1208" fmla="*/ 24037 h 3102400"/>
                    <a:gd name="connsiteX1209" fmla="*/ 1962319 w 5957508"/>
                    <a:gd name="connsiteY1209" fmla="*/ 23885 h 3102400"/>
                    <a:gd name="connsiteX1210" fmla="*/ 1985367 w 5957508"/>
                    <a:gd name="connsiteY1210" fmla="*/ 26766 h 3102400"/>
                    <a:gd name="connsiteX1211" fmla="*/ 1979968 w 5957508"/>
                    <a:gd name="connsiteY1211" fmla="*/ 20840 h 3102400"/>
                    <a:gd name="connsiteX1212" fmla="*/ 1936097 w 5957508"/>
                    <a:gd name="connsiteY1212" fmla="*/ 22304 h 3102400"/>
                    <a:gd name="connsiteX1213" fmla="*/ 1893654 w 5957508"/>
                    <a:gd name="connsiteY1213" fmla="*/ 24049 h 3102400"/>
                    <a:gd name="connsiteX1214" fmla="*/ 1899346 w 5957508"/>
                    <a:gd name="connsiteY1214" fmla="*/ 20781 h 3102400"/>
                    <a:gd name="connsiteX1215" fmla="*/ 1887927 w 5957508"/>
                    <a:gd name="connsiteY1215" fmla="*/ 21671 h 3102400"/>
                    <a:gd name="connsiteX1216" fmla="*/ 1901841 w 5957508"/>
                    <a:gd name="connsiteY1216" fmla="*/ 14211 h 3102400"/>
                    <a:gd name="connsiteX1217" fmla="*/ 1900447 w 5957508"/>
                    <a:gd name="connsiteY1217" fmla="*/ 12572 h 3102400"/>
                    <a:gd name="connsiteX1218" fmla="*/ 1918822 w 5957508"/>
                    <a:gd name="connsiteY1218" fmla="*/ 11225 h 3102400"/>
                    <a:gd name="connsiteX1219" fmla="*/ 1923284 w 5957508"/>
                    <a:gd name="connsiteY1219" fmla="*/ 10276 h 3102400"/>
                    <a:gd name="connsiteX1220" fmla="*/ 1950807 w 5957508"/>
                    <a:gd name="connsiteY1220" fmla="*/ 11810 h 3102400"/>
                    <a:gd name="connsiteX1221" fmla="*/ 1912205 w 5957508"/>
                    <a:gd name="connsiteY1221" fmla="*/ 3519 h 3102400"/>
                    <a:gd name="connsiteX1222" fmla="*/ 1951497 w 5957508"/>
                    <a:gd name="connsiteY1222" fmla="*/ 825 h 3102400"/>
                    <a:gd name="connsiteX1223" fmla="*/ 2043667 w 5957508"/>
                    <a:gd name="connsiteY1223" fmla="*/ 825 h 3102400"/>
                    <a:gd name="connsiteX1224" fmla="*/ 2186618 w 5957508"/>
                    <a:gd name="connsiteY1224" fmla="*/ 825 h 3102400"/>
                    <a:gd name="connsiteX1225" fmla="*/ 2186618 w 5957508"/>
                    <a:gd name="connsiteY1225" fmla="*/ 825 h 3102400"/>
                    <a:gd name="connsiteX1226" fmla="*/ 1376 w 5957508"/>
                    <a:gd name="connsiteY1226" fmla="*/ 873755 h 3102400"/>
                    <a:gd name="connsiteX1227" fmla="*/ 12443 w 5957508"/>
                    <a:gd name="connsiteY1227" fmla="*/ 877573 h 3102400"/>
                    <a:gd name="connsiteX1228" fmla="*/ 8005 w 5957508"/>
                    <a:gd name="connsiteY1228" fmla="*/ 887282 h 3102400"/>
                    <a:gd name="connsiteX1229" fmla="*/ 17526 w 5957508"/>
                    <a:gd name="connsiteY1229" fmla="*/ 899650 h 3102400"/>
                    <a:gd name="connsiteX1230" fmla="*/ 5943 w 5957508"/>
                    <a:gd name="connsiteY1230" fmla="*/ 910986 h 3102400"/>
                    <a:gd name="connsiteX1231" fmla="*/ 11659 w 5957508"/>
                    <a:gd name="connsiteY1231" fmla="*/ 911666 h 3102400"/>
                    <a:gd name="connsiteX1232" fmla="*/ 8426 w 5957508"/>
                    <a:gd name="connsiteY1232" fmla="*/ 922955 h 3102400"/>
                    <a:gd name="connsiteX1233" fmla="*/ 1364 w 5957508"/>
                    <a:gd name="connsiteY1233" fmla="*/ 905810 h 3102400"/>
                    <a:gd name="connsiteX1234" fmla="*/ 1376 w 5957508"/>
                    <a:gd name="connsiteY1234" fmla="*/ 873755 h 3102400"/>
                    <a:gd name="connsiteX1235" fmla="*/ 1376 w 5957508"/>
                    <a:gd name="connsiteY1235" fmla="*/ 873755 h 3102400"/>
                    <a:gd name="connsiteX1236" fmla="*/ 1376 w 5957508"/>
                    <a:gd name="connsiteY1236" fmla="*/ 924384 h 3102400"/>
                    <a:gd name="connsiteX1237" fmla="*/ 21848 w 5957508"/>
                    <a:gd name="connsiteY1237" fmla="*/ 951649 h 3102400"/>
                    <a:gd name="connsiteX1238" fmla="*/ 35117 w 5957508"/>
                    <a:gd name="connsiteY1238" fmla="*/ 971348 h 3102400"/>
                    <a:gd name="connsiteX1239" fmla="*/ 41804 w 5957508"/>
                    <a:gd name="connsiteY1239" fmla="*/ 978820 h 3102400"/>
                    <a:gd name="connsiteX1240" fmla="*/ 44837 w 5957508"/>
                    <a:gd name="connsiteY1240" fmla="*/ 987896 h 3102400"/>
                    <a:gd name="connsiteX1241" fmla="*/ 86085 w 5957508"/>
                    <a:gd name="connsiteY1241" fmla="*/ 1018990 h 3102400"/>
                    <a:gd name="connsiteX1242" fmla="*/ 104262 w 5957508"/>
                    <a:gd name="connsiteY1242" fmla="*/ 1029085 h 3102400"/>
                    <a:gd name="connsiteX1243" fmla="*/ 107494 w 5957508"/>
                    <a:gd name="connsiteY1243" fmla="*/ 1031182 h 3102400"/>
                    <a:gd name="connsiteX1244" fmla="*/ 115470 w 5957508"/>
                    <a:gd name="connsiteY1244" fmla="*/ 1031088 h 3102400"/>
                    <a:gd name="connsiteX1245" fmla="*/ 125705 w 5957508"/>
                    <a:gd name="connsiteY1245" fmla="*/ 1039321 h 3102400"/>
                    <a:gd name="connsiteX1246" fmla="*/ 114966 w 5957508"/>
                    <a:gd name="connsiteY1246" fmla="*/ 1038021 h 3102400"/>
                    <a:gd name="connsiteX1247" fmla="*/ 113151 w 5957508"/>
                    <a:gd name="connsiteY1247" fmla="*/ 1049721 h 3102400"/>
                    <a:gd name="connsiteX1248" fmla="*/ 115985 w 5957508"/>
                    <a:gd name="connsiteY1248" fmla="*/ 1051009 h 3102400"/>
                    <a:gd name="connsiteX1249" fmla="*/ 93815 w 5957508"/>
                    <a:gd name="connsiteY1249" fmla="*/ 1044521 h 3102400"/>
                    <a:gd name="connsiteX1250" fmla="*/ 87420 w 5957508"/>
                    <a:gd name="connsiteY1250" fmla="*/ 1045200 h 3102400"/>
                    <a:gd name="connsiteX1251" fmla="*/ 78859 w 5957508"/>
                    <a:gd name="connsiteY1251" fmla="*/ 1041909 h 3102400"/>
                    <a:gd name="connsiteX1252" fmla="*/ 96942 w 5957508"/>
                    <a:gd name="connsiteY1252" fmla="*/ 1048351 h 3102400"/>
                    <a:gd name="connsiteX1253" fmla="*/ 110305 w 5957508"/>
                    <a:gd name="connsiteY1253" fmla="*/ 1054289 h 3102400"/>
                    <a:gd name="connsiteX1254" fmla="*/ 71352 w 5957508"/>
                    <a:gd name="connsiteY1254" fmla="*/ 1044556 h 3102400"/>
                    <a:gd name="connsiteX1255" fmla="*/ 76693 w 5957508"/>
                    <a:gd name="connsiteY1255" fmla="*/ 1048433 h 3102400"/>
                    <a:gd name="connsiteX1256" fmla="*/ 70568 w 5957508"/>
                    <a:gd name="connsiteY1256" fmla="*/ 1038595 h 3102400"/>
                    <a:gd name="connsiteX1257" fmla="*/ 62768 w 5957508"/>
                    <a:gd name="connsiteY1257" fmla="*/ 1040691 h 3102400"/>
                    <a:gd name="connsiteX1258" fmla="*/ 51478 w 5957508"/>
                    <a:gd name="connsiteY1258" fmla="*/ 1038689 h 3102400"/>
                    <a:gd name="connsiteX1259" fmla="*/ 57041 w 5957508"/>
                    <a:gd name="connsiteY1259" fmla="*/ 1041909 h 3102400"/>
                    <a:gd name="connsiteX1260" fmla="*/ 50623 w 5957508"/>
                    <a:gd name="connsiteY1260" fmla="*/ 1041265 h 3102400"/>
                    <a:gd name="connsiteX1261" fmla="*/ 55975 w 5957508"/>
                    <a:gd name="connsiteY1261" fmla="*/ 1043912 h 3102400"/>
                    <a:gd name="connsiteX1262" fmla="*/ 51700 w 5957508"/>
                    <a:gd name="connsiteY1262" fmla="*/ 1045200 h 3102400"/>
                    <a:gd name="connsiteX1263" fmla="*/ 60238 w 5957508"/>
                    <a:gd name="connsiteY1263" fmla="*/ 1045856 h 3102400"/>
                    <a:gd name="connsiteX1264" fmla="*/ 57404 w 5957508"/>
                    <a:gd name="connsiteY1264" fmla="*/ 1043912 h 3102400"/>
                    <a:gd name="connsiteX1265" fmla="*/ 67769 w 5957508"/>
                    <a:gd name="connsiteY1265" fmla="*/ 1047789 h 3102400"/>
                    <a:gd name="connsiteX1266" fmla="*/ 63892 w 5957508"/>
                    <a:gd name="connsiteY1266" fmla="*/ 1049136 h 3102400"/>
                    <a:gd name="connsiteX1267" fmla="*/ 61152 w 5957508"/>
                    <a:gd name="connsiteY1267" fmla="*/ 1055026 h 3102400"/>
                    <a:gd name="connsiteX1268" fmla="*/ 66387 w 5957508"/>
                    <a:gd name="connsiteY1268" fmla="*/ 1055530 h 3102400"/>
                    <a:gd name="connsiteX1269" fmla="*/ 64571 w 5957508"/>
                    <a:gd name="connsiteY1269" fmla="*/ 1053586 h 3102400"/>
                    <a:gd name="connsiteX1270" fmla="*/ 69596 w 5957508"/>
                    <a:gd name="connsiteY1270" fmla="*/ 1053586 h 3102400"/>
                    <a:gd name="connsiteX1271" fmla="*/ 56818 w 5957508"/>
                    <a:gd name="connsiteY1271" fmla="*/ 1051080 h 3102400"/>
                    <a:gd name="connsiteX1272" fmla="*/ 42390 w 5957508"/>
                    <a:gd name="connsiteY1272" fmla="*/ 1047086 h 3102400"/>
                    <a:gd name="connsiteX1273" fmla="*/ 44755 w 5957508"/>
                    <a:gd name="connsiteY1273" fmla="*/ 1050705 h 3102400"/>
                    <a:gd name="connsiteX1274" fmla="*/ 30257 w 5957508"/>
                    <a:gd name="connsiteY1274" fmla="*/ 1042624 h 3102400"/>
                    <a:gd name="connsiteX1275" fmla="*/ 42753 w 5957508"/>
                    <a:gd name="connsiteY1275" fmla="*/ 1053012 h 3102400"/>
                    <a:gd name="connsiteX1276" fmla="*/ 19540 w 5957508"/>
                    <a:gd name="connsiteY1276" fmla="*/ 1047086 h 3102400"/>
                    <a:gd name="connsiteX1277" fmla="*/ 25982 w 5957508"/>
                    <a:gd name="connsiteY1277" fmla="*/ 1049136 h 3102400"/>
                    <a:gd name="connsiteX1278" fmla="*/ 24541 w 5957508"/>
                    <a:gd name="connsiteY1278" fmla="*/ 1047156 h 3102400"/>
                    <a:gd name="connsiteX1279" fmla="*/ 19377 w 5957508"/>
                    <a:gd name="connsiteY1279" fmla="*/ 1040129 h 3102400"/>
                    <a:gd name="connsiteX1280" fmla="*/ 27048 w 5957508"/>
                    <a:gd name="connsiteY1280" fmla="*/ 1047086 h 3102400"/>
                    <a:gd name="connsiteX1281" fmla="*/ 12736 w 5957508"/>
                    <a:gd name="connsiteY1281" fmla="*/ 1039977 h 3102400"/>
                    <a:gd name="connsiteX1282" fmla="*/ 6330 w 5957508"/>
                    <a:gd name="connsiteY1282" fmla="*/ 1041921 h 3102400"/>
                    <a:gd name="connsiteX1283" fmla="*/ 12736 w 5957508"/>
                    <a:gd name="connsiteY1283" fmla="*/ 1046500 h 3102400"/>
                    <a:gd name="connsiteX1284" fmla="*/ 1399 w 5957508"/>
                    <a:gd name="connsiteY1284" fmla="*/ 1044041 h 3102400"/>
                    <a:gd name="connsiteX1285" fmla="*/ 1376 w 5957508"/>
                    <a:gd name="connsiteY1285" fmla="*/ 924384 h 3102400"/>
                    <a:gd name="connsiteX1286" fmla="*/ 1376 w 5957508"/>
                    <a:gd name="connsiteY1286" fmla="*/ 924384 h 310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Lst>
                  <a:rect l="l" t="t" r="r" b="b"/>
                  <a:pathLst>
                    <a:path w="5957508" h="3102400">
                      <a:moveTo>
                        <a:pt x="4752263" y="3052849"/>
                      </a:moveTo>
                      <a:cubicBezTo>
                        <a:pt x="4756350" y="3053762"/>
                        <a:pt x="4760800" y="3052509"/>
                        <a:pt x="4764700" y="3051479"/>
                      </a:cubicBezTo>
                      <a:cubicBezTo>
                        <a:pt x="4763974" y="3057498"/>
                        <a:pt x="4761444" y="3054653"/>
                        <a:pt x="4759500" y="3056163"/>
                      </a:cubicBezTo>
                      <a:cubicBezTo>
                        <a:pt x="4758188" y="3057194"/>
                        <a:pt x="4753691" y="3060684"/>
                        <a:pt x="4751853" y="3061586"/>
                      </a:cubicBezTo>
                      <a:cubicBezTo>
                        <a:pt x="4746114" y="3064397"/>
                        <a:pt x="4742647" y="3064115"/>
                        <a:pt x="4737541" y="3068015"/>
                      </a:cubicBezTo>
                      <a:cubicBezTo>
                        <a:pt x="4730889" y="3073087"/>
                        <a:pt x="4729238" y="3078837"/>
                        <a:pt x="4724377" y="3082643"/>
                      </a:cubicBezTo>
                      <a:cubicBezTo>
                        <a:pt x="4722012" y="3084494"/>
                        <a:pt x="4717678" y="3086051"/>
                        <a:pt x="4715758" y="3088007"/>
                      </a:cubicBezTo>
                      <a:cubicBezTo>
                        <a:pt x="4711788" y="3092059"/>
                        <a:pt x="4712912" y="3096908"/>
                        <a:pt x="4711705" y="3102400"/>
                      </a:cubicBezTo>
                      <a:cubicBezTo>
                        <a:pt x="4712186" y="3095713"/>
                        <a:pt x="4707267" y="3100093"/>
                        <a:pt x="4705803" y="3097833"/>
                      </a:cubicBezTo>
                      <a:cubicBezTo>
                        <a:pt x="4703753" y="3094659"/>
                        <a:pt x="4704854" y="3091626"/>
                        <a:pt x="4705756" y="3089799"/>
                      </a:cubicBezTo>
                      <a:cubicBezTo>
                        <a:pt x="4707934" y="3085407"/>
                        <a:pt x="4714739" y="3082971"/>
                        <a:pt x="4717924" y="3079422"/>
                      </a:cubicBezTo>
                      <a:cubicBezTo>
                        <a:pt x="4720044" y="3077080"/>
                        <a:pt x="4720934" y="3074656"/>
                        <a:pt x="4722761" y="3072243"/>
                      </a:cubicBezTo>
                      <a:cubicBezTo>
                        <a:pt x="4726556" y="3067231"/>
                        <a:pt x="4731451" y="3063717"/>
                        <a:pt x="4735140" y="3058740"/>
                      </a:cubicBezTo>
                      <a:cubicBezTo>
                        <a:pt x="4736979" y="3056257"/>
                        <a:pt x="4737108" y="3050425"/>
                        <a:pt x="4740340" y="3048762"/>
                      </a:cubicBezTo>
                      <a:cubicBezTo>
                        <a:pt x="4745364" y="3046209"/>
                        <a:pt x="4747566" y="3050624"/>
                        <a:pt x="4752263" y="3052849"/>
                      </a:cubicBezTo>
                      <a:lnTo>
                        <a:pt x="4752263" y="3052849"/>
                      </a:lnTo>
                      <a:close/>
                      <a:moveTo>
                        <a:pt x="4881792" y="2994584"/>
                      </a:moveTo>
                      <a:cubicBezTo>
                        <a:pt x="4877611" y="2997149"/>
                        <a:pt x="4873102" y="2994889"/>
                        <a:pt x="4868570" y="2996130"/>
                      </a:cubicBezTo>
                      <a:cubicBezTo>
                        <a:pt x="4863780" y="2997442"/>
                        <a:pt x="4854703" y="3000815"/>
                        <a:pt x="4850464" y="3003485"/>
                      </a:cubicBezTo>
                      <a:cubicBezTo>
                        <a:pt x="4841059" y="3009388"/>
                        <a:pt x="4837651" y="3019987"/>
                        <a:pt x="4826326" y="3018932"/>
                      </a:cubicBezTo>
                      <a:cubicBezTo>
                        <a:pt x="4824218" y="3018733"/>
                        <a:pt x="4825553" y="3014822"/>
                        <a:pt x="4822344" y="3016028"/>
                      </a:cubicBezTo>
                      <a:cubicBezTo>
                        <a:pt x="4819405" y="3017141"/>
                        <a:pt x="4820740" y="3018757"/>
                        <a:pt x="4819604" y="3020197"/>
                      </a:cubicBezTo>
                      <a:cubicBezTo>
                        <a:pt x="4819135" y="3020783"/>
                        <a:pt x="4817062" y="3026510"/>
                        <a:pt x="4814181" y="3028923"/>
                      </a:cubicBezTo>
                      <a:cubicBezTo>
                        <a:pt x="4804414" y="3037109"/>
                        <a:pt x="4795724" y="3044358"/>
                        <a:pt x="4786074" y="3050624"/>
                      </a:cubicBezTo>
                      <a:cubicBezTo>
                        <a:pt x="4775908" y="3057206"/>
                        <a:pt x="4784809" y="3045435"/>
                        <a:pt x="4783743" y="3040259"/>
                      </a:cubicBezTo>
                      <a:cubicBezTo>
                        <a:pt x="4785664" y="3045658"/>
                        <a:pt x="4791075" y="3042871"/>
                        <a:pt x="4786952" y="3037835"/>
                      </a:cubicBezTo>
                      <a:cubicBezTo>
                        <a:pt x="4789845" y="3039088"/>
                        <a:pt x="4796766" y="3040201"/>
                        <a:pt x="4797328" y="3034275"/>
                      </a:cubicBezTo>
                      <a:cubicBezTo>
                        <a:pt x="4797727" y="3030129"/>
                        <a:pt x="4789857" y="3030761"/>
                        <a:pt x="4793265" y="3027130"/>
                      </a:cubicBezTo>
                      <a:cubicBezTo>
                        <a:pt x="4794518" y="3025807"/>
                        <a:pt x="4797422" y="3029098"/>
                        <a:pt x="4799179" y="3028360"/>
                      </a:cubicBezTo>
                      <a:cubicBezTo>
                        <a:pt x="4799776" y="3028114"/>
                        <a:pt x="4800713" y="3025198"/>
                        <a:pt x="4802107" y="3024085"/>
                      </a:cubicBezTo>
                      <a:cubicBezTo>
                        <a:pt x="4806229" y="3020830"/>
                        <a:pt x="4809672" y="3018874"/>
                        <a:pt x="4812999" y="3015079"/>
                      </a:cubicBezTo>
                      <a:cubicBezTo>
                        <a:pt x="4813713" y="3014283"/>
                        <a:pt x="4812636" y="3011449"/>
                        <a:pt x="4813198" y="3011027"/>
                      </a:cubicBezTo>
                      <a:cubicBezTo>
                        <a:pt x="4815048" y="3009587"/>
                        <a:pt x="4816699" y="3011952"/>
                        <a:pt x="4817344" y="3011566"/>
                      </a:cubicBezTo>
                      <a:cubicBezTo>
                        <a:pt x="4820447" y="3009715"/>
                        <a:pt x="4822942" y="3007022"/>
                        <a:pt x="4826525" y="3004117"/>
                      </a:cubicBezTo>
                      <a:cubicBezTo>
                        <a:pt x="4828270" y="3002700"/>
                        <a:pt x="4832756" y="3003321"/>
                        <a:pt x="4833704" y="3001646"/>
                      </a:cubicBezTo>
                      <a:cubicBezTo>
                        <a:pt x="4834032" y="3001060"/>
                        <a:pt x="4832287" y="2997571"/>
                        <a:pt x="4832639" y="2996107"/>
                      </a:cubicBezTo>
                      <a:cubicBezTo>
                        <a:pt x="4833517" y="2992499"/>
                        <a:pt x="4831889" y="2990462"/>
                        <a:pt x="4836632" y="2988225"/>
                      </a:cubicBezTo>
                      <a:cubicBezTo>
                        <a:pt x="4838530" y="2995673"/>
                        <a:pt x="4838694" y="2998836"/>
                        <a:pt x="4846107" y="2999480"/>
                      </a:cubicBezTo>
                      <a:cubicBezTo>
                        <a:pt x="4856027" y="3000335"/>
                        <a:pt x="4860020" y="2993917"/>
                        <a:pt x="4866310" y="2988459"/>
                      </a:cubicBezTo>
                      <a:cubicBezTo>
                        <a:pt x="4869202" y="2985941"/>
                        <a:pt x="4874039" y="2981221"/>
                        <a:pt x="4878571" y="2982018"/>
                      </a:cubicBezTo>
                      <a:cubicBezTo>
                        <a:pt x="4885364" y="2983212"/>
                        <a:pt x="4881359" y="2985953"/>
                        <a:pt x="4881687" y="2987733"/>
                      </a:cubicBezTo>
                      <a:cubicBezTo>
                        <a:pt x="4881991" y="2989583"/>
                        <a:pt x="4883443" y="2992289"/>
                        <a:pt x="4881792" y="2994584"/>
                      </a:cubicBezTo>
                      <a:lnTo>
                        <a:pt x="4881792" y="2994584"/>
                      </a:lnTo>
                      <a:close/>
                      <a:moveTo>
                        <a:pt x="4973224" y="2936190"/>
                      </a:moveTo>
                      <a:cubicBezTo>
                        <a:pt x="4968563" y="2940957"/>
                        <a:pt x="4951710" y="2949788"/>
                        <a:pt x="4953830" y="2955878"/>
                      </a:cubicBezTo>
                      <a:cubicBezTo>
                        <a:pt x="4949684" y="2958243"/>
                        <a:pt x="4943922" y="2960914"/>
                        <a:pt x="4940127" y="2963232"/>
                      </a:cubicBezTo>
                      <a:cubicBezTo>
                        <a:pt x="4936438" y="2965493"/>
                        <a:pt x="4925219" y="2980601"/>
                        <a:pt x="4921459" y="2974874"/>
                      </a:cubicBezTo>
                      <a:cubicBezTo>
                        <a:pt x="4921014" y="2978528"/>
                        <a:pt x="4917747" y="2979277"/>
                        <a:pt x="4914127" y="2978141"/>
                      </a:cubicBezTo>
                      <a:cubicBezTo>
                        <a:pt x="4915814" y="2973538"/>
                        <a:pt x="4922852" y="2963432"/>
                        <a:pt x="4926858" y="2960597"/>
                      </a:cubicBezTo>
                      <a:cubicBezTo>
                        <a:pt x="4929364" y="2958829"/>
                        <a:pt x="4932761" y="2959133"/>
                        <a:pt x="4935735" y="2956697"/>
                      </a:cubicBezTo>
                      <a:cubicBezTo>
                        <a:pt x="4938804" y="2954191"/>
                        <a:pt x="4940022" y="2949518"/>
                        <a:pt x="4943781" y="2947305"/>
                      </a:cubicBezTo>
                      <a:cubicBezTo>
                        <a:pt x="4947060" y="2945372"/>
                        <a:pt x="4956254" y="2945700"/>
                        <a:pt x="4953022" y="2940887"/>
                      </a:cubicBezTo>
                      <a:cubicBezTo>
                        <a:pt x="4959685" y="2936179"/>
                        <a:pt x="4967040" y="2939599"/>
                        <a:pt x="4973224" y="2936190"/>
                      </a:cubicBezTo>
                      <a:lnTo>
                        <a:pt x="4973224" y="2936190"/>
                      </a:lnTo>
                      <a:close/>
                      <a:moveTo>
                        <a:pt x="5262721" y="2650980"/>
                      </a:moveTo>
                      <a:cubicBezTo>
                        <a:pt x="5257990" y="2651120"/>
                        <a:pt x="5253258" y="2664600"/>
                        <a:pt x="5249218" y="2668125"/>
                      </a:cubicBezTo>
                      <a:cubicBezTo>
                        <a:pt x="5244088" y="2672576"/>
                        <a:pt x="5239485" y="2670491"/>
                        <a:pt x="5233618" y="2673641"/>
                      </a:cubicBezTo>
                      <a:cubicBezTo>
                        <a:pt x="5228769" y="2676241"/>
                        <a:pt x="5227774" y="2684662"/>
                        <a:pt x="5223335" y="2684990"/>
                      </a:cubicBezTo>
                      <a:cubicBezTo>
                        <a:pt x="5226462" y="2679005"/>
                        <a:pt x="5216964" y="2682191"/>
                        <a:pt x="5215453" y="2679474"/>
                      </a:cubicBezTo>
                      <a:cubicBezTo>
                        <a:pt x="5214563" y="2677869"/>
                        <a:pt x="5217808" y="2675527"/>
                        <a:pt x="5217503" y="2673618"/>
                      </a:cubicBezTo>
                      <a:cubicBezTo>
                        <a:pt x="5217327" y="2672564"/>
                        <a:pt x="5214540" y="2667036"/>
                        <a:pt x="5214388" y="2667715"/>
                      </a:cubicBezTo>
                      <a:cubicBezTo>
                        <a:pt x="5215207" y="2664003"/>
                        <a:pt x="5215699" y="2666158"/>
                        <a:pt x="5218311" y="2664085"/>
                      </a:cubicBezTo>
                      <a:cubicBezTo>
                        <a:pt x="5218369" y="2664038"/>
                        <a:pt x="5221040" y="2665139"/>
                        <a:pt x="5221731" y="2664846"/>
                      </a:cubicBezTo>
                      <a:cubicBezTo>
                        <a:pt x="5223335" y="2664167"/>
                        <a:pt x="5223464" y="2661555"/>
                        <a:pt x="5225069" y="2661028"/>
                      </a:cubicBezTo>
                      <a:cubicBezTo>
                        <a:pt x="5228851" y="2659787"/>
                        <a:pt x="5234192" y="2659740"/>
                        <a:pt x="5236886" y="2658709"/>
                      </a:cubicBezTo>
                      <a:cubicBezTo>
                        <a:pt x="5248046" y="2654435"/>
                        <a:pt x="5246009" y="2635204"/>
                        <a:pt x="5257381" y="2632991"/>
                      </a:cubicBezTo>
                      <a:cubicBezTo>
                        <a:pt x="5264197" y="2631667"/>
                        <a:pt x="5266809" y="2646049"/>
                        <a:pt x="5262721" y="2650980"/>
                      </a:cubicBezTo>
                      <a:lnTo>
                        <a:pt x="5262721" y="2650980"/>
                      </a:lnTo>
                      <a:close/>
                      <a:moveTo>
                        <a:pt x="4570184" y="2385749"/>
                      </a:moveTo>
                      <a:cubicBezTo>
                        <a:pt x="4579963" y="2393525"/>
                        <a:pt x="4580501" y="2408036"/>
                        <a:pt x="4570640" y="2415028"/>
                      </a:cubicBezTo>
                      <a:cubicBezTo>
                        <a:pt x="4576250" y="2413856"/>
                        <a:pt x="4577011" y="2422886"/>
                        <a:pt x="4578487" y="2427254"/>
                      </a:cubicBezTo>
                      <a:cubicBezTo>
                        <a:pt x="4573240" y="2414255"/>
                        <a:pt x="4571155" y="2420380"/>
                        <a:pt x="4577761" y="2427699"/>
                      </a:cubicBezTo>
                      <a:cubicBezTo>
                        <a:pt x="4577409" y="2428367"/>
                        <a:pt x="4577035" y="2429035"/>
                        <a:pt x="4576683" y="2429690"/>
                      </a:cubicBezTo>
                      <a:cubicBezTo>
                        <a:pt x="4578393" y="2430217"/>
                        <a:pt x="4578580" y="2430346"/>
                        <a:pt x="4579892" y="2431143"/>
                      </a:cubicBezTo>
                      <a:cubicBezTo>
                        <a:pt x="4579787" y="2431506"/>
                        <a:pt x="4578405" y="2432079"/>
                        <a:pt x="4578159" y="2432607"/>
                      </a:cubicBezTo>
                      <a:cubicBezTo>
                        <a:pt x="4579482" y="2433098"/>
                        <a:pt x="4580747" y="2434082"/>
                        <a:pt x="4582047" y="2434551"/>
                      </a:cubicBezTo>
                      <a:cubicBezTo>
                        <a:pt x="4580056" y="2434890"/>
                        <a:pt x="4579482" y="2436085"/>
                        <a:pt x="4577761" y="2436542"/>
                      </a:cubicBezTo>
                      <a:cubicBezTo>
                        <a:pt x="4580103" y="2438919"/>
                        <a:pt x="4580068" y="2439036"/>
                        <a:pt x="4583090" y="2437291"/>
                      </a:cubicBezTo>
                      <a:cubicBezTo>
                        <a:pt x="4586650" y="2441987"/>
                        <a:pt x="4582574" y="2442959"/>
                        <a:pt x="4582539" y="2443639"/>
                      </a:cubicBezTo>
                      <a:cubicBezTo>
                        <a:pt x="4582445" y="2446286"/>
                        <a:pt x="4583780" y="2446813"/>
                        <a:pt x="4583265" y="2449928"/>
                      </a:cubicBezTo>
                      <a:cubicBezTo>
                        <a:pt x="4591803" y="2445150"/>
                        <a:pt x="4595691" y="2475576"/>
                        <a:pt x="4595879" y="2483071"/>
                      </a:cubicBezTo>
                      <a:cubicBezTo>
                        <a:pt x="4596171" y="2494783"/>
                        <a:pt x="4598338" y="2513685"/>
                        <a:pt x="4588477" y="2523605"/>
                      </a:cubicBezTo>
                      <a:cubicBezTo>
                        <a:pt x="4588723" y="2518546"/>
                        <a:pt x="4592248" y="2514763"/>
                        <a:pt x="4590655" y="2513510"/>
                      </a:cubicBezTo>
                      <a:cubicBezTo>
                        <a:pt x="4593396" y="2509024"/>
                        <a:pt x="4594906" y="2502477"/>
                        <a:pt x="4590761" y="2508146"/>
                      </a:cubicBezTo>
                      <a:cubicBezTo>
                        <a:pt x="4588559" y="2511156"/>
                        <a:pt x="4585443" y="2520794"/>
                        <a:pt x="4585127" y="2524320"/>
                      </a:cubicBezTo>
                      <a:cubicBezTo>
                        <a:pt x="4585783" y="2523956"/>
                        <a:pt x="4586439" y="2523347"/>
                        <a:pt x="4587060" y="2523078"/>
                      </a:cubicBezTo>
                      <a:cubicBezTo>
                        <a:pt x="4588102" y="2528196"/>
                        <a:pt x="4586111" y="2533372"/>
                        <a:pt x="4586287" y="2538771"/>
                      </a:cubicBezTo>
                      <a:cubicBezTo>
                        <a:pt x="4585760" y="2538268"/>
                        <a:pt x="4584893" y="2537202"/>
                        <a:pt x="4584401" y="2536464"/>
                      </a:cubicBezTo>
                      <a:cubicBezTo>
                        <a:pt x="4583546" y="2540025"/>
                        <a:pt x="4588629" y="2547028"/>
                        <a:pt x="4584928" y="2549452"/>
                      </a:cubicBezTo>
                      <a:cubicBezTo>
                        <a:pt x="4586310" y="2552778"/>
                        <a:pt x="4587516" y="2560368"/>
                        <a:pt x="4590819" y="2554711"/>
                      </a:cubicBezTo>
                      <a:cubicBezTo>
                        <a:pt x="4591604" y="2559337"/>
                        <a:pt x="4594731" y="2562909"/>
                        <a:pt x="4594965" y="2567605"/>
                      </a:cubicBezTo>
                      <a:cubicBezTo>
                        <a:pt x="4591979" y="2567793"/>
                        <a:pt x="4588196" y="2578778"/>
                        <a:pt x="4590737" y="2581226"/>
                      </a:cubicBezTo>
                      <a:cubicBezTo>
                        <a:pt x="4596289" y="2586578"/>
                        <a:pt x="4595715" y="2573391"/>
                        <a:pt x="4597448" y="2571868"/>
                      </a:cubicBezTo>
                      <a:cubicBezTo>
                        <a:pt x="4598677" y="2579375"/>
                        <a:pt x="4602519" y="2584564"/>
                        <a:pt x="4603152" y="2592785"/>
                      </a:cubicBezTo>
                      <a:cubicBezTo>
                        <a:pt x="4600025" y="2590478"/>
                        <a:pt x="4601570" y="2591579"/>
                        <a:pt x="4598174" y="2592317"/>
                      </a:cubicBezTo>
                      <a:cubicBezTo>
                        <a:pt x="4601804" y="2594659"/>
                        <a:pt x="4604463" y="2598219"/>
                        <a:pt x="4603585" y="2601756"/>
                      </a:cubicBezTo>
                      <a:cubicBezTo>
                        <a:pt x="4606161" y="2600468"/>
                        <a:pt x="4605962" y="2597950"/>
                        <a:pt x="4604229" y="2595151"/>
                      </a:cubicBezTo>
                      <a:cubicBezTo>
                        <a:pt x="4609558" y="2601826"/>
                        <a:pt x="4608843" y="2615189"/>
                        <a:pt x="4610998" y="2623610"/>
                      </a:cubicBezTo>
                      <a:cubicBezTo>
                        <a:pt x="4613809" y="2634607"/>
                        <a:pt x="4615308" y="2645733"/>
                        <a:pt x="4617990" y="2656765"/>
                      </a:cubicBezTo>
                      <a:cubicBezTo>
                        <a:pt x="4620426" y="2666790"/>
                        <a:pt x="4626399" y="2673677"/>
                        <a:pt x="4630205" y="2683140"/>
                      </a:cubicBezTo>
                      <a:cubicBezTo>
                        <a:pt x="4633273" y="2690764"/>
                        <a:pt x="4634831" y="2698997"/>
                        <a:pt x="4637373" y="2706527"/>
                      </a:cubicBezTo>
                      <a:cubicBezTo>
                        <a:pt x="4639375" y="2712418"/>
                        <a:pt x="4641050" y="2717033"/>
                        <a:pt x="4642104" y="2723099"/>
                      </a:cubicBezTo>
                      <a:cubicBezTo>
                        <a:pt x="4643661" y="2731988"/>
                        <a:pt x="4646777" y="2743993"/>
                        <a:pt x="4652773" y="2750914"/>
                      </a:cubicBezTo>
                      <a:cubicBezTo>
                        <a:pt x="4657903" y="2756840"/>
                        <a:pt x="4664953" y="2757519"/>
                        <a:pt x="4667178" y="2765190"/>
                      </a:cubicBezTo>
                      <a:cubicBezTo>
                        <a:pt x="4668396" y="2769418"/>
                        <a:pt x="4665363" y="2772850"/>
                        <a:pt x="4670012" y="2776656"/>
                      </a:cubicBezTo>
                      <a:cubicBezTo>
                        <a:pt x="4664051" y="2777569"/>
                        <a:pt x="4665925" y="2771503"/>
                        <a:pt x="4664309" y="2767451"/>
                      </a:cubicBezTo>
                      <a:cubicBezTo>
                        <a:pt x="4661674" y="2760881"/>
                        <a:pt x="4656544" y="2756020"/>
                        <a:pt x="4651379" y="2752015"/>
                      </a:cubicBezTo>
                      <a:cubicBezTo>
                        <a:pt x="4646379" y="2748138"/>
                        <a:pt x="4643568" y="2743595"/>
                        <a:pt x="4638473" y="2739460"/>
                      </a:cubicBezTo>
                      <a:cubicBezTo>
                        <a:pt x="4631142" y="2733499"/>
                        <a:pt x="4620555" y="2735865"/>
                        <a:pt x="4614242" y="2730946"/>
                      </a:cubicBezTo>
                      <a:cubicBezTo>
                        <a:pt x="4614957" y="2730653"/>
                        <a:pt x="4615671" y="2730360"/>
                        <a:pt x="4616385" y="2730068"/>
                      </a:cubicBezTo>
                      <a:cubicBezTo>
                        <a:pt x="4611607" y="2729693"/>
                        <a:pt x="4606946" y="2729459"/>
                        <a:pt x="4602519" y="2728217"/>
                      </a:cubicBezTo>
                      <a:cubicBezTo>
                        <a:pt x="4599579" y="2727397"/>
                        <a:pt x="4598760" y="2723661"/>
                        <a:pt x="4594133" y="2725348"/>
                      </a:cubicBezTo>
                      <a:cubicBezTo>
                        <a:pt x="4589285" y="2727128"/>
                        <a:pt x="4594286" y="2729564"/>
                        <a:pt x="4595141" y="2731204"/>
                      </a:cubicBezTo>
                      <a:cubicBezTo>
                        <a:pt x="4600727" y="2730864"/>
                        <a:pt x="4607379" y="2730208"/>
                        <a:pt x="4613165" y="2731450"/>
                      </a:cubicBezTo>
                      <a:cubicBezTo>
                        <a:pt x="4601418" y="2735408"/>
                        <a:pt x="4584237" y="2730524"/>
                        <a:pt x="4578194" y="2745773"/>
                      </a:cubicBezTo>
                      <a:cubicBezTo>
                        <a:pt x="4576086" y="2751090"/>
                        <a:pt x="4577737" y="2756606"/>
                        <a:pt x="4576109" y="2762122"/>
                      </a:cubicBezTo>
                      <a:cubicBezTo>
                        <a:pt x="4573896" y="2769629"/>
                        <a:pt x="4569504" y="2777042"/>
                        <a:pt x="4566728" y="2784433"/>
                      </a:cubicBezTo>
                      <a:cubicBezTo>
                        <a:pt x="4556422" y="2811920"/>
                        <a:pt x="4547463" y="2829990"/>
                        <a:pt x="4565241" y="2856470"/>
                      </a:cubicBezTo>
                      <a:cubicBezTo>
                        <a:pt x="4564796" y="2856622"/>
                        <a:pt x="4563953" y="2856376"/>
                        <a:pt x="4563473" y="2856470"/>
                      </a:cubicBezTo>
                      <a:cubicBezTo>
                        <a:pt x="4569785" y="2859293"/>
                        <a:pt x="4577117" y="2862619"/>
                        <a:pt x="4579693" y="2871484"/>
                      </a:cubicBezTo>
                      <a:cubicBezTo>
                        <a:pt x="4581145" y="2876450"/>
                        <a:pt x="4581122" y="2880877"/>
                        <a:pt x="4582445" y="2885761"/>
                      </a:cubicBezTo>
                      <a:cubicBezTo>
                        <a:pt x="4583394" y="2889251"/>
                        <a:pt x="4584987" y="2892179"/>
                        <a:pt x="4583476" y="2894005"/>
                      </a:cubicBezTo>
                      <a:cubicBezTo>
                        <a:pt x="4585572" y="2894298"/>
                        <a:pt x="4584799" y="2895481"/>
                        <a:pt x="4586931" y="2894228"/>
                      </a:cubicBezTo>
                      <a:cubicBezTo>
                        <a:pt x="4586310" y="2895657"/>
                        <a:pt x="4582750" y="2896254"/>
                        <a:pt x="4582761" y="2898081"/>
                      </a:cubicBezTo>
                      <a:cubicBezTo>
                        <a:pt x="4582761" y="2897589"/>
                        <a:pt x="4587563" y="2904921"/>
                        <a:pt x="4587247" y="2904722"/>
                      </a:cubicBezTo>
                      <a:cubicBezTo>
                        <a:pt x="4588524" y="2905518"/>
                        <a:pt x="4599673" y="2907392"/>
                        <a:pt x="4598502" y="2903902"/>
                      </a:cubicBezTo>
                      <a:cubicBezTo>
                        <a:pt x="4597108" y="2899674"/>
                        <a:pt x="4587622" y="2902578"/>
                        <a:pt x="4587435" y="2898069"/>
                      </a:cubicBezTo>
                      <a:cubicBezTo>
                        <a:pt x="4587294" y="2895024"/>
                        <a:pt x="4599532" y="2903035"/>
                        <a:pt x="4602109" y="2895786"/>
                      </a:cubicBezTo>
                      <a:cubicBezTo>
                        <a:pt x="4605564" y="2899311"/>
                        <a:pt x="4609628" y="2921809"/>
                        <a:pt x="4607485" y="2925416"/>
                      </a:cubicBezTo>
                      <a:cubicBezTo>
                        <a:pt x="4608691" y="2925603"/>
                        <a:pt x="4609944" y="2926529"/>
                        <a:pt x="4611045" y="2926833"/>
                      </a:cubicBezTo>
                      <a:cubicBezTo>
                        <a:pt x="4608539" y="2929761"/>
                        <a:pt x="4606337" y="2932935"/>
                        <a:pt x="4605014" y="2936776"/>
                      </a:cubicBezTo>
                      <a:cubicBezTo>
                        <a:pt x="4603596" y="2940922"/>
                        <a:pt x="4603585" y="2946005"/>
                        <a:pt x="4600856" y="2949647"/>
                      </a:cubicBezTo>
                      <a:cubicBezTo>
                        <a:pt x="4599416" y="2945314"/>
                        <a:pt x="4600961" y="2941589"/>
                        <a:pt x="4600446" y="2937045"/>
                      </a:cubicBezTo>
                      <a:cubicBezTo>
                        <a:pt x="4599720" y="2930487"/>
                        <a:pt x="4596324" y="2925053"/>
                        <a:pt x="4595914" y="2918799"/>
                      </a:cubicBezTo>
                      <a:cubicBezTo>
                        <a:pt x="4601172" y="2918354"/>
                        <a:pt x="4597694" y="2913447"/>
                        <a:pt x="4592822" y="2914676"/>
                      </a:cubicBezTo>
                      <a:cubicBezTo>
                        <a:pt x="4593325" y="2915578"/>
                        <a:pt x="4593981" y="2917241"/>
                        <a:pt x="4594216" y="2917686"/>
                      </a:cubicBezTo>
                      <a:cubicBezTo>
                        <a:pt x="4588009" y="2911233"/>
                        <a:pt x="4581403" y="2912896"/>
                        <a:pt x="4573474" y="2911748"/>
                      </a:cubicBezTo>
                      <a:cubicBezTo>
                        <a:pt x="4563976" y="2910367"/>
                        <a:pt x="4570945" y="2912112"/>
                        <a:pt x="4564585" y="2905776"/>
                      </a:cubicBezTo>
                      <a:cubicBezTo>
                        <a:pt x="4562067" y="2903281"/>
                        <a:pt x="4562782" y="2902461"/>
                        <a:pt x="4557289" y="2904862"/>
                      </a:cubicBezTo>
                      <a:cubicBezTo>
                        <a:pt x="4540190" y="2912346"/>
                        <a:pt x="4542872" y="2936425"/>
                        <a:pt x="4536103" y="2950080"/>
                      </a:cubicBezTo>
                      <a:cubicBezTo>
                        <a:pt x="4535892" y="2950502"/>
                        <a:pt x="4528561" y="2957213"/>
                        <a:pt x="4530013" y="2957166"/>
                      </a:cubicBezTo>
                      <a:cubicBezTo>
                        <a:pt x="4524825" y="2957318"/>
                        <a:pt x="4523185" y="2945864"/>
                        <a:pt x="4522576" y="2942983"/>
                      </a:cubicBezTo>
                      <a:cubicBezTo>
                        <a:pt x="4520433" y="2932747"/>
                        <a:pt x="4515268" y="2921165"/>
                        <a:pt x="4517493" y="2910894"/>
                      </a:cubicBezTo>
                      <a:cubicBezTo>
                        <a:pt x="4519871" y="2900014"/>
                        <a:pt x="4529287" y="2889895"/>
                        <a:pt x="4529533" y="2878581"/>
                      </a:cubicBezTo>
                      <a:cubicBezTo>
                        <a:pt x="4529708" y="2870735"/>
                        <a:pt x="4524544" y="2864387"/>
                        <a:pt x="4523958" y="2856775"/>
                      </a:cubicBezTo>
                      <a:cubicBezTo>
                        <a:pt x="4523243" y="2847792"/>
                        <a:pt x="4525902" y="2841889"/>
                        <a:pt x="4529474" y="2834253"/>
                      </a:cubicBezTo>
                      <a:cubicBezTo>
                        <a:pt x="4534018" y="2824486"/>
                        <a:pt x="4536489" y="2820106"/>
                        <a:pt x="4535143" y="2808629"/>
                      </a:cubicBezTo>
                      <a:cubicBezTo>
                        <a:pt x="4534463" y="2802855"/>
                        <a:pt x="4533374" y="2797666"/>
                        <a:pt x="4530868" y="2792467"/>
                      </a:cubicBezTo>
                      <a:cubicBezTo>
                        <a:pt x="4527870" y="2786248"/>
                        <a:pt x="4519555" y="2779303"/>
                        <a:pt x="4519109" y="2771913"/>
                      </a:cubicBezTo>
                      <a:cubicBezTo>
                        <a:pt x="4518700" y="2765261"/>
                        <a:pt x="4525211" y="2760928"/>
                        <a:pt x="4526441" y="2754334"/>
                      </a:cubicBezTo>
                      <a:cubicBezTo>
                        <a:pt x="4529568" y="2737563"/>
                        <a:pt x="4535388" y="2718953"/>
                        <a:pt x="4534182" y="2701128"/>
                      </a:cubicBezTo>
                      <a:cubicBezTo>
                        <a:pt x="4533210" y="2686817"/>
                        <a:pt x="4536852" y="2671533"/>
                        <a:pt x="4532578" y="2657070"/>
                      </a:cubicBezTo>
                      <a:cubicBezTo>
                        <a:pt x="4529545" y="2646799"/>
                        <a:pt x="4528057" y="2640673"/>
                        <a:pt x="4531184" y="2629489"/>
                      </a:cubicBezTo>
                      <a:cubicBezTo>
                        <a:pt x="4533433" y="2621396"/>
                        <a:pt x="4542298" y="2615025"/>
                        <a:pt x="4539476" y="2605492"/>
                      </a:cubicBezTo>
                      <a:cubicBezTo>
                        <a:pt x="4536981" y="2597083"/>
                        <a:pt x="4532086" y="2588452"/>
                        <a:pt x="4527917" y="2581823"/>
                      </a:cubicBezTo>
                      <a:cubicBezTo>
                        <a:pt x="4522717" y="2573531"/>
                        <a:pt x="4515959" y="2573531"/>
                        <a:pt x="4509869" y="2564748"/>
                      </a:cubicBezTo>
                      <a:cubicBezTo>
                        <a:pt x="4512762" y="2566610"/>
                        <a:pt x="4515795" y="2567289"/>
                        <a:pt x="4516861" y="2564748"/>
                      </a:cubicBezTo>
                      <a:cubicBezTo>
                        <a:pt x="4518840" y="2560040"/>
                        <a:pt x="4510326" y="2557100"/>
                        <a:pt x="4507375" y="2555203"/>
                      </a:cubicBezTo>
                      <a:cubicBezTo>
                        <a:pt x="4510291" y="2552193"/>
                        <a:pt x="4509260" y="2531276"/>
                        <a:pt x="4508932" y="2527318"/>
                      </a:cubicBezTo>
                      <a:cubicBezTo>
                        <a:pt x="4508253" y="2519565"/>
                        <a:pt x="4514202" y="2513475"/>
                        <a:pt x="4518044" y="2505792"/>
                      </a:cubicBezTo>
                      <a:cubicBezTo>
                        <a:pt x="4513992" y="2503403"/>
                        <a:pt x="4521241" y="2483680"/>
                        <a:pt x="4521709" y="2477696"/>
                      </a:cubicBezTo>
                      <a:cubicBezTo>
                        <a:pt x="4522178" y="2471852"/>
                        <a:pt x="4519777" y="2470669"/>
                        <a:pt x="4517610" y="2465340"/>
                      </a:cubicBezTo>
                      <a:cubicBezTo>
                        <a:pt x="4515690" y="2460562"/>
                        <a:pt x="4518173" y="2454238"/>
                        <a:pt x="4514132" y="2450654"/>
                      </a:cubicBezTo>
                      <a:cubicBezTo>
                        <a:pt x="4522424" y="2446403"/>
                        <a:pt x="4529615" y="2442409"/>
                        <a:pt x="4538761" y="2439446"/>
                      </a:cubicBezTo>
                      <a:cubicBezTo>
                        <a:pt x="4539769" y="2444353"/>
                        <a:pt x="4536571" y="2449612"/>
                        <a:pt x="4543774" y="2451076"/>
                      </a:cubicBezTo>
                      <a:cubicBezTo>
                        <a:pt x="4553354" y="2453020"/>
                        <a:pt x="4554267" y="2439142"/>
                        <a:pt x="4562056" y="2439446"/>
                      </a:cubicBezTo>
                      <a:cubicBezTo>
                        <a:pt x="4559912" y="2435944"/>
                        <a:pt x="4555731" y="2435113"/>
                        <a:pt x="4553026" y="2438287"/>
                      </a:cubicBezTo>
                      <a:cubicBezTo>
                        <a:pt x="4551984" y="2431025"/>
                        <a:pt x="4551715" y="2429023"/>
                        <a:pt x="4559666" y="2428590"/>
                      </a:cubicBezTo>
                      <a:cubicBezTo>
                        <a:pt x="4562583" y="2428425"/>
                        <a:pt x="4564960" y="2435663"/>
                        <a:pt x="4568157" y="2426798"/>
                      </a:cubicBezTo>
                      <a:cubicBezTo>
                        <a:pt x="4569188" y="2423928"/>
                        <a:pt x="4567068" y="2418553"/>
                        <a:pt x="4564761" y="2416901"/>
                      </a:cubicBezTo>
                      <a:cubicBezTo>
                        <a:pt x="4562712" y="2420965"/>
                        <a:pt x="4563051" y="2426973"/>
                        <a:pt x="4557711" y="2427465"/>
                      </a:cubicBezTo>
                      <a:cubicBezTo>
                        <a:pt x="4561423" y="2416257"/>
                        <a:pt x="4566237" y="2413165"/>
                        <a:pt x="4557429" y="2403152"/>
                      </a:cubicBezTo>
                      <a:cubicBezTo>
                        <a:pt x="4551785" y="2396734"/>
                        <a:pt x="4548119" y="2388290"/>
                        <a:pt x="4540952" y="2384086"/>
                      </a:cubicBezTo>
                      <a:cubicBezTo>
                        <a:pt x="4545097" y="2386358"/>
                        <a:pt x="4549993" y="2387623"/>
                        <a:pt x="4554232" y="2384613"/>
                      </a:cubicBezTo>
                      <a:cubicBezTo>
                        <a:pt x="4553939" y="2387681"/>
                        <a:pt x="4556247" y="2391558"/>
                        <a:pt x="4555942" y="2386053"/>
                      </a:cubicBezTo>
                      <a:cubicBezTo>
                        <a:pt x="4561294" y="2387611"/>
                        <a:pt x="4558612" y="2381966"/>
                        <a:pt x="4561833" y="2378394"/>
                      </a:cubicBezTo>
                      <a:cubicBezTo>
                        <a:pt x="4563602" y="2376426"/>
                        <a:pt x="4561494" y="2373955"/>
                        <a:pt x="4565581" y="2377293"/>
                      </a:cubicBezTo>
                      <a:cubicBezTo>
                        <a:pt x="4567337" y="2378710"/>
                        <a:pt x="4569059" y="2383734"/>
                        <a:pt x="4570184" y="2385749"/>
                      </a:cubicBezTo>
                      <a:lnTo>
                        <a:pt x="4570184" y="2385749"/>
                      </a:lnTo>
                      <a:close/>
                      <a:moveTo>
                        <a:pt x="4306428" y="2323853"/>
                      </a:moveTo>
                      <a:cubicBezTo>
                        <a:pt x="4315961" y="2324615"/>
                        <a:pt x="4318959" y="2323291"/>
                        <a:pt x="4311476" y="2333632"/>
                      </a:cubicBezTo>
                      <a:cubicBezTo>
                        <a:pt x="4316277" y="2331138"/>
                        <a:pt x="4323808" y="2326371"/>
                        <a:pt x="4328633" y="2331196"/>
                      </a:cubicBezTo>
                      <a:cubicBezTo>
                        <a:pt x="4320459" y="2333152"/>
                        <a:pt x="4320212" y="2339371"/>
                        <a:pt x="4317296" y="2344430"/>
                      </a:cubicBezTo>
                      <a:cubicBezTo>
                        <a:pt x="4315341" y="2347827"/>
                        <a:pt x="4309590" y="2356669"/>
                        <a:pt x="4303969" y="2358707"/>
                      </a:cubicBezTo>
                      <a:cubicBezTo>
                        <a:pt x="4301814" y="2359480"/>
                        <a:pt x="4303934" y="2361646"/>
                        <a:pt x="4299799" y="2359000"/>
                      </a:cubicBezTo>
                      <a:cubicBezTo>
                        <a:pt x="4297645" y="2357629"/>
                        <a:pt x="4295302" y="2351949"/>
                        <a:pt x="4293780" y="2349419"/>
                      </a:cubicBezTo>
                      <a:cubicBezTo>
                        <a:pt x="4291156" y="2345051"/>
                        <a:pt x="4293300" y="2343177"/>
                        <a:pt x="4287865" y="2343564"/>
                      </a:cubicBezTo>
                      <a:cubicBezTo>
                        <a:pt x="4284258" y="2343810"/>
                        <a:pt x="4281037" y="2348975"/>
                        <a:pt x="4277184" y="2349911"/>
                      </a:cubicBezTo>
                      <a:cubicBezTo>
                        <a:pt x="4279093" y="2346082"/>
                        <a:pt x="4279070" y="2342381"/>
                        <a:pt x="4281494" y="2338657"/>
                      </a:cubicBezTo>
                      <a:cubicBezTo>
                        <a:pt x="4283930" y="2334897"/>
                        <a:pt x="4287877" y="2334031"/>
                        <a:pt x="4290055" y="2330880"/>
                      </a:cubicBezTo>
                      <a:cubicBezTo>
                        <a:pt x="4292187" y="2327812"/>
                        <a:pt x="4290641" y="2321441"/>
                        <a:pt x="4295021" y="2319696"/>
                      </a:cubicBezTo>
                      <a:cubicBezTo>
                        <a:pt x="4299249" y="2318033"/>
                        <a:pt x="4302540" y="2323104"/>
                        <a:pt x="4306428" y="2323853"/>
                      </a:cubicBezTo>
                      <a:lnTo>
                        <a:pt x="4306428" y="2323853"/>
                      </a:lnTo>
                      <a:close/>
                      <a:moveTo>
                        <a:pt x="5775803" y="2307375"/>
                      </a:moveTo>
                      <a:cubicBezTo>
                        <a:pt x="5781554" y="2308980"/>
                        <a:pt x="5789295" y="2308921"/>
                        <a:pt x="5793125" y="2311767"/>
                      </a:cubicBezTo>
                      <a:cubicBezTo>
                        <a:pt x="5784868" y="2317775"/>
                        <a:pt x="5796802" y="2332262"/>
                        <a:pt x="5801885" y="2336994"/>
                      </a:cubicBezTo>
                      <a:cubicBezTo>
                        <a:pt x="5809287" y="2343880"/>
                        <a:pt x="5813409" y="2345695"/>
                        <a:pt x="5812776" y="2356997"/>
                      </a:cubicBezTo>
                      <a:cubicBezTo>
                        <a:pt x="5809732" y="2354596"/>
                        <a:pt x="5805328" y="2347370"/>
                        <a:pt x="5804203" y="2346538"/>
                      </a:cubicBezTo>
                      <a:cubicBezTo>
                        <a:pt x="5802283" y="2345133"/>
                        <a:pt x="5799273" y="2347089"/>
                        <a:pt x="5797633" y="2345918"/>
                      </a:cubicBezTo>
                      <a:cubicBezTo>
                        <a:pt x="5795513" y="2344407"/>
                        <a:pt x="5794459" y="2342112"/>
                        <a:pt x="5792832" y="2340495"/>
                      </a:cubicBezTo>
                      <a:cubicBezTo>
                        <a:pt x="5789412" y="2337099"/>
                        <a:pt x="5786098" y="2335459"/>
                        <a:pt x="5783509" y="2330599"/>
                      </a:cubicBezTo>
                      <a:cubicBezTo>
                        <a:pt x="5781987" y="2327730"/>
                        <a:pt x="5777419" y="2318794"/>
                        <a:pt x="5777747" y="2317728"/>
                      </a:cubicBezTo>
                      <a:cubicBezTo>
                        <a:pt x="5773637" y="2315327"/>
                        <a:pt x="5768437" y="2315187"/>
                        <a:pt x="5764876" y="2312259"/>
                      </a:cubicBezTo>
                      <a:cubicBezTo>
                        <a:pt x="5769877" y="2312598"/>
                        <a:pt x="5772699" y="2309881"/>
                        <a:pt x="5775803" y="2307375"/>
                      </a:cubicBezTo>
                      <a:lnTo>
                        <a:pt x="5775803" y="2307375"/>
                      </a:lnTo>
                      <a:close/>
                      <a:moveTo>
                        <a:pt x="5704082" y="2021426"/>
                      </a:moveTo>
                      <a:cubicBezTo>
                        <a:pt x="5708275" y="2022270"/>
                        <a:pt x="5711120" y="2034087"/>
                        <a:pt x="5710254" y="2038115"/>
                      </a:cubicBezTo>
                      <a:cubicBezTo>
                        <a:pt x="5709200" y="2043023"/>
                        <a:pt x="5708438" y="2044674"/>
                        <a:pt x="5703309" y="2046044"/>
                      </a:cubicBezTo>
                      <a:cubicBezTo>
                        <a:pt x="5700065" y="2046911"/>
                        <a:pt x="5696903" y="2045400"/>
                        <a:pt x="5693541" y="2046606"/>
                      </a:cubicBezTo>
                      <a:cubicBezTo>
                        <a:pt x="5691585" y="2047309"/>
                        <a:pt x="5689887" y="2049979"/>
                        <a:pt x="5688505" y="2050389"/>
                      </a:cubicBezTo>
                      <a:cubicBezTo>
                        <a:pt x="5686058" y="2051115"/>
                        <a:pt x="5684477" y="2048644"/>
                        <a:pt x="5681830" y="2049534"/>
                      </a:cubicBezTo>
                      <a:cubicBezTo>
                        <a:pt x="5679324" y="2050389"/>
                        <a:pt x="5674744" y="2055847"/>
                        <a:pt x="5671852" y="2057486"/>
                      </a:cubicBezTo>
                      <a:cubicBezTo>
                        <a:pt x="5663712" y="2062124"/>
                        <a:pt x="5649904" y="2066996"/>
                        <a:pt x="5647175" y="2077970"/>
                      </a:cubicBezTo>
                      <a:cubicBezTo>
                        <a:pt x="5645793" y="2076225"/>
                        <a:pt x="5642491" y="2072079"/>
                        <a:pt x="5643346" y="2069924"/>
                      </a:cubicBezTo>
                      <a:cubicBezTo>
                        <a:pt x="5644189" y="2067816"/>
                        <a:pt x="5649143" y="2069256"/>
                        <a:pt x="5650583" y="2068167"/>
                      </a:cubicBezTo>
                      <a:cubicBezTo>
                        <a:pt x="5653828" y="2065708"/>
                        <a:pt x="5653675" y="2063096"/>
                        <a:pt x="5655549" y="2059946"/>
                      </a:cubicBezTo>
                      <a:cubicBezTo>
                        <a:pt x="5660538" y="2051595"/>
                        <a:pt x="5661674" y="2042519"/>
                        <a:pt x="5669252" y="2035925"/>
                      </a:cubicBezTo>
                      <a:cubicBezTo>
                        <a:pt x="5666078" y="2034122"/>
                        <a:pt x="5661510" y="2033899"/>
                        <a:pt x="5657938" y="2036113"/>
                      </a:cubicBezTo>
                      <a:cubicBezTo>
                        <a:pt x="5661487" y="2032506"/>
                        <a:pt x="5664766" y="2033934"/>
                        <a:pt x="5669263" y="2033232"/>
                      </a:cubicBezTo>
                      <a:cubicBezTo>
                        <a:pt x="5675131" y="2032306"/>
                        <a:pt x="5681935" y="2030409"/>
                        <a:pt x="5687217" y="2027282"/>
                      </a:cubicBezTo>
                      <a:cubicBezTo>
                        <a:pt x="5690485" y="2025373"/>
                        <a:pt x="5705932" y="2010898"/>
                        <a:pt x="5704082" y="2021426"/>
                      </a:cubicBezTo>
                      <a:lnTo>
                        <a:pt x="5704082" y="2021426"/>
                      </a:lnTo>
                      <a:close/>
                      <a:moveTo>
                        <a:pt x="732936" y="1397530"/>
                      </a:moveTo>
                      <a:cubicBezTo>
                        <a:pt x="734635" y="1397226"/>
                        <a:pt x="738218" y="1396230"/>
                        <a:pt x="739694" y="1396605"/>
                      </a:cubicBezTo>
                      <a:cubicBezTo>
                        <a:pt x="744367" y="1397788"/>
                        <a:pt x="741287" y="1398736"/>
                        <a:pt x="744648" y="1401524"/>
                      </a:cubicBezTo>
                      <a:cubicBezTo>
                        <a:pt x="747470" y="1403866"/>
                        <a:pt x="749087" y="1406325"/>
                        <a:pt x="753010" y="1406361"/>
                      </a:cubicBezTo>
                      <a:cubicBezTo>
                        <a:pt x="750422" y="1404651"/>
                        <a:pt x="747822" y="1403034"/>
                        <a:pt x="746534" y="1400235"/>
                      </a:cubicBezTo>
                      <a:cubicBezTo>
                        <a:pt x="750621" y="1399861"/>
                        <a:pt x="755622" y="1399439"/>
                        <a:pt x="759088" y="1401594"/>
                      </a:cubicBezTo>
                      <a:cubicBezTo>
                        <a:pt x="759018" y="1401676"/>
                        <a:pt x="757636" y="1402215"/>
                        <a:pt x="757671" y="1402133"/>
                      </a:cubicBezTo>
                      <a:cubicBezTo>
                        <a:pt x="760986" y="1403034"/>
                        <a:pt x="772697" y="1404018"/>
                        <a:pt x="774512" y="1406255"/>
                      </a:cubicBezTo>
                      <a:cubicBezTo>
                        <a:pt x="779115" y="1411923"/>
                        <a:pt x="767884" y="1410799"/>
                        <a:pt x="777335" y="1418341"/>
                      </a:cubicBezTo>
                      <a:cubicBezTo>
                        <a:pt x="775180" y="1418084"/>
                        <a:pt x="774231" y="1418775"/>
                        <a:pt x="772674" y="1418880"/>
                      </a:cubicBezTo>
                      <a:cubicBezTo>
                        <a:pt x="780591" y="1420004"/>
                        <a:pt x="767942" y="1424455"/>
                        <a:pt x="764792" y="1424115"/>
                      </a:cubicBezTo>
                      <a:cubicBezTo>
                        <a:pt x="760740" y="1423682"/>
                        <a:pt x="750469" y="1418517"/>
                        <a:pt x="746393" y="1414406"/>
                      </a:cubicBezTo>
                      <a:cubicBezTo>
                        <a:pt x="751488" y="1411830"/>
                        <a:pt x="741544" y="1395363"/>
                        <a:pt x="732995" y="1400388"/>
                      </a:cubicBezTo>
                      <a:cubicBezTo>
                        <a:pt x="733194" y="1400821"/>
                        <a:pt x="733428" y="1401207"/>
                        <a:pt x="733721" y="1401582"/>
                      </a:cubicBezTo>
                      <a:cubicBezTo>
                        <a:pt x="724633" y="1402402"/>
                        <a:pt x="722970" y="1392049"/>
                        <a:pt x="732936" y="1397530"/>
                      </a:cubicBezTo>
                      <a:lnTo>
                        <a:pt x="732936" y="1397530"/>
                      </a:lnTo>
                      <a:close/>
                      <a:moveTo>
                        <a:pt x="5536841" y="1150089"/>
                      </a:moveTo>
                      <a:cubicBezTo>
                        <a:pt x="5538610" y="1159200"/>
                        <a:pt x="5533445" y="1155921"/>
                        <a:pt x="5532566" y="1162257"/>
                      </a:cubicBezTo>
                      <a:cubicBezTo>
                        <a:pt x="5532391" y="1163487"/>
                        <a:pt x="5535658" y="1165759"/>
                        <a:pt x="5536045" y="1167574"/>
                      </a:cubicBezTo>
                      <a:cubicBezTo>
                        <a:pt x="5536607" y="1170080"/>
                        <a:pt x="5535693" y="1173383"/>
                        <a:pt x="5535846" y="1175538"/>
                      </a:cubicBezTo>
                      <a:cubicBezTo>
                        <a:pt x="5535939" y="1176815"/>
                        <a:pt x="5534616" y="1177974"/>
                        <a:pt x="5534757" y="1179696"/>
                      </a:cubicBezTo>
                      <a:cubicBezTo>
                        <a:pt x="5534850" y="1180715"/>
                        <a:pt x="5537333" y="1181628"/>
                        <a:pt x="5537567" y="1183045"/>
                      </a:cubicBezTo>
                      <a:cubicBezTo>
                        <a:pt x="5537954" y="1185294"/>
                        <a:pt x="5536900" y="1188409"/>
                        <a:pt x="5537743" y="1190915"/>
                      </a:cubicBezTo>
                      <a:cubicBezTo>
                        <a:pt x="5539172" y="1195237"/>
                        <a:pt x="5551914" y="1209689"/>
                        <a:pt x="5538657" y="1210005"/>
                      </a:cubicBezTo>
                      <a:cubicBezTo>
                        <a:pt x="5545531" y="1195366"/>
                        <a:pt x="5535037" y="1200085"/>
                        <a:pt x="5526617" y="1192836"/>
                      </a:cubicBezTo>
                      <a:cubicBezTo>
                        <a:pt x="5523572" y="1190213"/>
                        <a:pt x="5523350" y="1183689"/>
                        <a:pt x="5523959" y="1178700"/>
                      </a:cubicBezTo>
                      <a:cubicBezTo>
                        <a:pt x="5524251" y="1176241"/>
                        <a:pt x="5526605" y="1172880"/>
                        <a:pt x="5526125" y="1170420"/>
                      </a:cubicBezTo>
                      <a:cubicBezTo>
                        <a:pt x="5525223" y="1165829"/>
                        <a:pt x="5519614" y="1164658"/>
                        <a:pt x="5521112" y="1159388"/>
                      </a:cubicBezTo>
                      <a:cubicBezTo>
                        <a:pt x="5522436" y="1154656"/>
                        <a:pt x="5532438" y="1149890"/>
                        <a:pt x="5536841" y="1150089"/>
                      </a:cubicBezTo>
                      <a:lnTo>
                        <a:pt x="5536841" y="1150089"/>
                      </a:lnTo>
                      <a:close/>
                      <a:moveTo>
                        <a:pt x="5956102" y="1129313"/>
                      </a:moveTo>
                      <a:cubicBezTo>
                        <a:pt x="5942165" y="1128856"/>
                        <a:pt x="5957671" y="1143729"/>
                        <a:pt x="5941849" y="1147653"/>
                      </a:cubicBezTo>
                      <a:cubicBezTo>
                        <a:pt x="5927631" y="1151178"/>
                        <a:pt x="5901444" y="1142148"/>
                        <a:pt x="5889405" y="1134618"/>
                      </a:cubicBezTo>
                      <a:cubicBezTo>
                        <a:pt x="5886524" y="1132814"/>
                        <a:pt x="5885282" y="1130718"/>
                        <a:pt x="5882027" y="1129102"/>
                      </a:cubicBezTo>
                      <a:cubicBezTo>
                        <a:pt x="5880527" y="1128352"/>
                        <a:pt x="5872271" y="1126806"/>
                        <a:pt x="5871522" y="1125741"/>
                      </a:cubicBezTo>
                      <a:cubicBezTo>
                        <a:pt x="5867739" y="1120435"/>
                        <a:pt x="5879005" y="1113807"/>
                        <a:pt x="5883690" y="1111101"/>
                      </a:cubicBezTo>
                      <a:cubicBezTo>
                        <a:pt x="5898352" y="1102669"/>
                        <a:pt x="5909959" y="1108794"/>
                        <a:pt x="5924926" y="1112987"/>
                      </a:cubicBezTo>
                      <a:cubicBezTo>
                        <a:pt x="5933862" y="1115493"/>
                        <a:pt x="5964370" y="1114146"/>
                        <a:pt x="5956102" y="1129313"/>
                      </a:cubicBezTo>
                      <a:lnTo>
                        <a:pt x="5956102" y="1129313"/>
                      </a:lnTo>
                      <a:close/>
                      <a:moveTo>
                        <a:pt x="215064" y="1074866"/>
                      </a:moveTo>
                      <a:cubicBezTo>
                        <a:pt x="218227" y="1079773"/>
                        <a:pt x="221494" y="1080897"/>
                        <a:pt x="225054" y="1084211"/>
                      </a:cubicBezTo>
                      <a:cubicBezTo>
                        <a:pt x="226272" y="1085348"/>
                        <a:pt x="224844" y="1087643"/>
                        <a:pt x="226776" y="1089189"/>
                      </a:cubicBezTo>
                      <a:cubicBezTo>
                        <a:pt x="227807" y="1090020"/>
                        <a:pt x="233042" y="1090641"/>
                        <a:pt x="234857" y="1091555"/>
                      </a:cubicBezTo>
                      <a:cubicBezTo>
                        <a:pt x="238370" y="1093335"/>
                        <a:pt x="238628" y="1096099"/>
                        <a:pt x="243875" y="1098019"/>
                      </a:cubicBezTo>
                      <a:cubicBezTo>
                        <a:pt x="248290" y="1099636"/>
                        <a:pt x="249836" y="1099390"/>
                        <a:pt x="253982" y="1101826"/>
                      </a:cubicBezTo>
                      <a:cubicBezTo>
                        <a:pt x="257975" y="1104156"/>
                        <a:pt x="261208" y="1107810"/>
                        <a:pt x="265143" y="1110258"/>
                      </a:cubicBezTo>
                      <a:cubicBezTo>
                        <a:pt x="265892" y="1110726"/>
                        <a:pt x="270554" y="1111476"/>
                        <a:pt x="270460" y="1111382"/>
                      </a:cubicBezTo>
                      <a:cubicBezTo>
                        <a:pt x="274653" y="1115727"/>
                        <a:pt x="271163" y="1115950"/>
                        <a:pt x="272955" y="1120412"/>
                      </a:cubicBezTo>
                      <a:cubicBezTo>
                        <a:pt x="274196" y="1123515"/>
                        <a:pt x="276843" y="1123035"/>
                        <a:pt x="276714" y="1126607"/>
                      </a:cubicBezTo>
                      <a:cubicBezTo>
                        <a:pt x="276620" y="1129137"/>
                        <a:pt x="268867" y="1128645"/>
                        <a:pt x="273692" y="1133728"/>
                      </a:cubicBezTo>
                      <a:cubicBezTo>
                        <a:pt x="267485" y="1131503"/>
                        <a:pt x="263374" y="1136527"/>
                        <a:pt x="256593" y="1135777"/>
                      </a:cubicBezTo>
                      <a:cubicBezTo>
                        <a:pt x="253467" y="1135438"/>
                        <a:pt x="243746" y="1131198"/>
                        <a:pt x="245432" y="1138787"/>
                      </a:cubicBezTo>
                      <a:cubicBezTo>
                        <a:pt x="241696" y="1134360"/>
                        <a:pt x="231753" y="1135403"/>
                        <a:pt x="226108" y="1134407"/>
                      </a:cubicBezTo>
                      <a:cubicBezTo>
                        <a:pt x="224668" y="1127029"/>
                        <a:pt x="233744" y="1126724"/>
                        <a:pt x="221623" y="1120623"/>
                      </a:cubicBezTo>
                      <a:cubicBezTo>
                        <a:pt x="213355" y="1116465"/>
                        <a:pt x="203353" y="1116547"/>
                        <a:pt x="193562" y="1113303"/>
                      </a:cubicBezTo>
                      <a:cubicBezTo>
                        <a:pt x="196338" y="1116512"/>
                        <a:pt x="200320" y="1117004"/>
                        <a:pt x="203611" y="1119721"/>
                      </a:cubicBezTo>
                      <a:cubicBezTo>
                        <a:pt x="198048" y="1124183"/>
                        <a:pt x="196209" y="1118152"/>
                        <a:pt x="191981" y="1115095"/>
                      </a:cubicBezTo>
                      <a:cubicBezTo>
                        <a:pt x="187507" y="1111862"/>
                        <a:pt x="182143" y="1109403"/>
                        <a:pt x="178548" y="1105152"/>
                      </a:cubicBezTo>
                      <a:cubicBezTo>
                        <a:pt x="174835" y="1100772"/>
                        <a:pt x="176768" y="1097492"/>
                        <a:pt x="173207" y="1095396"/>
                      </a:cubicBezTo>
                      <a:cubicBezTo>
                        <a:pt x="174414" y="1095396"/>
                        <a:pt x="175269" y="1094974"/>
                        <a:pt x="176452" y="1094822"/>
                      </a:cubicBezTo>
                      <a:cubicBezTo>
                        <a:pt x="176206" y="1093639"/>
                        <a:pt x="175749" y="1092257"/>
                        <a:pt x="175374" y="1090981"/>
                      </a:cubicBezTo>
                      <a:cubicBezTo>
                        <a:pt x="172434" y="1091285"/>
                        <a:pt x="170924" y="1091063"/>
                        <a:pt x="168171" y="1089646"/>
                      </a:cubicBezTo>
                      <a:cubicBezTo>
                        <a:pt x="169085" y="1088849"/>
                        <a:pt x="169741" y="1087233"/>
                        <a:pt x="170713" y="1086460"/>
                      </a:cubicBezTo>
                      <a:cubicBezTo>
                        <a:pt x="168652" y="1086308"/>
                        <a:pt x="163639" y="1084340"/>
                        <a:pt x="167445" y="1082584"/>
                      </a:cubicBezTo>
                      <a:cubicBezTo>
                        <a:pt x="171591" y="1080675"/>
                        <a:pt x="183127" y="1086495"/>
                        <a:pt x="187554" y="1087725"/>
                      </a:cubicBezTo>
                      <a:cubicBezTo>
                        <a:pt x="185680" y="1082045"/>
                        <a:pt x="175854" y="1077700"/>
                        <a:pt x="170350" y="1076833"/>
                      </a:cubicBezTo>
                      <a:cubicBezTo>
                        <a:pt x="172411" y="1074877"/>
                        <a:pt x="175163" y="1075065"/>
                        <a:pt x="177880" y="1076833"/>
                      </a:cubicBezTo>
                      <a:cubicBezTo>
                        <a:pt x="178407" y="1074772"/>
                        <a:pt x="182178" y="1072383"/>
                        <a:pt x="184287" y="1070732"/>
                      </a:cubicBezTo>
                      <a:cubicBezTo>
                        <a:pt x="183713" y="1071188"/>
                        <a:pt x="182881" y="1068588"/>
                        <a:pt x="182670" y="1068729"/>
                      </a:cubicBezTo>
                      <a:cubicBezTo>
                        <a:pt x="185106" y="1067031"/>
                        <a:pt x="186500" y="1068366"/>
                        <a:pt x="189440" y="1067183"/>
                      </a:cubicBezTo>
                      <a:cubicBezTo>
                        <a:pt x="191442" y="1066375"/>
                        <a:pt x="194944" y="1063342"/>
                        <a:pt x="196806" y="1063353"/>
                      </a:cubicBezTo>
                      <a:cubicBezTo>
                        <a:pt x="199277" y="1063377"/>
                        <a:pt x="198083" y="1065415"/>
                        <a:pt x="199512" y="1065801"/>
                      </a:cubicBezTo>
                      <a:cubicBezTo>
                        <a:pt x="204442" y="1067171"/>
                        <a:pt x="211200" y="1071329"/>
                        <a:pt x="215064" y="1074866"/>
                      </a:cubicBezTo>
                      <a:lnTo>
                        <a:pt x="215064" y="1074866"/>
                      </a:lnTo>
                      <a:close/>
                      <a:moveTo>
                        <a:pt x="1458770" y="1072441"/>
                      </a:moveTo>
                      <a:cubicBezTo>
                        <a:pt x="1456615" y="1073542"/>
                        <a:pt x="1454285" y="1074116"/>
                        <a:pt x="1452024" y="1073718"/>
                      </a:cubicBezTo>
                      <a:cubicBezTo>
                        <a:pt x="1457634" y="1067195"/>
                        <a:pt x="1454226" y="1027165"/>
                        <a:pt x="1467999" y="1033770"/>
                      </a:cubicBezTo>
                      <a:cubicBezTo>
                        <a:pt x="1478926" y="1039017"/>
                        <a:pt x="1466558" y="1046243"/>
                        <a:pt x="1464333" y="1051091"/>
                      </a:cubicBezTo>
                      <a:cubicBezTo>
                        <a:pt x="1463783" y="1052286"/>
                        <a:pt x="1462096" y="1055155"/>
                        <a:pt x="1462155" y="1056444"/>
                      </a:cubicBezTo>
                      <a:cubicBezTo>
                        <a:pt x="1462237" y="1058317"/>
                        <a:pt x="1464825" y="1061971"/>
                        <a:pt x="1464720" y="1062861"/>
                      </a:cubicBezTo>
                      <a:cubicBezTo>
                        <a:pt x="1464146" y="1067675"/>
                        <a:pt x="1461768" y="1068436"/>
                        <a:pt x="1458770" y="1072441"/>
                      </a:cubicBezTo>
                      <a:lnTo>
                        <a:pt x="1458770" y="1072441"/>
                      </a:lnTo>
                      <a:close/>
                      <a:moveTo>
                        <a:pt x="4310785" y="958113"/>
                      </a:moveTo>
                      <a:cubicBezTo>
                        <a:pt x="4319229" y="964801"/>
                        <a:pt x="4310726" y="973561"/>
                        <a:pt x="4301568" y="973538"/>
                      </a:cubicBezTo>
                      <a:cubicBezTo>
                        <a:pt x="4293651" y="973514"/>
                        <a:pt x="4288263" y="963384"/>
                        <a:pt x="4279327" y="966721"/>
                      </a:cubicBezTo>
                      <a:cubicBezTo>
                        <a:pt x="4281869" y="967729"/>
                        <a:pt x="4284375" y="968830"/>
                        <a:pt x="4286835" y="970001"/>
                      </a:cubicBezTo>
                      <a:cubicBezTo>
                        <a:pt x="4286120" y="971230"/>
                        <a:pt x="4285781" y="970212"/>
                        <a:pt x="4285066" y="970715"/>
                      </a:cubicBezTo>
                      <a:cubicBezTo>
                        <a:pt x="4284411" y="975376"/>
                        <a:pt x="4269560" y="965199"/>
                        <a:pt x="4264981" y="964086"/>
                      </a:cubicBezTo>
                      <a:cubicBezTo>
                        <a:pt x="4270591" y="958629"/>
                        <a:pt x="4282267" y="957739"/>
                        <a:pt x="4289681" y="957434"/>
                      </a:cubicBezTo>
                      <a:cubicBezTo>
                        <a:pt x="4296532" y="957165"/>
                        <a:pt x="4303969" y="956181"/>
                        <a:pt x="4310785" y="958113"/>
                      </a:cubicBezTo>
                      <a:lnTo>
                        <a:pt x="4310785" y="958113"/>
                      </a:lnTo>
                      <a:close/>
                      <a:moveTo>
                        <a:pt x="1175855" y="887575"/>
                      </a:moveTo>
                      <a:cubicBezTo>
                        <a:pt x="1169167" y="888910"/>
                        <a:pt x="1128763" y="894391"/>
                        <a:pt x="1127990" y="884846"/>
                      </a:cubicBezTo>
                      <a:cubicBezTo>
                        <a:pt x="1127521" y="879014"/>
                        <a:pt x="1144093" y="875594"/>
                        <a:pt x="1147009" y="872643"/>
                      </a:cubicBezTo>
                      <a:cubicBezTo>
                        <a:pt x="1151600" y="868005"/>
                        <a:pt x="1152279" y="864913"/>
                        <a:pt x="1158217" y="860955"/>
                      </a:cubicBezTo>
                      <a:cubicBezTo>
                        <a:pt x="1166521" y="855427"/>
                        <a:pt x="1170116" y="854303"/>
                        <a:pt x="1180223" y="856739"/>
                      </a:cubicBezTo>
                      <a:cubicBezTo>
                        <a:pt x="1187437" y="858472"/>
                        <a:pt x="1197884" y="859327"/>
                        <a:pt x="1203564" y="864339"/>
                      </a:cubicBezTo>
                      <a:cubicBezTo>
                        <a:pt x="1211083" y="870956"/>
                        <a:pt x="1203342" y="873404"/>
                        <a:pt x="1195811" y="876730"/>
                      </a:cubicBezTo>
                      <a:cubicBezTo>
                        <a:pt x="1188550" y="879939"/>
                        <a:pt x="1182870" y="884307"/>
                        <a:pt x="1175855" y="887575"/>
                      </a:cubicBezTo>
                      <a:lnTo>
                        <a:pt x="1175855" y="887575"/>
                      </a:lnTo>
                      <a:close/>
                      <a:moveTo>
                        <a:pt x="3843413" y="854607"/>
                      </a:moveTo>
                      <a:cubicBezTo>
                        <a:pt x="3844888" y="855825"/>
                        <a:pt x="3846013" y="857429"/>
                        <a:pt x="3846774" y="859175"/>
                      </a:cubicBezTo>
                      <a:cubicBezTo>
                        <a:pt x="3842078" y="858144"/>
                        <a:pt x="3839232" y="861271"/>
                        <a:pt x="3836058" y="863285"/>
                      </a:cubicBezTo>
                      <a:cubicBezTo>
                        <a:pt x="3836351" y="863449"/>
                        <a:pt x="3836585" y="863672"/>
                        <a:pt x="3836772" y="863964"/>
                      </a:cubicBezTo>
                      <a:cubicBezTo>
                        <a:pt x="3824499" y="868661"/>
                        <a:pt x="3811850" y="860369"/>
                        <a:pt x="3801357" y="855146"/>
                      </a:cubicBezTo>
                      <a:cubicBezTo>
                        <a:pt x="3812049" y="850110"/>
                        <a:pt x="3832709" y="849489"/>
                        <a:pt x="3843413" y="854607"/>
                      </a:cubicBezTo>
                      <a:lnTo>
                        <a:pt x="3843413" y="854607"/>
                      </a:lnTo>
                      <a:close/>
                      <a:moveTo>
                        <a:pt x="3865524" y="841396"/>
                      </a:moveTo>
                      <a:cubicBezTo>
                        <a:pt x="3849819" y="845753"/>
                        <a:pt x="3828445" y="839417"/>
                        <a:pt x="3812482" y="837567"/>
                      </a:cubicBezTo>
                      <a:cubicBezTo>
                        <a:pt x="3814146" y="831688"/>
                        <a:pt x="3820716" y="831395"/>
                        <a:pt x="3825904" y="830926"/>
                      </a:cubicBezTo>
                      <a:cubicBezTo>
                        <a:pt x="3833107" y="830282"/>
                        <a:pt x="3838271" y="827694"/>
                        <a:pt x="3845216" y="826382"/>
                      </a:cubicBezTo>
                      <a:cubicBezTo>
                        <a:pt x="3850990" y="825293"/>
                        <a:pt x="3856682" y="825527"/>
                        <a:pt x="3861976" y="827799"/>
                      </a:cubicBezTo>
                      <a:cubicBezTo>
                        <a:pt x="3867878" y="830329"/>
                        <a:pt x="3873910" y="837297"/>
                        <a:pt x="3865524" y="841396"/>
                      </a:cubicBezTo>
                      <a:lnTo>
                        <a:pt x="3865524" y="841396"/>
                      </a:lnTo>
                      <a:close/>
                      <a:moveTo>
                        <a:pt x="1268212" y="826335"/>
                      </a:moveTo>
                      <a:cubicBezTo>
                        <a:pt x="1267603" y="827120"/>
                        <a:pt x="1269102" y="828338"/>
                        <a:pt x="1265565" y="828034"/>
                      </a:cubicBezTo>
                      <a:cubicBezTo>
                        <a:pt x="1269758" y="835424"/>
                        <a:pt x="1271831" y="847182"/>
                        <a:pt x="1261161" y="848119"/>
                      </a:cubicBezTo>
                      <a:cubicBezTo>
                        <a:pt x="1252132" y="848904"/>
                        <a:pt x="1223404" y="844828"/>
                        <a:pt x="1221120" y="833889"/>
                      </a:cubicBezTo>
                      <a:cubicBezTo>
                        <a:pt x="1220628" y="835260"/>
                        <a:pt x="1219761" y="836114"/>
                        <a:pt x="1219574" y="838176"/>
                      </a:cubicBezTo>
                      <a:cubicBezTo>
                        <a:pt x="1214526" y="830259"/>
                        <a:pt x="1238207" y="814835"/>
                        <a:pt x="1244332" y="811790"/>
                      </a:cubicBezTo>
                      <a:cubicBezTo>
                        <a:pt x="1256524" y="805735"/>
                        <a:pt x="1259194" y="820550"/>
                        <a:pt x="1268212" y="826335"/>
                      </a:cubicBezTo>
                      <a:lnTo>
                        <a:pt x="1268212" y="826335"/>
                      </a:lnTo>
                      <a:close/>
                      <a:moveTo>
                        <a:pt x="1023242" y="809588"/>
                      </a:moveTo>
                      <a:cubicBezTo>
                        <a:pt x="1025467" y="810361"/>
                        <a:pt x="1027985" y="811579"/>
                        <a:pt x="1029320" y="812949"/>
                      </a:cubicBezTo>
                      <a:cubicBezTo>
                        <a:pt x="1027411" y="811907"/>
                        <a:pt x="1019810" y="808475"/>
                        <a:pt x="1017456" y="809705"/>
                      </a:cubicBezTo>
                      <a:cubicBezTo>
                        <a:pt x="1015571" y="810701"/>
                        <a:pt x="1012596" y="820035"/>
                        <a:pt x="1012795" y="821815"/>
                      </a:cubicBezTo>
                      <a:cubicBezTo>
                        <a:pt x="1013053" y="824298"/>
                        <a:pt x="1015992" y="828889"/>
                        <a:pt x="1015465" y="830142"/>
                      </a:cubicBezTo>
                      <a:cubicBezTo>
                        <a:pt x="1013873" y="833913"/>
                        <a:pt x="1009938" y="833234"/>
                        <a:pt x="1010383" y="829322"/>
                      </a:cubicBezTo>
                      <a:cubicBezTo>
                        <a:pt x="1003461" y="829462"/>
                        <a:pt x="984278" y="823162"/>
                        <a:pt x="984582" y="815198"/>
                      </a:cubicBezTo>
                      <a:cubicBezTo>
                        <a:pt x="985168" y="799141"/>
                        <a:pt x="1015266" y="807855"/>
                        <a:pt x="1023242" y="809588"/>
                      </a:cubicBezTo>
                      <a:lnTo>
                        <a:pt x="1023242" y="809588"/>
                      </a:lnTo>
                      <a:close/>
                      <a:moveTo>
                        <a:pt x="3368323" y="814987"/>
                      </a:moveTo>
                      <a:cubicBezTo>
                        <a:pt x="3366039" y="815678"/>
                        <a:pt x="3364622" y="816182"/>
                        <a:pt x="3363123" y="814308"/>
                      </a:cubicBezTo>
                      <a:cubicBezTo>
                        <a:pt x="3369482" y="810501"/>
                        <a:pt x="3362362" y="809190"/>
                        <a:pt x="3359563" y="806133"/>
                      </a:cubicBezTo>
                      <a:cubicBezTo>
                        <a:pt x="3368955" y="804599"/>
                        <a:pt x="3374132" y="800757"/>
                        <a:pt x="3384250" y="804025"/>
                      </a:cubicBezTo>
                      <a:cubicBezTo>
                        <a:pt x="3394768" y="807433"/>
                        <a:pt x="3391324" y="808546"/>
                        <a:pt x="3390633" y="814987"/>
                      </a:cubicBezTo>
                      <a:cubicBezTo>
                        <a:pt x="3383208" y="814987"/>
                        <a:pt x="3375760" y="814987"/>
                        <a:pt x="3368323" y="814987"/>
                      </a:cubicBezTo>
                      <a:lnTo>
                        <a:pt x="3368323" y="814987"/>
                      </a:lnTo>
                      <a:close/>
                      <a:moveTo>
                        <a:pt x="1376" y="783506"/>
                      </a:moveTo>
                      <a:cubicBezTo>
                        <a:pt x="9656" y="788859"/>
                        <a:pt x="22386" y="785884"/>
                        <a:pt x="30280" y="788355"/>
                      </a:cubicBezTo>
                      <a:cubicBezTo>
                        <a:pt x="37190" y="790522"/>
                        <a:pt x="52204" y="791974"/>
                        <a:pt x="60367" y="795487"/>
                      </a:cubicBezTo>
                      <a:cubicBezTo>
                        <a:pt x="64501" y="797267"/>
                        <a:pt x="72945" y="802690"/>
                        <a:pt x="68823" y="806801"/>
                      </a:cubicBezTo>
                      <a:cubicBezTo>
                        <a:pt x="64396" y="811204"/>
                        <a:pt x="36628" y="811427"/>
                        <a:pt x="30233" y="812352"/>
                      </a:cubicBezTo>
                      <a:cubicBezTo>
                        <a:pt x="40715" y="815971"/>
                        <a:pt x="54488" y="808241"/>
                        <a:pt x="64560" y="813710"/>
                      </a:cubicBezTo>
                      <a:cubicBezTo>
                        <a:pt x="58704" y="823958"/>
                        <a:pt x="31100" y="818863"/>
                        <a:pt x="20231" y="822553"/>
                      </a:cubicBezTo>
                      <a:cubicBezTo>
                        <a:pt x="27610" y="825902"/>
                        <a:pt x="37775" y="823829"/>
                        <a:pt x="45118" y="822400"/>
                      </a:cubicBezTo>
                      <a:cubicBezTo>
                        <a:pt x="54839" y="820515"/>
                        <a:pt x="54382" y="824731"/>
                        <a:pt x="51911" y="832835"/>
                      </a:cubicBezTo>
                      <a:cubicBezTo>
                        <a:pt x="49159" y="841865"/>
                        <a:pt x="44685" y="839675"/>
                        <a:pt x="35620" y="839136"/>
                      </a:cubicBezTo>
                      <a:cubicBezTo>
                        <a:pt x="31193" y="838867"/>
                        <a:pt x="27176" y="840506"/>
                        <a:pt x="22632" y="840132"/>
                      </a:cubicBezTo>
                      <a:cubicBezTo>
                        <a:pt x="17807" y="839745"/>
                        <a:pt x="14516" y="835997"/>
                        <a:pt x="10593" y="840237"/>
                      </a:cubicBezTo>
                      <a:cubicBezTo>
                        <a:pt x="22340" y="840237"/>
                        <a:pt x="30807" y="842076"/>
                        <a:pt x="37424" y="851773"/>
                      </a:cubicBezTo>
                      <a:cubicBezTo>
                        <a:pt x="32997" y="851457"/>
                        <a:pt x="23757" y="848002"/>
                        <a:pt x="20231" y="849009"/>
                      </a:cubicBezTo>
                      <a:cubicBezTo>
                        <a:pt x="24846" y="851738"/>
                        <a:pt x="28593" y="856340"/>
                        <a:pt x="20559" y="856551"/>
                      </a:cubicBezTo>
                      <a:cubicBezTo>
                        <a:pt x="31896" y="868110"/>
                        <a:pt x="5873" y="860041"/>
                        <a:pt x="1997" y="859865"/>
                      </a:cubicBezTo>
                      <a:cubicBezTo>
                        <a:pt x="6588" y="860990"/>
                        <a:pt x="17362" y="863285"/>
                        <a:pt x="16285" y="868661"/>
                      </a:cubicBezTo>
                      <a:cubicBezTo>
                        <a:pt x="15336" y="873392"/>
                        <a:pt x="6025" y="872432"/>
                        <a:pt x="1388" y="872010"/>
                      </a:cubicBezTo>
                      <a:cubicBezTo>
                        <a:pt x="1376" y="842509"/>
                        <a:pt x="1376" y="813008"/>
                        <a:pt x="1376" y="783506"/>
                      </a:cubicBezTo>
                      <a:lnTo>
                        <a:pt x="1376" y="783506"/>
                      </a:lnTo>
                      <a:close/>
                      <a:moveTo>
                        <a:pt x="820000" y="767098"/>
                      </a:moveTo>
                      <a:cubicBezTo>
                        <a:pt x="825610" y="769136"/>
                        <a:pt x="832414" y="770307"/>
                        <a:pt x="836654" y="774547"/>
                      </a:cubicBezTo>
                      <a:cubicBezTo>
                        <a:pt x="834112" y="774758"/>
                        <a:pt x="831196" y="774617"/>
                        <a:pt x="828491" y="774172"/>
                      </a:cubicBezTo>
                      <a:cubicBezTo>
                        <a:pt x="832801" y="781328"/>
                        <a:pt x="824357" y="788484"/>
                        <a:pt x="821651" y="792431"/>
                      </a:cubicBezTo>
                      <a:cubicBezTo>
                        <a:pt x="825867" y="790311"/>
                        <a:pt x="834229" y="790393"/>
                        <a:pt x="837755" y="793801"/>
                      </a:cubicBezTo>
                      <a:cubicBezTo>
                        <a:pt x="835729" y="787430"/>
                        <a:pt x="843938" y="788905"/>
                        <a:pt x="845402" y="783647"/>
                      </a:cubicBezTo>
                      <a:cubicBezTo>
                        <a:pt x="855088" y="788987"/>
                        <a:pt x="859058" y="798368"/>
                        <a:pt x="860381" y="808803"/>
                      </a:cubicBezTo>
                      <a:cubicBezTo>
                        <a:pt x="861775" y="819835"/>
                        <a:pt x="858636" y="812785"/>
                        <a:pt x="852640" y="807831"/>
                      </a:cubicBezTo>
                      <a:cubicBezTo>
                        <a:pt x="847241" y="803381"/>
                        <a:pt x="844946" y="801975"/>
                        <a:pt x="839066" y="802702"/>
                      </a:cubicBezTo>
                      <a:cubicBezTo>
                        <a:pt x="827812" y="804072"/>
                        <a:pt x="811228" y="807152"/>
                        <a:pt x="799821" y="811239"/>
                      </a:cubicBezTo>
                      <a:cubicBezTo>
                        <a:pt x="792443" y="813898"/>
                        <a:pt x="787383" y="815690"/>
                        <a:pt x="780052" y="813125"/>
                      </a:cubicBezTo>
                      <a:cubicBezTo>
                        <a:pt x="775965" y="811684"/>
                        <a:pt x="775637" y="805173"/>
                        <a:pt x="770495" y="812855"/>
                      </a:cubicBezTo>
                      <a:cubicBezTo>
                        <a:pt x="773341" y="813945"/>
                        <a:pt x="774360" y="814940"/>
                        <a:pt x="775777" y="817142"/>
                      </a:cubicBezTo>
                      <a:cubicBezTo>
                        <a:pt x="769219" y="813605"/>
                        <a:pt x="760763" y="819789"/>
                        <a:pt x="765588" y="808171"/>
                      </a:cubicBezTo>
                      <a:cubicBezTo>
                        <a:pt x="769828" y="797982"/>
                        <a:pt x="775613" y="799048"/>
                        <a:pt x="771503" y="787418"/>
                      </a:cubicBezTo>
                      <a:cubicBezTo>
                        <a:pt x="770308" y="784068"/>
                        <a:pt x="767907" y="780965"/>
                        <a:pt x="769594" y="778119"/>
                      </a:cubicBezTo>
                      <a:cubicBezTo>
                        <a:pt x="771292" y="775250"/>
                        <a:pt x="788133" y="770682"/>
                        <a:pt x="791564" y="770190"/>
                      </a:cubicBezTo>
                      <a:cubicBezTo>
                        <a:pt x="800102" y="768961"/>
                        <a:pt x="809905" y="768235"/>
                        <a:pt x="820000" y="767098"/>
                      </a:cubicBezTo>
                      <a:lnTo>
                        <a:pt x="820000" y="767098"/>
                      </a:lnTo>
                      <a:close/>
                      <a:moveTo>
                        <a:pt x="1076494" y="768715"/>
                      </a:moveTo>
                      <a:cubicBezTo>
                        <a:pt x="1077150" y="769546"/>
                        <a:pt x="1077689" y="770870"/>
                        <a:pt x="1078286" y="771795"/>
                      </a:cubicBezTo>
                      <a:cubicBezTo>
                        <a:pt x="1071950" y="774816"/>
                        <a:pt x="1064021" y="773751"/>
                        <a:pt x="1057217" y="773926"/>
                      </a:cubicBezTo>
                      <a:cubicBezTo>
                        <a:pt x="1058997" y="771900"/>
                        <a:pt x="1058505" y="771326"/>
                        <a:pt x="1059700" y="769054"/>
                      </a:cubicBezTo>
                      <a:cubicBezTo>
                        <a:pt x="1057369" y="770647"/>
                        <a:pt x="1053610" y="771572"/>
                        <a:pt x="1051654" y="773493"/>
                      </a:cubicBezTo>
                      <a:cubicBezTo>
                        <a:pt x="1051150" y="773985"/>
                        <a:pt x="1049651" y="778365"/>
                        <a:pt x="1050776" y="778037"/>
                      </a:cubicBezTo>
                      <a:cubicBezTo>
                        <a:pt x="1048375" y="778728"/>
                        <a:pt x="1046536" y="779805"/>
                        <a:pt x="1047965" y="775507"/>
                      </a:cubicBezTo>
                      <a:cubicBezTo>
                        <a:pt x="1051455" y="764955"/>
                        <a:pt x="1079984" y="755844"/>
                        <a:pt x="1087620" y="762871"/>
                      </a:cubicBezTo>
                      <a:cubicBezTo>
                        <a:pt x="1084200" y="765599"/>
                        <a:pt x="1079363" y="765529"/>
                        <a:pt x="1076494" y="768715"/>
                      </a:cubicBezTo>
                      <a:lnTo>
                        <a:pt x="1076494" y="768715"/>
                      </a:lnTo>
                      <a:close/>
                      <a:moveTo>
                        <a:pt x="4540495" y="731894"/>
                      </a:moveTo>
                      <a:cubicBezTo>
                        <a:pt x="4557313" y="734728"/>
                        <a:pt x="4565932" y="745186"/>
                        <a:pt x="4579986" y="752846"/>
                      </a:cubicBezTo>
                      <a:cubicBezTo>
                        <a:pt x="4587189" y="756769"/>
                        <a:pt x="4594462" y="758936"/>
                        <a:pt x="4600411" y="765623"/>
                      </a:cubicBezTo>
                      <a:cubicBezTo>
                        <a:pt x="4601465" y="766806"/>
                        <a:pt x="4606103" y="772884"/>
                        <a:pt x="4606091" y="774114"/>
                      </a:cubicBezTo>
                      <a:cubicBezTo>
                        <a:pt x="4606068" y="776245"/>
                        <a:pt x="4601922" y="777159"/>
                        <a:pt x="4601594" y="778681"/>
                      </a:cubicBezTo>
                      <a:cubicBezTo>
                        <a:pt x="4599731" y="787687"/>
                        <a:pt x="4614008" y="794925"/>
                        <a:pt x="4601278" y="799633"/>
                      </a:cubicBezTo>
                      <a:cubicBezTo>
                        <a:pt x="4592658" y="802819"/>
                        <a:pt x="4583652" y="800558"/>
                        <a:pt x="4575090" y="798813"/>
                      </a:cubicBezTo>
                      <a:cubicBezTo>
                        <a:pt x="4566717" y="797115"/>
                        <a:pt x="4558999" y="797830"/>
                        <a:pt x="4550672" y="796846"/>
                      </a:cubicBezTo>
                      <a:cubicBezTo>
                        <a:pt x="4533948" y="794878"/>
                        <a:pt x="4516380" y="792700"/>
                        <a:pt x="4499973" y="788800"/>
                      </a:cubicBezTo>
                      <a:cubicBezTo>
                        <a:pt x="4482453" y="784642"/>
                        <a:pt x="4466548" y="776245"/>
                        <a:pt x="4448137" y="778377"/>
                      </a:cubicBezTo>
                      <a:cubicBezTo>
                        <a:pt x="4439190" y="779419"/>
                        <a:pt x="4432350" y="784455"/>
                        <a:pt x="4423684" y="785579"/>
                      </a:cubicBezTo>
                      <a:cubicBezTo>
                        <a:pt x="4416341" y="786528"/>
                        <a:pt x="4405262" y="783448"/>
                        <a:pt x="4412277" y="775191"/>
                      </a:cubicBezTo>
                      <a:cubicBezTo>
                        <a:pt x="4417735" y="768785"/>
                        <a:pt x="4427724" y="774125"/>
                        <a:pt x="4434962" y="773458"/>
                      </a:cubicBezTo>
                      <a:cubicBezTo>
                        <a:pt x="4444577" y="772568"/>
                        <a:pt x="4450866" y="768644"/>
                        <a:pt x="4456289" y="760786"/>
                      </a:cubicBezTo>
                      <a:cubicBezTo>
                        <a:pt x="4464218" y="749309"/>
                        <a:pt x="4467661" y="732151"/>
                        <a:pt x="4483167" y="730793"/>
                      </a:cubicBezTo>
                      <a:cubicBezTo>
                        <a:pt x="4486305" y="730523"/>
                        <a:pt x="4490159" y="732456"/>
                        <a:pt x="4493625" y="731941"/>
                      </a:cubicBezTo>
                      <a:cubicBezTo>
                        <a:pt x="4498251" y="731250"/>
                        <a:pt x="4502514" y="728427"/>
                        <a:pt x="4507175" y="727689"/>
                      </a:cubicBezTo>
                      <a:cubicBezTo>
                        <a:pt x="4519859" y="725675"/>
                        <a:pt x="4529099" y="726916"/>
                        <a:pt x="4540495" y="731894"/>
                      </a:cubicBezTo>
                      <a:lnTo>
                        <a:pt x="4540495" y="731894"/>
                      </a:lnTo>
                      <a:close/>
                      <a:moveTo>
                        <a:pt x="4199935" y="700835"/>
                      </a:moveTo>
                      <a:cubicBezTo>
                        <a:pt x="4207618" y="705168"/>
                        <a:pt x="4223147" y="710649"/>
                        <a:pt x="4226942" y="719351"/>
                      </a:cubicBezTo>
                      <a:cubicBezTo>
                        <a:pt x="4228816" y="723660"/>
                        <a:pt x="4226544" y="727303"/>
                        <a:pt x="4222796" y="728872"/>
                      </a:cubicBezTo>
                      <a:cubicBezTo>
                        <a:pt x="4219119" y="730418"/>
                        <a:pt x="4220793" y="729961"/>
                        <a:pt x="4216648" y="727385"/>
                      </a:cubicBezTo>
                      <a:cubicBezTo>
                        <a:pt x="4209000" y="722606"/>
                        <a:pt x="4201762" y="714198"/>
                        <a:pt x="4195941" y="707616"/>
                      </a:cubicBezTo>
                      <a:cubicBezTo>
                        <a:pt x="4192674" y="703927"/>
                        <a:pt x="4187544" y="704454"/>
                        <a:pt x="4184921" y="702076"/>
                      </a:cubicBezTo>
                      <a:cubicBezTo>
                        <a:pt x="4181712" y="699172"/>
                        <a:pt x="4182579" y="694920"/>
                        <a:pt x="4179545" y="691747"/>
                      </a:cubicBezTo>
                      <a:cubicBezTo>
                        <a:pt x="4188024" y="694159"/>
                        <a:pt x="4192627" y="694874"/>
                        <a:pt x="4199935" y="700835"/>
                      </a:cubicBezTo>
                      <a:lnTo>
                        <a:pt x="4199935" y="700835"/>
                      </a:lnTo>
                      <a:close/>
                      <a:moveTo>
                        <a:pt x="4450316" y="726799"/>
                      </a:moveTo>
                      <a:cubicBezTo>
                        <a:pt x="4435759" y="732339"/>
                        <a:pt x="4424714" y="705929"/>
                        <a:pt x="4433475" y="695752"/>
                      </a:cubicBezTo>
                      <a:cubicBezTo>
                        <a:pt x="4439834" y="688374"/>
                        <a:pt x="4471455" y="686910"/>
                        <a:pt x="4477369" y="694909"/>
                      </a:cubicBezTo>
                      <a:cubicBezTo>
                        <a:pt x="4480836" y="699582"/>
                        <a:pt x="4478833" y="707897"/>
                        <a:pt x="4477510" y="712476"/>
                      </a:cubicBezTo>
                      <a:cubicBezTo>
                        <a:pt x="4473833" y="725113"/>
                        <a:pt x="4459053" y="718847"/>
                        <a:pt x="4450316" y="726799"/>
                      </a:cubicBezTo>
                      <a:lnTo>
                        <a:pt x="4450316" y="726799"/>
                      </a:lnTo>
                      <a:close/>
                      <a:moveTo>
                        <a:pt x="3032612" y="682295"/>
                      </a:moveTo>
                      <a:cubicBezTo>
                        <a:pt x="3030879" y="684556"/>
                        <a:pt x="3028689" y="686312"/>
                        <a:pt x="3026077" y="687554"/>
                      </a:cubicBezTo>
                      <a:cubicBezTo>
                        <a:pt x="3026897" y="688221"/>
                        <a:pt x="3027436" y="688983"/>
                        <a:pt x="3028185" y="689650"/>
                      </a:cubicBezTo>
                      <a:cubicBezTo>
                        <a:pt x="3024461" y="691793"/>
                        <a:pt x="3025000" y="693339"/>
                        <a:pt x="3021603" y="695225"/>
                      </a:cubicBezTo>
                      <a:cubicBezTo>
                        <a:pt x="3017949" y="697251"/>
                        <a:pt x="3014506" y="696384"/>
                        <a:pt x="3011040" y="699324"/>
                      </a:cubicBezTo>
                      <a:cubicBezTo>
                        <a:pt x="3007901" y="701994"/>
                        <a:pt x="3007268" y="707452"/>
                        <a:pt x="3002654" y="708822"/>
                      </a:cubicBezTo>
                      <a:cubicBezTo>
                        <a:pt x="3000253" y="709536"/>
                        <a:pt x="2992886" y="707791"/>
                        <a:pt x="2990064" y="707276"/>
                      </a:cubicBezTo>
                      <a:cubicBezTo>
                        <a:pt x="2979992" y="705472"/>
                        <a:pt x="2972017" y="704383"/>
                        <a:pt x="2963479" y="699148"/>
                      </a:cubicBezTo>
                      <a:cubicBezTo>
                        <a:pt x="2956230" y="694698"/>
                        <a:pt x="2939505" y="695822"/>
                        <a:pt x="2935043" y="688737"/>
                      </a:cubicBezTo>
                      <a:cubicBezTo>
                        <a:pt x="2928391" y="678149"/>
                        <a:pt x="2944518" y="680925"/>
                        <a:pt x="2949894" y="681347"/>
                      </a:cubicBezTo>
                      <a:cubicBezTo>
                        <a:pt x="2957494" y="681932"/>
                        <a:pt x="2958724" y="681019"/>
                        <a:pt x="2960328" y="674343"/>
                      </a:cubicBezTo>
                      <a:cubicBezTo>
                        <a:pt x="2961722" y="668534"/>
                        <a:pt x="2958513" y="663416"/>
                        <a:pt x="2967742" y="661824"/>
                      </a:cubicBezTo>
                      <a:cubicBezTo>
                        <a:pt x="2977743" y="660090"/>
                        <a:pt x="2990052" y="666157"/>
                        <a:pt x="2999843" y="667305"/>
                      </a:cubicBezTo>
                      <a:cubicBezTo>
                        <a:pt x="3008533" y="668323"/>
                        <a:pt x="3021709" y="665103"/>
                        <a:pt x="3029872" y="669096"/>
                      </a:cubicBezTo>
                      <a:cubicBezTo>
                        <a:pt x="3039393" y="673722"/>
                        <a:pt x="3033560" y="677318"/>
                        <a:pt x="3032612" y="682295"/>
                      </a:cubicBezTo>
                      <a:lnTo>
                        <a:pt x="3032612" y="682295"/>
                      </a:lnTo>
                      <a:close/>
                      <a:moveTo>
                        <a:pt x="1663640" y="620177"/>
                      </a:moveTo>
                      <a:cubicBezTo>
                        <a:pt x="1666814" y="631362"/>
                        <a:pt x="1650757" y="624241"/>
                        <a:pt x="1647513" y="624101"/>
                      </a:cubicBezTo>
                      <a:cubicBezTo>
                        <a:pt x="1633729" y="623515"/>
                        <a:pt x="1648450" y="631491"/>
                        <a:pt x="1654505" y="631725"/>
                      </a:cubicBezTo>
                      <a:cubicBezTo>
                        <a:pt x="1651764" y="635789"/>
                        <a:pt x="1636200" y="630601"/>
                        <a:pt x="1630531" y="630425"/>
                      </a:cubicBezTo>
                      <a:cubicBezTo>
                        <a:pt x="1621150" y="630132"/>
                        <a:pt x="1623177" y="629254"/>
                        <a:pt x="1616243" y="625213"/>
                      </a:cubicBezTo>
                      <a:cubicBezTo>
                        <a:pt x="1621303" y="622004"/>
                        <a:pt x="1631515" y="631104"/>
                        <a:pt x="1636282" y="623785"/>
                      </a:cubicBezTo>
                      <a:cubicBezTo>
                        <a:pt x="1634455" y="623785"/>
                        <a:pt x="1633026" y="622508"/>
                        <a:pt x="1631269" y="622367"/>
                      </a:cubicBezTo>
                      <a:cubicBezTo>
                        <a:pt x="1631304" y="619440"/>
                        <a:pt x="1632265" y="620587"/>
                        <a:pt x="1630930" y="617378"/>
                      </a:cubicBezTo>
                      <a:cubicBezTo>
                        <a:pt x="1633248" y="616477"/>
                        <a:pt x="1635989" y="616781"/>
                        <a:pt x="1638460" y="618034"/>
                      </a:cubicBezTo>
                      <a:cubicBezTo>
                        <a:pt x="1638132" y="618831"/>
                        <a:pt x="1637769" y="619533"/>
                        <a:pt x="1637383" y="620283"/>
                      </a:cubicBezTo>
                      <a:cubicBezTo>
                        <a:pt x="1646389" y="620412"/>
                        <a:pt x="1656566" y="610914"/>
                        <a:pt x="1663640" y="620177"/>
                      </a:cubicBezTo>
                      <a:lnTo>
                        <a:pt x="1663640" y="620177"/>
                      </a:lnTo>
                      <a:close/>
                      <a:moveTo>
                        <a:pt x="1403246" y="567171"/>
                      </a:moveTo>
                      <a:cubicBezTo>
                        <a:pt x="1404030" y="568284"/>
                        <a:pt x="1402894" y="569291"/>
                        <a:pt x="1405026" y="569221"/>
                      </a:cubicBezTo>
                      <a:cubicBezTo>
                        <a:pt x="1402625" y="570778"/>
                        <a:pt x="1399896" y="570298"/>
                        <a:pt x="1397121" y="568553"/>
                      </a:cubicBezTo>
                      <a:cubicBezTo>
                        <a:pt x="1399639" y="572898"/>
                        <a:pt x="1404862" y="570474"/>
                        <a:pt x="1408200" y="573378"/>
                      </a:cubicBezTo>
                      <a:cubicBezTo>
                        <a:pt x="1409500" y="574514"/>
                        <a:pt x="1410542" y="578555"/>
                        <a:pt x="1411795" y="580124"/>
                      </a:cubicBezTo>
                      <a:cubicBezTo>
                        <a:pt x="1401723" y="580780"/>
                        <a:pt x="1400376" y="576447"/>
                        <a:pt x="1398210" y="585804"/>
                      </a:cubicBezTo>
                      <a:cubicBezTo>
                        <a:pt x="1397390" y="589341"/>
                        <a:pt x="1396231" y="592011"/>
                        <a:pt x="1397121" y="596602"/>
                      </a:cubicBezTo>
                      <a:cubicBezTo>
                        <a:pt x="1391710" y="596508"/>
                        <a:pt x="1392483" y="592948"/>
                        <a:pt x="1391089" y="589423"/>
                      </a:cubicBezTo>
                      <a:cubicBezTo>
                        <a:pt x="1390293" y="587385"/>
                        <a:pt x="1386030" y="575662"/>
                        <a:pt x="1386732" y="584434"/>
                      </a:cubicBezTo>
                      <a:cubicBezTo>
                        <a:pt x="1383641" y="583743"/>
                        <a:pt x="1383559" y="584621"/>
                        <a:pt x="1381404" y="582209"/>
                      </a:cubicBezTo>
                      <a:cubicBezTo>
                        <a:pt x="1383301" y="589645"/>
                        <a:pt x="1371109" y="583497"/>
                        <a:pt x="1374634" y="578613"/>
                      </a:cubicBezTo>
                      <a:cubicBezTo>
                        <a:pt x="1363743" y="579948"/>
                        <a:pt x="1380771" y="566820"/>
                        <a:pt x="1385667" y="566328"/>
                      </a:cubicBezTo>
                      <a:cubicBezTo>
                        <a:pt x="1383313" y="568881"/>
                        <a:pt x="1381486" y="571797"/>
                        <a:pt x="1384601" y="573530"/>
                      </a:cubicBezTo>
                      <a:cubicBezTo>
                        <a:pt x="1384004" y="574034"/>
                        <a:pt x="1383406" y="574526"/>
                        <a:pt x="1382821" y="575029"/>
                      </a:cubicBezTo>
                      <a:cubicBezTo>
                        <a:pt x="1388560" y="575252"/>
                        <a:pt x="1400330" y="571539"/>
                        <a:pt x="1389614" y="568541"/>
                      </a:cubicBezTo>
                      <a:cubicBezTo>
                        <a:pt x="1393537" y="567288"/>
                        <a:pt x="1395200" y="565496"/>
                        <a:pt x="1391066" y="563435"/>
                      </a:cubicBezTo>
                      <a:cubicBezTo>
                        <a:pt x="1395259" y="560613"/>
                        <a:pt x="1400470" y="561011"/>
                        <a:pt x="1405366" y="560542"/>
                      </a:cubicBezTo>
                      <a:cubicBezTo>
                        <a:pt x="1404159" y="562557"/>
                        <a:pt x="1404112" y="564606"/>
                        <a:pt x="1403246" y="567171"/>
                      </a:cubicBezTo>
                      <a:lnTo>
                        <a:pt x="1403246" y="567171"/>
                      </a:lnTo>
                      <a:close/>
                      <a:moveTo>
                        <a:pt x="4772921" y="563903"/>
                      </a:moveTo>
                      <a:cubicBezTo>
                        <a:pt x="4765660" y="565801"/>
                        <a:pt x="4768870" y="571235"/>
                        <a:pt x="4773952" y="574362"/>
                      </a:cubicBezTo>
                      <a:cubicBezTo>
                        <a:pt x="4783228" y="580030"/>
                        <a:pt x="4794576" y="580042"/>
                        <a:pt x="4805140" y="577934"/>
                      </a:cubicBezTo>
                      <a:cubicBezTo>
                        <a:pt x="4802739" y="575123"/>
                        <a:pt x="4799191" y="575357"/>
                        <a:pt x="4795806" y="577208"/>
                      </a:cubicBezTo>
                      <a:cubicBezTo>
                        <a:pt x="4799378" y="570450"/>
                        <a:pt x="4805175" y="572593"/>
                        <a:pt x="4809766" y="574327"/>
                      </a:cubicBezTo>
                      <a:cubicBezTo>
                        <a:pt x="4807986" y="572066"/>
                        <a:pt x="4807588" y="571153"/>
                        <a:pt x="4804402" y="569993"/>
                      </a:cubicBezTo>
                      <a:cubicBezTo>
                        <a:pt x="4814615" y="565777"/>
                        <a:pt x="4826209" y="570743"/>
                        <a:pt x="4836597" y="571141"/>
                      </a:cubicBezTo>
                      <a:cubicBezTo>
                        <a:pt x="4842582" y="571375"/>
                        <a:pt x="4848637" y="570638"/>
                        <a:pt x="4854609" y="571012"/>
                      </a:cubicBezTo>
                      <a:cubicBezTo>
                        <a:pt x="4860524" y="571399"/>
                        <a:pt x="4863850" y="573589"/>
                        <a:pt x="4869460" y="575041"/>
                      </a:cubicBezTo>
                      <a:cubicBezTo>
                        <a:pt x="4868464" y="579000"/>
                        <a:pt x="4862011" y="581389"/>
                        <a:pt x="4862386" y="585055"/>
                      </a:cubicBezTo>
                      <a:cubicBezTo>
                        <a:pt x="4862526" y="586518"/>
                        <a:pt x="4868851" y="591953"/>
                        <a:pt x="4869647" y="592234"/>
                      </a:cubicBezTo>
                      <a:cubicBezTo>
                        <a:pt x="4879274" y="595560"/>
                        <a:pt x="4890049" y="587889"/>
                        <a:pt x="4899359" y="587139"/>
                      </a:cubicBezTo>
                      <a:cubicBezTo>
                        <a:pt x="4911000" y="586202"/>
                        <a:pt x="4924539" y="589318"/>
                        <a:pt x="4936192" y="590313"/>
                      </a:cubicBezTo>
                      <a:cubicBezTo>
                        <a:pt x="4937773" y="590454"/>
                        <a:pt x="4963058" y="592808"/>
                        <a:pt x="4952049" y="598745"/>
                      </a:cubicBezTo>
                      <a:cubicBezTo>
                        <a:pt x="4958046" y="595607"/>
                        <a:pt x="4965998" y="601650"/>
                        <a:pt x="4972779" y="601673"/>
                      </a:cubicBezTo>
                      <a:cubicBezTo>
                        <a:pt x="4971221" y="602341"/>
                        <a:pt x="4969722" y="603852"/>
                        <a:pt x="4968130" y="604531"/>
                      </a:cubicBezTo>
                      <a:cubicBezTo>
                        <a:pt x="4974383" y="606733"/>
                        <a:pt x="4975320" y="600689"/>
                        <a:pt x="4978236" y="599237"/>
                      </a:cubicBezTo>
                      <a:cubicBezTo>
                        <a:pt x="4982453" y="597129"/>
                        <a:pt x="4988952" y="597270"/>
                        <a:pt x="4993497" y="600244"/>
                      </a:cubicBezTo>
                      <a:cubicBezTo>
                        <a:pt x="4988367" y="600596"/>
                        <a:pt x="4980684" y="610024"/>
                        <a:pt x="4979138" y="613162"/>
                      </a:cubicBezTo>
                      <a:cubicBezTo>
                        <a:pt x="4976163" y="619194"/>
                        <a:pt x="4981270" y="622742"/>
                        <a:pt x="4971877" y="626958"/>
                      </a:cubicBezTo>
                      <a:cubicBezTo>
                        <a:pt x="4960142" y="632229"/>
                        <a:pt x="4945081" y="631268"/>
                        <a:pt x="4932890" y="635402"/>
                      </a:cubicBezTo>
                      <a:cubicBezTo>
                        <a:pt x="4928170" y="637007"/>
                        <a:pt x="4929235" y="638646"/>
                        <a:pt x="4923461" y="639337"/>
                      </a:cubicBezTo>
                      <a:cubicBezTo>
                        <a:pt x="4917430" y="640064"/>
                        <a:pt x="4910509" y="639326"/>
                        <a:pt x="4904512" y="639572"/>
                      </a:cubicBezTo>
                      <a:cubicBezTo>
                        <a:pt x="4881476" y="640532"/>
                        <a:pt x="4854071" y="639033"/>
                        <a:pt x="4833669" y="627942"/>
                      </a:cubicBezTo>
                      <a:cubicBezTo>
                        <a:pt x="4824429" y="622906"/>
                        <a:pt x="4819873" y="619287"/>
                        <a:pt x="4808735" y="617999"/>
                      </a:cubicBezTo>
                      <a:cubicBezTo>
                        <a:pt x="4795302" y="616441"/>
                        <a:pt x="4787327" y="610586"/>
                        <a:pt x="4775369" y="604929"/>
                      </a:cubicBezTo>
                      <a:cubicBezTo>
                        <a:pt x="4767054" y="600994"/>
                        <a:pt x="4744392" y="600935"/>
                        <a:pt x="4740270" y="592819"/>
                      </a:cubicBezTo>
                      <a:cubicBezTo>
                        <a:pt x="4738384" y="589118"/>
                        <a:pt x="4745493" y="581166"/>
                        <a:pt x="4743678" y="573601"/>
                      </a:cubicBezTo>
                      <a:cubicBezTo>
                        <a:pt x="4746770" y="574666"/>
                        <a:pt x="4747238" y="574139"/>
                        <a:pt x="4749745" y="572875"/>
                      </a:cubicBezTo>
                      <a:cubicBezTo>
                        <a:pt x="4745493" y="568857"/>
                        <a:pt x="4752509" y="566176"/>
                        <a:pt x="4756115" y="565672"/>
                      </a:cubicBezTo>
                      <a:cubicBezTo>
                        <a:pt x="4750107" y="561948"/>
                        <a:pt x="4752953" y="553738"/>
                        <a:pt x="4758926" y="552543"/>
                      </a:cubicBezTo>
                      <a:cubicBezTo>
                        <a:pt x="4766492" y="551033"/>
                        <a:pt x="4769420" y="560507"/>
                        <a:pt x="4775088" y="561936"/>
                      </a:cubicBezTo>
                      <a:cubicBezTo>
                        <a:pt x="4774514" y="562920"/>
                        <a:pt x="4773812" y="563306"/>
                        <a:pt x="4772921" y="563903"/>
                      </a:cubicBezTo>
                      <a:lnTo>
                        <a:pt x="4772921" y="563903"/>
                      </a:lnTo>
                      <a:close/>
                      <a:moveTo>
                        <a:pt x="4205135" y="575029"/>
                      </a:moveTo>
                      <a:cubicBezTo>
                        <a:pt x="4198272" y="575275"/>
                        <a:pt x="4191409" y="575521"/>
                        <a:pt x="4184546" y="575767"/>
                      </a:cubicBezTo>
                      <a:cubicBezTo>
                        <a:pt x="4184897" y="571036"/>
                        <a:pt x="4185483" y="568705"/>
                        <a:pt x="4187005" y="564876"/>
                      </a:cubicBezTo>
                      <a:cubicBezTo>
                        <a:pt x="4187989" y="562393"/>
                        <a:pt x="4191795" y="558422"/>
                        <a:pt x="4192077" y="555448"/>
                      </a:cubicBezTo>
                      <a:cubicBezTo>
                        <a:pt x="4192451" y="551360"/>
                        <a:pt x="4189301" y="547343"/>
                        <a:pt x="4189559" y="543631"/>
                      </a:cubicBezTo>
                      <a:cubicBezTo>
                        <a:pt x="4190051" y="536932"/>
                        <a:pt x="4196164" y="530877"/>
                        <a:pt x="4197230" y="523475"/>
                      </a:cubicBezTo>
                      <a:cubicBezTo>
                        <a:pt x="4198167" y="527282"/>
                        <a:pt x="4203109" y="535128"/>
                        <a:pt x="4205276" y="538724"/>
                      </a:cubicBezTo>
                      <a:cubicBezTo>
                        <a:pt x="4208684" y="544380"/>
                        <a:pt x="4212982" y="543713"/>
                        <a:pt x="4218146" y="547507"/>
                      </a:cubicBezTo>
                      <a:cubicBezTo>
                        <a:pt x="4228394" y="555073"/>
                        <a:pt x="4213275" y="552461"/>
                        <a:pt x="4211565" y="561784"/>
                      </a:cubicBezTo>
                      <a:cubicBezTo>
                        <a:pt x="4210991" y="564911"/>
                        <a:pt x="4215055" y="567183"/>
                        <a:pt x="4214727" y="568963"/>
                      </a:cubicBezTo>
                      <a:cubicBezTo>
                        <a:pt x="4214130" y="571973"/>
                        <a:pt x="4207208" y="573987"/>
                        <a:pt x="4205135" y="575029"/>
                      </a:cubicBezTo>
                      <a:lnTo>
                        <a:pt x="4205135" y="575029"/>
                      </a:lnTo>
                      <a:close/>
                      <a:moveTo>
                        <a:pt x="4375456" y="499162"/>
                      </a:moveTo>
                      <a:cubicBezTo>
                        <a:pt x="4383478" y="502336"/>
                        <a:pt x="4391547" y="506166"/>
                        <a:pt x="4399582" y="509023"/>
                      </a:cubicBezTo>
                      <a:cubicBezTo>
                        <a:pt x="4405707" y="511213"/>
                        <a:pt x="4412148" y="511354"/>
                        <a:pt x="4417289" y="516214"/>
                      </a:cubicBezTo>
                      <a:cubicBezTo>
                        <a:pt x="4409571" y="517174"/>
                        <a:pt x="4411434" y="521754"/>
                        <a:pt x="4417805" y="525478"/>
                      </a:cubicBezTo>
                      <a:cubicBezTo>
                        <a:pt x="4423321" y="528710"/>
                        <a:pt x="4427232" y="529132"/>
                        <a:pt x="4432608" y="529179"/>
                      </a:cubicBezTo>
                      <a:cubicBezTo>
                        <a:pt x="4436520" y="529214"/>
                        <a:pt x="4442680" y="527282"/>
                        <a:pt x="4446978" y="530772"/>
                      </a:cubicBezTo>
                      <a:cubicBezTo>
                        <a:pt x="4455036" y="537353"/>
                        <a:pt x="4440396" y="541277"/>
                        <a:pt x="4445807" y="547449"/>
                      </a:cubicBezTo>
                      <a:cubicBezTo>
                        <a:pt x="4449508" y="551677"/>
                        <a:pt x="4474055" y="551489"/>
                        <a:pt x="4477323" y="546781"/>
                      </a:cubicBezTo>
                      <a:cubicBezTo>
                        <a:pt x="4475777" y="546090"/>
                        <a:pt x="4474301" y="544345"/>
                        <a:pt x="4472709" y="543818"/>
                      </a:cubicBezTo>
                      <a:cubicBezTo>
                        <a:pt x="4472896" y="543643"/>
                        <a:pt x="4474453" y="542471"/>
                        <a:pt x="4474465" y="542425"/>
                      </a:cubicBezTo>
                      <a:cubicBezTo>
                        <a:pt x="4472228" y="540492"/>
                        <a:pt x="4467954" y="538689"/>
                        <a:pt x="4467333" y="536534"/>
                      </a:cubicBezTo>
                      <a:cubicBezTo>
                        <a:pt x="4466923" y="535081"/>
                        <a:pt x="4468668" y="526708"/>
                        <a:pt x="4468738" y="524354"/>
                      </a:cubicBezTo>
                      <a:cubicBezTo>
                        <a:pt x="4468879" y="520208"/>
                        <a:pt x="4467637" y="515090"/>
                        <a:pt x="4469429" y="510839"/>
                      </a:cubicBezTo>
                      <a:cubicBezTo>
                        <a:pt x="4476234" y="494560"/>
                        <a:pt x="4495229" y="509773"/>
                        <a:pt x="4506648" y="508133"/>
                      </a:cubicBezTo>
                      <a:cubicBezTo>
                        <a:pt x="4502491" y="502922"/>
                        <a:pt x="4495663" y="493869"/>
                        <a:pt x="4490240" y="489758"/>
                      </a:cubicBezTo>
                      <a:cubicBezTo>
                        <a:pt x="4500394" y="490777"/>
                        <a:pt x="4511954" y="497932"/>
                        <a:pt x="4520890" y="502547"/>
                      </a:cubicBezTo>
                      <a:cubicBezTo>
                        <a:pt x="4530107" y="507313"/>
                        <a:pt x="4538398" y="510721"/>
                        <a:pt x="4546655" y="517409"/>
                      </a:cubicBezTo>
                      <a:cubicBezTo>
                        <a:pt x="4555204" y="524342"/>
                        <a:pt x="4558777" y="524190"/>
                        <a:pt x="4570359" y="526719"/>
                      </a:cubicBezTo>
                      <a:cubicBezTo>
                        <a:pt x="4574341" y="527598"/>
                        <a:pt x="4578417" y="529530"/>
                        <a:pt x="4582305" y="530069"/>
                      </a:cubicBezTo>
                      <a:cubicBezTo>
                        <a:pt x="4587833" y="530830"/>
                        <a:pt x="4592845" y="528523"/>
                        <a:pt x="4598502" y="530116"/>
                      </a:cubicBezTo>
                      <a:cubicBezTo>
                        <a:pt x="4592915" y="520688"/>
                        <a:pt x="4615168" y="525419"/>
                        <a:pt x="4618622" y="526134"/>
                      </a:cubicBezTo>
                      <a:cubicBezTo>
                        <a:pt x="4623881" y="527235"/>
                        <a:pt x="4629022" y="528195"/>
                        <a:pt x="4635557" y="531533"/>
                      </a:cubicBezTo>
                      <a:cubicBezTo>
                        <a:pt x="4644013" y="535854"/>
                        <a:pt x="4653417" y="538162"/>
                        <a:pt x="4662353" y="541640"/>
                      </a:cubicBezTo>
                      <a:cubicBezTo>
                        <a:pt x="4664930" y="542635"/>
                        <a:pt x="4667494" y="543174"/>
                        <a:pt x="4669673" y="544111"/>
                      </a:cubicBezTo>
                      <a:cubicBezTo>
                        <a:pt x="4673783" y="545868"/>
                        <a:pt x="4675119" y="547847"/>
                        <a:pt x="4680705" y="548983"/>
                      </a:cubicBezTo>
                      <a:cubicBezTo>
                        <a:pt x="4684125" y="549674"/>
                        <a:pt x="4705721" y="553562"/>
                        <a:pt x="4703074" y="560917"/>
                      </a:cubicBezTo>
                      <a:cubicBezTo>
                        <a:pt x="4703589" y="559500"/>
                        <a:pt x="4679979" y="565613"/>
                        <a:pt x="4677637" y="566503"/>
                      </a:cubicBezTo>
                      <a:cubicBezTo>
                        <a:pt x="4670563" y="569162"/>
                        <a:pt x="4667705" y="568682"/>
                        <a:pt x="4667050" y="576013"/>
                      </a:cubicBezTo>
                      <a:cubicBezTo>
                        <a:pt x="4666218" y="585347"/>
                        <a:pt x="4672085" y="580159"/>
                        <a:pt x="4679639" y="586542"/>
                      </a:cubicBezTo>
                      <a:cubicBezTo>
                        <a:pt x="4675072" y="589845"/>
                        <a:pt x="4671488" y="587022"/>
                        <a:pt x="4668361" y="590981"/>
                      </a:cubicBezTo>
                      <a:cubicBezTo>
                        <a:pt x="4666077" y="593897"/>
                        <a:pt x="4667377" y="596778"/>
                        <a:pt x="4664004" y="599670"/>
                      </a:cubicBezTo>
                      <a:cubicBezTo>
                        <a:pt x="4655549" y="606897"/>
                        <a:pt x="4649131" y="608911"/>
                        <a:pt x="4638543" y="610328"/>
                      </a:cubicBezTo>
                      <a:cubicBezTo>
                        <a:pt x="4633824" y="610960"/>
                        <a:pt x="4631493" y="612389"/>
                        <a:pt x="4627078" y="611347"/>
                      </a:cubicBezTo>
                      <a:cubicBezTo>
                        <a:pt x="4622171" y="610176"/>
                        <a:pt x="4619138" y="607470"/>
                        <a:pt x="4614312" y="606463"/>
                      </a:cubicBezTo>
                      <a:cubicBezTo>
                        <a:pt x="4608164" y="605175"/>
                        <a:pt x="4603983" y="608278"/>
                        <a:pt x="4598572" y="607962"/>
                      </a:cubicBezTo>
                      <a:cubicBezTo>
                        <a:pt x="4594052" y="607705"/>
                        <a:pt x="4587247" y="604671"/>
                        <a:pt x="4582691" y="603512"/>
                      </a:cubicBezTo>
                      <a:cubicBezTo>
                        <a:pt x="4581473" y="603207"/>
                        <a:pt x="4574786" y="601369"/>
                        <a:pt x="4573662" y="600502"/>
                      </a:cubicBezTo>
                      <a:cubicBezTo>
                        <a:pt x="4571132" y="598534"/>
                        <a:pt x="4572701" y="596344"/>
                        <a:pt x="4570652" y="594260"/>
                      </a:cubicBezTo>
                      <a:cubicBezTo>
                        <a:pt x="4568227" y="591789"/>
                        <a:pt x="4565370" y="592433"/>
                        <a:pt x="4563122" y="590172"/>
                      </a:cubicBezTo>
                      <a:cubicBezTo>
                        <a:pt x="4561587" y="588627"/>
                        <a:pt x="4561751" y="584024"/>
                        <a:pt x="4560146" y="582232"/>
                      </a:cubicBezTo>
                      <a:cubicBezTo>
                        <a:pt x="4555919" y="577454"/>
                        <a:pt x="4549185" y="576259"/>
                        <a:pt x="4553225" y="568366"/>
                      </a:cubicBezTo>
                      <a:cubicBezTo>
                        <a:pt x="4555087" y="564735"/>
                        <a:pt x="4560779" y="559313"/>
                        <a:pt x="4565674" y="556994"/>
                      </a:cubicBezTo>
                      <a:cubicBezTo>
                        <a:pt x="4570734" y="554605"/>
                        <a:pt x="4578604" y="555120"/>
                        <a:pt x="4580408" y="548667"/>
                      </a:cubicBezTo>
                      <a:cubicBezTo>
                        <a:pt x="4582609" y="540738"/>
                        <a:pt x="4575020" y="539731"/>
                        <a:pt x="4569890" y="539368"/>
                      </a:cubicBezTo>
                      <a:cubicBezTo>
                        <a:pt x="4562946" y="538876"/>
                        <a:pt x="4547615" y="535925"/>
                        <a:pt x="4541338" y="540270"/>
                      </a:cubicBezTo>
                      <a:cubicBezTo>
                        <a:pt x="4545273" y="539907"/>
                        <a:pt x="4550133" y="542202"/>
                        <a:pt x="4546866" y="545341"/>
                      </a:cubicBezTo>
                      <a:cubicBezTo>
                        <a:pt x="4543996" y="548105"/>
                        <a:pt x="4531243" y="544427"/>
                        <a:pt x="4526640" y="545341"/>
                      </a:cubicBezTo>
                      <a:cubicBezTo>
                        <a:pt x="4529849" y="546746"/>
                        <a:pt x="4533573" y="547156"/>
                        <a:pt x="4536993" y="548304"/>
                      </a:cubicBezTo>
                      <a:cubicBezTo>
                        <a:pt x="4533760" y="549569"/>
                        <a:pt x="4530259" y="549463"/>
                        <a:pt x="4526640" y="549686"/>
                      </a:cubicBezTo>
                      <a:cubicBezTo>
                        <a:pt x="4535986" y="553761"/>
                        <a:pt x="4529181" y="551747"/>
                        <a:pt x="4530599" y="558469"/>
                      </a:cubicBezTo>
                      <a:cubicBezTo>
                        <a:pt x="4531008" y="560437"/>
                        <a:pt x="4533245" y="561631"/>
                        <a:pt x="4533632" y="563341"/>
                      </a:cubicBezTo>
                      <a:cubicBezTo>
                        <a:pt x="4533878" y="564442"/>
                        <a:pt x="4535318" y="565812"/>
                        <a:pt x="4535611" y="566995"/>
                      </a:cubicBezTo>
                      <a:cubicBezTo>
                        <a:pt x="4536044" y="568670"/>
                        <a:pt x="4534077" y="570860"/>
                        <a:pt x="4534405" y="572640"/>
                      </a:cubicBezTo>
                      <a:cubicBezTo>
                        <a:pt x="4535880" y="580639"/>
                        <a:pt x="4543575" y="582408"/>
                        <a:pt x="4548259" y="588369"/>
                      </a:cubicBezTo>
                      <a:cubicBezTo>
                        <a:pt x="4549126" y="589481"/>
                        <a:pt x="4547685" y="591672"/>
                        <a:pt x="4548423" y="592538"/>
                      </a:cubicBezTo>
                      <a:cubicBezTo>
                        <a:pt x="4550391" y="594892"/>
                        <a:pt x="4553787" y="595513"/>
                        <a:pt x="4555942" y="597914"/>
                      </a:cubicBezTo>
                      <a:cubicBezTo>
                        <a:pt x="4561622" y="604261"/>
                        <a:pt x="4558730" y="606252"/>
                        <a:pt x="4569762" y="607751"/>
                      </a:cubicBezTo>
                      <a:cubicBezTo>
                        <a:pt x="4578534" y="608958"/>
                        <a:pt x="4586228" y="611300"/>
                        <a:pt x="4594906" y="613080"/>
                      </a:cubicBezTo>
                      <a:cubicBezTo>
                        <a:pt x="4598677" y="613853"/>
                        <a:pt x="4617334" y="612167"/>
                        <a:pt x="4615308" y="620587"/>
                      </a:cubicBezTo>
                      <a:cubicBezTo>
                        <a:pt x="4614383" y="624476"/>
                        <a:pt x="4603351" y="625237"/>
                        <a:pt x="4599942" y="625740"/>
                      </a:cubicBezTo>
                      <a:cubicBezTo>
                        <a:pt x="4591030" y="627040"/>
                        <a:pt x="4580080" y="627907"/>
                        <a:pt x="4571659" y="627193"/>
                      </a:cubicBezTo>
                      <a:cubicBezTo>
                        <a:pt x="4567361" y="626830"/>
                        <a:pt x="4560627" y="623878"/>
                        <a:pt x="4558835" y="630940"/>
                      </a:cubicBezTo>
                      <a:cubicBezTo>
                        <a:pt x="4560346" y="630683"/>
                        <a:pt x="4562313" y="631116"/>
                        <a:pt x="4563473" y="630940"/>
                      </a:cubicBezTo>
                      <a:cubicBezTo>
                        <a:pt x="4558823" y="634173"/>
                        <a:pt x="4550988" y="634992"/>
                        <a:pt x="4545413" y="633447"/>
                      </a:cubicBezTo>
                      <a:cubicBezTo>
                        <a:pt x="4541326" y="632311"/>
                        <a:pt x="4528502" y="626466"/>
                        <a:pt x="4526605" y="623012"/>
                      </a:cubicBezTo>
                      <a:cubicBezTo>
                        <a:pt x="4521744" y="614193"/>
                        <a:pt x="4542532" y="623843"/>
                        <a:pt x="4545238" y="622356"/>
                      </a:cubicBezTo>
                      <a:cubicBezTo>
                        <a:pt x="4536349" y="610410"/>
                        <a:pt x="4521311" y="614521"/>
                        <a:pt x="4508499" y="618995"/>
                      </a:cubicBezTo>
                      <a:cubicBezTo>
                        <a:pt x="4491353" y="625003"/>
                        <a:pt x="4472474" y="625061"/>
                        <a:pt x="4454555" y="628083"/>
                      </a:cubicBezTo>
                      <a:cubicBezTo>
                        <a:pt x="4446943" y="629371"/>
                        <a:pt x="4437925" y="633798"/>
                        <a:pt x="4429844" y="632674"/>
                      </a:cubicBezTo>
                      <a:cubicBezTo>
                        <a:pt x="4422935" y="631713"/>
                        <a:pt x="4423567" y="629500"/>
                        <a:pt x="4419573" y="624616"/>
                      </a:cubicBezTo>
                      <a:cubicBezTo>
                        <a:pt x="4419772" y="624862"/>
                        <a:pt x="4415169" y="622227"/>
                        <a:pt x="4414795" y="621993"/>
                      </a:cubicBezTo>
                      <a:cubicBezTo>
                        <a:pt x="4412359" y="620482"/>
                        <a:pt x="4413682" y="620002"/>
                        <a:pt x="4409993" y="618491"/>
                      </a:cubicBezTo>
                      <a:cubicBezTo>
                        <a:pt x="4404383" y="616195"/>
                        <a:pt x="4398305" y="618350"/>
                        <a:pt x="4393656" y="622367"/>
                      </a:cubicBezTo>
                      <a:cubicBezTo>
                        <a:pt x="4395096" y="626314"/>
                        <a:pt x="4397204" y="635285"/>
                        <a:pt x="4403376" y="626689"/>
                      </a:cubicBezTo>
                      <a:cubicBezTo>
                        <a:pt x="4393199" y="635964"/>
                        <a:pt x="4390189" y="655898"/>
                        <a:pt x="4370619" y="650709"/>
                      </a:cubicBezTo>
                      <a:cubicBezTo>
                        <a:pt x="4366063" y="649503"/>
                        <a:pt x="4362081" y="645802"/>
                        <a:pt x="4357490" y="644362"/>
                      </a:cubicBezTo>
                      <a:cubicBezTo>
                        <a:pt x="4352700" y="642863"/>
                        <a:pt x="4347360" y="642441"/>
                        <a:pt x="4342418" y="641504"/>
                      </a:cubicBezTo>
                      <a:cubicBezTo>
                        <a:pt x="4333236" y="639759"/>
                        <a:pt x="4319674" y="638635"/>
                        <a:pt x="4312541" y="631420"/>
                      </a:cubicBezTo>
                      <a:cubicBezTo>
                        <a:pt x="4308559" y="627392"/>
                        <a:pt x="4309766" y="621840"/>
                        <a:pt x="4306979" y="617940"/>
                      </a:cubicBezTo>
                      <a:cubicBezTo>
                        <a:pt x="4302083" y="611066"/>
                        <a:pt x="4289107" y="610152"/>
                        <a:pt x="4281963" y="606311"/>
                      </a:cubicBezTo>
                      <a:cubicBezTo>
                        <a:pt x="4274655" y="602388"/>
                        <a:pt x="4268225" y="596801"/>
                        <a:pt x="4263927" y="589528"/>
                      </a:cubicBezTo>
                      <a:cubicBezTo>
                        <a:pt x="4261702" y="585769"/>
                        <a:pt x="4262463" y="586554"/>
                        <a:pt x="4261526" y="582677"/>
                      </a:cubicBezTo>
                      <a:cubicBezTo>
                        <a:pt x="4261081" y="580792"/>
                        <a:pt x="4259746" y="578449"/>
                        <a:pt x="4258223" y="577196"/>
                      </a:cubicBezTo>
                      <a:cubicBezTo>
                        <a:pt x="4267394" y="571668"/>
                        <a:pt x="4267874" y="578719"/>
                        <a:pt x="4275990" y="579901"/>
                      </a:cubicBezTo>
                      <a:cubicBezTo>
                        <a:pt x="4279702" y="580452"/>
                        <a:pt x="4289189" y="579023"/>
                        <a:pt x="4287608" y="573366"/>
                      </a:cubicBezTo>
                      <a:cubicBezTo>
                        <a:pt x="4285687" y="566457"/>
                        <a:pt x="4274959" y="574245"/>
                        <a:pt x="4272886" y="572113"/>
                      </a:cubicBezTo>
                      <a:cubicBezTo>
                        <a:pt x="4268085" y="567159"/>
                        <a:pt x="4278192" y="565157"/>
                        <a:pt x="4281108" y="565672"/>
                      </a:cubicBezTo>
                      <a:cubicBezTo>
                        <a:pt x="4279339" y="561268"/>
                        <a:pt x="4269068" y="552087"/>
                        <a:pt x="4280733" y="551899"/>
                      </a:cubicBezTo>
                      <a:cubicBezTo>
                        <a:pt x="4278718" y="549580"/>
                        <a:pt x="4276037" y="547004"/>
                        <a:pt x="4272722" y="546477"/>
                      </a:cubicBezTo>
                      <a:cubicBezTo>
                        <a:pt x="4276423" y="540949"/>
                        <a:pt x="4268799" y="542588"/>
                        <a:pt x="4268951" y="538735"/>
                      </a:cubicBezTo>
                      <a:cubicBezTo>
                        <a:pt x="4269150" y="533500"/>
                        <a:pt x="4278496" y="531826"/>
                        <a:pt x="4281705" y="531814"/>
                      </a:cubicBezTo>
                      <a:cubicBezTo>
                        <a:pt x="4284047" y="531802"/>
                        <a:pt x="4287889" y="533114"/>
                        <a:pt x="4290301" y="533617"/>
                      </a:cubicBezTo>
                      <a:cubicBezTo>
                        <a:pt x="4291812" y="533934"/>
                        <a:pt x="4300783" y="536733"/>
                        <a:pt x="4301439" y="536627"/>
                      </a:cubicBezTo>
                      <a:cubicBezTo>
                        <a:pt x="4307189" y="535667"/>
                        <a:pt x="4301884" y="533254"/>
                        <a:pt x="4299600" y="530982"/>
                      </a:cubicBezTo>
                      <a:cubicBezTo>
                        <a:pt x="4290336" y="521754"/>
                        <a:pt x="4279128" y="516097"/>
                        <a:pt x="4299097" y="509644"/>
                      </a:cubicBezTo>
                      <a:cubicBezTo>
                        <a:pt x="4305116" y="507700"/>
                        <a:pt x="4313643" y="509644"/>
                        <a:pt x="4319006" y="506119"/>
                      </a:cubicBezTo>
                      <a:cubicBezTo>
                        <a:pt x="4326865" y="500966"/>
                        <a:pt x="4321243" y="497932"/>
                        <a:pt x="4316149" y="503730"/>
                      </a:cubicBezTo>
                      <a:cubicBezTo>
                        <a:pt x="4322403" y="498237"/>
                        <a:pt x="4328856" y="495450"/>
                        <a:pt x="4337229" y="492697"/>
                      </a:cubicBezTo>
                      <a:cubicBezTo>
                        <a:pt x="4334220" y="494841"/>
                        <a:pt x="4336867" y="506587"/>
                        <a:pt x="4341879" y="498799"/>
                      </a:cubicBezTo>
                      <a:cubicBezTo>
                        <a:pt x="4343436" y="496398"/>
                        <a:pt x="4342324" y="492147"/>
                        <a:pt x="4346095" y="489442"/>
                      </a:cubicBezTo>
                      <a:cubicBezTo>
                        <a:pt x="4351248" y="485729"/>
                        <a:pt x="4366005" y="485225"/>
                        <a:pt x="4372270" y="483890"/>
                      </a:cubicBezTo>
                      <a:cubicBezTo>
                        <a:pt x="4369834" y="485155"/>
                        <a:pt x="4367141" y="485893"/>
                        <a:pt x="4364365" y="486080"/>
                      </a:cubicBezTo>
                      <a:cubicBezTo>
                        <a:pt x="4367914" y="486666"/>
                        <a:pt x="4371357" y="495977"/>
                        <a:pt x="4375456" y="499162"/>
                      </a:cubicBezTo>
                      <a:lnTo>
                        <a:pt x="4375456" y="499162"/>
                      </a:lnTo>
                      <a:close/>
                      <a:moveTo>
                        <a:pt x="2141494" y="476325"/>
                      </a:moveTo>
                      <a:cubicBezTo>
                        <a:pt x="2146284" y="477601"/>
                        <a:pt x="2159412" y="478702"/>
                        <a:pt x="2160443" y="482930"/>
                      </a:cubicBezTo>
                      <a:cubicBezTo>
                        <a:pt x="2161111" y="485671"/>
                        <a:pt x="2155630" y="487931"/>
                        <a:pt x="2157796" y="492686"/>
                      </a:cubicBezTo>
                      <a:cubicBezTo>
                        <a:pt x="2149762" y="491327"/>
                        <a:pt x="2159506" y="483586"/>
                        <a:pt x="2151085" y="480880"/>
                      </a:cubicBezTo>
                      <a:cubicBezTo>
                        <a:pt x="2145522" y="479100"/>
                        <a:pt x="2142770" y="483387"/>
                        <a:pt x="2148860" y="486748"/>
                      </a:cubicBezTo>
                      <a:cubicBezTo>
                        <a:pt x="2145019" y="487779"/>
                        <a:pt x="2142407" y="484581"/>
                        <a:pt x="2139561" y="487533"/>
                      </a:cubicBezTo>
                      <a:cubicBezTo>
                        <a:pt x="2145054" y="487603"/>
                        <a:pt x="2151858" y="493459"/>
                        <a:pt x="2143485" y="494946"/>
                      </a:cubicBezTo>
                      <a:cubicBezTo>
                        <a:pt x="2144398" y="495860"/>
                        <a:pt x="2144913" y="496492"/>
                        <a:pt x="2146014" y="497136"/>
                      </a:cubicBezTo>
                      <a:cubicBezTo>
                        <a:pt x="2141997" y="499666"/>
                        <a:pt x="2139643" y="494161"/>
                        <a:pt x="2135767" y="492943"/>
                      </a:cubicBezTo>
                      <a:cubicBezTo>
                        <a:pt x="2130379" y="491245"/>
                        <a:pt x="2123399" y="493447"/>
                        <a:pt x="2117625" y="492206"/>
                      </a:cubicBezTo>
                      <a:cubicBezTo>
                        <a:pt x="2112929" y="491198"/>
                        <a:pt x="2110329" y="488926"/>
                        <a:pt x="2107155" y="488235"/>
                      </a:cubicBezTo>
                      <a:cubicBezTo>
                        <a:pt x="2101089" y="486912"/>
                        <a:pt x="2093429" y="490367"/>
                        <a:pt x="2088429" y="486080"/>
                      </a:cubicBezTo>
                      <a:cubicBezTo>
                        <a:pt x="2093664" y="482883"/>
                        <a:pt x="2088042" y="477121"/>
                        <a:pt x="2097435" y="478761"/>
                      </a:cubicBezTo>
                      <a:cubicBezTo>
                        <a:pt x="2101171" y="479417"/>
                        <a:pt x="2101698" y="483761"/>
                        <a:pt x="2104298" y="483972"/>
                      </a:cubicBezTo>
                      <a:cubicBezTo>
                        <a:pt x="2108198" y="484289"/>
                        <a:pt x="2110517" y="478292"/>
                        <a:pt x="2114159" y="477519"/>
                      </a:cubicBezTo>
                      <a:cubicBezTo>
                        <a:pt x="2117836" y="476735"/>
                        <a:pt x="2118399" y="479100"/>
                        <a:pt x="2121280" y="479405"/>
                      </a:cubicBezTo>
                      <a:cubicBezTo>
                        <a:pt x="2123833" y="479662"/>
                        <a:pt x="2126597" y="478081"/>
                        <a:pt x="2129068" y="479112"/>
                      </a:cubicBezTo>
                      <a:cubicBezTo>
                        <a:pt x="2129888" y="479452"/>
                        <a:pt x="2130801" y="481864"/>
                        <a:pt x="2130485" y="481806"/>
                      </a:cubicBezTo>
                      <a:cubicBezTo>
                        <a:pt x="2131129" y="481935"/>
                        <a:pt x="2129794" y="485225"/>
                        <a:pt x="2133354" y="484289"/>
                      </a:cubicBezTo>
                      <a:cubicBezTo>
                        <a:pt x="2136704" y="483434"/>
                        <a:pt x="2136212" y="476992"/>
                        <a:pt x="2141494" y="476325"/>
                      </a:cubicBezTo>
                      <a:lnTo>
                        <a:pt x="2141494" y="476325"/>
                      </a:lnTo>
                      <a:close/>
                      <a:moveTo>
                        <a:pt x="2988389" y="443169"/>
                      </a:moveTo>
                      <a:cubicBezTo>
                        <a:pt x="2988307" y="443603"/>
                        <a:pt x="2987066" y="444422"/>
                        <a:pt x="2986715" y="444645"/>
                      </a:cubicBezTo>
                      <a:cubicBezTo>
                        <a:pt x="2987476" y="445418"/>
                        <a:pt x="2988916" y="446531"/>
                        <a:pt x="2989935" y="446870"/>
                      </a:cubicBezTo>
                      <a:cubicBezTo>
                        <a:pt x="2989994" y="447093"/>
                        <a:pt x="2988436" y="448088"/>
                        <a:pt x="2988495" y="448346"/>
                      </a:cubicBezTo>
                      <a:cubicBezTo>
                        <a:pt x="2989303" y="448908"/>
                        <a:pt x="2990333" y="449072"/>
                        <a:pt x="2991048" y="449763"/>
                      </a:cubicBezTo>
                      <a:cubicBezTo>
                        <a:pt x="2989982" y="450325"/>
                        <a:pt x="2988951" y="450864"/>
                        <a:pt x="2987815" y="451309"/>
                      </a:cubicBezTo>
                      <a:cubicBezTo>
                        <a:pt x="2990275" y="453030"/>
                        <a:pt x="3006718" y="455466"/>
                        <a:pt x="2991387" y="455736"/>
                      </a:cubicBezTo>
                      <a:cubicBezTo>
                        <a:pt x="2993390" y="457774"/>
                        <a:pt x="2994386" y="460350"/>
                        <a:pt x="2991821" y="461767"/>
                      </a:cubicBezTo>
                      <a:cubicBezTo>
                        <a:pt x="2987148" y="464332"/>
                        <a:pt x="2982897" y="457692"/>
                        <a:pt x="2980355" y="455642"/>
                      </a:cubicBezTo>
                      <a:cubicBezTo>
                        <a:pt x="2974851" y="451215"/>
                        <a:pt x="2973328" y="452597"/>
                        <a:pt x="2967027" y="450103"/>
                      </a:cubicBezTo>
                      <a:cubicBezTo>
                        <a:pt x="2963678" y="448779"/>
                        <a:pt x="2964076" y="445090"/>
                        <a:pt x="2959181" y="444633"/>
                      </a:cubicBezTo>
                      <a:cubicBezTo>
                        <a:pt x="2960422" y="444282"/>
                        <a:pt x="2961008" y="443966"/>
                        <a:pt x="2962425" y="443837"/>
                      </a:cubicBezTo>
                      <a:cubicBezTo>
                        <a:pt x="2961277" y="443251"/>
                        <a:pt x="2960727" y="442502"/>
                        <a:pt x="2959579" y="441612"/>
                      </a:cubicBezTo>
                      <a:cubicBezTo>
                        <a:pt x="2963385" y="441307"/>
                        <a:pt x="2968913" y="442537"/>
                        <a:pt x="2972239" y="442033"/>
                      </a:cubicBezTo>
                      <a:cubicBezTo>
                        <a:pt x="2973223" y="441881"/>
                        <a:pt x="2975694" y="442701"/>
                        <a:pt x="2976971" y="442607"/>
                      </a:cubicBezTo>
                      <a:cubicBezTo>
                        <a:pt x="2978270" y="442514"/>
                        <a:pt x="2977650" y="439550"/>
                        <a:pt x="2978095" y="439515"/>
                      </a:cubicBezTo>
                      <a:cubicBezTo>
                        <a:pt x="2981070" y="439293"/>
                        <a:pt x="2986492" y="440722"/>
                        <a:pt x="2988389" y="443169"/>
                      </a:cubicBezTo>
                      <a:lnTo>
                        <a:pt x="2988389" y="443169"/>
                      </a:lnTo>
                      <a:close/>
                      <a:moveTo>
                        <a:pt x="4904688" y="441225"/>
                      </a:moveTo>
                      <a:cubicBezTo>
                        <a:pt x="4896783" y="443357"/>
                        <a:pt x="4887226" y="441471"/>
                        <a:pt x="4879075" y="441787"/>
                      </a:cubicBezTo>
                      <a:cubicBezTo>
                        <a:pt x="4874835" y="441951"/>
                        <a:pt x="4857631" y="445629"/>
                        <a:pt x="4864237" y="438508"/>
                      </a:cubicBezTo>
                      <a:cubicBezTo>
                        <a:pt x="4867563" y="434924"/>
                        <a:pt x="4882623" y="431188"/>
                        <a:pt x="4887437" y="430006"/>
                      </a:cubicBezTo>
                      <a:cubicBezTo>
                        <a:pt x="4895682" y="427956"/>
                        <a:pt x="4906539" y="426012"/>
                        <a:pt x="4914994" y="426539"/>
                      </a:cubicBezTo>
                      <a:cubicBezTo>
                        <a:pt x="4911492" y="432910"/>
                        <a:pt x="4901339" y="430989"/>
                        <a:pt x="4904688" y="441225"/>
                      </a:cubicBezTo>
                      <a:lnTo>
                        <a:pt x="4904688" y="441225"/>
                      </a:lnTo>
                      <a:close/>
                      <a:moveTo>
                        <a:pt x="1376" y="747365"/>
                      </a:moveTo>
                      <a:cubicBezTo>
                        <a:pt x="3027" y="747283"/>
                        <a:pt x="4667" y="747083"/>
                        <a:pt x="6306" y="746943"/>
                      </a:cubicBezTo>
                      <a:cubicBezTo>
                        <a:pt x="4936" y="747037"/>
                        <a:pt x="3051" y="746381"/>
                        <a:pt x="1376" y="746486"/>
                      </a:cubicBezTo>
                      <a:cubicBezTo>
                        <a:pt x="1376" y="731613"/>
                        <a:pt x="1376" y="716739"/>
                        <a:pt x="1376" y="701865"/>
                      </a:cubicBezTo>
                      <a:cubicBezTo>
                        <a:pt x="7372" y="704676"/>
                        <a:pt x="14141" y="703318"/>
                        <a:pt x="20595" y="705063"/>
                      </a:cubicBezTo>
                      <a:cubicBezTo>
                        <a:pt x="21145" y="705215"/>
                        <a:pt x="35164" y="710696"/>
                        <a:pt x="33302" y="705625"/>
                      </a:cubicBezTo>
                      <a:cubicBezTo>
                        <a:pt x="32283" y="702837"/>
                        <a:pt x="27001" y="703716"/>
                        <a:pt x="24998" y="702802"/>
                      </a:cubicBezTo>
                      <a:cubicBezTo>
                        <a:pt x="22539" y="701678"/>
                        <a:pt x="21531" y="699324"/>
                        <a:pt x="20021" y="698633"/>
                      </a:cubicBezTo>
                      <a:cubicBezTo>
                        <a:pt x="14177" y="695951"/>
                        <a:pt x="-1950" y="697239"/>
                        <a:pt x="1376" y="687530"/>
                      </a:cubicBezTo>
                      <a:cubicBezTo>
                        <a:pt x="1926" y="691875"/>
                        <a:pt x="12361" y="689193"/>
                        <a:pt x="16636" y="689076"/>
                      </a:cubicBezTo>
                      <a:cubicBezTo>
                        <a:pt x="16718" y="689076"/>
                        <a:pt x="24530" y="688303"/>
                        <a:pt x="23031" y="688678"/>
                      </a:cubicBezTo>
                      <a:cubicBezTo>
                        <a:pt x="22351" y="688854"/>
                        <a:pt x="26427" y="692672"/>
                        <a:pt x="26567" y="689170"/>
                      </a:cubicBezTo>
                      <a:cubicBezTo>
                        <a:pt x="26930" y="679672"/>
                        <a:pt x="3566" y="685996"/>
                        <a:pt x="1388" y="680984"/>
                      </a:cubicBezTo>
                      <a:cubicBezTo>
                        <a:pt x="-3356" y="670115"/>
                        <a:pt x="32271" y="670970"/>
                        <a:pt x="36382" y="670654"/>
                      </a:cubicBezTo>
                      <a:cubicBezTo>
                        <a:pt x="40106" y="670361"/>
                        <a:pt x="52438" y="670841"/>
                        <a:pt x="54851" y="668546"/>
                      </a:cubicBezTo>
                      <a:cubicBezTo>
                        <a:pt x="57275" y="666239"/>
                        <a:pt x="41265" y="667796"/>
                        <a:pt x="40984" y="667820"/>
                      </a:cubicBezTo>
                      <a:cubicBezTo>
                        <a:pt x="42390" y="666836"/>
                        <a:pt x="42811" y="665782"/>
                        <a:pt x="44509" y="664939"/>
                      </a:cubicBezTo>
                      <a:cubicBezTo>
                        <a:pt x="35691" y="659071"/>
                        <a:pt x="31065" y="664025"/>
                        <a:pt x="22340" y="664939"/>
                      </a:cubicBezTo>
                      <a:cubicBezTo>
                        <a:pt x="29261" y="658591"/>
                        <a:pt x="17819" y="659727"/>
                        <a:pt x="14130" y="660067"/>
                      </a:cubicBezTo>
                      <a:cubicBezTo>
                        <a:pt x="21192" y="654164"/>
                        <a:pt x="11143" y="650803"/>
                        <a:pt x="23815" y="648390"/>
                      </a:cubicBezTo>
                      <a:cubicBezTo>
                        <a:pt x="33220" y="646599"/>
                        <a:pt x="33395" y="650733"/>
                        <a:pt x="43256" y="648308"/>
                      </a:cubicBezTo>
                      <a:cubicBezTo>
                        <a:pt x="51466" y="646294"/>
                        <a:pt x="58376" y="645018"/>
                        <a:pt x="63845" y="645954"/>
                      </a:cubicBezTo>
                      <a:cubicBezTo>
                        <a:pt x="73285" y="647571"/>
                        <a:pt x="81776" y="647606"/>
                        <a:pt x="91719" y="647290"/>
                      </a:cubicBezTo>
                      <a:cubicBezTo>
                        <a:pt x="86039" y="641902"/>
                        <a:pt x="78520" y="649772"/>
                        <a:pt x="71668" y="646575"/>
                      </a:cubicBezTo>
                      <a:cubicBezTo>
                        <a:pt x="67031" y="644420"/>
                        <a:pt x="68682" y="639794"/>
                        <a:pt x="61983" y="640790"/>
                      </a:cubicBezTo>
                      <a:cubicBezTo>
                        <a:pt x="63424" y="639771"/>
                        <a:pt x="64583" y="637592"/>
                        <a:pt x="66375" y="636609"/>
                      </a:cubicBezTo>
                      <a:cubicBezTo>
                        <a:pt x="61444" y="635555"/>
                        <a:pt x="25080" y="641305"/>
                        <a:pt x="32938" y="631924"/>
                      </a:cubicBezTo>
                      <a:cubicBezTo>
                        <a:pt x="36464" y="627720"/>
                        <a:pt x="50213" y="627321"/>
                        <a:pt x="55870" y="625975"/>
                      </a:cubicBezTo>
                      <a:cubicBezTo>
                        <a:pt x="61936" y="624522"/>
                        <a:pt x="69701" y="620494"/>
                        <a:pt x="75627" y="620470"/>
                      </a:cubicBezTo>
                      <a:cubicBezTo>
                        <a:pt x="74140" y="617554"/>
                        <a:pt x="61796" y="619147"/>
                        <a:pt x="58879" y="621278"/>
                      </a:cubicBezTo>
                      <a:cubicBezTo>
                        <a:pt x="59336" y="620447"/>
                        <a:pt x="59781" y="619615"/>
                        <a:pt x="60238" y="618784"/>
                      </a:cubicBezTo>
                      <a:cubicBezTo>
                        <a:pt x="58739" y="618995"/>
                        <a:pt x="57111" y="618526"/>
                        <a:pt x="55624" y="618784"/>
                      </a:cubicBezTo>
                      <a:cubicBezTo>
                        <a:pt x="64419" y="613631"/>
                        <a:pt x="67078" y="610949"/>
                        <a:pt x="55237" y="612647"/>
                      </a:cubicBezTo>
                      <a:cubicBezTo>
                        <a:pt x="45727" y="614017"/>
                        <a:pt x="28020" y="621864"/>
                        <a:pt x="37424" y="607377"/>
                      </a:cubicBezTo>
                      <a:cubicBezTo>
                        <a:pt x="33911" y="604964"/>
                        <a:pt x="29671" y="606533"/>
                        <a:pt x="25958" y="606604"/>
                      </a:cubicBezTo>
                      <a:cubicBezTo>
                        <a:pt x="29062" y="600877"/>
                        <a:pt x="37178" y="589341"/>
                        <a:pt x="45622" y="593018"/>
                      </a:cubicBezTo>
                      <a:cubicBezTo>
                        <a:pt x="45458" y="593510"/>
                        <a:pt x="44638" y="593955"/>
                        <a:pt x="44509" y="594447"/>
                      </a:cubicBezTo>
                      <a:cubicBezTo>
                        <a:pt x="47027" y="596028"/>
                        <a:pt x="49850" y="596005"/>
                        <a:pt x="52415" y="594447"/>
                      </a:cubicBezTo>
                      <a:cubicBezTo>
                        <a:pt x="50799" y="595817"/>
                        <a:pt x="49463" y="597539"/>
                        <a:pt x="47379" y="598734"/>
                      </a:cubicBezTo>
                      <a:cubicBezTo>
                        <a:pt x="52380" y="600525"/>
                        <a:pt x="55741" y="594131"/>
                        <a:pt x="59606" y="595431"/>
                      </a:cubicBezTo>
                      <a:cubicBezTo>
                        <a:pt x="63014" y="596567"/>
                        <a:pt x="65110" y="605538"/>
                        <a:pt x="63482" y="608091"/>
                      </a:cubicBezTo>
                      <a:cubicBezTo>
                        <a:pt x="71528" y="607037"/>
                        <a:pt x="75955" y="599436"/>
                        <a:pt x="81506" y="594424"/>
                      </a:cubicBezTo>
                      <a:cubicBezTo>
                        <a:pt x="83392" y="592714"/>
                        <a:pt x="87011" y="592468"/>
                        <a:pt x="87608" y="589575"/>
                      </a:cubicBezTo>
                      <a:cubicBezTo>
                        <a:pt x="88603" y="584691"/>
                        <a:pt x="84739" y="586776"/>
                        <a:pt x="83298" y="584914"/>
                      </a:cubicBezTo>
                      <a:cubicBezTo>
                        <a:pt x="81202" y="582209"/>
                        <a:pt x="77887" y="587818"/>
                        <a:pt x="79773" y="581764"/>
                      </a:cubicBezTo>
                      <a:cubicBezTo>
                        <a:pt x="80827" y="578391"/>
                        <a:pt x="89271" y="575018"/>
                        <a:pt x="91988" y="574549"/>
                      </a:cubicBezTo>
                      <a:cubicBezTo>
                        <a:pt x="98816" y="573343"/>
                        <a:pt x="106990" y="575556"/>
                        <a:pt x="114615" y="575744"/>
                      </a:cubicBezTo>
                      <a:cubicBezTo>
                        <a:pt x="115645" y="580651"/>
                        <a:pt x="126596" y="580464"/>
                        <a:pt x="131058" y="580768"/>
                      </a:cubicBezTo>
                      <a:cubicBezTo>
                        <a:pt x="129945" y="578356"/>
                        <a:pt x="128786" y="573109"/>
                        <a:pt x="126830" y="570813"/>
                      </a:cubicBezTo>
                      <a:cubicBezTo>
                        <a:pt x="123644" y="567077"/>
                        <a:pt x="120646" y="568248"/>
                        <a:pt x="118526" y="562709"/>
                      </a:cubicBezTo>
                      <a:cubicBezTo>
                        <a:pt x="122942" y="559231"/>
                        <a:pt x="129242" y="558786"/>
                        <a:pt x="134571" y="557509"/>
                      </a:cubicBezTo>
                      <a:cubicBezTo>
                        <a:pt x="137253" y="556865"/>
                        <a:pt x="149117" y="556232"/>
                        <a:pt x="151365" y="554733"/>
                      </a:cubicBezTo>
                      <a:cubicBezTo>
                        <a:pt x="160969" y="548315"/>
                        <a:pt x="144854" y="550025"/>
                        <a:pt x="140696" y="548983"/>
                      </a:cubicBezTo>
                      <a:cubicBezTo>
                        <a:pt x="142394" y="541277"/>
                        <a:pt x="151764" y="543221"/>
                        <a:pt x="157619" y="542261"/>
                      </a:cubicBezTo>
                      <a:cubicBezTo>
                        <a:pt x="164026" y="541207"/>
                        <a:pt x="169378" y="537576"/>
                        <a:pt x="176088" y="537986"/>
                      </a:cubicBezTo>
                      <a:cubicBezTo>
                        <a:pt x="174988" y="537365"/>
                        <a:pt x="173887" y="535784"/>
                        <a:pt x="172528" y="535081"/>
                      </a:cubicBezTo>
                      <a:cubicBezTo>
                        <a:pt x="174425" y="533477"/>
                        <a:pt x="177880" y="533489"/>
                        <a:pt x="179344" y="532189"/>
                      </a:cubicBezTo>
                      <a:cubicBezTo>
                        <a:pt x="179169" y="532341"/>
                        <a:pt x="183022" y="528476"/>
                        <a:pt x="182483" y="528792"/>
                      </a:cubicBezTo>
                      <a:cubicBezTo>
                        <a:pt x="189557" y="524658"/>
                        <a:pt x="193492" y="524810"/>
                        <a:pt x="201432" y="523803"/>
                      </a:cubicBezTo>
                      <a:cubicBezTo>
                        <a:pt x="210602" y="522632"/>
                        <a:pt x="213390" y="518217"/>
                        <a:pt x="219831" y="516261"/>
                      </a:cubicBezTo>
                      <a:cubicBezTo>
                        <a:pt x="225769" y="514469"/>
                        <a:pt x="232995" y="517151"/>
                        <a:pt x="239155" y="515383"/>
                      </a:cubicBezTo>
                      <a:cubicBezTo>
                        <a:pt x="245784" y="513485"/>
                        <a:pt x="249976" y="510569"/>
                        <a:pt x="257027" y="510042"/>
                      </a:cubicBezTo>
                      <a:cubicBezTo>
                        <a:pt x="279677" y="508332"/>
                        <a:pt x="254907" y="507922"/>
                        <a:pt x="251101" y="503695"/>
                      </a:cubicBezTo>
                      <a:cubicBezTo>
                        <a:pt x="262274" y="494677"/>
                        <a:pt x="279080" y="496949"/>
                        <a:pt x="292606" y="496316"/>
                      </a:cubicBezTo>
                      <a:cubicBezTo>
                        <a:pt x="286891" y="500333"/>
                        <a:pt x="277639" y="502313"/>
                        <a:pt x="273329" y="508086"/>
                      </a:cubicBezTo>
                      <a:cubicBezTo>
                        <a:pt x="278892" y="505627"/>
                        <a:pt x="277030" y="510148"/>
                        <a:pt x="282090" y="509773"/>
                      </a:cubicBezTo>
                      <a:cubicBezTo>
                        <a:pt x="287371" y="509386"/>
                        <a:pt x="287371" y="505943"/>
                        <a:pt x="290428" y="504444"/>
                      </a:cubicBezTo>
                      <a:cubicBezTo>
                        <a:pt x="293145" y="503109"/>
                        <a:pt x="310256" y="502113"/>
                        <a:pt x="309061" y="495672"/>
                      </a:cubicBezTo>
                      <a:cubicBezTo>
                        <a:pt x="308136" y="490660"/>
                        <a:pt x="302257" y="495450"/>
                        <a:pt x="299235" y="494314"/>
                      </a:cubicBezTo>
                      <a:cubicBezTo>
                        <a:pt x="293731" y="492229"/>
                        <a:pt x="298240" y="493353"/>
                        <a:pt x="299071" y="489418"/>
                      </a:cubicBezTo>
                      <a:cubicBezTo>
                        <a:pt x="298778" y="490812"/>
                        <a:pt x="302538" y="483902"/>
                        <a:pt x="301495" y="485401"/>
                      </a:cubicBezTo>
                      <a:cubicBezTo>
                        <a:pt x="301507" y="485389"/>
                        <a:pt x="300231" y="483328"/>
                        <a:pt x="301390" y="482227"/>
                      </a:cubicBezTo>
                      <a:cubicBezTo>
                        <a:pt x="304564" y="479241"/>
                        <a:pt x="305395" y="480178"/>
                        <a:pt x="309811" y="479440"/>
                      </a:cubicBezTo>
                      <a:cubicBezTo>
                        <a:pt x="316955" y="478257"/>
                        <a:pt x="326933" y="477379"/>
                        <a:pt x="332988" y="477250"/>
                      </a:cubicBezTo>
                      <a:cubicBezTo>
                        <a:pt x="337731" y="477156"/>
                        <a:pt x="342978" y="476465"/>
                        <a:pt x="348787" y="477789"/>
                      </a:cubicBezTo>
                      <a:cubicBezTo>
                        <a:pt x="352124" y="478550"/>
                        <a:pt x="353729" y="481888"/>
                        <a:pt x="358929" y="482192"/>
                      </a:cubicBezTo>
                      <a:cubicBezTo>
                        <a:pt x="362829" y="482426"/>
                        <a:pt x="371249" y="478327"/>
                        <a:pt x="374294" y="481232"/>
                      </a:cubicBezTo>
                      <a:cubicBezTo>
                        <a:pt x="376578" y="483410"/>
                        <a:pt x="369668" y="489898"/>
                        <a:pt x="379471" y="490437"/>
                      </a:cubicBezTo>
                      <a:cubicBezTo>
                        <a:pt x="380455" y="485331"/>
                        <a:pt x="385303" y="486139"/>
                        <a:pt x="387037" y="485225"/>
                      </a:cubicBezTo>
                      <a:cubicBezTo>
                        <a:pt x="389590" y="483879"/>
                        <a:pt x="399135" y="476114"/>
                        <a:pt x="397354" y="484640"/>
                      </a:cubicBezTo>
                      <a:cubicBezTo>
                        <a:pt x="398654" y="484640"/>
                        <a:pt x="399966" y="484640"/>
                        <a:pt x="401266" y="484640"/>
                      </a:cubicBezTo>
                      <a:cubicBezTo>
                        <a:pt x="400025" y="489957"/>
                        <a:pt x="410940" y="484616"/>
                        <a:pt x="414231" y="483363"/>
                      </a:cubicBezTo>
                      <a:cubicBezTo>
                        <a:pt x="419313" y="481431"/>
                        <a:pt x="425017" y="480271"/>
                        <a:pt x="430299" y="478304"/>
                      </a:cubicBezTo>
                      <a:cubicBezTo>
                        <a:pt x="438450" y="475259"/>
                        <a:pt x="441437" y="471382"/>
                        <a:pt x="451192" y="472226"/>
                      </a:cubicBezTo>
                      <a:cubicBezTo>
                        <a:pt x="452820" y="472366"/>
                        <a:pt x="453722" y="470270"/>
                        <a:pt x="455619" y="470750"/>
                      </a:cubicBezTo>
                      <a:cubicBezTo>
                        <a:pt x="457200" y="471160"/>
                        <a:pt x="457212" y="474451"/>
                        <a:pt x="458535" y="474826"/>
                      </a:cubicBezTo>
                      <a:cubicBezTo>
                        <a:pt x="463524" y="476196"/>
                        <a:pt x="464813" y="473865"/>
                        <a:pt x="469872" y="472226"/>
                      </a:cubicBezTo>
                      <a:cubicBezTo>
                        <a:pt x="473526" y="471031"/>
                        <a:pt x="477578" y="470293"/>
                        <a:pt x="480998" y="469602"/>
                      </a:cubicBezTo>
                      <a:cubicBezTo>
                        <a:pt x="482005" y="469391"/>
                        <a:pt x="481947" y="466745"/>
                        <a:pt x="484195" y="466440"/>
                      </a:cubicBezTo>
                      <a:cubicBezTo>
                        <a:pt x="487756" y="465948"/>
                        <a:pt x="488763" y="469696"/>
                        <a:pt x="492768" y="468314"/>
                      </a:cubicBezTo>
                      <a:cubicBezTo>
                        <a:pt x="490215" y="464309"/>
                        <a:pt x="495192" y="460479"/>
                        <a:pt x="499573" y="460936"/>
                      </a:cubicBezTo>
                      <a:cubicBezTo>
                        <a:pt x="498062" y="456872"/>
                        <a:pt x="503461" y="455724"/>
                        <a:pt x="507630" y="455841"/>
                      </a:cubicBezTo>
                      <a:cubicBezTo>
                        <a:pt x="511565" y="455947"/>
                        <a:pt x="512842" y="458828"/>
                        <a:pt x="515020" y="458956"/>
                      </a:cubicBezTo>
                      <a:cubicBezTo>
                        <a:pt x="523417" y="459448"/>
                        <a:pt x="527540" y="450887"/>
                        <a:pt x="533829" y="448018"/>
                      </a:cubicBezTo>
                      <a:cubicBezTo>
                        <a:pt x="540657" y="444914"/>
                        <a:pt x="559817" y="455045"/>
                        <a:pt x="562639" y="451285"/>
                      </a:cubicBezTo>
                      <a:cubicBezTo>
                        <a:pt x="562768" y="451110"/>
                        <a:pt x="557545" y="442455"/>
                        <a:pt x="556022" y="440850"/>
                      </a:cubicBezTo>
                      <a:cubicBezTo>
                        <a:pt x="550717" y="435299"/>
                        <a:pt x="545880" y="433425"/>
                        <a:pt x="557463" y="429092"/>
                      </a:cubicBezTo>
                      <a:cubicBezTo>
                        <a:pt x="565274" y="426176"/>
                        <a:pt x="573390" y="425860"/>
                        <a:pt x="580698" y="421772"/>
                      </a:cubicBezTo>
                      <a:cubicBezTo>
                        <a:pt x="582970" y="420496"/>
                        <a:pt x="584411" y="417826"/>
                        <a:pt x="587397" y="416338"/>
                      </a:cubicBezTo>
                      <a:cubicBezTo>
                        <a:pt x="589365" y="415366"/>
                        <a:pt x="594026" y="412895"/>
                        <a:pt x="595607" y="412298"/>
                      </a:cubicBezTo>
                      <a:cubicBezTo>
                        <a:pt x="599601" y="410775"/>
                        <a:pt x="606183" y="408164"/>
                        <a:pt x="609708" y="407285"/>
                      </a:cubicBezTo>
                      <a:cubicBezTo>
                        <a:pt x="614498" y="406067"/>
                        <a:pt x="619850" y="407613"/>
                        <a:pt x="624617" y="406442"/>
                      </a:cubicBezTo>
                      <a:cubicBezTo>
                        <a:pt x="637933" y="403163"/>
                        <a:pt x="644749" y="399766"/>
                        <a:pt x="659435" y="400785"/>
                      </a:cubicBezTo>
                      <a:cubicBezTo>
                        <a:pt x="666204" y="401266"/>
                        <a:pt x="669296" y="403303"/>
                        <a:pt x="675527" y="404908"/>
                      </a:cubicBezTo>
                      <a:cubicBezTo>
                        <a:pt x="681171" y="406360"/>
                        <a:pt x="688187" y="403151"/>
                        <a:pt x="692895" y="406430"/>
                      </a:cubicBezTo>
                      <a:cubicBezTo>
                        <a:pt x="689639" y="409756"/>
                        <a:pt x="704056" y="414031"/>
                        <a:pt x="708307" y="415530"/>
                      </a:cubicBezTo>
                      <a:cubicBezTo>
                        <a:pt x="700636" y="421526"/>
                        <a:pt x="712254" y="421175"/>
                        <a:pt x="714268" y="424162"/>
                      </a:cubicBezTo>
                      <a:cubicBezTo>
                        <a:pt x="716470" y="427429"/>
                        <a:pt x="709162" y="433039"/>
                        <a:pt x="720054" y="432664"/>
                      </a:cubicBezTo>
                      <a:cubicBezTo>
                        <a:pt x="711434" y="436892"/>
                        <a:pt x="712758" y="439902"/>
                        <a:pt x="707218" y="446086"/>
                      </a:cubicBezTo>
                      <a:cubicBezTo>
                        <a:pt x="710017" y="446097"/>
                        <a:pt x="712769" y="446847"/>
                        <a:pt x="715076" y="448311"/>
                      </a:cubicBezTo>
                      <a:cubicBezTo>
                        <a:pt x="710392" y="452468"/>
                        <a:pt x="703025" y="458301"/>
                        <a:pt x="697638" y="461404"/>
                      </a:cubicBezTo>
                      <a:cubicBezTo>
                        <a:pt x="694078" y="463454"/>
                        <a:pt x="685587" y="463372"/>
                        <a:pt x="688960" y="466850"/>
                      </a:cubicBezTo>
                      <a:cubicBezTo>
                        <a:pt x="685680" y="472753"/>
                        <a:pt x="678970" y="471511"/>
                        <a:pt x="675409" y="475704"/>
                      </a:cubicBezTo>
                      <a:cubicBezTo>
                        <a:pt x="678091" y="476172"/>
                        <a:pt x="680797" y="476922"/>
                        <a:pt x="683221" y="477882"/>
                      </a:cubicBezTo>
                      <a:cubicBezTo>
                        <a:pt x="677213" y="482110"/>
                        <a:pt x="667856" y="480096"/>
                        <a:pt x="660875" y="482028"/>
                      </a:cubicBezTo>
                      <a:cubicBezTo>
                        <a:pt x="652385" y="484382"/>
                        <a:pt x="641938" y="487509"/>
                        <a:pt x="634033" y="491187"/>
                      </a:cubicBezTo>
                      <a:cubicBezTo>
                        <a:pt x="625799" y="495028"/>
                        <a:pt x="620681" y="497347"/>
                        <a:pt x="612003" y="499631"/>
                      </a:cubicBezTo>
                      <a:cubicBezTo>
                        <a:pt x="604039" y="501715"/>
                        <a:pt x="596638" y="503870"/>
                        <a:pt x="589084" y="506939"/>
                      </a:cubicBezTo>
                      <a:cubicBezTo>
                        <a:pt x="574679" y="512783"/>
                        <a:pt x="559009" y="516331"/>
                        <a:pt x="543151" y="519962"/>
                      </a:cubicBezTo>
                      <a:cubicBezTo>
                        <a:pt x="537178" y="521332"/>
                        <a:pt x="530643" y="522082"/>
                        <a:pt x="524869" y="524143"/>
                      </a:cubicBezTo>
                      <a:cubicBezTo>
                        <a:pt x="521333" y="525408"/>
                        <a:pt x="518897" y="527832"/>
                        <a:pt x="515535" y="529132"/>
                      </a:cubicBezTo>
                      <a:cubicBezTo>
                        <a:pt x="508462" y="531837"/>
                        <a:pt x="500100" y="531029"/>
                        <a:pt x="492347" y="533383"/>
                      </a:cubicBezTo>
                      <a:cubicBezTo>
                        <a:pt x="482755" y="536311"/>
                        <a:pt x="473526" y="537307"/>
                        <a:pt x="464028" y="539391"/>
                      </a:cubicBezTo>
                      <a:cubicBezTo>
                        <a:pt x="456779" y="540984"/>
                        <a:pt x="449799" y="546688"/>
                        <a:pt x="442327" y="548245"/>
                      </a:cubicBezTo>
                      <a:cubicBezTo>
                        <a:pt x="444189" y="543561"/>
                        <a:pt x="439235" y="537810"/>
                        <a:pt x="434129" y="540223"/>
                      </a:cubicBezTo>
                      <a:cubicBezTo>
                        <a:pt x="445009" y="542425"/>
                        <a:pt x="425017" y="552098"/>
                        <a:pt x="421761" y="552965"/>
                      </a:cubicBezTo>
                      <a:cubicBezTo>
                        <a:pt x="416725" y="554323"/>
                        <a:pt x="411760" y="552426"/>
                        <a:pt x="406876" y="553340"/>
                      </a:cubicBezTo>
                      <a:cubicBezTo>
                        <a:pt x="400610" y="554499"/>
                        <a:pt x="393314" y="558985"/>
                        <a:pt x="387107" y="560870"/>
                      </a:cubicBezTo>
                      <a:cubicBezTo>
                        <a:pt x="381146" y="562685"/>
                        <a:pt x="374681" y="567534"/>
                        <a:pt x="368579" y="568412"/>
                      </a:cubicBezTo>
                      <a:cubicBezTo>
                        <a:pt x="364281" y="569033"/>
                        <a:pt x="361259" y="567464"/>
                        <a:pt x="356891" y="568319"/>
                      </a:cubicBezTo>
                      <a:cubicBezTo>
                        <a:pt x="352827" y="569103"/>
                        <a:pt x="351176" y="572102"/>
                        <a:pt x="346749" y="574409"/>
                      </a:cubicBezTo>
                      <a:cubicBezTo>
                        <a:pt x="341924" y="576915"/>
                        <a:pt x="343575" y="576189"/>
                        <a:pt x="337204" y="575732"/>
                      </a:cubicBezTo>
                      <a:cubicBezTo>
                        <a:pt x="337192" y="579058"/>
                        <a:pt x="338012" y="577114"/>
                        <a:pt x="335436" y="580756"/>
                      </a:cubicBezTo>
                      <a:cubicBezTo>
                        <a:pt x="335529" y="581155"/>
                        <a:pt x="336946" y="581658"/>
                        <a:pt x="336888" y="582185"/>
                      </a:cubicBezTo>
                      <a:cubicBezTo>
                        <a:pt x="336244" y="582923"/>
                        <a:pt x="334815" y="583099"/>
                        <a:pt x="334018" y="583684"/>
                      </a:cubicBezTo>
                      <a:cubicBezTo>
                        <a:pt x="334323" y="584422"/>
                        <a:pt x="335108" y="584867"/>
                        <a:pt x="335119" y="585827"/>
                      </a:cubicBezTo>
                      <a:cubicBezTo>
                        <a:pt x="328982" y="584973"/>
                        <a:pt x="330388" y="592128"/>
                        <a:pt x="325083" y="591648"/>
                      </a:cubicBezTo>
                      <a:cubicBezTo>
                        <a:pt x="319543" y="591144"/>
                        <a:pt x="320948" y="583368"/>
                        <a:pt x="320820" y="580089"/>
                      </a:cubicBezTo>
                      <a:cubicBezTo>
                        <a:pt x="319590" y="579948"/>
                        <a:pt x="316603" y="580300"/>
                        <a:pt x="315444" y="580745"/>
                      </a:cubicBezTo>
                      <a:cubicBezTo>
                        <a:pt x="321628" y="591777"/>
                        <a:pt x="292923" y="598851"/>
                        <a:pt x="287957" y="603781"/>
                      </a:cubicBezTo>
                      <a:cubicBezTo>
                        <a:pt x="294457" y="607154"/>
                        <a:pt x="285064" y="615446"/>
                        <a:pt x="278693" y="608196"/>
                      </a:cubicBezTo>
                      <a:cubicBezTo>
                        <a:pt x="277335" y="606651"/>
                        <a:pt x="284291" y="601181"/>
                        <a:pt x="276117" y="603055"/>
                      </a:cubicBezTo>
                      <a:cubicBezTo>
                        <a:pt x="273880" y="603570"/>
                        <a:pt x="272533" y="608431"/>
                        <a:pt x="271491" y="610211"/>
                      </a:cubicBezTo>
                      <a:cubicBezTo>
                        <a:pt x="272088" y="610703"/>
                        <a:pt x="272697" y="611206"/>
                        <a:pt x="273282" y="611698"/>
                      </a:cubicBezTo>
                      <a:cubicBezTo>
                        <a:pt x="270308" y="614931"/>
                        <a:pt x="265354" y="615598"/>
                        <a:pt x="261091" y="615973"/>
                      </a:cubicBezTo>
                      <a:cubicBezTo>
                        <a:pt x="261348" y="615317"/>
                        <a:pt x="262203" y="615024"/>
                        <a:pt x="262531" y="614486"/>
                      </a:cubicBezTo>
                      <a:cubicBezTo>
                        <a:pt x="260950" y="613268"/>
                        <a:pt x="248934" y="615095"/>
                        <a:pt x="245046" y="614486"/>
                      </a:cubicBezTo>
                      <a:cubicBezTo>
                        <a:pt x="253408" y="623738"/>
                        <a:pt x="273259" y="611839"/>
                        <a:pt x="281691" y="618959"/>
                      </a:cubicBezTo>
                      <a:cubicBezTo>
                        <a:pt x="294141" y="629488"/>
                        <a:pt x="261348" y="629254"/>
                        <a:pt x="258983" y="630179"/>
                      </a:cubicBezTo>
                      <a:cubicBezTo>
                        <a:pt x="260587" y="632709"/>
                        <a:pt x="265190" y="632943"/>
                        <a:pt x="266150" y="634665"/>
                      </a:cubicBezTo>
                      <a:cubicBezTo>
                        <a:pt x="269500" y="640719"/>
                        <a:pt x="261325" y="641270"/>
                        <a:pt x="255809" y="642160"/>
                      </a:cubicBezTo>
                      <a:cubicBezTo>
                        <a:pt x="242469" y="644315"/>
                        <a:pt x="234915" y="641118"/>
                        <a:pt x="223216" y="635918"/>
                      </a:cubicBezTo>
                      <a:cubicBezTo>
                        <a:pt x="225523" y="637721"/>
                        <a:pt x="227291" y="641797"/>
                        <a:pt x="229634" y="643038"/>
                      </a:cubicBezTo>
                      <a:cubicBezTo>
                        <a:pt x="232210" y="644409"/>
                        <a:pt x="235466" y="643671"/>
                        <a:pt x="237679" y="645041"/>
                      </a:cubicBezTo>
                      <a:cubicBezTo>
                        <a:pt x="241380" y="647325"/>
                        <a:pt x="243805" y="649796"/>
                        <a:pt x="241462" y="654106"/>
                      </a:cubicBezTo>
                      <a:cubicBezTo>
                        <a:pt x="232819" y="670068"/>
                        <a:pt x="210731" y="639092"/>
                        <a:pt x="201409" y="642289"/>
                      </a:cubicBezTo>
                      <a:cubicBezTo>
                        <a:pt x="204337" y="646200"/>
                        <a:pt x="209080" y="647945"/>
                        <a:pt x="211809" y="652185"/>
                      </a:cubicBezTo>
                      <a:cubicBezTo>
                        <a:pt x="207019" y="652677"/>
                        <a:pt x="205215" y="647571"/>
                        <a:pt x="201046" y="651541"/>
                      </a:cubicBezTo>
                      <a:cubicBezTo>
                        <a:pt x="214842" y="653251"/>
                        <a:pt x="198212" y="665325"/>
                        <a:pt x="204278" y="672680"/>
                      </a:cubicBezTo>
                      <a:cubicBezTo>
                        <a:pt x="188046" y="671181"/>
                        <a:pt x="178232" y="665478"/>
                        <a:pt x="162690" y="660957"/>
                      </a:cubicBezTo>
                      <a:cubicBezTo>
                        <a:pt x="150007" y="657268"/>
                        <a:pt x="154364" y="660125"/>
                        <a:pt x="162468" y="664482"/>
                      </a:cubicBezTo>
                      <a:cubicBezTo>
                        <a:pt x="167726" y="667316"/>
                        <a:pt x="171708" y="671111"/>
                        <a:pt x="177833" y="674788"/>
                      </a:cubicBezTo>
                      <a:cubicBezTo>
                        <a:pt x="176534" y="675620"/>
                        <a:pt x="175725" y="677552"/>
                        <a:pt x="174261" y="678360"/>
                      </a:cubicBezTo>
                      <a:cubicBezTo>
                        <a:pt x="177517" y="680222"/>
                        <a:pt x="179051" y="684521"/>
                        <a:pt x="180047" y="686582"/>
                      </a:cubicBezTo>
                      <a:cubicBezTo>
                        <a:pt x="180773" y="688081"/>
                        <a:pt x="182846" y="687823"/>
                        <a:pt x="183162" y="690283"/>
                      </a:cubicBezTo>
                      <a:cubicBezTo>
                        <a:pt x="181921" y="690927"/>
                        <a:pt x="181042" y="691782"/>
                        <a:pt x="180000" y="692449"/>
                      </a:cubicBezTo>
                      <a:cubicBezTo>
                        <a:pt x="181206" y="692906"/>
                        <a:pt x="181394" y="692988"/>
                        <a:pt x="182495" y="693784"/>
                      </a:cubicBezTo>
                      <a:cubicBezTo>
                        <a:pt x="179157" y="693784"/>
                        <a:pt x="175819" y="693784"/>
                        <a:pt x="172481" y="693784"/>
                      </a:cubicBezTo>
                      <a:cubicBezTo>
                        <a:pt x="174952" y="694171"/>
                        <a:pt x="176756" y="695002"/>
                        <a:pt x="178899" y="695951"/>
                      </a:cubicBezTo>
                      <a:cubicBezTo>
                        <a:pt x="176323" y="695611"/>
                        <a:pt x="173629" y="696162"/>
                        <a:pt x="171029" y="695951"/>
                      </a:cubicBezTo>
                      <a:cubicBezTo>
                        <a:pt x="172540" y="696923"/>
                        <a:pt x="173489" y="698481"/>
                        <a:pt x="175339" y="699371"/>
                      </a:cubicBezTo>
                      <a:cubicBezTo>
                        <a:pt x="169823" y="702896"/>
                        <a:pt x="166368" y="695447"/>
                        <a:pt x="162363" y="698750"/>
                      </a:cubicBezTo>
                      <a:cubicBezTo>
                        <a:pt x="162245" y="697848"/>
                        <a:pt x="161297" y="696150"/>
                        <a:pt x="161133" y="694991"/>
                      </a:cubicBezTo>
                      <a:cubicBezTo>
                        <a:pt x="150639" y="699652"/>
                        <a:pt x="167387" y="703376"/>
                        <a:pt x="171755" y="702943"/>
                      </a:cubicBezTo>
                      <a:cubicBezTo>
                        <a:pt x="167609" y="707206"/>
                        <a:pt x="162843" y="702685"/>
                        <a:pt x="160594" y="709232"/>
                      </a:cubicBezTo>
                      <a:cubicBezTo>
                        <a:pt x="160079" y="705590"/>
                        <a:pt x="155628" y="702029"/>
                        <a:pt x="152068" y="703692"/>
                      </a:cubicBezTo>
                      <a:cubicBezTo>
                        <a:pt x="152724" y="703388"/>
                        <a:pt x="153520" y="710087"/>
                        <a:pt x="149597" y="712054"/>
                      </a:cubicBezTo>
                      <a:cubicBezTo>
                        <a:pt x="153860" y="711644"/>
                        <a:pt x="156905" y="714666"/>
                        <a:pt x="154656" y="717606"/>
                      </a:cubicBezTo>
                      <a:cubicBezTo>
                        <a:pt x="152267" y="720733"/>
                        <a:pt x="144069" y="718390"/>
                        <a:pt x="140942" y="717325"/>
                      </a:cubicBezTo>
                      <a:cubicBezTo>
                        <a:pt x="134559" y="715134"/>
                        <a:pt x="129687" y="712359"/>
                        <a:pt x="125752" y="706843"/>
                      </a:cubicBezTo>
                      <a:cubicBezTo>
                        <a:pt x="122426" y="702182"/>
                        <a:pt x="121068" y="695717"/>
                        <a:pt x="113853" y="699382"/>
                      </a:cubicBezTo>
                      <a:cubicBezTo>
                        <a:pt x="116008" y="701514"/>
                        <a:pt x="121138" y="706316"/>
                        <a:pt x="119498" y="709103"/>
                      </a:cubicBezTo>
                      <a:cubicBezTo>
                        <a:pt x="117472" y="712546"/>
                        <a:pt x="109719" y="708295"/>
                        <a:pt x="105948" y="709981"/>
                      </a:cubicBezTo>
                      <a:cubicBezTo>
                        <a:pt x="119756" y="711527"/>
                        <a:pt x="130168" y="715650"/>
                        <a:pt x="139912" y="726741"/>
                      </a:cubicBezTo>
                      <a:cubicBezTo>
                        <a:pt x="137440" y="727033"/>
                        <a:pt x="136574" y="728087"/>
                        <a:pt x="134559" y="728814"/>
                      </a:cubicBezTo>
                      <a:cubicBezTo>
                        <a:pt x="147337" y="729469"/>
                        <a:pt x="137558" y="751557"/>
                        <a:pt x="124382" y="742586"/>
                      </a:cubicBezTo>
                      <a:cubicBezTo>
                        <a:pt x="115317" y="736403"/>
                        <a:pt x="112483" y="733826"/>
                        <a:pt x="100526" y="732631"/>
                      </a:cubicBezTo>
                      <a:cubicBezTo>
                        <a:pt x="90067" y="731577"/>
                        <a:pt x="79621" y="730547"/>
                        <a:pt x="69162" y="729505"/>
                      </a:cubicBezTo>
                      <a:cubicBezTo>
                        <a:pt x="74924" y="734447"/>
                        <a:pt x="88720" y="733767"/>
                        <a:pt x="96427" y="735185"/>
                      </a:cubicBezTo>
                      <a:cubicBezTo>
                        <a:pt x="99577" y="735758"/>
                        <a:pt x="104133" y="734833"/>
                        <a:pt x="107166" y="735794"/>
                      </a:cubicBezTo>
                      <a:cubicBezTo>
                        <a:pt x="111499" y="737164"/>
                        <a:pt x="110551" y="737457"/>
                        <a:pt x="114134" y="740326"/>
                      </a:cubicBezTo>
                      <a:cubicBezTo>
                        <a:pt x="117601" y="743090"/>
                        <a:pt x="123972" y="747810"/>
                        <a:pt x="124581" y="751768"/>
                      </a:cubicBezTo>
                      <a:cubicBezTo>
                        <a:pt x="125717" y="759181"/>
                        <a:pt x="115575" y="759720"/>
                        <a:pt x="109544" y="761360"/>
                      </a:cubicBezTo>
                      <a:cubicBezTo>
                        <a:pt x="109825" y="762027"/>
                        <a:pt x="110281" y="762765"/>
                        <a:pt x="110621" y="763421"/>
                      </a:cubicBezTo>
                      <a:cubicBezTo>
                        <a:pt x="98980" y="761325"/>
                        <a:pt x="94764" y="759088"/>
                        <a:pt x="84891" y="753771"/>
                      </a:cubicBezTo>
                      <a:cubicBezTo>
                        <a:pt x="76107" y="749028"/>
                        <a:pt x="77009" y="753384"/>
                        <a:pt x="84563" y="757226"/>
                      </a:cubicBezTo>
                      <a:cubicBezTo>
                        <a:pt x="82431" y="757671"/>
                        <a:pt x="81776" y="758432"/>
                        <a:pt x="79152" y="757975"/>
                      </a:cubicBezTo>
                      <a:cubicBezTo>
                        <a:pt x="85266" y="760599"/>
                        <a:pt x="107670" y="763257"/>
                        <a:pt x="105608" y="773107"/>
                      </a:cubicBezTo>
                      <a:cubicBezTo>
                        <a:pt x="99776" y="774313"/>
                        <a:pt x="93710" y="787559"/>
                        <a:pt x="87139" y="787488"/>
                      </a:cubicBezTo>
                      <a:cubicBezTo>
                        <a:pt x="85219" y="787465"/>
                        <a:pt x="84094" y="782698"/>
                        <a:pt x="81260" y="782464"/>
                      </a:cubicBezTo>
                      <a:cubicBezTo>
                        <a:pt x="76962" y="782101"/>
                        <a:pt x="79621" y="785778"/>
                        <a:pt x="81694" y="786821"/>
                      </a:cubicBezTo>
                      <a:cubicBezTo>
                        <a:pt x="78262" y="788671"/>
                        <a:pt x="76904" y="791306"/>
                        <a:pt x="79902" y="793731"/>
                      </a:cubicBezTo>
                      <a:cubicBezTo>
                        <a:pt x="74327" y="796284"/>
                        <a:pt x="55764" y="791939"/>
                        <a:pt x="50248" y="790358"/>
                      </a:cubicBezTo>
                      <a:cubicBezTo>
                        <a:pt x="44908" y="788823"/>
                        <a:pt x="44873" y="788894"/>
                        <a:pt x="42308" y="783799"/>
                      </a:cubicBezTo>
                      <a:cubicBezTo>
                        <a:pt x="40387" y="779993"/>
                        <a:pt x="40223" y="771069"/>
                        <a:pt x="33442" y="775238"/>
                      </a:cubicBezTo>
                      <a:cubicBezTo>
                        <a:pt x="37213" y="776304"/>
                        <a:pt x="42109" y="782335"/>
                        <a:pt x="39181" y="785942"/>
                      </a:cubicBezTo>
                      <a:cubicBezTo>
                        <a:pt x="36663" y="789128"/>
                        <a:pt x="26848" y="784514"/>
                        <a:pt x="22410" y="784677"/>
                      </a:cubicBezTo>
                      <a:cubicBezTo>
                        <a:pt x="14528" y="784970"/>
                        <a:pt x="4749" y="787184"/>
                        <a:pt x="1388" y="778623"/>
                      </a:cubicBezTo>
                      <a:cubicBezTo>
                        <a:pt x="-1728" y="770659"/>
                        <a:pt x="1376" y="756066"/>
                        <a:pt x="1376" y="747365"/>
                      </a:cubicBezTo>
                      <a:lnTo>
                        <a:pt x="1376" y="747365"/>
                      </a:lnTo>
                      <a:close/>
                      <a:moveTo>
                        <a:pt x="2151624" y="392224"/>
                      </a:moveTo>
                      <a:cubicBezTo>
                        <a:pt x="2148040" y="394285"/>
                        <a:pt x="2144187" y="395304"/>
                        <a:pt x="2140615" y="397494"/>
                      </a:cubicBezTo>
                      <a:cubicBezTo>
                        <a:pt x="2141447" y="398267"/>
                        <a:pt x="2141728" y="399005"/>
                        <a:pt x="2142794" y="399755"/>
                      </a:cubicBezTo>
                      <a:cubicBezTo>
                        <a:pt x="2138859" y="404392"/>
                        <a:pt x="2135544" y="400598"/>
                        <a:pt x="2131000" y="400938"/>
                      </a:cubicBezTo>
                      <a:cubicBezTo>
                        <a:pt x="2124746" y="401418"/>
                        <a:pt x="2116689" y="405083"/>
                        <a:pt x="2110282" y="406477"/>
                      </a:cubicBezTo>
                      <a:cubicBezTo>
                        <a:pt x="2114651" y="402460"/>
                        <a:pt x="2119382" y="402636"/>
                        <a:pt x="2124207" y="399755"/>
                      </a:cubicBezTo>
                      <a:cubicBezTo>
                        <a:pt x="2117731" y="392599"/>
                        <a:pt x="2094109" y="408316"/>
                        <a:pt x="2086672" y="400563"/>
                      </a:cubicBezTo>
                      <a:cubicBezTo>
                        <a:pt x="2098852" y="391885"/>
                        <a:pt x="2115154" y="391849"/>
                        <a:pt x="2129349" y="387575"/>
                      </a:cubicBezTo>
                      <a:cubicBezTo>
                        <a:pt x="2133588" y="386298"/>
                        <a:pt x="2138519" y="385537"/>
                        <a:pt x="2142489" y="383605"/>
                      </a:cubicBezTo>
                      <a:cubicBezTo>
                        <a:pt x="2145054" y="382363"/>
                        <a:pt x="2147970" y="378053"/>
                        <a:pt x="2150851" y="378135"/>
                      </a:cubicBezTo>
                      <a:cubicBezTo>
                        <a:pt x="2161005" y="378393"/>
                        <a:pt x="2154903" y="388395"/>
                        <a:pt x="2151624" y="392224"/>
                      </a:cubicBezTo>
                      <a:lnTo>
                        <a:pt x="2151624" y="392224"/>
                      </a:lnTo>
                      <a:close/>
                      <a:moveTo>
                        <a:pt x="1800536" y="383171"/>
                      </a:moveTo>
                      <a:cubicBezTo>
                        <a:pt x="1794071" y="384436"/>
                        <a:pt x="1783847" y="387938"/>
                        <a:pt x="1777300" y="385068"/>
                      </a:cubicBezTo>
                      <a:cubicBezTo>
                        <a:pt x="1769114" y="381496"/>
                        <a:pt x="1766690" y="373884"/>
                        <a:pt x="1774794" y="368977"/>
                      </a:cubicBezTo>
                      <a:cubicBezTo>
                        <a:pt x="1778987" y="366424"/>
                        <a:pt x="1789996" y="365065"/>
                        <a:pt x="1794399" y="367396"/>
                      </a:cubicBezTo>
                      <a:cubicBezTo>
                        <a:pt x="1799704" y="370207"/>
                        <a:pt x="1805876" y="379084"/>
                        <a:pt x="1800536" y="383171"/>
                      </a:cubicBezTo>
                      <a:lnTo>
                        <a:pt x="1800536" y="383171"/>
                      </a:lnTo>
                      <a:close/>
                      <a:moveTo>
                        <a:pt x="2734038" y="271572"/>
                      </a:moveTo>
                      <a:cubicBezTo>
                        <a:pt x="2737856" y="273727"/>
                        <a:pt x="2737540" y="278142"/>
                        <a:pt x="2731649" y="281714"/>
                      </a:cubicBezTo>
                      <a:cubicBezTo>
                        <a:pt x="2722807" y="287090"/>
                        <a:pt x="2724611" y="279735"/>
                        <a:pt x="2722069" y="279243"/>
                      </a:cubicBezTo>
                      <a:cubicBezTo>
                        <a:pt x="2718415" y="278517"/>
                        <a:pt x="2715031" y="280602"/>
                        <a:pt x="2711166" y="280836"/>
                      </a:cubicBezTo>
                      <a:cubicBezTo>
                        <a:pt x="2705989" y="281152"/>
                        <a:pt x="2699735" y="279360"/>
                        <a:pt x="2694629" y="278693"/>
                      </a:cubicBezTo>
                      <a:cubicBezTo>
                        <a:pt x="2686080" y="277580"/>
                        <a:pt x="2677519" y="276479"/>
                        <a:pt x="2668969" y="275355"/>
                      </a:cubicBezTo>
                      <a:cubicBezTo>
                        <a:pt x="2676055" y="265763"/>
                        <a:pt x="2698037" y="270717"/>
                        <a:pt x="2707395" y="270717"/>
                      </a:cubicBezTo>
                      <a:cubicBezTo>
                        <a:pt x="2714726" y="270741"/>
                        <a:pt x="2727737" y="264545"/>
                        <a:pt x="2734038" y="271572"/>
                      </a:cubicBezTo>
                      <a:lnTo>
                        <a:pt x="2734038" y="271572"/>
                      </a:lnTo>
                      <a:close/>
                      <a:moveTo>
                        <a:pt x="2687426" y="256347"/>
                      </a:moveTo>
                      <a:cubicBezTo>
                        <a:pt x="2687778" y="261207"/>
                        <a:pt x="2685904" y="259415"/>
                        <a:pt x="2683117" y="260446"/>
                      </a:cubicBezTo>
                      <a:cubicBezTo>
                        <a:pt x="2682812" y="260563"/>
                        <a:pt x="2681840" y="257741"/>
                        <a:pt x="2680763" y="257799"/>
                      </a:cubicBezTo>
                      <a:cubicBezTo>
                        <a:pt x="2677882" y="257952"/>
                        <a:pt x="2674626" y="259732"/>
                        <a:pt x="2671838" y="260598"/>
                      </a:cubicBezTo>
                      <a:cubicBezTo>
                        <a:pt x="2673525" y="260915"/>
                        <a:pt x="2673970" y="261524"/>
                        <a:pt x="2676125" y="261442"/>
                      </a:cubicBezTo>
                      <a:cubicBezTo>
                        <a:pt x="2667025" y="268316"/>
                        <a:pt x="2657761" y="268492"/>
                        <a:pt x="2647888" y="265365"/>
                      </a:cubicBezTo>
                      <a:cubicBezTo>
                        <a:pt x="2649973" y="255492"/>
                        <a:pt x="2662270" y="262062"/>
                        <a:pt x="2668430" y="257108"/>
                      </a:cubicBezTo>
                      <a:cubicBezTo>
                        <a:pt x="2673033" y="253407"/>
                        <a:pt x="2672178" y="250081"/>
                        <a:pt x="2680563" y="251709"/>
                      </a:cubicBezTo>
                      <a:cubicBezTo>
                        <a:pt x="2683808" y="252342"/>
                        <a:pt x="2687743" y="254145"/>
                        <a:pt x="2687426" y="256347"/>
                      </a:cubicBezTo>
                      <a:lnTo>
                        <a:pt x="2687426" y="256347"/>
                      </a:lnTo>
                      <a:close/>
                      <a:moveTo>
                        <a:pt x="2488225" y="143987"/>
                      </a:moveTo>
                      <a:cubicBezTo>
                        <a:pt x="2486222" y="145568"/>
                        <a:pt x="2484548" y="147816"/>
                        <a:pt x="2482768" y="149643"/>
                      </a:cubicBezTo>
                      <a:cubicBezTo>
                        <a:pt x="2483318" y="150112"/>
                        <a:pt x="2483997" y="150124"/>
                        <a:pt x="2484536" y="150440"/>
                      </a:cubicBezTo>
                      <a:cubicBezTo>
                        <a:pt x="2482580" y="152829"/>
                        <a:pt x="2479758" y="154773"/>
                        <a:pt x="2478446" y="157584"/>
                      </a:cubicBezTo>
                      <a:cubicBezTo>
                        <a:pt x="2478762" y="156904"/>
                        <a:pt x="2480460" y="160699"/>
                        <a:pt x="2479922" y="162397"/>
                      </a:cubicBezTo>
                      <a:cubicBezTo>
                        <a:pt x="2479477" y="163791"/>
                        <a:pt x="2475799" y="166321"/>
                        <a:pt x="2475061" y="167656"/>
                      </a:cubicBezTo>
                      <a:cubicBezTo>
                        <a:pt x="2474675" y="168335"/>
                        <a:pt x="2476642" y="170373"/>
                        <a:pt x="2476033" y="171743"/>
                      </a:cubicBezTo>
                      <a:cubicBezTo>
                        <a:pt x="2472251" y="180210"/>
                        <a:pt x="2462940" y="186781"/>
                        <a:pt x="2459485" y="196501"/>
                      </a:cubicBezTo>
                      <a:cubicBezTo>
                        <a:pt x="2467062" y="192484"/>
                        <a:pt x="2472895" y="190235"/>
                        <a:pt x="2478341" y="183689"/>
                      </a:cubicBezTo>
                      <a:cubicBezTo>
                        <a:pt x="2484524" y="176240"/>
                        <a:pt x="2483892" y="170982"/>
                        <a:pt x="2493097" y="168909"/>
                      </a:cubicBezTo>
                      <a:cubicBezTo>
                        <a:pt x="2498625" y="167667"/>
                        <a:pt x="2501541" y="168066"/>
                        <a:pt x="2507057" y="165583"/>
                      </a:cubicBezTo>
                      <a:cubicBezTo>
                        <a:pt x="2509247" y="164611"/>
                        <a:pt x="2505722" y="164529"/>
                        <a:pt x="2508720" y="163264"/>
                      </a:cubicBezTo>
                      <a:cubicBezTo>
                        <a:pt x="2510899" y="162350"/>
                        <a:pt x="2514236" y="163779"/>
                        <a:pt x="2515993" y="162807"/>
                      </a:cubicBezTo>
                      <a:cubicBezTo>
                        <a:pt x="2519553" y="160840"/>
                        <a:pt x="2519799" y="153813"/>
                        <a:pt x="2525585" y="156869"/>
                      </a:cubicBezTo>
                      <a:cubicBezTo>
                        <a:pt x="2524859" y="157841"/>
                        <a:pt x="2524250" y="159106"/>
                        <a:pt x="2523477" y="159973"/>
                      </a:cubicBezTo>
                      <a:cubicBezTo>
                        <a:pt x="2528806" y="160067"/>
                        <a:pt x="2539334" y="156108"/>
                        <a:pt x="2543750" y="161027"/>
                      </a:cubicBezTo>
                      <a:cubicBezTo>
                        <a:pt x="2545986" y="163522"/>
                        <a:pt x="2545424" y="166672"/>
                        <a:pt x="2542766" y="168745"/>
                      </a:cubicBezTo>
                      <a:cubicBezTo>
                        <a:pt x="2547848" y="169998"/>
                        <a:pt x="2546068" y="174507"/>
                        <a:pt x="2547848" y="175444"/>
                      </a:cubicBezTo>
                      <a:cubicBezTo>
                        <a:pt x="2551866" y="177575"/>
                        <a:pt x="2558178" y="175385"/>
                        <a:pt x="2562394" y="177130"/>
                      </a:cubicBezTo>
                      <a:cubicBezTo>
                        <a:pt x="2569843" y="180222"/>
                        <a:pt x="2567711" y="186043"/>
                        <a:pt x="2571400" y="189275"/>
                      </a:cubicBezTo>
                      <a:cubicBezTo>
                        <a:pt x="2569761" y="192344"/>
                        <a:pt x="2566587" y="192707"/>
                        <a:pt x="2563144" y="192496"/>
                      </a:cubicBezTo>
                      <a:cubicBezTo>
                        <a:pt x="2566388" y="192882"/>
                        <a:pt x="2577127" y="192121"/>
                        <a:pt x="2578216" y="195927"/>
                      </a:cubicBezTo>
                      <a:cubicBezTo>
                        <a:pt x="2578978" y="198609"/>
                        <a:pt x="2576577" y="201092"/>
                        <a:pt x="2574211" y="201924"/>
                      </a:cubicBezTo>
                      <a:cubicBezTo>
                        <a:pt x="2578755" y="202392"/>
                        <a:pt x="2586555" y="199230"/>
                        <a:pt x="2581718" y="194065"/>
                      </a:cubicBezTo>
                      <a:cubicBezTo>
                        <a:pt x="2587117" y="191149"/>
                        <a:pt x="2596041" y="192355"/>
                        <a:pt x="2601195" y="195330"/>
                      </a:cubicBezTo>
                      <a:cubicBezTo>
                        <a:pt x="2607484" y="198961"/>
                        <a:pt x="2606828" y="203645"/>
                        <a:pt x="2608948" y="208342"/>
                      </a:cubicBezTo>
                      <a:cubicBezTo>
                        <a:pt x="2610786" y="212405"/>
                        <a:pt x="2612180" y="217242"/>
                        <a:pt x="2613667" y="220861"/>
                      </a:cubicBezTo>
                      <a:cubicBezTo>
                        <a:pt x="2615284" y="224773"/>
                        <a:pt x="2619043" y="223203"/>
                        <a:pt x="2615951" y="229504"/>
                      </a:cubicBezTo>
                      <a:cubicBezTo>
                        <a:pt x="2612964" y="235594"/>
                        <a:pt x="2603549" y="239424"/>
                        <a:pt x="2597740" y="243593"/>
                      </a:cubicBezTo>
                      <a:cubicBezTo>
                        <a:pt x="2590537" y="248770"/>
                        <a:pt x="2587246" y="250737"/>
                        <a:pt x="2579985" y="251007"/>
                      </a:cubicBezTo>
                      <a:cubicBezTo>
                        <a:pt x="2566318" y="251510"/>
                        <a:pt x="2554852" y="253946"/>
                        <a:pt x="2541372" y="258408"/>
                      </a:cubicBezTo>
                      <a:cubicBezTo>
                        <a:pt x="2530843" y="261887"/>
                        <a:pt x="2520455" y="260938"/>
                        <a:pt x="2509575" y="261512"/>
                      </a:cubicBezTo>
                      <a:cubicBezTo>
                        <a:pt x="2501155" y="261945"/>
                        <a:pt x="2491457" y="259638"/>
                        <a:pt x="2484829" y="265377"/>
                      </a:cubicBezTo>
                      <a:cubicBezTo>
                        <a:pt x="2485168" y="265880"/>
                        <a:pt x="2485895" y="266278"/>
                        <a:pt x="2486246" y="266782"/>
                      </a:cubicBezTo>
                      <a:cubicBezTo>
                        <a:pt x="2483178" y="270155"/>
                        <a:pt x="2478364" y="270459"/>
                        <a:pt x="2474113" y="271560"/>
                      </a:cubicBezTo>
                      <a:cubicBezTo>
                        <a:pt x="2482721" y="257694"/>
                        <a:pt x="2445572" y="269066"/>
                        <a:pt x="2441555" y="269124"/>
                      </a:cubicBezTo>
                      <a:cubicBezTo>
                        <a:pt x="2439271" y="269148"/>
                        <a:pt x="2440419" y="266431"/>
                        <a:pt x="2439002" y="266384"/>
                      </a:cubicBezTo>
                      <a:cubicBezTo>
                        <a:pt x="2434212" y="266232"/>
                        <a:pt x="2429211" y="267555"/>
                        <a:pt x="2424397" y="268023"/>
                      </a:cubicBezTo>
                      <a:cubicBezTo>
                        <a:pt x="2416340" y="268820"/>
                        <a:pt x="2405893" y="266033"/>
                        <a:pt x="2398445" y="268293"/>
                      </a:cubicBezTo>
                      <a:cubicBezTo>
                        <a:pt x="2390703" y="270647"/>
                        <a:pt x="2383653" y="276994"/>
                        <a:pt x="2375431" y="279852"/>
                      </a:cubicBezTo>
                      <a:cubicBezTo>
                        <a:pt x="2367304" y="282675"/>
                        <a:pt x="2360359" y="286001"/>
                        <a:pt x="2352289" y="288425"/>
                      </a:cubicBezTo>
                      <a:cubicBezTo>
                        <a:pt x="2342651" y="291318"/>
                        <a:pt x="2336069" y="295663"/>
                        <a:pt x="2325751" y="295101"/>
                      </a:cubicBezTo>
                      <a:cubicBezTo>
                        <a:pt x="2320352" y="294808"/>
                        <a:pt x="2317295" y="295862"/>
                        <a:pt x="2312552" y="296026"/>
                      </a:cubicBezTo>
                      <a:cubicBezTo>
                        <a:pt x="2308933" y="296155"/>
                        <a:pt x="2306614" y="293672"/>
                        <a:pt x="2302551" y="294679"/>
                      </a:cubicBezTo>
                      <a:cubicBezTo>
                        <a:pt x="2308149" y="290697"/>
                        <a:pt x="2300524" y="287793"/>
                        <a:pt x="2297187" y="285450"/>
                      </a:cubicBezTo>
                      <a:cubicBezTo>
                        <a:pt x="2303288" y="281257"/>
                        <a:pt x="2306697" y="280590"/>
                        <a:pt x="2311135" y="273832"/>
                      </a:cubicBezTo>
                      <a:cubicBezTo>
                        <a:pt x="2312201" y="272216"/>
                        <a:pt x="2312892" y="270659"/>
                        <a:pt x="2314660" y="268433"/>
                      </a:cubicBezTo>
                      <a:cubicBezTo>
                        <a:pt x="2316370" y="266267"/>
                        <a:pt x="2319357" y="262753"/>
                        <a:pt x="2322273" y="260516"/>
                      </a:cubicBezTo>
                      <a:cubicBezTo>
                        <a:pt x="2325728" y="257870"/>
                        <a:pt x="2336666" y="253232"/>
                        <a:pt x="2337744" y="250398"/>
                      </a:cubicBezTo>
                      <a:cubicBezTo>
                        <a:pt x="2338200" y="249226"/>
                        <a:pt x="2335401" y="247013"/>
                        <a:pt x="2335917" y="244881"/>
                      </a:cubicBezTo>
                      <a:cubicBezTo>
                        <a:pt x="2336655" y="241836"/>
                        <a:pt x="2337697" y="243254"/>
                        <a:pt x="2339266" y="240501"/>
                      </a:cubicBezTo>
                      <a:cubicBezTo>
                        <a:pt x="2342206" y="235337"/>
                        <a:pt x="2348987" y="227958"/>
                        <a:pt x="2350111" y="221974"/>
                      </a:cubicBezTo>
                      <a:cubicBezTo>
                        <a:pt x="2350415" y="220287"/>
                        <a:pt x="2348015" y="216926"/>
                        <a:pt x="2348635" y="214537"/>
                      </a:cubicBezTo>
                      <a:cubicBezTo>
                        <a:pt x="2348870" y="213670"/>
                        <a:pt x="2355100" y="205215"/>
                        <a:pt x="2356306" y="203985"/>
                      </a:cubicBezTo>
                      <a:cubicBezTo>
                        <a:pt x="2367995" y="192062"/>
                        <a:pt x="2384953" y="209548"/>
                        <a:pt x="2396161" y="203575"/>
                      </a:cubicBezTo>
                      <a:cubicBezTo>
                        <a:pt x="2392413" y="198996"/>
                        <a:pt x="2388209" y="202240"/>
                        <a:pt x="2383477" y="200471"/>
                      </a:cubicBezTo>
                      <a:cubicBezTo>
                        <a:pt x="2378652" y="198668"/>
                        <a:pt x="2380690" y="198808"/>
                        <a:pt x="2378781" y="195482"/>
                      </a:cubicBezTo>
                      <a:cubicBezTo>
                        <a:pt x="2375267" y="189357"/>
                        <a:pt x="2376872" y="187565"/>
                        <a:pt x="2381229" y="181909"/>
                      </a:cubicBezTo>
                      <a:cubicBezTo>
                        <a:pt x="2384075" y="178231"/>
                        <a:pt x="2385656" y="172856"/>
                        <a:pt x="2391523" y="172071"/>
                      </a:cubicBezTo>
                      <a:cubicBezTo>
                        <a:pt x="2400599" y="170853"/>
                        <a:pt x="2411444" y="181101"/>
                        <a:pt x="2420134" y="177528"/>
                      </a:cubicBezTo>
                      <a:cubicBezTo>
                        <a:pt x="2408575" y="177025"/>
                        <a:pt x="2398292" y="170783"/>
                        <a:pt x="2386874" y="168745"/>
                      </a:cubicBezTo>
                      <a:cubicBezTo>
                        <a:pt x="2390703" y="161636"/>
                        <a:pt x="2387928" y="159914"/>
                        <a:pt x="2397695" y="158942"/>
                      </a:cubicBezTo>
                      <a:cubicBezTo>
                        <a:pt x="2396161" y="158474"/>
                        <a:pt x="2395411" y="157513"/>
                        <a:pt x="2394064" y="156869"/>
                      </a:cubicBezTo>
                      <a:cubicBezTo>
                        <a:pt x="2395973" y="154597"/>
                        <a:pt x="2397976" y="152068"/>
                        <a:pt x="2400635" y="150381"/>
                      </a:cubicBezTo>
                      <a:cubicBezTo>
                        <a:pt x="2406069" y="146938"/>
                        <a:pt x="2411573" y="149690"/>
                        <a:pt x="2416574" y="146481"/>
                      </a:cubicBezTo>
                      <a:cubicBezTo>
                        <a:pt x="2416515" y="143963"/>
                        <a:pt x="2416269" y="142195"/>
                        <a:pt x="2415122" y="140907"/>
                      </a:cubicBezTo>
                      <a:cubicBezTo>
                        <a:pt x="2415145" y="135109"/>
                        <a:pt x="2421259" y="132111"/>
                        <a:pt x="2427021" y="133154"/>
                      </a:cubicBezTo>
                      <a:cubicBezTo>
                        <a:pt x="2432736" y="134184"/>
                        <a:pt x="2433696" y="137873"/>
                        <a:pt x="2437819" y="142078"/>
                      </a:cubicBezTo>
                      <a:cubicBezTo>
                        <a:pt x="2438357" y="142628"/>
                        <a:pt x="2437210" y="144678"/>
                        <a:pt x="2437514" y="144888"/>
                      </a:cubicBezTo>
                      <a:cubicBezTo>
                        <a:pt x="2439119" y="146048"/>
                        <a:pt x="2440407" y="144818"/>
                        <a:pt x="2442304" y="145685"/>
                      </a:cubicBezTo>
                      <a:cubicBezTo>
                        <a:pt x="2444576" y="146715"/>
                        <a:pt x="2452739" y="149374"/>
                        <a:pt x="2453383" y="146481"/>
                      </a:cubicBezTo>
                      <a:cubicBezTo>
                        <a:pt x="2453547" y="145779"/>
                        <a:pt x="2446298" y="138564"/>
                        <a:pt x="2447059" y="134243"/>
                      </a:cubicBezTo>
                      <a:cubicBezTo>
                        <a:pt x="2449636" y="119615"/>
                        <a:pt x="2469943" y="128153"/>
                        <a:pt x="2478891" y="130788"/>
                      </a:cubicBezTo>
                      <a:cubicBezTo>
                        <a:pt x="2482568" y="131877"/>
                        <a:pt x="2485274" y="133025"/>
                        <a:pt x="2487651" y="134055"/>
                      </a:cubicBezTo>
                      <a:cubicBezTo>
                        <a:pt x="2488506" y="134418"/>
                        <a:pt x="2497793" y="137838"/>
                        <a:pt x="2497993" y="138037"/>
                      </a:cubicBezTo>
                      <a:cubicBezTo>
                        <a:pt x="2502923" y="143132"/>
                        <a:pt x="2491762" y="143261"/>
                        <a:pt x="2488225" y="143987"/>
                      </a:cubicBezTo>
                      <a:lnTo>
                        <a:pt x="2488225" y="143987"/>
                      </a:lnTo>
                      <a:close/>
                      <a:moveTo>
                        <a:pt x="1097961" y="100654"/>
                      </a:moveTo>
                      <a:cubicBezTo>
                        <a:pt x="1095490" y="100759"/>
                        <a:pt x="1093288" y="101626"/>
                        <a:pt x="1090806" y="101450"/>
                      </a:cubicBezTo>
                      <a:cubicBezTo>
                        <a:pt x="1094167" y="107704"/>
                        <a:pt x="1100046" y="104683"/>
                        <a:pt x="1104918" y="103383"/>
                      </a:cubicBezTo>
                      <a:cubicBezTo>
                        <a:pt x="1110176" y="101977"/>
                        <a:pt x="1112285" y="101673"/>
                        <a:pt x="1119698" y="103336"/>
                      </a:cubicBezTo>
                      <a:cubicBezTo>
                        <a:pt x="1131667" y="106006"/>
                        <a:pt x="1143636" y="108700"/>
                        <a:pt x="1155605" y="111382"/>
                      </a:cubicBezTo>
                      <a:cubicBezTo>
                        <a:pt x="1168921" y="114357"/>
                        <a:pt x="1171463" y="118034"/>
                        <a:pt x="1156051" y="118725"/>
                      </a:cubicBezTo>
                      <a:cubicBezTo>
                        <a:pt x="1144667" y="119240"/>
                        <a:pt x="1127311" y="123351"/>
                        <a:pt x="1116911" y="119252"/>
                      </a:cubicBezTo>
                      <a:cubicBezTo>
                        <a:pt x="1127287" y="112576"/>
                        <a:pt x="1104040" y="111885"/>
                        <a:pt x="1100960" y="111276"/>
                      </a:cubicBezTo>
                      <a:cubicBezTo>
                        <a:pt x="1097001" y="110503"/>
                        <a:pt x="1086250" y="108817"/>
                        <a:pt x="1086203" y="102540"/>
                      </a:cubicBezTo>
                      <a:cubicBezTo>
                        <a:pt x="1086168" y="96649"/>
                        <a:pt x="1094448" y="98382"/>
                        <a:pt x="1097961" y="100654"/>
                      </a:cubicBezTo>
                      <a:lnTo>
                        <a:pt x="1097961" y="100654"/>
                      </a:lnTo>
                      <a:close/>
                      <a:moveTo>
                        <a:pt x="1860815" y="49908"/>
                      </a:moveTo>
                      <a:cubicBezTo>
                        <a:pt x="1869376" y="50915"/>
                        <a:pt x="1877937" y="51922"/>
                        <a:pt x="1886498" y="52930"/>
                      </a:cubicBezTo>
                      <a:cubicBezTo>
                        <a:pt x="1895364" y="53984"/>
                        <a:pt x="1902426" y="51196"/>
                        <a:pt x="1910718" y="52016"/>
                      </a:cubicBezTo>
                      <a:cubicBezTo>
                        <a:pt x="1919385" y="52871"/>
                        <a:pt x="1930592" y="53199"/>
                        <a:pt x="1938978" y="54979"/>
                      </a:cubicBezTo>
                      <a:cubicBezTo>
                        <a:pt x="1947551" y="56818"/>
                        <a:pt x="1953969" y="60847"/>
                        <a:pt x="1963115" y="61924"/>
                      </a:cubicBezTo>
                      <a:cubicBezTo>
                        <a:pt x="1971173" y="62873"/>
                        <a:pt x="2010992" y="62720"/>
                        <a:pt x="2012550" y="70743"/>
                      </a:cubicBezTo>
                      <a:cubicBezTo>
                        <a:pt x="2013896" y="77711"/>
                        <a:pt x="1979102" y="90125"/>
                        <a:pt x="1973281" y="92269"/>
                      </a:cubicBezTo>
                      <a:cubicBezTo>
                        <a:pt x="1954203" y="99331"/>
                        <a:pt x="1933860" y="97094"/>
                        <a:pt x="1913997" y="96696"/>
                      </a:cubicBezTo>
                      <a:cubicBezTo>
                        <a:pt x="1914079" y="96602"/>
                        <a:pt x="1916293" y="95150"/>
                        <a:pt x="1916527" y="95009"/>
                      </a:cubicBezTo>
                      <a:cubicBezTo>
                        <a:pt x="1916082" y="94751"/>
                        <a:pt x="1914021" y="93721"/>
                        <a:pt x="1913693" y="93393"/>
                      </a:cubicBezTo>
                      <a:cubicBezTo>
                        <a:pt x="1918928" y="90266"/>
                        <a:pt x="1934047" y="93920"/>
                        <a:pt x="1935968" y="90863"/>
                      </a:cubicBezTo>
                      <a:cubicBezTo>
                        <a:pt x="1940899" y="83028"/>
                        <a:pt x="1910507" y="80065"/>
                        <a:pt x="1907649" y="79808"/>
                      </a:cubicBezTo>
                      <a:cubicBezTo>
                        <a:pt x="1897261" y="78859"/>
                        <a:pt x="1885983" y="79023"/>
                        <a:pt x="1875759" y="76915"/>
                      </a:cubicBezTo>
                      <a:cubicBezTo>
                        <a:pt x="1860569" y="73788"/>
                        <a:pt x="1876942" y="72382"/>
                        <a:pt x="1881474" y="68283"/>
                      </a:cubicBezTo>
                      <a:cubicBezTo>
                        <a:pt x="1877656" y="64091"/>
                        <a:pt x="1871613" y="65180"/>
                        <a:pt x="1866823" y="62603"/>
                      </a:cubicBezTo>
                      <a:cubicBezTo>
                        <a:pt x="1872503" y="62580"/>
                        <a:pt x="1878043" y="59839"/>
                        <a:pt x="1873358" y="54300"/>
                      </a:cubicBezTo>
                      <a:cubicBezTo>
                        <a:pt x="1870465" y="50880"/>
                        <a:pt x="1862876" y="52613"/>
                        <a:pt x="1858953" y="51220"/>
                      </a:cubicBezTo>
                      <a:cubicBezTo>
                        <a:pt x="1859574" y="50786"/>
                        <a:pt x="1860194" y="50353"/>
                        <a:pt x="1860815" y="49908"/>
                      </a:cubicBezTo>
                      <a:lnTo>
                        <a:pt x="1860815" y="49908"/>
                      </a:lnTo>
                      <a:close/>
                      <a:moveTo>
                        <a:pt x="235185" y="63458"/>
                      </a:moveTo>
                      <a:cubicBezTo>
                        <a:pt x="230055" y="64676"/>
                        <a:pt x="222864" y="65660"/>
                        <a:pt x="219409" y="66164"/>
                      </a:cubicBezTo>
                      <a:cubicBezTo>
                        <a:pt x="215135" y="66773"/>
                        <a:pt x="211188" y="69150"/>
                        <a:pt x="205765" y="65859"/>
                      </a:cubicBezTo>
                      <a:cubicBezTo>
                        <a:pt x="206164" y="65285"/>
                        <a:pt x="206820" y="64887"/>
                        <a:pt x="207171" y="64231"/>
                      </a:cubicBezTo>
                      <a:cubicBezTo>
                        <a:pt x="203130" y="63868"/>
                        <a:pt x="183478" y="58774"/>
                        <a:pt x="185177" y="54230"/>
                      </a:cubicBezTo>
                      <a:cubicBezTo>
                        <a:pt x="186559" y="50540"/>
                        <a:pt x="211434" y="47378"/>
                        <a:pt x="216353" y="46184"/>
                      </a:cubicBezTo>
                      <a:cubicBezTo>
                        <a:pt x="222642" y="44661"/>
                        <a:pt x="235747" y="43689"/>
                        <a:pt x="240350" y="49639"/>
                      </a:cubicBezTo>
                      <a:cubicBezTo>
                        <a:pt x="243266" y="53421"/>
                        <a:pt x="238558" y="57005"/>
                        <a:pt x="245081" y="59277"/>
                      </a:cubicBezTo>
                      <a:cubicBezTo>
                        <a:pt x="241486" y="60015"/>
                        <a:pt x="238370" y="61596"/>
                        <a:pt x="235185" y="63458"/>
                      </a:cubicBezTo>
                      <a:lnTo>
                        <a:pt x="235185" y="63458"/>
                      </a:lnTo>
                      <a:close/>
                      <a:moveTo>
                        <a:pt x="2219293" y="43010"/>
                      </a:moveTo>
                      <a:cubicBezTo>
                        <a:pt x="2222959" y="42495"/>
                        <a:pt x="2235116" y="52332"/>
                        <a:pt x="2234940" y="53421"/>
                      </a:cubicBezTo>
                      <a:cubicBezTo>
                        <a:pt x="2234073" y="58703"/>
                        <a:pt x="2226660" y="56841"/>
                        <a:pt x="2223896" y="58703"/>
                      </a:cubicBezTo>
                      <a:cubicBezTo>
                        <a:pt x="2221823" y="60109"/>
                        <a:pt x="2223615" y="63318"/>
                        <a:pt x="2218977" y="65039"/>
                      </a:cubicBezTo>
                      <a:cubicBezTo>
                        <a:pt x="2220019" y="65402"/>
                        <a:pt x="2220968" y="66246"/>
                        <a:pt x="2222163" y="66597"/>
                      </a:cubicBezTo>
                      <a:cubicBezTo>
                        <a:pt x="2220453" y="71762"/>
                        <a:pt x="2214433" y="75322"/>
                        <a:pt x="2209268" y="75638"/>
                      </a:cubicBezTo>
                      <a:cubicBezTo>
                        <a:pt x="2210802" y="76481"/>
                        <a:pt x="2211903" y="78086"/>
                        <a:pt x="2213227" y="78871"/>
                      </a:cubicBezTo>
                      <a:cubicBezTo>
                        <a:pt x="2210498" y="79081"/>
                        <a:pt x="2208144" y="79819"/>
                        <a:pt x="2206048" y="81307"/>
                      </a:cubicBezTo>
                      <a:cubicBezTo>
                        <a:pt x="2207757" y="81599"/>
                        <a:pt x="2210018" y="83473"/>
                        <a:pt x="2211774" y="83743"/>
                      </a:cubicBezTo>
                      <a:cubicBezTo>
                        <a:pt x="2206446" y="90512"/>
                        <a:pt x="2193949" y="87408"/>
                        <a:pt x="2188890" y="93405"/>
                      </a:cubicBezTo>
                      <a:cubicBezTo>
                        <a:pt x="2192497" y="95372"/>
                        <a:pt x="2210779" y="89376"/>
                        <a:pt x="2213660" y="87303"/>
                      </a:cubicBezTo>
                      <a:cubicBezTo>
                        <a:pt x="2216096" y="85558"/>
                        <a:pt x="2215042" y="83016"/>
                        <a:pt x="2216611" y="81763"/>
                      </a:cubicBezTo>
                      <a:cubicBezTo>
                        <a:pt x="2218602" y="80182"/>
                        <a:pt x="2223006" y="79562"/>
                        <a:pt x="2224505" y="77711"/>
                      </a:cubicBezTo>
                      <a:cubicBezTo>
                        <a:pt x="2226484" y="75275"/>
                        <a:pt x="2223966" y="72839"/>
                        <a:pt x="2225465" y="71445"/>
                      </a:cubicBezTo>
                      <a:cubicBezTo>
                        <a:pt x="2229049" y="68119"/>
                        <a:pt x="2234799" y="70485"/>
                        <a:pt x="2238711" y="71258"/>
                      </a:cubicBezTo>
                      <a:cubicBezTo>
                        <a:pt x="2240362" y="71574"/>
                        <a:pt x="2259979" y="75228"/>
                        <a:pt x="2252905" y="68283"/>
                      </a:cubicBezTo>
                      <a:cubicBezTo>
                        <a:pt x="2253714" y="67639"/>
                        <a:pt x="2260073" y="62650"/>
                        <a:pt x="2260108" y="62404"/>
                      </a:cubicBezTo>
                      <a:cubicBezTo>
                        <a:pt x="2260518" y="59031"/>
                        <a:pt x="2250153" y="58762"/>
                        <a:pt x="2256934" y="53304"/>
                      </a:cubicBezTo>
                      <a:cubicBezTo>
                        <a:pt x="2261092" y="49955"/>
                        <a:pt x="2267627" y="53831"/>
                        <a:pt x="2272510" y="54042"/>
                      </a:cubicBezTo>
                      <a:cubicBezTo>
                        <a:pt x="2279350" y="54347"/>
                        <a:pt x="2290370" y="49990"/>
                        <a:pt x="2296144" y="54405"/>
                      </a:cubicBezTo>
                      <a:cubicBezTo>
                        <a:pt x="2294633" y="54979"/>
                        <a:pt x="2293111" y="56431"/>
                        <a:pt x="2291483" y="56841"/>
                      </a:cubicBezTo>
                      <a:cubicBezTo>
                        <a:pt x="2295418" y="57954"/>
                        <a:pt x="2304108" y="53866"/>
                        <a:pt x="2301497" y="60085"/>
                      </a:cubicBezTo>
                      <a:cubicBezTo>
                        <a:pt x="2304752" y="61983"/>
                        <a:pt x="2308805" y="62018"/>
                        <a:pt x="2312587" y="62592"/>
                      </a:cubicBezTo>
                      <a:cubicBezTo>
                        <a:pt x="2311346" y="63271"/>
                        <a:pt x="2310713" y="63751"/>
                        <a:pt x="2309390" y="64208"/>
                      </a:cubicBezTo>
                      <a:cubicBezTo>
                        <a:pt x="2312353" y="67944"/>
                        <a:pt x="2317377" y="65719"/>
                        <a:pt x="2321558" y="67791"/>
                      </a:cubicBezTo>
                      <a:cubicBezTo>
                        <a:pt x="2324451" y="69220"/>
                        <a:pt x="2324568" y="71094"/>
                        <a:pt x="2326407" y="72464"/>
                      </a:cubicBezTo>
                      <a:cubicBezTo>
                        <a:pt x="2328117" y="73741"/>
                        <a:pt x="2331654" y="75287"/>
                        <a:pt x="2332989" y="76692"/>
                      </a:cubicBezTo>
                      <a:cubicBezTo>
                        <a:pt x="2336034" y="79901"/>
                        <a:pt x="2334769" y="82946"/>
                        <a:pt x="2339395" y="84434"/>
                      </a:cubicBezTo>
                      <a:cubicBezTo>
                        <a:pt x="2336268" y="89306"/>
                        <a:pt x="2330506" y="88088"/>
                        <a:pt x="2325845" y="89294"/>
                      </a:cubicBezTo>
                      <a:cubicBezTo>
                        <a:pt x="2333235" y="93475"/>
                        <a:pt x="2325084" y="100033"/>
                        <a:pt x="2323163" y="104261"/>
                      </a:cubicBezTo>
                      <a:cubicBezTo>
                        <a:pt x="2321617" y="107681"/>
                        <a:pt x="2321359" y="108957"/>
                        <a:pt x="2321055" y="111569"/>
                      </a:cubicBezTo>
                      <a:cubicBezTo>
                        <a:pt x="2320938" y="112623"/>
                        <a:pt x="2324287" y="113947"/>
                        <a:pt x="2324088" y="115504"/>
                      </a:cubicBezTo>
                      <a:cubicBezTo>
                        <a:pt x="2323830" y="117448"/>
                        <a:pt x="2319837" y="117811"/>
                        <a:pt x="2319450" y="119896"/>
                      </a:cubicBezTo>
                      <a:cubicBezTo>
                        <a:pt x="2318490" y="124944"/>
                        <a:pt x="2322484" y="131327"/>
                        <a:pt x="2321371" y="134606"/>
                      </a:cubicBezTo>
                      <a:cubicBezTo>
                        <a:pt x="2319075" y="141434"/>
                        <a:pt x="2308137" y="143284"/>
                        <a:pt x="2307224" y="147254"/>
                      </a:cubicBezTo>
                      <a:cubicBezTo>
                        <a:pt x="2302597" y="142979"/>
                        <a:pt x="2290874" y="137370"/>
                        <a:pt x="2285030" y="141609"/>
                      </a:cubicBezTo>
                      <a:cubicBezTo>
                        <a:pt x="2291952" y="150229"/>
                        <a:pt x="2307692" y="149386"/>
                        <a:pt x="2315082" y="157572"/>
                      </a:cubicBezTo>
                      <a:cubicBezTo>
                        <a:pt x="2312623" y="158556"/>
                        <a:pt x="2311885" y="159680"/>
                        <a:pt x="2308676" y="159165"/>
                      </a:cubicBezTo>
                      <a:cubicBezTo>
                        <a:pt x="2313723" y="167058"/>
                        <a:pt x="2324439" y="160582"/>
                        <a:pt x="2329030" y="170150"/>
                      </a:cubicBezTo>
                      <a:cubicBezTo>
                        <a:pt x="2328632" y="169307"/>
                        <a:pt x="2332310" y="180773"/>
                        <a:pt x="2332567" y="179449"/>
                      </a:cubicBezTo>
                      <a:cubicBezTo>
                        <a:pt x="2331466" y="185164"/>
                        <a:pt x="2323643" y="185305"/>
                        <a:pt x="2319497" y="187577"/>
                      </a:cubicBezTo>
                      <a:cubicBezTo>
                        <a:pt x="2315562" y="189732"/>
                        <a:pt x="2312611" y="193878"/>
                        <a:pt x="2307809" y="195353"/>
                      </a:cubicBezTo>
                      <a:cubicBezTo>
                        <a:pt x="2302187" y="197075"/>
                        <a:pt x="2296788" y="195459"/>
                        <a:pt x="2290956" y="195951"/>
                      </a:cubicBezTo>
                      <a:cubicBezTo>
                        <a:pt x="2286834" y="196290"/>
                        <a:pt x="2282840" y="197907"/>
                        <a:pt x="2278718" y="198188"/>
                      </a:cubicBezTo>
                      <a:cubicBezTo>
                        <a:pt x="2272909" y="198598"/>
                        <a:pt x="2265062" y="195189"/>
                        <a:pt x="2260026" y="198785"/>
                      </a:cubicBezTo>
                      <a:cubicBezTo>
                        <a:pt x="2260881" y="199324"/>
                        <a:pt x="2261630" y="199289"/>
                        <a:pt x="2262497" y="199933"/>
                      </a:cubicBezTo>
                      <a:cubicBezTo>
                        <a:pt x="2254440" y="205074"/>
                        <a:pt x="2244450" y="196853"/>
                        <a:pt x="2235736" y="198059"/>
                      </a:cubicBezTo>
                      <a:cubicBezTo>
                        <a:pt x="2236205" y="197778"/>
                        <a:pt x="2236685" y="197497"/>
                        <a:pt x="2237153" y="197204"/>
                      </a:cubicBezTo>
                      <a:cubicBezTo>
                        <a:pt x="2233007" y="195435"/>
                        <a:pt x="2223111" y="198141"/>
                        <a:pt x="2218438" y="197590"/>
                      </a:cubicBezTo>
                      <a:cubicBezTo>
                        <a:pt x="2214222" y="197087"/>
                        <a:pt x="2203213" y="198152"/>
                        <a:pt x="2199993" y="195635"/>
                      </a:cubicBezTo>
                      <a:cubicBezTo>
                        <a:pt x="2203776" y="194206"/>
                        <a:pt x="2206938" y="196337"/>
                        <a:pt x="2210357" y="194065"/>
                      </a:cubicBezTo>
                      <a:cubicBezTo>
                        <a:pt x="2204560" y="191348"/>
                        <a:pt x="2194910" y="192308"/>
                        <a:pt x="2190401" y="190692"/>
                      </a:cubicBezTo>
                      <a:cubicBezTo>
                        <a:pt x="2183854" y="188350"/>
                        <a:pt x="2177471" y="182799"/>
                        <a:pt x="2170655" y="182237"/>
                      </a:cubicBezTo>
                      <a:cubicBezTo>
                        <a:pt x="2175363" y="175116"/>
                        <a:pt x="2146038" y="176744"/>
                        <a:pt x="2141353" y="176638"/>
                      </a:cubicBezTo>
                      <a:cubicBezTo>
                        <a:pt x="2143895" y="175830"/>
                        <a:pt x="2144211" y="174765"/>
                        <a:pt x="2146003" y="173476"/>
                      </a:cubicBezTo>
                      <a:cubicBezTo>
                        <a:pt x="2141259" y="174167"/>
                        <a:pt x="2100129" y="182963"/>
                        <a:pt x="2109521" y="167937"/>
                      </a:cubicBezTo>
                      <a:cubicBezTo>
                        <a:pt x="2104883" y="167187"/>
                        <a:pt x="2103759" y="163205"/>
                        <a:pt x="2098946" y="163053"/>
                      </a:cubicBezTo>
                      <a:cubicBezTo>
                        <a:pt x="2092153" y="162831"/>
                        <a:pt x="2085911" y="171239"/>
                        <a:pt x="2078802" y="171345"/>
                      </a:cubicBezTo>
                      <a:cubicBezTo>
                        <a:pt x="2076096" y="171380"/>
                        <a:pt x="2073614" y="168604"/>
                        <a:pt x="2074152" y="168710"/>
                      </a:cubicBezTo>
                      <a:cubicBezTo>
                        <a:pt x="2071564" y="168218"/>
                        <a:pt x="2068578" y="169213"/>
                        <a:pt x="2066165" y="168475"/>
                      </a:cubicBezTo>
                      <a:cubicBezTo>
                        <a:pt x="2063905" y="167785"/>
                        <a:pt x="2056784" y="163287"/>
                        <a:pt x="2055742" y="161460"/>
                      </a:cubicBezTo>
                      <a:cubicBezTo>
                        <a:pt x="2054910" y="160008"/>
                        <a:pt x="2056398" y="157396"/>
                        <a:pt x="2055964" y="156717"/>
                      </a:cubicBezTo>
                      <a:cubicBezTo>
                        <a:pt x="2054582" y="154539"/>
                        <a:pt x="2054641" y="153684"/>
                        <a:pt x="2051971" y="151787"/>
                      </a:cubicBezTo>
                      <a:cubicBezTo>
                        <a:pt x="2049289" y="149866"/>
                        <a:pt x="2042074" y="150604"/>
                        <a:pt x="2040212" y="147442"/>
                      </a:cubicBezTo>
                      <a:cubicBezTo>
                        <a:pt x="2038409" y="144408"/>
                        <a:pt x="2039955" y="139993"/>
                        <a:pt x="2039978" y="136971"/>
                      </a:cubicBezTo>
                      <a:cubicBezTo>
                        <a:pt x="2040013" y="134969"/>
                        <a:pt x="2040985" y="128305"/>
                        <a:pt x="2040763" y="126291"/>
                      </a:cubicBezTo>
                      <a:cubicBezTo>
                        <a:pt x="2039756" y="117238"/>
                        <a:pt x="2032647" y="119521"/>
                        <a:pt x="2025175" y="120821"/>
                      </a:cubicBezTo>
                      <a:cubicBezTo>
                        <a:pt x="2030211" y="129769"/>
                        <a:pt x="2010371" y="124815"/>
                        <a:pt x="2006577" y="122414"/>
                      </a:cubicBezTo>
                      <a:cubicBezTo>
                        <a:pt x="2011788" y="119756"/>
                        <a:pt x="2017832" y="123246"/>
                        <a:pt x="2021931" y="118420"/>
                      </a:cubicBezTo>
                      <a:cubicBezTo>
                        <a:pt x="2019553" y="116570"/>
                        <a:pt x="2009142" y="112939"/>
                        <a:pt x="2006237" y="112729"/>
                      </a:cubicBezTo>
                      <a:cubicBezTo>
                        <a:pt x="2010816" y="111991"/>
                        <a:pt x="2013428" y="108829"/>
                        <a:pt x="2016239" y="105514"/>
                      </a:cubicBezTo>
                      <a:cubicBezTo>
                        <a:pt x="2011730" y="104882"/>
                        <a:pt x="2010254" y="106135"/>
                        <a:pt x="2006893" y="107529"/>
                      </a:cubicBezTo>
                      <a:cubicBezTo>
                        <a:pt x="2007162" y="107412"/>
                        <a:pt x="2001119" y="111089"/>
                        <a:pt x="2000686" y="111347"/>
                      </a:cubicBezTo>
                      <a:cubicBezTo>
                        <a:pt x="1997266" y="113384"/>
                        <a:pt x="1988178" y="119123"/>
                        <a:pt x="1998367" y="119229"/>
                      </a:cubicBezTo>
                      <a:cubicBezTo>
                        <a:pt x="1992277" y="121243"/>
                        <a:pt x="1981104" y="127825"/>
                        <a:pt x="1976185" y="121559"/>
                      </a:cubicBezTo>
                      <a:cubicBezTo>
                        <a:pt x="1979582" y="118690"/>
                        <a:pt x="1983365" y="120107"/>
                        <a:pt x="1986925" y="117554"/>
                      </a:cubicBezTo>
                      <a:cubicBezTo>
                        <a:pt x="1982041" y="112131"/>
                        <a:pt x="1976326" y="117472"/>
                        <a:pt x="1971196" y="114345"/>
                      </a:cubicBezTo>
                      <a:cubicBezTo>
                        <a:pt x="1971594" y="114122"/>
                        <a:pt x="1972004" y="113911"/>
                        <a:pt x="1972414" y="113689"/>
                      </a:cubicBezTo>
                      <a:cubicBezTo>
                        <a:pt x="1969159" y="112834"/>
                        <a:pt x="1965879" y="111979"/>
                        <a:pt x="1962623" y="111136"/>
                      </a:cubicBezTo>
                      <a:cubicBezTo>
                        <a:pt x="1966418" y="106650"/>
                        <a:pt x="1970517" y="110726"/>
                        <a:pt x="1975014" y="111487"/>
                      </a:cubicBezTo>
                      <a:cubicBezTo>
                        <a:pt x="1979640" y="112272"/>
                        <a:pt x="1982510" y="112190"/>
                        <a:pt x="1987065" y="110515"/>
                      </a:cubicBezTo>
                      <a:cubicBezTo>
                        <a:pt x="1993097" y="108313"/>
                        <a:pt x="2005453" y="104296"/>
                        <a:pt x="2010278" y="99776"/>
                      </a:cubicBezTo>
                      <a:cubicBezTo>
                        <a:pt x="2012479" y="97703"/>
                        <a:pt x="2012960" y="94822"/>
                        <a:pt x="2015817" y="92433"/>
                      </a:cubicBezTo>
                      <a:cubicBezTo>
                        <a:pt x="2019249" y="89563"/>
                        <a:pt x="2026627" y="86788"/>
                        <a:pt x="2030948" y="85452"/>
                      </a:cubicBezTo>
                      <a:cubicBezTo>
                        <a:pt x="2039510" y="82806"/>
                        <a:pt x="2049558" y="82056"/>
                        <a:pt x="2058400" y="80487"/>
                      </a:cubicBezTo>
                      <a:cubicBezTo>
                        <a:pt x="2054571" y="76528"/>
                        <a:pt x="2048762" y="77629"/>
                        <a:pt x="2044253" y="75392"/>
                      </a:cubicBezTo>
                      <a:cubicBezTo>
                        <a:pt x="2040692" y="73636"/>
                        <a:pt x="2039170" y="69607"/>
                        <a:pt x="2034111" y="70696"/>
                      </a:cubicBezTo>
                      <a:cubicBezTo>
                        <a:pt x="2035856" y="67838"/>
                        <a:pt x="2038959" y="66538"/>
                        <a:pt x="2042356" y="66573"/>
                      </a:cubicBezTo>
                      <a:cubicBezTo>
                        <a:pt x="2041056" y="65133"/>
                        <a:pt x="2041032" y="63856"/>
                        <a:pt x="2039147" y="62592"/>
                      </a:cubicBezTo>
                      <a:cubicBezTo>
                        <a:pt x="2044698" y="59429"/>
                        <a:pt x="2054184" y="61772"/>
                        <a:pt x="2061188" y="57872"/>
                      </a:cubicBezTo>
                      <a:cubicBezTo>
                        <a:pt x="2063448" y="56607"/>
                        <a:pt x="2063905" y="54417"/>
                        <a:pt x="2064994" y="53480"/>
                      </a:cubicBezTo>
                      <a:cubicBezTo>
                        <a:pt x="2067898" y="50962"/>
                        <a:pt x="2072899" y="53105"/>
                        <a:pt x="2069878" y="47074"/>
                      </a:cubicBezTo>
                      <a:cubicBezTo>
                        <a:pt x="2075897" y="44216"/>
                        <a:pt x="2078052" y="50552"/>
                        <a:pt x="2081144" y="52695"/>
                      </a:cubicBezTo>
                      <a:cubicBezTo>
                        <a:pt x="2087304" y="56970"/>
                        <a:pt x="2089225" y="55377"/>
                        <a:pt x="2093102" y="52028"/>
                      </a:cubicBezTo>
                      <a:cubicBezTo>
                        <a:pt x="2097400" y="48303"/>
                        <a:pt x="2097657" y="46031"/>
                        <a:pt x="2105773" y="45399"/>
                      </a:cubicBezTo>
                      <a:cubicBezTo>
                        <a:pt x="2114510" y="44708"/>
                        <a:pt x="2123716" y="45434"/>
                        <a:pt x="2132464" y="45446"/>
                      </a:cubicBezTo>
                      <a:cubicBezTo>
                        <a:pt x="2132523" y="46219"/>
                        <a:pt x="2132136" y="47121"/>
                        <a:pt x="2132101" y="47894"/>
                      </a:cubicBezTo>
                      <a:cubicBezTo>
                        <a:pt x="2136563" y="48514"/>
                        <a:pt x="2138086" y="45118"/>
                        <a:pt x="2141857" y="44849"/>
                      </a:cubicBezTo>
                      <a:cubicBezTo>
                        <a:pt x="2145288" y="44603"/>
                        <a:pt x="2148064" y="47203"/>
                        <a:pt x="2152889" y="45961"/>
                      </a:cubicBezTo>
                      <a:cubicBezTo>
                        <a:pt x="2154915" y="45446"/>
                        <a:pt x="2155676" y="42600"/>
                        <a:pt x="2157878" y="42295"/>
                      </a:cubicBezTo>
                      <a:cubicBezTo>
                        <a:pt x="2160384" y="41944"/>
                        <a:pt x="2162071" y="44497"/>
                        <a:pt x="2164565" y="44532"/>
                      </a:cubicBezTo>
                      <a:cubicBezTo>
                        <a:pt x="2179790" y="44767"/>
                        <a:pt x="2207195" y="29155"/>
                        <a:pt x="2219293" y="43010"/>
                      </a:cubicBezTo>
                      <a:lnTo>
                        <a:pt x="2219293" y="43010"/>
                      </a:lnTo>
                      <a:close/>
                      <a:moveTo>
                        <a:pt x="97492" y="17397"/>
                      </a:moveTo>
                      <a:cubicBezTo>
                        <a:pt x="101662" y="22901"/>
                        <a:pt x="95888" y="23194"/>
                        <a:pt x="96766" y="27855"/>
                      </a:cubicBezTo>
                      <a:cubicBezTo>
                        <a:pt x="97235" y="30385"/>
                        <a:pt x="100350" y="34086"/>
                        <a:pt x="100209" y="35315"/>
                      </a:cubicBezTo>
                      <a:cubicBezTo>
                        <a:pt x="100046" y="36686"/>
                        <a:pt x="96954" y="37552"/>
                        <a:pt x="96930" y="37974"/>
                      </a:cubicBezTo>
                      <a:cubicBezTo>
                        <a:pt x="96942" y="37611"/>
                        <a:pt x="95935" y="41335"/>
                        <a:pt x="95876" y="41839"/>
                      </a:cubicBezTo>
                      <a:cubicBezTo>
                        <a:pt x="95384" y="45715"/>
                        <a:pt x="102669" y="44392"/>
                        <a:pt x="95490" y="49135"/>
                      </a:cubicBezTo>
                      <a:cubicBezTo>
                        <a:pt x="87491" y="54405"/>
                        <a:pt x="68975" y="50212"/>
                        <a:pt x="59652" y="49967"/>
                      </a:cubicBezTo>
                      <a:cubicBezTo>
                        <a:pt x="53457" y="49779"/>
                        <a:pt x="47063" y="50095"/>
                        <a:pt x="40926" y="49428"/>
                      </a:cubicBezTo>
                      <a:cubicBezTo>
                        <a:pt x="35597" y="48854"/>
                        <a:pt x="30514" y="46277"/>
                        <a:pt x="25209" y="46359"/>
                      </a:cubicBezTo>
                      <a:cubicBezTo>
                        <a:pt x="30784" y="43104"/>
                        <a:pt x="39064" y="40199"/>
                        <a:pt x="42729" y="34777"/>
                      </a:cubicBezTo>
                      <a:cubicBezTo>
                        <a:pt x="36019" y="29530"/>
                        <a:pt x="36487" y="17362"/>
                        <a:pt x="47754" y="16764"/>
                      </a:cubicBezTo>
                      <a:cubicBezTo>
                        <a:pt x="58060" y="16202"/>
                        <a:pt x="66984" y="20559"/>
                        <a:pt x="76353" y="17572"/>
                      </a:cubicBezTo>
                      <a:cubicBezTo>
                        <a:pt x="76658" y="17479"/>
                        <a:pt x="75768" y="15453"/>
                        <a:pt x="76833" y="15113"/>
                      </a:cubicBezTo>
                      <a:cubicBezTo>
                        <a:pt x="78649" y="14516"/>
                        <a:pt x="80487" y="15125"/>
                        <a:pt x="82513" y="14785"/>
                      </a:cubicBezTo>
                      <a:cubicBezTo>
                        <a:pt x="87116" y="14000"/>
                        <a:pt x="93651" y="14434"/>
                        <a:pt x="97492" y="17397"/>
                      </a:cubicBezTo>
                      <a:lnTo>
                        <a:pt x="97492" y="17397"/>
                      </a:lnTo>
                      <a:close/>
                      <a:moveTo>
                        <a:pt x="210520" y="17643"/>
                      </a:moveTo>
                      <a:cubicBezTo>
                        <a:pt x="210497" y="19165"/>
                        <a:pt x="178314" y="19435"/>
                        <a:pt x="175257" y="19798"/>
                      </a:cubicBezTo>
                      <a:cubicBezTo>
                        <a:pt x="167668" y="20676"/>
                        <a:pt x="155207" y="21238"/>
                        <a:pt x="148578" y="27422"/>
                      </a:cubicBezTo>
                      <a:cubicBezTo>
                        <a:pt x="152736" y="34168"/>
                        <a:pt x="165841" y="25056"/>
                        <a:pt x="169343" y="32142"/>
                      </a:cubicBezTo>
                      <a:cubicBezTo>
                        <a:pt x="173125" y="39813"/>
                        <a:pt x="155617" y="38032"/>
                        <a:pt x="152021" y="37189"/>
                      </a:cubicBezTo>
                      <a:cubicBezTo>
                        <a:pt x="148883" y="36451"/>
                        <a:pt x="143624" y="31439"/>
                        <a:pt x="140567" y="36241"/>
                      </a:cubicBezTo>
                      <a:cubicBezTo>
                        <a:pt x="138717" y="39169"/>
                        <a:pt x="143823" y="42623"/>
                        <a:pt x="145334" y="45458"/>
                      </a:cubicBezTo>
                      <a:cubicBezTo>
                        <a:pt x="141610" y="47999"/>
                        <a:pt x="133904" y="47847"/>
                        <a:pt x="129594" y="46910"/>
                      </a:cubicBezTo>
                      <a:cubicBezTo>
                        <a:pt x="125635" y="46055"/>
                        <a:pt x="117870" y="44497"/>
                        <a:pt x="114252" y="43244"/>
                      </a:cubicBezTo>
                      <a:cubicBezTo>
                        <a:pt x="105046" y="40047"/>
                        <a:pt x="110480" y="32868"/>
                        <a:pt x="103852" y="29870"/>
                      </a:cubicBezTo>
                      <a:cubicBezTo>
                        <a:pt x="110024" y="25185"/>
                        <a:pt x="102634" y="20219"/>
                        <a:pt x="103032" y="16038"/>
                      </a:cubicBezTo>
                      <a:cubicBezTo>
                        <a:pt x="103465" y="11342"/>
                        <a:pt x="107248" y="14071"/>
                        <a:pt x="104133" y="8637"/>
                      </a:cubicBezTo>
                      <a:cubicBezTo>
                        <a:pt x="102130" y="5170"/>
                        <a:pt x="93089" y="2757"/>
                        <a:pt x="89575" y="977"/>
                      </a:cubicBezTo>
                      <a:cubicBezTo>
                        <a:pt x="111944" y="1434"/>
                        <a:pt x="134325" y="1891"/>
                        <a:pt x="156706" y="2359"/>
                      </a:cubicBezTo>
                      <a:cubicBezTo>
                        <a:pt x="167375" y="2582"/>
                        <a:pt x="176487" y="5018"/>
                        <a:pt x="186617" y="7454"/>
                      </a:cubicBezTo>
                      <a:cubicBezTo>
                        <a:pt x="194054" y="9257"/>
                        <a:pt x="206527" y="9503"/>
                        <a:pt x="210520" y="17643"/>
                      </a:cubicBezTo>
                      <a:lnTo>
                        <a:pt x="210520" y="17643"/>
                      </a:lnTo>
                      <a:close/>
                      <a:moveTo>
                        <a:pt x="320749" y="825"/>
                      </a:moveTo>
                      <a:cubicBezTo>
                        <a:pt x="318067" y="5100"/>
                        <a:pt x="307527" y="9410"/>
                        <a:pt x="302901" y="10089"/>
                      </a:cubicBezTo>
                      <a:cubicBezTo>
                        <a:pt x="292794" y="11553"/>
                        <a:pt x="277557" y="4947"/>
                        <a:pt x="268352" y="825"/>
                      </a:cubicBezTo>
                      <a:cubicBezTo>
                        <a:pt x="285814" y="825"/>
                        <a:pt x="303276" y="825"/>
                        <a:pt x="320749" y="825"/>
                      </a:cubicBezTo>
                      <a:lnTo>
                        <a:pt x="320749" y="825"/>
                      </a:lnTo>
                      <a:close/>
                      <a:moveTo>
                        <a:pt x="2186618" y="825"/>
                      </a:moveTo>
                      <a:cubicBezTo>
                        <a:pt x="2186208" y="4737"/>
                        <a:pt x="2189019" y="3975"/>
                        <a:pt x="2189523" y="6599"/>
                      </a:cubicBezTo>
                      <a:cubicBezTo>
                        <a:pt x="2190026" y="9199"/>
                        <a:pt x="2187742" y="12888"/>
                        <a:pt x="2189300" y="15265"/>
                      </a:cubicBezTo>
                      <a:cubicBezTo>
                        <a:pt x="2194102" y="22562"/>
                        <a:pt x="2205122" y="15312"/>
                        <a:pt x="2196210" y="24400"/>
                      </a:cubicBezTo>
                      <a:cubicBezTo>
                        <a:pt x="2183632" y="37224"/>
                        <a:pt x="2150465" y="34683"/>
                        <a:pt x="2131000" y="36651"/>
                      </a:cubicBezTo>
                      <a:cubicBezTo>
                        <a:pt x="2118890" y="37869"/>
                        <a:pt x="2106781" y="39098"/>
                        <a:pt x="2094659" y="40328"/>
                      </a:cubicBezTo>
                      <a:cubicBezTo>
                        <a:pt x="2088557" y="40949"/>
                        <a:pt x="2081987" y="42424"/>
                        <a:pt x="2075874" y="42096"/>
                      </a:cubicBezTo>
                      <a:cubicBezTo>
                        <a:pt x="2067629" y="41675"/>
                        <a:pt x="2067746" y="42811"/>
                        <a:pt x="2060555" y="44380"/>
                      </a:cubicBezTo>
                      <a:cubicBezTo>
                        <a:pt x="2056363" y="45294"/>
                        <a:pt x="2052275" y="42940"/>
                        <a:pt x="2048317" y="44333"/>
                      </a:cubicBezTo>
                      <a:cubicBezTo>
                        <a:pt x="2045037" y="45493"/>
                        <a:pt x="2040446" y="50154"/>
                        <a:pt x="2036101" y="51723"/>
                      </a:cubicBezTo>
                      <a:cubicBezTo>
                        <a:pt x="2026018" y="55377"/>
                        <a:pt x="2011695" y="59945"/>
                        <a:pt x="2001658" y="57345"/>
                      </a:cubicBezTo>
                      <a:cubicBezTo>
                        <a:pt x="1989291" y="54148"/>
                        <a:pt x="1976595" y="48303"/>
                        <a:pt x="1965645" y="44778"/>
                      </a:cubicBezTo>
                      <a:cubicBezTo>
                        <a:pt x="1951064" y="40094"/>
                        <a:pt x="1936507" y="40141"/>
                        <a:pt x="1921504" y="38091"/>
                      </a:cubicBezTo>
                      <a:cubicBezTo>
                        <a:pt x="1923238" y="37775"/>
                        <a:pt x="1926177" y="35222"/>
                        <a:pt x="1927407" y="34917"/>
                      </a:cubicBezTo>
                      <a:cubicBezTo>
                        <a:pt x="1928871" y="34554"/>
                        <a:pt x="1930464" y="35093"/>
                        <a:pt x="1933274" y="35034"/>
                      </a:cubicBezTo>
                      <a:cubicBezTo>
                        <a:pt x="1941730" y="34870"/>
                        <a:pt x="1957224" y="43022"/>
                        <a:pt x="1964392" y="38091"/>
                      </a:cubicBezTo>
                      <a:cubicBezTo>
                        <a:pt x="1958360" y="32938"/>
                        <a:pt x="1947562" y="34671"/>
                        <a:pt x="1939927" y="33067"/>
                      </a:cubicBezTo>
                      <a:cubicBezTo>
                        <a:pt x="1933462" y="31708"/>
                        <a:pt x="1928379" y="28183"/>
                        <a:pt x="1923671" y="24037"/>
                      </a:cubicBezTo>
                      <a:cubicBezTo>
                        <a:pt x="1936577" y="23557"/>
                        <a:pt x="1949506" y="22316"/>
                        <a:pt x="1962319" y="23885"/>
                      </a:cubicBezTo>
                      <a:cubicBezTo>
                        <a:pt x="1965926" y="24330"/>
                        <a:pt x="1983037" y="28897"/>
                        <a:pt x="1985367" y="26766"/>
                      </a:cubicBezTo>
                      <a:cubicBezTo>
                        <a:pt x="1988553" y="23838"/>
                        <a:pt x="1982802" y="21683"/>
                        <a:pt x="1979968" y="20840"/>
                      </a:cubicBezTo>
                      <a:cubicBezTo>
                        <a:pt x="1968983" y="17561"/>
                        <a:pt x="1947609" y="21824"/>
                        <a:pt x="1936097" y="22304"/>
                      </a:cubicBezTo>
                      <a:cubicBezTo>
                        <a:pt x="1921949" y="22889"/>
                        <a:pt x="1907802" y="23463"/>
                        <a:pt x="1893654" y="24049"/>
                      </a:cubicBezTo>
                      <a:cubicBezTo>
                        <a:pt x="1895903" y="23299"/>
                        <a:pt x="1897519" y="21765"/>
                        <a:pt x="1899346" y="20781"/>
                      </a:cubicBezTo>
                      <a:cubicBezTo>
                        <a:pt x="1895704" y="21742"/>
                        <a:pt x="1891663" y="22339"/>
                        <a:pt x="1887927" y="21671"/>
                      </a:cubicBezTo>
                      <a:cubicBezTo>
                        <a:pt x="1889871" y="14328"/>
                        <a:pt x="1896453" y="16741"/>
                        <a:pt x="1901841" y="14211"/>
                      </a:cubicBezTo>
                      <a:cubicBezTo>
                        <a:pt x="1901442" y="13649"/>
                        <a:pt x="1900728" y="13239"/>
                        <a:pt x="1900447" y="12572"/>
                      </a:cubicBezTo>
                      <a:cubicBezTo>
                        <a:pt x="1906490" y="11869"/>
                        <a:pt x="1913142" y="11740"/>
                        <a:pt x="1918822" y="11225"/>
                      </a:cubicBezTo>
                      <a:cubicBezTo>
                        <a:pt x="1921914" y="10944"/>
                        <a:pt x="1923448" y="13532"/>
                        <a:pt x="1923284" y="10276"/>
                      </a:cubicBezTo>
                      <a:cubicBezTo>
                        <a:pt x="1930885" y="11225"/>
                        <a:pt x="1943897" y="15781"/>
                        <a:pt x="1950807" y="11810"/>
                      </a:cubicBezTo>
                      <a:cubicBezTo>
                        <a:pt x="1937666" y="10253"/>
                        <a:pt x="1923706" y="10147"/>
                        <a:pt x="1912205" y="3519"/>
                      </a:cubicBezTo>
                      <a:cubicBezTo>
                        <a:pt x="1923167" y="-2255"/>
                        <a:pt x="1939692" y="813"/>
                        <a:pt x="1951497" y="825"/>
                      </a:cubicBezTo>
                      <a:cubicBezTo>
                        <a:pt x="1982217" y="825"/>
                        <a:pt x="2012948" y="825"/>
                        <a:pt x="2043667" y="825"/>
                      </a:cubicBezTo>
                      <a:cubicBezTo>
                        <a:pt x="2091333" y="837"/>
                        <a:pt x="2138976" y="825"/>
                        <a:pt x="2186618" y="825"/>
                      </a:cubicBezTo>
                      <a:lnTo>
                        <a:pt x="2186618" y="825"/>
                      </a:lnTo>
                      <a:close/>
                      <a:moveTo>
                        <a:pt x="1376" y="873755"/>
                      </a:moveTo>
                      <a:cubicBezTo>
                        <a:pt x="7115" y="875067"/>
                        <a:pt x="10616" y="872350"/>
                        <a:pt x="12443" y="877573"/>
                      </a:cubicBezTo>
                      <a:cubicBezTo>
                        <a:pt x="14223" y="882633"/>
                        <a:pt x="7782" y="883277"/>
                        <a:pt x="8005" y="887282"/>
                      </a:cubicBezTo>
                      <a:cubicBezTo>
                        <a:pt x="8286" y="891920"/>
                        <a:pt x="19681" y="892412"/>
                        <a:pt x="17526" y="899650"/>
                      </a:cubicBezTo>
                      <a:cubicBezTo>
                        <a:pt x="16566" y="902870"/>
                        <a:pt x="7969" y="907039"/>
                        <a:pt x="5943" y="910986"/>
                      </a:cubicBezTo>
                      <a:cubicBezTo>
                        <a:pt x="7864" y="910740"/>
                        <a:pt x="10007" y="911794"/>
                        <a:pt x="11659" y="911666"/>
                      </a:cubicBezTo>
                      <a:cubicBezTo>
                        <a:pt x="7770" y="914699"/>
                        <a:pt x="5370" y="919255"/>
                        <a:pt x="8426" y="922955"/>
                      </a:cubicBezTo>
                      <a:cubicBezTo>
                        <a:pt x="-2278" y="924174"/>
                        <a:pt x="1364" y="913282"/>
                        <a:pt x="1364" y="905810"/>
                      </a:cubicBezTo>
                      <a:cubicBezTo>
                        <a:pt x="1376" y="895105"/>
                        <a:pt x="1376" y="884436"/>
                        <a:pt x="1376" y="873755"/>
                      </a:cubicBezTo>
                      <a:lnTo>
                        <a:pt x="1376" y="873755"/>
                      </a:lnTo>
                      <a:close/>
                      <a:moveTo>
                        <a:pt x="1376" y="924384"/>
                      </a:moveTo>
                      <a:cubicBezTo>
                        <a:pt x="20044" y="925052"/>
                        <a:pt x="14036" y="937771"/>
                        <a:pt x="21848" y="951649"/>
                      </a:cubicBezTo>
                      <a:cubicBezTo>
                        <a:pt x="25490" y="958113"/>
                        <a:pt x="30467" y="965421"/>
                        <a:pt x="35117" y="971348"/>
                      </a:cubicBezTo>
                      <a:cubicBezTo>
                        <a:pt x="37412" y="974275"/>
                        <a:pt x="40024" y="975470"/>
                        <a:pt x="41804" y="978820"/>
                      </a:cubicBezTo>
                      <a:cubicBezTo>
                        <a:pt x="43420" y="981853"/>
                        <a:pt x="42846" y="985003"/>
                        <a:pt x="44837" y="987896"/>
                      </a:cubicBezTo>
                      <a:cubicBezTo>
                        <a:pt x="53609" y="1000650"/>
                        <a:pt x="73823" y="1010628"/>
                        <a:pt x="86085" y="1018990"/>
                      </a:cubicBezTo>
                      <a:cubicBezTo>
                        <a:pt x="92456" y="1023335"/>
                        <a:pt x="96087" y="1026860"/>
                        <a:pt x="104262" y="1029085"/>
                      </a:cubicBezTo>
                      <a:cubicBezTo>
                        <a:pt x="105480" y="1029413"/>
                        <a:pt x="106182" y="1030877"/>
                        <a:pt x="107494" y="1031182"/>
                      </a:cubicBezTo>
                      <a:cubicBezTo>
                        <a:pt x="109953" y="1031744"/>
                        <a:pt x="113198" y="1030362"/>
                        <a:pt x="115470" y="1031088"/>
                      </a:cubicBezTo>
                      <a:cubicBezTo>
                        <a:pt x="117507" y="1031732"/>
                        <a:pt x="122707" y="1037272"/>
                        <a:pt x="125705" y="1039321"/>
                      </a:cubicBezTo>
                      <a:cubicBezTo>
                        <a:pt x="121794" y="1040282"/>
                        <a:pt x="118409" y="1038291"/>
                        <a:pt x="114966" y="1038021"/>
                      </a:cubicBezTo>
                      <a:cubicBezTo>
                        <a:pt x="121349" y="1041956"/>
                        <a:pt x="119815" y="1047414"/>
                        <a:pt x="113151" y="1049721"/>
                      </a:cubicBezTo>
                      <a:cubicBezTo>
                        <a:pt x="114006" y="1050026"/>
                        <a:pt x="115189" y="1050728"/>
                        <a:pt x="115985" y="1051009"/>
                      </a:cubicBezTo>
                      <a:cubicBezTo>
                        <a:pt x="108361" y="1049452"/>
                        <a:pt x="101217" y="1045845"/>
                        <a:pt x="93815" y="1044521"/>
                      </a:cubicBezTo>
                      <a:cubicBezTo>
                        <a:pt x="92257" y="1044252"/>
                        <a:pt x="89880" y="1045610"/>
                        <a:pt x="87420" y="1045200"/>
                      </a:cubicBezTo>
                      <a:cubicBezTo>
                        <a:pt x="83368" y="1044521"/>
                        <a:pt x="83345" y="1040727"/>
                        <a:pt x="78859" y="1041909"/>
                      </a:cubicBezTo>
                      <a:cubicBezTo>
                        <a:pt x="84387" y="1048351"/>
                        <a:pt x="89985" y="1046582"/>
                        <a:pt x="96942" y="1048351"/>
                      </a:cubicBezTo>
                      <a:cubicBezTo>
                        <a:pt x="101264" y="1049452"/>
                        <a:pt x="105105" y="1051349"/>
                        <a:pt x="110305" y="1054289"/>
                      </a:cubicBezTo>
                      <a:cubicBezTo>
                        <a:pt x="99015" y="1057345"/>
                        <a:pt x="81986" y="1047484"/>
                        <a:pt x="71352" y="1044556"/>
                      </a:cubicBezTo>
                      <a:cubicBezTo>
                        <a:pt x="73144" y="1046477"/>
                        <a:pt x="73835" y="1047426"/>
                        <a:pt x="76693" y="1048433"/>
                      </a:cubicBezTo>
                      <a:cubicBezTo>
                        <a:pt x="69806" y="1049932"/>
                        <a:pt x="61292" y="1039743"/>
                        <a:pt x="70568" y="1038595"/>
                      </a:cubicBezTo>
                      <a:cubicBezTo>
                        <a:pt x="66422" y="1033840"/>
                        <a:pt x="64911" y="1040457"/>
                        <a:pt x="62768" y="1040691"/>
                      </a:cubicBezTo>
                      <a:cubicBezTo>
                        <a:pt x="58552" y="1041148"/>
                        <a:pt x="55261" y="1037740"/>
                        <a:pt x="51478" y="1038689"/>
                      </a:cubicBezTo>
                      <a:cubicBezTo>
                        <a:pt x="53082" y="1039544"/>
                        <a:pt x="55225" y="1041347"/>
                        <a:pt x="57041" y="1041909"/>
                      </a:cubicBezTo>
                      <a:cubicBezTo>
                        <a:pt x="54991" y="1041371"/>
                        <a:pt x="52696" y="1041722"/>
                        <a:pt x="50623" y="1041265"/>
                      </a:cubicBezTo>
                      <a:cubicBezTo>
                        <a:pt x="52696" y="1042507"/>
                        <a:pt x="52907" y="1043362"/>
                        <a:pt x="55975" y="1043912"/>
                      </a:cubicBezTo>
                      <a:cubicBezTo>
                        <a:pt x="54171" y="1044439"/>
                        <a:pt x="54160" y="1045142"/>
                        <a:pt x="51700" y="1045200"/>
                      </a:cubicBezTo>
                      <a:cubicBezTo>
                        <a:pt x="53937" y="1047765"/>
                        <a:pt x="58025" y="1048011"/>
                        <a:pt x="60238" y="1045856"/>
                      </a:cubicBezTo>
                      <a:cubicBezTo>
                        <a:pt x="59313" y="1045329"/>
                        <a:pt x="58317" y="1044545"/>
                        <a:pt x="57404" y="1043912"/>
                      </a:cubicBezTo>
                      <a:cubicBezTo>
                        <a:pt x="61456" y="1043713"/>
                        <a:pt x="65087" y="1044685"/>
                        <a:pt x="67769" y="1047789"/>
                      </a:cubicBezTo>
                      <a:cubicBezTo>
                        <a:pt x="65520" y="1047929"/>
                        <a:pt x="65309" y="1048632"/>
                        <a:pt x="63892" y="1049136"/>
                      </a:cubicBezTo>
                      <a:cubicBezTo>
                        <a:pt x="81459" y="1050705"/>
                        <a:pt x="69279" y="1060425"/>
                        <a:pt x="61152" y="1055026"/>
                      </a:cubicBezTo>
                      <a:cubicBezTo>
                        <a:pt x="62803" y="1055471"/>
                        <a:pt x="64712" y="1055272"/>
                        <a:pt x="66387" y="1055530"/>
                      </a:cubicBezTo>
                      <a:cubicBezTo>
                        <a:pt x="65133" y="1054816"/>
                        <a:pt x="65227" y="1054312"/>
                        <a:pt x="64571" y="1053586"/>
                      </a:cubicBezTo>
                      <a:cubicBezTo>
                        <a:pt x="66890" y="1054183"/>
                        <a:pt x="67511" y="1053644"/>
                        <a:pt x="69596" y="1053586"/>
                      </a:cubicBezTo>
                      <a:cubicBezTo>
                        <a:pt x="66387" y="1050400"/>
                        <a:pt x="61269" y="1052497"/>
                        <a:pt x="56818" y="1051080"/>
                      </a:cubicBezTo>
                      <a:cubicBezTo>
                        <a:pt x="52169" y="1049592"/>
                        <a:pt x="46910" y="1042401"/>
                        <a:pt x="42390" y="1047086"/>
                      </a:cubicBezTo>
                      <a:cubicBezTo>
                        <a:pt x="48046" y="1047531"/>
                        <a:pt x="52813" y="1053176"/>
                        <a:pt x="44755" y="1050705"/>
                      </a:cubicBezTo>
                      <a:cubicBezTo>
                        <a:pt x="40118" y="1049276"/>
                        <a:pt x="35011" y="1044685"/>
                        <a:pt x="30257" y="1042624"/>
                      </a:cubicBezTo>
                      <a:cubicBezTo>
                        <a:pt x="32177" y="1048890"/>
                        <a:pt x="39263" y="1047988"/>
                        <a:pt x="42753" y="1053012"/>
                      </a:cubicBezTo>
                      <a:cubicBezTo>
                        <a:pt x="37588" y="1053082"/>
                        <a:pt x="24553" y="1052216"/>
                        <a:pt x="19540" y="1047086"/>
                      </a:cubicBezTo>
                      <a:cubicBezTo>
                        <a:pt x="21871" y="1048866"/>
                        <a:pt x="23522" y="1048972"/>
                        <a:pt x="25982" y="1049136"/>
                      </a:cubicBezTo>
                      <a:cubicBezTo>
                        <a:pt x="25502" y="1048480"/>
                        <a:pt x="25021" y="1047812"/>
                        <a:pt x="24541" y="1047156"/>
                      </a:cubicBezTo>
                      <a:cubicBezTo>
                        <a:pt x="34180" y="1052450"/>
                        <a:pt x="25783" y="1035737"/>
                        <a:pt x="19377" y="1040129"/>
                      </a:cubicBezTo>
                      <a:cubicBezTo>
                        <a:pt x="23031" y="1041043"/>
                        <a:pt x="26204" y="1043163"/>
                        <a:pt x="27048" y="1047086"/>
                      </a:cubicBezTo>
                      <a:cubicBezTo>
                        <a:pt x="24541" y="1042870"/>
                        <a:pt x="17093" y="1040797"/>
                        <a:pt x="12736" y="1039977"/>
                      </a:cubicBezTo>
                      <a:cubicBezTo>
                        <a:pt x="9398" y="1039345"/>
                        <a:pt x="9000" y="1035316"/>
                        <a:pt x="6330" y="1041921"/>
                      </a:cubicBezTo>
                      <a:cubicBezTo>
                        <a:pt x="9586" y="1041687"/>
                        <a:pt x="11846" y="1043327"/>
                        <a:pt x="12736" y="1046500"/>
                      </a:cubicBezTo>
                      <a:cubicBezTo>
                        <a:pt x="10148" y="1042237"/>
                        <a:pt x="5440" y="1043280"/>
                        <a:pt x="1399" y="1044041"/>
                      </a:cubicBezTo>
                      <a:cubicBezTo>
                        <a:pt x="1376" y="1004140"/>
                        <a:pt x="1376" y="964262"/>
                        <a:pt x="1376" y="924384"/>
                      </a:cubicBezTo>
                      <a:lnTo>
                        <a:pt x="1376" y="924384"/>
                      </a:lnTo>
                      <a:close/>
                    </a:path>
                  </a:pathLst>
                </a:custGeom>
                <a:solidFill>
                  <a:srgbClr val="D6D6D2"/>
                </a:solidFill>
                <a:ln w="8774" cap="rnd">
                  <a:solidFill>
                    <a:srgbClr val="FFFFFF"/>
                  </a:solidFill>
                  <a:prstDash val="solid"/>
                  <a:round/>
                </a:ln>
              </p:spPr>
              <p:txBody>
                <a:bodyPr rtlCol="0" anchor="ctr"/>
                <a:lstStyle/>
                <a:p>
                  <a:endParaRPr lang="en-US"/>
                </a:p>
              </p:txBody>
            </p:sp>
            <p:sp>
              <p:nvSpPr>
                <p:cNvPr id="110" name="Freeform: Shape 109">
                  <a:extLst>
                    <a:ext uri="{FF2B5EF4-FFF2-40B4-BE49-F238E27FC236}">
                      <a16:creationId xmlns:a16="http://schemas.microsoft.com/office/drawing/2014/main" id="{97494380-5E4E-46B6-AC8E-3226A9B9A52A}"/>
                    </a:ext>
                  </a:extLst>
                </p:cNvPr>
                <p:cNvSpPr/>
                <p:nvPr/>
              </p:nvSpPr>
              <p:spPr>
                <a:xfrm>
                  <a:off x="3604035" y="3688969"/>
                  <a:ext cx="332747" cy="328867"/>
                </a:xfrm>
                <a:custGeom>
                  <a:avLst/>
                  <a:gdLst>
                    <a:gd name="connsiteX0" fmla="*/ 296021 w 332747"/>
                    <a:gd name="connsiteY0" fmla="*/ 2713 h 328867"/>
                    <a:gd name="connsiteX1" fmla="*/ 301384 w 332747"/>
                    <a:gd name="connsiteY1" fmla="*/ 5267 h 328867"/>
                    <a:gd name="connsiteX2" fmla="*/ 312077 w 332747"/>
                    <a:gd name="connsiteY2" fmla="*/ 20644 h 328867"/>
                    <a:gd name="connsiteX3" fmla="*/ 320638 w 332747"/>
                    <a:gd name="connsiteY3" fmla="*/ 28385 h 328867"/>
                    <a:gd name="connsiteX4" fmla="*/ 325276 w 332747"/>
                    <a:gd name="connsiteY4" fmla="*/ 32765 h 328867"/>
                    <a:gd name="connsiteX5" fmla="*/ 332748 w 332747"/>
                    <a:gd name="connsiteY5" fmla="*/ 44711 h 328867"/>
                    <a:gd name="connsiteX6" fmla="*/ 327396 w 332747"/>
                    <a:gd name="connsiteY6" fmla="*/ 46737 h 328867"/>
                    <a:gd name="connsiteX7" fmla="*/ 317499 w 332747"/>
                    <a:gd name="connsiteY7" fmla="*/ 42849 h 328867"/>
                    <a:gd name="connsiteX8" fmla="*/ 317148 w 332747"/>
                    <a:gd name="connsiteY8" fmla="*/ 48002 h 328867"/>
                    <a:gd name="connsiteX9" fmla="*/ 315438 w 332747"/>
                    <a:gd name="connsiteY9" fmla="*/ 47171 h 328867"/>
                    <a:gd name="connsiteX10" fmla="*/ 312264 w 332747"/>
                    <a:gd name="connsiteY10" fmla="*/ 51726 h 328867"/>
                    <a:gd name="connsiteX11" fmla="*/ 304687 w 332747"/>
                    <a:gd name="connsiteY11" fmla="*/ 57922 h 328867"/>
                    <a:gd name="connsiteX12" fmla="*/ 297637 w 332747"/>
                    <a:gd name="connsiteY12" fmla="*/ 63660 h 328867"/>
                    <a:gd name="connsiteX13" fmla="*/ 297028 w 332747"/>
                    <a:gd name="connsiteY13" fmla="*/ 62302 h 328867"/>
                    <a:gd name="connsiteX14" fmla="*/ 295318 w 332747"/>
                    <a:gd name="connsiteY14" fmla="*/ 64293 h 328867"/>
                    <a:gd name="connsiteX15" fmla="*/ 296395 w 332747"/>
                    <a:gd name="connsiteY15" fmla="*/ 65569 h 328867"/>
                    <a:gd name="connsiteX16" fmla="*/ 292355 w 332747"/>
                    <a:gd name="connsiteY16" fmla="*/ 68989 h 328867"/>
                    <a:gd name="connsiteX17" fmla="*/ 288033 w 332747"/>
                    <a:gd name="connsiteY17" fmla="*/ 78288 h 328867"/>
                    <a:gd name="connsiteX18" fmla="*/ 279355 w 332747"/>
                    <a:gd name="connsiteY18" fmla="*/ 88407 h 328867"/>
                    <a:gd name="connsiteX19" fmla="*/ 283079 w 332747"/>
                    <a:gd name="connsiteY19" fmla="*/ 100470 h 328867"/>
                    <a:gd name="connsiteX20" fmla="*/ 283512 w 332747"/>
                    <a:gd name="connsiteY20" fmla="*/ 107953 h 328867"/>
                    <a:gd name="connsiteX21" fmla="*/ 283981 w 332747"/>
                    <a:gd name="connsiteY21" fmla="*/ 128987 h 328867"/>
                    <a:gd name="connsiteX22" fmla="*/ 274249 w 332747"/>
                    <a:gd name="connsiteY22" fmla="*/ 135499 h 328867"/>
                    <a:gd name="connsiteX23" fmla="*/ 259890 w 332747"/>
                    <a:gd name="connsiteY23" fmla="*/ 145770 h 328867"/>
                    <a:gd name="connsiteX24" fmla="*/ 252184 w 332747"/>
                    <a:gd name="connsiteY24" fmla="*/ 153008 h 328867"/>
                    <a:gd name="connsiteX25" fmla="*/ 229956 w 332747"/>
                    <a:gd name="connsiteY25" fmla="*/ 166511 h 328867"/>
                    <a:gd name="connsiteX26" fmla="*/ 224721 w 332747"/>
                    <a:gd name="connsiteY26" fmla="*/ 176232 h 328867"/>
                    <a:gd name="connsiteX27" fmla="*/ 209027 w 332747"/>
                    <a:gd name="connsiteY27" fmla="*/ 185589 h 328867"/>
                    <a:gd name="connsiteX28" fmla="*/ 204155 w 332747"/>
                    <a:gd name="connsiteY28" fmla="*/ 185519 h 328867"/>
                    <a:gd name="connsiteX29" fmla="*/ 192807 w 332747"/>
                    <a:gd name="connsiteY29" fmla="*/ 184640 h 328867"/>
                    <a:gd name="connsiteX30" fmla="*/ 187045 w 332747"/>
                    <a:gd name="connsiteY30" fmla="*/ 188306 h 328867"/>
                    <a:gd name="connsiteX31" fmla="*/ 180522 w 332747"/>
                    <a:gd name="connsiteY31" fmla="*/ 194373 h 328867"/>
                    <a:gd name="connsiteX32" fmla="*/ 170684 w 332747"/>
                    <a:gd name="connsiteY32" fmla="*/ 199233 h 328867"/>
                    <a:gd name="connsiteX33" fmla="*/ 168260 w 332747"/>
                    <a:gd name="connsiteY33" fmla="*/ 209492 h 328867"/>
                    <a:gd name="connsiteX34" fmla="*/ 167791 w 332747"/>
                    <a:gd name="connsiteY34" fmla="*/ 230034 h 328867"/>
                    <a:gd name="connsiteX35" fmla="*/ 159499 w 332747"/>
                    <a:gd name="connsiteY35" fmla="*/ 225420 h 328867"/>
                    <a:gd name="connsiteX36" fmla="*/ 164441 w 332747"/>
                    <a:gd name="connsiteY36" fmla="*/ 227341 h 328867"/>
                    <a:gd name="connsiteX37" fmla="*/ 160202 w 332747"/>
                    <a:gd name="connsiteY37" fmla="*/ 227692 h 328867"/>
                    <a:gd name="connsiteX38" fmla="*/ 165367 w 332747"/>
                    <a:gd name="connsiteY38" fmla="*/ 236675 h 328867"/>
                    <a:gd name="connsiteX39" fmla="*/ 173740 w 332747"/>
                    <a:gd name="connsiteY39" fmla="*/ 240680 h 328867"/>
                    <a:gd name="connsiteX40" fmla="*/ 182922 w 332747"/>
                    <a:gd name="connsiteY40" fmla="*/ 246255 h 328867"/>
                    <a:gd name="connsiteX41" fmla="*/ 192432 w 332747"/>
                    <a:gd name="connsiteY41" fmla="*/ 256971 h 328867"/>
                    <a:gd name="connsiteX42" fmla="*/ 204870 w 332747"/>
                    <a:gd name="connsiteY42" fmla="*/ 264302 h 328867"/>
                    <a:gd name="connsiteX43" fmla="*/ 210761 w 332747"/>
                    <a:gd name="connsiteY43" fmla="*/ 269186 h 328867"/>
                    <a:gd name="connsiteX44" fmla="*/ 206591 w 332747"/>
                    <a:gd name="connsiteY44" fmla="*/ 273859 h 328867"/>
                    <a:gd name="connsiteX45" fmla="*/ 204296 w 332747"/>
                    <a:gd name="connsiteY45" fmla="*/ 284247 h 328867"/>
                    <a:gd name="connsiteX46" fmla="*/ 178062 w 332747"/>
                    <a:gd name="connsiteY46" fmla="*/ 289646 h 328867"/>
                    <a:gd name="connsiteX47" fmla="*/ 160799 w 332747"/>
                    <a:gd name="connsiteY47" fmla="*/ 290372 h 328867"/>
                    <a:gd name="connsiteX48" fmla="*/ 144485 w 332747"/>
                    <a:gd name="connsiteY48" fmla="*/ 291988 h 328867"/>
                    <a:gd name="connsiteX49" fmla="*/ 127351 w 332747"/>
                    <a:gd name="connsiteY49" fmla="*/ 310516 h 328867"/>
                    <a:gd name="connsiteX50" fmla="*/ 122971 w 332747"/>
                    <a:gd name="connsiteY50" fmla="*/ 312601 h 328867"/>
                    <a:gd name="connsiteX51" fmla="*/ 122350 w 332747"/>
                    <a:gd name="connsiteY51" fmla="*/ 318339 h 328867"/>
                    <a:gd name="connsiteX52" fmla="*/ 117654 w 332747"/>
                    <a:gd name="connsiteY52" fmla="*/ 322696 h 328867"/>
                    <a:gd name="connsiteX53" fmla="*/ 105216 w 332747"/>
                    <a:gd name="connsiteY53" fmla="*/ 316793 h 328867"/>
                    <a:gd name="connsiteX54" fmla="*/ 96374 w 332747"/>
                    <a:gd name="connsiteY54" fmla="*/ 319229 h 328867"/>
                    <a:gd name="connsiteX55" fmla="*/ 95835 w 332747"/>
                    <a:gd name="connsiteY55" fmla="*/ 325319 h 328867"/>
                    <a:gd name="connsiteX56" fmla="*/ 90507 w 332747"/>
                    <a:gd name="connsiteY56" fmla="*/ 317098 h 328867"/>
                    <a:gd name="connsiteX57" fmla="*/ 84686 w 332747"/>
                    <a:gd name="connsiteY57" fmla="*/ 315200 h 328867"/>
                    <a:gd name="connsiteX58" fmla="*/ 86876 w 332747"/>
                    <a:gd name="connsiteY58" fmla="*/ 319990 h 328867"/>
                    <a:gd name="connsiteX59" fmla="*/ 76336 w 332747"/>
                    <a:gd name="connsiteY59" fmla="*/ 309649 h 328867"/>
                    <a:gd name="connsiteX60" fmla="*/ 66580 w 332747"/>
                    <a:gd name="connsiteY60" fmla="*/ 307342 h 328867"/>
                    <a:gd name="connsiteX61" fmla="*/ 70831 w 332747"/>
                    <a:gd name="connsiteY61" fmla="*/ 312155 h 328867"/>
                    <a:gd name="connsiteX62" fmla="*/ 72974 w 332747"/>
                    <a:gd name="connsiteY62" fmla="*/ 312155 h 328867"/>
                    <a:gd name="connsiteX63" fmla="*/ 71897 w 332747"/>
                    <a:gd name="connsiteY63" fmla="*/ 313807 h 328867"/>
                    <a:gd name="connsiteX64" fmla="*/ 74028 w 332747"/>
                    <a:gd name="connsiteY64" fmla="*/ 313807 h 328867"/>
                    <a:gd name="connsiteX65" fmla="*/ 68348 w 332747"/>
                    <a:gd name="connsiteY65" fmla="*/ 313807 h 328867"/>
                    <a:gd name="connsiteX66" fmla="*/ 65854 w 332747"/>
                    <a:gd name="connsiteY66" fmla="*/ 322462 h 328867"/>
                    <a:gd name="connsiteX67" fmla="*/ 62961 w 332747"/>
                    <a:gd name="connsiteY67" fmla="*/ 321607 h 328867"/>
                    <a:gd name="connsiteX68" fmla="*/ 53569 w 332747"/>
                    <a:gd name="connsiteY68" fmla="*/ 328868 h 328867"/>
                    <a:gd name="connsiteX69" fmla="*/ 58651 w 332747"/>
                    <a:gd name="connsiteY69" fmla="*/ 322918 h 328867"/>
                    <a:gd name="connsiteX70" fmla="*/ 55126 w 332747"/>
                    <a:gd name="connsiteY70" fmla="*/ 322462 h 328867"/>
                    <a:gd name="connsiteX71" fmla="*/ 62961 w 332747"/>
                    <a:gd name="connsiteY71" fmla="*/ 318761 h 328867"/>
                    <a:gd name="connsiteX72" fmla="*/ 62059 w 332747"/>
                    <a:gd name="connsiteY72" fmla="*/ 315681 h 328867"/>
                    <a:gd name="connsiteX73" fmla="*/ 57984 w 332747"/>
                    <a:gd name="connsiteY73" fmla="*/ 315435 h 328867"/>
                    <a:gd name="connsiteX74" fmla="*/ 55454 w 332747"/>
                    <a:gd name="connsiteY74" fmla="*/ 315845 h 328867"/>
                    <a:gd name="connsiteX75" fmla="*/ 58639 w 332747"/>
                    <a:gd name="connsiteY75" fmla="*/ 318772 h 328867"/>
                    <a:gd name="connsiteX76" fmla="*/ 53662 w 332747"/>
                    <a:gd name="connsiteY76" fmla="*/ 317496 h 328867"/>
                    <a:gd name="connsiteX77" fmla="*/ 55114 w 332747"/>
                    <a:gd name="connsiteY77" fmla="*/ 318772 h 328867"/>
                    <a:gd name="connsiteX78" fmla="*/ 51519 w 332747"/>
                    <a:gd name="connsiteY78" fmla="*/ 320834 h 328867"/>
                    <a:gd name="connsiteX79" fmla="*/ 47912 w 332747"/>
                    <a:gd name="connsiteY79" fmla="*/ 320014 h 328867"/>
                    <a:gd name="connsiteX80" fmla="*/ 48989 w 332747"/>
                    <a:gd name="connsiteY80" fmla="*/ 313373 h 328867"/>
                    <a:gd name="connsiteX81" fmla="*/ 36130 w 332747"/>
                    <a:gd name="connsiteY81" fmla="*/ 312963 h 328867"/>
                    <a:gd name="connsiteX82" fmla="*/ 34362 w 332747"/>
                    <a:gd name="connsiteY82" fmla="*/ 313830 h 328867"/>
                    <a:gd name="connsiteX83" fmla="*/ 45078 w 332747"/>
                    <a:gd name="connsiteY83" fmla="*/ 310492 h 328867"/>
                    <a:gd name="connsiteX84" fmla="*/ 48286 w 332747"/>
                    <a:gd name="connsiteY84" fmla="*/ 308092 h 328867"/>
                    <a:gd name="connsiteX85" fmla="*/ 49704 w 332747"/>
                    <a:gd name="connsiteY85" fmla="*/ 305527 h 328867"/>
                    <a:gd name="connsiteX86" fmla="*/ 33202 w 332747"/>
                    <a:gd name="connsiteY86" fmla="*/ 303946 h 328867"/>
                    <a:gd name="connsiteX87" fmla="*/ 28412 w 332747"/>
                    <a:gd name="connsiteY87" fmla="*/ 302821 h 328867"/>
                    <a:gd name="connsiteX88" fmla="*/ 18071 w 332747"/>
                    <a:gd name="connsiteY88" fmla="*/ 301697 h 328867"/>
                    <a:gd name="connsiteX89" fmla="*/ 26128 w 332747"/>
                    <a:gd name="connsiteY89" fmla="*/ 298043 h 328867"/>
                    <a:gd name="connsiteX90" fmla="*/ 29115 w 332747"/>
                    <a:gd name="connsiteY90" fmla="*/ 295338 h 328867"/>
                    <a:gd name="connsiteX91" fmla="*/ 35052 w 332747"/>
                    <a:gd name="connsiteY91" fmla="*/ 295560 h 328867"/>
                    <a:gd name="connsiteX92" fmla="*/ 33998 w 332747"/>
                    <a:gd name="connsiteY92" fmla="*/ 282619 h 328867"/>
                    <a:gd name="connsiteX93" fmla="*/ 34596 w 332747"/>
                    <a:gd name="connsiteY93" fmla="*/ 273414 h 328867"/>
                    <a:gd name="connsiteX94" fmla="*/ 42103 w 332747"/>
                    <a:gd name="connsiteY94" fmla="*/ 274128 h 328867"/>
                    <a:gd name="connsiteX95" fmla="*/ 41857 w 332747"/>
                    <a:gd name="connsiteY95" fmla="*/ 268905 h 328867"/>
                    <a:gd name="connsiteX96" fmla="*/ 44796 w 332747"/>
                    <a:gd name="connsiteY96" fmla="*/ 268671 h 328867"/>
                    <a:gd name="connsiteX97" fmla="*/ 62598 w 332747"/>
                    <a:gd name="connsiteY97" fmla="*/ 269725 h 328867"/>
                    <a:gd name="connsiteX98" fmla="*/ 63863 w 332747"/>
                    <a:gd name="connsiteY98" fmla="*/ 268108 h 328867"/>
                    <a:gd name="connsiteX99" fmla="*/ 69742 w 332747"/>
                    <a:gd name="connsiteY99" fmla="*/ 271036 h 328867"/>
                    <a:gd name="connsiteX100" fmla="*/ 58780 w 332747"/>
                    <a:gd name="connsiteY100" fmla="*/ 262147 h 328867"/>
                    <a:gd name="connsiteX101" fmla="*/ 56848 w 332747"/>
                    <a:gd name="connsiteY101" fmla="*/ 263494 h 328867"/>
                    <a:gd name="connsiteX102" fmla="*/ 58065 w 332747"/>
                    <a:gd name="connsiteY102" fmla="*/ 264607 h 328867"/>
                    <a:gd name="connsiteX103" fmla="*/ 51121 w 332747"/>
                    <a:gd name="connsiteY103" fmla="*/ 264736 h 328867"/>
                    <a:gd name="connsiteX104" fmla="*/ 51507 w 332747"/>
                    <a:gd name="connsiteY104" fmla="*/ 266399 h 328867"/>
                    <a:gd name="connsiteX105" fmla="*/ 47174 w 332747"/>
                    <a:gd name="connsiteY105" fmla="*/ 260988 h 328867"/>
                    <a:gd name="connsiteX106" fmla="*/ 44082 w 332747"/>
                    <a:gd name="connsiteY106" fmla="*/ 253364 h 328867"/>
                    <a:gd name="connsiteX107" fmla="*/ 52889 w 332747"/>
                    <a:gd name="connsiteY107" fmla="*/ 243479 h 328867"/>
                    <a:gd name="connsiteX108" fmla="*/ 50231 w 332747"/>
                    <a:gd name="connsiteY108" fmla="*/ 243104 h 328867"/>
                    <a:gd name="connsiteX109" fmla="*/ 53334 w 332747"/>
                    <a:gd name="connsiteY109" fmla="*/ 238256 h 328867"/>
                    <a:gd name="connsiteX110" fmla="*/ 56848 w 332747"/>
                    <a:gd name="connsiteY110" fmla="*/ 235515 h 328867"/>
                    <a:gd name="connsiteX111" fmla="*/ 58616 w 332747"/>
                    <a:gd name="connsiteY111" fmla="*/ 229601 h 328867"/>
                    <a:gd name="connsiteX112" fmla="*/ 56531 w 332747"/>
                    <a:gd name="connsiteY112" fmla="*/ 226298 h 328867"/>
                    <a:gd name="connsiteX113" fmla="*/ 59366 w 332747"/>
                    <a:gd name="connsiteY113" fmla="*/ 225057 h 328867"/>
                    <a:gd name="connsiteX114" fmla="*/ 54037 w 332747"/>
                    <a:gd name="connsiteY114" fmla="*/ 224213 h 328867"/>
                    <a:gd name="connsiteX115" fmla="*/ 55419 w 332747"/>
                    <a:gd name="connsiteY115" fmla="*/ 221672 h 328867"/>
                    <a:gd name="connsiteX116" fmla="*/ 53276 w 332747"/>
                    <a:gd name="connsiteY116" fmla="*/ 222082 h 328867"/>
                    <a:gd name="connsiteX117" fmla="*/ 58604 w 332747"/>
                    <a:gd name="connsiteY117" fmla="*/ 212842 h 328867"/>
                    <a:gd name="connsiteX118" fmla="*/ 47151 w 332747"/>
                    <a:gd name="connsiteY118" fmla="*/ 212420 h 328867"/>
                    <a:gd name="connsiteX119" fmla="*/ 43626 w 332747"/>
                    <a:gd name="connsiteY119" fmla="*/ 212420 h 328867"/>
                    <a:gd name="connsiteX120" fmla="*/ 44328 w 332747"/>
                    <a:gd name="connsiteY120" fmla="*/ 214095 h 328867"/>
                    <a:gd name="connsiteX121" fmla="*/ 22158 w 332747"/>
                    <a:gd name="connsiteY121" fmla="*/ 200662 h 328867"/>
                    <a:gd name="connsiteX122" fmla="*/ 22041 w 332747"/>
                    <a:gd name="connsiteY122" fmla="*/ 209164 h 328867"/>
                    <a:gd name="connsiteX123" fmla="*/ 16478 w 332747"/>
                    <a:gd name="connsiteY123" fmla="*/ 212467 h 328867"/>
                    <a:gd name="connsiteX124" fmla="*/ 16982 w 332747"/>
                    <a:gd name="connsiteY124" fmla="*/ 205897 h 328867"/>
                    <a:gd name="connsiteX125" fmla="*/ 9767 w 332747"/>
                    <a:gd name="connsiteY125" fmla="*/ 198401 h 328867"/>
                    <a:gd name="connsiteX126" fmla="*/ 4228 w 332747"/>
                    <a:gd name="connsiteY126" fmla="*/ 196785 h 328867"/>
                    <a:gd name="connsiteX127" fmla="*/ 0 w 332747"/>
                    <a:gd name="connsiteY127" fmla="*/ 192686 h 328867"/>
                    <a:gd name="connsiteX128" fmla="*/ 9299 w 332747"/>
                    <a:gd name="connsiteY128" fmla="*/ 185929 h 328867"/>
                    <a:gd name="connsiteX129" fmla="*/ 12578 w 332747"/>
                    <a:gd name="connsiteY129" fmla="*/ 172121 h 328867"/>
                    <a:gd name="connsiteX130" fmla="*/ 29935 w 332747"/>
                    <a:gd name="connsiteY130" fmla="*/ 157505 h 328867"/>
                    <a:gd name="connsiteX131" fmla="*/ 35732 w 332747"/>
                    <a:gd name="connsiteY131" fmla="*/ 159203 h 328867"/>
                    <a:gd name="connsiteX132" fmla="*/ 37980 w 332747"/>
                    <a:gd name="connsiteY132" fmla="*/ 153909 h 328867"/>
                    <a:gd name="connsiteX133" fmla="*/ 50254 w 332747"/>
                    <a:gd name="connsiteY133" fmla="*/ 147456 h 328867"/>
                    <a:gd name="connsiteX134" fmla="*/ 56356 w 332747"/>
                    <a:gd name="connsiteY134" fmla="*/ 148323 h 328867"/>
                    <a:gd name="connsiteX135" fmla="*/ 59213 w 332747"/>
                    <a:gd name="connsiteY135" fmla="*/ 144517 h 328867"/>
                    <a:gd name="connsiteX136" fmla="*/ 70984 w 332747"/>
                    <a:gd name="connsiteY136" fmla="*/ 139867 h 328867"/>
                    <a:gd name="connsiteX137" fmla="*/ 88340 w 332747"/>
                    <a:gd name="connsiteY137" fmla="*/ 131177 h 328867"/>
                    <a:gd name="connsiteX138" fmla="*/ 86525 w 332747"/>
                    <a:gd name="connsiteY138" fmla="*/ 130908 h 328867"/>
                    <a:gd name="connsiteX139" fmla="*/ 95683 w 332747"/>
                    <a:gd name="connsiteY139" fmla="*/ 119583 h 328867"/>
                    <a:gd name="connsiteX140" fmla="*/ 105251 w 332747"/>
                    <a:gd name="connsiteY140" fmla="*/ 111080 h 328867"/>
                    <a:gd name="connsiteX141" fmla="*/ 113684 w 332747"/>
                    <a:gd name="connsiteY141" fmla="*/ 102789 h 328867"/>
                    <a:gd name="connsiteX142" fmla="*/ 112958 w 332747"/>
                    <a:gd name="connsiteY142" fmla="*/ 104135 h 328867"/>
                    <a:gd name="connsiteX143" fmla="*/ 117631 w 332747"/>
                    <a:gd name="connsiteY143" fmla="*/ 90597 h 328867"/>
                    <a:gd name="connsiteX144" fmla="*/ 125489 w 332747"/>
                    <a:gd name="connsiteY144" fmla="*/ 81895 h 328867"/>
                    <a:gd name="connsiteX145" fmla="*/ 122971 w 332747"/>
                    <a:gd name="connsiteY145" fmla="*/ 79717 h 328867"/>
                    <a:gd name="connsiteX146" fmla="*/ 128651 w 332747"/>
                    <a:gd name="connsiteY146" fmla="*/ 82223 h 328867"/>
                    <a:gd name="connsiteX147" fmla="*/ 143677 w 332747"/>
                    <a:gd name="connsiteY147" fmla="*/ 83160 h 328867"/>
                    <a:gd name="connsiteX148" fmla="*/ 149052 w 332747"/>
                    <a:gd name="connsiteY148" fmla="*/ 89133 h 328867"/>
                    <a:gd name="connsiteX149" fmla="*/ 145141 w 332747"/>
                    <a:gd name="connsiteY149" fmla="*/ 92107 h 328867"/>
                    <a:gd name="connsiteX150" fmla="*/ 154756 w 332747"/>
                    <a:gd name="connsiteY150" fmla="*/ 92845 h 328867"/>
                    <a:gd name="connsiteX151" fmla="*/ 153714 w 332747"/>
                    <a:gd name="connsiteY151" fmla="*/ 94134 h 328867"/>
                    <a:gd name="connsiteX152" fmla="*/ 161970 w 332747"/>
                    <a:gd name="connsiteY152" fmla="*/ 95492 h 328867"/>
                    <a:gd name="connsiteX153" fmla="*/ 167990 w 332747"/>
                    <a:gd name="connsiteY153" fmla="*/ 94989 h 328867"/>
                    <a:gd name="connsiteX154" fmla="*/ 172136 w 332747"/>
                    <a:gd name="connsiteY154" fmla="*/ 98362 h 328867"/>
                    <a:gd name="connsiteX155" fmla="*/ 191905 w 332747"/>
                    <a:gd name="connsiteY155" fmla="*/ 96277 h 328867"/>
                    <a:gd name="connsiteX156" fmla="*/ 194458 w 332747"/>
                    <a:gd name="connsiteY156" fmla="*/ 99392 h 328867"/>
                    <a:gd name="connsiteX157" fmla="*/ 197995 w 332747"/>
                    <a:gd name="connsiteY157" fmla="*/ 101102 h 328867"/>
                    <a:gd name="connsiteX158" fmla="*/ 197269 w 332747"/>
                    <a:gd name="connsiteY158" fmla="*/ 101992 h 328867"/>
                    <a:gd name="connsiteX159" fmla="*/ 206615 w 332747"/>
                    <a:gd name="connsiteY159" fmla="*/ 87903 h 328867"/>
                    <a:gd name="connsiteX160" fmla="*/ 200126 w 332747"/>
                    <a:gd name="connsiteY160" fmla="*/ 81228 h 328867"/>
                    <a:gd name="connsiteX161" fmla="*/ 204190 w 332747"/>
                    <a:gd name="connsiteY161" fmla="*/ 61470 h 328867"/>
                    <a:gd name="connsiteX162" fmla="*/ 228152 w 332747"/>
                    <a:gd name="connsiteY162" fmla="*/ 61447 h 328867"/>
                    <a:gd name="connsiteX163" fmla="*/ 247382 w 332747"/>
                    <a:gd name="connsiteY163" fmla="*/ 53565 h 328867"/>
                    <a:gd name="connsiteX164" fmla="*/ 255908 w 332747"/>
                    <a:gd name="connsiteY164" fmla="*/ 44535 h 328867"/>
                    <a:gd name="connsiteX165" fmla="*/ 254140 w 332747"/>
                    <a:gd name="connsiteY165" fmla="*/ 43247 h 328867"/>
                    <a:gd name="connsiteX166" fmla="*/ 262397 w 332747"/>
                    <a:gd name="connsiteY166" fmla="*/ 36818 h 328867"/>
                    <a:gd name="connsiteX167" fmla="*/ 261753 w 332747"/>
                    <a:gd name="connsiteY167" fmla="*/ 35248 h 328867"/>
                    <a:gd name="connsiteX168" fmla="*/ 274881 w 332747"/>
                    <a:gd name="connsiteY168" fmla="*/ 35084 h 328867"/>
                    <a:gd name="connsiteX169" fmla="*/ 291324 w 332747"/>
                    <a:gd name="connsiteY169" fmla="*/ 1788 h 328867"/>
                    <a:gd name="connsiteX170" fmla="*/ 289907 w 332747"/>
                    <a:gd name="connsiteY170" fmla="*/ 535 h 328867"/>
                    <a:gd name="connsiteX171" fmla="*/ 296021 w 332747"/>
                    <a:gd name="connsiteY171" fmla="*/ 2713 h 328867"/>
                    <a:gd name="connsiteX172" fmla="*/ 296021 w 332747"/>
                    <a:gd name="connsiteY172" fmla="*/ 2713 h 328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Lst>
                  <a:rect l="l" t="t" r="r" b="b"/>
                  <a:pathLst>
                    <a:path w="332747" h="328867">
                      <a:moveTo>
                        <a:pt x="296021" y="2713"/>
                      </a:moveTo>
                      <a:cubicBezTo>
                        <a:pt x="299956" y="1460"/>
                        <a:pt x="304992" y="371"/>
                        <a:pt x="301384" y="5267"/>
                      </a:cubicBezTo>
                      <a:cubicBezTo>
                        <a:pt x="313143" y="7562"/>
                        <a:pt x="305706" y="12656"/>
                        <a:pt x="312077" y="20644"/>
                      </a:cubicBezTo>
                      <a:cubicBezTo>
                        <a:pt x="314782" y="24052"/>
                        <a:pt x="318671" y="26394"/>
                        <a:pt x="320638" y="28385"/>
                      </a:cubicBezTo>
                      <a:cubicBezTo>
                        <a:pt x="320474" y="20398"/>
                        <a:pt x="323636" y="29837"/>
                        <a:pt x="325276" y="32765"/>
                      </a:cubicBezTo>
                      <a:cubicBezTo>
                        <a:pt x="327326" y="36431"/>
                        <a:pt x="330159" y="41877"/>
                        <a:pt x="332748" y="44711"/>
                      </a:cubicBezTo>
                      <a:cubicBezTo>
                        <a:pt x="331647" y="45496"/>
                        <a:pt x="328742" y="46573"/>
                        <a:pt x="327396" y="46737"/>
                      </a:cubicBezTo>
                      <a:cubicBezTo>
                        <a:pt x="326681" y="41092"/>
                        <a:pt x="320064" y="42580"/>
                        <a:pt x="317499" y="42849"/>
                      </a:cubicBezTo>
                      <a:cubicBezTo>
                        <a:pt x="317195" y="45379"/>
                        <a:pt x="316281" y="45870"/>
                        <a:pt x="317148" y="48002"/>
                      </a:cubicBezTo>
                      <a:cubicBezTo>
                        <a:pt x="316586" y="47803"/>
                        <a:pt x="315836" y="47358"/>
                        <a:pt x="315438" y="47171"/>
                      </a:cubicBezTo>
                      <a:cubicBezTo>
                        <a:pt x="314817" y="49302"/>
                        <a:pt x="313846" y="49946"/>
                        <a:pt x="312264" y="51726"/>
                      </a:cubicBezTo>
                      <a:cubicBezTo>
                        <a:pt x="313682" y="42907"/>
                        <a:pt x="305073" y="57547"/>
                        <a:pt x="304687" y="57922"/>
                      </a:cubicBezTo>
                      <a:cubicBezTo>
                        <a:pt x="302790" y="59760"/>
                        <a:pt x="299171" y="57465"/>
                        <a:pt x="297637" y="63660"/>
                      </a:cubicBezTo>
                      <a:cubicBezTo>
                        <a:pt x="297426" y="63204"/>
                        <a:pt x="297239" y="62759"/>
                        <a:pt x="297028" y="62302"/>
                      </a:cubicBezTo>
                      <a:cubicBezTo>
                        <a:pt x="296630" y="62993"/>
                        <a:pt x="296302" y="63871"/>
                        <a:pt x="295318" y="64293"/>
                      </a:cubicBezTo>
                      <a:cubicBezTo>
                        <a:pt x="295470" y="64761"/>
                        <a:pt x="296231" y="64960"/>
                        <a:pt x="296395" y="65569"/>
                      </a:cubicBezTo>
                      <a:cubicBezTo>
                        <a:pt x="295868" y="67150"/>
                        <a:pt x="292027" y="69575"/>
                        <a:pt x="292355" y="68989"/>
                      </a:cubicBezTo>
                      <a:cubicBezTo>
                        <a:pt x="291289" y="70828"/>
                        <a:pt x="289884" y="75840"/>
                        <a:pt x="288033" y="78288"/>
                      </a:cubicBezTo>
                      <a:cubicBezTo>
                        <a:pt x="284473" y="75981"/>
                        <a:pt x="280596" y="84765"/>
                        <a:pt x="279355" y="88407"/>
                      </a:cubicBezTo>
                      <a:cubicBezTo>
                        <a:pt x="276837" y="95773"/>
                        <a:pt x="280421" y="95598"/>
                        <a:pt x="283079" y="100470"/>
                      </a:cubicBezTo>
                      <a:cubicBezTo>
                        <a:pt x="285597" y="105072"/>
                        <a:pt x="285070" y="101395"/>
                        <a:pt x="283512" y="107953"/>
                      </a:cubicBezTo>
                      <a:cubicBezTo>
                        <a:pt x="282213" y="113411"/>
                        <a:pt x="278851" y="124607"/>
                        <a:pt x="283981" y="128987"/>
                      </a:cubicBezTo>
                      <a:cubicBezTo>
                        <a:pt x="281323" y="136565"/>
                        <a:pt x="281358" y="133613"/>
                        <a:pt x="274249" y="135499"/>
                      </a:cubicBezTo>
                      <a:cubicBezTo>
                        <a:pt x="270571" y="136471"/>
                        <a:pt x="261307" y="140605"/>
                        <a:pt x="259890" y="145770"/>
                      </a:cubicBezTo>
                      <a:cubicBezTo>
                        <a:pt x="255018" y="139680"/>
                        <a:pt x="254034" y="150173"/>
                        <a:pt x="252184" y="153008"/>
                      </a:cubicBezTo>
                      <a:cubicBezTo>
                        <a:pt x="247675" y="159882"/>
                        <a:pt x="237100" y="163220"/>
                        <a:pt x="229956" y="166511"/>
                      </a:cubicBezTo>
                      <a:cubicBezTo>
                        <a:pt x="220961" y="170645"/>
                        <a:pt x="229335" y="170036"/>
                        <a:pt x="224721" y="176232"/>
                      </a:cubicBezTo>
                      <a:cubicBezTo>
                        <a:pt x="221992" y="179897"/>
                        <a:pt x="209601" y="178749"/>
                        <a:pt x="209027" y="185589"/>
                      </a:cubicBezTo>
                      <a:cubicBezTo>
                        <a:pt x="206942" y="182930"/>
                        <a:pt x="204589" y="181420"/>
                        <a:pt x="204155" y="185519"/>
                      </a:cubicBezTo>
                      <a:cubicBezTo>
                        <a:pt x="199892" y="186503"/>
                        <a:pt x="197187" y="184008"/>
                        <a:pt x="192807" y="184640"/>
                      </a:cubicBezTo>
                      <a:cubicBezTo>
                        <a:pt x="190558" y="184968"/>
                        <a:pt x="190301" y="188739"/>
                        <a:pt x="187045" y="188306"/>
                      </a:cubicBezTo>
                      <a:cubicBezTo>
                        <a:pt x="186998" y="192253"/>
                        <a:pt x="185077" y="195275"/>
                        <a:pt x="180522" y="194373"/>
                      </a:cubicBezTo>
                      <a:cubicBezTo>
                        <a:pt x="179655" y="197757"/>
                        <a:pt x="173155" y="197125"/>
                        <a:pt x="170684" y="199233"/>
                      </a:cubicBezTo>
                      <a:cubicBezTo>
                        <a:pt x="164828" y="204234"/>
                        <a:pt x="168072" y="205299"/>
                        <a:pt x="168260" y="209492"/>
                      </a:cubicBezTo>
                      <a:cubicBezTo>
                        <a:pt x="168341" y="211343"/>
                        <a:pt x="168880" y="229859"/>
                        <a:pt x="167791" y="230034"/>
                      </a:cubicBezTo>
                      <a:cubicBezTo>
                        <a:pt x="166210" y="230292"/>
                        <a:pt x="168634" y="218814"/>
                        <a:pt x="159499" y="225420"/>
                      </a:cubicBezTo>
                      <a:cubicBezTo>
                        <a:pt x="160694" y="225666"/>
                        <a:pt x="163598" y="227177"/>
                        <a:pt x="164441" y="227341"/>
                      </a:cubicBezTo>
                      <a:cubicBezTo>
                        <a:pt x="163329" y="227212"/>
                        <a:pt x="161631" y="227809"/>
                        <a:pt x="160202" y="227692"/>
                      </a:cubicBezTo>
                      <a:cubicBezTo>
                        <a:pt x="159324" y="231463"/>
                        <a:pt x="161244" y="242495"/>
                        <a:pt x="165367" y="236675"/>
                      </a:cubicBezTo>
                      <a:cubicBezTo>
                        <a:pt x="166643" y="240493"/>
                        <a:pt x="170637" y="239708"/>
                        <a:pt x="173740" y="240680"/>
                      </a:cubicBezTo>
                      <a:cubicBezTo>
                        <a:pt x="179479" y="242472"/>
                        <a:pt x="178565" y="242284"/>
                        <a:pt x="182922" y="246255"/>
                      </a:cubicBezTo>
                      <a:cubicBezTo>
                        <a:pt x="186998" y="249956"/>
                        <a:pt x="187947" y="252930"/>
                        <a:pt x="192432" y="256971"/>
                      </a:cubicBezTo>
                      <a:cubicBezTo>
                        <a:pt x="195336" y="259583"/>
                        <a:pt x="202574" y="262850"/>
                        <a:pt x="204870" y="264302"/>
                      </a:cubicBezTo>
                      <a:cubicBezTo>
                        <a:pt x="206111" y="265099"/>
                        <a:pt x="210585" y="265403"/>
                        <a:pt x="210761" y="269186"/>
                      </a:cubicBezTo>
                      <a:cubicBezTo>
                        <a:pt x="210960" y="273144"/>
                        <a:pt x="207704" y="270744"/>
                        <a:pt x="206591" y="273859"/>
                      </a:cubicBezTo>
                      <a:cubicBezTo>
                        <a:pt x="205268" y="277595"/>
                        <a:pt x="206872" y="280370"/>
                        <a:pt x="204296" y="284247"/>
                      </a:cubicBezTo>
                      <a:cubicBezTo>
                        <a:pt x="197679" y="294178"/>
                        <a:pt x="186248" y="289915"/>
                        <a:pt x="178062" y="289646"/>
                      </a:cubicBezTo>
                      <a:cubicBezTo>
                        <a:pt x="172335" y="289459"/>
                        <a:pt x="166327" y="290360"/>
                        <a:pt x="160799" y="290372"/>
                      </a:cubicBezTo>
                      <a:cubicBezTo>
                        <a:pt x="155353" y="290372"/>
                        <a:pt x="149673" y="289787"/>
                        <a:pt x="144485" y="291988"/>
                      </a:cubicBezTo>
                      <a:cubicBezTo>
                        <a:pt x="136931" y="295186"/>
                        <a:pt x="132481" y="304449"/>
                        <a:pt x="127351" y="310516"/>
                      </a:cubicBezTo>
                      <a:cubicBezTo>
                        <a:pt x="126672" y="311300"/>
                        <a:pt x="123205" y="312191"/>
                        <a:pt x="122971" y="312601"/>
                      </a:cubicBezTo>
                      <a:cubicBezTo>
                        <a:pt x="122303" y="313737"/>
                        <a:pt x="122655" y="317988"/>
                        <a:pt x="122350" y="318339"/>
                      </a:cubicBezTo>
                      <a:cubicBezTo>
                        <a:pt x="120664" y="320330"/>
                        <a:pt x="121706" y="322508"/>
                        <a:pt x="117654" y="322696"/>
                      </a:cubicBezTo>
                      <a:cubicBezTo>
                        <a:pt x="112899" y="322907"/>
                        <a:pt x="109678" y="316899"/>
                        <a:pt x="105216" y="316793"/>
                      </a:cubicBezTo>
                      <a:cubicBezTo>
                        <a:pt x="104842" y="316782"/>
                        <a:pt x="96772" y="318901"/>
                        <a:pt x="96374" y="319229"/>
                      </a:cubicBezTo>
                      <a:cubicBezTo>
                        <a:pt x="94980" y="320424"/>
                        <a:pt x="96831" y="325026"/>
                        <a:pt x="95835" y="325319"/>
                      </a:cubicBezTo>
                      <a:cubicBezTo>
                        <a:pt x="92615" y="326244"/>
                        <a:pt x="90565" y="319393"/>
                        <a:pt x="90507" y="317098"/>
                      </a:cubicBezTo>
                      <a:cubicBezTo>
                        <a:pt x="88527" y="317121"/>
                        <a:pt x="86642" y="316430"/>
                        <a:pt x="84686" y="315200"/>
                      </a:cubicBezTo>
                      <a:cubicBezTo>
                        <a:pt x="86103" y="316981"/>
                        <a:pt x="85904" y="317964"/>
                        <a:pt x="86876" y="319990"/>
                      </a:cubicBezTo>
                      <a:cubicBezTo>
                        <a:pt x="81301" y="318351"/>
                        <a:pt x="79533" y="311664"/>
                        <a:pt x="76336" y="309649"/>
                      </a:cubicBezTo>
                      <a:cubicBezTo>
                        <a:pt x="75047" y="308829"/>
                        <a:pt x="68009" y="306569"/>
                        <a:pt x="66580" y="307342"/>
                      </a:cubicBezTo>
                      <a:cubicBezTo>
                        <a:pt x="63629" y="308935"/>
                        <a:pt x="71089" y="312284"/>
                        <a:pt x="70831" y="312155"/>
                      </a:cubicBezTo>
                      <a:cubicBezTo>
                        <a:pt x="71721" y="312261"/>
                        <a:pt x="71967" y="311757"/>
                        <a:pt x="72974" y="312155"/>
                      </a:cubicBezTo>
                      <a:cubicBezTo>
                        <a:pt x="72494" y="312636"/>
                        <a:pt x="72143" y="313174"/>
                        <a:pt x="71897" y="313807"/>
                      </a:cubicBezTo>
                      <a:cubicBezTo>
                        <a:pt x="72740" y="314158"/>
                        <a:pt x="73419" y="313608"/>
                        <a:pt x="74028" y="313807"/>
                      </a:cubicBezTo>
                      <a:cubicBezTo>
                        <a:pt x="70702" y="315095"/>
                        <a:pt x="71616" y="315318"/>
                        <a:pt x="68348" y="313807"/>
                      </a:cubicBezTo>
                      <a:cubicBezTo>
                        <a:pt x="68676" y="317484"/>
                        <a:pt x="68149" y="325448"/>
                        <a:pt x="65854" y="322462"/>
                      </a:cubicBezTo>
                      <a:cubicBezTo>
                        <a:pt x="62891" y="321747"/>
                        <a:pt x="64847" y="323399"/>
                        <a:pt x="62961" y="321607"/>
                      </a:cubicBezTo>
                      <a:cubicBezTo>
                        <a:pt x="60794" y="326350"/>
                        <a:pt x="56157" y="325425"/>
                        <a:pt x="53569" y="328868"/>
                      </a:cubicBezTo>
                      <a:cubicBezTo>
                        <a:pt x="52444" y="325225"/>
                        <a:pt x="54810" y="322977"/>
                        <a:pt x="58651" y="322918"/>
                      </a:cubicBezTo>
                      <a:cubicBezTo>
                        <a:pt x="57527" y="322801"/>
                        <a:pt x="56321" y="322614"/>
                        <a:pt x="55126" y="322462"/>
                      </a:cubicBezTo>
                      <a:cubicBezTo>
                        <a:pt x="57550" y="319499"/>
                        <a:pt x="61052" y="320272"/>
                        <a:pt x="62961" y="318761"/>
                      </a:cubicBezTo>
                      <a:cubicBezTo>
                        <a:pt x="60373" y="317414"/>
                        <a:pt x="60455" y="319323"/>
                        <a:pt x="62059" y="315681"/>
                      </a:cubicBezTo>
                      <a:cubicBezTo>
                        <a:pt x="59237" y="314217"/>
                        <a:pt x="58815" y="314931"/>
                        <a:pt x="57984" y="315435"/>
                      </a:cubicBezTo>
                      <a:cubicBezTo>
                        <a:pt x="57105" y="315645"/>
                        <a:pt x="56262" y="315189"/>
                        <a:pt x="55454" y="315845"/>
                      </a:cubicBezTo>
                      <a:cubicBezTo>
                        <a:pt x="57480" y="316934"/>
                        <a:pt x="57457" y="317578"/>
                        <a:pt x="58639" y="318772"/>
                      </a:cubicBezTo>
                      <a:cubicBezTo>
                        <a:pt x="56672" y="317660"/>
                        <a:pt x="55618" y="317929"/>
                        <a:pt x="53662" y="317496"/>
                      </a:cubicBezTo>
                      <a:cubicBezTo>
                        <a:pt x="53908" y="318234"/>
                        <a:pt x="54904" y="318304"/>
                        <a:pt x="55114" y="318772"/>
                      </a:cubicBezTo>
                      <a:cubicBezTo>
                        <a:pt x="53931" y="319826"/>
                        <a:pt x="52713" y="320061"/>
                        <a:pt x="51519" y="320834"/>
                      </a:cubicBezTo>
                      <a:cubicBezTo>
                        <a:pt x="51612" y="320845"/>
                        <a:pt x="48251" y="320131"/>
                        <a:pt x="47912" y="320014"/>
                      </a:cubicBezTo>
                      <a:cubicBezTo>
                        <a:pt x="51870" y="318035"/>
                        <a:pt x="51765" y="315446"/>
                        <a:pt x="48989" y="313373"/>
                      </a:cubicBezTo>
                      <a:cubicBezTo>
                        <a:pt x="46237" y="317824"/>
                        <a:pt x="36926" y="318585"/>
                        <a:pt x="36130" y="312963"/>
                      </a:cubicBezTo>
                      <a:cubicBezTo>
                        <a:pt x="35509" y="312987"/>
                        <a:pt x="35041" y="313889"/>
                        <a:pt x="34362" y="313830"/>
                      </a:cubicBezTo>
                      <a:cubicBezTo>
                        <a:pt x="36856" y="309227"/>
                        <a:pt x="41318" y="312191"/>
                        <a:pt x="45078" y="310492"/>
                      </a:cubicBezTo>
                      <a:cubicBezTo>
                        <a:pt x="37641" y="309521"/>
                        <a:pt x="43848" y="304168"/>
                        <a:pt x="48286" y="308092"/>
                      </a:cubicBezTo>
                      <a:cubicBezTo>
                        <a:pt x="48778" y="307295"/>
                        <a:pt x="49317" y="306206"/>
                        <a:pt x="49704" y="305527"/>
                      </a:cubicBezTo>
                      <a:cubicBezTo>
                        <a:pt x="45277" y="302587"/>
                        <a:pt x="38051" y="304262"/>
                        <a:pt x="33202" y="303946"/>
                      </a:cubicBezTo>
                      <a:cubicBezTo>
                        <a:pt x="31972" y="303864"/>
                        <a:pt x="28763" y="302880"/>
                        <a:pt x="28412" y="302821"/>
                      </a:cubicBezTo>
                      <a:cubicBezTo>
                        <a:pt x="24828" y="302283"/>
                        <a:pt x="21666" y="303653"/>
                        <a:pt x="18071" y="301697"/>
                      </a:cubicBezTo>
                      <a:cubicBezTo>
                        <a:pt x="20823" y="300760"/>
                        <a:pt x="23271" y="298758"/>
                        <a:pt x="26128" y="298043"/>
                      </a:cubicBezTo>
                      <a:cubicBezTo>
                        <a:pt x="26866" y="297856"/>
                        <a:pt x="27944" y="295806"/>
                        <a:pt x="29115" y="295338"/>
                      </a:cubicBezTo>
                      <a:cubicBezTo>
                        <a:pt x="31352" y="294448"/>
                        <a:pt x="30321" y="300151"/>
                        <a:pt x="35052" y="295560"/>
                      </a:cubicBezTo>
                      <a:cubicBezTo>
                        <a:pt x="22837" y="297458"/>
                        <a:pt x="32101" y="280675"/>
                        <a:pt x="33998" y="282619"/>
                      </a:cubicBezTo>
                      <a:cubicBezTo>
                        <a:pt x="36950" y="279726"/>
                        <a:pt x="36142" y="276213"/>
                        <a:pt x="34596" y="273414"/>
                      </a:cubicBezTo>
                      <a:cubicBezTo>
                        <a:pt x="37395" y="274351"/>
                        <a:pt x="39351" y="274386"/>
                        <a:pt x="42103" y="274128"/>
                      </a:cubicBezTo>
                      <a:cubicBezTo>
                        <a:pt x="41868" y="272477"/>
                        <a:pt x="42419" y="270381"/>
                        <a:pt x="41857" y="268905"/>
                      </a:cubicBezTo>
                      <a:cubicBezTo>
                        <a:pt x="45101" y="271470"/>
                        <a:pt x="43133" y="270720"/>
                        <a:pt x="44796" y="268671"/>
                      </a:cubicBezTo>
                      <a:cubicBezTo>
                        <a:pt x="49914" y="270275"/>
                        <a:pt x="60068" y="263623"/>
                        <a:pt x="62598" y="269725"/>
                      </a:cubicBezTo>
                      <a:cubicBezTo>
                        <a:pt x="63043" y="269303"/>
                        <a:pt x="63348" y="268565"/>
                        <a:pt x="63863" y="268108"/>
                      </a:cubicBezTo>
                      <a:cubicBezTo>
                        <a:pt x="65831" y="270404"/>
                        <a:pt x="67189" y="270251"/>
                        <a:pt x="69742" y="271036"/>
                      </a:cubicBezTo>
                      <a:cubicBezTo>
                        <a:pt x="66006" y="268202"/>
                        <a:pt x="61099" y="266106"/>
                        <a:pt x="58780" y="262147"/>
                      </a:cubicBezTo>
                      <a:cubicBezTo>
                        <a:pt x="58569" y="262709"/>
                        <a:pt x="57293" y="263213"/>
                        <a:pt x="56848" y="263494"/>
                      </a:cubicBezTo>
                      <a:cubicBezTo>
                        <a:pt x="56953" y="263881"/>
                        <a:pt x="57960" y="264044"/>
                        <a:pt x="58065" y="264607"/>
                      </a:cubicBezTo>
                      <a:cubicBezTo>
                        <a:pt x="55232" y="265778"/>
                        <a:pt x="53416" y="265883"/>
                        <a:pt x="51121" y="264736"/>
                      </a:cubicBezTo>
                      <a:cubicBezTo>
                        <a:pt x="50664" y="265544"/>
                        <a:pt x="51413" y="265672"/>
                        <a:pt x="51507" y="266399"/>
                      </a:cubicBezTo>
                      <a:cubicBezTo>
                        <a:pt x="47677" y="266164"/>
                        <a:pt x="48825" y="263646"/>
                        <a:pt x="47174" y="260988"/>
                      </a:cubicBezTo>
                      <a:cubicBezTo>
                        <a:pt x="47127" y="268073"/>
                        <a:pt x="41904" y="259735"/>
                        <a:pt x="44082" y="253364"/>
                      </a:cubicBezTo>
                      <a:cubicBezTo>
                        <a:pt x="45464" y="249323"/>
                        <a:pt x="48263" y="243280"/>
                        <a:pt x="52889" y="243479"/>
                      </a:cubicBezTo>
                      <a:cubicBezTo>
                        <a:pt x="52011" y="243350"/>
                        <a:pt x="51121" y="243233"/>
                        <a:pt x="50231" y="243104"/>
                      </a:cubicBezTo>
                      <a:cubicBezTo>
                        <a:pt x="50020" y="239837"/>
                        <a:pt x="50559" y="239122"/>
                        <a:pt x="53334" y="238256"/>
                      </a:cubicBezTo>
                      <a:cubicBezTo>
                        <a:pt x="53533" y="235363"/>
                        <a:pt x="53182" y="235094"/>
                        <a:pt x="56848" y="235515"/>
                      </a:cubicBezTo>
                      <a:cubicBezTo>
                        <a:pt x="56883" y="232564"/>
                        <a:pt x="56731" y="233009"/>
                        <a:pt x="58616" y="229601"/>
                      </a:cubicBezTo>
                      <a:cubicBezTo>
                        <a:pt x="56613" y="228207"/>
                        <a:pt x="57750" y="227973"/>
                        <a:pt x="56531" y="226298"/>
                      </a:cubicBezTo>
                      <a:cubicBezTo>
                        <a:pt x="58276" y="226123"/>
                        <a:pt x="57750" y="225783"/>
                        <a:pt x="59366" y="225057"/>
                      </a:cubicBezTo>
                      <a:cubicBezTo>
                        <a:pt x="57515" y="225244"/>
                        <a:pt x="55770" y="224272"/>
                        <a:pt x="54037" y="224213"/>
                      </a:cubicBezTo>
                      <a:cubicBezTo>
                        <a:pt x="54177" y="223089"/>
                        <a:pt x="54786" y="222574"/>
                        <a:pt x="55419" y="221672"/>
                      </a:cubicBezTo>
                      <a:cubicBezTo>
                        <a:pt x="54857" y="221637"/>
                        <a:pt x="53662" y="222164"/>
                        <a:pt x="53276" y="222082"/>
                      </a:cubicBezTo>
                      <a:cubicBezTo>
                        <a:pt x="54716" y="218604"/>
                        <a:pt x="58065" y="216004"/>
                        <a:pt x="58604" y="212842"/>
                      </a:cubicBezTo>
                      <a:cubicBezTo>
                        <a:pt x="54529" y="215348"/>
                        <a:pt x="47139" y="218569"/>
                        <a:pt x="47151" y="212420"/>
                      </a:cubicBezTo>
                      <a:cubicBezTo>
                        <a:pt x="45968" y="212420"/>
                        <a:pt x="44808" y="212420"/>
                        <a:pt x="43626" y="212420"/>
                      </a:cubicBezTo>
                      <a:cubicBezTo>
                        <a:pt x="43532" y="212889"/>
                        <a:pt x="44375" y="213615"/>
                        <a:pt x="44328" y="214095"/>
                      </a:cubicBezTo>
                      <a:cubicBezTo>
                        <a:pt x="38226" y="211694"/>
                        <a:pt x="24735" y="207068"/>
                        <a:pt x="22158" y="200662"/>
                      </a:cubicBezTo>
                      <a:cubicBezTo>
                        <a:pt x="22521" y="204199"/>
                        <a:pt x="22158" y="207033"/>
                        <a:pt x="22041" y="209164"/>
                      </a:cubicBezTo>
                      <a:cubicBezTo>
                        <a:pt x="19359" y="209832"/>
                        <a:pt x="18457" y="210406"/>
                        <a:pt x="16478" y="212467"/>
                      </a:cubicBezTo>
                      <a:cubicBezTo>
                        <a:pt x="15108" y="210628"/>
                        <a:pt x="15448" y="208356"/>
                        <a:pt x="16982" y="205897"/>
                      </a:cubicBezTo>
                      <a:cubicBezTo>
                        <a:pt x="13574" y="204936"/>
                        <a:pt x="12461" y="200486"/>
                        <a:pt x="9767" y="198401"/>
                      </a:cubicBezTo>
                      <a:cubicBezTo>
                        <a:pt x="8128" y="197148"/>
                        <a:pt x="5680" y="197781"/>
                        <a:pt x="4228" y="196785"/>
                      </a:cubicBezTo>
                      <a:cubicBezTo>
                        <a:pt x="2904" y="195884"/>
                        <a:pt x="1757" y="193834"/>
                        <a:pt x="0" y="192686"/>
                      </a:cubicBezTo>
                      <a:cubicBezTo>
                        <a:pt x="4474" y="190039"/>
                        <a:pt x="2319" y="183949"/>
                        <a:pt x="9299" y="185929"/>
                      </a:cubicBezTo>
                      <a:cubicBezTo>
                        <a:pt x="-4005" y="186737"/>
                        <a:pt x="8608" y="174896"/>
                        <a:pt x="12578" y="172121"/>
                      </a:cubicBezTo>
                      <a:cubicBezTo>
                        <a:pt x="18809" y="167752"/>
                        <a:pt x="25754" y="164555"/>
                        <a:pt x="29935" y="157505"/>
                      </a:cubicBezTo>
                      <a:cubicBezTo>
                        <a:pt x="31153" y="158758"/>
                        <a:pt x="33788" y="160468"/>
                        <a:pt x="35732" y="159203"/>
                      </a:cubicBezTo>
                      <a:cubicBezTo>
                        <a:pt x="38952" y="157095"/>
                        <a:pt x="35006" y="156767"/>
                        <a:pt x="37980" y="153909"/>
                      </a:cubicBezTo>
                      <a:cubicBezTo>
                        <a:pt x="39796" y="152164"/>
                        <a:pt x="48439" y="147960"/>
                        <a:pt x="50254" y="147456"/>
                      </a:cubicBezTo>
                      <a:cubicBezTo>
                        <a:pt x="51753" y="147046"/>
                        <a:pt x="55478" y="148768"/>
                        <a:pt x="56356" y="148323"/>
                      </a:cubicBezTo>
                      <a:cubicBezTo>
                        <a:pt x="57398" y="147784"/>
                        <a:pt x="58136" y="145313"/>
                        <a:pt x="59213" y="144517"/>
                      </a:cubicBezTo>
                      <a:cubicBezTo>
                        <a:pt x="64097" y="140863"/>
                        <a:pt x="64694" y="139153"/>
                        <a:pt x="70984" y="139867"/>
                      </a:cubicBezTo>
                      <a:cubicBezTo>
                        <a:pt x="64343" y="132044"/>
                        <a:pt x="86162" y="132946"/>
                        <a:pt x="88340" y="131177"/>
                      </a:cubicBezTo>
                      <a:cubicBezTo>
                        <a:pt x="88258" y="131154"/>
                        <a:pt x="86361" y="130779"/>
                        <a:pt x="86525" y="130908"/>
                      </a:cubicBezTo>
                      <a:cubicBezTo>
                        <a:pt x="92017" y="128577"/>
                        <a:pt x="92509" y="122593"/>
                        <a:pt x="95683" y="119583"/>
                      </a:cubicBezTo>
                      <a:cubicBezTo>
                        <a:pt x="99337" y="116151"/>
                        <a:pt x="102089" y="115132"/>
                        <a:pt x="105251" y="111080"/>
                      </a:cubicBezTo>
                      <a:cubicBezTo>
                        <a:pt x="107816" y="107824"/>
                        <a:pt x="109116" y="103374"/>
                        <a:pt x="113684" y="102789"/>
                      </a:cubicBezTo>
                      <a:cubicBezTo>
                        <a:pt x="113777" y="103105"/>
                        <a:pt x="112969" y="103796"/>
                        <a:pt x="112958" y="104135"/>
                      </a:cubicBezTo>
                      <a:cubicBezTo>
                        <a:pt x="114515" y="103152"/>
                        <a:pt x="115956" y="94145"/>
                        <a:pt x="117631" y="90597"/>
                      </a:cubicBezTo>
                      <a:cubicBezTo>
                        <a:pt x="119996" y="85584"/>
                        <a:pt x="119165" y="84987"/>
                        <a:pt x="125489" y="81895"/>
                      </a:cubicBezTo>
                      <a:cubicBezTo>
                        <a:pt x="124845" y="81251"/>
                        <a:pt x="123638" y="80220"/>
                        <a:pt x="122971" y="79717"/>
                      </a:cubicBezTo>
                      <a:cubicBezTo>
                        <a:pt x="125548" y="80431"/>
                        <a:pt x="126215" y="79963"/>
                        <a:pt x="128651" y="82223"/>
                      </a:cubicBezTo>
                      <a:cubicBezTo>
                        <a:pt x="134050" y="77281"/>
                        <a:pt x="139203" y="73182"/>
                        <a:pt x="143677" y="83160"/>
                      </a:cubicBezTo>
                      <a:cubicBezTo>
                        <a:pt x="141018" y="85865"/>
                        <a:pt x="145844" y="87517"/>
                        <a:pt x="149052" y="89133"/>
                      </a:cubicBezTo>
                      <a:cubicBezTo>
                        <a:pt x="147272" y="89906"/>
                        <a:pt x="146558" y="91218"/>
                        <a:pt x="145141" y="92107"/>
                      </a:cubicBezTo>
                      <a:cubicBezTo>
                        <a:pt x="148877" y="93981"/>
                        <a:pt x="150540" y="91627"/>
                        <a:pt x="154756" y="92845"/>
                      </a:cubicBezTo>
                      <a:cubicBezTo>
                        <a:pt x="154639" y="93455"/>
                        <a:pt x="153772" y="93818"/>
                        <a:pt x="153714" y="94134"/>
                      </a:cubicBezTo>
                      <a:cubicBezTo>
                        <a:pt x="156700" y="94509"/>
                        <a:pt x="159230" y="95047"/>
                        <a:pt x="161970" y="95492"/>
                      </a:cubicBezTo>
                      <a:cubicBezTo>
                        <a:pt x="163575" y="95750"/>
                        <a:pt x="166222" y="94661"/>
                        <a:pt x="167990" y="94989"/>
                      </a:cubicBezTo>
                      <a:cubicBezTo>
                        <a:pt x="167873" y="94965"/>
                        <a:pt x="170766" y="98034"/>
                        <a:pt x="172136" y="98362"/>
                      </a:cubicBezTo>
                      <a:cubicBezTo>
                        <a:pt x="178179" y="99814"/>
                        <a:pt x="186822" y="97073"/>
                        <a:pt x="191905" y="96277"/>
                      </a:cubicBezTo>
                      <a:cubicBezTo>
                        <a:pt x="192538" y="99626"/>
                        <a:pt x="192994" y="98373"/>
                        <a:pt x="194458" y="99392"/>
                      </a:cubicBezTo>
                      <a:cubicBezTo>
                        <a:pt x="195828" y="101547"/>
                        <a:pt x="194868" y="101196"/>
                        <a:pt x="197995" y="101102"/>
                      </a:cubicBezTo>
                      <a:cubicBezTo>
                        <a:pt x="197749" y="101395"/>
                        <a:pt x="197503" y="101699"/>
                        <a:pt x="197269" y="101992"/>
                      </a:cubicBezTo>
                      <a:cubicBezTo>
                        <a:pt x="202808" y="102344"/>
                        <a:pt x="207891" y="92236"/>
                        <a:pt x="206615" y="87903"/>
                      </a:cubicBezTo>
                      <a:cubicBezTo>
                        <a:pt x="205455" y="84038"/>
                        <a:pt x="202469" y="84261"/>
                        <a:pt x="200126" y="81228"/>
                      </a:cubicBezTo>
                      <a:cubicBezTo>
                        <a:pt x="192994" y="71975"/>
                        <a:pt x="188954" y="62653"/>
                        <a:pt x="204190" y="61470"/>
                      </a:cubicBezTo>
                      <a:cubicBezTo>
                        <a:pt x="213115" y="60779"/>
                        <a:pt x="219732" y="62536"/>
                        <a:pt x="228152" y="61447"/>
                      </a:cubicBezTo>
                      <a:cubicBezTo>
                        <a:pt x="234664" y="60604"/>
                        <a:pt x="244677" y="61810"/>
                        <a:pt x="247382" y="53565"/>
                      </a:cubicBezTo>
                      <a:cubicBezTo>
                        <a:pt x="254468" y="55755"/>
                        <a:pt x="253882" y="46702"/>
                        <a:pt x="255908" y="44535"/>
                      </a:cubicBezTo>
                      <a:cubicBezTo>
                        <a:pt x="255206" y="43926"/>
                        <a:pt x="254527" y="43692"/>
                        <a:pt x="254140" y="43247"/>
                      </a:cubicBezTo>
                      <a:cubicBezTo>
                        <a:pt x="255967" y="40881"/>
                        <a:pt x="259398" y="38199"/>
                        <a:pt x="262397" y="36818"/>
                      </a:cubicBezTo>
                      <a:cubicBezTo>
                        <a:pt x="262409" y="36642"/>
                        <a:pt x="261776" y="35623"/>
                        <a:pt x="261753" y="35248"/>
                      </a:cubicBezTo>
                      <a:cubicBezTo>
                        <a:pt x="267105" y="35764"/>
                        <a:pt x="273605" y="43423"/>
                        <a:pt x="274881" y="35084"/>
                      </a:cubicBezTo>
                      <a:cubicBezTo>
                        <a:pt x="288876" y="40600"/>
                        <a:pt x="279261" y="4341"/>
                        <a:pt x="291324" y="1788"/>
                      </a:cubicBezTo>
                      <a:cubicBezTo>
                        <a:pt x="291195" y="1414"/>
                        <a:pt x="290106" y="1273"/>
                        <a:pt x="289907" y="535"/>
                      </a:cubicBezTo>
                      <a:cubicBezTo>
                        <a:pt x="292577" y="-753"/>
                        <a:pt x="294264" y="406"/>
                        <a:pt x="296021" y="2713"/>
                      </a:cubicBezTo>
                      <a:lnTo>
                        <a:pt x="296021" y="2713"/>
                      </a:lnTo>
                      <a:close/>
                    </a:path>
                  </a:pathLst>
                </a:custGeom>
                <a:solidFill>
                  <a:srgbClr val="D6D6D2"/>
                </a:solidFill>
                <a:ln w="8774" cap="rnd">
                  <a:solidFill>
                    <a:srgbClr val="FFFFFF"/>
                  </a:solidFill>
                  <a:prstDash val="solid"/>
                  <a:round/>
                </a:ln>
              </p:spPr>
              <p:txBody>
                <a:bodyPr rtlCol="0" anchor="ctr"/>
                <a:lstStyle/>
                <a:p>
                  <a:endParaRPr lang="en-US"/>
                </a:p>
              </p:txBody>
            </p:sp>
            <p:sp>
              <p:nvSpPr>
                <p:cNvPr id="111" name="Freeform: Shape 110">
                  <a:extLst>
                    <a:ext uri="{FF2B5EF4-FFF2-40B4-BE49-F238E27FC236}">
                      <a16:creationId xmlns:a16="http://schemas.microsoft.com/office/drawing/2014/main" id="{8D5FDDB6-DEC8-435D-B677-122CAA6AC18B}"/>
                    </a:ext>
                  </a:extLst>
                </p:cNvPr>
                <p:cNvSpPr/>
                <p:nvPr/>
              </p:nvSpPr>
              <p:spPr>
                <a:xfrm>
                  <a:off x="4466902" y="6182432"/>
                  <a:ext cx="788419" cy="457885"/>
                </a:xfrm>
                <a:custGeom>
                  <a:avLst/>
                  <a:gdLst>
                    <a:gd name="connsiteX0" fmla="*/ 510836 w 788419"/>
                    <a:gd name="connsiteY0" fmla="*/ 391552 h 457885"/>
                    <a:gd name="connsiteX1" fmla="*/ 521658 w 788419"/>
                    <a:gd name="connsiteY1" fmla="*/ 399094 h 457885"/>
                    <a:gd name="connsiteX2" fmla="*/ 520486 w 788419"/>
                    <a:gd name="connsiteY2" fmla="*/ 406448 h 457885"/>
                    <a:gd name="connsiteX3" fmla="*/ 499031 w 788419"/>
                    <a:gd name="connsiteY3" fmla="*/ 401717 h 457885"/>
                    <a:gd name="connsiteX4" fmla="*/ 498715 w 788419"/>
                    <a:gd name="connsiteY4" fmla="*/ 389338 h 457885"/>
                    <a:gd name="connsiteX5" fmla="*/ 510836 w 788419"/>
                    <a:gd name="connsiteY5" fmla="*/ 391552 h 457885"/>
                    <a:gd name="connsiteX6" fmla="*/ 510836 w 788419"/>
                    <a:gd name="connsiteY6" fmla="*/ 391552 h 457885"/>
                    <a:gd name="connsiteX7" fmla="*/ 727558 w 788419"/>
                    <a:gd name="connsiteY7" fmla="*/ 184492 h 457885"/>
                    <a:gd name="connsiteX8" fmla="*/ 731786 w 788419"/>
                    <a:gd name="connsiteY8" fmla="*/ 188204 h 457885"/>
                    <a:gd name="connsiteX9" fmla="*/ 739117 w 788419"/>
                    <a:gd name="connsiteY9" fmla="*/ 188883 h 457885"/>
                    <a:gd name="connsiteX10" fmla="*/ 740815 w 788419"/>
                    <a:gd name="connsiteY10" fmla="*/ 187841 h 457885"/>
                    <a:gd name="connsiteX11" fmla="*/ 745488 w 788419"/>
                    <a:gd name="connsiteY11" fmla="*/ 196754 h 457885"/>
                    <a:gd name="connsiteX12" fmla="*/ 752609 w 788419"/>
                    <a:gd name="connsiteY12" fmla="*/ 206134 h 457885"/>
                    <a:gd name="connsiteX13" fmla="*/ 770739 w 788419"/>
                    <a:gd name="connsiteY13" fmla="*/ 220856 h 457885"/>
                    <a:gd name="connsiteX14" fmla="*/ 785015 w 788419"/>
                    <a:gd name="connsiteY14" fmla="*/ 253882 h 457885"/>
                    <a:gd name="connsiteX15" fmla="*/ 785190 w 788419"/>
                    <a:gd name="connsiteY15" fmla="*/ 249596 h 457885"/>
                    <a:gd name="connsiteX16" fmla="*/ 783246 w 788419"/>
                    <a:gd name="connsiteY16" fmla="*/ 253496 h 457885"/>
                    <a:gd name="connsiteX17" fmla="*/ 775189 w 788419"/>
                    <a:gd name="connsiteY17" fmla="*/ 256962 h 457885"/>
                    <a:gd name="connsiteX18" fmla="*/ 765890 w 788419"/>
                    <a:gd name="connsiteY18" fmla="*/ 255850 h 457885"/>
                    <a:gd name="connsiteX19" fmla="*/ 746449 w 788419"/>
                    <a:gd name="connsiteY19" fmla="*/ 239149 h 457885"/>
                    <a:gd name="connsiteX20" fmla="*/ 749740 w 788419"/>
                    <a:gd name="connsiteY20" fmla="*/ 231642 h 457885"/>
                    <a:gd name="connsiteX21" fmla="*/ 739808 w 788419"/>
                    <a:gd name="connsiteY21" fmla="*/ 224194 h 457885"/>
                    <a:gd name="connsiteX22" fmla="*/ 729619 w 788419"/>
                    <a:gd name="connsiteY22" fmla="*/ 213560 h 457885"/>
                    <a:gd name="connsiteX23" fmla="*/ 723553 w 788419"/>
                    <a:gd name="connsiteY23" fmla="*/ 188555 h 457885"/>
                    <a:gd name="connsiteX24" fmla="*/ 724923 w 788419"/>
                    <a:gd name="connsiteY24" fmla="*/ 189610 h 457885"/>
                    <a:gd name="connsiteX25" fmla="*/ 721773 w 788419"/>
                    <a:gd name="connsiteY25" fmla="*/ 181728 h 457885"/>
                    <a:gd name="connsiteX26" fmla="*/ 727558 w 788419"/>
                    <a:gd name="connsiteY26" fmla="*/ 184492 h 457885"/>
                    <a:gd name="connsiteX27" fmla="*/ 727558 w 788419"/>
                    <a:gd name="connsiteY27" fmla="*/ 184492 h 457885"/>
                    <a:gd name="connsiteX28" fmla="*/ 593110 w 788419"/>
                    <a:gd name="connsiteY28" fmla="*/ 116869 h 457885"/>
                    <a:gd name="connsiteX29" fmla="*/ 590791 w 788419"/>
                    <a:gd name="connsiteY29" fmla="*/ 117900 h 457885"/>
                    <a:gd name="connsiteX30" fmla="*/ 602455 w 788419"/>
                    <a:gd name="connsiteY30" fmla="*/ 124130 h 457885"/>
                    <a:gd name="connsiteX31" fmla="*/ 600230 w 788419"/>
                    <a:gd name="connsiteY31" fmla="*/ 135163 h 457885"/>
                    <a:gd name="connsiteX32" fmla="*/ 601097 w 788419"/>
                    <a:gd name="connsiteY32" fmla="*/ 148256 h 457885"/>
                    <a:gd name="connsiteX33" fmla="*/ 585450 w 788419"/>
                    <a:gd name="connsiteY33" fmla="*/ 158551 h 457885"/>
                    <a:gd name="connsiteX34" fmla="*/ 580953 w 788419"/>
                    <a:gd name="connsiteY34" fmla="*/ 168260 h 457885"/>
                    <a:gd name="connsiteX35" fmla="*/ 586387 w 788419"/>
                    <a:gd name="connsiteY35" fmla="*/ 182255 h 457885"/>
                    <a:gd name="connsiteX36" fmla="*/ 573364 w 788419"/>
                    <a:gd name="connsiteY36" fmla="*/ 189422 h 457885"/>
                    <a:gd name="connsiteX37" fmla="*/ 567824 w 788419"/>
                    <a:gd name="connsiteY37" fmla="*/ 187490 h 457885"/>
                    <a:gd name="connsiteX38" fmla="*/ 561079 w 788419"/>
                    <a:gd name="connsiteY38" fmla="*/ 189258 h 457885"/>
                    <a:gd name="connsiteX39" fmla="*/ 553771 w 788419"/>
                    <a:gd name="connsiteY39" fmla="*/ 186881 h 457885"/>
                    <a:gd name="connsiteX40" fmla="*/ 554544 w 788419"/>
                    <a:gd name="connsiteY40" fmla="*/ 191472 h 457885"/>
                    <a:gd name="connsiteX41" fmla="*/ 556558 w 788419"/>
                    <a:gd name="connsiteY41" fmla="*/ 193955 h 457885"/>
                    <a:gd name="connsiteX42" fmla="*/ 553677 w 788419"/>
                    <a:gd name="connsiteY42" fmla="*/ 195161 h 457885"/>
                    <a:gd name="connsiteX43" fmla="*/ 549625 w 788419"/>
                    <a:gd name="connsiteY43" fmla="*/ 200162 h 457885"/>
                    <a:gd name="connsiteX44" fmla="*/ 519468 w 788419"/>
                    <a:gd name="connsiteY44" fmla="*/ 212225 h 457885"/>
                    <a:gd name="connsiteX45" fmla="*/ 497251 w 788419"/>
                    <a:gd name="connsiteY45" fmla="*/ 226618 h 457885"/>
                    <a:gd name="connsiteX46" fmla="*/ 485902 w 788419"/>
                    <a:gd name="connsiteY46" fmla="*/ 225002 h 457885"/>
                    <a:gd name="connsiteX47" fmla="*/ 477259 w 788419"/>
                    <a:gd name="connsiteY47" fmla="*/ 228304 h 457885"/>
                    <a:gd name="connsiteX48" fmla="*/ 456307 w 788419"/>
                    <a:gd name="connsiteY48" fmla="*/ 226407 h 457885"/>
                    <a:gd name="connsiteX49" fmla="*/ 443179 w 788419"/>
                    <a:gd name="connsiteY49" fmla="*/ 215141 h 457885"/>
                    <a:gd name="connsiteX50" fmla="*/ 432966 w 788419"/>
                    <a:gd name="connsiteY50" fmla="*/ 215797 h 457885"/>
                    <a:gd name="connsiteX51" fmla="*/ 427228 w 788419"/>
                    <a:gd name="connsiteY51" fmla="*/ 219942 h 457885"/>
                    <a:gd name="connsiteX52" fmla="*/ 426209 w 788419"/>
                    <a:gd name="connsiteY52" fmla="*/ 215070 h 457885"/>
                    <a:gd name="connsiteX53" fmla="*/ 427228 w 788419"/>
                    <a:gd name="connsiteY53" fmla="*/ 211838 h 457885"/>
                    <a:gd name="connsiteX54" fmla="*/ 416851 w 788419"/>
                    <a:gd name="connsiteY54" fmla="*/ 210433 h 457885"/>
                    <a:gd name="connsiteX55" fmla="*/ 418303 w 788419"/>
                    <a:gd name="connsiteY55" fmla="*/ 208969 h 457885"/>
                    <a:gd name="connsiteX56" fmla="*/ 412951 w 788419"/>
                    <a:gd name="connsiteY56" fmla="*/ 207891 h 457885"/>
                    <a:gd name="connsiteX57" fmla="*/ 395115 w 788419"/>
                    <a:gd name="connsiteY57" fmla="*/ 200689 h 457885"/>
                    <a:gd name="connsiteX58" fmla="*/ 397797 w 788419"/>
                    <a:gd name="connsiteY58" fmla="*/ 184281 h 457885"/>
                    <a:gd name="connsiteX59" fmla="*/ 401333 w 788419"/>
                    <a:gd name="connsiteY59" fmla="*/ 187419 h 457885"/>
                    <a:gd name="connsiteX60" fmla="*/ 406662 w 788419"/>
                    <a:gd name="connsiteY60" fmla="*/ 184351 h 457885"/>
                    <a:gd name="connsiteX61" fmla="*/ 416945 w 788419"/>
                    <a:gd name="connsiteY61" fmla="*/ 186494 h 457885"/>
                    <a:gd name="connsiteX62" fmla="*/ 421969 w 788419"/>
                    <a:gd name="connsiteY62" fmla="*/ 184304 h 457885"/>
                    <a:gd name="connsiteX63" fmla="*/ 431854 w 788419"/>
                    <a:gd name="connsiteY63" fmla="*/ 187291 h 457885"/>
                    <a:gd name="connsiteX64" fmla="*/ 442722 w 788419"/>
                    <a:gd name="connsiteY64" fmla="*/ 189809 h 457885"/>
                    <a:gd name="connsiteX65" fmla="*/ 459692 w 788419"/>
                    <a:gd name="connsiteY65" fmla="*/ 184211 h 457885"/>
                    <a:gd name="connsiteX66" fmla="*/ 465829 w 788419"/>
                    <a:gd name="connsiteY66" fmla="*/ 185686 h 457885"/>
                    <a:gd name="connsiteX67" fmla="*/ 474929 w 788419"/>
                    <a:gd name="connsiteY67" fmla="*/ 183215 h 457885"/>
                    <a:gd name="connsiteX68" fmla="*/ 472621 w 788419"/>
                    <a:gd name="connsiteY68" fmla="*/ 176902 h 457885"/>
                    <a:gd name="connsiteX69" fmla="*/ 476885 w 788419"/>
                    <a:gd name="connsiteY69" fmla="*/ 172476 h 457885"/>
                    <a:gd name="connsiteX70" fmla="*/ 477388 w 788419"/>
                    <a:gd name="connsiteY70" fmla="*/ 166608 h 457885"/>
                    <a:gd name="connsiteX71" fmla="*/ 478454 w 788419"/>
                    <a:gd name="connsiteY71" fmla="*/ 160998 h 457885"/>
                    <a:gd name="connsiteX72" fmla="*/ 487179 w 788419"/>
                    <a:gd name="connsiteY72" fmla="*/ 162415 h 457885"/>
                    <a:gd name="connsiteX73" fmla="*/ 481440 w 788419"/>
                    <a:gd name="connsiteY73" fmla="*/ 166573 h 457885"/>
                    <a:gd name="connsiteX74" fmla="*/ 480714 w 788419"/>
                    <a:gd name="connsiteY74" fmla="*/ 173260 h 457885"/>
                    <a:gd name="connsiteX75" fmla="*/ 480339 w 788419"/>
                    <a:gd name="connsiteY75" fmla="*/ 178144 h 457885"/>
                    <a:gd name="connsiteX76" fmla="*/ 484064 w 788419"/>
                    <a:gd name="connsiteY76" fmla="*/ 187127 h 457885"/>
                    <a:gd name="connsiteX77" fmla="*/ 498726 w 788419"/>
                    <a:gd name="connsiteY77" fmla="*/ 183039 h 457885"/>
                    <a:gd name="connsiteX78" fmla="*/ 508271 w 788419"/>
                    <a:gd name="connsiteY78" fmla="*/ 186459 h 457885"/>
                    <a:gd name="connsiteX79" fmla="*/ 515849 w 788419"/>
                    <a:gd name="connsiteY79" fmla="*/ 185569 h 457885"/>
                    <a:gd name="connsiteX80" fmla="*/ 517278 w 788419"/>
                    <a:gd name="connsiteY80" fmla="*/ 183180 h 457885"/>
                    <a:gd name="connsiteX81" fmla="*/ 520873 w 788419"/>
                    <a:gd name="connsiteY81" fmla="*/ 183414 h 457885"/>
                    <a:gd name="connsiteX82" fmla="*/ 527314 w 788419"/>
                    <a:gd name="connsiteY82" fmla="*/ 182571 h 457885"/>
                    <a:gd name="connsiteX83" fmla="*/ 530254 w 788419"/>
                    <a:gd name="connsiteY83" fmla="*/ 173881 h 457885"/>
                    <a:gd name="connsiteX84" fmla="*/ 537351 w 788419"/>
                    <a:gd name="connsiteY84" fmla="*/ 164184 h 457885"/>
                    <a:gd name="connsiteX85" fmla="*/ 548044 w 788419"/>
                    <a:gd name="connsiteY85" fmla="*/ 154135 h 457885"/>
                    <a:gd name="connsiteX86" fmla="*/ 564604 w 788419"/>
                    <a:gd name="connsiteY86" fmla="*/ 149439 h 457885"/>
                    <a:gd name="connsiteX87" fmla="*/ 557167 w 788419"/>
                    <a:gd name="connsiteY87" fmla="*/ 125032 h 457885"/>
                    <a:gd name="connsiteX88" fmla="*/ 567532 w 788419"/>
                    <a:gd name="connsiteY88" fmla="*/ 117783 h 457885"/>
                    <a:gd name="connsiteX89" fmla="*/ 581410 w 788419"/>
                    <a:gd name="connsiteY89" fmla="*/ 116928 h 457885"/>
                    <a:gd name="connsiteX90" fmla="*/ 593110 w 788419"/>
                    <a:gd name="connsiteY90" fmla="*/ 116869 h 457885"/>
                    <a:gd name="connsiteX91" fmla="*/ 593110 w 788419"/>
                    <a:gd name="connsiteY91" fmla="*/ 116869 h 457885"/>
                    <a:gd name="connsiteX92" fmla="*/ 13483 w 788419"/>
                    <a:gd name="connsiteY92" fmla="*/ 34209 h 457885"/>
                    <a:gd name="connsiteX93" fmla="*/ 45900 w 788419"/>
                    <a:gd name="connsiteY93" fmla="*/ 48052 h 457885"/>
                    <a:gd name="connsiteX94" fmla="*/ 61992 w 788419"/>
                    <a:gd name="connsiteY94" fmla="*/ 54540 h 457885"/>
                    <a:gd name="connsiteX95" fmla="*/ 63960 w 788419"/>
                    <a:gd name="connsiteY95" fmla="*/ 58042 h 457885"/>
                    <a:gd name="connsiteX96" fmla="*/ 69382 w 788419"/>
                    <a:gd name="connsiteY96" fmla="*/ 59084 h 457885"/>
                    <a:gd name="connsiteX97" fmla="*/ 113019 w 788419"/>
                    <a:gd name="connsiteY97" fmla="*/ 73291 h 457885"/>
                    <a:gd name="connsiteX98" fmla="*/ 126101 w 788419"/>
                    <a:gd name="connsiteY98" fmla="*/ 74860 h 457885"/>
                    <a:gd name="connsiteX99" fmla="*/ 145425 w 788419"/>
                    <a:gd name="connsiteY99" fmla="*/ 84007 h 457885"/>
                    <a:gd name="connsiteX100" fmla="*/ 156082 w 788419"/>
                    <a:gd name="connsiteY100" fmla="*/ 90225 h 457885"/>
                    <a:gd name="connsiteX101" fmla="*/ 172361 w 788419"/>
                    <a:gd name="connsiteY101" fmla="*/ 96515 h 457885"/>
                    <a:gd name="connsiteX102" fmla="*/ 170206 w 788419"/>
                    <a:gd name="connsiteY102" fmla="*/ 97229 h 457885"/>
                    <a:gd name="connsiteX103" fmla="*/ 192400 w 788419"/>
                    <a:gd name="connsiteY103" fmla="*/ 100860 h 457885"/>
                    <a:gd name="connsiteX104" fmla="*/ 195234 w 788419"/>
                    <a:gd name="connsiteY104" fmla="*/ 107313 h 457885"/>
                    <a:gd name="connsiteX105" fmla="*/ 205622 w 788419"/>
                    <a:gd name="connsiteY105" fmla="*/ 110592 h 457885"/>
                    <a:gd name="connsiteX106" fmla="*/ 211150 w 788419"/>
                    <a:gd name="connsiteY106" fmla="*/ 116249 h 457885"/>
                    <a:gd name="connsiteX107" fmla="*/ 225274 w 788419"/>
                    <a:gd name="connsiteY107" fmla="*/ 127351 h 457885"/>
                    <a:gd name="connsiteX108" fmla="*/ 233847 w 788419"/>
                    <a:gd name="connsiteY108" fmla="*/ 127351 h 457885"/>
                    <a:gd name="connsiteX109" fmla="*/ 242595 w 788419"/>
                    <a:gd name="connsiteY109" fmla="*/ 137142 h 457885"/>
                    <a:gd name="connsiteX110" fmla="*/ 255947 w 788419"/>
                    <a:gd name="connsiteY110" fmla="*/ 149369 h 457885"/>
                    <a:gd name="connsiteX111" fmla="*/ 257551 w 788419"/>
                    <a:gd name="connsiteY111" fmla="*/ 161069 h 457885"/>
                    <a:gd name="connsiteX112" fmla="*/ 254611 w 788419"/>
                    <a:gd name="connsiteY112" fmla="*/ 175485 h 457885"/>
                    <a:gd name="connsiteX113" fmla="*/ 262083 w 788419"/>
                    <a:gd name="connsiteY113" fmla="*/ 186061 h 457885"/>
                    <a:gd name="connsiteX114" fmla="*/ 287884 w 788419"/>
                    <a:gd name="connsiteY114" fmla="*/ 190628 h 457885"/>
                    <a:gd name="connsiteX115" fmla="*/ 308649 w 788419"/>
                    <a:gd name="connsiteY115" fmla="*/ 200642 h 457885"/>
                    <a:gd name="connsiteX116" fmla="*/ 324424 w 788419"/>
                    <a:gd name="connsiteY116" fmla="*/ 207657 h 457885"/>
                    <a:gd name="connsiteX117" fmla="*/ 338642 w 788419"/>
                    <a:gd name="connsiteY117" fmla="*/ 208290 h 457885"/>
                    <a:gd name="connsiteX118" fmla="*/ 355623 w 788419"/>
                    <a:gd name="connsiteY118" fmla="*/ 221242 h 457885"/>
                    <a:gd name="connsiteX119" fmla="*/ 364782 w 788419"/>
                    <a:gd name="connsiteY119" fmla="*/ 237756 h 457885"/>
                    <a:gd name="connsiteX120" fmla="*/ 364700 w 788419"/>
                    <a:gd name="connsiteY120" fmla="*/ 243705 h 457885"/>
                    <a:gd name="connsiteX121" fmla="*/ 359617 w 788419"/>
                    <a:gd name="connsiteY121" fmla="*/ 249198 h 457885"/>
                    <a:gd name="connsiteX122" fmla="*/ 350060 w 788419"/>
                    <a:gd name="connsiteY122" fmla="*/ 250744 h 457885"/>
                    <a:gd name="connsiteX123" fmla="*/ 323136 w 788419"/>
                    <a:gd name="connsiteY123" fmla="*/ 249561 h 457885"/>
                    <a:gd name="connsiteX124" fmla="*/ 323908 w 788419"/>
                    <a:gd name="connsiteY124" fmla="*/ 264645 h 457885"/>
                    <a:gd name="connsiteX125" fmla="*/ 327914 w 788419"/>
                    <a:gd name="connsiteY125" fmla="*/ 280175 h 457885"/>
                    <a:gd name="connsiteX126" fmla="*/ 331334 w 788419"/>
                    <a:gd name="connsiteY126" fmla="*/ 289181 h 457885"/>
                    <a:gd name="connsiteX127" fmla="*/ 342928 w 788419"/>
                    <a:gd name="connsiteY127" fmla="*/ 294194 h 457885"/>
                    <a:gd name="connsiteX128" fmla="*/ 351794 w 788419"/>
                    <a:gd name="connsiteY128" fmla="*/ 306713 h 457885"/>
                    <a:gd name="connsiteX129" fmla="*/ 354312 w 788419"/>
                    <a:gd name="connsiteY129" fmla="*/ 306362 h 457885"/>
                    <a:gd name="connsiteX130" fmla="*/ 353246 w 788419"/>
                    <a:gd name="connsiteY130" fmla="*/ 304172 h 457885"/>
                    <a:gd name="connsiteX131" fmla="*/ 359394 w 788419"/>
                    <a:gd name="connsiteY131" fmla="*/ 313201 h 457885"/>
                    <a:gd name="connsiteX132" fmla="*/ 365836 w 788419"/>
                    <a:gd name="connsiteY132" fmla="*/ 313049 h 457885"/>
                    <a:gd name="connsiteX133" fmla="*/ 379925 w 788419"/>
                    <a:gd name="connsiteY133" fmla="*/ 318741 h 457885"/>
                    <a:gd name="connsiteX134" fmla="*/ 383262 w 788419"/>
                    <a:gd name="connsiteY134" fmla="*/ 332408 h 457885"/>
                    <a:gd name="connsiteX135" fmla="*/ 383989 w 788419"/>
                    <a:gd name="connsiteY135" fmla="*/ 344436 h 457885"/>
                    <a:gd name="connsiteX136" fmla="*/ 392784 w 788419"/>
                    <a:gd name="connsiteY136" fmla="*/ 349952 h 457885"/>
                    <a:gd name="connsiteX137" fmla="*/ 398019 w 788419"/>
                    <a:gd name="connsiteY137" fmla="*/ 361863 h 457885"/>
                    <a:gd name="connsiteX138" fmla="*/ 414521 w 788419"/>
                    <a:gd name="connsiteY138" fmla="*/ 373586 h 457885"/>
                    <a:gd name="connsiteX139" fmla="*/ 431842 w 788419"/>
                    <a:gd name="connsiteY139" fmla="*/ 367531 h 457885"/>
                    <a:gd name="connsiteX140" fmla="*/ 441492 w 788419"/>
                    <a:gd name="connsiteY140" fmla="*/ 374007 h 457885"/>
                    <a:gd name="connsiteX141" fmla="*/ 439724 w 788419"/>
                    <a:gd name="connsiteY141" fmla="*/ 374324 h 457885"/>
                    <a:gd name="connsiteX142" fmla="*/ 439103 w 788419"/>
                    <a:gd name="connsiteY142" fmla="*/ 395522 h 457885"/>
                    <a:gd name="connsiteX143" fmla="*/ 463779 w 788419"/>
                    <a:gd name="connsiteY143" fmla="*/ 400488 h 457885"/>
                    <a:gd name="connsiteX144" fmla="*/ 478594 w 788419"/>
                    <a:gd name="connsiteY144" fmla="*/ 404633 h 457885"/>
                    <a:gd name="connsiteX145" fmla="*/ 467293 w 788419"/>
                    <a:gd name="connsiteY145" fmla="*/ 409997 h 457885"/>
                    <a:gd name="connsiteX146" fmla="*/ 482412 w 788419"/>
                    <a:gd name="connsiteY146" fmla="*/ 426463 h 457885"/>
                    <a:gd name="connsiteX147" fmla="*/ 508002 w 788419"/>
                    <a:gd name="connsiteY147" fmla="*/ 432401 h 457885"/>
                    <a:gd name="connsiteX148" fmla="*/ 522208 w 788419"/>
                    <a:gd name="connsiteY148" fmla="*/ 433350 h 457885"/>
                    <a:gd name="connsiteX149" fmla="*/ 508728 w 788419"/>
                    <a:gd name="connsiteY149" fmla="*/ 439662 h 457885"/>
                    <a:gd name="connsiteX150" fmla="*/ 498188 w 788419"/>
                    <a:gd name="connsiteY150" fmla="*/ 437332 h 457885"/>
                    <a:gd name="connsiteX151" fmla="*/ 511609 w 788419"/>
                    <a:gd name="connsiteY151" fmla="*/ 447661 h 457885"/>
                    <a:gd name="connsiteX152" fmla="*/ 486582 w 788419"/>
                    <a:gd name="connsiteY152" fmla="*/ 455766 h 457885"/>
                    <a:gd name="connsiteX153" fmla="*/ 477248 w 788419"/>
                    <a:gd name="connsiteY153" fmla="*/ 453763 h 457885"/>
                    <a:gd name="connsiteX154" fmla="*/ 477072 w 788419"/>
                    <a:gd name="connsiteY154" fmla="*/ 451222 h 457885"/>
                    <a:gd name="connsiteX155" fmla="*/ 474753 w 788419"/>
                    <a:gd name="connsiteY155" fmla="*/ 450858 h 457885"/>
                    <a:gd name="connsiteX156" fmla="*/ 471193 w 788419"/>
                    <a:gd name="connsiteY156" fmla="*/ 450156 h 457885"/>
                    <a:gd name="connsiteX157" fmla="*/ 471193 w 788419"/>
                    <a:gd name="connsiteY157" fmla="*/ 451233 h 457885"/>
                    <a:gd name="connsiteX158" fmla="*/ 469014 w 788419"/>
                    <a:gd name="connsiteY158" fmla="*/ 450519 h 457885"/>
                    <a:gd name="connsiteX159" fmla="*/ 471193 w 788419"/>
                    <a:gd name="connsiteY159" fmla="*/ 448317 h 457885"/>
                    <a:gd name="connsiteX160" fmla="*/ 470150 w 788419"/>
                    <a:gd name="connsiteY160" fmla="*/ 448668 h 457885"/>
                    <a:gd name="connsiteX161" fmla="*/ 480866 w 788419"/>
                    <a:gd name="connsiteY161" fmla="*/ 445799 h 457885"/>
                    <a:gd name="connsiteX162" fmla="*/ 472610 w 788419"/>
                    <a:gd name="connsiteY162" fmla="*/ 447228 h 457885"/>
                    <a:gd name="connsiteX163" fmla="*/ 452607 w 788419"/>
                    <a:gd name="connsiteY163" fmla="*/ 440717 h 457885"/>
                    <a:gd name="connsiteX164" fmla="*/ 447582 w 788419"/>
                    <a:gd name="connsiteY164" fmla="*/ 439639 h 457885"/>
                    <a:gd name="connsiteX165" fmla="*/ 428270 w 788419"/>
                    <a:gd name="connsiteY165" fmla="*/ 434029 h 457885"/>
                    <a:gd name="connsiteX166" fmla="*/ 410059 w 788419"/>
                    <a:gd name="connsiteY166" fmla="*/ 431335 h 457885"/>
                    <a:gd name="connsiteX167" fmla="*/ 412307 w 788419"/>
                    <a:gd name="connsiteY167" fmla="*/ 429825 h 457885"/>
                    <a:gd name="connsiteX168" fmla="*/ 411136 w 788419"/>
                    <a:gd name="connsiteY168" fmla="*/ 428653 h 457885"/>
                    <a:gd name="connsiteX169" fmla="*/ 407915 w 788419"/>
                    <a:gd name="connsiteY169" fmla="*/ 427014 h 457885"/>
                    <a:gd name="connsiteX170" fmla="*/ 380358 w 788419"/>
                    <a:gd name="connsiteY170" fmla="*/ 425222 h 457885"/>
                    <a:gd name="connsiteX171" fmla="*/ 364665 w 788419"/>
                    <a:gd name="connsiteY171" fmla="*/ 426663 h 457885"/>
                    <a:gd name="connsiteX172" fmla="*/ 365367 w 788419"/>
                    <a:gd name="connsiteY172" fmla="*/ 423770 h 457885"/>
                    <a:gd name="connsiteX173" fmla="*/ 364184 w 788419"/>
                    <a:gd name="connsiteY173" fmla="*/ 425620 h 457885"/>
                    <a:gd name="connsiteX174" fmla="*/ 357509 w 788419"/>
                    <a:gd name="connsiteY174" fmla="*/ 426663 h 457885"/>
                    <a:gd name="connsiteX175" fmla="*/ 352192 w 788419"/>
                    <a:gd name="connsiteY175" fmla="*/ 420666 h 457885"/>
                    <a:gd name="connsiteX176" fmla="*/ 346395 w 788419"/>
                    <a:gd name="connsiteY176" fmla="*/ 411297 h 457885"/>
                    <a:gd name="connsiteX177" fmla="*/ 333137 w 788419"/>
                    <a:gd name="connsiteY177" fmla="*/ 395580 h 457885"/>
                    <a:gd name="connsiteX178" fmla="*/ 333547 w 788419"/>
                    <a:gd name="connsiteY178" fmla="*/ 397067 h 457885"/>
                    <a:gd name="connsiteX179" fmla="*/ 324260 w 788419"/>
                    <a:gd name="connsiteY179" fmla="*/ 391645 h 457885"/>
                    <a:gd name="connsiteX180" fmla="*/ 322175 w 788419"/>
                    <a:gd name="connsiteY180" fmla="*/ 391411 h 457885"/>
                    <a:gd name="connsiteX181" fmla="*/ 314621 w 788419"/>
                    <a:gd name="connsiteY181" fmla="*/ 382955 h 457885"/>
                    <a:gd name="connsiteX182" fmla="*/ 314270 w 788419"/>
                    <a:gd name="connsiteY182" fmla="*/ 375764 h 457885"/>
                    <a:gd name="connsiteX183" fmla="*/ 318521 w 788419"/>
                    <a:gd name="connsiteY183" fmla="*/ 370389 h 457885"/>
                    <a:gd name="connsiteX184" fmla="*/ 299572 w 788419"/>
                    <a:gd name="connsiteY184" fmla="*/ 358431 h 457885"/>
                    <a:gd name="connsiteX185" fmla="*/ 297452 w 788419"/>
                    <a:gd name="connsiteY185" fmla="*/ 359275 h 457885"/>
                    <a:gd name="connsiteX186" fmla="*/ 283867 w 788419"/>
                    <a:gd name="connsiteY186" fmla="*/ 341332 h 457885"/>
                    <a:gd name="connsiteX187" fmla="*/ 279522 w 788419"/>
                    <a:gd name="connsiteY187" fmla="*/ 329984 h 457885"/>
                    <a:gd name="connsiteX188" fmla="*/ 272413 w 788419"/>
                    <a:gd name="connsiteY188" fmla="*/ 322114 h 457885"/>
                    <a:gd name="connsiteX189" fmla="*/ 273139 w 788419"/>
                    <a:gd name="connsiteY189" fmla="*/ 320673 h 457885"/>
                    <a:gd name="connsiteX190" fmla="*/ 257048 w 788419"/>
                    <a:gd name="connsiteY190" fmla="*/ 311679 h 457885"/>
                    <a:gd name="connsiteX191" fmla="*/ 253464 w 788419"/>
                    <a:gd name="connsiteY191" fmla="*/ 312768 h 457885"/>
                    <a:gd name="connsiteX192" fmla="*/ 254213 w 788419"/>
                    <a:gd name="connsiteY192" fmla="*/ 313822 h 457885"/>
                    <a:gd name="connsiteX193" fmla="*/ 225368 w 788419"/>
                    <a:gd name="connsiteY193" fmla="*/ 306116 h 457885"/>
                    <a:gd name="connsiteX194" fmla="*/ 219676 w 788419"/>
                    <a:gd name="connsiteY194" fmla="*/ 304558 h 457885"/>
                    <a:gd name="connsiteX195" fmla="*/ 209803 w 788419"/>
                    <a:gd name="connsiteY195" fmla="*/ 304851 h 457885"/>
                    <a:gd name="connsiteX196" fmla="*/ 208070 w 788419"/>
                    <a:gd name="connsiteY196" fmla="*/ 293713 h 457885"/>
                    <a:gd name="connsiteX197" fmla="*/ 197693 w 788419"/>
                    <a:gd name="connsiteY197" fmla="*/ 293292 h 457885"/>
                    <a:gd name="connsiteX198" fmla="*/ 193056 w 788419"/>
                    <a:gd name="connsiteY198" fmla="*/ 296641 h 457885"/>
                    <a:gd name="connsiteX199" fmla="*/ 190854 w 788419"/>
                    <a:gd name="connsiteY199" fmla="*/ 289872 h 457885"/>
                    <a:gd name="connsiteX200" fmla="*/ 191650 w 788419"/>
                    <a:gd name="connsiteY200" fmla="*/ 298047 h 457885"/>
                    <a:gd name="connsiteX201" fmla="*/ 184869 w 788419"/>
                    <a:gd name="connsiteY201" fmla="*/ 290809 h 457885"/>
                    <a:gd name="connsiteX202" fmla="*/ 190104 w 788419"/>
                    <a:gd name="connsiteY202" fmla="*/ 305706 h 457885"/>
                    <a:gd name="connsiteX203" fmla="*/ 185185 w 788419"/>
                    <a:gd name="connsiteY203" fmla="*/ 301607 h 457885"/>
                    <a:gd name="connsiteX204" fmla="*/ 179833 w 788419"/>
                    <a:gd name="connsiteY204" fmla="*/ 295845 h 457885"/>
                    <a:gd name="connsiteX205" fmla="*/ 180524 w 788419"/>
                    <a:gd name="connsiteY205" fmla="*/ 300576 h 457885"/>
                    <a:gd name="connsiteX206" fmla="*/ 177678 w 788419"/>
                    <a:gd name="connsiteY206" fmla="*/ 296922 h 457885"/>
                    <a:gd name="connsiteX207" fmla="*/ 175535 w 788419"/>
                    <a:gd name="connsiteY207" fmla="*/ 298761 h 457885"/>
                    <a:gd name="connsiteX208" fmla="*/ 167208 w 788419"/>
                    <a:gd name="connsiteY208" fmla="*/ 302848 h 457885"/>
                    <a:gd name="connsiteX209" fmla="*/ 145155 w 788419"/>
                    <a:gd name="connsiteY209" fmla="*/ 286839 h 457885"/>
                    <a:gd name="connsiteX210" fmla="*/ 150262 w 788419"/>
                    <a:gd name="connsiteY210" fmla="*/ 291945 h 457885"/>
                    <a:gd name="connsiteX211" fmla="*/ 155860 w 788419"/>
                    <a:gd name="connsiteY211" fmla="*/ 304394 h 457885"/>
                    <a:gd name="connsiteX212" fmla="*/ 161364 w 788419"/>
                    <a:gd name="connsiteY212" fmla="*/ 314853 h 457885"/>
                    <a:gd name="connsiteX213" fmla="*/ 153389 w 788419"/>
                    <a:gd name="connsiteY213" fmla="*/ 312768 h 457885"/>
                    <a:gd name="connsiteX214" fmla="*/ 146924 w 788419"/>
                    <a:gd name="connsiteY214" fmla="*/ 316141 h 457885"/>
                    <a:gd name="connsiteX215" fmla="*/ 136384 w 788419"/>
                    <a:gd name="connsiteY215" fmla="*/ 315063 h 457885"/>
                    <a:gd name="connsiteX216" fmla="*/ 130176 w 788419"/>
                    <a:gd name="connsiteY216" fmla="*/ 311152 h 457885"/>
                    <a:gd name="connsiteX217" fmla="*/ 144265 w 788419"/>
                    <a:gd name="connsiteY217" fmla="*/ 328403 h 457885"/>
                    <a:gd name="connsiteX218" fmla="*/ 108780 w 788419"/>
                    <a:gd name="connsiteY218" fmla="*/ 333907 h 457885"/>
                    <a:gd name="connsiteX219" fmla="*/ 93648 w 788419"/>
                    <a:gd name="connsiteY219" fmla="*/ 330733 h 457885"/>
                    <a:gd name="connsiteX220" fmla="*/ 82218 w 788419"/>
                    <a:gd name="connsiteY220" fmla="*/ 333474 h 457885"/>
                    <a:gd name="connsiteX221" fmla="*/ 72860 w 788419"/>
                    <a:gd name="connsiteY221" fmla="*/ 325264 h 457885"/>
                    <a:gd name="connsiteX222" fmla="*/ 66817 w 788419"/>
                    <a:gd name="connsiteY222" fmla="*/ 328614 h 457885"/>
                    <a:gd name="connsiteX223" fmla="*/ 77931 w 788419"/>
                    <a:gd name="connsiteY223" fmla="*/ 326470 h 457885"/>
                    <a:gd name="connsiteX224" fmla="*/ 80590 w 788419"/>
                    <a:gd name="connsiteY224" fmla="*/ 334235 h 457885"/>
                    <a:gd name="connsiteX225" fmla="*/ 89608 w 788419"/>
                    <a:gd name="connsiteY225" fmla="*/ 333626 h 457885"/>
                    <a:gd name="connsiteX226" fmla="*/ 128057 w 788419"/>
                    <a:gd name="connsiteY226" fmla="*/ 350948 h 457885"/>
                    <a:gd name="connsiteX227" fmla="*/ 130891 w 788419"/>
                    <a:gd name="connsiteY227" fmla="*/ 368831 h 457885"/>
                    <a:gd name="connsiteX228" fmla="*/ 120397 w 788419"/>
                    <a:gd name="connsiteY228" fmla="*/ 371279 h 457885"/>
                    <a:gd name="connsiteX229" fmla="*/ 90744 w 788419"/>
                    <a:gd name="connsiteY229" fmla="*/ 386305 h 457885"/>
                    <a:gd name="connsiteX230" fmla="*/ 76690 w 788419"/>
                    <a:gd name="connsiteY230" fmla="*/ 379676 h 457885"/>
                    <a:gd name="connsiteX231" fmla="*/ 58959 w 788419"/>
                    <a:gd name="connsiteY231" fmla="*/ 378786 h 457885"/>
                    <a:gd name="connsiteX232" fmla="*/ 42914 w 788419"/>
                    <a:gd name="connsiteY232" fmla="*/ 380062 h 457885"/>
                    <a:gd name="connsiteX233" fmla="*/ 30793 w 788419"/>
                    <a:gd name="connsiteY233" fmla="*/ 377533 h 457885"/>
                    <a:gd name="connsiteX234" fmla="*/ 13635 w 788419"/>
                    <a:gd name="connsiteY234" fmla="*/ 380496 h 457885"/>
                    <a:gd name="connsiteX235" fmla="*/ 5987 w 788419"/>
                    <a:gd name="connsiteY235" fmla="*/ 356077 h 457885"/>
                    <a:gd name="connsiteX236" fmla="*/ 5941 w 788419"/>
                    <a:gd name="connsiteY236" fmla="*/ 294662 h 457885"/>
                    <a:gd name="connsiteX237" fmla="*/ 5964 w 788419"/>
                    <a:gd name="connsiteY237" fmla="*/ 262420 h 457885"/>
                    <a:gd name="connsiteX238" fmla="*/ 612 w 788419"/>
                    <a:gd name="connsiteY238" fmla="*/ 251962 h 457885"/>
                    <a:gd name="connsiteX239" fmla="*/ 1888 w 788419"/>
                    <a:gd name="connsiteY239" fmla="*/ 241714 h 457885"/>
                    <a:gd name="connsiteX240" fmla="*/ 2591 w 788419"/>
                    <a:gd name="connsiteY240" fmla="*/ 234418 h 457885"/>
                    <a:gd name="connsiteX241" fmla="*/ 5941 w 788419"/>
                    <a:gd name="connsiteY241" fmla="*/ 201356 h 457885"/>
                    <a:gd name="connsiteX242" fmla="*/ 5917 w 788419"/>
                    <a:gd name="connsiteY242" fmla="*/ 149170 h 457885"/>
                    <a:gd name="connsiteX243" fmla="*/ 5812 w 788419"/>
                    <a:gd name="connsiteY243" fmla="*/ 33788 h 457885"/>
                    <a:gd name="connsiteX244" fmla="*/ 13483 w 788419"/>
                    <a:gd name="connsiteY244" fmla="*/ 34209 h 457885"/>
                    <a:gd name="connsiteX245" fmla="*/ 13483 w 788419"/>
                    <a:gd name="connsiteY245" fmla="*/ 34209 h 457885"/>
                    <a:gd name="connsiteX246" fmla="*/ 531050 w 788419"/>
                    <a:gd name="connsiteY246" fmla="*/ 39596 h 457885"/>
                    <a:gd name="connsiteX247" fmla="*/ 552049 w 788419"/>
                    <a:gd name="connsiteY247" fmla="*/ 50266 h 457885"/>
                    <a:gd name="connsiteX248" fmla="*/ 572942 w 788419"/>
                    <a:gd name="connsiteY248" fmla="*/ 64601 h 457885"/>
                    <a:gd name="connsiteX249" fmla="*/ 586739 w 788419"/>
                    <a:gd name="connsiteY249" fmla="*/ 71955 h 457885"/>
                    <a:gd name="connsiteX250" fmla="*/ 606648 w 788419"/>
                    <a:gd name="connsiteY250" fmla="*/ 88281 h 457885"/>
                    <a:gd name="connsiteX251" fmla="*/ 623899 w 788419"/>
                    <a:gd name="connsiteY251" fmla="*/ 100227 h 457885"/>
                    <a:gd name="connsiteX252" fmla="*/ 630294 w 788419"/>
                    <a:gd name="connsiteY252" fmla="*/ 106188 h 457885"/>
                    <a:gd name="connsiteX253" fmla="*/ 638410 w 788419"/>
                    <a:gd name="connsiteY253" fmla="*/ 118427 h 457885"/>
                    <a:gd name="connsiteX254" fmla="*/ 635236 w 788419"/>
                    <a:gd name="connsiteY254" fmla="*/ 132340 h 457885"/>
                    <a:gd name="connsiteX255" fmla="*/ 637016 w 788419"/>
                    <a:gd name="connsiteY255" fmla="*/ 138407 h 457885"/>
                    <a:gd name="connsiteX256" fmla="*/ 634615 w 788419"/>
                    <a:gd name="connsiteY256" fmla="*/ 142470 h 457885"/>
                    <a:gd name="connsiteX257" fmla="*/ 627752 w 788419"/>
                    <a:gd name="connsiteY257" fmla="*/ 151301 h 457885"/>
                    <a:gd name="connsiteX258" fmla="*/ 618582 w 788419"/>
                    <a:gd name="connsiteY258" fmla="*/ 136826 h 457885"/>
                    <a:gd name="connsiteX259" fmla="*/ 617317 w 788419"/>
                    <a:gd name="connsiteY259" fmla="*/ 119551 h 457885"/>
                    <a:gd name="connsiteX260" fmla="*/ 599727 w 788419"/>
                    <a:gd name="connsiteY260" fmla="*/ 90987 h 457885"/>
                    <a:gd name="connsiteX261" fmla="*/ 591740 w 788419"/>
                    <a:gd name="connsiteY261" fmla="*/ 81629 h 457885"/>
                    <a:gd name="connsiteX262" fmla="*/ 580122 w 788419"/>
                    <a:gd name="connsiteY262" fmla="*/ 78725 h 457885"/>
                    <a:gd name="connsiteX263" fmla="*/ 563761 w 788419"/>
                    <a:gd name="connsiteY263" fmla="*/ 66416 h 457885"/>
                    <a:gd name="connsiteX264" fmla="*/ 535079 w 788419"/>
                    <a:gd name="connsiteY264" fmla="*/ 47361 h 457885"/>
                    <a:gd name="connsiteX265" fmla="*/ 519198 w 788419"/>
                    <a:gd name="connsiteY265" fmla="*/ 43216 h 457885"/>
                    <a:gd name="connsiteX266" fmla="*/ 521892 w 788419"/>
                    <a:gd name="connsiteY266" fmla="*/ 37465 h 457885"/>
                    <a:gd name="connsiteX267" fmla="*/ 518015 w 788419"/>
                    <a:gd name="connsiteY267" fmla="*/ 34654 h 457885"/>
                    <a:gd name="connsiteX268" fmla="*/ 519023 w 788419"/>
                    <a:gd name="connsiteY268" fmla="*/ 31551 h 457885"/>
                    <a:gd name="connsiteX269" fmla="*/ 531050 w 788419"/>
                    <a:gd name="connsiteY269" fmla="*/ 39596 h 457885"/>
                    <a:gd name="connsiteX270" fmla="*/ 531050 w 788419"/>
                    <a:gd name="connsiteY270" fmla="*/ 39596 h 457885"/>
                    <a:gd name="connsiteX271" fmla="*/ 314528 w 788419"/>
                    <a:gd name="connsiteY271" fmla="*/ 0 h 457885"/>
                    <a:gd name="connsiteX272" fmla="*/ 328195 w 788419"/>
                    <a:gd name="connsiteY272" fmla="*/ 2764 h 457885"/>
                    <a:gd name="connsiteX273" fmla="*/ 342178 w 788419"/>
                    <a:gd name="connsiteY273" fmla="*/ 4907 h 457885"/>
                    <a:gd name="connsiteX274" fmla="*/ 339989 w 788419"/>
                    <a:gd name="connsiteY274" fmla="*/ 504 h 457885"/>
                    <a:gd name="connsiteX275" fmla="*/ 337506 w 788419"/>
                    <a:gd name="connsiteY275" fmla="*/ 6008 h 457885"/>
                    <a:gd name="connsiteX276" fmla="*/ 338232 w 788419"/>
                    <a:gd name="connsiteY276" fmla="*/ 4907 h 457885"/>
                    <a:gd name="connsiteX277" fmla="*/ 335327 w 788419"/>
                    <a:gd name="connsiteY277" fmla="*/ 5867 h 457885"/>
                    <a:gd name="connsiteX278" fmla="*/ 322831 w 788419"/>
                    <a:gd name="connsiteY278" fmla="*/ 11712 h 457885"/>
                    <a:gd name="connsiteX279" fmla="*/ 304292 w 788419"/>
                    <a:gd name="connsiteY279" fmla="*/ 8502 h 457885"/>
                    <a:gd name="connsiteX280" fmla="*/ 295871 w 788419"/>
                    <a:gd name="connsiteY280" fmla="*/ 12777 h 457885"/>
                    <a:gd name="connsiteX281" fmla="*/ 298237 w 788419"/>
                    <a:gd name="connsiteY281" fmla="*/ 2260 h 457885"/>
                    <a:gd name="connsiteX282" fmla="*/ 314528 w 788419"/>
                    <a:gd name="connsiteY282" fmla="*/ 0 h 457885"/>
                    <a:gd name="connsiteX283" fmla="*/ 314528 w 788419"/>
                    <a:gd name="connsiteY283" fmla="*/ 0 h 457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Lst>
                  <a:rect l="l" t="t" r="r" b="b"/>
                  <a:pathLst>
                    <a:path w="788419" h="457885">
                      <a:moveTo>
                        <a:pt x="510836" y="391552"/>
                      </a:moveTo>
                      <a:cubicBezTo>
                        <a:pt x="515556" y="390321"/>
                        <a:pt x="525206" y="393332"/>
                        <a:pt x="521658" y="399094"/>
                      </a:cubicBezTo>
                      <a:cubicBezTo>
                        <a:pt x="526401" y="401495"/>
                        <a:pt x="524902" y="404797"/>
                        <a:pt x="520486" y="406448"/>
                      </a:cubicBezTo>
                      <a:cubicBezTo>
                        <a:pt x="521306" y="402291"/>
                        <a:pt x="505355" y="401600"/>
                        <a:pt x="499031" y="401717"/>
                      </a:cubicBezTo>
                      <a:cubicBezTo>
                        <a:pt x="509056" y="397208"/>
                        <a:pt x="496759" y="395182"/>
                        <a:pt x="498715" y="389338"/>
                      </a:cubicBezTo>
                      <a:cubicBezTo>
                        <a:pt x="500694" y="383459"/>
                        <a:pt x="508271" y="388916"/>
                        <a:pt x="510836" y="391552"/>
                      </a:cubicBezTo>
                      <a:lnTo>
                        <a:pt x="510836" y="391552"/>
                      </a:lnTo>
                      <a:close/>
                      <a:moveTo>
                        <a:pt x="727558" y="184492"/>
                      </a:moveTo>
                      <a:cubicBezTo>
                        <a:pt x="728811" y="186108"/>
                        <a:pt x="730240" y="186471"/>
                        <a:pt x="731786" y="188204"/>
                      </a:cubicBezTo>
                      <a:cubicBezTo>
                        <a:pt x="734339" y="186810"/>
                        <a:pt x="737665" y="187115"/>
                        <a:pt x="739117" y="188883"/>
                      </a:cubicBezTo>
                      <a:cubicBezTo>
                        <a:pt x="739960" y="188427"/>
                        <a:pt x="739750" y="188181"/>
                        <a:pt x="740815" y="187841"/>
                      </a:cubicBezTo>
                      <a:cubicBezTo>
                        <a:pt x="741331" y="190722"/>
                        <a:pt x="743755" y="193182"/>
                        <a:pt x="745488" y="196754"/>
                      </a:cubicBezTo>
                      <a:cubicBezTo>
                        <a:pt x="747831" y="201567"/>
                        <a:pt x="748896" y="202668"/>
                        <a:pt x="752609" y="206134"/>
                      </a:cubicBezTo>
                      <a:cubicBezTo>
                        <a:pt x="757399" y="210585"/>
                        <a:pt x="765738" y="228234"/>
                        <a:pt x="770739" y="220856"/>
                      </a:cubicBezTo>
                      <a:cubicBezTo>
                        <a:pt x="771312" y="227403"/>
                        <a:pt x="797593" y="244783"/>
                        <a:pt x="785015" y="253882"/>
                      </a:cubicBezTo>
                      <a:cubicBezTo>
                        <a:pt x="785331" y="252255"/>
                        <a:pt x="785097" y="250837"/>
                        <a:pt x="785190" y="249596"/>
                      </a:cubicBezTo>
                      <a:cubicBezTo>
                        <a:pt x="784886" y="250697"/>
                        <a:pt x="783726" y="252465"/>
                        <a:pt x="783246" y="253496"/>
                      </a:cubicBezTo>
                      <a:cubicBezTo>
                        <a:pt x="778936" y="249807"/>
                        <a:pt x="778655" y="256014"/>
                        <a:pt x="775189" y="256962"/>
                      </a:cubicBezTo>
                      <a:cubicBezTo>
                        <a:pt x="772729" y="257642"/>
                        <a:pt x="768455" y="256799"/>
                        <a:pt x="765890" y="255850"/>
                      </a:cubicBezTo>
                      <a:cubicBezTo>
                        <a:pt x="757739" y="252840"/>
                        <a:pt x="751098" y="246399"/>
                        <a:pt x="746449" y="239149"/>
                      </a:cubicBezTo>
                      <a:cubicBezTo>
                        <a:pt x="749588" y="239079"/>
                        <a:pt x="750618" y="235050"/>
                        <a:pt x="749740" y="231642"/>
                      </a:cubicBezTo>
                      <a:cubicBezTo>
                        <a:pt x="748147" y="225494"/>
                        <a:pt x="744189" y="227578"/>
                        <a:pt x="739808" y="224194"/>
                      </a:cubicBezTo>
                      <a:cubicBezTo>
                        <a:pt x="735920" y="221172"/>
                        <a:pt x="733203" y="217202"/>
                        <a:pt x="729619" y="213560"/>
                      </a:cubicBezTo>
                      <a:cubicBezTo>
                        <a:pt x="721164" y="204916"/>
                        <a:pt x="724337" y="199107"/>
                        <a:pt x="723553" y="188555"/>
                      </a:cubicBezTo>
                      <a:cubicBezTo>
                        <a:pt x="723682" y="188579"/>
                        <a:pt x="724736" y="189492"/>
                        <a:pt x="724923" y="189610"/>
                      </a:cubicBezTo>
                      <a:cubicBezTo>
                        <a:pt x="725438" y="186729"/>
                        <a:pt x="723248" y="184000"/>
                        <a:pt x="721773" y="181728"/>
                      </a:cubicBezTo>
                      <a:cubicBezTo>
                        <a:pt x="724162" y="181482"/>
                        <a:pt x="726024" y="182559"/>
                        <a:pt x="727558" y="184492"/>
                      </a:cubicBezTo>
                      <a:lnTo>
                        <a:pt x="727558" y="184492"/>
                      </a:lnTo>
                      <a:close/>
                      <a:moveTo>
                        <a:pt x="593110" y="116869"/>
                      </a:moveTo>
                      <a:cubicBezTo>
                        <a:pt x="593496" y="120441"/>
                        <a:pt x="592653" y="120430"/>
                        <a:pt x="590791" y="117900"/>
                      </a:cubicBezTo>
                      <a:cubicBezTo>
                        <a:pt x="587523" y="123767"/>
                        <a:pt x="597314" y="125641"/>
                        <a:pt x="602455" y="124130"/>
                      </a:cubicBezTo>
                      <a:cubicBezTo>
                        <a:pt x="602455" y="127960"/>
                        <a:pt x="600043" y="131122"/>
                        <a:pt x="600230" y="135163"/>
                      </a:cubicBezTo>
                      <a:cubicBezTo>
                        <a:pt x="600476" y="140304"/>
                        <a:pt x="603393" y="142424"/>
                        <a:pt x="601097" y="148256"/>
                      </a:cubicBezTo>
                      <a:cubicBezTo>
                        <a:pt x="597607" y="157157"/>
                        <a:pt x="593098" y="157286"/>
                        <a:pt x="585450" y="158551"/>
                      </a:cubicBezTo>
                      <a:cubicBezTo>
                        <a:pt x="579665" y="159499"/>
                        <a:pt x="576116" y="159359"/>
                        <a:pt x="580953" y="168260"/>
                      </a:cubicBezTo>
                      <a:cubicBezTo>
                        <a:pt x="584150" y="174150"/>
                        <a:pt x="591341" y="174361"/>
                        <a:pt x="586387" y="182255"/>
                      </a:cubicBezTo>
                      <a:cubicBezTo>
                        <a:pt x="585134" y="184269"/>
                        <a:pt x="576233" y="189211"/>
                        <a:pt x="573364" y="189422"/>
                      </a:cubicBezTo>
                      <a:cubicBezTo>
                        <a:pt x="570963" y="189610"/>
                        <a:pt x="569218" y="187431"/>
                        <a:pt x="567824" y="187490"/>
                      </a:cubicBezTo>
                      <a:cubicBezTo>
                        <a:pt x="565857" y="187560"/>
                        <a:pt x="562051" y="189293"/>
                        <a:pt x="561079" y="189258"/>
                      </a:cubicBezTo>
                      <a:cubicBezTo>
                        <a:pt x="559697" y="189211"/>
                        <a:pt x="556863" y="185288"/>
                        <a:pt x="553771" y="186881"/>
                      </a:cubicBezTo>
                      <a:cubicBezTo>
                        <a:pt x="549707" y="188989"/>
                        <a:pt x="554591" y="191296"/>
                        <a:pt x="554544" y="191472"/>
                      </a:cubicBezTo>
                      <a:cubicBezTo>
                        <a:pt x="554508" y="191589"/>
                        <a:pt x="556792" y="192865"/>
                        <a:pt x="556558" y="193955"/>
                      </a:cubicBezTo>
                      <a:cubicBezTo>
                        <a:pt x="556289" y="195149"/>
                        <a:pt x="553771" y="194915"/>
                        <a:pt x="553677" y="195161"/>
                      </a:cubicBezTo>
                      <a:cubicBezTo>
                        <a:pt x="554274" y="193732"/>
                        <a:pt x="548547" y="201040"/>
                        <a:pt x="549625" y="200162"/>
                      </a:cubicBezTo>
                      <a:cubicBezTo>
                        <a:pt x="543195" y="205385"/>
                        <a:pt x="527314" y="219732"/>
                        <a:pt x="519468" y="212225"/>
                      </a:cubicBezTo>
                      <a:cubicBezTo>
                        <a:pt x="519796" y="217893"/>
                        <a:pt x="503212" y="225107"/>
                        <a:pt x="497251" y="226618"/>
                      </a:cubicBezTo>
                      <a:cubicBezTo>
                        <a:pt x="493421" y="227590"/>
                        <a:pt x="489744" y="225400"/>
                        <a:pt x="485902" y="225002"/>
                      </a:cubicBezTo>
                      <a:cubicBezTo>
                        <a:pt x="482448" y="224650"/>
                        <a:pt x="478091" y="226325"/>
                        <a:pt x="477259" y="228304"/>
                      </a:cubicBezTo>
                      <a:cubicBezTo>
                        <a:pt x="475456" y="223831"/>
                        <a:pt x="461367" y="229019"/>
                        <a:pt x="456307" y="226407"/>
                      </a:cubicBezTo>
                      <a:cubicBezTo>
                        <a:pt x="450534" y="223433"/>
                        <a:pt x="451447" y="216171"/>
                        <a:pt x="443179" y="215141"/>
                      </a:cubicBezTo>
                      <a:cubicBezTo>
                        <a:pt x="439747" y="214719"/>
                        <a:pt x="436526" y="217389"/>
                        <a:pt x="432966" y="215797"/>
                      </a:cubicBezTo>
                      <a:cubicBezTo>
                        <a:pt x="432591" y="218912"/>
                        <a:pt x="430413" y="220118"/>
                        <a:pt x="427228" y="219942"/>
                      </a:cubicBezTo>
                      <a:cubicBezTo>
                        <a:pt x="428938" y="217787"/>
                        <a:pt x="428867" y="217155"/>
                        <a:pt x="426209" y="215070"/>
                      </a:cubicBezTo>
                      <a:cubicBezTo>
                        <a:pt x="427450" y="213735"/>
                        <a:pt x="427005" y="213185"/>
                        <a:pt x="427228" y="211838"/>
                      </a:cubicBezTo>
                      <a:cubicBezTo>
                        <a:pt x="424827" y="213911"/>
                        <a:pt x="419920" y="211030"/>
                        <a:pt x="416851" y="210433"/>
                      </a:cubicBezTo>
                      <a:cubicBezTo>
                        <a:pt x="417214" y="209648"/>
                        <a:pt x="417858" y="209554"/>
                        <a:pt x="418303" y="208969"/>
                      </a:cubicBezTo>
                      <a:cubicBezTo>
                        <a:pt x="416008" y="207575"/>
                        <a:pt x="415984" y="207013"/>
                        <a:pt x="412951" y="207891"/>
                      </a:cubicBezTo>
                      <a:cubicBezTo>
                        <a:pt x="413326" y="200384"/>
                        <a:pt x="399869" y="203593"/>
                        <a:pt x="395115" y="200689"/>
                      </a:cubicBezTo>
                      <a:cubicBezTo>
                        <a:pt x="386249" y="195243"/>
                        <a:pt x="388263" y="183156"/>
                        <a:pt x="397797" y="184281"/>
                      </a:cubicBezTo>
                      <a:cubicBezTo>
                        <a:pt x="399987" y="184527"/>
                        <a:pt x="399214" y="187080"/>
                        <a:pt x="401333" y="187419"/>
                      </a:cubicBezTo>
                      <a:cubicBezTo>
                        <a:pt x="403805" y="187818"/>
                        <a:pt x="404671" y="184328"/>
                        <a:pt x="406662" y="184351"/>
                      </a:cubicBezTo>
                      <a:cubicBezTo>
                        <a:pt x="410515" y="184398"/>
                        <a:pt x="414216" y="186611"/>
                        <a:pt x="416945" y="186494"/>
                      </a:cubicBezTo>
                      <a:cubicBezTo>
                        <a:pt x="418514" y="186412"/>
                        <a:pt x="420329" y="184410"/>
                        <a:pt x="421969" y="184304"/>
                      </a:cubicBezTo>
                      <a:cubicBezTo>
                        <a:pt x="425412" y="184070"/>
                        <a:pt x="428317" y="185791"/>
                        <a:pt x="431854" y="187291"/>
                      </a:cubicBezTo>
                      <a:cubicBezTo>
                        <a:pt x="436971" y="189446"/>
                        <a:pt x="435801" y="190066"/>
                        <a:pt x="442722" y="189809"/>
                      </a:cubicBezTo>
                      <a:cubicBezTo>
                        <a:pt x="447079" y="189645"/>
                        <a:pt x="458087" y="188696"/>
                        <a:pt x="459692" y="184211"/>
                      </a:cubicBezTo>
                      <a:cubicBezTo>
                        <a:pt x="459622" y="188766"/>
                        <a:pt x="463592" y="190500"/>
                        <a:pt x="465829" y="185686"/>
                      </a:cubicBezTo>
                      <a:cubicBezTo>
                        <a:pt x="468944" y="187513"/>
                        <a:pt x="473219" y="186810"/>
                        <a:pt x="474929" y="183215"/>
                      </a:cubicBezTo>
                      <a:cubicBezTo>
                        <a:pt x="476873" y="179151"/>
                        <a:pt x="471650" y="180463"/>
                        <a:pt x="472621" y="176902"/>
                      </a:cubicBezTo>
                      <a:cubicBezTo>
                        <a:pt x="473242" y="174607"/>
                        <a:pt x="476311" y="174127"/>
                        <a:pt x="476885" y="172476"/>
                      </a:cubicBezTo>
                      <a:cubicBezTo>
                        <a:pt x="477739" y="170028"/>
                        <a:pt x="476662" y="168821"/>
                        <a:pt x="477388" y="166608"/>
                      </a:cubicBezTo>
                      <a:cubicBezTo>
                        <a:pt x="477915" y="164969"/>
                        <a:pt x="476686" y="162462"/>
                        <a:pt x="478454" y="160998"/>
                      </a:cubicBezTo>
                      <a:cubicBezTo>
                        <a:pt x="480292" y="159452"/>
                        <a:pt x="486734" y="158796"/>
                        <a:pt x="487179" y="162415"/>
                      </a:cubicBezTo>
                      <a:cubicBezTo>
                        <a:pt x="487565" y="165589"/>
                        <a:pt x="482424" y="164711"/>
                        <a:pt x="481440" y="166573"/>
                      </a:cubicBezTo>
                      <a:cubicBezTo>
                        <a:pt x="480082" y="169173"/>
                        <a:pt x="480901" y="170133"/>
                        <a:pt x="480714" y="173260"/>
                      </a:cubicBezTo>
                      <a:cubicBezTo>
                        <a:pt x="480574" y="175415"/>
                        <a:pt x="479672" y="174115"/>
                        <a:pt x="480339" y="178144"/>
                      </a:cubicBezTo>
                      <a:cubicBezTo>
                        <a:pt x="480586" y="179667"/>
                        <a:pt x="482623" y="185932"/>
                        <a:pt x="484064" y="187127"/>
                      </a:cubicBezTo>
                      <a:cubicBezTo>
                        <a:pt x="490821" y="192772"/>
                        <a:pt x="493585" y="184620"/>
                        <a:pt x="498726" y="183039"/>
                      </a:cubicBezTo>
                      <a:cubicBezTo>
                        <a:pt x="504137" y="181376"/>
                        <a:pt x="505121" y="185604"/>
                        <a:pt x="508271" y="186459"/>
                      </a:cubicBezTo>
                      <a:cubicBezTo>
                        <a:pt x="511984" y="187478"/>
                        <a:pt x="511398" y="187115"/>
                        <a:pt x="515849" y="185569"/>
                      </a:cubicBezTo>
                      <a:cubicBezTo>
                        <a:pt x="517418" y="185019"/>
                        <a:pt x="515849" y="183566"/>
                        <a:pt x="517278" y="183180"/>
                      </a:cubicBezTo>
                      <a:cubicBezTo>
                        <a:pt x="518554" y="182840"/>
                        <a:pt x="520311" y="183555"/>
                        <a:pt x="520873" y="183414"/>
                      </a:cubicBezTo>
                      <a:cubicBezTo>
                        <a:pt x="523157" y="182817"/>
                        <a:pt x="523965" y="185405"/>
                        <a:pt x="527314" y="182571"/>
                      </a:cubicBezTo>
                      <a:cubicBezTo>
                        <a:pt x="530722" y="179667"/>
                        <a:pt x="528966" y="177629"/>
                        <a:pt x="530254" y="173881"/>
                      </a:cubicBezTo>
                      <a:cubicBezTo>
                        <a:pt x="531964" y="168927"/>
                        <a:pt x="534166" y="167533"/>
                        <a:pt x="537351" y="164184"/>
                      </a:cubicBezTo>
                      <a:cubicBezTo>
                        <a:pt x="540021" y="161396"/>
                        <a:pt x="546978" y="157110"/>
                        <a:pt x="548044" y="154135"/>
                      </a:cubicBezTo>
                      <a:cubicBezTo>
                        <a:pt x="555504" y="158504"/>
                        <a:pt x="563901" y="157578"/>
                        <a:pt x="564604" y="149439"/>
                      </a:cubicBezTo>
                      <a:cubicBezTo>
                        <a:pt x="565353" y="140890"/>
                        <a:pt x="559966" y="132411"/>
                        <a:pt x="557167" y="125032"/>
                      </a:cubicBezTo>
                      <a:cubicBezTo>
                        <a:pt x="553513" y="115382"/>
                        <a:pt x="560517" y="115839"/>
                        <a:pt x="567532" y="117783"/>
                      </a:cubicBezTo>
                      <a:cubicBezTo>
                        <a:pt x="570390" y="118579"/>
                        <a:pt x="588378" y="129436"/>
                        <a:pt x="581410" y="116928"/>
                      </a:cubicBezTo>
                      <a:cubicBezTo>
                        <a:pt x="587336" y="119399"/>
                        <a:pt x="589749" y="112325"/>
                        <a:pt x="593110" y="116869"/>
                      </a:cubicBezTo>
                      <a:lnTo>
                        <a:pt x="593110" y="116869"/>
                      </a:lnTo>
                      <a:close/>
                      <a:moveTo>
                        <a:pt x="13483" y="34209"/>
                      </a:moveTo>
                      <a:cubicBezTo>
                        <a:pt x="23836" y="35860"/>
                        <a:pt x="36074" y="42595"/>
                        <a:pt x="45900" y="48052"/>
                      </a:cubicBezTo>
                      <a:cubicBezTo>
                        <a:pt x="51698" y="51261"/>
                        <a:pt x="56101" y="52140"/>
                        <a:pt x="61992" y="54540"/>
                      </a:cubicBezTo>
                      <a:cubicBezTo>
                        <a:pt x="63702" y="55243"/>
                        <a:pt x="62261" y="57011"/>
                        <a:pt x="63960" y="58042"/>
                      </a:cubicBezTo>
                      <a:cubicBezTo>
                        <a:pt x="64685" y="58487"/>
                        <a:pt x="68082" y="58698"/>
                        <a:pt x="69382" y="59084"/>
                      </a:cubicBezTo>
                      <a:cubicBezTo>
                        <a:pt x="83623" y="63394"/>
                        <a:pt x="98309" y="71112"/>
                        <a:pt x="113019" y="73291"/>
                      </a:cubicBezTo>
                      <a:cubicBezTo>
                        <a:pt x="117575" y="73970"/>
                        <a:pt x="121510" y="73888"/>
                        <a:pt x="126101" y="74860"/>
                      </a:cubicBezTo>
                      <a:cubicBezTo>
                        <a:pt x="135939" y="76921"/>
                        <a:pt x="138152" y="78842"/>
                        <a:pt x="145425" y="84007"/>
                      </a:cubicBezTo>
                      <a:cubicBezTo>
                        <a:pt x="148318" y="86056"/>
                        <a:pt x="151866" y="87344"/>
                        <a:pt x="156082" y="90225"/>
                      </a:cubicBezTo>
                      <a:cubicBezTo>
                        <a:pt x="162067" y="94313"/>
                        <a:pt x="164643" y="96983"/>
                        <a:pt x="172361" y="96515"/>
                      </a:cubicBezTo>
                      <a:cubicBezTo>
                        <a:pt x="171471" y="97171"/>
                        <a:pt x="171143" y="96901"/>
                        <a:pt x="170206" y="97229"/>
                      </a:cubicBezTo>
                      <a:cubicBezTo>
                        <a:pt x="177936" y="101972"/>
                        <a:pt x="184401" y="91713"/>
                        <a:pt x="192400" y="100860"/>
                      </a:cubicBezTo>
                      <a:cubicBezTo>
                        <a:pt x="194250" y="102991"/>
                        <a:pt x="192353" y="105006"/>
                        <a:pt x="195234" y="107313"/>
                      </a:cubicBezTo>
                      <a:cubicBezTo>
                        <a:pt x="197658" y="109233"/>
                        <a:pt x="202624" y="108367"/>
                        <a:pt x="205622" y="110592"/>
                      </a:cubicBezTo>
                      <a:cubicBezTo>
                        <a:pt x="209686" y="113613"/>
                        <a:pt x="208585" y="113168"/>
                        <a:pt x="211150" y="116249"/>
                      </a:cubicBezTo>
                      <a:cubicBezTo>
                        <a:pt x="214746" y="120582"/>
                        <a:pt x="218985" y="126004"/>
                        <a:pt x="225274" y="127351"/>
                      </a:cubicBezTo>
                      <a:cubicBezTo>
                        <a:pt x="228389" y="128019"/>
                        <a:pt x="230685" y="126039"/>
                        <a:pt x="233847" y="127351"/>
                      </a:cubicBezTo>
                      <a:cubicBezTo>
                        <a:pt x="237185" y="128733"/>
                        <a:pt x="240113" y="134483"/>
                        <a:pt x="242595" y="137142"/>
                      </a:cubicBezTo>
                      <a:cubicBezTo>
                        <a:pt x="245324" y="140070"/>
                        <a:pt x="253850" y="145703"/>
                        <a:pt x="255947" y="149369"/>
                      </a:cubicBezTo>
                      <a:cubicBezTo>
                        <a:pt x="257797" y="152601"/>
                        <a:pt x="257645" y="156396"/>
                        <a:pt x="257551" y="161069"/>
                      </a:cubicBezTo>
                      <a:cubicBezTo>
                        <a:pt x="257469" y="165964"/>
                        <a:pt x="255431" y="170602"/>
                        <a:pt x="254611" y="175485"/>
                      </a:cubicBezTo>
                      <a:cubicBezTo>
                        <a:pt x="252843" y="186037"/>
                        <a:pt x="258067" y="180522"/>
                        <a:pt x="262083" y="186061"/>
                      </a:cubicBezTo>
                      <a:cubicBezTo>
                        <a:pt x="265245" y="181201"/>
                        <a:pt x="282356" y="189024"/>
                        <a:pt x="287884" y="190628"/>
                      </a:cubicBezTo>
                      <a:cubicBezTo>
                        <a:pt x="294454" y="192538"/>
                        <a:pt x="300872" y="197726"/>
                        <a:pt x="308649" y="200642"/>
                      </a:cubicBezTo>
                      <a:cubicBezTo>
                        <a:pt x="313064" y="202293"/>
                        <a:pt x="319388" y="205900"/>
                        <a:pt x="324424" y="207657"/>
                      </a:cubicBezTo>
                      <a:cubicBezTo>
                        <a:pt x="329518" y="209414"/>
                        <a:pt x="333828" y="207844"/>
                        <a:pt x="338642" y="208290"/>
                      </a:cubicBezTo>
                      <a:cubicBezTo>
                        <a:pt x="346418" y="209015"/>
                        <a:pt x="350857" y="215949"/>
                        <a:pt x="355623" y="221242"/>
                      </a:cubicBezTo>
                      <a:cubicBezTo>
                        <a:pt x="360847" y="227028"/>
                        <a:pt x="363927" y="230331"/>
                        <a:pt x="364782" y="237756"/>
                      </a:cubicBezTo>
                      <a:cubicBezTo>
                        <a:pt x="364969" y="239313"/>
                        <a:pt x="364793" y="243412"/>
                        <a:pt x="364700" y="243705"/>
                      </a:cubicBezTo>
                      <a:cubicBezTo>
                        <a:pt x="363447" y="247570"/>
                        <a:pt x="364864" y="247207"/>
                        <a:pt x="359617" y="249198"/>
                      </a:cubicBezTo>
                      <a:cubicBezTo>
                        <a:pt x="357989" y="249819"/>
                        <a:pt x="351712" y="250708"/>
                        <a:pt x="350060" y="250744"/>
                      </a:cubicBezTo>
                      <a:cubicBezTo>
                        <a:pt x="341792" y="250943"/>
                        <a:pt x="330818" y="247675"/>
                        <a:pt x="323136" y="249561"/>
                      </a:cubicBezTo>
                      <a:cubicBezTo>
                        <a:pt x="313368" y="251962"/>
                        <a:pt x="317959" y="267854"/>
                        <a:pt x="323908" y="264645"/>
                      </a:cubicBezTo>
                      <a:cubicBezTo>
                        <a:pt x="322269" y="270068"/>
                        <a:pt x="326169" y="275268"/>
                        <a:pt x="327914" y="280175"/>
                      </a:cubicBezTo>
                      <a:cubicBezTo>
                        <a:pt x="329050" y="283372"/>
                        <a:pt x="329249" y="287553"/>
                        <a:pt x="331334" y="289181"/>
                      </a:cubicBezTo>
                      <a:cubicBezTo>
                        <a:pt x="332915" y="290423"/>
                        <a:pt x="339579" y="291090"/>
                        <a:pt x="342928" y="294194"/>
                      </a:cubicBezTo>
                      <a:cubicBezTo>
                        <a:pt x="345798" y="296840"/>
                        <a:pt x="351817" y="301291"/>
                        <a:pt x="351794" y="306713"/>
                      </a:cubicBezTo>
                      <a:cubicBezTo>
                        <a:pt x="352625" y="306596"/>
                        <a:pt x="353480" y="306467"/>
                        <a:pt x="354312" y="306362"/>
                      </a:cubicBezTo>
                      <a:cubicBezTo>
                        <a:pt x="354066" y="305566"/>
                        <a:pt x="353504" y="305226"/>
                        <a:pt x="353246" y="304172"/>
                      </a:cubicBezTo>
                      <a:cubicBezTo>
                        <a:pt x="357158" y="306643"/>
                        <a:pt x="356010" y="310906"/>
                        <a:pt x="359394" y="313201"/>
                      </a:cubicBezTo>
                      <a:cubicBezTo>
                        <a:pt x="360718" y="314080"/>
                        <a:pt x="364360" y="312463"/>
                        <a:pt x="365836" y="313049"/>
                      </a:cubicBezTo>
                      <a:cubicBezTo>
                        <a:pt x="372710" y="315836"/>
                        <a:pt x="371855" y="320650"/>
                        <a:pt x="379925" y="318741"/>
                      </a:cubicBezTo>
                      <a:cubicBezTo>
                        <a:pt x="378801" y="323109"/>
                        <a:pt x="382127" y="328098"/>
                        <a:pt x="383262" y="332408"/>
                      </a:cubicBezTo>
                      <a:cubicBezTo>
                        <a:pt x="384000" y="335207"/>
                        <a:pt x="382701" y="342070"/>
                        <a:pt x="383989" y="344436"/>
                      </a:cubicBezTo>
                      <a:cubicBezTo>
                        <a:pt x="386202" y="348488"/>
                        <a:pt x="389399" y="347493"/>
                        <a:pt x="392784" y="349952"/>
                      </a:cubicBezTo>
                      <a:cubicBezTo>
                        <a:pt x="397680" y="353501"/>
                        <a:pt x="396426" y="355878"/>
                        <a:pt x="398019" y="361863"/>
                      </a:cubicBezTo>
                      <a:cubicBezTo>
                        <a:pt x="400116" y="369651"/>
                        <a:pt x="404589" y="375319"/>
                        <a:pt x="414521" y="373586"/>
                      </a:cubicBezTo>
                      <a:cubicBezTo>
                        <a:pt x="419662" y="372696"/>
                        <a:pt x="428001" y="371853"/>
                        <a:pt x="431842" y="367531"/>
                      </a:cubicBezTo>
                      <a:cubicBezTo>
                        <a:pt x="436117" y="370728"/>
                        <a:pt x="442019" y="367824"/>
                        <a:pt x="441492" y="374007"/>
                      </a:cubicBezTo>
                      <a:cubicBezTo>
                        <a:pt x="441539" y="374476"/>
                        <a:pt x="439923" y="374253"/>
                        <a:pt x="439724" y="374324"/>
                      </a:cubicBezTo>
                      <a:cubicBezTo>
                        <a:pt x="443472" y="376795"/>
                        <a:pt x="428739" y="387944"/>
                        <a:pt x="439103" y="395522"/>
                      </a:cubicBezTo>
                      <a:cubicBezTo>
                        <a:pt x="446856" y="401178"/>
                        <a:pt x="454656" y="399668"/>
                        <a:pt x="463779" y="400488"/>
                      </a:cubicBezTo>
                      <a:cubicBezTo>
                        <a:pt x="467176" y="400792"/>
                        <a:pt x="477423" y="401717"/>
                        <a:pt x="478594" y="404633"/>
                      </a:cubicBezTo>
                      <a:cubicBezTo>
                        <a:pt x="480503" y="409388"/>
                        <a:pt x="470877" y="408334"/>
                        <a:pt x="467293" y="409997"/>
                      </a:cubicBezTo>
                      <a:cubicBezTo>
                        <a:pt x="455160" y="415607"/>
                        <a:pt x="474812" y="424836"/>
                        <a:pt x="482412" y="426463"/>
                      </a:cubicBezTo>
                      <a:cubicBezTo>
                        <a:pt x="490645" y="428232"/>
                        <a:pt x="498141" y="433924"/>
                        <a:pt x="508002" y="432401"/>
                      </a:cubicBezTo>
                      <a:cubicBezTo>
                        <a:pt x="505753" y="439065"/>
                        <a:pt x="518695" y="434404"/>
                        <a:pt x="522208" y="433350"/>
                      </a:cubicBezTo>
                      <a:cubicBezTo>
                        <a:pt x="519128" y="435891"/>
                        <a:pt x="513214" y="439288"/>
                        <a:pt x="508728" y="439662"/>
                      </a:cubicBezTo>
                      <a:cubicBezTo>
                        <a:pt x="505707" y="439908"/>
                        <a:pt x="501092" y="436395"/>
                        <a:pt x="498188" y="437332"/>
                      </a:cubicBezTo>
                      <a:cubicBezTo>
                        <a:pt x="485785" y="441326"/>
                        <a:pt x="510450" y="445600"/>
                        <a:pt x="511609" y="447661"/>
                      </a:cubicBezTo>
                      <a:cubicBezTo>
                        <a:pt x="514560" y="452849"/>
                        <a:pt x="487308" y="462055"/>
                        <a:pt x="486582" y="455766"/>
                      </a:cubicBezTo>
                      <a:cubicBezTo>
                        <a:pt x="482834" y="456375"/>
                        <a:pt x="480761" y="455356"/>
                        <a:pt x="477248" y="453763"/>
                      </a:cubicBezTo>
                      <a:cubicBezTo>
                        <a:pt x="477540" y="452287"/>
                        <a:pt x="477259" y="453037"/>
                        <a:pt x="477072" y="451222"/>
                      </a:cubicBezTo>
                      <a:cubicBezTo>
                        <a:pt x="474519" y="453599"/>
                        <a:pt x="476041" y="451269"/>
                        <a:pt x="474753" y="450858"/>
                      </a:cubicBezTo>
                      <a:cubicBezTo>
                        <a:pt x="473195" y="451081"/>
                        <a:pt x="473359" y="451327"/>
                        <a:pt x="471193" y="450156"/>
                      </a:cubicBezTo>
                      <a:cubicBezTo>
                        <a:pt x="471157" y="450203"/>
                        <a:pt x="471532" y="451034"/>
                        <a:pt x="471193" y="451233"/>
                      </a:cubicBezTo>
                      <a:cubicBezTo>
                        <a:pt x="470537" y="450741"/>
                        <a:pt x="469787" y="450683"/>
                        <a:pt x="469014" y="450519"/>
                      </a:cubicBezTo>
                      <a:cubicBezTo>
                        <a:pt x="469214" y="449910"/>
                        <a:pt x="470806" y="448938"/>
                        <a:pt x="471193" y="448317"/>
                      </a:cubicBezTo>
                      <a:cubicBezTo>
                        <a:pt x="470877" y="448516"/>
                        <a:pt x="470525" y="448622"/>
                        <a:pt x="470150" y="448668"/>
                      </a:cubicBezTo>
                      <a:cubicBezTo>
                        <a:pt x="473359" y="447298"/>
                        <a:pt x="477985" y="449055"/>
                        <a:pt x="480866" y="445799"/>
                      </a:cubicBezTo>
                      <a:cubicBezTo>
                        <a:pt x="477341" y="444546"/>
                        <a:pt x="473547" y="442602"/>
                        <a:pt x="472610" y="447228"/>
                      </a:cubicBezTo>
                      <a:cubicBezTo>
                        <a:pt x="470478" y="440236"/>
                        <a:pt x="453825" y="435856"/>
                        <a:pt x="452607" y="440717"/>
                      </a:cubicBezTo>
                      <a:cubicBezTo>
                        <a:pt x="450288" y="440166"/>
                        <a:pt x="449749" y="440213"/>
                        <a:pt x="447582" y="439639"/>
                      </a:cubicBezTo>
                      <a:cubicBezTo>
                        <a:pt x="447184" y="437062"/>
                        <a:pt x="433669" y="434333"/>
                        <a:pt x="428270" y="434029"/>
                      </a:cubicBezTo>
                      <a:cubicBezTo>
                        <a:pt x="423550" y="433760"/>
                        <a:pt x="411101" y="437285"/>
                        <a:pt x="410059" y="431335"/>
                      </a:cubicBezTo>
                      <a:cubicBezTo>
                        <a:pt x="410808" y="430855"/>
                        <a:pt x="411511" y="430223"/>
                        <a:pt x="412307" y="429825"/>
                      </a:cubicBezTo>
                      <a:cubicBezTo>
                        <a:pt x="412108" y="429227"/>
                        <a:pt x="411722" y="428841"/>
                        <a:pt x="411136" y="428653"/>
                      </a:cubicBezTo>
                      <a:cubicBezTo>
                        <a:pt x="409239" y="428232"/>
                        <a:pt x="410082" y="429602"/>
                        <a:pt x="407915" y="427014"/>
                      </a:cubicBezTo>
                      <a:cubicBezTo>
                        <a:pt x="407224" y="437648"/>
                        <a:pt x="384469" y="428162"/>
                        <a:pt x="380358" y="425222"/>
                      </a:cubicBezTo>
                      <a:cubicBezTo>
                        <a:pt x="376716" y="434638"/>
                        <a:pt x="368892" y="425491"/>
                        <a:pt x="364665" y="426663"/>
                      </a:cubicBezTo>
                      <a:cubicBezTo>
                        <a:pt x="365754" y="425105"/>
                        <a:pt x="364992" y="424753"/>
                        <a:pt x="365367" y="423770"/>
                      </a:cubicBezTo>
                      <a:cubicBezTo>
                        <a:pt x="364524" y="424543"/>
                        <a:pt x="364782" y="424636"/>
                        <a:pt x="364184" y="425620"/>
                      </a:cubicBezTo>
                      <a:cubicBezTo>
                        <a:pt x="361702" y="423875"/>
                        <a:pt x="359383" y="424320"/>
                        <a:pt x="357509" y="426663"/>
                      </a:cubicBezTo>
                      <a:cubicBezTo>
                        <a:pt x="357544" y="420795"/>
                        <a:pt x="354604" y="423219"/>
                        <a:pt x="352192" y="420666"/>
                      </a:cubicBezTo>
                      <a:cubicBezTo>
                        <a:pt x="349065" y="417364"/>
                        <a:pt x="348374" y="414775"/>
                        <a:pt x="346395" y="411297"/>
                      </a:cubicBezTo>
                      <a:cubicBezTo>
                        <a:pt x="342846" y="405055"/>
                        <a:pt x="338525" y="398543"/>
                        <a:pt x="333137" y="395580"/>
                      </a:cubicBezTo>
                      <a:cubicBezTo>
                        <a:pt x="333032" y="395920"/>
                        <a:pt x="333582" y="397009"/>
                        <a:pt x="333547" y="397067"/>
                      </a:cubicBezTo>
                      <a:cubicBezTo>
                        <a:pt x="328113" y="397349"/>
                        <a:pt x="328277" y="392407"/>
                        <a:pt x="324260" y="391645"/>
                      </a:cubicBezTo>
                      <a:cubicBezTo>
                        <a:pt x="326310" y="395557"/>
                        <a:pt x="324178" y="394186"/>
                        <a:pt x="322175" y="391411"/>
                      </a:cubicBezTo>
                      <a:cubicBezTo>
                        <a:pt x="319470" y="387687"/>
                        <a:pt x="319973" y="382451"/>
                        <a:pt x="314621" y="382955"/>
                      </a:cubicBezTo>
                      <a:cubicBezTo>
                        <a:pt x="315336" y="381198"/>
                        <a:pt x="315008" y="378318"/>
                        <a:pt x="314270" y="375764"/>
                      </a:cubicBezTo>
                      <a:cubicBezTo>
                        <a:pt x="317350" y="375038"/>
                        <a:pt x="319306" y="373106"/>
                        <a:pt x="318521" y="370389"/>
                      </a:cubicBezTo>
                      <a:cubicBezTo>
                        <a:pt x="315512" y="378212"/>
                        <a:pt x="289887" y="369768"/>
                        <a:pt x="299572" y="358431"/>
                      </a:cubicBezTo>
                      <a:cubicBezTo>
                        <a:pt x="298459" y="358689"/>
                        <a:pt x="298647" y="359228"/>
                        <a:pt x="297452" y="359275"/>
                      </a:cubicBezTo>
                      <a:cubicBezTo>
                        <a:pt x="294618" y="353911"/>
                        <a:pt x="287896" y="348020"/>
                        <a:pt x="283867" y="341332"/>
                      </a:cubicBezTo>
                      <a:cubicBezTo>
                        <a:pt x="281606" y="337585"/>
                        <a:pt x="281864" y="333485"/>
                        <a:pt x="279522" y="329984"/>
                      </a:cubicBezTo>
                      <a:cubicBezTo>
                        <a:pt x="276887" y="326061"/>
                        <a:pt x="273034" y="327501"/>
                        <a:pt x="272413" y="322114"/>
                      </a:cubicBezTo>
                      <a:cubicBezTo>
                        <a:pt x="272952" y="321153"/>
                        <a:pt x="272940" y="321762"/>
                        <a:pt x="273139" y="320673"/>
                      </a:cubicBezTo>
                      <a:cubicBezTo>
                        <a:pt x="267962" y="319713"/>
                        <a:pt x="253124" y="318378"/>
                        <a:pt x="257048" y="311679"/>
                      </a:cubicBezTo>
                      <a:cubicBezTo>
                        <a:pt x="255747" y="312405"/>
                        <a:pt x="254975" y="312229"/>
                        <a:pt x="253464" y="312768"/>
                      </a:cubicBezTo>
                      <a:cubicBezTo>
                        <a:pt x="253710" y="313119"/>
                        <a:pt x="253967" y="313471"/>
                        <a:pt x="254213" y="313822"/>
                      </a:cubicBezTo>
                      <a:cubicBezTo>
                        <a:pt x="246894" y="314864"/>
                        <a:pt x="229748" y="312932"/>
                        <a:pt x="225368" y="306116"/>
                      </a:cubicBezTo>
                      <a:cubicBezTo>
                        <a:pt x="223283" y="308646"/>
                        <a:pt x="221234" y="307428"/>
                        <a:pt x="219676" y="304558"/>
                      </a:cubicBezTo>
                      <a:cubicBezTo>
                        <a:pt x="218751" y="307205"/>
                        <a:pt x="211209" y="306409"/>
                        <a:pt x="209803" y="304851"/>
                      </a:cubicBezTo>
                      <a:cubicBezTo>
                        <a:pt x="206746" y="301478"/>
                        <a:pt x="210271" y="298585"/>
                        <a:pt x="208070" y="293713"/>
                      </a:cubicBezTo>
                      <a:cubicBezTo>
                        <a:pt x="208293" y="304160"/>
                        <a:pt x="201664" y="297391"/>
                        <a:pt x="197693" y="293292"/>
                      </a:cubicBezTo>
                      <a:cubicBezTo>
                        <a:pt x="199040" y="298117"/>
                        <a:pt x="196476" y="298995"/>
                        <a:pt x="193056" y="296641"/>
                      </a:cubicBezTo>
                      <a:cubicBezTo>
                        <a:pt x="192107" y="295985"/>
                        <a:pt x="191158" y="290867"/>
                        <a:pt x="190854" y="289872"/>
                      </a:cubicBezTo>
                      <a:cubicBezTo>
                        <a:pt x="189905" y="292847"/>
                        <a:pt x="189776" y="295833"/>
                        <a:pt x="191650" y="298047"/>
                      </a:cubicBezTo>
                      <a:cubicBezTo>
                        <a:pt x="188699" y="299077"/>
                        <a:pt x="186579" y="293678"/>
                        <a:pt x="184869" y="290809"/>
                      </a:cubicBezTo>
                      <a:cubicBezTo>
                        <a:pt x="185958" y="296419"/>
                        <a:pt x="187024" y="300904"/>
                        <a:pt x="190104" y="305706"/>
                      </a:cubicBezTo>
                      <a:cubicBezTo>
                        <a:pt x="188652" y="304722"/>
                        <a:pt x="186649" y="303703"/>
                        <a:pt x="185185" y="301607"/>
                      </a:cubicBezTo>
                      <a:cubicBezTo>
                        <a:pt x="182269" y="304382"/>
                        <a:pt x="181508" y="299077"/>
                        <a:pt x="179833" y="295845"/>
                      </a:cubicBezTo>
                      <a:cubicBezTo>
                        <a:pt x="180372" y="297520"/>
                        <a:pt x="180314" y="299300"/>
                        <a:pt x="180524" y="300576"/>
                      </a:cubicBezTo>
                      <a:cubicBezTo>
                        <a:pt x="180079" y="299557"/>
                        <a:pt x="178440" y="298070"/>
                        <a:pt x="177678" y="296922"/>
                      </a:cubicBezTo>
                      <a:cubicBezTo>
                        <a:pt x="176999" y="297496"/>
                        <a:pt x="175969" y="298293"/>
                        <a:pt x="175535" y="298761"/>
                      </a:cubicBezTo>
                      <a:cubicBezTo>
                        <a:pt x="181824" y="304910"/>
                        <a:pt x="173462" y="304910"/>
                        <a:pt x="167208" y="302848"/>
                      </a:cubicBezTo>
                      <a:cubicBezTo>
                        <a:pt x="156469" y="299300"/>
                        <a:pt x="152885" y="292894"/>
                        <a:pt x="145155" y="286839"/>
                      </a:cubicBezTo>
                      <a:cubicBezTo>
                        <a:pt x="145776" y="290106"/>
                        <a:pt x="148950" y="290118"/>
                        <a:pt x="150262" y="291945"/>
                      </a:cubicBezTo>
                      <a:cubicBezTo>
                        <a:pt x="152721" y="295388"/>
                        <a:pt x="153974" y="300647"/>
                        <a:pt x="155860" y="304394"/>
                      </a:cubicBezTo>
                      <a:cubicBezTo>
                        <a:pt x="156785" y="306256"/>
                        <a:pt x="161961" y="313412"/>
                        <a:pt x="161364" y="314853"/>
                      </a:cubicBezTo>
                      <a:cubicBezTo>
                        <a:pt x="160580" y="316762"/>
                        <a:pt x="155754" y="312628"/>
                        <a:pt x="153389" y="312768"/>
                      </a:cubicBezTo>
                      <a:cubicBezTo>
                        <a:pt x="165393" y="317897"/>
                        <a:pt x="152569" y="316914"/>
                        <a:pt x="146924" y="316141"/>
                      </a:cubicBezTo>
                      <a:cubicBezTo>
                        <a:pt x="143434" y="315661"/>
                        <a:pt x="139780" y="316188"/>
                        <a:pt x="136384" y="315063"/>
                      </a:cubicBezTo>
                      <a:cubicBezTo>
                        <a:pt x="134030" y="314291"/>
                        <a:pt x="134158" y="310519"/>
                        <a:pt x="130176" y="311152"/>
                      </a:cubicBezTo>
                      <a:cubicBezTo>
                        <a:pt x="133748" y="312498"/>
                        <a:pt x="147205" y="322852"/>
                        <a:pt x="144265" y="328403"/>
                      </a:cubicBezTo>
                      <a:cubicBezTo>
                        <a:pt x="144230" y="328473"/>
                        <a:pt x="110208" y="334013"/>
                        <a:pt x="108780" y="333907"/>
                      </a:cubicBezTo>
                      <a:cubicBezTo>
                        <a:pt x="103497" y="333521"/>
                        <a:pt x="99270" y="329749"/>
                        <a:pt x="93648" y="330733"/>
                      </a:cubicBezTo>
                      <a:cubicBezTo>
                        <a:pt x="90111" y="331342"/>
                        <a:pt x="85860" y="335383"/>
                        <a:pt x="82218" y="333474"/>
                      </a:cubicBezTo>
                      <a:cubicBezTo>
                        <a:pt x="76186" y="330323"/>
                        <a:pt x="82007" y="324456"/>
                        <a:pt x="72860" y="325264"/>
                      </a:cubicBezTo>
                      <a:cubicBezTo>
                        <a:pt x="70249" y="325498"/>
                        <a:pt x="68035" y="326939"/>
                        <a:pt x="66817" y="328614"/>
                      </a:cubicBezTo>
                      <a:cubicBezTo>
                        <a:pt x="68914" y="327489"/>
                        <a:pt x="75273" y="324714"/>
                        <a:pt x="77931" y="326470"/>
                      </a:cubicBezTo>
                      <a:cubicBezTo>
                        <a:pt x="79653" y="327630"/>
                        <a:pt x="78728" y="332642"/>
                        <a:pt x="80590" y="334235"/>
                      </a:cubicBezTo>
                      <a:cubicBezTo>
                        <a:pt x="84818" y="337854"/>
                        <a:pt x="85368" y="334305"/>
                        <a:pt x="89608" y="333626"/>
                      </a:cubicBezTo>
                      <a:cubicBezTo>
                        <a:pt x="101483" y="331706"/>
                        <a:pt x="120327" y="341110"/>
                        <a:pt x="128057" y="350948"/>
                      </a:cubicBezTo>
                      <a:cubicBezTo>
                        <a:pt x="131523" y="355363"/>
                        <a:pt x="135587" y="364088"/>
                        <a:pt x="130891" y="368831"/>
                      </a:cubicBezTo>
                      <a:cubicBezTo>
                        <a:pt x="128443" y="371314"/>
                        <a:pt x="123068" y="370482"/>
                        <a:pt x="120397" y="371279"/>
                      </a:cubicBezTo>
                      <a:cubicBezTo>
                        <a:pt x="111344" y="374007"/>
                        <a:pt x="100312" y="387183"/>
                        <a:pt x="90744" y="386305"/>
                      </a:cubicBezTo>
                      <a:cubicBezTo>
                        <a:pt x="86797" y="385942"/>
                        <a:pt x="81093" y="380929"/>
                        <a:pt x="76690" y="379676"/>
                      </a:cubicBezTo>
                      <a:cubicBezTo>
                        <a:pt x="69968" y="377755"/>
                        <a:pt x="66513" y="377790"/>
                        <a:pt x="58959" y="378786"/>
                      </a:cubicBezTo>
                      <a:cubicBezTo>
                        <a:pt x="53232" y="379536"/>
                        <a:pt x="48734" y="379980"/>
                        <a:pt x="42914" y="380062"/>
                      </a:cubicBezTo>
                      <a:cubicBezTo>
                        <a:pt x="37667" y="380145"/>
                        <a:pt x="35583" y="378411"/>
                        <a:pt x="30793" y="377533"/>
                      </a:cubicBezTo>
                      <a:cubicBezTo>
                        <a:pt x="23777" y="376245"/>
                        <a:pt x="19842" y="382077"/>
                        <a:pt x="13635" y="380496"/>
                      </a:cubicBezTo>
                      <a:cubicBezTo>
                        <a:pt x="2954" y="377767"/>
                        <a:pt x="5976" y="364041"/>
                        <a:pt x="5987" y="356077"/>
                      </a:cubicBezTo>
                      <a:cubicBezTo>
                        <a:pt x="5999" y="335605"/>
                        <a:pt x="5941" y="315134"/>
                        <a:pt x="5941" y="294662"/>
                      </a:cubicBezTo>
                      <a:cubicBezTo>
                        <a:pt x="5929" y="284906"/>
                        <a:pt x="7943" y="271965"/>
                        <a:pt x="5964" y="262420"/>
                      </a:cubicBezTo>
                      <a:cubicBezTo>
                        <a:pt x="4898" y="257255"/>
                        <a:pt x="2029" y="256681"/>
                        <a:pt x="612" y="251962"/>
                      </a:cubicBezTo>
                      <a:cubicBezTo>
                        <a:pt x="-829" y="247160"/>
                        <a:pt x="553" y="245204"/>
                        <a:pt x="1888" y="241714"/>
                      </a:cubicBezTo>
                      <a:cubicBezTo>
                        <a:pt x="2837" y="239220"/>
                        <a:pt x="6081" y="236655"/>
                        <a:pt x="2591" y="234418"/>
                      </a:cubicBezTo>
                      <a:cubicBezTo>
                        <a:pt x="9255" y="231514"/>
                        <a:pt x="5941" y="209496"/>
                        <a:pt x="5941" y="201356"/>
                      </a:cubicBezTo>
                      <a:cubicBezTo>
                        <a:pt x="5941" y="183964"/>
                        <a:pt x="5976" y="166561"/>
                        <a:pt x="5917" y="149170"/>
                      </a:cubicBezTo>
                      <a:cubicBezTo>
                        <a:pt x="5777" y="110721"/>
                        <a:pt x="5765" y="72260"/>
                        <a:pt x="5812" y="33788"/>
                      </a:cubicBezTo>
                      <a:cubicBezTo>
                        <a:pt x="8365" y="33343"/>
                        <a:pt x="10754" y="33436"/>
                        <a:pt x="13483" y="34209"/>
                      </a:cubicBezTo>
                      <a:lnTo>
                        <a:pt x="13483" y="34209"/>
                      </a:lnTo>
                      <a:close/>
                      <a:moveTo>
                        <a:pt x="531050" y="39596"/>
                      </a:moveTo>
                      <a:cubicBezTo>
                        <a:pt x="536320" y="47186"/>
                        <a:pt x="544683" y="46893"/>
                        <a:pt x="552049" y="50266"/>
                      </a:cubicBezTo>
                      <a:cubicBezTo>
                        <a:pt x="559685" y="53779"/>
                        <a:pt x="566173" y="61661"/>
                        <a:pt x="572942" y="64601"/>
                      </a:cubicBezTo>
                      <a:cubicBezTo>
                        <a:pt x="579407" y="67400"/>
                        <a:pt x="581984" y="66802"/>
                        <a:pt x="586739" y="71955"/>
                      </a:cubicBezTo>
                      <a:cubicBezTo>
                        <a:pt x="589971" y="75481"/>
                        <a:pt x="603767" y="90553"/>
                        <a:pt x="606648" y="88281"/>
                      </a:cubicBezTo>
                      <a:cubicBezTo>
                        <a:pt x="610068" y="92287"/>
                        <a:pt x="615209" y="106586"/>
                        <a:pt x="623899" y="100227"/>
                      </a:cubicBezTo>
                      <a:cubicBezTo>
                        <a:pt x="624508" y="103893"/>
                        <a:pt x="626300" y="108168"/>
                        <a:pt x="630294" y="106188"/>
                      </a:cubicBezTo>
                      <a:cubicBezTo>
                        <a:pt x="631360" y="110931"/>
                        <a:pt x="636688" y="114457"/>
                        <a:pt x="638410" y="118427"/>
                      </a:cubicBezTo>
                      <a:cubicBezTo>
                        <a:pt x="641853" y="126367"/>
                        <a:pt x="637450" y="125349"/>
                        <a:pt x="635236" y="132340"/>
                      </a:cubicBezTo>
                      <a:cubicBezTo>
                        <a:pt x="634768" y="133816"/>
                        <a:pt x="637543" y="135994"/>
                        <a:pt x="637016" y="138407"/>
                      </a:cubicBezTo>
                      <a:cubicBezTo>
                        <a:pt x="636899" y="138945"/>
                        <a:pt x="635049" y="141662"/>
                        <a:pt x="634615" y="142470"/>
                      </a:cubicBezTo>
                      <a:cubicBezTo>
                        <a:pt x="632484" y="146417"/>
                        <a:pt x="629755" y="148163"/>
                        <a:pt x="627752" y="151301"/>
                      </a:cubicBezTo>
                      <a:cubicBezTo>
                        <a:pt x="625410" y="145492"/>
                        <a:pt x="621018" y="142529"/>
                        <a:pt x="618582" y="136826"/>
                      </a:cubicBezTo>
                      <a:cubicBezTo>
                        <a:pt x="616029" y="130864"/>
                        <a:pt x="618336" y="126250"/>
                        <a:pt x="617317" y="119551"/>
                      </a:cubicBezTo>
                      <a:cubicBezTo>
                        <a:pt x="615409" y="107020"/>
                        <a:pt x="606601" y="100602"/>
                        <a:pt x="599727" y="90987"/>
                      </a:cubicBezTo>
                      <a:cubicBezTo>
                        <a:pt x="597455" y="87801"/>
                        <a:pt x="595757" y="83890"/>
                        <a:pt x="591740" y="81629"/>
                      </a:cubicBezTo>
                      <a:cubicBezTo>
                        <a:pt x="588109" y="79591"/>
                        <a:pt x="584150" y="80142"/>
                        <a:pt x="580122" y="78725"/>
                      </a:cubicBezTo>
                      <a:cubicBezTo>
                        <a:pt x="572954" y="76207"/>
                        <a:pt x="569487" y="70831"/>
                        <a:pt x="563761" y="66416"/>
                      </a:cubicBezTo>
                      <a:cubicBezTo>
                        <a:pt x="554848" y="59588"/>
                        <a:pt x="544109" y="53112"/>
                        <a:pt x="535079" y="47361"/>
                      </a:cubicBezTo>
                      <a:cubicBezTo>
                        <a:pt x="529200" y="43614"/>
                        <a:pt x="525394" y="45171"/>
                        <a:pt x="519198" y="43216"/>
                      </a:cubicBezTo>
                      <a:cubicBezTo>
                        <a:pt x="507815" y="39608"/>
                        <a:pt x="526330" y="41107"/>
                        <a:pt x="521892" y="37465"/>
                      </a:cubicBezTo>
                      <a:cubicBezTo>
                        <a:pt x="521400" y="36961"/>
                        <a:pt x="521096" y="35486"/>
                        <a:pt x="518015" y="34654"/>
                      </a:cubicBezTo>
                      <a:cubicBezTo>
                        <a:pt x="518203" y="33752"/>
                        <a:pt x="518695" y="32347"/>
                        <a:pt x="519023" y="31551"/>
                      </a:cubicBezTo>
                      <a:cubicBezTo>
                        <a:pt x="522571" y="34572"/>
                        <a:pt x="526401" y="38496"/>
                        <a:pt x="531050" y="39596"/>
                      </a:cubicBezTo>
                      <a:lnTo>
                        <a:pt x="531050" y="39596"/>
                      </a:lnTo>
                      <a:close/>
                      <a:moveTo>
                        <a:pt x="314528" y="0"/>
                      </a:moveTo>
                      <a:cubicBezTo>
                        <a:pt x="318919" y="562"/>
                        <a:pt x="325068" y="-1078"/>
                        <a:pt x="328195" y="2764"/>
                      </a:cubicBezTo>
                      <a:cubicBezTo>
                        <a:pt x="330280" y="1089"/>
                        <a:pt x="338489" y="3783"/>
                        <a:pt x="342178" y="4907"/>
                      </a:cubicBezTo>
                      <a:cubicBezTo>
                        <a:pt x="341324" y="3045"/>
                        <a:pt x="341581" y="2190"/>
                        <a:pt x="339989" y="504"/>
                      </a:cubicBezTo>
                      <a:cubicBezTo>
                        <a:pt x="345446" y="1534"/>
                        <a:pt x="343174" y="7343"/>
                        <a:pt x="337506" y="6008"/>
                      </a:cubicBezTo>
                      <a:cubicBezTo>
                        <a:pt x="337845" y="5715"/>
                        <a:pt x="338091" y="5340"/>
                        <a:pt x="338232" y="4907"/>
                      </a:cubicBezTo>
                      <a:cubicBezTo>
                        <a:pt x="337049" y="5165"/>
                        <a:pt x="335152" y="5949"/>
                        <a:pt x="335327" y="5867"/>
                      </a:cubicBezTo>
                      <a:cubicBezTo>
                        <a:pt x="333442" y="14206"/>
                        <a:pt x="326555" y="10763"/>
                        <a:pt x="322831" y="11712"/>
                      </a:cubicBezTo>
                      <a:cubicBezTo>
                        <a:pt x="315757" y="14346"/>
                        <a:pt x="310019" y="10658"/>
                        <a:pt x="304292" y="8502"/>
                      </a:cubicBezTo>
                      <a:cubicBezTo>
                        <a:pt x="308051" y="13175"/>
                        <a:pt x="297007" y="14241"/>
                        <a:pt x="295871" y="12777"/>
                      </a:cubicBezTo>
                      <a:cubicBezTo>
                        <a:pt x="292463" y="8327"/>
                        <a:pt x="302863" y="9744"/>
                        <a:pt x="298237" y="2260"/>
                      </a:cubicBezTo>
                      <a:cubicBezTo>
                        <a:pt x="301903" y="1639"/>
                        <a:pt x="308321" y="105"/>
                        <a:pt x="314528" y="0"/>
                      </a:cubicBezTo>
                      <a:lnTo>
                        <a:pt x="314528" y="0"/>
                      </a:lnTo>
                      <a:close/>
                    </a:path>
                  </a:pathLst>
                </a:custGeom>
                <a:solidFill>
                  <a:srgbClr val="D6D6D2"/>
                </a:solidFill>
                <a:ln w="8774" cap="rnd">
                  <a:solidFill>
                    <a:srgbClr val="FFFFFF"/>
                  </a:solidFill>
                  <a:prstDash val="solid"/>
                  <a:round/>
                </a:ln>
              </p:spPr>
              <p:txBody>
                <a:bodyPr rtlCol="0" anchor="ctr"/>
                <a:lstStyle/>
                <a:p>
                  <a:endParaRPr lang="en-US"/>
                </a:p>
              </p:txBody>
            </p:sp>
            <p:sp>
              <p:nvSpPr>
                <p:cNvPr id="112" name="Freeform: Shape 111">
                  <a:extLst>
                    <a:ext uri="{FF2B5EF4-FFF2-40B4-BE49-F238E27FC236}">
                      <a16:creationId xmlns:a16="http://schemas.microsoft.com/office/drawing/2014/main" id="{8B59A69A-4412-4F8E-B939-FBF40FA99297}"/>
                    </a:ext>
                  </a:extLst>
                </p:cNvPr>
                <p:cNvSpPr/>
                <p:nvPr/>
              </p:nvSpPr>
              <p:spPr>
                <a:xfrm>
                  <a:off x="3232486" y="5096940"/>
                  <a:ext cx="491345" cy="691838"/>
                </a:xfrm>
                <a:custGeom>
                  <a:avLst/>
                  <a:gdLst>
                    <a:gd name="connsiteX0" fmla="*/ 253473 w 491345"/>
                    <a:gd name="connsiteY0" fmla="*/ 648651 h 691838"/>
                    <a:gd name="connsiteX1" fmla="*/ 243963 w 491345"/>
                    <a:gd name="connsiteY1" fmla="*/ 640219 h 691838"/>
                    <a:gd name="connsiteX2" fmla="*/ 240531 w 491345"/>
                    <a:gd name="connsiteY2" fmla="*/ 637209 h 691838"/>
                    <a:gd name="connsiteX3" fmla="*/ 248823 w 491345"/>
                    <a:gd name="connsiteY3" fmla="*/ 633661 h 691838"/>
                    <a:gd name="connsiteX4" fmla="*/ 267972 w 491345"/>
                    <a:gd name="connsiteY4" fmla="*/ 638720 h 691838"/>
                    <a:gd name="connsiteX5" fmla="*/ 253473 w 491345"/>
                    <a:gd name="connsiteY5" fmla="*/ 648651 h 691838"/>
                    <a:gd name="connsiteX6" fmla="*/ 253473 w 491345"/>
                    <a:gd name="connsiteY6" fmla="*/ 648651 h 691838"/>
                    <a:gd name="connsiteX7" fmla="*/ 440541 w 491345"/>
                    <a:gd name="connsiteY7" fmla="*/ 480802 h 691838"/>
                    <a:gd name="connsiteX8" fmla="*/ 443106 w 491345"/>
                    <a:gd name="connsiteY8" fmla="*/ 481188 h 691838"/>
                    <a:gd name="connsiteX9" fmla="*/ 456644 w 491345"/>
                    <a:gd name="connsiteY9" fmla="*/ 489129 h 691838"/>
                    <a:gd name="connsiteX10" fmla="*/ 457722 w 491345"/>
                    <a:gd name="connsiteY10" fmla="*/ 487688 h 691838"/>
                    <a:gd name="connsiteX11" fmla="*/ 458823 w 491345"/>
                    <a:gd name="connsiteY11" fmla="*/ 492033 h 691838"/>
                    <a:gd name="connsiteX12" fmla="*/ 470616 w 491345"/>
                    <a:gd name="connsiteY12" fmla="*/ 496882 h 691838"/>
                    <a:gd name="connsiteX13" fmla="*/ 468602 w 491345"/>
                    <a:gd name="connsiteY13" fmla="*/ 508359 h 691838"/>
                    <a:gd name="connsiteX14" fmla="*/ 475945 w 491345"/>
                    <a:gd name="connsiteY14" fmla="*/ 516358 h 691838"/>
                    <a:gd name="connsiteX15" fmla="*/ 472783 w 491345"/>
                    <a:gd name="connsiteY15" fmla="*/ 529112 h 691838"/>
                    <a:gd name="connsiteX16" fmla="*/ 471658 w 491345"/>
                    <a:gd name="connsiteY16" fmla="*/ 537778 h 691838"/>
                    <a:gd name="connsiteX17" fmla="*/ 470300 w 491345"/>
                    <a:gd name="connsiteY17" fmla="*/ 536701 h 691838"/>
                    <a:gd name="connsiteX18" fmla="*/ 480606 w 491345"/>
                    <a:gd name="connsiteY18" fmla="*/ 541011 h 691838"/>
                    <a:gd name="connsiteX19" fmla="*/ 476483 w 491345"/>
                    <a:gd name="connsiteY19" fmla="*/ 547253 h 691838"/>
                    <a:gd name="connsiteX20" fmla="*/ 483089 w 491345"/>
                    <a:gd name="connsiteY20" fmla="*/ 552863 h 691838"/>
                    <a:gd name="connsiteX21" fmla="*/ 480782 w 491345"/>
                    <a:gd name="connsiteY21" fmla="*/ 568228 h 691838"/>
                    <a:gd name="connsiteX22" fmla="*/ 485771 w 491345"/>
                    <a:gd name="connsiteY22" fmla="*/ 579507 h 691838"/>
                    <a:gd name="connsiteX23" fmla="*/ 489425 w 491345"/>
                    <a:gd name="connsiteY23" fmla="*/ 580502 h 691838"/>
                    <a:gd name="connsiteX24" fmla="*/ 488874 w 491345"/>
                    <a:gd name="connsiteY24" fmla="*/ 583816 h 691838"/>
                    <a:gd name="connsiteX25" fmla="*/ 490830 w 491345"/>
                    <a:gd name="connsiteY25" fmla="*/ 593010 h 691838"/>
                    <a:gd name="connsiteX26" fmla="*/ 491346 w 491345"/>
                    <a:gd name="connsiteY26" fmla="*/ 603410 h 691838"/>
                    <a:gd name="connsiteX27" fmla="*/ 484354 w 491345"/>
                    <a:gd name="connsiteY27" fmla="*/ 613868 h 691838"/>
                    <a:gd name="connsiteX28" fmla="*/ 482656 w 491345"/>
                    <a:gd name="connsiteY28" fmla="*/ 618799 h 691838"/>
                    <a:gd name="connsiteX29" fmla="*/ 476343 w 491345"/>
                    <a:gd name="connsiteY29" fmla="*/ 618787 h 691838"/>
                    <a:gd name="connsiteX30" fmla="*/ 477210 w 491345"/>
                    <a:gd name="connsiteY30" fmla="*/ 628707 h 691838"/>
                    <a:gd name="connsiteX31" fmla="*/ 469152 w 491345"/>
                    <a:gd name="connsiteY31" fmla="*/ 624057 h 691838"/>
                    <a:gd name="connsiteX32" fmla="*/ 468098 w 491345"/>
                    <a:gd name="connsiteY32" fmla="*/ 622980 h 691838"/>
                    <a:gd name="connsiteX33" fmla="*/ 472525 w 491345"/>
                    <a:gd name="connsiteY33" fmla="*/ 631318 h 691838"/>
                    <a:gd name="connsiteX34" fmla="*/ 469550 w 491345"/>
                    <a:gd name="connsiteY34" fmla="*/ 655491 h 691838"/>
                    <a:gd name="connsiteX35" fmla="*/ 464187 w 491345"/>
                    <a:gd name="connsiteY35" fmla="*/ 643896 h 691838"/>
                    <a:gd name="connsiteX36" fmla="*/ 463484 w 491345"/>
                    <a:gd name="connsiteY36" fmla="*/ 628742 h 691838"/>
                    <a:gd name="connsiteX37" fmla="*/ 461282 w 491345"/>
                    <a:gd name="connsiteY37" fmla="*/ 625533 h 691838"/>
                    <a:gd name="connsiteX38" fmla="*/ 458413 w 491345"/>
                    <a:gd name="connsiteY38" fmla="*/ 617628 h 691838"/>
                    <a:gd name="connsiteX39" fmla="*/ 453623 w 491345"/>
                    <a:gd name="connsiteY39" fmla="*/ 610800 h 691838"/>
                    <a:gd name="connsiteX40" fmla="*/ 451362 w 491345"/>
                    <a:gd name="connsiteY40" fmla="*/ 601946 h 691838"/>
                    <a:gd name="connsiteX41" fmla="*/ 441525 w 491345"/>
                    <a:gd name="connsiteY41" fmla="*/ 604956 h 691838"/>
                    <a:gd name="connsiteX42" fmla="*/ 440880 w 491345"/>
                    <a:gd name="connsiteY42" fmla="*/ 611983 h 691838"/>
                    <a:gd name="connsiteX43" fmla="*/ 436102 w 491345"/>
                    <a:gd name="connsiteY43" fmla="*/ 616140 h 691838"/>
                    <a:gd name="connsiteX44" fmla="*/ 428033 w 491345"/>
                    <a:gd name="connsiteY44" fmla="*/ 627793 h 691838"/>
                    <a:gd name="connsiteX45" fmla="*/ 429509 w 491345"/>
                    <a:gd name="connsiteY45" fmla="*/ 638076 h 691838"/>
                    <a:gd name="connsiteX46" fmla="*/ 437742 w 491345"/>
                    <a:gd name="connsiteY46" fmla="*/ 644248 h 691838"/>
                    <a:gd name="connsiteX47" fmla="*/ 440634 w 491345"/>
                    <a:gd name="connsiteY47" fmla="*/ 654577 h 691838"/>
                    <a:gd name="connsiteX48" fmla="*/ 437952 w 491345"/>
                    <a:gd name="connsiteY48" fmla="*/ 677614 h 691838"/>
                    <a:gd name="connsiteX49" fmla="*/ 420163 w 491345"/>
                    <a:gd name="connsiteY49" fmla="*/ 684782 h 691838"/>
                    <a:gd name="connsiteX50" fmla="*/ 416427 w 491345"/>
                    <a:gd name="connsiteY50" fmla="*/ 680882 h 691838"/>
                    <a:gd name="connsiteX51" fmla="*/ 421568 w 491345"/>
                    <a:gd name="connsiteY51" fmla="*/ 669334 h 691838"/>
                    <a:gd name="connsiteX52" fmla="*/ 410583 w 491345"/>
                    <a:gd name="connsiteY52" fmla="*/ 677520 h 691838"/>
                    <a:gd name="connsiteX53" fmla="*/ 387136 w 491345"/>
                    <a:gd name="connsiteY53" fmla="*/ 671009 h 691838"/>
                    <a:gd name="connsiteX54" fmla="*/ 363959 w 491345"/>
                    <a:gd name="connsiteY54" fmla="*/ 655713 h 691838"/>
                    <a:gd name="connsiteX55" fmla="*/ 357494 w 491345"/>
                    <a:gd name="connsiteY55" fmla="*/ 635230 h 691838"/>
                    <a:gd name="connsiteX56" fmla="*/ 354180 w 491345"/>
                    <a:gd name="connsiteY56" fmla="*/ 617136 h 691838"/>
                    <a:gd name="connsiteX57" fmla="*/ 363947 w 491345"/>
                    <a:gd name="connsiteY57" fmla="*/ 606560 h 691838"/>
                    <a:gd name="connsiteX58" fmla="*/ 367648 w 491345"/>
                    <a:gd name="connsiteY58" fmla="*/ 596746 h 691838"/>
                    <a:gd name="connsiteX59" fmla="*/ 354051 w 491345"/>
                    <a:gd name="connsiteY59" fmla="*/ 583629 h 691838"/>
                    <a:gd name="connsiteX60" fmla="*/ 346427 w 491345"/>
                    <a:gd name="connsiteY60" fmla="*/ 580982 h 691838"/>
                    <a:gd name="connsiteX61" fmla="*/ 339599 w 491345"/>
                    <a:gd name="connsiteY61" fmla="*/ 575665 h 691838"/>
                    <a:gd name="connsiteX62" fmla="*/ 325862 w 491345"/>
                    <a:gd name="connsiteY62" fmla="*/ 576368 h 691838"/>
                    <a:gd name="connsiteX63" fmla="*/ 327220 w 491345"/>
                    <a:gd name="connsiteY63" fmla="*/ 583933 h 691838"/>
                    <a:gd name="connsiteX64" fmla="*/ 323297 w 491345"/>
                    <a:gd name="connsiteY64" fmla="*/ 587587 h 691838"/>
                    <a:gd name="connsiteX65" fmla="*/ 321505 w 491345"/>
                    <a:gd name="connsiteY65" fmla="*/ 587037 h 691838"/>
                    <a:gd name="connsiteX66" fmla="*/ 326517 w 491345"/>
                    <a:gd name="connsiteY66" fmla="*/ 596195 h 691838"/>
                    <a:gd name="connsiteX67" fmla="*/ 317558 w 491345"/>
                    <a:gd name="connsiteY67" fmla="*/ 592050 h 691838"/>
                    <a:gd name="connsiteX68" fmla="*/ 308997 w 491345"/>
                    <a:gd name="connsiteY68" fmla="*/ 589040 h 691838"/>
                    <a:gd name="connsiteX69" fmla="*/ 311491 w 491345"/>
                    <a:gd name="connsiteY69" fmla="*/ 584086 h 691838"/>
                    <a:gd name="connsiteX70" fmla="*/ 308786 w 491345"/>
                    <a:gd name="connsiteY70" fmla="*/ 579038 h 691838"/>
                    <a:gd name="connsiteX71" fmla="*/ 301818 w 491345"/>
                    <a:gd name="connsiteY71" fmla="*/ 592951 h 691838"/>
                    <a:gd name="connsiteX72" fmla="*/ 298831 w 491345"/>
                    <a:gd name="connsiteY72" fmla="*/ 589695 h 691838"/>
                    <a:gd name="connsiteX73" fmla="*/ 296266 w 491345"/>
                    <a:gd name="connsiteY73" fmla="*/ 592553 h 691838"/>
                    <a:gd name="connsiteX74" fmla="*/ 291512 w 491345"/>
                    <a:gd name="connsiteY74" fmla="*/ 592436 h 691838"/>
                    <a:gd name="connsiteX75" fmla="*/ 293678 w 491345"/>
                    <a:gd name="connsiteY75" fmla="*/ 590246 h 691838"/>
                    <a:gd name="connsiteX76" fmla="*/ 288373 w 491345"/>
                    <a:gd name="connsiteY76" fmla="*/ 577762 h 691838"/>
                    <a:gd name="connsiteX77" fmla="*/ 273078 w 491345"/>
                    <a:gd name="connsiteY77" fmla="*/ 587576 h 691838"/>
                    <a:gd name="connsiteX78" fmla="*/ 275783 w 491345"/>
                    <a:gd name="connsiteY78" fmla="*/ 587576 h 691838"/>
                    <a:gd name="connsiteX79" fmla="*/ 273593 w 491345"/>
                    <a:gd name="connsiteY79" fmla="*/ 591722 h 691838"/>
                    <a:gd name="connsiteX80" fmla="*/ 273980 w 491345"/>
                    <a:gd name="connsiteY80" fmla="*/ 589567 h 691838"/>
                    <a:gd name="connsiteX81" fmla="*/ 269318 w 491345"/>
                    <a:gd name="connsiteY81" fmla="*/ 595879 h 691838"/>
                    <a:gd name="connsiteX82" fmla="*/ 266121 w 491345"/>
                    <a:gd name="connsiteY82" fmla="*/ 601091 h 691838"/>
                    <a:gd name="connsiteX83" fmla="*/ 255218 w 491345"/>
                    <a:gd name="connsiteY83" fmla="*/ 623261 h 691838"/>
                    <a:gd name="connsiteX84" fmla="*/ 245157 w 491345"/>
                    <a:gd name="connsiteY84" fmla="*/ 612767 h 691838"/>
                    <a:gd name="connsiteX85" fmla="*/ 253191 w 491345"/>
                    <a:gd name="connsiteY85" fmla="*/ 601559 h 691838"/>
                    <a:gd name="connsiteX86" fmla="*/ 258087 w 491345"/>
                    <a:gd name="connsiteY86" fmla="*/ 587037 h 691838"/>
                    <a:gd name="connsiteX87" fmla="*/ 264575 w 491345"/>
                    <a:gd name="connsiteY87" fmla="*/ 565734 h 691838"/>
                    <a:gd name="connsiteX88" fmla="*/ 285902 w 491345"/>
                    <a:gd name="connsiteY88" fmla="*/ 556845 h 691838"/>
                    <a:gd name="connsiteX89" fmla="*/ 301279 w 491345"/>
                    <a:gd name="connsiteY89" fmla="*/ 555720 h 691838"/>
                    <a:gd name="connsiteX90" fmla="*/ 302275 w 491345"/>
                    <a:gd name="connsiteY90" fmla="*/ 545496 h 691838"/>
                    <a:gd name="connsiteX91" fmla="*/ 306912 w 491345"/>
                    <a:gd name="connsiteY91" fmla="*/ 538200 h 691838"/>
                    <a:gd name="connsiteX92" fmla="*/ 317558 w 491345"/>
                    <a:gd name="connsiteY92" fmla="*/ 538001 h 691838"/>
                    <a:gd name="connsiteX93" fmla="*/ 322992 w 491345"/>
                    <a:gd name="connsiteY93" fmla="*/ 527671 h 691838"/>
                    <a:gd name="connsiteX94" fmla="*/ 329399 w 491345"/>
                    <a:gd name="connsiteY94" fmla="*/ 528749 h 691838"/>
                    <a:gd name="connsiteX95" fmla="*/ 332959 w 491345"/>
                    <a:gd name="connsiteY95" fmla="*/ 534851 h 691838"/>
                    <a:gd name="connsiteX96" fmla="*/ 334118 w 491345"/>
                    <a:gd name="connsiteY96" fmla="*/ 530646 h 691838"/>
                    <a:gd name="connsiteX97" fmla="*/ 347856 w 491345"/>
                    <a:gd name="connsiteY97" fmla="*/ 547991 h 691838"/>
                    <a:gd name="connsiteX98" fmla="*/ 341543 w 491345"/>
                    <a:gd name="connsiteY98" fmla="*/ 562911 h 691838"/>
                    <a:gd name="connsiteX99" fmla="*/ 337948 w 491345"/>
                    <a:gd name="connsiteY99" fmla="*/ 567373 h 691838"/>
                    <a:gd name="connsiteX100" fmla="*/ 349695 w 491345"/>
                    <a:gd name="connsiteY100" fmla="*/ 559585 h 691838"/>
                    <a:gd name="connsiteX101" fmla="*/ 363502 w 491345"/>
                    <a:gd name="connsiteY101" fmla="*/ 555404 h 691838"/>
                    <a:gd name="connsiteX102" fmla="*/ 370611 w 491345"/>
                    <a:gd name="connsiteY102" fmla="*/ 541432 h 691838"/>
                    <a:gd name="connsiteX103" fmla="*/ 389092 w 491345"/>
                    <a:gd name="connsiteY103" fmla="*/ 538446 h 691838"/>
                    <a:gd name="connsiteX104" fmla="*/ 388003 w 491345"/>
                    <a:gd name="connsiteY104" fmla="*/ 542791 h 691838"/>
                    <a:gd name="connsiteX105" fmla="*/ 393964 w 491345"/>
                    <a:gd name="connsiteY105" fmla="*/ 538563 h 691838"/>
                    <a:gd name="connsiteX106" fmla="*/ 393987 w 491345"/>
                    <a:gd name="connsiteY106" fmla="*/ 529088 h 691838"/>
                    <a:gd name="connsiteX107" fmla="*/ 403977 w 491345"/>
                    <a:gd name="connsiteY107" fmla="*/ 514707 h 691838"/>
                    <a:gd name="connsiteX108" fmla="*/ 415736 w 491345"/>
                    <a:gd name="connsiteY108" fmla="*/ 520492 h 691838"/>
                    <a:gd name="connsiteX109" fmla="*/ 417094 w 491345"/>
                    <a:gd name="connsiteY109" fmla="*/ 509109 h 691838"/>
                    <a:gd name="connsiteX110" fmla="*/ 428888 w 491345"/>
                    <a:gd name="connsiteY110" fmla="*/ 513899 h 691838"/>
                    <a:gd name="connsiteX111" fmla="*/ 434779 w 491345"/>
                    <a:gd name="connsiteY111" fmla="*/ 501473 h 691838"/>
                    <a:gd name="connsiteX112" fmla="*/ 430937 w 491345"/>
                    <a:gd name="connsiteY112" fmla="*/ 469605 h 691838"/>
                    <a:gd name="connsiteX113" fmla="*/ 437648 w 491345"/>
                    <a:gd name="connsiteY113" fmla="*/ 473529 h 691838"/>
                    <a:gd name="connsiteX114" fmla="*/ 440541 w 491345"/>
                    <a:gd name="connsiteY114" fmla="*/ 480802 h 691838"/>
                    <a:gd name="connsiteX115" fmla="*/ 440541 w 491345"/>
                    <a:gd name="connsiteY115" fmla="*/ 480802 h 691838"/>
                    <a:gd name="connsiteX116" fmla="*/ 373047 w 491345"/>
                    <a:gd name="connsiteY116" fmla="*/ 452366 h 691838"/>
                    <a:gd name="connsiteX117" fmla="*/ 373364 w 491345"/>
                    <a:gd name="connsiteY117" fmla="*/ 454521 h 691838"/>
                    <a:gd name="connsiteX118" fmla="*/ 375507 w 491345"/>
                    <a:gd name="connsiteY118" fmla="*/ 452319 h 691838"/>
                    <a:gd name="connsiteX119" fmla="*/ 384466 w 491345"/>
                    <a:gd name="connsiteY119" fmla="*/ 460974 h 691838"/>
                    <a:gd name="connsiteX120" fmla="*/ 383494 w 491345"/>
                    <a:gd name="connsiteY120" fmla="*/ 467615 h 691838"/>
                    <a:gd name="connsiteX121" fmla="*/ 381760 w 491345"/>
                    <a:gd name="connsiteY121" fmla="*/ 473564 h 691838"/>
                    <a:gd name="connsiteX122" fmla="*/ 376596 w 491345"/>
                    <a:gd name="connsiteY122" fmla="*/ 477745 h 691838"/>
                    <a:gd name="connsiteX123" fmla="*/ 359474 w 491345"/>
                    <a:gd name="connsiteY123" fmla="*/ 481528 h 691838"/>
                    <a:gd name="connsiteX124" fmla="*/ 348067 w 491345"/>
                    <a:gd name="connsiteY124" fmla="*/ 476199 h 691838"/>
                    <a:gd name="connsiteX125" fmla="*/ 354754 w 491345"/>
                    <a:gd name="connsiteY125" fmla="*/ 462485 h 691838"/>
                    <a:gd name="connsiteX126" fmla="*/ 373047 w 491345"/>
                    <a:gd name="connsiteY126" fmla="*/ 452366 h 691838"/>
                    <a:gd name="connsiteX127" fmla="*/ 373047 w 491345"/>
                    <a:gd name="connsiteY127" fmla="*/ 452366 h 691838"/>
                    <a:gd name="connsiteX128" fmla="*/ 316727 w 491345"/>
                    <a:gd name="connsiteY128" fmla="*/ 408799 h 691838"/>
                    <a:gd name="connsiteX129" fmla="*/ 323706 w 491345"/>
                    <a:gd name="connsiteY129" fmla="*/ 410064 h 691838"/>
                    <a:gd name="connsiteX130" fmla="*/ 323800 w 491345"/>
                    <a:gd name="connsiteY130" fmla="*/ 411833 h 691838"/>
                    <a:gd name="connsiteX131" fmla="*/ 332420 w 491345"/>
                    <a:gd name="connsiteY131" fmla="*/ 419246 h 691838"/>
                    <a:gd name="connsiteX132" fmla="*/ 320474 w 491345"/>
                    <a:gd name="connsiteY132" fmla="*/ 443114 h 691838"/>
                    <a:gd name="connsiteX133" fmla="*/ 317792 w 491345"/>
                    <a:gd name="connsiteY133" fmla="*/ 455400 h 691838"/>
                    <a:gd name="connsiteX134" fmla="*/ 311819 w 491345"/>
                    <a:gd name="connsiteY134" fmla="*/ 465167 h 691838"/>
                    <a:gd name="connsiteX135" fmla="*/ 311538 w 491345"/>
                    <a:gd name="connsiteY135" fmla="*/ 483343 h 691838"/>
                    <a:gd name="connsiteX136" fmla="*/ 309723 w 491345"/>
                    <a:gd name="connsiteY136" fmla="*/ 483882 h 691838"/>
                    <a:gd name="connsiteX137" fmla="*/ 319525 w 491345"/>
                    <a:gd name="connsiteY137" fmla="*/ 498252 h 691838"/>
                    <a:gd name="connsiteX138" fmla="*/ 300447 w 491345"/>
                    <a:gd name="connsiteY138" fmla="*/ 508734 h 691838"/>
                    <a:gd name="connsiteX139" fmla="*/ 293678 w 491345"/>
                    <a:gd name="connsiteY139" fmla="*/ 494129 h 691838"/>
                    <a:gd name="connsiteX140" fmla="*/ 283676 w 491345"/>
                    <a:gd name="connsiteY140" fmla="*/ 490592 h 691838"/>
                    <a:gd name="connsiteX141" fmla="*/ 272574 w 491345"/>
                    <a:gd name="connsiteY141" fmla="*/ 478331 h 691838"/>
                    <a:gd name="connsiteX142" fmla="*/ 272949 w 491345"/>
                    <a:gd name="connsiteY142" fmla="*/ 475426 h 691838"/>
                    <a:gd name="connsiteX143" fmla="*/ 271497 w 491345"/>
                    <a:gd name="connsiteY143" fmla="*/ 476164 h 691838"/>
                    <a:gd name="connsiteX144" fmla="*/ 273675 w 491345"/>
                    <a:gd name="connsiteY144" fmla="*/ 464464 h 691838"/>
                    <a:gd name="connsiteX145" fmla="*/ 284040 w 491345"/>
                    <a:gd name="connsiteY145" fmla="*/ 462075 h 691838"/>
                    <a:gd name="connsiteX146" fmla="*/ 295857 w 491345"/>
                    <a:gd name="connsiteY146" fmla="*/ 441861 h 691838"/>
                    <a:gd name="connsiteX147" fmla="*/ 293175 w 491345"/>
                    <a:gd name="connsiteY147" fmla="*/ 434307 h 691838"/>
                    <a:gd name="connsiteX148" fmla="*/ 296149 w 491345"/>
                    <a:gd name="connsiteY148" fmla="*/ 430712 h 691838"/>
                    <a:gd name="connsiteX149" fmla="*/ 301033 w 491345"/>
                    <a:gd name="connsiteY149" fmla="*/ 417571 h 691838"/>
                    <a:gd name="connsiteX150" fmla="*/ 305682 w 491345"/>
                    <a:gd name="connsiteY150" fmla="*/ 411985 h 691838"/>
                    <a:gd name="connsiteX151" fmla="*/ 316727 w 491345"/>
                    <a:gd name="connsiteY151" fmla="*/ 408799 h 691838"/>
                    <a:gd name="connsiteX152" fmla="*/ 316727 w 491345"/>
                    <a:gd name="connsiteY152" fmla="*/ 408799 h 691838"/>
                    <a:gd name="connsiteX153" fmla="*/ 354777 w 491345"/>
                    <a:gd name="connsiteY153" fmla="*/ 403517 h 691838"/>
                    <a:gd name="connsiteX154" fmla="*/ 357670 w 491345"/>
                    <a:gd name="connsiteY154" fmla="*/ 404244 h 691838"/>
                    <a:gd name="connsiteX155" fmla="*/ 355972 w 491345"/>
                    <a:gd name="connsiteY155" fmla="*/ 421951 h 691838"/>
                    <a:gd name="connsiteX156" fmla="*/ 354426 w 491345"/>
                    <a:gd name="connsiteY156" fmla="*/ 441498 h 691838"/>
                    <a:gd name="connsiteX157" fmla="*/ 353735 w 491345"/>
                    <a:gd name="connsiteY157" fmla="*/ 440456 h 691838"/>
                    <a:gd name="connsiteX158" fmla="*/ 336437 w 491345"/>
                    <a:gd name="connsiteY158" fmla="*/ 457367 h 691838"/>
                    <a:gd name="connsiteX159" fmla="*/ 321364 w 491345"/>
                    <a:gd name="connsiteY159" fmla="*/ 491061 h 691838"/>
                    <a:gd name="connsiteX160" fmla="*/ 323917 w 491345"/>
                    <a:gd name="connsiteY160" fmla="*/ 461560 h 691838"/>
                    <a:gd name="connsiteX161" fmla="*/ 340091 w 491345"/>
                    <a:gd name="connsiteY161" fmla="*/ 434635 h 691838"/>
                    <a:gd name="connsiteX162" fmla="*/ 351931 w 491345"/>
                    <a:gd name="connsiteY162" fmla="*/ 402428 h 691838"/>
                    <a:gd name="connsiteX163" fmla="*/ 353384 w 491345"/>
                    <a:gd name="connsiteY163" fmla="*/ 403517 h 691838"/>
                    <a:gd name="connsiteX164" fmla="*/ 358701 w 491345"/>
                    <a:gd name="connsiteY164" fmla="*/ 393399 h 691838"/>
                    <a:gd name="connsiteX165" fmla="*/ 354777 w 491345"/>
                    <a:gd name="connsiteY165" fmla="*/ 403517 h 691838"/>
                    <a:gd name="connsiteX166" fmla="*/ 354777 w 491345"/>
                    <a:gd name="connsiteY166" fmla="*/ 403517 h 691838"/>
                    <a:gd name="connsiteX167" fmla="*/ 121261 w 491345"/>
                    <a:gd name="connsiteY167" fmla="*/ 389651 h 691838"/>
                    <a:gd name="connsiteX168" fmla="*/ 122795 w 491345"/>
                    <a:gd name="connsiteY168" fmla="*/ 389791 h 691838"/>
                    <a:gd name="connsiteX169" fmla="*/ 120933 w 491345"/>
                    <a:gd name="connsiteY169" fmla="*/ 401398 h 691838"/>
                    <a:gd name="connsiteX170" fmla="*/ 123580 w 491345"/>
                    <a:gd name="connsiteY170" fmla="*/ 405637 h 691838"/>
                    <a:gd name="connsiteX171" fmla="*/ 121168 w 491345"/>
                    <a:gd name="connsiteY171" fmla="*/ 406832 h 691838"/>
                    <a:gd name="connsiteX172" fmla="*/ 124939 w 491345"/>
                    <a:gd name="connsiteY172" fmla="*/ 416201 h 691838"/>
                    <a:gd name="connsiteX173" fmla="*/ 128862 w 491345"/>
                    <a:gd name="connsiteY173" fmla="*/ 425969 h 691838"/>
                    <a:gd name="connsiteX174" fmla="*/ 127093 w 491345"/>
                    <a:gd name="connsiteY174" fmla="*/ 425969 h 691838"/>
                    <a:gd name="connsiteX175" fmla="*/ 131028 w 491345"/>
                    <a:gd name="connsiteY175" fmla="*/ 434284 h 691838"/>
                    <a:gd name="connsiteX176" fmla="*/ 122842 w 491345"/>
                    <a:gd name="connsiteY176" fmla="*/ 440725 h 691838"/>
                    <a:gd name="connsiteX177" fmla="*/ 113157 w 491345"/>
                    <a:gd name="connsiteY177" fmla="*/ 442611 h 691838"/>
                    <a:gd name="connsiteX178" fmla="*/ 104561 w 491345"/>
                    <a:gd name="connsiteY178" fmla="*/ 457004 h 691838"/>
                    <a:gd name="connsiteX179" fmla="*/ 86127 w 491345"/>
                    <a:gd name="connsiteY179" fmla="*/ 462485 h 691838"/>
                    <a:gd name="connsiteX180" fmla="*/ 81758 w 491345"/>
                    <a:gd name="connsiteY180" fmla="*/ 469032 h 691838"/>
                    <a:gd name="connsiteX181" fmla="*/ 78409 w 491345"/>
                    <a:gd name="connsiteY181" fmla="*/ 472170 h 691838"/>
                    <a:gd name="connsiteX182" fmla="*/ 79205 w 491345"/>
                    <a:gd name="connsiteY182" fmla="*/ 476527 h 691838"/>
                    <a:gd name="connsiteX183" fmla="*/ 81407 w 491345"/>
                    <a:gd name="connsiteY183" fmla="*/ 477019 h 691838"/>
                    <a:gd name="connsiteX184" fmla="*/ 63020 w 491345"/>
                    <a:gd name="connsiteY184" fmla="*/ 499985 h 691838"/>
                    <a:gd name="connsiteX185" fmla="*/ 49680 w 491345"/>
                    <a:gd name="connsiteY185" fmla="*/ 505771 h 691838"/>
                    <a:gd name="connsiteX186" fmla="*/ 46143 w 491345"/>
                    <a:gd name="connsiteY186" fmla="*/ 512856 h 691838"/>
                    <a:gd name="connsiteX187" fmla="*/ 29560 w 491345"/>
                    <a:gd name="connsiteY187" fmla="*/ 528901 h 691838"/>
                    <a:gd name="connsiteX188" fmla="*/ 18762 w 491345"/>
                    <a:gd name="connsiteY188" fmla="*/ 532520 h 691838"/>
                    <a:gd name="connsiteX189" fmla="*/ 16654 w 491345"/>
                    <a:gd name="connsiteY189" fmla="*/ 538317 h 691838"/>
                    <a:gd name="connsiteX190" fmla="*/ 10704 w 491345"/>
                    <a:gd name="connsiteY190" fmla="*/ 539582 h 691838"/>
                    <a:gd name="connsiteX191" fmla="*/ 0 w 491345"/>
                    <a:gd name="connsiteY191" fmla="*/ 547921 h 691838"/>
                    <a:gd name="connsiteX192" fmla="*/ 12953 w 491345"/>
                    <a:gd name="connsiteY192" fmla="*/ 524181 h 691838"/>
                    <a:gd name="connsiteX193" fmla="*/ 23048 w 491345"/>
                    <a:gd name="connsiteY193" fmla="*/ 511861 h 691838"/>
                    <a:gd name="connsiteX194" fmla="*/ 28295 w 491345"/>
                    <a:gd name="connsiteY194" fmla="*/ 509495 h 691838"/>
                    <a:gd name="connsiteX195" fmla="*/ 41260 w 491345"/>
                    <a:gd name="connsiteY195" fmla="*/ 498908 h 691838"/>
                    <a:gd name="connsiteX196" fmla="*/ 41986 w 491345"/>
                    <a:gd name="connsiteY196" fmla="*/ 500700 h 691838"/>
                    <a:gd name="connsiteX197" fmla="*/ 61216 w 491345"/>
                    <a:gd name="connsiteY197" fmla="*/ 478530 h 691838"/>
                    <a:gd name="connsiteX198" fmla="*/ 71054 w 491345"/>
                    <a:gd name="connsiteY198" fmla="*/ 469617 h 691838"/>
                    <a:gd name="connsiteX199" fmla="*/ 82074 w 491345"/>
                    <a:gd name="connsiteY199" fmla="*/ 453444 h 691838"/>
                    <a:gd name="connsiteX200" fmla="*/ 84979 w 491345"/>
                    <a:gd name="connsiteY200" fmla="*/ 454029 h 691838"/>
                    <a:gd name="connsiteX201" fmla="*/ 84370 w 491345"/>
                    <a:gd name="connsiteY201" fmla="*/ 450375 h 691838"/>
                    <a:gd name="connsiteX202" fmla="*/ 87216 w 491345"/>
                    <a:gd name="connsiteY202" fmla="*/ 449438 h 691838"/>
                    <a:gd name="connsiteX203" fmla="*/ 91362 w 491345"/>
                    <a:gd name="connsiteY203" fmla="*/ 445456 h 691838"/>
                    <a:gd name="connsiteX204" fmla="*/ 95765 w 491345"/>
                    <a:gd name="connsiteY204" fmla="*/ 441908 h 691838"/>
                    <a:gd name="connsiteX205" fmla="*/ 93165 w 491345"/>
                    <a:gd name="connsiteY205" fmla="*/ 442189 h 691838"/>
                    <a:gd name="connsiteX206" fmla="*/ 99560 w 491345"/>
                    <a:gd name="connsiteY206" fmla="*/ 437891 h 691838"/>
                    <a:gd name="connsiteX207" fmla="*/ 100262 w 491345"/>
                    <a:gd name="connsiteY207" fmla="*/ 434623 h 691838"/>
                    <a:gd name="connsiteX208" fmla="*/ 101047 w 491345"/>
                    <a:gd name="connsiteY208" fmla="*/ 439870 h 691838"/>
                    <a:gd name="connsiteX209" fmla="*/ 108484 w 491345"/>
                    <a:gd name="connsiteY209" fmla="*/ 433534 h 691838"/>
                    <a:gd name="connsiteX210" fmla="*/ 107067 w 491345"/>
                    <a:gd name="connsiteY210" fmla="*/ 431016 h 691838"/>
                    <a:gd name="connsiteX211" fmla="*/ 110873 w 491345"/>
                    <a:gd name="connsiteY211" fmla="*/ 420171 h 691838"/>
                    <a:gd name="connsiteX212" fmla="*/ 105650 w 491345"/>
                    <a:gd name="connsiteY212" fmla="*/ 415463 h 691838"/>
                    <a:gd name="connsiteX213" fmla="*/ 106095 w 491345"/>
                    <a:gd name="connsiteY213" fmla="*/ 410170 h 691838"/>
                    <a:gd name="connsiteX214" fmla="*/ 107067 w 491345"/>
                    <a:gd name="connsiteY214" fmla="*/ 411505 h 691838"/>
                    <a:gd name="connsiteX215" fmla="*/ 109210 w 491345"/>
                    <a:gd name="connsiteY215" fmla="*/ 411142 h 691838"/>
                    <a:gd name="connsiteX216" fmla="*/ 108144 w 491345"/>
                    <a:gd name="connsiteY216" fmla="*/ 413659 h 691838"/>
                    <a:gd name="connsiteX217" fmla="*/ 110311 w 491345"/>
                    <a:gd name="connsiteY217" fmla="*/ 414023 h 691838"/>
                    <a:gd name="connsiteX218" fmla="*/ 118380 w 491345"/>
                    <a:gd name="connsiteY218" fmla="*/ 421694 h 691838"/>
                    <a:gd name="connsiteX219" fmla="*/ 112794 w 491345"/>
                    <a:gd name="connsiteY219" fmla="*/ 411142 h 691838"/>
                    <a:gd name="connsiteX220" fmla="*/ 111002 w 491345"/>
                    <a:gd name="connsiteY220" fmla="*/ 406387 h 691838"/>
                    <a:gd name="connsiteX221" fmla="*/ 112794 w 491345"/>
                    <a:gd name="connsiteY221" fmla="*/ 407558 h 691838"/>
                    <a:gd name="connsiteX222" fmla="*/ 111459 w 491345"/>
                    <a:gd name="connsiteY222" fmla="*/ 402171 h 691838"/>
                    <a:gd name="connsiteX223" fmla="*/ 114222 w 491345"/>
                    <a:gd name="connsiteY223" fmla="*/ 397744 h 691838"/>
                    <a:gd name="connsiteX224" fmla="*/ 120172 w 491345"/>
                    <a:gd name="connsiteY224" fmla="*/ 385247 h 691838"/>
                    <a:gd name="connsiteX225" fmla="*/ 121261 w 491345"/>
                    <a:gd name="connsiteY225" fmla="*/ 389651 h 691838"/>
                    <a:gd name="connsiteX226" fmla="*/ 121261 w 491345"/>
                    <a:gd name="connsiteY226" fmla="*/ 389651 h 691838"/>
                    <a:gd name="connsiteX227" fmla="*/ 377919 w 491345"/>
                    <a:gd name="connsiteY227" fmla="*/ 383994 h 691838"/>
                    <a:gd name="connsiteX228" fmla="*/ 379840 w 491345"/>
                    <a:gd name="connsiteY228" fmla="*/ 387250 h 691838"/>
                    <a:gd name="connsiteX229" fmla="*/ 380343 w 491345"/>
                    <a:gd name="connsiteY229" fmla="*/ 384006 h 691838"/>
                    <a:gd name="connsiteX230" fmla="*/ 392828 w 491345"/>
                    <a:gd name="connsiteY230" fmla="*/ 390693 h 691838"/>
                    <a:gd name="connsiteX231" fmla="*/ 401904 w 491345"/>
                    <a:gd name="connsiteY231" fmla="*/ 385083 h 691838"/>
                    <a:gd name="connsiteX232" fmla="*/ 408182 w 491345"/>
                    <a:gd name="connsiteY232" fmla="*/ 395577 h 691838"/>
                    <a:gd name="connsiteX233" fmla="*/ 409119 w 491345"/>
                    <a:gd name="connsiteY233" fmla="*/ 394511 h 691838"/>
                    <a:gd name="connsiteX234" fmla="*/ 408310 w 491345"/>
                    <a:gd name="connsiteY234" fmla="*/ 413671 h 691838"/>
                    <a:gd name="connsiteX235" fmla="*/ 417083 w 491345"/>
                    <a:gd name="connsiteY235" fmla="*/ 428557 h 691838"/>
                    <a:gd name="connsiteX236" fmla="*/ 417270 w 491345"/>
                    <a:gd name="connsiteY236" fmla="*/ 437153 h 691838"/>
                    <a:gd name="connsiteX237" fmla="*/ 421088 w 491345"/>
                    <a:gd name="connsiteY237" fmla="*/ 441896 h 691838"/>
                    <a:gd name="connsiteX238" fmla="*/ 414834 w 491345"/>
                    <a:gd name="connsiteY238" fmla="*/ 450562 h 691838"/>
                    <a:gd name="connsiteX239" fmla="*/ 407749 w 491345"/>
                    <a:gd name="connsiteY239" fmla="*/ 440233 h 691838"/>
                    <a:gd name="connsiteX240" fmla="*/ 408627 w 491345"/>
                    <a:gd name="connsiteY240" fmla="*/ 459264 h 691838"/>
                    <a:gd name="connsiteX241" fmla="*/ 397313 w 491345"/>
                    <a:gd name="connsiteY241" fmla="*/ 452987 h 691838"/>
                    <a:gd name="connsiteX242" fmla="*/ 395006 w 491345"/>
                    <a:gd name="connsiteY242" fmla="*/ 440549 h 691838"/>
                    <a:gd name="connsiteX243" fmla="*/ 391903 w 491345"/>
                    <a:gd name="connsiteY243" fmla="*/ 412125 h 691838"/>
                    <a:gd name="connsiteX244" fmla="*/ 376326 w 491345"/>
                    <a:gd name="connsiteY244" fmla="*/ 411165 h 691838"/>
                    <a:gd name="connsiteX245" fmla="*/ 374113 w 491345"/>
                    <a:gd name="connsiteY245" fmla="*/ 387801 h 691838"/>
                    <a:gd name="connsiteX246" fmla="*/ 377919 w 491345"/>
                    <a:gd name="connsiteY246" fmla="*/ 383994 h 691838"/>
                    <a:gd name="connsiteX247" fmla="*/ 377919 w 491345"/>
                    <a:gd name="connsiteY247" fmla="*/ 383994 h 691838"/>
                    <a:gd name="connsiteX248" fmla="*/ 266121 w 491345"/>
                    <a:gd name="connsiteY248" fmla="*/ 367352 h 691838"/>
                    <a:gd name="connsiteX249" fmla="*/ 284918 w 491345"/>
                    <a:gd name="connsiteY249" fmla="*/ 377565 h 691838"/>
                    <a:gd name="connsiteX250" fmla="*/ 287190 w 491345"/>
                    <a:gd name="connsiteY250" fmla="*/ 378935 h 691838"/>
                    <a:gd name="connsiteX251" fmla="*/ 288267 w 491345"/>
                    <a:gd name="connsiteY251" fmla="*/ 375281 h 691838"/>
                    <a:gd name="connsiteX252" fmla="*/ 299733 w 491345"/>
                    <a:gd name="connsiteY252" fmla="*/ 380012 h 691838"/>
                    <a:gd name="connsiteX253" fmla="*/ 311164 w 491345"/>
                    <a:gd name="connsiteY253" fmla="*/ 376007 h 691838"/>
                    <a:gd name="connsiteX254" fmla="*/ 308985 w 491345"/>
                    <a:gd name="connsiteY254" fmla="*/ 380715 h 691838"/>
                    <a:gd name="connsiteX255" fmla="*/ 308669 w 491345"/>
                    <a:gd name="connsiteY255" fmla="*/ 392684 h 691838"/>
                    <a:gd name="connsiteX256" fmla="*/ 309735 w 491345"/>
                    <a:gd name="connsiteY256" fmla="*/ 397217 h 691838"/>
                    <a:gd name="connsiteX257" fmla="*/ 306455 w 491345"/>
                    <a:gd name="connsiteY257" fmla="*/ 398821 h 691838"/>
                    <a:gd name="connsiteX258" fmla="*/ 300049 w 491345"/>
                    <a:gd name="connsiteY258" fmla="*/ 405696 h 691838"/>
                    <a:gd name="connsiteX259" fmla="*/ 299417 w 491345"/>
                    <a:gd name="connsiteY259" fmla="*/ 404232 h 691838"/>
                    <a:gd name="connsiteX260" fmla="*/ 292542 w 491345"/>
                    <a:gd name="connsiteY260" fmla="*/ 407956 h 691838"/>
                    <a:gd name="connsiteX261" fmla="*/ 288900 w 491345"/>
                    <a:gd name="connsiteY261" fmla="*/ 418543 h 691838"/>
                    <a:gd name="connsiteX262" fmla="*/ 281510 w 491345"/>
                    <a:gd name="connsiteY262" fmla="*/ 422291 h 691838"/>
                    <a:gd name="connsiteX263" fmla="*/ 265781 w 491345"/>
                    <a:gd name="connsiteY263" fmla="*/ 425570 h 691838"/>
                    <a:gd name="connsiteX264" fmla="*/ 254152 w 491345"/>
                    <a:gd name="connsiteY264" fmla="*/ 433007 h 691838"/>
                    <a:gd name="connsiteX265" fmla="*/ 249163 w 491345"/>
                    <a:gd name="connsiteY265" fmla="*/ 429107 h 691838"/>
                    <a:gd name="connsiteX266" fmla="*/ 248811 w 491345"/>
                    <a:gd name="connsiteY266" fmla="*/ 413988 h 691838"/>
                    <a:gd name="connsiteX267" fmla="*/ 252770 w 491345"/>
                    <a:gd name="connsiteY267" fmla="*/ 392895 h 691838"/>
                    <a:gd name="connsiteX268" fmla="*/ 256049 w 491345"/>
                    <a:gd name="connsiteY268" fmla="*/ 372868 h 691838"/>
                    <a:gd name="connsiteX269" fmla="*/ 242838 w 491345"/>
                    <a:gd name="connsiteY269" fmla="*/ 366919 h 691838"/>
                    <a:gd name="connsiteX270" fmla="*/ 248788 w 491345"/>
                    <a:gd name="connsiteY270" fmla="*/ 358334 h 691838"/>
                    <a:gd name="connsiteX271" fmla="*/ 254245 w 491345"/>
                    <a:gd name="connsiteY271" fmla="*/ 362703 h 691838"/>
                    <a:gd name="connsiteX272" fmla="*/ 266121 w 491345"/>
                    <a:gd name="connsiteY272" fmla="*/ 367352 h 691838"/>
                    <a:gd name="connsiteX273" fmla="*/ 266121 w 491345"/>
                    <a:gd name="connsiteY273" fmla="*/ 367352 h 691838"/>
                    <a:gd name="connsiteX274" fmla="*/ 402724 w 491345"/>
                    <a:gd name="connsiteY274" fmla="*/ 324992 h 691838"/>
                    <a:gd name="connsiteX275" fmla="*/ 408580 w 491345"/>
                    <a:gd name="connsiteY275" fmla="*/ 326303 h 691838"/>
                    <a:gd name="connsiteX276" fmla="*/ 412410 w 491345"/>
                    <a:gd name="connsiteY276" fmla="*/ 324195 h 691838"/>
                    <a:gd name="connsiteX277" fmla="*/ 425199 w 491345"/>
                    <a:gd name="connsiteY277" fmla="*/ 333611 h 691838"/>
                    <a:gd name="connsiteX278" fmla="*/ 423383 w 491345"/>
                    <a:gd name="connsiteY278" fmla="*/ 339069 h 691838"/>
                    <a:gd name="connsiteX279" fmla="*/ 425562 w 491345"/>
                    <a:gd name="connsiteY279" fmla="*/ 337944 h 691838"/>
                    <a:gd name="connsiteX280" fmla="*/ 425211 w 491345"/>
                    <a:gd name="connsiteY280" fmla="*/ 339420 h 691838"/>
                    <a:gd name="connsiteX281" fmla="*/ 427354 w 491345"/>
                    <a:gd name="connsiteY281" fmla="*/ 338671 h 691838"/>
                    <a:gd name="connsiteX282" fmla="*/ 435013 w 491345"/>
                    <a:gd name="connsiteY282" fmla="*/ 345639 h 691838"/>
                    <a:gd name="connsiteX283" fmla="*/ 431980 w 491345"/>
                    <a:gd name="connsiteY283" fmla="*/ 345944 h 691838"/>
                    <a:gd name="connsiteX284" fmla="*/ 433432 w 491345"/>
                    <a:gd name="connsiteY284" fmla="*/ 347021 h 691838"/>
                    <a:gd name="connsiteX285" fmla="*/ 430832 w 491345"/>
                    <a:gd name="connsiteY285" fmla="*/ 349094 h 691838"/>
                    <a:gd name="connsiteX286" fmla="*/ 433069 w 491345"/>
                    <a:gd name="connsiteY286" fmla="*/ 349223 h 691838"/>
                    <a:gd name="connsiteX287" fmla="*/ 430153 w 491345"/>
                    <a:gd name="connsiteY287" fmla="*/ 359166 h 691838"/>
                    <a:gd name="connsiteX288" fmla="*/ 430457 w 491345"/>
                    <a:gd name="connsiteY288" fmla="*/ 367961 h 691838"/>
                    <a:gd name="connsiteX289" fmla="*/ 434135 w 491345"/>
                    <a:gd name="connsiteY289" fmla="*/ 383303 h 691838"/>
                    <a:gd name="connsiteX290" fmla="*/ 440224 w 491345"/>
                    <a:gd name="connsiteY290" fmla="*/ 388152 h 691838"/>
                    <a:gd name="connsiteX291" fmla="*/ 439873 w 491345"/>
                    <a:gd name="connsiteY291" fmla="*/ 397041 h 691838"/>
                    <a:gd name="connsiteX292" fmla="*/ 439077 w 491345"/>
                    <a:gd name="connsiteY292" fmla="*/ 395273 h 691838"/>
                    <a:gd name="connsiteX293" fmla="*/ 446642 w 491345"/>
                    <a:gd name="connsiteY293" fmla="*/ 406410 h 691838"/>
                    <a:gd name="connsiteX294" fmla="*/ 434509 w 491345"/>
                    <a:gd name="connsiteY294" fmla="*/ 402838 h 691838"/>
                    <a:gd name="connsiteX295" fmla="*/ 429122 w 491345"/>
                    <a:gd name="connsiteY295" fmla="*/ 402838 h 691838"/>
                    <a:gd name="connsiteX296" fmla="*/ 421369 w 491345"/>
                    <a:gd name="connsiteY296" fmla="*/ 400449 h 691838"/>
                    <a:gd name="connsiteX297" fmla="*/ 419132 w 491345"/>
                    <a:gd name="connsiteY297" fmla="*/ 402452 h 691838"/>
                    <a:gd name="connsiteX298" fmla="*/ 417352 w 491345"/>
                    <a:gd name="connsiteY298" fmla="*/ 395612 h 691838"/>
                    <a:gd name="connsiteX299" fmla="*/ 410337 w 491345"/>
                    <a:gd name="connsiteY299" fmla="*/ 392637 h 691838"/>
                    <a:gd name="connsiteX300" fmla="*/ 407034 w 491345"/>
                    <a:gd name="connsiteY300" fmla="*/ 392321 h 691838"/>
                    <a:gd name="connsiteX301" fmla="*/ 406999 w 491345"/>
                    <a:gd name="connsiteY301" fmla="*/ 386559 h 691838"/>
                    <a:gd name="connsiteX302" fmla="*/ 402361 w 491345"/>
                    <a:gd name="connsiteY302" fmla="*/ 381113 h 691838"/>
                    <a:gd name="connsiteX303" fmla="*/ 401260 w 491345"/>
                    <a:gd name="connsiteY303" fmla="*/ 377494 h 691838"/>
                    <a:gd name="connsiteX304" fmla="*/ 409857 w 491345"/>
                    <a:gd name="connsiteY304" fmla="*/ 369893 h 691838"/>
                    <a:gd name="connsiteX305" fmla="*/ 405734 w 491345"/>
                    <a:gd name="connsiteY305" fmla="*/ 367235 h 691838"/>
                    <a:gd name="connsiteX306" fmla="*/ 401354 w 491345"/>
                    <a:gd name="connsiteY306" fmla="*/ 367387 h 691838"/>
                    <a:gd name="connsiteX307" fmla="*/ 396224 w 491345"/>
                    <a:gd name="connsiteY307" fmla="*/ 362269 h 691838"/>
                    <a:gd name="connsiteX308" fmla="*/ 396951 w 491345"/>
                    <a:gd name="connsiteY308" fmla="*/ 361918 h 691838"/>
                    <a:gd name="connsiteX309" fmla="*/ 396951 w 491345"/>
                    <a:gd name="connsiteY309" fmla="*/ 360114 h 691838"/>
                    <a:gd name="connsiteX310" fmla="*/ 398005 w 491345"/>
                    <a:gd name="connsiteY310" fmla="*/ 360841 h 691838"/>
                    <a:gd name="connsiteX311" fmla="*/ 394503 w 491345"/>
                    <a:gd name="connsiteY311" fmla="*/ 360009 h 691838"/>
                    <a:gd name="connsiteX312" fmla="*/ 381151 w 491345"/>
                    <a:gd name="connsiteY312" fmla="*/ 350031 h 691838"/>
                    <a:gd name="connsiteX313" fmla="*/ 369112 w 491345"/>
                    <a:gd name="connsiteY313" fmla="*/ 325835 h 691838"/>
                    <a:gd name="connsiteX314" fmla="*/ 400534 w 491345"/>
                    <a:gd name="connsiteY314" fmla="*/ 323481 h 691838"/>
                    <a:gd name="connsiteX315" fmla="*/ 402724 w 491345"/>
                    <a:gd name="connsiteY315" fmla="*/ 324992 h 691838"/>
                    <a:gd name="connsiteX316" fmla="*/ 402724 w 491345"/>
                    <a:gd name="connsiteY316" fmla="*/ 324992 h 691838"/>
                    <a:gd name="connsiteX317" fmla="*/ 321177 w 491345"/>
                    <a:gd name="connsiteY317" fmla="*/ 325765 h 691838"/>
                    <a:gd name="connsiteX318" fmla="*/ 319678 w 491345"/>
                    <a:gd name="connsiteY318" fmla="*/ 331573 h 691838"/>
                    <a:gd name="connsiteX319" fmla="*/ 334423 w 491345"/>
                    <a:gd name="connsiteY319" fmla="*/ 334712 h 691838"/>
                    <a:gd name="connsiteX320" fmla="*/ 333334 w 491345"/>
                    <a:gd name="connsiteY320" fmla="*/ 336188 h 691838"/>
                    <a:gd name="connsiteX321" fmla="*/ 344049 w 491345"/>
                    <a:gd name="connsiteY321" fmla="*/ 344866 h 691838"/>
                    <a:gd name="connsiteX322" fmla="*/ 344120 w 491345"/>
                    <a:gd name="connsiteY322" fmla="*/ 341692 h 691838"/>
                    <a:gd name="connsiteX323" fmla="*/ 357670 w 491345"/>
                    <a:gd name="connsiteY323" fmla="*/ 357163 h 691838"/>
                    <a:gd name="connsiteX324" fmla="*/ 354777 w 491345"/>
                    <a:gd name="connsiteY324" fmla="*/ 354317 h 691838"/>
                    <a:gd name="connsiteX325" fmla="*/ 358396 w 491345"/>
                    <a:gd name="connsiteY325" fmla="*/ 369156 h 691838"/>
                    <a:gd name="connsiteX326" fmla="*/ 347785 w 491345"/>
                    <a:gd name="connsiteY326" fmla="*/ 360103 h 691838"/>
                    <a:gd name="connsiteX327" fmla="*/ 341555 w 491345"/>
                    <a:gd name="connsiteY327" fmla="*/ 355769 h 691838"/>
                    <a:gd name="connsiteX328" fmla="*/ 340876 w 491345"/>
                    <a:gd name="connsiteY328" fmla="*/ 354329 h 691838"/>
                    <a:gd name="connsiteX329" fmla="*/ 337643 w 491345"/>
                    <a:gd name="connsiteY329" fmla="*/ 351014 h 691838"/>
                    <a:gd name="connsiteX330" fmla="*/ 325826 w 491345"/>
                    <a:gd name="connsiteY330" fmla="*/ 343636 h 691838"/>
                    <a:gd name="connsiteX331" fmla="*/ 310976 w 491345"/>
                    <a:gd name="connsiteY331" fmla="*/ 359119 h 691838"/>
                    <a:gd name="connsiteX332" fmla="*/ 317991 w 491345"/>
                    <a:gd name="connsiteY332" fmla="*/ 342289 h 691838"/>
                    <a:gd name="connsiteX333" fmla="*/ 314033 w 491345"/>
                    <a:gd name="connsiteY333" fmla="*/ 342688 h 691838"/>
                    <a:gd name="connsiteX334" fmla="*/ 316000 w 491345"/>
                    <a:gd name="connsiteY334" fmla="*/ 330742 h 691838"/>
                    <a:gd name="connsiteX335" fmla="*/ 321177 w 491345"/>
                    <a:gd name="connsiteY335" fmla="*/ 325765 h 691838"/>
                    <a:gd name="connsiteX336" fmla="*/ 321177 w 491345"/>
                    <a:gd name="connsiteY336" fmla="*/ 325765 h 691838"/>
                    <a:gd name="connsiteX337" fmla="*/ 197210 w 491345"/>
                    <a:gd name="connsiteY337" fmla="*/ 273847 h 691838"/>
                    <a:gd name="connsiteX338" fmla="*/ 196074 w 491345"/>
                    <a:gd name="connsiteY338" fmla="*/ 275089 h 691838"/>
                    <a:gd name="connsiteX339" fmla="*/ 204659 w 491345"/>
                    <a:gd name="connsiteY339" fmla="*/ 282046 h 691838"/>
                    <a:gd name="connsiteX340" fmla="*/ 221465 w 491345"/>
                    <a:gd name="connsiteY340" fmla="*/ 291836 h 691838"/>
                    <a:gd name="connsiteX341" fmla="*/ 222261 w 491345"/>
                    <a:gd name="connsiteY341" fmla="*/ 294389 h 691838"/>
                    <a:gd name="connsiteX342" fmla="*/ 226700 w 491345"/>
                    <a:gd name="connsiteY342" fmla="*/ 294881 h 691838"/>
                    <a:gd name="connsiteX343" fmla="*/ 223444 w 491345"/>
                    <a:gd name="connsiteY343" fmla="*/ 302271 h 691838"/>
                    <a:gd name="connsiteX344" fmla="*/ 226091 w 491345"/>
                    <a:gd name="connsiteY344" fmla="*/ 322696 h 691838"/>
                    <a:gd name="connsiteX345" fmla="*/ 221465 w 491345"/>
                    <a:gd name="connsiteY345" fmla="*/ 335778 h 691838"/>
                    <a:gd name="connsiteX346" fmla="*/ 218361 w 491345"/>
                    <a:gd name="connsiteY346" fmla="*/ 335251 h 691838"/>
                    <a:gd name="connsiteX347" fmla="*/ 218959 w 491345"/>
                    <a:gd name="connsiteY347" fmla="*/ 339420 h 691838"/>
                    <a:gd name="connsiteX348" fmla="*/ 211100 w 491345"/>
                    <a:gd name="connsiteY348" fmla="*/ 343402 h 691838"/>
                    <a:gd name="connsiteX349" fmla="*/ 203581 w 491345"/>
                    <a:gd name="connsiteY349" fmla="*/ 337265 h 691838"/>
                    <a:gd name="connsiteX350" fmla="*/ 205760 w 491345"/>
                    <a:gd name="connsiteY350" fmla="*/ 338343 h 691838"/>
                    <a:gd name="connsiteX351" fmla="*/ 202879 w 491345"/>
                    <a:gd name="connsiteY351" fmla="*/ 337629 h 691838"/>
                    <a:gd name="connsiteX352" fmla="*/ 194001 w 491345"/>
                    <a:gd name="connsiteY352" fmla="*/ 326994 h 691838"/>
                    <a:gd name="connsiteX353" fmla="*/ 192151 w 491345"/>
                    <a:gd name="connsiteY353" fmla="*/ 319089 h 691838"/>
                    <a:gd name="connsiteX354" fmla="*/ 187642 w 491345"/>
                    <a:gd name="connsiteY354" fmla="*/ 315517 h 691838"/>
                    <a:gd name="connsiteX355" fmla="*/ 173003 w 491345"/>
                    <a:gd name="connsiteY355" fmla="*/ 289553 h 691838"/>
                    <a:gd name="connsiteX356" fmla="*/ 170239 w 491345"/>
                    <a:gd name="connsiteY356" fmla="*/ 281296 h 691838"/>
                    <a:gd name="connsiteX357" fmla="*/ 166386 w 491345"/>
                    <a:gd name="connsiteY357" fmla="*/ 280593 h 691838"/>
                    <a:gd name="connsiteX358" fmla="*/ 162310 w 491345"/>
                    <a:gd name="connsiteY358" fmla="*/ 277302 h 691838"/>
                    <a:gd name="connsiteX359" fmla="*/ 166597 w 491345"/>
                    <a:gd name="connsiteY359" fmla="*/ 273836 h 691838"/>
                    <a:gd name="connsiteX360" fmla="*/ 183332 w 491345"/>
                    <a:gd name="connsiteY360" fmla="*/ 275897 h 691838"/>
                    <a:gd name="connsiteX361" fmla="*/ 197210 w 491345"/>
                    <a:gd name="connsiteY361" fmla="*/ 273847 h 691838"/>
                    <a:gd name="connsiteX362" fmla="*/ 197210 w 491345"/>
                    <a:gd name="connsiteY362" fmla="*/ 273847 h 691838"/>
                    <a:gd name="connsiteX363" fmla="*/ 367098 w 491345"/>
                    <a:gd name="connsiteY363" fmla="*/ 245072 h 691838"/>
                    <a:gd name="connsiteX364" fmla="*/ 370869 w 491345"/>
                    <a:gd name="connsiteY364" fmla="*/ 253657 h 691838"/>
                    <a:gd name="connsiteX365" fmla="*/ 375143 w 491345"/>
                    <a:gd name="connsiteY365" fmla="*/ 256889 h 691838"/>
                    <a:gd name="connsiteX366" fmla="*/ 375167 w 491345"/>
                    <a:gd name="connsiteY366" fmla="*/ 263740 h 691838"/>
                    <a:gd name="connsiteX367" fmla="*/ 374418 w 491345"/>
                    <a:gd name="connsiteY367" fmla="*/ 266739 h 691838"/>
                    <a:gd name="connsiteX368" fmla="*/ 372251 w 491345"/>
                    <a:gd name="connsiteY368" fmla="*/ 272196 h 691838"/>
                    <a:gd name="connsiteX369" fmla="*/ 364592 w 491345"/>
                    <a:gd name="connsiteY369" fmla="*/ 274035 h 691838"/>
                    <a:gd name="connsiteX370" fmla="*/ 356417 w 491345"/>
                    <a:gd name="connsiteY370" fmla="*/ 265942 h 691838"/>
                    <a:gd name="connsiteX371" fmla="*/ 360410 w 491345"/>
                    <a:gd name="connsiteY371" fmla="*/ 262241 h 691838"/>
                    <a:gd name="connsiteX372" fmla="*/ 361371 w 491345"/>
                    <a:gd name="connsiteY372" fmla="*/ 254523 h 691838"/>
                    <a:gd name="connsiteX373" fmla="*/ 361945 w 491345"/>
                    <a:gd name="connsiteY373" fmla="*/ 244522 h 691838"/>
                    <a:gd name="connsiteX374" fmla="*/ 367098 w 491345"/>
                    <a:gd name="connsiteY374" fmla="*/ 245072 h 691838"/>
                    <a:gd name="connsiteX375" fmla="*/ 367098 w 491345"/>
                    <a:gd name="connsiteY375" fmla="*/ 245072 h 691838"/>
                    <a:gd name="connsiteX376" fmla="*/ 193580 w 491345"/>
                    <a:gd name="connsiteY376" fmla="*/ 4107 h 691838"/>
                    <a:gd name="connsiteX377" fmla="*/ 210187 w 491345"/>
                    <a:gd name="connsiteY377" fmla="*/ 3229 h 691838"/>
                    <a:gd name="connsiteX378" fmla="*/ 232216 w 491345"/>
                    <a:gd name="connsiteY378" fmla="*/ 17775 h 691838"/>
                    <a:gd name="connsiteX379" fmla="*/ 245591 w 491345"/>
                    <a:gd name="connsiteY379" fmla="*/ 19672 h 691838"/>
                    <a:gd name="connsiteX380" fmla="*/ 257490 w 491345"/>
                    <a:gd name="connsiteY380" fmla="*/ 9249 h 691838"/>
                    <a:gd name="connsiteX381" fmla="*/ 267034 w 491345"/>
                    <a:gd name="connsiteY381" fmla="*/ 14367 h 691838"/>
                    <a:gd name="connsiteX382" fmla="*/ 260746 w 491345"/>
                    <a:gd name="connsiteY382" fmla="*/ 27413 h 691838"/>
                    <a:gd name="connsiteX383" fmla="*/ 258977 w 491345"/>
                    <a:gd name="connsiteY383" fmla="*/ 56587 h 691838"/>
                    <a:gd name="connsiteX384" fmla="*/ 263615 w 491345"/>
                    <a:gd name="connsiteY384" fmla="*/ 69095 h 691838"/>
                    <a:gd name="connsiteX385" fmla="*/ 271497 w 491345"/>
                    <a:gd name="connsiteY385" fmla="*/ 72011 h 691838"/>
                    <a:gd name="connsiteX386" fmla="*/ 271251 w 491345"/>
                    <a:gd name="connsiteY386" fmla="*/ 70770 h 691838"/>
                    <a:gd name="connsiteX387" fmla="*/ 273640 w 491345"/>
                    <a:gd name="connsiteY387" fmla="*/ 74189 h 691838"/>
                    <a:gd name="connsiteX388" fmla="*/ 272106 w 491345"/>
                    <a:gd name="connsiteY388" fmla="*/ 73217 h 691838"/>
                    <a:gd name="connsiteX389" fmla="*/ 275150 w 491345"/>
                    <a:gd name="connsiteY389" fmla="*/ 81708 h 691838"/>
                    <a:gd name="connsiteX390" fmla="*/ 277692 w 491345"/>
                    <a:gd name="connsiteY390" fmla="*/ 84589 h 691838"/>
                    <a:gd name="connsiteX391" fmla="*/ 275010 w 491345"/>
                    <a:gd name="connsiteY391" fmla="*/ 90047 h 691838"/>
                    <a:gd name="connsiteX392" fmla="*/ 266824 w 491345"/>
                    <a:gd name="connsiteY392" fmla="*/ 110390 h 691838"/>
                    <a:gd name="connsiteX393" fmla="*/ 261870 w 491345"/>
                    <a:gd name="connsiteY393" fmla="*/ 120895 h 691838"/>
                    <a:gd name="connsiteX394" fmla="*/ 262608 w 491345"/>
                    <a:gd name="connsiteY394" fmla="*/ 119794 h 691838"/>
                    <a:gd name="connsiteX395" fmla="*/ 260792 w 491345"/>
                    <a:gd name="connsiteY395" fmla="*/ 126399 h 691838"/>
                    <a:gd name="connsiteX396" fmla="*/ 262608 w 491345"/>
                    <a:gd name="connsiteY396" fmla="*/ 124935 h 691838"/>
                    <a:gd name="connsiteX397" fmla="*/ 250393 w 491345"/>
                    <a:gd name="connsiteY397" fmla="*/ 140348 h 691838"/>
                    <a:gd name="connsiteX398" fmla="*/ 257220 w 491345"/>
                    <a:gd name="connsiteY398" fmla="*/ 128004 h 691838"/>
                    <a:gd name="connsiteX399" fmla="*/ 242710 w 491345"/>
                    <a:gd name="connsiteY399" fmla="*/ 136366 h 691838"/>
                    <a:gd name="connsiteX400" fmla="*/ 227953 w 491345"/>
                    <a:gd name="connsiteY400" fmla="*/ 146508 h 691838"/>
                    <a:gd name="connsiteX401" fmla="*/ 229358 w 491345"/>
                    <a:gd name="connsiteY401" fmla="*/ 159390 h 691838"/>
                    <a:gd name="connsiteX402" fmla="*/ 231162 w 491345"/>
                    <a:gd name="connsiteY402" fmla="*/ 160117 h 691838"/>
                    <a:gd name="connsiteX403" fmla="*/ 221570 w 491345"/>
                    <a:gd name="connsiteY403" fmla="*/ 174194 h 691838"/>
                    <a:gd name="connsiteX404" fmla="*/ 218115 w 491345"/>
                    <a:gd name="connsiteY404" fmla="*/ 178961 h 691838"/>
                    <a:gd name="connsiteX405" fmla="*/ 222144 w 491345"/>
                    <a:gd name="connsiteY405" fmla="*/ 184594 h 691838"/>
                    <a:gd name="connsiteX406" fmla="*/ 236210 w 491345"/>
                    <a:gd name="connsiteY406" fmla="*/ 210312 h 691838"/>
                    <a:gd name="connsiteX407" fmla="*/ 236561 w 491345"/>
                    <a:gd name="connsiteY407" fmla="*/ 233279 h 691838"/>
                    <a:gd name="connsiteX408" fmla="*/ 240789 w 491345"/>
                    <a:gd name="connsiteY408" fmla="*/ 243222 h 691838"/>
                    <a:gd name="connsiteX409" fmla="*/ 262596 w 491345"/>
                    <a:gd name="connsiteY409" fmla="*/ 253633 h 691838"/>
                    <a:gd name="connsiteX410" fmla="*/ 260054 w 491345"/>
                    <a:gd name="connsiteY410" fmla="*/ 249253 h 691838"/>
                    <a:gd name="connsiteX411" fmla="*/ 266859 w 491345"/>
                    <a:gd name="connsiteY411" fmla="*/ 247801 h 691838"/>
                    <a:gd name="connsiteX412" fmla="*/ 258989 w 491345"/>
                    <a:gd name="connsiteY412" fmla="*/ 239744 h 691838"/>
                    <a:gd name="connsiteX413" fmla="*/ 260054 w 491345"/>
                    <a:gd name="connsiteY413" fmla="*/ 240868 h 691838"/>
                    <a:gd name="connsiteX414" fmla="*/ 263627 w 491345"/>
                    <a:gd name="connsiteY414" fmla="*/ 235352 h 691838"/>
                    <a:gd name="connsiteX415" fmla="*/ 265805 w 491345"/>
                    <a:gd name="connsiteY415" fmla="*/ 241196 h 691838"/>
                    <a:gd name="connsiteX416" fmla="*/ 266145 w 491345"/>
                    <a:gd name="connsiteY416" fmla="*/ 243772 h 691838"/>
                    <a:gd name="connsiteX417" fmla="*/ 269037 w 491345"/>
                    <a:gd name="connsiteY417" fmla="*/ 238291 h 691838"/>
                    <a:gd name="connsiteX418" fmla="*/ 268662 w 491345"/>
                    <a:gd name="connsiteY418" fmla="*/ 236839 h 691838"/>
                    <a:gd name="connsiteX419" fmla="*/ 270782 w 491345"/>
                    <a:gd name="connsiteY419" fmla="*/ 232447 h 691838"/>
                    <a:gd name="connsiteX420" fmla="*/ 277587 w 491345"/>
                    <a:gd name="connsiteY420" fmla="*/ 231381 h 691838"/>
                    <a:gd name="connsiteX421" fmla="*/ 276860 w 491345"/>
                    <a:gd name="connsiteY421" fmla="*/ 230257 h 691838"/>
                    <a:gd name="connsiteX422" fmla="*/ 286534 w 491345"/>
                    <a:gd name="connsiteY422" fmla="*/ 233173 h 691838"/>
                    <a:gd name="connsiteX423" fmla="*/ 285972 w 491345"/>
                    <a:gd name="connsiteY423" fmla="*/ 230011 h 691838"/>
                    <a:gd name="connsiteX424" fmla="*/ 297695 w 491345"/>
                    <a:gd name="connsiteY424" fmla="*/ 236733 h 691838"/>
                    <a:gd name="connsiteX425" fmla="*/ 306994 w 491345"/>
                    <a:gd name="connsiteY425" fmla="*/ 249640 h 691838"/>
                    <a:gd name="connsiteX426" fmla="*/ 310437 w 491345"/>
                    <a:gd name="connsiteY426" fmla="*/ 262815 h 691838"/>
                    <a:gd name="connsiteX427" fmla="*/ 320170 w 491345"/>
                    <a:gd name="connsiteY427" fmla="*/ 249604 h 691838"/>
                    <a:gd name="connsiteX428" fmla="*/ 314173 w 491345"/>
                    <a:gd name="connsiteY428" fmla="*/ 249488 h 691838"/>
                    <a:gd name="connsiteX429" fmla="*/ 315825 w 491345"/>
                    <a:gd name="connsiteY429" fmla="*/ 245037 h 691838"/>
                    <a:gd name="connsiteX430" fmla="*/ 319057 w 491345"/>
                    <a:gd name="connsiteY430" fmla="*/ 245939 h 691838"/>
                    <a:gd name="connsiteX431" fmla="*/ 318354 w 491345"/>
                    <a:gd name="connsiteY431" fmla="*/ 244849 h 691838"/>
                    <a:gd name="connsiteX432" fmla="*/ 319970 w 491345"/>
                    <a:gd name="connsiteY432" fmla="*/ 243351 h 691838"/>
                    <a:gd name="connsiteX433" fmla="*/ 321048 w 491345"/>
                    <a:gd name="connsiteY433" fmla="*/ 247953 h 691838"/>
                    <a:gd name="connsiteX434" fmla="*/ 323027 w 491345"/>
                    <a:gd name="connsiteY434" fmla="*/ 246665 h 691838"/>
                    <a:gd name="connsiteX435" fmla="*/ 322278 w 491345"/>
                    <a:gd name="connsiteY435" fmla="*/ 248117 h 691838"/>
                    <a:gd name="connsiteX436" fmla="*/ 324456 w 491345"/>
                    <a:gd name="connsiteY436" fmla="*/ 253633 h 691838"/>
                    <a:gd name="connsiteX437" fmla="*/ 325873 w 491345"/>
                    <a:gd name="connsiteY437" fmla="*/ 250705 h 691838"/>
                    <a:gd name="connsiteX438" fmla="*/ 339798 w 491345"/>
                    <a:gd name="connsiteY438" fmla="*/ 252146 h 691838"/>
                    <a:gd name="connsiteX439" fmla="*/ 353032 w 491345"/>
                    <a:gd name="connsiteY439" fmla="*/ 263834 h 691838"/>
                    <a:gd name="connsiteX440" fmla="*/ 343792 w 491345"/>
                    <a:gd name="connsiteY440" fmla="*/ 265134 h 691838"/>
                    <a:gd name="connsiteX441" fmla="*/ 330207 w 491345"/>
                    <a:gd name="connsiteY441" fmla="*/ 268765 h 691838"/>
                    <a:gd name="connsiteX442" fmla="*/ 338147 w 491345"/>
                    <a:gd name="connsiteY442" fmla="*/ 276822 h 691838"/>
                    <a:gd name="connsiteX443" fmla="*/ 345537 w 491345"/>
                    <a:gd name="connsiteY443" fmla="*/ 288885 h 691838"/>
                    <a:gd name="connsiteX444" fmla="*/ 347305 w 491345"/>
                    <a:gd name="connsiteY444" fmla="*/ 289623 h 691838"/>
                    <a:gd name="connsiteX445" fmla="*/ 341567 w 491345"/>
                    <a:gd name="connsiteY445" fmla="*/ 297270 h 691838"/>
                    <a:gd name="connsiteX446" fmla="*/ 348102 w 491345"/>
                    <a:gd name="connsiteY446" fmla="*/ 294178 h 691838"/>
                    <a:gd name="connsiteX447" fmla="*/ 356241 w 491345"/>
                    <a:gd name="connsiteY447" fmla="*/ 298887 h 691838"/>
                    <a:gd name="connsiteX448" fmla="*/ 359591 w 491345"/>
                    <a:gd name="connsiteY448" fmla="*/ 300761 h 691838"/>
                    <a:gd name="connsiteX449" fmla="*/ 361441 w 491345"/>
                    <a:gd name="connsiteY449" fmla="*/ 297587 h 691838"/>
                    <a:gd name="connsiteX450" fmla="*/ 364310 w 491345"/>
                    <a:gd name="connsiteY450" fmla="*/ 300948 h 691838"/>
                    <a:gd name="connsiteX451" fmla="*/ 361043 w 491345"/>
                    <a:gd name="connsiteY451" fmla="*/ 305715 h 691838"/>
                    <a:gd name="connsiteX452" fmla="*/ 362109 w 491345"/>
                    <a:gd name="connsiteY452" fmla="*/ 314158 h 691838"/>
                    <a:gd name="connsiteX453" fmla="*/ 358326 w 491345"/>
                    <a:gd name="connsiteY453" fmla="*/ 326069 h 691838"/>
                    <a:gd name="connsiteX454" fmla="*/ 344085 w 491345"/>
                    <a:gd name="connsiteY454" fmla="*/ 310704 h 691838"/>
                    <a:gd name="connsiteX455" fmla="*/ 347703 w 491345"/>
                    <a:gd name="connsiteY455" fmla="*/ 308525 h 691838"/>
                    <a:gd name="connsiteX456" fmla="*/ 353899 w 491345"/>
                    <a:gd name="connsiteY456" fmla="*/ 303993 h 691838"/>
                    <a:gd name="connsiteX457" fmla="*/ 340524 w 491345"/>
                    <a:gd name="connsiteY457" fmla="*/ 309966 h 691838"/>
                    <a:gd name="connsiteX458" fmla="*/ 340899 w 491345"/>
                    <a:gd name="connsiteY458" fmla="*/ 307600 h 691838"/>
                    <a:gd name="connsiteX459" fmla="*/ 338686 w 491345"/>
                    <a:gd name="connsiteY459" fmla="*/ 307658 h 691838"/>
                    <a:gd name="connsiteX460" fmla="*/ 339084 w 491345"/>
                    <a:gd name="connsiteY460" fmla="*/ 308923 h 691838"/>
                    <a:gd name="connsiteX461" fmla="*/ 339365 w 491345"/>
                    <a:gd name="connsiteY461" fmla="*/ 305621 h 691838"/>
                    <a:gd name="connsiteX462" fmla="*/ 329176 w 491345"/>
                    <a:gd name="connsiteY462" fmla="*/ 303841 h 691838"/>
                    <a:gd name="connsiteX463" fmla="*/ 322758 w 491345"/>
                    <a:gd name="connsiteY463" fmla="*/ 299425 h 691838"/>
                    <a:gd name="connsiteX464" fmla="*/ 318015 w 491345"/>
                    <a:gd name="connsiteY464" fmla="*/ 297259 h 691838"/>
                    <a:gd name="connsiteX465" fmla="*/ 318413 w 491345"/>
                    <a:gd name="connsiteY465" fmla="*/ 289752 h 691838"/>
                    <a:gd name="connsiteX466" fmla="*/ 315180 w 491345"/>
                    <a:gd name="connsiteY466" fmla="*/ 286461 h 691838"/>
                    <a:gd name="connsiteX467" fmla="*/ 311983 w 491345"/>
                    <a:gd name="connsiteY467" fmla="*/ 278684 h 691838"/>
                    <a:gd name="connsiteX468" fmla="*/ 293011 w 491345"/>
                    <a:gd name="connsiteY468" fmla="*/ 267055 h 691838"/>
                    <a:gd name="connsiteX469" fmla="*/ 295529 w 491345"/>
                    <a:gd name="connsiteY469" fmla="*/ 264876 h 691838"/>
                    <a:gd name="connsiteX470" fmla="*/ 290106 w 491345"/>
                    <a:gd name="connsiteY470" fmla="*/ 260485 h 691838"/>
                    <a:gd name="connsiteX471" fmla="*/ 290774 w 491345"/>
                    <a:gd name="connsiteY471" fmla="*/ 259758 h 691838"/>
                    <a:gd name="connsiteX472" fmla="*/ 278535 w 491345"/>
                    <a:gd name="connsiteY472" fmla="*/ 250717 h 691838"/>
                    <a:gd name="connsiteX473" fmla="*/ 272246 w 491345"/>
                    <a:gd name="connsiteY473" fmla="*/ 250694 h 691838"/>
                    <a:gd name="connsiteX474" fmla="*/ 277259 w 491345"/>
                    <a:gd name="connsiteY474" fmla="*/ 262686 h 691838"/>
                    <a:gd name="connsiteX475" fmla="*/ 283524 w 491345"/>
                    <a:gd name="connsiteY475" fmla="*/ 274117 h 691838"/>
                    <a:gd name="connsiteX476" fmla="*/ 280116 w 491345"/>
                    <a:gd name="connsiteY476" fmla="*/ 271833 h 691838"/>
                    <a:gd name="connsiteX477" fmla="*/ 284871 w 491345"/>
                    <a:gd name="connsiteY477" fmla="*/ 290794 h 691838"/>
                    <a:gd name="connsiteX478" fmla="*/ 269049 w 491345"/>
                    <a:gd name="connsiteY478" fmla="*/ 272266 h 691838"/>
                    <a:gd name="connsiteX479" fmla="*/ 260253 w 491345"/>
                    <a:gd name="connsiteY479" fmla="*/ 267348 h 691838"/>
                    <a:gd name="connsiteX480" fmla="*/ 251317 w 491345"/>
                    <a:gd name="connsiteY480" fmla="*/ 258903 h 691838"/>
                    <a:gd name="connsiteX481" fmla="*/ 242780 w 491345"/>
                    <a:gd name="connsiteY481" fmla="*/ 254324 h 691838"/>
                    <a:gd name="connsiteX482" fmla="*/ 234722 w 491345"/>
                    <a:gd name="connsiteY482" fmla="*/ 252275 h 691838"/>
                    <a:gd name="connsiteX483" fmla="*/ 222566 w 491345"/>
                    <a:gd name="connsiteY483" fmla="*/ 264865 h 691838"/>
                    <a:gd name="connsiteX484" fmla="*/ 203699 w 491345"/>
                    <a:gd name="connsiteY484" fmla="*/ 268308 h 691838"/>
                    <a:gd name="connsiteX485" fmla="*/ 201110 w 491345"/>
                    <a:gd name="connsiteY485" fmla="*/ 264267 h 691838"/>
                    <a:gd name="connsiteX486" fmla="*/ 192889 w 491345"/>
                    <a:gd name="connsiteY486" fmla="*/ 265216 h 691838"/>
                    <a:gd name="connsiteX487" fmla="*/ 193943 w 491345"/>
                    <a:gd name="connsiteY487" fmla="*/ 256678 h 691838"/>
                    <a:gd name="connsiteX488" fmla="*/ 183918 w 491345"/>
                    <a:gd name="connsiteY488" fmla="*/ 256315 h 691838"/>
                    <a:gd name="connsiteX489" fmla="*/ 180791 w 491345"/>
                    <a:gd name="connsiteY489" fmla="*/ 260566 h 691838"/>
                    <a:gd name="connsiteX490" fmla="*/ 177582 w 491345"/>
                    <a:gd name="connsiteY490" fmla="*/ 250272 h 691838"/>
                    <a:gd name="connsiteX491" fmla="*/ 176469 w 491345"/>
                    <a:gd name="connsiteY491" fmla="*/ 241547 h 691838"/>
                    <a:gd name="connsiteX492" fmla="*/ 176118 w 491345"/>
                    <a:gd name="connsiteY492" fmla="*/ 239345 h 691838"/>
                    <a:gd name="connsiteX493" fmla="*/ 184433 w 491345"/>
                    <a:gd name="connsiteY493" fmla="*/ 231381 h 691838"/>
                    <a:gd name="connsiteX494" fmla="*/ 196824 w 491345"/>
                    <a:gd name="connsiteY494" fmla="*/ 221919 h 691838"/>
                    <a:gd name="connsiteX495" fmla="*/ 178613 w 491345"/>
                    <a:gd name="connsiteY495" fmla="*/ 202149 h 691838"/>
                    <a:gd name="connsiteX496" fmla="*/ 177886 w 491345"/>
                    <a:gd name="connsiteY496" fmla="*/ 205054 h 691838"/>
                    <a:gd name="connsiteX497" fmla="*/ 177172 w 491345"/>
                    <a:gd name="connsiteY497" fmla="*/ 205054 h 691838"/>
                    <a:gd name="connsiteX498" fmla="*/ 176739 w 491345"/>
                    <a:gd name="connsiteY498" fmla="*/ 200545 h 691838"/>
                    <a:gd name="connsiteX499" fmla="*/ 176106 w 491345"/>
                    <a:gd name="connsiteY499" fmla="*/ 203965 h 691838"/>
                    <a:gd name="connsiteX500" fmla="*/ 171457 w 491345"/>
                    <a:gd name="connsiteY500" fmla="*/ 225889 h 691838"/>
                    <a:gd name="connsiteX501" fmla="*/ 165905 w 491345"/>
                    <a:gd name="connsiteY501" fmla="*/ 216590 h 691838"/>
                    <a:gd name="connsiteX502" fmla="*/ 160413 w 491345"/>
                    <a:gd name="connsiteY502" fmla="*/ 208849 h 691838"/>
                    <a:gd name="connsiteX503" fmla="*/ 161432 w 491345"/>
                    <a:gd name="connsiteY503" fmla="*/ 204656 h 691838"/>
                    <a:gd name="connsiteX504" fmla="*/ 157110 w 491345"/>
                    <a:gd name="connsiteY504" fmla="*/ 201763 h 691838"/>
                    <a:gd name="connsiteX505" fmla="*/ 150352 w 491345"/>
                    <a:gd name="connsiteY505" fmla="*/ 205827 h 691838"/>
                    <a:gd name="connsiteX506" fmla="*/ 151430 w 491345"/>
                    <a:gd name="connsiteY506" fmla="*/ 204656 h 691838"/>
                    <a:gd name="connsiteX507" fmla="*/ 146300 w 491345"/>
                    <a:gd name="connsiteY507" fmla="*/ 183118 h 691838"/>
                    <a:gd name="connsiteX508" fmla="*/ 141077 w 491345"/>
                    <a:gd name="connsiteY508" fmla="*/ 169591 h 691838"/>
                    <a:gd name="connsiteX509" fmla="*/ 142494 w 491345"/>
                    <a:gd name="connsiteY509" fmla="*/ 164789 h 691838"/>
                    <a:gd name="connsiteX510" fmla="*/ 142155 w 491345"/>
                    <a:gd name="connsiteY510" fmla="*/ 165551 h 691838"/>
                    <a:gd name="connsiteX511" fmla="*/ 139273 w 491345"/>
                    <a:gd name="connsiteY511" fmla="*/ 155690 h 691838"/>
                    <a:gd name="connsiteX512" fmla="*/ 134238 w 491345"/>
                    <a:gd name="connsiteY512" fmla="*/ 146508 h 691838"/>
                    <a:gd name="connsiteX513" fmla="*/ 134671 w 491345"/>
                    <a:gd name="connsiteY513" fmla="*/ 125813 h 691838"/>
                    <a:gd name="connsiteX514" fmla="*/ 138465 w 491345"/>
                    <a:gd name="connsiteY514" fmla="*/ 121609 h 691838"/>
                    <a:gd name="connsiteX515" fmla="*/ 141405 w 491345"/>
                    <a:gd name="connsiteY515" fmla="*/ 127219 h 691838"/>
                    <a:gd name="connsiteX516" fmla="*/ 151313 w 491345"/>
                    <a:gd name="connsiteY516" fmla="*/ 136284 h 691838"/>
                    <a:gd name="connsiteX517" fmla="*/ 161795 w 491345"/>
                    <a:gd name="connsiteY517" fmla="*/ 141015 h 691838"/>
                    <a:gd name="connsiteX518" fmla="*/ 165355 w 491345"/>
                    <a:gd name="connsiteY518" fmla="*/ 138415 h 691838"/>
                    <a:gd name="connsiteX519" fmla="*/ 163235 w 491345"/>
                    <a:gd name="connsiteY519" fmla="*/ 138415 h 691838"/>
                    <a:gd name="connsiteX520" fmla="*/ 164652 w 491345"/>
                    <a:gd name="connsiteY520" fmla="*/ 126329 h 691838"/>
                    <a:gd name="connsiteX521" fmla="*/ 164652 w 491345"/>
                    <a:gd name="connsiteY521" fmla="*/ 127430 h 691838"/>
                    <a:gd name="connsiteX522" fmla="*/ 161092 w 491345"/>
                    <a:gd name="connsiteY522" fmla="*/ 108703 h 691838"/>
                    <a:gd name="connsiteX523" fmla="*/ 162193 w 491345"/>
                    <a:gd name="connsiteY523" fmla="*/ 109066 h 691838"/>
                    <a:gd name="connsiteX524" fmla="*/ 162497 w 491345"/>
                    <a:gd name="connsiteY524" fmla="*/ 99990 h 691838"/>
                    <a:gd name="connsiteX525" fmla="*/ 168880 w 491345"/>
                    <a:gd name="connsiteY525" fmla="*/ 88641 h 691838"/>
                    <a:gd name="connsiteX526" fmla="*/ 167651 w 491345"/>
                    <a:gd name="connsiteY526" fmla="*/ 70723 h 691838"/>
                    <a:gd name="connsiteX527" fmla="*/ 169126 w 491345"/>
                    <a:gd name="connsiteY527" fmla="*/ 66577 h 691838"/>
                    <a:gd name="connsiteX528" fmla="*/ 164418 w 491345"/>
                    <a:gd name="connsiteY528" fmla="*/ 59667 h 691838"/>
                    <a:gd name="connsiteX529" fmla="*/ 166924 w 491345"/>
                    <a:gd name="connsiteY529" fmla="*/ 46937 h 691838"/>
                    <a:gd name="connsiteX530" fmla="*/ 170977 w 491345"/>
                    <a:gd name="connsiteY530" fmla="*/ 34710 h 691838"/>
                    <a:gd name="connsiteX531" fmla="*/ 176422 w 491345"/>
                    <a:gd name="connsiteY531" fmla="*/ 11743 h 691838"/>
                    <a:gd name="connsiteX532" fmla="*/ 177547 w 491345"/>
                    <a:gd name="connsiteY532" fmla="*/ 6028 h 691838"/>
                    <a:gd name="connsiteX533" fmla="*/ 185557 w 491345"/>
                    <a:gd name="connsiteY533" fmla="*/ 4810 h 691838"/>
                    <a:gd name="connsiteX534" fmla="*/ 193580 w 491345"/>
                    <a:gd name="connsiteY534" fmla="*/ 4107 h 691838"/>
                    <a:gd name="connsiteX535" fmla="*/ 193580 w 491345"/>
                    <a:gd name="connsiteY535" fmla="*/ 4107 h 69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Lst>
                  <a:rect l="l" t="t" r="r" b="b"/>
                  <a:pathLst>
                    <a:path w="491345" h="691838">
                      <a:moveTo>
                        <a:pt x="253473" y="648651"/>
                      </a:moveTo>
                      <a:cubicBezTo>
                        <a:pt x="247055" y="651064"/>
                        <a:pt x="245989" y="644505"/>
                        <a:pt x="243963" y="640219"/>
                      </a:cubicBezTo>
                      <a:cubicBezTo>
                        <a:pt x="243377" y="638978"/>
                        <a:pt x="239185" y="640160"/>
                        <a:pt x="240531" y="637209"/>
                      </a:cubicBezTo>
                      <a:cubicBezTo>
                        <a:pt x="241597" y="634879"/>
                        <a:pt x="246516" y="634141"/>
                        <a:pt x="248823" y="633661"/>
                      </a:cubicBezTo>
                      <a:cubicBezTo>
                        <a:pt x="255792" y="632220"/>
                        <a:pt x="261460" y="633532"/>
                        <a:pt x="267972" y="638720"/>
                      </a:cubicBezTo>
                      <a:cubicBezTo>
                        <a:pt x="260336" y="640102"/>
                        <a:pt x="261647" y="646801"/>
                        <a:pt x="253473" y="648651"/>
                      </a:cubicBezTo>
                      <a:lnTo>
                        <a:pt x="253473" y="648651"/>
                      </a:lnTo>
                      <a:close/>
                      <a:moveTo>
                        <a:pt x="440541" y="480802"/>
                      </a:moveTo>
                      <a:cubicBezTo>
                        <a:pt x="441525" y="481153"/>
                        <a:pt x="442052" y="481516"/>
                        <a:pt x="443106" y="481188"/>
                      </a:cubicBezTo>
                      <a:cubicBezTo>
                        <a:pt x="445577" y="483823"/>
                        <a:pt x="453833" y="484643"/>
                        <a:pt x="456644" y="489129"/>
                      </a:cubicBezTo>
                      <a:cubicBezTo>
                        <a:pt x="457171" y="488625"/>
                        <a:pt x="457230" y="488016"/>
                        <a:pt x="457722" y="487688"/>
                      </a:cubicBezTo>
                      <a:cubicBezTo>
                        <a:pt x="454852" y="490253"/>
                        <a:pt x="453271" y="492982"/>
                        <a:pt x="458823" y="492033"/>
                      </a:cubicBezTo>
                      <a:cubicBezTo>
                        <a:pt x="456949" y="502960"/>
                        <a:pt x="465885" y="498638"/>
                        <a:pt x="470616" y="496882"/>
                      </a:cubicBezTo>
                      <a:cubicBezTo>
                        <a:pt x="469808" y="499669"/>
                        <a:pt x="467583" y="505232"/>
                        <a:pt x="468602" y="508359"/>
                      </a:cubicBezTo>
                      <a:cubicBezTo>
                        <a:pt x="469292" y="510525"/>
                        <a:pt x="474832" y="513348"/>
                        <a:pt x="475945" y="516358"/>
                      </a:cubicBezTo>
                      <a:cubicBezTo>
                        <a:pt x="478065" y="522073"/>
                        <a:pt x="471014" y="527051"/>
                        <a:pt x="472783" y="529112"/>
                      </a:cubicBezTo>
                      <a:cubicBezTo>
                        <a:pt x="464245" y="528679"/>
                        <a:pt x="463378" y="540097"/>
                        <a:pt x="471658" y="537778"/>
                      </a:cubicBezTo>
                      <a:cubicBezTo>
                        <a:pt x="471412" y="537404"/>
                        <a:pt x="470370" y="537240"/>
                        <a:pt x="470300" y="536701"/>
                      </a:cubicBezTo>
                      <a:cubicBezTo>
                        <a:pt x="474540" y="536092"/>
                        <a:pt x="479622" y="536385"/>
                        <a:pt x="480606" y="541011"/>
                      </a:cubicBezTo>
                      <a:cubicBezTo>
                        <a:pt x="476542" y="542568"/>
                        <a:pt x="480969" y="544044"/>
                        <a:pt x="476483" y="547253"/>
                      </a:cubicBezTo>
                      <a:cubicBezTo>
                        <a:pt x="480102" y="549607"/>
                        <a:pt x="475769" y="560815"/>
                        <a:pt x="483089" y="552863"/>
                      </a:cubicBezTo>
                      <a:cubicBezTo>
                        <a:pt x="482784" y="558824"/>
                        <a:pt x="481109" y="563907"/>
                        <a:pt x="480782" y="568228"/>
                      </a:cubicBezTo>
                      <a:cubicBezTo>
                        <a:pt x="480313" y="574447"/>
                        <a:pt x="481367" y="573897"/>
                        <a:pt x="485771" y="579507"/>
                      </a:cubicBezTo>
                      <a:cubicBezTo>
                        <a:pt x="486427" y="580338"/>
                        <a:pt x="488804" y="579378"/>
                        <a:pt x="489425" y="580502"/>
                      </a:cubicBezTo>
                      <a:cubicBezTo>
                        <a:pt x="489764" y="581099"/>
                        <a:pt x="488523" y="582973"/>
                        <a:pt x="488874" y="583816"/>
                      </a:cubicBezTo>
                      <a:cubicBezTo>
                        <a:pt x="489846" y="586030"/>
                        <a:pt x="490713" y="590457"/>
                        <a:pt x="490830" y="593010"/>
                      </a:cubicBezTo>
                      <a:cubicBezTo>
                        <a:pt x="490971" y="595973"/>
                        <a:pt x="485982" y="601091"/>
                        <a:pt x="491346" y="603410"/>
                      </a:cubicBezTo>
                      <a:cubicBezTo>
                        <a:pt x="489308" y="607146"/>
                        <a:pt x="487129" y="610437"/>
                        <a:pt x="484354" y="613868"/>
                      </a:cubicBezTo>
                      <a:cubicBezTo>
                        <a:pt x="483206" y="615285"/>
                        <a:pt x="484143" y="617686"/>
                        <a:pt x="482656" y="618799"/>
                      </a:cubicBezTo>
                      <a:cubicBezTo>
                        <a:pt x="480606" y="620310"/>
                        <a:pt x="477971" y="616831"/>
                        <a:pt x="476343" y="618787"/>
                      </a:cubicBezTo>
                      <a:cubicBezTo>
                        <a:pt x="473567" y="622160"/>
                        <a:pt x="478720" y="627465"/>
                        <a:pt x="477210" y="628707"/>
                      </a:cubicBezTo>
                      <a:cubicBezTo>
                        <a:pt x="474001" y="631307"/>
                        <a:pt x="471412" y="615484"/>
                        <a:pt x="469152" y="624057"/>
                      </a:cubicBezTo>
                      <a:cubicBezTo>
                        <a:pt x="468965" y="624010"/>
                        <a:pt x="467793" y="623413"/>
                        <a:pt x="468098" y="622980"/>
                      </a:cubicBezTo>
                      <a:cubicBezTo>
                        <a:pt x="468274" y="626610"/>
                        <a:pt x="471951" y="628297"/>
                        <a:pt x="472525" y="631318"/>
                      </a:cubicBezTo>
                      <a:cubicBezTo>
                        <a:pt x="473755" y="637806"/>
                        <a:pt x="470136" y="648757"/>
                        <a:pt x="469550" y="655491"/>
                      </a:cubicBezTo>
                      <a:cubicBezTo>
                        <a:pt x="468215" y="651895"/>
                        <a:pt x="465334" y="648241"/>
                        <a:pt x="464187" y="643896"/>
                      </a:cubicBezTo>
                      <a:cubicBezTo>
                        <a:pt x="462816" y="638755"/>
                        <a:pt x="464959" y="633649"/>
                        <a:pt x="463484" y="628742"/>
                      </a:cubicBezTo>
                      <a:cubicBezTo>
                        <a:pt x="462922" y="626880"/>
                        <a:pt x="461715" y="626540"/>
                        <a:pt x="461282" y="625533"/>
                      </a:cubicBezTo>
                      <a:cubicBezTo>
                        <a:pt x="460368" y="623354"/>
                        <a:pt x="459303" y="619548"/>
                        <a:pt x="458413" y="617628"/>
                      </a:cubicBezTo>
                      <a:cubicBezTo>
                        <a:pt x="457218" y="615063"/>
                        <a:pt x="454852" y="613341"/>
                        <a:pt x="453623" y="610800"/>
                      </a:cubicBezTo>
                      <a:cubicBezTo>
                        <a:pt x="452732" y="608973"/>
                        <a:pt x="452346" y="603023"/>
                        <a:pt x="451362" y="601946"/>
                      </a:cubicBezTo>
                      <a:cubicBezTo>
                        <a:pt x="449055" y="599404"/>
                        <a:pt x="444558" y="599592"/>
                        <a:pt x="441525" y="604956"/>
                      </a:cubicBezTo>
                      <a:cubicBezTo>
                        <a:pt x="440295" y="607146"/>
                        <a:pt x="442169" y="609828"/>
                        <a:pt x="440880" y="611983"/>
                      </a:cubicBezTo>
                      <a:cubicBezTo>
                        <a:pt x="439674" y="614009"/>
                        <a:pt x="437262" y="614641"/>
                        <a:pt x="436102" y="616140"/>
                      </a:cubicBezTo>
                      <a:cubicBezTo>
                        <a:pt x="433619" y="619326"/>
                        <a:pt x="429825" y="623155"/>
                        <a:pt x="428033" y="627793"/>
                      </a:cubicBezTo>
                      <a:cubicBezTo>
                        <a:pt x="426932" y="630627"/>
                        <a:pt x="427061" y="642983"/>
                        <a:pt x="429509" y="638076"/>
                      </a:cubicBezTo>
                      <a:cubicBezTo>
                        <a:pt x="432015" y="640688"/>
                        <a:pt x="436301" y="642151"/>
                        <a:pt x="437742" y="644248"/>
                      </a:cubicBezTo>
                      <a:cubicBezTo>
                        <a:pt x="439487" y="646789"/>
                        <a:pt x="439557" y="651661"/>
                        <a:pt x="440634" y="654577"/>
                      </a:cubicBezTo>
                      <a:cubicBezTo>
                        <a:pt x="444628" y="665329"/>
                        <a:pt x="444476" y="668268"/>
                        <a:pt x="437952" y="677614"/>
                      </a:cubicBezTo>
                      <a:cubicBezTo>
                        <a:pt x="430809" y="687815"/>
                        <a:pt x="426311" y="699737"/>
                        <a:pt x="420163" y="684782"/>
                      </a:cubicBezTo>
                      <a:cubicBezTo>
                        <a:pt x="419659" y="683540"/>
                        <a:pt x="416708" y="682427"/>
                        <a:pt x="416427" y="680882"/>
                      </a:cubicBezTo>
                      <a:cubicBezTo>
                        <a:pt x="415607" y="676618"/>
                        <a:pt x="422247" y="673714"/>
                        <a:pt x="421568" y="669334"/>
                      </a:cubicBezTo>
                      <a:cubicBezTo>
                        <a:pt x="419214" y="654121"/>
                        <a:pt x="411508" y="676958"/>
                        <a:pt x="410583" y="677520"/>
                      </a:cubicBezTo>
                      <a:cubicBezTo>
                        <a:pt x="405957" y="680296"/>
                        <a:pt x="391575" y="673164"/>
                        <a:pt x="387136" y="671009"/>
                      </a:cubicBezTo>
                      <a:cubicBezTo>
                        <a:pt x="379383" y="667249"/>
                        <a:pt x="369768" y="661979"/>
                        <a:pt x="363959" y="655713"/>
                      </a:cubicBezTo>
                      <a:cubicBezTo>
                        <a:pt x="356229" y="647386"/>
                        <a:pt x="358068" y="644283"/>
                        <a:pt x="357494" y="635230"/>
                      </a:cubicBezTo>
                      <a:cubicBezTo>
                        <a:pt x="356944" y="626423"/>
                        <a:pt x="350116" y="629152"/>
                        <a:pt x="354180" y="617136"/>
                      </a:cubicBezTo>
                      <a:cubicBezTo>
                        <a:pt x="356558" y="610073"/>
                        <a:pt x="360012" y="611690"/>
                        <a:pt x="363947" y="606560"/>
                      </a:cubicBezTo>
                      <a:cubicBezTo>
                        <a:pt x="366278" y="603515"/>
                        <a:pt x="366407" y="600341"/>
                        <a:pt x="367648" y="596746"/>
                      </a:cubicBezTo>
                      <a:cubicBezTo>
                        <a:pt x="361125" y="596746"/>
                        <a:pt x="359708" y="587072"/>
                        <a:pt x="354051" y="583629"/>
                      </a:cubicBezTo>
                      <a:cubicBezTo>
                        <a:pt x="351252" y="581919"/>
                        <a:pt x="348875" y="582341"/>
                        <a:pt x="346427" y="580982"/>
                      </a:cubicBezTo>
                      <a:cubicBezTo>
                        <a:pt x="343991" y="579647"/>
                        <a:pt x="342047" y="576918"/>
                        <a:pt x="339599" y="575665"/>
                      </a:cubicBezTo>
                      <a:cubicBezTo>
                        <a:pt x="336121" y="573873"/>
                        <a:pt x="328063" y="572468"/>
                        <a:pt x="325862" y="576368"/>
                      </a:cubicBezTo>
                      <a:cubicBezTo>
                        <a:pt x="325112" y="577715"/>
                        <a:pt x="328497" y="580947"/>
                        <a:pt x="327220" y="583933"/>
                      </a:cubicBezTo>
                      <a:cubicBezTo>
                        <a:pt x="326728" y="585116"/>
                        <a:pt x="324116" y="586205"/>
                        <a:pt x="323297" y="587587"/>
                      </a:cubicBezTo>
                      <a:cubicBezTo>
                        <a:pt x="322910" y="587552"/>
                        <a:pt x="322008" y="586873"/>
                        <a:pt x="321505" y="587037"/>
                      </a:cubicBezTo>
                      <a:cubicBezTo>
                        <a:pt x="321786" y="589602"/>
                        <a:pt x="327232" y="593760"/>
                        <a:pt x="326517" y="596195"/>
                      </a:cubicBezTo>
                      <a:cubicBezTo>
                        <a:pt x="324620" y="602695"/>
                        <a:pt x="319502" y="592858"/>
                        <a:pt x="317558" y="592050"/>
                      </a:cubicBezTo>
                      <a:cubicBezTo>
                        <a:pt x="314712" y="590867"/>
                        <a:pt x="311409" y="594216"/>
                        <a:pt x="308997" y="589040"/>
                      </a:cubicBezTo>
                      <a:cubicBezTo>
                        <a:pt x="308763" y="588571"/>
                        <a:pt x="311749" y="585983"/>
                        <a:pt x="311491" y="584086"/>
                      </a:cubicBezTo>
                      <a:cubicBezTo>
                        <a:pt x="311409" y="583594"/>
                        <a:pt x="309067" y="580221"/>
                        <a:pt x="308786" y="579038"/>
                      </a:cubicBezTo>
                      <a:cubicBezTo>
                        <a:pt x="305273" y="582657"/>
                        <a:pt x="304675" y="591616"/>
                        <a:pt x="301818" y="592951"/>
                      </a:cubicBezTo>
                      <a:cubicBezTo>
                        <a:pt x="300295" y="593666"/>
                        <a:pt x="298691" y="589731"/>
                        <a:pt x="298831" y="589695"/>
                      </a:cubicBezTo>
                      <a:cubicBezTo>
                        <a:pt x="298937" y="589660"/>
                        <a:pt x="294358" y="592377"/>
                        <a:pt x="296266" y="592553"/>
                      </a:cubicBezTo>
                      <a:cubicBezTo>
                        <a:pt x="294428" y="592389"/>
                        <a:pt x="293210" y="593830"/>
                        <a:pt x="291512" y="592436"/>
                      </a:cubicBezTo>
                      <a:cubicBezTo>
                        <a:pt x="292987" y="590773"/>
                        <a:pt x="291231" y="590902"/>
                        <a:pt x="293678" y="590246"/>
                      </a:cubicBezTo>
                      <a:cubicBezTo>
                        <a:pt x="291875" y="583254"/>
                        <a:pt x="294615" y="579717"/>
                        <a:pt x="288373" y="577762"/>
                      </a:cubicBezTo>
                      <a:cubicBezTo>
                        <a:pt x="282119" y="575794"/>
                        <a:pt x="275525" y="580853"/>
                        <a:pt x="273078" y="587576"/>
                      </a:cubicBezTo>
                      <a:cubicBezTo>
                        <a:pt x="274003" y="587857"/>
                        <a:pt x="274846" y="587611"/>
                        <a:pt x="275783" y="587576"/>
                      </a:cubicBezTo>
                      <a:cubicBezTo>
                        <a:pt x="275408" y="589508"/>
                        <a:pt x="275139" y="590258"/>
                        <a:pt x="273593" y="591722"/>
                      </a:cubicBezTo>
                      <a:cubicBezTo>
                        <a:pt x="273617" y="591511"/>
                        <a:pt x="274237" y="589836"/>
                        <a:pt x="273980" y="589567"/>
                      </a:cubicBezTo>
                      <a:cubicBezTo>
                        <a:pt x="270876" y="591230"/>
                        <a:pt x="270384" y="594111"/>
                        <a:pt x="269318" y="595879"/>
                      </a:cubicBezTo>
                      <a:cubicBezTo>
                        <a:pt x="269447" y="595668"/>
                        <a:pt x="266027" y="601313"/>
                        <a:pt x="266121" y="601091"/>
                      </a:cubicBezTo>
                      <a:cubicBezTo>
                        <a:pt x="263662" y="606806"/>
                        <a:pt x="262725" y="622230"/>
                        <a:pt x="255218" y="623261"/>
                      </a:cubicBezTo>
                      <a:cubicBezTo>
                        <a:pt x="249971" y="623975"/>
                        <a:pt x="245204" y="617065"/>
                        <a:pt x="245157" y="612767"/>
                      </a:cubicBezTo>
                      <a:cubicBezTo>
                        <a:pt x="245075" y="605881"/>
                        <a:pt x="251025" y="606080"/>
                        <a:pt x="253191" y="601559"/>
                      </a:cubicBezTo>
                      <a:cubicBezTo>
                        <a:pt x="255452" y="596816"/>
                        <a:pt x="251763" y="591897"/>
                        <a:pt x="258087" y="587037"/>
                      </a:cubicBezTo>
                      <a:cubicBezTo>
                        <a:pt x="252360" y="581814"/>
                        <a:pt x="258883" y="570196"/>
                        <a:pt x="264575" y="565734"/>
                      </a:cubicBezTo>
                      <a:cubicBezTo>
                        <a:pt x="270384" y="561166"/>
                        <a:pt x="282775" y="563848"/>
                        <a:pt x="285902" y="556845"/>
                      </a:cubicBezTo>
                      <a:cubicBezTo>
                        <a:pt x="288139" y="560991"/>
                        <a:pt x="298539" y="559609"/>
                        <a:pt x="301279" y="555720"/>
                      </a:cubicBezTo>
                      <a:cubicBezTo>
                        <a:pt x="303481" y="552570"/>
                        <a:pt x="301010" y="549935"/>
                        <a:pt x="302275" y="545496"/>
                      </a:cubicBezTo>
                      <a:cubicBezTo>
                        <a:pt x="303059" y="542744"/>
                        <a:pt x="304183" y="539664"/>
                        <a:pt x="306912" y="538200"/>
                      </a:cubicBezTo>
                      <a:cubicBezTo>
                        <a:pt x="311058" y="535975"/>
                        <a:pt x="314478" y="539488"/>
                        <a:pt x="317558" y="538001"/>
                      </a:cubicBezTo>
                      <a:cubicBezTo>
                        <a:pt x="322020" y="535834"/>
                        <a:pt x="326002" y="531021"/>
                        <a:pt x="322992" y="527671"/>
                      </a:cubicBezTo>
                      <a:cubicBezTo>
                        <a:pt x="324913" y="527554"/>
                        <a:pt x="327794" y="528058"/>
                        <a:pt x="329399" y="528749"/>
                      </a:cubicBezTo>
                      <a:cubicBezTo>
                        <a:pt x="329504" y="531735"/>
                        <a:pt x="330593" y="533281"/>
                        <a:pt x="332959" y="534851"/>
                      </a:cubicBezTo>
                      <a:cubicBezTo>
                        <a:pt x="333251" y="533211"/>
                        <a:pt x="334212" y="531946"/>
                        <a:pt x="334118" y="530646"/>
                      </a:cubicBezTo>
                      <a:cubicBezTo>
                        <a:pt x="342140" y="531220"/>
                        <a:pt x="346228" y="538645"/>
                        <a:pt x="347856" y="547991"/>
                      </a:cubicBezTo>
                      <a:cubicBezTo>
                        <a:pt x="349496" y="557407"/>
                        <a:pt x="347762" y="556587"/>
                        <a:pt x="341543" y="562911"/>
                      </a:cubicBezTo>
                      <a:cubicBezTo>
                        <a:pt x="342609" y="561822"/>
                        <a:pt x="334305" y="566952"/>
                        <a:pt x="337948" y="567373"/>
                      </a:cubicBezTo>
                      <a:cubicBezTo>
                        <a:pt x="340829" y="567713"/>
                        <a:pt x="347434" y="561002"/>
                        <a:pt x="349695" y="559585"/>
                      </a:cubicBezTo>
                      <a:cubicBezTo>
                        <a:pt x="354918" y="556306"/>
                        <a:pt x="357892" y="557571"/>
                        <a:pt x="363502" y="555404"/>
                      </a:cubicBezTo>
                      <a:cubicBezTo>
                        <a:pt x="370564" y="552676"/>
                        <a:pt x="368011" y="547417"/>
                        <a:pt x="370611" y="541432"/>
                      </a:cubicBezTo>
                      <a:cubicBezTo>
                        <a:pt x="377580" y="525399"/>
                        <a:pt x="379043" y="539570"/>
                        <a:pt x="389092" y="538446"/>
                      </a:cubicBezTo>
                      <a:cubicBezTo>
                        <a:pt x="388460" y="539910"/>
                        <a:pt x="388518" y="541432"/>
                        <a:pt x="388003" y="542791"/>
                      </a:cubicBezTo>
                      <a:cubicBezTo>
                        <a:pt x="389678" y="540484"/>
                        <a:pt x="392875" y="540823"/>
                        <a:pt x="393964" y="538563"/>
                      </a:cubicBezTo>
                      <a:cubicBezTo>
                        <a:pt x="395545" y="535307"/>
                        <a:pt x="393554" y="532356"/>
                        <a:pt x="393987" y="529088"/>
                      </a:cubicBezTo>
                      <a:cubicBezTo>
                        <a:pt x="395077" y="520925"/>
                        <a:pt x="393355" y="509226"/>
                        <a:pt x="403977" y="514707"/>
                      </a:cubicBezTo>
                      <a:cubicBezTo>
                        <a:pt x="407725" y="516651"/>
                        <a:pt x="411894" y="523689"/>
                        <a:pt x="415736" y="520492"/>
                      </a:cubicBezTo>
                      <a:cubicBezTo>
                        <a:pt x="418793" y="517939"/>
                        <a:pt x="414272" y="510912"/>
                        <a:pt x="417094" y="509109"/>
                      </a:cubicBezTo>
                      <a:cubicBezTo>
                        <a:pt x="418441" y="508254"/>
                        <a:pt x="424367" y="514695"/>
                        <a:pt x="428888" y="513899"/>
                      </a:cubicBezTo>
                      <a:cubicBezTo>
                        <a:pt x="435821" y="512681"/>
                        <a:pt x="435926" y="507879"/>
                        <a:pt x="434779" y="501473"/>
                      </a:cubicBezTo>
                      <a:cubicBezTo>
                        <a:pt x="433034" y="491658"/>
                        <a:pt x="423559" y="478893"/>
                        <a:pt x="430937" y="469605"/>
                      </a:cubicBezTo>
                      <a:cubicBezTo>
                        <a:pt x="432764" y="471725"/>
                        <a:pt x="436348" y="472007"/>
                        <a:pt x="437648" y="473529"/>
                      </a:cubicBezTo>
                      <a:cubicBezTo>
                        <a:pt x="439042" y="475192"/>
                        <a:pt x="438456" y="478776"/>
                        <a:pt x="440541" y="480802"/>
                      </a:cubicBezTo>
                      <a:lnTo>
                        <a:pt x="440541" y="480802"/>
                      </a:lnTo>
                      <a:close/>
                      <a:moveTo>
                        <a:pt x="373047" y="452366"/>
                      </a:moveTo>
                      <a:cubicBezTo>
                        <a:pt x="373153" y="453092"/>
                        <a:pt x="373270" y="453795"/>
                        <a:pt x="373364" y="454521"/>
                      </a:cubicBezTo>
                      <a:cubicBezTo>
                        <a:pt x="373937" y="453760"/>
                        <a:pt x="375015" y="453034"/>
                        <a:pt x="375507" y="452319"/>
                      </a:cubicBezTo>
                      <a:cubicBezTo>
                        <a:pt x="376900" y="455704"/>
                        <a:pt x="388050" y="458913"/>
                        <a:pt x="384466" y="460974"/>
                      </a:cubicBezTo>
                      <a:cubicBezTo>
                        <a:pt x="385110" y="463890"/>
                        <a:pt x="385157" y="466057"/>
                        <a:pt x="383494" y="467615"/>
                      </a:cubicBezTo>
                      <a:cubicBezTo>
                        <a:pt x="393179" y="471983"/>
                        <a:pt x="382698" y="472990"/>
                        <a:pt x="381760" y="473564"/>
                      </a:cubicBezTo>
                      <a:cubicBezTo>
                        <a:pt x="382182" y="473306"/>
                        <a:pt x="377626" y="477031"/>
                        <a:pt x="376596" y="477745"/>
                      </a:cubicBezTo>
                      <a:cubicBezTo>
                        <a:pt x="371478" y="481305"/>
                        <a:pt x="365880" y="481797"/>
                        <a:pt x="359474" y="481528"/>
                      </a:cubicBezTo>
                      <a:cubicBezTo>
                        <a:pt x="352166" y="481235"/>
                        <a:pt x="351088" y="479595"/>
                        <a:pt x="348067" y="476199"/>
                      </a:cubicBezTo>
                      <a:cubicBezTo>
                        <a:pt x="341730" y="469079"/>
                        <a:pt x="348313" y="467310"/>
                        <a:pt x="354754" y="462485"/>
                      </a:cubicBezTo>
                      <a:cubicBezTo>
                        <a:pt x="361254" y="457624"/>
                        <a:pt x="362249" y="450715"/>
                        <a:pt x="373047" y="452366"/>
                      </a:cubicBezTo>
                      <a:lnTo>
                        <a:pt x="373047" y="452366"/>
                      </a:lnTo>
                      <a:close/>
                      <a:moveTo>
                        <a:pt x="316727" y="408799"/>
                      </a:moveTo>
                      <a:cubicBezTo>
                        <a:pt x="319326" y="409678"/>
                        <a:pt x="321013" y="410322"/>
                        <a:pt x="323706" y="410064"/>
                      </a:cubicBezTo>
                      <a:cubicBezTo>
                        <a:pt x="323941" y="410977"/>
                        <a:pt x="323226" y="410826"/>
                        <a:pt x="323800" y="411833"/>
                      </a:cubicBezTo>
                      <a:cubicBezTo>
                        <a:pt x="328836" y="408424"/>
                        <a:pt x="332701" y="415007"/>
                        <a:pt x="332420" y="419246"/>
                      </a:cubicBezTo>
                      <a:cubicBezTo>
                        <a:pt x="331858" y="427901"/>
                        <a:pt x="323390" y="435373"/>
                        <a:pt x="320474" y="443114"/>
                      </a:cubicBezTo>
                      <a:cubicBezTo>
                        <a:pt x="319092" y="446780"/>
                        <a:pt x="319432" y="451664"/>
                        <a:pt x="317792" y="455400"/>
                      </a:cubicBezTo>
                      <a:cubicBezTo>
                        <a:pt x="316340" y="458702"/>
                        <a:pt x="312815" y="461829"/>
                        <a:pt x="311819" y="465167"/>
                      </a:cubicBezTo>
                      <a:cubicBezTo>
                        <a:pt x="310367" y="470027"/>
                        <a:pt x="309618" y="480848"/>
                        <a:pt x="311538" y="483343"/>
                      </a:cubicBezTo>
                      <a:cubicBezTo>
                        <a:pt x="309524" y="482687"/>
                        <a:pt x="311515" y="483238"/>
                        <a:pt x="309723" y="483882"/>
                      </a:cubicBezTo>
                      <a:cubicBezTo>
                        <a:pt x="313447" y="486084"/>
                        <a:pt x="319690" y="493251"/>
                        <a:pt x="319525" y="498252"/>
                      </a:cubicBezTo>
                      <a:cubicBezTo>
                        <a:pt x="319233" y="506790"/>
                        <a:pt x="306807" y="513957"/>
                        <a:pt x="300447" y="508734"/>
                      </a:cubicBezTo>
                      <a:cubicBezTo>
                        <a:pt x="295950" y="505056"/>
                        <a:pt x="298328" y="497795"/>
                        <a:pt x="293678" y="494129"/>
                      </a:cubicBezTo>
                      <a:cubicBezTo>
                        <a:pt x="291629" y="492513"/>
                        <a:pt x="286394" y="492455"/>
                        <a:pt x="283676" y="490592"/>
                      </a:cubicBezTo>
                      <a:cubicBezTo>
                        <a:pt x="280151" y="488168"/>
                        <a:pt x="274624" y="478015"/>
                        <a:pt x="272574" y="478331"/>
                      </a:cubicBezTo>
                      <a:cubicBezTo>
                        <a:pt x="272387" y="477441"/>
                        <a:pt x="273031" y="476375"/>
                        <a:pt x="272949" y="475426"/>
                      </a:cubicBezTo>
                      <a:cubicBezTo>
                        <a:pt x="272563" y="475379"/>
                        <a:pt x="271871" y="476246"/>
                        <a:pt x="271497" y="476164"/>
                      </a:cubicBezTo>
                      <a:cubicBezTo>
                        <a:pt x="271743" y="471444"/>
                        <a:pt x="270642" y="468352"/>
                        <a:pt x="273675" y="464464"/>
                      </a:cubicBezTo>
                      <a:cubicBezTo>
                        <a:pt x="277704" y="459311"/>
                        <a:pt x="278488" y="463387"/>
                        <a:pt x="284040" y="462075"/>
                      </a:cubicBezTo>
                      <a:cubicBezTo>
                        <a:pt x="295025" y="459475"/>
                        <a:pt x="297414" y="452612"/>
                        <a:pt x="295857" y="441861"/>
                      </a:cubicBezTo>
                      <a:cubicBezTo>
                        <a:pt x="295529" y="439577"/>
                        <a:pt x="292823" y="436473"/>
                        <a:pt x="293175" y="434307"/>
                      </a:cubicBezTo>
                      <a:cubicBezTo>
                        <a:pt x="293608" y="431719"/>
                        <a:pt x="295271" y="432644"/>
                        <a:pt x="296149" y="430712"/>
                      </a:cubicBezTo>
                      <a:cubicBezTo>
                        <a:pt x="298210" y="426214"/>
                        <a:pt x="299475" y="421787"/>
                        <a:pt x="301033" y="417571"/>
                      </a:cubicBezTo>
                      <a:cubicBezTo>
                        <a:pt x="302520" y="413531"/>
                        <a:pt x="300998" y="415053"/>
                        <a:pt x="305682" y="411985"/>
                      </a:cubicBezTo>
                      <a:cubicBezTo>
                        <a:pt x="309020" y="409807"/>
                        <a:pt x="313412" y="406937"/>
                        <a:pt x="316727" y="408799"/>
                      </a:cubicBezTo>
                      <a:lnTo>
                        <a:pt x="316727" y="408799"/>
                      </a:lnTo>
                      <a:close/>
                      <a:moveTo>
                        <a:pt x="354777" y="403517"/>
                      </a:moveTo>
                      <a:cubicBezTo>
                        <a:pt x="356077" y="403740"/>
                        <a:pt x="355468" y="405356"/>
                        <a:pt x="357670" y="404244"/>
                      </a:cubicBezTo>
                      <a:cubicBezTo>
                        <a:pt x="358396" y="411165"/>
                        <a:pt x="356347" y="415440"/>
                        <a:pt x="355972" y="421951"/>
                      </a:cubicBezTo>
                      <a:cubicBezTo>
                        <a:pt x="355585" y="429049"/>
                        <a:pt x="359005" y="434775"/>
                        <a:pt x="354426" y="441498"/>
                      </a:cubicBezTo>
                      <a:cubicBezTo>
                        <a:pt x="354812" y="441580"/>
                        <a:pt x="353817" y="440491"/>
                        <a:pt x="353735" y="440456"/>
                      </a:cubicBezTo>
                      <a:cubicBezTo>
                        <a:pt x="352341" y="447307"/>
                        <a:pt x="339423" y="449942"/>
                        <a:pt x="336437" y="457367"/>
                      </a:cubicBezTo>
                      <a:cubicBezTo>
                        <a:pt x="334259" y="462801"/>
                        <a:pt x="330288" y="490909"/>
                        <a:pt x="321364" y="491061"/>
                      </a:cubicBezTo>
                      <a:cubicBezTo>
                        <a:pt x="315848" y="491155"/>
                        <a:pt x="323285" y="463352"/>
                        <a:pt x="323917" y="461560"/>
                      </a:cubicBezTo>
                      <a:cubicBezTo>
                        <a:pt x="327033" y="452694"/>
                        <a:pt x="335617" y="443829"/>
                        <a:pt x="340091" y="434635"/>
                      </a:cubicBezTo>
                      <a:cubicBezTo>
                        <a:pt x="344834" y="424856"/>
                        <a:pt x="348441" y="412477"/>
                        <a:pt x="351931" y="402428"/>
                      </a:cubicBezTo>
                      <a:cubicBezTo>
                        <a:pt x="352376" y="402674"/>
                        <a:pt x="352739" y="403283"/>
                        <a:pt x="353384" y="403517"/>
                      </a:cubicBezTo>
                      <a:cubicBezTo>
                        <a:pt x="351358" y="399430"/>
                        <a:pt x="353758" y="392813"/>
                        <a:pt x="358701" y="393399"/>
                      </a:cubicBezTo>
                      <a:cubicBezTo>
                        <a:pt x="357869" y="397029"/>
                        <a:pt x="357377" y="400730"/>
                        <a:pt x="354777" y="403517"/>
                      </a:cubicBezTo>
                      <a:lnTo>
                        <a:pt x="354777" y="403517"/>
                      </a:lnTo>
                      <a:close/>
                      <a:moveTo>
                        <a:pt x="121261" y="389651"/>
                      </a:moveTo>
                      <a:cubicBezTo>
                        <a:pt x="122034" y="389874"/>
                        <a:pt x="121987" y="390963"/>
                        <a:pt x="122795" y="389791"/>
                      </a:cubicBezTo>
                      <a:cubicBezTo>
                        <a:pt x="124962" y="394745"/>
                        <a:pt x="121261" y="396947"/>
                        <a:pt x="120933" y="401398"/>
                      </a:cubicBezTo>
                      <a:cubicBezTo>
                        <a:pt x="120793" y="403107"/>
                        <a:pt x="123838" y="403681"/>
                        <a:pt x="123580" y="405637"/>
                      </a:cubicBezTo>
                      <a:cubicBezTo>
                        <a:pt x="123287" y="407792"/>
                        <a:pt x="121121" y="407312"/>
                        <a:pt x="121168" y="406832"/>
                      </a:cubicBezTo>
                      <a:cubicBezTo>
                        <a:pt x="120922" y="410076"/>
                        <a:pt x="118673" y="419644"/>
                        <a:pt x="124939" y="416201"/>
                      </a:cubicBezTo>
                      <a:cubicBezTo>
                        <a:pt x="125712" y="420839"/>
                        <a:pt x="123381" y="425769"/>
                        <a:pt x="128862" y="425969"/>
                      </a:cubicBezTo>
                      <a:cubicBezTo>
                        <a:pt x="128628" y="426050"/>
                        <a:pt x="127480" y="425898"/>
                        <a:pt x="127093" y="425969"/>
                      </a:cubicBezTo>
                      <a:cubicBezTo>
                        <a:pt x="127597" y="429365"/>
                        <a:pt x="131755" y="431977"/>
                        <a:pt x="131028" y="434284"/>
                      </a:cubicBezTo>
                      <a:cubicBezTo>
                        <a:pt x="130748" y="435185"/>
                        <a:pt x="123966" y="440186"/>
                        <a:pt x="122842" y="440725"/>
                      </a:cubicBezTo>
                      <a:cubicBezTo>
                        <a:pt x="119961" y="442095"/>
                        <a:pt x="116494" y="440666"/>
                        <a:pt x="113157" y="442611"/>
                      </a:cubicBezTo>
                      <a:cubicBezTo>
                        <a:pt x="106634" y="446417"/>
                        <a:pt x="108706" y="452799"/>
                        <a:pt x="104561" y="457004"/>
                      </a:cubicBezTo>
                      <a:cubicBezTo>
                        <a:pt x="100274" y="461349"/>
                        <a:pt x="91291" y="459932"/>
                        <a:pt x="86127" y="462485"/>
                      </a:cubicBezTo>
                      <a:cubicBezTo>
                        <a:pt x="80751" y="465143"/>
                        <a:pt x="83656" y="464511"/>
                        <a:pt x="81758" y="469032"/>
                      </a:cubicBezTo>
                      <a:cubicBezTo>
                        <a:pt x="80529" y="471971"/>
                        <a:pt x="82648" y="476925"/>
                        <a:pt x="78409" y="472170"/>
                      </a:cubicBezTo>
                      <a:cubicBezTo>
                        <a:pt x="78584" y="474021"/>
                        <a:pt x="78889" y="475051"/>
                        <a:pt x="79205" y="476527"/>
                      </a:cubicBezTo>
                      <a:cubicBezTo>
                        <a:pt x="80622" y="476703"/>
                        <a:pt x="79978" y="476597"/>
                        <a:pt x="81407" y="477019"/>
                      </a:cubicBezTo>
                      <a:cubicBezTo>
                        <a:pt x="78104" y="483776"/>
                        <a:pt x="70363" y="494738"/>
                        <a:pt x="63020" y="499985"/>
                      </a:cubicBezTo>
                      <a:cubicBezTo>
                        <a:pt x="59084" y="502796"/>
                        <a:pt x="53276" y="502913"/>
                        <a:pt x="49680" y="505771"/>
                      </a:cubicBezTo>
                      <a:cubicBezTo>
                        <a:pt x="47806" y="507270"/>
                        <a:pt x="47232" y="510830"/>
                        <a:pt x="46143" y="512856"/>
                      </a:cubicBezTo>
                      <a:cubicBezTo>
                        <a:pt x="43192" y="518372"/>
                        <a:pt x="35275" y="526043"/>
                        <a:pt x="29560" y="528901"/>
                      </a:cubicBezTo>
                      <a:cubicBezTo>
                        <a:pt x="25496" y="530951"/>
                        <a:pt x="21526" y="530002"/>
                        <a:pt x="18762" y="532520"/>
                      </a:cubicBezTo>
                      <a:cubicBezTo>
                        <a:pt x="18000" y="533223"/>
                        <a:pt x="17825" y="537193"/>
                        <a:pt x="16654" y="538317"/>
                      </a:cubicBezTo>
                      <a:cubicBezTo>
                        <a:pt x="15131" y="539769"/>
                        <a:pt x="13480" y="538200"/>
                        <a:pt x="10704" y="539582"/>
                      </a:cubicBezTo>
                      <a:cubicBezTo>
                        <a:pt x="6418" y="541714"/>
                        <a:pt x="3045" y="544114"/>
                        <a:pt x="0" y="547921"/>
                      </a:cubicBezTo>
                      <a:cubicBezTo>
                        <a:pt x="47" y="536197"/>
                        <a:pt x="6722" y="531688"/>
                        <a:pt x="12953" y="524181"/>
                      </a:cubicBezTo>
                      <a:cubicBezTo>
                        <a:pt x="16314" y="520129"/>
                        <a:pt x="18692" y="514999"/>
                        <a:pt x="23048" y="511861"/>
                      </a:cubicBezTo>
                      <a:cubicBezTo>
                        <a:pt x="24348" y="510924"/>
                        <a:pt x="28166" y="509624"/>
                        <a:pt x="28295" y="509495"/>
                      </a:cubicBezTo>
                      <a:cubicBezTo>
                        <a:pt x="32523" y="505794"/>
                        <a:pt x="33893" y="498381"/>
                        <a:pt x="41260" y="498908"/>
                      </a:cubicBezTo>
                      <a:cubicBezTo>
                        <a:pt x="41412" y="499083"/>
                        <a:pt x="41646" y="500290"/>
                        <a:pt x="41986" y="500700"/>
                      </a:cubicBezTo>
                      <a:cubicBezTo>
                        <a:pt x="47478" y="493438"/>
                        <a:pt x="55419" y="484432"/>
                        <a:pt x="61216" y="478530"/>
                      </a:cubicBezTo>
                      <a:cubicBezTo>
                        <a:pt x="64226" y="475461"/>
                        <a:pt x="68068" y="473224"/>
                        <a:pt x="71054" y="469617"/>
                      </a:cubicBezTo>
                      <a:cubicBezTo>
                        <a:pt x="74380" y="465600"/>
                        <a:pt x="80903" y="458175"/>
                        <a:pt x="82074" y="453444"/>
                      </a:cubicBezTo>
                      <a:cubicBezTo>
                        <a:pt x="80903" y="460799"/>
                        <a:pt x="83995" y="455153"/>
                        <a:pt x="84979" y="454029"/>
                      </a:cubicBezTo>
                      <a:cubicBezTo>
                        <a:pt x="85154" y="453830"/>
                        <a:pt x="83656" y="451301"/>
                        <a:pt x="84370" y="450375"/>
                      </a:cubicBezTo>
                      <a:cubicBezTo>
                        <a:pt x="84967" y="449638"/>
                        <a:pt x="86548" y="450527"/>
                        <a:pt x="87216" y="449438"/>
                      </a:cubicBezTo>
                      <a:cubicBezTo>
                        <a:pt x="88610" y="447225"/>
                        <a:pt x="92744" y="451019"/>
                        <a:pt x="91362" y="445456"/>
                      </a:cubicBezTo>
                      <a:cubicBezTo>
                        <a:pt x="94102" y="444789"/>
                        <a:pt x="94079" y="443618"/>
                        <a:pt x="95765" y="441908"/>
                      </a:cubicBezTo>
                      <a:cubicBezTo>
                        <a:pt x="94453" y="441697"/>
                        <a:pt x="94453" y="442177"/>
                        <a:pt x="93165" y="442189"/>
                      </a:cubicBezTo>
                      <a:cubicBezTo>
                        <a:pt x="93692" y="438383"/>
                        <a:pt x="97018" y="439120"/>
                        <a:pt x="99560" y="437891"/>
                      </a:cubicBezTo>
                      <a:cubicBezTo>
                        <a:pt x="99150" y="434834"/>
                        <a:pt x="98646" y="437200"/>
                        <a:pt x="100262" y="434623"/>
                      </a:cubicBezTo>
                      <a:cubicBezTo>
                        <a:pt x="99993" y="436485"/>
                        <a:pt x="100953" y="438160"/>
                        <a:pt x="101047" y="439870"/>
                      </a:cubicBezTo>
                      <a:cubicBezTo>
                        <a:pt x="103413" y="437411"/>
                        <a:pt x="105603" y="434998"/>
                        <a:pt x="108484" y="433534"/>
                      </a:cubicBezTo>
                      <a:cubicBezTo>
                        <a:pt x="107804" y="432644"/>
                        <a:pt x="107465" y="431683"/>
                        <a:pt x="107067" y="431016"/>
                      </a:cubicBezTo>
                      <a:cubicBezTo>
                        <a:pt x="112196" y="431262"/>
                        <a:pt x="112173" y="423697"/>
                        <a:pt x="110873" y="420171"/>
                      </a:cubicBezTo>
                      <a:cubicBezTo>
                        <a:pt x="110709" y="419761"/>
                        <a:pt x="106844" y="417150"/>
                        <a:pt x="105650" y="415463"/>
                      </a:cubicBezTo>
                      <a:cubicBezTo>
                        <a:pt x="106598" y="412617"/>
                        <a:pt x="106833" y="412524"/>
                        <a:pt x="106095" y="410170"/>
                      </a:cubicBezTo>
                      <a:cubicBezTo>
                        <a:pt x="107699" y="410439"/>
                        <a:pt x="106399" y="410462"/>
                        <a:pt x="107067" y="411505"/>
                      </a:cubicBezTo>
                      <a:cubicBezTo>
                        <a:pt x="107758" y="411387"/>
                        <a:pt x="108214" y="410778"/>
                        <a:pt x="109210" y="411142"/>
                      </a:cubicBezTo>
                      <a:cubicBezTo>
                        <a:pt x="108613" y="412711"/>
                        <a:pt x="108671" y="412910"/>
                        <a:pt x="108144" y="413659"/>
                      </a:cubicBezTo>
                      <a:cubicBezTo>
                        <a:pt x="108941" y="414128"/>
                        <a:pt x="109749" y="413765"/>
                        <a:pt x="110311" y="414023"/>
                      </a:cubicBezTo>
                      <a:cubicBezTo>
                        <a:pt x="110779" y="417325"/>
                        <a:pt x="115534" y="420487"/>
                        <a:pt x="118380" y="421694"/>
                      </a:cubicBezTo>
                      <a:cubicBezTo>
                        <a:pt x="117595" y="416751"/>
                        <a:pt x="111904" y="414468"/>
                        <a:pt x="112794" y="411142"/>
                      </a:cubicBezTo>
                      <a:cubicBezTo>
                        <a:pt x="110510" y="409502"/>
                        <a:pt x="110615" y="410439"/>
                        <a:pt x="111002" y="406387"/>
                      </a:cubicBezTo>
                      <a:cubicBezTo>
                        <a:pt x="111681" y="407078"/>
                        <a:pt x="111845" y="407078"/>
                        <a:pt x="112794" y="407558"/>
                      </a:cubicBezTo>
                      <a:cubicBezTo>
                        <a:pt x="111587" y="405356"/>
                        <a:pt x="111810" y="404033"/>
                        <a:pt x="111459" y="402171"/>
                      </a:cubicBezTo>
                      <a:cubicBezTo>
                        <a:pt x="115757" y="408249"/>
                        <a:pt x="117396" y="401222"/>
                        <a:pt x="114222" y="397744"/>
                      </a:cubicBezTo>
                      <a:cubicBezTo>
                        <a:pt x="115839" y="396725"/>
                        <a:pt x="119211" y="387543"/>
                        <a:pt x="120172" y="385247"/>
                      </a:cubicBezTo>
                      <a:cubicBezTo>
                        <a:pt x="120617" y="386629"/>
                        <a:pt x="121050" y="388163"/>
                        <a:pt x="121261" y="389651"/>
                      </a:cubicBezTo>
                      <a:lnTo>
                        <a:pt x="121261" y="389651"/>
                      </a:lnTo>
                      <a:close/>
                      <a:moveTo>
                        <a:pt x="377919" y="383994"/>
                      </a:moveTo>
                      <a:cubicBezTo>
                        <a:pt x="378563" y="385083"/>
                        <a:pt x="379196" y="386173"/>
                        <a:pt x="379840" y="387250"/>
                      </a:cubicBezTo>
                      <a:cubicBezTo>
                        <a:pt x="379981" y="386278"/>
                        <a:pt x="380273" y="384966"/>
                        <a:pt x="380343" y="384006"/>
                      </a:cubicBezTo>
                      <a:cubicBezTo>
                        <a:pt x="385965" y="386688"/>
                        <a:pt x="384829" y="393610"/>
                        <a:pt x="392828" y="390693"/>
                      </a:cubicBezTo>
                      <a:cubicBezTo>
                        <a:pt x="397255" y="389077"/>
                        <a:pt x="398028" y="384205"/>
                        <a:pt x="401904" y="385083"/>
                      </a:cubicBezTo>
                      <a:cubicBezTo>
                        <a:pt x="408217" y="386489"/>
                        <a:pt x="403380" y="392555"/>
                        <a:pt x="408182" y="395577"/>
                      </a:cubicBezTo>
                      <a:cubicBezTo>
                        <a:pt x="408838" y="395331"/>
                        <a:pt x="408521" y="394757"/>
                        <a:pt x="409119" y="394511"/>
                      </a:cubicBezTo>
                      <a:cubicBezTo>
                        <a:pt x="408100" y="400531"/>
                        <a:pt x="408803" y="407370"/>
                        <a:pt x="408310" y="413671"/>
                      </a:cubicBezTo>
                      <a:cubicBezTo>
                        <a:pt x="407538" y="423673"/>
                        <a:pt x="414096" y="420628"/>
                        <a:pt x="417083" y="428557"/>
                      </a:cubicBezTo>
                      <a:cubicBezTo>
                        <a:pt x="417961" y="430887"/>
                        <a:pt x="416474" y="434553"/>
                        <a:pt x="417270" y="437153"/>
                      </a:cubicBezTo>
                      <a:cubicBezTo>
                        <a:pt x="418137" y="440010"/>
                        <a:pt x="421193" y="438863"/>
                        <a:pt x="421088" y="441896"/>
                      </a:cubicBezTo>
                      <a:cubicBezTo>
                        <a:pt x="420819" y="450012"/>
                        <a:pt x="411227" y="442833"/>
                        <a:pt x="414834" y="450562"/>
                      </a:cubicBezTo>
                      <a:cubicBezTo>
                        <a:pt x="411133" y="449216"/>
                        <a:pt x="409985" y="440514"/>
                        <a:pt x="407749" y="440233"/>
                      </a:cubicBezTo>
                      <a:cubicBezTo>
                        <a:pt x="404165" y="439800"/>
                        <a:pt x="409224" y="456290"/>
                        <a:pt x="408627" y="459264"/>
                      </a:cubicBezTo>
                      <a:cubicBezTo>
                        <a:pt x="406109" y="457273"/>
                        <a:pt x="398860" y="454650"/>
                        <a:pt x="397313" y="452987"/>
                      </a:cubicBezTo>
                      <a:cubicBezTo>
                        <a:pt x="394596" y="450059"/>
                        <a:pt x="395334" y="445117"/>
                        <a:pt x="395006" y="440549"/>
                      </a:cubicBezTo>
                      <a:cubicBezTo>
                        <a:pt x="394444" y="432538"/>
                        <a:pt x="398965" y="419996"/>
                        <a:pt x="391903" y="412125"/>
                      </a:cubicBezTo>
                      <a:cubicBezTo>
                        <a:pt x="382334" y="401456"/>
                        <a:pt x="383412" y="420183"/>
                        <a:pt x="376326" y="411165"/>
                      </a:cubicBezTo>
                      <a:cubicBezTo>
                        <a:pt x="375015" y="409502"/>
                        <a:pt x="373926" y="389335"/>
                        <a:pt x="374113" y="387801"/>
                      </a:cubicBezTo>
                      <a:cubicBezTo>
                        <a:pt x="369709" y="384767"/>
                        <a:pt x="367426" y="374262"/>
                        <a:pt x="377919" y="383994"/>
                      </a:cubicBezTo>
                      <a:lnTo>
                        <a:pt x="377919" y="383994"/>
                      </a:lnTo>
                      <a:close/>
                      <a:moveTo>
                        <a:pt x="266121" y="367352"/>
                      </a:moveTo>
                      <a:cubicBezTo>
                        <a:pt x="271649" y="368863"/>
                        <a:pt x="283126" y="384709"/>
                        <a:pt x="284918" y="377565"/>
                      </a:cubicBezTo>
                      <a:cubicBezTo>
                        <a:pt x="285902" y="378174"/>
                        <a:pt x="286171" y="378642"/>
                        <a:pt x="287190" y="378935"/>
                      </a:cubicBezTo>
                      <a:cubicBezTo>
                        <a:pt x="287225" y="377729"/>
                        <a:pt x="288139" y="376663"/>
                        <a:pt x="288267" y="375281"/>
                      </a:cubicBezTo>
                      <a:cubicBezTo>
                        <a:pt x="294194" y="373958"/>
                        <a:pt x="295119" y="378513"/>
                        <a:pt x="299733" y="380012"/>
                      </a:cubicBezTo>
                      <a:cubicBezTo>
                        <a:pt x="290083" y="386629"/>
                        <a:pt x="308060" y="380739"/>
                        <a:pt x="311164" y="376007"/>
                      </a:cubicBezTo>
                      <a:cubicBezTo>
                        <a:pt x="309875" y="379521"/>
                        <a:pt x="311328" y="378689"/>
                        <a:pt x="308985" y="380715"/>
                      </a:cubicBezTo>
                      <a:cubicBezTo>
                        <a:pt x="313623" y="382612"/>
                        <a:pt x="309594" y="387883"/>
                        <a:pt x="308669" y="392684"/>
                      </a:cubicBezTo>
                      <a:cubicBezTo>
                        <a:pt x="308435" y="393879"/>
                        <a:pt x="309899" y="396818"/>
                        <a:pt x="309735" y="397217"/>
                      </a:cubicBezTo>
                      <a:cubicBezTo>
                        <a:pt x="308821" y="399313"/>
                        <a:pt x="306737" y="398446"/>
                        <a:pt x="306455" y="398821"/>
                      </a:cubicBezTo>
                      <a:cubicBezTo>
                        <a:pt x="305237" y="400390"/>
                        <a:pt x="302110" y="404384"/>
                        <a:pt x="300049" y="405696"/>
                      </a:cubicBezTo>
                      <a:cubicBezTo>
                        <a:pt x="300717" y="405977"/>
                        <a:pt x="299288" y="404079"/>
                        <a:pt x="299417" y="404232"/>
                      </a:cubicBezTo>
                      <a:cubicBezTo>
                        <a:pt x="297215" y="406972"/>
                        <a:pt x="294978" y="404853"/>
                        <a:pt x="292542" y="407956"/>
                      </a:cubicBezTo>
                      <a:cubicBezTo>
                        <a:pt x="289767" y="411528"/>
                        <a:pt x="292952" y="414643"/>
                        <a:pt x="288900" y="418543"/>
                      </a:cubicBezTo>
                      <a:cubicBezTo>
                        <a:pt x="289439" y="418016"/>
                        <a:pt x="281182" y="422443"/>
                        <a:pt x="281510" y="422291"/>
                      </a:cubicBezTo>
                      <a:cubicBezTo>
                        <a:pt x="277399" y="424095"/>
                        <a:pt x="270747" y="423942"/>
                        <a:pt x="265781" y="425570"/>
                      </a:cubicBezTo>
                      <a:cubicBezTo>
                        <a:pt x="260699" y="427245"/>
                        <a:pt x="258228" y="429880"/>
                        <a:pt x="254152" y="433007"/>
                      </a:cubicBezTo>
                      <a:cubicBezTo>
                        <a:pt x="246528" y="438840"/>
                        <a:pt x="248612" y="437633"/>
                        <a:pt x="249163" y="429107"/>
                      </a:cubicBezTo>
                      <a:cubicBezTo>
                        <a:pt x="249549" y="422912"/>
                        <a:pt x="246961" y="420066"/>
                        <a:pt x="248811" y="413988"/>
                      </a:cubicBezTo>
                      <a:cubicBezTo>
                        <a:pt x="251364" y="405590"/>
                        <a:pt x="252325" y="401901"/>
                        <a:pt x="252770" y="392895"/>
                      </a:cubicBezTo>
                      <a:cubicBezTo>
                        <a:pt x="253028" y="387543"/>
                        <a:pt x="257806" y="378021"/>
                        <a:pt x="256049" y="372868"/>
                      </a:cubicBezTo>
                      <a:cubicBezTo>
                        <a:pt x="254304" y="367727"/>
                        <a:pt x="248156" y="367270"/>
                        <a:pt x="242838" y="366919"/>
                      </a:cubicBezTo>
                      <a:cubicBezTo>
                        <a:pt x="244232" y="364096"/>
                        <a:pt x="244958" y="358463"/>
                        <a:pt x="248788" y="358334"/>
                      </a:cubicBezTo>
                      <a:cubicBezTo>
                        <a:pt x="250627" y="358264"/>
                        <a:pt x="252700" y="361930"/>
                        <a:pt x="254245" y="362703"/>
                      </a:cubicBezTo>
                      <a:cubicBezTo>
                        <a:pt x="258122" y="364659"/>
                        <a:pt x="262561" y="364799"/>
                        <a:pt x="266121" y="367352"/>
                      </a:cubicBezTo>
                      <a:lnTo>
                        <a:pt x="266121" y="367352"/>
                      </a:lnTo>
                      <a:close/>
                      <a:moveTo>
                        <a:pt x="402724" y="324992"/>
                      </a:moveTo>
                      <a:cubicBezTo>
                        <a:pt x="405746" y="324031"/>
                        <a:pt x="406109" y="326385"/>
                        <a:pt x="408580" y="326303"/>
                      </a:cubicBezTo>
                      <a:cubicBezTo>
                        <a:pt x="409529" y="326268"/>
                        <a:pt x="413089" y="324312"/>
                        <a:pt x="412410" y="324195"/>
                      </a:cubicBezTo>
                      <a:cubicBezTo>
                        <a:pt x="418511" y="325132"/>
                        <a:pt x="421252" y="328880"/>
                        <a:pt x="425199" y="333611"/>
                      </a:cubicBezTo>
                      <a:cubicBezTo>
                        <a:pt x="423009" y="336024"/>
                        <a:pt x="423477" y="336434"/>
                        <a:pt x="423383" y="339069"/>
                      </a:cubicBezTo>
                      <a:cubicBezTo>
                        <a:pt x="424121" y="338823"/>
                        <a:pt x="424801" y="338226"/>
                        <a:pt x="425562" y="337944"/>
                      </a:cubicBezTo>
                      <a:cubicBezTo>
                        <a:pt x="425562" y="338015"/>
                        <a:pt x="425480" y="339502"/>
                        <a:pt x="425211" y="339420"/>
                      </a:cubicBezTo>
                      <a:cubicBezTo>
                        <a:pt x="425796" y="339268"/>
                        <a:pt x="426663" y="338835"/>
                        <a:pt x="427354" y="338671"/>
                      </a:cubicBezTo>
                      <a:cubicBezTo>
                        <a:pt x="429239" y="340369"/>
                        <a:pt x="434088" y="341036"/>
                        <a:pt x="435013" y="345639"/>
                      </a:cubicBezTo>
                      <a:cubicBezTo>
                        <a:pt x="433982" y="345615"/>
                        <a:pt x="433139" y="345897"/>
                        <a:pt x="431980" y="345944"/>
                      </a:cubicBezTo>
                      <a:cubicBezTo>
                        <a:pt x="432003" y="345885"/>
                        <a:pt x="433514" y="346669"/>
                        <a:pt x="433432" y="347021"/>
                      </a:cubicBezTo>
                      <a:cubicBezTo>
                        <a:pt x="431382" y="347712"/>
                        <a:pt x="431757" y="347384"/>
                        <a:pt x="430832" y="349094"/>
                      </a:cubicBezTo>
                      <a:cubicBezTo>
                        <a:pt x="431078" y="349129"/>
                        <a:pt x="432963" y="349164"/>
                        <a:pt x="433069" y="349223"/>
                      </a:cubicBezTo>
                      <a:cubicBezTo>
                        <a:pt x="435294" y="352877"/>
                        <a:pt x="430645" y="354704"/>
                        <a:pt x="430153" y="359166"/>
                      </a:cubicBezTo>
                      <a:cubicBezTo>
                        <a:pt x="429626" y="363897"/>
                        <a:pt x="434416" y="365795"/>
                        <a:pt x="430457" y="367961"/>
                      </a:cubicBezTo>
                      <a:cubicBezTo>
                        <a:pt x="431781" y="368301"/>
                        <a:pt x="434111" y="379087"/>
                        <a:pt x="434135" y="383303"/>
                      </a:cubicBezTo>
                      <a:cubicBezTo>
                        <a:pt x="434673" y="383643"/>
                        <a:pt x="440072" y="386910"/>
                        <a:pt x="440224" y="388152"/>
                      </a:cubicBezTo>
                      <a:cubicBezTo>
                        <a:pt x="440658" y="391829"/>
                        <a:pt x="430890" y="397861"/>
                        <a:pt x="439873" y="397041"/>
                      </a:cubicBezTo>
                      <a:cubicBezTo>
                        <a:pt x="439627" y="396104"/>
                        <a:pt x="438866" y="396479"/>
                        <a:pt x="439077" y="395273"/>
                      </a:cubicBezTo>
                      <a:cubicBezTo>
                        <a:pt x="443082" y="396163"/>
                        <a:pt x="447779" y="402955"/>
                        <a:pt x="446642" y="406410"/>
                      </a:cubicBezTo>
                      <a:cubicBezTo>
                        <a:pt x="443738" y="402733"/>
                        <a:pt x="435645" y="395237"/>
                        <a:pt x="434509" y="402838"/>
                      </a:cubicBezTo>
                      <a:cubicBezTo>
                        <a:pt x="431113" y="400835"/>
                        <a:pt x="432518" y="401140"/>
                        <a:pt x="429122" y="402838"/>
                      </a:cubicBezTo>
                      <a:cubicBezTo>
                        <a:pt x="427061" y="400625"/>
                        <a:pt x="424461" y="401468"/>
                        <a:pt x="421369" y="400449"/>
                      </a:cubicBezTo>
                      <a:cubicBezTo>
                        <a:pt x="420690" y="400226"/>
                        <a:pt x="420690" y="403517"/>
                        <a:pt x="419132" y="402452"/>
                      </a:cubicBezTo>
                      <a:cubicBezTo>
                        <a:pt x="417012" y="401023"/>
                        <a:pt x="418863" y="397263"/>
                        <a:pt x="417352" y="395612"/>
                      </a:cubicBezTo>
                      <a:cubicBezTo>
                        <a:pt x="414939" y="392977"/>
                        <a:pt x="412386" y="394289"/>
                        <a:pt x="410337" y="392637"/>
                      </a:cubicBezTo>
                      <a:cubicBezTo>
                        <a:pt x="409774" y="392181"/>
                        <a:pt x="407737" y="392989"/>
                        <a:pt x="407034" y="392321"/>
                      </a:cubicBezTo>
                      <a:cubicBezTo>
                        <a:pt x="405512" y="390881"/>
                        <a:pt x="407807" y="387964"/>
                        <a:pt x="406999" y="386559"/>
                      </a:cubicBezTo>
                      <a:cubicBezTo>
                        <a:pt x="405980" y="384802"/>
                        <a:pt x="404750" y="382753"/>
                        <a:pt x="402361" y="381113"/>
                      </a:cubicBezTo>
                      <a:cubicBezTo>
                        <a:pt x="397150" y="385657"/>
                        <a:pt x="399679" y="378748"/>
                        <a:pt x="401260" y="377494"/>
                      </a:cubicBezTo>
                      <a:cubicBezTo>
                        <a:pt x="409037" y="378490"/>
                        <a:pt x="404586" y="369741"/>
                        <a:pt x="409857" y="369893"/>
                      </a:cubicBezTo>
                      <a:cubicBezTo>
                        <a:pt x="409107" y="365806"/>
                        <a:pt x="407866" y="368476"/>
                        <a:pt x="405734" y="367235"/>
                      </a:cubicBezTo>
                      <a:cubicBezTo>
                        <a:pt x="405523" y="367118"/>
                        <a:pt x="402584" y="367938"/>
                        <a:pt x="401354" y="367387"/>
                      </a:cubicBezTo>
                      <a:cubicBezTo>
                        <a:pt x="399386" y="366521"/>
                        <a:pt x="398566" y="363382"/>
                        <a:pt x="396224" y="362269"/>
                      </a:cubicBezTo>
                      <a:cubicBezTo>
                        <a:pt x="396189" y="362305"/>
                        <a:pt x="396552" y="361426"/>
                        <a:pt x="396951" y="361918"/>
                      </a:cubicBezTo>
                      <a:cubicBezTo>
                        <a:pt x="396552" y="362527"/>
                        <a:pt x="396693" y="360559"/>
                        <a:pt x="396951" y="360114"/>
                      </a:cubicBezTo>
                      <a:cubicBezTo>
                        <a:pt x="397197" y="360021"/>
                        <a:pt x="397841" y="360841"/>
                        <a:pt x="398005" y="360841"/>
                      </a:cubicBezTo>
                      <a:cubicBezTo>
                        <a:pt x="395908" y="359728"/>
                        <a:pt x="397407" y="359306"/>
                        <a:pt x="394503" y="360009"/>
                      </a:cubicBezTo>
                      <a:cubicBezTo>
                        <a:pt x="393671" y="354587"/>
                        <a:pt x="386855" y="353708"/>
                        <a:pt x="381151" y="350031"/>
                      </a:cubicBezTo>
                      <a:cubicBezTo>
                        <a:pt x="376607" y="347103"/>
                        <a:pt x="367332" y="330356"/>
                        <a:pt x="369112" y="325835"/>
                      </a:cubicBezTo>
                      <a:cubicBezTo>
                        <a:pt x="370529" y="322228"/>
                        <a:pt x="403415" y="333588"/>
                        <a:pt x="400534" y="323481"/>
                      </a:cubicBezTo>
                      <a:cubicBezTo>
                        <a:pt x="401588" y="323715"/>
                        <a:pt x="402022" y="324230"/>
                        <a:pt x="402724" y="324992"/>
                      </a:cubicBezTo>
                      <a:lnTo>
                        <a:pt x="402724" y="324992"/>
                      </a:lnTo>
                      <a:close/>
                      <a:moveTo>
                        <a:pt x="321177" y="325765"/>
                      </a:moveTo>
                      <a:cubicBezTo>
                        <a:pt x="320989" y="326537"/>
                        <a:pt x="320217" y="329594"/>
                        <a:pt x="319678" y="331573"/>
                      </a:cubicBezTo>
                      <a:cubicBezTo>
                        <a:pt x="323718" y="325870"/>
                        <a:pt x="331366" y="327849"/>
                        <a:pt x="334423" y="334712"/>
                      </a:cubicBezTo>
                      <a:cubicBezTo>
                        <a:pt x="333287" y="335485"/>
                        <a:pt x="333907" y="334947"/>
                        <a:pt x="333334" y="336188"/>
                      </a:cubicBezTo>
                      <a:cubicBezTo>
                        <a:pt x="338803" y="334009"/>
                        <a:pt x="340477" y="340908"/>
                        <a:pt x="344049" y="344866"/>
                      </a:cubicBezTo>
                      <a:cubicBezTo>
                        <a:pt x="343874" y="343543"/>
                        <a:pt x="344038" y="342898"/>
                        <a:pt x="344120" y="341692"/>
                      </a:cubicBezTo>
                      <a:cubicBezTo>
                        <a:pt x="350702" y="345323"/>
                        <a:pt x="352564" y="349972"/>
                        <a:pt x="357670" y="357163"/>
                      </a:cubicBezTo>
                      <a:cubicBezTo>
                        <a:pt x="356827" y="356156"/>
                        <a:pt x="355714" y="355278"/>
                        <a:pt x="354777" y="354317"/>
                      </a:cubicBezTo>
                      <a:cubicBezTo>
                        <a:pt x="356241" y="358943"/>
                        <a:pt x="357565" y="363710"/>
                        <a:pt x="358396" y="369156"/>
                      </a:cubicBezTo>
                      <a:cubicBezTo>
                        <a:pt x="355819" y="366380"/>
                        <a:pt x="351650" y="361988"/>
                        <a:pt x="347785" y="360103"/>
                      </a:cubicBezTo>
                      <a:cubicBezTo>
                        <a:pt x="345209" y="358850"/>
                        <a:pt x="338112" y="359412"/>
                        <a:pt x="341555" y="355769"/>
                      </a:cubicBezTo>
                      <a:cubicBezTo>
                        <a:pt x="341321" y="355289"/>
                        <a:pt x="341110" y="354809"/>
                        <a:pt x="340876" y="354329"/>
                      </a:cubicBezTo>
                      <a:cubicBezTo>
                        <a:pt x="338709" y="353966"/>
                        <a:pt x="337538" y="352654"/>
                        <a:pt x="337643" y="351014"/>
                      </a:cubicBezTo>
                      <a:cubicBezTo>
                        <a:pt x="333134" y="350160"/>
                        <a:pt x="331928" y="341844"/>
                        <a:pt x="325826" y="343636"/>
                      </a:cubicBezTo>
                      <a:cubicBezTo>
                        <a:pt x="321563" y="344901"/>
                        <a:pt x="315040" y="356273"/>
                        <a:pt x="310976" y="359119"/>
                      </a:cubicBezTo>
                      <a:cubicBezTo>
                        <a:pt x="310636" y="351893"/>
                        <a:pt x="316586" y="347197"/>
                        <a:pt x="317991" y="342289"/>
                      </a:cubicBezTo>
                      <a:cubicBezTo>
                        <a:pt x="316621" y="342547"/>
                        <a:pt x="315426" y="342313"/>
                        <a:pt x="314033" y="342688"/>
                      </a:cubicBezTo>
                      <a:cubicBezTo>
                        <a:pt x="315028" y="338448"/>
                        <a:pt x="316176" y="334782"/>
                        <a:pt x="316000" y="330742"/>
                      </a:cubicBezTo>
                      <a:cubicBezTo>
                        <a:pt x="315766" y="325319"/>
                        <a:pt x="314337" y="320401"/>
                        <a:pt x="321177" y="325765"/>
                      </a:cubicBezTo>
                      <a:lnTo>
                        <a:pt x="321177" y="325765"/>
                      </a:lnTo>
                      <a:close/>
                      <a:moveTo>
                        <a:pt x="197210" y="273847"/>
                      </a:moveTo>
                      <a:cubicBezTo>
                        <a:pt x="196964" y="274292"/>
                        <a:pt x="197328" y="274948"/>
                        <a:pt x="196074" y="275089"/>
                      </a:cubicBezTo>
                      <a:cubicBezTo>
                        <a:pt x="198698" y="279223"/>
                        <a:pt x="203500" y="279000"/>
                        <a:pt x="204659" y="282046"/>
                      </a:cubicBezTo>
                      <a:cubicBezTo>
                        <a:pt x="208816" y="273309"/>
                        <a:pt x="217425" y="288522"/>
                        <a:pt x="221465" y="291836"/>
                      </a:cubicBezTo>
                      <a:cubicBezTo>
                        <a:pt x="221196" y="291614"/>
                        <a:pt x="221934" y="294038"/>
                        <a:pt x="222261" y="294389"/>
                      </a:cubicBezTo>
                      <a:cubicBezTo>
                        <a:pt x="222648" y="294834"/>
                        <a:pt x="226255" y="293101"/>
                        <a:pt x="226700" y="294881"/>
                      </a:cubicBezTo>
                      <a:cubicBezTo>
                        <a:pt x="227368" y="297516"/>
                        <a:pt x="224241" y="299425"/>
                        <a:pt x="223444" y="302271"/>
                      </a:cubicBezTo>
                      <a:cubicBezTo>
                        <a:pt x="221465" y="309404"/>
                        <a:pt x="227543" y="316922"/>
                        <a:pt x="226091" y="322696"/>
                      </a:cubicBezTo>
                      <a:cubicBezTo>
                        <a:pt x="224428" y="329313"/>
                        <a:pt x="216581" y="328107"/>
                        <a:pt x="221465" y="335778"/>
                      </a:cubicBezTo>
                      <a:cubicBezTo>
                        <a:pt x="220610" y="335579"/>
                        <a:pt x="219134" y="335497"/>
                        <a:pt x="218361" y="335251"/>
                      </a:cubicBezTo>
                      <a:cubicBezTo>
                        <a:pt x="218783" y="336867"/>
                        <a:pt x="218279" y="337909"/>
                        <a:pt x="218959" y="339420"/>
                      </a:cubicBezTo>
                      <a:cubicBezTo>
                        <a:pt x="213853" y="334794"/>
                        <a:pt x="214508" y="342547"/>
                        <a:pt x="211100" y="343402"/>
                      </a:cubicBezTo>
                      <a:cubicBezTo>
                        <a:pt x="207786" y="344234"/>
                        <a:pt x="202785" y="341189"/>
                        <a:pt x="203581" y="337265"/>
                      </a:cubicBezTo>
                      <a:cubicBezTo>
                        <a:pt x="204308" y="337488"/>
                        <a:pt x="204670" y="338120"/>
                        <a:pt x="205760" y="338343"/>
                      </a:cubicBezTo>
                      <a:cubicBezTo>
                        <a:pt x="203968" y="337418"/>
                        <a:pt x="203289" y="337687"/>
                        <a:pt x="202879" y="337629"/>
                      </a:cubicBezTo>
                      <a:cubicBezTo>
                        <a:pt x="199354" y="334806"/>
                        <a:pt x="195758" y="330929"/>
                        <a:pt x="194001" y="326994"/>
                      </a:cubicBezTo>
                      <a:cubicBezTo>
                        <a:pt x="192983" y="324722"/>
                        <a:pt x="193720" y="322005"/>
                        <a:pt x="192151" y="319089"/>
                      </a:cubicBezTo>
                      <a:cubicBezTo>
                        <a:pt x="190956" y="316876"/>
                        <a:pt x="188403" y="316993"/>
                        <a:pt x="187642" y="315517"/>
                      </a:cubicBezTo>
                      <a:cubicBezTo>
                        <a:pt x="183227" y="306933"/>
                        <a:pt x="187408" y="291098"/>
                        <a:pt x="173003" y="289553"/>
                      </a:cubicBezTo>
                      <a:cubicBezTo>
                        <a:pt x="172839" y="289166"/>
                        <a:pt x="170789" y="281694"/>
                        <a:pt x="170239" y="281296"/>
                      </a:cubicBezTo>
                      <a:cubicBezTo>
                        <a:pt x="169852" y="281015"/>
                        <a:pt x="165390" y="279680"/>
                        <a:pt x="166386" y="280593"/>
                      </a:cubicBezTo>
                      <a:cubicBezTo>
                        <a:pt x="166011" y="280242"/>
                        <a:pt x="160823" y="282034"/>
                        <a:pt x="162310" y="277302"/>
                      </a:cubicBezTo>
                      <a:cubicBezTo>
                        <a:pt x="163071" y="274901"/>
                        <a:pt x="164559" y="274620"/>
                        <a:pt x="166597" y="273836"/>
                      </a:cubicBezTo>
                      <a:cubicBezTo>
                        <a:pt x="170204" y="272430"/>
                        <a:pt x="179678" y="275674"/>
                        <a:pt x="183332" y="275897"/>
                      </a:cubicBezTo>
                      <a:cubicBezTo>
                        <a:pt x="187970" y="276178"/>
                        <a:pt x="193709" y="274831"/>
                        <a:pt x="197210" y="273847"/>
                      </a:cubicBezTo>
                      <a:lnTo>
                        <a:pt x="197210" y="273847"/>
                      </a:lnTo>
                      <a:close/>
                      <a:moveTo>
                        <a:pt x="367098" y="245072"/>
                      </a:moveTo>
                      <a:cubicBezTo>
                        <a:pt x="368679" y="248152"/>
                        <a:pt x="369792" y="251174"/>
                        <a:pt x="370869" y="253657"/>
                      </a:cubicBezTo>
                      <a:cubicBezTo>
                        <a:pt x="373188" y="251537"/>
                        <a:pt x="376982" y="254090"/>
                        <a:pt x="375143" y="256889"/>
                      </a:cubicBezTo>
                      <a:cubicBezTo>
                        <a:pt x="376432" y="259138"/>
                        <a:pt x="375940" y="260414"/>
                        <a:pt x="375167" y="263740"/>
                      </a:cubicBezTo>
                      <a:cubicBezTo>
                        <a:pt x="374698" y="265731"/>
                        <a:pt x="374944" y="265403"/>
                        <a:pt x="374418" y="266739"/>
                      </a:cubicBezTo>
                      <a:cubicBezTo>
                        <a:pt x="373961" y="267898"/>
                        <a:pt x="371853" y="269175"/>
                        <a:pt x="372251" y="272196"/>
                      </a:cubicBezTo>
                      <a:cubicBezTo>
                        <a:pt x="367941" y="265731"/>
                        <a:pt x="367203" y="274292"/>
                        <a:pt x="364592" y="274035"/>
                      </a:cubicBezTo>
                      <a:cubicBezTo>
                        <a:pt x="361383" y="273742"/>
                        <a:pt x="356393" y="268437"/>
                        <a:pt x="356417" y="265942"/>
                      </a:cubicBezTo>
                      <a:cubicBezTo>
                        <a:pt x="356429" y="265181"/>
                        <a:pt x="360000" y="263623"/>
                        <a:pt x="360410" y="262241"/>
                      </a:cubicBezTo>
                      <a:cubicBezTo>
                        <a:pt x="361242" y="259384"/>
                        <a:pt x="361183" y="257369"/>
                        <a:pt x="361371" y="254523"/>
                      </a:cubicBezTo>
                      <a:cubicBezTo>
                        <a:pt x="361605" y="250857"/>
                        <a:pt x="361031" y="248059"/>
                        <a:pt x="361945" y="244522"/>
                      </a:cubicBezTo>
                      <a:cubicBezTo>
                        <a:pt x="363315" y="244041"/>
                        <a:pt x="365224" y="244077"/>
                        <a:pt x="367098" y="245072"/>
                      </a:cubicBezTo>
                      <a:lnTo>
                        <a:pt x="367098" y="245072"/>
                      </a:lnTo>
                      <a:close/>
                      <a:moveTo>
                        <a:pt x="193580" y="4107"/>
                      </a:moveTo>
                      <a:cubicBezTo>
                        <a:pt x="201017" y="1262"/>
                        <a:pt x="203090" y="-308"/>
                        <a:pt x="210187" y="3229"/>
                      </a:cubicBezTo>
                      <a:cubicBezTo>
                        <a:pt x="216745" y="6497"/>
                        <a:pt x="228351" y="11462"/>
                        <a:pt x="232216" y="17775"/>
                      </a:cubicBezTo>
                      <a:cubicBezTo>
                        <a:pt x="229909" y="11357"/>
                        <a:pt x="241480" y="19918"/>
                        <a:pt x="245591" y="19672"/>
                      </a:cubicBezTo>
                      <a:cubicBezTo>
                        <a:pt x="254351" y="19157"/>
                        <a:pt x="253156" y="12821"/>
                        <a:pt x="257490" y="9249"/>
                      </a:cubicBezTo>
                      <a:cubicBezTo>
                        <a:pt x="261155" y="6216"/>
                        <a:pt x="265793" y="7972"/>
                        <a:pt x="267034" y="14367"/>
                      </a:cubicBezTo>
                      <a:cubicBezTo>
                        <a:pt x="268487" y="21780"/>
                        <a:pt x="263029" y="22295"/>
                        <a:pt x="260746" y="27413"/>
                      </a:cubicBezTo>
                      <a:cubicBezTo>
                        <a:pt x="257630" y="34417"/>
                        <a:pt x="256600" y="48681"/>
                        <a:pt x="258977" y="56587"/>
                      </a:cubicBezTo>
                      <a:cubicBezTo>
                        <a:pt x="259621" y="58730"/>
                        <a:pt x="262080" y="67678"/>
                        <a:pt x="263615" y="69095"/>
                      </a:cubicBezTo>
                      <a:cubicBezTo>
                        <a:pt x="266062" y="71355"/>
                        <a:pt x="268955" y="68720"/>
                        <a:pt x="271497" y="72011"/>
                      </a:cubicBezTo>
                      <a:cubicBezTo>
                        <a:pt x="271415" y="71601"/>
                        <a:pt x="271321" y="71179"/>
                        <a:pt x="271251" y="70770"/>
                      </a:cubicBezTo>
                      <a:cubicBezTo>
                        <a:pt x="272679" y="71952"/>
                        <a:pt x="272773" y="72760"/>
                        <a:pt x="273640" y="74189"/>
                      </a:cubicBezTo>
                      <a:cubicBezTo>
                        <a:pt x="273312" y="74061"/>
                        <a:pt x="272551" y="73042"/>
                        <a:pt x="272106" y="73217"/>
                      </a:cubicBezTo>
                      <a:cubicBezTo>
                        <a:pt x="272082" y="78171"/>
                        <a:pt x="274448" y="80069"/>
                        <a:pt x="275150" y="81708"/>
                      </a:cubicBezTo>
                      <a:cubicBezTo>
                        <a:pt x="275479" y="82481"/>
                        <a:pt x="277294" y="80900"/>
                        <a:pt x="277692" y="84589"/>
                      </a:cubicBezTo>
                      <a:cubicBezTo>
                        <a:pt x="277797" y="85468"/>
                        <a:pt x="275326" y="89051"/>
                        <a:pt x="275010" y="90047"/>
                      </a:cubicBezTo>
                      <a:cubicBezTo>
                        <a:pt x="272762" y="97074"/>
                        <a:pt x="270560" y="103679"/>
                        <a:pt x="266824" y="110390"/>
                      </a:cubicBezTo>
                      <a:cubicBezTo>
                        <a:pt x="264622" y="114336"/>
                        <a:pt x="260816" y="116374"/>
                        <a:pt x="261870" y="120895"/>
                      </a:cubicBezTo>
                      <a:cubicBezTo>
                        <a:pt x="262502" y="120215"/>
                        <a:pt x="261846" y="119888"/>
                        <a:pt x="262608" y="119794"/>
                      </a:cubicBezTo>
                      <a:cubicBezTo>
                        <a:pt x="261600" y="121867"/>
                        <a:pt x="261331" y="124432"/>
                        <a:pt x="260792" y="126399"/>
                      </a:cubicBezTo>
                      <a:cubicBezTo>
                        <a:pt x="261401" y="126177"/>
                        <a:pt x="262022" y="125287"/>
                        <a:pt x="262608" y="124935"/>
                      </a:cubicBezTo>
                      <a:cubicBezTo>
                        <a:pt x="261647" y="129843"/>
                        <a:pt x="254386" y="137069"/>
                        <a:pt x="250393" y="140348"/>
                      </a:cubicBezTo>
                      <a:cubicBezTo>
                        <a:pt x="250697" y="138474"/>
                        <a:pt x="258368" y="128542"/>
                        <a:pt x="257220" y="128004"/>
                      </a:cubicBezTo>
                      <a:cubicBezTo>
                        <a:pt x="257501" y="128144"/>
                        <a:pt x="245099" y="135300"/>
                        <a:pt x="242710" y="136366"/>
                      </a:cubicBezTo>
                      <a:cubicBezTo>
                        <a:pt x="238189" y="138357"/>
                        <a:pt x="230108" y="141425"/>
                        <a:pt x="227953" y="146508"/>
                      </a:cubicBezTo>
                      <a:cubicBezTo>
                        <a:pt x="224896" y="153734"/>
                        <a:pt x="234781" y="154589"/>
                        <a:pt x="229358" y="159390"/>
                      </a:cubicBezTo>
                      <a:cubicBezTo>
                        <a:pt x="229429" y="159437"/>
                        <a:pt x="231139" y="159719"/>
                        <a:pt x="231162" y="160117"/>
                      </a:cubicBezTo>
                      <a:cubicBezTo>
                        <a:pt x="225716" y="163501"/>
                        <a:pt x="224369" y="168819"/>
                        <a:pt x="221570" y="174194"/>
                      </a:cubicBezTo>
                      <a:cubicBezTo>
                        <a:pt x="220212" y="176794"/>
                        <a:pt x="217553" y="174007"/>
                        <a:pt x="218115" y="178961"/>
                      </a:cubicBezTo>
                      <a:cubicBezTo>
                        <a:pt x="218467" y="182052"/>
                        <a:pt x="221161" y="182498"/>
                        <a:pt x="222144" y="184594"/>
                      </a:cubicBezTo>
                      <a:cubicBezTo>
                        <a:pt x="226747" y="194455"/>
                        <a:pt x="229148" y="203040"/>
                        <a:pt x="236210" y="210312"/>
                      </a:cubicBezTo>
                      <a:cubicBezTo>
                        <a:pt x="223128" y="208743"/>
                        <a:pt x="234992" y="228782"/>
                        <a:pt x="236561" y="233279"/>
                      </a:cubicBezTo>
                      <a:cubicBezTo>
                        <a:pt x="238271" y="238186"/>
                        <a:pt x="236748" y="238268"/>
                        <a:pt x="240789" y="243222"/>
                      </a:cubicBezTo>
                      <a:cubicBezTo>
                        <a:pt x="246141" y="249768"/>
                        <a:pt x="254562" y="252193"/>
                        <a:pt x="262596" y="253633"/>
                      </a:cubicBezTo>
                      <a:cubicBezTo>
                        <a:pt x="261554" y="251876"/>
                        <a:pt x="262174" y="251162"/>
                        <a:pt x="260054" y="249253"/>
                      </a:cubicBezTo>
                      <a:cubicBezTo>
                        <a:pt x="263334" y="250483"/>
                        <a:pt x="266215" y="250542"/>
                        <a:pt x="266859" y="247801"/>
                      </a:cubicBezTo>
                      <a:cubicBezTo>
                        <a:pt x="263591" y="245552"/>
                        <a:pt x="260289" y="243749"/>
                        <a:pt x="258989" y="239744"/>
                      </a:cubicBezTo>
                      <a:cubicBezTo>
                        <a:pt x="259715" y="240001"/>
                        <a:pt x="259469" y="240891"/>
                        <a:pt x="260054" y="240868"/>
                      </a:cubicBezTo>
                      <a:cubicBezTo>
                        <a:pt x="261940" y="239076"/>
                        <a:pt x="262772" y="237858"/>
                        <a:pt x="263627" y="235352"/>
                      </a:cubicBezTo>
                      <a:cubicBezTo>
                        <a:pt x="263837" y="237694"/>
                        <a:pt x="264259" y="241172"/>
                        <a:pt x="265805" y="241196"/>
                      </a:cubicBezTo>
                      <a:cubicBezTo>
                        <a:pt x="266238" y="242004"/>
                        <a:pt x="265781" y="243093"/>
                        <a:pt x="266145" y="243772"/>
                      </a:cubicBezTo>
                      <a:cubicBezTo>
                        <a:pt x="269189" y="241219"/>
                        <a:pt x="267784" y="239135"/>
                        <a:pt x="269037" y="238291"/>
                      </a:cubicBezTo>
                      <a:cubicBezTo>
                        <a:pt x="269049" y="238221"/>
                        <a:pt x="268791" y="236605"/>
                        <a:pt x="268662" y="236839"/>
                      </a:cubicBezTo>
                      <a:cubicBezTo>
                        <a:pt x="269189" y="235808"/>
                        <a:pt x="270080" y="234825"/>
                        <a:pt x="270782" y="232447"/>
                      </a:cubicBezTo>
                      <a:cubicBezTo>
                        <a:pt x="271625" y="231815"/>
                        <a:pt x="274928" y="229988"/>
                        <a:pt x="277587" y="231381"/>
                      </a:cubicBezTo>
                      <a:cubicBezTo>
                        <a:pt x="277306" y="231042"/>
                        <a:pt x="277048" y="230655"/>
                        <a:pt x="276860" y="230257"/>
                      </a:cubicBezTo>
                      <a:cubicBezTo>
                        <a:pt x="282060" y="231217"/>
                        <a:pt x="282248" y="233747"/>
                        <a:pt x="286534" y="233173"/>
                      </a:cubicBezTo>
                      <a:cubicBezTo>
                        <a:pt x="285867" y="231569"/>
                        <a:pt x="286124" y="231334"/>
                        <a:pt x="285972" y="230011"/>
                      </a:cubicBezTo>
                      <a:cubicBezTo>
                        <a:pt x="289626" y="231873"/>
                        <a:pt x="293140" y="232752"/>
                        <a:pt x="297695" y="236733"/>
                      </a:cubicBezTo>
                      <a:cubicBezTo>
                        <a:pt x="301080" y="239708"/>
                        <a:pt x="306725" y="245541"/>
                        <a:pt x="306994" y="249640"/>
                      </a:cubicBezTo>
                      <a:cubicBezTo>
                        <a:pt x="307416" y="255765"/>
                        <a:pt x="302087" y="261585"/>
                        <a:pt x="310437" y="262815"/>
                      </a:cubicBezTo>
                      <a:cubicBezTo>
                        <a:pt x="321645" y="264502"/>
                        <a:pt x="316364" y="254371"/>
                        <a:pt x="320170" y="249604"/>
                      </a:cubicBezTo>
                      <a:cubicBezTo>
                        <a:pt x="318764" y="252814"/>
                        <a:pt x="316059" y="252708"/>
                        <a:pt x="314173" y="249488"/>
                      </a:cubicBezTo>
                      <a:cubicBezTo>
                        <a:pt x="314466" y="250003"/>
                        <a:pt x="315661" y="245787"/>
                        <a:pt x="315825" y="245037"/>
                      </a:cubicBezTo>
                      <a:cubicBezTo>
                        <a:pt x="316598" y="245306"/>
                        <a:pt x="318027" y="245529"/>
                        <a:pt x="319057" y="245939"/>
                      </a:cubicBezTo>
                      <a:cubicBezTo>
                        <a:pt x="319116" y="245623"/>
                        <a:pt x="318601" y="244932"/>
                        <a:pt x="318354" y="244849"/>
                      </a:cubicBezTo>
                      <a:cubicBezTo>
                        <a:pt x="320123" y="243842"/>
                        <a:pt x="320064" y="245986"/>
                        <a:pt x="319970" y="243351"/>
                      </a:cubicBezTo>
                      <a:cubicBezTo>
                        <a:pt x="320170" y="245060"/>
                        <a:pt x="321107" y="246337"/>
                        <a:pt x="321048" y="247953"/>
                      </a:cubicBezTo>
                      <a:cubicBezTo>
                        <a:pt x="321716" y="247239"/>
                        <a:pt x="322325" y="247145"/>
                        <a:pt x="323027" y="246665"/>
                      </a:cubicBezTo>
                      <a:cubicBezTo>
                        <a:pt x="323027" y="246735"/>
                        <a:pt x="322114" y="248070"/>
                        <a:pt x="322278" y="248117"/>
                      </a:cubicBezTo>
                      <a:cubicBezTo>
                        <a:pt x="322875" y="249113"/>
                        <a:pt x="324116" y="251045"/>
                        <a:pt x="324456" y="253633"/>
                      </a:cubicBezTo>
                      <a:cubicBezTo>
                        <a:pt x="324889" y="252708"/>
                        <a:pt x="325522" y="252005"/>
                        <a:pt x="325873" y="250705"/>
                      </a:cubicBezTo>
                      <a:cubicBezTo>
                        <a:pt x="328942" y="252930"/>
                        <a:pt x="337503" y="256924"/>
                        <a:pt x="339798" y="252146"/>
                      </a:cubicBezTo>
                      <a:cubicBezTo>
                        <a:pt x="342761" y="258049"/>
                        <a:pt x="352611" y="258002"/>
                        <a:pt x="353032" y="263834"/>
                      </a:cubicBezTo>
                      <a:cubicBezTo>
                        <a:pt x="349343" y="260262"/>
                        <a:pt x="347680" y="264712"/>
                        <a:pt x="343792" y="265134"/>
                      </a:cubicBezTo>
                      <a:cubicBezTo>
                        <a:pt x="338592" y="265696"/>
                        <a:pt x="330862" y="259255"/>
                        <a:pt x="330207" y="268765"/>
                      </a:cubicBezTo>
                      <a:cubicBezTo>
                        <a:pt x="329925" y="273086"/>
                        <a:pt x="335184" y="272934"/>
                        <a:pt x="338147" y="276822"/>
                      </a:cubicBezTo>
                      <a:cubicBezTo>
                        <a:pt x="340770" y="280242"/>
                        <a:pt x="343956" y="285055"/>
                        <a:pt x="345537" y="288885"/>
                      </a:cubicBezTo>
                      <a:cubicBezTo>
                        <a:pt x="346708" y="288838"/>
                        <a:pt x="345443" y="287866"/>
                        <a:pt x="347305" y="289623"/>
                      </a:cubicBezTo>
                      <a:cubicBezTo>
                        <a:pt x="341977" y="288159"/>
                        <a:pt x="340384" y="295725"/>
                        <a:pt x="341567" y="297270"/>
                      </a:cubicBezTo>
                      <a:cubicBezTo>
                        <a:pt x="345045" y="301873"/>
                        <a:pt x="344623" y="294623"/>
                        <a:pt x="348102" y="294178"/>
                      </a:cubicBezTo>
                      <a:cubicBezTo>
                        <a:pt x="351135" y="293792"/>
                        <a:pt x="353630" y="298254"/>
                        <a:pt x="356241" y="298887"/>
                      </a:cubicBezTo>
                      <a:cubicBezTo>
                        <a:pt x="357237" y="299121"/>
                        <a:pt x="358958" y="300585"/>
                        <a:pt x="359591" y="300761"/>
                      </a:cubicBezTo>
                      <a:cubicBezTo>
                        <a:pt x="360094" y="300913"/>
                        <a:pt x="360621" y="297142"/>
                        <a:pt x="361441" y="297587"/>
                      </a:cubicBezTo>
                      <a:cubicBezTo>
                        <a:pt x="364182" y="299039"/>
                        <a:pt x="363725" y="298008"/>
                        <a:pt x="364310" y="300948"/>
                      </a:cubicBezTo>
                      <a:cubicBezTo>
                        <a:pt x="364123" y="299999"/>
                        <a:pt x="361160" y="304860"/>
                        <a:pt x="361043" y="305715"/>
                      </a:cubicBezTo>
                      <a:cubicBezTo>
                        <a:pt x="360668" y="308186"/>
                        <a:pt x="362390" y="311254"/>
                        <a:pt x="362109" y="314158"/>
                      </a:cubicBezTo>
                      <a:cubicBezTo>
                        <a:pt x="361886" y="316477"/>
                        <a:pt x="359696" y="325683"/>
                        <a:pt x="358326" y="326069"/>
                      </a:cubicBezTo>
                      <a:cubicBezTo>
                        <a:pt x="348910" y="328716"/>
                        <a:pt x="348875" y="313421"/>
                        <a:pt x="344085" y="310704"/>
                      </a:cubicBezTo>
                      <a:cubicBezTo>
                        <a:pt x="344869" y="310223"/>
                        <a:pt x="346966" y="308923"/>
                        <a:pt x="347703" y="308525"/>
                      </a:cubicBezTo>
                      <a:cubicBezTo>
                        <a:pt x="351381" y="311313"/>
                        <a:pt x="359579" y="306593"/>
                        <a:pt x="353899" y="303993"/>
                      </a:cubicBezTo>
                      <a:cubicBezTo>
                        <a:pt x="349507" y="301990"/>
                        <a:pt x="344377" y="308291"/>
                        <a:pt x="340524" y="309966"/>
                      </a:cubicBezTo>
                      <a:cubicBezTo>
                        <a:pt x="340454" y="308115"/>
                        <a:pt x="340197" y="309146"/>
                        <a:pt x="340899" y="307600"/>
                      </a:cubicBezTo>
                      <a:cubicBezTo>
                        <a:pt x="340958" y="307565"/>
                        <a:pt x="338510" y="307436"/>
                        <a:pt x="338686" y="307658"/>
                      </a:cubicBezTo>
                      <a:cubicBezTo>
                        <a:pt x="338955" y="307459"/>
                        <a:pt x="339072" y="308958"/>
                        <a:pt x="339084" y="308923"/>
                      </a:cubicBezTo>
                      <a:cubicBezTo>
                        <a:pt x="339131" y="307132"/>
                        <a:pt x="337866" y="307987"/>
                        <a:pt x="339365" y="305621"/>
                      </a:cubicBezTo>
                      <a:cubicBezTo>
                        <a:pt x="335887" y="309052"/>
                        <a:pt x="333298" y="306370"/>
                        <a:pt x="329176" y="303841"/>
                      </a:cubicBezTo>
                      <a:cubicBezTo>
                        <a:pt x="326740" y="302342"/>
                        <a:pt x="325135" y="300796"/>
                        <a:pt x="322758" y="299425"/>
                      </a:cubicBezTo>
                      <a:cubicBezTo>
                        <a:pt x="318916" y="297212"/>
                        <a:pt x="320299" y="303571"/>
                        <a:pt x="318015" y="297259"/>
                      </a:cubicBezTo>
                      <a:cubicBezTo>
                        <a:pt x="316984" y="294460"/>
                        <a:pt x="319268" y="292445"/>
                        <a:pt x="318413" y="289752"/>
                      </a:cubicBezTo>
                      <a:cubicBezTo>
                        <a:pt x="317898" y="288135"/>
                        <a:pt x="315743" y="287901"/>
                        <a:pt x="315180" y="286461"/>
                      </a:cubicBezTo>
                      <a:cubicBezTo>
                        <a:pt x="314337" y="284318"/>
                        <a:pt x="313307" y="280195"/>
                        <a:pt x="311983" y="278684"/>
                      </a:cubicBezTo>
                      <a:cubicBezTo>
                        <a:pt x="307346" y="273391"/>
                        <a:pt x="298304" y="272828"/>
                        <a:pt x="293011" y="267055"/>
                      </a:cubicBezTo>
                      <a:cubicBezTo>
                        <a:pt x="293842" y="266329"/>
                        <a:pt x="294697" y="265602"/>
                        <a:pt x="295529" y="264876"/>
                      </a:cubicBezTo>
                      <a:cubicBezTo>
                        <a:pt x="293971" y="262733"/>
                        <a:pt x="291875" y="260930"/>
                        <a:pt x="290106" y="260485"/>
                      </a:cubicBezTo>
                      <a:cubicBezTo>
                        <a:pt x="290141" y="259594"/>
                        <a:pt x="290680" y="260297"/>
                        <a:pt x="290774" y="259758"/>
                      </a:cubicBezTo>
                      <a:cubicBezTo>
                        <a:pt x="285234" y="256514"/>
                        <a:pt x="283032" y="255601"/>
                        <a:pt x="278535" y="250717"/>
                      </a:cubicBezTo>
                      <a:cubicBezTo>
                        <a:pt x="276029" y="252017"/>
                        <a:pt x="274987" y="252427"/>
                        <a:pt x="272246" y="250694"/>
                      </a:cubicBezTo>
                      <a:cubicBezTo>
                        <a:pt x="274050" y="254711"/>
                        <a:pt x="277540" y="257521"/>
                        <a:pt x="277259" y="262686"/>
                      </a:cubicBezTo>
                      <a:cubicBezTo>
                        <a:pt x="272199" y="265930"/>
                        <a:pt x="282060" y="271236"/>
                        <a:pt x="283524" y="274117"/>
                      </a:cubicBezTo>
                      <a:cubicBezTo>
                        <a:pt x="282482" y="273367"/>
                        <a:pt x="281229" y="272454"/>
                        <a:pt x="280116" y="271833"/>
                      </a:cubicBezTo>
                      <a:cubicBezTo>
                        <a:pt x="282353" y="276342"/>
                        <a:pt x="290364" y="286402"/>
                        <a:pt x="284871" y="290794"/>
                      </a:cubicBezTo>
                      <a:cubicBezTo>
                        <a:pt x="277715" y="296533"/>
                        <a:pt x="274190" y="276483"/>
                        <a:pt x="269049" y="272266"/>
                      </a:cubicBezTo>
                      <a:cubicBezTo>
                        <a:pt x="265992" y="269760"/>
                        <a:pt x="263018" y="269854"/>
                        <a:pt x="260253" y="267348"/>
                      </a:cubicBezTo>
                      <a:cubicBezTo>
                        <a:pt x="255792" y="263307"/>
                        <a:pt x="255077" y="261058"/>
                        <a:pt x="251317" y="258903"/>
                      </a:cubicBezTo>
                      <a:cubicBezTo>
                        <a:pt x="248706" y="257404"/>
                        <a:pt x="245532" y="255999"/>
                        <a:pt x="242780" y="254324"/>
                      </a:cubicBezTo>
                      <a:cubicBezTo>
                        <a:pt x="238119" y="251478"/>
                        <a:pt x="239056" y="251642"/>
                        <a:pt x="234722" y="252275"/>
                      </a:cubicBezTo>
                      <a:cubicBezTo>
                        <a:pt x="230659" y="252884"/>
                        <a:pt x="214625" y="259922"/>
                        <a:pt x="222566" y="264865"/>
                      </a:cubicBezTo>
                      <a:cubicBezTo>
                        <a:pt x="217858" y="267523"/>
                        <a:pt x="209754" y="271505"/>
                        <a:pt x="203699" y="268308"/>
                      </a:cubicBezTo>
                      <a:cubicBezTo>
                        <a:pt x="199904" y="266294"/>
                        <a:pt x="203183" y="266036"/>
                        <a:pt x="201110" y="264267"/>
                      </a:cubicBezTo>
                      <a:cubicBezTo>
                        <a:pt x="197866" y="261515"/>
                        <a:pt x="198136" y="256479"/>
                        <a:pt x="192889" y="265216"/>
                      </a:cubicBezTo>
                      <a:cubicBezTo>
                        <a:pt x="193299" y="262862"/>
                        <a:pt x="195184" y="259653"/>
                        <a:pt x="193943" y="256678"/>
                      </a:cubicBezTo>
                      <a:cubicBezTo>
                        <a:pt x="192139" y="252357"/>
                        <a:pt x="180100" y="249464"/>
                        <a:pt x="183918" y="256315"/>
                      </a:cubicBezTo>
                      <a:cubicBezTo>
                        <a:pt x="180428" y="255835"/>
                        <a:pt x="179831" y="257557"/>
                        <a:pt x="180791" y="260566"/>
                      </a:cubicBezTo>
                      <a:cubicBezTo>
                        <a:pt x="177711" y="257908"/>
                        <a:pt x="178729" y="253903"/>
                        <a:pt x="177582" y="250272"/>
                      </a:cubicBezTo>
                      <a:cubicBezTo>
                        <a:pt x="179772" y="248714"/>
                        <a:pt x="179538" y="243257"/>
                        <a:pt x="176469" y="241547"/>
                      </a:cubicBezTo>
                      <a:cubicBezTo>
                        <a:pt x="176879" y="239556"/>
                        <a:pt x="177816" y="241196"/>
                        <a:pt x="176118" y="239345"/>
                      </a:cubicBezTo>
                      <a:cubicBezTo>
                        <a:pt x="178004" y="236792"/>
                        <a:pt x="180709" y="234380"/>
                        <a:pt x="184433" y="231381"/>
                      </a:cubicBezTo>
                      <a:cubicBezTo>
                        <a:pt x="186928" y="229367"/>
                        <a:pt x="195664" y="224612"/>
                        <a:pt x="196824" y="221919"/>
                      </a:cubicBezTo>
                      <a:cubicBezTo>
                        <a:pt x="203148" y="207150"/>
                        <a:pt x="177675" y="210781"/>
                        <a:pt x="178613" y="202149"/>
                      </a:cubicBezTo>
                      <a:cubicBezTo>
                        <a:pt x="178390" y="203274"/>
                        <a:pt x="178097" y="204199"/>
                        <a:pt x="177886" y="205054"/>
                      </a:cubicBezTo>
                      <a:cubicBezTo>
                        <a:pt x="177863" y="204316"/>
                        <a:pt x="177312" y="204819"/>
                        <a:pt x="177172" y="205054"/>
                      </a:cubicBezTo>
                      <a:cubicBezTo>
                        <a:pt x="177277" y="203344"/>
                        <a:pt x="176774" y="201002"/>
                        <a:pt x="176739" y="200545"/>
                      </a:cubicBezTo>
                      <a:cubicBezTo>
                        <a:pt x="176106" y="201646"/>
                        <a:pt x="176387" y="202782"/>
                        <a:pt x="176106" y="203965"/>
                      </a:cubicBezTo>
                      <a:cubicBezTo>
                        <a:pt x="169290" y="205136"/>
                        <a:pt x="184855" y="226603"/>
                        <a:pt x="171457" y="225889"/>
                      </a:cubicBezTo>
                      <a:cubicBezTo>
                        <a:pt x="164629" y="225526"/>
                        <a:pt x="168283" y="220817"/>
                        <a:pt x="165905" y="216590"/>
                      </a:cubicBezTo>
                      <a:cubicBezTo>
                        <a:pt x="164524" y="214119"/>
                        <a:pt x="155962" y="212854"/>
                        <a:pt x="160413" y="208849"/>
                      </a:cubicBezTo>
                      <a:cubicBezTo>
                        <a:pt x="160202" y="206436"/>
                        <a:pt x="159382" y="207338"/>
                        <a:pt x="161432" y="204656"/>
                      </a:cubicBezTo>
                      <a:cubicBezTo>
                        <a:pt x="160413" y="203777"/>
                        <a:pt x="158574" y="202477"/>
                        <a:pt x="157110" y="201763"/>
                      </a:cubicBezTo>
                      <a:cubicBezTo>
                        <a:pt x="157169" y="206494"/>
                        <a:pt x="154581" y="210512"/>
                        <a:pt x="150352" y="205827"/>
                      </a:cubicBezTo>
                      <a:cubicBezTo>
                        <a:pt x="150786" y="205335"/>
                        <a:pt x="151219" y="205464"/>
                        <a:pt x="151430" y="204656"/>
                      </a:cubicBezTo>
                      <a:cubicBezTo>
                        <a:pt x="147917" y="202817"/>
                        <a:pt x="148116" y="187908"/>
                        <a:pt x="146300" y="183118"/>
                      </a:cubicBezTo>
                      <a:cubicBezTo>
                        <a:pt x="144719" y="178937"/>
                        <a:pt x="139882" y="173269"/>
                        <a:pt x="141077" y="169591"/>
                      </a:cubicBezTo>
                      <a:cubicBezTo>
                        <a:pt x="144778" y="169802"/>
                        <a:pt x="144731" y="167425"/>
                        <a:pt x="142494" y="164789"/>
                      </a:cubicBezTo>
                      <a:cubicBezTo>
                        <a:pt x="142412" y="165047"/>
                        <a:pt x="142295" y="165317"/>
                        <a:pt x="142155" y="165551"/>
                      </a:cubicBezTo>
                      <a:cubicBezTo>
                        <a:pt x="141393" y="161827"/>
                        <a:pt x="142998" y="158243"/>
                        <a:pt x="139273" y="155690"/>
                      </a:cubicBezTo>
                      <a:cubicBezTo>
                        <a:pt x="142084" y="152375"/>
                        <a:pt x="140058" y="140055"/>
                        <a:pt x="134238" y="146508"/>
                      </a:cubicBezTo>
                      <a:cubicBezTo>
                        <a:pt x="132856" y="142854"/>
                        <a:pt x="132703" y="129796"/>
                        <a:pt x="134671" y="125813"/>
                      </a:cubicBezTo>
                      <a:cubicBezTo>
                        <a:pt x="135748" y="123624"/>
                        <a:pt x="135807" y="122172"/>
                        <a:pt x="138465" y="121609"/>
                      </a:cubicBezTo>
                      <a:cubicBezTo>
                        <a:pt x="144672" y="120286"/>
                        <a:pt x="139707" y="124724"/>
                        <a:pt x="141405" y="127219"/>
                      </a:cubicBezTo>
                      <a:cubicBezTo>
                        <a:pt x="142693" y="129128"/>
                        <a:pt x="149334" y="134738"/>
                        <a:pt x="151313" y="136284"/>
                      </a:cubicBezTo>
                      <a:cubicBezTo>
                        <a:pt x="153643" y="138123"/>
                        <a:pt x="161643" y="140418"/>
                        <a:pt x="161795" y="141015"/>
                      </a:cubicBezTo>
                      <a:cubicBezTo>
                        <a:pt x="163001" y="140289"/>
                        <a:pt x="164640" y="139106"/>
                        <a:pt x="165355" y="138415"/>
                      </a:cubicBezTo>
                      <a:cubicBezTo>
                        <a:pt x="164863" y="138357"/>
                        <a:pt x="163926" y="138521"/>
                        <a:pt x="163235" y="138415"/>
                      </a:cubicBezTo>
                      <a:cubicBezTo>
                        <a:pt x="166784" y="135089"/>
                        <a:pt x="168974" y="130369"/>
                        <a:pt x="164652" y="126329"/>
                      </a:cubicBezTo>
                      <a:cubicBezTo>
                        <a:pt x="164652" y="126692"/>
                        <a:pt x="164652" y="127055"/>
                        <a:pt x="164652" y="127430"/>
                      </a:cubicBezTo>
                      <a:cubicBezTo>
                        <a:pt x="161596" y="122371"/>
                        <a:pt x="162275" y="113786"/>
                        <a:pt x="161092" y="108703"/>
                      </a:cubicBezTo>
                      <a:cubicBezTo>
                        <a:pt x="160635" y="109019"/>
                        <a:pt x="162252" y="109043"/>
                        <a:pt x="162193" y="109066"/>
                      </a:cubicBezTo>
                      <a:cubicBezTo>
                        <a:pt x="162439" y="106536"/>
                        <a:pt x="161783" y="102215"/>
                        <a:pt x="162497" y="99990"/>
                      </a:cubicBezTo>
                      <a:cubicBezTo>
                        <a:pt x="163809" y="95891"/>
                        <a:pt x="167896" y="93045"/>
                        <a:pt x="168880" y="88641"/>
                      </a:cubicBezTo>
                      <a:cubicBezTo>
                        <a:pt x="169934" y="83945"/>
                        <a:pt x="167697" y="75747"/>
                        <a:pt x="167651" y="70723"/>
                      </a:cubicBezTo>
                      <a:cubicBezTo>
                        <a:pt x="167639" y="69282"/>
                        <a:pt x="169478" y="68685"/>
                        <a:pt x="169126" y="66577"/>
                      </a:cubicBezTo>
                      <a:cubicBezTo>
                        <a:pt x="168482" y="62817"/>
                        <a:pt x="164875" y="61178"/>
                        <a:pt x="164418" y="59667"/>
                      </a:cubicBezTo>
                      <a:cubicBezTo>
                        <a:pt x="163130" y="55404"/>
                        <a:pt x="166093" y="49829"/>
                        <a:pt x="166924" y="46937"/>
                      </a:cubicBezTo>
                      <a:cubicBezTo>
                        <a:pt x="168014" y="43201"/>
                        <a:pt x="170016" y="38844"/>
                        <a:pt x="170977" y="34710"/>
                      </a:cubicBezTo>
                      <a:cubicBezTo>
                        <a:pt x="172792" y="26886"/>
                        <a:pt x="174185" y="19719"/>
                        <a:pt x="176422" y="11743"/>
                      </a:cubicBezTo>
                      <a:cubicBezTo>
                        <a:pt x="177195" y="8956"/>
                        <a:pt x="174631" y="8757"/>
                        <a:pt x="177547" y="6028"/>
                      </a:cubicBezTo>
                      <a:cubicBezTo>
                        <a:pt x="178940" y="4728"/>
                        <a:pt x="183403" y="5806"/>
                        <a:pt x="185557" y="4810"/>
                      </a:cubicBezTo>
                      <a:cubicBezTo>
                        <a:pt x="188193" y="3616"/>
                        <a:pt x="189551" y="-4945"/>
                        <a:pt x="193580" y="4107"/>
                      </a:cubicBezTo>
                      <a:lnTo>
                        <a:pt x="193580" y="4107"/>
                      </a:lnTo>
                      <a:close/>
                    </a:path>
                  </a:pathLst>
                </a:custGeom>
                <a:solidFill>
                  <a:srgbClr val="D6D6D2"/>
                </a:solidFill>
                <a:ln w="8774" cap="rnd">
                  <a:solidFill>
                    <a:srgbClr val="FFFFFF"/>
                  </a:solidFill>
                  <a:prstDash val="solid"/>
                  <a:round/>
                </a:ln>
              </p:spPr>
              <p:txBody>
                <a:bodyPr rtlCol="0" anchor="ctr"/>
                <a:lstStyle/>
                <a:p>
                  <a:endParaRPr lang="en-US"/>
                </a:p>
              </p:txBody>
            </p:sp>
            <p:sp>
              <p:nvSpPr>
                <p:cNvPr id="113" name="Freeform: Shape 112">
                  <a:extLst>
                    <a:ext uri="{FF2B5EF4-FFF2-40B4-BE49-F238E27FC236}">
                      <a16:creationId xmlns:a16="http://schemas.microsoft.com/office/drawing/2014/main" id="{1CA55C8A-8F0F-40C9-8007-62AA75825B50}"/>
                    </a:ext>
                  </a:extLst>
                </p:cNvPr>
                <p:cNvSpPr/>
                <p:nvPr/>
              </p:nvSpPr>
              <p:spPr>
                <a:xfrm>
                  <a:off x="292952" y="4055541"/>
                  <a:ext cx="845020" cy="765823"/>
                </a:xfrm>
                <a:custGeom>
                  <a:avLst/>
                  <a:gdLst>
                    <a:gd name="connsiteX0" fmla="*/ 727555 w 845020"/>
                    <a:gd name="connsiteY0" fmla="*/ 2068 h 765823"/>
                    <a:gd name="connsiteX1" fmla="*/ 731724 w 845020"/>
                    <a:gd name="connsiteY1" fmla="*/ 8557 h 765823"/>
                    <a:gd name="connsiteX2" fmla="*/ 758567 w 845020"/>
                    <a:gd name="connsiteY2" fmla="*/ 10266 h 765823"/>
                    <a:gd name="connsiteX3" fmla="*/ 759820 w 845020"/>
                    <a:gd name="connsiteY3" fmla="*/ 18101 h 765823"/>
                    <a:gd name="connsiteX4" fmla="*/ 765665 w 845020"/>
                    <a:gd name="connsiteY4" fmla="*/ 17797 h 765823"/>
                    <a:gd name="connsiteX5" fmla="*/ 785234 w 845020"/>
                    <a:gd name="connsiteY5" fmla="*/ 27904 h 765823"/>
                    <a:gd name="connsiteX6" fmla="*/ 789615 w 845020"/>
                    <a:gd name="connsiteY6" fmla="*/ 46010 h 765823"/>
                    <a:gd name="connsiteX7" fmla="*/ 788924 w 845020"/>
                    <a:gd name="connsiteY7" fmla="*/ 51058 h 765823"/>
                    <a:gd name="connsiteX8" fmla="*/ 786722 w 845020"/>
                    <a:gd name="connsiteY8" fmla="*/ 54958 h 765823"/>
                    <a:gd name="connsiteX9" fmla="*/ 795189 w 845020"/>
                    <a:gd name="connsiteY9" fmla="*/ 64022 h 765823"/>
                    <a:gd name="connsiteX10" fmla="*/ 802837 w 845020"/>
                    <a:gd name="connsiteY10" fmla="*/ 73731 h 765823"/>
                    <a:gd name="connsiteX11" fmla="*/ 813073 w 845020"/>
                    <a:gd name="connsiteY11" fmla="*/ 71073 h 765823"/>
                    <a:gd name="connsiteX12" fmla="*/ 817055 w 845020"/>
                    <a:gd name="connsiteY12" fmla="*/ 69972 h 765823"/>
                    <a:gd name="connsiteX13" fmla="*/ 819303 w 845020"/>
                    <a:gd name="connsiteY13" fmla="*/ 75640 h 765823"/>
                    <a:gd name="connsiteX14" fmla="*/ 831401 w 845020"/>
                    <a:gd name="connsiteY14" fmla="*/ 84588 h 765823"/>
                    <a:gd name="connsiteX15" fmla="*/ 844916 w 845020"/>
                    <a:gd name="connsiteY15" fmla="*/ 114850 h 765823"/>
                    <a:gd name="connsiteX16" fmla="*/ 839892 w 845020"/>
                    <a:gd name="connsiteY16" fmla="*/ 125543 h 765823"/>
                    <a:gd name="connsiteX17" fmla="*/ 829914 w 845020"/>
                    <a:gd name="connsiteY17" fmla="*/ 127370 h 765823"/>
                    <a:gd name="connsiteX18" fmla="*/ 827923 w 845020"/>
                    <a:gd name="connsiteY18" fmla="*/ 133940 h 765823"/>
                    <a:gd name="connsiteX19" fmla="*/ 818027 w 845020"/>
                    <a:gd name="connsiteY19" fmla="*/ 138133 h 765823"/>
                    <a:gd name="connsiteX20" fmla="*/ 810742 w 845020"/>
                    <a:gd name="connsiteY20" fmla="*/ 137079 h 765823"/>
                    <a:gd name="connsiteX21" fmla="*/ 798164 w 845020"/>
                    <a:gd name="connsiteY21" fmla="*/ 142009 h 765823"/>
                    <a:gd name="connsiteX22" fmla="*/ 790598 w 845020"/>
                    <a:gd name="connsiteY22" fmla="*/ 142267 h 765823"/>
                    <a:gd name="connsiteX23" fmla="*/ 784040 w 845020"/>
                    <a:gd name="connsiteY23" fmla="*/ 147256 h 765823"/>
                    <a:gd name="connsiteX24" fmla="*/ 769483 w 845020"/>
                    <a:gd name="connsiteY24" fmla="*/ 151414 h 765823"/>
                    <a:gd name="connsiteX25" fmla="*/ 750685 w 845020"/>
                    <a:gd name="connsiteY25" fmla="*/ 143778 h 765823"/>
                    <a:gd name="connsiteX26" fmla="*/ 728562 w 845020"/>
                    <a:gd name="connsiteY26" fmla="*/ 141881 h 765823"/>
                    <a:gd name="connsiteX27" fmla="*/ 702680 w 845020"/>
                    <a:gd name="connsiteY27" fmla="*/ 135591 h 765823"/>
                    <a:gd name="connsiteX28" fmla="*/ 682712 w 845020"/>
                    <a:gd name="connsiteY28" fmla="*/ 142560 h 765823"/>
                    <a:gd name="connsiteX29" fmla="*/ 682314 w 845020"/>
                    <a:gd name="connsiteY29" fmla="*/ 147690 h 765823"/>
                    <a:gd name="connsiteX30" fmla="*/ 678168 w 845020"/>
                    <a:gd name="connsiteY30" fmla="*/ 152409 h 765823"/>
                    <a:gd name="connsiteX31" fmla="*/ 675685 w 845020"/>
                    <a:gd name="connsiteY31" fmla="*/ 161415 h 765823"/>
                    <a:gd name="connsiteX32" fmla="*/ 684691 w 845020"/>
                    <a:gd name="connsiteY32" fmla="*/ 166229 h 765823"/>
                    <a:gd name="connsiteX33" fmla="*/ 680264 w 845020"/>
                    <a:gd name="connsiteY33" fmla="*/ 175493 h 765823"/>
                    <a:gd name="connsiteX34" fmla="*/ 697995 w 845020"/>
                    <a:gd name="connsiteY34" fmla="*/ 187345 h 765823"/>
                    <a:gd name="connsiteX35" fmla="*/ 684457 w 845020"/>
                    <a:gd name="connsiteY35" fmla="*/ 196468 h 765823"/>
                    <a:gd name="connsiteX36" fmla="*/ 694376 w 845020"/>
                    <a:gd name="connsiteY36" fmla="*/ 210522 h 765823"/>
                    <a:gd name="connsiteX37" fmla="*/ 686073 w 845020"/>
                    <a:gd name="connsiteY37" fmla="*/ 224166 h 765823"/>
                    <a:gd name="connsiteX38" fmla="*/ 694259 w 845020"/>
                    <a:gd name="connsiteY38" fmla="*/ 237037 h 765823"/>
                    <a:gd name="connsiteX39" fmla="*/ 703652 w 845020"/>
                    <a:gd name="connsiteY39" fmla="*/ 247858 h 765823"/>
                    <a:gd name="connsiteX40" fmla="*/ 707669 w 845020"/>
                    <a:gd name="connsiteY40" fmla="*/ 252121 h 765823"/>
                    <a:gd name="connsiteX41" fmla="*/ 713443 w 845020"/>
                    <a:gd name="connsiteY41" fmla="*/ 254171 h 765823"/>
                    <a:gd name="connsiteX42" fmla="*/ 719029 w 845020"/>
                    <a:gd name="connsiteY42" fmla="*/ 250529 h 765823"/>
                    <a:gd name="connsiteX43" fmla="*/ 720083 w 845020"/>
                    <a:gd name="connsiteY43" fmla="*/ 255752 h 765823"/>
                    <a:gd name="connsiteX44" fmla="*/ 720329 w 845020"/>
                    <a:gd name="connsiteY44" fmla="*/ 267475 h 765823"/>
                    <a:gd name="connsiteX45" fmla="*/ 735660 w 845020"/>
                    <a:gd name="connsiteY45" fmla="*/ 271398 h 765823"/>
                    <a:gd name="connsiteX46" fmla="*/ 754480 w 845020"/>
                    <a:gd name="connsiteY46" fmla="*/ 286155 h 765823"/>
                    <a:gd name="connsiteX47" fmla="*/ 747441 w 845020"/>
                    <a:gd name="connsiteY47" fmla="*/ 292362 h 765823"/>
                    <a:gd name="connsiteX48" fmla="*/ 739536 w 845020"/>
                    <a:gd name="connsiteY48" fmla="*/ 291905 h 765823"/>
                    <a:gd name="connsiteX49" fmla="*/ 739934 w 845020"/>
                    <a:gd name="connsiteY49" fmla="*/ 293545 h 765823"/>
                    <a:gd name="connsiteX50" fmla="*/ 733610 w 845020"/>
                    <a:gd name="connsiteY50" fmla="*/ 295536 h 765823"/>
                    <a:gd name="connsiteX51" fmla="*/ 728972 w 845020"/>
                    <a:gd name="connsiteY51" fmla="*/ 296543 h 765823"/>
                    <a:gd name="connsiteX52" fmla="*/ 726806 w 845020"/>
                    <a:gd name="connsiteY52" fmla="*/ 300748 h 765823"/>
                    <a:gd name="connsiteX53" fmla="*/ 723468 w 845020"/>
                    <a:gd name="connsiteY53" fmla="*/ 300431 h 765823"/>
                    <a:gd name="connsiteX54" fmla="*/ 720809 w 845020"/>
                    <a:gd name="connsiteY54" fmla="*/ 303172 h 765823"/>
                    <a:gd name="connsiteX55" fmla="*/ 715305 w 845020"/>
                    <a:gd name="connsiteY55" fmla="*/ 306990 h 765823"/>
                    <a:gd name="connsiteX56" fmla="*/ 712974 w 845020"/>
                    <a:gd name="connsiteY56" fmla="*/ 312681 h 765823"/>
                    <a:gd name="connsiteX57" fmla="*/ 717073 w 845020"/>
                    <a:gd name="connsiteY57" fmla="*/ 325822 h 765823"/>
                    <a:gd name="connsiteX58" fmla="*/ 716008 w 845020"/>
                    <a:gd name="connsiteY58" fmla="*/ 332638 h 765823"/>
                    <a:gd name="connsiteX59" fmla="*/ 712693 w 845020"/>
                    <a:gd name="connsiteY59" fmla="*/ 345509 h 765823"/>
                    <a:gd name="connsiteX60" fmla="*/ 720563 w 845020"/>
                    <a:gd name="connsiteY60" fmla="*/ 350229 h 765823"/>
                    <a:gd name="connsiteX61" fmla="*/ 708044 w 845020"/>
                    <a:gd name="connsiteY61" fmla="*/ 359434 h 765823"/>
                    <a:gd name="connsiteX62" fmla="*/ 699834 w 845020"/>
                    <a:gd name="connsiteY62" fmla="*/ 366227 h 765823"/>
                    <a:gd name="connsiteX63" fmla="*/ 691601 w 845020"/>
                    <a:gd name="connsiteY63" fmla="*/ 375619 h 765823"/>
                    <a:gd name="connsiteX64" fmla="*/ 680990 w 845020"/>
                    <a:gd name="connsiteY64" fmla="*/ 388197 h 765823"/>
                    <a:gd name="connsiteX65" fmla="*/ 681318 w 845020"/>
                    <a:gd name="connsiteY65" fmla="*/ 389767 h 765823"/>
                    <a:gd name="connsiteX66" fmla="*/ 677980 w 845020"/>
                    <a:gd name="connsiteY66" fmla="*/ 392168 h 765823"/>
                    <a:gd name="connsiteX67" fmla="*/ 672593 w 845020"/>
                    <a:gd name="connsiteY67" fmla="*/ 409536 h 765823"/>
                    <a:gd name="connsiteX68" fmla="*/ 650692 w 845020"/>
                    <a:gd name="connsiteY68" fmla="*/ 424690 h 765823"/>
                    <a:gd name="connsiteX69" fmla="*/ 636650 w 845020"/>
                    <a:gd name="connsiteY69" fmla="*/ 456417 h 765823"/>
                    <a:gd name="connsiteX70" fmla="*/ 616343 w 845020"/>
                    <a:gd name="connsiteY70" fmla="*/ 474277 h 765823"/>
                    <a:gd name="connsiteX71" fmla="*/ 593763 w 845020"/>
                    <a:gd name="connsiteY71" fmla="*/ 495030 h 765823"/>
                    <a:gd name="connsiteX72" fmla="*/ 588727 w 845020"/>
                    <a:gd name="connsiteY72" fmla="*/ 506823 h 765823"/>
                    <a:gd name="connsiteX73" fmla="*/ 577191 w 845020"/>
                    <a:gd name="connsiteY73" fmla="*/ 518125 h 765823"/>
                    <a:gd name="connsiteX74" fmla="*/ 574977 w 845020"/>
                    <a:gd name="connsiteY74" fmla="*/ 528396 h 765823"/>
                    <a:gd name="connsiteX75" fmla="*/ 556871 w 845020"/>
                    <a:gd name="connsiteY75" fmla="*/ 533409 h 765823"/>
                    <a:gd name="connsiteX76" fmla="*/ 528073 w 845020"/>
                    <a:gd name="connsiteY76" fmla="*/ 540400 h 765823"/>
                    <a:gd name="connsiteX77" fmla="*/ 498349 w 845020"/>
                    <a:gd name="connsiteY77" fmla="*/ 524625 h 765823"/>
                    <a:gd name="connsiteX78" fmla="*/ 480805 w 845020"/>
                    <a:gd name="connsiteY78" fmla="*/ 541677 h 765823"/>
                    <a:gd name="connsiteX79" fmla="*/ 460263 w 845020"/>
                    <a:gd name="connsiteY79" fmla="*/ 566857 h 765823"/>
                    <a:gd name="connsiteX80" fmla="*/ 449746 w 845020"/>
                    <a:gd name="connsiteY80" fmla="*/ 593418 h 765823"/>
                    <a:gd name="connsiteX81" fmla="*/ 474270 w 845020"/>
                    <a:gd name="connsiteY81" fmla="*/ 605341 h 765823"/>
                    <a:gd name="connsiteX82" fmla="*/ 481110 w 845020"/>
                    <a:gd name="connsiteY82" fmla="*/ 636868 h 765823"/>
                    <a:gd name="connsiteX83" fmla="*/ 494871 w 845020"/>
                    <a:gd name="connsiteY83" fmla="*/ 655935 h 765823"/>
                    <a:gd name="connsiteX84" fmla="*/ 511653 w 845020"/>
                    <a:gd name="connsiteY84" fmla="*/ 663161 h 765823"/>
                    <a:gd name="connsiteX85" fmla="*/ 521467 w 845020"/>
                    <a:gd name="connsiteY85" fmla="*/ 684101 h 765823"/>
                    <a:gd name="connsiteX86" fmla="*/ 533085 w 845020"/>
                    <a:gd name="connsiteY86" fmla="*/ 711319 h 765823"/>
                    <a:gd name="connsiteX87" fmla="*/ 529759 w 845020"/>
                    <a:gd name="connsiteY87" fmla="*/ 724037 h 765823"/>
                    <a:gd name="connsiteX88" fmla="*/ 529560 w 845020"/>
                    <a:gd name="connsiteY88" fmla="*/ 729366 h 765823"/>
                    <a:gd name="connsiteX89" fmla="*/ 522311 w 845020"/>
                    <a:gd name="connsiteY89" fmla="*/ 734074 h 765823"/>
                    <a:gd name="connsiteX90" fmla="*/ 508561 w 845020"/>
                    <a:gd name="connsiteY90" fmla="*/ 735058 h 765823"/>
                    <a:gd name="connsiteX91" fmla="*/ 506945 w 845020"/>
                    <a:gd name="connsiteY91" fmla="*/ 725630 h 765823"/>
                    <a:gd name="connsiteX92" fmla="*/ 491170 w 845020"/>
                    <a:gd name="connsiteY92" fmla="*/ 730127 h 765823"/>
                    <a:gd name="connsiteX93" fmla="*/ 484190 w 845020"/>
                    <a:gd name="connsiteY93" fmla="*/ 732142 h 765823"/>
                    <a:gd name="connsiteX94" fmla="*/ 480290 w 845020"/>
                    <a:gd name="connsiteY94" fmla="*/ 737915 h 765823"/>
                    <a:gd name="connsiteX95" fmla="*/ 460392 w 845020"/>
                    <a:gd name="connsiteY95" fmla="*/ 738641 h 765823"/>
                    <a:gd name="connsiteX96" fmla="*/ 451854 w 845020"/>
                    <a:gd name="connsiteY96" fmla="*/ 733699 h 765823"/>
                    <a:gd name="connsiteX97" fmla="*/ 438105 w 845020"/>
                    <a:gd name="connsiteY97" fmla="*/ 734086 h 765823"/>
                    <a:gd name="connsiteX98" fmla="*/ 424402 w 845020"/>
                    <a:gd name="connsiteY98" fmla="*/ 734952 h 765823"/>
                    <a:gd name="connsiteX99" fmla="*/ 416989 w 845020"/>
                    <a:gd name="connsiteY99" fmla="*/ 736006 h 765823"/>
                    <a:gd name="connsiteX100" fmla="*/ 411098 w 845020"/>
                    <a:gd name="connsiteY100" fmla="*/ 733078 h 765823"/>
                    <a:gd name="connsiteX101" fmla="*/ 411016 w 845020"/>
                    <a:gd name="connsiteY101" fmla="*/ 750985 h 765823"/>
                    <a:gd name="connsiteX102" fmla="*/ 391680 w 845020"/>
                    <a:gd name="connsiteY102" fmla="*/ 752414 h 765823"/>
                    <a:gd name="connsiteX103" fmla="*/ 390474 w 845020"/>
                    <a:gd name="connsiteY103" fmla="*/ 750903 h 765823"/>
                    <a:gd name="connsiteX104" fmla="*/ 386820 w 845020"/>
                    <a:gd name="connsiteY104" fmla="*/ 754827 h 765823"/>
                    <a:gd name="connsiteX105" fmla="*/ 382780 w 845020"/>
                    <a:gd name="connsiteY105" fmla="*/ 757778 h 765823"/>
                    <a:gd name="connsiteX106" fmla="*/ 381456 w 845020"/>
                    <a:gd name="connsiteY106" fmla="*/ 754312 h 765823"/>
                    <a:gd name="connsiteX107" fmla="*/ 381456 w 845020"/>
                    <a:gd name="connsiteY107" fmla="*/ 765824 h 765823"/>
                    <a:gd name="connsiteX108" fmla="*/ 378575 w 845020"/>
                    <a:gd name="connsiteY108" fmla="*/ 763751 h 765823"/>
                    <a:gd name="connsiteX109" fmla="*/ 378575 w 845020"/>
                    <a:gd name="connsiteY109" fmla="*/ 759581 h 765823"/>
                    <a:gd name="connsiteX110" fmla="*/ 376561 w 845020"/>
                    <a:gd name="connsiteY110" fmla="*/ 753316 h 765823"/>
                    <a:gd name="connsiteX111" fmla="*/ 373937 w 845020"/>
                    <a:gd name="connsiteY111" fmla="*/ 752414 h 765823"/>
                    <a:gd name="connsiteX112" fmla="*/ 373937 w 845020"/>
                    <a:gd name="connsiteY112" fmla="*/ 761842 h 765823"/>
                    <a:gd name="connsiteX113" fmla="*/ 366395 w 845020"/>
                    <a:gd name="connsiteY113" fmla="*/ 757321 h 765823"/>
                    <a:gd name="connsiteX114" fmla="*/ 365669 w 845020"/>
                    <a:gd name="connsiteY114" fmla="*/ 753925 h 765823"/>
                    <a:gd name="connsiteX115" fmla="*/ 358548 w 845020"/>
                    <a:gd name="connsiteY115" fmla="*/ 757696 h 765823"/>
                    <a:gd name="connsiteX116" fmla="*/ 355316 w 845020"/>
                    <a:gd name="connsiteY116" fmla="*/ 753175 h 765823"/>
                    <a:gd name="connsiteX117" fmla="*/ 354988 w 845020"/>
                    <a:gd name="connsiteY117" fmla="*/ 752754 h 765823"/>
                    <a:gd name="connsiteX118" fmla="*/ 351779 w 845020"/>
                    <a:gd name="connsiteY118" fmla="*/ 755436 h 765823"/>
                    <a:gd name="connsiteX119" fmla="*/ 348851 w 845020"/>
                    <a:gd name="connsiteY119" fmla="*/ 754639 h 765823"/>
                    <a:gd name="connsiteX120" fmla="*/ 349577 w 845020"/>
                    <a:gd name="connsiteY120" fmla="*/ 756185 h 765823"/>
                    <a:gd name="connsiteX121" fmla="*/ 346029 w 845020"/>
                    <a:gd name="connsiteY121" fmla="*/ 755049 h 765823"/>
                    <a:gd name="connsiteX122" fmla="*/ 349249 w 845020"/>
                    <a:gd name="connsiteY122" fmla="*/ 752414 h 765823"/>
                    <a:gd name="connsiteX123" fmla="*/ 347071 w 845020"/>
                    <a:gd name="connsiteY123" fmla="*/ 753175 h 765823"/>
                    <a:gd name="connsiteX124" fmla="*/ 347469 w 845020"/>
                    <a:gd name="connsiteY124" fmla="*/ 750493 h 765823"/>
                    <a:gd name="connsiteX125" fmla="*/ 344600 w 845020"/>
                    <a:gd name="connsiteY125" fmla="*/ 749744 h 765823"/>
                    <a:gd name="connsiteX126" fmla="*/ 348863 w 845020"/>
                    <a:gd name="connsiteY126" fmla="*/ 745177 h 765823"/>
                    <a:gd name="connsiteX127" fmla="*/ 337069 w 845020"/>
                    <a:gd name="connsiteY127" fmla="*/ 739344 h 765823"/>
                    <a:gd name="connsiteX128" fmla="*/ 339962 w 845020"/>
                    <a:gd name="connsiteY128" fmla="*/ 730045 h 765823"/>
                    <a:gd name="connsiteX129" fmla="*/ 336004 w 845020"/>
                    <a:gd name="connsiteY129" fmla="*/ 724763 h 765823"/>
                    <a:gd name="connsiteX130" fmla="*/ 334552 w 845020"/>
                    <a:gd name="connsiteY130" fmla="*/ 725888 h 765823"/>
                    <a:gd name="connsiteX131" fmla="*/ 333099 w 845020"/>
                    <a:gd name="connsiteY131" fmla="*/ 720020 h 765823"/>
                    <a:gd name="connsiteX132" fmla="*/ 330640 w 845020"/>
                    <a:gd name="connsiteY132" fmla="*/ 716401 h 765823"/>
                    <a:gd name="connsiteX133" fmla="*/ 334235 w 845020"/>
                    <a:gd name="connsiteY133" fmla="*/ 716401 h 765823"/>
                    <a:gd name="connsiteX134" fmla="*/ 334399 w 845020"/>
                    <a:gd name="connsiteY134" fmla="*/ 707653 h 765823"/>
                    <a:gd name="connsiteX135" fmla="*/ 325358 w 845020"/>
                    <a:gd name="connsiteY135" fmla="*/ 706212 h 765823"/>
                    <a:gd name="connsiteX136" fmla="*/ 318858 w 845020"/>
                    <a:gd name="connsiteY136" fmla="*/ 702359 h 765823"/>
                    <a:gd name="connsiteX137" fmla="*/ 319245 w 845020"/>
                    <a:gd name="connsiteY137" fmla="*/ 704221 h 765823"/>
                    <a:gd name="connsiteX138" fmla="*/ 303012 w 845020"/>
                    <a:gd name="connsiteY138" fmla="*/ 702593 h 765823"/>
                    <a:gd name="connsiteX139" fmla="*/ 305636 w 845020"/>
                    <a:gd name="connsiteY139" fmla="*/ 699665 h 765823"/>
                    <a:gd name="connsiteX140" fmla="*/ 307346 w 845020"/>
                    <a:gd name="connsiteY140" fmla="*/ 683621 h 765823"/>
                    <a:gd name="connsiteX141" fmla="*/ 297789 w 845020"/>
                    <a:gd name="connsiteY141" fmla="*/ 672260 h 765823"/>
                    <a:gd name="connsiteX142" fmla="*/ 288490 w 845020"/>
                    <a:gd name="connsiteY142" fmla="*/ 658886 h 765823"/>
                    <a:gd name="connsiteX143" fmla="*/ 273827 w 845020"/>
                    <a:gd name="connsiteY143" fmla="*/ 667283 h 765823"/>
                    <a:gd name="connsiteX144" fmla="*/ 283196 w 845020"/>
                    <a:gd name="connsiteY144" fmla="*/ 663196 h 765823"/>
                    <a:gd name="connsiteX145" fmla="*/ 294580 w 845020"/>
                    <a:gd name="connsiteY145" fmla="*/ 666932 h 765823"/>
                    <a:gd name="connsiteX146" fmla="*/ 292776 w 845020"/>
                    <a:gd name="connsiteY146" fmla="*/ 668443 h 765823"/>
                    <a:gd name="connsiteX147" fmla="*/ 295587 w 845020"/>
                    <a:gd name="connsiteY147" fmla="*/ 670644 h 765823"/>
                    <a:gd name="connsiteX148" fmla="*/ 282751 w 845020"/>
                    <a:gd name="connsiteY148" fmla="*/ 667529 h 765823"/>
                    <a:gd name="connsiteX149" fmla="*/ 264962 w 845020"/>
                    <a:gd name="connsiteY149" fmla="*/ 670398 h 765823"/>
                    <a:gd name="connsiteX150" fmla="*/ 251774 w 845020"/>
                    <a:gd name="connsiteY150" fmla="*/ 674357 h 765823"/>
                    <a:gd name="connsiteX151" fmla="*/ 236690 w 845020"/>
                    <a:gd name="connsiteY151" fmla="*/ 673033 h 765823"/>
                    <a:gd name="connsiteX152" fmla="*/ 237381 w 845020"/>
                    <a:gd name="connsiteY152" fmla="*/ 671862 h 765823"/>
                    <a:gd name="connsiteX153" fmla="*/ 216546 w 845020"/>
                    <a:gd name="connsiteY153" fmla="*/ 676067 h 765823"/>
                    <a:gd name="connsiteX154" fmla="*/ 201649 w 845020"/>
                    <a:gd name="connsiteY154" fmla="*/ 683691 h 765823"/>
                    <a:gd name="connsiteX155" fmla="*/ 195910 w 845020"/>
                    <a:gd name="connsiteY155" fmla="*/ 684031 h 765823"/>
                    <a:gd name="connsiteX156" fmla="*/ 190652 w 845020"/>
                    <a:gd name="connsiteY156" fmla="*/ 679416 h 765823"/>
                    <a:gd name="connsiteX157" fmla="*/ 181189 w 845020"/>
                    <a:gd name="connsiteY157" fmla="*/ 677414 h 765823"/>
                    <a:gd name="connsiteX158" fmla="*/ 170016 w 845020"/>
                    <a:gd name="connsiteY158" fmla="*/ 673209 h 765823"/>
                    <a:gd name="connsiteX159" fmla="*/ 172698 w 845020"/>
                    <a:gd name="connsiteY159" fmla="*/ 668817 h 765823"/>
                    <a:gd name="connsiteX160" fmla="*/ 163376 w 845020"/>
                    <a:gd name="connsiteY160" fmla="*/ 670715 h 765823"/>
                    <a:gd name="connsiteX161" fmla="*/ 161678 w 845020"/>
                    <a:gd name="connsiteY161" fmla="*/ 675048 h 765823"/>
                    <a:gd name="connsiteX162" fmla="*/ 136919 w 845020"/>
                    <a:gd name="connsiteY162" fmla="*/ 677589 h 765823"/>
                    <a:gd name="connsiteX163" fmla="*/ 119551 w 845020"/>
                    <a:gd name="connsiteY163" fmla="*/ 679241 h 765823"/>
                    <a:gd name="connsiteX164" fmla="*/ 112747 w 845020"/>
                    <a:gd name="connsiteY164" fmla="*/ 681314 h 765823"/>
                    <a:gd name="connsiteX165" fmla="*/ 100942 w 845020"/>
                    <a:gd name="connsiteY165" fmla="*/ 679217 h 765823"/>
                    <a:gd name="connsiteX166" fmla="*/ 85810 w 845020"/>
                    <a:gd name="connsiteY166" fmla="*/ 681770 h 765823"/>
                    <a:gd name="connsiteX167" fmla="*/ 80470 w 845020"/>
                    <a:gd name="connsiteY167" fmla="*/ 688024 h 765823"/>
                    <a:gd name="connsiteX168" fmla="*/ 73642 w 845020"/>
                    <a:gd name="connsiteY168" fmla="*/ 688188 h 765823"/>
                    <a:gd name="connsiteX169" fmla="*/ 65350 w 845020"/>
                    <a:gd name="connsiteY169" fmla="*/ 687708 h 765823"/>
                    <a:gd name="connsiteX170" fmla="*/ 53920 w 845020"/>
                    <a:gd name="connsiteY170" fmla="*/ 688200 h 765823"/>
                    <a:gd name="connsiteX171" fmla="*/ 49341 w 845020"/>
                    <a:gd name="connsiteY171" fmla="*/ 692674 h 765823"/>
                    <a:gd name="connsiteX172" fmla="*/ 48767 w 845020"/>
                    <a:gd name="connsiteY172" fmla="*/ 683047 h 765823"/>
                    <a:gd name="connsiteX173" fmla="*/ 38777 w 845020"/>
                    <a:gd name="connsiteY173" fmla="*/ 682438 h 765823"/>
                    <a:gd name="connsiteX174" fmla="*/ 42899 w 845020"/>
                    <a:gd name="connsiteY174" fmla="*/ 657492 h 765823"/>
                    <a:gd name="connsiteX175" fmla="*/ 43110 w 845020"/>
                    <a:gd name="connsiteY175" fmla="*/ 650149 h 765823"/>
                    <a:gd name="connsiteX176" fmla="*/ 48041 w 845020"/>
                    <a:gd name="connsiteY176" fmla="*/ 645113 h 765823"/>
                    <a:gd name="connsiteX177" fmla="*/ 53627 w 845020"/>
                    <a:gd name="connsiteY177" fmla="*/ 624255 h 765823"/>
                    <a:gd name="connsiteX178" fmla="*/ 69297 w 845020"/>
                    <a:gd name="connsiteY178" fmla="*/ 617568 h 765823"/>
                    <a:gd name="connsiteX179" fmla="*/ 73677 w 845020"/>
                    <a:gd name="connsiteY179" fmla="*/ 616279 h 765823"/>
                    <a:gd name="connsiteX180" fmla="*/ 75762 w 845020"/>
                    <a:gd name="connsiteY180" fmla="*/ 611162 h 765823"/>
                    <a:gd name="connsiteX181" fmla="*/ 82590 w 845020"/>
                    <a:gd name="connsiteY181" fmla="*/ 606430 h 765823"/>
                    <a:gd name="connsiteX182" fmla="*/ 97733 w 845020"/>
                    <a:gd name="connsiteY182" fmla="*/ 603865 h 765823"/>
                    <a:gd name="connsiteX183" fmla="*/ 116811 w 845020"/>
                    <a:gd name="connsiteY183" fmla="*/ 602495 h 765823"/>
                    <a:gd name="connsiteX184" fmla="*/ 121261 w 845020"/>
                    <a:gd name="connsiteY184" fmla="*/ 600844 h 765823"/>
                    <a:gd name="connsiteX185" fmla="*/ 121952 w 845020"/>
                    <a:gd name="connsiteY185" fmla="*/ 591545 h 765823"/>
                    <a:gd name="connsiteX186" fmla="*/ 125712 w 845020"/>
                    <a:gd name="connsiteY186" fmla="*/ 589601 h 765823"/>
                    <a:gd name="connsiteX187" fmla="*/ 129131 w 845020"/>
                    <a:gd name="connsiteY187" fmla="*/ 575453 h 765823"/>
                    <a:gd name="connsiteX188" fmla="*/ 99009 w 845020"/>
                    <a:gd name="connsiteY188" fmla="*/ 567056 h 765823"/>
                    <a:gd name="connsiteX189" fmla="*/ 102382 w 845020"/>
                    <a:gd name="connsiteY189" fmla="*/ 549957 h 765823"/>
                    <a:gd name="connsiteX190" fmla="*/ 99267 w 845020"/>
                    <a:gd name="connsiteY190" fmla="*/ 521310 h 765823"/>
                    <a:gd name="connsiteX191" fmla="*/ 99115 w 845020"/>
                    <a:gd name="connsiteY191" fmla="*/ 511356 h 765823"/>
                    <a:gd name="connsiteX192" fmla="*/ 91608 w 845020"/>
                    <a:gd name="connsiteY192" fmla="*/ 512585 h 765823"/>
                    <a:gd name="connsiteX193" fmla="*/ 86818 w 845020"/>
                    <a:gd name="connsiteY193" fmla="*/ 509681 h 765823"/>
                    <a:gd name="connsiteX194" fmla="*/ 74556 w 845020"/>
                    <a:gd name="connsiteY194" fmla="*/ 501225 h 765823"/>
                    <a:gd name="connsiteX195" fmla="*/ 38390 w 845020"/>
                    <a:gd name="connsiteY195" fmla="*/ 477310 h 765823"/>
                    <a:gd name="connsiteX196" fmla="*/ 27955 w 845020"/>
                    <a:gd name="connsiteY196" fmla="*/ 456967 h 765823"/>
                    <a:gd name="connsiteX197" fmla="*/ 23189 w 845020"/>
                    <a:gd name="connsiteY197" fmla="*/ 446486 h 765823"/>
                    <a:gd name="connsiteX198" fmla="*/ 0 w 845020"/>
                    <a:gd name="connsiteY198" fmla="*/ 420357 h 765823"/>
                    <a:gd name="connsiteX199" fmla="*/ 54283 w 845020"/>
                    <a:gd name="connsiteY199" fmla="*/ 437222 h 765823"/>
                    <a:gd name="connsiteX200" fmla="*/ 83784 w 845020"/>
                    <a:gd name="connsiteY200" fmla="*/ 445760 h 765823"/>
                    <a:gd name="connsiteX201" fmla="*/ 109854 w 845020"/>
                    <a:gd name="connsiteY201" fmla="*/ 443816 h 765823"/>
                    <a:gd name="connsiteX202" fmla="*/ 134132 w 845020"/>
                    <a:gd name="connsiteY202" fmla="*/ 441625 h 765823"/>
                    <a:gd name="connsiteX203" fmla="*/ 152695 w 845020"/>
                    <a:gd name="connsiteY203" fmla="*/ 442843 h 765823"/>
                    <a:gd name="connsiteX204" fmla="*/ 169829 w 845020"/>
                    <a:gd name="connsiteY204" fmla="*/ 446954 h 765823"/>
                    <a:gd name="connsiteX205" fmla="*/ 178249 w 845020"/>
                    <a:gd name="connsiteY205" fmla="*/ 439974 h 765823"/>
                    <a:gd name="connsiteX206" fmla="*/ 196906 w 845020"/>
                    <a:gd name="connsiteY206" fmla="*/ 436812 h 765823"/>
                    <a:gd name="connsiteX207" fmla="*/ 229300 w 845020"/>
                    <a:gd name="connsiteY207" fmla="*/ 435547 h 765823"/>
                    <a:gd name="connsiteX208" fmla="*/ 286710 w 845020"/>
                    <a:gd name="connsiteY208" fmla="*/ 414736 h 765823"/>
                    <a:gd name="connsiteX209" fmla="*/ 284895 w 845020"/>
                    <a:gd name="connsiteY209" fmla="*/ 393608 h 765823"/>
                    <a:gd name="connsiteX210" fmla="*/ 286698 w 845020"/>
                    <a:gd name="connsiteY210" fmla="*/ 364224 h 765823"/>
                    <a:gd name="connsiteX211" fmla="*/ 297039 w 845020"/>
                    <a:gd name="connsiteY211" fmla="*/ 356576 h 765823"/>
                    <a:gd name="connsiteX212" fmla="*/ 305132 w 845020"/>
                    <a:gd name="connsiteY212" fmla="*/ 344232 h 765823"/>
                    <a:gd name="connsiteX213" fmla="*/ 311878 w 845020"/>
                    <a:gd name="connsiteY213" fmla="*/ 339700 h 765823"/>
                    <a:gd name="connsiteX214" fmla="*/ 322442 w 845020"/>
                    <a:gd name="connsiteY214" fmla="*/ 338974 h 765823"/>
                    <a:gd name="connsiteX215" fmla="*/ 325171 w 845020"/>
                    <a:gd name="connsiteY215" fmla="*/ 341656 h 765823"/>
                    <a:gd name="connsiteX216" fmla="*/ 335160 w 845020"/>
                    <a:gd name="connsiteY216" fmla="*/ 342792 h 765823"/>
                    <a:gd name="connsiteX217" fmla="*/ 360586 w 845020"/>
                    <a:gd name="connsiteY217" fmla="*/ 335999 h 765823"/>
                    <a:gd name="connsiteX218" fmla="*/ 350292 w 845020"/>
                    <a:gd name="connsiteY218" fmla="*/ 325950 h 765823"/>
                    <a:gd name="connsiteX219" fmla="*/ 367250 w 845020"/>
                    <a:gd name="connsiteY219" fmla="*/ 318385 h 765823"/>
                    <a:gd name="connsiteX220" fmla="*/ 375999 w 845020"/>
                    <a:gd name="connsiteY220" fmla="*/ 314953 h 765823"/>
                    <a:gd name="connsiteX221" fmla="*/ 381550 w 845020"/>
                    <a:gd name="connsiteY221" fmla="*/ 307411 h 765823"/>
                    <a:gd name="connsiteX222" fmla="*/ 388717 w 845020"/>
                    <a:gd name="connsiteY222" fmla="*/ 310948 h 765823"/>
                    <a:gd name="connsiteX223" fmla="*/ 401940 w 845020"/>
                    <a:gd name="connsiteY223" fmla="*/ 311604 h 765823"/>
                    <a:gd name="connsiteX224" fmla="*/ 395100 w 845020"/>
                    <a:gd name="connsiteY224" fmla="*/ 309894 h 765823"/>
                    <a:gd name="connsiteX225" fmla="*/ 416251 w 845020"/>
                    <a:gd name="connsiteY225" fmla="*/ 320177 h 765823"/>
                    <a:gd name="connsiteX226" fmla="*/ 440400 w 845020"/>
                    <a:gd name="connsiteY226" fmla="*/ 301403 h 765823"/>
                    <a:gd name="connsiteX227" fmla="*/ 437367 w 845020"/>
                    <a:gd name="connsiteY227" fmla="*/ 272359 h 765823"/>
                    <a:gd name="connsiteX228" fmla="*/ 445635 w 845020"/>
                    <a:gd name="connsiteY228" fmla="*/ 262486 h 765823"/>
                    <a:gd name="connsiteX229" fmla="*/ 445261 w 845020"/>
                    <a:gd name="connsiteY229" fmla="*/ 253971 h 765823"/>
                    <a:gd name="connsiteX230" fmla="*/ 450718 w 845020"/>
                    <a:gd name="connsiteY230" fmla="*/ 245176 h 765823"/>
                    <a:gd name="connsiteX231" fmla="*/ 457148 w 845020"/>
                    <a:gd name="connsiteY231" fmla="*/ 234706 h 765823"/>
                    <a:gd name="connsiteX232" fmla="*/ 470241 w 845020"/>
                    <a:gd name="connsiteY232" fmla="*/ 234168 h 765823"/>
                    <a:gd name="connsiteX233" fmla="*/ 481320 w 845020"/>
                    <a:gd name="connsiteY233" fmla="*/ 227984 h 765823"/>
                    <a:gd name="connsiteX234" fmla="*/ 493278 w 845020"/>
                    <a:gd name="connsiteY234" fmla="*/ 218825 h 765823"/>
                    <a:gd name="connsiteX235" fmla="*/ 485888 w 845020"/>
                    <a:gd name="connsiteY235" fmla="*/ 210288 h 765823"/>
                    <a:gd name="connsiteX236" fmla="*/ 484728 w 845020"/>
                    <a:gd name="connsiteY236" fmla="*/ 201012 h 765823"/>
                    <a:gd name="connsiteX237" fmla="*/ 475359 w 845020"/>
                    <a:gd name="connsiteY237" fmla="*/ 195379 h 765823"/>
                    <a:gd name="connsiteX238" fmla="*/ 476413 w 845020"/>
                    <a:gd name="connsiteY238" fmla="*/ 178233 h 765823"/>
                    <a:gd name="connsiteX239" fmla="*/ 495749 w 845020"/>
                    <a:gd name="connsiteY239" fmla="*/ 183445 h 765823"/>
                    <a:gd name="connsiteX240" fmla="*/ 516584 w 845020"/>
                    <a:gd name="connsiteY240" fmla="*/ 183597 h 765823"/>
                    <a:gd name="connsiteX241" fmla="*/ 533952 w 845020"/>
                    <a:gd name="connsiteY241" fmla="*/ 173162 h 765823"/>
                    <a:gd name="connsiteX242" fmla="*/ 536259 w 845020"/>
                    <a:gd name="connsiteY242" fmla="*/ 161029 h 765823"/>
                    <a:gd name="connsiteX243" fmla="*/ 527405 w 845020"/>
                    <a:gd name="connsiteY243" fmla="*/ 150933 h 765823"/>
                    <a:gd name="connsiteX244" fmla="*/ 533706 w 845020"/>
                    <a:gd name="connsiteY244" fmla="*/ 146893 h 765823"/>
                    <a:gd name="connsiteX245" fmla="*/ 533331 w 845020"/>
                    <a:gd name="connsiteY245" fmla="*/ 142911 h 765823"/>
                    <a:gd name="connsiteX246" fmla="*/ 539585 w 845020"/>
                    <a:gd name="connsiteY246" fmla="*/ 137547 h 765823"/>
                    <a:gd name="connsiteX247" fmla="*/ 543848 w 845020"/>
                    <a:gd name="connsiteY247" fmla="*/ 131211 h 765823"/>
                    <a:gd name="connsiteX248" fmla="*/ 551953 w 845020"/>
                    <a:gd name="connsiteY248" fmla="*/ 126082 h 765823"/>
                    <a:gd name="connsiteX249" fmla="*/ 556251 w 845020"/>
                    <a:gd name="connsiteY249" fmla="*/ 119055 h 765823"/>
                    <a:gd name="connsiteX250" fmla="*/ 562259 w 845020"/>
                    <a:gd name="connsiteY250" fmla="*/ 112426 h 765823"/>
                    <a:gd name="connsiteX251" fmla="*/ 559694 w 845020"/>
                    <a:gd name="connsiteY251" fmla="*/ 107273 h 765823"/>
                    <a:gd name="connsiteX252" fmla="*/ 558663 w 845020"/>
                    <a:gd name="connsiteY252" fmla="*/ 101171 h 765823"/>
                    <a:gd name="connsiteX253" fmla="*/ 561732 w 845020"/>
                    <a:gd name="connsiteY253" fmla="*/ 95796 h 765823"/>
                    <a:gd name="connsiteX254" fmla="*/ 558593 w 845020"/>
                    <a:gd name="connsiteY254" fmla="*/ 87703 h 765823"/>
                    <a:gd name="connsiteX255" fmla="*/ 555080 w 845020"/>
                    <a:gd name="connsiteY255" fmla="*/ 84623 h 765823"/>
                    <a:gd name="connsiteX256" fmla="*/ 556426 w 845020"/>
                    <a:gd name="connsiteY256" fmla="*/ 80208 h 765823"/>
                    <a:gd name="connsiteX257" fmla="*/ 543497 w 845020"/>
                    <a:gd name="connsiteY257" fmla="*/ 64549 h 765823"/>
                    <a:gd name="connsiteX258" fmla="*/ 540838 w 845020"/>
                    <a:gd name="connsiteY258" fmla="*/ 56644 h 765823"/>
                    <a:gd name="connsiteX259" fmla="*/ 548837 w 845020"/>
                    <a:gd name="connsiteY259" fmla="*/ 49969 h 765823"/>
                    <a:gd name="connsiteX260" fmla="*/ 558277 w 845020"/>
                    <a:gd name="connsiteY260" fmla="*/ 41958 h 765823"/>
                    <a:gd name="connsiteX261" fmla="*/ 560748 w 845020"/>
                    <a:gd name="connsiteY261" fmla="*/ 36875 h 765823"/>
                    <a:gd name="connsiteX262" fmla="*/ 566569 w 845020"/>
                    <a:gd name="connsiteY262" fmla="*/ 37566 h 765823"/>
                    <a:gd name="connsiteX263" fmla="*/ 571136 w 845020"/>
                    <a:gd name="connsiteY263" fmla="*/ 38398 h 765823"/>
                    <a:gd name="connsiteX264" fmla="*/ 571124 w 845020"/>
                    <a:gd name="connsiteY264" fmla="*/ 33455 h 765823"/>
                    <a:gd name="connsiteX265" fmla="*/ 582836 w 845020"/>
                    <a:gd name="connsiteY265" fmla="*/ 28325 h 765823"/>
                    <a:gd name="connsiteX266" fmla="*/ 590835 w 845020"/>
                    <a:gd name="connsiteY266" fmla="*/ 23711 h 765823"/>
                    <a:gd name="connsiteX267" fmla="*/ 601563 w 845020"/>
                    <a:gd name="connsiteY267" fmla="*/ 17762 h 765823"/>
                    <a:gd name="connsiteX268" fmla="*/ 619317 w 845020"/>
                    <a:gd name="connsiteY268" fmla="*/ 12902 h 765823"/>
                    <a:gd name="connsiteX269" fmla="*/ 648011 w 845020"/>
                    <a:gd name="connsiteY269" fmla="*/ 10957 h 765823"/>
                    <a:gd name="connsiteX270" fmla="*/ 681330 w 845020"/>
                    <a:gd name="connsiteY270" fmla="*/ 11848 h 765823"/>
                    <a:gd name="connsiteX271" fmla="*/ 707306 w 845020"/>
                    <a:gd name="connsiteY271" fmla="*/ 3181 h 765823"/>
                    <a:gd name="connsiteX272" fmla="*/ 711920 w 845020"/>
                    <a:gd name="connsiteY272" fmla="*/ 3966 h 765823"/>
                    <a:gd name="connsiteX273" fmla="*/ 713841 w 845020"/>
                    <a:gd name="connsiteY273" fmla="*/ 5347 h 765823"/>
                    <a:gd name="connsiteX274" fmla="*/ 714848 w 845020"/>
                    <a:gd name="connsiteY274" fmla="*/ 2654 h 765823"/>
                    <a:gd name="connsiteX275" fmla="*/ 719837 w 845020"/>
                    <a:gd name="connsiteY275" fmla="*/ 54 h 765823"/>
                    <a:gd name="connsiteX276" fmla="*/ 727555 w 845020"/>
                    <a:gd name="connsiteY276" fmla="*/ 2068 h 765823"/>
                    <a:gd name="connsiteX277" fmla="*/ 727555 w 845020"/>
                    <a:gd name="connsiteY277" fmla="*/ 2068 h 76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Lst>
                  <a:rect l="l" t="t" r="r" b="b"/>
                  <a:pathLst>
                    <a:path w="845020" h="765823">
                      <a:moveTo>
                        <a:pt x="727555" y="2068"/>
                      </a:moveTo>
                      <a:cubicBezTo>
                        <a:pt x="729827" y="3614"/>
                        <a:pt x="731280" y="5886"/>
                        <a:pt x="731724" y="8557"/>
                      </a:cubicBezTo>
                      <a:cubicBezTo>
                        <a:pt x="735086" y="-274"/>
                        <a:pt x="754328" y="4177"/>
                        <a:pt x="758567" y="10266"/>
                      </a:cubicBezTo>
                      <a:cubicBezTo>
                        <a:pt x="759984" y="12304"/>
                        <a:pt x="758251" y="16462"/>
                        <a:pt x="759820" y="18101"/>
                      </a:cubicBezTo>
                      <a:cubicBezTo>
                        <a:pt x="763205" y="21603"/>
                        <a:pt x="763392" y="17703"/>
                        <a:pt x="765665" y="17797"/>
                      </a:cubicBezTo>
                      <a:cubicBezTo>
                        <a:pt x="774284" y="18125"/>
                        <a:pt x="779847" y="20397"/>
                        <a:pt x="785234" y="27904"/>
                      </a:cubicBezTo>
                      <a:cubicBezTo>
                        <a:pt x="789638" y="34053"/>
                        <a:pt x="789884" y="39112"/>
                        <a:pt x="789615" y="46010"/>
                      </a:cubicBezTo>
                      <a:cubicBezTo>
                        <a:pt x="789462" y="49453"/>
                        <a:pt x="790048" y="47591"/>
                        <a:pt x="788924" y="51058"/>
                      </a:cubicBezTo>
                      <a:cubicBezTo>
                        <a:pt x="788537" y="52264"/>
                        <a:pt x="786980" y="54103"/>
                        <a:pt x="786722" y="54958"/>
                      </a:cubicBezTo>
                      <a:cubicBezTo>
                        <a:pt x="783993" y="64268"/>
                        <a:pt x="790282" y="59104"/>
                        <a:pt x="795189" y="64022"/>
                      </a:cubicBezTo>
                      <a:cubicBezTo>
                        <a:pt x="800542" y="69386"/>
                        <a:pt x="794756" y="72302"/>
                        <a:pt x="802837" y="73731"/>
                      </a:cubicBezTo>
                      <a:cubicBezTo>
                        <a:pt x="807287" y="74516"/>
                        <a:pt x="809630" y="72115"/>
                        <a:pt x="813073" y="71073"/>
                      </a:cubicBezTo>
                      <a:cubicBezTo>
                        <a:pt x="813764" y="70862"/>
                        <a:pt x="816551" y="69925"/>
                        <a:pt x="817055" y="69972"/>
                      </a:cubicBezTo>
                      <a:cubicBezTo>
                        <a:pt x="823238" y="70534"/>
                        <a:pt x="815954" y="70464"/>
                        <a:pt x="819303" y="75640"/>
                      </a:cubicBezTo>
                      <a:cubicBezTo>
                        <a:pt x="821985" y="79809"/>
                        <a:pt x="828356" y="80700"/>
                        <a:pt x="831401" y="84588"/>
                      </a:cubicBezTo>
                      <a:cubicBezTo>
                        <a:pt x="835805" y="90198"/>
                        <a:pt x="843792" y="107835"/>
                        <a:pt x="844916" y="114850"/>
                      </a:cubicBezTo>
                      <a:cubicBezTo>
                        <a:pt x="845467" y="118247"/>
                        <a:pt x="843851" y="123505"/>
                        <a:pt x="839892" y="125543"/>
                      </a:cubicBezTo>
                      <a:cubicBezTo>
                        <a:pt x="836707" y="127183"/>
                        <a:pt x="833755" y="124700"/>
                        <a:pt x="829914" y="127370"/>
                      </a:cubicBezTo>
                      <a:cubicBezTo>
                        <a:pt x="829129" y="127920"/>
                        <a:pt x="829164" y="132429"/>
                        <a:pt x="827923" y="133940"/>
                      </a:cubicBezTo>
                      <a:cubicBezTo>
                        <a:pt x="825030" y="137454"/>
                        <a:pt x="822220" y="137817"/>
                        <a:pt x="818027" y="138133"/>
                      </a:cubicBezTo>
                      <a:cubicBezTo>
                        <a:pt x="815661" y="138320"/>
                        <a:pt x="813846" y="136599"/>
                        <a:pt x="810742" y="137079"/>
                      </a:cubicBezTo>
                      <a:cubicBezTo>
                        <a:pt x="806655" y="137711"/>
                        <a:pt x="802614" y="141225"/>
                        <a:pt x="798164" y="142009"/>
                      </a:cubicBezTo>
                      <a:cubicBezTo>
                        <a:pt x="794838" y="142607"/>
                        <a:pt x="793784" y="141119"/>
                        <a:pt x="790598" y="142267"/>
                      </a:cubicBezTo>
                      <a:cubicBezTo>
                        <a:pt x="789240" y="142759"/>
                        <a:pt x="785422" y="146366"/>
                        <a:pt x="784040" y="147256"/>
                      </a:cubicBezTo>
                      <a:cubicBezTo>
                        <a:pt x="778852" y="150652"/>
                        <a:pt x="776240" y="152151"/>
                        <a:pt x="769483" y="151414"/>
                      </a:cubicBezTo>
                      <a:cubicBezTo>
                        <a:pt x="761683" y="150559"/>
                        <a:pt x="756764" y="145698"/>
                        <a:pt x="750685" y="143778"/>
                      </a:cubicBezTo>
                      <a:cubicBezTo>
                        <a:pt x="744549" y="141846"/>
                        <a:pt x="735566" y="143216"/>
                        <a:pt x="728562" y="141881"/>
                      </a:cubicBezTo>
                      <a:cubicBezTo>
                        <a:pt x="720376" y="140311"/>
                        <a:pt x="710843" y="134748"/>
                        <a:pt x="702680" y="135591"/>
                      </a:cubicBezTo>
                      <a:cubicBezTo>
                        <a:pt x="699658" y="135908"/>
                        <a:pt x="684574" y="140920"/>
                        <a:pt x="682712" y="142560"/>
                      </a:cubicBezTo>
                      <a:cubicBezTo>
                        <a:pt x="680826" y="144223"/>
                        <a:pt x="683321" y="145781"/>
                        <a:pt x="682314" y="147690"/>
                      </a:cubicBezTo>
                      <a:cubicBezTo>
                        <a:pt x="681342" y="149552"/>
                        <a:pt x="679245" y="150629"/>
                        <a:pt x="678168" y="152409"/>
                      </a:cubicBezTo>
                      <a:cubicBezTo>
                        <a:pt x="676552" y="155033"/>
                        <a:pt x="673401" y="158206"/>
                        <a:pt x="675685" y="161415"/>
                      </a:cubicBezTo>
                      <a:cubicBezTo>
                        <a:pt x="678437" y="165269"/>
                        <a:pt x="682220" y="161111"/>
                        <a:pt x="684691" y="166229"/>
                      </a:cubicBezTo>
                      <a:cubicBezTo>
                        <a:pt x="687982" y="173057"/>
                        <a:pt x="680651" y="169918"/>
                        <a:pt x="680264" y="175493"/>
                      </a:cubicBezTo>
                      <a:cubicBezTo>
                        <a:pt x="679538" y="185635"/>
                        <a:pt x="708126" y="175048"/>
                        <a:pt x="697995" y="187345"/>
                      </a:cubicBezTo>
                      <a:cubicBezTo>
                        <a:pt x="693955" y="192240"/>
                        <a:pt x="685850" y="188610"/>
                        <a:pt x="684457" y="196468"/>
                      </a:cubicBezTo>
                      <a:cubicBezTo>
                        <a:pt x="683028" y="204467"/>
                        <a:pt x="693194" y="203588"/>
                        <a:pt x="694376" y="210522"/>
                      </a:cubicBezTo>
                      <a:cubicBezTo>
                        <a:pt x="695653" y="218064"/>
                        <a:pt x="687080" y="220020"/>
                        <a:pt x="686073" y="224166"/>
                      </a:cubicBezTo>
                      <a:cubicBezTo>
                        <a:pt x="685031" y="228464"/>
                        <a:pt x="690582" y="234694"/>
                        <a:pt x="694259" y="237037"/>
                      </a:cubicBezTo>
                      <a:cubicBezTo>
                        <a:pt x="702317" y="242155"/>
                        <a:pt x="701169" y="237962"/>
                        <a:pt x="703652" y="247858"/>
                      </a:cubicBezTo>
                      <a:cubicBezTo>
                        <a:pt x="704975" y="253140"/>
                        <a:pt x="702130" y="250130"/>
                        <a:pt x="707669" y="252121"/>
                      </a:cubicBezTo>
                      <a:cubicBezTo>
                        <a:pt x="708641" y="252472"/>
                        <a:pt x="712248" y="254440"/>
                        <a:pt x="713443" y="254171"/>
                      </a:cubicBezTo>
                      <a:cubicBezTo>
                        <a:pt x="715047" y="253808"/>
                        <a:pt x="719041" y="250529"/>
                        <a:pt x="719029" y="250529"/>
                      </a:cubicBezTo>
                      <a:cubicBezTo>
                        <a:pt x="723960" y="249837"/>
                        <a:pt x="720962" y="249814"/>
                        <a:pt x="720083" y="255752"/>
                      </a:cubicBezTo>
                      <a:cubicBezTo>
                        <a:pt x="719615" y="258902"/>
                        <a:pt x="718584" y="264629"/>
                        <a:pt x="720329" y="267475"/>
                      </a:cubicBezTo>
                      <a:cubicBezTo>
                        <a:pt x="723093" y="271972"/>
                        <a:pt x="730881" y="270625"/>
                        <a:pt x="735660" y="271398"/>
                      </a:cubicBezTo>
                      <a:cubicBezTo>
                        <a:pt x="742394" y="272499"/>
                        <a:pt x="761413" y="275544"/>
                        <a:pt x="754480" y="286155"/>
                      </a:cubicBezTo>
                      <a:cubicBezTo>
                        <a:pt x="752665" y="288942"/>
                        <a:pt x="748402" y="288696"/>
                        <a:pt x="747441" y="292362"/>
                      </a:cubicBezTo>
                      <a:cubicBezTo>
                        <a:pt x="744689" y="292655"/>
                        <a:pt x="742441" y="292608"/>
                        <a:pt x="739536" y="291905"/>
                      </a:cubicBezTo>
                      <a:cubicBezTo>
                        <a:pt x="739677" y="292444"/>
                        <a:pt x="739794" y="292994"/>
                        <a:pt x="739934" y="293545"/>
                      </a:cubicBezTo>
                      <a:cubicBezTo>
                        <a:pt x="738037" y="294435"/>
                        <a:pt x="735460" y="294575"/>
                        <a:pt x="733610" y="295536"/>
                      </a:cubicBezTo>
                      <a:cubicBezTo>
                        <a:pt x="731748" y="296496"/>
                        <a:pt x="730542" y="295934"/>
                        <a:pt x="728972" y="296543"/>
                      </a:cubicBezTo>
                      <a:cubicBezTo>
                        <a:pt x="727907" y="296953"/>
                        <a:pt x="728071" y="299998"/>
                        <a:pt x="726806" y="300748"/>
                      </a:cubicBezTo>
                      <a:cubicBezTo>
                        <a:pt x="725845" y="301321"/>
                        <a:pt x="724065" y="299963"/>
                        <a:pt x="723468" y="300431"/>
                      </a:cubicBezTo>
                      <a:cubicBezTo>
                        <a:pt x="722929" y="300841"/>
                        <a:pt x="721676" y="302668"/>
                        <a:pt x="720809" y="303172"/>
                      </a:cubicBezTo>
                      <a:cubicBezTo>
                        <a:pt x="719006" y="304238"/>
                        <a:pt x="716664" y="305292"/>
                        <a:pt x="715305" y="306990"/>
                      </a:cubicBezTo>
                      <a:cubicBezTo>
                        <a:pt x="714509" y="307985"/>
                        <a:pt x="713138" y="311370"/>
                        <a:pt x="712974" y="312681"/>
                      </a:cubicBezTo>
                      <a:cubicBezTo>
                        <a:pt x="712447" y="316605"/>
                        <a:pt x="716500" y="320739"/>
                        <a:pt x="717073" y="325822"/>
                      </a:cubicBezTo>
                      <a:cubicBezTo>
                        <a:pt x="717577" y="330202"/>
                        <a:pt x="716991" y="328504"/>
                        <a:pt x="716008" y="332638"/>
                      </a:cubicBezTo>
                      <a:cubicBezTo>
                        <a:pt x="715282" y="335636"/>
                        <a:pt x="711288" y="342312"/>
                        <a:pt x="712693" y="345509"/>
                      </a:cubicBezTo>
                      <a:cubicBezTo>
                        <a:pt x="714438" y="349468"/>
                        <a:pt x="717237" y="348015"/>
                        <a:pt x="720563" y="350229"/>
                      </a:cubicBezTo>
                      <a:cubicBezTo>
                        <a:pt x="715750" y="351880"/>
                        <a:pt x="712518" y="356951"/>
                        <a:pt x="708044" y="359434"/>
                      </a:cubicBezTo>
                      <a:cubicBezTo>
                        <a:pt x="704261" y="361530"/>
                        <a:pt x="702411" y="362420"/>
                        <a:pt x="699834" y="366227"/>
                      </a:cubicBezTo>
                      <a:cubicBezTo>
                        <a:pt x="697773" y="369271"/>
                        <a:pt x="693592" y="372797"/>
                        <a:pt x="691601" y="375619"/>
                      </a:cubicBezTo>
                      <a:cubicBezTo>
                        <a:pt x="688802" y="379601"/>
                        <a:pt x="686752" y="387518"/>
                        <a:pt x="680990" y="388197"/>
                      </a:cubicBezTo>
                      <a:cubicBezTo>
                        <a:pt x="680826" y="388326"/>
                        <a:pt x="681424" y="389579"/>
                        <a:pt x="681318" y="389767"/>
                      </a:cubicBezTo>
                      <a:cubicBezTo>
                        <a:pt x="679116" y="390259"/>
                        <a:pt x="679292" y="390270"/>
                        <a:pt x="677980" y="392168"/>
                      </a:cubicBezTo>
                      <a:cubicBezTo>
                        <a:pt x="689540" y="396829"/>
                        <a:pt x="679304" y="406491"/>
                        <a:pt x="672593" y="409536"/>
                      </a:cubicBezTo>
                      <a:cubicBezTo>
                        <a:pt x="661221" y="414689"/>
                        <a:pt x="654885" y="411527"/>
                        <a:pt x="650692" y="424690"/>
                      </a:cubicBezTo>
                      <a:cubicBezTo>
                        <a:pt x="647085" y="435980"/>
                        <a:pt x="642776" y="446204"/>
                        <a:pt x="636650" y="456417"/>
                      </a:cubicBezTo>
                      <a:cubicBezTo>
                        <a:pt x="630912" y="465974"/>
                        <a:pt x="626321" y="469276"/>
                        <a:pt x="616343" y="474277"/>
                      </a:cubicBezTo>
                      <a:cubicBezTo>
                        <a:pt x="604959" y="479969"/>
                        <a:pt x="597768" y="482557"/>
                        <a:pt x="593763" y="495030"/>
                      </a:cubicBezTo>
                      <a:cubicBezTo>
                        <a:pt x="592346" y="499469"/>
                        <a:pt x="591702" y="503146"/>
                        <a:pt x="588727" y="506823"/>
                      </a:cubicBezTo>
                      <a:cubicBezTo>
                        <a:pt x="585342" y="511028"/>
                        <a:pt x="579686" y="513007"/>
                        <a:pt x="577191" y="518125"/>
                      </a:cubicBezTo>
                      <a:cubicBezTo>
                        <a:pt x="575704" y="521182"/>
                        <a:pt x="577004" y="525937"/>
                        <a:pt x="574977" y="528396"/>
                      </a:cubicBezTo>
                      <a:cubicBezTo>
                        <a:pt x="572752" y="531066"/>
                        <a:pt x="560350" y="532987"/>
                        <a:pt x="556871" y="533409"/>
                      </a:cubicBezTo>
                      <a:cubicBezTo>
                        <a:pt x="545745" y="534767"/>
                        <a:pt x="538730" y="536700"/>
                        <a:pt x="528073" y="540400"/>
                      </a:cubicBezTo>
                      <a:cubicBezTo>
                        <a:pt x="507824" y="547427"/>
                        <a:pt x="515284" y="520631"/>
                        <a:pt x="498349" y="524625"/>
                      </a:cubicBezTo>
                      <a:cubicBezTo>
                        <a:pt x="490420" y="526487"/>
                        <a:pt x="484178" y="534650"/>
                        <a:pt x="480805" y="541677"/>
                      </a:cubicBezTo>
                      <a:cubicBezTo>
                        <a:pt x="475664" y="552440"/>
                        <a:pt x="469094" y="558729"/>
                        <a:pt x="460263" y="566857"/>
                      </a:cubicBezTo>
                      <a:cubicBezTo>
                        <a:pt x="454665" y="572022"/>
                        <a:pt x="446842" y="585080"/>
                        <a:pt x="449746" y="593418"/>
                      </a:cubicBezTo>
                      <a:cubicBezTo>
                        <a:pt x="452217" y="600574"/>
                        <a:pt x="467419" y="605013"/>
                        <a:pt x="474270" y="605341"/>
                      </a:cubicBezTo>
                      <a:cubicBezTo>
                        <a:pt x="495925" y="606395"/>
                        <a:pt x="481274" y="623962"/>
                        <a:pt x="481110" y="636868"/>
                      </a:cubicBezTo>
                      <a:cubicBezTo>
                        <a:pt x="481039" y="643427"/>
                        <a:pt x="489015" y="653885"/>
                        <a:pt x="494871" y="655935"/>
                      </a:cubicBezTo>
                      <a:cubicBezTo>
                        <a:pt x="505106" y="659554"/>
                        <a:pt x="511208" y="648158"/>
                        <a:pt x="511653" y="663161"/>
                      </a:cubicBezTo>
                      <a:cubicBezTo>
                        <a:pt x="511993" y="674732"/>
                        <a:pt x="516022" y="675118"/>
                        <a:pt x="521467" y="684101"/>
                      </a:cubicBezTo>
                      <a:cubicBezTo>
                        <a:pt x="526304" y="692112"/>
                        <a:pt x="528237" y="702839"/>
                        <a:pt x="533085" y="711319"/>
                      </a:cubicBezTo>
                      <a:cubicBezTo>
                        <a:pt x="525063" y="713614"/>
                        <a:pt x="528249" y="719552"/>
                        <a:pt x="529759" y="724037"/>
                      </a:cubicBezTo>
                      <a:cubicBezTo>
                        <a:pt x="530813" y="727164"/>
                        <a:pt x="537161" y="724623"/>
                        <a:pt x="529560" y="729366"/>
                      </a:cubicBezTo>
                      <a:cubicBezTo>
                        <a:pt x="527452" y="730678"/>
                        <a:pt x="519910" y="728206"/>
                        <a:pt x="522311" y="734074"/>
                      </a:cubicBezTo>
                      <a:cubicBezTo>
                        <a:pt x="518996" y="736229"/>
                        <a:pt x="511923" y="737845"/>
                        <a:pt x="508561" y="735058"/>
                      </a:cubicBezTo>
                      <a:cubicBezTo>
                        <a:pt x="505306" y="732376"/>
                        <a:pt x="508058" y="726532"/>
                        <a:pt x="506945" y="725630"/>
                      </a:cubicBezTo>
                      <a:cubicBezTo>
                        <a:pt x="504310" y="723475"/>
                        <a:pt x="494039" y="729190"/>
                        <a:pt x="491170" y="730127"/>
                      </a:cubicBezTo>
                      <a:cubicBezTo>
                        <a:pt x="489354" y="730724"/>
                        <a:pt x="485677" y="731088"/>
                        <a:pt x="484190" y="732142"/>
                      </a:cubicBezTo>
                      <a:cubicBezTo>
                        <a:pt x="482292" y="733500"/>
                        <a:pt x="482082" y="736721"/>
                        <a:pt x="480290" y="737915"/>
                      </a:cubicBezTo>
                      <a:cubicBezTo>
                        <a:pt x="475137" y="741382"/>
                        <a:pt x="466072" y="741124"/>
                        <a:pt x="460392" y="738641"/>
                      </a:cubicBezTo>
                      <a:cubicBezTo>
                        <a:pt x="456258" y="736850"/>
                        <a:pt x="456387" y="734824"/>
                        <a:pt x="451854" y="733699"/>
                      </a:cubicBezTo>
                      <a:cubicBezTo>
                        <a:pt x="447357" y="732587"/>
                        <a:pt x="442380" y="734203"/>
                        <a:pt x="438105" y="734086"/>
                      </a:cubicBezTo>
                      <a:cubicBezTo>
                        <a:pt x="433526" y="733969"/>
                        <a:pt x="428607" y="735175"/>
                        <a:pt x="424402" y="734952"/>
                      </a:cubicBezTo>
                      <a:cubicBezTo>
                        <a:pt x="420643" y="734753"/>
                        <a:pt x="419706" y="727059"/>
                        <a:pt x="416989" y="736006"/>
                      </a:cubicBezTo>
                      <a:cubicBezTo>
                        <a:pt x="416509" y="732165"/>
                        <a:pt x="413967" y="728640"/>
                        <a:pt x="411098" y="733078"/>
                      </a:cubicBezTo>
                      <a:cubicBezTo>
                        <a:pt x="409166" y="736053"/>
                        <a:pt x="411039" y="747449"/>
                        <a:pt x="411016" y="750985"/>
                      </a:cubicBezTo>
                      <a:cubicBezTo>
                        <a:pt x="405195" y="750950"/>
                        <a:pt x="396681" y="749229"/>
                        <a:pt x="391680" y="752414"/>
                      </a:cubicBezTo>
                      <a:cubicBezTo>
                        <a:pt x="390837" y="751114"/>
                        <a:pt x="391622" y="751688"/>
                        <a:pt x="390474" y="750903"/>
                      </a:cubicBezTo>
                      <a:cubicBezTo>
                        <a:pt x="388952" y="755401"/>
                        <a:pt x="386633" y="750985"/>
                        <a:pt x="386820" y="754827"/>
                      </a:cubicBezTo>
                      <a:cubicBezTo>
                        <a:pt x="386211" y="755377"/>
                        <a:pt x="383541" y="757298"/>
                        <a:pt x="382780" y="757778"/>
                      </a:cubicBezTo>
                      <a:cubicBezTo>
                        <a:pt x="382393" y="756829"/>
                        <a:pt x="381585" y="755248"/>
                        <a:pt x="381456" y="754312"/>
                      </a:cubicBezTo>
                      <a:cubicBezTo>
                        <a:pt x="382522" y="758434"/>
                        <a:pt x="380039" y="761701"/>
                        <a:pt x="381456" y="765824"/>
                      </a:cubicBezTo>
                      <a:cubicBezTo>
                        <a:pt x="380367" y="765367"/>
                        <a:pt x="379524" y="764793"/>
                        <a:pt x="378575" y="763751"/>
                      </a:cubicBezTo>
                      <a:cubicBezTo>
                        <a:pt x="375097" y="765695"/>
                        <a:pt x="376198" y="761362"/>
                        <a:pt x="378575" y="759581"/>
                      </a:cubicBezTo>
                      <a:cubicBezTo>
                        <a:pt x="376537" y="757099"/>
                        <a:pt x="376444" y="756525"/>
                        <a:pt x="376561" y="753316"/>
                      </a:cubicBezTo>
                      <a:cubicBezTo>
                        <a:pt x="375811" y="752988"/>
                        <a:pt x="374839" y="752906"/>
                        <a:pt x="373937" y="752414"/>
                      </a:cubicBezTo>
                      <a:cubicBezTo>
                        <a:pt x="375788" y="755834"/>
                        <a:pt x="376537" y="759113"/>
                        <a:pt x="373937" y="761842"/>
                      </a:cubicBezTo>
                      <a:cubicBezTo>
                        <a:pt x="372555" y="759546"/>
                        <a:pt x="368234" y="756876"/>
                        <a:pt x="366395" y="757321"/>
                      </a:cubicBezTo>
                      <a:cubicBezTo>
                        <a:pt x="366219" y="756115"/>
                        <a:pt x="366020" y="754979"/>
                        <a:pt x="365669" y="753925"/>
                      </a:cubicBezTo>
                      <a:cubicBezTo>
                        <a:pt x="366161" y="759453"/>
                        <a:pt x="362893" y="760882"/>
                        <a:pt x="358548" y="757696"/>
                      </a:cubicBezTo>
                      <a:cubicBezTo>
                        <a:pt x="360317" y="760870"/>
                        <a:pt x="351229" y="762088"/>
                        <a:pt x="355316" y="753175"/>
                      </a:cubicBezTo>
                      <a:cubicBezTo>
                        <a:pt x="355222" y="753503"/>
                        <a:pt x="354976" y="752824"/>
                        <a:pt x="354988" y="752754"/>
                      </a:cubicBezTo>
                      <a:cubicBezTo>
                        <a:pt x="354543" y="755717"/>
                        <a:pt x="353817" y="758797"/>
                        <a:pt x="351779" y="755436"/>
                      </a:cubicBezTo>
                      <a:cubicBezTo>
                        <a:pt x="350936" y="755330"/>
                        <a:pt x="350058" y="755682"/>
                        <a:pt x="348851" y="754639"/>
                      </a:cubicBezTo>
                      <a:cubicBezTo>
                        <a:pt x="348184" y="755213"/>
                        <a:pt x="349566" y="755893"/>
                        <a:pt x="349577" y="756185"/>
                      </a:cubicBezTo>
                      <a:cubicBezTo>
                        <a:pt x="348441" y="756150"/>
                        <a:pt x="346989" y="755085"/>
                        <a:pt x="346029" y="755049"/>
                      </a:cubicBezTo>
                      <a:cubicBezTo>
                        <a:pt x="347973" y="754358"/>
                        <a:pt x="347668" y="753597"/>
                        <a:pt x="349249" y="752414"/>
                      </a:cubicBezTo>
                      <a:cubicBezTo>
                        <a:pt x="348336" y="752496"/>
                        <a:pt x="348067" y="753258"/>
                        <a:pt x="347071" y="753175"/>
                      </a:cubicBezTo>
                      <a:cubicBezTo>
                        <a:pt x="346591" y="752297"/>
                        <a:pt x="347774" y="751208"/>
                        <a:pt x="347469" y="750493"/>
                      </a:cubicBezTo>
                      <a:cubicBezTo>
                        <a:pt x="346790" y="750294"/>
                        <a:pt x="345139" y="750330"/>
                        <a:pt x="344600" y="749744"/>
                      </a:cubicBezTo>
                      <a:cubicBezTo>
                        <a:pt x="346064" y="748198"/>
                        <a:pt x="347130" y="746336"/>
                        <a:pt x="348863" y="745177"/>
                      </a:cubicBezTo>
                      <a:cubicBezTo>
                        <a:pt x="343007" y="746570"/>
                        <a:pt x="339283" y="745504"/>
                        <a:pt x="337069" y="739344"/>
                      </a:cubicBezTo>
                      <a:cubicBezTo>
                        <a:pt x="335617" y="735315"/>
                        <a:pt x="334364" y="729577"/>
                        <a:pt x="339962" y="730045"/>
                      </a:cubicBezTo>
                      <a:cubicBezTo>
                        <a:pt x="336320" y="730069"/>
                        <a:pt x="334200" y="728546"/>
                        <a:pt x="336004" y="724763"/>
                      </a:cubicBezTo>
                      <a:cubicBezTo>
                        <a:pt x="335933" y="724775"/>
                        <a:pt x="334669" y="726309"/>
                        <a:pt x="334552" y="725888"/>
                      </a:cubicBezTo>
                      <a:cubicBezTo>
                        <a:pt x="333732" y="723440"/>
                        <a:pt x="332935" y="721543"/>
                        <a:pt x="333099" y="720020"/>
                      </a:cubicBezTo>
                      <a:cubicBezTo>
                        <a:pt x="331225" y="718779"/>
                        <a:pt x="331588" y="718697"/>
                        <a:pt x="330640" y="716401"/>
                      </a:cubicBezTo>
                      <a:cubicBezTo>
                        <a:pt x="331834" y="716401"/>
                        <a:pt x="333029" y="716460"/>
                        <a:pt x="334235" y="716401"/>
                      </a:cubicBezTo>
                      <a:cubicBezTo>
                        <a:pt x="322582" y="715019"/>
                        <a:pt x="334563" y="710944"/>
                        <a:pt x="334399" y="707653"/>
                      </a:cubicBezTo>
                      <a:cubicBezTo>
                        <a:pt x="334306" y="705767"/>
                        <a:pt x="326037" y="704725"/>
                        <a:pt x="325358" y="706212"/>
                      </a:cubicBezTo>
                      <a:cubicBezTo>
                        <a:pt x="323355" y="704702"/>
                        <a:pt x="320755" y="703741"/>
                        <a:pt x="318858" y="702359"/>
                      </a:cubicBezTo>
                      <a:cubicBezTo>
                        <a:pt x="318682" y="703636"/>
                        <a:pt x="319209" y="703308"/>
                        <a:pt x="319245" y="704221"/>
                      </a:cubicBezTo>
                      <a:cubicBezTo>
                        <a:pt x="314419" y="700966"/>
                        <a:pt x="308435" y="702336"/>
                        <a:pt x="303012" y="702593"/>
                      </a:cubicBezTo>
                      <a:cubicBezTo>
                        <a:pt x="303961" y="701645"/>
                        <a:pt x="304336" y="700649"/>
                        <a:pt x="305636" y="699665"/>
                      </a:cubicBezTo>
                      <a:cubicBezTo>
                        <a:pt x="301619" y="694875"/>
                        <a:pt x="308447" y="688376"/>
                        <a:pt x="307346" y="683621"/>
                      </a:cubicBezTo>
                      <a:cubicBezTo>
                        <a:pt x="306104" y="678245"/>
                        <a:pt x="298726" y="676934"/>
                        <a:pt x="297789" y="672260"/>
                      </a:cubicBezTo>
                      <a:cubicBezTo>
                        <a:pt x="303575" y="670492"/>
                        <a:pt x="289755" y="660233"/>
                        <a:pt x="288490" y="658886"/>
                      </a:cubicBezTo>
                      <a:cubicBezTo>
                        <a:pt x="281147" y="660842"/>
                        <a:pt x="278957" y="661064"/>
                        <a:pt x="273827" y="667283"/>
                      </a:cubicBezTo>
                      <a:cubicBezTo>
                        <a:pt x="278898" y="667892"/>
                        <a:pt x="280971" y="663266"/>
                        <a:pt x="283196" y="663196"/>
                      </a:cubicBezTo>
                      <a:cubicBezTo>
                        <a:pt x="288314" y="663032"/>
                        <a:pt x="290071" y="666803"/>
                        <a:pt x="294580" y="666932"/>
                      </a:cubicBezTo>
                      <a:cubicBezTo>
                        <a:pt x="293971" y="667435"/>
                        <a:pt x="293374" y="667939"/>
                        <a:pt x="292776" y="668443"/>
                      </a:cubicBezTo>
                      <a:cubicBezTo>
                        <a:pt x="293725" y="669309"/>
                        <a:pt x="294803" y="669578"/>
                        <a:pt x="295587" y="670644"/>
                      </a:cubicBezTo>
                      <a:cubicBezTo>
                        <a:pt x="292413" y="671277"/>
                        <a:pt x="287167" y="667681"/>
                        <a:pt x="282751" y="667529"/>
                      </a:cubicBezTo>
                      <a:cubicBezTo>
                        <a:pt x="277481" y="667353"/>
                        <a:pt x="270208" y="669216"/>
                        <a:pt x="264962" y="670398"/>
                      </a:cubicBezTo>
                      <a:cubicBezTo>
                        <a:pt x="260909" y="671312"/>
                        <a:pt x="255780" y="673970"/>
                        <a:pt x="251774" y="674357"/>
                      </a:cubicBezTo>
                      <a:cubicBezTo>
                        <a:pt x="246516" y="674872"/>
                        <a:pt x="241948" y="671651"/>
                        <a:pt x="236690" y="673033"/>
                      </a:cubicBezTo>
                      <a:cubicBezTo>
                        <a:pt x="236994" y="672694"/>
                        <a:pt x="237229" y="672307"/>
                        <a:pt x="237381" y="671862"/>
                      </a:cubicBezTo>
                      <a:cubicBezTo>
                        <a:pt x="229054" y="674146"/>
                        <a:pt x="225634" y="676980"/>
                        <a:pt x="216546" y="676067"/>
                      </a:cubicBezTo>
                      <a:cubicBezTo>
                        <a:pt x="212974" y="675715"/>
                        <a:pt x="190652" y="677367"/>
                        <a:pt x="201649" y="683691"/>
                      </a:cubicBezTo>
                      <a:cubicBezTo>
                        <a:pt x="199482" y="684441"/>
                        <a:pt x="198054" y="684370"/>
                        <a:pt x="195910" y="684031"/>
                      </a:cubicBezTo>
                      <a:cubicBezTo>
                        <a:pt x="200373" y="677753"/>
                        <a:pt x="192631" y="679815"/>
                        <a:pt x="190652" y="679416"/>
                      </a:cubicBezTo>
                      <a:cubicBezTo>
                        <a:pt x="187935" y="678866"/>
                        <a:pt x="184890" y="678468"/>
                        <a:pt x="181189" y="677414"/>
                      </a:cubicBezTo>
                      <a:cubicBezTo>
                        <a:pt x="176844" y="676172"/>
                        <a:pt x="171422" y="676231"/>
                        <a:pt x="170016" y="673209"/>
                      </a:cubicBezTo>
                      <a:cubicBezTo>
                        <a:pt x="168646" y="670258"/>
                        <a:pt x="169618" y="669168"/>
                        <a:pt x="172698" y="668817"/>
                      </a:cubicBezTo>
                      <a:cubicBezTo>
                        <a:pt x="169337" y="668384"/>
                        <a:pt x="166163" y="668841"/>
                        <a:pt x="163376" y="670715"/>
                      </a:cubicBezTo>
                      <a:cubicBezTo>
                        <a:pt x="168599" y="669438"/>
                        <a:pt x="170274" y="675130"/>
                        <a:pt x="161678" y="675048"/>
                      </a:cubicBezTo>
                      <a:cubicBezTo>
                        <a:pt x="150692" y="674931"/>
                        <a:pt x="145902" y="670926"/>
                        <a:pt x="136919" y="677589"/>
                      </a:cubicBezTo>
                      <a:cubicBezTo>
                        <a:pt x="145891" y="687122"/>
                        <a:pt x="123510" y="679358"/>
                        <a:pt x="119551" y="679241"/>
                      </a:cubicBezTo>
                      <a:cubicBezTo>
                        <a:pt x="117268" y="679182"/>
                        <a:pt x="115218" y="681196"/>
                        <a:pt x="112747" y="681314"/>
                      </a:cubicBezTo>
                      <a:cubicBezTo>
                        <a:pt x="108753" y="681501"/>
                        <a:pt x="104830" y="679686"/>
                        <a:pt x="100942" y="679217"/>
                      </a:cubicBezTo>
                      <a:cubicBezTo>
                        <a:pt x="98131" y="678877"/>
                        <a:pt x="82145" y="677015"/>
                        <a:pt x="85810" y="681770"/>
                      </a:cubicBezTo>
                      <a:cubicBezTo>
                        <a:pt x="82215" y="681478"/>
                        <a:pt x="74286" y="685237"/>
                        <a:pt x="80470" y="688024"/>
                      </a:cubicBezTo>
                      <a:cubicBezTo>
                        <a:pt x="78514" y="688879"/>
                        <a:pt x="76265" y="688985"/>
                        <a:pt x="73642" y="688188"/>
                      </a:cubicBezTo>
                      <a:cubicBezTo>
                        <a:pt x="86466" y="682871"/>
                        <a:pt x="55536" y="677343"/>
                        <a:pt x="65350" y="687708"/>
                      </a:cubicBezTo>
                      <a:cubicBezTo>
                        <a:pt x="61661" y="688059"/>
                        <a:pt x="57351" y="686947"/>
                        <a:pt x="53920" y="688200"/>
                      </a:cubicBezTo>
                      <a:cubicBezTo>
                        <a:pt x="51941" y="688926"/>
                        <a:pt x="52667" y="692650"/>
                        <a:pt x="49341" y="692674"/>
                      </a:cubicBezTo>
                      <a:cubicBezTo>
                        <a:pt x="42806" y="692709"/>
                        <a:pt x="47947" y="686783"/>
                        <a:pt x="48767" y="683047"/>
                      </a:cubicBezTo>
                      <a:cubicBezTo>
                        <a:pt x="45640" y="683679"/>
                        <a:pt x="42618" y="681817"/>
                        <a:pt x="38777" y="682438"/>
                      </a:cubicBezTo>
                      <a:cubicBezTo>
                        <a:pt x="42044" y="675551"/>
                        <a:pt x="41857" y="664625"/>
                        <a:pt x="42899" y="657492"/>
                      </a:cubicBezTo>
                      <a:cubicBezTo>
                        <a:pt x="43216" y="655244"/>
                        <a:pt x="42173" y="652140"/>
                        <a:pt x="43110" y="650149"/>
                      </a:cubicBezTo>
                      <a:cubicBezTo>
                        <a:pt x="44047" y="648111"/>
                        <a:pt x="46588" y="648217"/>
                        <a:pt x="48041" y="645113"/>
                      </a:cubicBezTo>
                      <a:cubicBezTo>
                        <a:pt x="51261" y="638250"/>
                        <a:pt x="47408" y="629408"/>
                        <a:pt x="53627" y="624255"/>
                      </a:cubicBezTo>
                      <a:cubicBezTo>
                        <a:pt x="57398" y="621128"/>
                        <a:pt x="66229" y="619313"/>
                        <a:pt x="69297" y="617568"/>
                      </a:cubicBezTo>
                      <a:cubicBezTo>
                        <a:pt x="71850" y="616115"/>
                        <a:pt x="71921" y="618060"/>
                        <a:pt x="73677" y="616279"/>
                      </a:cubicBezTo>
                      <a:cubicBezTo>
                        <a:pt x="73947" y="615998"/>
                        <a:pt x="75024" y="612157"/>
                        <a:pt x="75762" y="611162"/>
                      </a:cubicBezTo>
                      <a:cubicBezTo>
                        <a:pt x="77062" y="609428"/>
                        <a:pt x="79709" y="607250"/>
                        <a:pt x="82590" y="606430"/>
                      </a:cubicBezTo>
                      <a:cubicBezTo>
                        <a:pt x="87708" y="604978"/>
                        <a:pt x="92919" y="605025"/>
                        <a:pt x="97733" y="603865"/>
                      </a:cubicBezTo>
                      <a:cubicBezTo>
                        <a:pt x="102862" y="602624"/>
                        <a:pt x="111142" y="604123"/>
                        <a:pt x="116811" y="602495"/>
                      </a:cubicBezTo>
                      <a:cubicBezTo>
                        <a:pt x="119680" y="601675"/>
                        <a:pt x="119071" y="603936"/>
                        <a:pt x="121261" y="600844"/>
                      </a:cubicBezTo>
                      <a:cubicBezTo>
                        <a:pt x="122889" y="598572"/>
                        <a:pt x="121238" y="594156"/>
                        <a:pt x="121952" y="591545"/>
                      </a:cubicBezTo>
                      <a:cubicBezTo>
                        <a:pt x="122421" y="589835"/>
                        <a:pt x="125512" y="590584"/>
                        <a:pt x="125712" y="589601"/>
                      </a:cubicBezTo>
                      <a:cubicBezTo>
                        <a:pt x="126403" y="586251"/>
                        <a:pt x="120922" y="573930"/>
                        <a:pt x="129131" y="575453"/>
                      </a:cubicBezTo>
                      <a:cubicBezTo>
                        <a:pt x="125993" y="560919"/>
                        <a:pt x="107406" y="573696"/>
                        <a:pt x="99009" y="567056"/>
                      </a:cubicBezTo>
                      <a:cubicBezTo>
                        <a:pt x="101843" y="563870"/>
                        <a:pt x="102452" y="555661"/>
                        <a:pt x="102382" y="549957"/>
                      </a:cubicBezTo>
                      <a:cubicBezTo>
                        <a:pt x="102253" y="540201"/>
                        <a:pt x="98974" y="530867"/>
                        <a:pt x="99267" y="521310"/>
                      </a:cubicBezTo>
                      <a:cubicBezTo>
                        <a:pt x="99361" y="518488"/>
                        <a:pt x="101668" y="513312"/>
                        <a:pt x="99115" y="511356"/>
                      </a:cubicBezTo>
                      <a:cubicBezTo>
                        <a:pt x="97604" y="510185"/>
                        <a:pt x="93446" y="513031"/>
                        <a:pt x="91608" y="512585"/>
                      </a:cubicBezTo>
                      <a:cubicBezTo>
                        <a:pt x="88773" y="511895"/>
                        <a:pt x="89675" y="511555"/>
                        <a:pt x="86818" y="509681"/>
                      </a:cubicBezTo>
                      <a:cubicBezTo>
                        <a:pt x="81782" y="506367"/>
                        <a:pt x="80973" y="503638"/>
                        <a:pt x="74556" y="501225"/>
                      </a:cubicBezTo>
                      <a:cubicBezTo>
                        <a:pt x="59518" y="495569"/>
                        <a:pt x="47092" y="492910"/>
                        <a:pt x="38390" y="477310"/>
                      </a:cubicBezTo>
                      <a:cubicBezTo>
                        <a:pt x="34022" y="469475"/>
                        <a:pt x="31047" y="464299"/>
                        <a:pt x="27955" y="456967"/>
                      </a:cubicBezTo>
                      <a:cubicBezTo>
                        <a:pt x="26140" y="452646"/>
                        <a:pt x="25285" y="449987"/>
                        <a:pt x="23189" y="446486"/>
                      </a:cubicBezTo>
                      <a:cubicBezTo>
                        <a:pt x="17602" y="437175"/>
                        <a:pt x="7249" y="428532"/>
                        <a:pt x="0" y="420357"/>
                      </a:cubicBezTo>
                      <a:cubicBezTo>
                        <a:pt x="17298" y="427478"/>
                        <a:pt x="36376" y="431741"/>
                        <a:pt x="54283" y="437222"/>
                      </a:cubicBezTo>
                      <a:cubicBezTo>
                        <a:pt x="63664" y="440103"/>
                        <a:pt x="74005" y="444811"/>
                        <a:pt x="83784" y="445760"/>
                      </a:cubicBezTo>
                      <a:cubicBezTo>
                        <a:pt x="92088" y="446556"/>
                        <a:pt x="101504" y="444565"/>
                        <a:pt x="109854" y="443816"/>
                      </a:cubicBezTo>
                      <a:cubicBezTo>
                        <a:pt x="117947" y="443089"/>
                        <a:pt x="126039" y="442352"/>
                        <a:pt x="134132" y="441625"/>
                      </a:cubicBezTo>
                      <a:cubicBezTo>
                        <a:pt x="140913" y="441016"/>
                        <a:pt x="145949" y="441614"/>
                        <a:pt x="152695" y="442843"/>
                      </a:cubicBezTo>
                      <a:cubicBezTo>
                        <a:pt x="156536" y="443558"/>
                        <a:pt x="166596" y="447786"/>
                        <a:pt x="169829" y="446954"/>
                      </a:cubicBezTo>
                      <a:cubicBezTo>
                        <a:pt x="171340" y="446556"/>
                        <a:pt x="175614" y="441239"/>
                        <a:pt x="178249" y="439974"/>
                      </a:cubicBezTo>
                      <a:cubicBezTo>
                        <a:pt x="184293" y="437081"/>
                        <a:pt x="190465" y="436847"/>
                        <a:pt x="196906" y="436812"/>
                      </a:cubicBezTo>
                      <a:cubicBezTo>
                        <a:pt x="208676" y="436742"/>
                        <a:pt x="217788" y="438744"/>
                        <a:pt x="229300" y="435547"/>
                      </a:cubicBezTo>
                      <a:cubicBezTo>
                        <a:pt x="245544" y="431026"/>
                        <a:pt x="276287" y="428391"/>
                        <a:pt x="286710" y="414736"/>
                      </a:cubicBezTo>
                      <a:cubicBezTo>
                        <a:pt x="277915" y="406877"/>
                        <a:pt x="283536" y="404371"/>
                        <a:pt x="284895" y="393608"/>
                      </a:cubicBezTo>
                      <a:cubicBezTo>
                        <a:pt x="286335" y="382225"/>
                        <a:pt x="281252" y="376451"/>
                        <a:pt x="286698" y="364224"/>
                      </a:cubicBezTo>
                      <a:cubicBezTo>
                        <a:pt x="290153" y="356459"/>
                        <a:pt x="289872" y="360511"/>
                        <a:pt x="297039" y="356576"/>
                      </a:cubicBezTo>
                      <a:cubicBezTo>
                        <a:pt x="303293" y="353133"/>
                        <a:pt x="301502" y="348659"/>
                        <a:pt x="305132" y="344232"/>
                      </a:cubicBezTo>
                      <a:cubicBezTo>
                        <a:pt x="306069" y="343085"/>
                        <a:pt x="310274" y="340473"/>
                        <a:pt x="311878" y="339700"/>
                      </a:cubicBezTo>
                      <a:cubicBezTo>
                        <a:pt x="317722" y="336866"/>
                        <a:pt x="318425" y="337873"/>
                        <a:pt x="322442" y="338974"/>
                      </a:cubicBezTo>
                      <a:cubicBezTo>
                        <a:pt x="320544" y="338459"/>
                        <a:pt x="324784" y="341445"/>
                        <a:pt x="325171" y="341656"/>
                      </a:cubicBezTo>
                      <a:cubicBezTo>
                        <a:pt x="326646" y="342417"/>
                        <a:pt x="333006" y="342733"/>
                        <a:pt x="335160" y="342792"/>
                      </a:cubicBezTo>
                      <a:cubicBezTo>
                        <a:pt x="339318" y="342909"/>
                        <a:pt x="358619" y="339923"/>
                        <a:pt x="360586" y="335999"/>
                      </a:cubicBezTo>
                      <a:cubicBezTo>
                        <a:pt x="364240" y="328679"/>
                        <a:pt x="347141" y="334114"/>
                        <a:pt x="350292" y="325950"/>
                      </a:cubicBezTo>
                      <a:cubicBezTo>
                        <a:pt x="349765" y="327309"/>
                        <a:pt x="365728" y="319182"/>
                        <a:pt x="367250" y="318385"/>
                      </a:cubicBezTo>
                      <a:cubicBezTo>
                        <a:pt x="370143" y="316863"/>
                        <a:pt x="372907" y="317952"/>
                        <a:pt x="375999" y="314953"/>
                      </a:cubicBezTo>
                      <a:cubicBezTo>
                        <a:pt x="377790" y="313220"/>
                        <a:pt x="378681" y="307880"/>
                        <a:pt x="381550" y="307411"/>
                      </a:cubicBezTo>
                      <a:cubicBezTo>
                        <a:pt x="383271" y="307130"/>
                        <a:pt x="387183" y="310398"/>
                        <a:pt x="388717" y="310948"/>
                      </a:cubicBezTo>
                      <a:cubicBezTo>
                        <a:pt x="392512" y="312307"/>
                        <a:pt x="398614" y="314298"/>
                        <a:pt x="401940" y="311604"/>
                      </a:cubicBezTo>
                      <a:cubicBezTo>
                        <a:pt x="399878" y="311581"/>
                        <a:pt x="396822" y="310292"/>
                        <a:pt x="395100" y="309894"/>
                      </a:cubicBezTo>
                      <a:cubicBezTo>
                        <a:pt x="405231" y="300384"/>
                        <a:pt x="409810" y="318877"/>
                        <a:pt x="416251" y="320177"/>
                      </a:cubicBezTo>
                      <a:cubicBezTo>
                        <a:pt x="424309" y="321805"/>
                        <a:pt x="438304" y="307599"/>
                        <a:pt x="440400" y="301403"/>
                      </a:cubicBezTo>
                      <a:cubicBezTo>
                        <a:pt x="442871" y="294107"/>
                        <a:pt x="436325" y="280615"/>
                        <a:pt x="437367" y="272359"/>
                      </a:cubicBezTo>
                      <a:cubicBezTo>
                        <a:pt x="438128" y="266198"/>
                        <a:pt x="442953" y="266878"/>
                        <a:pt x="445635" y="262486"/>
                      </a:cubicBezTo>
                      <a:cubicBezTo>
                        <a:pt x="448294" y="258153"/>
                        <a:pt x="444745" y="255974"/>
                        <a:pt x="445261" y="253971"/>
                      </a:cubicBezTo>
                      <a:cubicBezTo>
                        <a:pt x="446080" y="250751"/>
                        <a:pt x="449488" y="248561"/>
                        <a:pt x="450718" y="245176"/>
                      </a:cubicBezTo>
                      <a:cubicBezTo>
                        <a:pt x="453505" y="237400"/>
                        <a:pt x="448200" y="238161"/>
                        <a:pt x="457148" y="234706"/>
                      </a:cubicBezTo>
                      <a:cubicBezTo>
                        <a:pt x="461633" y="232973"/>
                        <a:pt x="466025" y="234730"/>
                        <a:pt x="470241" y="234168"/>
                      </a:cubicBezTo>
                      <a:cubicBezTo>
                        <a:pt x="475476" y="233465"/>
                        <a:pt x="477795" y="230057"/>
                        <a:pt x="481320" y="227984"/>
                      </a:cubicBezTo>
                      <a:cubicBezTo>
                        <a:pt x="484412" y="226168"/>
                        <a:pt x="493336" y="224224"/>
                        <a:pt x="493278" y="218825"/>
                      </a:cubicBezTo>
                      <a:cubicBezTo>
                        <a:pt x="493231" y="214504"/>
                        <a:pt x="486965" y="213473"/>
                        <a:pt x="485888" y="210288"/>
                      </a:cubicBezTo>
                      <a:cubicBezTo>
                        <a:pt x="484611" y="206458"/>
                        <a:pt x="486415" y="204233"/>
                        <a:pt x="484728" y="201012"/>
                      </a:cubicBezTo>
                      <a:cubicBezTo>
                        <a:pt x="481812" y="195426"/>
                        <a:pt x="479927" y="198928"/>
                        <a:pt x="475359" y="195379"/>
                      </a:cubicBezTo>
                      <a:cubicBezTo>
                        <a:pt x="468953" y="190390"/>
                        <a:pt x="467676" y="179440"/>
                        <a:pt x="476413" y="178233"/>
                      </a:cubicBezTo>
                      <a:cubicBezTo>
                        <a:pt x="481918" y="177472"/>
                        <a:pt x="490104" y="182426"/>
                        <a:pt x="495749" y="183445"/>
                      </a:cubicBezTo>
                      <a:cubicBezTo>
                        <a:pt x="502284" y="184628"/>
                        <a:pt x="510072" y="184850"/>
                        <a:pt x="516584" y="183597"/>
                      </a:cubicBezTo>
                      <a:cubicBezTo>
                        <a:pt x="523845" y="182203"/>
                        <a:pt x="531434" y="180341"/>
                        <a:pt x="533952" y="173162"/>
                      </a:cubicBezTo>
                      <a:cubicBezTo>
                        <a:pt x="534713" y="170984"/>
                        <a:pt x="537067" y="163102"/>
                        <a:pt x="536259" y="161029"/>
                      </a:cubicBezTo>
                      <a:cubicBezTo>
                        <a:pt x="535135" y="158124"/>
                        <a:pt x="526632" y="155794"/>
                        <a:pt x="527405" y="150933"/>
                      </a:cubicBezTo>
                      <a:cubicBezTo>
                        <a:pt x="528108" y="146577"/>
                        <a:pt x="531481" y="149563"/>
                        <a:pt x="533706" y="146893"/>
                      </a:cubicBezTo>
                      <a:cubicBezTo>
                        <a:pt x="534514" y="145909"/>
                        <a:pt x="532851" y="143497"/>
                        <a:pt x="533331" y="142911"/>
                      </a:cubicBezTo>
                      <a:cubicBezTo>
                        <a:pt x="534971" y="140908"/>
                        <a:pt x="537793" y="139491"/>
                        <a:pt x="539585" y="137547"/>
                      </a:cubicBezTo>
                      <a:cubicBezTo>
                        <a:pt x="541248" y="135755"/>
                        <a:pt x="542267" y="132769"/>
                        <a:pt x="543848" y="131211"/>
                      </a:cubicBezTo>
                      <a:cubicBezTo>
                        <a:pt x="546472" y="128623"/>
                        <a:pt x="549130" y="128318"/>
                        <a:pt x="551953" y="126082"/>
                      </a:cubicBezTo>
                      <a:cubicBezTo>
                        <a:pt x="555162" y="123528"/>
                        <a:pt x="554471" y="121608"/>
                        <a:pt x="556251" y="119055"/>
                      </a:cubicBezTo>
                      <a:cubicBezTo>
                        <a:pt x="557352" y="117497"/>
                        <a:pt x="561872" y="113972"/>
                        <a:pt x="562259" y="112426"/>
                      </a:cubicBezTo>
                      <a:cubicBezTo>
                        <a:pt x="563137" y="108749"/>
                        <a:pt x="560350" y="110505"/>
                        <a:pt x="559694" y="107273"/>
                      </a:cubicBezTo>
                      <a:cubicBezTo>
                        <a:pt x="558979" y="103748"/>
                        <a:pt x="558464" y="104568"/>
                        <a:pt x="558663" y="101171"/>
                      </a:cubicBezTo>
                      <a:cubicBezTo>
                        <a:pt x="558734" y="100082"/>
                        <a:pt x="561451" y="97517"/>
                        <a:pt x="561732" y="95796"/>
                      </a:cubicBezTo>
                      <a:cubicBezTo>
                        <a:pt x="562024" y="93863"/>
                        <a:pt x="559038" y="89050"/>
                        <a:pt x="558593" y="87703"/>
                      </a:cubicBezTo>
                      <a:cubicBezTo>
                        <a:pt x="558499" y="87434"/>
                        <a:pt x="555513" y="85431"/>
                        <a:pt x="555080" y="84623"/>
                      </a:cubicBezTo>
                      <a:cubicBezTo>
                        <a:pt x="554892" y="84272"/>
                        <a:pt x="556848" y="81555"/>
                        <a:pt x="556426" y="80208"/>
                      </a:cubicBezTo>
                      <a:cubicBezTo>
                        <a:pt x="554096" y="72818"/>
                        <a:pt x="548088" y="69187"/>
                        <a:pt x="543497" y="64549"/>
                      </a:cubicBezTo>
                      <a:cubicBezTo>
                        <a:pt x="539046" y="60064"/>
                        <a:pt x="538274" y="62383"/>
                        <a:pt x="540838" y="56644"/>
                      </a:cubicBezTo>
                      <a:cubicBezTo>
                        <a:pt x="542115" y="53798"/>
                        <a:pt x="546612" y="51749"/>
                        <a:pt x="548837" y="49969"/>
                      </a:cubicBezTo>
                      <a:cubicBezTo>
                        <a:pt x="552058" y="47380"/>
                        <a:pt x="556813" y="43797"/>
                        <a:pt x="558277" y="41958"/>
                      </a:cubicBezTo>
                      <a:cubicBezTo>
                        <a:pt x="558757" y="41349"/>
                        <a:pt x="559647" y="37554"/>
                        <a:pt x="560748" y="36875"/>
                      </a:cubicBezTo>
                      <a:cubicBezTo>
                        <a:pt x="564285" y="34685"/>
                        <a:pt x="562634" y="38304"/>
                        <a:pt x="566569" y="37566"/>
                      </a:cubicBezTo>
                      <a:cubicBezTo>
                        <a:pt x="567763" y="37332"/>
                        <a:pt x="568946" y="39077"/>
                        <a:pt x="571136" y="38398"/>
                      </a:cubicBezTo>
                      <a:cubicBezTo>
                        <a:pt x="570305" y="38655"/>
                        <a:pt x="570340" y="34240"/>
                        <a:pt x="571124" y="33455"/>
                      </a:cubicBezTo>
                      <a:cubicBezTo>
                        <a:pt x="572858" y="31757"/>
                        <a:pt x="580107" y="30094"/>
                        <a:pt x="582836" y="28325"/>
                      </a:cubicBezTo>
                      <a:cubicBezTo>
                        <a:pt x="585682" y="26475"/>
                        <a:pt x="585740" y="23676"/>
                        <a:pt x="590835" y="23711"/>
                      </a:cubicBezTo>
                      <a:cubicBezTo>
                        <a:pt x="587790" y="18183"/>
                        <a:pt x="597909" y="18792"/>
                        <a:pt x="601563" y="17762"/>
                      </a:cubicBezTo>
                      <a:cubicBezTo>
                        <a:pt x="607618" y="16052"/>
                        <a:pt x="612501" y="13147"/>
                        <a:pt x="619317" y="12902"/>
                      </a:cubicBezTo>
                      <a:cubicBezTo>
                        <a:pt x="629260" y="12538"/>
                        <a:pt x="638067" y="11449"/>
                        <a:pt x="648011" y="10957"/>
                      </a:cubicBezTo>
                      <a:cubicBezTo>
                        <a:pt x="659757" y="10384"/>
                        <a:pt x="669853" y="8568"/>
                        <a:pt x="681330" y="11848"/>
                      </a:cubicBezTo>
                      <a:cubicBezTo>
                        <a:pt x="693545" y="15338"/>
                        <a:pt x="694974" y="5148"/>
                        <a:pt x="707306" y="3181"/>
                      </a:cubicBezTo>
                      <a:cubicBezTo>
                        <a:pt x="708208" y="3040"/>
                        <a:pt x="712131" y="3907"/>
                        <a:pt x="711920" y="3966"/>
                      </a:cubicBezTo>
                      <a:cubicBezTo>
                        <a:pt x="712084" y="3919"/>
                        <a:pt x="713138" y="5500"/>
                        <a:pt x="713841" y="5347"/>
                      </a:cubicBezTo>
                      <a:cubicBezTo>
                        <a:pt x="714872" y="5113"/>
                        <a:pt x="714157" y="2829"/>
                        <a:pt x="714848" y="2654"/>
                      </a:cubicBezTo>
                      <a:cubicBezTo>
                        <a:pt x="714661" y="2701"/>
                        <a:pt x="718081" y="394"/>
                        <a:pt x="719837" y="54"/>
                      </a:cubicBezTo>
                      <a:cubicBezTo>
                        <a:pt x="722133" y="-379"/>
                        <a:pt x="724545" y="1940"/>
                        <a:pt x="727555" y="2068"/>
                      </a:cubicBezTo>
                      <a:lnTo>
                        <a:pt x="727555" y="2068"/>
                      </a:lnTo>
                      <a:close/>
                    </a:path>
                  </a:pathLst>
                </a:custGeom>
                <a:solidFill>
                  <a:srgbClr val="D6D6D2"/>
                </a:solidFill>
                <a:ln w="8774" cap="rnd">
                  <a:solidFill>
                    <a:srgbClr val="FFFFFF"/>
                  </a:solidFill>
                  <a:prstDash val="solid"/>
                  <a:round/>
                </a:ln>
              </p:spPr>
              <p:txBody>
                <a:bodyPr rtlCol="0" anchor="ctr"/>
                <a:lstStyle/>
                <a:p>
                  <a:endParaRPr lang="en-US"/>
                </a:p>
              </p:txBody>
            </p:sp>
            <p:sp>
              <p:nvSpPr>
                <p:cNvPr id="114" name="Freeform: Shape 113">
                  <a:extLst>
                    <a:ext uri="{FF2B5EF4-FFF2-40B4-BE49-F238E27FC236}">
                      <a16:creationId xmlns:a16="http://schemas.microsoft.com/office/drawing/2014/main" id="{2B7C14ED-9A61-42BE-905F-619A09451700}"/>
                    </a:ext>
                  </a:extLst>
                </p:cNvPr>
                <p:cNvSpPr/>
                <p:nvPr/>
              </p:nvSpPr>
              <p:spPr>
                <a:xfrm>
                  <a:off x="97" y="4672008"/>
                  <a:ext cx="241202" cy="481484"/>
                </a:xfrm>
                <a:custGeom>
                  <a:avLst/>
                  <a:gdLst>
                    <a:gd name="connsiteX0" fmla="*/ 1285 w 241202"/>
                    <a:gd name="connsiteY0" fmla="*/ 306503 h 481484"/>
                    <a:gd name="connsiteX1" fmla="*/ 13125 w 241202"/>
                    <a:gd name="connsiteY1" fmla="*/ 269307 h 481484"/>
                    <a:gd name="connsiteX2" fmla="*/ 20327 w 241202"/>
                    <a:gd name="connsiteY2" fmla="*/ 240625 h 481484"/>
                    <a:gd name="connsiteX3" fmla="*/ 1261 w 241202"/>
                    <a:gd name="connsiteY3" fmla="*/ 208220 h 481484"/>
                    <a:gd name="connsiteX4" fmla="*/ 6648 w 241202"/>
                    <a:gd name="connsiteY4" fmla="*/ 165203 h 481484"/>
                    <a:gd name="connsiteX5" fmla="*/ 15783 w 241202"/>
                    <a:gd name="connsiteY5" fmla="*/ 140738 h 481484"/>
                    <a:gd name="connsiteX6" fmla="*/ 11813 w 241202"/>
                    <a:gd name="connsiteY6" fmla="*/ 134636 h 481484"/>
                    <a:gd name="connsiteX7" fmla="*/ 20972 w 241202"/>
                    <a:gd name="connsiteY7" fmla="*/ 131345 h 481484"/>
                    <a:gd name="connsiteX8" fmla="*/ 37461 w 241202"/>
                    <a:gd name="connsiteY8" fmla="*/ 122351 h 481484"/>
                    <a:gd name="connsiteX9" fmla="*/ 27717 w 241202"/>
                    <a:gd name="connsiteY9" fmla="*/ 119996 h 481484"/>
                    <a:gd name="connsiteX10" fmla="*/ 29240 w 241202"/>
                    <a:gd name="connsiteY10" fmla="*/ 109784 h 481484"/>
                    <a:gd name="connsiteX11" fmla="*/ 29556 w 241202"/>
                    <a:gd name="connsiteY11" fmla="*/ 89500 h 481484"/>
                    <a:gd name="connsiteX12" fmla="*/ 41654 w 241202"/>
                    <a:gd name="connsiteY12" fmla="*/ 84909 h 481484"/>
                    <a:gd name="connsiteX13" fmla="*/ 38070 w 241202"/>
                    <a:gd name="connsiteY13" fmla="*/ 83796 h 481484"/>
                    <a:gd name="connsiteX14" fmla="*/ 48189 w 241202"/>
                    <a:gd name="connsiteY14" fmla="*/ 89043 h 481484"/>
                    <a:gd name="connsiteX15" fmla="*/ 56727 w 241202"/>
                    <a:gd name="connsiteY15" fmla="*/ 79744 h 481484"/>
                    <a:gd name="connsiteX16" fmla="*/ 65838 w 241202"/>
                    <a:gd name="connsiteY16" fmla="*/ 93844 h 481484"/>
                    <a:gd name="connsiteX17" fmla="*/ 83066 w 241202"/>
                    <a:gd name="connsiteY17" fmla="*/ 117596 h 481484"/>
                    <a:gd name="connsiteX18" fmla="*/ 128109 w 241202"/>
                    <a:gd name="connsiteY18" fmla="*/ 144544 h 481484"/>
                    <a:gd name="connsiteX19" fmla="*/ 144470 w 241202"/>
                    <a:gd name="connsiteY19" fmla="*/ 147905 h 481484"/>
                    <a:gd name="connsiteX20" fmla="*/ 162189 w 241202"/>
                    <a:gd name="connsiteY20" fmla="*/ 153644 h 481484"/>
                    <a:gd name="connsiteX21" fmla="*/ 176946 w 241202"/>
                    <a:gd name="connsiteY21" fmla="*/ 154370 h 481484"/>
                    <a:gd name="connsiteX22" fmla="*/ 182427 w 241202"/>
                    <a:gd name="connsiteY22" fmla="*/ 158610 h 481484"/>
                    <a:gd name="connsiteX23" fmla="*/ 191234 w 241202"/>
                    <a:gd name="connsiteY23" fmla="*/ 168787 h 481484"/>
                    <a:gd name="connsiteX24" fmla="*/ 200966 w 241202"/>
                    <a:gd name="connsiteY24" fmla="*/ 184644 h 481484"/>
                    <a:gd name="connsiteX25" fmla="*/ 224600 w 241202"/>
                    <a:gd name="connsiteY25" fmla="*/ 211159 h 481484"/>
                    <a:gd name="connsiteX26" fmla="*/ 223499 w 241202"/>
                    <a:gd name="connsiteY26" fmla="*/ 210995 h 481484"/>
                    <a:gd name="connsiteX27" fmla="*/ 233946 w 241202"/>
                    <a:gd name="connsiteY27" fmla="*/ 212787 h 481484"/>
                    <a:gd name="connsiteX28" fmla="*/ 236194 w 241202"/>
                    <a:gd name="connsiteY28" fmla="*/ 215481 h 481484"/>
                    <a:gd name="connsiteX29" fmla="*/ 235503 w 241202"/>
                    <a:gd name="connsiteY29" fmla="*/ 213045 h 481484"/>
                    <a:gd name="connsiteX30" fmla="*/ 232119 w 241202"/>
                    <a:gd name="connsiteY30" fmla="*/ 238962 h 481484"/>
                    <a:gd name="connsiteX31" fmla="*/ 215371 w 241202"/>
                    <a:gd name="connsiteY31" fmla="*/ 270255 h 481484"/>
                    <a:gd name="connsiteX32" fmla="*/ 186983 w 241202"/>
                    <a:gd name="connsiteY32" fmla="*/ 296899 h 481484"/>
                    <a:gd name="connsiteX33" fmla="*/ 182474 w 241202"/>
                    <a:gd name="connsiteY33" fmla="*/ 308740 h 481484"/>
                    <a:gd name="connsiteX34" fmla="*/ 172331 w 241202"/>
                    <a:gd name="connsiteY34" fmla="*/ 324878 h 481484"/>
                    <a:gd name="connsiteX35" fmla="*/ 158816 w 241202"/>
                    <a:gd name="connsiteY35" fmla="*/ 331483 h 481484"/>
                    <a:gd name="connsiteX36" fmla="*/ 155572 w 241202"/>
                    <a:gd name="connsiteY36" fmla="*/ 326225 h 481484"/>
                    <a:gd name="connsiteX37" fmla="*/ 156685 w 241202"/>
                    <a:gd name="connsiteY37" fmla="*/ 328485 h 481484"/>
                    <a:gd name="connsiteX38" fmla="*/ 148393 w 241202"/>
                    <a:gd name="connsiteY38" fmla="*/ 322454 h 481484"/>
                    <a:gd name="connsiteX39" fmla="*/ 147011 w 241202"/>
                    <a:gd name="connsiteY39" fmla="*/ 326190 h 481484"/>
                    <a:gd name="connsiteX40" fmla="*/ 142900 w 241202"/>
                    <a:gd name="connsiteY40" fmla="*/ 328626 h 481484"/>
                    <a:gd name="connsiteX41" fmla="*/ 142994 w 241202"/>
                    <a:gd name="connsiteY41" fmla="*/ 332104 h 481484"/>
                    <a:gd name="connsiteX42" fmla="*/ 139059 w 241202"/>
                    <a:gd name="connsiteY42" fmla="*/ 335442 h 481484"/>
                    <a:gd name="connsiteX43" fmla="*/ 132173 w 241202"/>
                    <a:gd name="connsiteY43" fmla="*/ 359684 h 481484"/>
                    <a:gd name="connsiteX44" fmla="*/ 132653 w 241202"/>
                    <a:gd name="connsiteY44" fmla="*/ 383482 h 481484"/>
                    <a:gd name="connsiteX45" fmla="*/ 133297 w 241202"/>
                    <a:gd name="connsiteY45" fmla="*/ 395147 h 481484"/>
                    <a:gd name="connsiteX46" fmla="*/ 133847 w 241202"/>
                    <a:gd name="connsiteY46" fmla="*/ 406753 h 481484"/>
                    <a:gd name="connsiteX47" fmla="*/ 116257 w 241202"/>
                    <a:gd name="connsiteY47" fmla="*/ 408463 h 481484"/>
                    <a:gd name="connsiteX48" fmla="*/ 90995 w 241202"/>
                    <a:gd name="connsiteY48" fmla="*/ 414635 h 481484"/>
                    <a:gd name="connsiteX49" fmla="*/ 72409 w 241202"/>
                    <a:gd name="connsiteY49" fmla="*/ 437273 h 481484"/>
                    <a:gd name="connsiteX50" fmla="*/ 61388 w 241202"/>
                    <a:gd name="connsiteY50" fmla="*/ 458483 h 481484"/>
                    <a:gd name="connsiteX51" fmla="*/ 56809 w 241202"/>
                    <a:gd name="connsiteY51" fmla="*/ 462781 h 481484"/>
                    <a:gd name="connsiteX52" fmla="*/ 46514 w 241202"/>
                    <a:gd name="connsiteY52" fmla="*/ 462968 h 481484"/>
                    <a:gd name="connsiteX53" fmla="*/ 22365 w 241202"/>
                    <a:gd name="connsiteY53" fmla="*/ 465217 h 481484"/>
                    <a:gd name="connsiteX54" fmla="*/ 1273 w 241202"/>
                    <a:gd name="connsiteY54" fmla="*/ 481485 h 481484"/>
                    <a:gd name="connsiteX55" fmla="*/ 1285 w 241202"/>
                    <a:gd name="connsiteY55" fmla="*/ 306503 h 481484"/>
                    <a:gd name="connsiteX56" fmla="*/ 1285 w 241202"/>
                    <a:gd name="connsiteY56" fmla="*/ 306503 h 481484"/>
                    <a:gd name="connsiteX57" fmla="*/ 59444 w 241202"/>
                    <a:gd name="connsiteY57" fmla="*/ 0 h 481484"/>
                    <a:gd name="connsiteX58" fmla="*/ 61212 w 241202"/>
                    <a:gd name="connsiteY58" fmla="*/ 761 h 481484"/>
                    <a:gd name="connsiteX59" fmla="*/ 65557 w 241202"/>
                    <a:gd name="connsiteY59" fmla="*/ 3057 h 481484"/>
                    <a:gd name="connsiteX60" fmla="*/ 65171 w 241202"/>
                    <a:gd name="connsiteY60" fmla="*/ 1909 h 481484"/>
                    <a:gd name="connsiteX61" fmla="*/ 66284 w 241202"/>
                    <a:gd name="connsiteY61" fmla="*/ 1523 h 481484"/>
                    <a:gd name="connsiteX62" fmla="*/ 66693 w 241202"/>
                    <a:gd name="connsiteY62" fmla="*/ 3479 h 481484"/>
                    <a:gd name="connsiteX63" fmla="*/ 64984 w 241202"/>
                    <a:gd name="connsiteY63" fmla="*/ 7636 h 481484"/>
                    <a:gd name="connsiteX64" fmla="*/ 64117 w 241202"/>
                    <a:gd name="connsiteY64" fmla="*/ 10271 h 481484"/>
                    <a:gd name="connsiteX65" fmla="*/ 62665 w 241202"/>
                    <a:gd name="connsiteY65" fmla="*/ 9182 h 481484"/>
                    <a:gd name="connsiteX66" fmla="*/ 65171 w 241202"/>
                    <a:gd name="connsiteY66" fmla="*/ 13410 h 481484"/>
                    <a:gd name="connsiteX67" fmla="*/ 61212 w 241202"/>
                    <a:gd name="connsiteY67" fmla="*/ 11126 h 481484"/>
                    <a:gd name="connsiteX68" fmla="*/ 59830 w 241202"/>
                    <a:gd name="connsiteY68" fmla="*/ 11852 h 481484"/>
                    <a:gd name="connsiteX69" fmla="*/ 60557 w 241202"/>
                    <a:gd name="connsiteY69" fmla="*/ 10330 h 481484"/>
                    <a:gd name="connsiteX70" fmla="*/ 57676 w 241202"/>
                    <a:gd name="connsiteY70" fmla="*/ 15319 h 481484"/>
                    <a:gd name="connsiteX71" fmla="*/ 59116 w 241202"/>
                    <a:gd name="connsiteY71" fmla="*/ 13410 h 481484"/>
                    <a:gd name="connsiteX72" fmla="*/ 64808 w 241202"/>
                    <a:gd name="connsiteY72" fmla="*/ 16045 h 481484"/>
                    <a:gd name="connsiteX73" fmla="*/ 60147 w 241202"/>
                    <a:gd name="connsiteY73" fmla="*/ 20308 h 481484"/>
                    <a:gd name="connsiteX74" fmla="*/ 62196 w 241202"/>
                    <a:gd name="connsiteY74" fmla="*/ 20261 h 481484"/>
                    <a:gd name="connsiteX75" fmla="*/ 63801 w 241202"/>
                    <a:gd name="connsiteY75" fmla="*/ 24501 h 481484"/>
                    <a:gd name="connsiteX76" fmla="*/ 63051 w 241202"/>
                    <a:gd name="connsiteY76" fmla="*/ 25672 h 481484"/>
                    <a:gd name="connsiteX77" fmla="*/ 55907 w 241202"/>
                    <a:gd name="connsiteY77" fmla="*/ 35943 h 481484"/>
                    <a:gd name="connsiteX78" fmla="*/ 55907 w 241202"/>
                    <a:gd name="connsiteY78" fmla="*/ 34772 h 481484"/>
                    <a:gd name="connsiteX79" fmla="*/ 54713 w 241202"/>
                    <a:gd name="connsiteY79" fmla="*/ 42314 h 481484"/>
                    <a:gd name="connsiteX80" fmla="*/ 44196 w 241202"/>
                    <a:gd name="connsiteY80" fmla="*/ 18141 h 481484"/>
                    <a:gd name="connsiteX81" fmla="*/ 51012 w 241202"/>
                    <a:gd name="connsiteY81" fmla="*/ 6863 h 481484"/>
                    <a:gd name="connsiteX82" fmla="*/ 51246 w 241202"/>
                    <a:gd name="connsiteY82" fmla="*/ 9955 h 481484"/>
                    <a:gd name="connsiteX83" fmla="*/ 55556 w 241202"/>
                    <a:gd name="connsiteY83" fmla="*/ 10704 h 481484"/>
                    <a:gd name="connsiteX84" fmla="*/ 61236 w 241202"/>
                    <a:gd name="connsiteY84" fmla="*/ 9557 h 481484"/>
                    <a:gd name="connsiteX85" fmla="*/ 56247 w 241202"/>
                    <a:gd name="connsiteY85" fmla="*/ 9182 h 481484"/>
                    <a:gd name="connsiteX86" fmla="*/ 56633 w 241202"/>
                    <a:gd name="connsiteY86" fmla="*/ 5341 h 481484"/>
                    <a:gd name="connsiteX87" fmla="*/ 58847 w 241202"/>
                    <a:gd name="connsiteY87" fmla="*/ 6758 h 481484"/>
                    <a:gd name="connsiteX88" fmla="*/ 56961 w 241202"/>
                    <a:gd name="connsiteY88" fmla="*/ 4263 h 481484"/>
                    <a:gd name="connsiteX89" fmla="*/ 59444 w 241202"/>
                    <a:gd name="connsiteY89" fmla="*/ 0 h 481484"/>
                    <a:gd name="connsiteX90" fmla="*/ 59444 w 241202"/>
                    <a:gd name="connsiteY90" fmla="*/ 0 h 481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41202" h="481484">
                      <a:moveTo>
                        <a:pt x="1285" y="306503"/>
                      </a:moveTo>
                      <a:cubicBezTo>
                        <a:pt x="5255" y="294112"/>
                        <a:pt x="9202" y="281709"/>
                        <a:pt x="13125" y="269307"/>
                      </a:cubicBezTo>
                      <a:cubicBezTo>
                        <a:pt x="15619" y="261401"/>
                        <a:pt x="22295" y="248589"/>
                        <a:pt x="20327" y="240625"/>
                      </a:cubicBezTo>
                      <a:cubicBezTo>
                        <a:pt x="17446" y="228961"/>
                        <a:pt x="3943" y="220013"/>
                        <a:pt x="1261" y="208220"/>
                      </a:cubicBezTo>
                      <a:cubicBezTo>
                        <a:pt x="-1901" y="194259"/>
                        <a:pt x="1249" y="177863"/>
                        <a:pt x="6648" y="165203"/>
                      </a:cubicBezTo>
                      <a:cubicBezTo>
                        <a:pt x="9705" y="158059"/>
                        <a:pt x="17236" y="148584"/>
                        <a:pt x="15783" y="140738"/>
                      </a:cubicBezTo>
                      <a:cubicBezTo>
                        <a:pt x="15362" y="138407"/>
                        <a:pt x="10982" y="136767"/>
                        <a:pt x="11813" y="134636"/>
                      </a:cubicBezTo>
                      <a:cubicBezTo>
                        <a:pt x="11860" y="134531"/>
                        <a:pt x="19988" y="131474"/>
                        <a:pt x="20972" y="131345"/>
                      </a:cubicBezTo>
                      <a:cubicBezTo>
                        <a:pt x="26347" y="130595"/>
                        <a:pt x="46538" y="132961"/>
                        <a:pt x="37461" y="122351"/>
                      </a:cubicBezTo>
                      <a:cubicBezTo>
                        <a:pt x="34592" y="119001"/>
                        <a:pt x="30071" y="123135"/>
                        <a:pt x="27717" y="119996"/>
                      </a:cubicBezTo>
                      <a:cubicBezTo>
                        <a:pt x="27858" y="120184"/>
                        <a:pt x="29275" y="110967"/>
                        <a:pt x="29240" y="109784"/>
                      </a:cubicBezTo>
                      <a:cubicBezTo>
                        <a:pt x="28971" y="102441"/>
                        <a:pt x="28959" y="97042"/>
                        <a:pt x="29556" y="89500"/>
                      </a:cubicBezTo>
                      <a:cubicBezTo>
                        <a:pt x="30212" y="81360"/>
                        <a:pt x="42544" y="72764"/>
                        <a:pt x="41654" y="84909"/>
                      </a:cubicBezTo>
                      <a:cubicBezTo>
                        <a:pt x="40378" y="84300"/>
                        <a:pt x="39089" y="84206"/>
                        <a:pt x="38070" y="83796"/>
                      </a:cubicBezTo>
                      <a:cubicBezTo>
                        <a:pt x="42333" y="91819"/>
                        <a:pt x="41818" y="92357"/>
                        <a:pt x="48189" y="89043"/>
                      </a:cubicBezTo>
                      <a:cubicBezTo>
                        <a:pt x="50613" y="87790"/>
                        <a:pt x="55380" y="80341"/>
                        <a:pt x="56727" y="79744"/>
                      </a:cubicBezTo>
                      <a:cubicBezTo>
                        <a:pt x="62243" y="77261"/>
                        <a:pt x="63402" y="88575"/>
                        <a:pt x="65838" y="93844"/>
                      </a:cubicBezTo>
                      <a:cubicBezTo>
                        <a:pt x="70289" y="103472"/>
                        <a:pt x="77000" y="109234"/>
                        <a:pt x="83066" y="117596"/>
                      </a:cubicBezTo>
                      <a:cubicBezTo>
                        <a:pt x="95188" y="134320"/>
                        <a:pt x="108785" y="138770"/>
                        <a:pt x="128109" y="144544"/>
                      </a:cubicBezTo>
                      <a:cubicBezTo>
                        <a:pt x="133777" y="146254"/>
                        <a:pt x="138216" y="147167"/>
                        <a:pt x="144470" y="147905"/>
                      </a:cubicBezTo>
                      <a:cubicBezTo>
                        <a:pt x="151286" y="148713"/>
                        <a:pt x="156052" y="152718"/>
                        <a:pt x="162189" y="153644"/>
                      </a:cubicBezTo>
                      <a:cubicBezTo>
                        <a:pt x="169591" y="154768"/>
                        <a:pt x="170504" y="150950"/>
                        <a:pt x="176946" y="154370"/>
                      </a:cubicBezTo>
                      <a:cubicBezTo>
                        <a:pt x="179042" y="155471"/>
                        <a:pt x="181431" y="158141"/>
                        <a:pt x="182427" y="158610"/>
                      </a:cubicBezTo>
                      <a:cubicBezTo>
                        <a:pt x="184488" y="157883"/>
                        <a:pt x="188903" y="165753"/>
                        <a:pt x="191234" y="168787"/>
                      </a:cubicBezTo>
                      <a:cubicBezTo>
                        <a:pt x="194888" y="173506"/>
                        <a:pt x="197125" y="180463"/>
                        <a:pt x="200966" y="184644"/>
                      </a:cubicBezTo>
                      <a:cubicBezTo>
                        <a:pt x="209129" y="193545"/>
                        <a:pt x="216191" y="202551"/>
                        <a:pt x="224600" y="211159"/>
                      </a:cubicBezTo>
                      <a:cubicBezTo>
                        <a:pt x="224354" y="211417"/>
                        <a:pt x="223476" y="211030"/>
                        <a:pt x="223499" y="210995"/>
                      </a:cubicBezTo>
                      <a:cubicBezTo>
                        <a:pt x="224647" y="212037"/>
                        <a:pt x="231322" y="212506"/>
                        <a:pt x="233946" y="212787"/>
                      </a:cubicBezTo>
                      <a:cubicBezTo>
                        <a:pt x="233407" y="212728"/>
                        <a:pt x="236265" y="215551"/>
                        <a:pt x="236194" y="215481"/>
                      </a:cubicBezTo>
                      <a:cubicBezTo>
                        <a:pt x="236124" y="214872"/>
                        <a:pt x="235679" y="213654"/>
                        <a:pt x="235503" y="213045"/>
                      </a:cubicBezTo>
                      <a:cubicBezTo>
                        <a:pt x="249335" y="211850"/>
                        <a:pt x="233864" y="235390"/>
                        <a:pt x="232119" y="238962"/>
                      </a:cubicBezTo>
                      <a:cubicBezTo>
                        <a:pt x="227411" y="248530"/>
                        <a:pt x="223019" y="261390"/>
                        <a:pt x="215371" y="270255"/>
                      </a:cubicBezTo>
                      <a:cubicBezTo>
                        <a:pt x="207443" y="279461"/>
                        <a:pt x="194806" y="285410"/>
                        <a:pt x="186983" y="296899"/>
                      </a:cubicBezTo>
                      <a:cubicBezTo>
                        <a:pt x="184757" y="300178"/>
                        <a:pt x="175224" y="311281"/>
                        <a:pt x="182474" y="308740"/>
                      </a:cubicBezTo>
                      <a:cubicBezTo>
                        <a:pt x="178035" y="313026"/>
                        <a:pt x="175540" y="317476"/>
                        <a:pt x="172331" y="324878"/>
                      </a:cubicBezTo>
                      <a:cubicBezTo>
                        <a:pt x="168385" y="333943"/>
                        <a:pt x="166850" y="328731"/>
                        <a:pt x="158816" y="331483"/>
                      </a:cubicBezTo>
                      <a:cubicBezTo>
                        <a:pt x="157387" y="331085"/>
                        <a:pt x="154553" y="329469"/>
                        <a:pt x="155572" y="326225"/>
                      </a:cubicBezTo>
                      <a:cubicBezTo>
                        <a:pt x="155877" y="327091"/>
                        <a:pt x="155619" y="327946"/>
                        <a:pt x="156685" y="328485"/>
                      </a:cubicBezTo>
                      <a:cubicBezTo>
                        <a:pt x="156029" y="320545"/>
                        <a:pt x="158723" y="313658"/>
                        <a:pt x="148393" y="322454"/>
                      </a:cubicBezTo>
                      <a:cubicBezTo>
                        <a:pt x="147819" y="322934"/>
                        <a:pt x="147456" y="325534"/>
                        <a:pt x="147011" y="326190"/>
                      </a:cubicBezTo>
                      <a:cubicBezTo>
                        <a:pt x="146367" y="327115"/>
                        <a:pt x="143802" y="327326"/>
                        <a:pt x="142900" y="328626"/>
                      </a:cubicBezTo>
                      <a:cubicBezTo>
                        <a:pt x="142198" y="329644"/>
                        <a:pt x="142900" y="332221"/>
                        <a:pt x="142994" y="332104"/>
                      </a:cubicBezTo>
                      <a:cubicBezTo>
                        <a:pt x="142373" y="332842"/>
                        <a:pt x="139422" y="334809"/>
                        <a:pt x="139059" y="335442"/>
                      </a:cubicBezTo>
                      <a:cubicBezTo>
                        <a:pt x="134714" y="342867"/>
                        <a:pt x="136108" y="350819"/>
                        <a:pt x="132173" y="359684"/>
                      </a:cubicBezTo>
                      <a:cubicBezTo>
                        <a:pt x="127418" y="370436"/>
                        <a:pt x="130627" y="372450"/>
                        <a:pt x="132653" y="383482"/>
                      </a:cubicBezTo>
                      <a:cubicBezTo>
                        <a:pt x="133379" y="387523"/>
                        <a:pt x="132372" y="390872"/>
                        <a:pt x="133297" y="395147"/>
                      </a:cubicBezTo>
                      <a:cubicBezTo>
                        <a:pt x="134199" y="399305"/>
                        <a:pt x="136834" y="403439"/>
                        <a:pt x="133847" y="406753"/>
                      </a:cubicBezTo>
                      <a:cubicBezTo>
                        <a:pt x="130463" y="410524"/>
                        <a:pt x="120625" y="408147"/>
                        <a:pt x="116257" y="408463"/>
                      </a:cubicBezTo>
                      <a:cubicBezTo>
                        <a:pt x="107731" y="409107"/>
                        <a:pt x="98783" y="411028"/>
                        <a:pt x="90995" y="414635"/>
                      </a:cubicBezTo>
                      <a:cubicBezTo>
                        <a:pt x="80267" y="419612"/>
                        <a:pt x="74540" y="426253"/>
                        <a:pt x="72409" y="437273"/>
                      </a:cubicBezTo>
                      <a:cubicBezTo>
                        <a:pt x="70406" y="447568"/>
                        <a:pt x="69422" y="452381"/>
                        <a:pt x="61388" y="458483"/>
                      </a:cubicBezTo>
                      <a:cubicBezTo>
                        <a:pt x="58507" y="460661"/>
                        <a:pt x="59479" y="462008"/>
                        <a:pt x="56809" y="462781"/>
                      </a:cubicBezTo>
                      <a:cubicBezTo>
                        <a:pt x="54654" y="463425"/>
                        <a:pt x="49150" y="462769"/>
                        <a:pt x="46514" y="462968"/>
                      </a:cubicBezTo>
                      <a:cubicBezTo>
                        <a:pt x="38773" y="463554"/>
                        <a:pt x="30189" y="463964"/>
                        <a:pt x="22365" y="465217"/>
                      </a:cubicBezTo>
                      <a:cubicBezTo>
                        <a:pt x="10384" y="467138"/>
                        <a:pt x="9272" y="473134"/>
                        <a:pt x="1273" y="481485"/>
                      </a:cubicBezTo>
                      <a:cubicBezTo>
                        <a:pt x="1285" y="423173"/>
                        <a:pt x="1285" y="364838"/>
                        <a:pt x="1285" y="306503"/>
                      </a:cubicBezTo>
                      <a:lnTo>
                        <a:pt x="1285" y="306503"/>
                      </a:lnTo>
                      <a:close/>
                      <a:moveTo>
                        <a:pt x="59444" y="0"/>
                      </a:moveTo>
                      <a:cubicBezTo>
                        <a:pt x="60194" y="925"/>
                        <a:pt x="59854" y="2249"/>
                        <a:pt x="61212" y="761"/>
                      </a:cubicBezTo>
                      <a:cubicBezTo>
                        <a:pt x="62173" y="2495"/>
                        <a:pt x="62700" y="2389"/>
                        <a:pt x="65557" y="3057"/>
                      </a:cubicBezTo>
                      <a:cubicBezTo>
                        <a:pt x="65511" y="3080"/>
                        <a:pt x="65206" y="1897"/>
                        <a:pt x="65171" y="1909"/>
                      </a:cubicBezTo>
                      <a:cubicBezTo>
                        <a:pt x="65534" y="1780"/>
                        <a:pt x="65909" y="1652"/>
                        <a:pt x="66284" y="1523"/>
                      </a:cubicBezTo>
                      <a:cubicBezTo>
                        <a:pt x="66295" y="1429"/>
                        <a:pt x="66717" y="3537"/>
                        <a:pt x="66693" y="3479"/>
                      </a:cubicBezTo>
                      <a:cubicBezTo>
                        <a:pt x="61786" y="3467"/>
                        <a:pt x="58952" y="8456"/>
                        <a:pt x="64984" y="7636"/>
                      </a:cubicBezTo>
                      <a:cubicBezTo>
                        <a:pt x="65335" y="7261"/>
                        <a:pt x="64503" y="9814"/>
                        <a:pt x="64117" y="10271"/>
                      </a:cubicBezTo>
                      <a:cubicBezTo>
                        <a:pt x="63227" y="9779"/>
                        <a:pt x="64234" y="9182"/>
                        <a:pt x="62665" y="9182"/>
                      </a:cubicBezTo>
                      <a:cubicBezTo>
                        <a:pt x="63602" y="10423"/>
                        <a:pt x="63883" y="11922"/>
                        <a:pt x="65171" y="13410"/>
                      </a:cubicBezTo>
                      <a:cubicBezTo>
                        <a:pt x="62559" y="12895"/>
                        <a:pt x="62711" y="12555"/>
                        <a:pt x="61212" y="11126"/>
                      </a:cubicBezTo>
                      <a:cubicBezTo>
                        <a:pt x="61107" y="11032"/>
                        <a:pt x="59983" y="11911"/>
                        <a:pt x="59830" y="11852"/>
                      </a:cubicBezTo>
                      <a:cubicBezTo>
                        <a:pt x="59538" y="10798"/>
                        <a:pt x="60275" y="10904"/>
                        <a:pt x="60557" y="10330"/>
                      </a:cubicBezTo>
                      <a:cubicBezTo>
                        <a:pt x="57406" y="11138"/>
                        <a:pt x="57043" y="11852"/>
                        <a:pt x="57676" y="15319"/>
                      </a:cubicBezTo>
                      <a:cubicBezTo>
                        <a:pt x="58273" y="14429"/>
                        <a:pt x="58156" y="13984"/>
                        <a:pt x="59116" y="13410"/>
                      </a:cubicBezTo>
                      <a:cubicBezTo>
                        <a:pt x="59139" y="16373"/>
                        <a:pt x="61294" y="17052"/>
                        <a:pt x="64808" y="16045"/>
                      </a:cubicBezTo>
                      <a:cubicBezTo>
                        <a:pt x="63110" y="17158"/>
                        <a:pt x="61107" y="19477"/>
                        <a:pt x="60147" y="20308"/>
                      </a:cubicBezTo>
                      <a:cubicBezTo>
                        <a:pt x="60334" y="20355"/>
                        <a:pt x="61915" y="20202"/>
                        <a:pt x="62196" y="20261"/>
                      </a:cubicBezTo>
                      <a:cubicBezTo>
                        <a:pt x="61423" y="23329"/>
                        <a:pt x="61166" y="22486"/>
                        <a:pt x="63801" y="24501"/>
                      </a:cubicBezTo>
                      <a:cubicBezTo>
                        <a:pt x="63449" y="24501"/>
                        <a:pt x="62829" y="25391"/>
                        <a:pt x="63051" y="25672"/>
                      </a:cubicBezTo>
                      <a:cubicBezTo>
                        <a:pt x="59655" y="24641"/>
                        <a:pt x="59491" y="32839"/>
                        <a:pt x="55907" y="35943"/>
                      </a:cubicBezTo>
                      <a:cubicBezTo>
                        <a:pt x="55907" y="35556"/>
                        <a:pt x="55907" y="35158"/>
                        <a:pt x="55907" y="34772"/>
                      </a:cubicBezTo>
                      <a:cubicBezTo>
                        <a:pt x="54209" y="37044"/>
                        <a:pt x="53764" y="39702"/>
                        <a:pt x="54713" y="42314"/>
                      </a:cubicBezTo>
                      <a:cubicBezTo>
                        <a:pt x="39347" y="47069"/>
                        <a:pt x="56200" y="12531"/>
                        <a:pt x="44196" y="18141"/>
                      </a:cubicBezTo>
                      <a:cubicBezTo>
                        <a:pt x="45343" y="14042"/>
                        <a:pt x="48189" y="9826"/>
                        <a:pt x="51012" y="6863"/>
                      </a:cubicBezTo>
                      <a:cubicBezTo>
                        <a:pt x="51023" y="8081"/>
                        <a:pt x="51234" y="8807"/>
                        <a:pt x="51246" y="9955"/>
                      </a:cubicBezTo>
                      <a:cubicBezTo>
                        <a:pt x="54584" y="8667"/>
                        <a:pt x="53272" y="9709"/>
                        <a:pt x="55556" y="10704"/>
                      </a:cubicBezTo>
                      <a:cubicBezTo>
                        <a:pt x="56961" y="10447"/>
                        <a:pt x="59491" y="9943"/>
                        <a:pt x="61236" y="9557"/>
                      </a:cubicBezTo>
                      <a:cubicBezTo>
                        <a:pt x="58976" y="8632"/>
                        <a:pt x="59456" y="8374"/>
                        <a:pt x="56247" y="9182"/>
                      </a:cubicBezTo>
                      <a:cubicBezTo>
                        <a:pt x="56434" y="7976"/>
                        <a:pt x="56317" y="6500"/>
                        <a:pt x="56633" y="5341"/>
                      </a:cubicBezTo>
                      <a:cubicBezTo>
                        <a:pt x="57371" y="5774"/>
                        <a:pt x="57945" y="6629"/>
                        <a:pt x="58847" y="6758"/>
                      </a:cubicBezTo>
                      <a:cubicBezTo>
                        <a:pt x="58167" y="5961"/>
                        <a:pt x="58437" y="5224"/>
                        <a:pt x="56961" y="4263"/>
                      </a:cubicBezTo>
                      <a:cubicBezTo>
                        <a:pt x="58530" y="3045"/>
                        <a:pt x="58484" y="1195"/>
                        <a:pt x="59444" y="0"/>
                      </a:cubicBezTo>
                      <a:lnTo>
                        <a:pt x="59444" y="0"/>
                      </a:lnTo>
                      <a:close/>
                    </a:path>
                  </a:pathLst>
                </a:custGeom>
                <a:solidFill>
                  <a:srgbClr val="D6D6D2"/>
                </a:solidFill>
                <a:ln w="8774" cap="rnd">
                  <a:solidFill>
                    <a:srgbClr val="FFFFFF"/>
                  </a:solidFill>
                  <a:prstDash val="solid"/>
                  <a:round/>
                </a:ln>
              </p:spPr>
              <p:txBody>
                <a:bodyPr rtlCol="0" anchor="ctr"/>
                <a:lstStyle/>
                <a:p>
                  <a:endParaRPr lang="en-US"/>
                </a:p>
              </p:txBody>
            </p:sp>
            <p:sp>
              <p:nvSpPr>
                <p:cNvPr id="115" name="Freeform: Shape 114">
                  <a:extLst>
                    <a:ext uri="{FF2B5EF4-FFF2-40B4-BE49-F238E27FC236}">
                      <a16:creationId xmlns:a16="http://schemas.microsoft.com/office/drawing/2014/main" id="{73A7D61F-9D42-46F0-ACDB-A43EDA443E76}"/>
                    </a:ext>
                  </a:extLst>
                </p:cNvPr>
                <p:cNvSpPr/>
                <p:nvPr/>
              </p:nvSpPr>
              <p:spPr>
                <a:xfrm>
                  <a:off x="1293876" y="4444004"/>
                  <a:ext cx="423668" cy="230310"/>
                </a:xfrm>
                <a:custGeom>
                  <a:avLst/>
                  <a:gdLst>
                    <a:gd name="connsiteX0" fmla="*/ 421733 w 423668"/>
                    <a:gd name="connsiteY0" fmla="*/ 145203 h 230310"/>
                    <a:gd name="connsiteX1" fmla="*/ 416674 w 423668"/>
                    <a:gd name="connsiteY1" fmla="*/ 171109 h 230310"/>
                    <a:gd name="connsiteX2" fmla="*/ 414050 w 423668"/>
                    <a:gd name="connsiteY2" fmla="*/ 186955 h 230310"/>
                    <a:gd name="connsiteX3" fmla="*/ 421370 w 423668"/>
                    <a:gd name="connsiteY3" fmla="*/ 197858 h 230310"/>
                    <a:gd name="connsiteX4" fmla="*/ 413114 w 423668"/>
                    <a:gd name="connsiteY4" fmla="*/ 228144 h 230310"/>
                    <a:gd name="connsiteX5" fmla="*/ 402843 w 423668"/>
                    <a:gd name="connsiteY5" fmla="*/ 224549 h 230310"/>
                    <a:gd name="connsiteX6" fmla="*/ 391307 w 423668"/>
                    <a:gd name="connsiteY6" fmla="*/ 227477 h 230310"/>
                    <a:gd name="connsiteX7" fmla="*/ 381984 w 423668"/>
                    <a:gd name="connsiteY7" fmla="*/ 227020 h 230310"/>
                    <a:gd name="connsiteX8" fmla="*/ 379431 w 423668"/>
                    <a:gd name="connsiteY8" fmla="*/ 230299 h 230310"/>
                    <a:gd name="connsiteX9" fmla="*/ 375695 w 423668"/>
                    <a:gd name="connsiteY9" fmla="*/ 228144 h 230310"/>
                    <a:gd name="connsiteX10" fmla="*/ 365565 w 423668"/>
                    <a:gd name="connsiteY10" fmla="*/ 217136 h 230310"/>
                    <a:gd name="connsiteX11" fmla="*/ 349731 w 423668"/>
                    <a:gd name="connsiteY11" fmla="*/ 224772 h 230310"/>
                    <a:gd name="connsiteX12" fmla="*/ 328088 w 423668"/>
                    <a:gd name="connsiteY12" fmla="*/ 217147 h 230310"/>
                    <a:gd name="connsiteX13" fmla="*/ 317009 w 423668"/>
                    <a:gd name="connsiteY13" fmla="*/ 215660 h 230310"/>
                    <a:gd name="connsiteX14" fmla="*/ 309958 w 423668"/>
                    <a:gd name="connsiteY14" fmla="*/ 213552 h 230310"/>
                    <a:gd name="connsiteX15" fmla="*/ 305192 w 423668"/>
                    <a:gd name="connsiteY15" fmla="*/ 216386 h 230310"/>
                    <a:gd name="connsiteX16" fmla="*/ 299804 w 423668"/>
                    <a:gd name="connsiteY16" fmla="*/ 216082 h 230310"/>
                    <a:gd name="connsiteX17" fmla="*/ 295295 w 423668"/>
                    <a:gd name="connsiteY17" fmla="*/ 204604 h 230310"/>
                    <a:gd name="connsiteX18" fmla="*/ 281991 w 423668"/>
                    <a:gd name="connsiteY18" fmla="*/ 205530 h 230310"/>
                    <a:gd name="connsiteX19" fmla="*/ 274824 w 423668"/>
                    <a:gd name="connsiteY19" fmla="*/ 208352 h 230310"/>
                    <a:gd name="connsiteX20" fmla="*/ 265466 w 423668"/>
                    <a:gd name="connsiteY20" fmla="*/ 201161 h 230310"/>
                    <a:gd name="connsiteX21" fmla="*/ 257819 w 423668"/>
                    <a:gd name="connsiteY21" fmla="*/ 199966 h 230310"/>
                    <a:gd name="connsiteX22" fmla="*/ 251319 w 423668"/>
                    <a:gd name="connsiteY22" fmla="*/ 194638 h 230310"/>
                    <a:gd name="connsiteX23" fmla="*/ 240275 w 423668"/>
                    <a:gd name="connsiteY23" fmla="*/ 192038 h 230310"/>
                    <a:gd name="connsiteX24" fmla="*/ 241294 w 423668"/>
                    <a:gd name="connsiteY24" fmla="*/ 183278 h 230310"/>
                    <a:gd name="connsiteX25" fmla="*/ 216606 w 423668"/>
                    <a:gd name="connsiteY25" fmla="*/ 168978 h 230310"/>
                    <a:gd name="connsiteX26" fmla="*/ 213725 w 423668"/>
                    <a:gd name="connsiteY26" fmla="*/ 166296 h 230310"/>
                    <a:gd name="connsiteX27" fmla="*/ 208431 w 423668"/>
                    <a:gd name="connsiteY27" fmla="*/ 168134 h 230310"/>
                    <a:gd name="connsiteX28" fmla="*/ 198265 w 423668"/>
                    <a:gd name="connsiteY28" fmla="*/ 169247 h 230310"/>
                    <a:gd name="connsiteX29" fmla="*/ 178555 w 423668"/>
                    <a:gd name="connsiteY29" fmla="*/ 167221 h 230310"/>
                    <a:gd name="connsiteX30" fmla="*/ 173999 w 423668"/>
                    <a:gd name="connsiteY30" fmla="*/ 171250 h 230310"/>
                    <a:gd name="connsiteX31" fmla="*/ 167769 w 423668"/>
                    <a:gd name="connsiteY31" fmla="*/ 174084 h 230310"/>
                    <a:gd name="connsiteX32" fmla="*/ 164888 w 423668"/>
                    <a:gd name="connsiteY32" fmla="*/ 170465 h 230310"/>
                    <a:gd name="connsiteX33" fmla="*/ 156947 w 423668"/>
                    <a:gd name="connsiteY33" fmla="*/ 168708 h 230310"/>
                    <a:gd name="connsiteX34" fmla="*/ 140621 w 423668"/>
                    <a:gd name="connsiteY34" fmla="*/ 164504 h 230310"/>
                    <a:gd name="connsiteX35" fmla="*/ 136581 w 423668"/>
                    <a:gd name="connsiteY35" fmla="*/ 154034 h 230310"/>
                    <a:gd name="connsiteX36" fmla="*/ 128840 w 423668"/>
                    <a:gd name="connsiteY36" fmla="*/ 155791 h 230310"/>
                    <a:gd name="connsiteX37" fmla="*/ 120735 w 423668"/>
                    <a:gd name="connsiteY37" fmla="*/ 152804 h 230310"/>
                    <a:gd name="connsiteX38" fmla="*/ 106822 w 423668"/>
                    <a:gd name="connsiteY38" fmla="*/ 144067 h 230310"/>
                    <a:gd name="connsiteX39" fmla="*/ 98741 w 423668"/>
                    <a:gd name="connsiteY39" fmla="*/ 143892 h 230310"/>
                    <a:gd name="connsiteX40" fmla="*/ 89559 w 423668"/>
                    <a:gd name="connsiteY40" fmla="*/ 142451 h 230310"/>
                    <a:gd name="connsiteX41" fmla="*/ 81302 w 423668"/>
                    <a:gd name="connsiteY41" fmla="*/ 137380 h 230310"/>
                    <a:gd name="connsiteX42" fmla="*/ 73807 w 423668"/>
                    <a:gd name="connsiteY42" fmla="*/ 131068 h 230310"/>
                    <a:gd name="connsiteX43" fmla="*/ 71629 w 423668"/>
                    <a:gd name="connsiteY43" fmla="*/ 128667 h 230310"/>
                    <a:gd name="connsiteX44" fmla="*/ 68057 w 423668"/>
                    <a:gd name="connsiteY44" fmla="*/ 129873 h 230310"/>
                    <a:gd name="connsiteX45" fmla="*/ 56685 w 423668"/>
                    <a:gd name="connsiteY45" fmla="*/ 116077 h 230310"/>
                    <a:gd name="connsiteX46" fmla="*/ 45465 w 423668"/>
                    <a:gd name="connsiteY46" fmla="*/ 112446 h 230310"/>
                    <a:gd name="connsiteX47" fmla="*/ 36178 w 423668"/>
                    <a:gd name="connsiteY47" fmla="*/ 105724 h 230310"/>
                    <a:gd name="connsiteX48" fmla="*/ 23740 w 423668"/>
                    <a:gd name="connsiteY48" fmla="*/ 105572 h 230310"/>
                    <a:gd name="connsiteX49" fmla="*/ 868 w 423668"/>
                    <a:gd name="connsiteY49" fmla="*/ 90545 h 230310"/>
                    <a:gd name="connsiteX50" fmla="*/ 3842 w 423668"/>
                    <a:gd name="connsiteY50" fmla="*/ 80591 h 230310"/>
                    <a:gd name="connsiteX51" fmla="*/ 6782 w 423668"/>
                    <a:gd name="connsiteY51" fmla="*/ 73763 h 230310"/>
                    <a:gd name="connsiteX52" fmla="*/ 9675 w 423668"/>
                    <a:gd name="connsiteY52" fmla="*/ 68774 h 230310"/>
                    <a:gd name="connsiteX53" fmla="*/ 11713 w 423668"/>
                    <a:gd name="connsiteY53" fmla="*/ 69266 h 230310"/>
                    <a:gd name="connsiteX54" fmla="*/ 10893 w 423668"/>
                    <a:gd name="connsiteY54" fmla="*/ 59885 h 230310"/>
                    <a:gd name="connsiteX55" fmla="*/ 12966 w 423668"/>
                    <a:gd name="connsiteY55" fmla="*/ 53233 h 230310"/>
                    <a:gd name="connsiteX56" fmla="*/ 17779 w 423668"/>
                    <a:gd name="connsiteY56" fmla="*/ 43254 h 230310"/>
                    <a:gd name="connsiteX57" fmla="*/ 20438 w 423668"/>
                    <a:gd name="connsiteY57" fmla="*/ 36181 h 230310"/>
                    <a:gd name="connsiteX58" fmla="*/ 28847 w 423668"/>
                    <a:gd name="connsiteY58" fmla="*/ 26448 h 230310"/>
                    <a:gd name="connsiteX59" fmla="*/ 44364 w 423668"/>
                    <a:gd name="connsiteY59" fmla="*/ 11809 h 230310"/>
                    <a:gd name="connsiteX60" fmla="*/ 52024 w 423668"/>
                    <a:gd name="connsiteY60" fmla="*/ 15076 h 230310"/>
                    <a:gd name="connsiteX61" fmla="*/ 57551 w 423668"/>
                    <a:gd name="connsiteY61" fmla="*/ 22537 h 230310"/>
                    <a:gd name="connsiteX62" fmla="*/ 64379 w 423668"/>
                    <a:gd name="connsiteY62" fmla="*/ 19761 h 230310"/>
                    <a:gd name="connsiteX63" fmla="*/ 64344 w 423668"/>
                    <a:gd name="connsiteY63" fmla="*/ 16669 h 230310"/>
                    <a:gd name="connsiteX64" fmla="*/ 69076 w 423668"/>
                    <a:gd name="connsiteY64" fmla="*/ 13941 h 230310"/>
                    <a:gd name="connsiteX65" fmla="*/ 69813 w 423668"/>
                    <a:gd name="connsiteY65" fmla="*/ 5731 h 230310"/>
                    <a:gd name="connsiteX66" fmla="*/ 77274 w 423668"/>
                    <a:gd name="connsiteY66" fmla="*/ 4970 h 230310"/>
                    <a:gd name="connsiteX67" fmla="*/ 82438 w 423668"/>
                    <a:gd name="connsiteY67" fmla="*/ 16 h 230310"/>
                    <a:gd name="connsiteX68" fmla="*/ 93354 w 423668"/>
                    <a:gd name="connsiteY68" fmla="*/ 2791 h 230310"/>
                    <a:gd name="connsiteX69" fmla="*/ 101997 w 423668"/>
                    <a:gd name="connsiteY69" fmla="*/ 4993 h 230310"/>
                    <a:gd name="connsiteX70" fmla="*/ 107009 w 423668"/>
                    <a:gd name="connsiteY70" fmla="*/ 10626 h 230310"/>
                    <a:gd name="connsiteX71" fmla="*/ 109902 w 423668"/>
                    <a:gd name="connsiteY71" fmla="*/ 12734 h 230310"/>
                    <a:gd name="connsiteX72" fmla="*/ 109246 w 423668"/>
                    <a:gd name="connsiteY72" fmla="*/ 16728 h 230310"/>
                    <a:gd name="connsiteX73" fmla="*/ 118030 w 423668"/>
                    <a:gd name="connsiteY73" fmla="*/ 21729 h 230310"/>
                    <a:gd name="connsiteX74" fmla="*/ 134859 w 423668"/>
                    <a:gd name="connsiteY74" fmla="*/ 32984 h 230310"/>
                    <a:gd name="connsiteX75" fmla="*/ 140223 w 423668"/>
                    <a:gd name="connsiteY75" fmla="*/ 37539 h 230310"/>
                    <a:gd name="connsiteX76" fmla="*/ 147320 w 423668"/>
                    <a:gd name="connsiteY76" fmla="*/ 42868 h 230310"/>
                    <a:gd name="connsiteX77" fmla="*/ 152895 w 423668"/>
                    <a:gd name="connsiteY77" fmla="*/ 42880 h 230310"/>
                    <a:gd name="connsiteX78" fmla="*/ 157591 w 423668"/>
                    <a:gd name="connsiteY78" fmla="*/ 47435 h 230310"/>
                    <a:gd name="connsiteX79" fmla="*/ 160671 w 423668"/>
                    <a:gd name="connsiteY79" fmla="*/ 45491 h 230310"/>
                    <a:gd name="connsiteX80" fmla="*/ 170170 w 423668"/>
                    <a:gd name="connsiteY80" fmla="*/ 53537 h 230310"/>
                    <a:gd name="connsiteX81" fmla="*/ 181483 w 423668"/>
                    <a:gd name="connsiteY81" fmla="*/ 68071 h 230310"/>
                    <a:gd name="connsiteX82" fmla="*/ 194295 w 423668"/>
                    <a:gd name="connsiteY82" fmla="*/ 67521 h 230310"/>
                    <a:gd name="connsiteX83" fmla="*/ 208759 w 423668"/>
                    <a:gd name="connsiteY83" fmla="*/ 66689 h 230310"/>
                    <a:gd name="connsiteX84" fmla="*/ 216664 w 423668"/>
                    <a:gd name="connsiteY84" fmla="*/ 77850 h 230310"/>
                    <a:gd name="connsiteX85" fmla="*/ 220517 w 423668"/>
                    <a:gd name="connsiteY85" fmla="*/ 87173 h 230310"/>
                    <a:gd name="connsiteX86" fmla="*/ 226994 w 423668"/>
                    <a:gd name="connsiteY86" fmla="*/ 90030 h 230310"/>
                    <a:gd name="connsiteX87" fmla="*/ 230109 w 423668"/>
                    <a:gd name="connsiteY87" fmla="*/ 95312 h 230310"/>
                    <a:gd name="connsiteX88" fmla="*/ 238623 w 423668"/>
                    <a:gd name="connsiteY88" fmla="*/ 97877 h 230310"/>
                    <a:gd name="connsiteX89" fmla="*/ 245346 w 423668"/>
                    <a:gd name="connsiteY89" fmla="*/ 103768 h 230310"/>
                    <a:gd name="connsiteX90" fmla="*/ 255347 w 423668"/>
                    <a:gd name="connsiteY90" fmla="*/ 106930 h 230310"/>
                    <a:gd name="connsiteX91" fmla="*/ 260782 w 423668"/>
                    <a:gd name="connsiteY91" fmla="*/ 101519 h 230310"/>
                    <a:gd name="connsiteX92" fmla="*/ 263569 w 423668"/>
                    <a:gd name="connsiteY92" fmla="*/ 116920 h 230310"/>
                    <a:gd name="connsiteX93" fmla="*/ 280024 w 423668"/>
                    <a:gd name="connsiteY93" fmla="*/ 121054 h 230310"/>
                    <a:gd name="connsiteX94" fmla="*/ 295225 w 423668"/>
                    <a:gd name="connsiteY94" fmla="*/ 118419 h 230310"/>
                    <a:gd name="connsiteX95" fmla="*/ 304126 w 423668"/>
                    <a:gd name="connsiteY95" fmla="*/ 129264 h 230310"/>
                    <a:gd name="connsiteX96" fmla="*/ 308740 w 423668"/>
                    <a:gd name="connsiteY96" fmla="*/ 140928 h 230310"/>
                    <a:gd name="connsiteX97" fmla="*/ 319398 w 423668"/>
                    <a:gd name="connsiteY97" fmla="*/ 128538 h 230310"/>
                    <a:gd name="connsiteX98" fmla="*/ 323146 w 423668"/>
                    <a:gd name="connsiteY98" fmla="*/ 137790 h 230310"/>
                    <a:gd name="connsiteX99" fmla="*/ 335103 w 423668"/>
                    <a:gd name="connsiteY99" fmla="*/ 141924 h 230310"/>
                    <a:gd name="connsiteX100" fmla="*/ 340935 w 423668"/>
                    <a:gd name="connsiteY100" fmla="*/ 131349 h 230310"/>
                    <a:gd name="connsiteX101" fmla="*/ 347716 w 423668"/>
                    <a:gd name="connsiteY101" fmla="*/ 131782 h 230310"/>
                    <a:gd name="connsiteX102" fmla="*/ 351405 w 423668"/>
                    <a:gd name="connsiteY102" fmla="*/ 136677 h 230310"/>
                    <a:gd name="connsiteX103" fmla="*/ 364979 w 423668"/>
                    <a:gd name="connsiteY103" fmla="*/ 140847 h 230310"/>
                    <a:gd name="connsiteX104" fmla="*/ 374875 w 423668"/>
                    <a:gd name="connsiteY104" fmla="*/ 147042 h 230310"/>
                    <a:gd name="connsiteX105" fmla="*/ 383495 w 423668"/>
                    <a:gd name="connsiteY105" fmla="*/ 145859 h 230310"/>
                    <a:gd name="connsiteX106" fmla="*/ 382652 w 423668"/>
                    <a:gd name="connsiteY106" fmla="*/ 148424 h 230310"/>
                    <a:gd name="connsiteX107" fmla="*/ 403159 w 423668"/>
                    <a:gd name="connsiteY107" fmla="*/ 147230 h 230310"/>
                    <a:gd name="connsiteX108" fmla="*/ 412704 w 423668"/>
                    <a:gd name="connsiteY108" fmla="*/ 143447 h 230310"/>
                    <a:gd name="connsiteX109" fmla="*/ 421733 w 423668"/>
                    <a:gd name="connsiteY109" fmla="*/ 145203 h 230310"/>
                    <a:gd name="connsiteX110" fmla="*/ 421733 w 423668"/>
                    <a:gd name="connsiteY110" fmla="*/ 145203 h 23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423668" h="230310">
                      <a:moveTo>
                        <a:pt x="421733" y="145203"/>
                      </a:moveTo>
                      <a:cubicBezTo>
                        <a:pt x="427940" y="147159"/>
                        <a:pt x="417283" y="166026"/>
                        <a:pt x="416674" y="171109"/>
                      </a:cubicBezTo>
                      <a:cubicBezTo>
                        <a:pt x="416217" y="174857"/>
                        <a:pt x="413336" y="183547"/>
                        <a:pt x="414050" y="186955"/>
                      </a:cubicBezTo>
                      <a:cubicBezTo>
                        <a:pt x="414870" y="190773"/>
                        <a:pt x="419367" y="194029"/>
                        <a:pt x="421370" y="197858"/>
                      </a:cubicBezTo>
                      <a:cubicBezTo>
                        <a:pt x="425434" y="205600"/>
                        <a:pt x="422600" y="228835"/>
                        <a:pt x="413114" y="228144"/>
                      </a:cubicBezTo>
                      <a:cubicBezTo>
                        <a:pt x="408370" y="227805"/>
                        <a:pt x="409600" y="223331"/>
                        <a:pt x="402843" y="224549"/>
                      </a:cubicBezTo>
                      <a:cubicBezTo>
                        <a:pt x="400020" y="225053"/>
                        <a:pt x="395956" y="227395"/>
                        <a:pt x="391307" y="227477"/>
                      </a:cubicBezTo>
                      <a:cubicBezTo>
                        <a:pt x="387688" y="227535"/>
                        <a:pt x="385919" y="226423"/>
                        <a:pt x="381984" y="227020"/>
                      </a:cubicBezTo>
                      <a:cubicBezTo>
                        <a:pt x="380731" y="227219"/>
                        <a:pt x="381036" y="230124"/>
                        <a:pt x="379431" y="230299"/>
                      </a:cubicBezTo>
                      <a:cubicBezTo>
                        <a:pt x="377838" y="230487"/>
                        <a:pt x="376667" y="228215"/>
                        <a:pt x="375695" y="228144"/>
                      </a:cubicBezTo>
                      <a:cubicBezTo>
                        <a:pt x="369523" y="227723"/>
                        <a:pt x="365951" y="224818"/>
                        <a:pt x="365565" y="217136"/>
                      </a:cubicBezTo>
                      <a:cubicBezTo>
                        <a:pt x="360892" y="221141"/>
                        <a:pt x="355141" y="224256"/>
                        <a:pt x="349731" y="224772"/>
                      </a:cubicBezTo>
                      <a:cubicBezTo>
                        <a:pt x="343207" y="225392"/>
                        <a:pt x="335911" y="218553"/>
                        <a:pt x="328088" y="217147"/>
                      </a:cubicBezTo>
                      <a:cubicBezTo>
                        <a:pt x="325172" y="216620"/>
                        <a:pt x="321061" y="216175"/>
                        <a:pt x="317009" y="215660"/>
                      </a:cubicBezTo>
                      <a:cubicBezTo>
                        <a:pt x="313811" y="215250"/>
                        <a:pt x="313355" y="213107"/>
                        <a:pt x="309958" y="213552"/>
                      </a:cubicBezTo>
                      <a:cubicBezTo>
                        <a:pt x="307920" y="213821"/>
                        <a:pt x="306866" y="216140"/>
                        <a:pt x="305192" y="216386"/>
                      </a:cubicBezTo>
                      <a:cubicBezTo>
                        <a:pt x="302159" y="216843"/>
                        <a:pt x="302299" y="217627"/>
                        <a:pt x="299804" y="216082"/>
                      </a:cubicBezTo>
                      <a:cubicBezTo>
                        <a:pt x="293996" y="212474"/>
                        <a:pt x="298645" y="208539"/>
                        <a:pt x="295295" y="204604"/>
                      </a:cubicBezTo>
                      <a:cubicBezTo>
                        <a:pt x="291009" y="199557"/>
                        <a:pt x="286535" y="203597"/>
                        <a:pt x="281991" y="205530"/>
                      </a:cubicBezTo>
                      <a:cubicBezTo>
                        <a:pt x="280984" y="205963"/>
                        <a:pt x="276194" y="208364"/>
                        <a:pt x="274824" y="208352"/>
                      </a:cubicBezTo>
                      <a:cubicBezTo>
                        <a:pt x="267469" y="208305"/>
                        <a:pt x="269366" y="203878"/>
                        <a:pt x="265466" y="201161"/>
                      </a:cubicBezTo>
                      <a:cubicBezTo>
                        <a:pt x="264436" y="200435"/>
                        <a:pt x="259810" y="200950"/>
                        <a:pt x="257819" y="199966"/>
                      </a:cubicBezTo>
                      <a:cubicBezTo>
                        <a:pt x="255488" y="198819"/>
                        <a:pt x="254153" y="196195"/>
                        <a:pt x="251319" y="194638"/>
                      </a:cubicBezTo>
                      <a:cubicBezTo>
                        <a:pt x="248836" y="193268"/>
                        <a:pt x="242277" y="194450"/>
                        <a:pt x="240275" y="192038"/>
                      </a:cubicBezTo>
                      <a:cubicBezTo>
                        <a:pt x="238377" y="189742"/>
                        <a:pt x="241551" y="186346"/>
                        <a:pt x="241294" y="183278"/>
                      </a:cubicBezTo>
                      <a:cubicBezTo>
                        <a:pt x="240228" y="171191"/>
                        <a:pt x="223961" y="173744"/>
                        <a:pt x="216606" y="168978"/>
                      </a:cubicBezTo>
                      <a:cubicBezTo>
                        <a:pt x="215388" y="168193"/>
                        <a:pt x="215681" y="166647"/>
                        <a:pt x="213725" y="166296"/>
                      </a:cubicBezTo>
                      <a:cubicBezTo>
                        <a:pt x="209555" y="165570"/>
                        <a:pt x="213420" y="167350"/>
                        <a:pt x="208431" y="168134"/>
                      </a:cubicBezTo>
                      <a:cubicBezTo>
                        <a:pt x="205211" y="168638"/>
                        <a:pt x="201627" y="168205"/>
                        <a:pt x="198265" y="169247"/>
                      </a:cubicBezTo>
                      <a:cubicBezTo>
                        <a:pt x="206522" y="179179"/>
                        <a:pt x="182900" y="166413"/>
                        <a:pt x="178555" y="167221"/>
                      </a:cubicBezTo>
                      <a:cubicBezTo>
                        <a:pt x="172289" y="168392"/>
                        <a:pt x="175768" y="170149"/>
                        <a:pt x="173999" y="171250"/>
                      </a:cubicBezTo>
                      <a:cubicBezTo>
                        <a:pt x="170146" y="173674"/>
                        <a:pt x="172641" y="175056"/>
                        <a:pt x="167769" y="174084"/>
                      </a:cubicBezTo>
                      <a:cubicBezTo>
                        <a:pt x="167406" y="174014"/>
                        <a:pt x="165567" y="170781"/>
                        <a:pt x="164888" y="170465"/>
                      </a:cubicBezTo>
                      <a:cubicBezTo>
                        <a:pt x="161866" y="169036"/>
                        <a:pt x="160121" y="169505"/>
                        <a:pt x="156947" y="168708"/>
                      </a:cubicBezTo>
                      <a:cubicBezTo>
                        <a:pt x="153340" y="167795"/>
                        <a:pt x="142905" y="166846"/>
                        <a:pt x="140621" y="164504"/>
                      </a:cubicBezTo>
                      <a:cubicBezTo>
                        <a:pt x="137846" y="161623"/>
                        <a:pt x="141347" y="155919"/>
                        <a:pt x="136581" y="154034"/>
                      </a:cubicBezTo>
                      <a:cubicBezTo>
                        <a:pt x="134742" y="153308"/>
                        <a:pt x="131030" y="155837"/>
                        <a:pt x="128840" y="155791"/>
                      </a:cubicBezTo>
                      <a:cubicBezTo>
                        <a:pt x="123710" y="155673"/>
                        <a:pt x="125256" y="155111"/>
                        <a:pt x="120735" y="152804"/>
                      </a:cubicBezTo>
                      <a:cubicBezTo>
                        <a:pt x="115922" y="150357"/>
                        <a:pt x="111788" y="145847"/>
                        <a:pt x="106822" y="144067"/>
                      </a:cubicBezTo>
                      <a:cubicBezTo>
                        <a:pt x="103062" y="142721"/>
                        <a:pt x="102055" y="143704"/>
                        <a:pt x="98741" y="143892"/>
                      </a:cubicBezTo>
                      <a:cubicBezTo>
                        <a:pt x="93904" y="144161"/>
                        <a:pt x="95333" y="145543"/>
                        <a:pt x="89559" y="142451"/>
                      </a:cubicBezTo>
                      <a:cubicBezTo>
                        <a:pt x="86924" y="141046"/>
                        <a:pt x="83856" y="138891"/>
                        <a:pt x="81302" y="137380"/>
                      </a:cubicBezTo>
                      <a:cubicBezTo>
                        <a:pt x="78878" y="135951"/>
                        <a:pt x="75517" y="131946"/>
                        <a:pt x="73807" y="131068"/>
                      </a:cubicBezTo>
                      <a:cubicBezTo>
                        <a:pt x="72964" y="130623"/>
                        <a:pt x="72694" y="129088"/>
                        <a:pt x="71629" y="128667"/>
                      </a:cubicBezTo>
                      <a:cubicBezTo>
                        <a:pt x="70352" y="128163"/>
                        <a:pt x="67178" y="129381"/>
                        <a:pt x="68057" y="129873"/>
                      </a:cubicBezTo>
                      <a:cubicBezTo>
                        <a:pt x="64742" y="128034"/>
                        <a:pt x="62119" y="120199"/>
                        <a:pt x="56685" y="116077"/>
                      </a:cubicBezTo>
                      <a:cubicBezTo>
                        <a:pt x="53452" y="113629"/>
                        <a:pt x="48744" y="114191"/>
                        <a:pt x="45465" y="112446"/>
                      </a:cubicBezTo>
                      <a:cubicBezTo>
                        <a:pt x="42584" y="110924"/>
                        <a:pt x="39844" y="107797"/>
                        <a:pt x="36178" y="105724"/>
                      </a:cubicBezTo>
                      <a:cubicBezTo>
                        <a:pt x="33051" y="103967"/>
                        <a:pt x="19770" y="92654"/>
                        <a:pt x="23740" y="105572"/>
                      </a:cubicBezTo>
                      <a:cubicBezTo>
                        <a:pt x="19653" y="99575"/>
                        <a:pt x="4323" y="97584"/>
                        <a:pt x="868" y="90545"/>
                      </a:cubicBezTo>
                      <a:cubicBezTo>
                        <a:pt x="-1627" y="85486"/>
                        <a:pt x="1851" y="84432"/>
                        <a:pt x="3842" y="80591"/>
                      </a:cubicBezTo>
                      <a:cubicBezTo>
                        <a:pt x="4756" y="78834"/>
                        <a:pt x="5974" y="75391"/>
                        <a:pt x="6782" y="73763"/>
                      </a:cubicBezTo>
                      <a:cubicBezTo>
                        <a:pt x="7707" y="71877"/>
                        <a:pt x="11876" y="74196"/>
                        <a:pt x="9675" y="68774"/>
                      </a:cubicBezTo>
                      <a:cubicBezTo>
                        <a:pt x="10401" y="68786"/>
                        <a:pt x="11092" y="69336"/>
                        <a:pt x="11713" y="69266"/>
                      </a:cubicBezTo>
                      <a:cubicBezTo>
                        <a:pt x="14734" y="63960"/>
                        <a:pt x="10811" y="63972"/>
                        <a:pt x="10893" y="59885"/>
                      </a:cubicBezTo>
                      <a:cubicBezTo>
                        <a:pt x="10998" y="54978"/>
                        <a:pt x="10413" y="57379"/>
                        <a:pt x="12966" y="53233"/>
                      </a:cubicBezTo>
                      <a:cubicBezTo>
                        <a:pt x="15425" y="49251"/>
                        <a:pt x="16374" y="47471"/>
                        <a:pt x="17779" y="43254"/>
                      </a:cubicBezTo>
                      <a:cubicBezTo>
                        <a:pt x="19114" y="39249"/>
                        <a:pt x="17311" y="40116"/>
                        <a:pt x="20438" y="36181"/>
                      </a:cubicBezTo>
                      <a:cubicBezTo>
                        <a:pt x="22370" y="33768"/>
                        <a:pt x="26481" y="28639"/>
                        <a:pt x="28847" y="26448"/>
                      </a:cubicBezTo>
                      <a:cubicBezTo>
                        <a:pt x="34374" y="21331"/>
                        <a:pt x="40300" y="17946"/>
                        <a:pt x="44364" y="11809"/>
                      </a:cubicBezTo>
                      <a:cubicBezTo>
                        <a:pt x="47421" y="14257"/>
                        <a:pt x="48990" y="12160"/>
                        <a:pt x="52024" y="15076"/>
                      </a:cubicBezTo>
                      <a:cubicBezTo>
                        <a:pt x="55549" y="18473"/>
                        <a:pt x="52937" y="21389"/>
                        <a:pt x="57551" y="22537"/>
                      </a:cubicBezTo>
                      <a:cubicBezTo>
                        <a:pt x="62646" y="23802"/>
                        <a:pt x="60948" y="22326"/>
                        <a:pt x="64379" y="19761"/>
                      </a:cubicBezTo>
                      <a:cubicBezTo>
                        <a:pt x="65656" y="18812"/>
                        <a:pt x="63841" y="17419"/>
                        <a:pt x="64344" y="16669"/>
                      </a:cubicBezTo>
                      <a:cubicBezTo>
                        <a:pt x="65468" y="14983"/>
                        <a:pt x="67951" y="16939"/>
                        <a:pt x="69076" y="13941"/>
                      </a:cubicBezTo>
                      <a:cubicBezTo>
                        <a:pt x="69966" y="11610"/>
                        <a:pt x="68736" y="7546"/>
                        <a:pt x="69813" y="5731"/>
                      </a:cubicBezTo>
                      <a:cubicBezTo>
                        <a:pt x="73561" y="-582"/>
                        <a:pt x="71886" y="6469"/>
                        <a:pt x="77274" y="4970"/>
                      </a:cubicBezTo>
                      <a:cubicBezTo>
                        <a:pt x="78679" y="4583"/>
                        <a:pt x="79803" y="402"/>
                        <a:pt x="82438" y="16"/>
                      </a:cubicBezTo>
                      <a:cubicBezTo>
                        <a:pt x="84020" y="-219"/>
                        <a:pt x="91199" y="2264"/>
                        <a:pt x="93354" y="2791"/>
                      </a:cubicBezTo>
                      <a:cubicBezTo>
                        <a:pt x="96410" y="3529"/>
                        <a:pt x="99338" y="3951"/>
                        <a:pt x="101997" y="4993"/>
                      </a:cubicBezTo>
                      <a:cubicBezTo>
                        <a:pt x="108356" y="7499"/>
                        <a:pt x="104362" y="2943"/>
                        <a:pt x="107009" y="10626"/>
                      </a:cubicBezTo>
                      <a:cubicBezTo>
                        <a:pt x="107349" y="11622"/>
                        <a:pt x="109855" y="12453"/>
                        <a:pt x="109902" y="12734"/>
                      </a:cubicBezTo>
                      <a:cubicBezTo>
                        <a:pt x="109902" y="12758"/>
                        <a:pt x="109914" y="17606"/>
                        <a:pt x="109246" y="16728"/>
                      </a:cubicBezTo>
                      <a:cubicBezTo>
                        <a:pt x="112326" y="20815"/>
                        <a:pt x="112326" y="19902"/>
                        <a:pt x="118030" y="21729"/>
                      </a:cubicBezTo>
                      <a:cubicBezTo>
                        <a:pt x="124342" y="23731"/>
                        <a:pt x="129695" y="28322"/>
                        <a:pt x="134859" y="32984"/>
                      </a:cubicBezTo>
                      <a:cubicBezTo>
                        <a:pt x="137061" y="34963"/>
                        <a:pt x="137576" y="35150"/>
                        <a:pt x="140223" y="37539"/>
                      </a:cubicBezTo>
                      <a:cubicBezTo>
                        <a:pt x="142659" y="39741"/>
                        <a:pt x="145025" y="41861"/>
                        <a:pt x="147320" y="42868"/>
                      </a:cubicBezTo>
                      <a:cubicBezTo>
                        <a:pt x="147918" y="43126"/>
                        <a:pt x="151349" y="42271"/>
                        <a:pt x="152895" y="42880"/>
                      </a:cubicBezTo>
                      <a:cubicBezTo>
                        <a:pt x="154371" y="43453"/>
                        <a:pt x="156690" y="47260"/>
                        <a:pt x="157591" y="47435"/>
                      </a:cubicBezTo>
                      <a:cubicBezTo>
                        <a:pt x="159653" y="47845"/>
                        <a:pt x="159149" y="44953"/>
                        <a:pt x="160671" y="45491"/>
                      </a:cubicBezTo>
                      <a:cubicBezTo>
                        <a:pt x="166059" y="47424"/>
                        <a:pt x="167769" y="50551"/>
                        <a:pt x="170170" y="53537"/>
                      </a:cubicBezTo>
                      <a:cubicBezTo>
                        <a:pt x="172828" y="56840"/>
                        <a:pt x="177419" y="64113"/>
                        <a:pt x="181483" y="68071"/>
                      </a:cubicBezTo>
                      <a:cubicBezTo>
                        <a:pt x="186718" y="73189"/>
                        <a:pt x="188276" y="70765"/>
                        <a:pt x="194295" y="67521"/>
                      </a:cubicBezTo>
                      <a:cubicBezTo>
                        <a:pt x="200514" y="64159"/>
                        <a:pt x="203723" y="64827"/>
                        <a:pt x="208759" y="66689"/>
                      </a:cubicBezTo>
                      <a:cubicBezTo>
                        <a:pt x="214521" y="68821"/>
                        <a:pt x="214826" y="70894"/>
                        <a:pt x="216664" y="77850"/>
                      </a:cubicBezTo>
                      <a:cubicBezTo>
                        <a:pt x="217344" y="80415"/>
                        <a:pt x="218081" y="84292"/>
                        <a:pt x="220517" y="87173"/>
                      </a:cubicBezTo>
                      <a:cubicBezTo>
                        <a:pt x="221852" y="88777"/>
                        <a:pt x="225237" y="88625"/>
                        <a:pt x="226994" y="90030"/>
                      </a:cubicBezTo>
                      <a:cubicBezTo>
                        <a:pt x="228610" y="91330"/>
                        <a:pt x="228751" y="94329"/>
                        <a:pt x="230109" y="95312"/>
                      </a:cubicBezTo>
                      <a:cubicBezTo>
                        <a:pt x="232346" y="96952"/>
                        <a:pt x="236223" y="96390"/>
                        <a:pt x="238623" y="97877"/>
                      </a:cubicBezTo>
                      <a:cubicBezTo>
                        <a:pt x="242219" y="100114"/>
                        <a:pt x="242172" y="102023"/>
                        <a:pt x="245346" y="103768"/>
                      </a:cubicBezTo>
                      <a:cubicBezTo>
                        <a:pt x="248531" y="105513"/>
                        <a:pt x="251108" y="108312"/>
                        <a:pt x="255347" y="106930"/>
                      </a:cubicBezTo>
                      <a:cubicBezTo>
                        <a:pt x="256987" y="106403"/>
                        <a:pt x="259130" y="101859"/>
                        <a:pt x="260782" y="101519"/>
                      </a:cubicBezTo>
                      <a:cubicBezTo>
                        <a:pt x="273219" y="98931"/>
                        <a:pt x="262409" y="112997"/>
                        <a:pt x="263569" y="116920"/>
                      </a:cubicBezTo>
                      <a:cubicBezTo>
                        <a:pt x="265654" y="123935"/>
                        <a:pt x="274308" y="121253"/>
                        <a:pt x="280024" y="121054"/>
                      </a:cubicBezTo>
                      <a:cubicBezTo>
                        <a:pt x="286606" y="120808"/>
                        <a:pt x="291478" y="124521"/>
                        <a:pt x="295225" y="118419"/>
                      </a:cubicBezTo>
                      <a:cubicBezTo>
                        <a:pt x="294862" y="125633"/>
                        <a:pt x="300507" y="125036"/>
                        <a:pt x="304126" y="129264"/>
                      </a:cubicBezTo>
                      <a:cubicBezTo>
                        <a:pt x="306433" y="131969"/>
                        <a:pt x="306644" y="138727"/>
                        <a:pt x="308740" y="140928"/>
                      </a:cubicBezTo>
                      <a:cubicBezTo>
                        <a:pt x="320838" y="153624"/>
                        <a:pt x="311692" y="127964"/>
                        <a:pt x="319398" y="128538"/>
                      </a:cubicBezTo>
                      <a:cubicBezTo>
                        <a:pt x="320827" y="128643"/>
                        <a:pt x="321447" y="136033"/>
                        <a:pt x="323146" y="137790"/>
                      </a:cubicBezTo>
                      <a:cubicBezTo>
                        <a:pt x="324726" y="139406"/>
                        <a:pt x="332960" y="142873"/>
                        <a:pt x="335103" y="141924"/>
                      </a:cubicBezTo>
                      <a:cubicBezTo>
                        <a:pt x="339916" y="139804"/>
                        <a:pt x="337270" y="133703"/>
                        <a:pt x="340935" y="131349"/>
                      </a:cubicBezTo>
                      <a:cubicBezTo>
                        <a:pt x="340174" y="131840"/>
                        <a:pt x="347588" y="131735"/>
                        <a:pt x="347716" y="131782"/>
                      </a:cubicBezTo>
                      <a:cubicBezTo>
                        <a:pt x="350059" y="132696"/>
                        <a:pt x="349578" y="135260"/>
                        <a:pt x="351405" y="136677"/>
                      </a:cubicBezTo>
                      <a:cubicBezTo>
                        <a:pt x="355059" y="139500"/>
                        <a:pt x="360915" y="138610"/>
                        <a:pt x="364979" y="140847"/>
                      </a:cubicBezTo>
                      <a:cubicBezTo>
                        <a:pt x="369757" y="143470"/>
                        <a:pt x="369066" y="146468"/>
                        <a:pt x="374875" y="147042"/>
                      </a:cubicBezTo>
                      <a:cubicBezTo>
                        <a:pt x="378049" y="147346"/>
                        <a:pt x="380696" y="146890"/>
                        <a:pt x="383495" y="145859"/>
                      </a:cubicBezTo>
                      <a:cubicBezTo>
                        <a:pt x="383073" y="146808"/>
                        <a:pt x="382839" y="147452"/>
                        <a:pt x="382652" y="148424"/>
                      </a:cubicBezTo>
                      <a:cubicBezTo>
                        <a:pt x="390440" y="146784"/>
                        <a:pt x="396167" y="149560"/>
                        <a:pt x="403159" y="147230"/>
                      </a:cubicBezTo>
                      <a:cubicBezTo>
                        <a:pt x="408909" y="145309"/>
                        <a:pt x="404705" y="143107"/>
                        <a:pt x="412704" y="143447"/>
                      </a:cubicBezTo>
                      <a:cubicBezTo>
                        <a:pt x="415725" y="143552"/>
                        <a:pt x="418840" y="143423"/>
                        <a:pt x="421733" y="145203"/>
                      </a:cubicBezTo>
                      <a:lnTo>
                        <a:pt x="421733" y="145203"/>
                      </a:lnTo>
                      <a:close/>
                    </a:path>
                  </a:pathLst>
                </a:custGeom>
                <a:solidFill>
                  <a:srgbClr val="D6D6D2"/>
                </a:solidFill>
                <a:ln w="8774" cap="rnd">
                  <a:solidFill>
                    <a:srgbClr val="FFFFFF"/>
                  </a:solidFill>
                  <a:prstDash val="solid"/>
                  <a:round/>
                </a:ln>
              </p:spPr>
              <p:txBody>
                <a:bodyPr rtlCol="0" anchor="ctr"/>
                <a:lstStyle/>
                <a:p>
                  <a:endParaRPr lang="en-US"/>
                </a:p>
              </p:txBody>
            </p:sp>
            <p:sp>
              <p:nvSpPr>
                <p:cNvPr id="116" name="Freeform: Shape 115">
                  <a:extLst>
                    <a:ext uri="{FF2B5EF4-FFF2-40B4-BE49-F238E27FC236}">
                      <a16:creationId xmlns:a16="http://schemas.microsoft.com/office/drawing/2014/main" id="{3C279C45-CDF1-4BA7-94A7-47DC571F0DAC}"/>
                    </a:ext>
                  </a:extLst>
                </p:cNvPr>
                <p:cNvSpPr/>
                <p:nvPr/>
              </p:nvSpPr>
              <p:spPr>
                <a:xfrm>
                  <a:off x="2342700" y="5714251"/>
                  <a:ext cx="998970" cy="321856"/>
                </a:xfrm>
                <a:custGeom>
                  <a:avLst/>
                  <a:gdLst>
                    <a:gd name="connsiteX0" fmla="*/ 3751 w 998970"/>
                    <a:gd name="connsiteY0" fmla="*/ 16924 h 321856"/>
                    <a:gd name="connsiteX1" fmla="*/ 13179 w 998970"/>
                    <a:gd name="connsiteY1" fmla="*/ 25767 h 321856"/>
                    <a:gd name="connsiteX2" fmla="*/ 30770 w 998970"/>
                    <a:gd name="connsiteY2" fmla="*/ 27184 h 321856"/>
                    <a:gd name="connsiteX3" fmla="*/ 35829 w 998970"/>
                    <a:gd name="connsiteY3" fmla="*/ 36014 h 321856"/>
                    <a:gd name="connsiteX4" fmla="*/ 42528 w 998970"/>
                    <a:gd name="connsiteY4" fmla="*/ 38965 h 321856"/>
                    <a:gd name="connsiteX5" fmla="*/ 47810 w 998970"/>
                    <a:gd name="connsiteY5" fmla="*/ 46145 h 321856"/>
                    <a:gd name="connsiteX6" fmla="*/ 49391 w 998970"/>
                    <a:gd name="connsiteY6" fmla="*/ 53535 h 321856"/>
                    <a:gd name="connsiteX7" fmla="*/ 44589 w 998970"/>
                    <a:gd name="connsiteY7" fmla="*/ 60480 h 321856"/>
                    <a:gd name="connsiteX8" fmla="*/ 49391 w 998970"/>
                    <a:gd name="connsiteY8" fmla="*/ 70001 h 321856"/>
                    <a:gd name="connsiteX9" fmla="*/ 57835 w 998970"/>
                    <a:gd name="connsiteY9" fmla="*/ 64180 h 321856"/>
                    <a:gd name="connsiteX10" fmla="*/ 75496 w 998970"/>
                    <a:gd name="connsiteY10" fmla="*/ 58453 h 321856"/>
                    <a:gd name="connsiteX11" fmla="*/ 81469 w 998970"/>
                    <a:gd name="connsiteY11" fmla="*/ 65000 h 321856"/>
                    <a:gd name="connsiteX12" fmla="*/ 91201 w 998970"/>
                    <a:gd name="connsiteY12" fmla="*/ 61487 h 321856"/>
                    <a:gd name="connsiteX13" fmla="*/ 100828 w 998970"/>
                    <a:gd name="connsiteY13" fmla="*/ 39528 h 321856"/>
                    <a:gd name="connsiteX14" fmla="*/ 107024 w 998970"/>
                    <a:gd name="connsiteY14" fmla="*/ 41741 h 321856"/>
                    <a:gd name="connsiteX15" fmla="*/ 105712 w 998970"/>
                    <a:gd name="connsiteY15" fmla="*/ 41601 h 321856"/>
                    <a:gd name="connsiteX16" fmla="*/ 131934 w 998970"/>
                    <a:gd name="connsiteY16" fmla="*/ 67389 h 321856"/>
                    <a:gd name="connsiteX17" fmla="*/ 150626 w 998970"/>
                    <a:gd name="connsiteY17" fmla="*/ 79932 h 321856"/>
                    <a:gd name="connsiteX18" fmla="*/ 166612 w 998970"/>
                    <a:gd name="connsiteY18" fmla="*/ 104890 h 321856"/>
                    <a:gd name="connsiteX19" fmla="*/ 173697 w 998970"/>
                    <a:gd name="connsiteY19" fmla="*/ 136429 h 321856"/>
                    <a:gd name="connsiteX20" fmla="*/ 172901 w 998970"/>
                    <a:gd name="connsiteY20" fmla="*/ 148023 h 321856"/>
                    <a:gd name="connsiteX21" fmla="*/ 171823 w 998970"/>
                    <a:gd name="connsiteY21" fmla="*/ 160192 h 321856"/>
                    <a:gd name="connsiteX22" fmla="*/ 172550 w 998970"/>
                    <a:gd name="connsiteY22" fmla="*/ 183439 h 321856"/>
                    <a:gd name="connsiteX23" fmla="*/ 174330 w 998970"/>
                    <a:gd name="connsiteY23" fmla="*/ 183076 h 321856"/>
                    <a:gd name="connsiteX24" fmla="*/ 172409 w 998970"/>
                    <a:gd name="connsiteY24" fmla="*/ 205492 h 321856"/>
                    <a:gd name="connsiteX25" fmla="*/ 182891 w 998970"/>
                    <a:gd name="connsiteY25" fmla="*/ 227088 h 321856"/>
                    <a:gd name="connsiteX26" fmla="*/ 190538 w 998970"/>
                    <a:gd name="connsiteY26" fmla="*/ 230496 h 321856"/>
                    <a:gd name="connsiteX27" fmla="*/ 192670 w 998970"/>
                    <a:gd name="connsiteY27" fmla="*/ 237300 h 321856"/>
                    <a:gd name="connsiteX28" fmla="*/ 198725 w 998970"/>
                    <a:gd name="connsiteY28" fmla="*/ 244280 h 321856"/>
                    <a:gd name="connsiteX29" fmla="*/ 207731 w 998970"/>
                    <a:gd name="connsiteY29" fmla="*/ 265408 h 321856"/>
                    <a:gd name="connsiteX30" fmla="*/ 216561 w 998970"/>
                    <a:gd name="connsiteY30" fmla="*/ 288995 h 321856"/>
                    <a:gd name="connsiteX31" fmla="*/ 209054 w 998970"/>
                    <a:gd name="connsiteY31" fmla="*/ 285727 h 321856"/>
                    <a:gd name="connsiteX32" fmla="*/ 204136 w 998970"/>
                    <a:gd name="connsiteY32" fmla="*/ 287777 h 321856"/>
                    <a:gd name="connsiteX33" fmla="*/ 199580 w 998970"/>
                    <a:gd name="connsiteY33" fmla="*/ 280387 h 321856"/>
                    <a:gd name="connsiteX34" fmla="*/ 201770 w 998970"/>
                    <a:gd name="connsiteY34" fmla="*/ 288807 h 321856"/>
                    <a:gd name="connsiteX35" fmla="*/ 192986 w 998970"/>
                    <a:gd name="connsiteY35" fmla="*/ 289335 h 321856"/>
                    <a:gd name="connsiteX36" fmla="*/ 177761 w 998970"/>
                    <a:gd name="connsiteY36" fmla="*/ 294253 h 321856"/>
                    <a:gd name="connsiteX37" fmla="*/ 176122 w 998970"/>
                    <a:gd name="connsiteY37" fmla="*/ 300086 h 321856"/>
                    <a:gd name="connsiteX38" fmla="*/ 169809 w 998970"/>
                    <a:gd name="connsiteY38" fmla="*/ 287765 h 321856"/>
                    <a:gd name="connsiteX39" fmla="*/ 151574 w 998970"/>
                    <a:gd name="connsiteY39" fmla="*/ 277155 h 321856"/>
                    <a:gd name="connsiteX40" fmla="*/ 143318 w 998970"/>
                    <a:gd name="connsiteY40" fmla="*/ 272083 h 321856"/>
                    <a:gd name="connsiteX41" fmla="*/ 133164 w 998970"/>
                    <a:gd name="connsiteY41" fmla="*/ 268839 h 321856"/>
                    <a:gd name="connsiteX42" fmla="*/ 126195 w 998970"/>
                    <a:gd name="connsiteY42" fmla="*/ 259997 h 321856"/>
                    <a:gd name="connsiteX43" fmla="*/ 112259 w 998970"/>
                    <a:gd name="connsiteY43" fmla="*/ 252958 h 321856"/>
                    <a:gd name="connsiteX44" fmla="*/ 89995 w 998970"/>
                    <a:gd name="connsiteY44" fmla="*/ 241423 h 321856"/>
                    <a:gd name="connsiteX45" fmla="*/ 73154 w 998970"/>
                    <a:gd name="connsiteY45" fmla="*/ 227509 h 321856"/>
                    <a:gd name="connsiteX46" fmla="*/ 67298 w 998970"/>
                    <a:gd name="connsiteY46" fmla="*/ 220658 h 321856"/>
                    <a:gd name="connsiteX47" fmla="*/ 60435 w 998970"/>
                    <a:gd name="connsiteY47" fmla="*/ 218093 h 321856"/>
                    <a:gd name="connsiteX48" fmla="*/ 64007 w 998970"/>
                    <a:gd name="connsiteY48" fmla="*/ 206475 h 321856"/>
                    <a:gd name="connsiteX49" fmla="*/ 57636 w 998970"/>
                    <a:gd name="connsiteY49" fmla="*/ 192726 h 321856"/>
                    <a:gd name="connsiteX50" fmla="*/ 49766 w 998970"/>
                    <a:gd name="connsiteY50" fmla="*/ 183416 h 321856"/>
                    <a:gd name="connsiteX51" fmla="*/ 36801 w 998970"/>
                    <a:gd name="connsiteY51" fmla="*/ 165368 h 321856"/>
                    <a:gd name="connsiteX52" fmla="*/ 29388 w 998970"/>
                    <a:gd name="connsiteY52" fmla="*/ 162874 h 321856"/>
                    <a:gd name="connsiteX53" fmla="*/ 38160 w 998970"/>
                    <a:gd name="connsiteY53" fmla="*/ 156608 h 321856"/>
                    <a:gd name="connsiteX54" fmla="*/ 33206 w 998970"/>
                    <a:gd name="connsiteY54" fmla="*/ 154090 h 321856"/>
                    <a:gd name="connsiteX55" fmla="*/ 25699 w 998970"/>
                    <a:gd name="connsiteY55" fmla="*/ 149464 h 321856"/>
                    <a:gd name="connsiteX56" fmla="*/ 26366 w 998970"/>
                    <a:gd name="connsiteY56" fmla="*/ 128324 h 321856"/>
                    <a:gd name="connsiteX57" fmla="*/ 27455 w 998970"/>
                    <a:gd name="connsiteY57" fmla="*/ 122586 h 321856"/>
                    <a:gd name="connsiteX58" fmla="*/ 25710 w 998970"/>
                    <a:gd name="connsiteY58" fmla="*/ 117585 h 321856"/>
                    <a:gd name="connsiteX59" fmla="*/ 18508 w 998970"/>
                    <a:gd name="connsiteY59" fmla="*/ 111987 h 321856"/>
                    <a:gd name="connsiteX60" fmla="*/ 14327 w 998970"/>
                    <a:gd name="connsiteY60" fmla="*/ 106447 h 321856"/>
                    <a:gd name="connsiteX61" fmla="*/ 14139 w 998970"/>
                    <a:gd name="connsiteY61" fmla="*/ 98261 h 321856"/>
                    <a:gd name="connsiteX62" fmla="*/ 10649 w 998970"/>
                    <a:gd name="connsiteY62" fmla="*/ 70294 h 321856"/>
                    <a:gd name="connsiteX63" fmla="*/ 12793 w 998970"/>
                    <a:gd name="connsiteY63" fmla="*/ 70294 h 321856"/>
                    <a:gd name="connsiteX64" fmla="*/ 9396 w 998970"/>
                    <a:gd name="connsiteY64" fmla="*/ 49869 h 321856"/>
                    <a:gd name="connsiteX65" fmla="*/ 695 w 998970"/>
                    <a:gd name="connsiteY65" fmla="*/ 35511 h 321856"/>
                    <a:gd name="connsiteX66" fmla="*/ 3751 w 998970"/>
                    <a:gd name="connsiteY66" fmla="*/ 16924 h 321856"/>
                    <a:gd name="connsiteX67" fmla="*/ 3751 w 998970"/>
                    <a:gd name="connsiteY67" fmla="*/ 16924 h 321856"/>
                    <a:gd name="connsiteX68" fmla="*/ 871013 w 998970"/>
                    <a:gd name="connsiteY68" fmla="*/ 2613 h 321856"/>
                    <a:gd name="connsiteX69" fmla="*/ 871716 w 998970"/>
                    <a:gd name="connsiteY69" fmla="*/ 6384 h 321856"/>
                    <a:gd name="connsiteX70" fmla="*/ 871599 w 998970"/>
                    <a:gd name="connsiteY70" fmla="*/ 12931 h 321856"/>
                    <a:gd name="connsiteX71" fmla="*/ 872196 w 998970"/>
                    <a:gd name="connsiteY71" fmla="*/ 21035 h 321856"/>
                    <a:gd name="connsiteX72" fmla="*/ 883018 w 998970"/>
                    <a:gd name="connsiteY72" fmla="*/ 3866 h 321856"/>
                    <a:gd name="connsiteX73" fmla="*/ 887292 w 998970"/>
                    <a:gd name="connsiteY73" fmla="*/ 446 h 321856"/>
                    <a:gd name="connsiteX74" fmla="*/ 891602 w 998970"/>
                    <a:gd name="connsiteY74" fmla="*/ 8199 h 321856"/>
                    <a:gd name="connsiteX75" fmla="*/ 894073 w 998970"/>
                    <a:gd name="connsiteY75" fmla="*/ 17721 h 321856"/>
                    <a:gd name="connsiteX76" fmla="*/ 898489 w 998970"/>
                    <a:gd name="connsiteY76" fmla="*/ 20262 h 321856"/>
                    <a:gd name="connsiteX77" fmla="*/ 907296 w 998970"/>
                    <a:gd name="connsiteY77" fmla="*/ 20485 h 321856"/>
                    <a:gd name="connsiteX78" fmla="*/ 917883 w 998970"/>
                    <a:gd name="connsiteY78" fmla="*/ 36295 h 321856"/>
                    <a:gd name="connsiteX79" fmla="*/ 911617 w 998970"/>
                    <a:gd name="connsiteY79" fmla="*/ 41425 h 321856"/>
                    <a:gd name="connsiteX80" fmla="*/ 914147 w 998970"/>
                    <a:gd name="connsiteY80" fmla="*/ 48393 h 321856"/>
                    <a:gd name="connsiteX81" fmla="*/ 914487 w 998970"/>
                    <a:gd name="connsiteY81" fmla="*/ 52961 h 321856"/>
                    <a:gd name="connsiteX82" fmla="*/ 903911 w 998970"/>
                    <a:gd name="connsiteY82" fmla="*/ 59906 h 321856"/>
                    <a:gd name="connsiteX83" fmla="*/ 919710 w 998970"/>
                    <a:gd name="connsiteY83" fmla="*/ 55935 h 321856"/>
                    <a:gd name="connsiteX84" fmla="*/ 936738 w 998970"/>
                    <a:gd name="connsiteY84" fmla="*/ 58067 h 321856"/>
                    <a:gd name="connsiteX85" fmla="*/ 928388 w 998970"/>
                    <a:gd name="connsiteY85" fmla="*/ 62728 h 321856"/>
                    <a:gd name="connsiteX86" fmla="*/ 929114 w 998970"/>
                    <a:gd name="connsiteY86" fmla="*/ 69029 h 321856"/>
                    <a:gd name="connsiteX87" fmla="*/ 934021 w 998970"/>
                    <a:gd name="connsiteY87" fmla="*/ 67858 h 321856"/>
                    <a:gd name="connsiteX88" fmla="*/ 939631 w 998970"/>
                    <a:gd name="connsiteY88" fmla="*/ 66511 h 321856"/>
                    <a:gd name="connsiteX89" fmla="*/ 941962 w 998970"/>
                    <a:gd name="connsiteY89" fmla="*/ 63103 h 321856"/>
                    <a:gd name="connsiteX90" fmla="*/ 949129 w 998970"/>
                    <a:gd name="connsiteY90" fmla="*/ 63712 h 321856"/>
                    <a:gd name="connsiteX91" fmla="*/ 960911 w 998970"/>
                    <a:gd name="connsiteY91" fmla="*/ 68736 h 321856"/>
                    <a:gd name="connsiteX92" fmla="*/ 961110 w 998970"/>
                    <a:gd name="connsiteY92" fmla="*/ 77836 h 321856"/>
                    <a:gd name="connsiteX93" fmla="*/ 974356 w 998970"/>
                    <a:gd name="connsiteY93" fmla="*/ 80331 h 321856"/>
                    <a:gd name="connsiteX94" fmla="*/ 975047 w 998970"/>
                    <a:gd name="connsiteY94" fmla="*/ 78902 h 321856"/>
                    <a:gd name="connsiteX95" fmla="*/ 979685 w 998970"/>
                    <a:gd name="connsiteY95" fmla="*/ 84266 h 321856"/>
                    <a:gd name="connsiteX96" fmla="*/ 996163 w 998970"/>
                    <a:gd name="connsiteY96" fmla="*/ 84231 h 321856"/>
                    <a:gd name="connsiteX97" fmla="*/ 983350 w 998970"/>
                    <a:gd name="connsiteY97" fmla="*/ 102875 h 321856"/>
                    <a:gd name="connsiteX98" fmla="*/ 960056 w 998970"/>
                    <a:gd name="connsiteY98" fmla="*/ 107642 h 321856"/>
                    <a:gd name="connsiteX99" fmla="*/ 956671 w 998970"/>
                    <a:gd name="connsiteY99" fmla="*/ 108052 h 321856"/>
                    <a:gd name="connsiteX100" fmla="*/ 952315 w 998970"/>
                    <a:gd name="connsiteY100" fmla="*/ 103519 h 321856"/>
                    <a:gd name="connsiteX101" fmla="*/ 946799 w 998970"/>
                    <a:gd name="connsiteY101" fmla="*/ 106494 h 321856"/>
                    <a:gd name="connsiteX102" fmla="*/ 941189 w 998970"/>
                    <a:gd name="connsiteY102" fmla="*/ 114645 h 321856"/>
                    <a:gd name="connsiteX103" fmla="*/ 951682 w 998970"/>
                    <a:gd name="connsiteY103" fmla="*/ 124331 h 321856"/>
                    <a:gd name="connsiteX104" fmla="*/ 956086 w 998970"/>
                    <a:gd name="connsiteY104" fmla="*/ 125959 h 321856"/>
                    <a:gd name="connsiteX105" fmla="*/ 957725 w 998970"/>
                    <a:gd name="connsiteY105" fmla="*/ 131194 h 321856"/>
                    <a:gd name="connsiteX106" fmla="*/ 962738 w 998970"/>
                    <a:gd name="connsiteY106" fmla="*/ 131428 h 321856"/>
                    <a:gd name="connsiteX107" fmla="*/ 962492 w 998970"/>
                    <a:gd name="connsiteY107" fmla="*/ 135176 h 321856"/>
                    <a:gd name="connsiteX108" fmla="*/ 946588 w 998970"/>
                    <a:gd name="connsiteY108" fmla="*/ 140551 h 321856"/>
                    <a:gd name="connsiteX109" fmla="*/ 922146 w 998970"/>
                    <a:gd name="connsiteY109" fmla="*/ 141371 h 321856"/>
                    <a:gd name="connsiteX110" fmla="*/ 911500 w 998970"/>
                    <a:gd name="connsiteY110" fmla="*/ 137061 h 321856"/>
                    <a:gd name="connsiteX111" fmla="*/ 912156 w 998970"/>
                    <a:gd name="connsiteY111" fmla="*/ 148375 h 321856"/>
                    <a:gd name="connsiteX112" fmla="*/ 891907 w 998970"/>
                    <a:gd name="connsiteY112" fmla="*/ 140528 h 321856"/>
                    <a:gd name="connsiteX113" fmla="*/ 866738 w 998970"/>
                    <a:gd name="connsiteY113" fmla="*/ 139579 h 321856"/>
                    <a:gd name="connsiteX114" fmla="*/ 858107 w 998970"/>
                    <a:gd name="connsiteY114" fmla="*/ 140352 h 321856"/>
                    <a:gd name="connsiteX115" fmla="*/ 854184 w 998970"/>
                    <a:gd name="connsiteY115" fmla="*/ 137577 h 321856"/>
                    <a:gd name="connsiteX116" fmla="*/ 853095 w 998970"/>
                    <a:gd name="connsiteY116" fmla="*/ 140633 h 321856"/>
                    <a:gd name="connsiteX117" fmla="*/ 846665 w 998970"/>
                    <a:gd name="connsiteY117" fmla="*/ 140481 h 321856"/>
                    <a:gd name="connsiteX118" fmla="*/ 840704 w 998970"/>
                    <a:gd name="connsiteY118" fmla="*/ 138596 h 321856"/>
                    <a:gd name="connsiteX119" fmla="*/ 826638 w 998970"/>
                    <a:gd name="connsiteY119" fmla="*/ 141652 h 321856"/>
                    <a:gd name="connsiteX120" fmla="*/ 819764 w 998970"/>
                    <a:gd name="connsiteY120" fmla="*/ 137167 h 321856"/>
                    <a:gd name="connsiteX121" fmla="*/ 815595 w 998970"/>
                    <a:gd name="connsiteY121" fmla="*/ 145271 h 321856"/>
                    <a:gd name="connsiteX122" fmla="*/ 806155 w 998970"/>
                    <a:gd name="connsiteY122" fmla="*/ 159313 h 321856"/>
                    <a:gd name="connsiteX123" fmla="*/ 803215 w 998970"/>
                    <a:gd name="connsiteY123" fmla="*/ 162335 h 321856"/>
                    <a:gd name="connsiteX124" fmla="*/ 805112 w 998970"/>
                    <a:gd name="connsiteY124" fmla="*/ 164255 h 321856"/>
                    <a:gd name="connsiteX125" fmla="*/ 803625 w 998970"/>
                    <a:gd name="connsiteY125" fmla="*/ 177595 h 321856"/>
                    <a:gd name="connsiteX126" fmla="*/ 806483 w 998970"/>
                    <a:gd name="connsiteY126" fmla="*/ 187362 h 321856"/>
                    <a:gd name="connsiteX127" fmla="*/ 803625 w 998970"/>
                    <a:gd name="connsiteY127" fmla="*/ 188194 h 321856"/>
                    <a:gd name="connsiteX128" fmla="*/ 800639 w 998970"/>
                    <a:gd name="connsiteY128" fmla="*/ 197739 h 321856"/>
                    <a:gd name="connsiteX129" fmla="*/ 799561 w 998970"/>
                    <a:gd name="connsiteY129" fmla="*/ 207693 h 321856"/>
                    <a:gd name="connsiteX130" fmla="*/ 787744 w 998970"/>
                    <a:gd name="connsiteY130" fmla="*/ 207647 h 321856"/>
                    <a:gd name="connsiteX131" fmla="*/ 780881 w 998970"/>
                    <a:gd name="connsiteY131" fmla="*/ 215446 h 321856"/>
                    <a:gd name="connsiteX132" fmla="*/ 780577 w 998970"/>
                    <a:gd name="connsiteY132" fmla="*/ 222239 h 321856"/>
                    <a:gd name="connsiteX133" fmla="*/ 778750 w 998970"/>
                    <a:gd name="connsiteY133" fmla="*/ 227486 h 321856"/>
                    <a:gd name="connsiteX134" fmla="*/ 782404 w 998970"/>
                    <a:gd name="connsiteY134" fmla="*/ 230543 h 321856"/>
                    <a:gd name="connsiteX135" fmla="*/ 775822 w 998970"/>
                    <a:gd name="connsiteY135" fmla="*/ 241786 h 321856"/>
                    <a:gd name="connsiteX136" fmla="*/ 762237 w 998970"/>
                    <a:gd name="connsiteY136" fmla="*/ 254973 h 321856"/>
                    <a:gd name="connsiteX137" fmla="*/ 766441 w 998970"/>
                    <a:gd name="connsiteY137" fmla="*/ 266111 h 321856"/>
                    <a:gd name="connsiteX138" fmla="*/ 757950 w 998970"/>
                    <a:gd name="connsiteY138" fmla="*/ 271357 h 321856"/>
                    <a:gd name="connsiteX139" fmla="*/ 755514 w 998970"/>
                    <a:gd name="connsiteY139" fmla="*/ 282940 h 321856"/>
                    <a:gd name="connsiteX140" fmla="*/ 752586 w 998970"/>
                    <a:gd name="connsiteY140" fmla="*/ 289721 h 321856"/>
                    <a:gd name="connsiteX141" fmla="*/ 744318 w 998970"/>
                    <a:gd name="connsiteY141" fmla="*/ 288175 h 321856"/>
                    <a:gd name="connsiteX142" fmla="*/ 732524 w 998970"/>
                    <a:gd name="connsiteY142" fmla="*/ 292075 h 321856"/>
                    <a:gd name="connsiteX143" fmla="*/ 722019 w 998970"/>
                    <a:gd name="connsiteY143" fmla="*/ 290470 h 321856"/>
                    <a:gd name="connsiteX144" fmla="*/ 704675 w 998970"/>
                    <a:gd name="connsiteY144" fmla="*/ 302018 h 321856"/>
                    <a:gd name="connsiteX145" fmla="*/ 695891 w 998970"/>
                    <a:gd name="connsiteY145" fmla="*/ 298071 h 321856"/>
                    <a:gd name="connsiteX146" fmla="*/ 688735 w 998970"/>
                    <a:gd name="connsiteY146" fmla="*/ 296631 h 321856"/>
                    <a:gd name="connsiteX147" fmla="*/ 680935 w 998970"/>
                    <a:gd name="connsiteY147" fmla="*/ 294206 h 321856"/>
                    <a:gd name="connsiteX148" fmla="*/ 668615 w 998970"/>
                    <a:gd name="connsiteY148" fmla="*/ 292485 h 321856"/>
                    <a:gd name="connsiteX149" fmla="*/ 661752 w 998970"/>
                    <a:gd name="connsiteY149" fmla="*/ 284568 h 321856"/>
                    <a:gd name="connsiteX150" fmla="*/ 634347 w 998970"/>
                    <a:gd name="connsiteY150" fmla="*/ 287765 h 321856"/>
                    <a:gd name="connsiteX151" fmla="*/ 627296 w 998970"/>
                    <a:gd name="connsiteY151" fmla="*/ 291302 h 321856"/>
                    <a:gd name="connsiteX152" fmla="*/ 628280 w 998970"/>
                    <a:gd name="connsiteY152" fmla="*/ 293516 h 321856"/>
                    <a:gd name="connsiteX153" fmla="*/ 621769 w 998970"/>
                    <a:gd name="connsiteY153" fmla="*/ 307136 h 321856"/>
                    <a:gd name="connsiteX154" fmla="*/ 612434 w 998970"/>
                    <a:gd name="connsiteY154" fmla="*/ 310017 h 321856"/>
                    <a:gd name="connsiteX155" fmla="*/ 605138 w 998970"/>
                    <a:gd name="connsiteY155" fmla="*/ 314186 h 321856"/>
                    <a:gd name="connsiteX156" fmla="*/ 592701 w 998970"/>
                    <a:gd name="connsiteY156" fmla="*/ 316330 h 321856"/>
                    <a:gd name="connsiteX157" fmla="*/ 558772 w 998970"/>
                    <a:gd name="connsiteY157" fmla="*/ 314315 h 321856"/>
                    <a:gd name="connsiteX158" fmla="*/ 551183 w 998970"/>
                    <a:gd name="connsiteY158" fmla="*/ 319293 h 321856"/>
                    <a:gd name="connsiteX159" fmla="*/ 542563 w 998970"/>
                    <a:gd name="connsiteY159" fmla="*/ 321834 h 321856"/>
                    <a:gd name="connsiteX160" fmla="*/ 534717 w 998970"/>
                    <a:gd name="connsiteY160" fmla="*/ 316646 h 321856"/>
                    <a:gd name="connsiteX161" fmla="*/ 528299 w 998970"/>
                    <a:gd name="connsiteY161" fmla="*/ 314561 h 321856"/>
                    <a:gd name="connsiteX162" fmla="*/ 524540 w 998970"/>
                    <a:gd name="connsiteY162" fmla="*/ 307241 h 321856"/>
                    <a:gd name="connsiteX163" fmla="*/ 517887 w 998970"/>
                    <a:gd name="connsiteY163" fmla="*/ 303587 h 321856"/>
                    <a:gd name="connsiteX164" fmla="*/ 508682 w 998970"/>
                    <a:gd name="connsiteY164" fmla="*/ 293094 h 321856"/>
                    <a:gd name="connsiteX165" fmla="*/ 498704 w 998970"/>
                    <a:gd name="connsiteY165" fmla="*/ 285341 h 321856"/>
                    <a:gd name="connsiteX166" fmla="*/ 495589 w 998970"/>
                    <a:gd name="connsiteY166" fmla="*/ 278548 h 321856"/>
                    <a:gd name="connsiteX167" fmla="*/ 494090 w 998970"/>
                    <a:gd name="connsiteY167" fmla="*/ 273067 h 321856"/>
                    <a:gd name="connsiteX168" fmla="*/ 490916 w 998970"/>
                    <a:gd name="connsiteY168" fmla="*/ 272001 h 321856"/>
                    <a:gd name="connsiteX169" fmla="*/ 495788 w 998970"/>
                    <a:gd name="connsiteY169" fmla="*/ 257655 h 321856"/>
                    <a:gd name="connsiteX170" fmla="*/ 509022 w 998970"/>
                    <a:gd name="connsiteY170" fmla="*/ 275398 h 321856"/>
                    <a:gd name="connsiteX171" fmla="*/ 522010 w 998970"/>
                    <a:gd name="connsiteY171" fmla="*/ 277553 h 321856"/>
                    <a:gd name="connsiteX172" fmla="*/ 529470 w 998970"/>
                    <a:gd name="connsiteY172" fmla="*/ 279017 h 321856"/>
                    <a:gd name="connsiteX173" fmla="*/ 531075 w 998970"/>
                    <a:gd name="connsiteY173" fmla="*/ 272564 h 321856"/>
                    <a:gd name="connsiteX174" fmla="*/ 533932 w 998970"/>
                    <a:gd name="connsiteY174" fmla="*/ 277354 h 321856"/>
                    <a:gd name="connsiteX175" fmla="*/ 538593 w 998970"/>
                    <a:gd name="connsiteY175" fmla="*/ 281804 h 321856"/>
                    <a:gd name="connsiteX176" fmla="*/ 549649 w 998970"/>
                    <a:gd name="connsiteY176" fmla="*/ 290775 h 321856"/>
                    <a:gd name="connsiteX177" fmla="*/ 554310 w 998970"/>
                    <a:gd name="connsiteY177" fmla="*/ 286196 h 321856"/>
                    <a:gd name="connsiteX178" fmla="*/ 565296 w 998970"/>
                    <a:gd name="connsiteY178" fmla="*/ 288433 h 321856"/>
                    <a:gd name="connsiteX179" fmla="*/ 586458 w 998970"/>
                    <a:gd name="connsiteY179" fmla="*/ 295717 h 321856"/>
                    <a:gd name="connsiteX180" fmla="*/ 567767 w 998970"/>
                    <a:gd name="connsiteY180" fmla="*/ 286582 h 321856"/>
                    <a:gd name="connsiteX181" fmla="*/ 580392 w 998970"/>
                    <a:gd name="connsiteY181" fmla="*/ 281453 h 321856"/>
                    <a:gd name="connsiteX182" fmla="*/ 573248 w 998970"/>
                    <a:gd name="connsiteY182" fmla="*/ 272868 h 321856"/>
                    <a:gd name="connsiteX183" fmla="*/ 580415 w 998970"/>
                    <a:gd name="connsiteY183" fmla="*/ 258475 h 321856"/>
                    <a:gd name="connsiteX184" fmla="*/ 585685 w 998970"/>
                    <a:gd name="connsiteY184" fmla="*/ 253134 h 321856"/>
                    <a:gd name="connsiteX185" fmla="*/ 578975 w 998970"/>
                    <a:gd name="connsiteY185" fmla="*/ 250710 h 321856"/>
                    <a:gd name="connsiteX186" fmla="*/ 579291 w 998970"/>
                    <a:gd name="connsiteY186" fmla="*/ 239244 h 321856"/>
                    <a:gd name="connsiteX187" fmla="*/ 585498 w 998970"/>
                    <a:gd name="connsiteY187" fmla="*/ 244222 h 321856"/>
                    <a:gd name="connsiteX188" fmla="*/ 592174 w 998970"/>
                    <a:gd name="connsiteY188" fmla="*/ 243952 h 321856"/>
                    <a:gd name="connsiteX189" fmla="*/ 587536 w 998970"/>
                    <a:gd name="connsiteY189" fmla="*/ 236761 h 321856"/>
                    <a:gd name="connsiteX190" fmla="*/ 593626 w 998970"/>
                    <a:gd name="connsiteY190" fmla="*/ 236410 h 321856"/>
                    <a:gd name="connsiteX191" fmla="*/ 596929 w 998970"/>
                    <a:gd name="connsiteY191" fmla="*/ 220564 h 321856"/>
                    <a:gd name="connsiteX192" fmla="*/ 633855 w 998970"/>
                    <a:gd name="connsiteY192" fmla="*/ 211945 h 321856"/>
                    <a:gd name="connsiteX193" fmla="*/ 670313 w 998970"/>
                    <a:gd name="connsiteY193" fmla="*/ 201850 h 321856"/>
                    <a:gd name="connsiteX194" fmla="*/ 676145 w 998970"/>
                    <a:gd name="connsiteY194" fmla="*/ 193874 h 321856"/>
                    <a:gd name="connsiteX195" fmla="*/ 686206 w 998970"/>
                    <a:gd name="connsiteY195" fmla="*/ 183111 h 321856"/>
                    <a:gd name="connsiteX196" fmla="*/ 694919 w 998970"/>
                    <a:gd name="connsiteY196" fmla="*/ 169373 h 321856"/>
                    <a:gd name="connsiteX197" fmla="*/ 721223 w 998970"/>
                    <a:gd name="connsiteY197" fmla="*/ 140797 h 321856"/>
                    <a:gd name="connsiteX198" fmla="*/ 731072 w 998970"/>
                    <a:gd name="connsiteY198" fmla="*/ 129472 h 321856"/>
                    <a:gd name="connsiteX199" fmla="*/ 738041 w 998970"/>
                    <a:gd name="connsiteY199" fmla="*/ 138736 h 321856"/>
                    <a:gd name="connsiteX200" fmla="*/ 737397 w 998970"/>
                    <a:gd name="connsiteY200" fmla="*/ 143292 h 321856"/>
                    <a:gd name="connsiteX201" fmla="*/ 742796 w 998970"/>
                    <a:gd name="connsiteY201" fmla="*/ 144135 h 321856"/>
                    <a:gd name="connsiteX202" fmla="*/ 750221 w 998970"/>
                    <a:gd name="connsiteY202" fmla="*/ 152275 h 321856"/>
                    <a:gd name="connsiteX203" fmla="*/ 765364 w 998970"/>
                    <a:gd name="connsiteY203" fmla="*/ 143128 h 321856"/>
                    <a:gd name="connsiteX204" fmla="*/ 763736 w 998970"/>
                    <a:gd name="connsiteY204" fmla="*/ 143784 h 321856"/>
                    <a:gd name="connsiteX205" fmla="*/ 765973 w 998970"/>
                    <a:gd name="connsiteY205" fmla="*/ 135328 h 321856"/>
                    <a:gd name="connsiteX206" fmla="*/ 762213 w 998970"/>
                    <a:gd name="connsiteY206" fmla="*/ 121801 h 321856"/>
                    <a:gd name="connsiteX207" fmla="*/ 775892 w 998970"/>
                    <a:gd name="connsiteY207" fmla="*/ 109715 h 321856"/>
                    <a:gd name="connsiteX208" fmla="*/ 779195 w 998970"/>
                    <a:gd name="connsiteY208" fmla="*/ 131264 h 321856"/>
                    <a:gd name="connsiteX209" fmla="*/ 784992 w 998970"/>
                    <a:gd name="connsiteY209" fmla="*/ 138958 h 321856"/>
                    <a:gd name="connsiteX210" fmla="*/ 791082 w 998970"/>
                    <a:gd name="connsiteY210" fmla="*/ 140797 h 321856"/>
                    <a:gd name="connsiteX211" fmla="*/ 788986 w 998970"/>
                    <a:gd name="connsiteY211" fmla="*/ 130081 h 321856"/>
                    <a:gd name="connsiteX212" fmla="*/ 782697 w 998970"/>
                    <a:gd name="connsiteY212" fmla="*/ 110125 h 321856"/>
                    <a:gd name="connsiteX213" fmla="*/ 796118 w 998970"/>
                    <a:gd name="connsiteY213" fmla="*/ 108251 h 321856"/>
                    <a:gd name="connsiteX214" fmla="*/ 806284 w 998970"/>
                    <a:gd name="connsiteY214" fmla="*/ 93553 h 321856"/>
                    <a:gd name="connsiteX215" fmla="*/ 794115 w 998970"/>
                    <a:gd name="connsiteY215" fmla="*/ 89267 h 321856"/>
                    <a:gd name="connsiteX216" fmla="*/ 806600 w 998970"/>
                    <a:gd name="connsiteY216" fmla="*/ 72086 h 321856"/>
                    <a:gd name="connsiteX217" fmla="*/ 806600 w 998970"/>
                    <a:gd name="connsiteY217" fmla="*/ 78164 h 321856"/>
                    <a:gd name="connsiteX218" fmla="*/ 807349 w 998970"/>
                    <a:gd name="connsiteY218" fmla="*/ 75634 h 321856"/>
                    <a:gd name="connsiteX219" fmla="*/ 823043 w 998970"/>
                    <a:gd name="connsiteY219" fmla="*/ 66277 h 321856"/>
                    <a:gd name="connsiteX220" fmla="*/ 832225 w 998970"/>
                    <a:gd name="connsiteY220" fmla="*/ 47386 h 321856"/>
                    <a:gd name="connsiteX221" fmla="*/ 842414 w 998970"/>
                    <a:gd name="connsiteY221" fmla="*/ 40851 h 321856"/>
                    <a:gd name="connsiteX222" fmla="*/ 839521 w 998970"/>
                    <a:gd name="connsiteY222" fmla="*/ 39083 h 321856"/>
                    <a:gd name="connsiteX223" fmla="*/ 858798 w 998970"/>
                    <a:gd name="connsiteY223" fmla="*/ 18435 h 321856"/>
                    <a:gd name="connsiteX224" fmla="*/ 871013 w 998970"/>
                    <a:gd name="connsiteY224" fmla="*/ 2613 h 321856"/>
                    <a:gd name="connsiteX225" fmla="*/ 871013 w 998970"/>
                    <a:gd name="connsiteY225" fmla="*/ 2613 h 321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Lst>
                  <a:rect l="l" t="t" r="r" b="b"/>
                  <a:pathLst>
                    <a:path w="998970" h="321856">
                      <a:moveTo>
                        <a:pt x="3751" y="16924"/>
                      </a:moveTo>
                      <a:cubicBezTo>
                        <a:pt x="8494" y="15015"/>
                        <a:pt x="9057" y="23061"/>
                        <a:pt x="13179" y="25767"/>
                      </a:cubicBezTo>
                      <a:cubicBezTo>
                        <a:pt x="17419" y="28530"/>
                        <a:pt x="26764" y="30592"/>
                        <a:pt x="30770" y="27184"/>
                      </a:cubicBezTo>
                      <a:cubicBezTo>
                        <a:pt x="32866" y="29971"/>
                        <a:pt x="33592" y="32372"/>
                        <a:pt x="35829" y="36014"/>
                      </a:cubicBezTo>
                      <a:cubicBezTo>
                        <a:pt x="39331" y="41718"/>
                        <a:pt x="34705" y="38403"/>
                        <a:pt x="42528" y="38965"/>
                      </a:cubicBezTo>
                      <a:cubicBezTo>
                        <a:pt x="51253" y="39586"/>
                        <a:pt x="47271" y="41355"/>
                        <a:pt x="47810" y="46145"/>
                      </a:cubicBezTo>
                      <a:cubicBezTo>
                        <a:pt x="48080" y="48592"/>
                        <a:pt x="50164" y="49705"/>
                        <a:pt x="49391" y="53535"/>
                      </a:cubicBezTo>
                      <a:cubicBezTo>
                        <a:pt x="48548" y="57681"/>
                        <a:pt x="45714" y="56849"/>
                        <a:pt x="44589" y="60480"/>
                      </a:cubicBezTo>
                      <a:cubicBezTo>
                        <a:pt x="43114" y="65293"/>
                        <a:pt x="44390" y="67975"/>
                        <a:pt x="49391" y="70001"/>
                      </a:cubicBezTo>
                      <a:cubicBezTo>
                        <a:pt x="56980" y="73105"/>
                        <a:pt x="53303" y="68280"/>
                        <a:pt x="57835" y="64180"/>
                      </a:cubicBezTo>
                      <a:cubicBezTo>
                        <a:pt x="60833" y="61475"/>
                        <a:pt x="72135" y="56790"/>
                        <a:pt x="75496" y="58453"/>
                      </a:cubicBezTo>
                      <a:cubicBezTo>
                        <a:pt x="78553" y="59953"/>
                        <a:pt x="78553" y="63653"/>
                        <a:pt x="81469" y="65000"/>
                      </a:cubicBezTo>
                      <a:cubicBezTo>
                        <a:pt x="85053" y="66640"/>
                        <a:pt x="88285" y="66160"/>
                        <a:pt x="91201" y="61487"/>
                      </a:cubicBezTo>
                      <a:cubicBezTo>
                        <a:pt x="95347" y="54870"/>
                        <a:pt x="100406" y="47726"/>
                        <a:pt x="100828" y="39528"/>
                      </a:cubicBezTo>
                      <a:cubicBezTo>
                        <a:pt x="103334" y="41964"/>
                        <a:pt x="105185" y="41554"/>
                        <a:pt x="107024" y="41741"/>
                      </a:cubicBezTo>
                      <a:cubicBezTo>
                        <a:pt x="106696" y="41202"/>
                        <a:pt x="106262" y="41156"/>
                        <a:pt x="105712" y="41601"/>
                      </a:cubicBezTo>
                      <a:cubicBezTo>
                        <a:pt x="115350" y="36799"/>
                        <a:pt x="125212" y="61580"/>
                        <a:pt x="131934" y="67389"/>
                      </a:cubicBezTo>
                      <a:cubicBezTo>
                        <a:pt x="137708" y="72390"/>
                        <a:pt x="144981" y="75248"/>
                        <a:pt x="150626" y="79932"/>
                      </a:cubicBezTo>
                      <a:cubicBezTo>
                        <a:pt x="158109" y="86140"/>
                        <a:pt x="161962" y="96645"/>
                        <a:pt x="166612" y="104890"/>
                      </a:cubicBezTo>
                      <a:cubicBezTo>
                        <a:pt x="172678" y="115641"/>
                        <a:pt x="173252" y="124553"/>
                        <a:pt x="173697" y="136429"/>
                      </a:cubicBezTo>
                      <a:cubicBezTo>
                        <a:pt x="173885" y="141125"/>
                        <a:pt x="174224" y="143784"/>
                        <a:pt x="172901" y="148023"/>
                      </a:cubicBezTo>
                      <a:cubicBezTo>
                        <a:pt x="171179" y="153586"/>
                        <a:pt x="170910" y="152977"/>
                        <a:pt x="171823" y="160192"/>
                      </a:cubicBezTo>
                      <a:cubicBezTo>
                        <a:pt x="161611" y="160953"/>
                        <a:pt x="172667" y="179796"/>
                        <a:pt x="172550" y="183439"/>
                      </a:cubicBezTo>
                      <a:cubicBezTo>
                        <a:pt x="173147" y="183310"/>
                        <a:pt x="173744" y="183193"/>
                        <a:pt x="174330" y="183076"/>
                      </a:cubicBezTo>
                      <a:cubicBezTo>
                        <a:pt x="170032" y="189693"/>
                        <a:pt x="172561" y="198020"/>
                        <a:pt x="172409" y="205492"/>
                      </a:cubicBezTo>
                      <a:cubicBezTo>
                        <a:pt x="172210" y="214697"/>
                        <a:pt x="174318" y="221712"/>
                        <a:pt x="182891" y="227088"/>
                      </a:cubicBezTo>
                      <a:cubicBezTo>
                        <a:pt x="186545" y="229360"/>
                        <a:pt x="187880" y="227217"/>
                        <a:pt x="190538" y="230496"/>
                      </a:cubicBezTo>
                      <a:cubicBezTo>
                        <a:pt x="192623" y="233060"/>
                        <a:pt x="191464" y="235204"/>
                        <a:pt x="192670" y="237300"/>
                      </a:cubicBezTo>
                      <a:cubicBezTo>
                        <a:pt x="194122" y="239830"/>
                        <a:pt x="197495" y="241880"/>
                        <a:pt x="198725" y="244280"/>
                      </a:cubicBezTo>
                      <a:cubicBezTo>
                        <a:pt x="201945" y="250663"/>
                        <a:pt x="203972" y="258357"/>
                        <a:pt x="207731" y="265408"/>
                      </a:cubicBezTo>
                      <a:cubicBezTo>
                        <a:pt x="210530" y="270655"/>
                        <a:pt x="216714" y="281078"/>
                        <a:pt x="216561" y="288995"/>
                      </a:cubicBezTo>
                      <a:cubicBezTo>
                        <a:pt x="216280" y="303880"/>
                        <a:pt x="197881" y="290412"/>
                        <a:pt x="209054" y="285727"/>
                      </a:cubicBezTo>
                      <a:cubicBezTo>
                        <a:pt x="208000" y="286383"/>
                        <a:pt x="205600" y="286852"/>
                        <a:pt x="204136" y="287777"/>
                      </a:cubicBezTo>
                      <a:cubicBezTo>
                        <a:pt x="203281" y="284943"/>
                        <a:pt x="201828" y="282249"/>
                        <a:pt x="199580" y="280387"/>
                      </a:cubicBezTo>
                      <a:cubicBezTo>
                        <a:pt x="200353" y="282354"/>
                        <a:pt x="202554" y="286301"/>
                        <a:pt x="201770" y="288807"/>
                      </a:cubicBezTo>
                      <a:cubicBezTo>
                        <a:pt x="199779" y="295120"/>
                        <a:pt x="197917" y="289616"/>
                        <a:pt x="192986" y="289335"/>
                      </a:cubicBezTo>
                      <a:cubicBezTo>
                        <a:pt x="187224" y="289007"/>
                        <a:pt x="181357" y="297462"/>
                        <a:pt x="177761" y="294253"/>
                      </a:cubicBezTo>
                      <a:cubicBezTo>
                        <a:pt x="177855" y="296701"/>
                        <a:pt x="176637" y="297673"/>
                        <a:pt x="176122" y="300086"/>
                      </a:cubicBezTo>
                      <a:cubicBezTo>
                        <a:pt x="172046" y="296596"/>
                        <a:pt x="172913" y="291677"/>
                        <a:pt x="169809" y="287765"/>
                      </a:cubicBezTo>
                      <a:cubicBezTo>
                        <a:pt x="166120" y="283092"/>
                        <a:pt x="156751" y="280141"/>
                        <a:pt x="151574" y="277155"/>
                      </a:cubicBezTo>
                      <a:cubicBezTo>
                        <a:pt x="149103" y="275726"/>
                        <a:pt x="145473" y="273032"/>
                        <a:pt x="143318" y="272083"/>
                      </a:cubicBezTo>
                      <a:cubicBezTo>
                        <a:pt x="139839" y="270549"/>
                        <a:pt x="136045" y="270479"/>
                        <a:pt x="133164" y="268839"/>
                      </a:cubicBezTo>
                      <a:cubicBezTo>
                        <a:pt x="131102" y="267656"/>
                        <a:pt x="127062" y="260712"/>
                        <a:pt x="126195" y="259997"/>
                      </a:cubicBezTo>
                      <a:cubicBezTo>
                        <a:pt x="122084" y="256718"/>
                        <a:pt x="117213" y="255102"/>
                        <a:pt x="112259" y="252958"/>
                      </a:cubicBezTo>
                      <a:cubicBezTo>
                        <a:pt x="105876" y="250218"/>
                        <a:pt x="95593" y="237722"/>
                        <a:pt x="89995" y="241423"/>
                      </a:cubicBezTo>
                      <a:cubicBezTo>
                        <a:pt x="88379" y="230472"/>
                        <a:pt x="80684" y="232393"/>
                        <a:pt x="73154" y="227509"/>
                      </a:cubicBezTo>
                      <a:cubicBezTo>
                        <a:pt x="70425" y="225729"/>
                        <a:pt x="69711" y="222380"/>
                        <a:pt x="67298" y="220658"/>
                      </a:cubicBezTo>
                      <a:cubicBezTo>
                        <a:pt x="66127" y="219826"/>
                        <a:pt x="60939" y="218948"/>
                        <a:pt x="60435" y="218093"/>
                      </a:cubicBezTo>
                      <a:cubicBezTo>
                        <a:pt x="58116" y="214217"/>
                        <a:pt x="63632" y="211500"/>
                        <a:pt x="64007" y="206475"/>
                      </a:cubicBezTo>
                      <a:cubicBezTo>
                        <a:pt x="64253" y="202939"/>
                        <a:pt x="59838" y="195935"/>
                        <a:pt x="57636" y="192726"/>
                      </a:cubicBezTo>
                      <a:cubicBezTo>
                        <a:pt x="55645" y="189822"/>
                        <a:pt x="51979" y="186823"/>
                        <a:pt x="49766" y="183416"/>
                      </a:cubicBezTo>
                      <a:cubicBezTo>
                        <a:pt x="46826" y="178871"/>
                        <a:pt x="34084" y="168331"/>
                        <a:pt x="36801" y="165368"/>
                      </a:cubicBezTo>
                      <a:cubicBezTo>
                        <a:pt x="34108" y="166235"/>
                        <a:pt x="30700" y="165871"/>
                        <a:pt x="29388" y="162874"/>
                      </a:cubicBezTo>
                      <a:cubicBezTo>
                        <a:pt x="26835" y="157053"/>
                        <a:pt x="35009" y="157837"/>
                        <a:pt x="38160" y="156608"/>
                      </a:cubicBezTo>
                      <a:cubicBezTo>
                        <a:pt x="35267" y="156701"/>
                        <a:pt x="34693" y="155214"/>
                        <a:pt x="33206" y="154090"/>
                      </a:cubicBezTo>
                      <a:cubicBezTo>
                        <a:pt x="30524" y="152064"/>
                        <a:pt x="29809" y="148398"/>
                        <a:pt x="25699" y="149464"/>
                      </a:cubicBezTo>
                      <a:cubicBezTo>
                        <a:pt x="22630" y="140106"/>
                        <a:pt x="23345" y="138478"/>
                        <a:pt x="26366" y="128324"/>
                      </a:cubicBezTo>
                      <a:cubicBezTo>
                        <a:pt x="22314" y="126860"/>
                        <a:pt x="23930" y="123991"/>
                        <a:pt x="27455" y="122586"/>
                      </a:cubicBezTo>
                      <a:cubicBezTo>
                        <a:pt x="22935" y="123312"/>
                        <a:pt x="23017" y="119482"/>
                        <a:pt x="25710" y="117585"/>
                      </a:cubicBezTo>
                      <a:cubicBezTo>
                        <a:pt x="22478" y="116168"/>
                        <a:pt x="23555" y="111261"/>
                        <a:pt x="18508" y="111987"/>
                      </a:cubicBezTo>
                      <a:cubicBezTo>
                        <a:pt x="19515" y="108942"/>
                        <a:pt x="16493" y="109961"/>
                        <a:pt x="14327" y="106447"/>
                      </a:cubicBezTo>
                      <a:cubicBezTo>
                        <a:pt x="10930" y="101001"/>
                        <a:pt x="13612" y="102243"/>
                        <a:pt x="14139" y="98261"/>
                      </a:cubicBezTo>
                      <a:cubicBezTo>
                        <a:pt x="15428" y="88552"/>
                        <a:pt x="9841" y="80354"/>
                        <a:pt x="10649" y="70294"/>
                      </a:cubicBezTo>
                      <a:cubicBezTo>
                        <a:pt x="11528" y="70388"/>
                        <a:pt x="11985" y="70364"/>
                        <a:pt x="12793" y="70294"/>
                      </a:cubicBezTo>
                      <a:cubicBezTo>
                        <a:pt x="10075" y="66148"/>
                        <a:pt x="11575" y="55655"/>
                        <a:pt x="9396" y="49869"/>
                      </a:cubicBezTo>
                      <a:cubicBezTo>
                        <a:pt x="7312" y="44294"/>
                        <a:pt x="2521" y="40652"/>
                        <a:pt x="695" y="35511"/>
                      </a:cubicBezTo>
                      <a:cubicBezTo>
                        <a:pt x="-769" y="31470"/>
                        <a:pt x="4" y="15683"/>
                        <a:pt x="3751" y="16924"/>
                      </a:cubicBezTo>
                      <a:lnTo>
                        <a:pt x="3751" y="16924"/>
                      </a:lnTo>
                      <a:close/>
                      <a:moveTo>
                        <a:pt x="871013" y="2613"/>
                      </a:moveTo>
                      <a:cubicBezTo>
                        <a:pt x="871247" y="3866"/>
                        <a:pt x="871482" y="5131"/>
                        <a:pt x="871716" y="6384"/>
                      </a:cubicBezTo>
                      <a:cubicBezTo>
                        <a:pt x="867898" y="6279"/>
                        <a:pt x="872185" y="9124"/>
                        <a:pt x="871599" y="12931"/>
                      </a:cubicBezTo>
                      <a:cubicBezTo>
                        <a:pt x="870943" y="17194"/>
                        <a:pt x="863893" y="23553"/>
                        <a:pt x="872196" y="21035"/>
                      </a:cubicBezTo>
                      <a:cubicBezTo>
                        <a:pt x="879446" y="18833"/>
                        <a:pt x="881589" y="6325"/>
                        <a:pt x="883018" y="3866"/>
                      </a:cubicBezTo>
                      <a:cubicBezTo>
                        <a:pt x="883884" y="2390"/>
                        <a:pt x="883873" y="-221"/>
                        <a:pt x="887292" y="446"/>
                      </a:cubicBezTo>
                      <a:cubicBezTo>
                        <a:pt x="893991" y="1758"/>
                        <a:pt x="890735" y="5283"/>
                        <a:pt x="891602" y="8199"/>
                      </a:cubicBezTo>
                      <a:cubicBezTo>
                        <a:pt x="892258" y="10378"/>
                        <a:pt x="892773" y="15917"/>
                        <a:pt x="894073" y="17721"/>
                      </a:cubicBezTo>
                      <a:cubicBezTo>
                        <a:pt x="895783" y="20086"/>
                        <a:pt x="896416" y="18681"/>
                        <a:pt x="898489" y="20262"/>
                      </a:cubicBezTo>
                      <a:cubicBezTo>
                        <a:pt x="902107" y="23002"/>
                        <a:pt x="904321" y="26434"/>
                        <a:pt x="907296" y="20485"/>
                      </a:cubicBezTo>
                      <a:cubicBezTo>
                        <a:pt x="907671" y="28308"/>
                        <a:pt x="921525" y="26106"/>
                        <a:pt x="917883" y="36295"/>
                      </a:cubicBezTo>
                      <a:cubicBezTo>
                        <a:pt x="916302" y="40699"/>
                        <a:pt x="912929" y="37876"/>
                        <a:pt x="911617" y="41425"/>
                      </a:cubicBezTo>
                      <a:cubicBezTo>
                        <a:pt x="910469" y="44517"/>
                        <a:pt x="913433" y="45501"/>
                        <a:pt x="914147" y="48393"/>
                      </a:cubicBezTo>
                      <a:cubicBezTo>
                        <a:pt x="913889" y="47316"/>
                        <a:pt x="913491" y="55116"/>
                        <a:pt x="914487" y="52961"/>
                      </a:cubicBezTo>
                      <a:cubicBezTo>
                        <a:pt x="912472" y="57341"/>
                        <a:pt x="907460" y="56615"/>
                        <a:pt x="903911" y="59906"/>
                      </a:cubicBezTo>
                      <a:cubicBezTo>
                        <a:pt x="907986" y="57891"/>
                        <a:pt x="919546" y="59145"/>
                        <a:pt x="919710" y="55935"/>
                      </a:cubicBezTo>
                      <a:cubicBezTo>
                        <a:pt x="926268" y="57060"/>
                        <a:pt x="936656" y="43240"/>
                        <a:pt x="936738" y="58067"/>
                      </a:cubicBezTo>
                      <a:cubicBezTo>
                        <a:pt x="936785" y="66932"/>
                        <a:pt x="932382" y="58500"/>
                        <a:pt x="928388" y="62728"/>
                      </a:cubicBezTo>
                      <a:cubicBezTo>
                        <a:pt x="927369" y="63806"/>
                        <a:pt x="926479" y="67401"/>
                        <a:pt x="929114" y="69029"/>
                      </a:cubicBezTo>
                      <a:cubicBezTo>
                        <a:pt x="930836" y="70083"/>
                        <a:pt x="932253" y="67776"/>
                        <a:pt x="934021" y="67858"/>
                      </a:cubicBezTo>
                      <a:cubicBezTo>
                        <a:pt x="938928" y="68116"/>
                        <a:pt x="936750" y="68069"/>
                        <a:pt x="939631" y="66511"/>
                      </a:cubicBezTo>
                      <a:cubicBezTo>
                        <a:pt x="941271" y="65621"/>
                        <a:pt x="939596" y="64333"/>
                        <a:pt x="941962" y="63103"/>
                      </a:cubicBezTo>
                      <a:cubicBezTo>
                        <a:pt x="945405" y="61323"/>
                        <a:pt x="945873" y="63161"/>
                        <a:pt x="949129" y="63712"/>
                      </a:cubicBezTo>
                      <a:cubicBezTo>
                        <a:pt x="952034" y="64192"/>
                        <a:pt x="958381" y="64403"/>
                        <a:pt x="960911" y="68736"/>
                      </a:cubicBezTo>
                      <a:cubicBezTo>
                        <a:pt x="962761" y="71910"/>
                        <a:pt x="960267" y="73257"/>
                        <a:pt x="961110" y="77836"/>
                      </a:cubicBezTo>
                      <a:cubicBezTo>
                        <a:pt x="963733" y="69052"/>
                        <a:pt x="970842" y="74170"/>
                        <a:pt x="974356" y="80331"/>
                      </a:cubicBezTo>
                      <a:cubicBezTo>
                        <a:pt x="974895" y="79956"/>
                        <a:pt x="974801" y="79089"/>
                        <a:pt x="975047" y="78902"/>
                      </a:cubicBezTo>
                      <a:cubicBezTo>
                        <a:pt x="978197" y="80026"/>
                        <a:pt x="980645" y="81923"/>
                        <a:pt x="979685" y="84266"/>
                      </a:cubicBezTo>
                      <a:cubicBezTo>
                        <a:pt x="982519" y="83668"/>
                        <a:pt x="991982" y="80260"/>
                        <a:pt x="996163" y="84231"/>
                      </a:cubicBezTo>
                      <a:cubicBezTo>
                        <a:pt x="1005274" y="92897"/>
                        <a:pt x="989850" y="100697"/>
                        <a:pt x="983350" y="102875"/>
                      </a:cubicBezTo>
                      <a:cubicBezTo>
                        <a:pt x="976183" y="105276"/>
                        <a:pt x="967165" y="109504"/>
                        <a:pt x="960056" y="107642"/>
                      </a:cubicBezTo>
                      <a:cubicBezTo>
                        <a:pt x="959307" y="107443"/>
                        <a:pt x="957983" y="108426"/>
                        <a:pt x="956671" y="108052"/>
                      </a:cubicBezTo>
                      <a:cubicBezTo>
                        <a:pt x="955172" y="107607"/>
                        <a:pt x="954563" y="104000"/>
                        <a:pt x="952315" y="103519"/>
                      </a:cubicBezTo>
                      <a:cubicBezTo>
                        <a:pt x="949703" y="102957"/>
                        <a:pt x="947501" y="104737"/>
                        <a:pt x="946799" y="106494"/>
                      </a:cubicBezTo>
                      <a:cubicBezTo>
                        <a:pt x="938881" y="105276"/>
                        <a:pt x="940018" y="111460"/>
                        <a:pt x="941189" y="114645"/>
                      </a:cubicBezTo>
                      <a:cubicBezTo>
                        <a:pt x="943180" y="120009"/>
                        <a:pt x="947466" y="121906"/>
                        <a:pt x="951682" y="124331"/>
                      </a:cubicBezTo>
                      <a:cubicBezTo>
                        <a:pt x="953380" y="125303"/>
                        <a:pt x="954950" y="125033"/>
                        <a:pt x="956086" y="125959"/>
                      </a:cubicBezTo>
                      <a:cubicBezTo>
                        <a:pt x="958323" y="127798"/>
                        <a:pt x="955278" y="129074"/>
                        <a:pt x="957725" y="131194"/>
                      </a:cubicBezTo>
                      <a:cubicBezTo>
                        <a:pt x="958100" y="131522"/>
                        <a:pt x="961438" y="130269"/>
                        <a:pt x="962738" y="131428"/>
                      </a:cubicBezTo>
                      <a:cubicBezTo>
                        <a:pt x="965432" y="133852"/>
                        <a:pt x="966170" y="135609"/>
                        <a:pt x="962492" y="135176"/>
                      </a:cubicBezTo>
                      <a:cubicBezTo>
                        <a:pt x="962176" y="140200"/>
                        <a:pt x="950324" y="139919"/>
                        <a:pt x="946588" y="140551"/>
                      </a:cubicBezTo>
                      <a:cubicBezTo>
                        <a:pt x="935895" y="142355"/>
                        <a:pt x="931902" y="147016"/>
                        <a:pt x="922146" y="141371"/>
                      </a:cubicBezTo>
                      <a:cubicBezTo>
                        <a:pt x="919499" y="139860"/>
                        <a:pt x="913948" y="133934"/>
                        <a:pt x="911500" y="137061"/>
                      </a:cubicBezTo>
                      <a:cubicBezTo>
                        <a:pt x="911523" y="137026"/>
                        <a:pt x="911980" y="147789"/>
                        <a:pt x="912156" y="148375"/>
                      </a:cubicBezTo>
                      <a:cubicBezTo>
                        <a:pt x="902634" y="150377"/>
                        <a:pt x="900362" y="143245"/>
                        <a:pt x="891907" y="140528"/>
                      </a:cubicBezTo>
                      <a:cubicBezTo>
                        <a:pt x="886098" y="138654"/>
                        <a:pt x="874140" y="139544"/>
                        <a:pt x="866738" y="139579"/>
                      </a:cubicBezTo>
                      <a:cubicBezTo>
                        <a:pt x="864115" y="139591"/>
                        <a:pt x="861140" y="140165"/>
                        <a:pt x="858107" y="140352"/>
                      </a:cubicBezTo>
                      <a:cubicBezTo>
                        <a:pt x="855625" y="140516"/>
                        <a:pt x="856374" y="137061"/>
                        <a:pt x="854184" y="137577"/>
                      </a:cubicBezTo>
                      <a:cubicBezTo>
                        <a:pt x="853458" y="137752"/>
                        <a:pt x="851970" y="140680"/>
                        <a:pt x="853095" y="140633"/>
                      </a:cubicBezTo>
                      <a:cubicBezTo>
                        <a:pt x="849593" y="140762"/>
                        <a:pt x="849406" y="140879"/>
                        <a:pt x="846665" y="140481"/>
                      </a:cubicBezTo>
                      <a:cubicBezTo>
                        <a:pt x="845529" y="140317"/>
                        <a:pt x="842484" y="138853"/>
                        <a:pt x="840704" y="138596"/>
                      </a:cubicBezTo>
                      <a:cubicBezTo>
                        <a:pt x="833735" y="137530"/>
                        <a:pt x="831218" y="142448"/>
                        <a:pt x="826638" y="141652"/>
                      </a:cubicBezTo>
                      <a:cubicBezTo>
                        <a:pt x="826006" y="141535"/>
                        <a:pt x="819834" y="137143"/>
                        <a:pt x="819764" y="137167"/>
                      </a:cubicBezTo>
                      <a:cubicBezTo>
                        <a:pt x="817656" y="137904"/>
                        <a:pt x="817316" y="143350"/>
                        <a:pt x="815595" y="145271"/>
                      </a:cubicBezTo>
                      <a:cubicBezTo>
                        <a:pt x="811144" y="150202"/>
                        <a:pt x="807994" y="148925"/>
                        <a:pt x="806155" y="159313"/>
                      </a:cubicBezTo>
                      <a:cubicBezTo>
                        <a:pt x="805874" y="160953"/>
                        <a:pt x="803590" y="160754"/>
                        <a:pt x="803215" y="162335"/>
                      </a:cubicBezTo>
                      <a:cubicBezTo>
                        <a:pt x="802969" y="163400"/>
                        <a:pt x="805171" y="163963"/>
                        <a:pt x="805112" y="164255"/>
                      </a:cubicBezTo>
                      <a:cubicBezTo>
                        <a:pt x="804445" y="167476"/>
                        <a:pt x="803379" y="173496"/>
                        <a:pt x="803625" y="177595"/>
                      </a:cubicBezTo>
                      <a:cubicBezTo>
                        <a:pt x="803801" y="180218"/>
                        <a:pt x="806986" y="184833"/>
                        <a:pt x="806483" y="187362"/>
                      </a:cubicBezTo>
                      <a:cubicBezTo>
                        <a:pt x="806131" y="189189"/>
                        <a:pt x="804093" y="186554"/>
                        <a:pt x="803625" y="188194"/>
                      </a:cubicBezTo>
                      <a:cubicBezTo>
                        <a:pt x="802735" y="191297"/>
                        <a:pt x="801236" y="194331"/>
                        <a:pt x="800639" y="197739"/>
                      </a:cubicBezTo>
                      <a:cubicBezTo>
                        <a:pt x="800088" y="200912"/>
                        <a:pt x="802911" y="204110"/>
                        <a:pt x="799561" y="207693"/>
                      </a:cubicBezTo>
                      <a:cubicBezTo>
                        <a:pt x="796669" y="210797"/>
                        <a:pt x="790169" y="211418"/>
                        <a:pt x="787744" y="207647"/>
                      </a:cubicBezTo>
                      <a:cubicBezTo>
                        <a:pt x="786210" y="211219"/>
                        <a:pt x="782462" y="212226"/>
                        <a:pt x="780881" y="215446"/>
                      </a:cubicBezTo>
                      <a:cubicBezTo>
                        <a:pt x="778949" y="219393"/>
                        <a:pt x="781209" y="218936"/>
                        <a:pt x="780577" y="222239"/>
                      </a:cubicBezTo>
                      <a:cubicBezTo>
                        <a:pt x="780015" y="225179"/>
                        <a:pt x="777415" y="223879"/>
                        <a:pt x="778750" y="227486"/>
                      </a:cubicBezTo>
                      <a:cubicBezTo>
                        <a:pt x="780038" y="231023"/>
                        <a:pt x="781326" y="228704"/>
                        <a:pt x="782404" y="230543"/>
                      </a:cubicBezTo>
                      <a:cubicBezTo>
                        <a:pt x="786889" y="238097"/>
                        <a:pt x="782755" y="236047"/>
                        <a:pt x="775822" y="241786"/>
                      </a:cubicBezTo>
                      <a:cubicBezTo>
                        <a:pt x="771817" y="245100"/>
                        <a:pt x="761745" y="247899"/>
                        <a:pt x="762237" y="254973"/>
                      </a:cubicBezTo>
                      <a:cubicBezTo>
                        <a:pt x="762623" y="260430"/>
                        <a:pt x="769943" y="260056"/>
                        <a:pt x="766441" y="266111"/>
                      </a:cubicBezTo>
                      <a:cubicBezTo>
                        <a:pt x="764462" y="269542"/>
                        <a:pt x="760128" y="267961"/>
                        <a:pt x="757950" y="271357"/>
                      </a:cubicBezTo>
                      <a:cubicBezTo>
                        <a:pt x="756896" y="273009"/>
                        <a:pt x="756568" y="280129"/>
                        <a:pt x="755514" y="282940"/>
                      </a:cubicBezTo>
                      <a:cubicBezTo>
                        <a:pt x="755760" y="282237"/>
                        <a:pt x="751591" y="290412"/>
                        <a:pt x="752586" y="289721"/>
                      </a:cubicBezTo>
                      <a:cubicBezTo>
                        <a:pt x="748089" y="292848"/>
                        <a:pt x="749787" y="288784"/>
                        <a:pt x="744318" y="288175"/>
                      </a:cubicBezTo>
                      <a:cubicBezTo>
                        <a:pt x="739821" y="287683"/>
                        <a:pt x="736589" y="291747"/>
                        <a:pt x="732524" y="292075"/>
                      </a:cubicBezTo>
                      <a:cubicBezTo>
                        <a:pt x="729245" y="292344"/>
                        <a:pt x="726563" y="289475"/>
                        <a:pt x="722019" y="290470"/>
                      </a:cubicBezTo>
                      <a:cubicBezTo>
                        <a:pt x="715637" y="291876"/>
                        <a:pt x="710577" y="302018"/>
                        <a:pt x="704675" y="302018"/>
                      </a:cubicBezTo>
                      <a:cubicBezTo>
                        <a:pt x="701958" y="302007"/>
                        <a:pt x="698514" y="299043"/>
                        <a:pt x="695891" y="298071"/>
                      </a:cubicBezTo>
                      <a:cubicBezTo>
                        <a:pt x="695048" y="297767"/>
                        <a:pt x="689895" y="296923"/>
                        <a:pt x="688735" y="296631"/>
                      </a:cubicBezTo>
                      <a:cubicBezTo>
                        <a:pt x="686486" y="296057"/>
                        <a:pt x="683219" y="294968"/>
                        <a:pt x="680935" y="294206"/>
                      </a:cubicBezTo>
                      <a:cubicBezTo>
                        <a:pt x="676462" y="292696"/>
                        <a:pt x="673686" y="290552"/>
                        <a:pt x="668615" y="292485"/>
                      </a:cubicBezTo>
                      <a:cubicBezTo>
                        <a:pt x="676942" y="286125"/>
                        <a:pt x="667572" y="284322"/>
                        <a:pt x="661752" y="284568"/>
                      </a:cubicBezTo>
                      <a:cubicBezTo>
                        <a:pt x="653378" y="284931"/>
                        <a:pt x="642814" y="284017"/>
                        <a:pt x="634347" y="287765"/>
                      </a:cubicBezTo>
                      <a:cubicBezTo>
                        <a:pt x="632461" y="288597"/>
                        <a:pt x="628690" y="289616"/>
                        <a:pt x="627296" y="291302"/>
                      </a:cubicBezTo>
                      <a:cubicBezTo>
                        <a:pt x="625739" y="293211"/>
                        <a:pt x="628257" y="293551"/>
                        <a:pt x="628280" y="293516"/>
                      </a:cubicBezTo>
                      <a:cubicBezTo>
                        <a:pt x="626254" y="297872"/>
                        <a:pt x="625961" y="304524"/>
                        <a:pt x="621769" y="307136"/>
                      </a:cubicBezTo>
                      <a:cubicBezTo>
                        <a:pt x="619766" y="308389"/>
                        <a:pt x="614964" y="308612"/>
                        <a:pt x="612434" y="310017"/>
                      </a:cubicBezTo>
                      <a:cubicBezTo>
                        <a:pt x="608535" y="312207"/>
                        <a:pt x="609518" y="313249"/>
                        <a:pt x="605138" y="314186"/>
                      </a:cubicBezTo>
                      <a:cubicBezTo>
                        <a:pt x="600184" y="315252"/>
                        <a:pt x="597573" y="310345"/>
                        <a:pt x="592701" y="316330"/>
                      </a:cubicBezTo>
                      <a:cubicBezTo>
                        <a:pt x="591049" y="308366"/>
                        <a:pt x="564921" y="311493"/>
                        <a:pt x="558772" y="314315"/>
                      </a:cubicBezTo>
                      <a:cubicBezTo>
                        <a:pt x="554755" y="316154"/>
                        <a:pt x="554662" y="317817"/>
                        <a:pt x="551183" y="319293"/>
                      </a:cubicBezTo>
                      <a:cubicBezTo>
                        <a:pt x="549778" y="319890"/>
                        <a:pt x="544027" y="322103"/>
                        <a:pt x="542563" y="321834"/>
                      </a:cubicBezTo>
                      <a:cubicBezTo>
                        <a:pt x="538359" y="321061"/>
                        <a:pt x="537891" y="318707"/>
                        <a:pt x="534717" y="316646"/>
                      </a:cubicBezTo>
                      <a:cubicBezTo>
                        <a:pt x="533300" y="315732"/>
                        <a:pt x="528826" y="315053"/>
                        <a:pt x="528299" y="314561"/>
                      </a:cubicBezTo>
                      <a:cubicBezTo>
                        <a:pt x="526870" y="313238"/>
                        <a:pt x="526238" y="309057"/>
                        <a:pt x="524540" y="307241"/>
                      </a:cubicBezTo>
                      <a:cubicBezTo>
                        <a:pt x="522221" y="304770"/>
                        <a:pt x="520511" y="305508"/>
                        <a:pt x="517887" y="303587"/>
                      </a:cubicBezTo>
                      <a:cubicBezTo>
                        <a:pt x="513976" y="300730"/>
                        <a:pt x="511950" y="295881"/>
                        <a:pt x="508682" y="293094"/>
                      </a:cubicBezTo>
                      <a:cubicBezTo>
                        <a:pt x="505028" y="289967"/>
                        <a:pt x="502334" y="290306"/>
                        <a:pt x="498704" y="285341"/>
                      </a:cubicBezTo>
                      <a:cubicBezTo>
                        <a:pt x="496725" y="282635"/>
                        <a:pt x="496900" y="281324"/>
                        <a:pt x="495589" y="278548"/>
                      </a:cubicBezTo>
                      <a:cubicBezTo>
                        <a:pt x="494851" y="276955"/>
                        <a:pt x="494640" y="274215"/>
                        <a:pt x="494090" y="273067"/>
                      </a:cubicBezTo>
                      <a:cubicBezTo>
                        <a:pt x="493844" y="272564"/>
                        <a:pt x="491373" y="273407"/>
                        <a:pt x="490916" y="272001"/>
                      </a:cubicBezTo>
                      <a:cubicBezTo>
                        <a:pt x="488784" y="265490"/>
                        <a:pt x="493996" y="264073"/>
                        <a:pt x="495788" y="257655"/>
                      </a:cubicBezTo>
                      <a:cubicBezTo>
                        <a:pt x="498212" y="267457"/>
                        <a:pt x="498856" y="270491"/>
                        <a:pt x="509022" y="275398"/>
                      </a:cubicBezTo>
                      <a:cubicBezTo>
                        <a:pt x="513882" y="277740"/>
                        <a:pt x="515381" y="277248"/>
                        <a:pt x="522010" y="277553"/>
                      </a:cubicBezTo>
                      <a:cubicBezTo>
                        <a:pt x="525359" y="277717"/>
                        <a:pt x="526753" y="277623"/>
                        <a:pt x="529470" y="279017"/>
                      </a:cubicBezTo>
                      <a:cubicBezTo>
                        <a:pt x="529470" y="278290"/>
                        <a:pt x="530173" y="272575"/>
                        <a:pt x="531075" y="272564"/>
                      </a:cubicBezTo>
                      <a:cubicBezTo>
                        <a:pt x="533956" y="272552"/>
                        <a:pt x="532047" y="276932"/>
                        <a:pt x="533932" y="277354"/>
                      </a:cubicBezTo>
                      <a:cubicBezTo>
                        <a:pt x="537703" y="278197"/>
                        <a:pt x="545327" y="273711"/>
                        <a:pt x="538593" y="281804"/>
                      </a:cubicBezTo>
                      <a:cubicBezTo>
                        <a:pt x="541193" y="282237"/>
                        <a:pt x="559709" y="285165"/>
                        <a:pt x="549649" y="290775"/>
                      </a:cubicBezTo>
                      <a:cubicBezTo>
                        <a:pt x="554240" y="290962"/>
                        <a:pt x="553127" y="286699"/>
                        <a:pt x="554310" y="286196"/>
                      </a:cubicBezTo>
                      <a:cubicBezTo>
                        <a:pt x="558187" y="284533"/>
                        <a:pt x="560494" y="285224"/>
                        <a:pt x="565296" y="288433"/>
                      </a:cubicBezTo>
                      <a:cubicBezTo>
                        <a:pt x="570425" y="291876"/>
                        <a:pt x="580450" y="298446"/>
                        <a:pt x="586458" y="295717"/>
                      </a:cubicBezTo>
                      <a:cubicBezTo>
                        <a:pt x="581165" y="293516"/>
                        <a:pt x="570308" y="293433"/>
                        <a:pt x="567767" y="286582"/>
                      </a:cubicBezTo>
                      <a:cubicBezTo>
                        <a:pt x="563024" y="273723"/>
                        <a:pt x="576281" y="282378"/>
                        <a:pt x="580392" y="281453"/>
                      </a:cubicBezTo>
                      <a:cubicBezTo>
                        <a:pt x="576972" y="280446"/>
                        <a:pt x="568868" y="276136"/>
                        <a:pt x="573248" y="272868"/>
                      </a:cubicBezTo>
                      <a:cubicBezTo>
                        <a:pt x="571749" y="269764"/>
                        <a:pt x="575695" y="257385"/>
                        <a:pt x="580415" y="258475"/>
                      </a:cubicBezTo>
                      <a:cubicBezTo>
                        <a:pt x="576808" y="253497"/>
                        <a:pt x="585240" y="258276"/>
                        <a:pt x="585685" y="253134"/>
                      </a:cubicBezTo>
                      <a:cubicBezTo>
                        <a:pt x="582863" y="256577"/>
                        <a:pt x="570777" y="253825"/>
                        <a:pt x="578975" y="250710"/>
                      </a:cubicBezTo>
                      <a:cubicBezTo>
                        <a:pt x="574501" y="248930"/>
                        <a:pt x="576293" y="242242"/>
                        <a:pt x="579291" y="239244"/>
                      </a:cubicBezTo>
                      <a:cubicBezTo>
                        <a:pt x="580907" y="240462"/>
                        <a:pt x="583437" y="243543"/>
                        <a:pt x="585498" y="244222"/>
                      </a:cubicBezTo>
                      <a:cubicBezTo>
                        <a:pt x="587735" y="244948"/>
                        <a:pt x="589047" y="241880"/>
                        <a:pt x="592174" y="243952"/>
                      </a:cubicBezTo>
                      <a:cubicBezTo>
                        <a:pt x="590124" y="241961"/>
                        <a:pt x="588402" y="239537"/>
                        <a:pt x="587536" y="236761"/>
                      </a:cubicBezTo>
                      <a:cubicBezTo>
                        <a:pt x="590124" y="237078"/>
                        <a:pt x="591611" y="236597"/>
                        <a:pt x="593626" y="236410"/>
                      </a:cubicBezTo>
                      <a:cubicBezTo>
                        <a:pt x="581891" y="235473"/>
                        <a:pt x="591986" y="223316"/>
                        <a:pt x="596929" y="220564"/>
                      </a:cubicBezTo>
                      <a:cubicBezTo>
                        <a:pt x="607656" y="214603"/>
                        <a:pt x="621909" y="215095"/>
                        <a:pt x="633855" y="211945"/>
                      </a:cubicBezTo>
                      <a:cubicBezTo>
                        <a:pt x="643786" y="209321"/>
                        <a:pt x="661916" y="208162"/>
                        <a:pt x="670313" y="201850"/>
                      </a:cubicBezTo>
                      <a:cubicBezTo>
                        <a:pt x="673979" y="199097"/>
                        <a:pt x="674166" y="196544"/>
                        <a:pt x="676145" y="193874"/>
                      </a:cubicBezTo>
                      <a:cubicBezTo>
                        <a:pt x="678991" y="190033"/>
                        <a:pt x="683172" y="186929"/>
                        <a:pt x="686206" y="183111"/>
                      </a:cubicBezTo>
                      <a:cubicBezTo>
                        <a:pt x="689309" y="179199"/>
                        <a:pt x="691710" y="173273"/>
                        <a:pt x="694919" y="169373"/>
                      </a:cubicBezTo>
                      <a:cubicBezTo>
                        <a:pt x="703152" y="159372"/>
                        <a:pt x="716199" y="153949"/>
                        <a:pt x="721223" y="140797"/>
                      </a:cubicBezTo>
                      <a:cubicBezTo>
                        <a:pt x="724280" y="132810"/>
                        <a:pt x="717791" y="121380"/>
                        <a:pt x="731072" y="129472"/>
                      </a:cubicBezTo>
                      <a:cubicBezTo>
                        <a:pt x="735839" y="132377"/>
                        <a:pt x="735605" y="133934"/>
                        <a:pt x="738041" y="138736"/>
                      </a:cubicBezTo>
                      <a:cubicBezTo>
                        <a:pt x="738872" y="140364"/>
                        <a:pt x="736729" y="142507"/>
                        <a:pt x="737397" y="143292"/>
                      </a:cubicBezTo>
                      <a:cubicBezTo>
                        <a:pt x="738474" y="144510"/>
                        <a:pt x="741952" y="143339"/>
                        <a:pt x="742796" y="144135"/>
                      </a:cubicBezTo>
                      <a:cubicBezTo>
                        <a:pt x="744775" y="145985"/>
                        <a:pt x="747387" y="149464"/>
                        <a:pt x="750221" y="152275"/>
                      </a:cubicBezTo>
                      <a:cubicBezTo>
                        <a:pt x="758067" y="160016"/>
                        <a:pt x="762576" y="151736"/>
                        <a:pt x="765364" y="143128"/>
                      </a:cubicBezTo>
                      <a:cubicBezTo>
                        <a:pt x="764825" y="143350"/>
                        <a:pt x="764274" y="143561"/>
                        <a:pt x="763736" y="143784"/>
                      </a:cubicBezTo>
                      <a:cubicBezTo>
                        <a:pt x="765539" y="140364"/>
                        <a:pt x="766066" y="137459"/>
                        <a:pt x="765973" y="135328"/>
                      </a:cubicBezTo>
                      <a:cubicBezTo>
                        <a:pt x="765844" y="132751"/>
                        <a:pt x="761440" y="125526"/>
                        <a:pt x="762213" y="121801"/>
                      </a:cubicBezTo>
                      <a:cubicBezTo>
                        <a:pt x="763396" y="116016"/>
                        <a:pt x="771758" y="114528"/>
                        <a:pt x="775892" y="109715"/>
                      </a:cubicBezTo>
                      <a:cubicBezTo>
                        <a:pt x="777684" y="117011"/>
                        <a:pt x="776255" y="123874"/>
                        <a:pt x="779195" y="131264"/>
                      </a:cubicBezTo>
                      <a:cubicBezTo>
                        <a:pt x="781596" y="137342"/>
                        <a:pt x="779254" y="135761"/>
                        <a:pt x="784992" y="138958"/>
                      </a:cubicBezTo>
                      <a:cubicBezTo>
                        <a:pt x="785320" y="139146"/>
                        <a:pt x="790813" y="140879"/>
                        <a:pt x="791082" y="140797"/>
                      </a:cubicBezTo>
                      <a:cubicBezTo>
                        <a:pt x="795966" y="139368"/>
                        <a:pt x="790251" y="135422"/>
                        <a:pt x="788986" y="130081"/>
                      </a:cubicBezTo>
                      <a:cubicBezTo>
                        <a:pt x="787311" y="122937"/>
                        <a:pt x="787088" y="116285"/>
                        <a:pt x="782697" y="110125"/>
                      </a:cubicBezTo>
                      <a:cubicBezTo>
                        <a:pt x="786819" y="106154"/>
                        <a:pt x="790555" y="110734"/>
                        <a:pt x="796118" y="108251"/>
                      </a:cubicBezTo>
                      <a:cubicBezTo>
                        <a:pt x="803133" y="105100"/>
                        <a:pt x="803801" y="98975"/>
                        <a:pt x="806284" y="93553"/>
                      </a:cubicBezTo>
                      <a:cubicBezTo>
                        <a:pt x="799983" y="96399"/>
                        <a:pt x="797477" y="87217"/>
                        <a:pt x="794115" y="89267"/>
                      </a:cubicBezTo>
                      <a:cubicBezTo>
                        <a:pt x="793307" y="82357"/>
                        <a:pt x="803672" y="77836"/>
                        <a:pt x="806600" y="72086"/>
                      </a:cubicBezTo>
                      <a:cubicBezTo>
                        <a:pt x="806331" y="73690"/>
                        <a:pt x="806799" y="76747"/>
                        <a:pt x="806600" y="78164"/>
                      </a:cubicBezTo>
                      <a:cubicBezTo>
                        <a:pt x="806869" y="77379"/>
                        <a:pt x="806916" y="76360"/>
                        <a:pt x="807349" y="75634"/>
                      </a:cubicBezTo>
                      <a:cubicBezTo>
                        <a:pt x="817105" y="85249"/>
                        <a:pt x="819530" y="71125"/>
                        <a:pt x="823043" y="66277"/>
                      </a:cubicBezTo>
                      <a:cubicBezTo>
                        <a:pt x="825362" y="63080"/>
                        <a:pt x="840364" y="50455"/>
                        <a:pt x="832225" y="47386"/>
                      </a:cubicBezTo>
                      <a:cubicBezTo>
                        <a:pt x="835773" y="45137"/>
                        <a:pt x="837460" y="39129"/>
                        <a:pt x="842414" y="40851"/>
                      </a:cubicBezTo>
                      <a:cubicBezTo>
                        <a:pt x="840423" y="39434"/>
                        <a:pt x="843339" y="39410"/>
                        <a:pt x="839521" y="39083"/>
                      </a:cubicBezTo>
                      <a:cubicBezTo>
                        <a:pt x="846525" y="36014"/>
                        <a:pt x="854687" y="25427"/>
                        <a:pt x="858798" y="18435"/>
                      </a:cubicBezTo>
                      <a:cubicBezTo>
                        <a:pt x="860988" y="14828"/>
                        <a:pt x="865251" y="-7518"/>
                        <a:pt x="871013" y="2613"/>
                      </a:cubicBezTo>
                      <a:lnTo>
                        <a:pt x="871013" y="2613"/>
                      </a:lnTo>
                      <a:close/>
                    </a:path>
                  </a:pathLst>
                </a:custGeom>
                <a:solidFill>
                  <a:srgbClr val="D6D6D2"/>
                </a:solidFill>
                <a:ln w="8774" cap="rnd">
                  <a:solidFill>
                    <a:srgbClr val="FFFFFF"/>
                  </a:solidFill>
                  <a:prstDash val="solid"/>
                  <a:round/>
                </a:ln>
              </p:spPr>
              <p:txBody>
                <a:bodyPr rtlCol="0" anchor="ctr"/>
                <a:lstStyle/>
                <a:p>
                  <a:endParaRPr lang="en-US"/>
                </a:p>
              </p:txBody>
            </p:sp>
            <p:sp>
              <p:nvSpPr>
                <p:cNvPr id="117" name="Freeform: Shape 116">
                  <a:extLst>
                    <a:ext uri="{FF2B5EF4-FFF2-40B4-BE49-F238E27FC236}">
                      <a16:creationId xmlns:a16="http://schemas.microsoft.com/office/drawing/2014/main" id="{BE932C26-8BFD-4738-86C4-AA3C3B5CA126}"/>
                    </a:ext>
                  </a:extLst>
                </p:cNvPr>
                <p:cNvSpPr/>
                <p:nvPr/>
              </p:nvSpPr>
              <p:spPr>
                <a:xfrm>
                  <a:off x="1696514" y="3084170"/>
                  <a:ext cx="1676356" cy="692117"/>
                </a:xfrm>
                <a:custGeom>
                  <a:avLst/>
                  <a:gdLst>
                    <a:gd name="connsiteX0" fmla="*/ 1509177 w 1676356"/>
                    <a:gd name="connsiteY0" fmla="*/ 158329 h 692117"/>
                    <a:gd name="connsiteX1" fmla="*/ 1479453 w 1676356"/>
                    <a:gd name="connsiteY1" fmla="*/ 215071 h 692117"/>
                    <a:gd name="connsiteX2" fmla="*/ 1472344 w 1676356"/>
                    <a:gd name="connsiteY2" fmla="*/ 233130 h 692117"/>
                    <a:gd name="connsiteX3" fmla="*/ 1462588 w 1676356"/>
                    <a:gd name="connsiteY3" fmla="*/ 252103 h 692117"/>
                    <a:gd name="connsiteX4" fmla="*/ 1462670 w 1676356"/>
                    <a:gd name="connsiteY4" fmla="*/ 265068 h 692117"/>
                    <a:gd name="connsiteX5" fmla="*/ 1449647 w 1676356"/>
                    <a:gd name="connsiteY5" fmla="*/ 270912 h 692117"/>
                    <a:gd name="connsiteX6" fmla="*/ 1453137 w 1676356"/>
                    <a:gd name="connsiteY6" fmla="*/ 288936 h 692117"/>
                    <a:gd name="connsiteX7" fmla="*/ 1465317 w 1676356"/>
                    <a:gd name="connsiteY7" fmla="*/ 300074 h 692117"/>
                    <a:gd name="connsiteX8" fmla="*/ 1476947 w 1676356"/>
                    <a:gd name="connsiteY8" fmla="*/ 294897 h 692117"/>
                    <a:gd name="connsiteX9" fmla="*/ 1502138 w 1676356"/>
                    <a:gd name="connsiteY9" fmla="*/ 291360 h 692117"/>
                    <a:gd name="connsiteX10" fmla="*/ 1529461 w 1676356"/>
                    <a:gd name="connsiteY10" fmla="*/ 293738 h 692117"/>
                    <a:gd name="connsiteX11" fmla="*/ 1543374 w 1676356"/>
                    <a:gd name="connsiteY11" fmla="*/ 304009 h 692117"/>
                    <a:gd name="connsiteX12" fmla="*/ 1552217 w 1676356"/>
                    <a:gd name="connsiteY12" fmla="*/ 295775 h 692117"/>
                    <a:gd name="connsiteX13" fmla="*/ 1556562 w 1676356"/>
                    <a:gd name="connsiteY13" fmla="*/ 301057 h 692117"/>
                    <a:gd name="connsiteX14" fmla="*/ 1555473 w 1676356"/>
                    <a:gd name="connsiteY14" fmla="*/ 303774 h 692117"/>
                    <a:gd name="connsiteX15" fmla="*/ 1564338 w 1676356"/>
                    <a:gd name="connsiteY15" fmla="*/ 282448 h 692117"/>
                    <a:gd name="connsiteX16" fmla="*/ 1589190 w 1676356"/>
                    <a:gd name="connsiteY16" fmla="*/ 279754 h 692117"/>
                    <a:gd name="connsiteX17" fmla="*/ 1603384 w 1676356"/>
                    <a:gd name="connsiteY17" fmla="*/ 282050 h 692117"/>
                    <a:gd name="connsiteX18" fmla="*/ 1615026 w 1676356"/>
                    <a:gd name="connsiteY18" fmla="*/ 294686 h 692117"/>
                    <a:gd name="connsiteX19" fmla="*/ 1635591 w 1676356"/>
                    <a:gd name="connsiteY19" fmla="*/ 306925 h 692117"/>
                    <a:gd name="connsiteX20" fmla="*/ 1636938 w 1676356"/>
                    <a:gd name="connsiteY20" fmla="*/ 312336 h 692117"/>
                    <a:gd name="connsiteX21" fmla="*/ 1642430 w 1676356"/>
                    <a:gd name="connsiteY21" fmla="*/ 314409 h 692117"/>
                    <a:gd name="connsiteX22" fmla="*/ 1644668 w 1676356"/>
                    <a:gd name="connsiteY22" fmla="*/ 319784 h 692117"/>
                    <a:gd name="connsiteX23" fmla="*/ 1655934 w 1676356"/>
                    <a:gd name="connsiteY23" fmla="*/ 328170 h 692117"/>
                    <a:gd name="connsiteX24" fmla="*/ 1666486 w 1676356"/>
                    <a:gd name="connsiteY24" fmla="*/ 336731 h 692117"/>
                    <a:gd name="connsiteX25" fmla="*/ 1674192 w 1676356"/>
                    <a:gd name="connsiteY25" fmla="*/ 352822 h 692117"/>
                    <a:gd name="connsiteX26" fmla="*/ 1676195 w 1676356"/>
                    <a:gd name="connsiteY26" fmla="*/ 362250 h 692117"/>
                    <a:gd name="connsiteX27" fmla="*/ 1669718 w 1676356"/>
                    <a:gd name="connsiteY27" fmla="*/ 371233 h 692117"/>
                    <a:gd name="connsiteX28" fmla="*/ 1626514 w 1676356"/>
                    <a:gd name="connsiteY28" fmla="*/ 365119 h 692117"/>
                    <a:gd name="connsiteX29" fmla="*/ 1621162 w 1676356"/>
                    <a:gd name="connsiteY29" fmla="*/ 362824 h 692117"/>
                    <a:gd name="connsiteX30" fmla="*/ 1617110 w 1676356"/>
                    <a:gd name="connsiteY30" fmla="*/ 367462 h 692117"/>
                    <a:gd name="connsiteX31" fmla="*/ 1611547 w 1676356"/>
                    <a:gd name="connsiteY31" fmla="*/ 367017 h 692117"/>
                    <a:gd name="connsiteX32" fmla="*/ 1590209 w 1676356"/>
                    <a:gd name="connsiteY32" fmla="*/ 365881 h 692117"/>
                    <a:gd name="connsiteX33" fmla="*/ 1569058 w 1676356"/>
                    <a:gd name="connsiteY33" fmla="*/ 377135 h 692117"/>
                    <a:gd name="connsiteX34" fmla="*/ 1557756 w 1676356"/>
                    <a:gd name="connsiteY34" fmla="*/ 377171 h 692117"/>
                    <a:gd name="connsiteX35" fmla="*/ 1553493 w 1676356"/>
                    <a:gd name="connsiteY35" fmla="*/ 374044 h 692117"/>
                    <a:gd name="connsiteX36" fmla="*/ 1546174 w 1676356"/>
                    <a:gd name="connsiteY36" fmla="*/ 375308 h 692117"/>
                    <a:gd name="connsiteX37" fmla="*/ 1541864 w 1676356"/>
                    <a:gd name="connsiteY37" fmla="*/ 389655 h 692117"/>
                    <a:gd name="connsiteX38" fmla="*/ 1515934 w 1676356"/>
                    <a:gd name="connsiteY38" fmla="*/ 387418 h 692117"/>
                    <a:gd name="connsiteX39" fmla="*/ 1502595 w 1676356"/>
                    <a:gd name="connsiteY39" fmla="*/ 394726 h 692117"/>
                    <a:gd name="connsiteX40" fmla="*/ 1488342 w 1676356"/>
                    <a:gd name="connsiteY40" fmla="*/ 412200 h 692117"/>
                    <a:gd name="connsiteX41" fmla="*/ 1484700 w 1676356"/>
                    <a:gd name="connsiteY41" fmla="*/ 428631 h 692117"/>
                    <a:gd name="connsiteX42" fmla="*/ 1471864 w 1676356"/>
                    <a:gd name="connsiteY42" fmla="*/ 435283 h 692117"/>
                    <a:gd name="connsiteX43" fmla="*/ 1452622 w 1676356"/>
                    <a:gd name="connsiteY43" fmla="*/ 449197 h 692117"/>
                    <a:gd name="connsiteX44" fmla="*/ 1426798 w 1676356"/>
                    <a:gd name="connsiteY44" fmla="*/ 452113 h 692117"/>
                    <a:gd name="connsiteX45" fmla="*/ 1404944 w 1676356"/>
                    <a:gd name="connsiteY45" fmla="*/ 449981 h 692117"/>
                    <a:gd name="connsiteX46" fmla="*/ 1392366 w 1676356"/>
                    <a:gd name="connsiteY46" fmla="*/ 462641 h 692117"/>
                    <a:gd name="connsiteX47" fmla="*/ 1360651 w 1676356"/>
                    <a:gd name="connsiteY47" fmla="*/ 485982 h 692117"/>
                    <a:gd name="connsiteX48" fmla="*/ 1342838 w 1676356"/>
                    <a:gd name="connsiteY48" fmla="*/ 492763 h 692117"/>
                    <a:gd name="connsiteX49" fmla="*/ 1316686 w 1676356"/>
                    <a:gd name="connsiteY49" fmla="*/ 488969 h 692117"/>
                    <a:gd name="connsiteX50" fmla="*/ 1294867 w 1676356"/>
                    <a:gd name="connsiteY50" fmla="*/ 481743 h 692117"/>
                    <a:gd name="connsiteX51" fmla="*/ 1274560 w 1676356"/>
                    <a:gd name="connsiteY51" fmla="*/ 473076 h 692117"/>
                    <a:gd name="connsiteX52" fmla="*/ 1247705 w 1676356"/>
                    <a:gd name="connsiteY52" fmla="*/ 485877 h 692117"/>
                    <a:gd name="connsiteX53" fmla="*/ 1240538 w 1676356"/>
                    <a:gd name="connsiteY53" fmla="*/ 504674 h 692117"/>
                    <a:gd name="connsiteX54" fmla="*/ 1233370 w 1676356"/>
                    <a:gd name="connsiteY54" fmla="*/ 516831 h 692117"/>
                    <a:gd name="connsiteX55" fmla="*/ 1239753 w 1676356"/>
                    <a:gd name="connsiteY55" fmla="*/ 529538 h 692117"/>
                    <a:gd name="connsiteX56" fmla="*/ 1255353 w 1676356"/>
                    <a:gd name="connsiteY56" fmla="*/ 544294 h 692117"/>
                    <a:gd name="connsiteX57" fmla="*/ 1261361 w 1676356"/>
                    <a:gd name="connsiteY57" fmla="*/ 560936 h 692117"/>
                    <a:gd name="connsiteX58" fmla="*/ 1252975 w 1676356"/>
                    <a:gd name="connsiteY58" fmla="*/ 562740 h 692117"/>
                    <a:gd name="connsiteX59" fmla="*/ 1243852 w 1676356"/>
                    <a:gd name="connsiteY59" fmla="*/ 571945 h 692117"/>
                    <a:gd name="connsiteX60" fmla="*/ 1224071 w 1676356"/>
                    <a:gd name="connsiteY60" fmla="*/ 579616 h 692117"/>
                    <a:gd name="connsiteX61" fmla="*/ 1202581 w 1676356"/>
                    <a:gd name="connsiteY61" fmla="*/ 595064 h 692117"/>
                    <a:gd name="connsiteX62" fmla="*/ 1187613 w 1676356"/>
                    <a:gd name="connsiteY62" fmla="*/ 612561 h 692117"/>
                    <a:gd name="connsiteX63" fmla="*/ 1168160 w 1676356"/>
                    <a:gd name="connsiteY63" fmla="*/ 625033 h 692117"/>
                    <a:gd name="connsiteX64" fmla="*/ 1150909 w 1676356"/>
                    <a:gd name="connsiteY64" fmla="*/ 630538 h 692117"/>
                    <a:gd name="connsiteX65" fmla="*/ 1133869 w 1676356"/>
                    <a:gd name="connsiteY65" fmla="*/ 639802 h 692117"/>
                    <a:gd name="connsiteX66" fmla="*/ 1109708 w 1676356"/>
                    <a:gd name="connsiteY66" fmla="*/ 640059 h 692117"/>
                    <a:gd name="connsiteX67" fmla="*/ 1089553 w 1676356"/>
                    <a:gd name="connsiteY67" fmla="*/ 641687 h 692117"/>
                    <a:gd name="connsiteX68" fmla="*/ 1036652 w 1676356"/>
                    <a:gd name="connsiteY68" fmla="*/ 643690 h 692117"/>
                    <a:gd name="connsiteX69" fmla="*/ 978703 w 1676356"/>
                    <a:gd name="connsiteY69" fmla="*/ 655272 h 692117"/>
                    <a:gd name="connsiteX70" fmla="*/ 924432 w 1676356"/>
                    <a:gd name="connsiteY70" fmla="*/ 678040 h 692117"/>
                    <a:gd name="connsiteX71" fmla="*/ 905260 w 1676356"/>
                    <a:gd name="connsiteY71" fmla="*/ 688768 h 692117"/>
                    <a:gd name="connsiteX72" fmla="*/ 888208 w 1676356"/>
                    <a:gd name="connsiteY72" fmla="*/ 690267 h 692117"/>
                    <a:gd name="connsiteX73" fmla="*/ 873662 w 1676356"/>
                    <a:gd name="connsiteY73" fmla="*/ 676166 h 692117"/>
                    <a:gd name="connsiteX74" fmla="*/ 844712 w 1676356"/>
                    <a:gd name="connsiteY74" fmla="*/ 681296 h 692117"/>
                    <a:gd name="connsiteX75" fmla="*/ 816534 w 1676356"/>
                    <a:gd name="connsiteY75" fmla="*/ 675967 h 692117"/>
                    <a:gd name="connsiteX76" fmla="*/ 763305 w 1676356"/>
                    <a:gd name="connsiteY76" fmla="*/ 660297 h 692117"/>
                    <a:gd name="connsiteX77" fmla="*/ 737340 w 1676356"/>
                    <a:gd name="connsiteY77" fmla="*/ 650682 h 692117"/>
                    <a:gd name="connsiteX78" fmla="*/ 714034 w 1676356"/>
                    <a:gd name="connsiteY78" fmla="*/ 633993 h 692117"/>
                    <a:gd name="connsiteX79" fmla="*/ 656121 w 1676356"/>
                    <a:gd name="connsiteY79" fmla="*/ 627961 h 692117"/>
                    <a:gd name="connsiteX80" fmla="*/ 625343 w 1676356"/>
                    <a:gd name="connsiteY80" fmla="*/ 628851 h 692117"/>
                    <a:gd name="connsiteX81" fmla="*/ 594846 w 1676356"/>
                    <a:gd name="connsiteY81" fmla="*/ 630655 h 692117"/>
                    <a:gd name="connsiteX82" fmla="*/ 532670 w 1676356"/>
                    <a:gd name="connsiteY82" fmla="*/ 623323 h 692117"/>
                    <a:gd name="connsiteX83" fmla="*/ 473585 w 1676356"/>
                    <a:gd name="connsiteY83" fmla="*/ 620337 h 692117"/>
                    <a:gd name="connsiteX84" fmla="*/ 448721 w 1676356"/>
                    <a:gd name="connsiteY84" fmla="*/ 622070 h 692117"/>
                    <a:gd name="connsiteX85" fmla="*/ 447351 w 1676356"/>
                    <a:gd name="connsiteY85" fmla="*/ 611823 h 692117"/>
                    <a:gd name="connsiteX86" fmla="*/ 441050 w 1676356"/>
                    <a:gd name="connsiteY86" fmla="*/ 605334 h 692117"/>
                    <a:gd name="connsiteX87" fmla="*/ 422007 w 1676356"/>
                    <a:gd name="connsiteY87" fmla="*/ 582251 h 692117"/>
                    <a:gd name="connsiteX88" fmla="*/ 409628 w 1676356"/>
                    <a:gd name="connsiteY88" fmla="*/ 552281 h 692117"/>
                    <a:gd name="connsiteX89" fmla="*/ 403737 w 1676356"/>
                    <a:gd name="connsiteY89" fmla="*/ 542654 h 692117"/>
                    <a:gd name="connsiteX90" fmla="*/ 394719 w 1676356"/>
                    <a:gd name="connsiteY90" fmla="*/ 539785 h 692117"/>
                    <a:gd name="connsiteX91" fmla="*/ 398807 w 1676356"/>
                    <a:gd name="connsiteY91" fmla="*/ 523670 h 692117"/>
                    <a:gd name="connsiteX92" fmla="*/ 373170 w 1676356"/>
                    <a:gd name="connsiteY92" fmla="*/ 522839 h 692117"/>
                    <a:gd name="connsiteX93" fmla="*/ 357477 w 1676356"/>
                    <a:gd name="connsiteY93" fmla="*/ 514488 h 692117"/>
                    <a:gd name="connsiteX94" fmla="*/ 341315 w 1676356"/>
                    <a:gd name="connsiteY94" fmla="*/ 505107 h 692117"/>
                    <a:gd name="connsiteX95" fmla="*/ 334499 w 1676356"/>
                    <a:gd name="connsiteY95" fmla="*/ 499018 h 692117"/>
                    <a:gd name="connsiteX96" fmla="*/ 324603 w 1676356"/>
                    <a:gd name="connsiteY96" fmla="*/ 499310 h 692117"/>
                    <a:gd name="connsiteX97" fmla="*/ 307797 w 1676356"/>
                    <a:gd name="connsiteY97" fmla="*/ 483617 h 692117"/>
                    <a:gd name="connsiteX98" fmla="*/ 289737 w 1676356"/>
                    <a:gd name="connsiteY98" fmla="*/ 478452 h 692117"/>
                    <a:gd name="connsiteX99" fmla="*/ 257823 w 1676356"/>
                    <a:gd name="connsiteY99" fmla="*/ 475747 h 692117"/>
                    <a:gd name="connsiteX100" fmla="*/ 237633 w 1676356"/>
                    <a:gd name="connsiteY100" fmla="*/ 476555 h 692117"/>
                    <a:gd name="connsiteX101" fmla="*/ 222056 w 1676356"/>
                    <a:gd name="connsiteY101" fmla="*/ 472538 h 692117"/>
                    <a:gd name="connsiteX102" fmla="*/ 202604 w 1676356"/>
                    <a:gd name="connsiteY102" fmla="*/ 473299 h 692117"/>
                    <a:gd name="connsiteX103" fmla="*/ 195647 w 1676356"/>
                    <a:gd name="connsiteY103" fmla="*/ 471320 h 692117"/>
                    <a:gd name="connsiteX104" fmla="*/ 191688 w 1676356"/>
                    <a:gd name="connsiteY104" fmla="*/ 468017 h 692117"/>
                    <a:gd name="connsiteX105" fmla="*/ 189416 w 1676356"/>
                    <a:gd name="connsiteY105" fmla="*/ 469422 h 692117"/>
                    <a:gd name="connsiteX106" fmla="*/ 180738 w 1676356"/>
                    <a:gd name="connsiteY106" fmla="*/ 468263 h 692117"/>
                    <a:gd name="connsiteX107" fmla="*/ 173536 w 1676356"/>
                    <a:gd name="connsiteY107" fmla="*/ 463637 h 692117"/>
                    <a:gd name="connsiteX108" fmla="*/ 164541 w 1676356"/>
                    <a:gd name="connsiteY108" fmla="*/ 465382 h 692117"/>
                    <a:gd name="connsiteX109" fmla="*/ 162093 w 1676356"/>
                    <a:gd name="connsiteY109" fmla="*/ 460533 h 692117"/>
                    <a:gd name="connsiteX110" fmla="*/ 154516 w 1676356"/>
                    <a:gd name="connsiteY110" fmla="*/ 428514 h 692117"/>
                    <a:gd name="connsiteX111" fmla="*/ 169577 w 1676356"/>
                    <a:gd name="connsiteY111" fmla="*/ 407421 h 692117"/>
                    <a:gd name="connsiteX112" fmla="*/ 165701 w 1676356"/>
                    <a:gd name="connsiteY112" fmla="*/ 390697 h 692117"/>
                    <a:gd name="connsiteX113" fmla="*/ 171826 w 1676356"/>
                    <a:gd name="connsiteY113" fmla="*/ 375648 h 692117"/>
                    <a:gd name="connsiteX114" fmla="*/ 169483 w 1676356"/>
                    <a:gd name="connsiteY114" fmla="*/ 371420 h 692117"/>
                    <a:gd name="connsiteX115" fmla="*/ 168863 w 1676356"/>
                    <a:gd name="connsiteY115" fmla="*/ 363105 h 692117"/>
                    <a:gd name="connsiteX116" fmla="*/ 158615 w 1676356"/>
                    <a:gd name="connsiteY116" fmla="*/ 348032 h 692117"/>
                    <a:gd name="connsiteX117" fmla="*/ 140298 w 1676356"/>
                    <a:gd name="connsiteY117" fmla="*/ 318777 h 692117"/>
                    <a:gd name="connsiteX118" fmla="*/ 134735 w 1676356"/>
                    <a:gd name="connsiteY118" fmla="*/ 307030 h 692117"/>
                    <a:gd name="connsiteX119" fmla="*/ 133494 w 1676356"/>
                    <a:gd name="connsiteY119" fmla="*/ 302580 h 692117"/>
                    <a:gd name="connsiteX120" fmla="*/ 124043 w 1676356"/>
                    <a:gd name="connsiteY120" fmla="*/ 299266 h 692117"/>
                    <a:gd name="connsiteX121" fmla="*/ 120014 w 1676356"/>
                    <a:gd name="connsiteY121" fmla="*/ 289287 h 692117"/>
                    <a:gd name="connsiteX122" fmla="*/ 105480 w 1676356"/>
                    <a:gd name="connsiteY122" fmla="*/ 292965 h 692117"/>
                    <a:gd name="connsiteX123" fmla="*/ 97774 w 1676356"/>
                    <a:gd name="connsiteY123" fmla="*/ 284720 h 692117"/>
                    <a:gd name="connsiteX124" fmla="*/ 88533 w 1676356"/>
                    <a:gd name="connsiteY124" fmla="*/ 279485 h 692117"/>
                    <a:gd name="connsiteX125" fmla="*/ 76459 w 1676356"/>
                    <a:gd name="connsiteY125" fmla="*/ 282495 h 692117"/>
                    <a:gd name="connsiteX126" fmla="*/ 60742 w 1676356"/>
                    <a:gd name="connsiteY126" fmla="*/ 273922 h 692117"/>
                    <a:gd name="connsiteX127" fmla="*/ 47110 w 1676356"/>
                    <a:gd name="connsiteY127" fmla="*/ 269530 h 692117"/>
                    <a:gd name="connsiteX128" fmla="*/ 42753 w 1676356"/>
                    <a:gd name="connsiteY128" fmla="*/ 259306 h 692117"/>
                    <a:gd name="connsiteX129" fmla="*/ 30877 w 1676356"/>
                    <a:gd name="connsiteY129" fmla="*/ 251436 h 692117"/>
                    <a:gd name="connsiteX130" fmla="*/ 16882 w 1676356"/>
                    <a:gd name="connsiteY130" fmla="*/ 245193 h 692117"/>
                    <a:gd name="connsiteX131" fmla="*/ 12080 w 1676356"/>
                    <a:gd name="connsiteY131" fmla="*/ 244081 h 692117"/>
                    <a:gd name="connsiteX132" fmla="*/ 12607 w 1676356"/>
                    <a:gd name="connsiteY132" fmla="*/ 238904 h 692117"/>
                    <a:gd name="connsiteX133" fmla="*/ 16098 w 1676356"/>
                    <a:gd name="connsiteY133" fmla="*/ 234079 h 692117"/>
                    <a:gd name="connsiteX134" fmla="*/ 8708 w 1676356"/>
                    <a:gd name="connsiteY134" fmla="*/ 230249 h 692117"/>
                    <a:gd name="connsiteX135" fmla="*/ 100 w 1676356"/>
                    <a:gd name="connsiteY135" fmla="*/ 223633 h 692117"/>
                    <a:gd name="connsiteX136" fmla="*/ 6201 w 1676356"/>
                    <a:gd name="connsiteY136" fmla="*/ 213795 h 692117"/>
                    <a:gd name="connsiteX137" fmla="*/ 3355 w 1676356"/>
                    <a:gd name="connsiteY137" fmla="*/ 202856 h 692117"/>
                    <a:gd name="connsiteX138" fmla="*/ 19517 w 1676356"/>
                    <a:gd name="connsiteY138" fmla="*/ 196567 h 692117"/>
                    <a:gd name="connsiteX139" fmla="*/ 23043 w 1676356"/>
                    <a:gd name="connsiteY139" fmla="*/ 183544 h 692117"/>
                    <a:gd name="connsiteX140" fmla="*/ 58364 w 1676356"/>
                    <a:gd name="connsiteY140" fmla="*/ 184610 h 692117"/>
                    <a:gd name="connsiteX141" fmla="*/ 59278 w 1676356"/>
                    <a:gd name="connsiteY141" fmla="*/ 177454 h 692117"/>
                    <a:gd name="connsiteX142" fmla="*/ 63084 w 1676356"/>
                    <a:gd name="connsiteY142" fmla="*/ 182888 h 692117"/>
                    <a:gd name="connsiteX143" fmla="*/ 75241 w 1676356"/>
                    <a:gd name="connsiteY143" fmla="*/ 178812 h 692117"/>
                    <a:gd name="connsiteX144" fmla="*/ 75651 w 1676356"/>
                    <a:gd name="connsiteY144" fmla="*/ 171493 h 692117"/>
                    <a:gd name="connsiteX145" fmla="*/ 84528 w 1676356"/>
                    <a:gd name="connsiteY145" fmla="*/ 174667 h 692117"/>
                    <a:gd name="connsiteX146" fmla="*/ 91110 w 1676356"/>
                    <a:gd name="connsiteY146" fmla="*/ 169865 h 692117"/>
                    <a:gd name="connsiteX147" fmla="*/ 102060 w 1676356"/>
                    <a:gd name="connsiteY147" fmla="*/ 164876 h 692117"/>
                    <a:gd name="connsiteX148" fmla="*/ 98629 w 1676356"/>
                    <a:gd name="connsiteY148" fmla="*/ 159324 h 692117"/>
                    <a:gd name="connsiteX149" fmla="*/ 110867 w 1676356"/>
                    <a:gd name="connsiteY149" fmla="*/ 150096 h 692117"/>
                    <a:gd name="connsiteX150" fmla="*/ 117227 w 1676356"/>
                    <a:gd name="connsiteY150" fmla="*/ 144650 h 692117"/>
                    <a:gd name="connsiteX151" fmla="*/ 126338 w 1676356"/>
                    <a:gd name="connsiteY151" fmla="*/ 139438 h 692117"/>
                    <a:gd name="connsiteX152" fmla="*/ 146552 w 1676356"/>
                    <a:gd name="connsiteY152" fmla="*/ 131826 h 692117"/>
                    <a:gd name="connsiteX153" fmla="*/ 162550 w 1676356"/>
                    <a:gd name="connsiteY153" fmla="*/ 123511 h 692117"/>
                    <a:gd name="connsiteX154" fmla="*/ 171966 w 1676356"/>
                    <a:gd name="connsiteY154" fmla="*/ 117315 h 692117"/>
                    <a:gd name="connsiteX155" fmla="*/ 185352 w 1676356"/>
                    <a:gd name="connsiteY155" fmla="*/ 114540 h 692117"/>
                    <a:gd name="connsiteX156" fmla="*/ 192368 w 1676356"/>
                    <a:gd name="connsiteY156" fmla="*/ 112244 h 692117"/>
                    <a:gd name="connsiteX157" fmla="*/ 201187 w 1676356"/>
                    <a:gd name="connsiteY157" fmla="*/ 106318 h 692117"/>
                    <a:gd name="connsiteX158" fmla="*/ 212383 w 1676356"/>
                    <a:gd name="connsiteY158" fmla="*/ 98366 h 692117"/>
                    <a:gd name="connsiteX159" fmla="*/ 230348 w 1676356"/>
                    <a:gd name="connsiteY159" fmla="*/ 98998 h 692117"/>
                    <a:gd name="connsiteX160" fmla="*/ 240783 w 1676356"/>
                    <a:gd name="connsiteY160" fmla="*/ 86935 h 692117"/>
                    <a:gd name="connsiteX161" fmla="*/ 255505 w 1676356"/>
                    <a:gd name="connsiteY161" fmla="*/ 100228 h 692117"/>
                    <a:gd name="connsiteX162" fmla="*/ 266361 w 1676356"/>
                    <a:gd name="connsiteY162" fmla="*/ 91972 h 692117"/>
                    <a:gd name="connsiteX163" fmla="*/ 279209 w 1676356"/>
                    <a:gd name="connsiteY163" fmla="*/ 105358 h 692117"/>
                    <a:gd name="connsiteX164" fmla="*/ 293848 w 1676356"/>
                    <a:gd name="connsiteY164" fmla="*/ 104772 h 692117"/>
                    <a:gd name="connsiteX165" fmla="*/ 312341 w 1676356"/>
                    <a:gd name="connsiteY165" fmla="*/ 106763 h 692117"/>
                    <a:gd name="connsiteX166" fmla="*/ 340390 w 1676356"/>
                    <a:gd name="connsiteY166" fmla="*/ 109679 h 692117"/>
                    <a:gd name="connsiteX167" fmla="*/ 345156 w 1676356"/>
                    <a:gd name="connsiteY167" fmla="*/ 132435 h 692117"/>
                    <a:gd name="connsiteX168" fmla="*/ 351996 w 1676356"/>
                    <a:gd name="connsiteY168" fmla="*/ 137283 h 692117"/>
                    <a:gd name="connsiteX169" fmla="*/ 357934 w 1676356"/>
                    <a:gd name="connsiteY169" fmla="*/ 145165 h 692117"/>
                    <a:gd name="connsiteX170" fmla="*/ 369411 w 1676356"/>
                    <a:gd name="connsiteY170" fmla="*/ 143432 h 692117"/>
                    <a:gd name="connsiteX171" fmla="*/ 378698 w 1676356"/>
                    <a:gd name="connsiteY171" fmla="*/ 147566 h 692117"/>
                    <a:gd name="connsiteX172" fmla="*/ 392436 w 1676356"/>
                    <a:gd name="connsiteY172" fmla="*/ 149955 h 692117"/>
                    <a:gd name="connsiteX173" fmla="*/ 402929 w 1676356"/>
                    <a:gd name="connsiteY173" fmla="*/ 153504 h 692117"/>
                    <a:gd name="connsiteX174" fmla="*/ 418517 w 1676356"/>
                    <a:gd name="connsiteY174" fmla="*/ 146149 h 692117"/>
                    <a:gd name="connsiteX175" fmla="*/ 424806 w 1676356"/>
                    <a:gd name="connsiteY175" fmla="*/ 147250 h 692117"/>
                    <a:gd name="connsiteX176" fmla="*/ 426868 w 1676356"/>
                    <a:gd name="connsiteY176" fmla="*/ 150377 h 692117"/>
                    <a:gd name="connsiteX177" fmla="*/ 430194 w 1676356"/>
                    <a:gd name="connsiteY177" fmla="*/ 148011 h 692117"/>
                    <a:gd name="connsiteX178" fmla="*/ 435979 w 1676356"/>
                    <a:gd name="connsiteY178" fmla="*/ 147332 h 692117"/>
                    <a:gd name="connsiteX179" fmla="*/ 448370 w 1676356"/>
                    <a:gd name="connsiteY179" fmla="*/ 153914 h 692117"/>
                    <a:gd name="connsiteX180" fmla="*/ 455795 w 1676356"/>
                    <a:gd name="connsiteY180" fmla="*/ 151653 h 692117"/>
                    <a:gd name="connsiteX181" fmla="*/ 459953 w 1676356"/>
                    <a:gd name="connsiteY181" fmla="*/ 155764 h 692117"/>
                    <a:gd name="connsiteX182" fmla="*/ 467776 w 1676356"/>
                    <a:gd name="connsiteY182" fmla="*/ 152286 h 692117"/>
                    <a:gd name="connsiteX183" fmla="*/ 483774 w 1676356"/>
                    <a:gd name="connsiteY183" fmla="*/ 157088 h 692117"/>
                    <a:gd name="connsiteX184" fmla="*/ 499303 w 1676356"/>
                    <a:gd name="connsiteY184" fmla="*/ 164723 h 692117"/>
                    <a:gd name="connsiteX185" fmla="*/ 515969 w 1676356"/>
                    <a:gd name="connsiteY185" fmla="*/ 151068 h 692117"/>
                    <a:gd name="connsiteX186" fmla="*/ 524659 w 1676356"/>
                    <a:gd name="connsiteY186" fmla="*/ 150916 h 692117"/>
                    <a:gd name="connsiteX187" fmla="*/ 533630 w 1676356"/>
                    <a:gd name="connsiteY187" fmla="*/ 146407 h 692117"/>
                    <a:gd name="connsiteX188" fmla="*/ 548656 w 1676356"/>
                    <a:gd name="connsiteY188" fmla="*/ 123417 h 692117"/>
                    <a:gd name="connsiteX189" fmla="*/ 546349 w 1676356"/>
                    <a:gd name="connsiteY189" fmla="*/ 108262 h 692117"/>
                    <a:gd name="connsiteX190" fmla="*/ 536593 w 1676356"/>
                    <a:gd name="connsiteY190" fmla="*/ 103777 h 692117"/>
                    <a:gd name="connsiteX191" fmla="*/ 531944 w 1676356"/>
                    <a:gd name="connsiteY191" fmla="*/ 91854 h 692117"/>
                    <a:gd name="connsiteX192" fmla="*/ 532541 w 1676356"/>
                    <a:gd name="connsiteY192" fmla="*/ 87509 h 692117"/>
                    <a:gd name="connsiteX193" fmla="*/ 530327 w 1676356"/>
                    <a:gd name="connsiteY193" fmla="*/ 84886 h 692117"/>
                    <a:gd name="connsiteX194" fmla="*/ 525151 w 1676356"/>
                    <a:gd name="connsiteY194" fmla="*/ 76793 h 692117"/>
                    <a:gd name="connsiteX195" fmla="*/ 530210 w 1676356"/>
                    <a:gd name="connsiteY195" fmla="*/ 64613 h 692117"/>
                    <a:gd name="connsiteX196" fmla="*/ 530632 w 1676356"/>
                    <a:gd name="connsiteY196" fmla="*/ 55841 h 692117"/>
                    <a:gd name="connsiteX197" fmla="*/ 536195 w 1676356"/>
                    <a:gd name="connsiteY197" fmla="*/ 47046 h 692117"/>
                    <a:gd name="connsiteX198" fmla="*/ 545704 w 1676356"/>
                    <a:gd name="connsiteY198" fmla="*/ 45008 h 692117"/>
                    <a:gd name="connsiteX199" fmla="*/ 552368 w 1676356"/>
                    <a:gd name="connsiteY199" fmla="*/ 27874 h 692117"/>
                    <a:gd name="connsiteX200" fmla="*/ 567675 w 1676356"/>
                    <a:gd name="connsiteY200" fmla="*/ 23225 h 692117"/>
                    <a:gd name="connsiteX201" fmla="*/ 575323 w 1676356"/>
                    <a:gd name="connsiteY201" fmla="*/ 12673 h 692117"/>
                    <a:gd name="connsiteX202" fmla="*/ 583872 w 1676356"/>
                    <a:gd name="connsiteY202" fmla="*/ 83 h 692117"/>
                    <a:gd name="connsiteX203" fmla="*/ 589271 w 1676356"/>
                    <a:gd name="connsiteY203" fmla="*/ 5681 h 692117"/>
                    <a:gd name="connsiteX204" fmla="*/ 600866 w 1676356"/>
                    <a:gd name="connsiteY204" fmla="*/ 11057 h 692117"/>
                    <a:gd name="connsiteX205" fmla="*/ 627240 w 1676356"/>
                    <a:gd name="connsiteY205" fmla="*/ 19536 h 692117"/>
                    <a:gd name="connsiteX206" fmla="*/ 637991 w 1676356"/>
                    <a:gd name="connsiteY206" fmla="*/ 26914 h 692117"/>
                    <a:gd name="connsiteX207" fmla="*/ 653591 w 1676356"/>
                    <a:gd name="connsiteY207" fmla="*/ 27582 h 692117"/>
                    <a:gd name="connsiteX208" fmla="*/ 690213 w 1676356"/>
                    <a:gd name="connsiteY208" fmla="*/ 37618 h 692117"/>
                    <a:gd name="connsiteX209" fmla="*/ 700507 w 1676356"/>
                    <a:gd name="connsiteY209" fmla="*/ 41741 h 692117"/>
                    <a:gd name="connsiteX210" fmla="*/ 710369 w 1676356"/>
                    <a:gd name="connsiteY210" fmla="*/ 46777 h 692117"/>
                    <a:gd name="connsiteX211" fmla="*/ 720874 w 1676356"/>
                    <a:gd name="connsiteY211" fmla="*/ 45418 h 692117"/>
                    <a:gd name="connsiteX212" fmla="*/ 733335 w 1676356"/>
                    <a:gd name="connsiteY212" fmla="*/ 49142 h 692117"/>
                    <a:gd name="connsiteX213" fmla="*/ 753303 w 1676356"/>
                    <a:gd name="connsiteY213" fmla="*/ 56685 h 692117"/>
                    <a:gd name="connsiteX214" fmla="*/ 751008 w 1676356"/>
                    <a:gd name="connsiteY214" fmla="*/ 64168 h 692117"/>
                    <a:gd name="connsiteX215" fmla="*/ 751909 w 1676356"/>
                    <a:gd name="connsiteY215" fmla="*/ 73912 h 692117"/>
                    <a:gd name="connsiteX216" fmla="*/ 754638 w 1676356"/>
                    <a:gd name="connsiteY216" fmla="*/ 82532 h 692117"/>
                    <a:gd name="connsiteX217" fmla="*/ 754638 w 1676356"/>
                    <a:gd name="connsiteY217" fmla="*/ 91726 h 692117"/>
                    <a:gd name="connsiteX218" fmla="*/ 759698 w 1676356"/>
                    <a:gd name="connsiteY218" fmla="*/ 99127 h 692117"/>
                    <a:gd name="connsiteX219" fmla="*/ 759077 w 1676356"/>
                    <a:gd name="connsiteY219" fmla="*/ 107735 h 692117"/>
                    <a:gd name="connsiteX220" fmla="*/ 769500 w 1676356"/>
                    <a:gd name="connsiteY220" fmla="*/ 111542 h 692117"/>
                    <a:gd name="connsiteX221" fmla="*/ 779068 w 1676356"/>
                    <a:gd name="connsiteY221" fmla="*/ 119950 h 692117"/>
                    <a:gd name="connsiteX222" fmla="*/ 792244 w 1676356"/>
                    <a:gd name="connsiteY222" fmla="*/ 125841 h 692117"/>
                    <a:gd name="connsiteX223" fmla="*/ 800700 w 1676356"/>
                    <a:gd name="connsiteY223" fmla="*/ 125513 h 692117"/>
                    <a:gd name="connsiteX224" fmla="*/ 807844 w 1676356"/>
                    <a:gd name="connsiteY224" fmla="*/ 129495 h 692117"/>
                    <a:gd name="connsiteX225" fmla="*/ 816171 w 1676356"/>
                    <a:gd name="connsiteY225" fmla="*/ 132915 h 692117"/>
                    <a:gd name="connsiteX226" fmla="*/ 828397 w 1676356"/>
                    <a:gd name="connsiteY226" fmla="*/ 137283 h 692117"/>
                    <a:gd name="connsiteX227" fmla="*/ 841608 w 1676356"/>
                    <a:gd name="connsiteY227" fmla="*/ 134531 h 692117"/>
                    <a:gd name="connsiteX228" fmla="*/ 859281 w 1676356"/>
                    <a:gd name="connsiteY228" fmla="*/ 133559 h 692117"/>
                    <a:gd name="connsiteX229" fmla="*/ 866917 w 1676356"/>
                    <a:gd name="connsiteY229" fmla="*/ 126942 h 692117"/>
                    <a:gd name="connsiteX230" fmla="*/ 879366 w 1676356"/>
                    <a:gd name="connsiteY230" fmla="*/ 124893 h 692117"/>
                    <a:gd name="connsiteX231" fmla="*/ 898081 w 1676356"/>
                    <a:gd name="connsiteY231" fmla="*/ 119681 h 692117"/>
                    <a:gd name="connsiteX232" fmla="*/ 919419 w 1676356"/>
                    <a:gd name="connsiteY232" fmla="*/ 114387 h 692117"/>
                    <a:gd name="connsiteX233" fmla="*/ 939153 w 1676356"/>
                    <a:gd name="connsiteY233" fmla="*/ 117163 h 692117"/>
                    <a:gd name="connsiteX234" fmla="*/ 949600 w 1676356"/>
                    <a:gd name="connsiteY234" fmla="*/ 118791 h 692117"/>
                    <a:gd name="connsiteX235" fmla="*/ 964110 w 1676356"/>
                    <a:gd name="connsiteY235" fmla="*/ 126509 h 692117"/>
                    <a:gd name="connsiteX236" fmla="*/ 994010 w 1676356"/>
                    <a:gd name="connsiteY236" fmla="*/ 127200 h 692117"/>
                    <a:gd name="connsiteX237" fmla="*/ 1007759 w 1676356"/>
                    <a:gd name="connsiteY237" fmla="*/ 141828 h 692117"/>
                    <a:gd name="connsiteX238" fmla="*/ 1023582 w 1676356"/>
                    <a:gd name="connsiteY238" fmla="*/ 147929 h 692117"/>
                    <a:gd name="connsiteX239" fmla="*/ 1049734 w 1676356"/>
                    <a:gd name="connsiteY239" fmla="*/ 150389 h 692117"/>
                    <a:gd name="connsiteX240" fmla="*/ 1052966 w 1676356"/>
                    <a:gd name="connsiteY240" fmla="*/ 155331 h 692117"/>
                    <a:gd name="connsiteX241" fmla="*/ 1053528 w 1676356"/>
                    <a:gd name="connsiteY241" fmla="*/ 165379 h 692117"/>
                    <a:gd name="connsiteX242" fmla="*/ 1053387 w 1676356"/>
                    <a:gd name="connsiteY242" fmla="*/ 169338 h 692117"/>
                    <a:gd name="connsiteX243" fmla="*/ 1056936 w 1676356"/>
                    <a:gd name="connsiteY243" fmla="*/ 169795 h 692117"/>
                    <a:gd name="connsiteX244" fmla="*/ 1060824 w 1676356"/>
                    <a:gd name="connsiteY244" fmla="*/ 176013 h 692117"/>
                    <a:gd name="connsiteX245" fmla="*/ 1069280 w 1676356"/>
                    <a:gd name="connsiteY245" fmla="*/ 178766 h 692117"/>
                    <a:gd name="connsiteX246" fmla="*/ 1080078 w 1676356"/>
                    <a:gd name="connsiteY246" fmla="*/ 189341 h 692117"/>
                    <a:gd name="connsiteX247" fmla="*/ 1130320 w 1676356"/>
                    <a:gd name="connsiteY247" fmla="*/ 193569 h 692117"/>
                    <a:gd name="connsiteX248" fmla="*/ 1134665 w 1676356"/>
                    <a:gd name="connsiteY248" fmla="*/ 196555 h 692117"/>
                    <a:gd name="connsiteX249" fmla="*/ 1149762 w 1676356"/>
                    <a:gd name="connsiteY249" fmla="*/ 197457 h 692117"/>
                    <a:gd name="connsiteX250" fmla="*/ 1164670 w 1676356"/>
                    <a:gd name="connsiteY250" fmla="*/ 201837 h 692117"/>
                    <a:gd name="connsiteX251" fmla="*/ 1177143 w 1676356"/>
                    <a:gd name="connsiteY251" fmla="*/ 200455 h 692117"/>
                    <a:gd name="connsiteX252" fmla="*/ 1184135 w 1676356"/>
                    <a:gd name="connsiteY252" fmla="*/ 200842 h 692117"/>
                    <a:gd name="connsiteX253" fmla="*/ 1197006 w 1676356"/>
                    <a:gd name="connsiteY253" fmla="*/ 204882 h 692117"/>
                    <a:gd name="connsiteX254" fmla="*/ 1227491 w 1676356"/>
                    <a:gd name="connsiteY254" fmla="*/ 192058 h 692117"/>
                    <a:gd name="connsiteX255" fmla="*/ 1241990 w 1676356"/>
                    <a:gd name="connsiteY255" fmla="*/ 189282 h 692117"/>
                    <a:gd name="connsiteX256" fmla="*/ 1275227 w 1676356"/>
                    <a:gd name="connsiteY256" fmla="*/ 182912 h 692117"/>
                    <a:gd name="connsiteX257" fmla="*/ 1291284 w 1676356"/>
                    <a:gd name="connsiteY257" fmla="*/ 178122 h 692117"/>
                    <a:gd name="connsiteX258" fmla="*/ 1304248 w 1676356"/>
                    <a:gd name="connsiteY258" fmla="*/ 180475 h 692117"/>
                    <a:gd name="connsiteX259" fmla="*/ 1320867 w 1676356"/>
                    <a:gd name="connsiteY259" fmla="*/ 171153 h 692117"/>
                    <a:gd name="connsiteX260" fmla="*/ 1325212 w 1676356"/>
                    <a:gd name="connsiteY260" fmla="*/ 161526 h 692117"/>
                    <a:gd name="connsiteX261" fmla="*/ 1338798 w 1676356"/>
                    <a:gd name="connsiteY261" fmla="*/ 151536 h 692117"/>
                    <a:gd name="connsiteX262" fmla="*/ 1358461 w 1676356"/>
                    <a:gd name="connsiteY262" fmla="*/ 140832 h 692117"/>
                    <a:gd name="connsiteX263" fmla="*/ 1379811 w 1676356"/>
                    <a:gd name="connsiteY263" fmla="*/ 128804 h 692117"/>
                    <a:gd name="connsiteX264" fmla="*/ 1391886 w 1676356"/>
                    <a:gd name="connsiteY264" fmla="*/ 129999 h 692117"/>
                    <a:gd name="connsiteX265" fmla="*/ 1408563 w 1676356"/>
                    <a:gd name="connsiteY265" fmla="*/ 130245 h 692117"/>
                    <a:gd name="connsiteX266" fmla="*/ 1455233 w 1676356"/>
                    <a:gd name="connsiteY266" fmla="*/ 154312 h 692117"/>
                    <a:gd name="connsiteX267" fmla="*/ 1480694 w 1676356"/>
                    <a:gd name="connsiteY267" fmla="*/ 145364 h 692117"/>
                    <a:gd name="connsiteX268" fmla="*/ 1509177 w 1676356"/>
                    <a:gd name="connsiteY268" fmla="*/ 158329 h 692117"/>
                    <a:gd name="connsiteX269" fmla="*/ 1509177 w 1676356"/>
                    <a:gd name="connsiteY269" fmla="*/ 158329 h 692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1676356" h="692117">
                      <a:moveTo>
                        <a:pt x="1509177" y="158329"/>
                      </a:moveTo>
                      <a:cubicBezTo>
                        <a:pt x="1499175" y="177196"/>
                        <a:pt x="1489338" y="196146"/>
                        <a:pt x="1479453" y="215071"/>
                      </a:cubicBezTo>
                      <a:cubicBezTo>
                        <a:pt x="1475858" y="221969"/>
                        <a:pt x="1476267" y="226888"/>
                        <a:pt x="1472344" y="233130"/>
                      </a:cubicBezTo>
                      <a:cubicBezTo>
                        <a:pt x="1467636" y="240638"/>
                        <a:pt x="1462881" y="243530"/>
                        <a:pt x="1462588" y="252103"/>
                      </a:cubicBezTo>
                      <a:cubicBezTo>
                        <a:pt x="1462459" y="255980"/>
                        <a:pt x="1464931" y="261707"/>
                        <a:pt x="1462670" y="265068"/>
                      </a:cubicBezTo>
                      <a:cubicBezTo>
                        <a:pt x="1460164" y="268780"/>
                        <a:pt x="1451990" y="267457"/>
                        <a:pt x="1449647" y="270912"/>
                      </a:cubicBezTo>
                      <a:cubicBezTo>
                        <a:pt x="1446637" y="275339"/>
                        <a:pt x="1449881" y="284474"/>
                        <a:pt x="1453137" y="288936"/>
                      </a:cubicBezTo>
                      <a:cubicBezTo>
                        <a:pt x="1455280" y="291864"/>
                        <a:pt x="1461956" y="298715"/>
                        <a:pt x="1465317" y="300074"/>
                      </a:cubicBezTo>
                      <a:cubicBezTo>
                        <a:pt x="1472086" y="302814"/>
                        <a:pt x="1471688" y="299043"/>
                        <a:pt x="1476947" y="294897"/>
                      </a:cubicBezTo>
                      <a:cubicBezTo>
                        <a:pt x="1485402" y="288245"/>
                        <a:pt x="1492300" y="292379"/>
                        <a:pt x="1502138" y="291360"/>
                      </a:cubicBezTo>
                      <a:cubicBezTo>
                        <a:pt x="1512772" y="290259"/>
                        <a:pt x="1519494" y="287999"/>
                        <a:pt x="1529461" y="293738"/>
                      </a:cubicBezTo>
                      <a:cubicBezTo>
                        <a:pt x="1533139" y="295857"/>
                        <a:pt x="1539018" y="304313"/>
                        <a:pt x="1543374" y="304009"/>
                      </a:cubicBezTo>
                      <a:cubicBezTo>
                        <a:pt x="1546630" y="303774"/>
                        <a:pt x="1549019" y="297673"/>
                        <a:pt x="1552217" y="295775"/>
                      </a:cubicBezTo>
                      <a:cubicBezTo>
                        <a:pt x="1552006" y="298703"/>
                        <a:pt x="1553599" y="300694"/>
                        <a:pt x="1556562" y="301057"/>
                      </a:cubicBezTo>
                      <a:cubicBezTo>
                        <a:pt x="1556222" y="301971"/>
                        <a:pt x="1555800" y="302838"/>
                        <a:pt x="1555473" y="303774"/>
                      </a:cubicBezTo>
                      <a:cubicBezTo>
                        <a:pt x="1566657" y="304372"/>
                        <a:pt x="1578942" y="283209"/>
                        <a:pt x="1564338" y="282448"/>
                      </a:cubicBezTo>
                      <a:cubicBezTo>
                        <a:pt x="1568671" y="279098"/>
                        <a:pt x="1583662" y="279251"/>
                        <a:pt x="1589190" y="279754"/>
                      </a:cubicBezTo>
                      <a:cubicBezTo>
                        <a:pt x="1593043" y="280105"/>
                        <a:pt x="1599953" y="280632"/>
                        <a:pt x="1603384" y="282050"/>
                      </a:cubicBezTo>
                      <a:cubicBezTo>
                        <a:pt x="1609486" y="284568"/>
                        <a:pt x="1610470" y="290552"/>
                        <a:pt x="1615026" y="294686"/>
                      </a:cubicBezTo>
                      <a:cubicBezTo>
                        <a:pt x="1621596" y="300659"/>
                        <a:pt x="1630379" y="300530"/>
                        <a:pt x="1635591" y="306925"/>
                      </a:cubicBezTo>
                      <a:cubicBezTo>
                        <a:pt x="1636727" y="308318"/>
                        <a:pt x="1635544" y="310813"/>
                        <a:pt x="1636938" y="312336"/>
                      </a:cubicBezTo>
                      <a:cubicBezTo>
                        <a:pt x="1638215" y="313729"/>
                        <a:pt x="1641201" y="313155"/>
                        <a:pt x="1642430" y="314409"/>
                      </a:cubicBezTo>
                      <a:cubicBezTo>
                        <a:pt x="1644632" y="316645"/>
                        <a:pt x="1648614" y="315310"/>
                        <a:pt x="1644668" y="319784"/>
                      </a:cubicBezTo>
                      <a:cubicBezTo>
                        <a:pt x="1649270" y="321283"/>
                        <a:pt x="1652256" y="325289"/>
                        <a:pt x="1655934" y="328170"/>
                      </a:cubicBezTo>
                      <a:cubicBezTo>
                        <a:pt x="1659119" y="330676"/>
                        <a:pt x="1663757" y="332960"/>
                        <a:pt x="1666486" y="336731"/>
                      </a:cubicBezTo>
                      <a:cubicBezTo>
                        <a:pt x="1670128" y="341743"/>
                        <a:pt x="1671018" y="347470"/>
                        <a:pt x="1674192" y="352822"/>
                      </a:cubicBezTo>
                      <a:cubicBezTo>
                        <a:pt x="1676230" y="356254"/>
                        <a:pt x="1676640" y="356558"/>
                        <a:pt x="1676195" y="362250"/>
                      </a:cubicBezTo>
                      <a:cubicBezTo>
                        <a:pt x="1675715" y="368200"/>
                        <a:pt x="1675691" y="369043"/>
                        <a:pt x="1669718" y="371233"/>
                      </a:cubicBezTo>
                      <a:cubicBezTo>
                        <a:pt x="1657281" y="375800"/>
                        <a:pt x="1636786" y="370975"/>
                        <a:pt x="1626514" y="365119"/>
                      </a:cubicBezTo>
                      <a:cubicBezTo>
                        <a:pt x="1627159" y="365483"/>
                        <a:pt x="1621373" y="362765"/>
                        <a:pt x="1621162" y="362824"/>
                      </a:cubicBezTo>
                      <a:cubicBezTo>
                        <a:pt x="1619042" y="363398"/>
                        <a:pt x="1618727" y="367017"/>
                        <a:pt x="1617110" y="367462"/>
                      </a:cubicBezTo>
                      <a:cubicBezTo>
                        <a:pt x="1614780" y="368094"/>
                        <a:pt x="1613538" y="366747"/>
                        <a:pt x="1611547" y="367017"/>
                      </a:cubicBezTo>
                      <a:cubicBezTo>
                        <a:pt x="1604309" y="368012"/>
                        <a:pt x="1597458" y="364874"/>
                        <a:pt x="1590209" y="365881"/>
                      </a:cubicBezTo>
                      <a:cubicBezTo>
                        <a:pt x="1582303" y="366970"/>
                        <a:pt x="1575335" y="373938"/>
                        <a:pt x="1569058" y="377135"/>
                      </a:cubicBezTo>
                      <a:cubicBezTo>
                        <a:pt x="1564397" y="379513"/>
                        <a:pt x="1562476" y="378576"/>
                        <a:pt x="1557756" y="377171"/>
                      </a:cubicBezTo>
                      <a:cubicBezTo>
                        <a:pt x="1555285" y="376433"/>
                        <a:pt x="1556304" y="374489"/>
                        <a:pt x="1553493" y="374044"/>
                      </a:cubicBezTo>
                      <a:cubicBezTo>
                        <a:pt x="1551795" y="373774"/>
                        <a:pt x="1548223" y="375414"/>
                        <a:pt x="1546174" y="375308"/>
                      </a:cubicBezTo>
                      <a:cubicBezTo>
                        <a:pt x="1547614" y="378272"/>
                        <a:pt x="1544300" y="388156"/>
                        <a:pt x="1541864" y="389655"/>
                      </a:cubicBezTo>
                      <a:cubicBezTo>
                        <a:pt x="1535434" y="393578"/>
                        <a:pt x="1523008" y="386235"/>
                        <a:pt x="1515934" y="387418"/>
                      </a:cubicBezTo>
                      <a:cubicBezTo>
                        <a:pt x="1512796" y="387933"/>
                        <a:pt x="1505265" y="392677"/>
                        <a:pt x="1502595" y="394726"/>
                      </a:cubicBezTo>
                      <a:cubicBezTo>
                        <a:pt x="1497407" y="398720"/>
                        <a:pt x="1491809" y="406379"/>
                        <a:pt x="1488342" y="412200"/>
                      </a:cubicBezTo>
                      <a:cubicBezTo>
                        <a:pt x="1483903" y="419660"/>
                        <a:pt x="1487733" y="422635"/>
                        <a:pt x="1484700" y="428631"/>
                      </a:cubicBezTo>
                      <a:cubicBezTo>
                        <a:pt x="1481994" y="433995"/>
                        <a:pt x="1476068" y="433304"/>
                        <a:pt x="1471864" y="435283"/>
                      </a:cubicBezTo>
                      <a:cubicBezTo>
                        <a:pt x="1464486" y="438761"/>
                        <a:pt x="1460106" y="446222"/>
                        <a:pt x="1452622" y="449197"/>
                      </a:cubicBezTo>
                      <a:cubicBezTo>
                        <a:pt x="1444377" y="452488"/>
                        <a:pt x="1435371" y="451457"/>
                        <a:pt x="1426798" y="452113"/>
                      </a:cubicBezTo>
                      <a:cubicBezTo>
                        <a:pt x="1418717" y="452745"/>
                        <a:pt x="1412416" y="449630"/>
                        <a:pt x="1404944" y="449981"/>
                      </a:cubicBezTo>
                      <a:cubicBezTo>
                        <a:pt x="1395317" y="450438"/>
                        <a:pt x="1396875" y="456551"/>
                        <a:pt x="1392366" y="462641"/>
                      </a:cubicBezTo>
                      <a:cubicBezTo>
                        <a:pt x="1384109" y="473756"/>
                        <a:pt x="1371461" y="479810"/>
                        <a:pt x="1360651" y="485982"/>
                      </a:cubicBezTo>
                      <a:cubicBezTo>
                        <a:pt x="1352359" y="490702"/>
                        <a:pt x="1351891" y="493724"/>
                        <a:pt x="1342838" y="492763"/>
                      </a:cubicBezTo>
                      <a:cubicBezTo>
                        <a:pt x="1334124" y="491850"/>
                        <a:pt x="1325200" y="490866"/>
                        <a:pt x="1316686" y="488969"/>
                      </a:cubicBezTo>
                      <a:cubicBezTo>
                        <a:pt x="1309331" y="487329"/>
                        <a:pt x="1301004" y="486462"/>
                        <a:pt x="1294867" y="481743"/>
                      </a:cubicBezTo>
                      <a:cubicBezTo>
                        <a:pt x="1285088" y="474224"/>
                        <a:pt x="1287735" y="473756"/>
                        <a:pt x="1274560" y="473076"/>
                      </a:cubicBezTo>
                      <a:cubicBezTo>
                        <a:pt x="1261326" y="472385"/>
                        <a:pt x="1254908" y="473182"/>
                        <a:pt x="1247705" y="485877"/>
                      </a:cubicBezTo>
                      <a:cubicBezTo>
                        <a:pt x="1243782" y="492799"/>
                        <a:pt x="1243067" y="498139"/>
                        <a:pt x="1240538" y="504674"/>
                      </a:cubicBezTo>
                      <a:cubicBezTo>
                        <a:pt x="1238968" y="508726"/>
                        <a:pt x="1233370" y="512240"/>
                        <a:pt x="1233370" y="516831"/>
                      </a:cubicBezTo>
                      <a:cubicBezTo>
                        <a:pt x="1233370" y="519513"/>
                        <a:pt x="1237996" y="526539"/>
                        <a:pt x="1239753" y="529538"/>
                      </a:cubicBezTo>
                      <a:cubicBezTo>
                        <a:pt x="1243922" y="536658"/>
                        <a:pt x="1249883" y="538872"/>
                        <a:pt x="1255353" y="544294"/>
                      </a:cubicBezTo>
                      <a:cubicBezTo>
                        <a:pt x="1258374" y="547280"/>
                        <a:pt x="1264898" y="556240"/>
                        <a:pt x="1261361" y="560936"/>
                      </a:cubicBezTo>
                      <a:cubicBezTo>
                        <a:pt x="1259440" y="563489"/>
                        <a:pt x="1255095" y="561662"/>
                        <a:pt x="1252975" y="562740"/>
                      </a:cubicBezTo>
                      <a:cubicBezTo>
                        <a:pt x="1249193" y="564684"/>
                        <a:pt x="1247436" y="569673"/>
                        <a:pt x="1243852" y="571945"/>
                      </a:cubicBezTo>
                      <a:cubicBezTo>
                        <a:pt x="1238418" y="575377"/>
                        <a:pt x="1230396" y="577075"/>
                        <a:pt x="1224071" y="579616"/>
                      </a:cubicBezTo>
                      <a:cubicBezTo>
                        <a:pt x="1213894" y="583715"/>
                        <a:pt x="1209936" y="587029"/>
                        <a:pt x="1202581" y="595064"/>
                      </a:cubicBezTo>
                      <a:cubicBezTo>
                        <a:pt x="1197205" y="600919"/>
                        <a:pt x="1192778" y="606740"/>
                        <a:pt x="1187613" y="612561"/>
                      </a:cubicBezTo>
                      <a:cubicBezTo>
                        <a:pt x="1181512" y="619423"/>
                        <a:pt x="1177542" y="621415"/>
                        <a:pt x="1168160" y="625033"/>
                      </a:cubicBezTo>
                      <a:cubicBezTo>
                        <a:pt x="1162422" y="627235"/>
                        <a:pt x="1157023" y="628418"/>
                        <a:pt x="1150909" y="630538"/>
                      </a:cubicBezTo>
                      <a:cubicBezTo>
                        <a:pt x="1144878" y="632634"/>
                        <a:pt x="1139139" y="637986"/>
                        <a:pt x="1133869" y="639802"/>
                      </a:cubicBezTo>
                      <a:cubicBezTo>
                        <a:pt x="1125718" y="642589"/>
                        <a:pt x="1117836" y="639392"/>
                        <a:pt x="1109708" y="640059"/>
                      </a:cubicBezTo>
                      <a:cubicBezTo>
                        <a:pt x="1101686" y="640727"/>
                        <a:pt x="1098184" y="642882"/>
                        <a:pt x="1089553" y="641687"/>
                      </a:cubicBezTo>
                      <a:cubicBezTo>
                        <a:pt x="1071248" y="639157"/>
                        <a:pt x="1054980" y="641067"/>
                        <a:pt x="1036652" y="643690"/>
                      </a:cubicBezTo>
                      <a:cubicBezTo>
                        <a:pt x="1016894" y="646536"/>
                        <a:pt x="997336" y="647965"/>
                        <a:pt x="978703" y="655272"/>
                      </a:cubicBezTo>
                      <a:cubicBezTo>
                        <a:pt x="960410" y="662452"/>
                        <a:pt x="942093" y="669373"/>
                        <a:pt x="924432" y="678040"/>
                      </a:cubicBezTo>
                      <a:cubicBezTo>
                        <a:pt x="917358" y="681518"/>
                        <a:pt x="911374" y="684130"/>
                        <a:pt x="905260" y="688768"/>
                      </a:cubicBezTo>
                      <a:cubicBezTo>
                        <a:pt x="897296" y="694822"/>
                        <a:pt x="897695" y="690957"/>
                        <a:pt x="888208" y="690267"/>
                      </a:cubicBezTo>
                      <a:cubicBezTo>
                        <a:pt x="874143" y="689248"/>
                        <a:pt x="873440" y="691625"/>
                        <a:pt x="873662" y="676166"/>
                      </a:cubicBezTo>
                      <a:cubicBezTo>
                        <a:pt x="864012" y="677864"/>
                        <a:pt x="854374" y="679597"/>
                        <a:pt x="844712" y="681296"/>
                      </a:cubicBezTo>
                      <a:cubicBezTo>
                        <a:pt x="831759" y="683579"/>
                        <a:pt x="828667" y="681776"/>
                        <a:pt x="816534" y="675967"/>
                      </a:cubicBezTo>
                      <a:cubicBezTo>
                        <a:pt x="799037" y="667605"/>
                        <a:pt x="782465" y="664291"/>
                        <a:pt x="763305" y="660297"/>
                      </a:cubicBezTo>
                      <a:cubicBezTo>
                        <a:pt x="753795" y="658318"/>
                        <a:pt x="744191" y="658142"/>
                        <a:pt x="737340" y="650682"/>
                      </a:cubicBezTo>
                      <a:cubicBezTo>
                        <a:pt x="729130" y="641734"/>
                        <a:pt x="727690" y="634566"/>
                        <a:pt x="714034" y="633993"/>
                      </a:cubicBezTo>
                      <a:cubicBezTo>
                        <a:pt x="694523" y="633173"/>
                        <a:pt x="675667" y="630842"/>
                        <a:pt x="656121" y="627961"/>
                      </a:cubicBezTo>
                      <a:cubicBezTo>
                        <a:pt x="643683" y="626134"/>
                        <a:pt x="637347" y="625584"/>
                        <a:pt x="625343" y="628851"/>
                      </a:cubicBezTo>
                      <a:cubicBezTo>
                        <a:pt x="613994" y="631943"/>
                        <a:pt x="606710" y="632060"/>
                        <a:pt x="594846" y="630655"/>
                      </a:cubicBezTo>
                      <a:cubicBezTo>
                        <a:pt x="574117" y="628219"/>
                        <a:pt x="553399" y="625760"/>
                        <a:pt x="532670" y="623323"/>
                      </a:cubicBezTo>
                      <a:cubicBezTo>
                        <a:pt x="512456" y="620934"/>
                        <a:pt x="493881" y="618440"/>
                        <a:pt x="473585" y="620337"/>
                      </a:cubicBezTo>
                      <a:cubicBezTo>
                        <a:pt x="469544" y="620712"/>
                        <a:pt x="451755" y="624940"/>
                        <a:pt x="448721" y="622070"/>
                      </a:cubicBezTo>
                      <a:cubicBezTo>
                        <a:pt x="446765" y="620232"/>
                        <a:pt x="448639" y="614517"/>
                        <a:pt x="447351" y="611823"/>
                      </a:cubicBezTo>
                      <a:cubicBezTo>
                        <a:pt x="446028" y="609094"/>
                        <a:pt x="443205" y="607326"/>
                        <a:pt x="441050" y="605334"/>
                      </a:cubicBezTo>
                      <a:cubicBezTo>
                        <a:pt x="432161" y="597195"/>
                        <a:pt x="425579" y="593213"/>
                        <a:pt x="422007" y="582251"/>
                      </a:cubicBezTo>
                      <a:cubicBezTo>
                        <a:pt x="418763" y="572285"/>
                        <a:pt x="413645" y="562177"/>
                        <a:pt x="409628" y="552281"/>
                      </a:cubicBezTo>
                      <a:cubicBezTo>
                        <a:pt x="408153" y="548639"/>
                        <a:pt x="407052" y="544727"/>
                        <a:pt x="403737" y="542654"/>
                      </a:cubicBezTo>
                      <a:cubicBezTo>
                        <a:pt x="400739" y="540781"/>
                        <a:pt x="396828" y="543099"/>
                        <a:pt x="394719" y="539785"/>
                      </a:cubicBezTo>
                      <a:cubicBezTo>
                        <a:pt x="392178" y="535792"/>
                        <a:pt x="396558" y="527008"/>
                        <a:pt x="398807" y="523670"/>
                      </a:cubicBezTo>
                      <a:cubicBezTo>
                        <a:pt x="389730" y="522382"/>
                        <a:pt x="382165" y="525485"/>
                        <a:pt x="373170" y="522839"/>
                      </a:cubicBezTo>
                      <a:cubicBezTo>
                        <a:pt x="364785" y="520379"/>
                        <a:pt x="363555" y="519103"/>
                        <a:pt x="357477" y="514488"/>
                      </a:cubicBezTo>
                      <a:cubicBezTo>
                        <a:pt x="351656" y="510061"/>
                        <a:pt x="346199" y="509124"/>
                        <a:pt x="341315" y="505107"/>
                      </a:cubicBezTo>
                      <a:cubicBezTo>
                        <a:pt x="339031" y="503222"/>
                        <a:pt x="337509" y="499978"/>
                        <a:pt x="334499" y="499018"/>
                      </a:cubicBezTo>
                      <a:cubicBezTo>
                        <a:pt x="331957" y="498209"/>
                        <a:pt x="327905" y="500399"/>
                        <a:pt x="324603" y="499310"/>
                      </a:cubicBezTo>
                      <a:cubicBezTo>
                        <a:pt x="317224" y="496874"/>
                        <a:pt x="314343" y="487646"/>
                        <a:pt x="307797" y="483617"/>
                      </a:cubicBezTo>
                      <a:cubicBezTo>
                        <a:pt x="302538" y="480373"/>
                        <a:pt x="295511" y="479717"/>
                        <a:pt x="289737" y="478452"/>
                      </a:cubicBezTo>
                      <a:cubicBezTo>
                        <a:pt x="280356" y="476367"/>
                        <a:pt x="267286" y="474552"/>
                        <a:pt x="257823" y="475747"/>
                      </a:cubicBezTo>
                      <a:cubicBezTo>
                        <a:pt x="250703" y="476648"/>
                        <a:pt x="244613" y="477597"/>
                        <a:pt x="237633" y="476555"/>
                      </a:cubicBezTo>
                      <a:cubicBezTo>
                        <a:pt x="232128" y="475735"/>
                        <a:pt x="227725" y="473299"/>
                        <a:pt x="222056" y="472538"/>
                      </a:cubicBezTo>
                      <a:cubicBezTo>
                        <a:pt x="215896" y="471718"/>
                        <a:pt x="208647" y="474271"/>
                        <a:pt x="202604" y="473299"/>
                      </a:cubicBezTo>
                      <a:cubicBezTo>
                        <a:pt x="199488" y="472807"/>
                        <a:pt x="197966" y="471987"/>
                        <a:pt x="195647" y="471320"/>
                      </a:cubicBezTo>
                      <a:cubicBezTo>
                        <a:pt x="194078" y="470863"/>
                        <a:pt x="193504" y="468521"/>
                        <a:pt x="191688" y="468017"/>
                      </a:cubicBezTo>
                      <a:cubicBezTo>
                        <a:pt x="190705" y="467748"/>
                        <a:pt x="189955" y="469528"/>
                        <a:pt x="189416" y="469422"/>
                      </a:cubicBezTo>
                      <a:cubicBezTo>
                        <a:pt x="186898" y="468954"/>
                        <a:pt x="183854" y="469551"/>
                        <a:pt x="180738" y="468263"/>
                      </a:cubicBezTo>
                      <a:cubicBezTo>
                        <a:pt x="177763" y="467045"/>
                        <a:pt x="176768" y="464410"/>
                        <a:pt x="173536" y="463637"/>
                      </a:cubicBezTo>
                      <a:cubicBezTo>
                        <a:pt x="170877" y="463004"/>
                        <a:pt x="165864" y="465850"/>
                        <a:pt x="164541" y="465382"/>
                      </a:cubicBezTo>
                      <a:cubicBezTo>
                        <a:pt x="160711" y="464023"/>
                        <a:pt x="163991" y="462958"/>
                        <a:pt x="162093" y="460533"/>
                      </a:cubicBezTo>
                      <a:cubicBezTo>
                        <a:pt x="155031" y="451539"/>
                        <a:pt x="147864" y="441572"/>
                        <a:pt x="154516" y="428514"/>
                      </a:cubicBezTo>
                      <a:cubicBezTo>
                        <a:pt x="158322" y="421030"/>
                        <a:pt x="170022" y="416275"/>
                        <a:pt x="169577" y="407421"/>
                      </a:cubicBezTo>
                      <a:cubicBezTo>
                        <a:pt x="169249" y="400898"/>
                        <a:pt x="164201" y="397209"/>
                        <a:pt x="165701" y="390697"/>
                      </a:cubicBezTo>
                      <a:cubicBezTo>
                        <a:pt x="166872" y="385650"/>
                        <a:pt x="171451" y="380871"/>
                        <a:pt x="171826" y="375648"/>
                      </a:cubicBezTo>
                      <a:cubicBezTo>
                        <a:pt x="171873" y="375109"/>
                        <a:pt x="169671" y="372896"/>
                        <a:pt x="169483" y="371420"/>
                      </a:cubicBezTo>
                      <a:cubicBezTo>
                        <a:pt x="169073" y="368410"/>
                        <a:pt x="169683" y="366232"/>
                        <a:pt x="168863" y="363105"/>
                      </a:cubicBezTo>
                      <a:cubicBezTo>
                        <a:pt x="167258" y="356945"/>
                        <a:pt x="163522" y="351944"/>
                        <a:pt x="158615" y="348032"/>
                      </a:cubicBezTo>
                      <a:cubicBezTo>
                        <a:pt x="148848" y="340244"/>
                        <a:pt x="143695" y="329118"/>
                        <a:pt x="140298" y="318777"/>
                      </a:cubicBezTo>
                      <a:cubicBezTo>
                        <a:pt x="138776" y="314151"/>
                        <a:pt x="137745" y="311609"/>
                        <a:pt x="134735" y="307030"/>
                      </a:cubicBezTo>
                      <a:cubicBezTo>
                        <a:pt x="133318" y="304852"/>
                        <a:pt x="136094" y="304782"/>
                        <a:pt x="133494" y="302580"/>
                      </a:cubicBezTo>
                      <a:cubicBezTo>
                        <a:pt x="131175" y="300612"/>
                        <a:pt x="126666" y="301385"/>
                        <a:pt x="124043" y="299266"/>
                      </a:cubicBezTo>
                      <a:cubicBezTo>
                        <a:pt x="120377" y="296314"/>
                        <a:pt x="121970" y="290880"/>
                        <a:pt x="120014" y="289287"/>
                      </a:cubicBezTo>
                      <a:cubicBezTo>
                        <a:pt x="115130" y="285341"/>
                        <a:pt x="112214" y="294897"/>
                        <a:pt x="105480" y="292965"/>
                      </a:cubicBezTo>
                      <a:cubicBezTo>
                        <a:pt x="103325" y="292344"/>
                        <a:pt x="99507" y="286652"/>
                        <a:pt x="97774" y="284720"/>
                      </a:cubicBezTo>
                      <a:cubicBezTo>
                        <a:pt x="93721" y="280211"/>
                        <a:pt x="94975" y="280152"/>
                        <a:pt x="88533" y="279485"/>
                      </a:cubicBezTo>
                      <a:cubicBezTo>
                        <a:pt x="82443" y="278852"/>
                        <a:pt x="81940" y="281241"/>
                        <a:pt x="76459" y="282495"/>
                      </a:cubicBezTo>
                      <a:cubicBezTo>
                        <a:pt x="66832" y="284696"/>
                        <a:pt x="67429" y="277623"/>
                        <a:pt x="60742" y="273922"/>
                      </a:cubicBezTo>
                      <a:cubicBezTo>
                        <a:pt x="57064" y="271884"/>
                        <a:pt x="50857" y="272669"/>
                        <a:pt x="47110" y="269530"/>
                      </a:cubicBezTo>
                      <a:cubicBezTo>
                        <a:pt x="41664" y="264962"/>
                        <a:pt x="45224" y="264260"/>
                        <a:pt x="42753" y="259306"/>
                      </a:cubicBezTo>
                      <a:cubicBezTo>
                        <a:pt x="40668" y="255148"/>
                        <a:pt x="34859" y="253286"/>
                        <a:pt x="30877" y="251436"/>
                      </a:cubicBezTo>
                      <a:cubicBezTo>
                        <a:pt x="26193" y="249257"/>
                        <a:pt x="21614" y="247278"/>
                        <a:pt x="16882" y="245193"/>
                      </a:cubicBezTo>
                      <a:cubicBezTo>
                        <a:pt x="15547" y="244608"/>
                        <a:pt x="13123" y="245463"/>
                        <a:pt x="12080" y="244081"/>
                      </a:cubicBezTo>
                      <a:cubicBezTo>
                        <a:pt x="8871" y="239771"/>
                        <a:pt x="11811" y="242488"/>
                        <a:pt x="12607" y="238904"/>
                      </a:cubicBezTo>
                      <a:cubicBezTo>
                        <a:pt x="13146" y="236468"/>
                        <a:pt x="16636" y="236784"/>
                        <a:pt x="16098" y="234079"/>
                      </a:cubicBezTo>
                      <a:cubicBezTo>
                        <a:pt x="15371" y="230425"/>
                        <a:pt x="10652" y="231339"/>
                        <a:pt x="8708" y="230249"/>
                      </a:cubicBezTo>
                      <a:cubicBezTo>
                        <a:pt x="6178" y="228844"/>
                        <a:pt x="580" y="226654"/>
                        <a:pt x="100" y="223633"/>
                      </a:cubicBezTo>
                      <a:cubicBezTo>
                        <a:pt x="-814" y="217941"/>
                        <a:pt x="4819" y="219135"/>
                        <a:pt x="6201" y="213795"/>
                      </a:cubicBezTo>
                      <a:cubicBezTo>
                        <a:pt x="5850" y="215165"/>
                        <a:pt x="3601" y="203477"/>
                        <a:pt x="3355" y="202856"/>
                      </a:cubicBezTo>
                      <a:cubicBezTo>
                        <a:pt x="7677" y="203945"/>
                        <a:pt x="17046" y="200807"/>
                        <a:pt x="19517" y="196567"/>
                      </a:cubicBezTo>
                      <a:cubicBezTo>
                        <a:pt x="21883" y="192527"/>
                        <a:pt x="17468" y="187526"/>
                        <a:pt x="23043" y="183544"/>
                      </a:cubicBezTo>
                      <a:cubicBezTo>
                        <a:pt x="32365" y="176892"/>
                        <a:pt x="49089" y="184048"/>
                        <a:pt x="58364" y="184610"/>
                      </a:cubicBezTo>
                      <a:cubicBezTo>
                        <a:pt x="57427" y="182584"/>
                        <a:pt x="56596" y="178297"/>
                        <a:pt x="59278" y="177454"/>
                      </a:cubicBezTo>
                      <a:cubicBezTo>
                        <a:pt x="61210" y="176845"/>
                        <a:pt x="61819" y="182513"/>
                        <a:pt x="63084" y="182888"/>
                      </a:cubicBezTo>
                      <a:cubicBezTo>
                        <a:pt x="65977" y="183743"/>
                        <a:pt x="73578" y="181342"/>
                        <a:pt x="75241" y="178812"/>
                      </a:cubicBezTo>
                      <a:cubicBezTo>
                        <a:pt x="76939" y="176224"/>
                        <a:pt x="72805" y="173074"/>
                        <a:pt x="75651" y="171493"/>
                      </a:cubicBezTo>
                      <a:cubicBezTo>
                        <a:pt x="78625" y="169853"/>
                        <a:pt x="81249" y="174983"/>
                        <a:pt x="84528" y="174667"/>
                      </a:cubicBezTo>
                      <a:cubicBezTo>
                        <a:pt x="85465" y="174573"/>
                        <a:pt x="89833" y="170544"/>
                        <a:pt x="91110" y="169865"/>
                      </a:cubicBezTo>
                      <a:cubicBezTo>
                        <a:pt x="93803" y="168413"/>
                        <a:pt x="100702" y="168050"/>
                        <a:pt x="102060" y="164876"/>
                      </a:cubicBezTo>
                      <a:cubicBezTo>
                        <a:pt x="102517" y="163798"/>
                        <a:pt x="98840" y="160109"/>
                        <a:pt x="98629" y="159324"/>
                      </a:cubicBezTo>
                      <a:cubicBezTo>
                        <a:pt x="95865" y="149053"/>
                        <a:pt x="102657" y="152649"/>
                        <a:pt x="110867" y="150096"/>
                      </a:cubicBezTo>
                      <a:cubicBezTo>
                        <a:pt x="115446" y="148679"/>
                        <a:pt x="114826" y="146723"/>
                        <a:pt x="117227" y="144650"/>
                      </a:cubicBezTo>
                      <a:cubicBezTo>
                        <a:pt x="121103" y="141300"/>
                        <a:pt x="120026" y="141874"/>
                        <a:pt x="126338" y="139438"/>
                      </a:cubicBezTo>
                      <a:cubicBezTo>
                        <a:pt x="133927" y="136510"/>
                        <a:pt x="138928" y="133419"/>
                        <a:pt x="146552" y="131826"/>
                      </a:cubicBezTo>
                      <a:cubicBezTo>
                        <a:pt x="154294" y="130210"/>
                        <a:pt x="155383" y="127867"/>
                        <a:pt x="162550" y="123511"/>
                      </a:cubicBezTo>
                      <a:cubicBezTo>
                        <a:pt x="166684" y="121016"/>
                        <a:pt x="167668" y="119025"/>
                        <a:pt x="171966" y="117315"/>
                      </a:cubicBezTo>
                      <a:cubicBezTo>
                        <a:pt x="175644" y="115851"/>
                        <a:pt x="181488" y="115558"/>
                        <a:pt x="185352" y="114540"/>
                      </a:cubicBezTo>
                      <a:cubicBezTo>
                        <a:pt x="189452" y="113462"/>
                        <a:pt x="189498" y="113591"/>
                        <a:pt x="192368" y="112244"/>
                      </a:cubicBezTo>
                      <a:cubicBezTo>
                        <a:pt x="194640" y="111178"/>
                        <a:pt x="198809" y="108110"/>
                        <a:pt x="201187" y="106318"/>
                      </a:cubicBezTo>
                      <a:cubicBezTo>
                        <a:pt x="205602" y="102980"/>
                        <a:pt x="205602" y="99584"/>
                        <a:pt x="212383" y="98366"/>
                      </a:cubicBezTo>
                      <a:cubicBezTo>
                        <a:pt x="218262" y="97324"/>
                        <a:pt x="224715" y="101095"/>
                        <a:pt x="230348" y="98998"/>
                      </a:cubicBezTo>
                      <a:cubicBezTo>
                        <a:pt x="235970" y="96902"/>
                        <a:pt x="235630" y="86783"/>
                        <a:pt x="240783" y="86935"/>
                      </a:cubicBezTo>
                      <a:cubicBezTo>
                        <a:pt x="244308" y="87041"/>
                        <a:pt x="250363" y="100099"/>
                        <a:pt x="255505" y="100228"/>
                      </a:cubicBezTo>
                      <a:cubicBezTo>
                        <a:pt x="262098" y="100392"/>
                        <a:pt x="259299" y="92288"/>
                        <a:pt x="266361" y="91972"/>
                      </a:cubicBezTo>
                      <a:cubicBezTo>
                        <a:pt x="274758" y="91608"/>
                        <a:pt x="271069" y="102500"/>
                        <a:pt x="279209" y="105358"/>
                      </a:cubicBezTo>
                      <a:cubicBezTo>
                        <a:pt x="283296" y="106798"/>
                        <a:pt x="289726" y="104479"/>
                        <a:pt x="293848" y="104772"/>
                      </a:cubicBezTo>
                      <a:cubicBezTo>
                        <a:pt x="300067" y="105206"/>
                        <a:pt x="305923" y="106529"/>
                        <a:pt x="312341" y="106763"/>
                      </a:cubicBezTo>
                      <a:cubicBezTo>
                        <a:pt x="320082" y="107044"/>
                        <a:pt x="335237" y="104491"/>
                        <a:pt x="340390" y="109679"/>
                      </a:cubicBezTo>
                      <a:cubicBezTo>
                        <a:pt x="345379" y="114704"/>
                        <a:pt x="340999" y="126591"/>
                        <a:pt x="345156" y="132435"/>
                      </a:cubicBezTo>
                      <a:cubicBezTo>
                        <a:pt x="346608" y="134484"/>
                        <a:pt x="350286" y="135620"/>
                        <a:pt x="351996" y="137283"/>
                      </a:cubicBezTo>
                      <a:cubicBezTo>
                        <a:pt x="353659" y="138911"/>
                        <a:pt x="355591" y="144369"/>
                        <a:pt x="357934" y="145165"/>
                      </a:cubicBezTo>
                      <a:cubicBezTo>
                        <a:pt x="360803" y="146137"/>
                        <a:pt x="366179" y="143409"/>
                        <a:pt x="369411" y="143432"/>
                      </a:cubicBezTo>
                      <a:cubicBezTo>
                        <a:pt x="376731" y="143479"/>
                        <a:pt x="373744" y="145423"/>
                        <a:pt x="378698" y="147566"/>
                      </a:cubicBezTo>
                      <a:cubicBezTo>
                        <a:pt x="383558" y="149662"/>
                        <a:pt x="386416" y="149381"/>
                        <a:pt x="392436" y="149955"/>
                      </a:cubicBezTo>
                      <a:cubicBezTo>
                        <a:pt x="395914" y="150283"/>
                        <a:pt x="400423" y="153410"/>
                        <a:pt x="402929" y="153504"/>
                      </a:cubicBezTo>
                      <a:cubicBezTo>
                        <a:pt x="407918" y="153691"/>
                        <a:pt x="413774" y="146840"/>
                        <a:pt x="418517" y="146149"/>
                      </a:cubicBezTo>
                      <a:cubicBezTo>
                        <a:pt x="421715" y="145681"/>
                        <a:pt x="422593" y="147051"/>
                        <a:pt x="424806" y="147250"/>
                      </a:cubicBezTo>
                      <a:cubicBezTo>
                        <a:pt x="425181" y="147285"/>
                        <a:pt x="425638" y="150213"/>
                        <a:pt x="426868" y="150377"/>
                      </a:cubicBezTo>
                      <a:cubicBezTo>
                        <a:pt x="428578" y="150599"/>
                        <a:pt x="429198" y="147964"/>
                        <a:pt x="430194" y="148011"/>
                      </a:cubicBezTo>
                      <a:cubicBezTo>
                        <a:pt x="432126" y="148093"/>
                        <a:pt x="434164" y="147121"/>
                        <a:pt x="435979" y="147332"/>
                      </a:cubicBezTo>
                      <a:cubicBezTo>
                        <a:pt x="440828" y="147906"/>
                        <a:pt x="444294" y="153398"/>
                        <a:pt x="448370" y="153914"/>
                      </a:cubicBezTo>
                      <a:cubicBezTo>
                        <a:pt x="451263" y="154265"/>
                        <a:pt x="453113" y="151325"/>
                        <a:pt x="455795" y="151653"/>
                      </a:cubicBezTo>
                      <a:cubicBezTo>
                        <a:pt x="457950" y="151911"/>
                        <a:pt x="458957" y="155741"/>
                        <a:pt x="459953" y="155764"/>
                      </a:cubicBezTo>
                      <a:cubicBezTo>
                        <a:pt x="463033" y="155835"/>
                        <a:pt x="464755" y="152895"/>
                        <a:pt x="467776" y="152286"/>
                      </a:cubicBezTo>
                      <a:cubicBezTo>
                        <a:pt x="473725" y="151080"/>
                        <a:pt x="479534" y="154242"/>
                        <a:pt x="483774" y="157088"/>
                      </a:cubicBezTo>
                      <a:cubicBezTo>
                        <a:pt x="488904" y="160542"/>
                        <a:pt x="491820" y="165965"/>
                        <a:pt x="499303" y="164723"/>
                      </a:cubicBezTo>
                      <a:cubicBezTo>
                        <a:pt x="509188" y="163084"/>
                        <a:pt x="511003" y="153785"/>
                        <a:pt x="515969" y="151068"/>
                      </a:cubicBezTo>
                      <a:cubicBezTo>
                        <a:pt x="520642" y="148515"/>
                        <a:pt x="522059" y="151513"/>
                        <a:pt x="524659" y="150916"/>
                      </a:cubicBezTo>
                      <a:cubicBezTo>
                        <a:pt x="527060" y="150377"/>
                        <a:pt x="530819" y="148292"/>
                        <a:pt x="533630" y="146407"/>
                      </a:cubicBezTo>
                      <a:cubicBezTo>
                        <a:pt x="541840" y="140891"/>
                        <a:pt x="546173" y="132845"/>
                        <a:pt x="548656" y="123417"/>
                      </a:cubicBezTo>
                      <a:cubicBezTo>
                        <a:pt x="550331" y="117093"/>
                        <a:pt x="551431" y="112197"/>
                        <a:pt x="546349" y="108262"/>
                      </a:cubicBezTo>
                      <a:cubicBezTo>
                        <a:pt x="543620" y="106154"/>
                        <a:pt x="539579" y="106892"/>
                        <a:pt x="536593" y="103777"/>
                      </a:cubicBezTo>
                      <a:cubicBezTo>
                        <a:pt x="533794" y="100849"/>
                        <a:pt x="532810" y="95251"/>
                        <a:pt x="531944" y="91854"/>
                      </a:cubicBezTo>
                      <a:cubicBezTo>
                        <a:pt x="531323" y="89454"/>
                        <a:pt x="533829" y="90250"/>
                        <a:pt x="532541" y="87509"/>
                      </a:cubicBezTo>
                      <a:cubicBezTo>
                        <a:pt x="532201" y="86772"/>
                        <a:pt x="530831" y="85659"/>
                        <a:pt x="530327" y="84886"/>
                      </a:cubicBezTo>
                      <a:cubicBezTo>
                        <a:pt x="527751" y="80951"/>
                        <a:pt x="524811" y="82263"/>
                        <a:pt x="525151" y="76793"/>
                      </a:cubicBezTo>
                      <a:cubicBezTo>
                        <a:pt x="525373" y="73198"/>
                        <a:pt x="529519" y="68513"/>
                        <a:pt x="530210" y="64613"/>
                      </a:cubicBezTo>
                      <a:cubicBezTo>
                        <a:pt x="530702" y="61779"/>
                        <a:pt x="529753" y="58465"/>
                        <a:pt x="530632" y="55841"/>
                      </a:cubicBezTo>
                      <a:cubicBezTo>
                        <a:pt x="531229" y="54096"/>
                        <a:pt x="535035" y="48018"/>
                        <a:pt x="536195" y="47046"/>
                      </a:cubicBezTo>
                      <a:cubicBezTo>
                        <a:pt x="538514" y="45102"/>
                        <a:pt x="544920" y="45746"/>
                        <a:pt x="545704" y="45008"/>
                      </a:cubicBezTo>
                      <a:cubicBezTo>
                        <a:pt x="549476" y="41518"/>
                        <a:pt x="546196" y="32512"/>
                        <a:pt x="552368" y="27874"/>
                      </a:cubicBezTo>
                      <a:cubicBezTo>
                        <a:pt x="556608" y="24689"/>
                        <a:pt x="563354" y="26082"/>
                        <a:pt x="567675" y="23225"/>
                      </a:cubicBezTo>
                      <a:cubicBezTo>
                        <a:pt x="571505" y="20707"/>
                        <a:pt x="573250" y="16584"/>
                        <a:pt x="575323" y="12673"/>
                      </a:cubicBezTo>
                      <a:cubicBezTo>
                        <a:pt x="577864" y="7894"/>
                        <a:pt x="577864" y="-948"/>
                        <a:pt x="583872" y="83"/>
                      </a:cubicBezTo>
                      <a:cubicBezTo>
                        <a:pt x="584282" y="153"/>
                        <a:pt x="588018" y="4908"/>
                        <a:pt x="589271" y="5681"/>
                      </a:cubicBezTo>
                      <a:cubicBezTo>
                        <a:pt x="592328" y="7567"/>
                        <a:pt x="597657" y="9475"/>
                        <a:pt x="600866" y="11057"/>
                      </a:cubicBezTo>
                      <a:cubicBezTo>
                        <a:pt x="609275" y="15191"/>
                        <a:pt x="619534" y="14465"/>
                        <a:pt x="627240" y="19536"/>
                      </a:cubicBezTo>
                      <a:cubicBezTo>
                        <a:pt x="631316" y="22206"/>
                        <a:pt x="633073" y="25473"/>
                        <a:pt x="637991" y="26914"/>
                      </a:cubicBezTo>
                      <a:cubicBezTo>
                        <a:pt x="642301" y="28167"/>
                        <a:pt x="648977" y="27417"/>
                        <a:pt x="653591" y="27582"/>
                      </a:cubicBezTo>
                      <a:cubicBezTo>
                        <a:pt x="667458" y="28073"/>
                        <a:pt x="677401" y="31411"/>
                        <a:pt x="690213" y="37618"/>
                      </a:cubicBezTo>
                      <a:cubicBezTo>
                        <a:pt x="693551" y="39246"/>
                        <a:pt x="697486" y="40324"/>
                        <a:pt x="700507" y="41741"/>
                      </a:cubicBezTo>
                      <a:cubicBezTo>
                        <a:pt x="703435" y="43123"/>
                        <a:pt x="707207" y="46156"/>
                        <a:pt x="710369" y="46777"/>
                      </a:cubicBezTo>
                      <a:cubicBezTo>
                        <a:pt x="713109" y="47315"/>
                        <a:pt x="717712" y="45324"/>
                        <a:pt x="720874" y="45418"/>
                      </a:cubicBezTo>
                      <a:cubicBezTo>
                        <a:pt x="725640" y="45547"/>
                        <a:pt x="729013" y="47948"/>
                        <a:pt x="733335" y="49142"/>
                      </a:cubicBezTo>
                      <a:cubicBezTo>
                        <a:pt x="738277" y="50501"/>
                        <a:pt x="751090" y="50114"/>
                        <a:pt x="753303" y="56685"/>
                      </a:cubicBezTo>
                      <a:cubicBezTo>
                        <a:pt x="753420" y="57036"/>
                        <a:pt x="751160" y="62904"/>
                        <a:pt x="751008" y="64168"/>
                      </a:cubicBezTo>
                      <a:cubicBezTo>
                        <a:pt x="750574" y="67705"/>
                        <a:pt x="751031" y="70493"/>
                        <a:pt x="751909" y="73912"/>
                      </a:cubicBezTo>
                      <a:cubicBezTo>
                        <a:pt x="752835" y="77531"/>
                        <a:pt x="754228" y="79054"/>
                        <a:pt x="754638" y="82532"/>
                      </a:cubicBezTo>
                      <a:cubicBezTo>
                        <a:pt x="754943" y="85261"/>
                        <a:pt x="753537" y="88751"/>
                        <a:pt x="754638" y="91726"/>
                      </a:cubicBezTo>
                      <a:cubicBezTo>
                        <a:pt x="756008" y="95438"/>
                        <a:pt x="759053" y="95028"/>
                        <a:pt x="759698" y="99127"/>
                      </a:cubicBezTo>
                      <a:cubicBezTo>
                        <a:pt x="760178" y="102137"/>
                        <a:pt x="755762" y="103496"/>
                        <a:pt x="759077" y="107735"/>
                      </a:cubicBezTo>
                      <a:cubicBezTo>
                        <a:pt x="761700" y="111085"/>
                        <a:pt x="766291" y="109246"/>
                        <a:pt x="769500" y="111542"/>
                      </a:cubicBezTo>
                      <a:cubicBezTo>
                        <a:pt x="773775" y="114586"/>
                        <a:pt x="774384" y="117514"/>
                        <a:pt x="779068" y="119950"/>
                      </a:cubicBezTo>
                      <a:cubicBezTo>
                        <a:pt x="782699" y="121836"/>
                        <a:pt x="788168" y="124893"/>
                        <a:pt x="792244" y="125841"/>
                      </a:cubicBezTo>
                      <a:cubicBezTo>
                        <a:pt x="795137" y="126520"/>
                        <a:pt x="797865" y="124986"/>
                        <a:pt x="800700" y="125513"/>
                      </a:cubicBezTo>
                      <a:cubicBezTo>
                        <a:pt x="805185" y="126345"/>
                        <a:pt x="804658" y="127551"/>
                        <a:pt x="807844" y="129495"/>
                      </a:cubicBezTo>
                      <a:cubicBezTo>
                        <a:pt x="811861" y="131943"/>
                        <a:pt x="810713" y="131346"/>
                        <a:pt x="816171" y="132915"/>
                      </a:cubicBezTo>
                      <a:cubicBezTo>
                        <a:pt x="820152" y="134063"/>
                        <a:pt x="824252" y="137272"/>
                        <a:pt x="828397" y="137283"/>
                      </a:cubicBezTo>
                      <a:cubicBezTo>
                        <a:pt x="833363" y="137307"/>
                        <a:pt x="836186" y="134074"/>
                        <a:pt x="841608" y="134531"/>
                      </a:cubicBezTo>
                      <a:cubicBezTo>
                        <a:pt x="848904" y="135140"/>
                        <a:pt x="852066" y="138010"/>
                        <a:pt x="859281" y="133559"/>
                      </a:cubicBezTo>
                      <a:cubicBezTo>
                        <a:pt x="862010" y="131861"/>
                        <a:pt x="863836" y="128465"/>
                        <a:pt x="866917" y="126942"/>
                      </a:cubicBezTo>
                      <a:cubicBezTo>
                        <a:pt x="871121" y="124869"/>
                        <a:pt x="874927" y="125724"/>
                        <a:pt x="879366" y="124893"/>
                      </a:cubicBezTo>
                      <a:cubicBezTo>
                        <a:pt x="885386" y="123768"/>
                        <a:pt x="891628" y="120630"/>
                        <a:pt x="898081" y="119681"/>
                      </a:cubicBezTo>
                      <a:cubicBezTo>
                        <a:pt x="905588" y="118580"/>
                        <a:pt x="912123" y="114165"/>
                        <a:pt x="919419" y="114387"/>
                      </a:cubicBezTo>
                      <a:cubicBezTo>
                        <a:pt x="925509" y="114575"/>
                        <a:pt x="932993" y="116449"/>
                        <a:pt x="939153" y="117163"/>
                      </a:cubicBezTo>
                      <a:cubicBezTo>
                        <a:pt x="941929" y="117479"/>
                        <a:pt x="947211" y="117667"/>
                        <a:pt x="949600" y="118791"/>
                      </a:cubicBezTo>
                      <a:cubicBezTo>
                        <a:pt x="954273" y="120993"/>
                        <a:pt x="957845" y="126239"/>
                        <a:pt x="964110" y="126509"/>
                      </a:cubicBezTo>
                      <a:cubicBezTo>
                        <a:pt x="975447" y="126989"/>
                        <a:pt x="982744" y="120993"/>
                        <a:pt x="994010" y="127200"/>
                      </a:cubicBezTo>
                      <a:cubicBezTo>
                        <a:pt x="1001822" y="131510"/>
                        <a:pt x="1002477" y="136464"/>
                        <a:pt x="1007759" y="141828"/>
                      </a:cubicBezTo>
                      <a:cubicBezTo>
                        <a:pt x="1011437" y="145564"/>
                        <a:pt x="1019412" y="147496"/>
                        <a:pt x="1023582" y="147929"/>
                      </a:cubicBezTo>
                      <a:cubicBezTo>
                        <a:pt x="1031136" y="148714"/>
                        <a:pt x="1043058" y="146231"/>
                        <a:pt x="1049734" y="150389"/>
                      </a:cubicBezTo>
                      <a:cubicBezTo>
                        <a:pt x="1055121" y="153738"/>
                        <a:pt x="1051479" y="150400"/>
                        <a:pt x="1052966" y="155331"/>
                      </a:cubicBezTo>
                      <a:cubicBezTo>
                        <a:pt x="1053739" y="157919"/>
                        <a:pt x="1052685" y="162861"/>
                        <a:pt x="1053528" y="165379"/>
                      </a:cubicBezTo>
                      <a:cubicBezTo>
                        <a:pt x="1053856" y="166375"/>
                        <a:pt x="1053001" y="168155"/>
                        <a:pt x="1053387" y="169338"/>
                      </a:cubicBezTo>
                      <a:cubicBezTo>
                        <a:pt x="1053505" y="169666"/>
                        <a:pt x="1056374" y="168987"/>
                        <a:pt x="1056936" y="169795"/>
                      </a:cubicBezTo>
                      <a:cubicBezTo>
                        <a:pt x="1058822" y="172547"/>
                        <a:pt x="1056608" y="173097"/>
                        <a:pt x="1060824" y="176013"/>
                      </a:cubicBezTo>
                      <a:cubicBezTo>
                        <a:pt x="1063448" y="177829"/>
                        <a:pt x="1066622" y="177021"/>
                        <a:pt x="1069280" y="178766"/>
                      </a:cubicBezTo>
                      <a:cubicBezTo>
                        <a:pt x="1073028" y="181237"/>
                        <a:pt x="1075429" y="186788"/>
                        <a:pt x="1080078" y="189341"/>
                      </a:cubicBezTo>
                      <a:cubicBezTo>
                        <a:pt x="1094155" y="197094"/>
                        <a:pt x="1114522" y="188205"/>
                        <a:pt x="1130320" y="193569"/>
                      </a:cubicBezTo>
                      <a:cubicBezTo>
                        <a:pt x="1132429" y="194283"/>
                        <a:pt x="1132558" y="196087"/>
                        <a:pt x="1134665" y="196555"/>
                      </a:cubicBezTo>
                      <a:cubicBezTo>
                        <a:pt x="1139608" y="197656"/>
                        <a:pt x="1144808" y="196309"/>
                        <a:pt x="1149762" y="197457"/>
                      </a:cubicBezTo>
                      <a:cubicBezTo>
                        <a:pt x="1154318" y="198499"/>
                        <a:pt x="1159635" y="200947"/>
                        <a:pt x="1164670" y="201837"/>
                      </a:cubicBezTo>
                      <a:cubicBezTo>
                        <a:pt x="1171006" y="202938"/>
                        <a:pt x="1171615" y="201416"/>
                        <a:pt x="1177143" y="200455"/>
                      </a:cubicBezTo>
                      <a:cubicBezTo>
                        <a:pt x="1182823" y="199472"/>
                        <a:pt x="1176886" y="198617"/>
                        <a:pt x="1184135" y="200842"/>
                      </a:cubicBezTo>
                      <a:cubicBezTo>
                        <a:pt x="1188644" y="202224"/>
                        <a:pt x="1192193" y="204871"/>
                        <a:pt x="1197006" y="204882"/>
                      </a:cubicBezTo>
                      <a:cubicBezTo>
                        <a:pt x="1207956" y="204929"/>
                        <a:pt x="1217255" y="194846"/>
                        <a:pt x="1227491" y="192058"/>
                      </a:cubicBezTo>
                      <a:cubicBezTo>
                        <a:pt x="1232375" y="190735"/>
                        <a:pt x="1236263" y="190395"/>
                        <a:pt x="1241990" y="189282"/>
                      </a:cubicBezTo>
                      <a:cubicBezTo>
                        <a:pt x="1253081" y="187116"/>
                        <a:pt x="1264464" y="186975"/>
                        <a:pt x="1275227" y="182912"/>
                      </a:cubicBezTo>
                      <a:cubicBezTo>
                        <a:pt x="1280369" y="180967"/>
                        <a:pt x="1285709" y="177958"/>
                        <a:pt x="1291284" y="178122"/>
                      </a:cubicBezTo>
                      <a:cubicBezTo>
                        <a:pt x="1296121" y="178262"/>
                        <a:pt x="1299470" y="181084"/>
                        <a:pt x="1304248" y="180475"/>
                      </a:cubicBezTo>
                      <a:cubicBezTo>
                        <a:pt x="1309085" y="179843"/>
                        <a:pt x="1318572" y="173859"/>
                        <a:pt x="1320867" y="171153"/>
                      </a:cubicBezTo>
                      <a:cubicBezTo>
                        <a:pt x="1322589" y="169104"/>
                        <a:pt x="1323045" y="164103"/>
                        <a:pt x="1325212" y="161526"/>
                      </a:cubicBezTo>
                      <a:cubicBezTo>
                        <a:pt x="1328913" y="157134"/>
                        <a:pt x="1334183" y="154886"/>
                        <a:pt x="1338798" y="151536"/>
                      </a:cubicBezTo>
                      <a:cubicBezTo>
                        <a:pt x="1345309" y="146828"/>
                        <a:pt x="1351118" y="143924"/>
                        <a:pt x="1358461" y="140832"/>
                      </a:cubicBezTo>
                      <a:cubicBezTo>
                        <a:pt x="1365043" y="138068"/>
                        <a:pt x="1372339" y="131229"/>
                        <a:pt x="1379811" y="128804"/>
                      </a:cubicBezTo>
                      <a:cubicBezTo>
                        <a:pt x="1385854" y="126848"/>
                        <a:pt x="1386170" y="129191"/>
                        <a:pt x="1391886" y="129999"/>
                      </a:cubicBezTo>
                      <a:cubicBezTo>
                        <a:pt x="1397589" y="130795"/>
                        <a:pt x="1402825" y="128699"/>
                        <a:pt x="1408563" y="130245"/>
                      </a:cubicBezTo>
                      <a:cubicBezTo>
                        <a:pt x="1427758" y="135410"/>
                        <a:pt x="1433087" y="155952"/>
                        <a:pt x="1455233" y="154312"/>
                      </a:cubicBezTo>
                      <a:cubicBezTo>
                        <a:pt x="1464404" y="153633"/>
                        <a:pt x="1471524" y="146114"/>
                        <a:pt x="1480694" y="145364"/>
                      </a:cubicBezTo>
                      <a:cubicBezTo>
                        <a:pt x="1489560" y="144603"/>
                        <a:pt x="1505206" y="149780"/>
                        <a:pt x="1509177" y="158329"/>
                      </a:cubicBezTo>
                      <a:lnTo>
                        <a:pt x="1509177" y="158329"/>
                      </a:lnTo>
                      <a:close/>
                    </a:path>
                  </a:pathLst>
                </a:custGeom>
                <a:solidFill>
                  <a:srgbClr val="D6D6D2"/>
                </a:solidFill>
                <a:ln w="8774" cap="rnd">
                  <a:solidFill>
                    <a:srgbClr val="FFFFFF"/>
                  </a:solidFill>
                  <a:prstDash val="solid"/>
                  <a:round/>
                </a:ln>
              </p:spPr>
              <p:txBody>
                <a:bodyPr rtlCol="0" anchor="ctr"/>
                <a:lstStyle/>
                <a:p>
                  <a:endParaRPr lang="en-US"/>
                </a:p>
              </p:txBody>
            </p:sp>
            <p:sp>
              <p:nvSpPr>
                <p:cNvPr id="118" name="Freeform: Shape 117">
                  <a:extLst>
                    <a:ext uri="{FF2B5EF4-FFF2-40B4-BE49-F238E27FC236}">
                      <a16:creationId xmlns:a16="http://schemas.microsoft.com/office/drawing/2014/main" id="{89C9987D-0CBE-44D2-805C-3A68E8A836C2}"/>
                    </a:ext>
                  </a:extLst>
                </p:cNvPr>
                <p:cNvSpPr/>
                <p:nvPr/>
              </p:nvSpPr>
              <p:spPr>
                <a:xfrm>
                  <a:off x="1927472" y="4551737"/>
                  <a:ext cx="468641" cy="1006224"/>
                </a:xfrm>
                <a:custGeom>
                  <a:avLst/>
                  <a:gdLst>
                    <a:gd name="connsiteX0" fmla="*/ 282212 w 468641"/>
                    <a:gd name="connsiteY0" fmla="*/ 1669 h 1006224"/>
                    <a:gd name="connsiteX1" fmla="*/ 289485 w 468641"/>
                    <a:gd name="connsiteY1" fmla="*/ 6482 h 1006224"/>
                    <a:gd name="connsiteX2" fmla="*/ 300716 w 468641"/>
                    <a:gd name="connsiteY2" fmla="*/ 12713 h 1006224"/>
                    <a:gd name="connsiteX3" fmla="*/ 306127 w 468641"/>
                    <a:gd name="connsiteY3" fmla="*/ 18334 h 1006224"/>
                    <a:gd name="connsiteX4" fmla="*/ 309781 w 468641"/>
                    <a:gd name="connsiteY4" fmla="*/ 29882 h 1006224"/>
                    <a:gd name="connsiteX5" fmla="*/ 323109 w 468641"/>
                    <a:gd name="connsiteY5" fmla="*/ 55331 h 1006224"/>
                    <a:gd name="connsiteX6" fmla="*/ 325638 w 468641"/>
                    <a:gd name="connsiteY6" fmla="*/ 47625 h 1006224"/>
                    <a:gd name="connsiteX7" fmla="*/ 333391 w 468641"/>
                    <a:gd name="connsiteY7" fmla="*/ 52263 h 1006224"/>
                    <a:gd name="connsiteX8" fmla="*/ 338755 w 468641"/>
                    <a:gd name="connsiteY8" fmla="*/ 52907 h 1006224"/>
                    <a:gd name="connsiteX9" fmla="*/ 338908 w 468641"/>
                    <a:gd name="connsiteY9" fmla="*/ 64770 h 1006224"/>
                    <a:gd name="connsiteX10" fmla="*/ 342655 w 468641"/>
                    <a:gd name="connsiteY10" fmla="*/ 98699 h 1006224"/>
                    <a:gd name="connsiteX11" fmla="*/ 340816 w 468641"/>
                    <a:gd name="connsiteY11" fmla="*/ 120061 h 1006224"/>
                    <a:gd name="connsiteX12" fmla="*/ 337490 w 468641"/>
                    <a:gd name="connsiteY12" fmla="*/ 125588 h 1006224"/>
                    <a:gd name="connsiteX13" fmla="*/ 338908 w 468641"/>
                    <a:gd name="connsiteY13" fmla="*/ 128458 h 1006224"/>
                    <a:gd name="connsiteX14" fmla="*/ 336507 w 468641"/>
                    <a:gd name="connsiteY14" fmla="*/ 136410 h 1006224"/>
                    <a:gd name="connsiteX15" fmla="*/ 336249 w 468641"/>
                    <a:gd name="connsiteY15" fmla="*/ 133763 h 1006224"/>
                    <a:gd name="connsiteX16" fmla="*/ 336226 w 468641"/>
                    <a:gd name="connsiteY16" fmla="*/ 143495 h 1006224"/>
                    <a:gd name="connsiteX17" fmla="*/ 332946 w 468641"/>
                    <a:gd name="connsiteY17" fmla="*/ 152068 h 1006224"/>
                    <a:gd name="connsiteX18" fmla="*/ 327442 w 468641"/>
                    <a:gd name="connsiteY18" fmla="*/ 153755 h 1006224"/>
                    <a:gd name="connsiteX19" fmla="*/ 324666 w 468641"/>
                    <a:gd name="connsiteY19" fmla="*/ 159598 h 1006224"/>
                    <a:gd name="connsiteX20" fmla="*/ 310917 w 468641"/>
                    <a:gd name="connsiteY20" fmla="*/ 163487 h 1006224"/>
                    <a:gd name="connsiteX21" fmla="*/ 301782 w 468641"/>
                    <a:gd name="connsiteY21" fmla="*/ 183104 h 1006224"/>
                    <a:gd name="connsiteX22" fmla="*/ 297097 w 468641"/>
                    <a:gd name="connsiteY22" fmla="*/ 185224 h 1006224"/>
                    <a:gd name="connsiteX23" fmla="*/ 294896 w 468641"/>
                    <a:gd name="connsiteY23" fmla="*/ 183197 h 1006224"/>
                    <a:gd name="connsiteX24" fmla="*/ 292624 w 468641"/>
                    <a:gd name="connsiteY24" fmla="*/ 186488 h 1006224"/>
                    <a:gd name="connsiteX25" fmla="*/ 288337 w 468641"/>
                    <a:gd name="connsiteY25" fmla="*/ 201069 h 1006224"/>
                    <a:gd name="connsiteX26" fmla="*/ 291570 w 468641"/>
                    <a:gd name="connsiteY26" fmla="*/ 206117 h 1006224"/>
                    <a:gd name="connsiteX27" fmla="*/ 286662 w 468641"/>
                    <a:gd name="connsiteY27" fmla="*/ 206843 h 1006224"/>
                    <a:gd name="connsiteX28" fmla="*/ 279343 w 468641"/>
                    <a:gd name="connsiteY28" fmla="*/ 221002 h 1006224"/>
                    <a:gd name="connsiteX29" fmla="*/ 285667 w 468641"/>
                    <a:gd name="connsiteY29" fmla="*/ 230079 h 1006224"/>
                    <a:gd name="connsiteX30" fmla="*/ 287412 w 468641"/>
                    <a:gd name="connsiteY30" fmla="*/ 233405 h 1006224"/>
                    <a:gd name="connsiteX31" fmla="*/ 287951 w 468641"/>
                    <a:gd name="connsiteY31" fmla="*/ 237176 h 1006224"/>
                    <a:gd name="connsiteX32" fmla="*/ 287798 w 468641"/>
                    <a:gd name="connsiteY32" fmla="*/ 246498 h 1006224"/>
                    <a:gd name="connsiteX33" fmla="*/ 279261 w 468641"/>
                    <a:gd name="connsiteY33" fmla="*/ 257074 h 1006224"/>
                    <a:gd name="connsiteX34" fmla="*/ 284039 w 468641"/>
                    <a:gd name="connsiteY34" fmla="*/ 261325 h 1006224"/>
                    <a:gd name="connsiteX35" fmla="*/ 316972 w 468641"/>
                    <a:gd name="connsiteY35" fmla="*/ 246850 h 1006224"/>
                    <a:gd name="connsiteX36" fmla="*/ 348769 w 468641"/>
                    <a:gd name="connsiteY36" fmla="*/ 244823 h 1006224"/>
                    <a:gd name="connsiteX37" fmla="*/ 338720 w 468641"/>
                    <a:gd name="connsiteY37" fmla="*/ 256828 h 1006224"/>
                    <a:gd name="connsiteX38" fmla="*/ 344986 w 468641"/>
                    <a:gd name="connsiteY38" fmla="*/ 266209 h 1006224"/>
                    <a:gd name="connsiteX39" fmla="*/ 345595 w 468641"/>
                    <a:gd name="connsiteY39" fmla="*/ 281703 h 1006224"/>
                    <a:gd name="connsiteX40" fmla="*/ 348148 w 468641"/>
                    <a:gd name="connsiteY40" fmla="*/ 290100 h 1006224"/>
                    <a:gd name="connsiteX41" fmla="*/ 348499 w 468641"/>
                    <a:gd name="connsiteY41" fmla="*/ 296284 h 1006224"/>
                    <a:gd name="connsiteX42" fmla="*/ 356276 w 468641"/>
                    <a:gd name="connsiteY42" fmla="*/ 299036 h 1006224"/>
                    <a:gd name="connsiteX43" fmla="*/ 365329 w 468641"/>
                    <a:gd name="connsiteY43" fmla="*/ 302713 h 1006224"/>
                    <a:gd name="connsiteX44" fmla="*/ 367530 w 468641"/>
                    <a:gd name="connsiteY44" fmla="*/ 304822 h 1006224"/>
                    <a:gd name="connsiteX45" fmla="*/ 372168 w 468641"/>
                    <a:gd name="connsiteY45" fmla="*/ 301004 h 1006224"/>
                    <a:gd name="connsiteX46" fmla="*/ 383704 w 468641"/>
                    <a:gd name="connsiteY46" fmla="*/ 311064 h 1006224"/>
                    <a:gd name="connsiteX47" fmla="*/ 378200 w 468641"/>
                    <a:gd name="connsiteY47" fmla="*/ 311450 h 1006224"/>
                    <a:gd name="connsiteX48" fmla="*/ 375529 w 468641"/>
                    <a:gd name="connsiteY48" fmla="*/ 318231 h 1006224"/>
                    <a:gd name="connsiteX49" fmla="*/ 371829 w 468641"/>
                    <a:gd name="connsiteY49" fmla="*/ 322670 h 1006224"/>
                    <a:gd name="connsiteX50" fmla="*/ 374136 w 468641"/>
                    <a:gd name="connsiteY50" fmla="*/ 331583 h 1006224"/>
                    <a:gd name="connsiteX51" fmla="*/ 368608 w 468641"/>
                    <a:gd name="connsiteY51" fmla="*/ 342779 h 1006224"/>
                    <a:gd name="connsiteX52" fmla="*/ 363291 w 468641"/>
                    <a:gd name="connsiteY52" fmla="*/ 354420 h 1006224"/>
                    <a:gd name="connsiteX53" fmla="*/ 376361 w 468641"/>
                    <a:gd name="connsiteY53" fmla="*/ 356774 h 1006224"/>
                    <a:gd name="connsiteX54" fmla="*/ 389255 w 468641"/>
                    <a:gd name="connsiteY54" fmla="*/ 358460 h 1006224"/>
                    <a:gd name="connsiteX55" fmla="*/ 395908 w 468641"/>
                    <a:gd name="connsiteY55" fmla="*/ 359983 h 1006224"/>
                    <a:gd name="connsiteX56" fmla="*/ 399245 w 468641"/>
                    <a:gd name="connsiteY56" fmla="*/ 361763 h 1006224"/>
                    <a:gd name="connsiteX57" fmla="*/ 404914 w 468641"/>
                    <a:gd name="connsiteY57" fmla="*/ 360334 h 1006224"/>
                    <a:gd name="connsiteX58" fmla="*/ 404738 w 468641"/>
                    <a:gd name="connsiteY58" fmla="*/ 375020 h 1006224"/>
                    <a:gd name="connsiteX59" fmla="*/ 414494 w 468641"/>
                    <a:gd name="connsiteY59" fmla="*/ 382797 h 1006224"/>
                    <a:gd name="connsiteX60" fmla="*/ 417012 w 468641"/>
                    <a:gd name="connsiteY60" fmla="*/ 393864 h 1006224"/>
                    <a:gd name="connsiteX61" fmla="*/ 426299 w 468641"/>
                    <a:gd name="connsiteY61" fmla="*/ 388465 h 1006224"/>
                    <a:gd name="connsiteX62" fmla="*/ 439053 w 468641"/>
                    <a:gd name="connsiteY62" fmla="*/ 392248 h 1006224"/>
                    <a:gd name="connsiteX63" fmla="*/ 452591 w 468641"/>
                    <a:gd name="connsiteY63" fmla="*/ 381028 h 1006224"/>
                    <a:gd name="connsiteX64" fmla="*/ 462640 w 468641"/>
                    <a:gd name="connsiteY64" fmla="*/ 376508 h 1006224"/>
                    <a:gd name="connsiteX65" fmla="*/ 467172 w 468641"/>
                    <a:gd name="connsiteY65" fmla="*/ 380092 h 1006224"/>
                    <a:gd name="connsiteX66" fmla="*/ 464994 w 468641"/>
                    <a:gd name="connsiteY66" fmla="*/ 391452 h 1006224"/>
                    <a:gd name="connsiteX67" fmla="*/ 452919 w 468641"/>
                    <a:gd name="connsiteY67" fmla="*/ 399790 h 1006224"/>
                    <a:gd name="connsiteX68" fmla="*/ 447157 w 468641"/>
                    <a:gd name="connsiteY68" fmla="*/ 400364 h 1006224"/>
                    <a:gd name="connsiteX69" fmla="*/ 436254 w 468641"/>
                    <a:gd name="connsiteY69" fmla="*/ 415952 h 1006224"/>
                    <a:gd name="connsiteX70" fmla="*/ 441922 w 468641"/>
                    <a:gd name="connsiteY70" fmla="*/ 423822 h 1006224"/>
                    <a:gd name="connsiteX71" fmla="*/ 420877 w 468641"/>
                    <a:gd name="connsiteY71" fmla="*/ 432044 h 1006224"/>
                    <a:gd name="connsiteX72" fmla="*/ 413077 w 468641"/>
                    <a:gd name="connsiteY72" fmla="*/ 454554 h 1006224"/>
                    <a:gd name="connsiteX73" fmla="*/ 398683 w 468641"/>
                    <a:gd name="connsiteY73" fmla="*/ 450501 h 1006224"/>
                    <a:gd name="connsiteX74" fmla="*/ 390251 w 468641"/>
                    <a:gd name="connsiteY74" fmla="*/ 455069 h 1006224"/>
                    <a:gd name="connsiteX75" fmla="*/ 377684 w 468641"/>
                    <a:gd name="connsiteY75" fmla="*/ 451415 h 1006224"/>
                    <a:gd name="connsiteX76" fmla="*/ 371149 w 468641"/>
                    <a:gd name="connsiteY76" fmla="*/ 468420 h 1006224"/>
                    <a:gd name="connsiteX77" fmla="*/ 359567 w 468641"/>
                    <a:gd name="connsiteY77" fmla="*/ 466312 h 1006224"/>
                    <a:gd name="connsiteX78" fmla="*/ 355819 w 468641"/>
                    <a:gd name="connsiteY78" fmla="*/ 476255 h 1006224"/>
                    <a:gd name="connsiteX79" fmla="*/ 341683 w 468641"/>
                    <a:gd name="connsiteY79" fmla="*/ 484968 h 1006224"/>
                    <a:gd name="connsiteX80" fmla="*/ 326529 w 468641"/>
                    <a:gd name="connsiteY80" fmla="*/ 488739 h 1006224"/>
                    <a:gd name="connsiteX81" fmla="*/ 315039 w 468641"/>
                    <a:gd name="connsiteY81" fmla="*/ 489325 h 1006224"/>
                    <a:gd name="connsiteX82" fmla="*/ 308715 w 468641"/>
                    <a:gd name="connsiteY82" fmla="*/ 483996 h 1006224"/>
                    <a:gd name="connsiteX83" fmla="*/ 303984 w 468641"/>
                    <a:gd name="connsiteY83" fmla="*/ 488259 h 1006224"/>
                    <a:gd name="connsiteX84" fmla="*/ 297636 w 468641"/>
                    <a:gd name="connsiteY84" fmla="*/ 494982 h 1006224"/>
                    <a:gd name="connsiteX85" fmla="*/ 294017 w 468641"/>
                    <a:gd name="connsiteY85" fmla="*/ 501364 h 1006224"/>
                    <a:gd name="connsiteX86" fmla="*/ 293291 w 468641"/>
                    <a:gd name="connsiteY86" fmla="*/ 510218 h 1006224"/>
                    <a:gd name="connsiteX87" fmla="*/ 291300 w 468641"/>
                    <a:gd name="connsiteY87" fmla="*/ 511565 h 1006224"/>
                    <a:gd name="connsiteX88" fmla="*/ 293830 w 468641"/>
                    <a:gd name="connsiteY88" fmla="*/ 514704 h 1006224"/>
                    <a:gd name="connsiteX89" fmla="*/ 288489 w 468641"/>
                    <a:gd name="connsiteY89" fmla="*/ 527048 h 1006224"/>
                    <a:gd name="connsiteX90" fmla="*/ 288970 w 468641"/>
                    <a:gd name="connsiteY90" fmla="*/ 535363 h 1006224"/>
                    <a:gd name="connsiteX91" fmla="*/ 290832 w 468641"/>
                    <a:gd name="connsiteY91" fmla="*/ 547414 h 1006224"/>
                    <a:gd name="connsiteX92" fmla="*/ 269763 w 468641"/>
                    <a:gd name="connsiteY92" fmla="*/ 550202 h 1006224"/>
                    <a:gd name="connsiteX93" fmla="*/ 276298 w 468641"/>
                    <a:gd name="connsiteY93" fmla="*/ 563646 h 1006224"/>
                    <a:gd name="connsiteX94" fmla="*/ 280771 w 468641"/>
                    <a:gd name="connsiteY94" fmla="*/ 562100 h 1006224"/>
                    <a:gd name="connsiteX95" fmla="*/ 283805 w 468641"/>
                    <a:gd name="connsiteY95" fmla="*/ 567172 h 1006224"/>
                    <a:gd name="connsiteX96" fmla="*/ 288642 w 468641"/>
                    <a:gd name="connsiteY96" fmla="*/ 576880 h 1006224"/>
                    <a:gd name="connsiteX97" fmla="*/ 286698 w 468641"/>
                    <a:gd name="connsiteY97" fmla="*/ 589049 h 1006224"/>
                    <a:gd name="connsiteX98" fmla="*/ 300529 w 468641"/>
                    <a:gd name="connsiteY98" fmla="*/ 605363 h 1006224"/>
                    <a:gd name="connsiteX99" fmla="*/ 308856 w 468641"/>
                    <a:gd name="connsiteY99" fmla="*/ 617426 h 1006224"/>
                    <a:gd name="connsiteX100" fmla="*/ 319244 w 468641"/>
                    <a:gd name="connsiteY100" fmla="*/ 630203 h 1006224"/>
                    <a:gd name="connsiteX101" fmla="*/ 327137 w 468641"/>
                    <a:gd name="connsiteY101" fmla="*/ 634314 h 1006224"/>
                    <a:gd name="connsiteX102" fmla="*/ 330979 w 468641"/>
                    <a:gd name="connsiteY102" fmla="*/ 641704 h 1006224"/>
                    <a:gd name="connsiteX103" fmla="*/ 327325 w 468641"/>
                    <a:gd name="connsiteY103" fmla="*/ 647583 h 1006224"/>
                    <a:gd name="connsiteX104" fmla="*/ 333204 w 468641"/>
                    <a:gd name="connsiteY104" fmla="*/ 656566 h 1006224"/>
                    <a:gd name="connsiteX105" fmla="*/ 337877 w 468641"/>
                    <a:gd name="connsiteY105" fmla="*/ 671123 h 1006224"/>
                    <a:gd name="connsiteX106" fmla="*/ 347387 w 468641"/>
                    <a:gd name="connsiteY106" fmla="*/ 661976 h 1006224"/>
                    <a:gd name="connsiteX107" fmla="*/ 346942 w 468641"/>
                    <a:gd name="connsiteY107" fmla="*/ 680012 h 1006224"/>
                    <a:gd name="connsiteX108" fmla="*/ 337971 w 468641"/>
                    <a:gd name="connsiteY108" fmla="*/ 681043 h 1006224"/>
                    <a:gd name="connsiteX109" fmla="*/ 332138 w 468641"/>
                    <a:gd name="connsiteY109" fmla="*/ 684720 h 1006224"/>
                    <a:gd name="connsiteX110" fmla="*/ 331892 w 468641"/>
                    <a:gd name="connsiteY110" fmla="*/ 701725 h 1006224"/>
                    <a:gd name="connsiteX111" fmla="*/ 331424 w 468641"/>
                    <a:gd name="connsiteY111" fmla="*/ 723274 h 1006224"/>
                    <a:gd name="connsiteX112" fmla="*/ 324046 w 468641"/>
                    <a:gd name="connsiteY112" fmla="*/ 726905 h 1006224"/>
                    <a:gd name="connsiteX113" fmla="*/ 312838 w 468641"/>
                    <a:gd name="connsiteY113" fmla="*/ 728908 h 1006224"/>
                    <a:gd name="connsiteX114" fmla="*/ 314805 w 468641"/>
                    <a:gd name="connsiteY114" fmla="*/ 743711 h 1006224"/>
                    <a:gd name="connsiteX115" fmla="*/ 326318 w 468641"/>
                    <a:gd name="connsiteY115" fmla="*/ 763234 h 1006224"/>
                    <a:gd name="connsiteX116" fmla="*/ 339962 w 468641"/>
                    <a:gd name="connsiteY116" fmla="*/ 779490 h 1006224"/>
                    <a:gd name="connsiteX117" fmla="*/ 355854 w 468641"/>
                    <a:gd name="connsiteY117" fmla="*/ 796038 h 1006224"/>
                    <a:gd name="connsiteX118" fmla="*/ 365680 w 468641"/>
                    <a:gd name="connsiteY118" fmla="*/ 834862 h 1006224"/>
                    <a:gd name="connsiteX119" fmla="*/ 361160 w 468641"/>
                    <a:gd name="connsiteY119" fmla="*/ 840835 h 1006224"/>
                    <a:gd name="connsiteX120" fmla="*/ 363139 w 468641"/>
                    <a:gd name="connsiteY120" fmla="*/ 846878 h 1006224"/>
                    <a:gd name="connsiteX121" fmla="*/ 367460 w 468641"/>
                    <a:gd name="connsiteY121" fmla="*/ 862021 h 1006224"/>
                    <a:gd name="connsiteX122" fmla="*/ 373117 w 468641"/>
                    <a:gd name="connsiteY122" fmla="*/ 866893 h 1006224"/>
                    <a:gd name="connsiteX123" fmla="*/ 376056 w 468641"/>
                    <a:gd name="connsiteY123" fmla="*/ 874822 h 1006224"/>
                    <a:gd name="connsiteX124" fmla="*/ 379336 w 468641"/>
                    <a:gd name="connsiteY124" fmla="*/ 893162 h 1006224"/>
                    <a:gd name="connsiteX125" fmla="*/ 383868 w 468641"/>
                    <a:gd name="connsiteY125" fmla="*/ 894064 h 1006224"/>
                    <a:gd name="connsiteX126" fmla="*/ 384957 w 468641"/>
                    <a:gd name="connsiteY126" fmla="*/ 900037 h 1006224"/>
                    <a:gd name="connsiteX127" fmla="*/ 388225 w 468641"/>
                    <a:gd name="connsiteY127" fmla="*/ 911502 h 1006224"/>
                    <a:gd name="connsiteX128" fmla="*/ 382334 w 468641"/>
                    <a:gd name="connsiteY128" fmla="*/ 919571 h 1006224"/>
                    <a:gd name="connsiteX129" fmla="*/ 378715 w 468641"/>
                    <a:gd name="connsiteY129" fmla="*/ 924139 h 1006224"/>
                    <a:gd name="connsiteX130" fmla="*/ 371407 w 468641"/>
                    <a:gd name="connsiteY130" fmla="*/ 938029 h 1006224"/>
                    <a:gd name="connsiteX131" fmla="*/ 363818 w 468641"/>
                    <a:gd name="connsiteY131" fmla="*/ 950068 h 1006224"/>
                    <a:gd name="connsiteX132" fmla="*/ 359520 w 468641"/>
                    <a:gd name="connsiteY132" fmla="*/ 953500 h 1006224"/>
                    <a:gd name="connsiteX133" fmla="*/ 355819 w 468641"/>
                    <a:gd name="connsiteY133" fmla="*/ 955081 h 1006224"/>
                    <a:gd name="connsiteX134" fmla="*/ 351743 w 468641"/>
                    <a:gd name="connsiteY134" fmla="*/ 962974 h 1006224"/>
                    <a:gd name="connsiteX135" fmla="*/ 343053 w 468641"/>
                    <a:gd name="connsiteY135" fmla="*/ 970469 h 1006224"/>
                    <a:gd name="connsiteX136" fmla="*/ 344810 w 468641"/>
                    <a:gd name="connsiteY136" fmla="*/ 979218 h 1006224"/>
                    <a:gd name="connsiteX137" fmla="*/ 341707 w 468641"/>
                    <a:gd name="connsiteY137" fmla="*/ 987803 h 1006224"/>
                    <a:gd name="connsiteX138" fmla="*/ 331904 w 468641"/>
                    <a:gd name="connsiteY138" fmla="*/ 1006225 h 1006224"/>
                    <a:gd name="connsiteX139" fmla="*/ 331143 w 468641"/>
                    <a:gd name="connsiteY139" fmla="*/ 987217 h 1006224"/>
                    <a:gd name="connsiteX140" fmla="*/ 331143 w 468641"/>
                    <a:gd name="connsiteY140" fmla="*/ 969029 h 1006224"/>
                    <a:gd name="connsiteX141" fmla="*/ 330756 w 468641"/>
                    <a:gd name="connsiteY141" fmla="*/ 966511 h 1006224"/>
                    <a:gd name="connsiteX142" fmla="*/ 332958 w 468641"/>
                    <a:gd name="connsiteY142" fmla="*/ 967237 h 1006224"/>
                    <a:gd name="connsiteX143" fmla="*/ 336483 w 468641"/>
                    <a:gd name="connsiteY143" fmla="*/ 960714 h 1006224"/>
                    <a:gd name="connsiteX144" fmla="*/ 340840 w 468641"/>
                    <a:gd name="connsiteY144" fmla="*/ 956357 h 1006224"/>
                    <a:gd name="connsiteX145" fmla="*/ 337912 w 468641"/>
                    <a:gd name="connsiteY145" fmla="*/ 945864 h 1006224"/>
                    <a:gd name="connsiteX146" fmla="*/ 341507 w 468641"/>
                    <a:gd name="connsiteY146" fmla="*/ 932489 h 1006224"/>
                    <a:gd name="connsiteX147" fmla="*/ 344002 w 468641"/>
                    <a:gd name="connsiteY147" fmla="*/ 928882 h 1006224"/>
                    <a:gd name="connsiteX148" fmla="*/ 350092 w 468641"/>
                    <a:gd name="connsiteY148" fmla="*/ 916187 h 1006224"/>
                    <a:gd name="connsiteX149" fmla="*/ 345782 w 468641"/>
                    <a:gd name="connsiteY149" fmla="*/ 907848 h 1006224"/>
                    <a:gd name="connsiteX150" fmla="*/ 339985 w 468641"/>
                    <a:gd name="connsiteY150" fmla="*/ 916269 h 1006224"/>
                    <a:gd name="connsiteX151" fmla="*/ 336565 w 468641"/>
                    <a:gd name="connsiteY151" fmla="*/ 910940 h 1006224"/>
                    <a:gd name="connsiteX152" fmla="*/ 335066 w 468641"/>
                    <a:gd name="connsiteY152" fmla="*/ 910378 h 1006224"/>
                    <a:gd name="connsiteX153" fmla="*/ 340442 w 468641"/>
                    <a:gd name="connsiteY153" fmla="*/ 906407 h 1006224"/>
                    <a:gd name="connsiteX154" fmla="*/ 332220 w 468641"/>
                    <a:gd name="connsiteY154" fmla="*/ 906407 h 1006224"/>
                    <a:gd name="connsiteX155" fmla="*/ 340758 w 468641"/>
                    <a:gd name="connsiteY155" fmla="*/ 896617 h 1006224"/>
                    <a:gd name="connsiteX156" fmla="*/ 338697 w 468641"/>
                    <a:gd name="connsiteY156" fmla="*/ 891558 h 1006224"/>
                    <a:gd name="connsiteX157" fmla="*/ 334246 w 468641"/>
                    <a:gd name="connsiteY157" fmla="*/ 884261 h 1006224"/>
                    <a:gd name="connsiteX158" fmla="*/ 340430 w 468641"/>
                    <a:gd name="connsiteY158" fmla="*/ 881568 h 1006224"/>
                    <a:gd name="connsiteX159" fmla="*/ 335956 w 468641"/>
                    <a:gd name="connsiteY159" fmla="*/ 878089 h 1006224"/>
                    <a:gd name="connsiteX160" fmla="*/ 340594 w 468641"/>
                    <a:gd name="connsiteY160" fmla="*/ 872866 h 1006224"/>
                    <a:gd name="connsiteX161" fmla="*/ 339540 w 468641"/>
                    <a:gd name="connsiteY161" fmla="*/ 861424 h 1006224"/>
                    <a:gd name="connsiteX162" fmla="*/ 337045 w 468641"/>
                    <a:gd name="connsiteY162" fmla="*/ 861424 h 1006224"/>
                    <a:gd name="connsiteX163" fmla="*/ 338978 w 468641"/>
                    <a:gd name="connsiteY163" fmla="*/ 859936 h 1006224"/>
                    <a:gd name="connsiteX164" fmla="*/ 335792 w 468641"/>
                    <a:gd name="connsiteY164" fmla="*/ 858812 h 1006224"/>
                    <a:gd name="connsiteX165" fmla="*/ 335066 w 468641"/>
                    <a:gd name="connsiteY165" fmla="*/ 848190 h 1006224"/>
                    <a:gd name="connsiteX166" fmla="*/ 334188 w 468641"/>
                    <a:gd name="connsiteY166" fmla="*/ 841748 h 1006224"/>
                    <a:gd name="connsiteX167" fmla="*/ 329128 w 468641"/>
                    <a:gd name="connsiteY167" fmla="*/ 831220 h 1006224"/>
                    <a:gd name="connsiteX168" fmla="*/ 328262 w 468641"/>
                    <a:gd name="connsiteY168" fmla="*/ 825106 h 1006224"/>
                    <a:gd name="connsiteX169" fmla="*/ 327196 w 468641"/>
                    <a:gd name="connsiteY169" fmla="*/ 826886 h 1006224"/>
                    <a:gd name="connsiteX170" fmla="*/ 318623 w 468641"/>
                    <a:gd name="connsiteY170" fmla="*/ 810139 h 1006224"/>
                    <a:gd name="connsiteX171" fmla="*/ 319349 w 468641"/>
                    <a:gd name="connsiteY171" fmla="*/ 809811 h 1006224"/>
                    <a:gd name="connsiteX172" fmla="*/ 313271 w 468641"/>
                    <a:gd name="connsiteY172" fmla="*/ 790475 h 1006224"/>
                    <a:gd name="connsiteX173" fmla="*/ 313318 w 468641"/>
                    <a:gd name="connsiteY173" fmla="*/ 818150 h 1006224"/>
                    <a:gd name="connsiteX174" fmla="*/ 311104 w 468641"/>
                    <a:gd name="connsiteY174" fmla="*/ 818513 h 1006224"/>
                    <a:gd name="connsiteX175" fmla="*/ 308973 w 468641"/>
                    <a:gd name="connsiteY175" fmla="*/ 809811 h 1006224"/>
                    <a:gd name="connsiteX176" fmla="*/ 309324 w 468641"/>
                    <a:gd name="connsiteY176" fmla="*/ 805068 h 1006224"/>
                    <a:gd name="connsiteX177" fmla="*/ 307755 w 468641"/>
                    <a:gd name="connsiteY177" fmla="*/ 796999 h 1006224"/>
                    <a:gd name="connsiteX178" fmla="*/ 309324 w 468641"/>
                    <a:gd name="connsiteY178" fmla="*/ 787383 h 1006224"/>
                    <a:gd name="connsiteX179" fmla="*/ 303597 w 468641"/>
                    <a:gd name="connsiteY179" fmla="*/ 768985 h 1006224"/>
                    <a:gd name="connsiteX180" fmla="*/ 305014 w 468641"/>
                    <a:gd name="connsiteY180" fmla="*/ 759475 h 1006224"/>
                    <a:gd name="connsiteX181" fmla="*/ 303597 w 468641"/>
                    <a:gd name="connsiteY181" fmla="*/ 755505 h 1006224"/>
                    <a:gd name="connsiteX182" fmla="*/ 300962 w 468641"/>
                    <a:gd name="connsiteY182" fmla="*/ 751394 h 1006224"/>
                    <a:gd name="connsiteX183" fmla="*/ 299978 w 468641"/>
                    <a:gd name="connsiteY183" fmla="*/ 753888 h 1006224"/>
                    <a:gd name="connsiteX184" fmla="*/ 298210 w 468641"/>
                    <a:gd name="connsiteY184" fmla="*/ 751464 h 1006224"/>
                    <a:gd name="connsiteX185" fmla="*/ 291816 w 468641"/>
                    <a:gd name="connsiteY185" fmla="*/ 739753 h 1006224"/>
                    <a:gd name="connsiteX186" fmla="*/ 293572 w 468641"/>
                    <a:gd name="connsiteY186" fmla="*/ 739026 h 1006224"/>
                    <a:gd name="connsiteX187" fmla="*/ 294322 w 468641"/>
                    <a:gd name="connsiteY187" fmla="*/ 729517 h 1006224"/>
                    <a:gd name="connsiteX188" fmla="*/ 289473 w 468641"/>
                    <a:gd name="connsiteY188" fmla="*/ 722056 h 1006224"/>
                    <a:gd name="connsiteX189" fmla="*/ 291640 w 468641"/>
                    <a:gd name="connsiteY189" fmla="*/ 719808 h 1006224"/>
                    <a:gd name="connsiteX190" fmla="*/ 291148 w 468641"/>
                    <a:gd name="connsiteY190" fmla="*/ 713776 h 1006224"/>
                    <a:gd name="connsiteX191" fmla="*/ 289309 w 468641"/>
                    <a:gd name="connsiteY191" fmla="*/ 698282 h 1006224"/>
                    <a:gd name="connsiteX192" fmla="*/ 282505 w 468641"/>
                    <a:gd name="connsiteY192" fmla="*/ 687461 h 1006224"/>
                    <a:gd name="connsiteX193" fmla="*/ 284004 w 468641"/>
                    <a:gd name="connsiteY193" fmla="*/ 678982 h 1006224"/>
                    <a:gd name="connsiteX194" fmla="*/ 290035 w 468641"/>
                    <a:gd name="connsiteY194" fmla="*/ 657327 h 1006224"/>
                    <a:gd name="connsiteX195" fmla="*/ 270735 w 468641"/>
                    <a:gd name="connsiteY195" fmla="*/ 661379 h 1006224"/>
                    <a:gd name="connsiteX196" fmla="*/ 268627 w 468641"/>
                    <a:gd name="connsiteY196" fmla="*/ 650862 h 1006224"/>
                    <a:gd name="connsiteX197" fmla="*/ 263965 w 468641"/>
                    <a:gd name="connsiteY197" fmla="*/ 640416 h 1006224"/>
                    <a:gd name="connsiteX198" fmla="*/ 262876 w 468641"/>
                    <a:gd name="connsiteY198" fmla="*/ 643015 h 1006224"/>
                    <a:gd name="connsiteX199" fmla="*/ 262876 w 468641"/>
                    <a:gd name="connsiteY199" fmla="*/ 638987 h 1006224"/>
                    <a:gd name="connsiteX200" fmla="*/ 265043 w 468641"/>
                    <a:gd name="connsiteY200" fmla="*/ 627931 h 1006224"/>
                    <a:gd name="connsiteX201" fmla="*/ 258239 w 468641"/>
                    <a:gd name="connsiteY201" fmla="*/ 629430 h 1006224"/>
                    <a:gd name="connsiteX202" fmla="*/ 254748 w 468641"/>
                    <a:gd name="connsiteY202" fmla="*/ 620061 h 1006224"/>
                    <a:gd name="connsiteX203" fmla="*/ 245332 w 468641"/>
                    <a:gd name="connsiteY203" fmla="*/ 609122 h 1006224"/>
                    <a:gd name="connsiteX204" fmla="*/ 243915 w 468641"/>
                    <a:gd name="connsiteY204" fmla="*/ 612823 h 1006224"/>
                    <a:gd name="connsiteX205" fmla="*/ 243189 w 468641"/>
                    <a:gd name="connsiteY205" fmla="*/ 611710 h 1006224"/>
                    <a:gd name="connsiteX206" fmla="*/ 242112 w 468641"/>
                    <a:gd name="connsiteY206" fmla="*/ 612472 h 1006224"/>
                    <a:gd name="connsiteX207" fmla="*/ 243646 w 468641"/>
                    <a:gd name="connsiteY207" fmla="*/ 622836 h 1006224"/>
                    <a:gd name="connsiteX208" fmla="*/ 242838 w 468641"/>
                    <a:gd name="connsiteY208" fmla="*/ 637101 h 1006224"/>
                    <a:gd name="connsiteX209" fmla="*/ 243915 w 468641"/>
                    <a:gd name="connsiteY209" fmla="*/ 638975 h 1006224"/>
                    <a:gd name="connsiteX210" fmla="*/ 241397 w 468641"/>
                    <a:gd name="connsiteY210" fmla="*/ 638577 h 1006224"/>
                    <a:gd name="connsiteX211" fmla="*/ 229908 w 468641"/>
                    <a:gd name="connsiteY211" fmla="*/ 660091 h 1006224"/>
                    <a:gd name="connsiteX212" fmla="*/ 214238 w 468641"/>
                    <a:gd name="connsiteY212" fmla="*/ 643706 h 1006224"/>
                    <a:gd name="connsiteX213" fmla="*/ 208183 w 468641"/>
                    <a:gd name="connsiteY213" fmla="*/ 645931 h 1006224"/>
                    <a:gd name="connsiteX214" fmla="*/ 211978 w 468641"/>
                    <a:gd name="connsiteY214" fmla="*/ 654083 h 1006224"/>
                    <a:gd name="connsiteX215" fmla="*/ 215890 w 468641"/>
                    <a:gd name="connsiteY215" fmla="*/ 662679 h 1006224"/>
                    <a:gd name="connsiteX216" fmla="*/ 199599 w 468641"/>
                    <a:gd name="connsiteY216" fmla="*/ 666509 h 1006224"/>
                    <a:gd name="connsiteX217" fmla="*/ 196249 w 468641"/>
                    <a:gd name="connsiteY217" fmla="*/ 675538 h 1006224"/>
                    <a:gd name="connsiteX218" fmla="*/ 196730 w 468641"/>
                    <a:gd name="connsiteY218" fmla="*/ 673465 h 1006224"/>
                    <a:gd name="connsiteX219" fmla="*/ 193158 w 468641"/>
                    <a:gd name="connsiteY219" fmla="*/ 676065 h 1006224"/>
                    <a:gd name="connsiteX220" fmla="*/ 193509 w 468641"/>
                    <a:gd name="connsiteY220" fmla="*/ 674192 h 1006224"/>
                    <a:gd name="connsiteX221" fmla="*/ 184913 w 468641"/>
                    <a:gd name="connsiteY221" fmla="*/ 675339 h 1006224"/>
                    <a:gd name="connsiteX222" fmla="*/ 164136 w 468641"/>
                    <a:gd name="connsiteY222" fmla="*/ 702147 h 1006224"/>
                    <a:gd name="connsiteX223" fmla="*/ 165179 w 468641"/>
                    <a:gd name="connsiteY223" fmla="*/ 690634 h 1006224"/>
                    <a:gd name="connsiteX224" fmla="*/ 165952 w 468641"/>
                    <a:gd name="connsiteY224" fmla="*/ 679321 h 1006224"/>
                    <a:gd name="connsiteX225" fmla="*/ 160225 w 468641"/>
                    <a:gd name="connsiteY225" fmla="*/ 694300 h 1006224"/>
                    <a:gd name="connsiteX226" fmla="*/ 161349 w 468641"/>
                    <a:gd name="connsiteY226" fmla="*/ 687063 h 1006224"/>
                    <a:gd name="connsiteX227" fmla="*/ 155774 w 468641"/>
                    <a:gd name="connsiteY227" fmla="*/ 698996 h 1006224"/>
                    <a:gd name="connsiteX228" fmla="*/ 153819 w 468641"/>
                    <a:gd name="connsiteY228" fmla="*/ 685200 h 1006224"/>
                    <a:gd name="connsiteX229" fmla="*/ 152718 w 468641"/>
                    <a:gd name="connsiteY229" fmla="*/ 688128 h 1006224"/>
                    <a:gd name="connsiteX230" fmla="*/ 158878 w 468641"/>
                    <a:gd name="connsiteY230" fmla="*/ 680844 h 1006224"/>
                    <a:gd name="connsiteX231" fmla="*/ 153807 w 468641"/>
                    <a:gd name="connsiteY231" fmla="*/ 679321 h 1006224"/>
                    <a:gd name="connsiteX232" fmla="*/ 139097 w 468641"/>
                    <a:gd name="connsiteY232" fmla="*/ 698458 h 1006224"/>
                    <a:gd name="connsiteX233" fmla="*/ 140959 w 468641"/>
                    <a:gd name="connsiteY233" fmla="*/ 694359 h 1006224"/>
                    <a:gd name="connsiteX234" fmla="*/ 139425 w 468641"/>
                    <a:gd name="connsiteY234" fmla="*/ 695799 h 1006224"/>
                    <a:gd name="connsiteX235" fmla="*/ 143114 w 468641"/>
                    <a:gd name="connsiteY235" fmla="*/ 685200 h 1006224"/>
                    <a:gd name="connsiteX236" fmla="*/ 141311 w 468641"/>
                    <a:gd name="connsiteY236" fmla="*/ 686336 h 1006224"/>
                    <a:gd name="connsiteX237" fmla="*/ 146674 w 468641"/>
                    <a:gd name="connsiteY237" fmla="*/ 673852 h 1006224"/>
                    <a:gd name="connsiteX238" fmla="*/ 140854 w 468641"/>
                    <a:gd name="connsiteY238" fmla="*/ 677108 h 1006224"/>
                    <a:gd name="connsiteX239" fmla="*/ 139940 w 468641"/>
                    <a:gd name="connsiteY239" fmla="*/ 684451 h 1006224"/>
                    <a:gd name="connsiteX240" fmla="*/ 128065 w 468641"/>
                    <a:gd name="connsiteY240" fmla="*/ 692180 h 1006224"/>
                    <a:gd name="connsiteX241" fmla="*/ 126285 w 468641"/>
                    <a:gd name="connsiteY241" fmla="*/ 691478 h 1006224"/>
                    <a:gd name="connsiteX242" fmla="*/ 136310 w 468641"/>
                    <a:gd name="connsiteY242" fmla="*/ 678583 h 1006224"/>
                    <a:gd name="connsiteX243" fmla="*/ 124587 w 468641"/>
                    <a:gd name="connsiteY243" fmla="*/ 688842 h 1006224"/>
                    <a:gd name="connsiteX244" fmla="*/ 130630 w 468641"/>
                    <a:gd name="connsiteY244" fmla="*/ 676651 h 1006224"/>
                    <a:gd name="connsiteX245" fmla="*/ 133124 w 468641"/>
                    <a:gd name="connsiteY245" fmla="*/ 667961 h 1006224"/>
                    <a:gd name="connsiteX246" fmla="*/ 133124 w 468641"/>
                    <a:gd name="connsiteY246" fmla="*/ 659177 h 1006224"/>
                    <a:gd name="connsiteX247" fmla="*/ 130232 w 468641"/>
                    <a:gd name="connsiteY247" fmla="*/ 658779 h 1006224"/>
                    <a:gd name="connsiteX248" fmla="*/ 125371 w 468641"/>
                    <a:gd name="connsiteY248" fmla="*/ 674601 h 1006224"/>
                    <a:gd name="connsiteX249" fmla="*/ 127772 w 468641"/>
                    <a:gd name="connsiteY249" fmla="*/ 668839 h 1006224"/>
                    <a:gd name="connsiteX250" fmla="*/ 122104 w 468641"/>
                    <a:gd name="connsiteY250" fmla="*/ 671451 h 1006224"/>
                    <a:gd name="connsiteX251" fmla="*/ 109608 w 468641"/>
                    <a:gd name="connsiteY251" fmla="*/ 687695 h 1006224"/>
                    <a:gd name="connsiteX252" fmla="*/ 109174 w 468641"/>
                    <a:gd name="connsiteY252" fmla="*/ 658463 h 1006224"/>
                    <a:gd name="connsiteX253" fmla="*/ 114398 w 468641"/>
                    <a:gd name="connsiteY253" fmla="*/ 648215 h 1006224"/>
                    <a:gd name="connsiteX254" fmla="*/ 119164 w 468641"/>
                    <a:gd name="connsiteY254" fmla="*/ 636398 h 1006224"/>
                    <a:gd name="connsiteX255" fmla="*/ 120370 w 468641"/>
                    <a:gd name="connsiteY255" fmla="*/ 624078 h 1006224"/>
                    <a:gd name="connsiteX256" fmla="*/ 122162 w 468641"/>
                    <a:gd name="connsiteY256" fmla="*/ 622368 h 1006224"/>
                    <a:gd name="connsiteX257" fmla="*/ 123415 w 468641"/>
                    <a:gd name="connsiteY257" fmla="*/ 616536 h 1006224"/>
                    <a:gd name="connsiteX258" fmla="*/ 125933 w 468641"/>
                    <a:gd name="connsiteY258" fmla="*/ 618000 h 1006224"/>
                    <a:gd name="connsiteX259" fmla="*/ 124153 w 468641"/>
                    <a:gd name="connsiteY259" fmla="*/ 602423 h 1006224"/>
                    <a:gd name="connsiteX260" fmla="*/ 127011 w 468641"/>
                    <a:gd name="connsiteY260" fmla="*/ 604391 h 1006224"/>
                    <a:gd name="connsiteX261" fmla="*/ 120558 w 468641"/>
                    <a:gd name="connsiteY261" fmla="*/ 589002 h 1006224"/>
                    <a:gd name="connsiteX262" fmla="*/ 118942 w 468641"/>
                    <a:gd name="connsiteY262" fmla="*/ 572173 h 1006224"/>
                    <a:gd name="connsiteX263" fmla="*/ 114925 w 468641"/>
                    <a:gd name="connsiteY263" fmla="*/ 566539 h 1006224"/>
                    <a:gd name="connsiteX264" fmla="*/ 111926 w 468641"/>
                    <a:gd name="connsiteY264" fmla="*/ 564771 h 1006224"/>
                    <a:gd name="connsiteX265" fmla="*/ 113999 w 468641"/>
                    <a:gd name="connsiteY265" fmla="*/ 563857 h 1006224"/>
                    <a:gd name="connsiteX266" fmla="*/ 116248 w 468641"/>
                    <a:gd name="connsiteY266" fmla="*/ 563307 h 1006224"/>
                    <a:gd name="connsiteX267" fmla="*/ 114292 w 468641"/>
                    <a:gd name="connsiteY267" fmla="*/ 560156 h 1006224"/>
                    <a:gd name="connsiteX268" fmla="*/ 107698 w 468641"/>
                    <a:gd name="connsiteY268" fmla="*/ 550869 h 1006224"/>
                    <a:gd name="connsiteX269" fmla="*/ 102674 w 468641"/>
                    <a:gd name="connsiteY269" fmla="*/ 540118 h 1006224"/>
                    <a:gd name="connsiteX270" fmla="*/ 109479 w 468641"/>
                    <a:gd name="connsiteY270" fmla="*/ 540118 h 1006224"/>
                    <a:gd name="connsiteX271" fmla="*/ 102674 w 468641"/>
                    <a:gd name="connsiteY271" fmla="*/ 533114 h 1006224"/>
                    <a:gd name="connsiteX272" fmla="*/ 99840 w 468641"/>
                    <a:gd name="connsiteY272" fmla="*/ 521262 h 1006224"/>
                    <a:gd name="connsiteX273" fmla="*/ 98400 w 468641"/>
                    <a:gd name="connsiteY273" fmla="*/ 504948 h 1006224"/>
                    <a:gd name="connsiteX274" fmla="*/ 91021 w 468641"/>
                    <a:gd name="connsiteY274" fmla="*/ 514622 h 1006224"/>
                    <a:gd name="connsiteX275" fmla="*/ 91291 w 468641"/>
                    <a:gd name="connsiteY275" fmla="*/ 533641 h 1006224"/>
                    <a:gd name="connsiteX276" fmla="*/ 76698 w 468641"/>
                    <a:gd name="connsiteY276" fmla="*/ 520115 h 1006224"/>
                    <a:gd name="connsiteX277" fmla="*/ 72377 w 468641"/>
                    <a:gd name="connsiteY277" fmla="*/ 504000 h 1006224"/>
                    <a:gd name="connsiteX278" fmla="*/ 89557 w 468641"/>
                    <a:gd name="connsiteY278" fmla="*/ 511027 h 1006224"/>
                    <a:gd name="connsiteX279" fmla="*/ 94277 w 468641"/>
                    <a:gd name="connsiteY279" fmla="*/ 504093 h 1006224"/>
                    <a:gd name="connsiteX280" fmla="*/ 91630 w 468641"/>
                    <a:gd name="connsiteY280" fmla="*/ 499374 h 1006224"/>
                    <a:gd name="connsiteX281" fmla="*/ 84486 w 468641"/>
                    <a:gd name="connsiteY281" fmla="*/ 490461 h 1006224"/>
                    <a:gd name="connsiteX282" fmla="*/ 84826 w 468641"/>
                    <a:gd name="connsiteY282" fmla="*/ 485624 h 1006224"/>
                    <a:gd name="connsiteX283" fmla="*/ 81957 w 468641"/>
                    <a:gd name="connsiteY283" fmla="*/ 484547 h 1006224"/>
                    <a:gd name="connsiteX284" fmla="*/ 75890 w 468641"/>
                    <a:gd name="connsiteY284" fmla="*/ 484886 h 1006224"/>
                    <a:gd name="connsiteX285" fmla="*/ 74122 w 468641"/>
                    <a:gd name="connsiteY285" fmla="*/ 487100 h 1006224"/>
                    <a:gd name="connsiteX286" fmla="*/ 81230 w 468641"/>
                    <a:gd name="connsiteY286" fmla="*/ 478211 h 1006224"/>
                    <a:gd name="connsiteX287" fmla="*/ 81617 w 468641"/>
                    <a:gd name="connsiteY287" fmla="*/ 476360 h 1006224"/>
                    <a:gd name="connsiteX288" fmla="*/ 71252 w 468641"/>
                    <a:gd name="connsiteY288" fmla="*/ 477098 h 1006224"/>
                    <a:gd name="connsiteX289" fmla="*/ 72259 w 468641"/>
                    <a:gd name="connsiteY289" fmla="*/ 476360 h 1006224"/>
                    <a:gd name="connsiteX290" fmla="*/ 70140 w 468641"/>
                    <a:gd name="connsiteY290" fmla="*/ 471886 h 1006224"/>
                    <a:gd name="connsiteX291" fmla="*/ 68406 w 468641"/>
                    <a:gd name="connsiteY291" fmla="*/ 473737 h 1006224"/>
                    <a:gd name="connsiteX292" fmla="*/ 67270 w 468641"/>
                    <a:gd name="connsiteY292" fmla="*/ 472660 h 1006224"/>
                    <a:gd name="connsiteX293" fmla="*/ 62281 w 468641"/>
                    <a:gd name="connsiteY293" fmla="*/ 467038 h 1006224"/>
                    <a:gd name="connsiteX294" fmla="*/ 61590 w 468641"/>
                    <a:gd name="connsiteY294" fmla="*/ 470411 h 1006224"/>
                    <a:gd name="connsiteX295" fmla="*/ 60489 w 468641"/>
                    <a:gd name="connsiteY295" fmla="*/ 466300 h 1006224"/>
                    <a:gd name="connsiteX296" fmla="*/ 49422 w 468641"/>
                    <a:gd name="connsiteY296" fmla="*/ 466710 h 1006224"/>
                    <a:gd name="connsiteX297" fmla="*/ 55161 w 468641"/>
                    <a:gd name="connsiteY297" fmla="*/ 481560 h 1006224"/>
                    <a:gd name="connsiteX298" fmla="*/ 48321 w 468641"/>
                    <a:gd name="connsiteY298" fmla="*/ 472589 h 1006224"/>
                    <a:gd name="connsiteX299" fmla="*/ 51530 w 468641"/>
                    <a:gd name="connsiteY299" fmla="*/ 482310 h 1006224"/>
                    <a:gd name="connsiteX300" fmla="*/ 41154 w 468641"/>
                    <a:gd name="connsiteY300" fmla="*/ 464836 h 1006224"/>
                    <a:gd name="connsiteX301" fmla="*/ 46892 w 468641"/>
                    <a:gd name="connsiteY301" fmla="*/ 462611 h 1006224"/>
                    <a:gd name="connsiteX302" fmla="*/ 47618 w 468641"/>
                    <a:gd name="connsiteY302" fmla="*/ 463724 h 1006224"/>
                    <a:gd name="connsiteX303" fmla="*/ 49024 w 468641"/>
                    <a:gd name="connsiteY303" fmla="*/ 460023 h 1006224"/>
                    <a:gd name="connsiteX304" fmla="*/ 47935 w 468641"/>
                    <a:gd name="connsiteY304" fmla="*/ 448452 h 1006224"/>
                    <a:gd name="connsiteX305" fmla="*/ 46529 w 468641"/>
                    <a:gd name="connsiteY305" fmla="*/ 441741 h 1006224"/>
                    <a:gd name="connsiteX306" fmla="*/ 38401 w 468641"/>
                    <a:gd name="connsiteY306" fmla="*/ 462435 h 1006224"/>
                    <a:gd name="connsiteX307" fmla="*/ 39725 w 468641"/>
                    <a:gd name="connsiteY307" fmla="*/ 454425 h 1006224"/>
                    <a:gd name="connsiteX308" fmla="*/ 31890 w 468641"/>
                    <a:gd name="connsiteY308" fmla="*/ 444364 h 1006224"/>
                    <a:gd name="connsiteX309" fmla="*/ 30672 w 468641"/>
                    <a:gd name="connsiteY309" fmla="*/ 447152 h 1006224"/>
                    <a:gd name="connsiteX310" fmla="*/ 31187 w 468641"/>
                    <a:gd name="connsiteY310" fmla="*/ 445887 h 1006224"/>
                    <a:gd name="connsiteX311" fmla="*/ 23657 w 468641"/>
                    <a:gd name="connsiteY311" fmla="*/ 433929 h 1006224"/>
                    <a:gd name="connsiteX312" fmla="*/ 28681 w 468641"/>
                    <a:gd name="connsiteY312" fmla="*/ 457786 h 1006224"/>
                    <a:gd name="connsiteX313" fmla="*/ 17520 w 468641"/>
                    <a:gd name="connsiteY313" fmla="*/ 439551 h 1006224"/>
                    <a:gd name="connsiteX314" fmla="*/ 9638 w 468641"/>
                    <a:gd name="connsiteY314" fmla="*/ 431458 h 1006224"/>
                    <a:gd name="connsiteX315" fmla="*/ 1768 w 468641"/>
                    <a:gd name="connsiteY315" fmla="*/ 411127 h 1006224"/>
                    <a:gd name="connsiteX316" fmla="*/ 1932 w 468641"/>
                    <a:gd name="connsiteY316" fmla="*/ 396956 h 1006224"/>
                    <a:gd name="connsiteX317" fmla="*/ 6874 w 468641"/>
                    <a:gd name="connsiteY317" fmla="*/ 392834 h 1006224"/>
                    <a:gd name="connsiteX318" fmla="*/ 10669 w 468641"/>
                    <a:gd name="connsiteY318" fmla="*/ 396745 h 1006224"/>
                    <a:gd name="connsiteX319" fmla="*/ 16559 w 468641"/>
                    <a:gd name="connsiteY319" fmla="*/ 397483 h 1006224"/>
                    <a:gd name="connsiteX320" fmla="*/ 19722 w 468641"/>
                    <a:gd name="connsiteY320" fmla="*/ 403327 h 1006224"/>
                    <a:gd name="connsiteX321" fmla="*/ 21373 w 468641"/>
                    <a:gd name="connsiteY321" fmla="*/ 390796 h 1006224"/>
                    <a:gd name="connsiteX322" fmla="*/ 20998 w 468641"/>
                    <a:gd name="connsiteY322" fmla="*/ 363953 h 1006224"/>
                    <a:gd name="connsiteX323" fmla="*/ 25753 w 468641"/>
                    <a:gd name="connsiteY323" fmla="*/ 357078 h 1006224"/>
                    <a:gd name="connsiteX324" fmla="*/ 31667 w 468641"/>
                    <a:gd name="connsiteY324" fmla="*/ 357992 h 1006224"/>
                    <a:gd name="connsiteX325" fmla="*/ 36329 w 468641"/>
                    <a:gd name="connsiteY325" fmla="*/ 365241 h 1006224"/>
                    <a:gd name="connsiteX326" fmla="*/ 40392 w 468641"/>
                    <a:gd name="connsiteY326" fmla="*/ 363449 h 1006224"/>
                    <a:gd name="connsiteX327" fmla="*/ 40990 w 468641"/>
                    <a:gd name="connsiteY327" fmla="*/ 360533 h 1006224"/>
                    <a:gd name="connsiteX328" fmla="*/ 50101 w 468641"/>
                    <a:gd name="connsiteY328" fmla="*/ 352628 h 1006224"/>
                    <a:gd name="connsiteX329" fmla="*/ 50710 w 468641"/>
                    <a:gd name="connsiteY329" fmla="*/ 339417 h 1006224"/>
                    <a:gd name="connsiteX330" fmla="*/ 46881 w 468641"/>
                    <a:gd name="connsiteY330" fmla="*/ 326816 h 1006224"/>
                    <a:gd name="connsiteX331" fmla="*/ 51858 w 468641"/>
                    <a:gd name="connsiteY331" fmla="*/ 314542 h 1006224"/>
                    <a:gd name="connsiteX332" fmla="*/ 52971 w 468641"/>
                    <a:gd name="connsiteY332" fmla="*/ 305079 h 1006224"/>
                    <a:gd name="connsiteX333" fmla="*/ 61169 w 468641"/>
                    <a:gd name="connsiteY333" fmla="*/ 303065 h 1006224"/>
                    <a:gd name="connsiteX334" fmla="*/ 63804 w 468641"/>
                    <a:gd name="connsiteY334" fmla="*/ 287032 h 1006224"/>
                    <a:gd name="connsiteX335" fmla="*/ 63089 w 468641"/>
                    <a:gd name="connsiteY335" fmla="*/ 267907 h 1006224"/>
                    <a:gd name="connsiteX336" fmla="*/ 58452 w 468641"/>
                    <a:gd name="connsiteY336" fmla="*/ 252014 h 1006224"/>
                    <a:gd name="connsiteX337" fmla="*/ 65818 w 468641"/>
                    <a:gd name="connsiteY337" fmla="*/ 253560 h 1006224"/>
                    <a:gd name="connsiteX338" fmla="*/ 73290 w 468641"/>
                    <a:gd name="connsiteY338" fmla="*/ 253642 h 1006224"/>
                    <a:gd name="connsiteX339" fmla="*/ 89546 w 468641"/>
                    <a:gd name="connsiteY339" fmla="*/ 256102 h 1006224"/>
                    <a:gd name="connsiteX340" fmla="*/ 101339 w 468641"/>
                    <a:gd name="connsiteY340" fmla="*/ 261337 h 1006224"/>
                    <a:gd name="connsiteX341" fmla="*/ 111798 w 468641"/>
                    <a:gd name="connsiteY341" fmla="*/ 233299 h 1006224"/>
                    <a:gd name="connsiteX342" fmla="*/ 125922 w 468641"/>
                    <a:gd name="connsiteY342" fmla="*/ 209150 h 1006224"/>
                    <a:gd name="connsiteX343" fmla="*/ 131965 w 468641"/>
                    <a:gd name="connsiteY343" fmla="*/ 192613 h 1006224"/>
                    <a:gd name="connsiteX344" fmla="*/ 125547 w 468641"/>
                    <a:gd name="connsiteY344" fmla="*/ 178595 h 1006224"/>
                    <a:gd name="connsiteX345" fmla="*/ 144332 w 468641"/>
                    <a:gd name="connsiteY345" fmla="*/ 158674 h 1006224"/>
                    <a:gd name="connsiteX346" fmla="*/ 147811 w 468641"/>
                    <a:gd name="connsiteY346" fmla="*/ 154914 h 1006224"/>
                    <a:gd name="connsiteX347" fmla="*/ 147705 w 468641"/>
                    <a:gd name="connsiteY347" fmla="*/ 145756 h 1006224"/>
                    <a:gd name="connsiteX348" fmla="*/ 154498 w 468641"/>
                    <a:gd name="connsiteY348" fmla="*/ 139947 h 1006224"/>
                    <a:gd name="connsiteX349" fmla="*/ 151418 w 468641"/>
                    <a:gd name="connsiteY349" fmla="*/ 134278 h 1006224"/>
                    <a:gd name="connsiteX350" fmla="*/ 152765 w 468641"/>
                    <a:gd name="connsiteY350" fmla="*/ 111113 h 1006224"/>
                    <a:gd name="connsiteX351" fmla="*/ 158679 w 468641"/>
                    <a:gd name="connsiteY351" fmla="*/ 104437 h 1006224"/>
                    <a:gd name="connsiteX352" fmla="*/ 164535 w 468641"/>
                    <a:gd name="connsiteY352" fmla="*/ 104191 h 1006224"/>
                    <a:gd name="connsiteX353" fmla="*/ 172229 w 468641"/>
                    <a:gd name="connsiteY353" fmla="*/ 97036 h 1006224"/>
                    <a:gd name="connsiteX354" fmla="*/ 183495 w 468641"/>
                    <a:gd name="connsiteY354" fmla="*/ 91777 h 1006224"/>
                    <a:gd name="connsiteX355" fmla="*/ 196940 w 468641"/>
                    <a:gd name="connsiteY355" fmla="*/ 79714 h 1006224"/>
                    <a:gd name="connsiteX356" fmla="*/ 233352 w 468641"/>
                    <a:gd name="connsiteY356" fmla="*/ 66925 h 1006224"/>
                    <a:gd name="connsiteX357" fmla="*/ 253870 w 468641"/>
                    <a:gd name="connsiteY357" fmla="*/ 81038 h 1006224"/>
                    <a:gd name="connsiteX358" fmla="*/ 245332 w 468641"/>
                    <a:gd name="connsiteY358" fmla="*/ 59126 h 1006224"/>
                    <a:gd name="connsiteX359" fmla="*/ 255662 w 468641"/>
                    <a:gd name="connsiteY359" fmla="*/ 41968 h 1006224"/>
                    <a:gd name="connsiteX360" fmla="*/ 265781 w 468641"/>
                    <a:gd name="connsiteY360" fmla="*/ 34754 h 1006224"/>
                    <a:gd name="connsiteX361" fmla="*/ 270055 w 468641"/>
                    <a:gd name="connsiteY361" fmla="*/ 29179 h 1006224"/>
                    <a:gd name="connsiteX362" fmla="*/ 267303 w 468641"/>
                    <a:gd name="connsiteY362" fmla="*/ 21531 h 1006224"/>
                    <a:gd name="connsiteX363" fmla="*/ 271098 w 468641"/>
                    <a:gd name="connsiteY363" fmla="*/ 14786 h 1006224"/>
                    <a:gd name="connsiteX364" fmla="*/ 274822 w 468641"/>
                    <a:gd name="connsiteY364" fmla="*/ 12326 h 1006224"/>
                    <a:gd name="connsiteX365" fmla="*/ 275478 w 468641"/>
                    <a:gd name="connsiteY365" fmla="*/ 6927 h 1006224"/>
                    <a:gd name="connsiteX366" fmla="*/ 282212 w 468641"/>
                    <a:gd name="connsiteY366" fmla="*/ 1669 h 1006224"/>
                    <a:gd name="connsiteX367" fmla="*/ 282212 w 468641"/>
                    <a:gd name="connsiteY367" fmla="*/ 1669 h 1006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Lst>
                  <a:rect l="l" t="t" r="r" b="b"/>
                  <a:pathLst>
                    <a:path w="468641" h="1006224">
                      <a:moveTo>
                        <a:pt x="282212" y="1669"/>
                      </a:moveTo>
                      <a:cubicBezTo>
                        <a:pt x="287822" y="-451"/>
                        <a:pt x="285901" y="3800"/>
                        <a:pt x="289485" y="6482"/>
                      </a:cubicBezTo>
                      <a:cubicBezTo>
                        <a:pt x="293959" y="9820"/>
                        <a:pt x="296032" y="8824"/>
                        <a:pt x="300716" y="12713"/>
                      </a:cubicBezTo>
                      <a:cubicBezTo>
                        <a:pt x="302930" y="14551"/>
                        <a:pt x="304757" y="16460"/>
                        <a:pt x="306127" y="18334"/>
                      </a:cubicBezTo>
                      <a:cubicBezTo>
                        <a:pt x="310250" y="23956"/>
                        <a:pt x="308493" y="23007"/>
                        <a:pt x="309781" y="29882"/>
                      </a:cubicBezTo>
                      <a:cubicBezTo>
                        <a:pt x="310132" y="31779"/>
                        <a:pt x="317651" y="58797"/>
                        <a:pt x="323109" y="55331"/>
                      </a:cubicBezTo>
                      <a:cubicBezTo>
                        <a:pt x="325791" y="53609"/>
                        <a:pt x="323038" y="48819"/>
                        <a:pt x="325638" y="47625"/>
                      </a:cubicBezTo>
                      <a:cubicBezTo>
                        <a:pt x="328262" y="46418"/>
                        <a:pt x="332009" y="51536"/>
                        <a:pt x="333391" y="52263"/>
                      </a:cubicBezTo>
                      <a:cubicBezTo>
                        <a:pt x="335699" y="53481"/>
                        <a:pt x="336823" y="50061"/>
                        <a:pt x="338755" y="52907"/>
                      </a:cubicBezTo>
                      <a:cubicBezTo>
                        <a:pt x="340020" y="54781"/>
                        <a:pt x="338790" y="62428"/>
                        <a:pt x="338908" y="64770"/>
                      </a:cubicBezTo>
                      <a:cubicBezTo>
                        <a:pt x="339481" y="75826"/>
                        <a:pt x="341964" y="87139"/>
                        <a:pt x="342655" y="98699"/>
                      </a:cubicBezTo>
                      <a:cubicBezTo>
                        <a:pt x="343042" y="105023"/>
                        <a:pt x="342526" y="113643"/>
                        <a:pt x="340816" y="120061"/>
                      </a:cubicBezTo>
                      <a:cubicBezTo>
                        <a:pt x="340254" y="122122"/>
                        <a:pt x="337596" y="123527"/>
                        <a:pt x="337490" y="125588"/>
                      </a:cubicBezTo>
                      <a:cubicBezTo>
                        <a:pt x="337409" y="127123"/>
                        <a:pt x="338861" y="128774"/>
                        <a:pt x="338908" y="128458"/>
                      </a:cubicBezTo>
                      <a:cubicBezTo>
                        <a:pt x="338416" y="132252"/>
                        <a:pt x="341882" y="134056"/>
                        <a:pt x="336507" y="136410"/>
                      </a:cubicBezTo>
                      <a:cubicBezTo>
                        <a:pt x="336366" y="135590"/>
                        <a:pt x="336401" y="134606"/>
                        <a:pt x="336249" y="133763"/>
                      </a:cubicBezTo>
                      <a:cubicBezTo>
                        <a:pt x="327723" y="134044"/>
                        <a:pt x="335101" y="141469"/>
                        <a:pt x="336226" y="143495"/>
                      </a:cubicBezTo>
                      <a:cubicBezTo>
                        <a:pt x="340289" y="150850"/>
                        <a:pt x="339435" y="149316"/>
                        <a:pt x="332946" y="152068"/>
                      </a:cubicBezTo>
                      <a:cubicBezTo>
                        <a:pt x="331295" y="152771"/>
                        <a:pt x="330206" y="151612"/>
                        <a:pt x="327442" y="153755"/>
                      </a:cubicBezTo>
                      <a:cubicBezTo>
                        <a:pt x="326107" y="154797"/>
                        <a:pt x="325498" y="158182"/>
                        <a:pt x="324666" y="159598"/>
                      </a:cubicBezTo>
                      <a:cubicBezTo>
                        <a:pt x="318869" y="169518"/>
                        <a:pt x="320310" y="164108"/>
                        <a:pt x="310917" y="163487"/>
                      </a:cubicBezTo>
                      <a:cubicBezTo>
                        <a:pt x="310507" y="170865"/>
                        <a:pt x="308797" y="179040"/>
                        <a:pt x="301782" y="183104"/>
                      </a:cubicBezTo>
                      <a:cubicBezTo>
                        <a:pt x="300236" y="183994"/>
                        <a:pt x="297531" y="185001"/>
                        <a:pt x="297097" y="185224"/>
                      </a:cubicBezTo>
                      <a:cubicBezTo>
                        <a:pt x="297297" y="185130"/>
                        <a:pt x="295481" y="182811"/>
                        <a:pt x="294896" y="183197"/>
                      </a:cubicBezTo>
                      <a:cubicBezTo>
                        <a:pt x="293584" y="184029"/>
                        <a:pt x="293783" y="185458"/>
                        <a:pt x="292624" y="186488"/>
                      </a:cubicBezTo>
                      <a:cubicBezTo>
                        <a:pt x="288981" y="189685"/>
                        <a:pt x="287716" y="196607"/>
                        <a:pt x="288337" y="201069"/>
                      </a:cubicBezTo>
                      <a:cubicBezTo>
                        <a:pt x="288583" y="202908"/>
                        <a:pt x="292225" y="204805"/>
                        <a:pt x="291570" y="206117"/>
                      </a:cubicBezTo>
                      <a:cubicBezTo>
                        <a:pt x="290410" y="208448"/>
                        <a:pt x="288138" y="205766"/>
                        <a:pt x="286662" y="206843"/>
                      </a:cubicBezTo>
                      <a:cubicBezTo>
                        <a:pt x="279495" y="212066"/>
                        <a:pt x="279846" y="212008"/>
                        <a:pt x="279343" y="221002"/>
                      </a:cubicBezTo>
                      <a:cubicBezTo>
                        <a:pt x="278652" y="233112"/>
                        <a:pt x="279870" y="224106"/>
                        <a:pt x="285667" y="230079"/>
                      </a:cubicBezTo>
                      <a:cubicBezTo>
                        <a:pt x="286393" y="230840"/>
                        <a:pt x="286815" y="232655"/>
                        <a:pt x="287412" y="233405"/>
                      </a:cubicBezTo>
                      <a:cubicBezTo>
                        <a:pt x="284191" y="229388"/>
                        <a:pt x="288442" y="240162"/>
                        <a:pt x="287951" y="237176"/>
                      </a:cubicBezTo>
                      <a:cubicBezTo>
                        <a:pt x="288407" y="239893"/>
                        <a:pt x="289625" y="243032"/>
                        <a:pt x="287798" y="246498"/>
                      </a:cubicBezTo>
                      <a:cubicBezTo>
                        <a:pt x="285761" y="250386"/>
                        <a:pt x="278300" y="253092"/>
                        <a:pt x="279261" y="257074"/>
                      </a:cubicBezTo>
                      <a:cubicBezTo>
                        <a:pt x="279390" y="257612"/>
                        <a:pt x="283325" y="259908"/>
                        <a:pt x="284039" y="261325"/>
                      </a:cubicBezTo>
                      <a:cubicBezTo>
                        <a:pt x="294720" y="254310"/>
                        <a:pt x="303480" y="248068"/>
                        <a:pt x="316972" y="246850"/>
                      </a:cubicBezTo>
                      <a:cubicBezTo>
                        <a:pt x="328145" y="245842"/>
                        <a:pt x="337514" y="249590"/>
                        <a:pt x="348769" y="244823"/>
                      </a:cubicBezTo>
                      <a:cubicBezTo>
                        <a:pt x="349659" y="249731"/>
                        <a:pt x="339844" y="253408"/>
                        <a:pt x="338720" y="256828"/>
                      </a:cubicBezTo>
                      <a:cubicBezTo>
                        <a:pt x="335453" y="266677"/>
                        <a:pt x="341098" y="262004"/>
                        <a:pt x="344986" y="266209"/>
                      </a:cubicBezTo>
                      <a:cubicBezTo>
                        <a:pt x="350724" y="272427"/>
                        <a:pt x="344412" y="276538"/>
                        <a:pt x="345595" y="281703"/>
                      </a:cubicBezTo>
                      <a:cubicBezTo>
                        <a:pt x="345935" y="283167"/>
                        <a:pt x="353734" y="285533"/>
                        <a:pt x="348148" y="290100"/>
                      </a:cubicBezTo>
                      <a:cubicBezTo>
                        <a:pt x="354648" y="290932"/>
                        <a:pt x="346918" y="293450"/>
                        <a:pt x="348499" y="296284"/>
                      </a:cubicBezTo>
                      <a:cubicBezTo>
                        <a:pt x="350186" y="299294"/>
                        <a:pt x="352645" y="297994"/>
                        <a:pt x="356276" y="299036"/>
                      </a:cubicBezTo>
                      <a:cubicBezTo>
                        <a:pt x="359215" y="299879"/>
                        <a:pt x="360867" y="302163"/>
                        <a:pt x="365329" y="302713"/>
                      </a:cubicBezTo>
                      <a:cubicBezTo>
                        <a:pt x="366758" y="302889"/>
                        <a:pt x="365727" y="304962"/>
                        <a:pt x="367530" y="304822"/>
                      </a:cubicBezTo>
                      <a:cubicBezTo>
                        <a:pt x="369041" y="304704"/>
                        <a:pt x="371501" y="300980"/>
                        <a:pt x="372168" y="301004"/>
                      </a:cubicBezTo>
                      <a:cubicBezTo>
                        <a:pt x="374874" y="301097"/>
                        <a:pt x="385367" y="306848"/>
                        <a:pt x="383704" y="311064"/>
                      </a:cubicBezTo>
                      <a:cubicBezTo>
                        <a:pt x="382182" y="314952"/>
                        <a:pt x="379160" y="310279"/>
                        <a:pt x="378200" y="311450"/>
                      </a:cubicBezTo>
                      <a:cubicBezTo>
                        <a:pt x="377134" y="312750"/>
                        <a:pt x="376525" y="316100"/>
                        <a:pt x="375529" y="318231"/>
                      </a:cubicBezTo>
                      <a:cubicBezTo>
                        <a:pt x="374628" y="320187"/>
                        <a:pt x="372157" y="320937"/>
                        <a:pt x="371829" y="322670"/>
                      </a:cubicBezTo>
                      <a:cubicBezTo>
                        <a:pt x="371337" y="325317"/>
                        <a:pt x="374171" y="328643"/>
                        <a:pt x="374136" y="331583"/>
                      </a:cubicBezTo>
                      <a:cubicBezTo>
                        <a:pt x="374077" y="337052"/>
                        <a:pt x="370903" y="339113"/>
                        <a:pt x="368608" y="342779"/>
                      </a:cubicBezTo>
                      <a:cubicBezTo>
                        <a:pt x="366441" y="346257"/>
                        <a:pt x="364837" y="352089"/>
                        <a:pt x="363291" y="354420"/>
                      </a:cubicBezTo>
                      <a:cubicBezTo>
                        <a:pt x="367343" y="358238"/>
                        <a:pt x="371583" y="356797"/>
                        <a:pt x="376361" y="356774"/>
                      </a:cubicBezTo>
                      <a:cubicBezTo>
                        <a:pt x="380741" y="356751"/>
                        <a:pt x="384618" y="357535"/>
                        <a:pt x="389255" y="358460"/>
                      </a:cubicBezTo>
                      <a:cubicBezTo>
                        <a:pt x="391820" y="358964"/>
                        <a:pt x="392394" y="359597"/>
                        <a:pt x="395908" y="359983"/>
                      </a:cubicBezTo>
                      <a:cubicBezTo>
                        <a:pt x="397372" y="360147"/>
                        <a:pt x="397910" y="361646"/>
                        <a:pt x="399245" y="361763"/>
                      </a:cubicBezTo>
                      <a:cubicBezTo>
                        <a:pt x="400182" y="361857"/>
                        <a:pt x="400780" y="358706"/>
                        <a:pt x="404914" y="360334"/>
                      </a:cubicBezTo>
                      <a:cubicBezTo>
                        <a:pt x="406354" y="365347"/>
                        <a:pt x="402981" y="369809"/>
                        <a:pt x="404738" y="375020"/>
                      </a:cubicBezTo>
                      <a:cubicBezTo>
                        <a:pt x="406764" y="381052"/>
                        <a:pt x="413159" y="379682"/>
                        <a:pt x="414494" y="382797"/>
                      </a:cubicBezTo>
                      <a:cubicBezTo>
                        <a:pt x="415360" y="384823"/>
                        <a:pt x="409329" y="392119"/>
                        <a:pt x="417012" y="393864"/>
                      </a:cubicBezTo>
                      <a:cubicBezTo>
                        <a:pt x="420607" y="394673"/>
                        <a:pt x="423266" y="388500"/>
                        <a:pt x="426299" y="388465"/>
                      </a:cubicBezTo>
                      <a:cubicBezTo>
                        <a:pt x="431522" y="388419"/>
                        <a:pt x="432073" y="394309"/>
                        <a:pt x="439053" y="392248"/>
                      </a:cubicBezTo>
                      <a:cubicBezTo>
                        <a:pt x="445061" y="390480"/>
                        <a:pt x="447579" y="384190"/>
                        <a:pt x="452591" y="381028"/>
                      </a:cubicBezTo>
                      <a:cubicBezTo>
                        <a:pt x="453552" y="380419"/>
                        <a:pt x="461621" y="376484"/>
                        <a:pt x="462640" y="376508"/>
                      </a:cubicBezTo>
                      <a:cubicBezTo>
                        <a:pt x="467324" y="376625"/>
                        <a:pt x="464806" y="375665"/>
                        <a:pt x="467172" y="380092"/>
                      </a:cubicBezTo>
                      <a:cubicBezTo>
                        <a:pt x="469842" y="385081"/>
                        <a:pt x="468730" y="387306"/>
                        <a:pt x="464994" y="391452"/>
                      </a:cubicBezTo>
                      <a:cubicBezTo>
                        <a:pt x="462347" y="394391"/>
                        <a:pt x="456491" y="398444"/>
                        <a:pt x="452919" y="399790"/>
                      </a:cubicBezTo>
                      <a:cubicBezTo>
                        <a:pt x="452287" y="400036"/>
                        <a:pt x="446782" y="400692"/>
                        <a:pt x="447157" y="400364"/>
                      </a:cubicBezTo>
                      <a:cubicBezTo>
                        <a:pt x="443152" y="403784"/>
                        <a:pt x="444698" y="415261"/>
                        <a:pt x="436254" y="415952"/>
                      </a:cubicBezTo>
                      <a:cubicBezTo>
                        <a:pt x="436511" y="420988"/>
                        <a:pt x="432190" y="425942"/>
                        <a:pt x="441922" y="423822"/>
                      </a:cubicBezTo>
                      <a:cubicBezTo>
                        <a:pt x="436523" y="431634"/>
                        <a:pt x="427259" y="424361"/>
                        <a:pt x="420877" y="432044"/>
                      </a:cubicBezTo>
                      <a:cubicBezTo>
                        <a:pt x="415805" y="438157"/>
                        <a:pt x="414459" y="447023"/>
                        <a:pt x="413077" y="454554"/>
                      </a:cubicBezTo>
                      <a:cubicBezTo>
                        <a:pt x="407104" y="449272"/>
                        <a:pt x="405394" y="447304"/>
                        <a:pt x="398683" y="450501"/>
                      </a:cubicBezTo>
                      <a:cubicBezTo>
                        <a:pt x="395908" y="451825"/>
                        <a:pt x="394877" y="454905"/>
                        <a:pt x="390251" y="455069"/>
                      </a:cubicBezTo>
                      <a:cubicBezTo>
                        <a:pt x="386164" y="455198"/>
                        <a:pt x="381303" y="452282"/>
                        <a:pt x="377684" y="451415"/>
                      </a:cubicBezTo>
                      <a:cubicBezTo>
                        <a:pt x="384910" y="458114"/>
                        <a:pt x="383657" y="469369"/>
                        <a:pt x="371149" y="468420"/>
                      </a:cubicBezTo>
                      <a:cubicBezTo>
                        <a:pt x="366758" y="468080"/>
                        <a:pt x="364954" y="462881"/>
                        <a:pt x="359567" y="466312"/>
                      </a:cubicBezTo>
                      <a:cubicBezTo>
                        <a:pt x="355772" y="468736"/>
                        <a:pt x="356639" y="472753"/>
                        <a:pt x="355819" y="476255"/>
                      </a:cubicBezTo>
                      <a:cubicBezTo>
                        <a:pt x="353231" y="487123"/>
                        <a:pt x="350514" y="482603"/>
                        <a:pt x="341683" y="484968"/>
                      </a:cubicBezTo>
                      <a:cubicBezTo>
                        <a:pt x="335172" y="486702"/>
                        <a:pt x="332009" y="488329"/>
                        <a:pt x="326529" y="488739"/>
                      </a:cubicBezTo>
                      <a:cubicBezTo>
                        <a:pt x="323366" y="488974"/>
                        <a:pt x="317487" y="490215"/>
                        <a:pt x="315039" y="489325"/>
                      </a:cubicBezTo>
                      <a:cubicBezTo>
                        <a:pt x="313903" y="488915"/>
                        <a:pt x="311772" y="484617"/>
                        <a:pt x="308715" y="483996"/>
                      </a:cubicBezTo>
                      <a:cubicBezTo>
                        <a:pt x="302508" y="482720"/>
                        <a:pt x="307474" y="482872"/>
                        <a:pt x="303984" y="488259"/>
                      </a:cubicBezTo>
                      <a:cubicBezTo>
                        <a:pt x="301841" y="491550"/>
                        <a:pt x="301267" y="491351"/>
                        <a:pt x="297636" y="494982"/>
                      </a:cubicBezTo>
                      <a:cubicBezTo>
                        <a:pt x="295973" y="496645"/>
                        <a:pt x="294931" y="498495"/>
                        <a:pt x="294017" y="501364"/>
                      </a:cubicBezTo>
                      <a:cubicBezTo>
                        <a:pt x="292354" y="506635"/>
                        <a:pt x="292823" y="504936"/>
                        <a:pt x="293291" y="510218"/>
                      </a:cubicBezTo>
                      <a:cubicBezTo>
                        <a:pt x="293420" y="511624"/>
                        <a:pt x="291089" y="510172"/>
                        <a:pt x="291300" y="511565"/>
                      </a:cubicBezTo>
                      <a:cubicBezTo>
                        <a:pt x="291476" y="512795"/>
                        <a:pt x="294029" y="513146"/>
                        <a:pt x="293830" y="514704"/>
                      </a:cubicBezTo>
                      <a:cubicBezTo>
                        <a:pt x="292998" y="520935"/>
                        <a:pt x="290609" y="521778"/>
                        <a:pt x="288489" y="527048"/>
                      </a:cubicBezTo>
                      <a:cubicBezTo>
                        <a:pt x="286346" y="532342"/>
                        <a:pt x="287576" y="529823"/>
                        <a:pt x="288970" y="535363"/>
                      </a:cubicBezTo>
                      <a:cubicBezTo>
                        <a:pt x="289625" y="537986"/>
                        <a:pt x="292050" y="545107"/>
                        <a:pt x="290832" y="547414"/>
                      </a:cubicBezTo>
                      <a:cubicBezTo>
                        <a:pt x="287986" y="552884"/>
                        <a:pt x="274248" y="554863"/>
                        <a:pt x="269763" y="550202"/>
                      </a:cubicBezTo>
                      <a:cubicBezTo>
                        <a:pt x="272316" y="553375"/>
                        <a:pt x="273382" y="561737"/>
                        <a:pt x="276298" y="563646"/>
                      </a:cubicBezTo>
                      <a:cubicBezTo>
                        <a:pt x="280034" y="566106"/>
                        <a:pt x="280385" y="561936"/>
                        <a:pt x="280771" y="562100"/>
                      </a:cubicBezTo>
                      <a:cubicBezTo>
                        <a:pt x="286733" y="564583"/>
                        <a:pt x="282294" y="564197"/>
                        <a:pt x="283805" y="567172"/>
                      </a:cubicBezTo>
                      <a:cubicBezTo>
                        <a:pt x="285433" y="570345"/>
                        <a:pt x="288103" y="574351"/>
                        <a:pt x="288642" y="576880"/>
                      </a:cubicBezTo>
                      <a:cubicBezTo>
                        <a:pt x="289965" y="583064"/>
                        <a:pt x="287915" y="583650"/>
                        <a:pt x="286698" y="589049"/>
                      </a:cubicBezTo>
                      <a:cubicBezTo>
                        <a:pt x="291534" y="593979"/>
                        <a:pt x="295540" y="599905"/>
                        <a:pt x="300529" y="605363"/>
                      </a:cubicBezTo>
                      <a:cubicBezTo>
                        <a:pt x="303937" y="609064"/>
                        <a:pt x="306150" y="614264"/>
                        <a:pt x="308856" y="617426"/>
                      </a:cubicBezTo>
                      <a:cubicBezTo>
                        <a:pt x="312322" y="621490"/>
                        <a:pt x="317300" y="628587"/>
                        <a:pt x="319244" y="630203"/>
                      </a:cubicBezTo>
                      <a:cubicBezTo>
                        <a:pt x="321750" y="632288"/>
                        <a:pt x="324467" y="631749"/>
                        <a:pt x="327137" y="634314"/>
                      </a:cubicBezTo>
                      <a:cubicBezTo>
                        <a:pt x="328976" y="636094"/>
                        <a:pt x="329831" y="639478"/>
                        <a:pt x="330979" y="641704"/>
                      </a:cubicBezTo>
                      <a:cubicBezTo>
                        <a:pt x="331775" y="641434"/>
                        <a:pt x="326915" y="645756"/>
                        <a:pt x="327325" y="647583"/>
                      </a:cubicBezTo>
                      <a:cubicBezTo>
                        <a:pt x="327992" y="650558"/>
                        <a:pt x="331658" y="653919"/>
                        <a:pt x="333204" y="656566"/>
                      </a:cubicBezTo>
                      <a:cubicBezTo>
                        <a:pt x="334317" y="658463"/>
                        <a:pt x="336495" y="670034"/>
                        <a:pt x="337877" y="671123"/>
                      </a:cubicBezTo>
                      <a:cubicBezTo>
                        <a:pt x="341332" y="673817"/>
                        <a:pt x="345712" y="665455"/>
                        <a:pt x="347387" y="661976"/>
                      </a:cubicBezTo>
                      <a:cubicBezTo>
                        <a:pt x="350092" y="665841"/>
                        <a:pt x="351755" y="676370"/>
                        <a:pt x="346942" y="680012"/>
                      </a:cubicBezTo>
                      <a:cubicBezTo>
                        <a:pt x="343686" y="682483"/>
                        <a:pt x="342175" y="679989"/>
                        <a:pt x="337971" y="681043"/>
                      </a:cubicBezTo>
                      <a:cubicBezTo>
                        <a:pt x="335558" y="681652"/>
                        <a:pt x="336460" y="685680"/>
                        <a:pt x="332138" y="684720"/>
                      </a:cubicBezTo>
                      <a:cubicBezTo>
                        <a:pt x="335968" y="689487"/>
                        <a:pt x="332349" y="696397"/>
                        <a:pt x="331892" y="701725"/>
                      </a:cubicBezTo>
                      <a:cubicBezTo>
                        <a:pt x="331330" y="708284"/>
                        <a:pt x="336015" y="717993"/>
                        <a:pt x="331424" y="723274"/>
                      </a:cubicBezTo>
                      <a:cubicBezTo>
                        <a:pt x="328964" y="717196"/>
                        <a:pt x="322254" y="722279"/>
                        <a:pt x="324046" y="726905"/>
                      </a:cubicBezTo>
                      <a:cubicBezTo>
                        <a:pt x="318319" y="722431"/>
                        <a:pt x="318014" y="728955"/>
                        <a:pt x="312838" y="728908"/>
                      </a:cubicBezTo>
                      <a:cubicBezTo>
                        <a:pt x="313365" y="734553"/>
                        <a:pt x="313294" y="738160"/>
                        <a:pt x="314805" y="743711"/>
                      </a:cubicBezTo>
                      <a:cubicBezTo>
                        <a:pt x="317077" y="752073"/>
                        <a:pt x="320766" y="755669"/>
                        <a:pt x="326318" y="763234"/>
                      </a:cubicBezTo>
                      <a:cubicBezTo>
                        <a:pt x="330827" y="769359"/>
                        <a:pt x="334586" y="775133"/>
                        <a:pt x="339962" y="779490"/>
                      </a:cubicBezTo>
                      <a:cubicBezTo>
                        <a:pt x="346145" y="784514"/>
                        <a:pt x="351509" y="789515"/>
                        <a:pt x="355854" y="796038"/>
                      </a:cubicBezTo>
                      <a:cubicBezTo>
                        <a:pt x="362120" y="805431"/>
                        <a:pt x="369639" y="822412"/>
                        <a:pt x="365680" y="834862"/>
                      </a:cubicBezTo>
                      <a:cubicBezTo>
                        <a:pt x="364685" y="838012"/>
                        <a:pt x="361874" y="836478"/>
                        <a:pt x="361160" y="840835"/>
                      </a:cubicBezTo>
                      <a:cubicBezTo>
                        <a:pt x="360445" y="845168"/>
                        <a:pt x="362389" y="843716"/>
                        <a:pt x="363139" y="846878"/>
                      </a:cubicBezTo>
                      <a:cubicBezTo>
                        <a:pt x="364134" y="851071"/>
                        <a:pt x="364720" y="858051"/>
                        <a:pt x="367460" y="862021"/>
                      </a:cubicBezTo>
                      <a:cubicBezTo>
                        <a:pt x="368655" y="863731"/>
                        <a:pt x="371489" y="864949"/>
                        <a:pt x="373117" y="866893"/>
                      </a:cubicBezTo>
                      <a:cubicBezTo>
                        <a:pt x="377485" y="872058"/>
                        <a:pt x="374803" y="869715"/>
                        <a:pt x="376056" y="874822"/>
                      </a:cubicBezTo>
                      <a:cubicBezTo>
                        <a:pt x="377450" y="880455"/>
                        <a:pt x="381338" y="887974"/>
                        <a:pt x="379336" y="893162"/>
                      </a:cubicBezTo>
                      <a:cubicBezTo>
                        <a:pt x="382814" y="891757"/>
                        <a:pt x="382838" y="892576"/>
                        <a:pt x="383868" y="894064"/>
                      </a:cubicBezTo>
                      <a:cubicBezTo>
                        <a:pt x="382603" y="892225"/>
                        <a:pt x="385145" y="901817"/>
                        <a:pt x="384957" y="900037"/>
                      </a:cubicBezTo>
                      <a:cubicBezTo>
                        <a:pt x="385402" y="904124"/>
                        <a:pt x="388190" y="908598"/>
                        <a:pt x="388225" y="911502"/>
                      </a:cubicBezTo>
                      <a:cubicBezTo>
                        <a:pt x="388260" y="915519"/>
                        <a:pt x="384055" y="917416"/>
                        <a:pt x="382334" y="919571"/>
                      </a:cubicBezTo>
                      <a:cubicBezTo>
                        <a:pt x="381280" y="920895"/>
                        <a:pt x="379851" y="922523"/>
                        <a:pt x="378715" y="924139"/>
                      </a:cubicBezTo>
                      <a:cubicBezTo>
                        <a:pt x="375904" y="928109"/>
                        <a:pt x="373808" y="933590"/>
                        <a:pt x="371407" y="938029"/>
                      </a:cubicBezTo>
                      <a:cubicBezTo>
                        <a:pt x="369030" y="942456"/>
                        <a:pt x="366676" y="946402"/>
                        <a:pt x="363818" y="950068"/>
                      </a:cubicBezTo>
                      <a:cubicBezTo>
                        <a:pt x="362752" y="951427"/>
                        <a:pt x="360785" y="952352"/>
                        <a:pt x="359520" y="953500"/>
                      </a:cubicBezTo>
                      <a:cubicBezTo>
                        <a:pt x="359133" y="953839"/>
                        <a:pt x="355421" y="955643"/>
                        <a:pt x="355819" y="955081"/>
                      </a:cubicBezTo>
                      <a:cubicBezTo>
                        <a:pt x="353383" y="958618"/>
                        <a:pt x="354648" y="959847"/>
                        <a:pt x="351743" y="962974"/>
                      </a:cubicBezTo>
                      <a:cubicBezTo>
                        <a:pt x="349483" y="965399"/>
                        <a:pt x="344576" y="965328"/>
                        <a:pt x="343053" y="970469"/>
                      </a:cubicBezTo>
                      <a:cubicBezTo>
                        <a:pt x="342105" y="973667"/>
                        <a:pt x="344880" y="975705"/>
                        <a:pt x="344810" y="979218"/>
                      </a:cubicBezTo>
                      <a:cubicBezTo>
                        <a:pt x="344752" y="982158"/>
                        <a:pt x="342608" y="985402"/>
                        <a:pt x="341707" y="987803"/>
                      </a:cubicBezTo>
                      <a:cubicBezTo>
                        <a:pt x="339411" y="993904"/>
                        <a:pt x="336741" y="1001587"/>
                        <a:pt x="331904" y="1006225"/>
                      </a:cubicBezTo>
                      <a:cubicBezTo>
                        <a:pt x="328508" y="999303"/>
                        <a:pt x="330955" y="994267"/>
                        <a:pt x="331143" y="987217"/>
                      </a:cubicBezTo>
                      <a:cubicBezTo>
                        <a:pt x="331225" y="984125"/>
                        <a:pt x="324526" y="961241"/>
                        <a:pt x="331143" y="969029"/>
                      </a:cubicBezTo>
                      <a:cubicBezTo>
                        <a:pt x="331283" y="967647"/>
                        <a:pt x="331846" y="967940"/>
                        <a:pt x="330756" y="966511"/>
                      </a:cubicBezTo>
                      <a:cubicBezTo>
                        <a:pt x="330288" y="966394"/>
                        <a:pt x="333883" y="966874"/>
                        <a:pt x="332958" y="967237"/>
                      </a:cubicBezTo>
                      <a:cubicBezTo>
                        <a:pt x="333696" y="964262"/>
                        <a:pt x="334820" y="962143"/>
                        <a:pt x="336483" y="960714"/>
                      </a:cubicBezTo>
                      <a:cubicBezTo>
                        <a:pt x="329878" y="958934"/>
                        <a:pt x="339915" y="957645"/>
                        <a:pt x="340840" y="956357"/>
                      </a:cubicBezTo>
                      <a:cubicBezTo>
                        <a:pt x="342456" y="954156"/>
                        <a:pt x="339962" y="947152"/>
                        <a:pt x="337912" y="945864"/>
                      </a:cubicBezTo>
                      <a:cubicBezTo>
                        <a:pt x="344822" y="944857"/>
                        <a:pt x="342175" y="936752"/>
                        <a:pt x="341507" y="932489"/>
                      </a:cubicBezTo>
                      <a:cubicBezTo>
                        <a:pt x="339271" y="930814"/>
                        <a:pt x="340512" y="929585"/>
                        <a:pt x="344002" y="928882"/>
                      </a:cubicBezTo>
                      <a:cubicBezTo>
                        <a:pt x="340992" y="922464"/>
                        <a:pt x="340699" y="914969"/>
                        <a:pt x="350092" y="916187"/>
                      </a:cubicBezTo>
                      <a:cubicBezTo>
                        <a:pt x="345302" y="914652"/>
                        <a:pt x="343932" y="911877"/>
                        <a:pt x="345782" y="907848"/>
                      </a:cubicBezTo>
                      <a:cubicBezTo>
                        <a:pt x="345688" y="908750"/>
                        <a:pt x="341039" y="916163"/>
                        <a:pt x="339985" y="916269"/>
                      </a:cubicBezTo>
                      <a:cubicBezTo>
                        <a:pt x="336671" y="916597"/>
                        <a:pt x="333743" y="913481"/>
                        <a:pt x="336565" y="910940"/>
                      </a:cubicBezTo>
                      <a:cubicBezTo>
                        <a:pt x="336881" y="911233"/>
                        <a:pt x="335008" y="909382"/>
                        <a:pt x="335066" y="910378"/>
                      </a:cubicBezTo>
                      <a:cubicBezTo>
                        <a:pt x="337127" y="908902"/>
                        <a:pt x="338228" y="907520"/>
                        <a:pt x="340442" y="906407"/>
                      </a:cubicBezTo>
                      <a:cubicBezTo>
                        <a:pt x="338252" y="905916"/>
                        <a:pt x="334949" y="905939"/>
                        <a:pt x="332220" y="906407"/>
                      </a:cubicBezTo>
                      <a:cubicBezTo>
                        <a:pt x="336530" y="903854"/>
                        <a:pt x="343135" y="903538"/>
                        <a:pt x="340758" y="896617"/>
                      </a:cubicBezTo>
                      <a:cubicBezTo>
                        <a:pt x="335921" y="897062"/>
                        <a:pt x="335687" y="893326"/>
                        <a:pt x="338697" y="891558"/>
                      </a:cubicBezTo>
                      <a:cubicBezTo>
                        <a:pt x="346192" y="884507"/>
                        <a:pt x="328051" y="893841"/>
                        <a:pt x="334246" y="884261"/>
                      </a:cubicBezTo>
                      <a:cubicBezTo>
                        <a:pt x="335429" y="882446"/>
                        <a:pt x="339599" y="884531"/>
                        <a:pt x="340430" y="881568"/>
                      </a:cubicBezTo>
                      <a:cubicBezTo>
                        <a:pt x="340934" y="879811"/>
                        <a:pt x="335933" y="879787"/>
                        <a:pt x="335956" y="878089"/>
                      </a:cubicBezTo>
                      <a:cubicBezTo>
                        <a:pt x="336003" y="875056"/>
                        <a:pt x="335851" y="872948"/>
                        <a:pt x="340594" y="872866"/>
                      </a:cubicBezTo>
                      <a:cubicBezTo>
                        <a:pt x="333017" y="872151"/>
                        <a:pt x="339036" y="865523"/>
                        <a:pt x="339540" y="861424"/>
                      </a:cubicBezTo>
                      <a:cubicBezTo>
                        <a:pt x="339505" y="861412"/>
                        <a:pt x="337186" y="861424"/>
                        <a:pt x="337045" y="861424"/>
                      </a:cubicBezTo>
                      <a:cubicBezTo>
                        <a:pt x="337619" y="860604"/>
                        <a:pt x="338041" y="860557"/>
                        <a:pt x="338978" y="859936"/>
                      </a:cubicBezTo>
                      <a:cubicBezTo>
                        <a:pt x="337010" y="860124"/>
                        <a:pt x="336718" y="859199"/>
                        <a:pt x="335792" y="858812"/>
                      </a:cubicBezTo>
                      <a:cubicBezTo>
                        <a:pt x="338509" y="857395"/>
                        <a:pt x="335570" y="850567"/>
                        <a:pt x="335066" y="848190"/>
                      </a:cubicBezTo>
                      <a:cubicBezTo>
                        <a:pt x="334645" y="846210"/>
                        <a:pt x="334645" y="843271"/>
                        <a:pt x="334188" y="841748"/>
                      </a:cubicBezTo>
                      <a:cubicBezTo>
                        <a:pt x="332899" y="837462"/>
                        <a:pt x="330077" y="835190"/>
                        <a:pt x="329128" y="831220"/>
                      </a:cubicBezTo>
                      <a:cubicBezTo>
                        <a:pt x="328004" y="830599"/>
                        <a:pt x="327618" y="827940"/>
                        <a:pt x="328262" y="825106"/>
                      </a:cubicBezTo>
                      <a:cubicBezTo>
                        <a:pt x="327500" y="825703"/>
                        <a:pt x="327606" y="826043"/>
                        <a:pt x="327196" y="826886"/>
                      </a:cubicBezTo>
                      <a:cubicBezTo>
                        <a:pt x="324971" y="820457"/>
                        <a:pt x="322675" y="816264"/>
                        <a:pt x="318623" y="810139"/>
                      </a:cubicBezTo>
                      <a:cubicBezTo>
                        <a:pt x="318986" y="810701"/>
                        <a:pt x="319232" y="810595"/>
                        <a:pt x="319349" y="809811"/>
                      </a:cubicBezTo>
                      <a:cubicBezTo>
                        <a:pt x="314220" y="809378"/>
                        <a:pt x="317464" y="794656"/>
                        <a:pt x="313271" y="790475"/>
                      </a:cubicBezTo>
                      <a:cubicBezTo>
                        <a:pt x="314840" y="798662"/>
                        <a:pt x="310425" y="810420"/>
                        <a:pt x="313318" y="818150"/>
                      </a:cubicBezTo>
                      <a:cubicBezTo>
                        <a:pt x="312732" y="818231"/>
                        <a:pt x="310812" y="818477"/>
                        <a:pt x="311104" y="818513"/>
                      </a:cubicBezTo>
                      <a:cubicBezTo>
                        <a:pt x="310261" y="814402"/>
                        <a:pt x="314548" y="810209"/>
                        <a:pt x="308973" y="809811"/>
                      </a:cubicBezTo>
                      <a:cubicBezTo>
                        <a:pt x="308305" y="807762"/>
                        <a:pt x="308059" y="806262"/>
                        <a:pt x="309324" y="805068"/>
                      </a:cubicBezTo>
                      <a:cubicBezTo>
                        <a:pt x="309898" y="801472"/>
                        <a:pt x="307825" y="799481"/>
                        <a:pt x="307755" y="796999"/>
                      </a:cubicBezTo>
                      <a:cubicBezTo>
                        <a:pt x="307650" y="793649"/>
                        <a:pt x="309547" y="790229"/>
                        <a:pt x="309324" y="787383"/>
                      </a:cubicBezTo>
                      <a:cubicBezTo>
                        <a:pt x="308949" y="782605"/>
                        <a:pt x="299639" y="776726"/>
                        <a:pt x="303597" y="768985"/>
                      </a:cubicBezTo>
                      <a:cubicBezTo>
                        <a:pt x="298960" y="771772"/>
                        <a:pt x="294357" y="746639"/>
                        <a:pt x="305014" y="759475"/>
                      </a:cubicBezTo>
                      <a:cubicBezTo>
                        <a:pt x="303246" y="757226"/>
                        <a:pt x="303785" y="756336"/>
                        <a:pt x="303597" y="755505"/>
                      </a:cubicBezTo>
                      <a:cubicBezTo>
                        <a:pt x="302649" y="753935"/>
                        <a:pt x="301958" y="753350"/>
                        <a:pt x="300962" y="751394"/>
                      </a:cubicBezTo>
                      <a:cubicBezTo>
                        <a:pt x="300634" y="751640"/>
                        <a:pt x="300072" y="753572"/>
                        <a:pt x="299978" y="753888"/>
                      </a:cubicBezTo>
                      <a:cubicBezTo>
                        <a:pt x="299721" y="753373"/>
                        <a:pt x="298526" y="751745"/>
                        <a:pt x="298210" y="751464"/>
                      </a:cubicBezTo>
                      <a:cubicBezTo>
                        <a:pt x="297824" y="764874"/>
                        <a:pt x="292905" y="740596"/>
                        <a:pt x="291816" y="739753"/>
                      </a:cubicBezTo>
                      <a:cubicBezTo>
                        <a:pt x="292015" y="739624"/>
                        <a:pt x="293596" y="739003"/>
                        <a:pt x="293572" y="739026"/>
                      </a:cubicBezTo>
                      <a:cubicBezTo>
                        <a:pt x="293197" y="736087"/>
                        <a:pt x="293443" y="732655"/>
                        <a:pt x="294322" y="729517"/>
                      </a:cubicBezTo>
                      <a:cubicBezTo>
                        <a:pt x="290480" y="729224"/>
                        <a:pt x="289532" y="725136"/>
                        <a:pt x="289473" y="722056"/>
                      </a:cubicBezTo>
                      <a:cubicBezTo>
                        <a:pt x="289473" y="721810"/>
                        <a:pt x="291675" y="719550"/>
                        <a:pt x="291640" y="719808"/>
                      </a:cubicBezTo>
                      <a:cubicBezTo>
                        <a:pt x="291862" y="718004"/>
                        <a:pt x="291359" y="716669"/>
                        <a:pt x="291148" y="713776"/>
                      </a:cubicBezTo>
                      <a:cubicBezTo>
                        <a:pt x="290832" y="709338"/>
                        <a:pt x="290363" y="702159"/>
                        <a:pt x="289309" y="698282"/>
                      </a:cubicBezTo>
                      <a:cubicBezTo>
                        <a:pt x="287915" y="693152"/>
                        <a:pt x="284461" y="692450"/>
                        <a:pt x="282505" y="687461"/>
                      </a:cubicBezTo>
                      <a:cubicBezTo>
                        <a:pt x="280514" y="682378"/>
                        <a:pt x="282891" y="683842"/>
                        <a:pt x="284004" y="678982"/>
                      </a:cubicBezTo>
                      <a:cubicBezTo>
                        <a:pt x="285444" y="672599"/>
                        <a:pt x="280783" y="658744"/>
                        <a:pt x="290035" y="657327"/>
                      </a:cubicBezTo>
                      <a:cubicBezTo>
                        <a:pt x="285983" y="657444"/>
                        <a:pt x="274845" y="657924"/>
                        <a:pt x="270735" y="661379"/>
                      </a:cubicBezTo>
                      <a:cubicBezTo>
                        <a:pt x="269985" y="657866"/>
                        <a:pt x="269259" y="654340"/>
                        <a:pt x="268627" y="650862"/>
                      </a:cubicBezTo>
                      <a:cubicBezTo>
                        <a:pt x="263591" y="654750"/>
                        <a:pt x="263380" y="643601"/>
                        <a:pt x="263965" y="640416"/>
                      </a:cubicBezTo>
                      <a:cubicBezTo>
                        <a:pt x="263509" y="641165"/>
                        <a:pt x="263251" y="641926"/>
                        <a:pt x="262876" y="643015"/>
                      </a:cubicBezTo>
                      <a:cubicBezTo>
                        <a:pt x="262595" y="641259"/>
                        <a:pt x="262373" y="641141"/>
                        <a:pt x="262876" y="638987"/>
                      </a:cubicBezTo>
                      <a:cubicBezTo>
                        <a:pt x="260358" y="638038"/>
                        <a:pt x="257278" y="626197"/>
                        <a:pt x="265043" y="627931"/>
                      </a:cubicBezTo>
                      <a:cubicBezTo>
                        <a:pt x="262092" y="625776"/>
                        <a:pt x="259445" y="626069"/>
                        <a:pt x="258239" y="629430"/>
                      </a:cubicBezTo>
                      <a:cubicBezTo>
                        <a:pt x="256857" y="625401"/>
                        <a:pt x="256962" y="623328"/>
                        <a:pt x="254748" y="620061"/>
                      </a:cubicBezTo>
                      <a:cubicBezTo>
                        <a:pt x="252395" y="616571"/>
                        <a:pt x="244899" y="615400"/>
                        <a:pt x="245332" y="609122"/>
                      </a:cubicBezTo>
                      <a:cubicBezTo>
                        <a:pt x="244536" y="610047"/>
                        <a:pt x="244208" y="611664"/>
                        <a:pt x="243915" y="612823"/>
                      </a:cubicBezTo>
                      <a:cubicBezTo>
                        <a:pt x="243833" y="612788"/>
                        <a:pt x="243119" y="611816"/>
                        <a:pt x="243189" y="611710"/>
                      </a:cubicBezTo>
                      <a:cubicBezTo>
                        <a:pt x="243201" y="611652"/>
                        <a:pt x="242159" y="612460"/>
                        <a:pt x="242112" y="612472"/>
                      </a:cubicBezTo>
                      <a:cubicBezTo>
                        <a:pt x="249584" y="617601"/>
                        <a:pt x="243341" y="617484"/>
                        <a:pt x="243646" y="622836"/>
                      </a:cubicBezTo>
                      <a:cubicBezTo>
                        <a:pt x="243880" y="626795"/>
                        <a:pt x="250556" y="636621"/>
                        <a:pt x="242838" y="637101"/>
                      </a:cubicBezTo>
                      <a:cubicBezTo>
                        <a:pt x="242522" y="637569"/>
                        <a:pt x="243775" y="638659"/>
                        <a:pt x="243915" y="638975"/>
                      </a:cubicBezTo>
                      <a:cubicBezTo>
                        <a:pt x="243189" y="638729"/>
                        <a:pt x="242170" y="638659"/>
                        <a:pt x="241397" y="638577"/>
                      </a:cubicBezTo>
                      <a:cubicBezTo>
                        <a:pt x="246984" y="642933"/>
                        <a:pt x="234652" y="657549"/>
                        <a:pt x="229908" y="660091"/>
                      </a:cubicBezTo>
                      <a:cubicBezTo>
                        <a:pt x="219649" y="665572"/>
                        <a:pt x="204038" y="648895"/>
                        <a:pt x="214238" y="643706"/>
                      </a:cubicBezTo>
                      <a:cubicBezTo>
                        <a:pt x="212212" y="643976"/>
                        <a:pt x="210093" y="644960"/>
                        <a:pt x="208183" y="645931"/>
                      </a:cubicBezTo>
                      <a:cubicBezTo>
                        <a:pt x="209577" y="648613"/>
                        <a:pt x="210889" y="651424"/>
                        <a:pt x="211978" y="654083"/>
                      </a:cubicBezTo>
                      <a:cubicBezTo>
                        <a:pt x="212458" y="655277"/>
                        <a:pt x="215819" y="661672"/>
                        <a:pt x="215890" y="662679"/>
                      </a:cubicBezTo>
                      <a:cubicBezTo>
                        <a:pt x="216510" y="671521"/>
                        <a:pt x="204799" y="669800"/>
                        <a:pt x="199599" y="666509"/>
                      </a:cubicBezTo>
                      <a:cubicBezTo>
                        <a:pt x="205759" y="669683"/>
                        <a:pt x="200618" y="674695"/>
                        <a:pt x="196249" y="675538"/>
                      </a:cubicBezTo>
                      <a:cubicBezTo>
                        <a:pt x="196121" y="674894"/>
                        <a:pt x="196706" y="674156"/>
                        <a:pt x="196730" y="673465"/>
                      </a:cubicBezTo>
                      <a:cubicBezTo>
                        <a:pt x="195582" y="674613"/>
                        <a:pt x="194130" y="675210"/>
                        <a:pt x="193158" y="676065"/>
                      </a:cubicBezTo>
                      <a:cubicBezTo>
                        <a:pt x="193181" y="675726"/>
                        <a:pt x="193743" y="674484"/>
                        <a:pt x="193509" y="674192"/>
                      </a:cubicBezTo>
                      <a:cubicBezTo>
                        <a:pt x="190241" y="678302"/>
                        <a:pt x="186306" y="682729"/>
                        <a:pt x="184913" y="675339"/>
                      </a:cubicBezTo>
                      <a:cubicBezTo>
                        <a:pt x="187489" y="683537"/>
                        <a:pt x="173611" y="707230"/>
                        <a:pt x="164136" y="702147"/>
                      </a:cubicBezTo>
                      <a:cubicBezTo>
                        <a:pt x="158222" y="698985"/>
                        <a:pt x="164277" y="694405"/>
                        <a:pt x="165179" y="690634"/>
                      </a:cubicBezTo>
                      <a:cubicBezTo>
                        <a:pt x="166186" y="686454"/>
                        <a:pt x="165237" y="683244"/>
                        <a:pt x="165952" y="679321"/>
                      </a:cubicBezTo>
                      <a:cubicBezTo>
                        <a:pt x="162298" y="682928"/>
                        <a:pt x="166186" y="689815"/>
                        <a:pt x="160225" y="694300"/>
                      </a:cubicBezTo>
                      <a:cubicBezTo>
                        <a:pt x="160506" y="692262"/>
                        <a:pt x="160436" y="689311"/>
                        <a:pt x="161349" y="687063"/>
                      </a:cubicBezTo>
                      <a:cubicBezTo>
                        <a:pt x="158620" y="690201"/>
                        <a:pt x="159792" y="699758"/>
                        <a:pt x="155774" y="698996"/>
                      </a:cubicBezTo>
                      <a:cubicBezTo>
                        <a:pt x="150820" y="698060"/>
                        <a:pt x="154240" y="687964"/>
                        <a:pt x="153819" y="685200"/>
                      </a:cubicBezTo>
                      <a:cubicBezTo>
                        <a:pt x="153456" y="686172"/>
                        <a:pt x="153092" y="687156"/>
                        <a:pt x="152718" y="688128"/>
                      </a:cubicBezTo>
                      <a:cubicBezTo>
                        <a:pt x="151254" y="683654"/>
                        <a:pt x="154779" y="680726"/>
                        <a:pt x="158878" y="680844"/>
                      </a:cubicBezTo>
                      <a:cubicBezTo>
                        <a:pt x="157367" y="679965"/>
                        <a:pt x="155165" y="679579"/>
                        <a:pt x="153807" y="679321"/>
                      </a:cubicBezTo>
                      <a:cubicBezTo>
                        <a:pt x="147975" y="684650"/>
                        <a:pt x="153210" y="706094"/>
                        <a:pt x="139097" y="698458"/>
                      </a:cubicBezTo>
                      <a:cubicBezTo>
                        <a:pt x="141088" y="696560"/>
                        <a:pt x="140397" y="695717"/>
                        <a:pt x="140959" y="694359"/>
                      </a:cubicBezTo>
                      <a:cubicBezTo>
                        <a:pt x="140245" y="694944"/>
                        <a:pt x="140268" y="695413"/>
                        <a:pt x="139425" y="695799"/>
                      </a:cubicBezTo>
                      <a:cubicBezTo>
                        <a:pt x="137692" y="690705"/>
                        <a:pt x="139437" y="687812"/>
                        <a:pt x="143114" y="685200"/>
                      </a:cubicBezTo>
                      <a:cubicBezTo>
                        <a:pt x="142505" y="685575"/>
                        <a:pt x="141908" y="685950"/>
                        <a:pt x="141311" y="686336"/>
                      </a:cubicBezTo>
                      <a:cubicBezTo>
                        <a:pt x="138242" y="678431"/>
                        <a:pt x="143243" y="678841"/>
                        <a:pt x="146674" y="673852"/>
                      </a:cubicBezTo>
                      <a:cubicBezTo>
                        <a:pt x="145316" y="674707"/>
                        <a:pt x="141627" y="675948"/>
                        <a:pt x="140854" y="677108"/>
                      </a:cubicBezTo>
                      <a:cubicBezTo>
                        <a:pt x="139027" y="679883"/>
                        <a:pt x="140842" y="682273"/>
                        <a:pt x="139940" y="684451"/>
                      </a:cubicBezTo>
                      <a:cubicBezTo>
                        <a:pt x="138804" y="687144"/>
                        <a:pt x="130325" y="700976"/>
                        <a:pt x="128065" y="692180"/>
                      </a:cubicBezTo>
                      <a:cubicBezTo>
                        <a:pt x="126941" y="692168"/>
                        <a:pt x="128311" y="693492"/>
                        <a:pt x="126285" y="691478"/>
                      </a:cubicBezTo>
                      <a:cubicBezTo>
                        <a:pt x="132433" y="688468"/>
                        <a:pt x="133710" y="683783"/>
                        <a:pt x="136310" y="678583"/>
                      </a:cubicBezTo>
                      <a:cubicBezTo>
                        <a:pt x="135162" y="679754"/>
                        <a:pt x="124247" y="696174"/>
                        <a:pt x="124587" y="688842"/>
                      </a:cubicBezTo>
                      <a:cubicBezTo>
                        <a:pt x="124704" y="686547"/>
                        <a:pt x="129939" y="680316"/>
                        <a:pt x="130630" y="676651"/>
                      </a:cubicBezTo>
                      <a:cubicBezTo>
                        <a:pt x="131286" y="673161"/>
                        <a:pt x="129131" y="670350"/>
                        <a:pt x="133124" y="667961"/>
                      </a:cubicBezTo>
                      <a:cubicBezTo>
                        <a:pt x="131543" y="665033"/>
                        <a:pt x="131309" y="661543"/>
                        <a:pt x="133124" y="659177"/>
                      </a:cubicBezTo>
                      <a:cubicBezTo>
                        <a:pt x="132867" y="659130"/>
                        <a:pt x="129915" y="658767"/>
                        <a:pt x="130232" y="658779"/>
                      </a:cubicBezTo>
                      <a:cubicBezTo>
                        <a:pt x="130009" y="664904"/>
                        <a:pt x="131426" y="671135"/>
                        <a:pt x="125371" y="674601"/>
                      </a:cubicBezTo>
                      <a:cubicBezTo>
                        <a:pt x="126531" y="672891"/>
                        <a:pt x="127046" y="670479"/>
                        <a:pt x="127772" y="668839"/>
                      </a:cubicBezTo>
                      <a:cubicBezTo>
                        <a:pt x="126788" y="671920"/>
                        <a:pt x="125032" y="673231"/>
                        <a:pt x="122104" y="671451"/>
                      </a:cubicBezTo>
                      <a:cubicBezTo>
                        <a:pt x="122607" y="677857"/>
                        <a:pt x="114995" y="687964"/>
                        <a:pt x="109608" y="687695"/>
                      </a:cubicBezTo>
                      <a:cubicBezTo>
                        <a:pt x="101058" y="687238"/>
                        <a:pt x="109362" y="665900"/>
                        <a:pt x="109174" y="658463"/>
                      </a:cubicBezTo>
                      <a:cubicBezTo>
                        <a:pt x="114187" y="659494"/>
                        <a:pt x="113437" y="652806"/>
                        <a:pt x="114398" y="648215"/>
                      </a:cubicBezTo>
                      <a:cubicBezTo>
                        <a:pt x="115592" y="642500"/>
                        <a:pt x="113906" y="639104"/>
                        <a:pt x="119164" y="636398"/>
                      </a:cubicBezTo>
                      <a:cubicBezTo>
                        <a:pt x="117618" y="634033"/>
                        <a:pt x="120394" y="623961"/>
                        <a:pt x="120370" y="624078"/>
                      </a:cubicBezTo>
                      <a:cubicBezTo>
                        <a:pt x="119726" y="627299"/>
                        <a:pt x="123544" y="620248"/>
                        <a:pt x="122162" y="622368"/>
                      </a:cubicBezTo>
                      <a:cubicBezTo>
                        <a:pt x="122666" y="621595"/>
                        <a:pt x="121916" y="618035"/>
                        <a:pt x="123415" y="616536"/>
                      </a:cubicBezTo>
                      <a:cubicBezTo>
                        <a:pt x="124212" y="617051"/>
                        <a:pt x="125125" y="617437"/>
                        <a:pt x="125933" y="618000"/>
                      </a:cubicBezTo>
                      <a:cubicBezTo>
                        <a:pt x="124458" y="613011"/>
                        <a:pt x="124294" y="607330"/>
                        <a:pt x="124153" y="602423"/>
                      </a:cubicBezTo>
                      <a:cubicBezTo>
                        <a:pt x="124950" y="603126"/>
                        <a:pt x="126121" y="603676"/>
                        <a:pt x="127011" y="604391"/>
                      </a:cubicBezTo>
                      <a:cubicBezTo>
                        <a:pt x="125196" y="599085"/>
                        <a:pt x="122572" y="594167"/>
                        <a:pt x="120558" y="589002"/>
                      </a:cubicBezTo>
                      <a:cubicBezTo>
                        <a:pt x="117665" y="581600"/>
                        <a:pt x="121471" y="578989"/>
                        <a:pt x="118942" y="572173"/>
                      </a:cubicBezTo>
                      <a:cubicBezTo>
                        <a:pt x="117958" y="569537"/>
                        <a:pt x="115662" y="567792"/>
                        <a:pt x="114925" y="566539"/>
                      </a:cubicBezTo>
                      <a:cubicBezTo>
                        <a:pt x="114327" y="565520"/>
                        <a:pt x="112407" y="567254"/>
                        <a:pt x="111926" y="564771"/>
                      </a:cubicBezTo>
                      <a:cubicBezTo>
                        <a:pt x="111505" y="562581"/>
                        <a:pt x="114093" y="564267"/>
                        <a:pt x="113999" y="563857"/>
                      </a:cubicBezTo>
                      <a:cubicBezTo>
                        <a:pt x="114304" y="565274"/>
                        <a:pt x="116248" y="564197"/>
                        <a:pt x="116248" y="563307"/>
                      </a:cubicBezTo>
                      <a:cubicBezTo>
                        <a:pt x="116260" y="561866"/>
                        <a:pt x="114714" y="561187"/>
                        <a:pt x="114292" y="560156"/>
                      </a:cubicBezTo>
                      <a:cubicBezTo>
                        <a:pt x="113109" y="557264"/>
                        <a:pt x="109362" y="554172"/>
                        <a:pt x="107698" y="550869"/>
                      </a:cubicBezTo>
                      <a:cubicBezTo>
                        <a:pt x="110240" y="546840"/>
                        <a:pt x="105626" y="543655"/>
                        <a:pt x="102674" y="540118"/>
                      </a:cubicBezTo>
                      <a:cubicBezTo>
                        <a:pt x="105216" y="541043"/>
                        <a:pt x="106598" y="540153"/>
                        <a:pt x="109479" y="540118"/>
                      </a:cubicBezTo>
                      <a:cubicBezTo>
                        <a:pt x="105813" y="540598"/>
                        <a:pt x="102991" y="537295"/>
                        <a:pt x="102674" y="533114"/>
                      </a:cubicBezTo>
                      <a:cubicBezTo>
                        <a:pt x="100484" y="540469"/>
                        <a:pt x="93504" y="527001"/>
                        <a:pt x="99840" y="521262"/>
                      </a:cubicBezTo>
                      <a:cubicBezTo>
                        <a:pt x="93914" y="522609"/>
                        <a:pt x="97709" y="508743"/>
                        <a:pt x="98400" y="504948"/>
                      </a:cubicBezTo>
                      <a:cubicBezTo>
                        <a:pt x="97123" y="506775"/>
                        <a:pt x="94172" y="525244"/>
                        <a:pt x="91021" y="514622"/>
                      </a:cubicBezTo>
                      <a:cubicBezTo>
                        <a:pt x="91982" y="520326"/>
                        <a:pt x="95214" y="528242"/>
                        <a:pt x="91291" y="533641"/>
                      </a:cubicBezTo>
                      <a:cubicBezTo>
                        <a:pt x="84100" y="529086"/>
                        <a:pt x="80586" y="526099"/>
                        <a:pt x="76698" y="520115"/>
                      </a:cubicBezTo>
                      <a:cubicBezTo>
                        <a:pt x="74145" y="516203"/>
                        <a:pt x="62024" y="501575"/>
                        <a:pt x="72377" y="504000"/>
                      </a:cubicBezTo>
                      <a:cubicBezTo>
                        <a:pt x="78349" y="505393"/>
                        <a:pt x="79661" y="517245"/>
                        <a:pt x="89557" y="511027"/>
                      </a:cubicBezTo>
                      <a:cubicBezTo>
                        <a:pt x="91431" y="509843"/>
                        <a:pt x="94195" y="506447"/>
                        <a:pt x="94277" y="504093"/>
                      </a:cubicBezTo>
                      <a:cubicBezTo>
                        <a:pt x="94383" y="500873"/>
                        <a:pt x="92134" y="500182"/>
                        <a:pt x="91630" y="499374"/>
                      </a:cubicBezTo>
                      <a:cubicBezTo>
                        <a:pt x="87742" y="498729"/>
                        <a:pt x="76745" y="490379"/>
                        <a:pt x="84486" y="490461"/>
                      </a:cubicBezTo>
                      <a:cubicBezTo>
                        <a:pt x="85201" y="488224"/>
                        <a:pt x="85681" y="487709"/>
                        <a:pt x="84826" y="485624"/>
                      </a:cubicBezTo>
                      <a:cubicBezTo>
                        <a:pt x="83046" y="491503"/>
                        <a:pt x="77541" y="488751"/>
                        <a:pt x="81957" y="484547"/>
                      </a:cubicBezTo>
                      <a:cubicBezTo>
                        <a:pt x="79907" y="486304"/>
                        <a:pt x="77483" y="487580"/>
                        <a:pt x="75890" y="484886"/>
                      </a:cubicBezTo>
                      <a:cubicBezTo>
                        <a:pt x="75258" y="485589"/>
                        <a:pt x="74719" y="486456"/>
                        <a:pt x="74122" y="487100"/>
                      </a:cubicBezTo>
                      <a:cubicBezTo>
                        <a:pt x="73454" y="482767"/>
                        <a:pt x="76370" y="477262"/>
                        <a:pt x="81230" y="478211"/>
                      </a:cubicBezTo>
                      <a:cubicBezTo>
                        <a:pt x="81523" y="476489"/>
                        <a:pt x="80071" y="477754"/>
                        <a:pt x="81617" y="476360"/>
                      </a:cubicBezTo>
                      <a:cubicBezTo>
                        <a:pt x="78537" y="475072"/>
                        <a:pt x="74684" y="478140"/>
                        <a:pt x="71252" y="477098"/>
                      </a:cubicBezTo>
                      <a:lnTo>
                        <a:pt x="72259" y="476360"/>
                      </a:lnTo>
                      <a:cubicBezTo>
                        <a:pt x="69823" y="474592"/>
                        <a:pt x="69168" y="474358"/>
                        <a:pt x="70140" y="471886"/>
                      </a:cubicBezTo>
                      <a:cubicBezTo>
                        <a:pt x="69367" y="472613"/>
                        <a:pt x="69015" y="472917"/>
                        <a:pt x="68406" y="473737"/>
                      </a:cubicBezTo>
                      <a:cubicBezTo>
                        <a:pt x="68301" y="473784"/>
                        <a:pt x="67376" y="472625"/>
                        <a:pt x="67270" y="472660"/>
                      </a:cubicBezTo>
                      <a:cubicBezTo>
                        <a:pt x="64272" y="476208"/>
                        <a:pt x="62914" y="469943"/>
                        <a:pt x="62281" y="467038"/>
                      </a:cubicBezTo>
                      <a:cubicBezTo>
                        <a:pt x="62199" y="468186"/>
                        <a:pt x="61696" y="469743"/>
                        <a:pt x="61590" y="470411"/>
                      </a:cubicBezTo>
                      <a:cubicBezTo>
                        <a:pt x="61508" y="469216"/>
                        <a:pt x="60735" y="467471"/>
                        <a:pt x="60489" y="466300"/>
                      </a:cubicBezTo>
                      <a:cubicBezTo>
                        <a:pt x="58323" y="470563"/>
                        <a:pt x="52092" y="469439"/>
                        <a:pt x="49422" y="466710"/>
                      </a:cubicBezTo>
                      <a:cubicBezTo>
                        <a:pt x="51015" y="471582"/>
                        <a:pt x="54130" y="476606"/>
                        <a:pt x="55161" y="481560"/>
                      </a:cubicBezTo>
                      <a:cubicBezTo>
                        <a:pt x="53474" y="479874"/>
                        <a:pt x="50347" y="469626"/>
                        <a:pt x="48321" y="472589"/>
                      </a:cubicBezTo>
                      <a:cubicBezTo>
                        <a:pt x="46670" y="475013"/>
                        <a:pt x="50054" y="480436"/>
                        <a:pt x="51530" y="482310"/>
                      </a:cubicBezTo>
                      <a:cubicBezTo>
                        <a:pt x="47771" y="478913"/>
                        <a:pt x="41950" y="469966"/>
                        <a:pt x="41154" y="464836"/>
                      </a:cubicBezTo>
                      <a:cubicBezTo>
                        <a:pt x="45030" y="464450"/>
                        <a:pt x="44269" y="464789"/>
                        <a:pt x="46892" y="462611"/>
                      </a:cubicBezTo>
                      <a:cubicBezTo>
                        <a:pt x="46881" y="462611"/>
                        <a:pt x="47361" y="463724"/>
                        <a:pt x="47618" y="463724"/>
                      </a:cubicBezTo>
                      <a:cubicBezTo>
                        <a:pt x="48134" y="462517"/>
                        <a:pt x="48602" y="461206"/>
                        <a:pt x="49024" y="460023"/>
                      </a:cubicBezTo>
                      <a:cubicBezTo>
                        <a:pt x="36844" y="470305"/>
                        <a:pt x="46529" y="453417"/>
                        <a:pt x="47935" y="448452"/>
                      </a:cubicBezTo>
                      <a:cubicBezTo>
                        <a:pt x="43402" y="459496"/>
                        <a:pt x="46646" y="442526"/>
                        <a:pt x="46529" y="441741"/>
                      </a:cubicBezTo>
                      <a:cubicBezTo>
                        <a:pt x="43355" y="447995"/>
                        <a:pt x="44772" y="458020"/>
                        <a:pt x="38401" y="462435"/>
                      </a:cubicBezTo>
                      <a:cubicBezTo>
                        <a:pt x="31211" y="467413"/>
                        <a:pt x="28517" y="456603"/>
                        <a:pt x="39725" y="454425"/>
                      </a:cubicBezTo>
                      <a:cubicBezTo>
                        <a:pt x="33178" y="453710"/>
                        <a:pt x="36071" y="446344"/>
                        <a:pt x="31890" y="444364"/>
                      </a:cubicBezTo>
                      <a:cubicBezTo>
                        <a:pt x="31667" y="446274"/>
                        <a:pt x="31445" y="445653"/>
                        <a:pt x="30672" y="447152"/>
                      </a:cubicBezTo>
                      <a:cubicBezTo>
                        <a:pt x="30613" y="446847"/>
                        <a:pt x="30976" y="445266"/>
                        <a:pt x="31187" y="445887"/>
                      </a:cubicBezTo>
                      <a:cubicBezTo>
                        <a:pt x="28388" y="442151"/>
                        <a:pt x="27475" y="437466"/>
                        <a:pt x="23657" y="433929"/>
                      </a:cubicBezTo>
                      <a:cubicBezTo>
                        <a:pt x="28540" y="441109"/>
                        <a:pt x="29653" y="449354"/>
                        <a:pt x="28681" y="457786"/>
                      </a:cubicBezTo>
                      <a:cubicBezTo>
                        <a:pt x="24535" y="452047"/>
                        <a:pt x="22064" y="444669"/>
                        <a:pt x="17520" y="439551"/>
                      </a:cubicBezTo>
                      <a:cubicBezTo>
                        <a:pt x="14733" y="436401"/>
                        <a:pt x="11652" y="434773"/>
                        <a:pt x="9638" y="431458"/>
                      </a:cubicBezTo>
                      <a:cubicBezTo>
                        <a:pt x="6511" y="426340"/>
                        <a:pt x="3536" y="416433"/>
                        <a:pt x="1768" y="411127"/>
                      </a:cubicBezTo>
                      <a:cubicBezTo>
                        <a:pt x="105" y="406173"/>
                        <a:pt x="-1266" y="402308"/>
                        <a:pt x="1932" y="396956"/>
                      </a:cubicBezTo>
                      <a:cubicBezTo>
                        <a:pt x="2716" y="395633"/>
                        <a:pt x="5258" y="392892"/>
                        <a:pt x="6874" y="392834"/>
                      </a:cubicBezTo>
                      <a:cubicBezTo>
                        <a:pt x="10868" y="392670"/>
                        <a:pt x="8244" y="396007"/>
                        <a:pt x="10669" y="396745"/>
                      </a:cubicBezTo>
                      <a:cubicBezTo>
                        <a:pt x="11594" y="397026"/>
                        <a:pt x="16407" y="397343"/>
                        <a:pt x="16559" y="397483"/>
                      </a:cubicBezTo>
                      <a:cubicBezTo>
                        <a:pt x="17098" y="397952"/>
                        <a:pt x="19956" y="403363"/>
                        <a:pt x="19722" y="403327"/>
                      </a:cubicBezTo>
                      <a:cubicBezTo>
                        <a:pt x="27018" y="404627"/>
                        <a:pt x="22076" y="394977"/>
                        <a:pt x="21373" y="390796"/>
                      </a:cubicBezTo>
                      <a:cubicBezTo>
                        <a:pt x="20225" y="383980"/>
                        <a:pt x="19241" y="370195"/>
                        <a:pt x="20998" y="363953"/>
                      </a:cubicBezTo>
                      <a:cubicBezTo>
                        <a:pt x="21057" y="363766"/>
                        <a:pt x="25858" y="356996"/>
                        <a:pt x="25753" y="357078"/>
                      </a:cubicBezTo>
                      <a:cubicBezTo>
                        <a:pt x="27978" y="355521"/>
                        <a:pt x="26561" y="353506"/>
                        <a:pt x="31667" y="357992"/>
                      </a:cubicBezTo>
                      <a:cubicBezTo>
                        <a:pt x="34068" y="360100"/>
                        <a:pt x="35673" y="362255"/>
                        <a:pt x="36329" y="365241"/>
                      </a:cubicBezTo>
                      <a:cubicBezTo>
                        <a:pt x="37558" y="361376"/>
                        <a:pt x="40428" y="363414"/>
                        <a:pt x="40392" y="363449"/>
                      </a:cubicBezTo>
                      <a:cubicBezTo>
                        <a:pt x="41283" y="362501"/>
                        <a:pt x="40428" y="361271"/>
                        <a:pt x="40990" y="360533"/>
                      </a:cubicBezTo>
                      <a:cubicBezTo>
                        <a:pt x="44222" y="356282"/>
                        <a:pt x="42547" y="349033"/>
                        <a:pt x="50101" y="352628"/>
                      </a:cubicBezTo>
                      <a:cubicBezTo>
                        <a:pt x="49563" y="348822"/>
                        <a:pt x="52315" y="346011"/>
                        <a:pt x="50710" y="339417"/>
                      </a:cubicBezTo>
                      <a:cubicBezTo>
                        <a:pt x="49797" y="335681"/>
                        <a:pt x="46728" y="331067"/>
                        <a:pt x="46881" y="326816"/>
                      </a:cubicBezTo>
                      <a:cubicBezTo>
                        <a:pt x="47115" y="320492"/>
                        <a:pt x="50675" y="319859"/>
                        <a:pt x="51858" y="314542"/>
                      </a:cubicBezTo>
                      <a:cubicBezTo>
                        <a:pt x="53041" y="309225"/>
                        <a:pt x="47044" y="308148"/>
                        <a:pt x="52971" y="305079"/>
                      </a:cubicBezTo>
                      <a:cubicBezTo>
                        <a:pt x="55407" y="303826"/>
                        <a:pt x="57070" y="310068"/>
                        <a:pt x="61169" y="303065"/>
                      </a:cubicBezTo>
                      <a:cubicBezTo>
                        <a:pt x="63464" y="299153"/>
                        <a:pt x="63323" y="291435"/>
                        <a:pt x="63804" y="287032"/>
                      </a:cubicBezTo>
                      <a:cubicBezTo>
                        <a:pt x="64577" y="280040"/>
                        <a:pt x="64389" y="273751"/>
                        <a:pt x="63089" y="267907"/>
                      </a:cubicBezTo>
                      <a:cubicBezTo>
                        <a:pt x="62527" y="265424"/>
                        <a:pt x="57936" y="254825"/>
                        <a:pt x="58452" y="252014"/>
                      </a:cubicBezTo>
                      <a:cubicBezTo>
                        <a:pt x="59880" y="244050"/>
                        <a:pt x="62469" y="251745"/>
                        <a:pt x="65818" y="253560"/>
                      </a:cubicBezTo>
                      <a:cubicBezTo>
                        <a:pt x="68957" y="255258"/>
                        <a:pt x="70339" y="254099"/>
                        <a:pt x="73290" y="253642"/>
                      </a:cubicBezTo>
                      <a:cubicBezTo>
                        <a:pt x="79005" y="252752"/>
                        <a:pt x="83854" y="254204"/>
                        <a:pt x="89546" y="256102"/>
                      </a:cubicBezTo>
                      <a:cubicBezTo>
                        <a:pt x="92356" y="257050"/>
                        <a:pt x="99840" y="261782"/>
                        <a:pt x="101339" y="261337"/>
                      </a:cubicBezTo>
                      <a:cubicBezTo>
                        <a:pt x="103834" y="260587"/>
                        <a:pt x="110545" y="236192"/>
                        <a:pt x="111798" y="233299"/>
                      </a:cubicBezTo>
                      <a:cubicBezTo>
                        <a:pt x="115534" y="224621"/>
                        <a:pt x="121307" y="216657"/>
                        <a:pt x="125922" y="209150"/>
                      </a:cubicBezTo>
                      <a:cubicBezTo>
                        <a:pt x="127995" y="205777"/>
                        <a:pt x="133312" y="196806"/>
                        <a:pt x="131965" y="192613"/>
                      </a:cubicBezTo>
                      <a:cubicBezTo>
                        <a:pt x="129505" y="184931"/>
                        <a:pt x="120733" y="190154"/>
                        <a:pt x="125547" y="178595"/>
                      </a:cubicBezTo>
                      <a:cubicBezTo>
                        <a:pt x="129330" y="169530"/>
                        <a:pt x="138933" y="166836"/>
                        <a:pt x="144332" y="158674"/>
                      </a:cubicBezTo>
                      <a:cubicBezTo>
                        <a:pt x="145749" y="156530"/>
                        <a:pt x="147131" y="157350"/>
                        <a:pt x="147811" y="154914"/>
                      </a:cubicBezTo>
                      <a:cubicBezTo>
                        <a:pt x="148701" y="151717"/>
                        <a:pt x="146171" y="148953"/>
                        <a:pt x="147705" y="145756"/>
                      </a:cubicBezTo>
                      <a:cubicBezTo>
                        <a:pt x="148595" y="143870"/>
                        <a:pt x="153690" y="142968"/>
                        <a:pt x="154498" y="139947"/>
                      </a:cubicBezTo>
                      <a:cubicBezTo>
                        <a:pt x="155294" y="136995"/>
                        <a:pt x="152460" y="136984"/>
                        <a:pt x="151418" y="134278"/>
                      </a:cubicBezTo>
                      <a:cubicBezTo>
                        <a:pt x="148736" y="127345"/>
                        <a:pt x="149017" y="118070"/>
                        <a:pt x="152765" y="111113"/>
                      </a:cubicBezTo>
                      <a:cubicBezTo>
                        <a:pt x="154556" y="107763"/>
                        <a:pt x="154837" y="106241"/>
                        <a:pt x="158679" y="104437"/>
                      </a:cubicBezTo>
                      <a:cubicBezTo>
                        <a:pt x="158398" y="104566"/>
                        <a:pt x="163176" y="104730"/>
                        <a:pt x="164535" y="104191"/>
                      </a:cubicBezTo>
                      <a:cubicBezTo>
                        <a:pt x="169243" y="102329"/>
                        <a:pt x="168809" y="99846"/>
                        <a:pt x="172229" y="97036"/>
                      </a:cubicBezTo>
                      <a:cubicBezTo>
                        <a:pt x="175251" y="94553"/>
                        <a:pt x="180380" y="94588"/>
                        <a:pt x="183495" y="91777"/>
                      </a:cubicBezTo>
                      <a:cubicBezTo>
                        <a:pt x="188297" y="87456"/>
                        <a:pt x="192525" y="84399"/>
                        <a:pt x="196940" y="79714"/>
                      </a:cubicBezTo>
                      <a:cubicBezTo>
                        <a:pt x="205993" y="70111"/>
                        <a:pt x="222460" y="67874"/>
                        <a:pt x="233352" y="66925"/>
                      </a:cubicBezTo>
                      <a:cubicBezTo>
                        <a:pt x="244934" y="65930"/>
                        <a:pt x="241842" y="81495"/>
                        <a:pt x="253870" y="81038"/>
                      </a:cubicBezTo>
                      <a:cubicBezTo>
                        <a:pt x="264680" y="80628"/>
                        <a:pt x="246960" y="64665"/>
                        <a:pt x="245332" y="59126"/>
                      </a:cubicBezTo>
                      <a:cubicBezTo>
                        <a:pt x="242569" y="49698"/>
                        <a:pt x="249584" y="47004"/>
                        <a:pt x="255662" y="41968"/>
                      </a:cubicBezTo>
                      <a:cubicBezTo>
                        <a:pt x="258801" y="39345"/>
                        <a:pt x="262701" y="36897"/>
                        <a:pt x="265781" y="34754"/>
                      </a:cubicBezTo>
                      <a:cubicBezTo>
                        <a:pt x="266425" y="34309"/>
                        <a:pt x="270430" y="36147"/>
                        <a:pt x="270055" y="29179"/>
                      </a:cubicBezTo>
                      <a:cubicBezTo>
                        <a:pt x="269868" y="25794"/>
                        <a:pt x="266999" y="25525"/>
                        <a:pt x="267303" y="21531"/>
                      </a:cubicBezTo>
                      <a:cubicBezTo>
                        <a:pt x="267608" y="17456"/>
                        <a:pt x="269318" y="17561"/>
                        <a:pt x="271098" y="14786"/>
                      </a:cubicBezTo>
                      <a:cubicBezTo>
                        <a:pt x="272245" y="13005"/>
                        <a:pt x="273639" y="14036"/>
                        <a:pt x="274822" y="12326"/>
                      </a:cubicBezTo>
                      <a:cubicBezTo>
                        <a:pt x="275619" y="11167"/>
                        <a:pt x="274881" y="8309"/>
                        <a:pt x="275478" y="6927"/>
                      </a:cubicBezTo>
                      <a:cubicBezTo>
                        <a:pt x="277024" y="3308"/>
                        <a:pt x="278839" y="-3028"/>
                        <a:pt x="282212" y="1669"/>
                      </a:cubicBezTo>
                      <a:lnTo>
                        <a:pt x="282212" y="1669"/>
                      </a:lnTo>
                      <a:close/>
                    </a:path>
                  </a:pathLst>
                </a:custGeom>
                <a:solidFill>
                  <a:srgbClr val="D6D6D2"/>
                </a:solidFill>
                <a:ln w="8774" cap="rnd">
                  <a:solidFill>
                    <a:srgbClr val="FFFFFF"/>
                  </a:solidFill>
                  <a:prstDash val="solid"/>
                  <a:round/>
                </a:ln>
              </p:spPr>
              <p:txBody>
                <a:bodyPr rtlCol="0" anchor="ctr"/>
                <a:lstStyle/>
                <a:p>
                  <a:endParaRPr lang="en-US"/>
                </a:p>
              </p:txBody>
            </p:sp>
            <p:sp>
              <p:nvSpPr>
                <p:cNvPr id="119" name="Freeform: Shape 118">
                  <a:extLst>
                    <a:ext uri="{FF2B5EF4-FFF2-40B4-BE49-F238E27FC236}">
                      <a16:creationId xmlns:a16="http://schemas.microsoft.com/office/drawing/2014/main" id="{C1E468E1-EDEA-4E6D-B73E-A829E4366CA9}"/>
                    </a:ext>
                  </a:extLst>
                </p:cNvPr>
                <p:cNvSpPr/>
                <p:nvPr/>
              </p:nvSpPr>
              <p:spPr>
                <a:xfrm>
                  <a:off x="1276357" y="5566130"/>
                  <a:ext cx="114828" cy="203908"/>
                </a:xfrm>
                <a:custGeom>
                  <a:avLst/>
                  <a:gdLst>
                    <a:gd name="connsiteX0" fmla="*/ 40217 w 114828"/>
                    <a:gd name="connsiteY0" fmla="*/ 13182 h 203908"/>
                    <a:gd name="connsiteX1" fmla="*/ 57445 w 114828"/>
                    <a:gd name="connsiteY1" fmla="*/ 28255 h 203908"/>
                    <a:gd name="connsiteX2" fmla="*/ 54213 w 114828"/>
                    <a:gd name="connsiteY2" fmla="*/ 27516 h 203908"/>
                    <a:gd name="connsiteX3" fmla="*/ 58253 w 114828"/>
                    <a:gd name="connsiteY3" fmla="*/ 31171 h 203908"/>
                    <a:gd name="connsiteX4" fmla="*/ 58440 w 114828"/>
                    <a:gd name="connsiteY4" fmla="*/ 29320 h 203908"/>
                    <a:gd name="connsiteX5" fmla="*/ 61825 w 114828"/>
                    <a:gd name="connsiteY5" fmla="*/ 36136 h 203908"/>
                    <a:gd name="connsiteX6" fmla="*/ 59331 w 114828"/>
                    <a:gd name="connsiteY6" fmla="*/ 36324 h 203908"/>
                    <a:gd name="connsiteX7" fmla="*/ 61450 w 114828"/>
                    <a:gd name="connsiteY7" fmla="*/ 38326 h 203908"/>
                    <a:gd name="connsiteX8" fmla="*/ 62563 w 114828"/>
                    <a:gd name="connsiteY8" fmla="*/ 37635 h 203908"/>
                    <a:gd name="connsiteX9" fmla="*/ 65069 w 114828"/>
                    <a:gd name="connsiteY9" fmla="*/ 43737 h 203908"/>
                    <a:gd name="connsiteX10" fmla="*/ 61450 w 114828"/>
                    <a:gd name="connsiteY10" fmla="*/ 41582 h 203908"/>
                    <a:gd name="connsiteX11" fmla="*/ 63523 w 114828"/>
                    <a:gd name="connsiteY11" fmla="*/ 46712 h 203908"/>
                    <a:gd name="connsiteX12" fmla="*/ 66838 w 114828"/>
                    <a:gd name="connsiteY12" fmla="*/ 44815 h 203908"/>
                    <a:gd name="connsiteX13" fmla="*/ 77167 w 114828"/>
                    <a:gd name="connsiteY13" fmla="*/ 59595 h 203908"/>
                    <a:gd name="connsiteX14" fmla="*/ 78619 w 114828"/>
                    <a:gd name="connsiteY14" fmla="*/ 64255 h 203908"/>
                    <a:gd name="connsiteX15" fmla="*/ 80985 w 114828"/>
                    <a:gd name="connsiteY15" fmla="*/ 67640 h 203908"/>
                    <a:gd name="connsiteX16" fmla="*/ 79697 w 114828"/>
                    <a:gd name="connsiteY16" fmla="*/ 67851 h 203908"/>
                    <a:gd name="connsiteX17" fmla="*/ 79041 w 114828"/>
                    <a:gd name="connsiteY17" fmla="*/ 66223 h 203908"/>
                    <a:gd name="connsiteX18" fmla="*/ 78936 w 114828"/>
                    <a:gd name="connsiteY18" fmla="*/ 69678 h 203908"/>
                    <a:gd name="connsiteX19" fmla="*/ 74942 w 114828"/>
                    <a:gd name="connsiteY19" fmla="*/ 69971 h 203908"/>
                    <a:gd name="connsiteX20" fmla="*/ 83164 w 114828"/>
                    <a:gd name="connsiteY20" fmla="*/ 70650 h 203908"/>
                    <a:gd name="connsiteX21" fmla="*/ 88270 w 114828"/>
                    <a:gd name="connsiteY21" fmla="*/ 77209 h 203908"/>
                    <a:gd name="connsiteX22" fmla="*/ 86326 w 114828"/>
                    <a:gd name="connsiteY22" fmla="*/ 75054 h 203908"/>
                    <a:gd name="connsiteX23" fmla="*/ 90413 w 114828"/>
                    <a:gd name="connsiteY23" fmla="*/ 90899 h 203908"/>
                    <a:gd name="connsiteX24" fmla="*/ 88645 w 114828"/>
                    <a:gd name="connsiteY24" fmla="*/ 86238 h 203908"/>
                    <a:gd name="connsiteX25" fmla="*/ 92193 w 114828"/>
                    <a:gd name="connsiteY25" fmla="*/ 90220 h 203908"/>
                    <a:gd name="connsiteX26" fmla="*/ 95835 w 114828"/>
                    <a:gd name="connsiteY26" fmla="*/ 95596 h 203908"/>
                    <a:gd name="connsiteX27" fmla="*/ 96152 w 114828"/>
                    <a:gd name="connsiteY27" fmla="*/ 97024 h 203908"/>
                    <a:gd name="connsiteX28" fmla="*/ 97229 w 114828"/>
                    <a:gd name="connsiteY28" fmla="*/ 96345 h 203908"/>
                    <a:gd name="connsiteX29" fmla="*/ 99044 w 114828"/>
                    <a:gd name="connsiteY29" fmla="*/ 100643 h 203908"/>
                    <a:gd name="connsiteX30" fmla="*/ 105169 w 114828"/>
                    <a:gd name="connsiteY30" fmla="*/ 111430 h 203908"/>
                    <a:gd name="connsiteX31" fmla="*/ 99044 w 114828"/>
                    <a:gd name="connsiteY31" fmla="*/ 110668 h 203908"/>
                    <a:gd name="connsiteX32" fmla="*/ 105099 w 114828"/>
                    <a:gd name="connsiteY32" fmla="*/ 116126 h 203908"/>
                    <a:gd name="connsiteX33" fmla="*/ 105228 w 114828"/>
                    <a:gd name="connsiteY33" fmla="*/ 115002 h 203908"/>
                    <a:gd name="connsiteX34" fmla="*/ 108203 w 114828"/>
                    <a:gd name="connsiteY34" fmla="*/ 124804 h 203908"/>
                    <a:gd name="connsiteX35" fmla="*/ 109749 w 114828"/>
                    <a:gd name="connsiteY35" fmla="*/ 127252 h 203908"/>
                    <a:gd name="connsiteX36" fmla="*/ 110123 w 114828"/>
                    <a:gd name="connsiteY36" fmla="*/ 127252 h 203908"/>
                    <a:gd name="connsiteX37" fmla="*/ 110779 w 114828"/>
                    <a:gd name="connsiteY37" fmla="*/ 123773 h 203908"/>
                    <a:gd name="connsiteX38" fmla="*/ 108449 w 114828"/>
                    <a:gd name="connsiteY38" fmla="*/ 169132 h 203908"/>
                    <a:gd name="connsiteX39" fmla="*/ 68395 w 114828"/>
                    <a:gd name="connsiteY39" fmla="*/ 196022 h 203908"/>
                    <a:gd name="connsiteX40" fmla="*/ 35580 w 114828"/>
                    <a:gd name="connsiteY40" fmla="*/ 202967 h 203908"/>
                    <a:gd name="connsiteX41" fmla="*/ 17392 w 114828"/>
                    <a:gd name="connsiteY41" fmla="*/ 186735 h 203908"/>
                    <a:gd name="connsiteX42" fmla="*/ 6441 w 114828"/>
                    <a:gd name="connsiteY42" fmla="*/ 137991 h 203908"/>
                    <a:gd name="connsiteX43" fmla="*/ 8210 w 114828"/>
                    <a:gd name="connsiteY43" fmla="*/ 142313 h 203908"/>
                    <a:gd name="connsiteX44" fmla="*/ 4368 w 114828"/>
                    <a:gd name="connsiteY44" fmla="*/ 117040 h 203908"/>
                    <a:gd name="connsiteX45" fmla="*/ 0 w 114828"/>
                    <a:gd name="connsiteY45" fmla="*/ 89471 h 203908"/>
                    <a:gd name="connsiteX46" fmla="*/ 351 w 114828"/>
                    <a:gd name="connsiteY46" fmla="*/ 89822 h 203908"/>
                    <a:gd name="connsiteX47" fmla="*/ 4263 w 114828"/>
                    <a:gd name="connsiteY47" fmla="*/ 77923 h 203908"/>
                    <a:gd name="connsiteX48" fmla="*/ 4263 w 114828"/>
                    <a:gd name="connsiteY48" fmla="*/ 82643 h 203908"/>
                    <a:gd name="connsiteX49" fmla="*/ 6734 w 114828"/>
                    <a:gd name="connsiteY49" fmla="*/ 94835 h 203908"/>
                    <a:gd name="connsiteX50" fmla="*/ 7003 w 114828"/>
                    <a:gd name="connsiteY50" fmla="*/ 80066 h 203908"/>
                    <a:gd name="connsiteX51" fmla="*/ 12613 w 114828"/>
                    <a:gd name="connsiteY51" fmla="*/ 55800 h 203908"/>
                    <a:gd name="connsiteX52" fmla="*/ 14546 w 114828"/>
                    <a:gd name="connsiteY52" fmla="*/ 45107 h 203908"/>
                    <a:gd name="connsiteX53" fmla="*/ 21362 w 114828"/>
                    <a:gd name="connsiteY53" fmla="*/ 33501 h 203908"/>
                    <a:gd name="connsiteX54" fmla="*/ 18727 w 114828"/>
                    <a:gd name="connsiteY54" fmla="*/ 24483 h 203908"/>
                    <a:gd name="connsiteX55" fmla="*/ 26082 w 114828"/>
                    <a:gd name="connsiteY55" fmla="*/ 18862 h 203908"/>
                    <a:gd name="connsiteX56" fmla="*/ 18563 w 114828"/>
                    <a:gd name="connsiteY56" fmla="*/ 12385 h 203908"/>
                    <a:gd name="connsiteX57" fmla="*/ 29841 w 114828"/>
                    <a:gd name="connsiteY57" fmla="*/ 19037 h 203908"/>
                    <a:gd name="connsiteX58" fmla="*/ 38062 w 114828"/>
                    <a:gd name="connsiteY58" fmla="*/ 17445 h 203908"/>
                    <a:gd name="connsiteX59" fmla="*/ 47865 w 114828"/>
                    <a:gd name="connsiteY59" fmla="*/ 20279 h 203908"/>
                    <a:gd name="connsiteX60" fmla="*/ 38379 w 114828"/>
                    <a:gd name="connsiteY60" fmla="*/ 16414 h 203908"/>
                    <a:gd name="connsiteX61" fmla="*/ 24852 w 114828"/>
                    <a:gd name="connsiteY61" fmla="*/ 9633 h 203908"/>
                    <a:gd name="connsiteX62" fmla="*/ 25906 w 114828"/>
                    <a:gd name="connsiteY62" fmla="*/ 12901 h 203908"/>
                    <a:gd name="connsiteX63" fmla="*/ 20718 w 114828"/>
                    <a:gd name="connsiteY63" fmla="*/ 9821 h 203908"/>
                    <a:gd name="connsiteX64" fmla="*/ 22884 w 114828"/>
                    <a:gd name="connsiteY64" fmla="*/ 11987 h 203908"/>
                    <a:gd name="connsiteX65" fmla="*/ 11091 w 114828"/>
                    <a:gd name="connsiteY65" fmla="*/ 3332 h 203908"/>
                    <a:gd name="connsiteX66" fmla="*/ 38964 w 114828"/>
                    <a:gd name="connsiteY66" fmla="*/ 13451 h 203908"/>
                    <a:gd name="connsiteX67" fmla="*/ 22943 w 114828"/>
                    <a:gd name="connsiteY67" fmla="*/ 931 h 203908"/>
                    <a:gd name="connsiteX68" fmla="*/ 40217 w 114828"/>
                    <a:gd name="connsiteY68" fmla="*/ 13182 h 203908"/>
                    <a:gd name="connsiteX69" fmla="*/ 40217 w 114828"/>
                    <a:gd name="connsiteY69" fmla="*/ 13182 h 20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14828" h="203908">
                      <a:moveTo>
                        <a:pt x="40217" y="13182"/>
                      </a:moveTo>
                      <a:cubicBezTo>
                        <a:pt x="46073" y="17925"/>
                        <a:pt x="52866" y="22223"/>
                        <a:pt x="57445" y="28255"/>
                      </a:cubicBezTo>
                      <a:cubicBezTo>
                        <a:pt x="56625" y="27997"/>
                        <a:pt x="55255" y="27950"/>
                        <a:pt x="54213" y="27516"/>
                      </a:cubicBezTo>
                      <a:cubicBezTo>
                        <a:pt x="55278" y="29098"/>
                        <a:pt x="56754" y="30070"/>
                        <a:pt x="58253" y="31171"/>
                      </a:cubicBezTo>
                      <a:cubicBezTo>
                        <a:pt x="58312" y="29894"/>
                        <a:pt x="58230" y="30140"/>
                        <a:pt x="58440" y="29320"/>
                      </a:cubicBezTo>
                      <a:cubicBezTo>
                        <a:pt x="59506" y="31358"/>
                        <a:pt x="61099" y="33899"/>
                        <a:pt x="61825" y="36136"/>
                      </a:cubicBezTo>
                      <a:cubicBezTo>
                        <a:pt x="61439" y="36195"/>
                        <a:pt x="59178" y="36336"/>
                        <a:pt x="59331" y="36324"/>
                      </a:cubicBezTo>
                      <a:cubicBezTo>
                        <a:pt x="61216" y="36968"/>
                        <a:pt x="60701" y="36933"/>
                        <a:pt x="61450" y="38326"/>
                      </a:cubicBezTo>
                      <a:cubicBezTo>
                        <a:pt x="61977" y="38432"/>
                        <a:pt x="62106" y="37530"/>
                        <a:pt x="62563" y="37635"/>
                      </a:cubicBezTo>
                      <a:cubicBezTo>
                        <a:pt x="63863" y="39732"/>
                        <a:pt x="65034" y="42566"/>
                        <a:pt x="65069" y="43737"/>
                      </a:cubicBezTo>
                      <a:cubicBezTo>
                        <a:pt x="63758" y="42718"/>
                        <a:pt x="62973" y="42437"/>
                        <a:pt x="61450" y="41582"/>
                      </a:cubicBezTo>
                      <a:cubicBezTo>
                        <a:pt x="63839" y="44112"/>
                        <a:pt x="63149" y="44908"/>
                        <a:pt x="63523" y="46712"/>
                      </a:cubicBezTo>
                      <a:cubicBezTo>
                        <a:pt x="65292" y="45857"/>
                        <a:pt x="64905" y="47508"/>
                        <a:pt x="66838" y="44815"/>
                      </a:cubicBezTo>
                      <a:cubicBezTo>
                        <a:pt x="70058" y="50436"/>
                        <a:pt x="75258" y="53540"/>
                        <a:pt x="77167" y="59595"/>
                      </a:cubicBezTo>
                      <a:cubicBezTo>
                        <a:pt x="79158" y="59759"/>
                        <a:pt x="80025" y="61550"/>
                        <a:pt x="78619" y="64255"/>
                      </a:cubicBezTo>
                      <a:cubicBezTo>
                        <a:pt x="79111" y="64759"/>
                        <a:pt x="80060" y="66387"/>
                        <a:pt x="80985" y="67640"/>
                      </a:cubicBezTo>
                      <a:cubicBezTo>
                        <a:pt x="80552" y="67711"/>
                        <a:pt x="80130" y="67781"/>
                        <a:pt x="79697" y="67851"/>
                      </a:cubicBezTo>
                      <a:cubicBezTo>
                        <a:pt x="81079" y="68343"/>
                        <a:pt x="78760" y="66012"/>
                        <a:pt x="79041" y="66223"/>
                      </a:cubicBezTo>
                      <a:cubicBezTo>
                        <a:pt x="79228" y="67137"/>
                        <a:pt x="78889" y="68741"/>
                        <a:pt x="78936" y="69678"/>
                      </a:cubicBezTo>
                      <a:cubicBezTo>
                        <a:pt x="76605" y="69303"/>
                        <a:pt x="75633" y="69912"/>
                        <a:pt x="74942" y="69971"/>
                      </a:cubicBezTo>
                      <a:cubicBezTo>
                        <a:pt x="75293" y="69959"/>
                        <a:pt x="83761" y="70884"/>
                        <a:pt x="83164" y="70650"/>
                      </a:cubicBezTo>
                      <a:cubicBezTo>
                        <a:pt x="85260" y="71493"/>
                        <a:pt x="88047" y="69397"/>
                        <a:pt x="88270" y="77209"/>
                      </a:cubicBezTo>
                      <a:cubicBezTo>
                        <a:pt x="87544" y="76810"/>
                        <a:pt x="86829" y="75639"/>
                        <a:pt x="86326" y="75054"/>
                      </a:cubicBezTo>
                      <a:cubicBezTo>
                        <a:pt x="87754" y="79363"/>
                        <a:pt x="92849" y="85301"/>
                        <a:pt x="90413" y="90899"/>
                      </a:cubicBezTo>
                      <a:cubicBezTo>
                        <a:pt x="90050" y="89213"/>
                        <a:pt x="89043" y="87456"/>
                        <a:pt x="88645" y="86238"/>
                      </a:cubicBezTo>
                      <a:cubicBezTo>
                        <a:pt x="88399" y="89693"/>
                        <a:pt x="89640" y="91462"/>
                        <a:pt x="92193" y="90220"/>
                      </a:cubicBezTo>
                      <a:cubicBezTo>
                        <a:pt x="92884" y="93007"/>
                        <a:pt x="94418" y="95350"/>
                        <a:pt x="95835" y="95596"/>
                      </a:cubicBezTo>
                      <a:cubicBezTo>
                        <a:pt x="96117" y="96006"/>
                        <a:pt x="95718" y="96650"/>
                        <a:pt x="96152" y="97024"/>
                      </a:cubicBezTo>
                      <a:cubicBezTo>
                        <a:pt x="96304" y="97060"/>
                        <a:pt x="97053" y="96415"/>
                        <a:pt x="97229" y="96345"/>
                      </a:cubicBezTo>
                      <a:cubicBezTo>
                        <a:pt x="97908" y="98161"/>
                        <a:pt x="97897" y="98723"/>
                        <a:pt x="99044" y="100643"/>
                      </a:cubicBezTo>
                      <a:cubicBezTo>
                        <a:pt x="97440" y="104333"/>
                        <a:pt x="103003" y="107354"/>
                        <a:pt x="105169" y="111430"/>
                      </a:cubicBezTo>
                      <a:cubicBezTo>
                        <a:pt x="103167" y="109720"/>
                        <a:pt x="101012" y="108560"/>
                        <a:pt x="99044" y="110668"/>
                      </a:cubicBezTo>
                      <a:cubicBezTo>
                        <a:pt x="102394" y="110013"/>
                        <a:pt x="104619" y="112706"/>
                        <a:pt x="105099" y="116126"/>
                      </a:cubicBezTo>
                      <a:cubicBezTo>
                        <a:pt x="105509" y="115833"/>
                        <a:pt x="105556" y="115447"/>
                        <a:pt x="105228" y="115002"/>
                      </a:cubicBezTo>
                      <a:cubicBezTo>
                        <a:pt x="108964" y="117332"/>
                        <a:pt x="108097" y="122099"/>
                        <a:pt x="108203" y="124804"/>
                      </a:cubicBezTo>
                      <a:cubicBezTo>
                        <a:pt x="108191" y="124769"/>
                        <a:pt x="109069" y="125530"/>
                        <a:pt x="109749" y="127252"/>
                      </a:cubicBezTo>
                      <a:cubicBezTo>
                        <a:pt x="109878" y="127252"/>
                        <a:pt x="109995" y="127252"/>
                        <a:pt x="110123" y="127252"/>
                      </a:cubicBezTo>
                      <a:cubicBezTo>
                        <a:pt x="110299" y="126010"/>
                        <a:pt x="110674" y="124910"/>
                        <a:pt x="110779" y="123773"/>
                      </a:cubicBezTo>
                      <a:cubicBezTo>
                        <a:pt x="118345" y="135157"/>
                        <a:pt x="113988" y="157667"/>
                        <a:pt x="108449" y="169132"/>
                      </a:cubicBezTo>
                      <a:cubicBezTo>
                        <a:pt x="100625" y="185341"/>
                        <a:pt x="82215" y="191162"/>
                        <a:pt x="68395" y="196022"/>
                      </a:cubicBezTo>
                      <a:cubicBezTo>
                        <a:pt x="55993" y="200379"/>
                        <a:pt x="47994" y="206211"/>
                        <a:pt x="35580" y="202967"/>
                      </a:cubicBezTo>
                      <a:cubicBezTo>
                        <a:pt x="27042" y="200730"/>
                        <a:pt x="20823" y="195870"/>
                        <a:pt x="17392" y="186735"/>
                      </a:cubicBezTo>
                      <a:cubicBezTo>
                        <a:pt x="12075" y="172529"/>
                        <a:pt x="5926" y="153954"/>
                        <a:pt x="6441" y="137991"/>
                      </a:cubicBezTo>
                      <a:cubicBezTo>
                        <a:pt x="6851" y="139467"/>
                        <a:pt x="7694" y="141153"/>
                        <a:pt x="8210" y="142313"/>
                      </a:cubicBezTo>
                      <a:cubicBezTo>
                        <a:pt x="7472" y="135415"/>
                        <a:pt x="4895" y="125577"/>
                        <a:pt x="4368" y="117040"/>
                      </a:cubicBezTo>
                      <a:cubicBezTo>
                        <a:pt x="3935" y="110071"/>
                        <a:pt x="316" y="98090"/>
                        <a:pt x="0" y="89471"/>
                      </a:cubicBezTo>
                      <a:cubicBezTo>
                        <a:pt x="12" y="89588"/>
                        <a:pt x="468" y="89552"/>
                        <a:pt x="351" y="89822"/>
                      </a:cubicBezTo>
                      <a:cubicBezTo>
                        <a:pt x="-738" y="84809"/>
                        <a:pt x="2506" y="82420"/>
                        <a:pt x="4263" y="77923"/>
                      </a:cubicBezTo>
                      <a:cubicBezTo>
                        <a:pt x="2553" y="81635"/>
                        <a:pt x="3783" y="80816"/>
                        <a:pt x="4263" y="82643"/>
                      </a:cubicBezTo>
                      <a:cubicBezTo>
                        <a:pt x="1569" y="87679"/>
                        <a:pt x="2237" y="101955"/>
                        <a:pt x="6734" y="94835"/>
                      </a:cubicBezTo>
                      <a:cubicBezTo>
                        <a:pt x="7121" y="94214"/>
                        <a:pt x="6535" y="83158"/>
                        <a:pt x="7003" y="80066"/>
                      </a:cubicBezTo>
                      <a:cubicBezTo>
                        <a:pt x="8409" y="70919"/>
                        <a:pt x="12848" y="64888"/>
                        <a:pt x="12613" y="55800"/>
                      </a:cubicBezTo>
                      <a:cubicBezTo>
                        <a:pt x="12426" y="48761"/>
                        <a:pt x="11747" y="49698"/>
                        <a:pt x="14546" y="45107"/>
                      </a:cubicBezTo>
                      <a:cubicBezTo>
                        <a:pt x="17111" y="40915"/>
                        <a:pt x="20847" y="39732"/>
                        <a:pt x="21362" y="33501"/>
                      </a:cubicBezTo>
                      <a:cubicBezTo>
                        <a:pt x="21655" y="29918"/>
                        <a:pt x="18411" y="25994"/>
                        <a:pt x="18727" y="24483"/>
                      </a:cubicBezTo>
                      <a:cubicBezTo>
                        <a:pt x="19336" y="21532"/>
                        <a:pt x="23493" y="20595"/>
                        <a:pt x="26082" y="18862"/>
                      </a:cubicBezTo>
                      <a:cubicBezTo>
                        <a:pt x="24313" y="15910"/>
                        <a:pt x="21245" y="14353"/>
                        <a:pt x="18563" y="12385"/>
                      </a:cubicBezTo>
                      <a:cubicBezTo>
                        <a:pt x="22791" y="13088"/>
                        <a:pt x="29361" y="18920"/>
                        <a:pt x="29841" y="19037"/>
                      </a:cubicBezTo>
                      <a:cubicBezTo>
                        <a:pt x="32464" y="19693"/>
                        <a:pt x="34853" y="17409"/>
                        <a:pt x="38062" y="17445"/>
                      </a:cubicBezTo>
                      <a:cubicBezTo>
                        <a:pt x="41365" y="17480"/>
                        <a:pt x="44715" y="19424"/>
                        <a:pt x="47865" y="20279"/>
                      </a:cubicBezTo>
                      <a:cubicBezTo>
                        <a:pt x="44363" y="17749"/>
                        <a:pt x="41143" y="17609"/>
                        <a:pt x="38379" y="16414"/>
                      </a:cubicBezTo>
                      <a:cubicBezTo>
                        <a:pt x="34198" y="14599"/>
                        <a:pt x="29689" y="10945"/>
                        <a:pt x="24852" y="9633"/>
                      </a:cubicBezTo>
                      <a:cubicBezTo>
                        <a:pt x="25309" y="10687"/>
                        <a:pt x="25566" y="12174"/>
                        <a:pt x="25906" y="12901"/>
                      </a:cubicBezTo>
                      <a:cubicBezTo>
                        <a:pt x="24442" y="12010"/>
                        <a:pt x="22135" y="11120"/>
                        <a:pt x="20718" y="9821"/>
                      </a:cubicBezTo>
                      <a:cubicBezTo>
                        <a:pt x="21409" y="10570"/>
                        <a:pt x="22146" y="11273"/>
                        <a:pt x="22884" y="11987"/>
                      </a:cubicBezTo>
                      <a:cubicBezTo>
                        <a:pt x="18047" y="10875"/>
                        <a:pt x="12485" y="7701"/>
                        <a:pt x="11091" y="3332"/>
                      </a:cubicBezTo>
                      <a:cubicBezTo>
                        <a:pt x="20308" y="-7360"/>
                        <a:pt x="30520" y="10875"/>
                        <a:pt x="38964" y="13451"/>
                      </a:cubicBezTo>
                      <a:cubicBezTo>
                        <a:pt x="33706" y="9446"/>
                        <a:pt x="28190" y="4176"/>
                        <a:pt x="22943" y="931"/>
                      </a:cubicBezTo>
                      <a:cubicBezTo>
                        <a:pt x="30766" y="-3039"/>
                        <a:pt x="33917" y="9949"/>
                        <a:pt x="40217" y="13182"/>
                      </a:cubicBezTo>
                      <a:lnTo>
                        <a:pt x="40217" y="13182"/>
                      </a:lnTo>
                      <a:close/>
                    </a:path>
                  </a:pathLst>
                </a:custGeom>
                <a:solidFill>
                  <a:srgbClr val="D6D6D2"/>
                </a:solidFill>
                <a:ln w="8774" cap="rnd">
                  <a:solidFill>
                    <a:srgbClr val="FFFFFF"/>
                  </a:solidFill>
                  <a:prstDash val="solid"/>
                  <a:round/>
                </a:ln>
              </p:spPr>
              <p:txBody>
                <a:bodyPr rtlCol="0" anchor="ctr"/>
                <a:lstStyle/>
                <a:p>
                  <a:endParaRPr lang="en-US"/>
                </a:p>
              </p:txBody>
            </p:sp>
            <p:sp>
              <p:nvSpPr>
                <p:cNvPr id="120" name="Freeform: Shape 119">
                  <a:extLst>
                    <a:ext uri="{FF2B5EF4-FFF2-40B4-BE49-F238E27FC236}">
                      <a16:creationId xmlns:a16="http://schemas.microsoft.com/office/drawing/2014/main" id="{51C58B9F-2EEB-4E00-B983-3DDEEC4A0386}"/>
                    </a:ext>
                  </a:extLst>
                </p:cNvPr>
                <p:cNvSpPr/>
                <p:nvPr/>
              </p:nvSpPr>
              <p:spPr>
                <a:xfrm>
                  <a:off x="2340402" y="4887724"/>
                  <a:ext cx="393706" cy="462995"/>
                </a:xfrm>
                <a:custGeom>
                  <a:avLst/>
                  <a:gdLst>
                    <a:gd name="connsiteX0" fmla="*/ 105503 w 393706"/>
                    <a:gd name="connsiteY0" fmla="*/ 5034 h 462995"/>
                    <a:gd name="connsiteX1" fmla="*/ 123844 w 393706"/>
                    <a:gd name="connsiteY1" fmla="*/ 26572 h 462995"/>
                    <a:gd name="connsiteX2" fmla="*/ 129348 w 393706"/>
                    <a:gd name="connsiteY2" fmla="*/ 31549 h 462995"/>
                    <a:gd name="connsiteX3" fmla="*/ 132334 w 393706"/>
                    <a:gd name="connsiteY3" fmla="*/ 43191 h 462995"/>
                    <a:gd name="connsiteX4" fmla="*/ 141387 w 393706"/>
                    <a:gd name="connsiteY4" fmla="*/ 35789 h 462995"/>
                    <a:gd name="connsiteX5" fmla="*/ 143964 w 393706"/>
                    <a:gd name="connsiteY5" fmla="*/ 42956 h 462995"/>
                    <a:gd name="connsiteX6" fmla="*/ 149457 w 393706"/>
                    <a:gd name="connsiteY6" fmla="*/ 45966 h 462995"/>
                    <a:gd name="connsiteX7" fmla="*/ 143648 w 393706"/>
                    <a:gd name="connsiteY7" fmla="*/ 58228 h 462995"/>
                    <a:gd name="connsiteX8" fmla="*/ 147208 w 393706"/>
                    <a:gd name="connsiteY8" fmla="*/ 56881 h 462995"/>
                    <a:gd name="connsiteX9" fmla="*/ 141118 w 393706"/>
                    <a:gd name="connsiteY9" fmla="*/ 67539 h 462995"/>
                    <a:gd name="connsiteX10" fmla="*/ 156741 w 393706"/>
                    <a:gd name="connsiteY10" fmla="*/ 87682 h 462995"/>
                    <a:gd name="connsiteX11" fmla="*/ 169893 w 393706"/>
                    <a:gd name="connsiteY11" fmla="*/ 92953 h 462995"/>
                    <a:gd name="connsiteX12" fmla="*/ 173477 w 393706"/>
                    <a:gd name="connsiteY12" fmla="*/ 91337 h 462995"/>
                    <a:gd name="connsiteX13" fmla="*/ 178408 w 393706"/>
                    <a:gd name="connsiteY13" fmla="*/ 95272 h 462995"/>
                    <a:gd name="connsiteX14" fmla="*/ 188456 w 393706"/>
                    <a:gd name="connsiteY14" fmla="*/ 98328 h 462995"/>
                    <a:gd name="connsiteX15" fmla="*/ 192719 w 393706"/>
                    <a:gd name="connsiteY15" fmla="*/ 89709 h 462995"/>
                    <a:gd name="connsiteX16" fmla="*/ 217665 w 393706"/>
                    <a:gd name="connsiteY16" fmla="*/ 87062 h 462995"/>
                    <a:gd name="connsiteX17" fmla="*/ 228463 w 393706"/>
                    <a:gd name="connsiteY17" fmla="*/ 96747 h 462995"/>
                    <a:gd name="connsiteX18" fmla="*/ 235326 w 393706"/>
                    <a:gd name="connsiteY18" fmla="*/ 102146 h 462995"/>
                    <a:gd name="connsiteX19" fmla="*/ 226858 w 393706"/>
                    <a:gd name="connsiteY19" fmla="*/ 106749 h 462995"/>
                    <a:gd name="connsiteX20" fmla="*/ 222396 w 393706"/>
                    <a:gd name="connsiteY20" fmla="*/ 111902 h 462995"/>
                    <a:gd name="connsiteX21" fmla="*/ 239565 w 393706"/>
                    <a:gd name="connsiteY21" fmla="*/ 119210 h 462995"/>
                    <a:gd name="connsiteX22" fmla="*/ 237680 w 393706"/>
                    <a:gd name="connsiteY22" fmla="*/ 123262 h 462995"/>
                    <a:gd name="connsiteX23" fmla="*/ 246369 w 393706"/>
                    <a:gd name="connsiteY23" fmla="*/ 123789 h 462995"/>
                    <a:gd name="connsiteX24" fmla="*/ 253115 w 393706"/>
                    <a:gd name="connsiteY24" fmla="*/ 133966 h 462995"/>
                    <a:gd name="connsiteX25" fmla="*/ 243055 w 393706"/>
                    <a:gd name="connsiteY25" fmla="*/ 142996 h 462995"/>
                    <a:gd name="connsiteX26" fmla="*/ 234307 w 393706"/>
                    <a:gd name="connsiteY26" fmla="*/ 156605 h 462995"/>
                    <a:gd name="connsiteX27" fmla="*/ 224574 w 393706"/>
                    <a:gd name="connsiteY27" fmla="*/ 153970 h 462995"/>
                    <a:gd name="connsiteX28" fmla="*/ 213542 w 393706"/>
                    <a:gd name="connsiteY28" fmla="*/ 152272 h 462995"/>
                    <a:gd name="connsiteX29" fmla="*/ 203693 w 393706"/>
                    <a:gd name="connsiteY29" fmla="*/ 153092 h 462995"/>
                    <a:gd name="connsiteX30" fmla="*/ 208565 w 393706"/>
                    <a:gd name="connsiteY30" fmla="*/ 163117 h 462995"/>
                    <a:gd name="connsiteX31" fmla="*/ 195729 w 393706"/>
                    <a:gd name="connsiteY31" fmla="*/ 173704 h 462995"/>
                    <a:gd name="connsiteX32" fmla="*/ 232035 w 393706"/>
                    <a:gd name="connsiteY32" fmla="*/ 194960 h 462995"/>
                    <a:gd name="connsiteX33" fmla="*/ 251078 w 393706"/>
                    <a:gd name="connsiteY33" fmla="*/ 203674 h 462995"/>
                    <a:gd name="connsiteX34" fmla="*/ 261044 w 393706"/>
                    <a:gd name="connsiteY34" fmla="*/ 206028 h 462995"/>
                    <a:gd name="connsiteX35" fmla="*/ 262133 w 393706"/>
                    <a:gd name="connsiteY35" fmla="*/ 212059 h 462995"/>
                    <a:gd name="connsiteX36" fmla="*/ 262590 w 393706"/>
                    <a:gd name="connsiteY36" fmla="*/ 222623 h 462995"/>
                    <a:gd name="connsiteX37" fmla="*/ 268129 w 393706"/>
                    <a:gd name="connsiteY37" fmla="*/ 230446 h 462995"/>
                    <a:gd name="connsiteX38" fmla="*/ 271772 w 393706"/>
                    <a:gd name="connsiteY38" fmla="*/ 234123 h 462995"/>
                    <a:gd name="connsiteX39" fmla="*/ 277768 w 393706"/>
                    <a:gd name="connsiteY39" fmla="*/ 233023 h 462995"/>
                    <a:gd name="connsiteX40" fmla="*/ 285978 w 393706"/>
                    <a:gd name="connsiteY40" fmla="*/ 243762 h 462995"/>
                    <a:gd name="connsiteX41" fmla="*/ 290756 w 393706"/>
                    <a:gd name="connsiteY41" fmla="*/ 256082 h 462995"/>
                    <a:gd name="connsiteX42" fmla="*/ 299961 w 393706"/>
                    <a:gd name="connsiteY42" fmla="*/ 265511 h 462995"/>
                    <a:gd name="connsiteX43" fmla="*/ 315409 w 393706"/>
                    <a:gd name="connsiteY43" fmla="*/ 281895 h 462995"/>
                    <a:gd name="connsiteX44" fmla="*/ 322893 w 393706"/>
                    <a:gd name="connsiteY44" fmla="*/ 283347 h 462995"/>
                    <a:gd name="connsiteX45" fmla="*/ 335342 w 393706"/>
                    <a:gd name="connsiteY45" fmla="*/ 298209 h 462995"/>
                    <a:gd name="connsiteX46" fmla="*/ 337251 w 393706"/>
                    <a:gd name="connsiteY46" fmla="*/ 317709 h 462995"/>
                    <a:gd name="connsiteX47" fmla="*/ 341584 w 393706"/>
                    <a:gd name="connsiteY47" fmla="*/ 320414 h 462995"/>
                    <a:gd name="connsiteX48" fmla="*/ 343259 w 393706"/>
                    <a:gd name="connsiteY48" fmla="*/ 327640 h 462995"/>
                    <a:gd name="connsiteX49" fmla="*/ 352628 w 393706"/>
                    <a:gd name="connsiteY49" fmla="*/ 329010 h 462995"/>
                    <a:gd name="connsiteX50" fmla="*/ 357664 w 393706"/>
                    <a:gd name="connsiteY50" fmla="*/ 333812 h 462995"/>
                    <a:gd name="connsiteX51" fmla="*/ 366249 w 393706"/>
                    <a:gd name="connsiteY51" fmla="*/ 337595 h 462995"/>
                    <a:gd name="connsiteX52" fmla="*/ 374529 w 393706"/>
                    <a:gd name="connsiteY52" fmla="*/ 346683 h 462995"/>
                    <a:gd name="connsiteX53" fmla="*/ 382902 w 393706"/>
                    <a:gd name="connsiteY53" fmla="*/ 349786 h 462995"/>
                    <a:gd name="connsiteX54" fmla="*/ 372456 w 393706"/>
                    <a:gd name="connsiteY54" fmla="*/ 358921 h 462995"/>
                    <a:gd name="connsiteX55" fmla="*/ 371870 w 393706"/>
                    <a:gd name="connsiteY55" fmla="*/ 366358 h 462995"/>
                    <a:gd name="connsiteX56" fmla="*/ 385678 w 393706"/>
                    <a:gd name="connsiteY56" fmla="*/ 379991 h 462995"/>
                    <a:gd name="connsiteX57" fmla="*/ 391335 w 393706"/>
                    <a:gd name="connsiteY57" fmla="*/ 386947 h 462995"/>
                    <a:gd name="connsiteX58" fmla="*/ 392670 w 393706"/>
                    <a:gd name="connsiteY58" fmla="*/ 394606 h 462995"/>
                    <a:gd name="connsiteX59" fmla="*/ 388056 w 393706"/>
                    <a:gd name="connsiteY59" fmla="*/ 401926 h 462995"/>
                    <a:gd name="connsiteX60" fmla="*/ 383312 w 393706"/>
                    <a:gd name="connsiteY60" fmla="*/ 403589 h 462995"/>
                    <a:gd name="connsiteX61" fmla="*/ 387177 w 393706"/>
                    <a:gd name="connsiteY61" fmla="*/ 408988 h 462995"/>
                    <a:gd name="connsiteX62" fmla="*/ 386931 w 393706"/>
                    <a:gd name="connsiteY62" fmla="*/ 419095 h 462995"/>
                    <a:gd name="connsiteX63" fmla="*/ 382586 w 393706"/>
                    <a:gd name="connsiteY63" fmla="*/ 427504 h 462995"/>
                    <a:gd name="connsiteX64" fmla="*/ 374353 w 393706"/>
                    <a:gd name="connsiteY64" fmla="*/ 426720 h 462995"/>
                    <a:gd name="connsiteX65" fmla="*/ 369130 w 393706"/>
                    <a:gd name="connsiteY65" fmla="*/ 432107 h 462995"/>
                    <a:gd name="connsiteX66" fmla="*/ 364527 w 393706"/>
                    <a:gd name="connsiteY66" fmla="*/ 436487 h 462995"/>
                    <a:gd name="connsiteX67" fmla="*/ 361154 w 393706"/>
                    <a:gd name="connsiteY67" fmla="*/ 435410 h 462995"/>
                    <a:gd name="connsiteX68" fmla="*/ 354139 w 393706"/>
                    <a:gd name="connsiteY68" fmla="*/ 440000 h 462995"/>
                    <a:gd name="connsiteX69" fmla="*/ 334698 w 393706"/>
                    <a:gd name="connsiteY69" fmla="*/ 426450 h 462995"/>
                    <a:gd name="connsiteX70" fmla="*/ 333246 w 393706"/>
                    <a:gd name="connsiteY70" fmla="*/ 429999 h 462995"/>
                    <a:gd name="connsiteX71" fmla="*/ 319953 w 393706"/>
                    <a:gd name="connsiteY71" fmla="*/ 431767 h 462995"/>
                    <a:gd name="connsiteX72" fmla="*/ 306602 w 393706"/>
                    <a:gd name="connsiteY72" fmla="*/ 438408 h 462995"/>
                    <a:gd name="connsiteX73" fmla="*/ 311919 w 393706"/>
                    <a:gd name="connsiteY73" fmla="*/ 448597 h 462995"/>
                    <a:gd name="connsiteX74" fmla="*/ 315351 w 393706"/>
                    <a:gd name="connsiteY74" fmla="*/ 455998 h 462995"/>
                    <a:gd name="connsiteX75" fmla="*/ 311556 w 393706"/>
                    <a:gd name="connsiteY75" fmla="*/ 462311 h 462995"/>
                    <a:gd name="connsiteX76" fmla="*/ 297397 w 393706"/>
                    <a:gd name="connsiteY76" fmla="*/ 457802 h 462995"/>
                    <a:gd name="connsiteX77" fmla="*/ 287770 w 393706"/>
                    <a:gd name="connsiteY77" fmla="*/ 451923 h 462995"/>
                    <a:gd name="connsiteX78" fmla="*/ 283788 w 393706"/>
                    <a:gd name="connsiteY78" fmla="*/ 449241 h 462995"/>
                    <a:gd name="connsiteX79" fmla="*/ 277803 w 393706"/>
                    <a:gd name="connsiteY79" fmla="*/ 452122 h 462995"/>
                    <a:gd name="connsiteX80" fmla="*/ 266104 w 393706"/>
                    <a:gd name="connsiteY80" fmla="*/ 443502 h 462995"/>
                    <a:gd name="connsiteX81" fmla="*/ 280813 w 393706"/>
                    <a:gd name="connsiteY81" fmla="*/ 430362 h 462995"/>
                    <a:gd name="connsiteX82" fmla="*/ 286739 w 393706"/>
                    <a:gd name="connsiteY82" fmla="*/ 405100 h 462995"/>
                    <a:gd name="connsiteX83" fmla="*/ 279174 w 393706"/>
                    <a:gd name="connsiteY83" fmla="*/ 399116 h 462995"/>
                    <a:gd name="connsiteX84" fmla="*/ 285252 w 393706"/>
                    <a:gd name="connsiteY84" fmla="*/ 388997 h 462995"/>
                    <a:gd name="connsiteX85" fmla="*/ 280848 w 393706"/>
                    <a:gd name="connsiteY85" fmla="*/ 386268 h 462995"/>
                    <a:gd name="connsiteX86" fmla="*/ 286505 w 393706"/>
                    <a:gd name="connsiteY86" fmla="*/ 382028 h 462995"/>
                    <a:gd name="connsiteX87" fmla="*/ 286610 w 393706"/>
                    <a:gd name="connsiteY87" fmla="*/ 365339 h 462995"/>
                    <a:gd name="connsiteX88" fmla="*/ 274606 w 393706"/>
                    <a:gd name="connsiteY88" fmla="*/ 355514 h 462995"/>
                    <a:gd name="connsiteX89" fmla="*/ 269277 w 393706"/>
                    <a:gd name="connsiteY89" fmla="*/ 348592 h 462995"/>
                    <a:gd name="connsiteX90" fmla="*/ 250996 w 393706"/>
                    <a:gd name="connsiteY90" fmla="*/ 332290 h 462995"/>
                    <a:gd name="connsiteX91" fmla="*/ 243278 w 393706"/>
                    <a:gd name="connsiteY91" fmla="*/ 306852 h 462995"/>
                    <a:gd name="connsiteX92" fmla="*/ 243559 w 393706"/>
                    <a:gd name="connsiteY92" fmla="*/ 273755 h 462995"/>
                    <a:gd name="connsiteX93" fmla="*/ 227959 w 393706"/>
                    <a:gd name="connsiteY93" fmla="*/ 262512 h 462995"/>
                    <a:gd name="connsiteX94" fmla="*/ 218449 w 393706"/>
                    <a:gd name="connsiteY94" fmla="*/ 251433 h 462995"/>
                    <a:gd name="connsiteX95" fmla="*/ 209162 w 393706"/>
                    <a:gd name="connsiteY95" fmla="*/ 237040 h 462995"/>
                    <a:gd name="connsiteX96" fmla="*/ 203330 w 393706"/>
                    <a:gd name="connsiteY96" fmla="*/ 226558 h 462995"/>
                    <a:gd name="connsiteX97" fmla="*/ 198516 w 393706"/>
                    <a:gd name="connsiteY97" fmla="*/ 227354 h 462995"/>
                    <a:gd name="connsiteX98" fmla="*/ 167504 w 393706"/>
                    <a:gd name="connsiteY98" fmla="*/ 220878 h 462995"/>
                    <a:gd name="connsiteX99" fmla="*/ 166110 w 393706"/>
                    <a:gd name="connsiteY99" fmla="*/ 228865 h 462995"/>
                    <a:gd name="connsiteX100" fmla="*/ 159985 w 393706"/>
                    <a:gd name="connsiteY100" fmla="*/ 230715 h 462995"/>
                    <a:gd name="connsiteX101" fmla="*/ 156144 w 393706"/>
                    <a:gd name="connsiteY101" fmla="*/ 236594 h 462995"/>
                    <a:gd name="connsiteX102" fmla="*/ 156331 w 393706"/>
                    <a:gd name="connsiteY102" fmla="*/ 236243 h 462995"/>
                    <a:gd name="connsiteX103" fmla="*/ 155184 w 393706"/>
                    <a:gd name="connsiteY103" fmla="*/ 242204 h 462995"/>
                    <a:gd name="connsiteX104" fmla="*/ 148707 w 393706"/>
                    <a:gd name="connsiteY104" fmla="*/ 243282 h 462995"/>
                    <a:gd name="connsiteX105" fmla="*/ 134946 w 393706"/>
                    <a:gd name="connsiteY105" fmla="*/ 254080 h 462995"/>
                    <a:gd name="connsiteX106" fmla="*/ 130601 w 393706"/>
                    <a:gd name="connsiteY106" fmla="*/ 246268 h 462995"/>
                    <a:gd name="connsiteX107" fmla="*/ 120471 w 393706"/>
                    <a:gd name="connsiteY107" fmla="*/ 243867 h 462995"/>
                    <a:gd name="connsiteX108" fmla="*/ 107810 w 393706"/>
                    <a:gd name="connsiteY108" fmla="*/ 232788 h 462995"/>
                    <a:gd name="connsiteX109" fmla="*/ 100912 w 393706"/>
                    <a:gd name="connsiteY109" fmla="*/ 234873 h 462995"/>
                    <a:gd name="connsiteX110" fmla="*/ 94061 w 393706"/>
                    <a:gd name="connsiteY110" fmla="*/ 241935 h 462995"/>
                    <a:gd name="connsiteX111" fmla="*/ 90232 w 393706"/>
                    <a:gd name="connsiteY111" fmla="*/ 240764 h 462995"/>
                    <a:gd name="connsiteX112" fmla="*/ 87538 w 393706"/>
                    <a:gd name="connsiteY112" fmla="*/ 240694 h 462995"/>
                    <a:gd name="connsiteX113" fmla="*/ 85383 w 393706"/>
                    <a:gd name="connsiteY113" fmla="*/ 247510 h 462995"/>
                    <a:gd name="connsiteX114" fmla="*/ 77302 w 393706"/>
                    <a:gd name="connsiteY114" fmla="*/ 250965 h 462995"/>
                    <a:gd name="connsiteX115" fmla="*/ 75018 w 393706"/>
                    <a:gd name="connsiteY115" fmla="*/ 254127 h 462995"/>
                    <a:gd name="connsiteX116" fmla="*/ 76189 w 393706"/>
                    <a:gd name="connsiteY116" fmla="*/ 255052 h 462995"/>
                    <a:gd name="connsiteX117" fmla="*/ 71610 w 393706"/>
                    <a:gd name="connsiteY117" fmla="*/ 258917 h 462995"/>
                    <a:gd name="connsiteX118" fmla="*/ 67101 w 393706"/>
                    <a:gd name="connsiteY118" fmla="*/ 258893 h 462995"/>
                    <a:gd name="connsiteX119" fmla="*/ 53773 w 393706"/>
                    <a:gd name="connsiteY119" fmla="*/ 272795 h 462995"/>
                    <a:gd name="connsiteX120" fmla="*/ 45072 w 393706"/>
                    <a:gd name="connsiteY120" fmla="*/ 268005 h 462995"/>
                    <a:gd name="connsiteX121" fmla="*/ 41757 w 393706"/>
                    <a:gd name="connsiteY121" fmla="*/ 264784 h 462995"/>
                    <a:gd name="connsiteX122" fmla="*/ 45013 w 393706"/>
                    <a:gd name="connsiteY122" fmla="*/ 257558 h 462995"/>
                    <a:gd name="connsiteX123" fmla="*/ 52790 w 393706"/>
                    <a:gd name="connsiteY123" fmla="*/ 243633 h 462995"/>
                    <a:gd name="connsiteX124" fmla="*/ 55132 w 393706"/>
                    <a:gd name="connsiteY124" fmla="*/ 232624 h 462995"/>
                    <a:gd name="connsiteX125" fmla="*/ 53832 w 393706"/>
                    <a:gd name="connsiteY125" fmla="*/ 228736 h 462995"/>
                    <a:gd name="connsiteX126" fmla="*/ 55085 w 393706"/>
                    <a:gd name="connsiteY126" fmla="*/ 226839 h 462995"/>
                    <a:gd name="connsiteX127" fmla="*/ 51490 w 393706"/>
                    <a:gd name="connsiteY127" fmla="*/ 224274 h 462995"/>
                    <a:gd name="connsiteX128" fmla="*/ 52017 w 393706"/>
                    <a:gd name="connsiteY128" fmla="*/ 215912 h 462995"/>
                    <a:gd name="connsiteX129" fmla="*/ 59688 w 393706"/>
                    <a:gd name="connsiteY129" fmla="*/ 207562 h 462995"/>
                    <a:gd name="connsiteX130" fmla="*/ 58962 w 393706"/>
                    <a:gd name="connsiteY130" fmla="*/ 201448 h 462995"/>
                    <a:gd name="connsiteX131" fmla="*/ 61093 w 393706"/>
                    <a:gd name="connsiteY131" fmla="*/ 193473 h 462995"/>
                    <a:gd name="connsiteX132" fmla="*/ 58997 w 393706"/>
                    <a:gd name="connsiteY132" fmla="*/ 181211 h 462995"/>
                    <a:gd name="connsiteX133" fmla="*/ 56233 w 393706"/>
                    <a:gd name="connsiteY133" fmla="*/ 169031 h 462995"/>
                    <a:gd name="connsiteX134" fmla="*/ 60250 w 393706"/>
                    <a:gd name="connsiteY134" fmla="*/ 159615 h 462995"/>
                    <a:gd name="connsiteX135" fmla="*/ 39439 w 393706"/>
                    <a:gd name="connsiteY135" fmla="*/ 158139 h 462995"/>
                    <a:gd name="connsiteX136" fmla="*/ 33032 w 393706"/>
                    <a:gd name="connsiteY136" fmla="*/ 162625 h 462995"/>
                    <a:gd name="connsiteX137" fmla="*/ 25549 w 393706"/>
                    <a:gd name="connsiteY137" fmla="*/ 161477 h 462995"/>
                    <a:gd name="connsiteX138" fmla="*/ 17046 w 393706"/>
                    <a:gd name="connsiteY138" fmla="*/ 155949 h 462995"/>
                    <a:gd name="connsiteX139" fmla="*/ 23499 w 393706"/>
                    <a:gd name="connsiteY139" fmla="*/ 126658 h 462995"/>
                    <a:gd name="connsiteX140" fmla="*/ 8333 w 393706"/>
                    <a:gd name="connsiteY140" fmla="*/ 115006 h 462995"/>
                    <a:gd name="connsiteX141" fmla="*/ 64 w 393706"/>
                    <a:gd name="connsiteY141" fmla="*/ 116844 h 462995"/>
                    <a:gd name="connsiteX142" fmla="*/ 8649 w 393706"/>
                    <a:gd name="connsiteY142" fmla="*/ 95166 h 462995"/>
                    <a:gd name="connsiteX143" fmla="*/ 29004 w 393706"/>
                    <a:gd name="connsiteY143" fmla="*/ 87776 h 462995"/>
                    <a:gd name="connsiteX144" fmla="*/ 23335 w 393706"/>
                    <a:gd name="connsiteY144" fmla="*/ 79906 h 462995"/>
                    <a:gd name="connsiteX145" fmla="*/ 35094 w 393706"/>
                    <a:gd name="connsiteY145" fmla="*/ 64669 h 462995"/>
                    <a:gd name="connsiteX146" fmla="*/ 55448 w 393706"/>
                    <a:gd name="connsiteY146" fmla="*/ 51248 h 462995"/>
                    <a:gd name="connsiteX147" fmla="*/ 58634 w 393706"/>
                    <a:gd name="connsiteY147" fmla="*/ 68651 h 462995"/>
                    <a:gd name="connsiteX148" fmla="*/ 77478 w 393706"/>
                    <a:gd name="connsiteY148" fmla="*/ 71814 h 462995"/>
                    <a:gd name="connsiteX149" fmla="*/ 86800 w 393706"/>
                    <a:gd name="connsiteY149" fmla="*/ 70701 h 462995"/>
                    <a:gd name="connsiteX150" fmla="*/ 84633 w 393706"/>
                    <a:gd name="connsiteY150" fmla="*/ 64353 h 462995"/>
                    <a:gd name="connsiteX151" fmla="*/ 87713 w 393706"/>
                    <a:gd name="connsiteY151" fmla="*/ 49538 h 462995"/>
                    <a:gd name="connsiteX152" fmla="*/ 85125 w 393706"/>
                    <a:gd name="connsiteY152" fmla="*/ 41399 h 462995"/>
                    <a:gd name="connsiteX153" fmla="*/ 84598 w 393706"/>
                    <a:gd name="connsiteY153" fmla="*/ 34946 h 462995"/>
                    <a:gd name="connsiteX154" fmla="*/ 81366 w 393706"/>
                    <a:gd name="connsiteY154" fmla="*/ 30284 h 462995"/>
                    <a:gd name="connsiteX155" fmla="*/ 76693 w 393706"/>
                    <a:gd name="connsiteY155" fmla="*/ 18596 h 462995"/>
                    <a:gd name="connsiteX156" fmla="*/ 74444 w 393706"/>
                    <a:gd name="connsiteY156" fmla="*/ 12846 h 462995"/>
                    <a:gd name="connsiteX157" fmla="*/ 78778 w 393706"/>
                    <a:gd name="connsiteY157" fmla="*/ 11183 h 462995"/>
                    <a:gd name="connsiteX158" fmla="*/ 82291 w 393706"/>
                    <a:gd name="connsiteY158" fmla="*/ 1228 h 462995"/>
                    <a:gd name="connsiteX159" fmla="*/ 87702 w 393706"/>
                    <a:gd name="connsiteY159" fmla="*/ 584 h 462995"/>
                    <a:gd name="connsiteX160" fmla="*/ 91086 w 393706"/>
                    <a:gd name="connsiteY160" fmla="*/ 5784 h 462995"/>
                    <a:gd name="connsiteX161" fmla="*/ 93089 w 393706"/>
                    <a:gd name="connsiteY161" fmla="*/ 4472 h 462995"/>
                    <a:gd name="connsiteX162" fmla="*/ 105503 w 393706"/>
                    <a:gd name="connsiteY162" fmla="*/ 5034 h 462995"/>
                    <a:gd name="connsiteX163" fmla="*/ 105503 w 393706"/>
                    <a:gd name="connsiteY163" fmla="*/ 5034 h 46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393706" h="462995">
                      <a:moveTo>
                        <a:pt x="105503" y="5034"/>
                      </a:moveTo>
                      <a:cubicBezTo>
                        <a:pt x="108127" y="13736"/>
                        <a:pt x="118983" y="20833"/>
                        <a:pt x="123844" y="26572"/>
                      </a:cubicBezTo>
                      <a:cubicBezTo>
                        <a:pt x="124909" y="27825"/>
                        <a:pt x="128259" y="30015"/>
                        <a:pt x="129348" y="31549"/>
                      </a:cubicBezTo>
                      <a:cubicBezTo>
                        <a:pt x="131444" y="34512"/>
                        <a:pt x="130683" y="41328"/>
                        <a:pt x="132334" y="43191"/>
                      </a:cubicBezTo>
                      <a:cubicBezTo>
                        <a:pt x="137839" y="49398"/>
                        <a:pt x="139900" y="40754"/>
                        <a:pt x="141387" y="35789"/>
                      </a:cubicBezTo>
                      <a:cubicBezTo>
                        <a:pt x="142488" y="38061"/>
                        <a:pt x="142558" y="41270"/>
                        <a:pt x="143964" y="42956"/>
                      </a:cubicBezTo>
                      <a:cubicBezTo>
                        <a:pt x="147899" y="47676"/>
                        <a:pt x="147887" y="35496"/>
                        <a:pt x="149457" y="45966"/>
                      </a:cubicBezTo>
                      <a:cubicBezTo>
                        <a:pt x="150347" y="51974"/>
                        <a:pt x="146646" y="52794"/>
                        <a:pt x="143648" y="58228"/>
                      </a:cubicBezTo>
                      <a:cubicBezTo>
                        <a:pt x="144854" y="57490"/>
                        <a:pt x="146131" y="57350"/>
                        <a:pt x="147208" y="56881"/>
                      </a:cubicBezTo>
                      <a:cubicBezTo>
                        <a:pt x="144479" y="60957"/>
                        <a:pt x="146002" y="65454"/>
                        <a:pt x="141118" y="67539"/>
                      </a:cubicBezTo>
                      <a:cubicBezTo>
                        <a:pt x="147149" y="67094"/>
                        <a:pt x="151963" y="83232"/>
                        <a:pt x="156741" y="87682"/>
                      </a:cubicBezTo>
                      <a:cubicBezTo>
                        <a:pt x="159985" y="90704"/>
                        <a:pt x="165572" y="92039"/>
                        <a:pt x="169893" y="92953"/>
                      </a:cubicBezTo>
                      <a:cubicBezTo>
                        <a:pt x="170924" y="93175"/>
                        <a:pt x="173336" y="91290"/>
                        <a:pt x="173477" y="91337"/>
                      </a:cubicBezTo>
                      <a:cubicBezTo>
                        <a:pt x="175351" y="91957"/>
                        <a:pt x="176475" y="94241"/>
                        <a:pt x="178408" y="95272"/>
                      </a:cubicBezTo>
                      <a:cubicBezTo>
                        <a:pt x="183069" y="97790"/>
                        <a:pt x="185575" y="100143"/>
                        <a:pt x="188456" y="98328"/>
                      </a:cubicBezTo>
                      <a:cubicBezTo>
                        <a:pt x="190541" y="97017"/>
                        <a:pt x="190119" y="91782"/>
                        <a:pt x="192719" y="89709"/>
                      </a:cubicBezTo>
                      <a:cubicBezTo>
                        <a:pt x="199348" y="84415"/>
                        <a:pt x="211387" y="82975"/>
                        <a:pt x="217665" y="87062"/>
                      </a:cubicBezTo>
                      <a:cubicBezTo>
                        <a:pt x="221810" y="89755"/>
                        <a:pt x="224891" y="94464"/>
                        <a:pt x="228463" y="96747"/>
                      </a:cubicBezTo>
                      <a:cubicBezTo>
                        <a:pt x="231238" y="98527"/>
                        <a:pt x="235372" y="98949"/>
                        <a:pt x="235326" y="102146"/>
                      </a:cubicBezTo>
                      <a:cubicBezTo>
                        <a:pt x="235255" y="106807"/>
                        <a:pt x="229716" y="108388"/>
                        <a:pt x="226858" y="106749"/>
                      </a:cubicBezTo>
                      <a:cubicBezTo>
                        <a:pt x="225394" y="108131"/>
                        <a:pt x="223591" y="110344"/>
                        <a:pt x="222396" y="111902"/>
                      </a:cubicBezTo>
                      <a:cubicBezTo>
                        <a:pt x="228556" y="115989"/>
                        <a:pt x="235935" y="111410"/>
                        <a:pt x="239565" y="119210"/>
                      </a:cubicBezTo>
                      <a:cubicBezTo>
                        <a:pt x="239881" y="119889"/>
                        <a:pt x="236169" y="121494"/>
                        <a:pt x="237680" y="123262"/>
                      </a:cubicBezTo>
                      <a:cubicBezTo>
                        <a:pt x="240678" y="126741"/>
                        <a:pt x="242692" y="122454"/>
                        <a:pt x="246369" y="123789"/>
                      </a:cubicBezTo>
                      <a:cubicBezTo>
                        <a:pt x="250574" y="125324"/>
                        <a:pt x="253912" y="130605"/>
                        <a:pt x="253115" y="133966"/>
                      </a:cubicBezTo>
                      <a:cubicBezTo>
                        <a:pt x="252296" y="137492"/>
                        <a:pt x="246030" y="138897"/>
                        <a:pt x="243055" y="142996"/>
                      </a:cubicBezTo>
                      <a:cubicBezTo>
                        <a:pt x="251136" y="144132"/>
                        <a:pt x="235525" y="156172"/>
                        <a:pt x="234307" y="156605"/>
                      </a:cubicBezTo>
                      <a:cubicBezTo>
                        <a:pt x="229880" y="158139"/>
                        <a:pt x="228556" y="155340"/>
                        <a:pt x="224574" y="153970"/>
                      </a:cubicBezTo>
                      <a:cubicBezTo>
                        <a:pt x="221061" y="152763"/>
                        <a:pt x="217653" y="152307"/>
                        <a:pt x="213542" y="152272"/>
                      </a:cubicBezTo>
                      <a:cubicBezTo>
                        <a:pt x="213085" y="152272"/>
                        <a:pt x="202463" y="155492"/>
                        <a:pt x="203693" y="153092"/>
                      </a:cubicBezTo>
                      <a:cubicBezTo>
                        <a:pt x="201561" y="157214"/>
                        <a:pt x="208975" y="159439"/>
                        <a:pt x="208565" y="163117"/>
                      </a:cubicBezTo>
                      <a:cubicBezTo>
                        <a:pt x="208131" y="167028"/>
                        <a:pt x="198797" y="171045"/>
                        <a:pt x="195729" y="173704"/>
                      </a:cubicBezTo>
                      <a:cubicBezTo>
                        <a:pt x="209361" y="179009"/>
                        <a:pt x="219585" y="187266"/>
                        <a:pt x="232035" y="194960"/>
                      </a:cubicBezTo>
                      <a:cubicBezTo>
                        <a:pt x="238698" y="199083"/>
                        <a:pt x="244449" y="201601"/>
                        <a:pt x="251078" y="203674"/>
                      </a:cubicBezTo>
                      <a:cubicBezTo>
                        <a:pt x="253408" y="204400"/>
                        <a:pt x="259182" y="204728"/>
                        <a:pt x="261044" y="206028"/>
                      </a:cubicBezTo>
                      <a:cubicBezTo>
                        <a:pt x="266876" y="210127"/>
                        <a:pt x="262379" y="209939"/>
                        <a:pt x="262133" y="212059"/>
                      </a:cubicBezTo>
                      <a:cubicBezTo>
                        <a:pt x="261431" y="217903"/>
                        <a:pt x="260283" y="217622"/>
                        <a:pt x="262590" y="222623"/>
                      </a:cubicBezTo>
                      <a:cubicBezTo>
                        <a:pt x="264066" y="225843"/>
                        <a:pt x="265647" y="227284"/>
                        <a:pt x="268129" y="230446"/>
                      </a:cubicBezTo>
                      <a:cubicBezTo>
                        <a:pt x="267040" y="229064"/>
                        <a:pt x="274067" y="234885"/>
                        <a:pt x="271772" y="234123"/>
                      </a:cubicBezTo>
                      <a:cubicBezTo>
                        <a:pt x="275063" y="235201"/>
                        <a:pt x="276820" y="232613"/>
                        <a:pt x="277768" y="233023"/>
                      </a:cubicBezTo>
                      <a:cubicBezTo>
                        <a:pt x="280438" y="234159"/>
                        <a:pt x="284783" y="240893"/>
                        <a:pt x="285978" y="243762"/>
                      </a:cubicBezTo>
                      <a:cubicBezTo>
                        <a:pt x="287817" y="248142"/>
                        <a:pt x="287969" y="251422"/>
                        <a:pt x="290756" y="256082"/>
                      </a:cubicBezTo>
                      <a:cubicBezTo>
                        <a:pt x="293614" y="260849"/>
                        <a:pt x="296003" y="261786"/>
                        <a:pt x="299961" y="265511"/>
                      </a:cubicBezTo>
                      <a:cubicBezTo>
                        <a:pt x="305126" y="270371"/>
                        <a:pt x="308558" y="278920"/>
                        <a:pt x="315409" y="281895"/>
                      </a:cubicBezTo>
                      <a:cubicBezTo>
                        <a:pt x="319063" y="283487"/>
                        <a:pt x="321757" y="282352"/>
                        <a:pt x="322893" y="283347"/>
                      </a:cubicBezTo>
                      <a:cubicBezTo>
                        <a:pt x="325703" y="285830"/>
                        <a:pt x="328104" y="303737"/>
                        <a:pt x="335342" y="298209"/>
                      </a:cubicBezTo>
                      <a:cubicBezTo>
                        <a:pt x="336642" y="304639"/>
                        <a:pt x="334780" y="311607"/>
                        <a:pt x="337251" y="317709"/>
                      </a:cubicBezTo>
                      <a:cubicBezTo>
                        <a:pt x="337965" y="319489"/>
                        <a:pt x="340741" y="318985"/>
                        <a:pt x="341584" y="320414"/>
                      </a:cubicBezTo>
                      <a:cubicBezTo>
                        <a:pt x="342767" y="322393"/>
                        <a:pt x="340636" y="325602"/>
                        <a:pt x="343259" y="327640"/>
                      </a:cubicBezTo>
                      <a:cubicBezTo>
                        <a:pt x="347030" y="330591"/>
                        <a:pt x="356013" y="317228"/>
                        <a:pt x="352628" y="329010"/>
                      </a:cubicBezTo>
                      <a:cubicBezTo>
                        <a:pt x="354186" y="329736"/>
                        <a:pt x="355884" y="332746"/>
                        <a:pt x="357664" y="333812"/>
                      </a:cubicBezTo>
                      <a:cubicBezTo>
                        <a:pt x="360006" y="335206"/>
                        <a:pt x="363426" y="335686"/>
                        <a:pt x="366249" y="337595"/>
                      </a:cubicBezTo>
                      <a:cubicBezTo>
                        <a:pt x="368813" y="339328"/>
                        <a:pt x="370207" y="345137"/>
                        <a:pt x="374529" y="346683"/>
                      </a:cubicBezTo>
                      <a:cubicBezTo>
                        <a:pt x="378382" y="348077"/>
                        <a:pt x="382118" y="346015"/>
                        <a:pt x="382902" y="349786"/>
                      </a:cubicBezTo>
                      <a:cubicBezTo>
                        <a:pt x="383898" y="354588"/>
                        <a:pt x="375583" y="356837"/>
                        <a:pt x="372456" y="358921"/>
                      </a:cubicBezTo>
                      <a:cubicBezTo>
                        <a:pt x="367080" y="362529"/>
                        <a:pt x="368462" y="360420"/>
                        <a:pt x="371870" y="366358"/>
                      </a:cubicBezTo>
                      <a:cubicBezTo>
                        <a:pt x="376250" y="373983"/>
                        <a:pt x="380174" y="376946"/>
                        <a:pt x="385678" y="379991"/>
                      </a:cubicBezTo>
                      <a:cubicBezTo>
                        <a:pt x="388290" y="381443"/>
                        <a:pt x="389238" y="384008"/>
                        <a:pt x="391335" y="386947"/>
                      </a:cubicBezTo>
                      <a:cubicBezTo>
                        <a:pt x="394977" y="392065"/>
                        <a:pt x="393572" y="390648"/>
                        <a:pt x="392670" y="394606"/>
                      </a:cubicBezTo>
                      <a:cubicBezTo>
                        <a:pt x="391534" y="399560"/>
                        <a:pt x="390117" y="399736"/>
                        <a:pt x="388056" y="401926"/>
                      </a:cubicBezTo>
                      <a:cubicBezTo>
                        <a:pt x="387013" y="403039"/>
                        <a:pt x="384003" y="401786"/>
                        <a:pt x="383312" y="403589"/>
                      </a:cubicBezTo>
                      <a:cubicBezTo>
                        <a:pt x="382059" y="406845"/>
                        <a:pt x="386884" y="407079"/>
                        <a:pt x="387177" y="408988"/>
                      </a:cubicBezTo>
                      <a:cubicBezTo>
                        <a:pt x="387505" y="411143"/>
                        <a:pt x="387833" y="416589"/>
                        <a:pt x="386931" y="419095"/>
                      </a:cubicBezTo>
                      <a:cubicBezTo>
                        <a:pt x="386791" y="419470"/>
                        <a:pt x="383582" y="426989"/>
                        <a:pt x="382586" y="427504"/>
                      </a:cubicBezTo>
                      <a:cubicBezTo>
                        <a:pt x="379448" y="429132"/>
                        <a:pt x="377831" y="425935"/>
                        <a:pt x="374353" y="426720"/>
                      </a:cubicBezTo>
                      <a:cubicBezTo>
                        <a:pt x="373264" y="426965"/>
                        <a:pt x="369739" y="431603"/>
                        <a:pt x="369130" y="432107"/>
                      </a:cubicBezTo>
                      <a:cubicBezTo>
                        <a:pt x="367560" y="433407"/>
                        <a:pt x="366553" y="435245"/>
                        <a:pt x="364527" y="436487"/>
                      </a:cubicBezTo>
                      <a:cubicBezTo>
                        <a:pt x="363778" y="436944"/>
                        <a:pt x="362513" y="434672"/>
                        <a:pt x="361154" y="435410"/>
                      </a:cubicBezTo>
                      <a:cubicBezTo>
                        <a:pt x="356364" y="438045"/>
                        <a:pt x="359163" y="439310"/>
                        <a:pt x="354139" y="440000"/>
                      </a:cubicBezTo>
                      <a:cubicBezTo>
                        <a:pt x="348904" y="440727"/>
                        <a:pt x="336724" y="432997"/>
                        <a:pt x="334698" y="426450"/>
                      </a:cubicBezTo>
                      <a:cubicBezTo>
                        <a:pt x="332965" y="429027"/>
                        <a:pt x="332859" y="427200"/>
                        <a:pt x="333246" y="429999"/>
                      </a:cubicBezTo>
                      <a:cubicBezTo>
                        <a:pt x="329966" y="430327"/>
                        <a:pt x="325961" y="438185"/>
                        <a:pt x="319953" y="431767"/>
                      </a:cubicBezTo>
                      <a:cubicBezTo>
                        <a:pt x="319578" y="439181"/>
                        <a:pt x="311404" y="439520"/>
                        <a:pt x="306602" y="438408"/>
                      </a:cubicBezTo>
                      <a:cubicBezTo>
                        <a:pt x="307504" y="443046"/>
                        <a:pt x="309647" y="444568"/>
                        <a:pt x="311919" y="448597"/>
                      </a:cubicBezTo>
                      <a:cubicBezTo>
                        <a:pt x="313266" y="450986"/>
                        <a:pt x="315514" y="453562"/>
                        <a:pt x="315351" y="455998"/>
                      </a:cubicBezTo>
                      <a:cubicBezTo>
                        <a:pt x="315374" y="455682"/>
                        <a:pt x="310947" y="462627"/>
                        <a:pt x="311556" y="462311"/>
                      </a:cubicBezTo>
                      <a:cubicBezTo>
                        <a:pt x="307117" y="464688"/>
                        <a:pt x="300488" y="460308"/>
                        <a:pt x="297397" y="457802"/>
                      </a:cubicBezTo>
                      <a:cubicBezTo>
                        <a:pt x="292794" y="454089"/>
                        <a:pt x="293192" y="453211"/>
                        <a:pt x="287770" y="451923"/>
                      </a:cubicBezTo>
                      <a:cubicBezTo>
                        <a:pt x="286821" y="451700"/>
                        <a:pt x="285064" y="449241"/>
                        <a:pt x="283788" y="449241"/>
                      </a:cubicBezTo>
                      <a:cubicBezTo>
                        <a:pt x="281926" y="449241"/>
                        <a:pt x="279923" y="452169"/>
                        <a:pt x="277803" y="452122"/>
                      </a:cubicBezTo>
                      <a:cubicBezTo>
                        <a:pt x="273505" y="452016"/>
                        <a:pt x="267111" y="448808"/>
                        <a:pt x="266104" y="443502"/>
                      </a:cubicBezTo>
                      <a:cubicBezTo>
                        <a:pt x="264745" y="436276"/>
                        <a:pt x="277194" y="437740"/>
                        <a:pt x="280813" y="430362"/>
                      </a:cubicBezTo>
                      <a:cubicBezTo>
                        <a:pt x="285111" y="421566"/>
                        <a:pt x="278576" y="410523"/>
                        <a:pt x="286739" y="405100"/>
                      </a:cubicBezTo>
                      <a:cubicBezTo>
                        <a:pt x="285884" y="404433"/>
                        <a:pt x="279291" y="399830"/>
                        <a:pt x="279174" y="399116"/>
                      </a:cubicBezTo>
                      <a:cubicBezTo>
                        <a:pt x="278201" y="393752"/>
                        <a:pt x="284713" y="392827"/>
                        <a:pt x="285252" y="388997"/>
                      </a:cubicBezTo>
                      <a:cubicBezTo>
                        <a:pt x="285685" y="385846"/>
                        <a:pt x="280321" y="388388"/>
                        <a:pt x="280848" y="386268"/>
                      </a:cubicBezTo>
                      <a:cubicBezTo>
                        <a:pt x="281668" y="383000"/>
                        <a:pt x="284865" y="384593"/>
                        <a:pt x="286505" y="382028"/>
                      </a:cubicBezTo>
                      <a:cubicBezTo>
                        <a:pt x="289363" y="377566"/>
                        <a:pt x="291154" y="369099"/>
                        <a:pt x="286610" y="365339"/>
                      </a:cubicBezTo>
                      <a:cubicBezTo>
                        <a:pt x="281340" y="361018"/>
                        <a:pt x="276035" y="365480"/>
                        <a:pt x="274606" y="355514"/>
                      </a:cubicBezTo>
                      <a:cubicBezTo>
                        <a:pt x="273611" y="348522"/>
                        <a:pt x="283144" y="352281"/>
                        <a:pt x="269277" y="348592"/>
                      </a:cubicBezTo>
                      <a:cubicBezTo>
                        <a:pt x="257812" y="345547"/>
                        <a:pt x="258081" y="339726"/>
                        <a:pt x="250996" y="332290"/>
                      </a:cubicBezTo>
                      <a:cubicBezTo>
                        <a:pt x="242388" y="323236"/>
                        <a:pt x="244355" y="318692"/>
                        <a:pt x="243278" y="306852"/>
                      </a:cubicBezTo>
                      <a:cubicBezTo>
                        <a:pt x="242259" y="295668"/>
                        <a:pt x="249871" y="283780"/>
                        <a:pt x="243559" y="273755"/>
                      </a:cubicBezTo>
                      <a:cubicBezTo>
                        <a:pt x="239635" y="267513"/>
                        <a:pt x="233182" y="267290"/>
                        <a:pt x="227959" y="262512"/>
                      </a:cubicBezTo>
                      <a:cubicBezTo>
                        <a:pt x="225101" y="259901"/>
                        <a:pt x="220464" y="254256"/>
                        <a:pt x="218449" y="251433"/>
                      </a:cubicBezTo>
                      <a:cubicBezTo>
                        <a:pt x="215240" y="246901"/>
                        <a:pt x="212289" y="241724"/>
                        <a:pt x="209162" y="237040"/>
                      </a:cubicBezTo>
                      <a:cubicBezTo>
                        <a:pt x="207370" y="234358"/>
                        <a:pt x="206714" y="228010"/>
                        <a:pt x="203330" y="226558"/>
                      </a:cubicBezTo>
                      <a:cubicBezTo>
                        <a:pt x="201245" y="225668"/>
                        <a:pt x="199523" y="227635"/>
                        <a:pt x="198516" y="227354"/>
                      </a:cubicBezTo>
                      <a:cubicBezTo>
                        <a:pt x="193644" y="226007"/>
                        <a:pt x="174847" y="216861"/>
                        <a:pt x="167504" y="220878"/>
                      </a:cubicBezTo>
                      <a:cubicBezTo>
                        <a:pt x="160266" y="224836"/>
                        <a:pt x="167727" y="225832"/>
                        <a:pt x="166110" y="228865"/>
                      </a:cubicBezTo>
                      <a:cubicBezTo>
                        <a:pt x="165689" y="229661"/>
                        <a:pt x="161004" y="229907"/>
                        <a:pt x="159985" y="230715"/>
                      </a:cubicBezTo>
                      <a:cubicBezTo>
                        <a:pt x="157866" y="232378"/>
                        <a:pt x="159142" y="234885"/>
                        <a:pt x="156144" y="236594"/>
                      </a:cubicBezTo>
                      <a:cubicBezTo>
                        <a:pt x="156203" y="236536"/>
                        <a:pt x="156343" y="236243"/>
                        <a:pt x="156331" y="236243"/>
                      </a:cubicBezTo>
                      <a:cubicBezTo>
                        <a:pt x="155886" y="237040"/>
                        <a:pt x="155043" y="242322"/>
                        <a:pt x="155184" y="242204"/>
                      </a:cubicBezTo>
                      <a:cubicBezTo>
                        <a:pt x="151530" y="245168"/>
                        <a:pt x="152103" y="242076"/>
                        <a:pt x="148707" y="243282"/>
                      </a:cubicBezTo>
                      <a:cubicBezTo>
                        <a:pt x="144397" y="244816"/>
                        <a:pt x="133459" y="249712"/>
                        <a:pt x="134946" y="254080"/>
                      </a:cubicBezTo>
                      <a:cubicBezTo>
                        <a:pt x="127170" y="253787"/>
                        <a:pt x="133939" y="248939"/>
                        <a:pt x="130601" y="246268"/>
                      </a:cubicBezTo>
                      <a:cubicBezTo>
                        <a:pt x="128411" y="244547"/>
                        <a:pt x="123317" y="244980"/>
                        <a:pt x="120471" y="243867"/>
                      </a:cubicBezTo>
                      <a:cubicBezTo>
                        <a:pt x="115856" y="242087"/>
                        <a:pt x="111523" y="234006"/>
                        <a:pt x="107810" y="232788"/>
                      </a:cubicBezTo>
                      <a:cubicBezTo>
                        <a:pt x="103758" y="231453"/>
                        <a:pt x="103758" y="233116"/>
                        <a:pt x="100912" y="234873"/>
                      </a:cubicBezTo>
                      <a:cubicBezTo>
                        <a:pt x="98301" y="236478"/>
                        <a:pt x="96884" y="240811"/>
                        <a:pt x="94061" y="241935"/>
                      </a:cubicBezTo>
                      <a:cubicBezTo>
                        <a:pt x="92878" y="242403"/>
                        <a:pt x="91004" y="240214"/>
                        <a:pt x="90232" y="240764"/>
                      </a:cubicBezTo>
                      <a:cubicBezTo>
                        <a:pt x="89295" y="241432"/>
                        <a:pt x="89025" y="239476"/>
                        <a:pt x="87538" y="240694"/>
                      </a:cubicBezTo>
                      <a:cubicBezTo>
                        <a:pt x="86050" y="241912"/>
                        <a:pt x="86741" y="245964"/>
                        <a:pt x="85383" y="247510"/>
                      </a:cubicBezTo>
                      <a:cubicBezTo>
                        <a:pt x="83849" y="249266"/>
                        <a:pt x="78965" y="250625"/>
                        <a:pt x="77302" y="250965"/>
                      </a:cubicBezTo>
                      <a:cubicBezTo>
                        <a:pt x="76880" y="253342"/>
                        <a:pt x="76892" y="252733"/>
                        <a:pt x="75018" y="254127"/>
                      </a:cubicBezTo>
                      <a:cubicBezTo>
                        <a:pt x="75405" y="254431"/>
                        <a:pt x="75791" y="254748"/>
                        <a:pt x="76189" y="255052"/>
                      </a:cubicBezTo>
                      <a:cubicBezTo>
                        <a:pt x="74819" y="256376"/>
                        <a:pt x="73016" y="257664"/>
                        <a:pt x="71610" y="258917"/>
                      </a:cubicBezTo>
                      <a:cubicBezTo>
                        <a:pt x="69432" y="257066"/>
                        <a:pt x="70579" y="258003"/>
                        <a:pt x="67101" y="258893"/>
                      </a:cubicBezTo>
                      <a:cubicBezTo>
                        <a:pt x="67195" y="259034"/>
                        <a:pt x="56947" y="272490"/>
                        <a:pt x="53773" y="272795"/>
                      </a:cubicBezTo>
                      <a:cubicBezTo>
                        <a:pt x="52403" y="272924"/>
                        <a:pt x="46173" y="269036"/>
                        <a:pt x="45072" y="268005"/>
                      </a:cubicBezTo>
                      <a:cubicBezTo>
                        <a:pt x="42519" y="265627"/>
                        <a:pt x="42366" y="268263"/>
                        <a:pt x="41757" y="264784"/>
                      </a:cubicBezTo>
                      <a:cubicBezTo>
                        <a:pt x="41746" y="264737"/>
                        <a:pt x="44697" y="258390"/>
                        <a:pt x="45013" y="257558"/>
                      </a:cubicBezTo>
                      <a:cubicBezTo>
                        <a:pt x="46887" y="252698"/>
                        <a:pt x="49593" y="249302"/>
                        <a:pt x="52790" y="243633"/>
                      </a:cubicBezTo>
                      <a:cubicBezTo>
                        <a:pt x="55038" y="239640"/>
                        <a:pt x="55448" y="237777"/>
                        <a:pt x="55132" y="232624"/>
                      </a:cubicBezTo>
                      <a:cubicBezTo>
                        <a:pt x="55120" y="232367"/>
                        <a:pt x="53984" y="229263"/>
                        <a:pt x="53832" y="228736"/>
                      </a:cubicBezTo>
                      <a:cubicBezTo>
                        <a:pt x="53621" y="228115"/>
                        <a:pt x="55226" y="227097"/>
                        <a:pt x="55085" y="226839"/>
                      </a:cubicBezTo>
                      <a:cubicBezTo>
                        <a:pt x="54722" y="226148"/>
                        <a:pt x="51583" y="224578"/>
                        <a:pt x="51490" y="224274"/>
                      </a:cubicBezTo>
                      <a:cubicBezTo>
                        <a:pt x="50166" y="219297"/>
                        <a:pt x="48714" y="221100"/>
                        <a:pt x="52017" y="215912"/>
                      </a:cubicBezTo>
                      <a:cubicBezTo>
                        <a:pt x="53809" y="213125"/>
                        <a:pt x="58681" y="211204"/>
                        <a:pt x="59688" y="207562"/>
                      </a:cubicBezTo>
                      <a:cubicBezTo>
                        <a:pt x="59864" y="206929"/>
                        <a:pt x="58798" y="203041"/>
                        <a:pt x="58962" y="201448"/>
                      </a:cubicBezTo>
                      <a:cubicBezTo>
                        <a:pt x="59348" y="197853"/>
                        <a:pt x="60133" y="196600"/>
                        <a:pt x="61093" y="193473"/>
                      </a:cubicBezTo>
                      <a:cubicBezTo>
                        <a:pt x="63517" y="185544"/>
                        <a:pt x="62112" y="188777"/>
                        <a:pt x="58997" y="181211"/>
                      </a:cubicBezTo>
                      <a:cubicBezTo>
                        <a:pt x="58599" y="180239"/>
                        <a:pt x="56116" y="169827"/>
                        <a:pt x="56233" y="169031"/>
                      </a:cubicBezTo>
                      <a:cubicBezTo>
                        <a:pt x="56666" y="165857"/>
                        <a:pt x="62417" y="163058"/>
                        <a:pt x="60250" y="159615"/>
                      </a:cubicBezTo>
                      <a:cubicBezTo>
                        <a:pt x="58821" y="157343"/>
                        <a:pt x="41898" y="156792"/>
                        <a:pt x="39439" y="158139"/>
                      </a:cubicBezTo>
                      <a:cubicBezTo>
                        <a:pt x="36054" y="160001"/>
                        <a:pt x="35480" y="162203"/>
                        <a:pt x="33032" y="162625"/>
                      </a:cubicBezTo>
                      <a:cubicBezTo>
                        <a:pt x="32400" y="162730"/>
                        <a:pt x="26521" y="161606"/>
                        <a:pt x="25549" y="161477"/>
                      </a:cubicBezTo>
                      <a:cubicBezTo>
                        <a:pt x="21157" y="160926"/>
                        <a:pt x="20044" y="162707"/>
                        <a:pt x="17046" y="155949"/>
                      </a:cubicBezTo>
                      <a:cubicBezTo>
                        <a:pt x="12209" y="144987"/>
                        <a:pt x="25455" y="139190"/>
                        <a:pt x="23499" y="126658"/>
                      </a:cubicBezTo>
                      <a:cubicBezTo>
                        <a:pt x="15969" y="129294"/>
                        <a:pt x="17468" y="112031"/>
                        <a:pt x="8333" y="115006"/>
                      </a:cubicBezTo>
                      <a:cubicBezTo>
                        <a:pt x="3765" y="116493"/>
                        <a:pt x="1599" y="129364"/>
                        <a:pt x="64" y="116844"/>
                      </a:cubicBezTo>
                      <a:cubicBezTo>
                        <a:pt x="-638" y="111094"/>
                        <a:pt x="4550" y="99394"/>
                        <a:pt x="8649" y="95166"/>
                      </a:cubicBezTo>
                      <a:cubicBezTo>
                        <a:pt x="14962" y="88666"/>
                        <a:pt x="23839" y="95272"/>
                        <a:pt x="29004" y="87776"/>
                      </a:cubicBezTo>
                      <a:cubicBezTo>
                        <a:pt x="19412" y="89580"/>
                        <a:pt x="23534" y="85094"/>
                        <a:pt x="23335" y="79906"/>
                      </a:cubicBezTo>
                      <a:cubicBezTo>
                        <a:pt x="31076" y="78934"/>
                        <a:pt x="31615" y="67433"/>
                        <a:pt x="35094" y="64669"/>
                      </a:cubicBezTo>
                      <a:cubicBezTo>
                        <a:pt x="40036" y="60746"/>
                        <a:pt x="53282" y="59751"/>
                        <a:pt x="55448" y="51248"/>
                      </a:cubicBezTo>
                      <a:cubicBezTo>
                        <a:pt x="59887" y="55183"/>
                        <a:pt x="56057" y="64213"/>
                        <a:pt x="58634" y="68651"/>
                      </a:cubicBezTo>
                      <a:cubicBezTo>
                        <a:pt x="62569" y="75397"/>
                        <a:pt x="78016" y="62515"/>
                        <a:pt x="77478" y="71814"/>
                      </a:cubicBezTo>
                      <a:cubicBezTo>
                        <a:pt x="83931" y="68921"/>
                        <a:pt x="82478" y="75854"/>
                        <a:pt x="86800" y="70701"/>
                      </a:cubicBezTo>
                      <a:cubicBezTo>
                        <a:pt x="91555" y="65032"/>
                        <a:pt x="87550" y="71485"/>
                        <a:pt x="84633" y="64353"/>
                      </a:cubicBezTo>
                      <a:cubicBezTo>
                        <a:pt x="82678" y="59575"/>
                        <a:pt x="87444" y="51775"/>
                        <a:pt x="87713" y="49538"/>
                      </a:cubicBezTo>
                      <a:cubicBezTo>
                        <a:pt x="88018" y="46891"/>
                        <a:pt x="86601" y="45252"/>
                        <a:pt x="85125" y="41399"/>
                      </a:cubicBezTo>
                      <a:cubicBezTo>
                        <a:pt x="84305" y="39267"/>
                        <a:pt x="85734" y="37499"/>
                        <a:pt x="84598" y="34946"/>
                      </a:cubicBezTo>
                      <a:cubicBezTo>
                        <a:pt x="83720" y="32978"/>
                        <a:pt x="82314" y="31643"/>
                        <a:pt x="81366" y="30284"/>
                      </a:cubicBezTo>
                      <a:cubicBezTo>
                        <a:pt x="78461" y="26127"/>
                        <a:pt x="77735" y="23632"/>
                        <a:pt x="76693" y="18596"/>
                      </a:cubicBezTo>
                      <a:cubicBezTo>
                        <a:pt x="76236" y="16430"/>
                        <a:pt x="73870" y="14814"/>
                        <a:pt x="74444" y="12846"/>
                      </a:cubicBezTo>
                      <a:cubicBezTo>
                        <a:pt x="75147" y="10492"/>
                        <a:pt x="77934" y="12858"/>
                        <a:pt x="78778" y="11183"/>
                      </a:cubicBezTo>
                      <a:cubicBezTo>
                        <a:pt x="80019" y="8700"/>
                        <a:pt x="80007" y="2727"/>
                        <a:pt x="82291" y="1228"/>
                      </a:cubicBezTo>
                      <a:cubicBezTo>
                        <a:pt x="84961" y="-529"/>
                        <a:pt x="85125" y="-72"/>
                        <a:pt x="87702" y="584"/>
                      </a:cubicBezTo>
                      <a:cubicBezTo>
                        <a:pt x="89388" y="1017"/>
                        <a:pt x="89084" y="5175"/>
                        <a:pt x="91086" y="5784"/>
                      </a:cubicBezTo>
                      <a:cubicBezTo>
                        <a:pt x="92761" y="6288"/>
                        <a:pt x="92784" y="4449"/>
                        <a:pt x="93089" y="4472"/>
                      </a:cubicBezTo>
                      <a:cubicBezTo>
                        <a:pt x="96813" y="4695"/>
                        <a:pt x="101416" y="10"/>
                        <a:pt x="105503" y="5034"/>
                      </a:cubicBezTo>
                      <a:lnTo>
                        <a:pt x="105503" y="5034"/>
                      </a:lnTo>
                      <a:close/>
                    </a:path>
                  </a:pathLst>
                </a:custGeom>
                <a:solidFill>
                  <a:srgbClr val="D6D6D2"/>
                </a:solidFill>
                <a:ln w="8774" cap="rnd">
                  <a:solidFill>
                    <a:srgbClr val="FFFFFF"/>
                  </a:solidFill>
                  <a:prstDash val="solid"/>
                  <a:round/>
                </a:ln>
              </p:spPr>
              <p:txBody>
                <a:bodyPr rtlCol="0" anchor="ctr"/>
                <a:lstStyle/>
                <a:p>
                  <a:endParaRPr lang="en-US"/>
                </a:p>
              </p:txBody>
            </p:sp>
            <p:sp>
              <p:nvSpPr>
                <p:cNvPr id="121" name="Freeform: Shape 120">
                  <a:extLst>
                    <a:ext uri="{FF2B5EF4-FFF2-40B4-BE49-F238E27FC236}">
                      <a16:creationId xmlns:a16="http://schemas.microsoft.com/office/drawing/2014/main" id="{7A183096-84A2-4447-B830-2F51829C06DD}"/>
                    </a:ext>
                  </a:extLst>
                </p:cNvPr>
                <p:cNvSpPr/>
                <p:nvPr/>
              </p:nvSpPr>
              <p:spPr>
                <a:xfrm>
                  <a:off x="3698400" y="3961182"/>
                  <a:ext cx="179763" cy="320722"/>
                </a:xfrm>
                <a:custGeom>
                  <a:avLst/>
                  <a:gdLst>
                    <a:gd name="connsiteX0" fmla="*/ 36171 w 179763"/>
                    <a:gd name="connsiteY0" fmla="*/ 301051 h 320722"/>
                    <a:gd name="connsiteX1" fmla="*/ 42577 w 179763"/>
                    <a:gd name="connsiteY1" fmla="*/ 305806 h 320722"/>
                    <a:gd name="connsiteX2" fmla="*/ 9434 w 179763"/>
                    <a:gd name="connsiteY2" fmla="*/ 320340 h 320722"/>
                    <a:gd name="connsiteX3" fmla="*/ 2020 w 179763"/>
                    <a:gd name="connsiteY3" fmla="*/ 317541 h 320722"/>
                    <a:gd name="connsiteX4" fmla="*/ 7689 w 179763"/>
                    <a:gd name="connsiteY4" fmla="*/ 308148 h 320722"/>
                    <a:gd name="connsiteX5" fmla="*/ 36171 w 179763"/>
                    <a:gd name="connsiteY5" fmla="*/ 301051 h 320722"/>
                    <a:gd name="connsiteX6" fmla="*/ 36171 w 179763"/>
                    <a:gd name="connsiteY6" fmla="*/ 301051 h 320722"/>
                    <a:gd name="connsiteX7" fmla="*/ 122286 w 179763"/>
                    <a:gd name="connsiteY7" fmla="*/ 11297 h 320722"/>
                    <a:gd name="connsiteX8" fmla="*/ 163991 w 179763"/>
                    <a:gd name="connsiteY8" fmla="*/ 76448 h 320722"/>
                    <a:gd name="connsiteX9" fmla="*/ 174320 w 179763"/>
                    <a:gd name="connsiteY9" fmla="*/ 111618 h 320722"/>
                    <a:gd name="connsiteX10" fmla="*/ 169718 w 179763"/>
                    <a:gd name="connsiteY10" fmla="*/ 142735 h 320722"/>
                    <a:gd name="connsiteX11" fmla="*/ 178642 w 179763"/>
                    <a:gd name="connsiteY11" fmla="*/ 152186 h 320722"/>
                    <a:gd name="connsiteX12" fmla="*/ 174976 w 179763"/>
                    <a:gd name="connsiteY12" fmla="*/ 174016 h 320722"/>
                    <a:gd name="connsiteX13" fmla="*/ 171252 w 179763"/>
                    <a:gd name="connsiteY13" fmla="*/ 188468 h 320722"/>
                    <a:gd name="connsiteX14" fmla="*/ 169191 w 179763"/>
                    <a:gd name="connsiteY14" fmla="*/ 184861 h 320722"/>
                    <a:gd name="connsiteX15" fmla="*/ 168757 w 179763"/>
                    <a:gd name="connsiteY15" fmla="*/ 186021 h 320722"/>
                    <a:gd name="connsiteX16" fmla="*/ 153041 w 179763"/>
                    <a:gd name="connsiteY16" fmla="*/ 209256 h 320722"/>
                    <a:gd name="connsiteX17" fmla="*/ 150417 w 179763"/>
                    <a:gd name="connsiteY17" fmla="*/ 213133 h 320722"/>
                    <a:gd name="connsiteX18" fmla="*/ 149562 w 179763"/>
                    <a:gd name="connsiteY18" fmla="*/ 211926 h 320722"/>
                    <a:gd name="connsiteX19" fmla="*/ 149738 w 179763"/>
                    <a:gd name="connsiteY19" fmla="*/ 213683 h 320722"/>
                    <a:gd name="connsiteX20" fmla="*/ 147524 w 179763"/>
                    <a:gd name="connsiteY20" fmla="*/ 208308 h 320722"/>
                    <a:gd name="connsiteX21" fmla="*/ 144749 w 179763"/>
                    <a:gd name="connsiteY21" fmla="*/ 211611 h 320722"/>
                    <a:gd name="connsiteX22" fmla="*/ 144397 w 179763"/>
                    <a:gd name="connsiteY22" fmla="*/ 209233 h 320722"/>
                    <a:gd name="connsiteX23" fmla="*/ 138296 w 179763"/>
                    <a:gd name="connsiteY23" fmla="*/ 209842 h 320722"/>
                    <a:gd name="connsiteX24" fmla="*/ 134103 w 179763"/>
                    <a:gd name="connsiteY24" fmla="*/ 210732 h 320722"/>
                    <a:gd name="connsiteX25" fmla="*/ 133869 w 179763"/>
                    <a:gd name="connsiteY25" fmla="*/ 207933 h 320722"/>
                    <a:gd name="connsiteX26" fmla="*/ 133025 w 179763"/>
                    <a:gd name="connsiteY26" fmla="*/ 209561 h 320722"/>
                    <a:gd name="connsiteX27" fmla="*/ 129793 w 179763"/>
                    <a:gd name="connsiteY27" fmla="*/ 207945 h 320722"/>
                    <a:gd name="connsiteX28" fmla="*/ 128985 w 179763"/>
                    <a:gd name="connsiteY28" fmla="*/ 203764 h 320722"/>
                    <a:gd name="connsiteX29" fmla="*/ 131585 w 179763"/>
                    <a:gd name="connsiteY29" fmla="*/ 212793 h 320722"/>
                    <a:gd name="connsiteX30" fmla="*/ 116946 w 179763"/>
                    <a:gd name="connsiteY30" fmla="*/ 216014 h 320722"/>
                    <a:gd name="connsiteX31" fmla="*/ 119487 w 179763"/>
                    <a:gd name="connsiteY31" fmla="*/ 217443 h 320722"/>
                    <a:gd name="connsiteX32" fmla="*/ 120635 w 179763"/>
                    <a:gd name="connsiteY32" fmla="*/ 223298 h 320722"/>
                    <a:gd name="connsiteX33" fmla="*/ 121630 w 179763"/>
                    <a:gd name="connsiteY33" fmla="*/ 222104 h 320722"/>
                    <a:gd name="connsiteX34" fmla="*/ 117555 w 179763"/>
                    <a:gd name="connsiteY34" fmla="*/ 225899 h 320722"/>
                    <a:gd name="connsiteX35" fmla="*/ 119265 w 179763"/>
                    <a:gd name="connsiteY35" fmla="*/ 224516 h 320722"/>
                    <a:gd name="connsiteX36" fmla="*/ 116243 w 179763"/>
                    <a:gd name="connsiteY36" fmla="*/ 221729 h 320722"/>
                    <a:gd name="connsiteX37" fmla="*/ 115048 w 179763"/>
                    <a:gd name="connsiteY37" fmla="*/ 219516 h 320722"/>
                    <a:gd name="connsiteX38" fmla="*/ 108373 w 179763"/>
                    <a:gd name="connsiteY38" fmla="*/ 222865 h 320722"/>
                    <a:gd name="connsiteX39" fmla="*/ 101205 w 179763"/>
                    <a:gd name="connsiteY39" fmla="*/ 211540 h 320722"/>
                    <a:gd name="connsiteX40" fmla="*/ 97622 w 179763"/>
                    <a:gd name="connsiteY40" fmla="*/ 214398 h 320722"/>
                    <a:gd name="connsiteX41" fmla="*/ 98582 w 179763"/>
                    <a:gd name="connsiteY41" fmla="*/ 216494 h 320722"/>
                    <a:gd name="connsiteX42" fmla="*/ 95162 w 179763"/>
                    <a:gd name="connsiteY42" fmla="*/ 217665 h 320722"/>
                    <a:gd name="connsiteX43" fmla="*/ 93710 w 179763"/>
                    <a:gd name="connsiteY43" fmla="*/ 215241 h 320722"/>
                    <a:gd name="connsiteX44" fmla="*/ 82935 w 179763"/>
                    <a:gd name="connsiteY44" fmla="*/ 216998 h 320722"/>
                    <a:gd name="connsiteX45" fmla="*/ 76271 w 179763"/>
                    <a:gd name="connsiteY45" fmla="*/ 219574 h 320722"/>
                    <a:gd name="connsiteX46" fmla="*/ 85875 w 179763"/>
                    <a:gd name="connsiteY46" fmla="*/ 225313 h 320722"/>
                    <a:gd name="connsiteX47" fmla="*/ 78825 w 179763"/>
                    <a:gd name="connsiteY47" fmla="*/ 238945 h 320722"/>
                    <a:gd name="connsiteX48" fmla="*/ 72348 w 179763"/>
                    <a:gd name="connsiteY48" fmla="*/ 222842 h 320722"/>
                    <a:gd name="connsiteX49" fmla="*/ 64466 w 179763"/>
                    <a:gd name="connsiteY49" fmla="*/ 226800 h 320722"/>
                    <a:gd name="connsiteX50" fmla="*/ 67617 w 179763"/>
                    <a:gd name="connsiteY50" fmla="*/ 228533 h 320722"/>
                    <a:gd name="connsiteX51" fmla="*/ 64080 w 179763"/>
                    <a:gd name="connsiteY51" fmla="*/ 230583 h 320722"/>
                    <a:gd name="connsiteX52" fmla="*/ 70837 w 179763"/>
                    <a:gd name="connsiteY52" fmla="*/ 237832 h 320722"/>
                    <a:gd name="connsiteX53" fmla="*/ 68999 w 179763"/>
                    <a:gd name="connsiteY53" fmla="*/ 237832 h 320722"/>
                    <a:gd name="connsiteX54" fmla="*/ 65520 w 179763"/>
                    <a:gd name="connsiteY54" fmla="*/ 239941 h 320722"/>
                    <a:gd name="connsiteX55" fmla="*/ 68308 w 179763"/>
                    <a:gd name="connsiteY55" fmla="*/ 243501 h 320722"/>
                    <a:gd name="connsiteX56" fmla="*/ 63318 w 179763"/>
                    <a:gd name="connsiteY56" fmla="*/ 249123 h 320722"/>
                    <a:gd name="connsiteX57" fmla="*/ 54746 w 179763"/>
                    <a:gd name="connsiteY57" fmla="*/ 245105 h 320722"/>
                    <a:gd name="connsiteX58" fmla="*/ 56537 w 179763"/>
                    <a:gd name="connsiteY58" fmla="*/ 237832 h 320722"/>
                    <a:gd name="connsiteX59" fmla="*/ 55460 w 179763"/>
                    <a:gd name="connsiteY59" fmla="*/ 241487 h 320722"/>
                    <a:gd name="connsiteX60" fmla="*/ 60004 w 179763"/>
                    <a:gd name="connsiteY60" fmla="*/ 233933 h 320722"/>
                    <a:gd name="connsiteX61" fmla="*/ 62698 w 179763"/>
                    <a:gd name="connsiteY61" fmla="*/ 231672 h 320722"/>
                    <a:gd name="connsiteX62" fmla="*/ 58341 w 179763"/>
                    <a:gd name="connsiteY62" fmla="*/ 230173 h 320722"/>
                    <a:gd name="connsiteX63" fmla="*/ 46957 w 179763"/>
                    <a:gd name="connsiteY63" fmla="*/ 238910 h 320722"/>
                    <a:gd name="connsiteX64" fmla="*/ 40059 w 179763"/>
                    <a:gd name="connsiteY64" fmla="*/ 250727 h 320722"/>
                    <a:gd name="connsiteX65" fmla="*/ 31580 w 179763"/>
                    <a:gd name="connsiteY65" fmla="*/ 245012 h 320722"/>
                    <a:gd name="connsiteX66" fmla="*/ 32951 w 179763"/>
                    <a:gd name="connsiteY66" fmla="*/ 247108 h 320722"/>
                    <a:gd name="connsiteX67" fmla="*/ 30186 w 179763"/>
                    <a:gd name="connsiteY67" fmla="*/ 248829 h 320722"/>
                    <a:gd name="connsiteX68" fmla="*/ 31147 w 179763"/>
                    <a:gd name="connsiteY68" fmla="*/ 249825 h 320722"/>
                    <a:gd name="connsiteX69" fmla="*/ 24694 w 179763"/>
                    <a:gd name="connsiteY69" fmla="*/ 257625 h 320722"/>
                    <a:gd name="connsiteX70" fmla="*/ 20419 w 179763"/>
                    <a:gd name="connsiteY70" fmla="*/ 257988 h 320722"/>
                    <a:gd name="connsiteX71" fmla="*/ 18241 w 179763"/>
                    <a:gd name="connsiteY71" fmla="*/ 254779 h 320722"/>
                    <a:gd name="connsiteX72" fmla="*/ 17515 w 179763"/>
                    <a:gd name="connsiteY72" fmla="*/ 247506 h 320722"/>
                    <a:gd name="connsiteX73" fmla="*/ 21473 w 179763"/>
                    <a:gd name="connsiteY73" fmla="*/ 245094 h 320722"/>
                    <a:gd name="connsiteX74" fmla="*/ 20021 w 179763"/>
                    <a:gd name="connsiteY74" fmla="*/ 243887 h 320722"/>
                    <a:gd name="connsiteX75" fmla="*/ 21368 w 179763"/>
                    <a:gd name="connsiteY75" fmla="*/ 242166 h 320722"/>
                    <a:gd name="connsiteX76" fmla="*/ 11272 w 179763"/>
                    <a:gd name="connsiteY76" fmla="*/ 240889 h 320722"/>
                    <a:gd name="connsiteX77" fmla="*/ 10054 w 179763"/>
                    <a:gd name="connsiteY77" fmla="*/ 239460 h 320722"/>
                    <a:gd name="connsiteX78" fmla="*/ 9375 w 179763"/>
                    <a:gd name="connsiteY78" fmla="*/ 231028 h 320722"/>
                    <a:gd name="connsiteX79" fmla="*/ 17433 w 179763"/>
                    <a:gd name="connsiteY79" fmla="*/ 240889 h 320722"/>
                    <a:gd name="connsiteX80" fmla="*/ 17866 w 179763"/>
                    <a:gd name="connsiteY80" fmla="*/ 239859 h 320722"/>
                    <a:gd name="connsiteX81" fmla="*/ 14915 w 179763"/>
                    <a:gd name="connsiteY81" fmla="*/ 236872 h 320722"/>
                    <a:gd name="connsiteX82" fmla="*/ 13345 w 179763"/>
                    <a:gd name="connsiteY82" fmla="*/ 237868 h 320722"/>
                    <a:gd name="connsiteX83" fmla="*/ 12947 w 179763"/>
                    <a:gd name="connsiteY83" fmla="*/ 233429 h 320722"/>
                    <a:gd name="connsiteX84" fmla="*/ 21134 w 179763"/>
                    <a:gd name="connsiteY84" fmla="*/ 238617 h 320722"/>
                    <a:gd name="connsiteX85" fmla="*/ 20279 w 179763"/>
                    <a:gd name="connsiteY85" fmla="*/ 237013 h 320722"/>
                    <a:gd name="connsiteX86" fmla="*/ 25725 w 179763"/>
                    <a:gd name="connsiteY86" fmla="*/ 238219 h 320722"/>
                    <a:gd name="connsiteX87" fmla="*/ 12186 w 179763"/>
                    <a:gd name="connsiteY87" fmla="*/ 231192 h 320722"/>
                    <a:gd name="connsiteX88" fmla="*/ 21122 w 179763"/>
                    <a:gd name="connsiteY88" fmla="*/ 231379 h 320722"/>
                    <a:gd name="connsiteX89" fmla="*/ 27903 w 179763"/>
                    <a:gd name="connsiteY89" fmla="*/ 227714 h 320722"/>
                    <a:gd name="connsiteX90" fmla="*/ 23242 w 179763"/>
                    <a:gd name="connsiteY90" fmla="*/ 226906 h 320722"/>
                    <a:gd name="connsiteX91" fmla="*/ 18955 w 179763"/>
                    <a:gd name="connsiteY91" fmla="*/ 229330 h 320722"/>
                    <a:gd name="connsiteX92" fmla="*/ 18639 w 179763"/>
                    <a:gd name="connsiteY92" fmla="*/ 228967 h 320722"/>
                    <a:gd name="connsiteX93" fmla="*/ 19342 w 179763"/>
                    <a:gd name="connsiteY93" fmla="*/ 227725 h 320722"/>
                    <a:gd name="connsiteX94" fmla="*/ 15102 w 179763"/>
                    <a:gd name="connsiteY94" fmla="*/ 228674 h 320722"/>
                    <a:gd name="connsiteX95" fmla="*/ 14177 w 179763"/>
                    <a:gd name="connsiteY95" fmla="*/ 226273 h 320722"/>
                    <a:gd name="connsiteX96" fmla="*/ 15992 w 179763"/>
                    <a:gd name="connsiteY96" fmla="*/ 217490 h 320722"/>
                    <a:gd name="connsiteX97" fmla="*/ 8942 w 179763"/>
                    <a:gd name="connsiteY97" fmla="*/ 218005 h 320722"/>
                    <a:gd name="connsiteX98" fmla="*/ 11436 w 179763"/>
                    <a:gd name="connsiteY98" fmla="*/ 218005 h 320722"/>
                    <a:gd name="connsiteX99" fmla="*/ 8942 w 179763"/>
                    <a:gd name="connsiteY99" fmla="*/ 211154 h 320722"/>
                    <a:gd name="connsiteX100" fmla="*/ 8989 w 179763"/>
                    <a:gd name="connsiteY100" fmla="*/ 213250 h 320722"/>
                    <a:gd name="connsiteX101" fmla="*/ 9668 w 179763"/>
                    <a:gd name="connsiteY101" fmla="*/ 209549 h 320722"/>
                    <a:gd name="connsiteX102" fmla="*/ 11120 w 179763"/>
                    <a:gd name="connsiteY102" fmla="*/ 207113 h 320722"/>
                    <a:gd name="connsiteX103" fmla="*/ 15395 w 179763"/>
                    <a:gd name="connsiteY103" fmla="*/ 215229 h 320722"/>
                    <a:gd name="connsiteX104" fmla="*/ 12198 w 179763"/>
                    <a:gd name="connsiteY104" fmla="*/ 202241 h 320722"/>
                    <a:gd name="connsiteX105" fmla="*/ 9340 w 179763"/>
                    <a:gd name="connsiteY105" fmla="*/ 202604 h 320722"/>
                    <a:gd name="connsiteX106" fmla="*/ 12924 w 179763"/>
                    <a:gd name="connsiteY106" fmla="*/ 201468 h 320722"/>
                    <a:gd name="connsiteX107" fmla="*/ 11835 w 179763"/>
                    <a:gd name="connsiteY107" fmla="*/ 201023 h 320722"/>
                    <a:gd name="connsiteX108" fmla="*/ 14681 w 179763"/>
                    <a:gd name="connsiteY108" fmla="*/ 194511 h 320722"/>
                    <a:gd name="connsiteX109" fmla="*/ 17152 w 179763"/>
                    <a:gd name="connsiteY109" fmla="*/ 195964 h 320722"/>
                    <a:gd name="connsiteX110" fmla="*/ 29343 w 179763"/>
                    <a:gd name="connsiteY110" fmla="*/ 184767 h 320722"/>
                    <a:gd name="connsiteX111" fmla="*/ 20653 w 179763"/>
                    <a:gd name="connsiteY111" fmla="*/ 176206 h 320722"/>
                    <a:gd name="connsiteX112" fmla="*/ 34028 w 179763"/>
                    <a:gd name="connsiteY112" fmla="*/ 171370 h 320722"/>
                    <a:gd name="connsiteX113" fmla="*/ 29788 w 179763"/>
                    <a:gd name="connsiteY113" fmla="*/ 166638 h 320722"/>
                    <a:gd name="connsiteX114" fmla="*/ 36921 w 179763"/>
                    <a:gd name="connsiteY114" fmla="*/ 163464 h 320722"/>
                    <a:gd name="connsiteX115" fmla="*/ 27680 w 179763"/>
                    <a:gd name="connsiteY115" fmla="*/ 163827 h 320722"/>
                    <a:gd name="connsiteX116" fmla="*/ 20665 w 179763"/>
                    <a:gd name="connsiteY116" fmla="*/ 160654 h 320722"/>
                    <a:gd name="connsiteX117" fmla="*/ 20419 w 179763"/>
                    <a:gd name="connsiteY117" fmla="*/ 158862 h 320722"/>
                    <a:gd name="connsiteX118" fmla="*/ 38642 w 179763"/>
                    <a:gd name="connsiteY118" fmla="*/ 153416 h 320722"/>
                    <a:gd name="connsiteX119" fmla="*/ 27270 w 179763"/>
                    <a:gd name="connsiteY119" fmla="*/ 154130 h 320722"/>
                    <a:gd name="connsiteX120" fmla="*/ 19307 w 179763"/>
                    <a:gd name="connsiteY120" fmla="*/ 149610 h 320722"/>
                    <a:gd name="connsiteX121" fmla="*/ 24694 w 179763"/>
                    <a:gd name="connsiteY121" fmla="*/ 146869 h 320722"/>
                    <a:gd name="connsiteX122" fmla="*/ 23605 w 179763"/>
                    <a:gd name="connsiteY122" fmla="*/ 139549 h 320722"/>
                    <a:gd name="connsiteX123" fmla="*/ 20021 w 179763"/>
                    <a:gd name="connsiteY123" fmla="*/ 137874 h 320722"/>
                    <a:gd name="connsiteX124" fmla="*/ 23605 w 179763"/>
                    <a:gd name="connsiteY124" fmla="*/ 136071 h 320722"/>
                    <a:gd name="connsiteX125" fmla="*/ 25420 w 179763"/>
                    <a:gd name="connsiteY125" fmla="*/ 128869 h 320722"/>
                    <a:gd name="connsiteX126" fmla="*/ 20021 w 179763"/>
                    <a:gd name="connsiteY126" fmla="*/ 125566 h 320722"/>
                    <a:gd name="connsiteX127" fmla="*/ 17081 w 179763"/>
                    <a:gd name="connsiteY127" fmla="*/ 121572 h 320722"/>
                    <a:gd name="connsiteX128" fmla="*/ 19330 w 179763"/>
                    <a:gd name="connsiteY128" fmla="*/ 114135 h 320722"/>
                    <a:gd name="connsiteX129" fmla="*/ 18229 w 179763"/>
                    <a:gd name="connsiteY129" fmla="*/ 112507 h 320722"/>
                    <a:gd name="connsiteX130" fmla="*/ 15571 w 179763"/>
                    <a:gd name="connsiteY130" fmla="*/ 120647 h 320722"/>
                    <a:gd name="connsiteX131" fmla="*/ 11928 w 179763"/>
                    <a:gd name="connsiteY131" fmla="*/ 112788 h 320722"/>
                    <a:gd name="connsiteX132" fmla="*/ 8919 w 179763"/>
                    <a:gd name="connsiteY132" fmla="*/ 115377 h 320722"/>
                    <a:gd name="connsiteX133" fmla="*/ 11097 w 179763"/>
                    <a:gd name="connsiteY133" fmla="*/ 120729 h 320722"/>
                    <a:gd name="connsiteX134" fmla="*/ 8602 w 179763"/>
                    <a:gd name="connsiteY134" fmla="*/ 122357 h 320722"/>
                    <a:gd name="connsiteX135" fmla="*/ 7501 w 179763"/>
                    <a:gd name="connsiteY135" fmla="*/ 114147 h 320722"/>
                    <a:gd name="connsiteX136" fmla="*/ 1411 w 179763"/>
                    <a:gd name="connsiteY136" fmla="*/ 115494 h 320722"/>
                    <a:gd name="connsiteX137" fmla="*/ 1447 w 179763"/>
                    <a:gd name="connsiteY137" fmla="*/ 111699 h 320722"/>
                    <a:gd name="connsiteX138" fmla="*/ 123 w 179763"/>
                    <a:gd name="connsiteY138" fmla="*/ 115107 h 320722"/>
                    <a:gd name="connsiteX139" fmla="*/ 1833 w 179763"/>
                    <a:gd name="connsiteY139" fmla="*/ 108385 h 320722"/>
                    <a:gd name="connsiteX140" fmla="*/ 4328 w 179763"/>
                    <a:gd name="connsiteY140" fmla="*/ 110470 h 320722"/>
                    <a:gd name="connsiteX141" fmla="*/ 3226 w 179763"/>
                    <a:gd name="connsiteY141" fmla="*/ 108830 h 320722"/>
                    <a:gd name="connsiteX142" fmla="*/ 5721 w 179763"/>
                    <a:gd name="connsiteY142" fmla="*/ 108385 h 320722"/>
                    <a:gd name="connsiteX143" fmla="*/ 5405 w 179763"/>
                    <a:gd name="connsiteY143" fmla="*/ 103103 h 320722"/>
                    <a:gd name="connsiteX144" fmla="*/ 9317 w 179763"/>
                    <a:gd name="connsiteY144" fmla="*/ 99344 h 320722"/>
                    <a:gd name="connsiteX145" fmla="*/ 8403 w 179763"/>
                    <a:gd name="connsiteY145" fmla="*/ 109990 h 320722"/>
                    <a:gd name="connsiteX146" fmla="*/ 11811 w 179763"/>
                    <a:gd name="connsiteY146" fmla="*/ 110013 h 320722"/>
                    <a:gd name="connsiteX147" fmla="*/ 10909 w 179763"/>
                    <a:gd name="connsiteY147" fmla="*/ 105925 h 320722"/>
                    <a:gd name="connsiteX148" fmla="*/ 14318 w 179763"/>
                    <a:gd name="connsiteY148" fmla="*/ 105925 h 320722"/>
                    <a:gd name="connsiteX149" fmla="*/ 12900 w 179763"/>
                    <a:gd name="connsiteY149" fmla="*/ 104731 h 320722"/>
                    <a:gd name="connsiteX150" fmla="*/ 11507 w 179763"/>
                    <a:gd name="connsiteY150" fmla="*/ 99484 h 320722"/>
                    <a:gd name="connsiteX151" fmla="*/ 12842 w 179763"/>
                    <a:gd name="connsiteY151" fmla="*/ 98852 h 320722"/>
                    <a:gd name="connsiteX152" fmla="*/ 10722 w 179763"/>
                    <a:gd name="connsiteY152" fmla="*/ 98149 h 320722"/>
                    <a:gd name="connsiteX153" fmla="*/ 16086 w 179763"/>
                    <a:gd name="connsiteY153" fmla="*/ 100597 h 320722"/>
                    <a:gd name="connsiteX154" fmla="*/ 18440 w 179763"/>
                    <a:gd name="connsiteY154" fmla="*/ 106851 h 320722"/>
                    <a:gd name="connsiteX155" fmla="*/ 20279 w 179763"/>
                    <a:gd name="connsiteY155" fmla="*/ 100480 h 320722"/>
                    <a:gd name="connsiteX156" fmla="*/ 23581 w 179763"/>
                    <a:gd name="connsiteY156" fmla="*/ 103466 h 320722"/>
                    <a:gd name="connsiteX157" fmla="*/ 19108 w 179763"/>
                    <a:gd name="connsiteY157" fmla="*/ 96884 h 320722"/>
                    <a:gd name="connsiteX158" fmla="*/ 23043 w 179763"/>
                    <a:gd name="connsiteY158" fmla="*/ 98699 h 320722"/>
                    <a:gd name="connsiteX159" fmla="*/ 19318 w 179763"/>
                    <a:gd name="connsiteY159" fmla="*/ 94050 h 320722"/>
                    <a:gd name="connsiteX160" fmla="*/ 26123 w 179763"/>
                    <a:gd name="connsiteY160" fmla="*/ 102646 h 320722"/>
                    <a:gd name="connsiteX161" fmla="*/ 33993 w 179763"/>
                    <a:gd name="connsiteY161" fmla="*/ 103864 h 320722"/>
                    <a:gd name="connsiteX162" fmla="*/ 36148 w 179763"/>
                    <a:gd name="connsiteY162" fmla="*/ 102236 h 320722"/>
                    <a:gd name="connsiteX163" fmla="*/ 37577 w 179763"/>
                    <a:gd name="connsiteY163" fmla="*/ 112086 h 320722"/>
                    <a:gd name="connsiteX164" fmla="*/ 38244 w 179763"/>
                    <a:gd name="connsiteY164" fmla="*/ 107577 h 320722"/>
                    <a:gd name="connsiteX165" fmla="*/ 40411 w 179763"/>
                    <a:gd name="connsiteY165" fmla="*/ 107998 h 320722"/>
                    <a:gd name="connsiteX166" fmla="*/ 38080 w 179763"/>
                    <a:gd name="connsiteY166" fmla="*/ 105164 h 320722"/>
                    <a:gd name="connsiteX167" fmla="*/ 45084 w 179763"/>
                    <a:gd name="connsiteY167" fmla="*/ 99332 h 320722"/>
                    <a:gd name="connsiteX168" fmla="*/ 47578 w 179763"/>
                    <a:gd name="connsiteY168" fmla="*/ 97728 h 320722"/>
                    <a:gd name="connsiteX169" fmla="*/ 36218 w 179763"/>
                    <a:gd name="connsiteY169" fmla="*/ 97189 h 320722"/>
                    <a:gd name="connsiteX170" fmla="*/ 39357 w 179763"/>
                    <a:gd name="connsiteY170" fmla="*/ 96873 h 320722"/>
                    <a:gd name="connsiteX171" fmla="*/ 38631 w 179763"/>
                    <a:gd name="connsiteY171" fmla="*/ 96065 h 320722"/>
                    <a:gd name="connsiteX172" fmla="*/ 40739 w 179763"/>
                    <a:gd name="connsiteY172" fmla="*/ 96498 h 320722"/>
                    <a:gd name="connsiteX173" fmla="*/ 39076 w 179763"/>
                    <a:gd name="connsiteY173" fmla="*/ 91345 h 320722"/>
                    <a:gd name="connsiteX174" fmla="*/ 32529 w 179763"/>
                    <a:gd name="connsiteY174" fmla="*/ 91825 h 320722"/>
                    <a:gd name="connsiteX175" fmla="*/ 38631 w 179763"/>
                    <a:gd name="connsiteY175" fmla="*/ 86824 h 320722"/>
                    <a:gd name="connsiteX176" fmla="*/ 35070 w 179763"/>
                    <a:gd name="connsiteY176" fmla="*/ 86227 h 320722"/>
                    <a:gd name="connsiteX177" fmla="*/ 28980 w 179763"/>
                    <a:gd name="connsiteY177" fmla="*/ 89553 h 320722"/>
                    <a:gd name="connsiteX178" fmla="*/ 30081 w 179763"/>
                    <a:gd name="connsiteY178" fmla="*/ 87468 h 320722"/>
                    <a:gd name="connsiteX179" fmla="*/ 28078 w 179763"/>
                    <a:gd name="connsiteY179" fmla="*/ 87656 h 320722"/>
                    <a:gd name="connsiteX180" fmla="*/ 30725 w 179763"/>
                    <a:gd name="connsiteY180" fmla="*/ 84575 h 320722"/>
                    <a:gd name="connsiteX181" fmla="*/ 27552 w 179763"/>
                    <a:gd name="connsiteY181" fmla="*/ 82092 h 320722"/>
                    <a:gd name="connsiteX182" fmla="*/ 33255 w 179763"/>
                    <a:gd name="connsiteY182" fmla="*/ 82092 h 320722"/>
                    <a:gd name="connsiteX183" fmla="*/ 33993 w 179763"/>
                    <a:gd name="connsiteY183" fmla="*/ 84142 h 320722"/>
                    <a:gd name="connsiteX184" fmla="*/ 38619 w 179763"/>
                    <a:gd name="connsiteY184" fmla="*/ 81261 h 320722"/>
                    <a:gd name="connsiteX185" fmla="*/ 30760 w 179763"/>
                    <a:gd name="connsiteY185" fmla="*/ 74691 h 320722"/>
                    <a:gd name="connsiteX186" fmla="*/ 25280 w 179763"/>
                    <a:gd name="connsiteY186" fmla="*/ 74539 h 320722"/>
                    <a:gd name="connsiteX187" fmla="*/ 26802 w 179763"/>
                    <a:gd name="connsiteY187" fmla="*/ 67032 h 320722"/>
                    <a:gd name="connsiteX188" fmla="*/ 24834 w 179763"/>
                    <a:gd name="connsiteY188" fmla="*/ 67488 h 320722"/>
                    <a:gd name="connsiteX189" fmla="*/ 21801 w 179763"/>
                    <a:gd name="connsiteY189" fmla="*/ 51010 h 320722"/>
                    <a:gd name="connsiteX190" fmla="*/ 32599 w 179763"/>
                    <a:gd name="connsiteY190" fmla="*/ 58986 h 320722"/>
                    <a:gd name="connsiteX191" fmla="*/ 29718 w 179763"/>
                    <a:gd name="connsiteY191" fmla="*/ 47415 h 320722"/>
                    <a:gd name="connsiteX192" fmla="*/ 28020 w 179763"/>
                    <a:gd name="connsiteY192" fmla="*/ 47532 h 320722"/>
                    <a:gd name="connsiteX193" fmla="*/ 42601 w 179763"/>
                    <a:gd name="connsiteY193" fmla="*/ 25784 h 320722"/>
                    <a:gd name="connsiteX194" fmla="*/ 75147 w 179763"/>
                    <a:gd name="connsiteY194" fmla="*/ 18194 h 320722"/>
                    <a:gd name="connsiteX195" fmla="*/ 109895 w 179763"/>
                    <a:gd name="connsiteY195" fmla="*/ 12128 h 320722"/>
                    <a:gd name="connsiteX196" fmla="*/ 112893 w 179763"/>
                    <a:gd name="connsiteY196" fmla="*/ 1189 h 320722"/>
                    <a:gd name="connsiteX197" fmla="*/ 122286 w 179763"/>
                    <a:gd name="connsiteY197" fmla="*/ 11297 h 320722"/>
                    <a:gd name="connsiteX198" fmla="*/ 122286 w 179763"/>
                    <a:gd name="connsiteY198" fmla="*/ 11297 h 320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179763" h="320722">
                      <a:moveTo>
                        <a:pt x="36171" y="301051"/>
                      </a:moveTo>
                      <a:cubicBezTo>
                        <a:pt x="38513" y="302187"/>
                        <a:pt x="41793" y="305373"/>
                        <a:pt x="42577" y="305806"/>
                      </a:cubicBezTo>
                      <a:cubicBezTo>
                        <a:pt x="43175" y="318291"/>
                        <a:pt x="19131" y="321312"/>
                        <a:pt x="9434" y="320340"/>
                      </a:cubicBezTo>
                      <a:cubicBezTo>
                        <a:pt x="8216" y="320211"/>
                        <a:pt x="3215" y="322401"/>
                        <a:pt x="2020" y="317541"/>
                      </a:cubicBezTo>
                      <a:cubicBezTo>
                        <a:pt x="1154" y="314004"/>
                        <a:pt x="5183" y="310022"/>
                        <a:pt x="7689" y="308148"/>
                      </a:cubicBezTo>
                      <a:cubicBezTo>
                        <a:pt x="14177" y="303323"/>
                        <a:pt x="27739" y="300185"/>
                        <a:pt x="36171" y="301051"/>
                      </a:cubicBezTo>
                      <a:lnTo>
                        <a:pt x="36171" y="301051"/>
                      </a:lnTo>
                      <a:close/>
                      <a:moveTo>
                        <a:pt x="122286" y="11297"/>
                      </a:moveTo>
                      <a:cubicBezTo>
                        <a:pt x="135216" y="34661"/>
                        <a:pt x="151249" y="54430"/>
                        <a:pt x="163991" y="76448"/>
                      </a:cubicBezTo>
                      <a:cubicBezTo>
                        <a:pt x="169729" y="86367"/>
                        <a:pt x="174414" y="99578"/>
                        <a:pt x="174320" y="111618"/>
                      </a:cubicBezTo>
                      <a:cubicBezTo>
                        <a:pt x="174250" y="122041"/>
                        <a:pt x="169683" y="132475"/>
                        <a:pt x="169718" y="142735"/>
                      </a:cubicBezTo>
                      <a:cubicBezTo>
                        <a:pt x="169741" y="148778"/>
                        <a:pt x="171392" y="165256"/>
                        <a:pt x="178642" y="152186"/>
                      </a:cubicBezTo>
                      <a:cubicBezTo>
                        <a:pt x="182273" y="156426"/>
                        <a:pt x="176019" y="168617"/>
                        <a:pt x="174976" y="174016"/>
                      </a:cubicBezTo>
                      <a:cubicBezTo>
                        <a:pt x="174215" y="177951"/>
                        <a:pt x="174742" y="185705"/>
                        <a:pt x="171252" y="188468"/>
                      </a:cubicBezTo>
                      <a:cubicBezTo>
                        <a:pt x="170643" y="187122"/>
                        <a:pt x="169671" y="185810"/>
                        <a:pt x="169191" y="184861"/>
                      </a:cubicBezTo>
                      <a:cubicBezTo>
                        <a:pt x="169039" y="185248"/>
                        <a:pt x="168910" y="185634"/>
                        <a:pt x="168757" y="186021"/>
                      </a:cubicBezTo>
                      <a:cubicBezTo>
                        <a:pt x="171392" y="191455"/>
                        <a:pt x="157936" y="212852"/>
                        <a:pt x="153041" y="209256"/>
                      </a:cubicBezTo>
                      <a:cubicBezTo>
                        <a:pt x="151940" y="210451"/>
                        <a:pt x="150850" y="211704"/>
                        <a:pt x="150417" y="213133"/>
                      </a:cubicBezTo>
                      <a:cubicBezTo>
                        <a:pt x="150288" y="212629"/>
                        <a:pt x="150007" y="212220"/>
                        <a:pt x="149562" y="211926"/>
                      </a:cubicBezTo>
                      <a:cubicBezTo>
                        <a:pt x="149363" y="212360"/>
                        <a:pt x="149808" y="213215"/>
                        <a:pt x="149738" y="213683"/>
                      </a:cubicBezTo>
                      <a:cubicBezTo>
                        <a:pt x="147079" y="213543"/>
                        <a:pt x="146623" y="211435"/>
                        <a:pt x="147524" y="208308"/>
                      </a:cubicBezTo>
                      <a:cubicBezTo>
                        <a:pt x="146740" y="209373"/>
                        <a:pt x="145264" y="210896"/>
                        <a:pt x="144749" y="211611"/>
                      </a:cubicBezTo>
                      <a:cubicBezTo>
                        <a:pt x="144948" y="210685"/>
                        <a:pt x="144550" y="209690"/>
                        <a:pt x="144397" y="209233"/>
                      </a:cubicBezTo>
                      <a:cubicBezTo>
                        <a:pt x="143121" y="212524"/>
                        <a:pt x="140240" y="212313"/>
                        <a:pt x="138296" y="209842"/>
                      </a:cubicBezTo>
                      <a:cubicBezTo>
                        <a:pt x="136340" y="212020"/>
                        <a:pt x="136750" y="210673"/>
                        <a:pt x="134103" y="210732"/>
                      </a:cubicBezTo>
                      <a:cubicBezTo>
                        <a:pt x="134138" y="209748"/>
                        <a:pt x="133974" y="208764"/>
                        <a:pt x="133869" y="207933"/>
                      </a:cubicBezTo>
                      <a:cubicBezTo>
                        <a:pt x="132897" y="208636"/>
                        <a:pt x="133470" y="208366"/>
                        <a:pt x="133025" y="209561"/>
                      </a:cubicBezTo>
                      <a:cubicBezTo>
                        <a:pt x="131210" y="208718"/>
                        <a:pt x="131761" y="207699"/>
                        <a:pt x="129793" y="207945"/>
                      </a:cubicBezTo>
                      <a:cubicBezTo>
                        <a:pt x="129629" y="206621"/>
                        <a:pt x="129114" y="204958"/>
                        <a:pt x="128985" y="203764"/>
                      </a:cubicBezTo>
                      <a:cubicBezTo>
                        <a:pt x="126889" y="206727"/>
                        <a:pt x="129500" y="211130"/>
                        <a:pt x="131585" y="212793"/>
                      </a:cubicBezTo>
                      <a:cubicBezTo>
                        <a:pt x="124136" y="212957"/>
                        <a:pt x="122684" y="208448"/>
                        <a:pt x="116946" y="216014"/>
                      </a:cubicBezTo>
                      <a:cubicBezTo>
                        <a:pt x="123001" y="210697"/>
                        <a:pt x="126010" y="217021"/>
                        <a:pt x="119487" y="217443"/>
                      </a:cubicBezTo>
                      <a:cubicBezTo>
                        <a:pt x="119990" y="219317"/>
                        <a:pt x="120377" y="221190"/>
                        <a:pt x="120635" y="223298"/>
                      </a:cubicBezTo>
                      <a:cubicBezTo>
                        <a:pt x="121607" y="223275"/>
                        <a:pt x="121103" y="222397"/>
                        <a:pt x="121630" y="222104"/>
                      </a:cubicBezTo>
                      <a:cubicBezTo>
                        <a:pt x="121501" y="224880"/>
                        <a:pt x="120728" y="225430"/>
                        <a:pt x="117555" y="225899"/>
                      </a:cubicBezTo>
                      <a:cubicBezTo>
                        <a:pt x="117402" y="225980"/>
                        <a:pt x="119065" y="224833"/>
                        <a:pt x="119265" y="224516"/>
                      </a:cubicBezTo>
                      <a:cubicBezTo>
                        <a:pt x="115868" y="224364"/>
                        <a:pt x="113620" y="223884"/>
                        <a:pt x="116243" y="221729"/>
                      </a:cubicBezTo>
                      <a:cubicBezTo>
                        <a:pt x="115845" y="220991"/>
                        <a:pt x="115458" y="220254"/>
                        <a:pt x="115048" y="219516"/>
                      </a:cubicBezTo>
                      <a:cubicBezTo>
                        <a:pt x="111898" y="223627"/>
                        <a:pt x="109263" y="217525"/>
                        <a:pt x="108373" y="222865"/>
                      </a:cubicBezTo>
                      <a:cubicBezTo>
                        <a:pt x="101486" y="221881"/>
                        <a:pt x="98758" y="219691"/>
                        <a:pt x="101205" y="211540"/>
                      </a:cubicBezTo>
                      <a:cubicBezTo>
                        <a:pt x="100128" y="212442"/>
                        <a:pt x="98394" y="213683"/>
                        <a:pt x="97622" y="214398"/>
                      </a:cubicBezTo>
                      <a:cubicBezTo>
                        <a:pt x="97938" y="215101"/>
                        <a:pt x="98266" y="215791"/>
                        <a:pt x="98582" y="216494"/>
                      </a:cubicBezTo>
                      <a:cubicBezTo>
                        <a:pt x="97352" y="216635"/>
                        <a:pt x="96345" y="217255"/>
                        <a:pt x="95162" y="217665"/>
                      </a:cubicBezTo>
                      <a:cubicBezTo>
                        <a:pt x="94811" y="216588"/>
                        <a:pt x="94459" y="216026"/>
                        <a:pt x="93710" y="215241"/>
                      </a:cubicBezTo>
                      <a:cubicBezTo>
                        <a:pt x="93698" y="221706"/>
                        <a:pt x="85758" y="219879"/>
                        <a:pt x="82935" y="216998"/>
                      </a:cubicBezTo>
                      <a:cubicBezTo>
                        <a:pt x="82806" y="221249"/>
                        <a:pt x="78836" y="223942"/>
                        <a:pt x="76271" y="219574"/>
                      </a:cubicBezTo>
                      <a:cubicBezTo>
                        <a:pt x="72488" y="227632"/>
                        <a:pt x="81881" y="226133"/>
                        <a:pt x="85875" y="225313"/>
                      </a:cubicBezTo>
                      <a:cubicBezTo>
                        <a:pt x="85278" y="234893"/>
                        <a:pt x="75803" y="230396"/>
                        <a:pt x="78825" y="238945"/>
                      </a:cubicBezTo>
                      <a:cubicBezTo>
                        <a:pt x="74749" y="237915"/>
                        <a:pt x="72711" y="226870"/>
                        <a:pt x="72348" y="222842"/>
                      </a:cubicBezTo>
                      <a:cubicBezTo>
                        <a:pt x="71189" y="226250"/>
                        <a:pt x="68062" y="227409"/>
                        <a:pt x="64466" y="226800"/>
                      </a:cubicBezTo>
                      <a:cubicBezTo>
                        <a:pt x="65462" y="227105"/>
                        <a:pt x="66961" y="228252"/>
                        <a:pt x="67617" y="228533"/>
                      </a:cubicBezTo>
                      <a:cubicBezTo>
                        <a:pt x="65930" y="228979"/>
                        <a:pt x="65052" y="230161"/>
                        <a:pt x="64080" y="230583"/>
                      </a:cubicBezTo>
                      <a:cubicBezTo>
                        <a:pt x="66879" y="231298"/>
                        <a:pt x="67160" y="235233"/>
                        <a:pt x="70837" y="237832"/>
                      </a:cubicBezTo>
                      <a:cubicBezTo>
                        <a:pt x="70486" y="237587"/>
                        <a:pt x="69373" y="237692"/>
                        <a:pt x="68999" y="237832"/>
                      </a:cubicBezTo>
                      <a:cubicBezTo>
                        <a:pt x="76541" y="242986"/>
                        <a:pt x="66106" y="239355"/>
                        <a:pt x="65520" y="239941"/>
                      </a:cubicBezTo>
                      <a:cubicBezTo>
                        <a:pt x="62733" y="242669"/>
                        <a:pt x="64443" y="243290"/>
                        <a:pt x="68308" y="243501"/>
                      </a:cubicBezTo>
                      <a:cubicBezTo>
                        <a:pt x="65497" y="245785"/>
                        <a:pt x="62686" y="246370"/>
                        <a:pt x="63318" y="249123"/>
                      </a:cubicBezTo>
                      <a:cubicBezTo>
                        <a:pt x="60215" y="247576"/>
                        <a:pt x="57135" y="240819"/>
                        <a:pt x="54746" y="245105"/>
                      </a:cubicBezTo>
                      <a:cubicBezTo>
                        <a:pt x="50131" y="243430"/>
                        <a:pt x="53410" y="240046"/>
                        <a:pt x="56537" y="237832"/>
                      </a:cubicBezTo>
                      <a:cubicBezTo>
                        <a:pt x="56151" y="238992"/>
                        <a:pt x="55870" y="240280"/>
                        <a:pt x="55460" y="241487"/>
                      </a:cubicBezTo>
                      <a:cubicBezTo>
                        <a:pt x="60414" y="240959"/>
                        <a:pt x="57919" y="236813"/>
                        <a:pt x="60004" y="233933"/>
                      </a:cubicBezTo>
                      <a:cubicBezTo>
                        <a:pt x="58751" y="235666"/>
                        <a:pt x="66200" y="238383"/>
                        <a:pt x="62698" y="231672"/>
                      </a:cubicBezTo>
                      <a:cubicBezTo>
                        <a:pt x="59255" y="231754"/>
                        <a:pt x="61620" y="232808"/>
                        <a:pt x="58341" y="230173"/>
                      </a:cubicBezTo>
                      <a:cubicBezTo>
                        <a:pt x="57146" y="235666"/>
                        <a:pt x="50740" y="235303"/>
                        <a:pt x="46957" y="238910"/>
                      </a:cubicBezTo>
                      <a:cubicBezTo>
                        <a:pt x="44006" y="241732"/>
                        <a:pt x="41020" y="248420"/>
                        <a:pt x="40059" y="250727"/>
                      </a:cubicBezTo>
                      <a:cubicBezTo>
                        <a:pt x="33571" y="249732"/>
                        <a:pt x="34813" y="234963"/>
                        <a:pt x="31580" y="245012"/>
                      </a:cubicBezTo>
                      <a:cubicBezTo>
                        <a:pt x="31826" y="246031"/>
                        <a:pt x="32470" y="246230"/>
                        <a:pt x="32951" y="247108"/>
                      </a:cubicBezTo>
                      <a:cubicBezTo>
                        <a:pt x="32236" y="247846"/>
                        <a:pt x="30960" y="248080"/>
                        <a:pt x="30186" y="248829"/>
                      </a:cubicBezTo>
                      <a:cubicBezTo>
                        <a:pt x="30667" y="249533"/>
                        <a:pt x="31358" y="248783"/>
                        <a:pt x="31147" y="249825"/>
                      </a:cubicBezTo>
                      <a:cubicBezTo>
                        <a:pt x="27938" y="249848"/>
                        <a:pt x="24448" y="253245"/>
                        <a:pt x="24694" y="257625"/>
                      </a:cubicBezTo>
                      <a:cubicBezTo>
                        <a:pt x="23874" y="257871"/>
                        <a:pt x="21309" y="258105"/>
                        <a:pt x="20419" y="257988"/>
                      </a:cubicBezTo>
                      <a:cubicBezTo>
                        <a:pt x="19073" y="254802"/>
                        <a:pt x="20583" y="256887"/>
                        <a:pt x="18241" y="254779"/>
                      </a:cubicBezTo>
                      <a:cubicBezTo>
                        <a:pt x="20642" y="251699"/>
                        <a:pt x="19002" y="248935"/>
                        <a:pt x="17515" y="247506"/>
                      </a:cubicBezTo>
                      <a:cubicBezTo>
                        <a:pt x="19154" y="246195"/>
                        <a:pt x="18417" y="245176"/>
                        <a:pt x="21473" y="245094"/>
                      </a:cubicBezTo>
                      <a:cubicBezTo>
                        <a:pt x="21544" y="244496"/>
                        <a:pt x="20021" y="243911"/>
                        <a:pt x="20021" y="243887"/>
                      </a:cubicBezTo>
                      <a:cubicBezTo>
                        <a:pt x="20419" y="243079"/>
                        <a:pt x="21520" y="243337"/>
                        <a:pt x="21368" y="242166"/>
                      </a:cubicBezTo>
                      <a:cubicBezTo>
                        <a:pt x="17854" y="242927"/>
                        <a:pt x="13837" y="245152"/>
                        <a:pt x="11272" y="240889"/>
                      </a:cubicBezTo>
                      <a:cubicBezTo>
                        <a:pt x="9071" y="241100"/>
                        <a:pt x="7829" y="240983"/>
                        <a:pt x="10054" y="239460"/>
                      </a:cubicBezTo>
                      <a:cubicBezTo>
                        <a:pt x="7490" y="238172"/>
                        <a:pt x="6096" y="231110"/>
                        <a:pt x="9375" y="231028"/>
                      </a:cubicBezTo>
                      <a:cubicBezTo>
                        <a:pt x="12174" y="230958"/>
                        <a:pt x="10862" y="240749"/>
                        <a:pt x="17433" y="240889"/>
                      </a:cubicBezTo>
                      <a:cubicBezTo>
                        <a:pt x="17585" y="240549"/>
                        <a:pt x="17714" y="240198"/>
                        <a:pt x="17866" y="239859"/>
                      </a:cubicBezTo>
                      <a:cubicBezTo>
                        <a:pt x="16027" y="238687"/>
                        <a:pt x="16133" y="238406"/>
                        <a:pt x="14915" y="236872"/>
                      </a:cubicBezTo>
                      <a:cubicBezTo>
                        <a:pt x="13779" y="237024"/>
                        <a:pt x="14353" y="237669"/>
                        <a:pt x="13345" y="237868"/>
                      </a:cubicBezTo>
                      <a:cubicBezTo>
                        <a:pt x="12807" y="236345"/>
                        <a:pt x="12947" y="234881"/>
                        <a:pt x="12947" y="233429"/>
                      </a:cubicBezTo>
                      <a:cubicBezTo>
                        <a:pt x="17105" y="234050"/>
                        <a:pt x="17058" y="236275"/>
                        <a:pt x="21134" y="238617"/>
                      </a:cubicBezTo>
                      <a:cubicBezTo>
                        <a:pt x="21063" y="238418"/>
                        <a:pt x="20407" y="237411"/>
                        <a:pt x="20279" y="237013"/>
                      </a:cubicBezTo>
                      <a:cubicBezTo>
                        <a:pt x="21871" y="237551"/>
                        <a:pt x="24202" y="237739"/>
                        <a:pt x="25725" y="238219"/>
                      </a:cubicBezTo>
                      <a:cubicBezTo>
                        <a:pt x="21110" y="236404"/>
                        <a:pt x="17116" y="232961"/>
                        <a:pt x="12186" y="231192"/>
                      </a:cubicBezTo>
                      <a:cubicBezTo>
                        <a:pt x="14962" y="229142"/>
                        <a:pt x="18264" y="229845"/>
                        <a:pt x="21122" y="231379"/>
                      </a:cubicBezTo>
                      <a:cubicBezTo>
                        <a:pt x="20993" y="227198"/>
                        <a:pt x="25689" y="228440"/>
                        <a:pt x="27903" y="227714"/>
                      </a:cubicBezTo>
                      <a:cubicBezTo>
                        <a:pt x="26462" y="227608"/>
                        <a:pt x="25396" y="226730"/>
                        <a:pt x="23242" y="226906"/>
                      </a:cubicBezTo>
                      <a:cubicBezTo>
                        <a:pt x="25584" y="217583"/>
                        <a:pt x="21028" y="227925"/>
                        <a:pt x="18955" y="229330"/>
                      </a:cubicBezTo>
                      <a:cubicBezTo>
                        <a:pt x="18990" y="229131"/>
                        <a:pt x="18885" y="229014"/>
                        <a:pt x="18639" y="228967"/>
                      </a:cubicBezTo>
                      <a:cubicBezTo>
                        <a:pt x="18580" y="228662"/>
                        <a:pt x="19377" y="228007"/>
                        <a:pt x="19342" y="227725"/>
                      </a:cubicBezTo>
                      <a:cubicBezTo>
                        <a:pt x="19037" y="227784"/>
                        <a:pt x="14505" y="228088"/>
                        <a:pt x="15102" y="228674"/>
                      </a:cubicBezTo>
                      <a:cubicBezTo>
                        <a:pt x="12420" y="226051"/>
                        <a:pt x="15278" y="229576"/>
                        <a:pt x="14177" y="226273"/>
                      </a:cubicBezTo>
                      <a:cubicBezTo>
                        <a:pt x="13416" y="223990"/>
                        <a:pt x="14271" y="219328"/>
                        <a:pt x="15992" y="217490"/>
                      </a:cubicBezTo>
                      <a:cubicBezTo>
                        <a:pt x="12233" y="218555"/>
                        <a:pt x="11073" y="222666"/>
                        <a:pt x="8942" y="218005"/>
                      </a:cubicBezTo>
                      <a:cubicBezTo>
                        <a:pt x="9481" y="217970"/>
                        <a:pt x="10956" y="218134"/>
                        <a:pt x="11436" y="218005"/>
                      </a:cubicBezTo>
                      <a:cubicBezTo>
                        <a:pt x="13146" y="215382"/>
                        <a:pt x="12350" y="212582"/>
                        <a:pt x="8942" y="211154"/>
                      </a:cubicBezTo>
                      <a:cubicBezTo>
                        <a:pt x="8790" y="212301"/>
                        <a:pt x="9410" y="211974"/>
                        <a:pt x="8989" y="213250"/>
                      </a:cubicBezTo>
                      <a:cubicBezTo>
                        <a:pt x="7068" y="211938"/>
                        <a:pt x="5019" y="206680"/>
                        <a:pt x="9668" y="209549"/>
                      </a:cubicBezTo>
                      <a:cubicBezTo>
                        <a:pt x="9703" y="209491"/>
                        <a:pt x="11179" y="207090"/>
                        <a:pt x="11120" y="207113"/>
                      </a:cubicBezTo>
                      <a:cubicBezTo>
                        <a:pt x="10453" y="211118"/>
                        <a:pt x="13509" y="212629"/>
                        <a:pt x="15395" y="215229"/>
                      </a:cubicBezTo>
                      <a:cubicBezTo>
                        <a:pt x="18967" y="210263"/>
                        <a:pt x="12092" y="207008"/>
                        <a:pt x="12198" y="202241"/>
                      </a:cubicBezTo>
                      <a:cubicBezTo>
                        <a:pt x="11237" y="202393"/>
                        <a:pt x="10324" y="202499"/>
                        <a:pt x="9340" y="202604"/>
                      </a:cubicBezTo>
                      <a:cubicBezTo>
                        <a:pt x="10218" y="202487"/>
                        <a:pt x="11671" y="201574"/>
                        <a:pt x="12924" y="201468"/>
                      </a:cubicBezTo>
                      <a:cubicBezTo>
                        <a:pt x="12889" y="201363"/>
                        <a:pt x="11940" y="200965"/>
                        <a:pt x="11835" y="201023"/>
                      </a:cubicBezTo>
                      <a:cubicBezTo>
                        <a:pt x="12760" y="198775"/>
                        <a:pt x="13521" y="196936"/>
                        <a:pt x="14681" y="194511"/>
                      </a:cubicBezTo>
                      <a:cubicBezTo>
                        <a:pt x="15652" y="195484"/>
                        <a:pt x="16121" y="195378"/>
                        <a:pt x="17152" y="195964"/>
                      </a:cubicBezTo>
                      <a:cubicBezTo>
                        <a:pt x="10312" y="190143"/>
                        <a:pt x="24425" y="179404"/>
                        <a:pt x="29343" y="184767"/>
                      </a:cubicBezTo>
                      <a:cubicBezTo>
                        <a:pt x="28196" y="175246"/>
                        <a:pt x="14341" y="187754"/>
                        <a:pt x="20653" y="176206"/>
                      </a:cubicBezTo>
                      <a:cubicBezTo>
                        <a:pt x="22902" y="172084"/>
                        <a:pt x="29847" y="166697"/>
                        <a:pt x="34028" y="171370"/>
                      </a:cubicBezTo>
                      <a:cubicBezTo>
                        <a:pt x="33665" y="168664"/>
                        <a:pt x="32705" y="168160"/>
                        <a:pt x="29788" y="166638"/>
                      </a:cubicBezTo>
                      <a:cubicBezTo>
                        <a:pt x="32025" y="165725"/>
                        <a:pt x="34754" y="164999"/>
                        <a:pt x="36921" y="163464"/>
                      </a:cubicBezTo>
                      <a:cubicBezTo>
                        <a:pt x="34063" y="162223"/>
                        <a:pt x="31288" y="164296"/>
                        <a:pt x="27680" y="163827"/>
                      </a:cubicBezTo>
                      <a:cubicBezTo>
                        <a:pt x="23780" y="163324"/>
                        <a:pt x="25889" y="160115"/>
                        <a:pt x="20665" y="160654"/>
                      </a:cubicBezTo>
                      <a:cubicBezTo>
                        <a:pt x="20583" y="160056"/>
                        <a:pt x="20501" y="159459"/>
                        <a:pt x="20419" y="158862"/>
                      </a:cubicBezTo>
                      <a:cubicBezTo>
                        <a:pt x="27130" y="158182"/>
                        <a:pt x="34157" y="158393"/>
                        <a:pt x="38642" y="153416"/>
                      </a:cubicBezTo>
                      <a:cubicBezTo>
                        <a:pt x="31861" y="155102"/>
                        <a:pt x="32224" y="157351"/>
                        <a:pt x="27270" y="154130"/>
                      </a:cubicBezTo>
                      <a:cubicBezTo>
                        <a:pt x="25033" y="152666"/>
                        <a:pt x="22902" y="145604"/>
                        <a:pt x="19307" y="149610"/>
                      </a:cubicBezTo>
                      <a:cubicBezTo>
                        <a:pt x="19424" y="146717"/>
                        <a:pt x="21532" y="145909"/>
                        <a:pt x="24694" y="146869"/>
                      </a:cubicBezTo>
                      <a:cubicBezTo>
                        <a:pt x="21251" y="145171"/>
                        <a:pt x="20466" y="142571"/>
                        <a:pt x="23605" y="139549"/>
                      </a:cubicBezTo>
                      <a:cubicBezTo>
                        <a:pt x="22551" y="139210"/>
                        <a:pt x="21309" y="138132"/>
                        <a:pt x="20021" y="137874"/>
                      </a:cubicBezTo>
                      <a:cubicBezTo>
                        <a:pt x="21110" y="137453"/>
                        <a:pt x="22598" y="136364"/>
                        <a:pt x="23605" y="136071"/>
                      </a:cubicBezTo>
                      <a:cubicBezTo>
                        <a:pt x="17152" y="134349"/>
                        <a:pt x="19564" y="130684"/>
                        <a:pt x="25420" y="128869"/>
                      </a:cubicBezTo>
                      <a:cubicBezTo>
                        <a:pt x="21321" y="130215"/>
                        <a:pt x="16145" y="131527"/>
                        <a:pt x="20021" y="125566"/>
                      </a:cubicBezTo>
                      <a:cubicBezTo>
                        <a:pt x="17210" y="124699"/>
                        <a:pt x="18288" y="124477"/>
                        <a:pt x="17081" y="121572"/>
                      </a:cubicBezTo>
                      <a:cubicBezTo>
                        <a:pt x="22761" y="120366"/>
                        <a:pt x="16894" y="116841"/>
                        <a:pt x="19330" y="114135"/>
                      </a:cubicBezTo>
                      <a:cubicBezTo>
                        <a:pt x="18967" y="113866"/>
                        <a:pt x="18241" y="113081"/>
                        <a:pt x="18229" y="112507"/>
                      </a:cubicBezTo>
                      <a:cubicBezTo>
                        <a:pt x="16297" y="114100"/>
                        <a:pt x="16976" y="120097"/>
                        <a:pt x="15571" y="120647"/>
                      </a:cubicBezTo>
                      <a:cubicBezTo>
                        <a:pt x="11729" y="122158"/>
                        <a:pt x="12572" y="114651"/>
                        <a:pt x="11928" y="112788"/>
                      </a:cubicBezTo>
                      <a:cubicBezTo>
                        <a:pt x="11144" y="113257"/>
                        <a:pt x="9329" y="114873"/>
                        <a:pt x="8919" y="115377"/>
                      </a:cubicBezTo>
                      <a:cubicBezTo>
                        <a:pt x="10523" y="117578"/>
                        <a:pt x="9961" y="118808"/>
                        <a:pt x="11097" y="120729"/>
                      </a:cubicBezTo>
                      <a:cubicBezTo>
                        <a:pt x="10523" y="121151"/>
                        <a:pt x="9235" y="121982"/>
                        <a:pt x="8602" y="122357"/>
                      </a:cubicBezTo>
                      <a:cubicBezTo>
                        <a:pt x="8485" y="119312"/>
                        <a:pt x="8169" y="117204"/>
                        <a:pt x="7501" y="114147"/>
                      </a:cubicBezTo>
                      <a:cubicBezTo>
                        <a:pt x="4819" y="117426"/>
                        <a:pt x="3648" y="116349"/>
                        <a:pt x="1411" y="115494"/>
                      </a:cubicBezTo>
                      <a:cubicBezTo>
                        <a:pt x="4339" y="116630"/>
                        <a:pt x="4644" y="113257"/>
                        <a:pt x="1447" y="111699"/>
                      </a:cubicBezTo>
                      <a:cubicBezTo>
                        <a:pt x="1060" y="112800"/>
                        <a:pt x="416" y="114159"/>
                        <a:pt x="123" y="115107"/>
                      </a:cubicBezTo>
                      <a:cubicBezTo>
                        <a:pt x="-252" y="112355"/>
                        <a:pt x="205" y="110669"/>
                        <a:pt x="1833" y="108385"/>
                      </a:cubicBezTo>
                      <a:cubicBezTo>
                        <a:pt x="2911" y="110388"/>
                        <a:pt x="3133" y="109369"/>
                        <a:pt x="4328" y="110470"/>
                      </a:cubicBezTo>
                      <a:cubicBezTo>
                        <a:pt x="3906" y="109966"/>
                        <a:pt x="3543" y="109416"/>
                        <a:pt x="3226" y="108830"/>
                      </a:cubicBezTo>
                      <a:cubicBezTo>
                        <a:pt x="4456" y="109135"/>
                        <a:pt x="4984" y="109591"/>
                        <a:pt x="5721" y="108385"/>
                      </a:cubicBezTo>
                      <a:cubicBezTo>
                        <a:pt x="2934" y="107354"/>
                        <a:pt x="2547" y="104696"/>
                        <a:pt x="5405" y="103103"/>
                      </a:cubicBezTo>
                      <a:cubicBezTo>
                        <a:pt x="7349" y="107553"/>
                        <a:pt x="8673" y="101838"/>
                        <a:pt x="9317" y="99344"/>
                      </a:cubicBezTo>
                      <a:cubicBezTo>
                        <a:pt x="9855" y="103607"/>
                        <a:pt x="9059" y="106874"/>
                        <a:pt x="8403" y="109990"/>
                      </a:cubicBezTo>
                      <a:cubicBezTo>
                        <a:pt x="9258" y="110001"/>
                        <a:pt x="10968" y="110048"/>
                        <a:pt x="11811" y="110013"/>
                      </a:cubicBezTo>
                      <a:cubicBezTo>
                        <a:pt x="10710" y="108338"/>
                        <a:pt x="11226" y="106933"/>
                        <a:pt x="10909" y="105925"/>
                      </a:cubicBezTo>
                      <a:cubicBezTo>
                        <a:pt x="13662" y="107097"/>
                        <a:pt x="11214" y="105855"/>
                        <a:pt x="14318" y="105925"/>
                      </a:cubicBezTo>
                      <a:cubicBezTo>
                        <a:pt x="14434" y="105340"/>
                        <a:pt x="13170" y="105258"/>
                        <a:pt x="12900" y="104731"/>
                      </a:cubicBezTo>
                      <a:cubicBezTo>
                        <a:pt x="16097" y="102564"/>
                        <a:pt x="14610" y="100620"/>
                        <a:pt x="11507" y="99484"/>
                      </a:cubicBezTo>
                      <a:cubicBezTo>
                        <a:pt x="11858" y="100246"/>
                        <a:pt x="12748" y="98934"/>
                        <a:pt x="12842" y="98852"/>
                      </a:cubicBezTo>
                      <a:cubicBezTo>
                        <a:pt x="13158" y="99028"/>
                        <a:pt x="10195" y="97446"/>
                        <a:pt x="10722" y="98149"/>
                      </a:cubicBezTo>
                      <a:cubicBezTo>
                        <a:pt x="13814" y="96662"/>
                        <a:pt x="16847" y="95947"/>
                        <a:pt x="16086" y="100597"/>
                      </a:cubicBezTo>
                      <a:cubicBezTo>
                        <a:pt x="18815" y="100269"/>
                        <a:pt x="18264" y="103747"/>
                        <a:pt x="18440" y="106851"/>
                      </a:cubicBezTo>
                      <a:cubicBezTo>
                        <a:pt x="18580" y="104731"/>
                        <a:pt x="19997" y="102518"/>
                        <a:pt x="20279" y="100480"/>
                      </a:cubicBezTo>
                      <a:cubicBezTo>
                        <a:pt x="21157" y="101405"/>
                        <a:pt x="23031" y="102717"/>
                        <a:pt x="23581" y="103466"/>
                      </a:cubicBezTo>
                      <a:cubicBezTo>
                        <a:pt x="22399" y="101206"/>
                        <a:pt x="20442" y="98594"/>
                        <a:pt x="19108" y="96884"/>
                      </a:cubicBezTo>
                      <a:cubicBezTo>
                        <a:pt x="20489" y="97645"/>
                        <a:pt x="21930" y="98184"/>
                        <a:pt x="23043" y="98699"/>
                      </a:cubicBezTo>
                      <a:cubicBezTo>
                        <a:pt x="21040" y="97552"/>
                        <a:pt x="20689" y="95760"/>
                        <a:pt x="19318" y="94050"/>
                      </a:cubicBezTo>
                      <a:cubicBezTo>
                        <a:pt x="23816" y="95397"/>
                        <a:pt x="27130" y="97962"/>
                        <a:pt x="26123" y="102646"/>
                      </a:cubicBezTo>
                      <a:cubicBezTo>
                        <a:pt x="26896" y="95444"/>
                        <a:pt x="37284" y="97470"/>
                        <a:pt x="33993" y="103864"/>
                      </a:cubicBezTo>
                      <a:cubicBezTo>
                        <a:pt x="34567" y="103466"/>
                        <a:pt x="35785" y="102646"/>
                        <a:pt x="36148" y="102236"/>
                      </a:cubicBezTo>
                      <a:cubicBezTo>
                        <a:pt x="36616" y="105668"/>
                        <a:pt x="36768" y="110212"/>
                        <a:pt x="37577" y="112086"/>
                      </a:cubicBezTo>
                      <a:cubicBezTo>
                        <a:pt x="38186" y="110388"/>
                        <a:pt x="37928" y="109088"/>
                        <a:pt x="38244" y="107577"/>
                      </a:cubicBezTo>
                      <a:cubicBezTo>
                        <a:pt x="38619" y="107425"/>
                        <a:pt x="39930" y="108268"/>
                        <a:pt x="40411" y="107998"/>
                      </a:cubicBezTo>
                      <a:cubicBezTo>
                        <a:pt x="39415" y="107190"/>
                        <a:pt x="38923" y="105996"/>
                        <a:pt x="38080" y="105164"/>
                      </a:cubicBezTo>
                      <a:cubicBezTo>
                        <a:pt x="41734" y="104368"/>
                        <a:pt x="45798" y="102974"/>
                        <a:pt x="45084" y="99332"/>
                      </a:cubicBezTo>
                      <a:cubicBezTo>
                        <a:pt x="46103" y="98641"/>
                        <a:pt x="46782" y="98583"/>
                        <a:pt x="47578" y="97728"/>
                      </a:cubicBezTo>
                      <a:cubicBezTo>
                        <a:pt x="44112" y="100000"/>
                        <a:pt x="39568" y="105001"/>
                        <a:pt x="36218" y="97189"/>
                      </a:cubicBezTo>
                      <a:cubicBezTo>
                        <a:pt x="37260" y="97083"/>
                        <a:pt x="38314" y="96978"/>
                        <a:pt x="39357" y="96873"/>
                      </a:cubicBezTo>
                      <a:cubicBezTo>
                        <a:pt x="39474" y="96861"/>
                        <a:pt x="39041" y="95936"/>
                        <a:pt x="38631" y="96065"/>
                      </a:cubicBezTo>
                      <a:cubicBezTo>
                        <a:pt x="39591" y="96041"/>
                        <a:pt x="39872" y="96240"/>
                        <a:pt x="40739" y="96498"/>
                      </a:cubicBezTo>
                      <a:cubicBezTo>
                        <a:pt x="40387" y="94952"/>
                        <a:pt x="39544" y="92200"/>
                        <a:pt x="39076" y="91345"/>
                      </a:cubicBezTo>
                      <a:cubicBezTo>
                        <a:pt x="38631" y="96170"/>
                        <a:pt x="31955" y="96451"/>
                        <a:pt x="32529" y="91825"/>
                      </a:cubicBezTo>
                      <a:cubicBezTo>
                        <a:pt x="32868" y="89049"/>
                        <a:pt x="37190" y="88136"/>
                        <a:pt x="38631" y="86824"/>
                      </a:cubicBezTo>
                      <a:cubicBezTo>
                        <a:pt x="37553" y="86590"/>
                        <a:pt x="35574" y="86332"/>
                        <a:pt x="35070" y="86227"/>
                      </a:cubicBezTo>
                      <a:cubicBezTo>
                        <a:pt x="33361" y="87878"/>
                        <a:pt x="30444" y="88839"/>
                        <a:pt x="28980" y="89553"/>
                      </a:cubicBezTo>
                      <a:cubicBezTo>
                        <a:pt x="28582" y="88792"/>
                        <a:pt x="29870" y="88054"/>
                        <a:pt x="30081" y="87468"/>
                      </a:cubicBezTo>
                      <a:cubicBezTo>
                        <a:pt x="29882" y="87339"/>
                        <a:pt x="28254" y="88147"/>
                        <a:pt x="28078" y="87656"/>
                      </a:cubicBezTo>
                      <a:cubicBezTo>
                        <a:pt x="28629" y="87187"/>
                        <a:pt x="29531" y="85442"/>
                        <a:pt x="30725" y="84575"/>
                      </a:cubicBezTo>
                      <a:cubicBezTo>
                        <a:pt x="28723" y="83709"/>
                        <a:pt x="29425" y="83393"/>
                        <a:pt x="27552" y="82092"/>
                      </a:cubicBezTo>
                      <a:cubicBezTo>
                        <a:pt x="29074" y="81648"/>
                        <a:pt x="31733" y="81636"/>
                        <a:pt x="33255" y="82092"/>
                      </a:cubicBezTo>
                      <a:cubicBezTo>
                        <a:pt x="33548" y="82819"/>
                        <a:pt x="33653" y="83486"/>
                        <a:pt x="33993" y="84142"/>
                      </a:cubicBezTo>
                      <a:cubicBezTo>
                        <a:pt x="36405" y="81624"/>
                        <a:pt x="35059" y="81917"/>
                        <a:pt x="38619" y="81261"/>
                      </a:cubicBezTo>
                      <a:cubicBezTo>
                        <a:pt x="35960" y="79200"/>
                        <a:pt x="26673" y="79540"/>
                        <a:pt x="30760" y="74691"/>
                      </a:cubicBezTo>
                      <a:cubicBezTo>
                        <a:pt x="29226" y="74914"/>
                        <a:pt x="26533" y="74281"/>
                        <a:pt x="25280" y="74539"/>
                      </a:cubicBezTo>
                      <a:cubicBezTo>
                        <a:pt x="25408" y="71552"/>
                        <a:pt x="22949" y="69140"/>
                        <a:pt x="26802" y="67032"/>
                      </a:cubicBezTo>
                      <a:cubicBezTo>
                        <a:pt x="26135" y="67079"/>
                        <a:pt x="25584" y="67055"/>
                        <a:pt x="24834" y="67488"/>
                      </a:cubicBezTo>
                      <a:cubicBezTo>
                        <a:pt x="24846" y="63623"/>
                        <a:pt x="18299" y="53809"/>
                        <a:pt x="21801" y="51010"/>
                      </a:cubicBezTo>
                      <a:cubicBezTo>
                        <a:pt x="26989" y="46853"/>
                        <a:pt x="28020" y="58892"/>
                        <a:pt x="32599" y="58986"/>
                      </a:cubicBezTo>
                      <a:cubicBezTo>
                        <a:pt x="27903" y="57100"/>
                        <a:pt x="28980" y="51643"/>
                        <a:pt x="29718" y="47415"/>
                      </a:cubicBezTo>
                      <a:cubicBezTo>
                        <a:pt x="28606" y="47169"/>
                        <a:pt x="29261" y="47649"/>
                        <a:pt x="28020" y="47532"/>
                      </a:cubicBezTo>
                      <a:cubicBezTo>
                        <a:pt x="25713" y="41091"/>
                        <a:pt x="37881" y="30539"/>
                        <a:pt x="42601" y="25784"/>
                      </a:cubicBezTo>
                      <a:cubicBezTo>
                        <a:pt x="52169" y="16145"/>
                        <a:pt x="62909" y="18745"/>
                        <a:pt x="75147" y="18194"/>
                      </a:cubicBezTo>
                      <a:cubicBezTo>
                        <a:pt x="85594" y="17714"/>
                        <a:pt x="102447" y="23289"/>
                        <a:pt x="109895" y="12128"/>
                      </a:cubicBezTo>
                      <a:cubicBezTo>
                        <a:pt x="111980" y="8989"/>
                        <a:pt x="110938" y="2970"/>
                        <a:pt x="112893" y="1189"/>
                      </a:cubicBezTo>
                      <a:cubicBezTo>
                        <a:pt x="118105" y="-3530"/>
                        <a:pt x="120904" y="7033"/>
                        <a:pt x="122286" y="11297"/>
                      </a:cubicBezTo>
                      <a:lnTo>
                        <a:pt x="122286" y="11297"/>
                      </a:lnTo>
                      <a:close/>
                    </a:path>
                  </a:pathLst>
                </a:custGeom>
                <a:solidFill>
                  <a:srgbClr val="D6D6D2"/>
                </a:solidFill>
                <a:ln w="8774" cap="rnd">
                  <a:solidFill>
                    <a:srgbClr val="FFFFFF"/>
                  </a:solidFill>
                  <a:prstDash val="solid"/>
                  <a:round/>
                </a:ln>
              </p:spPr>
              <p:txBody>
                <a:bodyPr rtlCol="0" anchor="ctr"/>
                <a:lstStyle/>
                <a:p>
                  <a:endParaRPr lang="en-US"/>
                </a:p>
              </p:txBody>
            </p:sp>
            <p:sp>
              <p:nvSpPr>
                <p:cNvPr id="122" name="Freeform: Shape 121">
                  <a:extLst>
                    <a:ext uri="{FF2B5EF4-FFF2-40B4-BE49-F238E27FC236}">
                      <a16:creationId xmlns:a16="http://schemas.microsoft.com/office/drawing/2014/main" id="{A0CFE3E6-5714-4417-82A3-045314E856F1}"/>
                    </a:ext>
                  </a:extLst>
                </p:cNvPr>
                <p:cNvSpPr/>
                <p:nvPr/>
              </p:nvSpPr>
              <p:spPr>
                <a:xfrm>
                  <a:off x="2456060" y="5308108"/>
                  <a:ext cx="276042" cy="226455"/>
                </a:xfrm>
                <a:custGeom>
                  <a:avLst/>
                  <a:gdLst>
                    <a:gd name="connsiteX0" fmla="*/ 270887 w 276042"/>
                    <a:gd name="connsiteY0" fmla="*/ 7882 h 226455"/>
                    <a:gd name="connsiteX1" fmla="*/ 264258 w 276042"/>
                    <a:gd name="connsiteY1" fmla="*/ 16490 h 226455"/>
                    <a:gd name="connsiteX2" fmla="*/ 262513 w 276042"/>
                    <a:gd name="connsiteY2" fmla="*/ 33694 h 226455"/>
                    <a:gd name="connsiteX3" fmla="*/ 267420 w 276042"/>
                    <a:gd name="connsiteY3" fmla="*/ 43555 h 226455"/>
                    <a:gd name="connsiteX4" fmla="*/ 275173 w 276042"/>
                    <a:gd name="connsiteY4" fmla="*/ 61368 h 226455"/>
                    <a:gd name="connsiteX5" fmla="*/ 268650 w 276042"/>
                    <a:gd name="connsiteY5" fmla="*/ 89125 h 226455"/>
                    <a:gd name="connsiteX6" fmla="*/ 272421 w 276042"/>
                    <a:gd name="connsiteY6" fmla="*/ 101234 h 226455"/>
                    <a:gd name="connsiteX7" fmla="*/ 264199 w 276042"/>
                    <a:gd name="connsiteY7" fmla="*/ 129564 h 226455"/>
                    <a:gd name="connsiteX8" fmla="*/ 260053 w 276042"/>
                    <a:gd name="connsiteY8" fmla="*/ 126250 h 226455"/>
                    <a:gd name="connsiteX9" fmla="*/ 253155 w 276042"/>
                    <a:gd name="connsiteY9" fmla="*/ 128557 h 226455"/>
                    <a:gd name="connsiteX10" fmla="*/ 243704 w 276042"/>
                    <a:gd name="connsiteY10" fmla="*/ 138009 h 226455"/>
                    <a:gd name="connsiteX11" fmla="*/ 232238 w 276042"/>
                    <a:gd name="connsiteY11" fmla="*/ 140292 h 226455"/>
                    <a:gd name="connsiteX12" fmla="*/ 225188 w 276042"/>
                    <a:gd name="connsiteY12" fmla="*/ 144860 h 226455"/>
                    <a:gd name="connsiteX13" fmla="*/ 212844 w 276042"/>
                    <a:gd name="connsiteY13" fmla="*/ 145188 h 226455"/>
                    <a:gd name="connsiteX14" fmla="*/ 213734 w 276042"/>
                    <a:gd name="connsiteY14" fmla="*/ 154732 h 226455"/>
                    <a:gd name="connsiteX15" fmla="*/ 211275 w 276042"/>
                    <a:gd name="connsiteY15" fmla="*/ 160050 h 226455"/>
                    <a:gd name="connsiteX16" fmla="*/ 199270 w 276042"/>
                    <a:gd name="connsiteY16" fmla="*/ 156969 h 226455"/>
                    <a:gd name="connsiteX17" fmla="*/ 189608 w 276042"/>
                    <a:gd name="connsiteY17" fmla="*/ 161420 h 226455"/>
                    <a:gd name="connsiteX18" fmla="*/ 181352 w 276042"/>
                    <a:gd name="connsiteY18" fmla="*/ 165390 h 226455"/>
                    <a:gd name="connsiteX19" fmla="*/ 185568 w 276042"/>
                    <a:gd name="connsiteY19" fmla="*/ 174595 h 226455"/>
                    <a:gd name="connsiteX20" fmla="*/ 187606 w 276042"/>
                    <a:gd name="connsiteY20" fmla="*/ 185288 h 226455"/>
                    <a:gd name="connsiteX21" fmla="*/ 196811 w 276042"/>
                    <a:gd name="connsiteY21" fmla="*/ 193451 h 226455"/>
                    <a:gd name="connsiteX22" fmla="*/ 202081 w 276042"/>
                    <a:gd name="connsiteY22" fmla="*/ 197667 h 226455"/>
                    <a:gd name="connsiteX23" fmla="*/ 201531 w 276042"/>
                    <a:gd name="connsiteY23" fmla="*/ 208723 h 226455"/>
                    <a:gd name="connsiteX24" fmla="*/ 188695 w 276042"/>
                    <a:gd name="connsiteY24" fmla="*/ 201883 h 226455"/>
                    <a:gd name="connsiteX25" fmla="*/ 181188 w 276042"/>
                    <a:gd name="connsiteY25" fmla="*/ 198217 h 226455"/>
                    <a:gd name="connsiteX26" fmla="*/ 172697 w 276042"/>
                    <a:gd name="connsiteY26" fmla="*/ 197878 h 226455"/>
                    <a:gd name="connsiteX27" fmla="*/ 163831 w 276042"/>
                    <a:gd name="connsiteY27" fmla="*/ 199201 h 226455"/>
                    <a:gd name="connsiteX28" fmla="*/ 161524 w 276042"/>
                    <a:gd name="connsiteY28" fmla="*/ 198382 h 226455"/>
                    <a:gd name="connsiteX29" fmla="*/ 157566 w 276042"/>
                    <a:gd name="connsiteY29" fmla="*/ 203640 h 226455"/>
                    <a:gd name="connsiteX30" fmla="*/ 143617 w 276042"/>
                    <a:gd name="connsiteY30" fmla="*/ 199529 h 226455"/>
                    <a:gd name="connsiteX31" fmla="*/ 142317 w 276042"/>
                    <a:gd name="connsiteY31" fmla="*/ 212728 h 226455"/>
                    <a:gd name="connsiteX32" fmla="*/ 133463 w 276042"/>
                    <a:gd name="connsiteY32" fmla="*/ 220177 h 226455"/>
                    <a:gd name="connsiteX33" fmla="*/ 125429 w 276042"/>
                    <a:gd name="connsiteY33" fmla="*/ 221629 h 226455"/>
                    <a:gd name="connsiteX34" fmla="*/ 116868 w 276042"/>
                    <a:gd name="connsiteY34" fmla="*/ 221840 h 226455"/>
                    <a:gd name="connsiteX35" fmla="*/ 111153 w 276042"/>
                    <a:gd name="connsiteY35" fmla="*/ 226454 h 226455"/>
                    <a:gd name="connsiteX36" fmla="*/ 106082 w 276042"/>
                    <a:gd name="connsiteY36" fmla="*/ 223456 h 226455"/>
                    <a:gd name="connsiteX37" fmla="*/ 102276 w 276042"/>
                    <a:gd name="connsiteY37" fmla="*/ 220223 h 226455"/>
                    <a:gd name="connsiteX38" fmla="*/ 80996 w 276042"/>
                    <a:gd name="connsiteY38" fmla="*/ 212295 h 226455"/>
                    <a:gd name="connsiteX39" fmla="*/ 72411 w 276042"/>
                    <a:gd name="connsiteY39" fmla="*/ 219497 h 226455"/>
                    <a:gd name="connsiteX40" fmla="*/ 74765 w 276042"/>
                    <a:gd name="connsiteY40" fmla="*/ 222331 h 226455"/>
                    <a:gd name="connsiteX41" fmla="*/ 62257 w 276042"/>
                    <a:gd name="connsiteY41" fmla="*/ 217296 h 226455"/>
                    <a:gd name="connsiteX42" fmla="*/ 71732 w 276042"/>
                    <a:gd name="connsiteY42" fmla="*/ 210093 h 226455"/>
                    <a:gd name="connsiteX43" fmla="*/ 70959 w 276042"/>
                    <a:gd name="connsiteY43" fmla="*/ 196812 h 226455"/>
                    <a:gd name="connsiteX44" fmla="*/ 62035 w 276042"/>
                    <a:gd name="connsiteY44" fmla="*/ 187654 h 226455"/>
                    <a:gd name="connsiteX45" fmla="*/ 60255 w 276042"/>
                    <a:gd name="connsiteY45" fmla="*/ 188403 h 226455"/>
                    <a:gd name="connsiteX46" fmla="*/ 59177 w 276042"/>
                    <a:gd name="connsiteY46" fmla="*/ 191635 h 226455"/>
                    <a:gd name="connsiteX47" fmla="*/ 60231 w 276042"/>
                    <a:gd name="connsiteY47" fmla="*/ 191167 h 226455"/>
                    <a:gd name="connsiteX48" fmla="*/ 54176 w 276042"/>
                    <a:gd name="connsiteY48" fmla="*/ 203171 h 226455"/>
                    <a:gd name="connsiteX49" fmla="*/ 42418 w 276042"/>
                    <a:gd name="connsiteY49" fmla="*/ 202680 h 226455"/>
                    <a:gd name="connsiteX50" fmla="*/ 38811 w 276042"/>
                    <a:gd name="connsiteY50" fmla="*/ 184749 h 226455"/>
                    <a:gd name="connsiteX51" fmla="*/ 43788 w 276042"/>
                    <a:gd name="connsiteY51" fmla="*/ 180439 h 226455"/>
                    <a:gd name="connsiteX52" fmla="*/ 43121 w 276042"/>
                    <a:gd name="connsiteY52" fmla="*/ 177511 h 226455"/>
                    <a:gd name="connsiteX53" fmla="*/ 39150 w 276042"/>
                    <a:gd name="connsiteY53" fmla="*/ 172803 h 226455"/>
                    <a:gd name="connsiteX54" fmla="*/ 44889 w 276042"/>
                    <a:gd name="connsiteY54" fmla="*/ 173916 h 226455"/>
                    <a:gd name="connsiteX55" fmla="*/ 43121 w 276042"/>
                    <a:gd name="connsiteY55" fmla="*/ 169548 h 226455"/>
                    <a:gd name="connsiteX56" fmla="*/ 38811 w 276042"/>
                    <a:gd name="connsiteY56" fmla="*/ 165191 h 226455"/>
                    <a:gd name="connsiteX57" fmla="*/ 37733 w 276042"/>
                    <a:gd name="connsiteY57" fmla="*/ 164465 h 226455"/>
                    <a:gd name="connsiteX58" fmla="*/ 34501 w 276042"/>
                    <a:gd name="connsiteY58" fmla="*/ 168459 h 226455"/>
                    <a:gd name="connsiteX59" fmla="*/ 33447 w 276042"/>
                    <a:gd name="connsiteY59" fmla="*/ 166995 h 226455"/>
                    <a:gd name="connsiteX60" fmla="*/ 35953 w 276042"/>
                    <a:gd name="connsiteY60" fmla="*/ 167381 h 226455"/>
                    <a:gd name="connsiteX61" fmla="*/ 38061 w 276042"/>
                    <a:gd name="connsiteY61" fmla="*/ 163411 h 226455"/>
                    <a:gd name="connsiteX62" fmla="*/ 36691 w 276042"/>
                    <a:gd name="connsiteY62" fmla="*/ 161584 h 226455"/>
                    <a:gd name="connsiteX63" fmla="*/ 34888 w 276042"/>
                    <a:gd name="connsiteY63" fmla="*/ 160858 h 226455"/>
                    <a:gd name="connsiteX64" fmla="*/ 34185 w 276042"/>
                    <a:gd name="connsiteY64" fmla="*/ 162697 h 226455"/>
                    <a:gd name="connsiteX65" fmla="*/ 40240 w 276042"/>
                    <a:gd name="connsiteY65" fmla="*/ 157977 h 226455"/>
                    <a:gd name="connsiteX66" fmla="*/ 30226 w 276042"/>
                    <a:gd name="connsiteY66" fmla="*/ 152566 h 226455"/>
                    <a:gd name="connsiteX67" fmla="*/ 33459 w 276042"/>
                    <a:gd name="connsiteY67" fmla="*/ 166303 h 226455"/>
                    <a:gd name="connsiteX68" fmla="*/ 31304 w 276042"/>
                    <a:gd name="connsiteY68" fmla="*/ 155962 h 226455"/>
                    <a:gd name="connsiteX69" fmla="*/ 23012 w 276042"/>
                    <a:gd name="connsiteY69" fmla="*/ 140597 h 226455"/>
                    <a:gd name="connsiteX70" fmla="*/ 19299 w 276042"/>
                    <a:gd name="connsiteY70" fmla="*/ 115897 h 226455"/>
                    <a:gd name="connsiteX71" fmla="*/ 8537 w 276042"/>
                    <a:gd name="connsiteY71" fmla="*/ 106879 h 226455"/>
                    <a:gd name="connsiteX72" fmla="*/ 8865 w 276042"/>
                    <a:gd name="connsiteY72" fmla="*/ 98892 h 226455"/>
                    <a:gd name="connsiteX73" fmla="*/ 4098 w 276042"/>
                    <a:gd name="connsiteY73" fmla="*/ 84241 h 226455"/>
                    <a:gd name="connsiteX74" fmla="*/ 830 w 276042"/>
                    <a:gd name="connsiteY74" fmla="*/ 63839 h 226455"/>
                    <a:gd name="connsiteX75" fmla="*/ 14837 w 276042"/>
                    <a:gd name="connsiteY75" fmla="*/ 58475 h 226455"/>
                    <a:gd name="connsiteX76" fmla="*/ 20201 w 276042"/>
                    <a:gd name="connsiteY76" fmla="*/ 49926 h 226455"/>
                    <a:gd name="connsiteX77" fmla="*/ 25975 w 276042"/>
                    <a:gd name="connsiteY77" fmla="*/ 39058 h 226455"/>
                    <a:gd name="connsiteX78" fmla="*/ 41528 w 276042"/>
                    <a:gd name="connsiteY78" fmla="*/ 21081 h 226455"/>
                    <a:gd name="connsiteX79" fmla="*/ 64494 w 276042"/>
                    <a:gd name="connsiteY79" fmla="*/ 15073 h 226455"/>
                    <a:gd name="connsiteX80" fmla="*/ 79180 w 276042"/>
                    <a:gd name="connsiteY80" fmla="*/ 18059 h 226455"/>
                    <a:gd name="connsiteX81" fmla="*/ 97661 w 276042"/>
                    <a:gd name="connsiteY81" fmla="*/ 16010 h 226455"/>
                    <a:gd name="connsiteX82" fmla="*/ 112535 w 276042"/>
                    <a:gd name="connsiteY82" fmla="*/ 18211 h 226455"/>
                    <a:gd name="connsiteX83" fmla="*/ 124539 w 276042"/>
                    <a:gd name="connsiteY83" fmla="*/ 14628 h 226455"/>
                    <a:gd name="connsiteX84" fmla="*/ 137797 w 276042"/>
                    <a:gd name="connsiteY84" fmla="*/ 16958 h 226455"/>
                    <a:gd name="connsiteX85" fmla="*/ 141451 w 276042"/>
                    <a:gd name="connsiteY85" fmla="*/ 25566 h 226455"/>
                    <a:gd name="connsiteX86" fmla="*/ 149742 w 276042"/>
                    <a:gd name="connsiteY86" fmla="*/ 19113 h 226455"/>
                    <a:gd name="connsiteX87" fmla="*/ 164862 w 276042"/>
                    <a:gd name="connsiteY87" fmla="*/ 30438 h 226455"/>
                    <a:gd name="connsiteX88" fmla="*/ 180157 w 276042"/>
                    <a:gd name="connsiteY88" fmla="*/ 35275 h 226455"/>
                    <a:gd name="connsiteX89" fmla="*/ 198427 w 276042"/>
                    <a:gd name="connsiteY89" fmla="*/ 36645 h 226455"/>
                    <a:gd name="connsiteX90" fmla="*/ 190944 w 276042"/>
                    <a:gd name="connsiteY90" fmla="*/ 18047 h 226455"/>
                    <a:gd name="connsiteX91" fmla="*/ 204295 w 276042"/>
                    <a:gd name="connsiteY91" fmla="*/ 11407 h 226455"/>
                    <a:gd name="connsiteX92" fmla="*/ 217587 w 276042"/>
                    <a:gd name="connsiteY92" fmla="*/ 9639 h 226455"/>
                    <a:gd name="connsiteX93" fmla="*/ 219040 w 276042"/>
                    <a:gd name="connsiteY93" fmla="*/ 6090 h 226455"/>
                    <a:gd name="connsiteX94" fmla="*/ 223876 w 276042"/>
                    <a:gd name="connsiteY94" fmla="*/ 12672 h 226455"/>
                    <a:gd name="connsiteX95" fmla="*/ 234382 w 276042"/>
                    <a:gd name="connsiteY95" fmla="*/ 20847 h 226455"/>
                    <a:gd name="connsiteX96" fmla="*/ 246913 w 276042"/>
                    <a:gd name="connsiteY96" fmla="*/ 14745 h 226455"/>
                    <a:gd name="connsiteX97" fmla="*/ 250520 w 276042"/>
                    <a:gd name="connsiteY97" fmla="*/ 15283 h 226455"/>
                    <a:gd name="connsiteX98" fmla="*/ 253893 w 276042"/>
                    <a:gd name="connsiteY98" fmla="*/ 11103 h 226455"/>
                    <a:gd name="connsiteX99" fmla="*/ 258660 w 276042"/>
                    <a:gd name="connsiteY99" fmla="*/ 6348 h 226455"/>
                    <a:gd name="connsiteX100" fmla="*/ 266940 w 276042"/>
                    <a:gd name="connsiteY100" fmla="*/ 7624 h 226455"/>
                    <a:gd name="connsiteX101" fmla="*/ 271601 w 276042"/>
                    <a:gd name="connsiteY101" fmla="*/ 0 h 226455"/>
                    <a:gd name="connsiteX102" fmla="*/ 270887 w 276042"/>
                    <a:gd name="connsiteY102" fmla="*/ 7882 h 226455"/>
                    <a:gd name="connsiteX103" fmla="*/ 270887 w 276042"/>
                    <a:gd name="connsiteY103" fmla="*/ 7882 h 22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276042" h="226455">
                      <a:moveTo>
                        <a:pt x="270887" y="7882"/>
                      </a:moveTo>
                      <a:cubicBezTo>
                        <a:pt x="269411" y="13421"/>
                        <a:pt x="265780" y="13410"/>
                        <a:pt x="264258" y="16490"/>
                      </a:cubicBezTo>
                      <a:cubicBezTo>
                        <a:pt x="262185" y="20647"/>
                        <a:pt x="261119" y="29653"/>
                        <a:pt x="262513" y="33694"/>
                      </a:cubicBezTo>
                      <a:cubicBezTo>
                        <a:pt x="264047" y="38168"/>
                        <a:pt x="265769" y="38402"/>
                        <a:pt x="267420" y="43555"/>
                      </a:cubicBezTo>
                      <a:cubicBezTo>
                        <a:pt x="269305" y="49411"/>
                        <a:pt x="273135" y="54915"/>
                        <a:pt x="275173" y="61368"/>
                      </a:cubicBezTo>
                      <a:cubicBezTo>
                        <a:pt x="278757" y="72670"/>
                        <a:pt x="270207" y="78514"/>
                        <a:pt x="268650" y="89125"/>
                      </a:cubicBezTo>
                      <a:cubicBezTo>
                        <a:pt x="268052" y="93153"/>
                        <a:pt x="271179" y="96983"/>
                        <a:pt x="272421" y="101234"/>
                      </a:cubicBezTo>
                      <a:cubicBezTo>
                        <a:pt x="274857" y="109538"/>
                        <a:pt x="275337" y="129131"/>
                        <a:pt x="264199" y="129564"/>
                      </a:cubicBezTo>
                      <a:cubicBezTo>
                        <a:pt x="263625" y="129588"/>
                        <a:pt x="261822" y="126414"/>
                        <a:pt x="260053" y="126250"/>
                      </a:cubicBezTo>
                      <a:cubicBezTo>
                        <a:pt x="257945" y="126039"/>
                        <a:pt x="254865" y="127550"/>
                        <a:pt x="253155" y="128557"/>
                      </a:cubicBezTo>
                      <a:cubicBezTo>
                        <a:pt x="249431" y="130759"/>
                        <a:pt x="247475" y="135725"/>
                        <a:pt x="243704" y="138009"/>
                      </a:cubicBezTo>
                      <a:cubicBezTo>
                        <a:pt x="239582" y="140503"/>
                        <a:pt x="236455" y="138793"/>
                        <a:pt x="232238" y="140292"/>
                      </a:cubicBezTo>
                      <a:cubicBezTo>
                        <a:pt x="228362" y="141674"/>
                        <a:pt x="231009" y="146874"/>
                        <a:pt x="225188" y="144860"/>
                      </a:cubicBezTo>
                      <a:cubicBezTo>
                        <a:pt x="223478" y="145773"/>
                        <a:pt x="216112" y="145820"/>
                        <a:pt x="212844" y="145188"/>
                      </a:cubicBezTo>
                      <a:cubicBezTo>
                        <a:pt x="216381" y="149427"/>
                        <a:pt x="213641" y="150774"/>
                        <a:pt x="213734" y="154732"/>
                      </a:cubicBezTo>
                      <a:cubicBezTo>
                        <a:pt x="213886" y="161268"/>
                        <a:pt x="216194" y="159605"/>
                        <a:pt x="211275" y="160050"/>
                      </a:cubicBezTo>
                      <a:cubicBezTo>
                        <a:pt x="205958" y="160530"/>
                        <a:pt x="204751" y="158269"/>
                        <a:pt x="199270" y="156969"/>
                      </a:cubicBezTo>
                      <a:cubicBezTo>
                        <a:pt x="190311" y="154850"/>
                        <a:pt x="195078" y="158269"/>
                        <a:pt x="189608" y="161420"/>
                      </a:cubicBezTo>
                      <a:cubicBezTo>
                        <a:pt x="186575" y="163165"/>
                        <a:pt x="182629" y="160050"/>
                        <a:pt x="181352" y="165390"/>
                      </a:cubicBezTo>
                      <a:cubicBezTo>
                        <a:pt x="181598" y="164383"/>
                        <a:pt x="185416" y="173190"/>
                        <a:pt x="185568" y="174595"/>
                      </a:cubicBezTo>
                      <a:cubicBezTo>
                        <a:pt x="186154" y="179737"/>
                        <a:pt x="184139" y="181048"/>
                        <a:pt x="187606" y="185288"/>
                      </a:cubicBezTo>
                      <a:cubicBezTo>
                        <a:pt x="189737" y="187888"/>
                        <a:pt x="194188" y="190324"/>
                        <a:pt x="196811" y="193451"/>
                      </a:cubicBezTo>
                      <a:cubicBezTo>
                        <a:pt x="199704" y="190769"/>
                        <a:pt x="201671" y="193814"/>
                        <a:pt x="202081" y="197667"/>
                      </a:cubicBezTo>
                      <a:cubicBezTo>
                        <a:pt x="195464" y="197737"/>
                        <a:pt x="200852" y="204647"/>
                        <a:pt x="201531" y="208723"/>
                      </a:cubicBezTo>
                      <a:cubicBezTo>
                        <a:pt x="196776" y="206345"/>
                        <a:pt x="192572" y="206275"/>
                        <a:pt x="188695" y="201883"/>
                      </a:cubicBezTo>
                      <a:cubicBezTo>
                        <a:pt x="186727" y="210714"/>
                        <a:pt x="183565" y="199892"/>
                        <a:pt x="181188" y="198217"/>
                      </a:cubicBezTo>
                      <a:cubicBezTo>
                        <a:pt x="176679" y="195032"/>
                        <a:pt x="177909" y="196683"/>
                        <a:pt x="172697" y="197878"/>
                      </a:cubicBezTo>
                      <a:cubicBezTo>
                        <a:pt x="170179" y="198463"/>
                        <a:pt x="165951" y="198440"/>
                        <a:pt x="163831" y="199201"/>
                      </a:cubicBezTo>
                      <a:cubicBezTo>
                        <a:pt x="163386" y="199354"/>
                        <a:pt x="161993" y="198124"/>
                        <a:pt x="161524" y="198382"/>
                      </a:cubicBezTo>
                      <a:cubicBezTo>
                        <a:pt x="160072" y="199131"/>
                        <a:pt x="158491" y="203382"/>
                        <a:pt x="157566" y="203640"/>
                      </a:cubicBezTo>
                      <a:cubicBezTo>
                        <a:pt x="155329" y="204272"/>
                        <a:pt x="145163" y="198815"/>
                        <a:pt x="143617" y="199529"/>
                      </a:cubicBezTo>
                      <a:cubicBezTo>
                        <a:pt x="137492" y="202328"/>
                        <a:pt x="144285" y="208606"/>
                        <a:pt x="142317" y="212728"/>
                      </a:cubicBezTo>
                      <a:cubicBezTo>
                        <a:pt x="142950" y="211428"/>
                        <a:pt x="132890" y="220434"/>
                        <a:pt x="133463" y="220177"/>
                      </a:cubicBezTo>
                      <a:cubicBezTo>
                        <a:pt x="130290" y="221699"/>
                        <a:pt x="129119" y="221441"/>
                        <a:pt x="125429" y="221629"/>
                      </a:cubicBezTo>
                      <a:cubicBezTo>
                        <a:pt x="122279" y="221793"/>
                        <a:pt x="119820" y="220622"/>
                        <a:pt x="116868" y="221840"/>
                      </a:cubicBezTo>
                      <a:cubicBezTo>
                        <a:pt x="113671" y="223139"/>
                        <a:pt x="114421" y="226067"/>
                        <a:pt x="111153" y="226454"/>
                      </a:cubicBezTo>
                      <a:cubicBezTo>
                        <a:pt x="110462" y="226536"/>
                        <a:pt x="106831" y="223983"/>
                        <a:pt x="106082" y="223456"/>
                      </a:cubicBezTo>
                      <a:cubicBezTo>
                        <a:pt x="106351" y="223655"/>
                        <a:pt x="101409" y="219907"/>
                        <a:pt x="102276" y="220223"/>
                      </a:cubicBezTo>
                      <a:cubicBezTo>
                        <a:pt x="96115" y="218045"/>
                        <a:pt x="83935" y="221980"/>
                        <a:pt x="80996" y="212295"/>
                      </a:cubicBezTo>
                      <a:cubicBezTo>
                        <a:pt x="81441" y="217963"/>
                        <a:pt x="78126" y="223362"/>
                        <a:pt x="72411" y="219497"/>
                      </a:cubicBezTo>
                      <a:cubicBezTo>
                        <a:pt x="73219" y="220177"/>
                        <a:pt x="74004" y="221523"/>
                        <a:pt x="74765" y="222331"/>
                      </a:cubicBezTo>
                      <a:cubicBezTo>
                        <a:pt x="69027" y="224615"/>
                        <a:pt x="66263" y="219380"/>
                        <a:pt x="62257" y="217296"/>
                      </a:cubicBezTo>
                      <a:cubicBezTo>
                        <a:pt x="63124" y="212939"/>
                        <a:pt x="66169" y="209015"/>
                        <a:pt x="71732" y="210093"/>
                      </a:cubicBezTo>
                      <a:cubicBezTo>
                        <a:pt x="70046" y="205771"/>
                        <a:pt x="74145" y="203312"/>
                        <a:pt x="70959" y="196812"/>
                      </a:cubicBezTo>
                      <a:cubicBezTo>
                        <a:pt x="69202" y="193217"/>
                        <a:pt x="67984" y="188427"/>
                        <a:pt x="62035" y="187654"/>
                      </a:cubicBezTo>
                      <a:cubicBezTo>
                        <a:pt x="61180" y="188415"/>
                        <a:pt x="61461" y="187876"/>
                        <a:pt x="60255" y="188403"/>
                      </a:cubicBezTo>
                      <a:cubicBezTo>
                        <a:pt x="60419" y="190136"/>
                        <a:pt x="59903" y="190031"/>
                        <a:pt x="59177" y="191635"/>
                      </a:cubicBezTo>
                      <a:cubicBezTo>
                        <a:pt x="59529" y="191472"/>
                        <a:pt x="59880" y="191331"/>
                        <a:pt x="60231" y="191167"/>
                      </a:cubicBezTo>
                      <a:cubicBezTo>
                        <a:pt x="58732" y="195255"/>
                        <a:pt x="58428" y="202574"/>
                        <a:pt x="54176" y="203171"/>
                      </a:cubicBezTo>
                      <a:cubicBezTo>
                        <a:pt x="50815" y="196765"/>
                        <a:pt x="47208" y="204612"/>
                        <a:pt x="42418" y="202680"/>
                      </a:cubicBezTo>
                      <a:cubicBezTo>
                        <a:pt x="40333" y="199295"/>
                        <a:pt x="44350" y="186682"/>
                        <a:pt x="38811" y="184749"/>
                      </a:cubicBezTo>
                      <a:cubicBezTo>
                        <a:pt x="39361" y="182196"/>
                        <a:pt x="41106" y="180311"/>
                        <a:pt x="43788" y="180439"/>
                      </a:cubicBezTo>
                      <a:cubicBezTo>
                        <a:pt x="43378" y="179889"/>
                        <a:pt x="43437" y="178214"/>
                        <a:pt x="43121" y="177511"/>
                      </a:cubicBezTo>
                      <a:cubicBezTo>
                        <a:pt x="40814" y="177371"/>
                        <a:pt x="40123" y="176024"/>
                        <a:pt x="39150" y="172803"/>
                      </a:cubicBezTo>
                      <a:cubicBezTo>
                        <a:pt x="41258" y="172663"/>
                        <a:pt x="42242" y="172358"/>
                        <a:pt x="44889" y="173916"/>
                      </a:cubicBezTo>
                      <a:cubicBezTo>
                        <a:pt x="44514" y="172616"/>
                        <a:pt x="43472" y="170332"/>
                        <a:pt x="43121" y="169548"/>
                      </a:cubicBezTo>
                      <a:cubicBezTo>
                        <a:pt x="40755" y="173858"/>
                        <a:pt x="37839" y="167885"/>
                        <a:pt x="38811" y="165191"/>
                      </a:cubicBezTo>
                      <a:cubicBezTo>
                        <a:pt x="38506" y="165859"/>
                        <a:pt x="37698" y="164348"/>
                        <a:pt x="37733" y="164465"/>
                      </a:cubicBezTo>
                      <a:cubicBezTo>
                        <a:pt x="37640" y="168025"/>
                        <a:pt x="37183" y="167053"/>
                        <a:pt x="34501" y="168459"/>
                      </a:cubicBezTo>
                      <a:cubicBezTo>
                        <a:pt x="34150" y="167966"/>
                        <a:pt x="33798" y="167486"/>
                        <a:pt x="33447" y="166995"/>
                      </a:cubicBezTo>
                      <a:cubicBezTo>
                        <a:pt x="33564" y="167030"/>
                        <a:pt x="35532" y="167334"/>
                        <a:pt x="35953" y="167381"/>
                      </a:cubicBezTo>
                      <a:cubicBezTo>
                        <a:pt x="34196" y="164137"/>
                        <a:pt x="34489" y="162896"/>
                        <a:pt x="38061" y="163411"/>
                      </a:cubicBezTo>
                      <a:cubicBezTo>
                        <a:pt x="37605" y="162942"/>
                        <a:pt x="36656" y="161537"/>
                        <a:pt x="36691" y="161584"/>
                      </a:cubicBezTo>
                      <a:cubicBezTo>
                        <a:pt x="35309" y="162240"/>
                        <a:pt x="35824" y="161490"/>
                        <a:pt x="34888" y="160858"/>
                      </a:cubicBezTo>
                      <a:cubicBezTo>
                        <a:pt x="34431" y="161560"/>
                        <a:pt x="34524" y="161923"/>
                        <a:pt x="34185" y="162697"/>
                      </a:cubicBezTo>
                      <a:cubicBezTo>
                        <a:pt x="34384" y="158855"/>
                        <a:pt x="37570" y="157883"/>
                        <a:pt x="40240" y="157977"/>
                      </a:cubicBezTo>
                      <a:cubicBezTo>
                        <a:pt x="34548" y="159148"/>
                        <a:pt x="34630" y="156454"/>
                        <a:pt x="30226" y="152566"/>
                      </a:cubicBezTo>
                      <a:cubicBezTo>
                        <a:pt x="34712" y="157438"/>
                        <a:pt x="33587" y="160495"/>
                        <a:pt x="33459" y="166303"/>
                      </a:cubicBezTo>
                      <a:cubicBezTo>
                        <a:pt x="31105" y="162544"/>
                        <a:pt x="32920" y="160085"/>
                        <a:pt x="31304" y="155962"/>
                      </a:cubicBezTo>
                      <a:cubicBezTo>
                        <a:pt x="29289" y="150786"/>
                        <a:pt x="25272" y="145715"/>
                        <a:pt x="23012" y="140597"/>
                      </a:cubicBezTo>
                      <a:cubicBezTo>
                        <a:pt x="18526" y="130443"/>
                        <a:pt x="25647" y="123088"/>
                        <a:pt x="19299" y="115897"/>
                      </a:cubicBezTo>
                      <a:cubicBezTo>
                        <a:pt x="16301" y="112501"/>
                        <a:pt x="10106" y="110604"/>
                        <a:pt x="8537" y="106879"/>
                      </a:cubicBezTo>
                      <a:cubicBezTo>
                        <a:pt x="8326" y="106376"/>
                        <a:pt x="8865" y="100133"/>
                        <a:pt x="8865" y="98892"/>
                      </a:cubicBezTo>
                      <a:cubicBezTo>
                        <a:pt x="8865" y="91092"/>
                        <a:pt x="8173" y="91397"/>
                        <a:pt x="4098" y="84241"/>
                      </a:cubicBezTo>
                      <a:cubicBezTo>
                        <a:pt x="1416" y="79556"/>
                        <a:pt x="-1453" y="69238"/>
                        <a:pt x="830" y="63839"/>
                      </a:cubicBezTo>
                      <a:cubicBezTo>
                        <a:pt x="3091" y="58475"/>
                        <a:pt x="8490" y="62434"/>
                        <a:pt x="14837" y="58475"/>
                      </a:cubicBezTo>
                      <a:cubicBezTo>
                        <a:pt x="7447" y="54552"/>
                        <a:pt x="17672" y="52948"/>
                        <a:pt x="20201" y="49926"/>
                      </a:cubicBezTo>
                      <a:cubicBezTo>
                        <a:pt x="22274" y="47467"/>
                        <a:pt x="24195" y="42033"/>
                        <a:pt x="25975" y="39058"/>
                      </a:cubicBezTo>
                      <a:cubicBezTo>
                        <a:pt x="30414" y="31668"/>
                        <a:pt x="32791" y="25297"/>
                        <a:pt x="41528" y="21081"/>
                      </a:cubicBezTo>
                      <a:cubicBezTo>
                        <a:pt x="47431" y="18223"/>
                        <a:pt x="58416" y="16080"/>
                        <a:pt x="64494" y="15073"/>
                      </a:cubicBezTo>
                      <a:cubicBezTo>
                        <a:pt x="71111" y="13960"/>
                        <a:pt x="70772" y="17509"/>
                        <a:pt x="79180" y="18059"/>
                      </a:cubicBezTo>
                      <a:cubicBezTo>
                        <a:pt x="84720" y="18422"/>
                        <a:pt x="92825" y="19968"/>
                        <a:pt x="97661" y="16010"/>
                      </a:cubicBezTo>
                      <a:cubicBezTo>
                        <a:pt x="99453" y="16853"/>
                        <a:pt x="108623" y="18668"/>
                        <a:pt x="112535" y="18211"/>
                      </a:cubicBezTo>
                      <a:cubicBezTo>
                        <a:pt x="117102" y="17673"/>
                        <a:pt x="120417" y="15119"/>
                        <a:pt x="124539" y="14628"/>
                      </a:cubicBezTo>
                      <a:cubicBezTo>
                        <a:pt x="125734" y="14487"/>
                        <a:pt x="135244" y="14534"/>
                        <a:pt x="137797" y="16958"/>
                      </a:cubicBezTo>
                      <a:cubicBezTo>
                        <a:pt x="139694" y="18750"/>
                        <a:pt x="138019" y="24067"/>
                        <a:pt x="141451" y="25566"/>
                      </a:cubicBezTo>
                      <a:cubicBezTo>
                        <a:pt x="145561" y="27358"/>
                        <a:pt x="147541" y="21420"/>
                        <a:pt x="149742" y="19113"/>
                      </a:cubicBezTo>
                      <a:cubicBezTo>
                        <a:pt x="149262" y="29946"/>
                        <a:pt x="158280" y="30684"/>
                        <a:pt x="164862" y="30438"/>
                      </a:cubicBezTo>
                      <a:cubicBezTo>
                        <a:pt x="171081" y="30192"/>
                        <a:pt x="174747" y="30953"/>
                        <a:pt x="180157" y="35275"/>
                      </a:cubicBezTo>
                      <a:cubicBezTo>
                        <a:pt x="185673" y="39702"/>
                        <a:pt x="195394" y="47572"/>
                        <a:pt x="198427" y="36645"/>
                      </a:cubicBezTo>
                      <a:cubicBezTo>
                        <a:pt x="200020" y="30953"/>
                        <a:pt x="192267" y="24524"/>
                        <a:pt x="190944" y="18047"/>
                      </a:cubicBezTo>
                      <a:cubicBezTo>
                        <a:pt x="195640" y="19148"/>
                        <a:pt x="204072" y="18855"/>
                        <a:pt x="204295" y="11407"/>
                      </a:cubicBezTo>
                      <a:cubicBezTo>
                        <a:pt x="210315" y="17720"/>
                        <a:pt x="214308" y="9966"/>
                        <a:pt x="217587" y="9639"/>
                      </a:cubicBezTo>
                      <a:cubicBezTo>
                        <a:pt x="217248" y="6758"/>
                        <a:pt x="217295" y="8784"/>
                        <a:pt x="219040" y="6090"/>
                      </a:cubicBezTo>
                      <a:cubicBezTo>
                        <a:pt x="219941" y="9170"/>
                        <a:pt x="221640" y="10716"/>
                        <a:pt x="223876" y="12672"/>
                      </a:cubicBezTo>
                      <a:cubicBezTo>
                        <a:pt x="225528" y="14124"/>
                        <a:pt x="232520" y="20027"/>
                        <a:pt x="234382" y="20847"/>
                      </a:cubicBezTo>
                      <a:cubicBezTo>
                        <a:pt x="239488" y="23083"/>
                        <a:pt x="244090" y="16525"/>
                        <a:pt x="246913" y="14745"/>
                      </a:cubicBezTo>
                      <a:cubicBezTo>
                        <a:pt x="246597" y="14955"/>
                        <a:pt x="249372" y="15857"/>
                        <a:pt x="250520" y="15283"/>
                      </a:cubicBezTo>
                      <a:cubicBezTo>
                        <a:pt x="252511" y="14276"/>
                        <a:pt x="252511" y="12356"/>
                        <a:pt x="253893" y="11103"/>
                      </a:cubicBezTo>
                      <a:cubicBezTo>
                        <a:pt x="254104" y="10903"/>
                        <a:pt x="258004" y="6500"/>
                        <a:pt x="258660" y="6348"/>
                      </a:cubicBezTo>
                      <a:cubicBezTo>
                        <a:pt x="261775" y="5633"/>
                        <a:pt x="263742" y="9065"/>
                        <a:pt x="266940" y="7624"/>
                      </a:cubicBezTo>
                      <a:cubicBezTo>
                        <a:pt x="267010" y="7589"/>
                        <a:pt x="271004" y="539"/>
                        <a:pt x="271601" y="0"/>
                      </a:cubicBezTo>
                      <a:cubicBezTo>
                        <a:pt x="271718" y="2600"/>
                        <a:pt x="271320" y="5176"/>
                        <a:pt x="270887" y="7882"/>
                      </a:cubicBezTo>
                      <a:lnTo>
                        <a:pt x="270887" y="7882"/>
                      </a:lnTo>
                      <a:close/>
                    </a:path>
                  </a:pathLst>
                </a:custGeom>
                <a:solidFill>
                  <a:srgbClr val="D6D6D2"/>
                </a:solidFill>
                <a:ln w="8774" cap="rnd">
                  <a:solidFill>
                    <a:srgbClr val="FFFFFF"/>
                  </a:solidFill>
                  <a:prstDash val="solid"/>
                  <a:round/>
                </a:ln>
              </p:spPr>
              <p:txBody>
                <a:bodyPr rtlCol="0" anchor="ctr"/>
                <a:lstStyle/>
                <a:p>
                  <a:endParaRPr lang="en-US"/>
                </a:p>
              </p:txBody>
            </p:sp>
            <p:sp>
              <p:nvSpPr>
                <p:cNvPr id="123" name="Freeform: Shape 122">
                  <a:extLst>
                    <a:ext uri="{FF2B5EF4-FFF2-40B4-BE49-F238E27FC236}">
                      <a16:creationId xmlns:a16="http://schemas.microsoft.com/office/drawing/2014/main" id="{FF831C48-34A9-4CC7-BA1E-73C03BEB6082}"/>
                    </a:ext>
                  </a:extLst>
                </p:cNvPr>
                <p:cNvSpPr/>
                <p:nvPr/>
              </p:nvSpPr>
              <p:spPr>
                <a:xfrm>
                  <a:off x="730827" y="3672722"/>
                  <a:ext cx="573248" cy="253296"/>
                </a:xfrm>
                <a:custGeom>
                  <a:avLst/>
                  <a:gdLst>
                    <a:gd name="connsiteX0" fmla="*/ 572290 w 573248"/>
                    <a:gd name="connsiteY0" fmla="*/ 67587 h 253296"/>
                    <a:gd name="connsiteX1" fmla="*/ 561129 w 573248"/>
                    <a:gd name="connsiteY1" fmla="*/ 78057 h 253296"/>
                    <a:gd name="connsiteX2" fmla="*/ 548141 w 573248"/>
                    <a:gd name="connsiteY2" fmla="*/ 86993 h 253296"/>
                    <a:gd name="connsiteX3" fmla="*/ 538104 w 573248"/>
                    <a:gd name="connsiteY3" fmla="*/ 89640 h 253296"/>
                    <a:gd name="connsiteX4" fmla="*/ 528325 w 573248"/>
                    <a:gd name="connsiteY4" fmla="*/ 93715 h 253296"/>
                    <a:gd name="connsiteX5" fmla="*/ 519916 w 573248"/>
                    <a:gd name="connsiteY5" fmla="*/ 96034 h 253296"/>
                    <a:gd name="connsiteX6" fmla="*/ 510899 w 573248"/>
                    <a:gd name="connsiteY6" fmla="*/ 99981 h 253296"/>
                    <a:gd name="connsiteX7" fmla="*/ 489759 w 573248"/>
                    <a:gd name="connsiteY7" fmla="*/ 111482 h 253296"/>
                    <a:gd name="connsiteX8" fmla="*/ 478762 w 573248"/>
                    <a:gd name="connsiteY8" fmla="*/ 116916 h 253296"/>
                    <a:gd name="connsiteX9" fmla="*/ 475588 w 573248"/>
                    <a:gd name="connsiteY9" fmla="*/ 122819 h 253296"/>
                    <a:gd name="connsiteX10" fmla="*/ 467285 w 573248"/>
                    <a:gd name="connsiteY10" fmla="*/ 134015 h 253296"/>
                    <a:gd name="connsiteX11" fmla="*/ 447364 w 573248"/>
                    <a:gd name="connsiteY11" fmla="*/ 138161 h 253296"/>
                    <a:gd name="connsiteX12" fmla="*/ 436495 w 573248"/>
                    <a:gd name="connsiteY12" fmla="*/ 142014 h 253296"/>
                    <a:gd name="connsiteX13" fmla="*/ 425100 w 573248"/>
                    <a:gd name="connsiteY13" fmla="*/ 141101 h 253296"/>
                    <a:gd name="connsiteX14" fmla="*/ 401103 w 573248"/>
                    <a:gd name="connsiteY14" fmla="*/ 139894 h 253296"/>
                    <a:gd name="connsiteX15" fmla="*/ 392741 w 573248"/>
                    <a:gd name="connsiteY15" fmla="*/ 148807 h 253296"/>
                    <a:gd name="connsiteX16" fmla="*/ 389567 w 573248"/>
                    <a:gd name="connsiteY16" fmla="*/ 153105 h 253296"/>
                    <a:gd name="connsiteX17" fmla="*/ 385246 w 573248"/>
                    <a:gd name="connsiteY17" fmla="*/ 164887 h 253296"/>
                    <a:gd name="connsiteX18" fmla="*/ 371133 w 573248"/>
                    <a:gd name="connsiteY18" fmla="*/ 181084 h 253296"/>
                    <a:gd name="connsiteX19" fmla="*/ 366179 w 573248"/>
                    <a:gd name="connsiteY19" fmla="*/ 176656 h 253296"/>
                    <a:gd name="connsiteX20" fmla="*/ 359082 w 573248"/>
                    <a:gd name="connsiteY20" fmla="*/ 180463 h 253296"/>
                    <a:gd name="connsiteX21" fmla="*/ 350357 w 573248"/>
                    <a:gd name="connsiteY21" fmla="*/ 182032 h 253296"/>
                    <a:gd name="connsiteX22" fmla="*/ 346703 w 573248"/>
                    <a:gd name="connsiteY22" fmla="*/ 185335 h 253296"/>
                    <a:gd name="connsiteX23" fmla="*/ 334570 w 573248"/>
                    <a:gd name="connsiteY23" fmla="*/ 183016 h 253296"/>
                    <a:gd name="connsiteX24" fmla="*/ 331408 w 573248"/>
                    <a:gd name="connsiteY24" fmla="*/ 166514 h 253296"/>
                    <a:gd name="connsiteX25" fmla="*/ 311849 w 573248"/>
                    <a:gd name="connsiteY25" fmla="*/ 175919 h 253296"/>
                    <a:gd name="connsiteX26" fmla="*/ 293310 w 573248"/>
                    <a:gd name="connsiteY26" fmla="*/ 183496 h 253296"/>
                    <a:gd name="connsiteX27" fmla="*/ 273728 w 573248"/>
                    <a:gd name="connsiteY27" fmla="*/ 192467 h 253296"/>
                    <a:gd name="connsiteX28" fmla="*/ 256149 w 573248"/>
                    <a:gd name="connsiteY28" fmla="*/ 197398 h 253296"/>
                    <a:gd name="connsiteX29" fmla="*/ 238934 w 573248"/>
                    <a:gd name="connsiteY29" fmla="*/ 217928 h 253296"/>
                    <a:gd name="connsiteX30" fmla="*/ 242670 w 573248"/>
                    <a:gd name="connsiteY30" fmla="*/ 230225 h 253296"/>
                    <a:gd name="connsiteX31" fmla="*/ 224154 w 573248"/>
                    <a:gd name="connsiteY31" fmla="*/ 236409 h 253296"/>
                    <a:gd name="connsiteX32" fmla="*/ 204068 w 573248"/>
                    <a:gd name="connsiteY32" fmla="*/ 243190 h 253296"/>
                    <a:gd name="connsiteX33" fmla="*/ 186571 w 573248"/>
                    <a:gd name="connsiteY33" fmla="*/ 242838 h 253296"/>
                    <a:gd name="connsiteX34" fmla="*/ 168454 w 573248"/>
                    <a:gd name="connsiteY34" fmla="*/ 243764 h 253296"/>
                    <a:gd name="connsiteX35" fmla="*/ 161438 w 573248"/>
                    <a:gd name="connsiteY35" fmla="*/ 244420 h 253296"/>
                    <a:gd name="connsiteX36" fmla="*/ 155946 w 573248"/>
                    <a:gd name="connsiteY36" fmla="*/ 253297 h 253296"/>
                    <a:gd name="connsiteX37" fmla="*/ 148427 w 573248"/>
                    <a:gd name="connsiteY37" fmla="*/ 246469 h 253296"/>
                    <a:gd name="connsiteX38" fmla="*/ 144773 w 573248"/>
                    <a:gd name="connsiteY38" fmla="*/ 242850 h 253296"/>
                    <a:gd name="connsiteX39" fmla="*/ 133893 w 573248"/>
                    <a:gd name="connsiteY39" fmla="*/ 248191 h 253296"/>
                    <a:gd name="connsiteX40" fmla="*/ 131023 w 573248"/>
                    <a:gd name="connsiteY40" fmla="*/ 240016 h 253296"/>
                    <a:gd name="connsiteX41" fmla="*/ 123294 w 573248"/>
                    <a:gd name="connsiteY41" fmla="*/ 237779 h 253296"/>
                    <a:gd name="connsiteX42" fmla="*/ 119277 w 573248"/>
                    <a:gd name="connsiteY42" fmla="*/ 231923 h 253296"/>
                    <a:gd name="connsiteX43" fmla="*/ 109966 w 573248"/>
                    <a:gd name="connsiteY43" fmla="*/ 229593 h 253296"/>
                    <a:gd name="connsiteX44" fmla="*/ 104169 w 573248"/>
                    <a:gd name="connsiteY44" fmla="*/ 233376 h 253296"/>
                    <a:gd name="connsiteX45" fmla="*/ 94589 w 573248"/>
                    <a:gd name="connsiteY45" fmla="*/ 235390 h 253296"/>
                    <a:gd name="connsiteX46" fmla="*/ 88593 w 573248"/>
                    <a:gd name="connsiteY46" fmla="*/ 239969 h 253296"/>
                    <a:gd name="connsiteX47" fmla="*/ 82491 w 573248"/>
                    <a:gd name="connsiteY47" fmla="*/ 240684 h 253296"/>
                    <a:gd name="connsiteX48" fmla="*/ 73860 w 573248"/>
                    <a:gd name="connsiteY48" fmla="*/ 234558 h 253296"/>
                    <a:gd name="connsiteX49" fmla="*/ 60637 w 573248"/>
                    <a:gd name="connsiteY49" fmla="*/ 229077 h 253296"/>
                    <a:gd name="connsiteX50" fmla="*/ 50144 w 573248"/>
                    <a:gd name="connsiteY50" fmla="*/ 226958 h 253296"/>
                    <a:gd name="connsiteX51" fmla="*/ 25596 w 573248"/>
                    <a:gd name="connsiteY51" fmla="*/ 230073 h 253296"/>
                    <a:gd name="connsiteX52" fmla="*/ 2794 w 573248"/>
                    <a:gd name="connsiteY52" fmla="*/ 232579 h 253296"/>
                    <a:gd name="connsiteX53" fmla="*/ 89 w 573248"/>
                    <a:gd name="connsiteY53" fmla="*/ 220446 h 253296"/>
                    <a:gd name="connsiteX54" fmla="*/ 3696 w 573248"/>
                    <a:gd name="connsiteY54" fmla="*/ 204893 h 253296"/>
                    <a:gd name="connsiteX55" fmla="*/ 8029 w 573248"/>
                    <a:gd name="connsiteY55" fmla="*/ 208934 h 253296"/>
                    <a:gd name="connsiteX56" fmla="*/ 12444 w 573248"/>
                    <a:gd name="connsiteY56" fmla="*/ 205537 h 253296"/>
                    <a:gd name="connsiteX57" fmla="*/ 14541 w 573248"/>
                    <a:gd name="connsiteY57" fmla="*/ 195887 h 253296"/>
                    <a:gd name="connsiteX58" fmla="*/ 38116 w 573248"/>
                    <a:gd name="connsiteY58" fmla="*/ 190558 h 253296"/>
                    <a:gd name="connsiteX59" fmla="*/ 53809 w 573248"/>
                    <a:gd name="connsiteY59" fmla="*/ 196309 h 253296"/>
                    <a:gd name="connsiteX60" fmla="*/ 67114 w 573248"/>
                    <a:gd name="connsiteY60" fmla="*/ 201508 h 253296"/>
                    <a:gd name="connsiteX61" fmla="*/ 65029 w 573248"/>
                    <a:gd name="connsiteY61" fmla="*/ 209133 h 253296"/>
                    <a:gd name="connsiteX62" fmla="*/ 72536 w 573248"/>
                    <a:gd name="connsiteY62" fmla="*/ 203417 h 253296"/>
                    <a:gd name="connsiteX63" fmla="*/ 74094 w 573248"/>
                    <a:gd name="connsiteY63" fmla="*/ 197456 h 253296"/>
                    <a:gd name="connsiteX64" fmla="*/ 81027 w 573248"/>
                    <a:gd name="connsiteY64" fmla="*/ 193650 h 253296"/>
                    <a:gd name="connsiteX65" fmla="*/ 90794 w 573248"/>
                    <a:gd name="connsiteY65" fmla="*/ 190394 h 253296"/>
                    <a:gd name="connsiteX66" fmla="*/ 96217 w 573248"/>
                    <a:gd name="connsiteY66" fmla="*/ 186893 h 253296"/>
                    <a:gd name="connsiteX67" fmla="*/ 103443 w 573248"/>
                    <a:gd name="connsiteY67" fmla="*/ 185265 h 253296"/>
                    <a:gd name="connsiteX68" fmla="*/ 124652 w 573248"/>
                    <a:gd name="connsiteY68" fmla="*/ 187642 h 253296"/>
                    <a:gd name="connsiteX69" fmla="*/ 132909 w 573248"/>
                    <a:gd name="connsiteY69" fmla="*/ 191671 h 253296"/>
                    <a:gd name="connsiteX70" fmla="*/ 135497 w 573248"/>
                    <a:gd name="connsiteY70" fmla="*/ 188251 h 253296"/>
                    <a:gd name="connsiteX71" fmla="*/ 139467 w 573248"/>
                    <a:gd name="connsiteY71" fmla="*/ 188602 h 253296"/>
                    <a:gd name="connsiteX72" fmla="*/ 145358 w 573248"/>
                    <a:gd name="connsiteY72" fmla="*/ 188146 h 253296"/>
                    <a:gd name="connsiteX73" fmla="*/ 157796 w 573248"/>
                    <a:gd name="connsiteY73" fmla="*/ 175708 h 253296"/>
                    <a:gd name="connsiteX74" fmla="*/ 155079 w 573248"/>
                    <a:gd name="connsiteY74" fmla="*/ 177371 h 253296"/>
                    <a:gd name="connsiteX75" fmla="*/ 165397 w 573248"/>
                    <a:gd name="connsiteY75" fmla="*/ 178613 h 253296"/>
                    <a:gd name="connsiteX76" fmla="*/ 162996 w 573248"/>
                    <a:gd name="connsiteY76" fmla="*/ 172019 h 253296"/>
                    <a:gd name="connsiteX77" fmla="*/ 176652 w 573248"/>
                    <a:gd name="connsiteY77" fmla="*/ 172124 h 253296"/>
                    <a:gd name="connsiteX78" fmla="*/ 183069 w 573248"/>
                    <a:gd name="connsiteY78" fmla="*/ 168131 h 253296"/>
                    <a:gd name="connsiteX79" fmla="*/ 186735 w 573248"/>
                    <a:gd name="connsiteY79" fmla="*/ 161584 h 253296"/>
                    <a:gd name="connsiteX80" fmla="*/ 196245 w 573248"/>
                    <a:gd name="connsiteY80" fmla="*/ 157754 h 253296"/>
                    <a:gd name="connsiteX81" fmla="*/ 189429 w 573248"/>
                    <a:gd name="connsiteY81" fmla="*/ 153093 h 253296"/>
                    <a:gd name="connsiteX82" fmla="*/ 177366 w 573248"/>
                    <a:gd name="connsiteY82" fmla="*/ 149662 h 253296"/>
                    <a:gd name="connsiteX83" fmla="*/ 169332 w 573248"/>
                    <a:gd name="connsiteY83" fmla="*/ 141850 h 253296"/>
                    <a:gd name="connsiteX84" fmla="*/ 161356 w 573248"/>
                    <a:gd name="connsiteY84" fmla="*/ 137294 h 253296"/>
                    <a:gd name="connsiteX85" fmla="*/ 152643 w 573248"/>
                    <a:gd name="connsiteY85" fmla="*/ 141862 h 253296"/>
                    <a:gd name="connsiteX86" fmla="*/ 152889 w 573248"/>
                    <a:gd name="connsiteY86" fmla="*/ 131345 h 253296"/>
                    <a:gd name="connsiteX87" fmla="*/ 146190 w 573248"/>
                    <a:gd name="connsiteY87" fmla="*/ 131883 h 253296"/>
                    <a:gd name="connsiteX88" fmla="*/ 137067 w 573248"/>
                    <a:gd name="connsiteY88" fmla="*/ 127117 h 253296"/>
                    <a:gd name="connsiteX89" fmla="*/ 130321 w 573248"/>
                    <a:gd name="connsiteY89" fmla="*/ 113497 h 253296"/>
                    <a:gd name="connsiteX90" fmla="*/ 129524 w 573248"/>
                    <a:gd name="connsiteY90" fmla="*/ 115405 h 253296"/>
                    <a:gd name="connsiteX91" fmla="*/ 128201 w 573248"/>
                    <a:gd name="connsiteY91" fmla="*/ 113988 h 253296"/>
                    <a:gd name="connsiteX92" fmla="*/ 126936 w 573248"/>
                    <a:gd name="connsiteY92" fmla="*/ 115359 h 253296"/>
                    <a:gd name="connsiteX93" fmla="*/ 123481 w 573248"/>
                    <a:gd name="connsiteY93" fmla="*/ 112161 h 253296"/>
                    <a:gd name="connsiteX94" fmla="*/ 123294 w 573248"/>
                    <a:gd name="connsiteY94" fmla="*/ 120020 h 253296"/>
                    <a:gd name="connsiteX95" fmla="*/ 113737 w 573248"/>
                    <a:gd name="connsiteY95" fmla="*/ 120219 h 253296"/>
                    <a:gd name="connsiteX96" fmla="*/ 113304 w 573248"/>
                    <a:gd name="connsiteY96" fmla="*/ 134132 h 253296"/>
                    <a:gd name="connsiteX97" fmla="*/ 107003 w 573248"/>
                    <a:gd name="connsiteY97" fmla="*/ 134741 h 253296"/>
                    <a:gd name="connsiteX98" fmla="*/ 101300 w 573248"/>
                    <a:gd name="connsiteY98" fmla="*/ 135093 h 253296"/>
                    <a:gd name="connsiteX99" fmla="*/ 79153 w 573248"/>
                    <a:gd name="connsiteY99" fmla="*/ 125067 h 253296"/>
                    <a:gd name="connsiteX100" fmla="*/ 71775 w 573248"/>
                    <a:gd name="connsiteY100" fmla="*/ 113250 h 253296"/>
                    <a:gd name="connsiteX101" fmla="*/ 62570 w 573248"/>
                    <a:gd name="connsiteY101" fmla="*/ 115956 h 253296"/>
                    <a:gd name="connsiteX102" fmla="*/ 57768 w 573248"/>
                    <a:gd name="connsiteY102" fmla="*/ 111142 h 253296"/>
                    <a:gd name="connsiteX103" fmla="*/ 54067 w 573248"/>
                    <a:gd name="connsiteY103" fmla="*/ 102898 h 253296"/>
                    <a:gd name="connsiteX104" fmla="*/ 63413 w 573248"/>
                    <a:gd name="connsiteY104" fmla="*/ 97487 h 253296"/>
                    <a:gd name="connsiteX105" fmla="*/ 72220 w 573248"/>
                    <a:gd name="connsiteY105" fmla="*/ 87567 h 253296"/>
                    <a:gd name="connsiteX106" fmla="*/ 82222 w 573248"/>
                    <a:gd name="connsiteY106" fmla="*/ 84487 h 253296"/>
                    <a:gd name="connsiteX107" fmla="*/ 85969 w 573248"/>
                    <a:gd name="connsiteY107" fmla="*/ 77097 h 253296"/>
                    <a:gd name="connsiteX108" fmla="*/ 105094 w 573248"/>
                    <a:gd name="connsiteY108" fmla="*/ 67095 h 253296"/>
                    <a:gd name="connsiteX109" fmla="*/ 91474 w 573248"/>
                    <a:gd name="connsiteY109" fmla="*/ 62200 h 253296"/>
                    <a:gd name="connsiteX110" fmla="*/ 85466 w 573248"/>
                    <a:gd name="connsiteY110" fmla="*/ 58757 h 253296"/>
                    <a:gd name="connsiteX111" fmla="*/ 89166 w 573248"/>
                    <a:gd name="connsiteY111" fmla="*/ 51144 h 253296"/>
                    <a:gd name="connsiteX112" fmla="*/ 94074 w 573248"/>
                    <a:gd name="connsiteY112" fmla="*/ 50922 h 253296"/>
                    <a:gd name="connsiteX113" fmla="*/ 93020 w 573248"/>
                    <a:gd name="connsiteY113" fmla="*/ 47022 h 253296"/>
                    <a:gd name="connsiteX114" fmla="*/ 92083 w 573248"/>
                    <a:gd name="connsiteY114" fmla="*/ 44141 h 253296"/>
                    <a:gd name="connsiteX115" fmla="*/ 95175 w 573248"/>
                    <a:gd name="connsiteY115" fmla="*/ 42817 h 253296"/>
                    <a:gd name="connsiteX116" fmla="*/ 99601 w 573248"/>
                    <a:gd name="connsiteY116" fmla="*/ 39445 h 253296"/>
                    <a:gd name="connsiteX117" fmla="*/ 106183 w 573248"/>
                    <a:gd name="connsiteY117" fmla="*/ 32289 h 253296"/>
                    <a:gd name="connsiteX118" fmla="*/ 112999 w 573248"/>
                    <a:gd name="connsiteY118" fmla="*/ 29513 h 253296"/>
                    <a:gd name="connsiteX119" fmla="*/ 125191 w 573248"/>
                    <a:gd name="connsiteY119" fmla="*/ 30099 h 253296"/>
                    <a:gd name="connsiteX120" fmla="*/ 138589 w 573248"/>
                    <a:gd name="connsiteY120" fmla="*/ 28154 h 253296"/>
                    <a:gd name="connsiteX121" fmla="*/ 153650 w 573248"/>
                    <a:gd name="connsiteY121" fmla="*/ 31422 h 253296"/>
                    <a:gd name="connsiteX122" fmla="*/ 170761 w 573248"/>
                    <a:gd name="connsiteY122" fmla="*/ 36915 h 253296"/>
                    <a:gd name="connsiteX123" fmla="*/ 181910 w 573248"/>
                    <a:gd name="connsiteY123" fmla="*/ 38472 h 253296"/>
                    <a:gd name="connsiteX124" fmla="*/ 187251 w 573248"/>
                    <a:gd name="connsiteY124" fmla="*/ 44047 h 253296"/>
                    <a:gd name="connsiteX125" fmla="*/ 212735 w 573248"/>
                    <a:gd name="connsiteY125" fmla="*/ 48521 h 253296"/>
                    <a:gd name="connsiteX126" fmla="*/ 222572 w 573248"/>
                    <a:gd name="connsiteY126" fmla="*/ 54189 h 253296"/>
                    <a:gd name="connsiteX127" fmla="*/ 217677 w 573248"/>
                    <a:gd name="connsiteY127" fmla="*/ 41260 h 253296"/>
                    <a:gd name="connsiteX128" fmla="*/ 221800 w 573248"/>
                    <a:gd name="connsiteY128" fmla="*/ 30965 h 253296"/>
                    <a:gd name="connsiteX129" fmla="*/ 221788 w 573248"/>
                    <a:gd name="connsiteY129" fmla="*/ 24278 h 253296"/>
                    <a:gd name="connsiteX130" fmla="*/ 230279 w 573248"/>
                    <a:gd name="connsiteY130" fmla="*/ 12227 h 253296"/>
                    <a:gd name="connsiteX131" fmla="*/ 241264 w 573248"/>
                    <a:gd name="connsiteY131" fmla="*/ 9229 h 253296"/>
                    <a:gd name="connsiteX132" fmla="*/ 246616 w 573248"/>
                    <a:gd name="connsiteY132" fmla="*/ 2869 h 253296"/>
                    <a:gd name="connsiteX133" fmla="*/ 257719 w 573248"/>
                    <a:gd name="connsiteY133" fmla="*/ 0 h 253296"/>
                    <a:gd name="connsiteX134" fmla="*/ 271433 w 573248"/>
                    <a:gd name="connsiteY134" fmla="*/ 7074 h 253296"/>
                    <a:gd name="connsiteX135" fmla="*/ 285627 w 573248"/>
                    <a:gd name="connsiteY135" fmla="*/ 16560 h 253296"/>
                    <a:gd name="connsiteX136" fmla="*/ 326044 w 573248"/>
                    <a:gd name="connsiteY136" fmla="*/ 27639 h 253296"/>
                    <a:gd name="connsiteX137" fmla="*/ 339266 w 573248"/>
                    <a:gd name="connsiteY137" fmla="*/ 24782 h 253296"/>
                    <a:gd name="connsiteX138" fmla="*/ 344677 w 573248"/>
                    <a:gd name="connsiteY138" fmla="*/ 20413 h 253296"/>
                    <a:gd name="connsiteX139" fmla="*/ 354386 w 573248"/>
                    <a:gd name="connsiteY139" fmla="*/ 21221 h 253296"/>
                    <a:gd name="connsiteX140" fmla="*/ 383782 w 573248"/>
                    <a:gd name="connsiteY140" fmla="*/ 23072 h 253296"/>
                    <a:gd name="connsiteX141" fmla="*/ 409582 w 573248"/>
                    <a:gd name="connsiteY141" fmla="*/ 18563 h 253296"/>
                    <a:gd name="connsiteX142" fmla="*/ 424245 w 573248"/>
                    <a:gd name="connsiteY142" fmla="*/ 22334 h 253296"/>
                    <a:gd name="connsiteX143" fmla="*/ 435535 w 573248"/>
                    <a:gd name="connsiteY143" fmla="*/ 23329 h 253296"/>
                    <a:gd name="connsiteX144" fmla="*/ 465423 w 573248"/>
                    <a:gd name="connsiteY144" fmla="*/ 25332 h 253296"/>
                    <a:gd name="connsiteX145" fmla="*/ 479465 w 573248"/>
                    <a:gd name="connsiteY145" fmla="*/ 24091 h 253296"/>
                    <a:gd name="connsiteX146" fmla="*/ 502302 w 573248"/>
                    <a:gd name="connsiteY146" fmla="*/ 30591 h 253296"/>
                    <a:gd name="connsiteX147" fmla="*/ 511894 w 573248"/>
                    <a:gd name="connsiteY147" fmla="*/ 31457 h 253296"/>
                    <a:gd name="connsiteX148" fmla="*/ 518441 w 573248"/>
                    <a:gd name="connsiteY148" fmla="*/ 32534 h 253296"/>
                    <a:gd name="connsiteX149" fmla="*/ 519975 w 573248"/>
                    <a:gd name="connsiteY149" fmla="*/ 38227 h 253296"/>
                    <a:gd name="connsiteX150" fmla="*/ 528232 w 573248"/>
                    <a:gd name="connsiteY150" fmla="*/ 44539 h 253296"/>
                    <a:gd name="connsiteX151" fmla="*/ 538374 w 573248"/>
                    <a:gd name="connsiteY151" fmla="*/ 51238 h 253296"/>
                    <a:gd name="connsiteX152" fmla="*/ 554079 w 573248"/>
                    <a:gd name="connsiteY152" fmla="*/ 52280 h 253296"/>
                    <a:gd name="connsiteX153" fmla="*/ 572290 w 573248"/>
                    <a:gd name="connsiteY153" fmla="*/ 67587 h 253296"/>
                    <a:gd name="connsiteX154" fmla="*/ 572290 w 573248"/>
                    <a:gd name="connsiteY154" fmla="*/ 67587 h 253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573248" h="253296">
                      <a:moveTo>
                        <a:pt x="572290" y="67587"/>
                      </a:moveTo>
                      <a:cubicBezTo>
                        <a:pt x="574516" y="78901"/>
                        <a:pt x="573649" y="77073"/>
                        <a:pt x="561129" y="78057"/>
                      </a:cubicBezTo>
                      <a:cubicBezTo>
                        <a:pt x="551011" y="78854"/>
                        <a:pt x="554524" y="82332"/>
                        <a:pt x="548141" y="86993"/>
                      </a:cubicBezTo>
                      <a:cubicBezTo>
                        <a:pt x="546631" y="88094"/>
                        <a:pt x="540201" y="88809"/>
                        <a:pt x="538104" y="89640"/>
                      </a:cubicBezTo>
                      <a:cubicBezTo>
                        <a:pt x="534767" y="90952"/>
                        <a:pt x="531581" y="92591"/>
                        <a:pt x="528325" y="93715"/>
                      </a:cubicBezTo>
                      <a:cubicBezTo>
                        <a:pt x="525597" y="94653"/>
                        <a:pt x="523243" y="94664"/>
                        <a:pt x="519916" y="96034"/>
                      </a:cubicBezTo>
                      <a:cubicBezTo>
                        <a:pt x="516872" y="97276"/>
                        <a:pt x="513908" y="98693"/>
                        <a:pt x="510899" y="99981"/>
                      </a:cubicBezTo>
                      <a:cubicBezTo>
                        <a:pt x="503614" y="103085"/>
                        <a:pt x="495814" y="108250"/>
                        <a:pt x="489759" y="111482"/>
                      </a:cubicBezTo>
                      <a:cubicBezTo>
                        <a:pt x="486117" y="113426"/>
                        <a:pt x="482041" y="113812"/>
                        <a:pt x="478762" y="116916"/>
                      </a:cubicBezTo>
                      <a:cubicBezTo>
                        <a:pt x="475542" y="119973"/>
                        <a:pt x="477181" y="120535"/>
                        <a:pt x="475588" y="122819"/>
                      </a:cubicBezTo>
                      <a:cubicBezTo>
                        <a:pt x="473445" y="125875"/>
                        <a:pt x="470260" y="130618"/>
                        <a:pt x="467285" y="134015"/>
                      </a:cubicBezTo>
                      <a:cubicBezTo>
                        <a:pt x="460000" y="142319"/>
                        <a:pt x="456393" y="136381"/>
                        <a:pt x="447364" y="138161"/>
                      </a:cubicBezTo>
                      <a:cubicBezTo>
                        <a:pt x="443581" y="138910"/>
                        <a:pt x="440302" y="141288"/>
                        <a:pt x="436495" y="142014"/>
                      </a:cubicBezTo>
                      <a:cubicBezTo>
                        <a:pt x="431284" y="143009"/>
                        <a:pt x="429738" y="141405"/>
                        <a:pt x="425100" y="141101"/>
                      </a:cubicBezTo>
                      <a:cubicBezTo>
                        <a:pt x="417956" y="140632"/>
                        <a:pt x="407825" y="138173"/>
                        <a:pt x="401103" y="139894"/>
                      </a:cubicBezTo>
                      <a:cubicBezTo>
                        <a:pt x="394451" y="141604"/>
                        <a:pt x="395189" y="145246"/>
                        <a:pt x="392741" y="148807"/>
                      </a:cubicBezTo>
                      <a:cubicBezTo>
                        <a:pt x="392378" y="149345"/>
                        <a:pt x="389766" y="152683"/>
                        <a:pt x="389567" y="153105"/>
                      </a:cubicBezTo>
                      <a:cubicBezTo>
                        <a:pt x="387553" y="157145"/>
                        <a:pt x="387002" y="160694"/>
                        <a:pt x="385246" y="164887"/>
                      </a:cubicBezTo>
                      <a:cubicBezTo>
                        <a:pt x="383723" y="168540"/>
                        <a:pt x="376216" y="180697"/>
                        <a:pt x="371133" y="181084"/>
                      </a:cubicBezTo>
                      <a:cubicBezTo>
                        <a:pt x="366507" y="181435"/>
                        <a:pt x="369423" y="176750"/>
                        <a:pt x="366179" y="176656"/>
                      </a:cubicBezTo>
                      <a:cubicBezTo>
                        <a:pt x="364844" y="176610"/>
                        <a:pt x="360628" y="179924"/>
                        <a:pt x="359082" y="180463"/>
                      </a:cubicBezTo>
                      <a:cubicBezTo>
                        <a:pt x="357185" y="181131"/>
                        <a:pt x="353144" y="180978"/>
                        <a:pt x="350357" y="182032"/>
                      </a:cubicBezTo>
                      <a:cubicBezTo>
                        <a:pt x="348975" y="182559"/>
                        <a:pt x="348635" y="184784"/>
                        <a:pt x="346703" y="185335"/>
                      </a:cubicBezTo>
                      <a:cubicBezTo>
                        <a:pt x="343026" y="186389"/>
                        <a:pt x="336256" y="185347"/>
                        <a:pt x="334570" y="183016"/>
                      </a:cubicBezTo>
                      <a:cubicBezTo>
                        <a:pt x="331946" y="179397"/>
                        <a:pt x="336315" y="170426"/>
                        <a:pt x="331408" y="166514"/>
                      </a:cubicBezTo>
                      <a:cubicBezTo>
                        <a:pt x="324638" y="161127"/>
                        <a:pt x="317986" y="173682"/>
                        <a:pt x="311849" y="175919"/>
                      </a:cubicBezTo>
                      <a:cubicBezTo>
                        <a:pt x="301848" y="179573"/>
                        <a:pt x="284070" y="164313"/>
                        <a:pt x="293310" y="183496"/>
                      </a:cubicBezTo>
                      <a:cubicBezTo>
                        <a:pt x="283894" y="182700"/>
                        <a:pt x="281083" y="186670"/>
                        <a:pt x="273728" y="192467"/>
                      </a:cubicBezTo>
                      <a:cubicBezTo>
                        <a:pt x="266245" y="198358"/>
                        <a:pt x="264266" y="196438"/>
                        <a:pt x="256149" y="197398"/>
                      </a:cubicBezTo>
                      <a:cubicBezTo>
                        <a:pt x="248724" y="198276"/>
                        <a:pt x="238488" y="210152"/>
                        <a:pt x="238934" y="217928"/>
                      </a:cubicBezTo>
                      <a:cubicBezTo>
                        <a:pt x="239191" y="222589"/>
                        <a:pt x="245375" y="223210"/>
                        <a:pt x="242670" y="230225"/>
                      </a:cubicBezTo>
                      <a:cubicBezTo>
                        <a:pt x="239215" y="239220"/>
                        <a:pt x="232164" y="236116"/>
                        <a:pt x="224154" y="236409"/>
                      </a:cubicBezTo>
                      <a:cubicBezTo>
                        <a:pt x="215370" y="236725"/>
                        <a:pt x="212571" y="241878"/>
                        <a:pt x="204068" y="243190"/>
                      </a:cubicBezTo>
                      <a:cubicBezTo>
                        <a:pt x="199161" y="243940"/>
                        <a:pt x="191748" y="243611"/>
                        <a:pt x="186571" y="242838"/>
                      </a:cubicBezTo>
                      <a:cubicBezTo>
                        <a:pt x="177612" y="241503"/>
                        <a:pt x="175504" y="242440"/>
                        <a:pt x="168454" y="243764"/>
                      </a:cubicBezTo>
                      <a:cubicBezTo>
                        <a:pt x="166170" y="244197"/>
                        <a:pt x="163617" y="242815"/>
                        <a:pt x="161438" y="244420"/>
                      </a:cubicBezTo>
                      <a:cubicBezTo>
                        <a:pt x="159131" y="246118"/>
                        <a:pt x="158581" y="252641"/>
                        <a:pt x="155946" y="253297"/>
                      </a:cubicBezTo>
                      <a:cubicBezTo>
                        <a:pt x="157093" y="253016"/>
                        <a:pt x="148450" y="246481"/>
                        <a:pt x="148427" y="246469"/>
                      </a:cubicBezTo>
                      <a:cubicBezTo>
                        <a:pt x="145815" y="244876"/>
                        <a:pt x="149048" y="243447"/>
                        <a:pt x="144773" y="242850"/>
                      </a:cubicBezTo>
                      <a:cubicBezTo>
                        <a:pt x="140838" y="242300"/>
                        <a:pt x="137617" y="248331"/>
                        <a:pt x="133893" y="248191"/>
                      </a:cubicBezTo>
                      <a:cubicBezTo>
                        <a:pt x="124816" y="247839"/>
                        <a:pt x="132769" y="243459"/>
                        <a:pt x="131023" y="240016"/>
                      </a:cubicBezTo>
                      <a:cubicBezTo>
                        <a:pt x="128365" y="234828"/>
                        <a:pt x="128318" y="239501"/>
                        <a:pt x="123294" y="237779"/>
                      </a:cubicBezTo>
                      <a:cubicBezTo>
                        <a:pt x="116197" y="235343"/>
                        <a:pt x="121385" y="235062"/>
                        <a:pt x="119277" y="231923"/>
                      </a:cubicBezTo>
                      <a:cubicBezTo>
                        <a:pt x="116208" y="227344"/>
                        <a:pt x="115951" y="227707"/>
                        <a:pt x="109966" y="229593"/>
                      </a:cubicBezTo>
                      <a:cubicBezTo>
                        <a:pt x="107612" y="230331"/>
                        <a:pt x="106312" y="232661"/>
                        <a:pt x="104169" y="233376"/>
                      </a:cubicBezTo>
                      <a:cubicBezTo>
                        <a:pt x="100585" y="234570"/>
                        <a:pt x="98208" y="233177"/>
                        <a:pt x="94589" y="235390"/>
                      </a:cubicBezTo>
                      <a:cubicBezTo>
                        <a:pt x="91661" y="237158"/>
                        <a:pt x="91602" y="238775"/>
                        <a:pt x="88593" y="239969"/>
                      </a:cubicBezTo>
                      <a:cubicBezTo>
                        <a:pt x="88323" y="240075"/>
                        <a:pt x="83440" y="240813"/>
                        <a:pt x="82491" y="240684"/>
                      </a:cubicBezTo>
                      <a:cubicBezTo>
                        <a:pt x="76178" y="239817"/>
                        <a:pt x="77361" y="239220"/>
                        <a:pt x="73860" y="234558"/>
                      </a:cubicBezTo>
                      <a:cubicBezTo>
                        <a:pt x="69936" y="229335"/>
                        <a:pt x="67699" y="227988"/>
                        <a:pt x="60637" y="229077"/>
                      </a:cubicBezTo>
                      <a:cubicBezTo>
                        <a:pt x="54559" y="230014"/>
                        <a:pt x="50085" y="236667"/>
                        <a:pt x="50144" y="226958"/>
                      </a:cubicBezTo>
                      <a:cubicBezTo>
                        <a:pt x="47778" y="233949"/>
                        <a:pt x="31405" y="230541"/>
                        <a:pt x="25596" y="230073"/>
                      </a:cubicBezTo>
                      <a:cubicBezTo>
                        <a:pt x="21134" y="229710"/>
                        <a:pt x="4223" y="234465"/>
                        <a:pt x="2794" y="232579"/>
                      </a:cubicBezTo>
                      <a:cubicBezTo>
                        <a:pt x="3204" y="233130"/>
                        <a:pt x="135" y="220950"/>
                        <a:pt x="89" y="220446"/>
                      </a:cubicBezTo>
                      <a:cubicBezTo>
                        <a:pt x="-192" y="217589"/>
                        <a:pt x="-5" y="205853"/>
                        <a:pt x="3696" y="204893"/>
                      </a:cubicBezTo>
                      <a:cubicBezTo>
                        <a:pt x="6354" y="204202"/>
                        <a:pt x="5979" y="208805"/>
                        <a:pt x="8029" y="208934"/>
                      </a:cubicBezTo>
                      <a:cubicBezTo>
                        <a:pt x="13674" y="209297"/>
                        <a:pt x="11203" y="208418"/>
                        <a:pt x="12444" y="205537"/>
                      </a:cubicBezTo>
                      <a:cubicBezTo>
                        <a:pt x="13697" y="202609"/>
                        <a:pt x="11999" y="199436"/>
                        <a:pt x="14541" y="195887"/>
                      </a:cubicBezTo>
                      <a:cubicBezTo>
                        <a:pt x="20045" y="200876"/>
                        <a:pt x="31487" y="190113"/>
                        <a:pt x="38116" y="190558"/>
                      </a:cubicBezTo>
                      <a:cubicBezTo>
                        <a:pt x="42367" y="190839"/>
                        <a:pt x="49488" y="194845"/>
                        <a:pt x="53809" y="196309"/>
                      </a:cubicBezTo>
                      <a:cubicBezTo>
                        <a:pt x="55308" y="196812"/>
                        <a:pt x="66833" y="200899"/>
                        <a:pt x="67114" y="201508"/>
                      </a:cubicBezTo>
                      <a:cubicBezTo>
                        <a:pt x="68449" y="204425"/>
                        <a:pt x="59361" y="208219"/>
                        <a:pt x="65029" y="209133"/>
                      </a:cubicBezTo>
                      <a:cubicBezTo>
                        <a:pt x="66083" y="209309"/>
                        <a:pt x="71201" y="204753"/>
                        <a:pt x="72536" y="203417"/>
                      </a:cubicBezTo>
                      <a:cubicBezTo>
                        <a:pt x="73754" y="202188"/>
                        <a:pt x="72735" y="199072"/>
                        <a:pt x="74094" y="197456"/>
                      </a:cubicBezTo>
                      <a:cubicBezTo>
                        <a:pt x="74129" y="197421"/>
                        <a:pt x="80594" y="193791"/>
                        <a:pt x="81027" y="193650"/>
                      </a:cubicBezTo>
                      <a:cubicBezTo>
                        <a:pt x="84576" y="192491"/>
                        <a:pt x="87234" y="192303"/>
                        <a:pt x="90794" y="190394"/>
                      </a:cubicBezTo>
                      <a:cubicBezTo>
                        <a:pt x="90982" y="190289"/>
                        <a:pt x="92867" y="187935"/>
                        <a:pt x="96217" y="186893"/>
                      </a:cubicBezTo>
                      <a:cubicBezTo>
                        <a:pt x="96369" y="186846"/>
                        <a:pt x="103747" y="185241"/>
                        <a:pt x="103443" y="185265"/>
                      </a:cubicBezTo>
                      <a:cubicBezTo>
                        <a:pt x="107706" y="184820"/>
                        <a:pt x="122673" y="195137"/>
                        <a:pt x="124652" y="187642"/>
                      </a:cubicBezTo>
                      <a:cubicBezTo>
                        <a:pt x="129442" y="194166"/>
                        <a:pt x="124875" y="194763"/>
                        <a:pt x="132909" y="191671"/>
                      </a:cubicBezTo>
                      <a:cubicBezTo>
                        <a:pt x="133834" y="191319"/>
                        <a:pt x="134151" y="188767"/>
                        <a:pt x="135497" y="188251"/>
                      </a:cubicBezTo>
                      <a:cubicBezTo>
                        <a:pt x="136692" y="187794"/>
                        <a:pt x="138554" y="189012"/>
                        <a:pt x="139467" y="188602"/>
                      </a:cubicBezTo>
                      <a:cubicBezTo>
                        <a:pt x="141142" y="187864"/>
                        <a:pt x="143848" y="188731"/>
                        <a:pt x="145358" y="188146"/>
                      </a:cubicBezTo>
                      <a:cubicBezTo>
                        <a:pt x="137242" y="184714"/>
                        <a:pt x="152128" y="173998"/>
                        <a:pt x="157796" y="175708"/>
                      </a:cubicBezTo>
                      <a:cubicBezTo>
                        <a:pt x="157117" y="175989"/>
                        <a:pt x="155782" y="177020"/>
                        <a:pt x="155079" y="177371"/>
                      </a:cubicBezTo>
                      <a:cubicBezTo>
                        <a:pt x="158440" y="177348"/>
                        <a:pt x="162926" y="181353"/>
                        <a:pt x="165397" y="178613"/>
                      </a:cubicBezTo>
                      <a:cubicBezTo>
                        <a:pt x="168957" y="174654"/>
                        <a:pt x="163277" y="174478"/>
                        <a:pt x="162996" y="172019"/>
                      </a:cubicBezTo>
                      <a:cubicBezTo>
                        <a:pt x="161673" y="160179"/>
                        <a:pt x="169285" y="172804"/>
                        <a:pt x="176652" y="172124"/>
                      </a:cubicBezTo>
                      <a:cubicBezTo>
                        <a:pt x="174731" y="172311"/>
                        <a:pt x="184264" y="166842"/>
                        <a:pt x="183069" y="168131"/>
                      </a:cubicBezTo>
                      <a:cubicBezTo>
                        <a:pt x="184908" y="166163"/>
                        <a:pt x="184369" y="163692"/>
                        <a:pt x="186735" y="161584"/>
                      </a:cubicBezTo>
                      <a:cubicBezTo>
                        <a:pt x="188422" y="160096"/>
                        <a:pt x="193985" y="158867"/>
                        <a:pt x="196245" y="157754"/>
                      </a:cubicBezTo>
                      <a:cubicBezTo>
                        <a:pt x="210568" y="150739"/>
                        <a:pt x="196491" y="148971"/>
                        <a:pt x="189429" y="153093"/>
                      </a:cubicBezTo>
                      <a:cubicBezTo>
                        <a:pt x="189733" y="146909"/>
                        <a:pt x="181524" y="151395"/>
                        <a:pt x="177366" y="149662"/>
                      </a:cubicBezTo>
                      <a:cubicBezTo>
                        <a:pt x="173864" y="148198"/>
                        <a:pt x="171171" y="143290"/>
                        <a:pt x="169332" y="141850"/>
                      </a:cubicBezTo>
                      <a:cubicBezTo>
                        <a:pt x="169613" y="142073"/>
                        <a:pt x="160841" y="137294"/>
                        <a:pt x="161356" y="137294"/>
                      </a:cubicBezTo>
                      <a:cubicBezTo>
                        <a:pt x="160091" y="137294"/>
                        <a:pt x="155711" y="141546"/>
                        <a:pt x="152643" y="141862"/>
                      </a:cubicBezTo>
                      <a:cubicBezTo>
                        <a:pt x="153767" y="139672"/>
                        <a:pt x="154669" y="133230"/>
                        <a:pt x="152889" y="131345"/>
                      </a:cubicBezTo>
                      <a:cubicBezTo>
                        <a:pt x="149247" y="127503"/>
                        <a:pt x="149914" y="132071"/>
                        <a:pt x="146190" y="131883"/>
                      </a:cubicBezTo>
                      <a:cubicBezTo>
                        <a:pt x="142513" y="131696"/>
                        <a:pt x="138788" y="129518"/>
                        <a:pt x="137067" y="127117"/>
                      </a:cubicBezTo>
                      <a:cubicBezTo>
                        <a:pt x="134303" y="123264"/>
                        <a:pt x="135158" y="117923"/>
                        <a:pt x="130321" y="113497"/>
                      </a:cubicBezTo>
                      <a:cubicBezTo>
                        <a:pt x="129817" y="114094"/>
                        <a:pt x="129969" y="114750"/>
                        <a:pt x="129524" y="115405"/>
                      </a:cubicBezTo>
                      <a:cubicBezTo>
                        <a:pt x="128494" y="115499"/>
                        <a:pt x="129314" y="113801"/>
                        <a:pt x="128201" y="113988"/>
                      </a:cubicBezTo>
                      <a:cubicBezTo>
                        <a:pt x="127592" y="114714"/>
                        <a:pt x="127381" y="115007"/>
                        <a:pt x="126936" y="115359"/>
                      </a:cubicBezTo>
                      <a:cubicBezTo>
                        <a:pt x="129969" y="108659"/>
                        <a:pt x="126093" y="105731"/>
                        <a:pt x="123481" y="112161"/>
                      </a:cubicBezTo>
                      <a:cubicBezTo>
                        <a:pt x="122779" y="113871"/>
                        <a:pt x="125835" y="116448"/>
                        <a:pt x="123294" y="120020"/>
                      </a:cubicBezTo>
                      <a:cubicBezTo>
                        <a:pt x="120460" y="124025"/>
                        <a:pt x="117497" y="124013"/>
                        <a:pt x="113737" y="120219"/>
                      </a:cubicBezTo>
                      <a:cubicBezTo>
                        <a:pt x="113339" y="123685"/>
                        <a:pt x="115564" y="131392"/>
                        <a:pt x="113304" y="134132"/>
                      </a:cubicBezTo>
                      <a:cubicBezTo>
                        <a:pt x="114522" y="132645"/>
                        <a:pt x="104989" y="133980"/>
                        <a:pt x="107003" y="134741"/>
                      </a:cubicBezTo>
                      <a:cubicBezTo>
                        <a:pt x="104415" y="133769"/>
                        <a:pt x="100585" y="126063"/>
                        <a:pt x="101300" y="135093"/>
                      </a:cubicBezTo>
                      <a:cubicBezTo>
                        <a:pt x="96158" y="128452"/>
                        <a:pt x="82678" y="130478"/>
                        <a:pt x="79153" y="125067"/>
                      </a:cubicBezTo>
                      <a:cubicBezTo>
                        <a:pt x="76296" y="120675"/>
                        <a:pt x="81109" y="112841"/>
                        <a:pt x="71775" y="113250"/>
                      </a:cubicBezTo>
                      <a:cubicBezTo>
                        <a:pt x="67805" y="113438"/>
                        <a:pt x="66575" y="116904"/>
                        <a:pt x="62570" y="115956"/>
                      </a:cubicBezTo>
                      <a:cubicBezTo>
                        <a:pt x="62125" y="115850"/>
                        <a:pt x="58916" y="111728"/>
                        <a:pt x="57768" y="111142"/>
                      </a:cubicBezTo>
                      <a:cubicBezTo>
                        <a:pt x="50893" y="107676"/>
                        <a:pt x="42590" y="110229"/>
                        <a:pt x="54067" y="102898"/>
                      </a:cubicBezTo>
                      <a:cubicBezTo>
                        <a:pt x="56913" y="101082"/>
                        <a:pt x="60930" y="99770"/>
                        <a:pt x="63413" y="97487"/>
                      </a:cubicBezTo>
                      <a:cubicBezTo>
                        <a:pt x="66856" y="94313"/>
                        <a:pt x="67699" y="90155"/>
                        <a:pt x="72220" y="87567"/>
                      </a:cubicBezTo>
                      <a:cubicBezTo>
                        <a:pt x="75171" y="85881"/>
                        <a:pt x="79868" y="86408"/>
                        <a:pt x="82222" y="84487"/>
                      </a:cubicBezTo>
                      <a:cubicBezTo>
                        <a:pt x="84318" y="82789"/>
                        <a:pt x="83346" y="79146"/>
                        <a:pt x="85969" y="77097"/>
                      </a:cubicBezTo>
                      <a:cubicBezTo>
                        <a:pt x="90185" y="73794"/>
                        <a:pt x="103291" y="73771"/>
                        <a:pt x="105094" y="67095"/>
                      </a:cubicBezTo>
                      <a:cubicBezTo>
                        <a:pt x="99918" y="65245"/>
                        <a:pt x="95959" y="63102"/>
                        <a:pt x="91474" y="62200"/>
                      </a:cubicBezTo>
                      <a:cubicBezTo>
                        <a:pt x="87363" y="61380"/>
                        <a:pt x="85653" y="65362"/>
                        <a:pt x="85466" y="58757"/>
                      </a:cubicBezTo>
                      <a:cubicBezTo>
                        <a:pt x="85501" y="59717"/>
                        <a:pt x="89190" y="51121"/>
                        <a:pt x="89166" y="51144"/>
                      </a:cubicBezTo>
                      <a:cubicBezTo>
                        <a:pt x="90385" y="49938"/>
                        <a:pt x="94296" y="50477"/>
                        <a:pt x="94074" y="50922"/>
                      </a:cubicBezTo>
                      <a:cubicBezTo>
                        <a:pt x="94366" y="50289"/>
                        <a:pt x="93933" y="45710"/>
                        <a:pt x="93020" y="47022"/>
                      </a:cubicBezTo>
                      <a:cubicBezTo>
                        <a:pt x="93043" y="46975"/>
                        <a:pt x="91813" y="44656"/>
                        <a:pt x="92083" y="44141"/>
                      </a:cubicBezTo>
                      <a:cubicBezTo>
                        <a:pt x="92551" y="43251"/>
                        <a:pt x="94905" y="43344"/>
                        <a:pt x="95175" y="42817"/>
                      </a:cubicBezTo>
                      <a:cubicBezTo>
                        <a:pt x="93839" y="45476"/>
                        <a:pt x="100784" y="38355"/>
                        <a:pt x="99601" y="39445"/>
                      </a:cubicBezTo>
                      <a:cubicBezTo>
                        <a:pt x="101557" y="37617"/>
                        <a:pt x="102928" y="34069"/>
                        <a:pt x="106183" y="32289"/>
                      </a:cubicBezTo>
                      <a:cubicBezTo>
                        <a:pt x="105609" y="32593"/>
                        <a:pt x="113702" y="29454"/>
                        <a:pt x="112999" y="29513"/>
                      </a:cubicBezTo>
                      <a:cubicBezTo>
                        <a:pt x="118000" y="29162"/>
                        <a:pt x="120507" y="30661"/>
                        <a:pt x="125191" y="30099"/>
                      </a:cubicBezTo>
                      <a:cubicBezTo>
                        <a:pt x="130192" y="29501"/>
                        <a:pt x="133284" y="27065"/>
                        <a:pt x="138589" y="28154"/>
                      </a:cubicBezTo>
                      <a:cubicBezTo>
                        <a:pt x="144152" y="29302"/>
                        <a:pt x="148497" y="30708"/>
                        <a:pt x="153650" y="31422"/>
                      </a:cubicBezTo>
                      <a:cubicBezTo>
                        <a:pt x="160349" y="32359"/>
                        <a:pt x="164425" y="34936"/>
                        <a:pt x="170761" y="36915"/>
                      </a:cubicBezTo>
                      <a:cubicBezTo>
                        <a:pt x="174145" y="37981"/>
                        <a:pt x="178490" y="36552"/>
                        <a:pt x="181910" y="38472"/>
                      </a:cubicBezTo>
                      <a:cubicBezTo>
                        <a:pt x="184346" y="39843"/>
                        <a:pt x="185084" y="42852"/>
                        <a:pt x="187251" y="44047"/>
                      </a:cubicBezTo>
                      <a:cubicBezTo>
                        <a:pt x="194875" y="48263"/>
                        <a:pt x="204584" y="44188"/>
                        <a:pt x="212735" y="48521"/>
                      </a:cubicBezTo>
                      <a:cubicBezTo>
                        <a:pt x="212407" y="48345"/>
                        <a:pt x="218766" y="58839"/>
                        <a:pt x="222572" y="54189"/>
                      </a:cubicBezTo>
                      <a:cubicBezTo>
                        <a:pt x="223638" y="52889"/>
                        <a:pt x="217595" y="44246"/>
                        <a:pt x="217677" y="41260"/>
                      </a:cubicBezTo>
                      <a:cubicBezTo>
                        <a:pt x="217794" y="37278"/>
                        <a:pt x="220956" y="34607"/>
                        <a:pt x="221800" y="30965"/>
                      </a:cubicBezTo>
                      <a:cubicBezTo>
                        <a:pt x="222327" y="28658"/>
                        <a:pt x="221296" y="26269"/>
                        <a:pt x="221788" y="24278"/>
                      </a:cubicBezTo>
                      <a:cubicBezTo>
                        <a:pt x="223217" y="18493"/>
                        <a:pt x="225489" y="15225"/>
                        <a:pt x="230279" y="12227"/>
                      </a:cubicBezTo>
                      <a:cubicBezTo>
                        <a:pt x="233324" y="10318"/>
                        <a:pt x="238699" y="10822"/>
                        <a:pt x="241264" y="9229"/>
                      </a:cubicBezTo>
                      <a:cubicBezTo>
                        <a:pt x="243829" y="7636"/>
                        <a:pt x="243841" y="3806"/>
                        <a:pt x="246616" y="2869"/>
                      </a:cubicBezTo>
                      <a:cubicBezTo>
                        <a:pt x="247846" y="2448"/>
                        <a:pt x="265027" y="8233"/>
                        <a:pt x="257719" y="0"/>
                      </a:cubicBezTo>
                      <a:cubicBezTo>
                        <a:pt x="261537" y="3256"/>
                        <a:pt x="267065" y="4942"/>
                        <a:pt x="271433" y="7074"/>
                      </a:cubicBezTo>
                      <a:cubicBezTo>
                        <a:pt x="276703" y="9650"/>
                        <a:pt x="280287" y="14159"/>
                        <a:pt x="285627" y="16560"/>
                      </a:cubicBezTo>
                      <a:cubicBezTo>
                        <a:pt x="298580" y="22392"/>
                        <a:pt x="311978" y="25754"/>
                        <a:pt x="326044" y="27639"/>
                      </a:cubicBezTo>
                      <a:cubicBezTo>
                        <a:pt x="333317" y="28611"/>
                        <a:pt x="333844" y="28682"/>
                        <a:pt x="339266" y="24782"/>
                      </a:cubicBezTo>
                      <a:cubicBezTo>
                        <a:pt x="342698" y="22334"/>
                        <a:pt x="340109" y="21514"/>
                        <a:pt x="344677" y="20413"/>
                      </a:cubicBezTo>
                      <a:cubicBezTo>
                        <a:pt x="347218" y="19804"/>
                        <a:pt x="351751" y="21057"/>
                        <a:pt x="354386" y="21221"/>
                      </a:cubicBezTo>
                      <a:cubicBezTo>
                        <a:pt x="364844" y="21889"/>
                        <a:pt x="374658" y="24149"/>
                        <a:pt x="383782" y="23072"/>
                      </a:cubicBezTo>
                      <a:cubicBezTo>
                        <a:pt x="393233" y="21971"/>
                        <a:pt x="399089" y="15155"/>
                        <a:pt x="409582" y="18563"/>
                      </a:cubicBezTo>
                      <a:cubicBezTo>
                        <a:pt x="415450" y="20472"/>
                        <a:pt x="417195" y="22299"/>
                        <a:pt x="424245" y="22334"/>
                      </a:cubicBezTo>
                      <a:cubicBezTo>
                        <a:pt x="428203" y="22345"/>
                        <a:pt x="431787" y="23048"/>
                        <a:pt x="435535" y="23329"/>
                      </a:cubicBezTo>
                      <a:cubicBezTo>
                        <a:pt x="445583" y="24091"/>
                        <a:pt x="454613" y="25039"/>
                        <a:pt x="465423" y="25332"/>
                      </a:cubicBezTo>
                      <a:cubicBezTo>
                        <a:pt x="470599" y="25472"/>
                        <a:pt x="474593" y="24067"/>
                        <a:pt x="479465" y="24091"/>
                      </a:cubicBezTo>
                      <a:cubicBezTo>
                        <a:pt x="487136" y="24114"/>
                        <a:pt x="494760" y="29208"/>
                        <a:pt x="502302" y="30591"/>
                      </a:cubicBezTo>
                      <a:cubicBezTo>
                        <a:pt x="505664" y="31211"/>
                        <a:pt x="508709" y="31399"/>
                        <a:pt x="511894" y="31457"/>
                      </a:cubicBezTo>
                      <a:cubicBezTo>
                        <a:pt x="518019" y="31574"/>
                        <a:pt x="514880" y="28986"/>
                        <a:pt x="518441" y="32534"/>
                      </a:cubicBezTo>
                      <a:cubicBezTo>
                        <a:pt x="518968" y="33062"/>
                        <a:pt x="519144" y="36997"/>
                        <a:pt x="519975" y="38227"/>
                      </a:cubicBezTo>
                      <a:cubicBezTo>
                        <a:pt x="521615" y="40627"/>
                        <a:pt x="526077" y="42525"/>
                        <a:pt x="528232" y="44539"/>
                      </a:cubicBezTo>
                      <a:cubicBezTo>
                        <a:pt x="532940" y="48907"/>
                        <a:pt x="530750" y="50465"/>
                        <a:pt x="538374" y="51238"/>
                      </a:cubicBezTo>
                      <a:cubicBezTo>
                        <a:pt x="543925" y="51800"/>
                        <a:pt x="548329" y="50137"/>
                        <a:pt x="554079" y="52280"/>
                      </a:cubicBezTo>
                      <a:cubicBezTo>
                        <a:pt x="562160" y="55325"/>
                        <a:pt x="564982" y="63828"/>
                        <a:pt x="572290" y="67587"/>
                      </a:cubicBezTo>
                      <a:lnTo>
                        <a:pt x="572290" y="67587"/>
                      </a:lnTo>
                      <a:close/>
                    </a:path>
                  </a:pathLst>
                </a:custGeom>
                <a:solidFill>
                  <a:srgbClr val="D6D6D2"/>
                </a:solidFill>
                <a:ln w="8774" cap="rnd">
                  <a:solidFill>
                    <a:srgbClr val="FFFFFF"/>
                  </a:solidFill>
                  <a:prstDash val="solid"/>
                  <a:round/>
                </a:ln>
              </p:spPr>
              <p:txBody>
                <a:bodyPr rtlCol="0" anchor="ctr"/>
                <a:lstStyle/>
                <a:p>
                  <a:endParaRPr lang="en-US"/>
                </a:p>
              </p:txBody>
            </p:sp>
            <p:sp>
              <p:nvSpPr>
                <p:cNvPr id="124" name="Freeform: Shape 123">
                  <a:extLst>
                    <a:ext uri="{FF2B5EF4-FFF2-40B4-BE49-F238E27FC236}">
                      <a16:creationId xmlns:a16="http://schemas.microsoft.com/office/drawing/2014/main" id="{6BBD903A-FA04-465C-9093-630A2E32A655}"/>
                    </a:ext>
                  </a:extLst>
                </p:cNvPr>
                <p:cNvSpPr/>
                <p:nvPr/>
              </p:nvSpPr>
              <p:spPr>
                <a:xfrm>
                  <a:off x="936" y="2848203"/>
                  <a:ext cx="1673273" cy="991888"/>
                </a:xfrm>
                <a:custGeom>
                  <a:avLst/>
                  <a:gdLst>
                    <a:gd name="connsiteX0" fmla="*/ 207810 w 1673273"/>
                    <a:gd name="connsiteY0" fmla="*/ 668416 h 991888"/>
                    <a:gd name="connsiteX1" fmla="*/ 216102 w 1673273"/>
                    <a:gd name="connsiteY1" fmla="*/ 682282 h 991888"/>
                    <a:gd name="connsiteX2" fmla="*/ 218936 w 1673273"/>
                    <a:gd name="connsiteY2" fmla="*/ 704405 h 991888"/>
                    <a:gd name="connsiteX3" fmla="*/ 182349 w 1673273"/>
                    <a:gd name="connsiteY3" fmla="*/ 682856 h 991888"/>
                    <a:gd name="connsiteX4" fmla="*/ 193639 w 1673273"/>
                    <a:gd name="connsiteY4" fmla="*/ 671929 h 991888"/>
                    <a:gd name="connsiteX5" fmla="*/ 197328 w 1673273"/>
                    <a:gd name="connsiteY5" fmla="*/ 662619 h 991888"/>
                    <a:gd name="connsiteX6" fmla="*/ 199015 w 1673273"/>
                    <a:gd name="connsiteY6" fmla="*/ 668744 h 991888"/>
                    <a:gd name="connsiteX7" fmla="*/ 200959 w 1673273"/>
                    <a:gd name="connsiteY7" fmla="*/ 660686 h 991888"/>
                    <a:gd name="connsiteX8" fmla="*/ 207810 w 1673273"/>
                    <a:gd name="connsiteY8" fmla="*/ 668416 h 991888"/>
                    <a:gd name="connsiteX9" fmla="*/ 207810 w 1673273"/>
                    <a:gd name="connsiteY9" fmla="*/ 668416 h 991888"/>
                    <a:gd name="connsiteX10" fmla="*/ 446 w 1673273"/>
                    <a:gd name="connsiteY10" fmla="*/ 334766 h 991888"/>
                    <a:gd name="connsiteX11" fmla="*/ 10881 w 1673273"/>
                    <a:gd name="connsiteY11" fmla="*/ 337202 h 991888"/>
                    <a:gd name="connsiteX12" fmla="*/ 17732 w 1673273"/>
                    <a:gd name="connsiteY12" fmla="*/ 342753 h 991888"/>
                    <a:gd name="connsiteX13" fmla="*/ 30123 w 1673273"/>
                    <a:gd name="connsiteY13" fmla="*/ 340739 h 991888"/>
                    <a:gd name="connsiteX14" fmla="*/ 45172 w 1673273"/>
                    <a:gd name="connsiteY14" fmla="*/ 328407 h 991888"/>
                    <a:gd name="connsiteX15" fmla="*/ 47561 w 1673273"/>
                    <a:gd name="connsiteY15" fmla="*/ 320291 h 991888"/>
                    <a:gd name="connsiteX16" fmla="*/ 53979 w 1673273"/>
                    <a:gd name="connsiteY16" fmla="*/ 321965 h 991888"/>
                    <a:gd name="connsiteX17" fmla="*/ 60327 w 1673273"/>
                    <a:gd name="connsiteY17" fmla="*/ 316449 h 991888"/>
                    <a:gd name="connsiteX18" fmla="*/ 63864 w 1673273"/>
                    <a:gd name="connsiteY18" fmla="*/ 309048 h 991888"/>
                    <a:gd name="connsiteX19" fmla="*/ 76220 w 1673273"/>
                    <a:gd name="connsiteY19" fmla="*/ 315840 h 991888"/>
                    <a:gd name="connsiteX20" fmla="*/ 81759 w 1673273"/>
                    <a:gd name="connsiteY20" fmla="*/ 309879 h 991888"/>
                    <a:gd name="connsiteX21" fmla="*/ 98682 w 1673273"/>
                    <a:gd name="connsiteY21" fmla="*/ 307221 h 991888"/>
                    <a:gd name="connsiteX22" fmla="*/ 117128 w 1673273"/>
                    <a:gd name="connsiteY22" fmla="*/ 322973 h 991888"/>
                    <a:gd name="connsiteX23" fmla="*/ 120466 w 1673273"/>
                    <a:gd name="connsiteY23" fmla="*/ 319389 h 991888"/>
                    <a:gd name="connsiteX24" fmla="*/ 129940 w 1673273"/>
                    <a:gd name="connsiteY24" fmla="*/ 318054 h 991888"/>
                    <a:gd name="connsiteX25" fmla="*/ 137623 w 1673273"/>
                    <a:gd name="connsiteY25" fmla="*/ 306682 h 991888"/>
                    <a:gd name="connsiteX26" fmla="*/ 148644 w 1673273"/>
                    <a:gd name="connsiteY26" fmla="*/ 308743 h 991888"/>
                    <a:gd name="connsiteX27" fmla="*/ 153750 w 1673273"/>
                    <a:gd name="connsiteY27" fmla="*/ 308989 h 991888"/>
                    <a:gd name="connsiteX28" fmla="*/ 157017 w 1673273"/>
                    <a:gd name="connsiteY28" fmla="*/ 304679 h 991888"/>
                    <a:gd name="connsiteX29" fmla="*/ 162733 w 1673273"/>
                    <a:gd name="connsiteY29" fmla="*/ 306319 h 991888"/>
                    <a:gd name="connsiteX30" fmla="*/ 164126 w 1673273"/>
                    <a:gd name="connsiteY30" fmla="*/ 309294 h 991888"/>
                    <a:gd name="connsiteX31" fmla="*/ 171903 w 1673273"/>
                    <a:gd name="connsiteY31" fmla="*/ 309996 h 991888"/>
                    <a:gd name="connsiteX32" fmla="*/ 172594 w 1673273"/>
                    <a:gd name="connsiteY32" fmla="*/ 321802 h 991888"/>
                    <a:gd name="connsiteX33" fmla="*/ 177220 w 1673273"/>
                    <a:gd name="connsiteY33" fmla="*/ 326556 h 991888"/>
                    <a:gd name="connsiteX34" fmla="*/ 182244 w 1673273"/>
                    <a:gd name="connsiteY34" fmla="*/ 327950 h 991888"/>
                    <a:gd name="connsiteX35" fmla="*/ 201896 w 1673273"/>
                    <a:gd name="connsiteY35" fmla="*/ 336699 h 991888"/>
                    <a:gd name="connsiteX36" fmla="*/ 208501 w 1673273"/>
                    <a:gd name="connsiteY36" fmla="*/ 339017 h 991888"/>
                    <a:gd name="connsiteX37" fmla="*/ 218690 w 1673273"/>
                    <a:gd name="connsiteY37" fmla="*/ 339193 h 991888"/>
                    <a:gd name="connsiteX38" fmla="*/ 219756 w 1673273"/>
                    <a:gd name="connsiteY38" fmla="*/ 347180 h 991888"/>
                    <a:gd name="connsiteX39" fmla="*/ 237827 w 1673273"/>
                    <a:gd name="connsiteY39" fmla="*/ 344381 h 991888"/>
                    <a:gd name="connsiteX40" fmla="*/ 244046 w 1673273"/>
                    <a:gd name="connsiteY40" fmla="*/ 329578 h 991888"/>
                    <a:gd name="connsiteX41" fmla="*/ 253696 w 1673273"/>
                    <a:gd name="connsiteY41" fmla="*/ 324120 h 991888"/>
                    <a:gd name="connsiteX42" fmla="*/ 258826 w 1673273"/>
                    <a:gd name="connsiteY42" fmla="*/ 333115 h 991888"/>
                    <a:gd name="connsiteX43" fmla="*/ 291501 w 1673273"/>
                    <a:gd name="connsiteY43" fmla="*/ 336792 h 991888"/>
                    <a:gd name="connsiteX44" fmla="*/ 323157 w 1673273"/>
                    <a:gd name="connsiteY44" fmla="*/ 322411 h 991888"/>
                    <a:gd name="connsiteX45" fmla="*/ 334740 w 1673273"/>
                    <a:gd name="connsiteY45" fmla="*/ 296001 h 991888"/>
                    <a:gd name="connsiteX46" fmla="*/ 323883 w 1673273"/>
                    <a:gd name="connsiteY46" fmla="*/ 284196 h 991888"/>
                    <a:gd name="connsiteX47" fmla="*/ 312898 w 1673273"/>
                    <a:gd name="connsiteY47" fmla="*/ 281432 h 991888"/>
                    <a:gd name="connsiteX48" fmla="*/ 296830 w 1673273"/>
                    <a:gd name="connsiteY48" fmla="*/ 271559 h 991888"/>
                    <a:gd name="connsiteX49" fmla="*/ 272493 w 1673273"/>
                    <a:gd name="connsiteY49" fmla="*/ 268678 h 991888"/>
                    <a:gd name="connsiteX50" fmla="*/ 271462 w 1673273"/>
                    <a:gd name="connsiteY50" fmla="*/ 261042 h 991888"/>
                    <a:gd name="connsiteX51" fmla="*/ 248110 w 1673273"/>
                    <a:gd name="connsiteY51" fmla="*/ 245009 h 991888"/>
                    <a:gd name="connsiteX52" fmla="*/ 265290 w 1673273"/>
                    <a:gd name="connsiteY52" fmla="*/ 238942 h 991888"/>
                    <a:gd name="connsiteX53" fmla="*/ 279473 w 1673273"/>
                    <a:gd name="connsiteY53" fmla="*/ 234387 h 991888"/>
                    <a:gd name="connsiteX54" fmla="*/ 302182 w 1673273"/>
                    <a:gd name="connsiteY54" fmla="*/ 221071 h 991888"/>
                    <a:gd name="connsiteX55" fmla="*/ 297696 w 1673273"/>
                    <a:gd name="connsiteY55" fmla="*/ 213681 h 991888"/>
                    <a:gd name="connsiteX56" fmla="*/ 292567 w 1673273"/>
                    <a:gd name="connsiteY56" fmla="*/ 208926 h 991888"/>
                    <a:gd name="connsiteX57" fmla="*/ 290412 w 1673273"/>
                    <a:gd name="connsiteY57" fmla="*/ 202777 h 991888"/>
                    <a:gd name="connsiteX58" fmla="*/ 286195 w 1673273"/>
                    <a:gd name="connsiteY58" fmla="*/ 200658 h 991888"/>
                    <a:gd name="connsiteX59" fmla="*/ 287753 w 1673273"/>
                    <a:gd name="connsiteY59" fmla="*/ 191616 h 991888"/>
                    <a:gd name="connsiteX60" fmla="*/ 303154 w 1673273"/>
                    <a:gd name="connsiteY60" fmla="*/ 179787 h 991888"/>
                    <a:gd name="connsiteX61" fmla="*/ 298785 w 1673273"/>
                    <a:gd name="connsiteY61" fmla="*/ 176333 h 991888"/>
                    <a:gd name="connsiteX62" fmla="*/ 308283 w 1673273"/>
                    <a:gd name="connsiteY62" fmla="*/ 173627 h 991888"/>
                    <a:gd name="connsiteX63" fmla="*/ 318355 w 1673273"/>
                    <a:gd name="connsiteY63" fmla="*/ 175372 h 991888"/>
                    <a:gd name="connsiteX64" fmla="*/ 323497 w 1673273"/>
                    <a:gd name="connsiteY64" fmla="*/ 172796 h 991888"/>
                    <a:gd name="connsiteX65" fmla="*/ 330055 w 1673273"/>
                    <a:gd name="connsiteY65" fmla="*/ 177410 h 991888"/>
                    <a:gd name="connsiteX66" fmla="*/ 342903 w 1673273"/>
                    <a:gd name="connsiteY66" fmla="*/ 175841 h 991888"/>
                    <a:gd name="connsiteX67" fmla="*/ 357167 w 1673273"/>
                    <a:gd name="connsiteY67" fmla="*/ 174845 h 991888"/>
                    <a:gd name="connsiteX68" fmla="*/ 354099 w 1673273"/>
                    <a:gd name="connsiteY68" fmla="*/ 165335 h 991888"/>
                    <a:gd name="connsiteX69" fmla="*/ 341814 w 1673273"/>
                    <a:gd name="connsiteY69" fmla="*/ 162970 h 991888"/>
                    <a:gd name="connsiteX70" fmla="*/ 334189 w 1673273"/>
                    <a:gd name="connsiteY70" fmla="*/ 157231 h 991888"/>
                    <a:gd name="connsiteX71" fmla="*/ 327771 w 1673273"/>
                    <a:gd name="connsiteY71" fmla="*/ 159433 h 991888"/>
                    <a:gd name="connsiteX72" fmla="*/ 319023 w 1673273"/>
                    <a:gd name="connsiteY72" fmla="*/ 155474 h 991888"/>
                    <a:gd name="connsiteX73" fmla="*/ 307065 w 1673273"/>
                    <a:gd name="connsiteY73" fmla="*/ 149654 h 991888"/>
                    <a:gd name="connsiteX74" fmla="*/ 312371 w 1673273"/>
                    <a:gd name="connsiteY74" fmla="*/ 138680 h 991888"/>
                    <a:gd name="connsiteX75" fmla="*/ 320018 w 1673273"/>
                    <a:gd name="connsiteY75" fmla="*/ 143435 h 991888"/>
                    <a:gd name="connsiteX76" fmla="*/ 328064 w 1673273"/>
                    <a:gd name="connsiteY76" fmla="*/ 135014 h 991888"/>
                    <a:gd name="connsiteX77" fmla="*/ 315685 w 1673273"/>
                    <a:gd name="connsiteY77" fmla="*/ 135752 h 991888"/>
                    <a:gd name="connsiteX78" fmla="*/ 303821 w 1673273"/>
                    <a:gd name="connsiteY78" fmla="*/ 131489 h 991888"/>
                    <a:gd name="connsiteX79" fmla="*/ 294534 w 1673273"/>
                    <a:gd name="connsiteY79" fmla="*/ 130119 h 991888"/>
                    <a:gd name="connsiteX80" fmla="*/ 299090 w 1673273"/>
                    <a:gd name="connsiteY80" fmla="*/ 128831 h 991888"/>
                    <a:gd name="connsiteX81" fmla="*/ 306738 w 1673273"/>
                    <a:gd name="connsiteY81" fmla="*/ 121300 h 991888"/>
                    <a:gd name="connsiteX82" fmla="*/ 306784 w 1673273"/>
                    <a:gd name="connsiteY82" fmla="*/ 114144 h 991888"/>
                    <a:gd name="connsiteX83" fmla="*/ 299383 w 1673273"/>
                    <a:gd name="connsiteY83" fmla="*/ 107949 h 991888"/>
                    <a:gd name="connsiteX84" fmla="*/ 310192 w 1673273"/>
                    <a:gd name="connsiteY84" fmla="*/ 101906 h 991888"/>
                    <a:gd name="connsiteX85" fmla="*/ 321881 w 1673273"/>
                    <a:gd name="connsiteY85" fmla="*/ 99212 h 991888"/>
                    <a:gd name="connsiteX86" fmla="*/ 328931 w 1673273"/>
                    <a:gd name="connsiteY86" fmla="*/ 103756 h 991888"/>
                    <a:gd name="connsiteX87" fmla="*/ 332105 w 1673273"/>
                    <a:gd name="connsiteY87" fmla="*/ 105583 h 991888"/>
                    <a:gd name="connsiteX88" fmla="*/ 341767 w 1673273"/>
                    <a:gd name="connsiteY88" fmla="*/ 103276 h 991888"/>
                    <a:gd name="connsiteX89" fmla="*/ 352448 w 1673273"/>
                    <a:gd name="connsiteY89" fmla="*/ 108078 h 991888"/>
                    <a:gd name="connsiteX90" fmla="*/ 375519 w 1673273"/>
                    <a:gd name="connsiteY90" fmla="*/ 102175 h 991888"/>
                    <a:gd name="connsiteX91" fmla="*/ 373083 w 1673273"/>
                    <a:gd name="connsiteY91" fmla="*/ 108008 h 991888"/>
                    <a:gd name="connsiteX92" fmla="*/ 379653 w 1673273"/>
                    <a:gd name="connsiteY92" fmla="*/ 112399 h 991888"/>
                    <a:gd name="connsiteX93" fmla="*/ 383834 w 1673273"/>
                    <a:gd name="connsiteY93" fmla="*/ 98755 h 991888"/>
                    <a:gd name="connsiteX94" fmla="*/ 407492 w 1673273"/>
                    <a:gd name="connsiteY94" fmla="*/ 96975 h 991888"/>
                    <a:gd name="connsiteX95" fmla="*/ 410408 w 1673273"/>
                    <a:gd name="connsiteY95" fmla="*/ 92911 h 991888"/>
                    <a:gd name="connsiteX96" fmla="*/ 420047 w 1673273"/>
                    <a:gd name="connsiteY96" fmla="*/ 91248 h 991888"/>
                    <a:gd name="connsiteX97" fmla="*/ 442322 w 1673273"/>
                    <a:gd name="connsiteY97" fmla="*/ 85358 h 991888"/>
                    <a:gd name="connsiteX98" fmla="*/ 457441 w 1673273"/>
                    <a:gd name="connsiteY98" fmla="*/ 85873 h 991888"/>
                    <a:gd name="connsiteX99" fmla="*/ 456598 w 1673273"/>
                    <a:gd name="connsiteY99" fmla="*/ 80439 h 991888"/>
                    <a:gd name="connsiteX100" fmla="*/ 461494 w 1673273"/>
                    <a:gd name="connsiteY100" fmla="*/ 79994 h 991888"/>
                    <a:gd name="connsiteX101" fmla="*/ 476566 w 1673273"/>
                    <a:gd name="connsiteY101" fmla="*/ 78249 h 991888"/>
                    <a:gd name="connsiteX102" fmla="*/ 482668 w 1673273"/>
                    <a:gd name="connsiteY102" fmla="*/ 76949 h 991888"/>
                    <a:gd name="connsiteX103" fmla="*/ 486217 w 1673273"/>
                    <a:gd name="connsiteY103" fmla="*/ 75859 h 991888"/>
                    <a:gd name="connsiteX104" fmla="*/ 491873 w 1673273"/>
                    <a:gd name="connsiteY104" fmla="*/ 78951 h 991888"/>
                    <a:gd name="connsiteX105" fmla="*/ 504077 w 1673273"/>
                    <a:gd name="connsiteY105" fmla="*/ 74360 h 991888"/>
                    <a:gd name="connsiteX106" fmla="*/ 515074 w 1673273"/>
                    <a:gd name="connsiteY106" fmla="*/ 81165 h 991888"/>
                    <a:gd name="connsiteX107" fmla="*/ 519056 w 1673273"/>
                    <a:gd name="connsiteY107" fmla="*/ 66631 h 991888"/>
                    <a:gd name="connsiteX108" fmla="*/ 528050 w 1673273"/>
                    <a:gd name="connsiteY108" fmla="*/ 62860 h 991888"/>
                    <a:gd name="connsiteX109" fmla="*/ 532161 w 1673273"/>
                    <a:gd name="connsiteY109" fmla="*/ 63281 h 991888"/>
                    <a:gd name="connsiteX110" fmla="*/ 532243 w 1673273"/>
                    <a:gd name="connsiteY110" fmla="*/ 58152 h 991888"/>
                    <a:gd name="connsiteX111" fmla="*/ 545981 w 1673273"/>
                    <a:gd name="connsiteY111" fmla="*/ 60342 h 991888"/>
                    <a:gd name="connsiteX112" fmla="*/ 552715 w 1673273"/>
                    <a:gd name="connsiteY112" fmla="*/ 54427 h 991888"/>
                    <a:gd name="connsiteX113" fmla="*/ 559297 w 1673273"/>
                    <a:gd name="connsiteY113" fmla="*/ 58714 h 991888"/>
                    <a:gd name="connsiteX114" fmla="*/ 576641 w 1673273"/>
                    <a:gd name="connsiteY114" fmla="*/ 54357 h 991888"/>
                    <a:gd name="connsiteX115" fmla="*/ 593155 w 1673273"/>
                    <a:gd name="connsiteY115" fmla="*/ 51898 h 991888"/>
                    <a:gd name="connsiteX116" fmla="*/ 601692 w 1673273"/>
                    <a:gd name="connsiteY116" fmla="*/ 48724 h 991888"/>
                    <a:gd name="connsiteX117" fmla="*/ 617398 w 1673273"/>
                    <a:gd name="connsiteY117" fmla="*/ 46440 h 991888"/>
                    <a:gd name="connsiteX118" fmla="*/ 624214 w 1673273"/>
                    <a:gd name="connsiteY118" fmla="*/ 45901 h 991888"/>
                    <a:gd name="connsiteX119" fmla="*/ 627270 w 1673273"/>
                    <a:gd name="connsiteY119" fmla="*/ 42435 h 991888"/>
                    <a:gd name="connsiteX120" fmla="*/ 642273 w 1673273"/>
                    <a:gd name="connsiteY120" fmla="*/ 41720 h 991888"/>
                    <a:gd name="connsiteX121" fmla="*/ 655729 w 1673273"/>
                    <a:gd name="connsiteY121" fmla="*/ 34682 h 991888"/>
                    <a:gd name="connsiteX122" fmla="*/ 676927 w 1673273"/>
                    <a:gd name="connsiteY122" fmla="*/ 30173 h 991888"/>
                    <a:gd name="connsiteX123" fmla="*/ 674491 w 1673273"/>
                    <a:gd name="connsiteY123" fmla="*/ 18824 h 991888"/>
                    <a:gd name="connsiteX124" fmla="*/ 700713 w 1673273"/>
                    <a:gd name="connsiteY124" fmla="*/ 10790 h 991888"/>
                    <a:gd name="connsiteX125" fmla="*/ 708455 w 1673273"/>
                    <a:gd name="connsiteY125" fmla="*/ 6363 h 991888"/>
                    <a:gd name="connsiteX126" fmla="*/ 716372 w 1673273"/>
                    <a:gd name="connsiteY126" fmla="*/ 7394 h 991888"/>
                    <a:gd name="connsiteX127" fmla="*/ 719100 w 1673273"/>
                    <a:gd name="connsiteY127" fmla="*/ 953 h 991888"/>
                    <a:gd name="connsiteX128" fmla="*/ 726537 w 1673273"/>
                    <a:gd name="connsiteY128" fmla="*/ 6750 h 991888"/>
                    <a:gd name="connsiteX129" fmla="*/ 734864 w 1673273"/>
                    <a:gd name="connsiteY129" fmla="*/ 3201 h 991888"/>
                    <a:gd name="connsiteX130" fmla="*/ 761262 w 1673273"/>
                    <a:gd name="connsiteY130" fmla="*/ 11727 h 991888"/>
                    <a:gd name="connsiteX131" fmla="*/ 781640 w 1673273"/>
                    <a:gd name="connsiteY131" fmla="*/ 20944 h 991888"/>
                    <a:gd name="connsiteX132" fmla="*/ 794007 w 1673273"/>
                    <a:gd name="connsiteY132" fmla="*/ 10462 h 991888"/>
                    <a:gd name="connsiteX133" fmla="*/ 801702 w 1673273"/>
                    <a:gd name="connsiteY133" fmla="*/ 10392 h 991888"/>
                    <a:gd name="connsiteX134" fmla="*/ 812348 w 1673273"/>
                    <a:gd name="connsiteY134" fmla="*/ 9830 h 991888"/>
                    <a:gd name="connsiteX135" fmla="*/ 819644 w 1673273"/>
                    <a:gd name="connsiteY135" fmla="*/ 23544 h 991888"/>
                    <a:gd name="connsiteX136" fmla="*/ 820382 w 1673273"/>
                    <a:gd name="connsiteY136" fmla="*/ 35045 h 991888"/>
                    <a:gd name="connsiteX137" fmla="*/ 822068 w 1673273"/>
                    <a:gd name="connsiteY137" fmla="*/ 47553 h 991888"/>
                    <a:gd name="connsiteX138" fmla="*/ 835220 w 1673273"/>
                    <a:gd name="connsiteY138" fmla="*/ 54931 h 991888"/>
                    <a:gd name="connsiteX139" fmla="*/ 833733 w 1673273"/>
                    <a:gd name="connsiteY139" fmla="*/ 58866 h 991888"/>
                    <a:gd name="connsiteX140" fmla="*/ 829341 w 1673273"/>
                    <a:gd name="connsiteY140" fmla="*/ 66549 h 991888"/>
                    <a:gd name="connsiteX141" fmla="*/ 832011 w 1673273"/>
                    <a:gd name="connsiteY141" fmla="*/ 75754 h 991888"/>
                    <a:gd name="connsiteX142" fmla="*/ 821283 w 1673273"/>
                    <a:gd name="connsiteY142" fmla="*/ 79631 h 991888"/>
                    <a:gd name="connsiteX143" fmla="*/ 823743 w 1673273"/>
                    <a:gd name="connsiteY143" fmla="*/ 84034 h 991888"/>
                    <a:gd name="connsiteX144" fmla="*/ 824235 w 1673273"/>
                    <a:gd name="connsiteY144" fmla="*/ 89398 h 991888"/>
                    <a:gd name="connsiteX145" fmla="*/ 829458 w 1673273"/>
                    <a:gd name="connsiteY145" fmla="*/ 95301 h 991888"/>
                    <a:gd name="connsiteX146" fmla="*/ 835232 w 1673273"/>
                    <a:gd name="connsiteY146" fmla="*/ 92525 h 991888"/>
                    <a:gd name="connsiteX147" fmla="*/ 841638 w 1673273"/>
                    <a:gd name="connsiteY147" fmla="*/ 89691 h 991888"/>
                    <a:gd name="connsiteX148" fmla="*/ 846627 w 1673273"/>
                    <a:gd name="connsiteY148" fmla="*/ 95359 h 991888"/>
                    <a:gd name="connsiteX149" fmla="*/ 856348 w 1673273"/>
                    <a:gd name="connsiteY149" fmla="*/ 95066 h 991888"/>
                    <a:gd name="connsiteX150" fmla="*/ 859978 w 1673273"/>
                    <a:gd name="connsiteY150" fmla="*/ 86330 h 991888"/>
                    <a:gd name="connsiteX151" fmla="*/ 883507 w 1673273"/>
                    <a:gd name="connsiteY151" fmla="*/ 92911 h 991888"/>
                    <a:gd name="connsiteX152" fmla="*/ 877885 w 1673273"/>
                    <a:gd name="connsiteY152" fmla="*/ 87606 h 991888"/>
                    <a:gd name="connsiteX153" fmla="*/ 878237 w 1673273"/>
                    <a:gd name="connsiteY153" fmla="*/ 83097 h 991888"/>
                    <a:gd name="connsiteX154" fmla="*/ 876773 w 1673273"/>
                    <a:gd name="connsiteY154" fmla="*/ 78846 h 991888"/>
                    <a:gd name="connsiteX155" fmla="*/ 876152 w 1673273"/>
                    <a:gd name="connsiteY155" fmla="*/ 76094 h 991888"/>
                    <a:gd name="connsiteX156" fmla="*/ 884502 w 1673273"/>
                    <a:gd name="connsiteY156" fmla="*/ 78459 h 991888"/>
                    <a:gd name="connsiteX157" fmla="*/ 889480 w 1673273"/>
                    <a:gd name="connsiteY157" fmla="*/ 90429 h 991888"/>
                    <a:gd name="connsiteX158" fmla="*/ 898779 w 1673273"/>
                    <a:gd name="connsiteY158" fmla="*/ 94364 h 991888"/>
                    <a:gd name="connsiteX159" fmla="*/ 894937 w 1673273"/>
                    <a:gd name="connsiteY159" fmla="*/ 96800 h 991888"/>
                    <a:gd name="connsiteX160" fmla="*/ 892513 w 1673273"/>
                    <a:gd name="connsiteY160" fmla="*/ 97374 h 991888"/>
                    <a:gd name="connsiteX161" fmla="*/ 894129 w 1673273"/>
                    <a:gd name="connsiteY161" fmla="*/ 100360 h 991888"/>
                    <a:gd name="connsiteX162" fmla="*/ 893754 w 1673273"/>
                    <a:gd name="connsiteY162" fmla="*/ 106708 h 991888"/>
                    <a:gd name="connsiteX163" fmla="*/ 903756 w 1673273"/>
                    <a:gd name="connsiteY163" fmla="*/ 104916 h 991888"/>
                    <a:gd name="connsiteX164" fmla="*/ 909401 w 1673273"/>
                    <a:gd name="connsiteY164" fmla="*/ 102199 h 991888"/>
                    <a:gd name="connsiteX165" fmla="*/ 900477 w 1673273"/>
                    <a:gd name="connsiteY165" fmla="*/ 100102 h 991888"/>
                    <a:gd name="connsiteX166" fmla="*/ 923431 w 1673273"/>
                    <a:gd name="connsiteY166" fmla="*/ 94656 h 991888"/>
                    <a:gd name="connsiteX167" fmla="*/ 927753 w 1673273"/>
                    <a:gd name="connsiteY167" fmla="*/ 101508 h 991888"/>
                    <a:gd name="connsiteX168" fmla="*/ 939137 w 1673273"/>
                    <a:gd name="connsiteY168" fmla="*/ 106555 h 991888"/>
                    <a:gd name="connsiteX169" fmla="*/ 953237 w 1673273"/>
                    <a:gd name="connsiteY169" fmla="*/ 104623 h 991888"/>
                    <a:gd name="connsiteX170" fmla="*/ 956868 w 1673273"/>
                    <a:gd name="connsiteY170" fmla="*/ 98791 h 991888"/>
                    <a:gd name="connsiteX171" fmla="*/ 964715 w 1673273"/>
                    <a:gd name="connsiteY171" fmla="*/ 99072 h 991888"/>
                    <a:gd name="connsiteX172" fmla="*/ 959163 w 1673273"/>
                    <a:gd name="connsiteY172" fmla="*/ 113418 h 991888"/>
                    <a:gd name="connsiteX173" fmla="*/ 946480 w 1673273"/>
                    <a:gd name="connsiteY173" fmla="*/ 115503 h 991888"/>
                    <a:gd name="connsiteX174" fmla="*/ 948916 w 1673273"/>
                    <a:gd name="connsiteY174" fmla="*/ 116920 h 991888"/>
                    <a:gd name="connsiteX175" fmla="*/ 939828 w 1673273"/>
                    <a:gd name="connsiteY175" fmla="*/ 126008 h 991888"/>
                    <a:gd name="connsiteX176" fmla="*/ 938106 w 1673273"/>
                    <a:gd name="connsiteY176" fmla="*/ 133761 h 991888"/>
                    <a:gd name="connsiteX177" fmla="*/ 946491 w 1673273"/>
                    <a:gd name="connsiteY177" fmla="*/ 137462 h 991888"/>
                    <a:gd name="connsiteX178" fmla="*/ 948564 w 1673273"/>
                    <a:gd name="connsiteY178" fmla="*/ 143412 h 991888"/>
                    <a:gd name="connsiteX179" fmla="*/ 954584 w 1673273"/>
                    <a:gd name="connsiteY179" fmla="*/ 138387 h 991888"/>
                    <a:gd name="connsiteX180" fmla="*/ 959796 w 1673273"/>
                    <a:gd name="connsiteY180" fmla="*/ 133012 h 991888"/>
                    <a:gd name="connsiteX181" fmla="*/ 972819 w 1673273"/>
                    <a:gd name="connsiteY181" fmla="*/ 129112 h 991888"/>
                    <a:gd name="connsiteX182" fmla="*/ 980502 w 1673273"/>
                    <a:gd name="connsiteY182" fmla="*/ 129639 h 991888"/>
                    <a:gd name="connsiteX183" fmla="*/ 981884 w 1673273"/>
                    <a:gd name="connsiteY183" fmla="*/ 133960 h 991888"/>
                    <a:gd name="connsiteX184" fmla="*/ 991300 w 1673273"/>
                    <a:gd name="connsiteY184" fmla="*/ 134850 h 991888"/>
                    <a:gd name="connsiteX185" fmla="*/ 999603 w 1673273"/>
                    <a:gd name="connsiteY185" fmla="*/ 140495 h 991888"/>
                    <a:gd name="connsiteX186" fmla="*/ 1001500 w 1673273"/>
                    <a:gd name="connsiteY186" fmla="*/ 126149 h 991888"/>
                    <a:gd name="connsiteX187" fmla="*/ 1011174 w 1673273"/>
                    <a:gd name="connsiteY187" fmla="*/ 124720 h 991888"/>
                    <a:gd name="connsiteX188" fmla="*/ 1015402 w 1673273"/>
                    <a:gd name="connsiteY188" fmla="*/ 120480 h 991888"/>
                    <a:gd name="connsiteX189" fmla="*/ 1029397 w 1673273"/>
                    <a:gd name="connsiteY189" fmla="*/ 116615 h 991888"/>
                    <a:gd name="connsiteX190" fmla="*/ 1053043 w 1673273"/>
                    <a:gd name="connsiteY190" fmla="*/ 104201 h 991888"/>
                    <a:gd name="connsiteX191" fmla="*/ 1049225 w 1673273"/>
                    <a:gd name="connsiteY191" fmla="*/ 98966 h 991888"/>
                    <a:gd name="connsiteX192" fmla="*/ 1063818 w 1673273"/>
                    <a:gd name="connsiteY192" fmla="*/ 96120 h 991888"/>
                    <a:gd name="connsiteX193" fmla="*/ 1084746 w 1673273"/>
                    <a:gd name="connsiteY193" fmla="*/ 88051 h 991888"/>
                    <a:gd name="connsiteX194" fmla="*/ 1091656 w 1673273"/>
                    <a:gd name="connsiteY194" fmla="*/ 83917 h 991888"/>
                    <a:gd name="connsiteX195" fmla="*/ 1092218 w 1673273"/>
                    <a:gd name="connsiteY195" fmla="*/ 80556 h 991888"/>
                    <a:gd name="connsiteX196" fmla="*/ 1107431 w 1673273"/>
                    <a:gd name="connsiteY196" fmla="*/ 80040 h 991888"/>
                    <a:gd name="connsiteX197" fmla="*/ 1116121 w 1673273"/>
                    <a:gd name="connsiteY197" fmla="*/ 76316 h 991888"/>
                    <a:gd name="connsiteX198" fmla="*/ 1116625 w 1673273"/>
                    <a:gd name="connsiteY198" fmla="*/ 72932 h 991888"/>
                    <a:gd name="connsiteX199" fmla="*/ 1122082 w 1673273"/>
                    <a:gd name="connsiteY199" fmla="*/ 71819 h 991888"/>
                    <a:gd name="connsiteX200" fmla="*/ 1129285 w 1673273"/>
                    <a:gd name="connsiteY200" fmla="*/ 72533 h 991888"/>
                    <a:gd name="connsiteX201" fmla="*/ 1122410 w 1673273"/>
                    <a:gd name="connsiteY201" fmla="*/ 75215 h 991888"/>
                    <a:gd name="connsiteX202" fmla="*/ 1125104 w 1673273"/>
                    <a:gd name="connsiteY202" fmla="*/ 77745 h 991888"/>
                    <a:gd name="connsiteX203" fmla="*/ 1114177 w 1673273"/>
                    <a:gd name="connsiteY203" fmla="*/ 93509 h 991888"/>
                    <a:gd name="connsiteX204" fmla="*/ 1105745 w 1673273"/>
                    <a:gd name="connsiteY204" fmla="*/ 91412 h 991888"/>
                    <a:gd name="connsiteX205" fmla="*/ 1103941 w 1673273"/>
                    <a:gd name="connsiteY205" fmla="*/ 95289 h 991888"/>
                    <a:gd name="connsiteX206" fmla="*/ 1114306 w 1673273"/>
                    <a:gd name="connsiteY206" fmla="*/ 108839 h 991888"/>
                    <a:gd name="connsiteX207" fmla="*/ 1185711 w 1673273"/>
                    <a:gd name="connsiteY207" fmla="*/ 162490 h 991888"/>
                    <a:gd name="connsiteX208" fmla="*/ 1241271 w 1673273"/>
                    <a:gd name="connsiteY208" fmla="*/ 245044 h 991888"/>
                    <a:gd name="connsiteX209" fmla="*/ 1271229 w 1673273"/>
                    <a:gd name="connsiteY209" fmla="*/ 293506 h 991888"/>
                    <a:gd name="connsiteX210" fmla="*/ 1295706 w 1673273"/>
                    <a:gd name="connsiteY210" fmla="*/ 330901 h 991888"/>
                    <a:gd name="connsiteX211" fmla="*/ 1297732 w 1673273"/>
                    <a:gd name="connsiteY211" fmla="*/ 326533 h 991888"/>
                    <a:gd name="connsiteX212" fmla="*/ 1304478 w 1673273"/>
                    <a:gd name="connsiteY212" fmla="*/ 320185 h 991888"/>
                    <a:gd name="connsiteX213" fmla="*/ 1314397 w 1673273"/>
                    <a:gd name="connsiteY213" fmla="*/ 316157 h 991888"/>
                    <a:gd name="connsiteX214" fmla="*/ 1313156 w 1673273"/>
                    <a:gd name="connsiteY214" fmla="*/ 307244 h 991888"/>
                    <a:gd name="connsiteX215" fmla="*/ 1314807 w 1673273"/>
                    <a:gd name="connsiteY215" fmla="*/ 299503 h 991888"/>
                    <a:gd name="connsiteX216" fmla="*/ 1320522 w 1673273"/>
                    <a:gd name="connsiteY216" fmla="*/ 299866 h 991888"/>
                    <a:gd name="connsiteX217" fmla="*/ 1323661 w 1673273"/>
                    <a:gd name="connsiteY217" fmla="*/ 295626 h 991888"/>
                    <a:gd name="connsiteX218" fmla="*/ 1334506 w 1673273"/>
                    <a:gd name="connsiteY218" fmla="*/ 295978 h 991888"/>
                    <a:gd name="connsiteX219" fmla="*/ 1337258 w 1673273"/>
                    <a:gd name="connsiteY219" fmla="*/ 294233 h 991888"/>
                    <a:gd name="connsiteX220" fmla="*/ 1339437 w 1673273"/>
                    <a:gd name="connsiteY220" fmla="*/ 298905 h 991888"/>
                    <a:gd name="connsiteX221" fmla="*/ 1348150 w 1673273"/>
                    <a:gd name="connsiteY221" fmla="*/ 310523 h 991888"/>
                    <a:gd name="connsiteX222" fmla="*/ 1350246 w 1673273"/>
                    <a:gd name="connsiteY222" fmla="*/ 318159 h 991888"/>
                    <a:gd name="connsiteX223" fmla="*/ 1365670 w 1673273"/>
                    <a:gd name="connsiteY223" fmla="*/ 322469 h 991888"/>
                    <a:gd name="connsiteX224" fmla="*/ 1365905 w 1673273"/>
                    <a:gd name="connsiteY224" fmla="*/ 331651 h 991888"/>
                    <a:gd name="connsiteX225" fmla="*/ 1381294 w 1673273"/>
                    <a:gd name="connsiteY225" fmla="*/ 329320 h 991888"/>
                    <a:gd name="connsiteX226" fmla="*/ 1404600 w 1673273"/>
                    <a:gd name="connsiteY226" fmla="*/ 334239 h 991888"/>
                    <a:gd name="connsiteX227" fmla="*/ 1411240 w 1673273"/>
                    <a:gd name="connsiteY227" fmla="*/ 331663 h 991888"/>
                    <a:gd name="connsiteX228" fmla="*/ 1421370 w 1673273"/>
                    <a:gd name="connsiteY228" fmla="*/ 332939 h 991888"/>
                    <a:gd name="connsiteX229" fmla="*/ 1430552 w 1673273"/>
                    <a:gd name="connsiteY229" fmla="*/ 328325 h 991888"/>
                    <a:gd name="connsiteX230" fmla="*/ 1432696 w 1673273"/>
                    <a:gd name="connsiteY230" fmla="*/ 321333 h 991888"/>
                    <a:gd name="connsiteX231" fmla="*/ 1449794 w 1673273"/>
                    <a:gd name="connsiteY231" fmla="*/ 320408 h 991888"/>
                    <a:gd name="connsiteX232" fmla="*/ 1453589 w 1673273"/>
                    <a:gd name="connsiteY232" fmla="*/ 314236 h 991888"/>
                    <a:gd name="connsiteX233" fmla="*/ 1457044 w 1673273"/>
                    <a:gd name="connsiteY233" fmla="*/ 314669 h 991888"/>
                    <a:gd name="connsiteX234" fmla="*/ 1473206 w 1673273"/>
                    <a:gd name="connsiteY234" fmla="*/ 317328 h 991888"/>
                    <a:gd name="connsiteX235" fmla="*/ 1494790 w 1673273"/>
                    <a:gd name="connsiteY235" fmla="*/ 327107 h 991888"/>
                    <a:gd name="connsiteX236" fmla="*/ 1497952 w 1673273"/>
                    <a:gd name="connsiteY236" fmla="*/ 334274 h 991888"/>
                    <a:gd name="connsiteX237" fmla="*/ 1504522 w 1673273"/>
                    <a:gd name="connsiteY237" fmla="*/ 338924 h 991888"/>
                    <a:gd name="connsiteX238" fmla="*/ 1510156 w 1673273"/>
                    <a:gd name="connsiteY238" fmla="*/ 347988 h 991888"/>
                    <a:gd name="connsiteX239" fmla="*/ 1516480 w 1673273"/>
                    <a:gd name="connsiteY239" fmla="*/ 366750 h 991888"/>
                    <a:gd name="connsiteX240" fmla="*/ 1525451 w 1673273"/>
                    <a:gd name="connsiteY240" fmla="*/ 367570 h 991888"/>
                    <a:gd name="connsiteX241" fmla="*/ 1535253 w 1673273"/>
                    <a:gd name="connsiteY241" fmla="*/ 371365 h 991888"/>
                    <a:gd name="connsiteX242" fmla="*/ 1543651 w 1673273"/>
                    <a:gd name="connsiteY242" fmla="*/ 376822 h 991888"/>
                    <a:gd name="connsiteX243" fmla="*/ 1553477 w 1673273"/>
                    <a:gd name="connsiteY243" fmla="*/ 381437 h 991888"/>
                    <a:gd name="connsiteX244" fmla="*/ 1550806 w 1673273"/>
                    <a:gd name="connsiteY244" fmla="*/ 389506 h 991888"/>
                    <a:gd name="connsiteX245" fmla="*/ 1555912 w 1673273"/>
                    <a:gd name="connsiteY245" fmla="*/ 393722 h 991888"/>
                    <a:gd name="connsiteX246" fmla="*/ 1559672 w 1673273"/>
                    <a:gd name="connsiteY246" fmla="*/ 399531 h 991888"/>
                    <a:gd name="connsiteX247" fmla="*/ 1568315 w 1673273"/>
                    <a:gd name="connsiteY247" fmla="*/ 409872 h 991888"/>
                    <a:gd name="connsiteX248" fmla="*/ 1577836 w 1673273"/>
                    <a:gd name="connsiteY248" fmla="*/ 410563 h 991888"/>
                    <a:gd name="connsiteX249" fmla="*/ 1583189 w 1673273"/>
                    <a:gd name="connsiteY249" fmla="*/ 408139 h 991888"/>
                    <a:gd name="connsiteX250" fmla="*/ 1587171 w 1673273"/>
                    <a:gd name="connsiteY250" fmla="*/ 412144 h 991888"/>
                    <a:gd name="connsiteX251" fmla="*/ 1596915 w 1673273"/>
                    <a:gd name="connsiteY251" fmla="*/ 412390 h 991888"/>
                    <a:gd name="connsiteX252" fmla="*/ 1601236 w 1673273"/>
                    <a:gd name="connsiteY252" fmla="*/ 412800 h 991888"/>
                    <a:gd name="connsiteX253" fmla="*/ 1602267 w 1673273"/>
                    <a:gd name="connsiteY253" fmla="*/ 417684 h 991888"/>
                    <a:gd name="connsiteX254" fmla="*/ 1613451 w 1673273"/>
                    <a:gd name="connsiteY254" fmla="*/ 418738 h 991888"/>
                    <a:gd name="connsiteX255" fmla="*/ 1633173 w 1673273"/>
                    <a:gd name="connsiteY255" fmla="*/ 399859 h 991888"/>
                    <a:gd name="connsiteX256" fmla="*/ 1640329 w 1673273"/>
                    <a:gd name="connsiteY256" fmla="*/ 397411 h 991888"/>
                    <a:gd name="connsiteX257" fmla="*/ 1644674 w 1673273"/>
                    <a:gd name="connsiteY257" fmla="*/ 403033 h 991888"/>
                    <a:gd name="connsiteX258" fmla="*/ 1637097 w 1673273"/>
                    <a:gd name="connsiteY258" fmla="*/ 412683 h 991888"/>
                    <a:gd name="connsiteX259" fmla="*/ 1646630 w 1673273"/>
                    <a:gd name="connsiteY259" fmla="*/ 415178 h 991888"/>
                    <a:gd name="connsiteX260" fmla="*/ 1647789 w 1673273"/>
                    <a:gd name="connsiteY260" fmla="*/ 420975 h 991888"/>
                    <a:gd name="connsiteX261" fmla="*/ 1652158 w 1673273"/>
                    <a:gd name="connsiteY261" fmla="*/ 423188 h 991888"/>
                    <a:gd name="connsiteX262" fmla="*/ 1651420 w 1673273"/>
                    <a:gd name="connsiteY262" fmla="*/ 426268 h 991888"/>
                    <a:gd name="connsiteX263" fmla="*/ 1657978 w 1673273"/>
                    <a:gd name="connsiteY263" fmla="*/ 433424 h 991888"/>
                    <a:gd name="connsiteX264" fmla="*/ 1673274 w 1673273"/>
                    <a:gd name="connsiteY264" fmla="*/ 444257 h 991888"/>
                    <a:gd name="connsiteX265" fmla="*/ 1644358 w 1673273"/>
                    <a:gd name="connsiteY265" fmla="*/ 448309 h 991888"/>
                    <a:gd name="connsiteX266" fmla="*/ 1643269 w 1673273"/>
                    <a:gd name="connsiteY266" fmla="*/ 467552 h 991888"/>
                    <a:gd name="connsiteX267" fmla="*/ 1634567 w 1673273"/>
                    <a:gd name="connsiteY267" fmla="*/ 480282 h 991888"/>
                    <a:gd name="connsiteX268" fmla="*/ 1619682 w 1673273"/>
                    <a:gd name="connsiteY268" fmla="*/ 485084 h 991888"/>
                    <a:gd name="connsiteX269" fmla="*/ 1613041 w 1673273"/>
                    <a:gd name="connsiteY269" fmla="*/ 488983 h 991888"/>
                    <a:gd name="connsiteX270" fmla="*/ 1600042 w 1673273"/>
                    <a:gd name="connsiteY270" fmla="*/ 488878 h 991888"/>
                    <a:gd name="connsiteX271" fmla="*/ 1584254 w 1673273"/>
                    <a:gd name="connsiteY271" fmla="*/ 504126 h 991888"/>
                    <a:gd name="connsiteX272" fmla="*/ 1579101 w 1673273"/>
                    <a:gd name="connsiteY272" fmla="*/ 520675 h 991888"/>
                    <a:gd name="connsiteX273" fmla="*/ 1583142 w 1673273"/>
                    <a:gd name="connsiteY273" fmla="*/ 542950 h 991888"/>
                    <a:gd name="connsiteX274" fmla="*/ 1587241 w 1673273"/>
                    <a:gd name="connsiteY274" fmla="*/ 558210 h 991888"/>
                    <a:gd name="connsiteX275" fmla="*/ 1586995 w 1673273"/>
                    <a:gd name="connsiteY275" fmla="*/ 567158 h 991888"/>
                    <a:gd name="connsiteX276" fmla="*/ 1580577 w 1673273"/>
                    <a:gd name="connsiteY276" fmla="*/ 573049 h 991888"/>
                    <a:gd name="connsiteX277" fmla="*/ 1574136 w 1673273"/>
                    <a:gd name="connsiteY277" fmla="*/ 579666 h 991888"/>
                    <a:gd name="connsiteX278" fmla="*/ 1560328 w 1673273"/>
                    <a:gd name="connsiteY278" fmla="*/ 584046 h 991888"/>
                    <a:gd name="connsiteX279" fmla="*/ 1548804 w 1673273"/>
                    <a:gd name="connsiteY279" fmla="*/ 592186 h 991888"/>
                    <a:gd name="connsiteX280" fmla="*/ 1533380 w 1673273"/>
                    <a:gd name="connsiteY280" fmla="*/ 584058 h 991888"/>
                    <a:gd name="connsiteX281" fmla="*/ 1515777 w 1673273"/>
                    <a:gd name="connsiteY281" fmla="*/ 583226 h 991888"/>
                    <a:gd name="connsiteX282" fmla="*/ 1500903 w 1673273"/>
                    <a:gd name="connsiteY282" fmla="*/ 584995 h 991888"/>
                    <a:gd name="connsiteX283" fmla="*/ 1458285 w 1673273"/>
                    <a:gd name="connsiteY283" fmla="*/ 571163 h 991888"/>
                    <a:gd name="connsiteX284" fmla="*/ 1447265 w 1673273"/>
                    <a:gd name="connsiteY284" fmla="*/ 581060 h 991888"/>
                    <a:gd name="connsiteX285" fmla="*/ 1434698 w 1673273"/>
                    <a:gd name="connsiteY285" fmla="*/ 616089 h 991888"/>
                    <a:gd name="connsiteX286" fmla="*/ 1426699 w 1673273"/>
                    <a:gd name="connsiteY286" fmla="*/ 633035 h 991888"/>
                    <a:gd name="connsiteX287" fmla="*/ 1421499 w 1673273"/>
                    <a:gd name="connsiteY287" fmla="*/ 653261 h 991888"/>
                    <a:gd name="connsiteX288" fmla="*/ 1415034 w 1673273"/>
                    <a:gd name="connsiteY288" fmla="*/ 682481 h 991888"/>
                    <a:gd name="connsiteX289" fmla="*/ 1428667 w 1673273"/>
                    <a:gd name="connsiteY289" fmla="*/ 691476 h 991888"/>
                    <a:gd name="connsiteX290" fmla="*/ 1417318 w 1673273"/>
                    <a:gd name="connsiteY290" fmla="*/ 704078 h 991888"/>
                    <a:gd name="connsiteX291" fmla="*/ 1408581 w 1673273"/>
                    <a:gd name="connsiteY291" fmla="*/ 698526 h 991888"/>
                    <a:gd name="connsiteX292" fmla="*/ 1396109 w 1673273"/>
                    <a:gd name="connsiteY292" fmla="*/ 703304 h 991888"/>
                    <a:gd name="connsiteX293" fmla="*/ 1384549 w 1673273"/>
                    <a:gd name="connsiteY293" fmla="*/ 699170 h 991888"/>
                    <a:gd name="connsiteX294" fmla="*/ 1376539 w 1673273"/>
                    <a:gd name="connsiteY294" fmla="*/ 691558 h 991888"/>
                    <a:gd name="connsiteX295" fmla="*/ 1367240 w 1673273"/>
                    <a:gd name="connsiteY295" fmla="*/ 695692 h 991888"/>
                    <a:gd name="connsiteX296" fmla="*/ 1351277 w 1673273"/>
                    <a:gd name="connsiteY296" fmla="*/ 700096 h 991888"/>
                    <a:gd name="connsiteX297" fmla="*/ 1335220 w 1673273"/>
                    <a:gd name="connsiteY297" fmla="*/ 705296 h 991888"/>
                    <a:gd name="connsiteX298" fmla="*/ 1316658 w 1673273"/>
                    <a:gd name="connsiteY298" fmla="*/ 706619 h 991888"/>
                    <a:gd name="connsiteX299" fmla="*/ 1305497 w 1673273"/>
                    <a:gd name="connsiteY299" fmla="*/ 710765 h 991888"/>
                    <a:gd name="connsiteX300" fmla="*/ 1288913 w 1673273"/>
                    <a:gd name="connsiteY300" fmla="*/ 716632 h 991888"/>
                    <a:gd name="connsiteX301" fmla="*/ 1308132 w 1673273"/>
                    <a:gd name="connsiteY301" fmla="*/ 727770 h 991888"/>
                    <a:gd name="connsiteX302" fmla="*/ 1317091 w 1673273"/>
                    <a:gd name="connsiteY302" fmla="*/ 731353 h 991888"/>
                    <a:gd name="connsiteX303" fmla="*/ 1311013 w 1673273"/>
                    <a:gd name="connsiteY303" fmla="*/ 734644 h 991888"/>
                    <a:gd name="connsiteX304" fmla="*/ 1308905 w 1673273"/>
                    <a:gd name="connsiteY304" fmla="*/ 746087 h 991888"/>
                    <a:gd name="connsiteX305" fmla="*/ 1312488 w 1673273"/>
                    <a:gd name="connsiteY305" fmla="*/ 774979 h 991888"/>
                    <a:gd name="connsiteX306" fmla="*/ 1327034 w 1673273"/>
                    <a:gd name="connsiteY306" fmla="*/ 808696 h 991888"/>
                    <a:gd name="connsiteX307" fmla="*/ 1326577 w 1673273"/>
                    <a:gd name="connsiteY307" fmla="*/ 821685 h 991888"/>
                    <a:gd name="connsiteX308" fmla="*/ 1331285 w 1673273"/>
                    <a:gd name="connsiteY308" fmla="*/ 828513 h 991888"/>
                    <a:gd name="connsiteX309" fmla="*/ 1314128 w 1673273"/>
                    <a:gd name="connsiteY309" fmla="*/ 837495 h 991888"/>
                    <a:gd name="connsiteX310" fmla="*/ 1318426 w 1673273"/>
                    <a:gd name="connsiteY310" fmla="*/ 845787 h 991888"/>
                    <a:gd name="connsiteX311" fmla="*/ 1311891 w 1673273"/>
                    <a:gd name="connsiteY311" fmla="*/ 851209 h 991888"/>
                    <a:gd name="connsiteX312" fmla="*/ 1300390 w 1673273"/>
                    <a:gd name="connsiteY312" fmla="*/ 870323 h 991888"/>
                    <a:gd name="connsiteX313" fmla="*/ 1300496 w 1673273"/>
                    <a:gd name="connsiteY313" fmla="*/ 891298 h 991888"/>
                    <a:gd name="connsiteX314" fmla="*/ 1288058 w 1673273"/>
                    <a:gd name="connsiteY314" fmla="*/ 878029 h 991888"/>
                    <a:gd name="connsiteX315" fmla="*/ 1266439 w 1673273"/>
                    <a:gd name="connsiteY315" fmla="*/ 875698 h 991888"/>
                    <a:gd name="connsiteX316" fmla="*/ 1259587 w 1673273"/>
                    <a:gd name="connsiteY316" fmla="*/ 872185 h 991888"/>
                    <a:gd name="connsiteX317" fmla="*/ 1252291 w 1673273"/>
                    <a:gd name="connsiteY317" fmla="*/ 864724 h 991888"/>
                    <a:gd name="connsiteX318" fmla="*/ 1248426 w 1673273"/>
                    <a:gd name="connsiteY318" fmla="*/ 855332 h 991888"/>
                    <a:gd name="connsiteX319" fmla="*/ 1235778 w 1673273"/>
                    <a:gd name="connsiteY319" fmla="*/ 855648 h 991888"/>
                    <a:gd name="connsiteX320" fmla="*/ 1217309 w 1673273"/>
                    <a:gd name="connsiteY320" fmla="*/ 850354 h 991888"/>
                    <a:gd name="connsiteX321" fmla="*/ 1186835 w 1673273"/>
                    <a:gd name="connsiteY321" fmla="*/ 850050 h 991888"/>
                    <a:gd name="connsiteX322" fmla="*/ 1163834 w 1673273"/>
                    <a:gd name="connsiteY322" fmla="*/ 848164 h 991888"/>
                    <a:gd name="connsiteX323" fmla="*/ 1141488 w 1673273"/>
                    <a:gd name="connsiteY323" fmla="*/ 843890 h 991888"/>
                    <a:gd name="connsiteX324" fmla="*/ 1121028 w 1673273"/>
                    <a:gd name="connsiteY324" fmla="*/ 845845 h 991888"/>
                    <a:gd name="connsiteX325" fmla="*/ 1101002 w 1673273"/>
                    <a:gd name="connsiteY325" fmla="*/ 847239 h 991888"/>
                    <a:gd name="connsiteX326" fmla="*/ 1069849 w 1673273"/>
                    <a:gd name="connsiteY326" fmla="*/ 847825 h 991888"/>
                    <a:gd name="connsiteX327" fmla="*/ 1059543 w 1673273"/>
                    <a:gd name="connsiteY327" fmla="*/ 852193 h 991888"/>
                    <a:gd name="connsiteX328" fmla="*/ 1039668 w 1673273"/>
                    <a:gd name="connsiteY328" fmla="*/ 850483 h 991888"/>
                    <a:gd name="connsiteX329" fmla="*/ 1008750 w 1673273"/>
                    <a:gd name="connsiteY329" fmla="*/ 835645 h 991888"/>
                    <a:gd name="connsiteX330" fmla="*/ 987611 w 1673273"/>
                    <a:gd name="connsiteY330" fmla="*/ 824531 h 991888"/>
                    <a:gd name="connsiteX331" fmla="*/ 978464 w 1673273"/>
                    <a:gd name="connsiteY331" fmla="*/ 828489 h 991888"/>
                    <a:gd name="connsiteX332" fmla="*/ 968146 w 1673273"/>
                    <a:gd name="connsiteY332" fmla="*/ 833865 h 991888"/>
                    <a:gd name="connsiteX333" fmla="*/ 954783 w 1673273"/>
                    <a:gd name="connsiteY333" fmla="*/ 841360 h 991888"/>
                    <a:gd name="connsiteX334" fmla="*/ 952581 w 1673273"/>
                    <a:gd name="connsiteY334" fmla="*/ 853130 h 991888"/>
                    <a:gd name="connsiteX335" fmla="*/ 947721 w 1673273"/>
                    <a:gd name="connsiteY335" fmla="*/ 868051 h 991888"/>
                    <a:gd name="connsiteX336" fmla="*/ 951012 w 1673273"/>
                    <a:gd name="connsiteY336" fmla="*/ 878977 h 991888"/>
                    <a:gd name="connsiteX337" fmla="*/ 942264 w 1673273"/>
                    <a:gd name="connsiteY337" fmla="*/ 872606 h 991888"/>
                    <a:gd name="connsiteX338" fmla="*/ 930938 w 1673273"/>
                    <a:gd name="connsiteY338" fmla="*/ 869421 h 991888"/>
                    <a:gd name="connsiteX339" fmla="*/ 917822 w 1673273"/>
                    <a:gd name="connsiteY339" fmla="*/ 869140 h 991888"/>
                    <a:gd name="connsiteX340" fmla="*/ 904400 w 1673273"/>
                    <a:gd name="connsiteY340" fmla="*/ 861410 h 991888"/>
                    <a:gd name="connsiteX341" fmla="*/ 888133 w 1673273"/>
                    <a:gd name="connsiteY341" fmla="*/ 856152 h 991888"/>
                    <a:gd name="connsiteX342" fmla="*/ 872697 w 1673273"/>
                    <a:gd name="connsiteY342" fmla="*/ 853938 h 991888"/>
                    <a:gd name="connsiteX343" fmla="*/ 859721 w 1673273"/>
                    <a:gd name="connsiteY343" fmla="*/ 852521 h 991888"/>
                    <a:gd name="connsiteX344" fmla="*/ 852249 w 1673273"/>
                    <a:gd name="connsiteY344" fmla="*/ 856304 h 991888"/>
                    <a:gd name="connsiteX345" fmla="*/ 847119 w 1673273"/>
                    <a:gd name="connsiteY345" fmla="*/ 854606 h 991888"/>
                    <a:gd name="connsiteX346" fmla="*/ 830992 w 1673273"/>
                    <a:gd name="connsiteY346" fmla="*/ 860520 h 991888"/>
                    <a:gd name="connsiteX347" fmla="*/ 829505 w 1673273"/>
                    <a:gd name="connsiteY347" fmla="*/ 865263 h 991888"/>
                    <a:gd name="connsiteX348" fmla="*/ 822947 w 1673273"/>
                    <a:gd name="connsiteY348" fmla="*/ 868133 h 991888"/>
                    <a:gd name="connsiteX349" fmla="*/ 824762 w 1673273"/>
                    <a:gd name="connsiteY349" fmla="*/ 873051 h 991888"/>
                    <a:gd name="connsiteX350" fmla="*/ 821857 w 1673273"/>
                    <a:gd name="connsiteY350" fmla="*/ 874715 h 991888"/>
                    <a:gd name="connsiteX351" fmla="*/ 819070 w 1673273"/>
                    <a:gd name="connsiteY351" fmla="*/ 888475 h 991888"/>
                    <a:gd name="connsiteX352" fmla="*/ 809783 w 1673273"/>
                    <a:gd name="connsiteY352" fmla="*/ 891766 h 991888"/>
                    <a:gd name="connsiteX353" fmla="*/ 804431 w 1673273"/>
                    <a:gd name="connsiteY353" fmla="*/ 896650 h 991888"/>
                    <a:gd name="connsiteX354" fmla="*/ 799816 w 1673273"/>
                    <a:gd name="connsiteY354" fmla="*/ 903021 h 991888"/>
                    <a:gd name="connsiteX355" fmla="*/ 795542 w 1673273"/>
                    <a:gd name="connsiteY355" fmla="*/ 899332 h 991888"/>
                    <a:gd name="connsiteX356" fmla="*/ 767364 w 1673273"/>
                    <a:gd name="connsiteY356" fmla="*/ 919347 h 991888"/>
                    <a:gd name="connsiteX357" fmla="*/ 746353 w 1673273"/>
                    <a:gd name="connsiteY357" fmla="*/ 927896 h 991888"/>
                    <a:gd name="connsiteX358" fmla="*/ 737499 w 1673273"/>
                    <a:gd name="connsiteY358" fmla="*/ 933694 h 991888"/>
                    <a:gd name="connsiteX359" fmla="*/ 735497 w 1673273"/>
                    <a:gd name="connsiteY359" fmla="*/ 936786 h 991888"/>
                    <a:gd name="connsiteX360" fmla="*/ 723164 w 1673273"/>
                    <a:gd name="connsiteY360" fmla="*/ 941458 h 991888"/>
                    <a:gd name="connsiteX361" fmla="*/ 720307 w 1673273"/>
                    <a:gd name="connsiteY361" fmla="*/ 946775 h 991888"/>
                    <a:gd name="connsiteX362" fmla="*/ 713971 w 1673273"/>
                    <a:gd name="connsiteY362" fmla="*/ 956203 h 991888"/>
                    <a:gd name="connsiteX363" fmla="*/ 708361 w 1673273"/>
                    <a:gd name="connsiteY363" fmla="*/ 959892 h 991888"/>
                    <a:gd name="connsiteX364" fmla="*/ 695080 w 1673273"/>
                    <a:gd name="connsiteY364" fmla="*/ 971744 h 991888"/>
                    <a:gd name="connsiteX365" fmla="*/ 697083 w 1673273"/>
                    <a:gd name="connsiteY365" fmla="*/ 990752 h 991888"/>
                    <a:gd name="connsiteX366" fmla="*/ 688920 w 1673273"/>
                    <a:gd name="connsiteY366" fmla="*/ 991888 h 991888"/>
                    <a:gd name="connsiteX367" fmla="*/ 664817 w 1673273"/>
                    <a:gd name="connsiteY367" fmla="*/ 978092 h 991888"/>
                    <a:gd name="connsiteX368" fmla="*/ 670498 w 1673273"/>
                    <a:gd name="connsiteY368" fmla="*/ 965537 h 991888"/>
                    <a:gd name="connsiteX369" fmla="*/ 672149 w 1673273"/>
                    <a:gd name="connsiteY369" fmla="*/ 964554 h 991888"/>
                    <a:gd name="connsiteX370" fmla="*/ 671423 w 1673273"/>
                    <a:gd name="connsiteY370" fmla="*/ 962247 h 991888"/>
                    <a:gd name="connsiteX371" fmla="*/ 669572 w 1673273"/>
                    <a:gd name="connsiteY371" fmla="*/ 963734 h 991888"/>
                    <a:gd name="connsiteX372" fmla="*/ 667078 w 1673273"/>
                    <a:gd name="connsiteY372" fmla="*/ 963734 h 991888"/>
                    <a:gd name="connsiteX373" fmla="*/ 662030 w 1673273"/>
                    <a:gd name="connsiteY373" fmla="*/ 953943 h 991888"/>
                    <a:gd name="connsiteX374" fmla="*/ 632283 w 1673273"/>
                    <a:gd name="connsiteY374" fmla="*/ 956039 h 991888"/>
                    <a:gd name="connsiteX375" fmla="*/ 595427 w 1673273"/>
                    <a:gd name="connsiteY375" fmla="*/ 948099 h 991888"/>
                    <a:gd name="connsiteX376" fmla="*/ 589629 w 1673273"/>
                    <a:gd name="connsiteY376" fmla="*/ 922767 h 991888"/>
                    <a:gd name="connsiteX377" fmla="*/ 586584 w 1673273"/>
                    <a:gd name="connsiteY377" fmla="*/ 904286 h 991888"/>
                    <a:gd name="connsiteX378" fmla="*/ 566534 w 1673273"/>
                    <a:gd name="connsiteY378" fmla="*/ 904251 h 991888"/>
                    <a:gd name="connsiteX379" fmla="*/ 561346 w 1673273"/>
                    <a:gd name="connsiteY379" fmla="*/ 902787 h 991888"/>
                    <a:gd name="connsiteX380" fmla="*/ 561557 w 1673273"/>
                    <a:gd name="connsiteY380" fmla="*/ 887386 h 991888"/>
                    <a:gd name="connsiteX381" fmla="*/ 566253 w 1673273"/>
                    <a:gd name="connsiteY381" fmla="*/ 841758 h 991888"/>
                    <a:gd name="connsiteX382" fmla="*/ 546285 w 1673273"/>
                    <a:gd name="connsiteY382" fmla="*/ 841618 h 991888"/>
                    <a:gd name="connsiteX383" fmla="*/ 533039 w 1673273"/>
                    <a:gd name="connsiteY383" fmla="*/ 820338 h 991888"/>
                    <a:gd name="connsiteX384" fmla="*/ 510342 w 1673273"/>
                    <a:gd name="connsiteY384" fmla="*/ 801307 h 991888"/>
                    <a:gd name="connsiteX385" fmla="*/ 493560 w 1673273"/>
                    <a:gd name="connsiteY385" fmla="*/ 799702 h 991888"/>
                    <a:gd name="connsiteX386" fmla="*/ 469258 w 1673273"/>
                    <a:gd name="connsiteY386" fmla="*/ 805698 h 991888"/>
                    <a:gd name="connsiteX387" fmla="*/ 440471 w 1673273"/>
                    <a:gd name="connsiteY387" fmla="*/ 803368 h 991888"/>
                    <a:gd name="connsiteX388" fmla="*/ 388004 w 1673273"/>
                    <a:gd name="connsiteY388" fmla="*/ 805289 h 991888"/>
                    <a:gd name="connsiteX389" fmla="*/ 351593 w 1673273"/>
                    <a:gd name="connsiteY389" fmla="*/ 809856 h 991888"/>
                    <a:gd name="connsiteX390" fmla="*/ 329961 w 1673273"/>
                    <a:gd name="connsiteY390" fmla="*/ 787874 h 991888"/>
                    <a:gd name="connsiteX391" fmla="*/ 308225 w 1673273"/>
                    <a:gd name="connsiteY391" fmla="*/ 766348 h 991888"/>
                    <a:gd name="connsiteX392" fmla="*/ 298223 w 1673273"/>
                    <a:gd name="connsiteY392" fmla="*/ 750924 h 991888"/>
                    <a:gd name="connsiteX393" fmla="*/ 273582 w 1673273"/>
                    <a:gd name="connsiteY393" fmla="*/ 736507 h 991888"/>
                    <a:gd name="connsiteX394" fmla="*/ 251002 w 1673273"/>
                    <a:gd name="connsiteY394" fmla="*/ 723273 h 991888"/>
                    <a:gd name="connsiteX395" fmla="*/ 251061 w 1673273"/>
                    <a:gd name="connsiteY395" fmla="*/ 702531 h 991888"/>
                    <a:gd name="connsiteX396" fmla="*/ 250171 w 1673273"/>
                    <a:gd name="connsiteY396" fmla="*/ 678511 h 991888"/>
                    <a:gd name="connsiteX397" fmla="*/ 236246 w 1673273"/>
                    <a:gd name="connsiteY397" fmla="*/ 676309 h 991888"/>
                    <a:gd name="connsiteX398" fmla="*/ 241235 w 1673273"/>
                    <a:gd name="connsiteY398" fmla="*/ 658086 h 991888"/>
                    <a:gd name="connsiteX399" fmla="*/ 238623 w 1673273"/>
                    <a:gd name="connsiteY399" fmla="*/ 655428 h 991888"/>
                    <a:gd name="connsiteX400" fmla="*/ 261999 w 1673273"/>
                    <a:gd name="connsiteY400" fmla="*/ 657032 h 991888"/>
                    <a:gd name="connsiteX401" fmla="*/ 271650 w 1673273"/>
                    <a:gd name="connsiteY401" fmla="*/ 657946 h 991888"/>
                    <a:gd name="connsiteX402" fmla="*/ 279215 w 1673273"/>
                    <a:gd name="connsiteY402" fmla="*/ 649677 h 991888"/>
                    <a:gd name="connsiteX403" fmla="*/ 287519 w 1673273"/>
                    <a:gd name="connsiteY403" fmla="*/ 642334 h 991888"/>
                    <a:gd name="connsiteX404" fmla="*/ 313893 w 1673273"/>
                    <a:gd name="connsiteY404" fmla="*/ 627554 h 991888"/>
                    <a:gd name="connsiteX405" fmla="*/ 293035 w 1673273"/>
                    <a:gd name="connsiteY405" fmla="*/ 615597 h 991888"/>
                    <a:gd name="connsiteX406" fmla="*/ 290365 w 1673273"/>
                    <a:gd name="connsiteY406" fmla="*/ 599927 h 991888"/>
                    <a:gd name="connsiteX407" fmla="*/ 277353 w 1673273"/>
                    <a:gd name="connsiteY407" fmla="*/ 597011 h 991888"/>
                    <a:gd name="connsiteX408" fmla="*/ 287355 w 1673273"/>
                    <a:gd name="connsiteY408" fmla="*/ 606579 h 991888"/>
                    <a:gd name="connsiteX409" fmla="*/ 272786 w 1673273"/>
                    <a:gd name="connsiteY409" fmla="*/ 607820 h 991888"/>
                    <a:gd name="connsiteX410" fmla="*/ 269659 w 1673273"/>
                    <a:gd name="connsiteY410" fmla="*/ 616194 h 991888"/>
                    <a:gd name="connsiteX411" fmla="*/ 250147 w 1673273"/>
                    <a:gd name="connsiteY411" fmla="*/ 608886 h 991888"/>
                    <a:gd name="connsiteX412" fmla="*/ 249983 w 1673273"/>
                    <a:gd name="connsiteY412" fmla="*/ 620375 h 991888"/>
                    <a:gd name="connsiteX413" fmla="*/ 267199 w 1673273"/>
                    <a:gd name="connsiteY413" fmla="*/ 620879 h 991888"/>
                    <a:gd name="connsiteX414" fmla="*/ 275257 w 1673273"/>
                    <a:gd name="connsiteY414" fmla="*/ 627285 h 991888"/>
                    <a:gd name="connsiteX415" fmla="*/ 281710 w 1673273"/>
                    <a:gd name="connsiteY415" fmla="*/ 624849 h 991888"/>
                    <a:gd name="connsiteX416" fmla="*/ 287179 w 1673273"/>
                    <a:gd name="connsiteY416" fmla="*/ 626137 h 991888"/>
                    <a:gd name="connsiteX417" fmla="*/ 273371 w 1673273"/>
                    <a:gd name="connsiteY417" fmla="*/ 643353 h 991888"/>
                    <a:gd name="connsiteX418" fmla="*/ 263955 w 1673273"/>
                    <a:gd name="connsiteY418" fmla="*/ 641983 h 991888"/>
                    <a:gd name="connsiteX419" fmla="*/ 253110 w 1673273"/>
                    <a:gd name="connsiteY419" fmla="*/ 639688 h 991888"/>
                    <a:gd name="connsiteX420" fmla="*/ 235766 w 1673273"/>
                    <a:gd name="connsiteY420" fmla="*/ 643505 h 991888"/>
                    <a:gd name="connsiteX421" fmla="*/ 231245 w 1673273"/>
                    <a:gd name="connsiteY421" fmla="*/ 626758 h 991888"/>
                    <a:gd name="connsiteX422" fmla="*/ 231292 w 1673273"/>
                    <a:gd name="connsiteY422" fmla="*/ 638774 h 991888"/>
                    <a:gd name="connsiteX423" fmla="*/ 228387 w 1673273"/>
                    <a:gd name="connsiteY423" fmla="*/ 659410 h 991888"/>
                    <a:gd name="connsiteX424" fmla="*/ 229113 w 1673273"/>
                    <a:gd name="connsiteY424" fmla="*/ 662747 h 991888"/>
                    <a:gd name="connsiteX425" fmla="*/ 225003 w 1673273"/>
                    <a:gd name="connsiteY425" fmla="*/ 663017 h 991888"/>
                    <a:gd name="connsiteX426" fmla="*/ 218034 w 1673273"/>
                    <a:gd name="connsiteY426" fmla="*/ 668779 h 991888"/>
                    <a:gd name="connsiteX427" fmla="*/ 214017 w 1673273"/>
                    <a:gd name="connsiteY427" fmla="*/ 669681 h 991888"/>
                    <a:gd name="connsiteX428" fmla="*/ 207272 w 1673273"/>
                    <a:gd name="connsiteY428" fmla="*/ 664094 h 991888"/>
                    <a:gd name="connsiteX429" fmla="*/ 214099 w 1673273"/>
                    <a:gd name="connsiteY429" fmla="*/ 651212 h 991888"/>
                    <a:gd name="connsiteX430" fmla="*/ 204390 w 1673273"/>
                    <a:gd name="connsiteY430" fmla="*/ 651399 h 991888"/>
                    <a:gd name="connsiteX431" fmla="*/ 193241 w 1673273"/>
                    <a:gd name="connsiteY431" fmla="*/ 651048 h 991888"/>
                    <a:gd name="connsiteX432" fmla="*/ 187748 w 1673273"/>
                    <a:gd name="connsiteY432" fmla="*/ 653109 h 991888"/>
                    <a:gd name="connsiteX433" fmla="*/ 181248 w 1673273"/>
                    <a:gd name="connsiteY433" fmla="*/ 658028 h 991888"/>
                    <a:gd name="connsiteX434" fmla="*/ 174503 w 1673273"/>
                    <a:gd name="connsiteY434" fmla="*/ 678242 h 991888"/>
                    <a:gd name="connsiteX435" fmla="*/ 144053 w 1673273"/>
                    <a:gd name="connsiteY435" fmla="*/ 684308 h 991888"/>
                    <a:gd name="connsiteX436" fmla="*/ 107314 w 1673273"/>
                    <a:gd name="connsiteY436" fmla="*/ 694275 h 991888"/>
                    <a:gd name="connsiteX437" fmla="*/ 38216 w 1673273"/>
                    <a:gd name="connsiteY437" fmla="*/ 713704 h 991888"/>
                    <a:gd name="connsiteX438" fmla="*/ 38216 w 1673273"/>
                    <a:gd name="connsiteY438" fmla="*/ 713704 h 991888"/>
                    <a:gd name="connsiteX439" fmla="*/ 38192 w 1673273"/>
                    <a:gd name="connsiteY439" fmla="*/ 713704 h 991888"/>
                    <a:gd name="connsiteX440" fmla="*/ 38180 w 1673273"/>
                    <a:gd name="connsiteY440" fmla="*/ 713716 h 991888"/>
                    <a:gd name="connsiteX441" fmla="*/ 38122 w 1673273"/>
                    <a:gd name="connsiteY441" fmla="*/ 713716 h 991888"/>
                    <a:gd name="connsiteX442" fmla="*/ 38122 w 1673273"/>
                    <a:gd name="connsiteY442" fmla="*/ 713716 h 991888"/>
                    <a:gd name="connsiteX443" fmla="*/ 38098 w 1673273"/>
                    <a:gd name="connsiteY443" fmla="*/ 713728 h 991888"/>
                    <a:gd name="connsiteX444" fmla="*/ 38063 w 1673273"/>
                    <a:gd name="connsiteY444" fmla="*/ 713751 h 991888"/>
                    <a:gd name="connsiteX445" fmla="*/ 38052 w 1673273"/>
                    <a:gd name="connsiteY445" fmla="*/ 713786 h 991888"/>
                    <a:gd name="connsiteX446" fmla="*/ 38040 w 1673273"/>
                    <a:gd name="connsiteY446" fmla="*/ 713810 h 991888"/>
                    <a:gd name="connsiteX447" fmla="*/ 38040 w 1673273"/>
                    <a:gd name="connsiteY447" fmla="*/ 713880 h 991888"/>
                    <a:gd name="connsiteX448" fmla="*/ 38180 w 1673273"/>
                    <a:gd name="connsiteY448" fmla="*/ 946401 h 991888"/>
                    <a:gd name="connsiteX449" fmla="*/ 5013 w 1673273"/>
                    <a:gd name="connsiteY449" fmla="*/ 941775 h 991888"/>
                    <a:gd name="connsiteX450" fmla="*/ 434 w 1673273"/>
                    <a:gd name="connsiteY450" fmla="*/ 935720 h 991888"/>
                    <a:gd name="connsiteX451" fmla="*/ 446 w 1673273"/>
                    <a:gd name="connsiteY451" fmla="*/ 923505 h 991888"/>
                    <a:gd name="connsiteX452" fmla="*/ 446 w 1673273"/>
                    <a:gd name="connsiteY452" fmla="*/ 797348 h 991888"/>
                    <a:gd name="connsiteX453" fmla="*/ 446 w 1673273"/>
                    <a:gd name="connsiteY453" fmla="*/ 427275 h 991888"/>
                    <a:gd name="connsiteX454" fmla="*/ 446 w 1673273"/>
                    <a:gd name="connsiteY454" fmla="*/ 334766 h 991888"/>
                    <a:gd name="connsiteX455" fmla="*/ 446 w 1673273"/>
                    <a:gd name="connsiteY455" fmla="*/ 334766 h 99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Lst>
                  <a:rect l="l" t="t" r="r" b="b"/>
                  <a:pathLst>
                    <a:path w="1673273" h="991888">
                      <a:moveTo>
                        <a:pt x="207810" y="668416"/>
                      </a:moveTo>
                      <a:cubicBezTo>
                        <a:pt x="214006" y="671098"/>
                        <a:pt x="215177" y="677527"/>
                        <a:pt x="216102" y="682282"/>
                      </a:cubicBezTo>
                      <a:cubicBezTo>
                        <a:pt x="217671" y="690270"/>
                        <a:pt x="217882" y="696957"/>
                        <a:pt x="218936" y="704405"/>
                      </a:cubicBezTo>
                      <a:cubicBezTo>
                        <a:pt x="206733" y="697238"/>
                        <a:pt x="194553" y="690024"/>
                        <a:pt x="182349" y="682856"/>
                      </a:cubicBezTo>
                      <a:cubicBezTo>
                        <a:pt x="184621" y="677750"/>
                        <a:pt x="191309" y="676860"/>
                        <a:pt x="193639" y="671929"/>
                      </a:cubicBezTo>
                      <a:cubicBezTo>
                        <a:pt x="195537" y="667889"/>
                        <a:pt x="192140" y="663357"/>
                        <a:pt x="197328" y="662619"/>
                      </a:cubicBezTo>
                      <a:cubicBezTo>
                        <a:pt x="196930" y="663954"/>
                        <a:pt x="196169" y="670114"/>
                        <a:pt x="199015" y="668744"/>
                      </a:cubicBezTo>
                      <a:cubicBezTo>
                        <a:pt x="199987" y="668275"/>
                        <a:pt x="200666" y="661752"/>
                        <a:pt x="200959" y="660686"/>
                      </a:cubicBezTo>
                      <a:cubicBezTo>
                        <a:pt x="203770" y="662232"/>
                        <a:pt x="206264" y="665219"/>
                        <a:pt x="207810" y="668416"/>
                      </a:cubicBezTo>
                      <a:lnTo>
                        <a:pt x="207810" y="668416"/>
                      </a:lnTo>
                      <a:close/>
                      <a:moveTo>
                        <a:pt x="446" y="334766"/>
                      </a:moveTo>
                      <a:cubicBezTo>
                        <a:pt x="4100" y="339099"/>
                        <a:pt x="6829" y="335680"/>
                        <a:pt x="10881" y="337202"/>
                      </a:cubicBezTo>
                      <a:cubicBezTo>
                        <a:pt x="13645" y="338245"/>
                        <a:pt x="15062" y="341196"/>
                        <a:pt x="17732" y="342753"/>
                      </a:cubicBezTo>
                      <a:cubicBezTo>
                        <a:pt x="23869" y="346361"/>
                        <a:pt x="23564" y="344733"/>
                        <a:pt x="30123" y="340739"/>
                      </a:cubicBezTo>
                      <a:cubicBezTo>
                        <a:pt x="36576" y="336804"/>
                        <a:pt x="41811" y="335246"/>
                        <a:pt x="45172" y="328407"/>
                      </a:cubicBezTo>
                      <a:cubicBezTo>
                        <a:pt x="45828" y="327072"/>
                        <a:pt x="45746" y="321321"/>
                        <a:pt x="47561" y="320291"/>
                      </a:cubicBezTo>
                      <a:cubicBezTo>
                        <a:pt x="49529" y="319155"/>
                        <a:pt x="52000" y="322656"/>
                        <a:pt x="53979" y="321965"/>
                      </a:cubicBezTo>
                      <a:cubicBezTo>
                        <a:pt x="56404" y="321110"/>
                        <a:pt x="59402" y="318066"/>
                        <a:pt x="60327" y="316449"/>
                      </a:cubicBezTo>
                      <a:cubicBezTo>
                        <a:pt x="61299" y="314751"/>
                        <a:pt x="60749" y="309856"/>
                        <a:pt x="63864" y="309048"/>
                      </a:cubicBezTo>
                      <a:cubicBezTo>
                        <a:pt x="67799" y="308017"/>
                        <a:pt x="70012" y="316684"/>
                        <a:pt x="76220" y="315840"/>
                      </a:cubicBezTo>
                      <a:cubicBezTo>
                        <a:pt x="71699" y="307994"/>
                        <a:pt x="77953" y="310172"/>
                        <a:pt x="81759" y="309879"/>
                      </a:cubicBezTo>
                      <a:cubicBezTo>
                        <a:pt x="85214" y="309610"/>
                        <a:pt x="96855" y="306494"/>
                        <a:pt x="98682" y="307221"/>
                      </a:cubicBezTo>
                      <a:cubicBezTo>
                        <a:pt x="105662" y="309985"/>
                        <a:pt x="106037" y="324050"/>
                        <a:pt x="117128" y="322973"/>
                      </a:cubicBezTo>
                      <a:cubicBezTo>
                        <a:pt x="118358" y="322856"/>
                        <a:pt x="118838" y="319740"/>
                        <a:pt x="120466" y="319389"/>
                      </a:cubicBezTo>
                      <a:cubicBezTo>
                        <a:pt x="125115" y="318393"/>
                        <a:pt x="127001" y="322996"/>
                        <a:pt x="129940" y="318054"/>
                      </a:cubicBezTo>
                      <a:cubicBezTo>
                        <a:pt x="134965" y="309610"/>
                        <a:pt x="125068" y="306518"/>
                        <a:pt x="137623" y="306682"/>
                      </a:cubicBezTo>
                      <a:cubicBezTo>
                        <a:pt x="140516" y="306717"/>
                        <a:pt x="147285" y="308919"/>
                        <a:pt x="148644" y="308743"/>
                      </a:cubicBezTo>
                      <a:cubicBezTo>
                        <a:pt x="150377" y="308509"/>
                        <a:pt x="151735" y="309481"/>
                        <a:pt x="153750" y="308989"/>
                      </a:cubicBezTo>
                      <a:cubicBezTo>
                        <a:pt x="155015" y="308673"/>
                        <a:pt x="154698" y="305206"/>
                        <a:pt x="157017" y="304679"/>
                      </a:cubicBezTo>
                      <a:cubicBezTo>
                        <a:pt x="161152" y="303754"/>
                        <a:pt x="159500" y="305241"/>
                        <a:pt x="162733" y="306319"/>
                      </a:cubicBezTo>
                      <a:cubicBezTo>
                        <a:pt x="163119" y="306448"/>
                        <a:pt x="162967" y="308802"/>
                        <a:pt x="164126" y="309294"/>
                      </a:cubicBezTo>
                      <a:cubicBezTo>
                        <a:pt x="166433" y="310277"/>
                        <a:pt x="169701" y="308509"/>
                        <a:pt x="171903" y="309996"/>
                      </a:cubicBezTo>
                      <a:cubicBezTo>
                        <a:pt x="178590" y="314482"/>
                        <a:pt x="171633" y="316965"/>
                        <a:pt x="172594" y="321802"/>
                      </a:cubicBezTo>
                      <a:cubicBezTo>
                        <a:pt x="172406" y="320900"/>
                        <a:pt x="178754" y="327446"/>
                        <a:pt x="177220" y="326556"/>
                      </a:cubicBezTo>
                      <a:cubicBezTo>
                        <a:pt x="177653" y="326802"/>
                        <a:pt x="182221" y="327915"/>
                        <a:pt x="182244" y="327950"/>
                      </a:cubicBezTo>
                      <a:cubicBezTo>
                        <a:pt x="189552" y="334532"/>
                        <a:pt x="191227" y="334321"/>
                        <a:pt x="201896" y="336699"/>
                      </a:cubicBezTo>
                      <a:cubicBezTo>
                        <a:pt x="203606" y="337073"/>
                        <a:pt x="207459" y="338842"/>
                        <a:pt x="208501" y="339017"/>
                      </a:cubicBezTo>
                      <a:cubicBezTo>
                        <a:pt x="211359" y="339486"/>
                        <a:pt x="215493" y="338479"/>
                        <a:pt x="218690" y="339193"/>
                      </a:cubicBezTo>
                      <a:cubicBezTo>
                        <a:pt x="230894" y="341899"/>
                        <a:pt x="219334" y="345178"/>
                        <a:pt x="219756" y="347180"/>
                      </a:cubicBezTo>
                      <a:cubicBezTo>
                        <a:pt x="220623" y="351233"/>
                        <a:pt x="235485" y="346009"/>
                        <a:pt x="237827" y="344381"/>
                      </a:cubicBezTo>
                      <a:cubicBezTo>
                        <a:pt x="243366" y="340517"/>
                        <a:pt x="241879" y="334356"/>
                        <a:pt x="244046" y="329578"/>
                      </a:cubicBezTo>
                      <a:cubicBezTo>
                        <a:pt x="245767" y="325783"/>
                        <a:pt x="248637" y="321520"/>
                        <a:pt x="253696" y="324120"/>
                      </a:cubicBezTo>
                      <a:cubicBezTo>
                        <a:pt x="256671" y="325643"/>
                        <a:pt x="255945" y="330480"/>
                        <a:pt x="258826" y="333115"/>
                      </a:cubicBezTo>
                      <a:cubicBezTo>
                        <a:pt x="265466" y="339170"/>
                        <a:pt x="283174" y="338385"/>
                        <a:pt x="291501" y="336792"/>
                      </a:cubicBezTo>
                      <a:cubicBezTo>
                        <a:pt x="301678" y="334860"/>
                        <a:pt x="319327" y="332506"/>
                        <a:pt x="323157" y="322411"/>
                      </a:cubicBezTo>
                      <a:cubicBezTo>
                        <a:pt x="326202" y="314400"/>
                        <a:pt x="322817" y="297020"/>
                        <a:pt x="334740" y="296001"/>
                      </a:cubicBezTo>
                      <a:cubicBezTo>
                        <a:pt x="327490" y="294748"/>
                        <a:pt x="328685" y="287545"/>
                        <a:pt x="323883" y="284196"/>
                      </a:cubicBezTo>
                      <a:cubicBezTo>
                        <a:pt x="320967" y="282170"/>
                        <a:pt x="316259" y="281865"/>
                        <a:pt x="312898" y="281432"/>
                      </a:cubicBezTo>
                      <a:cubicBezTo>
                        <a:pt x="307089" y="280682"/>
                        <a:pt x="294511" y="281736"/>
                        <a:pt x="296830" y="271559"/>
                      </a:cubicBezTo>
                      <a:cubicBezTo>
                        <a:pt x="287976" y="271348"/>
                        <a:pt x="279016" y="271583"/>
                        <a:pt x="272493" y="268678"/>
                      </a:cubicBezTo>
                      <a:cubicBezTo>
                        <a:pt x="261917" y="263970"/>
                        <a:pt x="270256" y="268292"/>
                        <a:pt x="271462" y="261042"/>
                      </a:cubicBezTo>
                      <a:cubicBezTo>
                        <a:pt x="272938" y="252223"/>
                        <a:pt x="241293" y="258173"/>
                        <a:pt x="248110" y="245009"/>
                      </a:cubicBezTo>
                      <a:cubicBezTo>
                        <a:pt x="257268" y="245009"/>
                        <a:pt x="258123" y="244248"/>
                        <a:pt x="265290" y="238942"/>
                      </a:cubicBezTo>
                      <a:cubicBezTo>
                        <a:pt x="270853" y="234820"/>
                        <a:pt x="273629" y="235827"/>
                        <a:pt x="279473" y="234387"/>
                      </a:cubicBezTo>
                      <a:cubicBezTo>
                        <a:pt x="287519" y="232407"/>
                        <a:pt x="294593" y="225697"/>
                        <a:pt x="302182" y="221071"/>
                      </a:cubicBezTo>
                      <a:cubicBezTo>
                        <a:pt x="299008" y="218752"/>
                        <a:pt x="299500" y="215894"/>
                        <a:pt x="297696" y="213681"/>
                      </a:cubicBezTo>
                      <a:cubicBezTo>
                        <a:pt x="296935" y="212755"/>
                        <a:pt x="292742" y="209219"/>
                        <a:pt x="292567" y="208926"/>
                      </a:cubicBezTo>
                      <a:cubicBezTo>
                        <a:pt x="292543" y="208891"/>
                        <a:pt x="289873" y="202274"/>
                        <a:pt x="290412" y="202777"/>
                      </a:cubicBezTo>
                      <a:cubicBezTo>
                        <a:pt x="290318" y="202684"/>
                        <a:pt x="285516" y="199568"/>
                        <a:pt x="286195" y="200658"/>
                      </a:cubicBezTo>
                      <a:cubicBezTo>
                        <a:pt x="282893" y="195294"/>
                        <a:pt x="282471" y="196758"/>
                        <a:pt x="287753" y="191616"/>
                      </a:cubicBezTo>
                      <a:cubicBezTo>
                        <a:pt x="291770" y="187716"/>
                        <a:pt x="298352" y="183406"/>
                        <a:pt x="303154" y="179787"/>
                      </a:cubicBezTo>
                      <a:cubicBezTo>
                        <a:pt x="301584" y="178909"/>
                        <a:pt x="300425" y="177035"/>
                        <a:pt x="298785" y="176333"/>
                      </a:cubicBezTo>
                      <a:cubicBezTo>
                        <a:pt x="303283" y="177024"/>
                        <a:pt x="305133" y="173779"/>
                        <a:pt x="308283" y="173627"/>
                      </a:cubicBezTo>
                      <a:cubicBezTo>
                        <a:pt x="311785" y="173452"/>
                        <a:pt x="314772" y="175208"/>
                        <a:pt x="318355" y="175372"/>
                      </a:cubicBezTo>
                      <a:cubicBezTo>
                        <a:pt x="320276" y="175466"/>
                        <a:pt x="321494" y="172526"/>
                        <a:pt x="323497" y="172796"/>
                      </a:cubicBezTo>
                      <a:cubicBezTo>
                        <a:pt x="326249" y="173159"/>
                        <a:pt x="327643" y="176789"/>
                        <a:pt x="330055" y="177410"/>
                      </a:cubicBezTo>
                      <a:cubicBezTo>
                        <a:pt x="333733" y="178359"/>
                        <a:pt x="338476" y="175068"/>
                        <a:pt x="342903" y="175841"/>
                      </a:cubicBezTo>
                      <a:cubicBezTo>
                        <a:pt x="347985" y="176731"/>
                        <a:pt x="353092" y="181814"/>
                        <a:pt x="357167" y="174845"/>
                      </a:cubicBezTo>
                      <a:cubicBezTo>
                        <a:pt x="360037" y="169938"/>
                        <a:pt x="357683" y="167678"/>
                        <a:pt x="354099" y="165335"/>
                      </a:cubicBezTo>
                      <a:cubicBezTo>
                        <a:pt x="350949" y="163263"/>
                        <a:pt x="345397" y="164680"/>
                        <a:pt x="341814" y="162970"/>
                      </a:cubicBezTo>
                      <a:cubicBezTo>
                        <a:pt x="339530" y="161881"/>
                        <a:pt x="336227" y="157629"/>
                        <a:pt x="334189" y="157231"/>
                      </a:cubicBezTo>
                      <a:cubicBezTo>
                        <a:pt x="331988" y="156810"/>
                        <a:pt x="330020" y="159843"/>
                        <a:pt x="327771" y="159433"/>
                      </a:cubicBezTo>
                      <a:cubicBezTo>
                        <a:pt x="324410" y="158800"/>
                        <a:pt x="322279" y="156482"/>
                        <a:pt x="319023" y="155474"/>
                      </a:cubicBezTo>
                      <a:cubicBezTo>
                        <a:pt x="314584" y="154092"/>
                        <a:pt x="307897" y="156528"/>
                        <a:pt x="307065" y="149654"/>
                      </a:cubicBezTo>
                      <a:cubicBezTo>
                        <a:pt x="306878" y="148061"/>
                        <a:pt x="311727" y="138832"/>
                        <a:pt x="312371" y="138680"/>
                      </a:cubicBezTo>
                      <a:cubicBezTo>
                        <a:pt x="316950" y="137567"/>
                        <a:pt x="316446" y="143166"/>
                        <a:pt x="320018" y="143435"/>
                      </a:cubicBezTo>
                      <a:cubicBezTo>
                        <a:pt x="324293" y="143751"/>
                        <a:pt x="329657" y="138411"/>
                        <a:pt x="328064" y="135014"/>
                      </a:cubicBezTo>
                      <a:cubicBezTo>
                        <a:pt x="324808" y="128105"/>
                        <a:pt x="319327" y="135483"/>
                        <a:pt x="315685" y="135752"/>
                      </a:cubicBezTo>
                      <a:cubicBezTo>
                        <a:pt x="309701" y="136197"/>
                        <a:pt x="307885" y="132602"/>
                        <a:pt x="303821" y="131489"/>
                      </a:cubicBezTo>
                      <a:cubicBezTo>
                        <a:pt x="300893" y="130693"/>
                        <a:pt x="296912" y="131934"/>
                        <a:pt x="294534" y="130119"/>
                      </a:cubicBezTo>
                      <a:cubicBezTo>
                        <a:pt x="290892" y="127343"/>
                        <a:pt x="299558" y="128444"/>
                        <a:pt x="299090" y="128831"/>
                      </a:cubicBezTo>
                      <a:cubicBezTo>
                        <a:pt x="301538" y="126851"/>
                        <a:pt x="304700" y="124755"/>
                        <a:pt x="306738" y="121300"/>
                      </a:cubicBezTo>
                      <a:cubicBezTo>
                        <a:pt x="309876" y="115960"/>
                        <a:pt x="311926" y="118267"/>
                        <a:pt x="306784" y="114144"/>
                      </a:cubicBezTo>
                      <a:cubicBezTo>
                        <a:pt x="304266" y="112130"/>
                        <a:pt x="295916" y="112458"/>
                        <a:pt x="299383" y="107949"/>
                      </a:cubicBezTo>
                      <a:cubicBezTo>
                        <a:pt x="303025" y="103229"/>
                        <a:pt x="318718" y="114484"/>
                        <a:pt x="310192" y="101906"/>
                      </a:cubicBezTo>
                      <a:cubicBezTo>
                        <a:pt x="315591" y="101906"/>
                        <a:pt x="315861" y="97982"/>
                        <a:pt x="321881" y="99212"/>
                      </a:cubicBezTo>
                      <a:cubicBezTo>
                        <a:pt x="322899" y="99423"/>
                        <a:pt x="327256" y="103042"/>
                        <a:pt x="328931" y="103756"/>
                      </a:cubicBezTo>
                      <a:cubicBezTo>
                        <a:pt x="331379" y="104799"/>
                        <a:pt x="328802" y="105255"/>
                        <a:pt x="332105" y="105583"/>
                      </a:cubicBezTo>
                      <a:cubicBezTo>
                        <a:pt x="332093" y="105583"/>
                        <a:pt x="339916" y="102761"/>
                        <a:pt x="341767" y="103276"/>
                      </a:cubicBezTo>
                      <a:cubicBezTo>
                        <a:pt x="346358" y="104564"/>
                        <a:pt x="343957" y="108722"/>
                        <a:pt x="352448" y="108078"/>
                      </a:cubicBezTo>
                      <a:cubicBezTo>
                        <a:pt x="349297" y="97865"/>
                        <a:pt x="372954" y="98510"/>
                        <a:pt x="375519" y="102175"/>
                      </a:cubicBezTo>
                      <a:cubicBezTo>
                        <a:pt x="376597" y="103698"/>
                        <a:pt x="371842" y="104998"/>
                        <a:pt x="373083" y="108008"/>
                      </a:cubicBezTo>
                      <a:cubicBezTo>
                        <a:pt x="373259" y="108441"/>
                        <a:pt x="378986" y="112540"/>
                        <a:pt x="379653" y="112399"/>
                      </a:cubicBezTo>
                      <a:cubicBezTo>
                        <a:pt x="381609" y="111954"/>
                        <a:pt x="381609" y="100641"/>
                        <a:pt x="383834" y="98755"/>
                      </a:cubicBezTo>
                      <a:cubicBezTo>
                        <a:pt x="390217" y="93380"/>
                        <a:pt x="401132" y="100547"/>
                        <a:pt x="407492" y="96975"/>
                      </a:cubicBezTo>
                      <a:cubicBezTo>
                        <a:pt x="408932" y="96167"/>
                        <a:pt x="410958" y="92607"/>
                        <a:pt x="410408" y="92911"/>
                      </a:cubicBezTo>
                      <a:cubicBezTo>
                        <a:pt x="413547" y="91237"/>
                        <a:pt x="414472" y="91611"/>
                        <a:pt x="420047" y="91248"/>
                      </a:cubicBezTo>
                      <a:cubicBezTo>
                        <a:pt x="427237" y="90792"/>
                        <a:pt x="435049" y="84912"/>
                        <a:pt x="442322" y="85358"/>
                      </a:cubicBezTo>
                      <a:cubicBezTo>
                        <a:pt x="448260" y="85720"/>
                        <a:pt x="452171" y="92314"/>
                        <a:pt x="457441" y="85873"/>
                      </a:cubicBezTo>
                      <a:cubicBezTo>
                        <a:pt x="459046" y="83905"/>
                        <a:pt x="454069" y="83039"/>
                        <a:pt x="456598" y="80439"/>
                      </a:cubicBezTo>
                      <a:cubicBezTo>
                        <a:pt x="455369" y="81703"/>
                        <a:pt x="461646" y="79959"/>
                        <a:pt x="461494" y="79994"/>
                      </a:cubicBezTo>
                      <a:cubicBezTo>
                        <a:pt x="466260" y="78799"/>
                        <a:pt x="471788" y="78951"/>
                        <a:pt x="476566" y="78249"/>
                      </a:cubicBezTo>
                      <a:cubicBezTo>
                        <a:pt x="479248" y="77850"/>
                        <a:pt x="480373" y="77054"/>
                        <a:pt x="482668" y="76949"/>
                      </a:cubicBezTo>
                      <a:cubicBezTo>
                        <a:pt x="483640" y="76902"/>
                        <a:pt x="485561" y="75813"/>
                        <a:pt x="486217" y="75859"/>
                      </a:cubicBezTo>
                      <a:cubicBezTo>
                        <a:pt x="488044" y="76012"/>
                        <a:pt x="489917" y="78986"/>
                        <a:pt x="491873" y="78951"/>
                      </a:cubicBezTo>
                      <a:cubicBezTo>
                        <a:pt x="496160" y="78881"/>
                        <a:pt x="500294" y="74056"/>
                        <a:pt x="504077" y="74360"/>
                      </a:cubicBezTo>
                      <a:cubicBezTo>
                        <a:pt x="509148" y="74770"/>
                        <a:pt x="510284" y="80989"/>
                        <a:pt x="515074" y="81165"/>
                      </a:cubicBezTo>
                      <a:cubicBezTo>
                        <a:pt x="523776" y="81481"/>
                        <a:pt x="516128" y="71292"/>
                        <a:pt x="519056" y="66631"/>
                      </a:cubicBezTo>
                      <a:cubicBezTo>
                        <a:pt x="520953" y="63621"/>
                        <a:pt x="525251" y="64324"/>
                        <a:pt x="528050" y="62860"/>
                      </a:cubicBezTo>
                      <a:cubicBezTo>
                        <a:pt x="529104" y="62321"/>
                        <a:pt x="530826" y="64007"/>
                        <a:pt x="532161" y="63281"/>
                      </a:cubicBezTo>
                      <a:cubicBezTo>
                        <a:pt x="533637" y="62485"/>
                        <a:pt x="530943" y="58725"/>
                        <a:pt x="532243" y="58152"/>
                      </a:cubicBezTo>
                      <a:cubicBezTo>
                        <a:pt x="536869" y="56137"/>
                        <a:pt x="541870" y="61384"/>
                        <a:pt x="545981" y="60342"/>
                      </a:cubicBezTo>
                      <a:cubicBezTo>
                        <a:pt x="549447" y="59452"/>
                        <a:pt x="549670" y="55680"/>
                        <a:pt x="552715" y="54427"/>
                      </a:cubicBezTo>
                      <a:cubicBezTo>
                        <a:pt x="562564" y="50399"/>
                        <a:pt x="554155" y="57109"/>
                        <a:pt x="559297" y="58714"/>
                      </a:cubicBezTo>
                      <a:cubicBezTo>
                        <a:pt x="562904" y="59838"/>
                        <a:pt x="572812" y="55481"/>
                        <a:pt x="576641" y="54357"/>
                      </a:cubicBezTo>
                      <a:cubicBezTo>
                        <a:pt x="582567" y="52612"/>
                        <a:pt x="587334" y="52928"/>
                        <a:pt x="593155" y="51898"/>
                      </a:cubicBezTo>
                      <a:cubicBezTo>
                        <a:pt x="596656" y="51277"/>
                        <a:pt x="598659" y="49403"/>
                        <a:pt x="601692" y="48724"/>
                      </a:cubicBezTo>
                      <a:cubicBezTo>
                        <a:pt x="606799" y="47576"/>
                        <a:pt x="612268" y="47564"/>
                        <a:pt x="617398" y="46440"/>
                      </a:cubicBezTo>
                      <a:cubicBezTo>
                        <a:pt x="619634" y="45948"/>
                        <a:pt x="622000" y="46686"/>
                        <a:pt x="624214" y="45901"/>
                      </a:cubicBezTo>
                      <a:cubicBezTo>
                        <a:pt x="625736" y="45374"/>
                        <a:pt x="625912" y="42845"/>
                        <a:pt x="627270" y="42435"/>
                      </a:cubicBezTo>
                      <a:cubicBezTo>
                        <a:pt x="631838" y="41041"/>
                        <a:pt x="637178" y="42329"/>
                        <a:pt x="642273" y="41720"/>
                      </a:cubicBezTo>
                      <a:cubicBezTo>
                        <a:pt x="649440" y="40877"/>
                        <a:pt x="650178" y="37012"/>
                        <a:pt x="655729" y="34682"/>
                      </a:cubicBezTo>
                      <a:cubicBezTo>
                        <a:pt x="664044" y="31180"/>
                        <a:pt x="670017" y="36977"/>
                        <a:pt x="676927" y="30173"/>
                      </a:cubicBezTo>
                      <a:cubicBezTo>
                        <a:pt x="683427" y="23790"/>
                        <a:pt x="676482" y="26249"/>
                        <a:pt x="674491" y="18824"/>
                      </a:cubicBezTo>
                      <a:cubicBezTo>
                        <a:pt x="684141" y="12453"/>
                        <a:pt x="694155" y="21729"/>
                        <a:pt x="700713" y="10790"/>
                      </a:cubicBezTo>
                      <a:cubicBezTo>
                        <a:pt x="703173" y="6703"/>
                        <a:pt x="700233" y="2979"/>
                        <a:pt x="708455" y="6363"/>
                      </a:cubicBezTo>
                      <a:cubicBezTo>
                        <a:pt x="711746" y="7722"/>
                        <a:pt x="716196" y="15896"/>
                        <a:pt x="716372" y="7394"/>
                      </a:cubicBezTo>
                      <a:cubicBezTo>
                        <a:pt x="716454" y="3705"/>
                        <a:pt x="706710" y="-2350"/>
                        <a:pt x="719100" y="953"/>
                      </a:cubicBezTo>
                      <a:cubicBezTo>
                        <a:pt x="721736" y="1655"/>
                        <a:pt x="725659" y="6609"/>
                        <a:pt x="726537" y="6750"/>
                      </a:cubicBezTo>
                      <a:cubicBezTo>
                        <a:pt x="729992" y="7312"/>
                        <a:pt x="731175" y="3564"/>
                        <a:pt x="734864" y="3201"/>
                      </a:cubicBezTo>
                      <a:cubicBezTo>
                        <a:pt x="742032" y="2510"/>
                        <a:pt x="755359" y="7698"/>
                        <a:pt x="761262" y="11727"/>
                      </a:cubicBezTo>
                      <a:cubicBezTo>
                        <a:pt x="766380" y="15205"/>
                        <a:pt x="775222" y="21752"/>
                        <a:pt x="781640" y="20944"/>
                      </a:cubicBezTo>
                      <a:cubicBezTo>
                        <a:pt x="786652" y="20300"/>
                        <a:pt x="790107" y="12371"/>
                        <a:pt x="794007" y="10462"/>
                      </a:cubicBezTo>
                      <a:cubicBezTo>
                        <a:pt x="793363" y="10778"/>
                        <a:pt x="801163" y="10450"/>
                        <a:pt x="801702" y="10392"/>
                      </a:cubicBezTo>
                      <a:cubicBezTo>
                        <a:pt x="805789" y="9947"/>
                        <a:pt x="807628" y="7476"/>
                        <a:pt x="812348" y="9830"/>
                      </a:cubicBezTo>
                      <a:cubicBezTo>
                        <a:pt x="806808" y="15381"/>
                        <a:pt x="817735" y="18859"/>
                        <a:pt x="819644" y="23544"/>
                      </a:cubicBezTo>
                      <a:cubicBezTo>
                        <a:pt x="821108" y="27104"/>
                        <a:pt x="820276" y="31555"/>
                        <a:pt x="820382" y="35045"/>
                      </a:cubicBezTo>
                      <a:cubicBezTo>
                        <a:pt x="820499" y="38675"/>
                        <a:pt x="818730" y="44027"/>
                        <a:pt x="822068" y="47553"/>
                      </a:cubicBezTo>
                      <a:cubicBezTo>
                        <a:pt x="825476" y="51172"/>
                        <a:pt x="834143" y="49298"/>
                        <a:pt x="835220" y="54931"/>
                      </a:cubicBezTo>
                      <a:cubicBezTo>
                        <a:pt x="835782" y="57894"/>
                        <a:pt x="834436" y="56945"/>
                        <a:pt x="833733" y="58866"/>
                      </a:cubicBezTo>
                      <a:cubicBezTo>
                        <a:pt x="832409" y="62508"/>
                        <a:pt x="829482" y="59791"/>
                        <a:pt x="829341" y="66549"/>
                      </a:cubicBezTo>
                      <a:cubicBezTo>
                        <a:pt x="829282" y="69910"/>
                        <a:pt x="832245" y="73330"/>
                        <a:pt x="832011" y="75754"/>
                      </a:cubicBezTo>
                      <a:cubicBezTo>
                        <a:pt x="830957" y="86271"/>
                        <a:pt x="826120" y="76187"/>
                        <a:pt x="821283" y="79631"/>
                      </a:cubicBezTo>
                      <a:cubicBezTo>
                        <a:pt x="817220" y="82535"/>
                        <a:pt x="823602" y="83695"/>
                        <a:pt x="823743" y="84034"/>
                      </a:cubicBezTo>
                      <a:cubicBezTo>
                        <a:pt x="824024" y="84760"/>
                        <a:pt x="824036" y="89129"/>
                        <a:pt x="824235" y="89398"/>
                      </a:cubicBezTo>
                      <a:cubicBezTo>
                        <a:pt x="824059" y="89164"/>
                        <a:pt x="829622" y="95336"/>
                        <a:pt x="829458" y="95301"/>
                      </a:cubicBezTo>
                      <a:cubicBezTo>
                        <a:pt x="832866" y="95945"/>
                        <a:pt x="832421" y="93439"/>
                        <a:pt x="835232" y="92525"/>
                      </a:cubicBezTo>
                      <a:cubicBezTo>
                        <a:pt x="839237" y="91213"/>
                        <a:pt x="836520" y="88859"/>
                        <a:pt x="841638" y="89691"/>
                      </a:cubicBezTo>
                      <a:cubicBezTo>
                        <a:pt x="845105" y="90265"/>
                        <a:pt x="847213" y="90663"/>
                        <a:pt x="846627" y="95359"/>
                      </a:cubicBezTo>
                      <a:cubicBezTo>
                        <a:pt x="850328" y="93368"/>
                        <a:pt x="853713" y="96636"/>
                        <a:pt x="856348" y="95066"/>
                      </a:cubicBezTo>
                      <a:cubicBezTo>
                        <a:pt x="860494" y="92583"/>
                        <a:pt x="856851" y="88766"/>
                        <a:pt x="859978" y="86330"/>
                      </a:cubicBezTo>
                      <a:cubicBezTo>
                        <a:pt x="868247" y="79877"/>
                        <a:pt x="881118" y="96905"/>
                        <a:pt x="883507" y="92911"/>
                      </a:cubicBezTo>
                      <a:cubicBezTo>
                        <a:pt x="886400" y="88086"/>
                        <a:pt x="878740" y="89621"/>
                        <a:pt x="877885" y="87606"/>
                      </a:cubicBezTo>
                      <a:cubicBezTo>
                        <a:pt x="877417" y="86505"/>
                        <a:pt x="878506" y="83601"/>
                        <a:pt x="878237" y="83097"/>
                      </a:cubicBezTo>
                      <a:cubicBezTo>
                        <a:pt x="879396" y="85311"/>
                        <a:pt x="877710" y="75871"/>
                        <a:pt x="876773" y="78846"/>
                      </a:cubicBezTo>
                      <a:cubicBezTo>
                        <a:pt x="877112" y="77768"/>
                        <a:pt x="874009" y="77850"/>
                        <a:pt x="876152" y="76094"/>
                      </a:cubicBezTo>
                      <a:cubicBezTo>
                        <a:pt x="877815" y="74747"/>
                        <a:pt x="882968" y="77452"/>
                        <a:pt x="884502" y="78459"/>
                      </a:cubicBezTo>
                      <a:cubicBezTo>
                        <a:pt x="888320" y="80977"/>
                        <a:pt x="892782" y="86693"/>
                        <a:pt x="889480" y="90429"/>
                      </a:cubicBezTo>
                      <a:cubicBezTo>
                        <a:pt x="891857" y="91190"/>
                        <a:pt x="898767" y="92338"/>
                        <a:pt x="898779" y="94364"/>
                      </a:cubicBezTo>
                      <a:cubicBezTo>
                        <a:pt x="898790" y="96273"/>
                        <a:pt x="895277" y="94844"/>
                        <a:pt x="894937" y="96800"/>
                      </a:cubicBezTo>
                      <a:cubicBezTo>
                        <a:pt x="895066" y="96050"/>
                        <a:pt x="892829" y="96624"/>
                        <a:pt x="892513" y="97374"/>
                      </a:cubicBezTo>
                      <a:cubicBezTo>
                        <a:pt x="891998" y="98580"/>
                        <a:pt x="894246" y="99763"/>
                        <a:pt x="894129" y="100360"/>
                      </a:cubicBezTo>
                      <a:cubicBezTo>
                        <a:pt x="894539" y="98240"/>
                        <a:pt x="894902" y="108886"/>
                        <a:pt x="893754" y="106708"/>
                      </a:cubicBezTo>
                      <a:cubicBezTo>
                        <a:pt x="897209" y="113219"/>
                        <a:pt x="898076" y="107176"/>
                        <a:pt x="903756" y="104916"/>
                      </a:cubicBezTo>
                      <a:cubicBezTo>
                        <a:pt x="905314" y="104295"/>
                        <a:pt x="914250" y="109132"/>
                        <a:pt x="909401" y="102199"/>
                      </a:cubicBezTo>
                      <a:cubicBezTo>
                        <a:pt x="907152" y="98966"/>
                        <a:pt x="904506" y="98545"/>
                        <a:pt x="900477" y="100102"/>
                      </a:cubicBezTo>
                      <a:cubicBezTo>
                        <a:pt x="899610" y="91541"/>
                        <a:pt x="918442" y="92045"/>
                        <a:pt x="923431" y="94656"/>
                      </a:cubicBezTo>
                      <a:cubicBezTo>
                        <a:pt x="925212" y="95593"/>
                        <a:pt x="926242" y="99892"/>
                        <a:pt x="927753" y="101508"/>
                      </a:cubicBezTo>
                      <a:cubicBezTo>
                        <a:pt x="930903" y="104892"/>
                        <a:pt x="933374" y="106227"/>
                        <a:pt x="939137" y="106555"/>
                      </a:cubicBezTo>
                      <a:cubicBezTo>
                        <a:pt x="945180" y="106907"/>
                        <a:pt x="949794" y="106708"/>
                        <a:pt x="953237" y="104623"/>
                      </a:cubicBezTo>
                      <a:cubicBezTo>
                        <a:pt x="953788" y="104295"/>
                        <a:pt x="957770" y="98369"/>
                        <a:pt x="956868" y="98791"/>
                      </a:cubicBezTo>
                      <a:cubicBezTo>
                        <a:pt x="960053" y="97303"/>
                        <a:pt x="961388" y="98697"/>
                        <a:pt x="964715" y="99072"/>
                      </a:cubicBezTo>
                      <a:cubicBezTo>
                        <a:pt x="963731" y="103944"/>
                        <a:pt x="964106" y="111416"/>
                        <a:pt x="959163" y="113418"/>
                      </a:cubicBezTo>
                      <a:cubicBezTo>
                        <a:pt x="953835" y="115585"/>
                        <a:pt x="950216" y="109120"/>
                        <a:pt x="946480" y="115503"/>
                      </a:cubicBezTo>
                      <a:cubicBezTo>
                        <a:pt x="947288" y="115971"/>
                        <a:pt x="948108" y="116452"/>
                        <a:pt x="948916" y="116920"/>
                      </a:cubicBezTo>
                      <a:cubicBezTo>
                        <a:pt x="943856" y="117283"/>
                        <a:pt x="940788" y="123420"/>
                        <a:pt x="939828" y="126008"/>
                      </a:cubicBezTo>
                      <a:cubicBezTo>
                        <a:pt x="938598" y="129334"/>
                        <a:pt x="938574" y="130049"/>
                        <a:pt x="938106" y="133761"/>
                      </a:cubicBezTo>
                      <a:cubicBezTo>
                        <a:pt x="940893" y="134991"/>
                        <a:pt x="943704" y="136232"/>
                        <a:pt x="946491" y="137462"/>
                      </a:cubicBezTo>
                      <a:cubicBezTo>
                        <a:pt x="943716" y="140531"/>
                        <a:pt x="944430" y="143903"/>
                        <a:pt x="948564" y="143412"/>
                      </a:cubicBezTo>
                      <a:cubicBezTo>
                        <a:pt x="950321" y="143201"/>
                        <a:pt x="953167" y="139640"/>
                        <a:pt x="954584" y="138387"/>
                      </a:cubicBezTo>
                      <a:cubicBezTo>
                        <a:pt x="956833" y="136396"/>
                        <a:pt x="957676" y="134195"/>
                        <a:pt x="959796" y="133012"/>
                      </a:cubicBezTo>
                      <a:cubicBezTo>
                        <a:pt x="961798" y="131887"/>
                        <a:pt x="969095" y="129533"/>
                        <a:pt x="972819" y="129112"/>
                      </a:cubicBezTo>
                      <a:cubicBezTo>
                        <a:pt x="975103" y="128842"/>
                        <a:pt x="978312" y="128971"/>
                        <a:pt x="980502" y="129639"/>
                      </a:cubicBezTo>
                      <a:cubicBezTo>
                        <a:pt x="982340" y="130189"/>
                        <a:pt x="980654" y="133714"/>
                        <a:pt x="981884" y="133960"/>
                      </a:cubicBezTo>
                      <a:cubicBezTo>
                        <a:pt x="986814" y="134956"/>
                        <a:pt x="986240" y="131079"/>
                        <a:pt x="991300" y="134850"/>
                      </a:cubicBezTo>
                      <a:cubicBezTo>
                        <a:pt x="993115" y="136209"/>
                        <a:pt x="994649" y="143657"/>
                        <a:pt x="999603" y="140495"/>
                      </a:cubicBezTo>
                      <a:cubicBezTo>
                        <a:pt x="1005553" y="136701"/>
                        <a:pt x="997554" y="130060"/>
                        <a:pt x="1001500" y="126149"/>
                      </a:cubicBezTo>
                      <a:cubicBezTo>
                        <a:pt x="1002836" y="124814"/>
                        <a:pt x="1009464" y="125481"/>
                        <a:pt x="1011174" y="124720"/>
                      </a:cubicBezTo>
                      <a:cubicBezTo>
                        <a:pt x="1009253" y="125563"/>
                        <a:pt x="1016480" y="119274"/>
                        <a:pt x="1015402" y="120480"/>
                      </a:cubicBezTo>
                      <a:cubicBezTo>
                        <a:pt x="1021188" y="113981"/>
                        <a:pt x="1020696" y="117107"/>
                        <a:pt x="1029397" y="116615"/>
                      </a:cubicBezTo>
                      <a:cubicBezTo>
                        <a:pt x="1036986" y="116182"/>
                        <a:pt x="1046215" y="108324"/>
                        <a:pt x="1053043" y="104201"/>
                      </a:cubicBezTo>
                      <a:cubicBezTo>
                        <a:pt x="1051450" y="102831"/>
                        <a:pt x="1050829" y="100313"/>
                        <a:pt x="1049225" y="98966"/>
                      </a:cubicBezTo>
                      <a:cubicBezTo>
                        <a:pt x="1054155" y="94715"/>
                        <a:pt x="1058219" y="97116"/>
                        <a:pt x="1063818" y="96120"/>
                      </a:cubicBezTo>
                      <a:cubicBezTo>
                        <a:pt x="1070657" y="94914"/>
                        <a:pt x="1078270" y="90581"/>
                        <a:pt x="1084746" y="88051"/>
                      </a:cubicBezTo>
                      <a:cubicBezTo>
                        <a:pt x="1087896" y="86810"/>
                        <a:pt x="1090496" y="84983"/>
                        <a:pt x="1091656" y="83917"/>
                      </a:cubicBezTo>
                      <a:cubicBezTo>
                        <a:pt x="1092066" y="83542"/>
                        <a:pt x="1091035" y="81282"/>
                        <a:pt x="1092218" y="80556"/>
                      </a:cubicBezTo>
                      <a:cubicBezTo>
                        <a:pt x="1097266" y="77429"/>
                        <a:pt x="1101189" y="80673"/>
                        <a:pt x="1107431" y="80040"/>
                      </a:cubicBezTo>
                      <a:cubicBezTo>
                        <a:pt x="1109352" y="79841"/>
                        <a:pt x="1114774" y="77113"/>
                        <a:pt x="1116121" y="76316"/>
                      </a:cubicBezTo>
                      <a:cubicBezTo>
                        <a:pt x="1116777" y="75930"/>
                        <a:pt x="1115723" y="73400"/>
                        <a:pt x="1116625" y="72932"/>
                      </a:cubicBezTo>
                      <a:cubicBezTo>
                        <a:pt x="1118604" y="71901"/>
                        <a:pt x="1120068" y="72498"/>
                        <a:pt x="1122082" y="71819"/>
                      </a:cubicBezTo>
                      <a:cubicBezTo>
                        <a:pt x="1123640" y="71292"/>
                        <a:pt x="1132377" y="67907"/>
                        <a:pt x="1129285" y="72533"/>
                      </a:cubicBezTo>
                      <a:cubicBezTo>
                        <a:pt x="1128090" y="74325"/>
                        <a:pt x="1123535" y="72815"/>
                        <a:pt x="1122410" y="75215"/>
                      </a:cubicBezTo>
                      <a:cubicBezTo>
                        <a:pt x="1121227" y="77745"/>
                        <a:pt x="1125221" y="76972"/>
                        <a:pt x="1125104" y="77745"/>
                      </a:cubicBezTo>
                      <a:cubicBezTo>
                        <a:pt x="1124144" y="83683"/>
                        <a:pt x="1123663" y="92384"/>
                        <a:pt x="1114177" y="93509"/>
                      </a:cubicBezTo>
                      <a:cubicBezTo>
                        <a:pt x="1111483" y="93825"/>
                        <a:pt x="1108544" y="90592"/>
                        <a:pt x="1105745" y="91412"/>
                      </a:cubicBezTo>
                      <a:cubicBezTo>
                        <a:pt x="1100592" y="92923"/>
                        <a:pt x="1103426" y="91049"/>
                        <a:pt x="1103941" y="95289"/>
                      </a:cubicBezTo>
                      <a:cubicBezTo>
                        <a:pt x="1104527" y="100079"/>
                        <a:pt x="1110839" y="106216"/>
                        <a:pt x="1114306" y="108839"/>
                      </a:cubicBezTo>
                      <a:cubicBezTo>
                        <a:pt x="1137987" y="126769"/>
                        <a:pt x="1167652" y="137977"/>
                        <a:pt x="1185711" y="162490"/>
                      </a:cubicBezTo>
                      <a:cubicBezTo>
                        <a:pt x="1205386" y="189180"/>
                        <a:pt x="1223118" y="217323"/>
                        <a:pt x="1241271" y="245044"/>
                      </a:cubicBezTo>
                      <a:cubicBezTo>
                        <a:pt x="1251588" y="261007"/>
                        <a:pt x="1261918" y="276935"/>
                        <a:pt x="1271229" y="293506"/>
                      </a:cubicBezTo>
                      <a:cubicBezTo>
                        <a:pt x="1275784" y="301599"/>
                        <a:pt x="1285763" y="329965"/>
                        <a:pt x="1295706" y="330901"/>
                      </a:cubicBezTo>
                      <a:cubicBezTo>
                        <a:pt x="1286629" y="322750"/>
                        <a:pt x="1296467" y="327048"/>
                        <a:pt x="1297732" y="326533"/>
                      </a:cubicBezTo>
                      <a:cubicBezTo>
                        <a:pt x="1299980" y="325620"/>
                        <a:pt x="1301690" y="321778"/>
                        <a:pt x="1304478" y="320185"/>
                      </a:cubicBezTo>
                      <a:cubicBezTo>
                        <a:pt x="1307769" y="318300"/>
                        <a:pt x="1311774" y="320431"/>
                        <a:pt x="1314397" y="316157"/>
                      </a:cubicBezTo>
                      <a:cubicBezTo>
                        <a:pt x="1317208" y="311554"/>
                        <a:pt x="1313308" y="310582"/>
                        <a:pt x="1313156" y="307244"/>
                      </a:cubicBezTo>
                      <a:cubicBezTo>
                        <a:pt x="1313015" y="304129"/>
                        <a:pt x="1311938" y="301974"/>
                        <a:pt x="1314807" y="299503"/>
                      </a:cubicBezTo>
                      <a:cubicBezTo>
                        <a:pt x="1316084" y="298390"/>
                        <a:pt x="1319222" y="300639"/>
                        <a:pt x="1320522" y="299866"/>
                      </a:cubicBezTo>
                      <a:cubicBezTo>
                        <a:pt x="1321764" y="299140"/>
                        <a:pt x="1323181" y="295802"/>
                        <a:pt x="1323661" y="295626"/>
                      </a:cubicBezTo>
                      <a:cubicBezTo>
                        <a:pt x="1328299" y="293916"/>
                        <a:pt x="1327819" y="293448"/>
                        <a:pt x="1334506" y="295978"/>
                      </a:cubicBezTo>
                      <a:cubicBezTo>
                        <a:pt x="1335794" y="296470"/>
                        <a:pt x="1336438" y="293799"/>
                        <a:pt x="1337258" y="294233"/>
                      </a:cubicBezTo>
                      <a:cubicBezTo>
                        <a:pt x="1339273" y="295287"/>
                        <a:pt x="1337961" y="298062"/>
                        <a:pt x="1339437" y="298905"/>
                      </a:cubicBezTo>
                      <a:cubicBezTo>
                        <a:pt x="1349719" y="304808"/>
                        <a:pt x="1352565" y="296060"/>
                        <a:pt x="1348150" y="310523"/>
                      </a:cubicBezTo>
                      <a:cubicBezTo>
                        <a:pt x="1346370" y="316379"/>
                        <a:pt x="1345023" y="316285"/>
                        <a:pt x="1350246" y="318159"/>
                      </a:cubicBezTo>
                      <a:cubicBezTo>
                        <a:pt x="1357835" y="320888"/>
                        <a:pt x="1362520" y="311238"/>
                        <a:pt x="1365670" y="322469"/>
                      </a:cubicBezTo>
                      <a:cubicBezTo>
                        <a:pt x="1366338" y="324835"/>
                        <a:pt x="1364605" y="330046"/>
                        <a:pt x="1365905" y="331651"/>
                      </a:cubicBezTo>
                      <a:cubicBezTo>
                        <a:pt x="1369570" y="336230"/>
                        <a:pt x="1378577" y="329765"/>
                        <a:pt x="1381294" y="329320"/>
                      </a:cubicBezTo>
                      <a:cubicBezTo>
                        <a:pt x="1389620" y="327962"/>
                        <a:pt x="1396671" y="334368"/>
                        <a:pt x="1404600" y="334239"/>
                      </a:cubicBezTo>
                      <a:cubicBezTo>
                        <a:pt x="1406883" y="334204"/>
                        <a:pt x="1408933" y="331955"/>
                        <a:pt x="1411240" y="331663"/>
                      </a:cubicBezTo>
                      <a:cubicBezTo>
                        <a:pt x="1414566" y="331241"/>
                        <a:pt x="1418841" y="333337"/>
                        <a:pt x="1421370" y="332939"/>
                      </a:cubicBezTo>
                      <a:cubicBezTo>
                        <a:pt x="1422483" y="332764"/>
                        <a:pt x="1429580" y="329402"/>
                        <a:pt x="1430552" y="328325"/>
                      </a:cubicBezTo>
                      <a:cubicBezTo>
                        <a:pt x="1432297" y="326369"/>
                        <a:pt x="1430927" y="322481"/>
                        <a:pt x="1432696" y="321333"/>
                      </a:cubicBezTo>
                      <a:cubicBezTo>
                        <a:pt x="1437532" y="318183"/>
                        <a:pt x="1444290" y="323804"/>
                        <a:pt x="1449794" y="320408"/>
                      </a:cubicBezTo>
                      <a:cubicBezTo>
                        <a:pt x="1451902" y="319108"/>
                        <a:pt x="1451844" y="315243"/>
                        <a:pt x="1453589" y="314236"/>
                      </a:cubicBezTo>
                      <a:cubicBezTo>
                        <a:pt x="1454701" y="313592"/>
                        <a:pt x="1455955" y="315032"/>
                        <a:pt x="1457044" y="314669"/>
                      </a:cubicBezTo>
                      <a:cubicBezTo>
                        <a:pt x="1464399" y="312186"/>
                        <a:pt x="1467537" y="315102"/>
                        <a:pt x="1473206" y="317328"/>
                      </a:cubicBezTo>
                      <a:cubicBezTo>
                        <a:pt x="1480631" y="320244"/>
                        <a:pt x="1489649" y="320619"/>
                        <a:pt x="1494790" y="327107"/>
                      </a:cubicBezTo>
                      <a:cubicBezTo>
                        <a:pt x="1496594" y="329391"/>
                        <a:pt x="1496242" y="332260"/>
                        <a:pt x="1497952" y="334274"/>
                      </a:cubicBezTo>
                      <a:cubicBezTo>
                        <a:pt x="1499720" y="336382"/>
                        <a:pt x="1502637" y="336980"/>
                        <a:pt x="1504522" y="338924"/>
                      </a:cubicBezTo>
                      <a:cubicBezTo>
                        <a:pt x="1506642" y="341137"/>
                        <a:pt x="1509324" y="345037"/>
                        <a:pt x="1510156" y="347988"/>
                      </a:cubicBezTo>
                      <a:cubicBezTo>
                        <a:pt x="1511795" y="353879"/>
                        <a:pt x="1509804" y="363389"/>
                        <a:pt x="1516480" y="366750"/>
                      </a:cubicBezTo>
                      <a:cubicBezTo>
                        <a:pt x="1518506" y="367757"/>
                        <a:pt x="1522921" y="367242"/>
                        <a:pt x="1525451" y="367570"/>
                      </a:cubicBezTo>
                      <a:cubicBezTo>
                        <a:pt x="1528355" y="367945"/>
                        <a:pt x="1532478" y="370346"/>
                        <a:pt x="1535253" y="371365"/>
                      </a:cubicBezTo>
                      <a:cubicBezTo>
                        <a:pt x="1538451" y="372536"/>
                        <a:pt x="1541179" y="375979"/>
                        <a:pt x="1543651" y="376822"/>
                      </a:cubicBezTo>
                      <a:cubicBezTo>
                        <a:pt x="1546836" y="377911"/>
                        <a:pt x="1552376" y="374843"/>
                        <a:pt x="1553477" y="381437"/>
                      </a:cubicBezTo>
                      <a:cubicBezTo>
                        <a:pt x="1553699" y="382690"/>
                        <a:pt x="1548101" y="383861"/>
                        <a:pt x="1550806" y="389506"/>
                      </a:cubicBezTo>
                      <a:cubicBezTo>
                        <a:pt x="1550303" y="388464"/>
                        <a:pt x="1555936" y="393745"/>
                        <a:pt x="1555912" y="393722"/>
                      </a:cubicBezTo>
                      <a:cubicBezTo>
                        <a:pt x="1556158" y="393980"/>
                        <a:pt x="1559602" y="399355"/>
                        <a:pt x="1559672" y="399531"/>
                      </a:cubicBezTo>
                      <a:cubicBezTo>
                        <a:pt x="1562822" y="406792"/>
                        <a:pt x="1561651" y="408045"/>
                        <a:pt x="1568315" y="409872"/>
                      </a:cubicBezTo>
                      <a:cubicBezTo>
                        <a:pt x="1569252" y="410118"/>
                        <a:pt x="1576396" y="410528"/>
                        <a:pt x="1577836" y="410563"/>
                      </a:cubicBezTo>
                      <a:cubicBezTo>
                        <a:pt x="1579816" y="410598"/>
                        <a:pt x="1581666" y="407975"/>
                        <a:pt x="1583189" y="408139"/>
                      </a:cubicBezTo>
                      <a:cubicBezTo>
                        <a:pt x="1585566" y="408397"/>
                        <a:pt x="1584992" y="411371"/>
                        <a:pt x="1587171" y="412144"/>
                      </a:cubicBezTo>
                      <a:cubicBezTo>
                        <a:pt x="1589478" y="412964"/>
                        <a:pt x="1595310" y="411664"/>
                        <a:pt x="1596915" y="412390"/>
                      </a:cubicBezTo>
                      <a:cubicBezTo>
                        <a:pt x="1597488" y="412648"/>
                        <a:pt x="1600604" y="412613"/>
                        <a:pt x="1601236" y="412800"/>
                      </a:cubicBezTo>
                      <a:cubicBezTo>
                        <a:pt x="1601412" y="412847"/>
                        <a:pt x="1599714" y="416981"/>
                        <a:pt x="1602267" y="417684"/>
                      </a:cubicBezTo>
                      <a:cubicBezTo>
                        <a:pt x="1606530" y="418855"/>
                        <a:pt x="1608813" y="410645"/>
                        <a:pt x="1613451" y="418738"/>
                      </a:cubicBezTo>
                      <a:cubicBezTo>
                        <a:pt x="1619822" y="411500"/>
                        <a:pt x="1626428" y="404298"/>
                        <a:pt x="1633173" y="399859"/>
                      </a:cubicBezTo>
                      <a:cubicBezTo>
                        <a:pt x="1637050" y="397294"/>
                        <a:pt x="1634825" y="396111"/>
                        <a:pt x="1640329" y="397411"/>
                      </a:cubicBezTo>
                      <a:cubicBezTo>
                        <a:pt x="1644639" y="398430"/>
                        <a:pt x="1642718" y="398547"/>
                        <a:pt x="1644674" y="403033"/>
                      </a:cubicBezTo>
                      <a:cubicBezTo>
                        <a:pt x="1640505" y="405129"/>
                        <a:pt x="1632389" y="407202"/>
                        <a:pt x="1637097" y="412683"/>
                      </a:cubicBezTo>
                      <a:cubicBezTo>
                        <a:pt x="1638221" y="413995"/>
                        <a:pt x="1644264" y="413210"/>
                        <a:pt x="1646630" y="415178"/>
                      </a:cubicBezTo>
                      <a:cubicBezTo>
                        <a:pt x="1647672" y="416056"/>
                        <a:pt x="1646864" y="419370"/>
                        <a:pt x="1647789" y="420975"/>
                      </a:cubicBezTo>
                      <a:cubicBezTo>
                        <a:pt x="1648539" y="422286"/>
                        <a:pt x="1651279" y="421947"/>
                        <a:pt x="1652158" y="423188"/>
                      </a:cubicBezTo>
                      <a:cubicBezTo>
                        <a:pt x="1652989" y="424371"/>
                        <a:pt x="1650987" y="425765"/>
                        <a:pt x="1651420" y="426268"/>
                      </a:cubicBezTo>
                      <a:cubicBezTo>
                        <a:pt x="1652755" y="427826"/>
                        <a:pt x="1656667" y="432839"/>
                        <a:pt x="1657978" y="433424"/>
                      </a:cubicBezTo>
                      <a:cubicBezTo>
                        <a:pt x="1667008" y="437535"/>
                        <a:pt x="1669526" y="432112"/>
                        <a:pt x="1673274" y="444257"/>
                      </a:cubicBezTo>
                      <a:cubicBezTo>
                        <a:pt x="1663553" y="442501"/>
                        <a:pt x="1650495" y="439128"/>
                        <a:pt x="1644358" y="448309"/>
                      </a:cubicBezTo>
                      <a:cubicBezTo>
                        <a:pt x="1639158" y="456109"/>
                        <a:pt x="1646560" y="459716"/>
                        <a:pt x="1643269" y="467552"/>
                      </a:cubicBezTo>
                      <a:cubicBezTo>
                        <a:pt x="1641840" y="470936"/>
                        <a:pt x="1637788" y="477530"/>
                        <a:pt x="1634567" y="480282"/>
                      </a:cubicBezTo>
                      <a:cubicBezTo>
                        <a:pt x="1629847" y="484322"/>
                        <a:pt x="1625163" y="483280"/>
                        <a:pt x="1619682" y="485084"/>
                      </a:cubicBezTo>
                      <a:cubicBezTo>
                        <a:pt x="1617351" y="485845"/>
                        <a:pt x="1615934" y="488339"/>
                        <a:pt x="1613041" y="488983"/>
                      </a:cubicBezTo>
                      <a:cubicBezTo>
                        <a:pt x="1609376" y="489803"/>
                        <a:pt x="1604047" y="488445"/>
                        <a:pt x="1600042" y="488878"/>
                      </a:cubicBezTo>
                      <a:cubicBezTo>
                        <a:pt x="1589794" y="489991"/>
                        <a:pt x="1587967" y="494488"/>
                        <a:pt x="1584254" y="504126"/>
                      </a:cubicBezTo>
                      <a:cubicBezTo>
                        <a:pt x="1582451" y="508835"/>
                        <a:pt x="1579523" y="515686"/>
                        <a:pt x="1579101" y="520675"/>
                      </a:cubicBezTo>
                      <a:cubicBezTo>
                        <a:pt x="1578481" y="528042"/>
                        <a:pt x="1582697" y="535584"/>
                        <a:pt x="1583142" y="542950"/>
                      </a:cubicBezTo>
                      <a:cubicBezTo>
                        <a:pt x="1583598" y="550797"/>
                        <a:pt x="1585016" y="550762"/>
                        <a:pt x="1587241" y="558210"/>
                      </a:cubicBezTo>
                      <a:cubicBezTo>
                        <a:pt x="1587709" y="559815"/>
                        <a:pt x="1587709" y="565729"/>
                        <a:pt x="1586995" y="567158"/>
                      </a:cubicBezTo>
                      <a:cubicBezTo>
                        <a:pt x="1585402" y="570297"/>
                        <a:pt x="1582908" y="570437"/>
                        <a:pt x="1580577" y="573049"/>
                      </a:cubicBezTo>
                      <a:cubicBezTo>
                        <a:pt x="1576560" y="577546"/>
                        <a:pt x="1580436" y="577546"/>
                        <a:pt x="1574136" y="579666"/>
                      </a:cubicBezTo>
                      <a:cubicBezTo>
                        <a:pt x="1567659" y="581833"/>
                        <a:pt x="1565610" y="580767"/>
                        <a:pt x="1560328" y="584046"/>
                      </a:cubicBezTo>
                      <a:cubicBezTo>
                        <a:pt x="1556486" y="586435"/>
                        <a:pt x="1552434" y="590382"/>
                        <a:pt x="1548804" y="592186"/>
                      </a:cubicBezTo>
                      <a:cubicBezTo>
                        <a:pt x="1531037" y="600993"/>
                        <a:pt x="1544950" y="587571"/>
                        <a:pt x="1533380" y="584058"/>
                      </a:cubicBezTo>
                      <a:cubicBezTo>
                        <a:pt x="1529327" y="582828"/>
                        <a:pt x="1520614" y="583472"/>
                        <a:pt x="1515777" y="583226"/>
                      </a:cubicBezTo>
                      <a:cubicBezTo>
                        <a:pt x="1509418" y="582898"/>
                        <a:pt x="1506830" y="584725"/>
                        <a:pt x="1500903" y="584995"/>
                      </a:cubicBezTo>
                      <a:cubicBezTo>
                        <a:pt x="1485620" y="585686"/>
                        <a:pt x="1472140" y="575473"/>
                        <a:pt x="1458285" y="571163"/>
                      </a:cubicBezTo>
                      <a:cubicBezTo>
                        <a:pt x="1447721" y="567884"/>
                        <a:pt x="1448986" y="570953"/>
                        <a:pt x="1447265" y="581060"/>
                      </a:cubicBezTo>
                      <a:cubicBezTo>
                        <a:pt x="1445262" y="592748"/>
                        <a:pt x="1438680" y="604283"/>
                        <a:pt x="1434698" y="616089"/>
                      </a:cubicBezTo>
                      <a:cubicBezTo>
                        <a:pt x="1432625" y="622214"/>
                        <a:pt x="1429592" y="627308"/>
                        <a:pt x="1426699" y="633035"/>
                      </a:cubicBezTo>
                      <a:cubicBezTo>
                        <a:pt x="1423396" y="639559"/>
                        <a:pt x="1423631" y="646422"/>
                        <a:pt x="1421499" y="653261"/>
                      </a:cubicBezTo>
                      <a:cubicBezTo>
                        <a:pt x="1418911" y="661553"/>
                        <a:pt x="1405185" y="676930"/>
                        <a:pt x="1415034" y="682481"/>
                      </a:cubicBezTo>
                      <a:cubicBezTo>
                        <a:pt x="1422202" y="686534"/>
                        <a:pt x="1428011" y="681099"/>
                        <a:pt x="1428667" y="691476"/>
                      </a:cubicBezTo>
                      <a:cubicBezTo>
                        <a:pt x="1429170" y="699510"/>
                        <a:pt x="1425106" y="707310"/>
                        <a:pt x="1417318" y="704078"/>
                      </a:cubicBezTo>
                      <a:cubicBezTo>
                        <a:pt x="1413629" y="702555"/>
                        <a:pt x="1413137" y="698878"/>
                        <a:pt x="1408581" y="698526"/>
                      </a:cubicBezTo>
                      <a:cubicBezTo>
                        <a:pt x="1404084" y="698175"/>
                        <a:pt x="1400313" y="702766"/>
                        <a:pt x="1396109" y="703304"/>
                      </a:cubicBezTo>
                      <a:cubicBezTo>
                        <a:pt x="1391752" y="703867"/>
                        <a:pt x="1386939" y="702250"/>
                        <a:pt x="1384549" y="699170"/>
                      </a:cubicBezTo>
                      <a:cubicBezTo>
                        <a:pt x="1381036" y="694661"/>
                        <a:pt x="1384503" y="690715"/>
                        <a:pt x="1376539" y="691558"/>
                      </a:cubicBezTo>
                      <a:cubicBezTo>
                        <a:pt x="1374208" y="691804"/>
                        <a:pt x="1369723" y="694814"/>
                        <a:pt x="1367240" y="695692"/>
                      </a:cubicBezTo>
                      <a:cubicBezTo>
                        <a:pt x="1362040" y="697507"/>
                        <a:pt x="1356500" y="698362"/>
                        <a:pt x="1351277" y="700096"/>
                      </a:cubicBezTo>
                      <a:cubicBezTo>
                        <a:pt x="1346112" y="701817"/>
                        <a:pt x="1340772" y="704850"/>
                        <a:pt x="1335220" y="705296"/>
                      </a:cubicBezTo>
                      <a:cubicBezTo>
                        <a:pt x="1329119" y="705787"/>
                        <a:pt x="1322818" y="704136"/>
                        <a:pt x="1316658" y="706619"/>
                      </a:cubicBezTo>
                      <a:cubicBezTo>
                        <a:pt x="1311856" y="708563"/>
                        <a:pt x="1311575" y="709945"/>
                        <a:pt x="1305497" y="710765"/>
                      </a:cubicBezTo>
                      <a:cubicBezTo>
                        <a:pt x="1298130" y="711760"/>
                        <a:pt x="1294933" y="711784"/>
                        <a:pt x="1288913" y="716632"/>
                      </a:cubicBezTo>
                      <a:cubicBezTo>
                        <a:pt x="1274941" y="727899"/>
                        <a:pt x="1300718" y="725393"/>
                        <a:pt x="1308132" y="727770"/>
                      </a:cubicBezTo>
                      <a:cubicBezTo>
                        <a:pt x="1309572" y="728238"/>
                        <a:pt x="1316857" y="729550"/>
                        <a:pt x="1317091" y="731353"/>
                      </a:cubicBezTo>
                      <a:cubicBezTo>
                        <a:pt x="1317513" y="734563"/>
                        <a:pt x="1312254" y="732665"/>
                        <a:pt x="1311013" y="734644"/>
                      </a:cubicBezTo>
                      <a:cubicBezTo>
                        <a:pt x="1309935" y="736366"/>
                        <a:pt x="1309291" y="743030"/>
                        <a:pt x="1308905" y="746087"/>
                      </a:cubicBezTo>
                      <a:cubicBezTo>
                        <a:pt x="1307745" y="755374"/>
                        <a:pt x="1309151" y="767367"/>
                        <a:pt x="1312488" y="774979"/>
                      </a:cubicBezTo>
                      <a:cubicBezTo>
                        <a:pt x="1316986" y="785227"/>
                        <a:pt x="1324516" y="797430"/>
                        <a:pt x="1327034" y="808696"/>
                      </a:cubicBezTo>
                      <a:cubicBezTo>
                        <a:pt x="1328205" y="813932"/>
                        <a:pt x="1325722" y="818452"/>
                        <a:pt x="1326577" y="821685"/>
                      </a:cubicBezTo>
                      <a:cubicBezTo>
                        <a:pt x="1326987" y="823230"/>
                        <a:pt x="1330723" y="824941"/>
                        <a:pt x="1331285" y="828513"/>
                      </a:cubicBezTo>
                      <a:cubicBezTo>
                        <a:pt x="1332937" y="839065"/>
                        <a:pt x="1321951" y="830421"/>
                        <a:pt x="1314128" y="837495"/>
                      </a:cubicBezTo>
                      <a:cubicBezTo>
                        <a:pt x="1305860" y="844967"/>
                        <a:pt x="1314526" y="840540"/>
                        <a:pt x="1318426" y="845787"/>
                      </a:cubicBezTo>
                      <a:cubicBezTo>
                        <a:pt x="1321565" y="850003"/>
                        <a:pt x="1316447" y="850085"/>
                        <a:pt x="1311891" y="851209"/>
                      </a:cubicBezTo>
                      <a:cubicBezTo>
                        <a:pt x="1301643" y="853739"/>
                        <a:pt x="1298657" y="859817"/>
                        <a:pt x="1300390" y="870323"/>
                      </a:cubicBezTo>
                      <a:cubicBezTo>
                        <a:pt x="1301093" y="874551"/>
                        <a:pt x="1309151" y="893406"/>
                        <a:pt x="1300496" y="891298"/>
                      </a:cubicBezTo>
                      <a:cubicBezTo>
                        <a:pt x="1296373" y="890303"/>
                        <a:pt x="1292122" y="880336"/>
                        <a:pt x="1288058" y="878029"/>
                      </a:cubicBezTo>
                      <a:cubicBezTo>
                        <a:pt x="1280926" y="873965"/>
                        <a:pt x="1273618" y="877045"/>
                        <a:pt x="1266439" y="875698"/>
                      </a:cubicBezTo>
                      <a:cubicBezTo>
                        <a:pt x="1262644" y="874984"/>
                        <a:pt x="1262281" y="874422"/>
                        <a:pt x="1259587" y="872185"/>
                      </a:cubicBezTo>
                      <a:cubicBezTo>
                        <a:pt x="1258311" y="871107"/>
                        <a:pt x="1253427" y="866071"/>
                        <a:pt x="1252291" y="864724"/>
                      </a:cubicBezTo>
                      <a:cubicBezTo>
                        <a:pt x="1251296" y="863518"/>
                        <a:pt x="1248274" y="855215"/>
                        <a:pt x="1248426" y="855332"/>
                      </a:cubicBezTo>
                      <a:cubicBezTo>
                        <a:pt x="1246096" y="853528"/>
                        <a:pt x="1239432" y="855894"/>
                        <a:pt x="1235778" y="855648"/>
                      </a:cubicBezTo>
                      <a:cubicBezTo>
                        <a:pt x="1229032" y="855191"/>
                        <a:pt x="1223434" y="852381"/>
                        <a:pt x="1217309" y="850354"/>
                      </a:cubicBezTo>
                      <a:cubicBezTo>
                        <a:pt x="1207436" y="847099"/>
                        <a:pt x="1197270" y="851092"/>
                        <a:pt x="1186835" y="850050"/>
                      </a:cubicBezTo>
                      <a:cubicBezTo>
                        <a:pt x="1178708" y="849230"/>
                        <a:pt x="1172184" y="848680"/>
                        <a:pt x="1163834" y="848164"/>
                      </a:cubicBezTo>
                      <a:cubicBezTo>
                        <a:pt x="1156350" y="847708"/>
                        <a:pt x="1148223" y="846092"/>
                        <a:pt x="1141488" y="843890"/>
                      </a:cubicBezTo>
                      <a:cubicBezTo>
                        <a:pt x="1132588" y="840985"/>
                        <a:pt x="1128067" y="843410"/>
                        <a:pt x="1121028" y="845845"/>
                      </a:cubicBezTo>
                      <a:cubicBezTo>
                        <a:pt x="1114224" y="848188"/>
                        <a:pt x="1106541" y="847298"/>
                        <a:pt x="1101002" y="847239"/>
                      </a:cubicBezTo>
                      <a:cubicBezTo>
                        <a:pt x="1090777" y="847134"/>
                        <a:pt x="1077742" y="842285"/>
                        <a:pt x="1069849" y="847825"/>
                      </a:cubicBezTo>
                      <a:cubicBezTo>
                        <a:pt x="1064122" y="851830"/>
                        <a:pt x="1067155" y="852205"/>
                        <a:pt x="1059543" y="852193"/>
                      </a:cubicBezTo>
                      <a:cubicBezTo>
                        <a:pt x="1053383" y="852193"/>
                        <a:pt x="1045583" y="852158"/>
                        <a:pt x="1039668" y="850483"/>
                      </a:cubicBezTo>
                      <a:cubicBezTo>
                        <a:pt x="1029421" y="847602"/>
                        <a:pt x="1017077" y="841465"/>
                        <a:pt x="1008750" y="835645"/>
                      </a:cubicBezTo>
                      <a:cubicBezTo>
                        <a:pt x="1002508" y="831288"/>
                        <a:pt x="993771" y="829648"/>
                        <a:pt x="987611" y="824531"/>
                      </a:cubicBezTo>
                      <a:cubicBezTo>
                        <a:pt x="993829" y="831534"/>
                        <a:pt x="980853" y="827786"/>
                        <a:pt x="978464" y="828489"/>
                      </a:cubicBezTo>
                      <a:cubicBezTo>
                        <a:pt x="975255" y="829437"/>
                        <a:pt x="972339" y="831780"/>
                        <a:pt x="968146" y="833865"/>
                      </a:cubicBezTo>
                      <a:cubicBezTo>
                        <a:pt x="962724" y="836558"/>
                        <a:pt x="958343" y="836605"/>
                        <a:pt x="954783" y="841360"/>
                      </a:cubicBezTo>
                      <a:cubicBezTo>
                        <a:pt x="951363" y="845939"/>
                        <a:pt x="953694" y="848832"/>
                        <a:pt x="952581" y="853130"/>
                      </a:cubicBezTo>
                      <a:cubicBezTo>
                        <a:pt x="951211" y="858400"/>
                        <a:pt x="947030" y="862253"/>
                        <a:pt x="947721" y="868051"/>
                      </a:cubicBezTo>
                      <a:cubicBezTo>
                        <a:pt x="948190" y="872044"/>
                        <a:pt x="954643" y="876846"/>
                        <a:pt x="951012" y="878977"/>
                      </a:cubicBezTo>
                      <a:cubicBezTo>
                        <a:pt x="945145" y="882421"/>
                        <a:pt x="943353" y="873239"/>
                        <a:pt x="942264" y="872606"/>
                      </a:cubicBezTo>
                      <a:cubicBezTo>
                        <a:pt x="940237" y="871424"/>
                        <a:pt x="933585" y="869608"/>
                        <a:pt x="930938" y="869421"/>
                      </a:cubicBezTo>
                      <a:cubicBezTo>
                        <a:pt x="926242" y="869069"/>
                        <a:pt x="922307" y="871482"/>
                        <a:pt x="917822" y="869140"/>
                      </a:cubicBezTo>
                      <a:cubicBezTo>
                        <a:pt x="911650" y="865931"/>
                        <a:pt x="912493" y="863354"/>
                        <a:pt x="904400" y="861410"/>
                      </a:cubicBezTo>
                      <a:cubicBezTo>
                        <a:pt x="898931" y="860110"/>
                        <a:pt x="893708" y="857018"/>
                        <a:pt x="888133" y="856152"/>
                      </a:cubicBezTo>
                      <a:cubicBezTo>
                        <a:pt x="881563" y="855133"/>
                        <a:pt x="879092" y="856070"/>
                        <a:pt x="872697" y="853938"/>
                      </a:cubicBezTo>
                      <a:cubicBezTo>
                        <a:pt x="868012" y="852369"/>
                        <a:pt x="864663" y="851292"/>
                        <a:pt x="859721" y="852521"/>
                      </a:cubicBezTo>
                      <a:cubicBezTo>
                        <a:pt x="857109" y="853165"/>
                        <a:pt x="854696" y="856023"/>
                        <a:pt x="852249" y="856304"/>
                      </a:cubicBezTo>
                      <a:cubicBezTo>
                        <a:pt x="850047" y="856550"/>
                        <a:pt x="849251" y="854219"/>
                        <a:pt x="847119" y="854606"/>
                      </a:cubicBezTo>
                      <a:cubicBezTo>
                        <a:pt x="841708" y="855589"/>
                        <a:pt x="835279" y="856538"/>
                        <a:pt x="830992" y="860520"/>
                      </a:cubicBezTo>
                      <a:cubicBezTo>
                        <a:pt x="829763" y="861680"/>
                        <a:pt x="830196" y="864689"/>
                        <a:pt x="829505" y="865263"/>
                      </a:cubicBezTo>
                      <a:cubicBezTo>
                        <a:pt x="828533" y="866095"/>
                        <a:pt x="823122" y="867641"/>
                        <a:pt x="822947" y="868133"/>
                      </a:cubicBezTo>
                      <a:cubicBezTo>
                        <a:pt x="822876" y="868355"/>
                        <a:pt x="823497" y="874609"/>
                        <a:pt x="824762" y="873051"/>
                      </a:cubicBezTo>
                      <a:cubicBezTo>
                        <a:pt x="825699" y="871904"/>
                        <a:pt x="820546" y="877631"/>
                        <a:pt x="821857" y="874715"/>
                      </a:cubicBezTo>
                      <a:cubicBezTo>
                        <a:pt x="820979" y="876659"/>
                        <a:pt x="808729" y="886590"/>
                        <a:pt x="819070" y="888475"/>
                      </a:cubicBezTo>
                      <a:cubicBezTo>
                        <a:pt x="815943" y="891509"/>
                        <a:pt x="812406" y="890361"/>
                        <a:pt x="809783" y="891766"/>
                      </a:cubicBezTo>
                      <a:cubicBezTo>
                        <a:pt x="807194" y="893172"/>
                        <a:pt x="806855" y="893933"/>
                        <a:pt x="804431" y="896650"/>
                      </a:cubicBezTo>
                      <a:cubicBezTo>
                        <a:pt x="802744" y="898536"/>
                        <a:pt x="802850" y="902635"/>
                        <a:pt x="799816" y="903021"/>
                      </a:cubicBezTo>
                      <a:cubicBezTo>
                        <a:pt x="796713" y="903419"/>
                        <a:pt x="797169" y="899602"/>
                        <a:pt x="795542" y="899332"/>
                      </a:cubicBezTo>
                      <a:cubicBezTo>
                        <a:pt x="785364" y="897634"/>
                        <a:pt x="776557" y="914592"/>
                        <a:pt x="767364" y="919347"/>
                      </a:cubicBezTo>
                      <a:cubicBezTo>
                        <a:pt x="760747" y="922778"/>
                        <a:pt x="753275" y="924137"/>
                        <a:pt x="746353" y="927896"/>
                      </a:cubicBezTo>
                      <a:cubicBezTo>
                        <a:pt x="743156" y="929630"/>
                        <a:pt x="740134" y="931832"/>
                        <a:pt x="737499" y="933694"/>
                      </a:cubicBezTo>
                      <a:cubicBezTo>
                        <a:pt x="735860" y="934865"/>
                        <a:pt x="738787" y="935041"/>
                        <a:pt x="735497" y="936786"/>
                      </a:cubicBezTo>
                      <a:cubicBezTo>
                        <a:pt x="731292" y="938999"/>
                        <a:pt x="726514" y="938191"/>
                        <a:pt x="723164" y="941458"/>
                      </a:cubicBezTo>
                      <a:cubicBezTo>
                        <a:pt x="718644" y="945897"/>
                        <a:pt x="721958" y="942407"/>
                        <a:pt x="720307" y="946775"/>
                      </a:cubicBezTo>
                      <a:cubicBezTo>
                        <a:pt x="717601" y="953943"/>
                        <a:pt x="719838" y="951870"/>
                        <a:pt x="713971" y="956203"/>
                      </a:cubicBezTo>
                      <a:cubicBezTo>
                        <a:pt x="712261" y="957456"/>
                        <a:pt x="710200" y="958405"/>
                        <a:pt x="708361" y="959892"/>
                      </a:cubicBezTo>
                      <a:cubicBezTo>
                        <a:pt x="703512" y="963827"/>
                        <a:pt x="700069" y="969215"/>
                        <a:pt x="695080" y="971744"/>
                      </a:cubicBezTo>
                      <a:cubicBezTo>
                        <a:pt x="693967" y="977530"/>
                        <a:pt x="699448" y="988246"/>
                        <a:pt x="697083" y="990752"/>
                      </a:cubicBezTo>
                      <a:cubicBezTo>
                        <a:pt x="697715" y="990073"/>
                        <a:pt x="688393" y="991783"/>
                        <a:pt x="688920" y="991888"/>
                      </a:cubicBezTo>
                      <a:cubicBezTo>
                        <a:pt x="679445" y="990108"/>
                        <a:pt x="673496" y="979989"/>
                        <a:pt x="664817" y="978092"/>
                      </a:cubicBezTo>
                      <a:cubicBezTo>
                        <a:pt x="668952" y="976042"/>
                        <a:pt x="673578" y="969976"/>
                        <a:pt x="670498" y="965537"/>
                      </a:cubicBezTo>
                      <a:cubicBezTo>
                        <a:pt x="670884" y="965116"/>
                        <a:pt x="671774" y="965045"/>
                        <a:pt x="672149" y="964554"/>
                      </a:cubicBezTo>
                      <a:cubicBezTo>
                        <a:pt x="671880" y="963816"/>
                        <a:pt x="671411" y="963593"/>
                        <a:pt x="671423" y="962247"/>
                      </a:cubicBezTo>
                      <a:cubicBezTo>
                        <a:pt x="671317" y="962328"/>
                        <a:pt x="669526" y="963757"/>
                        <a:pt x="669572" y="963734"/>
                      </a:cubicBezTo>
                      <a:cubicBezTo>
                        <a:pt x="668389" y="963769"/>
                        <a:pt x="668682" y="962773"/>
                        <a:pt x="667078" y="963734"/>
                      </a:cubicBezTo>
                      <a:cubicBezTo>
                        <a:pt x="666176" y="960045"/>
                        <a:pt x="663599" y="957351"/>
                        <a:pt x="662030" y="953943"/>
                      </a:cubicBezTo>
                      <a:cubicBezTo>
                        <a:pt x="656912" y="958991"/>
                        <a:pt x="639146" y="955665"/>
                        <a:pt x="632283" y="956039"/>
                      </a:cubicBezTo>
                      <a:cubicBezTo>
                        <a:pt x="618662" y="956765"/>
                        <a:pt x="600205" y="963453"/>
                        <a:pt x="595427" y="948099"/>
                      </a:cubicBezTo>
                      <a:cubicBezTo>
                        <a:pt x="592885" y="939971"/>
                        <a:pt x="591129" y="931152"/>
                        <a:pt x="589629" y="922767"/>
                      </a:cubicBezTo>
                      <a:cubicBezTo>
                        <a:pt x="588903" y="918668"/>
                        <a:pt x="589067" y="906242"/>
                        <a:pt x="586584" y="904286"/>
                      </a:cubicBezTo>
                      <a:cubicBezTo>
                        <a:pt x="583106" y="901557"/>
                        <a:pt x="571067" y="905422"/>
                        <a:pt x="566534" y="904251"/>
                      </a:cubicBezTo>
                      <a:cubicBezTo>
                        <a:pt x="563197" y="903396"/>
                        <a:pt x="562869" y="904790"/>
                        <a:pt x="561346" y="902787"/>
                      </a:cubicBezTo>
                      <a:cubicBezTo>
                        <a:pt x="559671" y="900585"/>
                        <a:pt x="561510" y="890701"/>
                        <a:pt x="561557" y="887386"/>
                      </a:cubicBezTo>
                      <a:cubicBezTo>
                        <a:pt x="561791" y="873016"/>
                        <a:pt x="565176" y="857311"/>
                        <a:pt x="566253" y="841758"/>
                      </a:cubicBezTo>
                      <a:cubicBezTo>
                        <a:pt x="555900" y="846630"/>
                        <a:pt x="552328" y="852638"/>
                        <a:pt x="546285" y="841618"/>
                      </a:cubicBezTo>
                      <a:cubicBezTo>
                        <a:pt x="542373" y="834497"/>
                        <a:pt x="539188" y="825526"/>
                        <a:pt x="533039" y="820338"/>
                      </a:cubicBezTo>
                      <a:cubicBezTo>
                        <a:pt x="525040" y="813604"/>
                        <a:pt x="517697" y="809294"/>
                        <a:pt x="510342" y="801307"/>
                      </a:cubicBezTo>
                      <a:cubicBezTo>
                        <a:pt x="503620" y="794010"/>
                        <a:pt x="502695" y="795205"/>
                        <a:pt x="493560" y="799702"/>
                      </a:cubicBezTo>
                      <a:cubicBezTo>
                        <a:pt x="484355" y="804246"/>
                        <a:pt x="479494" y="806530"/>
                        <a:pt x="469258" y="805698"/>
                      </a:cubicBezTo>
                      <a:cubicBezTo>
                        <a:pt x="459667" y="804925"/>
                        <a:pt x="450063" y="804141"/>
                        <a:pt x="440471" y="803368"/>
                      </a:cubicBezTo>
                      <a:cubicBezTo>
                        <a:pt x="422073" y="801904"/>
                        <a:pt x="406215" y="802665"/>
                        <a:pt x="388004" y="805289"/>
                      </a:cubicBezTo>
                      <a:cubicBezTo>
                        <a:pt x="379033" y="806577"/>
                        <a:pt x="359732" y="813276"/>
                        <a:pt x="351593" y="809856"/>
                      </a:cubicBezTo>
                      <a:cubicBezTo>
                        <a:pt x="344191" y="806752"/>
                        <a:pt x="335642" y="793659"/>
                        <a:pt x="329961" y="787874"/>
                      </a:cubicBezTo>
                      <a:cubicBezTo>
                        <a:pt x="323227" y="781011"/>
                        <a:pt x="313647" y="774183"/>
                        <a:pt x="308225" y="766348"/>
                      </a:cubicBezTo>
                      <a:cubicBezTo>
                        <a:pt x="303716" y="759848"/>
                        <a:pt x="305004" y="755714"/>
                        <a:pt x="298223" y="750924"/>
                      </a:cubicBezTo>
                      <a:cubicBezTo>
                        <a:pt x="290576" y="745489"/>
                        <a:pt x="281687" y="741238"/>
                        <a:pt x="273582" y="736507"/>
                      </a:cubicBezTo>
                      <a:cubicBezTo>
                        <a:pt x="268862" y="733755"/>
                        <a:pt x="253427" y="727899"/>
                        <a:pt x="251002" y="723273"/>
                      </a:cubicBezTo>
                      <a:cubicBezTo>
                        <a:pt x="248859" y="719209"/>
                        <a:pt x="250698" y="707169"/>
                        <a:pt x="251061" y="702531"/>
                      </a:cubicBezTo>
                      <a:cubicBezTo>
                        <a:pt x="251553" y="696125"/>
                        <a:pt x="254656" y="684297"/>
                        <a:pt x="250171" y="678511"/>
                      </a:cubicBezTo>
                      <a:cubicBezTo>
                        <a:pt x="245439" y="672409"/>
                        <a:pt x="241832" y="679577"/>
                        <a:pt x="236246" y="676309"/>
                      </a:cubicBezTo>
                      <a:cubicBezTo>
                        <a:pt x="230039" y="672679"/>
                        <a:pt x="239197" y="658016"/>
                        <a:pt x="241235" y="658086"/>
                      </a:cubicBezTo>
                      <a:cubicBezTo>
                        <a:pt x="240029" y="656704"/>
                        <a:pt x="240509" y="656306"/>
                        <a:pt x="238623" y="655428"/>
                      </a:cubicBezTo>
                      <a:cubicBezTo>
                        <a:pt x="243706" y="652102"/>
                        <a:pt x="256097" y="655521"/>
                        <a:pt x="261999" y="657032"/>
                      </a:cubicBezTo>
                      <a:cubicBezTo>
                        <a:pt x="264822" y="657758"/>
                        <a:pt x="268804" y="659492"/>
                        <a:pt x="271650" y="657946"/>
                      </a:cubicBezTo>
                      <a:cubicBezTo>
                        <a:pt x="273500" y="656927"/>
                        <a:pt x="276838" y="651434"/>
                        <a:pt x="279215" y="649677"/>
                      </a:cubicBezTo>
                      <a:cubicBezTo>
                        <a:pt x="282038" y="647581"/>
                        <a:pt x="284989" y="644150"/>
                        <a:pt x="287519" y="642334"/>
                      </a:cubicBezTo>
                      <a:cubicBezTo>
                        <a:pt x="295740" y="636455"/>
                        <a:pt x="310239" y="637708"/>
                        <a:pt x="313893" y="627554"/>
                      </a:cubicBezTo>
                      <a:cubicBezTo>
                        <a:pt x="319245" y="612646"/>
                        <a:pt x="301327" y="621265"/>
                        <a:pt x="293035" y="615597"/>
                      </a:cubicBezTo>
                      <a:cubicBezTo>
                        <a:pt x="284380" y="609659"/>
                        <a:pt x="293621" y="606017"/>
                        <a:pt x="290365" y="599927"/>
                      </a:cubicBezTo>
                      <a:cubicBezTo>
                        <a:pt x="289381" y="598088"/>
                        <a:pt x="279567" y="596788"/>
                        <a:pt x="277353" y="597011"/>
                      </a:cubicBezTo>
                      <a:cubicBezTo>
                        <a:pt x="279063" y="602011"/>
                        <a:pt x="288585" y="602538"/>
                        <a:pt x="287355" y="606579"/>
                      </a:cubicBezTo>
                      <a:cubicBezTo>
                        <a:pt x="285739" y="611873"/>
                        <a:pt x="275632" y="612189"/>
                        <a:pt x="272786" y="607820"/>
                      </a:cubicBezTo>
                      <a:cubicBezTo>
                        <a:pt x="271884" y="610655"/>
                        <a:pt x="270748" y="613418"/>
                        <a:pt x="269659" y="616194"/>
                      </a:cubicBezTo>
                      <a:cubicBezTo>
                        <a:pt x="267691" y="603194"/>
                        <a:pt x="259880" y="597913"/>
                        <a:pt x="250147" y="608886"/>
                      </a:cubicBezTo>
                      <a:cubicBezTo>
                        <a:pt x="246599" y="612880"/>
                        <a:pt x="246833" y="616674"/>
                        <a:pt x="249983" y="620375"/>
                      </a:cubicBezTo>
                      <a:cubicBezTo>
                        <a:pt x="256109" y="627590"/>
                        <a:pt x="259423" y="619087"/>
                        <a:pt x="267199" y="620879"/>
                      </a:cubicBezTo>
                      <a:cubicBezTo>
                        <a:pt x="270291" y="621593"/>
                        <a:pt x="271533" y="626688"/>
                        <a:pt x="275257" y="627285"/>
                      </a:cubicBezTo>
                      <a:cubicBezTo>
                        <a:pt x="278841" y="627859"/>
                        <a:pt x="278536" y="625739"/>
                        <a:pt x="281710" y="624849"/>
                      </a:cubicBezTo>
                      <a:cubicBezTo>
                        <a:pt x="287531" y="623209"/>
                        <a:pt x="283455" y="621593"/>
                        <a:pt x="287179" y="626137"/>
                      </a:cubicBezTo>
                      <a:cubicBezTo>
                        <a:pt x="296560" y="637615"/>
                        <a:pt x="285259" y="645040"/>
                        <a:pt x="273371" y="643353"/>
                      </a:cubicBezTo>
                      <a:cubicBezTo>
                        <a:pt x="270198" y="642908"/>
                        <a:pt x="267106" y="642440"/>
                        <a:pt x="263955" y="641983"/>
                      </a:cubicBezTo>
                      <a:cubicBezTo>
                        <a:pt x="261273" y="641596"/>
                        <a:pt x="255382" y="639606"/>
                        <a:pt x="253110" y="639688"/>
                      </a:cubicBezTo>
                      <a:cubicBezTo>
                        <a:pt x="247056" y="639898"/>
                        <a:pt x="241785" y="646457"/>
                        <a:pt x="235766" y="643505"/>
                      </a:cubicBezTo>
                      <a:cubicBezTo>
                        <a:pt x="243378" y="638411"/>
                        <a:pt x="237183" y="628854"/>
                        <a:pt x="231245" y="626758"/>
                      </a:cubicBezTo>
                      <a:cubicBezTo>
                        <a:pt x="216945" y="621722"/>
                        <a:pt x="228083" y="633082"/>
                        <a:pt x="231292" y="638774"/>
                      </a:cubicBezTo>
                      <a:cubicBezTo>
                        <a:pt x="234805" y="644993"/>
                        <a:pt x="232053" y="653086"/>
                        <a:pt x="228387" y="659410"/>
                      </a:cubicBezTo>
                      <a:cubicBezTo>
                        <a:pt x="227825" y="660382"/>
                        <a:pt x="229804" y="661869"/>
                        <a:pt x="229113" y="662747"/>
                      </a:cubicBezTo>
                      <a:cubicBezTo>
                        <a:pt x="227837" y="664317"/>
                        <a:pt x="225811" y="662256"/>
                        <a:pt x="225003" y="663017"/>
                      </a:cubicBezTo>
                      <a:cubicBezTo>
                        <a:pt x="223351" y="664610"/>
                        <a:pt x="220037" y="666776"/>
                        <a:pt x="218034" y="668779"/>
                      </a:cubicBezTo>
                      <a:cubicBezTo>
                        <a:pt x="218725" y="662443"/>
                        <a:pt x="212190" y="663895"/>
                        <a:pt x="214017" y="669681"/>
                      </a:cubicBezTo>
                      <a:cubicBezTo>
                        <a:pt x="212401" y="668451"/>
                        <a:pt x="207787" y="666039"/>
                        <a:pt x="207272" y="664094"/>
                      </a:cubicBezTo>
                      <a:cubicBezTo>
                        <a:pt x="205749" y="658449"/>
                        <a:pt x="214451" y="654163"/>
                        <a:pt x="214099" y="651212"/>
                      </a:cubicBezTo>
                      <a:cubicBezTo>
                        <a:pt x="213221" y="643951"/>
                        <a:pt x="207248" y="650896"/>
                        <a:pt x="204390" y="651399"/>
                      </a:cubicBezTo>
                      <a:cubicBezTo>
                        <a:pt x="200186" y="652137"/>
                        <a:pt x="195982" y="650649"/>
                        <a:pt x="193241" y="651048"/>
                      </a:cubicBezTo>
                      <a:cubicBezTo>
                        <a:pt x="194881" y="650802"/>
                        <a:pt x="188252" y="652828"/>
                        <a:pt x="187748" y="653109"/>
                      </a:cubicBezTo>
                      <a:cubicBezTo>
                        <a:pt x="185312" y="654467"/>
                        <a:pt x="182912" y="655814"/>
                        <a:pt x="181248" y="658028"/>
                      </a:cubicBezTo>
                      <a:cubicBezTo>
                        <a:pt x="176693" y="664071"/>
                        <a:pt x="178567" y="672327"/>
                        <a:pt x="174503" y="678242"/>
                      </a:cubicBezTo>
                      <a:cubicBezTo>
                        <a:pt x="167136" y="675173"/>
                        <a:pt x="151782" y="682271"/>
                        <a:pt x="144053" y="684308"/>
                      </a:cubicBezTo>
                      <a:cubicBezTo>
                        <a:pt x="131779" y="687541"/>
                        <a:pt x="119529" y="690832"/>
                        <a:pt x="107314" y="694275"/>
                      </a:cubicBezTo>
                      <a:cubicBezTo>
                        <a:pt x="84277" y="700752"/>
                        <a:pt x="61229" y="707205"/>
                        <a:pt x="38216" y="713704"/>
                      </a:cubicBezTo>
                      <a:lnTo>
                        <a:pt x="38216" y="713704"/>
                      </a:lnTo>
                      <a:cubicBezTo>
                        <a:pt x="38192" y="713704"/>
                        <a:pt x="38192" y="713704"/>
                        <a:pt x="38192" y="713704"/>
                      </a:cubicBezTo>
                      <a:cubicBezTo>
                        <a:pt x="38180" y="713704"/>
                        <a:pt x="38180" y="713704"/>
                        <a:pt x="38180" y="713716"/>
                      </a:cubicBezTo>
                      <a:lnTo>
                        <a:pt x="38122" y="713716"/>
                      </a:lnTo>
                      <a:lnTo>
                        <a:pt x="38122" y="713716"/>
                      </a:lnTo>
                      <a:lnTo>
                        <a:pt x="38098" y="713728"/>
                      </a:lnTo>
                      <a:cubicBezTo>
                        <a:pt x="38087" y="713739"/>
                        <a:pt x="38087" y="713739"/>
                        <a:pt x="38063" y="713751"/>
                      </a:cubicBezTo>
                      <a:cubicBezTo>
                        <a:pt x="38052" y="713763"/>
                        <a:pt x="38052" y="713763"/>
                        <a:pt x="38052" y="713786"/>
                      </a:cubicBezTo>
                      <a:cubicBezTo>
                        <a:pt x="38052" y="713798"/>
                        <a:pt x="38052" y="713810"/>
                        <a:pt x="38040" y="713810"/>
                      </a:cubicBezTo>
                      <a:cubicBezTo>
                        <a:pt x="38040" y="713833"/>
                        <a:pt x="38040" y="713857"/>
                        <a:pt x="38040" y="713880"/>
                      </a:cubicBezTo>
                      <a:cubicBezTo>
                        <a:pt x="38098" y="791387"/>
                        <a:pt x="38122" y="868894"/>
                        <a:pt x="38180" y="946401"/>
                      </a:cubicBezTo>
                      <a:cubicBezTo>
                        <a:pt x="23178" y="943004"/>
                        <a:pt x="16385" y="956508"/>
                        <a:pt x="5013" y="941775"/>
                      </a:cubicBezTo>
                      <a:cubicBezTo>
                        <a:pt x="1535" y="937266"/>
                        <a:pt x="1699" y="940041"/>
                        <a:pt x="434" y="935720"/>
                      </a:cubicBezTo>
                      <a:cubicBezTo>
                        <a:pt x="-550" y="932323"/>
                        <a:pt x="446" y="927007"/>
                        <a:pt x="446" y="923505"/>
                      </a:cubicBezTo>
                      <a:cubicBezTo>
                        <a:pt x="446" y="881448"/>
                        <a:pt x="446" y="839392"/>
                        <a:pt x="446" y="797348"/>
                      </a:cubicBezTo>
                      <a:cubicBezTo>
                        <a:pt x="446" y="673991"/>
                        <a:pt x="458" y="550645"/>
                        <a:pt x="446" y="427275"/>
                      </a:cubicBezTo>
                      <a:cubicBezTo>
                        <a:pt x="446" y="396767"/>
                        <a:pt x="446" y="364303"/>
                        <a:pt x="446" y="334766"/>
                      </a:cubicBezTo>
                      <a:lnTo>
                        <a:pt x="446" y="334766"/>
                      </a:lnTo>
                      <a:close/>
                    </a:path>
                  </a:pathLst>
                </a:custGeom>
                <a:solidFill>
                  <a:srgbClr val="D6D6D2"/>
                </a:solidFill>
                <a:ln w="8774" cap="rnd">
                  <a:solidFill>
                    <a:srgbClr val="FFFFFF"/>
                  </a:solidFill>
                  <a:prstDash val="solid"/>
                  <a:round/>
                </a:ln>
              </p:spPr>
              <p:txBody>
                <a:bodyPr rtlCol="0" anchor="ctr"/>
                <a:lstStyle/>
                <a:p>
                  <a:endParaRPr lang="en-US"/>
                </a:p>
              </p:txBody>
            </p:sp>
            <p:sp>
              <p:nvSpPr>
                <p:cNvPr id="125" name="Freeform: Shape 124">
                  <a:extLst>
                    <a:ext uri="{FF2B5EF4-FFF2-40B4-BE49-F238E27FC236}">
                      <a16:creationId xmlns:a16="http://schemas.microsoft.com/office/drawing/2014/main" id="{E0F908A8-FD2E-4BF1-9320-7EAD3CB46C47}"/>
                    </a:ext>
                  </a:extLst>
                </p:cNvPr>
                <p:cNvSpPr/>
                <p:nvPr/>
              </p:nvSpPr>
              <p:spPr>
                <a:xfrm>
                  <a:off x="1124037" y="4139309"/>
                  <a:ext cx="53357" cy="31738"/>
                </a:xfrm>
                <a:custGeom>
                  <a:avLst/>
                  <a:gdLst>
                    <a:gd name="connsiteX0" fmla="*/ 53358 w 53357"/>
                    <a:gd name="connsiteY0" fmla="*/ 8948 h 31738"/>
                    <a:gd name="connsiteX1" fmla="*/ 14159 w 53357"/>
                    <a:gd name="connsiteY1" fmla="*/ 31738 h 31738"/>
                    <a:gd name="connsiteX2" fmla="*/ 0 w 53357"/>
                    <a:gd name="connsiteY2" fmla="*/ 0 h 31738"/>
                    <a:gd name="connsiteX3" fmla="*/ 11454 w 53357"/>
                    <a:gd name="connsiteY3" fmla="*/ 3841 h 31738"/>
                    <a:gd name="connsiteX4" fmla="*/ 25086 w 53357"/>
                    <a:gd name="connsiteY4" fmla="*/ 6898 h 31738"/>
                    <a:gd name="connsiteX5" fmla="*/ 38519 w 53357"/>
                    <a:gd name="connsiteY5" fmla="*/ 9990 h 31738"/>
                    <a:gd name="connsiteX6" fmla="*/ 53358 w 53357"/>
                    <a:gd name="connsiteY6" fmla="*/ 8948 h 31738"/>
                    <a:gd name="connsiteX7" fmla="*/ 53358 w 53357"/>
                    <a:gd name="connsiteY7" fmla="*/ 8948 h 31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357" h="31738">
                      <a:moveTo>
                        <a:pt x="53358" y="8948"/>
                      </a:moveTo>
                      <a:cubicBezTo>
                        <a:pt x="40299" y="16548"/>
                        <a:pt x="27241" y="24149"/>
                        <a:pt x="14159" y="31738"/>
                      </a:cubicBezTo>
                      <a:cubicBezTo>
                        <a:pt x="9439" y="21163"/>
                        <a:pt x="4720" y="10576"/>
                        <a:pt x="0" y="0"/>
                      </a:cubicBezTo>
                      <a:cubicBezTo>
                        <a:pt x="2776" y="176"/>
                        <a:pt x="8655" y="2682"/>
                        <a:pt x="11454" y="3841"/>
                      </a:cubicBezTo>
                      <a:cubicBezTo>
                        <a:pt x="15939" y="5692"/>
                        <a:pt x="20202" y="5645"/>
                        <a:pt x="25086" y="6898"/>
                      </a:cubicBezTo>
                      <a:cubicBezTo>
                        <a:pt x="30626" y="8339"/>
                        <a:pt x="32546" y="9451"/>
                        <a:pt x="38519" y="9990"/>
                      </a:cubicBezTo>
                      <a:cubicBezTo>
                        <a:pt x="45171" y="10587"/>
                        <a:pt x="47631" y="9510"/>
                        <a:pt x="53358" y="8948"/>
                      </a:cubicBezTo>
                      <a:lnTo>
                        <a:pt x="53358" y="8948"/>
                      </a:lnTo>
                      <a:close/>
                    </a:path>
                  </a:pathLst>
                </a:custGeom>
                <a:solidFill>
                  <a:srgbClr val="D6D6D2"/>
                </a:solidFill>
                <a:ln w="11699"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08928581-4685-43D5-8906-50BA6E8E67EF}"/>
                    </a:ext>
                  </a:extLst>
                </p:cNvPr>
                <p:cNvSpPr/>
                <p:nvPr/>
              </p:nvSpPr>
              <p:spPr>
                <a:xfrm>
                  <a:off x="3777166" y="3529777"/>
                  <a:ext cx="948586" cy="1159072"/>
                </a:xfrm>
                <a:custGeom>
                  <a:avLst/>
                  <a:gdLst>
                    <a:gd name="connsiteX0" fmla="*/ 34936 w 948586"/>
                    <a:gd name="connsiteY0" fmla="*/ 1124395 h 1159072"/>
                    <a:gd name="connsiteX1" fmla="*/ 23001 w 948586"/>
                    <a:gd name="connsiteY1" fmla="*/ 1133424 h 1159072"/>
                    <a:gd name="connsiteX2" fmla="*/ 14581 w 948586"/>
                    <a:gd name="connsiteY2" fmla="*/ 1146494 h 1159072"/>
                    <a:gd name="connsiteX3" fmla="*/ 9569 w 948586"/>
                    <a:gd name="connsiteY3" fmla="*/ 1153357 h 1159072"/>
                    <a:gd name="connsiteX4" fmla="*/ 586 w 948586"/>
                    <a:gd name="connsiteY4" fmla="*/ 1159073 h 1159072"/>
                    <a:gd name="connsiteX5" fmla="*/ 4064 w 948586"/>
                    <a:gd name="connsiteY5" fmla="*/ 1148474 h 1159072"/>
                    <a:gd name="connsiteX6" fmla="*/ 5610 w 948586"/>
                    <a:gd name="connsiteY6" fmla="*/ 1139093 h 1159072"/>
                    <a:gd name="connsiteX7" fmla="*/ 14593 w 948586"/>
                    <a:gd name="connsiteY7" fmla="*/ 1134478 h 1159072"/>
                    <a:gd name="connsiteX8" fmla="*/ 12402 w 948586"/>
                    <a:gd name="connsiteY8" fmla="*/ 1124945 h 1159072"/>
                    <a:gd name="connsiteX9" fmla="*/ 24360 w 948586"/>
                    <a:gd name="connsiteY9" fmla="*/ 1125613 h 1159072"/>
                    <a:gd name="connsiteX10" fmla="*/ 32066 w 948586"/>
                    <a:gd name="connsiteY10" fmla="*/ 1114206 h 1159072"/>
                    <a:gd name="connsiteX11" fmla="*/ 34936 w 948586"/>
                    <a:gd name="connsiteY11" fmla="*/ 1124395 h 1159072"/>
                    <a:gd name="connsiteX12" fmla="*/ 34936 w 948586"/>
                    <a:gd name="connsiteY12" fmla="*/ 1124395 h 1159072"/>
                    <a:gd name="connsiteX13" fmla="*/ 174888 w 948586"/>
                    <a:gd name="connsiteY13" fmla="*/ 712652 h 1159072"/>
                    <a:gd name="connsiteX14" fmla="*/ 175626 w 948586"/>
                    <a:gd name="connsiteY14" fmla="*/ 717606 h 1159072"/>
                    <a:gd name="connsiteX15" fmla="*/ 193275 w 948586"/>
                    <a:gd name="connsiteY15" fmla="*/ 731368 h 1159072"/>
                    <a:gd name="connsiteX16" fmla="*/ 212670 w 948586"/>
                    <a:gd name="connsiteY16" fmla="*/ 730138 h 1159072"/>
                    <a:gd name="connsiteX17" fmla="*/ 205303 w 948586"/>
                    <a:gd name="connsiteY17" fmla="*/ 744906 h 1159072"/>
                    <a:gd name="connsiteX18" fmla="*/ 201462 w 948586"/>
                    <a:gd name="connsiteY18" fmla="*/ 744590 h 1159072"/>
                    <a:gd name="connsiteX19" fmla="*/ 205526 w 948586"/>
                    <a:gd name="connsiteY19" fmla="*/ 750305 h 1159072"/>
                    <a:gd name="connsiteX20" fmla="*/ 222344 w 948586"/>
                    <a:gd name="connsiteY20" fmla="*/ 749591 h 1159072"/>
                    <a:gd name="connsiteX21" fmla="*/ 217483 w 948586"/>
                    <a:gd name="connsiteY21" fmla="*/ 757660 h 1159072"/>
                    <a:gd name="connsiteX22" fmla="*/ 222800 w 948586"/>
                    <a:gd name="connsiteY22" fmla="*/ 757824 h 1159072"/>
                    <a:gd name="connsiteX23" fmla="*/ 220294 w 948586"/>
                    <a:gd name="connsiteY23" fmla="*/ 760295 h 1159072"/>
                    <a:gd name="connsiteX24" fmla="*/ 223995 w 948586"/>
                    <a:gd name="connsiteY24" fmla="*/ 759744 h 1159072"/>
                    <a:gd name="connsiteX25" fmla="*/ 227215 w 948586"/>
                    <a:gd name="connsiteY25" fmla="*/ 759756 h 1159072"/>
                    <a:gd name="connsiteX26" fmla="*/ 223749 w 948586"/>
                    <a:gd name="connsiteY26" fmla="*/ 767205 h 1159072"/>
                    <a:gd name="connsiteX27" fmla="*/ 231806 w 948586"/>
                    <a:gd name="connsiteY27" fmla="*/ 768985 h 1159072"/>
                    <a:gd name="connsiteX28" fmla="*/ 225096 w 948586"/>
                    <a:gd name="connsiteY28" fmla="*/ 775134 h 1159072"/>
                    <a:gd name="connsiteX29" fmla="*/ 227614 w 948586"/>
                    <a:gd name="connsiteY29" fmla="*/ 775333 h 1159072"/>
                    <a:gd name="connsiteX30" fmla="*/ 219498 w 948586"/>
                    <a:gd name="connsiteY30" fmla="*/ 783613 h 1159072"/>
                    <a:gd name="connsiteX31" fmla="*/ 213689 w 948586"/>
                    <a:gd name="connsiteY31" fmla="*/ 794657 h 1159072"/>
                    <a:gd name="connsiteX32" fmla="*/ 209683 w 948586"/>
                    <a:gd name="connsiteY32" fmla="*/ 795523 h 1159072"/>
                    <a:gd name="connsiteX33" fmla="*/ 211218 w 948586"/>
                    <a:gd name="connsiteY33" fmla="*/ 798709 h 1159072"/>
                    <a:gd name="connsiteX34" fmla="*/ 201157 w 948586"/>
                    <a:gd name="connsiteY34" fmla="*/ 834933 h 1159072"/>
                    <a:gd name="connsiteX35" fmla="*/ 192549 w 948586"/>
                    <a:gd name="connsiteY35" fmla="*/ 859632 h 1159072"/>
                    <a:gd name="connsiteX36" fmla="*/ 192233 w 948586"/>
                    <a:gd name="connsiteY36" fmla="*/ 858449 h 1159072"/>
                    <a:gd name="connsiteX37" fmla="*/ 181248 w 948586"/>
                    <a:gd name="connsiteY37" fmla="*/ 853976 h 1159072"/>
                    <a:gd name="connsiteX38" fmla="*/ 179139 w 948586"/>
                    <a:gd name="connsiteY38" fmla="*/ 864551 h 1159072"/>
                    <a:gd name="connsiteX39" fmla="*/ 182173 w 948586"/>
                    <a:gd name="connsiteY39" fmla="*/ 864703 h 1159072"/>
                    <a:gd name="connsiteX40" fmla="*/ 157427 w 948586"/>
                    <a:gd name="connsiteY40" fmla="*/ 880596 h 1159072"/>
                    <a:gd name="connsiteX41" fmla="*/ 164055 w 948586"/>
                    <a:gd name="connsiteY41" fmla="*/ 865898 h 1159072"/>
                    <a:gd name="connsiteX42" fmla="*/ 159558 w 948586"/>
                    <a:gd name="connsiteY42" fmla="*/ 853577 h 1159072"/>
                    <a:gd name="connsiteX43" fmla="*/ 156372 w 948586"/>
                    <a:gd name="connsiteY43" fmla="*/ 848787 h 1159072"/>
                    <a:gd name="connsiteX44" fmla="*/ 155752 w 948586"/>
                    <a:gd name="connsiteY44" fmla="*/ 845262 h 1159072"/>
                    <a:gd name="connsiteX45" fmla="*/ 162181 w 948586"/>
                    <a:gd name="connsiteY45" fmla="*/ 848553 h 1159072"/>
                    <a:gd name="connsiteX46" fmla="*/ 160237 w 948586"/>
                    <a:gd name="connsiteY46" fmla="*/ 839488 h 1159072"/>
                    <a:gd name="connsiteX47" fmla="*/ 152250 w 948586"/>
                    <a:gd name="connsiteY47" fmla="*/ 848190 h 1159072"/>
                    <a:gd name="connsiteX48" fmla="*/ 152449 w 948586"/>
                    <a:gd name="connsiteY48" fmla="*/ 861541 h 1159072"/>
                    <a:gd name="connsiteX49" fmla="*/ 156501 w 948586"/>
                    <a:gd name="connsiteY49" fmla="*/ 870055 h 1159072"/>
                    <a:gd name="connsiteX50" fmla="*/ 146652 w 948586"/>
                    <a:gd name="connsiteY50" fmla="*/ 866460 h 1159072"/>
                    <a:gd name="connsiteX51" fmla="*/ 132469 w 948586"/>
                    <a:gd name="connsiteY51" fmla="*/ 861939 h 1159072"/>
                    <a:gd name="connsiteX52" fmla="*/ 133898 w 948586"/>
                    <a:gd name="connsiteY52" fmla="*/ 862115 h 1159072"/>
                    <a:gd name="connsiteX53" fmla="*/ 129307 w 948586"/>
                    <a:gd name="connsiteY53" fmla="*/ 857290 h 1159072"/>
                    <a:gd name="connsiteX54" fmla="*/ 134999 w 948586"/>
                    <a:gd name="connsiteY54" fmla="*/ 858859 h 1159072"/>
                    <a:gd name="connsiteX55" fmla="*/ 140363 w 948586"/>
                    <a:gd name="connsiteY55" fmla="*/ 844278 h 1159072"/>
                    <a:gd name="connsiteX56" fmla="*/ 135374 w 948586"/>
                    <a:gd name="connsiteY56" fmla="*/ 833574 h 1159072"/>
                    <a:gd name="connsiteX57" fmla="*/ 132177 w 948586"/>
                    <a:gd name="connsiteY57" fmla="*/ 823209 h 1159072"/>
                    <a:gd name="connsiteX58" fmla="*/ 133113 w 948586"/>
                    <a:gd name="connsiteY58" fmla="*/ 818326 h 1159072"/>
                    <a:gd name="connsiteX59" fmla="*/ 137646 w 948586"/>
                    <a:gd name="connsiteY59" fmla="*/ 817319 h 1159072"/>
                    <a:gd name="connsiteX60" fmla="*/ 149346 w 948586"/>
                    <a:gd name="connsiteY60" fmla="*/ 804178 h 1159072"/>
                    <a:gd name="connsiteX61" fmla="*/ 154346 w 948586"/>
                    <a:gd name="connsiteY61" fmla="*/ 793849 h 1159072"/>
                    <a:gd name="connsiteX62" fmla="*/ 157977 w 948586"/>
                    <a:gd name="connsiteY62" fmla="*/ 785534 h 1159072"/>
                    <a:gd name="connsiteX63" fmla="*/ 146488 w 948586"/>
                    <a:gd name="connsiteY63" fmla="*/ 787114 h 1159072"/>
                    <a:gd name="connsiteX64" fmla="*/ 155763 w 948586"/>
                    <a:gd name="connsiteY64" fmla="*/ 782324 h 1159072"/>
                    <a:gd name="connsiteX65" fmla="*/ 154546 w 948586"/>
                    <a:gd name="connsiteY65" fmla="*/ 776668 h 1159072"/>
                    <a:gd name="connsiteX66" fmla="*/ 147647 w 948586"/>
                    <a:gd name="connsiteY66" fmla="*/ 770355 h 1159072"/>
                    <a:gd name="connsiteX67" fmla="*/ 145363 w 948586"/>
                    <a:gd name="connsiteY67" fmla="*/ 764687 h 1159072"/>
                    <a:gd name="connsiteX68" fmla="*/ 135713 w 948586"/>
                    <a:gd name="connsiteY68" fmla="*/ 754135 h 1159072"/>
                    <a:gd name="connsiteX69" fmla="*/ 129764 w 948586"/>
                    <a:gd name="connsiteY69" fmla="*/ 758058 h 1159072"/>
                    <a:gd name="connsiteX70" fmla="*/ 128616 w 948586"/>
                    <a:gd name="connsiteY70" fmla="*/ 772334 h 1159072"/>
                    <a:gd name="connsiteX71" fmla="*/ 142658 w 948586"/>
                    <a:gd name="connsiteY71" fmla="*/ 780041 h 1159072"/>
                    <a:gd name="connsiteX72" fmla="*/ 131767 w 948586"/>
                    <a:gd name="connsiteY72" fmla="*/ 788789 h 1159072"/>
                    <a:gd name="connsiteX73" fmla="*/ 132645 w 948586"/>
                    <a:gd name="connsiteY73" fmla="*/ 778553 h 1159072"/>
                    <a:gd name="connsiteX74" fmla="*/ 120933 w 948586"/>
                    <a:gd name="connsiteY74" fmla="*/ 778799 h 1159072"/>
                    <a:gd name="connsiteX75" fmla="*/ 109562 w 948586"/>
                    <a:gd name="connsiteY75" fmla="*/ 790218 h 1159072"/>
                    <a:gd name="connsiteX76" fmla="*/ 112501 w 948586"/>
                    <a:gd name="connsiteY76" fmla="*/ 783027 h 1159072"/>
                    <a:gd name="connsiteX77" fmla="*/ 115745 w 948586"/>
                    <a:gd name="connsiteY77" fmla="*/ 781153 h 1159072"/>
                    <a:gd name="connsiteX78" fmla="*/ 105650 w 948586"/>
                    <a:gd name="connsiteY78" fmla="*/ 770379 h 1159072"/>
                    <a:gd name="connsiteX79" fmla="*/ 109268 w 948586"/>
                    <a:gd name="connsiteY79" fmla="*/ 762415 h 1159072"/>
                    <a:gd name="connsiteX80" fmla="*/ 110569 w 948586"/>
                    <a:gd name="connsiteY80" fmla="*/ 762345 h 1159072"/>
                    <a:gd name="connsiteX81" fmla="*/ 109632 w 948586"/>
                    <a:gd name="connsiteY81" fmla="*/ 765647 h 1159072"/>
                    <a:gd name="connsiteX82" fmla="*/ 113016 w 948586"/>
                    <a:gd name="connsiteY82" fmla="*/ 770097 h 1159072"/>
                    <a:gd name="connsiteX83" fmla="*/ 111986 w 948586"/>
                    <a:gd name="connsiteY83" fmla="*/ 768165 h 1159072"/>
                    <a:gd name="connsiteX84" fmla="*/ 123264 w 948586"/>
                    <a:gd name="connsiteY84" fmla="*/ 774126 h 1159072"/>
                    <a:gd name="connsiteX85" fmla="*/ 120266 w 948586"/>
                    <a:gd name="connsiteY85" fmla="*/ 765752 h 1159072"/>
                    <a:gd name="connsiteX86" fmla="*/ 114937 w 948586"/>
                    <a:gd name="connsiteY86" fmla="*/ 762298 h 1159072"/>
                    <a:gd name="connsiteX87" fmla="*/ 110498 w 948586"/>
                    <a:gd name="connsiteY87" fmla="*/ 757039 h 1159072"/>
                    <a:gd name="connsiteX88" fmla="*/ 108941 w 948586"/>
                    <a:gd name="connsiteY88" fmla="*/ 758011 h 1159072"/>
                    <a:gd name="connsiteX89" fmla="*/ 107969 w 948586"/>
                    <a:gd name="connsiteY89" fmla="*/ 755657 h 1159072"/>
                    <a:gd name="connsiteX90" fmla="*/ 105697 w 948586"/>
                    <a:gd name="connsiteY90" fmla="*/ 759229 h 1159072"/>
                    <a:gd name="connsiteX91" fmla="*/ 101996 w 948586"/>
                    <a:gd name="connsiteY91" fmla="*/ 752905 h 1159072"/>
                    <a:gd name="connsiteX92" fmla="*/ 101832 w 948586"/>
                    <a:gd name="connsiteY92" fmla="*/ 742903 h 1159072"/>
                    <a:gd name="connsiteX93" fmla="*/ 106048 w 948586"/>
                    <a:gd name="connsiteY93" fmla="*/ 741884 h 1159072"/>
                    <a:gd name="connsiteX94" fmla="*/ 115359 w 948586"/>
                    <a:gd name="connsiteY94" fmla="*/ 748806 h 1159072"/>
                    <a:gd name="connsiteX95" fmla="*/ 115897 w 948586"/>
                    <a:gd name="connsiteY95" fmla="*/ 739636 h 1159072"/>
                    <a:gd name="connsiteX96" fmla="*/ 115441 w 948586"/>
                    <a:gd name="connsiteY96" fmla="*/ 732890 h 1159072"/>
                    <a:gd name="connsiteX97" fmla="*/ 120043 w 948586"/>
                    <a:gd name="connsiteY97" fmla="*/ 737153 h 1159072"/>
                    <a:gd name="connsiteX98" fmla="*/ 132200 w 948586"/>
                    <a:gd name="connsiteY98" fmla="*/ 733218 h 1159072"/>
                    <a:gd name="connsiteX99" fmla="*/ 133945 w 948586"/>
                    <a:gd name="connsiteY99" fmla="*/ 726308 h 1159072"/>
                    <a:gd name="connsiteX100" fmla="*/ 138500 w 948586"/>
                    <a:gd name="connsiteY100" fmla="*/ 731344 h 1159072"/>
                    <a:gd name="connsiteX101" fmla="*/ 143899 w 948586"/>
                    <a:gd name="connsiteY101" fmla="*/ 726074 h 1159072"/>
                    <a:gd name="connsiteX102" fmla="*/ 138454 w 948586"/>
                    <a:gd name="connsiteY102" fmla="*/ 724903 h 1159072"/>
                    <a:gd name="connsiteX103" fmla="*/ 149018 w 948586"/>
                    <a:gd name="connsiteY103" fmla="*/ 715604 h 1159072"/>
                    <a:gd name="connsiteX104" fmla="*/ 165953 w 948586"/>
                    <a:gd name="connsiteY104" fmla="*/ 711376 h 1159072"/>
                    <a:gd name="connsiteX105" fmla="*/ 174888 w 948586"/>
                    <a:gd name="connsiteY105" fmla="*/ 712652 h 1159072"/>
                    <a:gd name="connsiteX106" fmla="*/ 174888 w 948586"/>
                    <a:gd name="connsiteY106" fmla="*/ 712652 h 1159072"/>
                    <a:gd name="connsiteX107" fmla="*/ 340173 w 948586"/>
                    <a:gd name="connsiteY107" fmla="*/ 685377 h 1159072"/>
                    <a:gd name="connsiteX108" fmla="*/ 343054 w 948586"/>
                    <a:gd name="connsiteY108" fmla="*/ 685822 h 1159072"/>
                    <a:gd name="connsiteX109" fmla="*/ 363409 w 948586"/>
                    <a:gd name="connsiteY109" fmla="*/ 691946 h 1159072"/>
                    <a:gd name="connsiteX110" fmla="*/ 362718 w 948586"/>
                    <a:gd name="connsiteY110" fmla="*/ 694125 h 1159072"/>
                    <a:gd name="connsiteX111" fmla="*/ 365482 w 948586"/>
                    <a:gd name="connsiteY111" fmla="*/ 692626 h 1159072"/>
                    <a:gd name="connsiteX112" fmla="*/ 363432 w 948586"/>
                    <a:gd name="connsiteY112" fmla="*/ 695858 h 1159072"/>
                    <a:gd name="connsiteX113" fmla="*/ 365212 w 948586"/>
                    <a:gd name="connsiteY113" fmla="*/ 696151 h 1159072"/>
                    <a:gd name="connsiteX114" fmla="*/ 364966 w 948586"/>
                    <a:gd name="connsiteY114" fmla="*/ 706059 h 1159072"/>
                    <a:gd name="connsiteX115" fmla="*/ 365447 w 948586"/>
                    <a:gd name="connsiteY115" fmla="*/ 715288 h 1159072"/>
                    <a:gd name="connsiteX116" fmla="*/ 369124 w 948586"/>
                    <a:gd name="connsiteY116" fmla="*/ 715592 h 1159072"/>
                    <a:gd name="connsiteX117" fmla="*/ 367707 w 948586"/>
                    <a:gd name="connsiteY117" fmla="*/ 716763 h 1159072"/>
                    <a:gd name="connsiteX118" fmla="*/ 370916 w 948586"/>
                    <a:gd name="connsiteY118" fmla="*/ 716365 h 1159072"/>
                    <a:gd name="connsiteX119" fmla="*/ 351018 w 948586"/>
                    <a:gd name="connsiteY119" fmla="*/ 729740 h 1159072"/>
                    <a:gd name="connsiteX120" fmla="*/ 340946 w 948586"/>
                    <a:gd name="connsiteY120" fmla="*/ 751371 h 1159072"/>
                    <a:gd name="connsiteX121" fmla="*/ 319057 w 948586"/>
                    <a:gd name="connsiteY121" fmla="*/ 734553 h 1159072"/>
                    <a:gd name="connsiteX122" fmla="*/ 296419 w 948586"/>
                    <a:gd name="connsiteY122" fmla="*/ 744648 h 1159072"/>
                    <a:gd name="connsiteX123" fmla="*/ 291313 w 948586"/>
                    <a:gd name="connsiteY123" fmla="*/ 755856 h 1159072"/>
                    <a:gd name="connsiteX124" fmla="*/ 284239 w 948586"/>
                    <a:gd name="connsiteY124" fmla="*/ 763996 h 1159072"/>
                    <a:gd name="connsiteX125" fmla="*/ 278758 w 948586"/>
                    <a:gd name="connsiteY125" fmla="*/ 777511 h 1159072"/>
                    <a:gd name="connsiteX126" fmla="*/ 278325 w 948586"/>
                    <a:gd name="connsiteY126" fmla="*/ 781153 h 1159072"/>
                    <a:gd name="connsiteX127" fmla="*/ 273347 w 948586"/>
                    <a:gd name="connsiteY127" fmla="*/ 779526 h 1159072"/>
                    <a:gd name="connsiteX128" fmla="*/ 260137 w 948586"/>
                    <a:gd name="connsiteY128" fmla="*/ 779549 h 1159072"/>
                    <a:gd name="connsiteX129" fmla="*/ 264376 w 948586"/>
                    <a:gd name="connsiteY129" fmla="*/ 770402 h 1159072"/>
                    <a:gd name="connsiteX130" fmla="*/ 256541 w 948586"/>
                    <a:gd name="connsiteY130" fmla="*/ 768809 h 1159072"/>
                    <a:gd name="connsiteX131" fmla="*/ 255428 w 948586"/>
                    <a:gd name="connsiteY131" fmla="*/ 771187 h 1159072"/>
                    <a:gd name="connsiteX132" fmla="*/ 247324 w 948586"/>
                    <a:gd name="connsiteY132" fmla="*/ 763973 h 1159072"/>
                    <a:gd name="connsiteX133" fmla="*/ 252594 w 948586"/>
                    <a:gd name="connsiteY133" fmla="*/ 761173 h 1159072"/>
                    <a:gd name="connsiteX134" fmla="*/ 250803 w 948586"/>
                    <a:gd name="connsiteY134" fmla="*/ 758433 h 1159072"/>
                    <a:gd name="connsiteX135" fmla="*/ 252946 w 948586"/>
                    <a:gd name="connsiteY135" fmla="*/ 757391 h 1159072"/>
                    <a:gd name="connsiteX136" fmla="*/ 251306 w 948586"/>
                    <a:gd name="connsiteY136" fmla="*/ 755001 h 1159072"/>
                    <a:gd name="connsiteX137" fmla="*/ 247968 w 948586"/>
                    <a:gd name="connsiteY137" fmla="*/ 753245 h 1159072"/>
                    <a:gd name="connsiteX138" fmla="*/ 252723 w 948586"/>
                    <a:gd name="connsiteY138" fmla="*/ 755259 h 1159072"/>
                    <a:gd name="connsiteX139" fmla="*/ 255979 w 948586"/>
                    <a:gd name="connsiteY139" fmla="*/ 751898 h 1159072"/>
                    <a:gd name="connsiteX140" fmla="*/ 255628 w 948586"/>
                    <a:gd name="connsiteY140" fmla="*/ 749813 h 1159072"/>
                    <a:gd name="connsiteX141" fmla="*/ 254796 w 948586"/>
                    <a:gd name="connsiteY141" fmla="*/ 746780 h 1159072"/>
                    <a:gd name="connsiteX142" fmla="*/ 247137 w 948586"/>
                    <a:gd name="connsiteY142" fmla="*/ 746499 h 1159072"/>
                    <a:gd name="connsiteX143" fmla="*/ 249350 w 948586"/>
                    <a:gd name="connsiteY143" fmla="*/ 743220 h 1159072"/>
                    <a:gd name="connsiteX144" fmla="*/ 249350 w 948586"/>
                    <a:gd name="connsiteY144" fmla="*/ 739191 h 1159072"/>
                    <a:gd name="connsiteX145" fmla="*/ 233142 w 948586"/>
                    <a:gd name="connsiteY145" fmla="*/ 742575 h 1159072"/>
                    <a:gd name="connsiteX146" fmla="*/ 227942 w 948586"/>
                    <a:gd name="connsiteY146" fmla="*/ 744777 h 1159072"/>
                    <a:gd name="connsiteX147" fmla="*/ 236081 w 948586"/>
                    <a:gd name="connsiteY147" fmla="*/ 740620 h 1159072"/>
                    <a:gd name="connsiteX148" fmla="*/ 261858 w 948586"/>
                    <a:gd name="connsiteY148" fmla="*/ 724106 h 1159072"/>
                    <a:gd name="connsiteX149" fmla="*/ 266871 w 948586"/>
                    <a:gd name="connsiteY149" fmla="*/ 710861 h 1159072"/>
                    <a:gd name="connsiteX150" fmla="*/ 274085 w 948586"/>
                    <a:gd name="connsiteY150" fmla="*/ 700039 h 1159072"/>
                    <a:gd name="connsiteX151" fmla="*/ 276544 w 948586"/>
                    <a:gd name="connsiteY151" fmla="*/ 698388 h 1159072"/>
                    <a:gd name="connsiteX152" fmla="*/ 285434 w 948586"/>
                    <a:gd name="connsiteY152" fmla="*/ 710264 h 1159072"/>
                    <a:gd name="connsiteX153" fmla="*/ 297836 w 948586"/>
                    <a:gd name="connsiteY153" fmla="*/ 707488 h 1159072"/>
                    <a:gd name="connsiteX154" fmla="*/ 311070 w 948586"/>
                    <a:gd name="connsiteY154" fmla="*/ 704747 h 1159072"/>
                    <a:gd name="connsiteX155" fmla="*/ 308693 w 948586"/>
                    <a:gd name="connsiteY155" fmla="*/ 691443 h 1159072"/>
                    <a:gd name="connsiteX156" fmla="*/ 325370 w 948586"/>
                    <a:gd name="connsiteY156" fmla="*/ 687110 h 1159072"/>
                    <a:gd name="connsiteX157" fmla="*/ 337819 w 948586"/>
                    <a:gd name="connsiteY157" fmla="*/ 685517 h 1159072"/>
                    <a:gd name="connsiteX158" fmla="*/ 340173 w 948586"/>
                    <a:gd name="connsiteY158" fmla="*/ 685377 h 1159072"/>
                    <a:gd name="connsiteX159" fmla="*/ 340173 w 948586"/>
                    <a:gd name="connsiteY159" fmla="*/ 685377 h 1159072"/>
                    <a:gd name="connsiteX160" fmla="*/ 563207 w 948586"/>
                    <a:gd name="connsiteY160" fmla="*/ 464661 h 1159072"/>
                    <a:gd name="connsiteX161" fmla="*/ 570398 w 948586"/>
                    <a:gd name="connsiteY161" fmla="*/ 466394 h 1159072"/>
                    <a:gd name="connsiteX162" fmla="*/ 563781 w 948586"/>
                    <a:gd name="connsiteY162" fmla="*/ 476314 h 1159072"/>
                    <a:gd name="connsiteX163" fmla="*/ 551461 w 948586"/>
                    <a:gd name="connsiteY163" fmla="*/ 479441 h 1159072"/>
                    <a:gd name="connsiteX164" fmla="*/ 557656 w 948586"/>
                    <a:gd name="connsiteY164" fmla="*/ 471430 h 1159072"/>
                    <a:gd name="connsiteX165" fmla="*/ 552761 w 948586"/>
                    <a:gd name="connsiteY165" fmla="*/ 465083 h 1159072"/>
                    <a:gd name="connsiteX166" fmla="*/ 558546 w 948586"/>
                    <a:gd name="connsiteY166" fmla="*/ 456861 h 1159072"/>
                    <a:gd name="connsiteX167" fmla="*/ 563207 w 948586"/>
                    <a:gd name="connsiteY167" fmla="*/ 464661 h 1159072"/>
                    <a:gd name="connsiteX168" fmla="*/ 563207 w 948586"/>
                    <a:gd name="connsiteY168" fmla="*/ 464661 h 1159072"/>
                    <a:gd name="connsiteX169" fmla="*/ 711288 w 948586"/>
                    <a:gd name="connsiteY169" fmla="*/ 262801 h 1159072"/>
                    <a:gd name="connsiteX170" fmla="*/ 720915 w 948586"/>
                    <a:gd name="connsiteY170" fmla="*/ 257999 h 1159072"/>
                    <a:gd name="connsiteX171" fmla="*/ 717530 w 948586"/>
                    <a:gd name="connsiteY171" fmla="*/ 278705 h 1159072"/>
                    <a:gd name="connsiteX172" fmla="*/ 718947 w 948586"/>
                    <a:gd name="connsiteY172" fmla="*/ 301742 h 1159072"/>
                    <a:gd name="connsiteX173" fmla="*/ 726501 w 948586"/>
                    <a:gd name="connsiteY173" fmla="*/ 313184 h 1159072"/>
                    <a:gd name="connsiteX174" fmla="*/ 740415 w 948586"/>
                    <a:gd name="connsiteY174" fmla="*/ 333339 h 1159072"/>
                    <a:gd name="connsiteX175" fmla="*/ 740953 w 948586"/>
                    <a:gd name="connsiteY175" fmla="*/ 339757 h 1159072"/>
                    <a:gd name="connsiteX176" fmla="*/ 746715 w 948586"/>
                    <a:gd name="connsiteY176" fmla="*/ 348061 h 1159072"/>
                    <a:gd name="connsiteX177" fmla="*/ 747301 w 948586"/>
                    <a:gd name="connsiteY177" fmla="*/ 371180 h 1159072"/>
                    <a:gd name="connsiteX178" fmla="*/ 750943 w 948586"/>
                    <a:gd name="connsiteY178" fmla="*/ 368697 h 1159072"/>
                    <a:gd name="connsiteX179" fmla="*/ 746598 w 948586"/>
                    <a:gd name="connsiteY179" fmla="*/ 379623 h 1159072"/>
                    <a:gd name="connsiteX180" fmla="*/ 750955 w 948586"/>
                    <a:gd name="connsiteY180" fmla="*/ 378206 h 1159072"/>
                    <a:gd name="connsiteX181" fmla="*/ 752114 w 948586"/>
                    <a:gd name="connsiteY181" fmla="*/ 379272 h 1159072"/>
                    <a:gd name="connsiteX182" fmla="*/ 745872 w 948586"/>
                    <a:gd name="connsiteY182" fmla="*/ 384250 h 1159072"/>
                    <a:gd name="connsiteX183" fmla="*/ 747195 w 948586"/>
                    <a:gd name="connsiteY183" fmla="*/ 384823 h 1159072"/>
                    <a:gd name="connsiteX184" fmla="*/ 744115 w 948586"/>
                    <a:gd name="connsiteY184" fmla="*/ 387588 h 1159072"/>
                    <a:gd name="connsiteX185" fmla="*/ 748051 w 948586"/>
                    <a:gd name="connsiteY185" fmla="*/ 386334 h 1159072"/>
                    <a:gd name="connsiteX186" fmla="*/ 744619 w 948586"/>
                    <a:gd name="connsiteY186" fmla="*/ 389754 h 1159072"/>
                    <a:gd name="connsiteX187" fmla="*/ 745544 w 948586"/>
                    <a:gd name="connsiteY187" fmla="*/ 390960 h 1159072"/>
                    <a:gd name="connsiteX188" fmla="*/ 743799 w 948586"/>
                    <a:gd name="connsiteY188" fmla="*/ 390960 h 1159072"/>
                    <a:gd name="connsiteX189" fmla="*/ 743799 w 948586"/>
                    <a:gd name="connsiteY189" fmla="*/ 392588 h 1159072"/>
                    <a:gd name="connsiteX190" fmla="*/ 746305 w 948586"/>
                    <a:gd name="connsiteY190" fmla="*/ 392518 h 1159072"/>
                    <a:gd name="connsiteX191" fmla="*/ 742722 w 948586"/>
                    <a:gd name="connsiteY191" fmla="*/ 395094 h 1159072"/>
                    <a:gd name="connsiteX192" fmla="*/ 745216 w 948586"/>
                    <a:gd name="connsiteY192" fmla="*/ 396359 h 1159072"/>
                    <a:gd name="connsiteX193" fmla="*/ 740906 w 948586"/>
                    <a:gd name="connsiteY193" fmla="*/ 398479 h 1159072"/>
                    <a:gd name="connsiteX194" fmla="*/ 744549 w 948586"/>
                    <a:gd name="connsiteY194" fmla="*/ 401817 h 1159072"/>
                    <a:gd name="connsiteX195" fmla="*/ 739536 w 948586"/>
                    <a:gd name="connsiteY195" fmla="*/ 402238 h 1159072"/>
                    <a:gd name="connsiteX196" fmla="*/ 742370 w 948586"/>
                    <a:gd name="connsiteY196" fmla="*/ 403949 h 1159072"/>
                    <a:gd name="connsiteX197" fmla="*/ 739829 w 948586"/>
                    <a:gd name="connsiteY197" fmla="*/ 404323 h 1159072"/>
                    <a:gd name="connsiteX198" fmla="*/ 741527 w 948586"/>
                    <a:gd name="connsiteY198" fmla="*/ 406197 h 1159072"/>
                    <a:gd name="connsiteX199" fmla="*/ 734863 w 948586"/>
                    <a:gd name="connsiteY199" fmla="*/ 405576 h 1159072"/>
                    <a:gd name="connsiteX200" fmla="*/ 735929 w 948586"/>
                    <a:gd name="connsiteY200" fmla="*/ 408528 h 1159072"/>
                    <a:gd name="connsiteX201" fmla="*/ 734114 w 948586"/>
                    <a:gd name="connsiteY201" fmla="*/ 409359 h 1159072"/>
                    <a:gd name="connsiteX202" fmla="*/ 735004 w 948586"/>
                    <a:gd name="connsiteY202" fmla="*/ 410765 h 1159072"/>
                    <a:gd name="connsiteX203" fmla="*/ 733095 w 948586"/>
                    <a:gd name="connsiteY203" fmla="*/ 408071 h 1159072"/>
                    <a:gd name="connsiteX204" fmla="*/ 732041 w 948586"/>
                    <a:gd name="connsiteY204" fmla="*/ 416808 h 1159072"/>
                    <a:gd name="connsiteX205" fmla="*/ 724651 w 948586"/>
                    <a:gd name="connsiteY205" fmla="*/ 422207 h 1159072"/>
                    <a:gd name="connsiteX206" fmla="*/ 726607 w 948586"/>
                    <a:gd name="connsiteY206" fmla="*/ 425380 h 1159072"/>
                    <a:gd name="connsiteX207" fmla="*/ 724955 w 948586"/>
                    <a:gd name="connsiteY207" fmla="*/ 425802 h 1159072"/>
                    <a:gd name="connsiteX208" fmla="*/ 724674 w 948586"/>
                    <a:gd name="connsiteY208" fmla="*/ 429796 h 1159072"/>
                    <a:gd name="connsiteX209" fmla="*/ 721266 w 948586"/>
                    <a:gd name="connsiteY209" fmla="*/ 433977 h 1159072"/>
                    <a:gd name="connsiteX210" fmla="*/ 724510 w 948586"/>
                    <a:gd name="connsiteY210" fmla="*/ 435218 h 1159072"/>
                    <a:gd name="connsiteX211" fmla="*/ 725213 w 948586"/>
                    <a:gd name="connsiteY211" fmla="*/ 439340 h 1159072"/>
                    <a:gd name="connsiteX212" fmla="*/ 723761 w 948586"/>
                    <a:gd name="connsiteY212" fmla="*/ 437713 h 1159072"/>
                    <a:gd name="connsiteX213" fmla="*/ 723421 w 948586"/>
                    <a:gd name="connsiteY213" fmla="*/ 441437 h 1159072"/>
                    <a:gd name="connsiteX214" fmla="*/ 725564 w 948586"/>
                    <a:gd name="connsiteY214" fmla="*/ 445161 h 1159072"/>
                    <a:gd name="connsiteX215" fmla="*/ 723070 w 948586"/>
                    <a:gd name="connsiteY215" fmla="*/ 445981 h 1159072"/>
                    <a:gd name="connsiteX216" fmla="*/ 724311 w 948586"/>
                    <a:gd name="connsiteY216" fmla="*/ 452270 h 1159072"/>
                    <a:gd name="connsiteX217" fmla="*/ 718315 w 948586"/>
                    <a:gd name="connsiteY217" fmla="*/ 445595 h 1159072"/>
                    <a:gd name="connsiteX218" fmla="*/ 706030 w 948586"/>
                    <a:gd name="connsiteY218" fmla="*/ 448839 h 1159072"/>
                    <a:gd name="connsiteX219" fmla="*/ 703781 w 948586"/>
                    <a:gd name="connsiteY219" fmla="*/ 445969 h 1159072"/>
                    <a:gd name="connsiteX220" fmla="*/ 699436 w 948586"/>
                    <a:gd name="connsiteY220" fmla="*/ 449740 h 1159072"/>
                    <a:gd name="connsiteX221" fmla="*/ 695185 w 948586"/>
                    <a:gd name="connsiteY221" fmla="*/ 458173 h 1159072"/>
                    <a:gd name="connsiteX222" fmla="*/ 694787 w 948586"/>
                    <a:gd name="connsiteY222" fmla="*/ 477544 h 1159072"/>
                    <a:gd name="connsiteX223" fmla="*/ 698241 w 948586"/>
                    <a:gd name="connsiteY223" fmla="*/ 510207 h 1159072"/>
                    <a:gd name="connsiteX224" fmla="*/ 695407 w 948586"/>
                    <a:gd name="connsiteY224" fmla="*/ 529156 h 1159072"/>
                    <a:gd name="connsiteX225" fmla="*/ 686905 w 948586"/>
                    <a:gd name="connsiteY225" fmla="*/ 535399 h 1159072"/>
                    <a:gd name="connsiteX226" fmla="*/ 675439 w 948586"/>
                    <a:gd name="connsiteY226" fmla="*/ 569819 h 1159072"/>
                    <a:gd name="connsiteX227" fmla="*/ 681377 w 948586"/>
                    <a:gd name="connsiteY227" fmla="*/ 592481 h 1159072"/>
                    <a:gd name="connsiteX228" fmla="*/ 689634 w 948586"/>
                    <a:gd name="connsiteY228" fmla="*/ 607050 h 1159072"/>
                    <a:gd name="connsiteX229" fmla="*/ 665191 w 948586"/>
                    <a:gd name="connsiteY229" fmla="*/ 624231 h 1159072"/>
                    <a:gd name="connsiteX230" fmla="*/ 658973 w 948586"/>
                    <a:gd name="connsiteY230" fmla="*/ 639948 h 1159072"/>
                    <a:gd name="connsiteX231" fmla="*/ 642881 w 948586"/>
                    <a:gd name="connsiteY231" fmla="*/ 649211 h 1159072"/>
                    <a:gd name="connsiteX232" fmla="*/ 637236 w 948586"/>
                    <a:gd name="connsiteY232" fmla="*/ 653556 h 1159072"/>
                    <a:gd name="connsiteX233" fmla="*/ 631849 w 948586"/>
                    <a:gd name="connsiteY233" fmla="*/ 649223 h 1159072"/>
                    <a:gd name="connsiteX234" fmla="*/ 636194 w 948586"/>
                    <a:gd name="connsiteY234" fmla="*/ 641927 h 1159072"/>
                    <a:gd name="connsiteX235" fmla="*/ 633336 w 948586"/>
                    <a:gd name="connsiteY235" fmla="*/ 628974 h 1159072"/>
                    <a:gd name="connsiteX236" fmla="*/ 645247 w 948586"/>
                    <a:gd name="connsiteY236" fmla="*/ 619511 h 1159072"/>
                    <a:gd name="connsiteX237" fmla="*/ 648994 w 948586"/>
                    <a:gd name="connsiteY237" fmla="*/ 612578 h 1159072"/>
                    <a:gd name="connsiteX238" fmla="*/ 640597 w 948586"/>
                    <a:gd name="connsiteY238" fmla="*/ 608572 h 1159072"/>
                    <a:gd name="connsiteX239" fmla="*/ 636252 w 948586"/>
                    <a:gd name="connsiteY239" fmla="*/ 611395 h 1159072"/>
                    <a:gd name="connsiteX240" fmla="*/ 634671 w 948586"/>
                    <a:gd name="connsiteY240" fmla="*/ 609989 h 1159072"/>
                    <a:gd name="connsiteX241" fmla="*/ 633746 w 948586"/>
                    <a:gd name="connsiteY241" fmla="*/ 612062 h 1159072"/>
                    <a:gd name="connsiteX242" fmla="*/ 632504 w 948586"/>
                    <a:gd name="connsiteY242" fmla="*/ 609088 h 1159072"/>
                    <a:gd name="connsiteX243" fmla="*/ 626098 w 948586"/>
                    <a:gd name="connsiteY243" fmla="*/ 620905 h 1159072"/>
                    <a:gd name="connsiteX244" fmla="*/ 628417 w 948586"/>
                    <a:gd name="connsiteY244" fmla="*/ 624078 h 1159072"/>
                    <a:gd name="connsiteX245" fmla="*/ 625747 w 948586"/>
                    <a:gd name="connsiteY245" fmla="*/ 624020 h 1159072"/>
                    <a:gd name="connsiteX246" fmla="*/ 626883 w 948586"/>
                    <a:gd name="connsiteY246" fmla="*/ 630836 h 1159072"/>
                    <a:gd name="connsiteX247" fmla="*/ 628312 w 948586"/>
                    <a:gd name="connsiteY247" fmla="*/ 639491 h 1159072"/>
                    <a:gd name="connsiteX248" fmla="*/ 625138 w 948586"/>
                    <a:gd name="connsiteY248" fmla="*/ 635286 h 1159072"/>
                    <a:gd name="connsiteX249" fmla="*/ 615582 w 948586"/>
                    <a:gd name="connsiteY249" fmla="*/ 629102 h 1159072"/>
                    <a:gd name="connsiteX250" fmla="*/ 600825 w 948586"/>
                    <a:gd name="connsiteY250" fmla="*/ 639725 h 1159072"/>
                    <a:gd name="connsiteX251" fmla="*/ 600122 w 948586"/>
                    <a:gd name="connsiteY251" fmla="*/ 654411 h 1159072"/>
                    <a:gd name="connsiteX252" fmla="*/ 592252 w 948586"/>
                    <a:gd name="connsiteY252" fmla="*/ 668453 h 1159072"/>
                    <a:gd name="connsiteX253" fmla="*/ 579650 w 948586"/>
                    <a:gd name="connsiteY253" fmla="*/ 666556 h 1159072"/>
                    <a:gd name="connsiteX254" fmla="*/ 581618 w 948586"/>
                    <a:gd name="connsiteY254" fmla="*/ 653299 h 1159072"/>
                    <a:gd name="connsiteX255" fmla="*/ 587755 w 948586"/>
                    <a:gd name="connsiteY255" fmla="*/ 645979 h 1159072"/>
                    <a:gd name="connsiteX256" fmla="*/ 566850 w 948586"/>
                    <a:gd name="connsiteY256" fmla="*/ 648309 h 1159072"/>
                    <a:gd name="connsiteX257" fmla="*/ 568138 w 948586"/>
                    <a:gd name="connsiteY257" fmla="*/ 646787 h 1159072"/>
                    <a:gd name="connsiteX258" fmla="*/ 560432 w 948586"/>
                    <a:gd name="connsiteY258" fmla="*/ 652221 h 1159072"/>
                    <a:gd name="connsiteX259" fmla="*/ 558007 w 948586"/>
                    <a:gd name="connsiteY259" fmla="*/ 658299 h 1159072"/>
                    <a:gd name="connsiteX260" fmla="*/ 552937 w 948586"/>
                    <a:gd name="connsiteY260" fmla="*/ 671229 h 1159072"/>
                    <a:gd name="connsiteX261" fmla="*/ 536775 w 948586"/>
                    <a:gd name="connsiteY261" fmla="*/ 667423 h 1159072"/>
                    <a:gd name="connsiteX262" fmla="*/ 519289 w 948586"/>
                    <a:gd name="connsiteY262" fmla="*/ 666825 h 1159072"/>
                    <a:gd name="connsiteX263" fmla="*/ 489097 w 948586"/>
                    <a:gd name="connsiteY263" fmla="*/ 672622 h 1159072"/>
                    <a:gd name="connsiteX264" fmla="*/ 492048 w 948586"/>
                    <a:gd name="connsiteY264" fmla="*/ 667563 h 1159072"/>
                    <a:gd name="connsiteX265" fmla="*/ 494028 w 948586"/>
                    <a:gd name="connsiteY265" fmla="*/ 669870 h 1159072"/>
                    <a:gd name="connsiteX266" fmla="*/ 503807 w 948586"/>
                    <a:gd name="connsiteY266" fmla="*/ 663804 h 1159072"/>
                    <a:gd name="connsiteX267" fmla="*/ 504076 w 948586"/>
                    <a:gd name="connsiteY267" fmla="*/ 666099 h 1159072"/>
                    <a:gd name="connsiteX268" fmla="*/ 504369 w 948586"/>
                    <a:gd name="connsiteY268" fmla="*/ 663956 h 1159072"/>
                    <a:gd name="connsiteX269" fmla="*/ 506020 w 948586"/>
                    <a:gd name="connsiteY269" fmla="*/ 663909 h 1159072"/>
                    <a:gd name="connsiteX270" fmla="*/ 497155 w 948586"/>
                    <a:gd name="connsiteY270" fmla="*/ 661707 h 1159072"/>
                    <a:gd name="connsiteX271" fmla="*/ 487141 w 948586"/>
                    <a:gd name="connsiteY271" fmla="*/ 652245 h 1159072"/>
                    <a:gd name="connsiteX272" fmla="*/ 486766 w 948586"/>
                    <a:gd name="connsiteY272" fmla="*/ 665678 h 1159072"/>
                    <a:gd name="connsiteX273" fmla="*/ 481566 w 948586"/>
                    <a:gd name="connsiteY273" fmla="*/ 642243 h 1159072"/>
                    <a:gd name="connsiteX274" fmla="*/ 480360 w 948586"/>
                    <a:gd name="connsiteY274" fmla="*/ 645428 h 1159072"/>
                    <a:gd name="connsiteX275" fmla="*/ 479388 w 948586"/>
                    <a:gd name="connsiteY275" fmla="*/ 643110 h 1159072"/>
                    <a:gd name="connsiteX276" fmla="*/ 479868 w 948586"/>
                    <a:gd name="connsiteY276" fmla="*/ 645850 h 1159072"/>
                    <a:gd name="connsiteX277" fmla="*/ 478498 w 948586"/>
                    <a:gd name="connsiteY277" fmla="*/ 646155 h 1159072"/>
                    <a:gd name="connsiteX278" fmla="*/ 478276 w 948586"/>
                    <a:gd name="connsiteY278" fmla="*/ 644890 h 1159072"/>
                    <a:gd name="connsiteX279" fmla="*/ 470605 w 948586"/>
                    <a:gd name="connsiteY279" fmla="*/ 651284 h 1159072"/>
                    <a:gd name="connsiteX280" fmla="*/ 463308 w 948586"/>
                    <a:gd name="connsiteY280" fmla="*/ 665385 h 1159072"/>
                    <a:gd name="connsiteX281" fmla="*/ 468836 w 948586"/>
                    <a:gd name="connsiteY281" fmla="*/ 671826 h 1159072"/>
                    <a:gd name="connsiteX282" fmla="*/ 481754 w 948586"/>
                    <a:gd name="connsiteY282" fmla="*/ 684955 h 1159072"/>
                    <a:gd name="connsiteX283" fmla="*/ 483557 w 948586"/>
                    <a:gd name="connsiteY283" fmla="*/ 685798 h 1159072"/>
                    <a:gd name="connsiteX284" fmla="*/ 476437 w 948586"/>
                    <a:gd name="connsiteY284" fmla="*/ 690611 h 1159072"/>
                    <a:gd name="connsiteX285" fmla="*/ 480009 w 948586"/>
                    <a:gd name="connsiteY285" fmla="*/ 691408 h 1159072"/>
                    <a:gd name="connsiteX286" fmla="*/ 479693 w 948586"/>
                    <a:gd name="connsiteY286" fmla="*/ 690178 h 1159072"/>
                    <a:gd name="connsiteX287" fmla="*/ 478217 w 948586"/>
                    <a:gd name="connsiteY287" fmla="*/ 689768 h 1159072"/>
                    <a:gd name="connsiteX288" fmla="*/ 472759 w 948586"/>
                    <a:gd name="connsiteY288" fmla="*/ 689312 h 1159072"/>
                    <a:gd name="connsiteX289" fmla="*/ 473848 w 948586"/>
                    <a:gd name="connsiteY289" fmla="*/ 687180 h 1159072"/>
                    <a:gd name="connsiteX290" fmla="*/ 470019 w 948586"/>
                    <a:gd name="connsiteY290" fmla="*/ 688187 h 1159072"/>
                    <a:gd name="connsiteX291" fmla="*/ 462945 w 948586"/>
                    <a:gd name="connsiteY291" fmla="*/ 693141 h 1159072"/>
                    <a:gd name="connsiteX292" fmla="*/ 451643 w 948586"/>
                    <a:gd name="connsiteY292" fmla="*/ 698411 h 1159072"/>
                    <a:gd name="connsiteX293" fmla="*/ 449278 w 948586"/>
                    <a:gd name="connsiteY293" fmla="*/ 700250 h 1159072"/>
                    <a:gd name="connsiteX294" fmla="*/ 447497 w 948586"/>
                    <a:gd name="connsiteY294" fmla="*/ 702663 h 1159072"/>
                    <a:gd name="connsiteX295" fmla="*/ 448224 w 948586"/>
                    <a:gd name="connsiteY295" fmla="*/ 707031 h 1159072"/>
                    <a:gd name="connsiteX296" fmla="*/ 446795 w 948586"/>
                    <a:gd name="connsiteY296" fmla="*/ 708671 h 1159072"/>
                    <a:gd name="connsiteX297" fmla="*/ 448352 w 948586"/>
                    <a:gd name="connsiteY297" fmla="*/ 709655 h 1159072"/>
                    <a:gd name="connsiteX298" fmla="*/ 434017 w 948586"/>
                    <a:gd name="connsiteY298" fmla="*/ 730454 h 1159072"/>
                    <a:gd name="connsiteX299" fmla="*/ 425105 w 948586"/>
                    <a:gd name="connsiteY299" fmla="*/ 739343 h 1159072"/>
                    <a:gd name="connsiteX300" fmla="*/ 423594 w 948586"/>
                    <a:gd name="connsiteY300" fmla="*/ 739800 h 1159072"/>
                    <a:gd name="connsiteX301" fmla="*/ 405289 w 948586"/>
                    <a:gd name="connsiteY301" fmla="*/ 731555 h 1159072"/>
                    <a:gd name="connsiteX302" fmla="*/ 404950 w 948586"/>
                    <a:gd name="connsiteY302" fmla="*/ 724142 h 1159072"/>
                    <a:gd name="connsiteX303" fmla="*/ 387031 w 948586"/>
                    <a:gd name="connsiteY303" fmla="*/ 713660 h 1159072"/>
                    <a:gd name="connsiteX304" fmla="*/ 389233 w 948586"/>
                    <a:gd name="connsiteY304" fmla="*/ 709291 h 1159072"/>
                    <a:gd name="connsiteX305" fmla="*/ 388881 w 948586"/>
                    <a:gd name="connsiteY305" fmla="*/ 702651 h 1159072"/>
                    <a:gd name="connsiteX306" fmla="*/ 390369 w 948586"/>
                    <a:gd name="connsiteY306" fmla="*/ 698575 h 1159072"/>
                    <a:gd name="connsiteX307" fmla="*/ 393707 w 948586"/>
                    <a:gd name="connsiteY307" fmla="*/ 698646 h 1159072"/>
                    <a:gd name="connsiteX308" fmla="*/ 387136 w 948586"/>
                    <a:gd name="connsiteY308" fmla="*/ 690928 h 1159072"/>
                    <a:gd name="connsiteX309" fmla="*/ 403380 w 948586"/>
                    <a:gd name="connsiteY309" fmla="*/ 678150 h 1159072"/>
                    <a:gd name="connsiteX310" fmla="*/ 405488 w 948586"/>
                    <a:gd name="connsiteY310" fmla="*/ 665924 h 1159072"/>
                    <a:gd name="connsiteX311" fmla="*/ 397185 w 948586"/>
                    <a:gd name="connsiteY311" fmla="*/ 666814 h 1159072"/>
                    <a:gd name="connsiteX312" fmla="*/ 397255 w 948586"/>
                    <a:gd name="connsiteY312" fmla="*/ 665408 h 1159072"/>
                    <a:gd name="connsiteX313" fmla="*/ 395428 w 948586"/>
                    <a:gd name="connsiteY313" fmla="*/ 666005 h 1159072"/>
                    <a:gd name="connsiteX314" fmla="*/ 396599 w 948586"/>
                    <a:gd name="connsiteY314" fmla="*/ 668360 h 1159072"/>
                    <a:gd name="connsiteX315" fmla="*/ 394620 w 948586"/>
                    <a:gd name="connsiteY315" fmla="*/ 666802 h 1159072"/>
                    <a:gd name="connsiteX316" fmla="*/ 374851 w 948586"/>
                    <a:gd name="connsiteY316" fmla="*/ 664061 h 1159072"/>
                    <a:gd name="connsiteX317" fmla="*/ 357436 w 948586"/>
                    <a:gd name="connsiteY317" fmla="*/ 660325 h 1159072"/>
                    <a:gd name="connsiteX318" fmla="*/ 342703 w 948586"/>
                    <a:gd name="connsiteY318" fmla="*/ 663804 h 1159072"/>
                    <a:gd name="connsiteX319" fmla="*/ 346357 w 948586"/>
                    <a:gd name="connsiteY319" fmla="*/ 665560 h 1159072"/>
                    <a:gd name="connsiteX320" fmla="*/ 339904 w 948586"/>
                    <a:gd name="connsiteY320" fmla="*/ 669179 h 1159072"/>
                    <a:gd name="connsiteX321" fmla="*/ 341684 w 948586"/>
                    <a:gd name="connsiteY321" fmla="*/ 669179 h 1159072"/>
                    <a:gd name="connsiteX322" fmla="*/ 328134 w 948586"/>
                    <a:gd name="connsiteY322" fmla="*/ 673630 h 1159072"/>
                    <a:gd name="connsiteX323" fmla="*/ 332432 w 948586"/>
                    <a:gd name="connsiteY323" fmla="*/ 676054 h 1159072"/>
                    <a:gd name="connsiteX324" fmla="*/ 322747 w 948586"/>
                    <a:gd name="connsiteY324" fmla="*/ 680914 h 1159072"/>
                    <a:gd name="connsiteX325" fmla="*/ 315368 w 948586"/>
                    <a:gd name="connsiteY325" fmla="*/ 676054 h 1159072"/>
                    <a:gd name="connsiteX326" fmla="*/ 304160 w 948586"/>
                    <a:gd name="connsiteY326" fmla="*/ 681699 h 1159072"/>
                    <a:gd name="connsiteX327" fmla="*/ 306889 w 948586"/>
                    <a:gd name="connsiteY327" fmla="*/ 678232 h 1159072"/>
                    <a:gd name="connsiteX328" fmla="*/ 293444 w 948586"/>
                    <a:gd name="connsiteY328" fmla="*/ 687133 h 1159072"/>
                    <a:gd name="connsiteX329" fmla="*/ 293128 w 948586"/>
                    <a:gd name="connsiteY329" fmla="*/ 684158 h 1159072"/>
                    <a:gd name="connsiteX330" fmla="*/ 292554 w 948586"/>
                    <a:gd name="connsiteY330" fmla="*/ 681558 h 1159072"/>
                    <a:gd name="connsiteX331" fmla="*/ 289158 w 948586"/>
                    <a:gd name="connsiteY331" fmla="*/ 686571 h 1159072"/>
                    <a:gd name="connsiteX332" fmla="*/ 285586 w 948586"/>
                    <a:gd name="connsiteY332" fmla="*/ 685950 h 1159072"/>
                    <a:gd name="connsiteX333" fmla="*/ 285550 w 948586"/>
                    <a:gd name="connsiteY333" fmla="*/ 688164 h 1159072"/>
                    <a:gd name="connsiteX334" fmla="*/ 288431 w 948586"/>
                    <a:gd name="connsiteY334" fmla="*/ 685763 h 1159072"/>
                    <a:gd name="connsiteX335" fmla="*/ 279894 w 948586"/>
                    <a:gd name="connsiteY335" fmla="*/ 687695 h 1159072"/>
                    <a:gd name="connsiteX336" fmla="*/ 267245 w 948586"/>
                    <a:gd name="connsiteY336" fmla="*/ 690752 h 1159072"/>
                    <a:gd name="connsiteX337" fmla="*/ 255885 w 948586"/>
                    <a:gd name="connsiteY337" fmla="*/ 694640 h 1159072"/>
                    <a:gd name="connsiteX338" fmla="*/ 255183 w 948586"/>
                    <a:gd name="connsiteY338" fmla="*/ 686946 h 1159072"/>
                    <a:gd name="connsiteX339" fmla="*/ 238622 w 948586"/>
                    <a:gd name="connsiteY339" fmla="*/ 699325 h 1159072"/>
                    <a:gd name="connsiteX340" fmla="*/ 238541 w 948586"/>
                    <a:gd name="connsiteY340" fmla="*/ 706188 h 1159072"/>
                    <a:gd name="connsiteX341" fmla="*/ 234547 w 948586"/>
                    <a:gd name="connsiteY341" fmla="*/ 710228 h 1159072"/>
                    <a:gd name="connsiteX342" fmla="*/ 229628 w 948586"/>
                    <a:gd name="connsiteY342" fmla="*/ 719726 h 1159072"/>
                    <a:gd name="connsiteX343" fmla="*/ 231572 w 948586"/>
                    <a:gd name="connsiteY343" fmla="*/ 716295 h 1159072"/>
                    <a:gd name="connsiteX344" fmla="*/ 225880 w 948586"/>
                    <a:gd name="connsiteY344" fmla="*/ 711353 h 1159072"/>
                    <a:gd name="connsiteX345" fmla="*/ 217682 w 948586"/>
                    <a:gd name="connsiteY345" fmla="*/ 708296 h 1159072"/>
                    <a:gd name="connsiteX346" fmla="*/ 218432 w 948586"/>
                    <a:gd name="connsiteY346" fmla="*/ 708659 h 1159072"/>
                    <a:gd name="connsiteX347" fmla="*/ 215972 w 948586"/>
                    <a:gd name="connsiteY347" fmla="*/ 708401 h 1159072"/>
                    <a:gd name="connsiteX348" fmla="*/ 206264 w 948586"/>
                    <a:gd name="connsiteY348" fmla="*/ 704431 h 1159072"/>
                    <a:gd name="connsiteX349" fmla="*/ 201497 w 948586"/>
                    <a:gd name="connsiteY349" fmla="*/ 705426 h 1159072"/>
                    <a:gd name="connsiteX350" fmla="*/ 197257 w 948586"/>
                    <a:gd name="connsiteY350" fmla="*/ 706644 h 1159072"/>
                    <a:gd name="connsiteX351" fmla="*/ 195840 w 948586"/>
                    <a:gd name="connsiteY351" fmla="*/ 707453 h 1159072"/>
                    <a:gd name="connsiteX352" fmla="*/ 195653 w 948586"/>
                    <a:gd name="connsiteY352" fmla="*/ 704279 h 1159072"/>
                    <a:gd name="connsiteX353" fmla="*/ 184351 w 948586"/>
                    <a:gd name="connsiteY353" fmla="*/ 710486 h 1159072"/>
                    <a:gd name="connsiteX354" fmla="*/ 179901 w 948586"/>
                    <a:gd name="connsiteY354" fmla="*/ 704642 h 1159072"/>
                    <a:gd name="connsiteX355" fmla="*/ 170918 w 948586"/>
                    <a:gd name="connsiteY355" fmla="*/ 711657 h 1159072"/>
                    <a:gd name="connsiteX356" fmla="*/ 169009 w 948586"/>
                    <a:gd name="connsiteY356" fmla="*/ 710252 h 1159072"/>
                    <a:gd name="connsiteX357" fmla="*/ 169630 w 948586"/>
                    <a:gd name="connsiteY357" fmla="*/ 702686 h 1159072"/>
                    <a:gd name="connsiteX358" fmla="*/ 168541 w 948586"/>
                    <a:gd name="connsiteY358" fmla="*/ 699266 h 1159072"/>
                    <a:gd name="connsiteX359" fmla="*/ 171164 w 948586"/>
                    <a:gd name="connsiteY359" fmla="*/ 695308 h 1159072"/>
                    <a:gd name="connsiteX360" fmla="*/ 169466 w 948586"/>
                    <a:gd name="connsiteY360" fmla="*/ 688058 h 1159072"/>
                    <a:gd name="connsiteX361" fmla="*/ 177055 w 948586"/>
                    <a:gd name="connsiteY361" fmla="*/ 684182 h 1159072"/>
                    <a:gd name="connsiteX362" fmla="*/ 171855 w 948586"/>
                    <a:gd name="connsiteY362" fmla="*/ 683350 h 1159072"/>
                    <a:gd name="connsiteX363" fmla="*/ 184258 w 948586"/>
                    <a:gd name="connsiteY363" fmla="*/ 681371 h 1159072"/>
                    <a:gd name="connsiteX364" fmla="*/ 189985 w 948586"/>
                    <a:gd name="connsiteY364" fmla="*/ 682636 h 1159072"/>
                    <a:gd name="connsiteX365" fmla="*/ 186213 w 948586"/>
                    <a:gd name="connsiteY365" fmla="*/ 684908 h 1159072"/>
                    <a:gd name="connsiteX366" fmla="*/ 206393 w 948586"/>
                    <a:gd name="connsiteY366" fmla="*/ 670339 h 1159072"/>
                    <a:gd name="connsiteX367" fmla="*/ 220716 w 948586"/>
                    <a:gd name="connsiteY367" fmla="*/ 662340 h 1159072"/>
                    <a:gd name="connsiteX368" fmla="*/ 237240 w 948586"/>
                    <a:gd name="connsiteY368" fmla="*/ 648040 h 1159072"/>
                    <a:gd name="connsiteX369" fmla="*/ 260019 w 948586"/>
                    <a:gd name="connsiteY369" fmla="*/ 622228 h 1159072"/>
                    <a:gd name="connsiteX370" fmla="*/ 266847 w 948586"/>
                    <a:gd name="connsiteY370" fmla="*/ 620740 h 1159072"/>
                    <a:gd name="connsiteX371" fmla="*/ 265313 w 948586"/>
                    <a:gd name="connsiteY371" fmla="*/ 619874 h 1159072"/>
                    <a:gd name="connsiteX372" fmla="*/ 284403 w 948586"/>
                    <a:gd name="connsiteY372" fmla="*/ 612121 h 1159072"/>
                    <a:gd name="connsiteX373" fmla="*/ 291371 w 948586"/>
                    <a:gd name="connsiteY373" fmla="*/ 613222 h 1159072"/>
                    <a:gd name="connsiteX374" fmla="*/ 296653 w 948586"/>
                    <a:gd name="connsiteY374" fmla="*/ 614077 h 1159072"/>
                    <a:gd name="connsiteX375" fmla="*/ 298457 w 948586"/>
                    <a:gd name="connsiteY375" fmla="*/ 620495 h 1159072"/>
                    <a:gd name="connsiteX376" fmla="*/ 306186 w 948586"/>
                    <a:gd name="connsiteY376" fmla="*/ 617180 h 1159072"/>
                    <a:gd name="connsiteX377" fmla="*/ 316434 w 948586"/>
                    <a:gd name="connsiteY377" fmla="*/ 617695 h 1159072"/>
                    <a:gd name="connsiteX378" fmla="*/ 352412 w 948586"/>
                    <a:gd name="connsiteY378" fmla="*/ 611254 h 1159072"/>
                    <a:gd name="connsiteX379" fmla="*/ 381199 w 948586"/>
                    <a:gd name="connsiteY379" fmla="*/ 608959 h 1159072"/>
                    <a:gd name="connsiteX380" fmla="*/ 399562 w 948586"/>
                    <a:gd name="connsiteY380" fmla="*/ 608771 h 1159072"/>
                    <a:gd name="connsiteX381" fmla="*/ 394187 w 948586"/>
                    <a:gd name="connsiteY381" fmla="*/ 615775 h 1159072"/>
                    <a:gd name="connsiteX382" fmla="*/ 396892 w 948586"/>
                    <a:gd name="connsiteY382" fmla="*/ 612695 h 1159072"/>
                    <a:gd name="connsiteX383" fmla="*/ 398075 w 948586"/>
                    <a:gd name="connsiteY383" fmla="*/ 614405 h 1159072"/>
                    <a:gd name="connsiteX384" fmla="*/ 396459 w 948586"/>
                    <a:gd name="connsiteY384" fmla="*/ 614697 h 1159072"/>
                    <a:gd name="connsiteX385" fmla="*/ 400593 w 948586"/>
                    <a:gd name="connsiteY385" fmla="*/ 621279 h 1159072"/>
                    <a:gd name="connsiteX386" fmla="*/ 404950 w 948586"/>
                    <a:gd name="connsiteY386" fmla="*/ 619195 h 1159072"/>
                    <a:gd name="connsiteX387" fmla="*/ 404950 w 948586"/>
                    <a:gd name="connsiteY387" fmla="*/ 617719 h 1159072"/>
                    <a:gd name="connsiteX388" fmla="*/ 408112 w 948586"/>
                    <a:gd name="connsiteY388" fmla="*/ 612004 h 1159072"/>
                    <a:gd name="connsiteX389" fmla="*/ 408943 w 948586"/>
                    <a:gd name="connsiteY389" fmla="*/ 616805 h 1159072"/>
                    <a:gd name="connsiteX390" fmla="*/ 410677 w 948586"/>
                    <a:gd name="connsiteY390" fmla="*/ 615295 h 1159072"/>
                    <a:gd name="connsiteX391" fmla="*/ 418886 w 948586"/>
                    <a:gd name="connsiteY391" fmla="*/ 616103 h 1159072"/>
                    <a:gd name="connsiteX392" fmla="*/ 416392 w 948586"/>
                    <a:gd name="connsiteY392" fmla="*/ 618937 h 1159072"/>
                    <a:gd name="connsiteX393" fmla="*/ 422974 w 948586"/>
                    <a:gd name="connsiteY393" fmla="*/ 616150 h 1159072"/>
                    <a:gd name="connsiteX394" fmla="*/ 420034 w 948586"/>
                    <a:gd name="connsiteY394" fmla="*/ 615423 h 1159072"/>
                    <a:gd name="connsiteX395" fmla="*/ 427483 w 948586"/>
                    <a:gd name="connsiteY395" fmla="*/ 616115 h 1159072"/>
                    <a:gd name="connsiteX396" fmla="*/ 425901 w 948586"/>
                    <a:gd name="connsiteY396" fmla="*/ 613690 h 1159072"/>
                    <a:gd name="connsiteX397" fmla="*/ 428537 w 948586"/>
                    <a:gd name="connsiteY397" fmla="*/ 613456 h 1159072"/>
                    <a:gd name="connsiteX398" fmla="*/ 426300 w 948586"/>
                    <a:gd name="connsiteY398" fmla="*/ 609638 h 1159072"/>
                    <a:gd name="connsiteX399" fmla="*/ 437156 w 948586"/>
                    <a:gd name="connsiteY399" fmla="*/ 602400 h 1159072"/>
                    <a:gd name="connsiteX400" fmla="*/ 437718 w 948586"/>
                    <a:gd name="connsiteY400" fmla="*/ 597083 h 1159072"/>
                    <a:gd name="connsiteX401" fmla="*/ 436114 w 948586"/>
                    <a:gd name="connsiteY401" fmla="*/ 587011 h 1159072"/>
                    <a:gd name="connsiteX402" fmla="*/ 442543 w 948586"/>
                    <a:gd name="connsiteY402" fmla="*/ 574093 h 1159072"/>
                    <a:gd name="connsiteX403" fmla="*/ 456679 w 948586"/>
                    <a:gd name="connsiteY403" fmla="*/ 564525 h 1159072"/>
                    <a:gd name="connsiteX404" fmla="*/ 472947 w 948586"/>
                    <a:gd name="connsiteY404" fmla="*/ 542918 h 1159072"/>
                    <a:gd name="connsiteX405" fmla="*/ 471413 w 948586"/>
                    <a:gd name="connsiteY405" fmla="*/ 520443 h 1159072"/>
                    <a:gd name="connsiteX406" fmla="*/ 481590 w 948586"/>
                    <a:gd name="connsiteY406" fmla="*/ 504316 h 1159072"/>
                    <a:gd name="connsiteX407" fmla="*/ 506418 w 948586"/>
                    <a:gd name="connsiteY407" fmla="*/ 498847 h 1159072"/>
                    <a:gd name="connsiteX408" fmla="*/ 501289 w 948586"/>
                    <a:gd name="connsiteY408" fmla="*/ 503368 h 1159072"/>
                    <a:gd name="connsiteX409" fmla="*/ 500282 w 948586"/>
                    <a:gd name="connsiteY409" fmla="*/ 511144 h 1159072"/>
                    <a:gd name="connsiteX410" fmla="*/ 493945 w 948586"/>
                    <a:gd name="connsiteY410" fmla="*/ 511671 h 1159072"/>
                    <a:gd name="connsiteX411" fmla="*/ 491978 w 948586"/>
                    <a:gd name="connsiteY411" fmla="*/ 515571 h 1159072"/>
                    <a:gd name="connsiteX412" fmla="*/ 486193 w 948586"/>
                    <a:gd name="connsiteY412" fmla="*/ 514610 h 1159072"/>
                    <a:gd name="connsiteX413" fmla="*/ 481039 w 948586"/>
                    <a:gd name="connsiteY413" fmla="*/ 524097 h 1159072"/>
                    <a:gd name="connsiteX414" fmla="*/ 490303 w 948586"/>
                    <a:gd name="connsiteY414" fmla="*/ 522539 h 1159072"/>
                    <a:gd name="connsiteX415" fmla="*/ 497529 w 948586"/>
                    <a:gd name="connsiteY415" fmla="*/ 543152 h 1159072"/>
                    <a:gd name="connsiteX416" fmla="*/ 511606 w 948586"/>
                    <a:gd name="connsiteY416" fmla="*/ 532717 h 1159072"/>
                    <a:gd name="connsiteX417" fmla="*/ 529373 w 948586"/>
                    <a:gd name="connsiteY417" fmla="*/ 527259 h 1159072"/>
                    <a:gd name="connsiteX418" fmla="*/ 545043 w 948586"/>
                    <a:gd name="connsiteY418" fmla="*/ 519061 h 1159072"/>
                    <a:gd name="connsiteX419" fmla="*/ 558382 w 948586"/>
                    <a:gd name="connsiteY419" fmla="*/ 513943 h 1159072"/>
                    <a:gd name="connsiteX420" fmla="*/ 572272 w 948586"/>
                    <a:gd name="connsiteY420" fmla="*/ 501236 h 1159072"/>
                    <a:gd name="connsiteX421" fmla="*/ 595754 w 948586"/>
                    <a:gd name="connsiteY421" fmla="*/ 471699 h 1159072"/>
                    <a:gd name="connsiteX422" fmla="*/ 615980 w 948586"/>
                    <a:gd name="connsiteY422" fmla="*/ 451977 h 1159072"/>
                    <a:gd name="connsiteX423" fmla="*/ 622175 w 948586"/>
                    <a:gd name="connsiteY423" fmla="*/ 433274 h 1159072"/>
                    <a:gd name="connsiteX424" fmla="*/ 632950 w 948586"/>
                    <a:gd name="connsiteY424" fmla="*/ 418916 h 1159072"/>
                    <a:gd name="connsiteX425" fmla="*/ 640843 w 948586"/>
                    <a:gd name="connsiteY425" fmla="*/ 390949 h 1159072"/>
                    <a:gd name="connsiteX426" fmla="*/ 645493 w 948586"/>
                    <a:gd name="connsiteY426" fmla="*/ 384121 h 1159072"/>
                    <a:gd name="connsiteX427" fmla="*/ 647472 w 948586"/>
                    <a:gd name="connsiteY427" fmla="*/ 373768 h 1159072"/>
                    <a:gd name="connsiteX428" fmla="*/ 645645 w 948586"/>
                    <a:gd name="connsiteY428" fmla="*/ 356470 h 1159072"/>
                    <a:gd name="connsiteX429" fmla="*/ 629167 w 948586"/>
                    <a:gd name="connsiteY429" fmla="*/ 346152 h 1159072"/>
                    <a:gd name="connsiteX430" fmla="*/ 645832 w 948586"/>
                    <a:gd name="connsiteY430" fmla="*/ 325973 h 1159072"/>
                    <a:gd name="connsiteX431" fmla="*/ 641909 w 948586"/>
                    <a:gd name="connsiteY431" fmla="*/ 315690 h 1159072"/>
                    <a:gd name="connsiteX432" fmla="*/ 637470 w 948586"/>
                    <a:gd name="connsiteY432" fmla="*/ 309237 h 1159072"/>
                    <a:gd name="connsiteX433" fmla="*/ 643092 w 948586"/>
                    <a:gd name="connsiteY433" fmla="*/ 303944 h 1159072"/>
                    <a:gd name="connsiteX434" fmla="*/ 646570 w 948586"/>
                    <a:gd name="connsiteY434" fmla="*/ 299505 h 1159072"/>
                    <a:gd name="connsiteX435" fmla="*/ 650798 w 948586"/>
                    <a:gd name="connsiteY435" fmla="*/ 300559 h 1159072"/>
                    <a:gd name="connsiteX436" fmla="*/ 661584 w 948586"/>
                    <a:gd name="connsiteY436" fmla="*/ 283015 h 1159072"/>
                    <a:gd name="connsiteX437" fmla="*/ 664735 w 948586"/>
                    <a:gd name="connsiteY437" fmla="*/ 285439 h 1159072"/>
                    <a:gd name="connsiteX438" fmla="*/ 666058 w 948586"/>
                    <a:gd name="connsiteY438" fmla="*/ 283121 h 1159072"/>
                    <a:gd name="connsiteX439" fmla="*/ 661854 w 948586"/>
                    <a:gd name="connsiteY439" fmla="*/ 282160 h 1159072"/>
                    <a:gd name="connsiteX440" fmla="*/ 657602 w 948586"/>
                    <a:gd name="connsiteY440" fmla="*/ 276398 h 1159072"/>
                    <a:gd name="connsiteX441" fmla="*/ 662650 w 948586"/>
                    <a:gd name="connsiteY441" fmla="*/ 268200 h 1159072"/>
                    <a:gd name="connsiteX442" fmla="*/ 670731 w 948586"/>
                    <a:gd name="connsiteY442" fmla="*/ 272873 h 1159072"/>
                    <a:gd name="connsiteX443" fmla="*/ 675779 w 948586"/>
                    <a:gd name="connsiteY443" fmla="*/ 271034 h 1159072"/>
                    <a:gd name="connsiteX444" fmla="*/ 677945 w 948586"/>
                    <a:gd name="connsiteY444" fmla="*/ 277089 h 1159072"/>
                    <a:gd name="connsiteX445" fmla="*/ 681096 w 948586"/>
                    <a:gd name="connsiteY445" fmla="*/ 293157 h 1159072"/>
                    <a:gd name="connsiteX446" fmla="*/ 690219 w 948586"/>
                    <a:gd name="connsiteY446" fmla="*/ 288133 h 1159072"/>
                    <a:gd name="connsiteX447" fmla="*/ 688661 w 948586"/>
                    <a:gd name="connsiteY447" fmla="*/ 287630 h 1159072"/>
                    <a:gd name="connsiteX448" fmla="*/ 703172 w 948586"/>
                    <a:gd name="connsiteY448" fmla="*/ 292595 h 1159072"/>
                    <a:gd name="connsiteX449" fmla="*/ 710948 w 948586"/>
                    <a:gd name="connsiteY449" fmla="*/ 276550 h 1159072"/>
                    <a:gd name="connsiteX450" fmla="*/ 704144 w 948586"/>
                    <a:gd name="connsiteY450" fmla="*/ 269629 h 1159072"/>
                    <a:gd name="connsiteX451" fmla="*/ 705268 w 948586"/>
                    <a:gd name="connsiteY451" fmla="*/ 268762 h 1159072"/>
                    <a:gd name="connsiteX452" fmla="*/ 684738 w 948586"/>
                    <a:gd name="connsiteY452" fmla="*/ 273833 h 1159072"/>
                    <a:gd name="connsiteX453" fmla="*/ 692456 w 948586"/>
                    <a:gd name="connsiteY453" fmla="*/ 250691 h 1159072"/>
                    <a:gd name="connsiteX454" fmla="*/ 702575 w 948586"/>
                    <a:gd name="connsiteY454" fmla="*/ 255868 h 1159072"/>
                    <a:gd name="connsiteX455" fmla="*/ 711288 w 948586"/>
                    <a:gd name="connsiteY455" fmla="*/ 262801 h 1159072"/>
                    <a:gd name="connsiteX456" fmla="*/ 711288 w 948586"/>
                    <a:gd name="connsiteY456" fmla="*/ 262801 h 1159072"/>
                    <a:gd name="connsiteX457" fmla="*/ 749983 w 948586"/>
                    <a:gd name="connsiteY457" fmla="*/ 2372 h 1159072"/>
                    <a:gd name="connsiteX458" fmla="*/ 776404 w 948586"/>
                    <a:gd name="connsiteY458" fmla="*/ 29777 h 1159072"/>
                    <a:gd name="connsiteX459" fmla="*/ 796396 w 948586"/>
                    <a:gd name="connsiteY459" fmla="*/ 54512 h 1159072"/>
                    <a:gd name="connsiteX460" fmla="*/ 816704 w 948586"/>
                    <a:gd name="connsiteY460" fmla="*/ 70732 h 1159072"/>
                    <a:gd name="connsiteX461" fmla="*/ 841731 w 948586"/>
                    <a:gd name="connsiteY461" fmla="*/ 84317 h 1159072"/>
                    <a:gd name="connsiteX462" fmla="*/ 836718 w 948586"/>
                    <a:gd name="connsiteY462" fmla="*/ 84317 h 1159072"/>
                    <a:gd name="connsiteX463" fmla="*/ 862343 w 948586"/>
                    <a:gd name="connsiteY463" fmla="*/ 89412 h 1159072"/>
                    <a:gd name="connsiteX464" fmla="*/ 860633 w 948586"/>
                    <a:gd name="connsiteY464" fmla="*/ 94612 h 1159072"/>
                    <a:gd name="connsiteX465" fmla="*/ 863796 w 948586"/>
                    <a:gd name="connsiteY465" fmla="*/ 91216 h 1159072"/>
                    <a:gd name="connsiteX466" fmla="*/ 867039 w 948586"/>
                    <a:gd name="connsiteY466" fmla="*/ 89529 h 1159072"/>
                    <a:gd name="connsiteX467" fmla="*/ 869569 w 948586"/>
                    <a:gd name="connsiteY467" fmla="*/ 95490 h 1159072"/>
                    <a:gd name="connsiteX468" fmla="*/ 887523 w 948586"/>
                    <a:gd name="connsiteY468" fmla="*/ 101088 h 1159072"/>
                    <a:gd name="connsiteX469" fmla="*/ 907526 w 948586"/>
                    <a:gd name="connsiteY469" fmla="*/ 88908 h 1159072"/>
                    <a:gd name="connsiteX470" fmla="*/ 923770 w 948586"/>
                    <a:gd name="connsiteY470" fmla="*/ 82455 h 1159072"/>
                    <a:gd name="connsiteX471" fmla="*/ 909459 w 948586"/>
                    <a:gd name="connsiteY471" fmla="*/ 109602 h 1159072"/>
                    <a:gd name="connsiteX472" fmla="*/ 917153 w 948586"/>
                    <a:gd name="connsiteY472" fmla="*/ 122755 h 1159072"/>
                    <a:gd name="connsiteX473" fmla="*/ 926077 w 948586"/>
                    <a:gd name="connsiteY473" fmla="*/ 140158 h 1159072"/>
                    <a:gd name="connsiteX474" fmla="*/ 921861 w 948586"/>
                    <a:gd name="connsiteY474" fmla="*/ 140884 h 1159072"/>
                    <a:gd name="connsiteX475" fmla="*/ 932530 w 948586"/>
                    <a:gd name="connsiteY475" fmla="*/ 144995 h 1159072"/>
                    <a:gd name="connsiteX476" fmla="*/ 948587 w 948586"/>
                    <a:gd name="connsiteY476" fmla="*/ 135825 h 1159072"/>
                    <a:gd name="connsiteX477" fmla="*/ 933233 w 948586"/>
                    <a:gd name="connsiteY477" fmla="*/ 148801 h 1159072"/>
                    <a:gd name="connsiteX478" fmla="*/ 920175 w 948586"/>
                    <a:gd name="connsiteY478" fmla="*/ 149047 h 1159072"/>
                    <a:gd name="connsiteX479" fmla="*/ 914331 w 948586"/>
                    <a:gd name="connsiteY479" fmla="*/ 154470 h 1159072"/>
                    <a:gd name="connsiteX480" fmla="*/ 905723 w 948586"/>
                    <a:gd name="connsiteY480" fmla="*/ 156671 h 1159072"/>
                    <a:gd name="connsiteX481" fmla="*/ 897290 w 948586"/>
                    <a:gd name="connsiteY481" fmla="*/ 157292 h 1159072"/>
                    <a:gd name="connsiteX482" fmla="*/ 894245 w 948586"/>
                    <a:gd name="connsiteY482" fmla="*/ 163616 h 1159072"/>
                    <a:gd name="connsiteX483" fmla="*/ 872497 w 948586"/>
                    <a:gd name="connsiteY483" fmla="*/ 160536 h 1159072"/>
                    <a:gd name="connsiteX484" fmla="*/ 847891 w 948586"/>
                    <a:gd name="connsiteY484" fmla="*/ 169074 h 1159072"/>
                    <a:gd name="connsiteX485" fmla="*/ 825089 w 948586"/>
                    <a:gd name="connsiteY485" fmla="*/ 193164 h 1159072"/>
                    <a:gd name="connsiteX486" fmla="*/ 818624 w 948586"/>
                    <a:gd name="connsiteY486" fmla="*/ 214995 h 1159072"/>
                    <a:gd name="connsiteX487" fmla="*/ 815064 w 948586"/>
                    <a:gd name="connsiteY487" fmla="*/ 223239 h 1159072"/>
                    <a:gd name="connsiteX488" fmla="*/ 810262 w 948586"/>
                    <a:gd name="connsiteY488" fmla="*/ 224188 h 1159072"/>
                    <a:gd name="connsiteX489" fmla="*/ 803188 w 948586"/>
                    <a:gd name="connsiteY489" fmla="*/ 218262 h 1159072"/>
                    <a:gd name="connsiteX490" fmla="*/ 788209 w 948586"/>
                    <a:gd name="connsiteY490" fmla="*/ 212277 h 1159072"/>
                    <a:gd name="connsiteX491" fmla="*/ 759223 w 948586"/>
                    <a:gd name="connsiteY491" fmla="*/ 195038 h 1159072"/>
                    <a:gd name="connsiteX492" fmla="*/ 734770 w 948586"/>
                    <a:gd name="connsiteY492" fmla="*/ 183678 h 1159072"/>
                    <a:gd name="connsiteX493" fmla="*/ 708114 w 948586"/>
                    <a:gd name="connsiteY493" fmla="*/ 194500 h 1159072"/>
                    <a:gd name="connsiteX494" fmla="*/ 693334 w 948586"/>
                    <a:gd name="connsiteY494" fmla="*/ 201784 h 1159072"/>
                    <a:gd name="connsiteX495" fmla="*/ 696063 w 948586"/>
                    <a:gd name="connsiteY495" fmla="*/ 201772 h 1159072"/>
                    <a:gd name="connsiteX496" fmla="*/ 672207 w 948586"/>
                    <a:gd name="connsiteY496" fmla="*/ 185950 h 1159072"/>
                    <a:gd name="connsiteX497" fmla="*/ 661432 w 948586"/>
                    <a:gd name="connsiteY497" fmla="*/ 195881 h 1159072"/>
                    <a:gd name="connsiteX498" fmla="*/ 666175 w 948586"/>
                    <a:gd name="connsiteY498" fmla="*/ 210005 h 1159072"/>
                    <a:gd name="connsiteX499" fmla="*/ 672418 w 948586"/>
                    <a:gd name="connsiteY499" fmla="*/ 215381 h 1159072"/>
                    <a:gd name="connsiteX500" fmla="*/ 678238 w 948586"/>
                    <a:gd name="connsiteY500" fmla="*/ 214878 h 1159072"/>
                    <a:gd name="connsiteX501" fmla="*/ 689224 w 948586"/>
                    <a:gd name="connsiteY501" fmla="*/ 221694 h 1159072"/>
                    <a:gd name="connsiteX502" fmla="*/ 707329 w 948586"/>
                    <a:gd name="connsiteY502" fmla="*/ 234951 h 1159072"/>
                    <a:gd name="connsiteX503" fmla="*/ 695407 w 948586"/>
                    <a:gd name="connsiteY503" fmla="*/ 239952 h 1159072"/>
                    <a:gd name="connsiteX504" fmla="*/ 681658 w 948586"/>
                    <a:gd name="connsiteY504" fmla="*/ 238312 h 1159072"/>
                    <a:gd name="connsiteX505" fmla="*/ 679175 w 948586"/>
                    <a:gd name="connsiteY505" fmla="*/ 233265 h 1159072"/>
                    <a:gd name="connsiteX506" fmla="*/ 676821 w 948586"/>
                    <a:gd name="connsiteY506" fmla="*/ 237727 h 1159072"/>
                    <a:gd name="connsiteX507" fmla="*/ 670661 w 948586"/>
                    <a:gd name="connsiteY507" fmla="*/ 241615 h 1159072"/>
                    <a:gd name="connsiteX508" fmla="*/ 664629 w 948586"/>
                    <a:gd name="connsiteY508" fmla="*/ 253127 h 1159072"/>
                    <a:gd name="connsiteX509" fmla="*/ 655003 w 948586"/>
                    <a:gd name="connsiteY509" fmla="*/ 259744 h 1159072"/>
                    <a:gd name="connsiteX510" fmla="*/ 645750 w 948586"/>
                    <a:gd name="connsiteY510" fmla="*/ 241381 h 1159072"/>
                    <a:gd name="connsiteX511" fmla="*/ 652051 w 948586"/>
                    <a:gd name="connsiteY511" fmla="*/ 225605 h 1159072"/>
                    <a:gd name="connsiteX512" fmla="*/ 642284 w 948586"/>
                    <a:gd name="connsiteY512" fmla="*/ 214245 h 1159072"/>
                    <a:gd name="connsiteX513" fmla="*/ 633652 w 948586"/>
                    <a:gd name="connsiteY513" fmla="*/ 206937 h 1159072"/>
                    <a:gd name="connsiteX514" fmla="*/ 636205 w 948586"/>
                    <a:gd name="connsiteY514" fmla="*/ 195799 h 1159072"/>
                    <a:gd name="connsiteX515" fmla="*/ 640375 w 948586"/>
                    <a:gd name="connsiteY515" fmla="*/ 179872 h 1159072"/>
                    <a:gd name="connsiteX516" fmla="*/ 651817 w 948586"/>
                    <a:gd name="connsiteY516" fmla="*/ 175422 h 1159072"/>
                    <a:gd name="connsiteX517" fmla="*/ 655155 w 948586"/>
                    <a:gd name="connsiteY517" fmla="*/ 171217 h 1159072"/>
                    <a:gd name="connsiteX518" fmla="*/ 659394 w 948586"/>
                    <a:gd name="connsiteY518" fmla="*/ 174730 h 1159072"/>
                    <a:gd name="connsiteX519" fmla="*/ 671235 w 948586"/>
                    <a:gd name="connsiteY519" fmla="*/ 157046 h 1159072"/>
                    <a:gd name="connsiteX520" fmla="*/ 661924 w 948586"/>
                    <a:gd name="connsiteY520" fmla="*/ 143613 h 1159072"/>
                    <a:gd name="connsiteX521" fmla="*/ 670122 w 948586"/>
                    <a:gd name="connsiteY521" fmla="*/ 135860 h 1159072"/>
                    <a:gd name="connsiteX522" fmla="*/ 682571 w 948586"/>
                    <a:gd name="connsiteY522" fmla="*/ 144526 h 1159072"/>
                    <a:gd name="connsiteX523" fmla="*/ 698042 w 948586"/>
                    <a:gd name="connsiteY523" fmla="*/ 145287 h 1159072"/>
                    <a:gd name="connsiteX524" fmla="*/ 705069 w 948586"/>
                    <a:gd name="connsiteY524" fmla="*/ 150405 h 1159072"/>
                    <a:gd name="connsiteX525" fmla="*/ 718268 w 948586"/>
                    <a:gd name="connsiteY525" fmla="*/ 140544 h 1159072"/>
                    <a:gd name="connsiteX526" fmla="*/ 714720 w 948586"/>
                    <a:gd name="connsiteY526" fmla="*/ 113350 h 1159072"/>
                    <a:gd name="connsiteX527" fmla="*/ 723737 w 948586"/>
                    <a:gd name="connsiteY527" fmla="*/ 106475 h 1159072"/>
                    <a:gd name="connsiteX528" fmla="*/ 731807 w 948586"/>
                    <a:gd name="connsiteY528" fmla="*/ 91309 h 1159072"/>
                    <a:gd name="connsiteX529" fmla="*/ 731186 w 948586"/>
                    <a:gd name="connsiteY529" fmla="*/ 77642 h 1159072"/>
                    <a:gd name="connsiteX530" fmla="*/ 736468 w 948586"/>
                    <a:gd name="connsiteY530" fmla="*/ 65977 h 1159072"/>
                    <a:gd name="connsiteX531" fmla="*/ 736210 w 948586"/>
                    <a:gd name="connsiteY531" fmla="*/ 39193 h 1159072"/>
                    <a:gd name="connsiteX532" fmla="*/ 727895 w 948586"/>
                    <a:gd name="connsiteY532" fmla="*/ 14833 h 1159072"/>
                    <a:gd name="connsiteX533" fmla="*/ 731607 w 948586"/>
                    <a:gd name="connsiteY533" fmla="*/ 2676 h 1159072"/>
                    <a:gd name="connsiteX534" fmla="*/ 749983 w 948586"/>
                    <a:gd name="connsiteY534" fmla="*/ 2372 h 1159072"/>
                    <a:gd name="connsiteX535" fmla="*/ 749983 w 948586"/>
                    <a:gd name="connsiteY535" fmla="*/ 2372 h 115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Lst>
                  <a:rect l="l" t="t" r="r" b="b"/>
                  <a:pathLst>
                    <a:path w="948586" h="1159072">
                      <a:moveTo>
                        <a:pt x="34936" y="1124395"/>
                      </a:moveTo>
                      <a:cubicBezTo>
                        <a:pt x="32488" y="1128986"/>
                        <a:pt x="25965" y="1131164"/>
                        <a:pt x="23001" y="1133424"/>
                      </a:cubicBezTo>
                      <a:cubicBezTo>
                        <a:pt x="15893" y="1138858"/>
                        <a:pt x="7683" y="1137008"/>
                        <a:pt x="14581" y="1146494"/>
                      </a:cubicBezTo>
                      <a:cubicBezTo>
                        <a:pt x="9229" y="1144246"/>
                        <a:pt x="3584" y="1153006"/>
                        <a:pt x="9569" y="1153357"/>
                      </a:cubicBezTo>
                      <a:cubicBezTo>
                        <a:pt x="7249" y="1157140"/>
                        <a:pt x="4989" y="1158581"/>
                        <a:pt x="586" y="1159073"/>
                      </a:cubicBezTo>
                      <a:cubicBezTo>
                        <a:pt x="-1604" y="1151132"/>
                        <a:pt x="2975" y="1152947"/>
                        <a:pt x="4064" y="1148474"/>
                      </a:cubicBezTo>
                      <a:cubicBezTo>
                        <a:pt x="4895" y="1145042"/>
                        <a:pt x="4064" y="1141505"/>
                        <a:pt x="5610" y="1139093"/>
                      </a:cubicBezTo>
                      <a:cubicBezTo>
                        <a:pt x="6383" y="1137887"/>
                        <a:pt x="13574" y="1136364"/>
                        <a:pt x="14593" y="1134478"/>
                      </a:cubicBezTo>
                      <a:cubicBezTo>
                        <a:pt x="17966" y="1128283"/>
                        <a:pt x="11466" y="1131843"/>
                        <a:pt x="12402" y="1124945"/>
                      </a:cubicBezTo>
                      <a:cubicBezTo>
                        <a:pt x="20835" y="1122954"/>
                        <a:pt x="16525" y="1130918"/>
                        <a:pt x="24360" y="1125613"/>
                      </a:cubicBezTo>
                      <a:cubicBezTo>
                        <a:pt x="26679" y="1124043"/>
                        <a:pt x="31914" y="1117391"/>
                        <a:pt x="32066" y="1114206"/>
                      </a:cubicBezTo>
                      <a:cubicBezTo>
                        <a:pt x="36247" y="1116899"/>
                        <a:pt x="37231" y="1120565"/>
                        <a:pt x="34936" y="1124395"/>
                      </a:cubicBezTo>
                      <a:lnTo>
                        <a:pt x="34936" y="1124395"/>
                      </a:lnTo>
                      <a:close/>
                      <a:moveTo>
                        <a:pt x="174888" y="712652"/>
                      </a:moveTo>
                      <a:cubicBezTo>
                        <a:pt x="173905" y="714550"/>
                        <a:pt x="172593" y="717091"/>
                        <a:pt x="175626" y="717606"/>
                      </a:cubicBezTo>
                      <a:cubicBezTo>
                        <a:pt x="174350" y="727011"/>
                        <a:pt x="185628" y="731965"/>
                        <a:pt x="193275" y="731368"/>
                      </a:cubicBezTo>
                      <a:cubicBezTo>
                        <a:pt x="200185" y="730829"/>
                        <a:pt x="206662" y="718684"/>
                        <a:pt x="212670" y="730138"/>
                      </a:cubicBezTo>
                      <a:cubicBezTo>
                        <a:pt x="217249" y="738840"/>
                        <a:pt x="209016" y="741557"/>
                        <a:pt x="205303" y="744906"/>
                      </a:cubicBezTo>
                      <a:cubicBezTo>
                        <a:pt x="203968" y="746112"/>
                        <a:pt x="202657" y="741768"/>
                        <a:pt x="201462" y="744590"/>
                      </a:cubicBezTo>
                      <a:cubicBezTo>
                        <a:pt x="199471" y="749228"/>
                        <a:pt x="203066" y="749275"/>
                        <a:pt x="205526" y="750305"/>
                      </a:cubicBezTo>
                      <a:cubicBezTo>
                        <a:pt x="207950" y="751312"/>
                        <a:pt x="219310" y="750973"/>
                        <a:pt x="222344" y="749591"/>
                      </a:cubicBezTo>
                      <a:cubicBezTo>
                        <a:pt x="220821" y="752706"/>
                        <a:pt x="219451" y="754849"/>
                        <a:pt x="217483" y="757660"/>
                      </a:cubicBezTo>
                      <a:cubicBezTo>
                        <a:pt x="218994" y="757519"/>
                        <a:pt x="221055" y="758245"/>
                        <a:pt x="222800" y="757824"/>
                      </a:cubicBezTo>
                      <a:cubicBezTo>
                        <a:pt x="221828" y="758655"/>
                        <a:pt x="221137" y="759475"/>
                        <a:pt x="220294" y="760295"/>
                      </a:cubicBezTo>
                      <a:cubicBezTo>
                        <a:pt x="223116" y="759862"/>
                        <a:pt x="222051" y="760916"/>
                        <a:pt x="223995" y="759744"/>
                      </a:cubicBezTo>
                      <a:cubicBezTo>
                        <a:pt x="226981" y="760939"/>
                        <a:pt x="224897" y="762063"/>
                        <a:pt x="227215" y="759756"/>
                      </a:cubicBezTo>
                      <a:cubicBezTo>
                        <a:pt x="228304" y="764148"/>
                        <a:pt x="219673" y="761618"/>
                        <a:pt x="223749" y="767205"/>
                      </a:cubicBezTo>
                      <a:cubicBezTo>
                        <a:pt x="225189" y="769184"/>
                        <a:pt x="230015" y="768540"/>
                        <a:pt x="231806" y="768985"/>
                      </a:cubicBezTo>
                      <a:cubicBezTo>
                        <a:pt x="227145" y="769114"/>
                        <a:pt x="227157" y="772206"/>
                        <a:pt x="225096" y="775134"/>
                      </a:cubicBezTo>
                      <a:cubicBezTo>
                        <a:pt x="225810" y="775380"/>
                        <a:pt x="226993" y="775227"/>
                        <a:pt x="227614" y="775333"/>
                      </a:cubicBezTo>
                      <a:cubicBezTo>
                        <a:pt x="223913" y="778881"/>
                        <a:pt x="220224" y="777675"/>
                        <a:pt x="219498" y="783613"/>
                      </a:cubicBezTo>
                      <a:cubicBezTo>
                        <a:pt x="216862" y="782699"/>
                        <a:pt x="208477" y="791494"/>
                        <a:pt x="213689" y="794657"/>
                      </a:cubicBezTo>
                      <a:cubicBezTo>
                        <a:pt x="211862" y="794938"/>
                        <a:pt x="212178" y="795746"/>
                        <a:pt x="209683" y="795523"/>
                      </a:cubicBezTo>
                      <a:cubicBezTo>
                        <a:pt x="210234" y="796542"/>
                        <a:pt x="210081" y="797538"/>
                        <a:pt x="211218" y="798709"/>
                      </a:cubicBezTo>
                      <a:cubicBezTo>
                        <a:pt x="204659" y="801965"/>
                        <a:pt x="195220" y="831712"/>
                        <a:pt x="201157" y="834933"/>
                      </a:cubicBezTo>
                      <a:cubicBezTo>
                        <a:pt x="196625" y="842885"/>
                        <a:pt x="196520" y="851540"/>
                        <a:pt x="192549" y="859632"/>
                      </a:cubicBezTo>
                      <a:cubicBezTo>
                        <a:pt x="191624" y="859539"/>
                        <a:pt x="192385" y="858637"/>
                        <a:pt x="192233" y="858449"/>
                      </a:cubicBezTo>
                      <a:cubicBezTo>
                        <a:pt x="187010" y="859855"/>
                        <a:pt x="187267" y="852453"/>
                        <a:pt x="181248" y="853976"/>
                      </a:cubicBezTo>
                      <a:cubicBezTo>
                        <a:pt x="170977" y="856575"/>
                        <a:pt x="182114" y="861260"/>
                        <a:pt x="179139" y="864551"/>
                      </a:cubicBezTo>
                      <a:cubicBezTo>
                        <a:pt x="180042" y="864469"/>
                        <a:pt x="181599" y="864703"/>
                        <a:pt x="182173" y="864703"/>
                      </a:cubicBezTo>
                      <a:cubicBezTo>
                        <a:pt x="175041" y="871426"/>
                        <a:pt x="166620" y="875876"/>
                        <a:pt x="157427" y="880596"/>
                      </a:cubicBezTo>
                      <a:cubicBezTo>
                        <a:pt x="156759" y="875373"/>
                        <a:pt x="163563" y="871449"/>
                        <a:pt x="164055" y="865898"/>
                      </a:cubicBezTo>
                      <a:cubicBezTo>
                        <a:pt x="164641" y="859398"/>
                        <a:pt x="163153" y="858449"/>
                        <a:pt x="159558" y="853577"/>
                      </a:cubicBezTo>
                      <a:cubicBezTo>
                        <a:pt x="161233" y="855826"/>
                        <a:pt x="155611" y="844911"/>
                        <a:pt x="156372" y="848787"/>
                      </a:cubicBezTo>
                      <a:cubicBezTo>
                        <a:pt x="156232" y="848131"/>
                        <a:pt x="151665" y="846433"/>
                        <a:pt x="155752" y="845262"/>
                      </a:cubicBezTo>
                      <a:cubicBezTo>
                        <a:pt x="159488" y="844196"/>
                        <a:pt x="161362" y="848916"/>
                        <a:pt x="162181" y="848553"/>
                      </a:cubicBezTo>
                      <a:cubicBezTo>
                        <a:pt x="167604" y="846211"/>
                        <a:pt x="165519" y="839652"/>
                        <a:pt x="160237" y="839488"/>
                      </a:cubicBezTo>
                      <a:cubicBezTo>
                        <a:pt x="155365" y="839336"/>
                        <a:pt x="153784" y="843833"/>
                        <a:pt x="152250" y="848190"/>
                      </a:cubicBezTo>
                      <a:cubicBezTo>
                        <a:pt x="150423" y="853402"/>
                        <a:pt x="149263" y="856130"/>
                        <a:pt x="152449" y="861541"/>
                      </a:cubicBezTo>
                      <a:cubicBezTo>
                        <a:pt x="154335" y="864739"/>
                        <a:pt x="160144" y="865184"/>
                        <a:pt x="156501" y="870055"/>
                      </a:cubicBezTo>
                      <a:cubicBezTo>
                        <a:pt x="152379" y="875548"/>
                        <a:pt x="149884" y="867760"/>
                        <a:pt x="146652" y="866460"/>
                      </a:cubicBezTo>
                      <a:cubicBezTo>
                        <a:pt x="140667" y="864059"/>
                        <a:pt x="134238" y="870067"/>
                        <a:pt x="132469" y="861939"/>
                      </a:cubicBezTo>
                      <a:cubicBezTo>
                        <a:pt x="132949" y="861974"/>
                        <a:pt x="133430" y="862033"/>
                        <a:pt x="133898" y="862115"/>
                      </a:cubicBezTo>
                      <a:cubicBezTo>
                        <a:pt x="132481" y="860475"/>
                        <a:pt x="131708" y="858567"/>
                        <a:pt x="129307" y="857290"/>
                      </a:cubicBezTo>
                      <a:cubicBezTo>
                        <a:pt x="132411" y="856786"/>
                        <a:pt x="132411" y="856575"/>
                        <a:pt x="134999" y="858859"/>
                      </a:cubicBezTo>
                      <a:cubicBezTo>
                        <a:pt x="138524" y="855416"/>
                        <a:pt x="142026" y="849103"/>
                        <a:pt x="140363" y="844278"/>
                      </a:cubicBezTo>
                      <a:cubicBezTo>
                        <a:pt x="139484" y="841714"/>
                        <a:pt x="126379" y="832063"/>
                        <a:pt x="135374" y="833574"/>
                      </a:cubicBezTo>
                      <a:cubicBezTo>
                        <a:pt x="134823" y="833000"/>
                        <a:pt x="132200" y="824626"/>
                        <a:pt x="132177" y="823209"/>
                      </a:cubicBezTo>
                      <a:cubicBezTo>
                        <a:pt x="132165" y="822952"/>
                        <a:pt x="133312" y="817951"/>
                        <a:pt x="133113" y="818326"/>
                      </a:cubicBezTo>
                      <a:cubicBezTo>
                        <a:pt x="134648" y="815374"/>
                        <a:pt x="137119" y="817775"/>
                        <a:pt x="137646" y="817319"/>
                      </a:cubicBezTo>
                      <a:cubicBezTo>
                        <a:pt x="141276" y="814192"/>
                        <a:pt x="147097" y="803136"/>
                        <a:pt x="149346" y="804178"/>
                      </a:cubicBezTo>
                      <a:cubicBezTo>
                        <a:pt x="149603" y="800677"/>
                        <a:pt x="152859" y="794364"/>
                        <a:pt x="154346" y="793849"/>
                      </a:cubicBezTo>
                      <a:cubicBezTo>
                        <a:pt x="150727" y="790324"/>
                        <a:pt x="156173" y="789047"/>
                        <a:pt x="157977" y="785534"/>
                      </a:cubicBezTo>
                      <a:cubicBezTo>
                        <a:pt x="154159" y="785814"/>
                        <a:pt x="149990" y="786997"/>
                        <a:pt x="146488" y="787114"/>
                      </a:cubicBezTo>
                      <a:cubicBezTo>
                        <a:pt x="149228" y="784725"/>
                        <a:pt x="152215" y="782968"/>
                        <a:pt x="155763" y="782324"/>
                      </a:cubicBezTo>
                      <a:cubicBezTo>
                        <a:pt x="154581" y="780064"/>
                        <a:pt x="155517" y="778518"/>
                        <a:pt x="154546" y="776668"/>
                      </a:cubicBezTo>
                      <a:cubicBezTo>
                        <a:pt x="153140" y="773974"/>
                        <a:pt x="149392" y="772955"/>
                        <a:pt x="147647" y="770355"/>
                      </a:cubicBezTo>
                      <a:cubicBezTo>
                        <a:pt x="146207" y="768189"/>
                        <a:pt x="146640" y="767392"/>
                        <a:pt x="145363" y="764687"/>
                      </a:cubicBezTo>
                      <a:cubicBezTo>
                        <a:pt x="142084" y="757754"/>
                        <a:pt x="142190" y="759276"/>
                        <a:pt x="135713" y="754135"/>
                      </a:cubicBezTo>
                      <a:cubicBezTo>
                        <a:pt x="134296" y="756524"/>
                        <a:pt x="132001" y="758117"/>
                        <a:pt x="129764" y="758058"/>
                      </a:cubicBezTo>
                      <a:cubicBezTo>
                        <a:pt x="132422" y="765307"/>
                        <a:pt x="137880" y="768505"/>
                        <a:pt x="128616" y="772334"/>
                      </a:cubicBezTo>
                      <a:cubicBezTo>
                        <a:pt x="132786" y="776890"/>
                        <a:pt x="144193" y="767919"/>
                        <a:pt x="142658" y="780041"/>
                      </a:cubicBezTo>
                      <a:cubicBezTo>
                        <a:pt x="142061" y="784760"/>
                        <a:pt x="136029" y="787583"/>
                        <a:pt x="131767" y="788789"/>
                      </a:cubicBezTo>
                      <a:cubicBezTo>
                        <a:pt x="127468" y="783285"/>
                        <a:pt x="135432" y="782968"/>
                        <a:pt x="132645" y="778553"/>
                      </a:cubicBezTo>
                      <a:cubicBezTo>
                        <a:pt x="130033" y="774407"/>
                        <a:pt x="124353" y="780954"/>
                        <a:pt x="120933" y="778799"/>
                      </a:cubicBezTo>
                      <a:cubicBezTo>
                        <a:pt x="119341" y="783179"/>
                        <a:pt x="113965" y="789410"/>
                        <a:pt x="109562" y="790218"/>
                      </a:cubicBezTo>
                      <a:cubicBezTo>
                        <a:pt x="111424" y="788438"/>
                        <a:pt x="114023" y="785159"/>
                        <a:pt x="112501" y="783027"/>
                      </a:cubicBezTo>
                      <a:cubicBezTo>
                        <a:pt x="114656" y="782816"/>
                        <a:pt x="114070" y="781938"/>
                        <a:pt x="115745" y="781153"/>
                      </a:cubicBezTo>
                      <a:cubicBezTo>
                        <a:pt x="112454" y="780170"/>
                        <a:pt x="107231" y="774396"/>
                        <a:pt x="105650" y="770379"/>
                      </a:cubicBezTo>
                      <a:cubicBezTo>
                        <a:pt x="104455" y="767369"/>
                        <a:pt x="105626" y="755341"/>
                        <a:pt x="109268" y="762415"/>
                      </a:cubicBezTo>
                      <a:cubicBezTo>
                        <a:pt x="109152" y="761583"/>
                        <a:pt x="110381" y="762169"/>
                        <a:pt x="110569" y="762345"/>
                      </a:cubicBezTo>
                      <a:cubicBezTo>
                        <a:pt x="109608" y="763668"/>
                        <a:pt x="110088" y="764593"/>
                        <a:pt x="109632" y="765647"/>
                      </a:cubicBezTo>
                      <a:cubicBezTo>
                        <a:pt x="113087" y="763047"/>
                        <a:pt x="114703" y="766607"/>
                        <a:pt x="113016" y="770097"/>
                      </a:cubicBezTo>
                      <a:cubicBezTo>
                        <a:pt x="112548" y="769254"/>
                        <a:pt x="112489" y="768645"/>
                        <a:pt x="111986" y="768165"/>
                      </a:cubicBezTo>
                      <a:cubicBezTo>
                        <a:pt x="111670" y="777136"/>
                        <a:pt x="117713" y="771620"/>
                        <a:pt x="123264" y="774126"/>
                      </a:cubicBezTo>
                      <a:cubicBezTo>
                        <a:pt x="119950" y="771409"/>
                        <a:pt x="121343" y="767263"/>
                        <a:pt x="120266" y="765752"/>
                      </a:cubicBezTo>
                      <a:cubicBezTo>
                        <a:pt x="118252" y="762919"/>
                        <a:pt x="117338" y="763516"/>
                        <a:pt x="114937" y="762298"/>
                      </a:cubicBezTo>
                      <a:cubicBezTo>
                        <a:pt x="112478" y="761045"/>
                        <a:pt x="107313" y="761478"/>
                        <a:pt x="110498" y="757039"/>
                      </a:cubicBezTo>
                      <a:cubicBezTo>
                        <a:pt x="109948" y="756617"/>
                        <a:pt x="109245" y="757789"/>
                        <a:pt x="108941" y="758011"/>
                      </a:cubicBezTo>
                      <a:cubicBezTo>
                        <a:pt x="108894" y="757039"/>
                        <a:pt x="108671" y="756055"/>
                        <a:pt x="107969" y="755657"/>
                      </a:cubicBezTo>
                      <a:cubicBezTo>
                        <a:pt x="107008" y="758609"/>
                        <a:pt x="107371" y="757203"/>
                        <a:pt x="105697" y="759229"/>
                      </a:cubicBezTo>
                      <a:cubicBezTo>
                        <a:pt x="107980" y="754205"/>
                        <a:pt x="103612" y="756055"/>
                        <a:pt x="101996" y="752905"/>
                      </a:cubicBezTo>
                      <a:cubicBezTo>
                        <a:pt x="100368" y="749778"/>
                        <a:pt x="101258" y="748057"/>
                        <a:pt x="101832" y="742903"/>
                      </a:cubicBezTo>
                      <a:cubicBezTo>
                        <a:pt x="105427" y="743477"/>
                        <a:pt x="102429" y="744461"/>
                        <a:pt x="106048" y="741884"/>
                      </a:cubicBezTo>
                      <a:cubicBezTo>
                        <a:pt x="107207" y="745866"/>
                        <a:pt x="112876" y="743922"/>
                        <a:pt x="115359" y="748806"/>
                      </a:cubicBezTo>
                      <a:cubicBezTo>
                        <a:pt x="115980" y="743747"/>
                        <a:pt x="110311" y="733921"/>
                        <a:pt x="115897" y="739636"/>
                      </a:cubicBezTo>
                      <a:cubicBezTo>
                        <a:pt x="115019" y="737539"/>
                        <a:pt x="115359" y="735408"/>
                        <a:pt x="115441" y="732890"/>
                      </a:cubicBezTo>
                      <a:cubicBezTo>
                        <a:pt x="118392" y="732914"/>
                        <a:pt x="121308" y="733745"/>
                        <a:pt x="120043" y="737153"/>
                      </a:cubicBezTo>
                      <a:cubicBezTo>
                        <a:pt x="122854" y="740444"/>
                        <a:pt x="128476" y="736181"/>
                        <a:pt x="132200" y="733218"/>
                      </a:cubicBezTo>
                      <a:cubicBezTo>
                        <a:pt x="123767" y="733358"/>
                        <a:pt x="132645" y="729213"/>
                        <a:pt x="133945" y="726308"/>
                      </a:cubicBezTo>
                      <a:cubicBezTo>
                        <a:pt x="135409" y="728170"/>
                        <a:pt x="136522" y="731215"/>
                        <a:pt x="138500" y="731344"/>
                      </a:cubicBezTo>
                      <a:cubicBezTo>
                        <a:pt x="141323" y="731520"/>
                        <a:pt x="144638" y="729330"/>
                        <a:pt x="143899" y="726074"/>
                      </a:cubicBezTo>
                      <a:cubicBezTo>
                        <a:pt x="141241" y="728018"/>
                        <a:pt x="139262" y="727690"/>
                        <a:pt x="138454" y="724903"/>
                      </a:cubicBezTo>
                      <a:cubicBezTo>
                        <a:pt x="144497" y="731520"/>
                        <a:pt x="147905" y="716576"/>
                        <a:pt x="149018" y="715604"/>
                      </a:cubicBezTo>
                      <a:cubicBezTo>
                        <a:pt x="152402" y="712664"/>
                        <a:pt x="163704" y="708483"/>
                        <a:pt x="165953" y="711376"/>
                      </a:cubicBezTo>
                      <a:cubicBezTo>
                        <a:pt x="170016" y="713519"/>
                        <a:pt x="178097" y="706598"/>
                        <a:pt x="174888" y="712652"/>
                      </a:cubicBezTo>
                      <a:lnTo>
                        <a:pt x="174888" y="712652"/>
                      </a:lnTo>
                      <a:close/>
                      <a:moveTo>
                        <a:pt x="340173" y="685377"/>
                      </a:moveTo>
                      <a:cubicBezTo>
                        <a:pt x="341005" y="687672"/>
                        <a:pt x="341075" y="688691"/>
                        <a:pt x="343054" y="685822"/>
                      </a:cubicBezTo>
                      <a:cubicBezTo>
                        <a:pt x="347914" y="690108"/>
                        <a:pt x="355281" y="698048"/>
                        <a:pt x="363409" y="691946"/>
                      </a:cubicBezTo>
                      <a:cubicBezTo>
                        <a:pt x="363713" y="692579"/>
                        <a:pt x="363139" y="693563"/>
                        <a:pt x="362718" y="694125"/>
                      </a:cubicBezTo>
                      <a:cubicBezTo>
                        <a:pt x="363643" y="693703"/>
                        <a:pt x="364440" y="692907"/>
                        <a:pt x="365482" y="692626"/>
                      </a:cubicBezTo>
                      <a:cubicBezTo>
                        <a:pt x="364650" y="694207"/>
                        <a:pt x="364229" y="694980"/>
                        <a:pt x="363432" y="695858"/>
                      </a:cubicBezTo>
                      <a:cubicBezTo>
                        <a:pt x="363479" y="695881"/>
                        <a:pt x="365341" y="696385"/>
                        <a:pt x="365212" y="696151"/>
                      </a:cubicBezTo>
                      <a:cubicBezTo>
                        <a:pt x="363538" y="699266"/>
                        <a:pt x="360891" y="706703"/>
                        <a:pt x="364966" y="706059"/>
                      </a:cubicBezTo>
                      <a:cubicBezTo>
                        <a:pt x="368035" y="709420"/>
                        <a:pt x="369768" y="712079"/>
                        <a:pt x="365447" y="715288"/>
                      </a:cubicBezTo>
                      <a:cubicBezTo>
                        <a:pt x="366676" y="715803"/>
                        <a:pt x="367742" y="715674"/>
                        <a:pt x="369124" y="715592"/>
                      </a:cubicBezTo>
                      <a:cubicBezTo>
                        <a:pt x="369253" y="716236"/>
                        <a:pt x="367836" y="716072"/>
                        <a:pt x="367707" y="716763"/>
                      </a:cubicBezTo>
                      <a:cubicBezTo>
                        <a:pt x="368913" y="716541"/>
                        <a:pt x="369885" y="716342"/>
                        <a:pt x="370916" y="716365"/>
                      </a:cubicBezTo>
                      <a:cubicBezTo>
                        <a:pt x="363198" y="719551"/>
                        <a:pt x="356183" y="724856"/>
                        <a:pt x="351018" y="729740"/>
                      </a:cubicBezTo>
                      <a:cubicBezTo>
                        <a:pt x="345397" y="735057"/>
                        <a:pt x="343991" y="743313"/>
                        <a:pt x="340946" y="751371"/>
                      </a:cubicBezTo>
                      <a:cubicBezTo>
                        <a:pt x="335559" y="744566"/>
                        <a:pt x="329480" y="735244"/>
                        <a:pt x="319057" y="734553"/>
                      </a:cubicBezTo>
                      <a:cubicBezTo>
                        <a:pt x="310379" y="733979"/>
                        <a:pt x="302497" y="739601"/>
                        <a:pt x="296419" y="744648"/>
                      </a:cubicBezTo>
                      <a:cubicBezTo>
                        <a:pt x="293432" y="741849"/>
                        <a:pt x="292273" y="753221"/>
                        <a:pt x="291313" y="755856"/>
                      </a:cubicBezTo>
                      <a:cubicBezTo>
                        <a:pt x="288139" y="755669"/>
                        <a:pt x="285515" y="760740"/>
                        <a:pt x="284239" y="763996"/>
                      </a:cubicBezTo>
                      <a:cubicBezTo>
                        <a:pt x="277493" y="760717"/>
                        <a:pt x="279109" y="775860"/>
                        <a:pt x="278758" y="777511"/>
                      </a:cubicBezTo>
                      <a:cubicBezTo>
                        <a:pt x="277962" y="781446"/>
                        <a:pt x="284169" y="779467"/>
                        <a:pt x="278325" y="781153"/>
                      </a:cubicBezTo>
                      <a:cubicBezTo>
                        <a:pt x="276837" y="781587"/>
                        <a:pt x="276954" y="776726"/>
                        <a:pt x="273347" y="779526"/>
                      </a:cubicBezTo>
                      <a:cubicBezTo>
                        <a:pt x="270173" y="780146"/>
                        <a:pt x="263369" y="776070"/>
                        <a:pt x="260137" y="779549"/>
                      </a:cubicBezTo>
                      <a:cubicBezTo>
                        <a:pt x="259516" y="775860"/>
                        <a:pt x="262326" y="773318"/>
                        <a:pt x="264376" y="770402"/>
                      </a:cubicBezTo>
                      <a:cubicBezTo>
                        <a:pt x="261448" y="771046"/>
                        <a:pt x="258884" y="770519"/>
                        <a:pt x="256541" y="768809"/>
                      </a:cubicBezTo>
                      <a:cubicBezTo>
                        <a:pt x="255698" y="769477"/>
                        <a:pt x="254703" y="768833"/>
                        <a:pt x="255428" y="771187"/>
                      </a:cubicBezTo>
                      <a:cubicBezTo>
                        <a:pt x="252173" y="770894"/>
                        <a:pt x="252981" y="757660"/>
                        <a:pt x="247324" y="763973"/>
                      </a:cubicBezTo>
                      <a:cubicBezTo>
                        <a:pt x="249327" y="761724"/>
                        <a:pt x="249116" y="760998"/>
                        <a:pt x="252594" y="761173"/>
                      </a:cubicBezTo>
                      <a:cubicBezTo>
                        <a:pt x="252489" y="760951"/>
                        <a:pt x="251376" y="759194"/>
                        <a:pt x="250803" y="758433"/>
                      </a:cubicBezTo>
                      <a:cubicBezTo>
                        <a:pt x="252337" y="757941"/>
                        <a:pt x="251692" y="758363"/>
                        <a:pt x="252946" y="757391"/>
                      </a:cubicBezTo>
                      <a:cubicBezTo>
                        <a:pt x="250006" y="755575"/>
                        <a:pt x="251857" y="756020"/>
                        <a:pt x="251306" y="755001"/>
                      </a:cubicBezTo>
                      <a:cubicBezTo>
                        <a:pt x="249889" y="754392"/>
                        <a:pt x="248776" y="753350"/>
                        <a:pt x="247968" y="753245"/>
                      </a:cubicBezTo>
                      <a:cubicBezTo>
                        <a:pt x="250732" y="754100"/>
                        <a:pt x="250358" y="753046"/>
                        <a:pt x="252723" y="755259"/>
                      </a:cubicBezTo>
                      <a:cubicBezTo>
                        <a:pt x="253672" y="754287"/>
                        <a:pt x="255136" y="753046"/>
                        <a:pt x="255979" y="751898"/>
                      </a:cubicBezTo>
                      <a:cubicBezTo>
                        <a:pt x="254480" y="750504"/>
                        <a:pt x="255593" y="750832"/>
                        <a:pt x="255628" y="749813"/>
                      </a:cubicBezTo>
                      <a:cubicBezTo>
                        <a:pt x="252313" y="749087"/>
                        <a:pt x="252407" y="749146"/>
                        <a:pt x="254796" y="746780"/>
                      </a:cubicBezTo>
                      <a:cubicBezTo>
                        <a:pt x="252161" y="747366"/>
                        <a:pt x="249561" y="747283"/>
                        <a:pt x="247137" y="746499"/>
                      </a:cubicBezTo>
                      <a:cubicBezTo>
                        <a:pt x="249081" y="745304"/>
                        <a:pt x="248144" y="744801"/>
                        <a:pt x="249350" y="743220"/>
                      </a:cubicBezTo>
                      <a:cubicBezTo>
                        <a:pt x="247383" y="742575"/>
                        <a:pt x="247746" y="740924"/>
                        <a:pt x="249350" y="739191"/>
                      </a:cubicBezTo>
                      <a:cubicBezTo>
                        <a:pt x="244221" y="735912"/>
                        <a:pt x="233786" y="744051"/>
                        <a:pt x="233142" y="742575"/>
                      </a:cubicBezTo>
                      <a:cubicBezTo>
                        <a:pt x="231479" y="743583"/>
                        <a:pt x="229323" y="744075"/>
                        <a:pt x="227942" y="744777"/>
                      </a:cubicBezTo>
                      <a:cubicBezTo>
                        <a:pt x="230120" y="742447"/>
                        <a:pt x="233036" y="740678"/>
                        <a:pt x="236081" y="740620"/>
                      </a:cubicBezTo>
                      <a:cubicBezTo>
                        <a:pt x="238529" y="735186"/>
                        <a:pt x="256670" y="730981"/>
                        <a:pt x="261858" y="724106"/>
                      </a:cubicBezTo>
                      <a:cubicBezTo>
                        <a:pt x="264598" y="720488"/>
                        <a:pt x="264962" y="714023"/>
                        <a:pt x="266871" y="710861"/>
                      </a:cubicBezTo>
                      <a:cubicBezTo>
                        <a:pt x="268979" y="707371"/>
                        <a:pt x="276123" y="701035"/>
                        <a:pt x="274085" y="700039"/>
                      </a:cubicBezTo>
                      <a:cubicBezTo>
                        <a:pt x="274155" y="699981"/>
                        <a:pt x="276146" y="698563"/>
                        <a:pt x="276544" y="698388"/>
                      </a:cubicBezTo>
                      <a:cubicBezTo>
                        <a:pt x="279472" y="701527"/>
                        <a:pt x="281674" y="708741"/>
                        <a:pt x="285434" y="710264"/>
                      </a:cubicBezTo>
                      <a:cubicBezTo>
                        <a:pt x="289263" y="711821"/>
                        <a:pt x="293960" y="707722"/>
                        <a:pt x="297836" y="707488"/>
                      </a:cubicBezTo>
                      <a:cubicBezTo>
                        <a:pt x="303903" y="707113"/>
                        <a:pt x="306585" y="710416"/>
                        <a:pt x="311070" y="704747"/>
                      </a:cubicBezTo>
                      <a:cubicBezTo>
                        <a:pt x="314736" y="700098"/>
                        <a:pt x="313682" y="694746"/>
                        <a:pt x="308693" y="691443"/>
                      </a:cubicBezTo>
                      <a:cubicBezTo>
                        <a:pt x="316258" y="695530"/>
                        <a:pt x="318249" y="689850"/>
                        <a:pt x="325370" y="687110"/>
                      </a:cubicBezTo>
                      <a:cubicBezTo>
                        <a:pt x="329422" y="685552"/>
                        <a:pt x="334786" y="686524"/>
                        <a:pt x="337819" y="685517"/>
                      </a:cubicBezTo>
                      <a:cubicBezTo>
                        <a:pt x="338674" y="682823"/>
                        <a:pt x="338990" y="683784"/>
                        <a:pt x="340173" y="685377"/>
                      </a:cubicBezTo>
                      <a:lnTo>
                        <a:pt x="340173" y="685377"/>
                      </a:lnTo>
                      <a:close/>
                      <a:moveTo>
                        <a:pt x="563207" y="464661"/>
                      </a:moveTo>
                      <a:cubicBezTo>
                        <a:pt x="565280" y="464509"/>
                        <a:pt x="569391" y="462518"/>
                        <a:pt x="570398" y="466394"/>
                      </a:cubicBezTo>
                      <a:cubicBezTo>
                        <a:pt x="570961" y="468572"/>
                        <a:pt x="565315" y="474979"/>
                        <a:pt x="563781" y="476314"/>
                      </a:cubicBezTo>
                      <a:cubicBezTo>
                        <a:pt x="561544" y="478270"/>
                        <a:pt x="553546" y="483224"/>
                        <a:pt x="551461" y="479441"/>
                      </a:cubicBezTo>
                      <a:cubicBezTo>
                        <a:pt x="552117" y="480635"/>
                        <a:pt x="557855" y="472777"/>
                        <a:pt x="557656" y="471430"/>
                      </a:cubicBezTo>
                      <a:cubicBezTo>
                        <a:pt x="556965" y="466793"/>
                        <a:pt x="552491" y="471653"/>
                        <a:pt x="552761" y="465083"/>
                      </a:cubicBezTo>
                      <a:cubicBezTo>
                        <a:pt x="552901" y="461944"/>
                        <a:pt x="556778" y="458993"/>
                        <a:pt x="558546" y="456861"/>
                      </a:cubicBezTo>
                      <a:cubicBezTo>
                        <a:pt x="570468" y="442467"/>
                        <a:pt x="565433" y="453687"/>
                        <a:pt x="563207" y="464661"/>
                      </a:cubicBezTo>
                      <a:lnTo>
                        <a:pt x="563207" y="464661"/>
                      </a:lnTo>
                      <a:close/>
                      <a:moveTo>
                        <a:pt x="711288" y="262801"/>
                      </a:moveTo>
                      <a:cubicBezTo>
                        <a:pt x="715153" y="263082"/>
                        <a:pt x="718514" y="260916"/>
                        <a:pt x="720915" y="257999"/>
                      </a:cubicBezTo>
                      <a:cubicBezTo>
                        <a:pt x="720997" y="263633"/>
                        <a:pt x="717858" y="271866"/>
                        <a:pt x="717530" y="278705"/>
                      </a:cubicBezTo>
                      <a:cubicBezTo>
                        <a:pt x="717156" y="286435"/>
                        <a:pt x="717249" y="294071"/>
                        <a:pt x="718947" y="301742"/>
                      </a:cubicBezTo>
                      <a:cubicBezTo>
                        <a:pt x="720634" y="309354"/>
                        <a:pt x="722801" y="309940"/>
                        <a:pt x="726501" y="313184"/>
                      </a:cubicBezTo>
                      <a:cubicBezTo>
                        <a:pt x="733083" y="318958"/>
                        <a:pt x="737428" y="325446"/>
                        <a:pt x="740415" y="333339"/>
                      </a:cubicBezTo>
                      <a:cubicBezTo>
                        <a:pt x="740532" y="333644"/>
                        <a:pt x="740860" y="339558"/>
                        <a:pt x="740953" y="339757"/>
                      </a:cubicBezTo>
                      <a:cubicBezTo>
                        <a:pt x="742312" y="342615"/>
                        <a:pt x="745205" y="345168"/>
                        <a:pt x="746715" y="348061"/>
                      </a:cubicBezTo>
                      <a:cubicBezTo>
                        <a:pt x="749971" y="354327"/>
                        <a:pt x="748144" y="364071"/>
                        <a:pt x="747301" y="371180"/>
                      </a:cubicBezTo>
                      <a:cubicBezTo>
                        <a:pt x="748484" y="369903"/>
                        <a:pt x="749831" y="369540"/>
                        <a:pt x="750943" y="368697"/>
                      </a:cubicBezTo>
                      <a:cubicBezTo>
                        <a:pt x="751178" y="374178"/>
                        <a:pt x="754375" y="376040"/>
                        <a:pt x="746598" y="379623"/>
                      </a:cubicBezTo>
                      <a:cubicBezTo>
                        <a:pt x="749292" y="379717"/>
                        <a:pt x="748425" y="380467"/>
                        <a:pt x="750955" y="378206"/>
                      </a:cubicBezTo>
                      <a:cubicBezTo>
                        <a:pt x="751529" y="378370"/>
                        <a:pt x="751915" y="378722"/>
                        <a:pt x="752114" y="379272"/>
                      </a:cubicBezTo>
                      <a:cubicBezTo>
                        <a:pt x="751072" y="381661"/>
                        <a:pt x="748870" y="383348"/>
                        <a:pt x="745872" y="384250"/>
                      </a:cubicBezTo>
                      <a:cubicBezTo>
                        <a:pt x="746317" y="384437"/>
                        <a:pt x="746750" y="384636"/>
                        <a:pt x="747195" y="384823"/>
                      </a:cubicBezTo>
                      <a:cubicBezTo>
                        <a:pt x="746212" y="385784"/>
                        <a:pt x="745134" y="386615"/>
                        <a:pt x="744115" y="387588"/>
                      </a:cubicBezTo>
                      <a:cubicBezTo>
                        <a:pt x="745954" y="387201"/>
                        <a:pt x="746177" y="387377"/>
                        <a:pt x="748051" y="386334"/>
                      </a:cubicBezTo>
                      <a:cubicBezTo>
                        <a:pt x="747008" y="388723"/>
                        <a:pt x="747664" y="388091"/>
                        <a:pt x="744619" y="389754"/>
                      </a:cubicBezTo>
                      <a:cubicBezTo>
                        <a:pt x="744607" y="389777"/>
                        <a:pt x="745814" y="390585"/>
                        <a:pt x="745544" y="390960"/>
                      </a:cubicBezTo>
                      <a:cubicBezTo>
                        <a:pt x="745064" y="391136"/>
                        <a:pt x="744291" y="390843"/>
                        <a:pt x="743799" y="390960"/>
                      </a:cubicBezTo>
                      <a:cubicBezTo>
                        <a:pt x="743717" y="391499"/>
                        <a:pt x="743717" y="392049"/>
                        <a:pt x="743799" y="392588"/>
                      </a:cubicBezTo>
                      <a:cubicBezTo>
                        <a:pt x="744607" y="392776"/>
                        <a:pt x="745544" y="392366"/>
                        <a:pt x="746305" y="392518"/>
                      </a:cubicBezTo>
                      <a:cubicBezTo>
                        <a:pt x="744677" y="394380"/>
                        <a:pt x="745731" y="394439"/>
                        <a:pt x="742722" y="395094"/>
                      </a:cubicBezTo>
                      <a:cubicBezTo>
                        <a:pt x="743893" y="395809"/>
                        <a:pt x="743155" y="396254"/>
                        <a:pt x="745216" y="396359"/>
                      </a:cubicBezTo>
                      <a:cubicBezTo>
                        <a:pt x="743694" y="396945"/>
                        <a:pt x="743132" y="398221"/>
                        <a:pt x="740906" y="398479"/>
                      </a:cubicBezTo>
                      <a:cubicBezTo>
                        <a:pt x="742148" y="399357"/>
                        <a:pt x="743471" y="401149"/>
                        <a:pt x="744549" y="401817"/>
                      </a:cubicBezTo>
                      <a:cubicBezTo>
                        <a:pt x="743073" y="401653"/>
                        <a:pt x="740637" y="402321"/>
                        <a:pt x="739536" y="402238"/>
                      </a:cubicBezTo>
                      <a:cubicBezTo>
                        <a:pt x="740438" y="402847"/>
                        <a:pt x="741480" y="403351"/>
                        <a:pt x="742370" y="403949"/>
                      </a:cubicBezTo>
                      <a:cubicBezTo>
                        <a:pt x="741644" y="404593"/>
                        <a:pt x="740543" y="403995"/>
                        <a:pt x="739829" y="404323"/>
                      </a:cubicBezTo>
                      <a:cubicBezTo>
                        <a:pt x="739993" y="404499"/>
                        <a:pt x="741539" y="405834"/>
                        <a:pt x="741527" y="406197"/>
                      </a:cubicBezTo>
                      <a:cubicBezTo>
                        <a:pt x="739314" y="405963"/>
                        <a:pt x="737053" y="406256"/>
                        <a:pt x="734863" y="405576"/>
                      </a:cubicBezTo>
                      <a:cubicBezTo>
                        <a:pt x="735179" y="406677"/>
                        <a:pt x="735308" y="407485"/>
                        <a:pt x="735929" y="408528"/>
                      </a:cubicBezTo>
                      <a:cubicBezTo>
                        <a:pt x="735777" y="409008"/>
                        <a:pt x="734383" y="407708"/>
                        <a:pt x="734114" y="409359"/>
                      </a:cubicBezTo>
                      <a:cubicBezTo>
                        <a:pt x="734137" y="409066"/>
                        <a:pt x="735016" y="410284"/>
                        <a:pt x="735004" y="410765"/>
                      </a:cubicBezTo>
                      <a:cubicBezTo>
                        <a:pt x="732708" y="408598"/>
                        <a:pt x="733423" y="410893"/>
                        <a:pt x="733095" y="408071"/>
                      </a:cubicBezTo>
                      <a:cubicBezTo>
                        <a:pt x="728328" y="408375"/>
                        <a:pt x="730612" y="413165"/>
                        <a:pt x="732041" y="416808"/>
                      </a:cubicBezTo>
                      <a:cubicBezTo>
                        <a:pt x="728364" y="411502"/>
                        <a:pt x="725564" y="419431"/>
                        <a:pt x="724651" y="422207"/>
                      </a:cubicBezTo>
                      <a:cubicBezTo>
                        <a:pt x="724300" y="423308"/>
                        <a:pt x="727321" y="424045"/>
                        <a:pt x="726607" y="425380"/>
                      </a:cubicBezTo>
                      <a:cubicBezTo>
                        <a:pt x="726127" y="426306"/>
                        <a:pt x="725049" y="425416"/>
                        <a:pt x="724955" y="425802"/>
                      </a:cubicBezTo>
                      <a:cubicBezTo>
                        <a:pt x="724335" y="428308"/>
                        <a:pt x="717156" y="428894"/>
                        <a:pt x="724674" y="429796"/>
                      </a:cubicBezTo>
                      <a:cubicBezTo>
                        <a:pt x="723410" y="431248"/>
                        <a:pt x="723573" y="432595"/>
                        <a:pt x="721266" y="433977"/>
                      </a:cubicBezTo>
                      <a:cubicBezTo>
                        <a:pt x="723491" y="434633"/>
                        <a:pt x="722320" y="435394"/>
                        <a:pt x="724510" y="435218"/>
                      </a:cubicBezTo>
                      <a:cubicBezTo>
                        <a:pt x="725166" y="436858"/>
                        <a:pt x="725494" y="437443"/>
                        <a:pt x="725213" y="439340"/>
                      </a:cubicBezTo>
                      <a:cubicBezTo>
                        <a:pt x="724815" y="439165"/>
                        <a:pt x="723726" y="437713"/>
                        <a:pt x="723761" y="437713"/>
                      </a:cubicBezTo>
                      <a:cubicBezTo>
                        <a:pt x="723187" y="439833"/>
                        <a:pt x="723246" y="439914"/>
                        <a:pt x="723421" y="441437"/>
                      </a:cubicBezTo>
                      <a:cubicBezTo>
                        <a:pt x="720259" y="443592"/>
                        <a:pt x="722332" y="444763"/>
                        <a:pt x="725564" y="445161"/>
                      </a:cubicBezTo>
                      <a:cubicBezTo>
                        <a:pt x="723679" y="445290"/>
                        <a:pt x="724580" y="445220"/>
                        <a:pt x="723070" y="445981"/>
                      </a:cubicBezTo>
                      <a:cubicBezTo>
                        <a:pt x="724850" y="448206"/>
                        <a:pt x="725061" y="449424"/>
                        <a:pt x="724311" y="452270"/>
                      </a:cubicBezTo>
                      <a:cubicBezTo>
                        <a:pt x="721126" y="449858"/>
                        <a:pt x="720271" y="446789"/>
                        <a:pt x="718315" y="445595"/>
                      </a:cubicBezTo>
                      <a:cubicBezTo>
                        <a:pt x="714228" y="443088"/>
                        <a:pt x="706346" y="442690"/>
                        <a:pt x="706030" y="448839"/>
                      </a:cubicBezTo>
                      <a:cubicBezTo>
                        <a:pt x="705409" y="447878"/>
                        <a:pt x="704519" y="448370"/>
                        <a:pt x="703781" y="445969"/>
                      </a:cubicBezTo>
                      <a:cubicBezTo>
                        <a:pt x="701275" y="446508"/>
                        <a:pt x="700420" y="446777"/>
                        <a:pt x="699436" y="449740"/>
                      </a:cubicBezTo>
                      <a:cubicBezTo>
                        <a:pt x="702938" y="450314"/>
                        <a:pt x="696684" y="454964"/>
                        <a:pt x="695185" y="458173"/>
                      </a:cubicBezTo>
                      <a:cubicBezTo>
                        <a:pt x="691987" y="465012"/>
                        <a:pt x="692491" y="470915"/>
                        <a:pt x="694787" y="477544"/>
                      </a:cubicBezTo>
                      <a:cubicBezTo>
                        <a:pt x="698546" y="488342"/>
                        <a:pt x="699389" y="497887"/>
                        <a:pt x="698241" y="510207"/>
                      </a:cubicBezTo>
                      <a:cubicBezTo>
                        <a:pt x="697761" y="515384"/>
                        <a:pt x="698159" y="524659"/>
                        <a:pt x="695407" y="529156"/>
                      </a:cubicBezTo>
                      <a:cubicBezTo>
                        <a:pt x="693112" y="532904"/>
                        <a:pt x="689692" y="532459"/>
                        <a:pt x="686905" y="535399"/>
                      </a:cubicBezTo>
                      <a:cubicBezTo>
                        <a:pt x="680311" y="542379"/>
                        <a:pt x="676493" y="561258"/>
                        <a:pt x="675439" y="569819"/>
                      </a:cubicBezTo>
                      <a:cubicBezTo>
                        <a:pt x="674397" y="578298"/>
                        <a:pt x="676809" y="584575"/>
                        <a:pt x="681377" y="592481"/>
                      </a:cubicBezTo>
                      <a:cubicBezTo>
                        <a:pt x="683766" y="596627"/>
                        <a:pt x="690758" y="603267"/>
                        <a:pt x="689634" y="607050"/>
                      </a:cubicBezTo>
                      <a:cubicBezTo>
                        <a:pt x="681845" y="600667"/>
                        <a:pt x="666550" y="614885"/>
                        <a:pt x="665191" y="624231"/>
                      </a:cubicBezTo>
                      <a:cubicBezTo>
                        <a:pt x="663938" y="632874"/>
                        <a:pt x="667182" y="637991"/>
                        <a:pt x="658973" y="639948"/>
                      </a:cubicBezTo>
                      <a:cubicBezTo>
                        <a:pt x="651313" y="641774"/>
                        <a:pt x="649451" y="643824"/>
                        <a:pt x="642881" y="649211"/>
                      </a:cubicBezTo>
                      <a:cubicBezTo>
                        <a:pt x="640398" y="651249"/>
                        <a:pt x="642471" y="653662"/>
                        <a:pt x="637236" y="653556"/>
                      </a:cubicBezTo>
                      <a:cubicBezTo>
                        <a:pt x="635936" y="653533"/>
                        <a:pt x="632938" y="650125"/>
                        <a:pt x="631849" y="649223"/>
                      </a:cubicBezTo>
                      <a:cubicBezTo>
                        <a:pt x="639426" y="649961"/>
                        <a:pt x="636463" y="646670"/>
                        <a:pt x="636194" y="641927"/>
                      </a:cubicBezTo>
                      <a:cubicBezTo>
                        <a:pt x="635936" y="637125"/>
                        <a:pt x="639918" y="630449"/>
                        <a:pt x="633336" y="628974"/>
                      </a:cubicBezTo>
                      <a:cubicBezTo>
                        <a:pt x="637517" y="625343"/>
                        <a:pt x="640714" y="624312"/>
                        <a:pt x="645247" y="619511"/>
                      </a:cubicBezTo>
                      <a:cubicBezTo>
                        <a:pt x="648198" y="616384"/>
                        <a:pt x="650142" y="615751"/>
                        <a:pt x="648994" y="612578"/>
                      </a:cubicBezTo>
                      <a:cubicBezTo>
                        <a:pt x="647811" y="609287"/>
                        <a:pt x="643572" y="607565"/>
                        <a:pt x="640597" y="608572"/>
                      </a:cubicBezTo>
                      <a:cubicBezTo>
                        <a:pt x="641019" y="611313"/>
                        <a:pt x="638302" y="611114"/>
                        <a:pt x="636252" y="611395"/>
                      </a:cubicBezTo>
                      <a:cubicBezTo>
                        <a:pt x="636194" y="611406"/>
                        <a:pt x="634835" y="610048"/>
                        <a:pt x="634671" y="609989"/>
                      </a:cubicBezTo>
                      <a:cubicBezTo>
                        <a:pt x="634894" y="609907"/>
                        <a:pt x="633559" y="612414"/>
                        <a:pt x="633746" y="612062"/>
                      </a:cubicBezTo>
                      <a:cubicBezTo>
                        <a:pt x="633172" y="611020"/>
                        <a:pt x="632938" y="610200"/>
                        <a:pt x="632504" y="609088"/>
                      </a:cubicBezTo>
                      <a:cubicBezTo>
                        <a:pt x="633851" y="615904"/>
                        <a:pt x="634250" y="619886"/>
                        <a:pt x="626098" y="620905"/>
                      </a:cubicBezTo>
                      <a:cubicBezTo>
                        <a:pt x="628640" y="622521"/>
                        <a:pt x="627082" y="622181"/>
                        <a:pt x="628417" y="624078"/>
                      </a:cubicBezTo>
                      <a:cubicBezTo>
                        <a:pt x="627152" y="623832"/>
                        <a:pt x="626813" y="623914"/>
                        <a:pt x="625747" y="624020"/>
                      </a:cubicBezTo>
                      <a:cubicBezTo>
                        <a:pt x="626180" y="626210"/>
                        <a:pt x="626555" y="628505"/>
                        <a:pt x="626883" y="630836"/>
                      </a:cubicBezTo>
                      <a:cubicBezTo>
                        <a:pt x="635631" y="630964"/>
                        <a:pt x="626450" y="636048"/>
                        <a:pt x="628312" y="639491"/>
                      </a:cubicBezTo>
                      <a:cubicBezTo>
                        <a:pt x="624283" y="640908"/>
                        <a:pt x="623709" y="637804"/>
                        <a:pt x="625138" y="635286"/>
                      </a:cubicBezTo>
                      <a:cubicBezTo>
                        <a:pt x="622269" y="630941"/>
                        <a:pt x="620617" y="629524"/>
                        <a:pt x="615582" y="629102"/>
                      </a:cubicBezTo>
                      <a:cubicBezTo>
                        <a:pt x="609620" y="628599"/>
                        <a:pt x="596585" y="631281"/>
                        <a:pt x="600825" y="639725"/>
                      </a:cubicBezTo>
                      <a:cubicBezTo>
                        <a:pt x="592451" y="637628"/>
                        <a:pt x="600392" y="651542"/>
                        <a:pt x="600122" y="654411"/>
                      </a:cubicBezTo>
                      <a:cubicBezTo>
                        <a:pt x="599689" y="659225"/>
                        <a:pt x="590507" y="661637"/>
                        <a:pt x="592252" y="668453"/>
                      </a:cubicBezTo>
                      <a:cubicBezTo>
                        <a:pt x="586595" y="667071"/>
                        <a:pt x="583070" y="674719"/>
                        <a:pt x="579650" y="666556"/>
                      </a:cubicBezTo>
                      <a:cubicBezTo>
                        <a:pt x="578526" y="663886"/>
                        <a:pt x="579510" y="655348"/>
                        <a:pt x="581618" y="653299"/>
                      </a:cubicBezTo>
                      <a:cubicBezTo>
                        <a:pt x="577495" y="647372"/>
                        <a:pt x="583223" y="646049"/>
                        <a:pt x="587755" y="645979"/>
                      </a:cubicBezTo>
                      <a:cubicBezTo>
                        <a:pt x="582871" y="638905"/>
                        <a:pt x="564742" y="637441"/>
                        <a:pt x="566850" y="648309"/>
                      </a:cubicBezTo>
                      <a:cubicBezTo>
                        <a:pt x="567435" y="647853"/>
                        <a:pt x="567131" y="647302"/>
                        <a:pt x="568138" y="646787"/>
                      </a:cubicBezTo>
                      <a:cubicBezTo>
                        <a:pt x="566346" y="650570"/>
                        <a:pt x="562833" y="649492"/>
                        <a:pt x="560432" y="652221"/>
                      </a:cubicBezTo>
                      <a:cubicBezTo>
                        <a:pt x="558640" y="654271"/>
                        <a:pt x="558862" y="657058"/>
                        <a:pt x="558007" y="658299"/>
                      </a:cubicBezTo>
                      <a:cubicBezTo>
                        <a:pt x="555665" y="661696"/>
                        <a:pt x="546542" y="668043"/>
                        <a:pt x="552937" y="671229"/>
                      </a:cubicBezTo>
                      <a:cubicBezTo>
                        <a:pt x="548135" y="671897"/>
                        <a:pt x="542267" y="667633"/>
                        <a:pt x="536775" y="667423"/>
                      </a:cubicBezTo>
                      <a:cubicBezTo>
                        <a:pt x="530790" y="667188"/>
                        <a:pt x="525555" y="667223"/>
                        <a:pt x="519289" y="666825"/>
                      </a:cubicBezTo>
                      <a:cubicBezTo>
                        <a:pt x="508772" y="666158"/>
                        <a:pt x="499263" y="671686"/>
                        <a:pt x="489097" y="672622"/>
                      </a:cubicBezTo>
                      <a:cubicBezTo>
                        <a:pt x="489554" y="670971"/>
                        <a:pt x="490982" y="668781"/>
                        <a:pt x="492048" y="667563"/>
                      </a:cubicBezTo>
                      <a:cubicBezTo>
                        <a:pt x="492599" y="668383"/>
                        <a:pt x="493430" y="669074"/>
                        <a:pt x="494028" y="669870"/>
                      </a:cubicBezTo>
                      <a:cubicBezTo>
                        <a:pt x="496979" y="667727"/>
                        <a:pt x="501078" y="665408"/>
                        <a:pt x="503807" y="663804"/>
                      </a:cubicBezTo>
                      <a:cubicBezTo>
                        <a:pt x="504029" y="664179"/>
                        <a:pt x="504076" y="666123"/>
                        <a:pt x="504076" y="666099"/>
                      </a:cubicBezTo>
                      <a:cubicBezTo>
                        <a:pt x="504439" y="665607"/>
                        <a:pt x="504486" y="664577"/>
                        <a:pt x="504369" y="663956"/>
                      </a:cubicBezTo>
                      <a:cubicBezTo>
                        <a:pt x="505294" y="663862"/>
                        <a:pt x="505189" y="664577"/>
                        <a:pt x="506020" y="663909"/>
                      </a:cubicBezTo>
                      <a:cubicBezTo>
                        <a:pt x="505095" y="660232"/>
                        <a:pt x="499298" y="656098"/>
                        <a:pt x="497155" y="661707"/>
                      </a:cubicBezTo>
                      <a:cubicBezTo>
                        <a:pt x="494836" y="658721"/>
                        <a:pt x="482386" y="662563"/>
                        <a:pt x="487141" y="652245"/>
                      </a:cubicBezTo>
                      <a:cubicBezTo>
                        <a:pt x="483780" y="657070"/>
                        <a:pt x="483499" y="661485"/>
                        <a:pt x="486766" y="665678"/>
                      </a:cubicBezTo>
                      <a:cubicBezTo>
                        <a:pt x="473122" y="664261"/>
                        <a:pt x="483487" y="648368"/>
                        <a:pt x="481566" y="642243"/>
                      </a:cubicBezTo>
                      <a:cubicBezTo>
                        <a:pt x="480852" y="643063"/>
                        <a:pt x="480864" y="644491"/>
                        <a:pt x="480360" y="645428"/>
                      </a:cubicBezTo>
                      <a:cubicBezTo>
                        <a:pt x="480020" y="644199"/>
                        <a:pt x="480079" y="643906"/>
                        <a:pt x="479388" y="643110"/>
                      </a:cubicBezTo>
                      <a:cubicBezTo>
                        <a:pt x="479552" y="644023"/>
                        <a:pt x="479704" y="644937"/>
                        <a:pt x="479868" y="645850"/>
                      </a:cubicBezTo>
                      <a:cubicBezTo>
                        <a:pt x="479411" y="645955"/>
                        <a:pt x="478955" y="646049"/>
                        <a:pt x="478498" y="646155"/>
                      </a:cubicBezTo>
                      <a:cubicBezTo>
                        <a:pt x="478428" y="645733"/>
                        <a:pt x="478346" y="645311"/>
                        <a:pt x="478276" y="644890"/>
                      </a:cubicBezTo>
                      <a:cubicBezTo>
                        <a:pt x="476765" y="646236"/>
                        <a:pt x="468098" y="647513"/>
                        <a:pt x="470605" y="651284"/>
                      </a:cubicBezTo>
                      <a:cubicBezTo>
                        <a:pt x="469129" y="655899"/>
                        <a:pt x="463414" y="660044"/>
                        <a:pt x="463308" y="665385"/>
                      </a:cubicBezTo>
                      <a:cubicBezTo>
                        <a:pt x="463214" y="670479"/>
                        <a:pt x="465896" y="669613"/>
                        <a:pt x="468836" y="671826"/>
                      </a:cubicBezTo>
                      <a:cubicBezTo>
                        <a:pt x="472736" y="674754"/>
                        <a:pt x="489448" y="681488"/>
                        <a:pt x="481754" y="684955"/>
                      </a:cubicBezTo>
                      <a:cubicBezTo>
                        <a:pt x="482538" y="685692"/>
                        <a:pt x="482679" y="685423"/>
                        <a:pt x="483557" y="685798"/>
                      </a:cubicBezTo>
                      <a:cubicBezTo>
                        <a:pt x="483288" y="689159"/>
                        <a:pt x="480934" y="695038"/>
                        <a:pt x="476437" y="690611"/>
                      </a:cubicBezTo>
                      <a:cubicBezTo>
                        <a:pt x="477151" y="690822"/>
                        <a:pt x="479177" y="691256"/>
                        <a:pt x="480009" y="691408"/>
                      </a:cubicBezTo>
                      <a:cubicBezTo>
                        <a:pt x="480020" y="691361"/>
                        <a:pt x="479751" y="690178"/>
                        <a:pt x="479693" y="690178"/>
                      </a:cubicBezTo>
                      <a:cubicBezTo>
                        <a:pt x="480993" y="688152"/>
                        <a:pt x="479552" y="689171"/>
                        <a:pt x="478217" y="689768"/>
                      </a:cubicBezTo>
                      <a:cubicBezTo>
                        <a:pt x="477058" y="689827"/>
                        <a:pt x="474446" y="689511"/>
                        <a:pt x="472759" y="689312"/>
                      </a:cubicBezTo>
                      <a:cubicBezTo>
                        <a:pt x="472713" y="688363"/>
                        <a:pt x="473544" y="687953"/>
                        <a:pt x="473848" y="687180"/>
                      </a:cubicBezTo>
                      <a:cubicBezTo>
                        <a:pt x="472291" y="687320"/>
                        <a:pt x="471483" y="687520"/>
                        <a:pt x="470019" y="688187"/>
                      </a:cubicBezTo>
                      <a:cubicBezTo>
                        <a:pt x="470511" y="692497"/>
                        <a:pt x="463671" y="688843"/>
                        <a:pt x="462945" y="693141"/>
                      </a:cubicBezTo>
                      <a:cubicBezTo>
                        <a:pt x="458003" y="693211"/>
                        <a:pt x="455415" y="695905"/>
                        <a:pt x="451643" y="698411"/>
                      </a:cubicBezTo>
                      <a:cubicBezTo>
                        <a:pt x="450648" y="699067"/>
                        <a:pt x="454114" y="703752"/>
                        <a:pt x="449278" y="700250"/>
                      </a:cubicBezTo>
                      <a:cubicBezTo>
                        <a:pt x="448599" y="700859"/>
                        <a:pt x="448036" y="702241"/>
                        <a:pt x="447497" y="702663"/>
                      </a:cubicBezTo>
                      <a:cubicBezTo>
                        <a:pt x="450191" y="703834"/>
                        <a:pt x="452627" y="709444"/>
                        <a:pt x="448224" y="707031"/>
                      </a:cubicBezTo>
                      <a:cubicBezTo>
                        <a:pt x="448235" y="706914"/>
                        <a:pt x="446537" y="708659"/>
                        <a:pt x="446795" y="708671"/>
                      </a:cubicBezTo>
                      <a:cubicBezTo>
                        <a:pt x="447907" y="709397"/>
                        <a:pt x="447310" y="708542"/>
                        <a:pt x="448352" y="709655"/>
                      </a:cubicBezTo>
                      <a:cubicBezTo>
                        <a:pt x="444007" y="713484"/>
                        <a:pt x="431570" y="723205"/>
                        <a:pt x="434017" y="730454"/>
                      </a:cubicBezTo>
                      <a:cubicBezTo>
                        <a:pt x="431242" y="734307"/>
                        <a:pt x="424555" y="734178"/>
                        <a:pt x="425105" y="739343"/>
                      </a:cubicBezTo>
                      <a:cubicBezTo>
                        <a:pt x="424414" y="738887"/>
                        <a:pt x="423911" y="739050"/>
                        <a:pt x="423594" y="739800"/>
                      </a:cubicBezTo>
                      <a:cubicBezTo>
                        <a:pt x="424824" y="735549"/>
                        <a:pt x="409494" y="734752"/>
                        <a:pt x="405289" y="731555"/>
                      </a:cubicBezTo>
                      <a:cubicBezTo>
                        <a:pt x="402256" y="729248"/>
                        <a:pt x="400019" y="724727"/>
                        <a:pt x="404950" y="724142"/>
                      </a:cubicBezTo>
                      <a:cubicBezTo>
                        <a:pt x="401869" y="721178"/>
                        <a:pt x="390123" y="712243"/>
                        <a:pt x="387031" y="713660"/>
                      </a:cubicBezTo>
                      <a:cubicBezTo>
                        <a:pt x="387991" y="711950"/>
                        <a:pt x="387382" y="711294"/>
                        <a:pt x="389233" y="709291"/>
                      </a:cubicBezTo>
                      <a:cubicBezTo>
                        <a:pt x="386890" y="706644"/>
                        <a:pt x="396588" y="704525"/>
                        <a:pt x="388881" y="702651"/>
                      </a:cubicBezTo>
                      <a:cubicBezTo>
                        <a:pt x="389092" y="701948"/>
                        <a:pt x="390205" y="698915"/>
                        <a:pt x="390369" y="698575"/>
                      </a:cubicBezTo>
                      <a:cubicBezTo>
                        <a:pt x="391493" y="698552"/>
                        <a:pt x="392594" y="698493"/>
                        <a:pt x="393707" y="698646"/>
                      </a:cubicBezTo>
                      <a:cubicBezTo>
                        <a:pt x="392664" y="695214"/>
                        <a:pt x="391013" y="692415"/>
                        <a:pt x="387136" y="690928"/>
                      </a:cubicBezTo>
                      <a:cubicBezTo>
                        <a:pt x="389772" y="685412"/>
                        <a:pt x="399539" y="684522"/>
                        <a:pt x="403380" y="678150"/>
                      </a:cubicBezTo>
                      <a:cubicBezTo>
                        <a:pt x="405664" y="674368"/>
                        <a:pt x="404996" y="670737"/>
                        <a:pt x="405488" y="665924"/>
                      </a:cubicBezTo>
                      <a:cubicBezTo>
                        <a:pt x="402490" y="665174"/>
                        <a:pt x="399024" y="664624"/>
                        <a:pt x="397185" y="666814"/>
                      </a:cubicBezTo>
                      <a:cubicBezTo>
                        <a:pt x="397208" y="666345"/>
                        <a:pt x="397232" y="665877"/>
                        <a:pt x="397255" y="665408"/>
                      </a:cubicBezTo>
                      <a:cubicBezTo>
                        <a:pt x="396646" y="665607"/>
                        <a:pt x="396037" y="665806"/>
                        <a:pt x="395428" y="666005"/>
                      </a:cubicBezTo>
                      <a:cubicBezTo>
                        <a:pt x="395815" y="666790"/>
                        <a:pt x="396201" y="667575"/>
                        <a:pt x="396599" y="668360"/>
                      </a:cubicBezTo>
                      <a:cubicBezTo>
                        <a:pt x="395615" y="667587"/>
                        <a:pt x="395475" y="667668"/>
                        <a:pt x="394620" y="666802"/>
                      </a:cubicBezTo>
                      <a:cubicBezTo>
                        <a:pt x="387769" y="672470"/>
                        <a:pt x="382077" y="667821"/>
                        <a:pt x="374851" y="664061"/>
                      </a:cubicBezTo>
                      <a:cubicBezTo>
                        <a:pt x="369405" y="661227"/>
                        <a:pt x="360188" y="663195"/>
                        <a:pt x="357436" y="660325"/>
                      </a:cubicBezTo>
                      <a:cubicBezTo>
                        <a:pt x="354789" y="664858"/>
                        <a:pt x="347750" y="665736"/>
                        <a:pt x="342703" y="663804"/>
                      </a:cubicBezTo>
                      <a:cubicBezTo>
                        <a:pt x="343195" y="663932"/>
                        <a:pt x="345338" y="665233"/>
                        <a:pt x="346357" y="665560"/>
                      </a:cubicBezTo>
                      <a:cubicBezTo>
                        <a:pt x="344132" y="666650"/>
                        <a:pt x="342340" y="668078"/>
                        <a:pt x="339904" y="669179"/>
                      </a:cubicBezTo>
                      <a:cubicBezTo>
                        <a:pt x="340817" y="669625"/>
                        <a:pt x="340782" y="669215"/>
                        <a:pt x="341684" y="669179"/>
                      </a:cubicBezTo>
                      <a:cubicBezTo>
                        <a:pt x="337913" y="675586"/>
                        <a:pt x="330464" y="667282"/>
                        <a:pt x="328134" y="673630"/>
                      </a:cubicBezTo>
                      <a:cubicBezTo>
                        <a:pt x="331776" y="670643"/>
                        <a:pt x="335805" y="671603"/>
                        <a:pt x="332432" y="676054"/>
                      </a:cubicBezTo>
                      <a:cubicBezTo>
                        <a:pt x="330464" y="677412"/>
                        <a:pt x="323320" y="680001"/>
                        <a:pt x="322747" y="680914"/>
                      </a:cubicBezTo>
                      <a:cubicBezTo>
                        <a:pt x="319350" y="679040"/>
                        <a:pt x="318624" y="676054"/>
                        <a:pt x="315368" y="676054"/>
                      </a:cubicBezTo>
                      <a:cubicBezTo>
                        <a:pt x="312100" y="676054"/>
                        <a:pt x="307451" y="680680"/>
                        <a:pt x="304160" y="681699"/>
                      </a:cubicBezTo>
                      <a:cubicBezTo>
                        <a:pt x="305167" y="680610"/>
                        <a:pt x="305929" y="679275"/>
                        <a:pt x="306889" y="678232"/>
                      </a:cubicBezTo>
                      <a:cubicBezTo>
                        <a:pt x="299768" y="677002"/>
                        <a:pt x="300366" y="688550"/>
                        <a:pt x="293444" y="687133"/>
                      </a:cubicBezTo>
                      <a:cubicBezTo>
                        <a:pt x="296349" y="685365"/>
                        <a:pt x="296477" y="685037"/>
                        <a:pt x="293128" y="684158"/>
                      </a:cubicBezTo>
                      <a:cubicBezTo>
                        <a:pt x="293737" y="682086"/>
                        <a:pt x="294170" y="683444"/>
                        <a:pt x="292554" y="681558"/>
                      </a:cubicBezTo>
                      <a:cubicBezTo>
                        <a:pt x="291125" y="683760"/>
                        <a:pt x="290821" y="684662"/>
                        <a:pt x="289158" y="686571"/>
                      </a:cubicBezTo>
                      <a:cubicBezTo>
                        <a:pt x="293245" y="692005"/>
                        <a:pt x="277575" y="692520"/>
                        <a:pt x="285586" y="685950"/>
                      </a:cubicBezTo>
                      <a:cubicBezTo>
                        <a:pt x="285972" y="686688"/>
                        <a:pt x="285305" y="687637"/>
                        <a:pt x="285550" y="688164"/>
                      </a:cubicBezTo>
                      <a:cubicBezTo>
                        <a:pt x="286546" y="687555"/>
                        <a:pt x="287600" y="686536"/>
                        <a:pt x="288431" y="685763"/>
                      </a:cubicBezTo>
                      <a:cubicBezTo>
                        <a:pt x="284520" y="681863"/>
                        <a:pt x="283864" y="685927"/>
                        <a:pt x="279894" y="687695"/>
                      </a:cubicBezTo>
                      <a:cubicBezTo>
                        <a:pt x="274307" y="690178"/>
                        <a:pt x="271754" y="688164"/>
                        <a:pt x="267245" y="690752"/>
                      </a:cubicBezTo>
                      <a:cubicBezTo>
                        <a:pt x="267562" y="694863"/>
                        <a:pt x="258708" y="694640"/>
                        <a:pt x="255885" y="694640"/>
                      </a:cubicBezTo>
                      <a:cubicBezTo>
                        <a:pt x="255323" y="692392"/>
                        <a:pt x="252676" y="688855"/>
                        <a:pt x="255183" y="686946"/>
                      </a:cubicBezTo>
                      <a:cubicBezTo>
                        <a:pt x="246024" y="681957"/>
                        <a:pt x="239278" y="690834"/>
                        <a:pt x="238622" y="699325"/>
                      </a:cubicBezTo>
                      <a:cubicBezTo>
                        <a:pt x="238517" y="700613"/>
                        <a:pt x="238892" y="705180"/>
                        <a:pt x="238541" y="706188"/>
                      </a:cubicBezTo>
                      <a:cubicBezTo>
                        <a:pt x="237885" y="708027"/>
                        <a:pt x="234886" y="709104"/>
                        <a:pt x="234547" y="710228"/>
                      </a:cubicBezTo>
                      <a:cubicBezTo>
                        <a:pt x="233001" y="715358"/>
                        <a:pt x="237557" y="717138"/>
                        <a:pt x="229628" y="719726"/>
                      </a:cubicBezTo>
                      <a:cubicBezTo>
                        <a:pt x="230366" y="718836"/>
                        <a:pt x="230870" y="717361"/>
                        <a:pt x="231572" y="716295"/>
                      </a:cubicBezTo>
                      <a:cubicBezTo>
                        <a:pt x="236468" y="714456"/>
                        <a:pt x="228586" y="712828"/>
                        <a:pt x="225880" y="711353"/>
                      </a:cubicBezTo>
                      <a:cubicBezTo>
                        <a:pt x="222578" y="709572"/>
                        <a:pt x="221395" y="705310"/>
                        <a:pt x="217682" y="708296"/>
                      </a:cubicBezTo>
                      <a:cubicBezTo>
                        <a:pt x="218315" y="708050"/>
                        <a:pt x="218560" y="708167"/>
                        <a:pt x="218432" y="708659"/>
                      </a:cubicBezTo>
                      <a:cubicBezTo>
                        <a:pt x="218596" y="708706"/>
                        <a:pt x="215750" y="708495"/>
                        <a:pt x="215972" y="708401"/>
                      </a:cubicBezTo>
                      <a:cubicBezTo>
                        <a:pt x="223163" y="702124"/>
                        <a:pt x="208887" y="705099"/>
                        <a:pt x="206264" y="704431"/>
                      </a:cubicBezTo>
                      <a:cubicBezTo>
                        <a:pt x="206568" y="710357"/>
                        <a:pt x="204214" y="704865"/>
                        <a:pt x="201497" y="705426"/>
                      </a:cubicBezTo>
                      <a:cubicBezTo>
                        <a:pt x="199670" y="705801"/>
                        <a:pt x="199084" y="706563"/>
                        <a:pt x="197257" y="706644"/>
                      </a:cubicBezTo>
                      <a:cubicBezTo>
                        <a:pt x="197691" y="707640"/>
                        <a:pt x="196156" y="707558"/>
                        <a:pt x="195840" y="707453"/>
                      </a:cubicBezTo>
                      <a:cubicBezTo>
                        <a:pt x="196004" y="706234"/>
                        <a:pt x="195641" y="705075"/>
                        <a:pt x="195653" y="704279"/>
                      </a:cubicBezTo>
                      <a:cubicBezTo>
                        <a:pt x="193603" y="709022"/>
                        <a:pt x="187537" y="712196"/>
                        <a:pt x="184351" y="710486"/>
                      </a:cubicBezTo>
                      <a:cubicBezTo>
                        <a:pt x="182946" y="709736"/>
                        <a:pt x="183040" y="705380"/>
                        <a:pt x="179901" y="704642"/>
                      </a:cubicBezTo>
                      <a:cubicBezTo>
                        <a:pt x="176083" y="703728"/>
                        <a:pt x="173026" y="708237"/>
                        <a:pt x="170918" y="711657"/>
                      </a:cubicBezTo>
                      <a:cubicBezTo>
                        <a:pt x="170110" y="711060"/>
                        <a:pt x="169829" y="710732"/>
                        <a:pt x="169009" y="710252"/>
                      </a:cubicBezTo>
                      <a:cubicBezTo>
                        <a:pt x="171785" y="707418"/>
                        <a:pt x="169419" y="705169"/>
                        <a:pt x="169630" y="702686"/>
                      </a:cubicBezTo>
                      <a:cubicBezTo>
                        <a:pt x="169595" y="703154"/>
                        <a:pt x="168564" y="699594"/>
                        <a:pt x="168541" y="699266"/>
                      </a:cubicBezTo>
                      <a:cubicBezTo>
                        <a:pt x="168494" y="698622"/>
                        <a:pt x="171070" y="696830"/>
                        <a:pt x="171164" y="695308"/>
                      </a:cubicBezTo>
                      <a:cubicBezTo>
                        <a:pt x="171363" y="691900"/>
                        <a:pt x="168142" y="691431"/>
                        <a:pt x="169466" y="688058"/>
                      </a:cubicBezTo>
                      <a:cubicBezTo>
                        <a:pt x="170555" y="685294"/>
                        <a:pt x="173565" y="685318"/>
                        <a:pt x="177055" y="684182"/>
                      </a:cubicBezTo>
                      <a:cubicBezTo>
                        <a:pt x="175298" y="684100"/>
                        <a:pt x="173448" y="683198"/>
                        <a:pt x="171855" y="683350"/>
                      </a:cubicBezTo>
                      <a:cubicBezTo>
                        <a:pt x="176106" y="677471"/>
                        <a:pt x="185557" y="688620"/>
                        <a:pt x="184258" y="681371"/>
                      </a:cubicBezTo>
                      <a:cubicBezTo>
                        <a:pt x="187185" y="681312"/>
                        <a:pt x="187748" y="681055"/>
                        <a:pt x="189985" y="682636"/>
                      </a:cubicBezTo>
                      <a:cubicBezTo>
                        <a:pt x="186190" y="683105"/>
                        <a:pt x="188743" y="681851"/>
                        <a:pt x="186213" y="684908"/>
                      </a:cubicBezTo>
                      <a:cubicBezTo>
                        <a:pt x="197152" y="683385"/>
                        <a:pt x="198534" y="674684"/>
                        <a:pt x="206393" y="670339"/>
                      </a:cubicBezTo>
                      <a:cubicBezTo>
                        <a:pt x="206779" y="667797"/>
                        <a:pt x="217390" y="664764"/>
                        <a:pt x="220716" y="662340"/>
                      </a:cubicBezTo>
                      <a:cubicBezTo>
                        <a:pt x="226981" y="657761"/>
                        <a:pt x="230752" y="652514"/>
                        <a:pt x="237240" y="648040"/>
                      </a:cubicBezTo>
                      <a:cubicBezTo>
                        <a:pt x="242277" y="644573"/>
                        <a:pt x="268194" y="626901"/>
                        <a:pt x="260019" y="622228"/>
                      </a:cubicBezTo>
                      <a:cubicBezTo>
                        <a:pt x="262046" y="621806"/>
                        <a:pt x="264657" y="620729"/>
                        <a:pt x="266847" y="620740"/>
                      </a:cubicBezTo>
                      <a:cubicBezTo>
                        <a:pt x="266426" y="620319"/>
                        <a:pt x="265910" y="620026"/>
                        <a:pt x="265313" y="619874"/>
                      </a:cubicBezTo>
                      <a:cubicBezTo>
                        <a:pt x="272082" y="617438"/>
                        <a:pt x="281709" y="617614"/>
                        <a:pt x="284403" y="612121"/>
                      </a:cubicBezTo>
                      <a:cubicBezTo>
                        <a:pt x="286441" y="614264"/>
                        <a:pt x="288806" y="614709"/>
                        <a:pt x="291371" y="613222"/>
                      </a:cubicBezTo>
                      <a:cubicBezTo>
                        <a:pt x="291933" y="613374"/>
                        <a:pt x="294428" y="613959"/>
                        <a:pt x="296653" y="614077"/>
                      </a:cubicBezTo>
                      <a:cubicBezTo>
                        <a:pt x="290563" y="615763"/>
                        <a:pt x="293702" y="619804"/>
                        <a:pt x="298457" y="620495"/>
                      </a:cubicBezTo>
                      <a:cubicBezTo>
                        <a:pt x="302310" y="621057"/>
                        <a:pt x="302404" y="618094"/>
                        <a:pt x="306186" y="617180"/>
                      </a:cubicBezTo>
                      <a:cubicBezTo>
                        <a:pt x="310485" y="616138"/>
                        <a:pt x="312089" y="617426"/>
                        <a:pt x="316434" y="617695"/>
                      </a:cubicBezTo>
                      <a:cubicBezTo>
                        <a:pt x="328977" y="618468"/>
                        <a:pt x="341836" y="616431"/>
                        <a:pt x="352412" y="611254"/>
                      </a:cubicBezTo>
                      <a:cubicBezTo>
                        <a:pt x="362343" y="606394"/>
                        <a:pt x="373270" y="610985"/>
                        <a:pt x="381199" y="608959"/>
                      </a:cubicBezTo>
                      <a:cubicBezTo>
                        <a:pt x="384689" y="608069"/>
                        <a:pt x="400476" y="595198"/>
                        <a:pt x="399562" y="608771"/>
                      </a:cubicBezTo>
                      <a:cubicBezTo>
                        <a:pt x="396634" y="609088"/>
                        <a:pt x="394526" y="612706"/>
                        <a:pt x="394187" y="615775"/>
                      </a:cubicBezTo>
                      <a:cubicBezTo>
                        <a:pt x="394901" y="615084"/>
                        <a:pt x="395967" y="613725"/>
                        <a:pt x="396892" y="612695"/>
                      </a:cubicBezTo>
                      <a:cubicBezTo>
                        <a:pt x="396775" y="613573"/>
                        <a:pt x="397361" y="614112"/>
                        <a:pt x="398075" y="614405"/>
                      </a:cubicBezTo>
                      <a:cubicBezTo>
                        <a:pt x="397923" y="614545"/>
                        <a:pt x="396389" y="614826"/>
                        <a:pt x="396459" y="614697"/>
                      </a:cubicBezTo>
                      <a:cubicBezTo>
                        <a:pt x="399551" y="616349"/>
                        <a:pt x="402326" y="617063"/>
                        <a:pt x="400593" y="621279"/>
                      </a:cubicBezTo>
                      <a:cubicBezTo>
                        <a:pt x="402807" y="619757"/>
                        <a:pt x="402783" y="619979"/>
                        <a:pt x="404950" y="619195"/>
                      </a:cubicBezTo>
                      <a:cubicBezTo>
                        <a:pt x="404950" y="618703"/>
                        <a:pt x="404950" y="618211"/>
                        <a:pt x="404950" y="617719"/>
                      </a:cubicBezTo>
                      <a:cubicBezTo>
                        <a:pt x="398075" y="616817"/>
                        <a:pt x="405723" y="614346"/>
                        <a:pt x="408112" y="612004"/>
                      </a:cubicBezTo>
                      <a:cubicBezTo>
                        <a:pt x="407971" y="614405"/>
                        <a:pt x="408838" y="614229"/>
                        <a:pt x="408943" y="616805"/>
                      </a:cubicBezTo>
                      <a:cubicBezTo>
                        <a:pt x="409751" y="616302"/>
                        <a:pt x="409892" y="616103"/>
                        <a:pt x="410677" y="615295"/>
                      </a:cubicBezTo>
                      <a:cubicBezTo>
                        <a:pt x="410489" y="621396"/>
                        <a:pt x="415935" y="616923"/>
                        <a:pt x="418886" y="616103"/>
                      </a:cubicBezTo>
                      <a:cubicBezTo>
                        <a:pt x="417668" y="617145"/>
                        <a:pt x="417387" y="617707"/>
                        <a:pt x="416392" y="618937"/>
                      </a:cubicBezTo>
                      <a:cubicBezTo>
                        <a:pt x="419472" y="619686"/>
                        <a:pt x="422212" y="618984"/>
                        <a:pt x="422974" y="616150"/>
                      </a:cubicBezTo>
                      <a:cubicBezTo>
                        <a:pt x="422037" y="615845"/>
                        <a:pt x="421346" y="615857"/>
                        <a:pt x="420034" y="615423"/>
                      </a:cubicBezTo>
                      <a:cubicBezTo>
                        <a:pt x="422529" y="613620"/>
                        <a:pt x="424648" y="615470"/>
                        <a:pt x="427483" y="616115"/>
                      </a:cubicBezTo>
                      <a:cubicBezTo>
                        <a:pt x="427014" y="615400"/>
                        <a:pt x="426288" y="614358"/>
                        <a:pt x="425901" y="613690"/>
                      </a:cubicBezTo>
                      <a:cubicBezTo>
                        <a:pt x="427014" y="613597"/>
                        <a:pt x="427295" y="614194"/>
                        <a:pt x="428537" y="613456"/>
                      </a:cubicBezTo>
                      <a:cubicBezTo>
                        <a:pt x="427694" y="612285"/>
                        <a:pt x="427237" y="610751"/>
                        <a:pt x="426300" y="609638"/>
                      </a:cubicBezTo>
                      <a:cubicBezTo>
                        <a:pt x="436641" y="616525"/>
                        <a:pt x="431956" y="604778"/>
                        <a:pt x="437156" y="602400"/>
                      </a:cubicBezTo>
                      <a:cubicBezTo>
                        <a:pt x="439487" y="613362"/>
                        <a:pt x="441466" y="604426"/>
                        <a:pt x="437718" y="597083"/>
                      </a:cubicBezTo>
                      <a:cubicBezTo>
                        <a:pt x="435212" y="592199"/>
                        <a:pt x="434802" y="591462"/>
                        <a:pt x="436114" y="587011"/>
                      </a:cubicBezTo>
                      <a:cubicBezTo>
                        <a:pt x="437028" y="583908"/>
                        <a:pt x="441115" y="575557"/>
                        <a:pt x="442543" y="574093"/>
                      </a:cubicBezTo>
                      <a:cubicBezTo>
                        <a:pt x="445249" y="571330"/>
                        <a:pt x="452815" y="568238"/>
                        <a:pt x="456679" y="564525"/>
                      </a:cubicBezTo>
                      <a:cubicBezTo>
                        <a:pt x="462969" y="558470"/>
                        <a:pt x="469000" y="550717"/>
                        <a:pt x="472947" y="542918"/>
                      </a:cubicBezTo>
                      <a:cubicBezTo>
                        <a:pt x="475137" y="538596"/>
                        <a:pt x="477303" y="518382"/>
                        <a:pt x="471413" y="520443"/>
                      </a:cubicBezTo>
                      <a:cubicBezTo>
                        <a:pt x="471096" y="513357"/>
                        <a:pt x="474774" y="506939"/>
                        <a:pt x="481590" y="504316"/>
                      </a:cubicBezTo>
                      <a:cubicBezTo>
                        <a:pt x="485408" y="502852"/>
                        <a:pt x="504088" y="494186"/>
                        <a:pt x="506418" y="498847"/>
                      </a:cubicBezTo>
                      <a:cubicBezTo>
                        <a:pt x="508924" y="503859"/>
                        <a:pt x="502753" y="500545"/>
                        <a:pt x="501289" y="503368"/>
                      </a:cubicBezTo>
                      <a:cubicBezTo>
                        <a:pt x="499298" y="507244"/>
                        <a:pt x="503678" y="507478"/>
                        <a:pt x="500282" y="511144"/>
                      </a:cubicBezTo>
                      <a:cubicBezTo>
                        <a:pt x="499766" y="511694"/>
                        <a:pt x="495281" y="510874"/>
                        <a:pt x="493945" y="511671"/>
                      </a:cubicBezTo>
                      <a:cubicBezTo>
                        <a:pt x="493161" y="512139"/>
                        <a:pt x="492154" y="515501"/>
                        <a:pt x="491978" y="515571"/>
                      </a:cubicBezTo>
                      <a:cubicBezTo>
                        <a:pt x="488945" y="516625"/>
                        <a:pt x="486567" y="518592"/>
                        <a:pt x="486193" y="514610"/>
                      </a:cubicBezTo>
                      <a:cubicBezTo>
                        <a:pt x="482023" y="517035"/>
                        <a:pt x="482855" y="521075"/>
                        <a:pt x="481039" y="524097"/>
                      </a:cubicBezTo>
                      <a:cubicBezTo>
                        <a:pt x="484939" y="523968"/>
                        <a:pt x="488136" y="527798"/>
                        <a:pt x="490303" y="522539"/>
                      </a:cubicBezTo>
                      <a:cubicBezTo>
                        <a:pt x="493395" y="531897"/>
                        <a:pt x="482550" y="540001"/>
                        <a:pt x="497529" y="543152"/>
                      </a:cubicBezTo>
                      <a:cubicBezTo>
                        <a:pt x="508983" y="545564"/>
                        <a:pt x="506278" y="537366"/>
                        <a:pt x="511606" y="532717"/>
                      </a:cubicBezTo>
                      <a:cubicBezTo>
                        <a:pt x="515272" y="529519"/>
                        <a:pt x="524747" y="529028"/>
                        <a:pt x="529373" y="527259"/>
                      </a:cubicBezTo>
                      <a:cubicBezTo>
                        <a:pt x="534854" y="525163"/>
                        <a:pt x="539913" y="520993"/>
                        <a:pt x="545043" y="519061"/>
                      </a:cubicBezTo>
                      <a:cubicBezTo>
                        <a:pt x="549856" y="517246"/>
                        <a:pt x="553299" y="517585"/>
                        <a:pt x="558382" y="513943"/>
                      </a:cubicBezTo>
                      <a:cubicBezTo>
                        <a:pt x="563805" y="510066"/>
                        <a:pt x="568044" y="505921"/>
                        <a:pt x="572272" y="501236"/>
                      </a:cubicBezTo>
                      <a:cubicBezTo>
                        <a:pt x="581606" y="490906"/>
                        <a:pt x="582028" y="478246"/>
                        <a:pt x="595754" y="471699"/>
                      </a:cubicBezTo>
                      <a:cubicBezTo>
                        <a:pt x="606189" y="466722"/>
                        <a:pt x="613684" y="464637"/>
                        <a:pt x="615980" y="451977"/>
                      </a:cubicBezTo>
                      <a:cubicBezTo>
                        <a:pt x="617280" y="444822"/>
                        <a:pt x="618544" y="439786"/>
                        <a:pt x="622175" y="433274"/>
                      </a:cubicBezTo>
                      <a:cubicBezTo>
                        <a:pt x="625220" y="427840"/>
                        <a:pt x="630092" y="424385"/>
                        <a:pt x="632950" y="418916"/>
                      </a:cubicBezTo>
                      <a:cubicBezTo>
                        <a:pt x="637529" y="410144"/>
                        <a:pt x="637248" y="399767"/>
                        <a:pt x="640843" y="390949"/>
                      </a:cubicBezTo>
                      <a:cubicBezTo>
                        <a:pt x="641687" y="388876"/>
                        <a:pt x="644321" y="386744"/>
                        <a:pt x="645493" y="384121"/>
                      </a:cubicBezTo>
                      <a:cubicBezTo>
                        <a:pt x="646922" y="380900"/>
                        <a:pt x="647109" y="377199"/>
                        <a:pt x="647472" y="373768"/>
                      </a:cubicBezTo>
                      <a:cubicBezTo>
                        <a:pt x="647976" y="369165"/>
                        <a:pt x="648936" y="360475"/>
                        <a:pt x="645645" y="356470"/>
                      </a:cubicBezTo>
                      <a:cubicBezTo>
                        <a:pt x="639824" y="349408"/>
                        <a:pt x="627914" y="359808"/>
                        <a:pt x="629167" y="346152"/>
                      </a:cubicBezTo>
                      <a:cubicBezTo>
                        <a:pt x="639262" y="355685"/>
                        <a:pt x="647343" y="333714"/>
                        <a:pt x="645832" y="325973"/>
                      </a:cubicBezTo>
                      <a:cubicBezTo>
                        <a:pt x="645528" y="324369"/>
                        <a:pt x="642764" y="317272"/>
                        <a:pt x="641909" y="315690"/>
                      </a:cubicBezTo>
                      <a:cubicBezTo>
                        <a:pt x="641499" y="314929"/>
                        <a:pt x="637728" y="307703"/>
                        <a:pt x="637470" y="309237"/>
                      </a:cubicBezTo>
                      <a:cubicBezTo>
                        <a:pt x="637716" y="307738"/>
                        <a:pt x="641979" y="304892"/>
                        <a:pt x="643092" y="303944"/>
                      </a:cubicBezTo>
                      <a:cubicBezTo>
                        <a:pt x="644814" y="302480"/>
                        <a:pt x="644251" y="300770"/>
                        <a:pt x="646570" y="299505"/>
                      </a:cubicBezTo>
                      <a:cubicBezTo>
                        <a:pt x="648620" y="298381"/>
                        <a:pt x="649123" y="301063"/>
                        <a:pt x="650798" y="300559"/>
                      </a:cubicBezTo>
                      <a:cubicBezTo>
                        <a:pt x="659418" y="297971"/>
                        <a:pt x="661034" y="292431"/>
                        <a:pt x="661584" y="283015"/>
                      </a:cubicBezTo>
                      <a:cubicBezTo>
                        <a:pt x="662521" y="284339"/>
                        <a:pt x="663892" y="284643"/>
                        <a:pt x="664735" y="285439"/>
                      </a:cubicBezTo>
                      <a:cubicBezTo>
                        <a:pt x="665531" y="283999"/>
                        <a:pt x="665484" y="283964"/>
                        <a:pt x="666058" y="283121"/>
                      </a:cubicBezTo>
                      <a:cubicBezTo>
                        <a:pt x="665145" y="283062"/>
                        <a:pt x="662908" y="282067"/>
                        <a:pt x="661854" y="282160"/>
                      </a:cubicBezTo>
                      <a:cubicBezTo>
                        <a:pt x="661678" y="279185"/>
                        <a:pt x="660097" y="277077"/>
                        <a:pt x="657602" y="276398"/>
                      </a:cubicBezTo>
                      <a:cubicBezTo>
                        <a:pt x="662545" y="276761"/>
                        <a:pt x="662404" y="272006"/>
                        <a:pt x="662650" y="268200"/>
                      </a:cubicBezTo>
                      <a:cubicBezTo>
                        <a:pt x="665742" y="270273"/>
                        <a:pt x="667686" y="272100"/>
                        <a:pt x="670731" y="272873"/>
                      </a:cubicBezTo>
                      <a:cubicBezTo>
                        <a:pt x="671926" y="273166"/>
                        <a:pt x="672921" y="269535"/>
                        <a:pt x="675779" y="271034"/>
                      </a:cubicBezTo>
                      <a:cubicBezTo>
                        <a:pt x="679386" y="272920"/>
                        <a:pt x="677078" y="274360"/>
                        <a:pt x="677945" y="277089"/>
                      </a:cubicBezTo>
                      <a:cubicBezTo>
                        <a:pt x="679292" y="281411"/>
                        <a:pt x="677348" y="289890"/>
                        <a:pt x="681096" y="293157"/>
                      </a:cubicBezTo>
                      <a:cubicBezTo>
                        <a:pt x="685569" y="297057"/>
                        <a:pt x="690008" y="292712"/>
                        <a:pt x="690219" y="288133"/>
                      </a:cubicBezTo>
                      <a:cubicBezTo>
                        <a:pt x="689949" y="287852"/>
                        <a:pt x="689130" y="287946"/>
                        <a:pt x="688661" y="287630"/>
                      </a:cubicBezTo>
                      <a:cubicBezTo>
                        <a:pt x="692339" y="278178"/>
                        <a:pt x="697562" y="293579"/>
                        <a:pt x="703172" y="292595"/>
                      </a:cubicBezTo>
                      <a:cubicBezTo>
                        <a:pt x="708173" y="291729"/>
                        <a:pt x="711089" y="280333"/>
                        <a:pt x="710948" y="276550"/>
                      </a:cubicBezTo>
                      <a:cubicBezTo>
                        <a:pt x="710831" y="273482"/>
                        <a:pt x="707458" y="263305"/>
                        <a:pt x="704144" y="269629"/>
                      </a:cubicBezTo>
                      <a:cubicBezTo>
                        <a:pt x="704226" y="269617"/>
                        <a:pt x="705374" y="268867"/>
                        <a:pt x="705268" y="268762"/>
                      </a:cubicBezTo>
                      <a:cubicBezTo>
                        <a:pt x="701965" y="273447"/>
                        <a:pt x="686155" y="277347"/>
                        <a:pt x="684738" y="273833"/>
                      </a:cubicBezTo>
                      <a:cubicBezTo>
                        <a:pt x="682021" y="267088"/>
                        <a:pt x="692245" y="256793"/>
                        <a:pt x="692456" y="250691"/>
                      </a:cubicBezTo>
                      <a:cubicBezTo>
                        <a:pt x="695384" y="254416"/>
                        <a:pt x="699003" y="253596"/>
                        <a:pt x="702575" y="255868"/>
                      </a:cubicBezTo>
                      <a:cubicBezTo>
                        <a:pt x="706030" y="258140"/>
                        <a:pt x="707025" y="261255"/>
                        <a:pt x="711288" y="262801"/>
                      </a:cubicBezTo>
                      <a:lnTo>
                        <a:pt x="711288" y="262801"/>
                      </a:lnTo>
                      <a:close/>
                      <a:moveTo>
                        <a:pt x="749983" y="2372"/>
                      </a:moveTo>
                      <a:cubicBezTo>
                        <a:pt x="754340" y="12338"/>
                        <a:pt x="769764" y="20724"/>
                        <a:pt x="776404" y="29777"/>
                      </a:cubicBezTo>
                      <a:cubicBezTo>
                        <a:pt x="782986" y="38748"/>
                        <a:pt x="787893" y="46642"/>
                        <a:pt x="796396" y="54512"/>
                      </a:cubicBezTo>
                      <a:cubicBezTo>
                        <a:pt x="802650" y="60309"/>
                        <a:pt x="809923" y="65356"/>
                        <a:pt x="816704" y="70732"/>
                      </a:cubicBezTo>
                      <a:cubicBezTo>
                        <a:pt x="823894" y="76435"/>
                        <a:pt x="833521" y="79645"/>
                        <a:pt x="841731" y="84317"/>
                      </a:cubicBezTo>
                      <a:cubicBezTo>
                        <a:pt x="839822" y="83814"/>
                        <a:pt x="838311" y="84341"/>
                        <a:pt x="836718" y="84317"/>
                      </a:cubicBezTo>
                      <a:cubicBezTo>
                        <a:pt x="842726" y="96322"/>
                        <a:pt x="854286" y="82174"/>
                        <a:pt x="862343" y="89412"/>
                      </a:cubicBezTo>
                      <a:cubicBezTo>
                        <a:pt x="860926" y="90091"/>
                        <a:pt x="857015" y="95432"/>
                        <a:pt x="860633" y="94612"/>
                      </a:cubicBezTo>
                      <a:cubicBezTo>
                        <a:pt x="861640" y="94378"/>
                        <a:pt x="863854" y="91216"/>
                        <a:pt x="863796" y="91216"/>
                      </a:cubicBezTo>
                      <a:cubicBezTo>
                        <a:pt x="865997" y="91063"/>
                        <a:pt x="863737" y="88089"/>
                        <a:pt x="867039" y="89529"/>
                      </a:cubicBezTo>
                      <a:cubicBezTo>
                        <a:pt x="866290" y="89201"/>
                        <a:pt x="869136" y="94987"/>
                        <a:pt x="869569" y="95490"/>
                      </a:cubicBezTo>
                      <a:cubicBezTo>
                        <a:pt x="873832" y="100362"/>
                        <a:pt x="881058" y="101030"/>
                        <a:pt x="887523" y="101088"/>
                      </a:cubicBezTo>
                      <a:cubicBezTo>
                        <a:pt x="897654" y="101194"/>
                        <a:pt x="900253" y="95350"/>
                        <a:pt x="907526" y="88908"/>
                      </a:cubicBezTo>
                      <a:cubicBezTo>
                        <a:pt x="912703" y="84317"/>
                        <a:pt x="928162" y="65368"/>
                        <a:pt x="923770" y="82455"/>
                      </a:cubicBezTo>
                      <a:cubicBezTo>
                        <a:pt x="921428" y="91578"/>
                        <a:pt x="908967" y="99589"/>
                        <a:pt x="909459" y="109602"/>
                      </a:cubicBezTo>
                      <a:cubicBezTo>
                        <a:pt x="909740" y="115306"/>
                        <a:pt x="914518" y="118129"/>
                        <a:pt x="917153" y="122755"/>
                      </a:cubicBezTo>
                      <a:cubicBezTo>
                        <a:pt x="920362" y="128353"/>
                        <a:pt x="919425" y="136481"/>
                        <a:pt x="926077" y="140158"/>
                      </a:cubicBezTo>
                      <a:cubicBezTo>
                        <a:pt x="921404" y="137769"/>
                        <a:pt x="916614" y="137652"/>
                        <a:pt x="921861" y="140884"/>
                      </a:cubicBezTo>
                      <a:cubicBezTo>
                        <a:pt x="924016" y="142208"/>
                        <a:pt x="929427" y="142840"/>
                        <a:pt x="932530" y="144995"/>
                      </a:cubicBezTo>
                      <a:cubicBezTo>
                        <a:pt x="929450" y="138600"/>
                        <a:pt x="943188" y="133471"/>
                        <a:pt x="948587" y="135825"/>
                      </a:cubicBezTo>
                      <a:cubicBezTo>
                        <a:pt x="942181" y="139584"/>
                        <a:pt x="934557" y="140755"/>
                        <a:pt x="933233" y="148801"/>
                      </a:cubicBezTo>
                      <a:cubicBezTo>
                        <a:pt x="929040" y="147794"/>
                        <a:pt x="924496" y="148075"/>
                        <a:pt x="920175" y="149047"/>
                      </a:cubicBezTo>
                      <a:cubicBezTo>
                        <a:pt x="916778" y="149796"/>
                        <a:pt x="908264" y="151834"/>
                        <a:pt x="914331" y="154470"/>
                      </a:cubicBezTo>
                      <a:cubicBezTo>
                        <a:pt x="911895" y="156472"/>
                        <a:pt x="909096" y="157713"/>
                        <a:pt x="905723" y="156671"/>
                      </a:cubicBezTo>
                      <a:cubicBezTo>
                        <a:pt x="911368" y="165654"/>
                        <a:pt x="895698" y="157268"/>
                        <a:pt x="897290" y="157292"/>
                      </a:cubicBezTo>
                      <a:cubicBezTo>
                        <a:pt x="894222" y="157257"/>
                        <a:pt x="888718" y="159845"/>
                        <a:pt x="894245" y="163616"/>
                      </a:cubicBezTo>
                      <a:cubicBezTo>
                        <a:pt x="886539" y="165619"/>
                        <a:pt x="878763" y="162012"/>
                        <a:pt x="872497" y="160536"/>
                      </a:cubicBezTo>
                      <a:cubicBezTo>
                        <a:pt x="865154" y="158803"/>
                        <a:pt x="854497" y="163581"/>
                        <a:pt x="847891" y="169074"/>
                      </a:cubicBezTo>
                      <a:cubicBezTo>
                        <a:pt x="839354" y="176159"/>
                        <a:pt x="831273" y="183854"/>
                        <a:pt x="825089" y="193164"/>
                      </a:cubicBezTo>
                      <a:cubicBezTo>
                        <a:pt x="819222" y="202007"/>
                        <a:pt x="820158" y="205684"/>
                        <a:pt x="818624" y="214995"/>
                      </a:cubicBezTo>
                      <a:cubicBezTo>
                        <a:pt x="818074" y="218321"/>
                        <a:pt x="817289" y="220932"/>
                        <a:pt x="815064" y="223239"/>
                      </a:cubicBezTo>
                      <a:cubicBezTo>
                        <a:pt x="811164" y="227315"/>
                        <a:pt x="815204" y="226331"/>
                        <a:pt x="810262" y="224188"/>
                      </a:cubicBezTo>
                      <a:cubicBezTo>
                        <a:pt x="808634" y="223485"/>
                        <a:pt x="805062" y="219375"/>
                        <a:pt x="803188" y="218262"/>
                      </a:cubicBezTo>
                      <a:cubicBezTo>
                        <a:pt x="798375" y="215393"/>
                        <a:pt x="793316" y="214433"/>
                        <a:pt x="788209" y="212277"/>
                      </a:cubicBezTo>
                      <a:cubicBezTo>
                        <a:pt x="777235" y="207663"/>
                        <a:pt x="769119" y="200812"/>
                        <a:pt x="759223" y="195038"/>
                      </a:cubicBezTo>
                      <a:cubicBezTo>
                        <a:pt x="753028" y="191419"/>
                        <a:pt x="742651" y="184545"/>
                        <a:pt x="734770" y="183678"/>
                      </a:cubicBezTo>
                      <a:cubicBezTo>
                        <a:pt x="724194" y="182507"/>
                        <a:pt x="716429" y="189440"/>
                        <a:pt x="708114" y="194500"/>
                      </a:cubicBezTo>
                      <a:cubicBezTo>
                        <a:pt x="704390" y="196772"/>
                        <a:pt x="696262" y="205590"/>
                        <a:pt x="693334" y="201784"/>
                      </a:cubicBezTo>
                      <a:cubicBezTo>
                        <a:pt x="693955" y="201784"/>
                        <a:pt x="695337" y="202007"/>
                        <a:pt x="696063" y="201772"/>
                      </a:cubicBezTo>
                      <a:cubicBezTo>
                        <a:pt x="688029" y="197638"/>
                        <a:pt x="685640" y="182460"/>
                        <a:pt x="672207" y="185950"/>
                      </a:cubicBezTo>
                      <a:cubicBezTo>
                        <a:pt x="667054" y="187297"/>
                        <a:pt x="663646" y="190869"/>
                        <a:pt x="661432" y="195881"/>
                      </a:cubicBezTo>
                      <a:cubicBezTo>
                        <a:pt x="657684" y="204396"/>
                        <a:pt x="660296" y="205098"/>
                        <a:pt x="666175" y="210005"/>
                      </a:cubicBezTo>
                      <a:cubicBezTo>
                        <a:pt x="667791" y="211352"/>
                        <a:pt x="670801" y="214866"/>
                        <a:pt x="672418" y="215381"/>
                      </a:cubicBezTo>
                      <a:cubicBezTo>
                        <a:pt x="674491" y="216049"/>
                        <a:pt x="676247" y="214350"/>
                        <a:pt x="678238" y="214878"/>
                      </a:cubicBezTo>
                      <a:cubicBezTo>
                        <a:pt x="684305" y="216470"/>
                        <a:pt x="684094" y="216271"/>
                        <a:pt x="689224" y="221694"/>
                      </a:cubicBezTo>
                      <a:cubicBezTo>
                        <a:pt x="694728" y="227491"/>
                        <a:pt x="702458" y="229002"/>
                        <a:pt x="707329" y="234951"/>
                      </a:cubicBezTo>
                      <a:cubicBezTo>
                        <a:pt x="702680" y="235818"/>
                        <a:pt x="700080" y="239917"/>
                        <a:pt x="695407" y="239952"/>
                      </a:cubicBezTo>
                      <a:cubicBezTo>
                        <a:pt x="689844" y="239987"/>
                        <a:pt x="687795" y="234646"/>
                        <a:pt x="681658" y="238312"/>
                      </a:cubicBezTo>
                      <a:cubicBezTo>
                        <a:pt x="682724" y="236661"/>
                        <a:pt x="683555" y="231988"/>
                        <a:pt x="679175" y="233265"/>
                      </a:cubicBezTo>
                      <a:cubicBezTo>
                        <a:pt x="677137" y="233862"/>
                        <a:pt x="678097" y="236930"/>
                        <a:pt x="676821" y="237727"/>
                      </a:cubicBezTo>
                      <a:cubicBezTo>
                        <a:pt x="675744" y="238406"/>
                        <a:pt x="671492" y="240549"/>
                        <a:pt x="670661" y="241615"/>
                      </a:cubicBezTo>
                      <a:cubicBezTo>
                        <a:pt x="667698" y="245398"/>
                        <a:pt x="668377" y="249602"/>
                        <a:pt x="664629" y="253127"/>
                      </a:cubicBezTo>
                      <a:cubicBezTo>
                        <a:pt x="665074" y="252706"/>
                        <a:pt x="654569" y="259873"/>
                        <a:pt x="655003" y="259744"/>
                      </a:cubicBezTo>
                      <a:cubicBezTo>
                        <a:pt x="644743" y="262555"/>
                        <a:pt x="643010" y="247974"/>
                        <a:pt x="645750" y="241381"/>
                      </a:cubicBezTo>
                      <a:cubicBezTo>
                        <a:pt x="648503" y="234775"/>
                        <a:pt x="653456" y="232913"/>
                        <a:pt x="652051" y="225605"/>
                      </a:cubicBezTo>
                      <a:cubicBezTo>
                        <a:pt x="650845" y="219433"/>
                        <a:pt x="646980" y="217864"/>
                        <a:pt x="642284" y="214245"/>
                      </a:cubicBezTo>
                      <a:cubicBezTo>
                        <a:pt x="640433" y="212816"/>
                        <a:pt x="634449" y="208776"/>
                        <a:pt x="633652" y="206937"/>
                      </a:cubicBezTo>
                      <a:cubicBezTo>
                        <a:pt x="631287" y="201456"/>
                        <a:pt x="634941" y="200730"/>
                        <a:pt x="636205" y="195799"/>
                      </a:cubicBezTo>
                      <a:cubicBezTo>
                        <a:pt x="637974" y="188819"/>
                        <a:pt x="634086" y="184568"/>
                        <a:pt x="640375" y="179872"/>
                      </a:cubicBezTo>
                      <a:cubicBezTo>
                        <a:pt x="642108" y="178583"/>
                        <a:pt x="649287" y="176710"/>
                        <a:pt x="651817" y="175422"/>
                      </a:cubicBezTo>
                      <a:cubicBezTo>
                        <a:pt x="653456" y="174590"/>
                        <a:pt x="653164" y="171931"/>
                        <a:pt x="655155" y="171217"/>
                      </a:cubicBezTo>
                      <a:cubicBezTo>
                        <a:pt x="656642" y="170678"/>
                        <a:pt x="657555" y="175796"/>
                        <a:pt x="659394" y="174730"/>
                      </a:cubicBezTo>
                      <a:cubicBezTo>
                        <a:pt x="662240" y="173079"/>
                        <a:pt x="671364" y="159002"/>
                        <a:pt x="671235" y="157046"/>
                      </a:cubicBezTo>
                      <a:cubicBezTo>
                        <a:pt x="670801" y="151073"/>
                        <a:pt x="661772" y="149270"/>
                        <a:pt x="661924" y="143613"/>
                      </a:cubicBezTo>
                      <a:cubicBezTo>
                        <a:pt x="661971" y="141622"/>
                        <a:pt x="668248" y="135661"/>
                        <a:pt x="670122" y="135860"/>
                      </a:cubicBezTo>
                      <a:cubicBezTo>
                        <a:pt x="674397" y="136328"/>
                        <a:pt x="678730" y="142594"/>
                        <a:pt x="682571" y="144526"/>
                      </a:cubicBezTo>
                      <a:cubicBezTo>
                        <a:pt x="688509" y="147501"/>
                        <a:pt x="691378" y="145990"/>
                        <a:pt x="698042" y="145287"/>
                      </a:cubicBezTo>
                      <a:cubicBezTo>
                        <a:pt x="696613" y="148684"/>
                        <a:pt x="701720" y="150523"/>
                        <a:pt x="705069" y="150405"/>
                      </a:cubicBezTo>
                      <a:cubicBezTo>
                        <a:pt x="710234" y="150218"/>
                        <a:pt x="716066" y="145264"/>
                        <a:pt x="718268" y="140544"/>
                      </a:cubicBezTo>
                      <a:cubicBezTo>
                        <a:pt x="722590" y="131304"/>
                        <a:pt x="712518" y="122614"/>
                        <a:pt x="714720" y="113350"/>
                      </a:cubicBezTo>
                      <a:cubicBezTo>
                        <a:pt x="716148" y="107389"/>
                        <a:pt x="719931" y="109041"/>
                        <a:pt x="723737" y="106475"/>
                      </a:cubicBezTo>
                      <a:cubicBezTo>
                        <a:pt x="729628" y="102517"/>
                        <a:pt x="731397" y="98301"/>
                        <a:pt x="731807" y="91309"/>
                      </a:cubicBezTo>
                      <a:cubicBezTo>
                        <a:pt x="732064" y="86917"/>
                        <a:pt x="730237" y="81940"/>
                        <a:pt x="731186" y="77642"/>
                      </a:cubicBezTo>
                      <a:cubicBezTo>
                        <a:pt x="732088" y="73543"/>
                        <a:pt x="735156" y="70029"/>
                        <a:pt x="736468" y="65977"/>
                      </a:cubicBezTo>
                      <a:cubicBezTo>
                        <a:pt x="739185" y="57545"/>
                        <a:pt x="738798" y="47613"/>
                        <a:pt x="736210" y="39193"/>
                      </a:cubicBezTo>
                      <a:cubicBezTo>
                        <a:pt x="733493" y="30421"/>
                        <a:pt x="726513" y="23909"/>
                        <a:pt x="727895" y="14833"/>
                      </a:cubicBezTo>
                      <a:cubicBezTo>
                        <a:pt x="728328" y="11964"/>
                        <a:pt x="730073" y="4890"/>
                        <a:pt x="731607" y="2676"/>
                      </a:cubicBezTo>
                      <a:cubicBezTo>
                        <a:pt x="734254" y="12877"/>
                        <a:pt x="744490" y="-6435"/>
                        <a:pt x="749983" y="2372"/>
                      </a:cubicBezTo>
                      <a:lnTo>
                        <a:pt x="749983" y="2372"/>
                      </a:lnTo>
                      <a:close/>
                    </a:path>
                  </a:pathLst>
                </a:custGeom>
                <a:solidFill>
                  <a:srgbClr val="D6D6D2"/>
                </a:solidFill>
                <a:ln w="8774" cap="rnd">
                  <a:solidFill>
                    <a:srgbClr val="FFFFFF"/>
                  </a:solidFill>
                  <a:prstDash val="solid"/>
                  <a:round/>
                </a:ln>
              </p:spPr>
              <p:txBody>
                <a:bodyPr rtlCol="0" anchor="ctr"/>
                <a:lstStyle/>
                <a:p>
                  <a:endParaRPr lang="en-US"/>
                </a:p>
              </p:txBody>
            </p:sp>
            <p:sp>
              <p:nvSpPr>
                <p:cNvPr id="127" name="Freeform: Shape 126">
                  <a:extLst>
                    <a:ext uri="{FF2B5EF4-FFF2-40B4-BE49-F238E27FC236}">
                      <a16:creationId xmlns:a16="http://schemas.microsoft.com/office/drawing/2014/main" id="{BA4539C7-F807-46A0-9D14-B4EAC6241017}"/>
                    </a:ext>
                  </a:extLst>
                </p:cNvPr>
                <p:cNvSpPr/>
                <p:nvPr/>
              </p:nvSpPr>
              <p:spPr>
                <a:xfrm>
                  <a:off x="1381" y="3981956"/>
                  <a:ext cx="420724" cy="763195"/>
                </a:xfrm>
                <a:custGeom>
                  <a:avLst/>
                  <a:gdLst>
                    <a:gd name="connsiteX0" fmla="*/ 47795 w 420724"/>
                    <a:gd name="connsiteY0" fmla="*/ 660878 h 763195"/>
                    <a:gd name="connsiteX1" fmla="*/ 27042 w 420724"/>
                    <a:gd name="connsiteY1" fmla="*/ 673093 h 763195"/>
                    <a:gd name="connsiteX2" fmla="*/ 3935 w 420724"/>
                    <a:gd name="connsiteY2" fmla="*/ 680682 h 763195"/>
                    <a:gd name="connsiteX3" fmla="*/ 1113 w 420724"/>
                    <a:gd name="connsiteY3" fmla="*/ 675728 h 763195"/>
                    <a:gd name="connsiteX4" fmla="*/ 14815 w 420724"/>
                    <a:gd name="connsiteY4" fmla="*/ 671735 h 763195"/>
                    <a:gd name="connsiteX5" fmla="*/ 24910 w 420724"/>
                    <a:gd name="connsiteY5" fmla="*/ 658981 h 763195"/>
                    <a:gd name="connsiteX6" fmla="*/ 33518 w 420724"/>
                    <a:gd name="connsiteY6" fmla="*/ 660890 h 763195"/>
                    <a:gd name="connsiteX7" fmla="*/ 42056 w 420724"/>
                    <a:gd name="connsiteY7" fmla="*/ 656802 h 763195"/>
                    <a:gd name="connsiteX8" fmla="*/ 53838 w 420724"/>
                    <a:gd name="connsiteY8" fmla="*/ 658185 h 763195"/>
                    <a:gd name="connsiteX9" fmla="*/ 47795 w 420724"/>
                    <a:gd name="connsiteY9" fmla="*/ 660878 h 763195"/>
                    <a:gd name="connsiteX10" fmla="*/ 47795 w 420724"/>
                    <a:gd name="connsiteY10" fmla="*/ 660878 h 763195"/>
                    <a:gd name="connsiteX11" fmla="*/ 0 w 420724"/>
                    <a:gd name="connsiteY11" fmla="*/ 16533 h 763195"/>
                    <a:gd name="connsiteX12" fmla="*/ 25203 w 420724"/>
                    <a:gd name="connsiteY12" fmla="*/ 9155 h 763195"/>
                    <a:gd name="connsiteX13" fmla="*/ 49153 w 420724"/>
                    <a:gd name="connsiteY13" fmla="*/ 12059 h 763195"/>
                    <a:gd name="connsiteX14" fmla="*/ 55021 w 420724"/>
                    <a:gd name="connsiteY14" fmla="*/ 7047 h 763195"/>
                    <a:gd name="connsiteX15" fmla="*/ 65807 w 420724"/>
                    <a:gd name="connsiteY15" fmla="*/ 758 h 763195"/>
                    <a:gd name="connsiteX16" fmla="*/ 76289 w 420724"/>
                    <a:gd name="connsiteY16" fmla="*/ 8 h 763195"/>
                    <a:gd name="connsiteX17" fmla="*/ 89898 w 420724"/>
                    <a:gd name="connsiteY17" fmla="*/ 4061 h 763195"/>
                    <a:gd name="connsiteX18" fmla="*/ 102804 w 420724"/>
                    <a:gd name="connsiteY18" fmla="*/ 1648 h 763195"/>
                    <a:gd name="connsiteX19" fmla="*/ 116893 w 420724"/>
                    <a:gd name="connsiteY19" fmla="*/ 21007 h 763195"/>
                    <a:gd name="connsiteX20" fmla="*/ 152578 w 420724"/>
                    <a:gd name="connsiteY20" fmla="*/ 31243 h 763195"/>
                    <a:gd name="connsiteX21" fmla="*/ 159816 w 420724"/>
                    <a:gd name="connsiteY21" fmla="*/ 37286 h 763195"/>
                    <a:gd name="connsiteX22" fmla="*/ 169150 w 420724"/>
                    <a:gd name="connsiteY22" fmla="*/ 36314 h 763195"/>
                    <a:gd name="connsiteX23" fmla="*/ 174010 w 420724"/>
                    <a:gd name="connsiteY23" fmla="*/ 35811 h 763195"/>
                    <a:gd name="connsiteX24" fmla="*/ 179339 w 420724"/>
                    <a:gd name="connsiteY24" fmla="*/ 37848 h 763195"/>
                    <a:gd name="connsiteX25" fmla="*/ 184972 w 420724"/>
                    <a:gd name="connsiteY25" fmla="*/ 34768 h 763195"/>
                    <a:gd name="connsiteX26" fmla="*/ 196379 w 420724"/>
                    <a:gd name="connsiteY26" fmla="*/ 38891 h 763195"/>
                    <a:gd name="connsiteX27" fmla="*/ 206966 w 420724"/>
                    <a:gd name="connsiteY27" fmla="*/ 45543 h 763195"/>
                    <a:gd name="connsiteX28" fmla="*/ 213197 w 420724"/>
                    <a:gd name="connsiteY28" fmla="*/ 46210 h 763195"/>
                    <a:gd name="connsiteX29" fmla="*/ 213536 w 420724"/>
                    <a:gd name="connsiteY29" fmla="*/ 52288 h 763195"/>
                    <a:gd name="connsiteX30" fmla="*/ 220610 w 420724"/>
                    <a:gd name="connsiteY30" fmla="*/ 64609 h 763195"/>
                    <a:gd name="connsiteX31" fmla="*/ 225377 w 420724"/>
                    <a:gd name="connsiteY31" fmla="*/ 66003 h 763195"/>
                    <a:gd name="connsiteX32" fmla="*/ 226876 w 420724"/>
                    <a:gd name="connsiteY32" fmla="*/ 69118 h 763195"/>
                    <a:gd name="connsiteX33" fmla="*/ 229148 w 420724"/>
                    <a:gd name="connsiteY33" fmla="*/ 67572 h 763195"/>
                    <a:gd name="connsiteX34" fmla="*/ 253215 w 420724"/>
                    <a:gd name="connsiteY34" fmla="*/ 82458 h 763195"/>
                    <a:gd name="connsiteX35" fmla="*/ 274788 w 420724"/>
                    <a:gd name="connsiteY35" fmla="*/ 98139 h 763195"/>
                    <a:gd name="connsiteX36" fmla="*/ 306748 w 420724"/>
                    <a:gd name="connsiteY36" fmla="*/ 98139 h 763195"/>
                    <a:gd name="connsiteX37" fmla="*/ 307474 w 420724"/>
                    <a:gd name="connsiteY37" fmla="*/ 113563 h 763195"/>
                    <a:gd name="connsiteX38" fmla="*/ 306456 w 420724"/>
                    <a:gd name="connsiteY38" fmla="*/ 138064 h 763195"/>
                    <a:gd name="connsiteX39" fmla="*/ 312182 w 420724"/>
                    <a:gd name="connsiteY39" fmla="*/ 153546 h 763195"/>
                    <a:gd name="connsiteX40" fmla="*/ 309782 w 420724"/>
                    <a:gd name="connsiteY40" fmla="*/ 172812 h 763195"/>
                    <a:gd name="connsiteX41" fmla="*/ 308927 w 420724"/>
                    <a:gd name="connsiteY41" fmla="*/ 178094 h 763195"/>
                    <a:gd name="connsiteX42" fmla="*/ 305191 w 420724"/>
                    <a:gd name="connsiteY42" fmla="*/ 179815 h 763195"/>
                    <a:gd name="connsiteX43" fmla="*/ 306877 w 420724"/>
                    <a:gd name="connsiteY43" fmla="*/ 188025 h 763195"/>
                    <a:gd name="connsiteX44" fmla="*/ 301209 w 420724"/>
                    <a:gd name="connsiteY44" fmla="*/ 208017 h 763195"/>
                    <a:gd name="connsiteX45" fmla="*/ 284028 w 420724"/>
                    <a:gd name="connsiteY45" fmla="*/ 224120 h 763195"/>
                    <a:gd name="connsiteX46" fmla="*/ 293983 w 420724"/>
                    <a:gd name="connsiteY46" fmla="*/ 235738 h 763195"/>
                    <a:gd name="connsiteX47" fmla="*/ 281100 w 420724"/>
                    <a:gd name="connsiteY47" fmla="*/ 236464 h 763195"/>
                    <a:gd name="connsiteX48" fmla="*/ 274682 w 420724"/>
                    <a:gd name="connsiteY48" fmla="*/ 243538 h 763195"/>
                    <a:gd name="connsiteX49" fmla="*/ 274120 w 420724"/>
                    <a:gd name="connsiteY49" fmla="*/ 257943 h 763195"/>
                    <a:gd name="connsiteX50" fmla="*/ 286733 w 420724"/>
                    <a:gd name="connsiteY50" fmla="*/ 280476 h 763195"/>
                    <a:gd name="connsiteX51" fmla="*/ 295529 w 420724"/>
                    <a:gd name="connsiteY51" fmla="*/ 282912 h 763195"/>
                    <a:gd name="connsiteX52" fmla="*/ 290879 w 420724"/>
                    <a:gd name="connsiteY52" fmla="*/ 288323 h 763195"/>
                    <a:gd name="connsiteX53" fmla="*/ 277633 w 420724"/>
                    <a:gd name="connsiteY53" fmla="*/ 313210 h 763195"/>
                    <a:gd name="connsiteX54" fmla="*/ 289087 w 420724"/>
                    <a:gd name="connsiteY54" fmla="*/ 350312 h 763195"/>
                    <a:gd name="connsiteX55" fmla="*/ 288795 w 420724"/>
                    <a:gd name="connsiteY55" fmla="*/ 372716 h 763195"/>
                    <a:gd name="connsiteX56" fmla="*/ 291266 w 420724"/>
                    <a:gd name="connsiteY56" fmla="*/ 400426 h 763195"/>
                    <a:gd name="connsiteX57" fmla="*/ 325311 w 420724"/>
                    <a:gd name="connsiteY57" fmla="*/ 405403 h 763195"/>
                    <a:gd name="connsiteX58" fmla="*/ 339646 w 420724"/>
                    <a:gd name="connsiteY58" fmla="*/ 417056 h 763195"/>
                    <a:gd name="connsiteX59" fmla="*/ 341778 w 420724"/>
                    <a:gd name="connsiteY59" fmla="*/ 433405 h 763195"/>
                    <a:gd name="connsiteX60" fmla="*/ 324409 w 420724"/>
                    <a:gd name="connsiteY60" fmla="*/ 456887 h 763195"/>
                    <a:gd name="connsiteX61" fmla="*/ 299194 w 420724"/>
                    <a:gd name="connsiteY61" fmla="*/ 485451 h 763195"/>
                    <a:gd name="connsiteX62" fmla="*/ 294721 w 420724"/>
                    <a:gd name="connsiteY62" fmla="*/ 497420 h 763195"/>
                    <a:gd name="connsiteX63" fmla="*/ 306959 w 420724"/>
                    <a:gd name="connsiteY63" fmla="*/ 511369 h 763195"/>
                    <a:gd name="connsiteX64" fmla="*/ 316855 w 420724"/>
                    <a:gd name="connsiteY64" fmla="*/ 521206 h 763195"/>
                    <a:gd name="connsiteX65" fmla="*/ 317324 w 420724"/>
                    <a:gd name="connsiteY65" fmla="*/ 527730 h 763195"/>
                    <a:gd name="connsiteX66" fmla="*/ 324889 w 420724"/>
                    <a:gd name="connsiteY66" fmla="*/ 539441 h 763195"/>
                    <a:gd name="connsiteX67" fmla="*/ 333392 w 420724"/>
                    <a:gd name="connsiteY67" fmla="*/ 556142 h 763195"/>
                    <a:gd name="connsiteX68" fmla="*/ 359556 w 420724"/>
                    <a:gd name="connsiteY68" fmla="*/ 572480 h 763195"/>
                    <a:gd name="connsiteX69" fmla="*/ 373293 w 420724"/>
                    <a:gd name="connsiteY69" fmla="*/ 577820 h 763195"/>
                    <a:gd name="connsiteX70" fmla="*/ 381093 w 420724"/>
                    <a:gd name="connsiteY70" fmla="*/ 585912 h 763195"/>
                    <a:gd name="connsiteX71" fmla="*/ 391270 w 420724"/>
                    <a:gd name="connsiteY71" fmla="*/ 591686 h 763195"/>
                    <a:gd name="connsiteX72" fmla="*/ 392887 w 420724"/>
                    <a:gd name="connsiteY72" fmla="*/ 612275 h 763195"/>
                    <a:gd name="connsiteX73" fmla="*/ 390603 w 420724"/>
                    <a:gd name="connsiteY73" fmla="*/ 640629 h 763195"/>
                    <a:gd name="connsiteX74" fmla="*/ 420725 w 420724"/>
                    <a:gd name="connsiteY74" fmla="*/ 649026 h 763195"/>
                    <a:gd name="connsiteX75" fmla="*/ 417434 w 420724"/>
                    <a:gd name="connsiteY75" fmla="*/ 660890 h 763195"/>
                    <a:gd name="connsiteX76" fmla="*/ 413487 w 420724"/>
                    <a:gd name="connsiteY76" fmla="*/ 666429 h 763195"/>
                    <a:gd name="connsiteX77" fmla="*/ 410489 w 420724"/>
                    <a:gd name="connsiteY77" fmla="*/ 676361 h 763195"/>
                    <a:gd name="connsiteX78" fmla="*/ 390907 w 420724"/>
                    <a:gd name="connsiteY78" fmla="*/ 675623 h 763195"/>
                    <a:gd name="connsiteX79" fmla="*/ 382487 w 420724"/>
                    <a:gd name="connsiteY79" fmla="*/ 679160 h 763195"/>
                    <a:gd name="connsiteX80" fmla="*/ 367906 w 420724"/>
                    <a:gd name="connsiteY80" fmla="*/ 682849 h 763195"/>
                    <a:gd name="connsiteX81" fmla="*/ 365119 w 420724"/>
                    <a:gd name="connsiteY81" fmla="*/ 691679 h 763195"/>
                    <a:gd name="connsiteX82" fmla="*/ 357881 w 420724"/>
                    <a:gd name="connsiteY82" fmla="*/ 691352 h 763195"/>
                    <a:gd name="connsiteX83" fmla="*/ 352622 w 420724"/>
                    <a:gd name="connsiteY83" fmla="*/ 695099 h 763195"/>
                    <a:gd name="connsiteX84" fmla="*/ 340571 w 420724"/>
                    <a:gd name="connsiteY84" fmla="*/ 712058 h 763195"/>
                    <a:gd name="connsiteX85" fmla="*/ 337362 w 420724"/>
                    <a:gd name="connsiteY85" fmla="*/ 722738 h 763195"/>
                    <a:gd name="connsiteX86" fmla="*/ 334200 w 420724"/>
                    <a:gd name="connsiteY86" fmla="*/ 724425 h 763195"/>
                    <a:gd name="connsiteX87" fmla="*/ 334950 w 420724"/>
                    <a:gd name="connsiteY87" fmla="*/ 729180 h 763195"/>
                    <a:gd name="connsiteX88" fmla="*/ 330394 w 420724"/>
                    <a:gd name="connsiteY88" fmla="*/ 755999 h 763195"/>
                    <a:gd name="connsiteX89" fmla="*/ 328637 w 420724"/>
                    <a:gd name="connsiteY89" fmla="*/ 753106 h 763195"/>
                    <a:gd name="connsiteX90" fmla="*/ 328860 w 420724"/>
                    <a:gd name="connsiteY90" fmla="*/ 756081 h 763195"/>
                    <a:gd name="connsiteX91" fmla="*/ 324889 w 420724"/>
                    <a:gd name="connsiteY91" fmla="*/ 756468 h 763195"/>
                    <a:gd name="connsiteX92" fmla="*/ 325253 w 420724"/>
                    <a:gd name="connsiteY92" fmla="*/ 760637 h 763195"/>
                    <a:gd name="connsiteX93" fmla="*/ 312873 w 420724"/>
                    <a:gd name="connsiteY93" fmla="*/ 761152 h 763195"/>
                    <a:gd name="connsiteX94" fmla="*/ 279742 w 420724"/>
                    <a:gd name="connsiteY94" fmla="*/ 751479 h 763195"/>
                    <a:gd name="connsiteX95" fmla="*/ 271930 w 420724"/>
                    <a:gd name="connsiteY95" fmla="*/ 751080 h 763195"/>
                    <a:gd name="connsiteX96" fmla="*/ 263392 w 420724"/>
                    <a:gd name="connsiteY96" fmla="*/ 746583 h 763195"/>
                    <a:gd name="connsiteX97" fmla="*/ 258462 w 420724"/>
                    <a:gd name="connsiteY97" fmla="*/ 749441 h 763195"/>
                    <a:gd name="connsiteX98" fmla="*/ 250884 w 420724"/>
                    <a:gd name="connsiteY98" fmla="*/ 746935 h 763195"/>
                    <a:gd name="connsiteX99" fmla="*/ 243975 w 420724"/>
                    <a:gd name="connsiteY99" fmla="*/ 747836 h 763195"/>
                    <a:gd name="connsiteX100" fmla="*/ 238154 w 420724"/>
                    <a:gd name="connsiteY100" fmla="*/ 746138 h 763195"/>
                    <a:gd name="connsiteX101" fmla="*/ 206299 w 420724"/>
                    <a:gd name="connsiteY101" fmla="*/ 743597 h 763195"/>
                    <a:gd name="connsiteX102" fmla="*/ 190383 w 420724"/>
                    <a:gd name="connsiteY102" fmla="*/ 738233 h 763195"/>
                    <a:gd name="connsiteX103" fmla="*/ 165074 w 420724"/>
                    <a:gd name="connsiteY103" fmla="*/ 733185 h 763195"/>
                    <a:gd name="connsiteX104" fmla="*/ 150411 w 420724"/>
                    <a:gd name="connsiteY104" fmla="*/ 736652 h 763195"/>
                    <a:gd name="connsiteX105" fmla="*/ 142119 w 420724"/>
                    <a:gd name="connsiteY105" fmla="*/ 729613 h 763195"/>
                    <a:gd name="connsiteX106" fmla="*/ 131321 w 420724"/>
                    <a:gd name="connsiteY106" fmla="*/ 731873 h 763195"/>
                    <a:gd name="connsiteX107" fmla="*/ 116424 w 420724"/>
                    <a:gd name="connsiteY107" fmla="*/ 725315 h 763195"/>
                    <a:gd name="connsiteX108" fmla="*/ 105041 w 420724"/>
                    <a:gd name="connsiteY108" fmla="*/ 716028 h 763195"/>
                    <a:gd name="connsiteX109" fmla="*/ 100661 w 420724"/>
                    <a:gd name="connsiteY109" fmla="*/ 709434 h 763195"/>
                    <a:gd name="connsiteX110" fmla="*/ 100567 w 420724"/>
                    <a:gd name="connsiteY110" fmla="*/ 699538 h 763195"/>
                    <a:gd name="connsiteX111" fmla="*/ 95660 w 420724"/>
                    <a:gd name="connsiteY111" fmla="*/ 689267 h 763195"/>
                    <a:gd name="connsiteX112" fmla="*/ 87169 w 420724"/>
                    <a:gd name="connsiteY112" fmla="*/ 658126 h 763195"/>
                    <a:gd name="connsiteX113" fmla="*/ 89663 w 420724"/>
                    <a:gd name="connsiteY113" fmla="*/ 655444 h 763195"/>
                    <a:gd name="connsiteX114" fmla="*/ 82906 w 420724"/>
                    <a:gd name="connsiteY114" fmla="*/ 653769 h 763195"/>
                    <a:gd name="connsiteX115" fmla="*/ 85049 w 420724"/>
                    <a:gd name="connsiteY115" fmla="*/ 651228 h 763195"/>
                    <a:gd name="connsiteX116" fmla="*/ 81091 w 420724"/>
                    <a:gd name="connsiteY116" fmla="*/ 647785 h 763195"/>
                    <a:gd name="connsiteX117" fmla="*/ 44726 w 420724"/>
                    <a:gd name="connsiteY117" fmla="*/ 647082 h 763195"/>
                    <a:gd name="connsiteX118" fmla="*/ 32851 w 420724"/>
                    <a:gd name="connsiteY118" fmla="*/ 654565 h 763195"/>
                    <a:gd name="connsiteX119" fmla="*/ 15658 w 420724"/>
                    <a:gd name="connsiteY119" fmla="*/ 661229 h 763195"/>
                    <a:gd name="connsiteX120" fmla="*/ 17111 w 420724"/>
                    <a:gd name="connsiteY120" fmla="*/ 660468 h 763195"/>
                    <a:gd name="connsiteX121" fmla="*/ 47 w 420724"/>
                    <a:gd name="connsiteY121" fmla="*/ 667636 h 763195"/>
                    <a:gd name="connsiteX122" fmla="*/ 47 w 420724"/>
                    <a:gd name="connsiteY122" fmla="*/ 448454 h 763195"/>
                    <a:gd name="connsiteX123" fmla="*/ 47 w 420724"/>
                    <a:gd name="connsiteY123" fmla="*/ 97003 h 763195"/>
                    <a:gd name="connsiteX124" fmla="*/ 0 w 420724"/>
                    <a:gd name="connsiteY124" fmla="*/ 16533 h 763195"/>
                    <a:gd name="connsiteX125" fmla="*/ 0 w 420724"/>
                    <a:gd name="connsiteY125" fmla="*/ 16533 h 763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420724" h="763195">
                      <a:moveTo>
                        <a:pt x="47795" y="660878"/>
                      </a:moveTo>
                      <a:cubicBezTo>
                        <a:pt x="43028" y="671313"/>
                        <a:pt x="35099" y="671220"/>
                        <a:pt x="27042" y="673093"/>
                      </a:cubicBezTo>
                      <a:cubicBezTo>
                        <a:pt x="21912" y="674288"/>
                        <a:pt x="8362" y="682053"/>
                        <a:pt x="3935" y="680682"/>
                      </a:cubicBezTo>
                      <a:cubicBezTo>
                        <a:pt x="2565" y="680261"/>
                        <a:pt x="-796" y="678926"/>
                        <a:pt x="1113" y="675728"/>
                      </a:cubicBezTo>
                      <a:cubicBezTo>
                        <a:pt x="1359" y="675307"/>
                        <a:pt x="12801" y="672566"/>
                        <a:pt x="14815" y="671735"/>
                      </a:cubicBezTo>
                      <a:cubicBezTo>
                        <a:pt x="19336" y="669861"/>
                        <a:pt x="34935" y="665832"/>
                        <a:pt x="24910" y="658981"/>
                      </a:cubicBezTo>
                      <a:cubicBezTo>
                        <a:pt x="28096" y="658009"/>
                        <a:pt x="30438" y="661206"/>
                        <a:pt x="33518" y="660890"/>
                      </a:cubicBezTo>
                      <a:cubicBezTo>
                        <a:pt x="36739" y="660562"/>
                        <a:pt x="39081" y="657810"/>
                        <a:pt x="42056" y="656802"/>
                      </a:cubicBezTo>
                      <a:cubicBezTo>
                        <a:pt x="46026" y="655468"/>
                        <a:pt x="51355" y="654191"/>
                        <a:pt x="53838" y="658185"/>
                      </a:cubicBezTo>
                      <a:cubicBezTo>
                        <a:pt x="51859" y="658875"/>
                        <a:pt x="49680" y="660363"/>
                        <a:pt x="47795" y="660878"/>
                      </a:cubicBezTo>
                      <a:lnTo>
                        <a:pt x="47795" y="660878"/>
                      </a:lnTo>
                      <a:close/>
                      <a:moveTo>
                        <a:pt x="0" y="16533"/>
                      </a:moveTo>
                      <a:cubicBezTo>
                        <a:pt x="8912" y="14156"/>
                        <a:pt x="14827" y="8839"/>
                        <a:pt x="25203" y="9155"/>
                      </a:cubicBezTo>
                      <a:cubicBezTo>
                        <a:pt x="33308" y="9401"/>
                        <a:pt x="40721" y="13383"/>
                        <a:pt x="49153" y="12059"/>
                      </a:cubicBezTo>
                      <a:cubicBezTo>
                        <a:pt x="56789" y="10853"/>
                        <a:pt x="52807" y="9776"/>
                        <a:pt x="55021" y="7047"/>
                      </a:cubicBezTo>
                      <a:cubicBezTo>
                        <a:pt x="58347" y="2936"/>
                        <a:pt x="59050" y="1601"/>
                        <a:pt x="65807" y="758"/>
                      </a:cubicBezTo>
                      <a:cubicBezTo>
                        <a:pt x="68185" y="465"/>
                        <a:pt x="73747" y="-73"/>
                        <a:pt x="76289" y="8"/>
                      </a:cubicBezTo>
                      <a:cubicBezTo>
                        <a:pt x="80470" y="149"/>
                        <a:pt x="84815" y="4178"/>
                        <a:pt x="89898" y="4061"/>
                      </a:cubicBezTo>
                      <a:cubicBezTo>
                        <a:pt x="96163" y="3920"/>
                        <a:pt x="97979" y="-1268"/>
                        <a:pt x="102804" y="1648"/>
                      </a:cubicBezTo>
                      <a:cubicBezTo>
                        <a:pt x="112829" y="7714"/>
                        <a:pt x="103483" y="18349"/>
                        <a:pt x="116893" y="21007"/>
                      </a:cubicBezTo>
                      <a:cubicBezTo>
                        <a:pt x="129108" y="23431"/>
                        <a:pt x="142482" y="23994"/>
                        <a:pt x="152578" y="31243"/>
                      </a:cubicBezTo>
                      <a:cubicBezTo>
                        <a:pt x="156970" y="34393"/>
                        <a:pt x="152402" y="34991"/>
                        <a:pt x="159816" y="37286"/>
                      </a:cubicBezTo>
                      <a:cubicBezTo>
                        <a:pt x="164278" y="38668"/>
                        <a:pt x="165847" y="36677"/>
                        <a:pt x="169150" y="36314"/>
                      </a:cubicBezTo>
                      <a:cubicBezTo>
                        <a:pt x="170321" y="36185"/>
                        <a:pt x="172616" y="35904"/>
                        <a:pt x="174010" y="35811"/>
                      </a:cubicBezTo>
                      <a:cubicBezTo>
                        <a:pt x="174689" y="35764"/>
                        <a:pt x="177968" y="37684"/>
                        <a:pt x="179339" y="37848"/>
                      </a:cubicBezTo>
                      <a:cubicBezTo>
                        <a:pt x="181599" y="38094"/>
                        <a:pt x="183930" y="36314"/>
                        <a:pt x="184972" y="34768"/>
                      </a:cubicBezTo>
                      <a:cubicBezTo>
                        <a:pt x="188556" y="36806"/>
                        <a:pt x="192737" y="37157"/>
                        <a:pt x="196379" y="38891"/>
                      </a:cubicBezTo>
                      <a:cubicBezTo>
                        <a:pt x="200009" y="40612"/>
                        <a:pt x="203160" y="43997"/>
                        <a:pt x="206966" y="45543"/>
                      </a:cubicBezTo>
                      <a:cubicBezTo>
                        <a:pt x="209707" y="46667"/>
                        <a:pt x="210491" y="43224"/>
                        <a:pt x="213197" y="46210"/>
                      </a:cubicBezTo>
                      <a:cubicBezTo>
                        <a:pt x="215059" y="48260"/>
                        <a:pt x="212927" y="50403"/>
                        <a:pt x="213536" y="52288"/>
                      </a:cubicBezTo>
                      <a:cubicBezTo>
                        <a:pt x="214965" y="56610"/>
                        <a:pt x="218151" y="62278"/>
                        <a:pt x="220610" y="64609"/>
                      </a:cubicBezTo>
                      <a:cubicBezTo>
                        <a:pt x="221477" y="65441"/>
                        <a:pt x="224299" y="65534"/>
                        <a:pt x="225377" y="66003"/>
                      </a:cubicBezTo>
                      <a:cubicBezTo>
                        <a:pt x="226337" y="66413"/>
                        <a:pt x="225365" y="68650"/>
                        <a:pt x="226876" y="69118"/>
                      </a:cubicBezTo>
                      <a:cubicBezTo>
                        <a:pt x="227965" y="69446"/>
                        <a:pt x="228059" y="67127"/>
                        <a:pt x="229148" y="67572"/>
                      </a:cubicBezTo>
                      <a:cubicBezTo>
                        <a:pt x="239817" y="71894"/>
                        <a:pt x="246504" y="73323"/>
                        <a:pt x="253215" y="82458"/>
                      </a:cubicBezTo>
                      <a:cubicBezTo>
                        <a:pt x="260581" y="92506"/>
                        <a:pt x="262034" y="98350"/>
                        <a:pt x="274788" y="98139"/>
                      </a:cubicBezTo>
                      <a:cubicBezTo>
                        <a:pt x="281803" y="98022"/>
                        <a:pt x="300951" y="94169"/>
                        <a:pt x="306748" y="98139"/>
                      </a:cubicBezTo>
                      <a:cubicBezTo>
                        <a:pt x="311937" y="101711"/>
                        <a:pt x="307065" y="107883"/>
                        <a:pt x="307474" y="113563"/>
                      </a:cubicBezTo>
                      <a:cubicBezTo>
                        <a:pt x="308130" y="122968"/>
                        <a:pt x="313600" y="129327"/>
                        <a:pt x="306456" y="138064"/>
                      </a:cubicBezTo>
                      <a:cubicBezTo>
                        <a:pt x="315239" y="139387"/>
                        <a:pt x="311632" y="148288"/>
                        <a:pt x="312182" y="153546"/>
                      </a:cubicBezTo>
                      <a:cubicBezTo>
                        <a:pt x="313108" y="162272"/>
                        <a:pt x="314478" y="164017"/>
                        <a:pt x="309782" y="172812"/>
                      </a:cubicBezTo>
                      <a:cubicBezTo>
                        <a:pt x="308997" y="174288"/>
                        <a:pt x="309594" y="176607"/>
                        <a:pt x="308927" y="178094"/>
                      </a:cubicBezTo>
                      <a:cubicBezTo>
                        <a:pt x="308294" y="179488"/>
                        <a:pt x="305729" y="177661"/>
                        <a:pt x="305191" y="179815"/>
                      </a:cubicBezTo>
                      <a:cubicBezTo>
                        <a:pt x="304230" y="183680"/>
                        <a:pt x="306830" y="184664"/>
                        <a:pt x="306877" y="188025"/>
                      </a:cubicBezTo>
                      <a:cubicBezTo>
                        <a:pt x="306936" y="193553"/>
                        <a:pt x="303165" y="203309"/>
                        <a:pt x="301209" y="208017"/>
                      </a:cubicBezTo>
                      <a:cubicBezTo>
                        <a:pt x="297285" y="217456"/>
                        <a:pt x="291582" y="218042"/>
                        <a:pt x="284028" y="224120"/>
                      </a:cubicBezTo>
                      <a:cubicBezTo>
                        <a:pt x="287705" y="227036"/>
                        <a:pt x="290996" y="231475"/>
                        <a:pt x="293983" y="235738"/>
                      </a:cubicBezTo>
                      <a:cubicBezTo>
                        <a:pt x="289696" y="235984"/>
                        <a:pt x="285398" y="236230"/>
                        <a:pt x="281100" y="236464"/>
                      </a:cubicBezTo>
                      <a:cubicBezTo>
                        <a:pt x="280093" y="239392"/>
                        <a:pt x="276638" y="240282"/>
                        <a:pt x="274682" y="243538"/>
                      </a:cubicBezTo>
                      <a:cubicBezTo>
                        <a:pt x="271895" y="248211"/>
                        <a:pt x="273499" y="252860"/>
                        <a:pt x="274120" y="257943"/>
                      </a:cubicBezTo>
                      <a:cubicBezTo>
                        <a:pt x="275724" y="271118"/>
                        <a:pt x="269962" y="277689"/>
                        <a:pt x="286733" y="280476"/>
                      </a:cubicBezTo>
                      <a:cubicBezTo>
                        <a:pt x="289345" y="280909"/>
                        <a:pt x="294276" y="279375"/>
                        <a:pt x="295529" y="282912"/>
                      </a:cubicBezTo>
                      <a:cubicBezTo>
                        <a:pt x="294510" y="280043"/>
                        <a:pt x="290352" y="288873"/>
                        <a:pt x="290879" y="288323"/>
                      </a:cubicBezTo>
                      <a:cubicBezTo>
                        <a:pt x="283712" y="295701"/>
                        <a:pt x="275303" y="301967"/>
                        <a:pt x="277633" y="313210"/>
                      </a:cubicBezTo>
                      <a:cubicBezTo>
                        <a:pt x="280245" y="325800"/>
                        <a:pt x="286007" y="337804"/>
                        <a:pt x="289087" y="350312"/>
                      </a:cubicBezTo>
                      <a:cubicBezTo>
                        <a:pt x="291160" y="358744"/>
                        <a:pt x="289380" y="365748"/>
                        <a:pt x="288795" y="372716"/>
                      </a:cubicBezTo>
                      <a:cubicBezTo>
                        <a:pt x="288338" y="378185"/>
                        <a:pt x="286991" y="396830"/>
                        <a:pt x="291266" y="400426"/>
                      </a:cubicBezTo>
                      <a:cubicBezTo>
                        <a:pt x="296770" y="405063"/>
                        <a:pt x="318144" y="404407"/>
                        <a:pt x="325311" y="405403"/>
                      </a:cubicBezTo>
                      <a:cubicBezTo>
                        <a:pt x="336355" y="406937"/>
                        <a:pt x="336718" y="407663"/>
                        <a:pt x="339646" y="417056"/>
                      </a:cubicBezTo>
                      <a:cubicBezTo>
                        <a:pt x="341485" y="423005"/>
                        <a:pt x="343347" y="427303"/>
                        <a:pt x="341778" y="433405"/>
                      </a:cubicBezTo>
                      <a:cubicBezTo>
                        <a:pt x="339541" y="442142"/>
                        <a:pt x="330886" y="449497"/>
                        <a:pt x="324409" y="456887"/>
                      </a:cubicBezTo>
                      <a:cubicBezTo>
                        <a:pt x="316047" y="466420"/>
                        <a:pt x="307603" y="475941"/>
                        <a:pt x="299194" y="485451"/>
                      </a:cubicBezTo>
                      <a:cubicBezTo>
                        <a:pt x="294135" y="491155"/>
                        <a:pt x="291746" y="491190"/>
                        <a:pt x="294721" y="497420"/>
                      </a:cubicBezTo>
                      <a:cubicBezTo>
                        <a:pt x="297028" y="502269"/>
                        <a:pt x="303399" y="507328"/>
                        <a:pt x="306959" y="511369"/>
                      </a:cubicBezTo>
                      <a:cubicBezTo>
                        <a:pt x="309501" y="514238"/>
                        <a:pt x="315087" y="518232"/>
                        <a:pt x="316855" y="521206"/>
                      </a:cubicBezTo>
                      <a:cubicBezTo>
                        <a:pt x="318249" y="523561"/>
                        <a:pt x="316375" y="525387"/>
                        <a:pt x="317324" y="527730"/>
                      </a:cubicBezTo>
                      <a:cubicBezTo>
                        <a:pt x="319069" y="532028"/>
                        <a:pt x="322992" y="536361"/>
                        <a:pt x="324889" y="539441"/>
                      </a:cubicBezTo>
                      <a:cubicBezTo>
                        <a:pt x="327080" y="542990"/>
                        <a:pt x="329621" y="551586"/>
                        <a:pt x="333392" y="556142"/>
                      </a:cubicBezTo>
                      <a:cubicBezTo>
                        <a:pt x="341157" y="565593"/>
                        <a:pt x="348371" y="569446"/>
                        <a:pt x="359556" y="572480"/>
                      </a:cubicBezTo>
                      <a:cubicBezTo>
                        <a:pt x="364346" y="573780"/>
                        <a:pt x="369417" y="575267"/>
                        <a:pt x="373293" y="577820"/>
                      </a:cubicBezTo>
                      <a:cubicBezTo>
                        <a:pt x="376198" y="579741"/>
                        <a:pt x="377849" y="584543"/>
                        <a:pt x="381093" y="585912"/>
                      </a:cubicBezTo>
                      <a:cubicBezTo>
                        <a:pt x="389865" y="589625"/>
                        <a:pt x="390732" y="579858"/>
                        <a:pt x="391270" y="591686"/>
                      </a:cubicBezTo>
                      <a:cubicBezTo>
                        <a:pt x="391598" y="598912"/>
                        <a:pt x="391856" y="604956"/>
                        <a:pt x="392887" y="612275"/>
                      </a:cubicBezTo>
                      <a:cubicBezTo>
                        <a:pt x="394269" y="622007"/>
                        <a:pt x="394807" y="633953"/>
                        <a:pt x="390603" y="640629"/>
                      </a:cubicBezTo>
                      <a:cubicBezTo>
                        <a:pt x="399035" y="647281"/>
                        <a:pt x="417528" y="634516"/>
                        <a:pt x="420725" y="649026"/>
                      </a:cubicBezTo>
                      <a:cubicBezTo>
                        <a:pt x="412925" y="647996"/>
                        <a:pt x="418090" y="657435"/>
                        <a:pt x="417434" y="660890"/>
                      </a:cubicBezTo>
                      <a:cubicBezTo>
                        <a:pt x="416813" y="664122"/>
                        <a:pt x="414588" y="663056"/>
                        <a:pt x="413487" y="666429"/>
                      </a:cubicBezTo>
                      <a:cubicBezTo>
                        <a:pt x="412000" y="670985"/>
                        <a:pt x="414448" y="674253"/>
                        <a:pt x="410489" y="676361"/>
                      </a:cubicBezTo>
                      <a:cubicBezTo>
                        <a:pt x="406355" y="678551"/>
                        <a:pt x="395850" y="674651"/>
                        <a:pt x="390907" y="675623"/>
                      </a:cubicBezTo>
                      <a:cubicBezTo>
                        <a:pt x="388530" y="676103"/>
                        <a:pt x="385450" y="678609"/>
                        <a:pt x="382487" y="679160"/>
                      </a:cubicBezTo>
                      <a:cubicBezTo>
                        <a:pt x="378435" y="679909"/>
                        <a:pt x="371150" y="679687"/>
                        <a:pt x="367906" y="682849"/>
                      </a:cubicBezTo>
                      <a:cubicBezTo>
                        <a:pt x="366219" y="684489"/>
                        <a:pt x="366114" y="690930"/>
                        <a:pt x="365119" y="691679"/>
                      </a:cubicBezTo>
                      <a:cubicBezTo>
                        <a:pt x="363678" y="692757"/>
                        <a:pt x="359497" y="690871"/>
                        <a:pt x="357881" y="691352"/>
                      </a:cubicBezTo>
                      <a:cubicBezTo>
                        <a:pt x="357518" y="691457"/>
                        <a:pt x="353993" y="694338"/>
                        <a:pt x="352622" y="695099"/>
                      </a:cubicBezTo>
                      <a:cubicBezTo>
                        <a:pt x="342281" y="700791"/>
                        <a:pt x="342316" y="699620"/>
                        <a:pt x="340571" y="712058"/>
                      </a:cubicBezTo>
                      <a:cubicBezTo>
                        <a:pt x="339986" y="716262"/>
                        <a:pt x="338498" y="719787"/>
                        <a:pt x="337362" y="722738"/>
                      </a:cubicBezTo>
                      <a:cubicBezTo>
                        <a:pt x="337351" y="722773"/>
                        <a:pt x="334692" y="723371"/>
                        <a:pt x="334200" y="724425"/>
                      </a:cubicBezTo>
                      <a:cubicBezTo>
                        <a:pt x="333556" y="725784"/>
                        <a:pt x="335371" y="727821"/>
                        <a:pt x="334950" y="729180"/>
                      </a:cubicBezTo>
                      <a:cubicBezTo>
                        <a:pt x="332514" y="737319"/>
                        <a:pt x="334259" y="748024"/>
                        <a:pt x="330394" y="755999"/>
                      </a:cubicBezTo>
                      <a:cubicBezTo>
                        <a:pt x="329797" y="755016"/>
                        <a:pt x="329152" y="754055"/>
                        <a:pt x="328637" y="753106"/>
                      </a:cubicBezTo>
                      <a:cubicBezTo>
                        <a:pt x="328766" y="754395"/>
                        <a:pt x="328426" y="754559"/>
                        <a:pt x="328860" y="756081"/>
                      </a:cubicBezTo>
                      <a:cubicBezTo>
                        <a:pt x="327138" y="755636"/>
                        <a:pt x="326154" y="756514"/>
                        <a:pt x="324889" y="756468"/>
                      </a:cubicBezTo>
                      <a:cubicBezTo>
                        <a:pt x="326845" y="757861"/>
                        <a:pt x="327290" y="758435"/>
                        <a:pt x="325253" y="760637"/>
                      </a:cubicBezTo>
                      <a:cubicBezTo>
                        <a:pt x="321962" y="764197"/>
                        <a:pt x="318671" y="763729"/>
                        <a:pt x="312873" y="761152"/>
                      </a:cubicBezTo>
                      <a:cubicBezTo>
                        <a:pt x="303141" y="756842"/>
                        <a:pt x="291617" y="753950"/>
                        <a:pt x="279742" y="751479"/>
                      </a:cubicBezTo>
                      <a:cubicBezTo>
                        <a:pt x="280058" y="739451"/>
                        <a:pt x="264435" y="742402"/>
                        <a:pt x="271930" y="751080"/>
                      </a:cubicBezTo>
                      <a:cubicBezTo>
                        <a:pt x="268241" y="749148"/>
                        <a:pt x="264130" y="749581"/>
                        <a:pt x="263392" y="746583"/>
                      </a:cubicBezTo>
                      <a:cubicBezTo>
                        <a:pt x="259680" y="745705"/>
                        <a:pt x="256822" y="746044"/>
                        <a:pt x="258462" y="749441"/>
                      </a:cubicBezTo>
                      <a:cubicBezTo>
                        <a:pt x="255967" y="748937"/>
                        <a:pt x="253145" y="747040"/>
                        <a:pt x="250884" y="746935"/>
                      </a:cubicBezTo>
                      <a:cubicBezTo>
                        <a:pt x="248659" y="746829"/>
                        <a:pt x="246036" y="747965"/>
                        <a:pt x="243975" y="747836"/>
                      </a:cubicBezTo>
                      <a:cubicBezTo>
                        <a:pt x="242112" y="747719"/>
                        <a:pt x="239922" y="746314"/>
                        <a:pt x="238154" y="746138"/>
                      </a:cubicBezTo>
                      <a:cubicBezTo>
                        <a:pt x="226161" y="744967"/>
                        <a:pt x="218373" y="741500"/>
                        <a:pt x="206299" y="743597"/>
                      </a:cubicBezTo>
                      <a:cubicBezTo>
                        <a:pt x="196484" y="745295"/>
                        <a:pt x="198698" y="743889"/>
                        <a:pt x="190383" y="738233"/>
                      </a:cubicBezTo>
                      <a:cubicBezTo>
                        <a:pt x="184878" y="734497"/>
                        <a:pt x="167522" y="737226"/>
                        <a:pt x="165074" y="733185"/>
                      </a:cubicBezTo>
                      <a:cubicBezTo>
                        <a:pt x="160073" y="734052"/>
                        <a:pt x="155330" y="737636"/>
                        <a:pt x="150411" y="736652"/>
                      </a:cubicBezTo>
                      <a:cubicBezTo>
                        <a:pt x="144801" y="735528"/>
                        <a:pt x="146265" y="731569"/>
                        <a:pt x="142119" y="729613"/>
                      </a:cubicBezTo>
                      <a:cubicBezTo>
                        <a:pt x="137856" y="727587"/>
                        <a:pt x="135362" y="729894"/>
                        <a:pt x="131321" y="731873"/>
                      </a:cubicBezTo>
                      <a:cubicBezTo>
                        <a:pt x="134776" y="723090"/>
                        <a:pt x="121402" y="725947"/>
                        <a:pt x="116424" y="725315"/>
                      </a:cubicBezTo>
                      <a:cubicBezTo>
                        <a:pt x="108296" y="724308"/>
                        <a:pt x="108648" y="723652"/>
                        <a:pt x="105041" y="716028"/>
                      </a:cubicBezTo>
                      <a:cubicBezTo>
                        <a:pt x="103741" y="713275"/>
                        <a:pt x="101152" y="712104"/>
                        <a:pt x="100661" y="709434"/>
                      </a:cubicBezTo>
                      <a:cubicBezTo>
                        <a:pt x="99888" y="705183"/>
                        <a:pt x="101117" y="703414"/>
                        <a:pt x="100567" y="699538"/>
                      </a:cubicBezTo>
                      <a:cubicBezTo>
                        <a:pt x="100192" y="696821"/>
                        <a:pt x="96105" y="692441"/>
                        <a:pt x="95660" y="689267"/>
                      </a:cubicBezTo>
                      <a:cubicBezTo>
                        <a:pt x="94020" y="677567"/>
                        <a:pt x="95847" y="667179"/>
                        <a:pt x="87169" y="658126"/>
                      </a:cubicBezTo>
                      <a:cubicBezTo>
                        <a:pt x="89874" y="656814"/>
                        <a:pt x="88012" y="657306"/>
                        <a:pt x="89663" y="655444"/>
                      </a:cubicBezTo>
                      <a:cubicBezTo>
                        <a:pt x="86853" y="656065"/>
                        <a:pt x="84382" y="655198"/>
                        <a:pt x="82906" y="653769"/>
                      </a:cubicBezTo>
                      <a:cubicBezTo>
                        <a:pt x="83562" y="653301"/>
                        <a:pt x="84475" y="651802"/>
                        <a:pt x="85049" y="651228"/>
                      </a:cubicBezTo>
                      <a:cubicBezTo>
                        <a:pt x="83573" y="650127"/>
                        <a:pt x="82402" y="648932"/>
                        <a:pt x="81091" y="647785"/>
                      </a:cubicBezTo>
                      <a:cubicBezTo>
                        <a:pt x="69906" y="649377"/>
                        <a:pt x="56859" y="641097"/>
                        <a:pt x="44726" y="647082"/>
                      </a:cubicBezTo>
                      <a:cubicBezTo>
                        <a:pt x="40780" y="649026"/>
                        <a:pt x="37465" y="653066"/>
                        <a:pt x="32851" y="654565"/>
                      </a:cubicBezTo>
                      <a:cubicBezTo>
                        <a:pt x="25391" y="656990"/>
                        <a:pt x="21596" y="654554"/>
                        <a:pt x="15658" y="661229"/>
                      </a:cubicBezTo>
                      <a:cubicBezTo>
                        <a:pt x="16443" y="661393"/>
                        <a:pt x="16607" y="660421"/>
                        <a:pt x="17111" y="660468"/>
                      </a:cubicBezTo>
                      <a:cubicBezTo>
                        <a:pt x="18762" y="671910"/>
                        <a:pt x="5622" y="667109"/>
                        <a:pt x="47" y="667636"/>
                      </a:cubicBezTo>
                      <a:cubicBezTo>
                        <a:pt x="47" y="595376"/>
                        <a:pt x="47" y="521289"/>
                        <a:pt x="47" y="448454"/>
                      </a:cubicBezTo>
                      <a:cubicBezTo>
                        <a:pt x="47" y="331304"/>
                        <a:pt x="47" y="214154"/>
                        <a:pt x="47" y="97003"/>
                      </a:cubicBezTo>
                      <a:cubicBezTo>
                        <a:pt x="0" y="70430"/>
                        <a:pt x="0" y="42591"/>
                        <a:pt x="0" y="16533"/>
                      </a:cubicBezTo>
                      <a:lnTo>
                        <a:pt x="0" y="16533"/>
                      </a:lnTo>
                      <a:close/>
                    </a:path>
                  </a:pathLst>
                </a:custGeom>
                <a:solidFill>
                  <a:srgbClr val="D6D6D2"/>
                </a:solidFill>
                <a:ln w="8774" cap="rnd">
                  <a:solidFill>
                    <a:srgbClr val="FFFFFF"/>
                  </a:solidFill>
                  <a:prstDash val="solid"/>
                  <a:round/>
                </a:ln>
              </p:spPr>
              <p:txBody>
                <a:bodyPr rtlCol="0" anchor="ctr"/>
                <a:lstStyle/>
                <a:p>
                  <a:endParaRPr lang="en-US"/>
                </a:p>
              </p:txBody>
            </p:sp>
            <p:sp>
              <p:nvSpPr>
                <p:cNvPr id="128" name="Freeform: Shape 127">
                  <a:extLst>
                    <a:ext uri="{FF2B5EF4-FFF2-40B4-BE49-F238E27FC236}">
                      <a16:creationId xmlns:a16="http://schemas.microsoft.com/office/drawing/2014/main" id="{44116497-D4C0-4842-A84D-B520D110C719}"/>
                    </a:ext>
                  </a:extLst>
                </p:cNvPr>
                <p:cNvSpPr/>
                <p:nvPr/>
              </p:nvSpPr>
              <p:spPr>
                <a:xfrm>
                  <a:off x="673635" y="4148311"/>
                  <a:ext cx="1523545" cy="1509415"/>
                </a:xfrm>
                <a:custGeom>
                  <a:avLst/>
                  <a:gdLst>
                    <a:gd name="connsiteX0" fmla="*/ 1297473 w 1523545"/>
                    <a:gd name="connsiteY0" fmla="*/ 1220322 h 1509415"/>
                    <a:gd name="connsiteX1" fmla="*/ 1299722 w 1523545"/>
                    <a:gd name="connsiteY1" fmla="*/ 1228848 h 1509415"/>
                    <a:gd name="connsiteX2" fmla="*/ 1300799 w 1523545"/>
                    <a:gd name="connsiteY2" fmla="*/ 1228520 h 1509415"/>
                    <a:gd name="connsiteX3" fmla="*/ 1296841 w 1523545"/>
                    <a:gd name="connsiteY3" fmla="*/ 1232865 h 1509415"/>
                    <a:gd name="connsiteX4" fmla="*/ 1295799 w 1523545"/>
                    <a:gd name="connsiteY4" fmla="*/ 1231518 h 1509415"/>
                    <a:gd name="connsiteX5" fmla="*/ 1299371 w 1523545"/>
                    <a:gd name="connsiteY5" fmla="*/ 1243382 h 1509415"/>
                    <a:gd name="connsiteX6" fmla="*/ 1294358 w 1523545"/>
                    <a:gd name="connsiteY6" fmla="*/ 1245947 h 1509415"/>
                    <a:gd name="connsiteX7" fmla="*/ 1293632 w 1523545"/>
                    <a:gd name="connsiteY7" fmla="*/ 1252869 h 1509415"/>
                    <a:gd name="connsiteX8" fmla="*/ 1292215 w 1523545"/>
                    <a:gd name="connsiteY8" fmla="*/ 1254707 h 1509415"/>
                    <a:gd name="connsiteX9" fmla="*/ 1293281 w 1523545"/>
                    <a:gd name="connsiteY9" fmla="*/ 1281187 h 1509415"/>
                    <a:gd name="connsiteX10" fmla="*/ 1291137 w 1523545"/>
                    <a:gd name="connsiteY10" fmla="*/ 1279348 h 1509415"/>
                    <a:gd name="connsiteX11" fmla="*/ 1288619 w 1523545"/>
                    <a:gd name="connsiteY11" fmla="*/ 1280473 h 1509415"/>
                    <a:gd name="connsiteX12" fmla="*/ 1283958 w 1523545"/>
                    <a:gd name="connsiteY12" fmla="*/ 1299316 h 1509415"/>
                    <a:gd name="connsiteX13" fmla="*/ 1285797 w 1523545"/>
                    <a:gd name="connsiteY13" fmla="*/ 1301506 h 1509415"/>
                    <a:gd name="connsiteX14" fmla="*/ 1282916 w 1523545"/>
                    <a:gd name="connsiteY14" fmla="*/ 1309845 h 1509415"/>
                    <a:gd name="connsiteX15" fmla="*/ 1285867 w 1523545"/>
                    <a:gd name="connsiteY15" fmla="*/ 1311192 h 1509415"/>
                    <a:gd name="connsiteX16" fmla="*/ 1280058 w 1523545"/>
                    <a:gd name="connsiteY16" fmla="*/ 1323770 h 1509415"/>
                    <a:gd name="connsiteX17" fmla="*/ 1281534 w 1523545"/>
                    <a:gd name="connsiteY17" fmla="*/ 1321428 h 1509415"/>
                    <a:gd name="connsiteX18" fmla="*/ 1282834 w 1523545"/>
                    <a:gd name="connsiteY18" fmla="*/ 1320210 h 1509415"/>
                    <a:gd name="connsiteX19" fmla="*/ 1281850 w 1523545"/>
                    <a:gd name="connsiteY19" fmla="*/ 1330153 h 1509415"/>
                    <a:gd name="connsiteX20" fmla="*/ 1278278 w 1523545"/>
                    <a:gd name="connsiteY20" fmla="*/ 1322540 h 1509415"/>
                    <a:gd name="connsiteX21" fmla="*/ 1273148 w 1523545"/>
                    <a:gd name="connsiteY21" fmla="*/ 1311918 h 1509415"/>
                    <a:gd name="connsiteX22" fmla="*/ 1276486 w 1523545"/>
                    <a:gd name="connsiteY22" fmla="*/ 1308756 h 1509415"/>
                    <a:gd name="connsiteX23" fmla="*/ 1276662 w 1523545"/>
                    <a:gd name="connsiteY23" fmla="*/ 1310478 h 1509415"/>
                    <a:gd name="connsiteX24" fmla="*/ 1281639 w 1523545"/>
                    <a:gd name="connsiteY24" fmla="*/ 1291106 h 1509415"/>
                    <a:gd name="connsiteX25" fmla="*/ 1281967 w 1523545"/>
                    <a:gd name="connsiteY25" fmla="*/ 1294093 h 1509415"/>
                    <a:gd name="connsiteX26" fmla="*/ 1284028 w 1523545"/>
                    <a:gd name="connsiteY26" fmla="*/ 1288788 h 1509415"/>
                    <a:gd name="connsiteX27" fmla="*/ 1285855 w 1523545"/>
                    <a:gd name="connsiteY27" fmla="*/ 1288436 h 1509415"/>
                    <a:gd name="connsiteX28" fmla="*/ 1285282 w 1523545"/>
                    <a:gd name="connsiteY28" fmla="*/ 1268211 h 1509415"/>
                    <a:gd name="connsiteX29" fmla="*/ 1286851 w 1523545"/>
                    <a:gd name="connsiteY29" fmla="*/ 1255410 h 1509415"/>
                    <a:gd name="connsiteX30" fmla="*/ 1287928 w 1523545"/>
                    <a:gd name="connsiteY30" fmla="*/ 1241216 h 1509415"/>
                    <a:gd name="connsiteX31" fmla="*/ 1297216 w 1523545"/>
                    <a:gd name="connsiteY31" fmla="*/ 1221212 h 1509415"/>
                    <a:gd name="connsiteX32" fmla="*/ 1297473 w 1523545"/>
                    <a:gd name="connsiteY32" fmla="*/ 1220322 h 1509415"/>
                    <a:gd name="connsiteX33" fmla="*/ 1297473 w 1523545"/>
                    <a:gd name="connsiteY33" fmla="*/ 1220322 h 1509415"/>
                    <a:gd name="connsiteX34" fmla="*/ 506723 w 1523545"/>
                    <a:gd name="connsiteY34" fmla="*/ 3436 h 1509415"/>
                    <a:gd name="connsiteX35" fmla="*/ 514171 w 1523545"/>
                    <a:gd name="connsiteY35" fmla="*/ 63 h 1509415"/>
                    <a:gd name="connsiteX36" fmla="*/ 514511 w 1523545"/>
                    <a:gd name="connsiteY36" fmla="*/ 11072 h 1509415"/>
                    <a:gd name="connsiteX37" fmla="*/ 523142 w 1523545"/>
                    <a:gd name="connsiteY37" fmla="*/ 35256 h 1509415"/>
                    <a:gd name="connsiteX38" fmla="*/ 537067 w 1523545"/>
                    <a:gd name="connsiteY38" fmla="*/ 54592 h 1509415"/>
                    <a:gd name="connsiteX39" fmla="*/ 552187 w 1523545"/>
                    <a:gd name="connsiteY39" fmla="*/ 59581 h 1509415"/>
                    <a:gd name="connsiteX40" fmla="*/ 562270 w 1523545"/>
                    <a:gd name="connsiteY40" fmla="*/ 66268 h 1509415"/>
                    <a:gd name="connsiteX41" fmla="*/ 559916 w 1523545"/>
                    <a:gd name="connsiteY41" fmla="*/ 79362 h 1509415"/>
                    <a:gd name="connsiteX42" fmla="*/ 551953 w 1523545"/>
                    <a:gd name="connsiteY42" fmla="*/ 89000 h 1509415"/>
                    <a:gd name="connsiteX43" fmla="*/ 555501 w 1523545"/>
                    <a:gd name="connsiteY43" fmla="*/ 104987 h 1509415"/>
                    <a:gd name="connsiteX44" fmla="*/ 566205 w 1523545"/>
                    <a:gd name="connsiteY44" fmla="*/ 129019 h 1509415"/>
                    <a:gd name="connsiteX45" fmla="*/ 579240 w 1523545"/>
                    <a:gd name="connsiteY45" fmla="*/ 135671 h 1509415"/>
                    <a:gd name="connsiteX46" fmla="*/ 583749 w 1523545"/>
                    <a:gd name="connsiteY46" fmla="*/ 147956 h 1509415"/>
                    <a:gd name="connsiteX47" fmla="*/ 592674 w 1523545"/>
                    <a:gd name="connsiteY47" fmla="*/ 163181 h 1509415"/>
                    <a:gd name="connsiteX48" fmla="*/ 584546 w 1523545"/>
                    <a:gd name="connsiteY48" fmla="*/ 173054 h 1509415"/>
                    <a:gd name="connsiteX49" fmla="*/ 576629 w 1523545"/>
                    <a:gd name="connsiteY49" fmla="*/ 175314 h 1509415"/>
                    <a:gd name="connsiteX50" fmla="*/ 567459 w 1523545"/>
                    <a:gd name="connsiteY50" fmla="*/ 182821 h 1509415"/>
                    <a:gd name="connsiteX51" fmla="*/ 553100 w 1523545"/>
                    <a:gd name="connsiteY51" fmla="*/ 174494 h 1509415"/>
                    <a:gd name="connsiteX52" fmla="*/ 551976 w 1523545"/>
                    <a:gd name="connsiteY52" fmla="*/ 167866 h 1509415"/>
                    <a:gd name="connsiteX53" fmla="*/ 544961 w 1523545"/>
                    <a:gd name="connsiteY53" fmla="*/ 171578 h 1509415"/>
                    <a:gd name="connsiteX54" fmla="*/ 537184 w 1523545"/>
                    <a:gd name="connsiteY54" fmla="*/ 181100 h 1509415"/>
                    <a:gd name="connsiteX55" fmla="*/ 538274 w 1523545"/>
                    <a:gd name="connsiteY55" fmla="*/ 189157 h 1509415"/>
                    <a:gd name="connsiteX56" fmla="*/ 541764 w 1523545"/>
                    <a:gd name="connsiteY56" fmla="*/ 193713 h 1509415"/>
                    <a:gd name="connsiteX57" fmla="*/ 550688 w 1523545"/>
                    <a:gd name="connsiteY57" fmla="*/ 204206 h 1509415"/>
                    <a:gd name="connsiteX58" fmla="*/ 551414 w 1523545"/>
                    <a:gd name="connsiteY58" fmla="*/ 211339 h 1509415"/>
                    <a:gd name="connsiteX59" fmla="*/ 550442 w 1523545"/>
                    <a:gd name="connsiteY59" fmla="*/ 219244 h 1509415"/>
                    <a:gd name="connsiteX60" fmla="*/ 553662 w 1523545"/>
                    <a:gd name="connsiteY60" fmla="*/ 223847 h 1509415"/>
                    <a:gd name="connsiteX61" fmla="*/ 556672 w 1523545"/>
                    <a:gd name="connsiteY61" fmla="*/ 227958 h 1509415"/>
                    <a:gd name="connsiteX62" fmla="*/ 551238 w 1523545"/>
                    <a:gd name="connsiteY62" fmla="*/ 232396 h 1509415"/>
                    <a:gd name="connsiteX63" fmla="*/ 553417 w 1523545"/>
                    <a:gd name="connsiteY63" fmla="*/ 239669 h 1509415"/>
                    <a:gd name="connsiteX64" fmla="*/ 556391 w 1523545"/>
                    <a:gd name="connsiteY64" fmla="*/ 245490 h 1509415"/>
                    <a:gd name="connsiteX65" fmla="*/ 562048 w 1523545"/>
                    <a:gd name="connsiteY65" fmla="*/ 241836 h 1509415"/>
                    <a:gd name="connsiteX66" fmla="*/ 565081 w 1523545"/>
                    <a:gd name="connsiteY66" fmla="*/ 243815 h 1509415"/>
                    <a:gd name="connsiteX67" fmla="*/ 579475 w 1523545"/>
                    <a:gd name="connsiteY67" fmla="*/ 249600 h 1509415"/>
                    <a:gd name="connsiteX68" fmla="*/ 593294 w 1523545"/>
                    <a:gd name="connsiteY68" fmla="*/ 264357 h 1509415"/>
                    <a:gd name="connsiteX69" fmla="*/ 606001 w 1523545"/>
                    <a:gd name="connsiteY69" fmla="*/ 263537 h 1509415"/>
                    <a:gd name="connsiteX70" fmla="*/ 620406 w 1523545"/>
                    <a:gd name="connsiteY70" fmla="*/ 272637 h 1509415"/>
                    <a:gd name="connsiteX71" fmla="*/ 629916 w 1523545"/>
                    <a:gd name="connsiteY71" fmla="*/ 279137 h 1509415"/>
                    <a:gd name="connsiteX72" fmla="*/ 627726 w 1523545"/>
                    <a:gd name="connsiteY72" fmla="*/ 282322 h 1509415"/>
                    <a:gd name="connsiteX73" fmla="*/ 627867 w 1523545"/>
                    <a:gd name="connsiteY73" fmla="*/ 287499 h 1509415"/>
                    <a:gd name="connsiteX74" fmla="*/ 655834 w 1523545"/>
                    <a:gd name="connsiteY74" fmla="*/ 296810 h 1509415"/>
                    <a:gd name="connsiteX75" fmla="*/ 659265 w 1523545"/>
                    <a:gd name="connsiteY75" fmla="*/ 301166 h 1509415"/>
                    <a:gd name="connsiteX76" fmla="*/ 668564 w 1523545"/>
                    <a:gd name="connsiteY76" fmla="*/ 304504 h 1509415"/>
                    <a:gd name="connsiteX77" fmla="*/ 664582 w 1523545"/>
                    <a:gd name="connsiteY77" fmla="*/ 307479 h 1509415"/>
                    <a:gd name="connsiteX78" fmla="*/ 649076 w 1523545"/>
                    <a:gd name="connsiteY78" fmla="*/ 322118 h 1509415"/>
                    <a:gd name="connsiteX79" fmla="*/ 641452 w 1523545"/>
                    <a:gd name="connsiteY79" fmla="*/ 331651 h 1509415"/>
                    <a:gd name="connsiteX80" fmla="*/ 636978 w 1523545"/>
                    <a:gd name="connsiteY80" fmla="*/ 334896 h 1509415"/>
                    <a:gd name="connsiteX81" fmla="*/ 638009 w 1523545"/>
                    <a:gd name="connsiteY81" fmla="*/ 338924 h 1509415"/>
                    <a:gd name="connsiteX82" fmla="*/ 633195 w 1523545"/>
                    <a:gd name="connsiteY82" fmla="*/ 348902 h 1509415"/>
                    <a:gd name="connsiteX83" fmla="*/ 631122 w 1523545"/>
                    <a:gd name="connsiteY83" fmla="*/ 355555 h 1509415"/>
                    <a:gd name="connsiteX84" fmla="*/ 631942 w 1523545"/>
                    <a:gd name="connsiteY84" fmla="*/ 364935 h 1509415"/>
                    <a:gd name="connsiteX85" fmla="*/ 629905 w 1523545"/>
                    <a:gd name="connsiteY85" fmla="*/ 364444 h 1509415"/>
                    <a:gd name="connsiteX86" fmla="*/ 627012 w 1523545"/>
                    <a:gd name="connsiteY86" fmla="*/ 369433 h 1509415"/>
                    <a:gd name="connsiteX87" fmla="*/ 624025 w 1523545"/>
                    <a:gd name="connsiteY87" fmla="*/ 375804 h 1509415"/>
                    <a:gd name="connsiteX88" fmla="*/ 621097 w 1523545"/>
                    <a:gd name="connsiteY88" fmla="*/ 386227 h 1509415"/>
                    <a:gd name="connsiteX89" fmla="*/ 643970 w 1523545"/>
                    <a:gd name="connsiteY89" fmla="*/ 401253 h 1509415"/>
                    <a:gd name="connsiteX90" fmla="*/ 654792 w 1523545"/>
                    <a:gd name="connsiteY90" fmla="*/ 400972 h 1509415"/>
                    <a:gd name="connsiteX91" fmla="*/ 670274 w 1523545"/>
                    <a:gd name="connsiteY91" fmla="*/ 410002 h 1509415"/>
                    <a:gd name="connsiteX92" fmla="*/ 680557 w 1523545"/>
                    <a:gd name="connsiteY92" fmla="*/ 413937 h 1509415"/>
                    <a:gd name="connsiteX93" fmla="*/ 685417 w 1523545"/>
                    <a:gd name="connsiteY93" fmla="*/ 424793 h 1509415"/>
                    <a:gd name="connsiteX94" fmla="*/ 691296 w 1523545"/>
                    <a:gd name="connsiteY94" fmla="*/ 423973 h 1509415"/>
                    <a:gd name="connsiteX95" fmla="*/ 696531 w 1523545"/>
                    <a:gd name="connsiteY95" fmla="*/ 429876 h 1509415"/>
                    <a:gd name="connsiteX96" fmla="*/ 714532 w 1523545"/>
                    <a:gd name="connsiteY96" fmla="*/ 441037 h 1509415"/>
                    <a:gd name="connsiteX97" fmla="*/ 724229 w 1523545"/>
                    <a:gd name="connsiteY97" fmla="*/ 437981 h 1509415"/>
                    <a:gd name="connsiteX98" fmla="*/ 732732 w 1523545"/>
                    <a:gd name="connsiteY98" fmla="*/ 443216 h 1509415"/>
                    <a:gd name="connsiteX99" fmla="*/ 746949 w 1523545"/>
                    <a:gd name="connsiteY99" fmla="*/ 451718 h 1509415"/>
                    <a:gd name="connsiteX100" fmla="*/ 759493 w 1523545"/>
                    <a:gd name="connsiteY100" fmla="*/ 452760 h 1509415"/>
                    <a:gd name="connsiteX101" fmla="*/ 760875 w 1523545"/>
                    <a:gd name="connsiteY101" fmla="*/ 460186 h 1509415"/>
                    <a:gd name="connsiteX102" fmla="*/ 768522 w 1523545"/>
                    <a:gd name="connsiteY102" fmla="*/ 461907 h 1509415"/>
                    <a:gd name="connsiteX103" fmla="*/ 785082 w 1523545"/>
                    <a:gd name="connsiteY103" fmla="*/ 466135 h 1509415"/>
                    <a:gd name="connsiteX104" fmla="*/ 791875 w 1523545"/>
                    <a:gd name="connsiteY104" fmla="*/ 470105 h 1509415"/>
                    <a:gd name="connsiteX105" fmla="*/ 795131 w 1523545"/>
                    <a:gd name="connsiteY105" fmla="*/ 462868 h 1509415"/>
                    <a:gd name="connsiteX106" fmla="*/ 818472 w 1523545"/>
                    <a:gd name="connsiteY106" fmla="*/ 464917 h 1509415"/>
                    <a:gd name="connsiteX107" fmla="*/ 827501 w 1523545"/>
                    <a:gd name="connsiteY107" fmla="*/ 464531 h 1509415"/>
                    <a:gd name="connsiteX108" fmla="*/ 835746 w 1523545"/>
                    <a:gd name="connsiteY108" fmla="*/ 462774 h 1509415"/>
                    <a:gd name="connsiteX109" fmla="*/ 841063 w 1523545"/>
                    <a:gd name="connsiteY109" fmla="*/ 467470 h 1509415"/>
                    <a:gd name="connsiteX110" fmla="*/ 859427 w 1523545"/>
                    <a:gd name="connsiteY110" fmla="*/ 472799 h 1509415"/>
                    <a:gd name="connsiteX111" fmla="*/ 868058 w 1523545"/>
                    <a:gd name="connsiteY111" fmla="*/ 488820 h 1509415"/>
                    <a:gd name="connsiteX112" fmla="*/ 880238 w 1523545"/>
                    <a:gd name="connsiteY112" fmla="*/ 497944 h 1509415"/>
                    <a:gd name="connsiteX113" fmla="*/ 885684 w 1523545"/>
                    <a:gd name="connsiteY113" fmla="*/ 496819 h 1509415"/>
                    <a:gd name="connsiteX114" fmla="*/ 887898 w 1523545"/>
                    <a:gd name="connsiteY114" fmla="*/ 500297 h 1509415"/>
                    <a:gd name="connsiteX115" fmla="*/ 898157 w 1523545"/>
                    <a:gd name="connsiteY115" fmla="*/ 502335 h 1509415"/>
                    <a:gd name="connsiteX116" fmla="*/ 907433 w 1523545"/>
                    <a:gd name="connsiteY116" fmla="*/ 498623 h 1509415"/>
                    <a:gd name="connsiteX117" fmla="*/ 915900 w 1523545"/>
                    <a:gd name="connsiteY117" fmla="*/ 506739 h 1509415"/>
                    <a:gd name="connsiteX118" fmla="*/ 930165 w 1523545"/>
                    <a:gd name="connsiteY118" fmla="*/ 509222 h 1509415"/>
                    <a:gd name="connsiteX119" fmla="*/ 939065 w 1523545"/>
                    <a:gd name="connsiteY119" fmla="*/ 511634 h 1509415"/>
                    <a:gd name="connsiteX120" fmla="*/ 945718 w 1523545"/>
                    <a:gd name="connsiteY120" fmla="*/ 511107 h 1509415"/>
                    <a:gd name="connsiteX121" fmla="*/ 968649 w 1523545"/>
                    <a:gd name="connsiteY121" fmla="*/ 522081 h 1509415"/>
                    <a:gd name="connsiteX122" fmla="*/ 985759 w 1523545"/>
                    <a:gd name="connsiteY122" fmla="*/ 512817 h 1509415"/>
                    <a:gd name="connsiteX123" fmla="*/ 992763 w 1523545"/>
                    <a:gd name="connsiteY123" fmla="*/ 522983 h 1509415"/>
                    <a:gd name="connsiteX124" fmla="*/ 997096 w 1523545"/>
                    <a:gd name="connsiteY124" fmla="*/ 524974 h 1509415"/>
                    <a:gd name="connsiteX125" fmla="*/ 1002917 w 1523545"/>
                    <a:gd name="connsiteY125" fmla="*/ 522303 h 1509415"/>
                    <a:gd name="connsiteX126" fmla="*/ 1016771 w 1523545"/>
                    <a:gd name="connsiteY126" fmla="*/ 522819 h 1509415"/>
                    <a:gd name="connsiteX127" fmla="*/ 1026012 w 1523545"/>
                    <a:gd name="connsiteY127" fmla="*/ 520851 h 1509415"/>
                    <a:gd name="connsiteX128" fmla="*/ 1030240 w 1523545"/>
                    <a:gd name="connsiteY128" fmla="*/ 520488 h 1509415"/>
                    <a:gd name="connsiteX129" fmla="*/ 1034104 w 1523545"/>
                    <a:gd name="connsiteY129" fmla="*/ 524400 h 1509415"/>
                    <a:gd name="connsiteX130" fmla="*/ 1041096 w 1523545"/>
                    <a:gd name="connsiteY130" fmla="*/ 512642 h 1509415"/>
                    <a:gd name="connsiteX131" fmla="*/ 1043427 w 1523545"/>
                    <a:gd name="connsiteY131" fmla="*/ 496526 h 1509415"/>
                    <a:gd name="connsiteX132" fmla="*/ 1035533 w 1523545"/>
                    <a:gd name="connsiteY132" fmla="*/ 485178 h 1509415"/>
                    <a:gd name="connsiteX133" fmla="*/ 1037583 w 1523545"/>
                    <a:gd name="connsiteY133" fmla="*/ 464226 h 1509415"/>
                    <a:gd name="connsiteX134" fmla="*/ 1042970 w 1523545"/>
                    <a:gd name="connsiteY134" fmla="*/ 448263 h 1509415"/>
                    <a:gd name="connsiteX135" fmla="*/ 1044305 w 1523545"/>
                    <a:gd name="connsiteY135" fmla="*/ 442642 h 1509415"/>
                    <a:gd name="connsiteX136" fmla="*/ 1041225 w 1523545"/>
                    <a:gd name="connsiteY136" fmla="*/ 439807 h 1509415"/>
                    <a:gd name="connsiteX137" fmla="*/ 1062915 w 1523545"/>
                    <a:gd name="connsiteY137" fmla="*/ 430567 h 1509415"/>
                    <a:gd name="connsiteX138" fmla="*/ 1074134 w 1523545"/>
                    <a:gd name="connsiteY138" fmla="*/ 429935 h 1509415"/>
                    <a:gd name="connsiteX139" fmla="*/ 1079451 w 1523545"/>
                    <a:gd name="connsiteY139" fmla="*/ 438753 h 1509415"/>
                    <a:gd name="connsiteX140" fmla="*/ 1074380 w 1523545"/>
                    <a:gd name="connsiteY140" fmla="*/ 459049 h 1509415"/>
                    <a:gd name="connsiteX141" fmla="*/ 1079932 w 1523545"/>
                    <a:gd name="connsiteY141" fmla="*/ 469742 h 1509415"/>
                    <a:gd name="connsiteX142" fmla="*/ 1079885 w 1523545"/>
                    <a:gd name="connsiteY142" fmla="*/ 474321 h 1509415"/>
                    <a:gd name="connsiteX143" fmla="*/ 1074146 w 1523545"/>
                    <a:gd name="connsiteY143" fmla="*/ 479650 h 1509415"/>
                    <a:gd name="connsiteX144" fmla="*/ 1079100 w 1523545"/>
                    <a:gd name="connsiteY144" fmla="*/ 484124 h 1509415"/>
                    <a:gd name="connsiteX145" fmla="*/ 1080189 w 1523545"/>
                    <a:gd name="connsiteY145" fmla="*/ 492345 h 1509415"/>
                    <a:gd name="connsiteX146" fmla="*/ 1094196 w 1523545"/>
                    <a:gd name="connsiteY146" fmla="*/ 499642 h 1509415"/>
                    <a:gd name="connsiteX147" fmla="*/ 1119095 w 1523545"/>
                    <a:gd name="connsiteY147" fmla="*/ 504935 h 1509415"/>
                    <a:gd name="connsiteX148" fmla="*/ 1132200 w 1523545"/>
                    <a:gd name="connsiteY148" fmla="*/ 504760 h 1509415"/>
                    <a:gd name="connsiteX149" fmla="*/ 1144743 w 1523545"/>
                    <a:gd name="connsiteY149" fmla="*/ 503776 h 1509415"/>
                    <a:gd name="connsiteX150" fmla="*/ 1155330 w 1523545"/>
                    <a:gd name="connsiteY150" fmla="*/ 496995 h 1509415"/>
                    <a:gd name="connsiteX151" fmla="*/ 1170731 w 1523545"/>
                    <a:gd name="connsiteY151" fmla="*/ 501621 h 1509415"/>
                    <a:gd name="connsiteX152" fmla="*/ 1192901 w 1523545"/>
                    <a:gd name="connsiteY152" fmla="*/ 501386 h 1509415"/>
                    <a:gd name="connsiteX153" fmla="*/ 1206264 w 1523545"/>
                    <a:gd name="connsiteY153" fmla="*/ 501820 h 1509415"/>
                    <a:gd name="connsiteX154" fmla="*/ 1213431 w 1523545"/>
                    <a:gd name="connsiteY154" fmla="*/ 496620 h 1509415"/>
                    <a:gd name="connsiteX155" fmla="*/ 1225916 w 1523545"/>
                    <a:gd name="connsiteY155" fmla="*/ 500602 h 1509415"/>
                    <a:gd name="connsiteX156" fmla="*/ 1238061 w 1523545"/>
                    <a:gd name="connsiteY156" fmla="*/ 500344 h 1509415"/>
                    <a:gd name="connsiteX157" fmla="*/ 1238810 w 1523545"/>
                    <a:gd name="connsiteY157" fmla="*/ 495952 h 1509415"/>
                    <a:gd name="connsiteX158" fmla="*/ 1247887 w 1523545"/>
                    <a:gd name="connsiteY158" fmla="*/ 489605 h 1509415"/>
                    <a:gd name="connsiteX159" fmla="*/ 1245509 w 1523545"/>
                    <a:gd name="connsiteY159" fmla="*/ 478549 h 1509415"/>
                    <a:gd name="connsiteX160" fmla="*/ 1244725 w 1523545"/>
                    <a:gd name="connsiteY160" fmla="*/ 464952 h 1509415"/>
                    <a:gd name="connsiteX161" fmla="*/ 1231748 w 1523545"/>
                    <a:gd name="connsiteY161" fmla="*/ 465889 h 1509415"/>
                    <a:gd name="connsiteX162" fmla="*/ 1232018 w 1523545"/>
                    <a:gd name="connsiteY162" fmla="*/ 446389 h 1509415"/>
                    <a:gd name="connsiteX163" fmla="*/ 1245779 w 1523545"/>
                    <a:gd name="connsiteY163" fmla="*/ 446893 h 1509415"/>
                    <a:gd name="connsiteX164" fmla="*/ 1254785 w 1523545"/>
                    <a:gd name="connsiteY164" fmla="*/ 443930 h 1509415"/>
                    <a:gd name="connsiteX165" fmla="*/ 1256905 w 1523545"/>
                    <a:gd name="connsiteY165" fmla="*/ 440651 h 1509415"/>
                    <a:gd name="connsiteX166" fmla="*/ 1260254 w 1523545"/>
                    <a:gd name="connsiteY166" fmla="*/ 445101 h 1509415"/>
                    <a:gd name="connsiteX167" fmla="*/ 1261554 w 1523545"/>
                    <a:gd name="connsiteY167" fmla="*/ 442466 h 1509415"/>
                    <a:gd name="connsiteX168" fmla="*/ 1263592 w 1523545"/>
                    <a:gd name="connsiteY168" fmla="*/ 444105 h 1509415"/>
                    <a:gd name="connsiteX169" fmla="*/ 1264880 w 1523545"/>
                    <a:gd name="connsiteY169" fmla="*/ 441166 h 1509415"/>
                    <a:gd name="connsiteX170" fmla="*/ 1280843 w 1523545"/>
                    <a:gd name="connsiteY170" fmla="*/ 432054 h 1509415"/>
                    <a:gd name="connsiteX171" fmla="*/ 1282108 w 1523545"/>
                    <a:gd name="connsiteY171" fmla="*/ 423751 h 1509415"/>
                    <a:gd name="connsiteX172" fmla="*/ 1290481 w 1523545"/>
                    <a:gd name="connsiteY172" fmla="*/ 420167 h 1509415"/>
                    <a:gd name="connsiteX173" fmla="*/ 1311703 w 1523545"/>
                    <a:gd name="connsiteY173" fmla="*/ 400117 h 1509415"/>
                    <a:gd name="connsiteX174" fmla="*/ 1341919 w 1523545"/>
                    <a:gd name="connsiteY174" fmla="*/ 389026 h 1509415"/>
                    <a:gd name="connsiteX175" fmla="*/ 1366817 w 1523545"/>
                    <a:gd name="connsiteY175" fmla="*/ 375089 h 1509415"/>
                    <a:gd name="connsiteX176" fmla="*/ 1368152 w 1523545"/>
                    <a:gd name="connsiteY176" fmla="*/ 365334 h 1509415"/>
                    <a:gd name="connsiteX177" fmla="*/ 1373774 w 1523545"/>
                    <a:gd name="connsiteY177" fmla="*/ 364444 h 1509415"/>
                    <a:gd name="connsiteX178" fmla="*/ 1379091 w 1523545"/>
                    <a:gd name="connsiteY178" fmla="*/ 359279 h 1509415"/>
                    <a:gd name="connsiteX179" fmla="*/ 1388577 w 1523545"/>
                    <a:gd name="connsiteY179" fmla="*/ 365451 h 1509415"/>
                    <a:gd name="connsiteX180" fmla="*/ 1400254 w 1523545"/>
                    <a:gd name="connsiteY180" fmla="*/ 369421 h 1509415"/>
                    <a:gd name="connsiteX181" fmla="*/ 1398497 w 1523545"/>
                    <a:gd name="connsiteY181" fmla="*/ 366880 h 1509415"/>
                    <a:gd name="connsiteX182" fmla="*/ 1415561 w 1523545"/>
                    <a:gd name="connsiteY182" fmla="*/ 373485 h 1509415"/>
                    <a:gd name="connsiteX183" fmla="*/ 1424087 w 1523545"/>
                    <a:gd name="connsiteY183" fmla="*/ 365896 h 1509415"/>
                    <a:gd name="connsiteX184" fmla="*/ 1425199 w 1523545"/>
                    <a:gd name="connsiteY184" fmla="*/ 369515 h 1509415"/>
                    <a:gd name="connsiteX185" fmla="*/ 1432472 w 1523545"/>
                    <a:gd name="connsiteY185" fmla="*/ 362593 h 1509415"/>
                    <a:gd name="connsiteX186" fmla="*/ 1439066 w 1523545"/>
                    <a:gd name="connsiteY186" fmla="*/ 362500 h 1509415"/>
                    <a:gd name="connsiteX187" fmla="*/ 1440951 w 1523545"/>
                    <a:gd name="connsiteY187" fmla="*/ 356913 h 1509415"/>
                    <a:gd name="connsiteX188" fmla="*/ 1453775 w 1523545"/>
                    <a:gd name="connsiteY188" fmla="*/ 355777 h 1509415"/>
                    <a:gd name="connsiteX189" fmla="*/ 1462981 w 1523545"/>
                    <a:gd name="connsiteY189" fmla="*/ 361036 h 1509415"/>
                    <a:gd name="connsiteX190" fmla="*/ 1469902 w 1523545"/>
                    <a:gd name="connsiteY190" fmla="*/ 360848 h 1509415"/>
                    <a:gd name="connsiteX191" fmla="*/ 1463238 w 1523545"/>
                    <a:gd name="connsiteY191" fmla="*/ 374949 h 1509415"/>
                    <a:gd name="connsiteX192" fmla="*/ 1471354 w 1523545"/>
                    <a:gd name="connsiteY192" fmla="*/ 370943 h 1509415"/>
                    <a:gd name="connsiteX193" fmla="*/ 1479412 w 1523545"/>
                    <a:gd name="connsiteY193" fmla="*/ 381730 h 1509415"/>
                    <a:gd name="connsiteX194" fmla="*/ 1475746 w 1523545"/>
                    <a:gd name="connsiteY194" fmla="*/ 398524 h 1509415"/>
                    <a:gd name="connsiteX195" fmla="*/ 1478885 w 1523545"/>
                    <a:gd name="connsiteY195" fmla="*/ 409252 h 1509415"/>
                    <a:gd name="connsiteX196" fmla="*/ 1495070 w 1523545"/>
                    <a:gd name="connsiteY196" fmla="*/ 404872 h 1509415"/>
                    <a:gd name="connsiteX197" fmla="*/ 1502612 w 1523545"/>
                    <a:gd name="connsiteY197" fmla="*/ 414194 h 1509415"/>
                    <a:gd name="connsiteX198" fmla="*/ 1510248 w 1523545"/>
                    <a:gd name="connsiteY198" fmla="*/ 412110 h 1509415"/>
                    <a:gd name="connsiteX199" fmla="*/ 1522335 w 1523545"/>
                    <a:gd name="connsiteY199" fmla="*/ 422345 h 1509415"/>
                    <a:gd name="connsiteX200" fmla="*/ 1520472 w 1523545"/>
                    <a:gd name="connsiteY200" fmla="*/ 427721 h 1509415"/>
                    <a:gd name="connsiteX201" fmla="*/ 1523119 w 1523545"/>
                    <a:gd name="connsiteY201" fmla="*/ 431106 h 1509415"/>
                    <a:gd name="connsiteX202" fmla="*/ 1522756 w 1523545"/>
                    <a:gd name="connsiteY202" fmla="*/ 437945 h 1509415"/>
                    <a:gd name="connsiteX203" fmla="*/ 1515109 w 1523545"/>
                    <a:gd name="connsiteY203" fmla="*/ 440698 h 1509415"/>
                    <a:gd name="connsiteX204" fmla="*/ 1506290 w 1523545"/>
                    <a:gd name="connsiteY204" fmla="*/ 447760 h 1509415"/>
                    <a:gd name="connsiteX205" fmla="*/ 1505388 w 1523545"/>
                    <a:gd name="connsiteY205" fmla="*/ 472846 h 1509415"/>
                    <a:gd name="connsiteX206" fmla="*/ 1511431 w 1523545"/>
                    <a:gd name="connsiteY206" fmla="*/ 484405 h 1509415"/>
                    <a:gd name="connsiteX207" fmla="*/ 1498689 w 1523545"/>
                    <a:gd name="connsiteY207" fmla="*/ 479884 h 1509415"/>
                    <a:gd name="connsiteX208" fmla="*/ 1492213 w 1523545"/>
                    <a:gd name="connsiteY208" fmla="*/ 469930 h 1509415"/>
                    <a:gd name="connsiteX209" fmla="*/ 1482410 w 1523545"/>
                    <a:gd name="connsiteY209" fmla="*/ 471194 h 1509415"/>
                    <a:gd name="connsiteX210" fmla="*/ 1459666 w 1523545"/>
                    <a:gd name="connsiteY210" fmla="*/ 475211 h 1509415"/>
                    <a:gd name="connsiteX211" fmla="*/ 1449852 w 1523545"/>
                    <a:gd name="connsiteY211" fmla="*/ 484791 h 1509415"/>
                    <a:gd name="connsiteX212" fmla="*/ 1442497 w 1523545"/>
                    <a:gd name="connsiteY212" fmla="*/ 489183 h 1509415"/>
                    <a:gd name="connsiteX213" fmla="*/ 1431324 w 1523545"/>
                    <a:gd name="connsiteY213" fmla="*/ 499419 h 1509415"/>
                    <a:gd name="connsiteX214" fmla="*/ 1425024 w 1523545"/>
                    <a:gd name="connsiteY214" fmla="*/ 501785 h 1509415"/>
                    <a:gd name="connsiteX215" fmla="*/ 1415971 w 1523545"/>
                    <a:gd name="connsiteY215" fmla="*/ 508531 h 1509415"/>
                    <a:gd name="connsiteX216" fmla="*/ 1407327 w 1523545"/>
                    <a:gd name="connsiteY216" fmla="*/ 511049 h 1509415"/>
                    <a:gd name="connsiteX217" fmla="*/ 1404247 w 1523545"/>
                    <a:gd name="connsiteY217" fmla="*/ 521940 h 1509415"/>
                    <a:gd name="connsiteX218" fmla="*/ 1406554 w 1523545"/>
                    <a:gd name="connsiteY218" fmla="*/ 545551 h 1509415"/>
                    <a:gd name="connsiteX219" fmla="*/ 1400605 w 1523545"/>
                    <a:gd name="connsiteY219" fmla="*/ 550833 h 1509415"/>
                    <a:gd name="connsiteX220" fmla="*/ 1400898 w 1523545"/>
                    <a:gd name="connsiteY220" fmla="*/ 560202 h 1509415"/>
                    <a:gd name="connsiteX221" fmla="*/ 1392091 w 1523545"/>
                    <a:gd name="connsiteY221" fmla="*/ 569653 h 1509415"/>
                    <a:gd name="connsiteX222" fmla="*/ 1381621 w 1523545"/>
                    <a:gd name="connsiteY222" fmla="*/ 577160 h 1509415"/>
                    <a:gd name="connsiteX223" fmla="*/ 1377475 w 1523545"/>
                    <a:gd name="connsiteY223" fmla="*/ 587864 h 1509415"/>
                    <a:gd name="connsiteX224" fmla="*/ 1383740 w 1523545"/>
                    <a:gd name="connsiteY224" fmla="*/ 592795 h 1509415"/>
                    <a:gd name="connsiteX225" fmla="*/ 1373786 w 1523545"/>
                    <a:gd name="connsiteY225" fmla="*/ 622659 h 1509415"/>
                    <a:gd name="connsiteX226" fmla="*/ 1360224 w 1523545"/>
                    <a:gd name="connsiteY226" fmla="*/ 650474 h 1509415"/>
                    <a:gd name="connsiteX227" fmla="*/ 1355680 w 1523545"/>
                    <a:gd name="connsiteY227" fmla="*/ 663638 h 1509415"/>
                    <a:gd name="connsiteX228" fmla="*/ 1345268 w 1523545"/>
                    <a:gd name="connsiteY228" fmla="*/ 660054 h 1509415"/>
                    <a:gd name="connsiteX229" fmla="*/ 1336929 w 1523545"/>
                    <a:gd name="connsiteY229" fmla="*/ 658590 h 1509415"/>
                    <a:gd name="connsiteX230" fmla="*/ 1328204 w 1523545"/>
                    <a:gd name="connsiteY230" fmla="*/ 655967 h 1509415"/>
                    <a:gd name="connsiteX231" fmla="*/ 1320147 w 1523545"/>
                    <a:gd name="connsiteY231" fmla="*/ 658251 h 1509415"/>
                    <a:gd name="connsiteX232" fmla="*/ 1312359 w 1523545"/>
                    <a:gd name="connsiteY232" fmla="*/ 654117 h 1509415"/>
                    <a:gd name="connsiteX233" fmla="*/ 1316001 w 1523545"/>
                    <a:gd name="connsiteY233" fmla="*/ 669962 h 1509415"/>
                    <a:gd name="connsiteX234" fmla="*/ 1319093 w 1523545"/>
                    <a:gd name="connsiteY234" fmla="*/ 674764 h 1509415"/>
                    <a:gd name="connsiteX235" fmla="*/ 1317500 w 1523545"/>
                    <a:gd name="connsiteY235" fmla="*/ 688701 h 1509415"/>
                    <a:gd name="connsiteX236" fmla="*/ 1315849 w 1523545"/>
                    <a:gd name="connsiteY236" fmla="*/ 704804 h 1509415"/>
                    <a:gd name="connsiteX237" fmla="*/ 1311492 w 1523545"/>
                    <a:gd name="connsiteY237" fmla="*/ 710695 h 1509415"/>
                    <a:gd name="connsiteX238" fmla="*/ 1307018 w 1523545"/>
                    <a:gd name="connsiteY238" fmla="*/ 708575 h 1509415"/>
                    <a:gd name="connsiteX239" fmla="*/ 1305800 w 1523545"/>
                    <a:gd name="connsiteY239" fmla="*/ 716879 h 1509415"/>
                    <a:gd name="connsiteX240" fmla="*/ 1300612 w 1523545"/>
                    <a:gd name="connsiteY240" fmla="*/ 729937 h 1509415"/>
                    <a:gd name="connsiteX241" fmla="*/ 1304570 w 1523545"/>
                    <a:gd name="connsiteY241" fmla="*/ 742761 h 1509415"/>
                    <a:gd name="connsiteX242" fmla="*/ 1303950 w 1523545"/>
                    <a:gd name="connsiteY242" fmla="*/ 755960 h 1509415"/>
                    <a:gd name="connsiteX243" fmla="*/ 1294838 w 1523545"/>
                    <a:gd name="connsiteY243" fmla="*/ 763865 h 1509415"/>
                    <a:gd name="connsiteX244" fmla="*/ 1294405 w 1523545"/>
                    <a:gd name="connsiteY244" fmla="*/ 766852 h 1509415"/>
                    <a:gd name="connsiteX245" fmla="*/ 1290189 w 1523545"/>
                    <a:gd name="connsiteY245" fmla="*/ 768562 h 1509415"/>
                    <a:gd name="connsiteX246" fmla="*/ 1285528 w 1523545"/>
                    <a:gd name="connsiteY246" fmla="*/ 761324 h 1509415"/>
                    <a:gd name="connsiteX247" fmla="*/ 1279613 w 1523545"/>
                    <a:gd name="connsiteY247" fmla="*/ 760422 h 1509415"/>
                    <a:gd name="connsiteX248" fmla="*/ 1274460 w 1523545"/>
                    <a:gd name="connsiteY248" fmla="*/ 767437 h 1509415"/>
                    <a:gd name="connsiteX249" fmla="*/ 1270748 w 1523545"/>
                    <a:gd name="connsiteY249" fmla="*/ 736425 h 1509415"/>
                    <a:gd name="connsiteX250" fmla="*/ 1262819 w 1523545"/>
                    <a:gd name="connsiteY250" fmla="*/ 711632 h 1509415"/>
                    <a:gd name="connsiteX251" fmla="*/ 1261484 w 1523545"/>
                    <a:gd name="connsiteY251" fmla="*/ 689579 h 1509415"/>
                    <a:gd name="connsiteX252" fmla="*/ 1254562 w 1523545"/>
                    <a:gd name="connsiteY252" fmla="*/ 675678 h 1509415"/>
                    <a:gd name="connsiteX253" fmla="*/ 1247969 w 1523545"/>
                    <a:gd name="connsiteY253" fmla="*/ 674471 h 1509415"/>
                    <a:gd name="connsiteX254" fmla="*/ 1240403 w 1523545"/>
                    <a:gd name="connsiteY254" fmla="*/ 671543 h 1509415"/>
                    <a:gd name="connsiteX255" fmla="*/ 1237194 w 1523545"/>
                    <a:gd name="connsiteY255" fmla="*/ 687975 h 1509415"/>
                    <a:gd name="connsiteX256" fmla="*/ 1231069 w 1523545"/>
                    <a:gd name="connsiteY256" fmla="*/ 696372 h 1509415"/>
                    <a:gd name="connsiteX257" fmla="*/ 1233411 w 1523545"/>
                    <a:gd name="connsiteY257" fmla="*/ 705378 h 1509415"/>
                    <a:gd name="connsiteX258" fmla="*/ 1222847 w 1523545"/>
                    <a:gd name="connsiteY258" fmla="*/ 714408 h 1509415"/>
                    <a:gd name="connsiteX259" fmla="*/ 1215235 w 1523545"/>
                    <a:gd name="connsiteY259" fmla="*/ 699054 h 1509415"/>
                    <a:gd name="connsiteX260" fmla="*/ 1211616 w 1523545"/>
                    <a:gd name="connsiteY260" fmla="*/ 707896 h 1509415"/>
                    <a:gd name="connsiteX261" fmla="*/ 1204683 w 1523545"/>
                    <a:gd name="connsiteY261" fmla="*/ 687905 h 1509415"/>
                    <a:gd name="connsiteX262" fmla="*/ 1200373 w 1523545"/>
                    <a:gd name="connsiteY262" fmla="*/ 679015 h 1509415"/>
                    <a:gd name="connsiteX263" fmla="*/ 1199155 w 1523545"/>
                    <a:gd name="connsiteY263" fmla="*/ 671649 h 1509415"/>
                    <a:gd name="connsiteX264" fmla="*/ 1202961 w 1523545"/>
                    <a:gd name="connsiteY264" fmla="*/ 668850 h 1509415"/>
                    <a:gd name="connsiteX265" fmla="*/ 1203512 w 1523545"/>
                    <a:gd name="connsiteY265" fmla="*/ 663158 h 1509415"/>
                    <a:gd name="connsiteX266" fmla="*/ 1209321 w 1523545"/>
                    <a:gd name="connsiteY266" fmla="*/ 656916 h 1509415"/>
                    <a:gd name="connsiteX267" fmla="*/ 1210890 w 1523545"/>
                    <a:gd name="connsiteY267" fmla="*/ 651446 h 1509415"/>
                    <a:gd name="connsiteX268" fmla="*/ 1218292 w 1523545"/>
                    <a:gd name="connsiteY268" fmla="*/ 651470 h 1509415"/>
                    <a:gd name="connsiteX269" fmla="*/ 1225073 w 1523545"/>
                    <a:gd name="connsiteY269" fmla="*/ 644349 h 1509415"/>
                    <a:gd name="connsiteX270" fmla="*/ 1230284 w 1523545"/>
                    <a:gd name="connsiteY270" fmla="*/ 645649 h 1509415"/>
                    <a:gd name="connsiteX271" fmla="*/ 1233821 w 1523545"/>
                    <a:gd name="connsiteY271" fmla="*/ 643998 h 1509415"/>
                    <a:gd name="connsiteX272" fmla="*/ 1234723 w 1523545"/>
                    <a:gd name="connsiteY272" fmla="*/ 646129 h 1509415"/>
                    <a:gd name="connsiteX273" fmla="*/ 1239536 w 1523545"/>
                    <a:gd name="connsiteY273" fmla="*/ 641562 h 1509415"/>
                    <a:gd name="connsiteX274" fmla="*/ 1242968 w 1523545"/>
                    <a:gd name="connsiteY274" fmla="*/ 638775 h 1509415"/>
                    <a:gd name="connsiteX275" fmla="*/ 1241820 w 1523545"/>
                    <a:gd name="connsiteY275" fmla="*/ 635495 h 1509415"/>
                    <a:gd name="connsiteX276" fmla="*/ 1249936 w 1523545"/>
                    <a:gd name="connsiteY276" fmla="*/ 628878 h 1509415"/>
                    <a:gd name="connsiteX277" fmla="*/ 1255277 w 1523545"/>
                    <a:gd name="connsiteY277" fmla="*/ 616804 h 1509415"/>
                    <a:gd name="connsiteX278" fmla="*/ 1256061 w 1523545"/>
                    <a:gd name="connsiteY278" fmla="*/ 606954 h 1509415"/>
                    <a:gd name="connsiteX279" fmla="*/ 1263709 w 1523545"/>
                    <a:gd name="connsiteY279" fmla="*/ 609847 h 1509415"/>
                    <a:gd name="connsiteX280" fmla="*/ 1253403 w 1523545"/>
                    <a:gd name="connsiteY280" fmla="*/ 593533 h 1509415"/>
                    <a:gd name="connsiteX281" fmla="*/ 1218397 w 1523545"/>
                    <a:gd name="connsiteY281" fmla="*/ 593041 h 1509415"/>
                    <a:gd name="connsiteX282" fmla="*/ 1203992 w 1523545"/>
                    <a:gd name="connsiteY282" fmla="*/ 589680 h 1509415"/>
                    <a:gd name="connsiteX283" fmla="*/ 1187326 w 1523545"/>
                    <a:gd name="connsiteY283" fmla="*/ 592373 h 1509415"/>
                    <a:gd name="connsiteX284" fmla="*/ 1162381 w 1523545"/>
                    <a:gd name="connsiteY284" fmla="*/ 592327 h 1509415"/>
                    <a:gd name="connsiteX285" fmla="*/ 1136170 w 1523545"/>
                    <a:gd name="connsiteY285" fmla="*/ 584714 h 1509415"/>
                    <a:gd name="connsiteX286" fmla="*/ 1129507 w 1523545"/>
                    <a:gd name="connsiteY286" fmla="*/ 579268 h 1509415"/>
                    <a:gd name="connsiteX287" fmla="*/ 1130924 w 1523545"/>
                    <a:gd name="connsiteY287" fmla="*/ 571632 h 1509415"/>
                    <a:gd name="connsiteX288" fmla="*/ 1129717 w 1523545"/>
                    <a:gd name="connsiteY288" fmla="*/ 560659 h 1509415"/>
                    <a:gd name="connsiteX289" fmla="*/ 1129237 w 1523545"/>
                    <a:gd name="connsiteY289" fmla="*/ 548069 h 1509415"/>
                    <a:gd name="connsiteX290" fmla="*/ 1119973 w 1523545"/>
                    <a:gd name="connsiteY290" fmla="*/ 536065 h 1509415"/>
                    <a:gd name="connsiteX291" fmla="*/ 1119446 w 1523545"/>
                    <a:gd name="connsiteY291" fmla="*/ 538500 h 1509415"/>
                    <a:gd name="connsiteX292" fmla="*/ 1117502 w 1523545"/>
                    <a:gd name="connsiteY292" fmla="*/ 540374 h 1509415"/>
                    <a:gd name="connsiteX293" fmla="*/ 1114492 w 1523545"/>
                    <a:gd name="connsiteY293" fmla="*/ 546757 h 1509415"/>
                    <a:gd name="connsiteX294" fmla="*/ 1107419 w 1523545"/>
                    <a:gd name="connsiteY294" fmla="*/ 544649 h 1509415"/>
                    <a:gd name="connsiteX295" fmla="*/ 1093330 w 1523545"/>
                    <a:gd name="connsiteY295" fmla="*/ 527714 h 1509415"/>
                    <a:gd name="connsiteX296" fmla="*/ 1084839 w 1523545"/>
                    <a:gd name="connsiteY296" fmla="*/ 520675 h 1509415"/>
                    <a:gd name="connsiteX297" fmla="*/ 1088341 w 1523545"/>
                    <a:gd name="connsiteY297" fmla="*/ 528639 h 1509415"/>
                    <a:gd name="connsiteX298" fmla="*/ 1090015 w 1523545"/>
                    <a:gd name="connsiteY298" fmla="*/ 531427 h 1509415"/>
                    <a:gd name="connsiteX299" fmla="*/ 1080014 w 1523545"/>
                    <a:gd name="connsiteY299" fmla="*/ 531356 h 1509415"/>
                    <a:gd name="connsiteX300" fmla="*/ 1069450 w 1523545"/>
                    <a:gd name="connsiteY300" fmla="*/ 529822 h 1509415"/>
                    <a:gd name="connsiteX301" fmla="*/ 1055865 w 1523545"/>
                    <a:gd name="connsiteY301" fmla="*/ 510381 h 1509415"/>
                    <a:gd name="connsiteX302" fmla="*/ 1053276 w 1523545"/>
                    <a:gd name="connsiteY302" fmla="*/ 520195 h 1509415"/>
                    <a:gd name="connsiteX303" fmla="*/ 1061732 w 1523545"/>
                    <a:gd name="connsiteY303" fmla="*/ 525548 h 1509415"/>
                    <a:gd name="connsiteX304" fmla="*/ 1053721 w 1523545"/>
                    <a:gd name="connsiteY304" fmla="*/ 528967 h 1509415"/>
                    <a:gd name="connsiteX305" fmla="*/ 1051871 w 1523545"/>
                    <a:gd name="connsiteY305" fmla="*/ 533734 h 1509415"/>
                    <a:gd name="connsiteX306" fmla="*/ 1046038 w 1523545"/>
                    <a:gd name="connsiteY306" fmla="*/ 536334 h 1509415"/>
                    <a:gd name="connsiteX307" fmla="*/ 1040394 w 1523545"/>
                    <a:gd name="connsiteY307" fmla="*/ 553948 h 1509415"/>
                    <a:gd name="connsiteX308" fmla="*/ 1047655 w 1523545"/>
                    <a:gd name="connsiteY308" fmla="*/ 556185 h 1509415"/>
                    <a:gd name="connsiteX309" fmla="*/ 1058628 w 1523545"/>
                    <a:gd name="connsiteY309" fmla="*/ 568693 h 1509415"/>
                    <a:gd name="connsiteX310" fmla="*/ 1074486 w 1523545"/>
                    <a:gd name="connsiteY310" fmla="*/ 572394 h 1509415"/>
                    <a:gd name="connsiteX311" fmla="*/ 1081431 w 1523545"/>
                    <a:gd name="connsiteY311" fmla="*/ 582911 h 1509415"/>
                    <a:gd name="connsiteX312" fmla="*/ 1087099 w 1523545"/>
                    <a:gd name="connsiteY312" fmla="*/ 585346 h 1509415"/>
                    <a:gd name="connsiteX313" fmla="*/ 1083984 w 1523545"/>
                    <a:gd name="connsiteY313" fmla="*/ 591577 h 1509415"/>
                    <a:gd name="connsiteX314" fmla="*/ 1065913 w 1523545"/>
                    <a:gd name="connsiteY314" fmla="*/ 591027 h 1509415"/>
                    <a:gd name="connsiteX315" fmla="*/ 1059706 w 1523545"/>
                    <a:gd name="connsiteY315" fmla="*/ 590219 h 1509415"/>
                    <a:gd name="connsiteX316" fmla="*/ 1056087 w 1523545"/>
                    <a:gd name="connsiteY316" fmla="*/ 601918 h 1509415"/>
                    <a:gd name="connsiteX317" fmla="*/ 1043708 w 1523545"/>
                    <a:gd name="connsiteY317" fmla="*/ 604495 h 1509415"/>
                    <a:gd name="connsiteX318" fmla="*/ 1038297 w 1523545"/>
                    <a:gd name="connsiteY318" fmla="*/ 616921 h 1509415"/>
                    <a:gd name="connsiteX319" fmla="*/ 1043626 w 1523545"/>
                    <a:gd name="connsiteY319" fmla="*/ 629206 h 1509415"/>
                    <a:gd name="connsiteX320" fmla="*/ 1060596 w 1523545"/>
                    <a:gd name="connsiteY320" fmla="*/ 638845 h 1509415"/>
                    <a:gd name="connsiteX321" fmla="*/ 1069918 w 1523545"/>
                    <a:gd name="connsiteY321" fmla="*/ 638247 h 1509415"/>
                    <a:gd name="connsiteX322" fmla="*/ 1071452 w 1523545"/>
                    <a:gd name="connsiteY322" fmla="*/ 647078 h 1509415"/>
                    <a:gd name="connsiteX323" fmla="*/ 1073045 w 1523545"/>
                    <a:gd name="connsiteY323" fmla="*/ 658251 h 1509415"/>
                    <a:gd name="connsiteX324" fmla="*/ 1064742 w 1523545"/>
                    <a:gd name="connsiteY324" fmla="*/ 671930 h 1509415"/>
                    <a:gd name="connsiteX325" fmla="*/ 1073303 w 1523545"/>
                    <a:gd name="connsiteY325" fmla="*/ 685632 h 1509415"/>
                    <a:gd name="connsiteX326" fmla="*/ 1075247 w 1523545"/>
                    <a:gd name="connsiteY326" fmla="*/ 683946 h 1509415"/>
                    <a:gd name="connsiteX327" fmla="*/ 1072460 w 1523545"/>
                    <a:gd name="connsiteY327" fmla="*/ 697824 h 1509415"/>
                    <a:gd name="connsiteX328" fmla="*/ 1085846 w 1523545"/>
                    <a:gd name="connsiteY328" fmla="*/ 700248 h 1509415"/>
                    <a:gd name="connsiteX329" fmla="*/ 1079803 w 1523545"/>
                    <a:gd name="connsiteY329" fmla="*/ 710871 h 1509415"/>
                    <a:gd name="connsiteX330" fmla="*/ 1084745 w 1523545"/>
                    <a:gd name="connsiteY330" fmla="*/ 719467 h 1509415"/>
                    <a:gd name="connsiteX331" fmla="*/ 1084066 w 1523545"/>
                    <a:gd name="connsiteY331" fmla="*/ 728930 h 1509415"/>
                    <a:gd name="connsiteX332" fmla="*/ 1084183 w 1523545"/>
                    <a:gd name="connsiteY332" fmla="*/ 736215 h 1509415"/>
                    <a:gd name="connsiteX333" fmla="*/ 1090226 w 1523545"/>
                    <a:gd name="connsiteY333" fmla="*/ 758724 h 1509415"/>
                    <a:gd name="connsiteX334" fmla="*/ 1088434 w 1523545"/>
                    <a:gd name="connsiteY334" fmla="*/ 771466 h 1509415"/>
                    <a:gd name="connsiteX335" fmla="*/ 1083457 w 1523545"/>
                    <a:gd name="connsiteY335" fmla="*/ 766981 h 1509415"/>
                    <a:gd name="connsiteX336" fmla="*/ 1089711 w 1523545"/>
                    <a:gd name="connsiteY336" fmla="*/ 786293 h 1509415"/>
                    <a:gd name="connsiteX337" fmla="*/ 1080564 w 1523545"/>
                    <a:gd name="connsiteY337" fmla="*/ 778985 h 1509415"/>
                    <a:gd name="connsiteX338" fmla="*/ 1079815 w 1523545"/>
                    <a:gd name="connsiteY338" fmla="*/ 786890 h 1509415"/>
                    <a:gd name="connsiteX339" fmla="*/ 1078081 w 1523545"/>
                    <a:gd name="connsiteY339" fmla="*/ 783084 h 1509415"/>
                    <a:gd name="connsiteX340" fmla="*/ 1077027 w 1523545"/>
                    <a:gd name="connsiteY340" fmla="*/ 789830 h 1509415"/>
                    <a:gd name="connsiteX341" fmla="*/ 1071640 w 1523545"/>
                    <a:gd name="connsiteY341" fmla="*/ 781983 h 1509415"/>
                    <a:gd name="connsiteX342" fmla="*/ 1074743 w 1523545"/>
                    <a:gd name="connsiteY342" fmla="*/ 766922 h 1509415"/>
                    <a:gd name="connsiteX343" fmla="*/ 1075587 w 1523545"/>
                    <a:gd name="connsiteY343" fmla="*/ 759075 h 1509415"/>
                    <a:gd name="connsiteX344" fmla="*/ 1069005 w 1523545"/>
                    <a:gd name="connsiteY344" fmla="*/ 769335 h 1509415"/>
                    <a:gd name="connsiteX345" fmla="*/ 1071265 w 1523545"/>
                    <a:gd name="connsiteY345" fmla="*/ 755023 h 1509415"/>
                    <a:gd name="connsiteX346" fmla="*/ 1065234 w 1523545"/>
                    <a:gd name="connsiteY346" fmla="*/ 778962 h 1509415"/>
                    <a:gd name="connsiteX347" fmla="*/ 1066663 w 1523545"/>
                    <a:gd name="connsiteY347" fmla="*/ 782323 h 1509415"/>
                    <a:gd name="connsiteX348" fmla="*/ 1063770 w 1523545"/>
                    <a:gd name="connsiteY348" fmla="*/ 789431 h 1509415"/>
                    <a:gd name="connsiteX349" fmla="*/ 1064168 w 1523545"/>
                    <a:gd name="connsiteY349" fmla="*/ 791668 h 1509415"/>
                    <a:gd name="connsiteX350" fmla="*/ 1062364 w 1523545"/>
                    <a:gd name="connsiteY350" fmla="*/ 781924 h 1509415"/>
                    <a:gd name="connsiteX351" fmla="*/ 1061638 w 1523545"/>
                    <a:gd name="connsiteY351" fmla="*/ 768831 h 1509415"/>
                    <a:gd name="connsiteX352" fmla="*/ 1059436 w 1523545"/>
                    <a:gd name="connsiteY352" fmla="*/ 780320 h 1509415"/>
                    <a:gd name="connsiteX353" fmla="*/ 1059202 w 1523545"/>
                    <a:gd name="connsiteY353" fmla="*/ 786960 h 1509415"/>
                    <a:gd name="connsiteX354" fmla="*/ 1056263 w 1523545"/>
                    <a:gd name="connsiteY354" fmla="*/ 782674 h 1509415"/>
                    <a:gd name="connsiteX355" fmla="*/ 1053065 w 1523545"/>
                    <a:gd name="connsiteY355" fmla="*/ 781550 h 1509415"/>
                    <a:gd name="connsiteX356" fmla="*/ 1052574 w 1523545"/>
                    <a:gd name="connsiteY356" fmla="*/ 787745 h 1509415"/>
                    <a:gd name="connsiteX357" fmla="*/ 1049423 w 1523545"/>
                    <a:gd name="connsiteY357" fmla="*/ 777205 h 1509415"/>
                    <a:gd name="connsiteX358" fmla="*/ 1051051 w 1523545"/>
                    <a:gd name="connsiteY358" fmla="*/ 790123 h 1509415"/>
                    <a:gd name="connsiteX359" fmla="*/ 1045711 w 1523545"/>
                    <a:gd name="connsiteY359" fmla="*/ 782369 h 1509415"/>
                    <a:gd name="connsiteX360" fmla="*/ 1043954 w 1523545"/>
                    <a:gd name="connsiteY360" fmla="*/ 766700 h 1509415"/>
                    <a:gd name="connsiteX361" fmla="*/ 1046413 w 1523545"/>
                    <a:gd name="connsiteY361" fmla="*/ 757904 h 1509415"/>
                    <a:gd name="connsiteX362" fmla="*/ 1039820 w 1523545"/>
                    <a:gd name="connsiteY362" fmla="*/ 753032 h 1509415"/>
                    <a:gd name="connsiteX363" fmla="*/ 1030931 w 1523545"/>
                    <a:gd name="connsiteY363" fmla="*/ 742925 h 1509415"/>
                    <a:gd name="connsiteX364" fmla="*/ 1037969 w 1523545"/>
                    <a:gd name="connsiteY364" fmla="*/ 755246 h 1509415"/>
                    <a:gd name="connsiteX365" fmla="*/ 1041611 w 1523545"/>
                    <a:gd name="connsiteY365" fmla="*/ 764287 h 1509415"/>
                    <a:gd name="connsiteX366" fmla="*/ 1038461 w 1523545"/>
                    <a:gd name="connsiteY366" fmla="*/ 767016 h 1509415"/>
                    <a:gd name="connsiteX367" fmla="*/ 1034608 w 1523545"/>
                    <a:gd name="connsiteY367" fmla="*/ 774652 h 1509415"/>
                    <a:gd name="connsiteX368" fmla="*/ 1025110 w 1523545"/>
                    <a:gd name="connsiteY368" fmla="*/ 782030 h 1509415"/>
                    <a:gd name="connsiteX369" fmla="*/ 987610 w 1523545"/>
                    <a:gd name="connsiteY369" fmla="*/ 794468 h 1509415"/>
                    <a:gd name="connsiteX370" fmla="*/ 975441 w 1523545"/>
                    <a:gd name="connsiteY370" fmla="*/ 815689 h 1509415"/>
                    <a:gd name="connsiteX371" fmla="*/ 977303 w 1523545"/>
                    <a:gd name="connsiteY371" fmla="*/ 832764 h 1509415"/>
                    <a:gd name="connsiteX372" fmla="*/ 980501 w 1523545"/>
                    <a:gd name="connsiteY372" fmla="*/ 837262 h 1509415"/>
                    <a:gd name="connsiteX373" fmla="*/ 985888 w 1523545"/>
                    <a:gd name="connsiteY373" fmla="*/ 837262 h 1509415"/>
                    <a:gd name="connsiteX374" fmla="*/ 969047 w 1523545"/>
                    <a:gd name="connsiteY374" fmla="*/ 855180 h 1509415"/>
                    <a:gd name="connsiteX375" fmla="*/ 972607 w 1523545"/>
                    <a:gd name="connsiteY375" fmla="*/ 854009 h 1509415"/>
                    <a:gd name="connsiteX376" fmla="*/ 973005 w 1523545"/>
                    <a:gd name="connsiteY376" fmla="*/ 851444 h 1509415"/>
                    <a:gd name="connsiteX377" fmla="*/ 967665 w 1523545"/>
                    <a:gd name="connsiteY377" fmla="*/ 859244 h 1509415"/>
                    <a:gd name="connsiteX378" fmla="*/ 970839 w 1523545"/>
                    <a:gd name="connsiteY378" fmla="*/ 858132 h 1509415"/>
                    <a:gd name="connsiteX379" fmla="*/ 957944 w 1523545"/>
                    <a:gd name="connsiteY379" fmla="*/ 864666 h 1509415"/>
                    <a:gd name="connsiteX380" fmla="*/ 951889 w 1523545"/>
                    <a:gd name="connsiteY380" fmla="*/ 874106 h 1509415"/>
                    <a:gd name="connsiteX381" fmla="*/ 953693 w 1523545"/>
                    <a:gd name="connsiteY381" fmla="*/ 875254 h 1509415"/>
                    <a:gd name="connsiteX382" fmla="*/ 939417 w 1523545"/>
                    <a:gd name="connsiteY382" fmla="*/ 867442 h 1509415"/>
                    <a:gd name="connsiteX383" fmla="*/ 950894 w 1523545"/>
                    <a:gd name="connsiteY383" fmla="*/ 877116 h 1509415"/>
                    <a:gd name="connsiteX384" fmla="*/ 911859 w 1523545"/>
                    <a:gd name="connsiteY384" fmla="*/ 890479 h 1509415"/>
                    <a:gd name="connsiteX385" fmla="*/ 912586 w 1523545"/>
                    <a:gd name="connsiteY385" fmla="*/ 889764 h 1509415"/>
                    <a:gd name="connsiteX386" fmla="*/ 901588 w 1523545"/>
                    <a:gd name="connsiteY386" fmla="*/ 891251 h 1509415"/>
                    <a:gd name="connsiteX387" fmla="*/ 906543 w 1523545"/>
                    <a:gd name="connsiteY387" fmla="*/ 889354 h 1509415"/>
                    <a:gd name="connsiteX388" fmla="*/ 906179 w 1523545"/>
                    <a:gd name="connsiteY388" fmla="*/ 890865 h 1509415"/>
                    <a:gd name="connsiteX389" fmla="*/ 909377 w 1523545"/>
                    <a:gd name="connsiteY389" fmla="*/ 888991 h 1509415"/>
                    <a:gd name="connsiteX390" fmla="*/ 904680 w 1523545"/>
                    <a:gd name="connsiteY390" fmla="*/ 880723 h 1509415"/>
                    <a:gd name="connsiteX391" fmla="*/ 893812 w 1523545"/>
                    <a:gd name="connsiteY391" fmla="*/ 886825 h 1509415"/>
                    <a:gd name="connsiteX392" fmla="*/ 884982 w 1523545"/>
                    <a:gd name="connsiteY392" fmla="*/ 901933 h 1509415"/>
                    <a:gd name="connsiteX393" fmla="*/ 885778 w 1523545"/>
                    <a:gd name="connsiteY393" fmla="*/ 901253 h 1509415"/>
                    <a:gd name="connsiteX394" fmla="*/ 885778 w 1523545"/>
                    <a:gd name="connsiteY394" fmla="*/ 903467 h 1509415"/>
                    <a:gd name="connsiteX395" fmla="*/ 889701 w 1523545"/>
                    <a:gd name="connsiteY395" fmla="*/ 899356 h 1509415"/>
                    <a:gd name="connsiteX396" fmla="*/ 891470 w 1523545"/>
                    <a:gd name="connsiteY396" fmla="*/ 899356 h 1509415"/>
                    <a:gd name="connsiteX397" fmla="*/ 889362 w 1523545"/>
                    <a:gd name="connsiteY397" fmla="*/ 897915 h 1509415"/>
                    <a:gd name="connsiteX398" fmla="*/ 899715 w 1523545"/>
                    <a:gd name="connsiteY398" fmla="*/ 891966 h 1509415"/>
                    <a:gd name="connsiteX399" fmla="*/ 896318 w 1523545"/>
                    <a:gd name="connsiteY399" fmla="*/ 895854 h 1509415"/>
                    <a:gd name="connsiteX400" fmla="*/ 894339 w 1523545"/>
                    <a:gd name="connsiteY400" fmla="*/ 896803 h 1509415"/>
                    <a:gd name="connsiteX401" fmla="*/ 895089 w 1523545"/>
                    <a:gd name="connsiteY401" fmla="*/ 898278 h 1509415"/>
                    <a:gd name="connsiteX402" fmla="*/ 909365 w 1523545"/>
                    <a:gd name="connsiteY402" fmla="*/ 891954 h 1509415"/>
                    <a:gd name="connsiteX403" fmla="*/ 885813 w 1523545"/>
                    <a:gd name="connsiteY403" fmla="*/ 906418 h 1509415"/>
                    <a:gd name="connsiteX404" fmla="*/ 865669 w 1523545"/>
                    <a:gd name="connsiteY404" fmla="*/ 921350 h 1509415"/>
                    <a:gd name="connsiteX405" fmla="*/ 865751 w 1523545"/>
                    <a:gd name="connsiteY405" fmla="*/ 925356 h 1509415"/>
                    <a:gd name="connsiteX406" fmla="*/ 867812 w 1523545"/>
                    <a:gd name="connsiteY406" fmla="*/ 924091 h 1509415"/>
                    <a:gd name="connsiteX407" fmla="*/ 839529 w 1523545"/>
                    <a:gd name="connsiteY407" fmla="*/ 955747 h 1509415"/>
                    <a:gd name="connsiteX408" fmla="*/ 845373 w 1523545"/>
                    <a:gd name="connsiteY408" fmla="*/ 953487 h 1509415"/>
                    <a:gd name="connsiteX409" fmla="*/ 823274 w 1523545"/>
                    <a:gd name="connsiteY409" fmla="*/ 972214 h 1509415"/>
                    <a:gd name="connsiteX410" fmla="*/ 804676 w 1523545"/>
                    <a:gd name="connsiteY410" fmla="*/ 983492 h 1509415"/>
                    <a:gd name="connsiteX411" fmla="*/ 798539 w 1523545"/>
                    <a:gd name="connsiteY411" fmla="*/ 987450 h 1509415"/>
                    <a:gd name="connsiteX412" fmla="*/ 787588 w 1523545"/>
                    <a:gd name="connsiteY412" fmla="*/ 999091 h 1509415"/>
                    <a:gd name="connsiteX413" fmla="*/ 786078 w 1523545"/>
                    <a:gd name="connsiteY413" fmla="*/ 1002945 h 1509415"/>
                    <a:gd name="connsiteX414" fmla="*/ 787425 w 1523545"/>
                    <a:gd name="connsiteY414" fmla="*/ 1005193 h 1509415"/>
                    <a:gd name="connsiteX415" fmla="*/ 746668 w 1523545"/>
                    <a:gd name="connsiteY415" fmla="*/ 1026941 h 1509415"/>
                    <a:gd name="connsiteX416" fmla="*/ 735941 w 1523545"/>
                    <a:gd name="connsiteY416" fmla="*/ 1042307 h 1509415"/>
                    <a:gd name="connsiteX417" fmla="*/ 741000 w 1523545"/>
                    <a:gd name="connsiteY417" fmla="*/ 1039391 h 1509415"/>
                    <a:gd name="connsiteX418" fmla="*/ 739126 w 1523545"/>
                    <a:gd name="connsiteY418" fmla="*/ 1058071 h 1509415"/>
                    <a:gd name="connsiteX419" fmla="*/ 737779 w 1523545"/>
                    <a:gd name="connsiteY419" fmla="*/ 1056993 h 1509415"/>
                    <a:gd name="connsiteX420" fmla="*/ 738845 w 1523545"/>
                    <a:gd name="connsiteY420" fmla="*/ 1059593 h 1509415"/>
                    <a:gd name="connsiteX421" fmla="*/ 698827 w 1523545"/>
                    <a:gd name="connsiteY421" fmla="*/ 1070637 h 1509415"/>
                    <a:gd name="connsiteX422" fmla="*/ 699295 w 1523545"/>
                    <a:gd name="connsiteY422" fmla="*/ 1071773 h 1509415"/>
                    <a:gd name="connsiteX423" fmla="*/ 692397 w 1523545"/>
                    <a:gd name="connsiteY423" fmla="*/ 1072441 h 1509415"/>
                    <a:gd name="connsiteX424" fmla="*/ 686448 w 1523545"/>
                    <a:gd name="connsiteY424" fmla="*/ 1071433 h 1509415"/>
                    <a:gd name="connsiteX425" fmla="*/ 680569 w 1523545"/>
                    <a:gd name="connsiteY425" fmla="*/ 1083215 h 1509415"/>
                    <a:gd name="connsiteX426" fmla="*/ 678777 w 1523545"/>
                    <a:gd name="connsiteY426" fmla="*/ 1089996 h 1509415"/>
                    <a:gd name="connsiteX427" fmla="*/ 674092 w 1523545"/>
                    <a:gd name="connsiteY427" fmla="*/ 1095594 h 1509415"/>
                    <a:gd name="connsiteX428" fmla="*/ 671305 w 1523545"/>
                    <a:gd name="connsiteY428" fmla="*/ 1102528 h 1509415"/>
                    <a:gd name="connsiteX429" fmla="*/ 665250 w 1523545"/>
                    <a:gd name="connsiteY429" fmla="*/ 1088989 h 1509415"/>
                    <a:gd name="connsiteX430" fmla="*/ 664863 w 1523545"/>
                    <a:gd name="connsiteY430" fmla="*/ 1090453 h 1509415"/>
                    <a:gd name="connsiteX431" fmla="*/ 664137 w 1523545"/>
                    <a:gd name="connsiteY431" fmla="*/ 1089727 h 1509415"/>
                    <a:gd name="connsiteX432" fmla="*/ 660589 w 1523545"/>
                    <a:gd name="connsiteY432" fmla="*/ 1105819 h 1509415"/>
                    <a:gd name="connsiteX433" fmla="*/ 647366 w 1523545"/>
                    <a:gd name="connsiteY433" fmla="*/ 1097023 h 1509415"/>
                    <a:gd name="connsiteX434" fmla="*/ 629413 w 1523545"/>
                    <a:gd name="connsiteY434" fmla="*/ 1115586 h 1509415"/>
                    <a:gd name="connsiteX435" fmla="*/ 621695 w 1523545"/>
                    <a:gd name="connsiteY435" fmla="*/ 1145404 h 1509415"/>
                    <a:gd name="connsiteX436" fmla="*/ 625887 w 1523545"/>
                    <a:gd name="connsiteY436" fmla="*/ 1166918 h 1509415"/>
                    <a:gd name="connsiteX437" fmla="*/ 621133 w 1523545"/>
                    <a:gd name="connsiteY437" fmla="*/ 1186886 h 1509415"/>
                    <a:gd name="connsiteX438" fmla="*/ 624798 w 1523545"/>
                    <a:gd name="connsiteY438" fmla="*/ 1184438 h 1509415"/>
                    <a:gd name="connsiteX439" fmla="*/ 634847 w 1523545"/>
                    <a:gd name="connsiteY439" fmla="*/ 1227033 h 1509415"/>
                    <a:gd name="connsiteX440" fmla="*/ 625876 w 1523545"/>
                    <a:gd name="connsiteY440" fmla="*/ 1211726 h 1509415"/>
                    <a:gd name="connsiteX441" fmla="*/ 625548 w 1523545"/>
                    <a:gd name="connsiteY441" fmla="*/ 1217558 h 1509415"/>
                    <a:gd name="connsiteX442" fmla="*/ 623369 w 1523545"/>
                    <a:gd name="connsiteY442" fmla="*/ 1213541 h 1509415"/>
                    <a:gd name="connsiteX443" fmla="*/ 635526 w 1523545"/>
                    <a:gd name="connsiteY443" fmla="*/ 1227583 h 1509415"/>
                    <a:gd name="connsiteX444" fmla="*/ 634835 w 1523545"/>
                    <a:gd name="connsiteY444" fmla="*/ 1239014 h 1509415"/>
                    <a:gd name="connsiteX445" fmla="*/ 635901 w 1523545"/>
                    <a:gd name="connsiteY445" fmla="*/ 1238686 h 1509415"/>
                    <a:gd name="connsiteX446" fmla="*/ 615546 w 1523545"/>
                    <a:gd name="connsiteY446" fmla="*/ 1291868 h 1509415"/>
                    <a:gd name="connsiteX447" fmla="*/ 618732 w 1523545"/>
                    <a:gd name="connsiteY447" fmla="*/ 1290603 h 1509415"/>
                    <a:gd name="connsiteX448" fmla="*/ 607290 w 1523545"/>
                    <a:gd name="connsiteY448" fmla="*/ 1333737 h 1509415"/>
                    <a:gd name="connsiteX449" fmla="*/ 607653 w 1523545"/>
                    <a:gd name="connsiteY449" fmla="*/ 1332296 h 1509415"/>
                    <a:gd name="connsiteX450" fmla="*/ 601563 w 1523545"/>
                    <a:gd name="connsiteY450" fmla="*/ 1340588 h 1509415"/>
                    <a:gd name="connsiteX451" fmla="*/ 610499 w 1523545"/>
                    <a:gd name="connsiteY451" fmla="*/ 1366295 h 1509415"/>
                    <a:gd name="connsiteX452" fmla="*/ 611061 w 1523545"/>
                    <a:gd name="connsiteY452" fmla="*/ 1392353 h 1509415"/>
                    <a:gd name="connsiteX453" fmla="*/ 598330 w 1523545"/>
                    <a:gd name="connsiteY453" fmla="*/ 1392657 h 1509415"/>
                    <a:gd name="connsiteX454" fmla="*/ 606587 w 1523545"/>
                    <a:gd name="connsiteY454" fmla="*/ 1395187 h 1509415"/>
                    <a:gd name="connsiteX455" fmla="*/ 595074 w 1523545"/>
                    <a:gd name="connsiteY455" fmla="*/ 1392458 h 1509415"/>
                    <a:gd name="connsiteX456" fmla="*/ 597967 w 1523545"/>
                    <a:gd name="connsiteY456" fmla="*/ 1391263 h 1509415"/>
                    <a:gd name="connsiteX457" fmla="*/ 580845 w 1523545"/>
                    <a:gd name="connsiteY457" fmla="*/ 1407086 h 1509415"/>
                    <a:gd name="connsiteX458" fmla="*/ 561849 w 1523545"/>
                    <a:gd name="connsiteY458" fmla="*/ 1437782 h 1509415"/>
                    <a:gd name="connsiteX459" fmla="*/ 581477 w 1523545"/>
                    <a:gd name="connsiteY459" fmla="*/ 1445359 h 1509415"/>
                    <a:gd name="connsiteX460" fmla="*/ 589968 w 1523545"/>
                    <a:gd name="connsiteY460" fmla="*/ 1453229 h 1509415"/>
                    <a:gd name="connsiteX461" fmla="*/ 569801 w 1523545"/>
                    <a:gd name="connsiteY461" fmla="*/ 1447819 h 1509415"/>
                    <a:gd name="connsiteX462" fmla="*/ 556157 w 1523545"/>
                    <a:gd name="connsiteY462" fmla="*/ 1449692 h 1509415"/>
                    <a:gd name="connsiteX463" fmla="*/ 522615 w 1523545"/>
                    <a:gd name="connsiteY463" fmla="*/ 1474544 h 1509415"/>
                    <a:gd name="connsiteX464" fmla="*/ 525098 w 1523545"/>
                    <a:gd name="connsiteY464" fmla="*/ 1472717 h 1509415"/>
                    <a:gd name="connsiteX465" fmla="*/ 520121 w 1523545"/>
                    <a:gd name="connsiteY465" fmla="*/ 1479580 h 1509415"/>
                    <a:gd name="connsiteX466" fmla="*/ 504790 w 1523545"/>
                    <a:gd name="connsiteY466" fmla="*/ 1501645 h 1509415"/>
                    <a:gd name="connsiteX467" fmla="*/ 478252 w 1523545"/>
                    <a:gd name="connsiteY467" fmla="*/ 1507337 h 1509415"/>
                    <a:gd name="connsiteX468" fmla="*/ 457850 w 1523545"/>
                    <a:gd name="connsiteY468" fmla="*/ 1489828 h 1509415"/>
                    <a:gd name="connsiteX469" fmla="*/ 438398 w 1523545"/>
                    <a:gd name="connsiteY469" fmla="*/ 1465585 h 1509415"/>
                    <a:gd name="connsiteX470" fmla="*/ 442180 w 1523545"/>
                    <a:gd name="connsiteY470" fmla="*/ 1465515 h 1509415"/>
                    <a:gd name="connsiteX471" fmla="*/ 444277 w 1523545"/>
                    <a:gd name="connsiteY471" fmla="*/ 1463184 h 1509415"/>
                    <a:gd name="connsiteX472" fmla="*/ 442907 w 1523545"/>
                    <a:gd name="connsiteY472" fmla="*/ 1462294 h 1509415"/>
                    <a:gd name="connsiteX473" fmla="*/ 444663 w 1523545"/>
                    <a:gd name="connsiteY473" fmla="*/ 1461217 h 1509415"/>
                    <a:gd name="connsiteX474" fmla="*/ 438936 w 1523545"/>
                    <a:gd name="connsiteY474" fmla="*/ 1464121 h 1509415"/>
                    <a:gd name="connsiteX475" fmla="*/ 439299 w 1523545"/>
                    <a:gd name="connsiteY475" fmla="*/ 1461908 h 1509415"/>
                    <a:gd name="connsiteX476" fmla="*/ 437871 w 1523545"/>
                    <a:gd name="connsiteY476" fmla="*/ 1464800 h 1509415"/>
                    <a:gd name="connsiteX477" fmla="*/ 433924 w 1523545"/>
                    <a:gd name="connsiteY477" fmla="*/ 1454318 h 1509415"/>
                    <a:gd name="connsiteX478" fmla="*/ 434662 w 1523545"/>
                    <a:gd name="connsiteY478" fmla="*/ 1455466 h 1509415"/>
                    <a:gd name="connsiteX479" fmla="*/ 434978 w 1523545"/>
                    <a:gd name="connsiteY479" fmla="*/ 1452573 h 1509415"/>
                    <a:gd name="connsiteX480" fmla="*/ 433912 w 1523545"/>
                    <a:gd name="connsiteY480" fmla="*/ 1453639 h 1509415"/>
                    <a:gd name="connsiteX481" fmla="*/ 431418 w 1523545"/>
                    <a:gd name="connsiteY481" fmla="*/ 1448615 h 1509415"/>
                    <a:gd name="connsiteX482" fmla="*/ 433198 w 1523545"/>
                    <a:gd name="connsiteY482" fmla="*/ 1453967 h 1509415"/>
                    <a:gd name="connsiteX483" fmla="*/ 425140 w 1523545"/>
                    <a:gd name="connsiteY483" fmla="*/ 1429431 h 1509415"/>
                    <a:gd name="connsiteX484" fmla="*/ 422915 w 1523545"/>
                    <a:gd name="connsiteY484" fmla="*/ 1410915 h 1509415"/>
                    <a:gd name="connsiteX485" fmla="*/ 424976 w 1523545"/>
                    <a:gd name="connsiteY485" fmla="*/ 1413785 h 1509415"/>
                    <a:gd name="connsiteX486" fmla="*/ 423208 w 1523545"/>
                    <a:gd name="connsiteY486" fmla="*/ 1413785 h 1509415"/>
                    <a:gd name="connsiteX487" fmla="*/ 424625 w 1523545"/>
                    <a:gd name="connsiteY487" fmla="*/ 1414698 h 1509415"/>
                    <a:gd name="connsiteX488" fmla="*/ 424449 w 1523545"/>
                    <a:gd name="connsiteY488" fmla="*/ 1417252 h 1509415"/>
                    <a:gd name="connsiteX489" fmla="*/ 425901 w 1523545"/>
                    <a:gd name="connsiteY489" fmla="*/ 1415319 h 1509415"/>
                    <a:gd name="connsiteX490" fmla="*/ 427869 w 1523545"/>
                    <a:gd name="connsiteY490" fmla="*/ 1424805 h 1509415"/>
                    <a:gd name="connsiteX491" fmla="*/ 427154 w 1523545"/>
                    <a:gd name="connsiteY491" fmla="*/ 1415776 h 1509415"/>
                    <a:gd name="connsiteX492" fmla="*/ 430118 w 1523545"/>
                    <a:gd name="connsiteY492" fmla="*/ 1427066 h 1509415"/>
                    <a:gd name="connsiteX493" fmla="*/ 429438 w 1523545"/>
                    <a:gd name="connsiteY493" fmla="*/ 1434538 h 1509415"/>
                    <a:gd name="connsiteX494" fmla="*/ 436044 w 1523545"/>
                    <a:gd name="connsiteY494" fmla="*/ 1433460 h 1509415"/>
                    <a:gd name="connsiteX495" fmla="*/ 425128 w 1523545"/>
                    <a:gd name="connsiteY495" fmla="*/ 1411536 h 1509415"/>
                    <a:gd name="connsiteX496" fmla="*/ 421006 w 1523545"/>
                    <a:gd name="connsiteY496" fmla="*/ 1401687 h 1509415"/>
                    <a:gd name="connsiteX497" fmla="*/ 422446 w 1523545"/>
                    <a:gd name="connsiteY497" fmla="*/ 1409627 h 1509415"/>
                    <a:gd name="connsiteX498" fmla="*/ 422306 w 1523545"/>
                    <a:gd name="connsiteY498" fmla="*/ 1396382 h 1509415"/>
                    <a:gd name="connsiteX499" fmla="*/ 419929 w 1523545"/>
                    <a:gd name="connsiteY499" fmla="*/ 1394824 h 1509415"/>
                    <a:gd name="connsiteX500" fmla="*/ 412937 w 1523545"/>
                    <a:gd name="connsiteY500" fmla="*/ 1383616 h 1509415"/>
                    <a:gd name="connsiteX501" fmla="*/ 406730 w 1523545"/>
                    <a:gd name="connsiteY501" fmla="*/ 1366997 h 1509415"/>
                    <a:gd name="connsiteX502" fmla="*/ 398707 w 1523545"/>
                    <a:gd name="connsiteY502" fmla="*/ 1345472 h 1509415"/>
                    <a:gd name="connsiteX503" fmla="*/ 393156 w 1523545"/>
                    <a:gd name="connsiteY503" fmla="*/ 1332870 h 1509415"/>
                    <a:gd name="connsiteX504" fmla="*/ 389233 w 1523545"/>
                    <a:gd name="connsiteY504" fmla="*/ 1329556 h 1509415"/>
                    <a:gd name="connsiteX505" fmla="*/ 385508 w 1523545"/>
                    <a:gd name="connsiteY505" fmla="*/ 1320139 h 1509415"/>
                    <a:gd name="connsiteX506" fmla="*/ 373645 w 1523545"/>
                    <a:gd name="connsiteY506" fmla="*/ 1306987 h 1509415"/>
                    <a:gd name="connsiteX507" fmla="*/ 378481 w 1523545"/>
                    <a:gd name="connsiteY507" fmla="*/ 1307620 h 1509415"/>
                    <a:gd name="connsiteX508" fmla="*/ 378130 w 1523545"/>
                    <a:gd name="connsiteY508" fmla="*/ 1304739 h 1509415"/>
                    <a:gd name="connsiteX509" fmla="*/ 372274 w 1523545"/>
                    <a:gd name="connsiteY509" fmla="*/ 1302842 h 1509415"/>
                    <a:gd name="connsiteX510" fmla="*/ 374816 w 1523545"/>
                    <a:gd name="connsiteY510" fmla="*/ 1302736 h 1509415"/>
                    <a:gd name="connsiteX511" fmla="*/ 372040 w 1523545"/>
                    <a:gd name="connsiteY511" fmla="*/ 1305125 h 1509415"/>
                    <a:gd name="connsiteX512" fmla="*/ 368492 w 1523545"/>
                    <a:gd name="connsiteY512" fmla="*/ 1302959 h 1509415"/>
                    <a:gd name="connsiteX513" fmla="*/ 364896 w 1523545"/>
                    <a:gd name="connsiteY513" fmla="*/ 1290240 h 1509415"/>
                    <a:gd name="connsiteX514" fmla="*/ 363104 w 1523545"/>
                    <a:gd name="connsiteY514" fmla="*/ 1291692 h 1509415"/>
                    <a:gd name="connsiteX515" fmla="*/ 348477 w 1523545"/>
                    <a:gd name="connsiteY515" fmla="*/ 1259005 h 1509415"/>
                    <a:gd name="connsiteX516" fmla="*/ 354543 w 1523545"/>
                    <a:gd name="connsiteY516" fmla="*/ 1256862 h 1509415"/>
                    <a:gd name="connsiteX517" fmla="*/ 345139 w 1523545"/>
                    <a:gd name="connsiteY517" fmla="*/ 1242504 h 1509415"/>
                    <a:gd name="connsiteX518" fmla="*/ 340969 w 1523545"/>
                    <a:gd name="connsiteY518" fmla="*/ 1225581 h 1509415"/>
                    <a:gd name="connsiteX519" fmla="*/ 342398 w 1523545"/>
                    <a:gd name="connsiteY519" fmla="*/ 1228509 h 1509415"/>
                    <a:gd name="connsiteX520" fmla="*/ 340220 w 1523545"/>
                    <a:gd name="connsiteY520" fmla="*/ 1216844 h 1509415"/>
                    <a:gd name="connsiteX521" fmla="*/ 343827 w 1523545"/>
                    <a:gd name="connsiteY521" fmla="*/ 1215720 h 1509415"/>
                    <a:gd name="connsiteX522" fmla="*/ 341332 w 1523545"/>
                    <a:gd name="connsiteY522" fmla="*/ 1212639 h 1509415"/>
                    <a:gd name="connsiteX523" fmla="*/ 339904 w 1523545"/>
                    <a:gd name="connsiteY523" fmla="*/ 1215380 h 1509415"/>
                    <a:gd name="connsiteX524" fmla="*/ 328052 w 1523545"/>
                    <a:gd name="connsiteY524" fmla="*/ 1183302 h 1509415"/>
                    <a:gd name="connsiteX525" fmla="*/ 331998 w 1523545"/>
                    <a:gd name="connsiteY525" fmla="*/ 1184005 h 1509415"/>
                    <a:gd name="connsiteX526" fmla="*/ 323812 w 1523545"/>
                    <a:gd name="connsiteY526" fmla="*/ 1169108 h 1509415"/>
                    <a:gd name="connsiteX527" fmla="*/ 326681 w 1523545"/>
                    <a:gd name="connsiteY527" fmla="*/ 1172750 h 1509415"/>
                    <a:gd name="connsiteX528" fmla="*/ 327759 w 1523545"/>
                    <a:gd name="connsiteY528" fmla="*/ 1171989 h 1509415"/>
                    <a:gd name="connsiteX529" fmla="*/ 324163 w 1523545"/>
                    <a:gd name="connsiteY529" fmla="*/ 1166929 h 1509415"/>
                    <a:gd name="connsiteX530" fmla="*/ 323133 w 1523545"/>
                    <a:gd name="connsiteY530" fmla="*/ 1165079 h 1509415"/>
                    <a:gd name="connsiteX531" fmla="*/ 315579 w 1523545"/>
                    <a:gd name="connsiteY531" fmla="*/ 1159235 h 1509415"/>
                    <a:gd name="connsiteX532" fmla="*/ 310191 w 1523545"/>
                    <a:gd name="connsiteY532" fmla="*/ 1154129 h 1509415"/>
                    <a:gd name="connsiteX533" fmla="*/ 317605 w 1523545"/>
                    <a:gd name="connsiteY533" fmla="*/ 1151306 h 1509415"/>
                    <a:gd name="connsiteX534" fmla="*/ 316305 w 1523545"/>
                    <a:gd name="connsiteY534" fmla="*/ 1149362 h 1509415"/>
                    <a:gd name="connsiteX535" fmla="*/ 300916 w 1523545"/>
                    <a:gd name="connsiteY535" fmla="*/ 1139864 h 1509415"/>
                    <a:gd name="connsiteX536" fmla="*/ 294123 w 1523545"/>
                    <a:gd name="connsiteY536" fmla="*/ 1122308 h 1509415"/>
                    <a:gd name="connsiteX537" fmla="*/ 303059 w 1523545"/>
                    <a:gd name="connsiteY537" fmla="*/ 1124522 h 1509415"/>
                    <a:gd name="connsiteX538" fmla="*/ 303785 w 1523545"/>
                    <a:gd name="connsiteY538" fmla="*/ 1124135 h 1509415"/>
                    <a:gd name="connsiteX539" fmla="*/ 294838 w 1523545"/>
                    <a:gd name="connsiteY539" fmla="*/ 1120107 h 1509415"/>
                    <a:gd name="connsiteX540" fmla="*/ 298796 w 1523545"/>
                    <a:gd name="connsiteY540" fmla="*/ 1116804 h 1509415"/>
                    <a:gd name="connsiteX541" fmla="*/ 298468 w 1523545"/>
                    <a:gd name="connsiteY541" fmla="*/ 1115375 h 1509415"/>
                    <a:gd name="connsiteX542" fmla="*/ 297028 w 1523545"/>
                    <a:gd name="connsiteY542" fmla="*/ 1108781 h 1509415"/>
                    <a:gd name="connsiteX543" fmla="*/ 289860 w 1523545"/>
                    <a:gd name="connsiteY543" fmla="*/ 1105467 h 1509415"/>
                    <a:gd name="connsiteX544" fmla="*/ 280222 w 1523545"/>
                    <a:gd name="connsiteY544" fmla="*/ 1089340 h 1509415"/>
                    <a:gd name="connsiteX545" fmla="*/ 278769 w 1523545"/>
                    <a:gd name="connsiteY545" fmla="*/ 1080545 h 1509415"/>
                    <a:gd name="connsiteX546" fmla="*/ 276626 w 1523545"/>
                    <a:gd name="connsiteY546" fmla="*/ 1084597 h 1509415"/>
                    <a:gd name="connsiteX547" fmla="*/ 273382 w 1523545"/>
                    <a:gd name="connsiteY547" fmla="*/ 1069173 h 1509415"/>
                    <a:gd name="connsiteX548" fmla="*/ 269342 w 1523545"/>
                    <a:gd name="connsiteY548" fmla="*/ 1060530 h 1509415"/>
                    <a:gd name="connsiteX549" fmla="*/ 273054 w 1523545"/>
                    <a:gd name="connsiteY549" fmla="*/ 1062931 h 1509415"/>
                    <a:gd name="connsiteX550" fmla="*/ 272656 w 1523545"/>
                    <a:gd name="connsiteY550" fmla="*/ 1060741 h 1509415"/>
                    <a:gd name="connsiteX551" fmla="*/ 271988 w 1523545"/>
                    <a:gd name="connsiteY551" fmla="*/ 1057438 h 1509415"/>
                    <a:gd name="connsiteX552" fmla="*/ 272234 w 1523545"/>
                    <a:gd name="connsiteY552" fmla="*/ 1058715 h 1509415"/>
                    <a:gd name="connsiteX553" fmla="*/ 270150 w 1523545"/>
                    <a:gd name="connsiteY553" fmla="*/ 1057438 h 1509415"/>
                    <a:gd name="connsiteX554" fmla="*/ 266402 w 1523545"/>
                    <a:gd name="connsiteY554" fmla="*/ 1034812 h 1509415"/>
                    <a:gd name="connsiteX555" fmla="*/ 263053 w 1523545"/>
                    <a:gd name="connsiteY555" fmla="*/ 1020664 h 1509415"/>
                    <a:gd name="connsiteX556" fmla="*/ 266273 w 1523545"/>
                    <a:gd name="connsiteY556" fmla="*/ 1021800 h 1509415"/>
                    <a:gd name="connsiteX557" fmla="*/ 263744 w 1523545"/>
                    <a:gd name="connsiteY557" fmla="*/ 1005591 h 1509415"/>
                    <a:gd name="connsiteX558" fmla="*/ 255147 w 1523545"/>
                    <a:gd name="connsiteY558" fmla="*/ 983784 h 1509415"/>
                    <a:gd name="connsiteX559" fmla="*/ 255557 w 1523545"/>
                    <a:gd name="connsiteY559" fmla="*/ 979732 h 1509415"/>
                    <a:gd name="connsiteX560" fmla="*/ 253754 w 1523545"/>
                    <a:gd name="connsiteY560" fmla="*/ 981243 h 1509415"/>
                    <a:gd name="connsiteX561" fmla="*/ 249479 w 1523545"/>
                    <a:gd name="connsiteY561" fmla="*/ 971265 h 1509415"/>
                    <a:gd name="connsiteX562" fmla="*/ 250170 w 1523545"/>
                    <a:gd name="connsiteY562" fmla="*/ 967927 h 1509415"/>
                    <a:gd name="connsiteX563" fmla="*/ 255780 w 1523545"/>
                    <a:gd name="connsiteY563" fmla="*/ 973162 h 1509415"/>
                    <a:gd name="connsiteX564" fmla="*/ 248858 w 1523545"/>
                    <a:gd name="connsiteY564" fmla="*/ 964004 h 1509415"/>
                    <a:gd name="connsiteX565" fmla="*/ 253765 w 1523545"/>
                    <a:gd name="connsiteY565" fmla="*/ 959050 h 1509415"/>
                    <a:gd name="connsiteX566" fmla="*/ 254082 w 1523545"/>
                    <a:gd name="connsiteY566" fmla="*/ 957996 h 1509415"/>
                    <a:gd name="connsiteX567" fmla="*/ 249479 w 1523545"/>
                    <a:gd name="connsiteY567" fmla="*/ 938742 h 1509415"/>
                    <a:gd name="connsiteX568" fmla="*/ 253039 w 1523545"/>
                    <a:gd name="connsiteY568" fmla="*/ 943907 h 1509415"/>
                    <a:gd name="connsiteX569" fmla="*/ 254152 w 1523545"/>
                    <a:gd name="connsiteY569" fmla="*/ 939445 h 1509415"/>
                    <a:gd name="connsiteX570" fmla="*/ 252137 w 1523545"/>
                    <a:gd name="connsiteY570" fmla="*/ 936130 h 1509415"/>
                    <a:gd name="connsiteX571" fmla="*/ 252700 w 1523545"/>
                    <a:gd name="connsiteY571" fmla="*/ 931293 h 1509415"/>
                    <a:gd name="connsiteX572" fmla="*/ 250884 w 1523545"/>
                    <a:gd name="connsiteY572" fmla="*/ 930919 h 1509415"/>
                    <a:gd name="connsiteX573" fmla="*/ 256260 w 1523545"/>
                    <a:gd name="connsiteY573" fmla="*/ 928541 h 1509415"/>
                    <a:gd name="connsiteX574" fmla="*/ 252700 w 1523545"/>
                    <a:gd name="connsiteY574" fmla="*/ 929443 h 1509415"/>
                    <a:gd name="connsiteX575" fmla="*/ 251985 w 1523545"/>
                    <a:gd name="connsiteY575" fmla="*/ 920554 h 1509415"/>
                    <a:gd name="connsiteX576" fmla="*/ 247629 w 1523545"/>
                    <a:gd name="connsiteY576" fmla="*/ 929818 h 1509415"/>
                    <a:gd name="connsiteX577" fmla="*/ 247312 w 1523545"/>
                    <a:gd name="connsiteY577" fmla="*/ 927967 h 1509415"/>
                    <a:gd name="connsiteX578" fmla="*/ 243518 w 1523545"/>
                    <a:gd name="connsiteY578" fmla="*/ 934901 h 1509415"/>
                    <a:gd name="connsiteX579" fmla="*/ 243026 w 1523545"/>
                    <a:gd name="connsiteY579" fmla="*/ 931656 h 1509415"/>
                    <a:gd name="connsiteX580" fmla="*/ 241585 w 1523545"/>
                    <a:gd name="connsiteY580" fmla="*/ 932804 h 1509415"/>
                    <a:gd name="connsiteX581" fmla="*/ 243026 w 1523545"/>
                    <a:gd name="connsiteY581" fmla="*/ 927194 h 1509415"/>
                    <a:gd name="connsiteX582" fmla="*/ 243811 w 1523545"/>
                    <a:gd name="connsiteY582" fmla="*/ 919874 h 1509415"/>
                    <a:gd name="connsiteX583" fmla="*/ 242077 w 1523545"/>
                    <a:gd name="connsiteY583" fmla="*/ 921233 h 1509415"/>
                    <a:gd name="connsiteX584" fmla="*/ 244443 w 1523545"/>
                    <a:gd name="connsiteY584" fmla="*/ 915705 h 1509415"/>
                    <a:gd name="connsiteX585" fmla="*/ 241585 w 1523545"/>
                    <a:gd name="connsiteY585" fmla="*/ 918294 h 1509415"/>
                    <a:gd name="connsiteX586" fmla="*/ 254691 w 1523545"/>
                    <a:gd name="connsiteY586" fmla="*/ 918247 h 1509415"/>
                    <a:gd name="connsiteX587" fmla="*/ 255897 w 1523545"/>
                    <a:gd name="connsiteY587" fmla="*/ 917579 h 1509415"/>
                    <a:gd name="connsiteX588" fmla="*/ 244806 w 1523545"/>
                    <a:gd name="connsiteY588" fmla="*/ 910529 h 1509415"/>
                    <a:gd name="connsiteX589" fmla="*/ 247008 w 1523545"/>
                    <a:gd name="connsiteY589" fmla="*/ 900539 h 1509415"/>
                    <a:gd name="connsiteX590" fmla="*/ 239466 w 1523545"/>
                    <a:gd name="connsiteY590" fmla="*/ 897927 h 1509415"/>
                    <a:gd name="connsiteX591" fmla="*/ 240227 w 1523545"/>
                    <a:gd name="connsiteY591" fmla="*/ 901616 h 1509415"/>
                    <a:gd name="connsiteX592" fmla="*/ 236959 w 1523545"/>
                    <a:gd name="connsiteY592" fmla="*/ 890127 h 1509415"/>
                    <a:gd name="connsiteX593" fmla="*/ 239044 w 1523545"/>
                    <a:gd name="connsiteY593" fmla="*/ 891158 h 1509415"/>
                    <a:gd name="connsiteX594" fmla="*/ 239138 w 1523545"/>
                    <a:gd name="connsiteY594" fmla="*/ 886391 h 1509415"/>
                    <a:gd name="connsiteX595" fmla="*/ 236514 w 1523545"/>
                    <a:gd name="connsiteY595" fmla="*/ 888944 h 1509415"/>
                    <a:gd name="connsiteX596" fmla="*/ 240110 w 1523545"/>
                    <a:gd name="connsiteY596" fmla="*/ 860415 h 1509415"/>
                    <a:gd name="connsiteX597" fmla="*/ 247008 w 1523545"/>
                    <a:gd name="connsiteY597" fmla="*/ 847357 h 1509415"/>
                    <a:gd name="connsiteX598" fmla="*/ 250545 w 1523545"/>
                    <a:gd name="connsiteY598" fmla="*/ 833912 h 1509415"/>
                    <a:gd name="connsiteX599" fmla="*/ 249128 w 1523545"/>
                    <a:gd name="connsiteY599" fmla="*/ 830539 h 1509415"/>
                    <a:gd name="connsiteX600" fmla="*/ 248120 w 1523545"/>
                    <a:gd name="connsiteY600" fmla="*/ 827998 h 1509415"/>
                    <a:gd name="connsiteX601" fmla="*/ 244818 w 1523545"/>
                    <a:gd name="connsiteY601" fmla="*/ 829755 h 1509415"/>
                    <a:gd name="connsiteX602" fmla="*/ 247500 w 1523545"/>
                    <a:gd name="connsiteY602" fmla="*/ 821767 h 1509415"/>
                    <a:gd name="connsiteX603" fmla="*/ 241164 w 1523545"/>
                    <a:gd name="connsiteY603" fmla="*/ 818710 h 1509415"/>
                    <a:gd name="connsiteX604" fmla="*/ 239875 w 1523545"/>
                    <a:gd name="connsiteY604" fmla="*/ 814096 h 1509415"/>
                    <a:gd name="connsiteX605" fmla="*/ 237697 w 1523545"/>
                    <a:gd name="connsiteY605" fmla="*/ 816743 h 1509415"/>
                    <a:gd name="connsiteX606" fmla="*/ 236046 w 1523545"/>
                    <a:gd name="connsiteY606" fmla="*/ 815443 h 1509415"/>
                    <a:gd name="connsiteX607" fmla="*/ 233270 w 1523545"/>
                    <a:gd name="connsiteY607" fmla="*/ 814283 h 1509415"/>
                    <a:gd name="connsiteX608" fmla="*/ 239477 w 1523545"/>
                    <a:gd name="connsiteY608" fmla="*/ 809973 h 1509415"/>
                    <a:gd name="connsiteX609" fmla="*/ 234840 w 1523545"/>
                    <a:gd name="connsiteY609" fmla="*/ 805910 h 1509415"/>
                    <a:gd name="connsiteX610" fmla="*/ 234840 w 1523545"/>
                    <a:gd name="connsiteY610" fmla="*/ 801026 h 1509415"/>
                    <a:gd name="connsiteX611" fmla="*/ 230612 w 1523545"/>
                    <a:gd name="connsiteY611" fmla="*/ 799773 h 1509415"/>
                    <a:gd name="connsiteX612" fmla="*/ 240426 w 1523545"/>
                    <a:gd name="connsiteY612" fmla="*/ 795533 h 1509415"/>
                    <a:gd name="connsiteX613" fmla="*/ 231607 w 1523545"/>
                    <a:gd name="connsiteY613" fmla="*/ 798051 h 1509415"/>
                    <a:gd name="connsiteX614" fmla="*/ 244092 w 1523545"/>
                    <a:gd name="connsiteY614" fmla="*/ 785672 h 1509415"/>
                    <a:gd name="connsiteX615" fmla="*/ 259902 w 1523545"/>
                    <a:gd name="connsiteY615" fmla="*/ 778962 h 1509415"/>
                    <a:gd name="connsiteX616" fmla="*/ 235519 w 1523545"/>
                    <a:gd name="connsiteY616" fmla="*/ 783705 h 1509415"/>
                    <a:gd name="connsiteX617" fmla="*/ 230506 w 1523545"/>
                    <a:gd name="connsiteY617" fmla="*/ 775003 h 1509415"/>
                    <a:gd name="connsiteX618" fmla="*/ 239477 w 1523545"/>
                    <a:gd name="connsiteY618" fmla="*/ 766536 h 1509415"/>
                    <a:gd name="connsiteX619" fmla="*/ 229241 w 1523545"/>
                    <a:gd name="connsiteY619" fmla="*/ 770834 h 1509415"/>
                    <a:gd name="connsiteX620" fmla="*/ 229441 w 1523545"/>
                    <a:gd name="connsiteY620" fmla="*/ 757635 h 1509415"/>
                    <a:gd name="connsiteX621" fmla="*/ 239220 w 1523545"/>
                    <a:gd name="connsiteY621" fmla="*/ 756499 h 1509415"/>
                    <a:gd name="connsiteX622" fmla="*/ 248413 w 1523545"/>
                    <a:gd name="connsiteY622" fmla="*/ 750795 h 1509415"/>
                    <a:gd name="connsiteX623" fmla="*/ 233762 w 1523545"/>
                    <a:gd name="connsiteY623" fmla="*/ 751346 h 1509415"/>
                    <a:gd name="connsiteX624" fmla="*/ 225365 w 1523545"/>
                    <a:gd name="connsiteY624" fmla="*/ 751756 h 1509415"/>
                    <a:gd name="connsiteX625" fmla="*/ 221875 w 1523545"/>
                    <a:gd name="connsiteY625" fmla="*/ 746122 h 1509415"/>
                    <a:gd name="connsiteX626" fmla="*/ 217003 w 1523545"/>
                    <a:gd name="connsiteY626" fmla="*/ 752072 h 1509415"/>
                    <a:gd name="connsiteX627" fmla="*/ 211908 w 1523545"/>
                    <a:gd name="connsiteY627" fmla="*/ 751217 h 1509415"/>
                    <a:gd name="connsiteX628" fmla="*/ 208910 w 1523545"/>
                    <a:gd name="connsiteY628" fmla="*/ 750994 h 1509415"/>
                    <a:gd name="connsiteX629" fmla="*/ 213700 w 1523545"/>
                    <a:gd name="connsiteY629" fmla="*/ 750432 h 1509415"/>
                    <a:gd name="connsiteX630" fmla="*/ 216148 w 1523545"/>
                    <a:gd name="connsiteY630" fmla="*/ 763561 h 1509415"/>
                    <a:gd name="connsiteX631" fmla="*/ 209671 w 1523545"/>
                    <a:gd name="connsiteY631" fmla="*/ 767683 h 1509415"/>
                    <a:gd name="connsiteX632" fmla="*/ 206205 w 1523545"/>
                    <a:gd name="connsiteY632" fmla="*/ 765833 h 1509415"/>
                    <a:gd name="connsiteX633" fmla="*/ 207657 w 1523545"/>
                    <a:gd name="connsiteY633" fmla="*/ 767742 h 1509415"/>
                    <a:gd name="connsiteX634" fmla="*/ 205127 w 1523545"/>
                    <a:gd name="connsiteY634" fmla="*/ 767332 h 1509415"/>
                    <a:gd name="connsiteX635" fmla="*/ 206463 w 1523545"/>
                    <a:gd name="connsiteY635" fmla="*/ 769241 h 1509415"/>
                    <a:gd name="connsiteX636" fmla="*/ 202633 w 1523545"/>
                    <a:gd name="connsiteY636" fmla="*/ 769569 h 1509415"/>
                    <a:gd name="connsiteX637" fmla="*/ 209308 w 1523545"/>
                    <a:gd name="connsiteY637" fmla="*/ 770283 h 1509415"/>
                    <a:gd name="connsiteX638" fmla="*/ 209988 w 1523545"/>
                    <a:gd name="connsiteY638" fmla="*/ 774909 h 1509415"/>
                    <a:gd name="connsiteX639" fmla="*/ 204167 w 1523545"/>
                    <a:gd name="connsiteY639" fmla="*/ 771771 h 1509415"/>
                    <a:gd name="connsiteX640" fmla="*/ 203722 w 1523545"/>
                    <a:gd name="connsiteY640" fmla="*/ 772766 h 1509415"/>
                    <a:gd name="connsiteX641" fmla="*/ 206603 w 1523545"/>
                    <a:gd name="connsiteY641" fmla="*/ 775202 h 1509415"/>
                    <a:gd name="connsiteX642" fmla="*/ 201216 w 1523545"/>
                    <a:gd name="connsiteY642" fmla="*/ 777825 h 1509415"/>
                    <a:gd name="connsiteX643" fmla="*/ 202293 w 1523545"/>
                    <a:gd name="connsiteY643" fmla="*/ 777099 h 1509415"/>
                    <a:gd name="connsiteX644" fmla="*/ 202293 w 1523545"/>
                    <a:gd name="connsiteY644" fmla="*/ 778563 h 1509415"/>
                    <a:gd name="connsiteX645" fmla="*/ 214871 w 1523545"/>
                    <a:gd name="connsiteY645" fmla="*/ 783049 h 1509415"/>
                    <a:gd name="connsiteX646" fmla="*/ 208606 w 1523545"/>
                    <a:gd name="connsiteY646" fmla="*/ 801705 h 1509415"/>
                    <a:gd name="connsiteX647" fmla="*/ 201497 w 1523545"/>
                    <a:gd name="connsiteY647" fmla="*/ 812960 h 1509415"/>
                    <a:gd name="connsiteX648" fmla="*/ 177652 w 1523545"/>
                    <a:gd name="connsiteY648" fmla="*/ 823465 h 1509415"/>
                    <a:gd name="connsiteX649" fmla="*/ 178694 w 1523545"/>
                    <a:gd name="connsiteY649" fmla="*/ 821954 h 1509415"/>
                    <a:gd name="connsiteX650" fmla="*/ 162345 w 1523545"/>
                    <a:gd name="connsiteY650" fmla="*/ 830633 h 1509415"/>
                    <a:gd name="connsiteX651" fmla="*/ 149041 w 1523545"/>
                    <a:gd name="connsiteY651" fmla="*/ 835950 h 1509415"/>
                    <a:gd name="connsiteX652" fmla="*/ 119481 w 1523545"/>
                    <a:gd name="connsiteY652" fmla="*/ 827740 h 1509415"/>
                    <a:gd name="connsiteX653" fmla="*/ 87169 w 1523545"/>
                    <a:gd name="connsiteY653" fmla="*/ 797185 h 1509415"/>
                    <a:gd name="connsiteX654" fmla="*/ 65046 w 1523545"/>
                    <a:gd name="connsiteY654" fmla="*/ 772965 h 1509415"/>
                    <a:gd name="connsiteX655" fmla="*/ 48896 w 1523545"/>
                    <a:gd name="connsiteY655" fmla="*/ 739892 h 1509415"/>
                    <a:gd name="connsiteX656" fmla="*/ 51952 w 1523545"/>
                    <a:gd name="connsiteY656" fmla="*/ 743909 h 1509415"/>
                    <a:gd name="connsiteX657" fmla="*/ 55384 w 1523545"/>
                    <a:gd name="connsiteY657" fmla="*/ 744377 h 1509415"/>
                    <a:gd name="connsiteX658" fmla="*/ 53943 w 1523545"/>
                    <a:gd name="connsiteY658" fmla="*/ 749554 h 1509415"/>
                    <a:gd name="connsiteX659" fmla="*/ 71581 w 1523545"/>
                    <a:gd name="connsiteY659" fmla="*/ 741672 h 1509415"/>
                    <a:gd name="connsiteX660" fmla="*/ 82918 w 1523545"/>
                    <a:gd name="connsiteY660" fmla="*/ 739915 h 1509415"/>
                    <a:gd name="connsiteX661" fmla="*/ 91338 w 1523545"/>
                    <a:gd name="connsiteY661" fmla="*/ 739951 h 1509415"/>
                    <a:gd name="connsiteX662" fmla="*/ 96620 w 1523545"/>
                    <a:gd name="connsiteY662" fmla="*/ 736577 h 1509415"/>
                    <a:gd name="connsiteX663" fmla="*/ 103214 w 1523545"/>
                    <a:gd name="connsiteY663" fmla="*/ 736062 h 1509415"/>
                    <a:gd name="connsiteX664" fmla="*/ 113649 w 1523545"/>
                    <a:gd name="connsiteY664" fmla="*/ 722360 h 1509415"/>
                    <a:gd name="connsiteX665" fmla="*/ 121566 w 1523545"/>
                    <a:gd name="connsiteY665" fmla="*/ 713330 h 1509415"/>
                    <a:gd name="connsiteX666" fmla="*/ 123053 w 1523545"/>
                    <a:gd name="connsiteY666" fmla="*/ 705624 h 1509415"/>
                    <a:gd name="connsiteX667" fmla="*/ 117795 w 1523545"/>
                    <a:gd name="connsiteY667" fmla="*/ 711409 h 1509415"/>
                    <a:gd name="connsiteX668" fmla="*/ 108987 w 1523545"/>
                    <a:gd name="connsiteY668" fmla="*/ 711374 h 1509415"/>
                    <a:gd name="connsiteX669" fmla="*/ 103659 w 1523545"/>
                    <a:gd name="connsiteY669" fmla="*/ 711714 h 1509415"/>
                    <a:gd name="connsiteX670" fmla="*/ 103905 w 1523545"/>
                    <a:gd name="connsiteY670" fmla="*/ 715227 h 1509415"/>
                    <a:gd name="connsiteX671" fmla="*/ 89991 w 1523545"/>
                    <a:gd name="connsiteY671" fmla="*/ 718764 h 1509415"/>
                    <a:gd name="connsiteX672" fmla="*/ 82695 w 1523545"/>
                    <a:gd name="connsiteY672" fmla="*/ 724854 h 1509415"/>
                    <a:gd name="connsiteX673" fmla="*/ 67458 w 1523545"/>
                    <a:gd name="connsiteY673" fmla="*/ 722278 h 1509415"/>
                    <a:gd name="connsiteX674" fmla="*/ 23587 w 1523545"/>
                    <a:gd name="connsiteY674" fmla="*/ 698164 h 1509415"/>
                    <a:gd name="connsiteX675" fmla="*/ 25016 w 1523545"/>
                    <a:gd name="connsiteY675" fmla="*/ 696665 h 1509415"/>
                    <a:gd name="connsiteX676" fmla="*/ 24184 w 1523545"/>
                    <a:gd name="connsiteY676" fmla="*/ 693479 h 1509415"/>
                    <a:gd name="connsiteX677" fmla="*/ 20729 w 1523545"/>
                    <a:gd name="connsiteY677" fmla="*/ 688736 h 1509415"/>
                    <a:gd name="connsiteX678" fmla="*/ 16806 w 1523545"/>
                    <a:gd name="connsiteY678" fmla="*/ 686862 h 1509415"/>
                    <a:gd name="connsiteX679" fmla="*/ 17860 w 1523545"/>
                    <a:gd name="connsiteY679" fmla="*/ 683091 h 1509415"/>
                    <a:gd name="connsiteX680" fmla="*/ 15342 w 1523545"/>
                    <a:gd name="connsiteY680" fmla="*/ 681182 h 1509415"/>
                    <a:gd name="connsiteX681" fmla="*/ 18165 w 1523545"/>
                    <a:gd name="connsiteY681" fmla="*/ 677317 h 1509415"/>
                    <a:gd name="connsiteX682" fmla="*/ 16806 w 1523545"/>
                    <a:gd name="connsiteY682" fmla="*/ 675314 h 1509415"/>
                    <a:gd name="connsiteX683" fmla="*/ 25800 w 1523545"/>
                    <a:gd name="connsiteY683" fmla="*/ 669459 h 1509415"/>
                    <a:gd name="connsiteX684" fmla="*/ 35381 w 1523545"/>
                    <a:gd name="connsiteY684" fmla="*/ 663006 h 1509415"/>
                    <a:gd name="connsiteX685" fmla="*/ 18141 w 1523545"/>
                    <a:gd name="connsiteY685" fmla="*/ 670595 h 1509415"/>
                    <a:gd name="connsiteX686" fmla="*/ 0 w 1523545"/>
                    <a:gd name="connsiteY686" fmla="*/ 677668 h 1509415"/>
                    <a:gd name="connsiteX687" fmla="*/ 7132 w 1523545"/>
                    <a:gd name="connsiteY687" fmla="*/ 673628 h 1509415"/>
                    <a:gd name="connsiteX688" fmla="*/ 2822 w 1523545"/>
                    <a:gd name="connsiteY688" fmla="*/ 668732 h 1509415"/>
                    <a:gd name="connsiteX689" fmla="*/ 1277 w 1523545"/>
                    <a:gd name="connsiteY689" fmla="*/ 670243 h 1509415"/>
                    <a:gd name="connsiteX690" fmla="*/ 6090 w 1523545"/>
                    <a:gd name="connsiteY690" fmla="*/ 662069 h 1509415"/>
                    <a:gd name="connsiteX691" fmla="*/ 9744 w 1523545"/>
                    <a:gd name="connsiteY691" fmla="*/ 658145 h 1509415"/>
                    <a:gd name="connsiteX692" fmla="*/ 10950 w 1523545"/>
                    <a:gd name="connsiteY692" fmla="*/ 659656 h 1509415"/>
                    <a:gd name="connsiteX693" fmla="*/ 30286 w 1523545"/>
                    <a:gd name="connsiteY693" fmla="*/ 658228 h 1509415"/>
                    <a:gd name="connsiteX694" fmla="*/ 30368 w 1523545"/>
                    <a:gd name="connsiteY694" fmla="*/ 640320 h 1509415"/>
                    <a:gd name="connsiteX695" fmla="*/ 36259 w 1523545"/>
                    <a:gd name="connsiteY695" fmla="*/ 643248 h 1509415"/>
                    <a:gd name="connsiteX696" fmla="*/ 43192 w 1523545"/>
                    <a:gd name="connsiteY696" fmla="*/ 642147 h 1509415"/>
                    <a:gd name="connsiteX697" fmla="*/ 57375 w 1523545"/>
                    <a:gd name="connsiteY697" fmla="*/ 641328 h 1509415"/>
                    <a:gd name="connsiteX698" fmla="*/ 71136 w 1523545"/>
                    <a:gd name="connsiteY698" fmla="*/ 640941 h 1509415"/>
                    <a:gd name="connsiteX699" fmla="*/ 79662 w 1523545"/>
                    <a:gd name="connsiteY699" fmla="*/ 645883 h 1509415"/>
                    <a:gd name="connsiteX700" fmla="*/ 99560 w 1523545"/>
                    <a:gd name="connsiteY700" fmla="*/ 645157 h 1509415"/>
                    <a:gd name="connsiteX701" fmla="*/ 103015 w 1523545"/>
                    <a:gd name="connsiteY701" fmla="*/ 639419 h 1509415"/>
                    <a:gd name="connsiteX702" fmla="*/ 110440 w 1523545"/>
                    <a:gd name="connsiteY702" fmla="*/ 637369 h 1509415"/>
                    <a:gd name="connsiteX703" fmla="*/ 126215 w 1523545"/>
                    <a:gd name="connsiteY703" fmla="*/ 632872 h 1509415"/>
                    <a:gd name="connsiteX704" fmla="*/ 127351 w 1523545"/>
                    <a:gd name="connsiteY704" fmla="*/ 642077 h 1509415"/>
                    <a:gd name="connsiteX705" fmla="*/ 141581 w 1523545"/>
                    <a:gd name="connsiteY705" fmla="*/ 641316 h 1509415"/>
                    <a:gd name="connsiteX706" fmla="*/ 148830 w 1523545"/>
                    <a:gd name="connsiteY706" fmla="*/ 636608 h 1509415"/>
                    <a:gd name="connsiteX707" fmla="*/ 149029 w 1523545"/>
                    <a:gd name="connsiteY707" fmla="*/ 631279 h 1509415"/>
                    <a:gd name="connsiteX708" fmla="*/ 152355 w 1523545"/>
                    <a:gd name="connsiteY708" fmla="*/ 618560 h 1509415"/>
                    <a:gd name="connsiteX709" fmla="*/ 141440 w 1523545"/>
                    <a:gd name="connsiteY709" fmla="*/ 592608 h 1509415"/>
                    <a:gd name="connsiteX710" fmla="*/ 130970 w 1523545"/>
                    <a:gd name="connsiteY710" fmla="*/ 578835 h 1509415"/>
                    <a:gd name="connsiteX711" fmla="*/ 131075 w 1523545"/>
                    <a:gd name="connsiteY711" fmla="*/ 565144 h 1509415"/>
                    <a:gd name="connsiteX712" fmla="*/ 123814 w 1523545"/>
                    <a:gd name="connsiteY712" fmla="*/ 562931 h 1509415"/>
                    <a:gd name="connsiteX713" fmla="*/ 105942 w 1523545"/>
                    <a:gd name="connsiteY713" fmla="*/ 555131 h 1509415"/>
                    <a:gd name="connsiteX714" fmla="*/ 104490 w 1523545"/>
                    <a:gd name="connsiteY714" fmla="*/ 533207 h 1509415"/>
                    <a:gd name="connsiteX715" fmla="*/ 105099 w 1523545"/>
                    <a:gd name="connsiteY715" fmla="*/ 515628 h 1509415"/>
                    <a:gd name="connsiteX716" fmla="*/ 94992 w 1523545"/>
                    <a:gd name="connsiteY716" fmla="*/ 512559 h 1509415"/>
                    <a:gd name="connsiteX717" fmla="*/ 80165 w 1523545"/>
                    <a:gd name="connsiteY717" fmla="*/ 508168 h 1509415"/>
                    <a:gd name="connsiteX718" fmla="*/ 71148 w 1523545"/>
                    <a:gd name="connsiteY718" fmla="*/ 486630 h 1509415"/>
                    <a:gd name="connsiteX719" fmla="*/ 92181 w 1523545"/>
                    <a:gd name="connsiteY719" fmla="*/ 461263 h 1509415"/>
                    <a:gd name="connsiteX720" fmla="*/ 107313 w 1523545"/>
                    <a:gd name="connsiteY720" fmla="*/ 438648 h 1509415"/>
                    <a:gd name="connsiteX721" fmla="*/ 124376 w 1523545"/>
                    <a:gd name="connsiteY721" fmla="*/ 431996 h 1509415"/>
                    <a:gd name="connsiteX722" fmla="*/ 133921 w 1523545"/>
                    <a:gd name="connsiteY722" fmla="*/ 447701 h 1509415"/>
                    <a:gd name="connsiteX723" fmla="*/ 161338 w 1523545"/>
                    <a:gd name="connsiteY723" fmla="*/ 441693 h 1509415"/>
                    <a:gd name="connsiteX724" fmla="*/ 193849 w 1523545"/>
                    <a:gd name="connsiteY724" fmla="*/ 435908 h 1509415"/>
                    <a:gd name="connsiteX725" fmla="*/ 196203 w 1523545"/>
                    <a:gd name="connsiteY725" fmla="*/ 425718 h 1509415"/>
                    <a:gd name="connsiteX726" fmla="*/ 207458 w 1523545"/>
                    <a:gd name="connsiteY726" fmla="*/ 414628 h 1509415"/>
                    <a:gd name="connsiteX727" fmla="*/ 220341 w 1523545"/>
                    <a:gd name="connsiteY727" fmla="*/ 389214 h 1509415"/>
                    <a:gd name="connsiteX728" fmla="*/ 250498 w 1523545"/>
                    <a:gd name="connsiteY728" fmla="*/ 371892 h 1509415"/>
                    <a:gd name="connsiteX729" fmla="*/ 267234 w 1523545"/>
                    <a:gd name="connsiteY729" fmla="*/ 340517 h 1509415"/>
                    <a:gd name="connsiteX730" fmla="*/ 272621 w 1523545"/>
                    <a:gd name="connsiteY730" fmla="*/ 323781 h 1509415"/>
                    <a:gd name="connsiteX731" fmla="*/ 288443 w 1523545"/>
                    <a:gd name="connsiteY731" fmla="*/ 317586 h 1509415"/>
                    <a:gd name="connsiteX732" fmla="*/ 297274 w 1523545"/>
                    <a:gd name="connsiteY732" fmla="*/ 299398 h 1509415"/>
                    <a:gd name="connsiteX733" fmla="*/ 300611 w 1523545"/>
                    <a:gd name="connsiteY733" fmla="*/ 296997 h 1509415"/>
                    <a:gd name="connsiteX734" fmla="*/ 300284 w 1523545"/>
                    <a:gd name="connsiteY734" fmla="*/ 295428 h 1509415"/>
                    <a:gd name="connsiteX735" fmla="*/ 310496 w 1523545"/>
                    <a:gd name="connsiteY735" fmla="*/ 283107 h 1509415"/>
                    <a:gd name="connsiteX736" fmla="*/ 319127 w 1523545"/>
                    <a:gd name="connsiteY736" fmla="*/ 273457 h 1509415"/>
                    <a:gd name="connsiteX737" fmla="*/ 327197 w 1523545"/>
                    <a:gd name="connsiteY737" fmla="*/ 266910 h 1509415"/>
                    <a:gd name="connsiteX738" fmla="*/ 339857 w 1523545"/>
                    <a:gd name="connsiteY738" fmla="*/ 257459 h 1509415"/>
                    <a:gd name="connsiteX739" fmla="*/ 331998 w 1523545"/>
                    <a:gd name="connsiteY739" fmla="*/ 252739 h 1509415"/>
                    <a:gd name="connsiteX740" fmla="*/ 335043 w 1523545"/>
                    <a:gd name="connsiteY740" fmla="*/ 240512 h 1509415"/>
                    <a:gd name="connsiteX741" fmla="*/ 336777 w 1523545"/>
                    <a:gd name="connsiteY741" fmla="*/ 233626 h 1509415"/>
                    <a:gd name="connsiteX742" fmla="*/ 332268 w 1523545"/>
                    <a:gd name="connsiteY742" fmla="*/ 219923 h 1509415"/>
                    <a:gd name="connsiteX743" fmla="*/ 334399 w 1523545"/>
                    <a:gd name="connsiteY743" fmla="*/ 214431 h 1509415"/>
                    <a:gd name="connsiteX744" fmla="*/ 339763 w 1523545"/>
                    <a:gd name="connsiteY744" fmla="*/ 210660 h 1509415"/>
                    <a:gd name="connsiteX745" fmla="*/ 341906 w 1523545"/>
                    <a:gd name="connsiteY745" fmla="*/ 207509 h 1509415"/>
                    <a:gd name="connsiteX746" fmla="*/ 345830 w 1523545"/>
                    <a:gd name="connsiteY746" fmla="*/ 208048 h 1509415"/>
                    <a:gd name="connsiteX747" fmla="*/ 348254 w 1523545"/>
                    <a:gd name="connsiteY747" fmla="*/ 203785 h 1509415"/>
                    <a:gd name="connsiteX748" fmla="*/ 352892 w 1523545"/>
                    <a:gd name="connsiteY748" fmla="*/ 202790 h 1509415"/>
                    <a:gd name="connsiteX749" fmla="*/ 359228 w 1523545"/>
                    <a:gd name="connsiteY749" fmla="*/ 200799 h 1509415"/>
                    <a:gd name="connsiteX750" fmla="*/ 358829 w 1523545"/>
                    <a:gd name="connsiteY750" fmla="*/ 199159 h 1509415"/>
                    <a:gd name="connsiteX751" fmla="*/ 366735 w 1523545"/>
                    <a:gd name="connsiteY751" fmla="*/ 199616 h 1509415"/>
                    <a:gd name="connsiteX752" fmla="*/ 375436 w 1523545"/>
                    <a:gd name="connsiteY752" fmla="*/ 187389 h 1509415"/>
                    <a:gd name="connsiteX753" fmla="*/ 353840 w 1523545"/>
                    <a:gd name="connsiteY753" fmla="*/ 178804 h 1509415"/>
                    <a:gd name="connsiteX754" fmla="*/ 339353 w 1523545"/>
                    <a:gd name="connsiteY754" fmla="*/ 168346 h 1509415"/>
                    <a:gd name="connsiteX755" fmla="*/ 340501 w 1523545"/>
                    <a:gd name="connsiteY755" fmla="*/ 160078 h 1509415"/>
                    <a:gd name="connsiteX756" fmla="*/ 338217 w 1523545"/>
                    <a:gd name="connsiteY756" fmla="*/ 158168 h 1509415"/>
                    <a:gd name="connsiteX757" fmla="*/ 329609 w 1523545"/>
                    <a:gd name="connsiteY757" fmla="*/ 159867 h 1509415"/>
                    <a:gd name="connsiteX758" fmla="*/ 321552 w 1523545"/>
                    <a:gd name="connsiteY758" fmla="*/ 157712 h 1509415"/>
                    <a:gd name="connsiteX759" fmla="*/ 322395 w 1523545"/>
                    <a:gd name="connsiteY759" fmla="*/ 149642 h 1509415"/>
                    <a:gd name="connsiteX760" fmla="*/ 312674 w 1523545"/>
                    <a:gd name="connsiteY760" fmla="*/ 143166 h 1509415"/>
                    <a:gd name="connsiteX761" fmla="*/ 305003 w 1523545"/>
                    <a:gd name="connsiteY761" fmla="*/ 134406 h 1509415"/>
                    <a:gd name="connsiteX762" fmla="*/ 311011 w 1523545"/>
                    <a:gd name="connsiteY762" fmla="*/ 126524 h 1509415"/>
                    <a:gd name="connsiteX763" fmla="*/ 303914 w 1523545"/>
                    <a:gd name="connsiteY763" fmla="*/ 103031 h 1509415"/>
                    <a:gd name="connsiteX764" fmla="*/ 317394 w 1523545"/>
                    <a:gd name="connsiteY764" fmla="*/ 87454 h 1509415"/>
                    <a:gd name="connsiteX765" fmla="*/ 299991 w 1523545"/>
                    <a:gd name="connsiteY765" fmla="*/ 81458 h 1509415"/>
                    <a:gd name="connsiteX766" fmla="*/ 304992 w 1523545"/>
                    <a:gd name="connsiteY766" fmla="*/ 75345 h 1509415"/>
                    <a:gd name="connsiteX767" fmla="*/ 298503 w 1523545"/>
                    <a:gd name="connsiteY767" fmla="*/ 70227 h 1509415"/>
                    <a:gd name="connsiteX768" fmla="*/ 297637 w 1523545"/>
                    <a:gd name="connsiteY768" fmla="*/ 59066 h 1509415"/>
                    <a:gd name="connsiteX769" fmla="*/ 313646 w 1523545"/>
                    <a:gd name="connsiteY769" fmla="*/ 46628 h 1509415"/>
                    <a:gd name="connsiteX770" fmla="*/ 329668 w 1523545"/>
                    <a:gd name="connsiteY770" fmla="*/ 44063 h 1509415"/>
                    <a:gd name="connsiteX771" fmla="*/ 353852 w 1523545"/>
                    <a:gd name="connsiteY771" fmla="*/ 50235 h 1509415"/>
                    <a:gd name="connsiteX772" fmla="*/ 368726 w 1523545"/>
                    <a:gd name="connsiteY772" fmla="*/ 50235 h 1509415"/>
                    <a:gd name="connsiteX773" fmla="*/ 376748 w 1523545"/>
                    <a:gd name="connsiteY773" fmla="*/ 55646 h 1509415"/>
                    <a:gd name="connsiteX774" fmla="*/ 406648 w 1523545"/>
                    <a:gd name="connsiteY774" fmla="*/ 52191 h 1509415"/>
                    <a:gd name="connsiteX775" fmla="*/ 417059 w 1523545"/>
                    <a:gd name="connsiteY775" fmla="*/ 49275 h 1509415"/>
                    <a:gd name="connsiteX776" fmla="*/ 434755 w 1523545"/>
                    <a:gd name="connsiteY776" fmla="*/ 43595 h 1509415"/>
                    <a:gd name="connsiteX777" fmla="*/ 449043 w 1523545"/>
                    <a:gd name="connsiteY777" fmla="*/ 39426 h 1509415"/>
                    <a:gd name="connsiteX778" fmla="*/ 449922 w 1523545"/>
                    <a:gd name="connsiteY778" fmla="*/ 33816 h 1509415"/>
                    <a:gd name="connsiteX779" fmla="*/ 455005 w 1523545"/>
                    <a:gd name="connsiteY779" fmla="*/ 32773 h 1509415"/>
                    <a:gd name="connsiteX780" fmla="*/ 463671 w 1523545"/>
                    <a:gd name="connsiteY780" fmla="*/ 28171 h 1509415"/>
                    <a:gd name="connsiteX781" fmla="*/ 463730 w 1523545"/>
                    <a:gd name="connsiteY781" fmla="*/ 23521 h 1509415"/>
                    <a:gd name="connsiteX782" fmla="*/ 470393 w 1523545"/>
                    <a:gd name="connsiteY782" fmla="*/ 19352 h 1509415"/>
                    <a:gd name="connsiteX783" fmla="*/ 506723 w 1523545"/>
                    <a:gd name="connsiteY783" fmla="*/ 3436 h 1509415"/>
                    <a:gd name="connsiteX784" fmla="*/ 506723 w 1523545"/>
                    <a:gd name="connsiteY784" fmla="*/ 3436 h 150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Lst>
                  <a:rect l="l" t="t" r="r" b="b"/>
                  <a:pathLst>
                    <a:path w="1523545" h="1509415">
                      <a:moveTo>
                        <a:pt x="1297473" y="1220322"/>
                      </a:moveTo>
                      <a:cubicBezTo>
                        <a:pt x="1301092" y="1221306"/>
                        <a:pt x="1299464" y="1224890"/>
                        <a:pt x="1299722" y="1228848"/>
                      </a:cubicBezTo>
                      <a:cubicBezTo>
                        <a:pt x="1299722" y="1228860"/>
                        <a:pt x="1300753" y="1228497"/>
                        <a:pt x="1300799" y="1228520"/>
                      </a:cubicBezTo>
                      <a:cubicBezTo>
                        <a:pt x="1300062" y="1230347"/>
                        <a:pt x="1298726" y="1231823"/>
                        <a:pt x="1296841" y="1232865"/>
                      </a:cubicBezTo>
                      <a:cubicBezTo>
                        <a:pt x="1297426" y="1233170"/>
                        <a:pt x="1295717" y="1231460"/>
                        <a:pt x="1295799" y="1231518"/>
                      </a:cubicBezTo>
                      <a:cubicBezTo>
                        <a:pt x="1297309" y="1235910"/>
                        <a:pt x="1302041" y="1235781"/>
                        <a:pt x="1299371" y="1243382"/>
                      </a:cubicBezTo>
                      <a:cubicBezTo>
                        <a:pt x="1298047" y="1247141"/>
                        <a:pt x="1295166" y="1251662"/>
                        <a:pt x="1294358" y="1245947"/>
                      </a:cubicBezTo>
                      <a:cubicBezTo>
                        <a:pt x="1293163" y="1247809"/>
                        <a:pt x="1292918" y="1250163"/>
                        <a:pt x="1293632" y="1252869"/>
                      </a:cubicBezTo>
                      <a:cubicBezTo>
                        <a:pt x="1290880" y="1251276"/>
                        <a:pt x="1288830" y="1255199"/>
                        <a:pt x="1292215" y="1254707"/>
                      </a:cubicBezTo>
                      <a:cubicBezTo>
                        <a:pt x="1298258" y="1260001"/>
                        <a:pt x="1296408" y="1275999"/>
                        <a:pt x="1293281" y="1281187"/>
                      </a:cubicBezTo>
                      <a:cubicBezTo>
                        <a:pt x="1292753" y="1280660"/>
                        <a:pt x="1291864" y="1279957"/>
                        <a:pt x="1291137" y="1279348"/>
                      </a:cubicBezTo>
                      <a:cubicBezTo>
                        <a:pt x="1290997" y="1279395"/>
                        <a:pt x="1290470" y="1280262"/>
                        <a:pt x="1288619" y="1280473"/>
                      </a:cubicBezTo>
                      <a:cubicBezTo>
                        <a:pt x="1292871" y="1285883"/>
                        <a:pt x="1292168" y="1296799"/>
                        <a:pt x="1283958" y="1299316"/>
                      </a:cubicBezTo>
                      <a:cubicBezTo>
                        <a:pt x="1284591" y="1299996"/>
                        <a:pt x="1285153" y="1300804"/>
                        <a:pt x="1285797" y="1301506"/>
                      </a:cubicBezTo>
                      <a:cubicBezTo>
                        <a:pt x="1283068" y="1302256"/>
                        <a:pt x="1282084" y="1306156"/>
                        <a:pt x="1282916" y="1309845"/>
                      </a:cubicBezTo>
                      <a:cubicBezTo>
                        <a:pt x="1284532" y="1305207"/>
                        <a:pt x="1285633" y="1306777"/>
                        <a:pt x="1285867" y="1311192"/>
                      </a:cubicBezTo>
                      <a:cubicBezTo>
                        <a:pt x="1286218" y="1318265"/>
                        <a:pt x="1281534" y="1318605"/>
                        <a:pt x="1280058" y="1323770"/>
                      </a:cubicBezTo>
                      <a:cubicBezTo>
                        <a:pt x="1280644" y="1323056"/>
                        <a:pt x="1280656" y="1323044"/>
                        <a:pt x="1281534" y="1321428"/>
                      </a:cubicBezTo>
                      <a:cubicBezTo>
                        <a:pt x="1282717" y="1320702"/>
                        <a:pt x="1282084" y="1322482"/>
                        <a:pt x="1282834" y="1320210"/>
                      </a:cubicBezTo>
                      <a:cubicBezTo>
                        <a:pt x="1285270" y="1322681"/>
                        <a:pt x="1283466" y="1326745"/>
                        <a:pt x="1281850" y="1330153"/>
                      </a:cubicBezTo>
                      <a:cubicBezTo>
                        <a:pt x="1279274" y="1327857"/>
                        <a:pt x="1276065" y="1325281"/>
                        <a:pt x="1278278" y="1322540"/>
                      </a:cubicBezTo>
                      <a:cubicBezTo>
                        <a:pt x="1275702" y="1318957"/>
                        <a:pt x="1273172" y="1316837"/>
                        <a:pt x="1273148" y="1311918"/>
                      </a:cubicBezTo>
                      <a:cubicBezTo>
                        <a:pt x="1273137" y="1310794"/>
                        <a:pt x="1272387" y="1304809"/>
                        <a:pt x="1276486" y="1308756"/>
                      </a:cubicBezTo>
                      <a:cubicBezTo>
                        <a:pt x="1276463" y="1308686"/>
                        <a:pt x="1276615" y="1310337"/>
                        <a:pt x="1276662" y="1310478"/>
                      </a:cubicBezTo>
                      <a:cubicBezTo>
                        <a:pt x="1277201" y="1304470"/>
                        <a:pt x="1276556" y="1293121"/>
                        <a:pt x="1281639" y="1291106"/>
                      </a:cubicBezTo>
                      <a:cubicBezTo>
                        <a:pt x="1281710" y="1291926"/>
                        <a:pt x="1281955" y="1293016"/>
                        <a:pt x="1281967" y="1294093"/>
                      </a:cubicBezTo>
                      <a:cubicBezTo>
                        <a:pt x="1285773" y="1294058"/>
                        <a:pt x="1286453" y="1291634"/>
                        <a:pt x="1284028" y="1288788"/>
                      </a:cubicBezTo>
                      <a:cubicBezTo>
                        <a:pt x="1284509" y="1288624"/>
                        <a:pt x="1285305" y="1288753"/>
                        <a:pt x="1285855" y="1288436"/>
                      </a:cubicBezTo>
                      <a:cubicBezTo>
                        <a:pt x="1280000" y="1286047"/>
                        <a:pt x="1279180" y="1271162"/>
                        <a:pt x="1285282" y="1268211"/>
                      </a:cubicBezTo>
                      <a:cubicBezTo>
                        <a:pt x="1279039" y="1263116"/>
                        <a:pt x="1285809" y="1259708"/>
                        <a:pt x="1286851" y="1255410"/>
                      </a:cubicBezTo>
                      <a:cubicBezTo>
                        <a:pt x="1288010" y="1250608"/>
                        <a:pt x="1287191" y="1245607"/>
                        <a:pt x="1287928" y="1241216"/>
                      </a:cubicBezTo>
                      <a:cubicBezTo>
                        <a:pt x="1288619" y="1237093"/>
                        <a:pt x="1290048" y="1220252"/>
                        <a:pt x="1297216" y="1221212"/>
                      </a:cubicBezTo>
                      <a:cubicBezTo>
                        <a:pt x="1296689" y="1219912"/>
                        <a:pt x="1297075" y="1220334"/>
                        <a:pt x="1297473" y="1220322"/>
                      </a:cubicBezTo>
                      <a:lnTo>
                        <a:pt x="1297473" y="1220322"/>
                      </a:lnTo>
                      <a:close/>
                      <a:moveTo>
                        <a:pt x="506723" y="3436"/>
                      </a:moveTo>
                      <a:cubicBezTo>
                        <a:pt x="509721" y="3471"/>
                        <a:pt x="511630" y="-546"/>
                        <a:pt x="514171" y="63"/>
                      </a:cubicBezTo>
                      <a:cubicBezTo>
                        <a:pt x="520039" y="1492"/>
                        <a:pt x="514546" y="6610"/>
                        <a:pt x="514511" y="11072"/>
                      </a:cubicBezTo>
                      <a:cubicBezTo>
                        <a:pt x="514441" y="18438"/>
                        <a:pt x="520765" y="28054"/>
                        <a:pt x="523142" y="35256"/>
                      </a:cubicBezTo>
                      <a:cubicBezTo>
                        <a:pt x="526012" y="43946"/>
                        <a:pt x="527803" y="51957"/>
                        <a:pt x="537067" y="54592"/>
                      </a:cubicBezTo>
                      <a:cubicBezTo>
                        <a:pt x="543075" y="56302"/>
                        <a:pt x="546928" y="55915"/>
                        <a:pt x="552187" y="59581"/>
                      </a:cubicBezTo>
                      <a:cubicBezTo>
                        <a:pt x="554517" y="61221"/>
                        <a:pt x="560467" y="64371"/>
                        <a:pt x="562270" y="66268"/>
                      </a:cubicBezTo>
                      <a:cubicBezTo>
                        <a:pt x="567623" y="71878"/>
                        <a:pt x="565714" y="75181"/>
                        <a:pt x="559916" y="79362"/>
                      </a:cubicBezTo>
                      <a:cubicBezTo>
                        <a:pt x="554998" y="82922"/>
                        <a:pt x="551835" y="81786"/>
                        <a:pt x="551953" y="89000"/>
                      </a:cubicBezTo>
                      <a:cubicBezTo>
                        <a:pt x="552046" y="94106"/>
                        <a:pt x="555372" y="99470"/>
                        <a:pt x="555501" y="104987"/>
                      </a:cubicBezTo>
                      <a:cubicBezTo>
                        <a:pt x="555771" y="116909"/>
                        <a:pt x="557715" y="120785"/>
                        <a:pt x="566205" y="129019"/>
                      </a:cubicBezTo>
                      <a:cubicBezTo>
                        <a:pt x="570527" y="133223"/>
                        <a:pt x="572811" y="133715"/>
                        <a:pt x="579240" y="135671"/>
                      </a:cubicBezTo>
                      <a:cubicBezTo>
                        <a:pt x="590905" y="139231"/>
                        <a:pt x="581864" y="138786"/>
                        <a:pt x="583749" y="147956"/>
                      </a:cubicBezTo>
                      <a:cubicBezTo>
                        <a:pt x="584733" y="152711"/>
                        <a:pt x="592943" y="157759"/>
                        <a:pt x="592674" y="163181"/>
                      </a:cubicBezTo>
                      <a:cubicBezTo>
                        <a:pt x="592451" y="167409"/>
                        <a:pt x="587837" y="171133"/>
                        <a:pt x="584546" y="173054"/>
                      </a:cubicBezTo>
                      <a:cubicBezTo>
                        <a:pt x="581337" y="174939"/>
                        <a:pt x="578983" y="174014"/>
                        <a:pt x="576629" y="175314"/>
                      </a:cubicBezTo>
                      <a:cubicBezTo>
                        <a:pt x="571804" y="177996"/>
                        <a:pt x="571628" y="181193"/>
                        <a:pt x="567459" y="182821"/>
                      </a:cubicBezTo>
                      <a:cubicBezTo>
                        <a:pt x="560643" y="185480"/>
                        <a:pt x="556309" y="180783"/>
                        <a:pt x="553100" y="174494"/>
                      </a:cubicBezTo>
                      <a:cubicBezTo>
                        <a:pt x="551929" y="172222"/>
                        <a:pt x="554623" y="168943"/>
                        <a:pt x="551976" y="167866"/>
                      </a:cubicBezTo>
                      <a:cubicBezTo>
                        <a:pt x="550981" y="167456"/>
                        <a:pt x="546659" y="171122"/>
                        <a:pt x="544961" y="171578"/>
                      </a:cubicBezTo>
                      <a:cubicBezTo>
                        <a:pt x="533940" y="174541"/>
                        <a:pt x="534104" y="169950"/>
                        <a:pt x="537184" y="181100"/>
                      </a:cubicBezTo>
                      <a:cubicBezTo>
                        <a:pt x="537793" y="183290"/>
                        <a:pt x="537360" y="186768"/>
                        <a:pt x="538274" y="189157"/>
                      </a:cubicBezTo>
                      <a:cubicBezTo>
                        <a:pt x="539339" y="191956"/>
                        <a:pt x="539866" y="190762"/>
                        <a:pt x="541764" y="193713"/>
                      </a:cubicBezTo>
                      <a:cubicBezTo>
                        <a:pt x="544012" y="197215"/>
                        <a:pt x="549118" y="201033"/>
                        <a:pt x="550688" y="204206"/>
                      </a:cubicBezTo>
                      <a:cubicBezTo>
                        <a:pt x="552749" y="208376"/>
                        <a:pt x="551824" y="206198"/>
                        <a:pt x="551414" y="211339"/>
                      </a:cubicBezTo>
                      <a:cubicBezTo>
                        <a:pt x="551133" y="215087"/>
                        <a:pt x="549563" y="216047"/>
                        <a:pt x="550442" y="219244"/>
                      </a:cubicBezTo>
                      <a:cubicBezTo>
                        <a:pt x="551016" y="221352"/>
                        <a:pt x="553288" y="222945"/>
                        <a:pt x="553662" y="223847"/>
                      </a:cubicBezTo>
                      <a:cubicBezTo>
                        <a:pt x="554365" y="225475"/>
                        <a:pt x="556883" y="225908"/>
                        <a:pt x="556672" y="227958"/>
                      </a:cubicBezTo>
                      <a:cubicBezTo>
                        <a:pt x="556473" y="229738"/>
                        <a:pt x="551636" y="230850"/>
                        <a:pt x="551238" y="232396"/>
                      </a:cubicBezTo>
                      <a:cubicBezTo>
                        <a:pt x="550969" y="233485"/>
                        <a:pt x="552737" y="238088"/>
                        <a:pt x="553417" y="239669"/>
                      </a:cubicBezTo>
                      <a:cubicBezTo>
                        <a:pt x="555080" y="243557"/>
                        <a:pt x="551004" y="244108"/>
                        <a:pt x="556391" y="245490"/>
                      </a:cubicBezTo>
                      <a:cubicBezTo>
                        <a:pt x="559214" y="246216"/>
                        <a:pt x="561099" y="244400"/>
                        <a:pt x="562048" y="241836"/>
                      </a:cubicBezTo>
                      <a:cubicBezTo>
                        <a:pt x="562879" y="242585"/>
                        <a:pt x="564273" y="243101"/>
                        <a:pt x="565081" y="243815"/>
                      </a:cubicBezTo>
                      <a:cubicBezTo>
                        <a:pt x="565866" y="228391"/>
                        <a:pt x="577612" y="246286"/>
                        <a:pt x="579475" y="249600"/>
                      </a:cubicBezTo>
                      <a:cubicBezTo>
                        <a:pt x="582145" y="254344"/>
                        <a:pt x="587860" y="262811"/>
                        <a:pt x="593294" y="264357"/>
                      </a:cubicBezTo>
                      <a:cubicBezTo>
                        <a:pt x="597979" y="265692"/>
                        <a:pt x="601094" y="262694"/>
                        <a:pt x="606001" y="263537"/>
                      </a:cubicBezTo>
                      <a:cubicBezTo>
                        <a:pt x="611705" y="264509"/>
                        <a:pt x="615101" y="270306"/>
                        <a:pt x="620406" y="272637"/>
                      </a:cubicBezTo>
                      <a:cubicBezTo>
                        <a:pt x="624634" y="274499"/>
                        <a:pt x="628312" y="274745"/>
                        <a:pt x="629916" y="279137"/>
                      </a:cubicBezTo>
                      <a:cubicBezTo>
                        <a:pt x="630139" y="279734"/>
                        <a:pt x="627656" y="281081"/>
                        <a:pt x="627726" y="282322"/>
                      </a:cubicBezTo>
                      <a:cubicBezTo>
                        <a:pt x="627878" y="284747"/>
                        <a:pt x="629331" y="284442"/>
                        <a:pt x="627867" y="287499"/>
                      </a:cubicBezTo>
                      <a:cubicBezTo>
                        <a:pt x="634050" y="286058"/>
                        <a:pt x="650458" y="292933"/>
                        <a:pt x="655834" y="296810"/>
                      </a:cubicBezTo>
                      <a:cubicBezTo>
                        <a:pt x="657391" y="297934"/>
                        <a:pt x="657591" y="300112"/>
                        <a:pt x="659265" y="301166"/>
                      </a:cubicBezTo>
                      <a:cubicBezTo>
                        <a:pt x="661584" y="302630"/>
                        <a:pt x="666972" y="302537"/>
                        <a:pt x="668564" y="304504"/>
                      </a:cubicBezTo>
                      <a:cubicBezTo>
                        <a:pt x="672066" y="308802"/>
                        <a:pt x="667229" y="311110"/>
                        <a:pt x="664582" y="307479"/>
                      </a:cubicBezTo>
                      <a:cubicBezTo>
                        <a:pt x="660542" y="313604"/>
                        <a:pt x="654581" y="317024"/>
                        <a:pt x="649076" y="322118"/>
                      </a:cubicBezTo>
                      <a:cubicBezTo>
                        <a:pt x="646605" y="324402"/>
                        <a:pt x="643759" y="329016"/>
                        <a:pt x="641452" y="331651"/>
                      </a:cubicBezTo>
                      <a:cubicBezTo>
                        <a:pt x="639953" y="333350"/>
                        <a:pt x="638091" y="332237"/>
                        <a:pt x="636978" y="334896"/>
                      </a:cubicBezTo>
                      <a:cubicBezTo>
                        <a:pt x="636416" y="336231"/>
                        <a:pt x="638360" y="337999"/>
                        <a:pt x="638009" y="338924"/>
                      </a:cubicBezTo>
                      <a:cubicBezTo>
                        <a:pt x="636545" y="342836"/>
                        <a:pt x="635479" y="345026"/>
                        <a:pt x="633195" y="348902"/>
                      </a:cubicBezTo>
                      <a:cubicBezTo>
                        <a:pt x="630795" y="352955"/>
                        <a:pt x="631251" y="350964"/>
                        <a:pt x="631122" y="355555"/>
                      </a:cubicBezTo>
                      <a:cubicBezTo>
                        <a:pt x="631005" y="359783"/>
                        <a:pt x="635198" y="359408"/>
                        <a:pt x="631942" y="364935"/>
                      </a:cubicBezTo>
                      <a:cubicBezTo>
                        <a:pt x="631509" y="364983"/>
                        <a:pt x="630361" y="364490"/>
                        <a:pt x="629905" y="364444"/>
                      </a:cubicBezTo>
                      <a:cubicBezTo>
                        <a:pt x="632106" y="369866"/>
                        <a:pt x="627878" y="367571"/>
                        <a:pt x="627012" y="369433"/>
                      </a:cubicBezTo>
                      <a:cubicBezTo>
                        <a:pt x="626461" y="370604"/>
                        <a:pt x="624787" y="374563"/>
                        <a:pt x="624025" y="375804"/>
                      </a:cubicBezTo>
                      <a:cubicBezTo>
                        <a:pt x="621906" y="379282"/>
                        <a:pt x="618814" y="381578"/>
                        <a:pt x="621097" y="386227"/>
                      </a:cubicBezTo>
                      <a:cubicBezTo>
                        <a:pt x="624564" y="393277"/>
                        <a:pt x="639883" y="395257"/>
                        <a:pt x="643970" y="401253"/>
                      </a:cubicBezTo>
                      <a:cubicBezTo>
                        <a:pt x="640035" y="388323"/>
                        <a:pt x="652039" y="399332"/>
                        <a:pt x="654792" y="400972"/>
                      </a:cubicBezTo>
                      <a:cubicBezTo>
                        <a:pt x="660436" y="404345"/>
                        <a:pt x="665531" y="407905"/>
                        <a:pt x="670274" y="410002"/>
                      </a:cubicBezTo>
                      <a:cubicBezTo>
                        <a:pt x="673600" y="411466"/>
                        <a:pt x="677606" y="411348"/>
                        <a:pt x="680557" y="413937"/>
                      </a:cubicBezTo>
                      <a:cubicBezTo>
                        <a:pt x="682314" y="415482"/>
                        <a:pt x="685101" y="424606"/>
                        <a:pt x="685417" y="424793"/>
                      </a:cubicBezTo>
                      <a:cubicBezTo>
                        <a:pt x="688556" y="426655"/>
                        <a:pt x="688228" y="422580"/>
                        <a:pt x="691296" y="423973"/>
                      </a:cubicBezTo>
                      <a:cubicBezTo>
                        <a:pt x="693709" y="425062"/>
                        <a:pt x="694658" y="428283"/>
                        <a:pt x="696531" y="429876"/>
                      </a:cubicBezTo>
                      <a:cubicBezTo>
                        <a:pt x="699705" y="432558"/>
                        <a:pt x="711030" y="440592"/>
                        <a:pt x="714532" y="441037"/>
                      </a:cubicBezTo>
                      <a:cubicBezTo>
                        <a:pt x="718643" y="441552"/>
                        <a:pt x="719615" y="437723"/>
                        <a:pt x="724229" y="437981"/>
                      </a:cubicBezTo>
                      <a:cubicBezTo>
                        <a:pt x="726735" y="438121"/>
                        <a:pt x="730776" y="441927"/>
                        <a:pt x="732732" y="443216"/>
                      </a:cubicBezTo>
                      <a:cubicBezTo>
                        <a:pt x="737217" y="446178"/>
                        <a:pt x="741726" y="451027"/>
                        <a:pt x="746949" y="451718"/>
                      </a:cubicBezTo>
                      <a:cubicBezTo>
                        <a:pt x="753285" y="452561"/>
                        <a:pt x="755288" y="447677"/>
                        <a:pt x="759493" y="452760"/>
                      </a:cubicBezTo>
                      <a:cubicBezTo>
                        <a:pt x="760957" y="454529"/>
                        <a:pt x="759223" y="458487"/>
                        <a:pt x="760875" y="460186"/>
                      </a:cubicBezTo>
                      <a:cubicBezTo>
                        <a:pt x="763088" y="462469"/>
                        <a:pt x="765629" y="461122"/>
                        <a:pt x="768522" y="461907"/>
                      </a:cubicBezTo>
                      <a:cubicBezTo>
                        <a:pt x="773933" y="463371"/>
                        <a:pt x="780269" y="463863"/>
                        <a:pt x="785082" y="466135"/>
                      </a:cubicBezTo>
                      <a:cubicBezTo>
                        <a:pt x="788022" y="467517"/>
                        <a:pt x="787893" y="472166"/>
                        <a:pt x="791875" y="470105"/>
                      </a:cubicBezTo>
                      <a:cubicBezTo>
                        <a:pt x="795951" y="468009"/>
                        <a:pt x="792121" y="464683"/>
                        <a:pt x="795131" y="462868"/>
                      </a:cubicBezTo>
                      <a:cubicBezTo>
                        <a:pt x="800260" y="459787"/>
                        <a:pt x="826928" y="475176"/>
                        <a:pt x="818472" y="464917"/>
                      </a:cubicBezTo>
                      <a:cubicBezTo>
                        <a:pt x="821774" y="463898"/>
                        <a:pt x="824386" y="465198"/>
                        <a:pt x="827501" y="464531"/>
                      </a:cubicBezTo>
                      <a:cubicBezTo>
                        <a:pt x="834236" y="463102"/>
                        <a:pt x="829317" y="460127"/>
                        <a:pt x="835746" y="462774"/>
                      </a:cubicBezTo>
                      <a:cubicBezTo>
                        <a:pt x="837772" y="463605"/>
                        <a:pt x="838990" y="466404"/>
                        <a:pt x="841063" y="467470"/>
                      </a:cubicBezTo>
                      <a:cubicBezTo>
                        <a:pt x="846568" y="470339"/>
                        <a:pt x="855187" y="467880"/>
                        <a:pt x="859427" y="472799"/>
                      </a:cubicBezTo>
                      <a:cubicBezTo>
                        <a:pt x="868328" y="483105"/>
                        <a:pt x="852154" y="484522"/>
                        <a:pt x="868058" y="488820"/>
                      </a:cubicBezTo>
                      <a:cubicBezTo>
                        <a:pt x="873809" y="490378"/>
                        <a:pt x="876303" y="496070"/>
                        <a:pt x="880238" y="497944"/>
                      </a:cubicBezTo>
                      <a:cubicBezTo>
                        <a:pt x="881913" y="498740"/>
                        <a:pt x="884373" y="495906"/>
                        <a:pt x="885684" y="496819"/>
                      </a:cubicBezTo>
                      <a:cubicBezTo>
                        <a:pt x="886363" y="497299"/>
                        <a:pt x="888109" y="500403"/>
                        <a:pt x="887898" y="500297"/>
                      </a:cubicBezTo>
                      <a:cubicBezTo>
                        <a:pt x="892301" y="502523"/>
                        <a:pt x="892840" y="503623"/>
                        <a:pt x="898157" y="502335"/>
                      </a:cubicBezTo>
                      <a:cubicBezTo>
                        <a:pt x="900698" y="501715"/>
                        <a:pt x="904446" y="498857"/>
                        <a:pt x="907433" y="498623"/>
                      </a:cubicBezTo>
                      <a:cubicBezTo>
                        <a:pt x="917809" y="497826"/>
                        <a:pt x="912398" y="501012"/>
                        <a:pt x="915900" y="506739"/>
                      </a:cubicBezTo>
                      <a:cubicBezTo>
                        <a:pt x="921920" y="516588"/>
                        <a:pt x="922048" y="510287"/>
                        <a:pt x="930165" y="509222"/>
                      </a:cubicBezTo>
                      <a:cubicBezTo>
                        <a:pt x="933760" y="508753"/>
                        <a:pt x="935681" y="511166"/>
                        <a:pt x="939065" y="511634"/>
                      </a:cubicBezTo>
                      <a:cubicBezTo>
                        <a:pt x="941501" y="511974"/>
                        <a:pt x="943481" y="510768"/>
                        <a:pt x="945718" y="511107"/>
                      </a:cubicBezTo>
                      <a:cubicBezTo>
                        <a:pt x="952335" y="512114"/>
                        <a:pt x="961165" y="521413"/>
                        <a:pt x="968649" y="522081"/>
                      </a:cubicBezTo>
                      <a:cubicBezTo>
                        <a:pt x="972549" y="522432"/>
                        <a:pt x="982140" y="515909"/>
                        <a:pt x="985759" y="512817"/>
                      </a:cubicBezTo>
                      <a:cubicBezTo>
                        <a:pt x="986122" y="519797"/>
                        <a:pt x="988125" y="520348"/>
                        <a:pt x="992763" y="522983"/>
                      </a:cubicBezTo>
                      <a:cubicBezTo>
                        <a:pt x="992505" y="522831"/>
                        <a:pt x="997670" y="524939"/>
                        <a:pt x="997096" y="524974"/>
                      </a:cubicBezTo>
                      <a:cubicBezTo>
                        <a:pt x="1000668" y="524716"/>
                        <a:pt x="1000000" y="522831"/>
                        <a:pt x="1002917" y="522303"/>
                      </a:cubicBezTo>
                      <a:cubicBezTo>
                        <a:pt x="1008105" y="521355"/>
                        <a:pt x="1011888" y="523334"/>
                        <a:pt x="1016771" y="522819"/>
                      </a:cubicBezTo>
                      <a:cubicBezTo>
                        <a:pt x="1020859" y="522385"/>
                        <a:pt x="1022287" y="520652"/>
                        <a:pt x="1026012" y="520851"/>
                      </a:cubicBezTo>
                      <a:cubicBezTo>
                        <a:pt x="1028460" y="520968"/>
                        <a:pt x="1027769" y="519621"/>
                        <a:pt x="1030240" y="520488"/>
                      </a:cubicBezTo>
                      <a:cubicBezTo>
                        <a:pt x="1031352" y="520886"/>
                        <a:pt x="1032043" y="524423"/>
                        <a:pt x="1034104" y="524400"/>
                      </a:cubicBezTo>
                      <a:cubicBezTo>
                        <a:pt x="1039902" y="524365"/>
                        <a:pt x="1039585" y="517150"/>
                        <a:pt x="1041096" y="512642"/>
                      </a:cubicBezTo>
                      <a:cubicBezTo>
                        <a:pt x="1043216" y="506352"/>
                        <a:pt x="1045687" y="503401"/>
                        <a:pt x="1043427" y="496526"/>
                      </a:cubicBezTo>
                      <a:cubicBezTo>
                        <a:pt x="1041904" y="491889"/>
                        <a:pt x="1037126" y="489066"/>
                        <a:pt x="1035533" y="485178"/>
                      </a:cubicBezTo>
                      <a:cubicBezTo>
                        <a:pt x="1033355" y="479837"/>
                        <a:pt x="1036857" y="469883"/>
                        <a:pt x="1037583" y="464226"/>
                      </a:cubicBezTo>
                      <a:cubicBezTo>
                        <a:pt x="1038274" y="458874"/>
                        <a:pt x="1041705" y="454072"/>
                        <a:pt x="1042970" y="448263"/>
                      </a:cubicBezTo>
                      <a:cubicBezTo>
                        <a:pt x="1043380" y="446389"/>
                        <a:pt x="1044504" y="444597"/>
                        <a:pt x="1044305" y="442642"/>
                      </a:cubicBezTo>
                      <a:cubicBezTo>
                        <a:pt x="1044141" y="441108"/>
                        <a:pt x="1041038" y="441096"/>
                        <a:pt x="1041225" y="439807"/>
                      </a:cubicBezTo>
                      <a:cubicBezTo>
                        <a:pt x="1042150" y="433647"/>
                        <a:pt x="1056836" y="432886"/>
                        <a:pt x="1062915" y="430567"/>
                      </a:cubicBezTo>
                      <a:cubicBezTo>
                        <a:pt x="1066979" y="429021"/>
                        <a:pt x="1068923" y="425929"/>
                        <a:pt x="1074134" y="429935"/>
                      </a:cubicBezTo>
                      <a:cubicBezTo>
                        <a:pt x="1078081" y="432968"/>
                        <a:pt x="1078784" y="434186"/>
                        <a:pt x="1079451" y="438753"/>
                      </a:cubicBezTo>
                      <a:cubicBezTo>
                        <a:pt x="1080587" y="446588"/>
                        <a:pt x="1075177" y="452011"/>
                        <a:pt x="1074380" y="459049"/>
                      </a:cubicBezTo>
                      <a:cubicBezTo>
                        <a:pt x="1073771" y="464437"/>
                        <a:pt x="1078702" y="465912"/>
                        <a:pt x="1079932" y="469742"/>
                      </a:cubicBezTo>
                      <a:cubicBezTo>
                        <a:pt x="1081337" y="474134"/>
                        <a:pt x="1081911" y="470246"/>
                        <a:pt x="1079885" y="474321"/>
                      </a:cubicBezTo>
                      <a:cubicBezTo>
                        <a:pt x="1078878" y="476359"/>
                        <a:pt x="1074228" y="475410"/>
                        <a:pt x="1074146" y="479650"/>
                      </a:cubicBezTo>
                      <a:cubicBezTo>
                        <a:pt x="1074088" y="482672"/>
                        <a:pt x="1077906" y="481536"/>
                        <a:pt x="1079100" y="484124"/>
                      </a:cubicBezTo>
                      <a:cubicBezTo>
                        <a:pt x="1080189" y="486490"/>
                        <a:pt x="1080131" y="489734"/>
                        <a:pt x="1080189" y="492345"/>
                      </a:cubicBezTo>
                      <a:cubicBezTo>
                        <a:pt x="1084242" y="488035"/>
                        <a:pt x="1089371" y="498002"/>
                        <a:pt x="1094196" y="499642"/>
                      </a:cubicBezTo>
                      <a:cubicBezTo>
                        <a:pt x="1098167" y="501000"/>
                        <a:pt x="1122175" y="495250"/>
                        <a:pt x="1119095" y="504935"/>
                      </a:cubicBezTo>
                      <a:cubicBezTo>
                        <a:pt x="1123042" y="504373"/>
                        <a:pt x="1129741" y="504994"/>
                        <a:pt x="1132200" y="504760"/>
                      </a:cubicBezTo>
                      <a:cubicBezTo>
                        <a:pt x="1135854" y="504408"/>
                        <a:pt x="1141253" y="505579"/>
                        <a:pt x="1144743" y="503776"/>
                      </a:cubicBezTo>
                      <a:cubicBezTo>
                        <a:pt x="1149404" y="501351"/>
                        <a:pt x="1149826" y="498342"/>
                        <a:pt x="1155330" y="496995"/>
                      </a:cubicBezTo>
                      <a:cubicBezTo>
                        <a:pt x="1162229" y="495308"/>
                        <a:pt x="1163224" y="499407"/>
                        <a:pt x="1170731" y="501621"/>
                      </a:cubicBezTo>
                      <a:cubicBezTo>
                        <a:pt x="1177489" y="503612"/>
                        <a:pt x="1186073" y="502042"/>
                        <a:pt x="1192901" y="501386"/>
                      </a:cubicBezTo>
                      <a:cubicBezTo>
                        <a:pt x="1196543" y="501035"/>
                        <a:pt x="1203395" y="502394"/>
                        <a:pt x="1206264" y="501820"/>
                      </a:cubicBezTo>
                      <a:cubicBezTo>
                        <a:pt x="1209250" y="501211"/>
                        <a:pt x="1211604" y="496819"/>
                        <a:pt x="1213431" y="496620"/>
                      </a:cubicBezTo>
                      <a:cubicBezTo>
                        <a:pt x="1218643" y="496046"/>
                        <a:pt x="1219615" y="501223"/>
                        <a:pt x="1225916" y="500602"/>
                      </a:cubicBezTo>
                      <a:cubicBezTo>
                        <a:pt x="1230846" y="500110"/>
                        <a:pt x="1235484" y="494617"/>
                        <a:pt x="1238061" y="500344"/>
                      </a:cubicBezTo>
                      <a:cubicBezTo>
                        <a:pt x="1237850" y="498236"/>
                        <a:pt x="1238716" y="497979"/>
                        <a:pt x="1238810" y="495952"/>
                      </a:cubicBezTo>
                      <a:cubicBezTo>
                        <a:pt x="1245064" y="499466"/>
                        <a:pt x="1249198" y="496925"/>
                        <a:pt x="1247887" y="489605"/>
                      </a:cubicBezTo>
                      <a:cubicBezTo>
                        <a:pt x="1246762" y="483339"/>
                        <a:pt x="1244268" y="485037"/>
                        <a:pt x="1245509" y="478549"/>
                      </a:cubicBezTo>
                      <a:cubicBezTo>
                        <a:pt x="1246481" y="473455"/>
                        <a:pt x="1252138" y="470339"/>
                        <a:pt x="1244725" y="464952"/>
                      </a:cubicBezTo>
                      <a:cubicBezTo>
                        <a:pt x="1240227" y="461685"/>
                        <a:pt x="1237662" y="467154"/>
                        <a:pt x="1231748" y="465889"/>
                      </a:cubicBezTo>
                      <a:cubicBezTo>
                        <a:pt x="1222379" y="463898"/>
                        <a:pt x="1217671" y="446085"/>
                        <a:pt x="1232018" y="446389"/>
                      </a:cubicBezTo>
                      <a:cubicBezTo>
                        <a:pt x="1237745" y="446518"/>
                        <a:pt x="1240028" y="448369"/>
                        <a:pt x="1245779" y="446893"/>
                      </a:cubicBezTo>
                      <a:cubicBezTo>
                        <a:pt x="1248648" y="446155"/>
                        <a:pt x="1251482" y="444668"/>
                        <a:pt x="1254785" y="443930"/>
                      </a:cubicBezTo>
                      <a:cubicBezTo>
                        <a:pt x="1256612" y="443520"/>
                        <a:pt x="1256846" y="442642"/>
                        <a:pt x="1256905" y="440651"/>
                      </a:cubicBezTo>
                      <a:cubicBezTo>
                        <a:pt x="1257467" y="442079"/>
                        <a:pt x="1259469" y="443789"/>
                        <a:pt x="1260254" y="445101"/>
                      </a:cubicBezTo>
                      <a:cubicBezTo>
                        <a:pt x="1260980" y="444387"/>
                        <a:pt x="1261144" y="443356"/>
                        <a:pt x="1261554" y="442466"/>
                      </a:cubicBezTo>
                      <a:cubicBezTo>
                        <a:pt x="1262350" y="442630"/>
                        <a:pt x="1262327" y="443836"/>
                        <a:pt x="1263592" y="444105"/>
                      </a:cubicBezTo>
                      <a:cubicBezTo>
                        <a:pt x="1263978" y="443005"/>
                        <a:pt x="1264213" y="442103"/>
                        <a:pt x="1264880" y="441166"/>
                      </a:cubicBezTo>
                      <a:cubicBezTo>
                        <a:pt x="1268288" y="445335"/>
                        <a:pt x="1279765" y="436950"/>
                        <a:pt x="1280843" y="432054"/>
                      </a:cubicBezTo>
                      <a:cubicBezTo>
                        <a:pt x="1281534" y="428881"/>
                        <a:pt x="1275081" y="428834"/>
                        <a:pt x="1282108" y="423751"/>
                      </a:cubicBezTo>
                      <a:cubicBezTo>
                        <a:pt x="1284766" y="421830"/>
                        <a:pt x="1287237" y="421982"/>
                        <a:pt x="1290481" y="420167"/>
                      </a:cubicBezTo>
                      <a:cubicBezTo>
                        <a:pt x="1299991" y="414850"/>
                        <a:pt x="1303177" y="405774"/>
                        <a:pt x="1311703" y="400117"/>
                      </a:cubicBezTo>
                      <a:cubicBezTo>
                        <a:pt x="1321681" y="393500"/>
                        <a:pt x="1331894" y="394776"/>
                        <a:pt x="1341919" y="389026"/>
                      </a:cubicBezTo>
                      <a:cubicBezTo>
                        <a:pt x="1348114" y="385466"/>
                        <a:pt x="1361067" y="381660"/>
                        <a:pt x="1366817" y="375089"/>
                      </a:cubicBezTo>
                      <a:cubicBezTo>
                        <a:pt x="1360856" y="371635"/>
                        <a:pt x="1363995" y="367641"/>
                        <a:pt x="1368152" y="365334"/>
                      </a:cubicBezTo>
                      <a:cubicBezTo>
                        <a:pt x="1369804" y="364420"/>
                        <a:pt x="1372509" y="365299"/>
                        <a:pt x="1373774" y="364444"/>
                      </a:cubicBezTo>
                      <a:cubicBezTo>
                        <a:pt x="1374746" y="363788"/>
                        <a:pt x="1378822" y="359349"/>
                        <a:pt x="1379091" y="359279"/>
                      </a:cubicBezTo>
                      <a:cubicBezTo>
                        <a:pt x="1385345" y="357534"/>
                        <a:pt x="1385005" y="362980"/>
                        <a:pt x="1388577" y="365451"/>
                      </a:cubicBezTo>
                      <a:cubicBezTo>
                        <a:pt x="1390920" y="367067"/>
                        <a:pt x="1396283" y="367348"/>
                        <a:pt x="1400254" y="369421"/>
                      </a:cubicBezTo>
                      <a:cubicBezTo>
                        <a:pt x="1399539" y="368625"/>
                        <a:pt x="1399118" y="367700"/>
                        <a:pt x="1398497" y="366880"/>
                      </a:cubicBezTo>
                      <a:cubicBezTo>
                        <a:pt x="1404610" y="368882"/>
                        <a:pt x="1410302" y="371646"/>
                        <a:pt x="1415561" y="373485"/>
                      </a:cubicBezTo>
                      <a:cubicBezTo>
                        <a:pt x="1413933" y="366599"/>
                        <a:pt x="1422037" y="370323"/>
                        <a:pt x="1424087" y="365896"/>
                      </a:cubicBezTo>
                      <a:cubicBezTo>
                        <a:pt x="1424262" y="367430"/>
                        <a:pt x="1424848" y="368180"/>
                        <a:pt x="1425199" y="369515"/>
                      </a:cubicBezTo>
                      <a:cubicBezTo>
                        <a:pt x="1429251" y="368180"/>
                        <a:pt x="1427881" y="364502"/>
                        <a:pt x="1432472" y="362593"/>
                      </a:cubicBezTo>
                      <a:cubicBezTo>
                        <a:pt x="1434498" y="361750"/>
                        <a:pt x="1436735" y="363905"/>
                        <a:pt x="1439066" y="362500"/>
                      </a:cubicBezTo>
                      <a:cubicBezTo>
                        <a:pt x="1441150" y="361247"/>
                        <a:pt x="1438948" y="358190"/>
                        <a:pt x="1440951" y="356913"/>
                      </a:cubicBezTo>
                      <a:cubicBezTo>
                        <a:pt x="1442310" y="356035"/>
                        <a:pt x="1450976" y="355964"/>
                        <a:pt x="1453775" y="355777"/>
                      </a:cubicBezTo>
                      <a:cubicBezTo>
                        <a:pt x="1461903" y="355239"/>
                        <a:pt x="1458027" y="358600"/>
                        <a:pt x="1462981" y="361036"/>
                      </a:cubicBezTo>
                      <a:cubicBezTo>
                        <a:pt x="1464082" y="361574"/>
                        <a:pt x="1470874" y="361633"/>
                        <a:pt x="1469902" y="360848"/>
                      </a:cubicBezTo>
                      <a:cubicBezTo>
                        <a:pt x="1477081" y="366587"/>
                        <a:pt x="1458554" y="365966"/>
                        <a:pt x="1463238" y="374949"/>
                      </a:cubicBezTo>
                      <a:cubicBezTo>
                        <a:pt x="1465627" y="373040"/>
                        <a:pt x="1468380" y="371635"/>
                        <a:pt x="1471354" y="370943"/>
                      </a:cubicBezTo>
                      <a:cubicBezTo>
                        <a:pt x="1471659" y="374563"/>
                        <a:pt x="1477152" y="378498"/>
                        <a:pt x="1479412" y="381730"/>
                      </a:cubicBezTo>
                      <a:cubicBezTo>
                        <a:pt x="1485045" y="389858"/>
                        <a:pt x="1485584" y="393734"/>
                        <a:pt x="1475746" y="398524"/>
                      </a:cubicBezTo>
                      <a:cubicBezTo>
                        <a:pt x="1476297" y="402588"/>
                        <a:pt x="1475570" y="404989"/>
                        <a:pt x="1478885" y="409252"/>
                      </a:cubicBezTo>
                      <a:cubicBezTo>
                        <a:pt x="1482211" y="399801"/>
                        <a:pt x="1486111" y="395280"/>
                        <a:pt x="1495070" y="404872"/>
                      </a:cubicBezTo>
                      <a:cubicBezTo>
                        <a:pt x="1497822" y="407823"/>
                        <a:pt x="1499263" y="412988"/>
                        <a:pt x="1502612" y="414194"/>
                      </a:cubicBezTo>
                      <a:cubicBezTo>
                        <a:pt x="1505341" y="415178"/>
                        <a:pt x="1507520" y="411606"/>
                        <a:pt x="1510248" y="412110"/>
                      </a:cubicBezTo>
                      <a:cubicBezTo>
                        <a:pt x="1513528" y="412707"/>
                        <a:pt x="1521327" y="419863"/>
                        <a:pt x="1522335" y="422345"/>
                      </a:cubicBezTo>
                      <a:cubicBezTo>
                        <a:pt x="1522791" y="423493"/>
                        <a:pt x="1520227" y="426070"/>
                        <a:pt x="1520472" y="427721"/>
                      </a:cubicBezTo>
                      <a:cubicBezTo>
                        <a:pt x="1520660" y="429080"/>
                        <a:pt x="1523014" y="430028"/>
                        <a:pt x="1523119" y="431106"/>
                      </a:cubicBezTo>
                      <a:cubicBezTo>
                        <a:pt x="1523283" y="432944"/>
                        <a:pt x="1524173" y="435908"/>
                        <a:pt x="1522756" y="437945"/>
                      </a:cubicBezTo>
                      <a:cubicBezTo>
                        <a:pt x="1521140" y="440264"/>
                        <a:pt x="1518704" y="438917"/>
                        <a:pt x="1515109" y="440698"/>
                      </a:cubicBezTo>
                      <a:cubicBezTo>
                        <a:pt x="1511829" y="442302"/>
                        <a:pt x="1508737" y="445839"/>
                        <a:pt x="1506290" y="447760"/>
                      </a:cubicBezTo>
                      <a:cubicBezTo>
                        <a:pt x="1495867" y="455899"/>
                        <a:pt x="1496874" y="462259"/>
                        <a:pt x="1505388" y="472846"/>
                      </a:cubicBezTo>
                      <a:cubicBezTo>
                        <a:pt x="1506922" y="474755"/>
                        <a:pt x="1514125" y="481793"/>
                        <a:pt x="1511431" y="484405"/>
                      </a:cubicBezTo>
                      <a:cubicBezTo>
                        <a:pt x="1509557" y="486220"/>
                        <a:pt x="1499708" y="480844"/>
                        <a:pt x="1498689" y="479884"/>
                      </a:cubicBezTo>
                      <a:cubicBezTo>
                        <a:pt x="1496194" y="477530"/>
                        <a:pt x="1497366" y="472295"/>
                        <a:pt x="1492213" y="469930"/>
                      </a:cubicBezTo>
                      <a:cubicBezTo>
                        <a:pt x="1488594" y="468267"/>
                        <a:pt x="1484986" y="470550"/>
                        <a:pt x="1482410" y="471194"/>
                      </a:cubicBezTo>
                      <a:cubicBezTo>
                        <a:pt x="1475793" y="472857"/>
                        <a:pt x="1466553" y="472401"/>
                        <a:pt x="1459666" y="475211"/>
                      </a:cubicBezTo>
                      <a:cubicBezTo>
                        <a:pt x="1453904" y="477577"/>
                        <a:pt x="1453869" y="481196"/>
                        <a:pt x="1449852" y="484791"/>
                      </a:cubicBezTo>
                      <a:cubicBezTo>
                        <a:pt x="1447428" y="486970"/>
                        <a:pt x="1444722" y="487426"/>
                        <a:pt x="1442497" y="489183"/>
                      </a:cubicBezTo>
                      <a:cubicBezTo>
                        <a:pt x="1438468" y="492380"/>
                        <a:pt x="1435341" y="496995"/>
                        <a:pt x="1431324" y="499419"/>
                      </a:cubicBezTo>
                      <a:cubicBezTo>
                        <a:pt x="1429380" y="500590"/>
                        <a:pt x="1427249" y="500251"/>
                        <a:pt x="1425024" y="501785"/>
                      </a:cubicBezTo>
                      <a:cubicBezTo>
                        <a:pt x="1421557" y="504151"/>
                        <a:pt x="1420936" y="506715"/>
                        <a:pt x="1415971" y="508531"/>
                      </a:cubicBezTo>
                      <a:cubicBezTo>
                        <a:pt x="1412445" y="509807"/>
                        <a:pt x="1410958" y="507804"/>
                        <a:pt x="1407327" y="511049"/>
                      </a:cubicBezTo>
                      <a:cubicBezTo>
                        <a:pt x="1404575" y="513508"/>
                        <a:pt x="1404739" y="519493"/>
                        <a:pt x="1404247" y="521940"/>
                      </a:cubicBezTo>
                      <a:cubicBezTo>
                        <a:pt x="1402221" y="531989"/>
                        <a:pt x="1409857" y="538770"/>
                        <a:pt x="1406554" y="545551"/>
                      </a:cubicBezTo>
                      <a:cubicBezTo>
                        <a:pt x="1405184" y="548373"/>
                        <a:pt x="1401577" y="548092"/>
                        <a:pt x="1400605" y="550833"/>
                      </a:cubicBezTo>
                      <a:cubicBezTo>
                        <a:pt x="1399574" y="553726"/>
                        <a:pt x="1401952" y="557262"/>
                        <a:pt x="1400898" y="560202"/>
                      </a:cubicBezTo>
                      <a:cubicBezTo>
                        <a:pt x="1400160" y="562252"/>
                        <a:pt x="1393414" y="568435"/>
                        <a:pt x="1392091" y="569653"/>
                      </a:cubicBezTo>
                      <a:cubicBezTo>
                        <a:pt x="1388788" y="572675"/>
                        <a:pt x="1384666" y="573869"/>
                        <a:pt x="1381621" y="577160"/>
                      </a:cubicBezTo>
                      <a:cubicBezTo>
                        <a:pt x="1379911" y="578999"/>
                        <a:pt x="1376889" y="585616"/>
                        <a:pt x="1377475" y="587864"/>
                      </a:cubicBezTo>
                      <a:cubicBezTo>
                        <a:pt x="1378704" y="592643"/>
                        <a:pt x="1381785" y="589879"/>
                        <a:pt x="1383740" y="592795"/>
                      </a:cubicBezTo>
                      <a:cubicBezTo>
                        <a:pt x="1389303" y="601052"/>
                        <a:pt x="1378353" y="616359"/>
                        <a:pt x="1373786" y="622659"/>
                      </a:cubicBezTo>
                      <a:cubicBezTo>
                        <a:pt x="1367215" y="631724"/>
                        <a:pt x="1364311" y="639149"/>
                        <a:pt x="1360224" y="650474"/>
                      </a:cubicBezTo>
                      <a:cubicBezTo>
                        <a:pt x="1359380" y="652828"/>
                        <a:pt x="1357179" y="662760"/>
                        <a:pt x="1355680" y="663638"/>
                      </a:cubicBezTo>
                      <a:cubicBezTo>
                        <a:pt x="1353080" y="665161"/>
                        <a:pt x="1349543" y="661202"/>
                        <a:pt x="1345268" y="660054"/>
                      </a:cubicBezTo>
                      <a:cubicBezTo>
                        <a:pt x="1342387" y="659293"/>
                        <a:pt x="1339319" y="659270"/>
                        <a:pt x="1336929" y="658590"/>
                      </a:cubicBezTo>
                      <a:cubicBezTo>
                        <a:pt x="1333498" y="657619"/>
                        <a:pt x="1332865" y="655499"/>
                        <a:pt x="1328204" y="655967"/>
                      </a:cubicBezTo>
                      <a:cubicBezTo>
                        <a:pt x="1325803" y="656201"/>
                        <a:pt x="1323930" y="659914"/>
                        <a:pt x="1320147" y="658251"/>
                      </a:cubicBezTo>
                      <a:cubicBezTo>
                        <a:pt x="1318050" y="657325"/>
                        <a:pt x="1314525" y="646738"/>
                        <a:pt x="1312359" y="654117"/>
                      </a:cubicBezTo>
                      <a:cubicBezTo>
                        <a:pt x="1311691" y="656389"/>
                        <a:pt x="1315415" y="667573"/>
                        <a:pt x="1316001" y="669962"/>
                      </a:cubicBezTo>
                      <a:cubicBezTo>
                        <a:pt x="1316469" y="671871"/>
                        <a:pt x="1318823" y="672352"/>
                        <a:pt x="1319093" y="674764"/>
                      </a:cubicBezTo>
                      <a:cubicBezTo>
                        <a:pt x="1319538" y="678945"/>
                        <a:pt x="1318086" y="684473"/>
                        <a:pt x="1317500" y="688701"/>
                      </a:cubicBezTo>
                      <a:cubicBezTo>
                        <a:pt x="1316832" y="693491"/>
                        <a:pt x="1317594" y="700178"/>
                        <a:pt x="1315849" y="704804"/>
                      </a:cubicBezTo>
                      <a:cubicBezTo>
                        <a:pt x="1315111" y="706795"/>
                        <a:pt x="1313694" y="709875"/>
                        <a:pt x="1311492" y="710695"/>
                      </a:cubicBezTo>
                      <a:cubicBezTo>
                        <a:pt x="1309770" y="711328"/>
                        <a:pt x="1306889" y="708646"/>
                        <a:pt x="1307018" y="708575"/>
                      </a:cubicBezTo>
                      <a:cubicBezTo>
                        <a:pt x="1301127" y="711843"/>
                        <a:pt x="1306854" y="711117"/>
                        <a:pt x="1305800" y="716879"/>
                      </a:cubicBezTo>
                      <a:cubicBezTo>
                        <a:pt x="1304781" y="722477"/>
                        <a:pt x="1300788" y="723519"/>
                        <a:pt x="1300612" y="729937"/>
                      </a:cubicBezTo>
                      <a:cubicBezTo>
                        <a:pt x="1300495" y="734223"/>
                        <a:pt x="1303657" y="738990"/>
                        <a:pt x="1304570" y="742761"/>
                      </a:cubicBezTo>
                      <a:cubicBezTo>
                        <a:pt x="1306187" y="749378"/>
                        <a:pt x="1303353" y="752130"/>
                        <a:pt x="1303950" y="755960"/>
                      </a:cubicBezTo>
                      <a:cubicBezTo>
                        <a:pt x="1296361" y="752517"/>
                        <a:pt x="1298117" y="759485"/>
                        <a:pt x="1294838" y="763865"/>
                      </a:cubicBezTo>
                      <a:cubicBezTo>
                        <a:pt x="1294194" y="764720"/>
                        <a:pt x="1295529" y="765727"/>
                        <a:pt x="1294405" y="766852"/>
                      </a:cubicBezTo>
                      <a:cubicBezTo>
                        <a:pt x="1294100" y="767168"/>
                        <a:pt x="1291500" y="764088"/>
                        <a:pt x="1290189" y="768562"/>
                      </a:cubicBezTo>
                      <a:cubicBezTo>
                        <a:pt x="1289521" y="765575"/>
                        <a:pt x="1287940" y="763432"/>
                        <a:pt x="1285528" y="761324"/>
                      </a:cubicBezTo>
                      <a:cubicBezTo>
                        <a:pt x="1280292" y="756721"/>
                        <a:pt x="1281850" y="758865"/>
                        <a:pt x="1279613" y="760422"/>
                      </a:cubicBezTo>
                      <a:cubicBezTo>
                        <a:pt x="1277376" y="761980"/>
                        <a:pt x="1278805" y="765927"/>
                        <a:pt x="1274460" y="767437"/>
                      </a:cubicBezTo>
                      <a:cubicBezTo>
                        <a:pt x="1273207" y="757682"/>
                        <a:pt x="1272235" y="748067"/>
                        <a:pt x="1270748" y="736425"/>
                      </a:cubicBezTo>
                      <a:cubicBezTo>
                        <a:pt x="1269494" y="726552"/>
                        <a:pt x="1265618" y="720181"/>
                        <a:pt x="1262819" y="711632"/>
                      </a:cubicBezTo>
                      <a:cubicBezTo>
                        <a:pt x="1260324" y="703996"/>
                        <a:pt x="1263182" y="696477"/>
                        <a:pt x="1261484" y="689579"/>
                      </a:cubicBezTo>
                      <a:cubicBezTo>
                        <a:pt x="1260172" y="684239"/>
                        <a:pt x="1258650" y="667315"/>
                        <a:pt x="1254562" y="675678"/>
                      </a:cubicBezTo>
                      <a:cubicBezTo>
                        <a:pt x="1253133" y="667456"/>
                        <a:pt x="1250428" y="674705"/>
                        <a:pt x="1247969" y="674471"/>
                      </a:cubicBezTo>
                      <a:cubicBezTo>
                        <a:pt x="1244982" y="674202"/>
                        <a:pt x="1243577" y="675408"/>
                        <a:pt x="1240403" y="671543"/>
                      </a:cubicBezTo>
                      <a:cubicBezTo>
                        <a:pt x="1238517" y="679355"/>
                        <a:pt x="1242277" y="681639"/>
                        <a:pt x="1237194" y="687975"/>
                      </a:cubicBezTo>
                      <a:cubicBezTo>
                        <a:pt x="1235016" y="690692"/>
                        <a:pt x="1231631" y="692050"/>
                        <a:pt x="1231069" y="696372"/>
                      </a:cubicBezTo>
                      <a:cubicBezTo>
                        <a:pt x="1230683" y="699300"/>
                        <a:pt x="1233798" y="702567"/>
                        <a:pt x="1233411" y="705378"/>
                      </a:cubicBezTo>
                      <a:cubicBezTo>
                        <a:pt x="1232697" y="710590"/>
                        <a:pt x="1226420" y="711444"/>
                        <a:pt x="1222847" y="714408"/>
                      </a:cubicBezTo>
                      <a:cubicBezTo>
                        <a:pt x="1218456" y="710601"/>
                        <a:pt x="1217905" y="704582"/>
                        <a:pt x="1215235" y="699054"/>
                      </a:cubicBezTo>
                      <a:cubicBezTo>
                        <a:pt x="1210351" y="692437"/>
                        <a:pt x="1211511" y="704031"/>
                        <a:pt x="1211616" y="707896"/>
                      </a:cubicBezTo>
                      <a:cubicBezTo>
                        <a:pt x="1205866" y="705929"/>
                        <a:pt x="1206463" y="692472"/>
                        <a:pt x="1204683" y="687905"/>
                      </a:cubicBezTo>
                      <a:cubicBezTo>
                        <a:pt x="1203453" y="684742"/>
                        <a:pt x="1201474" y="682459"/>
                        <a:pt x="1200373" y="679015"/>
                      </a:cubicBezTo>
                      <a:cubicBezTo>
                        <a:pt x="1199846" y="677411"/>
                        <a:pt x="1199096" y="671824"/>
                        <a:pt x="1199155" y="671649"/>
                      </a:cubicBezTo>
                      <a:cubicBezTo>
                        <a:pt x="1199881" y="669763"/>
                        <a:pt x="1202563" y="670864"/>
                        <a:pt x="1202961" y="668850"/>
                      </a:cubicBezTo>
                      <a:cubicBezTo>
                        <a:pt x="1203184" y="667772"/>
                        <a:pt x="1203266" y="663708"/>
                        <a:pt x="1203512" y="663158"/>
                      </a:cubicBezTo>
                      <a:cubicBezTo>
                        <a:pt x="1205292" y="659071"/>
                        <a:pt x="1207576" y="658836"/>
                        <a:pt x="1209321" y="656916"/>
                      </a:cubicBezTo>
                      <a:cubicBezTo>
                        <a:pt x="1210047" y="656108"/>
                        <a:pt x="1210234" y="651716"/>
                        <a:pt x="1210890" y="651446"/>
                      </a:cubicBezTo>
                      <a:cubicBezTo>
                        <a:pt x="1213162" y="650474"/>
                        <a:pt x="1215832" y="652161"/>
                        <a:pt x="1218292" y="651470"/>
                      </a:cubicBezTo>
                      <a:cubicBezTo>
                        <a:pt x="1222602" y="650263"/>
                        <a:pt x="1225459" y="650615"/>
                        <a:pt x="1225073" y="644349"/>
                      </a:cubicBezTo>
                      <a:cubicBezTo>
                        <a:pt x="1227274" y="650556"/>
                        <a:pt x="1229605" y="645614"/>
                        <a:pt x="1230284" y="645649"/>
                      </a:cubicBezTo>
                      <a:cubicBezTo>
                        <a:pt x="1226982" y="645462"/>
                        <a:pt x="1234629" y="643822"/>
                        <a:pt x="1233821" y="643998"/>
                      </a:cubicBezTo>
                      <a:cubicBezTo>
                        <a:pt x="1235039" y="643729"/>
                        <a:pt x="1234383" y="646200"/>
                        <a:pt x="1234723" y="646129"/>
                      </a:cubicBezTo>
                      <a:cubicBezTo>
                        <a:pt x="1240227" y="645110"/>
                        <a:pt x="1234641" y="648296"/>
                        <a:pt x="1239536" y="641562"/>
                      </a:cubicBezTo>
                      <a:cubicBezTo>
                        <a:pt x="1241071" y="639454"/>
                        <a:pt x="1237815" y="635214"/>
                        <a:pt x="1242968" y="638775"/>
                      </a:cubicBezTo>
                      <a:cubicBezTo>
                        <a:pt x="1242488" y="637990"/>
                        <a:pt x="1242253" y="636245"/>
                        <a:pt x="1241820" y="635495"/>
                      </a:cubicBezTo>
                      <a:cubicBezTo>
                        <a:pt x="1250487" y="638271"/>
                        <a:pt x="1247980" y="633376"/>
                        <a:pt x="1249936" y="628878"/>
                      </a:cubicBezTo>
                      <a:cubicBezTo>
                        <a:pt x="1251705" y="624826"/>
                        <a:pt x="1254328" y="621969"/>
                        <a:pt x="1255277" y="616804"/>
                      </a:cubicBezTo>
                      <a:cubicBezTo>
                        <a:pt x="1255265" y="616839"/>
                        <a:pt x="1256787" y="606533"/>
                        <a:pt x="1256061" y="606954"/>
                      </a:cubicBezTo>
                      <a:cubicBezTo>
                        <a:pt x="1259540" y="604917"/>
                        <a:pt x="1261437" y="609906"/>
                        <a:pt x="1263709" y="609847"/>
                      </a:cubicBezTo>
                      <a:cubicBezTo>
                        <a:pt x="1279742" y="609437"/>
                        <a:pt x="1257830" y="595395"/>
                        <a:pt x="1253403" y="593533"/>
                      </a:cubicBezTo>
                      <a:cubicBezTo>
                        <a:pt x="1241270" y="588427"/>
                        <a:pt x="1228668" y="594657"/>
                        <a:pt x="1218397" y="593041"/>
                      </a:cubicBezTo>
                      <a:cubicBezTo>
                        <a:pt x="1213958" y="592338"/>
                        <a:pt x="1208384" y="590055"/>
                        <a:pt x="1203992" y="589680"/>
                      </a:cubicBezTo>
                      <a:cubicBezTo>
                        <a:pt x="1198745" y="589235"/>
                        <a:pt x="1192714" y="592128"/>
                        <a:pt x="1187326" y="592373"/>
                      </a:cubicBezTo>
                      <a:cubicBezTo>
                        <a:pt x="1179304" y="592748"/>
                        <a:pt x="1170778" y="592865"/>
                        <a:pt x="1162381" y="592327"/>
                      </a:cubicBezTo>
                      <a:cubicBezTo>
                        <a:pt x="1153258" y="591729"/>
                        <a:pt x="1144884" y="587771"/>
                        <a:pt x="1136170" y="584714"/>
                      </a:cubicBezTo>
                      <a:cubicBezTo>
                        <a:pt x="1130338" y="582653"/>
                        <a:pt x="1131076" y="586869"/>
                        <a:pt x="1129507" y="579268"/>
                      </a:cubicBezTo>
                      <a:cubicBezTo>
                        <a:pt x="1129085" y="577219"/>
                        <a:pt x="1130748" y="573694"/>
                        <a:pt x="1130924" y="571632"/>
                      </a:cubicBezTo>
                      <a:cubicBezTo>
                        <a:pt x="1131287" y="567416"/>
                        <a:pt x="1129811" y="564383"/>
                        <a:pt x="1129717" y="560659"/>
                      </a:cubicBezTo>
                      <a:cubicBezTo>
                        <a:pt x="1129612" y="556712"/>
                        <a:pt x="1131989" y="549193"/>
                        <a:pt x="1129237" y="548069"/>
                      </a:cubicBezTo>
                      <a:cubicBezTo>
                        <a:pt x="1131954" y="545914"/>
                        <a:pt x="1120290" y="528593"/>
                        <a:pt x="1119973" y="536065"/>
                      </a:cubicBezTo>
                      <a:cubicBezTo>
                        <a:pt x="1117291" y="536685"/>
                        <a:pt x="1116811" y="536510"/>
                        <a:pt x="1119446" y="538500"/>
                      </a:cubicBezTo>
                      <a:cubicBezTo>
                        <a:pt x="1118732" y="539461"/>
                        <a:pt x="1117537" y="538922"/>
                        <a:pt x="1117502" y="540374"/>
                      </a:cubicBezTo>
                      <a:cubicBezTo>
                        <a:pt x="1122234" y="541405"/>
                        <a:pt x="1115699" y="546570"/>
                        <a:pt x="1114492" y="546757"/>
                      </a:cubicBezTo>
                      <a:cubicBezTo>
                        <a:pt x="1114071" y="546816"/>
                        <a:pt x="1108238" y="544930"/>
                        <a:pt x="1107419" y="544649"/>
                      </a:cubicBezTo>
                      <a:cubicBezTo>
                        <a:pt x="1103811" y="543431"/>
                        <a:pt x="1084968" y="530712"/>
                        <a:pt x="1093330" y="527714"/>
                      </a:cubicBezTo>
                      <a:cubicBezTo>
                        <a:pt x="1092615" y="526707"/>
                        <a:pt x="1087181" y="520359"/>
                        <a:pt x="1084839" y="520675"/>
                      </a:cubicBezTo>
                      <a:cubicBezTo>
                        <a:pt x="1077660" y="521659"/>
                        <a:pt x="1087521" y="528311"/>
                        <a:pt x="1088341" y="528639"/>
                      </a:cubicBezTo>
                      <a:cubicBezTo>
                        <a:pt x="1089020" y="529576"/>
                        <a:pt x="1088844" y="530384"/>
                        <a:pt x="1090015" y="531427"/>
                      </a:cubicBezTo>
                      <a:cubicBezTo>
                        <a:pt x="1087837" y="532890"/>
                        <a:pt x="1080623" y="531532"/>
                        <a:pt x="1080014" y="531356"/>
                      </a:cubicBezTo>
                      <a:cubicBezTo>
                        <a:pt x="1077952" y="530759"/>
                        <a:pt x="1073713" y="528639"/>
                        <a:pt x="1069450" y="529822"/>
                      </a:cubicBezTo>
                      <a:cubicBezTo>
                        <a:pt x="1079990" y="525501"/>
                        <a:pt x="1055888" y="515909"/>
                        <a:pt x="1055865" y="510381"/>
                      </a:cubicBezTo>
                      <a:cubicBezTo>
                        <a:pt x="1053745" y="513402"/>
                        <a:pt x="1051602" y="517432"/>
                        <a:pt x="1053276" y="520195"/>
                      </a:cubicBezTo>
                      <a:cubicBezTo>
                        <a:pt x="1054939" y="514913"/>
                        <a:pt x="1061849" y="521168"/>
                        <a:pt x="1061732" y="525548"/>
                      </a:cubicBezTo>
                      <a:cubicBezTo>
                        <a:pt x="1057961" y="524646"/>
                        <a:pt x="1056766" y="526520"/>
                        <a:pt x="1053721" y="528967"/>
                      </a:cubicBezTo>
                      <a:cubicBezTo>
                        <a:pt x="1052257" y="530138"/>
                        <a:pt x="1053534" y="532281"/>
                        <a:pt x="1051871" y="533734"/>
                      </a:cubicBezTo>
                      <a:cubicBezTo>
                        <a:pt x="1050161" y="535209"/>
                        <a:pt x="1047678" y="534530"/>
                        <a:pt x="1046038" y="536334"/>
                      </a:cubicBezTo>
                      <a:cubicBezTo>
                        <a:pt x="1043415" y="539203"/>
                        <a:pt x="1038613" y="549720"/>
                        <a:pt x="1040394" y="553948"/>
                      </a:cubicBezTo>
                      <a:cubicBezTo>
                        <a:pt x="1042923" y="559956"/>
                        <a:pt x="1043638" y="554475"/>
                        <a:pt x="1047655" y="556185"/>
                      </a:cubicBezTo>
                      <a:cubicBezTo>
                        <a:pt x="1053745" y="558773"/>
                        <a:pt x="1055220" y="565062"/>
                        <a:pt x="1058628" y="568693"/>
                      </a:cubicBezTo>
                      <a:cubicBezTo>
                        <a:pt x="1062306" y="572628"/>
                        <a:pt x="1071078" y="577617"/>
                        <a:pt x="1074486" y="572394"/>
                      </a:cubicBezTo>
                      <a:cubicBezTo>
                        <a:pt x="1078643" y="573717"/>
                        <a:pt x="1078597" y="579901"/>
                        <a:pt x="1081431" y="582911"/>
                      </a:cubicBezTo>
                      <a:cubicBezTo>
                        <a:pt x="1083258" y="584843"/>
                        <a:pt x="1086139" y="583250"/>
                        <a:pt x="1087099" y="585346"/>
                      </a:cubicBezTo>
                      <a:cubicBezTo>
                        <a:pt x="1087146" y="585452"/>
                        <a:pt x="1083644" y="590394"/>
                        <a:pt x="1083984" y="591577"/>
                      </a:cubicBezTo>
                      <a:cubicBezTo>
                        <a:pt x="1079475" y="588755"/>
                        <a:pt x="1070937" y="591155"/>
                        <a:pt x="1065913" y="591027"/>
                      </a:cubicBezTo>
                      <a:cubicBezTo>
                        <a:pt x="1064847" y="591003"/>
                        <a:pt x="1060397" y="589680"/>
                        <a:pt x="1059706" y="590219"/>
                      </a:cubicBezTo>
                      <a:cubicBezTo>
                        <a:pt x="1057363" y="592046"/>
                        <a:pt x="1057832" y="598499"/>
                        <a:pt x="1056087" y="601918"/>
                      </a:cubicBezTo>
                      <a:cubicBezTo>
                        <a:pt x="1050138" y="613606"/>
                        <a:pt x="1050184" y="601860"/>
                        <a:pt x="1043708" y="604495"/>
                      </a:cubicBezTo>
                      <a:cubicBezTo>
                        <a:pt x="1043439" y="604600"/>
                        <a:pt x="1038602" y="615012"/>
                        <a:pt x="1038297" y="616921"/>
                      </a:cubicBezTo>
                      <a:cubicBezTo>
                        <a:pt x="1037536" y="621629"/>
                        <a:pt x="1039855" y="625529"/>
                        <a:pt x="1043626" y="629206"/>
                      </a:cubicBezTo>
                      <a:cubicBezTo>
                        <a:pt x="1046694" y="632181"/>
                        <a:pt x="1056333" y="637311"/>
                        <a:pt x="1060596" y="638845"/>
                      </a:cubicBezTo>
                      <a:cubicBezTo>
                        <a:pt x="1063243" y="639794"/>
                        <a:pt x="1069778" y="638201"/>
                        <a:pt x="1069918" y="638247"/>
                      </a:cubicBezTo>
                      <a:cubicBezTo>
                        <a:pt x="1078280" y="641070"/>
                        <a:pt x="1071769" y="643143"/>
                        <a:pt x="1071452" y="647078"/>
                      </a:cubicBezTo>
                      <a:cubicBezTo>
                        <a:pt x="1071031" y="652184"/>
                        <a:pt x="1074088" y="654140"/>
                        <a:pt x="1073045" y="658251"/>
                      </a:cubicBezTo>
                      <a:cubicBezTo>
                        <a:pt x="1071218" y="665512"/>
                        <a:pt x="1064941" y="663099"/>
                        <a:pt x="1064742" y="671930"/>
                      </a:cubicBezTo>
                      <a:cubicBezTo>
                        <a:pt x="1064590" y="678535"/>
                        <a:pt x="1067752" y="680526"/>
                        <a:pt x="1073303" y="685632"/>
                      </a:cubicBezTo>
                      <a:cubicBezTo>
                        <a:pt x="1074029" y="685117"/>
                        <a:pt x="1074544" y="684602"/>
                        <a:pt x="1075247" y="683946"/>
                      </a:cubicBezTo>
                      <a:cubicBezTo>
                        <a:pt x="1076957" y="688455"/>
                        <a:pt x="1069462" y="693631"/>
                        <a:pt x="1072460" y="697824"/>
                      </a:cubicBezTo>
                      <a:cubicBezTo>
                        <a:pt x="1073713" y="699604"/>
                        <a:pt x="1083597" y="699710"/>
                        <a:pt x="1085846" y="700248"/>
                      </a:cubicBezTo>
                      <a:cubicBezTo>
                        <a:pt x="1083586" y="704078"/>
                        <a:pt x="1079908" y="705800"/>
                        <a:pt x="1079803" y="710871"/>
                      </a:cubicBezTo>
                      <a:cubicBezTo>
                        <a:pt x="1079721" y="714970"/>
                        <a:pt x="1083949" y="716750"/>
                        <a:pt x="1084745" y="719467"/>
                      </a:cubicBezTo>
                      <a:cubicBezTo>
                        <a:pt x="1085436" y="721786"/>
                        <a:pt x="1084218" y="726447"/>
                        <a:pt x="1084066" y="728930"/>
                      </a:cubicBezTo>
                      <a:cubicBezTo>
                        <a:pt x="1083843" y="732396"/>
                        <a:pt x="1086806" y="733052"/>
                        <a:pt x="1084183" y="736215"/>
                      </a:cubicBezTo>
                      <a:cubicBezTo>
                        <a:pt x="1088423" y="738323"/>
                        <a:pt x="1091491" y="758221"/>
                        <a:pt x="1090226" y="758724"/>
                      </a:cubicBezTo>
                      <a:cubicBezTo>
                        <a:pt x="1089734" y="763655"/>
                        <a:pt x="1092990" y="769323"/>
                        <a:pt x="1088434" y="771466"/>
                      </a:cubicBezTo>
                      <a:cubicBezTo>
                        <a:pt x="1086396" y="769709"/>
                        <a:pt x="1084546" y="768819"/>
                        <a:pt x="1083457" y="766981"/>
                      </a:cubicBezTo>
                      <a:cubicBezTo>
                        <a:pt x="1083316" y="768058"/>
                        <a:pt x="1096925" y="790298"/>
                        <a:pt x="1089711" y="786293"/>
                      </a:cubicBezTo>
                      <a:cubicBezTo>
                        <a:pt x="1085787" y="790825"/>
                        <a:pt x="1080623" y="782791"/>
                        <a:pt x="1080564" y="778985"/>
                      </a:cubicBezTo>
                      <a:cubicBezTo>
                        <a:pt x="1080107" y="781444"/>
                        <a:pt x="1080810" y="785227"/>
                        <a:pt x="1079815" y="786890"/>
                      </a:cubicBezTo>
                      <a:cubicBezTo>
                        <a:pt x="1078257" y="789490"/>
                        <a:pt x="1077952" y="783810"/>
                        <a:pt x="1078081" y="783084"/>
                      </a:cubicBezTo>
                      <a:cubicBezTo>
                        <a:pt x="1077554" y="783869"/>
                        <a:pt x="1075762" y="790216"/>
                        <a:pt x="1077027" y="789830"/>
                      </a:cubicBezTo>
                      <a:cubicBezTo>
                        <a:pt x="1072179" y="791294"/>
                        <a:pt x="1071769" y="786363"/>
                        <a:pt x="1071640" y="781983"/>
                      </a:cubicBezTo>
                      <a:cubicBezTo>
                        <a:pt x="1071488" y="776572"/>
                        <a:pt x="1074170" y="771490"/>
                        <a:pt x="1074743" y="766922"/>
                      </a:cubicBezTo>
                      <a:cubicBezTo>
                        <a:pt x="1075177" y="763432"/>
                        <a:pt x="1070914" y="761968"/>
                        <a:pt x="1075587" y="759075"/>
                      </a:cubicBezTo>
                      <a:cubicBezTo>
                        <a:pt x="1071874" y="760153"/>
                        <a:pt x="1073701" y="771970"/>
                        <a:pt x="1069005" y="769335"/>
                      </a:cubicBezTo>
                      <a:cubicBezTo>
                        <a:pt x="1067553" y="768515"/>
                        <a:pt x="1070574" y="756440"/>
                        <a:pt x="1071265" y="755023"/>
                      </a:cubicBezTo>
                      <a:cubicBezTo>
                        <a:pt x="1067494" y="757799"/>
                        <a:pt x="1064660" y="773820"/>
                        <a:pt x="1065234" y="778962"/>
                      </a:cubicBezTo>
                      <a:cubicBezTo>
                        <a:pt x="1069801" y="777744"/>
                        <a:pt x="1069087" y="781058"/>
                        <a:pt x="1066663" y="782323"/>
                      </a:cubicBezTo>
                      <a:cubicBezTo>
                        <a:pt x="1067260" y="786457"/>
                        <a:pt x="1066897" y="790263"/>
                        <a:pt x="1063770" y="789431"/>
                      </a:cubicBezTo>
                      <a:cubicBezTo>
                        <a:pt x="1063489" y="790474"/>
                        <a:pt x="1064250" y="791130"/>
                        <a:pt x="1064168" y="791668"/>
                      </a:cubicBezTo>
                      <a:cubicBezTo>
                        <a:pt x="1060420" y="791786"/>
                        <a:pt x="1062083" y="785567"/>
                        <a:pt x="1062364" y="781924"/>
                      </a:cubicBezTo>
                      <a:cubicBezTo>
                        <a:pt x="1062751" y="776771"/>
                        <a:pt x="1062130" y="773211"/>
                        <a:pt x="1061638" y="768831"/>
                      </a:cubicBezTo>
                      <a:cubicBezTo>
                        <a:pt x="1060186" y="772145"/>
                        <a:pt x="1060081" y="776736"/>
                        <a:pt x="1059436" y="780320"/>
                      </a:cubicBezTo>
                      <a:cubicBezTo>
                        <a:pt x="1058956" y="782943"/>
                        <a:pt x="1061463" y="784712"/>
                        <a:pt x="1059202" y="786960"/>
                      </a:cubicBezTo>
                      <a:cubicBezTo>
                        <a:pt x="1055712" y="790450"/>
                        <a:pt x="1055478" y="785098"/>
                        <a:pt x="1056263" y="782674"/>
                      </a:cubicBezTo>
                      <a:cubicBezTo>
                        <a:pt x="1054272" y="782147"/>
                        <a:pt x="1054752" y="782217"/>
                        <a:pt x="1053065" y="781550"/>
                      </a:cubicBezTo>
                      <a:cubicBezTo>
                        <a:pt x="1054131" y="784161"/>
                        <a:pt x="1053276" y="785227"/>
                        <a:pt x="1052574" y="787745"/>
                      </a:cubicBezTo>
                      <a:cubicBezTo>
                        <a:pt x="1050594" y="784536"/>
                        <a:pt x="1052913" y="779711"/>
                        <a:pt x="1049423" y="777205"/>
                      </a:cubicBezTo>
                      <a:cubicBezTo>
                        <a:pt x="1049985" y="779289"/>
                        <a:pt x="1052562" y="788916"/>
                        <a:pt x="1051051" y="790123"/>
                      </a:cubicBezTo>
                      <a:cubicBezTo>
                        <a:pt x="1047912" y="792617"/>
                        <a:pt x="1046097" y="784021"/>
                        <a:pt x="1045711" y="782369"/>
                      </a:cubicBezTo>
                      <a:cubicBezTo>
                        <a:pt x="1044832" y="778716"/>
                        <a:pt x="1043521" y="771033"/>
                        <a:pt x="1043954" y="766700"/>
                      </a:cubicBezTo>
                      <a:cubicBezTo>
                        <a:pt x="1044375" y="762308"/>
                        <a:pt x="1049002" y="763163"/>
                        <a:pt x="1046413" y="757904"/>
                      </a:cubicBezTo>
                      <a:cubicBezTo>
                        <a:pt x="1045195" y="755433"/>
                        <a:pt x="1041354" y="755199"/>
                        <a:pt x="1039820" y="753032"/>
                      </a:cubicBezTo>
                      <a:cubicBezTo>
                        <a:pt x="1033285" y="755808"/>
                        <a:pt x="1034432" y="744846"/>
                        <a:pt x="1030931" y="742925"/>
                      </a:cubicBezTo>
                      <a:cubicBezTo>
                        <a:pt x="1034034" y="748734"/>
                        <a:pt x="1032980" y="751322"/>
                        <a:pt x="1037969" y="755246"/>
                      </a:cubicBezTo>
                      <a:cubicBezTo>
                        <a:pt x="1043485" y="759591"/>
                        <a:pt x="1046038" y="756616"/>
                        <a:pt x="1041611" y="764287"/>
                      </a:cubicBezTo>
                      <a:cubicBezTo>
                        <a:pt x="1040932" y="765458"/>
                        <a:pt x="1039082" y="766126"/>
                        <a:pt x="1038461" y="767016"/>
                      </a:cubicBezTo>
                      <a:cubicBezTo>
                        <a:pt x="1036821" y="769346"/>
                        <a:pt x="1036306" y="772403"/>
                        <a:pt x="1034608" y="774652"/>
                      </a:cubicBezTo>
                      <a:cubicBezTo>
                        <a:pt x="1032570" y="777322"/>
                        <a:pt x="1028003" y="780285"/>
                        <a:pt x="1025110" y="782030"/>
                      </a:cubicBezTo>
                      <a:cubicBezTo>
                        <a:pt x="1013867" y="788811"/>
                        <a:pt x="998068" y="786633"/>
                        <a:pt x="987610" y="794468"/>
                      </a:cubicBezTo>
                      <a:cubicBezTo>
                        <a:pt x="981121" y="799328"/>
                        <a:pt x="974341" y="807175"/>
                        <a:pt x="975441" y="815689"/>
                      </a:cubicBezTo>
                      <a:cubicBezTo>
                        <a:pt x="976004" y="820022"/>
                        <a:pt x="987235" y="834275"/>
                        <a:pt x="977303" y="832764"/>
                      </a:cubicBezTo>
                      <a:cubicBezTo>
                        <a:pt x="980922" y="833806"/>
                        <a:pt x="986743" y="835645"/>
                        <a:pt x="980501" y="837262"/>
                      </a:cubicBezTo>
                      <a:cubicBezTo>
                        <a:pt x="983616" y="837788"/>
                        <a:pt x="982749" y="838679"/>
                        <a:pt x="985888" y="837262"/>
                      </a:cubicBezTo>
                      <a:cubicBezTo>
                        <a:pt x="981051" y="843679"/>
                        <a:pt x="967923" y="844804"/>
                        <a:pt x="969047" y="855180"/>
                      </a:cubicBezTo>
                      <a:cubicBezTo>
                        <a:pt x="970441" y="854208"/>
                        <a:pt x="971776" y="854360"/>
                        <a:pt x="972607" y="854009"/>
                      </a:cubicBezTo>
                      <a:cubicBezTo>
                        <a:pt x="972912" y="853353"/>
                        <a:pt x="972701" y="852205"/>
                        <a:pt x="973005" y="851444"/>
                      </a:cubicBezTo>
                      <a:cubicBezTo>
                        <a:pt x="973837" y="854969"/>
                        <a:pt x="970815" y="857663"/>
                        <a:pt x="967665" y="859244"/>
                      </a:cubicBezTo>
                      <a:cubicBezTo>
                        <a:pt x="968215" y="859080"/>
                        <a:pt x="969703" y="858623"/>
                        <a:pt x="970839" y="858132"/>
                      </a:cubicBezTo>
                      <a:cubicBezTo>
                        <a:pt x="967185" y="860989"/>
                        <a:pt x="961024" y="861867"/>
                        <a:pt x="957944" y="864666"/>
                      </a:cubicBezTo>
                      <a:cubicBezTo>
                        <a:pt x="955110" y="867255"/>
                        <a:pt x="955743" y="871483"/>
                        <a:pt x="951889" y="874106"/>
                      </a:cubicBezTo>
                      <a:cubicBezTo>
                        <a:pt x="952627" y="875137"/>
                        <a:pt x="952756" y="874739"/>
                        <a:pt x="953693" y="875254"/>
                      </a:cubicBezTo>
                      <a:cubicBezTo>
                        <a:pt x="950554" y="876261"/>
                        <a:pt x="940588" y="871389"/>
                        <a:pt x="939417" y="867442"/>
                      </a:cubicBezTo>
                      <a:cubicBezTo>
                        <a:pt x="938714" y="872736"/>
                        <a:pt x="947240" y="874715"/>
                        <a:pt x="950894" y="877116"/>
                      </a:cubicBezTo>
                      <a:cubicBezTo>
                        <a:pt x="938773" y="884658"/>
                        <a:pt x="923559" y="882901"/>
                        <a:pt x="911859" y="890479"/>
                      </a:cubicBezTo>
                      <a:cubicBezTo>
                        <a:pt x="911848" y="890373"/>
                        <a:pt x="912597" y="889764"/>
                        <a:pt x="912586" y="889764"/>
                      </a:cubicBezTo>
                      <a:cubicBezTo>
                        <a:pt x="908756" y="891451"/>
                        <a:pt x="903357" y="895480"/>
                        <a:pt x="901588" y="891251"/>
                      </a:cubicBezTo>
                      <a:cubicBezTo>
                        <a:pt x="903017" y="890631"/>
                        <a:pt x="904856" y="889600"/>
                        <a:pt x="906543" y="889354"/>
                      </a:cubicBezTo>
                      <a:cubicBezTo>
                        <a:pt x="907023" y="889882"/>
                        <a:pt x="905863" y="890537"/>
                        <a:pt x="906179" y="890865"/>
                      </a:cubicBezTo>
                      <a:cubicBezTo>
                        <a:pt x="907222" y="890443"/>
                        <a:pt x="908369" y="889518"/>
                        <a:pt x="909377" y="888991"/>
                      </a:cubicBezTo>
                      <a:cubicBezTo>
                        <a:pt x="908697" y="885068"/>
                        <a:pt x="910302" y="881379"/>
                        <a:pt x="904680" y="880723"/>
                      </a:cubicBezTo>
                      <a:cubicBezTo>
                        <a:pt x="901706" y="880383"/>
                        <a:pt x="895674" y="884998"/>
                        <a:pt x="893812" y="886825"/>
                      </a:cubicBezTo>
                      <a:cubicBezTo>
                        <a:pt x="889092" y="891474"/>
                        <a:pt x="887101" y="897494"/>
                        <a:pt x="884982" y="901933"/>
                      </a:cubicBezTo>
                      <a:cubicBezTo>
                        <a:pt x="885403" y="901979"/>
                        <a:pt x="885673" y="901745"/>
                        <a:pt x="885778" y="901253"/>
                      </a:cubicBezTo>
                      <a:cubicBezTo>
                        <a:pt x="885919" y="901593"/>
                        <a:pt x="885825" y="903525"/>
                        <a:pt x="885778" y="903467"/>
                      </a:cubicBezTo>
                      <a:cubicBezTo>
                        <a:pt x="888460" y="901968"/>
                        <a:pt x="888846" y="901933"/>
                        <a:pt x="889701" y="899356"/>
                      </a:cubicBezTo>
                      <a:cubicBezTo>
                        <a:pt x="890228" y="899789"/>
                        <a:pt x="890884" y="899848"/>
                        <a:pt x="891470" y="899356"/>
                      </a:cubicBezTo>
                      <a:cubicBezTo>
                        <a:pt x="891036" y="898970"/>
                        <a:pt x="889643" y="898068"/>
                        <a:pt x="889362" y="897915"/>
                      </a:cubicBezTo>
                      <a:cubicBezTo>
                        <a:pt x="892442" y="893933"/>
                        <a:pt x="895381" y="895702"/>
                        <a:pt x="899715" y="891966"/>
                      </a:cubicBezTo>
                      <a:cubicBezTo>
                        <a:pt x="900640" y="895175"/>
                        <a:pt x="898754" y="896920"/>
                        <a:pt x="896318" y="895854"/>
                      </a:cubicBezTo>
                      <a:cubicBezTo>
                        <a:pt x="895498" y="896686"/>
                        <a:pt x="895651" y="896979"/>
                        <a:pt x="894339" y="896803"/>
                      </a:cubicBezTo>
                      <a:cubicBezTo>
                        <a:pt x="895592" y="898361"/>
                        <a:pt x="894819" y="897213"/>
                        <a:pt x="895089" y="898278"/>
                      </a:cubicBezTo>
                      <a:cubicBezTo>
                        <a:pt x="900043" y="897271"/>
                        <a:pt x="904774" y="894168"/>
                        <a:pt x="909365" y="891954"/>
                      </a:cubicBezTo>
                      <a:cubicBezTo>
                        <a:pt x="901179" y="896920"/>
                        <a:pt x="893226" y="900281"/>
                        <a:pt x="885813" y="906418"/>
                      </a:cubicBezTo>
                      <a:cubicBezTo>
                        <a:pt x="881749" y="909779"/>
                        <a:pt x="868632" y="924606"/>
                        <a:pt x="865669" y="921350"/>
                      </a:cubicBezTo>
                      <a:cubicBezTo>
                        <a:pt x="865095" y="923950"/>
                        <a:pt x="864615" y="922896"/>
                        <a:pt x="865751" y="925356"/>
                      </a:cubicBezTo>
                      <a:cubicBezTo>
                        <a:pt x="867157" y="924103"/>
                        <a:pt x="866325" y="924372"/>
                        <a:pt x="867812" y="924091"/>
                      </a:cubicBezTo>
                      <a:cubicBezTo>
                        <a:pt x="862519" y="934034"/>
                        <a:pt x="850315" y="952526"/>
                        <a:pt x="839529" y="955747"/>
                      </a:cubicBezTo>
                      <a:cubicBezTo>
                        <a:pt x="841754" y="955548"/>
                        <a:pt x="843160" y="955478"/>
                        <a:pt x="845373" y="953487"/>
                      </a:cubicBezTo>
                      <a:cubicBezTo>
                        <a:pt x="836215" y="959846"/>
                        <a:pt x="833439" y="967623"/>
                        <a:pt x="823274" y="972214"/>
                      </a:cubicBezTo>
                      <a:cubicBezTo>
                        <a:pt x="816317" y="975364"/>
                        <a:pt x="810438" y="978854"/>
                        <a:pt x="804676" y="983492"/>
                      </a:cubicBezTo>
                      <a:cubicBezTo>
                        <a:pt x="802158" y="985518"/>
                        <a:pt x="801560" y="988680"/>
                        <a:pt x="798539" y="987450"/>
                      </a:cubicBezTo>
                      <a:cubicBezTo>
                        <a:pt x="798293" y="992849"/>
                        <a:pt x="792601" y="1001808"/>
                        <a:pt x="787588" y="999091"/>
                      </a:cubicBezTo>
                      <a:cubicBezTo>
                        <a:pt x="791699" y="1001071"/>
                        <a:pt x="790048" y="1002441"/>
                        <a:pt x="786078" y="1002945"/>
                      </a:cubicBezTo>
                      <a:cubicBezTo>
                        <a:pt x="786452" y="1003706"/>
                        <a:pt x="787038" y="1004432"/>
                        <a:pt x="787425" y="1005193"/>
                      </a:cubicBezTo>
                      <a:cubicBezTo>
                        <a:pt x="773710" y="1011646"/>
                        <a:pt x="758544" y="1017115"/>
                        <a:pt x="746668" y="1026941"/>
                      </a:cubicBezTo>
                      <a:cubicBezTo>
                        <a:pt x="743717" y="1029377"/>
                        <a:pt x="734406" y="1037517"/>
                        <a:pt x="735941" y="1042307"/>
                      </a:cubicBezTo>
                      <a:cubicBezTo>
                        <a:pt x="737592" y="1047448"/>
                        <a:pt x="743506" y="1045364"/>
                        <a:pt x="741000" y="1039391"/>
                      </a:cubicBezTo>
                      <a:cubicBezTo>
                        <a:pt x="743459" y="1044848"/>
                        <a:pt x="741199" y="1052800"/>
                        <a:pt x="739126" y="1058071"/>
                      </a:cubicBezTo>
                      <a:cubicBezTo>
                        <a:pt x="738775" y="1057825"/>
                        <a:pt x="738260" y="1057274"/>
                        <a:pt x="737779" y="1056993"/>
                      </a:cubicBezTo>
                      <a:cubicBezTo>
                        <a:pt x="738025" y="1057825"/>
                        <a:pt x="737733" y="1058621"/>
                        <a:pt x="738845" y="1059593"/>
                      </a:cubicBezTo>
                      <a:cubicBezTo>
                        <a:pt x="727497" y="1063704"/>
                        <a:pt x="709836" y="1080217"/>
                        <a:pt x="698827" y="1070637"/>
                      </a:cubicBezTo>
                      <a:cubicBezTo>
                        <a:pt x="698991" y="1071012"/>
                        <a:pt x="699131" y="1071387"/>
                        <a:pt x="699295" y="1071773"/>
                      </a:cubicBezTo>
                      <a:cubicBezTo>
                        <a:pt x="696719" y="1071726"/>
                        <a:pt x="695009" y="1072195"/>
                        <a:pt x="692397" y="1072441"/>
                      </a:cubicBezTo>
                      <a:cubicBezTo>
                        <a:pt x="692573" y="1069443"/>
                        <a:pt x="689223" y="1069817"/>
                        <a:pt x="686448" y="1071433"/>
                      </a:cubicBezTo>
                      <a:cubicBezTo>
                        <a:pt x="683344" y="1073237"/>
                        <a:pt x="681927" y="1079304"/>
                        <a:pt x="680569" y="1083215"/>
                      </a:cubicBezTo>
                      <a:cubicBezTo>
                        <a:pt x="679878" y="1085194"/>
                        <a:pt x="679714" y="1088275"/>
                        <a:pt x="678777" y="1089996"/>
                      </a:cubicBezTo>
                      <a:cubicBezTo>
                        <a:pt x="677606" y="1092128"/>
                        <a:pt x="675427" y="1093369"/>
                        <a:pt x="674092" y="1095594"/>
                      </a:cubicBezTo>
                      <a:cubicBezTo>
                        <a:pt x="672324" y="1098499"/>
                        <a:pt x="669946" y="1098862"/>
                        <a:pt x="671305" y="1102528"/>
                      </a:cubicBezTo>
                      <a:cubicBezTo>
                        <a:pt x="664758" y="1098569"/>
                        <a:pt x="667253" y="1095618"/>
                        <a:pt x="665250" y="1088989"/>
                      </a:cubicBezTo>
                      <a:cubicBezTo>
                        <a:pt x="664746" y="1089750"/>
                        <a:pt x="665578" y="1089832"/>
                        <a:pt x="664863" y="1090453"/>
                      </a:cubicBezTo>
                      <a:cubicBezTo>
                        <a:pt x="664805" y="1090301"/>
                        <a:pt x="664278" y="1089680"/>
                        <a:pt x="664137" y="1089727"/>
                      </a:cubicBezTo>
                      <a:cubicBezTo>
                        <a:pt x="666714" y="1094857"/>
                        <a:pt x="663411" y="1101544"/>
                        <a:pt x="660589" y="1105819"/>
                      </a:cubicBezTo>
                      <a:cubicBezTo>
                        <a:pt x="662287" y="1095384"/>
                        <a:pt x="653573" y="1094599"/>
                        <a:pt x="647366" y="1097023"/>
                      </a:cubicBezTo>
                      <a:cubicBezTo>
                        <a:pt x="638278" y="1100584"/>
                        <a:pt x="633242" y="1106685"/>
                        <a:pt x="629413" y="1115586"/>
                      </a:cubicBezTo>
                      <a:cubicBezTo>
                        <a:pt x="625677" y="1124253"/>
                        <a:pt x="620594" y="1133786"/>
                        <a:pt x="621695" y="1145404"/>
                      </a:cubicBezTo>
                      <a:cubicBezTo>
                        <a:pt x="622151" y="1150159"/>
                        <a:pt x="628792" y="1164681"/>
                        <a:pt x="625887" y="1166918"/>
                      </a:cubicBezTo>
                      <a:cubicBezTo>
                        <a:pt x="635046" y="1166379"/>
                        <a:pt x="622714" y="1184614"/>
                        <a:pt x="621133" y="1186886"/>
                      </a:cubicBezTo>
                      <a:cubicBezTo>
                        <a:pt x="622140" y="1186066"/>
                        <a:pt x="623686" y="1185328"/>
                        <a:pt x="624798" y="1184438"/>
                      </a:cubicBezTo>
                      <a:cubicBezTo>
                        <a:pt x="625993" y="1199019"/>
                        <a:pt x="632376" y="1212475"/>
                        <a:pt x="634847" y="1227033"/>
                      </a:cubicBezTo>
                      <a:cubicBezTo>
                        <a:pt x="631966" y="1222009"/>
                        <a:pt x="629483" y="1216633"/>
                        <a:pt x="625876" y="1211726"/>
                      </a:cubicBezTo>
                      <a:cubicBezTo>
                        <a:pt x="625981" y="1213658"/>
                        <a:pt x="625442" y="1215708"/>
                        <a:pt x="625548" y="1217558"/>
                      </a:cubicBezTo>
                      <a:cubicBezTo>
                        <a:pt x="625243" y="1216246"/>
                        <a:pt x="623932" y="1214876"/>
                        <a:pt x="623369" y="1213541"/>
                      </a:cubicBezTo>
                      <a:cubicBezTo>
                        <a:pt x="617572" y="1221259"/>
                        <a:pt x="631544" y="1228087"/>
                        <a:pt x="635526" y="1227583"/>
                      </a:cubicBezTo>
                      <a:cubicBezTo>
                        <a:pt x="637294" y="1231729"/>
                        <a:pt x="636322" y="1236332"/>
                        <a:pt x="634835" y="1239014"/>
                      </a:cubicBezTo>
                      <a:cubicBezTo>
                        <a:pt x="635175" y="1238850"/>
                        <a:pt x="635538" y="1238756"/>
                        <a:pt x="635901" y="1238686"/>
                      </a:cubicBezTo>
                      <a:cubicBezTo>
                        <a:pt x="633266" y="1253068"/>
                        <a:pt x="631720" y="1284290"/>
                        <a:pt x="615546" y="1291868"/>
                      </a:cubicBezTo>
                      <a:cubicBezTo>
                        <a:pt x="616436" y="1291505"/>
                        <a:pt x="617631" y="1291165"/>
                        <a:pt x="618732" y="1290603"/>
                      </a:cubicBezTo>
                      <a:cubicBezTo>
                        <a:pt x="610405" y="1303380"/>
                        <a:pt x="603706" y="1318172"/>
                        <a:pt x="607290" y="1333737"/>
                      </a:cubicBezTo>
                      <a:cubicBezTo>
                        <a:pt x="608227" y="1333010"/>
                        <a:pt x="607582" y="1333163"/>
                        <a:pt x="607653" y="1332296"/>
                      </a:cubicBezTo>
                      <a:cubicBezTo>
                        <a:pt x="611892" y="1336899"/>
                        <a:pt x="603776" y="1335845"/>
                        <a:pt x="601563" y="1340588"/>
                      </a:cubicBezTo>
                      <a:cubicBezTo>
                        <a:pt x="614492" y="1327951"/>
                        <a:pt x="610346" y="1359010"/>
                        <a:pt x="610499" y="1366295"/>
                      </a:cubicBezTo>
                      <a:cubicBezTo>
                        <a:pt x="610604" y="1371342"/>
                        <a:pt x="613930" y="1388277"/>
                        <a:pt x="611061" y="1392353"/>
                      </a:cubicBezTo>
                      <a:cubicBezTo>
                        <a:pt x="607266" y="1397764"/>
                        <a:pt x="604303" y="1388722"/>
                        <a:pt x="598330" y="1392657"/>
                      </a:cubicBezTo>
                      <a:cubicBezTo>
                        <a:pt x="601445" y="1392950"/>
                        <a:pt x="604549" y="1393711"/>
                        <a:pt x="606587" y="1395187"/>
                      </a:cubicBezTo>
                      <a:cubicBezTo>
                        <a:pt x="603015" y="1394918"/>
                        <a:pt x="597557" y="1394355"/>
                        <a:pt x="595074" y="1392458"/>
                      </a:cubicBezTo>
                      <a:cubicBezTo>
                        <a:pt x="595929" y="1392072"/>
                        <a:pt x="597218" y="1391580"/>
                        <a:pt x="597967" y="1391263"/>
                      </a:cubicBezTo>
                      <a:cubicBezTo>
                        <a:pt x="592638" y="1390912"/>
                        <a:pt x="569696" y="1396592"/>
                        <a:pt x="580845" y="1407086"/>
                      </a:cubicBezTo>
                      <a:cubicBezTo>
                        <a:pt x="574743" y="1410798"/>
                        <a:pt x="559881" y="1429701"/>
                        <a:pt x="561849" y="1437782"/>
                      </a:cubicBezTo>
                      <a:cubicBezTo>
                        <a:pt x="564566" y="1448861"/>
                        <a:pt x="575294" y="1443673"/>
                        <a:pt x="581477" y="1445359"/>
                      </a:cubicBezTo>
                      <a:cubicBezTo>
                        <a:pt x="584487" y="1446179"/>
                        <a:pt x="585120" y="1449657"/>
                        <a:pt x="589968" y="1453229"/>
                      </a:cubicBezTo>
                      <a:cubicBezTo>
                        <a:pt x="582496" y="1451344"/>
                        <a:pt x="578128" y="1447385"/>
                        <a:pt x="569801" y="1447819"/>
                      </a:cubicBezTo>
                      <a:cubicBezTo>
                        <a:pt x="564542" y="1448088"/>
                        <a:pt x="561427" y="1447971"/>
                        <a:pt x="556157" y="1449692"/>
                      </a:cubicBezTo>
                      <a:cubicBezTo>
                        <a:pt x="542841" y="1454037"/>
                        <a:pt x="524934" y="1457235"/>
                        <a:pt x="522615" y="1474544"/>
                      </a:cubicBezTo>
                      <a:cubicBezTo>
                        <a:pt x="523857" y="1473842"/>
                        <a:pt x="524208" y="1473689"/>
                        <a:pt x="525098" y="1472717"/>
                      </a:cubicBezTo>
                      <a:cubicBezTo>
                        <a:pt x="523903" y="1474732"/>
                        <a:pt x="521186" y="1478280"/>
                        <a:pt x="520121" y="1479580"/>
                      </a:cubicBezTo>
                      <a:cubicBezTo>
                        <a:pt x="527042" y="1490109"/>
                        <a:pt x="511524" y="1497745"/>
                        <a:pt x="504790" y="1501645"/>
                      </a:cubicBezTo>
                      <a:cubicBezTo>
                        <a:pt x="495749" y="1506892"/>
                        <a:pt x="488921" y="1512571"/>
                        <a:pt x="478252" y="1507337"/>
                      </a:cubicBezTo>
                      <a:cubicBezTo>
                        <a:pt x="470792" y="1503682"/>
                        <a:pt x="463261" y="1496011"/>
                        <a:pt x="457850" y="1489828"/>
                      </a:cubicBezTo>
                      <a:cubicBezTo>
                        <a:pt x="452545" y="1483738"/>
                        <a:pt x="440986" y="1472588"/>
                        <a:pt x="438398" y="1465585"/>
                      </a:cubicBezTo>
                      <a:cubicBezTo>
                        <a:pt x="440564" y="1466311"/>
                        <a:pt x="440002" y="1465526"/>
                        <a:pt x="442180" y="1465515"/>
                      </a:cubicBezTo>
                      <a:cubicBezTo>
                        <a:pt x="438152" y="1464226"/>
                        <a:pt x="440599" y="1463348"/>
                        <a:pt x="444277" y="1463184"/>
                      </a:cubicBezTo>
                      <a:cubicBezTo>
                        <a:pt x="444300" y="1463055"/>
                        <a:pt x="443094" y="1462224"/>
                        <a:pt x="442907" y="1462294"/>
                      </a:cubicBezTo>
                      <a:cubicBezTo>
                        <a:pt x="443644" y="1461884"/>
                        <a:pt x="444429" y="1462001"/>
                        <a:pt x="444663" y="1461217"/>
                      </a:cubicBezTo>
                      <a:cubicBezTo>
                        <a:pt x="441958" y="1461088"/>
                        <a:pt x="440107" y="1461861"/>
                        <a:pt x="438936" y="1464121"/>
                      </a:cubicBezTo>
                      <a:cubicBezTo>
                        <a:pt x="438866" y="1463254"/>
                        <a:pt x="438714" y="1462868"/>
                        <a:pt x="439299" y="1461908"/>
                      </a:cubicBezTo>
                      <a:cubicBezTo>
                        <a:pt x="438690" y="1463137"/>
                        <a:pt x="438292" y="1463406"/>
                        <a:pt x="437871" y="1464800"/>
                      </a:cubicBezTo>
                      <a:cubicBezTo>
                        <a:pt x="436383" y="1461591"/>
                        <a:pt x="434650" y="1457843"/>
                        <a:pt x="433924" y="1454318"/>
                      </a:cubicBezTo>
                      <a:cubicBezTo>
                        <a:pt x="434018" y="1454354"/>
                        <a:pt x="434638" y="1455431"/>
                        <a:pt x="434662" y="1455466"/>
                      </a:cubicBezTo>
                      <a:cubicBezTo>
                        <a:pt x="434732" y="1454740"/>
                        <a:pt x="434556" y="1453194"/>
                        <a:pt x="434978" y="1452573"/>
                      </a:cubicBezTo>
                      <a:cubicBezTo>
                        <a:pt x="434814" y="1452503"/>
                        <a:pt x="433994" y="1453604"/>
                        <a:pt x="433912" y="1453639"/>
                      </a:cubicBezTo>
                      <a:cubicBezTo>
                        <a:pt x="433209" y="1451496"/>
                        <a:pt x="432296" y="1449997"/>
                        <a:pt x="431418" y="1448615"/>
                      </a:cubicBezTo>
                      <a:cubicBezTo>
                        <a:pt x="432038" y="1450336"/>
                        <a:pt x="432565" y="1452269"/>
                        <a:pt x="433198" y="1453967"/>
                      </a:cubicBezTo>
                      <a:cubicBezTo>
                        <a:pt x="428829" y="1446811"/>
                        <a:pt x="426300" y="1437969"/>
                        <a:pt x="425140" y="1429431"/>
                      </a:cubicBezTo>
                      <a:cubicBezTo>
                        <a:pt x="424449" y="1424466"/>
                        <a:pt x="421732" y="1414991"/>
                        <a:pt x="422915" y="1410915"/>
                      </a:cubicBezTo>
                      <a:cubicBezTo>
                        <a:pt x="423606" y="1411899"/>
                        <a:pt x="424332" y="1412684"/>
                        <a:pt x="424976" y="1413785"/>
                      </a:cubicBezTo>
                      <a:cubicBezTo>
                        <a:pt x="424590" y="1413925"/>
                        <a:pt x="423419" y="1413433"/>
                        <a:pt x="423208" y="1413785"/>
                      </a:cubicBezTo>
                      <a:cubicBezTo>
                        <a:pt x="423910" y="1415682"/>
                        <a:pt x="423360" y="1415752"/>
                        <a:pt x="424625" y="1414698"/>
                      </a:cubicBezTo>
                      <a:cubicBezTo>
                        <a:pt x="424683" y="1415050"/>
                        <a:pt x="424437" y="1417240"/>
                        <a:pt x="424449" y="1417252"/>
                      </a:cubicBezTo>
                      <a:cubicBezTo>
                        <a:pt x="425187" y="1416233"/>
                        <a:pt x="425445" y="1416631"/>
                        <a:pt x="425901" y="1415319"/>
                      </a:cubicBezTo>
                      <a:cubicBezTo>
                        <a:pt x="426592" y="1418446"/>
                        <a:pt x="426920" y="1422276"/>
                        <a:pt x="427869" y="1424805"/>
                      </a:cubicBezTo>
                      <a:cubicBezTo>
                        <a:pt x="428185" y="1421667"/>
                        <a:pt x="427295" y="1417919"/>
                        <a:pt x="427154" y="1415776"/>
                      </a:cubicBezTo>
                      <a:cubicBezTo>
                        <a:pt x="428665" y="1418879"/>
                        <a:pt x="429942" y="1424032"/>
                        <a:pt x="430118" y="1427066"/>
                      </a:cubicBezTo>
                      <a:cubicBezTo>
                        <a:pt x="430282" y="1429923"/>
                        <a:pt x="426873" y="1432137"/>
                        <a:pt x="429438" y="1434538"/>
                      </a:cubicBezTo>
                      <a:cubicBezTo>
                        <a:pt x="431464" y="1436423"/>
                        <a:pt x="434744" y="1434830"/>
                        <a:pt x="436044" y="1433460"/>
                      </a:cubicBezTo>
                      <a:cubicBezTo>
                        <a:pt x="426475" y="1432359"/>
                        <a:pt x="434263" y="1411080"/>
                        <a:pt x="425128" y="1411536"/>
                      </a:cubicBezTo>
                      <a:cubicBezTo>
                        <a:pt x="423758" y="1407835"/>
                        <a:pt x="423255" y="1404767"/>
                        <a:pt x="421006" y="1401687"/>
                      </a:cubicBezTo>
                      <a:cubicBezTo>
                        <a:pt x="421088" y="1404193"/>
                        <a:pt x="421674" y="1406992"/>
                        <a:pt x="422446" y="1409627"/>
                      </a:cubicBezTo>
                      <a:cubicBezTo>
                        <a:pt x="417996" y="1404509"/>
                        <a:pt x="418945" y="1400352"/>
                        <a:pt x="422306" y="1396382"/>
                      </a:cubicBezTo>
                      <a:cubicBezTo>
                        <a:pt x="422353" y="1396428"/>
                        <a:pt x="420245" y="1394999"/>
                        <a:pt x="419929" y="1394824"/>
                      </a:cubicBezTo>
                      <a:cubicBezTo>
                        <a:pt x="422130" y="1405517"/>
                        <a:pt x="414155" y="1386263"/>
                        <a:pt x="412937" y="1383616"/>
                      </a:cubicBezTo>
                      <a:cubicBezTo>
                        <a:pt x="410981" y="1379341"/>
                        <a:pt x="404294" y="1371085"/>
                        <a:pt x="406730" y="1366997"/>
                      </a:cubicBezTo>
                      <a:cubicBezTo>
                        <a:pt x="402092" y="1364023"/>
                        <a:pt x="400909" y="1351034"/>
                        <a:pt x="398707" y="1345472"/>
                      </a:cubicBezTo>
                      <a:cubicBezTo>
                        <a:pt x="396365" y="1339534"/>
                        <a:pt x="396131" y="1337379"/>
                        <a:pt x="393156" y="1332870"/>
                      </a:cubicBezTo>
                      <a:cubicBezTo>
                        <a:pt x="391938" y="1331043"/>
                        <a:pt x="390392" y="1331383"/>
                        <a:pt x="389233" y="1329556"/>
                      </a:cubicBezTo>
                      <a:cubicBezTo>
                        <a:pt x="387464" y="1326756"/>
                        <a:pt x="387265" y="1323208"/>
                        <a:pt x="385508" y="1320139"/>
                      </a:cubicBezTo>
                      <a:cubicBezTo>
                        <a:pt x="382124" y="1314225"/>
                        <a:pt x="376678" y="1312023"/>
                        <a:pt x="373645" y="1306987"/>
                      </a:cubicBezTo>
                      <a:cubicBezTo>
                        <a:pt x="374792" y="1307444"/>
                        <a:pt x="377146" y="1307140"/>
                        <a:pt x="378481" y="1307620"/>
                      </a:cubicBezTo>
                      <a:cubicBezTo>
                        <a:pt x="378458" y="1307351"/>
                        <a:pt x="378212" y="1305160"/>
                        <a:pt x="378130" y="1304739"/>
                      </a:cubicBezTo>
                      <a:cubicBezTo>
                        <a:pt x="375378" y="1306788"/>
                        <a:pt x="373281" y="1306074"/>
                        <a:pt x="372274" y="1302842"/>
                      </a:cubicBezTo>
                      <a:cubicBezTo>
                        <a:pt x="372485" y="1302713"/>
                        <a:pt x="374453" y="1302818"/>
                        <a:pt x="374816" y="1302736"/>
                      </a:cubicBezTo>
                      <a:cubicBezTo>
                        <a:pt x="371689" y="1301600"/>
                        <a:pt x="372321" y="1301612"/>
                        <a:pt x="372040" y="1305125"/>
                      </a:cubicBezTo>
                      <a:cubicBezTo>
                        <a:pt x="369803" y="1303392"/>
                        <a:pt x="369534" y="1303275"/>
                        <a:pt x="368492" y="1302959"/>
                      </a:cubicBezTo>
                      <a:cubicBezTo>
                        <a:pt x="366583" y="1299387"/>
                        <a:pt x="364041" y="1294433"/>
                        <a:pt x="364896" y="1290240"/>
                      </a:cubicBezTo>
                      <a:cubicBezTo>
                        <a:pt x="364240" y="1290755"/>
                        <a:pt x="363760" y="1291001"/>
                        <a:pt x="363104" y="1291692"/>
                      </a:cubicBezTo>
                      <a:cubicBezTo>
                        <a:pt x="362448" y="1282124"/>
                        <a:pt x="352412" y="1267344"/>
                        <a:pt x="348477" y="1259005"/>
                      </a:cubicBezTo>
                      <a:cubicBezTo>
                        <a:pt x="351041" y="1259275"/>
                        <a:pt x="352119" y="1258560"/>
                        <a:pt x="354543" y="1256862"/>
                      </a:cubicBezTo>
                      <a:cubicBezTo>
                        <a:pt x="345080" y="1261582"/>
                        <a:pt x="346310" y="1248324"/>
                        <a:pt x="345139" y="1242504"/>
                      </a:cubicBezTo>
                      <a:cubicBezTo>
                        <a:pt x="344003" y="1236871"/>
                        <a:pt x="341368" y="1231319"/>
                        <a:pt x="340969" y="1225581"/>
                      </a:cubicBezTo>
                      <a:cubicBezTo>
                        <a:pt x="341403" y="1226881"/>
                        <a:pt x="342047" y="1227806"/>
                        <a:pt x="342398" y="1228509"/>
                      </a:cubicBezTo>
                      <a:cubicBezTo>
                        <a:pt x="341344" y="1224948"/>
                        <a:pt x="340419" y="1220568"/>
                        <a:pt x="340220" y="1216844"/>
                      </a:cubicBezTo>
                      <a:cubicBezTo>
                        <a:pt x="341110" y="1216820"/>
                        <a:pt x="342223" y="1215743"/>
                        <a:pt x="343827" y="1215720"/>
                      </a:cubicBezTo>
                      <a:cubicBezTo>
                        <a:pt x="343042" y="1214666"/>
                        <a:pt x="341918" y="1213471"/>
                        <a:pt x="341332" y="1212639"/>
                      </a:cubicBezTo>
                      <a:cubicBezTo>
                        <a:pt x="340864" y="1213623"/>
                        <a:pt x="340232" y="1214173"/>
                        <a:pt x="339904" y="1215380"/>
                      </a:cubicBezTo>
                      <a:cubicBezTo>
                        <a:pt x="335266" y="1204687"/>
                        <a:pt x="331307" y="1193866"/>
                        <a:pt x="328052" y="1183302"/>
                      </a:cubicBezTo>
                      <a:cubicBezTo>
                        <a:pt x="329375" y="1183677"/>
                        <a:pt x="330698" y="1183700"/>
                        <a:pt x="331998" y="1184005"/>
                      </a:cubicBezTo>
                      <a:cubicBezTo>
                        <a:pt x="325686" y="1183255"/>
                        <a:pt x="325475" y="1174003"/>
                        <a:pt x="323812" y="1169108"/>
                      </a:cubicBezTo>
                      <a:cubicBezTo>
                        <a:pt x="324714" y="1170642"/>
                        <a:pt x="325897" y="1171778"/>
                        <a:pt x="326681" y="1172750"/>
                      </a:cubicBezTo>
                      <a:cubicBezTo>
                        <a:pt x="327138" y="1171310"/>
                        <a:pt x="325545" y="1172364"/>
                        <a:pt x="327759" y="1171989"/>
                      </a:cubicBezTo>
                      <a:cubicBezTo>
                        <a:pt x="325721" y="1169213"/>
                        <a:pt x="324960" y="1168744"/>
                        <a:pt x="324163" y="1166929"/>
                      </a:cubicBezTo>
                      <a:cubicBezTo>
                        <a:pt x="321844" y="1171766"/>
                        <a:pt x="319280" y="1167562"/>
                        <a:pt x="323133" y="1165079"/>
                      </a:cubicBezTo>
                      <a:cubicBezTo>
                        <a:pt x="317734" y="1165840"/>
                        <a:pt x="320568" y="1156424"/>
                        <a:pt x="315579" y="1159235"/>
                      </a:cubicBezTo>
                      <a:cubicBezTo>
                        <a:pt x="313822" y="1157466"/>
                        <a:pt x="312171" y="1155897"/>
                        <a:pt x="310191" y="1154129"/>
                      </a:cubicBezTo>
                      <a:cubicBezTo>
                        <a:pt x="312405" y="1153414"/>
                        <a:pt x="314209" y="1152056"/>
                        <a:pt x="317605" y="1151306"/>
                      </a:cubicBezTo>
                      <a:cubicBezTo>
                        <a:pt x="317218" y="1150662"/>
                        <a:pt x="316879" y="1150112"/>
                        <a:pt x="316305" y="1149362"/>
                      </a:cubicBezTo>
                      <a:cubicBezTo>
                        <a:pt x="309723" y="1156776"/>
                        <a:pt x="306397" y="1142358"/>
                        <a:pt x="300916" y="1139864"/>
                      </a:cubicBezTo>
                      <a:cubicBezTo>
                        <a:pt x="306163" y="1133575"/>
                        <a:pt x="299932" y="1126442"/>
                        <a:pt x="294123" y="1122308"/>
                      </a:cubicBezTo>
                      <a:cubicBezTo>
                        <a:pt x="297695" y="1122308"/>
                        <a:pt x="300881" y="1121910"/>
                        <a:pt x="303059" y="1124522"/>
                      </a:cubicBezTo>
                      <a:cubicBezTo>
                        <a:pt x="303059" y="1124639"/>
                        <a:pt x="303879" y="1124206"/>
                        <a:pt x="303785" y="1124135"/>
                      </a:cubicBezTo>
                      <a:cubicBezTo>
                        <a:pt x="301338" y="1121254"/>
                        <a:pt x="298339" y="1120235"/>
                        <a:pt x="294838" y="1120107"/>
                      </a:cubicBezTo>
                      <a:cubicBezTo>
                        <a:pt x="296829" y="1118092"/>
                        <a:pt x="295119" y="1117858"/>
                        <a:pt x="298796" y="1116804"/>
                      </a:cubicBezTo>
                      <a:cubicBezTo>
                        <a:pt x="298211" y="1116476"/>
                        <a:pt x="297930" y="1115902"/>
                        <a:pt x="298468" y="1115375"/>
                      </a:cubicBezTo>
                      <a:cubicBezTo>
                        <a:pt x="291476" y="1121606"/>
                        <a:pt x="289052" y="1109777"/>
                        <a:pt x="297028" y="1108781"/>
                      </a:cubicBezTo>
                      <a:cubicBezTo>
                        <a:pt x="292940" y="1110175"/>
                        <a:pt x="287998" y="1111417"/>
                        <a:pt x="289860" y="1105467"/>
                      </a:cubicBezTo>
                      <a:cubicBezTo>
                        <a:pt x="287202" y="1104753"/>
                        <a:pt x="278805" y="1090418"/>
                        <a:pt x="280222" y="1089340"/>
                      </a:cubicBezTo>
                      <a:cubicBezTo>
                        <a:pt x="275572" y="1088532"/>
                        <a:pt x="276568" y="1084035"/>
                        <a:pt x="278769" y="1080545"/>
                      </a:cubicBezTo>
                      <a:cubicBezTo>
                        <a:pt x="277575" y="1082407"/>
                        <a:pt x="277364" y="1082091"/>
                        <a:pt x="276626" y="1084597"/>
                      </a:cubicBezTo>
                      <a:cubicBezTo>
                        <a:pt x="276931" y="1079549"/>
                        <a:pt x="270735" y="1072874"/>
                        <a:pt x="273382" y="1069173"/>
                      </a:cubicBezTo>
                      <a:cubicBezTo>
                        <a:pt x="270618" y="1067053"/>
                        <a:pt x="269553" y="1063821"/>
                        <a:pt x="269342" y="1060530"/>
                      </a:cubicBezTo>
                      <a:cubicBezTo>
                        <a:pt x="270501" y="1062088"/>
                        <a:pt x="271754" y="1062053"/>
                        <a:pt x="273054" y="1062931"/>
                      </a:cubicBezTo>
                      <a:cubicBezTo>
                        <a:pt x="270981" y="1061139"/>
                        <a:pt x="272633" y="1062814"/>
                        <a:pt x="272656" y="1060741"/>
                      </a:cubicBezTo>
                      <a:cubicBezTo>
                        <a:pt x="269869" y="1059031"/>
                        <a:pt x="268674" y="1059277"/>
                        <a:pt x="271988" y="1057438"/>
                      </a:cubicBezTo>
                      <a:cubicBezTo>
                        <a:pt x="271813" y="1057942"/>
                        <a:pt x="271907" y="1058363"/>
                        <a:pt x="272234" y="1058715"/>
                      </a:cubicBezTo>
                      <a:cubicBezTo>
                        <a:pt x="271087" y="1058059"/>
                        <a:pt x="273230" y="1057555"/>
                        <a:pt x="270150" y="1057438"/>
                      </a:cubicBezTo>
                      <a:cubicBezTo>
                        <a:pt x="269634" y="1050938"/>
                        <a:pt x="269178" y="1039660"/>
                        <a:pt x="266402" y="1034812"/>
                      </a:cubicBezTo>
                      <a:cubicBezTo>
                        <a:pt x="269330" y="1033594"/>
                        <a:pt x="265372" y="1024236"/>
                        <a:pt x="263053" y="1020664"/>
                      </a:cubicBezTo>
                      <a:cubicBezTo>
                        <a:pt x="264189" y="1021343"/>
                        <a:pt x="265500" y="1021414"/>
                        <a:pt x="266273" y="1021800"/>
                      </a:cubicBezTo>
                      <a:cubicBezTo>
                        <a:pt x="263591" y="1017584"/>
                        <a:pt x="257162" y="1006435"/>
                        <a:pt x="263744" y="1005591"/>
                      </a:cubicBezTo>
                      <a:cubicBezTo>
                        <a:pt x="260617" y="1005263"/>
                        <a:pt x="253473" y="986783"/>
                        <a:pt x="255147" y="983784"/>
                      </a:cubicBezTo>
                      <a:cubicBezTo>
                        <a:pt x="254737" y="981887"/>
                        <a:pt x="253613" y="982625"/>
                        <a:pt x="255557" y="979732"/>
                      </a:cubicBezTo>
                      <a:cubicBezTo>
                        <a:pt x="254655" y="980130"/>
                        <a:pt x="254281" y="980341"/>
                        <a:pt x="253754" y="981243"/>
                      </a:cubicBezTo>
                      <a:cubicBezTo>
                        <a:pt x="251997" y="978233"/>
                        <a:pt x="252746" y="972893"/>
                        <a:pt x="249479" y="971265"/>
                      </a:cubicBezTo>
                      <a:cubicBezTo>
                        <a:pt x="249526" y="970164"/>
                        <a:pt x="249983" y="969051"/>
                        <a:pt x="250170" y="967927"/>
                      </a:cubicBezTo>
                      <a:cubicBezTo>
                        <a:pt x="252629" y="970316"/>
                        <a:pt x="255944" y="970187"/>
                        <a:pt x="255780" y="973162"/>
                      </a:cubicBezTo>
                      <a:cubicBezTo>
                        <a:pt x="260511" y="968395"/>
                        <a:pt x="250662" y="967470"/>
                        <a:pt x="248858" y="964004"/>
                      </a:cubicBezTo>
                      <a:cubicBezTo>
                        <a:pt x="246047" y="958570"/>
                        <a:pt x="250029" y="949388"/>
                        <a:pt x="253765" y="959050"/>
                      </a:cubicBezTo>
                      <a:cubicBezTo>
                        <a:pt x="253871" y="958698"/>
                        <a:pt x="253988" y="958347"/>
                        <a:pt x="254082" y="957996"/>
                      </a:cubicBezTo>
                      <a:cubicBezTo>
                        <a:pt x="252325" y="953873"/>
                        <a:pt x="238025" y="941764"/>
                        <a:pt x="249479" y="938742"/>
                      </a:cubicBezTo>
                      <a:cubicBezTo>
                        <a:pt x="250744" y="940826"/>
                        <a:pt x="252184" y="942068"/>
                        <a:pt x="253039" y="943907"/>
                      </a:cubicBezTo>
                      <a:cubicBezTo>
                        <a:pt x="253402" y="942197"/>
                        <a:pt x="253566" y="941166"/>
                        <a:pt x="254152" y="939445"/>
                      </a:cubicBezTo>
                      <a:cubicBezTo>
                        <a:pt x="253976" y="939023"/>
                        <a:pt x="252442" y="936692"/>
                        <a:pt x="252137" y="936130"/>
                      </a:cubicBezTo>
                      <a:cubicBezTo>
                        <a:pt x="245825" y="936728"/>
                        <a:pt x="249221" y="932851"/>
                        <a:pt x="252700" y="931293"/>
                      </a:cubicBezTo>
                      <a:cubicBezTo>
                        <a:pt x="251610" y="931246"/>
                        <a:pt x="251400" y="931188"/>
                        <a:pt x="250884" y="930919"/>
                      </a:cubicBezTo>
                      <a:cubicBezTo>
                        <a:pt x="253004" y="930473"/>
                        <a:pt x="254819" y="929185"/>
                        <a:pt x="256260" y="928541"/>
                      </a:cubicBezTo>
                      <a:cubicBezTo>
                        <a:pt x="255346" y="928857"/>
                        <a:pt x="253765" y="929150"/>
                        <a:pt x="252700" y="929443"/>
                      </a:cubicBezTo>
                      <a:cubicBezTo>
                        <a:pt x="252571" y="925894"/>
                        <a:pt x="252137" y="924465"/>
                        <a:pt x="251985" y="920554"/>
                      </a:cubicBezTo>
                      <a:cubicBezTo>
                        <a:pt x="248542" y="923880"/>
                        <a:pt x="251470" y="926726"/>
                        <a:pt x="247629" y="929818"/>
                      </a:cubicBezTo>
                      <a:cubicBezTo>
                        <a:pt x="247371" y="929443"/>
                        <a:pt x="247746" y="928342"/>
                        <a:pt x="247312" y="927967"/>
                      </a:cubicBezTo>
                      <a:cubicBezTo>
                        <a:pt x="245544" y="929993"/>
                        <a:pt x="244209" y="932453"/>
                        <a:pt x="243518" y="934901"/>
                      </a:cubicBezTo>
                      <a:cubicBezTo>
                        <a:pt x="242921" y="933858"/>
                        <a:pt x="243108" y="932851"/>
                        <a:pt x="243026" y="931656"/>
                      </a:cubicBezTo>
                      <a:cubicBezTo>
                        <a:pt x="242979" y="931680"/>
                        <a:pt x="241492" y="932734"/>
                        <a:pt x="241585" y="932804"/>
                      </a:cubicBezTo>
                      <a:cubicBezTo>
                        <a:pt x="241972" y="931293"/>
                        <a:pt x="242452" y="928822"/>
                        <a:pt x="243026" y="927194"/>
                      </a:cubicBezTo>
                      <a:cubicBezTo>
                        <a:pt x="244420" y="926234"/>
                        <a:pt x="243588" y="922556"/>
                        <a:pt x="243811" y="919874"/>
                      </a:cubicBezTo>
                      <a:cubicBezTo>
                        <a:pt x="243225" y="920226"/>
                        <a:pt x="242604" y="920788"/>
                        <a:pt x="242077" y="921233"/>
                      </a:cubicBezTo>
                      <a:cubicBezTo>
                        <a:pt x="242803" y="919383"/>
                        <a:pt x="243260" y="917591"/>
                        <a:pt x="244443" y="915705"/>
                      </a:cubicBezTo>
                      <a:cubicBezTo>
                        <a:pt x="243729" y="916408"/>
                        <a:pt x="242487" y="917134"/>
                        <a:pt x="241585" y="918294"/>
                      </a:cubicBezTo>
                      <a:cubicBezTo>
                        <a:pt x="238704" y="908702"/>
                        <a:pt x="253379" y="912239"/>
                        <a:pt x="254691" y="918247"/>
                      </a:cubicBezTo>
                      <a:cubicBezTo>
                        <a:pt x="255089" y="918024"/>
                        <a:pt x="255487" y="917801"/>
                        <a:pt x="255897" y="917579"/>
                      </a:cubicBezTo>
                      <a:cubicBezTo>
                        <a:pt x="254175" y="912719"/>
                        <a:pt x="249104" y="913094"/>
                        <a:pt x="244806" y="910529"/>
                      </a:cubicBezTo>
                      <a:cubicBezTo>
                        <a:pt x="240789" y="908140"/>
                        <a:pt x="236631" y="902811"/>
                        <a:pt x="247008" y="900539"/>
                      </a:cubicBezTo>
                      <a:cubicBezTo>
                        <a:pt x="244138" y="901324"/>
                        <a:pt x="241058" y="900234"/>
                        <a:pt x="239466" y="897927"/>
                      </a:cubicBezTo>
                      <a:cubicBezTo>
                        <a:pt x="239782" y="899415"/>
                        <a:pt x="239958" y="900551"/>
                        <a:pt x="240227" y="901616"/>
                      </a:cubicBezTo>
                      <a:cubicBezTo>
                        <a:pt x="237650" y="898443"/>
                        <a:pt x="238494" y="894203"/>
                        <a:pt x="236959" y="890127"/>
                      </a:cubicBezTo>
                      <a:cubicBezTo>
                        <a:pt x="238142" y="890889"/>
                        <a:pt x="238236" y="890760"/>
                        <a:pt x="239044" y="891158"/>
                      </a:cubicBezTo>
                      <a:cubicBezTo>
                        <a:pt x="239290" y="889354"/>
                        <a:pt x="239266" y="888254"/>
                        <a:pt x="239138" y="886391"/>
                      </a:cubicBezTo>
                      <a:cubicBezTo>
                        <a:pt x="238330" y="887610"/>
                        <a:pt x="237416" y="888125"/>
                        <a:pt x="236514" y="888944"/>
                      </a:cubicBezTo>
                      <a:cubicBezTo>
                        <a:pt x="234594" y="881086"/>
                        <a:pt x="237522" y="867852"/>
                        <a:pt x="240110" y="860415"/>
                      </a:cubicBezTo>
                      <a:cubicBezTo>
                        <a:pt x="241773" y="855649"/>
                        <a:pt x="245462" y="852381"/>
                        <a:pt x="247008" y="847357"/>
                      </a:cubicBezTo>
                      <a:cubicBezTo>
                        <a:pt x="248390" y="842848"/>
                        <a:pt x="246574" y="836020"/>
                        <a:pt x="250545" y="833912"/>
                      </a:cubicBezTo>
                      <a:cubicBezTo>
                        <a:pt x="249819" y="832542"/>
                        <a:pt x="249725" y="831839"/>
                        <a:pt x="249128" y="830539"/>
                      </a:cubicBezTo>
                      <a:cubicBezTo>
                        <a:pt x="247793" y="829731"/>
                        <a:pt x="246867" y="832190"/>
                        <a:pt x="248120" y="827998"/>
                      </a:cubicBezTo>
                      <a:cubicBezTo>
                        <a:pt x="247125" y="828618"/>
                        <a:pt x="245907" y="828712"/>
                        <a:pt x="244818" y="829755"/>
                      </a:cubicBezTo>
                      <a:cubicBezTo>
                        <a:pt x="245181" y="826182"/>
                        <a:pt x="245122" y="824109"/>
                        <a:pt x="247500" y="821767"/>
                      </a:cubicBezTo>
                      <a:cubicBezTo>
                        <a:pt x="244689" y="822388"/>
                        <a:pt x="242557" y="821252"/>
                        <a:pt x="241164" y="818710"/>
                      </a:cubicBezTo>
                      <a:cubicBezTo>
                        <a:pt x="248226" y="820420"/>
                        <a:pt x="244314" y="812644"/>
                        <a:pt x="239875" y="814096"/>
                      </a:cubicBezTo>
                      <a:cubicBezTo>
                        <a:pt x="239032" y="815501"/>
                        <a:pt x="238658" y="815525"/>
                        <a:pt x="237697" y="816743"/>
                      </a:cubicBezTo>
                      <a:cubicBezTo>
                        <a:pt x="241117" y="809575"/>
                        <a:pt x="234441" y="812843"/>
                        <a:pt x="236046" y="815443"/>
                      </a:cubicBezTo>
                      <a:cubicBezTo>
                        <a:pt x="236268" y="815782"/>
                        <a:pt x="231748" y="816567"/>
                        <a:pt x="233270" y="814283"/>
                      </a:cubicBezTo>
                      <a:cubicBezTo>
                        <a:pt x="234535" y="812386"/>
                        <a:pt x="237416" y="810606"/>
                        <a:pt x="239477" y="809973"/>
                      </a:cubicBezTo>
                      <a:cubicBezTo>
                        <a:pt x="237498" y="808486"/>
                        <a:pt x="236303" y="807444"/>
                        <a:pt x="234840" y="805910"/>
                      </a:cubicBezTo>
                      <a:cubicBezTo>
                        <a:pt x="231701" y="806273"/>
                        <a:pt x="230459" y="801951"/>
                        <a:pt x="234840" y="801026"/>
                      </a:cubicBezTo>
                      <a:cubicBezTo>
                        <a:pt x="233258" y="800932"/>
                        <a:pt x="231865" y="800089"/>
                        <a:pt x="230612" y="799773"/>
                      </a:cubicBezTo>
                      <a:cubicBezTo>
                        <a:pt x="233996" y="798976"/>
                        <a:pt x="238248" y="796353"/>
                        <a:pt x="240426" y="795533"/>
                      </a:cubicBezTo>
                      <a:cubicBezTo>
                        <a:pt x="238060" y="793987"/>
                        <a:pt x="234535" y="796728"/>
                        <a:pt x="231607" y="798051"/>
                      </a:cubicBezTo>
                      <a:cubicBezTo>
                        <a:pt x="232790" y="794515"/>
                        <a:pt x="240742" y="787476"/>
                        <a:pt x="244092" y="785672"/>
                      </a:cubicBezTo>
                      <a:cubicBezTo>
                        <a:pt x="248273" y="783423"/>
                        <a:pt x="257665" y="784091"/>
                        <a:pt x="259902" y="778962"/>
                      </a:cubicBezTo>
                      <a:cubicBezTo>
                        <a:pt x="251856" y="783025"/>
                        <a:pt x="244384" y="784407"/>
                        <a:pt x="235519" y="783705"/>
                      </a:cubicBezTo>
                      <a:cubicBezTo>
                        <a:pt x="229581" y="783236"/>
                        <a:pt x="226314" y="782897"/>
                        <a:pt x="230506" y="775003"/>
                      </a:cubicBezTo>
                      <a:cubicBezTo>
                        <a:pt x="232907" y="770494"/>
                        <a:pt x="237486" y="769943"/>
                        <a:pt x="239477" y="766536"/>
                      </a:cubicBezTo>
                      <a:cubicBezTo>
                        <a:pt x="237639" y="766969"/>
                        <a:pt x="230459" y="771583"/>
                        <a:pt x="229241" y="770834"/>
                      </a:cubicBezTo>
                      <a:cubicBezTo>
                        <a:pt x="226805" y="769358"/>
                        <a:pt x="227555" y="759848"/>
                        <a:pt x="229441" y="757635"/>
                      </a:cubicBezTo>
                      <a:cubicBezTo>
                        <a:pt x="233551" y="752751"/>
                        <a:pt x="234722" y="757108"/>
                        <a:pt x="239220" y="756499"/>
                      </a:cubicBezTo>
                      <a:cubicBezTo>
                        <a:pt x="242311" y="756077"/>
                        <a:pt x="249456" y="753864"/>
                        <a:pt x="248413" y="750795"/>
                      </a:cubicBezTo>
                      <a:cubicBezTo>
                        <a:pt x="243881" y="751287"/>
                        <a:pt x="238985" y="751100"/>
                        <a:pt x="233762" y="751346"/>
                      </a:cubicBezTo>
                      <a:cubicBezTo>
                        <a:pt x="230541" y="751498"/>
                        <a:pt x="225728" y="754051"/>
                        <a:pt x="225365" y="751756"/>
                      </a:cubicBezTo>
                      <a:cubicBezTo>
                        <a:pt x="220434" y="753887"/>
                        <a:pt x="220598" y="749015"/>
                        <a:pt x="221875" y="746122"/>
                      </a:cubicBezTo>
                      <a:cubicBezTo>
                        <a:pt x="220036" y="747856"/>
                        <a:pt x="218760" y="751194"/>
                        <a:pt x="217003" y="752072"/>
                      </a:cubicBezTo>
                      <a:cubicBezTo>
                        <a:pt x="214379" y="753384"/>
                        <a:pt x="214743" y="746790"/>
                        <a:pt x="211908" y="751217"/>
                      </a:cubicBezTo>
                      <a:cubicBezTo>
                        <a:pt x="210889" y="751428"/>
                        <a:pt x="209941" y="750479"/>
                        <a:pt x="208910" y="750994"/>
                      </a:cubicBezTo>
                      <a:cubicBezTo>
                        <a:pt x="212143" y="751510"/>
                        <a:pt x="209906" y="752423"/>
                        <a:pt x="213700" y="750432"/>
                      </a:cubicBezTo>
                      <a:cubicBezTo>
                        <a:pt x="213419" y="755152"/>
                        <a:pt x="220915" y="756054"/>
                        <a:pt x="216148" y="763561"/>
                      </a:cubicBezTo>
                      <a:cubicBezTo>
                        <a:pt x="214122" y="766746"/>
                        <a:pt x="212037" y="765868"/>
                        <a:pt x="209671" y="767683"/>
                      </a:cubicBezTo>
                      <a:cubicBezTo>
                        <a:pt x="208243" y="766067"/>
                        <a:pt x="207915" y="766524"/>
                        <a:pt x="206205" y="765833"/>
                      </a:cubicBezTo>
                      <a:cubicBezTo>
                        <a:pt x="206263" y="766032"/>
                        <a:pt x="207540" y="767496"/>
                        <a:pt x="207657" y="767742"/>
                      </a:cubicBezTo>
                      <a:cubicBezTo>
                        <a:pt x="206802" y="768292"/>
                        <a:pt x="205865" y="766957"/>
                        <a:pt x="205127" y="767332"/>
                      </a:cubicBezTo>
                      <a:cubicBezTo>
                        <a:pt x="205678" y="768480"/>
                        <a:pt x="206591" y="767882"/>
                        <a:pt x="206463" y="769241"/>
                      </a:cubicBezTo>
                      <a:cubicBezTo>
                        <a:pt x="204811" y="769065"/>
                        <a:pt x="204261" y="769335"/>
                        <a:pt x="202633" y="769569"/>
                      </a:cubicBezTo>
                      <a:cubicBezTo>
                        <a:pt x="205338" y="770072"/>
                        <a:pt x="206533" y="770763"/>
                        <a:pt x="209308" y="770283"/>
                      </a:cubicBezTo>
                      <a:cubicBezTo>
                        <a:pt x="209554" y="770904"/>
                        <a:pt x="209999" y="773106"/>
                        <a:pt x="209988" y="774909"/>
                      </a:cubicBezTo>
                      <a:cubicBezTo>
                        <a:pt x="208500" y="773902"/>
                        <a:pt x="205818" y="773094"/>
                        <a:pt x="204167" y="771771"/>
                      </a:cubicBezTo>
                      <a:cubicBezTo>
                        <a:pt x="204015" y="772099"/>
                        <a:pt x="203874" y="772438"/>
                        <a:pt x="203722" y="772766"/>
                      </a:cubicBezTo>
                      <a:cubicBezTo>
                        <a:pt x="205139" y="773703"/>
                        <a:pt x="205291" y="773961"/>
                        <a:pt x="206603" y="775202"/>
                      </a:cubicBezTo>
                      <a:cubicBezTo>
                        <a:pt x="203371" y="773961"/>
                        <a:pt x="199834" y="773129"/>
                        <a:pt x="201216" y="777825"/>
                      </a:cubicBezTo>
                      <a:cubicBezTo>
                        <a:pt x="201544" y="777814"/>
                        <a:pt x="201684" y="776725"/>
                        <a:pt x="202293" y="777099"/>
                      </a:cubicBezTo>
                      <a:cubicBezTo>
                        <a:pt x="202492" y="777357"/>
                        <a:pt x="202059" y="778318"/>
                        <a:pt x="202293" y="778563"/>
                      </a:cubicBezTo>
                      <a:cubicBezTo>
                        <a:pt x="207189" y="778024"/>
                        <a:pt x="212845" y="778107"/>
                        <a:pt x="214871" y="783049"/>
                      </a:cubicBezTo>
                      <a:cubicBezTo>
                        <a:pt x="217752" y="790076"/>
                        <a:pt x="212307" y="794702"/>
                        <a:pt x="208606" y="801705"/>
                      </a:cubicBezTo>
                      <a:cubicBezTo>
                        <a:pt x="205959" y="806671"/>
                        <a:pt x="207025" y="809341"/>
                        <a:pt x="201497" y="812960"/>
                      </a:cubicBezTo>
                      <a:cubicBezTo>
                        <a:pt x="194880" y="817293"/>
                        <a:pt x="185054" y="820338"/>
                        <a:pt x="177652" y="823465"/>
                      </a:cubicBezTo>
                      <a:cubicBezTo>
                        <a:pt x="177816" y="822563"/>
                        <a:pt x="178448" y="822622"/>
                        <a:pt x="178694" y="821954"/>
                      </a:cubicBezTo>
                      <a:cubicBezTo>
                        <a:pt x="172886" y="824636"/>
                        <a:pt x="169044" y="828185"/>
                        <a:pt x="162345" y="830633"/>
                      </a:cubicBezTo>
                      <a:cubicBezTo>
                        <a:pt x="157684" y="832331"/>
                        <a:pt x="152777" y="835060"/>
                        <a:pt x="149041" y="835950"/>
                      </a:cubicBezTo>
                      <a:cubicBezTo>
                        <a:pt x="138020" y="838573"/>
                        <a:pt x="128967" y="833572"/>
                        <a:pt x="119481" y="827740"/>
                      </a:cubicBezTo>
                      <a:cubicBezTo>
                        <a:pt x="106376" y="819671"/>
                        <a:pt x="97206" y="808709"/>
                        <a:pt x="87169" y="797185"/>
                      </a:cubicBezTo>
                      <a:cubicBezTo>
                        <a:pt x="83058" y="792465"/>
                        <a:pt x="64484" y="780648"/>
                        <a:pt x="65046" y="772965"/>
                      </a:cubicBezTo>
                      <a:cubicBezTo>
                        <a:pt x="60935" y="776209"/>
                        <a:pt x="28002" y="745900"/>
                        <a:pt x="48896" y="739892"/>
                      </a:cubicBezTo>
                      <a:cubicBezTo>
                        <a:pt x="44937" y="745642"/>
                        <a:pt x="50278" y="742035"/>
                        <a:pt x="51952" y="743909"/>
                      </a:cubicBezTo>
                      <a:cubicBezTo>
                        <a:pt x="52175" y="744155"/>
                        <a:pt x="54084" y="743113"/>
                        <a:pt x="55384" y="744377"/>
                      </a:cubicBezTo>
                      <a:cubicBezTo>
                        <a:pt x="55688" y="744670"/>
                        <a:pt x="52690" y="748324"/>
                        <a:pt x="53943" y="749554"/>
                      </a:cubicBezTo>
                      <a:cubicBezTo>
                        <a:pt x="57199" y="752728"/>
                        <a:pt x="73583" y="748910"/>
                        <a:pt x="71581" y="741672"/>
                      </a:cubicBezTo>
                      <a:cubicBezTo>
                        <a:pt x="75153" y="745080"/>
                        <a:pt x="79533" y="748722"/>
                        <a:pt x="82918" y="739915"/>
                      </a:cubicBezTo>
                      <a:cubicBezTo>
                        <a:pt x="85693" y="744881"/>
                        <a:pt x="87672" y="741625"/>
                        <a:pt x="91338" y="739951"/>
                      </a:cubicBezTo>
                      <a:cubicBezTo>
                        <a:pt x="93575" y="738920"/>
                        <a:pt x="94500" y="737245"/>
                        <a:pt x="96620" y="736577"/>
                      </a:cubicBezTo>
                      <a:cubicBezTo>
                        <a:pt x="98424" y="736015"/>
                        <a:pt x="101832" y="736625"/>
                        <a:pt x="103214" y="736062"/>
                      </a:cubicBezTo>
                      <a:cubicBezTo>
                        <a:pt x="108566" y="733860"/>
                        <a:pt x="110545" y="727478"/>
                        <a:pt x="113649" y="722360"/>
                      </a:cubicBezTo>
                      <a:cubicBezTo>
                        <a:pt x="115651" y="719045"/>
                        <a:pt x="119821" y="715848"/>
                        <a:pt x="121566" y="713330"/>
                      </a:cubicBezTo>
                      <a:cubicBezTo>
                        <a:pt x="122866" y="711433"/>
                        <a:pt x="126473" y="708704"/>
                        <a:pt x="123053" y="705624"/>
                      </a:cubicBezTo>
                      <a:cubicBezTo>
                        <a:pt x="118087" y="701150"/>
                        <a:pt x="118860" y="710110"/>
                        <a:pt x="117795" y="711409"/>
                      </a:cubicBezTo>
                      <a:cubicBezTo>
                        <a:pt x="115183" y="714571"/>
                        <a:pt x="113356" y="717019"/>
                        <a:pt x="108987" y="711374"/>
                      </a:cubicBezTo>
                      <a:cubicBezTo>
                        <a:pt x="107617" y="715028"/>
                        <a:pt x="104443" y="714595"/>
                        <a:pt x="103659" y="711714"/>
                      </a:cubicBezTo>
                      <a:cubicBezTo>
                        <a:pt x="103963" y="713658"/>
                        <a:pt x="102909" y="713084"/>
                        <a:pt x="103905" y="715227"/>
                      </a:cubicBezTo>
                      <a:cubicBezTo>
                        <a:pt x="99630" y="715942"/>
                        <a:pt x="93926" y="716902"/>
                        <a:pt x="89991" y="718764"/>
                      </a:cubicBezTo>
                      <a:cubicBezTo>
                        <a:pt x="87485" y="719947"/>
                        <a:pt x="84370" y="724199"/>
                        <a:pt x="82695" y="724854"/>
                      </a:cubicBezTo>
                      <a:cubicBezTo>
                        <a:pt x="78701" y="726424"/>
                        <a:pt x="71686" y="723379"/>
                        <a:pt x="67458" y="722278"/>
                      </a:cubicBezTo>
                      <a:cubicBezTo>
                        <a:pt x="53697" y="718671"/>
                        <a:pt x="30309" y="711456"/>
                        <a:pt x="23587" y="698164"/>
                      </a:cubicBezTo>
                      <a:cubicBezTo>
                        <a:pt x="25437" y="697836"/>
                        <a:pt x="23446" y="698246"/>
                        <a:pt x="25016" y="696665"/>
                      </a:cubicBezTo>
                      <a:cubicBezTo>
                        <a:pt x="20308" y="697602"/>
                        <a:pt x="19851" y="695048"/>
                        <a:pt x="24184" y="693479"/>
                      </a:cubicBezTo>
                      <a:cubicBezTo>
                        <a:pt x="21256" y="692355"/>
                        <a:pt x="18856" y="690902"/>
                        <a:pt x="20729" y="688736"/>
                      </a:cubicBezTo>
                      <a:cubicBezTo>
                        <a:pt x="17942" y="688748"/>
                        <a:pt x="18071" y="688466"/>
                        <a:pt x="16806" y="686862"/>
                      </a:cubicBezTo>
                      <a:cubicBezTo>
                        <a:pt x="13375" y="686651"/>
                        <a:pt x="15342" y="685023"/>
                        <a:pt x="17860" y="683091"/>
                      </a:cubicBezTo>
                      <a:cubicBezTo>
                        <a:pt x="17766" y="682986"/>
                        <a:pt x="15764" y="681393"/>
                        <a:pt x="15342" y="681182"/>
                      </a:cubicBezTo>
                      <a:cubicBezTo>
                        <a:pt x="14651" y="688935"/>
                        <a:pt x="10212" y="674260"/>
                        <a:pt x="18165" y="677317"/>
                      </a:cubicBezTo>
                      <a:cubicBezTo>
                        <a:pt x="17567" y="676650"/>
                        <a:pt x="17567" y="676005"/>
                        <a:pt x="16806" y="675314"/>
                      </a:cubicBezTo>
                      <a:cubicBezTo>
                        <a:pt x="20296" y="674518"/>
                        <a:pt x="22849" y="671438"/>
                        <a:pt x="25800" y="669459"/>
                      </a:cubicBezTo>
                      <a:cubicBezTo>
                        <a:pt x="28108" y="667901"/>
                        <a:pt x="33003" y="665489"/>
                        <a:pt x="35381" y="663006"/>
                      </a:cubicBezTo>
                      <a:cubicBezTo>
                        <a:pt x="29361" y="664411"/>
                        <a:pt x="23657" y="666906"/>
                        <a:pt x="18141" y="670595"/>
                      </a:cubicBezTo>
                      <a:cubicBezTo>
                        <a:pt x="11969" y="674740"/>
                        <a:pt x="9205" y="683091"/>
                        <a:pt x="0" y="677668"/>
                      </a:cubicBezTo>
                      <a:cubicBezTo>
                        <a:pt x="1979" y="675150"/>
                        <a:pt x="4790" y="674893"/>
                        <a:pt x="7132" y="673628"/>
                      </a:cubicBezTo>
                      <a:cubicBezTo>
                        <a:pt x="3642" y="674565"/>
                        <a:pt x="2190" y="672316"/>
                        <a:pt x="2822" y="668732"/>
                      </a:cubicBezTo>
                      <a:cubicBezTo>
                        <a:pt x="2260" y="669072"/>
                        <a:pt x="1839" y="669845"/>
                        <a:pt x="1277" y="670243"/>
                      </a:cubicBezTo>
                      <a:cubicBezTo>
                        <a:pt x="1042" y="666624"/>
                        <a:pt x="2366" y="662807"/>
                        <a:pt x="6090" y="662069"/>
                      </a:cubicBezTo>
                      <a:cubicBezTo>
                        <a:pt x="5879" y="658333"/>
                        <a:pt x="8210" y="662561"/>
                        <a:pt x="9744" y="658145"/>
                      </a:cubicBezTo>
                      <a:cubicBezTo>
                        <a:pt x="10821" y="658883"/>
                        <a:pt x="10224" y="658520"/>
                        <a:pt x="10950" y="659656"/>
                      </a:cubicBezTo>
                      <a:cubicBezTo>
                        <a:pt x="16033" y="656482"/>
                        <a:pt x="24407" y="658192"/>
                        <a:pt x="30286" y="658228"/>
                      </a:cubicBezTo>
                      <a:cubicBezTo>
                        <a:pt x="30309" y="654515"/>
                        <a:pt x="28377" y="643389"/>
                        <a:pt x="30368" y="640320"/>
                      </a:cubicBezTo>
                      <a:cubicBezTo>
                        <a:pt x="33214" y="635929"/>
                        <a:pt x="35872" y="639395"/>
                        <a:pt x="36259" y="643248"/>
                      </a:cubicBezTo>
                      <a:cubicBezTo>
                        <a:pt x="39035" y="634254"/>
                        <a:pt x="39725" y="642089"/>
                        <a:pt x="43192" y="642147"/>
                      </a:cubicBezTo>
                      <a:cubicBezTo>
                        <a:pt x="47830" y="642229"/>
                        <a:pt x="52491" y="641246"/>
                        <a:pt x="57375" y="641328"/>
                      </a:cubicBezTo>
                      <a:cubicBezTo>
                        <a:pt x="61614" y="641398"/>
                        <a:pt x="66709" y="639840"/>
                        <a:pt x="71136" y="640941"/>
                      </a:cubicBezTo>
                      <a:cubicBezTo>
                        <a:pt x="75656" y="642066"/>
                        <a:pt x="75422" y="644045"/>
                        <a:pt x="79662" y="645883"/>
                      </a:cubicBezTo>
                      <a:cubicBezTo>
                        <a:pt x="85506" y="648425"/>
                        <a:pt x="94208" y="648519"/>
                        <a:pt x="99560" y="645157"/>
                      </a:cubicBezTo>
                      <a:cubicBezTo>
                        <a:pt x="101258" y="644103"/>
                        <a:pt x="101270" y="640742"/>
                        <a:pt x="103015" y="639419"/>
                      </a:cubicBezTo>
                      <a:cubicBezTo>
                        <a:pt x="104397" y="638365"/>
                        <a:pt x="108578" y="637966"/>
                        <a:pt x="110440" y="637369"/>
                      </a:cubicBezTo>
                      <a:cubicBezTo>
                        <a:pt x="113461" y="636397"/>
                        <a:pt x="123358" y="630752"/>
                        <a:pt x="126215" y="632872"/>
                      </a:cubicBezTo>
                      <a:cubicBezTo>
                        <a:pt x="127281" y="633668"/>
                        <a:pt x="124634" y="639512"/>
                        <a:pt x="127351" y="642077"/>
                      </a:cubicBezTo>
                      <a:cubicBezTo>
                        <a:pt x="130595" y="645146"/>
                        <a:pt x="138266" y="643494"/>
                        <a:pt x="141581" y="641316"/>
                      </a:cubicBezTo>
                      <a:cubicBezTo>
                        <a:pt x="139250" y="635554"/>
                        <a:pt x="146699" y="637943"/>
                        <a:pt x="148830" y="636608"/>
                      </a:cubicBezTo>
                      <a:cubicBezTo>
                        <a:pt x="156361" y="631912"/>
                        <a:pt x="150107" y="634371"/>
                        <a:pt x="149029" y="631279"/>
                      </a:cubicBezTo>
                      <a:cubicBezTo>
                        <a:pt x="147495" y="626934"/>
                        <a:pt x="144333" y="620645"/>
                        <a:pt x="152355" y="618560"/>
                      </a:cubicBezTo>
                      <a:cubicBezTo>
                        <a:pt x="147272" y="610444"/>
                        <a:pt x="145855" y="600630"/>
                        <a:pt x="141440" y="592608"/>
                      </a:cubicBezTo>
                      <a:cubicBezTo>
                        <a:pt x="138840" y="587876"/>
                        <a:pt x="132504" y="584386"/>
                        <a:pt x="130970" y="578835"/>
                      </a:cubicBezTo>
                      <a:cubicBezTo>
                        <a:pt x="129974" y="575193"/>
                        <a:pt x="132879" y="568260"/>
                        <a:pt x="131075" y="565144"/>
                      </a:cubicBezTo>
                      <a:cubicBezTo>
                        <a:pt x="128218" y="560202"/>
                        <a:pt x="128874" y="562919"/>
                        <a:pt x="123814" y="562931"/>
                      </a:cubicBezTo>
                      <a:cubicBezTo>
                        <a:pt x="113332" y="562966"/>
                        <a:pt x="111517" y="563446"/>
                        <a:pt x="105942" y="555131"/>
                      </a:cubicBezTo>
                      <a:cubicBezTo>
                        <a:pt x="98916" y="544661"/>
                        <a:pt x="101387" y="544392"/>
                        <a:pt x="104490" y="533207"/>
                      </a:cubicBezTo>
                      <a:cubicBezTo>
                        <a:pt x="105298" y="530279"/>
                        <a:pt x="106469" y="517958"/>
                        <a:pt x="105099" y="515628"/>
                      </a:cubicBezTo>
                      <a:cubicBezTo>
                        <a:pt x="102745" y="511669"/>
                        <a:pt x="98787" y="512793"/>
                        <a:pt x="94992" y="512559"/>
                      </a:cubicBezTo>
                      <a:cubicBezTo>
                        <a:pt x="86454" y="512033"/>
                        <a:pt x="87134" y="511985"/>
                        <a:pt x="80165" y="508168"/>
                      </a:cubicBezTo>
                      <a:cubicBezTo>
                        <a:pt x="69051" y="502054"/>
                        <a:pt x="67142" y="500122"/>
                        <a:pt x="71148" y="486630"/>
                      </a:cubicBezTo>
                      <a:cubicBezTo>
                        <a:pt x="74251" y="476230"/>
                        <a:pt x="85283" y="469227"/>
                        <a:pt x="92181" y="461263"/>
                      </a:cubicBezTo>
                      <a:cubicBezTo>
                        <a:pt x="98494" y="453978"/>
                        <a:pt x="100274" y="445370"/>
                        <a:pt x="107313" y="438648"/>
                      </a:cubicBezTo>
                      <a:cubicBezTo>
                        <a:pt x="111997" y="434151"/>
                        <a:pt x="117666" y="429220"/>
                        <a:pt x="124376" y="431996"/>
                      </a:cubicBezTo>
                      <a:cubicBezTo>
                        <a:pt x="131989" y="435146"/>
                        <a:pt x="128323" y="443192"/>
                        <a:pt x="133921" y="447701"/>
                      </a:cubicBezTo>
                      <a:cubicBezTo>
                        <a:pt x="141944" y="454154"/>
                        <a:pt x="153280" y="443766"/>
                        <a:pt x="161338" y="441693"/>
                      </a:cubicBezTo>
                      <a:cubicBezTo>
                        <a:pt x="170063" y="439445"/>
                        <a:pt x="186893" y="442934"/>
                        <a:pt x="193849" y="435908"/>
                      </a:cubicBezTo>
                      <a:cubicBezTo>
                        <a:pt x="196273" y="433472"/>
                        <a:pt x="194716" y="428904"/>
                        <a:pt x="196203" y="425718"/>
                      </a:cubicBezTo>
                      <a:cubicBezTo>
                        <a:pt x="198557" y="420647"/>
                        <a:pt x="204050" y="418609"/>
                        <a:pt x="207458" y="414628"/>
                      </a:cubicBezTo>
                      <a:cubicBezTo>
                        <a:pt x="214028" y="406992"/>
                        <a:pt x="212107" y="395889"/>
                        <a:pt x="220341" y="389214"/>
                      </a:cubicBezTo>
                      <a:cubicBezTo>
                        <a:pt x="229429" y="381847"/>
                        <a:pt x="242897" y="380676"/>
                        <a:pt x="250498" y="371892"/>
                      </a:cubicBezTo>
                      <a:cubicBezTo>
                        <a:pt x="257771" y="363507"/>
                        <a:pt x="263498" y="350917"/>
                        <a:pt x="267234" y="340517"/>
                      </a:cubicBezTo>
                      <a:cubicBezTo>
                        <a:pt x="268873" y="335950"/>
                        <a:pt x="269658" y="327494"/>
                        <a:pt x="272621" y="323781"/>
                      </a:cubicBezTo>
                      <a:cubicBezTo>
                        <a:pt x="276146" y="319378"/>
                        <a:pt x="283560" y="319471"/>
                        <a:pt x="288443" y="317586"/>
                      </a:cubicBezTo>
                      <a:cubicBezTo>
                        <a:pt x="295095" y="315021"/>
                        <a:pt x="311210" y="305137"/>
                        <a:pt x="297274" y="299398"/>
                      </a:cubicBezTo>
                      <a:cubicBezTo>
                        <a:pt x="298574" y="297524"/>
                        <a:pt x="298398" y="297465"/>
                        <a:pt x="300611" y="296997"/>
                      </a:cubicBezTo>
                      <a:cubicBezTo>
                        <a:pt x="300705" y="296810"/>
                        <a:pt x="300131" y="295545"/>
                        <a:pt x="300284" y="295428"/>
                      </a:cubicBezTo>
                      <a:cubicBezTo>
                        <a:pt x="306385" y="294772"/>
                        <a:pt x="307510" y="286995"/>
                        <a:pt x="310496" y="283107"/>
                      </a:cubicBezTo>
                      <a:cubicBezTo>
                        <a:pt x="312850" y="280039"/>
                        <a:pt x="316832" y="276748"/>
                        <a:pt x="319127" y="273457"/>
                      </a:cubicBezTo>
                      <a:cubicBezTo>
                        <a:pt x="321809" y="269639"/>
                        <a:pt x="323414" y="269030"/>
                        <a:pt x="327197" y="266910"/>
                      </a:cubicBezTo>
                      <a:cubicBezTo>
                        <a:pt x="331670" y="264404"/>
                        <a:pt x="335020" y="259134"/>
                        <a:pt x="339857" y="257459"/>
                      </a:cubicBezTo>
                      <a:cubicBezTo>
                        <a:pt x="336542" y="255292"/>
                        <a:pt x="333685" y="256745"/>
                        <a:pt x="331998" y="252739"/>
                      </a:cubicBezTo>
                      <a:cubicBezTo>
                        <a:pt x="330710" y="249647"/>
                        <a:pt x="334317" y="243382"/>
                        <a:pt x="335043" y="240512"/>
                      </a:cubicBezTo>
                      <a:cubicBezTo>
                        <a:pt x="335957" y="236893"/>
                        <a:pt x="336999" y="237303"/>
                        <a:pt x="336777" y="233626"/>
                      </a:cubicBezTo>
                      <a:cubicBezTo>
                        <a:pt x="336472" y="228578"/>
                        <a:pt x="331717" y="223976"/>
                        <a:pt x="332268" y="219923"/>
                      </a:cubicBezTo>
                      <a:cubicBezTo>
                        <a:pt x="332420" y="218823"/>
                        <a:pt x="333767" y="215227"/>
                        <a:pt x="334399" y="214431"/>
                      </a:cubicBezTo>
                      <a:cubicBezTo>
                        <a:pt x="335699" y="212768"/>
                        <a:pt x="338042" y="211726"/>
                        <a:pt x="339763" y="210660"/>
                      </a:cubicBezTo>
                      <a:cubicBezTo>
                        <a:pt x="340969" y="209922"/>
                        <a:pt x="340899" y="208224"/>
                        <a:pt x="341906" y="207509"/>
                      </a:cubicBezTo>
                      <a:cubicBezTo>
                        <a:pt x="342773" y="206900"/>
                        <a:pt x="344717" y="208704"/>
                        <a:pt x="345830" y="208048"/>
                      </a:cubicBezTo>
                      <a:cubicBezTo>
                        <a:pt x="347095" y="207298"/>
                        <a:pt x="347258" y="204136"/>
                        <a:pt x="348254" y="203785"/>
                      </a:cubicBezTo>
                      <a:cubicBezTo>
                        <a:pt x="349812" y="203246"/>
                        <a:pt x="351112" y="203773"/>
                        <a:pt x="352892" y="202790"/>
                      </a:cubicBezTo>
                      <a:cubicBezTo>
                        <a:pt x="354648" y="201818"/>
                        <a:pt x="357389" y="201653"/>
                        <a:pt x="359228" y="200799"/>
                      </a:cubicBezTo>
                      <a:cubicBezTo>
                        <a:pt x="359087" y="200260"/>
                        <a:pt x="358970" y="199710"/>
                        <a:pt x="358829" y="199159"/>
                      </a:cubicBezTo>
                      <a:cubicBezTo>
                        <a:pt x="361699" y="199791"/>
                        <a:pt x="363994" y="199990"/>
                        <a:pt x="366735" y="199616"/>
                      </a:cubicBezTo>
                      <a:cubicBezTo>
                        <a:pt x="368117" y="194521"/>
                        <a:pt x="378247" y="195353"/>
                        <a:pt x="375436" y="187389"/>
                      </a:cubicBezTo>
                      <a:cubicBezTo>
                        <a:pt x="372754" y="179776"/>
                        <a:pt x="359275" y="179319"/>
                        <a:pt x="353840" y="178804"/>
                      </a:cubicBezTo>
                      <a:cubicBezTo>
                        <a:pt x="344822" y="177961"/>
                        <a:pt x="339213" y="178371"/>
                        <a:pt x="339353" y="168346"/>
                      </a:cubicBezTo>
                      <a:cubicBezTo>
                        <a:pt x="339377" y="166097"/>
                        <a:pt x="340759" y="161975"/>
                        <a:pt x="340501" y="160078"/>
                      </a:cubicBezTo>
                      <a:cubicBezTo>
                        <a:pt x="339763" y="154854"/>
                        <a:pt x="342258" y="157513"/>
                        <a:pt x="338217" y="158168"/>
                      </a:cubicBezTo>
                      <a:cubicBezTo>
                        <a:pt x="335137" y="158661"/>
                        <a:pt x="334106" y="160312"/>
                        <a:pt x="329609" y="159867"/>
                      </a:cubicBezTo>
                      <a:cubicBezTo>
                        <a:pt x="326072" y="159515"/>
                        <a:pt x="323999" y="161448"/>
                        <a:pt x="321552" y="157712"/>
                      </a:cubicBezTo>
                      <a:cubicBezTo>
                        <a:pt x="321481" y="157607"/>
                        <a:pt x="322992" y="151048"/>
                        <a:pt x="322395" y="149642"/>
                      </a:cubicBezTo>
                      <a:cubicBezTo>
                        <a:pt x="320521" y="145251"/>
                        <a:pt x="316621" y="145790"/>
                        <a:pt x="312674" y="143166"/>
                      </a:cubicBezTo>
                      <a:cubicBezTo>
                        <a:pt x="310824" y="141936"/>
                        <a:pt x="305132" y="136736"/>
                        <a:pt x="305003" y="134406"/>
                      </a:cubicBezTo>
                      <a:cubicBezTo>
                        <a:pt x="304722" y="129756"/>
                        <a:pt x="308786" y="130014"/>
                        <a:pt x="311011" y="126524"/>
                      </a:cubicBezTo>
                      <a:cubicBezTo>
                        <a:pt x="319608" y="113056"/>
                        <a:pt x="301057" y="113442"/>
                        <a:pt x="303914" y="103031"/>
                      </a:cubicBezTo>
                      <a:cubicBezTo>
                        <a:pt x="305413" y="97573"/>
                        <a:pt x="326072" y="94985"/>
                        <a:pt x="317394" y="87454"/>
                      </a:cubicBezTo>
                      <a:cubicBezTo>
                        <a:pt x="313201" y="83801"/>
                        <a:pt x="298257" y="93216"/>
                        <a:pt x="299991" y="81458"/>
                      </a:cubicBezTo>
                      <a:cubicBezTo>
                        <a:pt x="300459" y="78284"/>
                        <a:pt x="305261" y="79584"/>
                        <a:pt x="304992" y="75345"/>
                      </a:cubicBezTo>
                      <a:cubicBezTo>
                        <a:pt x="304640" y="69887"/>
                        <a:pt x="300483" y="72042"/>
                        <a:pt x="298503" y="70227"/>
                      </a:cubicBezTo>
                      <a:cubicBezTo>
                        <a:pt x="293339" y="65495"/>
                        <a:pt x="294076" y="65296"/>
                        <a:pt x="297637" y="59066"/>
                      </a:cubicBezTo>
                      <a:cubicBezTo>
                        <a:pt x="302696" y="50212"/>
                        <a:pt x="302731" y="50305"/>
                        <a:pt x="313646" y="46628"/>
                      </a:cubicBezTo>
                      <a:cubicBezTo>
                        <a:pt x="320580" y="44297"/>
                        <a:pt x="321997" y="42236"/>
                        <a:pt x="329668" y="44063"/>
                      </a:cubicBezTo>
                      <a:cubicBezTo>
                        <a:pt x="337960" y="46031"/>
                        <a:pt x="345244" y="49087"/>
                        <a:pt x="353852" y="50235"/>
                      </a:cubicBezTo>
                      <a:cubicBezTo>
                        <a:pt x="358513" y="50856"/>
                        <a:pt x="364533" y="49111"/>
                        <a:pt x="368726" y="50235"/>
                      </a:cubicBezTo>
                      <a:cubicBezTo>
                        <a:pt x="371244" y="50914"/>
                        <a:pt x="374054" y="54416"/>
                        <a:pt x="376748" y="55646"/>
                      </a:cubicBezTo>
                      <a:cubicBezTo>
                        <a:pt x="388870" y="61197"/>
                        <a:pt x="397056" y="59229"/>
                        <a:pt x="406648" y="52191"/>
                      </a:cubicBezTo>
                      <a:cubicBezTo>
                        <a:pt x="411297" y="48771"/>
                        <a:pt x="411801" y="50200"/>
                        <a:pt x="417059" y="49275"/>
                      </a:cubicBezTo>
                      <a:cubicBezTo>
                        <a:pt x="423477" y="48151"/>
                        <a:pt x="428583" y="44192"/>
                        <a:pt x="434755" y="43595"/>
                      </a:cubicBezTo>
                      <a:cubicBezTo>
                        <a:pt x="440752" y="43009"/>
                        <a:pt x="443281" y="46405"/>
                        <a:pt x="449043" y="39426"/>
                      </a:cubicBezTo>
                      <a:cubicBezTo>
                        <a:pt x="450226" y="37997"/>
                        <a:pt x="447896" y="35280"/>
                        <a:pt x="449922" y="33816"/>
                      </a:cubicBezTo>
                      <a:cubicBezTo>
                        <a:pt x="451608" y="32598"/>
                        <a:pt x="453494" y="33488"/>
                        <a:pt x="455005" y="32773"/>
                      </a:cubicBezTo>
                      <a:cubicBezTo>
                        <a:pt x="458190" y="31298"/>
                        <a:pt x="460298" y="33136"/>
                        <a:pt x="463671" y="28171"/>
                      </a:cubicBezTo>
                      <a:cubicBezTo>
                        <a:pt x="464643" y="26742"/>
                        <a:pt x="462488" y="25020"/>
                        <a:pt x="463730" y="23521"/>
                      </a:cubicBezTo>
                      <a:cubicBezTo>
                        <a:pt x="465311" y="21589"/>
                        <a:pt x="468332" y="20593"/>
                        <a:pt x="470393" y="19352"/>
                      </a:cubicBezTo>
                      <a:cubicBezTo>
                        <a:pt x="476835" y="15452"/>
                        <a:pt x="502776" y="-4083"/>
                        <a:pt x="506723" y="3436"/>
                      </a:cubicBezTo>
                      <a:lnTo>
                        <a:pt x="506723" y="3436"/>
                      </a:lnTo>
                      <a:close/>
                    </a:path>
                  </a:pathLst>
                </a:custGeom>
                <a:solidFill>
                  <a:srgbClr val="D6D6D2"/>
                </a:solidFill>
                <a:ln w="8774" cap="rnd">
                  <a:solidFill>
                    <a:srgbClr val="FFFFFF"/>
                  </a:solidFill>
                  <a:prstDash val="solid"/>
                  <a:round/>
                </a:ln>
              </p:spPr>
              <p:txBody>
                <a:bodyPr rtlCol="0" anchor="ctr"/>
                <a:lstStyle/>
                <a:p>
                  <a:endParaRPr lang="en-US"/>
                </a:p>
              </p:txBody>
            </p:sp>
            <p:sp>
              <p:nvSpPr>
                <p:cNvPr id="129" name="Freeform: Shape 128">
                  <a:extLst>
                    <a:ext uri="{FF2B5EF4-FFF2-40B4-BE49-F238E27FC236}">
                      <a16:creationId xmlns:a16="http://schemas.microsoft.com/office/drawing/2014/main" id="{A1D40F97-C935-49E1-A246-B5FF54B1FF79}"/>
                    </a:ext>
                  </a:extLst>
                </p:cNvPr>
                <p:cNvSpPr/>
                <p:nvPr/>
              </p:nvSpPr>
              <p:spPr>
                <a:xfrm>
                  <a:off x="2085049" y="5786528"/>
                  <a:ext cx="2388669" cy="866050"/>
                </a:xfrm>
                <a:custGeom>
                  <a:avLst/>
                  <a:gdLst>
                    <a:gd name="connsiteX0" fmla="*/ 1469457 w 2388669"/>
                    <a:gd name="connsiteY0" fmla="*/ 847524 h 866050"/>
                    <a:gd name="connsiteX1" fmla="*/ 1463356 w 2388669"/>
                    <a:gd name="connsiteY1" fmla="*/ 856050 h 866050"/>
                    <a:gd name="connsiteX2" fmla="*/ 1459315 w 2388669"/>
                    <a:gd name="connsiteY2" fmla="*/ 860664 h 866050"/>
                    <a:gd name="connsiteX3" fmla="*/ 1448599 w 2388669"/>
                    <a:gd name="connsiteY3" fmla="*/ 865185 h 866050"/>
                    <a:gd name="connsiteX4" fmla="*/ 1441385 w 2388669"/>
                    <a:gd name="connsiteY4" fmla="*/ 858169 h 866050"/>
                    <a:gd name="connsiteX5" fmla="*/ 1451456 w 2388669"/>
                    <a:gd name="connsiteY5" fmla="*/ 855465 h 866050"/>
                    <a:gd name="connsiteX6" fmla="*/ 1460521 w 2388669"/>
                    <a:gd name="connsiteY6" fmla="*/ 847641 h 866050"/>
                    <a:gd name="connsiteX7" fmla="*/ 1470230 w 2388669"/>
                    <a:gd name="connsiteY7" fmla="*/ 840228 h 866050"/>
                    <a:gd name="connsiteX8" fmla="*/ 1469457 w 2388669"/>
                    <a:gd name="connsiteY8" fmla="*/ 847524 h 866050"/>
                    <a:gd name="connsiteX9" fmla="*/ 1469457 w 2388669"/>
                    <a:gd name="connsiteY9" fmla="*/ 847524 h 866050"/>
                    <a:gd name="connsiteX10" fmla="*/ 1294206 w 2388669"/>
                    <a:gd name="connsiteY10" fmla="*/ 783579 h 866050"/>
                    <a:gd name="connsiteX11" fmla="*/ 1304688 w 2388669"/>
                    <a:gd name="connsiteY11" fmla="*/ 790020 h 866050"/>
                    <a:gd name="connsiteX12" fmla="*/ 1309290 w 2388669"/>
                    <a:gd name="connsiteY12" fmla="*/ 799296 h 866050"/>
                    <a:gd name="connsiteX13" fmla="*/ 1318741 w 2388669"/>
                    <a:gd name="connsiteY13" fmla="*/ 798710 h 866050"/>
                    <a:gd name="connsiteX14" fmla="*/ 1328239 w 2388669"/>
                    <a:gd name="connsiteY14" fmla="*/ 810925 h 866050"/>
                    <a:gd name="connsiteX15" fmla="*/ 1337398 w 2388669"/>
                    <a:gd name="connsiteY15" fmla="*/ 820119 h 866050"/>
                    <a:gd name="connsiteX16" fmla="*/ 1327268 w 2388669"/>
                    <a:gd name="connsiteY16" fmla="*/ 829382 h 866050"/>
                    <a:gd name="connsiteX17" fmla="*/ 1301291 w 2388669"/>
                    <a:gd name="connsiteY17" fmla="*/ 828434 h 866050"/>
                    <a:gd name="connsiteX18" fmla="*/ 1288022 w 2388669"/>
                    <a:gd name="connsiteY18" fmla="*/ 814977 h 866050"/>
                    <a:gd name="connsiteX19" fmla="*/ 1273430 w 2388669"/>
                    <a:gd name="connsiteY19" fmla="*/ 805550 h 866050"/>
                    <a:gd name="connsiteX20" fmla="*/ 1262877 w 2388669"/>
                    <a:gd name="connsiteY20" fmla="*/ 805889 h 866050"/>
                    <a:gd name="connsiteX21" fmla="*/ 1255066 w 2388669"/>
                    <a:gd name="connsiteY21" fmla="*/ 803992 h 866050"/>
                    <a:gd name="connsiteX22" fmla="*/ 1239829 w 2388669"/>
                    <a:gd name="connsiteY22" fmla="*/ 790430 h 866050"/>
                    <a:gd name="connsiteX23" fmla="*/ 1265782 w 2388669"/>
                    <a:gd name="connsiteY23" fmla="*/ 783661 h 866050"/>
                    <a:gd name="connsiteX24" fmla="*/ 1277657 w 2388669"/>
                    <a:gd name="connsiteY24" fmla="*/ 784363 h 866050"/>
                    <a:gd name="connsiteX25" fmla="*/ 1294206 w 2388669"/>
                    <a:gd name="connsiteY25" fmla="*/ 783579 h 866050"/>
                    <a:gd name="connsiteX26" fmla="*/ 1294206 w 2388669"/>
                    <a:gd name="connsiteY26" fmla="*/ 783579 h 866050"/>
                    <a:gd name="connsiteX27" fmla="*/ 1550911 w 2388669"/>
                    <a:gd name="connsiteY27" fmla="*/ 768693 h 866050"/>
                    <a:gd name="connsiteX28" fmla="*/ 1560245 w 2388669"/>
                    <a:gd name="connsiteY28" fmla="*/ 765121 h 866050"/>
                    <a:gd name="connsiteX29" fmla="*/ 1562049 w 2388669"/>
                    <a:gd name="connsiteY29" fmla="*/ 774631 h 866050"/>
                    <a:gd name="connsiteX30" fmla="*/ 1552457 w 2388669"/>
                    <a:gd name="connsiteY30" fmla="*/ 775673 h 866050"/>
                    <a:gd name="connsiteX31" fmla="*/ 1556825 w 2388669"/>
                    <a:gd name="connsiteY31" fmla="*/ 786355 h 866050"/>
                    <a:gd name="connsiteX32" fmla="*/ 1532699 w 2388669"/>
                    <a:gd name="connsiteY32" fmla="*/ 817437 h 866050"/>
                    <a:gd name="connsiteX33" fmla="*/ 1516444 w 2388669"/>
                    <a:gd name="connsiteY33" fmla="*/ 826162 h 866050"/>
                    <a:gd name="connsiteX34" fmla="*/ 1503666 w 2388669"/>
                    <a:gd name="connsiteY34" fmla="*/ 832064 h 866050"/>
                    <a:gd name="connsiteX35" fmla="*/ 1485760 w 2388669"/>
                    <a:gd name="connsiteY35" fmla="*/ 836327 h 866050"/>
                    <a:gd name="connsiteX36" fmla="*/ 1474692 w 2388669"/>
                    <a:gd name="connsiteY36" fmla="*/ 836621 h 866050"/>
                    <a:gd name="connsiteX37" fmla="*/ 1481274 w 2388669"/>
                    <a:gd name="connsiteY37" fmla="*/ 826150 h 866050"/>
                    <a:gd name="connsiteX38" fmla="*/ 1487434 w 2388669"/>
                    <a:gd name="connsiteY38" fmla="*/ 819217 h 866050"/>
                    <a:gd name="connsiteX39" fmla="*/ 1481930 w 2388669"/>
                    <a:gd name="connsiteY39" fmla="*/ 813033 h 866050"/>
                    <a:gd name="connsiteX40" fmla="*/ 1484120 w 2388669"/>
                    <a:gd name="connsiteY40" fmla="*/ 805304 h 866050"/>
                    <a:gd name="connsiteX41" fmla="*/ 1497401 w 2388669"/>
                    <a:gd name="connsiteY41" fmla="*/ 787549 h 866050"/>
                    <a:gd name="connsiteX42" fmla="*/ 1509218 w 2388669"/>
                    <a:gd name="connsiteY42" fmla="*/ 786823 h 866050"/>
                    <a:gd name="connsiteX43" fmla="*/ 1515682 w 2388669"/>
                    <a:gd name="connsiteY43" fmla="*/ 791133 h 866050"/>
                    <a:gd name="connsiteX44" fmla="*/ 1525743 w 2388669"/>
                    <a:gd name="connsiteY44" fmla="*/ 774244 h 866050"/>
                    <a:gd name="connsiteX45" fmla="*/ 1533777 w 2388669"/>
                    <a:gd name="connsiteY45" fmla="*/ 773003 h 866050"/>
                    <a:gd name="connsiteX46" fmla="*/ 1538332 w 2388669"/>
                    <a:gd name="connsiteY46" fmla="*/ 768342 h 866050"/>
                    <a:gd name="connsiteX47" fmla="*/ 1550220 w 2388669"/>
                    <a:gd name="connsiteY47" fmla="*/ 762779 h 866050"/>
                    <a:gd name="connsiteX48" fmla="*/ 1550911 w 2388669"/>
                    <a:gd name="connsiteY48" fmla="*/ 768693 h 866050"/>
                    <a:gd name="connsiteX49" fmla="*/ 1550911 w 2388669"/>
                    <a:gd name="connsiteY49" fmla="*/ 768693 h 866050"/>
                    <a:gd name="connsiteX50" fmla="*/ 1123709 w 2388669"/>
                    <a:gd name="connsiteY50" fmla="*/ 732809 h 866050"/>
                    <a:gd name="connsiteX51" fmla="*/ 1116975 w 2388669"/>
                    <a:gd name="connsiteY51" fmla="*/ 745985 h 866050"/>
                    <a:gd name="connsiteX52" fmla="*/ 1111494 w 2388669"/>
                    <a:gd name="connsiteY52" fmla="*/ 757310 h 866050"/>
                    <a:gd name="connsiteX53" fmla="*/ 1115652 w 2388669"/>
                    <a:gd name="connsiteY53" fmla="*/ 757579 h 866050"/>
                    <a:gd name="connsiteX54" fmla="*/ 1107512 w 2388669"/>
                    <a:gd name="connsiteY54" fmla="*/ 760074 h 866050"/>
                    <a:gd name="connsiteX55" fmla="*/ 1109550 w 2388669"/>
                    <a:gd name="connsiteY55" fmla="*/ 756326 h 866050"/>
                    <a:gd name="connsiteX56" fmla="*/ 1105966 w 2388669"/>
                    <a:gd name="connsiteY56" fmla="*/ 762369 h 866050"/>
                    <a:gd name="connsiteX57" fmla="*/ 1088282 w 2388669"/>
                    <a:gd name="connsiteY57" fmla="*/ 758680 h 866050"/>
                    <a:gd name="connsiteX58" fmla="*/ 1085050 w 2388669"/>
                    <a:gd name="connsiteY58" fmla="*/ 759465 h 866050"/>
                    <a:gd name="connsiteX59" fmla="*/ 1075997 w 2388669"/>
                    <a:gd name="connsiteY59" fmla="*/ 753843 h 866050"/>
                    <a:gd name="connsiteX60" fmla="*/ 1088376 w 2388669"/>
                    <a:gd name="connsiteY60" fmla="*/ 752157 h 866050"/>
                    <a:gd name="connsiteX61" fmla="*/ 1089711 w 2388669"/>
                    <a:gd name="connsiteY61" fmla="*/ 750424 h 866050"/>
                    <a:gd name="connsiteX62" fmla="*/ 1086396 w 2388669"/>
                    <a:gd name="connsiteY62" fmla="*/ 735620 h 866050"/>
                    <a:gd name="connsiteX63" fmla="*/ 1095110 w 2388669"/>
                    <a:gd name="connsiteY63" fmla="*/ 729214 h 866050"/>
                    <a:gd name="connsiteX64" fmla="*/ 1113064 w 2388669"/>
                    <a:gd name="connsiteY64" fmla="*/ 725056 h 866050"/>
                    <a:gd name="connsiteX65" fmla="*/ 1123709 w 2388669"/>
                    <a:gd name="connsiteY65" fmla="*/ 732809 h 866050"/>
                    <a:gd name="connsiteX66" fmla="*/ 1123709 w 2388669"/>
                    <a:gd name="connsiteY66" fmla="*/ 732809 h 866050"/>
                    <a:gd name="connsiteX67" fmla="*/ 1499181 w 2388669"/>
                    <a:gd name="connsiteY67" fmla="*/ 725045 h 866050"/>
                    <a:gd name="connsiteX68" fmla="*/ 1490526 w 2388669"/>
                    <a:gd name="connsiteY68" fmla="*/ 728289 h 866050"/>
                    <a:gd name="connsiteX69" fmla="*/ 1487024 w 2388669"/>
                    <a:gd name="connsiteY69" fmla="*/ 734004 h 866050"/>
                    <a:gd name="connsiteX70" fmla="*/ 1483979 w 2388669"/>
                    <a:gd name="connsiteY70" fmla="*/ 733676 h 866050"/>
                    <a:gd name="connsiteX71" fmla="*/ 1476168 w 2388669"/>
                    <a:gd name="connsiteY71" fmla="*/ 739614 h 866050"/>
                    <a:gd name="connsiteX72" fmla="*/ 1468157 w 2388669"/>
                    <a:gd name="connsiteY72" fmla="*/ 740773 h 866050"/>
                    <a:gd name="connsiteX73" fmla="*/ 1463016 w 2388669"/>
                    <a:gd name="connsiteY73" fmla="*/ 740949 h 866050"/>
                    <a:gd name="connsiteX74" fmla="*/ 1469364 w 2388669"/>
                    <a:gd name="connsiteY74" fmla="*/ 728863 h 866050"/>
                    <a:gd name="connsiteX75" fmla="*/ 1479681 w 2388669"/>
                    <a:gd name="connsiteY75" fmla="*/ 725255 h 866050"/>
                    <a:gd name="connsiteX76" fmla="*/ 1480442 w 2388669"/>
                    <a:gd name="connsiteY76" fmla="*/ 728324 h 866050"/>
                    <a:gd name="connsiteX77" fmla="*/ 1483546 w 2388669"/>
                    <a:gd name="connsiteY77" fmla="*/ 723967 h 866050"/>
                    <a:gd name="connsiteX78" fmla="*/ 1487189 w 2388669"/>
                    <a:gd name="connsiteY78" fmla="*/ 724143 h 866050"/>
                    <a:gd name="connsiteX79" fmla="*/ 1499181 w 2388669"/>
                    <a:gd name="connsiteY79" fmla="*/ 725045 h 866050"/>
                    <a:gd name="connsiteX80" fmla="*/ 1499181 w 2388669"/>
                    <a:gd name="connsiteY80" fmla="*/ 725045 h 866050"/>
                    <a:gd name="connsiteX81" fmla="*/ 1531903 w 2388669"/>
                    <a:gd name="connsiteY81" fmla="*/ 719130 h 866050"/>
                    <a:gd name="connsiteX82" fmla="*/ 1554237 w 2388669"/>
                    <a:gd name="connsiteY82" fmla="*/ 720899 h 866050"/>
                    <a:gd name="connsiteX83" fmla="*/ 1561568 w 2388669"/>
                    <a:gd name="connsiteY83" fmla="*/ 729097 h 866050"/>
                    <a:gd name="connsiteX84" fmla="*/ 1542666 w 2388669"/>
                    <a:gd name="connsiteY84" fmla="*/ 733594 h 866050"/>
                    <a:gd name="connsiteX85" fmla="*/ 1524829 w 2388669"/>
                    <a:gd name="connsiteY85" fmla="*/ 736709 h 866050"/>
                    <a:gd name="connsiteX86" fmla="*/ 1530814 w 2388669"/>
                    <a:gd name="connsiteY86" fmla="*/ 723990 h 866050"/>
                    <a:gd name="connsiteX87" fmla="*/ 1522721 w 2388669"/>
                    <a:gd name="connsiteY87" fmla="*/ 726169 h 866050"/>
                    <a:gd name="connsiteX88" fmla="*/ 1531903 w 2388669"/>
                    <a:gd name="connsiteY88" fmla="*/ 719130 h 866050"/>
                    <a:gd name="connsiteX89" fmla="*/ 1531903 w 2388669"/>
                    <a:gd name="connsiteY89" fmla="*/ 719130 h 866050"/>
                    <a:gd name="connsiteX90" fmla="*/ 1187772 w 2388669"/>
                    <a:gd name="connsiteY90" fmla="*/ 717502 h 866050"/>
                    <a:gd name="connsiteX91" fmla="*/ 1199143 w 2388669"/>
                    <a:gd name="connsiteY91" fmla="*/ 725267 h 866050"/>
                    <a:gd name="connsiteX92" fmla="*/ 1209356 w 2388669"/>
                    <a:gd name="connsiteY92" fmla="*/ 729308 h 866050"/>
                    <a:gd name="connsiteX93" fmla="*/ 1219849 w 2388669"/>
                    <a:gd name="connsiteY93" fmla="*/ 726403 h 866050"/>
                    <a:gd name="connsiteX94" fmla="*/ 1223398 w 2388669"/>
                    <a:gd name="connsiteY94" fmla="*/ 740715 h 866050"/>
                    <a:gd name="connsiteX95" fmla="*/ 1227239 w 2388669"/>
                    <a:gd name="connsiteY95" fmla="*/ 730982 h 866050"/>
                    <a:gd name="connsiteX96" fmla="*/ 1241504 w 2388669"/>
                    <a:gd name="connsiteY96" fmla="*/ 729706 h 866050"/>
                    <a:gd name="connsiteX97" fmla="*/ 1243612 w 2388669"/>
                    <a:gd name="connsiteY97" fmla="*/ 745341 h 866050"/>
                    <a:gd name="connsiteX98" fmla="*/ 1250171 w 2388669"/>
                    <a:gd name="connsiteY98" fmla="*/ 741652 h 866050"/>
                    <a:gd name="connsiteX99" fmla="*/ 1246118 w 2388669"/>
                    <a:gd name="connsiteY99" fmla="*/ 751349 h 866050"/>
                    <a:gd name="connsiteX100" fmla="*/ 1225893 w 2388669"/>
                    <a:gd name="connsiteY100" fmla="*/ 751559 h 866050"/>
                    <a:gd name="connsiteX101" fmla="*/ 1237897 w 2388669"/>
                    <a:gd name="connsiteY101" fmla="*/ 756713 h 866050"/>
                    <a:gd name="connsiteX102" fmla="*/ 1229289 w 2388669"/>
                    <a:gd name="connsiteY102" fmla="*/ 754628 h 866050"/>
                    <a:gd name="connsiteX103" fmla="*/ 1209461 w 2388669"/>
                    <a:gd name="connsiteY103" fmla="*/ 754042 h 866050"/>
                    <a:gd name="connsiteX104" fmla="*/ 1210902 w 2388669"/>
                    <a:gd name="connsiteY104" fmla="*/ 742858 h 866050"/>
                    <a:gd name="connsiteX105" fmla="*/ 1204659 w 2388669"/>
                    <a:gd name="connsiteY105" fmla="*/ 752426 h 866050"/>
                    <a:gd name="connsiteX106" fmla="*/ 1191250 w 2388669"/>
                    <a:gd name="connsiteY106" fmla="*/ 757263 h 866050"/>
                    <a:gd name="connsiteX107" fmla="*/ 1181377 w 2388669"/>
                    <a:gd name="connsiteY107" fmla="*/ 760589 h 866050"/>
                    <a:gd name="connsiteX108" fmla="*/ 1174069 w 2388669"/>
                    <a:gd name="connsiteY108" fmla="*/ 760566 h 866050"/>
                    <a:gd name="connsiteX109" fmla="*/ 1154558 w 2388669"/>
                    <a:gd name="connsiteY109" fmla="*/ 767897 h 866050"/>
                    <a:gd name="connsiteX110" fmla="*/ 1148022 w 2388669"/>
                    <a:gd name="connsiteY110" fmla="*/ 766035 h 866050"/>
                    <a:gd name="connsiteX111" fmla="*/ 1142260 w 2388669"/>
                    <a:gd name="connsiteY111" fmla="*/ 769865 h 866050"/>
                    <a:gd name="connsiteX112" fmla="*/ 1123803 w 2388669"/>
                    <a:gd name="connsiteY112" fmla="*/ 760250 h 866050"/>
                    <a:gd name="connsiteX113" fmla="*/ 1126555 w 2388669"/>
                    <a:gd name="connsiteY113" fmla="*/ 755401 h 866050"/>
                    <a:gd name="connsiteX114" fmla="*/ 1126391 w 2388669"/>
                    <a:gd name="connsiteY114" fmla="*/ 751606 h 866050"/>
                    <a:gd name="connsiteX115" fmla="*/ 1124002 w 2388669"/>
                    <a:gd name="connsiteY115" fmla="*/ 747226 h 866050"/>
                    <a:gd name="connsiteX116" fmla="*/ 1128652 w 2388669"/>
                    <a:gd name="connsiteY116" fmla="*/ 738934 h 866050"/>
                    <a:gd name="connsiteX117" fmla="*/ 1144415 w 2388669"/>
                    <a:gd name="connsiteY117" fmla="*/ 731779 h 866050"/>
                    <a:gd name="connsiteX118" fmla="*/ 1159734 w 2388669"/>
                    <a:gd name="connsiteY118" fmla="*/ 737517 h 866050"/>
                    <a:gd name="connsiteX119" fmla="*/ 1166211 w 2388669"/>
                    <a:gd name="connsiteY119" fmla="*/ 733535 h 866050"/>
                    <a:gd name="connsiteX120" fmla="*/ 1167991 w 2388669"/>
                    <a:gd name="connsiteY120" fmla="*/ 739286 h 866050"/>
                    <a:gd name="connsiteX121" fmla="*/ 1169068 w 2388669"/>
                    <a:gd name="connsiteY121" fmla="*/ 734976 h 866050"/>
                    <a:gd name="connsiteX122" fmla="*/ 1178391 w 2388669"/>
                    <a:gd name="connsiteY122" fmla="*/ 745774 h 866050"/>
                    <a:gd name="connsiteX123" fmla="*/ 1176610 w 2388669"/>
                    <a:gd name="connsiteY123" fmla="*/ 746137 h 866050"/>
                    <a:gd name="connsiteX124" fmla="*/ 1184200 w 2388669"/>
                    <a:gd name="connsiteY124" fmla="*/ 750259 h 866050"/>
                    <a:gd name="connsiteX125" fmla="*/ 1192128 w 2388669"/>
                    <a:gd name="connsiteY125" fmla="*/ 747402 h 866050"/>
                    <a:gd name="connsiteX126" fmla="*/ 1201427 w 2388669"/>
                    <a:gd name="connsiteY126" fmla="*/ 741066 h 866050"/>
                    <a:gd name="connsiteX127" fmla="*/ 1200186 w 2388669"/>
                    <a:gd name="connsiteY127" fmla="*/ 742542 h 866050"/>
                    <a:gd name="connsiteX128" fmla="*/ 1177758 w 2388669"/>
                    <a:gd name="connsiteY128" fmla="*/ 727867 h 866050"/>
                    <a:gd name="connsiteX129" fmla="*/ 1176212 w 2388669"/>
                    <a:gd name="connsiteY129" fmla="*/ 719868 h 866050"/>
                    <a:gd name="connsiteX130" fmla="*/ 1187772 w 2388669"/>
                    <a:gd name="connsiteY130" fmla="*/ 717502 h 866050"/>
                    <a:gd name="connsiteX131" fmla="*/ 1187772 w 2388669"/>
                    <a:gd name="connsiteY131" fmla="*/ 717502 h 866050"/>
                    <a:gd name="connsiteX132" fmla="*/ 1449184 w 2388669"/>
                    <a:gd name="connsiteY132" fmla="*/ 720653 h 866050"/>
                    <a:gd name="connsiteX133" fmla="*/ 1451539 w 2388669"/>
                    <a:gd name="connsiteY133" fmla="*/ 727832 h 866050"/>
                    <a:gd name="connsiteX134" fmla="*/ 1446245 w 2388669"/>
                    <a:gd name="connsiteY134" fmla="*/ 730514 h 866050"/>
                    <a:gd name="connsiteX135" fmla="*/ 1440565 w 2388669"/>
                    <a:gd name="connsiteY135" fmla="*/ 734648 h 866050"/>
                    <a:gd name="connsiteX136" fmla="*/ 1435084 w 2388669"/>
                    <a:gd name="connsiteY136" fmla="*/ 745622 h 866050"/>
                    <a:gd name="connsiteX137" fmla="*/ 1415174 w 2388669"/>
                    <a:gd name="connsiteY137" fmla="*/ 751103 h 866050"/>
                    <a:gd name="connsiteX138" fmla="*/ 1397150 w 2388669"/>
                    <a:gd name="connsiteY138" fmla="*/ 754675 h 866050"/>
                    <a:gd name="connsiteX139" fmla="*/ 1379454 w 2388669"/>
                    <a:gd name="connsiteY139" fmla="*/ 759816 h 866050"/>
                    <a:gd name="connsiteX140" fmla="*/ 1367016 w 2388669"/>
                    <a:gd name="connsiteY140" fmla="*/ 754077 h 866050"/>
                    <a:gd name="connsiteX141" fmla="*/ 1365213 w 2388669"/>
                    <a:gd name="connsiteY141" fmla="*/ 757087 h 866050"/>
                    <a:gd name="connsiteX142" fmla="*/ 1363948 w 2388669"/>
                    <a:gd name="connsiteY142" fmla="*/ 760050 h 866050"/>
                    <a:gd name="connsiteX143" fmla="*/ 1359053 w 2388669"/>
                    <a:gd name="connsiteY143" fmla="*/ 759793 h 866050"/>
                    <a:gd name="connsiteX144" fmla="*/ 1342902 w 2388669"/>
                    <a:gd name="connsiteY144" fmla="*/ 760940 h 866050"/>
                    <a:gd name="connsiteX145" fmla="*/ 1338007 w 2388669"/>
                    <a:gd name="connsiteY145" fmla="*/ 756502 h 866050"/>
                    <a:gd name="connsiteX146" fmla="*/ 1333428 w 2388669"/>
                    <a:gd name="connsiteY146" fmla="*/ 757720 h 866050"/>
                    <a:gd name="connsiteX147" fmla="*/ 1315790 w 2388669"/>
                    <a:gd name="connsiteY147" fmla="*/ 754066 h 866050"/>
                    <a:gd name="connsiteX148" fmla="*/ 1309267 w 2388669"/>
                    <a:gd name="connsiteY148" fmla="*/ 755858 h 866050"/>
                    <a:gd name="connsiteX149" fmla="*/ 1302205 w 2388669"/>
                    <a:gd name="connsiteY149" fmla="*/ 752649 h 866050"/>
                    <a:gd name="connsiteX150" fmla="*/ 1290247 w 2388669"/>
                    <a:gd name="connsiteY150" fmla="*/ 756385 h 866050"/>
                    <a:gd name="connsiteX151" fmla="*/ 1287940 w 2388669"/>
                    <a:gd name="connsiteY151" fmla="*/ 754675 h 866050"/>
                    <a:gd name="connsiteX152" fmla="*/ 1283642 w 2388669"/>
                    <a:gd name="connsiteY152" fmla="*/ 751782 h 866050"/>
                    <a:gd name="connsiteX153" fmla="*/ 1286664 w 2388669"/>
                    <a:gd name="connsiteY153" fmla="*/ 733957 h 866050"/>
                    <a:gd name="connsiteX154" fmla="*/ 1299886 w 2388669"/>
                    <a:gd name="connsiteY154" fmla="*/ 730701 h 866050"/>
                    <a:gd name="connsiteX155" fmla="*/ 1315310 w 2388669"/>
                    <a:gd name="connsiteY155" fmla="*/ 724436 h 866050"/>
                    <a:gd name="connsiteX156" fmla="*/ 1324562 w 2388669"/>
                    <a:gd name="connsiteY156" fmla="*/ 724541 h 866050"/>
                    <a:gd name="connsiteX157" fmla="*/ 1355527 w 2388669"/>
                    <a:gd name="connsiteY157" fmla="*/ 735362 h 866050"/>
                    <a:gd name="connsiteX158" fmla="*/ 1377475 w 2388669"/>
                    <a:gd name="connsiteY158" fmla="*/ 740750 h 866050"/>
                    <a:gd name="connsiteX159" fmla="*/ 1394363 w 2388669"/>
                    <a:gd name="connsiteY159" fmla="*/ 737189 h 866050"/>
                    <a:gd name="connsiteX160" fmla="*/ 1397946 w 2388669"/>
                    <a:gd name="connsiteY160" fmla="*/ 735058 h 866050"/>
                    <a:gd name="connsiteX161" fmla="*/ 1399164 w 2388669"/>
                    <a:gd name="connsiteY161" fmla="*/ 737986 h 866050"/>
                    <a:gd name="connsiteX162" fmla="*/ 1410267 w 2388669"/>
                    <a:gd name="connsiteY162" fmla="*/ 744861 h 866050"/>
                    <a:gd name="connsiteX163" fmla="*/ 1429544 w 2388669"/>
                    <a:gd name="connsiteY163" fmla="*/ 732798 h 866050"/>
                    <a:gd name="connsiteX164" fmla="*/ 1440694 w 2388669"/>
                    <a:gd name="connsiteY164" fmla="*/ 728324 h 866050"/>
                    <a:gd name="connsiteX165" fmla="*/ 1441232 w 2388669"/>
                    <a:gd name="connsiteY165" fmla="*/ 722855 h 866050"/>
                    <a:gd name="connsiteX166" fmla="*/ 1436595 w 2388669"/>
                    <a:gd name="connsiteY166" fmla="*/ 724365 h 866050"/>
                    <a:gd name="connsiteX167" fmla="*/ 1439417 w 2388669"/>
                    <a:gd name="connsiteY167" fmla="*/ 718053 h 866050"/>
                    <a:gd name="connsiteX168" fmla="*/ 1449184 w 2388669"/>
                    <a:gd name="connsiteY168" fmla="*/ 720653 h 866050"/>
                    <a:gd name="connsiteX169" fmla="*/ 1449184 w 2388669"/>
                    <a:gd name="connsiteY169" fmla="*/ 720653 h 866050"/>
                    <a:gd name="connsiteX170" fmla="*/ 1058992 w 2388669"/>
                    <a:gd name="connsiteY170" fmla="*/ 721309 h 866050"/>
                    <a:gd name="connsiteX171" fmla="*/ 1044282 w 2388669"/>
                    <a:gd name="connsiteY171" fmla="*/ 753679 h 866050"/>
                    <a:gd name="connsiteX172" fmla="*/ 1044902 w 2388669"/>
                    <a:gd name="connsiteY172" fmla="*/ 751852 h 866050"/>
                    <a:gd name="connsiteX173" fmla="*/ 1037723 w 2388669"/>
                    <a:gd name="connsiteY173" fmla="*/ 756022 h 866050"/>
                    <a:gd name="connsiteX174" fmla="*/ 1040944 w 2388669"/>
                    <a:gd name="connsiteY174" fmla="*/ 747051 h 866050"/>
                    <a:gd name="connsiteX175" fmla="*/ 1010260 w 2388669"/>
                    <a:gd name="connsiteY175" fmla="*/ 730924 h 866050"/>
                    <a:gd name="connsiteX176" fmla="*/ 1007273 w 2388669"/>
                    <a:gd name="connsiteY176" fmla="*/ 717198 h 866050"/>
                    <a:gd name="connsiteX177" fmla="*/ 1021046 w 2388669"/>
                    <a:gd name="connsiteY177" fmla="*/ 720840 h 866050"/>
                    <a:gd name="connsiteX178" fmla="*/ 1031961 w 2388669"/>
                    <a:gd name="connsiteY178" fmla="*/ 721730 h 866050"/>
                    <a:gd name="connsiteX179" fmla="*/ 1040358 w 2388669"/>
                    <a:gd name="connsiteY179" fmla="*/ 715839 h 866050"/>
                    <a:gd name="connsiteX180" fmla="*/ 1058992 w 2388669"/>
                    <a:gd name="connsiteY180" fmla="*/ 721309 h 866050"/>
                    <a:gd name="connsiteX181" fmla="*/ 1058992 w 2388669"/>
                    <a:gd name="connsiteY181" fmla="*/ 721309 h 866050"/>
                    <a:gd name="connsiteX182" fmla="*/ 1644217 w 2388669"/>
                    <a:gd name="connsiteY182" fmla="*/ 694829 h 866050"/>
                    <a:gd name="connsiteX183" fmla="*/ 1650330 w 2388669"/>
                    <a:gd name="connsiteY183" fmla="*/ 699022 h 866050"/>
                    <a:gd name="connsiteX184" fmla="*/ 1643233 w 2388669"/>
                    <a:gd name="connsiteY184" fmla="*/ 699186 h 866050"/>
                    <a:gd name="connsiteX185" fmla="*/ 1630877 w 2388669"/>
                    <a:gd name="connsiteY185" fmla="*/ 710499 h 866050"/>
                    <a:gd name="connsiteX186" fmla="*/ 1607934 w 2388669"/>
                    <a:gd name="connsiteY186" fmla="*/ 706447 h 866050"/>
                    <a:gd name="connsiteX187" fmla="*/ 1601188 w 2388669"/>
                    <a:gd name="connsiteY187" fmla="*/ 709082 h 866050"/>
                    <a:gd name="connsiteX188" fmla="*/ 1596562 w 2388669"/>
                    <a:gd name="connsiteY188" fmla="*/ 708754 h 866050"/>
                    <a:gd name="connsiteX189" fmla="*/ 1601481 w 2388669"/>
                    <a:gd name="connsiteY189" fmla="*/ 698987 h 866050"/>
                    <a:gd name="connsiteX190" fmla="*/ 1608403 w 2388669"/>
                    <a:gd name="connsiteY190" fmla="*/ 695941 h 866050"/>
                    <a:gd name="connsiteX191" fmla="*/ 1623089 w 2388669"/>
                    <a:gd name="connsiteY191" fmla="*/ 696199 h 866050"/>
                    <a:gd name="connsiteX192" fmla="*/ 1639274 w 2388669"/>
                    <a:gd name="connsiteY192" fmla="*/ 689149 h 866050"/>
                    <a:gd name="connsiteX193" fmla="*/ 1644217 w 2388669"/>
                    <a:gd name="connsiteY193" fmla="*/ 694829 h 866050"/>
                    <a:gd name="connsiteX194" fmla="*/ 1644217 w 2388669"/>
                    <a:gd name="connsiteY194" fmla="*/ 694829 h 866050"/>
                    <a:gd name="connsiteX195" fmla="*/ 2279087 w 2388669"/>
                    <a:gd name="connsiteY195" fmla="*/ 714410 h 866050"/>
                    <a:gd name="connsiteX196" fmla="*/ 2269085 w 2388669"/>
                    <a:gd name="connsiteY196" fmla="*/ 720337 h 866050"/>
                    <a:gd name="connsiteX197" fmla="*/ 2257163 w 2388669"/>
                    <a:gd name="connsiteY197" fmla="*/ 731017 h 866050"/>
                    <a:gd name="connsiteX198" fmla="*/ 2238061 w 2388669"/>
                    <a:gd name="connsiteY198" fmla="*/ 732364 h 866050"/>
                    <a:gd name="connsiteX199" fmla="*/ 2213655 w 2388669"/>
                    <a:gd name="connsiteY199" fmla="*/ 734601 h 866050"/>
                    <a:gd name="connsiteX200" fmla="*/ 2223070 w 2388669"/>
                    <a:gd name="connsiteY200" fmla="*/ 710850 h 866050"/>
                    <a:gd name="connsiteX201" fmla="*/ 2237136 w 2388669"/>
                    <a:gd name="connsiteY201" fmla="*/ 689137 h 866050"/>
                    <a:gd name="connsiteX202" fmla="*/ 2267434 w 2388669"/>
                    <a:gd name="connsiteY202" fmla="*/ 678772 h 866050"/>
                    <a:gd name="connsiteX203" fmla="*/ 2288620 w 2388669"/>
                    <a:gd name="connsiteY203" fmla="*/ 690004 h 866050"/>
                    <a:gd name="connsiteX204" fmla="*/ 2283830 w 2388669"/>
                    <a:gd name="connsiteY204" fmla="*/ 702676 h 866050"/>
                    <a:gd name="connsiteX205" fmla="*/ 2279087 w 2388669"/>
                    <a:gd name="connsiteY205" fmla="*/ 714410 h 866050"/>
                    <a:gd name="connsiteX206" fmla="*/ 2279087 w 2388669"/>
                    <a:gd name="connsiteY206" fmla="*/ 714410 h 866050"/>
                    <a:gd name="connsiteX207" fmla="*/ 1901484 w 2388669"/>
                    <a:gd name="connsiteY207" fmla="*/ 668501 h 866050"/>
                    <a:gd name="connsiteX208" fmla="*/ 1904119 w 2388669"/>
                    <a:gd name="connsiteY208" fmla="*/ 666686 h 866050"/>
                    <a:gd name="connsiteX209" fmla="*/ 1901144 w 2388669"/>
                    <a:gd name="connsiteY209" fmla="*/ 674580 h 866050"/>
                    <a:gd name="connsiteX210" fmla="*/ 1904353 w 2388669"/>
                    <a:gd name="connsiteY210" fmla="*/ 682063 h 866050"/>
                    <a:gd name="connsiteX211" fmla="*/ 1897478 w 2388669"/>
                    <a:gd name="connsiteY211" fmla="*/ 696070 h 866050"/>
                    <a:gd name="connsiteX212" fmla="*/ 1885041 w 2388669"/>
                    <a:gd name="connsiteY212" fmla="*/ 709058 h 866050"/>
                    <a:gd name="connsiteX213" fmla="*/ 1882991 w 2388669"/>
                    <a:gd name="connsiteY213" fmla="*/ 713591 h 866050"/>
                    <a:gd name="connsiteX214" fmla="*/ 1872509 w 2388669"/>
                    <a:gd name="connsiteY214" fmla="*/ 706517 h 866050"/>
                    <a:gd name="connsiteX215" fmla="*/ 1873610 w 2388669"/>
                    <a:gd name="connsiteY215" fmla="*/ 698284 h 866050"/>
                    <a:gd name="connsiteX216" fmla="*/ 1880403 w 2388669"/>
                    <a:gd name="connsiteY216" fmla="*/ 696855 h 866050"/>
                    <a:gd name="connsiteX217" fmla="*/ 1885931 w 2388669"/>
                    <a:gd name="connsiteY217" fmla="*/ 682626 h 866050"/>
                    <a:gd name="connsiteX218" fmla="*/ 1895792 w 2388669"/>
                    <a:gd name="connsiteY218" fmla="*/ 671324 h 866050"/>
                    <a:gd name="connsiteX219" fmla="*/ 1901484 w 2388669"/>
                    <a:gd name="connsiteY219" fmla="*/ 668501 h 866050"/>
                    <a:gd name="connsiteX220" fmla="*/ 1901484 w 2388669"/>
                    <a:gd name="connsiteY220" fmla="*/ 668501 h 866050"/>
                    <a:gd name="connsiteX221" fmla="*/ 980091 w 2388669"/>
                    <a:gd name="connsiteY221" fmla="*/ 653382 h 866050"/>
                    <a:gd name="connsiteX222" fmla="*/ 987130 w 2388669"/>
                    <a:gd name="connsiteY222" fmla="*/ 658828 h 866050"/>
                    <a:gd name="connsiteX223" fmla="*/ 975172 w 2388669"/>
                    <a:gd name="connsiteY223" fmla="*/ 666112 h 866050"/>
                    <a:gd name="connsiteX224" fmla="*/ 962652 w 2388669"/>
                    <a:gd name="connsiteY224" fmla="*/ 666112 h 866050"/>
                    <a:gd name="connsiteX225" fmla="*/ 956047 w 2388669"/>
                    <a:gd name="connsiteY225" fmla="*/ 672472 h 866050"/>
                    <a:gd name="connsiteX226" fmla="*/ 936747 w 2388669"/>
                    <a:gd name="connsiteY226" fmla="*/ 667717 h 866050"/>
                    <a:gd name="connsiteX227" fmla="*/ 936032 w 2388669"/>
                    <a:gd name="connsiteY227" fmla="*/ 671675 h 866050"/>
                    <a:gd name="connsiteX228" fmla="*/ 914237 w 2388669"/>
                    <a:gd name="connsiteY228" fmla="*/ 664496 h 866050"/>
                    <a:gd name="connsiteX229" fmla="*/ 918992 w 2388669"/>
                    <a:gd name="connsiteY229" fmla="*/ 657422 h 866050"/>
                    <a:gd name="connsiteX230" fmla="*/ 932999 w 2388669"/>
                    <a:gd name="connsiteY230" fmla="*/ 653757 h 866050"/>
                    <a:gd name="connsiteX231" fmla="*/ 957113 w 2388669"/>
                    <a:gd name="connsiteY231" fmla="*/ 654237 h 866050"/>
                    <a:gd name="connsiteX232" fmla="*/ 980091 w 2388669"/>
                    <a:gd name="connsiteY232" fmla="*/ 653382 h 866050"/>
                    <a:gd name="connsiteX233" fmla="*/ 980091 w 2388669"/>
                    <a:gd name="connsiteY233" fmla="*/ 653382 h 866050"/>
                    <a:gd name="connsiteX234" fmla="*/ 2046636 w 2388669"/>
                    <a:gd name="connsiteY234" fmla="*/ 630732 h 866050"/>
                    <a:gd name="connsiteX235" fmla="*/ 2051063 w 2388669"/>
                    <a:gd name="connsiteY235" fmla="*/ 638157 h 866050"/>
                    <a:gd name="connsiteX236" fmla="*/ 2044821 w 2388669"/>
                    <a:gd name="connsiteY236" fmla="*/ 641846 h 866050"/>
                    <a:gd name="connsiteX237" fmla="*/ 2042432 w 2388669"/>
                    <a:gd name="connsiteY237" fmla="*/ 649564 h 866050"/>
                    <a:gd name="connsiteX238" fmla="*/ 2032137 w 2388669"/>
                    <a:gd name="connsiteY238" fmla="*/ 653183 h 866050"/>
                    <a:gd name="connsiteX239" fmla="*/ 2029994 w 2388669"/>
                    <a:gd name="connsiteY239" fmla="*/ 631083 h 866050"/>
                    <a:gd name="connsiteX240" fmla="*/ 2034819 w 2388669"/>
                    <a:gd name="connsiteY240" fmla="*/ 633987 h 866050"/>
                    <a:gd name="connsiteX241" fmla="*/ 2030357 w 2388669"/>
                    <a:gd name="connsiteY241" fmla="*/ 623576 h 866050"/>
                    <a:gd name="connsiteX242" fmla="*/ 2032875 w 2388669"/>
                    <a:gd name="connsiteY242" fmla="*/ 618798 h 866050"/>
                    <a:gd name="connsiteX243" fmla="*/ 2046636 w 2388669"/>
                    <a:gd name="connsiteY243" fmla="*/ 630732 h 866050"/>
                    <a:gd name="connsiteX244" fmla="*/ 2046636 w 2388669"/>
                    <a:gd name="connsiteY244" fmla="*/ 630732 h 866050"/>
                    <a:gd name="connsiteX245" fmla="*/ 571628 w 2388669"/>
                    <a:gd name="connsiteY245" fmla="*/ 607906 h 866050"/>
                    <a:gd name="connsiteX246" fmla="*/ 584042 w 2388669"/>
                    <a:gd name="connsiteY246" fmla="*/ 607531 h 866050"/>
                    <a:gd name="connsiteX247" fmla="*/ 599080 w 2388669"/>
                    <a:gd name="connsiteY247" fmla="*/ 608058 h 866050"/>
                    <a:gd name="connsiteX248" fmla="*/ 610944 w 2388669"/>
                    <a:gd name="connsiteY248" fmla="*/ 612180 h 866050"/>
                    <a:gd name="connsiteX249" fmla="*/ 616893 w 2388669"/>
                    <a:gd name="connsiteY249" fmla="*/ 603315 h 866050"/>
                    <a:gd name="connsiteX250" fmla="*/ 622327 w 2388669"/>
                    <a:gd name="connsiteY250" fmla="*/ 605072 h 866050"/>
                    <a:gd name="connsiteX251" fmla="*/ 630666 w 2388669"/>
                    <a:gd name="connsiteY251" fmla="*/ 605154 h 866050"/>
                    <a:gd name="connsiteX252" fmla="*/ 642822 w 2388669"/>
                    <a:gd name="connsiteY252" fmla="*/ 616280 h 866050"/>
                    <a:gd name="connsiteX253" fmla="*/ 661666 w 2388669"/>
                    <a:gd name="connsiteY253" fmla="*/ 617193 h 866050"/>
                    <a:gd name="connsiteX254" fmla="*/ 677383 w 2388669"/>
                    <a:gd name="connsiteY254" fmla="*/ 619512 h 866050"/>
                    <a:gd name="connsiteX255" fmla="*/ 686436 w 2388669"/>
                    <a:gd name="connsiteY255" fmla="*/ 620308 h 866050"/>
                    <a:gd name="connsiteX256" fmla="*/ 695770 w 2388669"/>
                    <a:gd name="connsiteY256" fmla="*/ 632898 h 866050"/>
                    <a:gd name="connsiteX257" fmla="*/ 705573 w 2388669"/>
                    <a:gd name="connsiteY257" fmla="*/ 649505 h 866050"/>
                    <a:gd name="connsiteX258" fmla="*/ 712026 w 2388669"/>
                    <a:gd name="connsiteY258" fmla="*/ 649306 h 866050"/>
                    <a:gd name="connsiteX259" fmla="*/ 715785 w 2388669"/>
                    <a:gd name="connsiteY259" fmla="*/ 651613 h 866050"/>
                    <a:gd name="connsiteX260" fmla="*/ 722590 w 2388669"/>
                    <a:gd name="connsiteY260" fmla="*/ 649377 h 866050"/>
                    <a:gd name="connsiteX261" fmla="*/ 737229 w 2388669"/>
                    <a:gd name="connsiteY261" fmla="*/ 653124 h 866050"/>
                    <a:gd name="connsiteX262" fmla="*/ 746036 w 2388669"/>
                    <a:gd name="connsiteY262" fmla="*/ 649786 h 866050"/>
                    <a:gd name="connsiteX263" fmla="*/ 757666 w 2388669"/>
                    <a:gd name="connsiteY263" fmla="*/ 652620 h 866050"/>
                    <a:gd name="connsiteX264" fmla="*/ 777915 w 2388669"/>
                    <a:gd name="connsiteY264" fmla="*/ 654740 h 866050"/>
                    <a:gd name="connsiteX265" fmla="*/ 784262 w 2388669"/>
                    <a:gd name="connsiteY265" fmla="*/ 655103 h 866050"/>
                    <a:gd name="connsiteX266" fmla="*/ 795213 w 2388669"/>
                    <a:gd name="connsiteY266" fmla="*/ 657223 h 866050"/>
                    <a:gd name="connsiteX267" fmla="*/ 806245 w 2388669"/>
                    <a:gd name="connsiteY267" fmla="*/ 641120 h 866050"/>
                    <a:gd name="connsiteX268" fmla="*/ 820674 w 2388669"/>
                    <a:gd name="connsiteY268" fmla="*/ 628928 h 866050"/>
                    <a:gd name="connsiteX269" fmla="*/ 833357 w 2388669"/>
                    <a:gd name="connsiteY269" fmla="*/ 643767 h 866050"/>
                    <a:gd name="connsiteX270" fmla="*/ 849039 w 2388669"/>
                    <a:gd name="connsiteY270" fmla="*/ 640921 h 866050"/>
                    <a:gd name="connsiteX271" fmla="*/ 859204 w 2388669"/>
                    <a:gd name="connsiteY271" fmla="*/ 645828 h 866050"/>
                    <a:gd name="connsiteX272" fmla="*/ 872134 w 2388669"/>
                    <a:gd name="connsiteY272" fmla="*/ 648955 h 866050"/>
                    <a:gd name="connsiteX273" fmla="*/ 884701 w 2388669"/>
                    <a:gd name="connsiteY273" fmla="*/ 655010 h 866050"/>
                    <a:gd name="connsiteX274" fmla="*/ 897935 w 2388669"/>
                    <a:gd name="connsiteY274" fmla="*/ 653628 h 866050"/>
                    <a:gd name="connsiteX275" fmla="*/ 905629 w 2388669"/>
                    <a:gd name="connsiteY275" fmla="*/ 652820 h 866050"/>
                    <a:gd name="connsiteX276" fmla="*/ 911005 w 2388669"/>
                    <a:gd name="connsiteY276" fmla="*/ 662681 h 866050"/>
                    <a:gd name="connsiteX277" fmla="*/ 907784 w 2388669"/>
                    <a:gd name="connsiteY277" fmla="*/ 669895 h 866050"/>
                    <a:gd name="connsiteX278" fmla="*/ 918875 w 2388669"/>
                    <a:gd name="connsiteY278" fmla="*/ 672823 h 866050"/>
                    <a:gd name="connsiteX279" fmla="*/ 919226 w 2388669"/>
                    <a:gd name="connsiteY279" fmla="*/ 690086 h 866050"/>
                    <a:gd name="connsiteX280" fmla="*/ 936196 w 2388669"/>
                    <a:gd name="connsiteY280" fmla="*/ 698167 h 866050"/>
                    <a:gd name="connsiteX281" fmla="*/ 946338 w 2388669"/>
                    <a:gd name="connsiteY281" fmla="*/ 700579 h 866050"/>
                    <a:gd name="connsiteX282" fmla="*/ 952721 w 2388669"/>
                    <a:gd name="connsiteY282" fmla="*/ 697768 h 866050"/>
                    <a:gd name="connsiteX283" fmla="*/ 963425 w 2388669"/>
                    <a:gd name="connsiteY283" fmla="*/ 697464 h 866050"/>
                    <a:gd name="connsiteX284" fmla="*/ 975277 w 2388669"/>
                    <a:gd name="connsiteY284" fmla="*/ 695707 h 866050"/>
                    <a:gd name="connsiteX285" fmla="*/ 990854 w 2388669"/>
                    <a:gd name="connsiteY285" fmla="*/ 697253 h 866050"/>
                    <a:gd name="connsiteX286" fmla="*/ 1002846 w 2388669"/>
                    <a:gd name="connsiteY286" fmla="*/ 700930 h 866050"/>
                    <a:gd name="connsiteX287" fmla="*/ 1000891 w 2388669"/>
                    <a:gd name="connsiteY287" fmla="*/ 739989 h 866050"/>
                    <a:gd name="connsiteX288" fmla="*/ 1001757 w 2388669"/>
                    <a:gd name="connsiteY288" fmla="*/ 735726 h 866050"/>
                    <a:gd name="connsiteX289" fmla="*/ 1003666 w 2388669"/>
                    <a:gd name="connsiteY289" fmla="*/ 743654 h 866050"/>
                    <a:gd name="connsiteX290" fmla="*/ 1011337 w 2388669"/>
                    <a:gd name="connsiteY290" fmla="*/ 747144 h 866050"/>
                    <a:gd name="connsiteX291" fmla="*/ 999743 w 2388669"/>
                    <a:gd name="connsiteY291" fmla="*/ 751208 h 866050"/>
                    <a:gd name="connsiteX292" fmla="*/ 983136 w 2388669"/>
                    <a:gd name="connsiteY292" fmla="*/ 744966 h 866050"/>
                    <a:gd name="connsiteX293" fmla="*/ 971389 w 2388669"/>
                    <a:gd name="connsiteY293" fmla="*/ 741488 h 866050"/>
                    <a:gd name="connsiteX294" fmla="*/ 959572 w 2388669"/>
                    <a:gd name="connsiteY294" fmla="*/ 735737 h 866050"/>
                    <a:gd name="connsiteX295" fmla="*/ 952780 w 2388669"/>
                    <a:gd name="connsiteY295" fmla="*/ 732095 h 866050"/>
                    <a:gd name="connsiteX296" fmla="*/ 940436 w 2388669"/>
                    <a:gd name="connsiteY296" fmla="*/ 726965 h 866050"/>
                    <a:gd name="connsiteX297" fmla="*/ 924695 w 2388669"/>
                    <a:gd name="connsiteY297" fmla="*/ 732575 h 866050"/>
                    <a:gd name="connsiteX298" fmla="*/ 917704 w 2388669"/>
                    <a:gd name="connsiteY298" fmla="*/ 732821 h 866050"/>
                    <a:gd name="connsiteX299" fmla="*/ 909915 w 2388669"/>
                    <a:gd name="connsiteY299" fmla="*/ 734906 h 866050"/>
                    <a:gd name="connsiteX300" fmla="*/ 895908 w 2388669"/>
                    <a:gd name="connsiteY300" fmla="*/ 731755 h 866050"/>
                    <a:gd name="connsiteX301" fmla="*/ 875999 w 2388669"/>
                    <a:gd name="connsiteY301" fmla="*/ 727621 h 866050"/>
                    <a:gd name="connsiteX302" fmla="*/ 863257 w 2388669"/>
                    <a:gd name="connsiteY302" fmla="*/ 729238 h 866050"/>
                    <a:gd name="connsiteX303" fmla="*/ 861980 w 2388669"/>
                    <a:gd name="connsiteY303" fmla="*/ 727422 h 866050"/>
                    <a:gd name="connsiteX304" fmla="*/ 861008 w 2388669"/>
                    <a:gd name="connsiteY304" fmla="*/ 731591 h 866050"/>
                    <a:gd name="connsiteX305" fmla="*/ 844717 w 2388669"/>
                    <a:gd name="connsiteY305" fmla="*/ 726672 h 866050"/>
                    <a:gd name="connsiteX306" fmla="*/ 829481 w 2388669"/>
                    <a:gd name="connsiteY306" fmla="*/ 723100 h 866050"/>
                    <a:gd name="connsiteX307" fmla="*/ 801982 w 2388669"/>
                    <a:gd name="connsiteY307" fmla="*/ 719587 h 866050"/>
                    <a:gd name="connsiteX308" fmla="*/ 769073 w 2388669"/>
                    <a:gd name="connsiteY308" fmla="*/ 704842 h 866050"/>
                    <a:gd name="connsiteX309" fmla="*/ 753098 w 2388669"/>
                    <a:gd name="connsiteY309" fmla="*/ 700696 h 866050"/>
                    <a:gd name="connsiteX310" fmla="*/ 741551 w 2388669"/>
                    <a:gd name="connsiteY310" fmla="*/ 699923 h 866050"/>
                    <a:gd name="connsiteX311" fmla="*/ 740824 w 2388669"/>
                    <a:gd name="connsiteY311" fmla="*/ 697886 h 866050"/>
                    <a:gd name="connsiteX312" fmla="*/ 721489 w 2388669"/>
                    <a:gd name="connsiteY312" fmla="*/ 697569 h 866050"/>
                    <a:gd name="connsiteX313" fmla="*/ 713162 w 2388669"/>
                    <a:gd name="connsiteY313" fmla="*/ 691831 h 866050"/>
                    <a:gd name="connsiteX314" fmla="*/ 702961 w 2388669"/>
                    <a:gd name="connsiteY314" fmla="*/ 697511 h 866050"/>
                    <a:gd name="connsiteX315" fmla="*/ 693896 w 2388669"/>
                    <a:gd name="connsiteY315" fmla="*/ 699888 h 866050"/>
                    <a:gd name="connsiteX316" fmla="*/ 674807 w 2388669"/>
                    <a:gd name="connsiteY316" fmla="*/ 701060 h 866050"/>
                    <a:gd name="connsiteX317" fmla="*/ 647636 w 2388669"/>
                    <a:gd name="connsiteY317" fmla="*/ 690812 h 866050"/>
                    <a:gd name="connsiteX318" fmla="*/ 623498 w 2388669"/>
                    <a:gd name="connsiteY318" fmla="*/ 684417 h 866050"/>
                    <a:gd name="connsiteX319" fmla="*/ 598365 w 2388669"/>
                    <a:gd name="connsiteY319" fmla="*/ 682040 h 866050"/>
                    <a:gd name="connsiteX320" fmla="*/ 584042 w 2388669"/>
                    <a:gd name="connsiteY320" fmla="*/ 679663 h 866050"/>
                    <a:gd name="connsiteX321" fmla="*/ 587673 w 2388669"/>
                    <a:gd name="connsiteY321" fmla="*/ 669064 h 866050"/>
                    <a:gd name="connsiteX322" fmla="*/ 589160 w 2388669"/>
                    <a:gd name="connsiteY322" fmla="*/ 658008 h 866050"/>
                    <a:gd name="connsiteX323" fmla="*/ 579967 w 2388669"/>
                    <a:gd name="connsiteY323" fmla="*/ 659624 h 866050"/>
                    <a:gd name="connsiteX324" fmla="*/ 570937 w 2388669"/>
                    <a:gd name="connsiteY324" fmla="*/ 654904 h 866050"/>
                    <a:gd name="connsiteX325" fmla="*/ 540089 w 2388669"/>
                    <a:gd name="connsiteY325" fmla="*/ 652246 h 866050"/>
                    <a:gd name="connsiteX326" fmla="*/ 522604 w 2388669"/>
                    <a:gd name="connsiteY326" fmla="*/ 647479 h 866050"/>
                    <a:gd name="connsiteX327" fmla="*/ 529666 w 2388669"/>
                    <a:gd name="connsiteY327" fmla="*/ 642420 h 866050"/>
                    <a:gd name="connsiteX328" fmla="*/ 534795 w 2388669"/>
                    <a:gd name="connsiteY328" fmla="*/ 649810 h 866050"/>
                    <a:gd name="connsiteX329" fmla="*/ 543005 w 2388669"/>
                    <a:gd name="connsiteY329" fmla="*/ 641284 h 866050"/>
                    <a:gd name="connsiteX330" fmla="*/ 546612 w 2388669"/>
                    <a:gd name="connsiteY330" fmla="*/ 633250 h 866050"/>
                    <a:gd name="connsiteX331" fmla="*/ 554131 w 2388669"/>
                    <a:gd name="connsiteY331" fmla="*/ 630181 h 866050"/>
                    <a:gd name="connsiteX332" fmla="*/ 556380 w 2388669"/>
                    <a:gd name="connsiteY332" fmla="*/ 613188 h 866050"/>
                    <a:gd name="connsiteX333" fmla="*/ 564355 w 2388669"/>
                    <a:gd name="connsiteY333" fmla="*/ 601839 h 866050"/>
                    <a:gd name="connsiteX334" fmla="*/ 571628 w 2388669"/>
                    <a:gd name="connsiteY334" fmla="*/ 607906 h 866050"/>
                    <a:gd name="connsiteX335" fmla="*/ 571628 w 2388669"/>
                    <a:gd name="connsiteY335" fmla="*/ 607906 h 866050"/>
                    <a:gd name="connsiteX336" fmla="*/ 2054179 w 2388669"/>
                    <a:gd name="connsiteY336" fmla="*/ 577292 h 866050"/>
                    <a:gd name="connsiteX337" fmla="*/ 2060210 w 2388669"/>
                    <a:gd name="connsiteY337" fmla="*/ 583042 h 866050"/>
                    <a:gd name="connsiteX338" fmla="*/ 2058758 w 2388669"/>
                    <a:gd name="connsiteY338" fmla="*/ 583745 h 866050"/>
                    <a:gd name="connsiteX339" fmla="*/ 2059484 w 2388669"/>
                    <a:gd name="connsiteY339" fmla="*/ 585186 h 866050"/>
                    <a:gd name="connsiteX340" fmla="*/ 2057001 w 2388669"/>
                    <a:gd name="connsiteY340" fmla="*/ 585900 h 866050"/>
                    <a:gd name="connsiteX341" fmla="*/ 2060550 w 2388669"/>
                    <a:gd name="connsiteY341" fmla="*/ 598830 h 866050"/>
                    <a:gd name="connsiteX342" fmla="*/ 2063770 w 2388669"/>
                    <a:gd name="connsiteY342" fmla="*/ 601687 h 866050"/>
                    <a:gd name="connsiteX343" fmla="*/ 2061627 w 2388669"/>
                    <a:gd name="connsiteY343" fmla="*/ 603128 h 866050"/>
                    <a:gd name="connsiteX344" fmla="*/ 2060374 w 2388669"/>
                    <a:gd name="connsiteY344" fmla="*/ 602331 h 866050"/>
                    <a:gd name="connsiteX345" fmla="*/ 2062353 w 2388669"/>
                    <a:gd name="connsiteY345" fmla="*/ 604545 h 866050"/>
                    <a:gd name="connsiteX346" fmla="*/ 2062271 w 2388669"/>
                    <a:gd name="connsiteY346" fmla="*/ 605810 h 866050"/>
                    <a:gd name="connsiteX347" fmla="*/ 2055221 w 2388669"/>
                    <a:gd name="connsiteY347" fmla="*/ 604896 h 866050"/>
                    <a:gd name="connsiteX348" fmla="*/ 2060538 w 2388669"/>
                    <a:gd name="connsiteY348" fmla="*/ 615694 h 866050"/>
                    <a:gd name="connsiteX349" fmla="*/ 2059905 w 2388669"/>
                    <a:gd name="connsiteY349" fmla="*/ 617275 h 866050"/>
                    <a:gd name="connsiteX350" fmla="*/ 2063407 w 2388669"/>
                    <a:gd name="connsiteY350" fmla="*/ 615694 h 866050"/>
                    <a:gd name="connsiteX351" fmla="*/ 2048943 w 2388669"/>
                    <a:gd name="connsiteY351" fmla="*/ 622534 h 866050"/>
                    <a:gd name="connsiteX352" fmla="*/ 2043135 w 2388669"/>
                    <a:gd name="connsiteY352" fmla="*/ 608655 h 866050"/>
                    <a:gd name="connsiteX353" fmla="*/ 2043615 w 2388669"/>
                    <a:gd name="connsiteY353" fmla="*/ 596616 h 866050"/>
                    <a:gd name="connsiteX354" fmla="*/ 2042736 w 2388669"/>
                    <a:gd name="connsiteY354" fmla="*/ 595925 h 866050"/>
                    <a:gd name="connsiteX355" fmla="*/ 2037056 w 2388669"/>
                    <a:gd name="connsiteY355" fmla="*/ 590667 h 866050"/>
                    <a:gd name="connsiteX356" fmla="*/ 2042654 w 2388669"/>
                    <a:gd name="connsiteY356" fmla="*/ 591498 h 866050"/>
                    <a:gd name="connsiteX357" fmla="*/ 2047737 w 2388669"/>
                    <a:gd name="connsiteY357" fmla="*/ 583042 h 866050"/>
                    <a:gd name="connsiteX358" fmla="*/ 2050232 w 2388669"/>
                    <a:gd name="connsiteY358" fmla="*/ 583745 h 866050"/>
                    <a:gd name="connsiteX359" fmla="*/ 2054179 w 2388669"/>
                    <a:gd name="connsiteY359" fmla="*/ 577292 h 866050"/>
                    <a:gd name="connsiteX360" fmla="*/ 2054179 w 2388669"/>
                    <a:gd name="connsiteY360" fmla="*/ 577292 h 866050"/>
                    <a:gd name="connsiteX361" fmla="*/ 1438527 w 2388669"/>
                    <a:gd name="connsiteY361" fmla="*/ 552452 h 866050"/>
                    <a:gd name="connsiteX362" fmla="*/ 1431078 w 2388669"/>
                    <a:gd name="connsiteY362" fmla="*/ 565253 h 866050"/>
                    <a:gd name="connsiteX363" fmla="*/ 1429111 w 2388669"/>
                    <a:gd name="connsiteY363" fmla="*/ 567033 h 866050"/>
                    <a:gd name="connsiteX364" fmla="*/ 1426253 w 2388669"/>
                    <a:gd name="connsiteY364" fmla="*/ 577526 h 866050"/>
                    <a:gd name="connsiteX365" fmla="*/ 1424590 w 2388669"/>
                    <a:gd name="connsiteY365" fmla="*/ 570078 h 866050"/>
                    <a:gd name="connsiteX366" fmla="*/ 1421428 w 2388669"/>
                    <a:gd name="connsiteY366" fmla="*/ 571565 h 866050"/>
                    <a:gd name="connsiteX367" fmla="*/ 1414132 w 2388669"/>
                    <a:gd name="connsiteY367" fmla="*/ 568333 h 866050"/>
                    <a:gd name="connsiteX368" fmla="*/ 1417856 w 2388669"/>
                    <a:gd name="connsiteY368" fmla="*/ 559924 h 866050"/>
                    <a:gd name="connsiteX369" fmla="*/ 1416825 w 2388669"/>
                    <a:gd name="connsiteY369" fmla="*/ 550262 h 866050"/>
                    <a:gd name="connsiteX370" fmla="*/ 1428783 w 2388669"/>
                    <a:gd name="connsiteY370" fmla="*/ 537484 h 866050"/>
                    <a:gd name="connsiteX371" fmla="*/ 1437168 w 2388669"/>
                    <a:gd name="connsiteY371" fmla="*/ 543235 h 866050"/>
                    <a:gd name="connsiteX372" fmla="*/ 1438527 w 2388669"/>
                    <a:gd name="connsiteY372" fmla="*/ 552452 h 866050"/>
                    <a:gd name="connsiteX373" fmla="*/ 1438527 w 2388669"/>
                    <a:gd name="connsiteY373" fmla="*/ 552452 h 866050"/>
                    <a:gd name="connsiteX374" fmla="*/ 1461095 w 2388669"/>
                    <a:gd name="connsiteY374" fmla="*/ 538222 h 866050"/>
                    <a:gd name="connsiteX375" fmla="*/ 1461095 w 2388669"/>
                    <a:gd name="connsiteY375" fmla="*/ 546830 h 866050"/>
                    <a:gd name="connsiteX376" fmla="*/ 1456539 w 2388669"/>
                    <a:gd name="connsiteY376" fmla="*/ 539932 h 866050"/>
                    <a:gd name="connsiteX377" fmla="*/ 1455567 w 2388669"/>
                    <a:gd name="connsiteY377" fmla="*/ 542919 h 866050"/>
                    <a:gd name="connsiteX378" fmla="*/ 1452803 w 2388669"/>
                    <a:gd name="connsiteY378" fmla="*/ 541513 h 866050"/>
                    <a:gd name="connsiteX379" fmla="*/ 1448318 w 2388669"/>
                    <a:gd name="connsiteY379" fmla="*/ 555286 h 866050"/>
                    <a:gd name="connsiteX380" fmla="*/ 1448060 w 2388669"/>
                    <a:gd name="connsiteY380" fmla="*/ 562325 h 866050"/>
                    <a:gd name="connsiteX381" fmla="*/ 1451152 w 2388669"/>
                    <a:gd name="connsiteY381" fmla="*/ 562547 h 866050"/>
                    <a:gd name="connsiteX382" fmla="*/ 1459643 w 2388669"/>
                    <a:gd name="connsiteY382" fmla="*/ 572666 h 866050"/>
                    <a:gd name="connsiteX383" fmla="*/ 1442825 w 2388669"/>
                    <a:gd name="connsiteY383" fmla="*/ 581672 h 866050"/>
                    <a:gd name="connsiteX384" fmla="*/ 1445425 w 2388669"/>
                    <a:gd name="connsiteY384" fmla="*/ 581215 h 866050"/>
                    <a:gd name="connsiteX385" fmla="*/ 1439148 w 2388669"/>
                    <a:gd name="connsiteY385" fmla="*/ 591323 h 866050"/>
                    <a:gd name="connsiteX386" fmla="*/ 1437976 w 2388669"/>
                    <a:gd name="connsiteY386" fmla="*/ 588652 h 866050"/>
                    <a:gd name="connsiteX387" fmla="*/ 1436876 w 2388669"/>
                    <a:gd name="connsiteY387" fmla="*/ 590631 h 866050"/>
                    <a:gd name="connsiteX388" fmla="*/ 1436290 w 2388669"/>
                    <a:gd name="connsiteY388" fmla="*/ 587891 h 866050"/>
                    <a:gd name="connsiteX389" fmla="*/ 1429907 w 2388669"/>
                    <a:gd name="connsiteY389" fmla="*/ 586872 h 866050"/>
                    <a:gd name="connsiteX390" fmla="*/ 1430727 w 2388669"/>
                    <a:gd name="connsiteY390" fmla="*/ 576215 h 866050"/>
                    <a:gd name="connsiteX391" fmla="*/ 1440096 w 2388669"/>
                    <a:gd name="connsiteY391" fmla="*/ 565007 h 866050"/>
                    <a:gd name="connsiteX392" fmla="*/ 1437438 w 2388669"/>
                    <a:gd name="connsiteY392" fmla="*/ 565908 h 866050"/>
                    <a:gd name="connsiteX393" fmla="*/ 1437180 w 2388669"/>
                    <a:gd name="connsiteY393" fmla="*/ 556879 h 866050"/>
                    <a:gd name="connsiteX394" fmla="*/ 1454536 w 2388669"/>
                    <a:gd name="connsiteY394" fmla="*/ 523185 h 866050"/>
                    <a:gd name="connsiteX395" fmla="*/ 1461095 w 2388669"/>
                    <a:gd name="connsiteY395" fmla="*/ 538222 h 866050"/>
                    <a:gd name="connsiteX396" fmla="*/ 1461095 w 2388669"/>
                    <a:gd name="connsiteY396" fmla="*/ 538222 h 866050"/>
                    <a:gd name="connsiteX397" fmla="*/ 1091444 w 2388669"/>
                    <a:gd name="connsiteY397" fmla="*/ 504423 h 866050"/>
                    <a:gd name="connsiteX398" fmla="*/ 1089722 w 2388669"/>
                    <a:gd name="connsiteY398" fmla="*/ 506332 h 866050"/>
                    <a:gd name="connsiteX399" fmla="*/ 1087005 w 2388669"/>
                    <a:gd name="connsiteY399" fmla="*/ 490263 h 866050"/>
                    <a:gd name="connsiteX400" fmla="*/ 1098940 w 2388669"/>
                    <a:gd name="connsiteY400" fmla="*/ 462050 h 866050"/>
                    <a:gd name="connsiteX401" fmla="*/ 1098623 w 2388669"/>
                    <a:gd name="connsiteY401" fmla="*/ 471279 h 866050"/>
                    <a:gd name="connsiteX402" fmla="*/ 1100837 w 2388669"/>
                    <a:gd name="connsiteY402" fmla="*/ 474640 h 866050"/>
                    <a:gd name="connsiteX403" fmla="*/ 1099958 w 2388669"/>
                    <a:gd name="connsiteY403" fmla="*/ 477217 h 866050"/>
                    <a:gd name="connsiteX404" fmla="*/ 1102348 w 2388669"/>
                    <a:gd name="connsiteY404" fmla="*/ 489772 h 866050"/>
                    <a:gd name="connsiteX405" fmla="*/ 1091444 w 2388669"/>
                    <a:gd name="connsiteY405" fmla="*/ 504423 h 866050"/>
                    <a:gd name="connsiteX406" fmla="*/ 1091444 w 2388669"/>
                    <a:gd name="connsiteY406" fmla="*/ 504423 h 866050"/>
                    <a:gd name="connsiteX407" fmla="*/ 1652215 w 2388669"/>
                    <a:gd name="connsiteY407" fmla="*/ 456324 h 866050"/>
                    <a:gd name="connsiteX408" fmla="*/ 1664559 w 2388669"/>
                    <a:gd name="connsiteY408" fmla="*/ 464826 h 866050"/>
                    <a:gd name="connsiteX409" fmla="*/ 1665239 w 2388669"/>
                    <a:gd name="connsiteY409" fmla="*/ 469546 h 866050"/>
                    <a:gd name="connsiteX410" fmla="*/ 1670591 w 2388669"/>
                    <a:gd name="connsiteY410" fmla="*/ 469487 h 866050"/>
                    <a:gd name="connsiteX411" fmla="*/ 1671446 w 2388669"/>
                    <a:gd name="connsiteY411" fmla="*/ 474594 h 866050"/>
                    <a:gd name="connsiteX412" fmla="*/ 1664618 w 2388669"/>
                    <a:gd name="connsiteY412" fmla="*/ 484947 h 866050"/>
                    <a:gd name="connsiteX413" fmla="*/ 1646676 w 2388669"/>
                    <a:gd name="connsiteY413" fmla="*/ 494456 h 866050"/>
                    <a:gd name="connsiteX414" fmla="*/ 1616777 w 2388669"/>
                    <a:gd name="connsiteY414" fmla="*/ 483201 h 866050"/>
                    <a:gd name="connsiteX415" fmla="*/ 1612642 w 2388669"/>
                    <a:gd name="connsiteY415" fmla="*/ 457635 h 866050"/>
                    <a:gd name="connsiteX416" fmla="*/ 1617772 w 2388669"/>
                    <a:gd name="connsiteY416" fmla="*/ 459919 h 866050"/>
                    <a:gd name="connsiteX417" fmla="*/ 1624143 w 2388669"/>
                    <a:gd name="connsiteY417" fmla="*/ 455551 h 866050"/>
                    <a:gd name="connsiteX418" fmla="*/ 1652215 w 2388669"/>
                    <a:gd name="connsiteY418" fmla="*/ 456324 h 866050"/>
                    <a:gd name="connsiteX419" fmla="*/ 1652215 w 2388669"/>
                    <a:gd name="connsiteY419" fmla="*/ 456324 h 866050"/>
                    <a:gd name="connsiteX420" fmla="*/ 1791278 w 2388669"/>
                    <a:gd name="connsiteY420" fmla="*/ 439120 h 866050"/>
                    <a:gd name="connsiteX421" fmla="*/ 1808353 w 2388669"/>
                    <a:gd name="connsiteY421" fmla="*/ 445737 h 866050"/>
                    <a:gd name="connsiteX422" fmla="*/ 1812546 w 2388669"/>
                    <a:gd name="connsiteY422" fmla="*/ 448864 h 866050"/>
                    <a:gd name="connsiteX423" fmla="*/ 1830348 w 2388669"/>
                    <a:gd name="connsiteY423" fmla="*/ 449519 h 866050"/>
                    <a:gd name="connsiteX424" fmla="*/ 1847903 w 2388669"/>
                    <a:gd name="connsiteY424" fmla="*/ 462753 h 866050"/>
                    <a:gd name="connsiteX425" fmla="*/ 1850819 w 2388669"/>
                    <a:gd name="connsiteY425" fmla="*/ 471830 h 866050"/>
                    <a:gd name="connsiteX426" fmla="*/ 1858596 w 2388669"/>
                    <a:gd name="connsiteY426" fmla="*/ 474512 h 866050"/>
                    <a:gd name="connsiteX427" fmla="*/ 1860528 w 2388669"/>
                    <a:gd name="connsiteY427" fmla="*/ 483284 h 866050"/>
                    <a:gd name="connsiteX428" fmla="*/ 1859123 w 2388669"/>
                    <a:gd name="connsiteY428" fmla="*/ 495780 h 866050"/>
                    <a:gd name="connsiteX429" fmla="*/ 1840115 w 2388669"/>
                    <a:gd name="connsiteY429" fmla="*/ 486996 h 866050"/>
                    <a:gd name="connsiteX430" fmla="*/ 1818461 w 2388669"/>
                    <a:gd name="connsiteY430" fmla="*/ 476737 h 866050"/>
                    <a:gd name="connsiteX431" fmla="*/ 1813202 w 2388669"/>
                    <a:gd name="connsiteY431" fmla="*/ 471759 h 866050"/>
                    <a:gd name="connsiteX432" fmla="*/ 1798984 w 2388669"/>
                    <a:gd name="connsiteY432" fmla="*/ 466911 h 866050"/>
                    <a:gd name="connsiteX433" fmla="*/ 1790529 w 2388669"/>
                    <a:gd name="connsiteY433" fmla="*/ 466255 h 866050"/>
                    <a:gd name="connsiteX434" fmla="*/ 1791126 w 2388669"/>
                    <a:gd name="connsiteY434" fmla="*/ 470705 h 866050"/>
                    <a:gd name="connsiteX435" fmla="*/ 1790669 w 2388669"/>
                    <a:gd name="connsiteY435" fmla="*/ 474851 h 866050"/>
                    <a:gd name="connsiteX436" fmla="*/ 1782905 w 2388669"/>
                    <a:gd name="connsiteY436" fmla="*/ 472380 h 866050"/>
                    <a:gd name="connsiteX437" fmla="*/ 1759891 w 2388669"/>
                    <a:gd name="connsiteY437" fmla="*/ 467063 h 866050"/>
                    <a:gd name="connsiteX438" fmla="*/ 1758310 w 2388669"/>
                    <a:gd name="connsiteY438" fmla="*/ 461652 h 866050"/>
                    <a:gd name="connsiteX439" fmla="*/ 1751412 w 2388669"/>
                    <a:gd name="connsiteY439" fmla="*/ 465201 h 866050"/>
                    <a:gd name="connsiteX440" fmla="*/ 1738471 w 2388669"/>
                    <a:gd name="connsiteY440" fmla="*/ 473950 h 866050"/>
                    <a:gd name="connsiteX441" fmla="*/ 1731713 w 2388669"/>
                    <a:gd name="connsiteY441" fmla="*/ 472017 h 866050"/>
                    <a:gd name="connsiteX442" fmla="*/ 1726057 w 2388669"/>
                    <a:gd name="connsiteY442" fmla="*/ 462870 h 866050"/>
                    <a:gd name="connsiteX443" fmla="*/ 1721173 w 2388669"/>
                    <a:gd name="connsiteY443" fmla="*/ 460996 h 866050"/>
                    <a:gd name="connsiteX444" fmla="*/ 1720025 w 2388669"/>
                    <a:gd name="connsiteY444" fmla="*/ 454298 h 866050"/>
                    <a:gd name="connsiteX445" fmla="*/ 1714228 w 2388669"/>
                    <a:gd name="connsiteY445" fmla="*/ 462249 h 866050"/>
                    <a:gd name="connsiteX446" fmla="*/ 1707026 w 2388669"/>
                    <a:gd name="connsiteY446" fmla="*/ 479524 h 866050"/>
                    <a:gd name="connsiteX447" fmla="*/ 1707341 w 2388669"/>
                    <a:gd name="connsiteY447" fmla="*/ 468070 h 866050"/>
                    <a:gd name="connsiteX448" fmla="*/ 1702669 w 2388669"/>
                    <a:gd name="connsiteY448" fmla="*/ 459662 h 866050"/>
                    <a:gd name="connsiteX449" fmla="*/ 1716301 w 2388669"/>
                    <a:gd name="connsiteY449" fmla="*/ 454110 h 866050"/>
                    <a:gd name="connsiteX450" fmla="*/ 1717039 w 2388669"/>
                    <a:gd name="connsiteY450" fmla="*/ 449800 h 866050"/>
                    <a:gd name="connsiteX451" fmla="*/ 1714544 w 2388669"/>
                    <a:gd name="connsiteY451" fmla="*/ 449074 h 866050"/>
                    <a:gd name="connsiteX452" fmla="*/ 1720330 w 2388669"/>
                    <a:gd name="connsiteY452" fmla="*/ 443078 h 866050"/>
                    <a:gd name="connsiteX453" fmla="*/ 1740907 w 2388669"/>
                    <a:gd name="connsiteY453" fmla="*/ 442832 h 866050"/>
                    <a:gd name="connsiteX454" fmla="*/ 1754820 w 2388669"/>
                    <a:gd name="connsiteY454" fmla="*/ 443406 h 866050"/>
                    <a:gd name="connsiteX455" fmla="*/ 1764845 w 2388669"/>
                    <a:gd name="connsiteY455" fmla="*/ 440654 h 866050"/>
                    <a:gd name="connsiteX456" fmla="*/ 1772727 w 2388669"/>
                    <a:gd name="connsiteY456" fmla="*/ 448266 h 866050"/>
                    <a:gd name="connsiteX457" fmla="*/ 1772423 w 2388669"/>
                    <a:gd name="connsiteY457" fmla="*/ 446767 h 866050"/>
                    <a:gd name="connsiteX458" fmla="*/ 1774449 w 2388669"/>
                    <a:gd name="connsiteY458" fmla="*/ 447528 h 866050"/>
                    <a:gd name="connsiteX459" fmla="*/ 1791278 w 2388669"/>
                    <a:gd name="connsiteY459" fmla="*/ 439120 h 866050"/>
                    <a:gd name="connsiteX460" fmla="*/ 1791278 w 2388669"/>
                    <a:gd name="connsiteY460" fmla="*/ 439120 h 866050"/>
                    <a:gd name="connsiteX461" fmla="*/ 659710 w 2388669"/>
                    <a:gd name="connsiteY461" fmla="*/ 427115 h 866050"/>
                    <a:gd name="connsiteX462" fmla="*/ 669712 w 2388669"/>
                    <a:gd name="connsiteY462" fmla="*/ 431928 h 866050"/>
                    <a:gd name="connsiteX463" fmla="*/ 682970 w 2388669"/>
                    <a:gd name="connsiteY463" fmla="*/ 442703 h 866050"/>
                    <a:gd name="connsiteX464" fmla="*/ 678625 w 2388669"/>
                    <a:gd name="connsiteY464" fmla="*/ 457694 h 866050"/>
                    <a:gd name="connsiteX465" fmla="*/ 666117 w 2388669"/>
                    <a:gd name="connsiteY465" fmla="*/ 460786 h 866050"/>
                    <a:gd name="connsiteX466" fmla="*/ 661690 w 2388669"/>
                    <a:gd name="connsiteY466" fmla="*/ 454005 h 866050"/>
                    <a:gd name="connsiteX467" fmla="*/ 659055 w 2388669"/>
                    <a:gd name="connsiteY467" fmla="*/ 458490 h 866050"/>
                    <a:gd name="connsiteX468" fmla="*/ 647671 w 2388669"/>
                    <a:gd name="connsiteY468" fmla="*/ 462882 h 866050"/>
                    <a:gd name="connsiteX469" fmla="*/ 648397 w 2388669"/>
                    <a:gd name="connsiteY469" fmla="*/ 456605 h 866050"/>
                    <a:gd name="connsiteX470" fmla="*/ 645762 w 2388669"/>
                    <a:gd name="connsiteY470" fmla="*/ 450503 h 866050"/>
                    <a:gd name="connsiteX471" fmla="*/ 644321 w 2388669"/>
                    <a:gd name="connsiteY471" fmla="*/ 446849 h 866050"/>
                    <a:gd name="connsiteX472" fmla="*/ 659710 w 2388669"/>
                    <a:gd name="connsiteY472" fmla="*/ 427115 h 866050"/>
                    <a:gd name="connsiteX473" fmla="*/ 659710 w 2388669"/>
                    <a:gd name="connsiteY473" fmla="*/ 427115 h 866050"/>
                    <a:gd name="connsiteX474" fmla="*/ 1833838 w 2388669"/>
                    <a:gd name="connsiteY474" fmla="*/ 382483 h 866050"/>
                    <a:gd name="connsiteX475" fmla="*/ 1833170 w 2388669"/>
                    <a:gd name="connsiteY475" fmla="*/ 394674 h 866050"/>
                    <a:gd name="connsiteX476" fmla="*/ 1838007 w 2388669"/>
                    <a:gd name="connsiteY476" fmla="*/ 397169 h 866050"/>
                    <a:gd name="connsiteX477" fmla="*/ 1832854 w 2388669"/>
                    <a:gd name="connsiteY477" fmla="*/ 395775 h 866050"/>
                    <a:gd name="connsiteX478" fmla="*/ 1820346 w 2388669"/>
                    <a:gd name="connsiteY478" fmla="*/ 400811 h 866050"/>
                    <a:gd name="connsiteX479" fmla="*/ 1821096 w 2388669"/>
                    <a:gd name="connsiteY479" fmla="*/ 400448 h 866050"/>
                    <a:gd name="connsiteX480" fmla="*/ 1800343 w 2388669"/>
                    <a:gd name="connsiteY480" fmla="*/ 392227 h 866050"/>
                    <a:gd name="connsiteX481" fmla="*/ 1817922 w 2388669"/>
                    <a:gd name="connsiteY481" fmla="*/ 384813 h 866050"/>
                    <a:gd name="connsiteX482" fmla="*/ 1833838 w 2388669"/>
                    <a:gd name="connsiteY482" fmla="*/ 382483 h 866050"/>
                    <a:gd name="connsiteX483" fmla="*/ 1833838 w 2388669"/>
                    <a:gd name="connsiteY483" fmla="*/ 382483 h 866050"/>
                    <a:gd name="connsiteX484" fmla="*/ 1529853 w 2388669"/>
                    <a:gd name="connsiteY484" fmla="*/ 379402 h 866050"/>
                    <a:gd name="connsiteX485" fmla="*/ 1556919 w 2388669"/>
                    <a:gd name="connsiteY485" fmla="*/ 386171 h 866050"/>
                    <a:gd name="connsiteX486" fmla="*/ 1560139 w 2388669"/>
                    <a:gd name="connsiteY486" fmla="*/ 385820 h 866050"/>
                    <a:gd name="connsiteX487" fmla="*/ 1564520 w 2388669"/>
                    <a:gd name="connsiteY487" fmla="*/ 386066 h 866050"/>
                    <a:gd name="connsiteX488" fmla="*/ 1569052 w 2388669"/>
                    <a:gd name="connsiteY488" fmla="*/ 387062 h 866050"/>
                    <a:gd name="connsiteX489" fmla="*/ 1568396 w 2388669"/>
                    <a:gd name="connsiteY489" fmla="*/ 391828 h 866050"/>
                    <a:gd name="connsiteX490" fmla="*/ 1560139 w 2388669"/>
                    <a:gd name="connsiteY490" fmla="*/ 392952 h 866050"/>
                    <a:gd name="connsiteX491" fmla="*/ 1553347 w 2388669"/>
                    <a:gd name="connsiteY491" fmla="*/ 395189 h 866050"/>
                    <a:gd name="connsiteX492" fmla="*/ 1544340 w 2388669"/>
                    <a:gd name="connsiteY492" fmla="*/ 393281 h 866050"/>
                    <a:gd name="connsiteX493" fmla="*/ 1521948 w 2388669"/>
                    <a:gd name="connsiteY493" fmla="*/ 395904 h 866050"/>
                    <a:gd name="connsiteX494" fmla="*/ 1529853 w 2388669"/>
                    <a:gd name="connsiteY494" fmla="*/ 379402 h 866050"/>
                    <a:gd name="connsiteX495" fmla="*/ 1529853 w 2388669"/>
                    <a:gd name="connsiteY495" fmla="*/ 379402 h 866050"/>
                    <a:gd name="connsiteX496" fmla="*/ 2100919 w 2388669"/>
                    <a:gd name="connsiteY496" fmla="*/ 377013 h 866050"/>
                    <a:gd name="connsiteX497" fmla="*/ 2142261 w 2388669"/>
                    <a:gd name="connsiteY497" fmla="*/ 381885 h 866050"/>
                    <a:gd name="connsiteX498" fmla="*/ 2175100 w 2388669"/>
                    <a:gd name="connsiteY498" fmla="*/ 387963 h 866050"/>
                    <a:gd name="connsiteX499" fmla="*/ 2155975 w 2388669"/>
                    <a:gd name="connsiteY499" fmla="*/ 391524 h 866050"/>
                    <a:gd name="connsiteX500" fmla="*/ 2156690 w 2388669"/>
                    <a:gd name="connsiteY500" fmla="*/ 393093 h 866050"/>
                    <a:gd name="connsiteX501" fmla="*/ 2128078 w 2388669"/>
                    <a:gd name="connsiteY501" fmla="*/ 388736 h 866050"/>
                    <a:gd name="connsiteX502" fmla="*/ 2110265 w 2388669"/>
                    <a:gd name="connsiteY502" fmla="*/ 382260 h 866050"/>
                    <a:gd name="connsiteX503" fmla="*/ 2098073 w 2388669"/>
                    <a:gd name="connsiteY503" fmla="*/ 378114 h 866050"/>
                    <a:gd name="connsiteX504" fmla="*/ 2100919 w 2388669"/>
                    <a:gd name="connsiteY504" fmla="*/ 377013 h 866050"/>
                    <a:gd name="connsiteX505" fmla="*/ 2100919 w 2388669"/>
                    <a:gd name="connsiteY505" fmla="*/ 377013 h 866050"/>
                    <a:gd name="connsiteX506" fmla="*/ 556836 w 2388669"/>
                    <a:gd name="connsiteY506" fmla="*/ 371755 h 866050"/>
                    <a:gd name="connsiteX507" fmla="*/ 563266 w 2388669"/>
                    <a:gd name="connsiteY507" fmla="*/ 374952 h 866050"/>
                    <a:gd name="connsiteX508" fmla="*/ 565608 w 2388669"/>
                    <a:gd name="connsiteY508" fmla="*/ 382026 h 866050"/>
                    <a:gd name="connsiteX509" fmla="*/ 572436 w 2388669"/>
                    <a:gd name="connsiteY509" fmla="*/ 393093 h 866050"/>
                    <a:gd name="connsiteX510" fmla="*/ 582227 w 2388669"/>
                    <a:gd name="connsiteY510" fmla="*/ 422805 h 866050"/>
                    <a:gd name="connsiteX511" fmla="*/ 606774 w 2388669"/>
                    <a:gd name="connsiteY511" fmla="*/ 428684 h 866050"/>
                    <a:gd name="connsiteX512" fmla="*/ 595133 w 2388669"/>
                    <a:gd name="connsiteY512" fmla="*/ 444354 h 866050"/>
                    <a:gd name="connsiteX513" fmla="*/ 602546 w 2388669"/>
                    <a:gd name="connsiteY513" fmla="*/ 454438 h 866050"/>
                    <a:gd name="connsiteX514" fmla="*/ 582590 w 2388669"/>
                    <a:gd name="connsiteY514" fmla="*/ 448887 h 866050"/>
                    <a:gd name="connsiteX515" fmla="*/ 558347 w 2388669"/>
                    <a:gd name="connsiteY515" fmla="*/ 432409 h 866050"/>
                    <a:gd name="connsiteX516" fmla="*/ 559612 w 2388669"/>
                    <a:gd name="connsiteY516" fmla="*/ 422243 h 866050"/>
                    <a:gd name="connsiteX517" fmla="*/ 555208 w 2388669"/>
                    <a:gd name="connsiteY517" fmla="*/ 419678 h 866050"/>
                    <a:gd name="connsiteX518" fmla="*/ 554225 w 2388669"/>
                    <a:gd name="connsiteY518" fmla="*/ 415029 h 866050"/>
                    <a:gd name="connsiteX519" fmla="*/ 546331 w 2388669"/>
                    <a:gd name="connsiteY519" fmla="*/ 404524 h 866050"/>
                    <a:gd name="connsiteX520" fmla="*/ 534643 w 2388669"/>
                    <a:gd name="connsiteY520" fmla="*/ 404781 h 866050"/>
                    <a:gd name="connsiteX521" fmla="*/ 518305 w 2388669"/>
                    <a:gd name="connsiteY521" fmla="*/ 401678 h 866050"/>
                    <a:gd name="connsiteX522" fmla="*/ 531750 w 2388669"/>
                    <a:gd name="connsiteY522" fmla="*/ 384731 h 866050"/>
                    <a:gd name="connsiteX523" fmla="*/ 530439 w 2388669"/>
                    <a:gd name="connsiteY523" fmla="*/ 379648 h 866050"/>
                    <a:gd name="connsiteX524" fmla="*/ 535744 w 2388669"/>
                    <a:gd name="connsiteY524" fmla="*/ 375373 h 866050"/>
                    <a:gd name="connsiteX525" fmla="*/ 547807 w 2388669"/>
                    <a:gd name="connsiteY525" fmla="*/ 380421 h 866050"/>
                    <a:gd name="connsiteX526" fmla="*/ 553534 w 2388669"/>
                    <a:gd name="connsiteY526" fmla="*/ 387577 h 866050"/>
                    <a:gd name="connsiteX527" fmla="*/ 547432 w 2388669"/>
                    <a:gd name="connsiteY527" fmla="*/ 373968 h 866050"/>
                    <a:gd name="connsiteX528" fmla="*/ 556836 w 2388669"/>
                    <a:gd name="connsiteY528" fmla="*/ 371755 h 866050"/>
                    <a:gd name="connsiteX529" fmla="*/ 556836 w 2388669"/>
                    <a:gd name="connsiteY529" fmla="*/ 371755 h 866050"/>
                    <a:gd name="connsiteX530" fmla="*/ 1702060 w 2388669"/>
                    <a:gd name="connsiteY530" fmla="*/ 368768 h 866050"/>
                    <a:gd name="connsiteX531" fmla="*/ 1715575 w 2388669"/>
                    <a:gd name="connsiteY531" fmla="*/ 375842 h 866050"/>
                    <a:gd name="connsiteX532" fmla="*/ 1708197 w 2388669"/>
                    <a:gd name="connsiteY532" fmla="*/ 382073 h 866050"/>
                    <a:gd name="connsiteX533" fmla="*/ 1684504 w 2388669"/>
                    <a:gd name="connsiteY533" fmla="*/ 383689 h 866050"/>
                    <a:gd name="connsiteX534" fmla="*/ 1681073 w 2388669"/>
                    <a:gd name="connsiteY534" fmla="*/ 367901 h 866050"/>
                    <a:gd name="connsiteX535" fmla="*/ 1690606 w 2388669"/>
                    <a:gd name="connsiteY535" fmla="*/ 363908 h 866050"/>
                    <a:gd name="connsiteX536" fmla="*/ 1702060 w 2388669"/>
                    <a:gd name="connsiteY536" fmla="*/ 368768 h 866050"/>
                    <a:gd name="connsiteX537" fmla="*/ 1702060 w 2388669"/>
                    <a:gd name="connsiteY537" fmla="*/ 368768 h 866050"/>
                    <a:gd name="connsiteX538" fmla="*/ 1460568 w 2388669"/>
                    <a:gd name="connsiteY538" fmla="*/ 354340 h 866050"/>
                    <a:gd name="connsiteX539" fmla="*/ 1462184 w 2388669"/>
                    <a:gd name="connsiteY539" fmla="*/ 366824 h 866050"/>
                    <a:gd name="connsiteX540" fmla="*/ 1472432 w 2388669"/>
                    <a:gd name="connsiteY540" fmla="*/ 359692 h 866050"/>
                    <a:gd name="connsiteX541" fmla="*/ 1468965 w 2388669"/>
                    <a:gd name="connsiteY541" fmla="*/ 372914 h 866050"/>
                    <a:gd name="connsiteX542" fmla="*/ 1462770 w 2388669"/>
                    <a:gd name="connsiteY542" fmla="*/ 379238 h 866050"/>
                    <a:gd name="connsiteX543" fmla="*/ 1461915 w 2388669"/>
                    <a:gd name="connsiteY543" fmla="*/ 377189 h 866050"/>
                    <a:gd name="connsiteX544" fmla="*/ 1456914 w 2388669"/>
                    <a:gd name="connsiteY544" fmla="*/ 374812 h 866050"/>
                    <a:gd name="connsiteX545" fmla="*/ 1458788 w 2388669"/>
                    <a:gd name="connsiteY545" fmla="*/ 365770 h 866050"/>
                    <a:gd name="connsiteX546" fmla="*/ 1457675 w 2388669"/>
                    <a:gd name="connsiteY546" fmla="*/ 361893 h 866050"/>
                    <a:gd name="connsiteX547" fmla="*/ 1449723 w 2388669"/>
                    <a:gd name="connsiteY547" fmla="*/ 372809 h 866050"/>
                    <a:gd name="connsiteX548" fmla="*/ 1440471 w 2388669"/>
                    <a:gd name="connsiteY548" fmla="*/ 363767 h 866050"/>
                    <a:gd name="connsiteX549" fmla="*/ 1460568 w 2388669"/>
                    <a:gd name="connsiteY549" fmla="*/ 354340 h 866050"/>
                    <a:gd name="connsiteX550" fmla="*/ 1460568 w 2388669"/>
                    <a:gd name="connsiteY550" fmla="*/ 354340 h 866050"/>
                    <a:gd name="connsiteX551" fmla="*/ 193908 w 2388669"/>
                    <a:gd name="connsiteY551" fmla="*/ 343108 h 866050"/>
                    <a:gd name="connsiteX552" fmla="*/ 195009 w 2388669"/>
                    <a:gd name="connsiteY552" fmla="*/ 346434 h 866050"/>
                    <a:gd name="connsiteX553" fmla="*/ 193252 w 2388669"/>
                    <a:gd name="connsiteY553" fmla="*/ 345732 h 866050"/>
                    <a:gd name="connsiteX554" fmla="*/ 206802 w 2388669"/>
                    <a:gd name="connsiteY554" fmla="*/ 370021 h 866050"/>
                    <a:gd name="connsiteX555" fmla="*/ 204659 w 2388669"/>
                    <a:gd name="connsiteY555" fmla="*/ 368604 h 866050"/>
                    <a:gd name="connsiteX556" fmla="*/ 212494 w 2388669"/>
                    <a:gd name="connsiteY556" fmla="*/ 384731 h 866050"/>
                    <a:gd name="connsiteX557" fmla="*/ 210011 w 2388669"/>
                    <a:gd name="connsiteY557" fmla="*/ 378278 h 866050"/>
                    <a:gd name="connsiteX558" fmla="*/ 208617 w 2388669"/>
                    <a:gd name="connsiteY558" fmla="*/ 379004 h 866050"/>
                    <a:gd name="connsiteX559" fmla="*/ 197433 w 2388669"/>
                    <a:gd name="connsiteY559" fmla="*/ 384813 h 866050"/>
                    <a:gd name="connsiteX560" fmla="*/ 179596 w 2388669"/>
                    <a:gd name="connsiteY560" fmla="*/ 361577 h 866050"/>
                    <a:gd name="connsiteX561" fmla="*/ 179912 w 2388669"/>
                    <a:gd name="connsiteY561" fmla="*/ 346469 h 866050"/>
                    <a:gd name="connsiteX562" fmla="*/ 193908 w 2388669"/>
                    <a:gd name="connsiteY562" fmla="*/ 343108 h 866050"/>
                    <a:gd name="connsiteX563" fmla="*/ 193908 w 2388669"/>
                    <a:gd name="connsiteY563" fmla="*/ 343108 h 866050"/>
                    <a:gd name="connsiteX564" fmla="*/ 1863972 w 2388669"/>
                    <a:gd name="connsiteY564" fmla="*/ 342382 h 866050"/>
                    <a:gd name="connsiteX565" fmla="*/ 1858011 w 2388669"/>
                    <a:gd name="connsiteY565" fmla="*/ 360922 h 866050"/>
                    <a:gd name="connsiteX566" fmla="*/ 1852307 w 2388669"/>
                    <a:gd name="connsiteY566" fmla="*/ 350486 h 866050"/>
                    <a:gd name="connsiteX567" fmla="*/ 1853572 w 2388669"/>
                    <a:gd name="connsiteY567" fmla="*/ 343272 h 866050"/>
                    <a:gd name="connsiteX568" fmla="*/ 1863972 w 2388669"/>
                    <a:gd name="connsiteY568" fmla="*/ 342382 h 866050"/>
                    <a:gd name="connsiteX569" fmla="*/ 1863972 w 2388669"/>
                    <a:gd name="connsiteY569" fmla="*/ 342382 h 866050"/>
                    <a:gd name="connsiteX570" fmla="*/ 2098120 w 2388669"/>
                    <a:gd name="connsiteY570" fmla="*/ 328235 h 866050"/>
                    <a:gd name="connsiteX571" fmla="*/ 2107068 w 2388669"/>
                    <a:gd name="connsiteY571" fmla="*/ 329546 h 866050"/>
                    <a:gd name="connsiteX572" fmla="*/ 2116051 w 2388669"/>
                    <a:gd name="connsiteY572" fmla="*/ 332837 h 866050"/>
                    <a:gd name="connsiteX573" fmla="*/ 2125970 w 2388669"/>
                    <a:gd name="connsiteY573" fmla="*/ 335109 h 866050"/>
                    <a:gd name="connsiteX574" fmla="*/ 2134590 w 2388669"/>
                    <a:gd name="connsiteY574" fmla="*/ 344677 h 866050"/>
                    <a:gd name="connsiteX575" fmla="*/ 2141394 w 2388669"/>
                    <a:gd name="connsiteY575" fmla="*/ 348753 h 866050"/>
                    <a:gd name="connsiteX576" fmla="*/ 2144720 w 2388669"/>
                    <a:gd name="connsiteY576" fmla="*/ 354855 h 866050"/>
                    <a:gd name="connsiteX577" fmla="*/ 2119868 w 2388669"/>
                    <a:gd name="connsiteY577" fmla="*/ 353438 h 866050"/>
                    <a:gd name="connsiteX578" fmla="*/ 2116355 w 2388669"/>
                    <a:gd name="connsiteY578" fmla="*/ 338705 h 866050"/>
                    <a:gd name="connsiteX579" fmla="*/ 2111928 w 2388669"/>
                    <a:gd name="connsiteY579" fmla="*/ 339009 h 866050"/>
                    <a:gd name="connsiteX580" fmla="*/ 2101329 w 2388669"/>
                    <a:gd name="connsiteY580" fmla="*/ 333564 h 866050"/>
                    <a:gd name="connsiteX581" fmla="*/ 2101681 w 2388669"/>
                    <a:gd name="connsiteY581" fmla="*/ 336046 h 866050"/>
                    <a:gd name="connsiteX582" fmla="*/ 2098120 w 2388669"/>
                    <a:gd name="connsiteY582" fmla="*/ 328235 h 866050"/>
                    <a:gd name="connsiteX583" fmla="*/ 2098120 w 2388669"/>
                    <a:gd name="connsiteY583" fmla="*/ 328235 h 866050"/>
                    <a:gd name="connsiteX584" fmla="*/ 1942345 w 2388669"/>
                    <a:gd name="connsiteY584" fmla="*/ 312178 h 866050"/>
                    <a:gd name="connsiteX585" fmla="*/ 1973451 w 2388669"/>
                    <a:gd name="connsiteY585" fmla="*/ 320025 h 866050"/>
                    <a:gd name="connsiteX586" fmla="*/ 1996499 w 2388669"/>
                    <a:gd name="connsiteY586" fmla="*/ 332357 h 866050"/>
                    <a:gd name="connsiteX587" fmla="*/ 2032805 w 2388669"/>
                    <a:gd name="connsiteY587" fmla="*/ 339771 h 866050"/>
                    <a:gd name="connsiteX588" fmla="*/ 2035604 w 2388669"/>
                    <a:gd name="connsiteY588" fmla="*/ 359305 h 866050"/>
                    <a:gd name="connsiteX589" fmla="*/ 2032594 w 2388669"/>
                    <a:gd name="connsiteY589" fmla="*/ 378337 h 866050"/>
                    <a:gd name="connsiteX590" fmla="*/ 2028413 w 2388669"/>
                    <a:gd name="connsiteY590" fmla="*/ 381885 h 866050"/>
                    <a:gd name="connsiteX591" fmla="*/ 2031435 w 2388669"/>
                    <a:gd name="connsiteY591" fmla="*/ 395248 h 866050"/>
                    <a:gd name="connsiteX592" fmla="*/ 2033039 w 2388669"/>
                    <a:gd name="connsiteY592" fmla="*/ 415755 h 866050"/>
                    <a:gd name="connsiteX593" fmla="*/ 2041401 w 2388669"/>
                    <a:gd name="connsiteY593" fmla="*/ 426448 h 866050"/>
                    <a:gd name="connsiteX594" fmla="*/ 2046601 w 2388669"/>
                    <a:gd name="connsiteY594" fmla="*/ 439857 h 866050"/>
                    <a:gd name="connsiteX595" fmla="*/ 2049915 w 2388669"/>
                    <a:gd name="connsiteY595" fmla="*/ 435536 h 866050"/>
                    <a:gd name="connsiteX596" fmla="*/ 2052761 w 2388669"/>
                    <a:gd name="connsiteY596" fmla="*/ 424082 h 866050"/>
                    <a:gd name="connsiteX597" fmla="*/ 2051824 w 2388669"/>
                    <a:gd name="connsiteY597" fmla="*/ 422958 h 866050"/>
                    <a:gd name="connsiteX598" fmla="*/ 2068279 w 2388669"/>
                    <a:gd name="connsiteY598" fmla="*/ 445397 h 866050"/>
                    <a:gd name="connsiteX599" fmla="*/ 2074158 w 2388669"/>
                    <a:gd name="connsiteY599" fmla="*/ 463069 h 866050"/>
                    <a:gd name="connsiteX600" fmla="*/ 2096516 w 2388669"/>
                    <a:gd name="connsiteY600" fmla="*/ 470237 h 866050"/>
                    <a:gd name="connsiteX601" fmla="*/ 2106705 w 2388669"/>
                    <a:gd name="connsiteY601" fmla="*/ 462226 h 866050"/>
                    <a:gd name="connsiteX602" fmla="*/ 2113989 w 2388669"/>
                    <a:gd name="connsiteY602" fmla="*/ 458104 h 866050"/>
                    <a:gd name="connsiteX603" fmla="*/ 2114950 w 2388669"/>
                    <a:gd name="connsiteY603" fmla="*/ 454450 h 866050"/>
                    <a:gd name="connsiteX604" fmla="*/ 2126345 w 2388669"/>
                    <a:gd name="connsiteY604" fmla="*/ 441227 h 866050"/>
                    <a:gd name="connsiteX605" fmla="*/ 2142589 w 2388669"/>
                    <a:gd name="connsiteY605" fmla="*/ 426588 h 866050"/>
                    <a:gd name="connsiteX606" fmla="*/ 2155987 w 2388669"/>
                    <a:gd name="connsiteY606" fmla="*/ 408306 h 866050"/>
                    <a:gd name="connsiteX607" fmla="*/ 2178590 w 2388669"/>
                    <a:gd name="connsiteY607" fmla="*/ 405413 h 866050"/>
                    <a:gd name="connsiteX608" fmla="*/ 2190536 w 2388669"/>
                    <a:gd name="connsiteY608" fmla="*/ 398328 h 866050"/>
                    <a:gd name="connsiteX609" fmla="*/ 2190594 w 2388669"/>
                    <a:gd name="connsiteY609" fmla="*/ 386277 h 866050"/>
                    <a:gd name="connsiteX610" fmla="*/ 2216395 w 2388669"/>
                    <a:gd name="connsiteY610" fmla="*/ 373839 h 866050"/>
                    <a:gd name="connsiteX611" fmla="*/ 2234372 w 2388669"/>
                    <a:gd name="connsiteY611" fmla="*/ 376264 h 866050"/>
                    <a:gd name="connsiteX612" fmla="*/ 2264283 w 2388669"/>
                    <a:gd name="connsiteY612" fmla="*/ 386617 h 866050"/>
                    <a:gd name="connsiteX613" fmla="*/ 2274414 w 2388669"/>
                    <a:gd name="connsiteY613" fmla="*/ 394241 h 866050"/>
                    <a:gd name="connsiteX614" fmla="*/ 2288971 w 2388669"/>
                    <a:gd name="connsiteY614" fmla="*/ 398644 h 866050"/>
                    <a:gd name="connsiteX615" fmla="*/ 2321494 w 2388669"/>
                    <a:gd name="connsiteY615" fmla="*/ 414560 h 866050"/>
                    <a:gd name="connsiteX616" fmla="*/ 2345105 w 2388669"/>
                    <a:gd name="connsiteY616" fmla="*/ 415146 h 866050"/>
                    <a:gd name="connsiteX617" fmla="*/ 2355844 w 2388669"/>
                    <a:gd name="connsiteY617" fmla="*/ 419538 h 866050"/>
                    <a:gd name="connsiteX618" fmla="*/ 2371760 w 2388669"/>
                    <a:gd name="connsiteY618" fmla="*/ 422700 h 866050"/>
                    <a:gd name="connsiteX619" fmla="*/ 2373845 w 2388669"/>
                    <a:gd name="connsiteY619" fmla="*/ 430863 h 866050"/>
                    <a:gd name="connsiteX620" fmla="*/ 2387700 w 2388669"/>
                    <a:gd name="connsiteY620" fmla="*/ 429738 h 866050"/>
                    <a:gd name="connsiteX621" fmla="*/ 2387805 w 2388669"/>
                    <a:gd name="connsiteY621" fmla="*/ 545120 h 866050"/>
                    <a:gd name="connsiteX622" fmla="*/ 2387828 w 2388669"/>
                    <a:gd name="connsiteY622" fmla="*/ 597272 h 866050"/>
                    <a:gd name="connsiteX623" fmla="*/ 2384479 w 2388669"/>
                    <a:gd name="connsiteY623" fmla="*/ 630369 h 866050"/>
                    <a:gd name="connsiteX624" fmla="*/ 2381305 w 2388669"/>
                    <a:gd name="connsiteY624" fmla="*/ 643767 h 866050"/>
                    <a:gd name="connsiteX625" fmla="*/ 2384174 w 2388669"/>
                    <a:gd name="connsiteY625" fmla="*/ 650782 h 866050"/>
                    <a:gd name="connsiteX626" fmla="*/ 2387828 w 2388669"/>
                    <a:gd name="connsiteY626" fmla="*/ 662634 h 866050"/>
                    <a:gd name="connsiteX627" fmla="*/ 2387817 w 2388669"/>
                    <a:gd name="connsiteY627" fmla="*/ 770357 h 866050"/>
                    <a:gd name="connsiteX628" fmla="*/ 2363960 w 2388669"/>
                    <a:gd name="connsiteY628" fmla="*/ 746711 h 866050"/>
                    <a:gd name="connsiteX629" fmla="*/ 2347716 w 2388669"/>
                    <a:gd name="connsiteY629" fmla="*/ 732025 h 866050"/>
                    <a:gd name="connsiteX630" fmla="*/ 2335677 w 2388669"/>
                    <a:gd name="connsiteY630" fmla="*/ 721273 h 866050"/>
                    <a:gd name="connsiteX631" fmla="*/ 2338324 w 2388669"/>
                    <a:gd name="connsiteY631" fmla="*/ 716870 h 866050"/>
                    <a:gd name="connsiteX632" fmla="*/ 2344788 w 2388669"/>
                    <a:gd name="connsiteY632" fmla="*/ 706177 h 866050"/>
                    <a:gd name="connsiteX633" fmla="*/ 2337668 w 2388669"/>
                    <a:gd name="connsiteY633" fmla="*/ 716120 h 866050"/>
                    <a:gd name="connsiteX634" fmla="*/ 2315966 w 2388669"/>
                    <a:gd name="connsiteY634" fmla="*/ 719353 h 866050"/>
                    <a:gd name="connsiteX635" fmla="*/ 2299477 w 2388669"/>
                    <a:gd name="connsiteY635" fmla="*/ 721309 h 866050"/>
                    <a:gd name="connsiteX636" fmla="*/ 2296127 w 2388669"/>
                    <a:gd name="connsiteY636" fmla="*/ 711190 h 866050"/>
                    <a:gd name="connsiteX637" fmla="*/ 2299723 w 2388669"/>
                    <a:gd name="connsiteY637" fmla="*/ 710850 h 866050"/>
                    <a:gd name="connsiteX638" fmla="*/ 2296502 w 2388669"/>
                    <a:gd name="connsiteY638" fmla="*/ 714340 h 866050"/>
                    <a:gd name="connsiteX639" fmla="*/ 2282460 w 2388669"/>
                    <a:gd name="connsiteY639" fmla="*/ 726473 h 866050"/>
                    <a:gd name="connsiteX640" fmla="*/ 2276370 w 2388669"/>
                    <a:gd name="connsiteY640" fmla="*/ 718966 h 866050"/>
                    <a:gd name="connsiteX641" fmla="*/ 2280574 w 2388669"/>
                    <a:gd name="connsiteY641" fmla="*/ 716413 h 866050"/>
                    <a:gd name="connsiteX642" fmla="*/ 2280047 w 2388669"/>
                    <a:gd name="connsiteY642" fmla="*/ 712654 h 866050"/>
                    <a:gd name="connsiteX643" fmla="*/ 2280164 w 2388669"/>
                    <a:gd name="connsiteY643" fmla="*/ 707677 h 866050"/>
                    <a:gd name="connsiteX644" fmla="*/ 2282928 w 2388669"/>
                    <a:gd name="connsiteY644" fmla="*/ 706189 h 866050"/>
                    <a:gd name="connsiteX645" fmla="*/ 2285762 w 2388669"/>
                    <a:gd name="connsiteY645" fmla="*/ 697675 h 866050"/>
                    <a:gd name="connsiteX646" fmla="*/ 2287484 w 2388669"/>
                    <a:gd name="connsiteY646" fmla="*/ 687263 h 866050"/>
                    <a:gd name="connsiteX647" fmla="*/ 2281546 w 2388669"/>
                    <a:gd name="connsiteY647" fmla="*/ 684581 h 866050"/>
                    <a:gd name="connsiteX648" fmla="*/ 2277670 w 2388669"/>
                    <a:gd name="connsiteY648" fmla="*/ 677391 h 866050"/>
                    <a:gd name="connsiteX649" fmla="*/ 2267352 w 2388669"/>
                    <a:gd name="connsiteY649" fmla="*/ 670141 h 866050"/>
                    <a:gd name="connsiteX650" fmla="*/ 2297228 w 2388669"/>
                    <a:gd name="connsiteY650" fmla="*/ 667705 h 866050"/>
                    <a:gd name="connsiteX651" fmla="*/ 2281347 w 2388669"/>
                    <a:gd name="connsiteY651" fmla="*/ 667916 h 866050"/>
                    <a:gd name="connsiteX652" fmla="*/ 2262878 w 2388669"/>
                    <a:gd name="connsiteY652" fmla="*/ 654073 h 866050"/>
                    <a:gd name="connsiteX653" fmla="*/ 2281370 w 2388669"/>
                    <a:gd name="connsiteY653" fmla="*/ 651613 h 866050"/>
                    <a:gd name="connsiteX654" fmla="*/ 2294745 w 2388669"/>
                    <a:gd name="connsiteY654" fmla="*/ 658359 h 866050"/>
                    <a:gd name="connsiteX655" fmla="*/ 2275456 w 2388669"/>
                    <a:gd name="connsiteY655" fmla="*/ 649622 h 866050"/>
                    <a:gd name="connsiteX656" fmla="*/ 2275807 w 2388669"/>
                    <a:gd name="connsiteY656" fmla="*/ 644376 h 866050"/>
                    <a:gd name="connsiteX657" fmla="*/ 2252923 w 2388669"/>
                    <a:gd name="connsiteY657" fmla="*/ 619020 h 866050"/>
                    <a:gd name="connsiteX658" fmla="*/ 2253626 w 2388669"/>
                    <a:gd name="connsiteY658" fmla="*/ 598806 h 866050"/>
                    <a:gd name="connsiteX659" fmla="*/ 2240767 w 2388669"/>
                    <a:gd name="connsiteY659" fmla="*/ 595574 h 866050"/>
                    <a:gd name="connsiteX660" fmla="*/ 2251483 w 2388669"/>
                    <a:gd name="connsiteY660" fmla="*/ 590596 h 866050"/>
                    <a:gd name="connsiteX661" fmla="*/ 2236890 w 2388669"/>
                    <a:gd name="connsiteY661" fmla="*/ 593700 h 866050"/>
                    <a:gd name="connsiteX662" fmla="*/ 2238272 w 2388669"/>
                    <a:gd name="connsiteY662" fmla="*/ 583042 h 866050"/>
                    <a:gd name="connsiteX663" fmla="*/ 2235754 w 2388669"/>
                    <a:gd name="connsiteY663" fmla="*/ 576203 h 866050"/>
                    <a:gd name="connsiteX664" fmla="*/ 2233939 w 2388669"/>
                    <a:gd name="connsiteY664" fmla="*/ 577632 h 866050"/>
                    <a:gd name="connsiteX665" fmla="*/ 2228634 w 2388669"/>
                    <a:gd name="connsiteY665" fmla="*/ 572291 h 866050"/>
                    <a:gd name="connsiteX666" fmla="*/ 2222544 w 2388669"/>
                    <a:gd name="connsiteY666" fmla="*/ 568333 h 866050"/>
                    <a:gd name="connsiteX667" fmla="*/ 2209649 w 2388669"/>
                    <a:gd name="connsiteY667" fmla="*/ 561142 h 866050"/>
                    <a:gd name="connsiteX668" fmla="*/ 2199647 w 2388669"/>
                    <a:gd name="connsiteY668" fmla="*/ 556481 h 866050"/>
                    <a:gd name="connsiteX669" fmla="*/ 2196450 w 2388669"/>
                    <a:gd name="connsiteY669" fmla="*/ 555052 h 866050"/>
                    <a:gd name="connsiteX670" fmla="*/ 2194939 w 2388669"/>
                    <a:gd name="connsiteY670" fmla="*/ 551796 h 866050"/>
                    <a:gd name="connsiteX671" fmla="*/ 2188194 w 2388669"/>
                    <a:gd name="connsiteY671" fmla="*/ 552229 h 866050"/>
                    <a:gd name="connsiteX672" fmla="*/ 2185687 w 2388669"/>
                    <a:gd name="connsiteY672" fmla="*/ 549325 h 866050"/>
                    <a:gd name="connsiteX673" fmla="*/ 2179281 w 2388669"/>
                    <a:gd name="connsiteY673" fmla="*/ 548810 h 866050"/>
                    <a:gd name="connsiteX674" fmla="*/ 2172758 w 2388669"/>
                    <a:gd name="connsiteY674" fmla="*/ 551351 h 866050"/>
                    <a:gd name="connsiteX675" fmla="*/ 2169900 w 2388669"/>
                    <a:gd name="connsiteY675" fmla="*/ 548810 h 866050"/>
                    <a:gd name="connsiteX676" fmla="*/ 2151162 w 2388669"/>
                    <a:gd name="connsiteY676" fmla="*/ 540225 h 866050"/>
                    <a:gd name="connsiteX677" fmla="*/ 2135820 w 2388669"/>
                    <a:gd name="connsiteY677" fmla="*/ 535365 h 866050"/>
                    <a:gd name="connsiteX678" fmla="*/ 2124167 w 2388669"/>
                    <a:gd name="connsiteY678" fmla="*/ 528982 h 866050"/>
                    <a:gd name="connsiteX679" fmla="*/ 2089114 w 2388669"/>
                    <a:gd name="connsiteY679" fmla="*/ 526851 h 866050"/>
                    <a:gd name="connsiteX680" fmla="*/ 2070540 w 2388669"/>
                    <a:gd name="connsiteY680" fmla="*/ 516392 h 866050"/>
                    <a:gd name="connsiteX681" fmla="*/ 2060725 w 2388669"/>
                    <a:gd name="connsiteY681" fmla="*/ 509986 h 866050"/>
                    <a:gd name="connsiteX682" fmla="*/ 2057961 w 2388669"/>
                    <a:gd name="connsiteY682" fmla="*/ 509447 h 866050"/>
                    <a:gd name="connsiteX683" fmla="*/ 2059988 w 2388669"/>
                    <a:gd name="connsiteY683" fmla="*/ 506109 h 866050"/>
                    <a:gd name="connsiteX684" fmla="*/ 2060585 w 2388669"/>
                    <a:gd name="connsiteY684" fmla="*/ 499691 h 866050"/>
                    <a:gd name="connsiteX685" fmla="*/ 2074381 w 2388669"/>
                    <a:gd name="connsiteY685" fmla="*/ 499527 h 866050"/>
                    <a:gd name="connsiteX686" fmla="*/ 2057341 w 2388669"/>
                    <a:gd name="connsiteY686" fmla="*/ 499773 h 866050"/>
                    <a:gd name="connsiteX687" fmla="*/ 2048100 w 2388669"/>
                    <a:gd name="connsiteY687" fmla="*/ 501718 h 866050"/>
                    <a:gd name="connsiteX688" fmla="*/ 2041296 w 2388669"/>
                    <a:gd name="connsiteY688" fmla="*/ 495979 h 866050"/>
                    <a:gd name="connsiteX689" fmla="*/ 2039879 w 2388669"/>
                    <a:gd name="connsiteY689" fmla="*/ 499937 h 866050"/>
                    <a:gd name="connsiteX690" fmla="*/ 2031271 w 2388669"/>
                    <a:gd name="connsiteY690" fmla="*/ 497759 h 866050"/>
                    <a:gd name="connsiteX691" fmla="*/ 2030545 w 2388669"/>
                    <a:gd name="connsiteY691" fmla="*/ 489526 h 866050"/>
                    <a:gd name="connsiteX692" fmla="*/ 2026902 w 2388669"/>
                    <a:gd name="connsiteY692" fmla="*/ 492278 h 866050"/>
                    <a:gd name="connsiteX693" fmla="*/ 2018915 w 2388669"/>
                    <a:gd name="connsiteY693" fmla="*/ 487980 h 866050"/>
                    <a:gd name="connsiteX694" fmla="*/ 2014980 w 2388669"/>
                    <a:gd name="connsiteY694" fmla="*/ 488296 h 866050"/>
                    <a:gd name="connsiteX695" fmla="*/ 2008398 w 2388669"/>
                    <a:gd name="connsiteY695" fmla="*/ 485731 h 866050"/>
                    <a:gd name="connsiteX696" fmla="*/ 2005189 w 2388669"/>
                    <a:gd name="connsiteY696" fmla="*/ 475566 h 866050"/>
                    <a:gd name="connsiteX697" fmla="*/ 2008281 w 2388669"/>
                    <a:gd name="connsiteY697" fmla="*/ 472005 h 866050"/>
                    <a:gd name="connsiteX698" fmla="*/ 2007766 w 2388669"/>
                    <a:gd name="connsiteY698" fmla="*/ 461887 h 866050"/>
                    <a:gd name="connsiteX699" fmla="*/ 2008750 w 2388669"/>
                    <a:gd name="connsiteY699" fmla="*/ 462706 h 866050"/>
                    <a:gd name="connsiteX700" fmla="*/ 2020215 w 2388669"/>
                    <a:gd name="connsiteY700" fmla="*/ 456581 h 866050"/>
                    <a:gd name="connsiteX701" fmla="*/ 2014371 w 2388669"/>
                    <a:gd name="connsiteY701" fmla="*/ 447189 h 866050"/>
                    <a:gd name="connsiteX702" fmla="*/ 2006079 w 2388669"/>
                    <a:gd name="connsiteY702" fmla="*/ 459603 h 866050"/>
                    <a:gd name="connsiteX703" fmla="*/ 1998537 w 2388669"/>
                    <a:gd name="connsiteY703" fmla="*/ 470354 h 866050"/>
                    <a:gd name="connsiteX704" fmla="*/ 1997319 w 2388669"/>
                    <a:gd name="connsiteY704" fmla="*/ 473446 h 866050"/>
                    <a:gd name="connsiteX705" fmla="*/ 1998959 w 2388669"/>
                    <a:gd name="connsiteY705" fmla="*/ 482721 h 866050"/>
                    <a:gd name="connsiteX706" fmla="*/ 1993068 w 2388669"/>
                    <a:gd name="connsiteY706" fmla="*/ 488331 h 866050"/>
                    <a:gd name="connsiteX707" fmla="*/ 1994297 w 2388669"/>
                    <a:gd name="connsiteY707" fmla="*/ 493461 h 866050"/>
                    <a:gd name="connsiteX708" fmla="*/ 1991990 w 2388669"/>
                    <a:gd name="connsiteY708" fmla="*/ 498837 h 866050"/>
                    <a:gd name="connsiteX709" fmla="*/ 1981508 w 2388669"/>
                    <a:gd name="connsiteY709" fmla="*/ 506882 h 866050"/>
                    <a:gd name="connsiteX710" fmla="*/ 1970675 w 2388669"/>
                    <a:gd name="connsiteY710" fmla="*/ 508733 h 866050"/>
                    <a:gd name="connsiteX711" fmla="*/ 1961107 w 2388669"/>
                    <a:gd name="connsiteY711" fmla="*/ 498567 h 866050"/>
                    <a:gd name="connsiteX712" fmla="*/ 1962641 w 2388669"/>
                    <a:gd name="connsiteY712" fmla="*/ 499586 h 866050"/>
                    <a:gd name="connsiteX713" fmla="*/ 1958320 w 2388669"/>
                    <a:gd name="connsiteY713" fmla="*/ 483939 h 866050"/>
                    <a:gd name="connsiteX714" fmla="*/ 1967138 w 2388669"/>
                    <a:gd name="connsiteY714" fmla="*/ 480391 h 866050"/>
                    <a:gd name="connsiteX715" fmla="*/ 1962688 w 2388669"/>
                    <a:gd name="connsiteY715" fmla="*/ 474078 h 866050"/>
                    <a:gd name="connsiteX716" fmla="*/ 1962103 w 2388669"/>
                    <a:gd name="connsiteY716" fmla="*/ 465892 h 866050"/>
                    <a:gd name="connsiteX717" fmla="*/ 1957640 w 2388669"/>
                    <a:gd name="connsiteY717" fmla="*/ 465552 h 866050"/>
                    <a:gd name="connsiteX718" fmla="*/ 1952628 w 2388669"/>
                    <a:gd name="connsiteY718" fmla="*/ 464850 h 866050"/>
                    <a:gd name="connsiteX719" fmla="*/ 1949431 w 2388669"/>
                    <a:gd name="connsiteY719" fmla="*/ 458045 h 866050"/>
                    <a:gd name="connsiteX720" fmla="*/ 1929381 w 2388669"/>
                    <a:gd name="connsiteY720" fmla="*/ 446263 h 866050"/>
                    <a:gd name="connsiteX721" fmla="*/ 1925117 w 2388669"/>
                    <a:gd name="connsiteY721" fmla="*/ 447306 h 866050"/>
                    <a:gd name="connsiteX722" fmla="*/ 1918313 w 2388669"/>
                    <a:gd name="connsiteY722" fmla="*/ 446954 h 866050"/>
                    <a:gd name="connsiteX723" fmla="*/ 1920820 w 2388669"/>
                    <a:gd name="connsiteY723" fmla="*/ 443031 h 866050"/>
                    <a:gd name="connsiteX724" fmla="*/ 1919039 w 2388669"/>
                    <a:gd name="connsiteY724" fmla="*/ 442305 h 866050"/>
                    <a:gd name="connsiteX725" fmla="*/ 1921897 w 2388669"/>
                    <a:gd name="connsiteY725" fmla="*/ 440337 h 866050"/>
                    <a:gd name="connsiteX726" fmla="*/ 1917376 w 2388669"/>
                    <a:gd name="connsiteY726" fmla="*/ 439564 h 866050"/>
                    <a:gd name="connsiteX727" fmla="*/ 1929029 w 2388669"/>
                    <a:gd name="connsiteY727" fmla="*/ 436262 h 866050"/>
                    <a:gd name="connsiteX728" fmla="*/ 1925340 w 2388669"/>
                    <a:gd name="connsiteY728" fmla="*/ 435969 h 866050"/>
                    <a:gd name="connsiteX729" fmla="*/ 1941244 w 2388669"/>
                    <a:gd name="connsiteY729" fmla="*/ 434798 h 866050"/>
                    <a:gd name="connsiteX730" fmla="*/ 1941923 w 2388669"/>
                    <a:gd name="connsiteY730" fmla="*/ 434798 h 866050"/>
                    <a:gd name="connsiteX731" fmla="*/ 1941537 w 2388669"/>
                    <a:gd name="connsiteY731" fmla="*/ 437292 h 866050"/>
                    <a:gd name="connsiteX732" fmla="*/ 1951937 w 2388669"/>
                    <a:gd name="connsiteY732" fmla="*/ 437082 h 866050"/>
                    <a:gd name="connsiteX733" fmla="*/ 1958730 w 2388669"/>
                    <a:gd name="connsiteY733" fmla="*/ 440174 h 866050"/>
                    <a:gd name="connsiteX734" fmla="*/ 1966342 w 2388669"/>
                    <a:gd name="connsiteY734" fmla="*/ 432608 h 866050"/>
                    <a:gd name="connsiteX735" fmla="*/ 1988746 w 2388669"/>
                    <a:gd name="connsiteY735" fmla="*/ 424785 h 866050"/>
                    <a:gd name="connsiteX736" fmla="*/ 1991580 w 2388669"/>
                    <a:gd name="connsiteY736" fmla="*/ 433709 h 866050"/>
                    <a:gd name="connsiteX737" fmla="*/ 1992752 w 2388669"/>
                    <a:gd name="connsiteY737" fmla="*/ 433650 h 866050"/>
                    <a:gd name="connsiteX738" fmla="*/ 1995551 w 2388669"/>
                    <a:gd name="connsiteY738" fmla="*/ 424421 h 866050"/>
                    <a:gd name="connsiteX739" fmla="*/ 1995234 w 2388669"/>
                    <a:gd name="connsiteY739" fmla="*/ 431940 h 866050"/>
                    <a:gd name="connsiteX740" fmla="*/ 1997038 w 2388669"/>
                    <a:gd name="connsiteY740" fmla="*/ 425382 h 866050"/>
                    <a:gd name="connsiteX741" fmla="*/ 1998783 w 2388669"/>
                    <a:gd name="connsiteY741" fmla="*/ 429188 h 866050"/>
                    <a:gd name="connsiteX742" fmla="*/ 2007321 w 2388669"/>
                    <a:gd name="connsiteY742" fmla="*/ 435864 h 866050"/>
                    <a:gd name="connsiteX743" fmla="*/ 2008925 w 2388669"/>
                    <a:gd name="connsiteY743" fmla="*/ 425136 h 866050"/>
                    <a:gd name="connsiteX744" fmla="*/ 2014043 w 2388669"/>
                    <a:gd name="connsiteY744" fmla="*/ 432549 h 866050"/>
                    <a:gd name="connsiteX745" fmla="*/ 2014488 w 2388669"/>
                    <a:gd name="connsiteY745" fmla="*/ 423321 h 866050"/>
                    <a:gd name="connsiteX746" fmla="*/ 2010377 w 2388669"/>
                    <a:gd name="connsiteY746" fmla="*/ 421681 h 866050"/>
                    <a:gd name="connsiteX747" fmla="*/ 2019114 w 2388669"/>
                    <a:gd name="connsiteY747" fmla="*/ 423321 h 866050"/>
                    <a:gd name="connsiteX748" fmla="*/ 2016912 w 2388669"/>
                    <a:gd name="connsiteY748" fmla="*/ 419877 h 866050"/>
                    <a:gd name="connsiteX749" fmla="*/ 2024150 w 2388669"/>
                    <a:gd name="connsiteY749" fmla="*/ 418683 h 866050"/>
                    <a:gd name="connsiteX750" fmla="*/ 2018388 w 2388669"/>
                    <a:gd name="connsiteY750" fmla="*/ 417371 h 866050"/>
                    <a:gd name="connsiteX751" fmla="*/ 2021984 w 2388669"/>
                    <a:gd name="connsiteY751" fmla="*/ 415439 h 866050"/>
                    <a:gd name="connsiteX752" fmla="*/ 2016959 w 2388669"/>
                    <a:gd name="connsiteY752" fmla="*/ 416211 h 866050"/>
                    <a:gd name="connsiteX753" fmla="*/ 2021281 w 2388669"/>
                    <a:gd name="connsiteY753" fmla="*/ 409033 h 866050"/>
                    <a:gd name="connsiteX754" fmla="*/ 2020168 w 2388669"/>
                    <a:gd name="connsiteY754" fmla="*/ 412722 h 866050"/>
                    <a:gd name="connsiteX755" fmla="*/ 2021281 w 2388669"/>
                    <a:gd name="connsiteY755" fmla="*/ 407241 h 866050"/>
                    <a:gd name="connsiteX756" fmla="*/ 2018564 w 2388669"/>
                    <a:gd name="connsiteY756" fmla="*/ 407557 h 866050"/>
                    <a:gd name="connsiteX757" fmla="*/ 2020777 w 2388669"/>
                    <a:gd name="connsiteY757" fmla="*/ 404008 h 866050"/>
                    <a:gd name="connsiteX758" fmla="*/ 2002683 w 2388669"/>
                    <a:gd name="connsiteY758" fmla="*/ 410789 h 866050"/>
                    <a:gd name="connsiteX759" fmla="*/ 2002683 w 2388669"/>
                    <a:gd name="connsiteY759" fmla="*/ 407955 h 866050"/>
                    <a:gd name="connsiteX760" fmla="*/ 1998010 w 2388669"/>
                    <a:gd name="connsiteY760" fmla="*/ 409021 h 866050"/>
                    <a:gd name="connsiteX761" fmla="*/ 1998572 w 2388669"/>
                    <a:gd name="connsiteY761" fmla="*/ 410192 h 866050"/>
                    <a:gd name="connsiteX762" fmla="*/ 1978182 w 2388669"/>
                    <a:gd name="connsiteY762" fmla="*/ 410965 h 866050"/>
                    <a:gd name="connsiteX763" fmla="*/ 1963356 w 2388669"/>
                    <a:gd name="connsiteY763" fmla="*/ 411398 h 866050"/>
                    <a:gd name="connsiteX764" fmla="*/ 1954642 w 2388669"/>
                    <a:gd name="connsiteY764" fmla="*/ 413670 h 866050"/>
                    <a:gd name="connsiteX765" fmla="*/ 1949981 w 2388669"/>
                    <a:gd name="connsiteY765" fmla="*/ 408341 h 866050"/>
                    <a:gd name="connsiteX766" fmla="*/ 1935189 w 2388669"/>
                    <a:gd name="connsiteY766" fmla="*/ 412054 h 866050"/>
                    <a:gd name="connsiteX767" fmla="*/ 1924544 w 2388669"/>
                    <a:gd name="connsiteY767" fmla="*/ 404371 h 866050"/>
                    <a:gd name="connsiteX768" fmla="*/ 1926183 w 2388669"/>
                    <a:gd name="connsiteY768" fmla="*/ 398293 h 866050"/>
                    <a:gd name="connsiteX769" fmla="*/ 1916439 w 2388669"/>
                    <a:gd name="connsiteY769" fmla="*/ 392625 h 866050"/>
                    <a:gd name="connsiteX770" fmla="*/ 1920526 w 2388669"/>
                    <a:gd name="connsiteY770" fmla="*/ 381838 h 866050"/>
                    <a:gd name="connsiteX771" fmla="*/ 1920820 w 2388669"/>
                    <a:gd name="connsiteY771" fmla="*/ 381487 h 866050"/>
                    <a:gd name="connsiteX772" fmla="*/ 1918629 w 2388669"/>
                    <a:gd name="connsiteY772" fmla="*/ 374331 h 866050"/>
                    <a:gd name="connsiteX773" fmla="*/ 1913301 w 2388669"/>
                    <a:gd name="connsiteY773" fmla="*/ 376135 h 866050"/>
                    <a:gd name="connsiteX774" fmla="*/ 1913488 w 2388669"/>
                    <a:gd name="connsiteY774" fmla="*/ 374952 h 866050"/>
                    <a:gd name="connsiteX775" fmla="*/ 1909389 w 2388669"/>
                    <a:gd name="connsiteY775" fmla="*/ 377915 h 866050"/>
                    <a:gd name="connsiteX776" fmla="*/ 1908663 w 2388669"/>
                    <a:gd name="connsiteY776" fmla="*/ 372188 h 866050"/>
                    <a:gd name="connsiteX777" fmla="*/ 1905091 w 2388669"/>
                    <a:gd name="connsiteY777" fmla="*/ 373265 h 866050"/>
                    <a:gd name="connsiteX778" fmla="*/ 1891857 w 2388669"/>
                    <a:gd name="connsiteY778" fmla="*/ 372188 h 866050"/>
                    <a:gd name="connsiteX779" fmla="*/ 1881844 w 2388669"/>
                    <a:gd name="connsiteY779" fmla="*/ 365735 h 866050"/>
                    <a:gd name="connsiteX780" fmla="*/ 1877674 w 2388669"/>
                    <a:gd name="connsiteY780" fmla="*/ 373078 h 866050"/>
                    <a:gd name="connsiteX781" fmla="*/ 1869745 w 2388669"/>
                    <a:gd name="connsiteY781" fmla="*/ 369904 h 866050"/>
                    <a:gd name="connsiteX782" fmla="*/ 1866232 w 2388669"/>
                    <a:gd name="connsiteY782" fmla="*/ 366812 h 866050"/>
                    <a:gd name="connsiteX783" fmla="*/ 1877932 w 2388669"/>
                    <a:gd name="connsiteY783" fmla="*/ 354703 h 866050"/>
                    <a:gd name="connsiteX784" fmla="*/ 1882593 w 2388669"/>
                    <a:gd name="connsiteY784" fmla="*/ 341785 h 866050"/>
                    <a:gd name="connsiteX785" fmla="*/ 1895804 w 2388669"/>
                    <a:gd name="connsiteY785" fmla="*/ 332486 h 866050"/>
                    <a:gd name="connsiteX786" fmla="*/ 1894351 w 2388669"/>
                    <a:gd name="connsiteY786" fmla="*/ 335004 h 866050"/>
                    <a:gd name="connsiteX787" fmla="*/ 1909190 w 2388669"/>
                    <a:gd name="connsiteY787" fmla="*/ 331197 h 866050"/>
                    <a:gd name="connsiteX788" fmla="*/ 1919742 w 2388669"/>
                    <a:gd name="connsiteY788" fmla="*/ 322847 h 866050"/>
                    <a:gd name="connsiteX789" fmla="*/ 1942345 w 2388669"/>
                    <a:gd name="connsiteY789" fmla="*/ 312178 h 866050"/>
                    <a:gd name="connsiteX790" fmla="*/ 1942345 w 2388669"/>
                    <a:gd name="connsiteY790" fmla="*/ 312178 h 866050"/>
                    <a:gd name="connsiteX791" fmla="*/ 1691695 w 2388669"/>
                    <a:gd name="connsiteY791" fmla="*/ 315739 h 866050"/>
                    <a:gd name="connsiteX792" fmla="*/ 1692655 w 2388669"/>
                    <a:gd name="connsiteY792" fmla="*/ 330132 h 866050"/>
                    <a:gd name="connsiteX793" fmla="*/ 1705034 w 2388669"/>
                    <a:gd name="connsiteY793" fmla="*/ 335917 h 866050"/>
                    <a:gd name="connsiteX794" fmla="*/ 1693018 w 2388669"/>
                    <a:gd name="connsiteY794" fmla="*/ 335086 h 866050"/>
                    <a:gd name="connsiteX795" fmla="*/ 1683274 w 2388669"/>
                    <a:gd name="connsiteY795" fmla="*/ 336749 h 866050"/>
                    <a:gd name="connsiteX796" fmla="*/ 1682267 w 2388669"/>
                    <a:gd name="connsiteY796" fmla="*/ 327216 h 866050"/>
                    <a:gd name="connsiteX797" fmla="*/ 1676669 w 2388669"/>
                    <a:gd name="connsiteY797" fmla="*/ 322484 h 866050"/>
                    <a:gd name="connsiteX798" fmla="*/ 1675240 w 2388669"/>
                    <a:gd name="connsiteY798" fmla="*/ 311803 h 866050"/>
                    <a:gd name="connsiteX799" fmla="*/ 1680511 w 2388669"/>
                    <a:gd name="connsiteY799" fmla="*/ 313548 h 866050"/>
                    <a:gd name="connsiteX800" fmla="*/ 1682759 w 2388669"/>
                    <a:gd name="connsiteY800" fmla="*/ 315305 h 866050"/>
                    <a:gd name="connsiteX801" fmla="*/ 1684094 w 2388669"/>
                    <a:gd name="connsiteY801" fmla="*/ 311944 h 866050"/>
                    <a:gd name="connsiteX802" fmla="*/ 1691695 w 2388669"/>
                    <a:gd name="connsiteY802" fmla="*/ 315739 h 866050"/>
                    <a:gd name="connsiteX803" fmla="*/ 1691695 w 2388669"/>
                    <a:gd name="connsiteY803" fmla="*/ 315739 h 866050"/>
                    <a:gd name="connsiteX804" fmla="*/ 1858221 w 2388669"/>
                    <a:gd name="connsiteY804" fmla="*/ 294271 h 866050"/>
                    <a:gd name="connsiteX805" fmla="*/ 1870319 w 2388669"/>
                    <a:gd name="connsiteY805" fmla="*/ 296215 h 866050"/>
                    <a:gd name="connsiteX806" fmla="*/ 1869652 w 2388669"/>
                    <a:gd name="connsiteY806" fmla="*/ 297469 h 866050"/>
                    <a:gd name="connsiteX807" fmla="*/ 1879571 w 2388669"/>
                    <a:gd name="connsiteY807" fmla="*/ 301275 h 866050"/>
                    <a:gd name="connsiteX808" fmla="*/ 1885392 w 2388669"/>
                    <a:gd name="connsiteY808" fmla="*/ 309098 h 866050"/>
                    <a:gd name="connsiteX809" fmla="*/ 1881129 w 2388669"/>
                    <a:gd name="connsiteY809" fmla="*/ 312143 h 866050"/>
                    <a:gd name="connsiteX810" fmla="*/ 1868598 w 2388669"/>
                    <a:gd name="connsiteY810" fmla="*/ 313209 h 866050"/>
                    <a:gd name="connsiteX811" fmla="*/ 1858291 w 2388669"/>
                    <a:gd name="connsiteY811" fmla="*/ 306955 h 866050"/>
                    <a:gd name="connsiteX812" fmla="*/ 1847201 w 2388669"/>
                    <a:gd name="connsiteY812" fmla="*/ 298921 h 866050"/>
                    <a:gd name="connsiteX813" fmla="*/ 1849344 w 2388669"/>
                    <a:gd name="connsiteY813" fmla="*/ 299998 h 866050"/>
                    <a:gd name="connsiteX814" fmla="*/ 1855481 w 2388669"/>
                    <a:gd name="connsiteY814" fmla="*/ 309578 h 866050"/>
                    <a:gd name="connsiteX815" fmla="*/ 1863257 w 2388669"/>
                    <a:gd name="connsiteY815" fmla="*/ 311054 h 866050"/>
                    <a:gd name="connsiteX816" fmla="*/ 1851124 w 2388669"/>
                    <a:gd name="connsiteY816" fmla="*/ 309262 h 866050"/>
                    <a:gd name="connsiteX817" fmla="*/ 1844671 w 2388669"/>
                    <a:gd name="connsiteY817" fmla="*/ 313560 h 866050"/>
                    <a:gd name="connsiteX818" fmla="*/ 1845596 w 2388669"/>
                    <a:gd name="connsiteY818" fmla="*/ 313162 h 866050"/>
                    <a:gd name="connsiteX819" fmla="*/ 1843781 w 2388669"/>
                    <a:gd name="connsiteY819" fmla="*/ 316816 h 866050"/>
                    <a:gd name="connsiteX820" fmla="*/ 1842294 w 2388669"/>
                    <a:gd name="connsiteY820" fmla="*/ 309531 h 866050"/>
                    <a:gd name="connsiteX821" fmla="*/ 1838230 w 2388669"/>
                    <a:gd name="connsiteY821" fmla="*/ 308922 h 866050"/>
                    <a:gd name="connsiteX822" fmla="*/ 1826542 w 2388669"/>
                    <a:gd name="connsiteY822" fmla="*/ 304542 h 866050"/>
                    <a:gd name="connsiteX823" fmla="*/ 1837632 w 2388669"/>
                    <a:gd name="connsiteY823" fmla="*/ 303781 h 866050"/>
                    <a:gd name="connsiteX824" fmla="*/ 1835372 w 2388669"/>
                    <a:gd name="connsiteY824" fmla="*/ 303195 h 866050"/>
                    <a:gd name="connsiteX825" fmla="*/ 1836415 w 2388669"/>
                    <a:gd name="connsiteY825" fmla="*/ 300712 h 866050"/>
                    <a:gd name="connsiteX826" fmla="*/ 1834716 w 2388669"/>
                    <a:gd name="connsiteY826" fmla="*/ 302188 h 866050"/>
                    <a:gd name="connsiteX827" fmla="*/ 1832854 w 2388669"/>
                    <a:gd name="connsiteY827" fmla="*/ 301380 h 866050"/>
                    <a:gd name="connsiteX828" fmla="*/ 1833217 w 2388669"/>
                    <a:gd name="connsiteY828" fmla="*/ 303922 h 866050"/>
                    <a:gd name="connsiteX829" fmla="*/ 1832854 w 2388669"/>
                    <a:gd name="connsiteY829" fmla="*/ 298218 h 866050"/>
                    <a:gd name="connsiteX830" fmla="*/ 1834447 w 2388669"/>
                    <a:gd name="connsiteY830" fmla="*/ 300420 h 866050"/>
                    <a:gd name="connsiteX831" fmla="*/ 1833920 w 2388669"/>
                    <a:gd name="connsiteY831" fmla="*/ 298218 h 866050"/>
                    <a:gd name="connsiteX832" fmla="*/ 1837515 w 2388669"/>
                    <a:gd name="connsiteY832" fmla="*/ 299635 h 866050"/>
                    <a:gd name="connsiteX833" fmla="*/ 1837176 w 2388669"/>
                    <a:gd name="connsiteY833" fmla="*/ 298218 h 866050"/>
                    <a:gd name="connsiteX834" fmla="*/ 1844355 w 2388669"/>
                    <a:gd name="connsiteY834" fmla="*/ 297867 h 866050"/>
                    <a:gd name="connsiteX835" fmla="*/ 1856113 w 2388669"/>
                    <a:gd name="connsiteY835" fmla="*/ 296415 h 866050"/>
                    <a:gd name="connsiteX836" fmla="*/ 1854321 w 2388669"/>
                    <a:gd name="connsiteY836" fmla="*/ 295700 h 866050"/>
                    <a:gd name="connsiteX837" fmla="*/ 1858221 w 2388669"/>
                    <a:gd name="connsiteY837" fmla="*/ 294271 h 866050"/>
                    <a:gd name="connsiteX838" fmla="*/ 1858221 w 2388669"/>
                    <a:gd name="connsiteY838" fmla="*/ 294271 h 866050"/>
                    <a:gd name="connsiteX839" fmla="*/ 388319 w 2388669"/>
                    <a:gd name="connsiteY839" fmla="*/ 242049 h 866050"/>
                    <a:gd name="connsiteX840" fmla="*/ 409154 w 2388669"/>
                    <a:gd name="connsiteY840" fmla="*/ 251864 h 866050"/>
                    <a:gd name="connsiteX841" fmla="*/ 395814 w 2388669"/>
                    <a:gd name="connsiteY841" fmla="*/ 252695 h 866050"/>
                    <a:gd name="connsiteX842" fmla="*/ 382686 w 2388669"/>
                    <a:gd name="connsiteY842" fmla="*/ 253082 h 866050"/>
                    <a:gd name="connsiteX843" fmla="*/ 377884 w 2388669"/>
                    <a:gd name="connsiteY843" fmla="*/ 245598 h 866050"/>
                    <a:gd name="connsiteX844" fmla="*/ 379594 w 2388669"/>
                    <a:gd name="connsiteY844" fmla="*/ 239660 h 866050"/>
                    <a:gd name="connsiteX845" fmla="*/ 380671 w 2388669"/>
                    <a:gd name="connsiteY845" fmla="*/ 234859 h 866050"/>
                    <a:gd name="connsiteX846" fmla="*/ 388319 w 2388669"/>
                    <a:gd name="connsiteY846" fmla="*/ 242049 h 866050"/>
                    <a:gd name="connsiteX847" fmla="*/ 388319 w 2388669"/>
                    <a:gd name="connsiteY847" fmla="*/ 242049 h 866050"/>
                    <a:gd name="connsiteX848" fmla="*/ 113391 w 2388669"/>
                    <a:gd name="connsiteY848" fmla="*/ 214855 h 866050"/>
                    <a:gd name="connsiteX849" fmla="*/ 128956 w 2388669"/>
                    <a:gd name="connsiteY849" fmla="*/ 230877 h 866050"/>
                    <a:gd name="connsiteX850" fmla="*/ 139859 w 2388669"/>
                    <a:gd name="connsiteY850" fmla="*/ 238735 h 866050"/>
                    <a:gd name="connsiteX851" fmla="*/ 140878 w 2388669"/>
                    <a:gd name="connsiteY851" fmla="*/ 249990 h 866050"/>
                    <a:gd name="connsiteX852" fmla="*/ 135280 w 2388669"/>
                    <a:gd name="connsiteY852" fmla="*/ 264302 h 866050"/>
                    <a:gd name="connsiteX853" fmla="*/ 129506 w 2388669"/>
                    <a:gd name="connsiteY853" fmla="*/ 260589 h 866050"/>
                    <a:gd name="connsiteX854" fmla="*/ 123229 w 2388669"/>
                    <a:gd name="connsiteY854" fmla="*/ 248807 h 866050"/>
                    <a:gd name="connsiteX855" fmla="*/ 117127 w 2388669"/>
                    <a:gd name="connsiteY855" fmla="*/ 244626 h 866050"/>
                    <a:gd name="connsiteX856" fmla="*/ 114293 w 2388669"/>
                    <a:gd name="connsiteY856" fmla="*/ 244614 h 866050"/>
                    <a:gd name="connsiteX857" fmla="*/ 114105 w 2388669"/>
                    <a:gd name="connsiteY857" fmla="*/ 240960 h 866050"/>
                    <a:gd name="connsiteX858" fmla="*/ 97440 w 2388669"/>
                    <a:gd name="connsiteY858" fmla="*/ 221344 h 866050"/>
                    <a:gd name="connsiteX859" fmla="*/ 104596 w 2388669"/>
                    <a:gd name="connsiteY859" fmla="*/ 220336 h 866050"/>
                    <a:gd name="connsiteX860" fmla="*/ 113391 w 2388669"/>
                    <a:gd name="connsiteY860" fmla="*/ 214855 h 866050"/>
                    <a:gd name="connsiteX861" fmla="*/ 113391 w 2388669"/>
                    <a:gd name="connsiteY861" fmla="*/ 214855 h 866050"/>
                    <a:gd name="connsiteX862" fmla="*/ 1557633 w 2388669"/>
                    <a:gd name="connsiteY862" fmla="*/ 206716 h 866050"/>
                    <a:gd name="connsiteX863" fmla="*/ 1565855 w 2388669"/>
                    <a:gd name="connsiteY863" fmla="*/ 217947 h 866050"/>
                    <a:gd name="connsiteX864" fmla="*/ 1559074 w 2388669"/>
                    <a:gd name="connsiteY864" fmla="*/ 224611 h 866050"/>
                    <a:gd name="connsiteX865" fmla="*/ 1551157 w 2388669"/>
                    <a:gd name="connsiteY865" fmla="*/ 239977 h 866050"/>
                    <a:gd name="connsiteX866" fmla="*/ 1532254 w 2388669"/>
                    <a:gd name="connsiteY866" fmla="*/ 261491 h 866050"/>
                    <a:gd name="connsiteX867" fmla="*/ 1524501 w 2388669"/>
                    <a:gd name="connsiteY867" fmla="*/ 270485 h 866050"/>
                    <a:gd name="connsiteX868" fmla="*/ 1504767 w 2388669"/>
                    <a:gd name="connsiteY868" fmla="*/ 275439 h 866050"/>
                    <a:gd name="connsiteX869" fmla="*/ 1488957 w 2388669"/>
                    <a:gd name="connsiteY869" fmla="*/ 277887 h 866050"/>
                    <a:gd name="connsiteX870" fmla="*/ 1472256 w 2388669"/>
                    <a:gd name="connsiteY870" fmla="*/ 278133 h 866050"/>
                    <a:gd name="connsiteX871" fmla="*/ 1456469 w 2388669"/>
                    <a:gd name="connsiteY871" fmla="*/ 270157 h 866050"/>
                    <a:gd name="connsiteX872" fmla="*/ 1446467 w 2388669"/>
                    <a:gd name="connsiteY872" fmla="*/ 268752 h 866050"/>
                    <a:gd name="connsiteX873" fmla="*/ 1431793 w 2388669"/>
                    <a:gd name="connsiteY873" fmla="*/ 266749 h 866050"/>
                    <a:gd name="connsiteX874" fmla="*/ 1403345 w 2388669"/>
                    <a:gd name="connsiteY874" fmla="*/ 268998 h 866050"/>
                    <a:gd name="connsiteX875" fmla="*/ 1386750 w 2388669"/>
                    <a:gd name="connsiteY875" fmla="*/ 271727 h 866050"/>
                    <a:gd name="connsiteX876" fmla="*/ 1377147 w 2388669"/>
                    <a:gd name="connsiteY876" fmla="*/ 265285 h 866050"/>
                    <a:gd name="connsiteX877" fmla="*/ 1365506 w 2388669"/>
                    <a:gd name="connsiteY877" fmla="*/ 269232 h 866050"/>
                    <a:gd name="connsiteX878" fmla="*/ 1350901 w 2388669"/>
                    <a:gd name="connsiteY878" fmla="*/ 272816 h 866050"/>
                    <a:gd name="connsiteX879" fmla="*/ 1335442 w 2388669"/>
                    <a:gd name="connsiteY879" fmla="*/ 269068 h 866050"/>
                    <a:gd name="connsiteX880" fmla="*/ 1313190 w 2388669"/>
                    <a:gd name="connsiteY880" fmla="*/ 269127 h 866050"/>
                    <a:gd name="connsiteX881" fmla="*/ 1293351 w 2388669"/>
                    <a:gd name="connsiteY881" fmla="*/ 304987 h 866050"/>
                    <a:gd name="connsiteX882" fmla="*/ 1297192 w 2388669"/>
                    <a:gd name="connsiteY882" fmla="*/ 324733 h 866050"/>
                    <a:gd name="connsiteX883" fmla="*/ 1306292 w 2388669"/>
                    <a:gd name="connsiteY883" fmla="*/ 340368 h 866050"/>
                    <a:gd name="connsiteX884" fmla="*/ 1313823 w 2388669"/>
                    <a:gd name="connsiteY884" fmla="*/ 341082 h 866050"/>
                    <a:gd name="connsiteX885" fmla="*/ 1323590 w 2388669"/>
                    <a:gd name="connsiteY885" fmla="*/ 354293 h 866050"/>
                    <a:gd name="connsiteX886" fmla="*/ 1326916 w 2388669"/>
                    <a:gd name="connsiteY886" fmla="*/ 364049 h 866050"/>
                    <a:gd name="connsiteX887" fmla="*/ 1336906 w 2388669"/>
                    <a:gd name="connsiteY887" fmla="*/ 363990 h 866050"/>
                    <a:gd name="connsiteX888" fmla="*/ 1345666 w 2388669"/>
                    <a:gd name="connsiteY888" fmla="*/ 366379 h 866050"/>
                    <a:gd name="connsiteX889" fmla="*/ 1355083 w 2388669"/>
                    <a:gd name="connsiteY889" fmla="*/ 360230 h 866050"/>
                    <a:gd name="connsiteX890" fmla="*/ 1375882 w 2388669"/>
                    <a:gd name="connsiteY890" fmla="*/ 338248 h 866050"/>
                    <a:gd name="connsiteX891" fmla="*/ 1378084 w 2388669"/>
                    <a:gd name="connsiteY891" fmla="*/ 335836 h 866050"/>
                    <a:gd name="connsiteX892" fmla="*/ 1380239 w 2388669"/>
                    <a:gd name="connsiteY892" fmla="*/ 339642 h 866050"/>
                    <a:gd name="connsiteX893" fmla="*/ 1393051 w 2388669"/>
                    <a:gd name="connsiteY893" fmla="*/ 343811 h 866050"/>
                    <a:gd name="connsiteX894" fmla="*/ 1404646 w 2388669"/>
                    <a:gd name="connsiteY894" fmla="*/ 341492 h 866050"/>
                    <a:gd name="connsiteX895" fmla="*/ 1406145 w 2388669"/>
                    <a:gd name="connsiteY895" fmla="*/ 336304 h 866050"/>
                    <a:gd name="connsiteX896" fmla="*/ 1415608 w 2388669"/>
                    <a:gd name="connsiteY896" fmla="*/ 333727 h 866050"/>
                    <a:gd name="connsiteX897" fmla="*/ 1448013 w 2388669"/>
                    <a:gd name="connsiteY897" fmla="*/ 332193 h 866050"/>
                    <a:gd name="connsiteX898" fmla="*/ 1436255 w 2388669"/>
                    <a:gd name="connsiteY898" fmla="*/ 327895 h 866050"/>
                    <a:gd name="connsiteX899" fmla="*/ 1473228 w 2388669"/>
                    <a:gd name="connsiteY899" fmla="*/ 331362 h 866050"/>
                    <a:gd name="connsiteX900" fmla="*/ 1464175 w 2388669"/>
                    <a:gd name="connsiteY900" fmla="*/ 348531 h 866050"/>
                    <a:gd name="connsiteX901" fmla="*/ 1458191 w 2388669"/>
                    <a:gd name="connsiteY901" fmla="*/ 340965 h 866050"/>
                    <a:gd name="connsiteX902" fmla="*/ 1450578 w 2388669"/>
                    <a:gd name="connsiteY902" fmla="*/ 340719 h 866050"/>
                    <a:gd name="connsiteX903" fmla="*/ 1438668 w 2388669"/>
                    <a:gd name="connsiteY903" fmla="*/ 345954 h 866050"/>
                    <a:gd name="connsiteX904" fmla="*/ 1433971 w 2388669"/>
                    <a:gd name="connsiteY904" fmla="*/ 352536 h 866050"/>
                    <a:gd name="connsiteX905" fmla="*/ 1419086 w 2388669"/>
                    <a:gd name="connsiteY905" fmla="*/ 369518 h 866050"/>
                    <a:gd name="connsiteX906" fmla="*/ 1398626 w 2388669"/>
                    <a:gd name="connsiteY906" fmla="*/ 378747 h 866050"/>
                    <a:gd name="connsiteX907" fmla="*/ 1390721 w 2388669"/>
                    <a:gd name="connsiteY907" fmla="*/ 381253 h 866050"/>
                    <a:gd name="connsiteX908" fmla="*/ 1384748 w 2388669"/>
                    <a:gd name="connsiteY908" fmla="*/ 390493 h 866050"/>
                    <a:gd name="connsiteX909" fmla="*/ 1368738 w 2388669"/>
                    <a:gd name="connsiteY909" fmla="*/ 388678 h 866050"/>
                    <a:gd name="connsiteX910" fmla="*/ 1363526 w 2388669"/>
                    <a:gd name="connsiteY910" fmla="*/ 397953 h 866050"/>
                    <a:gd name="connsiteX911" fmla="*/ 1366735 w 2388669"/>
                    <a:gd name="connsiteY911" fmla="*/ 393691 h 866050"/>
                    <a:gd name="connsiteX912" fmla="*/ 1373376 w 2388669"/>
                    <a:gd name="connsiteY912" fmla="*/ 401151 h 866050"/>
                    <a:gd name="connsiteX913" fmla="*/ 1376854 w 2388669"/>
                    <a:gd name="connsiteY913" fmla="*/ 407299 h 866050"/>
                    <a:gd name="connsiteX914" fmla="*/ 1383319 w 2388669"/>
                    <a:gd name="connsiteY914" fmla="*/ 408623 h 866050"/>
                    <a:gd name="connsiteX915" fmla="*/ 1398907 w 2388669"/>
                    <a:gd name="connsiteY915" fmla="*/ 430511 h 866050"/>
                    <a:gd name="connsiteX916" fmla="*/ 1405067 w 2388669"/>
                    <a:gd name="connsiteY916" fmla="*/ 438885 h 866050"/>
                    <a:gd name="connsiteX917" fmla="*/ 1408745 w 2388669"/>
                    <a:gd name="connsiteY917" fmla="*/ 444085 h 866050"/>
                    <a:gd name="connsiteX918" fmla="*/ 1413230 w 2388669"/>
                    <a:gd name="connsiteY918" fmla="*/ 445303 h 866050"/>
                    <a:gd name="connsiteX919" fmla="*/ 1412047 w 2388669"/>
                    <a:gd name="connsiteY919" fmla="*/ 450726 h 866050"/>
                    <a:gd name="connsiteX920" fmla="*/ 1420362 w 2388669"/>
                    <a:gd name="connsiteY920" fmla="*/ 456593 h 866050"/>
                    <a:gd name="connsiteX921" fmla="*/ 1422576 w 2388669"/>
                    <a:gd name="connsiteY921" fmla="*/ 458502 h 866050"/>
                    <a:gd name="connsiteX922" fmla="*/ 1417868 w 2388669"/>
                    <a:gd name="connsiteY922" fmla="*/ 463058 h 866050"/>
                    <a:gd name="connsiteX923" fmla="*/ 1413546 w 2388669"/>
                    <a:gd name="connsiteY923" fmla="*/ 467696 h 866050"/>
                    <a:gd name="connsiteX924" fmla="*/ 1417657 w 2388669"/>
                    <a:gd name="connsiteY924" fmla="*/ 473540 h 866050"/>
                    <a:gd name="connsiteX925" fmla="*/ 1411052 w 2388669"/>
                    <a:gd name="connsiteY925" fmla="*/ 470260 h 866050"/>
                    <a:gd name="connsiteX926" fmla="*/ 1408639 w 2388669"/>
                    <a:gd name="connsiteY926" fmla="*/ 479524 h 866050"/>
                    <a:gd name="connsiteX927" fmla="*/ 1416720 w 2388669"/>
                    <a:gd name="connsiteY927" fmla="*/ 488647 h 866050"/>
                    <a:gd name="connsiteX928" fmla="*/ 1422260 w 2388669"/>
                    <a:gd name="connsiteY928" fmla="*/ 491154 h 866050"/>
                    <a:gd name="connsiteX929" fmla="*/ 1431137 w 2388669"/>
                    <a:gd name="connsiteY929" fmla="*/ 496764 h 866050"/>
                    <a:gd name="connsiteX930" fmla="*/ 1426745 w 2388669"/>
                    <a:gd name="connsiteY930" fmla="*/ 501612 h 866050"/>
                    <a:gd name="connsiteX931" fmla="*/ 1435025 w 2388669"/>
                    <a:gd name="connsiteY931" fmla="*/ 508885 h 866050"/>
                    <a:gd name="connsiteX932" fmla="*/ 1441841 w 2388669"/>
                    <a:gd name="connsiteY932" fmla="*/ 509588 h 866050"/>
                    <a:gd name="connsiteX933" fmla="*/ 1438351 w 2388669"/>
                    <a:gd name="connsiteY933" fmla="*/ 505371 h 866050"/>
                    <a:gd name="connsiteX934" fmla="*/ 1441841 w 2388669"/>
                    <a:gd name="connsiteY934" fmla="*/ 525750 h 866050"/>
                    <a:gd name="connsiteX935" fmla="*/ 1432870 w 2388669"/>
                    <a:gd name="connsiteY935" fmla="*/ 519296 h 866050"/>
                    <a:gd name="connsiteX936" fmla="*/ 1434428 w 2388669"/>
                    <a:gd name="connsiteY936" fmla="*/ 526464 h 866050"/>
                    <a:gd name="connsiteX937" fmla="*/ 1433983 w 2388669"/>
                    <a:gd name="connsiteY937" fmla="*/ 528150 h 866050"/>
                    <a:gd name="connsiteX938" fmla="*/ 1409881 w 2388669"/>
                    <a:gd name="connsiteY938" fmla="*/ 527424 h 866050"/>
                    <a:gd name="connsiteX939" fmla="*/ 1404646 w 2388669"/>
                    <a:gd name="connsiteY939" fmla="*/ 544699 h 866050"/>
                    <a:gd name="connsiteX940" fmla="*/ 1379548 w 2388669"/>
                    <a:gd name="connsiteY940" fmla="*/ 543797 h 866050"/>
                    <a:gd name="connsiteX941" fmla="*/ 1370764 w 2388669"/>
                    <a:gd name="connsiteY941" fmla="*/ 533784 h 866050"/>
                    <a:gd name="connsiteX942" fmla="*/ 1374945 w 2388669"/>
                    <a:gd name="connsiteY942" fmla="*/ 514635 h 866050"/>
                    <a:gd name="connsiteX943" fmla="*/ 1374594 w 2388669"/>
                    <a:gd name="connsiteY943" fmla="*/ 516053 h 866050"/>
                    <a:gd name="connsiteX944" fmla="*/ 1369195 w 2388669"/>
                    <a:gd name="connsiteY944" fmla="*/ 503018 h 866050"/>
                    <a:gd name="connsiteX945" fmla="*/ 1359088 w 2388669"/>
                    <a:gd name="connsiteY945" fmla="*/ 497806 h 866050"/>
                    <a:gd name="connsiteX946" fmla="*/ 1342399 w 2388669"/>
                    <a:gd name="connsiteY946" fmla="*/ 480777 h 866050"/>
                    <a:gd name="connsiteX947" fmla="*/ 1344085 w 2388669"/>
                    <a:gd name="connsiteY947" fmla="*/ 465564 h 866050"/>
                    <a:gd name="connsiteX948" fmla="*/ 1348477 w 2388669"/>
                    <a:gd name="connsiteY948" fmla="*/ 454298 h 866050"/>
                    <a:gd name="connsiteX949" fmla="*/ 1347470 w 2388669"/>
                    <a:gd name="connsiteY949" fmla="*/ 440946 h 866050"/>
                    <a:gd name="connsiteX950" fmla="*/ 1349941 w 2388669"/>
                    <a:gd name="connsiteY950" fmla="*/ 438054 h 866050"/>
                    <a:gd name="connsiteX951" fmla="*/ 1329914 w 2388669"/>
                    <a:gd name="connsiteY951" fmla="*/ 431952 h 866050"/>
                    <a:gd name="connsiteX952" fmla="*/ 1304207 w 2388669"/>
                    <a:gd name="connsiteY952" fmla="*/ 448430 h 866050"/>
                    <a:gd name="connsiteX953" fmla="*/ 1307897 w 2388669"/>
                    <a:gd name="connsiteY953" fmla="*/ 457389 h 866050"/>
                    <a:gd name="connsiteX954" fmla="*/ 1315802 w 2388669"/>
                    <a:gd name="connsiteY954" fmla="*/ 464018 h 866050"/>
                    <a:gd name="connsiteX955" fmla="*/ 1314923 w 2388669"/>
                    <a:gd name="connsiteY955" fmla="*/ 492278 h 866050"/>
                    <a:gd name="connsiteX956" fmla="*/ 1313705 w 2388669"/>
                    <a:gd name="connsiteY956" fmla="*/ 526159 h 866050"/>
                    <a:gd name="connsiteX957" fmla="*/ 1316879 w 2388669"/>
                    <a:gd name="connsiteY957" fmla="*/ 537168 h 866050"/>
                    <a:gd name="connsiteX958" fmla="*/ 1314209 w 2388669"/>
                    <a:gd name="connsiteY958" fmla="*/ 544629 h 866050"/>
                    <a:gd name="connsiteX959" fmla="*/ 1310391 w 2388669"/>
                    <a:gd name="connsiteY959" fmla="*/ 547264 h 866050"/>
                    <a:gd name="connsiteX960" fmla="*/ 1310708 w 2388669"/>
                    <a:gd name="connsiteY960" fmla="*/ 569188 h 866050"/>
                    <a:gd name="connsiteX961" fmla="*/ 1317477 w 2388669"/>
                    <a:gd name="connsiteY961" fmla="*/ 587891 h 866050"/>
                    <a:gd name="connsiteX962" fmla="*/ 1306995 w 2388669"/>
                    <a:gd name="connsiteY962" fmla="*/ 583312 h 866050"/>
                    <a:gd name="connsiteX963" fmla="*/ 1299757 w 2388669"/>
                    <a:gd name="connsiteY963" fmla="*/ 585888 h 866050"/>
                    <a:gd name="connsiteX964" fmla="*/ 1292191 w 2388669"/>
                    <a:gd name="connsiteY964" fmla="*/ 584612 h 866050"/>
                    <a:gd name="connsiteX965" fmla="*/ 1281686 w 2388669"/>
                    <a:gd name="connsiteY965" fmla="*/ 591814 h 866050"/>
                    <a:gd name="connsiteX966" fmla="*/ 1271146 w 2388669"/>
                    <a:gd name="connsiteY966" fmla="*/ 589460 h 866050"/>
                    <a:gd name="connsiteX967" fmla="*/ 1265934 w 2388669"/>
                    <a:gd name="connsiteY967" fmla="*/ 586286 h 866050"/>
                    <a:gd name="connsiteX968" fmla="*/ 1260840 w 2388669"/>
                    <a:gd name="connsiteY968" fmla="*/ 567911 h 866050"/>
                    <a:gd name="connsiteX969" fmla="*/ 1268230 w 2388669"/>
                    <a:gd name="connsiteY969" fmla="*/ 546807 h 866050"/>
                    <a:gd name="connsiteX970" fmla="*/ 1270268 w 2388669"/>
                    <a:gd name="connsiteY970" fmla="*/ 535997 h 866050"/>
                    <a:gd name="connsiteX971" fmla="*/ 1274050 w 2388669"/>
                    <a:gd name="connsiteY971" fmla="*/ 518781 h 866050"/>
                    <a:gd name="connsiteX972" fmla="*/ 1275163 w 2388669"/>
                    <a:gd name="connsiteY972" fmla="*/ 501706 h 866050"/>
                    <a:gd name="connsiteX973" fmla="*/ 1272364 w 2388669"/>
                    <a:gd name="connsiteY973" fmla="*/ 504247 h 866050"/>
                    <a:gd name="connsiteX974" fmla="*/ 1265513 w 2388669"/>
                    <a:gd name="connsiteY974" fmla="*/ 486411 h 866050"/>
                    <a:gd name="connsiteX975" fmla="*/ 1265243 w 2388669"/>
                    <a:gd name="connsiteY975" fmla="*/ 475238 h 866050"/>
                    <a:gd name="connsiteX976" fmla="*/ 1241645 w 2388669"/>
                    <a:gd name="connsiteY976" fmla="*/ 479875 h 866050"/>
                    <a:gd name="connsiteX977" fmla="*/ 1233669 w 2388669"/>
                    <a:gd name="connsiteY977" fmla="*/ 471326 h 866050"/>
                    <a:gd name="connsiteX978" fmla="*/ 1229933 w 2388669"/>
                    <a:gd name="connsiteY978" fmla="*/ 457881 h 866050"/>
                    <a:gd name="connsiteX979" fmla="*/ 1233962 w 2388669"/>
                    <a:gd name="connsiteY979" fmla="*/ 449238 h 866050"/>
                    <a:gd name="connsiteX980" fmla="*/ 1229511 w 2388669"/>
                    <a:gd name="connsiteY980" fmla="*/ 443465 h 866050"/>
                    <a:gd name="connsiteX981" fmla="*/ 1230331 w 2388669"/>
                    <a:gd name="connsiteY981" fmla="*/ 432994 h 866050"/>
                    <a:gd name="connsiteX982" fmla="*/ 1240169 w 2388669"/>
                    <a:gd name="connsiteY982" fmla="*/ 429914 h 866050"/>
                    <a:gd name="connsiteX983" fmla="*/ 1251107 w 2388669"/>
                    <a:gd name="connsiteY983" fmla="*/ 404781 h 866050"/>
                    <a:gd name="connsiteX984" fmla="*/ 1254820 w 2388669"/>
                    <a:gd name="connsiteY984" fmla="*/ 396806 h 866050"/>
                    <a:gd name="connsiteX985" fmla="*/ 1259715 w 2388669"/>
                    <a:gd name="connsiteY985" fmla="*/ 395705 h 866050"/>
                    <a:gd name="connsiteX986" fmla="*/ 1257513 w 2388669"/>
                    <a:gd name="connsiteY986" fmla="*/ 382541 h 866050"/>
                    <a:gd name="connsiteX987" fmla="*/ 1256869 w 2388669"/>
                    <a:gd name="connsiteY987" fmla="*/ 366824 h 866050"/>
                    <a:gd name="connsiteX988" fmla="*/ 1260008 w 2388669"/>
                    <a:gd name="connsiteY988" fmla="*/ 355885 h 866050"/>
                    <a:gd name="connsiteX989" fmla="*/ 1264810 w 2388669"/>
                    <a:gd name="connsiteY989" fmla="*/ 351740 h 866050"/>
                    <a:gd name="connsiteX990" fmla="*/ 1267257 w 2388669"/>
                    <a:gd name="connsiteY990" fmla="*/ 343108 h 866050"/>
                    <a:gd name="connsiteX991" fmla="*/ 1276990 w 2388669"/>
                    <a:gd name="connsiteY991" fmla="*/ 332556 h 866050"/>
                    <a:gd name="connsiteX992" fmla="*/ 1279672 w 2388669"/>
                    <a:gd name="connsiteY992" fmla="*/ 327192 h 866050"/>
                    <a:gd name="connsiteX993" fmla="*/ 1285563 w 2388669"/>
                    <a:gd name="connsiteY993" fmla="*/ 339735 h 866050"/>
                    <a:gd name="connsiteX994" fmla="*/ 1282120 w 2388669"/>
                    <a:gd name="connsiteY994" fmla="*/ 322918 h 866050"/>
                    <a:gd name="connsiteX995" fmla="*/ 1282729 w 2388669"/>
                    <a:gd name="connsiteY995" fmla="*/ 299682 h 866050"/>
                    <a:gd name="connsiteX996" fmla="*/ 1274507 w 2388669"/>
                    <a:gd name="connsiteY996" fmla="*/ 293580 h 866050"/>
                    <a:gd name="connsiteX997" fmla="*/ 1276276 w 2388669"/>
                    <a:gd name="connsiteY997" fmla="*/ 294318 h 866050"/>
                    <a:gd name="connsiteX998" fmla="*/ 1276638 w 2388669"/>
                    <a:gd name="connsiteY998" fmla="*/ 292538 h 866050"/>
                    <a:gd name="connsiteX999" fmla="*/ 1286254 w 2388669"/>
                    <a:gd name="connsiteY999" fmla="*/ 287982 h 866050"/>
                    <a:gd name="connsiteX1000" fmla="*/ 1282846 w 2388669"/>
                    <a:gd name="connsiteY1000" fmla="*/ 281061 h 866050"/>
                    <a:gd name="connsiteX1001" fmla="*/ 1286207 w 2388669"/>
                    <a:gd name="connsiteY1001" fmla="*/ 277477 h 866050"/>
                    <a:gd name="connsiteX1002" fmla="*/ 1289592 w 2388669"/>
                    <a:gd name="connsiteY1002" fmla="*/ 269021 h 866050"/>
                    <a:gd name="connsiteX1003" fmla="*/ 1294733 w 2388669"/>
                    <a:gd name="connsiteY1003" fmla="*/ 267475 h 866050"/>
                    <a:gd name="connsiteX1004" fmla="*/ 1295236 w 2388669"/>
                    <a:gd name="connsiteY1004" fmla="*/ 261865 h 866050"/>
                    <a:gd name="connsiteX1005" fmla="*/ 1298645 w 2388669"/>
                    <a:gd name="connsiteY1005" fmla="*/ 254967 h 866050"/>
                    <a:gd name="connsiteX1006" fmla="*/ 1304629 w 2388669"/>
                    <a:gd name="connsiteY1006" fmla="*/ 252285 h 866050"/>
                    <a:gd name="connsiteX1007" fmla="*/ 1306702 w 2388669"/>
                    <a:gd name="connsiteY1007" fmla="*/ 244509 h 866050"/>
                    <a:gd name="connsiteX1008" fmla="*/ 1311632 w 2388669"/>
                    <a:gd name="connsiteY1008" fmla="*/ 249486 h 866050"/>
                    <a:gd name="connsiteX1009" fmla="*/ 1321997 w 2388669"/>
                    <a:gd name="connsiteY1009" fmla="*/ 252765 h 866050"/>
                    <a:gd name="connsiteX1010" fmla="*/ 1330968 w 2388669"/>
                    <a:gd name="connsiteY1010" fmla="*/ 242998 h 866050"/>
                    <a:gd name="connsiteX1011" fmla="*/ 1335770 w 2388669"/>
                    <a:gd name="connsiteY1011" fmla="*/ 233465 h 866050"/>
                    <a:gd name="connsiteX1012" fmla="*/ 1340994 w 2388669"/>
                    <a:gd name="connsiteY1012" fmla="*/ 223498 h 866050"/>
                    <a:gd name="connsiteX1013" fmla="*/ 1340958 w 2388669"/>
                    <a:gd name="connsiteY1013" fmla="*/ 225700 h 866050"/>
                    <a:gd name="connsiteX1014" fmla="*/ 1360915 w 2388669"/>
                    <a:gd name="connsiteY1014" fmla="*/ 229342 h 866050"/>
                    <a:gd name="connsiteX1015" fmla="*/ 1368153 w 2388669"/>
                    <a:gd name="connsiteY1015" fmla="*/ 229799 h 866050"/>
                    <a:gd name="connsiteX1016" fmla="*/ 1375285 w 2388669"/>
                    <a:gd name="connsiteY1016" fmla="*/ 238454 h 866050"/>
                    <a:gd name="connsiteX1017" fmla="*/ 1386329 w 2388669"/>
                    <a:gd name="connsiteY1017" fmla="*/ 237752 h 866050"/>
                    <a:gd name="connsiteX1018" fmla="*/ 1394023 w 2388669"/>
                    <a:gd name="connsiteY1018" fmla="*/ 236791 h 866050"/>
                    <a:gd name="connsiteX1019" fmla="*/ 1395956 w 2388669"/>
                    <a:gd name="connsiteY1019" fmla="*/ 239988 h 866050"/>
                    <a:gd name="connsiteX1020" fmla="*/ 1414999 w 2388669"/>
                    <a:gd name="connsiteY1020" fmla="*/ 240668 h 866050"/>
                    <a:gd name="connsiteX1021" fmla="*/ 1430985 w 2388669"/>
                    <a:gd name="connsiteY1021" fmla="*/ 243876 h 866050"/>
                    <a:gd name="connsiteX1022" fmla="*/ 1438609 w 2388669"/>
                    <a:gd name="connsiteY1022" fmla="*/ 249463 h 866050"/>
                    <a:gd name="connsiteX1023" fmla="*/ 1447849 w 2388669"/>
                    <a:gd name="connsiteY1023" fmla="*/ 244778 h 866050"/>
                    <a:gd name="connsiteX1024" fmla="*/ 1459983 w 2388669"/>
                    <a:gd name="connsiteY1024" fmla="*/ 245703 h 866050"/>
                    <a:gd name="connsiteX1025" fmla="*/ 1459760 w 2388669"/>
                    <a:gd name="connsiteY1025" fmla="*/ 243326 h 866050"/>
                    <a:gd name="connsiteX1026" fmla="*/ 1498935 w 2388669"/>
                    <a:gd name="connsiteY1026" fmla="*/ 249311 h 866050"/>
                    <a:gd name="connsiteX1027" fmla="*/ 1512146 w 2388669"/>
                    <a:gd name="connsiteY1027" fmla="*/ 242822 h 866050"/>
                    <a:gd name="connsiteX1028" fmla="*/ 1518622 w 2388669"/>
                    <a:gd name="connsiteY1028" fmla="*/ 239977 h 866050"/>
                    <a:gd name="connsiteX1029" fmla="*/ 1521410 w 2388669"/>
                    <a:gd name="connsiteY1029" fmla="*/ 232962 h 866050"/>
                    <a:gd name="connsiteX1030" fmla="*/ 1531434 w 2388669"/>
                    <a:gd name="connsiteY1030" fmla="*/ 231450 h 866050"/>
                    <a:gd name="connsiteX1031" fmla="*/ 1530064 w 2388669"/>
                    <a:gd name="connsiteY1031" fmla="*/ 226883 h 866050"/>
                    <a:gd name="connsiteX1032" fmla="*/ 1539281 w 2388669"/>
                    <a:gd name="connsiteY1032" fmla="*/ 220816 h 866050"/>
                    <a:gd name="connsiteX1033" fmla="*/ 1545840 w 2388669"/>
                    <a:gd name="connsiteY1033" fmla="*/ 214914 h 866050"/>
                    <a:gd name="connsiteX1034" fmla="*/ 1546250 w 2388669"/>
                    <a:gd name="connsiteY1034" fmla="*/ 210897 h 866050"/>
                    <a:gd name="connsiteX1035" fmla="*/ 1552715 w 2388669"/>
                    <a:gd name="connsiteY1035" fmla="*/ 206774 h 866050"/>
                    <a:gd name="connsiteX1036" fmla="*/ 1557633 w 2388669"/>
                    <a:gd name="connsiteY1036" fmla="*/ 206716 h 866050"/>
                    <a:gd name="connsiteX1037" fmla="*/ 1557633 w 2388669"/>
                    <a:gd name="connsiteY1037" fmla="*/ 206716 h 866050"/>
                    <a:gd name="connsiteX1038" fmla="*/ 340126 w 2388669"/>
                    <a:gd name="connsiteY1038" fmla="*/ 186713 h 866050"/>
                    <a:gd name="connsiteX1039" fmla="*/ 326014 w 2388669"/>
                    <a:gd name="connsiteY1039" fmla="*/ 200977 h 866050"/>
                    <a:gd name="connsiteX1040" fmla="*/ 325510 w 2388669"/>
                    <a:gd name="connsiteY1040" fmla="*/ 186361 h 866050"/>
                    <a:gd name="connsiteX1041" fmla="*/ 333966 w 2388669"/>
                    <a:gd name="connsiteY1041" fmla="*/ 184253 h 866050"/>
                    <a:gd name="connsiteX1042" fmla="*/ 340126 w 2388669"/>
                    <a:gd name="connsiteY1042" fmla="*/ 186713 h 866050"/>
                    <a:gd name="connsiteX1043" fmla="*/ 340126 w 2388669"/>
                    <a:gd name="connsiteY1043" fmla="*/ 186713 h 866050"/>
                    <a:gd name="connsiteX1044" fmla="*/ 1713842 w 2388669"/>
                    <a:gd name="connsiteY1044" fmla="*/ 179697 h 866050"/>
                    <a:gd name="connsiteX1045" fmla="*/ 1709344 w 2388669"/>
                    <a:gd name="connsiteY1045" fmla="*/ 186806 h 866050"/>
                    <a:gd name="connsiteX1046" fmla="*/ 1703231 w 2388669"/>
                    <a:gd name="connsiteY1046" fmla="*/ 195063 h 866050"/>
                    <a:gd name="connsiteX1047" fmla="*/ 1711382 w 2388669"/>
                    <a:gd name="connsiteY1047" fmla="*/ 203835 h 866050"/>
                    <a:gd name="connsiteX1048" fmla="*/ 1712600 w 2388669"/>
                    <a:gd name="connsiteY1048" fmla="*/ 214668 h 866050"/>
                    <a:gd name="connsiteX1049" fmla="*/ 1706826 w 2388669"/>
                    <a:gd name="connsiteY1049" fmla="*/ 230385 h 866050"/>
                    <a:gd name="connsiteX1050" fmla="*/ 1695501 w 2388669"/>
                    <a:gd name="connsiteY1050" fmla="*/ 249018 h 866050"/>
                    <a:gd name="connsiteX1051" fmla="*/ 1709813 w 2388669"/>
                    <a:gd name="connsiteY1051" fmla="*/ 238606 h 866050"/>
                    <a:gd name="connsiteX1052" fmla="*/ 1720435 w 2388669"/>
                    <a:gd name="connsiteY1052" fmla="*/ 233570 h 866050"/>
                    <a:gd name="connsiteX1053" fmla="*/ 1716102 w 2388669"/>
                    <a:gd name="connsiteY1053" fmla="*/ 227972 h 866050"/>
                    <a:gd name="connsiteX1054" fmla="*/ 1732346 w 2388669"/>
                    <a:gd name="connsiteY1054" fmla="*/ 214422 h 866050"/>
                    <a:gd name="connsiteX1055" fmla="*/ 1738729 w 2388669"/>
                    <a:gd name="connsiteY1055" fmla="*/ 213040 h 866050"/>
                    <a:gd name="connsiteX1056" fmla="*/ 1745627 w 2388669"/>
                    <a:gd name="connsiteY1056" fmla="*/ 211799 h 866050"/>
                    <a:gd name="connsiteX1057" fmla="*/ 1747781 w 2388669"/>
                    <a:gd name="connsiteY1057" fmla="*/ 214340 h 866050"/>
                    <a:gd name="connsiteX1058" fmla="*/ 1747184 w 2388669"/>
                    <a:gd name="connsiteY1058" fmla="*/ 219470 h 866050"/>
                    <a:gd name="connsiteX1059" fmla="*/ 1749866 w 2388669"/>
                    <a:gd name="connsiteY1059" fmla="*/ 223276 h 866050"/>
                    <a:gd name="connsiteX1060" fmla="*/ 1747758 w 2388669"/>
                    <a:gd name="connsiteY1060" fmla="*/ 237435 h 866050"/>
                    <a:gd name="connsiteX1061" fmla="*/ 1726174 w 2388669"/>
                    <a:gd name="connsiteY1061" fmla="*/ 251395 h 866050"/>
                    <a:gd name="connsiteX1062" fmla="*/ 1727638 w 2388669"/>
                    <a:gd name="connsiteY1062" fmla="*/ 259347 h 866050"/>
                    <a:gd name="connsiteX1063" fmla="*/ 1739443 w 2388669"/>
                    <a:gd name="connsiteY1063" fmla="*/ 263575 h 866050"/>
                    <a:gd name="connsiteX1064" fmla="*/ 1746599 w 2388669"/>
                    <a:gd name="connsiteY1064" fmla="*/ 269513 h 866050"/>
                    <a:gd name="connsiteX1065" fmla="*/ 1750873 w 2388669"/>
                    <a:gd name="connsiteY1065" fmla="*/ 277453 h 866050"/>
                    <a:gd name="connsiteX1066" fmla="*/ 1757807 w 2388669"/>
                    <a:gd name="connsiteY1066" fmla="*/ 283227 h 866050"/>
                    <a:gd name="connsiteX1067" fmla="*/ 1744795 w 2388669"/>
                    <a:gd name="connsiteY1067" fmla="*/ 278426 h 866050"/>
                    <a:gd name="connsiteX1068" fmla="*/ 1734946 w 2388669"/>
                    <a:gd name="connsiteY1068" fmla="*/ 273483 h 866050"/>
                    <a:gd name="connsiteX1069" fmla="*/ 1723480 w 2388669"/>
                    <a:gd name="connsiteY1069" fmla="*/ 272745 h 866050"/>
                    <a:gd name="connsiteX1070" fmla="*/ 1713150 w 2388669"/>
                    <a:gd name="connsiteY1070" fmla="*/ 269712 h 866050"/>
                    <a:gd name="connsiteX1071" fmla="*/ 1706498 w 2388669"/>
                    <a:gd name="connsiteY1071" fmla="*/ 287537 h 866050"/>
                    <a:gd name="connsiteX1072" fmla="*/ 1712108 w 2388669"/>
                    <a:gd name="connsiteY1072" fmla="*/ 311745 h 866050"/>
                    <a:gd name="connsiteX1073" fmla="*/ 1733903 w 2388669"/>
                    <a:gd name="connsiteY1073" fmla="*/ 341469 h 866050"/>
                    <a:gd name="connsiteX1074" fmla="*/ 1722848 w 2388669"/>
                    <a:gd name="connsiteY1074" fmla="*/ 337873 h 866050"/>
                    <a:gd name="connsiteX1075" fmla="*/ 1724932 w 2388669"/>
                    <a:gd name="connsiteY1075" fmla="*/ 337522 h 866050"/>
                    <a:gd name="connsiteX1076" fmla="*/ 1712026 w 2388669"/>
                    <a:gd name="connsiteY1076" fmla="*/ 329640 h 866050"/>
                    <a:gd name="connsiteX1077" fmla="*/ 1704098 w 2388669"/>
                    <a:gd name="connsiteY1077" fmla="*/ 314391 h 866050"/>
                    <a:gd name="connsiteX1078" fmla="*/ 1694471 w 2388669"/>
                    <a:gd name="connsiteY1078" fmla="*/ 301041 h 866050"/>
                    <a:gd name="connsiteX1079" fmla="*/ 1695888 w 2388669"/>
                    <a:gd name="connsiteY1079" fmla="*/ 277360 h 866050"/>
                    <a:gd name="connsiteX1080" fmla="*/ 1687467 w 2388669"/>
                    <a:gd name="connsiteY1080" fmla="*/ 266456 h 866050"/>
                    <a:gd name="connsiteX1081" fmla="*/ 1690629 w 2388669"/>
                    <a:gd name="connsiteY1081" fmla="*/ 249299 h 866050"/>
                    <a:gd name="connsiteX1082" fmla="*/ 1685605 w 2388669"/>
                    <a:gd name="connsiteY1082" fmla="*/ 247964 h 866050"/>
                    <a:gd name="connsiteX1083" fmla="*/ 1685582 w 2388669"/>
                    <a:gd name="connsiteY1083" fmla="*/ 244029 h 866050"/>
                    <a:gd name="connsiteX1084" fmla="*/ 1684387 w 2388669"/>
                    <a:gd name="connsiteY1084" fmla="*/ 239016 h 866050"/>
                    <a:gd name="connsiteX1085" fmla="*/ 1679538 w 2388669"/>
                    <a:gd name="connsiteY1085" fmla="*/ 238466 h 866050"/>
                    <a:gd name="connsiteX1086" fmla="*/ 1679609 w 2388669"/>
                    <a:gd name="connsiteY1086" fmla="*/ 231978 h 866050"/>
                    <a:gd name="connsiteX1087" fmla="*/ 1687514 w 2388669"/>
                    <a:gd name="connsiteY1087" fmla="*/ 210159 h 866050"/>
                    <a:gd name="connsiteX1088" fmla="*/ 1713842 w 2388669"/>
                    <a:gd name="connsiteY1088" fmla="*/ 179697 h 866050"/>
                    <a:gd name="connsiteX1089" fmla="*/ 1713842 w 2388669"/>
                    <a:gd name="connsiteY1089" fmla="*/ 179697 h 866050"/>
                    <a:gd name="connsiteX1090" fmla="*/ 1741984 w 2388669"/>
                    <a:gd name="connsiteY1090" fmla="*/ 157972 h 866050"/>
                    <a:gd name="connsiteX1091" fmla="*/ 1742195 w 2388669"/>
                    <a:gd name="connsiteY1091" fmla="*/ 180201 h 866050"/>
                    <a:gd name="connsiteX1092" fmla="*/ 1724921 w 2388669"/>
                    <a:gd name="connsiteY1092" fmla="*/ 189968 h 866050"/>
                    <a:gd name="connsiteX1093" fmla="*/ 1721173 w 2388669"/>
                    <a:gd name="connsiteY1093" fmla="*/ 175832 h 866050"/>
                    <a:gd name="connsiteX1094" fmla="*/ 1741984 w 2388669"/>
                    <a:gd name="connsiteY1094" fmla="*/ 157972 h 866050"/>
                    <a:gd name="connsiteX1095" fmla="*/ 1741984 w 2388669"/>
                    <a:gd name="connsiteY1095" fmla="*/ 157972 h 866050"/>
                    <a:gd name="connsiteX1096" fmla="*/ 37102 w 2388669"/>
                    <a:gd name="connsiteY1096" fmla="*/ 142431 h 866050"/>
                    <a:gd name="connsiteX1097" fmla="*/ 35580 w 2388669"/>
                    <a:gd name="connsiteY1097" fmla="*/ 143603 h 866050"/>
                    <a:gd name="connsiteX1098" fmla="*/ 35591 w 2388669"/>
                    <a:gd name="connsiteY1098" fmla="*/ 145558 h 866050"/>
                    <a:gd name="connsiteX1099" fmla="*/ 47057 w 2388669"/>
                    <a:gd name="connsiteY1099" fmla="*/ 155560 h 866050"/>
                    <a:gd name="connsiteX1100" fmla="*/ 50137 w 2388669"/>
                    <a:gd name="connsiteY1100" fmla="*/ 155923 h 866050"/>
                    <a:gd name="connsiteX1101" fmla="*/ 49200 w 2388669"/>
                    <a:gd name="connsiteY1101" fmla="*/ 154295 h 866050"/>
                    <a:gd name="connsiteX1102" fmla="*/ 62059 w 2388669"/>
                    <a:gd name="connsiteY1102" fmla="*/ 165222 h 866050"/>
                    <a:gd name="connsiteX1103" fmla="*/ 62387 w 2388669"/>
                    <a:gd name="connsiteY1103" fmla="*/ 162341 h 866050"/>
                    <a:gd name="connsiteX1104" fmla="*/ 57750 w 2388669"/>
                    <a:gd name="connsiteY1104" fmla="*/ 170211 h 866050"/>
                    <a:gd name="connsiteX1105" fmla="*/ 58815 w 2388669"/>
                    <a:gd name="connsiteY1105" fmla="*/ 169134 h 866050"/>
                    <a:gd name="connsiteX1106" fmla="*/ 37090 w 2388669"/>
                    <a:gd name="connsiteY1106" fmla="*/ 157879 h 866050"/>
                    <a:gd name="connsiteX1107" fmla="*/ 30239 w 2388669"/>
                    <a:gd name="connsiteY1107" fmla="*/ 145546 h 866050"/>
                    <a:gd name="connsiteX1108" fmla="*/ 30837 w 2388669"/>
                    <a:gd name="connsiteY1108" fmla="*/ 140534 h 866050"/>
                    <a:gd name="connsiteX1109" fmla="*/ 37102 w 2388669"/>
                    <a:gd name="connsiteY1109" fmla="*/ 142431 h 866050"/>
                    <a:gd name="connsiteX1110" fmla="*/ 37102 w 2388669"/>
                    <a:gd name="connsiteY1110" fmla="*/ 142431 h 866050"/>
                    <a:gd name="connsiteX1111" fmla="*/ 683649 w 2388669"/>
                    <a:gd name="connsiteY1111" fmla="*/ 80794 h 866050"/>
                    <a:gd name="connsiteX1112" fmla="*/ 686518 w 2388669"/>
                    <a:gd name="connsiteY1112" fmla="*/ 91135 h 866050"/>
                    <a:gd name="connsiteX1113" fmla="*/ 688837 w 2388669"/>
                    <a:gd name="connsiteY1113" fmla="*/ 91346 h 866050"/>
                    <a:gd name="connsiteX1114" fmla="*/ 672558 w 2388669"/>
                    <a:gd name="connsiteY1114" fmla="*/ 101195 h 866050"/>
                    <a:gd name="connsiteX1115" fmla="*/ 682232 w 2388669"/>
                    <a:gd name="connsiteY1115" fmla="*/ 99356 h 866050"/>
                    <a:gd name="connsiteX1116" fmla="*/ 666843 w 2388669"/>
                    <a:gd name="connsiteY1116" fmla="*/ 84717 h 866050"/>
                    <a:gd name="connsiteX1117" fmla="*/ 676516 w 2388669"/>
                    <a:gd name="connsiteY1117" fmla="*/ 75957 h 866050"/>
                    <a:gd name="connsiteX1118" fmla="*/ 683649 w 2388669"/>
                    <a:gd name="connsiteY1118" fmla="*/ 80794 h 866050"/>
                    <a:gd name="connsiteX1119" fmla="*/ 683649 w 2388669"/>
                    <a:gd name="connsiteY1119" fmla="*/ 80794 h 866050"/>
                    <a:gd name="connsiteX1120" fmla="*/ 1115019 w 2388669"/>
                    <a:gd name="connsiteY1120" fmla="*/ 67969 h 866050"/>
                    <a:gd name="connsiteX1121" fmla="*/ 1145949 w 2388669"/>
                    <a:gd name="connsiteY1121" fmla="*/ 67770 h 866050"/>
                    <a:gd name="connsiteX1122" fmla="*/ 1166691 w 2388669"/>
                    <a:gd name="connsiteY1122" fmla="*/ 76964 h 866050"/>
                    <a:gd name="connsiteX1123" fmla="*/ 1156560 w 2388669"/>
                    <a:gd name="connsiteY1123" fmla="*/ 76437 h 866050"/>
                    <a:gd name="connsiteX1124" fmla="*/ 1157755 w 2388669"/>
                    <a:gd name="connsiteY1124" fmla="*/ 80138 h 866050"/>
                    <a:gd name="connsiteX1125" fmla="*/ 1161538 w 2388669"/>
                    <a:gd name="connsiteY1125" fmla="*/ 83031 h 866050"/>
                    <a:gd name="connsiteX1126" fmla="*/ 1164407 w 2388669"/>
                    <a:gd name="connsiteY1126" fmla="*/ 88640 h 866050"/>
                    <a:gd name="connsiteX1127" fmla="*/ 1173729 w 2388669"/>
                    <a:gd name="connsiteY1127" fmla="*/ 96862 h 866050"/>
                    <a:gd name="connsiteX1128" fmla="*/ 1179737 w 2388669"/>
                    <a:gd name="connsiteY1128" fmla="*/ 101242 h 866050"/>
                    <a:gd name="connsiteX1129" fmla="*/ 1170766 w 2388669"/>
                    <a:gd name="connsiteY1129" fmla="*/ 104697 h 866050"/>
                    <a:gd name="connsiteX1130" fmla="*/ 1161561 w 2388669"/>
                    <a:gd name="connsiteY1130" fmla="*/ 96159 h 866050"/>
                    <a:gd name="connsiteX1131" fmla="*/ 1161198 w 2388669"/>
                    <a:gd name="connsiteY1131" fmla="*/ 104942 h 866050"/>
                    <a:gd name="connsiteX1132" fmla="*/ 1138700 w 2388669"/>
                    <a:gd name="connsiteY1132" fmla="*/ 106500 h 866050"/>
                    <a:gd name="connsiteX1133" fmla="*/ 1145938 w 2388669"/>
                    <a:gd name="connsiteY1133" fmla="*/ 105118 h 866050"/>
                    <a:gd name="connsiteX1134" fmla="*/ 1147671 w 2388669"/>
                    <a:gd name="connsiteY1134" fmla="*/ 108901 h 866050"/>
                    <a:gd name="connsiteX1135" fmla="*/ 1156619 w 2388669"/>
                    <a:gd name="connsiteY1135" fmla="*/ 114113 h 866050"/>
                    <a:gd name="connsiteX1136" fmla="*/ 1158259 w 2388669"/>
                    <a:gd name="connsiteY1136" fmla="*/ 119488 h 866050"/>
                    <a:gd name="connsiteX1137" fmla="*/ 1150915 w 2388669"/>
                    <a:gd name="connsiteY1137" fmla="*/ 123869 h 866050"/>
                    <a:gd name="connsiteX1138" fmla="*/ 1166585 w 2388669"/>
                    <a:gd name="connsiteY1138" fmla="*/ 138391 h 866050"/>
                    <a:gd name="connsiteX1139" fmla="*/ 1173003 w 2388669"/>
                    <a:gd name="connsiteY1139" fmla="*/ 139070 h 866050"/>
                    <a:gd name="connsiteX1140" fmla="*/ 1165473 w 2388669"/>
                    <a:gd name="connsiteY1140" fmla="*/ 141248 h 866050"/>
                    <a:gd name="connsiteX1141" fmla="*/ 1175521 w 2388669"/>
                    <a:gd name="connsiteY1141" fmla="*/ 142677 h 866050"/>
                    <a:gd name="connsiteX1142" fmla="*/ 1169419 w 2388669"/>
                    <a:gd name="connsiteY1142" fmla="*/ 146659 h 866050"/>
                    <a:gd name="connsiteX1143" fmla="*/ 1180206 w 2388669"/>
                    <a:gd name="connsiteY1143" fmla="*/ 158031 h 866050"/>
                    <a:gd name="connsiteX1144" fmla="*/ 1191203 w 2388669"/>
                    <a:gd name="connsiteY1144" fmla="*/ 170750 h 866050"/>
                    <a:gd name="connsiteX1145" fmla="*/ 1180206 w 2388669"/>
                    <a:gd name="connsiteY1145" fmla="*/ 184171 h 866050"/>
                    <a:gd name="connsiteX1146" fmla="*/ 1184071 w 2388669"/>
                    <a:gd name="connsiteY1146" fmla="*/ 187134 h 866050"/>
                    <a:gd name="connsiteX1147" fmla="*/ 1175744 w 2388669"/>
                    <a:gd name="connsiteY1147" fmla="*/ 187392 h 866050"/>
                    <a:gd name="connsiteX1148" fmla="*/ 1181740 w 2388669"/>
                    <a:gd name="connsiteY1148" fmla="*/ 190589 h 866050"/>
                    <a:gd name="connsiteX1149" fmla="*/ 1182150 w 2388669"/>
                    <a:gd name="connsiteY1149" fmla="*/ 194185 h 866050"/>
                    <a:gd name="connsiteX1150" fmla="*/ 1186401 w 2388669"/>
                    <a:gd name="connsiteY1150" fmla="*/ 199560 h 866050"/>
                    <a:gd name="connsiteX1151" fmla="*/ 1191683 w 2388669"/>
                    <a:gd name="connsiteY1151" fmla="*/ 201048 h 866050"/>
                    <a:gd name="connsiteX1152" fmla="*/ 1195876 w 2388669"/>
                    <a:gd name="connsiteY1152" fmla="*/ 207746 h 866050"/>
                    <a:gd name="connsiteX1153" fmla="*/ 1211429 w 2388669"/>
                    <a:gd name="connsiteY1153" fmla="*/ 216565 h 866050"/>
                    <a:gd name="connsiteX1154" fmla="*/ 1210105 w 2388669"/>
                    <a:gd name="connsiteY1154" fmla="*/ 218205 h 866050"/>
                    <a:gd name="connsiteX1155" fmla="*/ 1229125 w 2388669"/>
                    <a:gd name="connsiteY1155" fmla="*/ 233348 h 866050"/>
                    <a:gd name="connsiteX1156" fmla="*/ 1235320 w 2388669"/>
                    <a:gd name="connsiteY1156" fmla="*/ 238946 h 866050"/>
                    <a:gd name="connsiteX1157" fmla="*/ 1241598 w 2388669"/>
                    <a:gd name="connsiteY1157" fmla="*/ 240539 h 866050"/>
                    <a:gd name="connsiteX1158" fmla="*/ 1231256 w 2388669"/>
                    <a:gd name="connsiteY1158" fmla="*/ 251981 h 866050"/>
                    <a:gd name="connsiteX1159" fmla="*/ 1225810 w 2388669"/>
                    <a:gd name="connsiteY1159" fmla="*/ 250341 h 866050"/>
                    <a:gd name="connsiteX1160" fmla="*/ 1218456 w 2388669"/>
                    <a:gd name="connsiteY1160" fmla="*/ 252051 h 866050"/>
                    <a:gd name="connsiteX1161" fmla="*/ 1203594 w 2388669"/>
                    <a:gd name="connsiteY1161" fmla="*/ 248994 h 866050"/>
                    <a:gd name="connsiteX1162" fmla="*/ 1192245 w 2388669"/>
                    <a:gd name="connsiteY1162" fmla="*/ 244942 h 866050"/>
                    <a:gd name="connsiteX1163" fmla="*/ 1186436 w 2388669"/>
                    <a:gd name="connsiteY1163" fmla="*/ 236533 h 866050"/>
                    <a:gd name="connsiteX1164" fmla="*/ 1189411 w 2388669"/>
                    <a:gd name="connsiteY1164" fmla="*/ 247449 h 866050"/>
                    <a:gd name="connsiteX1165" fmla="*/ 1186026 w 2388669"/>
                    <a:gd name="connsiteY1165" fmla="*/ 250493 h 866050"/>
                    <a:gd name="connsiteX1166" fmla="*/ 1174901 w 2388669"/>
                    <a:gd name="connsiteY1166" fmla="*/ 260050 h 866050"/>
                    <a:gd name="connsiteX1167" fmla="*/ 1164067 w 2388669"/>
                    <a:gd name="connsiteY1167" fmla="*/ 286764 h 866050"/>
                    <a:gd name="connsiteX1168" fmla="*/ 1162603 w 2388669"/>
                    <a:gd name="connsiteY1168" fmla="*/ 292140 h 866050"/>
                    <a:gd name="connsiteX1169" fmla="*/ 1164559 w 2388669"/>
                    <a:gd name="connsiteY1169" fmla="*/ 296051 h 866050"/>
                    <a:gd name="connsiteX1170" fmla="*/ 1162170 w 2388669"/>
                    <a:gd name="connsiteY1170" fmla="*/ 299366 h 866050"/>
                    <a:gd name="connsiteX1171" fmla="*/ 1159793 w 2388669"/>
                    <a:gd name="connsiteY1171" fmla="*/ 306568 h 866050"/>
                    <a:gd name="connsiteX1172" fmla="*/ 1162428 w 2388669"/>
                    <a:gd name="connsiteY1172" fmla="*/ 311593 h 866050"/>
                    <a:gd name="connsiteX1173" fmla="*/ 1160121 w 2388669"/>
                    <a:gd name="connsiteY1173" fmla="*/ 321477 h 866050"/>
                    <a:gd name="connsiteX1174" fmla="*/ 1169970 w 2388669"/>
                    <a:gd name="connsiteY1174" fmla="*/ 315914 h 866050"/>
                    <a:gd name="connsiteX1175" fmla="*/ 1166023 w 2388669"/>
                    <a:gd name="connsiteY1175" fmla="*/ 320294 h 866050"/>
                    <a:gd name="connsiteX1176" fmla="*/ 1164758 w 2388669"/>
                    <a:gd name="connsiteY1176" fmla="*/ 326103 h 866050"/>
                    <a:gd name="connsiteX1177" fmla="*/ 1167147 w 2388669"/>
                    <a:gd name="connsiteY1177" fmla="*/ 326935 h 866050"/>
                    <a:gd name="connsiteX1178" fmla="*/ 1162299 w 2388669"/>
                    <a:gd name="connsiteY1178" fmla="*/ 330577 h 866050"/>
                    <a:gd name="connsiteX1179" fmla="*/ 1162615 w 2388669"/>
                    <a:gd name="connsiteY1179" fmla="*/ 335742 h 866050"/>
                    <a:gd name="connsiteX1180" fmla="*/ 1156876 w 2388669"/>
                    <a:gd name="connsiteY1180" fmla="*/ 337861 h 866050"/>
                    <a:gd name="connsiteX1181" fmla="*/ 1154780 w 2388669"/>
                    <a:gd name="connsiteY1181" fmla="*/ 341082 h 866050"/>
                    <a:gd name="connsiteX1182" fmla="*/ 1142319 w 2388669"/>
                    <a:gd name="connsiteY1182" fmla="*/ 350030 h 866050"/>
                    <a:gd name="connsiteX1183" fmla="*/ 1136229 w 2388669"/>
                    <a:gd name="connsiteY1183" fmla="*/ 358216 h 866050"/>
                    <a:gd name="connsiteX1184" fmla="*/ 1128265 w 2388669"/>
                    <a:gd name="connsiteY1184" fmla="*/ 356413 h 866050"/>
                    <a:gd name="connsiteX1185" fmla="*/ 1126520 w 2388669"/>
                    <a:gd name="connsiteY1185" fmla="*/ 357572 h 866050"/>
                    <a:gd name="connsiteX1186" fmla="*/ 1124412 w 2388669"/>
                    <a:gd name="connsiteY1186" fmla="*/ 347477 h 866050"/>
                    <a:gd name="connsiteX1187" fmla="*/ 1123323 w 2388669"/>
                    <a:gd name="connsiteY1187" fmla="*/ 357783 h 866050"/>
                    <a:gd name="connsiteX1188" fmla="*/ 1113017 w 2388669"/>
                    <a:gd name="connsiteY1188" fmla="*/ 371942 h 866050"/>
                    <a:gd name="connsiteX1189" fmla="*/ 1109644 w 2388669"/>
                    <a:gd name="connsiteY1189" fmla="*/ 380000 h 866050"/>
                    <a:gd name="connsiteX1190" fmla="*/ 1096539 w 2388669"/>
                    <a:gd name="connsiteY1190" fmla="*/ 387448 h 866050"/>
                    <a:gd name="connsiteX1191" fmla="*/ 1107911 w 2388669"/>
                    <a:gd name="connsiteY1191" fmla="*/ 388467 h 866050"/>
                    <a:gd name="connsiteX1192" fmla="*/ 1108965 w 2388669"/>
                    <a:gd name="connsiteY1192" fmla="*/ 400050 h 866050"/>
                    <a:gd name="connsiteX1193" fmla="*/ 1099701 w 2388669"/>
                    <a:gd name="connsiteY1193" fmla="*/ 407264 h 866050"/>
                    <a:gd name="connsiteX1194" fmla="*/ 1105884 w 2388669"/>
                    <a:gd name="connsiteY1194" fmla="*/ 408728 h 866050"/>
                    <a:gd name="connsiteX1195" fmla="*/ 1113251 w 2388669"/>
                    <a:gd name="connsiteY1195" fmla="*/ 409360 h 866050"/>
                    <a:gd name="connsiteX1196" fmla="*/ 1116156 w 2388669"/>
                    <a:gd name="connsiteY1196" fmla="*/ 408037 h 866050"/>
                    <a:gd name="connsiteX1197" fmla="*/ 1113368 w 2388669"/>
                    <a:gd name="connsiteY1197" fmla="*/ 423977 h 866050"/>
                    <a:gd name="connsiteX1198" fmla="*/ 1107770 w 2388669"/>
                    <a:gd name="connsiteY1198" fmla="*/ 424410 h 866050"/>
                    <a:gd name="connsiteX1199" fmla="*/ 1100415 w 2388669"/>
                    <a:gd name="connsiteY1199" fmla="*/ 430160 h 866050"/>
                    <a:gd name="connsiteX1200" fmla="*/ 1102605 w 2388669"/>
                    <a:gd name="connsiteY1200" fmla="*/ 446345 h 866050"/>
                    <a:gd name="connsiteX1201" fmla="*/ 1092791 w 2388669"/>
                    <a:gd name="connsiteY1201" fmla="*/ 441040 h 866050"/>
                    <a:gd name="connsiteX1202" fmla="*/ 1090671 w 2388669"/>
                    <a:gd name="connsiteY1202" fmla="*/ 450960 h 866050"/>
                    <a:gd name="connsiteX1203" fmla="*/ 1098741 w 2388669"/>
                    <a:gd name="connsiteY1203" fmla="*/ 457776 h 866050"/>
                    <a:gd name="connsiteX1204" fmla="*/ 1093634 w 2388669"/>
                    <a:gd name="connsiteY1204" fmla="*/ 458783 h 866050"/>
                    <a:gd name="connsiteX1205" fmla="*/ 1091491 w 2388669"/>
                    <a:gd name="connsiteY1205" fmla="*/ 465236 h 866050"/>
                    <a:gd name="connsiteX1206" fmla="*/ 1093892 w 2388669"/>
                    <a:gd name="connsiteY1206" fmla="*/ 462449 h 866050"/>
                    <a:gd name="connsiteX1207" fmla="*/ 1085787 w 2388669"/>
                    <a:gd name="connsiteY1207" fmla="*/ 473165 h 866050"/>
                    <a:gd name="connsiteX1208" fmla="*/ 1084523 w 2388669"/>
                    <a:gd name="connsiteY1208" fmla="*/ 480496 h 866050"/>
                    <a:gd name="connsiteX1209" fmla="*/ 1078831 w 2388669"/>
                    <a:gd name="connsiteY1209" fmla="*/ 482745 h 866050"/>
                    <a:gd name="connsiteX1210" fmla="*/ 1042525 w 2388669"/>
                    <a:gd name="connsiteY1210" fmla="*/ 499422 h 866050"/>
                    <a:gd name="connsiteX1211" fmla="*/ 1020812 w 2388669"/>
                    <a:gd name="connsiteY1211" fmla="*/ 509915 h 866050"/>
                    <a:gd name="connsiteX1212" fmla="*/ 1013293 w 2388669"/>
                    <a:gd name="connsiteY1212" fmla="*/ 504505 h 866050"/>
                    <a:gd name="connsiteX1213" fmla="*/ 1012122 w 2388669"/>
                    <a:gd name="connsiteY1213" fmla="*/ 485181 h 866050"/>
                    <a:gd name="connsiteX1214" fmla="*/ 1009299 w 2388669"/>
                    <a:gd name="connsiteY1214" fmla="*/ 468820 h 866050"/>
                    <a:gd name="connsiteX1215" fmla="*/ 998724 w 2388669"/>
                    <a:gd name="connsiteY1215" fmla="*/ 474125 h 866050"/>
                    <a:gd name="connsiteX1216" fmla="*/ 999626 w 2388669"/>
                    <a:gd name="connsiteY1216" fmla="*/ 461688 h 866050"/>
                    <a:gd name="connsiteX1217" fmla="*/ 986731 w 2388669"/>
                    <a:gd name="connsiteY1217" fmla="*/ 460563 h 866050"/>
                    <a:gd name="connsiteX1218" fmla="*/ 977889 w 2388669"/>
                    <a:gd name="connsiteY1218" fmla="*/ 471244 h 866050"/>
                    <a:gd name="connsiteX1219" fmla="*/ 965616 w 2388669"/>
                    <a:gd name="connsiteY1219" fmla="*/ 475308 h 866050"/>
                    <a:gd name="connsiteX1220" fmla="*/ 961938 w 2388669"/>
                    <a:gd name="connsiteY1220" fmla="*/ 466782 h 866050"/>
                    <a:gd name="connsiteX1221" fmla="*/ 944219 w 2388669"/>
                    <a:gd name="connsiteY1221" fmla="*/ 459134 h 866050"/>
                    <a:gd name="connsiteX1222" fmla="*/ 946748 w 2388669"/>
                    <a:gd name="connsiteY1222" fmla="*/ 464861 h 866050"/>
                    <a:gd name="connsiteX1223" fmla="*/ 930270 w 2388669"/>
                    <a:gd name="connsiteY1223" fmla="*/ 446603 h 866050"/>
                    <a:gd name="connsiteX1224" fmla="*/ 929544 w 2388669"/>
                    <a:gd name="connsiteY1224" fmla="*/ 458783 h 866050"/>
                    <a:gd name="connsiteX1225" fmla="*/ 904446 w 2388669"/>
                    <a:gd name="connsiteY1225" fmla="*/ 473739 h 866050"/>
                    <a:gd name="connsiteX1226" fmla="*/ 888214 w 2388669"/>
                    <a:gd name="connsiteY1226" fmla="*/ 467625 h 866050"/>
                    <a:gd name="connsiteX1227" fmla="*/ 872661 w 2388669"/>
                    <a:gd name="connsiteY1227" fmla="*/ 479829 h 866050"/>
                    <a:gd name="connsiteX1228" fmla="*/ 866606 w 2388669"/>
                    <a:gd name="connsiteY1228" fmla="*/ 460563 h 866050"/>
                    <a:gd name="connsiteX1229" fmla="*/ 863784 w 2388669"/>
                    <a:gd name="connsiteY1229" fmla="*/ 445795 h 866050"/>
                    <a:gd name="connsiteX1230" fmla="*/ 863444 w 2388669"/>
                    <a:gd name="connsiteY1230" fmla="*/ 436964 h 866050"/>
                    <a:gd name="connsiteX1231" fmla="*/ 860915 w 2388669"/>
                    <a:gd name="connsiteY1231" fmla="*/ 447481 h 866050"/>
                    <a:gd name="connsiteX1232" fmla="*/ 851522 w 2388669"/>
                    <a:gd name="connsiteY1232" fmla="*/ 450456 h 866050"/>
                    <a:gd name="connsiteX1233" fmla="*/ 841005 w 2388669"/>
                    <a:gd name="connsiteY1233" fmla="*/ 446755 h 866050"/>
                    <a:gd name="connsiteX1234" fmla="*/ 823367 w 2388669"/>
                    <a:gd name="connsiteY1234" fmla="*/ 455187 h 866050"/>
                    <a:gd name="connsiteX1235" fmla="*/ 811281 w 2388669"/>
                    <a:gd name="connsiteY1235" fmla="*/ 451979 h 866050"/>
                    <a:gd name="connsiteX1236" fmla="*/ 822313 w 2388669"/>
                    <a:gd name="connsiteY1236" fmla="*/ 445397 h 866050"/>
                    <a:gd name="connsiteX1237" fmla="*/ 821810 w 2388669"/>
                    <a:gd name="connsiteY1237" fmla="*/ 444319 h 866050"/>
                    <a:gd name="connsiteX1238" fmla="*/ 812675 w 2388669"/>
                    <a:gd name="connsiteY1238" fmla="*/ 448301 h 866050"/>
                    <a:gd name="connsiteX1239" fmla="*/ 804957 w 2388669"/>
                    <a:gd name="connsiteY1239" fmla="*/ 452681 h 866050"/>
                    <a:gd name="connsiteX1240" fmla="*/ 804125 w 2388669"/>
                    <a:gd name="connsiteY1240" fmla="*/ 445912 h 866050"/>
                    <a:gd name="connsiteX1241" fmla="*/ 791266 w 2388669"/>
                    <a:gd name="connsiteY1241" fmla="*/ 447798 h 866050"/>
                    <a:gd name="connsiteX1242" fmla="*/ 783806 w 2388669"/>
                    <a:gd name="connsiteY1242" fmla="*/ 437175 h 866050"/>
                    <a:gd name="connsiteX1243" fmla="*/ 786558 w 2388669"/>
                    <a:gd name="connsiteY1243" fmla="*/ 425475 h 866050"/>
                    <a:gd name="connsiteX1244" fmla="*/ 777037 w 2388669"/>
                    <a:gd name="connsiteY1244" fmla="*/ 408178 h 866050"/>
                    <a:gd name="connsiteX1245" fmla="*/ 776755 w 2388669"/>
                    <a:gd name="connsiteY1245" fmla="*/ 395799 h 866050"/>
                    <a:gd name="connsiteX1246" fmla="*/ 766918 w 2388669"/>
                    <a:gd name="connsiteY1246" fmla="*/ 389357 h 866050"/>
                    <a:gd name="connsiteX1247" fmla="*/ 774331 w 2388669"/>
                    <a:gd name="connsiteY1247" fmla="*/ 374437 h 866050"/>
                    <a:gd name="connsiteX1248" fmla="*/ 774062 w 2388669"/>
                    <a:gd name="connsiteY1248" fmla="*/ 361905 h 866050"/>
                    <a:gd name="connsiteX1249" fmla="*/ 769260 w 2388669"/>
                    <a:gd name="connsiteY1249" fmla="*/ 359340 h 866050"/>
                    <a:gd name="connsiteX1250" fmla="*/ 768651 w 2388669"/>
                    <a:gd name="connsiteY1250" fmla="*/ 352922 h 866050"/>
                    <a:gd name="connsiteX1251" fmla="*/ 763674 w 2388669"/>
                    <a:gd name="connsiteY1251" fmla="*/ 350733 h 866050"/>
                    <a:gd name="connsiteX1252" fmla="*/ 759610 w 2388669"/>
                    <a:gd name="connsiteY1252" fmla="*/ 339525 h 866050"/>
                    <a:gd name="connsiteX1253" fmla="*/ 751939 w 2388669"/>
                    <a:gd name="connsiteY1253" fmla="*/ 343893 h 866050"/>
                    <a:gd name="connsiteX1254" fmla="*/ 746727 w 2388669"/>
                    <a:gd name="connsiteY1254" fmla="*/ 338927 h 866050"/>
                    <a:gd name="connsiteX1255" fmla="*/ 741820 w 2388669"/>
                    <a:gd name="connsiteY1255" fmla="*/ 339934 h 866050"/>
                    <a:gd name="connsiteX1256" fmla="*/ 736503 w 2388669"/>
                    <a:gd name="connsiteY1256" fmla="*/ 340181 h 866050"/>
                    <a:gd name="connsiteX1257" fmla="*/ 733177 w 2388669"/>
                    <a:gd name="connsiteY1257" fmla="*/ 329172 h 866050"/>
                    <a:gd name="connsiteX1258" fmla="*/ 746364 w 2388669"/>
                    <a:gd name="connsiteY1258" fmla="*/ 331912 h 866050"/>
                    <a:gd name="connsiteX1259" fmla="*/ 738306 w 2388669"/>
                    <a:gd name="connsiteY1259" fmla="*/ 327895 h 866050"/>
                    <a:gd name="connsiteX1260" fmla="*/ 738306 w 2388669"/>
                    <a:gd name="connsiteY1260" fmla="*/ 326127 h 866050"/>
                    <a:gd name="connsiteX1261" fmla="*/ 741902 w 2388669"/>
                    <a:gd name="connsiteY1261" fmla="*/ 326443 h 866050"/>
                    <a:gd name="connsiteX1262" fmla="*/ 730717 w 2388669"/>
                    <a:gd name="connsiteY1262" fmla="*/ 322906 h 866050"/>
                    <a:gd name="connsiteX1263" fmla="*/ 726876 w 2388669"/>
                    <a:gd name="connsiteY1263" fmla="*/ 312869 h 866050"/>
                    <a:gd name="connsiteX1264" fmla="*/ 725073 w 2388669"/>
                    <a:gd name="connsiteY1264" fmla="*/ 307529 h 866050"/>
                    <a:gd name="connsiteX1265" fmla="*/ 723292 w 2388669"/>
                    <a:gd name="connsiteY1265" fmla="*/ 308255 h 866050"/>
                    <a:gd name="connsiteX1266" fmla="*/ 731514 w 2388669"/>
                    <a:gd name="connsiteY1266" fmla="*/ 306475 h 866050"/>
                    <a:gd name="connsiteX1267" fmla="*/ 735461 w 2388669"/>
                    <a:gd name="connsiteY1267" fmla="*/ 293557 h 866050"/>
                    <a:gd name="connsiteX1268" fmla="*/ 723679 w 2388669"/>
                    <a:gd name="connsiteY1268" fmla="*/ 280276 h 866050"/>
                    <a:gd name="connsiteX1269" fmla="*/ 716195 w 2388669"/>
                    <a:gd name="connsiteY1269" fmla="*/ 274303 h 866050"/>
                    <a:gd name="connsiteX1270" fmla="*/ 715680 w 2388669"/>
                    <a:gd name="connsiteY1270" fmla="*/ 265273 h 866050"/>
                    <a:gd name="connsiteX1271" fmla="*/ 713595 w 2388669"/>
                    <a:gd name="connsiteY1271" fmla="*/ 256103 h 866050"/>
                    <a:gd name="connsiteX1272" fmla="*/ 714907 w 2388669"/>
                    <a:gd name="connsiteY1272" fmla="*/ 248538 h 866050"/>
                    <a:gd name="connsiteX1273" fmla="*/ 718772 w 2388669"/>
                    <a:gd name="connsiteY1273" fmla="*/ 244216 h 866050"/>
                    <a:gd name="connsiteX1274" fmla="*/ 716183 w 2388669"/>
                    <a:gd name="connsiteY1274" fmla="*/ 235186 h 866050"/>
                    <a:gd name="connsiteX1275" fmla="*/ 726314 w 2388669"/>
                    <a:gd name="connsiteY1275" fmla="*/ 229425 h 866050"/>
                    <a:gd name="connsiteX1276" fmla="*/ 733669 w 2388669"/>
                    <a:gd name="connsiteY1276" fmla="*/ 220981 h 866050"/>
                    <a:gd name="connsiteX1277" fmla="*/ 719041 w 2388669"/>
                    <a:gd name="connsiteY1277" fmla="*/ 230666 h 866050"/>
                    <a:gd name="connsiteX1278" fmla="*/ 725623 w 2388669"/>
                    <a:gd name="connsiteY1278" fmla="*/ 212091 h 866050"/>
                    <a:gd name="connsiteX1279" fmla="*/ 737861 w 2388669"/>
                    <a:gd name="connsiteY1279" fmla="*/ 199209 h 866050"/>
                    <a:gd name="connsiteX1280" fmla="*/ 734723 w 2388669"/>
                    <a:gd name="connsiteY1280" fmla="*/ 201317 h 866050"/>
                    <a:gd name="connsiteX1281" fmla="*/ 738494 w 2388669"/>
                    <a:gd name="connsiteY1281" fmla="*/ 192439 h 866050"/>
                    <a:gd name="connsiteX1282" fmla="*/ 753414 w 2388669"/>
                    <a:gd name="connsiteY1282" fmla="*/ 185401 h 866050"/>
                    <a:gd name="connsiteX1283" fmla="*/ 747652 w 2388669"/>
                    <a:gd name="connsiteY1283" fmla="*/ 198120 h 866050"/>
                    <a:gd name="connsiteX1284" fmla="*/ 752794 w 2388669"/>
                    <a:gd name="connsiteY1284" fmla="*/ 200965 h 866050"/>
                    <a:gd name="connsiteX1285" fmla="*/ 753777 w 2388669"/>
                    <a:gd name="connsiteY1285" fmla="*/ 210218 h 866050"/>
                    <a:gd name="connsiteX1286" fmla="*/ 763041 w 2388669"/>
                    <a:gd name="connsiteY1286" fmla="*/ 220336 h 866050"/>
                    <a:gd name="connsiteX1287" fmla="*/ 768651 w 2388669"/>
                    <a:gd name="connsiteY1287" fmla="*/ 222948 h 866050"/>
                    <a:gd name="connsiteX1288" fmla="*/ 773265 w 2388669"/>
                    <a:gd name="connsiteY1288" fmla="*/ 228464 h 866050"/>
                    <a:gd name="connsiteX1289" fmla="*/ 779074 w 2388669"/>
                    <a:gd name="connsiteY1289" fmla="*/ 232223 h 866050"/>
                    <a:gd name="connsiteX1290" fmla="*/ 784977 w 2388669"/>
                    <a:gd name="connsiteY1290" fmla="*/ 239391 h 866050"/>
                    <a:gd name="connsiteX1291" fmla="*/ 795470 w 2388669"/>
                    <a:gd name="connsiteY1291" fmla="*/ 247823 h 866050"/>
                    <a:gd name="connsiteX1292" fmla="*/ 812956 w 2388669"/>
                    <a:gd name="connsiteY1292" fmla="*/ 246289 h 866050"/>
                    <a:gd name="connsiteX1293" fmla="*/ 834927 w 2388669"/>
                    <a:gd name="connsiteY1293" fmla="*/ 238032 h 866050"/>
                    <a:gd name="connsiteX1294" fmla="*/ 850327 w 2388669"/>
                    <a:gd name="connsiteY1294" fmla="*/ 244087 h 866050"/>
                    <a:gd name="connsiteX1295" fmla="*/ 862378 w 2388669"/>
                    <a:gd name="connsiteY1295" fmla="*/ 241850 h 866050"/>
                    <a:gd name="connsiteX1296" fmla="*/ 869276 w 2388669"/>
                    <a:gd name="connsiteY1296" fmla="*/ 238723 h 866050"/>
                    <a:gd name="connsiteX1297" fmla="*/ 879056 w 2388669"/>
                    <a:gd name="connsiteY1297" fmla="*/ 234952 h 866050"/>
                    <a:gd name="connsiteX1298" fmla="*/ 886047 w 2388669"/>
                    <a:gd name="connsiteY1298" fmla="*/ 221496 h 866050"/>
                    <a:gd name="connsiteX1299" fmla="*/ 884665 w 2388669"/>
                    <a:gd name="connsiteY1299" fmla="*/ 219259 h 866050"/>
                    <a:gd name="connsiteX1300" fmla="*/ 891962 w 2388669"/>
                    <a:gd name="connsiteY1300" fmla="*/ 215535 h 866050"/>
                    <a:gd name="connsiteX1301" fmla="*/ 919203 w 2388669"/>
                    <a:gd name="connsiteY1301" fmla="*/ 212595 h 866050"/>
                    <a:gd name="connsiteX1302" fmla="*/ 926230 w 2388669"/>
                    <a:gd name="connsiteY1302" fmla="*/ 220242 h 866050"/>
                    <a:gd name="connsiteX1303" fmla="*/ 950390 w 2388669"/>
                    <a:gd name="connsiteY1303" fmla="*/ 226649 h 866050"/>
                    <a:gd name="connsiteX1304" fmla="*/ 955227 w 2388669"/>
                    <a:gd name="connsiteY1304" fmla="*/ 225548 h 866050"/>
                    <a:gd name="connsiteX1305" fmla="*/ 959525 w 2388669"/>
                    <a:gd name="connsiteY1305" fmla="*/ 229307 h 866050"/>
                    <a:gd name="connsiteX1306" fmla="*/ 972830 w 2388669"/>
                    <a:gd name="connsiteY1306" fmla="*/ 221285 h 866050"/>
                    <a:gd name="connsiteX1307" fmla="*/ 986415 w 2388669"/>
                    <a:gd name="connsiteY1307" fmla="*/ 217912 h 866050"/>
                    <a:gd name="connsiteX1308" fmla="*/ 989589 w 2388669"/>
                    <a:gd name="connsiteY1308" fmla="*/ 219985 h 866050"/>
                    <a:gd name="connsiteX1309" fmla="*/ 995246 w 2388669"/>
                    <a:gd name="connsiteY1309" fmla="*/ 217350 h 866050"/>
                    <a:gd name="connsiteX1310" fmla="*/ 1001933 w 2388669"/>
                    <a:gd name="connsiteY1310" fmla="*/ 215921 h 866050"/>
                    <a:gd name="connsiteX1311" fmla="*/ 1007238 w 2388669"/>
                    <a:gd name="connsiteY1311" fmla="*/ 219329 h 866050"/>
                    <a:gd name="connsiteX1312" fmla="*/ 1009920 w 2388669"/>
                    <a:gd name="connsiteY1312" fmla="*/ 214586 h 866050"/>
                    <a:gd name="connsiteX1313" fmla="*/ 1017521 w 2388669"/>
                    <a:gd name="connsiteY1313" fmla="*/ 196960 h 866050"/>
                    <a:gd name="connsiteX1314" fmla="*/ 1024255 w 2388669"/>
                    <a:gd name="connsiteY1314" fmla="*/ 190425 h 866050"/>
                    <a:gd name="connsiteX1315" fmla="*/ 1020706 w 2388669"/>
                    <a:gd name="connsiteY1315" fmla="*/ 186689 h 866050"/>
                    <a:gd name="connsiteX1316" fmla="*/ 1021187 w 2388669"/>
                    <a:gd name="connsiteY1316" fmla="*/ 176863 h 866050"/>
                    <a:gd name="connsiteX1317" fmla="*/ 1027522 w 2388669"/>
                    <a:gd name="connsiteY1317" fmla="*/ 175165 h 866050"/>
                    <a:gd name="connsiteX1318" fmla="*/ 1028612 w 2388669"/>
                    <a:gd name="connsiteY1318" fmla="*/ 171265 h 866050"/>
                    <a:gd name="connsiteX1319" fmla="*/ 1042712 w 2388669"/>
                    <a:gd name="connsiteY1319" fmla="*/ 160971 h 866050"/>
                    <a:gd name="connsiteX1320" fmla="*/ 1035650 w 2388669"/>
                    <a:gd name="connsiteY1320" fmla="*/ 158007 h 866050"/>
                    <a:gd name="connsiteX1321" fmla="*/ 1036997 w 2388669"/>
                    <a:gd name="connsiteY1321" fmla="*/ 151660 h 866050"/>
                    <a:gd name="connsiteX1322" fmla="*/ 1038028 w 2388669"/>
                    <a:gd name="connsiteY1322" fmla="*/ 144328 h 866050"/>
                    <a:gd name="connsiteX1323" fmla="*/ 1045312 w 2388669"/>
                    <a:gd name="connsiteY1323" fmla="*/ 135369 h 866050"/>
                    <a:gd name="connsiteX1324" fmla="*/ 1062037 w 2388669"/>
                    <a:gd name="connsiteY1324" fmla="*/ 115366 h 866050"/>
                    <a:gd name="connsiteX1325" fmla="*/ 1063407 w 2388669"/>
                    <a:gd name="connsiteY1325" fmla="*/ 113035 h 866050"/>
                    <a:gd name="connsiteX1326" fmla="*/ 1061182 w 2388669"/>
                    <a:gd name="connsiteY1326" fmla="*/ 105306 h 866050"/>
                    <a:gd name="connsiteX1327" fmla="*/ 1063430 w 2388669"/>
                    <a:gd name="connsiteY1327" fmla="*/ 94473 h 866050"/>
                    <a:gd name="connsiteX1328" fmla="*/ 1060772 w 2388669"/>
                    <a:gd name="connsiteY1328" fmla="*/ 90069 h 866050"/>
                    <a:gd name="connsiteX1329" fmla="*/ 1067178 w 2388669"/>
                    <a:gd name="connsiteY1329" fmla="*/ 75886 h 866050"/>
                    <a:gd name="connsiteX1330" fmla="*/ 1071675 w 2388669"/>
                    <a:gd name="connsiteY1330" fmla="*/ 73415 h 866050"/>
                    <a:gd name="connsiteX1331" fmla="*/ 1075528 w 2388669"/>
                    <a:gd name="connsiteY1331" fmla="*/ 68637 h 866050"/>
                    <a:gd name="connsiteX1332" fmla="*/ 1078269 w 2388669"/>
                    <a:gd name="connsiteY1332" fmla="*/ 66552 h 866050"/>
                    <a:gd name="connsiteX1333" fmla="*/ 1084206 w 2388669"/>
                    <a:gd name="connsiteY1333" fmla="*/ 69375 h 866050"/>
                    <a:gd name="connsiteX1334" fmla="*/ 1093716 w 2388669"/>
                    <a:gd name="connsiteY1334" fmla="*/ 66002 h 866050"/>
                    <a:gd name="connsiteX1335" fmla="*/ 1101048 w 2388669"/>
                    <a:gd name="connsiteY1335" fmla="*/ 65287 h 866050"/>
                    <a:gd name="connsiteX1336" fmla="*/ 1105229 w 2388669"/>
                    <a:gd name="connsiteY1336" fmla="*/ 69913 h 866050"/>
                    <a:gd name="connsiteX1337" fmla="*/ 1115019 w 2388669"/>
                    <a:gd name="connsiteY1337" fmla="*/ 67969 h 866050"/>
                    <a:gd name="connsiteX1338" fmla="*/ 1115019 w 2388669"/>
                    <a:gd name="connsiteY1338" fmla="*/ 67969 h 866050"/>
                    <a:gd name="connsiteX1339" fmla="*/ 15752 w 2388669"/>
                    <a:gd name="connsiteY1339" fmla="*/ 1389 h 866050"/>
                    <a:gd name="connsiteX1340" fmla="*/ 52561 w 2388669"/>
                    <a:gd name="connsiteY1340" fmla="*/ 18898 h 866050"/>
                    <a:gd name="connsiteX1341" fmla="*/ 88340 w 2388669"/>
                    <a:gd name="connsiteY1341" fmla="*/ 19331 h 866050"/>
                    <a:gd name="connsiteX1342" fmla="*/ 104034 w 2388669"/>
                    <a:gd name="connsiteY1342" fmla="*/ 24859 h 866050"/>
                    <a:gd name="connsiteX1343" fmla="*/ 116682 w 2388669"/>
                    <a:gd name="connsiteY1343" fmla="*/ 21194 h 866050"/>
                    <a:gd name="connsiteX1344" fmla="*/ 126649 w 2388669"/>
                    <a:gd name="connsiteY1344" fmla="*/ 26920 h 866050"/>
                    <a:gd name="connsiteX1345" fmla="*/ 145879 w 2388669"/>
                    <a:gd name="connsiteY1345" fmla="*/ 56761 h 866050"/>
                    <a:gd name="connsiteX1346" fmla="*/ 156677 w 2388669"/>
                    <a:gd name="connsiteY1346" fmla="*/ 59397 h 866050"/>
                    <a:gd name="connsiteX1347" fmla="*/ 160003 w 2388669"/>
                    <a:gd name="connsiteY1347" fmla="*/ 70148 h 866050"/>
                    <a:gd name="connsiteX1348" fmla="*/ 155365 w 2388669"/>
                    <a:gd name="connsiteY1348" fmla="*/ 79657 h 866050"/>
                    <a:gd name="connsiteX1349" fmla="*/ 159745 w 2388669"/>
                    <a:gd name="connsiteY1349" fmla="*/ 76039 h 866050"/>
                    <a:gd name="connsiteX1350" fmla="*/ 177465 w 2388669"/>
                    <a:gd name="connsiteY1350" fmla="*/ 88465 h 866050"/>
                    <a:gd name="connsiteX1351" fmla="*/ 188930 w 2388669"/>
                    <a:gd name="connsiteY1351" fmla="*/ 100246 h 866050"/>
                    <a:gd name="connsiteX1352" fmla="*/ 201766 w 2388669"/>
                    <a:gd name="connsiteY1352" fmla="*/ 105575 h 866050"/>
                    <a:gd name="connsiteX1353" fmla="*/ 225716 w 2388669"/>
                    <a:gd name="connsiteY1353" fmla="*/ 123365 h 866050"/>
                    <a:gd name="connsiteX1354" fmla="*/ 238564 w 2388669"/>
                    <a:gd name="connsiteY1354" fmla="*/ 130462 h 866050"/>
                    <a:gd name="connsiteX1355" fmla="*/ 246739 w 2388669"/>
                    <a:gd name="connsiteY1355" fmla="*/ 138836 h 866050"/>
                    <a:gd name="connsiteX1356" fmla="*/ 250779 w 2388669"/>
                    <a:gd name="connsiteY1356" fmla="*/ 158289 h 866050"/>
                    <a:gd name="connsiteX1357" fmla="*/ 249011 w 2388669"/>
                    <a:gd name="connsiteY1357" fmla="*/ 153042 h 866050"/>
                    <a:gd name="connsiteX1358" fmla="*/ 256939 w 2388669"/>
                    <a:gd name="connsiteY1358" fmla="*/ 162072 h 866050"/>
                    <a:gd name="connsiteX1359" fmla="*/ 269705 w 2388669"/>
                    <a:gd name="connsiteY1359" fmla="*/ 169473 h 866050"/>
                    <a:gd name="connsiteX1360" fmla="*/ 291851 w 2388669"/>
                    <a:gd name="connsiteY1360" fmla="*/ 187310 h 866050"/>
                    <a:gd name="connsiteX1361" fmla="*/ 299792 w 2388669"/>
                    <a:gd name="connsiteY1361" fmla="*/ 198834 h 866050"/>
                    <a:gd name="connsiteX1362" fmla="*/ 292285 w 2388669"/>
                    <a:gd name="connsiteY1362" fmla="*/ 181290 h 866050"/>
                    <a:gd name="connsiteX1363" fmla="*/ 296864 w 2388669"/>
                    <a:gd name="connsiteY1363" fmla="*/ 174134 h 866050"/>
                    <a:gd name="connsiteX1364" fmla="*/ 305800 w 2388669"/>
                    <a:gd name="connsiteY1364" fmla="*/ 177741 h 866050"/>
                    <a:gd name="connsiteX1365" fmla="*/ 319572 w 2388669"/>
                    <a:gd name="connsiteY1365" fmla="*/ 194091 h 866050"/>
                    <a:gd name="connsiteX1366" fmla="*/ 335547 w 2388669"/>
                    <a:gd name="connsiteY1366" fmla="*/ 207348 h 866050"/>
                    <a:gd name="connsiteX1367" fmla="*/ 361511 w 2388669"/>
                    <a:gd name="connsiteY1367" fmla="*/ 222491 h 866050"/>
                    <a:gd name="connsiteX1368" fmla="*/ 365599 w 2388669"/>
                    <a:gd name="connsiteY1368" fmla="*/ 240679 h 866050"/>
                    <a:gd name="connsiteX1369" fmla="*/ 386012 w 2388669"/>
                    <a:gd name="connsiteY1369" fmla="*/ 255623 h 866050"/>
                    <a:gd name="connsiteX1370" fmla="*/ 409833 w 2388669"/>
                    <a:gd name="connsiteY1370" fmla="*/ 264969 h 866050"/>
                    <a:gd name="connsiteX1371" fmla="*/ 392945 w 2388669"/>
                    <a:gd name="connsiteY1371" fmla="*/ 280170 h 866050"/>
                    <a:gd name="connsiteX1372" fmla="*/ 384372 w 2388669"/>
                    <a:gd name="connsiteY1372" fmla="*/ 284480 h 866050"/>
                    <a:gd name="connsiteX1373" fmla="*/ 377170 w 2388669"/>
                    <a:gd name="connsiteY1373" fmla="*/ 281236 h 866050"/>
                    <a:gd name="connsiteX1374" fmla="*/ 381737 w 2388669"/>
                    <a:gd name="connsiteY1374" fmla="*/ 284047 h 866050"/>
                    <a:gd name="connsiteX1375" fmla="*/ 388038 w 2388669"/>
                    <a:gd name="connsiteY1375" fmla="*/ 283368 h 866050"/>
                    <a:gd name="connsiteX1376" fmla="*/ 408592 w 2388669"/>
                    <a:gd name="connsiteY1376" fmla="*/ 275884 h 866050"/>
                    <a:gd name="connsiteX1377" fmla="*/ 438515 w 2388669"/>
                    <a:gd name="connsiteY1377" fmla="*/ 277863 h 866050"/>
                    <a:gd name="connsiteX1378" fmla="*/ 449278 w 2388669"/>
                    <a:gd name="connsiteY1378" fmla="*/ 293358 h 866050"/>
                    <a:gd name="connsiteX1379" fmla="*/ 436348 w 2388669"/>
                    <a:gd name="connsiteY1379" fmla="*/ 295337 h 866050"/>
                    <a:gd name="connsiteX1380" fmla="*/ 420994 w 2388669"/>
                    <a:gd name="connsiteY1380" fmla="*/ 307505 h 866050"/>
                    <a:gd name="connsiteX1381" fmla="*/ 432425 w 2388669"/>
                    <a:gd name="connsiteY1381" fmla="*/ 305104 h 866050"/>
                    <a:gd name="connsiteX1382" fmla="*/ 424906 w 2388669"/>
                    <a:gd name="connsiteY1382" fmla="*/ 312846 h 866050"/>
                    <a:gd name="connsiteX1383" fmla="*/ 436700 w 2388669"/>
                    <a:gd name="connsiteY1383" fmla="*/ 315574 h 866050"/>
                    <a:gd name="connsiteX1384" fmla="*/ 426347 w 2388669"/>
                    <a:gd name="connsiteY1384" fmla="*/ 317507 h 866050"/>
                    <a:gd name="connsiteX1385" fmla="*/ 424906 w 2388669"/>
                    <a:gd name="connsiteY1385" fmla="*/ 330366 h 866050"/>
                    <a:gd name="connsiteX1386" fmla="*/ 429918 w 2388669"/>
                    <a:gd name="connsiteY1386" fmla="*/ 336468 h 866050"/>
                    <a:gd name="connsiteX1387" fmla="*/ 450133 w 2388669"/>
                    <a:gd name="connsiteY1387" fmla="*/ 350077 h 866050"/>
                    <a:gd name="connsiteX1388" fmla="*/ 464714 w 2388669"/>
                    <a:gd name="connsiteY1388" fmla="*/ 347734 h 866050"/>
                    <a:gd name="connsiteX1389" fmla="*/ 474258 w 2388669"/>
                    <a:gd name="connsiteY1389" fmla="*/ 348449 h 866050"/>
                    <a:gd name="connsiteX1390" fmla="*/ 479833 w 2388669"/>
                    <a:gd name="connsiteY1390" fmla="*/ 356752 h 866050"/>
                    <a:gd name="connsiteX1391" fmla="*/ 484564 w 2388669"/>
                    <a:gd name="connsiteY1391" fmla="*/ 379308 h 866050"/>
                    <a:gd name="connsiteX1392" fmla="*/ 486274 w 2388669"/>
                    <a:gd name="connsiteY1392" fmla="*/ 388127 h 866050"/>
                    <a:gd name="connsiteX1393" fmla="*/ 484998 w 2388669"/>
                    <a:gd name="connsiteY1393" fmla="*/ 395096 h 866050"/>
                    <a:gd name="connsiteX1394" fmla="*/ 489788 w 2388669"/>
                    <a:gd name="connsiteY1394" fmla="*/ 399429 h 866050"/>
                    <a:gd name="connsiteX1395" fmla="*/ 493208 w 2388669"/>
                    <a:gd name="connsiteY1395" fmla="*/ 396864 h 866050"/>
                    <a:gd name="connsiteX1396" fmla="*/ 503725 w 2388669"/>
                    <a:gd name="connsiteY1396" fmla="*/ 400940 h 866050"/>
                    <a:gd name="connsiteX1397" fmla="*/ 490678 w 2388669"/>
                    <a:gd name="connsiteY1397" fmla="*/ 419409 h 866050"/>
                    <a:gd name="connsiteX1398" fmla="*/ 494578 w 2388669"/>
                    <a:gd name="connsiteY1398" fmla="*/ 429270 h 866050"/>
                    <a:gd name="connsiteX1399" fmla="*/ 486766 w 2388669"/>
                    <a:gd name="connsiteY1399" fmla="*/ 438756 h 866050"/>
                    <a:gd name="connsiteX1400" fmla="*/ 492118 w 2388669"/>
                    <a:gd name="connsiteY1400" fmla="*/ 431952 h 866050"/>
                    <a:gd name="connsiteX1401" fmla="*/ 499204 w 2388669"/>
                    <a:gd name="connsiteY1401" fmla="*/ 422009 h 866050"/>
                    <a:gd name="connsiteX1402" fmla="*/ 507507 w 2388669"/>
                    <a:gd name="connsiteY1402" fmla="*/ 417980 h 866050"/>
                    <a:gd name="connsiteX1403" fmla="*/ 540019 w 2388669"/>
                    <a:gd name="connsiteY1403" fmla="*/ 419760 h 866050"/>
                    <a:gd name="connsiteX1404" fmla="*/ 539292 w 2388669"/>
                    <a:gd name="connsiteY1404" fmla="*/ 419760 h 866050"/>
                    <a:gd name="connsiteX1405" fmla="*/ 543310 w 2388669"/>
                    <a:gd name="connsiteY1405" fmla="*/ 428919 h 866050"/>
                    <a:gd name="connsiteX1406" fmla="*/ 552644 w 2388669"/>
                    <a:gd name="connsiteY1406" fmla="*/ 437339 h 866050"/>
                    <a:gd name="connsiteX1407" fmla="*/ 558195 w 2388669"/>
                    <a:gd name="connsiteY1407" fmla="*/ 448243 h 866050"/>
                    <a:gd name="connsiteX1408" fmla="*/ 565550 w 2388669"/>
                    <a:gd name="connsiteY1408" fmla="*/ 450878 h 866050"/>
                    <a:gd name="connsiteX1409" fmla="*/ 560982 w 2388669"/>
                    <a:gd name="connsiteY1409" fmla="*/ 468269 h 866050"/>
                    <a:gd name="connsiteX1410" fmla="*/ 554799 w 2388669"/>
                    <a:gd name="connsiteY1410" fmla="*/ 482733 h 866050"/>
                    <a:gd name="connsiteX1411" fmla="*/ 560666 w 2388669"/>
                    <a:gd name="connsiteY1411" fmla="*/ 493754 h 866050"/>
                    <a:gd name="connsiteX1412" fmla="*/ 553873 w 2388669"/>
                    <a:gd name="connsiteY1412" fmla="*/ 518161 h 866050"/>
                    <a:gd name="connsiteX1413" fmla="*/ 558535 w 2388669"/>
                    <a:gd name="connsiteY1413" fmla="*/ 530973 h 866050"/>
                    <a:gd name="connsiteX1414" fmla="*/ 557235 w 2388669"/>
                    <a:gd name="connsiteY1414" fmla="*/ 539241 h 866050"/>
                    <a:gd name="connsiteX1415" fmla="*/ 558663 w 2388669"/>
                    <a:gd name="connsiteY1415" fmla="*/ 552124 h 866050"/>
                    <a:gd name="connsiteX1416" fmla="*/ 555009 w 2388669"/>
                    <a:gd name="connsiteY1416" fmla="*/ 579634 h 866050"/>
                    <a:gd name="connsiteX1417" fmla="*/ 549282 w 2388669"/>
                    <a:gd name="connsiteY1417" fmla="*/ 602027 h 866050"/>
                    <a:gd name="connsiteX1418" fmla="*/ 542630 w 2388669"/>
                    <a:gd name="connsiteY1418" fmla="*/ 597471 h 866050"/>
                    <a:gd name="connsiteX1419" fmla="*/ 539656 w 2388669"/>
                    <a:gd name="connsiteY1419" fmla="*/ 589507 h 866050"/>
                    <a:gd name="connsiteX1420" fmla="*/ 532652 w 2388669"/>
                    <a:gd name="connsiteY1420" fmla="*/ 586064 h 866050"/>
                    <a:gd name="connsiteX1421" fmla="*/ 527417 w 2388669"/>
                    <a:gd name="connsiteY1421" fmla="*/ 579482 h 866050"/>
                    <a:gd name="connsiteX1422" fmla="*/ 524337 w 2388669"/>
                    <a:gd name="connsiteY1422" fmla="*/ 581157 h 866050"/>
                    <a:gd name="connsiteX1423" fmla="*/ 522498 w 2388669"/>
                    <a:gd name="connsiteY1423" fmla="*/ 591639 h 866050"/>
                    <a:gd name="connsiteX1424" fmla="*/ 519301 w 2388669"/>
                    <a:gd name="connsiteY1424" fmla="*/ 593149 h 866050"/>
                    <a:gd name="connsiteX1425" fmla="*/ 522463 w 2388669"/>
                    <a:gd name="connsiteY1425" fmla="*/ 594848 h 866050"/>
                    <a:gd name="connsiteX1426" fmla="*/ 490678 w 2388669"/>
                    <a:gd name="connsiteY1426" fmla="*/ 580185 h 866050"/>
                    <a:gd name="connsiteX1427" fmla="*/ 493723 w 2388669"/>
                    <a:gd name="connsiteY1427" fmla="*/ 595374 h 866050"/>
                    <a:gd name="connsiteX1428" fmla="*/ 488347 w 2388669"/>
                    <a:gd name="connsiteY1428" fmla="*/ 603690 h 866050"/>
                    <a:gd name="connsiteX1429" fmla="*/ 481602 w 2388669"/>
                    <a:gd name="connsiteY1429" fmla="*/ 593676 h 866050"/>
                    <a:gd name="connsiteX1430" fmla="*/ 470546 w 2388669"/>
                    <a:gd name="connsiteY1430" fmla="*/ 582515 h 866050"/>
                    <a:gd name="connsiteX1431" fmla="*/ 459912 w 2388669"/>
                    <a:gd name="connsiteY1431" fmla="*/ 572654 h 866050"/>
                    <a:gd name="connsiteX1432" fmla="*/ 458202 w 2388669"/>
                    <a:gd name="connsiteY1432" fmla="*/ 567653 h 866050"/>
                    <a:gd name="connsiteX1433" fmla="*/ 453564 w 2388669"/>
                    <a:gd name="connsiteY1433" fmla="*/ 565662 h 866050"/>
                    <a:gd name="connsiteX1434" fmla="*/ 453857 w 2388669"/>
                    <a:gd name="connsiteY1434" fmla="*/ 561072 h 866050"/>
                    <a:gd name="connsiteX1435" fmla="*/ 447287 w 2388669"/>
                    <a:gd name="connsiteY1435" fmla="*/ 556504 h 866050"/>
                    <a:gd name="connsiteX1436" fmla="*/ 441009 w 2388669"/>
                    <a:gd name="connsiteY1436" fmla="*/ 554033 h 866050"/>
                    <a:gd name="connsiteX1437" fmla="*/ 428771 w 2388669"/>
                    <a:gd name="connsiteY1437" fmla="*/ 548329 h 866050"/>
                    <a:gd name="connsiteX1438" fmla="*/ 409985 w 2388669"/>
                    <a:gd name="connsiteY1438" fmla="*/ 531523 h 866050"/>
                    <a:gd name="connsiteX1439" fmla="*/ 381363 w 2388669"/>
                    <a:gd name="connsiteY1439" fmla="*/ 510091 h 866050"/>
                    <a:gd name="connsiteX1440" fmla="*/ 368410 w 2388669"/>
                    <a:gd name="connsiteY1440" fmla="*/ 490966 h 866050"/>
                    <a:gd name="connsiteX1441" fmla="*/ 346380 w 2388669"/>
                    <a:gd name="connsiteY1441" fmla="*/ 471244 h 866050"/>
                    <a:gd name="connsiteX1442" fmla="*/ 321739 w 2388669"/>
                    <a:gd name="connsiteY1442" fmla="*/ 440829 h 866050"/>
                    <a:gd name="connsiteX1443" fmla="*/ 297040 w 2388669"/>
                    <a:gd name="connsiteY1443" fmla="*/ 412769 h 866050"/>
                    <a:gd name="connsiteX1444" fmla="*/ 296723 w 2388669"/>
                    <a:gd name="connsiteY1444" fmla="*/ 400354 h 866050"/>
                    <a:gd name="connsiteX1445" fmla="*/ 291301 w 2388669"/>
                    <a:gd name="connsiteY1445" fmla="*/ 388783 h 866050"/>
                    <a:gd name="connsiteX1446" fmla="*/ 271602 w 2388669"/>
                    <a:gd name="connsiteY1446" fmla="*/ 360031 h 866050"/>
                    <a:gd name="connsiteX1447" fmla="*/ 269787 w 2388669"/>
                    <a:gd name="connsiteY1447" fmla="*/ 350065 h 866050"/>
                    <a:gd name="connsiteX1448" fmla="*/ 271965 w 2388669"/>
                    <a:gd name="connsiteY1448" fmla="*/ 350065 h 866050"/>
                    <a:gd name="connsiteX1449" fmla="*/ 252255 w 2388669"/>
                    <a:gd name="connsiteY1449" fmla="*/ 319521 h 866050"/>
                    <a:gd name="connsiteX1450" fmla="*/ 237697 w 2388669"/>
                    <a:gd name="connsiteY1450" fmla="*/ 300970 h 866050"/>
                    <a:gd name="connsiteX1451" fmla="*/ 229628 w 2388669"/>
                    <a:gd name="connsiteY1451" fmla="*/ 288650 h 866050"/>
                    <a:gd name="connsiteX1452" fmla="*/ 217167 w 2388669"/>
                    <a:gd name="connsiteY1452" fmla="*/ 282794 h 866050"/>
                    <a:gd name="connsiteX1453" fmla="*/ 207962 w 2388669"/>
                    <a:gd name="connsiteY1453" fmla="*/ 281307 h 866050"/>
                    <a:gd name="connsiteX1454" fmla="*/ 204050 w 2388669"/>
                    <a:gd name="connsiteY1454" fmla="*/ 276036 h 866050"/>
                    <a:gd name="connsiteX1455" fmla="*/ 200818 w 2388669"/>
                    <a:gd name="connsiteY1455" fmla="*/ 261736 h 866050"/>
                    <a:gd name="connsiteX1456" fmla="*/ 183215 w 2388669"/>
                    <a:gd name="connsiteY1456" fmla="*/ 212197 h 866050"/>
                    <a:gd name="connsiteX1457" fmla="*/ 185417 w 2388669"/>
                    <a:gd name="connsiteY1457" fmla="*/ 213965 h 866050"/>
                    <a:gd name="connsiteX1458" fmla="*/ 183414 w 2388669"/>
                    <a:gd name="connsiteY1458" fmla="*/ 200965 h 866050"/>
                    <a:gd name="connsiteX1459" fmla="*/ 180439 w 2388669"/>
                    <a:gd name="connsiteY1459" fmla="*/ 202043 h 866050"/>
                    <a:gd name="connsiteX1460" fmla="*/ 173389 w 2388669"/>
                    <a:gd name="connsiteY1460" fmla="*/ 192685 h 866050"/>
                    <a:gd name="connsiteX1461" fmla="*/ 165788 w 2388669"/>
                    <a:gd name="connsiteY1461" fmla="*/ 189594 h 866050"/>
                    <a:gd name="connsiteX1462" fmla="*/ 143829 w 2388669"/>
                    <a:gd name="connsiteY1462" fmla="*/ 175575 h 866050"/>
                    <a:gd name="connsiteX1463" fmla="*/ 134964 w 2388669"/>
                    <a:gd name="connsiteY1463" fmla="*/ 175223 h 866050"/>
                    <a:gd name="connsiteX1464" fmla="*/ 128300 w 2388669"/>
                    <a:gd name="connsiteY1464" fmla="*/ 161064 h 866050"/>
                    <a:gd name="connsiteX1465" fmla="*/ 121870 w 2388669"/>
                    <a:gd name="connsiteY1465" fmla="*/ 143403 h 866050"/>
                    <a:gd name="connsiteX1466" fmla="*/ 110791 w 2388669"/>
                    <a:gd name="connsiteY1466" fmla="*/ 135112 h 866050"/>
                    <a:gd name="connsiteX1467" fmla="*/ 108625 w 2388669"/>
                    <a:gd name="connsiteY1467" fmla="*/ 127745 h 866050"/>
                    <a:gd name="connsiteX1468" fmla="*/ 104104 w 2388669"/>
                    <a:gd name="connsiteY1468" fmla="*/ 124840 h 866050"/>
                    <a:gd name="connsiteX1469" fmla="*/ 93938 w 2388669"/>
                    <a:gd name="connsiteY1469" fmla="*/ 109042 h 866050"/>
                    <a:gd name="connsiteX1470" fmla="*/ 85518 w 2388669"/>
                    <a:gd name="connsiteY1470" fmla="*/ 100328 h 866050"/>
                    <a:gd name="connsiteX1471" fmla="*/ 68899 w 2388669"/>
                    <a:gd name="connsiteY1471" fmla="*/ 98115 h 866050"/>
                    <a:gd name="connsiteX1472" fmla="*/ 46448 w 2388669"/>
                    <a:gd name="connsiteY1472" fmla="*/ 76120 h 866050"/>
                    <a:gd name="connsiteX1473" fmla="*/ 19125 w 2388669"/>
                    <a:gd name="connsiteY1473" fmla="*/ 52018 h 866050"/>
                    <a:gd name="connsiteX1474" fmla="*/ 9943 w 2388669"/>
                    <a:gd name="connsiteY1474" fmla="*/ 36770 h 866050"/>
                    <a:gd name="connsiteX1475" fmla="*/ 0 w 2388669"/>
                    <a:gd name="connsiteY1475" fmla="*/ 17727 h 866050"/>
                    <a:gd name="connsiteX1476" fmla="*/ 1288 w 2388669"/>
                    <a:gd name="connsiteY1476" fmla="*/ 2701 h 866050"/>
                    <a:gd name="connsiteX1477" fmla="*/ 15752 w 2388669"/>
                    <a:gd name="connsiteY1477" fmla="*/ 1389 h 866050"/>
                    <a:gd name="connsiteX1478" fmla="*/ 15752 w 2388669"/>
                    <a:gd name="connsiteY1478" fmla="*/ 1389 h 866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Lst>
                  <a:rect l="l" t="t" r="r" b="b"/>
                  <a:pathLst>
                    <a:path w="2388669" h="866050">
                      <a:moveTo>
                        <a:pt x="1469457" y="847524"/>
                      </a:moveTo>
                      <a:cubicBezTo>
                        <a:pt x="1474774" y="850850"/>
                        <a:pt x="1468544" y="852818"/>
                        <a:pt x="1463356" y="856050"/>
                      </a:cubicBezTo>
                      <a:cubicBezTo>
                        <a:pt x="1461622" y="857139"/>
                        <a:pt x="1461821" y="859282"/>
                        <a:pt x="1459315" y="860664"/>
                      </a:cubicBezTo>
                      <a:cubicBezTo>
                        <a:pt x="1455860" y="862561"/>
                        <a:pt x="1448248" y="860921"/>
                        <a:pt x="1448599" y="865185"/>
                      </a:cubicBezTo>
                      <a:cubicBezTo>
                        <a:pt x="1442321" y="868183"/>
                        <a:pt x="1437567" y="862796"/>
                        <a:pt x="1441385" y="858169"/>
                      </a:cubicBezTo>
                      <a:cubicBezTo>
                        <a:pt x="1443750" y="855312"/>
                        <a:pt x="1448493" y="856694"/>
                        <a:pt x="1451456" y="855465"/>
                      </a:cubicBezTo>
                      <a:cubicBezTo>
                        <a:pt x="1455450" y="853813"/>
                        <a:pt x="1457757" y="849749"/>
                        <a:pt x="1460521" y="847641"/>
                      </a:cubicBezTo>
                      <a:cubicBezTo>
                        <a:pt x="1462828" y="845896"/>
                        <a:pt x="1468263" y="843225"/>
                        <a:pt x="1470230" y="840228"/>
                      </a:cubicBezTo>
                      <a:cubicBezTo>
                        <a:pt x="1470511" y="843015"/>
                        <a:pt x="1470429" y="844912"/>
                        <a:pt x="1469457" y="847524"/>
                      </a:cubicBezTo>
                      <a:lnTo>
                        <a:pt x="1469457" y="847524"/>
                      </a:lnTo>
                      <a:close/>
                      <a:moveTo>
                        <a:pt x="1294206" y="783579"/>
                      </a:moveTo>
                      <a:cubicBezTo>
                        <a:pt x="1297673" y="790360"/>
                        <a:pt x="1301408" y="786753"/>
                        <a:pt x="1304688" y="790020"/>
                      </a:cubicBezTo>
                      <a:cubicBezTo>
                        <a:pt x="1307557" y="792890"/>
                        <a:pt x="1305332" y="797211"/>
                        <a:pt x="1309290" y="799296"/>
                      </a:cubicBezTo>
                      <a:cubicBezTo>
                        <a:pt x="1311820" y="800607"/>
                        <a:pt x="1315181" y="797610"/>
                        <a:pt x="1318741" y="798710"/>
                      </a:cubicBezTo>
                      <a:cubicBezTo>
                        <a:pt x="1322840" y="799963"/>
                        <a:pt x="1325288" y="807775"/>
                        <a:pt x="1328239" y="810925"/>
                      </a:cubicBezTo>
                      <a:cubicBezTo>
                        <a:pt x="1330980" y="813853"/>
                        <a:pt x="1337550" y="814884"/>
                        <a:pt x="1337398" y="820119"/>
                      </a:cubicBezTo>
                      <a:cubicBezTo>
                        <a:pt x="1337281" y="824311"/>
                        <a:pt x="1330395" y="828036"/>
                        <a:pt x="1327268" y="829382"/>
                      </a:cubicBezTo>
                      <a:cubicBezTo>
                        <a:pt x="1318847" y="832978"/>
                        <a:pt x="1310988" y="833669"/>
                        <a:pt x="1301291" y="828434"/>
                      </a:cubicBezTo>
                      <a:cubicBezTo>
                        <a:pt x="1295576" y="825330"/>
                        <a:pt x="1293152" y="818034"/>
                        <a:pt x="1288022" y="814977"/>
                      </a:cubicBezTo>
                      <a:cubicBezTo>
                        <a:pt x="1283373" y="812202"/>
                        <a:pt x="1276849" y="807025"/>
                        <a:pt x="1273430" y="805550"/>
                      </a:cubicBezTo>
                      <a:cubicBezTo>
                        <a:pt x="1269190" y="803711"/>
                        <a:pt x="1265653" y="806159"/>
                        <a:pt x="1262877" y="805889"/>
                      </a:cubicBezTo>
                      <a:cubicBezTo>
                        <a:pt x="1260828" y="805691"/>
                        <a:pt x="1257537" y="804578"/>
                        <a:pt x="1255066" y="803992"/>
                      </a:cubicBezTo>
                      <a:cubicBezTo>
                        <a:pt x="1248929" y="802552"/>
                        <a:pt x="1235039" y="798979"/>
                        <a:pt x="1239829" y="790430"/>
                      </a:cubicBezTo>
                      <a:cubicBezTo>
                        <a:pt x="1243846" y="783263"/>
                        <a:pt x="1259505" y="784094"/>
                        <a:pt x="1265782" y="783661"/>
                      </a:cubicBezTo>
                      <a:cubicBezTo>
                        <a:pt x="1269717" y="783391"/>
                        <a:pt x="1274320" y="784328"/>
                        <a:pt x="1277657" y="784363"/>
                      </a:cubicBezTo>
                      <a:cubicBezTo>
                        <a:pt x="1284110" y="784422"/>
                        <a:pt x="1291009" y="777559"/>
                        <a:pt x="1294206" y="783579"/>
                      </a:cubicBezTo>
                      <a:lnTo>
                        <a:pt x="1294206" y="783579"/>
                      </a:lnTo>
                      <a:close/>
                      <a:moveTo>
                        <a:pt x="1550911" y="768693"/>
                      </a:moveTo>
                      <a:cubicBezTo>
                        <a:pt x="1555186" y="768670"/>
                        <a:pt x="1557575" y="763763"/>
                        <a:pt x="1560245" y="765121"/>
                      </a:cubicBezTo>
                      <a:cubicBezTo>
                        <a:pt x="1563091" y="766562"/>
                        <a:pt x="1563981" y="772687"/>
                        <a:pt x="1562049" y="774631"/>
                      </a:cubicBezTo>
                      <a:cubicBezTo>
                        <a:pt x="1559448" y="777254"/>
                        <a:pt x="1554307" y="772605"/>
                        <a:pt x="1552457" y="775673"/>
                      </a:cubicBezTo>
                      <a:cubicBezTo>
                        <a:pt x="1550044" y="779632"/>
                        <a:pt x="1556228" y="782853"/>
                        <a:pt x="1556825" y="786355"/>
                      </a:cubicBezTo>
                      <a:cubicBezTo>
                        <a:pt x="1558839" y="798206"/>
                        <a:pt x="1541190" y="809789"/>
                        <a:pt x="1532699" y="817437"/>
                      </a:cubicBezTo>
                      <a:cubicBezTo>
                        <a:pt x="1526117" y="823363"/>
                        <a:pt x="1526328" y="825740"/>
                        <a:pt x="1516444" y="826162"/>
                      </a:cubicBezTo>
                      <a:cubicBezTo>
                        <a:pt x="1508574" y="826490"/>
                        <a:pt x="1509077" y="828446"/>
                        <a:pt x="1503666" y="832064"/>
                      </a:cubicBezTo>
                      <a:cubicBezTo>
                        <a:pt x="1498326" y="835636"/>
                        <a:pt x="1491486" y="836995"/>
                        <a:pt x="1485760" y="836327"/>
                      </a:cubicBezTo>
                      <a:cubicBezTo>
                        <a:pt x="1482223" y="835929"/>
                        <a:pt x="1477749" y="833809"/>
                        <a:pt x="1474692" y="836621"/>
                      </a:cubicBezTo>
                      <a:cubicBezTo>
                        <a:pt x="1476168" y="830917"/>
                        <a:pt x="1476121" y="829640"/>
                        <a:pt x="1481274" y="826150"/>
                      </a:cubicBezTo>
                      <a:cubicBezTo>
                        <a:pt x="1484787" y="823772"/>
                        <a:pt x="1492775" y="823656"/>
                        <a:pt x="1487434" y="819217"/>
                      </a:cubicBezTo>
                      <a:cubicBezTo>
                        <a:pt x="1481836" y="814579"/>
                        <a:pt x="1480337" y="824780"/>
                        <a:pt x="1481930" y="813033"/>
                      </a:cubicBezTo>
                      <a:cubicBezTo>
                        <a:pt x="1482129" y="811604"/>
                        <a:pt x="1483768" y="807107"/>
                        <a:pt x="1484120" y="805304"/>
                      </a:cubicBezTo>
                      <a:cubicBezTo>
                        <a:pt x="1485771" y="796427"/>
                        <a:pt x="1490526" y="792690"/>
                        <a:pt x="1497401" y="787549"/>
                      </a:cubicBezTo>
                      <a:cubicBezTo>
                        <a:pt x="1504639" y="782138"/>
                        <a:pt x="1501687" y="784434"/>
                        <a:pt x="1509218" y="786823"/>
                      </a:cubicBezTo>
                      <a:cubicBezTo>
                        <a:pt x="1511021" y="787397"/>
                        <a:pt x="1516772" y="782724"/>
                        <a:pt x="1515682" y="791133"/>
                      </a:cubicBezTo>
                      <a:cubicBezTo>
                        <a:pt x="1522569" y="790290"/>
                        <a:pt x="1521573" y="777723"/>
                        <a:pt x="1525743" y="774244"/>
                      </a:cubicBezTo>
                      <a:cubicBezTo>
                        <a:pt x="1527008" y="773179"/>
                        <a:pt x="1531774" y="773870"/>
                        <a:pt x="1533777" y="773003"/>
                      </a:cubicBezTo>
                      <a:cubicBezTo>
                        <a:pt x="1536529" y="771797"/>
                        <a:pt x="1536494" y="769525"/>
                        <a:pt x="1538332" y="768342"/>
                      </a:cubicBezTo>
                      <a:cubicBezTo>
                        <a:pt x="1541905" y="766035"/>
                        <a:pt x="1546390" y="764922"/>
                        <a:pt x="1550220" y="762779"/>
                      </a:cubicBezTo>
                      <a:cubicBezTo>
                        <a:pt x="1549330" y="765215"/>
                        <a:pt x="1550864" y="766960"/>
                        <a:pt x="1550911" y="768693"/>
                      </a:cubicBezTo>
                      <a:lnTo>
                        <a:pt x="1550911" y="768693"/>
                      </a:lnTo>
                      <a:close/>
                      <a:moveTo>
                        <a:pt x="1123709" y="732809"/>
                      </a:moveTo>
                      <a:cubicBezTo>
                        <a:pt x="1120383" y="736346"/>
                        <a:pt x="1119353" y="741815"/>
                        <a:pt x="1116975" y="745985"/>
                      </a:cubicBezTo>
                      <a:cubicBezTo>
                        <a:pt x="1114809" y="749768"/>
                        <a:pt x="1110581" y="753047"/>
                        <a:pt x="1111494" y="757310"/>
                      </a:cubicBezTo>
                      <a:cubicBezTo>
                        <a:pt x="1114317" y="756244"/>
                        <a:pt x="1112537" y="757509"/>
                        <a:pt x="1115652" y="757579"/>
                      </a:cubicBezTo>
                      <a:cubicBezTo>
                        <a:pt x="1113310" y="759687"/>
                        <a:pt x="1110557" y="760554"/>
                        <a:pt x="1107512" y="760074"/>
                      </a:cubicBezTo>
                      <a:cubicBezTo>
                        <a:pt x="1108356" y="758832"/>
                        <a:pt x="1108766" y="757603"/>
                        <a:pt x="1109550" y="756326"/>
                      </a:cubicBezTo>
                      <a:cubicBezTo>
                        <a:pt x="1105650" y="755834"/>
                        <a:pt x="1104725" y="758680"/>
                        <a:pt x="1105966" y="762369"/>
                      </a:cubicBezTo>
                      <a:cubicBezTo>
                        <a:pt x="1104749" y="760156"/>
                        <a:pt x="1091339" y="757579"/>
                        <a:pt x="1088282" y="758680"/>
                      </a:cubicBezTo>
                      <a:cubicBezTo>
                        <a:pt x="1089172" y="755214"/>
                        <a:pt x="1087029" y="760074"/>
                        <a:pt x="1085050" y="759465"/>
                      </a:cubicBezTo>
                      <a:cubicBezTo>
                        <a:pt x="1084089" y="759172"/>
                        <a:pt x="1076500" y="754874"/>
                        <a:pt x="1075997" y="753843"/>
                      </a:cubicBezTo>
                      <a:cubicBezTo>
                        <a:pt x="1073924" y="749510"/>
                        <a:pt x="1086900" y="750927"/>
                        <a:pt x="1088376" y="752157"/>
                      </a:cubicBezTo>
                      <a:cubicBezTo>
                        <a:pt x="1088376" y="752157"/>
                        <a:pt x="1089594" y="750482"/>
                        <a:pt x="1089711" y="750424"/>
                      </a:cubicBezTo>
                      <a:cubicBezTo>
                        <a:pt x="1088914" y="749533"/>
                        <a:pt x="1085764" y="737400"/>
                        <a:pt x="1086396" y="735620"/>
                      </a:cubicBezTo>
                      <a:cubicBezTo>
                        <a:pt x="1086959" y="734051"/>
                        <a:pt x="1093259" y="730607"/>
                        <a:pt x="1095110" y="729214"/>
                      </a:cubicBezTo>
                      <a:cubicBezTo>
                        <a:pt x="1102078" y="723955"/>
                        <a:pt x="1104163" y="721953"/>
                        <a:pt x="1113064" y="725056"/>
                      </a:cubicBezTo>
                      <a:cubicBezTo>
                        <a:pt x="1117326" y="726520"/>
                        <a:pt x="1122784" y="727551"/>
                        <a:pt x="1123709" y="732809"/>
                      </a:cubicBezTo>
                      <a:lnTo>
                        <a:pt x="1123709" y="732809"/>
                      </a:lnTo>
                      <a:close/>
                      <a:moveTo>
                        <a:pt x="1499181" y="725045"/>
                      </a:moveTo>
                      <a:cubicBezTo>
                        <a:pt x="1497331" y="728324"/>
                        <a:pt x="1493524" y="726298"/>
                        <a:pt x="1490526" y="728289"/>
                      </a:cubicBezTo>
                      <a:cubicBezTo>
                        <a:pt x="1488992" y="729308"/>
                        <a:pt x="1488641" y="732657"/>
                        <a:pt x="1487024" y="734004"/>
                      </a:cubicBezTo>
                      <a:cubicBezTo>
                        <a:pt x="1485315" y="735433"/>
                        <a:pt x="1484003" y="733664"/>
                        <a:pt x="1483979" y="733676"/>
                      </a:cubicBezTo>
                      <a:cubicBezTo>
                        <a:pt x="1480138" y="737564"/>
                        <a:pt x="1481602" y="745305"/>
                        <a:pt x="1476168" y="739614"/>
                      </a:cubicBezTo>
                      <a:cubicBezTo>
                        <a:pt x="1472690" y="745809"/>
                        <a:pt x="1471870" y="741230"/>
                        <a:pt x="1468157" y="740773"/>
                      </a:cubicBezTo>
                      <a:cubicBezTo>
                        <a:pt x="1467490" y="740691"/>
                        <a:pt x="1463636" y="742014"/>
                        <a:pt x="1463016" y="740949"/>
                      </a:cubicBezTo>
                      <a:cubicBezTo>
                        <a:pt x="1461435" y="738220"/>
                        <a:pt x="1483792" y="725817"/>
                        <a:pt x="1469364" y="728863"/>
                      </a:cubicBezTo>
                      <a:cubicBezTo>
                        <a:pt x="1471062" y="725759"/>
                        <a:pt x="1475992" y="725490"/>
                        <a:pt x="1479681" y="725255"/>
                      </a:cubicBezTo>
                      <a:cubicBezTo>
                        <a:pt x="1474270" y="731685"/>
                        <a:pt x="1483159" y="733688"/>
                        <a:pt x="1480442" y="728324"/>
                      </a:cubicBezTo>
                      <a:cubicBezTo>
                        <a:pt x="1485315" y="728277"/>
                        <a:pt x="1481075" y="725431"/>
                        <a:pt x="1483546" y="723967"/>
                      </a:cubicBezTo>
                      <a:cubicBezTo>
                        <a:pt x="1483218" y="724166"/>
                        <a:pt x="1487821" y="724002"/>
                        <a:pt x="1487189" y="724143"/>
                      </a:cubicBezTo>
                      <a:cubicBezTo>
                        <a:pt x="1493957" y="722702"/>
                        <a:pt x="1492014" y="723171"/>
                        <a:pt x="1499181" y="725045"/>
                      </a:cubicBezTo>
                      <a:lnTo>
                        <a:pt x="1499181" y="725045"/>
                      </a:lnTo>
                      <a:close/>
                      <a:moveTo>
                        <a:pt x="1531903" y="719130"/>
                      </a:moveTo>
                      <a:cubicBezTo>
                        <a:pt x="1532758" y="724752"/>
                        <a:pt x="1548287" y="719751"/>
                        <a:pt x="1554237" y="720899"/>
                      </a:cubicBezTo>
                      <a:cubicBezTo>
                        <a:pt x="1557797" y="721590"/>
                        <a:pt x="1565351" y="721601"/>
                        <a:pt x="1561568" y="729097"/>
                      </a:cubicBezTo>
                      <a:cubicBezTo>
                        <a:pt x="1559624" y="732973"/>
                        <a:pt x="1546765" y="732997"/>
                        <a:pt x="1542666" y="733594"/>
                      </a:cubicBezTo>
                      <a:cubicBezTo>
                        <a:pt x="1538485" y="734203"/>
                        <a:pt x="1528085" y="737295"/>
                        <a:pt x="1524829" y="736709"/>
                      </a:cubicBezTo>
                      <a:cubicBezTo>
                        <a:pt x="1513949" y="734695"/>
                        <a:pt x="1526762" y="728054"/>
                        <a:pt x="1530814" y="723990"/>
                      </a:cubicBezTo>
                      <a:cubicBezTo>
                        <a:pt x="1528085" y="724377"/>
                        <a:pt x="1525415" y="725653"/>
                        <a:pt x="1522721" y="726169"/>
                      </a:cubicBezTo>
                      <a:cubicBezTo>
                        <a:pt x="1523775" y="721695"/>
                        <a:pt x="1526598" y="718006"/>
                        <a:pt x="1531903" y="719130"/>
                      </a:cubicBezTo>
                      <a:lnTo>
                        <a:pt x="1531903" y="719130"/>
                      </a:lnTo>
                      <a:close/>
                      <a:moveTo>
                        <a:pt x="1187772" y="717502"/>
                      </a:moveTo>
                      <a:cubicBezTo>
                        <a:pt x="1195630" y="717713"/>
                        <a:pt x="1195103" y="719446"/>
                        <a:pt x="1199143" y="725267"/>
                      </a:cubicBezTo>
                      <a:cubicBezTo>
                        <a:pt x="1203149" y="731041"/>
                        <a:pt x="1203617" y="731545"/>
                        <a:pt x="1209356" y="729308"/>
                      </a:cubicBezTo>
                      <a:cubicBezTo>
                        <a:pt x="1213853" y="727574"/>
                        <a:pt x="1213478" y="723709"/>
                        <a:pt x="1219849" y="726403"/>
                      </a:cubicBezTo>
                      <a:cubicBezTo>
                        <a:pt x="1226490" y="729202"/>
                        <a:pt x="1225705" y="734121"/>
                        <a:pt x="1223398" y="740715"/>
                      </a:cubicBezTo>
                      <a:cubicBezTo>
                        <a:pt x="1228399" y="738759"/>
                        <a:pt x="1224815" y="734320"/>
                        <a:pt x="1227239" y="730982"/>
                      </a:cubicBezTo>
                      <a:cubicBezTo>
                        <a:pt x="1230448" y="726544"/>
                        <a:pt x="1237920" y="726075"/>
                        <a:pt x="1241504" y="729706"/>
                      </a:cubicBezTo>
                      <a:cubicBezTo>
                        <a:pt x="1245509" y="733758"/>
                        <a:pt x="1240778" y="741991"/>
                        <a:pt x="1243612" y="745341"/>
                      </a:cubicBezTo>
                      <a:cubicBezTo>
                        <a:pt x="1246470" y="748749"/>
                        <a:pt x="1249667" y="743642"/>
                        <a:pt x="1250171" y="741652"/>
                      </a:cubicBezTo>
                      <a:cubicBezTo>
                        <a:pt x="1253578" y="746453"/>
                        <a:pt x="1250416" y="750646"/>
                        <a:pt x="1246118" y="751349"/>
                      </a:cubicBezTo>
                      <a:cubicBezTo>
                        <a:pt x="1238447" y="752613"/>
                        <a:pt x="1233423" y="745903"/>
                        <a:pt x="1225893" y="751559"/>
                      </a:cubicBezTo>
                      <a:cubicBezTo>
                        <a:pt x="1227801" y="752906"/>
                        <a:pt x="1241562" y="753726"/>
                        <a:pt x="1237897" y="756713"/>
                      </a:cubicBezTo>
                      <a:cubicBezTo>
                        <a:pt x="1235367" y="758797"/>
                        <a:pt x="1231069" y="754815"/>
                        <a:pt x="1229289" y="754628"/>
                      </a:cubicBezTo>
                      <a:cubicBezTo>
                        <a:pt x="1223433" y="754042"/>
                        <a:pt x="1211769" y="761514"/>
                        <a:pt x="1209461" y="754042"/>
                      </a:cubicBezTo>
                      <a:cubicBezTo>
                        <a:pt x="1208442" y="750740"/>
                        <a:pt x="1213467" y="747812"/>
                        <a:pt x="1210902" y="742858"/>
                      </a:cubicBezTo>
                      <a:cubicBezTo>
                        <a:pt x="1210843" y="746160"/>
                        <a:pt x="1207353" y="750178"/>
                        <a:pt x="1204659" y="752426"/>
                      </a:cubicBezTo>
                      <a:cubicBezTo>
                        <a:pt x="1198511" y="757568"/>
                        <a:pt x="1196801" y="755752"/>
                        <a:pt x="1191250" y="757263"/>
                      </a:cubicBezTo>
                      <a:cubicBezTo>
                        <a:pt x="1188533" y="758001"/>
                        <a:pt x="1184117" y="760320"/>
                        <a:pt x="1181377" y="760589"/>
                      </a:cubicBezTo>
                      <a:cubicBezTo>
                        <a:pt x="1180042" y="760729"/>
                        <a:pt x="1175814" y="760027"/>
                        <a:pt x="1174069" y="760566"/>
                      </a:cubicBezTo>
                      <a:cubicBezTo>
                        <a:pt x="1167253" y="762685"/>
                        <a:pt x="1162252" y="767944"/>
                        <a:pt x="1154558" y="767897"/>
                      </a:cubicBezTo>
                      <a:cubicBezTo>
                        <a:pt x="1152367" y="767885"/>
                        <a:pt x="1150294" y="765730"/>
                        <a:pt x="1148022" y="766035"/>
                      </a:cubicBezTo>
                      <a:cubicBezTo>
                        <a:pt x="1145177" y="766410"/>
                        <a:pt x="1145118" y="769432"/>
                        <a:pt x="1142260" y="769865"/>
                      </a:cubicBezTo>
                      <a:cubicBezTo>
                        <a:pt x="1135901" y="770813"/>
                        <a:pt x="1123229" y="767253"/>
                        <a:pt x="1123803" y="760250"/>
                      </a:cubicBezTo>
                      <a:cubicBezTo>
                        <a:pt x="1123990" y="758036"/>
                        <a:pt x="1126391" y="756583"/>
                        <a:pt x="1126555" y="755401"/>
                      </a:cubicBezTo>
                      <a:cubicBezTo>
                        <a:pt x="1126708" y="754347"/>
                        <a:pt x="1126227" y="752965"/>
                        <a:pt x="1126391" y="751606"/>
                      </a:cubicBezTo>
                      <a:cubicBezTo>
                        <a:pt x="1126262" y="752555"/>
                        <a:pt x="1123990" y="747273"/>
                        <a:pt x="1124002" y="747226"/>
                      </a:cubicBezTo>
                      <a:cubicBezTo>
                        <a:pt x="1124740" y="742284"/>
                        <a:pt x="1128148" y="743572"/>
                        <a:pt x="1128652" y="738934"/>
                      </a:cubicBezTo>
                      <a:cubicBezTo>
                        <a:pt x="1135281" y="742963"/>
                        <a:pt x="1140715" y="732763"/>
                        <a:pt x="1144415" y="731779"/>
                      </a:cubicBezTo>
                      <a:cubicBezTo>
                        <a:pt x="1149334" y="730479"/>
                        <a:pt x="1154745" y="735585"/>
                        <a:pt x="1159734" y="737517"/>
                      </a:cubicBezTo>
                      <a:cubicBezTo>
                        <a:pt x="1159114" y="733372"/>
                        <a:pt x="1162592" y="733372"/>
                        <a:pt x="1166211" y="733535"/>
                      </a:cubicBezTo>
                      <a:cubicBezTo>
                        <a:pt x="1166480" y="735257"/>
                        <a:pt x="1167874" y="737588"/>
                        <a:pt x="1167991" y="739286"/>
                      </a:cubicBezTo>
                      <a:cubicBezTo>
                        <a:pt x="1168166" y="737787"/>
                        <a:pt x="1168846" y="736194"/>
                        <a:pt x="1169068" y="734976"/>
                      </a:cubicBezTo>
                      <a:cubicBezTo>
                        <a:pt x="1169736" y="743174"/>
                        <a:pt x="1176107" y="740832"/>
                        <a:pt x="1178391" y="745774"/>
                      </a:cubicBezTo>
                      <a:cubicBezTo>
                        <a:pt x="1178297" y="745879"/>
                        <a:pt x="1176950" y="745914"/>
                        <a:pt x="1176610" y="746137"/>
                      </a:cubicBezTo>
                      <a:cubicBezTo>
                        <a:pt x="1177500" y="750353"/>
                        <a:pt x="1182220" y="750295"/>
                        <a:pt x="1184200" y="750259"/>
                      </a:cubicBezTo>
                      <a:cubicBezTo>
                        <a:pt x="1188990" y="750154"/>
                        <a:pt x="1187607" y="748608"/>
                        <a:pt x="1192128" y="747402"/>
                      </a:cubicBezTo>
                      <a:cubicBezTo>
                        <a:pt x="1195408" y="746524"/>
                        <a:pt x="1210738" y="746688"/>
                        <a:pt x="1201427" y="741066"/>
                      </a:cubicBezTo>
                      <a:cubicBezTo>
                        <a:pt x="1200877" y="741511"/>
                        <a:pt x="1200912" y="742097"/>
                        <a:pt x="1200186" y="742542"/>
                      </a:cubicBezTo>
                      <a:cubicBezTo>
                        <a:pt x="1195372" y="733805"/>
                        <a:pt x="1184809" y="737459"/>
                        <a:pt x="1177758" y="727867"/>
                      </a:cubicBezTo>
                      <a:cubicBezTo>
                        <a:pt x="1175076" y="724213"/>
                        <a:pt x="1172605" y="724213"/>
                        <a:pt x="1176212" y="719868"/>
                      </a:cubicBezTo>
                      <a:cubicBezTo>
                        <a:pt x="1178156" y="717526"/>
                        <a:pt x="1185628" y="716273"/>
                        <a:pt x="1187772" y="717502"/>
                      </a:cubicBezTo>
                      <a:lnTo>
                        <a:pt x="1187772" y="717502"/>
                      </a:lnTo>
                      <a:close/>
                      <a:moveTo>
                        <a:pt x="1449184" y="720653"/>
                      </a:moveTo>
                      <a:cubicBezTo>
                        <a:pt x="1449348" y="722199"/>
                        <a:pt x="1451866" y="726813"/>
                        <a:pt x="1451539" y="727832"/>
                      </a:cubicBezTo>
                      <a:cubicBezTo>
                        <a:pt x="1450356" y="731404"/>
                        <a:pt x="1448107" y="728382"/>
                        <a:pt x="1446245" y="730514"/>
                      </a:cubicBezTo>
                      <a:cubicBezTo>
                        <a:pt x="1443832" y="733278"/>
                        <a:pt x="1445671" y="739052"/>
                        <a:pt x="1440565" y="734648"/>
                      </a:cubicBezTo>
                      <a:cubicBezTo>
                        <a:pt x="1436981" y="741031"/>
                        <a:pt x="1445402" y="741991"/>
                        <a:pt x="1435084" y="745622"/>
                      </a:cubicBezTo>
                      <a:cubicBezTo>
                        <a:pt x="1428806" y="747823"/>
                        <a:pt x="1422248" y="750939"/>
                        <a:pt x="1415174" y="751103"/>
                      </a:cubicBezTo>
                      <a:cubicBezTo>
                        <a:pt x="1407690" y="751278"/>
                        <a:pt x="1404165" y="751454"/>
                        <a:pt x="1397150" y="754675"/>
                      </a:cubicBezTo>
                      <a:cubicBezTo>
                        <a:pt x="1392794" y="756677"/>
                        <a:pt x="1380438" y="757673"/>
                        <a:pt x="1379454" y="759816"/>
                      </a:cubicBezTo>
                      <a:cubicBezTo>
                        <a:pt x="1378986" y="755893"/>
                        <a:pt x="1370647" y="752473"/>
                        <a:pt x="1367016" y="754077"/>
                      </a:cubicBezTo>
                      <a:cubicBezTo>
                        <a:pt x="1365798" y="754605"/>
                        <a:pt x="1364979" y="757181"/>
                        <a:pt x="1365213" y="757087"/>
                      </a:cubicBezTo>
                      <a:cubicBezTo>
                        <a:pt x="1365447" y="756994"/>
                        <a:pt x="1364744" y="759629"/>
                        <a:pt x="1363948" y="760050"/>
                      </a:cubicBezTo>
                      <a:cubicBezTo>
                        <a:pt x="1362109" y="761034"/>
                        <a:pt x="1360797" y="759383"/>
                        <a:pt x="1359053" y="759793"/>
                      </a:cubicBezTo>
                      <a:cubicBezTo>
                        <a:pt x="1355012" y="760707"/>
                        <a:pt x="1347002" y="762591"/>
                        <a:pt x="1342902" y="760940"/>
                      </a:cubicBezTo>
                      <a:cubicBezTo>
                        <a:pt x="1341228" y="760261"/>
                        <a:pt x="1338885" y="756748"/>
                        <a:pt x="1338007" y="756502"/>
                      </a:cubicBezTo>
                      <a:cubicBezTo>
                        <a:pt x="1335899" y="755928"/>
                        <a:pt x="1334119" y="757849"/>
                        <a:pt x="1333428" y="757720"/>
                      </a:cubicBezTo>
                      <a:cubicBezTo>
                        <a:pt x="1326869" y="756513"/>
                        <a:pt x="1323157" y="753082"/>
                        <a:pt x="1315790" y="754066"/>
                      </a:cubicBezTo>
                      <a:cubicBezTo>
                        <a:pt x="1313565" y="754347"/>
                        <a:pt x="1311387" y="756092"/>
                        <a:pt x="1309267" y="755858"/>
                      </a:cubicBezTo>
                      <a:cubicBezTo>
                        <a:pt x="1306503" y="755553"/>
                        <a:pt x="1304442" y="752824"/>
                        <a:pt x="1302205" y="752649"/>
                      </a:cubicBezTo>
                      <a:cubicBezTo>
                        <a:pt x="1298398" y="752332"/>
                        <a:pt x="1293421" y="756232"/>
                        <a:pt x="1290247" y="756385"/>
                      </a:cubicBezTo>
                      <a:cubicBezTo>
                        <a:pt x="1287624" y="756513"/>
                        <a:pt x="1291793" y="757790"/>
                        <a:pt x="1287940" y="754675"/>
                      </a:cubicBezTo>
                      <a:cubicBezTo>
                        <a:pt x="1286254" y="753316"/>
                        <a:pt x="1284673" y="754663"/>
                        <a:pt x="1283642" y="751782"/>
                      </a:cubicBezTo>
                      <a:cubicBezTo>
                        <a:pt x="1280773" y="743818"/>
                        <a:pt x="1288455" y="740258"/>
                        <a:pt x="1286664" y="733957"/>
                      </a:cubicBezTo>
                      <a:cubicBezTo>
                        <a:pt x="1290166" y="737775"/>
                        <a:pt x="1298527" y="733254"/>
                        <a:pt x="1299886" y="730701"/>
                      </a:cubicBezTo>
                      <a:cubicBezTo>
                        <a:pt x="1302146" y="731603"/>
                        <a:pt x="1311691" y="724553"/>
                        <a:pt x="1315310" y="724436"/>
                      </a:cubicBezTo>
                      <a:cubicBezTo>
                        <a:pt x="1317125" y="724377"/>
                        <a:pt x="1324820" y="730245"/>
                        <a:pt x="1324562" y="724541"/>
                      </a:cubicBezTo>
                      <a:cubicBezTo>
                        <a:pt x="1334740" y="729507"/>
                        <a:pt x="1344987" y="730959"/>
                        <a:pt x="1355527" y="735362"/>
                      </a:cubicBezTo>
                      <a:cubicBezTo>
                        <a:pt x="1364990" y="739321"/>
                        <a:pt x="1369207" y="745704"/>
                        <a:pt x="1377475" y="740750"/>
                      </a:cubicBezTo>
                      <a:cubicBezTo>
                        <a:pt x="1376831" y="736264"/>
                        <a:pt x="1389140" y="737986"/>
                        <a:pt x="1394363" y="737189"/>
                      </a:cubicBezTo>
                      <a:cubicBezTo>
                        <a:pt x="1395007" y="737096"/>
                        <a:pt x="1396928" y="734929"/>
                        <a:pt x="1397946" y="735058"/>
                      </a:cubicBezTo>
                      <a:cubicBezTo>
                        <a:pt x="1401366" y="735538"/>
                        <a:pt x="1397876" y="737342"/>
                        <a:pt x="1399164" y="737986"/>
                      </a:cubicBezTo>
                      <a:cubicBezTo>
                        <a:pt x="1401940" y="739356"/>
                        <a:pt x="1407046" y="743818"/>
                        <a:pt x="1410267" y="744861"/>
                      </a:cubicBezTo>
                      <a:cubicBezTo>
                        <a:pt x="1426089" y="749979"/>
                        <a:pt x="1420702" y="736838"/>
                        <a:pt x="1429544" y="732798"/>
                      </a:cubicBezTo>
                      <a:cubicBezTo>
                        <a:pt x="1433749" y="730877"/>
                        <a:pt x="1436536" y="731100"/>
                        <a:pt x="1440694" y="728324"/>
                      </a:cubicBezTo>
                      <a:cubicBezTo>
                        <a:pt x="1449442" y="722503"/>
                        <a:pt x="1447275" y="724611"/>
                        <a:pt x="1441232" y="722855"/>
                      </a:cubicBezTo>
                      <a:cubicBezTo>
                        <a:pt x="1440354" y="722597"/>
                        <a:pt x="1437941" y="726204"/>
                        <a:pt x="1436595" y="724365"/>
                      </a:cubicBezTo>
                      <a:cubicBezTo>
                        <a:pt x="1436372" y="724061"/>
                        <a:pt x="1438808" y="718521"/>
                        <a:pt x="1439417" y="718053"/>
                      </a:cubicBezTo>
                      <a:cubicBezTo>
                        <a:pt x="1443551" y="714879"/>
                        <a:pt x="1446221" y="717127"/>
                        <a:pt x="1449184" y="720653"/>
                      </a:cubicBezTo>
                      <a:lnTo>
                        <a:pt x="1449184" y="720653"/>
                      </a:lnTo>
                      <a:close/>
                      <a:moveTo>
                        <a:pt x="1058992" y="721309"/>
                      </a:moveTo>
                      <a:cubicBezTo>
                        <a:pt x="1089840" y="740656"/>
                        <a:pt x="1038906" y="738829"/>
                        <a:pt x="1044282" y="753679"/>
                      </a:cubicBezTo>
                      <a:cubicBezTo>
                        <a:pt x="1044984" y="752543"/>
                        <a:pt x="1043532" y="753082"/>
                        <a:pt x="1044902" y="751852"/>
                      </a:cubicBezTo>
                      <a:cubicBezTo>
                        <a:pt x="1045980" y="755928"/>
                        <a:pt x="1039656" y="759746"/>
                        <a:pt x="1037723" y="756022"/>
                      </a:cubicBezTo>
                      <a:cubicBezTo>
                        <a:pt x="1037571" y="755764"/>
                        <a:pt x="1042607" y="751197"/>
                        <a:pt x="1040944" y="747051"/>
                      </a:cubicBezTo>
                      <a:cubicBezTo>
                        <a:pt x="1036224" y="735304"/>
                        <a:pt x="1018107" y="736416"/>
                        <a:pt x="1010260" y="730924"/>
                      </a:cubicBezTo>
                      <a:cubicBezTo>
                        <a:pt x="1004767" y="727071"/>
                        <a:pt x="1001956" y="719236"/>
                        <a:pt x="1007273" y="717198"/>
                      </a:cubicBezTo>
                      <a:cubicBezTo>
                        <a:pt x="1008585" y="716706"/>
                        <a:pt x="1018142" y="720313"/>
                        <a:pt x="1021046" y="720840"/>
                      </a:cubicBezTo>
                      <a:cubicBezTo>
                        <a:pt x="1024653" y="721508"/>
                        <a:pt x="1028096" y="722925"/>
                        <a:pt x="1031961" y="721730"/>
                      </a:cubicBezTo>
                      <a:cubicBezTo>
                        <a:pt x="1035393" y="720664"/>
                        <a:pt x="1037266" y="716765"/>
                        <a:pt x="1040358" y="715839"/>
                      </a:cubicBezTo>
                      <a:cubicBezTo>
                        <a:pt x="1045910" y="714188"/>
                        <a:pt x="1053815" y="719130"/>
                        <a:pt x="1058992" y="721309"/>
                      </a:cubicBezTo>
                      <a:lnTo>
                        <a:pt x="1058992" y="721309"/>
                      </a:lnTo>
                      <a:close/>
                      <a:moveTo>
                        <a:pt x="1644217" y="694829"/>
                      </a:moveTo>
                      <a:cubicBezTo>
                        <a:pt x="1646219" y="694232"/>
                        <a:pt x="1652485" y="695356"/>
                        <a:pt x="1650330" y="699022"/>
                      </a:cubicBezTo>
                      <a:cubicBezTo>
                        <a:pt x="1649604" y="700275"/>
                        <a:pt x="1644814" y="698764"/>
                        <a:pt x="1643233" y="699186"/>
                      </a:cubicBezTo>
                      <a:cubicBezTo>
                        <a:pt x="1636674" y="700919"/>
                        <a:pt x="1633899" y="705088"/>
                        <a:pt x="1630877" y="710499"/>
                      </a:cubicBezTo>
                      <a:cubicBezTo>
                        <a:pt x="1626368" y="706857"/>
                        <a:pt x="1613497" y="705896"/>
                        <a:pt x="1607934" y="706447"/>
                      </a:cubicBezTo>
                      <a:cubicBezTo>
                        <a:pt x="1604725" y="706774"/>
                        <a:pt x="1603484" y="707992"/>
                        <a:pt x="1601188" y="709082"/>
                      </a:cubicBezTo>
                      <a:cubicBezTo>
                        <a:pt x="1594934" y="712010"/>
                        <a:pt x="1595262" y="715031"/>
                        <a:pt x="1596562" y="708754"/>
                      </a:cubicBezTo>
                      <a:cubicBezTo>
                        <a:pt x="1597405" y="704678"/>
                        <a:pt x="1598659" y="701704"/>
                        <a:pt x="1601481" y="698987"/>
                      </a:cubicBezTo>
                      <a:cubicBezTo>
                        <a:pt x="1606154" y="694489"/>
                        <a:pt x="1603543" y="696234"/>
                        <a:pt x="1608403" y="695941"/>
                      </a:cubicBezTo>
                      <a:cubicBezTo>
                        <a:pt x="1613216" y="695661"/>
                        <a:pt x="1618486" y="697628"/>
                        <a:pt x="1623089" y="696199"/>
                      </a:cubicBezTo>
                      <a:cubicBezTo>
                        <a:pt x="1628699" y="694489"/>
                        <a:pt x="1632868" y="690355"/>
                        <a:pt x="1639274" y="689149"/>
                      </a:cubicBezTo>
                      <a:cubicBezTo>
                        <a:pt x="1639778" y="691725"/>
                        <a:pt x="1641558" y="693669"/>
                        <a:pt x="1644217" y="694829"/>
                      </a:cubicBezTo>
                      <a:lnTo>
                        <a:pt x="1644217" y="694829"/>
                      </a:lnTo>
                      <a:close/>
                      <a:moveTo>
                        <a:pt x="2279087" y="714410"/>
                      </a:moveTo>
                      <a:cubicBezTo>
                        <a:pt x="2278162" y="717245"/>
                        <a:pt x="2272517" y="717877"/>
                        <a:pt x="2269085" y="720337"/>
                      </a:cubicBezTo>
                      <a:cubicBezTo>
                        <a:pt x="2265056" y="723229"/>
                        <a:pt x="2261719" y="728265"/>
                        <a:pt x="2257163" y="731017"/>
                      </a:cubicBezTo>
                      <a:cubicBezTo>
                        <a:pt x="2250230" y="735198"/>
                        <a:pt x="2245779" y="733067"/>
                        <a:pt x="2238061" y="732364"/>
                      </a:cubicBezTo>
                      <a:cubicBezTo>
                        <a:pt x="2229114" y="731556"/>
                        <a:pt x="2222052" y="733571"/>
                        <a:pt x="2213655" y="734601"/>
                      </a:cubicBezTo>
                      <a:cubicBezTo>
                        <a:pt x="2213854" y="726251"/>
                        <a:pt x="2219592" y="717620"/>
                        <a:pt x="2223070" y="710850"/>
                      </a:cubicBezTo>
                      <a:cubicBezTo>
                        <a:pt x="2226971" y="703249"/>
                        <a:pt x="2230730" y="694829"/>
                        <a:pt x="2237136" y="689137"/>
                      </a:cubicBezTo>
                      <a:cubicBezTo>
                        <a:pt x="2244725" y="682403"/>
                        <a:pt x="2257338" y="678749"/>
                        <a:pt x="2267434" y="678772"/>
                      </a:cubicBezTo>
                      <a:cubicBezTo>
                        <a:pt x="2276721" y="678796"/>
                        <a:pt x="2279356" y="687638"/>
                        <a:pt x="2288620" y="690004"/>
                      </a:cubicBezTo>
                      <a:cubicBezTo>
                        <a:pt x="2285200" y="693986"/>
                        <a:pt x="2285926" y="698542"/>
                        <a:pt x="2283830" y="702676"/>
                      </a:cubicBezTo>
                      <a:cubicBezTo>
                        <a:pt x="2281242" y="707735"/>
                        <a:pt x="2277014" y="706611"/>
                        <a:pt x="2279087" y="714410"/>
                      </a:cubicBezTo>
                      <a:lnTo>
                        <a:pt x="2279087" y="714410"/>
                      </a:lnTo>
                      <a:close/>
                      <a:moveTo>
                        <a:pt x="1901484" y="668501"/>
                      </a:moveTo>
                      <a:cubicBezTo>
                        <a:pt x="1901647" y="668349"/>
                        <a:pt x="1903440" y="667611"/>
                        <a:pt x="1904119" y="666686"/>
                      </a:cubicBezTo>
                      <a:cubicBezTo>
                        <a:pt x="1908405" y="671734"/>
                        <a:pt x="1902104" y="670480"/>
                        <a:pt x="1901144" y="674580"/>
                      </a:cubicBezTo>
                      <a:cubicBezTo>
                        <a:pt x="1900477" y="677402"/>
                        <a:pt x="1902936" y="680810"/>
                        <a:pt x="1904353" y="682063"/>
                      </a:cubicBezTo>
                      <a:cubicBezTo>
                        <a:pt x="1901121" y="685706"/>
                        <a:pt x="1901378" y="691749"/>
                        <a:pt x="1897478" y="696070"/>
                      </a:cubicBezTo>
                      <a:cubicBezTo>
                        <a:pt x="1893367" y="700615"/>
                        <a:pt x="1888870" y="702160"/>
                        <a:pt x="1885041" y="709058"/>
                      </a:cubicBezTo>
                      <a:cubicBezTo>
                        <a:pt x="1885462" y="710651"/>
                        <a:pt x="1885907" y="711483"/>
                        <a:pt x="1882991" y="713591"/>
                      </a:cubicBezTo>
                      <a:cubicBezTo>
                        <a:pt x="1884209" y="703577"/>
                        <a:pt x="1871245" y="719681"/>
                        <a:pt x="1872509" y="706517"/>
                      </a:cubicBezTo>
                      <a:cubicBezTo>
                        <a:pt x="1872825" y="703097"/>
                        <a:pt x="1878108" y="699361"/>
                        <a:pt x="1873610" y="698284"/>
                      </a:cubicBezTo>
                      <a:cubicBezTo>
                        <a:pt x="1873926" y="694876"/>
                        <a:pt x="1877346" y="696082"/>
                        <a:pt x="1880403" y="696855"/>
                      </a:cubicBezTo>
                      <a:cubicBezTo>
                        <a:pt x="1869617" y="694044"/>
                        <a:pt x="1884924" y="683399"/>
                        <a:pt x="1885931" y="682626"/>
                      </a:cubicBezTo>
                      <a:cubicBezTo>
                        <a:pt x="1889936" y="679580"/>
                        <a:pt x="1889795" y="672144"/>
                        <a:pt x="1895792" y="671324"/>
                      </a:cubicBezTo>
                      <a:cubicBezTo>
                        <a:pt x="1894140" y="666721"/>
                        <a:pt x="1901343" y="662927"/>
                        <a:pt x="1901484" y="668501"/>
                      </a:cubicBezTo>
                      <a:lnTo>
                        <a:pt x="1901484" y="668501"/>
                      </a:lnTo>
                      <a:close/>
                      <a:moveTo>
                        <a:pt x="980091" y="653382"/>
                      </a:moveTo>
                      <a:cubicBezTo>
                        <a:pt x="982995" y="654728"/>
                        <a:pt x="985478" y="656263"/>
                        <a:pt x="987130" y="658828"/>
                      </a:cubicBezTo>
                      <a:cubicBezTo>
                        <a:pt x="983089" y="660432"/>
                        <a:pt x="972654" y="661310"/>
                        <a:pt x="975172" y="666112"/>
                      </a:cubicBezTo>
                      <a:cubicBezTo>
                        <a:pt x="971015" y="667283"/>
                        <a:pt x="966306" y="664824"/>
                        <a:pt x="962652" y="666112"/>
                      </a:cubicBezTo>
                      <a:cubicBezTo>
                        <a:pt x="958987" y="667400"/>
                        <a:pt x="959080" y="671207"/>
                        <a:pt x="956047" y="672472"/>
                      </a:cubicBezTo>
                      <a:cubicBezTo>
                        <a:pt x="952440" y="673971"/>
                        <a:pt x="935540" y="672249"/>
                        <a:pt x="936747" y="667717"/>
                      </a:cubicBezTo>
                      <a:cubicBezTo>
                        <a:pt x="932812" y="667412"/>
                        <a:pt x="934088" y="669532"/>
                        <a:pt x="936032" y="671675"/>
                      </a:cubicBezTo>
                      <a:cubicBezTo>
                        <a:pt x="931547" y="671499"/>
                        <a:pt x="912422" y="670024"/>
                        <a:pt x="914237" y="664496"/>
                      </a:cubicBezTo>
                      <a:cubicBezTo>
                        <a:pt x="910396" y="663020"/>
                        <a:pt x="915490" y="659566"/>
                        <a:pt x="918992" y="657422"/>
                      </a:cubicBezTo>
                      <a:cubicBezTo>
                        <a:pt x="923641" y="654588"/>
                        <a:pt x="926066" y="653733"/>
                        <a:pt x="932999" y="653757"/>
                      </a:cubicBezTo>
                      <a:cubicBezTo>
                        <a:pt x="940974" y="653792"/>
                        <a:pt x="949196" y="654412"/>
                        <a:pt x="957113" y="654237"/>
                      </a:cubicBezTo>
                      <a:cubicBezTo>
                        <a:pt x="964456" y="654061"/>
                        <a:pt x="972935" y="651590"/>
                        <a:pt x="980091" y="653382"/>
                      </a:cubicBezTo>
                      <a:lnTo>
                        <a:pt x="980091" y="653382"/>
                      </a:lnTo>
                      <a:close/>
                      <a:moveTo>
                        <a:pt x="2046636" y="630732"/>
                      </a:moveTo>
                      <a:cubicBezTo>
                        <a:pt x="2049517" y="632383"/>
                        <a:pt x="2049037" y="636072"/>
                        <a:pt x="2051063" y="638157"/>
                      </a:cubicBezTo>
                      <a:cubicBezTo>
                        <a:pt x="2050279" y="641389"/>
                        <a:pt x="2047913" y="642642"/>
                        <a:pt x="2044821" y="641846"/>
                      </a:cubicBezTo>
                      <a:cubicBezTo>
                        <a:pt x="2047409" y="643392"/>
                        <a:pt x="2044271" y="647655"/>
                        <a:pt x="2042432" y="649564"/>
                      </a:cubicBezTo>
                      <a:cubicBezTo>
                        <a:pt x="2038848" y="653288"/>
                        <a:pt x="2036342" y="655045"/>
                        <a:pt x="2032137" y="653183"/>
                      </a:cubicBezTo>
                      <a:cubicBezTo>
                        <a:pt x="2024127" y="649622"/>
                        <a:pt x="2026797" y="638121"/>
                        <a:pt x="2029994" y="631083"/>
                      </a:cubicBezTo>
                      <a:cubicBezTo>
                        <a:pt x="2031481" y="632488"/>
                        <a:pt x="2033028" y="632629"/>
                        <a:pt x="2034819" y="633987"/>
                      </a:cubicBezTo>
                      <a:cubicBezTo>
                        <a:pt x="2032618" y="628495"/>
                        <a:pt x="2031083" y="631505"/>
                        <a:pt x="2030357" y="623576"/>
                      </a:cubicBezTo>
                      <a:cubicBezTo>
                        <a:pt x="2029713" y="616490"/>
                        <a:pt x="2027430" y="616994"/>
                        <a:pt x="2032875" y="618798"/>
                      </a:cubicBezTo>
                      <a:cubicBezTo>
                        <a:pt x="2039527" y="620988"/>
                        <a:pt x="2040429" y="627148"/>
                        <a:pt x="2046636" y="630732"/>
                      </a:cubicBezTo>
                      <a:lnTo>
                        <a:pt x="2046636" y="630732"/>
                      </a:lnTo>
                      <a:close/>
                      <a:moveTo>
                        <a:pt x="571628" y="607906"/>
                      </a:moveTo>
                      <a:cubicBezTo>
                        <a:pt x="577601" y="603889"/>
                        <a:pt x="577097" y="605880"/>
                        <a:pt x="584042" y="607531"/>
                      </a:cubicBezTo>
                      <a:cubicBezTo>
                        <a:pt x="589043" y="608726"/>
                        <a:pt x="594032" y="606302"/>
                        <a:pt x="599080" y="608058"/>
                      </a:cubicBezTo>
                      <a:cubicBezTo>
                        <a:pt x="603952" y="609768"/>
                        <a:pt x="602980" y="614886"/>
                        <a:pt x="610944" y="612180"/>
                      </a:cubicBezTo>
                      <a:cubicBezTo>
                        <a:pt x="618697" y="609546"/>
                        <a:pt x="612525" y="605599"/>
                        <a:pt x="616893" y="603315"/>
                      </a:cubicBezTo>
                      <a:cubicBezTo>
                        <a:pt x="619388" y="602015"/>
                        <a:pt x="620606" y="605095"/>
                        <a:pt x="622327" y="605072"/>
                      </a:cubicBezTo>
                      <a:cubicBezTo>
                        <a:pt x="622878" y="605060"/>
                        <a:pt x="630525" y="605107"/>
                        <a:pt x="630666" y="605154"/>
                      </a:cubicBezTo>
                      <a:cubicBezTo>
                        <a:pt x="636240" y="607086"/>
                        <a:pt x="638044" y="613059"/>
                        <a:pt x="642822" y="616280"/>
                      </a:cubicBezTo>
                      <a:cubicBezTo>
                        <a:pt x="650177" y="621245"/>
                        <a:pt x="656466" y="618142"/>
                        <a:pt x="661666" y="617193"/>
                      </a:cubicBezTo>
                      <a:cubicBezTo>
                        <a:pt x="663154" y="623951"/>
                        <a:pt x="680978" y="626949"/>
                        <a:pt x="677383" y="619512"/>
                      </a:cubicBezTo>
                      <a:cubicBezTo>
                        <a:pt x="680475" y="619992"/>
                        <a:pt x="683707" y="621023"/>
                        <a:pt x="686436" y="620308"/>
                      </a:cubicBezTo>
                      <a:cubicBezTo>
                        <a:pt x="686132" y="628377"/>
                        <a:pt x="692854" y="628155"/>
                        <a:pt x="695770" y="632898"/>
                      </a:cubicBezTo>
                      <a:cubicBezTo>
                        <a:pt x="700291" y="640230"/>
                        <a:pt x="695302" y="647034"/>
                        <a:pt x="705573" y="649505"/>
                      </a:cubicBezTo>
                      <a:cubicBezTo>
                        <a:pt x="708102" y="650114"/>
                        <a:pt x="710105" y="648978"/>
                        <a:pt x="712026" y="649306"/>
                      </a:cubicBezTo>
                      <a:cubicBezTo>
                        <a:pt x="712974" y="649470"/>
                        <a:pt x="715528" y="651625"/>
                        <a:pt x="715785" y="651613"/>
                      </a:cubicBezTo>
                      <a:cubicBezTo>
                        <a:pt x="719685" y="651309"/>
                        <a:pt x="718947" y="649318"/>
                        <a:pt x="722590" y="649377"/>
                      </a:cubicBezTo>
                      <a:cubicBezTo>
                        <a:pt x="727169" y="649470"/>
                        <a:pt x="731174" y="653850"/>
                        <a:pt x="737229" y="653124"/>
                      </a:cubicBezTo>
                      <a:cubicBezTo>
                        <a:pt x="740567" y="652726"/>
                        <a:pt x="743963" y="649950"/>
                        <a:pt x="746036" y="649786"/>
                      </a:cubicBezTo>
                      <a:cubicBezTo>
                        <a:pt x="748027" y="649622"/>
                        <a:pt x="755066" y="652011"/>
                        <a:pt x="757666" y="652620"/>
                      </a:cubicBezTo>
                      <a:cubicBezTo>
                        <a:pt x="765887" y="654541"/>
                        <a:pt x="769600" y="655349"/>
                        <a:pt x="777915" y="654740"/>
                      </a:cubicBezTo>
                      <a:cubicBezTo>
                        <a:pt x="783396" y="654342"/>
                        <a:pt x="778793" y="653452"/>
                        <a:pt x="784262" y="655103"/>
                      </a:cubicBezTo>
                      <a:cubicBezTo>
                        <a:pt x="789357" y="656649"/>
                        <a:pt x="789978" y="659015"/>
                        <a:pt x="795213" y="657223"/>
                      </a:cubicBezTo>
                      <a:cubicBezTo>
                        <a:pt x="801022" y="655232"/>
                        <a:pt x="804793" y="646765"/>
                        <a:pt x="806245" y="641120"/>
                      </a:cubicBezTo>
                      <a:cubicBezTo>
                        <a:pt x="808189" y="633531"/>
                        <a:pt x="810438" y="627698"/>
                        <a:pt x="820674" y="628928"/>
                      </a:cubicBezTo>
                      <a:cubicBezTo>
                        <a:pt x="829738" y="630017"/>
                        <a:pt x="826354" y="639914"/>
                        <a:pt x="833357" y="643767"/>
                      </a:cubicBezTo>
                      <a:cubicBezTo>
                        <a:pt x="841836" y="648416"/>
                        <a:pt x="843722" y="641787"/>
                        <a:pt x="849039" y="640921"/>
                      </a:cubicBezTo>
                      <a:cubicBezTo>
                        <a:pt x="853888" y="640124"/>
                        <a:pt x="855199" y="643462"/>
                        <a:pt x="859204" y="645828"/>
                      </a:cubicBezTo>
                      <a:cubicBezTo>
                        <a:pt x="863936" y="648639"/>
                        <a:pt x="867613" y="647854"/>
                        <a:pt x="872134" y="648955"/>
                      </a:cubicBezTo>
                      <a:cubicBezTo>
                        <a:pt x="876842" y="650114"/>
                        <a:pt x="879149" y="654272"/>
                        <a:pt x="884701" y="655010"/>
                      </a:cubicBezTo>
                      <a:cubicBezTo>
                        <a:pt x="888846" y="655548"/>
                        <a:pt x="893636" y="653300"/>
                        <a:pt x="897935" y="653628"/>
                      </a:cubicBezTo>
                      <a:cubicBezTo>
                        <a:pt x="901073" y="653874"/>
                        <a:pt x="904563" y="657375"/>
                        <a:pt x="905629" y="652820"/>
                      </a:cubicBezTo>
                      <a:cubicBezTo>
                        <a:pt x="910243" y="655068"/>
                        <a:pt x="904224" y="661709"/>
                        <a:pt x="911005" y="662681"/>
                      </a:cubicBezTo>
                      <a:cubicBezTo>
                        <a:pt x="903544" y="664894"/>
                        <a:pt x="918020" y="670727"/>
                        <a:pt x="907784" y="669895"/>
                      </a:cubicBezTo>
                      <a:cubicBezTo>
                        <a:pt x="912433" y="676465"/>
                        <a:pt x="914963" y="667307"/>
                        <a:pt x="918875" y="672823"/>
                      </a:cubicBezTo>
                      <a:cubicBezTo>
                        <a:pt x="923782" y="679733"/>
                        <a:pt x="911801" y="682977"/>
                        <a:pt x="919226" y="690086"/>
                      </a:cubicBezTo>
                      <a:cubicBezTo>
                        <a:pt x="922423" y="693143"/>
                        <a:pt x="931956" y="696094"/>
                        <a:pt x="936196" y="698167"/>
                      </a:cubicBezTo>
                      <a:cubicBezTo>
                        <a:pt x="938772" y="699420"/>
                        <a:pt x="944136" y="700825"/>
                        <a:pt x="946338" y="700579"/>
                      </a:cubicBezTo>
                      <a:cubicBezTo>
                        <a:pt x="948118" y="700368"/>
                        <a:pt x="950648" y="698284"/>
                        <a:pt x="952721" y="697768"/>
                      </a:cubicBezTo>
                      <a:cubicBezTo>
                        <a:pt x="956633" y="696808"/>
                        <a:pt x="959151" y="697335"/>
                        <a:pt x="963425" y="697464"/>
                      </a:cubicBezTo>
                      <a:cubicBezTo>
                        <a:pt x="967689" y="697593"/>
                        <a:pt x="971624" y="697183"/>
                        <a:pt x="975277" y="695707"/>
                      </a:cubicBezTo>
                      <a:cubicBezTo>
                        <a:pt x="983897" y="692229"/>
                        <a:pt x="982820" y="693377"/>
                        <a:pt x="990854" y="697253"/>
                      </a:cubicBezTo>
                      <a:cubicBezTo>
                        <a:pt x="993524" y="698542"/>
                        <a:pt x="1000223" y="697675"/>
                        <a:pt x="1002846" y="700930"/>
                      </a:cubicBezTo>
                      <a:cubicBezTo>
                        <a:pt x="1010389" y="710300"/>
                        <a:pt x="994929" y="728476"/>
                        <a:pt x="1000891" y="739989"/>
                      </a:cubicBezTo>
                      <a:cubicBezTo>
                        <a:pt x="1001254" y="738548"/>
                        <a:pt x="1001593" y="737482"/>
                        <a:pt x="1001757" y="735726"/>
                      </a:cubicBezTo>
                      <a:cubicBezTo>
                        <a:pt x="1002682" y="738033"/>
                        <a:pt x="1002038" y="741605"/>
                        <a:pt x="1003666" y="743654"/>
                      </a:cubicBezTo>
                      <a:cubicBezTo>
                        <a:pt x="1005376" y="745809"/>
                        <a:pt x="1009768" y="745025"/>
                        <a:pt x="1011337" y="747144"/>
                      </a:cubicBezTo>
                      <a:cubicBezTo>
                        <a:pt x="1017778" y="755834"/>
                        <a:pt x="1004018" y="751068"/>
                        <a:pt x="999743" y="751208"/>
                      </a:cubicBezTo>
                      <a:cubicBezTo>
                        <a:pt x="1005751" y="742577"/>
                        <a:pt x="986485" y="745938"/>
                        <a:pt x="983136" y="744966"/>
                      </a:cubicBezTo>
                      <a:cubicBezTo>
                        <a:pt x="979295" y="743842"/>
                        <a:pt x="976437" y="742717"/>
                        <a:pt x="971389" y="741488"/>
                      </a:cubicBezTo>
                      <a:cubicBezTo>
                        <a:pt x="971015" y="739356"/>
                        <a:pt x="963320" y="737623"/>
                        <a:pt x="959572" y="735737"/>
                      </a:cubicBezTo>
                      <a:cubicBezTo>
                        <a:pt x="957417" y="734648"/>
                        <a:pt x="954958" y="733161"/>
                        <a:pt x="952780" y="732095"/>
                      </a:cubicBezTo>
                      <a:cubicBezTo>
                        <a:pt x="949980" y="730736"/>
                        <a:pt x="944664" y="727797"/>
                        <a:pt x="940436" y="726965"/>
                      </a:cubicBezTo>
                      <a:cubicBezTo>
                        <a:pt x="932484" y="725384"/>
                        <a:pt x="930457" y="730303"/>
                        <a:pt x="924695" y="732575"/>
                      </a:cubicBezTo>
                      <a:cubicBezTo>
                        <a:pt x="922142" y="733582"/>
                        <a:pt x="919941" y="732411"/>
                        <a:pt x="917704" y="732821"/>
                      </a:cubicBezTo>
                      <a:cubicBezTo>
                        <a:pt x="915033" y="733301"/>
                        <a:pt x="912375" y="734836"/>
                        <a:pt x="909915" y="734906"/>
                      </a:cubicBezTo>
                      <a:cubicBezTo>
                        <a:pt x="905969" y="735035"/>
                        <a:pt x="899738" y="732751"/>
                        <a:pt x="895908" y="731755"/>
                      </a:cubicBezTo>
                      <a:cubicBezTo>
                        <a:pt x="894854" y="728839"/>
                        <a:pt x="879547" y="728230"/>
                        <a:pt x="875999" y="727621"/>
                      </a:cubicBezTo>
                      <a:cubicBezTo>
                        <a:pt x="872263" y="726989"/>
                        <a:pt x="864369" y="724354"/>
                        <a:pt x="863257" y="729238"/>
                      </a:cubicBezTo>
                      <a:cubicBezTo>
                        <a:pt x="862683" y="728792"/>
                        <a:pt x="862589" y="727925"/>
                        <a:pt x="861980" y="727422"/>
                      </a:cubicBezTo>
                      <a:cubicBezTo>
                        <a:pt x="861617" y="729553"/>
                        <a:pt x="860575" y="729460"/>
                        <a:pt x="861008" y="731591"/>
                      </a:cubicBezTo>
                      <a:cubicBezTo>
                        <a:pt x="855422" y="729495"/>
                        <a:pt x="849976" y="728078"/>
                        <a:pt x="844717" y="726672"/>
                      </a:cubicBezTo>
                      <a:cubicBezTo>
                        <a:pt x="839131" y="725173"/>
                        <a:pt x="831776" y="728828"/>
                        <a:pt x="829481" y="723100"/>
                      </a:cubicBezTo>
                      <a:cubicBezTo>
                        <a:pt x="826284" y="728722"/>
                        <a:pt x="807147" y="721590"/>
                        <a:pt x="801982" y="719587"/>
                      </a:cubicBezTo>
                      <a:cubicBezTo>
                        <a:pt x="790786" y="715242"/>
                        <a:pt x="780960" y="708684"/>
                        <a:pt x="769073" y="704842"/>
                      </a:cubicBezTo>
                      <a:cubicBezTo>
                        <a:pt x="764318" y="703296"/>
                        <a:pt x="758380" y="701657"/>
                        <a:pt x="753098" y="700696"/>
                      </a:cubicBezTo>
                      <a:cubicBezTo>
                        <a:pt x="749327" y="700006"/>
                        <a:pt x="744795" y="700661"/>
                        <a:pt x="741551" y="699923"/>
                      </a:cubicBezTo>
                      <a:cubicBezTo>
                        <a:pt x="740895" y="699771"/>
                        <a:pt x="740180" y="697745"/>
                        <a:pt x="740824" y="697886"/>
                      </a:cubicBezTo>
                      <a:cubicBezTo>
                        <a:pt x="734137" y="696445"/>
                        <a:pt x="727016" y="697956"/>
                        <a:pt x="721489" y="697569"/>
                      </a:cubicBezTo>
                      <a:cubicBezTo>
                        <a:pt x="718490" y="697359"/>
                        <a:pt x="713384" y="696574"/>
                        <a:pt x="713162" y="691831"/>
                      </a:cubicBezTo>
                      <a:cubicBezTo>
                        <a:pt x="709531" y="694396"/>
                        <a:pt x="703453" y="694700"/>
                        <a:pt x="702961" y="697511"/>
                      </a:cubicBezTo>
                      <a:cubicBezTo>
                        <a:pt x="698335" y="693248"/>
                        <a:pt x="696625" y="698577"/>
                        <a:pt x="693896" y="699888"/>
                      </a:cubicBezTo>
                      <a:cubicBezTo>
                        <a:pt x="687642" y="702910"/>
                        <a:pt x="683122" y="702793"/>
                        <a:pt x="674807" y="701060"/>
                      </a:cubicBezTo>
                      <a:cubicBezTo>
                        <a:pt x="662416" y="698459"/>
                        <a:pt x="657485" y="696223"/>
                        <a:pt x="647636" y="690812"/>
                      </a:cubicBezTo>
                      <a:cubicBezTo>
                        <a:pt x="639613" y="686408"/>
                        <a:pt x="632879" y="685870"/>
                        <a:pt x="623498" y="684417"/>
                      </a:cubicBezTo>
                      <a:cubicBezTo>
                        <a:pt x="615183" y="683129"/>
                        <a:pt x="606727" y="683082"/>
                        <a:pt x="598365" y="682040"/>
                      </a:cubicBezTo>
                      <a:cubicBezTo>
                        <a:pt x="593611" y="681454"/>
                        <a:pt x="588165" y="678093"/>
                        <a:pt x="584042" y="679663"/>
                      </a:cubicBezTo>
                      <a:cubicBezTo>
                        <a:pt x="582075" y="672589"/>
                        <a:pt x="584792" y="673221"/>
                        <a:pt x="587673" y="669064"/>
                      </a:cubicBezTo>
                      <a:cubicBezTo>
                        <a:pt x="589312" y="666674"/>
                        <a:pt x="593681" y="660362"/>
                        <a:pt x="589160" y="658008"/>
                      </a:cubicBezTo>
                      <a:cubicBezTo>
                        <a:pt x="585940" y="656310"/>
                        <a:pt x="583831" y="660467"/>
                        <a:pt x="579967" y="659624"/>
                      </a:cubicBezTo>
                      <a:cubicBezTo>
                        <a:pt x="577367" y="659050"/>
                        <a:pt x="573197" y="656169"/>
                        <a:pt x="570937" y="654904"/>
                      </a:cubicBezTo>
                      <a:cubicBezTo>
                        <a:pt x="560174" y="648896"/>
                        <a:pt x="552655" y="651543"/>
                        <a:pt x="540089" y="652246"/>
                      </a:cubicBezTo>
                      <a:cubicBezTo>
                        <a:pt x="535018" y="652527"/>
                        <a:pt x="523880" y="652105"/>
                        <a:pt x="522604" y="647479"/>
                      </a:cubicBezTo>
                      <a:cubicBezTo>
                        <a:pt x="526316" y="647854"/>
                        <a:pt x="528073" y="642244"/>
                        <a:pt x="529666" y="642420"/>
                      </a:cubicBezTo>
                      <a:cubicBezTo>
                        <a:pt x="533601" y="642853"/>
                        <a:pt x="531844" y="649271"/>
                        <a:pt x="534795" y="649810"/>
                      </a:cubicBezTo>
                      <a:cubicBezTo>
                        <a:pt x="536329" y="650079"/>
                        <a:pt x="542220" y="642982"/>
                        <a:pt x="543005" y="641284"/>
                      </a:cubicBezTo>
                      <a:cubicBezTo>
                        <a:pt x="545300" y="636353"/>
                        <a:pt x="543755" y="634655"/>
                        <a:pt x="546612" y="633250"/>
                      </a:cubicBezTo>
                      <a:cubicBezTo>
                        <a:pt x="548392" y="632360"/>
                        <a:pt x="550934" y="636904"/>
                        <a:pt x="554131" y="630181"/>
                      </a:cubicBezTo>
                      <a:cubicBezTo>
                        <a:pt x="556344" y="625497"/>
                        <a:pt x="553674" y="618423"/>
                        <a:pt x="556380" y="613188"/>
                      </a:cubicBezTo>
                      <a:cubicBezTo>
                        <a:pt x="557059" y="611888"/>
                        <a:pt x="563395" y="602156"/>
                        <a:pt x="564355" y="601839"/>
                      </a:cubicBezTo>
                      <a:cubicBezTo>
                        <a:pt x="569743" y="600048"/>
                        <a:pt x="568220" y="605447"/>
                        <a:pt x="571628" y="607906"/>
                      </a:cubicBezTo>
                      <a:lnTo>
                        <a:pt x="571628" y="607906"/>
                      </a:lnTo>
                      <a:close/>
                      <a:moveTo>
                        <a:pt x="2054179" y="577292"/>
                      </a:moveTo>
                      <a:cubicBezTo>
                        <a:pt x="2056685" y="578932"/>
                        <a:pt x="2058207" y="580712"/>
                        <a:pt x="2060210" y="583042"/>
                      </a:cubicBezTo>
                      <a:cubicBezTo>
                        <a:pt x="2059894" y="583300"/>
                        <a:pt x="2058980" y="583347"/>
                        <a:pt x="2058758" y="583745"/>
                      </a:cubicBezTo>
                      <a:cubicBezTo>
                        <a:pt x="2059226" y="583136"/>
                        <a:pt x="2059379" y="585947"/>
                        <a:pt x="2059484" y="585186"/>
                      </a:cubicBezTo>
                      <a:cubicBezTo>
                        <a:pt x="2058418" y="585104"/>
                        <a:pt x="2058231" y="585467"/>
                        <a:pt x="2057001" y="585900"/>
                      </a:cubicBezTo>
                      <a:cubicBezTo>
                        <a:pt x="2064543" y="585572"/>
                        <a:pt x="2063267" y="595187"/>
                        <a:pt x="2060550" y="598830"/>
                      </a:cubicBezTo>
                      <a:cubicBezTo>
                        <a:pt x="2062365" y="599813"/>
                        <a:pt x="2062400" y="600633"/>
                        <a:pt x="2063770" y="601687"/>
                      </a:cubicBezTo>
                      <a:cubicBezTo>
                        <a:pt x="2063360" y="601722"/>
                        <a:pt x="2061955" y="602835"/>
                        <a:pt x="2061627" y="603128"/>
                      </a:cubicBezTo>
                      <a:cubicBezTo>
                        <a:pt x="2059788" y="601992"/>
                        <a:pt x="2062306" y="602671"/>
                        <a:pt x="2060374" y="602331"/>
                      </a:cubicBezTo>
                      <a:cubicBezTo>
                        <a:pt x="2061042" y="603104"/>
                        <a:pt x="2061030" y="603701"/>
                        <a:pt x="2062353" y="604545"/>
                      </a:cubicBezTo>
                      <a:cubicBezTo>
                        <a:pt x="2062107" y="604990"/>
                        <a:pt x="2061194" y="604381"/>
                        <a:pt x="2062271" y="605810"/>
                      </a:cubicBezTo>
                      <a:cubicBezTo>
                        <a:pt x="2059905" y="604404"/>
                        <a:pt x="2057481" y="603947"/>
                        <a:pt x="2055221" y="604896"/>
                      </a:cubicBezTo>
                      <a:cubicBezTo>
                        <a:pt x="2059285" y="605037"/>
                        <a:pt x="2068642" y="614324"/>
                        <a:pt x="2060538" y="615694"/>
                      </a:cubicBezTo>
                      <a:cubicBezTo>
                        <a:pt x="2060877" y="615717"/>
                        <a:pt x="2060023" y="617205"/>
                        <a:pt x="2059905" y="617275"/>
                      </a:cubicBezTo>
                      <a:cubicBezTo>
                        <a:pt x="2060760" y="616725"/>
                        <a:pt x="2062423" y="616069"/>
                        <a:pt x="2063407" y="615694"/>
                      </a:cubicBezTo>
                      <a:cubicBezTo>
                        <a:pt x="2062014" y="626422"/>
                        <a:pt x="2056345" y="626879"/>
                        <a:pt x="2048943" y="622534"/>
                      </a:cubicBezTo>
                      <a:cubicBezTo>
                        <a:pt x="2044774" y="620086"/>
                        <a:pt x="2030744" y="611291"/>
                        <a:pt x="2043135" y="608655"/>
                      </a:cubicBezTo>
                      <a:cubicBezTo>
                        <a:pt x="2035112" y="609639"/>
                        <a:pt x="2042338" y="599345"/>
                        <a:pt x="2043615" y="596616"/>
                      </a:cubicBezTo>
                      <a:cubicBezTo>
                        <a:pt x="2043322" y="596382"/>
                        <a:pt x="2043029" y="596159"/>
                        <a:pt x="2042736" y="595925"/>
                      </a:cubicBezTo>
                      <a:cubicBezTo>
                        <a:pt x="2040148" y="597026"/>
                        <a:pt x="2032887" y="594894"/>
                        <a:pt x="2037056" y="590667"/>
                      </a:cubicBezTo>
                      <a:cubicBezTo>
                        <a:pt x="2036845" y="590877"/>
                        <a:pt x="2041565" y="592095"/>
                        <a:pt x="2042654" y="591498"/>
                      </a:cubicBezTo>
                      <a:cubicBezTo>
                        <a:pt x="2044388" y="590549"/>
                        <a:pt x="2047046" y="584811"/>
                        <a:pt x="2047737" y="583042"/>
                      </a:cubicBezTo>
                      <a:cubicBezTo>
                        <a:pt x="2049412" y="584085"/>
                        <a:pt x="2048440" y="583277"/>
                        <a:pt x="2050232" y="583745"/>
                      </a:cubicBezTo>
                      <a:cubicBezTo>
                        <a:pt x="2048697" y="579587"/>
                        <a:pt x="2049517" y="576660"/>
                        <a:pt x="2054179" y="577292"/>
                      </a:cubicBezTo>
                      <a:lnTo>
                        <a:pt x="2054179" y="577292"/>
                      </a:lnTo>
                      <a:close/>
                      <a:moveTo>
                        <a:pt x="1438527" y="552452"/>
                      </a:moveTo>
                      <a:cubicBezTo>
                        <a:pt x="1436067" y="553318"/>
                        <a:pt x="1425925" y="563402"/>
                        <a:pt x="1431078" y="565253"/>
                      </a:cubicBezTo>
                      <a:cubicBezTo>
                        <a:pt x="1430388" y="565955"/>
                        <a:pt x="1429872" y="566365"/>
                        <a:pt x="1429111" y="567033"/>
                      </a:cubicBezTo>
                      <a:cubicBezTo>
                        <a:pt x="1435669" y="569551"/>
                        <a:pt x="1429872" y="577503"/>
                        <a:pt x="1426253" y="577526"/>
                      </a:cubicBezTo>
                      <a:cubicBezTo>
                        <a:pt x="1426792" y="574762"/>
                        <a:pt x="1426265" y="572069"/>
                        <a:pt x="1424590" y="570078"/>
                      </a:cubicBezTo>
                      <a:cubicBezTo>
                        <a:pt x="1424333" y="577151"/>
                        <a:pt x="1416591" y="575828"/>
                        <a:pt x="1421428" y="571565"/>
                      </a:cubicBezTo>
                      <a:cubicBezTo>
                        <a:pt x="1415303" y="573392"/>
                        <a:pt x="1412234" y="579049"/>
                        <a:pt x="1414132" y="568333"/>
                      </a:cubicBezTo>
                      <a:cubicBezTo>
                        <a:pt x="1414682" y="565241"/>
                        <a:pt x="1417610" y="561259"/>
                        <a:pt x="1417856" y="559924"/>
                      </a:cubicBezTo>
                      <a:cubicBezTo>
                        <a:pt x="1418500" y="556422"/>
                        <a:pt x="1417294" y="554068"/>
                        <a:pt x="1416825" y="550262"/>
                      </a:cubicBezTo>
                      <a:cubicBezTo>
                        <a:pt x="1415795" y="541982"/>
                        <a:pt x="1420187" y="540588"/>
                        <a:pt x="1428783" y="537484"/>
                      </a:cubicBezTo>
                      <a:cubicBezTo>
                        <a:pt x="1436536" y="534697"/>
                        <a:pt x="1435306" y="534721"/>
                        <a:pt x="1437168" y="543235"/>
                      </a:cubicBezTo>
                      <a:cubicBezTo>
                        <a:pt x="1437859" y="546339"/>
                        <a:pt x="1438024" y="549336"/>
                        <a:pt x="1438527" y="552452"/>
                      </a:cubicBezTo>
                      <a:lnTo>
                        <a:pt x="1438527" y="552452"/>
                      </a:lnTo>
                      <a:close/>
                      <a:moveTo>
                        <a:pt x="1461095" y="538222"/>
                      </a:moveTo>
                      <a:cubicBezTo>
                        <a:pt x="1461599" y="541092"/>
                        <a:pt x="1461692" y="544031"/>
                        <a:pt x="1461095" y="546830"/>
                      </a:cubicBezTo>
                      <a:cubicBezTo>
                        <a:pt x="1460088" y="544441"/>
                        <a:pt x="1458765" y="541338"/>
                        <a:pt x="1456539" y="539932"/>
                      </a:cubicBezTo>
                      <a:cubicBezTo>
                        <a:pt x="1456223" y="540928"/>
                        <a:pt x="1455884" y="541923"/>
                        <a:pt x="1455567" y="542919"/>
                      </a:cubicBezTo>
                      <a:cubicBezTo>
                        <a:pt x="1453951" y="541314"/>
                        <a:pt x="1454431" y="542181"/>
                        <a:pt x="1452803" y="541513"/>
                      </a:cubicBezTo>
                      <a:cubicBezTo>
                        <a:pt x="1451363" y="546081"/>
                        <a:pt x="1449231" y="550754"/>
                        <a:pt x="1448318" y="555286"/>
                      </a:cubicBezTo>
                      <a:cubicBezTo>
                        <a:pt x="1448412" y="554818"/>
                        <a:pt x="1448482" y="563425"/>
                        <a:pt x="1448060" y="562325"/>
                      </a:cubicBezTo>
                      <a:cubicBezTo>
                        <a:pt x="1450309" y="568180"/>
                        <a:pt x="1448353" y="561259"/>
                        <a:pt x="1451152" y="562547"/>
                      </a:cubicBezTo>
                      <a:cubicBezTo>
                        <a:pt x="1455169" y="564374"/>
                        <a:pt x="1462067" y="567372"/>
                        <a:pt x="1459643" y="572666"/>
                      </a:cubicBezTo>
                      <a:cubicBezTo>
                        <a:pt x="1455942" y="580782"/>
                        <a:pt x="1445097" y="571659"/>
                        <a:pt x="1442825" y="581672"/>
                      </a:cubicBezTo>
                      <a:cubicBezTo>
                        <a:pt x="1443458" y="581602"/>
                        <a:pt x="1444535" y="581344"/>
                        <a:pt x="1445425" y="581215"/>
                      </a:cubicBezTo>
                      <a:cubicBezTo>
                        <a:pt x="1445718" y="585068"/>
                        <a:pt x="1442286" y="589507"/>
                        <a:pt x="1439148" y="591323"/>
                      </a:cubicBezTo>
                      <a:cubicBezTo>
                        <a:pt x="1439206" y="591369"/>
                        <a:pt x="1437953" y="588605"/>
                        <a:pt x="1437976" y="588652"/>
                      </a:cubicBezTo>
                      <a:cubicBezTo>
                        <a:pt x="1437637" y="588968"/>
                        <a:pt x="1437356" y="590444"/>
                        <a:pt x="1436876" y="590631"/>
                      </a:cubicBezTo>
                      <a:cubicBezTo>
                        <a:pt x="1436794" y="590093"/>
                        <a:pt x="1436560" y="588465"/>
                        <a:pt x="1436290" y="587891"/>
                      </a:cubicBezTo>
                      <a:cubicBezTo>
                        <a:pt x="1432952" y="592037"/>
                        <a:pt x="1432203" y="590362"/>
                        <a:pt x="1429907" y="586872"/>
                      </a:cubicBezTo>
                      <a:cubicBezTo>
                        <a:pt x="1426031" y="581005"/>
                        <a:pt x="1433140" y="578639"/>
                        <a:pt x="1430727" y="576215"/>
                      </a:cubicBezTo>
                      <a:cubicBezTo>
                        <a:pt x="1433327" y="571893"/>
                        <a:pt x="1438796" y="568321"/>
                        <a:pt x="1440096" y="565007"/>
                      </a:cubicBezTo>
                      <a:cubicBezTo>
                        <a:pt x="1439206" y="565334"/>
                        <a:pt x="1438363" y="565850"/>
                        <a:pt x="1437438" y="565908"/>
                      </a:cubicBezTo>
                      <a:cubicBezTo>
                        <a:pt x="1437684" y="563109"/>
                        <a:pt x="1441923" y="555836"/>
                        <a:pt x="1437180" y="556879"/>
                      </a:cubicBezTo>
                      <a:cubicBezTo>
                        <a:pt x="1445331" y="551058"/>
                        <a:pt x="1438059" y="519578"/>
                        <a:pt x="1454536" y="523185"/>
                      </a:cubicBezTo>
                      <a:cubicBezTo>
                        <a:pt x="1452979" y="525820"/>
                        <a:pt x="1460744" y="533819"/>
                        <a:pt x="1461095" y="538222"/>
                      </a:cubicBezTo>
                      <a:lnTo>
                        <a:pt x="1461095" y="538222"/>
                      </a:lnTo>
                      <a:close/>
                      <a:moveTo>
                        <a:pt x="1091444" y="504423"/>
                      </a:moveTo>
                      <a:cubicBezTo>
                        <a:pt x="1090823" y="505020"/>
                        <a:pt x="1090273" y="505688"/>
                        <a:pt x="1089722" y="506332"/>
                      </a:cubicBezTo>
                      <a:cubicBezTo>
                        <a:pt x="1087825" y="505172"/>
                        <a:pt x="1087521" y="493894"/>
                        <a:pt x="1087005" y="490263"/>
                      </a:cubicBezTo>
                      <a:cubicBezTo>
                        <a:pt x="1085143" y="477299"/>
                        <a:pt x="1089594" y="470167"/>
                        <a:pt x="1098940" y="462050"/>
                      </a:cubicBezTo>
                      <a:cubicBezTo>
                        <a:pt x="1099513" y="464967"/>
                        <a:pt x="1098518" y="468117"/>
                        <a:pt x="1098623" y="471279"/>
                      </a:cubicBezTo>
                      <a:cubicBezTo>
                        <a:pt x="1098670" y="472696"/>
                        <a:pt x="1100731" y="473528"/>
                        <a:pt x="1100837" y="474640"/>
                      </a:cubicBezTo>
                      <a:cubicBezTo>
                        <a:pt x="1100965" y="475753"/>
                        <a:pt x="1100005" y="477557"/>
                        <a:pt x="1099958" y="477217"/>
                      </a:cubicBezTo>
                      <a:cubicBezTo>
                        <a:pt x="1100345" y="479958"/>
                        <a:pt x="1102230" y="486984"/>
                        <a:pt x="1102348" y="489772"/>
                      </a:cubicBezTo>
                      <a:cubicBezTo>
                        <a:pt x="1102582" y="496155"/>
                        <a:pt x="1097265" y="501144"/>
                        <a:pt x="1091444" y="504423"/>
                      </a:cubicBezTo>
                      <a:lnTo>
                        <a:pt x="1091444" y="504423"/>
                      </a:lnTo>
                      <a:close/>
                      <a:moveTo>
                        <a:pt x="1652215" y="456324"/>
                      </a:moveTo>
                      <a:cubicBezTo>
                        <a:pt x="1655904" y="457424"/>
                        <a:pt x="1664712" y="458970"/>
                        <a:pt x="1664559" y="464826"/>
                      </a:cubicBezTo>
                      <a:cubicBezTo>
                        <a:pt x="1658060" y="463304"/>
                        <a:pt x="1662533" y="468152"/>
                        <a:pt x="1665239" y="469546"/>
                      </a:cubicBezTo>
                      <a:cubicBezTo>
                        <a:pt x="1665016" y="469429"/>
                        <a:pt x="1668893" y="468094"/>
                        <a:pt x="1670591" y="469487"/>
                      </a:cubicBezTo>
                      <a:cubicBezTo>
                        <a:pt x="1673671" y="472029"/>
                        <a:pt x="1670837" y="470823"/>
                        <a:pt x="1671446" y="474594"/>
                      </a:cubicBezTo>
                      <a:cubicBezTo>
                        <a:pt x="1673109" y="484677"/>
                        <a:pt x="1670239" y="482487"/>
                        <a:pt x="1664618" y="484947"/>
                      </a:cubicBezTo>
                      <a:cubicBezTo>
                        <a:pt x="1658458" y="487640"/>
                        <a:pt x="1653457" y="493391"/>
                        <a:pt x="1646676" y="494456"/>
                      </a:cubicBezTo>
                      <a:cubicBezTo>
                        <a:pt x="1639005" y="495674"/>
                        <a:pt x="1623276" y="488484"/>
                        <a:pt x="1616777" y="483201"/>
                      </a:cubicBezTo>
                      <a:cubicBezTo>
                        <a:pt x="1609340" y="477135"/>
                        <a:pt x="1600989" y="460434"/>
                        <a:pt x="1612642" y="457635"/>
                      </a:cubicBezTo>
                      <a:cubicBezTo>
                        <a:pt x="1612361" y="457705"/>
                        <a:pt x="1616671" y="459966"/>
                        <a:pt x="1617772" y="459919"/>
                      </a:cubicBezTo>
                      <a:cubicBezTo>
                        <a:pt x="1617690" y="459919"/>
                        <a:pt x="1622667" y="456125"/>
                        <a:pt x="1624143" y="455551"/>
                      </a:cubicBezTo>
                      <a:cubicBezTo>
                        <a:pt x="1630081" y="453255"/>
                        <a:pt x="1647941" y="450854"/>
                        <a:pt x="1652215" y="456324"/>
                      </a:cubicBezTo>
                      <a:lnTo>
                        <a:pt x="1652215" y="456324"/>
                      </a:lnTo>
                      <a:close/>
                      <a:moveTo>
                        <a:pt x="1791278" y="439120"/>
                      </a:moveTo>
                      <a:cubicBezTo>
                        <a:pt x="1795916" y="442164"/>
                        <a:pt x="1804231" y="443769"/>
                        <a:pt x="1808353" y="445737"/>
                      </a:cubicBezTo>
                      <a:cubicBezTo>
                        <a:pt x="1809267" y="446170"/>
                        <a:pt x="1810731" y="448325"/>
                        <a:pt x="1812546" y="448864"/>
                      </a:cubicBezTo>
                      <a:cubicBezTo>
                        <a:pt x="1818695" y="450714"/>
                        <a:pt x="1824410" y="448641"/>
                        <a:pt x="1830348" y="449519"/>
                      </a:cubicBezTo>
                      <a:cubicBezTo>
                        <a:pt x="1837808" y="450608"/>
                        <a:pt x="1845081" y="455867"/>
                        <a:pt x="1847903" y="462753"/>
                      </a:cubicBezTo>
                      <a:cubicBezTo>
                        <a:pt x="1849461" y="466524"/>
                        <a:pt x="1847693" y="469031"/>
                        <a:pt x="1850819" y="471830"/>
                      </a:cubicBezTo>
                      <a:cubicBezTo>
                        <a:pt x="1852775" y="473575"/>
                        <a:pt x="1856277" y="471139"/>
                        <a:pt x="1858596" y="474512"/>
                      </a:cubicBezTo>
                      <a:cubicBezTo>
                        <a:pt x="1856874" y="476912"/>
                        <a:pt x="1860236" y="479911"/>
                        <a:pt x="1860528" y="483284"/>
                      </a:cubicBezTo>
                      <a:cubicBezTo>
                        <a:pt x="1860868" y="487148"/>
                        <a:pt x="1857003" y="490685"/>
                        <a:pt x="1859123" y="495780"/>
                      </a:cubicBezTo>
                      <a:cubicBezTo>
                        <a:pt x="1852728" y="493871"/>
                        <a:pt x="1845830" y="490627"/>
                        <a:pt x="1840115" y="486996"/>
                      </a:cubicBezTo>
                      <a:cubicBezTo>
                        <a:pt x="1833733" y="482944"/>
                        <a:pt x="1824797" y="481105"/>
                        <a:pt x="1818461" y="476737"/>
                      </a:cubicBezTo>
                      <a:cubicBezTo>
                        <a:pt x="1816353" y="475296"/>
                        <a:pt x="1814643" y="472848"/>
                        <a:pt x="1813202" y="471759"/>
                      </a:cubicBezTo>
                      <a:cubicBezTo>
                        <a:pt x="1808494" y="468222"/>
                        <a:pt x="1806854" y="467613"/>
                        <a:pt x="1798984" y="466911"/>
                      </a:cubicBezTo>
                      <a:cubicBezTo>
                        <a:pt x="1797942" y="466817"/>
                        <a:pt x="1791489" y="465353"/>
                        <a:pt x="1790529" y="466255"/>
                      </a:cubicBezTo>
                      <a:cubicBezTo>
                        <a:pt x="1788714" y="467977"/>
                        <a:pt x="1791583" y="470155"/>
                        <a:pt x="1791126" y="470705"/>
                      </a:cubicBezTo>
                      <a:cubicBezTo>
                        <a:pt x="1790318" y="471678"/>
                        <a:pt x="1793808" y="472907"/>
                        <a:pt x="1790669" y="474851"/>
                      </a:cubicBezTo>
                      <a:cubicBezTo>
                        <a:pt x="1788573" y="476128"/>
                        <a:pt x="1784825" y="472802"/>
                        <a:pt x="1782905" y="472380"/>
                      </a:cubicBezTo>
                      <a:cubicBezTo>
                        <a:pt x="1776885" y="471057"/>
                        <a:pt x="1763182" y="470061"/>
                        <a:pt x="1759891" y="467063"/>
                      </a:cubicBezTo>
                      <a:cubicBezTo>
                        <a:pt x="1758181" y="465505"/>
                        <a:pt x="1765161" y="463175"/>
                        <a:pt x="1758310" y="461652"/>
                      </a:cubicBezTo>
                      <a:cubicBezTo>
                        <a:pt x="1755862" y="461102"/>
                        <a:pt x="1753474" y="463561"/>
                        <a:pt x="1751412" y="465201"/>
                      </a:cubicBezTo>
                      <a:cubicBezTo>
                        <a:pt x="1745299" y="470050"/>
                        <a:pt x="1747407" y="474863"/>
                        <a:pt x="1738471" y="473950"/>
                      </a:cubicBezTo>
                      <a:cubicBezTo>
                        <a:pt x="1735449" y="473645"/>
                        <a:pt x="1734770" y="474242"/>
                        <a:pt x="1731713" y="472017"/>
                      </a:cubicBezTo>
                      <a:cubicBezTo>
                        <a:pt x="1729125" y="470120"/>
                        <a:pt x="1728282" y="465166"/>
                        <a:pt x="1726057" y="462870"/>
                      </a:cubicBezTo>
                      <a:cubicBezTo>
                        <a:pt x="1725014" y="461805"/>
                        <a:pt x="1721676" y="461863"/>
                        <a:pt x="1721173" y="460996"/>
                      </a:cubicBezTo>
                      <a:cubicBezTo>
                        <a:pt x="1720541" y="459919"/>
                        <a:pt x="1721513" y="454637"/>
                        <a:pt x="1720025" y="454298"/>
                      </a:cubicBezTo>
                      <a:cubicBezTo>
                        <a:pt x="1715844" y="453302"/>
                        <a:pt x="1715165" y="459778"/>
                        <a:pt x="1714228" y="462249"/>
                      </a:cubicBezTo>
                      <a:cubicBezTo>
                        <a:pt x="1711886" y="468433"/>
                        <a:pt x="1708290" y="473048"/>
                        <a:pt x="1707026" y="479524"/>
                      </a:cubicBezTo>
                      <a:cubicBezTo>
                        <a:pt x="1704098" y="475952"/>
                        <a:pt x="1707892" y="472357"/>
                        <a:pt x="1707341" y="468070"/>
                      </a:cubicBezTo>
                      <a:cubicBezTo>
                        <a:pt x="1707026" y="465611"/>
                        <a:pt x="1704121" y="461605"/>
                        <a:pt x="1702669" y="459662"/>
                      </a:cubicBezTo>
                      <a:cubicBezTo>
                        <a:pt x="1706885" y="457729"/>
                        <a:pt x="1711031" y="453290"/>
                        <a:pt x="1716301" y="454110"/>
                      </a:cubicBezTo>
                      <a:cubicBezTo>
                        <a:pt x="1716547" y="452342"/>
                        <a:pt x="1716687" y="451475"/>
                        <a:pt x="1717039" y="449800"/>
                      </a:cubicBezTo>
                      <a:cubicBezTo>
                        <a:pt x="1716512" y="449683"/>
                        <a:pt x="1715107" y="449308"/>
                        <a:pt x="1714544" y="449074"/>
                      </a:cubicBezTo>
                      <a:cubicBezTo>
                        <a:pt x="1716992" y="447516"/>
                        <a:pt x="1717940" y="444062"/>
                        <a:pt x="1720330" y="443078"/>
                      </a:cubicBezTo>
                      <a:cubicBezTo>
                        <a:pt x="1725073" y="441134"/>
                        <a:pt x="1735649" y="442738"/>
                        <a:pt x="1740907" y="442832"/>
                      </a:cubicBezTo>
                      <a:cubicBezTo>
                        <a:pt x="1745357" y="442914"/>
                        <a:pt x="1750428" y="443886"/>
                        <a:pt x="1754820" y="443406"/>
                      </a:cubicBezTo>
                      <a:cubicBezTo>
                        <a:pt x="1757092" y="443160"/>
                        <a:pt x="1763393" y="440209"/>
                        <a:pt x="1764845" y="440654"/>
                      </a:cubicBezTo>
                      <a:cubicBezTo>
                        <a:pt x="1768417" y="441766"/>
                        <a:pt x="1765911" y="449425"/>
                        <a:pt x="1772727" y="448266"/>
                      </a:cubicBezTo>
                      <a:cubicBezTo>
                        <a:pt x="1772751" y="447762"/>
                        <a:pt x="1772258" y="447294"/>
                        <a:pt x="1772423" y="446767"/>
                      </a:cubicBezTo>
                      <a:cubicBezTo>
                        <a:pt x="1773055" y="446849"/>
                        <a:pt x="1773805" y="447505"/>
                        <a:pt x="1774449" y="447528"/>
                      </a:cubicBezTo>
                      <a:cubicBezTo>
                        <a:pt x="1778009" y="442691"/>
                        <a:pt x="1785188" y="439155"/>
                        <a:pt x="1791278" y="439120"/>
                      </a:cubicBezTo>
                      <a:lnTo>
                        <a:pt x="1791278" y="439120"/>
                      </a:lnTo>
                      <a:close/>
                      <a:moveTo>
                        <a:pt x="659710" y="427115"/>
                      </a:moveTo>
                      <a:cubicBezTo>
                        <a:pt x="663716" y="428111"/>
                        <a:pt x="668412" y="427455"/>
                        <a:pt x="669712" y="431928"/>
                      </a:cubicBezTo>
                      <a:cubicBezTo>
                        <a:pt x="671867" y="426834"/>
                        <a:pt x="683286" y="437421"/>
                        <a:pt x="682970" y="442703"/>
                      </a:cubicBezTo>
                      <a:cubicBezTo>
                        <a:pt x="682630" y="448430"/>
                        <a:pt x="675697" y="452014"/>
                        <a:pt x="678625" y="457694"/>
                      </a:cubicBezTo>
                      <a:cubicBezTo>
                        <a:pt x="670626" y="458034"/>
                        <a:pt x="671773" y="464967"/>
                        <a:pt x="666117" y="460786"/>
                      </a:cubicBezTo>
                      <a:cubicBezTo>
                        <a:pt x="665156" y="460071"/>
                        <a:pt x="663177" y="454344"/>
                        <a:pt x="661690" y="454005"/>
                      </a:cubicBezTo>
                      <a:cubicBezTo>
                        <a:pt x="656338" y="452752"/>
                        <a:pt x="661397" y="456804"/>
                        <a:pt x="659055" y="458490"/>
                      </a:cubicBezTo>
                      <a:cubicBezTo>
                        <a:pt x="657485" y="459638"/>
                        <a:pt x="648948" y="463807"/>
                        <a:pt x="647671" y="462882"/>
                      </a:cubicBezTo>
                      <a:cubicBezTo>
                        <a:pt x="645176" y="461067"/>
                        <a:pt x="648538" y="458432"/>
                        <a:pt x="648397" y="456605"/>
                      </a:cubicBezTo>
                      <a:cubicBezTo>
                        <a:pt x="648350" y="455996"/>
                        <a:pt x="646242" y="451592"/>
                        <a:pt x="645762" y="450503"/>
                      </a:cubicBezTo>
                      <a:cubicBezTo>
                        <a:pt x="644895" y="448582"/>
                        <a:pt x="650376" y="445198"/>
                        <a:pt x="644321" y="446849"/>
                      </a:cubicBezTo>
                      <a:cubicBezTo>
                        <a:pt x="650997" y="440150"/>
                        <a:pt x="645750" y="424878"/>
                        <a:pt x="659710" y="427115"/>
                      </a:cubicBezTo>
                      <a:lnTo>
                        <a:pt x="659710" y="427115"/>
                      </a:lnTo>
                      <a:close/>
                      <a:moveTo>
                        <a:pt x="1833838" y="382483"/>
                      </a:moveTo>
                      <a:cubicBezTo>
                        <a:pt x="1834412" y="389334"/>
                        <a:pt x="1841345" y="389334"/>
                        <a:pt x="1833170" y="394674"/>
                      </a:cubicBezTo>
                      <a:cubicBezTo>
                        <a:pt x="1834868" y="395060"/>
                        <a:pt x="1836988" y="396876"/>
                        <a:pt x="1838007" y="397169"/>
                      </a:cubicBezTo>
                      <a:cubicBezTo>
                        <a:pt x="1835255" y="399206"/>
                        <a:pt x="1833147" y="399324"/>
                        <a:pt x="1832854" y="395775"/>
                      </a:cubicBezTo>
                      <a:cubicBezTo>
                        <a:pt x="1829950" y="400120"/>
                        <a:pt x="1825335" y="403399"/>
                        <a:pt x="1820346" y="400811"/>
                      </a:cubicBezTo>
                      <a:cubicBezTo>
                        <a:pt x="1820592" y="400647"/>
                        <a:pt x="1820838" y="400542"/>
                        <a:pt x="1821096" y="400448"/>
                      </a:cubicBezTo>
                      <a:cubicBezTo>
                        <a:pt x="1812991" y="398773"/>
                        <a:pt x="1807136" y="396853"/>
                        <a:pt x="1800343" y="392227"/>
                      </a:cubicBezTo>
                      <a:cubicBezTo>
                        <a:pt x="1805297" y="389673"/>
                        <a:pt x="1812394" y="385925"/>
                        <a:pt x="1817922" y="384813"/>
                      </a:cubicBezTo>
                      <a:cubicBezTo>
                        <a:pt x="1821412" y="384110"/>
                        <a:pt x="1831964" y="381428"/>
                        <a:pt x="1833838" y="382483"/>
                      </a:cubicBezTo>
                      <a:lnTo>
                        <a:pt x="1833838" y="382483"/>
                      </a:lnTo>
                      <a:close/>
                      <a:moveTo>
                        <a:pt x="1529853" y="379402"/>
                      </a:moveTo>
                      <a:cubicBezTo>
                        <a:pt x="1535381" y="380597"/>
                        <a:pt x="1552293" y="379133"/>
                        <a:pt x="1556919" y="386171"/>
                      </a:cubicBezTo>
                      <a:cubicBezTo>
                        <a:pt x="1556919" y="386171"/>
                        <a:pt x="1559402" y="385914"/>
                        <a:pt x="1560139" y="385820"/>
                      </a:cubicBezTo>
                      <a:cubicBezTo>
                        <a:pt x="1558008" y="377119"/>
                        <a:pt x="1565117" y="386148"/>
                        <a:pt x="1564520" y="386066"/>
                      </a:cubicBezTo>
                      <a:cubicBezTo>
                        <a:pt x="1565925" y="386265"/>
                        <a:pt x="1569708" y="382834"/>
                        <a:pt x="1569052" y="387062"/>
                      </a:cubicBezTo>
                      <a:cubicBezTo>
                        <a:pt x="1574170" y="387589"/>
                        <a:pt x="1569813" y="391032"/>
                        <a:pt x="1568396" y="391828"/>
                      </a:cubicBezTo>
                      <a:cubicBezTo>
                        <a:pt x="1566768" y="392730"/>
                        <a:pt x="1562095" y="392461"/>
                        <a:pt x="1560139" y="392952"/>
                      </a:cubicBezTo>
                      <a:cubicBezTo>
                        <a:pt x="1557551" y="393620"/>
                        <a:pt x="1555139" y="395213"/>
                        <a:pt x="1553347" y="395189"/>
                      </a:cubicBezTo>
                      <a:cubicBezTo>
                        <a:pt x="1550466" y="395154"/>
                        <a:pt x="1547503" y="392718"/>
                        <a:pt x="1544340" y="393281"/>
                      </a:cubicBezTo>
                      <a:cubicBezTo>
                        <a:pt x="1536529" y="394651"/>
                        <a:pt x="1528354" y="403680"/>
                        <a:pt x="1521948" y="395904"/>
                      </a:cubicBezTo>
                      <a:cubicBezTo>
                        <a:pt x="1515554" y="388139"/>
                        <a:pt x="1523178" y="380175"/>
                        <a:pt x="1529853" y="379402"/>
                      </a:cubicBezTo>
                      <a:lnTo>
                        <a:pt x="1529853" y="379402"/>
                      </a:lnTo>
                      <a:close/>
                      <a:moveTo>
                        <a:pt x="2100919" y="377013"/>
                      </a:moveTo>
                      <a:cubicBezTo>
                        <a:pt x="2114645" y="381007"/>
                        <a:pt x="2129191" y="378981"/>
                        <a:pt x="2142261" y="381885"/>
                      </a:cubicBezTo>
                      <a:cubicBezTo>
                        <a:pt x="2151279" y="383888"/>
                        <a:pt x="2167851" y="381464"/>
                        <a:pt x="2175100" y="387963"/>
                      </a:cubicBezTo>
                      <a:cubicBezTo>
                        <a:pt x="2171294" y="389697"/>
                        <a:pt x="2160648" y="392707"/>
                        <a:pt x="2155975" y="391524"/>
                      </a:cubicBezTo>
                      <a:cubicBezTo>
                        <a:pt x="2155999" y="392098"/>
                        <a:pt x="2156596" y="392402"/>
                        <a:pt x="2156690" y="393093"/>
                      </a:cubicBezTo>
                      <a:cubicBezTo>
                        <a:pt x="2144685" y="392742"/>
                        <a:pt x="2139497" y="392449"/>
                        <a:pt x="2128078" y="388736"/>
                      </a:cubicBezTo>
                      <a:cubicBezTo>
                        <a:pt x="2122024" y="386769"/>
                        <a:pt x="2116156" y="383302"/>
                        <a:pt x="2110265" y="382260"/>
                      </a:cubicBezTo>
                      <a:cubicBezTo>
                        <a:pt x="2105206" y="381370"/>
                        <a:pt x="2101189" y="382471"/>
                        <a:pt x="2098073" y="378114"/>
                      </a:cubicBezTo>
                      <a:cubicBezTo>
                        <a:pt x="2099069" y="377505"/>
                        <a:pt x="2099959" y="377294"/>
                        <a:pt x="2100919" y="377013"/>
                      </a:cubicBezTo>
                      <a:lnTo>
                        <a:pt x="2100919" y="377013"/>
                      </a:lnTo>
                      <a:close/>
                      <a:moveTo>
                        <a:pt x="556836" y="371755"/>
                      </a:moveTo>
                      <a:cubicBezTo>
                        <a:pt x="558277" y="372656"/>
                        <a:pt x="562142" y="373664"/>
                        <a:pt x="563266" y="374952"/>
                      </a:cubicBezTo>
                      <a:cubicBezTo>
                        <a:pt x="566194" y="378360"/>
                        <a:pt x="563805" y="378231"/>
                        <a:pt x="565608" y="382026"/>
                      </a:cubicBezTo>
                      <a:cubicBezTo>
                        <a:pt x="567658" y="386300"/>
                        <a:pt x="571218" y="388619"/>
                        <a:pt x="572436" y="393093"/>
                      </a:cubicBezTo>
                      <a:cubicBezTo>
                        <a:pt x="574954" y="402369"/>
                        <a:pt x="571851" y="416317"/>
                        <a:pt x="582227" y="422805"/>
                      </a:cubicBezTo>
                      <a:cubicBezTo>
                        <a:pt x="588036" y="426448"/>
                        <a:pt x="600462" y="425932"/>
                        <a:pt x="606774" y="428684"/>
                      </a:cubicBezTo>
                      <a:cubicBezTo>
                        <a:pt x="600965" y="429422"/>
                        <a:pt x="594161" y="438370"/>
                        <a:pt x="595133" y="444354"/>
                      </a:cubicBezTo>
                      <a:cubicBezTo>
                        <a:pt x="596011" y="449753"/>
                        <a:pt x="602359" y="448945"/>
                        <a:pt x="602546" y="454438"/>
                      </a:cubicBezTo>
                      <a:cubicBezTo>
                        <a:pt x="594067" y="458666"/>
                        <a:pt x="589629" y="452834"/>
                        <a:pt x="582590" y="448887"/>
                      </a:cubicBezTo>
                      <a:cubicBezTo>
                        <a:pt x="574696" y="444472"/>
                        <a:pt x="559354" y="443277"/>
                        <a:pt x="558347" y="432409"/>
                      </a:cubicBezTo>
                      <a:cubicBezTo>
                        <a:pt x="557996" y="428521"/>
                        <a:pt x="560877" y="426166"/>
                        <a:pt x="559612" y="422243"/>
                      </a:cubicBezTo>
                      <a:cubicBezTo>
                        <a:pt x="559155" y="420791"/>
                        <a:pt x="555876" y="421025"/>
                        <a:pt x="555208" y="419678"/>
                      </a:cubicBezTo>
                      <a:cubicBezTo>
                        <a:pt x="554459" y="418168"/>
                        <a:pt x="554728" y="416364"/>
                        <a:pt x="554225" y="415029"/>
                      </a:cubicBezTo>
                      <a:cubicBezTo>
                        <a:pt x="551683" y="408236"/>
                        <a:pt x="553487" y="407486"/>
                        <a:pt x="546331" y="404524"/>
                      </a:cubicBezTo>
                      <a:cubicBezTo>
                        <a:pt x="541061" y="402322"/>
                        <a:pt x="540136" y="403996"/>
                        <a:pt x="534643" y="404781"/>
                      </a:cubicBezTo>
                      <a:cubicBezTo>
                        <a:pt x="531621" y="405214"/>
                        <a:pt x="519594" y="403833"/>
                        <a:pt x="518305" y="401678"/>
                      </a:cubicBezTo>
                      <a:cubicBezTo>
                        <a:pt x="513867" y="394206"/>
                        <a:pt x="530357" y="391149"/>
                        <a:pt x="531750" y="384731"/>
                      </a:cubicBezTo>
                      <a:cubicBezTo>
                        <a:pt x="532148" y="382881"/>
                        <a:pt x="528577" y="383384"/>
                        <a:pt x="530439" y="379648"/>
                      </a:cubicBezTo>
                      <a:cubicBezTo>
                        <a:pt x="531118" y="378290"/>
                        <a:pt x="534350" y="375936"/>
                        <a:pt x="535744" y="375373"/>
                      </a:cubicBezTo>
                      <a:cubicBezTo>
                        <a:pt x="544879" y="371661"/>
                        <a:pt x="540663" y="378735"/>
                        <a:pt x="547807" y="380421"/>
                      </a:cubicBezTo>
                      <a:cubicBezTo>
                        <a:pt x="540780" y="385164"/>
                        <a:pt x="550711" y="386874"/>
                        <a:pt x="553534" y="387577"/>
                      </a:cubicBezTo>
                      <a:cubicBezTo>
                        <a:pt x="549646" y="383548"/>
                        <a:pt x="550969" y="378231"/>
                        <a:pt x="547432" y="373968"/>
                      </a:cubicBezTo>
                      <a:cubicBezTo>
                        <a:pt x="550699" y="373980"/>
                        <a:pt x="554201" y="374015"/>
                        <a:pt x="556836" y="371755"/>
                      </a:cubicBezTo>
                      <a:lnTo>
                        <a:pt x="556836" y="371755"/>
                      </a:lnTo>
                      <a:close/>
                      <a:moveTo>
                        <a:pt x="1702060" y="368768"/>
                      </a:moveTo>
                      <a:cubicBezTo>
                        <a:pt x="1706381" y="367761"/>
                        <a:pt x="1712483" y="372563"/>
                        <a:pt x="1715575" y="375842"/>
                      </a:cubicBezTo>
                      <a:cubicBezTo>
                        <a:pt x="1721548" y="382154"/>
                        <a:pt x="1716652" y="382424"/>
                        <a:pt x="1708197" y="382073"/>
                      </a:cubicBezTo>
                      <a:cubicBezTo>
                        <a:pt x="1700842" y="381756"/>
                        <a:pt x="1691168" y="386254"/>
                        <a:pt x="1684504" y="383689"/>
                      </a:cubicBezTo>
                      <a:cubicBezTo>
                        <a:pt x="1676400" y="380550"/>
                        <a:pt x="1679328" y="374120"/>
                        <a:pt x="1681073" y="367901"/>
                      </a:cubicBezTo>
                      <a:cubicBezTo>
                        <a:pt x="1685640" y="371872"/>
                        <a:pt x="1685617" y="365360"/>
                        <a:pt x="1690606" y="363908"/>
                      </a:cubicBezTo>
                      <a:cubicBezTo>
                        <a:pt x="1695396" y="362514"/>
                        <a:pt x="1698886" y="365876"/>
                        <a:pt x="1702060" y="368768"/>
                      </a:cubicBezTo>
                      <a:lnTo>
                        <a:pt x="1702060" y="368768"/>
                      </a:lnTo>
                      <a:close/>
                      <a:moveTo>
                        <a:pt x="1460568" y="354340"/>
                      </a:moveTo>
                      <a:cubicBezTo>
                        <a:pt x="1463226" y="356987"/>
                        <a:pt x="1460603" y="362210"/>
                        <a:pt x="1462184" y="366824"/>
                      </a:cubicBezTo>
                      <a:cubicBezTo>
                        <a:pt x="1465077" y="363662"/>
                        <a:pt x="1469024" y="354750"/>
                        <a:pt x="1472432" y="359692"/>
                      </a:cubicBezTo>
                      <a:cubicBezTo>
                        <a:pt x="1479365" y="354831"/>
                        <a:pt x="1481134" y="374776"/>
                        <a:pt x="1468965" y="372914"/>
                      </a:cubicBezTo>
                      <a:cubicBezTo>
                        <a:pt x="1467911" y="361226"/>
                        <a:pt x="1463332" y="374683"/>
                        <a:pt x="1462770" y="379238"/>
                      </a:cubicBezTo>
                      <a:cubicBezTo>
                        <a:pt x="1462161" y="378618"/>
                        <a:pt x="1462372" y="377950"/>
                        <a:pt x="1461915" y="377189"/>
                      </a:cubicBezTo>
                      <a:cubicBezTo>
                        <a:pt x="1457617" y="380140"/>
                        <a:pt x="1457137" y="376463"/>
                        <a:pt x="1456914" y="374812"/>
                      </a:cubicBezTo>
                      <a:cubicBezTo>
                        <a:pt x="1456633" y="372715"/>
                        <a:pt x="1460931" y="371134"/>
                        <a:pt x="1458788" y="365770"/>
                      </a:cubicBezTo>
                      <a:cubicBezTo>
                        <a:pt x="1458214" y="364318"/>
                        <a:pt x="1458261" y="363018"/>
                        <a:pt x="1457675" y="361893"/>
                      </a:cubicBezTo>
                      <a:cubicBezTo>
                        <a:pt x="1454923" y="364927"/>
                        <a:pt x="1452979" y="369893"/>
                        <a:pt x="1449723" y="372809"/>
                      </a:cubicBezTo>
                      <a:cubicBezTo>
                        <a:pt x="1442040" y="379683"/>
                        <a:pt x="1438855" y="372223"/>
                        <a:pt x="1440471" y="363767"/>
                      </a:cubicBezTo>
                      <a:cubicBezTo>
                        <a:pt x="1442802" y="351599"/>
                        <a:pt x="1454888" y="357244"/>
                        <a:pt x="1460568" y="354340"/>
                      </a:cubicBezTo>
                      <a:lnTo>
                        <a:pt x="1460568" y="354340"/>
                      </a:lnTo>
                      <a:close/>
                      <a:moveTo>
                        <a:pt x="193908" y="343108"/>
                      </a:moveTo>
                      <a:cubicBezTo>
                        <a:pt x="194599" y="344584"/>
                        <a:pt x="195711" y="344549"/>
                        <a:pt x="195009" y="346434"/>
                      </a:cubicBezTo>
                      <a:cubicBezTo>
                        <a:pt x="194833" y="346434"/>
                        <a:pt x="193627" y="345802"/>
                        <a:pt x="193252" y="345732"/>
                      </a:cubicBezTo>
                      <a:cubicBezTo>
                        <a:pt x="197128" y="355276"/>
                        <a:pt x="204308" y="360582"/>
                        <a:pt x="206802" y="370021"/>
                      </a:cubicBezTo>
                      <a:cubicBezTo>
                        <a:pt x="206018" y="369600"/>
                        <a:pt x="205467" y="368850"/>
                        <a:pt x="204659" y="368604"/>
                      </a:cubicBezTo>
                      <a:cubicBezTo>
                        <a:pt x="208512" y="372633"/>
                        <a:pt x="215152" y="379308"/>
                        <a:pt x="212494" y="384731"/>
                      </a:cubicBezTo>
                      <a:cubicBezTo>
                        <a:pt x="212435" y="381862"/>
                        <a:pt x="211018" y="380620"/>
                        <a:pt x="210011" y="378278"/>
                      </a:cubicBezTo>
                      <a:cubicBezTo>
                        <a:pt x="209824" y="378536"/>
                        <a:pt x="209016" y="378992"/>
                        <a:pt x="208617" y="379004"/>
                      </a:cubicBezTo>
                      <a:cubicBezTo>
                        <a:pt x="216429" y="389146"/>
                        <a:pt x="203757" y="388408"/>
                        <a:pt x="197433" y="384813"/>
                      </a:cubicBezTo>
                      <a:cubicBezTo>
                        <a:pt x="189973" y="380585"/>
                        <a:pt x="183215" y="369564"/>
                        <a:pt x="179596" y="361577"/>
                      </a:cubicBezTo>
                      <a:cubicBezTo>
                        <a:pt x="177851" y="357736"/>
                        <a:pt x="176821" y="350440"/>
                        <a:pt x="179912" y="346469"/>
                      </a:cubicBezTo>
                      <a:cubicBezTo>
                        <a:pt x="182009" y="343788"/>
                        <a:pt x="191659" y="340567"/>
                        <a:pt x="193908" y="343108"/>
                      </a:cubicBezTo>
                      <a:lnTo>
                        <a:pt x="193908" y="343108"/>
                      </a:lnTo>
                      <a:close/>
                      <a:moveTo>
                        <a:pt x="1863972" y="342382"/>
                      </a:moveTo>
                      <a:cubicBezTo>
                        <a:pt x="1874535" y="337299"/>
                        <a:pt x="1873517" y="373886"/>
                        <a:pt x="1858011" y="360922"/>
                      </a:cubicBezTo>
                      <a:cubicBezTo>
                        <a:pt x="1853701" y="357314"/>
                        <a:pt x="1853337" y="354035"/>
                        <a:pt x="1852307" y="350486"/>
                      </a:cubicBezTo>
                      <a:cubicBezTo>
                        <a:pt x="1850515" y="344291"/>
                        <a:pt x="1847810" y="347149"/>
                        <a:pt x="1853572" y="343272"/>
                      </a:cubicBezTo>
                      <a:cubicBezTo>
                        <a:pt x="1856663" y="341188"/>
                        <a:pt x="1861594" y="339443"/>
                        <a:pt x="1863972" y="342382"/>
                      </a:cubicBezTo>
                      <a:lnTo>
                        <a:pt x="1863972" y="342382"/>
                      </a:lnTo>
                      <a:close/>
                      <a:moveTo>
                        <a:pt x="2098120" y="328235"/>
                      </a:moveTo>
                      <a:cubicBezTo>
                        <a:pt x="2100849" y="328844"/>
                        <a:pt x="2104784" y="328961"/>
                        <a:pt x="2107068" y="329546"/>
                      </a:cubicBezTo>
                      <a:cubicBezTo>
                        <a:pt x="2110406" y="330413"/>
                        <a:pt x="2112479" y="332334"/>
                        <a:pt x="2116051" y="332837"/>
                      </a:cubicBezTo>
                      <a:cubicBezTo>
                        <a:pt x="2121555" y="333610"/>
                        <a:pt x="2118744" y="329324"/>
                        <a:pt x="2125970" y="335109"/>
                      </a:cubicBezTo>
                      <a:cubicBezTo>
                        <a:pt x="2130034" y="338365"/>
                        <a:pt x="2131533" y="341258"/>
                        <a:pt x="2134590" y="344677"/>
                      </a:cubicBezTo>
                      <a:cubicBezTo>
                        <a:pt x="2137799" y="348261"/>
                        <a:pt x="2138595" y="347359"/>
                        <a:pt x="2141394" y="348753"/>
                      </a:cubicBezTo>
                      <a:cubicBezTo>
                        <a:pt x="2145774" y="350932"/>
                        <a:pt x="2150061" y="350498"/>
                        <a:pt x="2144720" y="354855"/>
                      </a:cubicBezTo>
                      <a:cubicBezTo>
                        <a:pt x="2139450" y="359165"/>
                        <a:pt x="2123862" y="357830"/>
                        <a:pt x="2119868" y="353438"/>
                      </a:cubicBezTo>
                      <a:cubicBezTo>
                        <a:pt x="2117280" y="350580"/>
                        <a:pt x="2119798" y="341539"/>
                        <a:pt x="2116355" y="338705"/>
                      </a:cubicBezTo>
                      <a:cubicBezTo>
                        <a:pt x="2113041" y="335964"/>
                        <a:pt x="2113673" y="339618"/>
                        <a:pt x="2111928" y="339009"/>
                      </a:cubicBezTo>
                      <a:cubicBezTo>
                        <a:pt x="2109164" y="338049"/>
                        <a:pt x="2105627" y="336995"/>
                        <a:pt x="2101329" y="333564"/>
                      </a:cubicBezTo>
                      <a:cubicBezTo>
                        <a:pt x="2101353" y="334559"/>
                        <a:pt x="2101482" y="334981"/>
                        <a:pt x="2101681" y="336046"/>
                      </a:cubicBezTo>
                      <a:cubicBezTo>
                        <a:pt x="2097827" y="334723"/>
                        <a:pt x="2092440" y="324510"/>
                        <a:pt x="2098120" y="328235"/>
                      </a:cubicBezTo>
                      <a:lnTo>
                        <a:pt x="2098120" y="328235"/>
                      </a:lnTo>
                      <a:close/>
                      <a:moveTo>
                        <a:pt x="1942345" y="312178"/>
                      </a:moveTo>
                      <a:cubicBezTo>
                        <a:pt x="1954478" y="313279"/>
                        <a:pt x="1963742" y="316675"/>
                        <a:pt x="1973451" y="320025"/>
                      </a:cubicBezTo>
                      <a:cubicBezTo>
                        <a:pt x="1981707" y="322882"/>
                        <a:pt x="1987821" y="330776"/>
                        <a:pt x="1996499" y="332357"/>
                      </a:cubicBezTo>
                      <a:cubicBezTo>
                        <a:pt x="2009991" y="334805"/>
                        <a:pt x="2020883" y="328118"/>
                        <a:pt x="2032805" y="339771"/>
                      </a:cubicBezTo>
                      <a:cubicBezTo>
                        <a:pt x="2017885" y="338623"/>
                        <a:pt x="2033227" y="355077"/>
                        <a:pt x="2035604" y="359305"/>
                      </a:cubicBezTo>
                      <a:cubicBezTo>
                        <a:pt x="2039317" y="365887"/>
                        <a:pt x="2035955" y="371872"/>
                        <a:pt x="2032594" y="378337"/>
                      </a:cubicBezTo>
                      <a:cubicBezTo>
                        <a:pt x="2031646" y="380152"/>
                        <a:pt x="2028940" y="380000"/>
                        <a:pt x="2028413" y="381885"/>
                      </a:cubicBezTo>
                      <a:cubicBezTo>
                        <a:pt x="2027511" y="385024"/>
                        <a:pt x="2031236" y="391945"/>
                        <a:pt x="2031435" y="395248"/>
                      </a:cubicBezTo>
                      <a:cubicBezTo>
                        <a:pt x="2031845" y="402626"/>
                        <a:pt x="2029795" y="408178"/>
                        <a:pt x="2033039" y="415755"/>
                      </a:cubicBezTo>
                      <a:cubicBezTo>
                        <a:pt x="2034937" y="420170"/>
                        <a:pt x="2039000" y="422466"/>
                        <a:pt x="2041401" y="426448"/>
                      </a:cubicBezTo>
                      <a:cubicBezTo>
                        <a:pt x="2043884" y="430546"/>
                        <a:pt x="2043416" y="436086"/>
                        <a:pt x="2046601" y="439857"/>
                      </a:cubicBezTo>
                      <a:cubicBezTo>
                        <a:pt x="2051953" y="446146"/>
                        <a:pt x="2050443" y="441075"/>
                        <a:pt x="2049915" y="435536"/>
                      </a:cubicBezTo>
                      <a:cubicBezTo>
                        <a:pt x="2049517" y="431261"/>
                        <a:pt x="2046320" y="425663"/>
                        <a:pt x="2052761" y="424082"/>
                      </a:cubicBezTo>
                      <a:cubicBezTo>
                        <a:pt x="2052644" y="423754"/>
                        <a:pt x="2051274" y="423777"/>
                        <a:pt x="2051824" y="422958"/>
                      </a:cubicBezTo>
                      <a:cubicBezTo>
                        <a:pt x="2063442" y="422805"/>
                        <a:pt x="2055385" y="461207"/>
                        <a:pt x="2068279" y="445397"/>
                      </a:cubicBezTo>
                      <a:cubicBezTo>
                        <a:pt x="2069228" y="448266"/>
                        <a:pt x="2065000" y="469300"/>
                        <a:pt x="2074158" y="463069"/>
                      </a:cubicBezTo>
                      <a:cubicBezTo>
                        <a:pt x="2072601" y="470776"/>
                        <a:pt x="2091339" y="471127"/>
                        <a:pt x="2096516" y="470237"/>
                      </a:cubicBezTo>
                      <a:cubicBezTo>
                        <a:pt x="2103636" y="469019"/>
                        <a:pt x="2102887" y="465775"/>
                        <a:pt x="2106705" y="462226"/>
                      </a:cubicBezTo>
                      <a:cubicBezTo>
                        <a:pt x="2108883" y="460212"/>
                        <a:pt x="2111846" y="459919"/>
                        <a:pt x="2113989" y="458104"/>
                      </a:cubicBezTo>
                      <a:cubicBezTo>
                        <a:pt x="2115477" y="456839"/>
                        <a:pt x="2115090" y="454356"/>
                        <a:pt x="2114950" y="454450"/>
                      </a:cubicBezTo>
                      <a:cubicBezTo>
                        <a:pt x="2121485" y="449297"/>
                        <a:pt x="2123101" y="449484"/>
                        <a:pt x="2126345" y="441227"/>
                      </a:cubicBezTo>
                      <a:cubicBezTo>
                        <a:pt x="2129496" y="433182"/>
                        <a:pt x="2137412" y="434189"/>
                        <a:pt x="2142589" y="426588"/>
                      </a:cubicBezTo>
                      <a:cubicBezTo>
                        <a:pt x="2148960" y="417219"/>
                        <a:pt x="2142683" y="411234"/>
                        <a:pt x="2155987" y="408306"/>
                      </a:cubicBezTo>
                      <a:cubicBezTo>
                        <a:pt x="2158692" y="417594"/>
                        <a:pt x="2173870" y="407006"/>
                        <a:pt x="2178590" y="405413"/>
                      </a:cubicBezTo>
                      <a:cubicBezTo>
                        <a:pt x="2186296" y="402814"/>
                        <a:pt x="2192574" y="406561"/>
                        <a:pt x="2190536" y="398328"/>
                      </a:cubicBezTo>
                      <a:cubicBezTo>
                        <a:pt x="2189189" y="392929"/>
                        <a:pt x="2183076" y="391571"/>
                        <a:pt x="2190594" y="386277"/>
                      </a:cubicBezTo>
                      <a:cubicBezTo>
                        <a:pt x="2197469" y="381440"/>
                        <a:pt x="2208537" y="377095"/>
                        <a:pt x="2216395" y="373839"/>
                      </a:cubicBezTo>
                      <a:cubicBezTo>
                        <a:pt x="2226022" y="369858"/>
                        <a:pt x="2226795" y="371848"/>
                        <a:pt x="2234372" y="376264"/>
                      </a:cubicBezTo>
                      <a:cubicBezTo>
                        <a:pt x="2243332" y="381475"/>
                        <a:pt x="2254715" y="382494"/>
                        <a:pt x="2264283" y="386617"/>
                      </a:cubicBezTo>
                      <a:cubicBezTo>
                        <a:pt x="2268640" y="388491"/>
                        <a:pt x="2270537" y="392039"/>
                        <a:pt x="2274414" y="394241"/>
                      </a:cubicBezTo>
                      <a:cubicBezTo>
                        <a:pt x="2278852" y="396771"/>
                        <a:pt x="2284029" y="396513"/>
                        <a:pt x="2288971" y="398644"/>
                      </a:cubicBezTo>
                      <a:cubicBezTo>
                        <a:pt x="2300062" y="403435"/>
                        <a:pt x="2310333" y="409829"/>
                        <a:pt x="2321494" y="414560"/>
                      </a:cubicBezTo>
                      <a:cubicBezTo>
                        <a:pt x="2330336" y="418296"/>
                        <a:pt x="2338476" y="416352"/>
                        <a:pt x="2345105" y="415146"/>
                      </a:cubicBezTo>
                      <a:cubicBezTo>
                        <a:pt x="2346639" y="418870"/>
                        <a:pt x="2357636" y="425323"/>
                        <a:pt x="2355844" y="419538"/>
                      </a:cubicBezTo>
                      <a:cubicBezTo>
                        <a:pt x="2359557" y="419842"/>
                        <a:pt x="2368317" y="420381"/>
                        <a:pt x="2371760" y="422700"/>
                      </a:cubicBezTo>
                      <a:cubicBezTo>
                        <a:pt x="2378424" y="427197"/>
                        <a:pt x="2371186" y="427712"/>
                        <a:pt x="2373845" y="430863"/>
                      </a:cubicBezTo>
                      <a:cubicBezTo>
                        <a:pt x="2374138" y="431214"/>
                        <a:pt x="2384924" y="430090"/>
                        <a:pt x="2387700" y="429738"/>
                      </a:cubicBezTo>
                      <a:cubicBezTo>
                        <a:pt x="2387641" y="468199"/>
                        <a:pt x="2387664" y="506648"/>
                        <a:pt x="2387805" y="545120"/>
                      </a:cubicBezTo>
                      <a:cubicBezTo>
                        <a:pt x="2387852" y="562500"/>
                        <a:pt x="2387828" y="579892"/>
                        <a:pt x="2387828" y="597272"/>
                      </a:cubicBezTo>
                      <a:cubicBezTo>
                        <a:pt x="2387828" y="605423"/>
                        <a:pt x="2391190" y="627523"/>
                        <a:pt x="2384479" y="630369"/>
                      </a:cubicBezTo>
                      <a:cubicBezTo>
                        <a:pt x="2388871" y="633156"/>
                        <a:pt x="2381317" y="639691"/>
                        <a:pt x="2381305" y="643767"/>
                      </a:cubicBezTo>
                      <a:cubicBezTo>
                        <a:pt x="2381293" y="646191"/>
                        <a:pt x="2382968" y="648674"/>
                        <a:pt x="2384174" y="650782"/>
                      </a:cubicBezTo>
                      <a:cubicBezTo>
                        <a:pt x="2386411" y="654670"/>
                        <a:pt x="2387828" y="655572"/>
                        <a:pt x="2387828" y="662634"/>
                      </a:cubicBezTo>
                      <a:cubicBezTo>
                        <a:pt x="2387817" y="698530"/>
                        <a:pt x="2387875" y="734449"/>
                        <a:pt x="2387817" y="770357"/>
                      </a:cubicBezTo>
                      <a:cubicBezTo>
                        <a:pt x="2376808" y="766199"/>
                        <a:pt x="2371116" y="755343"/>
                        <a:pt x="2363960" y="746711"/>
                      </a:cubicBezTo>
                      <a:cubicBezTo>
                        <a:pt x="2359088" y="740844"/>
                        <a:pt x="2353525" y="736662"/>
                        <a:pt x="2347716" y="732025"/>
                      </a:cubicBezTo>
                      <a:cubicBezTo>
                        <a:pt x="2345081" y="729928"/>
                        <a:pt x="2335888" y="725419"/>
                        <a:pt x="2335677" y="721273"/>
                      </a:cubicBezTo>
                      <a:cubicBezTo>
                        <a:pt x="2335513" y="718299"/>
                        <a:pt x="2337879" y="718685"/>
                        <a:pt x="2338324" y="716870"/>
                      </a:cubicBezTo>
                      <a:cubicBezTo>
                        <a:pt x="2339542" y="711693"/>
                        <a:pt x="2341779" y="710230"/>
                        <a:pt x="2344788" y="706177"/>
                      </a:cubicBezTo>
                      <a:cubicBezTo>
                        <a:pt x="2338113" y="707934"/>
                        <a:pt x="2341685" y="712232"/>
                        <a:pt x="2337668" y="716120"/>
                      </a:cubicBezTo>
                      <a:cubicBezTo>
                        <a:pt x="2333100" y="720512"/>
                        <a:pt x="2322009" y="717795"/>
                        <a:pt x="2315966" y="719353"/>
                      </a:cubicBezTo>
                      <a:cubicBezTo>
                        <a:pt x="2311176" y="720594"/>
                        <a:pt x="2304501" y="725665"/>
                        <a:pt x="2299477" y="721309"/>
                      </a:cubicBezTo>
                      <a:cubicBezTo>
                        <a:pt x="2296268" y="718533"/>
                        <a:pt x="2298165" y="714656"/>
                        <a:pt x="2296127" y="711190"/>
                      </a:cubicBezTo>
                      <a:cubicBezTo>
                        <a:pt x="2297076" y="711143"/>
                        <a:pt x="2298985" y="710780"/>
                        <a:pt x="2299723" y="710850"/>
                      </a:cubicBezTo>
                      <a:cubicBezTo>
                        <a:pt x="2292215" y="708168"/>
                        <a:pt x="2298153" y="712654"/>
                        <a:pt x="2296502" y="714340"/>
                      </a:cubicBezTo>
                      <a:cubicBezTo>
                        <a:pt x="2295494" y="715383"/>
                        <a:pt x="2283748" y="726239"/>
                        <a:pt x="2282460" y="726473"/>
                      </a:cubicBezTo>
                      <a:cubicBezTo>
                        <a:pt x="2279696" y="726977"/>
                        <a:pt x="2276288" y="723522"/>
                        <a:pt x="2276370" y="718966"/>
                      </a:cubicBezTo>
                      <a:cubicBezTo>
                        <a:pt x="2276428" y="716706"/>
                        <a:pt x="2280223" y="717971"/>
                        <a:pt x="2280574" y="716413"/>
                      </a:cubicBezTo>
                      <a:cubicBezTo>
                        <a:pt x="2280937" y="714797"/>
                        <a:pt x="2279169" y="714387"/>
                        <a:pt x="2280047" y="712654"/>
                      </a:cubicBezTo>
                      <a:cubicBezTo>
                        <a:pt x="2280726" y="711295"/>
                        <a:pt x="2279731" y="709187"/>
                        <a:pt x="2280164" y="707677"/>
                      </a:cubicBezTo>
                      <a:cubicBezTo>
                        <a:pt x="2280551" y="706294"/>
                        <a:pt x="2282647" y="706927"/>
                        <a:pt x="2282928" y="706189"/>
                      </a:cubicBezTo>
                      <a:cubicBezTo>
                        <a:pt x="2283877" y="703718"/>
                        <a:pt x="2284696" y="700579"/>
                        <a:pt x="2285762" y="697675"/>
                      </a:cubicBezTo>
                      <a:cubicBezTo>
                        <a:pt x="2287636" y="692615"/>
                        <a:pt x="2289908" y="691573"/>
                        <a:pt x="2287484" y="687263"/>
                      </a:cubicBezTo>
                      <a:cubicBezTo>
                        <a:pt x="2286922" y="686268"/>
                        <a:pt x="2282565" y="685565"/>
                        <a:pt x="2281546" y="684581"/>
                      </a:cubicBezTo>
                      <a:cubicBezTo>
                        <a:pt x="2280012" y="683117"/>
                        <a:pt x="2279333" y="679299"/>
                        <a:pt x="2277670" y="677391"/>
                      </a:cubicBezTo>
                      <a:cubicBezTo>
                        <a:pt x="2274695" y="673994"/>
                        <a:pt x="2269882" y="672893"/>
                        <a:pt x="2267352" y="670141"/>
                      </a:cubicBezTo>
                      <a:cubicBezTo>
                        <a:pt x="2277435" y="668923"/>
                        <a:pt x="2291314" y="676969"/>
                        <a:pt x="2297228" y="667705"/>
                      </a:cubicBezTo>
                      <a:cubicBezTo>
                        <a:pt x="2290962" y="671570"/>
                        <a:pt x="2288503" y="670047"/>
                        <a:pt x="2281347" y="667916"/>
                      </a:cubicBezTo>
                      <a:cubicBezTo>
                        <a:pt x="2277482" y="666768"/>
                        <a:pt x="2258170" y="659858"/>
                        <a:pt x="2262878" y="654073"/>
                      </a:cubicBezTo>
                      <a:cubicBezTo>
                        <a:pt x="2263452" y="653370"/>
                        <a:pt x="2280246" y="651321"/>
                        <a:pt x="2281370" y="651613"/>
                      </a:cubicBezTo>
                      <a:cubicBezTo>
                        <a:pt x="2286723" y="653030"/>
                        <a:pt x="2288140" y="659120"/>
                        <a:pt x="2294745" y="658359"/>
                      </a:cubicBezTo>
                      <a:cubicBezTo>
                        <a:pt x="2288339" y="655970"/>
                        <a:pt x="2281944" y="652328"/>
                        <a:pt x="2275456" y="649622"/>
                      </a:cubicBezTo>
                      <a:cubicBezTo>
                        <a:pt x="2267399" y="646249"/>
                        <a:pt x="2264670" y="637794"/>
                        <a:pt x="2275807" y="644376"/>
                      </a:cubicBezTo>
                      <a:cubicBezTo>
                        <a:pt x="2265841" y="638297"/>
                        <a:pt x="2256729" y="630017"/>
                        <a:pt x="2252923" y="619020"/>
                      </a:cubicBezTo>
                      <a:cubicBezTo>
                        <a:pt x="2250030" y="610647"/>
                        <a:pt x="2242031" y="601547"/>
                        <a:pt x="2253626" y="598806"/>
                      </a:cubicBezTo>
                      <a:cubicBezTo>
                        <a:pt x="2249257" y="600188"/>
                        <a:pt x="2243285" y="599661"/>
                        <a:pt x="2240767" y="595574"/>
                      </a:cubicBezTo>
                      <a:cubicBezTo>
                        <a:pt x="2244081" y="593372"/>
                        <a:pt x="2247618" y="591592"/>
                        <a:pt x="2251483" y="590596"/>
                      </a:cubicBezTo>
                      <a:cubicBezTo>
                        <a:pt x="2247630" y="589788"/>
                        <a:pt x="2239045" y="594930"/>
                        <a:pt x="2236890" y="593700"/>
                      </a:cubicBezTo>
                      <a:cubicBezTo>
                        <a:pt x="2233412" y="591721"/>
                        <a:pt x="2235602" y="584424"/>
                        <a:pt x="2238272" y="583042"/>
                      </a:cubicBezTo>
                      <a:cubicBezTo>
                        <a:pt x="2235637" y="581789"/>
                        <a:pt x="2235438" y="578686"/>
                        <a:pt x="2235754" y="576203"/>
                      </a:cubicBezTo>
                      <a:cubicBezTo>
                        <a:pt x="2235227" y="578311"/>
                        <a:pt x="2234993" y="576952"/>
                        <a:pt x="2233939" y="577632"/>
                      </a:cubicBezTo>
                      <a:cubicBezTo>
                        <a:pt x="2233646" y="584026"/>
                        <a:pt x="2227263" y="575723"/>
                        <a:pt x="2228634" y="572291"/>
                      </a:cubicBezTo>
                      <a:cubicBezTo>
                        <a:pt x="2224909" y="575172"/>
                        <a:pt x="2219124" y="573849"/>
                        <a:pt x="2222544" y="568333"/>
                      </a:cubicBezTo>
                      <a:cubicBezTo>
                        <a:pt x="2218035" y="571132"/>
                        <a:pt x="2210457" y="564093"/>
                        <a:pt x="2209649" y="561142"/>
                      </a:cubicBezTo>
                      <a:cubicBezTo>
                        <a:pt x="2207342" y="563238"/>
                        <a:pt x="2198804" y="560369"/>
                        <a:pt x="2199647" y="556481"/>
                      </a:cubicBezTo>
                      <a:cubicBezTo>
                        <a:pt x="2197364" y="556235"/>
                        <a:pt x="2198863" y="556246"/>
                        <a:pt x="2196450" y="555052"/>
                      </a:cubicBezTo>
                      <a:cubicBezTo>
                        <a:pt x="2194342" y="556551"/>
                        <a:pt x="2194260" y="555942"/>
                        <a:pt x="2194939" y="551796"/>
                      </a:cubicBezTo>
                      <a:cubicBezTo>
                        <a:pt x="2192726" y="555532"/>
                        <a:pt x="2190009" y="556703"/>
                        <a:pt x="2188194" y="552229"/>
                      </a:cubicBezTo>
                      <a:cubicBezTo>
                        <a:pt x="2184949" y="554548"/>
                        <a:pt x="2184762" y="552639"/>
                        <a:pt x="2185687" y="549325"/>
                      </a:cubicBezTo>
                      <a:cubicBezTo>
                        <a:pt x="2183509" y="552663"/>
                        <a:pt x="2175264" y="552897"/>
                        <a:pt x="2179281" y="548810"/>
                      </a:cubicBezTo>
                      <a:cubicBezTo>
                        <a:pt x="2177419" y="548892"/>
                        <a:pt x="2174807" y="551421"/>
                        <a:pt x="2172758" y="551351"/>
                      </a:cubicBezTo>
                      <a:cubicBezTo>
                        <a:pt x="2170404" y="551269"/>
                        <a:pt x="2170673" y="549021"/>
                        <a:pt x="2169900" y="548810"/>
                      </a:cubicBezTo>
                      <a:cubicBezTo>
                        <a:pt x="2163377" y="547135"/>
                        <a:pt x="2157709" y="542848"/>
                        <a:pt x="2151162" y="540225"/>
                      </a:cubicBezTo>
                      <a:cubicBezTo>
                        <a:pt x="2146196" y="538234"/>
                        <a:pt x="2140820" y="537438"/>
                        <a:pt x="2135820" y="535365"/>
                      </a:cubicBezTo>
                      <a:cubicBezTo>
                        <a:pt x="2131674" y="533643"/>
                        <a:pt x="2128148" y="530305"/>
                        <a:pt x="2124167" y="528982"/>
                      </a:cubicBezTo>
                      <a:cubicBezTo>
                        <a:pt x="2113591" y="525480"/>
                        <a:pt x="2099725" y="528115"/>
                        <a:pt x="2089114" y="526851"/>
                      </a:cubicBezTo>
                      <a:cubicBezTo>
                        <a:pt x="2081607" y="525972"/>
                        <a:pt x="2076571" y="519495"/>
                        <a:pt x="2070540" y="516392"/>
                      </a:cubicBezTo>
                      <a:cubicBezTo>
                        <a:pt x="2065984" y="514073"/>
                        <a:pt x="2063419" y="515233"/>
                        <a:pt x="2060725" y="509986"/>
                      </a:cubicBezTo>
                      <a:cubicBezTo>
                        <a:pt x="2060479" y="509506"/>
                        <a:pt x="2058313" y="510443"/>
                        <a:pt x="2057961" y="509447"/>
                      </a:cubicBezTo>
                      <a:cubicBezTo>
                        <a:pt x="2057235" y="507398"/>
                        <a:pt x="2060046" y="507702"/>
                        <a:pt x="2059988" y="506109"/>
                      </a:cubicBezTo>
                      <a:cubicBezTo>
                        <a:pt x="2059905" y="504001"/>
                        <a:pt x="2057786" y="501753"/>
                        <a:pt x="2060585" y="499691"/>
                      </a:cubicBezTo>
                      <a:cubicBezTo>
                        <a:pt x="2064707" y="496658"/>
                        <a:pt x="2071465" y="504540"/>
                        <a:pt x="2074381" y="499527"/>
                      </a:cubicBezTo>
                      <a:cubicBezTo>
                        <a:pt x="2070083" y="499282"/>
                        <a:pt x="2062353" y="497712"/>
                        <a:pt x="2057341" y="499773"/>
                      </a:cubicBezTo>
                      <a:cubicBezTo>
                        <a:pt x="2052398" y="501811"/>
                        <a:pt x="2054495" y="504798"/>
                        <a:pt x="2048100" y="501718"/>
                      </a:cubicBezTo>
                      <a:cubicBezTo>
                        <a:pt x="2047960" y="501647"/>
                        <a:pt x="2044001" y="496998"/>
                        <a:pt x="2041296" y="495979"/>
                      </a:cubicBezTo>
                      <a:cubicBezTo>
                        <a:pt x="2042315" y="499773"/>
                        <a:pt x="2043404" y="498169"/>
                        <a:pt x="2039879" y="499937"/>
                      </a:cubicBezTo>
                      <a:cubicBezTo>
                        <a:pt x="2044575" y="508042"/>
                        <a:pt x="2032699" y="498309"/>
                        <a:pt x="2031271" y="497759"/>
                      </a:cubicBezTo>
                      <a:cubicBezTo>
                        <a:pt x="2033953" y="495604"/>
                        <a:pt x="2034644" y="491891"/>
                        <a:pt x="2030545" y="489526"/>
                      </a:cubicBezTo>
                      <a:cubicBezTo>
                        <a:pt x="2030791" y="494339"/>
                        <a:pt x="2028882" y="491528"/>
                        <a:pt x="2026902" y="492278"/>
                      </a:cubicBezTo>
                      <a:cubicBezTo>
                        <a:pt x="2020965" y="494550"/>
                        <a:pt x="2023131" y="495838"/>
                        <a:pt x="2018915" y="487980"/>
                      </a:cubicBezTo>
                      <a:cubicBezTo>
                        <a:pt x="2014816" y="480356"/>
                        <a:pt x="2010471" y="481726"/>
                        <a:pt x="2014980" y="488296"/>
                      </a:cubicBezTo>
                      <a:cubicBezTo>
                        <a:pt x="2013785" y="486317"/>
                        <a:pt x="2011279" y="484443"/>
                        <a:pt x="2008398" y="485731"/>
                      </a:cubicBezTo>
                      <a:cubicBezTo>
                        <a:pt x="2009323" y="481457"/>
                        <a:pt x="2005529" y="479700"/>
                        <a:pt x="2005189" y="475566"/>
                      </a:cubicBezTo>
                      <a:cubicBezTo>
                        <a:pt x="2004978" y="472966"/>
                        <a:pt x="2008176" y="474195"/>
                        <a:pt x="2008281" y="472005"/>
                      </a:cubicBezTo>
                      <a:cubicBezTo>
                        <a:pt x="2008457" y="468492"/>
                        <a:pt x="2006888" y="465435"/>
                        <a:pt x="2007766" y="461887"/>
                      </a:cubicBezTo>
                      <a:cubicBezTo>
                        <a:pt x="2008094" y="462156"/>
                        <a:pt x="2008422" y="462437"/>
                        <a:pt x="2008750" y="462706"/>
                      </a:cubicBezTo>
                      <a:cubicBezTo>
                        <a:pt x="2010717" y="459486"/>
                        <a:pt x="2015882" y="452869"/>
                        <a:pt x="2020215" y="456581"/>
                      </a:cubicBezTo>
                      <a:cubicBezTo>
                        <a:pt x="2015999" y="453571"/>
                        <a:pt x="2019208" y="446404"/>
                        <a:pt x="2014371" y="447189"/>
                      </a:cubicBezTo>
                      <a:cubicBezTo>
                        <a:pt x="2015765" y="452002"/>
                        <a:pt x="2007649" y="454520"/>
                        <a:pt x="2006079" y="459603"/>
                      </a:cubicBezTo>
                      <a:cubicBezTo>
                        <a:pt x="2005552" y="461313"/>
                        <a:pt x="2004135" y="481808"/>
                        <a:pt x="1998537" y="470354"/>
                      </a:cubicBezTo>
                      <a:cubicBezTo>
                        <a:pt x="1998455" y="470506"/>
                        <a:pt x="1997155" y="473867"/>
                        <a:pt x="1997319" y="473446"/>
                      </a:cubicBezTo>
                      <a:cubicBezTo>
                        <a:pt x="2004580" y="475589"/>
                        <a:pt x="2001828" y="478962"/>
                        <a:pt x="1998959" y="482721"/>
                      </a:cubicBezTo>
                      <a:cubicBezTo>
                        <a:pt x="1997612" y="484478"/>
                        <a:pt x="1993724" y="486001"/>
                        <a:pt x="1993068" y="488331"/>
                      </a:cubicBezTo>
                      <a:cubicBezTo>
                        <a:pt x="1992564" y="490111"/>
                        <a:pt x="1994415" y="493109"/>
                        <a:pt x="1994297" y="493461"/>
                      </a:cubicBezTo>
                      <a:cubicBezTo>
                        <a:pt x="1993653" y="495534"/>
                        <a:pt x="1993923" y="495756"/>
                        <a:pt x="1991990" y="498837"/>
                      </a:cubicBezTo>
                      <a:cubicBezTo>
                        <a:pt x="1989262" y="503182"/>
                        <a:pt x="1986064" y="505793"/>
                        <a:pt x="1981508" y="506882"/>
                      </a:cubicBezTo>
                      <a:cubicBezTo>
                        <a:pt x="1981661" y="506847"/>
                        <a:pt x="1969598" y="508463"/>
                        <a:pt x="1970675" y="508733"/>
                      </a:cubicBezTo>
                      <a:cubicBezTo>
                        <a:pt x="1966623" y="507702"/>
                        <a:pt x="1962313" y="502315"/>
                        <a:pt x="1961107" y="498567"/>
                      </a:cubicBezTo>
                      <a:cubicBezTo>
                        <a:pt x="1961716" y="498766"/>
                        <a:pt x="1962091" y="499410"/>
                        <a:pt x="1962641" y="499586"/>
                      </a:cubicBezTo>
                      <a:cubicBezTo>
                        <a:pt x="1961435" y="496834"/>
                        <a:pt x="1956657" y="485907"/>
                        <a:pt x="1958320" y="483939"/>
                      </a:cubicBezTo>
                      <a:cubicBezTo>
                        <a:pt x="1961049" y="480707"/>
                        <a:pt x="1965721" y="487230"/>
                        <a:pt x="1967138" y="480391"/>
                      </a:cubicBezTo>
                      <a:cubicBezTo>
                        <a:pt x="1967865" y="476936"/>
                        <a:pt x="1963930" y="476877"/>
                        <a:pt x="1962688" y="474078"/>
                      </a:cubicBezTo>
                      <a:cubicBezTo>
                        <a:pt x="1961950" y="472368"/>
                        <a:pt x="1962911" y="466759"/>
                        <a:pt x="1962103" y="465892"/>
                      </a:cubicBezTo>
                      <a:cubicBezTo>
                        <a:pt x="1960416" y="464065"/>
                        <a:pt x="1958812" y="466056"/>
                        <a:pt x="1957640" y="465552"/>
                      </a:cubicBezTo>
                      <a:cubicBezTo>
                        <a:pt x="1958519" y="465927"/>
                        <a:pt x="1956411" y="468433"/>
                        <a:pt x="1952628" y="464850"/>
                      </a:cubicBezTo>
                      <a:cubicBezTo>
                        <a:pt x="1950461" y="462800"/>
                        <a:pt x="1951679" y="461184"/>
                        <a:pt x="1949431" y="458045"/>
                      </a:cubicBezTo>
                      <a:cubicBezTo>
                        <a:pt x="1944641" y="451381"/>
                        <a:pt x="1936478" y="448371"/>
                        <a:pt x="1929381" y="446263"/>
                      </a:cubicBezTo>
                      <a:cubicBezTo>
                        <a:pt x="1927319" y="447587"/>
                        <a:pt x="1927706" y="447189"/>
                        <a:pt x="1925117" y="447306"/>
                      </a:cubicBezTo>
                      <a:cubicBezTo>
                        <a:pt x="1923080" y="448875"/>
                        <a:pt x="1922412" y="445373"/>
                        <a:pt x="1918313" y="446954"/>
                      </a:cubicBezTo>
                      <a:cubicBezTo>
                        <a:pt x="1919098" y="445947"/>
                        <a:pt x="1919917" y="444026"/>
                        <a:pt x="1920820" y="443031"/>
                      </a:cubicBezTo>
                      <a:cubicBezTo>
                        <a:pt x="1920772" y="443617"/>
                        <a:pt x="1919098" y="442457"/>
                        <a:pt x="1919039" y="442305"/>
                      </a:cubicBezTo>
                      <a:cubicBezTo>
                        <a:pt x="1920117" y="441684"/>
                        <a:pt x="1920995" y="440958"/>
                        <a:pt x="1921897" y="440337"/>
                      </a:cubicBezTo>
                      <a:cubicBezTo>
                        <a:pt x="1920679" y="440244"/>
                        <a:pt x="1918828" y="439529"/>
                        <a:pt x="1917376" y="439564"/>
                      </a:cubicBezTo>
                      <a:cubicBezTo>
                        <a:pt x="1922318" y="436976"/>
                        <a:pt x="1923806" y="437257"/>
                        <a:pt x="1929029" y="436262"/>
                      </a:cubicBezTo>
                      <a:cubicBezTo>
                        <a:pt x="1927799" y="436098"/>
                        <a:pt x="1926652" y="436063"/>
                        <a:pt x="1925340" y="435969"/>
                      </a:cubicBezTo>
                      <a:cubicBezTo>
                        <a:pt x="1929299" y="432257"/>
                        <a:pt x="1936056" y="433896"/>
                        <a:pt x="1941244" y="434798"/>
                      </a:cubicBezTo>
                      <a:cubicBezTo>
                        <a:pt x="1941232" y="434739"/>
                        <a:pt x="1940249" y="434833"/>
                        <a:pt x="1941923" y="434798"/>
                      </a:cubicBezTo>
                      <a:cubicBezTo>
                        <a:pt x="1942029" y="436016"/>
                        <a:pt x="1941877" y="436250"/>
                        <a:pt x="1941537" y="437292"/>
                      </a:cubicBezTo>
                      <a:cubicBezTo>
                        <a:pt x="1945039" y="434306"/>
                        <a:pt x="1946983" y="435243"/>
                        <a:pt x="1951937" y="437082"/>
                      </a:cubicBezTo>
                      <a:cubicBezTo>
                        <a:pt x="1955802" y="438510"/>
                        <a:pt x="1954595" y="440970"/>
                        <a:pt x="1958730" y="440174"/>
                      </a:cubicBezTo>
                      <a:cubicBezTo>
                        <a:pt x="1961868" y="439564"/>
                        <a:pt x="1964492" y="434786"/>
                        <a:pt x="1966342" y="432608"/>
                      </a:cubicBezTo>
                      <a:cubicBezTo>
                        <a:pt x="1968462" y="430137"/>
                        <a:pt x="1987926" y="410344"/>
                        <a:pt x="1988746" y="424785"/>
                      </a:cubicBezTo>
                      <a:cubicBezTo>
                        <a:pt x="1993571" y="424316"/>
                        <a:pt x="1992225" y="429902"/>
                        <a:pt x="1991580" y="433709"/>
                      </a:cubicBezTo>
                      <a:cubicBezTo>
                        <a:pt x="1991967" y="433685"/>
                        <a:pt x="1992354" y="433673"/>
                        <a:pt x="1992752" y="433650"/>
                      </a:cubicBezTo>
                      <a:cubicBezTo>
                        <a:pt x="1992377" y="430265"/>
                        <a:pt x="1993138" y="426260"/>
                        <a:pt x="1995551" y="424421"/>
                      </a:cubicBezTo>
                      <a:cubicBezTo>
                        <a:pt x="1995680" y="426974"/>
                        <a:pt x="1996007" y="429481"/>
                        <a:pt x="1995234" y="431940"/>
                      </a:cubicBezTo>
                      <a:cubicBezTo>
                        <a:pt x="1995750" y="430230"/>
                        <a:pt x="1996827" y="427103"/>
                        <a:pt x="1997038" y="425382"/>
                      </a:cubicBezTo>
                      <a:cubicBezTo>
                        <a:pt x="1997401" y="426553"/>
                        <a:pt x="1998303" y="427935"/>
                        <a:pt x="1998783" y="429188"/>
                      </a:cubicBezTo>
                      <a:cubicBezTo>
                        <a:pt x="2004861" y="422899"/>
                        <a:pt x="2006302" y="429387"/>
                        <a:pt x="2007321" y="435864"/>
                      </a:cubicBezTo>
                      <a:cubicBezTo>
                        <a:pt x="2007965" y="432479"/>
                        <a:pt x="2008679" y="428743"/>
                        <a:pt x="2008925" y="425136"/>
                      </a:cubicBezTo>
                      <a:cubicBezTo>
                        <a:pt x="2011548" y="426623"/>
                        <a:pt x="2012743" y="429774"/>
                        <a:pt x="2014043" y="432549"/>
                      </a:cubicBezTo>
                      <a:cubicBezTo>
                        <a:pt x="2015308" y="429457"/>
                        <a:pt x="2014160" y="425967"/>
                        <a:pt x="2014488" y="423321"/>
                      </a:cubicBezTo>
                      <a:cubicBezTo>
                        <a:pt x="2012696" y="423028"/>
                        <a:pt x="2011689" y="422067"/>
                        <a:pt x="2010377" y="421681"/>
                      </a:cubicBezTo>
                      <a:cubicBezTo>
                        <a:pt x="2013481" y="419912"/>
                        <a:pt x="2017041" y="420463"/>
                        <a:pt x="2019114" y="423321"/>
                      </a:cubicBezTo>
                      <a:cubicBezTo>
                        <a:pt x="2018212" y="422302"/>
                        <a:pt x="2017662" y="420990"/>
                        <a:pt x="2016912" y="419877"/>
                      </a:cubicBezTo>
                      <a:cubicBezTo>
                        <a:pt x="2019676" y="419912"/>
                        <a:pt x="2021773" y="419502"/>
                        <a:pt x="2024150" y="418683"/>
                      </a:cubicBezTo>
                      <a:cubicBezTo>
                        <a:pt x="2020906" y="418929"/>
                        <a:pt x="2020496" y="418179"/>
                        <a:pt x="2018388" y="417371"/>
                      </a:cubicBezTo>
                      <a:cubicBezTo>
                        <a:pt x="2019712" y="416762"/>
                        <a:pt x="2020777" y="416106"/>
                        <a:pt x="2021984" y="415439"/>
                      </a:cubicBezTo>
                      <a:cubicBezTo>
                        <a:pt x="2020344" y="415767"/>
                        <a:pt x="2018599" y="415872"/>
                        <a:pt x="2016959" y="416211"/>
                      </a:cubicBezTo>
                      <a:cubicBezTo>
                        <a:pt x="2020449" y="415556"/>
                        <a:pt x="2022640" y="412745"/>
                        <a:pt x="2021281" y="409033"/>
                      </a:cubicBezTo>
                      <a:cubicBezTo>
                        <a:pt x="2021105" y="410414"/>
                        <a:pt x="2020567" y="411480"/>
                        <a:pt x="2020168" y="412722"/>
                      </a:cubicBezTo>
                      <a:cubicBezTo>
                        <a:pt x="2010893" y="415567"/>
                        <a:pt x="2014711" y="410368"/>
                        <a:pt x="2021281" y="407241"/>
                      </a:cubicBezTo>
                      <a:cubicBezTo>
                        <a:pt x="2020871" y="407346"/>
                        <a:pt x="2019349" y="407463"/>
                        <a:pt x="2018564" y="407557"/>
                      </a:cubicBezTo>
                      <a:cubicBezTo>
                        <a:pt x="2019395" y="406807"/>
                        <a:pt x="2019887" y="405109"/>
                        <a:pt x="2020777" y="404008"/>
                      </a:cubicBezTo>
                      <a:cubicBezTo>
                        <a:pt x="2013867" y="403282"/>
                        <a:pt x="2008808" y="410812"/>
                        <a:pt x="2002683" y="410789"/>
                      </a:cubicBezTo>
                      <a:cubicBezTo>
                        <a:pt x="2002929" y="409864"/>
                        <a:pt x="2002777" y="408869"/>
                        <a:pt x="2002683" y="407955"/>
                      </a:cubicBezTo>
                      <a:cubicBezTo>
                        <a:pt x="2001160" y="411504"/>
                        <a:pt x="2000364" y="411281"/>
                        <a:pt x="1998010" y="409021"/>
                      </a:cubicBezTo>
                      <a:cubicBezTo>
                        <a:pt x="1997928" y="409489"/>
                        <a:pt x="1998127" y="409876"/>
                        <a:pt x="1998572" y="410192"/>
                      </a:cubicBezTo>
                      <a:cubicBezTo>
                        <a:pt x="1991440" y="411504"/>
                        <a:pt x="1985443" y="409314"/>
                        <a:pt x="1978182" y="410965"/>
                      </a:cubicBezTo>
                      <a:cubicBezTo>
                        <a:pt x="1972830" y="412183"/>
                        <a:pt x="1967783" y="410812"/>
                        <a:pt x="1963356" y="411398"/>
                      </a:cubicBezTo>
                      <a:cubicBezTo>
                        <a:pt x="1960240" y="411820"/>
                        <a:pt x="1957078" y="414244"/>
                        <a:pt x="1954642" y="413670"/>
                      </a:cubicBezTo>
                      <a:cubicBezTo>
                        <a:pt x="1951480" y="412921"/>
                        <a:pt x="1952874" y="409243"/>
                        <a:pt x="1949981" y="408341"/>
                      </a:cubicBezTo>
                      <a:cubicBezTo>
                        <a:pt x="1945051" y="406807"/>
                        <a:pt x="1940378" y="413518"/>
                        <a:pt x="1935189" y="412054"/>
                      </a:cubicBezTo>
                      <a:cubicBezTo>
                        <a:pt x="1934733" y="411914"/>
                        <a:pt x="1924251" y="404008"/>
                        <a:pt x="1924544" y="404371"/>
                      </a:cubicBezTo>
                      <a:cubicBezTo>
                        <a:pt x="1922330" y="401596"/>
                        <a:pt x="1921393" y="400132"/>
                        <a:pt x="1926183" y="398293"/>
                      </a:cubicBezTo>
                      <a:cubicBezTo>
                        <a:pt x="1921405" y="400659"/>
                        <a:pt x="1917060" y="396325"/>
                        <a:pt x="1916439" y="392625"/>
                      </a:cubicBezTo>
                      <a:cubicBezTo>
                        <a:pt x="1915502" y="386991"/>
                        <a:pt x="1919754" y="386792"/>
                        <a:pt x="1920526" y="381838"/>
                      </a:cubicBezTo>
                      <a:cubicBezTo>
                        <a:pt x="1920679" y="381756"/>
                        <a:pt x="1920667" y="382365"/>
                        <a:pt x="1920820" y="381487"/>
                      </a:cubicBezTo>
                      <a:cubicBezTo>
                        <a:pt x="1912715" y="386219"/>
                        <a:pt x="1912270" y="377470"/>
                        <a:pt x="1918629" y="374331"/>
                      </a:cubicBezTo>
                      <a:cubicBezTo>
                        <a:pt x="1917048" y="375011"/>
                        <a:pt x="1914952" y="375362"/>
                        <a:pt x="1913301" y="376135"/>
                      </a:cubicBezTo>
                      <a:cubicBezTo>
                        <a:pt x="1913898" y="375666"/>
                        <a:pt x="1913957" y="375280"/>
                        <a:pt x="1913488" y="374952"/>
                      </a:cubicBezTo>
                      <a:cubicBezTo>
                        <a:pt x="1912422" y="375947"/>
                        <a:pt x="1910502" y="376732"/>
                        <a:pt x="1909389" y="377915"/>
                      </a:cubicBezTo>
                      <a:cubicBezTo>
                        <a:pt x="1909483" y="375877"/>
                        <a:pt x="1908745" y="373769"/>
                        <a:pt x="1908663" y="372188"/>
                      </a:cubicBezTo>
                      <a:cubicBezTo>
                        <a:pt x="1908077" y="376357"/>
                        <a:pt x="1904704" y="377575"/>
                        <a:pt x="1905091" y="373265"/>
                      </a:cubicBezTo>
                      <a:cubicBezTo>
                        <a:pt x="1903685" y="373594"/>
                        <a:pt x="1891529" y="372047"/>
                        <a:pt x="1891857" y="372188"/>
                      </a:cubicBezTo>
                      <a:cubicBezTo>
                        <a:pt x="1886762" y="370127"/>
                        <a:pt x="1888414" y="366883"/>
                        <a:pt x="1881844" y="365735"/>
                      </a:cubicBezTo>
                      <a:cubicBezTo>
                        <a:pt x="1886798" y="369799"/>
                        <a:pt x="1882827" y="373219"/>
                        <a:pt x="1877674" y="373078"/>
                      </a:cubicBezTo>
                      <a:cubicBezTo>
                        <a:pt x="1879091" y="373113"/>
                        <a:pt x="1869265" y="369682"/>
                        <a:pt x="1869745" y="369904"/>
                      </a:cubicBezTo>
                      <a:cubicBezTo>
                        <a:pt x="1864581" y="367621"/>
                        <a:pt x="1866162" y="370759"/>
                        <a:pt x="1866232" y="366812"/>
                      </a:cubicBezTo>
                      <a:cubicBezTo>
                        <a:pt x="1866349" y="359621"/>
                        <a:pt x="1874770" y="358755"/>
                        <a:pt x="1877932" y="354703"/>
                      </a:cubicBezTo>
                      <a:cubicBezTo>
                        <a:pt x="1881305" y="350381"/>
                        <a:pt x="1880145" y="345064"/>
                        <a:pt x="1882593" y="341785"/>
                      </a:cubicBezTo>
                      <a:cubicBezTo>
                        <a:pt x="1874582" y="335929"/>
                        <a:pt x="1891283" y="332603"/>
                        <a:pt x="1895804" y="332486"/>
                      </a:cubicBezTo>
                      <a:cubicBezTo>
                        <a:pt x="1895265" y="333353"/>
                        <a:pt x="1894773" y="334196"/>
                        <a:pt x="1894351" y="335004"/>
                      </a:cubicBezTo>
                      <a:cubicBezTo>
                        <a:pt x="1899013" y="333212"/>
                        <a:pt x="1904622" y="333270"/>
                        <a:pt x="1909190" y="331197"/>
                      </a:cubicBezTo>
                      <a:cubicBezTo>
                        <a:pt x="1913722" y="329136"/>
                        <a:pt x="1915912" y="326291"/>
                        <a:pt x="1919742" y="322847"/>
                      </a:cubicBezTo>
                      <a:cubicBezTo>
                        <a:pt x="1926101" y="317144"/>
                        <a:pt x="1933362" y="314310"/>
                        <a:pt x="1942345" y="312178"/>
                      </a:cubicBezTo>
                      <a:lnTo>
                        <a:pt x="1942345" y="312178"/>
                      </a:lnTo>
                      <a:close/>
                      <a:moveTo>
                        <a:pt x="1691695" y="315739"/>
                      </a:moveTo>
                      <a:cubicBezTo>
                        <a:pt x="1698687" y="318819"/>
                        <a:pt x="1686694" y="325646"/>
                        <a:pt x="1692655" y="330132"/>
                      </a:cubicBezTo>
                      <a:cubicBezTo>
                        <a:pt x="1694822" y="331760"/>
                        <a:pt x="1706920" y="328996"/>
                        <a:pt x="1705034" y="335917"/>
                      </a:cubicBezTo>
                      <a:cubicBezTo>
                        <a:pt x="1702189" y="346399"/>
                        <a:pt x="1693791" y="335379"/>
                        <a:pt x="1693018" y="335086"/>
                      </a:cubicBezTo>
                      <a:cubicBezTo>
                        <a:pt x="1690231" y="333985"/>
                        <a:pt x="1685652" y="337885"/>
                        <a:pt x="1683274" y="336749"/>
                      </a:cubicBezTo>
                      <a:cubicBezTo>
                        <a:pt x="1679843" y="335109"/>
                        <a:pt x="1682958" y="328774"/>
                        <a:pt x="1682267" y="327216"/>
                      </a:cubicBezTo>
                      <a:cubicBezTo>
                        <a:pt x="1681857" y="326291"/>
                        <a:pt x="1677758" y="324264"/>
                        <a:pt x="1676669" y="322484"/>
                      </a:cubicBezTo>
                      <a:cubicBezTo>
                        <a:pt x="1673613" y="317437"/>
                        <a:pt x="1677020" y="316851"/>
                        <a:pt x="1675240" y="311803"/>
                      </a:cubicBezTo>
                      <a:cubicBezTo>
                        <a:pt x="1678121" y="310808"/>
                        <a:pt x="1679152" y="313759"/>
                        <a:pt x="1680511" y="313548"/>
                      </a:cubicBezTo>
                      <a:cubicBezTo>
                        <a:pt x="1679995" y="313630"/>
                        <a:pt x="1681822" y="315375"/>
                        <a:pt x="1682759" y="315305"/>
                      </a:cubicBezTo>
                      <a:cubicBezTo>
                        <a:pt x="1683473" y="315246"/>
                        <a:pt x="1683075" y="312003"/>
                        <a:pt x="1684094" y="311944"/>
                      </a:cubicBezTo>
                      <a:cubicBezTo>
                        <a:pt x="1687163" y="311757"/>
                        <a:pt x="1689282" y="308735"/>
                        <a:pt x="1691695" y="315739"/>
                      </a:cubicBezTo>
                      <a:lnTo>
                        <a:pt x="1691695" y="315739"/>
                      </a:lnTo>
                      <a:close/>
                      <a:moveTo>
                        <a:pt x="1858221" y="294271"/>
                      </a:moveTo>
                      <a:cubicBezTo>
                        <a:pt x="1863351" y="295349"/>
                        <a:pt x="1865599" y="297527"/>
                        <a:pt x="1870319" y="296215"/>
                      </a:cubicBezTo>
                      <a:cubicBezTo>
                        <a:pt x="1870390" y="296496"/>
                        <a:pt x="1869687" y="297527"/>
                        <a:pt x="1869652" y="297469"/>
                      </a:cubicBezTo>
                      <a:cubicBezTo>
                        <a:pt x="1873235" y="297386"/>
                        <a:pt x="1877334" y="299424"/>
                        <a:pt x="1879571" y="301275"/>
                      </a:cubicBezTo>
                      <a:cubicBezTo>
                        <a:pt x="1883225" y="304296"/>
                        <a:pt x="1881890" y="305936"/>
                        <a:pt x="1885392" y="309098"/>
                      </a:cubicBezTo>
                      <a:cubicBezTo>
                        <a:pt x="1883670" y="310199"/>
                        <a:pt x="1882569" y="311710"/>
                        <a:pt x="1881129" y="312143"/>
                      </a:cubicBezTo>
                      <a:cubicBezTo>
                        <a:pt x="1879759" y="315914"/>
                        <a:pt x="1873364" y="308630"/>
                        <a:pt x="1868598" y="313209"/>
                      </a:cubicBezTo>
                      <a:cubicBezTo>
                        <a:pt x="1866197" y="313010"/>
                        <a:pt x="1860306" y="308876"/>
                        <a:pt x="1858291" y="306955"/>
                      </a:cubicBezTo>
                      <a:cubicBezTo>
                        <a:pt x="1854626" y="303477"/>
                        <a:pt x="1853244" y="296286"/>
                        <a:pt x="1847201" y="298921"/>
                      </a:cubicBezTo>
                      <a:cubicBezTo>
                        <a:pt x="1847693" y="299506"/>
                        <a:pt x="1848747" y="299167"/>
                        <a:pt x="1849344" y="299998"/>
                      </a:cubicBezTo>
                      <a:cubicBezTo>
                        <a:pt x="1848782" y="300666"/>
                        <a:pt x="1852424" y="307693"/>
                        <a:pt x="1855481" y="309578"/>
                      </a:cubicBezTo>
                      <a:cubicBezTo>
                        <a:pt x="1857507" y="310820"/>
                        <a:pt x="1861161" y="307693"/>
                        <a:pt x="1863257" y="311054"/>
                      </a:cubicBezTo>
                      <a:cubicBezTo>
                        <a:pt x="1866302" y="315926"/>
                        <a:pt x="1849953" y="322625"/>
                        <a:pt x="1851124" y="309262"/>
                      </a:cubicBezTo>
                      <a:cubicBezTo>
                        <a:pt x="1847985" y="309379"/>
                        <a:pt x="1845655" y="310820"/>
                        <a:pt x="1844671" y="313560"/>
                      </a:cubicBezTo>
                      <a:cubicBezTo>
                        <a:pt x="1845046" y="313630"/>
                        <a:pt x="1845362" y="313502"/>
                        <a:pt x="1845596" y="313162"/>
                      </a:cubicBezTo>
                      <a:cubicBezTo>
                        <a:pt x="1845151" y="314696"/>
                        <a:pt x="1844472" y="315680"/>
                        <a:pt x="1843781" y="316816"/>
                      </a:cubicBezTo>
                      <a:cubicBezTo>
                        <a:pt x="1844308" y="314497"/>
                        <a:pt x="1844027" y="311815"/>
                        <a:pt x="1842294" y="309531"/>
                      </a:cubicBezTo>
                      <a:cubicBezTo>
                        <a:pt x="1839752" y="306182"/>
                        <a:pt x="1841919" y="309883"/>
                        <a:pt x="1838230" y="308922"/>
                      </a:cubicBezTo>
                      <a:cubicBezTo>
                        <a:pt x="1834154" y="307857"/>
                        <a:pt x="1830980" y="306943"/>
                        <a:pt x="1826542" y="304542"/>
                      </a:cubicBezTo>
                      <a:cubicBezTo>
                        <a:pt x="1830207" y="304941"/>
                        <a:pt x="1834845" y="305550"/>
                        <a:pt x="1837632" y="303781"/>
                      </a:cubicBezTo>
                      <a:cubicBezTo>
                        <a:pt x="1837597" y="303722"/>
                        <a:pt x="1835595" y="303348"/>
                        <a:pt x="1835372" y="303195"/>
                      </a:cubicBezTo>
                      <a:cubicBezTo>
                        <a:pt x="1836520" y="301977"/>
                        <a:pt x="1836871" y="302657"/>
                        <a:pt x="1836415" y="300712"/>
                      </a:cubicBezTo>
                      <a:cubicBezTo>
                        <a:pt x="1837422" y="300596"/>
                        <a:pt x="1834388" y="302375"/>
                        <a:pt x="1834716" y="302188"/>
                      </a:cubicBezTo>
                      <a:cubicBezTo>
                        <a:pt x="1833768" y="301802"/>
                        <a:pt x="1834798" y="301216"/>
                        <a:pt x="1832854" y="301380"/>
                      </a:cubicBezTo>
                      <a:cubicBezTo>
                        <a:pt x="1832842" y="302235"/>
                        <a:pt x="1833217" y="303148"/>
                        <a:pt x="1833217" y="303922"/>
                      </a:cubicBezTo>
                      <a:cubicBezTo>
                        <a:pt x="1829411" y="301942"/>
                        <a:pt x="1829001" y="299307"/>
                        <a:pt x="1832854" y="298218"/>
                      </a:cubicBezTo>
                      <a:cubicBezTo>
                        <a:pt x="1833334" y="299904"/>
                        <a:pt x="1834154" y="299987"/>
                        <a:pt x="1834447" y="300420"/>
                      </a:cubicBezTo>
                      <a:cubicBezTo>
                        <a:pt x="1834634" y="299530"/>
                        <a:pt x="1834119" y="299026"/>
                        <a:pt x="1833920" y="298218"/>
                      </a:cubicBezTo>
                      <a:cubicBezTo>
                        <a:pt x="1835255" y="298616"/>
                        <a:pt x="1836051" y="298733"/>
                        <a:pt x="1837515" y="299635"/>
                      </a:cubicBezTo>
                      <a:cubicBezTo>
                        <a:pt x="1837480" y="299143"/>
                        <a:pt x="1837363" y="298663"/>
                        <a:pt x="1837176" y="298218"/>
                      </a:cubicBezTo>
                      <a:cubicBezTo>
                        <a:pt x="1839412" y="297469"/>
                        <a:pt x="1843090" y="296567"/>
                        <a:pt x="1844355" y="297867"/>
                      </a:cubicBezTo>
                      <a:cubicBezTo>
                        <a:pt x="1846557" y="295606"/>
                        <a:pt x="1852529" y="296063"/>
                        <a:pt x="1856113" y="296415"/>
                      </a:cubicBezTo>
                      <a:cubicBezTo>
                        <a:pt x="1855621" y="296075"/>
                        <a:pt x="1854638" y="295946"/>
                        <a:pt x="1854321" y="295700"/>
                      </a:cubicBezTo>
                      <a:cubicBezTo>
                        <a:pt x="1855621" y="294259"/>
                        <a:pt x="1856570" y="294646"/>
                        <a:pt x="1858221" y="294271"/>
                      </a:cubicBezTo>
                      <a:lnTo>
                        <a:pt x="1858221" y="294271"/>
                      </a:lnTo>
                      <a:close/>
                      <a:moveTo>
                        <a:pt x="388319" y="242049"/>
                      </a:moveTo>
                      <a:cubicBezTo>
                        <a:pt x="394046" y="239368"/>
                        <a:pt x="407444" y="246078"/>
                        <a:pt x="409154" y="251864"/>
                      </a:cubicBezTo>
                      <a:cubicBezTo>
                        <a:pt x="412164" y="261959"/>
                        <a:pt x="400605" y="253281"/>
                        <a:pt x="395814" y="252695"/>
                      </a:cubicBezTo>
                      <a:cubicBezTo>
                        <a:pt x="391528" y="252180"/>
                        <a:pt x="386644" y="254089"/>
                        <a:pt x="382686" y="253082"/>
                      </a:cubicBezTo>
                      <a:cubicBezTo>
                        <a:pt x="375917" y="251372"/>
                        <a:pt x="377896" y="248608"/>
                        <a:pt x="377884" y="245598"/>
                      </a:cubicBezTo>
                      <a:cubicBezTo>
                        <a:pt x="377908" y="249896"/>
                        <a:pt x="381245" y="236205"/>
                        <a:pt x="379594" y="239660"/>
                      </a:cubicBezTo>
                      <a:cubicBezTo>
                        <a:pt x="380449" y="237880"/>
                        <a:pt x="377580" y="236147"/>
                        <a:pt x="380671" y="234859"/>
                      </a:cubicBezTo>
                      <a:cubicBezTo>
                        <a:pt x="384618" y="233219"/>
                        <a:pt x="387347" y="240867"/>
                        <a:pt x="388319" y="242049"/>
                      </a:cubicBezTo>
                      <a:lnTo>
                        <a:pt x="388319" y="242049"/>
                      </a:lnTo>
                      <a:close/>
                      <a:moveTo>
                        <a:pt x="113391" y="214855"/>
                      </a:moveTo>
                      <a:cubicBezTo>
                        <a:pt x="121191" y="216987"/>
                        <a:pt x="122432" y="224494"/>
                        <a:pt x="128956" y="230877"/>
                      </a:cubicBezTo>
                      <a:cubicBezTo>
                        <a:pt x="131860" y="233734"/>
                        <a:pt x="137880" y="235620"/>
                        <a:pt x="139859" y="238735"/>
                      </a:cubicBezTo>
                      <a:cubicBezTo>
                        <a:pt x="143091" y="243795"/>
                        <a:pt x="141944" y="244357"/>
                        <a:pt x="140878" y="249990"/>
                      </a:cubicBezTo>
                      <a:cubicBezTo>
                        <a:pt x="139719" y="256068"/>
                        <a:pt x="141264" y="262521"/>
                        <a:pt x="135280" y="264302"/>
                      </a:cubicBezTo>
                      <a:cubicBezTo>
                        <a:pt x="131134" y="265520"/>
                        <a:pt x="131017" y="263013"/>
                        <a:pt x="129506" y="260589"/>
                      </a:cubicBezTo>
                      <a:cubicBezTo>
                        <a:pt x="127000" y="256560"/>
                        <a:pt x="126859" y="252601"/>
                        <a:pt x="123229" y="248807"/>
                      </a:cubicBezTo>
                      <a:cubicBezTo>
                        <a:pt x="121191" y="246664"/>
                        <a:pt x="118696" y="246137"/>
                        <a:pt x="117127" y="244626"/>
                      </a:cubicBezTo>
                      <a:cubicBezTo>
                        <a:pt x="116495" y="244017"/>
                        <a:pt x="114925" y="245352"/>
                        <a:pt x="114293" y="244614"/>
                      </a:cubicBezTo>
                      <a:cubicBezTo>
                        <a:pt x="113614" y="243818"/>
                        <a:pt x="114726" y="241792"/>
                        <a:pt x="114105" y="240960"/>
                      </a:cubicBezTo>
                      <a:cubicBezTo>
                        <a:pt x="110744" y="236428"/>
                        <a:pt x="104221" y="219809"/>
                        <a:pt x="97440" y="221344"/>
                      </a:cubicBezTo>
                      <a:cubicBezTo>
                        <a:pt x="99419" y="217069"/>
                        <a:pt x="101281" y="221355"/>
                        <a:pt x="104596" y="220336"/>
                      </a:cubicBezTo>
                      <a:cubicBezTo>
                        <a:pt x="109198" y="218908"/>
                        <a:pt x="111213" y="213743"/>
                        <a:pt x="113391" y="214855"/>
                      </a:cubicBezTo>
                      <a:lnTo>
                        <a:pt x="113391" y="214855"/>
                      </a:lnTo>
                      <a:close/>
                      <a:moveTo>
                        <a:pt x="1557633" y="206716"/>
                      </a:moveTo>
                      <a:cubicBezTo>
                        <a:pt x="1563758" y="204748"/>
                        <a:pt x="1567295" y="214246"/>
                        <a:pt x="1565855" y="217947"/>
                      </a:cubicBezTo>
                      <a:cubicBezTo>
                        <a:pt x="1565386" y="219177"/>
                        <a:pt x="1560268" y="222585"/>
                        <a:pt x="1559074" y="224611"/>
                      </a:cubicBezTo>
                      <a:cubicBezTo>
                        <a:pt x="1555958" y="229893"/>
                        <a:pt x="1555502" y="235257"/>
                        <a:pt x="1551157" y="239977"/>
                      </a:cubicBezTo>
                      <a:cubicBezTo>
                        <a:pt x="1544153" y="247542"/>
                        <a:pt x="1537489" y="252578"/>
                        <a:pt x="1532254" y="261491"/>
                      </a:cubicBezTo>
                      <a:cubicBezTo>
                        <a:pt x="1530369" y="264688"/>
                        <a:pt x="1528085" y="268131"/>
                        <a:pt x="1524501" y="270485"/>
                      </a:cubicBezTo>
                      <a:cubicBezTo>
                        <a:pt x="1518587" y="274338"/>
                        <a:pt x="1510401" y="274537"/>
                        <a:pt x="1504767" y="275439"/>
                      </a:cubicBezTo>
                      <a:cubicBezTo>
                        <a:pt x="1499755" y="276224"/>
                        <a:pt x="1493782" y="277208"/>
                        <a:pt x="1488957" y="277887"/>
                      </a:cubicBezTo>
                      <a:cubicBezTo>
                        <a:pt x="1482223" y="278835"/>
                        <a:pt x="1479693" y="278472"/>
                        <a:pt x="1472256" y="278133"/>
                      </a:cubicBezTo>
                      <a:cubicBezTo>
                        <a:pt x="1461341" y="277641"/>
                        <a:pt x="1463800" y="274842"/>
                        <a:pt x="1456469" y="270157"/>
                      </a:cubicBezTo>
                      <a:cubicBezTo>
                        <a:pt x="1452007" y="267323"/>
                        <a:pt x="1452792" y="268061"/>
                        <a:pt x="1446467" y="268752"/>
                      </a:cubicBezTo>
                      <a:cubicBezTo>
                        <a:pt x="1442439" y="269197"/>
                        <a:pt x="1434475" y="270227"/>
                        <a:pt x="1431793" y="266749"/>
                      </a:cubicBezTo>
                      <a:cubicBezTo>
                        <a:pt x="1431734" y="270426"/>
                        <a:pt x="1409623" y="268190"/>
                        <a:pt x="1403345" y="268998"/>
                      </a:cubicBezTo>
                      <a:cubicBezTo>
                        <a:pt x="1398696" y="269607"/>
                        <a:pt x="1391657" y="273307"/>
                        <a:pt x="1386750" y="271727"/>
                      </a:cubicBezTo>
                      <a:cubicBezTo>
                        <a:pt x="1385322" y="271270"/>
                        <a:pt x="1378728" y="266280"/>
                        <a:pt x="1377147" y="265285"/>
                      </a:cubicBezTo>
                      <a:cubicBezTo>
                        <a:pt x="1372790" y="266011"/>
                        <a:pt x="1370741" y="268506"/>
                        <a:pt x="1365506" y="269232"/>
                      </a:cubicBezTo>
                      <a:cubicBezTo>
                        <a:pt x="1360645" y="269911"/>
                        <a:pt x="1355188" y="272230"/>
                        <a:pt x="1350901" y="272816"/>
                      </a:cubicBezTo>
                      <a:cubicBezTo>
                        <a:pt x="1345936" y="273507"/>
                        <a:pt x="1339494" y="270462"/>
                        <a:pt x="1335442" y="269068"/>
                      </a:cubicBezTo>
                      <a:cubicBezTo>
                        <a:pt x="1328860" y="266808"/>
                        <a:pt x="1320510" y="264524"/>
                        <a:pt x="1313190" y="269127"/>
                      </a:cubicBezTo>
                      <a:cubicBezTo>
                        <a:pt x="1303915" y="274970"/>
                        <a:pt x="1293714" y="294423"/>
                        <a:pt x="1293351" y="304987"/>
                      </a:cubicBezTo>
                      <a:cubicBezTo>
                        <a:pt x="1293152" y="310890"/>
                        <a:pt x="1295705" y="319041"/>
                        <a:pt x="1297192" y="324733"/>
                      </a:cubicBezTo>
                      <a:cubicBezTo>
                        <a:pt x="1298352" y="329125"/>
                        <a:pt x="1302498" y="337861"/>
                        <a:pt x="1306292" y="340368"/>
                      </a:cubicBezTo>
                      <a:cubicBezTo>
                        <a:pt x="1310578" y="343202"/>
                        <a:pt x="1311188" y="340192"/>
                        <a:pt x="1313823" y="341082"/>
                      </a:cubicBezTo>
                      <a:cubicBezTo>
                        <a:pt x="1319374" y="342968"/>
                        <a:pt x="1321904" y="349725"/>
                        <a:pt x="1323590" y="354293"/>
                      </a:cubicBezTo>
                      <a:cubicBezTo>
                        <a:pt x="1324468" y="356682"/>
                        <a:pt x="1324387" y="362046"/>
                        <a:pt x="1326916" y="364049"/>
                      </a:cubicBezTo>
                      <a:cubicBezTo>
                        <a:pt x="1330875" y="367187"/>
                        <a:pt x="1331132" y="364845"/>
                        <a:pt x="1336906" y="363990"/>
                      </a:cubicBezTo>
                      <a:cubicBezTo>
                        <a:pt x="1337047" y="368557"/>
                        <a:pt x="1342001" y="366496"/>
                        <a:pt x="1345666" y="366379"/>
                      </a:cubicBezTo>
                      <a:cubicBezTo>
                        <a:pt x="1352564" y="366157"/>
                        <a:pt x="1350573" y="367656"/>
                        <a:pt x="1355083" y="360230"/>
                      </a:cubicBezTo>
                      <a:cubicBezTo>
                        <a:pt x="1359767" y="352489"/>
                        <a:pt x="1366888" y="340754"/>
                        <a:pt x="1375882" y="338248"/>
                      </a:cubicBezTo>
                      <a:cubicBezTo>
                        <a:pt x="1376772" y="338002"/>
                        <a:pt x="1375964" y="335273"/>
                        <a:pt x="1378084" y="335836"/>
                      </a:cubicBezTo>
                      <a:cubicBezTo>
                        <a:pt x="1380953" y="336585"/>
                        <a:pt x="1378751" y="338869"/>
                        <a:pt x="1380239" y="339642"/>
                      </a:cubicBezTo>
                      <a:cubicBezTo>
                        <a:pt x="1384115" y="341691"/>
                        <a:pt x="1387207" y="344209"/>
                        <a:pt x="1393051" y="343811"/>
                      </a:cubicBezTo>
                      <a:cubicBezTo>
                        <a:pt x="1394937" y="343682"/>
                        <a:pt x="1403451" y="342453"/>
                        <a:pt x="1404646" y="341492"/>
                      </a:cubicBezTo>
                      <a:cubicBezTo>
                        <a:pt x="1405946" y="340450"/>
                        <a:pt x="1405348" y="336948"/>
                        <a:pt x="1406145" y="336304"/>
                      </a:cubicBezTo>
                      <a:cubicBezTo>
                        <a:pt x="1409237" y="333856"/>
                        <a:pt x="1410829" y="334079"/>
                        <a:pt x="1415608" y="333727"/>
                      </a:cubicBezTo>
                      <a:cubicBezTo>
                        <a:pt x="1423899" y="333130"/>
                        <a:pt x="1441853" y="338224"/>
                        <a:pt x="1448013" y="332193"/>
                      </a:cubicBezTo>
                      <a:cubicBezTo>
                        <a:pt x="1444465" y="330472"/>
                        <a:pt x="1438375" y="330998"/>
                        <a:pt x="1436255" y="327895"/>
                      </a:cubicBezTo>
                      <a:cubicBezTo>
                        <a:pt x="1445425" y="324990"/>
                        <a:pt x="1469328" y="318854"/>
                        <a:pt x="1473228" y="331362"/>
                      </a:cubicBezTo>
                      <a:cubicBezTo>
                        <a:pt x="1474821" y="336433"/>
                        <a:pt x="1470827" y="349561"/>
                        <a:pt x="1464175" y="348531"/>
                      </a:cubicBezTo>
                      <a:cubicBezTo>
                        <a:pt x="1461095" y="348062"/>
                        <a:pt x="1459186" y="341703"/>
                        <a:pt x="1458191" y="340965"/>
                      </a:cubicBezTo>
                      <a:cubicBezTo>
                        <a:pt x="1453588" y="337487"/>
                        <a:pt x="1456903" y="339806"/>
                        <a:pt x="1450578" y="340719"/>
                      </a:cubicBezTo>
                      <a:cubicBezTo>
                        <a:pt x="1443071" y="341808"/>
                        <a:pt x="1443294" y="340520"/>
                        <a:pt x="1438668" y="345954"/>
                      </a:cubicBezTo>
                      <a:cubicBezTo>
                        <a:pt x="1436934" y="348004"/>
                        <a:pt x="1435342" y="350803"/>
                        <a:pt x="1433971" y="352536"/>
                      </a:cubicBezTo>
                      <a:cubicBezTo>
                        <a:pt x="1429474" y="358193"/>
                        <a:pt x="1424754" y="364283"/>
                        <a:pt x="1419086" y="369518"/>
                      </a:cubicBezTo>
                      <a:cubicBezTo>
                        <a:pt x="1411614" y="376416"/>
                        <a:pt x="1407035" y="376568"/>
                        <a:pt x="1398626" y="378747"/>
                      </a:cubicBezTo>
                      <a:cubicBezTo>
                        <a:pt x="1397876" y="378946"/>
                        <a:pt x="1391095" y="380995"/>
                        <a:pt x="1390721" y="381253"/>
                      </a:cubicBezTo>
                      <a:cubicBezTo>
                        <a:pt x="1387008" y="383712"/>
                        <a:pt x="1387641" y="387179"/>
                        <a:pt x="1384748" y="390493"/>
                      </a:cubicBezTo>
                      <a:cubicBezTo>
                        <a:pt x="1377135" y="399195"/>
                        <a:pt x="1374313" y="391629"/>
                        <a:pt x="1368738" y="388678"/>
                      </a:cubicBezTo>
                      <a:cubicBezTo>
                        <a:pt x="1359627" y="383864"/>
                        <a:pt x="1362414" y="391653"/>
                        <a:pt x="1363526" y="397953"/>
                      </a:cubicBezTo>
                      <a:cubicBezTo>
                        <a:pt x="1364194" y="396595"/>
                        <a:pt x="1366091" y="395037"/>
                        <a:pt x="1366735" y="393691"/>
                      </a:cubicBezTo>
                      <a:cubicBezTo>
                        <a:pt x="1368633" y="397637"/>
                        <a:pt x="1371104" y="398492"/>
                        <a:pt x="1373376" y="401151"/>
                      </a:cubicBezTo>
                      <a:cubicBezTo>
                        <a:pt x="1375285" y="403376"/>
                        <a:pt x="1374488" y="405472"/>
                        <a:pt x="1376854" y="407299"/>
                      </a:cubicBezTo>
                      <a:cubicBezTo>
                        <a:pt x="1378295" y="408424"/>
                        <a:pt x="1381527" y="407674"/>
                        <a:pt x="1383319" y="408623"/>
                      </a:cubicBezTo>
                      <a:cubicBezTo>
                        <a:pt x="1389889" y="412124"/>
                        <a:pt x="1395815" y="424164"/>
                        <a:pt x="1398907" y="430511"/>
                      </a:cubicBezTo>
                      <a:cubicBezTo>
                        <a:pt x="1401273" y="435360"/>
                        <a:pt x="1400921" y="435301"/>
                        <a:pt x="1405067" y="438885"/>
                      </a:cubicBezTo>
                      <a:cubicBezTo>
                        <a:pt x="1406871" y="440443"/>
                        <a:pt x="1407152" y="442410"/>
                        <a:pt x="1408745" y="444085"/>
                      </a:cubicBezTo>
                      <a:cubicBezTo>
                        <a:pt x="1409635" y="445022"/>
                        <a:pt x="1412352" y="443371"/>
                        <a:pt x="1413230" y="445303"/>
                      </a:cubicBezTo>
                      <a:cubicBezTo>
                        <a:pt x="1414272" y="447552"/>
                        <a:pt x="1411520" y="449496"/>
                        <a:pt x="1412047" y="450726"/>
                      </a:cubicBezTo>
                      <a:cubicBezTo>
                        <a:pt x="1413336" y="453689"/>
                        <a:pt x="1416861" y="458420"/>
                        <a:pt x="1420362" y="456593"/>
                      </a:cubicBezTo>
                      <a:cubicBezTo>
                        <a:pt x="1421756" y="457682"/>
                        <a:pt x="1420808" y="458022"/>
                        <a:pt x="1422576" y="458502"/>
                      </a:cubicBezTo>
                      <a:cubicBezTo>
                        <a:pt x="1421124" y="462554"/>
                        <a:pt x="1419414" y="461640"/>
                        <a:pt x="1417868" y="463058"/>
                      </a:cubicBezTo>
                      <a:cubicBezTo>
                        <a:pt x="1416861" y="463971"/>
                        <a:pt x="1413605" y="462566"/>
                        <a:pt x="1413546" y="467696"/>
                      </a:cubicBezTo>
                      <a:cubicBezTo>
                        <a:pt x="1413523" y="469569"/>
                        <a:pt x="1417903" y="469768"/>
                        <a:pt x="1417657" y="473540"/>
                      </a:cubicBezTo>
                      <a:cubicBezTo>
                        <a:pt x="1416240" y="471396"/>
                        <a:pt x="1414050" y="469195"/>
                        <a:pt x="1411052" y="470260"/>
                      </a:cubicBezTo>
                      <a:cubicBezTo>
                        <a:pt x="1415947" y="476421"/>
                        <a:pt x="1408721" y="476795"/>
                        <a:pt x="1408639" y="479524"/>
                      </a:cubicBezTo>
                      <a:cubicBezTo>
                        <a:pt x="1408522" y="483869"/>
                        <a:pt x="1413371" y="486527"/>
                        <a:pt x="1416720" y="488647"/>
                      </a:cubicBezTo>
                      <a:cubicBezTo>
                        <a:pt x="1418559" y="489807"/>
                        <a:pt x="1420269" y="489748"/>
                        <a:pt x="1422260" y="491154"/>
                      </a:cubicBezTo>
                      <a:cubicBezTo>
                        <a:pt x="1421440" y="490568"/>
                        <a:pt x="1432355" y="498953"/>
                        <a:pt x="1431137" y="496764"/>
                      </a:cubicBezTo>
                      <a:cubicBezTo>
                        <a:pt x="1432660" y="499481"/>
                        <a:pt x="1430540" y="500535"/>
                        <a:pt x="1426745" y="501612"/>
                      </a:cubicBezTo>
                      <a:cubicBezTo>
                        <a:pt x="1433878" y="500851"/>
                        <a:pt x="1432121" y="511286"/>
                        <a:pt x="1435025" y="508885"/>
                      </a:cubicBezTo>
                      <a:cubicBezTo>
                        <a:pt x="1437649" y="510021"/>
                        <a:pt x="1439171" y="509705"/>
                        <a:pt x="1441841" y="509588"/>
                      </a:cubicBezTo>
                      <a:cubicBezTo>
                        <a:pt x="1440436" y="508417"/>
                        <a:pt x="1439628" y="506472"/>
                        <a:pt x="1438351" y="505371"/>
                      </a:cubicBezTo>
                      <a:cubicBezTo>
                        <a:pt x="1447229" y="504212"/>
                        <a:pt x="1446842" y="522529"/>
                        <a:pt x="1441841" y="525750"/>
                      </a:cubicBezTo>
                      <a:cubicBezTo>
                        <a:pt x="1439042" y="523290"/>
                        <a:pt x="1436466" y="520269"/>
                        <a:pt x="1432870" y="519296"/>
                      </a:cubicBezTo>
                      <a:cubicBezTo>
                        <a:pt x="1433760" y="520749"/>
                        <a:pt x="1441947" y="533139"/>
                        <a:pt x="1434428" y="526464"/>
                      </a:cubicBezTo>
                      <a:cubicBezTo>
                        <a:pt x="1434252" y="527003"/>
                        <a:pt x="1435131" y="528033"/>
                        <a:pt x="1433983" y="528150"/>
                      </a:cubicBezTo>
                      <a:cubicBezTo>
                        <a:pt x="1432039" y="521147"/>
                        <a:pt x="1415690" y="525410"/>
                        <a:pt x="1409881" y="527424"/>
                      </a:cubicBezTo>
                      <a:cubicBezTo>
                        <a:pt x="1403357" y="529673"/>
                        <a:pt x="1393941" y="540248"/>
                        <a:pt x="1404646" y="544699"/>
                      </a:cubicBezTo>
                      <a:cubicBezTo>
                        <a:pt x="1399352" y="550543"/>
                        <a:pt x="1384713" y="546292"/>
                        <a:pt x="1379548" y="543797"/>
                      </a:cubicBezTo>
                      <a:cubicBezTo>
                        <a:pt x="1374535" y="541385"/>
                        <a:pt x="1371162" y="539288"/>
                        <a:pt x="1370764" y="533784"/>
                      </a:cubicBezTo>
                      <a:cubicBezTo>
                        <a:pt x="1370565" y="530949"/>
                        <a:pt x="1373446" y="515631"/>
                        <a:pt x="1374945" y="514635"/>
                      </a:cubicBezTo>
                      <a:cubicBezTo>
                        <a:pt x="1375460" y="515279"/>
                        <a:pt x="1374430" y="515748"/>
                        <a:pt x="1374594" y="516053"/>
                      </a:cubicBezTo>
                      <a:cubicBezTo>
                        <a:pt x="1385298" y="509728"/>
                        <a:pt x="1374172" y="505219"/>
                        <a:pt x="1369195" y="503018"/>
                      </a:cubicBezTo>
                      <a:cubicBezTo>
                        <a:pt x="1364827" y="501073"/>
                        <a:pt x="1362917" y="497642"/>
                        <a:pt x="1359088" y="497806"/>
                      </a:cubicBezTo>
                      <a:cubicBezTo>
                        <a:pt x="1360950" y="492512"/>
                        <a:pt x="1346275" y="485989"/>
                        <a:pt x="1342399" y="480777"/>
                      </a:cubicBezTo>
                      <a:cubicBezTo>
                        <a:pt x="1337550" y="474266"/>
                        <a:pt x="1339424" y="471642"/>
                        <a:pt x="1344085" y="465564"/>
                      </a:cubicBezTo>
                      <a:cubicBezTo>
                        <a:pt x="1348020" y="460434"/>
                        <a:pt x="1347763" y="460680"/>
                        <a:pt x="1348477" y="454298"/>
                      </a:cubicBezTo>
                      <a:cubicBezTo>
                        <a:pt x="1349133" y="448454"/>
                        <a:pt x="1351651" y="444741"/>
                        <a:pt x="1347470" y="440946"/>
                      </a:cubicBezTo>
                      <a:cubicBezTo>
                        <a:pt x="1342762" y="444296"/>
                        <a:pt x="1347681" y="438651"/>
                        <a:pt x="1349941" y="438054"/>
                      </a:cubicBezTo>
                      <a:cubicBezTo>
                        <a:pt x="1347681" y="430605"/>
                        <a:pt x="1335852" y="430289"/>
                        <a:pt x="1329914" y="431952"/>
                      </a:cubicBezTo>
                      <a:cubicBezTo>
                        <a:pt x="1320651" y="434575"/>
                        <a:pt x="1313682" y="444507"/>
                        <a:pt x="1304207" y="448430"/>
                      </a:cubicBezTo>
                      <a:cubicBezTo>
                        <a:pt x="1305683" y="450831"/>
                        <a:pt x="1306948" y="456078"/>
                        <a:pt x="1307897" y="457389"/>
                      </a:cubicBezTo>
                      <a:cubicBezTo>
                        <a:pt x="1309349" y="459368"/>
                        <a:pt x="1313963" y="461898"/>
                        <a:pt x="1315802" y="464018"/>
                      </a:cubicBezTo>
                      <a:cubicBezTo>
                        <a:pt x="1311492" y="472345"/>
                        <a:pt x="1316926" y="483881"/>
                        <a:pt x="1314923" y="492278"/>
                      </a:cubicBezTo>
                      <a:cubicBezTo>
                        <a:pt x="1312206" y="503732"/>
                        <a:pt x="1312686" y="515057"/>
                        <a:pt x="1313705" y="526159"/>
                      </a:cubicBezTo>
                      <a:cubicBezTo>
                        <a:pt x="1313998" y="529462"/>
                        <a:pt x="1316844" y="534240"/>
                        <a:pt x="1316879" y="537168"/>
                      </a:cubicBezTo>
                      <a:cubicBezTo>
                        <a:pt x="1316879" y="537649"/>
                        <a:pt x="1314467" y="544183"/>
                        <a:pt x="1314209" y="544629"/>
                      </a:cubicBezTo>
                      <a:cubicBezTo>
                        <a:pt x="1313483" y="545917"/>
                        <a:pt x="1310661" y="546479"/>
                        <a:pt x="1310391" y="547264"/>
                      </a:cubicBezTo>
                      <a:cubicBezTo>
                        <a:pt x="1307686" y="555005"/>
                        <a:pt x="1307744" y="562371"/>
                        <a:pt x="1310708" y="569188"/>
                      </a:cubicBezTo>
                      <a:cubicBezTo>
                        <a:pt x="1313331" y="575231"/>
                        <a:pt x="1315790" y="581778"/>
                        <a:pt x="1317477" y="587891"/>
                      </a:cubicBezTo>
                      <a:cubicBezTo>
                        <a:pt x="1310824" y="586169"/>
                        <a:pt x="1314127" y="582668"/>
                        <a:pt x="1306995" y="583312"/>
                      </a:cubicBezTo>
                      <a:cubicBezTo>
                        <a:pt x="1304231" y="583569"/>
                        <a:pt x="1302451" y="585642"/>
                        <a:pt x="1299757" y="585888"/>
                      </a:cubicBezTo>
                      <a:cubicBezTo>
                        <a:pt x="1297532" y="586087"/>
                        <a:pt x="1294206" y="584249"/>
                        <a:pt x="1292191" y="584612"/>
                      </a:cubicBezTo>
                      <a:cubicBezTo>
                        <a:pt x="1286687" y="585584"/>
                        <a:pt x="1286582" y="590714"/>
                        <a:pt x="1281686" y="591814"/>
                      </a:cubicBezTo>
                      <a:cubicBezTo>
                        <a:pt x="1275058" y="593302"/>
                        <a:pt x="1274847" y="584096"/>
                        <a:pt x="1271146" y="589460"/>
                      </a:cubicBezTo>
                      <a:cubicBezTo>
                        <a:pt x="1270314" y="586380"/>
                        <a:pt x="1266731" y="581859"/>
                        <a:pt x="1265934" y="586286"/>
                      </a:cubicBezTo>
                      <a:cubicBezTo>
                        <a:pt x="1262011" y="584190"/>
                        <a:pt x="1259575" y="573486"/>
                        <a:pt x="1260840" y="567911"/>
                      </a:cubicBezTo>
                      <a:cubicBezTo>
                        <a:pt x="1262608" y="560064"/>
                        <a:pt x="1267199" y="555110"/>
                        <a:pt x="1268230" y="546807"/>
                      </a:cubicBezTo>
                      <a:cubicBezTo>
                        <a:pt x="1268921" y="541209"/>
                        <a:pt x="1268241" y="541244"/>
                        <a:pt x="1270268" y="535997"/>
                      </a:cubicBezTo>
                      <a:cubicBezTo>
                        <a:pt x="1272399" y="530457"/>
                        <a:pt x="1273547" y="524836"/>
                        <a:pt x="1274050" y="518781"/>
                      </a:cubicBezTo>
                      <a:cubicBezTo>
                        <a:pt x="1274507" y="513171"/>
                        <a:pt x="1271825" y="507339"/>
                        <a:pt x="1275163" y="501706"/>
                      </a:cubicBezTo>
                      <a:cubicBezTo>
                        <a:pt x="1272961" y="503182"/>
                        <a:pt x="1273886" y="501038"/>
                        <a:pt x="1272364" y="504247"/>
                      </a:cubicBezTo>
                      <a:cubicBezTo>
                        <a:pt x="1271169" y="498134"/>
                        <a:pt x="1265923" y="492114"/>
                        <a:pt x="1265513" y="486411"/>
                      </a:cubicBezTo>
                      <a:cubicBezTo>
                        <a:pt x="1265091" y="480707"/>
                        <a:pt x="1270619" y="480145"/>
                        <a:pt x="1265243" y="475238"/>
                      </a:cubicBezTo>
                      <a:cubicBezTo>
                        <a:pt x="1261074" y="471432"/>
                        <a:pt x="1241750" y="476362"/>
                        <a:pt x="1241645" y="479875"/>
                      </a:cubicBezTo>
                      <a:cubicBezTo>
                        <a:pt x="1237288" y="480941"/>
                        <a:pt x="1235332" y="477170"/>
                        <a:pt x="1233669" y="471326"/>
                      </a:cubicBezTo>
                      <a:cubicBezTo>
                        <a:pt x="1232990" y="468925"/>
                        <a:pt x="1229863" y="459287"/>
                        <a:pt x="1229933" y="457881"/>
                      </a:cubicBezTo>
                      <a:cubicBezTo>
                        <a:pt x="1230191" y="452353"/>
                        <a:pt x="1232240" y="455539"/>
                        <a:pt x="1233962" y="449238"/>
                      </a:cubicBezTo>
                      <a:cubicBezTo>
                        <a:pt x="1234969" y="445549"/>
                        <a:pt x="1236000" y="439729"/>
                        <a:pt x="1229511" y="443465"/>
                      </a:cubicBezTo>
                      <a:cubicBezTo>
                        <a:pt x="1228844" y="441110"/>
                        <a:pt x="1228551" y="434927"/>
                        <a:pt x="1230331" y="432994"/>
                      </a:cubicBezTo>
                      <a:cubicBezTo>
                        <a:pt x="1232416" y="430745"/>
                        <a:pt x="1236093" y="432245"/>
                        <a:pt x="1240169" y="429914"/>
                      </a:cubicBezTo>
                      <a:cubicBezTo>
                        <a:pt x="1249983" y="424316"/>
                        <a:pt x="1247336" y="413881"/>
                        <a:pt x="1251107" y="404781"/>
                      </a:cubicBezTo>
                      <a:cubicBezTo>
                        <a:pt x="1252443" y="401537"/>
                        <a:pt x="1252806" y="399394"/>
                        <a:pt x="1254820" y="396806"/>
                      </a:cubicBezTo>
                      <a:cubicBezTo>
                        <a:pt x="1256284" y="394955"/>
                        <a:pt x="1258345" y="397965"/>
                        <a:pt x="1259715" y="395705"/>
                      </a:cubicBezTo>
                      <a:cubicBezTo>
                        <a:pt x="1262514" y="391114"/>
                        <a:pt x="1258263" y="386944"/>
                        <a:pt x="1257513" y="382541"/>
                      </a:cubicBezTo>
                      <a:cubicBezTo>
                        <a:pt x="1256717" y="377774"/>
                        <a:pt x="1257080" y="371954"/>
                        <a:pt x="1256869" y="366824"/>
                      </a:cubicBezTo>
                      <a:cubicBezTo>
                        <a:pt x="1256764" y="364130"/>
                        <a:pt x="1258451" y="358895"/>
                        <a:pt x="1260008" y="355885"/>
                      </a:cubicBezTo>
                      <a:cubicBezTo>
                        <a:pt x="1261097" y="353789"/>
                        <a:pt x="1263779" y="353496"/>
                        <a:pt x="1264810" y="351740"/>
                      </a:cubicBezTo>
                      <a:cubicBezTo>
                        <a:pt x="1266297" y="349245"/>
                        <a:pt x="1265993" y="345685"/>
                        <a:pt x="1267257" y="343108"/>
                      </a:cubicBezTo>
                      <a:cubicBezTo>
                        <a:pt x="1269588" y="338365"/>
                        <a:pt x="1272446" y="335613"/>
                        <a:pt x="1276990" y="332556"/>
                      </a:cubicBezTo>
                      <a:cubicBezTo>
                        <a:pt x="1275409" y="330389"/>
                        <a:pt x="1276943" y="328680"/>
                        <a:pt x="1279672" y="327192"/>
                      </a:cubicBezTo>
                      <a:cubicBezTo>
                        <a:pt x="1280960" y="331408"/>
                        <a:pt x="1282447" y="336690"/>
                        <a:pt x="1285563" y="339735"/>
                      </a:cubicBezTo>
                      <a:cubicBezTo>
                        <a:pt x="1288174" y="333434"/>
                        <a:pt x="1283701" y="328925"/>
                        <a:pt x="1282120" y="322918"/>
                      </a:cubicBezTo>
                      <a:cubicBezTo>
                        <a:pt x="1280105" y="315246"/>
                        <a:pt x="1285492" y="306194"/>
                        <a:pt x="1282729" y="299682"/>
                      </a:cubicBezTo>
                      <a:cubicBezTo>
                        <a:pt x="1278290" y="301720"/>
                        <a:pt x="1273769" y="298370"/>
                        <a:pt x="1274507" y="293580"/>
                      </a:cubicBezTo>
                      <a:cubicBezTo>
                        <a:pt x="1274484" y="293592"/>
                        <a:pt x="1275994" y="294318"/>
                        <a:pt x="1276276" y="294318"/>
                      </a:cubicBezTo>
                      <a:cubicBezTo>
                        <a:pt x="1276521" y="293885"/>
                        <a:pt x="1276018" y="292901"/>
                        <a:pt x="1276638" y="292538"/>
                      </a:cubicBezTo>
                      <a:cubicBezTo>
                        <a:pt x="1283607" y="297879"/>
                        <a:pt x="1289182" y="300724"/>
                        <a:pt x="1286254" y="287982"/>
                      </a:cubicBezTo>
                      <a:cubicBezTo>
                        <a:pt x="1285457" y="284457"/>
                        <a:pt x="1282846" y="284445"/>
                        <a:pt x="1282846" y="281061"/>
                      </a:cubicBezTo>
                      <a:cubicBezTo>
                        <a:pt x="1282846" y="283555"/>
                        <a:pt x="1286652" y="276575"/>
                        <a:pt x="1286207" y="277477"/>
                      </a:cubicBezTo>
                      <a:cubicBezTo>
                        <a:pt x="1287425" y="274994"/>
                        <a:pt x="1287437" y="271317"/>
                        <a:pt x="1289592" y="269021"/>
                      </a:cubicBezTo>
                      <a:cubicBezTo>
                        <a:pt x="1290739" y="267803"/>
                        <a:pt x="1294159" y="268541"/>
                        <a:pt x="1294733" y="267475"/>
                      </a:cubicBezTo>
                      <a:cubicBezTo>
                        <a:pt x="1295857" y="265414"/>
                        <a:pt x="1294534" y="263646"/>
                        <a:pt x="1295236" y="261865"/>
                      </a:cubicBezTo>
                      <a:cubicBezTo>
                        <a:pt x="1297040" y="257275"/>
                        <a:pt x="1295096" y="258481"/>
                        <a:pt x="1298645" y="254967"/>
                      </a:cubicBezTo>
                      <a:cubicBezTo>
                        <a:pt x="1299921" y="253714"/>
                        <a:pt x="1303153" y="253913"/>
                        <a:pt x="1304629" y="252285"/>
                      </a:cubicBezTo>
                      <a:cubicBezTo>
                        <a:pt x="1306620" y="250083"/>
                        <a:pt x="1305004" y="246477"/>
                        <a:pt x="1306702" y="244509"/>
                      </a:cubicBezTo>
                      <a:cubicBezTo>
                        <a:pt x="1310848" y="239660"/>
                        <a:pt x="1312312" y="244568"/>
                        <a:pt x="1311632" y="249486"/>
                      </a:cubicBezTo>
                      <a:cubicBezTo>
                        <a:pt x="1313260" y="250306"/>
                        <a:pt x="1319222" y="253632"/>
                        <a:pt x="1321997" y="252765"/>
                      </a:cubicBezTo>
                      <a:cubicBezTo>
                        <a:pt x="1324211" y="252063"/>
                        <a:pt x="1329422" y="244556"/>
                        <a:pt x="1330968" y="242998"/>
                      </a:cubicBezTo>
                      <a:cubicBezTo>
                        <a:pt x="1334154" y="239789"/>
                        <a:pt x="1334856" y="238852"/>
                        <a:pt x="1335770" y="233465"/>
                      </a:cubicBezTo>
                      <a:cubicBezTo>
                        <a:pt x="1336555" y="228792"/>
                        <a:pt x="1335805" y="224693"/>
                        <a:pt x="1340994" y="223498"/>
                      </a:cubicBezTo>
                      <a:cubicBezTo>
                        <a:pt x="1341005" y="224213"/>
                        <a:pt x="1340654" y="225009"/>
                        <a:pt x="1340958" y="225700"/>
                      </a:cubicBezTo>
                      <a:cubicBezTo>
                        <a:pt x="1346849" y="219891"/>
                        <a:pt x="1355445" y="229108"/>
                        <a:pt x="1360915" y="229342"/>
                      </a:cubicBezTo>
                      <a:cubicBezTo>
                        <a:pt x="1363843" y="229460"/>
                        <a:pt x="1374371" y="224365"/>
                        <a:pt x="1368153" y="229799"/>
                      </a:cubicBezTo>
                      <a:cubicBezTo>
                        <a:pt x="1369007" y="233652"/>
                        <a:pt x="1371350" y="237107"/>
                        <a:pt x="1375285" y="238454"/>
                      </a:cubicBezTo>
                      <a:cubicBezTo>
                        <a:pt x="1378599" y="239590"/>
                        <a:pt x="1383026" y="238044"/>
                        <a:pt x="1386329" y="237752"/>
                      </a:cubicBezTo>
                      <a:cubicBezTo>
                        <a:pt x="1388718" y="237541"/>
                        <a:pt x="1391622" y="236545"/>
                        <a:pt x="1394023" y="236791"/>
                      </a:cubicBezTo>
                      <a:cubicBezTo>
                        <a:pt x="1395885" y="236978"/>
                        <a:pt x="1394656" y="239813"/>
                        <a:pt x="1395956" y="239988"/>
                      </a:cubicBezTo>
                      <a:cubicBezTo>
                        <a:pt x="1401167" y="240703"/>
                        <a:pt x="1409072" y="239895"/>
                        <a:pt x="1414999" y="240668"/>
                      </a:cubicBezTo>
                      <a:cubicBezTo>
                        <a:pt x="1419999" y="241323"/>
                        <a:pt x="1426113" y="241722"/>
                        <a:pt x="1430985" y="243876"/>
                      </a:cubicBezTo>
                      <a:cubicBezTo>
                        <a:pt x="1433491" y="244989"/>
                        <a:pt x="1436337" y="248666"/>
                        <a:pt x="1438609" y="249463"/>
                      </a:cubicBezTo>
                      <a:cubicBezTo>
                        <a:pt x="1446198" y="252086"/>
                        <a:pt x="1443235" y="246722"/>
                        <a:pt x="1447849" y="244778"/>
                      </a:cubicBezTo>
                      <a:cubicBezTo>
                        <a:pt x="1450754" y="243560"/>
                        <a:pt x="1456270" y="245891"/>
                        <a:pt x="1459983" y="245703"/>
                      </a:cubicBezTo>
                      <a:cubicBezTo>
                        <a:pt x="1459971" y="244966"/>
                        <a:pt x="1459772" y="244075"/>
                        <a:pt x="1459760" y="243326"/>
                      </a:cubicBezTo>
                      <a:cubicBezTo>
                        <a:pt x="1464749" y="244240"/>
                        <a:pt x="1498244" y="254581"/>
                        <a:pt x="1498935" y="249311"/>
                      </a:cubicBezTo>
                      <a:cubicBezTo>
                        <a:pt x="1503280" y="247062"/>
                        <a:pt x="1507965" y="245013"/>
                        <a:pt x="1512146" y="242822"/>
                      </a:cubicBezTo>
                      <a:cubicBezTo>
                        <a:pt x="1514254" y="241722"/>
                        <a:pt x="1516959" y="241733"/>
                        <a:pt x="1518622" y="239977"/>
                      </a:cubicBezTo>
                      <a:cubicBezTo>
                        <a:pt x="1520344" y="238138"/>
                        <a:pt x="1519313" y="234601"/>
                        <a:pt x="1521410" y="232962"/>
                      </a:cubicBezTo>
                      <a:cubicBezTo>
                        <a:pt x="1524080" y="230900"/>
                        <a:pt x="1529912" y="232341"/>
                        <a:pt x="1531434" y="231450"/>
                      </a:cubicBezTo>
                      <a:cubicBezTo>
                        <a:pt x="1537314" y="228043"/>
                        <a:pt x="1529900" y="229342"/>
                        <a:pt x="1530064" y="226883"/>
                      </a:cubicBezTo>
                      <a:cubicBezTo>
                        <a:pt x="1530556" y="219517"/>
                        <a:pt x="1534854" y="222444"/>
                        <a:pt x="1539281" y="220816"/>
                      </a:cubicBezTo>
                      <a:cubicBezTo>
                        <a:pt x="1543205" y="219376"/>
                        <a:pt x="1544505" y="216554"/>
                        <a:pt x="1545840" y="214914"/>
                      </a:cubicBezTo>
                      <a:cubicBezTo>
                        <a:pt x="1545769" y="214996"/>
                        <a:pt x="1545652" y="211763"/>
                        <a:pt x="1546250" y="210897"/>
                      </a:cubicBezTo>
                      <a:cubicBezTo>
                        <a:pt x="1547877" y="208484"/>
                        <a:pt x="1551227" y="207571"/>
                        <a:pt x="1552715" y="206774"/>
                      </a:cubicBezTo>
                      <a:cubicBezTo>
                        <a:pt x="1554483" y="205849"/>
                        <a:pt x="1555490" y="199665"/>
                        <a:pt x="1557633" y="206716"/>
                      </a:cubicBezTo>
                      <a:lnTo>
                        <a:pt x="1557633" y="206716"/>
                      </a:lnTo>
                      <a:close/>
                      <a:moveTo>
                        <a:pt x="340126" y="186713"/>
                      </a:moveTo>
                      <a:cubicBezTo>
                        <a:pt x="348160" y="193634"/>
                        <a:pt x="335629" y="212396"/>
                        <a:pt x="326014" y="200977"/>
                      </a:cubicBezTo>
                      <a:cubicBezTo>
                        <a:pt x="323004" y="197405"/>
                        <a:pt x="321915" y="189664"/>
                        <a:pt x="325510" y="186361"/>
                      </a:cubicBezTo>
                      <a:cubicBezTo>
                        <a:pt x="325171" y="186677"/>
                        <a:pt x="335079" y="184312"/>
                        <a:pt x="333966" y="184253"/>
                      </a:cubicBezTo>
                      <a:cubicBezTo>
                        <a:pt x="336660" y="184382"/>
                        <a:pt x="338206" y="182649"/>
                        <a:pt x="340126" y="186713"/>
                      </a:cubicBezTo>
                      <a:lnTo>
                        <a:pt x="340126" y="186713"/>
                      </a:lnTo>
                      <a:close/>
                      <a:moveTo>
                        <a:pt x="1713842" y="179697"/>
                      </a:moveTo>
                      <a:cubicBezTo>
                        <a:pt x="1713432" y="183492"/>
                        <a:pt x="1711230" y="184288"/>
                        <a:pt x="1709344" y="186806"/>
                      </a:cubicBezTo>
                      <a:cubicBezTo>
                        <a:pt x="1708161" y="188387"/>
                        <a:pt x="1703406" y="193552"/>
                        <a:pt x="1703231" y="195063"/>
                      </a:cubicBezTo>
                      <a:cubicBezTo>
                        <a:pt x="1702435" y="201387"/>
                        <a:pt x="1708384" y="199068"/>
                        <a:pt x="1711382" y="203835"/>
                      </a:cubicBezTo>
                      <a:cubicBezTo>
                        <a:pt x="1711523" y="204057"/>
                        <a:pt x="1712647" y="213555"/>
                        <a:pt x="1712600" y="214668"/>
                      </a:cubicBezTo>
                      <a:cubicBezTo>
                        <a:pt x="1712307" y="221882"/>
                        <a:pt x="1711394" y="225759"/>
                        <a:pt x="1706826" y="230385"/>
                      </a:cubicBezTo>
                      <a:cubicBezTo>
                        <a:pt x="1701416" y="235866"/>
                        <a:pt x="1686296" y="240984"/>
                        <a:pt x="1695501" y="249018"/>
                      </a:cubicBezTo>
                      <a:cubicBezTo>
                        <a:pt x="1706018" y="258200"/>
                        <a:pt x="1704777" y="244029"/>
                        <a:pt x="1709813" y="238606"/>
                      </a:cubicBezTo>
                      <a:cubicBezTo>
                        <a:pt x="1712729" y="235456"/>
                        <a:pt x="1718843" y="236510"/>
                        <a:pt x="1720435" y="233570"/>
                      </a:cubicBezTo>
                      <a:cubicBezTo>
                        <a:pt x="1723375" y="228113"/>
                        <a:pt x="1715973" y="231088"/>
                        <a:pt x="1716102" y="227972"/>
                      </a:cubicBezTo>
                      <a:cubicBezTo>
                        <a:pt x="1716289" y="223592"/>
                        <a:pt x="1728961" y="215980"/>
                        <a:pt x="1732346" y="214422"/>
                      </a:cubicBezTo>
                      <a:cubicBezTo>
                        <a:pt x="1734548" y="213415"/>
                        <a:pt x="1736995" y="213380"/>
                        <a:pt x="1738729" y="213040"/>
                      </a:cubicBezTo>
                      <a:cubicBezTo>
                        <a:pt x="1740684" y="212654"/>
                        <a:pt x="1743191" y="211002"/>
                        <a:pt x="1745627" y="211799"/>
                      </a:cubicBezTo>
                      <a:cubicBezTo>
                        <a:pt x="1750862" y="213497"/>
                        <a:pt x="1746716" y="212771"/>
                        <a:pt x="1747781" y="214340"/>
                      </a:cubicBezTo>
                      <a:cubicBezTo>
                        <a:pt x="1747114" y="213368"/>
                        <a:pt x="1747184" y="219446"/>
                        <a:pt x="1747184" y="219470"/>
                      </a:cubicBezTo>
                      <a:cubicBezTo>
                        <a:pt x="1747196" y="220371"/>
                        <a:pt x="1749691" y="221215"/>
                        <a:pt x="1749866" y="223276"/>
                      </a:cubicBezTo>
                      <a:cubicBezTo>
                        <a:pt x="1749960" y="224342"/>
                        <a:pt x="1748367" y="236451"/>
                        <a:pt x="1747758" y="237435"/>
                      </a:cubicBezTo>
                      <a:cubicBezTo>
                        <a:pt x="1744432" y="242869"/>
                        <a:pt x="1724581" y="244415"/>
                        <a:pt x="1726174" y="251395"/>
                      </a:cubicBezTo>
                      <a:cubicBezTo>
                        <a:pt x="1718585" y="249065"/>
                        <a:pt x="1724452" y="257368"/>
                        <a:pt x="1727638" y="259347"/>
                      </a:cubicBezTo>
                      <a:cubicBezTo>
                        <a:pt x="1730940" y="261385"/>
                        <a:pt x="1735742" y="262240"/>
                        <a:pt x="1739443" y="263575"/>
                      </a:cubicBezTo>
                      <a:cubicBezTo>
                        <a:pt x="1745673" y="265836"/>
                        <a:pt x="1744455" y="264290"/>
                        <a:pt x="1746599" y="269513"/>
                      </a:cubicBezTo>
                      <a:cubicBezTo>
                        <a:pt x="1749140" y="275685"/>
                        <a:pt x="1746353" y="273437"/>
                        <a:pt x="1750873" y="277453"/>
                      </a:cubicBezTo>
                      <a:cubicBezTo>
                        <a:pt x="1753520" y="279796"/>
                        <a:pt x="1756729" y="278262"/>
                        <a:pt x="1757807" y="283227"/>
                      </a:cubicBezTo>
                      <a:cubicBezTo>
                        <a:pt x="1754211" y="279784"/>
                        <a:pt x="1749070" y="279808"/>
                        <a:pt x="1744795" y="278426"/>
                      </a:cubicBezTo>
                      <a:cubicBezTo>
                        <a:pt x="1741411" y="277325"/>
                        <a:pt x="1737803" y="274245"/>
                        <a:pt x="1734946" y="273483"/>
                      </a:cubicBezTo>
                      <a:cubicBezTo>
                        <a:pt x="1731280" y="272523"/>
                        <a:pt x="1726970" y="273553"/>
                        <a:pt x="1723480" y="272745"/>
                      </a:cubicBezTo>
                      <a:cubicBezTo>
                        <a:pt x="1719967" y="271937"/>
                        <a:pt x="1717507" y="269888"/>
                        <a:pt x="1713150" y="269712"/>
                      </a:cubicBezTo>
                      <a:cubicBezTo>
                        <a:pt x="1701275" y="269244"/>
                        <a:pt x="1706850" y="279421"/>
                        <a:pt x="1706498" y="287537"/>
                      </a:cubicBezTo>
                      <a:cubicBezTo>
                        <a:pt x="1706112" y="296344"/>
                        <a:pt x="1708689" y="303008"/>
                        <a:pt x="1712108" y="311745"/>
                      </a:cubicBezTo>
                      <a:cubicBezTo>
                        <a:pt x="1716594" y="323199"/>
                        <a:pt x="1724148" y="334055"/>
                        <a:pt x="1733903" y="341469"/>
                      </a:cubicBezTo>
                      <a:cubicBezTo>
                        <a:pt x="1730250" y="339817"/>
                        <a:pt x="1725576" y="340918"/>
                        <a:pt x="1722848" y="337873"/>
                      </a:cubicBezTo>
                      <a:cubicBezTo>
                        <a:pt x="1723445" y="337627"/>
                        <a:pt x="1724405" y="337733"/>
                        <a:pt x="1724932" y="337522"/>
                      </a:cubicBezTo>
                      <a:cubicBezTo>
                        <a:pt x="1722004" y="332744"/>
                        <a:pt x="1715716" y="333470"/>
                        <a:pt x="1712026" y="329640"/>
                      </a:cubicBezTo>
                      <a:cubicBezTo>
                        <a:pt x="1708372" y="325846"/>
                        <a:pt x="1707775" y="318280"/>
                        <a:pt x="1704098" y="314391"/>
                      </a:cubicBezTo>
                      <a:cubicBezTo>
                        <a:pt x="1697996" y="307915"/>
                        <a:pt x="1694834" y="310117"/>
                        <a:pt x="1694471" y="301041"/>
                      </a:cubicBezTo>
                      <a:cubicBezTo>
                        <a:pt x="1694236" y="295267"/>
                        <a:pt x="1697645" y="281833"/>
                        <a:pt x="1695888" y="277360"/>
                      </a:cubicBezTo>
                      <a:cubicBezTo>
                        <a:pt x="1694342" y="273437"/>
                        <a:pt x="1688931" y="273108"/>
                        <a:pt x="1687467" y="266456"/>
                      </a:cubicBezTo>
                      <a:cubicBezTo>
                        <a:pt x="1685945" y="259617"/>
                        <a:pt x="1691554" y="254780"/>
                        <a:pt x="1690629" y="249299"/>
                      </a:cubicBezTo>
                      <a:cubicBezTo>
                        <a:pt x="1690454" y="248257"/>
                        <a:pt x="1686132" y="248877"/>
                        <a:pt x="1685605" y="247964"/>
                      </a:cubicBezTo>
                      <a:cubicBezTo>
                        <a:pt x="1684879" y="246699"/>
                        <a:pt x="1685933" y="244568"/>
                        <a:pt x="1685582" y="244029"/>
                      </a:cubicBezTo>
                      <a:cubicBezTo>
                        <a:pt x="1684258" y="242026"/>
                        <a:pt x="1685266" y="240820"/>
                        <a:pt x="1684387" y="239016"/>
                      </a:cubicBezTo>
                      <a:cubicBezTo>
                        <a:pt x="1683450" y="237060"/>
                        <a:pt x="1680932" y="241241"/>
                        <a:pt x="1679538" y="238466"/>
                      </a:cubicBezTo>
                      <a:cubicBezTo>
                        <a:pt x="1680066" y="239508"/>
                        <a:pt x="1679855" y="230900"/>
                        <a:pt x="1679609" y="231978"/>
                      </a:cubicBezTo>
                      <a:cubicBezTo>
                        <a:pt x="1681389" y="224166"/>
                        <a:pt x="1686390" y="217490"/>
                        <a:pt x="1687514" y="210159"/>
                      </a:cubicBezTo>
                      <a:cubicBezTo>
                        <a:pt x="1688814" y="201645"/>
                        <a:pt x="1701662" y="177250"/>
                        <a:pt x="1713842" y="179697"/>
                      </a:cubicBezTo>
                      <a:lnTo>
                        <a:pt x="1713842" y="179697"/>
                      </a:lnTo>
                      <a:close/>
                      <a:moveTo>
                        <a:pt x="1741984" y="157972"/>
                      </a:moveTo>
                      <a:cubicBezTo>
                        <a:pt x="1746423" y="167084"/>
                        <a:pt x="1747371" y="170176"/>
                        <a:pt x="1742195" y="180201"/>
                      </a:cubicBezTo>
                      <a:cubicBezTo>
                        <a:pt x="1737792" y="188739"/>
                        <a:pt x="1731561" y="185003"/>
                        <a:pt x="1724921" y="189968"/>
                      </a:cubicBezTo>
                      <a:cubicBezTo>
                        <a:pt x="1725893" y="186689"/>
                        <a:pt x="1724675" y="177940"/>
                        <a:pt x="1721173" y="175832"/>
                      </a:cubicBezTo>
                      <a:cubicBezTo>
                        <a:pt x="1727778" y="168407"/>
                        <a:pt x="1733400" y="155829"/>
                        <a:pt x="1741984" y="157972"/>
                      </a:cubicBezTo>
                      <a:lnTo>
                        <a:pt x="1741984" y="157972"/>
                      </a:lnTo>
                      <a:close/>
                      <a:moveTo>
                        <a:pt x="37102" y="142431"/>
                      </a:moveTo>
                      <a:cubicBezTo>
                        <a:pt x="36282" y="143251"/>
                        <a:pt x="37372" y="144446"/>
                        <a:pt x="35580" y="143603"/>
                      </a:cubicBezTo>
                      <a:cubicBezTo>
                        <a:pt x="35580" y="144258"/>
                        <a:pt x="35591" y="144902"/>
                        <a:pt x="35591" y="145558"/>
                      </a:cubicBezTo>
                      <a:cubicBezTo>
                        <a:pt x="38859" y="144832"/>
                        <a:pt x="50043" y="151074"/>
                        <a:pt x="47057" y="155560"/>
                      </a:cubicBezTo>
                      <a:cubicBezTo>
                        <a:pt x="48825" y="155232"/>
                        <a:pt x="48392" y="155689"/>
                        <a:pt x="50137" y="155923"/>
                      </a:cubicBezTo>
                      <a:cubicBezTo>
                        <a:pt x="49996" y="155513"/>
                        <a:pt x="49188" y="154693"/>
                        <a:pt x="49200" y="154295"/>
                      </a:cubicBezTo>
                      <a:cubicBezTo>
                        <a:pt x="53358" y="156989"/>
                        <a:pt x="60022" y="160619"/>
                        <a:pt x="62059" y="165222"/>
                      </a:cubicBezTo>
                      <a:cubicBezTo>
                        <a:pt x="62282" y="164250"/>
                        <a:pt x="62305" y="163383"/>
                        <a:pt x="62387" y="162341"/>
                      </a:cubicBezTo>
                      <a:cubicBezTo>
                        <a:pt x="70855" y="167014"/>
                        <a:pt x="65795" y="173666"/>
                        <a:pt x="57750" y="170211"/>
                      </a:cubicBezTo>
                      <a:cubicBezTo>
                        <a:pt x="57902" y="169848"/>
                        <a:pt x="58722" y="169508"/>
                        <a:pt x="58815" y="169134"/>
                      </a:cubicBezTo>
                      <a:cubicBezTo>
                        <a:pt x="51449" y="163524"/>
                        <a:pt x="44340" y="159811"/>
                        <a:pt x="37090" y="157879"/>
                      </a:cubicBezTo>
                      <a:cubicBezTo>
                        <a:pt x="32863" y="156743"/>
                        <a:pt x="20858" y="145418"/>
                        <a:pt x="30239" y="145546"/>
                      </a:cubicBezTo>
                      <a:cubicBezTo>
                        <a:pt x="29548" y="143403"/>
                        <a:pt x="30743" y="142829"/>
                        <a:pt x="30837" y="140534"/>
                      </a:cubicBezTo>
                      <a:cubicBezTo>
                        <a:pt x="32863" y="141693"/>
                        <a:pt x="34760" y="141588"/>
                        <a:pt x="37102" y="142431"/>
                      </a:cubicBezTo>
                      <a:lnTo>
                        <a:pt x="37102" y="142431"/>
                      </a:lnTo>
                      <a:close/>
                      <a:moveTo>
                        <a:pt x="683649" y="80794"/>
                      </a:moveTo>
                      <a:cubicBezTo>
                        <a:pt x="687338" y="83768"/>
                        <a:pt x="690383" y="87703"/>
                        <a:pt x="686518" y="91135"/>
                      </a:cubicBezTo>
                      <a:cubicBezTo>
                        <a:pt x="687525" y="91252"/>
                        <a:pt x="688087" y="91381"/>
                        <a:pt x="688837" y="91346"/>
                      </a:cubicBezTo>
                      <a:cubicBezTo>
                        <a:pt x="687642" y="98642"/>
                        <a:pt x="679819" y="107894"/>
                        <a:pt x="672558" y="101195"/>
                      </a:cubicBezTo>
                      <a:cubicBezTo>
                        <a:pt x="675064" y="97377"/>
                        <a:pt x="678601" y="93969"/>
                        <a:pt x="682232" y="99356"/>
                      </a:cubicBezTo>
                      <a:cubicBezTo>
                        <a:pt x="681775" y="92318"/>
                        <a:pt x="664653" y="93969"/>
                        <a:pt x="666843" y="84717"/>
                      </a:cubicBezTo>
                      <a:cubicBezTo>
                        <a:pt x="667253" y="82937"/>
                        <a:pt x="675134" y="76776"/>
                        <a:pt x="676516" y="75957"/>
                      </a:cubicBezTo>
                      <a:cubicBezTo>
                        <a:pt x="683789" y="71624"/>
                        <a:pt x="677161" y="76753"/>
                        <a:pt x="683649" y="80794"/>
                      </a:cubicBezTo>
                      <a:lnTo>
                        <a:pt x="683649" y="80794"/>
                      </a:lnTo>
                      <a:close/>
                      <a:moveTo>
                        <a:pt x="1115019" y="67969"/>
                      </a:moveTo>
                      <a:cubicBezTo>
                        <a:pt x="1124424" y="67923"/>
                        <a:pt x="1135198" y="66107"/>
                        <a:pt x="1145949" y="67770"/>
                      </a:cubicBezTo>
                      <a:cubicBezTo>
                        <a:pt x="1152367" y="68766"/>
                        <a:pt x="1158739" y="75910"/>
                        <a:pt x="1166691" y="76964"/>
                      </a:cubicBezTo>
                      <a:cubicBezTo>
                        <a:pt x="1163540" y="80149"/>
                        <a:pt x="1160402" y="77877"/>
                        <a:pt x="1156560" y="76437"/>
                      </a:cubicBezTo>
                      <a:cubicBezTo>
                        <a:pt x="1157041" y="77889"/>
                        <a:pt x="1157333" y="79154"/>
                        <a:pt x="1157755" y="80138"/>
                      </a:cubicBezTo>
                      <a:cubicBezTo>
                        <a:pt x="1161151" y="81730"/>
                        <a:pt x="1159886" y="81028"/>
                        <a:pt x="1161538" y="83031"/>
                      </a:cubicBezTo>
                      <a:cubicBezTo>
                        <a:pt x="1165754" y="82058"/>
                        <a:pt x="1180920" y="92657"/>
                        <a:pt x="1164407" y="88640"/>
                      </a:cubicBezTo>
                      <a:cubicBezTo>
                        <a:pt x="1166468" y="89671"/>
                        <a:pt x="1184844" y="98665"/>
                        <a:pt x="1173729" y="96862"/>
                      </a:cubicBezTo>
                      <a:cubicBezTo>
                        <a:pt x="1176212" y="98384"/>
                        <a:pt x="1180171" y="98853"/>
                        <a:pt x="1179737" y="101242"/>
                      </a:cubicBezTo>
                      <a:cubicBezTo>
                        <a:pt x="1179257" y="103924"/>
                        <a:pt x="1172593" y="104931"/>
                        <a:pt x="1170766" y="104697"/>
                      </a:cubicBezTo>
                      <a:cubicBezTo>
                        <a:pt x="1164594" y="103853"/>
                        <a:pt x="1165145" y="99321"/>
                        <a:pt x="1161561" y="96159"/>
                      </a:cubicBezTo>
                      <a:cubicBezTo>
                        <a:pt x="1163294" y="102542"/>
                        <a:pt x="1166058" y="103315"/>
                        <a:pt x="1161198" y="104942"/>
                      </a:cubicBezTo>
                      <a:cubicBezTo>
                        <a:pt x="1154839" y="107063"/>
                        <a:pt x="1143338" y="99286"/>
                        <a:pt x="1138700" y="106500"/>
                      </a:cubicBezTo>
                      <a:cubicBezTo>
                        <a:pt x="1140235" y="105645"/>
                        <a:pt x="1144263" y="104053"/>
                        <a:pt x="1145938" y="105118"/>
                      </a:cubicBezTo>
                      <a:cubicBezTo>
                        <a:pt x="1148725" y="106875"/>
                        <a:pt x="1146289" y="107683"/>
                        <a:pt x="1147671" y="108901"/>
                      </a:cubicBezTo>
                      <a:cubicBezTo>
                        <a:pt x="1150787" y="111642"/>
                        <a:pt x="1154276" y="112543"/>
                        <a:pt x="1156619" y="114113"/>
                      </a:cubicBezTo>
                      <a:cubicBezTo>
                        <a:pt x="1161221" y="117263"/>
                        <a:pt x="1160203" y="114136"/>
                        <a:pt x="1158259" y="119488"/>
                      </a:cubicBezTo>
                      <a:cubicBezTo>
                        <a:pt x="1156759" y="123599"/>
                        <a:pt x="1155143" y="126527"/>
                        <a:pt x="1150915" y="123869"/>
                      </a:cubicBezTo>
                      <a:cubicBezTo>
                        <a:pt x="1152801" y="129057"/>
                        <a:pt x="1177020" y="132430"/>
                        <a:pt x="1166585" y="138391"/>
                      </a:cubicBezTo>
                      <a:cubicBezTo>
                        <a:pt x="1169232" y="137864"/>
                        <a:pt x="1170930" y="138707"/>
                        <a:pt x="1173003" y="139070"/>
                      </a:cubicBezTo>
                      <a:cubicBezTo>
                        <a:pt x="1170919" y="140417"/>
                        <a:pt x="1168178" y="141201"/>
                        <a:pt x="1165473" y="141248"/>
                      </a:cubicBezTo>
                      <a:cubicBezTo>
                        <a:pt x="1168003" y="142033"/>
                        <a:pt x="1172336" y="142595"/>
                        <a:pt x="1175521" y="142677"/>
                      </a:cubicBezTo>
                      <a:cubicBezTo>
                        <a:pt x="1173425" y="143485"/>
                        <a:pt x="1171375" y="145523"/>
                        <a:pt x="1169419" y="146659"/>
                      </a:cubicBezTo>
                      <a:cubicBezTo>
                        <a:pt x="1177992" y="150137"/>
                        <a:pt x="1175779" y="150524"/>
                        <a:pt x="1180206" y="158031"/>
                      </a:cubicBezTo>
                      <a:cubicBezTo>
                        <a:pt x="1183110" y="162950"/>
                        <a:pt x="1189025" y="164999"/>
                        <a:pt x="1191203" y="170750"/>
                      </a:cubicBezTo>
                      <a:cubicBezTo>
                        <a:pt x="1198804" y="170539"/>
                        <a:pt x="1186097" y="186689"/>
                        <a:pt x="1180206" y="184171"/>
                      </a:cubicBezTo>
                      <a:cubicBezTo>
                        <a:pt x="1181553" y="184886"/>
                        <a:pt x="1182759" y="186338"/>
                        <a:pt x="1184071" y="187134"/>
                      </a:cubicBezTo>
                      <a:cubicBezTo>
                        <a:pt x="1181342" y="187919"/>
                        <a:pt x="1178496" y="187989"/>
                        <a:pt x="1175744" y="187392"/>
                      </a:cubicBezTo>
                      <a:cubicBezTo>
                        <a:pt x="1177629" y="188364"/>
                        <a:pt x="1180241" y="188657"/>
                        <a:pt x="1181740" y="190589"/>
                      </a:cubicBezTo>
                      <a:cubicBezTo>
                        <a:pt x="1181881" y="190765"/>
                        <a:pt x="1181928" y="193845"/>
                        <a:pt x="1182150" y="194185"/>
                      </a:cubicBezTo>
                      <a:cubicBezTo>
                        <a:pt x="1182982" y="195414"/>
                        <a:pt x="1184492" y="197745"/>
                        <a:pt x="1186401" y="199560"/>
                      </a:cubicBezTo>
                      <a:cubicBezTo>
                        <a:pt x="1187596" y="200696"/>
                        <a:pt x="1190629" y="200181"/>
                        <a:pt x="1191683" y="201048"/>
                      </a:cubicBezTo>
                      <a:cubicBezTo>
                        <a:pt x="1192655" y="201856"/>
                        <a:pt x="1194354" y="206201"/>
                        <a:pt x="1195876" y="207746"/>
                      </a:cubicBezTo>
                      <a:cubicBezTo>
                        <a:pt x="1199823" y="211728"/>
                        <a:pt x="1206931" y="213462"/>
                        <a:pt x="1211429" y="216565"/>
                      </a:cubicBezTo>
                      <a:cubicBezTo>
                        <a:pt x="1211148" y="217315"/>
                        <a:pt x="1210527" y="217572"/>
                        <a:pt x="1210105" y="218205"/>
                      </a:cubicBezTo>
                      <a:cubicBezTo>
                        <a:pt x="1213244" y="220629"/>
                        <a:pt x="1231959" y="227539"/>
                        <a:pt x="1229125" y="233348"/>
                      </a:cubicBezTo>
                      <a:cubicBezTo>
                        <a:pt x="1231971" y="234859"/>
                        <a:pt x="1233048" y="237599"/>
                        <a:pt x="1235320" y="238946"/>
                      </a:cubicBezTo>
                      <a:cubicBezTo>
                        <a:pt x="1236585" y="239684"/>
                        <a:pt x="1239993" y="236826"/>
                        <a:pt x="1241598" y="240539"/>
                      </a:cubicBezTo>
                      <a:cubicBezTo>
                        <a:pt x="1243190" y="244193"/>
                        <a:pt x="1234407" y="251395"/>
                        <a:pt x="1231256" y="251981"/>
                      </a:cubicBezTo>
                      <a:cubicBezTo>
                        <a:pt x="1229078" y="252391"/>
                        <a:pt x="1227649" y="250177"/>
                        <a:pt x="1225810" y="250341"/>
                      </a:cubicBezTo>
                      <a:cubicBezTo>
                        <a:pt x="1223527" y="250540"/>
                        <a:pt x="1220669" y="251969"/>
                        <a:pt x="1218456" y="252051"/>
                      </a:cubicBezTo>
                      <a:cubicBezTo>
                        <a:pt x="1212295" y="252262"/>
                        <a:pt x="1208969" y="250646"/>
                        <a:pt x="1203594" y="248994"/>
                      </a:cubicBezTo>
                      <a:cubicBezTo>
                        <a:pt x="1199389" y="247718"/>
                        <a:pt x="1195583" y="248304"/>
                        <a:pt x="1192245" y="244942"/>
                      </a:cubicBezTo>
                      <a:cubicBezTo>
                        <a:pt x="1189470" y="242143"/>
                        <a:pt x="1190055" y="238665"/>
                        <a:pt x="1186436" y="236533"/>
                      </a:cubicBezTo>
                      <a:cubicBezTo>
                        <a:pt x="1180428" y="232997"/>
                        <a:pt x="1188884" y="244731"/>
                        <a:pt x="1189411" y="247449"/>
                      </a:cubicBezTo>
                      <a:cubicBezTo>
                        <a:pt x="1190969" y="255424"/>
                        <a:pt x="1190149" y="249732"/>
                        <a:pt x="1186026" y="250493"/>
                      </a:cubicBezTo>
                      <a:cubicBezTo>
                        <a:pt x="1178461" y="251887"/>
                        <a:pt x="1178578" y="253597"/>
                        <a:pt x="1174901" y="260050"/>
                      </a:cubicBezTo>
                      <a:cubicBezTo>
                        <a:pt x="1172300" y="264606"/>
                        <a:pt x="1159289" y="284094"/>
                        <a:pt x="1164067" y="286764"/>
                      </a:cubicBezTo>
                      <a:cubicBezTo>
                        <a:pt x="1160367" y="289235"/>
                        <a:pt x="1162803" y="289774"/>
                        <a:pt x="1162603" y="292140"/>
                      </a:cubicBezTo>
                      <a:cubicBezTo>
                        <a:pt x="1162592" y="292304"/>
                        <a:pt x="1164606" y="294787"/>
                        <a:pt x="1164559" y="296051"/>
                      </a:cubicBezTo>
                      <a:cubicBezTo>
                        <a:pt x="1164501" y="297398"/>
                        <a:pt x="1162463" y="298089"/>
                        <a:pt x="1162170" y="299366"/>
                      </a:cubicBezTo>
                      <a:cubicBezTo>
                        <a:pt x="1161748" y="301228"/>
                        <a:pt x="1159711" y="304952"/>
                        <a:pt x="1159793" y="306568"/>
                      </a:cubicBezTo>
                      <a:cubicBezTo>
                        <a:pt x="1159886" y="308430"/>
                        <a:pt x="1162393" y="310527"/>
                        <a:pt x="1162428" y="311593"/>
                      </a:cubicBezTo>
                      <a:cubicBezTo>
                        <a:pt x="1162521" y="314181"/>
                        <a:pt x="1160917" y="317975"/>
                        <a:pt x="1160121" y="321477"/>
                      </a:cubicBezTo>
                      <a:cubicBezTo>
                        <a:pt x="1162709" y="320119"/>
                        <a:pt x="1167019" y="315118"/>
                        <a:pt x="1169970" y="315914"/>
                      </a:cubicBezTo>
                      <a:cubicBezTo>
                        <a:pt x="1172031" y="316464"/>
                        <a:pt x="1166129" y="320247"/>
                        <a:pt x="1166023" y="320294"/>
                      </a:cubicBezTo>
                      <a:cubicBezTo>
                        <a:pt x="1169712" y="322273"/>
                        <a:pt x="1168119" y="325459"/>
                        <a:pt x="1164758" y="326103"/>
                      </a:cubicBezTo>
                      <a:cubicBezTo>
                        <a:pt x="1165203" y="326349"/>
                        <a:pt x="1166632" y="326829"/>
                        <a:pt x="1167147" y="326935"/>
                      </a:cubicBezTo>
                      <a:cubicBezTo>
                        <a:pt x="1166328" y="329605"/>
                        <a:pt x="1164957" y="330647"/>
                        <a:pt x="1162299" y="330577"/>
                      </a:cubicBezTo>
                      <a:cubicBezTo>
                        <a:pt x="1170977" y="332322"/>
                        <a:pt x="1170579" y="337510"/>
                        <a:pt x="1162615" y="335742"/>
                      </a:cubicBezTo>
                      <a:cubicBezTo>
                        <a:pt x="1161831" y="337768"/>
                        <a:pt x="1160214" y="341070"/>
                        <a:pt x="1156876" y="337861"/>
                      </a:cubicBezTo>
                      <a:cubicBezTo>
                        <a:pt x="1156361" y="339290"/>
                        <a:pt x="1155354" y="340017"/>
                        <a:pt x="1154780" y="341082"/>
                      </a:cubicBezTo>
                      <a:cubicBezTo>
                        <a:pt x="1153515" y="331455"/>
                        <a:pt x="1145317" y="345580"/>
                        <a:pt x="1142319" y="350030"/>
                      </a:cubicBezTo>
                      <a:cubicBezTo>
                        <a:pt x="1140633" y="352501"/>
                        <a:pt x="1138524" y="356764"/>
                        <a:pt x="1136229" y="358216"/>
                      </a:cubicBezTo>
                      <a:cubicBezTo>
                        <a:pt x="1132446" y="360629"/>
                        <a:pt x="1126450" y="361847"/>
                        <a:pt x="1128265" y="356413"/>
                      </a:cubicBezTo>
                      <a:cubicBezTo>
                        <a:pt x="1127188" y="357057"/>
                        <a:pt x="1127738" y="356096"/>
                        <a:pt x="1126520" y="357572"/>
                      </a:cubicBezTo>
                      <a:cubicBezTo>
                        <a:pt x="1125372" y="354269"/>
                        <a:pt x="1122737" y="351189"/>
                        <a:pt x="1124412" y="347477"/>
                      </a:cubicBezTo>
                      <a:cubicBezTo>
                        <a:pt x="1120430" y="350229"/>
                        <a:pt x="1124119" y="354469"/>
                        <a:pt x="1123323" y="357783"/>
                      </a:cubicBezTo>
                      <a:cubicBezTo>
                        <a:pt x="1133653" y="360500"/>
                        <a:pt x="1114141" y="369998"/>
                        <a:pt x="1113017" y="371942"/>
                      </a:cubicBezTo>
                      <a:cubicBezTo>
                        <a:pt x="1110112" y="376978"/>
                        <a:pt x="1116249" y="375432"/>
                        <a:pt x="1109644" y="380000"/>
                      </a:cubicBezTo>
                      <a:cubicBezTo>
                        <a:pt x="1105346" y="382974"/>
                        <a:pt x="1100626" y="383829"/>
                        <a:pt x="1096539" y="387448"/>
                      </a:cubicBezTo>
                      <a:cubicBezTo>
                        <a:pt x="1102207" y="390212"/>
                        <a:pt x="1104116" y="383607"/>
                        <a:pt x="1107911" y="388467"/>
                      </a:cubicBezTo>
                      <a:cubicBezTo>
                        <a:pt x="1108075" y="388678"/>
                        <a:pt x="1109831" y="398375"/>
                        <a:pt x="1108965" y="400050"/>
                      </a:cubicBezTo>
                      <a:cubicBezTo>
                        <a:pt x="1107032" y="403797"/>
                        <a:pt x="1102008" y="403177"/>
                        <a:pt x="1099701" y="407264"/>
                      </a:cubicBezTo>
                      <a:cubicBezTo>
                        <a:pt x="1104865" y="403551"/>
                        <a:pt x="1103624" y="408494"/>
                        <a:pt x="1105884" y="408728"/>
                      </a:cubicBezTo>
                      <a:cubicBezTo>
                        <a:pt x="1109246" y="409068"/>
                        <a:pt x="1111787" y="405086"/>
                        <a:pt x="1113251" y="409360"/>
                      </a:cubicBezTo>
                      <a:cubicBezTo>
                        <a:pt x="1114071" y="408892"/>
                        <a:pt x="1115172" y="408178"/>
                        <a:pt x="1116156" y="408037"/>
                      </a:cubicBezTo>
                      <a:cubicBezTo>
                        <a:pt x="1116636" y="411632"/>
                        <a:pt x="1115429" y="420697"/>
                        <a:pt x="1113368" y="423977"/>
                      </a:cubicBezTo>
                      <a:cubicBezTo>
                        <a:pt x="1109023" y="430886"/>
                        <a:pt x="1111834" y="424269"/>
                        <a:pt x="1107770" y="424410"/>
                      </a:cubicBezTo>
                      <a:cubicBezTo>
                        <a:pt x="1102922" y="424574"/>
                        <a:pt x="1100205" y="425265"/>
                        <a:pt x="1100415" y="430160"/>
                      </a:cubicBezTo>
                      <a:cubicBezTo>
                        <a:pt x="1107723" y="422513"/>
                        <a:pt x="1105557" y="441497"/>
                        <a:pt x="1102605" y="446345"/>
                      </a:cubicBezTo>
                      <a:cubicBezTo>
                        <a:pt x="1097663" y="454403"/>
                        <a:pt x="1093740" y="447317"/>
                        <a:pt x="1092791" y="441040"/>
                      </a:cubicBezTo>
                      <a:cubicBezTo>
                        <a:pt x="1091432" y="443476"/>
                        <a:pt x="1090695" y="448196"/>
                        <a:pt x="1090671" y="450960"/>
                      </a:cubicBezTo>
                      <a:cubicBezTo>
                        <a:pt x="1093903" y="451018"/>
                        <a:pt x="1096504" y="454965"/>
                        <a:pt x="1098741" y="457776"/>
                      </a:cubicBezTo>
                      <a:cubicBezTo>
                        <a:pt x="1096949" y="457811"/>
                        <a:pt x="1095297" y="458795"/>
                        <a:pt x="1093634" y="458783"/>
                      </a:cubicBezTo>
                      <a:cubicBezTo>
                        <a:pt x="1095367" y="461805"/>
                        <a:pt x="1094934" y="464170"/>
                        <a:pt x="1091491" y="465236"/>
                      </a:cubicBezTo>
                      <a:cubicBezTo>
                        <a:pt x="1092627" y="464206"/>
                        <a:pt x="1092697" y="463655"/>
                        <a:pt x="1093892" y="462449"/>
                      </a:cubicBezTo>
                      <a:cubicBezTo>
                        <a:pt x="1089512" y="463093"/>
                        <a:pt x="1087158" y="469265"/>
                        <a:pt x="1085787" y="473165"/>
                      </a:cubicBezTo>
                      <a:cubicBezTo>
                        <a:pt x="1085120" y="475085"/>
                        <a:pt x="1085834" y="478927"/>
                        <a:pt x="1084523" y="480496"/>
                      </a:cubicBezTo>
                      <a:cubicBezTo>
                        <a:pt x="1082321" y="483143"/>
                        <a:pt x="1081302" y="481164"/>
                        <a:pt x="1078831" y="482745"/>
                      </a:cubicBezTo>
                      <a:cubicBezTo>
                        <a:pt x="1067658" y="489936"/>
                        <a:pt x="1055010" y="494328"/>
                        <a:pt x="1042525" y="499422"/>
                      </a:cubicBezTo>
                      <a:cubicBezTo>
                        <a:pt x="1035112" y="502455"/>
                        <a:pt x="1028132" y="507023"/>
                        <a:pt x="1020812" y="509915"/>
                      </a:cubicBezTo>
                      <a:cubicBezTo>
                        <a:pt x="1011923" y="513417"/>
                        <a:pt x="1014230" y="511848"/>
                        <a:pt x="1013293" y="504505"/>
                      </a:cubicBezTo>
                      <a:cubicBezTo>
                        <a:pt x="1012555" y="498567"/>
                        <a:pt x="1013668" y="490849"/>
                        <a:pt x="1012122" y="485181"/>
                      </a:cubicBezTo>
                      <a:cubicBezTo>
                        <a:pt x="1010037" y="477557"/>
                        <a:pt x="1006910" y="477849"/>
                        <a:pt x="1009299" y="468820"/>
                      </a:cubicBezTo>
                      <a:cubicBezTo>
                        <a:pt x="1002987" y="471783"/>
                        <a:pt x="1008374" y="480660"/>
                        <a:pt x="998724" y="474125"/>
                      </a:cubicBezTo>
                      <a:cubicBezTo>
                        <a:pt x="992435" y="469885"/>
                        <a:pt x="996042" y="468234"/>
                        <a:pt x="999626" y="461688"/>
                      </a:cubicBezTo>
                      <a:cubicBezTo>
                        <a:pt x="991920" y="468843"/>
                        <a:pt x="985888" y="475835"/>
                        <a:pt x="986731" y="460563"/>
                      </a:cubicBezTo>
                      <a:cubicBezTo>
                        <a:pt x="985771" y="466513"/>
                        <a:pt x="982937" y="468352"/>
                        <a:pt x="977889" y="471244"/>
                      </a:cubicBezTo>
                      <a:cubicBezTo>
                        <a:pt x="974961" y="472931"/>
                        <a:pt x="969223" y="476233"/>
                        <a:pt x="965616" y="475308"/>
                      </a:cubicBezTo>
                      <a:cubicBezTo>
                        <a:pt x="958190" y="473399"/>
                        <a:pt x="963308" y="471830"/>
                        <a:pt x="961938" y="466782"/>
                      </a:cubicBezTo>
                      <a:cubicBezTo>
                        <a:pt x="957324" y="449812"/>
                        <a:pt x="948271" y="471244"/>
                        <a:pt x="944219" y="459134"/>
                      </a:cubicBezTo>
                      <a:cubicBezTo>
                        <a:pt x="945308" y="460985"/>
                        <a:pt x="945858" y="463023"/>
                        <a:pt x="946748" y="464861"/>
                      </a:cubicBezTo>
                      <a:cubicBezTo>
                        <a:pt x="941630" y="458935"/>
                        <a:pt x="933069" y="453806"/>
                        <a:pt x="930270" y="446603"/>
                      </a:cubicBezTo>
                      <a:cubicBezTo>
                        <a:pt x="931395" y="451416"/>
                        <a:pt x="921030" y="457788"/>
                        <a:pt x="929544" y="458783"/>
                      </a:cubicBezTo>
                      <a:cubicBezTo>
                        <a:pt x="925141" y="462777"/>
                        <a:pt x="910641" y="474535"/>
                        <a:pt x="904446" y="473739"/>
                      </a:cubicBezTo>
                      <a:cubicBezTo>
                        <a:pt x="897302" y="472825"/>
                        <a:pt x="896494" y="465798"/>
                        <a:pt x="888214" y="467625"/>
                      </a:cubicBezTo>
                      <a:cubicBezTo>
                        <a:pt x="881527" y="469089"/>
                        <a:pt x="878540" y="478646"/>
                        <a:pt x="872661" y="479829"/>
                      </a:cubicBezTo>
                      <a:cubicBezTo>
                        <a:pt x="864252" y="481527"/>
                        <a:pt x="866864" y="467379"/>
                        <a:pt x="866606" y="460563"/>
                      </a:cubicBezTo>
                      <a:cubicBezTo>
                        <a:pt x="866360" y="453689"/>
                        <a:pt x="865611" y="452306"/>
                        <a:pt x="863784" y="445795"/>
                      </a:cubicBezTo>
                      <a:cubicBezTo>
                        <a:pt x="862835" y="442422"/>
                        <a:pt x="862507" y="440056"/>
                        <a:pt x="863444" y="436964"/>
                      </a:cubicBezTo>
                      <a:cubicBezTo>
                        <a:pt x="860587" y="439389"/>
                        <a:pt x="858760" y="444905"/>
                        <a:pt x="860915" y="447481"/>
                      </a:cubicBezTo>
                      <a:cubicBezTo>
                        <a:pt x="857073" y="448828"/>
                        <a:pt x="854988" y="450971"/>
                        <a:pt x="851522" y="450456"/>
                      </a:cubicBezTo>
                      <a:cubicBezTo>
                        <a:pt x="848758" y="450046"/>
                        <a:pt x="846392" y="445830"/>
                        <a:pt x="841005" y="446755"/>
                      </a:cubicBezTo>
                      <a:cubicBezTo>
                        <a:pt x="834763" y="447821"/>
                        <a:pt x="829832" y="454696"/>
                        <a:pt x="823367" y="455187"/>
                      </a:cubicBezTo>
                      <a:cubicBezTo>
                        <a:pt x="818765" y="455527"/>
                        <a:pt x="815743" y="452295"/>
                        <a:pt x="811281" y="451979"/>
                      </a:cubicBezTo>
                      <a:cubicBezTo>
                        <a:pt x="812874" y="447645"/>
                        <a:pt x="818355" y="446837"/>
                        <a:pt x="822313" y="445397"/>
                      </a:cubicBezTo>
                      <a:cubicBezTo>
                        <a:pt x="822138" y="445045"/>
                        <a:pt x="821985" y="444671"/>
                        <a:pt x="821810" y="444319"/>
                      </a:cubicBezTo>
                      <a:cubicBezTo>
                        <a:pt x="819046" y="445912"/>
                        <a:pt x="815146" y="446427"/>
                        <a:pt x="812675" y="448301"/>
                      </a:cubicBezTo>
                      <a:cubicBezTo>
                        <a:pt x="808529" y="451475"/>
                        <a:pt x="808915" y="456253"/>
                        <a:pt x="804957" y="452681"/>
                      </a:cubicBezTo>
                      <a:cubicBezTo>
                        <a:pt x="804922" y="452646"/>
                        <a:pt x="805121" y="447001"/>
                        <a:pt x="804125" y="445912"/>
                      </a:cubicBezTo>
                      <a:cubicBezTo>
                        <a:pt x="799897" y="441227"/>
                        <a:pt x="795833" y="446076"/>
                        <a:pt x="791266" y="447798"/>
                      </a:cubicBezTo>
                      <a:cubicBezTo>
                        <a:pt x="780117" y="452014"/>
                        <a:pt x="785422" y="445022"/>
                        <a:pt x="783806" y="437175"/>
                      </a:cubicBezTo>
                      <a:cubicBezTo>
                        <a:pt x="782096" y="428930"/>
                        <a:pt x="779250" y="430242"/>
                        <a:pt x="786558" y="425475"/>
                      </a:cubicBezTo>
                      <a:cubicBezTo>
                        <a:pt x="781030" y="428755"/>
                        <a:pt x="777200" y="412031"/>
                        <a:pt x="777037" y="408178"/>
                      </a:cubicBezTo>
                      <a:cubicBezTo>
                        <a:pt x="776826" y="403493"/>
                        <a:pt x="780304" y="400612"/>
                        <a:pt x="776755" y="395799"/>
                      </a:cubicBezTo>
                      <a:cubicBezTo>
                        <a:pt x="774413" y="392625"/>
                        <a:pt x="769810" y="392449"/>
                        <a:pt x="766918" y="389357"/>
                      </a:cubicBezTo>
                      <a:cubicBezTo>
                        <a:pt x="767222" y="385937"/>
                        <a:pt x="773136" y="380691"/>
                        <a:pt x="774331" y="374437"/>
                      </a:cubicBezTo>
                      <a:cubicBezTo>
                        <a:pt x="775174" y="370010"/>
                        <a:pt x="776568" y="366039"/>
                        <a:pt x="774062" y="361905"/>
                      </a:cubicBezTo>
                      <a:cubicBezTo>
                        <a:pt x="772996" y="360172"/>
                        <a:pt x="770244" y="361168"/>
                        <a:pt x="769260" y="359340"/>
                      </a:cubicBezTo>
                      <a:cubicBezTo>
                        <a:pt x="768686" y="358275"/>
                        <a:pt x="769026" y="353461"/>
                        <a:pt x="768651" y="352922"/>
                      </a:cubicBezTo>
                      <a:cubicBezTo>
                        <a:pt x="767410" y="351154"/>
                        <a:pt x="764880" y="351986"/>
                        <a:pt x="763674" y="350733"/>
                      </a:cubicBezTo>
                      <a:cubicBezTo>
                        <a:pt x="760839" y="347769"/>
                        <a:pt x="755897" y="343881"/>
                        <a:pt x="759610" y="339525"/>
                      </a:cubicBezTo>
                      <a:cubicBezTo>
                        <a:pt x="756202" y="342628"/>
                        <a:pt x="757045" y="345369"/>
                        <a:pt x="751939" y="343893"/>
                      </a:cubicBezTo>
                      <a:cubicBezTo>
                        <a:pt x="750030" y="343343"/>
                        <a:pt x="749831" y="339782"/>
                        <a:pt x="746727" y="338927"/>
                      </a:cubicBezTo>
                      <a:cubicBezTo>
                        <a:pt x="743858" y="338131"/>
                        <a:pt x="741270" y="339934"/>
                        <a:pt x="741820" y="339934"/>
                      </a:cubicBezTo>
                      <a:cubicBezTo>
                        <a:pt x="740532" y="339946"/>
                        <a:pt x="739888" y="342324"/>
                        <a:pt x="736503" y="340181"/>
                      </a:cubicBezTo>
                      <a:cubicBezTo>
                        <a:pt x="734043" y="338611"/>
                        <a:pt x="730413" y="331561"/>
                        <a:pt x="733177" y="329172"/>
                      </a:cubicBezTo>
                      <a:cubicBezTo>
                        <a:pt x="734910" y="327672"/>
                        <a:pt x="743015" y="332802"/>
                        <a:pt x="746364" y="331912"/>
                      </a:cubicBezTo>
                      <a:cubicBezTo>
                        <a:pt x="744045" y="330694"/>
                        <a:pt x="741422" y="328774"/>
                        <a:pt x="738306" y="327895"/>
                      </a:cubicBezTo>
                      <a:cubicBezTo>
                        <a:pt x="739220" y="327157"/>
                        <a:pt x="738634" y="327087"/>
                        <a:pt x="738306" y="326127"/>
                      </a:cubicBezTo>
                      <a:cubicBezTo>
                        <a:pt x="739524" y="326185"/>
                        <a:pt x="740684" y="326384"/>
                        <a:pt x="741902" y="326443"/>
                      </a:cubicBezTo>
                      <a:cubicBezTo>
                        <a:pt x="738939" y="323632"/>
                        <a:pt x="734184" y="324744"/>
                        <a:pt x="730717" y="322906"/>
                      </a:cubicBezTo>
                      <a:cubicBezTo>
                        <a:pt x="728199" y="321571"/>
                        <a:pt x="720774" y="314673"/>
                        <a:pt x="726876" y="312869"/>
                      </a:cubicBezTo>
                      <a:cubicBezTo>
                        <a:pt x="725892" y="310316"/>
                        <a:pt x="725517" y="309695"/>
                        <a:pt x="725073" y="307529"/>
                      </a:cubicBezTo>
                      <a:cubicBezTo>
                        <a:pt x="723058" y="307646"/>
                        <a:pt x="724522" y="307283"/>
                        <a:pt x="723292" y="308255"/>
                      </a:cubicBezTo>
                      <a:cubicBezTo>
                        <a:pt x="720868" y="303336"/>
                        <a:pt x="728609" y="304448"/>
                        <a:pt x="731514" y="306475"/>
                      </a:cubicBezTo>
                      <a:cubicBezTo>
                        <a:pt x="726419" y="300373"/>
                        <a:pt x="725517" y="290594"/>
                        <a:pt x="735461" y="293557"/>
                      </a:cubicBezTo>
                      <a:cubicBezTo>
                        <a:pt x="730214" y="289657"/>
                        <a:pt x="728270" y="283953"/>
                        <a:pt x="723679" y="280276"/>
                      </a:cubicBezTo>
                      <a:cubicBezTo>
                        <a:pt x="718830" y="276399"/>
                        <a:pt x="718444" y="279128"/>
                        <a:pt x="716195" y="274303"/>
                      </a:cubicBezTo>
                      <a:cubicBezTo>
                        <a:pt x="715492" y="272804"/>
                        <a:pt x="716019" y="267042"/>
                        <a:pt x="715680" y="265273"/>
                      </a:cubicBezTo>
                      <a:cubicBezTo>
                        <a:pt x="715141" y="262615"/>
                        <a:pt x="714028" y="258504"/>
                        <a:pt x="713595" y="256103"/>
                      </a:cubicBezTo>
                      <a:cubicBezTo>
                        <a:pt x="712810" y="251735"/>
                        <a:pt x="713654" y="251957"/>
                        <a:pt x="714907" y="248538"/>
                      </a:cubicBezTo>
                      <a:cubicBezTo>
                        <a:pt x="715282" y="247531"/>
                        <a:pt x="718151" y="246453"/>
                        <a:pt x="718772" y="244216"/>
                      </a:cubicBezTo>
                      <a:cubicBezTo>
                        <a:pt x="719627" y="241136"/>
                        <a:pt x="715481" y="237798"/>
                        <a:pt x="716183" y="235186"/>
                      </a:cubicBezTo>
                      <a:cubicBezTo>
                        <a:pt x="717401" y="230736"/>
                        <a:pt x="721934" y="232434"/>
                        <a:pt x="726314" y="229425"/>
                      </a:cubicBezTo>
                      <a:cubicBezTo>
                        <a:pt x="729382" y="227316"/>
                        <a:pt x="731385" y="223545"/>
                        <a:pt x="733669" y="220981"/>
                      </a:cubicBezTo>
                      <a:cubicBezTo>
                        <a:pt x="727614" y="222538"/>
                        <a:pt x="727204" y="229776"/>
                        <a:pt x="719041" y="230666"/>
                      </a:cubicBezTo>
                      <a:cubicBezTo>
                        <a:pt x="720774" y="225173"/>
                        <a:pt x="722332" y="216214"/>
                        <a:pt x="725623" y="212091"/>
                      </a:cubicBezTo>
                      <a:cubicBezTo>
                        <a:pt x="729476" y="207255"/>
                        <a:pt x="734723" y="204748"/>
                        <a:pt x="737861" y="199209"/>
                      </a:cubicBezTo>
                      <a:cubicBezTo>
                        <a:pt x="737030" y="199759"/>
                        <a:pt x="735695" y="200579"/>
                        <a:pt x="734723" y="201317"/>
                      </a:cubicBezTo>
                      <a:cubicBezTo>
                        <a:pt x="737088" y="198834"/>
                        <a:pt x="736245" y="194395"/>
                        <a:pt x="738494" y="192439"/>
                      </a:cubicBezTo>
                      <a:cubicBezTo>
                        <a:pt x="743015" y="188516"/>
                        <a:pt x="750510" y="192978"/>
                        <a:pt x="753414" y="185401"/>
                      </a:cubicBezTo>
                      <a:cubicBezTo>
                        <a:pt x="752150" y="190003"/>
                        <a:pt x="746411" y="193529"/>
                        <a:pt x="747652" y="198120"/>
                      </a:cubicBezTo>
                      <a:cubicBezTo>
                        <a:pt x="748472" y="201141"/>
                        <a:pt x="752255" y="199794"/>
                        <a:pt x="752794" y="200965"/>
                      </a:cubicBezTo>
                      <a:cubicBezTo>
                        <a:pt x="754035" y="203671"/>
                        <a:pt x="752466" y="207243"/>
                        <a:pt x="753777" y="210218"/>
                      </a:cubicBezTo>
                      <a:cubicBezTo>
                        <a:pt x="755464" y="214024"/>
                        <a:pt x="760781" y="218217"/>
                        <a:pt x="763041" y="220336"/>
                      </a:cubicBezTo>
                      <a:cubicBezTo>
                        <a:pt x="764470" y="221683"/>
                        <a:pt x="766965" y="221472"/>
                        <a:pt x="768651" y="222948"/>
                      </a:cubicBezTo>
                      <a:cubicBezTo>
                        <a:pt x="770174" y="224260"/>
                        <a:pt x="771427" y="226848"/>
                        <a:pt x="773265" y="228464"/>
                      </a:cubicBezTo>
                      <a:cubicBezTo>
                        <a:pt x="774940" y="229928"/>
                        <a:pt x="777763" y="231029"/>
                        <a:pt x="779074" y="232223"/>
                      </a:cubicBezTo>
                      <a:cubicBezTo>
                        <a:pt x="781276" y="234203"/>
                        <a:pt x="782646" y="237236"/>
                        <a:pt x="784977" y="239391"/>
                      </a:cubicBezTo>
                      <a:cubicBezTo>
                        <a:pt x="787015" y="241277"/>
                        <a:pt x="791770" y="246113"/>
                        <a:pt x="795470" y="247823"/>
                      </a:cubicBezTo>
                      <a:cubicBezTo>
                        <a:pt x="799851" y="249838"/>
                        <a:pt x="809349" y="248444"/>
                        <a:pt x="812956" y="246289"/>
                      </a:cubicBezTo>
                      <a:cubicBezTo>
                        <a:pt x="819057" y="242635"/>
                        <a:pt x="825651" y="237248"/>
                        <a:pt x="834927" y="238032"/>
                      </a:cubicBezTo>
                      <a:cubicBezTo>
                        <a:pt x="838206" y="238302"/>
                        <a:pt x="849812" y="241593"/>
                        <a:pt x="850327" y="244087"/>
                      </a:cubicBezTo>
                      <a:cubicBezTo>
                        <a:pt x="855047" y="238419"/>
                        <a:pt x="857565" y="242822"/>
                        <a:pt x="862378" y="241850"/>
                      </a:cubicBezTo>
                      <a:cubicBezTo>
                        <a:pt x="865634" y="241183"/>
                        <a:pt x="866360" y="240105"/>
                        <a:pt x="869276" y="238723"/>
                      </a:cubicBezTo>
                      <a:cubicBezTo>
                        <a:pt x="871115" y="237857"/>
                        <a:pt x="877802" y="235795"/>
                        <a:pt x="879056" y="234952"/>
                      </a:cubicBezTo>
                      <a:cubicBezTo>
                        <a:pt x="883260" y="232106"/>
                        <a:pt x="883705" y="226368"/>
                        <a:pt x="886047" y="221496"/>
                      </a:cubicBezTo>
                      <a:cubicBezTo>
                        <a:pt x="886188" y="221238"/>
                        <a:pt x="883260" y="221086"/>
                        <a:pt x="884665" y="219259"/>
                      </a:cubicBezTo>
                      <a:cubicBezTo>
                        <a:pt x="886153" y="217338"/>
                        <a:pt x="889877" y="216471"/>
                        <a:pt x="891962" y="215535"/>
                      </a:cubicBezTo>
                      <a:cubicBezTo>
                        <a:pt x="900511" y="211693"/>
                        <a:pt x="910489" y="212958"/>
                        <a:pt x="919203" y="212595"/>
                      </a:cubicBezTo>
                      <a:cubicBezTo>
                        <a:pt x="924684" y="212349"/>
                        <a:pt x="934826" y="213485"/>
                        <a:pt x="926230" y="220242"/>
                      </a:cubicBezTo>
                      <a:cubicBezTo>
                        <a:pt x="934334" y="217092"/>
                        <a:pt x="943211" y="224283"/>
                        <a:pt x="950390" y="226649"/>
                      </a:cubicBezTo>
                      <a:cubicBezTo>
                        <a:pt x="952065" y="227199"/>
                        <a:pt x="953658" y="224951"/>
                        <a:pt x="955227" y="225548"/>
                      </a:cubicBezTo>
                      <a:cubicBezTo>
                        <a:pt x="956586" y="226075"/>
                        <a:pt x="958788" y="229284"/>
                        <a:pt x="959525" y="229307"/>
                      </a:cubicBezTo>
                      <a:cubicBezTo>
                        <a:pt x="965510" y="229413"/>
                        <a:pt x="967969" y="224178"/>
                        <a:pt x="972830" y="221285"/>
                      </a:cubicBezTo>
                      <a:cubicBezTo>
                        <a:pt x="977444" y="218544"/>
                        <a:pt x="980922" y="218158"/>
                        <a:pt x="986415" y="217912"/>
                      </a:cubicBezTo>
                      <a:cubicBezTo>
                        <a:pt x="987949" y="217842"/>
                        <a:pt x="988207" y="220079"/>
                        <a:pt x="989589" y="219985"/>
                      </a:cubicBezTo>
                      <a:cubicBezTo>
                        <a:pt x="991416" y="219844"/>
                        <a:pt x="993313" y="217631"/>
                        <a:pt x="995246" y="217350"/>
                      </a:cubicBezTo>
                      <a:cubicBezTo>
                        <a:pt x="998232" y="216940"/>
                        <a:pt x="999040" y="215582"/>
                        <a:pt x="1001933" y="215921"/>
                      </a:cubicBezTo>
                      <a:cubicBezTo>
                        <a:pt x="1003701" y="216144"/>
                        <a:pt x="1005458" y="219669"/>
                        <a:pt x="1007238" y="219329"/>
                      </a:cubicBezTo>
                      <a:cubicBezTo>
                        <a:pt x="1011279" y="218556"/>
                        <a:pt x="1008269" y="216542"/>
                        <a:pt x="1009920" y="214586"/>
                      </a:cubicBezTo>
                      <a:cubicBezTo>
                        <a:pt x="1014488" y="209234"/>
                        <a:pt x="1013879" y="201363"/>
                        <a:pt x="1017521" y="196960"/>
                      </a:cubicBezTo>
                      <a:cubicBezTo>
                        <a:pt x="1020636" y="193236"/>
                        <a:pt x="1023974" y="196937"/>
                        <a:pt x="1024255" y="190425"/>
                      </a:cubicBezTo>
                      <a:cubicBezTo>
                        <a:pt x="1024466" y="185611"/>
                        <a:pt x="1021632" y="189734"/>
                        <a:pt x="1020706" y="186689"/>
                      </a:cubicBezTo>
                      <a:cubicBezTo>
                        <a:pt x="1019875" y="183925"/>
                        <a:pt x="1019137" y="179487"/>
                        <a:pt x="1021187" y="176863"/>
                      </a:cubicBezTo>
                      <a:cubicBezTo>
                        <a:pt x="1022686" y="174966"/>
                        <a:pt x="1025813" y="176395"/>
                        <a:pt x="1027522" y="175165"/>
                      </a:cubicBezTo>
                      <a:cubicBezTo>
                        <a:pt x="1028975" y="174146"/>
                        <a:pt x="1027452" y="172003"/>
                        <a:pt x="1028612" y="171265"/>
                      </a:cubicBezTo>
                      <a:cubicBezTo>
                        <a:pt x="1032242" y="168934"/>
                        <a:pt x="1044036" y="165702"/>
                        <a:pt x="1042712" y="160971"/>
                      </a:cubicBezTo>
                      <a:cubicBezTo>
                        <a:pt x="1041495" y="156649"/>
                        <a:pt x="1036681" y="159928"/>
                        <a:pt x="1035650" y="158007"/>
                      </a:cubicBezTo>
                      <a:cubicBezTo>
                        <a:pt x="1034807" y="156427"/>
                        <a:pt x="1036927" y="152245"/>
                        <a:pt x="1036997" y="151660"/>
                      </a:cubicBezTo>
                      <a:cubicBezTo>
                        <a:pt x="1037313" y="148509"/>
                        <a:pt x="1036541" y="147420"/>
                        <a:pt x="1038028" y="144328"/>
                      </a:cubicBezTo>
                      <a:cubicBezTo>
                        <a:pt x="1039820" y="140628"/>
                        <a:pt x="1043649" y="139281"/>
                        <a:pt x="1045312" y="135369"/>
                      </a:cubicBezTo>
                      <a:cubicBezTo>
                        <a:pt x="1054822" y="150149"/>
                        <a:pt x="1061217" y="118247"/>
                        <a:pt x="1062037" y="115366"/>
                      </a:cubicBezTo>
                      <a:cubicBezTo>
                        <a:pt x="1062083" y="115190"/>
                        <a:pt x="1063255" y="115225"/>
                        <a:pt x="1063407" y="113035"/>
                      </a:cubicBezTo>
                      <a:cubicBezTo>
                        <a:pt x="1063571" y="110751"/>
                        <a:pt x="1061310" y="107660"/>
                        <a:pt x="1061182" y="105306"/>
                      </a:cubicBezTo>
                      <a:cubicBezTo>
                        <a:pt x="1060935" y="101277"/>
                        <a:pt x="1063044" y="98326"/>
                        <a:pt x="1063430" y="94473"/>
                      </a:cubicBezTo>
                      <a:cubicBezTo>
                        <a:pt x="1063653" y="92212"/>
                        <a:pt x="1060455" y="91568"/>
                        <a:pt x="1060772" y="90069"/>
                      </a:cubicBezTo>
                      <a:cubicBezTo>
                        <a:pt x="1061193" y="88078"/>
                        <a:pt x="1065726" y="77748"/>
                        <a:pt x="1067178" y="75886"/>
                      </a:cubicBezTo>
                      <a:cubicBezTo>
                        <a:pt x="1067962" y="74879"/>
                        <a:pt x="1071757" y="73310"/>
                        <a:pt x="1071675" y="73415"/>
                      </a:cubicBezTo>
                      <a:cubicBezTo>
                        <a:pt x="1071734" y="73345"/>
                        <a:pt x="1075411" y="68707"/>
                        <a:pt x="1075528" y="68637"/>
                      </a:cubicBezTo>
                      <a:cubicBezTo>
                        <a:pt x="1078819" y="66529"/>
                        <a:pt x="1074650" y="66494"/>
                        <a:pt x="1078269" y="66552"/>
                      </a:cubicBezTo>
                      <a:cubicBezTo>
                        <a:pt x="1080435" y="66587"/>
                        <a:pt x="1083035" y="69176"/>
                        <a:pt x="1084206" y="69375"/>
                      </a:cubicBezTo>
                      <a:cubicBezTo>
                        <a:pt x="1087661" y="69972"/>
                        <a:pt x="1089910" y="67079"/>
                        <a:pt x="1093716" y="66002"/>
                      </a:cubicBezTo>
                      <a:cubicBezTo>
                        <a:pt x="1093716" y="66002"/>
                        <a:pt x="1101013" y="65276"/>
                        <a:pt x="1101048" y="65287"/>
                      </a:cubicBezTo>
                      <a:cubicBezTo>
                        <a:pt x="1102582" y="65732"/>
                        <a:pt x="1104561" y="69843"/>
                        <a:pt x="1105229" y="69913"/>
                      </a:cubicBezTo>
                      <a:cubicBezTo>
                        <a:pt x="1110276" y="70464"/>
                        <a:pt x="1112068" y="61270"/>
                        <a:pt x="1115019" y="67969"/>
                      </a:cubicBezTo>
                      <a:lnTo>
                        <a:pt x="1115019" y="67969"/>
                      </a:lnTo>
                      <a:close/>
                      <a:moveTo>
                        <a:pt x="15752" y="1389"/>
                      </a:moveTo>
                      <a:cubicBezTo>
                        <a:pt x="28213" y="-5579"/>
                        <a:pt x="41681" y="15771"/>
                        <a:pt x="52561" y="18898"/>
                      </a:cubicBezTo>
                      <a:cubicBezTo>
                        <a:pt x="65877" y="22716"/>
                        <a:pt x="75211" y="19308"/>
                        <a:pt x="88340" y="19331"/>
                      </a:cubicBezTo>
                      <a:cubicBezTo>
                        <a:pt x="95344" y="19343"/>
                        <a:pt x="98377" y="23548"/>
                        <a:pt x="104034" y="24859"/>
                      </a:cubicBezTo>
                      <a:cubicBezTo>
                        <a:pt x="108917" y="25984"/>
                        <a:pt x="111986" y="21639"/>
                        <a:pt x="116682" y="21194"/>
                      </a:cubicBezTo>
                      <a:cubicBezTo>
                        <a:pt x="123030" y="20573"/>
                        <a:pt x="121519" y="21428"/>
                        <a:pt x="126649" y="26920"/>
                      </a:cubicBezTo>
                      <a:cubicBezTo>
                        <a:pt x="134085" y="34896"/>
                        <a:pt x="150517" y="43024"/>
                        <a:pt x="145879" y="56761"/>
                      </a:cubicBezTo>
                      <a:cubicBezTo>
                        <a:pt x="148982" y="56539"/>
                        <a:pt x="154264" y="57476"/>
                        <a:pt x="156677" y="59397"/>
                      </a:cubicBezTo>
                      <a:cubicBezTo>
                        <a:pt x="160565" y="62500"/>
                        <a:pt x="161186" y="64948"/>
                        <a:pt x="160003" y="70148"/>
                      </a:cubicBezTo>
                      <a:cubicBezTo>
                        <a:pt x="158996" y="74540"/>
                        <a:pt x="155154" y="75839"/>
                        <a:pt x="155365" y="79657"/>
                      </a:cubicBezTo>
                      <a:cubicBezTo>
                        <a:pt x="156618" y="78018"/>
                        <a:pt x="158434" y="77514"/>
                        <a:pt x="159745" y="76039"/>
                      </a:cubicBezTo>
                      <a:cubicBezTo>
                        <a:pt x="160155" y="80231"/>
                        <a:pt x="173846" y="85349"/>
                        <a:pt x="177465" y="88465"/>
                      </a:cubicBezTo>
                      <a:cubicBezTo>
                        <a:pt x="181599" y="92013"/>
                        <a:pt x="183543" y="97178"/>
                        <a:pt x="188930" y="100246"/>
                      </a:cubicBezTo>
                      <a:cubicBezTo>
                        <a:pt x="192983" y="102554"/>
                        <a:pt x="197620" y="103385"/>
                        <a:pt x="201766" y="105575"/>
                      </a:cubicBezTo>
                      <a:cubicBezTo>
                        <a:pt x="210925" y="110412"/>
                        <a:pt x="218116" y="117743"/>
                        <a:pt x="225716" y="123365"/>
                      </a:cubicBezTo>
                      <a:cubicBezTo>
                        <a:pt x="230143" y="126632"/>
                        <a:pt x="234828" y="126808"/>
                        <a:pt x="238564" y="130462"/>
                      </a:cubicBezTo>
                      <a:cubicBezTo>
                        <a:pt x="241773" y="133613"/>
                        <a:pt x="244619" y="135861"/>
                        <a:pt x="246739" y="138836"/>
                      </a:cubicBezTo>
                      <a:cubicBezTo>
                        <a:pt x="251482" y="145476"/>
                        <a:pt x="247992" y="151707"/>
                        <a:pt x="250779" y="158289"/>
                      </a:cubicBezTo>
                      <a:cubicBezTo>
                        <a:pt x="251611" y="156087"/>
                        <a:pt x="251294" y="155337"/>
                        <a:pt x="249011" y="153042"/>
                      </a:cubicBezTo>
                      <a:cubicBezTo>
                        <a:pt x="255124" y="148240"/>
                        <a:pt x="254011" y="158769"/>
                        <a:pt x="256939" y="162072"/>
                      </a:cubicBezTo>
                      <a:cubicBezTo>
                        <a:pt x="255054" y="141646"/>
                        <a:pt x="266601" y="162891"/>
                        <a:pt x="269705" y="169473"/>
                      </a:cubicBezTo>
                      <a:cubicBezTo>
                        <a:pt x="275045" y="180833"/>
                        <a:pt x="283887" y="180002"/>
                        <a:pt x="291851" y="187310"/>
                      </a:cubicBezTo>
                      <a:cubicBezTo>
                        <a:pt x="295470" y="190624"/>
                        <a:pt x="296196" y="196374"/>
                        <a:pt x="299792" y="198834"/>
                      </a:cubicBezTo>
                      <a:cubicBezTo>
                        <a:pt x="299675" y="192205"/>
                        <a:pt x="292940" y="187345"/>
                        <a:pt x="292285" y="181290"/>
                      </a:cubicBezTo>
                      <a:cubicBezTo>
                        <a:pt x="291840" y="177144"/>
                        <a:pt x="293257" y="175633"/>
                        <a:pt x="296864" y="174134"/>
                      </a:cubicBezTo>
                      <a:cubicBezTo>
                        <a:pt x="302591" y="171733"/>
                        <a:pt x="303856" y="176418"/>
                        <a:pt x="305800" y="177741"/>
                      </a:cubicBezTo>
                      <a:cubicBezTo>
                        <a:pt x="313822" y="183188"/>
                        <a:pt x="316902" y="185986"/>
                        <a:pt x="319572" y="194091"/>
                      </a:cubicBezTo>
                      <a:cubicBezTo>
                        <a:pt x="322863" y="204116"/>
                        <a:pt x="325803" y="205896"/>
                        <a:pt x="335547" y="207348"/>
                      </a:cubicBezTo>
                      <a:cubicBezTo>
                        <a:pt x="344085" y="208625"/>
                        <a:pt x="356066" y="214984"/>
                        <a:pt x="361511" y="222491"/>
                      </a:cubicBezTo>
                      <a:cubicBezTo>
                        <a:pt x="365166" y="227539"/>
                        <a:pt x="362917" y="234952"/>
                        <a:pt x="365599" y="240679"/>
                      </a:cubicBezTo>
                      <a:cubicBezTo>
                        <a:pt x="368819" y="247566"/>
                        <a:pt x="378786" y="254522"/>
                        <a:pt x="386012" y="255623"/>
                      </a:cubicBezTo>
                      <a:cubicBezTo>
                        <a:pt x="394632" y="256946"/>
                        <a:pt x="405406" y="253937"/>
                        <a:pt x="409833" y="264969"/>
                      </a:cubicBezTo>
                      <a:cubicBezTo>
                        <a:pt x="413382" y="273788"/>
                        <a:pt x="400054" y="276622"/>
                        <a:pt x="392945" y="280170"/>
                      </a:cubicBezTo>
                      <a:cubicBezTo>
                        <a:pt x="392137" y="280569"/>
                        <a:pt x="384724" y="284492"/>
                        <a:pt x="384372" y="284480"/>
                      </a:cubicBezTo>
                      <a:cubicBezTo>
                        <a:pt x="381866" y="284434"/>
                        <a:pt x="380285" y="281318"/>
                        <a:pt x="377170" y="281236"/>
                      </a:cubicBezTo>
                      <a:cubicBezTo>
                        <a:pt x="378833" y="281705"/>
                        <a:pt x="380472" y="283790"/>
                        <a:pt x="381737" y="284047"/>
                      </a:cubicBezTo>
                      <a:cubicBezTo>
                        <a:pt x="385614" y="284890"/>
                        <a:pt x="384841" y="283848"/>
                        <a:pt x="388038" y="283368"/>
                      </a:cubicBezTo>
                      <a:cubicBezTo>
                        <a:pt x="395393" y="282255"/>
                        <a:pt x="402010" y="279550"/>
                        <a:pt x="408592" y="275884"/>
                      </a:cubicBezTo>
                      <a:cubicBezTo>
                        <a:pt x="417059" y="271188"/>
                        <a:pt x="434955" y="257134"/>
                        <a:pt x="438515" y="277863"/>
                      </a:cubicBezTo>
                      <a:cubicBezTo>
                        <a:pt x="444125" y="270743"/>
                        <a:pt x="450870" y="290699"/>
                        <a:pt x="449278" y="293358"/>
                      </a:cubicBezTo>
                      <a:cubicBezTo>
                        <a:pt x="447298" y="296649"/>
                        <a:pt x="438491" y="296262"/>
                        <a:pt x="436348" y="295337"/>
                      </a:cubicBezTo>
                      <a:cubicBezTo>
                        <a:pt x="440553" y="300900"/>
                        <a:pt x="425316" y="304976"/>
                        <a:pt x="420994" y="307505"/>
                      </a:cubicBezTo>
                      <a:cubicBezTo>
                        <a:pt x="422575" y="307751"/>
                        <a:pt x="432226" y="304917"/>
                        <a:pt x="432425" y="305104"/>
                      </a:cubicBezTo>
                      <a:cubicBezTo>
                        <a:pt x="435458" y="308056"/>
                        <a:pt x="427166" y="312822"/>
                        <a:pt x="424906" y="312846"/>
                      </a:cubicBezTo>
                      <a:cubicBezTo>
                        <a:pt x="427635" y="314462"/>
                        <a:pt x="434439" y="312202"/>
                        <a:pt x="436700" y="315574"/>
                      </a:cubicBezTo>
                      <a:cubicBezTo>
                        <a:pt x="439756" y="320119"/>
                        <a:pt x="427775" y="323983"/>
                        <a:pt x="426347" y="317507"/>
                      </a:cubicBezTo>
                      <a:cubicBezTo>
                        <a:pt x="427881" y="322766"/>
                        <a:pt x="429391" y="327918"/>
                        <a:pt x="424906" y="330366"/>
                      </a:cubicBezTo>
                      <a:cubicBezTo>
                        <a:pt x="428115" y="331982"/>
                        <a:pt x="432167" y="333048"/>
                        <a:pt x="429918" y="336468"/>
                      </a:cubicBezTo>
                      <a:cubicBezTo>
                        <a:pt x="433479" y="335297"/>
                        <a:pt x="448716" y="346692"/>
                        <a:pt x="450133" y="350077"/>
                      </a:cubicBezTo>
                      <a:cubicBezTo>
                        <a:pt x="451796" y="342616"/>
                        <a:pt x="459912" y="346481"/>
                        <a:pt x="464714" y="347734"/>
                      </a:cubicBezTo>
                      <a:cubicBezTo>
                        <a:pt x="468285" y="348660"/>
                        <a:pt x="471518" y="347769"/>
                        <a:pt x="474258" y="348449"/>
                      </a:cubicBezTo>
                      <a:cubicBezTo>
                        <a:pt x="481426" y="350217"/>
                        <a:pt x="478088" y="349327"/>
                        <a:pt x="479833" y="356752"/>
                      </a:cubicBezTo>
                      <a:cubicBezTo>
                        <a:pt x="481566" y="364165"/>
                        <a:pt x="482691" y="371684"/>
                        <a:pt x="484564" y="379308"/>
                      </a:cubicBezTo>
                      <a:cubicBezTo>
                        <a:pt x="485501" y="383091"/>
                        <a:pt x="486192" y="384696"/>
                        <a:pt x="486274" y="388127"/>
                      </a:cubicBezTo>
                      <a:cubicBezTo>
                        <a:pt x="486345" y="391149"/>
                        <a:pt x="483546" y="391547"/>
                        <a:pt x="484998" y="395096"/>
                      </a:cubicBezTo>
                      <a:cubicBezTo>
                        <a:pt x="486895" y="387050"/>
                        <a:pt x="494964" y="394182"/>
                        <a:pt x="489788" y="399429"/>
                      </a:cubicBezTo>
                      <a:cubicBezTo>
                        <a:pt x="490608" y="398656"/>
                        <a:pt x="492154" y="397918"/>
                        <a:pt x="493208" y="396864"/>
                      </a:cubicBezTo>
                      <a:cubicBezTo>
                        <a:pt x="493910" y="405027"/>
                        <a:pt x="499040" y="395060"/>
                        <a:pt x="503725" y="400940"/>
                      </a:cubicBezTo>
                      <a:cubicBezTo>
                        <a:pt x="511103" y="410192"/>
                        <a:pt x="494543" y="415333"/>
                        <a:pt x="490678" y="419409"/>
                      </a:cubicBezTo>
                      <a:cubicBezTo>
                        <a:pt x="498981" y="412944"/>
                        <a:pt x="497201" y="425932"/>
                        <a:pt x="494578" y="429270"/>
                      </a:cubicBezTo>
                      <a:cubicBezTo>
                        <a:pt x="491720" y="432924"/>
                        <a:pt x="486614" y="432338"/>
                        <a:pt x="486766" y="438756"/>
                      </a:cubicBezTo>
                      <a:cubicBezTo>
                        <a:pt x="488511" y="436180"/>
                        <a:pt x="490104" y="434189"/>
                        <a:pt x="492118" y="431952"/>
                      </a:cubicBezTo>
                      <a:cubicBezTo>
                        <a:pt x="496264" y="427349"/>
                        <a:pt x="496674" y="427993"/>
                        <a:pt x="499204" y="422009"/>
                      </a:cubicBezTo>
                      <a:cubicBezTo>
                        <a:pt x="500996" y="417769"/>
                        <a:pt x="506114" y="408834"/>
                        <a:pt x="507507" y="417980"/>
                      </a:cubicBezTo>
                      <a:cubicBezTo>
                        <a:pt x="508983" y="414396"/>
                        <a:pt x="534877" y="417441"/>
                        <a:pt x="540019" y="419760"/>
                      </a:cubicBezTo>
                      <a:cubicBezTo>
                        <a:pt x="539960" y="419819"/>
                        <a:pt x="539328" y="419807"/>
                        <a:pt x="539292" y="419760"/>
                      </a:cubicBezTo>
                      <a:cubicBezTo>
                        <a:pt x="547092" y="416294"/>
                        <a:pt x="541787" y="424913"/>
                        <a:pt x="543310" y="428919"/>
                      </a:cubicBezTo>
                      <a:cubicBezTo>
                        <a:pt x="545300" y="434165"/>
                        <a:pt x="550418" y="433193"/>
                        <a:pt x="552644" y="437339"/>
                      </a:cubicBezTo>
                      <a:cubicBezTo>
                        <a:pt x="555981" y="443546"/>
                        <a:pt x="551344" y="444026"/>
                        <a:pt x="558195" y="448243"/>
                      </a:cubicBezTo>
                      <a:cubicBezTo>
                        <a:pt x="561006" y="449953"/>
                        <a:pt x="562856" y="447329"/>
                        <a:pt x="565550" y="450878"/>
                      </a:cubicBezTo>
                      <a:cubicBezTo>
                        <a:pt x="571651" y="458923"/>
                        <a:pt x="564964" y="463737"/>
                        <a:pt x="560982" y="468269"/>
                      </a:cubicBezTo>
                      <a:cubicBezTo>
                        <a:pt x="557726" y="471970"/>
                        <a:pt x="555044" y="477732"/>
                        <a:pt x="554799" y="482733"/>
                      </a:cubicBezTo>
                      <a:cubicBezTo>
                        <a:pt x="554412" y="490147"/>
                        <a:pt x="559202" y="487757"/>
                        <a:pt x="560666" y="493754"/>
                      </a:cubicBezTo>
                      <a:cubicBezTo>
                        <a:pt x="562364" y="500652"/>
                        <a:pt x="552363" y="509412"/>
                        <a:pt x="553873" y="518161"/>
                      </a:cubicBezTo>
                      <a:cubicBezTo>
                        <a:pt x="554845" y="523794"/>
                        <a:pt x="558078" y="525738"/>
                        <a:pt x="558535" y="530973"/>
                      </a:cubicBezTo>
                      <a:cubicBezTo>
                        <a:pt x="558769" y="533538"/>
                        <a:pt x="557469" y="537180"/>
                        <a:pt x="557235" y="539241"/>
                      </a:cubicBezTo>
                      <a:cubicBezTo>
                        <a:pt x="556614" y="544488"/>
                        <a:pt x="558757" y="547557"/>
                        <a:pt x="558663" y="552124"/>
                      </a:cubicBezTo>
                      <a:cubicBezTo>
                        <a:pt x="558488" y="560697"/>
                        <a:pt x="555396" y="570605"/>
                        <a:pt x="555009" y="579634"/>
                      </a:cubicBezTo>
                      <a:cubicBezTo>
                        <a:pt x="554717" y="586322"/>
                        <a:pt x="554775" y="597038"/>
                        <a:pt x="549282" y="602027"/>
                      </a:cubicBezTo>
                      <a:cubicBezTo>
                        <a:pt x="548720" y="596323"/>
                        <a:pt x="545148" y="600528"/>
                        <a:pt x="542630" y="597471"/>
                      </a:cubicBezTo>
                      <a:cubicBezTo>
                        <a:pt x="540733" y="595164"/>
                        <a:pt x="541787" y="592025"/>
                        <a:pt x="539656" y="589507"/>
                      </a:cubicBezTo>
                      <a:cubicBezTo>
                        <a:pt x="536856" y="591147"/>
                        <a:pt x="535229" y="588477"/>
                        <a:pt x="532652" y="586064"/>
                      </a:cubicBezTo>
                      <a:cubicBezTo>
                        <a:pt x="531235" y="584729"/>
                        <a:pt x="528740" y="579845"/>
                        <a:pt x="527417" y="579482"/>
                      </a:cubicBezTo>
                      <a:cubicBezTo>
                        <a:pt x="523505" y="578428"/>
                        <a:pt x="526094" y="580243"/>
                        <a:pt x="524337" y="581157"/>
                      </a:cubicBezTo>
                      <a:cubicBezTo>
                        <a:pt x="521819" y="582457"/>
                        <a:pt x="520249" y="588371"/>
                        <a:pt x="522498" y="591639"/>
                      </a:cubicBezTo>
                      <a:cubicBezTo>
                        <a:pt x="521526" y="592072"/>
                        <a:pt x="520331" y="592892"/>
                        <a:pt x="519301" y="593149"/>
                      </a:cubicBezTo>
                      <a:cubicBezTo>
                        <a:pt x="520261" y="593665"/>
                        <a:pt x="520847" y="594403"/>
                        <a:pt x="522463" y="594848"/>
                      </a:cubicBezTo>
                      <a:cubicBezTo>
                        <a:pt x="514113" y="601652"/>
                        <a:pt x="498747" y="582105"/>
                        <a:pt x="490678" y="580185"/>
                      </a:cubicBezTo>
                      <a:cubicBezTo>
                        <a:pt x="483065" y="582304"/>
                        <a:pt x="490924" y="589542"/>
                        <a:pt x="493723" y="595374"/>
                      </a:cubicBezTo>
                      <a:cubicBezTo>
                        <a:pt x="495878" y="599884"/>
                        <a:pt x="498068" y="608854"/>
                        <a:pt x="488347" y="603690"/>
                      </a:cubicBezTo>
                      <a:cubicBezTo>
                        <a:pt x="487504" y="603245"/>
                        <a:pt x="483838" y="595515"/>
                        <a:pt x="481602" y="593676"/>
                      </a:cubicBezTo>
                      <a:cubicBezTo>
                        <a:pt x="475980" y="589039"/>
                        <a:pt x="475043" y="587223"/>
                        <a:pt x="470546" y="582515"/>
                      </a:cubicBezTo>
                      <a:cubicBezTo>
                        <a:pt x="467313" y="579119"/>
                        <a:pt x="463156" y="577140"/>
                        <a:pt x="459912" y="572654"/>
                      </a:cubicBezTo>
                      <a:cubicBezTo>
                        <a:pt x="458225" y="570335"/>
                        <a:pt x="459619" y="569843"/>
                        <a:pt x="458202" y="567653"/>
                      </a:cubicBezTo>
                      <a:cubicBezTo>
                        <a:pt x="457136" y="565990"/>
                        <a:pt x="454759" y="567220"/>
                        <a:pt x="453564" y="565662"/>
                      </a:cubicBezTo>
                      <a:cubicBezTo>
                        <a:pt x="453178" y="565159"/>
                        <a:pt x="455157" y="562606"/>
                        <a:pt x="453857" y="561072"/>
                      </a:cubicBezTo>
                      <a:cubicBezTo>
                        <a:pt x="452252" y="559198"/>
                        <a:pt x="449196" y="557898"/>
                        <a:pt x="447287" y="556504"/>
                      </a:cubicBezTo>
                      <a:cubicBezTo>
                        <a:pt x="445085" y="554900"/>
                        <a:pt x="444605" y="551644"/>
                        <a:pt x="441009" y="554033"/>
                      </a:cubicBezTo>
                      <a:cubicBezTo>
                        <a:pt x="438234" y="548236"/>
                        <a:pt x="432717" y="550449"/>
                        <a:pt x="428771" y="548329"/>
                      </a:cubicBezTo>
                      <a:cubicBezTo>
                        <a:pt x="422704" y="545074"/>
                        <a:pt x="418371" y="536021"/>
                        <a:pt x="409985" y="531523"/>
                      </a:cubicBezTo>
                      <a:cubicBezTo>
                        <a:pt x="399726" y="526042"/>
                        <a:pt x="391282" y="517387"/>
                        <a:pt x="381363" y="510091"/>
                      </a:cubicBezTo>
                      <a:cubicBezTo>
                        <a:pt x="371115" y="502549"/>
                        <a:pt x="371361" y="500921"/>
                        <a:pt x="368410" y="490966"/>
                      </a:cubicBezTo>
                      <a:cubicBezTo>
                        <a:pt x="365470" y="481105"/>
                        <a:pt x="355012" y="477311"/>
                        <a:pt x="346380" y="471244"/>
                      </a:cubicBezTo>
                      <a:cubicBezTo>
                        <a:pt x="333579" y="462249"/>
                        <a:pt x="330054" y="453642"/>
                        <a:pt x="321739" y="440829"/>
                      </a:cubicBezTo>
                      <a:cubicBezTo>
                        <a:pt x="314712" y="430020"/>
                        <a:pt x="303293" y="425686"/>
                        <a:pt x="297040" y="412769"/>
                      </a:cubicBezTo>
                      <a:cubicBezTo>
                        <a:pt x="292788" y="403961"/>
                        <a:pt x="296723" y="408014"/>
                        <a:pt x="296723" y="400354"/>
                      </a:cubicBezTo>
                      <a:cubicBezTo>
                        <a:pt x="296712" y="394499"/>
                        <a:pt x="294076" y="393152"/>
                        <a:pt x="291301" y="388783"/>
                      </a:cubicBezTo>
                      <a:cubicBezTo>
                        <a:pt x="285445" y="379578"/>
                        <a:pt x="281932" y="360195"/>
                        <a:pt x="271602" y="360031"/>
                      </a:cubicBezTo>
                      <a:cubicBezTo>
                        <a:pt x="274916" y="356284"/>
                        <a:pt x="269166" y="354375"/>
                        <a:pt x="269787" y="350065"/>
                      </a:cubicBezTo>
                      <a:cubicBezTo>
                        <a:pt x="270091" y="350030"/>
                        <a:pt x="271871" y="350100"/>
                        <a:pt x="271965" y="350065"/>
                      </a:cubicBezTo>
                      <a:cubicBezTo>
                        <a:pt x="266754" y="341258"/>
                        <a:pt x="260827" y="328750"/>
                        <a:pt x="252255" y="319521"/>
                      </a:cubicBezTo>
                      <a:cubicBezTo>
                        <a:pt x="245415" y="312155"/>
                        <a:pt x="241293" y="310140"/>
                        <a:pt x="237697" y="300970"/>
                      </a:cubicBezTo>
                      <a:cubicBezTo>
                        <a:pt x="235659" y="295829"/>
                        <a:pt x="236315" y="292831"/>
                        <a:pt x="229628" y="288650"/>
                      </a:cubicBezTo>
                      <a:cubicBezTo>
                        <a:pt x="227192" y="287127"/>
                        <a:pt x="219369" y="283333"/>
                        <a:pt x="217167" y="282794"/>
                      </a:cubicBezTo>
                      <a:cubicBezTo>
                        <a:pt x="213993" y="282021"/>
                        <a:pt x="211159" y="283016"/>
                        <a:pt x="207962" y="281307"/>
                      </a:cubicBezTo>
                      <a:cubicBezTo>
                        <a:pt x="204788" y="279620"/>
                        <a:pt x="206954" y="278800"/>
                        <a:pt x="204050" y="276036"/>
                      </a:cubicBezTo>
                      <a:cubicBezTo>
                        <a:pt x="206041" y="271890"/>
                        <a:pt x="204835" y="261573"/>
                        <a:pt x="200818" y="261736"/>
                      </a:cubicBezTo>
                      <a:cubicBezTo>
                        <a:pt x="199424" y="246067"/>
                        <a:pt x="191601" y="225314"/>
                        <a:pt x="183215" y="212197"/>
                      </a:cubicBezTo>
                      <a:cubicBezTo>
                        <a:pt x="183836" y="212665"/>
                        <a:pt x="184644" y="213321"/>
                        <a:pt x="185417" y="213965"/>
                      </a:cubicBezTo>
                      <a:cubicBezTo>
                        <a:pt x="190535" y="209105"/>
                        <a:pt x="188696" y="203472"/>
                        <a:pt x="183414" y="200965"/>
                      </a:cubicBezTo>
                      <a:cubicBezTo>
                        <a:pt x="184140" y="204116"/>
                        <a:pt x="183543" y="203952"/>
                        <a:pt x="180439" y="202043"/>
                      </a:cubicBezTo>
                      <a:cubicBezTo>
                        <a:pt x="177547" y="200263"/>
                        <a:pt x="176329" y="194934"/>
                        <a:pt x="173389" y="192685"/>
                      </a:cubicBezTo>
                      <a:cubicBezTo>
                        <a:pt x="170719" y="190636"/>
                        <a:pt x="168459" y="190706"/>
                        <a:pt x="165788" y="189594"/>
                      </a:cubicBezTo>
                      <a:cubicBezTo>
                        <a:pt x="159488" y="186947"/>
                        <a:pt x="152203" y="177519"/>
                        <a:pt x="143829" y="175575"/>
                      </a:cubicBezTo>
                      <a:cubicBezTo>
                        <a:pt x="140492" y="174813"/>
                        <a:pt x="138266" y="176641"/>
                        <a:pt x="134964" y="175223"/>
                      </a:cubicBezTo>
                      <a:cubicBezTo>
                        <a:pt x="128581" y="172495"/>
                        <a:pt x="128874" y="167857"/>
                        <a:pt x="128300" y="161064"/>
                      </a:cubicBezTo>
                      <a:cubicBezTo>
                        <a:pt x="127632" y="153253"/>
                        <a:pt x="127304" y="147538"/>
                        <a:pt x="121870" y="143403"/>
                      </a:cubicBezTo>
                      <a:cubicBezTo>
                        <a:pt x="117326" y="139948"/>
                        <a:pt x="114129" y="141248"/>
                        <a:pt x="110791" y="135112"/>
                      </a:cubicBezTo>
                      <a:cubicBezTo>
                        <a:pt x="109596" y="132910"/>
                        <a:pt x="109971" y="129607"/>
                        <a:pt x="108625" y="127745"/>
                      </a:cubicBezTo>
                      <a:cubicBezTo>
                        <a:pt x="107360" y="125965"/>
                        <a:pt x="104970" y="125930"/>
                        <a:pt x="104104" y="124840"/>
                      </a:cubicBezTo>
                      <a:cubicBezTo>
                        <a:pt x="100462" y="120250"/>
                        <a:pt x="97686" y="113984"/>
                        <a:pt x="93938" y="109042"/>
                      </a:cubicBezTo>
                      <a:cubicBezTo>
                        <a:pt x="92088" y="106617"/>
                        <a:pt x="88200" y="101956"/>
                        <a:pt x="85518" y="100328"/>
                      </a:cubicBezTo>
                      <a:cubicBezTo>
                        <a:pt x="80212" y="97143"/>
                        <a:pt x="74251" y="100375"/>
                        <a:pt x="68899" y="98115"/>
                      </a:cubicBezTo>
                      <a:cubicBezTo>
                        <a:pt x="60607" y="94601"/>
                        <a:pt x="53416" y="81192"/>
                        <a:pt x="46448" y="76120"/>
                      </a:cubicBezTo>
                      <a:cubicBezTo>
                        <a:pt x="37606" y="69691"/>
                        <a:pt x="26550" y="59408"/>
                        <a:pt x="19125" y="52018"/>
                      </a:cubicBezTo>
                      <a:cubicBezTo>
                        <a:pt x="16677" y="49582"/>
                        <a:pt x="12332" y="41653"/>
                        <a:pt x="9943" y="36770"/>
                      </a:cubicBezTo>
                      <a:cubicBezTo>
                        <a:pt x="6348" y="29415"/>
                        <a:pt x="5950" y="22376"/>
                        <a:pt x="0" y="17727"/>
                      </a:cubicBezTo>
                      <a:cubicBezTo>
                        <a:pt x="5270" y="11777"/>
                        <a:pt x="-1792" y="6788"/>
                        <a:pt x="1288" y="2701"/>
                      </a:cubicBezTo>
                      <a:cubicBezTo>
                        <a:pt x="2799" y="569"/>
                        <a:pt x="13820" y="-1070"/>
                        <a:pt x="15752" y="1389"/>
                      </a:cubicBezTo>
                      <a:lnTo>
                        <a:pt x="15752" y="1389"/>
                      </a:lnTo>
                      <a:close/>
                    </a:path>
                  </a:pathLst>
                </a:custGeom>
                <a:solidFill>
                  <a:srgbClr val="D6D6D2"/>
                </a:solidFill>
                <a:ln w="8774" cap="rnd">
                  <a:solidFill>
                    <a:srgbClr val="FFFFFF"/>
                  </a:solidFill>
                  <a:prstDash val="solid"/>
                  <a:round/>
                </a:ln>
              </p:spPr>
              <p:txBody>
                <a:bodyPr rtlCol="0" anchor="ctr"/>
                <a:lstStyle/>
                <a:p>
                  <a:endParaRPr lang="en-US"/>
                </a:p>
              </p:txBody>
            </p:sp>
            <p:sp>
              <p:nvSpPr>
                <p:cNvPr id="130" name="Freeform: Shape 129">
                  <a:extLst>
                    <a:ext uri="{FF2B5EF4-FFF2-40B4-BE49-F238E27FC236}">
                      <a16:creationId xmlns:a16="http://schemas.microsoft.com/office/drawing/2014/main" id="{EB8AFDC0-D6D4-481D-A6BB-B7BFE446762B}"/>
                    </a:ext>
                  </a:extLst>
                </p:cNvPr>
                <p:cNvSpPr/>
                <p:nvPr/>
              </p:nvSpPr>
              <p:spPr>
                <a:xfrm>
                  <a:off x="958551" y="2982957"/>
                  <a:ext cx="3189556" cy="2139523"/>
                </a:xfrm>
                <a:custGeom>
                  <a:avLst/>
                  <a:gdLst>
                    <a:gd name="connsiteX0" fmla="*/ 1934208 w 3189556"/>
                    <a:gd name="connsiteY0" fmla="*/ 2032234 h 2139523"/>
                    <a:gd name="connsiteX1" fmla="*/ 1946669 w 3189556"/>
                    <a:gd name="connsiteY1" fmla="*/ 2040139 h 2139523"/>
                    <a:gd name="connsiteX2" fmla="*/ 1952431 w 3189556"/>
                    <a:gd name="connsiteY2" fmla="*/ 2059955 h 2139523"/>
                    <a:gd name="connsiteX3" fmla="*/ 1944186 w 3189556"/>
                    <a:gd name="connsiteY3" fmla="*/ 2065506 h 2139523"/>
                    <a:gd name="connsiteX4" fmla="*/ 1943460 w 3189556"/>
                    <a:gd name="connsiteY4" fmla="*/ 2061770 h 2139523"/>
                    <a:gd name="connsiteX5" fmla="*/ 1940216 w 3189556"/>
                    <a:gd name="connsiteY5" fmla="*/ 2067907 h 2139523"/>
                    <a:gd name="connsiteX6" fmla="*/ 1934231 w 3189556"/>
                    <a:gd name="connsiteY6" fmla="*/ 2073447 h 2139523"/>
                    <a:gd name="connsiteX7" fmla="*/ 1923445 w 3189556"/>
                    <a:gd name="connsiteY7" fmla="*/ 2085556 h 2139523"/>
                    <a:gd name="connsiteX8" fmla="*/ 1927403 w 3189556"/>
                    <a:gd name="connsiteY8" fmla="*/ 2089983 h 2139523"/>
                    <a:gd name="connsiteX9" fmla="*/ 1928832 w 3189556"/>
                    <a:gd name="connsiteY9" fmla="*/ 2086599 h 2139523"/>
                    <a:gd name="connsiteX10" fmla="*/ 1924171 w 3189556"/>
                    <a:gd name="connsiteY10" fmla="*/ 2105888 h 2139523"/>
                    <a:gd name="connsiteX11" fmla="*/ 1924710 w 3189556"/>
                    <a:gd name="connsiteY11" fmla="*/ 2101086 h 2139523"/>
                    <a:gd name="connsiteX12" fmla="*/ 1926349 w 3189556"/>
                    <a:gd name="connsiteY12" fmla="*/ 2106286 h 2139523"/>
                    <a:gd name="connsiteX13" fmla="*/ 1915949 w 3189556"/>
                    <a:gd name="connsiteY13" fmla="*/ 2112364 h 2139523"/>
                    <a:gd name="connsiteX14" fmla="*/ 1919896 w 3189556"/>
                    <a:gd name="connsiteY14" fmla="*/ 2111451 h 2139523"/>
                    <a:gd name="connsiteX15" fmla="*/ 1900244 w 3189556"/>
                    <a:gd name="connsiteY15" fmla="*/ 2121066 h 2139523"/>
                    <a:gd name="connsiteX16" fmla="*/ 1902013 w 3189556"/>
                    <a:gd name="connsiteY16" fmla="*/ 2126629 h 2139523"/>
                    <a:gd name="connsiteX17" fmla="*/ 1900795 w 3189556"/>
                    <a:gd name="connsiteY17" fmla="*/ 2124942 h 2139523"/>
                    <a:gd name="connsiteX18" fmla="*/ 1896825 w 3189556"/>
                    <a:gd name="connsiteY18" fmla="*/ 2126804 h 2139523"/>
                    <a:gd name="connsiteX19" fmla="*/ 1899518 w 3189556"/>
                    <a:gd name="connsiteY19" fmla="*/ 2124380 h 2139523"/>
                    <a:gd name="connsiteX20" fmla="*/ 1898066 w 3189556"/>
                    <a:gd name="connsiteY20" fmla="*/ 2124778 h 2139523"/>
                    <a:gd name="connsiteX21" fmla="*/ 1884469 w 3189556"/>
                    <a:gd name="connsiteY21" fmla="*/ 2133948 h 2139523"/>
                    <a:gd name="connsiteX22" fmla="*/ 1881272 w 3189556"/>
                    <a:gd name="connsiteY22" fmla="*/ 2134346 h 2139523"/>
                    <a:gd name="connsiteX23" fmla="*/ 1881623 w 3189556"/>
                    <a:gd name="connsiteY23" fmla="*/ 2135459 h 2139523"/>
                    <a:gd name="connsiteX24" fmla="*/ 1878414 w 3189556"/>
                    <a:gd name="connsiteY24" fmla="*/ 2139160 h 2139523"/>
                    <a:gd name="connsiteX25" fmla="*/ 1875580 w 3189556"/>
                    <a:gd name="connsiteY25" fmla="*/ 2139523 h 2139523"/>
                    <a:gd name="connsiteX26" fmla="*/ 1875580 w 3189556"/>
                    <a:gd name="connsiteY26" fmla="*/ 2134710 h 2139523"/>
                    <a:gd name="connsiteX27" fmla="*/ 1870555 w 3189556"/>
                    <a:gd name="connsiteY27" fmla="*/ 2137661 h 2139523"/>
                    <a:gd name="connsiteX28" fmla="*/ 1872394 w 3189556"/>
                    <a:gd name="connsiteY28" fmla="*/ 2134675 h 2139523"/>
                    <a:gd name="connsiteX29" fmla="*/ 1859242 w 3189556"/>
                    <a:gd name="connsiteY29" fmla="*/ 2132203 h 2139523"/>
                    <a:gd name="connsiteX30" fmla="*/ 1854792 w 3189556"/>
                    <a:gd name="connsiteY30" fmla="*/ 2133140 h 2139523"/>
                    <a:gd name="connsiteX31" fmla="*/ 1853222 w 3189556"/>
                    <a:gd name="connsiteY31" fmla="*/ 2129545 h 2139523"/>
                    <a:gd name="connsiteX32" fmla="*/ 1834589 w 3189556"/>
                    <a:gd name="connsiteY32" fmla="*/ 2122061 h 2139523"/>
                    <a:gd name="connsiteX33" fmla="*/ 1830069 w 3189556"/>
                    <a:gd name="connsiteY33" fmla="*/ 2116486 h 2139523"/>
                    <a:gd name="connsiteX34" fmla="*/ 1827352 w 3189556"/>
                    <a:gd name="connsiteY34" fmla="*/ 2104143 h 2139523"/>
                    <a:gd name="connsiteX35" fmla="*/ 1829788 w 3189556"/>
                    <a:gd name="connsiteY35" fmla="*/ 2086575 h 2139523"/>
                    <a:gd name="connsiteX36" fmla="*/ 1826579 w 3189556"/>
                    <a:gd name="connsiteY36" fmla="*/ 2082909 h 2139523"/>
                    <a:gd name="connsiteX37" fmla="*/ 1843420 w 3189556"/>
                    <a:gd name="connsiteY37" fmla="*/ 2068060 h 2139523"/>
                    <a:gd name="connsiteX38" fmla="*/ 1862322 w 3189556"/>
                    <a:gd name="connsiteY38" fmla="*/ 2056184 h 2139523"/>
                    <a:gd name="connsiteX39" fmla="*/ 1860612 w 3189556"/>
                    <a:gd name="connsiteY39" fmla="*/ 2053689 h 2139523"/>
                    <a:gd name="connsiteX40" fmla="*/ 1862322 w 3189556"/>
                    <a:gd name="connsiteY40" fmla="*/ 2052085 h 2139523"/>
                    <a:gd name="connsiteX41" fmla="*/ 1854803 w 3189556"/>
                    <a:gd name="connsiteY41" fmla="*/ 2055458 h 2139523"/>
                    <a:gd name="connsiteX42" fmla="*/ 1870544 w 3189556"/>
                    <a:gd name="connsiteY42" fmla="*/ 2049532 h 2139523"/>
                    <a:gd name="connsiteX43" fmla="*/ 1876634 w 3189556"/>
                    <a:gd name="connsiteY43" fmla="*/ 2048361 h 2139523"/>
                    <a:gd name="connsiteX44" fmla="*/ 1873191 w 3189556"/>
                    <a:gd name="connsiteY44" fmla="*/ 2045679 h 2139523"/>
                    <a:gd name="connsiteX45" fmla="*/ 1875381 w 3189556"/>
                    <a:gd name="connsiteY45" fmla="*/ 2045023 h 2139523"/>
                    <a:gd name="connsiteX46" fmla="*/ 1883754 w 3189556"/>
                    <a:gd name="connsiteY46" fmla="*/ 2042844 h 2139523"/>
                    <a:gd name="connsiteX47" fmla="*/ 1888427 w 3189556"/>
                    <a:gd name="connsiteY47" fmla="*/ 2043173 h 2139523"/>
                    <a:gd name="connsiteX48" fmla="*/ 1888861 w 3189556"/>
                    <a:gd name="connsiteY48" fmla="*/ 2041006 h 2139523"/>
                    <a:gd name="connsiteX49" fmla="*/ 1889880 w 3189556"/>
                    <a:gd name="connsiteY49" fmla="*/ 2044273 h 2139523"/>
                    <a:gd name="connsiteX50" fmla="*/ 1897176 w 3189556"/>
                    <a:gd name="connsiteY50" fmla="*/ 2044203 h 2139523"/>
                    <a:gd name="connsiteX51" fmla="*/ 1895934 w 3189556"/>
                    <a:gd name="connsiteY51" fmla="*/ 2044273 h 2139523"/>
                    <a:gd name="connsiteX52" fmla="*/ 1898780 w 3189556"/>
                    <a:gd name="connsiteY52" fmla="*/ 2045386 h 2139523"/>
                    <a:gd name="connsiteX53" fmla="*/ 1906276 w 3189556"/>
                    <a:gd name="connsiteY53" fmla="*/ 2040174 h 2139523"/>
                    <a:gd name="connsiteX54" fmla="*/ 1902024 w 3189556"/>
                    <a:gd name="connsiteY54" fmla="*/ 2041345 h 2139523"/>
                    <a:gd name="connsiteX55" fmla="*/ 1914146 w 3189556"/>
                    <a:gd name="connsiteY55" fmla="*/ 2038148 h 2139523"/>
                    <a:gd name="connsiteX56" fmla="*/ 1920259 w 3189556"/>
                    <a:gd name="connsiteY56" fmla="*/ 2044683 h 2139523"/>
                    <a:gd name="connsiteX57" fmla="*/ 1918444 w 3189556"/>
                    <a:gd name="connsiteY57" fmla="*/ 2036122 h 2139523"/>
                    <a:gd name="connsiteX58" fmla="*/ 1928481 w 3189556"/>
                    <a:gd name="connsiteY58" fmla="*/ 2040572 h 2139523"/>
                    <a:gd name="connsiteX59" fmla="*/ 1930062 w 3189556"/>
                    <a:gd name="connsiteY59" fmla="*/ 2044695 h 2139523"/>
                    <a:gd name="connsiteX60" fmla="*/ 1928223 w 3189556"/>
                    <a:gd name="connsiteY60" fmla="*/ 2038605 h 2139523"/>
                    <a:gd name="connsiteX61" fmla="*/ 1934208 w 3189556"/>
                    <a:gd name="connsiteY61" fmla="*/ 2032234 h 2139523"/>
                    <a:gd name="connsiteX62" fmla="*/ 1934208 w 3189556"/>
                    <a:gd name="connsiteY62" fmla="*/ 2032234 h 2139523"/>
                    <a:gd name="connsiteX63" fmla="*/ 2519878 w 3189556"/>
                    <a:gd name="connsiteY63" fmla="*/ 1401346 h 2139523"/>
                    <a:gd name="connsiteX64" fmla="*/ 2482085 w 3189556"/>
                    <a:gd name="connsiteY64" fmla="*/ 1381483 h 2139523"/>
                    <a:gd name="connsiteX65" fmla="*/ 2502486 w 3189556"/>
                    <a:gd name="connsiteY65" fmla="*/ 1386812 h 2139523"/>
                    <a:gd name="connsiteX66" fmla="*/ 2519878 w 3189556"/>
                    <a:gd name="connsiteY66" fmla="*/ 1401346 h 2139523"/>
                    <a:gd name="connsiteX67" fmla="*/ 2519878 w 3189556"/>
                    <a:gd name="connsiteY67" fmla="*/ 1401346 h 2139523"/>
                    <a:gd name="connsiteX68" fmla="*/ 2601168 w 3189556"/>
                    <a:gd name="connsiteY68" fmla="*/ 2708 h 2139523"/>
                    <a:gd name="connsiteX69" fmla="*/ 2603686 w 3189556"/>
                    <a:gd name="connsiteY69" fmla="*/ 2638 h 2139523"/>
                    <a:gd name="connsiteX70" fmla="*/ 2619332 w 3189556"/>
                    <a:gd name="connsiteY70" fmla="*/ 4254 h 2139523"/>
                    <a:gd name="connsiteX71" fmla="*/ 2634815 w 3189556"/>
                    <a:gd name="connsiteY71" fmla="*/ 14338 h 2139523"/>
                    <a:gd name="connsiteX72" fmla="*/ 2644840 w 3189556"/>
                    <a:gd name="connsiteY72" fmla="*/ 16539 h 2139523"/>
                    <a:gd name="connsiteX73" fmla="*/ 2659222 w 3189556"/>
                    <a:gd name="connsiteY73" fmla="*/ 24620 h 2139523"/>
                    <a:gd name="connsiteX74" fmla="*/ 2672292 w 3189556"/>
                    <a:gd name="connsiteY74" fmla="*/ 30265 h 2139523"/>
                    <a:gd name="connsiteX75" fmla="*/ 2674798 w 3189556"/>
                    <a:gd name="connsiteY75" fmla="*/ 31518 h 2139523"/>
                    <a:gd name="connsiteX76" fmla="*/ 2674763 w 3189556"/>
                    <a:gd name="connsiteY76" fmla="*/ 28965 h 2139523"/>
                    <a:gd name="connsiteX77" fmla="*/ 2681895 w 3189556"/>
                    <a:gd name="connsiteY77" fmla="*/ 24597 h 2139523"/>
                    <a:gd name="connsiteX78" fmla="*/ 2706349 w 3189556"/>
                    <a:gd name="connsiteY78" fmla="*/ 34751 h 2139523"/>
                    <a:gd name="connsiteX79" fmla="*/ 2718435 w 3189556"/>
                    <a:gd name="connsiteY79" fmla="*/ 43289 h 2139523"/>
                    <a:gd name="connsiteX80" fmla="*/ 2714617 w 3189556"/>
                    <a:gd name="connsiteY80" fmla="*/ 47622 h 2139523"/>
                    <a:gd name="connsiteX81" fmla="*/ 2725087 w 3189556"/>
                    <a:gd name="connsiteY81" fmla="*/ 46357 h 2139523"/>
                    <a:gd name="connsiteX82" fmla="*/ 2731412 w 3189556"/>
                    <a:gd name="connsiteY82" fmla="*/ 55609 h 2139523"/>
                    <a:gd name="connsiteX83" fmla="*/ 2738485 w 3189556"/>
                    <a:gd name="connsiteY83" fmla="*/ 56815 h 2139523"/>
                    <a:gd name="connsiteX84" fmla="*/ 2736646 w 3189556"/>
                    <a:gd name="connsiteY84" fmla="*/ 62062 h 2139523"/>
                    <a:gd name="connsiteX85" fmla="*/ 2731915 w 3189556"/>
                    <a:gd name="connsiteY85" fmla="*/ 64721 h 2139523"/>
                    <a:gd name="connsiteX86" fmla="*/ 2741366 w 3189556"/>
                    <a:gd name="connsiteY86" fmla="*/ 70951 h 2139523"/>
                    <a:gd name="connsiteX87" fmla="*/ 2743533 w 3189556"/>
                    <a:gd name="connsiteY87" fmla="*/ 76678 h 2139523"/>
                    <a:gd name="connsiteX88" fmla="*/ 2748229 w 3189556"/>
                    <a:gd name="connsiteY88" fmla="*/ 78482 h 2139523"/>
                    <a:gd name="connsiteX89" fmla="*/ 2755982 w 3189556"/>
                    <a:gd name="connsiteY89" fmla="*/ 90463 h 2139523"/>
                    <a:gd name="connsiteX90" fmla="*/ 2761920 w 3189556"/>
                    <a:gd name="connsiteY90" fmla="*/ 101401 h 2139523"/>
                    <a:gd name="connsiteX91" fmla="*/ 2756943 w 3189556"/>
                    <a:gd name="connsiteY91" fmla="*/ 107924 h 2139523"/>
                    <a:gd name="connsiteX92" fmla="*/ 2761557 w 3189556"/>
                    <a:gd name="connsiteY92" fmla="*/ 119249 h 2139523"/>
                    <a:gd name="connsiteX93" fmla="*/ 2770809 w 3189556"/>
                    <a:gd name="connsiteY93" fmla="*/ 135072 h 2139523"/>
                    <a:gd name="connsiteX94" fmla="*/ 2768244 w 3189556"/>
                    <a:gd name="connsiteY94" fmla="*/ 138784 h 2139523"/>
                    <a:gd name="connsiteX95" fmla="*/ 2773374 w 3189556"/>
                    <a:gd name="connsiteY95" fmla="*/ 141291 h 2139523"/>
                    <a:gd name="connsiteX96" fmla="*/ 2775751 w 3189556"/>
                    <a:gd name="connsiteY96" fmla="*/ 144945 h 2139523"/>
                    <a:gd name="connsiteX97" fmla="*/ 2774322 w 3189556"/>
                    <a:gd name="connsiteY97" fmla="*/ 148891 h 2139523"/>
                    <a:gd name="connsiteX98" fmla="*/ 2780494 w 3189556"/>
                    <a:gd name="connsiteY98" fmla="*/ 152100 h 2139523"/>
                    <a:gd name="connsiteX99" fmla="*/ 2775552 w 3189556"/>
                    <a:gd name="connsiteY99" fmla="*/ 156609 h 2139523"/>
                    <a:gd name="connsiteX100" fmla="*/ 2780658 w 3189556"/>
                    <a:gd name="connsiteY100" fmla="*/ 156750 h 2139523"/>
                    <a:gd name="connsiteX101" fmla="*/ 2780518 w 3189556"/>
                    <a:gd name="connsiteY101" fmla="*/ 168965 h 2139523"/>
                    <a:gd name="connsiteX102" fmla="*/ 2793295 w 3189556"/>
                    <a:gd name="connsiteY102" fmla="*/ 186614 h 2139523"/>
                    <a:gd name="connsiteX103" fmla="*/ 2799678 w 3189556"/>
                    <a:gd name="connsiteY103" fmla="*/ 195714 h 2139523"/>
                    <a:gd name="connsiteX104" fmla="*/ 2800181 w 3189556"/>
                    <a:gd name="connsiteY104" fmla="*/ 200902 h 2139523"/>
                    <a:gd name="connsiteX105" fmla="*/ 2804210 w 3189556"/>
                    <a:gd name="connsiteY105" fmla="*/ 207145 h 2139523"/>
                    <a:gd name="connsiteX106" fmla="*/ 2800814 w 3189556"/>
                    <a:gd name="connsiteY106" fmla="*/ 214944 h 2139523"/>
                    <a:gd name="connsiteX107" fmla="*/ 2803894 w 3189556"/>
                    <a:gd name="connsiteY107" fmla="*/ 221796 h 2139523"/>
                    <a:gd name="connsiteX108" fmla="*/ 2808169 w 3189556"/>
                    <a:gd name="connsiteY108" fmla="*/ 229490 h 2139523"/>
                    <a:gd name="connsiteX109" fmla="*/ 2815641 w 3189556"/>
                    <a:gd name="connsiteY109" fmla="*/ 236716 h 2139523"/>
                    <a:gd name="connsiteX110" fmla="*/ 2810944 w 3189556"/>
                    <a:gd name="connsiteY110" fmla="*/ 248486 h 2139523"/>
                    <a:gd name="connsiteX111" fmla="*/ 2811916 w 3189556"/>
                    <a:gd name="connsiteY111" fmla="*/ 256403 h 2139523"/>
                    <a:gd name="connsiteX112" fmla="*/ 2819798 w 3189556"/>
                    <a:gd name="connsiteY112" fmla="*/ 264203 h 2139523"/>
                    <a:gd name="connsiteX113" fmla="*/ 2828582 w 3189556"/>
                    <a:gd name="connsiteY113" fmla="*/ 275071 h 2139523"/>
                    <a:gd name="connsiteX114" fmla="*/ 2835129 w 3189556"/>
                    <a:gd name="connsiteY114" fmla="*/ 274486 h 2139523"/>
                    <a:gd name="connsiteX115" fmla="*/ 2841523 w 3189556"/>
                    <a:gd name="connsiteY115" fmla="*/ 278503 h 2139523"/>
                    <a:gd name="connsiteX116" fmla="*/ 2857802 w 3189556"/>
                    <a:gd name="connsiteY116" fmla="*/ 276090 h 2139523"/>
                    <a:gd name="connsiteX117" fmla="*/ 2879141 w 3189556"/>
                    <a:gd name="connsiteY117" fmla="*/ 276781 h 2139523"/>
                    <a:gd name="connsiteX118" fmla="*/ 2876599 w 3189556"/>
                    <a:gd name="connsiteY118" fmla="*/ 281899 h 2139523"/>
                    <a:gd name="connsiteX119" fmla="*/ 2883263 w 3189556"/>
                    <a:gd name="connsiteY119" fmla="*/ 282871 h 2139523"/>
                    <a:gd name="connsiteX120" fmla="*/ 2891297 w 3189556"/>
                    <a:gd name="connsiteY120" fmla="*/ 287966 h 2139523"/>
                    <a:gd name="connsiteX121" fmla="*/ 2897586 w 3189556"/>
                    <a:gd name="connsiteY121" fmla="*/ 290449 h 2139523"/>
                    <a:gd name="connsiteX122" fmla="*/ 2903828 w 3189556"/>
                    <a:gd name="connsiteY122" fmla="*/ 289957 h 2139523"/>
                    <a:gd name="connsiteX123" fmla="*/ 2907951 w 3189556"/>
                    <a:gd name="connsiteY123" fmla="*/ 292018 h 2139523"/>
                    <a:gd name="connsiteX124" fmla="*/ 2908935 w 3189556"/>
                    <a:gd name="connsiteY124" fmla="*/ 287404 h 2139523"/>
                    <a:gd name="connsiteX125" fmla="*/ 2918456 w 3189556"/>
                    <a:gd name="connsiteY125" fmla="*/ 295578 h 2139523"/>
                    <a:gd name="connsiteX126" fmla="*/ 2927615 w 3189556"/>
                    <a:gd name="connsiteY126" fmla="*/ 298541 h 2139523"/>
                    <a:gd name="connsiteX127" fmla="*/ 2928973 w 3189556"/>
                    <a:gd name="connsiteY127" fmla="*/ 302781 h 2139523"/>
                    <a:gd name="connsiteX128" fmla="*/ 2933658 w 3189556"/>
                    <a:gd name="connsiteY128" fmla="*/ 304315 h 2139523"/>
                    <a:gd name="connsiteX129" fmla="*/ 2934583 w 3189556"/>
                    <a:gd name="connsiteY129" fmla="*/ 308051 h 2139523"/>
                    <a:gd name="connsiteX130" fmla="*/ 2937511 w 3189556"/>
                    <a:gd name="connsiteY130" fmla="*/ 310429 h 2139523"/>
                    <a:gd name="connsiteX131" fmla="*/ 2942664 w 3189556"/>
                    <a:gd name="connsiteY131" fmla="*/ 316015 h 2139523"/>
                    <a:gd name="connsiteX132" fmla="*/ 2966555 w 3189556"/>
                    <a:gd name="connsiteY132" fmla="*/ 323229 h 2139523"/>
                    <a:gd name="connsiteX133" fmla="*/ 2972985 w 3189556"/>
                    <a:gd name="connsiteY133" fmla="*/ 324213 h 2139523"/>
                    <a:gd name="connsiteX134" fmla="*/ 2975550 w 3189556"/>
                    <a:gd name="connsiteY134" fmla="*/ 327317 h 2139523"/>
                    <a:gd name="connsiteX135" fmla="*/ 2969436 w 3189556"/>
                    <a:gd name="connsiteY135" fmla="*/ 340984 h 2139523"/>
                    <a:gd name="connsiteX136" fmla="*/ 2974074 w 3189556"/>
                    <a:gd name="connsiteY136" fmla="*/ 344778 h 2139523"/>
                    <a:gd name="connsiteX137" fmla="*/ 2975972 w 3189556"/>
                    <a:gd name="connsiteY137" fmla="*/ 350037 h 2139523"/>
                    <a:gd name="connsiteX138" fmla="*/ 2981324 w 3189556"/>
                    <a:gd name="connsiteY138" fmla="*/ 349756 h 2139523"/>
                    <a:gd name="connsiteX139" fmla="*/ 2980340 w 3189556"/>
                    <a:gd name="connsiteY139" fmla="*/ 353176 h 2139523"/>
                    <a:gd name="connsiteX140" fmla="*/ 2981570 w 3189556"/>
                    <a:gd name="connsiteY140" fmla="*/ 367136 h 2139523"/>
                    <a:gd name="connsiteX141" fmla="*/ 2983994 w 3189556"/>
                    <a:gd name="connsiteY141" fmla="*/ 384762 h 2139523"/>
                    <a:gd name="connsiteX142" fmla="*/ 2990904 w 3189556"/>
                    <a:gd name="connsiteY142" fmla="*/ 396122 h 2139523"/>
                    <a:gd name="connsiteX143" fmla="*/ 2995565 w 3189556"/>
                    <a:gd name="connsiteY143" fmla="*/ 403453 h 2139523"/>
                    <a:gd name="connsiteX144" fmla="*/ 3017793 w 3189556"/>
                    <a:gd name="connsiteY144" fmla="*/ 399600 h 2139523"/>
                    <a:gd name="connsiteX145" fmla="*/ 3025078 w 3189556"/>
                    <a:gd name="connsiteY145" fmla="*/ 404613 h 2139523"/>
                    <a:gd name="connsiteX146" fmla="*/ 3028053 w 3189556"/>
                    <a:gd name="connsiteY146" fmla="*/ 403383 h 2139523"/>
                    <a:gd name="connsiteX147" fmla="*/ 3036005 w 3189556"/>
                    <a:gd name="connsiteY147" fmla="*/ 403406 h 2139523"/>
                    <a:gd name="connsiteX148" fmla="*/ 3053291 w 3189556"/>
                    <a:gd name="connsiteY148" fmla="*/ 402797 h 2139523"/>
                    <a:gd name="connsiteX149" fmla="*/ 3063281 w 3189556"/>
                    <a:gd name="connsiteY149" fmla="*/ 399694 h 2139523"/>
                    <a:gd name="connsiteX150" fmla="*/ 3073400 w 3189556"/>
                    <a:gd name="connsiteY150" fmla="*/ 401579 h 2139523"/>
                    <a:gd name="connsiteX151" fmla="*/ 3081141 w 3189556"/>
                    <a:gd name="connsiteY151" fmla="*/ 389247 h 2139523"/>
                    <a:gd name="connsiteX152" fmla="*/ 3082019 w 3189556"/>
                    <a:gd name="connsiteY152" fmla="*/ 384984 h 2139523"/>
                    <a:gd name="connsiteX153" fmla="*/ 3089515 w 3189556"/>
                    <a:gd name="connsiteY153" fmla="*/ 385347 h 2139523"/>
                    <a:gd name="connsiteX154" fmla="*/ 3105477 w 3189556"/>
                    <a:gd name="connsiteY154" fmla="*/ 374444 h 2139523"/>
                    <a:gd name="connsiteX155" fmla="*/ 3123818 w 3189556"/>
                    <a:gd name="connsiteY155" fmla="*/ 376036 h 2139523"/>
                    <a:gd name="connsiteX156" fmla="*/ 3135096 w 3189556"/>
                    <a:gd name="connsiteY156" fmla="*/ 366726 h 2139523"/>
                    <a:gd name="connsiteX157" fmla="*/ 3153460 w 3189556"/>
                    <a:gd name="connsiteY157" fmla="*/ 360355 h 2139523"/>
                    <a:gd name="connsiteX158" fmla="*/ 3169458 w 3189556"/>
                    <a:gd name="connsiteY158" fmla="*/ 356947 h 2139523"/>
                    <a:gd name="connsiteX159" fmla="*/ 3178663 w 3189556"/>
                    <a:gd name="connsiteY159" fmla="*/ 358329 h 2139523"/>
                    <a:gd name="connsiteX160" fmla="*/ 3187868 w 3189556"/>
                    <a:gd name="connsiteY160" fmla="*/ 364606 h 2139523"/>
                    <a:gd name="connsiteX161" fmla="*/ 3184940 w 3189556"/>
                    <a:gd name="connsiteY161" fmla="*/ 374971 h 2139523"/>
                    <a:gd name="connsiteX162" fmla="*/ 3180385 w 3189556"/>
                    <a:gd name="connsiteY162" fmla="*/ 383813 h 2139523"/>
                    <a:gd name="connsiteX163" fmla="*/ 3187681 w 3189556"/>
                    <a:gd name="connsiteY163" fmla="*/ 396719 h 2139523"/>
                    <a:gd name="connsiteX164" fmla="*/ 3187048 w 3189556"/>
                    <a:gd name="connsiteY164" fmla="*/ 405257 h 2139523"/>
                    <a:gd name="connsiteX165" fmla="*/ 3184647 w 3189556"/>
                    <a:gd name="connsiteY165" fmla="*/ 410866 h 2139523"/>
                    <a:gd name="connsiteX166" fmla="*/ 3170664 w 3189556"/>
                    <a:gd name="connsiteY166" fmla="*/ 419814 h 2139523"/>
                    <a:gd name="connsiteX167" fmla="*/ 3159725 w 3189556"/>
                    <a:gd name="connsiteY167" fmla="*/ 427321 h 2139523"/>
                    <a:gd name="connsiteX168" fmla="*/ 3160943 w 3189556"/>
                    <a:gd name="connsiteY168" fmla="*/ 438424 h 2139523"/>
                    <a:gd name="connsiteX169" fmla="*/ 3153963 w 3189556"/>
                    <a:gd name="connsiteY169" fmla="*/ 449608 h 2139523"/>
                    <a:gd name="connsiteX170" fmla="*/ 3151691 w 3189556"/>
                    <a:gd name="connsiteY170" fmla="*/ 467398 h 2139523"/>
                    <a:gd name="connsiteX171" fmla="*/ 3142744 w 3189556"/>
                    <a:gd name="connsiteY171" fmla="*/ 484825 h 2139523"/>
                    <a:gd name="connsiteX172" fmla="*/ 3146690 w 3189556"/>
                    <a:gd name="connsiteY172" fmla="*/ 488994 h 2139523"/>
                    <a:gd name="connsiteX173" fmla="*/ 3145976 w 3189556"/>
                    <a:gd name="connsiteY173" fmla="*/ 493433 h 2139523"/>
                    <a:gd name="connsiteX174" fmla="*/ 3140413 w 3189556"/>
                    <a:gd name="connsiteY174" fmla="*/ 499780 h 2139523"/>
                    <a:gd name="connsiteX175" fmla="*/ 3136021 w 3189556"/>
                    <a:gd name="connsiteY175" fmla="*/ 503915 h 2139523"/>
                    <a:gd name="connsiteX176" fmla="*/ 3135412 w 3189556"/>
                    <a:gd name="connsiteY176" fmla="*/ 510368 h 2139523"/>
                    <a:gd name="connsiteX177" fmla="*/ 3124860 w 3189556"/>
                    <a:gd name="connsiteY177" fmla="*/ 528263 h 2139523"/>
                    <a:gd name="connsiteX178" fmla="*/ 3121288 w 3189556"/>
                    <a:gd name="connsiteY178" fmla="*/ 532737 h 2139523"/>
                    <a:gd name="connsiteX179" fmla="*/ 3123080 w 3189556"/>
                    <a:gd name="connsiteY179" fmla="*/ 538054 h 2139523"/>
                    <a:gd name="connsiteX180" fmla="*/ 3103475 w 3189556"/>
                    <a:gd name="connsiteY180" fmla="*/ 562238 h 2139523"/>
                    <a:gd name="connsiteX181" fmla="*/ 3099434 w 3189556"/>
                    <a:gd name="connsiteY181" fmla="*/ 574875 h 2139523"/>
                    <a:gd name="connsiteX182" fmla="*/ 3087664 w 3189556"/>
                    <a:gd name="connsiteY182" fmla="*/ 566454 h 2139523"/>
                    <a:gd name="connsiteX183" fmla="*/ 3060716 w 3189556"/>
                    <a:gd name="connsiteY183" fmla="*/ 557026 h 2139523"/>
                    <a:gd name="connsiteX184" fmla="*/ 3043922 w 3189556"/>
                    <a:gd name="connsiteY184" fmla="*/ 563351 h 2139523"/>
                    <a:gd name="connsiteX185" fmla="*/ 3035185 w 3189556"/>
                    <a:gd name="connsiteY185" fmla="*/ 558549 h 2139523"/>
                    <a:gd name="connsiteX186" fmla="*/ 3031531 w 3189556"/>
                    <a:gd name="connsiteY186" fmla="*/ 564779 h 2139523"/>
                    <a:gd name="connsiteX187" fmla="*/ 3028029 w 3189556"/>
                    <a:gd name="connsiteY187" fmla="*/ 565236 h 2139523"/>
                    <a:gd name="connsiteX188" fmla="*/ 3026062 w 3189556"/>
                    <a:gd name="connsiteY188" fmla="*/ 570331 h 2139523"/>
                    <a:gd name="connsiteX189" fmla="*/ 3018449 w 3189556"/>
                    <a:gd name="connsiteY189" fmla="*/ 578868 h 2139523"/>
                    <a:gd name="connsiteX190" fmla="*/ 3009841 w 3189556"/>
                    <a:gd name="connsiteY190" fmla="*/ 581222 h 2139523"/>
                    <a:gd name="connsiteX191" fmla="*/ 2994686 w 3189556"/>
                    <a:gd name="connsiteY191" fmla="*/ 587711 h 2139523"/>
                    <a:gd name="connsiteX192" fmla="*/ 2992356 w 3189556"/>
                    <a:gd name="connsiteY192" fmla="*/ 593074 h 2139523"/>
                    <a:gd name="connsiteX193" fmla="*/ 2998762 w 3189556"/>
                    <a:gd name="connsiteY193" fmla="*/ 604856 h 2139523"/>
                    <a:gd name="connsiteX194" fmla="*/ 3007241 w 3189556"/>
                    <a:gd name="connsiteY194" fmla="*/ 640003 h 2139523"/>
                    <a:gd name="connsiteX195" fmla="*/ 3002744 w 3189556"/>
                    <a:gd name="connsiteY195" fmla="*/ 656434 h 2139523"/>
                    <a:gd name="connsiteX196" fmla="*/ 3003529 w 3189556"/>
                    <a:gd name="connsiteY196" fmla="*/ 669891 h 2139523"/>
                    <a:gd name="connsiteX197" fmla="*/ 3002533 w 3189556"/>
                    <a:gd name="connsiteY197" fmla="*/ 673298 h 2139523"/>
                    <a:gd name="connsiteX198" fmla="*/ 3007487 w 3189556"/>
                    <a:gd name="connsiteY198" fmla="*/ 676953 h 2139523"/>
                    <a:gd name="connsiteX199" fmla="*/ 3006632 w 3189556"/>
                    <a:gd name="connsiteY199" fmla="*/ 685279 h 2139523"/>
                    <a:gd name="connsiteX200" fmla="*/ 3003950 w 3189556"/>
                    <a:gd name="connsiteY200" fmla="*/ 691709 h 2139523"/>
                    <a:gd name="connsiteX201" fmla="*/ 3003716 w 3189556"/>
                    <a:gd name="connsiteY201" fmla="*/ 697518 h 2139523"/>
                    <a:gd name="connsiteX202" fmla="*/ 3000062 w 3189556"/>
                    <a:gd name="connsiteY202" fmla="*/ 702601 h 2139523"/>
                    <a:gd name="connsiteX203" fmla="*/ 2998540 w 3189556"/>
                    <a:gd name="connsiteY203" fmla="*/ 709452 h 2139523"/>
                    <a:gd name="connsiteX204" fmla="*/ 2993902 w 3189556"/>
                    <a:gd name="connsiteY204" fmla="*/ 714336 h 2139523"/>
                    <a:gd name="connsiteX205" fmla="*/ 2983057 w 3189556"/>
                    <a:gd name="connsiteY205" fmla="*/ 714535 h 2139523"/>
                    <a:gd name="connsiteX206" fmla="*/ 2980668 w 3189556"/>
                    <a:gd name="connsiteY206" fmla="*/ 716608 h 2139523"/>
                    <a:gd name="connsiteX207" fmla="*/ 2973864 w 3189556"/>
                    <a:gd name="connsiteY207" fmla="*/ 717474 h 2139523"/>
                    <a:gd name="connsiteX208" fmla="*/ 2962163 w 3189556"/>
                    <a:gd name="connsiteY208" fmla="*/ 726035 h 2139523"/>
                    <a:gd name="connsiteX209" fmla="*/ 2969331 w 3189556"/>
                    <a:gd name="connsiteY209" fmla="*/ 735932 h 2139523"/>
                    <a:gd name="connsiteX210" fmla="*/ 2966063 w 3189556"/>
                    <a:gd name="connsiteY210" fmla="*/ 734409 h 2139523"/>
                    <a:gd name="connsiteX211" fmla="*/ 2957502 w 3189556"/>
                    <a:gd name="connsiteY211" fmla="*/ 726668 h 2139523"/>
                    <a:gd name="connsiteX212" fmla="*/ 2946810 w 3189556"/>
                    <a:gd name="connsiteY212" fmla="*/ 711290 h 2139523"/>
                    <a:gd name="connsiteX213" fmla="*/ 2942605 w 3189556"/>
                    <a:gd name="connsiteY213" fmla="*/ 708796 h 2139523"/>
                    <a:gd name="connsiteX214" fmla="*/ 2935403 w 3189556"/>
                    <a:gd name="connsiteY214" fmla="*/ 706583 h 2139523"/>
                    <a:gd name="connsiteX215" fmla="*/ 2936820 w 3189556"/>
                    <a:gd name="connsiteY215" fmla="*/ 707836 h 2139523"/>
                    <a:gd name="connsiteX216" fmla="*/ 2920377 w 3189556"/>
                    <a:gd name="connsiteY216" fmla="*/ 741131 h 2139523"/>
                    <a:gd name="connsiteX217" fmla="*/ 2907248 w 3189556"/>
                    <a:gd name="connsiteY217" fmla="*/ 741296 h 2139523"/>
                    <a:gd name="connsiteX218" fmla="*/ 2907893 w 3189556"/>
                    <a:gd name="connsiteY218" fmla="*/ 742865 h 2139523"/>
                    <a:gd name="connsiteX219" fmla="*/ 2899636 w 3189556"/>
                    <a:gd name="connsiteY219" fmla="*/ 749295 h 2139523"/>
                    <a:gd name="connsiteX220" fmla="*/ 2901404 w 3189556"/>
                    <a:gd name="connsiteY220" fmla="*/ 750583 h 2139523"/>
                    <a:gd name="connsiteX221" fmla="*/ 2892878 w 3189556"/>
                    <a:gd name="connsiteY221" fmla="*/ 759612 h 2139523"/>
                    <a:gd name="connsiteX222" fmla="*/ 2873636 w 3189556"/>
                    <a:gd name="connsiteY222" fmla="*/ 767494 h 2139523"/>
                    <a:gd name="connsiteX223" fmla="*/ 2849686 w 3189556"/>
                    <a:gd name="connsiteY223" fmla="*/ 767518 h 2139523"/>
                    <a:gd name="connsiteX224" fmla="*/ 2845634 w 3189556"/>
                    <a:gd name="connsiteY224" fmla="*/ 787263 h 2139523"/>
                    <a:gd name="connsiteX225" fmla="*/ 2852111 w 3189556"/>
                    <a:gd name="connsiteY225" fmla="*/ 793939 h 2139523"/>
                    <a:gd name="connsiteX226" fmla="*/ 2842765 w 3189556"/>
                    <a:gd name="connsiteY226" fmla="*/ 808028 h 2139523"/>
                    <a:gd name="connsiteX227" fmla="*/ 2843491 w 3189556"/>
                    <a:gd name="connsiteY227" fmla="*/ 807138 h 2139523"/>
                    <a:gd name="connsiteX228" fmla="*/ 2839954 w 3189556"/>
                    <a:gd name="connsiteY228" fmla="*/ 805428 h 2139523"/>
                    <a:gd name="connsiteX229" fmla="*/ 2837401 w 3189556"/>
                    <a:gd name="connsiteY229" fmla="*/ 802312 h 2139523"/>
                    <a:gd name="connsiteX230" fmla="*/ 2799198 w 3189556"/>
                    <a:gd name="connsiteY230" fmla="*/ 800181 h 2139523"/>
                    <a:gd name="connsiteX231" fmla="*/ 2800240 w 3189556"/>
                    <a:gd name="connsiteY231" fmla="*/ 798893 h 2139523"/>
                    <a:gd name="connsiteX232" fmla="*/ 2790625 w 3189556"/>
                    <a:gd name="connsiteY232" fmla="*/ 798155 h 2139523"/>
                    <a:gd name="connsiteX233" fmla="*/ 2794536 w 3189556"/>
                    <a:gd name="connsiteY233" fmla="*/ 795180 h 2139523"/>
                    <a:gd name="connsiteX234" fmla="*/ 2789161 w 3189556"/>
                    <a:gd name="connsiteY234" fmla="*/ 789207 h 2139523"/>
                    <a:gd name="connsiteX235" fmla="*/ 2774135 w 3189556"/>
                    <a:gd name="connsiteY235" fmla="*/ 788271 h 2139523"/>
                    <a:gd name="connsiteX236" fmla="*/ 2768455 w 3189556"/>
                    <a:gd name="connsiteY236" fmla="*/ 785764 h 2139523"/>
                    <a:gd name="connsiteX237" fmla="*/ 2770973 w 3189556"/>
                    <a:gd name="connsiteY237" fmla="*/ 787943 h 2139523"/>
                    <a:gd name="connsiteX238" fmla="*/ 2763115 w 3189556"/>
                    <a:gd name="connsiteY238" fmla="*/ 796644 h 2139523"/>
                    <a:gd name="connsiteX239" fmla="*/ 2758442 w 3189556"/>
                    <a:gd name="connsiteY239" fmla="*/ 810183 h 2139523"/>
                    <a:gd name="connsiteX240" fmla="*/ 2759168 w 3189556"/>
                    <a:gd name="connsiteY240" fmla="*/ 808836 h 2139523"/>
                    <a:gd name="connsiteX241" fmla="*/ 2751075 w 3189556"/>
                    <a:gd name="connsiteY241" fmla="*/ 816835 h 2139523"/>
                    <a:gd name="connsiteX242" fmla="*/ 2741167 w 3189556"/>
                    <a:gd name="connsiteY242" fmla="*/ 825630 h 2139523"/>
                    <a:gd name="connsiteX243" fmla="*/ 2732009 w 3189556"/>
                    <a:gd name="connsiteY243" fmla="*/ 836955 h 2139523"/>
                    <a:gd name="connsiteX244" fmla="*/ 2733824 w 3189556"/>
                    <a:gd name="connsiteY244" fmla="*/ 837225 h 2139523"/>
                    <a:gd name="connsiteX245" fmla="*/ 2716468 w 3189556"/>
                    <a:gd name="connsiteY245" fmla="*/ 845915 h 2139523"/>
                    <a:gd name="connsiteX246" fmla="*/ 2704697 w 3189556"/>
                    <a:gd name="connsiteY246" fmla="*/ 850564 h 2139523"/>
                    <a:gd name="connsiteX247" fmla="*/ 2702121 w 3189556"/>
                    <a:gd name="connsiteY247" fmla="*/ 854382 h 2139523"/>
                    <a:gd name="connsiteX248" fmla="*/ 2695726 w 3189556"/>
                    <a:gd name="connsiteY248" fmla="*/ 853504 h 2139523"/>
                    <a:gd name="connsiteX249" fmla="*/ 2683453 w 3189556"/>
                    <a:gd name="connsiteY249" fmla="*/ 859957 h 2139523"/>
                    <a:gd name="connsiteX250" fmla="*/ 2681204 w 3189556"/>
                    <a:gd name="connsiteY250" fmla="*/ 865250 h 2139523"/>
                    <a:gd name="connsiteX251" fmla="*/ 2675407 w 3189556"/>
                    <a:gd name="connsiteY251" fmla="*/ 863552 h 2139523"/>
                    <a:gd name="connsiteX252" fmla="*/ 2659526 w 3189556"/>
                    <a:gd name="connsiteY252" fmla="*/ 877208 h 2139523"/>
                    <a:gd name="connsiteX253" fmla="*/ 2648798 w 3189556"/>
                    <a:gd name="connsiteY253" fmla="*/ 886565 h 2139523"/>
                    <a:gd name="connsiteX254" fmla="*/ 2644617 w 3189556"/>
                    <a:gd name="connsiteY254" fmla="*/ 895970 h 2139523"/>
                    <a:gd name="connsiteX255" fmla="*/ 2627671 w 3189556"/>
                    <a:gd name="connsiteY255" fmla="*/ 904871 h 2139523"/>
                    <a:gd name="connsiteX256" fmla="*/ 2610818 w 3189556"/>
                    <a:gd name="connsiteY256" fmla="*/ 898300 h 2139523"/>
                    <a:gd name="connsiteX257" fmla="*/ 2605922 w 3189556"/>
                    <a:gd name="connsiteY257" fmla="*/ 907564 h 2139523"/>
                    <a:gd name="connsiteX258" fmla="*/ 2598310 w 3189556"/>
                    <a:gd name="connsiteY258" fmla="*/ 904144 h 2139523"/>
                    <a:gd name="connsiteX259" fmla="*/ 2589713 w 3189556"/>
                    <a:gd name="connsiteY259" fmla="*/ 904601 h 2139523"/>
                    <a:gd name="connsiteX260" fmla="*/ 2588988 w 3189556"/>
                    <a:gd name="connsiteY260" fmla="*/ 905093 h 2139523"/>
                    <a:gd name="connsiteX261" fmla="*/ 2590405 w 3189556"/>
                    <a:gd name="connsiteY261" fmla="*/ 908477 h 2139523"/>
                    <a:gd name="connsiteX262" fmla="*/ 2587512 w 3189556"/>
                    <a:gd name="connsiteY262" fmla="*/ 908431 h 2139523"/>
                    <a:gd name="connsiteX263" fmla="*/ 2575390 w 3189556"/>
                    <a:gd name="connsiteY263" fmla="*/ 913876 h 2139523"/>
                    <a:gd name="connsiteX264" fmla="*/ 2573680 w 3189556"/>
                    <a:gd name="connsiteY264" fmla="*/ 916723 h 2139523"/>
                    <a:gd name="connsiteX265" fmla="*/ 2568656 w 3189556"/>
                    <a:gd name="connsiteY265" fmla="*/ 916840 h 2139523"/>
                    <a:gd name="connsiteX266" fmla="*/ 2563749 w 3189556"/>
                    <a:gd name="connsiteY266" fmla="*/ 920833 h 2139523"/>
                    <a:gd name="connsiteX267" fmla="*/ 2553256 w 3189556"/>
                    <a:gd name="connsiteY267" fmla="*/ 925202 h 2139523"/>
                    <a:gd name="connsiteX268" fmla="*/ 2542376 w 3189556"/>
                    <a:gd name="connsiteY268" fmla="*/ 931280 h 2139523"/>
                    <a:gd name="connsiteX269" fmla="*/ 2529844 w 3189556"/>
                    <a:gd name="connsiteY269" fmla="*/ 944901 h 2139523"/>
                    <a:gd name="connsiteX270" fmla="*/ 2532877 w 3189556"/>
                    <a:gd name="connsiteY270" fmla="*/ 945685 h 2139523"/>
                    <a:gd name="connsiteX271" fmla="*/ 2518589 w 3189556"/>
                    <a:gd name="connsiteY271" fmla="*/ 952021 h 2139523"/>
                    <a:gd name="connsiteX272" fmla="*/ 2520381 w 3189556"/>
                    <a:gd name="connsiteY272" fmla="*/ 954071 h 2139523"/>
                    <a:gd name="connsiteX273" fmla="*/ 2515369 w 3189556"/>
                    <a:gd name="connsiteY273" fmla="*/ 952396 h 2139523"/>
                    <a:gd name="connsiteX274" fmla="*/ 2517383 w 3189556"/>
                    <a:gd name="connsiteY274" fmla="*/ 957807 h 2139523"/>
                    <a:gd name="connsiteX275" fmla="*/ 2510040 w 3189556"/>
                    <a:gd name="connsiteY275" fmla="*/ 952771 h 2139523"/>
                    <a:gd name="connsiteX276" fmla="*/ 2510766 w 3189556"/>
                    <a:gd name="connsiteY276" fmla="*/ 954516 h 2139523"/>
                    <a:gd name="connsiteX277" fmla="*/ 2505379 w 3189556"/>
                    <a:gd name="connsiteY277" fmla="*/ 954890 h 2139523"/>
                    <a:gd name="connsiteX278" fmla="*/ 2502861 w 3189556"/>
                    <a:gd name="connsiteY278" fmla="*/ 958263 h 2139523"/>
                    <a:gd name="connsiteX279" fmla="*/ 2508928 w 3189556"/>
                    <a:gd name="connsiteY279" fmla="*/ 961191 h 2139523"/>
                    <a:gd name="connsiteX280" fmla="*/ 2502181 w 3189556"/>
                    <a:gd name="connsiteY280" fmla="*/ 963030 h 2139523"/>
                    <a:gd name="connsiteX281" fmla="*/ 2492051 w 3189556"/>
                    <a:gd name="connsiteY281" fmla="*/ 965782 h 2139523"/>
                    <a:gd name="connsiteX282" fmla="*/ 2483572 w 3189556"/>
                    <a:gd name="connsiteY282" fmla="*/ 968277 h 2139523"/>
                    <a:gd name="connsiteX283" fmla="*/ 2484989 w 3189556"/>
                    <a:gd name="connsiteY283" fmla="*/ 968277 h 2139523"/>
                    <a:gd name="connsiteX284" fmla="*/ 2478208 w 3189556"/>
                    <a:gd name="connsiteY284" fmla="*/ 968722 h 2139523"/>
                    <a:gd name="connsiteX285" fmla="*/ 2479976 w 3189556"/>
                    <a:gd name="connsiteY285" fmla="*/ 960746 h 2139523"/>
                    <a:gd name="connsiteX286" fmla="*/ 2476932 w 3189556"/>
                    <a:gd name="connsiteY286" fmla="*/ 960746 h 2139523"/>
                    <a:gd name="connsiteX287" fmla="*/ 2487437 w 3189556"/>
                    <a:gd name="connsiteY287" fmla="*/ 956588 h 2139523"/>
                    <a:gd name="connsiteX288" fmla="*/ 2493527 w 3189556"/>
                    <a:gd name="connsiteY288" fmla="*/ 952583 h 2139523"/>
                    <a:gd name="connsiteX289" fmla="*/ 2507967 w 3189556"/>
                    <a:gd name="connsiteY289" fmla="*/ 946821 h 2139523"/>
                    <a:gd name="connsiteX290" fmla="*/ 2505250 w 3189556"/>
                    <a:gd name="connsiteY290" fmla="*/ 940181 h 2139523"/>
                    <a:gd name="connsiteX291" fmla="*/ 2503001 w 3189556"/>
                    <a:gd name="connsiteY291" fmla="*/ 938471 h 2139523"/>
                    <a:gd name="connsiteX292" fmla="*/ 2510731 w 3189556"/>
                    <a:gd name="connsiteY292" fmla="*/ 935074 h 2139523"/>
                    <a:gd name="connsiteX293" fmla="*/ 2514701 w 3189556"/>
                    <a:gd name="connsiteY293" fmla="*/ 932111 h 2139523"/>
                    <a:gd name="connsiteX294" fmla="*/ 2521412 w 3189556"/>
                    <a:gd name="connsiteY294" fmla="*/ 930191 h 2139523"/>
                    <a:gd name="connsiteX295" fmla="*/ 2520803 w 3189556"/>
                    <a:gd name="connsiteY295" fmla="*/ 929102 h 2139523"/>
                    <a:gd name="connsiteX296" fmla="*/ 2509150 w 3189556"/>
                    <a:gd name="connsiteY296" fmla="*/ 930413 h 2139523"/>
                    <a:gd name="connsiteX297" fmla="*/ 2509665 w 3189556"/>
                    <a:gd name="connsiteY297" fmla="*/ 931901 h 2139523"/>
                    <a:gd name="connsiteX298" fmla="*/ 2500249 w 3189556"/>
                    <a:gd name="connsiteY298" fmla="*/ 932404 h 2139523"/>
                    <a:gd name="connsiteX299" fmla="*/ 2496291 w 3189556"/>
                    <a:gd name="connsiteY299" fmla="*/ 925647 h 2139523"/>
                    <a:gd name="connsiteX300" fmla="*/ 2486687 w 3189556"/>
                    <a:gd name="connsiteY300" fmla="*/ 923199 h 2139523"/>
                    <a:gd name="connsiteX301" fmla="*/ 2499640 w 3189556"/>
                    <a:gd name="connsiteY301" fmla="*/ 916816 h 2139523"/>
                    <a:gd name="connsiteX302" fmla="*/ 2498293 w 3189556"/>
                    <a:gd name="connsiteY302" fmla="*/ 904378 h 2139523"/>
                    <a:gd name="connsiteX303" fmla="*/ 2515357 w 3189556"/>
                    <a:gd name="connsiteY303" fmla="*/ 891953 h 2139523"/>
                    <a:gd name="connsiteX304" fmla="*/ 2523930 w 3189556"/>
                    <a:gd name="connsiteY304" fmla="*/ 881834 h 2139523"/>
                    <a:gd name="connsiteX305" fmla="*/ 2534997 w 3189556"/>
                    <a:gd name="connsiteY305" fmla="*/ 867007 h 2139523"/>
                    <a:gd name="connsiteX306" fmla="*/ 2539225 w 3189556"/>
                    <a:gd name="connsiteY306" fmla="*/ 860460 h 2139523"/>
                    <a:gd name="connsiteX307" fmla="*/ 2532678 w 3189556"/>
                    <a:gd name="connsiteY307" fmla="*/ 850049 h 2139523"/>
                    <a:gd name="connsiteX308" fmla="*/ 2517828 w 3189556"/>
                    <a:gd name="connsiteY308" fmla="*/ 832200 h 2139523"/>
                    <a:gd name="connsiteX309" fmla="*/ 2505836 w 3189556"/>
                    <a:gd name="connsiteY309" fmla="*/ 841031 h 2139523"/>
                    <a:gd name="connsiteX310" fmla="*/ 2492777 w 3189556"/>
                    <a:gd name="connsiteY310" fmla="*/ 836253 h 2139523"/>
                    <a:gd name="connsiteX311" fmla="*/ 2474812 w 3189556"/>
                    <a:gd name="connsiteY311" fmla="*/ 844111 h 2139523"/>
                    <a:gd name="connsiteX312" fmla="*/ 2469050 w 3189556"/>
                    <a:gd name="connsiteY312" fmla="*/ 847636 h 2139523"/>
                    <a:gd name="connsiteX313" fmla="*/ 2473301 w 3189556"/>
                    <a:gd name="connsiteY313" fmla="*/ 848948 h 2139523"/>
                    <a:gd name="connsiteX314" fmla="*/ 2460219 w 3189556"/>
                    <a:gd name="connsiteY314" fmla="*/ 857216 h 2139523"/>
                    <a:gd name="connsiteX315" fmla="*/ 2448168 w 3189556"/>
                    <a:gd name="connsiteY315" fmla="*/ 869736 h 2139523"/>
                    <a:gd name="connsiteX316" fmla="*/ 2450733 w 3189556"/>
                    <a:gd name="connsiteY316" fmla="*/ 869654 h 2139523"/>
                    <a:gd name="connsiteX317" fmla="*/ 2442793 w 3189556"/>
                    <a:gd name="connsiteY317" fmla="*/ 881365 h 2139523"/>
                    <a:gd name="connsiteX318" fmla="*/ 2428504 w 3189556"/>
                    <a:gd name="connsiteY318" fmla="*/ 886296 h 2139523"/>
                    <a:gd name="connsiteX319" fmla="*/ 2409227 w 3189556"/>
                    <a:gd name="connsiteY319" fmla="*/ 895583 h 2139523"/>
                    <a:gd name="connsiteX320" fmla="*/ 2395560 w 3189556"/>
                    <a:gd name="connsiteY320" fmla="*/ 904730 h 2139523"/>
                    <a:gd name="connsiteX321" fmla="*/ 2385429 w 3189556"/>
                    <a:gd name="connsiteY321" fmla="*/ 911405 h 2139523"/>
                    <a:gd name="connsiteX322" fmla="*/ 2378801 w 3189556"/>
                    <a:gd name="connsiteY322" fmla="*/ 920950 h 2139523"/>
                    <a:gd name="connsiteX323" fmla="*/ 2380569 w 3189556"/>
                    <a:gd name="connsiteY323" fmla="*/ 919685 h 2139523"/>
                    <a:gd name="connsiteX324" fmla="*/ 2379843 w 3189556"/>
                    <a:gd name="connsiteY324" fmla="*/ 921817 h 2139523"/>
                    <a:gd name="connsiteX325" fmla="*/ 2382560 w 3189556"/>
                    <a:gd name="connsiteY325" fmla="*/ 919416 h 2139523"/>
                    <a:gd name="connsiteX326" fmla="*/ 2383567 w 3189556"/>
                    <a:gd name="connsiteY326" fmla="*/ 928762 h 2139523"/>
                    <a:gd name="connsiteX327" fmla="*/ 2378250 w 3189556"/>
                    <a:gd name="connsiteY327" fmla="*/ 932498 h 2139523"/>
                    <a:gd name="connsiteX328" fmla="*/ 2362381 w 3189556"/>
                    <a:gd name="connsiteY328" fmla="*/ 946985 h 2139523"/>
                    <a:gd name="connsiteX329" fmla="*/ 2366328 w 3189556"/>
                    <a:gd name="connsiteY329" fmla="*/ 942781 h 2139523"/>
                    <a:gd name="connsiteX330" fmla="*/ 2361667 w 3189556"/>
                    <a:gd name="connsiteY330" fmla="*/ 944034 h 2139523"/>
                    <a:gd name="connsiteX331" fmla="*/ 2361315 w 3189556"/>
                    <a:gd name="connsiteY331" fmla="*/ 941528 h 2139523"/>
                    <a:gd name="connsiteX332" fmla="*/ 2347671 w 3189556"/>
                    <a:gd name="connsiteY332" fmla="*/ 944947 h 2139523"/>
                    <a:gd name="connsiteX333" fmla="*/ 2334121 w 3189556"/>
                    <a:gd name="connsiteY333" fmla="*/ 952361 h 2139523"/>
                    <a:gd name="connsiteX334" fmla="*/ 2320770 w 3189556"/>
                    <a:gd name="connsiteY334" fmla="*/ 942219 h 2139523"/>
                    <a:gd name="connsiteX335" fmla="*/ 2300884 w 3189556"/>
                    <a:gd name="connsiteY335" fmla="*/ 947782 h 2139523"/>
                    <a:gd name="connsiteX336" fmla="*/ 2304023 w 3189556"/>
                    <a:gd name="connsiteY336" fmla="*/ 955734 h 2139523"/>
                    <a:gd name="connsiteX337" fmla="*/ 2300193 w 3189556"/>
                    <a:gd name="connsiteY337" fmla="*/ 954867 h 2139523"/>
                    <a:gd name="connsiteX338" fmla="*/ 2293119 w 3189556"/>
                    <a:gd name="connsiteY338" fmla="*/ 978184 h 2139523"/>
                    <a:gd name="connsiteX339" fmla="*/ 2315184 w 3189556"/>
                    <a:gd name="connsiteY339" fmla="*/ 1003294 h 2139523"/>
                    <a:gd name="connsiteX340" fmla="*/ 2340083 w 3189556"/>
                    <a:gd name="connsiteY340" fmla="*/ 1009056 h 2139523"/>
                    <a:gd name="connsiteX341" fmla="*/ 2346594 w 3189556"/>
                    <a:gd name="connsiteY341" fmla="*/ 1009267 h 2139523"/>
                    <a:gd name="connsiteX342" fmla="*/ 2360343 w 3189556"/>
                    <a:gd name="connsiteY342" fmla="*/ 1006515 h 2139523"/>
                    <a:gd name="connsiteX343" fmla="*/ 2369771 w 3189556"/>
                    <a:gd name="connsiteY343" fmla="*/ 1018226 h 2139523"/>
                    <a:gd name="connsiteX344" fmla="*/ 2381248 w 3189556"/>
                    <a:gd name="connsiteY344" fmla="*/ 1035138 h 2139523"/>
                    <a:gd name="connsiteX345" fmla="*/ 2368822 w 3189556"/>
                    <a:gd name="connsiteY345" fmla="*/ 1035138 h 2139523"/>
                    <a:gd name="connsiteX346" fmla="*/ 2365274 w 3189556"/>
                    <a:gd name="connsiteY346" fmla="*/ 1049566 h 2139523"/>
                    <a:gd name="connsiteX347" fmla="*/ 2392281 w 3189556"/>
                    <a:gd name="connsiteY347" fmla="*/ 1067719 h 2139523"/>
                    <a:gd name="connsiteX348" fmla="*/ 2408876 w 3189556"/>
                    <a:gd name="connsiteY348" fmla="*/ 1065061 h 2139523"/>
                    <a:gd name="connsiteX349" fmla="*/ 2412998 w 3189556"/>
                    <a:gd name="connsiteY349" fmla="*/ 1053724 h 2139523"/>
                    <a:gd name="connsiteX350" fmla="*/ 2431327 w 3189556"/>
                    <a:gd name="connsiteY350" fmla="*/ 1034388 h 2139523"/>
                    <a:gd name="connsiteX351" fmla="*/ 2468991 w 3189556"/>
                    <a:gd name="connsiteY351" fmla="*/ 1027279 h 2139523"/>
                    <a:gd name="connsiteX352" fmla="*/ 2472833 w 3189556"/>
                    <a:gd name="connsiteY352" fmla="*/ 1031261 h 2139523"/>
                    <a:gd name="connsiteX353" fmla="*/ 2479719 w 3189556"/>
                    <a:gd name="connsiteY353" fmla="*/ 1033709 h 2139523"/>
                    <a:gd name="connsiteX354" fmla="*/ 2481183 w 3189556"/>
                    <a:gd name="connsiteY354" fmla="*/ 1040829 h 2139523"/>
                    <a:gd name="connsiteX355" fmla="*/ 2490704 w 3189556"/>
                    <a:gd name="connsiteY355" fmla="*/ 1037164 h 2139523"/>
                    <a:gd name="connsiteX356" fmla="*/ 2494663 w 3189556"/>
                    <a:gd name="connsiteY356" fmla="*/ 1039635 h 2139523"/>
                    <a:gd name="connsiteX357" fmla="*/ 2507510 w 3189556"/>
                    <a:gd name="connsiteY357" fmla="*/ 1049145 h 2139523"/>
                    <a:gd name="connsiteX358" fmla="*/ 2502873 w 3189556"/>
                    <a:gd name="connsiteY358" fmla="*/ 1048278 h 2139523"/>
                    <a:gd name="connsiteX359" fmla="*/ 2522173 w 3189556"/>
                    <a:gd name="connsiteY359" fmla="*/ 1047903 h 2139523"/>
                    <a:gd name="connsiteX360" fmla="*/ 2527888 w 3189556"/>
                    <a:gd name="connsiteY360" fmla="*/ 1041708 h 2139523"/>
                    <a:gd name="connsiteX361" fmla="*/ 2533943 w 3189556"/>
                    <a:gd name="connsiteY361" fmla="*/ 1050410 h 2139523"/>
                    <a:gd name="connsiteX362" fmla="*/ 2553092 w 3189556"/>
                    <a:gd name="connsiteY362" fmla="*/ 1051253 h 2139523"/>
                    <a:gd name="connsiteX363" fmla="*/ 2555422 w 3189556"/>
                    <a:gd name="connsiteY363" fmla="*/ 1057811 h 2139523"/>
                    <a:gd name="connsiteX364" fmla="*/ 2553057 w 3189556"/>
                    <a:gd name="connsiteY364" fmla="*/ 1056347 h 2139523"/>
                    <a:gd name="connsiteX365" fmla="*/ 2557203 w 3189556"/>
                    <a:gd name="connsiteY365" fmla="*/ 1063972 h 2139523"/>
                    <a:gd name="connsiteX366" fmla="*/ 2554357 w 3189556"/>
                    <a:gd name="connsiteY366" fmla="*/ 1066876 h 2139523"/>
                    <a:gd name="connsiteX367" fmla="*/ 2548629 w 3189556"/>
                    <a:gd name="connsiteY367" fmla="*/ 1068926 h 2139523"/>
                    <a:gd name="connsiteX368" fmla="*/ 2548629 w 3189556"/>
                    <a:gd name="connsiteY368" fmla="*/ 1066443 h 2139523"/>
                    <a:gd name="connsiteX369" fmla="*/ 2545760 w 3189556"/>
                    <a:gd name="connsiteY369" fmla="*/ 1075180 h 2139523"/>
                    <a:gd name="connsiteX370" fmla="*/ 2552576 w 3189556"/>
                    <a:gd name="connsiteY370" fmla="*/ 1073891 h 2139523"/>
                    <a:gd name="connsiteX371" fmla="*/ 2550866 w 3189556"/>
                    <a:gd name="connsiteY371" fmla="*/ 1081668 h 2139523"/>
                    <a:gd name="connsiteX372" fmla="*/ 2551147 w 3189556"/>
                    <a:gd name="connsiteY372" fmla="*/ 1079466 h 2139523"/>
                    <a:gd name="connsiteX373" fmla="*/ 2545549 w 3189556"/>
                    <a:gd name="connsiteY373" fmla="*/ 1080215 h 2139523"/>
                    <a:gd name="connsiteX374" fmla="*/ 2538253 w 3189556"/>
                    <a:gd name="connsiteY374" fmla="*/ 1081656 h 2139523"/>
                    <a:gd name="connsiteX375" fmla="*/ 2533065 w 3189556"/>
                    <a:gd name="connsiteY375" fmla="*/ 1074688 h 2139523"/>
                    <a:gd name="connsiteX376" fmla="*/ 2526120 w 3189556"/>
                    <a:gd name="connsiteY376" fmla="*/ 1081656 h 2139523"/>
                    <a:gd name="connsiteX377" fmla="*/ 2527209 w 3189556"/>
                    <a:gd name="connsiteY377" fmla="*/ 1077018 h 2139523"/>
                    <a:gd name="connsiteX378" fmla="*/ 2519960 w 3189556"/>
                    <a:gd name="connsiteY378" fmla="*/ 1076386 h 2139523"/>
                    <a:gd name="connsiteX379" fmla="*/ 2521775 w 3189556"/>
                    <a:gd name="connsiteY379" fmla="*/ 1079196 h 2139523"/>
                    <a:gd name="connsiteX380" fmla="*/ 2506105 w 3189556"/>
                    <a:gd name="connsiteY380" fmla="*/ 1086551 h 2139523"/>
                    <a:gd name="connsiteX381" fmla="*/ 2507909 w 3189556"/>
                    <a:gd name="connsiteY381" fmla="*/ 1084959 h 2139523"/>
                    <a:gd name="connsiteX382" fmla="*/ 2504840 w 3189556"/>
                    <a:gd name="connsiteY382" fmla="*/ 1091084 h 2139523"/>
                    <a:gd name="connsiteX383" fmla="*/ 2503903 w 3189556"/>
                    <a:gd name="connsiteY383" fmla="*/ 1084818 h 2139523"/>
                    <a:gd name="connsiteX384" fmla="*/ 2496197 w 3189556"/>
                    <a:gd name="connsiteY384" fmla="*/ 1085790 h 2139523"/>
                    <a:gd name="connsiteX385" fmla="*/ 2493176 w 3189556"/>
                    <a:gd name="connsiteY385" fmla="*/ 1092759 h 2139523"/>
                    <a:gd name="connsiteX386" fmla="*/ 2473922 w 3189556"/>
                    <a:gd name="connsiteY386" fmla="*/ 1098029 h 2139523"/>
                    <a:gd name="connsiteX387" fmla="*/ 2459095 w 3189556"/>
                    <a:gd name="connsiteY387" fmla="*/ 1099387 h 2139523"/>
                    <a:gd name="connsiteX388" fmla="*/ 2463475 w 3189556"/>
                    <a:gd name="connsiteY388" fmla="*/ 1099575 h 2139523"/>
                    <a:gd name="connsiteX389" fmla="*/ 2470315 w 3189556"/>
                    <a:gd name="connsiteY389" fmla="*/ 1102596 h 2139523"/>
                    <a:gd name="connsiteX390" fmla="*/ 2469600 w 3189556"/>
                    <a:gd name="connsiteY390" fmla="*/ 1107902 h 2139523"/>
                    <a:gd name="connsiteX391" fmla="*/ 2466075 w 3189556"/>
                    <a:gd name="connsiteY391" fmla="*/ 1112106 h 2139523"/>
                    <a:gd name="connsiteX392" fmla="*/ 2462796 w 3189556"/>
                    <a:gd name="connsiteY392" fmla="*/ 1107866 h 2139523"/>
                    <a:gd name="connsiteX393" fmla="*/ 2457713 w 3189556"/>
                    <a:gd name="connsiteY393" fmla="*/ 1115584 h 2139523"/>
                    <a:gd name="connsiteX394" fmla="*/ 2454750 w 3189556"/>
                    <a:gd name="connsiteY394" fmla="*/ 1119098 h 2139523"/>
                    <a:gd name="connsiteX395" fmla="*/ 2452419 w 3189556"/>
                    <a:gd name="connsiteY395" fmla="*/ 1128057 h 2139523"/>
                    <a:gd name="connsiteX396" fmla="*/ 2435274 w 3189556"/>
                    <a:gd name="connsiteY396" fmla="*/ 1131594 h 2139523"/>
                    <a:gd name="connsiteX397" fmla="*/ 2436023 w 3189556"/>
                    <a:gd name="connsiteY397" fmla="*/ 1118934 h 2139523"/>
                    <a:gd name="connsiteX398" fmla="*/ 2435637 w 3189556"/>
                    <a:gd name="connsiteY398" fmla="*/ 1123864 h 2139523"/>
                    <a:gd name="connsiteX399" fmla="*/ 2434887 w 3189556"/>
                    <a:gd name="connsiteY399" fmla="*/ 1124801 h 2139523"/>
                    <a:gd name="connsiteX400" fmla="*/ 2431467 w 3189556"/>
                    <a:gd name="connsiteY400" fmla="*/ 1122061 h 2139523"/>
                    <a:gd name="connsiteX401" fmla="*/ 2425120 w 3189556"/>
                    <a:gd name="connsiteY401" fmla="*/ 1121803 h 2139523"/>
                    <a:gd name="connsiteX402" fmla="*/ 2432053 w 3189556"/>
                    <a:gd name="connsiteY402" fmla="*/ 1135295 h 2139523"/>
                    <a:gd name="connsiteX403" fmla="*/ 2432018 w 3189556"/>
                    <a:gd name="connsiteY403" fmla="*/ 1136911 h 2139523"/>
                    <a:gd name="connsiteX404" fmla="*/ 2434911 w 3189556"/>
                    <a:gd name="connsiteY404" fmla="*/ 1134639 h 2139523"/>
                    <a:gd name="connsiteX405" fmla="*/ 2429195 w 3189556"/>
                    <a:gd name="connsiteY405" fmla="*/ 1141830 h 2139523"/>
                    <a:gd name="connsiteX406" fmla="*/ 2429922 w 3189556"/>
                    <a:gd name="connsiteY406" fmla="*/ 1138551 h 2139523"/>
                    <a:gd name="connsiteX407" fmla="*/ 2422075 w 3189556"/>
                    <a:gd name="connsiteY407" fmla="*/ 1144652 h 2139523"/>
                    <a:gd name="connsiteX408" fmla="*/ 2414849 w 3189556"/>
                    <a:gd name="connsiteY408" fmla="*/ 1150988 h 2139523"/>
                    <a:gd name="connsiteX409" fmla="*/ 2411710 w 3189556"/>
                    <a:gd name="connsiteY409" fmla="*/ 1155638 h 2139523"/>
                    <a:gd name="connsiteX410" fmla="*/ 2406686 w 3189556"/>
                    <a:gd name="connsiteY410" fmla="*/ 1160510 h 2139523"/>
                    <a:gd name="connsiteX411" fmla="*/ 2398289 w 3189556"/>
                    <a:gd name="connsiteY411" fmla="*/ 1168075 h 2139523"/>
                    <a:gd name="connsiteX412" fmla="*/ 2389165 w 3189556"/>
                    <a:gd name="connsiteY412" fmla="*/ 1179342 h 2139523"/>
                    <a:gd name="connsiteX413" fmla="*/ 2384856 w 3189556"/>
                    <a:gd name="connsiteY413" fmla="*/ 1189437 h 2139523"/>
                    <a:gd name="connsiteX414" fmla="*/ 2378613 w 3189556"/>
                    <a:gd name="connsiteY414" fmla="*/ 1192435 h 2139523"/>
                    <a:gd name="connsiteX415" fmla="*/ 2378496 w 3189556"/>
                    <a:gd name="connsiteY415" fmla="*/ 1211607 h 2139523"/>
                    <a:gd name="connsiteX416" fmla="*/ 2388100 w 3189556"/>
                    <a:gd name="connsiteY416" fmla="*/ 1209148 h 2139523"/>
                    <a:gd name="connsiteX417" fmla="*/ 2397106 w 3189556"/>
                    <a:gd name="connsiteY417" fmla="*/ 1218259 h 2139523"/>
                    <a:gd name="connsiteX418" fmla="*/ 2419686 w 3189556"/>
                    <a:gd name="connsiteY418" fmla="*/ 1227886 h 2139523"/>
                    <a:gd name="connsiteX419" fmla="*/ 2438483 w 3189556"/>
                    <a:gd name="connsiteY419" fmla="*/ 1249880 h 2139523"/>
                    <a:gd name="connsiteX420" fmla="*/ 2442547 w 3189556"/>
                    <a:gd name="connsiteY420" fmla="*/ 1262470 h 2139523"/>
                    <a:gd name="connsiteX421" fmla="*/ 2446739 w 3189556"/>
                    <a:gd name="connsiteY421" fmla="*/ 1273573 h 2139523"/>
                    <a:gd name="connsiteX422" fmla="*/ 2445275 w 3189556"/>
                    <a:gd name="connsiteY422" fmla="*/ 1273971 h 2139523"/>
                    <a:gd name="connsiteX423" fmla="*/ 2455195 w 3189556"/>
                    <a:gd name="connsiteY423" fmla="*/ 1293447 h 2139523"/>
                    <a:gd name="connsiteX424" fmla="*/ 2458146 w 3189556"/>
                    <a:gd name="connsiteY424" fmla="*/ 1299971 h 2139523"/>
                    <a:gd name="connsiteX425" fmla="*/ 2462784 w 3189556"/>
                    <a:gd name="connsiteY425" fmla="*/ 1307642 h 2139523"/>
                    <a:gd name="connsiteX426" fmla="*/ 2466485 w 3189556"/>
                    <a:gd name="connsiteY426" fmla="*/ 1310382 h 2139523"/>
                    <a:gd name="connsiteX427" fmla="*/ 2464939 w 3189556"/>
                    <a:gd name="connsiteY427" fmla="*/ 1329952 h 2139523"/>
                    <a:gd name="connsiteX428" fmla="*/ 2463862 w 3189556"/>
                    <a:gd name="connsiteY428" fmla="*/ 1327938 h 2139523"/>
                    <a:gd name="connsiteX429" fmla="*/ 2477470 w 3189556"/>
                    <a:gd name="connsiteY429" fmla="*/ 1341101 h 2139523"/>
                    <a:gd name="connsiteX430" fmla="*/ 2491021 w 3189556"/>
                    <a:gd name="connsiteY430" fmla="*/ 1356537 h 2139523"/>
                    <a:gd name="connsiteX431" fmla="*/ 2497649 w 3189556"/>
                    <a:gd name="connsiteY431" fmla="*/ 1363634 h 2139523"/>
                    <a:gd name="connsiteX432" fmla="*/ 2512066 w 3189556"/>
                    <a:gd name="connsiteY432" fmla="*/ 1370228 h 2139523"/>
                    <a:gd name="connsiteX433" fmla="*/ 2520311 w 3189556"/>
                    <a:gd name="connsiteY433" fmla="*/ 1384153 h 2139523"/>
                    <a:gd name="connsiteX434" fmla="*/ 2506339 w 3189556"/>
                    <a:gd name="connsiteY434" fmla="*/ 1385395 h 2139523"/>
                    <a:gd name="connsiteX435" fmla="*/ 2492555 w 3189556"/>
                    <a:gd name="connsiteY435" fmla="*/ 1378508 h 2139523"/>
                    <a:gd name="connsiteX436" fmla="*/ 2474262 w 3189556"/>
                    <a:gd name="connsiteY436" fmla="*/ 1380370 h 2139523"/>
                    <a:gd name="connsiteX437" fmla="*/ 2447243 w 3189556"/>
                    <a:gd name="connsiteY437" fmla="*/ 1365216 h 2139523"/>
                    <a:gd name="connsiteX438" fmla="*/ 2426361 w 3189556"/>
                    <a:gd name="connsiteY438" fmla="*/ 1373062 h 2139523"/>
                    <a:gd name="connsiteX439" fmla="*/ 2415961 w 3189556"/>
                    <a:gd name="connsiteY439" fmla="*/ 1357369 h 2139523"/>
                    <a:gd name="connsiteX440" fmla="*/ 2414825 w 3189556"/>
                    <a:gd name="connsiteY440" fmla="*/ 1358493 h 2139523"/>
                    <a:gd name="connsiteX441" fmla="*/ 2399835 w 3189556"/>
                    <a:gd name="connsiteY441" fmla="*/ 1349428 h 2139523"/>
                    <a:gd name="connsiteX442" fmla="*/ 2399483 w 3189556"/>
                    <a:gd name="connsiteY442" fmla="*/ 1358563 h 2139523"/>
                    <a:gd name="connsiteX443" fmla="*/ 2408993 w 3189556"/>
                    <a:gd name="connsiteY443" fmla="*/ 1358470 h 2139523"/>
                    <a:gd name="connsiteX444" fmla="*/ 2418913 w 3189556"/>
                    <a:gd name="connsiteY444" fmla="*/ 1371762 h 2139523"/>
                    <a:gd name="connsiteX445" fmla="*/ 2439830 w 3189556"/>
                    <a:gd name="connsiteY445" fmla="*/ 1372102 h 2139523"/>
                    <a:gd name="connsiteX446" fmla="*/ 2454973 w 3189556"/>
                    <a:gd name="connsiteY446" fmla="*/ 1370029 h 2139523"/>
                    <a:gd name="connsiteX447" fmla="*/ 2457432 w 3189556"/>
                    <a:gd name="connsiteY447" fmla="*/ 1377993 h 2139523"/>
                    <a:gd name="connsiteX448" fmla="*/ 2472048 w 3189556"/>
                    <a:gd name="connsiteY448" fmla="*/ 1384575 h 2139523"/>
                    <a:gd name="connsiteX449" fmla="*/ 2488889 w 3189556"/>
                    <a:gd name="connsiteY449" fmla="*/ 1398535 h 2139523"/>
                    <a:gd name="connsiteX450" fmla="*/ 2507159 w 3189556"/>
                    <a:gd name="connsiteY450" fmla="*/ 1409649 h 2139523"/>
                    <a:gd name="connsiteX451" fmla="*/ 2523180 w 3189556"/>
                    <a:gd name="connsiteY451" fmla="*/ 1432487 h 2139523"/>
                    <a:gd name="connsiteX452" fmla="*/ 2500472 w 3189556"/>
                    <a:gd name="connsiteY452" fmla="*/ 1438143 h 2139523"/>
                    <a:gd name="connsiteX453" fmla="*/ 2482811 w 3189556"/>
                    <a:gd name="connsiteY453" fmla="*/ 1446821 h 2139523"/>
                    <a:gd name="connsiteX454" fmla="*/ 2472657 w 3189556"/>
                    <a:gd name="connsiteY454" fmla="*/ 1452595 h 2139523"/>
                    <a:gd name="connsiteX455" fmla="*/ 2466707 w 3189556"/>
                    <a:gd name="connsiteY455" fmla="*/ 1461953 h 2139523"/>
                    <a:gd name="connsiteX456" fmla="*/ 2467761 w 3189556"/>
                    <a:gd name="connsiteY456" fmla="*/ 1463475 h 2139523"/>
                    <a:gd name="connsiteX457" fmla="*/ 2447430 w 3189556"/>
                    <a:gd name="connsiteY457" fmla="*/ 1461765 h 2139523"/>
                    <a:gd name="connsiteX458" fmla="*/ 2439420 w 3189556"/>
                    <a:gd name="connsiteY458" fmla="*/ 1469390 h 2139523"/>
                    <a:gd name="connsiteX459" fmla="*/ 2434911 w 3189556"/>
                    <a:gd name="connsiteY459" fmla="*/ 1467797 h 2139523"/>
                    <a:gd name="connsiteX460" fmla="*/ 2427708 w 3189556"/>
                    <a:gd name="connsiteY460" fmla="*/ 1473512 h 2139523"/>
                    <a:gd name="connsiteX461" fmla="*/ 2434911 w 3189556"/>
                    <a:gd name="connsiteY461" fmla="*/ 1468980 h 2139523"/>
                    <a:gd name="connsiteX462" fmla="*/ 2441141 w 3189556"/>
                    <a:gd name="connsiteY462" fmla="*/ 1468874 h 2139523"/>
                    <a:gd name="connsiteX463" fmla="*/ 2452466 w 3189556"/>
                    <a:gd name="connsiteY463" fmla="*/ 1463569 h 2139523"/>
                    <a:gd name="connsiteX464" fmla="*/ 2458334 w 3189556"/>
                    <a:gd name="connsiteY464" fmla="*/ 1471603 h 2139523"/>
                    <a:gd name="connsiteX465" fmla="*/ 2461355 w 3189556"/>
                    <a:gd name="connsiteY465" fmla="*/ 1481101 h 2139523"/>
                    <a:gd name="connsiteX466" fmla="*/ 2453743 w 3189556"/>
                    <a:gd name="connsiteY466" fmla="*/ 1477623 h 2139523"/>
                    <a:gd name="connsiteX467" fmla="*/ 2467422 w 3189556"/>
                    <a:gd name="connsiteY467" fmla="*/ 1474718 h 2139523"/>
                    <a:gd name="connsiteX468" fmla="*/ 2480937 w 3189556"/>
                    <a:gd name="connsiteY468" fmla="*/ 1465923 h 2139523"/>
                    <a:gd name="connsiteX469" fmla="*/ 2509864 w 3189556"/>
                    <a:gd name="connsiteY469" fmla="*/ 1487144 h 2139523"/>
                    <a:gd name="connsiteX470" fmla="*/ 2520206 w 3189556"/>
                    <a:gd name="connsiteY470" fmla="*/ 1489978 h 2139523"/>
                    <a:gd name="connsiteX471" fmla="*/ 2531496 w 3189556"/>
                    <a:gd name="connsiteY471" fmla="*/ 1491477 h 2139523"/>
                    <a:gd name="connsiteX472" fmla="*/ 2517243 w 3189556"/>
                    <a:gd name="connsiteY472" fmla="*/ 1501139 h 2139523"/>
                    <a:gd name="connsiteX473" fmla="*/ 2508506 w 3189556"/>
                    <a:gd name="connsiteY473" fmla="*/ 1509560 h 2139523"/>
                    <a:gd name="connsiteX474" fmla="*/ 2499909 w 3189556"/>
                    <a:gd name="connsiteY474" fmla="*/ 1512827 h 2139523"/>
                    <a:gd name="connsiteX475" fmla="*/ 2495330 w 3189556"/>
                    <a:gd name="connsiteY475" fmla="*/ 1512019 h 2139523"/>
                    <a:gd name="connsiteX476" fmla="*/ 2495284 w 3189556"/>
                    <a:gd name="connsiteY476" fmla="*/ 1518215 h 2139523"/>
                    <a:gd name="connsiteX477" fmla="*/ 2498539 w 3189556"/>
                    <a:gd name="connsiteY477" fmla="*/ 1514315 h 2139523"/>
                    <a:gd name="connsiteX478" fmla="*/ 2497485 w 3189556"/>
                    <a:gd name="connsiteY478" fmla="*/ 1519620 h 2139523"/>
                    <a:gd name="connsiteX479" fmla="*/ 2512043 w 3189556"/>
                    <a:gd name="connsiteY479" fmla="*/ 1511633 h 2139523"/>
                    <a:gd name="connsiteX480" fmla="*/ 2516411 w 3189556"/>
                    <a:gd name="connsiteY480" fmla="*/ 1512008 h 2139523"/>
                    <a:gd name="connsiteX481" fmla="*/ 2511059 w 3189556"/>
                    <a:gd name="connsiteY481" fmla="*/ 1510837 h 2139523"/>
                    <a:gd name="connsiteX482" fmla="*/ 2519679 w 3189556"/>
                    <a:gd name="connsiteY482" fmla="*/ 1511972 h 2139523"/>
                    <a:gd name="connsiteX483" fmla="*/ 2522138 w 3189556"/>
                    <a:gd name="connsiteY483" fmla="*/ 1518601 h 2139523"/>
                    <a:gd name="connsiteX484" fmla="*/ 2523017 w 3189556"/>
                    <a:gd name="connsiteY484" fmla="*/ 1525628 h 2139523"/>
                    <a:gd name="connsiteX485" fmla="*/ 2523906 w 3189556"/>
                    <a:gd name="connsiteY485" fmla="*/ 1527174 h 2139523"/>
                    <a:gd name="connsiteX486" fmla="*/ 2514936 w 3189556"/>
                    <a:gd name="connsiteY486" fmla="*/ 1532620 h 2139523"/>
                    <a:gd name="connsiteX487" fmla="*/ 2516036 w 3189556"/>
                    <a:gd name="connsiteY487" fmla="*/ 1523684 h 2139523"/>
                    <a:gd name="connsiteX488" fmla="*/ 2513905 w 3189556"/>
                    <a:gd name="connsiteY488" fmla="*/ 1523684 h 2139523"/>
                    <a:gd name="connsiteX489" fmla="*/ 2513905 w 3189556"/>
                    <a:gd name="connsiteY489" fmla="*/ 1520546 h 2139523"/>
                    <a:gd name="connsiteX490" fmla="*/ 2510907 w 3189556"/>
                    <a:gd name="connsiteY490" fmla="*/ 1530512 h 2139523"/>
                    <a:gd name="connsiteX491" fmla="*/ 2506327 w 3189556"/>
                    <a:gd name="connsiteY491" fmla="*/ 1524762 h 2139523"/>
                    <a:gd name="connsiteX492" fmla="*/ 2504992 w 3189556"/>
                    <a:gd name="connsiteY492" fmla="*/ 1531109 h 2139523"/>
                    <a:gd name="connsiteX493" fmla="*/ 2501549 w 3189556"/>
                    <a:gd name="connsiteY493" fmla="*/ 1524528 h 2139523"/>
                    <a:gd name="connsiteX494" fmla="*/ 2502146 w 3189556"/>
                    <a:gd name="connsiteY494" fmla="*/ 1526026 h 2139523"/>
                    <a:gd name="connsiteX495" fmla="*/ 2499605 w 3189556"/>
                    <a:gd name="connsiteY495" fmla="*/ 1526026 h 2139523"/>
                    <a:gd name="connsiteX496" fmla="*/ 2498434 w 3189556"/>
                    <a:gd name="connsiteY496" fmla="*/ 1531636 h 2139523"/>
                    <a:gd name="connsiteX497" fmla="*/ 2497216 w 3189556"/>
                    <a:gd name="connsiteY497" fmla="*/ 1530606 h 2139523"/>
                    <a:gd name="connsiteX498" fmla="*/ 2493480 w 3189556"/>
                    <a:gd name="connsiteY498" fmla="*/ 1532655 h 2139523"/>
                    <a:gd name="connsiteX499" fmla="*/ 2495295 w 3189556"/>
                    <a:gd name="connsiteY499" fmla="*/ 1533440 h 2139523"/>
                    <a:gd name="connsiteX500" fmla="*/ 2495974 w 3189556"/>
                    <a:gd name="connsiteY500" fmla="*/ 1534201 h 2139523"/>
                    <a:gd name="connsiteX501" fmla="*/ 2493129 w 3189556"/>
                    <a:gd name="connsiteY501" fmla="*/ 1535747 h 2139523"/>
                    <a:gd name="connsiteX502" fmla="*/ 2504676 w 3189556"/>
                    <a:gd name="connsiteY502" fmla="*/ 1537281 h 2139523"/>
                    <a:gd name="connsiteX503" fmla="*/ 2500238 w 3189556"/>
                    <a:gd name="connsiteY503" fmla="*/ 1540760 h 2139523"/>
                    <a:gd name="connsiteX504" fmla="*/ 2508154 w 3189556"/>
                    <a:gd name="connsiteY504" fmla="*/ 1540818 h 2139523"/>
                    <a:gd name="connsiteX505" fmla="*/ 2509618 w 3189556"/>
                    <a:gd name="connsiteY505" fmla="*/ 1544706 h 2139523"/>
                    <a:gd name="connsiteX506" fmla="*/ 2502814 w 3189556"/>
                    <a:gd name="connsiteY506" fmla="*/ 1543886 h 2139523"/>
                    <a:gd name="connsiteX507" fmla="*/ 2497825 w 3189556"/>
                    <a:gd name="connsiteY507" fmla="*/ 1545866 h 2139523"/>
                    <a:gd name="connsiteX508" fmla="*/ 2504688 w 3189556"/>
                    <a:gd name="connsiteY508" fmla="*/ 1550749 h 2139523"/>
                    <a:gd name="connsiteX509" fmla="*/ 2507124 w 3189556"/>
                    <a:gd name="connsiteY509" fmla="*/ 1551710 h 2139523"/>
                    <a:gd name="connsiteX510" fmla="*/ 2505332 w 3189556"/>
                    <a:gd name="connsiteY510" fmla="*/ 1552881 h 2139523"/>
                    <a:gd name="connsiteX511" fmla="*/ 2506737 w 3189556"/>
                    <a:gd name="connsiteY511" fmla="*/ 1553689 h 2139523"/>
                    <a:gd name="connsiteX512" fmla="*/ 2479614 w 3189556"/>
                    <a:gd name="connsiteY512" fmla="*/ 1550562 h 2139523"/>
                    <a:gd name="connsiteX513" fmla="*/ 2485669 w 3189556"/>
                    <a:gd name="connsiteY513" fmla="*/ 1560236 h 2139523"/>
                    <a:gd name="connsiteX514" fmla="*/ 2502533 w 3189556"/>
                    <a:gd name="connsiteY514" fmla="*/ 1569886 h 2139523"/>
                    <a:gd name="connsiteX515" fmla="*/ 2498879 w 3189556"/>
                    <a:gd name="connsiteY515" fmla="*/ 1570741 h 2139523"/>
                    <a:gd name="connsiteX516" fmla="*/ 2503892 w 3189556"/>
                    <a:gd name="connsiteY516" fmla="*/ 1571444 h 2139523"/>
                    <a:gd name="connsiteX517" fmla="*/ 2502346 w 3189556"/>
                    <a:gd name="connsiteY517" fmla="*/ 1583706 h 2139523"/>
                    <a:gd name="connsiteX518" fmla="*/ 2493000 w 3189556"/>
                    <a:gd name="connsiteY518" fmla="*/ 1581539 h 2139523"/>
                    <a:gd name="connsiteX519" fmla="*/ 2490658 w 3189556"/>
                    <a:gd name="connsiteY519" fmla="*/ 1587793 h 2139523"/>
                    <a:gd name="connsiteX520" fmla="*/ 2491723 w 3189556"/>
                    <a:gd name="connsiteY520" fmla="*/ 1587372 h 2139523"/>
                    <a:gd name="connsiteX521" fmla="*/ 2483935 w 3189556"/>
                    <a:gd name="connsiteY521" fmla="*/ 1584912 h 2139523"/>
                    <a:gd name="connsiteX522" fmla="*/ 2482776 w 3189556"/>
                    <a:gd name="connsiteY522" fmla="*/ 1579654 h 2139523"/>
                    <a:gd name="connsiteX523" fmla="*/ 2485984 w 3189556"/>
                    <a:gd name="connsiteY523" fmla="*/ 1577721 h 2139523"/>
                    <a:gd name="connsiteX524" fmla="*/ 2480995 w 3189556"/>
                    <a:gd name="connsiteY524" fmla="*/ 1576655 h 2139523"/>
                    <a:gd name="connsiteX525" fmla="*/ 2473477 w 3189556"/>
                    <a:gd name="connsiteY525" fmla="*/ 1581188 h 2139523"/>
                    <a:gd name="connsiteX526" fmla="*/ 2477049 w 3189556"/>
                    <a:gd name="connsiteY526" fmla="*/ 1588484 h 2139523"/>
                    <a:gd name="connsiteX527" fmla="*/ 2470771 w 3189556"/>
                    <a:gd name="connsiteY527" fmla="*/ 1598603 h 2139523"/>
                    <a:gd name="connsiteX528" fmla="*/ 2449199 w 3189556"/>
                    <a:gd name="connsiteY528" fmla="*/ 1592021 h 2139523"/>
                    <a:gd name="connsiteX529" fmla="*/ 2465021 w 3189556"/>
                    <a:gd name="connsiteY529" fmla="*/ 1603861 h 2139523"/>
                    <a:gd name="connsiteX530" fmla="*/ 2453146 w 3189556"/>
                    <a:gd name="connsiteY530" fmla="*/ 1611731 h 2139523"/>
                    <a:gd name="connsiteX531" fmla="*/ 2452021 w 3189556"/>
                    <a:gd name="connsiteY531" fmla="*/ 1624895 h 2139523"/>
                    <a:gd name="connsiteX532" fmla="*/ 2453731 w 3189556"/>
                    <a:gd name="connsiteY532" fmla="*/ 1629685 h 2139523"/>
                    <a:gd name="connsiteX533" fmla="*/ 2448472 w 3189556"/>
                    <a:gd name="connsiteY533" fmla="*/ 1632004 h 2139523"/>
                    <a:gd name="connsiteX534" fmla="*/ 2446353 w 3189556"/>
                    <a:gd name="connsiteY534" fmla="*/ 1635635 h 2139523"/>
                    <a:gd name="connsiteX535" fmla="*/ 2444432 w 3189556"/>
                    <a:gd name="connsiteY535" fmla="*/ 1644430 h 2139523"/>
                    <a:gd name="connsiteX536" fmla="*/ 2442383 w 3189556"/>
                    <a:gd name="connsiteY536" fmla="*/ 1644910 h 2139523"/>
                    <a:gd name="connsiteX537" fmla="*/ 2436656 w 3189556"/>
                    <a:gd name="connsiteY537" fmla="*/ 1638352 h 2139523"/>
                    <a:gd name="connsiteX538" fmla="*/ 2435601 w 3189556"/>
                    <a:gd name="connsiteY538" fmla="*/ 1637942 h 2139523"/>
                    <a:gd name="connsiteX539" fmla="*/ 2436281 w 3189556"/>
                    <a:gd name="connsiteY539" fmla="*/ 1636817 h 2139523"/>
                    <a:gd name="connsiteX540" fmla="*/ 2433786 w 3189556"/>
                    <a:gd name="connsiteY540" fmla="*/ 1636431 h 2139523"/>
                    <a:gd name="connsiteX541" fmla="*/ 2434161 w 3189556"/>
                    <a:gd name="connsiteY541" fmla="*/ 1637579 h 2139523"/>
                    <a:gd name="connsiteX542" fmla="*/ 2431678 w 3189556"/>
                    <a:gd name="connsiteY542" fmla="*/ 1637169 h 2139523"/>
                    <a:gd name="connsiteX543" fmla="*/ 2431784 w 3189556"/>
                    <a:gd name="connsiteY543" fmla="*/ 1639570 h 2139523"/>
                    <a:gd name="connsiteX544" fmla="*/ 2430214 w 3189556"/>
                    <a:gd name="connsiteY544" fmla="*/ 1637930 h 2139523"/>
                    <a:gd name="connsiteX545" fmla="*/ 2430941 w 3189556"/>
                    <a:gd name="connsiteY545" fmla="*/ 1641444 h 2139523"/>
                    <a:gd name="connsiteX546" fmla="*/ 2438131 w 3189556"/>
                    <a:gd name="connsiteY546" fmla="*/ 1641022 h 2139523"/>
                    <a:gd name="connsiteX547" fmla="*/ 2438131 w 3189556"/>
                    <a:gd name="connsiteY547" fmla="*/ 1644512 h 2139523"/>
                    <a:gd name="connsiteX548" fmla="*/ 2442008 w 3189556"/>
                    <a:gd name="connsiteY548" fmla="*/ 1646397 h 2139523"/>
                    <a:gd name="connsiteX549" fmla="*/ 2439513 w 3189556"/>
                    <a:gd name="connsiteY549" fmla="*/ 1646397 h 2139523"/>
                    <a:gd name="connsiteX550" fmla="*/ 2441282 w 3189556"/>
                    <a:gd name="connsiteY550" fmla="*/ 1646819 h 2139523"/>
                    <a:gd name="connsiteX551" fmla="*/ 2439138 w 3189556"/>
                    <a:gd name="connsiteY551" fmla="*/ 1647627 h 2139523"/>
                    <a:gd name="connsiteX552" fmla="*/ 2440602 w 3189556"/>
                    <a:gd name="connsiteY552" fmla="*/ 1648705 h 2139523"/>
                    <a:gd name="connsiteX553" fmla="*/ 2432697 w 3189556"/>
                    <a:gd name="connsiteY553" fmla="*/ 1647205 h 2139523"/>
                    <a:gd name="connsiteX554" fmla="*/ 2434501 w 3189556"/>
                    <a:gd name="connsiteY554" fmla="*/ 1651082 h 2139523"/>
                    <a:gd name="connsiteX555" fmla="*/ 2431280 w 3189556"/>
                    <a:gd name="connsiteY555" fmla="*/ 1652569 h 2139523"/>
                    <a:gd name="connsiteX556" fmla="*/ 2427743 w 3189556"/>
                    <a:gd name="connsiteY556" fmla="*/ 1655673 h 2139523"/>
                    <a:gd name="connsiteX557" fmla="*/ 2432697 w 3189556"/>
                    <a:gd name="connsiteY557" fmla="*/ 1657172 h 2139523"/>
                    <a:gd name="connsiteX558" fmla="*/ 2421665 w 3189556"/>
                    <a:gd name="connsiteY558" fmla="*/ 1660276 h 2139523"/>
                    <a:gd name="connsiteX559" fmla="*/ 2422883 w 3189556"/>
                    <a:gd name="connsiteY559" fmla="*/ 1660861 h 2139523"/>
                    <a:gd name="connsiteX560" fmla="*/ 2426677 w 3189556"/>
                    <a:gd name="connsiteY560" fmla="*/ 1666049 h 2139523"/>
                    <a:gd name="connsiteX561" fmla="*/ 2427743 w 3189556"/>
                    <a:gd name="connsiteY561" fmla="*/ 1670289 h 2139523"/>
                    <a:gd name="connsiteX562" fmla="*/ 2427005 w 3189556"/>
                    <a:gd name="connsiteY562" fmla="*/ 1674084 h 2139523"/>
                    <a:gd name="connsiteX563" fmla="*/ 2424194 w 3189556"/>
                    <a:gd name="connsiteY563" fmla="*/ 1676098 h 2139523"/>
                    <a:gd name="connsiteX564" fmla="*/ 2424159 w 3189556"/>
                    <a:gd name="connsiteY564" fmla="*/ 1674494 h 2139523"/>
                    <a:gd name="connsiteX565" fmla="*/ 2413666 w 3189556"/>
                    <a:gd name="connsiteY565" fmla="*/ 1676321 h 2139523"/>
                    <a:gd name="connsiteX566" fmla="*/ 2419650 w 3189556"/>
                    <a:gd name="connsiteY566" fmla="*/ 1671835 h 2139523"/>
                    <a:gd name="connsiteX567" fmla="*/ 2424171 w 3189556"/>
                    <a:gd name="connsiteY567" fmla="*/ 1666049 h 2139523"/>
                    <a:gd name="connsiteX568" fmla="*/ 2414872 w 3189556"/>
                    <a:gd name="connsiteY568" fmla="*/ 1673732 h 2139523"/>
                    <a:gd name="connsiteX569" fmla="*/ 2412553 w 3189556"/>
                    <a:gd name="connsiteY569" fmla="*/ 1674084 h 2139523"/>
                    <a:gd name="connsiteX570" fmla="*/ 2409145 w 3189556"/>
                    <a:gd name="connsiteY570" fmla="*/ 1672163 h 2139523"/>
                    <a:gd name="connsiteX571" fmla="*/ 2411675 w 3189556"/>
                    <a:gd name="connsiteY571" fmla="*/ 1666424 h 2139523"/>
                    <a:gd name="connsiteX572" fmla="*/ 2409145 w 3189556"/>
                    <a:gd name="connsiteY572" fmla="*/ 1666424 h 2139523"/>
                    <a:gd name="connsiteX573" fmla="*/ 2411991 w 3189556"/>
                    <a:gd name="connsiteY573" fmla="*/ 1662946 h 2139523"/>
                    <a:gd name="connsiteX574" fmla="*/ 2407775 w 3189556"/>
                    <a:gd name="connsiteY574" fmla="*/ 1666202 h 2139523"/>
                    <a:gd name="connsiteX575" fmla="*/ 2406065 w 3189556"/>
                    <a:gd name="connsiteY575" fmla="*/ 1667923 h 2139523"/>
                    <a:gd name="connsiteX576" fmla="*/ 2403231 w 3189556"/>
                    <a:gd name="connsiteY576" fmla="*/ 1666272 h 2139523"/>
                    <a:gd name="connsiteX577" fmla="*/ 2405667 w 3189556"/>
                    <a:gd name="connsiteY577" fmla="*/ 1671589 h 2139523"/>
                    <a:gd name="connsiteX578" fmla="*/ 2397867 w 3189556"/>
                    <a:gd name="connsiteY578" fmla="*/ 1666530 h 2139523"/>
                    <a:gd name="connsiteX579" fmla="*/ 2399132 w 3189556"/>
                    <a:gd name="connsiteY579" fmla="*/ 1674482 h 2139523"/>
                    <a:gd name="connsiteX580" fmla="*/ 2399132 w 3189556"/>
                    <a:gd name="connsiteY580" fmla="*/ 1678721 h 2139523"/>
                    <a:gd name="connsiteX581" fmla="*/ 2408794 w 3189556"/>
                    <a:gd name="connsiteY581" fmla="*/ 1679822 h 2139523"/>
                    <a:gd name="connsiteX582" fmla="*/ 2408044 w 3189556"/>
                    <a:gd name="connsiteY582" fmla="*/ 1679073 h 2139523"/>
                    <a:gd name="connsiteX583" fmla="*/ 2409508 w 3189556"/>
                    <a:gd name="connsiteY583" fmla="*/ 1681778 h 2139523"/>
                    <a:gd name="connsiteX584" fmla="*/ 2409145 w 3189556"/>
                    <a:gd name="connsiteY584" fmla="*/ 1686369 h 2139523"/>
                    <a:gd name="connsiteX585" fmla="*/ 2401954 w 3189556"/>
                    <a:gd name="connsiteY585" fmla="*/ 1682774 h 2139523"/>
                    <a:gd name="connsiteX586" fmla="*/ 2399425 w 3189556"/>
                    <a:gd name="connsiteY586" fmla="*/ 1686275 h 2139523"/>
                    <a:gd name="connsiteX587" fmla="*/ 2403418 w 3189556"/>
                    <a:gd name="connsiteY587" fmla="*/ 1692892 h 2139523"/>
                    <a:gd name="connsiteX588" fmla="*/ 2409836 w 3189556"/>
                    <a:gd name="connsiteY588" fmla="*/ 1687399 h 2139523"/>
                    <a:gd name="connsiteX589" fmla="*/ 2417402 w 3189556"/>
                    <a:gd name="connsiteY589" fmla="*/ 1689801 h 2139523"/>
                    <a:gd name="connsiteX590" fmla="*/ 2409860 w 3189556"/>
                    <a:gd name="connsiteY590" fmla="*/ 1694391 h 2139523"/>
                    <a:gd name="connsiteX591" fmla="*/ 2400912 w 3189556"/>
                    <a:gd name="connsiteY591" fmla="*/ 1696359 h 2139523"/>
                    <a:gd name="connsiteX592" fmla="*/ 2391168 w 3189556"/>
                    <a:gd name="connsiteY592" fmla="*/ 1711619 h 2139523"/>
                    <a:gd name="connsiteX593" fmla="*/ 2372711 w 3189556"/>
                    <a:gd name="connsiteY593" fmla="*/ 1702461 h 2139523"/>
                    <a:gd name="connsiteX594" fmla="*/ 2390430 w 3189556"/>
                    <a:gd name="connsiteY594" fmla="*/ 1712825 h 2139523"/>
                    <a:gd name="connsiteX595" fmla="*/ 2402013 w 3189556"/>
                    <a:gd name="connsiteY595" fmla="*/ 1709651 h 2139523"/>
                    <a:gd name="connsiteX596" fmla="*/ 2399132 w 3189556"/>
                    <a:gd name="connsiteY596" fmla="*/ 1719290 h 2139523"/>
                    <a:gd name="connsiteX597" fmla="*/ 2397808 w 3189556"/>
                    <a:gd name="connsiteY597" fmla="*/ 1717018 h 2139523"/>
                    <a:gd name="connsiteX598" fmla="*/ 2398816 w 3189556"/>
                    <a:gd name="connsiteY598" fmla="*/ 1726106 h 2139523"/>
                    <a:gd name="connsiteX599" fmla="*/ 2391274 w 3189556"/>
                    <a:gd name="connsiteY599" fmla="*/ 1728039 h 2139523"/>
                    <a:gd name="connsiteX600" fmla="*/ 2393054 w 3189556"/>
                    <a:gd name="connsiteY600" fmla="*/ 1731458 h 2139523"/>
                    <a:gd name="connsiteX601" fmla="*/ 2398078 w 3189556"/>
                    <a:gd name="connsiteY601" fmla="*/ 1733742 h 2139523"/>
                    <a:gd name="connsiteX602" fmla="*/ 2398781 w 3189556"/>
                    <a:gd name="connsiteY602" fmla="*/ 1736822 h 2139523"/>
                    <a:gd name="connsiteX603" fmla="*/ 2397399 w 3189556"/>
                    <a:gd name="connsiteY603" fmla="*/ 1737583 h 2139523"/>
                    <a:gd name="connsiteX604" fmla="*/ 2399132 w 3189556"/>
                    <a:gd name="connsiteY604" fmla="*/ 1737993 h 2139523"/>
                    <a:gd name="connsiteX605" fmla="*/ 2397703 w 3189556"/>
                    <a:gd name="connsiteY605" fmla="*/ 1739141 h 2139523"/>
                    <a:gd name="connsiteX606" fmla="*/ 2399881 w 3189556"/>
                    <a:gd name="connsiteY606" fmla="*/ 1741870 h 2139523"/>
                    <a:gd name="connsiteX607" fmla="*/ 2400198 w 3189556"/>
                    <a:gd name="connsiteY607" fmla="*/ 1745969 h 2139523"/>
                    <a:gd name="connsiteX608" fmla="*/ 2401989 w 3189556"/>
                    <a:gd name="connsiteY608" fmla="*/ 1746355 h 2139523"/>
                    <a:gd name="connsiteX609" fmla="*/ 2398078 w 3189556"/>
                    <a:gd name="connsiteY609" fmla="*/ 1747117 h 2139523"/>
                    <a:gd name="connsiteX610" fmla="*/ 2395923 w 3189556"/>
                    <a:gd name="connsiteY610" fmla="*/ 1740629 h 2139523"/>
                    <a:gd name="connsiteX611" fmla="*/ 2393054 w 3189556"/>
                    <a:gd name="connsiteY611" fmla="*/ 1745629 h 2139523"/>
                    <a:gd name="connsiteX612" fmla="*/ 2394295 w 3189556"/>
                    <a:gd name="connsiteY612" fmla="*/ 1739879 h 2139523"/>
                    <a:gd name="connsiteX613" fmla="*/ 2391145 w 3189556"/>
                    <a:gd name="connsiteY613" fmla="*/ 1741870 h 2139523"/>
                    <a:gd name="connsiteX614" fmla="*/ 2387690 w 3189556"/>
                    <a:gd name="connsiteY614" fmla="*/ 1733402 h 2139523"/>
                    <a:gd name="connsiteX615" fmla="*/ 2383755 w 3189556"/>
                    <a:gd name="connsiteY615" fmla="*/ 1732641 h 2139523"/>
                    <a:gd name="connsiteX616" fmla="*/ 2373179 w 3189556"/>
                    <a:gd name="connsiteY616" fmla="*/ 1742901 h 2139523"/>
                    <a:gd name="connsiteX617" fmla="*/ 2376868 w 3189556"/>
                    <a:gd name="connsiteY617" fmla="*/ 1748182 h 2139523"/>
                    <a:gd name="connsiteX618" fmla="*/ 2378016 w 3189556"/>
                    <a:gd name="connsiteY618" fmla="*/ 1746355 h 2139523"/>
                    <a:gd name="connsiteX619" fmla="*/ 2378321 w 3189556"/>
                    <a:gd name="connsiteY619" fmla="*/ 1751825 h 2139523"/>
                    <a:gd name="connsiteX620" fmla="*/ 2380511 w 3189556"/>
                    <a:gd name="connsiteY620" fmla="*/ 1747901 h 2139523"/>
                    <a:gd name="connsiteX621" fmla="*/ 2384610 w 3189556"/>
                    <a:gd name="connsiteY621" fmla="*/ 1750841 h 2139523"/>
                    <a:gd name="connsiteX622" fmla="*/ 2385266 w 3189556"/>
                    <a:gd name="connsiteY622" fmla="*/ 1752902 h 2139523"/>
                    <a:gd name="connsiteX623" fmla="*/ 2382900 w 3189556"/>
                    <a:gd name="connsiteY623" fmla="*/ 1755736 h 2139523"/>
                    <a:gd name="connsiteX624" fmla="*/ 2375826 w 3189556"/>
                    <a:gd name="connsiteY624" fmla="*/ 1758489 h 2139523"/>
                    <a:gd name="connsiteX625" fmla="*/ 2372711 w 3189556"/>
                    <a:gd name="connsiteY625" fmla="*/ 1758711 h 2139523"/>
                    <a:gd name="connsiteX626" fmla="*/ 2373015 w 3189556"/>
                    <a:gd name="connsiteY626" fmla="*/ 1760081 h 2139523"/>
                    <a:gd name="connsiteX627" fmla="*/ 2371212 w 3189556"/>
                    <a:gd name="connsiteY627" fmla="*/ 1757224 h 2139523"/>
                    <a:gd name="connsiteX628" fmla="*/ 2370158 w 3189556"/>
                    <a:gd name="connsiteY628" fmla="*/ 1759320 h 2139523"/>
                    <a:gd name="connsiteX629" fmla="*/ 2366246 w 3189556"/>
                    <a:gd name="connsiteY629" fmla="*/ 1753675 h 2139523"/>
                    <a:gd name="connsiteX630" fmla="*/ 2369267 w 3189556"/>
                    <a:gd name="connsiteY630" fmla="*/ 1750782 h 2139523"/>
                    <a:gd name="connsiteX631" fmla="*/ 2360800 w 3189556"/>
                    <a:gd name="connsiteY631" fmla="*/ 1753581 h 2139523"/>
                    <a:gd name="connsiteX632" fmla="*/ 2363423 w 3189556"/>
                    <a:gd name="connsiteY632" fmla="*/ 1756275 h 2139523"/>
                    <a:gd name="connsiteX633" fmla="*/ 2360683 w 3189556"/>
                    <a:gd name="connsiteY633" fmla="*/ 1760726 h 2139523"/>
                    <a:gd name="connsiteX634" fmla="*/ 2367710 w 3189556"/>
                    <a:gd name="connsiteY634" fmla="*/ 1763255 h 2139523"/>
                    <a:gd name="connsiteX635" fmla="*/ 2368776 w 3189556"/>
                    <a:gd name="connsiteY635" fmla="*/ 1768432 h 2139523"/>
                    <a:gd name="connsiteX636" fmla="*/ 2366293 w 3189556"/>
                    <a:gd name="connsiteY636" fmla="*/ 1771840 h 2139523"/>
                    <a:gd name="connsiteX637" fmla="*/ 2366609 w 3189556"/>
                    <a:gd name="connsiteY637" fmla="*/ 1773011 h 2139523"/>
                    <a:gd name="connsiteX638" fmla="*/ 2356315 w 3189556"/>
                    <a:gd name="connsiteY638" fmla="*/ 1773081 h 2139523"/>
                    <a:gd name="connsiteX639" fmla="*/ 2351970 w 3189556"/>
                    <a:gd name="connsiteY639" fmla="*/ 1769532 h 2139523"/>
                    <a:gd name="connsiteX640" fmla="*/ 2351630 w 3189556"/>
                    <a:gd name="connsiteY640" fmla="*/ 1772004 h 2139523"/>
                    <a:gd name="connsiteX641" fmla="*/ 2350517 w 3189556"/>
                    <a:gd name="connsiteY641" fmla="*/ 1768807 h 2139523"/>
                    <a:gd name="connsiteX642" fmla="*/ 2345517 w 3189556"/>
                    <a:gd name="connsiteY642" fmla="*/ 1772589 h 2139523"/>
                    <a:gd name="connsiteX643" fmla="*/ 2348948 w 3189556"/>
                    <a:gd name="connsiteY643" fmla="*/ 1778866 h 2139523"/>
                    <a:gd name="connsiteX644" fmla="*/ 2352286 w 3189556"/>
                    <a:gd name="connsiteY644" fmla="*/ 1776770 h 2139523"/>
                    <a:gd name="connsiteX645" fmla="*/ 2349791 w 3189556"/>
                    <a:gd name="connsiteY645" fmla="*/ 1783235 h 2139523"/>
                    <a:gd name="connsiteX646" fmla="*/ 2344579 w 3189556"/>
                    <a:gd name="connsiteY646" fmla="*/ 1792955 h 2139523"/>
                    <a:gd name="connsiteX647" fmla="*/ 2345833 w 3189556"/>
                    <a:gd name="connsiteY647" fmla="*/ 1790625 h 2139523"/>
                    <a:gd name="connsiteX648" fmla="*/ 2338173 w 3189556"/>
                    <a:gd name="connsiteY648" fmla="*/ 1782895 h 2139523"/>
                    <a:gd name="connsiteX649" fmla="*/ 2330385 w 3189556"/>
                    <a:gd name="connsiteY649" fmla="*/ 1788903 h 2139523"/>
                    <a:gd name="connsiteX650" fmla="*/ 2326919 w 3189556"/>
                    <a:gd name="connsiteY650" fmla="*/ 1787603 h 2139523"/>
                    <a:gd name="connsiteX651" fmla="*/ 2324776 w 3189556"/>
                    <a:gd name="connsiteY651" fmla="*/ 1787077 h 2139523"/>
                    <a:gd name="connsiteX652" fmla="*/ 2324049 w 3189556"/>
                    <a:gd name="connsiteY652" fmla="*/ 1783247 h 2139523"/>
                    <a:gd name="connsiteX653" fmla="*/ 2321426 w 3189556"/>
                    <a:gd name="connsiteY653" fmla="*/ 1789302 h 2139523"/>
                    <a:gd name="connsiteX654" fmla="*/ 2317983 w 3189556"/>
                    <a:gd name="connsiteY654" fmla="*/ 1787439 h 2139523"/>
                    <a:gd name="connsiteX655" fmla="*/ 2316156 w 3189556"/>
                    <a:gd name="connsiteY655" fmla="*/ 1789477 h 2139523"/>
                    <a:gd name="connsiteX656" fmla="*/ 2314364 w 3189556"/>
                    <a:gd name="connsiteY656" fmla="*/ 1791035 h 2139523"/>
                    <a:gd name="connsiteX657" fmla="*/ 2318709 w 3189556"/>
                    <a:gd name="connsiteY657" fmla="*/ 1793073 h 2139523"/>
                    <a:gd name="connsiteX658" fmla="*/ 2316812 w 3189556"/>
                    <a:gd name="connsiteY658" fmla="*/ 1796949 h 2139523"/>
                    <a:gd name="connsiteX659" fmla="*/ 2306587 w 3189556"/>
                    <a:gd name="connsiteY659" fmla="*/ 1795028 h 2139523"/>
                    <a:gd name="connsiteX660" fmla="*/ 2310522 w 3189556"/>
                    <a:gd name="connsiteY660" fmla="*/ 1796539 h 2139523"/>
                    <a:gd name="connsiteX661" fmla="*/ 2304796 w 3189556"/>
                    <a:gd name="connsiteY661" fmla="*/ 1795755 h 2139523"/>
                    <a:gd name="connsiteX662" fmla="*/ 2316519 w 3189556"/>
                    <a:gd name="connsiteY662" fmla="*/ 1803531 h 2139523"/>
                    <a:gd name="connsiteX663" fmla="*/ 2322281 w 3189556"/>
                    <a:gd name="connsiteY663" fmla="*/ 1807115 h 2139523"/>
                    <a:gd name="connsiteX664" fmla="*/ 2314001 w 3189556"/>
                    <a:gd name="connsiteY664" fmla="*/ 1812772 h 2139523"/>
                    <a:gd name="connsiteX665" fmla="*/ 2310839 w 3189556"/>
                    <a:gd name="connsiteY665" fmla="*/ 1811308 h 2139523"/>
                    <a:gd name="connsiteX666" fmla="*/ 2301926 w 3189556"/>
                    <a:gd name="connsiteY666" fmla="*/ 1826673 h 2139523"/>
                    <a:gd name="connsiteX667" fmla="*/ 2305123 w 3189556"/>
                    <a:gd name="connsiteY667" fmla="*/ 1820384 h 2139523"/>
                    <a:gd name="connsiteX668" fmla="*/ 2303226 w 3189556"/>
                    <a:gd name="connsiteY668" fmla="*/ 1820770 h 2139523"/>
                    <a:gd name="connsiteX669" fmla="*/ 2302980 w 3189556"/>
                    <a:gd name="connsiteY669" fmla="*/ 1817714 h 2139523"/>
                    <a:gd name="connsiteX670" fmla="*/ 2298296 w 3189556"/>
                    <a:gd name="connsiteY670" fmla="*/ 1818135 h 2139523"/>
                    <a:gd name="connsiteX671" fmla="*/ 2300474 w 3189556"/>
                    <a:gd name="connsiteY671" fmla="*/ 1819646 h 2139523"/>
                    <a:gd name="connsiteX672" fmla="*/ 2294372 w 3189556"/>
                    <a:gd name="connsiteY672" fmla="*/ 1836112 h 2139523"/>
                    <a:gd name="connsiteX673" fmla="*/ 2285249 w 3189556"/>
                    <a:gd name="connsiteY673" fmla="*/ 1824541 h 2139523"/>
                    <a:gd name="connsiteX674" fmla="*/ 2287310 w 3189556"/>
                    <a:gd name="connsiteY674" fmla="*/ 1833466 h 2139523"/>
                    <a:gd name="connsiteX675" fmla="*/ 2277976 w 3189556"/>
                    <a:gd name="connsiteY675" fmla="*/ 1833630 h 2139523"/>
                    <a:gd name="connsiteX676" fmla="*/ 2275985 w 3189556"/>
                    <a:gd name="connsiteY676" fmla="*/ 1843385 h 2139523"/>
                    <a:gd name="connsiteX677" fmla="*/ 2275493 w 3189556"/>
                    <a:gd name="connsiteY677" fmla="*/ 1838560 h 2139523"/>
                    <a:gd name="connsiteX678" fmla="*/ 2267928 w 3189556"/>
                    <a:gd name="connsiteY678" fmla="*/ 1846407 h 2139523"/>
                    <a:gd name="connsiteX679" fmla="*/ 2260432 w 3189556"/>
                    <a:gd name="connsiteY679" fmla="*/ 1840446 h 2139523"/>
                    <a:gd name="connsiteX680" fmla="*/ 2255912 w 3189556"/>
                    <a:gd name="connsiteY680" fmla="*/ 1849335 h 2139523"/>
                    <a:gd name="connsiteX681" fmla="*/ 2243111 w 3189556"/>
                    <a:gd name="connsiteY681" fmla="*/ 1856104 h 2139523"/>
                    <a:gd name="connsiteX682" fmla="*/ 2238625 w 3189556"/>
                    <a:gd name="connsiteY682" fmla="*/ 1855472 h 2139523"/>
                    <a:gd name="connsiteX683" fmla="*/ 2244399 w 3189556"/>
                    <a:gd name="connsiteY683" fmla="*/ 1859137 h 2139523"/>
                    <a:gd name="connsiteX684" fmla="*/ 2253335 w 3189556"/>
                    <a:gd name="connsiteY684" fmla="*/ 1863716 h 2139523"/>
                    <a:gd name="connsiteX685" fmla="*/ 2252246 w 3189556"/>
                    <a:gd name="connsiteY685" fmla="*/ 1865017 h 2139523"/>
                    <a:gd name="connsiteX686" fmla="*/ 2246156 w 3189556"/>
                    <a:gd name="connsiteY686" fmla="*/ 1861222 h 2139523"/>
                    <a:gd name="connsiteX687" fmla="*/ 2248651 w 3189556"/>
                    <a:gd name="connsiteY687" fmla="*/ 1863295 h 2139523"/>
                    <a:gd name="connsiteX688" fmla="*/ 2245079 w 3189556"/>
                    <a:gd name="connsiteY688" fmla="*/ 1867734 h 2139523"/>
                    <a:gd name="connsiteX689" fmla="*/ 2237888 w 3189556"/>
                    <a:gd name="connsiteY689" fmla="*/ 1863822 h 2139523"/>
                    <a:gd name="connsiteX690" fmla="*/ 2241495 w 3189556"/>
                    <a:gd name="connsiteY690" fmla="*/ 1866668 h 2139523"/>
                    <a:gd name="connsiteX691" fmla="*/ 2239926 w 3189556"/>
                    <a:gd name="connsiteY691" fmla="*/ 1876365 h 2139523"/>
                    <a:gd name="connsiteX692" fmla="*/ 2221831 w 3189556"/>
                    <a:gd name="connsiteY692" fmla="*/ 1878157 h 2139523"/>
                    <a:gd name="connsiteX693" fmla="*/ 2226012 w 3189556"/>
                    <a:gd name="connsiteY693" fmla="*/ 1879012 h 2139523"/>
                    <a:gd name="connsiteX694" fmla="*/ 2216338 w 3189556"/>
                    <a:gd name="connsiteY694" fmla="*/ 1886261 h 2139523"/>
                    <a:gd name="connsiteX695" fmla="*/ 2217791 w 3189556"/>
                    <a:gd name="connsiteY695" fmla="*/ 1882479 h 2139523"/>
                    <a:gd name="connsiteX696" fmla="*/ 2213551 w 3189556"/>
                    <a:gd name="connsiteY696" fmla="*/ 1880382 h 2139523"/>
                    <a:gd name="connsiteX697" fmla="*/ 2200294 w 3189556"/>
                    <a:gd name="connsiteY697" fmla="*/ 1887795 h 2139523"/>
                    <a:gd name="connsiteX698" fmla="*/ 2201617 w 3189556"/>
                    <a:gd name="connsiteY698" fmla="*/ 1888990 h 2139523"/>
                    <a:gd name="connsiteX699" fmla="*/ 2197448 w 3189556"/>
                    <a:gd name="connsiteY699" fmla="*/ 1880441 h 2139523"/>
                    <a:gd name="connsiteX700" fmla="*/ 2187739 w 3189556"/>
                    <a:gd name="connsiteY700" fmla="*/ 1882443 h 2139523"/>
                    <a:gd name="connsiteX701" fmla="*/ 2180361 w 3189556"/>
                    <a:gd name="connsiteY701" fmla="*/ 1880816 h 2139523"/>
                    <a:gd name="connsiteX702" fmla="*/ 2183581 w 3189556"/>
                    <a:gd name="connsiteY702" fmla="*/ 1884973 h 2139523"/>
                    <a:gd name="connsiteX703" fmla="*/ 2191112 w 3189556"/>
                    <a:gd name="connsiteY703" fmla="*/ 1884188 h 2139523"/>
                    <a:gd name="connsiteX704" fmla="*/ 2188149 w 3189556"/>
                    <a:gd name="connsiteY704" fmla="*/ 1892387 h 2139523"/>
                    <a:gd name="connsiteX705" fmla="*/ 2189753 w 3189556"/>
                    <a:gd name="connsiteY705" fmla="*/ 1890700 h 2139523"/>
                    <a:gd name="connsiteX706" fmla="*/ 2189191 w 3189556"/>
                    <a:gd name="connsiteY706" fmla="*/ 1894916 h 2139523"/>
                    <a:gd name="connsiteX707" fmla="*/ 2181298 w 3189556"/>
                    <a:gd name="connsiteY707" fmla="*/ 1889775 h 2139523"/>
                    <a:gd name="connsiteX708" fmla="*/ 2171343 w 3189556"/>
                    <a:gd name="connsiteY708" fmla="*/ 1888323 h 2139523"/>
                    <a:gd name="connsiteX709" fmla="*/ 2175723 w 3189556"/>
                    <a:gd name="connsiteY709" fmla="*/ 1881940 h 2139523"/>
                    <a:gd name="connsiteX710" fmla="*/ 2168591 w 3189556"/>
                    <a:gd name="connsiteY710" fmla="*/ 1888522 h 2139523"/>
                    <a:gd name="connsiteX711" fmla="*/ 2160416 w 3189556"/>
                    <a:gd name="connsiteY711" fmla="*/ 1892749 h 2139523"/>
                    <a:gd name="connsiteX712" fmla="*/ 2152007 w 3189556"/>
                    <a:gd name="connsiteY712" fmla="*/ 1889693 h 2139523"/>
                    <a:gd name="connsiteX713" fmla="*/ 2157441 w 3189556"/>
                    <a:gd name="connsiteY713" fmla="*/ 1894459 h 2139523"/>
                    <a:gd name="connsiteX714" fmla="*/ 2154970 w 3189556"/>
                    <a:gd name="connsiteY714" fmla="*/ 1900784 h 2139523"/>
                    <a:gd name="connsiteX715" fmla="*/ 2153120 w 3189556"/>
                    <a:gd name="connsiteY715" fmla="*/ 1901346 h 2139523"/>
                    <a:gd name="connsiteX716" fmla="*/ 2145753 w 3189556"/>
                    <a:gd name="connsiteY716" fmla="*/ 1897141 h 2139523"/>
                    <a:gd name="connsiteX717" fmla="*/ 2149770 w 3189556"/>
                    <a:gd name="connsiteY717" fmla="*/ 1888498 h 2139523"/>
                    <a:gd name="connsiteX718" fmla="*/ 2134264 w 3189556"/>
                    <a:gd name="connsiteY718" fmla="*/ 1892843 h 2139523"/>
                    <a:gd name="connsiteX719" fmla="*/ 2133069 w 3189556"/>
                    <a:gd name="connsiteY719" fmla="*/ 1895736 h 2139523"/>
                    <a:gd name="connsiteX720" fmla="*/ 2137812 w 3189556"/>
                    <a:gd name="connsiteY720" fmla="*/ 1896251 h 2139523"/>
                    <a:gd name="connsiteX721" fmla="*/ 2133198 w 3189556"/>
                    <a:gd name="connsiteY721" fmla="*/ 1901358 h 2139523"/>
                    <a:gd name="connsiteX722" fmla="*/ 2132285 w 3189556"/>
                    <a:gd name="connsiteY722" fmla="*/ 1905562 h 2139523"/>
                    <a:gd name="connsiteX723" fmla="*/ 2130317 w 3189556"/>
                    <a:gd name="connsiteY723" fmla="*/ 1900221 h 2139523"/>
                    <a:gd name="connsiteX724" fmla="*/ 2124180 w 3189556"/>
                    <a:gd name="connsiteY724" fmla="*/ 1898383 h 2139523"/>
                    <a:gd name="connsiteX725" fmla="*/ 2101296 w 3189556"/>
                    <a:gd name="connsiteY725" fmla="*/ 1906733 h 2139523"/>
                    <a:gd name="connsiteX726" fmla="*/ 2101495 w 3189556"/>
                    <a:gd name="connsiteY726" fmla="*/ 1902986 h 2139523"/>
                    <a:gd name="connsiteX727" fmla="*/ 2092840 w 3189556"/>
                    <a:gd name="connsiteY727" fmla="*/ 1889751 h 2139523"/>
                    <a:gd name="connsiteX728" fmla="*/ 2089034 w 3189556"/>
                    <a:gd name="connsiteY728" fmla="*/ 1889459 h 2139523"/>
                    <a:gd name="connsiteX729" fmla="*/ 2087055 w 3189556"/>
                    <a:gd name="connsiteY729" fmla="*/ 1882724 h 2139523"/>
                    <a:gd name="connsiteX730" fmla="*/ 2087055 w 3189556"/>
                    <a:gd name="connsiteY730" fmla="*/ 1885699 h 2139523"/>
                    <a:gd name="connsiteX731" fmla="*/ 2086715 w 3189556"/>
                    <a:gd name="connsiteY731" fmla="*/ 1881940 h 2139523"/>
                    <a:gd name="connsiteX732" fmla="*/ 2085966 w 3189556"/>
                    <a:gd name="connsiteY732" fmla="*/ 1883263 h 2139523"/>
                    <a:gd name="connsiteX733" fmla="*/ 2088167 w 3189556"/>
                    <a:gd name="connsiteY733" fmla="*/ 1874784 h 2139523"/>
                    <a:gd name="connsiteX734" fmla="*/ 2085989 w 3189556"/>
                    <a:gd name="connsiteY734" fmla="*/ 1881190 h 2139523"/>
                    <a:gd name="connsiteX735" fmla="*/ 2087055 w 3189556"/>
                    <a:gd name="connsiteY735" fmla="*/ 1874784 h 2139523"/>
                    <a:gd name="connsiteX736" fmla="*/ 2084911 w 3189556"/>
                    <a:gd name="connsiteY736" fmla="*/ 1880066 h 2139523"/>
                    <a:gd name="connsiteX737" fmla="*/ 2085263 w 3189556"/>
                    <a:gd name="connsiteY737" fmla="*/ 1875533 h 2139523"/>
                    <a:gd name="connsiteX738" fmla="*/ 2085216 w 3189556"/>
                    <a:gd name="connsiteY738" fmla="*/ 1871282 h 2139523"/>
                    <a:gd name="connsiteX739" fmla="*/ 2098146 w 3189556"/>
                    <a:gd name="connsiteY739" fmla="*/ 1870240 h 2139523"/>
                    <a:gd name="connsiteX740" fmla="*/ 2075636 w 3189556"/>
                    <a:gd name="connsiteY740" fmla="*/ 1872114 h 2139523"/>
                    <a:gd name="connsiteX741" fmla="*/ 2065962 w 3189556"/>
                    <a:gd name="connsiteY741" fmla="*/ 1881541 h 2139523"/>
                    <a:gd name="connsiteX742" fmla="*/ 2070623 w 3189556"/>
                    <a:gd name="connsiteY742" fmla="*/ 1883345 h 2139523"/>
                    <a:gd name="connsiteX743" fmla="*/ 2074816 w 3189556"/>
                    <a:gd name="connsiteY743" fmla="*/ 1884177 h 2139523"/>
                    <a:gd name="connsiteX744" fmla="*/ 2080614 w 3189556"/>
                    <a:gd name="connsiteY744" fmla="*/ 1889060 h 2139523"/>
                    <a:gd name="connsiteX745" fmla="*/ 2074523 w 3189556"/>
                    <a:gd name="connsiteY745" fmla="*/ 1889470 h 2139523"/>
                    <a:gd name="connsiteX746" fmla="*/ 2085626 w 3189556"/>
                    <a:gd name="connsiteY746" fmla="*/ 1899484 h 2139523"/>
                    <a:gd name="connsiteX747" fmla="*/ 2086680 w 3189556"/>
                    <a:gd name="connsiteY747" fmla="*/ 1911266 h 2139523"/>
                    <a:gd name="connsiteX748" fmla="*/ 2079442 w 3189556"/>
                    <a:gd name="connsiteY748" fmla="*/ 1922977 h 2139523"/>
                    <a:gd name="connsiteX749" fmla="*/ 2063456 w 3189556"/>
                    <a:gd name="connsiteY749" fmla="*/ 1899999 h 2139523"/>
                    <a:gd name="connsiteX750" fmla="*/ 2075812 w 3189556"/>
                    <a:gd name="connsiteY750" fmla="*/ 1921712 h 2139523"/>
                    <a:gd name="connsiteX751" fmla="*/ 2067953 w 3189556"/>
                    <a:gd name="connsiteY751" fmla="*/ 1928224 h 2139523"/>
                    <a:gd name="connsiteX752" fmla="*/ 2060598 w 3189556"/>
                    <a:gd name="connsiteY752" fmla="*/ 1919534 h 2139523"/>
                    <a:gd name="connsiteX753" fmla="*/ 2057858 w 3189556"/>
                    <a:gd name="connsiteY753" fmla="*/ 1924909 h 2139523"/>
                    <a:gd name="connsiteX754" fmla="*/ 2056230 w 3189556"/>
                    <a:gd name="connsiteY754" fmla="*/ 1923691 h 2139523"/>
                    <a:gd name="connsiteX755" fmla="*/ 2054169 w 3189556"/>
                    <a:gd name="connsiteY755" fmla="*/ 1935450 h 2139523"/>
                    <a:gd name="connsiteX756" fmla="*/ 2044624 w 3189556"/>
                    <a:gd name="connsiteY756" fmla="*/ 1934255 h 2139523"/>
                    <a:gd name="connsiteX757" fmla="*/ 2035384 w 3189556"/>
                    <a:gd name="connsiteY757" fmla="*/ 1942980 h 2139523"/>
                    <a:gd name="connsiteX758" fmla="*/ 2028427 w 3189556"/>
                    <a:gd name="connsiteY758" fmla="*/ 1933377 h 2139523"/>
                    <a:gd name="connsiteX759" fmla="*/ 2023403 w 3189556"/>
                    <a:gd name="connsiteY759" fmla="*/ 1927767 h 2139523"/>
                    <a:gd name="connsiteX760" fmla="*/ 2023157 w 3189556"/>
                    <a:gd name="connsiteY760" fmla="*/ 1943273 h 2139523"/>
                    <a:gd name="connsiteX761" fmla="*/ 2012710 w 3189556"/>
                    <a:gd name="connsiteY761" fmla="*/ 1940099 h 2139523"/>
                    <a:gd name="connsiteX762" fmla="*/ 2004828 w 3189556"/>
                    <a:gd name="connsiteY762" fmla="*/ 1937862 h 2139523"/>
                    <a:gd name="connsiteX763" fmla="*/ 2001057 w 3189556"/>
                    <a:gd name="connsiteY763" fmla="*/ 1941153 h 2139523"/>
                    <a:gd name="connsiteX764" fmla="*/ 1996946 w 3189556"/>
                    <a:gd name="connsiteY764" fmla="*/ 1935625 h 2139523"/>
                    <a:gd name="connsiteX765" fmla="*/ 2002673 w 3189556"/>
                    <a:gd name="connsiteY765" fmla="*/ 1943870 h 2139523"/>
                    <a:gd name="connsiteX766" fmla="*/ 1994241 w 3189556"/>
                    <a:gd name="connsiteY766" fmla="*/ 1949129 h 2139523"/>
                    <a:gd name="connsiteX767" fmla="*/ 1996220 w 3189556"/>
                    <a:gd name="connsiteY767" fmla="*/ 1948016 h 2139523"/>
                    <a:gd name="connsiteX768" fmla="*/ 1994042 w 3189556"/>
                    <a:gd name="connsiteY768" fmla="*/ 1944280 h 2139523"/>
                    <a:gd name="connsiteX769" fmla="*/ 1985855 w 3189556"/>
                    <a:gd name="connsiteY769" fmla="*/ 1943496 h 2139523"/>
                    <a:gd name="connsiteX770" fmla="*/ 1989451 w 3189556"/>
                    <a:gd name="connsiteY770" fmla="*/ 1950991 h 2139523"/>
                    <a:gd name="connsiteX771" fmla="*/ 1991594 w 3189556"/>
                    <a:gd name="connsiteY771" fmla="*/ 1952513 h 2139523"/>
                    <a:gd name="connsiteX772" fmla="*/ 1980855 w 3189556"/>
                    <a:gd name="connsiteY772" fmla="*/ 1954387 h 2139523"/>
                    <a:gd name="connsiteX773" fmla="*/ 1981569 w 3189556"/>
                    <a:gd name="connsiteY773" fmla="*/ 1956999 h 2139523"/>
                    <a:gd name="connsiteX774" fmla="*/ 1973043 w 3189556"/>
                    <a:gd name="connsiteY774" fmla="*/ 1953240 h 2139523"/>
                    <a:gd name="connsiteX775" fmla="*/ 1973336 w 3189556"/>
                    <a:gd name="connsiteY775" fmla="*/ 1956999 h 2139523"/>
                    <a:gd name="connsiteX776" fmla="*/ 1968733 w 3189556"/>
                    <a:gd name="connsiteY776" fmla="*/ 1957409 h 2139523"/>
                    <a:gd name="connsiteX777" fmla="*/ 1971579 w 3189556"/>
                    <a:gd name="connsiteY777" fmla="*/ 1957409 h 2139523"/>
                    <a:gd name="connsiteX778" fmla="*/ 1963686 w 3189556"/>
                    <a:gd name="connsiteY778" fmla="*/ 1961883 h 2139523"/>
                    <a:gd name="connsiteX779" fmla="*/ 1966192 w 3189556"/>
                    <a:gd name="connsiteY779" fmla="*/ 1958896 h 2139523"/>
                    <a:gd name="connsiteX780" fmla="*/ 1958720 w 3189556"/>
                    <a:gd name="connsiteY780" fmla="*/ 1957749 h 2139523"/>
                    <a:gd name="connsiteX781" fmla="*/ 1962292 w 3189556"/>
                    <a:gd name="connsiteY781" fmla="*/ 1958896 h 2139523"/>
                    <a:gd name="connsiteX782" fmla="*/ 1955101 w 3189556"/>
                    <a:gd name="connsiteY782" fmla="*/ 1960360 h 2139523"/>
                    <a:gd name="connsiteX783" fmla="*/ 1957268 w 3189556"/>
                    <a:gd name="connsiteY783" fmla="*/ 1959236 h 2139523"/>
                    <a:gd name="connsiteX784" fmla="*/ 1956963 w 3189556"/>
                    <a:gd name="connsiteY784" fmla="*/ 1958498 h 2139523"/>
                    <a:gd name="connsiteX785" fmla="*/ 1951939 w 3189556"/>
                    <a:gd name="connsiteY785" fmla="*/ 1956636 h 2139523"/>
                    <a:gd name="connsiteX786" fmla="*/ 1949749 w 3189556"/>
                    <a:gd name="connsiteY786" fmla="*/ 1958123 h 2139523"/>
                    <a:gd name="connsiteX787" fmla="*/ 1949433 w 3189556"/>
                    <a:gd name="connsiteY787" fmla="*/ 1961883 h 2139523"/>
                    <a:gd name="connsiteX788" fmla="*/ 1954070 w 3189556"/>
                    <a:gd name="connsiteY788" fmla="*/ 1960360 h 2139523"/>
                    <a:gd name="connsiteX789" fmla="*/ 1932275 w 3189556"/>
                    <a:gd name="connsiteY789" fmla="*/ 1971943 h 2139523"/>
                    <a:gd name="connsiteX790" fmla="*/ 1933669 w 3189556"/>
                    <a:gd name="connsiteY790" fmla="*/ 1967129 h 2139523"/>
                    <a:gd name="connsiteX791" fmla="*/ 1931877 w 3189556"/>
                    <a:gd name="connsiteY791" fmla="*/ 1968593 h 2139523"/>
                    <a:gd name="connsiteX792" fmla="*/ 1938307 w 3189556"/>
                    <a:gd name="connsiteY792" fmla="*/ 1961883 h 2139523"/>
                    <a:gd name="connsiteX793" fmla="*/ 1930472 w 3189556"/>
                    <a:gd name="connsiteY793" fmla="*/ 1968500 h 2139523"/>
                    <a:gd name="connsiteX794" fmla="*/ 1928328 w 3189556"/>
                    <a:gd name="connsiteY794" fmla="*/ 1972681 h 2139523"/>
                    <a:gd name="connsiteX795" fmla="*/ 1929043 w 3189556"/>
                    <a:gd name="connsiteY795" fmla="*/ 1973840 h 2139523"/>
                    <a:gd name="connsiteX796" fmla="*/ 1920470 w 3189556"/>
                    <a:gd name="connsiteY796" fmla="*/ 1975690 h 2139523"/>
                    <a:gd name="connsiteX797" fmla="*/ 1920470 w 3189556"/>
                    <a:gd name="connsiteY797" fmla="*/ 1970444 h 2139523"/>
                    <a:gd name="connsiteX798" fmla="*/ 1920821 w 3189556"/>
                    <a:gd name="connsiteY798" fmla="*/ 1970104 h 2139523"/>
                    <a:gd name="connsiteX799" fmla="*/ 1923316 w 3189556"/>
                    <a:gd name="connsiteY799" fmla="*/ 1971229 h 2139523"/>
                    <a:gd name="connsiteX800" fmla="*/ 1923714 w 3189556"/>
                    <a:gd name="connsiteY800" fmla="*/ 1969706 h 2139523"/>
                    <a:gd name="connsiteX801" fmla="*/ 1921536 w 3189556"/>
                    <a:gd name="connsiteY801" fmla="*/ 1969706 h 2139523"/>
                    <a:gd name="connsiteX802" fmla="*/ 1923714 w 3189556"/>
                    <a:gd name="connsiteY802" fmla="*/ 1967832 h 2139523"/>
                    <a:gd name="connsiteX803" fmla="*/ 1922601 w 3189556"/>
                    <a:gd name="connsiteY803" fmla="*/ 1967118 h 2139523"/>
                    <a:gd name="connsiteX804" fmla="*/ 1920950 w 3189556"/>
                    <a:gd name="connsiteY804" fmla="*/ 1969296 h 2139523"/>
                    <a:gd name="connsiteX805" fmla="*/ 1921149 w 3189556"/>
                    <a:gd name="connsiteY805" fmla="*/ 1964459 h 2139523"/>
                    <a:gd name="connsiteX806" fmla="*/ 1918643 w 3189556"/>
                    <a:gd name="connsiteY806" fmla="*/ 1961473 h 2139523"/>
                    <a:gd name="connsiteX807" fmla="*/ 1918643 w 3189556"/>
                    <a:gd name="connsiteY807" fmla="*/ 1968218 h 2139523"/>
                    <a:gd name="connsiteX808" fmla="*/ 1918292 w 3189556"/>
                    <a:gd name="connsiteY808" fmla="*/ 1968593 h 2139523"/>
                    <a:gd name="connsiteX809" fmla="*/ 1915457 w 3189556"/>
                    <a:gd name="connsiteY809" fmla="*/ 1967469 h 2139523"/>
                    <a:gd name="connsiteX810" fmla="*/ 1909754 w 3189556"/>
                    <a:gd name="connsiteY810" fmla="*/ 1984626 h 2139523"/>
                    <a:gd name="connsiteX811" fmla="*/ 1909016 w 3189556"/>
                    <a:gd name="connsiteY811" fmla="*/ 1981652 h 2139523"/>
                    <a:gd name="connsiteX812" fmla="*/ 1905807 w 3189556"/>
                    <a:gd name="connsiteY812" fmla="*/ 1986547 h 2139523"/>
                    <a:gd name="connsiteX813" fmla="*/ 1907587 w 3189556"/>
                    <a:gd name="connsiteY813" fmla="*/ 1993621 h 2139523"/>
                    <a:gd name="connsiteX814" fmla="*/ 1906522 w 3189556"/>
                    <a:gd name="connsiteY814" fmla="*/ 1992836 h 2139523"/>
                    <a:gd name="connsiteX815" fmla="*/ 1906896 w 3189556"/>
                    <a:gd name="connsiteY815" fmla="*/ 1994733 h 2139523"/>
                    <a:gd name="connsiteX816" fmla="*/ 1917577 w 3189556"/>
                    <a:gd name="connsiteY816" fmla="*/ 1994370 h 2139523"/>
                    <a:gd name="connsiteX817" fmla="*/ 1916184 w 3189556"/>
                    <a:gd name="connsiteY817" fmla="*/ 1995858 h 2139523"/>
                    <a:gd name="connsiteX818" fmla="*/ 1914029 w 3189556"/>
                    <a:gd name="connsiteY818" fmla="*/ 2004806 h 2139523"/>
                    <a:gd name="connsiteX819" fmla="*/ 1915457 w 3189556"/>
                    <a:gd name="connsiteY819" fmla="*/ 2003693 h 2139523"/>
                    <a:gd name="connsiteX820" fmla="*/ 1914731 w 3189556"/>
                    <a:gd name="connsiteY820" fmla="*/ 2005930 h 2139523"/>
                    <a:gd name="connsiteX821" fmla="*/ 1917249 w 3189556"/>
                    <a:gd name="connsiteY821" fmla="*/ 2005555 h 2139523"/>
                    <a:gd name="connsiteX822" fmla="*/ 1926197 w 3189556"/>
                    <a:gd name="connsiteY822" fmla="*/ 2014538 h 2139523"/>
                    <a:gd name="connsiteX823" fmla="*/ 1914673 w 3189556"/>
                    <a:gd name="connsiteY823" fmla="*/ 2025957 h 2139523"/>
                    <a:gd name="connsiteX824" fmla="*/ 1894025 w 3189556"/>
                    <a:gd name="connsiteY824" fmla="*/ 2027526 h 2139523"/>
                    <a:gd name="connsiteX825" fmla="*/ 1891179 w 3189556"/>
                    <a:gd name="connsiteY825" fmla="*/ 2018461 h 2139523"/>
                    <a:gd name="connsiteX826" fmla="*/ 1897422 w 3189556"/>
                    <a:gd name="connsiteY826" fmla="*/ 2021436 h 2139523"/>
                    <a:gd name="connsiteX827" fmla="*/ 1896520 w 3189556"/>
                    <a:gd name="connsiteY827" fmla="*/ 2014550 h 2139523"/>
                    <a:gd name="connsiteX828" fmla="*/ 1896157 w 3189556"/>
                    <a:gd name="connsiteY828" fmla="*/ 2016002 h 2139523"/>
                    <a:gd name="connsiteX829" fmla="*/ 1894728 w 3189556"/>
                    <a:gd name="connsiteY829" fmla="*/ 2013027 h 2139523"/>
                    <a:gd name="connsiteX830" fmla="*/ 1894025 w 3189556"/>
                    <a:gd name="connsiteY830" fmla="*/ 2016376 h 2139523"/>
                    <a:gd name="connsiteX831" fmla="*/ 1890407 w 3189556"/>
                    <a:gd name="connsiteY831" fmla="*/ 2008167 h 2139523"/>
                    <a:gd name="connsiteX832" fmla="*/ 1889001 w 3189556"/>
                    <a:gd name="connsiteY832" fmla="*/ 2010404 h 2139523"/>
                    <a:gd name="connsiteX833" fmla="*/ 1885078 w 3189556"/>
                    <a:gd name="connsiteY833" fmla="*/ 2006316 h 2139523"/>
                    <a:gd name="connsiteX834" fmla="*/ 1890055 w 3189556"/>
                    <a:gd name="connsiteY834" fmla="*/ 2003342 h 2139523"/>
                    <a:gd name="connsiteX835" fmla="*/ 1891051 w 3189556"/>
                    <a:gd name="connsiteY835" fmla="*/ 2001643 h 2139523"/>
                    <a:gd name="connsiteX836" fmla="*/ 1884656 w 3189556"/>
                    <a:gd name="connsiteY836" fmla="*/ 1993480 h 2139523"/>
                    <a:gd name="connsiteX837" fmla="*/ 1884726 w 3189556"/>
                    <a:gd name="connsiteY837" fmla="*/ 1996619 h 2139523"/>
                    <a:gd name="connsiteX838" fmla="*/ 1882911 w 3189556"/>
                    <a:gd name="connsiteY838" fmla="*/ 1994757 h 2139523"/>
                    <a:gd name="connsiteX839" fmla="*/ 1883637 w 3189556"/>
                    <a:gd name="connsiteY839" fmla="*/ 1996619 h 2139523"/>
                    <a:gd name="connsiteX840" fmla="*/ 1883298 w 3189556"/>
                    <a:gd name="connsiteY840" fmla="*/ 1984310 h 2139523"/>
                    <a:gd name="connsiteX841" fmla="*/ 1885418 w 3189556"/>
                    <a:gd name="connsiteY841" fmla="*/ 1977213 h 2139523"/>
                    <a:gd name="connsiteX842" fmla="*/ 1886144 w 3189556"/>
                    <a:gd name="connsiteY842" fmla="*/ 1966743 h 2139523"/>
                    <a:gd name="connsiteX843" fmla="*/ 1887244 w 3189556"/>
                    <a:gd name="connsiteY843" fmla="*/ 1968230 h 2139523"/>
                    <a:gd name="connsiteX844" fmla="*/ 1894400 w 3189556"/>
                    <a:gd name="connsiteY844" fmla="*/ 1966368 h 2139523"/>
                    <a:gd name="connsiteX845" fmla="*/ 1895817 w 3189556"/>
                    <a:gd name="connsiteY845" fmla="*/ 1961145 h 2139523"/>
                    <a:gd name="connsiteX846" fmla="*/ 1895466 w 3189556"/>
                    <a:gd name="connsiteY846" fmla="*/ 1959248 h 2139523"/>
                    <a:gd name="connsiteX847" fmla="*/ 1890079 w 3189556"/>
                    <a:gd name="connsiteY847" fmla="*/ 1958510 h 2139523"/>
                    <a:gd name="connsiteX848" fmla="*/ 1888662 w 3189556"/>
                    <a:gd name="connsiteY848" fmla="*/ 1961145 h 2139523"/>
                    <a:gd name="connsiteX849" fmla="*/ 1887959 w 3189556"/>
                    <a:gd name="connsiteY849" fmla="*/ 1955898 h 2139523"/>
                    <a:gd name="connsiteX850" fmla="*/ 1886518 w 3189556"/>
                    <a:gd name="connsiteY850" fmla="*/ 1954411 h 2139523"/>
                    <a:gd name="connsiteX851" fmla="*/ 1885218 w 3189556"/>
                    <a:gd name="connsiteY851" fmla="*/ 1954785 h 2139523"/>
                    <a:gd name="connsiteX852" fmla="*/ 1886518 w 3189556"/>
                    <a:gd name="connsiteY852" fmla="*/ 1959669 h 2139523"/>
                    <a:gd name="connsiteX853" fmla="*/ 1880077 w 3189556"/>
                    <a:gd name="connsiteY853" fmla="*/ 1957760 h 2139523"/>
                    <a:gd name="connsiteX854" fmla="*/ 1881506 w 3189556"/>
                    <a:gd name="connsiteY854" fmla="*/ 1952139 h 2139523"/>
                    <a:gd name="connsiteX855" fmla="*/ 1879362 w 3189556"/>
                    <a:gd name="connsiteY855" fmla="*/ 1955148 h 2139523"/>
                    <a:gd name="connsiteX856" fmla="*/ 1878285 w 3189556"/>
                    <a:gd name="connsiteY856" fmla="*/ 1950675 h 2139523"/>
                    <a:gd name="connsiteX857" fmla="*/ 1876716 w 3189556"/>
                    <a:gd name="connsiteY857" fmla="*/ 1951729 h 2139523"/>
                    <a:gd name="connsiteX858" fmla="*/ 1877196 w 3189556"/>
                    <a:gd name="connsiteY858" fmla="*/ 1945416 h 2139523"/>
                    <a:gd name="connsiteX859" fmla="*/ 1875791 w 3189556"/>
                    <a:gd name="connsiteY859" fmla="*/ 1944679 h 2139523"/>
                    <a:gd name="connsiteX860" fmla="*/ 1872593 w 3189556"/>
                    <a:gd name="connsiteY860" fmla="*/ 1948777 h 2139523"/>
                    <a:gd name="connsiteX861" fmla="*/ 1871879 w 3189556"/>
                    <a:gd name="connsiteY861" fmla="*/ 1949152 h 2139523"/>
                    <a:gd name="connsiteX862" fmla="*/ 1873296 w 3189556"/>
                    <a:gd name="connsiteY862" fmla="*/ 1948777 h 2139523"/>
                    <a:gd name="connsiteX863" fmla="*/ 1870427 w 3189556"/>
                    <a:gd name="connsiteY863" fmla="*/ 1950277 h 2139523"/>
                    <a:gd name="connsiteX864" fmla="*/ 1870813 w 3189556"/>
                    <a:gd name="connsiteY864" fmla="*/ 1960758 h 2139523"/>
                    <a:gd name="connsiteX865" fmla="*/ 1870813 w 3189556"/>
                    <a:gd name="connsiteY865" fmla="*/ 1958920 h 2139523"/>
                    <a:gd name="connsiteX866" fmla="*/ 1862920 w 3189556"/>
                    <a:gd name="connsiteY866" fmla="*/ 1959974 h 2139523"/>
                    <a:gd name="connsiteX867" fmla="*/ 1858633 w 3189556"/>
                    <a:gd name="connsiteY867" fmla="*/ 1962620 h 2139523"/>
                    <a:gd name="connsiteX868" fmla="*/ 1858633 w 3189556"/>
                    <a:gd name="connsiteY868" fmla="*/ 1959681 h 2139523"/>
                    <a:gd name="connsiteX869" fmla="*/ 1853984 w 3189556"/>
                    <a:gd name="connsiteY869" fmla="*/ 1962246 h 2139523"/>
                    <a:gd name="connsiteX870" fmla="*/ 1854335 w 3189556"/>
                    <a:gd name="connsiteY870" fmla="*/ 1964155 h 2139523"/>
                    <a:gd name="connsiteX871" fmla="*/ 1853258 w 3189556"/>
                    <a:gd name="connsiteY871" fmla="*/ 1953275 h 2139523"/>
                    <a:gd name="connsiteX872" fmla="*/ 1848596 w 3189556"/>
                    <a:gd name="connsiteY872" fmla="*/ 1953275 h 2139523"/>
                    <a:gd name="connsiteX873" fmla="*/ 1849674 w 3189556"/>
                    <a:gd name="connsiteY873" fmla="*/ 1951026 h 2139523"/>
                    <a:gd name="connsiteX874" fmla="*/ 1842225 w 3189556"/>
                    <a:gd name="connsiteY874" fmla="*/ 1944315 h 2139523"/>
                    <a:gd name="connsiteX875" fmla="*/ 1841124 w 3189556"/>
                    <a:gd name="connsiteY875" fmla="*/ 1943905 h 2139523"/>
                    <a:gd name="connsiteX876" fmla="*/ 1838946 w 3189556"/>
                    <a:gd name="connsiteY876" fmla="*/ 1944690 h 2139523"/>
                    <a:gd name="connsiteX877" fmla="*/ 1839684 w 3189556"/>
                    <a:gd name="connsiteY877" fmla="*/ 1942442 h 2139523"/>
                    <a:gd name="connsiteX878" fmla="*/ 1838618 w 3189556"/>
                    <a:gd name="connsiteY878" fmla="*/ 1943531 h 2139523"/>
                    <a:gd name="connsiteX879" fmla="*/ 1838934 w 3189556"/>
                    <a:gd name="connsiteY879" fmla="*/ 1941668 h 2139523"/>
                    <a:gd name="connsiteX880" fmla="*/ 1834671 w 3189556"/>
                    <a:gd name="connsiteY880" fmla="*/ 1941668 h 2139523"/>
                    <a:gd name="connsiteX881" fmla="*/ 1836604 w 3189556"/>
                    <a:gd name="connsiteY881" fmla="*/ 1947067 h 2139523"/>
                    <a:gd name="connsiteX882" fmla="*/ 1836042 w 3189556"/>
                    <a:gd name="connsiteY882" fmla="*/ 1944772 h 2139523"/>
                    <a:gd name="connsiteX883" fmla="*/ 1835725 w 3189556"/>
                    <a:gd name="connsiteY883" fmla="*/ 1946142 h 2139523"/>
                    <a:gd name="connsiteX884" fmla="*/ 1835046 w 3189556"/>
                    <a:gd name="connsiteY884" fmla="*/ 1945779 h 2139523"/>
                    <a:gd name="connsiteX885" fmla="*/ 1834671 w 3189556"/>
                    <a:gd name="connsiteY885" fmla="*/ 1946564 h 2139523"/>
                    <a:gd name="connsiteX886" fmla="*/ 1836838 w 3189556"/>
                    <a:gd name="connsiteY886" fmla="*/ 1951026 h 2139523"/>
                    <a:gd name="connsiteX887" fmla="*/ 1838946 w 3189556"/>
                    <a:gd name="connsiteY887" fmla="*/ 1951026 h 2139523"/>
                    <a:gd name="connsiteX888" fmla="*/ 1838349 w 3189556"/>
                    <a:gd name="connsiteY888" fmla="*/ 1952010 h 2139523"/>
                    <a:gd name="connsiteX889" fmla="*/ 1832891 w 3189556"/>
                    <a:gd name="connsiteY889" fmla="*/ 1953275 h 2139523"/>
                    <a:gd name="connsiteX890" fmla="*/ 1831099 w 3189556"/>
                    <a:gd name="connsiteY890" fmla="*/ 1950288 h 2139523"/>
                    <a:gd name="connsiteX891" fmla="*/ 1833207 w 3189556"/>
                    <a:gd name="connsiteY891" fmla="*/ 1950698 h 2139523"/>
                    <a:gd name="connsiteX892" fmla="*/ 1833207 w 3189556"/>
                    <a:gd name="connsiteY892" fmla="*/ 1948426 h 2139523"/>
                    <a:gd name="connsiteX893" fmla="*/ 1831826 w 3189556"/>
                    <a:gd name="connsiteY893" fmla="*/ 1945440 h 2139523"/>
                    <a:gd name="connsiteX894" fmla="*/ 1831099 w 3189556"/>
                    <a:gd name="connsiteY894" fmla="*/ 1945440 h 2139523"/>
                    <a:gd name="connsiteX895" fmla="*/ 1827879 w 3189556"/>
                    <a:gd name="connsiteY895" fmla="*/ 1946154 h 2139523"/>
                    <a:gd name="connsiteX896" fmla="*/ 1829647 w 3189556"/>
                    <a:gd name="connsiteY896" fmla="*/ 1945440 h 2139523"/>
                    <a:gd name="connsiteX897" fmla="*/ 1827738 w 3189556"/>
                    <a:gd name="connsiteY897" fmla="*/ 1945170 h 2139523"/>
                    <a:gd name="connsiteX898" fmla="*/ 1829331 w 3189556"/>
                    <a:gd name="connsiteY898" fmla="*/ 1941680 h 2139523"/>
                    <a:gd name="connsiteX899" fmla="*/ 1828230 w 3189556"/>
                    <a:gd name="connsiteY899" fmla="*/ 1942793 h 2139523"/>
                    <a:gd name="connsiteX900" fmla="*/ 1827527 w 3189556"/>
                    <a:gd name="connsiteY900" fmla="*/ 1941305 h 2139523"/>
                    <a:gd name="connsiteX901" fmla="*/ 1827153 w 3189556"/>
                    <a:gd name="connsiteY901" fmla="*/ 1943917 h 2139523"/>
                    <a:gd name="connsiteX902" fmla="*/ 1826087 w 3189556"/>
                    <a:gd name="connsiteY902" fmla="*/ 1943179 h 2139523"/>
                    <a:gd name="connsiteX903" fmla="*/ 1826813 w 3189556"/>
                    <a:gd name="connsiteY903" fmla="*/ 1945451 h 2139523"/>
                    <a:gd name="connsiteX904" fmla="*/ 1825021 w 3189556"/>
                    <a:gd name="connsiteY904" fmla="*/ 1945791 h 2139523"/>
                    <a:gd name="connsiteX905" fmla="*/ 1825712 w 3189556"/>
                    <a:gd name="connsiteY905" fmla="*/ 1943179 h 2139523"/>
                    <a:gd name="connsiteX906" fmla="*/ 1825021 w 3189556"/>
                    <a:gd name="connsiteY906" fmla="*/ 1936082 h 2139523"/>
                    <a:gd name="connsiteX907" fmla="*/ 1823604 w 3189556"/>
                    <a:gd name="connsiteY907" fmla="*/ 1936797 h 2139523"/>
                    <a:gd name="connsiteX908" fmla="*/ 1824330 w 3189556"/>
                    <a:gd name="connsiteY908" fmla="*/ 1937171 h 2139523"/>
                    <a:gd name="connsiteX909" fmla="*/ 1823932 w 3189556"/>
                    <a:gd name="connsiteY909" fmla="*/ 1934220 h 2139523"/>
                    <a:gd name="connsiteX910" fmla="*/ 1822878 w 3189556"/>
                    <a:gd name="connsiteY910" fmla="*/ 1934220 h 2139523"/>
                    <a:gd name="connsiteX911" fmla="*/ 1820360 w 3189556"/>
                    <a:gd name="connsiteY911" fmla="*/ 1936457 h 2139523"/>
                    <a:gd name="connsiteX912" fmla="*/ 1821086 w 3189556"/>
                    <a:gd name="connsiteY912" fmla="*/ 1937581 h 2139523"/>
                    <a:gd name="connsiteX913" fmla="*/ 1819669 w 3189556"/>
                    <a:gd name="connsiteY913" fmla="*/ 1939443 h 2139523"/>
                    <a:gd name="connsiteX914" fmla="*/ 1818943 w 3189556"/>
                    <a:gd name="connsiteY914" fmla="*/ 1934595 h 2139523"/>
                    <a:gd name="connsiteX915" fmla="*/ 1819294 w 3189556"/>
                    <a:gd name="connsiteY915" fmla="*/ 1941317 h 2139523"/>
                    <a:gd name="connsiteX916" fmla="*/ 1818193 w 3189556"/>
                    <a:gd name="connsiteY916" fmla="*/ 1945803 h 2139523"/>
                    <a:gd name="connsiteX917" fmla="*/ 1820360 w 3189556"/>
                    <a:gd name="connsiteY917" fmla="*/ 1946951 h 2139523"/>
                    <a:gd name="connsiteX918" fmla="*/ 1819985 w 3189556"/>
                    <a:gd name="connsiteY918" fmla="*/ 1947700 h 2139523"/>
                    <a:gd name="connsiteX919" fmla="*/ 1818943 w 3189556"/>
                    <a:gd name="connsiteY919" fmla="*/ 1947700 h 2139523"/>
                    <a:gd name="connsiteX920" fmla="*/ 1820149 w 3189556"/>
                    <a:gd name="connsiteY920" fmla="*/ 1949070 h 2139523"/>
                    <a:gd name="connsiteX921" fmla="*/ 1820372 w 3189556"/>
                    <a:gd name="connsiteY921" fmla="*/ 1949562 h 2139523"/>
                    <a:gd name="connsiteX922" fmla="*/ 1821847 w 3189556"/>
                    <a:gd name="connsiteY922" fmla="*/ 1946951 h 2139523"/>
                    <a:gd name="connsiteX923" fmla="*/ 1821098 w 3189556"/>
                    <a:gd name="connsiteY923" fmla="*/ 1949562 h 2139523"/>
                    <a:gd name="connsiteX924" fmla="*/ 1823241 w 3189556"/>
                    <a:gd name="connsiteY924" fmla="*/ 1948086 h 2139523"/>
                    <a:gd name="connsiteX925" fmla="*/ 1822175 w 3189556"/>
                    <a:gd name="connsiteY925" fmla="*/ 1950733 h 2139523"/>
                    <a:gd name="connsiteX926" fmla="*/ 1822901 w 3189556"/>
                    <a:gd name="connsiteY926" fmla="*/ 1950323 h 2139523"/>
                    <a:gd name="connsiteX927" fmla="*/ 1820758 w 3189556"/>
                    <a:gd name="connsiteY927" fmla="*/ 1951061 h 2139523"/>
                    <a:gd name="connsiteX928" fmla="*/ 1821859 w 3189556"/>
                    <a:gd name="connsiteY928" fmla="*/ 1951799 h 2139523"/>
                    <a:gd name="connsiteX929" fmla="*/ 1819154 w 3189556"/>
                    <a:gd name="connsiteY929" fmla="*/ 1954458 h 2139523"/>
                    <a:gd name="connsiteX930" fmla="*/ 1820383 w 3189556"/>
                    <a:gd name="connsiteY930" fmla="*/ 1952970 h 2139523"/>
                    <a:gd name="connsiteX931" fmla="*/ 1818627 w 3189556"/>
                    <a:gd name="connsiteY931" fmla="*/ 1955547 h 2139523"/>
                    <a:gd name="connsiteX932" fmla="*/ 1814422 w 3189556"/>
                    <a:gd name="connsiteY932" fmla="*/ 1953720 h 2139523"/>
                    <a:gd name="connsiteX933" fmla="*/ 1815769 w 3189556"/>
                    <a:gd name="connsiteY933" fmla="*/ 1954458 h 2139523"/>
                    <a:gd name="connsiteX934" fmla="*/ 1817198 w 3189556"/>
                    <a:gd name="connsiteY934" fmla="*/ 1952186 h 2139523"/>
                    <a:gd name="connsiteX935" fmla="*/ 1815769 w 3189556"/>
                    <a:gd name="connsiteY935" fmla="*/ 1952186 h 2139523"/>
                    <a:gd name="connsiteX936" fmla="*/ 1818627 w 3189556"/>
                    <a:gd name="connsiteY936" fmla="*/ 1949562 h 2139523"/>
                    <a:gd name="connsiteX937" fmla="*/ 1815429 w 3189556"/>
                    <a:gd name="connsiteY937" fmla="*/ 1949937 h 2139523"/>
                    <a:gd name="connsiteX938" fmla="*/ 1816156 w 3189556"/>
                    <a:gd name="connsiteY938" fmla="*/ 1948075 h 2139523"/>
                    <a:gd name="connsiteX939" fmla="*/ 1811857 w 3189556"/>
                    <a:gd name="connsiteY939" fmla="*/ 1946587 h 2139523"/>
                    <a:gd name="connsiteX940" fmla="*/ 1811143 w 3189556"/>
                    <a:gd name="connsiteY940" fmla="*/ 1951799 h 2139523"/>
                    <a:gd name="connsiteX941" fmla="*/ 1810417 w 3189556"/>
                    <a:gd name="connsiteY941" fmla="*/ 1954048 h 2139523"/>
                    <a:gd name="connsiteX942" fmla="*/ 1805053 w 3189556"/>
                    <a:gd name="connsiteY942" fmla="*/ 1958896 h 2139523"/>
                    <a:gd name="connsiteX943" fmla="*/ 1806470 w 3189556"/>
                    <a:gd name="connsiteY943" fmla="*/ 1951061 h 2139523"/>
                    <a:gd name="connsiteX944" fmla="*/ 1804772 w 3189556"/>
                    <a:gd name="connsiteY944" fmla="*/ 1951143 h 2139523"/>
                    <a:gd name="connsiteX945" fmla="*/ 1804327 w 3189556"/>
                    <a:gd name="connsiteY945" fmla="*/ 1951471 h 2139523"/>
                    <a:gd name="connsiteX946" fmla="*/ 1797499 w 3189556"/>
                    <a:gd name="connsiteY946" fmla="*/ 1955547 h 2139523"/>
                    <a:gd name="connsiteX947" fmla="*/ 1797745 w 3189556"/>
                    <a:gd name="connsiteY947" fmla="*/ 1956940 h 2139523"/>
                    <a:gd name="connsiteX948" fmla="*/ 1793576 w 3189556"/>
                    <a:gd name="connsiteY948" fmla="*/ 1956296 h 2139523"/>
                    <a:gd name="connsiteX949" fmla="*/ 1796105 w 3189556"/>
                    <a:gd name="connsiteY949" fmla="*/ 1957819 h 2139523"/>
                    <a:gd name="connsiteX950" fmla="*/ 1798249 w 3189556"/>
                    <a:gd name="connsiteY950" fmla="*/ 1959306 h 2139523"/>
                    <a:gd name="connsiteX951" fmla="*/ 1792147 w 3189556"/>
                    <a:gd name="connsiteY951" fmla="*/ 1962667 h 2139523"/>
                    <a:gd name="connsiteX952" fmla="*/ 1785014 w 3189556"/>
                    <a:gd name="connsiteY952" fmla="*/ 1951202 h 2139523"/>
                    <a:gd name="connsiteX953" fmla="*/ 1769157 w 3189556"/>
                    <a:gd name="connsiteY953" fmla="*/ 1953731 h 2139523"/>
                    <a:gd name="connsiteX954" fmla="*/ 1765152 w 3189556"/>
                    <a:gd name="connsiteY954" fmla="*/ 1950921 h 2139523"/>
                    <a:gd name="connsiteX955" fmla="*/ 1761861 w 3189556"/>
                    <a:gd name="connsiteY955" fmla="*/ 1952443 h 2139523"/>
                    <a:gd name="connsiteX956" fmla="*/ 1758383 w 3189556"/>
                    <a:gd name="connsiteY956" fmla="*/ 1950616 h 2139523"/>
                    <a:gd name="connsiteX957" fmla="*/ 1755361 w 3189556"/>
                    <a:gd name="connsiteY957" fmla="*/ 1947103 h 2139523"/>
                    <a:gd name="connsiteX958" fmla="*/ 1751918 w 3189556"/>
                    <a:gd name="connsiteY958" fmla="*/ 1947466 h 2139523"/>
                    <a:gd name="connsiteX959" fmla="*/ 1742549 w 3189556"/>
                    <a:gd name="connsiteY959" fmla="*/ 1942113 h 2139523"/>
                    <a:gd name="connsiteX960" fmla="*/ 1742958 w 3189556"/>
                    <a:gd name="connsiteY960" fmla="*/ 1937476 h 2139523"/>
                    <a:gd name="connsiteX961" fmla="*/ 1737150 w 3189556"/>
                    <a:gd name="connsiteY961" fmla="*/ 1935848 h 2139523"/>
                    <a:gd name="connsiteX962" fmla="*/ 1726960 w 3189556"/>
                    <a:gd name="connsiteY962" fmla="*/ 1931690 h 2139523"/>
                    <a:gd name="connsiteX963" fmla="*/ 1724021 w 3189556"/>
                    <a:gd name="connsiteY963" fmla="*/ 1930554 h 2139523"/>
                    <a:gd name="connsiteX964" fmla="*/ 1724056 w 3189556"/>
                    <a:gd name="connsiteY964" fmla="*/ 1925026 h 2139523"/>
                    <a:gd name="connsiteX965" fmla="*/ 1724173 w 3189556"/>
                    <a:gd name="connsiteY965" fmla="*/ 1919920 h 2139523"/>
                    <a:gd name="connsiteX966" fmla="*/ 1719243 w 3189556"/>
                    <a:gd name="connsiteY966" fmla="*/ 1913596 h 2139523"/>
                    <a:gd name="connsiteX967" fmla="*/ 1721398 w 3189556"/>
                    <a:gd name="connsiteY967" fmla="*/ 1898184 h 2139523"/>
                    <a:gd name="connsiteX968" fmla="*/ 1724571 w 3189556"/>
                    <a:gd name="connsiteY968" fmla="*/ 1900385 h 2139523"/>
                    <a:gd name="connsiteX969" fmla="*/ 1727042 w 3189556"/>
                    <a:gd name="connsiteY969" fmla="*/ 1895338 h 2139523"/>
                    <a:gd name="connsiteX970" fmla="*/ 1731387 w 3189556"/>
                    <a:gd name="connsiteY970" fmla="*/ 1888592 h 2139523"/>
                    <a:gd name="connsiteX971" fmla="*/ 1727019 w 3189556"/>
                    <a:gd name="connsiteY971" fmla="*/ 1886296 h 2139523"/>
                    <a:gd name="connsiteX972" fmla="*/ 1721538 w 3189556"/>
                    <a:gd name="connsiteY972" fmla="*/ 1884832 h 2139523"/>
                    <a:gd name="connsiteX973" fmla="*/ 1714652 w 3189556"/>
                    <a:gd name="connsiteY973" fmla="*/ 1881155 h 2139523"/>
                    <a:gd name="connsiteX974" fmla="*/ 1703584 w 3189556"/>
                    <a:gd name="connsiteY974" fmla="*/ 1884821 h 2139523"/>
                    <a:gd name="connsiteX975" fmla="*/ 1699427 w 3189556"/>
                    <a:gd name="connsiteY975" fmla="*/ 1879129 h 2139523"/>
                    <a:gd name="connsiteX976" fmla="*/ 1688383 w 3189556"/>
                    <a:gd name="connsiteY976" fmla="*/ 1880031 h 2139523"/>
                    <a:gd name="connsiteX977" fmla="*/ 1677514 w 3189556"/>
                    <a:gd name="connsiteY977" fmla="*/ 1876997 h 2139523"/>
                    <a:gd name="connsiteX978" fmla="*/ 1672912 w 3189556"/>
                    <a:gd name="connsiteY978" fmla="*/ 1874339 h 2139523"/>
                    <a:gd name="connsiteX979" fmla="*/ 1667091 w 3189556"/>
                    <a:gd name="connsiteY979" fmla="*/ 1873777 h 2139523"/>
                    <a:gd name="connsiteX980" fmla="*/ 1665451 w 3189556"/>
                    <a:gd name="connsiteY980" fmla="*/ 1870263 h 2139523"/>
                    <a:gd name="connsiteX981" fmla="*/ 1656316 w 3189556"/>
                    <a:gd name="connsiteY981" fmla="*/ 1860719 h 2139523"/>
                    <a:gd name="connsiteX982" fmla="*/ 1651257 w 3189556"/>
                    <a:gd name="connsiteY982" fmla="*/ 1857791 h 2139523"/>
                    <a:gd name="connsiteX983" fmla="*/ 1646760 w 3189556"/>
                    <a:gd name="connsiteY983" fmla="*/ 1862569 h 2139523"/>
                    <a:gd name="connsiteX984" fmla="*/ 1634158 w 3189556"/>
                    <a:gd name="connsiteY984" fmla="*/ 1868272 h 2139523"/>
                    <a:gd name="connsiteX985" fmla="*/ 1628349 w 3189556"/>
                    <a:gd name="connsiteY985" fmla="*/ 1871376 h 2139523"/>
                    <a:gd name="connsiteX986" fmla="*/ 1627049 w 3189556"/>
                    <a:gd name="connsiteY986" fmla="*/ 1881705 h 2139523"/>
                    <a:gd name="connsiteX987" fmla="*/ 1614261 w 3189556"/>
                    <a:gd name="connsiteY987" fmla="*/ 1885746 h 2139523"/>
                    <a:gd name="connsiteX988" fmla="*/ 1602350 w 3189556"/>
                    <a:gd name="connsiteY988" fmla="*/ 1893628 h 2139523"/>
                    <a:gd name="connsiteX989" fmla="*/ 1597970 w 3189556"/>
                    <a:gd name="connsiteY989" fmla="*/ 1886390 h 2139523"/>
                    <a:gd name="connsiteX990" fmla="*/ 1585954 w 3189556"/>
                    <a:gd name="connsiteY990" fmla="*/ 1895350 h 2139523"/>
                    <a:gd name="connsiteX991" fmla="*/ 1579747 w 3189556"/>
                    <a:gd name="connsiteY991" fmla="*/ 1900315 h 2139523"/>
                    <a:gd name="connsiteX992" fmla="*/ 1566946 w 3189556"/>
                    <a:gd name="connsiteY992" fmla="*/ 1887784 h 2139523"/>
                    <a:gd name="connsiteX993" fmla="*/ 1557940 w 3189556"/>
                    <a:gd name="connsiteY993" fmla="*/ 1899156 h 2139523"/>
                    <a:gd name="connsiteX994" fmla="*/ 1547786 w 3189556"/>
                    <a:gd name="connsiteY994" fmla="*/ 1891098 h 2139523"/>
                    <a:gd name="connsiteX995" fmla="*/ 1538007 w 3189556"/>
                    <a:gd name="connsiteY995" fmla="*/ 1903887 h 2139523"/>
                    <a:gd name="connsiteX996" fmla="*/ 1525909 w 3189556"/>
                    <a:gd name="connsiteY996" fmla="*/ 1901416 h 2139523"/>
                    <a:gd name="connsiteX997" fmla="*/ 1511902 w 3189556"/>
                    <a:gd name="connsiteY997" fmla="*/ 1892539 h 2139523"/>
                    <a:gd name="connsiteX998" fmla="*/ 1508529 w 3189556"/>
                    <a:gd name="connsiteY998" fmla="*/ 1891836 h 2139523"/>
                    <a:gd name="connsiteX999" fmla="*/ 1503715 w 3189556"/>
                    <a:gd name="connsiteY999" fmla="*/ 1890185 h 2139523"/>
                    <a:gd name="connsiteX1000" fmla="*/ 1500377 w 3189556"/>
                    <a:gd name="connsiteY1000" fmla="*/ 1898207 h 2139523"/>
                    <a:gd name="connsiteX1001" fmla="*/ 1488291 w 3189556"/>
                    <a:gd name="connsiteY1001" fmla="*/ 1908771 h 2139523"/>
                    <a:gd name="connsiteX1002" fmla="*/ 1475420 w 3189556"/>
                    <a:gd name="connsiteY1002" fmla="*/ 1908045 h 2139523"/>
                    <a:gd name="connsiteX1003" fmla="*/ 1471883 w 3189556"/>
                    <a:gd name="connsiteY1003" fmla="*/ 1909696 h 2139523"/>
                    <a:gd name="connsiteX1004" fmla="*/ 1465782 w 3189556"/>
                    <a:gd name="connsiteY1004" fmla="*/ 1904836 h 2139523"/>
                    <a:gd name="connsiteX1005" fmla="*/ 1461214 w 3189556"/>
                    <a:gd name="connsiteY1005" fmla="*/ 1913760 h 2139523"/>
                    <a:gd name="connsiteX1006" fmla="*/ 1458474 w 3189556"/>
                    <a:gd name="connsiteY1006" fmla="*/ 1923422 h 2139523"/>
                    <a:gd name="connsiteX1007" fmla="*/ 1464224 w 3189556"/>
                    <a:gd name="connsiteY1007" fmla="*/ 1935555 h 2139523"/>
                    <a:gd name="connsiteX1008" fmla="*/ 1468253 w 3189556"/>
                    <a:gd name="connsiteY1008" fmla="*/ 1948567 h 2139523"/>
                    <a:gd name="connsiteX1009" fmla="*/ 1467351 w 3189556"/>
                    <a:gd name="connsiteY1009" fmla="*/ 1959693 h 2139523"/>
                    <a:gd name="connsiteX1010" fmla="*/ 1468639 w 3189556"/>
                    <a:gd name="connsiteY1010" fmla="*/ 1970760 h 2139523"/>
                    <a:gd name="connsiteX1011" fmla="*/ 1470911 w 3189556"/>
                    <a:gd name="connsiteY1011" fmla="*/ 1975035 h 2139523"/>
                    <a:gd name="connsiteX1012" fmla="*/ 1467855 w 3189556"/>
                    <a:gd name="connsiteY1012" fmla="*/ 1978560 h 2139523"/>
                    <a:gd name="connsiteX1013" fmla="*/ 1459235 w 3189556"/>
                    <a:gd name="connsiteY1013" fmla="*/ 1976616 h 2139523"/>
                    <a:gd name="connsiteX1014" fmla="*/ 1447160 w 3189556"/>
                    <a:gd name="connsiteY1014" fmla="*/ 1974847 h 2139523"/>
                    <a:gd name="connsiteX1015" fmla="*/ 1439712 w 3189556"/>
                    <a:gd name="connsiteY1015" fmla="*/ 1969015 h 2139523"/>
                    <a:gd name="connsiteX1016" fmla="*/ 1439958 w 3189556"/>
                    <a:gd name="connsiteY1016" fmla="*/ 1965443 h 2139523"/>
                    <a:gd name="connsiteX1017" fmla="*/ 1437780 w 3189556"/>
                    <a:gd name="connsiteY1017" fmla="*/ 1963897 h 2139523"/>
                    <a:gd name="connsiteX1018" fmla="*/ 1438658 w 3189556"/>
                    <a:gd name="connsiteY1018" fmla="*/ 1958205 h 2139523"/>
                    <a:gd name="connsiteX1019" fmla="*/ 1435402 w 3189556"/>
                    <a:gd name="connsiteY1019" fmla="*/ 1945568 h 2139523"/>
                    <a:gd name="connsiteX1020" fmla="*/ 1402048 w 3189556"/>
                    <a:gd name="connsiteY1020" fmla="*/ 1961133 h 2139523"/>
                    <a:gd name="connsiteX1021" fmla="*/ 1392503 w 3189556"/>
                    <a:gd name="connsiteY1021" fmla="*/ 1959166 h 2139523"/>
                    <a:gd name="connsiteX1022" fmla="*/ 1381365 w 3189556"/>
                    <a:gd name="connsiteY1022" fmla="*/ 1957034 h 2139523"/>
                    <a:gd name="connsiteX1023" fmla="*/ 1384211 w 3189556"/>
                    <a:gd name="connsiteY1023" fmla="*/ 1951260 h 2139523"/>
                    <a:gd name="connsiteX1024" fmla="*/ 1375615 w 3189556"/>
                    <a:gd name="connsiteY1024" fmla="*/ 1948239 h 2139523"/>
                    <a:gd name="connsiteX1025" fmla="*/ 1373729 w 3189556"/>
                    <a:gd name="connsiteY1025" fmla="*/ 1929079 h 2139523"/>
                    <a:gd name="connsiteX1026" fmla="*/ 1368260 w 3189556"/>
                    <a:gd name="connsiteY1026" fmla="*/ 1930297 h 2139523"/>
                    <a:gd name="connsiteX1027" fmla="*/ 1364711 w 3189556"/>
                    <a:gd name="connsiteY1027" fmla="*/ 1928716 h 2139523"/>
                    <a:gd name="connsiteX1028" fmla="*/ 1358059 w 3189556"/>
                    <a:gd name="connsiteY1028" fmla="*/ 1927193 h 2139523"/>
                    <a:gd name="connsiteX1029" fmla="*/ 1345153 w 3189556"/>
                    <a:gd name="connsiteY1029" fmla="*/ 1925506 h 2139523"/>
                    <a:gd name="connsiteX1030" fmla="*/ 1332095 w 3189556"/>
                    <a:gd name="connsiteY1030" fmla="*/ 1923153 h 2139523"/>
                    <a:gd name="connsiteX1031" fmla="*/ 1337412 w 3189556"/>
                    <a:gd name="connsiteY1031" fmla="*/ 1911511 h 2139523"/>
                    <a:gd name="connsiteX1032" fmla="*/ 1342939 w 3189556"/>
                    <a:gd name="connsiteY1032" fmla="*/ 1900315 h 2139523"/>
                    <a:gd name="connsiteX1033" fmla="*/ 1340632 w 3189556"/>
                    <a:gd name="connsiteY1033" fmla="*/ 1891403 h 2139523"/>
                    <a:gd name="connsiteX1034" fmla="*/ 1344333 w 3189556"/>
                    <a:gd name="connsiteY1034" fmla="*/ 1886964 h 2139523"/>
                    <a:gd name="connsiteX1035" fmla="*/ 1347003 w 3189556"/>
                    <a:gd name="connsiteY1035" fmla="*/ 1880183 h 2139523"/>
                    <a:gd name="connsiteX1036" fmla="*/ 1352508 w 3189556"/>
                    <a:gd name="connsiteY1036" fmla="*/ 1879797 h 2139523"/>
                    <a:gd name="connsiteX1037" fmla="*/ 1340972 w 3189556"/>
                    <a:gd name="connsiteY1037" fmla="*/ 1869736 h 2139523"/>
                    <a:gd name="connsiteX1038" fmla="*/ 1336334 w 3189556"/>
                    <a:gd name="connsiteY1038" fmla="*/ 1873554 h 2139523"/>
                    <a:gd name="connsiteX1039" fmla="*/ 1334132 w 3189556"/>
                    <a:gd name="connsiteY1039" fmla="*/ 1871446 h 2139523"/>
                    <a:gd name="connsiteX1040" fmla="*/ 1325079 w 3189556"/>
                    <a:gd name="connsiteY1040" fmla="*/ 1867769 h 2139523"/>
                    <a:gd name="connsiteX1041" fmla="*/ 1317303 w 3189556"/>
                    <a:gd name="connsiteY1041" fmla="*/ 1865017 h 2139523"/>
                    <a:gd name="connsiteX1042" fmla="*/ 1316952 w 3189556"/>
                    <a:gd name="connsiteY1042" fmla="*/ 1858833 h 2139523"/>
                    <a:gd name="connsiteX1043" fmla="*/ 1314668 w 3189556"/>
                    <a:gd name="connsiteY1043" fmla="*/ 1850611 h 2139523"/>
                    <a:gd name="connsiteX1044" fmla="*/ 1313801 w 3189556"/>
                    <a:gd name="connsiteY1044" fmla="*/ 1834941 h 2139523"/>
                    <a:gd name="connsiteX1045" fmla="*/ 1307430 w 3189556"/>
                    <a:gd name="connsiteY1045" fmla="*/ 1825912 h 2139523"/>
                    <a:gd name="connsiteX1046" fmla="*/ 1317584 w 3189556"/>
                    <a:gd name="connsiteY1046" fmla="*/ 1813568 h 2139523"/>
                    <a:gd name="connsiteX1047" fmla="*/ 1285787 w 3189556"/>
                    <a:gd name="connsiteY1047" fmla="*/ 1815594 h 2139523"/>
                    <a:gd name="connsiteX1048" fmla="*/ 1252854 w 3189556"/>
                    <a:gd name="connsiteY1048" fmla="*/ 1830069 h 2139523"/>
                    <a:gd name="connsiteX1049" fmla="*/ 1253253 w 3189556"/>
                    <a:gd name="connsiteY1049" fmla="*/ 1818651 h 2139523"/>
                    <a:gd name="connsiteX1050" fmla="*/ 1257563 w 3189556"/>
                    <a:gd name="connsiteY1050" fmla="*/ 1808825 h 2139523"/>
                    <a:gd name="connsiteX1051" fmla="*/ 1253639 w 3189556"/>
                    <a:gd name="connsiteY1051" fmla="*/ 1803824 h 2139523"/>
                    <a:gd name="connsiteX1052" fmla="*/ 1255548 w 3189556"/>
                    <a:gd name="connsiteY1052" fmla="*/ 1800556 h 2139523"/>
                    <a:gd name="connsiteX1053" fmla="*/ 1247057 w 3189556"/>
                    <a:gd name="connsiteY1053" fmla="*/ 1796399 h 2139523"/>
                    <a:gd name="connsiteX1054" fmla="*/ 1252761 w 3189556"/>
                    <a:gd name="connsiteY1054" fmla="*/ 1777239 h 2139523"/>
                    <a:gd name="connsiteX1055" fmla="*/ 1258991 w 3189556"/>
                    <a:gd name="connsiteY1055" fmla="*/ 1772695 h 2139523"/>
                    <a:gd name="connsiteX1056" fmla="*/ 1257024 w 3189556"/>
                    <a:gd name="connsiteY1056" fmla="*/ 1765597 h 2139523"/>
                    <a:gd name="connsiteX1057" fmla="*/ 1259577 w 3189556"/>
                    <a:gd name="connsiteY1057" fmla="*/ 1759929 h 2139523"/>
                    <a:gd name="connsiteX1058" fmla="*/ 1262915 w 3189556"/>
                    <a:gd name="connsiteY1058" fmla="*/ 1752036 h 2139523"/>
                    <a:gd name="connsiteX1059" fmla="*/ 1267447 w 3189556"/>
                    <a:gd name="connsiteY1059" fmla="*/ 1754741 h 2139523"/>
                    <a:gd name="connsiteX1060" fmla="*/ 1279732 w 3189556"/>
                    <a:gd name="connsiteY1060" fmla="*/ 1732243 h 2139523"/>
                    <a:gd name="connsiteX1061" fmla="*/ 1292990 w 3189556"/>
                    <a:gd name="connsiteY1061" fmla="*/ 1728940 h 2139523"/>
                    <a:gd name="connsiteX1062" fmla="*/ 1296047 w 3189556"/>
                    <a:gd name="connsiteY1062" fmla="*/ 1722968 h 2139523"/>
                    <a:gd name="connsiteX1063" fmla="*/ 1301762 w 3189556"/>
                    <a:gd name="connsiteY1063" fmla="*/ 1720824 h 2139523"/>
                    <a:gd name="connsiteX1064" fmla="*/ 1305474 w 3189556"/>
                    <a:gd name="connsiteY1064" fmla="*/ 1712884 h 2139523"/>
                    <a:gd name="connsiteX1065" fmla="*/ 1305064 w 3189556"/>
                    <a:gd name="connsiteY1065" fmla="*/ 1702519 h 2139523"/>
                    <a:gd name="connsiteX1066" fmla="*/ 1305322 w 3189556"/>
                    <a:gd name="connsiteY1066" fmla="*/ 1705166 h 2139523"/>
                    <a:gd name="connsiteX1067" fmla="*/ 1306060 w 3189556"/>
                    <a:gd name="connsiteY1067" fmla="*/ 1696640 h 2139523"/>
                    <a:gd name="connsiteX1068" fmla="*/ 1310054 w 3189556"/>
                    <a:gd name="connsiteY1068" fmla="*/ 1680513 h 2139523"/>
                    <a:gd name="connsiteX1069" fmla="*/ 1310639 w 3189556"/>
                    <a:gd name="connsiteY1069" fmla="*/ 1660873 h 2139523"/>
                    <a:gd name="connsiteX1070" fmla="*/ 1308636 w 3189556"/>
                    <a:gd name="connsiteY1070" fmla="*/ 1633737 h 2139523"/>
                    <a:gd name="connsiteX1071" fmla="*/ 1298482 w 3189556"/>
                    <a:gd name="connsiteY1071" fmla="*/ 1618302 h 2139523"/>
                    <a:gd name="connsiteX1072" fmla="*/ 1291889 w 3189556"/>
                    <a:gd name="connsiteY1072" fmla="*/ 1624087 h 2139523"/>
                    <a:gd name="connsiteX1073" fmla="*/ 1282977 w 3189556"/>
                    <a:gd name="connsiteY1073" fmla="*/ 1613465 h 2139523"/>
                    <a:gd name="connsiteX1074" fmla="*/ 1278714 w 3189556"/>
                    <a:gd name="connsiteY1074" fmla="*/ 1598111 h 2139523"/>
                    <a:gd name="connsiteX1075" fmla="*/ 1278374 w 3189556"/>
                    <a:gd name="connsiteY1075" fmla="*/ 1590229 h 2139523"/>
                    <a:gd name="connsiteX1076" fmla="*/ 1271710 w 3189556"/>
                    <a:gd name="connsiteY1076" fmla="*/ 1585357 h 2139523"/>
                    <a:gd name="connsiteX1077" fmla="*/ 1267693 w 3189556"/>
                    <a:gd name="connsiteY1077" fmla="*/ 1579103 h 2139523"/>
                    <a:gd name="connsiteX1078" fmla="*/ 1259530 w 3189556"/>
                    <a:gd name="connsiteY1078" fmla="*/ 1577581 h 2139523"/>
                    <a:gd name="connsiteX1079" fmla="*/ 1254471 w 3189556"/>
                    <a:gd name="connsiteY1079" fmla="*/ 1569874 h 2139523"/>
                    <a:gd name="connsiteX1080" fmla="*/ 1249610 w 3189556"/>
                    <a:gd name="connsiteY1080" fmla="*/ 1568446 h 2139523"/>
                    <a:gd name="connsiteX1081" fmla="*/ 1243766 w 3189556"/>
                    <a:gd name="connsiteY1081" fmla="*/ 1576245 h 2139523"/>
                    <a:gd name="connsiteX1082" fmla="*/ 1238613 w 3189556"/>
                    <a:gd name="connsiteY1082" fmla="*/ 1584596 h 2139523"/>
                    <a:gd name="connsiteX1083" fmla="*/ 1226281 w 3189556"/>
                    <a:gd name="connsiteY1083" fmla="*/ 1577663 h 2139523"/>
                    <a:gd name="connsiteX1084" fmla="*/ 1218481 w 3189556"/>
                    <a:gd name="connsiteY1084" fmla="*/ 1579689 h 2139523"/>
                    <a:gd name="connsiteX1085" fmla="*/ 1210986 w 3189556"/>
                    <a:gd name="connsiteY1085" fmla="*/ 1570811 h 2139523"/>
                    <a:gd name="connsiteX1086" fmla="*/ 1193934 w 3189556"/>
                    <a:gd name="connsiteY1086" fmla="*/ 1574571 h 2139523"/>
                    <a:gd name="connsiteX1087" fmla="*/ 1190795 w 3189556"/>
                    <a:gd name="connsiteY1087" fmla="*/ 1563843 h 2139523"/>
                    <a:gd name="connsiteX1088" fmla="*/ 1194461 w 3189556"/>
                    <a:gd name="connsiteY1088" fmla="*/ 1547048 h 2139523"/>
                    <a:gd name="connsiteX1089" fmla="*/ 1186403 w 3189556"/>
                    <a:gd name="connsiteY1089" fmla="*/ 1536262 h 2139523"/>
                    <a:gd name="connsiteX1090" fmla="*/ 1178287 w 3189556"/>
                    <a:gd name="connsiteY1090" fmla="*/ 1540268 h 2139523"/>
                    <a:gd name="connsiteX1091" fmla="*/ 1185291 w 3189556"/>
                    <a:gd name="connsiteY1091" fmla="*/ 1526038 h 2139523"/>
                    <a:gd name="connsiteX1092" fmla="*/ 1178404 w 3189556"/>
                    <a:gd name="connsiteY1092" fmla="*/ 1526788 h 2139523"/>
                    <a:gd name="connsiteX1093" fmla="*/ 1168836 w 3189556"/>
                    <a:gd name="connsiteY1093" fmla="*/ 1521119 h 2139523"/>
                    <a:gd name="connsiteX1094" fmla="*/ 1156422 w 3189556"/>
                    <a:gd name="connsiteY1094" fmla="*/ 1522185 h 2139523"/>
                    <a:gd name="connsiteX1095" fmla="*/ 1154524 w 3189556"/>
                    <a:gd name="connsiteY1095" fmla="*/ 1527057 h 2139523"/>
                    <a:gd name="connsiteX1096" fmla="*/ 1148235 w 3189556"/>
                    <a:gd name="connsiteY1096" fmla="*/ 1528240 h 2139523"/>
                    <a:gd name="connsiteX1097" fmla="*/ 1143258 w 3189556"/>
                    <a:gd name="connsiteY1097" fmla="*/ 1529868 h 2139523"/>
                    <a:gd name="connsiteX1098" fmla="*/ 1140248 w 3189556"/>
                    <a:gd name="connsiteY1098" fmla="*/ 1534833 h 2139523"/>
                    <a:gd name="connsiteX1099" fmla="*/ 1139136 w 3189556"/>
                    <a:gd name="connsiteY1099" fmla="*/ 1531215 h 2139523"/>
                    <a:gd name="connsiteX1100" fmla="*/ 1130609 w 3189556"/>
                    <a:gd name="connsiteY1100" fmla="*/ 1538804 h 2139523"/>
                    <a:gd name="connsiteX1101" fmla="*/ 1113546 w 3189556"/>
                    <a:gd name="connsiteY1101" fmla="*/ 1532199 h 2139523"/>
                    <a:gd name="connsiteX1102" fmla="*/ 1115303 w 3189556"/>
                    <a:gd name="connsiteY1102" fmla="*/ 1534740 h 2139523"/>
                    <a:gd name="connsiteX1103" fmla="*/ 1103614 w 3189556"/>
                    <a:gd name="connsiteY1103" fmla="*/ 1530770 h 2139523"/>
                    <a:gd name="connsiteX1104" fmla="*/ 1094140 w 3189556"/>
                    <a:gd name="connsiteY1104" fmla="*/ 1524598 h 2139523"/>
                    <a:gd name="connsiteX1105" fmla="*/ 1089127 w 3189556"/>
                    <a:gd name="connsiteY1105" fmla="*/ 1529704 h 2139523"/>
                    <a:gd name="connsiteX1106" fmla="*/ 1083190 w 3189556"/>
                    <a:gd name="connsiteY1106" fmla="*/ 1530664 h 2139523"/>
                    <a:gd name="connsiteX1107" fmla="*/ 1081854 w 3189556"/>
                    <a:gd name="connsiteY1107" fmla="*/ 1540420 h 2139523"/>
                    <a:gd name="connsiteX1108" fmla="*/ 1058736 w 3189556"/>
                    <a:gd name="connsiteY1108" fmla="*/ 1553338 h 2139523"/>
                    <a:gd name="connsiteX1109" fmla="*/ 1047153 w 3189556"/>
                    <a:gd name="connsiteY1109" fmla="*/ 1558760 h 2139523"/>
                    <a:gd name="connsiteX1110" fmla="*/ 1030722 w 3189556"/>
                    <a:gd name="connsiteY1110" fmla="*/ 1562754 h 2139523"/>
                    <a:gd name="connsiteX1111" fmla="*/ 1008517 w 3189556"/>
                    <a:gd name="connsiteY1111" fmla="*/ 1583448 h 2139523"/>
                    <a:gd name="connsiteX1112" fmla="*/ 994006 w 3189556"/>
                    <a:gd name="connsiteY1112" fmla="*/ 1595499 h 2139523"/>
                    <a:gd name="connsiteX1113" fmla="*/ 995376 w 3189556"/>
                    <a:gd name="connsiteY1113" fmla="*/ 1599434 h 2139523"/>
                    <a:gd name="connsiteX1114" fmla="*/ 990739 w 3189556"/>
                    <a:gd name="connsiteY1114" fmla="*/ 1603756 h 2139523"/>
                    <a:gd name="connsiteX1115" fmla="*/ 979906 w 3189556"/>
                    <a:gd name="connsiteY1115" fmla="*/ 1606508 h 2139523"/>
                    <a:gd name="connsiteX1116" fmla="*/ 978617 w 3189556"/>
                    <a:gd name="connsiteY1116" fmla="*/ 1609448 h 2139523"/>
                    <a:gd name="connsiteX1117" fmla="*/ 976579 w 3189556"/>
                    <a:gd name="connsiteY1117" fmla="*/ 1607808 h 2139523"/>
                    <a:gd name="connsiteX1118" fmla="*/ 975279 w 3189556"/>
                    <a:gd name="connsiteY1118" fmla="*/ 1610443 h 2139523"/>
                    <a:gd name="connsiteX1119" fmla="*/ 971930 w 3189556"/>
                    <a:gd name="connsiteY1119" fmla="*/ 1605993 h 2139523"/>
                    <a:gd name="connsiteX1120" fmla="*/ 969248 w 3189556"/>
                    <a:gd name="connsiteY1120" fmla="*/ 1609213 h 2139523"/>
                    <a:gd name="connsiteX1121" fmla="*/ 959094 w 3189556"/>
                    <a:gd name="connsiteY1121" fmla="*/ 1613383 h 2139523"/>
                    <a:gd name="connsiteX1122" fmla="*/ 940203 w 3189556"/>
                    <a:gd name="connsiteY1122" fmla="*/ 1610958 h 2139523"/>
                    <a:gd name="connsiteX1123" fmla="*/ 937756 w 3189556"/>
                    <a:gd name="connsiteY1123" fmla="*/ 1600453 h 2139523"/>
                    <a:gd name="connsiteX1124" fmla="*/ 922414 w 3189556"/>
                    <a:gd name="connsiteY1124" fmla="*/ 1593227 h 2139523"/>
                    <a:gd name="connsiteX1125" fmla="*/ 905210 w 3189556"/>
                    <a:gd name="connsiteY1125" fmla="*/ 1598673 h 2139523"/>
                    <a:gd name="connsiteX1126" fmla="*/ 890781 w 3189556"/>
                    <a:gd name="connsiteY1126" fmla="*/ 1593473 h 2139523"/>
                    <a:gd name="connsiteX1127" fmla="*/ 879901 w 3189556"/>
                    <a:gd name="connsiteY1127" fmla="*/ 1594305 h 2139523"/>
                    <a:gd name="connsiteX1128" fmla="*/ 883684 w 3189556"/>
                    <a:gd name="connsiteY1128" fmla="*/ 1584467 h 2139523"/>
                    <a:gd name="connsiteX1129" fmla="*/ 876809 w 3189556"/>
                    <a:gd name="connsiteY1129" fmla="*/ 1582429 h 2139523"/>
                    <a:gd name="connsiteX1130" fmla="*/ 871269 w 3189556"/>
                    <a:gd name="connsiteY1130" fmla="*/ 1583788 h 2139523"/>
                    <a:gd name="connsiteX1131" fmla="*/ 867299 w 3189556"/>
                    <a:gd name="connsiteY1131" fmla="*/ 1578471 h 2139523"/>
                    <a:gd name="connsiteX1132" fmla="*/ 863071 w 3189556"/>
                    <a:gd name="connsiteY1132" fmla="*/ 1580192 h 2139523"/>
                    <a:gd name="connsiteX1133" fmla="*/ 849357 w 3189556"/>
                    <a:gd name="connsiteY1133" fmla="*/ 1581328 h 2139523"/>
                    <a:gd name="connsiteX1134" fmla="*/ 841370 w 3189556"/>
                    <a:gd name="connsiteY1134" fmla="*/ 1588414 h 2139523"/>
                    <a:gd name="connsiteX1135" fmla="*/ 827304 w 3189556"/>
                    <a:gd name="connsiteY1135" fmla="*/ 1595312 h 2139523"/>
                    <a:gd name="connsiteX1136" fmla="*/ 809433 w 3189556"/>
                    <a:gd name="connsiteY1136" fmla="*/ 1620070 h 2139523"/>
                    <a:gd name="connsiteX1137" fmla="*/ 800555 w 3189556"/>
                    <a:gd name="connsiteY1137" fmla="*/ 1630880 h 2139523"/>
                    <a:gd name="connsiteX1138" fmla="*/ 797616 w 3189556"/>
                    <a:gd name="connsiteY1138" fmla="*/ 1636689 h 2139523"/>
                    <a:gd name="connsiteX1139" fmla="*/ 790319 w 3189556"/>
                    <a:gd name="connsiteY1139" fmla="*/ 1629790 h 2139523"/>
                    <a:gd name="connsiteX1140" fmla="*/ 793013 w 3189556"/>
                    <a:gd name="connsiteY1140" fmla="*/ 1601496 h 2139523"/>
                    <a:gd name="connsiteX1141" fmla="*/ 787813 w 3189556"/>
                    <a:gd name="connsiteY1141" fmla="*/ 1594867 h 2139523"/>
                    <a:gd name="connsiteX1142" fmla="*/ 777753 w 3189556"/>
                    <a:gd name="connsiteY1142" fmla="*/ 1596132 h 2139523"/>
                    <a:gd name="connsiteX1143" fmla="*/ 756953 w 3189556"/>
                    <a:gd name="connsiteY1143" fmla="*/ 1606215 h 2139523"/>
                    <a:gd name="connsiteX1144" fmla="*/ 747924 w 3189556"/>
                    <a:gd name="connsiteY1144" fmla="*/ 1604447 h 2139523"/>
                    <a:gd name="connsiteX1145" fmla="*/ 738379 w 3189556"/>
                    <a:gd name="connsiteY1145" fmla="*/ 1608230 h 2139523"/>
                    <a:gd name="connsiteX1146" fmla="*/ 717872 w 3189556"/>
                    <a:gd name="connsiteY1146" fmla="*/ 1609424 h 2139523"/>
                    <a:gd name="connsiteX1147" fmla="*/ 718715 w 3189556"/>
                    <a:gd name="connsiteY1147" fmla="*/ 1606860 h 2139523"/>
                    <a:gd name="connsiteX1148" fmla="*/ 691720 w 3189556"/>
                    <a:gd name="connsiteY1148" fmla="*/ 1598673 h 2139523"/>
                    <a:gd name="connsiteX1149" fmla="*/ 679751 w 3189556"/>
                    <a:gd name="connsiteY1149" fmla="*/ 1593134 h 2139523"/>
                    <a:gd name="connsiteX1150" fmla="*/ 673099 w 3189556"/>
                    <a:gd name="connsiteY1150" fmla="*/ 1601027 h 2139523"/>
                    <a:gd name="connsiteX1151" fmla="*/ 662453 w 3189556"/>
                    <a:gd name="connsiteY1151" fmla="*/ 1600664 h 2139523"/>
                    <a:gd name="connsiteX1152" fmla="*/ 657054 w 3189556"/>
                    <a:gd name="connsiteY1152" fmla="*/ 1598216 h 2139523"/>
                    <a:gd name="connsiteX1153" fmla="*/ 656222 w 3189556"/>
                    <a:gd name="connsiteY1153" fmla="*/ 1592208 h 2139523"/>
                    <a:gd name="connsiteX1154" fmla="*/ 645436 w 3189556"/>
                    <a:gd name="connsiteY1154" fmla="*/ 1604822 h 2139523"/>
                    <a:gd name="connsiteX1155" fmla="*/ 639779 w 3189556"/>
                    <a:gd name="connsiteY1155" fmla="*/ 1592091 h 2139523"/>
                    <a:gd name="connsiteX1156" fmla="*/ 630445 w 3189556"/>
                    <a:gd name="connsiteY1156" fmla="*/ 1579419 h 2139523"/>
                    <a:gd name="connsiteX1157" fmla="*/ 616380 w 3189556"/>
                    <a:gd name="connsiteY1157" fmla="*/ 1581598 h 2139523"/>
                    <a:gd name="connsiteX1158" fmla="*/ 598672 w 3189556"/>
                    <a:gd name="connsiteY1158" fmla="*/ 1580778 h 2139523"/>
                    <a:gd name="connsiteX1159" fmla="*/ 598215 w 3189556"/>
                    <a:gd name="connsiteY1159" fmla="*/ 1562672 h 2139523"/>
                    <a:gd name="connsiteX1160" fmla="*/ 583599 w 3189556"/>
                    <a:gd name="connsiteY1160" fmla="*/ 1567310 h 2139523"/>
                    <a:gd name="connsiteX1161" fmla="*/ 576162 w 3189556"/>
                    <a:gd name="connsiteY1161" fmla="*/ 1560927 h 2139523"/>
                    <a:gd name="connsiteX1162" fmla="*/ 567238 w 3189556"/>
                    <a:gd name="connsiteY1162" fmla="*/ 1557238 h 2139523"/>
                    <a:gd name="connsiteX1163" fmla="*/ 561230 w 3189556"/>
                    <a:gd name="connsiteY1163" fmla="*/ 1549918 h 2139523"/>
                    <a:gd name="connsiteX1164" fmla="*/ 553629 w 3189556"/>
                    <a:gd name="connsiteY1164" fmla="*/ 1546288 h 2139523"/>
                    <a:gd name="connsiteX1165" fmla="*/ 553044 w 3189556"/>
                    <a:gd name="connsiteY1165" fmla="*/ 1539413 h 2139523"/>
                    <a:gd name="connsiteX1166" fmla="*/ 528508 w 3189556"/>
                    <a:gd name="connsiteY1166" fmla="*/ 1528486 h 2139523"/>
                    <a:gd name="connsiteX1167" fmla="*/ 521470 w 3189556"/>
                    <a:gd name="connsiteY1167" fmla="*/ 1532772 h 2139523"/>
                    <a:gd name="connsiteX1168" fmla="*/ 515696 w 3189556"/>
                    <a:gd name="connsiteY1168" fmla="*/ 1526120 h 2139523"/>
                    <a:gd name="connsiteX1169" fmla="*/ 510215 w 3189556"/>
                    <a:gd name="connsiteY1169" fmla="*/ 1519761 h 2139523"/>
                    <a:gd name="connsiteX1170" fmla="*/ 502954 w 3189556"/>
                    <a:gd name="connsiteY1170" fmla="*/ 1513015 h 2139523"/>
                    <a:gd name="connsiteX1171" fmla="*/ 499721 w 3189556"/>
                    <a:gd name="connsiteY1171" fmla="*/ 1506995 h 2139523"/>
                    <a:gd name="connsiteX1172" fmla="*/ 493092 w 3189556"/>
                    <a:gd name="connsiteY1172" fmla="*/ 1508705 h 2139523"/>
                    <a:gd name="connsiteX1173" fmla="*/ 485222 w 3189556"/>
                    <a:gd name="connsiteY1173" fmla="*/ 1502873 h 2139523"/>
                    <a:gd name="connsiteX1174" fmla="*/ 478558 w 3189556"/>
                    <a:gd name="connsiteY1174" fmla="*/ 1501690 h 2139523"/>
                    <a:gd name="connsiteX1175" fmla="*/ 471813 w 3189556"/>
                    <a:gd name="connsiteY1175" fmla="*/ 1494546 h 2139523"/>
                    <a:gd name="connsiteX1176" fmla="*/ 460698 w 3189556"/>
                    <a:gd name="connsiteY1176" fmla="*/ 1486828 h 2139523"/>
                    <a:gd name="connsiteX1177" fmla="*/ 444607 w 3189556"/>
                    <a:gd name="connsiteY1177" fmla="*/ 1478852 h 2139523"/>
                    <a:gd name="connsiteX1178" fmla="*/ 445544 w 3189556"/>
                    <a:gd name="connsiteY1178" fmla="*/ 1474144 h 2139523"/>
                    <a:gd name="connsiteX1179" fmla="*/ 442241 w 3189556"/>
                    <a:gd name="connsiteY1179" fmla="*/ 1471685 h 2139523"/>
                    <a:gd name="connsiteX1180" fmla="*/ 436713 w 3189556"/>
                    <a:gd name="connsiteY1180" fmla="*/ 1466192 h 2139523"/>
                    <a:gd name="connsiteX1181" fmla="*/ 416523 w 3189556"/>
                    <a:gd name="connsiteY1181" fmla="*/ 1461203 h 2139523"/>
                    <a:gd name="connsiteX1182" fmla="*/ 410585 w 3189556"/>
                    <a:gd name="connsiteY1182" fmla="*/ 1465794 h 2139523"/>
                    <a:gd name="connsiteX1183" fmla="*/ 405724 w 3189556"/>
                    <a:gd name="connsiteY1183" fmla="*/ 1464260 h 2139523"/>
                    <a:gd name="connsiteX1184" fmla="*/ 404940 w 3189556"/>
                    <a:gd name="connsiteY1184" fmla="*/ 1469916 h 2139523"/>
                    <a:gd name="connsiteX1185" fmla="*/ 400946 w 3189556"/>
                    <a:gd name="connsiteY1185" fmla="*/ 1477283 h 2139523"/>
                    <a:gd name="connsiteX1186" fmla="*/ 397491 w 3189556"/>
                    <a:gd name="connsiteY1186" fmla="*/ 1483186 h 2139523"/>
                    <a:gd name="connsiteX1187" fmla="*/ 385440 w 3189556"/>
                    <a:gd name="connsiteY1187" fmla="*/ 1471907 h 2139523"/>
                    <a:gd name="connsiteX1188" fmla="*/ 372101 w 3189556"/>
                    <a:gd name="connsiteY1188" fmla="*/ 1463721 h 2139523"/>
                    <a:gd name="connsiteX1189" fmla="*/ 359593 w 3189556"/>
                    <a:gd name="connsiteY1189" fmla="*/ 1458193 h 2139523"/>
                    <a:gd name="connsiteX1190" fmla="*/ 342869 w 3189556"/>
                    <a:gd name="connsiteY1190" fmla="*/ 1452864 h 2139523"/>
                    <a:gd name="connsiteX1191" fmla="*/ 342728 w 3189556"/>
                    <a:gd name="connsiteY1191" fmla="*/ 1447688 h 2139523"/>
                    <a:gd name="connsiteX1192" fmla="*/ 344918 w 3189556"/>
                    <a:gd name="connsiteY1192" fmla="*/ 1444503 h 2139523"/>
                    <a:gd name="connsiteX1193" fmla="*/ 335408 w 3189556"/>
                    <a:gd name="connsiteY1193" fmla="*/ 1438003 h 2139523"/>
                    <a:gd name="connsiteX1194" fmla="*/ 321003 w 3189556"/>
                    <a:gd name="connsiteY1194" fmla="*/ 1428903 h 2139523"/>
                    <a:gd name="connsiteX1195" fmla="*/ 308296 w 3189556"/>
                    <a:gd name="connsiteY1195" fmla="*/ 1429723 h 2139523"/>
                    <a:gd name="connsiteX1196" fmla="*/ 294477 w 3189556"/>
                    <a:gd name="connsiteY1196" fmla="*/ 1414966 h 2139523"/>
                    <a:gd name="connsiteX1197" fmla="*/ 280083 w 3189556"/>
                    <a:gd name="connsiteY1197" fmla="*/ 1409181 h 2139523"/>
                    <a:gd name="connsiteX1198" fmla="*/ 277050 w 3189556"/>
                    <a:gd name="connsiteY1198" fmla="*/ 1407201 h 2139523"/>
                    <a:gd name="connsiteX1199" fmla="*/ 268477 w 3189556"/>
                    <a:gd name="connsiteY1199" fmla="*/ 1410211 h 2139523"/>
                    <a:gd name="connsiteX1200" fmla="*/ 268629 w 3189556"/>
                    <a:gd name="connsiteY1200" fmla="*/ 1404484 h 2139523"/>
                    <a:gd name="connsiteX1201" fmla="*/ 265620 w 3189556"/>
                    <a:gd name="connsiteY1201" fmla="*/ 1398886 h 2139523"/>
                    <a:gd name="connsiteX1202" fmla="*/ 271780 w 3189556"/>
                    <a:gd name="connsiteY1202" fmla="*/ 1393007 h 2139523"/>
                    <a:gd name="connsiteX1203" fmla="*/ 266931 w 3189556"/>
                    <a:gd name="connsiteY1203" fmla="*/ 1388838 h 2139523"/>
                    <a:gd name="connsiteX1204" fmla="*/ 265936 w 3189556"/>
                    <a:gd name="connsiteY1204" fmla="*/ 1379515 h 2139523"/>
                    <a:gd name="connsiteX1205" fmla="*/ 264167 w 3189556"/>
                    <a:gd name="connsiteY1205" fmla="*/ 1368717 h 2139523"/>
                    <a:gd name="connsiteX1206" fmla="*/ 253322 w 3189556"/>
                    <a:gd name="connsiteY1206" fmla="*/ 1356783 h 2139523"/>
                    <a:gd name="connsiteX1207" fmla="*/ 252678 w 3189556"/>
                    <a:gd name="connsiteY1207" fmla="*/ 1345517 h 2139523"/>
                    <a:gd name="connsiteX1208" fmla="*/ 258803 w 3189556"/>
                    <a:gd name="connsiteY1208" fmla="*/ 1336967 h 2139523"/>
                    <a:gd name="connsiteX1209" fmla="*/ 268196 w 3189556"/>
                    <a:gd name="connsiteY1209" fmla="*/ 1335491 h 2139523"/>
                    <a:gd name="connsiteX1210" fmla="*/ 276722 w 3189556"/>
                    <a:gd name="connsiteY1210" fmla="*/ 1349428 h 2139523"/>
                    <a:gd name="connsiteX1211" fmla="*/ 286126 w 3189556"/>
                    <a:gd name="connsiteY1211" fmla="*/ 1347308 h 2139523"/>
                    <a:gd name="connsiteX1212" fmla="*/ 288597 w 3189556"/>
                    <a:gd name="connsiteY1212" fmla="*/ 1341687 h 2139523"/>
                    <a:gd name="connsiteX1213" fmla="*/ 294125 w 3189556"/>
                    <a:gd name="connsiteY1213" fmla="*/ 1340984 h 2139523"/>
                    <a:gd name="connsiteX1214" fmla="*/ 307664 w 3189556"/>
                    <a:gd name="connsiteY1214" fmla="*/ 1328617 h 2139523"/>
                    <a:gd name="connsiteX1215" fmla="*/ 300590 w 3189556"/>
                    <a:gd name="connsiteY1215" fmla="*/ 1316636 h 2139523"/>
                    <a:gd name="connsiteX1216" fmla="*/ 301258 w 3189556"/>
                    <a:gd name="connsiteY1216" fmla="*/ 1303987 h 2139523"/>
                    <a:gd name="connsiteX1217" fmla="*/ 286314 w 3189556"/>
                    <a:gd name="connsiteY1217" fmla="*/ 1299174 h 2139523"/>
                    <a:gd name="connsiteX1218" fmla="*/ 277390 w 3189556"/>
                    <a:gd name="connsiteY1218" fmla="*/ 1289910 h 2139523"/>
                    <a:gd name="connsiteX1219" fmla="*/ 270585 w 3189556"/>
                    <a:gd name="connsiteY1219" fmla="*/ 1268806 h 2139523"/>
                    <a:gd name="connsiteX1220" fmla="*/ 270234 w 3189556"/>
                    <a:gd name="connsiteY1220" fmla="*/ 1246882 h 2139523"/>
                    <a:gd name="connsiteX1221" fmla="*/ 280329 w 3189556"/>
                    <a:gd name="connsiteY1221" fmla="*/ 1235955 h 2139523"/>
                    <a:gd name="connsiteX1222" fmla="*/ 268337 w 3189556"/>
                    <a:gd name="connsiteY1222" fmla="*/ 1225790 h 2139523"/>
                    <a:gd name="connsiteX1223" fmla="*/ 245686 w 3189556"/>
                    <a:gd name="connsiteY1223" fmla="*/ 1217650 h 2139523"/>
                    <a:gd name="connsiteX1224" fmla="*/ 237266 w 3189556"/>
                    <a:gd name="connsiteY1224" fmla="*/ 1199029 h 2139523"/>
                    <a:gd name="connsiteX1225" fmla="*/ 229443 w 3189556"/>
                    <a:gd name="connsiteY1225" fmla="*/ 1179342 h 2139523"/>
                    <a:gd name="connsiteX1226" fmla="*/ 231855 w 3189556"/>
                    <a:gd name="connsiteY1226" fmla="*/ 1168555 h 2139523"/>
                    <a:gd name="connsiteX1227" fmla="*/ 226468 w 3189556"/>
                    <a:gd name="connsiteY1227" fmla="*/ 1166611 h 2139523"/>
                    <a:gd name="connsiteX1228" fmla="*/ 220811 w 3189556"/>
                    <a:gd name="connsiteY1228" fmla="*/ 1168064 h 2139523"/>
                    <a:gd name="connsiteX1229" fmla="*/ 217040 w 3189556"/>
                    <a:gd name="connsiteY1229" fmla="*/ 1165101 h 2139523"/>
                    <a:gd name="connsiteX1230" fmla="*/ 212227 w 3189556"/>
                    <a:gd name="connsiteY1230" fmla="*/ 1167396 h 2139523"/>
                    <a:gd name="connsiteX1231" fmla="*/ 202342 w 3189556"/>
                    <a:gd name="connsiteY1231" fmla="*/ 1166354 h 2139523"/>
                    <a:gd name="connsiteX1232" fmla="*/ 187094 w 3189556"/>
                    <a:gd name="connsiteY1232" fmla="*/ 1163566 h 2139523"/>
                    <a:gd name="connsiteX1233" fmla="*/ 164631 w 3189556"/>
                    <a:gd name="connsiteY1233" fmla="*/ 1156270 h 2139523"/>
                    <a:gd name="connsiteX1234" fmla="*/ 158389 w 3189556"/>
                    <a:gd name="connsiteY1234" fmla="*/ 1151726 h 2139523"/>
                    <a:gd name="connsiteX1235" fmla="*/ 154582 w 3189556"/>
                    <a:gd name="connsiteY1235" fmla="*/ 1150086 h 2139523"/>
                    <a:gd name="connsiteX1236" fmla="*/ 154126 w 3189556"/>
                    <a:gd name="connsiteY1236" fmla="*/ 1144594 h 2139523"/>
                    <a:gd name="connsiteX1237" fmla="*/ 150647 w 3189556"/>
                    <a:gd name="connsiteY1237" fmla="*/ 1143083 h 2139523"/>
                    <a:gd name="connsiteX1238" fmla="*/ 146572 w 3189556"/>
                    <a:gd name="connsiteY1238" fmla="*/ 1144512 h 2139523"/>
                    <a:gd name="connsiteX1239" fmla="*/ 134825 w 3189556"/>
                    <a:gd name="connsiteY1239" fmla="*/ 1146901 h 2139523"/>
                    <a:gd name="connsiteX1240" fmla="*/ 128068 w 3189556"/>
                    <a:gd name="connsiteY1240" fmla="*/ 1135857 h 2139523"/>
                    <a:gd name="connsiteX1241" fmla="*/ 120467 w 3189556"/>
                    <a:gd name="connsiteY1241" fmla="*/ 1132953 h 2139523"/>
                    <a:gd name="connsiteX1242" fmla="*/ 122329 w 3189556"/>
                    <a:gd name="connsiteY1242" fmla="*/ 1126804 h 2139523"/>
                    <a:gd name="connsiteX1243" fmla="*/ 123629 w 3189556"/>
                    <a:gd name="connsiteY1243" fmla="*/ 1122846 h 2139523"/>
                    <a:gd name="connsiteX1244" fmla="*/ 123406 w 3189556"/>
                    <a:gd name="connsiteY1244" fmla="*/ 1117821 h 2139523"/>
                    <a:gd name="connsiteX1245" fmla="*/ 118534 w 3189556"/>
                    <a:gd name="connsiteY1245" fmla="*/ 1098767 h 2139523"/>
                    <a:gd name="connsiteX1246" fmla="*/ 98906 w 3189556"/>
                    <a:gd name="connsiteY1246" fmla="*/ 1091013 h 2139523"/>
                    <a:gd name="connsiteX1247" fmla="*/ 92804 w 3189556"/>
                    <a:gd name="connsiteY1247" fmla="*/ 1082745 h 2139523"/>
                    <a:gd name="connsiteX1248" fmla="*/ 77790 w 3189556"/>
                    <a:gd name="connsiteY1248" fmla="*/ 1075929 h 2139523"/>
                    <a:gd name="connsiteX1249" fmla="*/ 66020 w 3189556"/>
                    <a:gd name="connsiteY1249" fmla="*/ 1081141 h 2139523"/>
                    <a:gd name="connsiteX1250" fmla="*/ 46883 w 3189556"/>
                    <a:gd name="connsiteY1250" fmla="*/ 1072755 h 2139523"/>
                    <a:gd name="connsiteX1251" fmla="*/ 47422 w 3189556"/>
                    <a:gd name="connsiteY1251" fmla="*/ 1061629 h 2139523"/>
                    <a:gd name="connsiteX1252" fmla="*/ 54191 w 3189556"/>
                    <a:gd name="connsiteY1252" fmla="*/ 1060259 h 2139523"/>
                    <a:gd name="connsiteX1253" fmla="*/ 57798 w 3189556"/>
                    <a:gd name="connsiteY1253" fmla="*/ 1057882 h 2139523"/>
                    <a:gd name="connsiteX1254" fmla="*/ 61909 w 3189556"/>
                    <a:gd name="connsiteY1254" fmla="*/ 1062718 h 2139523"/>
                    <a:gd name="connsiteX1255" fmla="*/ 70751 w 3189556"/>
                    <a:gd name="connsiteY1255" fmla="*/ 1058573 h 2139523"/>
                    <a:gd name="connsiteX1256" fmla="*/ 76748 w 3189556"/>
                    <a:gd name="connsiteY1256" fmla="*/ 1054977 h 2139523"/>
                    <a:gd name="connsiteX1257" fmla="*/ 81245 w 3189556"/>
                    <a:gd name="connsiteY1257" fmla="*/ 1051499 h 2139523"/>
                    <a:gd name="connsiteX1258" fmla="*/ 66910 w 3189556"/>
                    <a:gd name="connsiteY1258" fmla="*/ 1039003 h 2139523"/>
                    <a:gd name="connsiteX1259" fmla="*/ 70787 w 3189556"/>
                    <a:gd name="connsiteY1259" fmla="*/ 1029657 h 2139523"/>
                    <a:gd name="connsiteX1260" fmla="*/ 66711 w 3189556"/>
                    <a:gd name="connsiteY1260" fmla="*/ 1025570 h 2139523"/>
                    <a:gd name="connsiteX1261" fmla="*/ 67203 w 3189556"/>
                    <a:gd name="connsiteY1261" fmla="*/ 1021822 h 2139523"/>
                    <a:gd name="connsiteX1262" fmla="*/ 66652 w 3189556"/>
                    <a:gd name="connsiteY1262" fmla="*/ 1014924 h 2139523"/>
                    <a:gd name="connsiteX1263" fmla="*/ 60902 w 3189556"/>
                    <a:gd name="connsiteY1263" fmla="*/ 1004594 h 2139523"/>
                    <a:gd name="connsiteX1264" fmla="*/ 58899 w 3189556"/>
                    <a:gd name="connsiteY1264" fmla="*/ 983666 h 2139523"/>
                    <a:gd name="connsiteX1265" fmla="*/ 25803 w 3189556"/>
                    <a:gd name="connsiteY1265" fmla="*/ 975643 h 2139523"/>
                    <a:gd name="connsiteX1266" fmla="*/ 22875 w 3189556"/>
                    <a:gd name="connsiteY1266" fmla="*/ 983185 h 2139523"/>
                    <a:gd name="connsiteX1267" fmla="*/ 9266 w 3189556"/>
                    <a:gd name="connsiteY1267" fmla="*/ 976557 h 2139523"/>
                    <a:gd name="connsiteX1268" fmla="*/ 3914 w 3189556"/>
                    <a:gd name="connsiteY1268" fmla="*/ 962632 h 2139523"/>
                    <a:gd name="connsiteX1269" fmla="*/ 11315 w 3189556"/>
                    <a:gd name="connsiteY1269" fmla="*/ 955734 h 2139523"/>
                    <a:gd name="connsiteX1270" fmla="*/ 72 w 3189556"/>
                    <a:gd name="connsiteY1270" fmla="*/ 941961 h 2139523"/>
                    <a:gd name="connsiteX1271" fmla="*/ 2485 w 3189556"/>
                    <a:gd name="connsiteY1271" fmla="*/ 927099 h 2139523"/>
                    <a:gd name="connsiteX1272" fmla="*/ 16398 w 3189556"/>
                    <a:gd name="connsiteY1272" fmla="*/ 919041 h 2139523"/>
                    <a:gd name="connsiteX1273" fmla="*/ 11105 w 3189556"/>
                    <a:gd name="connsiteY1273" fmla="*/ 907377 h 2139523"/>
                    <a:gd name="connsiteX1274" fmla="*/ 28801 w 3189556"/>
                    <a:gd name="connsiteY1274" fmla="*/ 886975 h 2139523"/>
                    <a:gd name="connsiteX1275" fmla="*/ 45970 w 3189556"/>
                    <a:gd name="connsiteY1275" fmla="*/ 882173 h 2139523"/>
                    <a:gd name="connsiteX1276" fmla="*/ 65493 w 3189556"/>
                    <a:gd name="connsiteY1276" fmla="*/ 873261 h 2139523"/>
                    <a:gd name="connsiteX1277" fmla="*/ 68034 w 3189556"/>
                    <a:gd name="connsiteY1277" fmla="*/ 863259 h 2139523"/>
                    <a:gd name="connsiteX1278" fmla="*/ 85086 w 3189556"/>
                    <a:gd name="connsiteY1278" fmla="*/ 864208 h 2139523"/>
                    <a:gd name="connsiteX1279" fmla="*/ 104984 w 3189556"/>
                    <a:gd name="connsiteY1279" fmla="*/ 862967 h 2139523"/>
                    <a:gd name="connsiteX1280" fmla="*/ 107537 w 3189556"/>
                    <a:gd name="connsiteY1280" fmla="*/ 866059 h 2139523"/>
                    <a:gd name="connsiteX1281" fmla="*/ 105886 w 3189556"/>
                    <a:gd name="connsiteY1281" fmla="*/ 869373 h 2139523"/>
                    <a:gd name="connsiteX1282" fmla="*/ 110629 w 3189556"/>
                    <a:gd name="connsiteY1282" fmla="*/ 874795 h 2139523"/>
                    <a:gd name="connsiteX1283" fmla="*/ 125924 w 3189556"/>
                    <a:gd name="connsiteY1283" fmla="*/ 870075 h 2139523"/>
                    <a:gd name="connsiteX1284" fmla="*/ 135270 w 3189556"/>
                    <a:gd name="connsiteY1284" fmla="*/ 868682 h 2139523"/>
                    <a:gd name="connsiteX1285" fmla="*/ 138959 w 3189556"/>
                    <a:gd name="connsiteY1285" fmla="*/ 866609 h 2139523"/>
                    <a:gd name="connsiteX1286" fmla="*/ 142110 w 3189556"/>
                    <a:gd name="connsiteY1286" fmla="*/ 871844 h 2139523"/>
                    <a:gd name="connsiteX1287" fmla="*/ 157850 w 3189556"/>
                    <a:gd name="connsiteY1287" fmla="*/ 848561 h 2139523"/>
                    <a:gd name="connsiteX1288" fmla="*/ 164526 w 3189556"/>
                    <a:gd name="connsiteY1288" fmla="*/ 840949 h 2139523"/>
                    <a:gd name="connsiteX1289" fmla="*/ 165322 w 3189556"/>
                    <a:gd name="connsiteY1289" fmla="*/ 834578 h 2139523"/>
                    <a:gd name="connsiteX1290" fmla="*/ 189659 w 3189556"/>
                    <a:gd name="connsiteY1290" fmla="*/ 831099 h 2139523"/>
                    <a:gd name="connsiteX1291" fmla="*/ 217134 w 3189556"/>
                    <a:gd name="connsiteY1291" fmla="*/ 828910 h 2139523"/>
                    <a:gd name="connsiteX1292" fmla="*/ 240545 w 3189556"/>
                    <a:gd name="connsiteY1292" fmla="*/ 822082 h 2139523"/>
                    <a:gd name="connsiteX1293" fmla="*/ 246963 w 3189556"/>
                    <a:gd name="connsiteY1293" fmla="*/ 815125 h 2139523"/>
                    <a:gd name="connsiteX1294" fmla="*/ 248040 w 3189556"/>
                    <a:gd name="connsiteY1294" fmla="*/ 808051 h 2139523"/>
                    <a:gd name="connsiteX1295" fmla="*/ 261520 w 3189556"/>
                    <a:gd name="connsiteY1295" fmla="*/ 801844 h 2139523"/>
                    <a:gd name="connsiteX1296" fmla="*/ 272728 w 3189556"/>
                    <a:gd name="connsiteY1296" fmla="*/ 794794 h 2139523"/>
                    <a:gd name="connsiteX1297" fmla="*/ 296468 w 3189556"/>
                    <a:gd name="connsiteY1297" fmla="*/ 782509 h 2139523"/>
                    <a:gd name="connsiteX1298" fmla="*/ 306762 w 3189556"/>
                    <a:gd name="connsiteY1298" fmla="*/ 780775 h 2139523"/>
                    <a:gd name="connsiteX1299" fmla="*/ 320968 w 3189556"/>
                    <a:gd name="connsiteY1299" fmla="*/ 776301 h 2139523"/>
                    <a:gd name="connsiteX1300" fmla="*/ 325044 w 3189556"/>
                    <a:gd name="connsiteY1300" fmla="*/ 769251 h 2139523"/>
                    <a:gd name="connsiteX1301" fmla="*/ 343911 w 3189556"/>
                    <a:gd name="connsiteY1301" fmla="*/ 767857 h 2139523"/>
                    <a:gd name="connsiteX1302" fmla="*/ 344754 w 3189556"/>
                    <a:gd name="connsiteY1302" fmla="*/ 759472 h 2139523"/>
                    <a:gd name="connsiteX1303" fmla="*/ 346359 w 3189556"/>
                    <a:gd name="connsiteY1303" fmla="*/ 749412 h 2139523"/>
                    <a:gd name="connsiteX1304" fmla="*/ 340925 w 3189556"/>
                    <a:gd name="connsiteY1304" fmla="*/ 730626 h 2139523"/>
                    <a:gd name="connsiteX1305" fmla="*/ 354908 w 3189556"/>
                    <a:gd name="connsiteY1305" fmla="*/ 716081 h 2139523"/>
                    <a:gd name="connsiteX1306" fmla="*/ 352203 w 3189556"/>
                    <a:gd name="connsiteY1306" fmla="*/ 705294 h 2139523"/>
                    <a:gd name="connsiteX1307" fmla="*/ 364886 w 3189556"/>
                    <a:gd name="connsiteY1307" fmla="*/ 698115 h 2139523"/>
                    <a:gd name="connsiteX1308" fmla="*/ 373904 w 3189556"/>
                    <a:gd name="connsiteY1308" fmla="*/ 699216 h 2139523"/>
                    <a:gd name="connsiteX1309" fmla="*/ 368868 w 3189556"/>
                    <a:gd name="connsiteY1309" fmla="*/ 686966 h 2139523"/>
                    <a:gd name="connsiteX1310" fmla="*/ 370707 w 3189556"/>
                    <a:gd name="connsiteY1310" fmla="*/ 677491 h 2139523"/>
                    <a:gd name="connsiteX1311" fmla="*/ 362614 w 3189556"/>
                    <a:gd name="connsiteY1311" fmla="*/ 658436 h 2139523"/>
                    <a:gd name="connsiteX1312" fmla="*/ 353105 w 3189556"/>
                    <a:gd name="connsiteY1312" fmla="*/ 637871 h 2139523"/>
                    <a:gd name="connsiteX1313" fmla="*/ 351184 w 3189556"/>
                    <a:gd name="connsiteY1313" fmla="*/ 611262 h 2139523"/>
                    <a:gd name="connsiteX1314" fmla="*/ 352039 w 3189556"/>
                    <a:gd name="connsiteY1314" fmla="*/ 601729 h 2139523"/>
                    <a:gd name="connsiteX1315" fmla="*/ 358316 w 3189556"/>
                    <a:gd name="connsiteY1315" fmla="*/ 595791 h 2139523"/>
                    <a:gd name="connsiteX1316" fmla="*/ 344930 w 3189556"/>
                    <a:gd name="connsiteY1316" fmla="*/ 590463 h 2139523"/>
                    <a:gd name="connsiteX1317" fmla="*/ 326847 w 3189556"/>
                    <a:gd name="connsiteY1317" fmla="*/ 588238 h 2139523"/>
                    <a:gd name="connsiteX1318" fmla="*/ 346862 w 3189556"/>
                    <a:gd name="connsiteY1318" fmla="*/ 576292 h 2139523"/>
                    <a:gd name="connsiteX1319" fmla="*/ 371234 w 3189556"/>
                    <a:gd name="connsiteY1319" fmla="*/ 569312 h 2139523"/>
                    <a:gd name="connsiteX1320" fmla="*/ 384831 w 3189556"/>
                    <a:gd name="connsiteY1320" fmla="*/ 568316 h 2139523"/>
                    <a:gd name="connsiteX1321" fmla="*/ 400384 w 3189556"/>
                    <a:gd name="connsiteY1321" fmla="*/ 563456 h 2139523"/>
                    <a:gd name="connsiteX1322" fmla="*/ 419333 w 3189556"/>
                    <a:gd name="connsiteY1322" fmla="*/ 556511 h 2139523"/>
                    <a:gd name="connsiteX1323" fmla="*/ 426958 w 3189556"/>
                    <a:gd name="connsiteY1323" fmla="*/ 563608 h 2139523"/>
                    <a:gd name="connsiteX1324" fmla="*/ 451716 w 3189556"/>
                    <a:gd name="connsiteY1324" fmla="*/ 563772 h 2139523"/>
                    <a:gd name="connsiteX1325" fmla="*/ 465910 w 3189556"/>
                    <a:gd name="connsiteY1325" fmla="*/ 570319 h 2139523"/>
                    <a:gd name="connsiteX1326" fmla="*/ 470934 w 3189556"/>
                    <a:gd name="connsiteY1326" fmla="*/ 553115 h 2139523"/>
                    <a:gd name="connsiteX1327" fmla="*/ 454234 w 3189556"/>
                    <a:gd name="connsiteY1327" fmla="*/ 539623 h 2139523"/>
                    <a:gd name="connsiteX1328" fmla="*/ 461963 w 3189556"/>
                    <a:gd name="connsiteY1328" fmla="*/ 523391 h 2139523"/>
                    <a:gd name="connsiteX1329" fmla="*/ 465851 w 3189556"/>
                    <a:gd name="connsiteY1329" fmla="*/ 507241 h 2139523"/>
                    <a:gd name="connsiteX1330" fmla="*/ 477750 w 3189556"/>
                    <a:gd name="connsiteY1330" fmla="*/ 478278 h 2139523"/>
                    <a:gd name="connsiteX1331" fmla="*/ 489239 w 3189556"/>
                    <a:gd name="connsiteY1331" fmla="*/ 447980 h 2139523"/>
                    <a:gd name="connsiteX1332" fmla="*/ 494486 w 3189556"/>
                    <a:gd name="connsiteY1332" fmla="*/ 433891 h 2139523"/>
                    <a:gd name="connsiteX1333" fmla="*/ 519549 w 3189556"/>
                    <a:gd name="connsiteY1333" fmla="*/ 444631 h 2139523"/>
                    <a:gd name="connsiteX1334" fmla="*/ 552025 w 3189556"/>
                    <a:gd name="connsiteY1334" fmla="*/ 448683 h 2139523"/>
                    <a:gd name="connsiteX1335" fmla="*/ 580390 w 3189556"/>
                    <a:gd name="connsiteY1335" fmla="*/ 451962 h 2139523"/>
                    <a:gd name="connsiteX1336" fmla="*/ 579629 w 3189556"/>
                    <a:gd name="connsiteY1336" fmla="*/ 460149 h 2139523"/>
                    <a:gd name="connsiteX1337" fmla="*/ 591493 w 3189556"/>
                    <a:gd name="connsiteY1337" fmla="*/ 456541 h 2139523"/>
                    <a:gd name="connsiteX1338" fmla="*/ 610102 w 3189556"/>
                    <a:gd name="connsiteY1338" fmla="*/ 445755 h 2139523"/>
                    <a:gd name="connsiteX1339" fmla="*/ 620912 w 3189556"/>
                    <a:gd name="connsiteY1339" fmla="*/ 442335 h 2139523"/>
                    <a:gd name="connsiteX1340" fmla="*/ 624379 w 3189556"/>
                    <a:gd name="connsiteY1340" fmla="*/ 435964 h 2139523"/>
                    <a:gd name="connsiteX1341" fmla="*/ 629672 w 3189556"/>
                    <a:gd name="connsiteY1341" fmla="*/ 430378 h 2139523"/>
                    <a:gd name="connsiteX1342" fmla="*/ 629099 w 3189556"/>
                    <a:gd name="connsiteY1342" fmla="*/ 422847 h 2139523"/>
                    <a:gd name="connsiteX1343" fmla="*/ 625163 w 3189556"/>
                    <a:gd name="connsiteY1343" fmla="*/ 410820 h 2139523"/>
                    <a:gd name="connsiteX1344" fmla="*/ 621638 w 3189556"/>
                    <a:gd name="connsiteY1344" fmla="*/ 389891 h 2139523"/>
                    <a:gd name="connsiteX1345" fmla="*/ 631359 w 3189556"/>
                    <a:gd name="connsiteY1345" fmla="*/ 359219 h 2139523"/>
                    <a:gd name="connsiteX1346" fmla="*/ 645577 w 3189556"/>
                    <a:gd name="connsiteY1346" fmla="*/ 353679 h 2139523"/>
                    <a:gd name="connsiteX1347" fmla="*/ 655110 w 3189556"/>
                    <a:gd name="connsiteY1347" fmla="*/ 354148 h 2139523"/>
                    <a:gd name="connsiteX1348" fmla="*/ 662184 w 3189556"/>
                    <a:gd name="connsiteY1348" fmla="*/ 350423 h 2139523"/>
                    <a:gd name="connsiteX1349" fmla="*/ 682597 w 3189556"/>
                    <a:gd name="connsiteY1349" fmla="*/ 338243 h 2139523"/>
                    <a:gd name="connsiteX1350" fmla="*/ 686403 w 3189556"/>
                    <a:gd name="connsiteY1350" fmla="*/ 328043 h 2139523"/>
                    <a:gd name="connsiteX1351" fmla="*/ 683604 w 3189556"/>
                    <a:gd name="connsiteY1351" fmla="*/ 318849 h 2139523"/>
                    <a:gd name="connsiteX1352" fmla="*/ 723365 w 3189556"/>
                    <a:gd name="connsiteY1352" fmla="*/ 309503 h 2139523"/>
                    <a:gd name="connsiteX1353" fmla="*/ 729783 w 3189556"/>
                    <a:gd name="connsiteY1353" fmla="*/ 306259 h 2139523"/>
                    <a:gd name="connsiteX1354" fmla="*/ 739386 w 3189556"/>
                    <a:gd name="connsiteY1354" fmla="*/ 304210 h 2139523"/>
                    <a:gd name="connsiteX1355" fmla="*/ 742232 w 3189556"/>
                    <a:gd name="connsiteY1355" fmla="*/ 308367 h 2139523"/>
                    <a:gd name="connsiteX1356" fmla="*/ 744246 w 3189556"/>
                    <a:gd name="connsiteY1356" fmla="*/ 315008 h 2139523"/>
                    <a:gd name="connsiteX1357" fmla="*/ 737114 w 3189556"/>
                    <a:gd name="connsiteY1357" fmla="*/ 322784 h 2139523"/>
                    <a:gd name="connsiteX1358" fmla="*/ 748521 w 3189556"/>
                    <a:gd name="connsiteY1358" fmla="*/ 331310 h 2139523"/>
                    <a:gd name="connsiteX1359" fmla="*/ 750313 w 3189556"/>
                    <a:gd name="connsiteY1359" fmla="*/ 345645 h 2139523"/>
                    <a:gd name="connsiteX1360" fmla="*/ 767833 w 3189556"/>
                    <a:gd name="connsiteY1360" fmla="*/ 351595 h 2139523"/>
                    <a:gd name="connsiteX1361" fmla="*/ 772846 w 3189556"/>
                    <a:gd name="connsiteY1361" fmla="*/ 355986 h 2139523"/>
                    <a:gd name="connsiteX1362" fmla="*/ 776757 w 3189556"/>
                    <a:gd name="connsiteY1362" fmla="*/ 355670 h 2139523"/>
                    <a:gd name="connsiteX1363" fmla="*/ 780224 w 3189556"/>
                    <a:gd name="connsiteY1363" fmla="*/ 364969 h 2139523"/>
                    <a:gd name="connsiteX1364" fmla="*/ 794524 w 3189556"/>
                    <a:gd name="connsiteY1364" fmla="*/ 375041 h 2139523"/>
                    <a:gd name="connsiteX1365" fmla="*/ 799314 w 3189556"/>
                    <a:gd name="connsiteY1365" fmla="*/ 375685 h 2139523"/>
                    <a:gd name="connsiteX1366" fmla="*/ 805322 w 3189556"/>
                    <a:gd name="connsiteY1366" fmla="*/ 382747 h 2139523"/>
                    <a:gd name="connsiteX1367" fmla="*/ 815815 w 3189556"/>
                    <a:gd name="connsiteY1367" fmla="*/ 383379 h 2139523"/>
                    <a:gd name="connsiteX1368" fmla="*/ 832902 w 3189556"/>
                    <a:gd name="connsiteY1368" fmla="*/ 381705 h 2139523"/>
                    <a:gd name="connsiteX1369" fmla="*/ 842787 w 3189556"/>
                    <a:gd name="connsiteY1369" fmla="*/ 394060 h 2139523"/>
                    <a:gd name="connsiteX1370" fmla="*/ 852344 w 3189556"/>
                    <a:gd name="connsiteY1370" fmla="*/ 389985 h 2139523"/>
                    <a:gd name="connsiteX1371" fmla="*/ 857895 w 3189556"/>
                    <a:gd name="connsiteY1371" fmla="*/ 394166 h 2139523"/>
                    <a:gd name="connsiteX1372" fmla="*/ 862650 w 3189556"/>
                    <a:gd name="connsiteY1372" fmla="*/ 400806 h 2139523"/>
                    <a:gd name="connsiteX1373" fmla="*/ 873026 w 3189556"/>
                    <a:gd name="connsiteY1373" fmla="*/ 405467 h 2139523"/>
                    <a:gd name="connsiteX1374" fmla="*/ 875966 w 3189556"/>
                    <a:gd name="connsiteY1374" fmla="*/ 413830 h 2139523"/>
                    <a:gd name="connsiteX1375" fmla="*/ 879163 w 3189556"/>
                    <a:gd name="connsiteY1375" fmla="*/ 422086 h 2139523"/>
                    <a:gd name="connsiteX1376" fmla="*/ 891835 w 3189556"/>
                    <a:gd name="connsiteY1376" fmla="*/ 446645 h 2139523"/>
                    <a:gd name="connsiteX1377" fmla="*/ 902668 w 3189556"/>
                    <a:gd name="connsiteY1377" fmla="*/ 455452 h 2139523"/>
                    <a:gd name="connsiteX1378" fmla="*/ 907856 w 3189556"/>
                    <a:gd name="connsiteY1378" fmla="*/ 470677 h 2139523"/>
                    <a:gd name="connsiteX1379" fmla="*/ 905409 w 3189556"/>
                    <a:gd name="connsiteY1379" fmla="*/ 488280 h 2139523"/>
                    <a:gd name="connsiteX1380" fmla="*/ 903265 w 3189556"/>
                    <a:gd name="connsiteY1380" fmla="*/ 499136 h 2139523"/>
                    <a:gd name="connsiteX1381" fmla="*/ 907013 w 3189556"/>
                    <a:gd name="connsiteY1381" fmla="*/ 513530 h 2139523"/>
                    <a:gd name="connsiteX1382" fmla="*/ 889188 w 3189556"/>
                    <a:gd name="connsiteY1382" fmla="*/ 546029 h 2139523"/>
                    <a:gd name="connsiteX1383" fmla="*/ 895278 w 3189556"/>
                    <a:gd name="connsiteY1383" fmla="*/ 554309 h 2139523"/>
                    <a:gd name="connsiteX1384" fmla="*/ 900431 w 3189556"/>
                    <a:gd name="connsiteY1384" fmla="*/ 562273 h 2139523"/>
                    <a:gd name="connsiteX1385" fmla="*/ 900595 w 3189556"/>
                    <a:gd name="connsiteY1385" fmla="*/ 566560 h 2139523"/>
                    <a:gd name="connsiteX1386" fmla="*/ 906884 w 3189556"/>
                    <a:gd name="connsiteY1386" fmla="*/ 564744 h 2139523"/>
                    <a:gd name="connsiteX1387" fmla="*/ 916909 w 3189556"/>
                    <a:gd name="connsiteY1387" fmla="*/ 568703 h 2139523"/>
                    <a:gd name="connsiteX1388" fmla="*/ 928152 w 3189556"/>
                    <a:gd name="connsiteY1388" fmla="*/ 569886 h 2139523"/>
                    <a:gd name="connsiteX1389" fmla="*/ 936561 w 3189556"/>
                    <a:gd name="connsiteY1389" fmla="*/ 573692 h 2139523"/>
                    <a:gd name="connsiteX1390" fmla="*/ 963053 w 3189556"/>
                    <a:gd name="connsiteY1390" fmla="*/ 574125 h 2139523"/>
                    <a:gd name="connsiteX1391" fmla="*/ 974319 w 3189556"/>
                    <a:gd name="connsiteY1391" fmla="*/ 577463 h 2139523"/>
                    <a:gd name="connsiteX1392" fmla="*/ 986698 w 3189556"/>
                    <a:gd name="connsiteY1392" fmla="*/ 578330 h 2139523"/>
                    <a:gd name="connsiteX1393" fmla="*/ 1013002 w 3189556"/>
                    <a:gd name="connsiteY1393" fmla="*/ 578189 h 2139523"/>
                    <a:gd name="connsiteX1394" fmla="*/ 1032291 w 3189556"/>
                    <a:gd name="connsiteY1394" fmla="*/ 581176 h 2139523"/>
                    <a:gd name="connsiteX1395" fmla="*/ 1048149 w 3189556"/>
                    <a:gd name="connsiteY1395" fmla="*/ 586024 h 2139523"/>
                    <a:gd name="connsiteX1396" fmla="*/ 1059989 w 3189556"/>
                    <a:gd name="connsiteY1396" fmla="*/ 599750 h 2139523"/>
                    <a:gd name="connsiteX1397" fmla="*/ 1072474 w 3189556"/>
                    <a:gd name="connsiteY1397" fmla="*/ 599996 h 2139523"/>
                    <a:gd name="connsiteX1398" fmla="*/ 1081351 w 3189556"/>
                    <a:gd name="connsiteY1398" fmla="*/ 610091 h 2139523"/>
                    <a:gd name="connsiteX1399" fmla="*/ 1094866 w 3189556"/>
                    <a:gd name="connsiteY1399" fmla="*/ 615151 h 2139523"/>
                    <a:gd name="connsiteX1400" fmla="*/ 1100534 w 3189556"/>
                    <a:gd name="connsiteY1400" fmla="*/ 621030 h 2139523"/>
                    <a:gd name="connsiteX1401" fmla="*/ 1136676 w 3189556"/>
                    <a:gd name="connsiteY1401" fmla="*/ 624918 h 2139523"/>
                    <a:gd name="connsiteX1402" fmla="*/ 1132928 w 3189556"/>
                    <a:gd name="connsiteY1402" fmla="*/ 637461 h 2139523"/>
                    <a:gd name="connsiteX1403" fmla="*/ 1145284 w 3189556"/>
                    <a:gd name="connsiteY1403" fmla="*/ 648376 h 2139523"/>
                    <a:gd name="connsiteX1404" fmla="*/ 1164140 w 3189556"/>
                    <a:gd name="connsiteY1404" fmla="*/ 693513 h 2139523"/>
                    <a:gd name="connsiteX1405" fmla="*/ 1185033 w 3189556"/>
                    <a:gd name="connsiteY1405" fmla="*/ 712673 h 2139523"/>
                    <a:gd name="connsiteX1406" fmla="*/ 1195269 w 3189556"/>
                    <a:gd name="connsiteY1406" fmla="*/ 723049 h 2139523"/>
                    <a:gd name="connsiteX1407" fmla="*/ 1256075 w 3189556"/>
                    <a:gd name="connsiteY1407" fmla="*/ 722850 h 2139523"/>
                    <a:gd name="connsiteX1408" fmla="*/ 1317608 w 3189556"/>
                    <a:gd name="connsiteY1408" fmla="*/ 730123 h 2139523"/>
                    <a:gd name="connsiteX1409" fmla="*/ 1349381 w 3189556"/>
                    <a:gd name="connsiteY1409" fmla="*/ 733859 h 2139523"/>
                    <a:gd name="connsiteX1410" fmla="*/ 1377020 w 3189556"/>
                    <a:gd name="connsiteY1410" fmla="*/ 726797 h 2139523"/>
                    <a:gd name="connsiteX1411" fmla="*/ 1439817 w 3189556"/>
                    <a:gd name="connsiteY1411" fmla="*/ 735943 h 2139523"/>
                    <a:gd name="connsiteX1412" fmla="*/ 1466602 w 3189556"/>
                    <a:gd name="connsiteY1412" fmla="*/ 739913 h 2139523"/>
                    <a:gd name="connsiteX1413" fmla="*/ 1485211 w 3189556"/>
                    <a:gd name="connsiteY1413" fmla="*/ 758231 h 2139523"/>
                    <a:gd name="connsiteX1414" fmla="*/ 1549086 w 3189556"/>
                    <a:gd name="connsiteY1414" fmla="*/ 774673 h 2139523"/>
                    <a:gd name="connsiteX1415" fmla="*/ 1575273 w 3189556"/>
                    <a:gd name="connsiteY1415" fmla="*/ 783797 h 2139523"/>
                    <a:gd name="connsiteX1416" fmla="*/ 1611508 w 3189556"/>
                    <a:gd name="connsiteY1416" fmla="*/ 777379 h 2139523"/>
                    <a:gd name="connsiteX1417" fmla="*/ 1611754 w 3189556"/>
                    <a:gd name="connsiteY1417" fmla="*/ 790765 h 2139523"/>
                    <a:gd name="connsiteX1418" fmla="*/ 1627565 w 3189556"/>
                    <a:gd name="connsiteY1418" fmla="*/ 791468 h 2139523"/>
                    <a:gd name="connsiteX1419" fmla="*/ 1644137 w 3189556"/>
                    <a:gd name="connsiteY1419" fmla="*/ 789032 h 2139523"/>
                    <a:gd name="connsiteX1420" fmla="*/ 1687692 w 3189556"/>
                    <a:gd name="connsiteY1420" fmla="*/ 767811 h 2139523"/>
                    <a:gd name="connsiteX1421" fmla="*/ 1747948 w 3189556"/>
                    <a:gd name="connsiteY1421" fmla="*/ 748709 h 2139523"/>
                    <a:gd name="connsiteX1422" fmla="*/ 1803331 w 3189556"/>
                    <a:gd name="connsiteY1422" fmla="*/ 740792 h 2139523"/>
                    <a:gd name="connsiteX1423" fmla="*/ 1827469 w 3189556"/>
                    <a:gd name="connsiteY1423" fmla="*/ 742924 h 2139523"/>
                    <a:gd name="connsiteX1424" fmla="*/ 1847566 w 3189556"/>
                    <a:gd name="connsiteY1424" fmla="*/ 741260 h 2139523"/>
                    <a:gd name="connsiteX1425" fmla="*/ 1871809 w 3189556"/>
                    <a:gd name="connsiteY1425" fmla="*/ 740979 h 2139523"/>
                    <a:gd name="connsiteX1426" fmla="*/ 1888826 w 3189556"/>
                    <a:gd name="connsiteY1426" fmla="*/ 731751 h 2139523"/>
                    <a:gd name="connsiteX1427" fmla="*/ 1926619 w 3189556"/>
                    <a:gd name="connsiteY1427" fmla="*/ 712965 h 2139523"/>
                    <a:gd name="connsiteX1428" fmla="*/ 1961894 w 3189556"/>
                    <a:gd name="connsiteY1428" fmla="*/ 680888 h 2139523"/>
                    <a:gd name="connsiteX1429" fmla="*/ 1981733 w 3189556"/>
                    <a:gd name="connsiteY1429" fmla="*/ 673170 h 2139523"/>
                    <a:gd name="connsiteX1430" fmla="*/ 1990856 w 3189556"/>
                    <a:gd name="connsiteY1430" fmla="*/ 663882 h 2139523"/>
                    <a:gd name="connsiteX1431" fmla="*/ 1999207 w 3189556"/>
                    <a:gd name="connsiteY1431" fmla="*/ 662172 h 2139523"/>
                    <a:gd name="connsiteX1432" fmla="*/ 1977634 w 3189556"/>
                    <a:gd name="connsiteY1432" fmla="*/ 630774 h 2139523"/>
                    <a:gd name="connsiteX1433" fmla="*/ 1971251 w 3189556"/>
                    <a:gd name="connsiteY1433" fmla="*/ 618055 h 2139523"/>
                    <a:gd name="connsiteX1434" fmla="*/ 1978407 w 3189556"/>
                    <a:gd name="connsiteY1434" fmla="*/ 605887 h 2139523"/>
                    <a:gd name="connsiteX1435" fmla="*/ 1997836 w 3189556"/>
                    <a:gd name="connsiteY1435" fmla="*/ 575191 h 2139523"/>
                    <a:gd name="connsiteX1436" fmla="*/ 2012417 w 3189556"/>
                    <a:gd name="connsiteY1436" fmla="*/ 574289 h 2139523"/>
                    <a:gd name="connsiteX1437" fmla="*/ 2032690 w 3189556"/>
                    <a:gd name="connsiteY1437" fmla="*/ 582909 h 2139523"/>
                    <a:gd name="connsiteX1438" fmla="*/ 2080754 w 3189556"/>
                    <a:gd name="connsiteY1438" fmla="*/ 593965 h 2139523"/>
                    <a:gd name="connsiteX1439" fmla="*/ 2098462 w 3189556"/>
                    <a:gd name="connsiteY1439" fmla="*/ 587242 h 2139523"/>
                    <a:gd name="connsiteX1440" fmla="*/ 2113546 w 3189556"/>
                    <a:gd name="connsiteY1440" fmla="*/ 578681 h 2139523"/>
                    <a:gd name="connsiteX1441" fmla="*/ 2130294 w 3189556"/>
                    <a:gd name="connsiteY1441" fmla="*/ 563807 h 2139523"/>
                    <a:gd name="connsiteX1442" fmla="*/ 2142790 w 3189556"/>
                    <a:gd name="connsiteY1442" fmla="*/ 551229 h 2139523"/>
                    <a:gd name="connsiteX1443" fmla="*/ 2165241 w 3189556"/>
                    <a:gd name="connsiteY1443" fmla="*/ 553255 h 2139523"/>
                    <a:gd name="connsiteX1444" fmla="*/ 2190456 w 3189556"/>
                    <a:gd name="connsiteY1444" fmla="*/ 550421 h 2139523"/>
                    <a:gd name="connsiteX1445" fmla="*/ 2209733 w 3189556"/>
                    <a:gd name="connsiteY1445" fmla="*/ 536508 h 2139523"/>
                    <a:gd name="connsiteX1446" fmla="*/ 2223002 w 3189556"/>
                    <a:gd name="connsiteY1446" fmla="*/ 529282 h 2139523"/>
                    <a:gd name="connsiteX1447" fmla="*/ 2226164 w 3189556"/>
                    <a:gd name="connsiteY1447" fmla="*/ 513495 h 2139523"/>
                    <a:gd name="connsiteX1448" fmla="*/ 2240488 w 3189556"/>
                    <a:gd name="connsiteY1448" fmla="*/ 495927 h 2139523"/>
                    <a:gd name="connsiteX1449" fmla="*/ 2254225 w 3189556"/>
                    <a:gd name="connsiteY1449" fmla="*/ 488608 h 2139523"/>
                    <a:gd name="connsiteX1450" fmla="*/ 2280201 w 3189556"/>
                    <a:gd name="connsiteY1450" fmla="*/ 490763 h 2139523"/>
                    <a:gd name="connsiteX1451" fmla="*/ 2284054 w 3189556"/>
                    <a:gd name="connsiteY1451" fmla="*/ 476521 h 2139523"/>
                    <a:gd name="connsiteX1452" fmla="*/ 2294513 w 3189556"/>
                    <a:gd name="connsiteY1452" fmla="*/ 476521 h 2139523"/>
                    <a:gd name="connsiteX1453" fmla="*/ 2305662 w 3189556"/>
                    <a:gd name="connsiteY1453" fmla="*/ 479648 h 2139523"/>
                    <a:gd name="connsiteX1454" fmla="*/ 2311073 w 3189556"/>
                    <a:gd name="connsiteY1454" fmla="*/ 473910 h 2139523"/>
                    <a:gd name="connsiteX1455" fmla="*/ 2323136 w 3189556"/>
                    <a:gd name="connsiteY1455" fmla="*/ 469799 h 2139523"/>
                    <a:gd name="connsiteX1456" fmla="*/ 2345341 w 3189556"/>
                    <a:gd name="connsiteY1456" fmla="*/ 468780 h 2139523"/>
                    <a:gd name="connsiteX1457" fmla="*/ 2354089 w 3189556"/>
                    <a:gd name="connsiteY1457" fmla="*/ 469237 h 2139523"/>
                    <a:gd name="connsiteX1458" fmla="*/ 2358235 w 3189556"/>
                    <a:gd name="connsiteY1458" fmla="*/ 464341 h 2139523"/>
                    <a:gd name="connsiteX1459" fmla="*/ 2361421 w 3189556"/>
                    <a:gd name="connsiteY1459" fmla="*/ 465817 h 2139523"/>
                    <a:gd name="connsiteX1460" fmla="*/ 2382712 w 3189556"/>
                    <a:gd name="connsiteY1460" fmla="*/ 473476 h 2139523"/>
                    <a:gd name="connsiteX1461" fmla="*/ 2404835 w 3189556"/>
                    <a:gd name="connsiteY1461" fmla="*/ 474718 h 2139523"/>
                    <a:gd name="connsiteX1462" fmla="*/ 2414954 w 3189556"/>
                    <a:gd name="connsiteY1462" fmla="*/ 466356 h 2139523"/>
                    <a:gd name="connsiteX1463" fmla="*/ 2414263 w 3189556"/>
                    <a:gd name="connsiteY1463" fmla="*/ 455687 h 2139523"/>
                    <a:gd name="connsiteX1464" fmla="*/ 2409590 w 3189556"/>
                    <a:gd name="connsiteY1464" fmla="*/ 450557 h 2139523"/>
                    <a:gd name="connsiteX1465" fmla="*/ 2406463 w 3189556"/>
                    <a:gd name="connsiteY1465" fmla="*/ 441047 h 2139523"/>
                    <a:gd name="connsiteX1466" fmla="*/ 2394353 w 3189556"/>
                    <a:gd name="connsiteY1466" fmla="*/ 430507 h 2139523"/>
                    <a:gd name="connsiteX1467" fmla="*/ 2382513 w 3189556"/>
                    <a:gd name="connsiteY1467" fmla="*/ 421009 h 2139523"/>
                    <a:gd name="connsiteX1468" fmla="*/ 2375967 w 3189556"/>
                    <a:gd name="connsiteY1468" fmla="*/ 414193 h 2139523"/>
                    <a:gd name="connsiteX1469" fmla="*/ 2372148 w 3189556"/>
                    <a:gd name="connsiteY1469" fmla="*/ 404671 h 2139523"/>
                    <a:gd name="connsiteX1470" fmla="*/ 2354277 w 3189556"/>
                    <a:gd name="connsiteY1470" fmla="*/ 397164 h 2139523"/>
                    <a:gd name="connsiteX1471" fmla="*/ 2339192 w 3189556"/>
                    <a:gd name="connsiteY1471" fmla="*/ 382794 h 2139523"/>
                    <a:gd name="connsiteX1472" fmla="*/ 2303519 w 3189556"/>
                    <a:gd name="connsiteY1472" fmla="*/ 382618 h 2139523"/>
                    <a:gd name="connsiteX1473" fmla="*/ 2293412 w 3189556"/>
                    <a:gd name="connsiteY1473" fmla="*/ 392210 h 2139523"/>
                    <a:gd name="connsiteX1474" fmla="*/ 2282368 w 3189556"/>
                    <a:gd name="connsiteY1474" fmla="*/ 405280 h 2139523"/>
                    <a:gd name="connsiteX1475" fmla="*/ 2266616 w 3189556"/>
                    <a:gd name="connsiteY1475" fmla="*/ 394482 h 2139523"/>
                    <a:gd name="connsiteX1476" fmla="*/ 2248112 w 3189556"/>
                    <a:gd name="connsiteY1476" fmla="*/ 391015 h 2139523"/>
                    <a:gd name="connsiteX1477" fmla="*/ 2225192 w 3189556"/>
                    <a:gd name="connsiteY1477" fmla="*/ 391484 h 2139523"/>
                    <a:gd name="connsiteX1478" fmla="*/ 2206969 w 3189556"/>
                    <a:gd name="connsiteY1478" fmla="*/ 403114 h 2139523"/>
                    <a:gd name="connsiteX1479" fmla="*/ 2186544 w 3189556"/>
                    <a:gd name="connsiteY1479" fmla="*/ 372722 h 2139523"/>
                    <a:gd name="connsiteX1480" fmla="*/ 2201348 w 3189556"/>
                    <a:gd name="connsiteY1480" fmla="*/ 364009 h 2139523"/>
                    <a:gd name="connsiteX1481" fmla="*/ 2200657 w 3189556"/>
                    <a:gd name="connsiteY1481" fmla="*/ 347285 h 2139523"/>
                    <a:gd name="connsiteX1482" fmla="*/ 2213797 w 3189556"/>
                    <a:gd name="connsiteY1482" fmla="*/ 328722 h 2139523"/>
                    <a:gd name="connsiteX1483" fmla="*/ 2213551 w 3189556"/>
                    <a:gd name="connsiteY1483" fmla="*/ 323405 h 2139523"/>
                    <a:gd name="connsiteX1484" fmla="*/ 2222241 w 3189556"/>
                    <a:gd name="connsiteY1484" fmla="*/ 306833 h 2139523"/>
                    <a:gd name="connsiteX1485" fmla="*/ 2247011 w 3189556"/>
                    <a:gd name="connsiteY1485" fmla="*/ 259565 h 2139523"/>
                    <a:gd name="connsiteX1486" fmla="*/ 2277519 w 3189556"/>
                    <a:gd name="connsiteY1486" fmla="*/ 273221 h 2139523"/>
                    <a:gd name="connsiteX1487" fmla="*/ 2292873 w 3189556"/>
                    <a:gd name="connsiteY1487" fmla="*/ 275926 h 2139523"/>
                    <a:gd name="connsiteX1488" fmla="*/ 2305205 w 3189556"/>
                    <a:gd name="connsiteY1488" fmla="*/ 280189 h 2139523"/>
                    <a:gd name="connsiteX1489" fmla="*/ 2327633 w 3189556"/>
                    <a:gd name="connsiteY1489" fmla="*/ 265925 h 2139523"/>
                    <a:gd name="connsiteX1490" fmla="*/ 2340633 w 3189556"/>
                    <a:gd name="connsiteY1490" fmla="*/ 258476 h 2139523"/>
                    <a:gd name="connsiteX1491" fmla="*/ 2350635 w 3189556"/>
                    <a:gd name="connsiteY1491" fmla="*/ 250126 h 2139523"/>
                    <a:gd name="connsiteX1492" fmla="*/ 2384633 w 3189556"/>
                    <a:gd name="connsiteY1492" fmla="*/ 240698 h 2139523"/>
                    <a:gd name="connsiteX1493" fmla="*/ 2386823 w 3189556"/>
                    <a:gd name="connsiteY1493" fmla="*/ 225719 h 2139523"/>
                    <a:gd name="connsiteX1494" fmla="*/ 2374772 w 3189556"/>
                    <a:gd name="connsiteY1494" fmla="*/ 221514 h 2139523"/>
                    <a:gd name="connsiteX1495" fmla="*/ 2382759 w 3189556"/>
                    <a:gd name="connsiteY1495" fmla="*/ 208070 h 2139523"/>
                    <a:gd name="connsiteX1496" fmla="*/ 2394553 w 3189556"/>
                    <a:gd name="connsiteY1496" fmla="*/ 194086 h 2139523"/>
                    <a:gd name="connsiteX1497" fmla="*/ 2395302 w 3189556"/>
                    <a:gd name="connsiteY1497" fmla="*/ 186521 h 2139523"/>
                    <a:gd name="connsiteX1498" fmla="*/ 2404859 w 3189556"/>
                    <a:gd name="connsiteY1498" fmla="*/ 176402 h 2139523"/>
                    <a:gd name="connsiteX1499" fmla="*/ 2410316 w 3189556"/>
                    <a:gd name="connsiteY1499" fmla="*/ 164163 h 2139523"/>
                    <a:gd name="connsiteX1500" fmla="*/ 2414497 w 3189556"/>
                    <a:gd name="connsiteY1500" fmla="*/ 152534 h 2139523"/>
                    <a:gd name="connsiteX1501" fmla="*/ 2422344 w 3189556"/>
                    <a:gd name="connsiteY1501" fmla="*/ 141537 h 2139523"/>
                    <a:gd name="connsiteX1502" fmla="*/ 2428575 w 3189556"/>
                    <a:gd name="connsiteY1502" fmla="*/ 132835 h 2139523"/>
                    <a:gd name="connsiteX1503" fmla="*/ 2444198 w 3189556"/>
                    <a:gd name="connsiteY1503" fmla="*/ 120866 h 2139523"/>
                    <a:gd name="connsiteX1504" fmla="*/ 2453930 w 3189556"/>
                    <a:gd name="connsiteY1504" fmla="*/ 115666 h 2139523"/>
                    <a:gd name="connsiteX1505" fmla="*/ 2457057 w 3189556"/>
                    <a:gd name="connsiteY1505" fmla="*/ 109623 h 2139523"/>
                    <a:gd name="connsiteX1506" fmla="*/ 2459294 w 3189556"/>
                    <a:gd name="connsiteY1506" fmla="*/ 103720 h 2139523"/>
                    <a:gd name="connsiteX1507" fmla="*/ 2459200 w 3189556"/>
                    <a:gd name="connsiteY1507" fmla="*/ 94936 h 2139523"/>
                    <a:gd name="connsiteX1508" fmla="*/ 2453743 w 3189556"/>
                    <a:gd name="connsiteY1508" fmla="*/ 83928 h 2139523"/>
                    <a:gd name="connsiteX1509" fmla="*/ 2457280 w 3189556"/>
                    <a:gd name="connsiteY1509" fmla="*/ 72638 h 2139523"/>
                    <a:gd name="connsiteX1510" fmla="*/ 2441317 w 3189556"/>
                    <a:gd name="connsiteY1510" fmla="*/ 65704 h 2139523"/>
                    <a:gd name="connsiteX1511" fmla="*/ 2423199 w 3189556"/>
                    <a:gd name="connsiteY1511" fmla="*/ 67859 h 2139523"/>
                    <a:gd name="connsiteX1512" fmla="*/ 2436386 w 3189556"/>
                    <a:gd name="connsiteY1512" fmla="*/ 46943 h 2139523"/>
                    <a:gd name="connsiteX1513" fmla="*/ 2465618 w 3189556"/>
                    <a:gd name="connsiteY1513" fmla="*/ 19701 h 2139523"/>
                    <a:gd name="connsiteX1514" fmla="*/ 2479496 w 3189556"/>
                    <a:gd name="connsiteY1514" fmla="*/ 19994 h 2139523"/>
                    <a:gd name="connsiteX1515" fmla="*/ 2489229 w 3189556"/>
                    <a:gd name="connsiteY1515" fmla="*/ 16867 h 2139523"/>
                    <a:gd name="connsiteX1516" fmla="*/ 2512101 w 3189556"/>
                    <a:gd name="connsiteY1516" fmla="*/ 10625 h 2139523"/>
                    <a:gd name="connsiteX1517" fmla="*/ 2527842 w 3189556"/>
                    <a:gd name="connsiteY1517" fmla="*/ 9079 h 2139523"/>
                    <a:gd name="connsiteX1518" fmla="*/ 2536918 w 3189556"/>
                    <a:gd name="connsiteY1518" fmla="*/ 5648 h 2139523"/>
                    <a:gd name="connsiteX1519" fmla="*/ 2553232 w 3189556"/>
                    <a:gd name="connsiteY1519" fmla="*/ 6456 h 2139523"/>
                    <a:gd name="connsiteX1520" fmla="*/ 2585849 w 3189556"/>
                    <a:gd name="connsiteY1520" fmla="*/ 1959 h 2139523"/>
                    <a:gd name="connsiteX1521" fmla="*/ 2601168 w 3189556"/>
                    <a:gd name="connsiteY1521" fmla="*/ 2708 h 2139523"/>
                    <a:gd name="connsiteX1522" fmla="*/ 2601168 w 3189556"/>
                    <a:gd name="connsiteY1522" fmla="*/ 2708 h 2139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Lst>
                  <a:rect l="l" t="t" r="r" b="b"/>
                  <a:pathLst>
                    <a:path w="3189556" h="2139523">
                      <a:moveTo>
                        <a:pt x="1934208" y="2032234"/>
                      </a:moveTo>
                      <a:cubicBezTo>
                        <a:pt x="1935379" y="2041369"/>
                        <a:pt x="1943448" y="2037586"/>
                        <a:pt x="1946669" y="2040139"/>
                      </a:cubicBezTo>
                      <a:cubicBezTo>
                        <a:pt x="1951915" y="2044297"/>
                        <a:pt x="1948543" y="2055270"/>
                        <a:pt x="1952431" y="2059955"/>
                      </a:cubicBezTo>
                      <a:cubicBezTo>
                        <a:pt x="1947887" y="2059381"/>
                        <a:pt x="1947465" y="2064909"/>
                        <a:pt x="1944186" y="2065506"/>
                      </a:cubicBezTo>
                      <a:cubicBezTo>
                        <a:pt x="1939689" y="2066314"/>
                        <a:pt x="1941890" y="2062824"/>
                        <a:pt x="1943460" y="2061770"/>
                      </a:cubicBezTo>
                      <a:cubicBezTo>
                        <a:pt x="1938154" y="2059990"/>
                        <a:pt x="1942171" y="2064792"/>
                        <a:pt x="1940216" y="2067907"/>
                      </a:cubicBezTo>
                      <a:cubicBezTo>
                        <a:pt x="1938318" y="2070940"/>
                        <a:pt x="1935988" y="2071069"/>
                        <a:pt x="1934231" y="2073447"/>
                      </a:cubicBezTo>
                      <a:cubicBezTo>
                        <a:pt x="1931736" y="2076843"/>
                        <a:pt x="1931081" y="2090300"/>
                        <a:pt x="1923445" y="2085556"/>
                      </a:cubicBezTo>
                      <a:cubicBezTo>
                        <a:pt x="1926396" y="2087512"/>
                        <a:pt x="1926267" y="2087126"/>
                        <a:pt x="1927403" y="2089983"/>
                      </a:cubicBezTo>
                      <a:cubicBezTo>
                        <a:pt x="1927673" y="2089117"/>
                        <a:pt x="1928774" y="2087009"/>
                        <a:pt x="1928832" y="2086599"/>
                      </a:cubicBezTo>
                      <a:cubicBezTo>
                        <a:pt x="1928586" y="2092443"/>
                        <a:pt x="1918748" y="2105056"/>
                        <a:pt x="1924171" y="2105888"/>
                      </a:cubicBezTo>
                      <a:cubicBezTo>
                        <a:pt x="1924183" y="2104752"/>
                        <a:pt x="1924885" y="2101953"/>
                        <a:pt x="1924710" y="2101086"/>
                      </a:cubicBezTo>
                      <a:cubicBezTo>
                        <a:pt x="1925670" y="2102503"/>
                        <a:pt x="1925928" y="2104658"/>
                        <a:pt x="1926349" y="2106286"/>
                      </a:cubicBezTo>
                      <a:cubicBezTo>
                        <a:pt x="1920072" y="2106169"/>
                        <a:pt x="1922414" y="2114718"/>
                        <a:pt x="1915949" y="2112364"/>
                      </a:cubicBezTo>
                      <a:cubicBezTo>
                        <a:pt x="1917320" y="2111872"/>
                        <a:pt x="1918350" y="2111638"/>
                        <a:pt x="1919896" y="2111451"/>
                      </a:cubicBezTo>
                      <a:cubicBezTo>
                        <a:pt x="1913455" y="2111826"/>
                        <a:pt x="1905643" y="2121300"/>
                        <a:pt x="1900244" y="2121066"/>
                      </a:cubicBezTo>
                      <a:cubicBezTo>
                        <a:pt x="1903020" y="2123139"/>
                        <a:pt x="1902247" y="2123033"/>
                        <a:pt x="1902013" y="2126629"/>
                      </a:cubicBezTo>
                      <a:cubicBezTo>
                        <a:pt x="1901907" y="2126102"/>
                        <a:pt x="1901310" y="2125341"/>
                        <a:pt x="1900795" y="2124942"/>
                      </a:cubicBezTo>
                      <a:cubicBezTo>
                        <a:pt x="1900970" y="2128608"/>
                        <a:pt x="1899366" y="2128877"/>
                        <a:pt x="1896825" y="2126804"/>
                      </a:cubicBezTo>
                      <a:cubicBezTo>
                        <a:pt x="1899061" y="2125668"/>
                        <a:pt x="1898171" y="2125762"/>
                        <a:pt x="1899518" y="2124380"/>
                      </a:cubicBezTo>
                      <a:cubicBezTo>
                        <a:pt x="1898160" y="2125985"/>
                        <a:pt x="1899483" y="2125024"/>
                        <a:pt x="1898066" y="2124778"/>
                      </a:cubicBezTo>
                      <a:cubicBezTo>
                        <a:pt x="1893651" y="2128784"/>
                        <a:pt x="1882829" y="2123642"/>
                        <a:pt x="1884469" y="2133948"/>
                      </a:cubicBezTo>
                      <a:cubicBezTo>
                        <a:pt x="1882583" y="2133737"/>
                        <a:pt x="1883017" y="2134183"/>
                        <a:pt x="1881272" y="2134346"/>
                      </a:cubicBezTo>
                      <a:cubicBezTo>
                        <a:pt x="1885945" y="2134733"/>
                        <a:pt x="1884926" y="2138036"/>
                        <a:pt x="1881623" y="2135459"/>
                      </a:cubicBezTo>
                      <a:cubicBezTo>
                        <a:pt x="1878578" y="2137169"/>
                        <a:pt x="1878355" y="2136220"/>
                        <a:pt x="1878414" y="2139160"/>
                      </a:cubicBezTo>
                      <a:cubicBezTo>
                        <a:pt x="1877231" y="2139230"/>
                        <a:pt x="1876645" y="2138879"/>
                        <a:pt x="1875580" y="2139523"/>
                      </a:cubicBezTo>
                      <a:cubicBezTo>
                        <a:pt x="1875767" y="2137134"/>
                        <a:pt x="1874936" y="2136806"/>
                        <a:pt x="1875580" y="2134710"/>
                      </a:cubicBezTo>
                      <a:cubicBezTo>
                        <a:pt x="1873811" y="2137251"/>
                        <a:pt x="1873284" y="2137415"/>
                        <a:pt x="1870555" y="2137661"/>
                      </a:cubicBezTo>
                      <a:cubicBezTo>
                        <a:pt x="1872874" y="2136408"/>
                        <a:pt x="1871762" y="2135846"/>
                        <a:pt x="1872394" y="2134675"/>
                      </a:cubicBezTo>
                      <a:cubicBezTo>
                        <a:pt x="1870040" y="2133257"/>
                        <a:pt x="1863622" y="2133082"/>
                        <a:pt x="1859242" y="2132203"/>
                      </a:cubicBezTo>
                      <a:cubicBezTo>
                        <a:pt x="1857708" y="2131887"/>
                        <a:pt x="1855928" y="2133433"/>
                        <a:pt x="1854792" y="2133140"/>
                      </a:cubicBezTo>
                      <a:cubicBezTo>
                        <a:pt x="1853504" y="2132801"/>
                        <a:pt x="1853820" y="2129709"/>
                        <a:pt x="1853222" y="2129545"/>
                      </a:cubicBezTo>
                      <a:cubicBezTo>
                        <a:pt x="1846980" y="2127847"/>
                        <a:pt x="1840960" y="2126441"/>
                        <a:pt x="1834589" y="2122061"/>
                      </a:cubicBezTo>
                      <a:cubicBezTo>
                        <a:pt x="1829471" y="2118536"/>
                        <a:pt x="1831615" y="2122131"/>
                        <a:pt x="1830069" y="2116486"/>
                      </a:cubicBezTo>
                      <a:cubicBezTo>
                        <a:pt x="1829378" y="2113980"/>
                        <a:pt x="1827738" y="2106661"/>
                        <a:pt x="1827352" y="2104143"/>
                      </a:cubicBezTo>
                      <a:cubicBezTo>
                        <a:pt x="1826719" y="2100055"/>
                        <a:pt x="1826719" y="2087301"/>
                        <a:pt x="1829788" y="2086575"/>
                      </a:cubicBezTo>
                      <a:cubicBezTo>
                        <a:pt x="1828312" y="2084315"/>
                        <a:pt x="1829319" y="2084057"/>
                        <a:pt x="1826579" y="2082909"/>
                      </a:cubicBezTo>
                      <a:cubicBezTo>
                        <a:pt x="1826895" y="2077147"/>
                        <a:pt x="1836206" y="2067614"/>
                        <a:pt x="1843420" y="2068060"/>
                      </a:cubicBezTo>
                      <a:cubicBezTo>
                        <a:pt x="1844252" y="2063480"/>
                        <a:pt x="1858610" y="2053888"/>
                        <a:pt x="1862322" y="2056184"/>
                      </a:cubicBezTo>
                      <a:cubicBezTo>
                        <a:pt x="1862147" y="2055598"/>
                        <a:pt x="1861069" y="2054111"/>
                        <a:pt x="1860612" y="2053689"/>
                      </a:cubicBezTo>
                      <a:cubicBezTo>
                        <a:pt x="1861292" y="2053022"/>
                        <a:pt x="1861702" y="2053490"/>
                        <a:pt x="1862322" y="2052085"/>
                      </a:cubicBezTo>
                      <a:cubicBezTo>
                        <a:pt x="1859734" y="2052296"/>
                        <a:pt x="1857228" y="2053865"/>
                        <a:pt x="1854803" y="2055458"/>
                      </a:cubicBezTo>
                      <a:cubicBezTo>
                        <a:pt x="1853140" y="2045023"/>
                        <a:pt x="1866445" y="2043898"/>
                        <a:pt x="1870544" y="2049532"/>
                      </a:cubicBezTo>
                      <a:cubicBezTo>
                        <a:pt x="1872992" y="2048688"/>
                        <a:pt x="1874069" y="2048817"/>
                        <a:pt x="1876634" y="2048361"/>
                      </a:cubicBezTo>
                      <a:cubicBezTo>
                        <a:pt x="1875053" y="2047833"/>
                        <a:pt x="1874221" y="2046428"/>
                        <a:pt x="1873191" y="2045679"/>
                      </a:cubicBezTo>
                      <a:cubicBezTo>
                        <a:pt x="1874010" y="2045222"/>
                        <a:pt x="1874772" y="2045526"/>
                        <a:pt x="1875381" y="2045023"/>
                      </a:cubicBezTo>
                      <a:cubicBezTo>
                        <a:pt x="1870965" y="2042341"/>
                        <a:pt x="1885382" y="2036602"/>
                        <a:pt x="1883754" y="2042844"/>
                      </a:cubicBezTo>
                      <a:cubicBezTo>
                        <a:pt x="1885663" y="2042657"/>
                        <a:pt x="1885710" y="2042985"/>
                        <a:pt x="1888427" y="2043173"/>
                      </a:cubicBezTo>
                      <a:cubicBezTo>
                        <a:pt x="1888755" y="2042563"/>
                        <a:pt x="1888322" y="2041521"/>
                        <a:pt x="1888861" y="2041006"/>
                      </a:cubicBezTo>
                      <a:cubicBezTo>
                        <a:pt x="1889247" y="2042329"/>
                        <a:pt x="1889915" y="2042505"/>
                        <a:pt x="1889880" y="2044273"/>
                      </a:cubicBezTo>
                      <a:cubicBezTo>
                        <a:pt x="1892597" y="2040853"/>
                        <a:pt x="1895548" y="2039483"/>
                        <a:pt x="1897176" y="2044203"/>
                      </a:cubicBezTo>
                      <a:cubicBezTo>
                        <a:pt x="1896766" y="2044227"/>
                        <a:pt x="1896344" y="2044250"/>
                        <a:pt x="1895934" y="2044273"/>
                      </a:cubicBezTo>
                      <a:cubicBezTo>
                        <a:pt x="1897269" y="2045421"/>
                        <a:pt x="1897070" y="2045245"/>
                        <a:pt x="1898780" y="2045386"/>
                      </a:cubicBezTo>
                      <a:cubicBezTo>
                        <a:pt x="1898359" y="2041580"/>
                        <a:pt x="1903734" y="2042270"/>
                        <a:pt x="1906276" y="2040174"/>
                      </a:cubicBezTo>
                      <a:cubicBezTo>
                        <a:pt x="1904390" y="2041029"/>
                        <a:pt x="1904086" y="2040959"/>
                        <a:pt x="1902024" y="2041345"/>
                      </a:cubicBezTo>
                      <a:cubicBezTo>
                        <a:pt x="1906194" y="2038464"/>
                        <a:pt x="1908770" y="2036157"/>
                        <a:pt x="1914146" y="2038148"/>
                      </a:cubicBezTo>
                      <a:cubicBezTo>
                        <a:pt x="1918186" y="2039636"/>
                        <a:pt x="1917765" y="2039823"/>
                        <a:pt x="1920259" y="2044683"/>
                      </a:cubicBezTo>
                      <a:cubicBezTo>
                        <a:pt x="1919639" y="2042165"/>
                        <a:pt x="1917894" y="2039425"/>
                        <a:pt x="1918444" y="2036122"/>
                      </a:cubicBezTo>
                      <a:cubicBezTo>
                        <a:pt x="1921477" y="2038886"/>
                        <a:pt x="1926408" y="2040420"/>
                        <a:pt x="1928481" y="2040572"/>
                      </a:cubicBezTo>
                      <a:cubicBezTo>
                        <a:pt x="1928937" y="2041896"/>
                        <a:pt x="1929792" y="2043336"/>
                        <a:pt x="1930062" y="2044695"/>
                      </a:cubicBezTo>
                      <a:cubicBezTo>
                        <a:pt x="1931842" y="2041626"/>
                        <a:pt x="1927907" y="2040104"/>
                        <a:pt x="1928223" y="2038605"/>
                      </a:cubicBezTo>
                      <a:cubicBezTo>
                        <a:pt x="1929066" y="2034623"/>
                        <a:pt x="1931748" y="2033873"/>
                        <a:pt x="1934208" y="2032234"/>
                      </a:cubicBezTo>
                      <a:lnTo>
                        <a:pt x="1934208" y="2032234"/>
                      </a:lnTo>
                      <a:close/>
                      <a:moveTo>
                        <a:pt x="2519878" y="1401346"/>
                      </a:moveTo>
                      <a:cubicBezTo>
                        <a:pt x="2513624" y="1404028"/>
                        <a:pt x="2479485" y="1388264"/>
                        <a:pt x="2482085" y="1381483"/>
                      </a:cubicBezTo>
                      <a:cubicBezTo>
                        <a:pt x="2484814" y="1374374"/>
                        <a:pt x="2499277" y="1384797"/>
                        <a:pt x="2502486" y="1386812"/>
                      </a:cubicBezTo>
                      <a:cubicBezTo>
                        <a:pt x="2506339" y="1389224"/>
                        <a:pt x="2532397" y="1398980"/>
                        <a:pt x="2519878" y="1401346"/>
                      </a:cubicBezTo>
                      <a:lnTo>
                        <a:pt x="2519878" y="1401346"/>
                      </a:lnTo>
                      <a:close/>
                      <a:moveTo>
                        <a:pt x="2601168" y="2708"/>
                      </a:moveTo>
                      <a:cubicBezTo>
                        <a:pt x="2602620" y="-79"/>
                        <a:pt x="2604786" y="-1613"/>
                        <a:pt x="2603686" y="2638"/>
                      </a:cubicBezTo>
                      <a:cubicBezTo>
                        <a:pt x="2608780" y="-653"/>
                        <a:pt x="2612528" y="1877"/>
                        <a:pt x="2619332" y="4254"/>
                      </a:cubicBezTo>
                      <a:cubicBezTo>
                        <a:pt x="2625574" y="6444"/>
                        <a:pt x="2629252" y="12616"/>
                        <a:pt x="2634815" y="14338"/>
                      </a:cubicBezTo>
                      <a:cubicBezTo>
                        <a:pt x="2640026" y="15942"/>
                        <a:pt x="2639336" y="11398"/>
                        <a:pt x="2644840" y="16539"/>
                      </a:cubicBezTo>
                      <a:cubicBezTo>
                        <a:pt x="2650578" y="21892"/>
                        <a:pt x="2651375" y="21821"/>
                        <a:pt x="2659222" y="24620"/>
                      </a:cubicBezTo>
                      <a:cubicBezTo>
                        <a:pt x="2663168" y="26037"/>
                        <a:pt x="2668567" y="30605"/>
                        <a:pt x="2672292" y="30265"/>
                      </a:cubicBezTo>
                      <a:cubicBezTo>
                        <a:pt x="2673111" y="30195"/>
                        <a:pt x="2673100" y="32221"/>
                        <a:pt x="2674798" y="31518"/>
                      </a:cubicBezTo>
                      <a:cubicBezTo>
                        <a:pt x="2676039" y="30991"/>
                        <a:pt x="2674727" y="28977"/>
                        <a:pt x="2674763" y="28965"/>
                      </a:cubicBezTo>
                      <a:cubicBezTo>
                        <a:pt x="2676730" y="28134"/>
                        <a:pt x="2676637" y="25089"/>
                        <a:pt x="2681895" y="24597"/>
                      </a:cubicBezTo>
                      <a:cubicBezTo>
                        <a:pt x="2691241" y="23719"/>
                        <a:pt x="2698631" y="32490"/>
                        <a:pt x="2706349" y="34751"/>
                      </a:cubicBezTo>
                      <a:cubicBezTo>
                        <a:pt x="2711748" y="36332"/>
                        <a:pt x="2717229" y="35969"/>
                        <a:pt x="2718435" y="43289"/>
                      </a:cubicBezTo>
                      <a:cubicBezTo>
                        <a:pt x="2718529" y="43874"/>
                        <a:pt x="2713212" y="45115"/>
                        <a:pt x="2714617" y="47622"/>
                      </a:cubicBezTo>
                      <a:cubicBezTo>
                        <a:pt x="2715507" y="49215"/>
                        <a:pt x="2723483" y="45666"/>
                        <a:pt x="2725087" y="46357"/>
                      </a:cubicBezTo>
                      <a:cubicBezTo>
                        <a:pt x="2726446" y="46943"/>
                        <a:pt x="2728554" y="53946"/>
                        <a:pt x="2731412" y="55609"/>
                      </a:cubicBezTo>
                      <a:cubicBezTo>
                        <a:pt x="2733719" y="56956"/>
                        <a:pt x="2735827" y="53044"/>
                        <a:pt x="2738485" y="56815"/>
                      </a:cubicBezTo>
                      <a:cubicBezTo>
                        <a:pt x="2732735" y="58022"/>
                        <a:pt x="2737993" y="60001"/>
                        <a:pt x="2736646" y="62062"/>
                      </a:cubicBezTo>
                      <a:cubicBezTo>
                        <a:pt x="2735803" y="63350"/>
                        <a:pt x="2731810" y="62191"/>
                        <a:pt x="2731915" y="64721"/>
                      </a:cubicBezTo>
                      <a:cubicBezTo>
                        <a:pt x="2732220" y="72485"/>
                        <a:pt x="2736775" y="67203"/>
                        <a:pt x="2741366" y="70951"/>
                      </a:cubicBezTo>
                      <a:cubicBezTo>
                        <a:pt x="2744610" y="73610"/>
                        <a:pt x="2741823" y="74722"/>
                        <a:pt x="2743533" y="76678"/>
                      </a:cubicBezTo>
                      <a:cubicBezTo>
                        <a:pt x="2744669" y="78001"/>
                        <a:pt x="2746976" y="76409"/>
                        <a:pt x="2748229" y="78482"/>
                      </a:cubicBezTo>
                      <a:cubicBezTo>
                        <a:pt x="2751954" y="84618"/>
                        <a:pt x="2748135" y="88366"/>
                        <a:pt x="2755982" y="90463"/>
                      </a:cubicBezTo>
                      <a:cubicBezTo>
                        <a:pt x="2738708" y="94199"/>
                        <a:pt x="2761112" y="97372"/>
                        <a:pt x="2761920" y="101401"/>
                      </a:cubicBezTo>
                      <a:cubicBezTo>
                        <a:pt x="2762939" y="106425"/>
                        <a:pt x="2757411" y="105723"/>
                        <a:pt x="2756943" y="107924"/>
                      </a:cubicBezTo>
                      <a:cubicBezTo>
                        <a:pt x="2755982" y="112445"/>
                        <a:pt x="2758711" y="114717"/>
                        <a:pt x="2761557" y="119249"/>
                      </a:cubicBezTo>
                      <a:cubicBezTo>
                        <a:pt x="2766511" y="127190"/>
                        <a:pt x="2769333" y="128080"/>
                        <a:pt x="2770809" y="135072"/>
                      </a:cubicBezTo>
                      <a:cubicBezTo>
                        <a:pt x="2771055" y="136208"/>
                        <a:pt x="2767729" y="137660"/>
                        <a:pt x="2768244" y="138784"/>
                      </a:cubicBezTo>
                      <a:cubicBezTo>
                        <a:pt x="2769099" y="140693"/>
                        <a:pt x="2772823" y="140014"/>
                        <a:pt x="2773374" y="141291"/>
                      </a:cubicBezTo>
                      <a:cubicBezTo>
                        <a:pt x="2773374" y="141302"/>
                        <a:pt x="2775997" y="145296"/>
                        <a:pt x="2775751" y="144945"/>
                      </a:cubicBezTo>
                      <a:cubicBezTo>
                        <a:pt x="2775833" y="145062"/>
                        <a:pt x="2773819" y="147884"/>
                        <a:pt x="2774322" y="148891"/>
                      </a:cubicBezTo>
                      <a:cubicBezTo>
                        <a:pt x="2775412" y="151093"/>
                        <a:pt x="2780377" y="149863"/>
                        <a:pt x="2780494" y="152100"/>
                      </a:cubicBezTo>
                      <a:cubicBezTo>
                        <a:pt x="2780670" y="155485"/>
                        <a:pt x="2775786" y="153728"/>
                        <a:pt x="2775552" y="156609"/>
                      </a:cubicBezTo>
                      <a:cubicBezTo>
                        <a:pt x="2774732" y="167161"/>
                        <a:pt x="2779885" y="156808"/>
                        <a:pt x="2780658" y="156750"/>
                      </a:cubicBezTo>
                      <a:cubicBezTo>
                        <a:pt x="2787287" y="156258"/>
                        <a:pt x="2780202" y="164069"/>
                        <a:pt x="2780518" y="168965"/>
                      </a:cubicBezTo>
                      <a:cubicBezTo>
                        <a:pt x="2781080" y="177468"/>
                        <a:pt x="2788622" y="180501"/>
                        <a:pt x="2793295" y="186614"/>
                      </a:cubicBezTo>
                      <a:cubicBezTo>
                        <a:pt x="2794782" y="188570"/>
                        <a:pt x="2798636" y="193547"/>
                        <a:pt x="2799678" y="195714"/>
                      </a:cubicBezTo>
                      <a:cubicBezTo>
                        <a:pt x="2800591" y="197611"/>
                        <a:pt x="2799432" y="199368"/>
                        <a:pt x="2800181" y="200902"/>
                      </a:cubicBezTo>
                      <a:cubicBezTo>
                        <a:pt x="2801235" y="203081"/>
                        <a:pt x="2803964" y="204580"/>
                        <a:pt x="2804210" y="207145"/>
                      </a:cubicBezTo>
                      <a:cubicBezTo>
                        <a:pt x="2804526" y="210623"/>
                        <a:pt x="2800919" y="212017"/>
                        <a:pt x="2800814" y="214944"/>
                      </a:cubicBezTo>
                      <a:cubicBezTo>
                        <a:pt x="2800767" y="216514"/>
                        <a:pt x="2803133" y="219910"/>
                        <a:pt x="2803894" y="221796"/>
                      </a:cubicBezTo>
                      <a:cubicBezTo>
                        <a:pt x="2805580" y="225965"/>
                        <a:pt x="2802020" y="225250"/>
                        <a:pt x="2808169" y="229490"/>
                      </a:cubicBezTo>
                      <a:cubicBezTo>
                        <a:pt x="2813298" y="233027"/>
                        <a:pt x="2815863" y="230650"/>
                        <a:pt x="2815641" y="236716"/>
                      </a:cubicBezTo>
                      <a:cubicBezTo>
                        <a:pt x="2815477" y="240780"/>
                        <a:pt x="2811307" y="243907"/>
                        <a:pt x="2810944" y="248486"/>
                      </a:cubicBezTo>
                      <a:cubicBezTo>
                        <a:pt x="2810979" y="247983"/>
                        <a:pt x="2812033" y="256708"/>
                        <a:pt x="2811916" y="256403"/>
                      </a:cubicBezTo>
                      <a:cubicBezTo>
                        <a:pt x="2814060" y="262224"/>
                        <a:pt x="2815383" y="259718"/>
                        <a:pt x="2819798" y="264203"/>
                      </a:cubicBezTo>
                      <a:cubicBezTo>
                        <a:pt x="2823171" y="267623"/>
                        <a:pt x="2822117" y="273280"/>
                        <a:pt x="2828582" y="275071"/>
                      </a:cubicBezTo>
                      <a:cubicBezTo>
                        <a:pt x="2830936" y="275727"/>
                        <a:pt x="2834157" y="274228"/>
                        <a:pt x="2835129" y="274486"/>
                      </a:cubicBezTo>
                      <a:cubicBezTo>
                        <a:pt x="2837811" y="275200"/>
                        <a:pt x="2839017" y="277847"/>
                        <a:pt x="2841523" y="278503"/>
                      </a:cubicBezTo>
                      <a:cubicBezTo>
                        <a:pt x="2848000" y="280189"/>
                        <a:pt x="2852989" y="276711"/>
                        <a:pt x="2857802" y="276090"/>
                      </a:cubicBezTo>
                      <a:cubicBezTo>
                        <a:pt x="2861784" y="275587"/>
                        <a:pt x="2876915" y="272671"/>
                        <a:pt x="2879141" y="276781"/>
                      </a:cubicBezTo>
                      <a:cubicBezTo>
                        <a:pt x="2880394" y="279100"/>
                        <a:pt x="2875838" y="280939"/>
                        <a:pt x="2876599" y="281899"/>
                      </a:cubicBezTo>
                      <a:cubicBezTo>
                        <a:pt x="2879305" y="285225"/>
                        <a:pt x="2879586" y="281700"/>
                        <a:pt x="2883263" y="282871"/>
                      </a:cubicBezTo>
                      <a:cubicBezTo>
                        <a:pt x="2886765" y="283984"/>
                        <a:pt x="2888756" y="286607"/>
                        <a:pt x="2891297" y="287966"/>
                      </a:cubicBezTo>
                      <a:cubicBezTo>
                        <a:pt x="2894963" y="289922"/>
                        <a:pt x="2894119" y="289676"/>
                        <a:pt x="2897586" y="290449"/>
                      </a:cubicBezTo>
                      <a:cubicBezTo>
                        <a:pt x="2896602" y="290226"/>
                        <a:pt x="2904519" y="289840"/>
                        <a:pt x="2903828" y="289957"/>
                      </a:cubicBezTo>
                      <a:cubicBezTo>
                        <a:pt x="2904824" y="289769"/>
                        <a:pt x="2906054" y="292393"/>
                        <a:pt x="2907951" y="292018"/>
                      </a:cubicBezTo>
                      <a:cubicBezTo>
                        <a:pt x="2909661" y="291678"/>
                        <a:pt x="2908583" y="287509"/>
                        <a:pt x="2908935" y="287404"/>
                      </a:cubicBezTo>
                      <a:cubicBezTo>
                        <a:pt x="2918878" y="284628"/>
                        <a:pt x="2913479" y="291081"/>
                        <a:pt x="2918456" y="295578"/>
                      </a:cubicBezTo>
                      <a:cubicBezTo>
                        <a:pt x="2920529" y="297452"/>
                        <a:pt x="2925190" y="297124"/>
                        <a:pt x="2927615" y="298541"/>
                      </a:cubicBezTo>
                      <a:cubicBezTo>
                        <a:pt x="2928306" y="298939"/>
                        <a:pt x="2928247" y="301821"/>
                        <a:pt x="2928973" y="302781"/>
                      </a:cubicBezTo>
                      <a:cubicBezTo>
                        <a:pt x="2929922" y="304034"/>
                        <a:pt x="2932428" y="303062"/>
                        <a:pt x="2933658" y="304315"/>
                      </a:cubicBezTo>
                      <a:cubicBezTo>
                        <a:pt x="2934103" y="304760"/>
                        <a:pt x="2934091" y="307442"/>
                        <a:pt x="2934583" y="308051"/>
                      </a:cubicBezTo>
                      <a:cubicBezTo>
                        <a:pt x="2935321" y="308953"/>
                        <a:pt x="2936773" y="309492"/>
                        <a:pt x="2937511" y="310429"/>
                      </a:cubicBezTo>
                      <a:cubicBezTo>
                        <a:pt x="2938904" y="312220"/>
                        <a:pt x="2939818" y="313719"/>
                        <a:pt x="2942664" y="316015"/>
                      </a:cubicBezTo>
                      <a:cubicBezTo>
                        <a:pt x="2952197" y="323698"/>
                        <a:pt x="2956074" y="323042"/>
                        <a:pt x="2966555" y="323229"/>
                      </a:cubicBezTo>
                      <a:cubicBezTo>
                        <a:pt x="2965349" y="323206"/>
                        <a:pt x="2974098" y="324775"/>
                        <a:pt x="2972985" y="324213"/>
                      </a:cubicBezTo>
                      <a:cubicBezTo>
                        <a:pt x="2976721" y="326122"/>
                        <a:pt x="2976147" y="321484"/>
                        <a:pt x="2975550" y="327317"/>
                      </a:cubicBezTo>
                      <a:cubicBezTo>
                        <a:pt x="2975105" y="331732"/>
                        <a:pt x="2968886" y="336159"/>
                        <a:pt x="2969436" y="340984"/>
                      </a:cubicBezTo>
                      <a:cubicBezTo>
                        <a:pt x="2969682" y="343057"/>
                        <a:pt x="2972962" y="343209"/>
                        <a:pt x="2974074" y="344778"/>
                      </a:cubicBezTo>
                      <a:cubicBezTo>
                        <a:pt x="2975082" y="346207"/>
                        <a:pt x="2974871" y="348713"/>
                        <a:pt x="2975972" y="350037"/>
                      </a:cubicBezTo>
                      <a:cubicBezTo>
                        <a:pt x="2976147" y="350248"/>
                        <a:pt x="2979895" y="348339"/>
                        <a:pt x="2981324" y="349756"/>
                      </a:cubicBezTo>
                      <a:cubicBezTo>
                        <a:pt x="2982237" y="350646"/>
                        <a:pt x="2979895" y="352520"/>
                        <a:pt x="2980340" y="353176"/>
                      </a:cubicBezTo>
                      <a:cubicBezTo>
                        <a:pt x="2984310" y="358821"/>
                        <a:pt x="2985048" y="361303"/>
                        <a:pt x="2981570" y="367136"/>
                      </a:cubicBezTo>
                      <a:cubicBezTo>
                        <a:pt x="2976124" y="376294"/>
                        <a:pt x="2975351" y="375908"/>
                        <a:pt x="2983994" y="384762"/>
                      </a:cubicBezTo>
                      <a:cubicBezTo>
                        <a:pt x="2987905" y="388767"/>
                        <a:pt x="2988807" y="391367"/>
                        <a:pt x="2990904" y="396122"/>
                      </a:cubicBezTo>
                      <a:cubicBezTo>
                        <a:pt x="2992613" y="400033"/>
                        <a:pt x="2989850" y="401720"/>
                        <a:pt x="2995565" y="403453"/>
                      </a:cubicBezTo>
                      <a:cubicBezTo>
                        <a:pt x="3002650" y="405631"/>
                        <a:pt x="3010298" y="397527"/>
                        <a:pt x="3017793" y="399600"/>
                      </a:cubicBezTo>
                      <a:cubicBezTo>
                        <a:pt x="3020862" y="400455"/>
                        <a:pt x="3022361" y="403957"/>
                        <a:pt x="3025078" y="404613"/>
                      </a:cubicBezTo>
                      <a:cubicBezTo>
                        <a:pt x="3026366" y="404917"/>
                        <a:pt x="3027163" y="403254"/>
                        <a:pt x="3028053" y="403383"/>
                      </a:cubicBezTo>
                      <a:cubicBezTo>
                        <a:pt x="3029552" y="403594"/>
                        <a:pt x="3034072" y="403453"/>
                        <a:pt x="3036005" y="403406"/>
                      </a:cubicBezTo>
                      <a:cubicBezTo>
                        <a:pt x="3041638" y="403266"/>
                        <a:pt x="3047365" y="403804"/>
                        <a:pt x="3053291" y="402797"/>
                      </a:cubicBezTo>
                      <a:cubicBezTo>
                        <a:pt x="3056921" y="402177"/>
                        <a:pt x="3059487" y="399881"/>
                        <a:pt x="3063281" y="399694"/>
                      </a:cubicBezTo>
                      <a:cubicBezTo>
                        <a:pt x="3066572" y="399530"/>
                        <a:pt x="3070261" y="402867"/>
                        <a:pt x="3073400" y="401579"/>
                      </a:cubicBezTo>
                      <a:cubicBezTo>
                        <a:pt x="3076761" y="400209"/>
                        <a:pt x="3078401" y="392339"/>
                        <a:pt x="3081141" y="389247"/>
                      </a:cubicBezTo>
                      <a:cubicBezTo>
                        <a:pt x="3082137" y="388123"/>
                        <a:pt x="3079349" y="386495"/>
                        <a:pt x="3082019" y="384984"/>
                      </a:cubicBezTo>
                      <a:cubicBezTo>
                        <a:pt x="3083718" y="384024"/>
                        <a:pt x="3087091" y="386132"/>
                        <a:pt x="3089515" y="385347"/>
                      </a:cubicBezTo>
                      <a:cubicBezTo>
                        <a:pt x="3095031" y="383567"/>
                        <a:pt x="3099540" y="375990"/>
                        <a:pt x="3105477" y="374444"/>
                      </a:cubicBezTo>
                      <a:cubicBezTo>
                        <a:pt x="3111369" y="372909"/>
                        <a:pt x="3118278" y="377934"/>
                        <a:pt x="3123818" y="376036"/>
                      </a:cubicBezTo>
                      <a:cubicBezTo>
                        <a:pt x="3128655" y="374373"/>
                        <a:pt x="3130728" y="369092"/>
                        <a:pt x="3135096" y="366726"/>
                      </a:cubicBezTo>
                      <a:cubicBezTo>
                        <a:pt x="3140202" y="363950"/>
                        <a:pt x="3147827" y="362545"/>
                        <a:pt x="3153460" y="360355"/>
                      </a:cubicBezTo>
                      <a:cubicBezTo>
                        <a:pt x="3157746" y="358680"/>
                        <a:pt x="3164914" y="356595"/>
                        <a:pt x="3169458" y="356947"/>
                      </a:cubicBezTo>
                      <a:cubicBezTo>
                        <a:pt x="3173006" y="357216"/>
                        <a:pt x="3174716" y="361128"/>
                        <a:pt x="3178663" y="358329"/>
                      </a:cubicBezTo>
                      <a:cubicBezTo>
                        <a:pt x="3180080" y="362217"/>
                        <a:pt x="3183746" y="364840"/>
                        <a:pt x="3187868" y="364606"/>
                      </a:cubicBezTo>
                      <a:cubicBezTo>
                        <a:pt x="3185596" y="367745"/>
                        <a:pt x="3186568" y="371504"/>
                        <a:pt x="3184940" y="374971"/>
                      </a:cubicBezTo>
                      <a:cubicBezTo>
                        <a:pt x="3182692" y="379772"/>
                        <a:pt x="3179494" y="377840"/>
                        <a:pt x="3180385" y="383813"/>
                      </a:cubicBezTo>
                      <a:cubicBezTo>
                        <a:pt x="3181075" y="388392"/>
                        <a:pt x="3185725" y="391496"/>
                        <a:pt x="3187681" y="396719"/>
                      </a:cubicBezTo>
                      <a:cubicBezTo>
                        <a:pt x="3190070" y="403090"/>
                        <a:pt x="3190503" y="398722"/>
                        <a:pt x="3187048" y="405257"/>
                      </a:cubicBezTo>
                      <a:cubicBezTo>
                        <a:pt x="3186088" y="407060"/>
                        <a:pt x="3185912" y="409004"/>
                        <a:pt x="3184647" y="410866"/>
                      </a:cubicBezTo>
                      <a:cubicBezTo>
                        <a:pt x="3179904" y="417753"/>
                        <a:pt x="3176543" y="417273"/>
                        <a:pt x="3170664" y="419814"/>
                      </a:cubicBezTo>
                      <a:cubicBezTo>
                        <a:pt x="3167115" y="421348"/>
                        <a:pt x="3161224" y="423199"/>
                        <a:pt x="3159725" y="427321"/>
                      </a:cubicBezTo>
                      <a:cubicBezTo>
                        <a:pt x="3157922" y="432346"/>
                        <a:pt x="3161096" y="433891"/>
                        <a:pt x="3160943" y="438424"/>
                      </a:cubicBezTo>
                      <a:cubicBezTo>
                        <a:pt x="3160756" y="443823"/>
                        <a:pt x="3156704" y="442933"/>
                        <a:pt x="3153963" y="449608"/>
                      </a:cubicBezTo>
                      <a:cubicBezTo>
                        <a:pt x="3151492" y="455663"/>
                        <a:pt x="3153120" y="461566"/>
                        <a:pt x="3151691" y="467398"/>
                      </a:cubicBezTo>
                      <a:cubicBezTo>
                        <a:pt x="3149946" y="474519"/>
                        <a:pt x="3142615" y="477201"/>
                        <a:pt x="3142744" y="484825"/>
                      </a:cubicBezTo>
                      <a:cubicBezTo>
                        <a:pt x="3142732" y="484462"/>
                        <a:pt x="3146456" y="488268"/>
                        <a:pt x="3146690" y="488994"/>
                      </a:cubicBezTo>
                      <a:cubicBezTo>
                        <a:pt x="3147405" y="491184"/>
                        <a:pt x="3139722" y="491571"/>
                        <a:pt x="3145976" y="493433"/>
                      </a:cubicBezTo>
                      <a:cubicBezTo>
                        <a:pt x="3144617" y="497672"/>
                        <a:pt x="3142170" y="498574"/>
                        <a:pt x="3140413" y="499780"/>
                      </a:cubicBezTo>
                      <a:cubicBezTo>
                        <a:pt x="3139418" y="500460"/>
                        <a:pt x="3136841" y="502662"/>
                        <a:pt x="3136021" y="503915"/>
                      </a:cubicBezTo>
                      <a:cubicBezTo>
                        <a:pt x="3134136" y="506749"/>
                        <a:pt x="3136337" y="506339"/>
                        <a:pt x="3135412" y="510368"/>
                      </a:cubicBezTo>
                      <a:cubicBezTo>
                        <a:pt x="3133995" y="516528"/>
                        <a:pt x="3120972" y="524492"/>
                        <a:pt x="3124860" y="528263"/>
                      </a:cubicBezTo>
                      <a:cubicBezTo>
                        <a:pt x="3123139" y="529575"/>
                        <a:pt x="3123033" y="531214"/>
                        <a:pt x="3121288" y="532737"/>
                      </a:cubicBezTo>
                      <a:cubicBezTo>
                        <a:pt x="3123490" y="534494"/>
                        <a:pt x="3123712" y="536098"/>
                        <a:pt x="3123080" y="538054"/>
                      </a:cubicBezTo>
                      <a:cubicBezTo>
                        <a:pt x="3114015" y="544190"/>
                        <a:pt x="3103662" y="546650"/>
                        <a:pt x="3103475" y="562238"/>
                      </a:cubicBezTo>
                      <a:cubicBezTo>
                        <a:pt x="3103405" y="568117"/>
                        <a:pt x="3106051" y="571314"/>
                        <a:pt x="3099434" y="574875"/>
                      </a:cubicBezTo>
                      <a:cubicBezTo>
                        <a:pt x="3089773" y="580075"/>
                        <a:pt x="3091576" y="572521"/>
                        <a:pt x="3087664" y="566454"/>
                      </a:cubicBezTo>
                      <a:cubicBezTo>
                        <a:pt x="3082570" y="558549"/>
                        <a:pt x="3069301" y="556488"/>
                        <a:pt x="3060716" y="557026"/>
                      </a:cubicBezTo>
                      <a:cubicBezTo>
                        <a:pt x="3055188" y="557366"/>
                        <a:pt x="3047330" y="564100"/>
                        <a:pt x="3043922" y="563351"/>
                      </a:cubicBezTo>
                      <a:cubicBezTo>
                        <a:pt x="3038101" y="562074"/>
                        <a:pt x="3041814" y="555153"/>
                        <a:pt x="3035185" y="558549"/>
                      </a:cubicBezTo>
                      <a:cubicBezTo>
                        <a:pt x="3033405" y="559474"/>
                        <a:pt x="3032889" y="563409"/>
                        <a:pt x="3031531" y="564779"/>
                      </a:cubicBezTo>
                      <a:cubicBezTo>
                        <a:pt x="3030688" y="565623"/>
                        <a:pt x="3028556" y="564475"/>
                        <a:pt x="3028029" y="565236"/>
                      </a:cubicBezTo>
                      <a:cubicBezTo>
                        <a:pt x="3027373" y="566173"/>
                        <a:pt x="3026109" y="570284"/>
                        <a:pt x="3026062" y="570331"/>
                      </a:cubicBezTo>
                      <a:cubicBezTo>
                        <a:pt x="3024106" y="572884"/>
                        <a:pt x="3022548" y="576667"/>
                        <a:pt x="3018449" y="578868"/>
                      </a:cubicBezTo>
                      <a:cubicBezTo>
                        <a:pt x="3015112" y="580648"/>
                        <a:pt x="3013612" y="579922"/>
                        <a:pt x="3009841" y="581222"/>
                      </a:cubicBezTo>
                      <a:cubicBezTo>
                        <a:pt x="3003599" y="583366"/>
                        <a:pt x="2998715" y="584045"/>
                        <a:pt x="2994686" y="587711"/>
                      </a:cubicBezTo>
                      <a:cubicBezTo>
                        <a:pt x="2990716" y="591330"/>
                        <a:pt x="2989861" y="586176"/>
                        <a:pt x="2992356" y="593074"/>
                      </a:cubicBezTo>
                      <a:cubicBezTo>
                        <a:pt x="2993644" y="596647"/>
                        <a:pt x="2997392" y="600265"/>
                        <a:pt x="2998762" y="604856"/>
                      </a:cubicBezTo>
                      <a:cubicBezTo>
                        <a:pt x="3001760" y="614893"/>
                        <a:pt x="3007546" y="630060"/>
                        <a:pt x="3007241" y="640003"/>
                      </a:cubicBezTo>
                      <a:cubicBezTo>
                        <a:pt x="3007112" y="643879"/>
                        <a:pt x="3003248" y="651433"/>
                        <a:pt x="3002744" y="656434"/>
                      </a:cubicBezTo>
                      <a:cubicBezTo>
                        <a:pt x="3002404" y="659971"/>
                        <a:pt x="3002802" y="666541"/>
                        <a:pt x="3003529" y="669891"/>
                      </a:cubicBezTo>
                      <a:cubicBezTo>
                        <a:pt x="3003763" y="670945"/>
                        <a:pt x="3001936" y="671753"/>
                        <a:pt x="3002533" y="673298"/>
                      </a:cubicBezTo>
                      <a:cubicBezTo>
                        <a:pt x="3003142" y="674915"/>
                        <a:pt x="3006902" y="675325"/>
                        <a:pt x="3007487" y="676953"/>
                      </a:cubicBezTo>
                      <a:cubicBezTo>
                        <a:pt x="3008951" y="681075"/>
                        <a:pt x="3007780" y="681719"/>
                        <a:pt x="3006632" y="685279"/>
                      </a:cubicBezTo>
                      <a:cubicBezTo>
                        <a:pt x="3006047" y="687083"/>
                        <a:pt x="3004278" y="690362"/>
                        <a:pt x="3003950" y="691709"/>
                      </a:cubicBezTo>
                      <a:cubicBezTo>
                        <a:pt x="3003705" y="692658"/>
                        <a:pt x="3003786" y="697377"/>
                        <a:pt x="3003716" y="697518"/>
                      </a:cubicBezTo>
                      <a:cubicBezTo>
                        <a:pt x="3002650" y="699509"/>
                        <a:pt x="3000823" y="700446"/>
                        <a:pt x="3000062" y="702601"/>
                      </a:cubicBezTo>
                      <a:cubicBezTo>
                        <a:pt x="2999816" y="703315"/>
                        <a:pt x="2998727" y="709124"/>
                        <a:pt x="2998540" y="709452"/>
                      </a:cubicBezTo>
                      <a:cubicBezTo>
                        <a:pt x="2997169" y="712064"/>
                        <a:pt x="2997673" y="712602"/>
                        <a:pt x="2993902" y="714336"/>
                      </a:cubicBezTo>
                      <a:cubicBezTo>
                        <a:pt x="2990552" y="715893"/>
                        <a:pt x="2987179" y="714242"/>
                        <a:pt x="2983057" y="714535"/>
                      </a:cubicBezTo>
                      <a:cubicBezTo>
                        <a:pt x="2981757" y="714628"/>
                        <a:pt x="2981206" y="716538"/>
                        <a:pt x="2980668" y="716608"/>
                      </a:cubicBezTo>
                      <a:cubicBezTo>
                        <a:pt x="2979098" y="716807"/>
                        <a:pt x="2975761" y="716783"/>
                        <a:pt x="2973864" y="717474"/>
                      </a:cubicBezTo>
                      <a:cubicBezTo>
                        <a:pt x="2970608" y="718646"/>
                        <a:pt x="2960594" y="721854"/>
                        <a:pt x="2962163" y="726035"/>
                      </a:cubicBezTo>
                      <a:cubicBezTo>
                        <a:pt x="2962363" y="726574"/>
                        <a:pt x="2980375" y="730240"/>
                        <a:pt x="2969331" y="735932"/>
                      </a:cubicBezTo>
                      <a:cubicBezTo>
                        <a:pt x="2969401" y="731118"/>
                        <a:pt x="2965876" y="729303"/>
                        <a:pt x="2966063" y="734409"/>
                      </a:cubicBezTo>
                      <a:cubicBezTo>
                        <a:pt x="2964084" y="732430"/>
                        <a:pt x="2960208" y="730064"/>
                        <a:pt x="2957502" y="726668"/>
                      </a:cubicBezTo>
                      <a:cubicBezTo>
                        <a:pt x="2951166" y="718727"/>
                        <a:pt x="2958545" y="713551"/>
                        <a:pt x="2946810" y="711290"/>
                      </a:cubicBezTo>
                      <a:cubicBezTo>
                        <a:pt x="2951038" y="705470"/>
                        <a:pt x="2945603" y="709663"/>
                        <a:pt x="2942605" y="708796"/>
                      </a:cubicBezTo>
                      <a:cubicBezTo>
                        <a:pt x="2939244" y="707824"/>
                        <a:pt x="2939010" y="705294"/>
                        <a:pt x="2935403" y="706583"/>
                      </a:cubicBezTo>
                      <a:cubicBezTo>
                        <a:pt x="2935602" y="707297"/>
                        <a:pt x="2936691" y="707484"/>
                        <a:pt x="2936820" y="707836"/>
                      </a:cubicBezTo>
                      <a:cubicBezTo>
                        <a:pt x="2924933" y="710330"/>
                        <a:pt x="2934196" y="746777"/>
                        <a:pt x="2920377" y="741131"/>
                      </a:cubicBezTo>
                      <a:cubicBezTo>
                        <a:pt x="2919124" y="749564"/>
                        <a:pt x="2912612" y="741682"/>
                        <a:pt x="2907248" y="741296"/>
                      </a:cubicBezTo>
                      <a:cubicBezTo>
                        <a:pt x="2907272" y="741624"/>
                        <a:pt x="2907893" y="742759"/>
                        <a:pt x="2907893" y="742865"/>
                      </a:cubicBezTo>
                      <a:cubicBezTo>
                        <a:pt x="2904695" y="744341"/>
                        <a:pt x="2901826" y="747046"/>
                        <a:pt x="2899636" y="749295"/>
                      </a:cubicBezTo>
                      <a:cubicBezTo>
                        <a:pt x="2899975" y="749833"/>
                        <a:pt x="2900713" y="749974"/>
                        <a:pt x="2901404" y="750583"/>
                      </a:cubicBezTo>
                      <a:cubicBezTo>
                        <a:pt x="2899355" y="752761"/>
                        <a:pt x="2900022" y="761802"/>
                        <a:pt x="2892878" y="759612"/>
                      </a:cubicBezTo>
                      <a:cubicBezTo>
                        <a:pt x="2889119" y="767963"/>
                        <a:pt x="2881120" y="766358"/>
                        <a:pt x="2873636" y="767494"/>
                      </a:cubicBezTo>
                      <a:cubicBezTo>
                        <a:pt x="2865134" y="768783"/>
                        <a:pt x="2858727" y="766815"/>
                        <a:pt x="2849686" y="767518"/>
                      </a:cubicBezTo>
                      <a:cubicBezTo>
                        <a:pt x="2834496" y="768689"/>
                        <a:pt x="2838490" y="778011"/>
                        <a:pt x="2845634" y="787263"/>
                      </a:cubicBezTo>
                      <a:cubicBezTo>
                        <a:pt x="2848000" y="790332"/>
                        <a:pt x="2850846" y="790109"/>
                        <a:pt x="2852111" y="793939"/>
                      </a:cubicBezTo>
                      <a:cubicBezTo>
                        <a:pt x="2853574" y="798401"/>
                        <a:pt x="2848281" y="808239"/>
                        <a:pt x="2842765" y="808028"/>
                      </a:cubicBezTo>
                      <a:cubicBezTo>
                        <a:pt x="2843011" y="807735"/>
                        <a:pt x="2843256" y="807431"/>
                        <a:pt x="2843491" y="807138"/>
                      </a:cubicBezTo>
                      <a:cubicBezTo>
                        <a:pt x="2840375" y="807278"/>
                        <a:pt x="2841312" y="807559"/>
                        <a:pt x="2839954" y="805428"/>
                      </a:cubicBezTo>
                      <a:cubicBezTo>
                        <a:pt x="2838431" y="804444"/>
                        <a:pt x="2838127" y="805498"/>
                        <a:pt x="2837401" y="802312"/>
                      </a:cubicBezTo>
                      <a:cubicBezTo>
                        <a:pt x="2823897" y="805323"/>
                        <a:pt x="2813638" y="802020"/>
                        <a:pt x="2799198" y="800181"/>
                      </a:cubicBezTo>
                      <a:cubicBezTo>
                        <a:pt x="2799221" y="799959"/>
                        <a:pt x="2800135" y="799431"/>
                        <a:pt x="2800240" y="798893"/>
                      </a:cubicBezTo>
                      <a:cubicBezTo>
                        <a:pt x="2796071" y="797886"/>
                        <a:pt x="2794267" y="799994"/>
                        <a:pt x="2790625" y="798155"/>
                      </a:cubicBezTo>
                      <a:cubicBezTo>
                        <a:pt x="2791984" y="797300"/>
                        <a:pt x="2792873" y="796012"/>
                        <a:pt x="2794536" y="795180"/>
                      </a:cubicBezTo>
                      <a:cubicBezTo>
                        <a:pt x="2791152" y="793623"/>
                        <a:pt x="2786608" y="791913"/>
                        <a:pt x="2789161" y="789207"/>
                      </a:cubicBezTo>
                      <a:cubicBezTo>
                        <a:pt x="2784781" y="779405"/>
                        <a:pt x="2779464" y="783024"/>
                        <a:pt x="2774135" y="788271"/>
                      </a:cubicBezTo>
                      <a:cubicBezTo>
                        <a:pt x="2771699" y="786010"/>
                        <a:pt x="2771020" y="786467"/>
                        <a:pt x="2768455" y="785764"/>
                      </a:cubicBezTo>
                      <a:cubicBezTo>
                        <a:pt x="2769122" y="786256"/>
                        <a:pt x="2770329" y="787287"/>
                        <a:pt x="2770973" y="787943"/>
                      </a:cubicBezTo>
                      <a:cubicBezTo>
                        <a:pt x="2764590" y="791058"/>
                        <a:pt x="2765550" y="791514"/>
                        <a:pt x="2763115" y="796644"/>
                      </a:cubicBezTo>
                      <a:cubicBezTo>
                        <a:pt x="2761358" y="800357"/>
                        <a:pt x="2760151" y="809105"/>
                        <a:pt x="2758442" y="810183"/>
                      </a:cubicBezTo>
                      <a:cubicBezTo>
                        <a:pt x="2758407" y="809691"/>
                        <a:pt x="2759285" y="809293"/>
                        <a:pt x="2759168" y="808836"/>
                      </a:cubicBezTo>
                      <a:cubicBezTo>
                        <a:pt x="2754647" y="809386"/>
                        <a:pt x="2753570" y="813614"/>
                        <a:pt x="2751075" y="816835"/>
                      </a:cubicBezTo>
                      <a:cubicBezTo>
                        <a:pt x="2747901" y="820911"/>
                        <a:pt x="2744751" y="822175"/>
                        <a:pt x="2741167" y="825630"/>
                      </a:cubicBezTo>
                      <a:cubicBezTo>
                        <a:pt x="2738075" y="828617"/>
                        <a:pt x="2737501" y="834765"/>
                        <a:pt x="2732009" y="836955"/>
                      </a:cubicBezTo>
                      <a:cubicBezTo>
                        <a:pt x="2731821" y="836815"/>
                        <a:pt x="2733765" y="837213"/>
                        <a:pt x="2733824" y="837225"/>
                      </a:cubicBezTo>
                      <a:cubicBezTo>
                        <a:pt x="2731634" y="838993"/>
                        <a:pt x="2709815" y="838091"/>
                        <a:pt x="2716468" y="845915"/>
                      </a:cubicBezTo>
                      <a:cubicBezTo>
                        <a:pt x="2710377" y="844943"/>
                        <a:pt x="2709394" y="847062"/>
                        <a:pt x="2704697" y="850564"/>
                      </a:cubicBezTo>
                      <a:cubicBezTo>
                        <a:pt x="2703913" y="851150"/>
                        <a:pt x="2702777" y="854066"/>
                        <a:pt x="2702121" y="854382"/>
                      </a:cubicBezTo>
                      <a:cubicBezTo>
                        <a:pt x="2700903" y="854968"/>
                        <a:pt x="2697495" y="853024"/>
                        <a:pt x="2695726" y="853504"/>
                      </a:cubicBezTo>
                      <a:cubicBezTo>
                        <a:pt x="2693712" y="854054"/>
                        <a:pt x="2685502" y="858141"/>
                        <a:pt x="2683453" y="859957"/>
                      </a:cubicBezTo>
                      <a:cubicBezTo>
                        <a:pt x="2680349" y="862685"/>
                        <a:pt x="2684355" y="863060"/>
                        <a:pt x="2681204" y="865250"/>
                      </a:cubicBezTo>
                      <a:cubicBezTo>
                        <a:pt x="2679318" y="866562"/>
                        <a:pt x="2676566" y="864782"/>
                        <a:pt x="2675407" y="863552"/>
                      </a:cubicBezTo>
                      <a:cubicBezTo>
                        <a:pt x="2671589" y="870064"/>
                        <a:pt x="2665031" y="873237"/>
                        <a:pt x="2659526" y="877208"/>
                      </a:cubicBezTo>
                      <a:cubicBezTo>
                        <a:pt x="2656411" y="879445"/>
                        <a:pt x="2651070" y="883380"/>
                        <a:pt x="2648798" y="886565"/>
                      </a:cubicBezTo>
                      <a:cubicBezTo>
                        <a:pt x="2646608" y="889634"/>
                        <a:pt x="2647217" y="892351"/>
                        <a:pt x="2644617" y="895970"/>
                      </a:cubicBezTo>
                      <a:cubicBezTo>
                        <a:pt x="2641057" y="900935"/>
                        <a:pt x="2633468" y="904730"/>
                        <a:pt x="2627671" y="904871"/>
                      </a:cubicBezTo>
                      <a:cubicBezTo>
                        <a:pt x="2623806" y="904976"/>
                        <a:pt x="2609249" y="904706"/>
                        <a:pt x="2610818" y="898300"/>
                      </a:cubicBezTo>
                      <a:cubicBezTo>
                        <a:pt x="2608218" y="900795"/>
                        <a:pt x="2608710" y="905116"/>
                        <a:pt x="2605922" y="907564"/>
                      </a:cubicBezTo>
                      <a:cubicBezTo>
                        <a:pt x="2602374" y="903512"/>
                        <a:pt x="2595511" y="915095"/>
                        <a:pt x="2598310" y="904144"/>
                      </a:cubicBezTo>
                      <a:cubicBezTo>
                        <a:pt x="2596342" y="907435"/>
                        <a:pt x="2591365" y="907154"/>
                        <a:pt x="2589713" y="904601"/>
                      </a:cubicBezTo>
                      <a:cubicBezTo>
                        <a:pt x="2589432" y="904706"/>
                        <a:pt x="2589187" y="904859"/>
                        <a:pt x="2588988" y="905093"/>
                      </a:cubicBezTo>
                      <a:cubicBezTo>
                        <a:pt x="2589468" y="905936"/>
                        <a:pt x="2589889" y="907529"/>
                        <a:pt x="2590405" y="908477"/>
                      </a:cubicBezTo>
                      <a:cubicBezTo>
                        <a:pt x="2589620" y="908513"/>
                        <a:pt x="2588332" y="908267"/>
                        <a:pt x="2587512" y="908431"/>
                      </a:cubicBezTo>
                      <a:cubicBezTo>
                        <a:pt x="2596249" y="913596"/>
                        <a:pt x="2578939" y="912577"/>
                        <a:pt x="2575390" y="913876"/>
                      </a:cubicBezTo>
                      <a:cubicBezTo>
                        <a:pt x="2576386" y="916442"/>
                        <a:pt x="2575531" y="915727"/>
                        <a:pt x="2573680" y="916723"/>
                      </a:cubicBezTo>
                      <a:cubicBezTo>
                        <a:pt x="2572076" y="917589"/>
                        <a:pt x="2569500" y="916500"/>
                        <a:pt x="2568656" y="916840"/>
                      </a:cubicBezTo>
                      <a:cubicBezTo>
                        <a:pt x="2566736" y="917612"/>
                        <a:pt x="2565611" y="919967"/>
                        <a:pt x="2563749" y="920833"/>
                      </a:cubicBezTo>
                      <a:cubicBezTo>
                        <a:pt x="2560482" y="922356"/>
                        <a:pt x="2555387" y="925693"/>
                        <a:pt x="2553256" y="925202"/>
                      </a:cubicBezTo>
                      <a:cubicBezTo>
                        <a:pt x="2553010" y="929102"/>
                        <a:pt x="2545667" y="929383"/>
                        <a:pt x="2542376" y="931280"/>
                      </a:cubicBezTo>
                      <a:cubicBezTo>
                        <a:pt x="2538757" y="933364"/>
                        <a:pt x="2530582" y="940883"/>
                        <a:pt x="2529844" y="944901"/>
                      </a:cubicBezTo>
                      <a:cubicBezTo>
                        <a:pt x="2531179" y="944924"/>
                        <a:pt x="2531730" y="945334"/>
                        <a:pt x="2532877" y="945685"/>
                      </a:cubicBezTo>
                      <a:cubicBezTo>
                        <a:pt x="2525652" y="947606"/>
                        <a:pt x="2526296" y="951951"/>
                        <a:pt x="2518589" y="952021"/>
                      </a:cubicBezTo>
                      <a:cubicBezTo>
                        <a:pt x="2519444" y="952712"/>
                        <a:pt x="2519737" y="953415"/>
                        <a:pt x="2520381" y="954071"/>
                      </a:cubicBezTo>
                      <a:cubicBezTo>
                        <a:pt x="2518613" y="953169"/>
                        <a:pt x="2517173" y="952982"/>
                        <a:pt x="2515369" y="952396"/>
                      </a:cubicBezTo>
                      <a:cubicBezTo>
                        <a:pt x="2515814" y="952642"/>
                        <a:pt x="2521377" y="958041"/>
                        <a:pt x="2517383" y="957807"/>
                      </a:cubicBezTo>
                      <a:cubicBezTo>
                        <a:pt x="2514432" y="957619"/>
                        <a:pt x="2513190" y="953473"/>
                        <a:pt x="2510040" y="952771"/>
                      </a:cubicBezTo>
                      <a:cubicBezTo>
                        <a:pt x="2510134" y="953005"/>
                        <a:pt x="2510790" y="954176"/>
                        <a:pt x="2510766" y="954516"/>
                      </a:cubicBezTo>
                      <a:cubicBezTo>
                        <a:pt x="2508365" y="953754"/>
                        <a:pt x="2507569" y="954797"/>
                        <a:pt x="2505379" y="954890"/>
                      </a:cubicBezTo>
                      <a:cubicBezTo>
                        <a:pt x="2505578" y="957080"/>
                        <a:pt x="2506351" y="956553"/>
                        <a:pt x="2502861" y="958263"/>
                      </a:cubicBezTo>
                      <a:cubicBezTo>
                        <a:pt x="2503704" y="958275"/>
                        <a:pt x="2509431" y="959341"/>
                        <a:pt x="2508928" y="961191"/>
                      </a:cubicBezTo>
                      <a:cubicBezTo>
                        <a:pt x="2508084" y="964353"/>
                        <a:pt x="2505508" y="962093"/>
                        <a:pt x="2502181" y="963030"/>
                      </a:cubicBezTo>
                      <a:cubicBezTo>
                        <a:pt x="2497626" y="964295"/>
                        <a:pt x="2497392" y="964998"/>
                        <a:pt x="2492051" y="965782"/>
                      </a:cubicBezTo>
                      <a:cubicBezTo>
                        <a:pt x="2488842" y="966251"/>
                        <a:pt x="2485868" y="967082"/>
                        <a:pt x="2483572" y="968277"/>
                      </a:cubicBezTo>
                      <a:cubicBezTo>
                        <a:pt x="2484041" y="968195"/>
                        <a:pt x="2484509" y="968195"/>
                        <a:pt x="2484989" y="968277"/>
                      </a:cubicBezTo>
                      <a:cubicBezTo>
                        <a:pt x="2482904" y="972106"/>
                        <a:pt x="2480199" y="972095"/>
                        <a:pt x="2478208" y="968722"/>
                      </a:cubicBezTo>
                      <a:cubicBezTo>
                        <a:pt x="2478478" y="966426"/>
                        <a:pt x="2477974" y="962784"/>
                        <a:pt x="2479976" y="960746"/>
                      </a:cubicBezTo>
                      <a:cubicBezTo>
                        <a:pt x="2478958" y="960746"/>
                        <a:pt x="2477950" y="960746"/>
                        <a:pt x="2476932" y="960746"/>
                      </a:cubicBezTo>
                      <a:cubicBezTo>
                        <a:pt x="2478161" y="956167"/>
                        <a:pt x="2483654" y="958474"/>
                        <a:pt x="2487437" y="956588"/>
                      </a:cubicBezTo>
                      <a:cubicBezTo>
                        <a:pt x="2490365" y="955136"/>
                        <a:pt x="2490165" y="954082"/>
                        <a:pt x="2493527" y="952583"/>
                      </a:cubicBezTo>
                      <a:cubicBezTo>
                        <a:pt x="2496302" y="951354"/>
                        <a:pt x="2506878" y="953380"/>
                        <a:pt x="2507967" y="946821"/>
                      </a:cubicBezTo>
                      <a:cubicBezTo>
                        <a:pt x="2508611" y="942980"/>
                        <a:pt x="2499816" y="944162"/>
                        <a:pt x="2505250" y="940181"/>
                      </a:cubicBezTo>
                      <a:cubicBezTo>
                        <a:pt x="2504501" y="939572"/>
                        <a:pt x="2503669" y="939185"/>
                        <a:pt x="2503001" y="938471"/>
                      </a:cubicBezTo>
                      <a:cubicBezTo>
                        <a:pt x="2506656" y="938588"/>
                        <a:pt x="2507651" y="936480"/>
                        <a:pt x="2510731" y="935074"/>
                      </a:cubicBezTo>
                      <a:cubicBezTo>
                        <a:pt x="2509958" y="935426"/>
                        <a:pt x="2514760" y="932076"/>
                        <a:pt x="2514701" y="932111"/>
                      </a:cubicBezTo>
                      <a:cubicBezTo>
                        <a:pt x="2516001" y="931233"/>
                        <a:pt x="2519726" y="931256"/>
                        <a:pt x="2521412" y="930191"/>
                      </a:cubicBezTo>
                      <a:cubicBezTo>
                        <a:pt x="2521201" y="929828"/>
                        <a:pt x="2521014" y="929465"/>
                        <a:pt x="2520803" y="929102"/>
                      </a:cubicBezTo>
                      <a:cubicBezTo>
                        <a:pt x="2517372" y="931537"/>
                        <a:pt x="2513214" y="930858"/>
                        <a:pt x="2509150" y="930413"/>
                      </a:cubicBezTo>
                      <a:cubicBezTo>
                        <a:pt x="2509326" y="930905"/>
                        <a:pt x="2509490" y="931397"/>
                        <a:pt x="2509665" y="931901"/>
                      </a:cubicBezTo>
                      <a:cubicBezTo>
                        <a:pt x="2507557" y="932041"/>
                        <a:pt x="2502123" y="933388"/>
                        <a:pt x="2500249" y="932404"/>
                      </a:cubicBezTo>
                      <a:cubicBezTo>
                        <a:pt x="2497134" y="930777"/>
                        <a:pt x="2498516" y="927521"/>
                        <a:pt x="2496291" y="925647"/>
                      </a:cubicBezTo>
                      <a:cubicBezTo>
                        <a:pt x="2492168" y="922168"/>
                        <a:pt x="2490201" y="925120"/>
                        <a:pt x="2486687" y="923199"/>
                      </a:cubicBezTo>
                      <a:cubicBezTo>
                        <a:pt x="2480164" y="919627"/>
                        <a:pt x="2497731" y="914228"/>
                        <a:pt x="2499640" y="916816"/>
                      </a:cubicBezTo>
                      <a:cubicBezTo>
                        <a:pt x="2502779" y="911253"/>
                        <a:pt x="2493620" y="910340"/>
                        <a:pt x="2498293" y="904378"/>
                      </a:cubicBezTo>
                      <a:cubicBezTo>
                        <a:pt x="2500296" y="901825"/>
                        <a:pt x="2522583" y="893779"/>
                        <a:pt x="2515357" y="891953"/>
                      </a:cubicBezTo>
                      <a:cubicBezTo>
                        <a:pt x="2519374" y="891027"/>
                        <a:pt x="2525195" y="885394"/>
                        <a:pt x="2523930" y="881834"/>
                      </a:cubicBezTo>
                      <a:cubicBezTo>
                        <a:pt x="2528146" y="881447"/>
                        <a:pt x="2535606" y="869923"/>
                        <a:pt x="2534997" y="867007"/>
                      </a:cubicBezTo>
                      <a:cubicBezTo>
                        <a:pt x="2537949" y="866515"/>
                        <a:pt x="2540654" y="863775"/>
                        <a:pt x="2539225" y="860460"/>
                      </a:cubicBezTo>
                      <a:cubicBezTo>
                        <a:pt x="2536426" y="853996"/>
                        <a:pt x="2530172" y="858844"/>
                        <a:pt x="2532678" y="850049"/>
                      </a:cubicBezTo>
                      <a:cubicBezTo>
                        <a:pt x="2529388" y="852274"/>
                        <a:pt x="2508845" y="840293"/>
                        <a:pt x="2517828" y="832200"/>
                      </a:cubicBezTo>
                      <a:cubicBezTo>
                        <a:pt x="2511106" y="833172"/>
                        <a:pt x="2514069" y="840563"/>
                        <a:pt x="2505836" y="841031"/>
                      </a:cubicBezTo>
                      <a:cubicBezTo>
                        <a:pt x="2500144" y="841359"/>
                        <a:pt x="2497333" y="837084"/>
                        <a:pt x="2492777" y="836253"/>
                      </a:cubicBezTo>
                      <a:cubicBezTo>
                        <a:pt x="2486804" y="835152"/>
                        <a:pt x="2477095" y="836288"/>
                        <a:pt x="2474812" y="844111"/>
                      </a:cubicBezTo>
                      <a:cubicBezTo>
                        <a:pt x="2471568" y="840199"/>
                        <a:pt x="2469331" y="843889"/>
                        <a:pt x="2469050" y="847636"/>
                      </a:cubicBezTo>
                      <a:cubicBezTo>
                        <a:pt x="2470771" y="847777"/>
                        <a:pt x="2472001" y="848702"/>
                        <a:pt x="2473301" y="848948"/>
                      </a:cubicBezTo>
                      <a:cubicBezTo>
                        <a:pt x="2465899" y="851477"/>
                        <a:pt x="2464798" y="851841"/>
                        <a:pt x="2460219" y="857216"/>
                      </a:cubicBezTo>
                      <a:cubicBezTo>
                        <a:pt x="2456214" y="861901"/>
                        <a:pt x="2451963" y="866457"/>
                        <a:pt x="2448168" y="869736"/>
                      </a:cubicBezTo>
                      <a:cubicBezTo>
                        <a:pt x="2448941" y="869818"/>
                        <a:pt x="2449761" y="869689"/>
                        <a:pt x="2450733" y="869654"/>
                      </a:cubicBezTo>
                      <a:cubicBezTo>
                        <a:pt x="2446271" y="872898"/>
                        <a:pt x="2447547" y="877723"/>
                        <a:pt x="2442793" y="881365"/>
                      </a:cubicBezTo>
                      <a:cubicBezTo>
                        <a:pt x="2440509" y="883111"/>
                        <a:pt x="2431877" y="884926"/>
                        <a:pt x="2428504" y="886296"/>
                      </a:cubicBezTo>
                      <a:cubicBezTo>
                        <a:pt x="2420342" y="889645"/>
                        <a:pt x="2416184" y="892468"/>
                        <a:pt x="2409227" y="895583"/>
                      </a:cubicBezTo>
                      <a:cubicBezTo>
                        <a:pt x="2405011" y="897469"/>
                        <a:pt x="2393147" y="897726"/>
                        <a:pt x="2395560" y="904730"/>
                      </a:cubicBezTo>
                      <a:cubicBezTo>
                        <a:pt x="2390840" y="904109"/>
                        <a:pt x="2387795" y="907962"/>
                        <a:pt x="2385429" y="911405"/>
                      </a:cubicBezTo>
                      <a:cubicBezTo>
                        <a:pt x="2382712" y="915364"/>
                        <a:pt x="2381061" y="917741"/>
                        <a:pt x="2378801" y="920950"/>
                      </a:cubicBezTo>
                      <a:cubicBezTo>
                        <a:pt x="2379000" y="921033"/>
                        <a:pt x="2380194" y="919697"/>
                        <a:pt x="2380569" y="919685"/>
                      </a:cubicBezTo>
                      <a:cubicBezTo>
                        <a:pt x="2380698" y="919803"/>
                        <a:pt x="2379515" y="921513"/>
                        <a:pt x="2379843" y="921817"/>
                      </a:cubicBezTo>
                      <a:cubicBezTo>
                        <a:pt x="2380815" y="920388"/>
                        <a:pt x="2381951" y="919896"/>
                        <a:pt x="2382560" y="919416"/>
                      </a:cubicBezTo>
                      <a:cubicBezTo>
                        <a:pt x="2379691" y="924054"/>
                        <a:pt x="2384820" y="925190"/>
                        <a:pt x="2383567" y="928762"/>
                      </a:cubicBezTo>
                      <a:cubicBezTo>
                        <a:pt x="2382244" y="932568"/>
                        <a:pt x="2379890" y="930940"/>
                        <a:pt x="2378250" y="932498"/>
                      </a:cubicBezTo>
                      <a:cubicBezTo>
                        <a:pt x="2373156" y="937370"/>
                        <a:pt x="2369174" y="944397"/>
                        <a:pt x="2362381" y="946985"/>
                      </a:cubicBezTo>
                      <a:cubicBezTo>
                        <a:pt x="2363752" y="945849"/>
                        <a:pt x="2364993" y="943975"/>
                        <a:pt x="2366328" y="942781"/>
                      </a:cubicBezTo>
                      <a:cubicBezTo>
                        <a:pt x="2365005" y="943390"/>
                        <a:pt x="2363072" y="943390"/>
                        <a:pt x="2361667" y="944034"/>
                      </a:cubicBezTo>
                      <a:cubicBezTo>
                        <a:pt x="2361620" y="943378"/>
                        <a:pt x="2361620" y="942148"/>
                        <a:pt x="2361315" y="941528"/>
                      </a:cubicBezTo>
                      <a:cubicBezTo>
                        <a:pt x="2357896" y="947594"/>
                        <a:pt x="2353082" y="944034"/>
                        <a:pt x="2347671" y="944947"/>
                      </a:cubicBezTo>
                      <a:cubicBezTo>
                        <a:pt x="2342296" y="945849"/>
                        <a:pt x="2340387" y="951564"/>
                        <a:pt x="2334121" y="952361"/>
                      </a:cubicBezTo>
                      <a:cubicBezTo>
                        <a:pt x="2326064" y="953380"/>
                        <a:pt x="2326649" y="945369"/>
                        <a:pt x="2320770" y="942219"/>
                      </a:cubicBezTo>
                      <a:cubicBezTo>
                        <a:pt x="2312209" y="937616"/>
                        <a:pt x="2307794" y="947219"/>
                        <a:pt x="2300884" y="947782"/>
                      </a:cubicBezTo>
                      <a:cubicBezTo>
                        <a:pt x="2302441" y="949855"/>
                        <a:pt x="2303894" y="952794"/>
                        <a:pt x="2304023" y="955734"/>
                      </a:cubicBezTo>
                      <a:cubicBezTo>
                        <a:pt x="2302933" y="955230"/>
                        <a:pt x="2301411" y="955441"/>
                        <a:pt x="2300193" y="954867"/>
                      </a:cubicBezTo>
                      <a:cubicBezTo>
                        <a:pt x="2299490" y="962854"/>
                        <a:pt x="2291128" y="969788"/>
                        <a:pt x="2293119" y="978184"/>
                      </a:cubicBezTo>
                      <a:cubicBezTo>
                        <a:pt x="2295860" y="989697"/>
                        <a:pt x="2306260" y="998340"/>
                        <a:pt x="2315184" y="1003294"/>
                      </a:cubicBezTo>
                      <a:cubicBezTo>
                        <a:pt x="2321824" y="1006983"/>
                        <a:pt x="2330409" y="1008166"/>
                        <a:pt x="2340083" y="1009056"/>
                      </a:cubicBezTo>
                      <a:cubicBezTo>
                        <a:pt x="2344299" y="1009454"/>
                        <a:pt x="2343104" y="1009946"/>
                        <a:pt x="2346594" y="1009267"/>
                      </a:cubicBezTo>
                      <a:cubicBezTo>
                        <a:pt x="2350646" y="1008482"/>
                        <a:pt x="2354956" y="1003950"/>
                        <a:pt x="2360343" y="1006515"/>
                      </a:cubicBezTo>
                      <a:cubicBezTo>
                        <a:pt x="2364770" y="1008623"/>
                        <a:pt x="2366387" y="1013905"/>
                        <a:pt x="2369771" y="1018226"/>
                      </a:cubicBezTo>
                      <a:cubicBezTo>
                        <a:pt x="2373355" y="1022806"/>
                        <a:pt x="2382630" y="1028357"/>
                        <a:pt x="2381248" y="1035138"/>
                      </a:cubicBezTo>
                      <a:cubicBezTo>
                        <a:pt x="2374221" y="1033135"/>
                        <a:pt x="2373612" y="1028650"/>
                        <a:pt x="2368822" y="1035138"/>
                      </a:cubicBezTo>
                      <a:cubicBezTo>
                        <a:pt x="2365801" y="1039249"/>
                        <a:pt x="2365356" y="1044530"/>
                        <a:pt x="2365274" y="1049566"/>
                      </a:cubicBezTo>
                      <a:cubicBezTo>
                        <a:pt x="2365028" y="1063409"/>
                        <a:pt x="2379878" y="1067848"/>
                        <a:pt x="2392281" y="1067719"/>
                      </a:cubicBezTo>
                      <a:cubicBezTo>
                        <a:pt x="2397785" y="1067661"/>
                        <a:pt x="2404543" y="1067614"/>
                        <a:pt x="2408876" y="1065061"/>
                      </a:cubicBezTo>
                      <a:cubicBezTo>
                        <a:pt x="2418362" y="1059498"/>
                        <a:pt x="2409860" y="1059006"/>
                        <a:pt x="2412998" y="1053724"/>
                      </a:cubicBezTo>
                      <a:cubicBezTo>
                        <a:pt x="2413877" y="1052260"/>
                        <a:pt x="2449679" y="1034482"/>
                        <a:pt x="2431327" y="1034388"/>
                      </a:cubicBezTo>
                      <a:cubicBezTo>
                        <a:pt x="2443823" y="1034564"/>
                        <a:pt x="2457854" y="1020943"/>
                        <a:pt x="2468991" y="1027279"/>
                      </a:cubicBezTo>
                      <a:cubicBezTo>
                        <a:pt x="2468839" y="1027198"/>
                        <a:pt x="2471849" y="1030617"/>
                        <a:pt x="2472833" y="1031261"/>
                      </a:cubicBezTo>
                      <a:cubicBezTo>
                        <a:pt x="2474355" y="1032268"/>
                        <a:pt x="2478501" y="1032257"/>
                        <a:pt x="2479719" y="1033709"/>
                      </a:cubicBezTo>
                      <a:cubicBezTo>
                        <a:pt x="2481300" y="1035629"/>
                        <a:pt x="2477412" y="1038557"/>
                        <a:pt x="2481183" y="1040829"/>
                      </a:cubicBezTo>
                      <a:cubicBezTo>
                        <a:pt x="2484638" y="1042914"/>
                        <a:pt x="2491747" y="1040689"/>
                        <a:pt x="2490704" y="1037164"/>
                      </a:cubicBezTo>
                      <a:cubicBezTo>
                        <a:pt x="2492157" y="1037609"/>
                        <a:pt x="2493620" y="1038511"/>
                        <a:pt x="2494663" y="1039635"/>
                      </a:cubicBezTo>
                      <a:cubicBezTo>
                        <a:pt x="2489346" y="1041345"/>
                        <a:pt x="2501268" y="1052108"/>
                        <a:pt x="2507510" y="1049145"/>
                      </a:cubicBezTo>
                      <a:cubicBezTo>
                        <a:pt x="2505145" y="1048442"/>
                        <a:pt x="2506058" y="1047985"/>
                        <a:pt x="2502873" y="1048278"/>
                      </a:cubicBezTo>
                      <a:cubicBezTo>
                        <a:pt x="2506058" y="1045139"/>
                        <a:pt x="2517805" y="1047318"/>
                        <a:pt x="2522173" y="1047903"/>
                      </a:cubicBezTo>
                      <a:cubicBezTo>
                        <a:pt x="2522771" y="1052459"/>
                        <a:pt x="2525851" y="1044765"/>
                        <a:pt x="2527888" y="1041708"/>
                      </a:cubicBezTo>
                      <a:cubicBezTo>
                        <a:pt x="2534857" y="1041286"/>
                        <a:pt x="2529235" y="1046861"/>
                        <a:pt x="2533943" y="1050410"/>
                      </a:cubicBezTo>
                      <a:cubicBezTo>
                        <a:pt x="2536707" y="1046158"/>
                        <a:pt x="2547798" y="1050855"/>
                        <a:pt x="2553092" y="1051253"/>
                      </a:cubicBezTo>
                      <a:cubicBezTo>
                        <a:pt x="2568024" y="1052389"/>
                        <a:pt x="2551288" y="1050714"/>
                        <a:pt x="2555422" y="1057811"/>
                      </a:cubicBezTo>
                      <a:cubicBezTo>
                        <a:pt x="2554919" y="1057542"/>
                        <a:pt x="2553490" y="1056699"/>
                        <a:pt x="2553057" y="1056347"/>
                      </a:cubicBezTo>
                      <a:cubicBezTo>
                        <a:pt x="2553806" y="1059322"/>
                        <a:pt x="2555364" y="1062109"/>
                        <a:pt x="2557203" y="1063972"/>
                      </a:cubicBezTo>
                      <a:cubicBezTo>
                        <a:pt x="2553209" y="1066267"/>
                        <a:pt x="2555985" y="1064007"/>
                        <a:pt x="2554357" y="1066876"/>
                      </a:cubicBezTo>
                      <a:cubicBezTo>
                        <a:pt x="2551019" y="1066619"/>
                        <a:pt x="2550597" y="1066150"/>
                        <a:pt x="2548629" y="1068926"/>
                      </a:cubicBezTo>
                      <a:cubicBezTo>
                        <a:pt x="2548536" y="1068644"/>
                        <a:pt x="2548548" y="1066841"/>
                        <a:pt x="2548629" y="1066443"/>
                      </a:cubicBezTo>
                      <a:cubicBezTo>
                        <a:pt x="2547517" y="1069171"/>
                        <a:pt x="2547857" y="1072755"/>
                        <a:pt x="2545760" y="1075180"/>
                      </a:cubicBezTo>
                      <a:cubicBezTo>
                        <a:pt x="2547517" y="1073985"/>
                        <a:pt x="2549602" y="1073622"/>
                        <a:pt x="2552576" y="1073891"/>
                      </a:cubicBezTo>
                      <a:cubicBezTo>
                        <a:pt x="2552729" y="1076761"/>
                        <a:pt x="2552143" y="1079606"/>
                        <a:pt x="2550866" y="1081668"/>
                      </a:cubicBezTo>
                      <a:cubicBezTo>
                        <a:pt x="2550866" y="1081679"/>
                        <a:pt x="2551171" y="1079712"/>
                        <a:pt x="2551147" y="1079466"/>
                      </a:cubicBezTo>
                      <a:cubicBezTo>
                        <a:pt x="2549977" y="1079478"/>
                        <a:pt x="2546896" y="1079888"/>
                        <a:pt x="2545549" y="1080215"/>
                      </a:cubicBezTo>
                      <a:cubicBezTo>
                        <a:pt x="2552272" y="1090158"/>
                        <a:pt x="2524480" y="1081515"/>
                        <a:pt x="2538253" y="1081656"/>
                      </a:cubicBezTo>
                      <a:cubicBezTo>
                        <a:pt x="2534107" y="1080848"/>
                        <a:pt x="2532409" y="1077861"/>
                        <a:pt x="2533065" y="1074688"/>
                      </a:cubicBezTo>
                      <a:cubicBezTo>
                        <a:pt x="2532245" y="1078787"/>
                        <a:pt x="2529516" y="1079150"/>
                        <a:pt x="2526120" y="1081656"/>
                      </a:cubicBezTo>
                      <a:cubicBezTo>
                        <a:pt x="2526776" y="1080215"/>
                        <a:pt x="2526565" y="1078424"/>
                        <a:pt x="2527209" y="1077018"/>
                      </a:cubicBezTo>
                      <a:cubicBezTo>
                        <a:pt x="2525019" y="1075988"/>
                        <a:pt x="2522220" y="1075800"/>
                        <a:pt x="2519960" y="1076386"/>
                      </a:cubicBezTo>
                      <a:cubicBezTo>
                        <a:pt x="2520604" y="1077252"/>
                        <a:pt x="2521096" y="1078306"/>
                        <a:pt x="2521775" y="1079196"/>
                      </a:cubicBezTo>
                      <a:cubicBezTo>
                        <a:pt x="2518297" y="1081211"/>
                        <a:pt x="2510028" y="1086142"/>
                        <a:pt x="2506105" y="1086551"/>
                      </a:cubicBezTo>
                      <a:cubicBezTo>
                        <a:pt x="2506398" y="1086013"/>
                        <a:pt x="2507510" y="1085333"/>
                        <a:pt x="2507909" y="1084959"/>
                      </a:cubicBezTo>
                      <a:cubicBezTo>
                        <a:pt x="2504594" y="1085521"/>
                        <a:pt x="2504067" y="1088425"/>
                        <a:pt x="2504840" y="1091084"/>
                      </a:cubicBezTo>
                      <a:cubicBezTo>
                        <a:pt x="2499429" y="1087652"/>
                        <a:pt x="2496841" y="1090592"/>
                        <a:pt x="2503903" y="1084818"/>
                      </a:cubicBezTo>
                      <a:cubicBezTo>
                        <a:pt x="2501198" y="1086247"/>
                        <a:pt x="2498504" y="1087020"/>
                        <a:pt x="2496197" y="1085790"/>
                      </a:cubicBezTo>
                      <a:cubicBezTo>
                        <a:pt x="2497907" y="1090943"/>
                        <a:pt x="2491021" y="1089713"/>
                        <a:pt x="2493176" y="1092759"/>
                      </a:cubicBezTo>
                      <a:cubicBezTo>
                        <a:pt x="2486933" y="1092477"/>
                        <a:pt x="2477810" y="1099657"/>
                        <a:pt x="2473922" y="1098029"/>
                      </a:cubicBezTo>
                      <a:cubicBezTo>
                        <a:pt x="2472446" y="1103358"/>
                        <a:pt x="2464728" y="1094070"/>
                        <a:pt x="2459095" y="1099387"/>
                      </a:cubicBezTo>
                      <a:cubicBezTo>
                        <a:pt x="2453614" y="1104564"/>
                        <a:pt x="2466016" y="1100148"/>
                        <a:pt x="2463475" y="1099575"/>
                      </a:cubicBezTo>
                      <a:cubicBezTo>
                        <a:pt x="2466895" y="1100347"/>
                        <a:pt x="2467059" y="1103744"/>
                        <a:pt x="2470315" y="1102596"/>
                      </a:cubicBezTo>
                      <a:cubicBezTo>
                        <a:pt x="2470116" y="1104400"/>
                        <a:pt x="2469811" y="1106133"/>
                        <a:pt x="2469600" y="1107902"/>
                      </a:cubicBezTo>
                      <a:cubicBezTo>
                        <a:pt x="2469026" y="1108265"/>
                        <a:pt x="2466005" y="1112118"/>
                        <a:pt x="2466075" y="1112106"/>
                      </a:cubicBezTo>
                      <a:cubicBezTo>
                        <a:pt x="2463112" y="1112586"/>
                        <a:pt x="2464400" y="1107925"/>
                        <a:pt x="2462796" y="1107866"/>
                      </a:cubicBezTo>
                      <a:cubicBezTo>
                        <a:pt x="2458697" y="1107714"/>
                        <a:pt x="2453672" y="1111122"/>
                        <a:pt x="2457713" y="1115584"/>
                      </a:cubicBezTo>
                      <a:cubicBezTo>
                        <a:pt x="2452806" y="1114483"/>
                        <a:pt x="2455031" y="1116299"/>
                        <a:pt x="2454750" y="1119098"/>
                      </a:cubicBezTo>
                      <a:cubicBezTo>
                        <a:pt x="2454000" y="1126862"/>
                        <a:pt x="2459294" y="1123595"/>
                        <a:pt x="2452419" y="1128057"/>
                      </a:cubicBezTo>
                      <a:cubicBezTo>
                        <a:pt x="2449398" y="1130013"/>
                        <a:pt x="2438998" y="1133304"/>
                        <a:pt x="2435274" y="1131594"/>
                      </a:cubicBezTo>
                      <a:cubicBezTo>
                        <a:pt x="2437663" y="1127108"/>
                        <a:pt x="2439865" y="1123185"/>
                        <a:pt x="2436023" y="1118934"/>
                      </a:cubicBezTo>
                      <a:cubicBezTo>
                        <a:pt x="2434653" y="1121803"/>
                        <a:pt x="2434395" y="1121065"/>
                        <a:pt x="2435637" y="1123864"/>
                      </a:cubicBezTo>
                      <a:cubicBezTo>
                        <a:pt x="2435391" y="1124180"/>
                        <a:pt x="2435133" y="1124485"/>
                        <a:pt x="2434887" y="1124801"/>
                      </a:cubicBezTo>
                      <a:cubicBezTo>
                        <a:pt x="2432112" y="1123185"/>
                        <a:pt x="2432639" y="1124204"/>
                        <a:pt x="2431467" y="1122061"/>
                      </a:cubicBezTo>
                      <a:cubicBezTo>
                        <a:pt x="2428504" y="1122201"/>
                        <a:pt x="2427298" y="1122330"/>
                        <a:pt x="2425120" y="1121803"/>
                      </a:cubicBezTo>
                      <a:cubicBezTo>
                        <a:pt x="2425389" y="1124661"/>
                        <a:pt x="2426888" y="1137403"/>
                        <a:pt x="2432053" y="1135295"/>
                      </a:cubicBezTo>
                      <a:cubicBezTo>
                        <a:pt x="2432041" y="1135833"/>
                        <a:pt x="2432030" y="1136372"/>
                        <a:pt x="2432018" y="1136911"/>
                      </a:cubicBezTo>
                      <a:cubicBezTo>
                        <a:pt x="2433259" y="1136138"/>
                        <a:pt x="2434009" y="1135775"/>
                        <a:pt x="2434911" y="1134639"/>
                      </a:cubicBezTo>
                      <a:cubicBezTo>
                        <a:pt x="2436363" y="1138223"/>
                        <a:pt x="2431526" y="1138305"/>
                        <a:pt x="2429195" y="1141830"/>
                      </a:cubicBezTo>
                      <a:cubicBezTo>
                        <a:pt x="2429477" y="1140893"/>
                        <a:pt x="2429512" y="1139581"/>
                        <a:pt x="2429922" y="1138551"/>
                      </a:cubicBezTo>
                      <a:cubicBezTo>
                        <a:pt x="2427040" y="1140483"/>
                        <a:pt x="2424312" y="1141689"/>
                        <a:pt x="2422075" y="1144652"/>
                      </a:cubicBezTo>
                      <a:cubicBezTo>
                        <a:pt x="2417882" y="1150227"/>
                        <a:pt x="2421501" y="1150848"/>
                        <a:pt x="2414849" y="1150988"/>
                      </a:cubicBezTo>
                      <a:cubicBezTo>
                        <a:pt x="2417261" y="1154162"/>
                        <a:pt x="2413315" y="1161938"/>
                        <a:pt x="2411710" y="1155638"/>
                      </a:cubicBezTo>
                      <a:cubicBezTo>
                        <a:pt x="2410199" y="1157125"/>
                        <a:pt x="2408068" y="1158659"/>
                        <a:pt x="2406686" y="1160510"/>
                      </a:cubicBezTo>
                      <a:cubicBezTo>
                        <a:pt x="2406534" y="1152640"/>
                        <a:pt x="2399284" y="1166049"/>
                        <a:pt x="2398289" y="1168075"/>
                      </a:cubicBezTo>
                      <a:cubicBezTo>
                        <a:pt x="2395513" y="1173744"/>
                        <a:pt x="2391765" y="1174868"/>
                        <a:pt x="2389165" y="1179342"/>
                      </a:cubicBezTo>
                      <a:cubicBezTo>
                        <a:pt x="2386964" y="1183148"/>
                        <a:pt x="2387631" y="1186544"/>
                        <a:pt x="2384856" y="1189437"/>
                      </a:cubicBezTo>
                      <a:cubicBezTo>
                        <a:pt x="2383005" y="1191358"/>
                        <a:pt x="2380241" y="1190070"/>
                        <a:pt x="2378613" y="1192435"/>
                      </a:cubicBezTo>
                      <a:cubicBezTo>
                        <a:pt x="2375990" y="1196242"/>
                        <a:pt x="2377711" y="1207953"/>
                        <a:pt x="2378496" y="1211607"/>
                      </a:cubicBezTo>
                      <a:cubicBezTo>
                        <a:pt x="2379878" y="1207520"/>
                        <a:pt x="2385324" y="1207930"/>
                        <a:pt x="2388100" y="1209148"/>
                      </a:cubicBezTo>
                      <a:cubicBezTo>
                        <a:pt x="2393838" y="1211689"/>
                        <a:pt x="2391601" y="1213762"/>
                        <a:pt x="2397106" y="1218259"/>
                      </a:cubicBezTo>
                      <a:cubicBezTo>
                        <a:pt x="2403723" y="1223670"/>
                        <a:pt x="2411605" y="1224244"/>
                        <a:pt x="2419686" y="1227886"/>
                      </a:cubicBezTo>
                      <a:cubicBezTo>
                        <a:pt x="2432240" y="1233543"/>
                        <a:pt x="2434325" y="1237630"/>
                        <a:pt x="2438483" y="1249880"/>
                      </a:cubicBezTo>
                      <a:cubicBezTo>
                        <a:pt x="2439993" y="1254331"/>
                        <a:pt x="2441165" y="1259437"/>
                        <a:pt x="2442547" y="1262470"/>
                      </a:cubicBezTo>
                      <a:cubicBezTo>
                        <a:pt x="2444221" y="1266101"/>
                        <a:pt x="2447465" y="1269064"/>
                        <a:pt x="2446739" y="1273573"/>
                      </a:cubicBezTo>
                      <a:cubicBezTo>
                        <a:pt x="2446938" y="1273386"/>
                        <a:pt x="2445521" y="1273772"/>
                        <a:pt x="2445275" y="1273971"/>
                      </a:cubicBezTo>
                      <a:cubicBezTo>
                        <a:pt x="2451459" y="1279663"/>
                        <a:pt x="2452361" y="1286385"/>
                        <a:pt x="2455195" y="1293447"/>
                      </a:cubicBezTo>
                      <a:cubicBezTo>
                        <a:pt x="2456612" y="1296984"/>
                        <a:pt x="2460395" y="1296117"/>
                        <a:pt x="2458146" y="1299971"/>
                      </a:cubicBezTo>
                      <a:cubicBezTo>
                        <a:pt x="2462445" y="1302664"/>
                        <a:pt x="2460969" y="1304854"/>
                        <a:pt x="2462784" y="1307642"/>
                      </a:cubicBezTo>
                      <a:cubicBezTo>
                        <a:pt x="2463370" y="1308532"/>
                        <a:pt x="2466508" y="1310452"/>
                        <a:pt x="2466485" y="1310382"/>
                      </a:cubicBezTo>
                      <a:cubicBezTo>
                        <a:pt x="2469155" y="1317690"/>
                        <a:pt x="2463885" y="1324131"/>
                        <a:pt x="2464939" y="1329952"/>
                      </a:cubicBezTo>
                      <a:cubicBezTo>
                        <a:pt x="2463944" y="1329249"/>
                        <a:pt x="2464108" y="1328734"/>
                        <a:pt x="2463862" y="1327938"/>
                      </a:cubicBezTo>
                      <a:cubicBezTo>
                        <a:pt x="2465407" y="1333864"/>
                        <a:pt x="2474613" y="1335176"/>
                        <a:pt x="2477470" y="1341101"/>
                      </a:cubicBezTo>
                      <a:cubicBezTo>
                        <a:pt x="2483642" y="1340926"/>
                        <a:pt x="2501772" y="1355132"/>
                        <a:pt x="2491021" y="1356537"/>
                      </a:cubicBezTo>
                      <a:cubicBezTo>
                        <a:pt x="2494054" y="1360203"/>
                        <a:pt x="2494417" y="1361913"/>
                        <a:pt x="2497649" y="1363634"/>
                      </a:cubicBezTo>
                      <a:cubicBezTo>
                        <a:pt x="2502170" y="1366035"/>
                        <a:pt x="2507745" y="1366316"/>
                        <a:pt x="2512066" y="1370228"/>
                      </a:cubicBezTo>
                      <a:cubicBezTo>
                        <a:pt x="2514643" y="1372547"/>
                        <a:pt x="2521049" y="1380605"/>
                        <a:pt x="2520311" y="1384153"/>
                      </a:cubicBezTo>
                      <a:cubicBezTo>
                        <a:pt x="2519058" y="1390243"/>
                        <a:pt x="2511399" y="1387186"/>
                        <a:pt x="2506339" y="1385395"/>
                      </a:cubicBezTo>
                      <a:cubicBezTo>
                        <a:pt x="2501257" y="1383602"/>
                        <a:pt x="2497567" y="1380300"/>
                        <a:pt x="2492555" y="1378508"/>
                      </a:cubicBezTo>
                      <a:cubicBezTo>
                        <a:pt x="2484404" y="1375580"/>
                        <a:pt x="2481780" y="1382068"/>
                        <a:pt x="2474262" y="1380370"/>
                      </a:cubicBezTo>
                      <a:cubicBezTo>
                        <a:pt x="2465197" y="1378321"/>
                        <a:pt x="2462620" y="1363552"/>
                        <a:pt x="2447243" y="1365216"/>
                      </a:cubicBezTo>
                      <a:cubicBezTo>
                        <a:pt x="2438811" y="1366129"/>
                        <a:pt x="2435449" y="1375393"/>
                        <a:pt x="2426361" y="1373062"/>
                      </a:cubicBezTo>
                      <a:cubicBezTo>
                        <a:pt x="2420025" y="1371446"/>
                        <a:pt x="2413420" y="1364103"/>
                        <a:pt x="2415961" y="1357369"/>
                      </a:cubicBezTo>
                      <a:cubicBezTo>
                        <a:pt x="2415587" y="1357744"/>
                        <a:pt x="2415212" y="1358118"/>
                        <a:pt x="2414825" y="1358493"/>
                      </a:cubicBezTo>
                      <a:cubicBezTo>
                        <a:pt x="2413127" y="1349803"/>
                        <a:pt x="2405456" y="1351958"/>
                        <a:pt x="2399835" y="1349428"/>
                      </a:cubicBezTo>
                      <a:cubicBezTo>
                        <a:pt x="2404882" y="1351513"/>
                        <a:pt x="2403641" y="1356221"/>
                        <a:pt x="2399483" y="1358563"/>
                      </a:cubicBezTo>
                      <a:cubicBezTo>
                        <a:pt x="2402224" y="1356783"/>
                        <a:pt x="2405644" y="1356408"/>
                        <a:pt x="2408993" y="1358470"/>
                      </a:cubicBezTo>
                      <a:cubicBezTo>
                        <a:pt x="2406534" y="1362370"/>
                        <a:pt x="2415071" y="1369080"/>
                        <a:pt x="2418913" y="1371762"/>
                      </a:cubicBezTo>
                      <a:cubicBezTo>
                        <a:pt x="2425741" y="1376505"/>
                        <a:pt x="2432685" y="1375510"/>
                        <a:pt x="2439830" y="1372102"/>
                      </a:cubicBezTo>
                      <a:cubicBezTo>
                        <a:pt x="2444678" y="1369807"/>
                        <a:pt x="2448051" y="1367042"/>
                        <a:pt x="2454973" y="1370029"/>
                      </a:cubicBezTo>
                      <a:cubicBezTo>
                        <a:pt x="2462210" y="1373144"/>
                        <a:pt x="2464143" y="1385804"/>
                        <a:pt x="2457432" y="1377993"/>
                      </a:cubicBezTo>
                      <a:cubicBezTo>
                        <a:pt x="2458193" y="1384223"/>
                        <a:pt x="2467375" y="1383005"/>
                        <a:pt x="2472048" y="1384575"/>
                      </a:cubicBezTo>
                      <a:cubicBezTo>
                        <a:pt x="2480585" y="1387421"/>
                        <a:pt x="2482893" y="1392855"/>
                        <a:pt x="2488889" y="1398535"/>
                      </a:cubicBezTo>
                      <a:cubicBezTo>
                        <a:pt x="2494054" y="1403442"/>
                        <a:pt x="2501549" y="1405492"/>
                        <a:pt x="2507159" y="1409649"/>
                      </a:cubicBezTo>
                      <a:cubicBezTo>
                        <a:pt x="2511645" y="1412975"/>
                        <a:pt x="2524668" y="1426338"/>
                        <a:pt x="2523180" y="1432487"/>
                      </a:cubicBezTo>
                      <a:cubicBezTo>
                        <a:pt x="2521752" y="1438354"/>
                        <a:pt x="2505859" y="1436398"/>
                        <a:pt x="2500472" y="1438143"/>
                      </a:cubicBezTo>
                      <a:cubicBezTo>
                        <a:pt x="2494265" y="1440146"/>
                        <a:pt x="2488550" y="1443929"/>
                        <a:pt x="2482811" y="1446821"/>
                      </a:cubicBezTo>
                      <a:cubicBezTo>
                        <a:pt x="2480129" y="1448180"/>
                        <a:pt x="2474601" y="1450921"/>
                        <a:pt x="2472657" y="1452595"/>
                      </a:cubicBezTo>
                      <a:cubicBezTo>
                        <a:pt x="2468921" y="1455792"/>
                        <a:pt x="2469764" y="1460348"/>
                        <a:pt x="2466707" y="1461953"/>
                      </a:cubicBezTo>
                      <a:cubicBezTo>
                        <a:pt x="2466930" y="1462480"/>
                        <a:pt x="2467820" y="1462913"/>
                        <a:pt x="2467761" y="1463475"/>
                      </a:cubicBezTo>
                      <a:cubicBezTo>
                        <a:pt x="2456952" y="1471907"/>
                        <a:pt x="2460664" y="1458744"/>
                        <a:pt x="2447430" y="1461765"/>
                      </a:cubicBezTo>
                      <a:cubicBezTo>
                        <a:pt x="2440064" y="1463452"/>
                        <a:pt x="2444104" y="1466356"/>
                        <a:pt x="2439420" y="1469390"/>
                      </a:cubicBezTo>
                      <a:cubicBezTo>
                        <a:pt x="2437979" y="1470338"/>
                        <a:pt x="2436316" y="1467082"/>
                        <a:pt x="2434911" y="1467797"/>
                      </a:cubicBezTo>
                      <a:cubicBezTo>
                        <a:pt x="2432135" y="1469225"/>
                        <a:pt x="2430390" y="1471240"/>
                        <a:pt x="2427708" y="1473512"/>
                      </a:cubicBezTo>
                      <a:cubicBezTo>
                        <a:pt x="2431011" y="1472833"/>
                        <a:pt x="2432053" y="1470069"/>
                        <a:pt x="2434911" y="1468980"/>
                      </a:cubicBezTo>
                      <a:cubicBezTo>
                        <a:pt x="2436820" y="1468253"/>
                        <a:pt x="2437979" y="1470420"/>
                        <a:pt x="2441141" y="1468874"/>
                      </a:cubicBezTo>
                      <a:cubicBezTo>
                        <a:pt x="2444936" y="1467036"/>
                        <a:pt x="2444783" y="1459353"/>
                        <a:pt x="2452466" y="1463569"/>
                      </a:cubicBezTo>
                      <a:cubicBezTo>
                        <a:pt x="2455558" y="1465267"/>
                        <a:pt x="2455043" y="1469670"/>
                        <a:pt x="2458334" y="1471603"/>
                      </a:cubicBezTo>
                      <a:cubicBezTo>
                        <a:pt x="2450300" y="1478138"/>
                        <a:pt x="2454691" y="1479040"/>
                        <a:pt x="2461355" y="1481101"/>
                      </a:cubicBezTo>
                      <a:cubicBezTo>
                        <a:pt x="2459154" y="1479298"/>
                        <a:pt x="2456319" y="1479895"/>
                        <a:pt x="2453743" y="1477623"/>
                      </a:cubicBezTo>
                      <a:cubicBezTo>
                        <a:pt x="2460126" y="1470034"/>
                        <a:pt x="2460617" y="1475245"/>
                        <a:pt x="2467422" y="1474718"/>
                      </a:cubicBezTo>
                      <a:cubicBezTo>
                        <a:pt x="2473055" y="1474285"/>
                        <a:pt x="2476334" y="1467457"/>
                        <a:pt x="2480937" y="1465923"/>
                      </a:cubicBezTo>
                      <a:cubicBezTo>
                        <a:pt x="2494019" y="1461554"/>
                        <a:pt x="2504887" y="1479368"/>
                        <a:pt x="2509864" y="1487144"/>
                      </a:cubicBezTo>
                      <a:cubicBezTo>
                        <a:pt x="2513753" y="1485961"/>
                        <a:pt x="2516587" y="1488831"/>
                        <a:pt x="2520206" y="1489978"/>
                      </a:cubicBezTo>
                      <a:cubicBezTo>
                        <a:pt x="2523426" y="1491009"/>
                        <a:pt x="2528954" y="1490154"/>
                        <a:pt x="2531496" y="1491477"/>
                      </a:cubicBezTo>
                      <a:cubicBezTo>
                        <a:pt x="2525628" y="1495143"/>
                        <a:pt x="2521084" y="1497427"/>
                        <a:pt x="2517243" y="1501139"/>
                      </a:cubicBezTo>
                      <a:cubicBezTo>
                        <a:pt x="2514865" y="1503435"/>
                        <a:pt x="2511387" y="1507815"/>
                        <a:pt x="2508506" y="1509560"/>
                      </a:cubicBezTo>
                      <a:cubicBezTo>
                        <a:pt x="2505145" y="1511586"/>
                        <a:pt x="2502709" y="1509771"/>
                        <a:pt x="2499909" y="1512827"/>
                      </a:cubicBezTo>
                      <a:cubicBezTo>
                        <a:pt x="2497919" y="1510181"/>
                        <a:pt x="2498680" y="1510813"/>
                        <a:pt x="2495330" y="1512019"/>
                      </a:cubicBezTo>
                      <a:cubicBezTo>
                        <a:pt x="2495026" y="1513975"/>
                        <a:pt x="2494932" y="1515685"/>
                        <a:pt x="2495284" y="1518215"/>
                      </a:cubicBezTo>
                      <a:cubicBezTo>
                        <a:pt x="2495846" y="1517243"/>
                        <a:pt x="2498001" y="1515369"/>
                        <a:pt x="2498539" y="1514315"/>
                      </a:cubicBezTo>
                      <a:cubicBezTo>
                        <a:pt x="2497919" y="1516423"/>
                        <a:pt x="2498387" y="1517348"/>
                        <a:pt x="2497485" y="1519620"/>
                      </a:cubicBezTo>
                      <a:cubicBezTo>
                        <a:pt x="2502205" y="1516165"/>
                        <a:pt x="2507159" y="1510427"/>
                        <a:pt x="2512043" y="1511633"/>
                      </a:cubicBezTo>
                      <a:cubicBezTo>
                        <a:pt x="2512183" y="1516189"/>
                        <a:pt x="2514526" y="1514631"/>
                        <a:pt x="2516411" y="1512008"/>
                      </a:cubicBezTo>
                      <a:cubicBezTo>
                        <a:pt x="2514701" y="1511446"/>
                        <a:pt x="2513706" y="1510485"/>
                        <a:pt x="2511059" y="1510837"/>
                      </a:cubicBezTo>
                      <a:cubicBezTo>
                        <a:pt x="2516435" y="1502088"/>
                        <a:pt x="2527373" y="1509045"/>
                        <a:pt x="2519679" y="1511972"/>
                      </a:cubicBezTo>
                      <a:cubicBezTo>
                        <a:pt x="2521740" y="1513600"/>
                        <a:pt x="2522677" y="1515896"/>
                        <a:pt x="2522138" y="1518601"/>
                      </a:cubicBezTo>
                      <a:cubicBezTo>
                        <a:pt x="2520580" y="1518098"/>
                        <a:pt x="2516915" y="1527280"/>
                        <a:pt x="2523017" y="1525628"/>
                      </a:cubicBezTo>
                      <a:cubicBezTo>
                        <a:pt x="2522981" y="1525862"/>
                        <a:pt x="2523661" y="1527127"/>
                        <a:pt x="2523906" y="1527174"/>
                      </a:cubicBezTo>
                      <a:cubicBezTo>
                        <a:pt x="2522981" y="1527912"/>
                        <a:pt x="2518484" y="1534260"/>
                        <a:pt x="2514936" y="1532620"/>
                      </a:cubicBezTo>
                      <a:cubicBezTo>
                        <a:pt x="2511996" y="1531261"/>
                        <a:pt x="2513097" y="1524902"/>
                        <a:pt x="2516036" y="1523684"/>
                      </a:cubicBezTo>
                      <a:cubicBezTo>
                        <a:pt x="2514795" y="1523110"/>
                        <a:pt x="2515381" y="1522466"/>
                        <a:pt x="2513905" y="1523684"/>
                      </a:cubicBezTo>
                      <a:cubicBezTo>
                        <a:pt x="2513659" y="1522642"/>
                        <a:pt x="2514104" y="1521564"/>
                        <a:pt x="2513905" y="1520546"/>
                      </a:cubicBezTo>
                      <a:cubicBezTo>
                        <a:pt x="2510251" y="1522290"/>
                        <a:pt x="2514760" y="1527080"/>
                        <a:pt x="2510907" y="1530512"/>
                      </a:cubicBezTo>
                      <a:cubicBezTo>
                        <a:pt x="2506398" y="1534506"/>
                        <a:pt x="2504184" y="1528837"/>
                        <a:pt x="2506327" y="1524762"/>
                      </a:cubicBezTo>
                      <a:cubicBezTo>
                        <a:pt x="2504454" y="1525429"/>
                        <a:pt x="2504266" y="1528006"/>
                        <a:pt x="2504992" y="1531109"/>
                      </a:cubicBezTo>
                      <a:cubicBezTo>
                        <a:pt x="2504301" y="1528685"/>
                        <a:pt x="2502861" y="1525909"/>
                        <a:pt x="2501549" y="1524528"/>
                      </a:cubicBezTo>
                      <a:cubicBezTo>
                        <a:pt x="2501092" y="1525195"/>
                        <a:pt x="2502170" y="1525581"/>
                        <a:pt x="2502146" y="1526026"/>
                      </a:cubicBezTo>
                      <a:cubicBezTo>
                        <a:pt x="2502193" y="1526026"/>
                        <a:pt x="2499359" y="1526249"/>
                        <a:pt x="2499605" y="1526026"/>
                      </a:cubicBezTo>
                      <a:cubicBezTo>
                        <a:pt x="2499722" y="1528252"/>
                        <a:pt x="2498832" y="1529575"/>
                        <a:pt x="2498434" y="1531636"/>
                      </a:cubicBezTo>
                      <a:cubicBezTo>
                        <a:pt x="2496818" y="1531460"/>
                        <a:pt x="2498434" y="1531074"/>
                        <a:pt x="2497216" y="1530606"/>
                      </a:cubicBezTo>
                      <a:cubicBezTo>
                        <a:pt x="2495003" y="1531835"/>
                        <a:pt x="2495893" y="1531870"/>
                        <a:pt x="2493480" y="1532655"/>
                      </a:cubicBezTo>
                      <a:cubicBezTo>
                        <a:pt x="2494089" y="1532913"/>
                        <a:pt x="2494698" y="1533170"/>
                        <a:pt x="2495295" y="1533440"/>
                      </a:cubicBezTo>
                      <a:cubicBezTo>
                        <a:pt x="2494581" y="1534037"/>
                        <a:pt x="2495623" y="1534072"/>
                        <a:pt x="2495974" y="1534201"/>
                      </a:cubicBezTo>
                      <a:cubicBezTo>
                        <a:pt x="2494885" y="1534646"/>
                        <a:pt x="2494112" y="1535267"/>
                        <a:pt x="2493129" y="1535747"/>
                      </a:cubicBezTo>
                      <a:cubicBezTo>
                        <a:pt x="2497005" y="1536005"/>
                        <a:pt x="2503645" y="1533592"/>
                        <a:pt x="2504676" y="1537281"/>
                      </a:cubicBezTo>
                      <a:cubicBezTo>
                        <a:pt x="2505262" y="1539366"/>
                        <a:pt x="2500038" y="1536930"/>
                        <a:pt x="2500238" y="1540760"/>
                      </a:cubicBezTo>
                      <a:cubicBezTo>
                        <a:pt x="2501233" y="1538511"/>
                        <a:pt x="2505332" y="1538452"/>
                        <a:pt x="2508154" y="1540818"/>
                      </a:cubicBezTo>
                      <a:cubicBezTo>
                        <a:pt x="2506327" y="1543172"/>
                        <a:pt x="2506515" y="1543945"/>
                        <a:pt x="2509618" y="1544706"/>
                      </a:cubicBezTo>
                      <a:cubicBezTo>
                        <a:pt x="2507452" y="1547037"/>
                        <a:pt x="2504875" y="1546428"/>
                        <a:pt x="2502814" y="1543886"/>
                      </a:cubicBezTo>
                      <a:cubicBezTo>
                        <a:pt x="2501350" y="1544730"/>
                        <a:pt x="2500085" y="1545198"/>
                        <a:pt x="2497825" y="1545866"/>
                      </a:cubicBezTo>
                      <a:cubicBezTo>
                        <a:pt x="2500203" y="1547201"/>
                        <a:pt x="2504735" y="1547119"/>
                        <a:pt x="2504688" y="1550749"/>
                      </a:cubicBezTo>
                      <a:cubicBezTo>
                        <a:pt x="2505519" y="1551159"/>
                        <a:pt x="2506222" y="1550480"/>
                        <a:pt x="2507124" y="1551710"/>
                      </a:cubicBezTo>
                      <a:cubicBezTo>
                        <a:pt x="2506737" y="1552132"/>
                        <a:pt x="2505566" y="1552553"/>
                        <a:pt x="2505332" y="1552881"/>
                      </a:cubicBezTo>
                      <a:cubicBezTo>
                        <a:pt x="2505683" y="1553396"/>
                        <a:pt x="2506749" y="1552940"/>
                        <a:pt x="2506737" y="1553689"/>
                      </a:cubicBezTo>
                      <a:cubicBezTo>
                        <a:pt x="2497649" y="1564522"/>
                        <a:pt x="2488268" y="1555083"/>
                        <a:pt x="2479614" y="1550562"/>
                      </a:cubicBezTo>
                      <a:cubicBezTo>
                        <a:pt x="2482213" y="1553197"/>
                        <a:pt x="2490283" y="1557086"/>
                        <a:pt x="2485669" y="1560236"/>
                      </a:cubicBezTo>
                      <a:cubicBezTo>
                        <a:pt x="2497368" y="1557776"/>
                        <a:pt x="2496619" y="1561606"/>
                        <a:pt x="2502533" y="1569886"/>
                      </a:cubicBezTo>
                      <a:cubicBezTo>
                        <a:pt x="2501233" y="1569968"/>
                        <a:pt x="2499746" y="1570647"/>
                        <a:pt x="2498879" y="1570741"/>
                      </a:cubicBezTo>
                      <a:cubicBezTo>
                        <a:pt x="2500882" y="1570390"/>
                        <a:pt x="2502076" y="1571139"/>
                        <a:pt x="2503892" y="1571444"/>
                      </a:cubicBezTo>
                      <a:cubicBezTo>
                        <a:pt x="2502135" y="1576468"/>
                        <a:pt x="2509724" y="1579864"/>
                        <a:pt x="2502346" y="1583706"/>
                      </a:cubicBezTo>
                      <a:cubicBezTo>
                        <a:pt x="2502181" y="1577943"/>
                        <a:pt x="2495553" y="1580180"/>
                        <a:pt x="2493000" y="1581539"/>
                      </a:cubicBezTo>
                      <a:cubicBezTo>
                        <a:pt x="2493738" y="1583870"/>
                        <a:pt x="2492812" y="1585392"/>
                        <a:pt x="2490658" y="1587793"/>
                      </a:cubicBezTo>
                      <a:cubicBezTo>
                        <a:pt x="2491044" y="1587735"/>
                        <a:pt x="2491395" y="1587594"/>
                        <a:pt x="2491723" y="1587372"/>
                      </a:cubicBezTo>
                      <a:cubicBezTo>
                        <a:pt x="2490119" y="1593169"/>
                        <a:pt x="2486910" y="1586727"/>
                        <a:pt x="2483935" y="1584912"/>
                      </a:cubicBezTo>
                      <a:cubicBezTo>
                        <a:pt x="2485153" y="1581785"/>
                        <a:pt x="2484919" y="1582359"/>
                        <a:pt x="2482776" y="1579654"/>
                      </a:cubicBezTo>
                      <a:cubicBezTo>
                        <a:pt x="2483689" y="1579302"/>
                        <a:pt x="2484814" y="1578014"/>
                        <a:pt x="2485984" y="1577721"/>
                      </a:cubicBezTo>
                      <a:cubicBezTo>
                        <a:pt x="2484251" y="1577311"/>
                        <a:pt x="2482858" y="1577229"/>
                        <a:pt x="2480995" y="1576655"/>
                      </a:cubicBezTo>
                      <a:cubicBezTo>
                        <a:pt x="2480469" y="1580731"/>
                        <a:pt x="2476814" y="1582464"/>
                        <a:pt x="2473477" y="1581188"/>
                      </a:cubicBezTo>
                      <a:cubicBezTo>
                        <a:pt x="2479309" y="1581914"/>
                        <a:pt x="2478922" y="1583565"/>
                        <a:pt x="2477049" y="1588484"/>
                      </a:cubicBezTo>
                      <a:cubicBezTo>
                        <a:pt x="2476838" y="1589023"/>
                        <a:pt x="2471298" y="1598228"/>
                        <a:pt x="2470771" y="1598603"/>
                      </a:cubicBezTo>
                      <a:cubicBezTo>
                        <a:pt x="2466157" y="1601976"/>
                        <a:pt x="2450147" y="1594925"/>
                        <a:pt x="2449199" y="1592021"/>
                      </a:cubicBezTo>
                      <a:cubicBezTo>
                        <a:pt x="2449609" y="1600558"/>
                        <a:pt x="2463499" y="1596038"/>
                        <a:pt x="2465021" y="1603861"/>
                      </a:cubicBezTo>
                      <a:cubicBezTo>
                        <a:pt x="2465735" y="1607480"/>
                        <a:pt x="2457655" y="1617517"/>
                        <a:pt x="2453146" y="1611731"/>
                      </a:cubicBezTo>
                      <a:cubicBezTo>
                        <a:pt x="2457420" y="1617294"/>
                        <a:pt x="2452548" y="1619695"/>
                        <a:pt x="2452021" y="1624895"/>
                      </a:cubicBezTo>
                      <a:cubicBezTo>
                        <a:pt x="2451740" y="1627682"/>
                        <a:pt x="2455148" y="1625445"/>
                        <a:pt x="2453731" y="1629685"/>
                      </a:cubicBezTo>
                      <a:cubicBezTo>
                        <a:pt x="2452701" y="1632777"/>
                        <a:pt x="2453602" y="1634862"/>
                        <a:pt x="2448472" y="1632004"/>
                      </a:cubicBezTo>
                      <a:cubicBezTo>
                        <a:pt x="2447992" y="1632742"/>
                        <a:pt x="2446599" y="1635143"/>
                        <a:pt x="2446353" y="1635635"/>
                      </a:cubicBezTo>
                      <a:cubicBezTo>
                        <a:pt x="2449878" y="1637368"/>
                        <a:pt x="2447266" y="1642989"/>
                        <a:pt x="2444432" y="1644430"/>
                      </a:cubicBezTo>
                      <a:cubicBezTo>
                        <a:pt x="2442863" y="1641783"/>
                        <a:pt x="2442055" y="1641326"/>
                        <a:pt x="2442383" y="1644910"/>
                      </a:cubicBezTo>
                      <a:cubicBezTo>
                        <a:pt x="2440192" y="1640354"/>
                        <a:pt x="2433880" y="1642029"/>
                        <a:pt x="2436656" y="1638352"/>
                      </a:cubicBezTo>
                      <a:cubicBezTo>
                        <a:pt x="2436445" y="1638059"/>
                        <a:pt x="2435473" y="1638305"/>
                        <a:pt x="2435601" y="1637942"/>
                      </a:cubicBezTo>
                      <a:cubicBezTo>
                        <a:pt x="2435660" y="1638785"/>
                        <a:pt x="2436796" y="1635717"/>
                        <a:pt x="2436281" y="1636817"/>
                      </a:cubicBezTo>
                      <a:cubicBezTo>
                        <a:pt x="2434232" y="1637063"/>
                        <a:pt x="2435672" y="1636829"/>
                        <a:pt x="2433786" y="1636431"/>
                      </a:cubicBezTo>
                      <a:cubicBezTo>
                        <a:pt x="2433786" y="1636431"/>
                        <a:pt x="2433938" y="1637731"/>
                        <a:pt x="2434161" y="1637579"/>
                      </a:cubicBezTo>
                      <a:cubicBezTo>
                        <a:pt x="2433236" y="1638235"/>
                        <a:pt x="2432627" y="1637087"/>
                        <a:pt x="2431678" y="1637169"/>
                      </a:cubicBezTo>
                      <a:cubicBezTo>
                        <a:pt x="2432264" y="1639300"/>
                        <a:pt x="2432311" y="1637415"/>
                        <a:pt x="2431784" y="1639570"/>
                      </a:cubicBezTo>
                      <a:cubicBezTo>
                        <a:pt x="2431128" y="1639207"/>
                        <a:pt x="2430952" y="1638352"/>
                        <a:pt x="2430214" y="1637930"/>
                      </a:cubicBezTo>
                      <a:cubicBezTo>
                        <a:pt x="2428739" y="1642216"/>
                        <a:pt x="2429863" y="1641010"/>
                        <a:pt x="2430941" y="1641444"/>
                      </a:cubicBezTo>
                      <a:cubicBezTo>
                        <a:pt x="2432451" y="1642064"/>
                        <a:pt x="2437335" y="1641654"/>
                        <a:pt x="2438131" y="1641022"/>
                      </a:cubicBezTo>
                      <a:cubicBezTo>
                        <a:pt x="2438167" y="1642825"/>
                        <a:pt x="2438916" y="1642252"/>
                        <a:pt x="2438131" y="1644512"/>
                      </a:cubicBezTo>
                      <a:cubicBezTo>
                        <a:pt x="2439771" y="1644933"/>
                        <a:pt x="2440579" y="1645730"/>
                        <a:pt x="2442008" y="1646397"/>
                      </a:cubicBezTo>
                      <a:cubicBezTo>
                        <a:pt x="2441118" y="1646445"/>
                        <a:pt x="2440368" y="1646234"/>
                        <a:pt x="2439513" y="1646397"/>
                      </a:cubicBezTo>
                      <a:cubicBezTo>
                        <a:pt x="2440111" y="1646538"/>
                        <a:pt x="2440696" y="1646679"/>
                        <a:pt x="2441282" y="1646819"/>
                      </a:cubicBezTo>
                      <a:cubicBezTo>
                        <a:pt x="2440520" y="1647487"/>
                        <a:pt x="2439841" y="1647370"/>
                        <a:pt x="2439138" y="1647627"/>
                      </a:cubicBezTo>
                      <a:cubicBezTo>
                        <a:pt x="2439911" y="1648388"/>
                        <a:pt x="2440111" y="1648025"/>
                        <a:pt x="2440602" y="1648705"/>
                      </a:cubicBezTo>
                      <a:cubicBezTo>
                        <a:pt x="2437956" y="1649513"/>
                        <a:pt x="2434805" y="1648588"/>
                        <a:pt x="2432697" y="1647205"/>
                      </a:cubicBezTo>
                      <a:cubicBezTo>
                        <a:pt x="2433552" y="1648260"/>
                        <a:pt x="2433798" y="1649958"/>
                        <a:pt x="2434501" y="1651082"/>
                      </a:cubicBezTo>
                      <a:cubicBezTo>
                        <a:pt x="2432720" y="1650953"/>
                        <a:pt x="2433213" y="1651937"/>
                        <a:pt x="2431280" y="1652569"/>
                      </a:cubicBezTo>
                      <a:cubicBezTo>
                        <a:pt x="2434922" y="1655170"/>
                        <a:pt x="2431666" y="1656469"/>
                        <a:pt x="2427743" y="1655673"/>
                      </a:cubicBezTo>
                      <a:cubicBezTo>
                        <a:pt x="2429207" y="1655790"/>
                        <a:pt x="2431538" y="1656938"/>
                        <a:pt x="2432697" y="1657172"/>
                      </a:cubicBezTo>
                      <a:cubicBezTo>
                        <a:pt x="2431912" y="1659456"/>
                        <a:pt x="2424405" y="1661142"/>
                        <a:pt x="2421665" y="1660276"/>
                      </a:cubicBezTo>
                      <a:cubicBezTo>
                        <a:pt x="2422075" y="1660475"/>
                        <a:pt x="2422473" y="1660674"/>
                        <a:pt x="2422883" y="1660861"/>
                      </a:cubicBezTo>
                      <a:cubicBezTo>
                        <a:pt x="2420166" y="1664047"/>
                        <a:pt x="2423047" y="1665581"/>
                        <a:pt x="2426677" y="1666049"/>
                      </a:cubicBezTo>
                      <a:cubicBezTo>
                        <a:pt x="2425436" y="1669645"/>
                        <a:pt x="2425026" y="1668005"/>
                        <a:pt x="2427743" y="1670289"/>
                      </a:cubicBezTo>
                      <a:cubicBezTo>
                        <a:pt x="2425132" y="1672514"/>
                        <a:pt x="2425424" y="1672081"/>
                        <a:pt x="2427005" y="1674084"/>
                      </a:cubicBezTo>
                      <a:cubicBezTo>
                        <a:pt x="2426373" y="1674505"/>
                        <a:pt x="2425260" y="1675758"/>
                        <a:pt x="2424194" y="1676098"/>
                      </a:cubicBezTo>
                      <a:cubicBezTo>
                        <a:pt x="2423703" y="1675219"/>
                        <a:pt x="2424862" y="1675173"/>
                        <a:pt x="2424159" y="1674494"/>
                      </a:cubicBezTo>
                      <a:cubicBezTo>
                        <a:pt x="2419217" y="1677105"/>
                        <a:pt x="2407833" y="1685221"/>
                        <a:pt x="2413666" y="1676321"/>
                      </a:cubicBezTo>
                      <a:cubicBezTo>
                        <a:pt x="2414193" y="1675512"/>
                        <a:pt x="2418819" y="1672666"/>
                        <a:pt x="2419650" y="1671835"/>
                      </a:cubicBezTo>
                      <a:cubicBezTo>
                        <a:pt x="2421442" y="1670055"/>
                        <a:pt x="2422614" y="1669598"/>
                        <a:pt x="2424171" y="1666049"/>
                      </a:cubicBezTo>
                      <a:cubicBezTo>
                        <a:pt x="2415704" y="1666518"/>
                        <a:pt x="2416266" y="1666506"/>
                        <a:pt x="2414872" y="1673732"/>
                      </a:cubicBezTo>
                      <a:cubicBezTo>
                        <a:pt x="2414790" y="1673674"/>
                        <a:pt x="2412706" y="1674002"/>
                        <a:pt x="2412553" y="1674084"/>
                      </a:cubicBezTo>
                      <a:cubicBezTo>
                        <a:pt x="2411207" y="1671097"/>
                        <a:pt x="2412237" y="1670640"/>
                        <a:pt x="2409145" y="1672163"/>
                      </a:cubicBezTo>
                      <a:cubicBezTo>
                        <a:pt x="2409871" y="1669165"/>
                        <a:pt x="2409297" y="1668345"/>
                        <a:pt x="2411675" y="1666424"/>
                      </a:cubicBezTo>
                      <a:cubicBezTo>
                        <a:pt x="2410480" y="1666225"/>
                        <a:pt x="2410375" y="1666038"/>
                        <a:pt x="2409145" y="1666424"/>
                      </a:cubicBezTo>
                      <a:cubicBezTo>
                        <a:pt x="2410094" y="1665429"/>
                        <a:pt x="2410797" y="1663976"/>
                        <a:pt x="2411991" y="1662946"/>
                      </a:cubicBezTo>
                      <a:cubicBezTo>
                        <a:pt x="2409309" y="1663321"/>
                        <a:pt x="2409251" y="1665710"/>
                        <a:pt x="2407775" y="1666202"/>
                      </a:cubicBezTo>
                      <a:cubicBezTo>
                        <a:pt x="2410480" y="1665300"/>
                        <a:pt x="2402927" y="1670828"/>
                        <a:pt x="2406065" y="1667923"/>
                      </a:cubicBezTo>
                      <a:cubicBezTo>
                        <a:pt x="2407881" y="1666237"/>
                        <a:pt x="2403688" y="1666049"/>
                        <a:pt x="2403231" y="1666272"/>
                      </a:cubicBezTo>
                      <a:cubicBezTo>
                        <a:pt x="2402259" y="1666752"/>
                        <a:pt x="2405702" y="1671624"/>
                        <a:pt x="2405667" y="1671589"/>
                      </a:cubicBezTo>
                      <a:cubicBezTo>
                        <a:pt x="2402903" y="1670195"/>
                        <a:pt x="2399823" y="1665382"/>
                        <a:pt x="2397867" y="1666530"/>
                      </a:cubicBezTo>
                      <a:cubicBezTo>
                        <a:pt x="2395033" y="1668204"/>
                        <a:pt x="2398617" y="1672795"/>
                        <a:pt x="2399132" y="1674482"/>
                      </a:cubicBezTo>
                      <a:cubicBezTo>
                        <a:pt x="2394272" y="1673030"/>
                        <a:pt x="2396532" y="1676227"/>
                        <a:pt x="2399132" y="1678721"/>
                      </a:cubicBezTo>
                      <a:cubicBezTo>
                        <a:pt x="2402927" y="1674575"/>
                        <a:pt x="2407435" y="1676122"/>
                        <a:pt x="2408794" y="1679822"/>
                      </a:cubicBezTo>
                      <a:cubicBezTo>
                        <a:pt x="2408489" y="1679611"/>
                        <a:pt x="2408232" y="1679365"/>
                        <a:pt x="2408044" y="1679073"/>
                      </a:cubicBezTo>
                      <a:cubicBezTo>
                        <a:pt x="2408384" y="1680654"/>
                        <a:pt x="2408817" y="1680467"/>
                        <a:pt x="2409508" y="1681778"/>
                      </a:cubicBezTo>
                      <a:cubicBezTo>
                        <a:pt x="2410129" y="1683043"/>
                        <a:pt x="2410679" y="1685245"/>
                        <a:pt x="2409145" y="1686369"/>
                      </a:cubicBezTo>
                      <a:cubicBezTo>
                        <a:pt x="2405737" y="1688852"/>
                        <a:pt x="2406135" y="1683476"/>
                        <a:pt x="2401954" y="1682774"/>
                      </a:cubicBezTo>
                      <a:cubicBezTo>
                        <a:pt x="2397727" y="1682059"/>
                        <a:pt x="2399448" y="1686521"/>
                        <a:pt x="2399425" y="1686275"/>
                      </a:cubicBezTo>
                      <a:cubicBezTo>
                        <a:pt x="2399191" y="1683921"/>
                        <a:pt x="2403360" y="1692798"/>
                        <a:pt x="2403418" y="1692892"/>
                      </a:cubicBezTo>
                      <a:cubicBezTo>
                        <a:pt x="2407986" y="1692189"/>
                        <a:pt x="2406616" y="1688091"/>
                        <a:pt x="2409836" y="1687399"/>
                      </a:cubicBezTo>
                      <a:cubicBezTo>
                        <a:pt x="2412834" y="1686755"/>
                        <a:pt x="2412132" y="1691686"/>
                        <a:pt x="2417402" y="1689801"/>
                      </a:cubicBezTo>
                      <a:cubicBezTo>
                        <a:pt x="2414603" y="1694743"/>
                        <a:pt x="2410375" y="1690855"/>
                        <a:pt x="2409860" y="1694391"/>
                      </a:cubicBezTo>
                      <a:cubicBezTo>
                        <a:pt x="2406979" y="1694169"/>
                        <a:pt x="2403664" y="1694520"/>
                        <a:pt x="2400912" y="1696359"/>
                      </a:cubicBezTo>
                      <a:cubicBezTo>
                        <a:pt x="2402083" y="1697132"/>
                        <a:pt x="2395560" y="1710424"/>
                        <a:pt x="2391168" y="1711619"/>
                      </a:cubicBezTo>
                      <a:cubicBezTo>
                        <a:pt x="2388755" y="1712275"/>
                        <a:pt x="2375920" y="1704100"/>
                        <a:pt x="2372711" y="1702461"/>
                      </a:cubicBezTo>
                      <a:cubicBezTo>
                        <a:pt x="2378180" y="1706782"/>
                        <a:pt x="2381319" y="1716315"/>
                        <a:pt x="2390430" y="1712825"/>
                      </a:cubicBezTo>
                      <a:cubicBezTo>
                        <a:pt x="2394775" y="1711162"/>
                        <a:pt x="2396052" y="1704428"/>
                        <a:pt x="2402013" y="1709651"/>
                      </a:cubicBezTo>
                      <a:cubicBezTo>
                        <a:pt x="2406170" y="1713305"/>
                        <a:pt x="2401357" y="1714781"/>
                        <a:pt x="2399132" y="1719290"/>
                      </a:cubicBezTo>
                      <a:cubicBezTo>
                        <a:pt x="2398898" y="1719044"/>
                        <a:pt x="2397984" y="1717370"/>
                        <a:pt x="2397808" y="1717018"/>
                      </a:cubicBezTo>
                      <a:cubicBezTo>
                        <a:pt x="2398336" y="1720613"/>
                        <a:pt x="2400631" y="1722675"/>
                        <a:pt x="2398816" y="1726106"/>
                      </a:cubicBezTo>
                      <a:cubicBezTo>
                        <a:pt x="2396907" y="1729713"/>
                        <a:pt x="2395560" y="1726633"/>
                        <a:pt x="2391274" y="1728039"/>
                      </a:cubicBezTo>
                      <a:cubicBezTo>
                        <a:pt x="2391988" y="1730861"/>
                        <a:pt x="2391894" y="1730732"/>
                        <a:pt x="2393054" y="1731458"/>
                      </a:cubicBezTo>
                      <a:cubicBezTo>
                        <a:pt x="2392960" y="1735545"/>
                        <a:pt x="2395630" y="1735874"/>
                        <a:pt x="2398078" y="1733742"/>
                      </a:cubicBezTo>
                      <a:cubicBezTo>
                        <a:pt x="2397949" y="1735815"/>
                        <a:pt x="2398628" y="1736049"/>
                        <a:pt x="2398781" y="1736822"/>
                      </a:cubicBezTo>
                      <a:cubicBezTo>
                        <a:pt x="2398546" y="1737092"/>
                        <a:pt x="2397387" y="1737595"/>
                        <a:pt x="2397399" y="1737583"/>
                      </a:cubicBezTo>
                      <a:cubicBezTo>
                        <a:pt x="2397879" y="1738286"/>
                        <a:pt x="2398570" y="1737806"/>
                        <a:pt x="2399132" y="1737993"/>
                      </a:cubicBezTo>
                      <a:cubicBezTo>
                        <a:pt x="2398921" y="1738321"/>
                        <a:pt x="2397832" y="1739024"/>
                        <a:pt x="2397703" y="1739141"/>
                      </a:cubicBezTo>
                      <a:cubicBezTo>
                        <a:pt x="2400549" y="1739633"/>
                        <a:pt x="2399062" y="1739774"/>
                        <a:pt x="2399881" y="1741870"/>
                      </a:cubicBezTo>
                      <a:cubicBezTo>
                        <a:pt x="2401369" y="1743990"/>
                        <a:pt x="2401521" y="1743287"/>
                        <a:pt x="2400198" y="1745969"/>
                      </a:cubicBezTo>
                      <a:cubicBezTo>
                        <a:pt x="2400209" y="1745899"/>
                        <a:pt x="2401837" y="1746109"/>
                        <a:pt x="2401989" y="1746355"/>
                      </a:cubicBezTo>
                      <a:cubicBezTo>
                        <a:pt x="2400935" y="1746859"/>
                        <a:pt x="2399284" y="1747140"/>
                        <a:pt x="2398078" y="1747117"/>
                      </a:cubicBezTo>
                      <a:cubicBezTo>
                        <a:pt x="2399237" y="1743978"/>
                        <a:pt x="2399179" y="1740418"/>
                        <a:pt x="2395923" y="1740629"/>
                      </a:cubicBezTo>
                      <a:cubicBezTo>
                        <a:pt x="2397293" y="1743545"/>
                        <a:pt x="2396919" y="1745571"/>
                        <a:pt x="2393054" y="1745629"/>
                      </a:cubicBezTo>
                      <a:cubicBezTo>
                        <a:pt x="2394225" y="1743205"/>
                        <a:pt x="2393545" y="1741952"/>
                        <a:pt x="2394295" y="1739879"/>
                      </a:cubicBezTo>
                      <a:cubicBezTo>
                        <a:pt x="2392199" y="1741097"/>
                        <a:pt x="2392831" y="1739656"/>
                        <a:pt x="2391145" y="1741870"/>
                      </a:cubicBezTo>
                      <a:cubicBezTo>
                        <a:pt x="2392117" y="1736377"/>
                        <a:pt x="2383778" y="1738778"/>
                        <a:pt x="2387690" y="1733402"/>
                      </a:cubicBezTo>
                      <a:cubicBezTo>
                        <a:pt x="2386999" y="1733051"/>
                        <a:pt x="2385453" y="1732653"/>
                        <a:pt x="2383755" y="1732641"/>
                      </a:cubicBezTo>
                      <a:cubicBezTo>
                        <a:pt x="2382396" y="1737185"/>
                        <a:pt x="2378801" y="1739668"/>
                        <a:pt x="2373179" y="1742901"/>
                      </a:cubicBezTo>
                      <a:cubicBezTo>
                        <a:pt x="2374069" y="1744493"/>
                        <a:pt x="2375744" y="1746871"/>
                        <a:pt x="2376868" y="1748182"/>
                      </a:cubicBezTo>
                      <a:cubicBezTo>
                        <a:pt x="2377899" y="1747550"/>
                        <a:pt x="2377501" y="1747386"/>
                        <a:pt x="2378016" y="1746355"/>
                      </a:cubicBezTo>
                      <a:cubicBezTo>
                        <a:pt x="2378285" y="1748651"/>
                        <a:pt x="2378684" y="1749435"/>
                        <a:pt x="2378321" y="1751825"/>
                      </a:cubicBezTo>
                      <a:cubicBezTo>
                        <a:pt x="2379023" y="1750489"/>
                        <a:pt x="2379866" y="1749412"/>
                        <a:pt x="2380511" y="1747901"/>
                      </a:cubicBezTo>
                      <a:cubicBezTo>
                        <a:pt x="2382830" y="1748182"/>
                        <a:pt x="2383427" y="1748159"/>
                        <a:pt x="2384610" y="1750841"/>
                      </a:cubicBezTo>
                      <a:cubicBezTo>
                        <a:pt x="2385558" y="1753019"/>
                        <a:pt x="2385593" y="1750431"/>
                        <a:pt x="2385266" y="1752902"/>
                      </a:cubicBezTo>
                      <a:cubicBezTo>
                        <a:pt x="2385652" y="1750056"/>
                        <a:pt x="2379784" y="1756907"/>
                        <a:pt x="2382900" y="1755736"/>
                      </a:cubicBezTo>
                      <a:cubicBezTo>
                        <a:pt x="2380827" y="1756509"/>
                        <a:pt x="2367710" y="1753640"/>
                        <a:pt x="2375826" y="1758489"/>
                      </a:cubicBezTo>
                      <a:cubicBezTo>
                        <a:pt x="2374420" y="1759273"/>
                        <a:pt x="2374385" y="1759179"/>
                        <a:pt x="2372711" y="1758711"/>
                      </a:cubicBezTo>
                      <a:cubicBezTo>
                        <a:pt x="2372722" y="1758688"/>
                        <a:pt x="2372430" y="1760339"/>
                        <a:pt x="2373015" y="1760081"/>
                      </a:cubicBezTo>
                      <a:cubicBezTo>
                        <a:pt x="2371926" y="1758489"/>
                        <a:pt x="2371352" y="1759250"/>
                        <a:pt x="2371212" y="1757224"/>
                      </a:cubicBezTo>
                      <a:cubicBezTo>
                        <a:pt x="2370380" y="1758079"/>
                        <a:pt x="2370814" y="1758383"/>
                        <a:pt x="2370158" y="1759320"/>
                      </a:cubicBezTo>
                      <a:cubicBezTo>
                        <a:pt x="2371575" y="1755959"/>
                        <a:pt x="2372043" y="1752562"/>
                        <a:pt x="2366246" y="1753675"/>
                      </a:cubicBezTo>
                      <a:cubicBezTo>
                        <a:pt x="2367288" y="1752961"/>
                        <a:pt x="2368588" y="1751251"/>
                        <a:pt x="2369267" y="1750782"/>
                      </a:cubicBezTo>
                      <a:cubicBezTo>
                        <a:pt x="2366070" y="1750384"/>
                        <a:pt x="2362885" y="1751204"/>
                        <a:pt x="2360800" y="1753581"/>
                      </a:cubicBezTo>
                      <a:cubicBezTo>
                        <a:pt x="2362674" y="1755127"/>
                        <a:pt x="2362042" y="1754788"/>
                        <a:pt x="2363423" y="1756275"/>
                      </a:cubicBezTo>
                      <a:cubicBezTo>
                        <a:pt x="2372535" y="1752446"/>
                        <a:pt x="2360109" y="1763244"/>
                        <a:pt x="2360683" y="1760726"/>
                      </a:cubicBezTo>
                      <a:cubicBezTo>
                        <a:pt x="2359863" y="1764356"/>
                        <a:pt x="2365789" y="1768069"/>
                        <a:pt x="2367710" y="1763255"/>
                      </a:cubicBezTo>
                      <a:cubicBezTo>
                        <a:pt x="2367054" y="1766265"/>
                        <a:pt x="2367523" y="1766909"/>
                        <a:pt x="2368776" y="1768432"/>
                      </a:cubicBezTo>
                      <a:cubicBezTo>
                        <a:pt x="2365965" y="1768467"/>
                        <a:pt x="2358997" y="1771289"/>
                        <a:pt x="2366293" y="1771840"/>
                      </a:cubicBezTo>
                      <a:cubicBezTo>
                        <a:pt x="2366246" y="1771969"/>
                        <a:pt x="2366504" y="1772988"/>
                        <a:pt x="2366609" y="1773011"/>
                      </a:cubicBezTo>
                      <a:cubicBezTo>
                        <a:pt x="2363248" y="1773011"/>
                        <a:pt x="2358552" y="1773257"/>
                        <a:pt x="2356315" y="1773081"/>
                      </a:cubicBezTo>
                      <a:cubicBezTo>
                        <a:pt x="2351431" y="1772706"/>
                        <a:pt x="2353726" y="1776068"/>
                        <a:pt x="2351970" y="1769532"/>
                      </a:cubicBezTo>
                      <a:cubicBezTo>
                        <a:pt x="2352099" y="1770540"/>
                        <a:pt x="2352227" y="1771324"/>
                        <a:pt x="2351630" y="1772004"/>
                      </a:cubicBezTo>
                      <a:cubicBezTo>
                        <a:pt x="2351196" y="1771172"/>
                        <a:pt x="2350857" y="1769778"/>
                        <a:pt x="2350517" y="1768807"/>
                      </a:cubicBezTo>
                      <a:cubicBezTo>
                        <a:pt x="2350681" y="1772355"/>
                        <a:pt x="2350541" y="1774697"/>
                        <a:pt x="2345517" y="1772589"/>
                      </a:cubicBezTo>
                      <a:cubicBezTo>
                        <a:pt x="2347648" y="1774721"/>
                        <a:pt x="2348116" y="1776032"/>
                        <a:pt x="2348948" y="1778866"/>
                      </a:cubicBezTo>
                      <a:cubicBezTo>
                        <a:pt x="2350002" y="1778141"/>
                        <a:pt x="2351138" y="1777848"/>
                        <a:pt x="2352286" y="1776770"/>
                      </a:cubicBezTo>
                      <a:cubicBezTo>
                        <a:pt x="2356408" y="1779440"/>
                        <a:pt x="2353726" y="1786233"/>
                        <a:pt x="2349791" y="1783235"/>
                      </a:cubicBezTo>
                      <a:cubicBezTo>
                        <a:pt x="2348878" y="1787276"/>
                        <a:pt x="2351501" y="1791656"/>
                        <a:pt x="2344579" y="1792955"/>
                      </a:cubicBezTo>
                      <a:cubicBezTo>
                        <a:pt x="2345247" y="1791468"/>
                        <a:pt x="2344849" y="1791925"/>
                        <a:pt x="2345833" y="1790625"/>
                      </a:cubicBezTo>
                      <a:cubicBezTo>
                        <a:pt x="2342261" y="1787873"/>
                        <a:pt x="2337131" y="1787955"/>
                        <a:pt x="2338173" y="1782895"/>
                      </a:cubicBezTo>
                      <a:cubicBezTo>
                        <a:pt x="2337506" y="1789290"/>
                        <a:pt x="2335292" y="1787896"/>
                        <a:pt x="2330385" y="1788903"/>
                      </a:cubicBezTo>
                      <a:cubicBezTo>
                        <a:pt x="2329179" y="1789149"/>
                        <a:pt x="2321824" y="1792487"/>
                        <a:pt x="2326919" y="1787603"/>
                      </a:cubicBezTo>
                      <a:cubicBezTo>
                        <a:pt x="2326251" y="1786831"/>
                        <a:pt x="2325455" y="1787463"/>
                        <a:pt x="2324776" y="1787077"/>
                      </a:cubicBezTo>
                      <a:cubicBezTo>
                        <a:pt x="2325021" y="1784804"/>
                        <a:pt x="2325080" y="1785413"/>
                        <a:pt x="2324049" y="1783247"/>
                      </a:cubicBezTo>
                      <a:cubicBezTo>
                        <a:pt x="2323604" y="1785390"/>
                        <a:pt x="2322328" y="1786994"/>
                        <a:pt x="2321426" y="1789302"/>
                      </a:cubicBezTo>
                      <a:cubicBezTo>
                        <a:pt x="2320524" y="1788564"/>
                        <a:pt x="2318920" y="1788236"/>
                        <a:pt x="2317983" y="1787439"/>
                      </a:cubicBezTo>
                      <a:cubicBezTo>
                        <a:pt x="2317690" y="1791457"/>
                        <a:pt x="2316613" y="1789384"/>
                        <a:pt x="2316156" y="1789477"/>
                      </a:cubicBezTo>
                      <a:cubicBezTo>
                        <a:pt x="2316366" y="1789266"/>
                        <a:pt x="2314141" y="1791035"/>
                        <a:pt x="2314364" y="1791035"/>
                      </a:cubicBezTo>
                      <a:cubicBezTo>
                        <a:pt x="2315476" y="1791316"/>
                        <a:pt x="2317397" y="1792440"/>
                        <a:pt x="2318709" y="1793073"/>
                      </a:cubicBezTo>
                      <a:cubicBezTo>
                        <a:pt x="2316015" y="1796071"/>
                        <a:pt x="2317116" y="1793893"/>
                        <a:pt x="2316812" y="1796949"/>
                      </a:cubicBezTo>
                      <a:cubicBezTo>
                        <a:pt x="2313322" y="1796082"/>
                        <a:pt x="2310218" y="1794209"/>
                        <a:pt x="2306587" y="1795028"/>
                      </a:cubicBezTo>
                      <a:cubicBezTo>
                        <a:pt x="2308098" y="1795450"/>
                        <a:pt x="2309211" y="1796012"/>
                        <a:pt x="2310522" y="1796539"/>
                      </a:cubicBezTo>
                      <a:cubicBezTo>
                        <a:pt x="2308532" y="1795930"/>
                        <a:pt x="2306658" y="1796024"/>
                        <a:pt x="2304796" y="1795755"/>
                      </a:cubicBezTo>
                      <a:cubicBezTo>
                        <a:pt x="2308930" y="1802325"/>
                        <a:pt x="2321403" y="1795989"/>
                        <a:pt x="2316519" y="1803531"/>
                      </a:cubicBezTo>
                      <a:cubicBezTo>
                        <a:pt x="2319599" y="1801669"/>
                        <a:pt x="2321730" y="1803379"/>
                        <a:pt x="2322281" y="1807115"/>
                      </a:cubicBezTo>
                      <a:cubicBezTo>
                        <a:pt x="2318638" y="1808017"/>
                        <a:pt x="2316366" y="1810242"/>
                        <a:pt x="2314001" y="1812772"/>
                      </a:cubicBezTo>
                      <a:cubicBezTo>
                        <a:pt x="2311834" y="1808895"/>
                        <a:pt x="2314235" y="1811261"/>
                        <a:pt x="2310839" y="1811308"/>
                      </a:cubicBezTo>
                      <a:cubicBezTo>
                        <a:pt x="2315418" y="1816332"/>
                        <a:pt x="2304749" y="1822890"/>
                        <a:pt x="2301926" y="1826673"/>
                      </a:cubicBezTo>
                      <a:cubicBezTo>
                        <a:pt x="2302570" y="1824659"/>
                        <a:pt x="2303097" y="1822234"/>
                        <a:pt x="2305123" y="1820384"/>
                      </a:cubicBezTo>
                      <a:cubicBezTo>
                        <a:pt x="2304327" y="1819552"/>
                        <a:pt x="2304011" y="1820630"/>
                        <a:pt x="2303226" y="1820770"/>
                      </a:cubicBezTo>
                      <a:cubicBezTo>
                        <a:pt x="2303718" y="1819552"/>
                        <a:pt x="2304104" y="1819002"/>
                        <a:pt x="2302980" y="1817714"/>
                      </a:cubicBezTo>
                      <a:cubicBezTo>
                        <a:pt x="2300533" y="1819541"/>
                        <a:pt x="2302172" y="1819728"/>
                        <a:pt x="2298296" y="1818135"/>
                      </a:cubicBezTo>
                      <a:cubicBezTo>
                        <a:pt x="2299444" y="1819213"/>
                        <a:pt x="2298600" y="1819318"/>
                        <a:pt x="2300474" y="1819646"/>
                      </a:cubicBezTo>
                      <a:cubicBezTo>
                        <a:pt x="2300064" y="1823534"/>
                        <a:pt x="2296902" y="1833430"/>
                        <a:pt x="2294372" y="1836112"/>
                      </a:cubicBezTo>
                      <a:cubicBezTo>
                        <a:pt x="2295988" y="1827270"/>
                        <a:pt x="2292346" y="1827434"/>
                        <a:pt x="2285249" y="1824541"/>
                      </a:cubicBezTo>
                      <a:cubicBezTo>
                        <a:pt x="2286608" y="1826521"/>
                        <a:pt x="2291854" y="1828687"/>
                        <a:pt x="2287310" y="1833466"/>
                      </a:cubicBezTo>
                      <a:cubicBezTo>
                        <a:pt x="2286338" y="1834485"/>
                        <a:pt x="2278902" y="1833911"/>
                        <a:pt x="2277976" y="1833630"/>
                      </a:cubicBezTo>
                      <a:cubicBezTo>
                        <a:pt x="2278046" y="1836850"/>
                        <a:pt x="2278386" y="1841242"/>
                        <a:pt x="2275985" y="1843385"/>
                      </a:cubicBezTo>
                      <a:cubicBezTo>
                        <a:pt x="2275891" y="1841547"/>
                        <a:pt x="2275599" y="1840305"/>
                        <a:pt x="2275493" y="1838560"/>
                      </a:cubicBezTo>
                      <a:cubicBezTo>
                        <a:pt x="2274931" y="1842823"/>
                        <a:pt x="2271289" y="1843198"/>
                        <a:pt x="2267928" y="1846407"/>
                      </a:cubicBezTo>
                      <a:cubicBezTo>
                        <a:pt x="2269790" y="1835574"/>
                        <a:pt x="2258875" y="1845611"/>
                        <a:pt x="2260432" y="1840446"/>
                      </a:cubicBezTo>
                      <a:cubicBezTo>
                        <a:pt x="2256685" y="1841195"/>
                        <a:pt x="2256989" y="1845927"/>
                        <a:pt x="2255912" y="1849335"/>
                      </a:cubicBezTo>
                      <a:cubicBezTo>
                        <a:pt x="2253300" y="1857673"/>
                        <a:pt x="2251321" y="1856842"/>
                        <a:pt x="2243111" y="1856104"/>
                      </a:cubicBezTo>
                      <a:cubicBezTo>
                        <a:pt x="2242256" y="1856022"/>
                        <a:pt x="2237033" y="1851185"/>
                        <a:pt x="2238625" y="1855472"/>
                      </a:cubicBezTo>
                      <a:cubicBezTo>
                        <a:pt x="2239949" y="1859056"/>
                        <a:pt x="2241577" y="1858177"/>
                        <a:pt x="2244399" y="1859137"/>
                      </a:cubicBezTo>
                      <a:cubicBezTo>
                        <a:pt x="2249423" y="1860847"/>
                        <a:pt x="2249330" y="1858575"/>
                        <a:pt x="2253335" y="1863716"/>
                      </a:cubicBezTo>
                      <a:cubicBezTo>
                        <a:pt x="2252972" y="1864150"/>
                        <a:pt x="2252609" y="1864583"/>
                        <a:pt x="2252246" y="1865017"/>
                      </a:cubicBezTo>
                      <a:cubicBezTo>
                        <a:pt x="2250231" y="1862956"/>
                        <a:pt x="2248533" y="1862347"/>
                        <a:pt x="2246156" y="1861222"/>
                      </a:cubicBezTo>
                      <a:cubicBezTo>
                        <a:pt x="2247292" y="1861831"/>
                        <a:pt x="2247854" y="1862487"/>
                        <a:pt x="2248651" y="1863295"/>
                      </a:cubicBezTo>
                      <a:cubicBezTo>
                        <a:pt x="2247749" y="1864490"/>
                        <a:pt x="2246109" y="1866609"/>
                        <a:pt x="2245079" y="1867734"/>
                      </a:cubicBezTo>
                      <a:cubicBezTo>
                        <a:pt x="2244306" y="1864864"/>
                        <a:pt x="2242244" y="1861960"/>
                        <a:pt x="2237888" y="1863822"/>
                      </a:cubicBezTo>
                      <a:cubicBezTo>
                        <a:pt x="2241085" y="1864361"/>
                        <a:pt x="2241050" y="1864806"/>
                        <a:pt x="2241495" y="1866668"/>
                      </a:cubicBezTo>
                      <a:cubicBezTo>
                        <a:pt x="2241307" y="1865918"/>
                        <a:pt x="2239820" y="1876552"/>
                        <a:pt x="2239926" y="1876365"/>
                      </a:cubicBezTo>
                      <a:cubicBezTo>
                        <a:pt x="2235674" y="1884434"/>
                        <a:pt x="2228085" y="1876599"/>
                        <a:pt x="2221831" y="1878157"/>
                      </a:cubicBezTo>
                      <a:cubicBezTo>
                        <a:pt x="2223178" y="1878274"/>
                        <a:pt x="2224923" y="1878824"/>
                        <a:pt x="2226012" y="1879012"/>
                      </a:cubicBezTo>
                      <a:cubicBezTo>
                        <a:pt x="2222639" y="1881354"/>
                        <a:pt x="2220297" y="1884809"/>
                        <a:pt x="2216338" y="1886261"/>
                      </a:cubicBezTo>
                      <a:cubicBezTo>
                        <a:pt x="2217018" y="1884387"/>
                        <a:pt x="2215987" y="1884552"/>
                        <a:pt x="2217791" y="1882479"/>
                      </a:cubicBezTo>
                      <a:cubicBezTo>
                        <a:pt x="2216608" y="1881905"/>
                        <a:pt x="2214734" y="1880675"/>
                        <a:pt x="2213551" y="1880382"/>
                      </a:cubicBezTo>
                      <a:cubicBezTo>
                        <a:pt x="2219044" y="1885172"/>
                        <a:pt x="2201195" y="1892082"/>
                        <a:pt x="2200294" y="1887795"/>
                      </a:cubicBezTo>
                      <a:cubicBezTo>
                        <a:pt x="2200903" y="1887889"/>
                        <a:pt x="2200996" y="1889049"/>
                        <a:pt x="2201617" y="1888990"/>
                      </a:cubicBezTo>
                      <a:cubicBezTo>
                        <a:pt x="2200586" y="1883661"/>
                        <a:pt x="2191065" y="1885125"/>
                        <a:pt x="2197448" y="1880441"/>
                      </a:cubicBezTo>
                      <a:cubicBezTo>
                        <a:pt x="2194239" y="1881600"/>
                        <a:pt x="2186568" y="1887081"/>
                        <a:pt x="2187739" y="1882443"/>
                      </a:cubicBezTo>
                      <a:cubicBezTo>
                        <a:pt x="2184928" y="1881366"/>
                        <a:pt x="2182937" y="1880909"/>
                        <a:pt x="2180361" y="1880816"/>
                      </a:cubicBezTo>
                      <a:cubicBezTo>
                        <a:pt x="2183289" y="1881331"/>
                        <a:pt x="2185584" y="1882338"/>
                        <a:pt x="2183581" y="1884973"/>
                      </a:cubicBezTo>
                      <a:cubicBezTo>
                        <a:pt x="2186287" y="1885922"/>
                        <a:pt x="2188781" y="1885723"/>
                        <a:pt x="2191112" y="1884188"/>
                      </a:cubicBezTo>
                      <a:cubicBezTo>
                        <a:pt x="2187833" y="1886542"/>
                        <a:pt x="2185572" y="1889341"/>
                        <a:pt x="2188149" y="1892387"/>
                      </a:cubicBezTo>
                      <a:cubicBezTo>
                        <a:pt x="2188934" y="1890747"/>
                        <a:pt x="2188676" y="1891438"/>
                        <a:pt x="2189753" y="1890700"/>
                      </a:cubicBezTo>
                      <a:cubicBezTo>
                        <a:pt x="2189554" y="1892281"/>
                        <a:pt x="2189308" y="1893288"/>
                        <a:pt x="2189191" y="1894916"/>
                      </a:cubicBezTo>
                      <a:cubicBezTo>
                        <a:pt x="2186591" y="1893991"/>
                        <a:pt x="2170019" y="1890653"/>
                        <a:pt x="2181298" y="1889775"/>
                      </a:cubicBezTo>
                      <a:cubicBezTo>
                        <a:pt x="2179166" y="1888662"/>
                        <a:pt x="2175418" y="1888088"/>
                        <a:pt x="2171343" y="1888323"/>
                      </a:cubicBezTo>
                      <a:cubicBezTo>
                        <a:pt x="2173732" y="1886999"/>
                        <a:pt x="2176437" y="1884915"/>
                        <a:pt x="2175723" y="1881940"/>
                      </a:cubicBezTo>
                      <a:cubicBezTo>
                        <a:pt x="2172959" y="1885207"/>
                        <a:pt x="2169434" y="1885231"/>
                        <a:pt x="2168591" y="1888522"/>
                      </a:cubicBezTo>
                      <a:cubicBezTo>
                        <a:pt x="2162606" y="1883884"/>
                        <a:pt x="2162009" y="1892398"/>
                        <a:pt x="2160416" y="1892749"/>
                      </a:cubicBezTo>
                      <a:cubicBezTo>
                        <a:pt x="2155357" y="1893886"/>
                        <a:pt x="2157055" y="1889096"/>
                        <a:pt x="2152007" y="1889693"/>
                      </a:cubicBezTo>
                      <a:cubicBezTo>
                        <a:pt x="2153576" y="1892187"/>
                        <a:pt x="2154419" y="1892586"/>
                        <a:pt x="2157441" y="1894459"/>
                      </a:cubicBezTo>
                      <a:cubicBezTo>
                        <a:pt x="2154876" y="1895982"/>
                        <a:pt x="2153822" y="1898277"/>
                        <a:pt x="2154970" y="1900784"/>
                      </a:cubicBezTo>
                      <a:cubicBezTo>
                        <a:pt x="2155368" y="1901088"/>
                        <a:pt x="2152792" y="1901662"/>
                        <a:pt x="2153120" y="1901346"/>
                      </a:cubicBezTo>
                      <a:cubicBezTo>
                        <a:pt x="2153202" y="1896568"/>
                        <a:pt x="2147779" y="1900397"/>
                        <a:pt x="2145753" y="1897141"/>
                      </a:cubicBezTo>
                      <a:cubicBezTo>
                        <a:pt x="2143469" y="1893476"/>
                        <a:pt x="2149875" y="1888791"/>
                        <a:pt x="2149770" y="1888498"/>
                      </a:cubicBezTo>
                      <a:cubicBezTo>
                        <a:pt x="2148295" y="1884458"/>
                        <a:pt x="2135857" y="1892796"/>
                        <a:pt x="2134264" y="1892843"/>
                      </a:cubicBezTo>
                      <a:cubicBezTo>
                        <a:pt x="2133819" y="1893874"/>
                        <a:pt x="2134112" y="1894752"/>
                        <a:pt x="2133069" y="1895736"/>
                      </a:cubicBezTo>
                      <a:cubicBezTo>
                        <a:pt x="2134592" y="1895619"/>
                        <a:pt x="2135892" y="1896556"/>
                        <a:pt x="2137812" y="1896251"/>
                      </a:cubicBezTo>
                      <a:cubicBezTo>
                        <a:pt x="2135623" y="1897563"/>
                        <a:pt x="2134229" y="1899905"/>
                        <a:pt x="2133198" y="1901358"/>
                      </a:cubicBezTo>
                      <a:cubicBezTo>
                        <a:pt x="2140612" y="1898430"/>
                        <a:pt x="2138211" y="1908455"/>
                        <a:pt x="2132285" y="1905562"/>
                      </a:cubicBezTo>
                      <a:cubicBezTo>
                        <a:pt x="2131769" y="1905304"/>
                        <a:pt x="2131664" y="1901451"/>
                        <a:pt x="2130317" y="1900221"/>
                      </a:cubicBezTo>
                      <a:cubicBezTo>
                        <a:pt x="2128362" y="1898418"/>
                        <a:pt x="2127635" y="1898231"/>
                        <a:pt x="2124180" y="1898383"/>
                      </a:cubicBezTo>
                      <a:cubicBezTo>
                        <a:pt x="2118746" y="1898629"/>
                        <a:pt x="2104084" y="1902986"/>
                        <a:pt x="2101296" y="1906733"/>
                      </a:cubicBezTo>
                      <a:cubicBezTo>
                        <a:pt x="2101390" y="1903864"/>
                        <a:pt x="2099949" y="1905620"/>
                        <a:pt x="2101495" y="1902986"/>
                      </a:cubicBezTo>
                      <a:cubicBezTo>
                        <a:pt x="2096600" y="1899601"/>
                        <a:pt x="2095651" y="1893382"/>
                        <a:pt x="2092840" y="1889751"/>
                      </a:cubicBezTo>
                      <a:cubicBezTo>
                        <a:pt x="2092243" y="1888990"/>
                        <a:pt x="2090229" y="1890747"/>
                        <a:pt x="2089034" y="1889459"/>
                      </a:cubicBezTo>
                      <a:cubicBezTo>
                        <a:pt x="2088542" y="1888932"/>
                        <a:pt x="2087933" y="1884059"/>
                        <a:pt x="2087055" y="1882724"/>
                      </a:cubicBezTo>
                      <a:cubicBezTo>
                        <a:pt x="2086891" y="1883942"/>
                        <a:pt x="2086926" y="1884469"/>
                        <a:pt x="2087055" y="1885699"/>
                      </a:cubicBezTo>
                      <a:cubicBezTo>
                        <a:pt x="2086153" y="1884036"/>
                        <a:pt x="2086469" y="1883720"/>
                        <a:pt x="2086715" y="1881940"/>
                      </a:cubicBezTo>
                      <a:cubicBezTo>
                        <a:pt x="2086516" y="1882127"/>
                        <a:pt x="2085731" y="1882865"/>
                        <a:pt x="2085966" y="1883263"/>
                      </a:cubicBezTo>
                      <a:cubicBezTo>
                        <a:pt x="2086574" y="1880581"/>
                        <a:pt x="2087418" y="1877595"/>
                        <a:pt x="2088167" y="1874784"/>
                      </a:cubicBezTo>
                      <a:cubicBezTo>
                        <a:pt x="2087441" y="1876564"/>
                        <a:pt x="2086446" y="1878836"/>
                        <a:pt x="2085989" y="1881190"/>
                      </a:cubicBezTo>
                      <a:cubicBezTo>
                        <a:pt x="2086340" y="1878988"/>
                        <a:pt x="2086434" y="1877009"/>
                        <a:pt x="2087055" y="1874784"/>
                      </a:cubicBezTo>
                      <a:cubicBezTo>
                        <a:pt x="2086411" y="1876529"/>
                        <a:pt x="2085520" y="1878298"/>
                        <a:pt x="2084911" y="1880066"/>
                      </a:cubicBezTo>
                      <a:cubicBezTo>
                        <a:pt x="2085404" y="1878497"/>
                        <a:pt x="2085158" y="1877150"/>
                        <a:pt x="2085263" y="1875533"/>
                      </a:cubicBezTo>
                      <a:cubicBezTo>
                        <a:pt x="2080824" y="1879445"/>
                        <a:pt x="2082698" y="1873460"/>
                        <a:pt x="2085216" y="1871282"/>
                      </a:cubicBezTo>
                      <a:cubicBezTo>
                        <a:pt x="2088179" y="1868717"/>
                        <a:pt x="2094937" y="1869139"/>
                        <a:pt x="2098146" y="1870240"/>
                      </a:cubicBezTo>
                      <a:cubicBezTo>
                        <a:pt x="2090018" y="1866211"/>
                        <a:pt x="2083307" y="1873039"/>
                        <a:pt x="2075636" y="1872114"/>
                      </a:cubicBezTo>
                      <a:cubicBezTo>
                        <a:pt x="2087722" y="1874222"/>
                        <a:pt x="2076397" y="1885805"/>
                        <a:pt x="2065962" y="1881541"/>
                      </a:cubicBezTo>
                      <a:cubicBezTo>
                        <a:pt x="2067028" y="1882291"/>
                        <a:pt x="2069335" y="1882572"/>
                        <a:pt x="2070623" y="1883345"/>
                      </a:cubicBezTo>
                      <a:cubicBezTo>
                        <a:pt x="2071373" y="1883802"/>
                        <a:pt x="2073493" y="1883415"/>
                        <a:pt x="2074816" y="1884177"/>
                      </a:cubicBezTo>
                      <a:cubicBezTo>
                        <a:pt x="2077006" y="1885418"/>
                        <a:pt x="2078084" y="1887854"/>
                        <a:pt x="2080614" y="1889060"/>
                      </a:cubicBezTo>
                      <a:cubicBezTo>
                        <a:pt x="2077311" y="1890395"/>
                        <a:pt x="2078224" y="1890969"/>
                        <a:pt x="2074523" y="1889470"/>
                      </a:cubicBezTo>
                      <a:cubicBezTo>
                        <a:pt x="2077803" y="1891204"/>
                        <a:pt x="2084549" y="1895396"/>
                        <a:pt x="2085626" y="1899484"/>
                      </a:cubicBezTo>
                      <a:cubicBezTo>
                        <a:pt x="2086610" y="1903196"/>
                        <a:pt x="2079700" y="1910551"/>
                        <a:pt x="2086680" y="1911266"/>
                      </a:cubicBezTo>
                      <a:cubicBezTo>
                        <a:pt x="2084783" y="1914240"/>
                        <a:pt x="2084642" y="1923609"/>
                        <a:pt x="2079442" y="1922977"/>
                      </a:cubicBezTo>
                      <a:cubicBezTo>
                        <a:pt x="2072978" y="1922180"/>
                        <a:pt x="2067508" y="1904438"/>
                        <a:pt x="2063456" y="1899999"/>
                      </a:cubicBezTo>
                      <a:cubicBezTo>
                        <a:pt x="2061254" y="1906312"/>
                        <a:pt x="2071818" y="1916536"/>
                        <a:pt x="2075812" y="1921712"/>
                      </a:cubicBezTo>
                      <a:cubicBezTo>
                        <a:pt x="2067895" y="1919663"/>
                        <a:pt x="2071116" y="1925870"/>
                        <a:pt x="2067953" y="1928224"/>
                      </a:cubicBezTo>
                      <a:cubicBezTo>
                        <a:pt x="2060153" y="1934021"/>
                        <a:pt x="2061687" y="1924043"/>
                        <a:pt x="2060598" y="1919534"/>
                      </a:cubicBezTo>
                      <a:cubicBezTo>
                        <a:pt x="2060247" y="1920728"/>
                        <a:pt x="2058326" y="1923129"/>
                        <a:pt x="2057858" y="1924909"/>
                      </a:cubicBezTo>
                      <a:cubicBezTo>
                        <a:pt x="2057319" y="1924499"/>
                        <a:pt x="2056769" y="1924101"/>
                        <a:pt x="2056230" y="1923691"/>
                      </a:cubicBezTo>
                      <a:cubicBezTo>
                        <a:pt x="2055281" y="1928681"/>
                        <a:pt x="2056605" y="1932334"/>
                        <a:pt x="2054169" y="1935450"/>
                      </a:cubicBezTo>
                      <a:cubicBezTo>
                        <a:pt x="2048664" y="1942477"/>
                        <a:pt x="2049484" y="1934513"/>
                        <a:pt x="2044624" y="1934255"/>
                      </a:cubicBezTo>
                      <a:cubicBezTo>
                        <a:pt x="2039740" y="1933997"/>
                        <a:pt x="2038698" y="1941715"/>
                        <a:pt x="2035384" y="1942980"/>
                      </a:cubicBezTo>
                      <a:cubicBezTo>
                        <a:pt x="2028849" y="1945475"/>
                        <a:pt x="2019034" y="1937617"/>
                        <a:pt x="2028427" y="1933377"/>
                      </a:cubicBezTo>
                      <a:cubicBezTo>
                        <a:pt x="2023508" y="1936492"/>
                        <a:pt x="2020873" y="1932522"/>
                        <a:pt x="2023403" y="1927767"/>
                      </a:cubicBezTo>
                      <a:cubicBezTo>
                        <a:pt x="2018074" y="1932077"/>
                        <a:pt x="2025440" y="1938132"/>
                        <a:pt x="2023157" y="1943273"/>
                      </a:cubicBezTo>
                      <a:cubicBezTo>
                        <a:pt x="2019948" y="1950546"/>
                        <a:pt x="2011644" y="1947337"/>
                        <a:pt x="2012710" y="1940099"/>
                      </a:cubicBezTo>
                      <a:cubicBezTo>
                        <a:pt x="2009759" y="1943695"/>
                        <a:pt x="2000190" y="1944397"/>
                        <a:pt x="2004828" y="1937862"/>
                      </a:cubicBezTo>
                      <a:cubicBezTo>
                        <a:pt x="2004032" y="1939162"/>
                        <a:pt x="2002228" y="1940076"/>
                        <a:pt x="2001057" y="1941153"/>
                      </a:cubicBezTo>
                      <a:cubicBezTo>
                        <a:pt x="2000085" y="1938413"/>
                        <a:pt x="1998656" y="1937593"/>
                        <a:pt x="1996946" y="1935625"/>
                      </a:cubicBezTo>
                      <a:cubicBezTo>
                        <a:pt x="1996045" y="1939924"/>
                        <a:pt x="1998106" y="1943730"/>
                        <a:pt x="2002673" y="1943870"/>
                      </a:cubicBezTo>
                      <a:cubicBezTo>
                        <a:pt x="1998867" y="1945826"/>
                        <a:pt x="1997871" y="1948168"/>
                        <a:pt x="1994241" y="1949129"/>
                      </a:cubicBezTo>
                      <a:cubicBezTo>
                        <a:pt x="1994370" y="1949047"/>
                        <a:pt x="1996150" y="1948063"/>
                        <a:pt x="1996220" y="1948016"/>
                      </a:cubicBezTo>
                      <a:cubicBezTo>
                        <a:pt x="1994522" y="1946048"/>
                        <a:pt x="1995178" y="1946295"/>
                        <a:pt x="1994042" y="1944280"/>
                      </a:cubicBezTo>
                      <a:cubicBezTo>
                        <a:pt x="1991594" y="1945897"/>
                        <a:pt x="1988912" y="1945030"/>
                        <a:pt x="1985855" y="1943496"/>
                      </a:cubicBezTo>
                      <a:cubicBezTo>
                        <a:pt x="1989814" y="1945252"/>
                        <a:pt x="1992461" y="1948285"/>
                        <a:pt x="1989451" y="1950991"/>
                      </a:cubicBezTo>
                      <a:cubicBezTo>
                        <a:pt x="1990493" y="1951565"/>
                        <a:pt x="1990763" y="1951729"/>
                        <a:pt x="1991594" y="1952513"/>
                      </a:cubicBezTo>
                      <a:cubicBezTo>
                        <a:pt x="1985750" y="1950757"/>
                        <a:pt x="1984474" y="1960911"/>
                        <a:pt x="1980855" y="1954387"/>
                      </a:cubicBezTo>
                      <a:cubicBezTo>
                        <a:pt x="1981042" y="1955593"/>
                        <a:pt x="1980878" y="1955933"/>
                        <a:pt x="1981569" y="1956999"/>
                      </a:cubicBezTo>
                      <a:cubicBezTo>
                        <a:pt x="1976814" y="1957983"/>
                        <a:pt x="1974097" y="1958650"/>
                        <a:pt x="1973043" y="1953240"/>
                      </a:cubicBezTo>
                      <a:cubicBezTo>
                        <a:pt x="1973207" y="1955957"/>
                        <a:pt x="1971778" y="1954235"/>
                        <a:pt x="1973336" y="1956999"/>
                      </a:cubicBezTo>
                      <a:cubicBezTo>
                        <a:pt x="1971521" y="1956800"/>
                        <a:pt x="1969858" y="1957432"/>
                        <a:pt x="1968733" y="1957409"/>
                      </a:cubicBezTo>
                      <a:cubicBezTo>
                        <a:pt x="1969869" y="1957280"/>
                        <a:pt x="1970361" y="1957128"/>
                        <a:pt x="1971579" y="1957409"/>
                      </a:cubicBezTo>
                      <a:cubicBezTo>
                        <a:pt x="1968862" y="1958990"/>
                        <a:pt x="1966567" y="1961332"/>
                        <a:pt x="1963686" y="1961883"/>
                      </a:cubicBezTo>
                      <a:cubicBezTo>
                        <a:pt x="1964833" y="1960911"/>
                        <a:pt x="1965255" y="1960091"/>
                        <a:pt x="1966192" y="1958896"/>
                      </a:cubicBezTo>
                      <a:cubicBezTo>
                        <a:pt x="1963615" y="1957456"/>
                        <a:pt x="1961261" y="1957057"/>
                        <a:pt x="1958720" y="1957749"/>
                      </a:cubicBezTo>
                      <a:cubicBezTo>
                        <a:pt x="1959504" y="1957983"/>
                        <a:pt x="1960102" y="1958557"/>
                        <a:pt x="1962292" y="1958896"/>
                      </a:cubicBezTo>
                      <a:cubicBezTo>
                        <a:pt x="1959879" y="1960302"/>
                        <a:pt x="1957678" y="1960618"/>
                        <a:pt x="1955101" y="1960360"/>
                      </a:cubicBezTo>
                      <a:cubicBezTo>
                        <a:pt x="1954902" y="1960431"/>
                        <a:pt x="1957291" y="1959224"/>
                        <a:pt x="1957268" y="1959236"/>
                      </a:cubicBezTo>
                      <a:cubicBezTo>
                        <a:pt x="1957479" y="1959283"/>
                        <a:pt x="1957010" y="1958451"/>
                        <a:pt x="1956963" y="1958498"/>
                      </a:cubicBezTo>
                      <a:cubicBezTo>
                        <a:pt x="1953895" y="1958639"/>
                        <a:pt x="1955253" y="1958451"/>
                        <a:pt x="1951939" y="1956636"/>
                      </a:cubicBezTo>
                      <a:cubicBezTo>
                        <a:pt x="1951260" y="1957737"/>
                        <a:pt x="1950979" y="1957655"/>
                        <a:pt x="1949749" y="1958123"/>
                      </a:cubicBezTo>
                      <a:cubicBezTo>
                        <a:pt x="1949831" y="1960723"/>
                        <a:pt x="1950334" y="1959294"/>
                        <a:pt x="1949433" y="1961883"/>
                      </a:cubicBezTo>
                      <a:cubicBezTo>
                        <a:pt x="1951295" y="1960876"/>
                        <a:pt x="1952724" y="1960805"/>
                        <a:pt x="1954070" y="1960360"/>
                      </a:cubicBezTo>
                      <a:cubicBezTo>
                        <a:pt x="1946751" y="1964260"/>
                        <a:pt x="1935683" y="1963030"/>
                        <a:pt x="1932275" y="1971943"/>
                      </a:cubicBezTo>
                      <a:cubicBezTo>
                        <a:pt x="1932755" y="1969928"/>
                        <a:pt x="1932978" y="1968792"/>
                        <a:pt x="1933669" y="1967129"/>
                      </a:cubicBezTo>
                      <a:cubicBezTo>
                        <a:pt x="1932474" y="1967469"/>
                        <a:pt x="1932556" y="1967493"/>
                        <a:pt x="1931877" y="1968593"/>
                      </a:cubicBezTo>
                      <a:cubicBezTo>
                        <a:pt x="1930987" y="1964295"/>
                        <a:pt x="1936128" y="1964892"/>
                        <a:pt x="1938307" y="1961883"/>
                      </a:cubicBezTo>
                      <a:cubicBezTo>
                        <a:pt x="1934372" y="1964120"/>
                        <a:pt x="1932861" y="1965501"/>
                        <a:pt x="1930472" y="1968500"/>
                      </a:cubicBezTo>
                      <a:cubicBezTo>
                        <a:pt x="1928820" y="1970573"/>
                        <a:pt x="1935098" y="1975351"/>
                        <a:pt x="1928328" y="1972681"/>
                      </a:cubicBezTo>
                      <a:cubicBezTo>
                        <a:pt x="1928340" y="1972950"/>
                        <a:pt x="1928715" y="1973782"/>
                        <a:pt x="1929043" y="1973840"/>
                      </a:cubicBezTo>
                      <a:cubicBezTo>
                        <a:pt x="1926056" y="1973477"/>
                        <a:pt x="1922918" y="1974250"/>
                        <a:pt x="1920470" y="1975690"/>
                      </a:cubicBezTo>
                      <a:cubicBezTo>
                        <a:pt x="1920306" y="1974156"/>
                        <a:pt x="1920435" y="1971064"/>
                        <a:pt x="1920470" y="1970444"/>
                      </a:cubicBezTo>
                      <a:cubicBezTo>
                        <a:pt x="1920821" y="1970479"/>
                        <a:pt x="1920786" y="1970350"/>
                        <a:pt x="1920821" y="1970104"/>
                      </a:cubicBezTo>
                      <a:cubicBezTo>
                        <a:pt x="1921829" y="1970420"/>
                        <a:pt x="1922531" y="1970713"/>
                        <a:pt x="1923316" y="1971229"/>
                      </a:cubicBezTo>
                      <a:cubicBezTo>
                        <a:pt x="1923234" y="1971064"/>
                        <a:pt x="1923855" y="1969706"/>
                        <a:pt x="1923714" y="1969706"/>
                      </a:cubicBezTo>
                      <a:cubicBezTo>
                        <a:pt x="1922883" y="1969624"/>
                        <a:pt x="1922590" y="1969987"/>
                        <a:pt x="1921536" y="1969706"/>
                      </a:cubicBezTo>
                      <a:cubicBezTo>
                        <a:pt x="1922051" y="1969156"/>
                        <a:pt x="1923363" y="1968558"/>
                        <a:pt x="1923714" y="1967832"/>
                      </a:cubicBezTo>
                      <a:cubicBezTo>
                        <a:pt x="1922859" y="1968418"/>
                        <a:pt x="1922438" y="1968019"/>
                        <a:pt x="1922601" y="1967118"/>
                      </a:cubicBezTo>
                      <a:cubicBezTo>
                        <a:pt x="1921992" y="1967832"/>
                        <a:pt x="1921676" y="1968734"/>
                        <a:pt x="1920950" y="1969296"/>
                      </a:cubicBezTo>
                      <a:cubicBezTo>
                        <a:pt x="1921185" y="1967914"/>
                        <a:pt x="1920751" y="1966192"/>
                        <a:pt x="1921149" y="1964459"/>
                      </a:cubicBezTo>
                      <a:cubicBezTo>
                        <a:pt x="1918245" y="1964658"/>
                        <a:pt x="1918830" y="1964482"/>
                        <a:pt x="1918643" y="1961473"/>
                      </a:cubicBezTo>
                      <a:cubicBezTo>
                        <a:pt x="1917343" y="1963183"/>
                        <a:pt x="1917577" y="1965560"/>
                        <a:pt x="1918643" y="1968218"/>
                      </a:cubicBezTo>
                      <a:cubicBezTo>
                        <a:pt x="1917495" y="1967762"/>
                        <a:pt x="1918702" y="1967797"/>
                        <a:pt x="1918292" y="1968593"/>
                      </a:cubicBezTo>
                      <a:cubicBezTo>
                        <a:pt x="1917402" y="1968160"/>
                        <a:pt x="1916324" y="1967903"/>
                        <a:pt x="1915457" y="1967469"/>
                      </a:cubicBezTo>
                      <a:cubicBezTo>
                        <a:pt x="1923632" y="1977682"/>
                        <a:pt x="1914685" y="1975585"/>
                        <a:pt x="1909754" y="1984626"/>
                      </a:cubicBezTo>
                      <a:cubicBezTo>
                        <a:pt x="1909543" y="1983690"/>
                        <a:pt x="1909075" y="1982835"/>
                        <a:pt x="1909016" y="1981652"/>
                      </a:cubicBezTo>
                      <a:cubicBezTo>
                        <a:pt x="1908009" y="1983198"/>
                        <a:pt x="1906264" y="1985879"/>
                        <a:pt x="1905807" y="1986547"/>
                      </a:cubicBezTo>
                      <a:cubicBezTo>
                        <a:pt x="1906194" y="1988819"/>
                        <a:pt x="1906440" y="1991173"/>
                        <a:pt x="1907587" y="1993621"/>
                      </a:cubicBezTo>
                      <a:cubicBezTo>
                        <a:pt x="1907552" y="1993633"/>
                        <a:pt x="1906920" y="1992731"/>
                        <a:pt x="1906522" y="1992836"/>
                      </a:cubicBezTo>
                      <a:cubicBezTo>
                        <a:pt x="1906615" y="1993515"/>
                        <a:pt x="1906990" y="1994382"/>
                        <a:pt x="1906896" y="1994733"/>
                      </a:cubicBezTo>
                      <a:cubicBezTo>
                        <a:pt x="1909496" y="1994851"/>
                        <a:pt x="1915856" y="1994171"/>
                        <a:pt x="1917577" y="1994370"/>
                      </a:cubicBezTo>
                      <a:cubicBezTo>
                        <a:pt x="1922648" y="2000097"/>
                        <a:pt x="1915762" y="2004747"/>
                        <a:pt x="1916184" y="1995858"/>
                      </a:cubicBezTo>
                      <a:cubicBezTo>
                        <a:pt x="1913584" y="1999266"/>
                        <a:pt x="1915469" y="2000589"/>
                        <a:pt x="1914029" y="2004806"/>
                      </a:cubicBezTo>
                      <a:cubicBezTo>
                        <a:pt x="1914427" y="2004700"/>
                        <a:pt x="1915294" y="2003868"/>
                        <a:pt x="1915457" y="2003693"/>
                      </a:cubicBezTo>
                      <a:cubicBezTo>
                        <a:pt x="1915457" y="2003704"/>
                        <a:pt x="1914907" y="2006422"/>
                        <a:pt x="1914731" y="2005930"/>
                      </a:cubicBezTo>
                      <a:cubicBezTo>
                        <a:pt x="1914497" y="2005988"/>
                        <a:pt x="1917519" y="2005602"/>
                        <a:pt x="1917249" y="2005555"/>
                      </a:cubicBezTo>
                      <a:cubicBezTo>
                        <a:pt x="1918186" y="2007323"/>
                        <a:pt x="1925752" y="2009818"/>
                        <a:pt x="1926197" y="2014538"/>
                      </a:cubicBezTo>
                      <a:cubicBezTo>
                        <a:pt x="1926642" y="2019281"/>
                        <a:pt x="1917929" y="2024855"/>
                        <a:pt x="1914673" y="2025957"/>
                      </a:cubicBezTo>
                      <a:cubicBezTo>
                        <a:pt x="1906697" y="2028662"/>
                        <a:pt x="1900900" y="2022057"/>
                        <a:pt x="1894025" y="2027526"/>
                      </a:cubicBezTo>
                      <a:cubicBezTo>
                        <a:pt x="1895724" y="2023427"/>
                        <a:pt x="1893030" y="2020159"/>
                        <a:pt x="1891179" y="2018461"/>
                      </a:cubicBezTo>
                      <a:cubicBezTo>
                        <a:pt x="1893686" y="2016716"/>
                        <a:pt x="1895794" y="2018367"/>
                        <a:pt x="1897422" y="2021436"/>
                      </a:cubicBezTo>
                      <a:cubicBezTo>
                        <a:pt x="1899296" y="2018812"/>
                        <a:pt x="1899132" y="2016575"/>
                        <a:pt x="1896520" y="2014550"/>
                      </a:cubicBezTo>
                      <a:cubicBezTo>
                        <a:pt x="1896461" y="2014514"/>
                        <a:pt x="1896075" y="2016025"/>
                        <a:pt x="1896157" y="2016002"/>
                      </a:cubicBezTo>
                      <a:cubicBezTo>
                        <a:pt x="1895606" y="2014983"/>
                        <a:pt x="1895173" y="2014327"/>
                        <a:pt x="1894728" y="2013027"/>
                      </a:cubicBezTo>
                      <a:cubicBezTo>
                        <a:pt x="1894869" y="2014421"/>
                        <a:pt x="1894271" y="2015252"/>
                        <a:pt x="1894025" y="2016376"/>
                      </a:cubicBezTo>
                      <a:cubicBezTo>
                        <a:pt x="1891554" y="2012828"/>
                        <a:pt x="1887455" y="2012933"/>
                        <a:pt x="1890407" y="2008167"/>
                      </a:cubicBezTo>
                      <a:cubicBezTo>
                        <a:pt x="1890348" y="2008342"/>
                        <a:pt x="1889177" y="2010193"/>
                        <a:pt x="1889001" y="2010404"/>
                      </a:cubicBezTo>
                      <a:cubicBezTo>
                        <a:pt x="1887619" y="2006925"/>
                        <a:pt x="1888099" y="2007827"/>
                        <a:pt x="1885078" y="2006316"/>
                      </a:cubicBezTo>
                      <a:cubicBezTo>
                        <a:pt x="1885769" y="2003412"/>
                        <a:pt x="1887643" y="2002604"/>
                        <a:pt x="1890055" y="2003342"/>
                      </a:cubicBezTo>
                      <a:cubicBezTo>
                        <a:pt x="1890196" y="2003060"/>
                        <a:pt x="1891004" y="2001678"/>
                        <a:pt x="1891051" y="2001643"/>
                      </a:cubicBezTo>
                      <a:cubicBezTo>
                        <a:pt x="1884246" y="2005602"/>
                        <a:pt x="1887092" y="1995530"/>
                        <a:pt x="1884656" y="1993480"/>
                      </a:cubicBezTo>
                      <a:cubicBezTo>
                        <a:pt x="1884106" y="1994652"/>
                        <a:pt x="1884797" y="1995319"/>
                        <a:pt x="1884726" y="1996619"/>
                      </a:cubicBezTo>
                      <a:cubicBezTo>
                        <a:pt x="1883989" y="1996303"/>
                        <a:pt x="1883649" y="1994897"/>
                        <a:pt x="1882911" y="1994757"/>
                      </a:cubicBezTo>
                      <a:cubicBezTo>
                        <a:pt x="1882958" y="1995471"/>
                        <a:pt x="1883497" y="1995951"/>
                        <a:pt x="1883637" y="1996619"/>
                      </a:cubicBezTo>
                      <a:cubicBezTo>
                        <a:pt x="1879105" y="1992906"/>
                        <a:pt x="1881365" y="1986817"/>
                        <a:pt x="1883298" y="1984310"/>
                      </a:cubicBezTo>
                      <a:cubicBezTo>
                        <a:pt x="1881330" y="1980879"/>
                        <a:pt x="1880370" y="1975609"/>
                        <a:pt x="1885418" y="1977213"/>
                      </a:cubicBezTo>
                      <a:cubicBezTo>
                        <a:pt x="1886378" y="1973899"/>
                        <a:pt x="1886413" y="1970502"/>
                        <a:pt x="1886144" y="1966743"/>
                      </a:cubicBezTo>
                      <a:cubicBezTo>
                        <a:pt x="1887057" y="1967364"/>
                        <a:pt x="1886682" y="1967598"/>
                        <a:pt x="1887244" y="1968230"/>
                      </a:cubicBezTo>
                      <a:cubicBezTo>
                        <a:pt x="1888814" y="1966474"/>
                        <a:pt x="1891355" y="1965876"/>
                        <a:pt x="1894400" y="1966368"/>
                      </a:cubicBezTo>
                      <a:cubicBezTo>
                        <a:pt x="1894634" y="1964096"/>
                        <a:pt x="1894822" y="1963873"/>
                        <a:pt x="1895817" y="1961145"/>
                      </a:cubicBezTo>
                      <a:cubicBezTo>
                        <a:pt x="1895888" y="1961637"/>
                        <a:pt x="1895501" y="1959470"/>
                        <a:pt x="1895466" y="1959248"/>
                      </a:cubicBezTo>
                      <a:cubicBezTo>
                        <a:pt x="1892608" y="1959423"/>
                        <a:pt x="1892210" y="1959037"/>
                        <a:pt x="1890079" y="1958510"/>
                      </a:cubicBezTo>
                      <a:cubicBezTo>
                        <a:pt x="1889657" y="1959470"/>
                        <a:pt x="1888966" y="1960208"/>
                        <a:pt x="1888662" y="1961145"/>
                      </a:cubicBezTo>
                      <a:cubicBezTo>
                        <a:pt x="1888462" y="1959388"/>
                        <a:pt x="1887935" y="1957971"/>
                        <a:pt x="1887959" y="1955898"/>
                      </a:cubicBezTo>
                      <a:cubicBezTo>
                        <a:pt x="1886460" y="1954738"/>
                        <a:pt x="1887373" y="1956214"/>
                        <a:pt x="1886518" y="1954411"/>
                      </a:cubicBezTo>
                      <a:cubicBezTo>
                        <a:pt x="1886085" y="1954539"/>
                        <a:pt x="1885652" y="1954657"/>
                        <a:pt x="1885218" y="1954785"/>
                      </a:cubicBezTo>
                      <a:cubicBezTo>
                        <a:pt x="1885769" y="1955840"/>
                        <a:pt x="1886108" y="1958393"/>
                        <a:pt x="1886518" y="1959669"/>
                      </a:cubicBezTo>
                      <a:cubicBezTo>
                        <a:pt x="1884844" y="1960337"/>
                        <a:pt x="1882525" y="1959704"/>
                        <a:pt x="1880077" y="1957760"/>
                      </a:cubicBezTo>
                      <a:cubicBezTo>
                        <a:pt x="1881178" y="1955734"/>
                        <a:pt x="1880932" y="1954141"/>
                        <a:pt x="1881506" y="1952139"/>
                      </a:cubicBezTo>
                      <a:cubicBezTo>
                        <a:pt x="1880100" y="1954036"/>
                        <a:pt x="1880054" y="1953181"/>
                        <a:pt x="1879362" y="1955148"/>
                      </a:cubicBezTo>
                      <a:cubicBezTo>
                        <a:pt x="1878367" y="1953439"/>
                        <a:pt x="1877887" y="1953767"/>
                        <a:pt x="1878285" y="1950675"/>
                      </a:cubicBezTo>
                      <a:cubicBezTo>
                        <a:pt x="1877864" y="1950733"/>
                        <a:pt x="1877255" y="1951893"/>
                        <a:pt x="1876716" y="1951729"/>
                      </a:cubicBezTo>
                      <a:cubicBezTo>
                        <a:pt x="1875427" y="1948953"/>
                        <a:pt x="1875018" y="1947723"/>
                        <a:pt x="1877196" y="1945416"/>
                      </a:cubicBezTo>
                      <a:cubicBezTo>
                        <a:pt x="1876423" y="1945264"/>
                        <a:pt x="1875931" y="1945814"/>
                        <a:pt x="1875791" y="1944679"/>
                      </a:cubicBezTo>
                      <a:cubicBezTo>
                        <a:pt x="1873507" y="1946435"/>
                        <a:pt x="1872628" y="1947114"/>
                        <a:pt x="1872593" y="1948777"/>
                      </a:cubicBezTo>
                      <a:cubicBezTo>
                        <a:pt x="1872582" y="1948813"/>
                        <a:pt x="1871996" y="1948719"/>
                        <a:pt x="1871879" y="1949152"/>
                      </a:cubicBezTo>
                      <a:cubicBezTo>
                        <a:pt x="1872195" y="1948976"/>
                        <a:pt x="1872933" y="1948813"/>
                        <a:pt x="1873296" y="1948777"/>
                      </a:cubicBezTo>
                      <a:cubicBezTo>
                        <a:pt x="1872429" y="1949164"/>
                        <a:pt x="1871762" y="1950159"/>
                        <a:pt x="1870427" y="1950277"/>
                      </a:cubicBezTo>
                      <a:cubicBezTo>
                        <a:pt x="1877114" y="1951471"/>
                        <a:pt x="1877465" y="1959107"/>
                        <a:pt x="1870813" y="1960758"/>
                      </a:cubicBezTo>
                      <a:cubicBezTo>
                        <a:pt x="1870509" y="1960091"/>
                        <a:pt x="1870977" y="1959294"/>
                        <a:pt x="1870813" y="1958920"/>
                      </a:cubicBezTo>
                      <a:cubicBezTo>
                        <a:pt x="1869056" y="1962164"/>
                        <a:pt x="1865484" y="1962504"/>
                        <a:pt x="1862920" y="1959974"/>
                      </a:cubicBezTo>
                      <a:cubicBezTo>
                        <a:pt x="1861292" y="1962187"/>
                        <a:pt x="1860694" y="1961566"/>
                        <a:pt x="1858633" y="1962620"/>
                      </a:cubicBezTo>
                      <a:cubicBezTo>
                        <a:pt x="1858692" y="1961648"/>
                        <a:pt x="1858586" y="1960665"/>
                        <a:pt x="1858633" y="1959681"/>
                      </a:cubicBezTo>
                      <a:cubicBezTo>
                        <a:pt x="1857954" y="1962819"/>
                        <a:pt x="1856630" y="1964389"/>
                        <a:pt x="1853984" y="1962246"/>
                      </a:cubicBezTo>
                      <a:cubicBezTo>
                        <a:pt x="1853984" y="1962117"/>
                        <a:pt x="1854136" y="1964670"/>
                        <a:pt x="1854335" y="1964155"/>
                      </a:cubicBezTo>
                      <a:cubicBezTo>
                        <a:pt x="1842495" y="1963030"/>
                        <a:pt x="1855553" y="1959329"/>
                        <a:pt x="1853258" y="1953275"/>
                      </a:cubicBezTo>
                      <a:cubicBezTo>
                        <a:pt x="1851489" y="1953544"/>
                        <a:pt x="1850271" y="1952876"/>
                        <a:pt x="1848596" y="1953275"/>
                      </a:cubicBezTo>
                      <a:cubicBezTo>
                        <a:pt x="1848971" y="1952584"/>
                        <a:pt x="1849299" y="1951612"/>
                        <a:pt x="1849674" y="1951026"/>
                      </a:cubicBezTo>
                      <a:cubicBezTo>
                        <a:pt x="1843209" y="1956425"/>
                        <a:pt x="1834308" y="1946693"/>
                        <a:pt x="1842225" y="1944315"/>
                      </a:cubicBezTo>
                      <a:cubicBezTo>
                        <a:pt x="1841991" y="1944385"/>
                        <a:pt x="1839555" y="1944749"/>
                        <a:pt x="1841124" y="1943905"/>
                      </a:cubicBezTo>
                      <a:cubicBezTo>
                        <a:pt x="1840035" y="1944257"/>
                        <a:pt x="1839766" y="1944550"/>
                        <a:pt x="1838946" y="1944690"/>
                      </a:cubicBezTo>
                      <a:cubicBezTo>
                        <a:pt x="1839215" y="1944081"/>
                        <a:pt x="1839579" y="1943144"/>
                        <a:pt x="1839684" y="1942442"/>
                      </a:cubicBezTo>
                      <a:cubicBezTo>
                        <a:pt x="1839368" y="1942348"/>
                        <a:pt x="1838466" y="1943331"/>
                        <a:pt x="1838618" y="1943531"/>
                      </a:cubicBezTo>
                      <a:cubicBezTo>
                        <a:pt x="1837869" y="1942617"/>
                        <a:pt x="1838759" y="1942418"/>
                        <a:pt x="1838934" y="1941668"/>
                      </a:cubicBezTo>
                      <a:cubicBezTo>
                        <a:pt x="1837588" y="1941575"/>
                        <a:pt x="1836018" y="1941844"/>
                        <a:pt x="1834671" y="1941668"/>
                      </a:cubicBezTo>
                      <a:cubicBezTo>
                        <a:pt x="1837588" y="1942512"/>
                        <a:pt x="1838524" y="1944632"/>
                        <a:pt x="1836604" y="1947067"/>
                      </a:cubicBezTo>
                      <a:cubicBezTo>
                        <a:pt x="1836124" y="1946377"/>
                        <a:pt x="1836627" y="1945487"/>
                        <a:pt x="1836042" y="1944772"/>
                      </a:cubicBezTo>
                      <a:cubicBezTo>
                        <a:pt x="1835772" y="1944971"/>
                        <a:pt x="1835187" y="1945475"/>
                        <a:pt x="1835725" y="1946142"/>
                      </a:cubicBezTo>
                      <a:cubicBezTo>
                        <a:pt x="1835913" y="1946142"/>
                        <a:pt x="1834906" y="1945650"/>
                        <a:pt x="1835046" y="1945779"/>
                      </a:cubicBezTo>
                      <a:cubicBezTo>
                        <a:pt x="1835632" y="1946552"/>
                        <a:pt x="1834999" y="1946166"/>
                        <a:pt x="1834671" y="1946564"/>
                      </a:cubicBezTo>
                      <a:cubicBezTo>
                        <a:pt x="1836615" y="1947361"/>
                        <a:pt x="1836873" y="1948356"/>
                        <a:pt x="1836838" y="1951026"/>
                      </a:cubicBezTo>
                      <a:cubicBezTo>
                        <a:pt x="1837470" y="1951038"/>
                        <a:pt x="1838349" y="1950651"/>
                        <a:pt x="1838946" y="1951026"/>
                      </a:cubicBezTo>
                      <a:cubicBezTo>
                        <a:pt x="1838747" y="1951354"/>
                        <a:pt x="1838548" y="1951682"/>
                        <a:pt x="1838349" y="1952010"/>
                      </a:cubicBezTo>
                      <a:cubicBezTo>
                        <a:pt x="1835339" y="1951331"/>
                        <a:pt x="1834168" y="1951284"/>
                        <a:pt x="1832891" y="1953275"/>
                      </a:cubicBezTo>
                      <a:cubicBezTo>
                        <a:pt x="1832388" y="1952537"/>
                        <a:pt x="1831252" y="1950886"/>
                        <a:pt x="1831099" y="1950288"/>
                      </a:cubicBezTo>
                      <a:cubicBezTo>
                        <a:pt x="1831931" y="1950253"/>
                        <a:pt x="1832821" y="1950733"/>
                        <a:pt x="1833207" y="1950698"/>
                      </a:cubicBezTo>
                      <a:cubicBezTo>
                        <a:pt x="1833207" y="1949937"/>
                        <a:pt x="1833207" y="1949187"/>
                        <a:pt x="1833207" y="1948426"/>
                      </a:cubicBezTo>
                      <a:cubicBezTo>
                        <a:pt x="1830900" y="1948672"/>
                        <a:pt x="1831498" y="1949070"/>
                        <a:pt x="1831826" y="1945440"/>
                      </a:cubicBezTo>
                      <a:cubicBezTo>
                        <a:pt x="1831580" y="1945674"/>
                        <a:pt x="1831345" y="1945674"/>
                        <a:pt x="1831099" y="1945440"/>
                      </a:cubicBezTo>
                      <a:cubicBezTo>
                        <a:pt x="1828417" y="1948110"/>
                        <a:pt x="1830572" y="1946013"/>
                        <a:pt x="1827879" y="1946154"/>
                      </a:cubicBezTo>
                      <a:cubicBezTo>
                        <a:pt x="1828476" y="1945733"/>
                        <a:pt x="1829132" y="1946142"/>
                        <a:pt x="1829647" y="1945440"/>
                      </a:cubicBezTo>
                      <a:cubicBezTo>
                        <a:pt x="1829378" y="1945041"/>
                        <a:pt x="1827844" y="1945416"/>
                        <a:pt x="1827738" y="1945170"/>
                      </a:cubicBezTo>
                      <a:cubicBezTo>
                        <a:pt x="1828265" y="1944116"/>
                        <a:pt x="1829026" y="1942840"/>
                        <a:pt x="1829331" y="1941680"/>
                      </a:cubicBezTo>
                      <a:cubicBezTo>
                        <a:pt x="1828898" y="1941786"/>
                        <a:pt x="1828511" y="1942769"/>
                        <a:pt x="1828230" y="1942793"/>
                      </a:cubicBezTo>
                      <a:cubicBezTo>
                        <a:pt x="1827644" y="1942348"/>
                        <a:pt x="1828207" y="1941587"/>
                        <a:pt x="1827527" y="1941305"/>
                      </a:cubicBezTo>
                      <a:cubicBezTo>
                        <a:pt x="1827422" y="1942266"/>
                        <a:pt x="1827481" y="1942992"/>
                        <a:pt x="1827153" y="1943917"/>
                      </a:cubicBezTo>
                      <a:cubicBezTo>
                        <a:pt x="1826743" y="1944479"/>
                        <a:pt x="1826602" y="1942746"/>
                        <a:pt x="1826087" y="1943179"/>
                      </a:cubicBezTo>
                      <a:cubicBezTo>
                        <a:pt x="1826192" y="1943917"/>
                        <a:pt x="1826696" y="1944667"/>
                        <a:pt x="1826813" y="1945451"/>
                      </a:cubicBezTo>
                      <a:cubicBezTo>
                        <a:pt x="1826216" y="1945568"/>
                        <a:pt x="1825607" y="1945686"/>
                        <a:pt x="1825021" y="1945791"/>
                      </a:cubicBezTo>
                      <a:cubicBezTo>
                        <a:pt x="1824611" y="1944749"/>
                        <a:pt x="1825689" y="1944081"/>
                        <a:pt x="1825712" y="1943179"/>
                      </a:cubicBezTo>
                      <a:cubicBezTo>
                        <a:pt x="1820746" y="1942102"/>
                        <a:pt x="1830045" y="1939420"/>
                        <a:pt x="1825021" y="1936082"/>
                      </a:cubicBezTo>
                      <a:cubicBezTo>
                        <a:pt x="1823920" y="1937406"/>
                        <a:pt x="1825372" y="1936445"/>
                        <a:pt x="1823604" y="1936797"/>
                      </a:cubicBezTo>
                      <a:cubicBezTo>
                        <a:pt x="1823545" y="1936878"/>
                        <a:pt x="1824283" y="1937207"/>
                        <a:pt x="1824330" y="1937171"/>
                      </a:cubicBezTo>
                      <a:cubicBezTo>
                        <a:pt x="1824061" y="1936094"/>
                        <a:pt x="1823206" y="1936843"/>
                        <a:pt x="1823932" y="1934220"/>
                      </a:cubicBezTo>
                      <a:cubicBezTo>
                        <a:pt x="1823393" y="1934630"/>
                        <a:pt x="1823639" y="1935438"/>
                        <a:pt x="1822878" y="1934220"/>
                      </a:cubicBezTo>
                      <a:cubicBezTo>
                        <a:pt x="1821672" y="1936352"/>
                        <a:pt x="1821812" y="1935485"/>
                        <a:pt x="1820360" y="1936457"/>
                      </a:cubicBezTo>
                      <a:cubicBezTo>
                        <a:pt x="1820219" y="1936949"/>
                        <a:pt x="1821203" y="1937148"/>
                        <a:pt x="1821086" y="1937581"/>
                      </a:cubicBezTo>
                      <a:cubicBezTo>
                        <a:pt x="1819493" y="1939268"/>
                        <a:pt x="1819845" y="1937663"/>
                        <a:pt x="1819669" y="1939443"/>
                      </a:cubicBezTo>
                      <a:cubicBezTo>
                        <a:pt x="1818474" y="1937242"/>
                        <a:pt x="1817795" y="1938951"/>
                        <a:pt x="1818943" y="1934595"/>
                      </a:cubicBezTo>
                      <a:cubicBezTo>
                        <a:pt x="1817163" y="1936843"/>
                        <a:pt x="1817233" y="1939326"/>
                        <a:pt x="1819294" y="1941317"/>
                      </a:cubicBezTo>
                      <a:cubicBezTo>
                        <a:pt x="1819751" y="1941868"/>
                        <a:pt x="1820571" y="1944210"/>
                        <a:pt x="1818193" y="1945803"/>
                      </a:cubicBezTo>
                      <a:cubicBezTo>
                        <a:pt x="1818638" y="1946142"/>
                        <a:pt x="1819821" y="1946704"/>
                        <a:pt x="1820360" y="1946951"/>
                      </a:cubicBezTo>
                      <a:cubicBezTo>
                        <a:pt x="1820126" y="1947396"/>
                        <a:pt x="1819329" y="1947278"/>
                        <a:pt x="1819985" y="1947700"/>
                      </a:cubicBezTo>
                      <a:cubicBezTo>
                        <a:pt x="1819997" y="1947560"/>
                        <a:pt x="1818006" y="1948649"/>
                        <a:pt x="1818943" y="1947700"/>
                      </a:cubicBezTo>
                      <a:cubicBezTo>
                        <a:pt x="1819669" y="1947993"/>
                        <a:pt x="1820161" y="1948403"/>
                        <a:pt x="1820149" y="1949070"/>
                      </a:cubicBezTo>
                      <a:cubicBezTo>
                        <a:pt x="1820313" y="1949176"/>
                        <a:pt x="1820383" y="1949339"/>
                        <a:pt x="1820372" y="1949562"/>
                      </a:cubicBezTo>
                      <a:cubicBezTo>
                        <a:pt x="1820700" y="1948192"/>
                        <a:pt x="1821156" y="1947922"/>
                        <a:pt x="1821847" y="1946951"/>
                      </a:cubicBezTo>
                      <a:cubicBezTo>
                        <a:pt x="1821683" y="1947630"/>
                        <a:pt x="1821320" y="1948965"/>
                        <a:pt x="1821098" y="1949562"/>
                      </a:cubicBezTo>
                      <a:cubicBezTo>
                        <a:pt x="1822187" y="1948836"/>
                        <a:pt x="1822093" y="1948461"/>
                        <a:pt x="1823241" y="1948086"/>
                      </a:cubicBezTo>
                      <a:cubicBezTo>
                        <a:pt x="1822925" y="1949492"/>
                        <a:pt x="1823030" y="1949304"/>
                        <a:pt x="1822175" y="1950733"/>
                      </a:cubicBezTo>
                      <a:cubicBezTo>
                        <a:pt x="1822386" y="1950522"/>
                        <a:pt x="1822620" y="1950382"/>
                        <a:pt x="1822901" y="1950323"/>
                      </a:cubicBezTo>
                      <a:cubicBezTo>
                        <a:pt x="1821648" y="1951366"/>
                        <a:pt x="1822035" y="1950593"/>
                        <a:pt x="1820758" y="1951061"/>
                      </a:cubicBezTo>
                      <a:cubicBezTo>
                        <a:pt x="1820863" y="1951904"/>
                        <a:pt x="1821320" y="1951412"/>
                        <a:pt x="1821859" y="1951799"/>
                      </a:cubicBezTo>
                      <a:cubicBezTo>
                        <a:pt x="1820735" y="1953544"/>
                        <a:pt x="1820594" y="1952982"/>
                        <a:pt x="1819154" y="1954458"/>
                      </a:cubicBezTo>
                      <a:cubicBezTo>
                        <a:pt x="1819552" y="1953333"/>
                        <a:pt x="1820266" y="1953321"/>
                        <a:pt x="1820383" y="1952970"/>
                      </a:cubicBezTo>
                      <a:cubicBezTo>
                        <a:pt x="1818720" y="1954106"/>
                        <a:pt x="1818826" y="1953825"/>
                        <a:pt x="1818627" y="1955547"/>
                      </a:cubicBezTo>
                      <a:cubicBezTo>
                        <a:pt x="1815371" y="1955078"/>
                        <a:pt x="1815968" y="1956214"/>
                        <a:pt x="1814422" y="1953720"/>
                      </a:cubicBezTo>
                      <a:cubicBezTo>
                        <a:pt x="1813743" y="1953626"/>
                        <a:pt x="1817643" y="1954305"/>
                        <a:pt x="1815769" y="1954458"/>
                      </a:cubicBezTo>
                      <a:cubicBezTo>
                        <a:pt x="1815804" y="1955734"/>
                        <a:pt x="1817842" y="1951822"/>
                        <a:pt x="1817198" y="1952186"/>
                      </a:cubicBezTo>
                      <a:cubicBezTo>
                        <a:pt x="1817338" y="1952666"/>
                        <a:pt x="1815945" y="1952279"/>
                        <a:pt x="1815769" y="1952186"/>
                      </a:cubicBezTo>
                      <a:cubicBezTo>
                        <a:pt x="1816800" y="1951354"/>
                        <a:pt x="1817479" y="1950194"/>
                        <a:pt x="1818627" y="1949562"/>
                      </a:cubicBezTo>
                      <a:cubicBezTo>
                        <a:pt x="1818463" y="1949492"/>
                        <a:pt x="1815781" y="1949855"/>
                        <a:pt x="1815429" y="1949937"/>
                      </a:cubicBezTo>
                      <a:cubicBezTo>
                        <a:pt x="1815746" y="1949632"/>
                        <a:pt x="1816753" y="1948695"/>
                        <a:pt x="1816156" y="1948075"/>
                      </a:cubicBezTo>
                      <a:cubicBezTo>
                        <a:pt x="1814083" y="1949784"/>
                        <a:pt x="1813309" y="1949211"/>
                        <a:pt x="1811857" y="1946587"/>
                      </a:cubicBezTo>
                      <a:cubicBezTo>
                        <a:pt x="1810592" y="1949152"/>
                        <a:pt x="1810464" y="1948941"/>
                        <a:pt x="1811143" y="1951799"/>
                      </a:cubicBezTo>
                      <a:cubicBezTo>
                        <a:pt x="1809738" y="1953146"/>
                        <a:pt x="1810054" y="1952607"/>
                        <a:pt x="1810417" y="1954048"/>
                      </a:cubicBezTo>
                      <a:cubicBezTo>
                        <a:pt x="1809175" y="1956074"/>
                        <a:pt x="1807407" y="1957643"/>
                        <a:pt x="1805053" y="1958896"/>
                      </a:cubicBezTo>
                      <a:cubicBezTo>
                        <a:pt x="1806997" y="1956706"/>
                        <a:pt x="1807348" y="1952947"/>
                        <a:pt x="1806470" y="1951061"/>
                      </a:cubicBezTo>
                      <a:cubicBezTo>
                        <a:pt x="1804854" y="1951436"/>
                        <a:pt x="1805393" y="1951202"/>
                        <a:pt x="1804772" y="1951143"/>
                      </a:cubicBezTo>
                      <a:cubicBezTo>
                        <a:pt x="1804643" y="1951272"/>
                        <a:pt x="1804502" y="1951389"/>
                        <a:pt x="1804327" y="1951471"/>
                      </a:cubicBezTo>
                      <a:cubicBezTo>
                        <a:pt x="1804994" y="1955383"/>
                        <a:pt x="1800368" y="1955371"/>
                        <a:pt x="1797499" y="1955547"/>
                      </a:cubicBezTo>
                      <a:cubicBezTo>
                        <a:pt x="1798155" y="1956015"/>
                        <a:pt x="1798225" y="1956472"/>
                        <a:pt x="1797745" y="1956940"/>
                      </a:cubicBezTo>
                      <a:cubicBezTo>
                        <a:pt x="1796187" y="1956425"/>
                        <a:pt x="1795051" y="1956472"/>
                        <a:pt x="1793576" y="1956296"/>
                      </a:cubicBezTo>
                      <a:cubicBezTo>
                        <a:pt x="1794032" y="1957116"/>
                        <a:pt x="1795403" y="1957385"/>
                        <a:pt x="1796105" y="1957819"/>
                      </a:cubicBezTo>
                      <a:cubicBezTo>
                        <a:pt x="1795976" y="1959283"/>
                        <a:pt x="1793950" y="1959611"/>
                        <a:pt x="1798249" y="1959306"/>
                      </a:cubicBezTo>
                      <a:cubicBezTo>
                        <a:pt x="1796668" y="1960137"/>
                        <a:pt x="1794056" y="1961625"/>
                        <a:pt x="1792147" y="1962667"/>
                      </a:cubicBezTo>
                      <a:cubicBezTo>
                        <a:pt x="1794114" y="1959786"/>
                        <a:pt x="1788446" y="1952478"/>
                        <a:pt x="1785014" y="1951202"/>
                      </a:cubicBezTo>
                      <a:cubicBezTo>
                        <a:pt x="1779604" y="1949164"/>
                        <a:pt x="1774287" y="1954223"/>
                        <a:pt x="1769157" y="1953731"/>
                      </a:cubicBezTo>
                      <a:cubicBezTo>
                        <a:pt x="1767037" y="1953532"/>
                        <a:pt x="1766135" y="1951085"/>
                        <a:pt x="1765152" y="1950921"/>
                      </a:cubicBezTo>
                      <a:cubicBezTo>
                        <a:pt x="1764590" y="1950827"/>
                        <a:pt x="1761357" y="1952139"/>
                        <a:pt x="1761861" y="1952443"/>
                      </a:cubicBezTo>
                      <a:cubicBezTo>
                        <a:pt x="1763735" y="1953603"/>
                        <a:pt x="1756181" y="1950019"/>
                        <a:pt x="1758383" y="1950616"/>
                      </a:cubicBezTo>
                      <a:cubicBezTo>
                        <a:pt x="1758722" y="1950710"/>
                        <a:pt x="1755619" y="1947290"/>
                        <a:pt x="1755361" y="1947103"/>
                      </a:cubicBezTo>
                      <a:cubicBezTo>
                        <a:pt x="1754588" y="1946541"/>
                        <a:pt x="1752995" y="1948110"/>
                        <a:pt x="1751918" y="1947466"/>
                      </a:cubicBezTo>
                      <a:cubicBezTo>
                        <a:pt x="1750770" y="1946787"/>
                        <a:pt x="1743158" y="1943062"/>
                        <a:pt x="1742549" y="1942113"/>
                      </a:cubicBezTo>
                      <a:cubicBezTo>
                        <a:pt x="1742068" y="1941388"/>
                        <a:pt x="1742057" y="1936750"/>
                        <a:pt x="1742958" y="1937476"/>
                      </a:cubicBezTo>
                      <a:cubicBezTo>
                        <a:pt x="1740300" y="1935321"/>
                        <a:pt x="1740171" y="1937078"/>
                        <a:pt x="1737150" y="1935848"/>
                      </a:cubicBezTo>
                      <a:cubicBezTo>
                        <a:pt x="1734034" y="1934571"/>
                        <a:pt x="1729654" y="1932744"/>
                        <a:pt x="1726960" y="1931690"/>
                      </a:cubicBezTo>
                      <a:cubicBezTo>
                        <a:pt x="1722815" y="1930074"/>
                        <a:pt x="1726398" y="1935719"/>
                        <a:pt x="1724021" y="1930554"/>
                      </a:cubicBezTo>
                      <a:cubicBezTo>
                        <a:pt x="1724080" y="1930683"/>
                        <a:pt x="1724056" y="1925390"/>
                        <a:pt x="1724056" y="1925026"/>
                      </a:cubicBezTo>
                      <a:cubicBezTo>
                        <a:pt x="1724068" y="1924113"/>
                        <a:pt x="1724150" y="1919862"/>
                        <a:pt x="1724173" y="1919920"/>
                      </a:cubicBezTo>
                      <a:cubicBezTo>
                        <a:pt x="1722838" y="1915915"/>
                        <a:pt x="1720051" y="1915318"/>
                        <a:pt x="1719243" y="1913596"/>
                      </a:cubicBezTo>
                      <a:cubicBezTo>
                        <a:pt x="1716830" y="1908490"/>
                        <a:pt x="1717099" y="1902611"/>
                        <a:pt x="1721398" y="1898184"/>
                      </a:cubicBezTo>
                      <a:cubicBezTo>
                        <a:pt x="1721362" y="1898219"/>
                        <a:pt x="1723447" y="1901358"/>
                        <a:pt x="1724571" y="1900385"/>
                      </a:cubicBezTo>
                      <a:cubicBezTo>
                        <a:pt x="1725988" y="1899144"/>
                        <a:pt x="1725836" y="1896848"/>
                        <a:pt x="1727042" y="1895338"/>
                      </a:cubicBezTo>
                      <a:cubicBezTo>
                        <a:pt x="1729045" y="1892832"/>
                        <a:pt x="1728448" y="1890583"/>
                        <a:pt x="1731387" y="1888592"/>
                      </a:cubicBezTo>
                      <a:cubicBezTo>
                        <a:pt x="1729443" y="1888287"/>
                        <a:pt x="1728436" y="1887386"/>
                        <a:pt x="1727019" y="1886296"/>
                      </a:cubicBezTo>
                      <a:cubicBezTo>
                        <a:pt x="1723763" y="1883790"/>
                        <a:pt x="1723752" y="1886015"/>
                        <a:pt x="1721538" y="1884832"/>
                      </a:cubicBezTo>
                      <a:cubicBezTo>
                        <a:pt x="1718880" y="1883415"/>
                        <a:pt x="1718364" y="1881261"/>
                        <a:pt x="1714652" y="1881155"/>
                      </a:cubicBezTo>
                      <a:cubicBezTo>
                        <a:pt x="1713305" y="1881120"/>
                        <a:pt x="1707250" y="1886132"/>
                        <a:pt x="1703584" y="1884821"/>
                      </a:cubicBezTo>
                      <a:cubicBezTo>
                        <a:pt x="1700574" y="1883755"/>
                        <a:pt x="1702167" y="1880687"/>
                        <a:pt x="1699427" y="1879129"/>
                      </a:cubicBezTo>
                      <a:cubicBezTo>
                        <a:pt x="1694789" y="1876506"/>
                        <a:pt x="1691662" y="1879246"/>
                        <a:pt x="1688383" y="1880031"/>
                      </a:cubicBezTo>
                      <a:cubicBezTo>
                        <a:pt x="1680676" y="1881881"/>
                        <a:pt x="1683944" y="1880616"/>
                        <a:pt x="1677514" y="1876997"/>
                      </a:cubicBezTo>
                      <a:cubicBezTo>
                        <a:pt x="1675992" y="1876142"/>
                        <a:pt x="1674329" y="1875123"/>
                        <a:pt x="1672912" y="1874339"/>
                      </a:cubicBezTo>
                      <a:cubicBezTo>
                        <a:pt x="1671401" y="1873496"/>
                        <a:pt x="1668297" y="1874678"/>
                        <a:pt x="1667091" y="1873777"/>
                      </a:cubicBezTo>
                      <a:cubicBezTo>
                        <a:pt x="1665662" y="1872700"/>
                        <a:pt x="1666260" y="1871072"/>
                        <a:pt x="1665451" y="1870263"/>
                      </a:cubicBezTo>
                      <a:cubicBezTo>
                        <a:pt x="1662243" y="1867007"/>
                        <a:pt x="1660076" y="1863424"/>
                        <a:pt x="1656316" y="1860719"/>
                      </a:cubicBezTo>
                      <a:cubicBezTo>
                        <a:pt x="1652698" y="1858118"/>
                        <a:pt x="1655766" y="1857018"/>
                        <a:pt x="1651257" y="1857791"/>
                      </a:cubicBezTo>
                      <a:cubicBezTo>
                        <a:pt x="1650180" y="1857978"/>
                        <a:pt x="1647521" y="1862112"/>
                        <a:pt x="1646760" y="1862569"/>
                      </a:cubicBezTo>
                      <a:cubicBezTo>
                        <a:pt x="1644055" y="1864209"/>
                        <a:pt x="1637883" y="1865965"/>
                        <a:pt x="1634158" y="1868272"/>
                      </a:cubicBezTo>
                      <a:cubicBezTo>
                        <a:pt x="1632144" y="1869514"/>
                        <a:pt x="1630422" y="1867581"/>
                        <a:pt x="1628349" y="1871376"/>
                      </a:cubicBezTo>
                      <a:cubicBezTo>
                        <a:pt x="1626827" y="1874152"/>
                        <a:pt x="1628724" y="1878403"/>
                        <a:pt x="1627049" y="1881705"/>
                      </a:cubicBezTo>
                      <a:cubicBezTo>
                        <a:pt x="1624578" y="1886578"/>
                        <a:pt x="1617387" y="1888767"/>
                        <a:pt x="1614261" y="1885746"/>
                      </a:cubicBezTo>
                      <a:cubicBezTo>
                        <a:pt x="1611590" y="1888510"/>
                        <a:pt x="1606332" y="1894284"/>
                        <a:pt x="1602350" y="1893628"/>
                      </a:cubicBezTo>
                      <a:cubicBezTo>
                        <a:pt x="1598391" y="1892972"/>
                        <a:pt x="1596412" y="1889951"/>
                        <a:pt x="1597970" y="1886390"/>
                      </a:cubicBezTo>
                      <a:cubicBezTo>
                        <a:pt x="1590474" y="1887878"/>
                        <a:pt x="1588589" y="1888510"/>
                        <a:pt x="1585954" y="1895350"/>
                      </a:cubicBezTo>
                      <a:cubicBezTo>
                        <a:pt x="1583272" y="1902306"/>
                        <a:pt x="1586118" y="1904121"/>
                        <a:pt x="1579747" y="1900315"/>
                      </a:cubicBezTo>
                      <a:cubicBezTo>
                        <a:pt x="1576584" y="1898430"/>
                        <a:pt x="1569804" y="1887737"/>
                        <a:pt x="1566946" y="1887784"/>
                      </a:cubicBezTo>
                      <a:cubicBezTo>
                        <a:pt x="1560083" y="1887901"/>
                        <a:pt x="1564006" y="1900948"/>
                        <a:pt x="1557940" y="1899156"/>
                      </a:cubicBezTo>
                      <a:cubicBezTo>
                        <a:pt x="1549695" y="1896720"/>
                        <a:pt x="1557553" y="1885360"/>
                        <a:pt x="1547786" y="1891098"/>
                      </a:cubicBezTo>
                      <a:cubicBezTo>
                        <a:pt x="1543441" y="1893640"/>
                        <a:pt x="1540583" y="1900772"/>
                        <a:pt x="1538007" y="1903887"/>
                      </a:cubicBezTo>
                      <a:cubicBezTo>
                        <a:pt x="1532701" y="1910317"/>
                        <a:pt x="1531729" y="1906288"/>
                        <a:pt x="1525909" y="1901416"/>
                      </a:cubicBezTo>
                      <a:cubicBezTo>
                        <a:pt x="1521798" y="1897985"/>
                        <a:pt x="1517031" y="1895092"/>
                        <a:pt x="1511902" y="1892539"/>
                      </a:cubicBezTo>
                      <a:cubicBezTo>
                        <a:pt x="1512417" y="1892796"/>
                        <a:pt x="1507650" y="1891684"/>
                        <a:pt x="1508529" y="1891836"/>
                      </a:cubicBezTo>
                      <a:cubicBezTo>
                        <a:pt x="1506503" y="1891496"/>
                        <a:pt x="1506667" y="1889377"/>
                        <a:pt x="1503715" y="1890185"/>
                      </a:cubicBezTo>
                      <a:cubicBezTo>
                        <a:pt x="1500038" y="1891204"/>
                        <a:pt x="1501244" y="1897001"/>
                        <a:pt x="1500377" y="1898207"/>
                      </a:cubicBezTo>
                      <a:cubicBezTo>
                        <a:pt x="1496243" y="1903981"/>
                        <a:pt x="1493714" y="1908080"/>
                        <a:pt x="1488291" y="1908771"/>
                      </a:cubicBezTo>
                      <a:cubicBezTo>
                        <a:pt x="1485890" y="1909075"/>
                        <a:pt x="1479835" y="1908045"/>
                        <a:pt x="1475420" y="1908045"/>
                      </a:cubicBezTo>
                      <a:cubicBezTo>
                        <a:pt x="1473418" y="1908045"/>
                        <a:pt x="1475818" y="1910844"/>
                        <a:pt x="1471883" y="1909696"/>
                      </a:cubicBezTo>
                      <a:cubicBezTo>
                        <a:pt x="1468675" y="1908747"/>
                        <a:pt x="1470654" y="1903266"/>
                        <a:pt x="1465782" y="1904836"/>
                      </a:cubicBezTo>
                      <a:cubicBezTo>
                        <a:pt x="1461636" y="1906171"/>
                        <a:pt x="1463065" y="1911066"/>
                        <a:pt x="1461214" y="1913760"/>
                      </a:cubicBezTo>
                      <a:cubicBezTo>
                        <a:pt x="1457209" y="1919651"/>
                        <a:pt x="1456764" y="1915364"/>
                        <a:pt x="1458474" y="1923422"/>
                      </a:cubicBezTo>
                      <a:cubicBezTo>
                        <a:pt x="1459727" y="1929336"/>
                        <a:pt x="1461121" y="1931011"/>
                        <a:pt x="1464224" y="1935555"/>
                      </a:cubicBezTo>
                      <a:cubicBezTo>
                        <a:pt x="1467363" y="1940134"/>
                        <a:pt x="1467398" y="1943987"/>
                        <a:pt x="1468253" y="1948567"/>
                      </a:cubicBezTo>
                      <a:cubicBezTo>
                        <a:pt x="1469436" y="1954856"/>
                        <a:pt x="1469424" y="1952806"/>
                        <a:pt x="1467351" y="1959693"/>
                      </a:cubicBezTo>
                      <a:cubicBezTo>
                        <a:pt x="1465641" y="1965349"/>
                        <a:pt x="1467784" y="1967176"/>
                        <a:pt x="1468639" y="1970760"/>
                      </a:cubicBezTo>
                      <a:cubicBezTo>
                        <a:pt x="1469213" y="1973149"/>
                        <a:pt x="1471274" y="1971954"/>
                        <a:pt x="1470911" y="1975035"/>
                      </a:cubicBezTo>
                      <a:cubicBezTo>
                        <a:pt x="1471075" y="1973606"/>
                        <a:pt x="1467866" y="1978548"/>
                        <a:pt x="1467855" y="1978560"/>
                      </a:cubicBezTo>
                      <a:cubicBezTo>
                        <a:pt x="1463814" y="1979567"/>
                        <a:pt x="1463826" y="1974648"/>
                        <a:pt x="1459235" y="1976616"/>
                      </a:cubicBezTo>
                      <a:cubicBezTo>
                        <a:pt x="1460008" y="1969952"/>
                        <a:pt x="1450779" y="1974590"/>
                        <a:pt x="1447160" y="1974847"/>
                      </a:cubicBezTo>
                      <a:cubicBezTo>
                        <a:pt x="1440262" y="1975351"/>
                        <a:pt x="1442007" y="1975948"/>
                        <a:pt x="1439712" y="1969015"/>
                      </a:cubicBezTo>
                      <a:cubicBezTo>
                        <a:pt x="1439817" y="1969320"/>
                        <a:pt x="1439946" y="1965174"/>
                        <a:pt x="1439958" y="1965443"/>
                      </a:cubicBezTo>
                      <a:cubicBezTo>
                        <a:pt x="1439899" y="1964764"/>
                        <a:pt x="1437897" y="1964787"/>
                        <a:pt x="1437780" y="1963897"/>
                      </a:cubicBezTo>
                      <a:cubicBezTo>
                        <a:pt x="1437522" y="1961965"/>
                        <a:pt x="1438939" y="1960091"/>
                        <a:pt x="1438658" y="1958205"/>
                      </a:cubicBezTo>
                      <a:cubicBezTo>
                        <a:pt x="1438459" y="1956835"/>
                        <a:pt x="1437463" y="1946857"/>
                        <a:pt x="1435402" y="1945568"/>
                      </a:cubicBezTo>
                      <a:cubicBezTo>
                        <a:pt x="1425225" y="1939280"/>
                        <a:pt x="1414181" y="1963639"/>
                        <a:pt x="1402048" y="1961133"/>
                      </a:cubicBezTo>
                      <a:cubicBezTo>
                        <a:pt x="1396976" y="1960091"/>
                        <a:pt x="1397761" y="1958018"/>
                        <a:pt x="1392503" y="1959166"/>
                      </a:cubicBezTo>
                      <a:cubicBezTo>
                        <a:pt x="1388322" y="1960091"/>
                        <a:pt x="1382829" y="1965853"/>
                        <a:pt x="1381365" y="1957034"/>
                      </a:cubicBezTo>
                      <a:cubicBezTo>
                        <a:pt x="1381131" y="1955687"/>
                        <a:pt x="1383707" y="1950136"/>
                        <a:pt x="1384211" y="1951260"/>
                      </a:cubicBezTo>
                      <a:cubicBezTo>
                        <a:pt x="1382489" y="1947396"/>
                        <a:pt x="1378379" y="1950534"/>
                        <a:pt x="1375615" y="1948239"/>
                      </a:cubicBezTo>
                      <a:cubicBezTo>
                        <a:pt x="1369630" y="1943261"/>
                        <a:pt x="1375474" y="1934794"/>
                        <a:pt x="1373729" y="1929079"/>
                      </a:cubicBezTo>
                      <a:cubicBezTo>
                        <a:pt x="1371176" y="1928107"/>
                        <a:pt x="1367979" y="1930238"/>
                        <a:pt x="1368260" y="1930297"/>
                      </a:cubicBezTo>
                      <a:cubicBezTo>
                        <a:pt x="1367370" y="1930121"/>
                        <a:pt x="1365777" y="1928809"/>
                        <a:pt x="1364711" y="1928716"/>
                      </a:cubicBezTo>
                      <a:cubicBezTo>
                        <a:pt x="1361186" y="1928434"/>
                        <a:pt x="1360612" y="1927708"/>
                        <a:pt x="1358059" y="1927193"/>
                      </a:cubicBezTo>
                      <a:cubicBezTo>
                        <a:pt x="1353421" y="1926268"/>
                        <a:pt x="1349533" y="1925518"/>
                        <a:pt x="1345153" y="1925506"/>
                      </a:cubicBezTo>
                      <a:cubicBezTo>
                        <a:pt x="1340375" y="1925495"/>
                        <a:pt x="1336159" y="1926982"/>
                        <a:pt x="1332095" y="1923153"/>
                      </a:cubicBezTo>
                      <a:cubicBezTo>
                        <a:pt x="1333640" y="1920834"/>
                        <a:pt x="1335257" y="1914990"/>
                        <a:pt x="1337412" y="1911511"/>
                      </a:cubicBezTo>
                      <a:cubicBezTo>
                        <a:pt x="1339695" y="1907846"/>
                        <a:pt x="1342881" y="1905784"/>
                        <a:pt x="1342939" y="1900315"/>
                      </a:cubicBezTo>
                      <a:cubicBezTo>
                        <a:pt x="1342975" y="1897387"/>
                        <a:pt x="1340140" y="1894050"/>
                        <a:pt x="1340632" y="1891403"/>
                      </a:cubicBezTo>
                      <a:cubicBezTo>
                        <a:pt x="1340960" y="1889669"/>
                        <a:pt x="1343431" y="1888920"/>
                        <a:pt x="1344333" y="1886964"/>
                      </a:cubicBezTo>
                      <a:cubicBezTo>
                        <a:pt x="1345329" y="1884832"/>
                        <a:pt x="1345938" y="1881495"/>
                        <a:pt x="1347003" y="1880183"/>
                      </a:cubicBezTo>
                      <a:cubicBezTo>
                        <a:pt x="1347964" y="1879012"/>
                        <a:pt x="1350985" y="1883685"/>
                        <a:pt x="1352508" y="1879797"/>
                      </a:cubicBezTo>
                      <a:cubicBezTo>
                        <a:pt x="1354171" y="1875580"/>
                        <a:pt x="1343677" y="1869830"/>
                        <a:pt x="1340972" y="1869736"/>
                      </a:cubicBezTo>
                      <a:cubicBezTo>
                        <a:pt x="1340293" y="1869713"/>
                        <a:pt x="1337833" y="1873425"/>
                        <a:pt x="1336334" y="1873554"/>
                      </a:cubicBezTo>
                      <a:cubicBezTo>
                        <a:pt x="1334542" y="1873695"/>
                        <a:pt x="1335573" y="1871622"/>
                        <a:pt x="1334132" y="1871446"/>
                      </a:cubicBezTo>
                      <a:cubicBezTo>
                        <a:pt x="1329659" y="1870896"/>
                        <a:pt x="1328019" y="1868612"/>
                        <a:pt x="1325079" y="1867769"/>
                      </a:cubicBezTo>
                      <a:cubicBezTo>
                        <a:pt x="1321449" y="1866727"/>
                        <a:pt x="1318978" y="1868026"/>
                        <a:pt x="1317303" y="1865017"/>
                      </a:cubicBezTo>
                      <a:cubicBezTo>
                        <a:pt x="1315710" y="1862171"/>
                        <a:pt x="1323440" y="1859653"/>
                        <a:pt x="1316952" y="1858833"/>
                      </a:cubicBezTo>
                      <a:cubicBezTo>
                        <a:pt x="1322339" y="1854418"/>
                        <a:pt x="1314961" y="1852017"/>
                        <a:pt x="1314668" y="1850611"/>
                      </a:cubicBezTo>
                      <a:cubicBezTo>
                        <a:pt x="1313614" y="1845599"/>
                        <a:pt x="1319353" y="1840949"/>
                        <a:pt x="1313801" y="1834941"/>
                      </a:cubicBezTo>
                      <a:cubicBezTo>
                        <a:pt x="1309878" y="1830690"/>
                        <a:pt x="1304596" y="1835667"/>
                        <a:pt x="1307430" y="1825912"/>
                      </a:cubicBezTo>
                      <a:cubicBezTo>
                        <a:pt x="1308531" y="1822117"/>
                        <a:pt x="1318579" y="1818522"/>
                        <a:pt x="1317584" y="1813568"/>
                      </a:cubicBezTo>
                      <a:cubicBezTo>
                        <a:pt x="1306329" y="1818334"/>
                        <a:pt x="1296960" y="1814587"/>
                        <a:pt x="1285787" y="1815594"/>
                      </a:cubicBezTo>
                      <a:cubicBezTo>
                        <a:pt x="1272296" y="1816812"/>
                        <a:pt x="1263535" y="1823054"/>
                        <a:pt x="1252854" y="1830069"/>
                      </a:cubicBezTo>
                      <a:cubicBezTo>
                        <a:pt x="1249095" y="1822340"/>
                        <a:pt x="1245207" y="1827961"/>
                        <a:pt x="1253253" y="1818651"/>
                      </a:cubicBezTo>
                      <a:cubicBezTo>
                        <a:pt x="1256555" y="1814833"/>
                        <a:pt x="1258488" y="1813134"/>
                        <a:pt x="1257563" y="1808825"/>
                      </a:cubicBezTo>
                      <a:cubicBezTo>
                        <a:pt x="1256942" y="1805944"/>
                        <a:pt x="1254435" y="1806424"/>
                        <a:pt x="1253639" y="1803824"/>
                      </a:cubicBezTo>
                      <a:cubicBezTo>
                        <a:pt x="1253159" y="1802301"/>
                        <a:pt x="1257820" y="1803297"/>
                        <a:pt x="1255548" y="1800556"/>
                      </a:cubicBezTo>
                      <a:cubicBezTo>
                        <a:pt x="1253018" y="1797535"/>
                        <a:pt x="1248018" y="1798039"/>
                        <a:pt x="1247057" y="1796399"/>
                      </a:cubicBezTo>
                      <a:cubicBezTo>
                        <a:pt x="1244270" y="1791644"/>
                        <a:pt x="1248814" y="1779757"/>
                        <a:pt x="1252761" y="1777239"/>
                      </a:cubicBezTo>
                      <a:cubicBezTo>
                        <a:pt x="1258195" y="1773784"/>
                        <a:pt x="1258195" y="1777414"/>
                        <a:pt x="1258991" y="1772695"/>
                      </a:cubicBezTo>
                      <a:cubicBezTo>
                        <a:pt x="1259097" y="1772062"/>
                        <a:pt x="1256930" y="1767378"/>
                        <a:pt x="1257024" y="1765597"/>
                      </a:cubicBezTo>
                      <a:cubicBezTo>
                        <a:pt x="1257199" y="1761651"/>
                        <a:pt x="1258324" y="1763079"/>
                        <a:pt x="1259577" y="1759929"/>
                      </a:cubicBezTo>
                      <a:cubicBezTo>
                        <a:pt x="1260373" y="1757938"/>
                        <a:pt x="1261216" y="1753183"/>
                        <a:pt x="1262915" y="1752036"/>
                      </a:cubicBezTo>
                      <a:cubicBezTo>
                        <a:pt x="1264906" y="1750677"/>
                        <a:pt x="1265561" y="1755327"/>
                        <a:pt x="1267447" y="1754741"/>
                      </a:cubicBezTo>
                      <a:cubicBezTo>
                        <a:pt x="1276559" y="1751930"/>
                        <a:pt x="1279217" y="1739844"/>
                        <a:pt x="1279732" y="1732243"/>
                      </a:cubicBezTo>
                      <a:cubicBezTo>
                        <a:pt x="1288809" y="1732934"/>
                        <a:pt x="1287439" y="1738345"/>
                        <a:pt x="1292990" y="1728940"/>
                      </a:cubicBezTo>
                      <a:cubicBezTo>
                        <a:pt x="1293892" y="1727406"/>
                        <a:pt x="1294700" y="1724127"/>
                        <a:pt x="1296047" y="1722968"/>
                      </a:cubicBezTo>
                      <a:cubicBezTo>
                        <a:pt x="1299162" y="1720262"/>
                        <a:pt x="1299607" y="1721691"/>
                        <a:pt x="1301762" y="1720824"/>
                      </a:cubicBezTo>
                      <a:cubicBezTo>
                        <a:pt x="1308250" y="1718224"/>
                        <a:pt x="1308672" y="1719923"/>
                        <a:pt x="1305474" y="1712884"/>
                      </a:cubicBezTo>
                      <a:cubicBezTo>
                        <a:pt x="1304526" y="1710764"/>
                        <a:pt x="1295941" y="1702812"/>
                        <a:pt x="1305064" y="1702519"/>
                      </a:cubicBezTo>
                      <a:cubicBezTo>
                        <a:pt x="1305240" y="1703281"/>
                        <a:pt x="1305193" y="1704405"/>
                        <a:pt x="1305322" y="1705166"/>
                      </a:cubicBezTo>
                      <a:cubicBezTo>
                        <a:pt x="1312220" y="1702238"/>
                        <a:pt x="1305873" y="1699111"/>
                        <a:pt x="1306060" y="1696640"/>
                      </a:cubicBezTo>
                      <a:cubicBezTo>
                        <a:pt x="1306446" y="1691323"/>
                        <a:pt x="1309398" y="1686545"/>
                        <a:pt x="1310054" y="1680513"/>
                      </a:cubicBezTo>
                      <a:cubicBezTo>
                        <a:pt x="1310803" y="1673639"/>
                        <a:pt x="1310979" y="1667103"/>
                        <a:pt x="1310639" y="1660873"/>
                      </a:cubicBezTo>
                      <a:cubicBezTo>
                        <a:pt x="1310112" y="1651094"/>
                        <a:pt x="1308918" y="1644102"/>
                        <a:pt x="1308636" y="1633737"/>
                      </a:cubicBezTo>
                      <a:cubicBezTo>
                        <a:pt x="1308379" y="1623853"/>
                        <a:pt x="1307114" y="1620011"/>
                        <a:pt x="1298482" y="1618302"/>
                      </a:cubicBezTo>
                      <a:cubicBezTo>
                        <a:pt x="1288282" y="1616275"/>
                        <a:pt x="1298272" y="1620023"/>
                        <a:pt x="1291889" y="1624087"/>
                      </a:cubicBezTo>
                      <a:cubicBezTo>
                        <a:pt x="1286865" y="1627284"/>
                        <a:pt x="1284604" y="1617376"/>
                        <a:pt x="1282977" y="1613465"/>
                      </a:cubicBezTo>
                      <a:cubicBezTo>
                        <a:pt x="1280681" y="1607914"/>
                        <a:pt x="1279826" y="1603147"/>
                        <a:pt x="1278714" y="1598111"/>
                      </a:cubicBezTo>
                      <a:cubicBezTo>
                        <a:pt x="1278128" y="1595441"/>
                        <a:pt x="1279838" y="1592747"/>
                        <a:pt x="1278374" y="1590229"/>
                      </a:cubicBezTo>
                      <a:cubicBezTo>
                        <a:pt x="1276804" y="1587512"/>
                        <a:pt x="1273244" y="1586973"/>
                        <a:pt x="1271710" y="1585357"/>
                      </a:cubicBezTo>
                      <a:cubicBezTo>
                        <a:pt x="1270633" y="1584245"/>
                        <a:pt x="1270492" y="1580731"/>
                        <a:pt x="1267693" y="1579103"/>
                      </a:cubicBezTo>
                      <a:cubicBezTo>
                        <a:pt x="1264496" y="1577229"/>
                        <a:pt x="1262341" y="1579736"/>
                        <a:pt x="1259530" y="1577581"/>
                      </a:cubicBezTo>
                      <a:cubicBezTo>
                        <a:pt x="1257071" y="1575695"/>
                        <a:pt x="1256731" y="1571479"/>
                        <a:pt x="1254471" y="1569874"/>
                      </a:cubicBezTo>
                      <a:cubicBezTo>
                        <a:pt x="1256321" y="1571186"/>
                        <a:pt x="1246905" y="1569441"/>
                        <a:pt x="1249610" y="1568446"/>
                      </a:cubicBezTo>
                      <a:cubicBezTo>
                        <a:pt x="1247327" y="1569289"/>
                        <a:pt x="1245312" y="1573142"/>
                        <a:pt x="1243766" y="1576245"/>
                      </a:cubicBezTo>
                      <a:cubicBezTo>
                        <a:pt x="1242010" y="1579771"/>
                        <a:pt x="1243919" y="1583354"/>
                        <a:pt x="1238613" y="1584596"/>
                      </a:cubicBezTo>
                      <a:cubicBezTo>
                        <a:pt x="1232312" y="1586060"/>
                        <a:pt x="1232301" y="1579056"/>
                        <a:pt x="1226281" y="1577663"/>
                      </a:cubicBezTo>
                      <a:cubicBezTo>
                        <a:pt x="1223377" y="1576983"/>
                        <a:pt x="1220835" y="1580426"/>
                        <a:pt x="1218481" y="1579689"/>
                      </a:cubicBezTo>
                      <a:cubicBezTo>
                        <a:pt x="1214312" y="1578377"/>
                        <a:pt x="1213855" y="1574290"/>
                        <a:pt x="1210986" y="1570811"/>
                      </a:cubicBezTo>
                      <a:cubicBezTo>
                        <a:pt x="1202331" y="1560341"/>
                        <a:pt x="1197236" y="1564944"/>
                        <a:pt x="1193934" y="1574571"/>
                      </a:cubicBezTo>
                      <a:cubicBezTo>
                        <a:pt x="1190631" y="1570308"/>
                        <a:pt x="1191345" y="1567907"/>
                        <a:pt x="1190795" y="1563843"/>
                      </a:cubicBezTo>
                      <a:cubicBezTo>
                        <a:pt x="1200656" y="1559053"/>
                        <a:pt x="1200129" y="1555212"/>
                        <a:pt x="1194461" y="1547048"/>
                      </a:cubicBezTo>
                      <a:cubicBezTo>
                        <a:pt x="1192142" y="1543699"/>
                        <a:pt x="1186731" y="1540069"/>
                        <a:pt x="1186403" y="1536262"/>
                      </a:cubicBezTo>
                      <a:cubicBezTo>
                        <a:pt x="1183440" y="1537024"/>
                        <a:pt x="1180700" y="1538359"/>
                        <a:pt x="1178287" y="1540268"/>
                      </a:cubicBezTo>
                      <a:cubicBezTo>
                        <a:pt x="1173450" y="1531601"/>
                        <a:pt x="1192189" y="1531554"/>
                        <a:pt x="1185291" y="1526038"/>
                      </a:cubicBezTo>
                      <a:cubicBezTo>
                        <a:pt x="1185993" y="1526589"/>
                        <a:pt x="1179587" y="1527268"/>
                        <a:pt x="1178404" y="1526788"/>
                      </a:cubicBezTo>
                      <a:cubicBezTo>
                        <a:pt x="1173076" y="1524621"/>
                        <a:pt x="1177280" y="1520546"/>
                        <a:pt x="1168836" y="1521119"/>
                      </a:cubicBezTo>
                      <a:cubicBezTo>
                        <a:pt x="1166576" y="1521272"/>
                        <a:pt x="1157148" y="1521681"/>
                        <a:pt x="1156422" y="1522185"/>
                      </a:cubicBezTo>
                      <a:cubicBezTo>
                        <a:pt x="1154642" y="1523415"/>
                        <a:pt x="1155942" y="1526226"/>
                        <a:pt x="1154524" y="1527057"/>
                      </a:cubicBezTo>
                      <a:cubicBezTo>
                        <a:pt x="1151878" y="1528591"/>
                        <a:pt x="1150894" y="1527350"/>
                        <a:pt x="1148235" y="1528240"/>
                      </a:cubicBezTo>
                      <a:cubicBezTo>
                        <a:pt x="1145694" y="1529083"/>
                        <a:pt x="1145518" y="1528416"/>
                        <a:pt x="1143258" y="1529868"/>
                      </a:cubicBezTo>
                      <a:cubicBezTo>
                        <a:pt x="1140810" y="1531437"/>
                        <a:pt x="1144968" y="1533920"/>
                        <a:pt x="1140248" y="1534833"/>
                      </a:cubicBezTo>
                      <a:cubicBezTo>
                        <a:pt x="1139920" y="1533510"/>
                        <a:pt x="1139311" y="1532749"/>
                        <a:pt x="1139136" y="1531215"/>
                      </a:cubicBezTo>
                      <a:cubicBezTo>
                        <a:pt x="1137156" y="1535489"/>
                        <a:pt x="1128642" y="1532187"/>
                        <a:pt x="1130609" y="1538804"/>
                      </a:cubicBezTo>
                      <a:cubicBezTo>
                        <a:pt x="1125281" y="1537070"/>
                        <a:pt x="1119671" y="1534189"/>
                        <a:pt x="1113546" y="1532199"/>
                      </a:cubicBezTo>
                      <a:cubicBezTo>
                        <a:pt x="1114167" y="1533030"/>
                        <a:pt x="1114600" y="1533943"/>
                        <a:pt x="1115303" y="1534740"/>
                      </a:cubicBezTo>
                      <a:cubicBezTo>
                        <a:pt x="1111321" y="1532749"/>
                        <a:pt x="1105933" y="1532433"/>
                        <a:pt x="1103614" y="1530770"/>
                      </a:cubicBezTo>
                      <a:cubicBezTo>
                        <a:pt x="1100089" y="1528228"/>
                        <a:pt x="1100347" y="1522864"/>
                        <a:pt x="1094140" y="1524598"/>
                      </a:cubicBezTo>
                      <a:cubicBezTo>
                        <a:pt x="1093191" y="1524855"/>
                        <a:pt x="1090345" y="1528873"/>
                        <a:pt x="1089127" y="1529704"/>
                      </a:cubicBezTo>
                      <a:cubicBezTo>
                        <a:pt x="1087780" y="1530629"/>
                        <a:pt x="1084923" y="1529739"/>
                        <a:pt x="1083190" y="1530664"/>
                      </a:cubicBezTo>
                      <a:cubicBezTo>
                        <a:pt x="1078973" y="1532913"/>
                        <a:pt x="1075870" y="1536989"/>
                        <a:pt x="1081854" y="1540420"/>
                      </a:cubicBezTo>
                      <a:cubicBezTo>
                        <a:pt x="1076549" y="1546428"/>
                        <a:pt x="1064393" y="1550281"/>
                        <a:pt x="1058736" y="1553338"/>
                      </a:cubicBezTo>
                      <a:cubicBezTo>
                        <a:pt x="1055316" y="1555188"/>
                        <a:pt x="1050503" y="1557624"/>
                        <a:pt x="1047153" y="1558760"/>
                      </a:cubicBezTo>
                      <a:cubicBezTo>
                        <a:pt x="1041871" y="1560564"/>
                        <a:pt x="1036215" y="1559990"/>
                        <a:pt x="1030722" y="1562754"/>
                      </a:cubicBezTo>
                      <a:cubicBezTo>
                        <a:pt x="1020627" y="1567837"/>
                        <a:pt x="1017301" y="1576854"/>
                        <a:pt x="1008517" y="1583448"/>
                      </a:cubicBezTo>
                      <a:cubicBezTo>
                        <a:pt x="1001970" y="1588355"/>
                        <a:pt x="995166" y="1588461"/>
                        <a:pt x="994006" y="1595499"/>
                      </a:cubicBezTo>
                      <a:cubicBezTo>
                        <a:pt x="994053" y="1595195"/>
                        <a:pt x="996150" y="1597338"/>
                        <a:pt x="995376" y="1599434"/>
                      </a:cubicBezTo>
                      <a:cubicBezTo>
                        <a:pt x="994463" y="1601941"/>
                        <a:pt x="992683" y="1602245"/>
                        <a:pt x="990739" y="1603756"/>
                      </a:cubicBezTo>
                      <a:cubicBezTo>
                        <a:pt x="987729" y="1606086"/>
                        <a:pt x="982482" y="1609635"/>
                        <a:pt x="979906" y="1606508"/>
                      </a:cubicBezTo>
                      <a:cubicBezTo>
                        <a:pt x="979214" y="1607457"/>
                        <a:pt x="979027" y="1608347"/>
                        <a:pt x="978617" y="1609448"/>
                      </a:cubicBezTo>
                      <a:cubicBezTo>
                        <a:pt x="977177" y="1609143"/>
                        <a:pt x="977598" y="1608148"/>
                        <a:pt x="976579" y="1607808"/>
                      </a:cubicBezTo>
                      <a:cubicBezTo>
                        <a:pt x="976170" y="1608686"/>
                        <a:pt x="976006" y="1609729"/>
                        <a:pt x="975279" y="1610443"/>
                      </a:cubicBezTo>
                      <a:cubicBezTo>
                        <a:pt x="974507" y="1609132"/>
                        <a:pt x="972492" y="1607410"/>
                        <a:pt x="971930" y="1605993"/>
                      </a:cubicBezTo>
                      <a:cubicBezTo>
                        <a:pt x="971942" y="1608686"/>
                        <a:pt x="971368" y="1608604"/>
                        <a:pt x="969248" y="1609213"/>
                      </a:cubicBezTo>
                      <a:cubicBezTo>
                        <a:pt x="965688" y="1610244"/>
                        <a:pt x="962455" y="1612399"/>
                        <a:pt x="959094" y="1613383"/>
                      </a:cubicBezTo>
                      <a:cubicBezTo>
                        <a:pt x="955920" y="1614308"/>
                        <a:pt x="941023" y="1612141"/>
                        <a:pt x="940203" y="1610958"/>
                      </a:cubicBezTo>
                      <a:cubicBezTo>
                        <a:pt x="936608" y="1605829"/>
                        <a:pt x="943939" y="1604822"/>
                        <a:pt x="937756" y="1600453"/>
                      </a:cubicBezTo>
                      <a:cubicBezTo>
                        <a:pt x="932755" y="1596928"/>
                        <a:pt x="925869" y="1600465"/>
                        <a:pt x="922414" y="1593227"/>
                      </a:cubicBezTo>
                      <a:cubicBezTo>
                        <a:pt x="914625" y="1594726"/>
                        <a:pt x="913794" y="1600898"/>
                        <a:pt x="905210" y="1598673"/>
                      </a:cubicBezTo>
                      <a:cubicBezTo>
                        <a:pt x="901028" y="1597584"/>
                        <a:pt x="895325" y="1593906"/>
                        <a:pt x="890781" y="1593473"/>
                      </a:cubicBezTo>
                      <a:cubicBezTo>
                        <a:pt x="887314" y="1593134"/>
                        <a:pt x="883812" y="1594867"/>
                        <a:pt x="879901" y="1594305"/>
                      </a:cubicBezTo>
                      <a:cubicBezTo>
                        <a:pt x="880744" y="1587770"/>
                        <a:pt x="888392" y="1589421"/>
                        <a:pt x="883684" y="1584467"/>
                      </a:cubicBezTo>
                      <a:cubicBezTo>
                        <a:pt x="882676" y="1583413"/>
                        <a:pt x="878519" y="1582546"/>
                        <a:pt x="876809" y="1582429"/>
                      </a:cubicBezTo>
                      <a:cubicBezTo>
                        <a:pt x="875556" y="1582335"/>
                        <a:pt x="870684" y="1583542"/>
                        <a:pt x="871269" y="1583788"/>
                      </a:cubicBezTo>
                      <a:cubicBezTo>
                        <a:pt x="868529" y="1582640"/>
                        <a:pt x="869723" y="1579384"/>
                        <a:pt x="867299" y="1578471"/>
                      </a:cubicBezTo>
                      <a:cubicBezTo>
                        <a:pt x="865414" y="1577744"/>
                        <a:pt x="864969" y="1580356"/>
                        <a:pt x="863071" y="1580192"/>
                      </a:cubicBezTo>
                      <a:cubicBezTo>
                        <a:pt x="858738" y="1579806"/>
                        <a:pt x="853398" y="1579255"/>
                        <a:pt x="849357" y="1581328"/>
                      </a:cubicBezTo>
                      <a:cubicBezTo>
                        <a:pt x="846336" y="1582874"/>
                        <a:pt x="844228" y="1586856"/>
                        <a:pt x="841370" y="1588414"/>
                      </a:cubicBezTo>
                      <a:cubicBezTo>
                        <a:pt x="836029" y="1591318"/>
                        <a:pt x="831579" y="1590369"/>
                        <a:pt x="827304" y="1595312"/>
                      </a:cubicBezTo>
                      <a:cubicBezTo>
                        <a:pt x="820395" y="1603311"/>
                        <a:pt x="814504" y="1610841"/>
                        <a:pt x="809433" y="1620070"/>
                      </a:cubicBezTo>
                      <a:cubicBezTo>
                        <a:pt x="803518" y="1618665"/>
                        <a:pt x="801246" y="1626511"/>
                        <a:pt x="800555" y="1630880"/>
                      </a:cubicBezTo>
                      <a:cubicBezTo>
                        <a:pt x="799946" y="1634815"/>
                        <a:pt x="805006" y="1638246"/>
                        <a:pt x="797616" y="1636689"/>
                      </a:cubicBezTo>
                      <a:cubicBezTo>
                        <a:pt x="795133" y="1636173"/>
                        <a:pt x="791326" y="1632391"/>
                        <a:pt x="790319" y="1629790"/>
                      </a:cubicBezTo>
                      <a:cubicBezTo>
                        <a:pt x="786771" y="1620550"/>
                        <a:pt x="797229" y="1611743"/>
                        <a:pt x="793013" y="1601496"/>
                      </a:cubicBezTo>
                      <a:cubicBezTo>
                        <a:pt x="791420" y="1597631"/>
                        <a:pt x="793224" y="1597678"/>
                        <a:pt x="787813" y="1594867"/>
                      </a:cubicBezTo>
                      <a:cubicBezTo>
                        <a:pt x="782110" y="1591904"/>
                        <a:pt x="782356" y="1594164"/>
                        <a:pt x="777753" y="1596132"/>
                      </a:cubicBezTo>
                      <a:cubicBezTo>
                        <a:pt x="772928" y="1598193"/>
                        <a:pt x="753065" y="1599376"/>
                        <a:pt x="756953" y="1606215"/>
                      </a:cubicBezTo>
                      <a:cubicBezTo>
                        <a:pt x="754143" y="1604400"/>
                        <a:pt x="750863" y="1604564"/>
                        <a:pt x="747924" y="1604447"/>
                      </a:cubicBezTo>
                      <a:cubicBezTo>
                        <a:pt x="740054" y="1604119"/>
                        <a:pt x="743953" y="1606520"/>
                        <a:pt x="738379" y="1608230"/>
                      </a:cubicBezTo>
                      <a:cubicBezTo>
                        <a:pt x="731164" y="1610431"/>
                        <a:pt x="725836" y="1607585"/>
                        <a:pt x="717872" y="1609424"/>
                      </a:cubicBezTo>
                      <a:cubicBezTo>
                        <a:pt x="718094" y="1608452"/>
                        <a:pt x="718329" y="1607820"/>
                        <a:pt x="718715" y="1606860"/>
                      </a:cubicBezTo>
                      <a:cubicBezTo>
                        <a:pt x="706875" y="1610502"/>
                        <a:pt x="701089" y="1601905"/>
                        <a:pt x="691720" y="1598673"/>
                      </a:cubicBezTo>
                      <a:cubicBezTo>
                        <a:pt x="685946" y="1596682"/>
                        <a:pt x="684798" y="1593719"/>
                        <a:pt x="679751" y="1593134"/>
                      </a:cubicBezTo>
                      <a:cubicBezTo>
                        <a:pt x="671611" y="1592197"/>
                        <a:pt x="677350" y="1596729"/>
                        <a:pt x="673099" y="1601027"/>
                      </a:cubicBezTo>
                      <a:cubicBezTo>
                        <a:pt x="669620" y="1604541"/>
                        <a:pt x="665662" y="1602468"/>
                        <a:pt x="662453" y="1600664"/>
                      </a:cubicBezTo>
                      <a:cubicBezTo>
                        <a:pt x="661492" y="1600137"/>
                        <a:pt x="657698" y="1599153"/>
                        <a:pt x="657054" y="1598216"/>
                      </a:cubicBezTo>
                      <a:cubicBezTo>
                        <a:pt x="656433" y="1597326"/>
                        <a:pt x="655965" y="1591986"/>
                        <a:pt x="656222" y="1592208"/>
                      </a:cubicBezTo>
                      <a:cubicBezTo>
                        <a:pt x="646139" y="1583296"/>
                        <a:pt x="657136" y="1609530"/>
                        <a:pt x="645436" y="1604822"/>
                      </a:cubicBezTo>
                      <a:cubicBezTo>
                        <a:pt x="643188" y="1603908"/>
                        <a:pt x="641841" y="1594644"/>
                        <a:pt x="639779" y="1592091"/>
                      </a:cubicBezTo>
                      <a:cubicBezTo>
                        <a:pt x="636594" y="1588168"/>
                        <a:pt x="630117" y="1585802"/>
                        <a:pt x="630445" y="1579419"/>
                      </a:cubicBezTo>
                      <a:cubicBezTo>
                        <a:pt x="626299" y="1585556"/>
                        <a:pt x="623231" y="1581750"/>
                        <a:pt x="616380" y="1581598"/>
                      </a:cubicBezTo>
                      <a:cubicBezTo>
                        <a:pt x="612831" y="1581516"/>
                        <a:pt x="601834" y="1585451"/>
                        <a:pt x="598672" y="1580778"/>
                      </a:cubicBezTo>
                      <a:cubicBezTo>
                        <a:pt x="594631" y="1574805"/>
                        <a:pt x="609318" y="1564312"/>
                        <a:pt x="598215" y="1562672"/>
                      </a:cubicBezTo>
                      <a:cubicBezTo>
                        <a:pt x="592535" y="1561829"/>
                        <a:pt x="591551" y="1569734"/>
                        <a:pt x="583599" y="1567310"/>
                      </a:cubicBezTo>
                      <a:cubicBezTo>
                        <a:pt x="579547" y="1566080"/>
                        <a:pt x="578423" y="1562344"/>
                        <a:pt x="576162" y="1560927"/>
                      </a:cubicBezTo>
                      <a:cubicBezTo>
                        <a:pt x="573539" y="1559275"/>
                        <a:pt x="569791" y="1558959"/>
                        <a:pt x="567238" y="1557238"/>
                      </a:cubicBezTo>
                      <a:cubicBezTo>
                        <a:pt x="564556" y="1555434"/>
                        <a:pt x="563935" y="1552248"/>
                        <a:pt x="561230" y="1549918"/>
                      </a:cubicBezTo>
                      <a:cubicBezTo>
                        <a:pt x="559017" y="1547986"/>
                        <a:pt x="555749" y="1549075"/>
                        <a:pt x="553629" y="1546288"/>
                      </a:cubicBezTo>
                      <a:cubicBezTo>
                        <a:pt x="552353" y="1544625"/>
                        <a:pt x="553618" y="1541041"/>
                        <a:pt x="553044" y="1539413"/>
                      </a:cubicBezTo>
                      <a:cubicBezTo>
                        <a:pt x="549448" y="1529013"/>
                        <a:pt x="541965" y="1521236"/>
                        <a:pt x="528508" y="1528486"/>
                      </a:cubicBezTo>
                      <a:cubicBezTo>
                        <a:pt x="525744" y="1529973"/>
                        <a:pt x="524585" y="1532995"/>
                        <a:pt x="521470" y="1532772"/>
                      </a:cubicBezTo>
                      <a:cubicBezTo>
                        <a:pt x="516000" y="1532386"/>
                        <a:pt x="518249" y="1529177"/>
                        <a:pt x="515696" y="1526120"/>
                      </a:cubicBezTo>
                      <a:cubicBezTo>
                        <a:pt x="513998" y="1524071"/>
                        <a:pt x="511807" y="1521623"/>
                        <a:pt x="510215" y="1519761"/>
                      </a:cubicBezTo>
                      <a:cubicBezTo>
                        <a:pt x="507263" y="1516317"/>
                        <a:pt x="505354" y="1515509"/>
                        <a:pt x="502954" y="1513015"/>
                      </a:cubicBezTo>
                      <a:cubicBezTo>
                        <a:pt x="502602" y="1512652"/>
                        <a:pt x="501935" y="1507944"/>
                        <a:pt x="499721" y="1506995"/>
                      </a:cubicBezTo>
                      <a:cubicBezTo>
                        <a:pt x="495915" y="1505367"/>
                        <a:pt x="494931" y="1509115"/>
                        <a:pt x="493092" y="1508705"/>
                      </a:cubicBezTo>
                      <a:cubicBezTo>
                        <a:pt x="491254" y="1508295"/>
                        <a:pt x="487705" y="1503810"/>
                        <a:pt x="485222" y="1502873"/>
                      </a:cubicBezTo>
                      <a:cubicBezTo>
                        <a:pt x="482540" y="1501866"/>
                        <a:pt x="482025" y="1503728"/>
                        <a:pt x="478558" y="1501690"/>
                      </a:cubicBezTo>
                      <a:cubicBezTo>
                        <a:pt x="475654" y="1499980"/>
                        <a:pt x="473031" y="1495752"/>
                        <a:pt x="471813" y="1494546"/>
                      </a:cubicBezTo>
                      <a:cubicBezTo>
                        <a:pt x="468791" y="1491595"/>
                        <a:pt x="464575" y="1489217"/>
                        <a:pt x="460698" y="1486828"/>
                      </a:cubicBezTo>
                      <a:cubicBezTo>
                        <a:pt x="455744" y="1483771"/>
                        <a:pt x="447734" y="1482776"/>
                        <a:pt x="444607" y="1478852"/>
                      </a:cubicBezTo>
                      <a:cubicBezTo>
                        <a:pt x="443857" y="1477904"/>
                        <a:pt x="445836" y="1475386"/>
                        <a:pt x="445544" y="1474144"/>
                      </a:cubicBezTo>
                      <a:cubicBezTo>
                        <a:pt x="445321" y="1473254"/>
                        <a:pt x="442721" y="1473067"/>
                        <a:pt x="442241" y="1471685"/>
                      </a:cubicBezTo>
                      <a:cubicBezTo>
                        <a:pt x="439477" y="1463616"/>
                        <a:pt x="443459" y="1468652"/>
                        <a:pt x="436713" y="1466192"/>
                      </a:cubicBezTo>
                      <a:cubicBezTo>
                        <a:pt x="432966" y="1464822"/>
                        <a:pt x="420493" y="1460407"/>
                        <a:pt x="416523" y="1461203"/>
                      </a:cubicBezTo>
                      <a:cubicBezTo>
                        <a:pt x="414321" y="1461636"/>
                        <a:pt x="412447" y="1465091"/>
                        <a:pt x="410585" y="1465794"/>
                      </a:cubicBezTo>
                      <a:cubicBezTo>
                        <a:pt x="408524" y="1466579"/>
                        <a:pt x="408360" y="1461999"/>
                        <a:pt x="405724" y="1464260"/>
                      </a:cubicBezTo>
                      <a:cubicBezTo>
                        <a:pt x="404717" y="1465126"/>
                        <a:pt x="405361" y="1468722"/>
                        <a:pt x="404940" y="1469916"/>
                      </a:cubicBezTo>
                      <a:cubicBezTo>
                        <a:pt x="403722" y="1473395"/>
                        <a:pt x="402773" y="1474683"/>
                        <a:pt x="400946" y="1477283"/>
                      </a:cubicBezTo>
                      <a:cubicBezTo>
                        <a:pt x="400103" y="1478478"/>
                        <a:pt x="399189" y="1482096"/>
                        <a:pt x="397491" y="1483186"/>
                      </a:cubicBezTo>
                      <a:cubicBezTo>
                        <a:pt x="389000" y="1488678"/>
                        <a:pt x="389328" y="1476053"/>
                        <a:pt x="385440" y="1471907"/>
                      </a:cubicBezTo>
                      <a:cubicBezTo>
                        <a:pt x="382219" y="1468464"/>
                        <a:pt x="376012" y="1466462"/>
                        <a:pt x="372101" y="1463721"/>
                      </a:cubicBezTo>
                      <a:cubicBezTo>
                        <a:pt x="367568" y="1460547"/>
                        <a:pt x="364113" y="1459926"/>
                        <a:pt x="359593" y="1458193"/>
                      </a:cubicBezTo>
                      <a:cubicBezTo>
                        <a:pt x="354112" y="1456109"/>
                        <a:pt x="349099" y="1451377"/>
                        <a:pt x="342869" y="1452864"/>
                      </a:cubicBezTo>
                      <a:cubicBezTo>
                        <a:pt x="344333" y="1449808"/>
                        <a:pt x="342880" y="1450112"/>
                        <a:pt x="342728" y="1447688"/>
                      </a:cubicBezTo>
                      <a:cubicBezTo>
                        <a:pt x="342646" y="1446446"/>
                        <a:pt x="345129" y="1445100"/>
                        <a:pt x="344918" y="1444503"/>
                      </a:cubicBezTo>
                      <a:cubicBezTo>
                        <a:pt x="343302" y="1440111"/>
                        <a:pt x="339636" y="1439865"/>
                        <a:pt x="335408" y="1438003"/>
                      </a:cubicBezTo>
                      <a:cubicBezTo>
                        <a:pt x="330103" y="1435672"/>
                        <a:pt x="326707" y="1429875"/>
                        <a:pt x="321003" y="1428903"/>
                      </a:cubicBezTo>
                      <a:cubicBezTo>
                        <a:pt x="316096" y="1428060"/>
                        <a:pt x="312981" y="1431058"/>
                        <a:pt x="308296" y="1429723"/>
                      </a:cubicBezTo>
                      <a:cubicBezTo>
                        <a:pt x="302862" y="1428177"/>
                        <a:pt x="297147" y="1419709"/>
                        <a:pt x="294477" y="1414966"/>
                      </a:cubicBezTo>
                      <a:cubicBezTo>
                        <a:pt x="292626" y="1411652"/>
                        <a:pt x="280880" y="1393756"/>
                        <a:pt x="280083" y="1409181"/>
                      </a:cubicBezTo>
                      <a:cubicBezTo>
                        <a:pt x="279345" y="1408454"/>
                        <a:pt x="277870" y="1407939"/>
                        <a:pt x="277050" y="1407201"/>
                      </a:cubicBezTo>
                      <a:cubicBezTo>
                        <a:pt x="276054" y="1410164"/>
                        <a:pt x="271206" y="1412917"/>
                        <a:pt x="268477" y="1410211"/>
                      </a:cubicBezTo>
                      <a:cubicBezTo>
                        <a:pt x="266521" y="1408255"/>
                        <a:pt x="269250" y="1406311"/>
                        <a:pt x="268629" y="1404484"/>
                      </a:cubicBezTo>
                      <a:cubicBezTo>
                        <a:pt x="268536" y="1404227"/>
                        <a:pt x="265854" y="1397973"/>
                        <a:pt x="265620" y="1398886"/>
                      </a:cubicBezTo>
                      <a:cubicBezTo>
                        <a:pt x="266229" y="1396497"/>
                        <a:pt x="271628" y="1395502"/>
                        <a:pt x="271780" y="1393007"/>
                      </a:cubicBezTo>
                      <a:cubicBezTo>
                        <a:pt x="271967" y="1390149"/>
                        <a:pt x="267657" y="1390196"/>
                        <a:pt x="266931" y="1388838"/>
                      </a:cubicBezTo>
                      <a:cubicBezTo>
                        <a:pt x="264612" y="1384504"/>
                        <a:pt x="265221" y="1383884"/>
                        <a:pt x="265936" y="1379515"/>
                      </a:cubicBezTo>
                      <a:cubicBezTo>
                        <a:pt x="267130" y="1372149"/>
                        <a:pt x="267716" y="1374210"/>
                        <a:pt x="264167" y="1368717"/>
                      </a:cubicBezTo>
                      <a:cubicBezTo>
                        <a:pt x="261790" y="1365063"/>
                        <a:pt x="254950" y="1360086"/>
                        <a:pt x="253322" y="1356783"/>
                      </a:cubicBezTo>
                      <a:cubicBezTo>
                        <a:pt x="251929" y="1353949"/>
                        <a:pt x="253369" y="1348035"/>
                        <a:pt x="252678" y="1345517"/>
                      </a:cubicBezTo>
                      <a:cubicBezTo>
                        <a:pt x="249786" y="1334941"/>
                        <a:pt x="248158" y="1340001"/>
                        <a:pt x="258803" y="1336967"/>
                      </a:cubicBezTo>
                      <a:cubicBezTo>
                        <a:pt x="263746" y="1335550"/>
                        <a:pt x="265385" y="1332341"/>
                        <a:pt x="268196" y="1335491"/>
                      </a:cubicBezTo>
                      <a:cubicBezTo>
                        <a:pt x="270878" y="1338490"/>
                        <a:pt x="269156" y="1347063"/>
                        <a:pt x="276722" y="1349428"/>
                      </a:cubicBezTo>
                      <a:cubicBezTo>
                        <a:pt x="278783" y="1350073"/>
                        <a:pt x="284698" y="1348398"/>
                        <a:pt x="286126" y="1347308"/>
                      </a:cubicBezTo>
                      <a:cubicBezTo>
                        <a:pt x="287543" y="1346219"/>
                        <a:pt x="286407" y="1343057"/>
                        <a:pt x="288597" y="1341687"/>
                      </a:cubicBezTo>
                      <a:cubicBezTo>
                        <a:pt x="290506" y="1340481"/>
                        <a:pt x="292661" y="1341605"/>
                        <a:pt x="294125" y="1340984"/>
                      </a:cubicBezTo>
                      <a:cubicBezTo>
                        <a:pt x="298107" y="1339298"/>
                        <a:pt x="307441" y="1335339"/>
                        <a:pt x="307664" y="1328617"/>
                      </a:cubicBezTo>
                      <a:cubicBezTo>
                        <a:pt x="307816" y="1324483"/>
                        <a:pt x="301914" y="1320103"/>
                        <a:pt x="300590" y="1316636"/>
                      </a:cubicBezTo>
                      <a:cubicBezTo>
                        <a:pt x="299091" y="1312701"/>
                        <a:pt x="302206" y="1306353"/>
                        <a:pt x="301258" y="1303987"/>
                      </a:cubicBezTo>
                      <a:cubicBezTo>
                        <a:pt x="299396" y="1299362"/>
                        <a:pt x="290015" y="1301095"/>
                        <a:pt x="286314" y="1299174"/>
                      </a:cubicBezTo>
                      <a:cubicBezTo>
                        <a:pt x="284217" y="1298085"/>
                        <a:pt x="279896" y="1292253"/>
                        <a:pt x="277390" y="1289910"/>
                      </a:cubicBezTo>
                      <a:cubicBezTo>
                        <a:pt x="269250" y="1282321"/>
                        <a:pt x="271077" y="1279417"/>
                        <a:pt x="270585" y="1268806"/>
                      </a:cubicBezTo>
                      <a:cubicBezTo>
                        <a:pt x="270199" y="1260409"/>
                        <a:pt x="263757" y="1253195"/>
                        <a:pt x="270234" y="1246882"/>
                      </a:cubicBezTo>
                      <a:cubicBezTo>
                        <a:pt x="274110" y="1243111"/>
                        <a:pt x="282191" y="1243345"/>
                        <a:pt x="280329" y="1235955"/>
                      </a:cubicBezTo>
                      <a:cubicBezTo>
                        <a:pt x="279275" y="1231809"/>
                        <a:pt x="271464" y="1227933"/>
                        <a:pt x="268337" y="1225790"/>
                      </a:cubicBezTo>
                      <a:cubicBezTo>
                        <a:pt x="261509" y="1221117"/>
                        <a:pt x="251390" y="1222628"/>
                        <a:pt x="245686" y="1217650"/>
                      </a:cubicBezTo>
                      <a:cubicBezTo>
                        <a:pt x="241915" y="1214359"/>
                        <a:pt x="238941" y="1203948"/>
                        <a:pt x="237266" y="1199029"/>
                      </a:cubicBezTo>
                      <a:cubicBezTo>
                        <a:pt x="235287" y="1193220"/>
                        <a:pt x="230227" y="1185092"/>
                        <a:pt x="229443" y="1179342"/>
                      </a:cubicBezTo>
                      <a:cubicBezTo>
                        <a:pt x="228998" y="1176063"/>
                        <a:pt x="232581" y="1171073"/>
                        <a:pt x="231855" y="1168555"/>
                      </a:cubicBezTo>
                      <a:cubicBezTo>
                        <a:pt x="230438" y="1163625"/>
                        <a:pt x="229806" y="1166951"/>
                        <a:pt x="226468" y="1166611"/>
                      </a:cubicBezTo>
                      <a:cubicBezTo>
                        <a:pt x="226995" y="1166658"/>
                        <a:pt x="221350" y="1168040"/>
                        <a:pt x="220811" y="1168064"/>
                      </a:cubicBezTo>
                      <a:cubicBezTo>
                        <a:pt x="219909" y="1168110"/>
                        <a:pt x="218586" y="1165323"/>
                        <a:pt x="217040" y="1165101"/>
                      </a:cubicBezTo>
                      <a:cubicBezTo>
                        <a:pt x="215330" y="1164855"/>
                        <a:pt x="214007" y="1167396"/>
                        <a:pt x="212227" y="1167396"/>
                      </a:cubicBezTo>
                      <a:cubicBezTo>
                        <a:pt x="209006" y="1167396"/>
                        <a:pt x="205563" y="1166740"/>
                        <a:pt x="202342" y="1166354"/>
                      </a:cubicBezTo>
                      <a:cubicBezTo>
                        <a:pt x="197318" y="1165733"/>
                        <a:pt x="191790" y="1165194"/>
                        <a:pt x="187094" y="1163566"/>
                      </a:cubicBezTo>
                      <a:cubicBezTo>
                        <a:pt x="179856" y="1161037"/>
                        <a:pt x="171072" y="1160158"/>
                        <a:pt x="164631" y="1156270"/>
                      </a:cubicBezTo>
                      <a:cubicBezTo>
                        <a:pt x="163062" y="1155321"/>
                        <a:pt x="159642" y="1152921"/>
                        <a:pt x="158389" y="1151726"/>
                      </a:cubicBezTo>
                      <a:cubicBezTo>
                        <a:pt x="157557" y="1150941"/>
                        <a:pt x="155320" y="1151152"/>
                        <a:pt x="154582" y="1150086"/>
                      </a:cubicBezTo>
                      <a:cubicBezTo>
                        <a:pt x="153540" y="1148587"/>
                        <a:pt x="154758" y="1145343"/>
                        <a:pt x="154126" y="1144594"/>
                      </a:cubicBezTo>
                      <a:cubicBezTo>
                        <a:pt x="150940" y="1140823"/>
                        <a:pt x="155473" y="1143188"/>
                        <a:pt x="150647" y="1143083"/>
                      </a:cubicBezTo>
                      <a:cubicBezTo>
                        <a:pt x="148856" y="1143048"/>
                        <a:pt x="147954" y="1143985"/>
                        <a:pt x="146572" y="1144512"/>
                      </a:cubicBezTo>
                      <a:cubicBezTo>
                        <a:pt x="144347" y="1145355"/>
                        <a:pt x="137589" y="1148107"/>
                        <a:pt x="134825" y="1146901"/>
                      </a:cubicBezTo>
                      <a:cubicBezTo>
                        <a:pt x="130164" y="1144875"/>
                        <a:pt x="132073" y="1139265"/>
                        <a:pt x="128068" y="1135857"/>
                      </a:cubicBezTo>
                      <a:cubicBezTo>
                        <a:pt x="125866" y="1133960"/>
                        <a:pt x="122446" y="1136571"/>
                        <a:pt x="120467" y="1132953"/>
                      </a:cubicBezTo>
                      <a:cubicBezTo>
                        <a:pt x="118078" y="1128561"/>
                        <a:pt x="121275" y="1129720"/>
                        <a:pt x="122329" y="1126804"/>
                      </a:cubicBezTo>
                      <a:cubicBezTo>
                        <a:pt x="122821" y="1125433"/>
                        <a:pt x="123149" y="1124368"/>
                        <a:pt x="123629" y="1122846"/>
                      </a:cubicBezTo>
                      <a:cubicBezTo>
                        <a:pt x="124507" y="1120034"/>
                        <a:pt x="123219" y="1120714"/>
                        <a:pt x="123406" y="1117821"/>
                      </a:cubicBezTo>
                      <a:cubicBezTo>
                        <a:pt x="123933" y="1109975"/>
                        <a:pt x="124027" y="1105618"/>
                        <a:pt x="118534" y="1098767"/>
                      </a:cubicBezTo>
                      <a:cubicBezTo>
                        <a:pt x="112210" y="1090873"/>
                        <a:pt x="107022" y="1091833"/>
                        <a:pt x="98906" y="1091013"/>
                      </a:cubicBezTo>
                      <a:cubicBezTo>
                        <a:pt x="91340" y="1090264"/>
                        <a:pt x="97372" y="1089163"/>
                        <a:pt x="92804" y="1082745"/>
                      </a:cubicBezTo>
                      <a:cubicBezTo>
                        <a:pt x="90602" y="1079653"/>
                        <a:pt x="81620" y="1076409"/>
                        <a:pt x="77790" y="1075929"/>
                      </a:cubicBezTo>
                      <a:cubicBezTo>
                        <a:pt x="73176" y="1075344"/>
                        <a:pt x="67589" y="1076889"/>
                        <a:pt x="66020" y="1081141"/>
                      </a:cubicBezTo>
                      <a:cubicBezTo>
                        <a:pt x="64251" y="1070624"/>
                        <a:pt x="52669" y="1074711"/>
                        <a:pt x="46883" y="1072755"/>
                      </a:cubicBezTo>
                      <a:cubicBezTo>
                        <a:pt x="36882" y="1069382"/>
                        <a:pt x="40899" y="1064229"/>
                        <a:pt x="47422" y="1061629"/>
                      </a:cubicBezTo>
                      <a:cubicBezTo>
                        <a:pt x="48956" y="1061020"/>
                        <a:pt x="53325" y="1060317"/>
                        <a:pt x="54191" y="1060259"/>
                      </a:cubicBezTo>
                      <a:cubicBezTo>
                        <a:pt x="55117" y="1060189"/>
                        <a:pt x="57377" y="1057823"/>
                        <a:pt x="57798" y="1057882"/>
                      </a:cubicBezTo>
                      <a:cubicBezTo>
                        <a:pt x="60164" y="1058198"/>
                        <a:pt x="60024" y="1062566"/>
                        <a:pt x="61909" y="1062718"/>
                      </a:cubicBezTo>
                      <a:cubicBezTo>
                        <a:pt x="66547" y="1063082"/>
                        <a:pt x="67859" y="1060446"/>
                        <a:pt x="70751" y="1058573"/>
                      </a:cubicBezTo>
                      <a:cubicBezTo>
                        <a:pt x="73047" y="1057097"/>
                        <a:pt x="75085" y="1056429"/>
                        <a:pt x="76748" y="1054977"/>
                      </a:cubicBezTo>
                      <a:cubicBezTo>
                        <a:pt x="78622" y="1053338"/>
                        <a:pt x="77333" y="1051909"/>
                        <a:pt x="81245" y="1051499"/>
                      </a:cubicBezTo>
                      <a:cubicBezTo>
                        <a:pt x="78036" y="1049519"/>
                        <a:pt x="67835" y="1042422"/>
                        <a:pt x="66910" y="1039003"/>
                      </a:cubicBezTo>
                      <a:cubicBezTo>
                        <a:pt x="65797" y="1034915"/>
                        <a:pt x="70517" y="1033264"/>
                        <a:pt x="70787" y="1029657"/>
                      </a:cubicBezTo>
                      <a:cubicBezTo>
                        <a:pt x="70997" y="1026881"/>
                        <a:pt x="67226" y="1027689"/>
                        <a:pt x="66711" y="1025570"/>
                      </a:cubicBezTo>
                      <a:cubicBezTo>
                        <a:pt x="66336" y="1024047"/>
                        <a:pt x="67578" y="1023344"/>
                        <a:pt x="67203" y="1021822"/>
                      </a:cubicBezTo>
                      <a:cubicBezTo>
                        <a:pt x="66711" y="1019866"/>
                        <a:pt x="67542" y="1016727"/>
                        <a:pt x="66652" y="1014924"/>
                      </a:cubicBezTo>
                      <a:cubicBezTo>
                        <a:pt x="64287" y="1010063"/>
                        <a:pt x="61769" y="1011668"/>
                        <a:pt x="60902" y="1004594"/>
                      </a:cubicBezTo>
                      <a:cubicBezTo>
                        <a:pt x="59614" y="994218"/>
                        <a:pt x="68772" y="990247"/>
                        <a:pt x="58899" y="983666"/>
                      </a:cubicBezTo>
                      <a:cubicBezTo>
                        <a:pt x="52013" y="979075"/>
                        <a:pt x="33614" y="971298"/>
                        <a:pt x="25803" y="975643"/>
                      </a:cubicBezTo>
                      <a:cubicBezTo>
                        <a:pt x="23800" y="976756"/>
                        <a:pt x="23039" y="983115"/>
                        <a:pt x="22875" y="983185"/>
                      </a:cubicBezTo>
                      <a:cubicBezTo>
                        <a:pt x="17452" y="985563"/>
                        <a:pt x="11632" y="980234"/>
                        <a:pt x="9266" y="976557"/>
                      </a:cubicBezTo>
                      <a:cubicBezTo>
                        <a:pt x="8505" y="975339"/>
                        <a:pt x="3609" y="963569"/>
                        <a:pt x="3914" y="962632"/>
                      </a:cubicBezTo>
                      <a:cubicBezTo>
                        <a:pt x="5483" y="957971"/>
                        <a:pt x="11749" y="960582"/>
                        <a:pt x="11315" y="955734"/>
                      </a:cubicBezTo>
                      <a:cubicBezTo>
                        <a:pt x="10964" y="951752"/>
                        <a:pt x="1009" y="946962"/>
                        <a:pt x="72" y="941961"/>
                      </a:cubicBezTo>
                      <a:cubicBezTo>
                        <a:pt x="-408" y="939408"/>
                        <a:pt x="1630" y="927907"/>
                        <a:pt x="2485" y="927099"/>
                      </a:cubicBezTo>
                      <a:cubicBezTo>
                        <a:pt x="5987" y="923820"/>
                        <a:pt x="14934" y="926291"/>
                        <a:pt x="16398" y="919041"/>
                      </a:cubicBezTo>
                      <a:cubicBezTo>
                        <a:pt x="17640" y="912834"/>
                        <a:pt x="11280" y="911042"/>
                        <a:pt x="11105" y="907377"/>
                      </a:cubicBezTo>
                      <a:cubicBezTo>
                        <a:pt x="10695" y="899507"/>
                        <a:pt x="21329" y="887783"/>
                        <a:pt x="28801" y="886975"/>
                      </a:cubicBezTo>
                      <a:cubicBezTo>
                        <a:pt x="36952" y="886085"/>
                        <a:pt x="38439" y="888170"/>
                        <a:pt x="45970" y="882173"/>
                      </a:cubicBezTo>
                      <a:cubicBezTo>
                        <a:pt x="53254" y="876364"/>
                        <a:pt x="56159" y="872453"/>
                        <a:pt x="65493" y="873261"/>
                      </a:cubicBezTo>
                      <a:cubicBezTo>
                        <a:pt x="62108" y="866703"/>
                        <a:pt x="60094" y="862604"/>
                        <a:pt x="68034" y="863259"/>
                      </a:cubicBezTo>
                      <a:cubicBezTo>
                        <a:pt x="74921" y="863822"/>
                        <a:pt x="78949" y="866468"/>
                        <a:pt x="85086" y="864208"/>
                      </a:cubicBezTo>
                      <a:cubicBezTo>
                        <a:pt x="95053" y="860554"/>
                        <a:pt x="101810" y="846547"/>
                        <a:pt x="104984" y="862967"/>
                      </a:cubicBezTo>
                      <a:cubicBezTo>
                        <a:pt x="105230" y="864196"/>
                        <a:pt x="107303" y="864758"/>
                        <a:pt x="107537" y="866059"/>
                      </a:cubicBezTo>
                      <a:cubicBezTo>
                        <a:pt x="107701" y="866972"/>
                        <a:pt x="105734" y="868963"/>
                        <a:pt x="105886" y="869373"/>
                      </a:cubicBezTo>
                      <a:cubicBezTo>
                        <a:pt x="107982" y="874854"/>
                        <a:pt x="106694" y="873261"/>
                        <a:pt x="110629" y="874795"/>
                      </a:cubicBezTo>
                      <a:cubicBezTo>
                        <a:pt x="118054" y="877712"/>
                        <a:pt x="120315" y="871832"/>
                        <a:pt x="125924" y="870075"/>
                      </a:cubicBezTo>
                      <a:cubicBezTo>
                        <a:pt x="127868" y="869466"/>
                        <a:pt x="134040" y="868588"/>
                        <a:pt x="135270" y="868682"/>
                      </a:cubicBezTo>
                      <a:cubicBezTo>
                        <a:pt x="136078" y="868752"/>
                        <a:pt x="137343" y="866504"/>
                        <a:pt x="138959" y="866609"/>
                      </a:cubicBezTo>
                      <a:cubicBezTo>
                        <a:pt x="140728" y="866726"/>
                        <a:pt x="139205" y="871539"/>
                        <a:pt x="142110" y="871844"/>
                      </a:cubicBezTo>
                      <a:cubicBezTo>
                        <a:pt x="151092" y="872816"/>
                        <a:pt x="155871" y="853000"/>
                        <a:pt x="157850" y="848561"/>
                      </a:cubicBezTo>
                      <a:cubicBezTo>
                        <a:pt x="159536" y="844814"/>
                        <a:pt x="162570" y="843900"/>
                        <a:pt x="164526" y="840949"/>
                      </a:cubicBezTo>
                      <a:cubicBezTo>
                        <a:pt x="165919" y="838829"/>
                        <a:pt x="163811" y="836815"/>
                        <a:pt x="165322" y="834578"/>
                      </a:cubicBezTo>
                      <a:cubicBezTo>
                        <a:pt x="171096" y="825970"/>
                        <a:pt x="181613" y="830772"/>
                        <a:pt x="189659" y="831099"/>
                      </a:cubicBezTo>
                      <a:cubicBezTo>
                        <a:pt x="200140" y="831533"/>
                        <a:pt x="206746" y="831135"/>
                        <a:pt x="217134" y="828910"/>
                      </a:cubicBezTo>
                      <a:cubicBezTo>
                        <a:pt x="228014" y="826579"/>
                        <a:pt x="232031" y="831029"/>
                        <a:pt x="240545" y="822082"/>
                      </a:cubicBezTo>
                      <a:cubicBezTo>
                        <a:pt x="241763" y="820805"/>
                        <a:pt x="246307" y="816401"/>
                        <a:pt x="246963" y="815125"/>
                      </a:cubicBezTo>
                      <a:cubicBezTo>
                        <a:pt x="248333" y="812431"/>
                        <a:pt x="246272" y="810604"/>
                        <a:pt x="248040" y="808051"/>
                      </a:cubicBezTo>
                      <a:cubicBezTo>
                        <a:pt x="250687" y="804222"/>
                        <a:pt x="257855" y="803952"/>
                        <a:pt x="261520" y="801844"/>
                      </a:cubicBezTo>
                      <a:cubicBezTo>
                        <a:pt x="265010" y="799830"/>
                        <a:pt x="267798" y="796797"/>
                        <a:pt x="272728" y="794794"/>
                      </a:cubicBezTo>
                      <a:cubicBezTo>
                        <a:pt x="280540" y="791620"/>
                        <a:pt x="288574" y="784933"/>
                        <a:pt x="296468" y="782509"/>
                      </a:cubicBezTo>
                      <a:cubicBezTo>
                        <a:pt x="300122" y="781396"/>
                        <a:pt x="302452" y="782426"/>
                        <a:pt x="306762" y="780775"/>
                      </a:cubicBezTo>
                      <a:cubicBezTo>
                        <a:pt x="310358" y="779382"/>
                        <a:pt x="318193" y="778257"/>
                        <a:pt x="320968" y="776301"/>
                      </a:cubicBezTo>
                      <a:cubicBezTo>
                        <a:pt x="323568" y="774474"/>
                        <a:pt x="322491" y="771031"/>
                        <a:pt x="325044" y="769251"/>
                      </a:cubicBezTo>
                      <a:cubicBezTo>
                        <a:pt x="330244" y="765620"/>
                        <a:pt x="339601" y="771043"/>
                        <a:pt x="343911" y="767857"/>
                      </a:cubicBezTo>
                      <a:cubicBezTo>
                        <a:pt x="349743" y="763547"/>
                        <a:pt x="344040" y="764578"/>
                        <a:pt x="344754" y="759472"/>
                      </a:cubicBezTo>
                      <a:cubicBezTo>
                        <a:pt x="345422" y="754811"/>
                        <a:pt x="347038" y="755291"/>
                        <a:pt x="346359" y="749412"/>
                      </a:cubicBezTo>
                      <a:cubicBezTo>
                        <a:pt x="345644" y="743310"/>
                        <a:pt x="340960" y="736611"/>
                        <a:pt x="340925" y="730626"/>
                      </a:cubicBezTo>
                      <a:cubicBezTo>
                        <a:pt x="340878" y="721468"/>
                        <a:pt x="347823" y="718107"/>
                        <a:pt x="354908" y="716081"/>
                      </a:cubicBezTo>
                      <a:cubicBezTo>
                        <a:pt x="373108" y="710881"/>
                        <a:pt x="350493" y="712942"/>
                        <a:pt x="352203" y="705294"/>
                      </a:cubicBezTo>
                      <a:cubicBezTo>
                        <a:pt x="352531" y="703830"/>
                        <a:pt x="363528" y="698291"/>
                        <a:pt x="364886" y="698115"/>
                      </a:cubicBezTo>
                      <a:cubicBezTo>
                        <a:pt x="367568" y="697752"/>
                        <a:pt x="371749" y="701500"/>
                        <a:pt x="373904" y="699216"/>
                      </a:cubicBezTo>
                      <a:cubicBezTo>
                        <a:pt x="378437" y="694403"/>
                        <a:pt x="369430" y="689132"/>
                        <a:pt x="368868" y="686966"/>
                      </a:cubicBezTo>
                      <a:cubicBezTo>
                        <a:pt x="368049" y="683792"/>
                        <a:pt x="370578" y="682223"/>
                        <a:pt x="370707" y="677491"/>
                      </a:cubicBezTo>
                      <a:cubicBezTo>
                        <a:pt x="370871" y="672233"/>
                        <a:pt x="364840" y="663578"/>
                        <a:pt x="362614" y="658436"/>
                      </a:cubicBezTo>
                      <a:cubicBezTo>
                        <a:pt x="359722" y="651737"/>
                        <a:pt x="354744" y="644594"/>
                        <a:pt x="353105" y="637871"/>
                      </a:cubicBezTo>
                      <a:cubicBezTo>
                        <a:pt x="351465" y="631184"/>
                        <a:pt x="350317" y="619074"/>
                        <a:pt x="351184" y="611262"/>
                      </a:cubicBezTo>
                      <a:cubicBezTo>
                        <a:pt x="351184" y="611239"/>
                        <a:pt x="352660" y="600769"/>
                        <a:pt x="352039" y="601729"/>
                      </a:cubicBezTo>
                      <a:cubicBezTo>
                        <a:pt x="354346" y="598134"/>
                        <a:pt x="359909" y="599703"/>
                        <a:pt x="358316" y="595791"/>
                      </a:cubicBezTo>
                      <a:cubicBezTo>
                        <a:pt x="357836" y="594621"/>
                        <a:pt x="346745" y="590674"/>
                        <a:pt x="344930" y="590463"/>
                      </a:cubicBezTo>
                      <a:cubicBezTo>
                        <a:pt x="340081" y="589889"/>
                        <a:pt x="330302" y="595382"/>
                        <a:pt x="326847" y="588238"/>
                      </a:cubicBezTo>
                      <a:cubicBezTo>
                        <a:pt x="323252" y="580824"/>
                        <a:pt x="341077" y="576842"/>
                        <a:pt x="346862" y="576292"/>
                      </a:cubicBezTo>
                      <a:cubicBezTo>
                        <a:pt x="355892" y="575448"/>
                        <a:pt x="361104" y="570354"/>
                        <a:pt x="371234" y="569312"/>
                      </a:cubicBezTo>
                      <a:cubicBezTo>
                        <a:pt x="376703" y="568761"/>
                        <a:pt x="378917" y="570096"/>
                        <a:pt x="384831" y="568316"/>
                      </a:cubicBezTo>
                      <a:cubicBezTo>
                        <a:pt x="389937" y="566782"/>
                        <a:pt x="395079" y="564944"/>
                        <a:pt x="400384" y="563456"/>
                      </a:cubicBezTo>
                      <a:cubicBezTo>
                        <a:pt x="404963" y="562179"/>
                        <a:pt x="414977" y="556546"/>
                        <a:pt x="419333" y="556511"/>
                      </a:cubicBezTo>
                      <a:cubicBezTo>
                        <a:pt x="426337" y="556453"/>
                        <a:pt x="423397" y="559486"/>
                        <a:pt x="426958" y="563608"/>
                      </a:cubicBezTo>
                      <a:cubicBezTo>
                        <a:pt x="435577" y="573563"/>
                        <a:pt x="439875" y="562203"/>
                        <a:pt x="451716" y="563772"/>
                      </a:cubicBezTo>
                      <a:cubicBezTo>
                        <a:pt x="457314" y="564510"/>
                        <a:pt x="459574" y="573224"/>
                        <a:pt x="465910" y="570319"/>
                      </a:cubicBezTo>
                      <a:cubicBezTo>
                        <a:pt x="469447" y="568703"/>
                        <a:pt x="472363" y="556628"/>
                        <a:pt x="470934" y="553115"/>
                      </a:cubicBezTo>
                      <a:cubicBezTo>
                        <a:pt x="466800" y="542926"/>
                        <a:pt x="452887" y="553443"/>
                        <a:pt x="454234" y="539623"/>
                      </a:cubicBezTo>
                      <a:cubicBezTo>
                        <a:pt x="454808" y="533791"/>
                        <a:pt x="459539" y="528544"/>
                        <a:pt x="461963" y="523391"/>
                      </a:cubicBezTo>
                      <a:cubicBezTo>
                        <a:pt x="464399" y="518226"/>
                        <a:pt x="464598" y="512745"/>
                        <a:pt x="465851" y="507241"/>
                      </a:cubicBezTo>
                      <a:cubicBezTo>
                        <a:pt x="468124" y="497298"/>
                        <a:pt x="474167" y="487964"/>
                        <a:pt x="477750" y="478278"/>
                      </a:cubicBezTo>
                      <a:cubicBezTo>
                        <a:pt x="481404" y="468335"/>
                        <a:pt x="487412" y="457853"/>
                        <a:pt x="489239" y="447980"/>
                      </a:cubicBezTo>
                      <a:cubicBezTo>
                        <a:pt x="490200" y="442874"/>
                        <a:pt x="488748" y="435098"/>
                        <a:pt x="494486" y="433891"/>
                      </a:cubicBezTo>
                      <a:cubicBezTo>
                        <a:pt x="500693" y="432591"/>
                        <a:pt x="513974" y="442417"/>
                        <a:pt x="519549" y="444631"/>
                      </a:cubicBezTo>
                      <a:cubicBezTo>
                        <a:pt x="531811" y="449503"/>
                        <a:pt x="540161" y="449924"/>
                        <a:pt x="552025" y="448683"/>
                      </a:cubicBezTo>
                      <a:cubicBezTo>
                        <a:pt x="557166" y="448156"/>
                        <a:pt x="577591" y="447652"/>
                        <a:pt x="580390" y="451962"/>
                      </a:cubicBezTo>
                      <a:cubicBezTo>
                        <a:pt x="581819" y="454176"/>
                        <a:pt x="579020" y="459551"/>
                        <a:pt x="579629" y="460149"/>
                      </a:cubicBezTo>
                      <a:cubicBezTo>
                        <a:pt x="582042" y="462503"/>
                        <a:pt x="589748" y="457455"/>
                        <a:pt x="591493" y="456541"/>
                      </a:cubicBezTo>
                      <a:cubicBezTo>
                        <a:pt x="598332" y="452981"/>
                        <a:pt x="602970" y="447535"/>
                        <a:pt x="610102" y="445755"/>
                      </a:cubicBezTo>
                      <a:cubicBezTo>
                        <a:pt x="615314" y="444443"/>
                        <a:pt x="617797" y="445111"/>
                        <a:pt x="620912" y="442335"/>
                      </a:cubicBezTo>
                      <a:cubicBezTo>
                        <a:pt x="622669" y="440754"/>
                        <a:pt x="623032" y="437780"/>
                        <a:pt x="624379" y="435964"/>
                      </a:cubicBezTo>
                      <a:cubicBezTo>
                        <a:pt x="626475" y="433130"/>
                        <a:pt x="628232" y="435320"/>
                        <a:pt x="629672" y="430378"/>
                      </a:cubicBezTo>
                      <a:cubicBezTo>
                        <a:pt x="630117" y="428820"/>
                        <a:pt x="629567" y="424358"/>
                        <a:pt x="629099" y="422847"/>
                      </a:cubicBezTo>
                      <a:cubicBezTo>
                        <a:pt x="627412" y="417390"/>
                        <a:pt x="625737" y="416406"/>
                        <a:pt x="625163" y="410820"/>
                      </a:cubicBezTo>
                      <a:cubicBezTo>
                        <a:pt x="624472" y="404003"/>
                        <a:pt x="621826" y="396672"/>
                        <a:pt x="621638" y="389891"/>
                      </a:cubicBezTo>
                      <a:cubicBezTo>
                        <a:pt x="621404" y="381096"/>
                        <a:pt x="625468" y="366011"/>
                        <a:pt x="631359" y="359219"/>
                      </a:cubicBezTo>
                      <a:cubicBezTo>
                        <a:pt x="635388" y="354557"/>
                        <a:pt x="638901" y="353937"/>
                        <a:pt x="645577" y="353679"/>
                      </a:cubicBezTo>
                      <a:cubicBezTo>
                        <a:pt x="648610" y="353562"/>
                        <a:pt x="652170" y="354733"/>
                        <a:pt x="655110" y="354148"/>
                      </a:cubicBezTo>
                      <a:cubicBezTo>
                        <a:pt x="658389" y="353492"/>
                        <a:pt x="659209" y="351395"/>
                        <a:pt x="662184" y="350423"/>
                      </a:cubicBezTo>
                      <a:cubicBezTo>
                        <a:pt x="671108" y="347531"/>
                        <a:pt x="677268" y="347495"/>
                        <a:pt x="682597" y="338243"/>
                      </a:cubicBezTo>
                      <a:cubicBezTo>
                        <a:pt x="684318" y="335257"/>
                        <a:pt x="686649" y="331404"/>
                        <a:pt x="686403" y="328043"/>
                      </a:cubicBezTo>
                      <a:cubicBezTo>
                        <a:pt x="686192" y="325185"/>
                        <a:pt x="683475" y="322421"/>
                        <a:pt x="683604" y="318849"/>
                      </a:cubicBezTo>
                      <a:cubicBezTo>
                        <a:pt x="684295" y="299806"/>
                        <a:pt x="713585" y="311752"/>
                        <a:pt x="723365" y="309503"/>
                      </a:cubicBezTo>
                      <a:cubicBezTo>
                        <a:pt x="724454" y="309246"/>
                        <a:pt x="727873" y="306927"/>
                        <a:pt x="729783" y="306259"/>
                      </a:cubicBezTo>
                      <a:cubicBezTo>
                        <a:pt x="731492" y="305650"/>
                        <a:pt x="737559" y="303296"/>
                        <a:pt x="739386" y="304210"/>
                      </a:cubicBezTo>
                      <a:cubicBezTo>
                        <a:pt x="742595" y="305814"/>
                        <a:pt x="740288" y="305264"/>
                        <a:pt x="742232" y="308367"/>
                      </a:cubicBezTo>
                      <a:cubicBezTo>
                        <a:pt x="740873" y="306189"/>
                        <a:pt x="743309" y="318263"/>
                        <a:pt x="744246" y="315008"/>
                      </a:cubicBezTo>
                      <a:cubicBezTo>
                        <a:pt x="743005" y="319306"/>
                        <a:pt x="737863" y="318919"/>
                        <a:pt x="737114" y="322784"/>
                      </a:cubicBezTo>
                      <a:cubicBezTo>
                        <a:pt x="736142" y="327820"/>
                        <a:pt x="745897" y="329823"/>
                        <a:pt x="748521" y="331310"/>
                      </a:cubicBezTo>
                      <a:cubicBezTo>
                        <a:pt x="760595" y="338150"/>
                        <a:pt x="744164" y="338419"/>
                        <a:pt x="750313" y="345645"/>
                      </a:cubicBezTo>
                      <a:cubicBezTo>
                        <a:pt x="752667" y="348397"/>
                        <a:pt x="764378" y="350107"/>
                        <a:pt x="767833" y="351595"/>
                      </a:cubicBezTo>
                      <a:cubicBezTo>
                        <a:pt x="769438" y="352285"/>
                        <a:pt x="771241" y="354991"/>
                        <a:pt x="772846" y="355986"/>
                      </a:cubicBezTo>
                      <a:cubicBezTo>
                        <a:pt x="773572" y="356431"/>
                        <a:pt x="775996" y="355014"/>
                        <a:pt x="776757" y="355670"/>
                      </a:cubicBezTo>
                      <a:cubicBezTo>
                        <a:pt x="781840" y="359980"/>
                        <a:pt x="777987" y="360729"/>
                        <a:pt x="780224" y="364969"/>
                      </a:cubicBezTo>
                      <a:cubicBezTo>
                        <a:pt x="783398" y="370977"/>
                        <a:pt x="788656" y="372031"/>
                        <a:pt x="794524" y="375041"/>
                      </a:cubicBezTo>
                      <a:cubicBezTo>
                        <a:pt x="795847" y="375720"/>
                        <a:pt x="797897" y="374830"/>
                        <a:pt x="799314" y="375685"/>
                      </a:cubicBezTo>
                      <a:cubicBezTo>
                        <a:pt x="801703" y="377114"/>
                        <a:pt x="802968" y="381506"/>
                        <a:pt x="805322" y="382747"/>
                      </a:cubicBezTo>
                      <a:cubicBezTo>
                        <a:pt x="807336" y="383801"/>
                        <a:pt x="813426" y="383930"/>
                        <a:pt x="815815" y="383379"/>
                      </a:cubicBezTo>
                      <a:cubicBezTo>
                        <a:pt x="821706" y="381998"/>
                        <a:pt x="826930" y="377571"/>
                        <a:pt x="832902" y="381705"/>
                      </a:cubicBezTo>
                      <a:cubicBezTo>
                        <a:pt x="835701" y="383661"/>
                        <a:pt x="839004" y="392878"/>
                        <a:pt x="842787" y="394060"/>
                      </a:cubicBezTo>
                      <a:cubicBezTo>
                        <a:pt x="848865" y="395958"/>
                        <a:pt x="850446" y="390102"/>
                        <a:pt x="852344" y="389985"/>
                      </a:cubicBezTo>
                      <a:cubicBezTo>
                        <a:pt x="859160" y="389587"/>
                        <a:pt x="855763" y="391718"/>
                        <a:pt x="857895" y="394166"/>
                      </a:cubicBezTo>
                      <a:cubicBezTo>
                        <a:pt x="859851" y="396414"/>
                        <a:pt x="859534" y="398581"/>
                        <a:pt x="862650" y="400806"/>
                      </a:cubicBezTo>
                      <a:cubicBezTo>
                        <a:pt x="865987" y="403184"/>
                        <a:pt x="870485" y="402587"/>
                        <a:pt x="873026" y="405467"/>
                      </a:cubicBezTo>
                      <a:cubicBezTo>
                        <a:pt x="873061" y="405503"/>
                        <a:pt x="875661" y="413021"/>
                        <a:pt x="875966" y="413830"/>
                      </a:cubicBezTo>
                      <a:cubicBezTo>
                        <a:pt x="876926" y="416453"/>
                        <a:pt x="878519" y="418912"/>
                        <a:pt x="879163" y="422086"/>
                      </a:cubicBezTo>
                      <a:cubicBezTo>
                        <a:pt x="880627" y="429242"/>
                        <a:pt x="884492" y="440450"/>
                        <a:pt x="891835" y="446645"/>
                      </a:cubicBezTo>
                      <a:cubicBezTo>
                        <a:pt x="896473" y="450557"/>
                        <a:pt x="899330" y="449655"/>
                        <a:pt x="902668" y="455452"/>
                      </a:cubicBezTo>
                      <a:cubicBezTo>
                        <a:pt x="904870" y="459270"/>
                        <a:pt x="906626" y="465723"/>
                        <a:pt x="907856" y="470677"/>
                      </a:cubicBezTo>
                      <a:cubicBezTo>
                        <a:pt x="909484" y="477154"/>
                        <a:pt x="908512" y="480890"/>
                        <a:pt x="905409" y="488280"/>
                      </a:cubicBezTo>
                      <a:cubicBezTo>
                        <a:pt x="902937" y="494171"/>
                        <a:pt x="901919" y="492824"/>
                        <a:pt x="903265" y="499136"/>
                      </a:cubicBezTo>
                      <a:cubicBezTo>
                        <a:pt x="904390" y="504418"/>
                        <a:pt x="909285" y="507522"/>
                        <a:pt x="907013" y="513530"/>
                      </a:cubicBezTo>
                      <a:cubicBezTo>
                        <a:pt x="903101" y="523883"/>
                        <a:pt x="884058" y="530699"/>
                        <a:pt x="889188" y="546029"/>
                      </a:cubicBezTo>
                      <a:cubicBezTo>
                        <a:pt x="889832" y="547962"/>
                        <a:pt x="893756" y="552096"/>
                        <a:pt x="895278" y="554309"/>
                      </a:cubicBezTo>
                      <a:cubicBezTo>
                        <a:pt x="897445" y="557471"/>
                        <a:pt x="897960" y="559275"/>
                        <a:pt x="900431" y="562273"/>
                      </a:cubicBezTo>
                      <a:cubicBezTo>
                        <a:pt x="900736" y="562648"/>
                        <a:pt x="899213" y="566033"/>
                        <a:pt x="900595" y="566560"/>
                      </a:cubicBezTo>
                      <a:cubicBezTo>
                        <a:pt x="902563" y="567309"/>
                        <a:pt x="904682" y="564440"/>
                        <a:pt x="906884" y="564744"/>
                      </a:cubicBezTo>
                      <a:cubicBezTo>
                        <a:pt x="912014" y="565435"/>
                        <a:pt x="912728" y="566852"/>
                        <a:pt x="916909" y="568703"/>
                      </a:cubicBezTo>
                      <a:cubicBezTo>
                        <a:pt x="920985" y="570495"/>
                        <a:pt x="925716" y="569265"/>
                        <a:pt x="928152" y="569886"/>
                      </a:cubicBezTo>
                      <a:cubicBezTo>
                        <a:pt x="930846" y="570565"/>
                        <a:pt x="933785" y="572755"/>
                        <a:pt x="936561" y="573692"/>
                      </a:cubicBezTo>
                      <a:cubicBezTo>
                        <a:pt x="944876" y="576526"/>
                        <a:pt x="954609" y="571970"/>
                        <a:pt x="963053" y="574125"/>
                      </a:cubicBezTo>
                      <a:cubicBezTo>
                        <a:pt x="967608" y="575285"/>
                        <a:pt x="969869" y="576749"/>
                        <a:pt x="974319" y="577463"/>
                      </a:cubicBezTo>
                      <a:cubicBezTo>
                        <a:pt x="978488" y="578142"/>
                        <a:pt x="982576" y="578564"/>
                        <a:pt x="986698" y="578330"/>
                      </a:cubicBezTo>
                      <a:cubicBezTo>
                        <a:pt x="996594" y="577779"/>
                        <a:pt x="1003528" y="576901"/>
                        <a:pt x="1013002" y="578189"/>
                      </a:cubicBezTo>
                      <a:cubicBezTo>
                        <a:pt x="1019561" y="579091"/>
                        <a:pt x="1026026" y="580203"/>
                        <a:pt x="1032291" y="581176"/>
                      </a:cubicBezTo>
                      <a:cubicBezTo>
                        <a:pt x="1037737" y="582030"/>
                        <a:pt x="1043441" y="582394"/>
                        <a:pt x="1048149" y="586024"/>
                      </a:cubicBezTo>
                      <a:cubicBezTo>
                        <a:pt x="1052681" y="589502"/>
                        <a:pt x="1054801" y="597009"/>
                        <a:pt x="1059989" y="599750"/>
                      </a:cubicBezTo>
                      <a:cubicBezTo>
                        <a:pt x="1064404" y="602081"/>
                        <a:pt x="1068995" y="598801"/>
                        <a:pt x="1072474" y="599996"/>
                      </a:cubicBezTo>
                      <a:cubicBezTo>
                        <a:pt x="1077439" y="601694"/>
                        <a:pt x="1077849" y="607632"/>
                        <a:pt x="1081351" y="610091"/>
                      </a:cubicBezTo>
                      <a:cubicBezTo>
                        <a:pt x="1084864" y="612551"/>
                        <a:pt x="1090732" y="612000"/>
                        <a:pt x="1094866" y="615151"/>
                      </a:cubicBezTo>
                      <a:cubicBezTo>
                        <a:pt x="1097079" y="616837"/>
                        <a:pt x="1098426" y="619788"/>
                        <a:pt x="1100534" y="621030"/>
                      </a:cubicBezTo>
                      <a:cubicBezTo>
                        <a:pt x="1113253" y="628560"/>
                        <a:pt x="1123747" y="622693"/>
                        <a:pt x="1136676" y="624918"/>
                      </a:cubicBezTo>
                      <a:cubicBezTo>
                        <a:pt x="1134076" y="628724"/>
                        <a:pt x="1132179" y="632694"/>
                        <a:pt x="1132928" y="637461"/>
                      </a:cubicBezTo>
                      <a:cubicBezTo>
                        <a:pt x="1134193" y="645484"/>
                        <a:pt x="1140412" y="641677"/>
                        <a:pt x="1145284" y="648376"/>
                      </a:cubicBezTo>
                      <a:cubicBezTo>
                        <a:pt x="1154583" y="661165"/>
                        <a:pt x="1154653" y="681508"/>
                        <a:pt x="1164140" y="693513"/>
                      </a:cubicBezTo>
                      <a:cubicBezTo>
                        <a:pt x="1169703" y="700539"/>
                        <a:pt x="1180969" y="704603"/>
                        <a:pt x="1185033" y="712673"/>
                      </a:cubicBezTo>
                      <a:cubicBezTo>
                        <a:pt x="1189682" y="721878"/>
                        <a:pt x="1182948" y="724244"/>
                        <a:pt x="1195269" y="723049"/>
                      </a:cubicBezTo>
                      <a:cubicBezTo>
                        <a:pt x="1216385" y="720999"/>
                        <a:pt x="1235006" y="720355"/>
                        <a:pt x="1256075" y="722850"/>
                      </a:cubicBezTo>
                      <a:cubicBezTo>
                        <a:pt x="1276582" y="725286"/>
                        <a:pt x="1297089" y="727698"/>
                        <a:pt x="1317608" y="730123"/>
                      </a:cubicBezTo>
                      <a:cubicBezTo>
                        <a:pt x="1327515" y="731294"/>
                        <a:pt x="1339602" y="734749"/>
                        <a:pt x="1349381" y="733859"/>
                      </a:cubicBezTo>
                      <a:cubicBezTo>
                        <a:pt x="1358738" y="733004"/>
                        <a:pt x="1367581" y="727066"/>
                        <a:pt x="1377020" y="726797"/>
                      </a:cubicBezTo>
                      <a:cubicBezTo>
                        <a:pt x="1397843" y="726211"/>
                        <a:pt x="1418971" y="735405"/>
                        <a:pt x="1439817" y="735943"/>
                      </a:cubicBezTo>
                      <a:cubicBezTo>
                        <a:pt x="1449245" y="736189"/>
                        <a:pt x="1458521" y="733215"/>
                        <a:pt x="1466602" y="739913"/>
                      </a:cubicBezTo>
                      <a:cubicBezTo>
                        <a:pt x="1474167" y="746191"/>
                        <a:pt x="1475128" y="754682"/>
                        <a:pt x="1485211" y="758231"/>
                      </a:cubicBezTo>
                      <a:cubicBezTo>
                        <a:pt x="1506268" y="765620"/>
                        <a:pt x="1528837" y="765000"/>
                        <a:pt x="1549086" y="774673"/>
                      </a:cubicBezTo>
                      <a:cubicBezTo>
                        <a:pt x="1557893" y="778889"/>
                        <a:pt x="1565611" y="784312"/>
                        <a:pt x="1575273" y="783797"/>
                      </a:cubicBezTo>
                      <a:cubicBezTo>
                        <a:pt x="1587113" y="783164"/>
                        <a:pt x="1599844" y="779417"/>
                        <a:pt x="1611508" y="777379"/>
                      </a:cubicBezTo>
                      <a:cubicBezTo>
                        <a:pt x="1611461" y="779815"/>
                        <a:pt x="1609951" y="788938"/>
                        <a:pt x="1611754" y="790765"/>
                      </a:cubicBezTo>
                      <a:cubicBezTo>
                        <a:pt x="1614120" y="793142"/>
                        <a:pt x="1624965" y="791034"/>
                        <a:pt x="1627565" y="791468"/>
                      </a:cubicBezTo>
                      <a:cubicBezTo>
                        <a:pt x="1637063" y="793002"/>
                        <a:pt x="1635611" y="795695"/>
                        <a:pt x="1644137" y="789032"/>
                      </a:cubicBezTo>
                      <a:cubicBezTo>
                        <a:pt x="1655907" y="779850"/>
                        <a:pt x="1673521" y="773573"/>
                        <a:pt x="1687692" y="767811"/>
                      </a:cubicBezTo>
                      <a:cubicBezTo>
                        <a:pt x="1707683" y="759683"/>
                        <a:pt x="1726551" y="751766"/>
                        <a:pt x="1747948" y="748709"/>
                      </a:cubicBezTo>
                      <a:cubicBezTo>
                        <a:pt x="1765608" y="746179"/>
                        <a:pt x="1785542" y="740499"/>
                        <a:pt x="1803331" y="740792"/>
                      </a:cubicBezTo>
                      <a:cubicBezTo>
                        <a:pt x="1811155" y="740921"/>
                        <a:pt x="1819657" y="741834"/>
                        <a:pt x="1827469" y="742924"/>
                      </a:cubicBezTo>
                      <a:cubicBezTo>
                        <a:pt x="1835960" y="744106"/>
                        <a:pt x="1839649" y="741752"/>
                        <a:pt x="1847566" y="741260"/>
                      </a:cubicBezTo>
                      <a:cubicBezTo>
                        <a:pt x="1855694" y="740757"/>
                        <a:pt x="1863704" y="743837"/>
                        <a:pt x="1871809" y="740979"/>
                      </a:cubicBezTo>
                      <a:cubicBezTo>
                        <a:pt x="1877278" y="739047"/>
                        <a:pt x="1882724" y="733824"/>
                        <a:pt x="1888826" y="731751"/>
                      </a:cubicBezTo>
                      <a:cubicBezTo>
                        <a:pt x="1903266" y="726855"/>
                        <a:pt x="1915996" y="724618"/>
                        <a:pt x="1926619" y="712965"/>
                      </a:cubicBezTo>
                      <a:cubicBezTo>
                        <a:pt x="1938190" y="700247"/>
                        <a:pt x="1945006" y="687704"/>
                        <a:pt x="1961894" y="680888"/>
                      </a:cubicBezTo>
                      <a:cubicBezTo>
                        <a:pt x="1968288" y="678299"/>
                        <a:pt x="1976252" y="676660"/>
                        <a:pt x="1981733" y="673170"/>
                      </a:cubicBezTo>
                      <a:cubicBezTo>
                        <a:pt x="1985317" y="670898"/>
                        <a:pt x="1986991" y="665815"/>
                        <a:pt x="1990856" y="663882"/>
                      </a:cubicBezTo>
                      <a:cubicBezTo>
                        <a:pt x="1993011" y="662817"/>
                        <a:pt x="1997204" y="664726"/>
                        <a:pt x="1999207" y="662172"/>
                      </a:cubicBezTo>
                      <a:cubicBezTo>
                        <a:pt x="2006901" y="652381"/>
                        <a:pt x="1981393" y="637192"/>
                        <a:pt x="1977634" y="630774"/>
                      </a:cubicBezTo>
                      <a:cubicBezTo>
                        <a:pt x="1975889" y="627811"/>
                        <a:pt x="1971263" y="620667"/>
                        <a:pt x="1971251" y="618055"/>
                      </a:cubicBezTo>
                      <a:cubicBezTo>
                        <a:pt x="1971216" y="613546"/>
                        <a:pt x="1976826" y="609845"/>
                        <a:pt x="1978407" y="605887"/>
                      </a:cubicBezTo>
                      <a:cubicBezTo>
                        <a:pt x="1982904" y="594656"/>
                        <a:pt x="1984450" y="580051"/>
                        <a:pt x="1997836" y="575191"/>
                      </a:cubicBezTo>
                      <a:cubicBezTo>
                        <a:pt x="2003282" y="573212"/>
                        <a:pt x="2006070" y="573973"/>
                        <a:pt x="2012417" y="574289"/>
                      </a:cubicBezTo>
                      <a:cubicBezTo>
                        <a:pt x="2025452" y="574957"/>
                        <a:pt x="2023016" y="575437"/>
                        <a:pt x="2032690" y="582909"/>
                      </a:cubicBezTo>
                      <a:cubicBezTo>
                        <a:pt x="2044647" y="592161"/>
                        <a:pt x="2066478" y="592489"/>
                        <a:pt x="2080754" y="593965"/>
                      </a:cubicBezTo>
                      <a:cubicBezTo>
                        <a:pt x="2089725" y="594901"/>
                        <a:pt x="2090205" y="592009"/>
                        <a:pt x="2098462" y="587242"/>
                      </a:cubicBezTo>
                      <a:cubicBezTo>
                        <a:pt x="2103849" y="584127"/>
                        <a:pt x="2108616" y="582710"/>
                        <a:pt x="2113546" y="578681"/>
                      </a:cubicBezTo>
                      <a:cubicBezTo>
                        <a:pt x="2118852" y="574324"/>
                        <a:pt x="2126101" y="569464"/>
                        <a:pt x="2130294" y="563807"/>
                      </a:cubicBezTo>
                      <a:cubicBezTo>
                        <a:pt x="2134756" y="557753"/>
                        <a:pt x="2133198" y="551662"/>
                        <a:pt x="2142790" y="551229"/>
                      </a:cubicBezTo>
                      <a:cubicBezTo>
                        <a:pt x="2150473" y="550878"/>
                        <a:pt x="2156938" y="553864"/>
                        <a:pt x="2165241" y="553255"/>
                      </a:cubicBezTo>
                      <a:cubicBezTo>
                        <a:pt x="2173661" y="552635"/>
                        <a:pt x="2182351" y="553630"/>
                        <a:pt x="2190456" y="550421"/>
                      </a:cubicBezTo>
                      <a:cubicBezTo>
                        <a:pt x="2197963" y="547458"/>
                        <a:pt x="2202343" y="540010"/>
                        <a:pt x="2209733" y="536508"/>
                      </a:cubicBezTo>
                      <a:cubicBezTo>
                        <a:pt x="2213996" y="534494"/>
                        <a:pt x="2220543" y="535161"/>
                        <a:pt x="2223002" y="529282"/>
                      </a:cubicBezTo>
                      <a:cubicBezTo>
                        <a:pt x="2225462" y="523367"/>
                        <a:pt x="2221937" y="520814"/>
                        <a:pt x="2226164" y="513495"/>
                      </a:cubicBezTo>
                      <a:cubicBezTo>
                        <a:pt x="2229549" y="507639"/>
                        <a:pt x="2235299" y="499898"/>
                        <a:pt x="2240488" y="495927"/>
                      </a:cubicBezTo>
                      <a:cubicBezTo>
                        <a:pt x="2243497" y="493620"/>
                        <a:pt x="2250653" y="489322"/>
                        <a:pt x="2254225" y="488608"/>
                      </a:cubicBezTo>
                      <a:cubicBezTo>
                        <a:pt x="2261100" y="487249"/>
                        <a:pt x="2273994" y="495049"/>
                        <a:pt x="2280201" y="490763"/>
                      </a:cubicBezTo>
                      <a:cubicBezTo>
                        <a:pt x="2282344" y="489287"/>
                        <a:pt x="2285261" y="479086"/>
                        <a:pt x="2284054" y="476521"/>
                      </a:cubicBezTo>
                      <a:cubicBezTo>
                        <a:pt x="2289325" y="476873"/>
                        <a:pt x="2290918" y="475256"/>
                        <a:pt x="2294513" y="476521"/>
                      </a:cubicBezTo>
                      <a:cubicBezTo>
                        <a:pt x="2298577" y="477950"/>
                        <a:pt x="2299408" y="482365"/>
                        <a:pt x="2305662" y="479648"/>
                      </a:cubicBezTo>
                      <a:cubicBezTo>
                        <a:pt x="2307794" y="478735"/>
                        <a:pt x="2308918" y="475350"/>
                        <a:pt x="2311073" y="473910"/>
                      </a:cubicBezTo>
                      <a:cubicBezTo>
                        <a:pt x="2314200" y="471802"/>
                        <a:pt x="2319786" y="471263"/>
                        <a:pt x="2323136" y="469799"/>
                      </a:cubicBezTo>
                      <a:cubicBezTo>
                        <a:pt x="2331673" y="466075"/>
                        <a:pt x="2336042" y="468042"/>
                        <a:pt x="2345341" y="468780"/>
                      </a:cubicBezTo>
                      <a:cubicBezTo>
                        <a:pt x="2346934" y="468909"/>
                        <a:pt x="2352520" y="469776"/>
                        <a:pt x="2354089" y="469237"/>
                      </a:cubicBezTo>
                      <a:cubicBezTo>
                        <a:pt x="2356197" y="468499"/>
                        <a:pt x="2356209" y="465009"/>
                        <a:pt x="2358235" y="464341"/>
                      </a:cubicBezTo>
                      <a:cubicBezTo>
                        <a:pt x="2361070" y="463404"/>
                        <a:pt x="2360179" y="465817"/>
                        <a:pt x="2361421" y="465817"/>
                      </a:cubicBezTo>
                      <a:cubicBezTo>
                        <a:pt x="2366937" y="465805"/>
                        <a:pt x="2373179" y="472703"/>
                        <a:pt x="2382712" y="473476"/>
                      </a:cubicBezTo>
                      <a:cubicBezTo>
                        <a:pt x="2388767" y="473968"/>
                        <a:pt x="2399472" y="475549"/>
                        <a:pt x="2404835" y="474718"/>
                      </a:cubicBezTo>
                      <a:cubicBezTo>
                        <a:pt x="2408314" y="474179"/>
                        <a:pt x="2413689" y="469436"/>
                        <a:pt x="2414954" y="466356"/>
                      </a:cubicBezTo>
                      <a:cubicBezTo>
                        <a:pt x="2415388" y="465290"/>
                        <a:pt x="2414779" y="457080"/>
                        <a:pt x="2414263" y="455687"/>
                      </a:cubicBezTo>
                      <a:cubicBezTo>
                        <a:pt x="2413783" y="454375"/>
                        <a:pt x="2410867" y="452852"/>
                        <a:pt x="2409590" y="450557"/>
                      </a:cubicBezTo>
                      <a:cubicBezTo>
                        <a:pt x="2407857" y="447407"/>
                        <a:pt x="2408009" y="444350"/>
                        <a:pt x="2406463" y="441047"/>
                      </a:cubicBezTo>
                      <a:cubicBezTo>
                        <a:pt x="2403875" y="435519"/>
                        <a:pt x="2398406" y="433681"/>
                        <a:pt x="2394353" y="430507"/>
                      </a:cubicBezTo>
                      <a:cubicBezTo>
                        <a:pt x="2390442" y="427450"/>
                        <a:pt x="2387854" y="422660"/>
                        <a:pt x="2382513" y="421009"/>
                      </a:cubicBezTo>
                      <a:cubicBezTo>
                        <a:pt x="2387678" y="415118"/>
                        <a:pt x="2378859" y="416828"/>
                        <a:pt x="2375967" y="414193"/>
                      </a:cubicBezTo>
                      <a:cubicBezTo>
                        <a:pt x="2373003" y="411499"/>
                        <a:pt x="2374666" y="407599"/>
                        <a:pt x="2372148" y="404671"/>
                      </a:cubicBezTo>
                      <a:cubicBezTo>
                        <a:pt x="2368459" y="400396"/>
                        <a:pt x="2358809" y="400935"/>
                        <a:pt x="2354277" y="397164"/>
                      </a:cubicBezTo>
                      <a:cubicBezTo>
                        <a:pt x="2348140" y="392081"/>
                        <a:pt x="2347379" y="385300"/>
                        <a:pt x="2339192" y="382794"/>
                      </a:cubicBezTo>
                      <a:cubicBezTo>
                        <a:pt x="2330057" y="380007"/>
                        <a:pt x="2312373" y="379116"/>
                        <a:pt x="2303519" y="382618"/>
                      </a:cubicBezTo>
                      <a:cubicBezTo>
                        <a:pt x="2299080" y="384375"/>
                        <a:pt x="2296410" y="388638"/>
                        <a:pt x="2293412" y="392210"/>
                      </a:cubicBezTo>
                      <a:cubicBezTo>
                        <a:pt x="2291117" y="394951"/>
                        <a:pt x="2285436" y="404495"/>
                        <a:pt x="2282368" y="405280"/>
                      </a:cubicBezTo>
                      <a:cubicBezTo>
                        <a:pt x="2277531" y="406522"/>
                        <a:pt x="2270504" y="396579"/>
                        <a:pt x="2266616" y="394482"/>
                      </a:cubicBezTo>
                      <a:cubicBezTo>
                        <a:pt x="2260667" y="391285"/>
                        <a:pt x="2254600" y="390371"/>
                        <a:pt x="2248112" y="391015"/>
                      </a:cubicBezTo>
                      <a:cubicBezTo>
                        <a:pt x="2240195" y="391788"/>
                        <a:pt x="2232770" y="390969"/>
                        <a:pt x="2225192" y="391484"/>
                      </a:cubicBezTo>
                      <a:cubicBezTo>
                        <a:pt x="2217404" y="392011"/>
                        <a:pt x="2212895" y="403160"/>
                        <a:pt x="2206969" y="403114"/>
                      </a:cubicBezTo>
                      <a:cubicBezTo>
                        <a:pt x="2198631" y="403055"/>
                        <a:pt x="2181075" y="381646"/>
                        <a:pt x="2186544" y="372722"/>
                      </a:cubicBezTo>
                      <a:cubicBezTo>
                        <a:pt x="2189578" y="367792"/>
                        <a:pt x="2198947" y="370263"/>
                        <a:pt x="2201348" y="364009"/>
                      </a:cubicBezTo>
                      <a:cubicBezTo>
                        <a:pt x="2203175" y="359219"/>
                        <a:pt x="2199099" y="352531"/>
                        <a:pt x="2200657" y="347285"/>
                      </a:cubicBezTo>
                      <a:cubicBezTo>
                        <a:pt x="2202729" y="340375"/>
                        <a:pt x="2211021" y="335550"/>
                        <a:pt x="2213797" y="328722"/>
                      </a:cubicBezTo>
                      <a:cubicBezTo>
                        <a:pt x="2214465" y="327094"/>
                        <a:pt x="2212942" y="325290"/>
                        <a:pt x="2213551" y="323405"/>
                      </a:cubicBezTo>
                      <a:cubicBezTo>
                        <a:pt x="2215401" y="317772"/>
                        <a:pt x="2219500" y="312115"/>
                        <a:pt x="2222241" y="306833"/>
                      </a:cubicBezTo>
                      <a:cubicBezTo>
                        <a:pt x="2230439" y="291046"/>
                        <a:pt x="2238696" y="275294"/>
                        <a:pt x="2247011" y="259565"/>
                      </a:cubicBezTo>
                      <a:cubicBezTo>
                        <a:pt x="2255232" y="265573"/>
                        <a:pt x="2267389" y="271476"/>
                        <a:pt x="2277519" y="273221"/>
                      </a:cubicBezTo>
                      <a:cubicBezTo>
                        <a:pt x="2283375" y="274228"/>
                        <a:pt x="2287357" y="273877"/>
                        <a:pt x="2292873" y="275926"/>
                      </a:cubicBezTo>
                      <a:cubicBezTo>
                        <a:pt x="2297218" y="277566"/>
                        <a:pt x="2300778" y="280646"/>
                        <a:pt x="2305205" y="280189"/>
                      </a:cubicBezTo>
                      <a:cubicBezTo>
                        <a:pt x="2313181" y="279346"/>
                        <a:pt x="2320653" y="270621"/>
                        <a:pt x="2327633" y="265925"/>
                      </a:cubicBezTo>
                      <a:cubicBezTo>
                        <a:pt x="2331990" y="262997"/>
                        <a:pt x="2337049" y="261568"/>
                        <a:pt x="2340633" y="258476"/>
                      </a:cubicBezTo>
                      <a:cubicBezTo>
                        <a:pt x="2343912" y="255654"/>
                        <a:pt x="2345482" y="251742"/>
                        <a:pt x="2350635" y="250126"/>
                      </a:cubicBezTo>
                      <a:cubicBezTo>
                        <a:pt x="2360097" y="247128"/>
                        <a:pt x="2378941" y="252843"/>
                        <a:pt x="2384633" y="240698"/>
                      </a:cubicBezTo>
                      <a:cubicBezTo>
                        <a:pt x="2385605" y="238625"/>
                        <a:pt x="2387069" y="226187"/>
                        <a:pt x="2386823" y="225719"/>
                      </a:cubicBezTo>
                      <a:cubicBezTo>
                        <a:pt x="2385383" y="223107"/>
                        <a:pt x="2377325" y="222779"/>
                        <a:pt x="2374772" y="221514"/>
                      </a:cubicBezTo>
                      <a:cubicBezTo>
                        <a:pt x="2379972" y="216326"/>
                        <a:pt x="2379574" y="214816"/>
                        <a:pt x="2382759" y="208070"/>
                      </a:cubicBezTo>
                      <a:cubicBezTo>
                        <a:pt x="2385441" y="202401"/>
                        <a:pt x="2392070" y="201008"/>
                        <a:pt x="2394553" y="194086"/>
                      </a:cubicBezTo>
                      <a:cubicBezTo>
                        <a:pt x="2395455" y="191533"/>
                        <a:pt x="2394237" y="189273"/>
                        <a:pt x="2395302" y="186521"/>
                      </a:cubicBezTo>
                      <a:cubicBezTo>
                        <a:pt x="2397059" y="181988"/>
                        <a:pt x="2401744" y="180513"/>
                        <a:pt x="2404859" y="176402"/>
                      </a:cubicBezTo>
                      <a:cubicBezTo>
                        <a:pt x="2407927" y="172349"/>
                        <a:pt x="2406334" y="164362"/>
                        <a:pt x="2410316" y="164163"/>
                      </a:cubicBezTo>
                      <a:cubicBezTo>
                        <a:pt x="2409297" y="158343"/>
                        <a:pt x="2417484" y="158179"/>
                        <a:pt x="2414497" y="152534"/>
                      </a:cubicBezTo>
                      <a:cubicBezTo>
                        <a:pt x="2418046" y="152007"/>
                        <a:pt x="2421091" y="144605"/>
                        <a:pt x="2422344" y="141537"/>
                      </a:cubicBezTo>
                      <a:cubicBezTo>
                        <a:pt x="2424593" y="136009"/>
                        <a:pt x="2424886" y="136161"/>
                        <a:pt x="2428575" y="132835"/>
                      </a:cubicBezTo>
                      <a:cubicBezTo>
                        <a:pt x="2433704" y="128209"/>
                        <a:pt x="2438787" y="124531"/>
                        <a:pt x="2444198" y="120866"/>
                      </a:cubicBezTo>
                      <a:cubicBezTo>
                        <a:pt x="2446224" y="119495"/>
                        <a:pt x="2452583" y="117024"/>
                        <a:pt x="2453930" y="115666"/>
                      </a:cubicBezTo>
                      <a:cubicBezTo>
                        <a:pt x="2455535" y="114073"/>
                        <a:pt x="2456155" y="111438"/>
                        <a:pt x="2457057" y="109623"/>
                      </a:cubicBezTo>
                      <a:cubicBezTo>
                        <a:pt x="2457104" y="109517"/>
                        <a:pt x="2459259" y="103861"/>
                        <a:pt x="2459294" y="103720"/>
                      </a:cubicBezTo>
                      <a:cubicBezTo>
                        <a:pt x="2460020" y="99773"/>
                        <a:pt x="2460852" y="98977"/>
                        <a:pt x="2459200" y="94936"/>
                      </a:cubicBezTo>
                      <a:cubicBezTo>
                        <a:pt x="2457408" y="90533"/>
                        <a:pt x="2453743" y="88390"/>
                        <a:pt x="2453743" y="83928"/>
                      </a:cubicBezTo>
                      <a:cubicBezTo>
                        <a:pt x="2453743" y="80941"/>
                        <a:pt x="2458369" y="75765"/>
                        <a:pt x="2457280" y="72638"/>
                      </a:cubicBezTo>
                      <a:cubicBezTo>
                        <a:pt x="2456132" y="69300"/>
                        <a:pt x="2445123" y="65857"/>
                        <a:pt x="2441317" y="65704"/>
                      </a:cubicBezTo>
                      <a:cubicBezTo>
                        <a:pt x="2436562" y="65517"/>
                        <a:pt x="2427462" y="71724"/>
                        <a:pt x="2423199" y="67859"/>
                      </a:cubicBezTo>
                      <a:cubicBezTo>
                        <a:pt x="2413760" y="59322"/>
                        <a:pt x="2431749" y="51135"/>
                        <a:pt x="2436386" y="46943"/>
                      </a:cubicBezTo>
                      <a:cubicBezTo>
                        <a:pt x="2444713" y="39412"/>
                        <a:pt x="2456132" y="23180"/>
                        <a:pt x="2465618" y="19701"/>
                      </a:cubicBezTo>
                      <a:cubicBezTo>
                        <a:pt x="2470303" y="17992"/>
                        <a:pt x="2475011" y="20240"/>
                        <a:pt x="2479496" y="19994"/>
                      </a:cubicBezTo>
                      <a:cubicBezTo>
                        <a:pt x="2483513" y="19772"/>
                        <a:pt x="2485809" y="17664"/>
                        <a:pt x="2489229" y="16867"/>
                      </a:cubicBezTo>
                      <a:cubicBezTo>
                        <a:pt x="2496853" y="15122"/>
                        <a:pt x="2504138" y="12569"/>
                        <a:pt x="2512101" y="10625"/>
                      </a:cubicBezTo>
                      <a:cubicBezTo>
                        <a:pt x="2517512" y="9313"/>
                        <a:pt x="2522560" y="10063"/>
                        <a:pt x="2527842" y="9079"/>
                      </a:cubicBezTo>
                      <a:cubicBezTo>
                        <a:pt x="2531121" y="8470"/>
                        <a:pt x="2533287" y="6128"/>
                        <a:pt x="2536918" y="5648"/>
                      </a:cubicBezTo>
                      <a:cubicBezTo>
                        <a:pt x="2543090" y="4816"/>
                        <a:pt x="2546194" y="7088"/>
                        <a:pt x="2553232" y="6456"/>
                      </a:cubicBezTo>
                      <a:cubicBezTo>
                        <a:pt x="2564510" y="5449"/>
                        <a:pt x="2575379" y="4816"/>
                        <a:pt x="2585849" y="1959"/>
                      </a:cubicBezTo>
                      <a:cubicBezTo>
                        <a:pt x="2593204" y="-44"/>
                        <a:pt x="2593438" y="-290"/>
                        <a:pt x="2601168" y="2708"/>
                      </a:cubicBezTo>
                      <a:lnTo>
                        <a:pt x="2601168" y="2708"/>
                      </a:lnTo>
                      <a:close/>
                    </a:path>
                  </a:pathLst>
                </a:custGeom>
                <a:solidFill>
                  <a:srgbClr val="D6D6D2"/>
                </a:solidFill>
                <a:ln w="8774" cap="rnd">
                  <a:solidFill>
                    <a:srgbClr val="FFFFFF"/>
                  </a:solidFill>
                  <a:prstDash val="solid"/>
                  <a:round/>
                </a:ln>
              </p:spPr>
              <p:txBody>
                <a:bodyPr rtlCol="0" anchor="ctr"/>
                <a:lstStyle/>
                <a:p>
                  <a:endParaRPr lang="en-US"/>
                </a:p>
              </p:txBody>
            </p:sp>
            <p:sp>
              <p:nvSpPr>
                <p:cNvPr id="131" name="Freeform: Shape 130">
                  <a:extLst>
                    <a:ext uri="{FF2B5EF4-FFF2-40B4-BE49-F238E27FC236}">
                      <a16:creationId xmlns:a16="http://schemas.microsoft.com/office/drawing/2014/main" id="{F7570C79-9626-4BA9-90F5-0DD30F9E025E}"/>
                    </a:ext>
                  </a:extLst>
                </p:cNvPr>
                <p:cNvSpPr/>
                <p:nvPr/>
              </p:nvSpPr>
              <p:spPr>
                <a:xfrm>
                  <a:off x="1747951" y="4561062"/>
                  <a:ext cx="174538" cy="92406"/>
                </a:xfrm>
                <a:custGeom>
                  <a:avLst/>
                  <a:gdLst>
                    <a:gd name="connsiteX0" fmla="*/ 150991 w 174538"/>
                    <a:gd name="connsiteY0" fmla="*/ 33860 h 92406"/>
                    <a:gd name="connsiteX1" fmla="*/ 155910 w 174538"/>
                    <a:gd name="connsiteY1" fmla="*/ 50725 h 92406"/>
                    <a:gd name="connsiteX2" fmla="*/ 164108 w 174538"/>
                    <a:gd name="connsiteY2" fmla="*/ 51451 h 92406"/>
                    <a:gd name="connsiteX3" fmla="*/ 172271 w 174538"/>
                    <a:gd name="connsiteY3" fmla="*/ 55421 h 92406"/>
                    <a:gd name="connsiteX4" fmla="*/ 169647 w 174538"/>
                    <a:gd name="connsiteY4" fmla="*/ 71185 h 92406"/>
                    <a:gd name="connsiteX5" fmla="*/ 174239 w 174538"/>
                    <a:gd name="connsiteY5" fmla="*/ 81432 h 92406"/>
                    <a:gd name="connsiteX6" fmla="*/ 164565 w 174538"/>
                    <a:gd name="connsiteY6" fmla="*/ 83201 h 92406"/>
                    <a:gd name="connsiteX7" fmla="*/ 163815 w 174538"/>
                    <a:gd name="connsiteY7" fmla="*/ 87593 h 92406"/>
                    <a:gd name="connsiteX8" fmla="*/ 153977 w 174538"/>
                    <a:gd name="connsiteY8" fmla="*/ 87651 h 92406"/>
                    <a:gd name="connsiteX9" fmla="*/ 147536 w 174538"/>
                    <a:gd name="connsiteY9" fmla="*/ 87359 h 92406"/>
                    <a:gd name="connsiteX10" fmla="*/ 142395 w 174538"/>
                    <a:gd name="connsiteY10" fmla="*/ 83974 h 92406"/>
                    <a:gd name="connsiteX11" fmla="*/ 135204 w 174538"/>
                    <a:gd name="connsiteY11" fmla="*/ 88577 h 92406"/>
                    <a:gd name="connsiteX12" fmla="*/ 122403 w 174538"/>
                    <a:gd name="connsiteY12" fmla="*/ 87499 h 92406"/>
                    <a:gd name="connsiteX13" fmla="*/ 103220 w 174538"/>
                    <a:gd name="connsiteY13" fmla="*/ 89619 h 92406"/>
                    <a:gd name="connsiteX14" fmla="*/ 83498 w 174538"/>
                    <a:gd name="connsiteY14" fmla="*/ 82522 h 92406"/>
                    <a:gd name="connsiteX15" fmla="*/ 73437 w 174538"/>
                    <a:gd name="connsiteY15" fmla="*/ 89631 h 92406"/>
                    <a:gd name="connsiteX16" fmla="*/ 59044 w 174538"/>
                    <a:gd name="connsiteY16" fmla="*/ 92301 h 92406"/>
                    <a:gd name="connsiteX17" fmla="*/ 44838 w 174538"/>
                    <a:gd name="connsiteY17" fmla="*/ 92195 h 92406"/>
                    <a:gd name="connsiteX18" fmla="*/ 32904 w 174538"/>
                    <a:gd name="connsiteY18" fmla="*/ 85672 h 92406"/>
                    <a:gd name="connsiteX19" fmla="*/ 19939 w 174538"/>
                    <a:gd name="connsiteY19" fmla="*/ 86902 h 92406"/>
                    <a:gd name="connsiteX20" fmla="*/ 5932 w 174538"/>
                    <a:gd name="connsiteY20" fmla="*/ 79605 h 92406"/>
                    <a:gd name="connsiteX21" fmla="*/ 4843 w 174538"/>
                    <a:gd name="connsiteY21" fmla="*/ 71372 h 92406"/>
                    <a:gd name="connsiteX22" fmla="*/ 18 w 174538"/>
                    <a:gd name="connsiteY22" fmla="*/ 66453 h 92406"/>
                    <a:gd name="connsiteX23" fmla="*/ 11928 w 174538"/>
                    <a:gd name="connsiteY23" fmla="*/ 58794 h 92406"/>
                    <a:gd name="connsiteX24" fmla="*/ 20162 w 174538"/>
                    <a:gd name="connsiteY24" fmla="*/ 41988 h 92406"/>
                    <a:gd name="connsiteX25" fmla="*/ 38033 w 174538"/>
                    <a:gd name="connsiteY25" fmla="*/ 17206 h 92406"/>
                    <a:gd name="connsiteX26" fmla="*/ 52099 w 174538"/>
                    <a:gd name="connsiteY26" fmla="*/ 10320 h 92406"/>
                    <a:gd name="connsiteX27" fmla="*/ 60098 w 174538"/>
                    <a:gd name="connsiteY27" fmla="*/ 3246 h 92406"/>
                    <a:gd name="connsiteX28" fmla="*/ 73824 w 174538"/>
                    <a:gd name="connsiteY28" fmla="*/ 2110 h 92406"/>
                    <a:gd name="connsiteX29" fmla="*/ 77583 w 174538"/>
                    <a:gd name="connsiteY29" fmla="*/ 61 h 92406"/>
                    <a:gd name="connsiteX30" fmla="*/ 82022 w 174538"/>
                    <a:gd name="connsiteY30" fmla="*/ 5706 h 92406"/>
                    <a:gd name="connsiteX31" fmla="*/ 87562 w 174538"/>
                    <a:gd name="connsiteY31" fmla="*/ 4335 h 92406"/>
                    <a:gd name="connsiteX32" fmla="*/ 94424 w 174538"/>
                    <a:gd name="connsiteY32" fmla="*/ 6373 h 92406"/>
                    <a:gd name="connsiteX33" fmla="*/ 90630 w 174538"/>
                    <a:gd name="connsiteY33" fmla="*/ 16199 h 92406"/>
                    <a:gd name="connsiteX34" fmla="*/ 101510 w 174538"/>
                    <a:gd name="connsiteY34" fmla="*/ 15368 h 92406"/>
                    <a:gd name="connsiteX35" fmla="*/ 115938 w 174538"/>
                    <a:gd name="connsiteY35" fmla="*/ 20568 h 92406"/>
                    <a:gd name="connsiteX36" fmla="*/ 133143 w 174538"/>
                    <a:gd name="connsiteY36" fmla="*/ 15122 h 92406"/>
                    <a:gd name="connsiteX37" fmla="*/ 148473 w 174538"/>
                    <a:gd name="connsiteY37" fmla="*/ 22348 h 92406"/>
                    <a:gd name="connsiteX38" fmla="*/ 150991 w 174538"/>
                    <a:gd name="connsiteY38" fmla="*/ 33860 h 92406"/>
                    <a:gd name="connsiteX39" fmla="*/ 150991 w 174538"/>
                    <a:gd name="connsiteY39" fmla="*/ 33860 h 92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74538" h="92406">
                      <a:moveTo>
                        <a:pt x="150991" y="33860"/>
                      </a:moveTo>
                      <a:cubicBezTo>
                        <a:pt x="148379" y="42082"/>
                        <a:pt x="146974" y="47036"/>
                        <a:pt x="155910" y="50725"/>
                      </a:cubicBezTo>
                      <a:cubicBezTo>
                        <a:pt x="159576" y="52236"/>
                        <a:pt x="158346" y="51264"/>
                        <a:pt x="164108" y="51451"/>
                      </a:cubicBezTo>
                      <a:cubicBezTo>
                        <a:pt x="169460" y="51627"/>
                        <a:pt x="168980" y="48839"/>
                        <a:pt x="172271" y="55421"/>
                      </a:cubicBezTo>
                      <a:cubicBezTo>
                        <a:pt x="176241" y="63338"/>
                        <a:pt x="168488" y="63479"/>
                        <a:pt x="169647" y="71185"/>
                      </a:cubicBezTo>
                      <a:cubicBezTo>
                        <a:pt x="170221" y="74921"/>
                        <a:pt x="175890" y="76642"/>
                        <a:pt x="174239" y="81432"/>
                      </a:cubicBezTo>
                      <a:cubicBezTo>
                        <a:pt x="172564" y="86246"/>
                        <a:pt x="167926" y="85051"/>
                        <a:pt x="164565" y="83201"/>
                      </a:cubicBezTo>
                      <a:cubicBezTo>
                        <a:pt x="164471" y="85239"/>
                        <a:pt x="163616" y="85485"/>
                        <a:pt x="163815" y="87593"/>
                      </a:cubicBezTo>
                      <a:cubicBezTo>
                        <a:pt x="161356" y="82159"/>
                        <a:pt x="158416" y="86715"/>
                        <a:pt x="153977" y="87651"/>
                      </a:cubicBezTo>
                      <a:cubicBezTo>
                        <a:pt x="152127" y="88038"/>
                        <a:pt x="149258" y="87757"/>
                        <a:pt x="147536" y="87359"/>
                      </a:cubicBezTo>
                      <a:cubicBezTo>
                        <a:pt x="146201" y="87054"/>
                        <a:pt x="142688" y="83962"/>
                        <a:pt x="142395" y="83974"/>
                      </a:cubicBezTo>
                      <a:cubicBezTo>
                        <a:pt x="137242" y="84138"/>
                        <a:pt x="139081" y="87452"/>
                        <a:pt x="135204" y="88577"/>
                      </a:cubicBezTo>
                      <a:cubicBezTo>
                        <a:pt x="131281" y="89712"/>
                        <a:pt x="126795" y="87288"/>
                        <a:pt x="122403" y="87499"/>
                      </a:cubicBezTo>
                      <a:cubicBezTo>
                        <a:pt x="116196" y="87792"/>
                        <a:pt x="109860" y="90029"/>
                        <a:pt x="103220" y="89619"/>
                      </a:cubicBezTo>
                      <a:cubicBezTo>
                        <a:pt x="95654" y="89138"/>
                        <a:pt x="90115" y="82826"/>
                        <a:pt x="83498" y="82522"/>
                      </a:cubicBezTo>
                      <a:cubicBezTo>
                        <a:pt x="78848" y="82311"/>
                        <a:pt x="76143" y="88237"/>
                        <a:pt x="73437" y="89631"/>
                      </a:cubicBezTo>
                      <a:cubicBezTo>
                        <a:pt x="69116" y="91832"/>
                        <a:pt x="63775" y="91680"/>
                        <a:pt x="59044" y="92301"/>
                      </a:cubicBezTo>
                      <a:cubicBezTo>
                        <a:pt x="55507" y="92769"/>
                        <a:pt x="49675" y="91493"/>
                        <a:pt x="44838" y="92195"/>
                      </a:cubicBezTo>
                      <a:cubicBezTo>
                        <a:pt x="46255" y="87733"/>
                        <a:pt x="36558" y="85836"/>
                        <a:pt x="32904" y="85672"/>
                      </a:cubicBezTo>
                      <a:cubicBezTo>
                        <a:pt x="29191" y="85508"/>
                        <a:pt x="23968" y="88284"/>
                        <a:pt x="19939" y="86902"/>
                      </a:cubicBezTo>
                      <a:cubicBezTo>
                        <a:pt x="15079" y="85251"/>
                        <a:pt x="10019" y="75237"/>
                        <a:pt x="5932" y="79605"/>
                      </a:cubicBezTo>
                      <a:cubicBezTo>
                        <a:pt x="5874" y="76959"/>
                        <a:pt x="5967" y="73761"/>
                        <a:pt x="4843" y="71372"/>
                      </a:cubicBezTo>
                      <a:cubicBezTo>
                        <a:pt x="3402" y="68269"/>
                        <a:pt x="-287" y="70154"/>
                        <a:pt x="18" y="66453"/>
                      </a:cubicBezTo>
                      <a:cubicBezTo>
                        <a:pt x="486" y="60703"/>
                        <a:pt x="11155" y="60117"/>
                        <a:pt x="11928" y="58794"/>
                      </a:cubicBezTo>
                      <a:cubicBezTo>
                        <a:pt x="13357" y="56288"/>
                        <a:pt x="9551" y="39482"/>
                        <a:pt x="20162" y="41988"/>
                      </a:cubicBezTo>
                      <a:cubicBezTo>
                        <a:pt x="25572" y="32853"/>
                        <a:pt x="30995" y="25393"/>
                        <a:pt x="38033" y="17206"/>
                      </a:cubicBezTo>
                      <a:cubicBezTo>
                        <a:pt x="42214" y="12346"/>
                        <a:pt x="46899" y="13143"/>
                        <a:pt x="52099" y="10320"/>
                      </a:cubicBezTo>
                      <a:cubicBezTo>
                        <a:pt x="54968" y="8763"/>
                        <a:pt x="57065" y="4781"/>
                        <a:pt x="60098" y="3246"/>
                      </a:cubicBezTo>
                      <a:cubicBezTo>
                        <a:pt x="64162" y="1173"/>
                        <a:pt x="69455" y="1724"/>
                        <a:pt x="73824" y="2110"/>
                      </a:cubicBezTo>
                      <a:cubicBezTo>
                        <a:pt x="75206" y="2227"/>
                        <a:pt x="76447" y="-431"/>
                        <a:pt x="77583" y="61"/>
                      </a:cubicBezTo>
                      <a:cubicBezTo>
                        <a:pt x="80511" y="1349"/>
                        <a:pt x="78860" y="4418"/>
                        <a:pt x="82022" y="5706"/>
                      </a:cubicBezTo>
                      <a:cubicBezTo>
                        <a:pt x="81589" y="5518"/>
                        <a:pt x="86367" y="4254"/>
                        <a:pt x="87562" y="4335"/>
                      </a:cubicBezTo>
                      <a:cubicBezTo>
                        <a:pt x="88920" y="4441"/>
                        <a:pt x="93534" y="5425"/>
                        <a:pt x="94424" y="6373"/>
                      </a:cubicBezTo>
                      <a:cubicBezTo>
                        <a:pt x="99062" y="11351"/>
                        <a:pt x="91555" y="9734"/>
                        <a:pt x="90630" y="16199"/>
                      </a:cubicBezTo>
                      <a:cubicBezTo>
                        <a:pt x="94542" y="16832"/>
                        <a:pt x="98032" y="15028"/>
                        <a:pt x="101510" y="15368"/>
                      </a:cubicBezTo>
                      <a:cubicBezTo>
                        <a:pt x="106077" y="15813"/>
                        <a:pt x="111734" y="19549"/>
                        <a:pt x="115938" y="20568"/>
                      </a:cubicBezTo>
                      <a:cubicBezTo>
                        <a:pt x="124605" y="22664"/>
                        <a:pt x="125261" y="16539"/>
                        <a:pt x="133143" y="15122"/>
                      </a:cubicBezTo>
                      <a:cubicBezTo>
                        <a:pt x="136586" y="22348"/>
                        <a:pt x="143472" y="18823"/>
                        <a:pt x="148473" y="22348"/>
                      </a:cubicBezTo>
                      <a:cubicBezTo>
                        <a:pt x="154024" y="26283"/>
                        <a:pt x="149316" y="27431"/>
                        <a:pt x="150991" y="33860"/>
                      </a:cubicBezTo>
                      <a:lnTo>
                        <a:pt x="150991" y="33860"/>
                      </a:lnTo>
                      <a:close/>
                    </a:path>
                  </a:pathLst>
                </a:custGeom>
                <a:solidFill>
                  <a:srgbClr val="D6D6D2"/>
                </a:solidFill>
                <a:ln w="8774" cap="rnd">
                  <a:solidFill>
                    <a:srgbClr val="FFFFFF"/>
                  </a:solidFill>
                  <a:prstDash val="solid"/>
                  <a:round/>
                </a:ln>
              </p:spPr>
              <p:txBody>
                <a:bodyPr rtlCol="0" anchor="ctr"/>
                <a:lstStyle/>
                <a:p>
                  <a:endParaRPr lang="en-US"/>
                </a:p>
              </p:txBody>
            </p:sp>
            <p:sp>
              <p:nvSpPr>
                <p:cNvPr id="132" name="Freeform: Shape 131">
                  <a:extLst>
                    <a:ext uri="{FF2B5EF4-FFF2-40B4-BE49-F238E27FC236}">
                      <a16:creationId xmlns:a16="http://schemas.microsoft.com/office/drawing/2014/main" id="{6AEA7FD7-3AAC-42B7-BA68-ED0B1855BF0A}"/>
                    </a:ext>
                  </a:extLst>
                </p:cNvPr>
                <p:cNvSpPr/>
                <p:nvPr/>
              </p:nvSpPr>
              <p:spPr>
                <a:xfrm>
                  <a:off x="3065585" y="5816843"/>
                  <a:ext cx="70702" cy="53020"/>
                </a:xfrm>
                <a:custGeom>
                  <a:avLst/>
                  <a:gdLst>
                    <a:gd name="connsiteX0" fmla="*/ 59249 w 70702"/>
                    <a:gd name="connsiteY0" fmla="*/ 7509 h 53020"/>
                    <a:gd name="connsiteX1" fmla="*/ 66604 w 70702"/>
                    <a:gd name="connsiteY1" fmla="*/ 23870 h 53020"/>
                    <a:gd name="connsiteX2" fmla="*/ 70703 w 70702"/>
                    <a:gd name="connsiteY2" fmla="*/ 38182 h 53020"/>
                    <a:gd name="connsiteX3" fmla="*/ 60385 w 70702"/>
                    <a:gd name="connsiteY3" fmla="*/ 35863 h 53020"/>
                    <a:gd name="connsiteX4" fmla="*/ 53803 w 70702"/>
                    <a:gd name="connsiteY4" fmla="*/ 12124 h 53020"/>
                    <a:gd name="connsiteX5" fmla="*/ 59249 w 70702"/>
                    <a:gd name="connsiteY5" fmla="*/ 7509 h 53020"/>
                    <a:gd name="connsiteX6" fmla="*/ 59249 w 70702"/>
                    <a:gd name="connsiteY6" fmla="*/ 7509 h 53020"/>
                    <a:gd name="connsiteX7" fmla="*/ 49540 w 70702"/>
                    <a:gd name="connsiteY7" fmla="*/ 12194 h 53020"/>
                    <a:gd name="connsiteX8" fmla="*/ 41213 w 70702"/>
                    <a:gd name="connsiteY8" fmla="*/ 15602 h 53020"/>
                    <a:gd name="connsiteX9" fmla="*/ 40522 w 70702"/>
                    <a:gd name="connsiteY9" fmla="*/ 22301 h 53020"/>
                    <a:gd name="connsiteX10" fmla="*/ 40897 w 70702"/>
                    <a:gd name="connsiteY10" fmla="*/ 41168 h 53020"/>
                    <a:gd name="connsiteX11" fmla="*/ 42525 w 70702"/>
                    <a:gd name="connsiteY11" fmla="*/ 40512 h 53020"/>
                    <a:gd name="connsiteX12" fmla="*/ 30111 w 70702"/>
                    <a:gd name="connsiteY12" fmla="*/ 52470 h 53020"/>
                    <a:gd name="connsiteX13" fmla="*/ 24407 w 70702"/>
                    <a:gd name="connsiteY13" fmla="*/ 46649 h 53020"/>
                    <a:gd name="connsiteX14" fmla="*/ 22639 w 70702"/>
                    <a:gd name="connsiteY14" fmla="*/ 42070 h 53020"/>
                    <a:gd name="connsiteX15" fmla="*/ 17731 w 70702"/>
                    <a:gd name="connsiteY15" fmla="*/ 41484 h 53020"/>
                    <a:gd name="connsiteX16" fmla="*/ 15377 w 70702"/>
                    <a:gd name="connsiteY16" fmla="*/ 37268 h 53020"/>
                    <a:gd name="connsiteX17" fmla="*/ 13222 w 70702"/>
                    <a:gd name="connsiteY17" fmla="*/ 30920 h 53020"/>
                    <a:gd name="connsiteX18" fmla="*/ 0 w 70702"/>
                    <a:gd name="connsiteY18" fmla="*/ 23566 h 53020"/>
                    <a:gd name="connsiteX19" fmla="*/ 29572 w 70702"/>
                    <a:gd name="connsiteY19" fmla="*/ 16129 h 53020"/>
                    <a:gd name="connsiteX20" fmla="*/ 57539 w 70702"/>
                    <a:gd name="connsiteY20" fmla="*/ 108 h 53020"/>
                    <a:gd name="connsiteX21" fmla="*/ 49540 w 70702"/>
                    <a:gd name="connsiteY21" fmla="*/ 12194 h 53020"/>
                    <a:gd name="connsiteX22" fmla="*/ 49540 w 70702"/>
                    <a:gd name="connsiteY22" fmla="*/ 12194 h 53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702" h="53020">
                      <a:moveTo>
                        <a:pt x="59249" y="7509"/>
                      </a:moveTo>
                      <a:cubicBezTo>
                        <a:pt x="63301" y="10742"/>
                        <a:pt x="65690" y="18003"/>
                        <a:pt x="66604" y="23870"/>
                      </a:cubicBezTo>
                      <a:cubicBezTo>
                        <a:pt x="66873" y="25592"/>
                        <a:pt x="70421" y="38545"/>
                        <a:pt x="70703" y="38182"/>
                      </a:cubicBezTo>
                      <a:cubicBezTo>
                        <a:pt x="70164" y="38908"/>
                        <a:pt x="61333" y="36519"/>
                        <a:pt x="60385" y="35863"/>
                      </a:cubicBezTo>
                      <a:cubicBezTo>
                        <a:pt x="54810" y="31939"/>
                        <a:pt x="52854" y="19314"/>
                        <a:pt x="53803" y="12124"/>
                      </a:cubicBezTo>
                      <a:cubicBezTo>
                        <a:pt x="56883" y="12709"/>
                        <a:pt x="59190" y="10004"/>
                        <a:pt x="59249" y="7509"/>
                      </a:cubicBezTo>
                      <a:lnTo>
                        <a:pt x="59249" y="7509"/>
                      </a:lnTo>
                      <a:close/>
                      <a:moveTo>
                        <a:pt x="49540" y="12194"/>
                      </a:moveTo>
                      <a:cubicBezTo>
                        <a:pt x="46577" y="12006"/>
                        <a:pt x="43297" y="13166"/>
                        <a:pt x="41213" y="15602"/>
                      </a:cubicBezTo>
                      <a:cubicBezTo>
                        <a:pt x="38121" y="19221"/>
                        <a:pt x="40534" y="17359"/>
                        <a:pt x="40522" y="22301"/>
                      </a:cubicBezTo>
                      <a:cubicBezTo>
                        <a:pt x="40499" y="32455"/>
                        <a:pt x="45792" y="32467"/>
                        <a:pt x="40897" y="41168"/>
                      </a:cubicBezTo>
                      <a:cubicBezTo>
                        <a:pt x="41435" y="40946"/>
                        <a:pt x="41986" y="40735"/>
                        <a:pt x="42525" y="40512"/>
                      </a:cubicBezTo>
                      <a:cubicBezTo>
                        <a:pt x="40557" y="46883"/>
                        <a:pt x="36985" y="55257"/>
                        <a:pt x="30111" y="52470"/>
                      </a:cubicBezTo>
                      <a:cubicBezTo>
                        <a:pt x="28483" y="51802"/>
                        <a:pt x="25660" y="47961"/>
                        <a:pt x="24407" y="46649"/>
                      </a:cubicBezTo>
                      <a:cubicBezTo>
                        <a:pt x="23435" y="45619"/>
                        <a:pt x="23634" y="42702"/>
                        <a:pt x="22639" y="42070"/>
                      </a:cubicBezTo>
                      <a:cubicBezTo>
                        <a:pt x="21385" y="41297"/>
                        <a:pt x="18598" y="42328"/>
                        <a:pt x="17731" y="41484"/>
                      </a:cubicBezTo>
                      <a:cubicBezTo>
                        <a:pt x="14323" y="38182"/>
                        <a:pt x="17193" y="41051"/>
                        <a:pt x="15377" y="37268"/>
                      </a:cubicBezTo>
                      <a:cubicBezTo>
                        <a:pt x="14358" y="35149"/>
                        <a:pt x="14581" y="32947"/>
                        <a:pt x="13222" y="30920"/>
                      </a:cubicBezTo>
                      <a:cubicBezTo>
                        <a:pt x="10564" y="26927"/>
                        <a:pt x="4696" y="25686"/>
                        <a:pt x="0" y="23566"/>
                      </a:cubicBezTo>
                      <a:cubicBezTo>
                        <a:pt x="12028" y="23976"/>
                        <a:pt x="20214" y="23050"/>
                        <a:pt x="29572" y="16129"/>
                      </a:cubicBezTo>
                      <a:cubicBezTo>
                        <a:pt x="36786" y="10800"/>
                        <a:pt x="47760" y="-1263"/>
                        <a:pt x="57539" y="108"/>
                      </a:cubicBezTo>
                      <a:cubicBezTo>
                        <a:pt x="54798" y="2262"/>
                        <a:pt x="50594" y="8341"/>
                        <a:pt x="49540" y="12194"/>
                      </a:cubicBezTo>
                      <a:lnTo>
                        <a:pt x="49540" y="12194"/>
                      </a:lnTo>
                      <a:close/>
                    </a:path>
                  </a:pathLst>
                </a:custGeom>
                <a:solidFill>
                  <a:srgbClr val="D6D6D2"/>
                </a:solidFill>
                <a:ln w="11699"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C681F857-C9D6-40B9-B858-C31E2207846E}"/>
                    </a:ext>
                  </a:extLst>
                </p:cNvPr>
                <p:cNvSpPr/>
                <p:nvPr/>
              </p:nvSpPr>
              <p:spPr>
                <a:xfrm>
                  <a:off x="1710595" y="4658645"/>
                  <a:ext cx="240764" cy="324690"/>
                </a:xfrm>
                <a:custGeom>
                  <a:avLst/>
                  <a:gdLst>
                    <a:gd name="connsiteX0" fmla="*/ 146360 w 240764"/>
                    <a:gd name="connsiteY0" fmla="*/ 247546 h 324690"/>
                    <a:gd name="connsiteX1" fmla="*/ 138736 w 240764"/>
                    <a:gd name="connsiteY1" fmla="*/ 250275 h 324690"/>
                    <a:gd name="connsiteX2" fmla="*/ 135000 w 240764"/>
                    <a:gd name="connsiteY2" fmla="*/ 254573 h 324690"/>
                    <a:gd name="connsiteX3" fmla="*/ 138970 w 240764"/>
                    <a:gd name="connsiteY3" fmla="*/ 234793 h 324690"/>
                    <a:gd name="connsiteX4" fmla="*/ 132506 w 240764"/>
                    <a:gd name="connsiteY4" fmla="*/ 217717 h 324690"/>
                    <a:gd name="connsiteX5" fmla="*/ 141734 w 240764"/>
                    <a:gd name="connsiteY5" fmla="*/ 222507 h 324690"/>
                    <a:gd name="connsiteX6" fmla="*/ 146360 w 240764"/>
                    <a:gd name="connsiteY6" fmla="*/ 247546 h 324690"/>
                    <a:gd name="connsiteX7" fmla="*/ 146360 w 240764"/>
                    <a:gd name="connsiteY7" fmla="*/ 247546 h 324690"/>
                    <a:gd name="connsiteX8" fmla="*/ 25287 w 240764"/>
                    <a:gd name="connsiteY8" fmla="*/ 7671 h 324690"/>
                    <a:gd name="connsiteX9" fmla="*/ 32524 w 240764"/>
                    <a:gd name="connsiteY9" fmla="*/ 19500 h 324690"/>
                    <a:gd name="connsiteX10" fmla="*/ 43088 w 240764"/>
                    <a:gd name="connsiteY10" fmla="*/ 21034 h 324690"/>
                    <a:gd name="connsiteX11" fmla="*/ 53090 w 240764"/>
                    <a:gd name="connsiteY11" fmla="*/ 21104 h 324690"/>
                    <a:gd name="connsiteX12" fmla="*/ 51415 w 240764"/>
                    <a:gd name="connsiteY12" fmla="*/ 18317 h 324690"/>
                    <a:gd name="connsiteX13" fmla="*/ 47913 w 240764"/>
                    <a:gd name="connsiteY13" fmla="*/ 10353 h 324690"/>
                    <a:gd name="connsiteX14" fmla="*/ 56404 w 240764"/>
                    <a:gd name="connsiteY14" fmla="*/ 17392 h 324690"/>
                    <a:gd name="connsiteX15" fmla="*/ 70505 w 240764"/>
                    <a:gd name="connsiteY15" fmla="*/ 34326 h 324690"/>
                    <a:gd name="connsiteX16" fmla="*/ 77391 w 240764"/>
                    <a:gd name="connsiteY16" fmla="*/ 36119 h 324690"/>
                    <a:gd name="connsiteX17" fmla="*/ 80577 w 240764"/>
                    <a:gd name="connsiteY17" fmla="*/ 30040 h 324690"/>
                    <a:gd name="connsiteX18" fmla="*/ 82521 w 240764"/>
                    <a:gd name="connsiteY18" fmla="*/ 28166 h 324690"/>
                    <a:gd name="connsiteX19" fmla="*/ 83048 w 240764"/>
                    <a:gd name="connsiteY19" fmla="*/ 25730 h 324690"/>
                    <a:gd name="connsiteX20" fmla="*/ 92312 w 240764"/>
                    <a:gd name="connsiteY20" fmla="*/ 37735 h 324690"/>
                    <a:gd name="connsiteX21" fmla="*/ 92967 w 240764"/>
                    <a:gd name="connsiteY21" fmla="*/ 66943 h 324690"/>
                    <a:gd name="connsiteX22" fmla="*/ 94537 w 240764"/>
                    <a:gd name="connsiteY22" fmla="*/ 74837 h 324690"/>
                    <a:gd name="connsiteX23" fmla="*/ 101365 w 240764"/>
                    <a:gd name="connsiteY23" fmla="*/ 75317 h 324690"/>
                    <a:gd name="connsiteX24" fmla="*/ 116836 w 240764"/>
                    <a:gd name="connsiteY24" fmla="*/ 80283 h 324690"/>
                    <a:gd name="connsiteX25" fmla="*/ 143140 w 240764"/>
                    <a:gd name="connsiteY25" fmla="*/ 81641 h 324690"/>
                    <a:gd name="connsiteX26" fmla="*/ 158224 w 240764"/>
                    <a:gd name="connsiteY26" fmla="*/ 80599 h 324690"/>
                    <a:gd name="connsiteX27" fmla="*/ 176635 w 240764"/>
                    <a:gd name="connsiteY27" fmla="*/ 82543 h 324690"/>
                    <a:gd name="connsiteX28" fmla="*/ 213561 w 240764"/>
                    <a:gd name="connsiteY28" fmla="*/ 82836 h 324690"/>
                    <a:gd name="connsiteX29" fmla="*/ 232803 w 240764"/>
                    <a:gd name="connsiteY29" fmla="*/ 97522 h 324690"/>
                    <a:gd name="connsiteX30" fmla="*/ 222684 w 240764"/>
                    <a:gd name="connsiteY30" fmla="*/ 96538 h 324690"/>
                    <a:gd name="connsiteX31" fmla="*/ 219815 w 240764"/>
                    <a:gd name="connsiteY31" fmla="*/ 102054 h 324690"/>
                    <a:gd name="connsiteX32" fmla="*/ 213901 w 240764"/>
                    <a:gd name="connsiteY32" fmla="*/ 116881 h 324690"/>
                    <a:gd name="connsiteX33" fmla="*/ 204883 w 240764"/>
                    <a:gd name="connsiteY33" fmla="*/ 125161 h 324690"/>
                    <a:gd name="connsiteX34" fmla="*/ 206031 w 240764"/>
                    <a:gd name="connsiteY34" fmla="*/ 128440 h 324690"/>
                    <a:gd name="connsiteX35" fmla="*/ 202611 w 240764"/>
                    <a:gd name="connsiteY35" fmla="*/ 130958 h 324690"/>
                    <a:gd name="connsiteX36" fmla="*/ 201088 w 240764"/>
                    <a:gd name="connsiteY36" fmla="*/ 137177 h 324690"/>
                    <a:gd name="connsiteX37" fmla="*/ 197786 w 240764"/>
                    <a:gd name="connsiteY37" fmla="*/ 135783 h 324690"/>
                    <a:gd name="connsiteX38" fmla="*/ 196884 w 240764"/>
                    <a:gd name="connsiteY38" fmla="*/ 133652 h 324690"/>
                    <a:gd name="connsiteX39" fmla="*/ 193265 w 240764"/>
                    <a:gd name="connsiteY39" fmla="*/ 135022 h 324690"/>
                    <a:gd name="connsiteX40" fmla="*/ 188135 w 240764"/>
                    <a:gd name="connsiteY40" fmla="*/ 134003 h 324690"/>
                    <a:gd name="connsiteX41" fmla="*/ 181354 w 240764"/>
                    <a:gd name="connsiteY41" fmla="*/ 141124 h 324690"/>
                    <a:gd name="connsiteX42" fmla="*/ 173953 w 240764"/>
                    <a:gd name="connsiteY42" fmla="*/ 141101 h 324690"/>
                    <a:gd name="connsiteX43" fmla="*/ 172700 w 240764"/>
                    <a:gd name="connsiteY43" fmla="*/ 146371 h 324690"/>
                    <a:gd name="connsiteX44" fmla="*/ 166434 w 240764"/>
                    <a:gd name="connsiteY44" fmla="*/ 152484 h 324690"/>
                    <a:gd name="connsiteX45" fmla="*/ 166036 w 240764"/>
                    <a:gd name="connsiteY45" fmla="*/ 158504 h 324690"/>
                    <a:gd name="connsiteX46" fmla="*/ 162229 w 240764"/>
                    <a:gd name="connsiteY46" fmla="*/ 161303 h 324690"/>
                    <a:gd name="connsiteX47" fmla="*/ 164021 w 240764"/>
                    <a:gd name="connsiteY47" fmla="*/ 164969 h 324690"/>
                    <a:gd name="connsiteX48" fmla="*/ 163049 w 240764"/>
                    <a:gd name="connsiteY48" fmla="*/ 167979 h 324690"/>
                    <a:gd name="connsiteX49" fmla="*/ 167570 w 240764"/>
                    <a:gd name="connsiteY49" fmla="*/ 176973 h 324690"/>
                    <a:gd name="connsiteX50" fmla="*/ 174679 w 240764"/>
                    <a:gd name="connsiteY50" fmla="*/ 197538 h 324690"/>
                    <a:gd name="connsiteX51" fmla="*/ 178298 w 240764"/>
                    <a:gd name="connsiteY51" fmla="*/ 188696 h 324690"/>
                    <a:gd name="connsiteX52" fmla="*/ 185910 w 240764"/>
                    <a:gd name="connsiteY52" fmla="*/ 204050 h 324690"/>
                    <a:gd name="connsiteX53" fmla="*/ 196474 w 240764"/>
                    <a:gd name="connsiteY53" fmla="*/ 195020 h 324690"/>
                    <a:gd name="connsiteX54" fmla="*/ 194132 w 240764"/>
                    <a:gd name="connsiteY54" fmla="*/ 186014 h 324690"/>
                    <a:gd name="connsiteX55" fmla="*/ 199542 w 240764"/>
                    <a:gd name="connsiteY55" fmla="*/ 177922 h 324690"/>
                    <a:gd name="connsiteX56" fmla="*/ 204496 w 240764"/>
                    <a:gd name="connsiteY56" fmla="*/ 171574 h 324690"/>
                    <a:gd name="connsiteX57" fmla="*/ 203477 w 240764"/>
                    <a:gd name="connsiteY57" fmla="*/ 161174 h 324690"/>
                    <a:gd name="connsiteX58" fmla="*/ 211043 w 240764"/>
                    <a:gd name="connsiteY58" fmla="*/ 164102 h 324690"/>
                    <a:gd name="connsiteX59" fmla="*/ 217637 w 240764"/>
                    <a:gd name="connsiteY59" fmla="*/ 165308 h 324690"/>
                    <a:gd name="connsiteX60" fmla="*/ 223235 w 240764"/>
                    <a:gd name="connsiteY60" fmla="*/ 177230 h 324690"/>
                    <a:gd name="connsiteX61" fmla="*/ 225343 w 240764"/>
                    <a:gd name="connsiteY61" fmla="*/ 187607 h 324690"/>
                    <a:gd name="connsiteX62" fmla="*/ 229981 w 240764"/>
                    <a:gd name="connsiteY62" fmla="*/ 210210 h 324690"/>
                    <a:gd name="connsiteX63" fmla="*/ 234970 w 240764"/>
                    <a:gd name="connsiteY63" fmla="*/ 230986 h 324690"/>
                    <a:gd name="connsiteX64" fmla="*/ 239479 w 240764"/>
                    <a:gd name="connsiteY64" fmla="*/ 288994 h 324690"/>
                    <a:gd name="connsiteX65" fmla="*/ 238331 w 240764"/>
                    <a:gd name="connsiteY65" fmla="*/ 296899 h 324690"/>
                    <a:gd name="connsiteX66" fmla="*/ 233857 w 240764"/>
                    <a:gd name="connsiteY66" fmla="*/ 290528 h 324690"/>
                    <a:gd name="connsiteX67" fmla="*/ 227217 w 240764"/>
                    <a:gd name="connsiteY67" fmla="*/ 288982 h 324690"/>
                    <a:gd name="connsiteX68" fmla="*/ 221548 w 240764"/>
                    <a:gd name="connsiteY68" fmla="*/ 287600 h 324690"/>
                    <a:gd name="connsiteX69" fmla="*/ 224500 w 240764"/>
                    <a:gd name="connsiteY69" fmla="*/ 324690 h 324690"/>
                    <a:gd name="connsiteX70" fmla="*/ 204895 w 240764"/>
                    <a:gd name="connsiteY70" fmla="*/ 285445 h 324690"/>
                    <a:gd name="connsiteX71" fmla="*/ 208467 w 240764"/>
                    <a:gd name="connsiteY71" fmla="*/ 283548 h 324690"/>
                    <a:gd name="connsiteX72" fmla="*/ 208841 w 240764"/>
                    <a:gd name="connsiteY72" fmla="*/ 271555 h 324690"/>
                    <a:gd name="connsiteX73" fmla="*/ 208467 w 240764"/>
                    <a:gd name="connsiteY73" fmla="*/ 272340 h 324690"/>
                    <a:gd name="connsiteX74" fmla="*/ 206698 w 240764"/>
                    <a:gd name="connsiteY74" fmla="*/ 274987 h 324690"/>
                    <a:gd name="connsiteX75" fmla="*/ 206698 w 240764"/>
                    <a:gd name="connsiteY75" fmla="*/ 271965 h 324690"/>
                    <a:gd name="connsiteX76" fmla="*/ 207014 w 240764"/>
                    <a:gd name="connsiteY76" fmla="*/ 268979 h 324690"/>
                    <a:gd name="connsiteX77" fmla="*/ 205445 w 240764"/>
                    <a:gd name="connsiteY77" fmla="*/ 268768 h 324690"/>
                    <a:gd name="connsiteX78" fmla="*/ 207014 w 240764"/>
                    <a:gd name="connsiteY78" fmla="*/ 267070 h 324690"/>
                    <a:gd name="connsiteX79" fmla="*/ 204895 w 240764"/>
                    <a:gd name="connsiteY79" fmla="*/ 262186 h 324690"/>
                    <a:gd name="connsiteX80" fmla="*/ 203138 w 240764"/>
                    <a:gd name="connsiteY80" fmla="*/ 263381 h 324690"/>
                    <a:gd name="connsiteX81" fmla="*/ 200339 w 240764"/>
                    <a:gd name="connsiteY81" fmla="*/ 247605 h 324690"/>
                    <a:gd name="connsiteX82" fmla="*/ 199496 w 240764"/>
                    <a:gd name="connsiteY82" fmla="*/ 249456 h 324690"/>
                    <a:gd name="connsiteX83" fmla="*/ 202740 w 240764"/>
                    <a:gd name="connsiteY83" fmla="*/ 232579 h 324690"/>
                    <a:gd name="connsiteX84" fmla="*/ 201662 w 240764"/>
                    <a:gd name="connsiteY84" fmla="*/ 232579 h 324690"/>
                    <a:gd name="connsiteX85" fmla="*/ 197341 w 240764"/>
                    <a:gd name="connsiteY85" fmla="*/ 240602 h 324690"/>
                    <a:gd name="connsiteX86" fmla="*/ 196427 w 240764"/>
                    <a:gd name="connsiteY86" fmla="*/ 242815 h 324690"/>
                    <a:gd name="connsiteX87" fmla="*/ 193886 w 240764"/>
                    <a:gd name="connsiteY87" fmla="*/ 232813 h 324690"/>
                    <a:gd name="connsiteX88" fmla="*/ 180956 w 240764"/>
                    <a:gd name="connsiteY88" fmla="*/ 206240 h 324690"/>
                    <a:gd name="connsiteX89" fmla="*/ 176998 w 240764"/>
                    <a:gd name="connsiteY89" fmla="*/ 214532 h 324690"/>
                    <a:gd name="connsiteX90" fmla="*/ 173426 w 240764"/>
                    <a:gd name="connsiteY90" fmla="*/ 213361 h 324690"/>
                    <a:gd name="connsiteX91" fmla="*/ 174667 w 240764"/>
                    <a:gd name="connsiteY91" fmla="*/ 214602 h 324690"/>
                    <a:gd name="connsiteX92" fmla="*/ 170533 w 240764"/>
                    <a:gd name="connsiteY92" fmla="*/ 215352 h 324690"/>
                    <a:gd name="connsiteX93" fmla="*/ 164841 w 240764"/>
                    <a:gd name="connsiteY93" fmla="*/ 216007 h 324690"/>
                    <a:gd name="connsiteX94" fmla="*/ 164174 w 240764"/>
                    <a:gd name="connsiteY94" fmla="*/ 218291 h 324690"/>
                    <a:gd name="connsiteX95" fmla="*/ 164900 w 240764"/>
                    <a:gd name="connsiteY95" fmla="*/ 226349 h 324690"/>
                    <a:gd name="connsiteX96" fmla="*/ 155554 w 240764"/>
                    <a:gd name="connsiteY96" fmla="*/ 218643 h 324690"/>
                    <a:gd name="connsiteX97" fmla="*/ 150401 w 240764"/>
                    <a:gd name="connsiteY97" fmla="*/ 221735 h 324690"/>
                    <a:gd name="connsiteX98" fmla="*/ 143503 w 240764"/>
                    <a:gd name="connsiteY98" fmla="*/ 213009 h 324690"/>
                    <a:gd name="connsiteX99" fmla="*/ 136019 w 240764"/>
                    <a:gd name="connsiteY99" fmla="*/ 197445 h 324690"/>
                    <a:gd name="connsiteX100" fmla="*/ 137682 w 240764"/>
                    <a:gd name="connsiteY100" fmla="*/ 183274 h 324690"/>
                    <a:gd name="connsiteX101" fmla="*/ 137284 w 240764"/>
                    <a:gd name="connsiteY101" fmla="*/ 182852 h 324690"/>
                    <a:gd name="connsiteX102" fmla="*/ 135281 w 240764"/>
                    <a:gd name="connsiteY102" fmla="*/ 174795 h 324690"/>
                    <a:gd name="connsiteX103" fmla="*/ 138584 w 240764"/>
                    <a:gd name="connsiteY103" fmla="*/ 170450 h 324690"/>
                    <a:gd name="connsiteX104" fmla="*/ 139474 w 240764"/>
                    <a:gd name="connsiteY104" fmla="*/ 173038 h 324690"/>
                    <a:gd name="connsiteX105" fmla="*/ 135902 w 240764"/>
                    <a:gd name="connsiteY105" fmla="*/ 167780 h 324690"/>
                    <a:gd name="connsiteX106" fmla="*/ 128032 w 240764"/>
                    <a:gd name="connsiteY106" fmla="*/ 168904 h 324690"/>
                    <a:gd name="connsiteX107" fmla="*/ 131979 w 240764"/>
                    <a:gd name="connsiteY107" fmla="*/ 179819 h 324690"/>
                    <a:gd name="connsiteX108" fmla="*/ 116250 w 240764"/>
                    <a:gd name="connsiteY108" fmla="*/ 175298 h 324690"/>
                    <a:gd name="connsiteX109" fmla="*/ 135246 w 240764"/>
                    <a:gd name="connsiteY109" fmla="*/ 190254 h 324690"/>
                    <a:gd name="connsiteX110" fmla="*/ 134145 w 240764"/>
                    <a:gd name="connsiteY110" fmla="*/ 188907 h 324690"/>
                    <a:gd name="connsiteX111" fmla="*/ 132061 w 240764"/>
                    <a:gd name="connsiteY111" fmla="*/ 196672 h 324690"/>
                    <a:gd name="connsiteX112" fmla="*/ 132693 w 240764"/>
                    <a:gd name="connsiteY112" fmla="*/ 194915 h 324690"/>
                    <a:gd name="connsiteX113" fmla="*/ 131346 w 240764"/>
                    <a:gd name="connsiteY113" fmla="*/ 206685 h 324690"/>
                    <a:gd name="connsiteX114" fmla="*/ 124471 w 240764"/>
                    <a:gd name="connsiteY114" fmla="*/ 212283 h 324690"/>
                    <a:gd name="connsiteX115" fmla="*/ 122621 w 240764"/>
                    <a:gd name="connsiteY115" fmla="*/ 214110 h 324690"/>
                    <a:gd name="connsiteX116" fmla="*/ 129109 w 240764"/>
                    <a:gd name="connsiteY116" fmla="*/ 218654 h 324690"/>
                    <a:gd name="connsiteX117" fmla="*/ 126252 w 240764"/>
                    <a:gd name="connsiteY117" fmla="*/ 228808 h 324690"/>
                    <a:gd name="connsiteX118" fmla="*/ 134836 w 240764"/>
                    <a:gd name="connsiteY118" fmla="*/ 230342 h 324690"/>
                    <a:gd name="connsiteX119" fmla="*/ 133759 w 240764"/>
                    <a:gd name="connsiteY119" fmla="*/ 229921 h 324690"/>
                    <a:gd name="connsiteX120" fmla="*/ 128969 w 240764"/>
                    <a:gd name="connsiteY120" fmla="*/ 247406 h 324690"/>
                    <a:gd name="connsiteX121" fmla="*/ 123757 w 240764"/>
                    <a:gd name="connsiteY121" fmla="*/ 240063 h 324690"/>
                    <a:gd name="connsiteX122" fmla="*/ 120045 w 240764"/>
                    <a:gd name="connsiteY122" fmla="*/ 255218 h 324690"/>
                    <a:gd name="connsiteX123" fmla="*/ 111765 w 240764"/>
                    <a:gd name="connsiteY123" fmla="*/ 266554 h 324690"/>
                    <a:gd name="connsiteX124" fmla="*/ 109785 w 240764"/>
                    <a:gd name="connsiteY124" fmla="*/ 259563 h 324690"/>
                    <a:gd name="connsiteX125" fmla="*/ 104468 w 240764"/>
                    <a:gd name="connsiteY125" fmla="*/ 263369 h 324690"/>
                    <a:gd name="connsiteX126" fmla="*/ 107806 w 240764"/>
                    <a:gd name="connsiteY126" fmla="*/ 255417 h 324690"/>
                    <a:gd name="connsiteX127" fmla="*/ 115512 w 240764"/>
                    <a:gd name="connsiteY127" fmla="*/ 244958 h 324690"/>
                    <a:gd name="connsiteX128" fmla="*/ 105557 w 240764"/>
                    <a:gd name="connsiteY128" fmla="*/ 256518 h 324690"/>
                    <a:gd name="connsiteX129" fmla="*/ 107279 w 240764"/>
                    <a:gd name="connsiteY129" fmla="*/ 246867 h 324690"/>
                    <a:gd name="connsiteX130" fmla="*/ 98695 w 240764"/>
                    <a:gd name="connsiteY130" fmla="*/ 251470 h 324690"/>
                    <a:gd name="connsiteX131" fmla="*/ 103707 w 240764"/>
                    <a:gd name="connsiteY131" fmla="*/ 228996 h 324690"/>
                    <a:gd name="connsiteX132" fmla="*/ 99057 w 240764"/>
                    <a:gd name="connsiteY132" fmla="*/ 234383 h 324690"/>
                    <a:gd name="connsiteX133" fmla="*/ 96563 w 240764"/>
                    <a:gd name="connsiteY133" fmla="*/ 232919 h 324690"/>
                    <a:gd name="connsiteX134" fmla="*/ 95544 w 240764"/>
                    <a:gd name="connsiteY134" fmla="*/ 242839 h 324690"/>
                    <a:gd name="connsiteX135" fmla="*/ 92616 w 240764"/>
                    <a:gd name="connsiteY135" fmla="*/ 251692 h 324690"/>
                    <a:gd name="connsiteX136" fmla="*/ 94420 w 240764"/>
                    <a:gd name="connsiteY136" fmla="*/ 263428 h 324690"/>
                    <a:gd name="connsiteX137" fmla="*/ 84769 w 240764"/>
                    <a:gd name="connsiteY137" fmla="*/ 259949 h 324690"/>
                    <a:gd name="connsiteX138" fmla="*/ 86737 w 240764"/>
                    <a:gd name="connsiteY138" fmla="*/ 268885 h 324690"/>
                    <a:gd name="connsiteX139" fmla="*/ 81642 w 240764"/>
                    <a:gd name="connsiteY139" fmla="*/ 272211 h 324690"/>
                    <a:gd name="connsiteX140" fmla="*/ 83704 w 240764"/>
                    <a:gd name="connsiteY140" fmla="*/ 237451 h 324690"/>
                    <a:gd name="connsiteX141" fmla="*/ 78832 w 240764"/>
                    <a:gd name="connsiteY141" fmla="*/ 256693 h 324690"/>
                    <a:gd name="connsiteX142" fmla="*/ 75845 w 240764"/>
                    <a:gd name="connsiteY142" fmla="*/ 239688 h 324690"/>
                    <a:gd name="connsiteX143" fmla="*/ 75845 w 240764"/>
                    <a:gd name="connsiteY143" fmla="*/ 250240 h 324690"/>
                    <a:gd name="connsiteX144" fmla="*/ 76806 w 240764"/>
                    <a:gd name="connsiteY144" fmla="*/ 248355 h 324690"/>
                    <a:gd name="connsiteX145" fmla="*/ 75400 w 240764"/>
                    <a:gd name="connsiteY145" fmla="*/ 265219 h 324690"/>
                    <a:gd name="connsiteX146" fmla="*/ 69404 w 240764"/>
                    <a:gd name="connsiteY146" fmla="*/ 257361 h 324690"/>
                    <a:gd name="connsiteX147" fmla="*/ 65844 w 240764"/>
                    <a:gd name="connsiteY147" fmla="*/ 265571 h 324690"/>
                    <a:gd name="connsiteX148" fmla="*/ 66546 w 240764"/>
                    <a:gd name="connsiteY148" fmla="*/ 273441 h 324690"/>
                    <a:gd name="connsiteX149" fmla="*/ 60585 w 240764"/>
                    <a:gd name="connsiteY149" fmla="*/ 265922 h 324690"/>
                    <a:gd name="connsiteX150" fmla="*/ 54636 w 240764"/>
                    <a:gd name="connsiteY150" fmla="*/ 248132 h 324690"/>
                    <a:gd name="connsiteX151" fmla="*/ 47269 w 240764"/>
                    <a:gd name="connsiteY151" fmla="*/ 225810 h 324690"/>
                    <a:gd name="connsiteX152" fmla="*/ 47152 w 240764"/>
                    <a:gd name="connsiteY152" fmla="*/ 218525 h 324690"/>
                    <a:gd name="connsiteX153" fmla="*/ 47831 w 240764"/>
                    <a:gd name="connsiteY153" fmla="*/ 209063 h 324690"/>
                    <a:gd name="connsiteX154" fmla="*/ 42889 w 240764"/>
                    <a:gd name="connsiteY154" fmla="*/ 200466 h 324690"/>
                    <a:gd name="connsiteX155" fmla="*/ 48932 w 240764"/>
                    <a:gd name="connsiteY155" fmla="*/ 189844 h 324690"/>
                    <a:gd name="connsiteX156" fmla="*/ 35546 w 240764"/>
                    <a:gd name="connsiteY156" fmla="*/ 187420 h 324690"/>
                    <a:gd name="connsiteX157" fmla="*/ 38333 w 240764"/>
                    <a:gd name="connsiteY157" fmla="*/ 173541 h 324690"/>
                    <a:gd name="connsiteX158" fmla="*/ 36389 w 240764"/>
                    <a:gd name="connsiteY158" fmla="*/ 175228 h 324690"/>
                    <a:gd name="connsiteX159" fmla="*/ 27114 w 240764"/>
                    <a:gd name="connsiteY159" fmla="*/ 165812 h 324690"/>
                    <a:gd name="connsiteX160" fmla="*/ 28706 w 240764"/>
                    <a:gd name="connsiteY160" fmla="*/ 156525 h 324690"/>
                    <a:gd name="connsiteX161" fmla="*/ 34621 w 240764"/>
                    <a:gd name="connsiteY161" fmla="*/ 151618 h 324690"/>
                    <a:gd name="connsiteX162" fmla="*/ 34351 w 240764"/>
                    <a:gd name="connsiteY162" fmla="*/ 139941 h 324690"/>
                    <a:gd name="connsiteX163" fmla="*/ 36120 w 240764"/>
                    <a:gd name="connsiteY163" fmla="*/ 128475 h 324690"/>
                    <a:gd name="connsiteX164" fmla="*/ 30768 w 240764"/>
                    <a:gd name="connsiteY164" fmla="*/ 129705 h 324690"/>
                    <a:gd name="connsiteX165" fmla="*/ 17709 w 240764"/>
                    <a:gd name="connsiteY165" fmla="*/ 124388 h 324690"/>
                    <a:gd name="connsiteX166" fmla="*/ 4054 w 240764"/>
                    <a:gd name="connsiteY166" fmla="*/ 117010 h 324690"/>
                    <a:gd name="connsiteX167" fmla="*/ 1 w 240764"/>
                    <a:gd name="connsiteY167" fmla="*/ 110159 h 324690"/>
                    <a:gd name="connsiteX168" fmla="*/ 5717 w 240764"/>
                    <a:gd name="connsiteY168" fmla="*/ 97112 h 324690"/>
                    <a:gd name="connsiteX169" fmla="*/ 10659 w 240764"/>
                    <a:gd name="connsiteY169" fmla="*/ 94559 h 324690"/>
                    <a:gd name="connsiteX170" fmla="*/ 16608 w 240764"/>
                    <a:gd name="connsiteY170" fmla="*/ 95847 h 324690"/>
                    <a:gd name="connsiteX171" fmla="*/ 21492 w 240764"/>
                    <a:gd name="connsiteY171" fmla="*/ 84030 h 324690"/>
                    <a:gd name="connsiteX172" fmla="*/ 27793 w 240764"/>
                    <a:gd name="connsiteY172" fmla="*/ 81020 h 324690"/>
                    <a:gd name="connsiteX173" fmla="*/ 47070 w 240764"/>
                    <a:gd name="connsiteY173" fmla="*/ 81196 h 324690"/>
                    <a:gd name="connsiteX174" fmla="*/ 50115 w 240764"/>
                    <a:gd name="connsiteY174" fmla="*/ 75247 h 324690"/>
                    <a:gd name="connsiteX175" fmla="*/ 44505 w 240764"/>
                    <a:gd name="connsiteY175" fmla="*/ 72529 h 324690"/>
                    <a:gd name="connsiteX176" fmla="*/ 37560 w 240764"/>
                    <a:gd name="connsiteY176" fmla="*/ 62013 h 324690"/>
                    <a:gd name="connsiteX177" fmla="*/ 21703 w 240764"/>
                    <a:gd name="connsiteY177" fmla="*/ 58312 h 324690"/>
                    <a:gd name="connsiteX178" fmla="*/ 10729 w 240764"/>
                    <a:gd name="connsiteY178" fmla="*/ 45804 h 324690"/>
                    <a:gd name="connsiteX179" fmla="*/ 3480 w 240764"/>
                    <a:gd name="connsiteY179" fmla="*/ 43567 h 324690"/>
                    <a:gd name="connsiteX180" fmla="*/ 9136 w 240764"/>
                    <a:gd name="connsiteY180" fmla="*/ 25953 h 324690"/>
                    <a:gd name="connsiteX181" fmla="*/ 14969 w 240764"/>
                    <a:gd name="connsiteY181" fmla="*/ 23353 h 324690"/>
                    <a:gd name="connsiteX182" fmla="*/ 16807 w 240764"/>
                    <a:gd name="connsiteY182" fmla="*/ 18586 h 324690"/>
                    <a:gd name="connsiteX183" fmla="*/ 24818 w 240764"/>
                    <a:gd name="connsiteY183" fmla="*/ 15167 h 324690"/>
                    <a:gd name="connsiteX184" fmla="*/ 16362 w 240764"/>
                    <a:gd name="connsiteY184" fmla="*/ 9814 h 324690"/>
                    <a:gd name="connsiteX185" fmla="*/ 18951 w 240764"/>
                    <a:gd name="connsiteY185" fmla="*/ 0 h 324690"/>
                    <a:gd name="connsiteX186" fmla="*/ 25287 w 240764"/>
                    <a:gd name="connsiteY186" fmla="*/ 7671 h 324690"/>
                    <a:gd name="connsiteX187" fmla="*/ 25287 w 240764"/>
                    <a:gd name="connsiteY187" fmla="*/ 7671 h 32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240764" h="324690">
                      <a:moveTo>
                        <a:pt x="146360" y="247546"/>
                      </a:moveTo>
                      <a:cubicBezTo>
                        <a:pt x="144205" y="252313"/>
                        <a:pt x="131967" y="260031"/>
                        <a:pt x="138736" y="250275"/>
                      </a:cubicBezTo>
                      <a:cubicBezTo>
                        <a:pt x="137729" y="252032"/>
                        <a:pt x="136054" y="253344"/>
                        <a:pt x="135000" y="254573"/>
                      </a:cubicBezTo>
                      <a:cubicBezTo>
                        <a:pt x="135539" y="247956"/>
                        <a:pt x="139064" y="241808"/>
                        <a:pt x="138970" y="234793"/>
                      </a:cubicBezTo>
                      <a:cubicBezTo>
                        <a:pt x="138877" y="227309"/>
                        <a:pt x="131100" y="223854"/>
                        <a:pt x="132506" y="217717"/>
                      </a:cubicBezTo>
                      <a:cubicBezTo>
                        <a:pt x="134930" y="207118"/>
                        <a:pt x="139345" y="217963"/>
                        <a:pt x="141734" y="222507"/>
                      </a:cubicBezTo>
                      <a:cubicBezTo>
                        <a:pt x="146267" y="231139"/>
                        <a:pt x="148644" y="236795"/>
                        <a:pt x="146360" y="247546"/>
                      </a:cubicBezTo>
                      <a:lnTo>
                        <a:pt x="146360" y="247546"/>
                      </a:lnTo>
                      <a:close/>
                      <a:moveTo>
                        <a:pt x="25287" y="7671"/>
                      </a:moveTo>
                      <a:cubicBezTo>
                        <a:pt x="29842" y="9041"/>
                        <a:pt x="40137" y="16385"/>
                        <a:pt x="32524" y="19500"/>
                      </a:cubicBezTo>
                      <a:cubicBezTo>
                        <a:pt x="36717" y="18282"/>
                        <a:pt x="41027" y="20495"/>
                        <a:pt x="43088" y="21034"/>
                      </a:cubicBezTo>
                      <a:cubicBezTo>
                        <a:pt x="43791" y="21221"/>
                        <a:pt x="50993" y="22533"/>
                        <a:pt x="53090" y="21104"/>
                      </a:cubicBezTo>
                      <a:cubicBezTo>
                        <a:pt x="52047" y="20144"/>
                        <a:pt x="52059" y="19113"/>
                        <a:pt x="51415" y="18317"/>
                      </a:cubicBezTo>
                      <a:cubicBezTo>
                        <a:pt x="50619" y="17989"/>
                        <a:pt x="40711" y="11348"/>
                        <a:pt x="47913" y="10353"/>
                      </a:cubicBezTo>
                      <a:cubicBezTo>
                        <a:pt x="50267" y="10037"/>
                        <a:pt x="55701" y="16373"/>
                        <a:pt x="56404" y="17392"/>
                      </a:cubicBezTo>
                      <a:cubicBezTo>
                        <a:pt x="48112" y="20367"/>
                        <a:pt x="66804" y="33167"/>
                        <a:pt x="70505" y="34326"/>
                      </a:cubicBezTo>
                      <a:cubicBezTo>
                        <a:pt x="71477" y="34631"/>
                        <a:pt x="76560" y="36247"/>
                        <a:pt x="77391" y="36119"/>
                      </a:cubicBezTo>
                      <a:cubicBezTo>
                        <a:pt x="78141" y="36001"/>
                        <a:pt x="85824" y="31188"/>
                        <a:pt x="80577" y="30040"/>
                      </a:cubicBezTo>
                      <a:cubicBezTo>
                        <a:pt x="80717" y="28588"/>
                        <a:pt x="81795" y="29150"/>
                        <a:pt x="82521" y="28166"/>
                      </a:cubicBezTo>
                      <a:cubicBezTo>
                        <a:pt x="79769" y="26152"/>
                        <a:pt x="80413" y="26410"/>
                        <a:pt x="83048" y="25730"/>
                      </a:cubicBezTo>
                      <a:cubicBezTo>
                        <a:pt x="83387" y="18294"/>
                        <a:pt x="94994" y="35545"/>
                        <a:pt x="92312" y="37735"/>
                      </a:cubicBezTo>
                      <a:cubicBezTo>
                        <a:pt x="95064" y="38859"/>
                        <a:pt x="93073" y="61731"/>
                        <a:pt x="92967" y="66943"/>
                      </a:cubicBezTo>
                      <a:cubicBezTo>
                        <a:pt x="92897" y="70305"/>
                        <a:pt x="92171" y="72483"/>
                        <a:pt x="94537" y="74837"/>
                      </a:cubicBezTo>
                      <a:cubicBezTo>
                        <a:pt x="93635" y="73935"/>
                        <a:pt x="101728" y="75399"/>
                        <a:pt x="101365" y="75317"/>
                      </a:cubicBezTo>
                      <a:cubicBezTo>
                        <a:pt x="106635" y="76570"/>
                        <a:pt x="111448" y="79076"/>
                        <a:pt x="116836" y="80283"/>
                      </a:cubicBezTo>
                      <a:cubicBezTo>
                        <a:pt x="125526" y="82238"/>
                        <a:pt x="135024" y="81149"/>
                        <a:pt x="143140" y="81641"/>
                      </a:cubicBezTo>
                      <a:cubicBezTo>
                        <a:pt x="148234" y="81957"/>
                        <a:pt x="152849" y="81407"/>
                        <a:pt x="158224" y="80599"/>
                      </a:cubicBezTo>
                      <a:cubicBezTo>
                        <a:pt x="166387" y="79369"/>
                        <a:pt x="168729" y="81594"/>
                        <a:pt x="176635" y="82543"/>
                      </a:cubicBezTo>
                      <a:cubicBezTo>
                        <a:pt x="189166" y="84030"/>
                        <a:pt x="200444" y="78034"/>
                        <a:pt x="213561" y="82836"/>
                      </a:cubicBezTo>
                      <a:cubicBezTo>
                        <a:pt x="217602" y="84311"/>
                        <a:pt x="235883" y="92053"/>
                        <a:pt x="232803" y="97522"/>
                      </a:cubicBezTo>
                      <a:cubicBezTo>
                        <a:pt x="229126" y="104045"/>
                        <a:pt x="225284" y="95812"/>
                        <a:pt x="222684" y="96538"/>
                      </a:cubicBezTo>
                      <a:cubicBezTo>
                        <a:pt x="216641" y="98236"/>
                        <a:pt x="221548" y="96890"/>
                        <a:pt x="219815" y="102054"/>
                      </a:cubicBezTo>
                      <a:cubicBezTo>
                        <a:pt x="218164" y="106950"/>
                        <a:pt x="215353" y="112642"/>
                        <a:pt x="213901" y="116881"/>
                      </a:cubicBezTo>
                      <a:cubicBezTo>
                        <a:pt x="212144" y="122034"/>
                        <a:pt x="213585" y="127949"/>
                        <a:pt x="204883" y="125161"/>
                      </a:cubicBezTo>
                      <a:cubicBezTo>
                        <a:pt x="205305" y="125923"/>
                        <a:pt x="205539" y="127644"/>
                        <a:pt x="206031" y="128440"/>
                      </a:cubicBezTo>
                      <a:cubicBezTo>
                        <a:pt x="201182" y="125091"/>
                        <a:pt x="204086" y="128897"/>
                        <a:pt x="202611" y="130958"/>
                      </a:cubicBezTo>
                      <a:cubicBezTo>
                        <a:pt x="201768" y="132141"/>
                        <a:pt x="202470" y="136311"/>
                        <a:pt x="201088" y="137177"/>
                      </a:cubicBezTo>
                      <a:cubicBezTo>
                        <a:pt x="199132" y="138419"/>
                        <a:pt x="199109" y="135537"/>
                        <a:pt x="197786" y="135783"/>
                      </a:cubicBezTo>
                      <a:cubicBezTo>
                        <a:pt x="197458" y="135842"/>
                        <a:pt x="198114" y="133359"/>
                        <a:pt x="196884" y="133652"/>
                      </a:cubicBezTo>
                      <a:cubicBezTo>
                        <a:pt x="196732" y="133687"/>
                        <a:pt x="191110" y="134964"/>
                        <a:pt x="193265" y="135022"/>
                      </a:cubicBezTo>
                      <a:cubicBezTo>
                        <a:pt x="192902" y="135022"/>
                        <a:pt x="190489" y="140691"/>
                        <a:pt x="188135" y="134003"/>
                      </a:cubicBezTo>
                      <a:cubicBezTo>
                        <a:pt x="188393" y="140058"/>
                        <a:pt x="185711" y="139976"/>
                        <a:pt x="181354" y="141124"/>
                      </a:cubicBezTo>
                      <a:cubicBezTo>
                        <a:pt x="178719" y="141827"/>
                        <a:pt x="176342" y="140082"/>
                        <a:pt x="173953" y="141101"/>
                      </a:cubicBezTo>
                      <a:cubicBezTo>
                        <a:pt x="173273" y="141393"/>
                        <a:pt x="173309" y="145668"/>
                        <a:pt x="172700" y="146371"/>
                      </a:cubicBezTo>
                      <a:cubicBezTo>
                        <a:pt x="170861" y="148526"/>
                        <a:pt x="168401" y="147694"/>
                        <a:pt x="166434" y="152484"/>
                      </a:cubicBezTo>
                      <a:cubicBezTo>
                        <a:pt x="166211" y="153023"/>
                        <a:pt x="166258" y="157380"/>
                        <a:pt x="166036" y="158504"/>
                      </a:cubicBezTo>
                      <a:cubicBezTo>
                        <a:pt x="165626" y="160542"/>
                        <a:pt x="162956" y="159394"/>
                        <a:pt x="162229" y="161303"/>
                      </a:cubicBezTo>
                      <a:cubicBezTo>
                        <a:pt x="161937" y="162087"/>
                        <a:pt x="164010" y="163809"/>
                        <a:pt x="164021" y="164969"/>
                      </a:cubicBezTo>
                      <a:cubicBezTo>
                        <a:pt x="164021" y="165320"/>
                        <a:pt x="162066" y="165261"/>
                        <a:pt x="163049" y="167979"/>
                      </a:cubicBezTo>
                      <a:cubicBezTo>
                        <a:pt x="164291" y="171410"/>
                        <a:pt x="166364" y="173834"/>
                        <a:pt x="167570" y="176973"/>
                      </a:cubicBezTo>
                      <a:cubicBezTo>
                        <a:pt x="169491" y="181974"/>
                        <a:pt x="168870" y="195079"/>
                        <a:pt x="174679" y="197538"/>
                      </a:cubicBezTo>
                      <a:cubicBezTo>
                        <a:pt x="174433" y="193346"/>
                        <a:pt x="173285" y="182407"/>
                        <a:pt x="178298" y="188696"/>
                      </a:cubicBezTo>
                      <a:cubicBezTo>
                        <a:pt x="181015" y="194189"/>
                        <a:pt x="181425" y="200302"/>
                        <a:pt x="185910" y="204050"/>
                      </a:cubicBezTo>
                      <a:cubicBezTo>
                        <a:pt x="189494" y="201099"/>
                        <a:pt x="195771" y="200244"/>
                        <a:pt x="196474" y="195020"/>
                      </a:cubicBezTo>
                      <a:cubicBezTo>
                        <a:pt x="196860" y="192210"/>
                        <a:pt x="193745" y="188942"/>
                        <a:pt x="194132" y="186014"/>
                      </a:cubicBezTo>
                      <a:cubicBezTo>
                        <a:pt x="194624" y="182278"/>
                        <a:pt x="197622" y="180451"/>
                        <a:pt x="199542" y="177922"/>
                      </a:cubicBezTo>
                      <a:cubicBezTo>
                        <a:pt x="201803" y="174923"/>
                        <a:pt x="203524" y="175966"/>
                        <a:pt x="204496" y="171574"/>
                      </a:cubicBezTo>
                      <a:cubicBezTo>
                        <a:pt x="205199" y="168400"/>
                        <a:pt x="202634" y="164688"/>
                        <a:pt x="203477" y="161174"/>
                      </a:cubicBezTo>
                      <a:cubicBezTo>
                        <a:pt x="206815" y="164828"/>
                        <a:pt x="207916" y="163821"/>
                        <a:pt x="211043" y="164102"/>
                      </a:cubicBezTo>
                      <a:cubicBezTo>
                        <a:pt x="213538" y="164325"/>
                        <a:pt x="216091" y="157098"/>
                        <a:pt x="217637" y="165308"/>
                      </a:cubicBezTo>
                      <a:cubicBezTo>
                        <a:pt x="221958" y="156244"/>
                        <a:pt x="221806" y="172546"/>
                        <a:pt x="223235" y="177230"/>
                      </a:cubicBezTo>
                      <a:cubicBezTo>
                        <a:pt x="224523" y="181505"/>
                        <a:pt x="225109" y="182981"/>
                        <a:pt x="225343" y="187607"/>
                      </a:cubicBezTo>
                      <a:cubicBezTo>
                        <a:pt x="225764" y="196648"/>
                        <a:pt x="226069" y="202949"/>
                        <a:pt x="229981" y="210210"/>
                      </a:cubicBezTo>
                      <a:cubicBezTo>
                        <a:pt x="233342" y="216441"/>
                        <a:pt x="233845" y="223725"/>
                        <a:pt x="234970" y="230986"/>
                      </a:cubicBezTo>
                      <a:cubicBezTo>
                        <a:pt x="237980" y="250463"/>
                        <a:pt x="237523" y="267901"/>
                        <a:pt x="239479" y="288994"/>
                      </a:cubicBezTo>
                      <a:cubicBezTo>
                        <a:pt x="239654" y="290774"/>
                        <a:pt x="242910" y="296524"/>
                        <a:pt x="238331" y="296899"/>
                      </a:cubicBezTo>
                      <a:cubicBezTo>
                        <a:pt x="235942" y="297098"/>
                        <a:pt x="235485" y="291840"/>
                        <a:pt x="233857" y="290528"/>
                      </a:cubicBezTo>
                      <a:cubicBezTo>
                        <a:pt x="234127" y="290751"/>
                        <a:pt x="227381" y="289029"/>
                        <a:pt x="227217" y="288982"/>
                      </a:cubicBezTo>
                      <a:cubicBezTo>
                        <a:pt x="223598" y="288080"/>
                        <a:pt x="227849" y="284192"/>
                        <a:pt x="221548" y="287600"/>
                      </a:cubicBezTo>
                      <a:cubicBezTo>
                        <a:pt x="208303" y="294756"/>
                        <a:pt x="225893" y="314560"/>
                        <a:pt x="224500" y="324690"/>
                      </a:cubicBezTo>
                      <a:cubicBezTo>
                        <a:pt x="214943" y="312604"/>
                        <a:pt x="211031" y="298621"/>
                        <a:pt x="204895" y="285445"/>
                      </a:cubicBezTo>
                      <a:cubicBezTo>
                        <a:pt x="206077" y="285129"/>
                        <a:pt x="206651" y="283888"/>
                        <a:pt x="208467" y="283548"/>
                      </a:cubicBezTo>
                      <a:cubicBezTo>
                        <a:pt x="205515" y="279531"/>
                        <a:pt x="210083" y="275865"/>
                        <a:pt x="208841" y="271555"/>
                      </a:cubicBezTo>
                      <a:cubicBezTo>
                        <a:pt x="208865" y="271450"/>
                        <a:pt x="208713" y="272492"/>
                        <a:pt x="208467" y="272340"/>
                      </a:cubicBezTo>
                      <a:cubicBezTo>
                        <a:pt x="208314" y="272715"/>
                        <a:pt x="206909" y="274577"/>
                        <a:pt x="206698" y="274987"/>
                      </a:cubicBezTo>
                      <a:cubicBezTo>
                        <a:pt x="206452" y="273851"/>
                        <a:pt x="206803" y="273148"/>
                        <a:pt x="206698" y="271965"/>
                      </a:cubicBezTo>
                      <a:cubicBezTo>
                        <a:pt x="204531" y="271754"/>
                        <a:pt x="204613" y="271415"/>
                        <a:pt x="207014" y="268979"/>
                      </a:cubicBezTo>
                      <a:cubicBezTo>
                        <a:pt x="207003" y="267808"/>
                        <a:pt x="205199" y="270080"/>
                        <a:pt x="205445" y="268768"/>
                      </a:cubicBezTo>
                      <a:cubicBezTo>
                        <a:pt x="205843" y="268358"/>
                        <a:pt x="206839" y="267491"/>
                        <a:pt x="207014" y="267070"/>
                      </a:cubicBezTo>
                      <a:cubicBezTo>
                        <a:pt x="200995" y="268498"/>
                        <a:pt x="201803" y="264950"/>
                        <a:pt x="204895" y="262186"/>
                      </a:cubicBezTo>
                      <a:cubicBezTo>
                        <a:pt x="204040" y="262584"/>
                        <a:pt x="203864" y="262748"/>
                        <a:pt x="203138" y="263381"/>
                      </a:cubicBezTo>
                      <a:cubicBezTo>
                        <a:pt x="201779" y="258860"/>
                        <a:pt x="199238" y="250346"/>
                        <a:pt x="200339" y="247605"/>
                      </a:cubicBezTo>
                      <a:cubicBezTo>
                        <a:pt x="199472" y="248484"/>
                        <a:pt x="199824" y="247910"/>
                        <a:pt x="199496" y="249456"/>
                      </a:cubicBezTo>
                      <a:cubicBezTo>
                        <a:pt x="193007" y="242757"/>
                        <a:pt x="202576" y="238564"/>
                        <a:pt x="202740" y="232579"/>
                      </a:cubicBezTo>
                      <a:cubicBezTo>
                        <a:pt x="202388" y="232638"/>
                        <a:pt x="202025" y="232638"/>
                        <a:pt x="201662" y="232579"/>
                      </a:cubicBezTo>
                      <a:cubicBezTo>
                        <a:pt x="201604" y="234863"/>
                        <a:pt x="197715" y="240344"/>
                        <a:pt x="197341" y="240602"/>
                      </a:cubicBezTo>
                      <a:cubicBezTo>
                        <a:pt x="198828" y="239571"/>
                        <a:pt x="198559" y="244502"/>
                        <a:pt x="196427" y="242815"/>
                      </a:cubicBezTo>
                      <a:cubicBezTo>
                        <a:pt x="194179" y="241058"/>
                        <a:pt x="194905" y="235542"/>
                        <a:pt x="193886" y="232813"/>
                      </a:cubicBezTo>
                      <a:cubicBezTo>
                        <a:pt x="189541" y="221102"/>
                        <a:pt x="177021" y="217975"/>
                        <a:pt x="180956" y="206240"/>
                      </a:cubicBezTo>
                      <a:cubicBezTo>
                        <a:pt x="179972" y="209496"/>
                        <a:pt x="177408" y="210995"/>
                        <a:pt x="176998" y="214532"/>
                      </a:cubicBezTo>
                      <a:cubicBezTo>
                        <a:pt x="175780" y="213829"/>
                        <a:pt x="174527" y="213899"/>
                        <a:pt x="173426" y="213361"/>
                      </a:cubicBezTo>
                      <a:cubicBezTo>
                        <a:pt x="173297" y="213911"/>
                        <a:pt x="174386" y="214075"/>
                        <a:pt x="174667" y="214602"/>
                      </a:cubicBezTo>
                      <a:cubicBezTo>
                        <a:pt x="173953" y="214602"/>
                        <a:pt x="171435" y="215176"/>
                        <a:pt x="170533" y="215352"/>
                      </a:cubicBezTo>
                      <a:cubicBezTo>
                        <a:pt x="175791" y="219111"/>
                        <a:pt x="166621" y="216769"/>
                        <a:pt x="164841" y="216007"/>
                      </a:cubicBezTo>
                      <a:cubicBezTo>
                        <a:pt x="164361" y="217776"/>
                        <a:pt x="164783" y="216851"/>
                        <a:pt x="164174" y="218291"/>
                      </a:cubicBezTo>
                      <a:cubicBezTo>
                        <a:pt x="170498" y="218467"/>
                        <a:pt x="169912" y="224779"/>
                        <a:pt x="164900" y="226349"/>
                      </a:cubicBezTo>
                      <a:cubicBezTo>
                        <a:pt x="158505" y="228340"/>
                        <a:pt x="158821" y="220961"/>
                        <a:pt x="155554" y="218643"/>
                      </a:cubicBezTo>
                      <a:cubicBezTo>
                        <a:pt x="160930" y="224498"/>
                        <a:pt x="154137" y="224194"/>
                        <a:pt x="150401" y="221735"/>
                      </a:cubicBezTo>
                      <a:cubicBezTo>
                        <a:pt x="147836" y="220036"/>
                        <a:pt x="145271" y="216054"/>
                        <a:pt x="143503" y="213009"/>
                      </a:cubicBezTo>
                      <a:cubicBezTo>
                        <a:pt x="141465" y="209508"/>
                        <a:pt x="136897" y="200947"/>
                        <a:pt x="136019" y="197445"/>
                      </a:cubicBezTo>
                      <a:cubicBezTo>
                        <a:pt x="134848" y="192667"/>
                        <a:pt x="138279" y="187068"/>
                        <a:pt x="137682" y="183274"/>
                      </a:cubicBezTo>
                      <a:cubicBezTo>
                        <a:pt x="137237" y="183250"/>
                        <a:pt x="137413" y="183168"/>
                        <a:pt x="137284" y="182852"/>
                      </a:cubicBezTo>
                      <a:cubicBezTo>
                        <a:pt x="133677" y="182548"/>
                        <a:pt x="134016" y="177945"/>
                        <a:pt x="135281" y="174795"/>
                      </a:cubicBezTo>
                      <a:cubicBezTo>
                        <a:pt x="136066" y="172815"/>
                        <a:pt x="144604" y="174244"/>
                        <a:pt x="138584" y="170450"/>
                      </a:cubicBezTo>
                      <a:cubicBezTo>
                        <a:pt x="139345" y="171398"/>
                        <a:pt x="139345" y="171820"/>
                        <a:pt x="139474" y="173038"/>
                      </a:cubicBezTo>
                      <a:cubicBezTo>
                        <a:pt x="134813" y="174396"/>
                        <a:pt x="132049" y="171106"/>
                        <a:pt x="135902" y="167780"/>
                      </a:cubicBezTo>
                      <a:cubicBezTo>
                        <a:pt x="133431" y="168540"/>
                        <a:pt x="131522" y="170930"/>
                        <a:pt x="128032" y="168904"/>
                      </a:cubicBezTo>
                      <a:cubicBezTo>
                        <a:pt x="133688" y="170204"/>
                        <a:pt x="134555" y="174502"/>
                        <a:pt x="131979" y="179819"/>
                      </a:cubicBezTo>
                      <a:cubicBezTo>
                        <a:pt x="126849" y="177910"/>
                        <a:pt x="120888" y="178425"/>
                        <a:pt x="116250" y="175298"/>
                      </a:cubicBezTo>
                      <a:cubicBezTo>
                        <a:pt x="119693" y="181119"/>
                        <a:pt x="135527" y="183368"/>
                        <a:pt x="135246" y="190254"/>
                      </a:cubicBezTo>
                      <a:cubicBezTo>
                        <a:pt x="134918" y="189879"/>
                        <a:pt x="134625" y="189118"/>
                        <a:pt x="134145" y="188907"/>
                      </a:cubicBezTo>
                      <a:cubicBezTo>
                        <a:pt x="135293" y="192081"/>
                        <a:pt x="134742" y="195337"/>
                        <a:pt x="132061" y="196672"/>
                      </a:cubicBezTo>
                      <a:cubicBezTo>
                        <a:pt x="132119" y="196566"/>
                        <a:pt x="132705" y="194985"/>
                        <a:pt x="132693" y="194915"/>
                      </a:cubicBezTo>
                      <a:cubicBezTo>
                        <a:pt x="125947" y="198042"/>
                        <a:pt x="125795" y="201017"/>
                        <a:pt x="131346" y="206685"/>
                      </a:cubicBezTo>
                      <a:cubicBezTo>
                        <a:pt x="128313" y="206896"/>
                        <a:pt x="126041" y="210035"/>
                        <a:pt x="124471" y="212283"/>
                      </a:cubicBezTo>
                      <a:cubicBezTo>
                        <a:pt x="123909" y="212904"/>
                        <a:pt x="125502" y="213759"/>
                        <a:pt x="122621" y="214110"/>
                      </a:cubicBezTo>
                      <a:cubicBezTo>
                        <a:pt x="126275" y="214649"/>
                        <a:pt x="128149" y="214778"/>
                        <a:pt x="129109" y="218654"/>
                      </a:cubicBezTo>
                      <a:cubicBezTo>
                        <a:pt x="130550" y="224440"/>
                        <a:pt x="125877" y="222988"/>
                        <a:pt x="126252" y="228808"/>
                      </a:cubicBezTo>
                      <a:cubicBezTo>
                        <a:pt x="127282" y="221652"/>
                        <a:pt x="133396" y="223796"/>
                        <a:pt x="134836" y="230342"/>
                      </a:cubicBezTo>
                      <a:cubicBezTo>
                        <a:pt x="134450" y="230272"/>
                        <a:pt x="134098" y="230131"/>
                        <a:pt x="133759" y="229921"/>
                      </a:cubicBezTo>
                      <a:cubicBezTo>
                        <a:pt x="136769" y="237077"/>
                        <a:pt x="134309" y="242780"/>
                        <a:pt x="128969" y="247406"/>
                      </a:cubicBezTo>
                      <a:cubicBezTo>
                        <a:pt x="119846" y="255300"/>
                        <a:pt x="127540" y="245649"/>
                        <a:pt x="123757" y="240063"/>
                      </a:cubicBezTo>
                      <a:cubicBezTo>
                        <a:pt x="125198" y="247207"/>
                        <a:pt x="122446" y="248144"/>
                        <a:pt x="120045" y="255218"/>
                      </a:cubicBezTo>
                      <a:cubicBezTo>
                        <a:pt x="118463" y="259879"/>
                        <a:pt x="118393" y="266590"/>
                        <a:pt x="111765" y="266554"/>
                      </a:cubicBezTo>
                      <a:cubicBezTo>
                        <a:pt x="106330" y="266531"/>
                        <a:pt x="108556" y="262327"/>
                        <a:pt x="109785" y="259563"/>
                      </a:cubicBezTo>
                      <a:cubicBezTo>
                        <a:pt x="109317" y="261191"/>
                        <a:pt x="106471" y="265828"/>
                        <a:pt x="104468" y="263369"/>
                      </a:cubicBezTo>
                      <a:cubicBezTo>
                        <a:pt x="102536" y="260980"/>
                        <a:pt x="106857" y="256963"/>
                        <a:pt x="107806" y="255417"/>
                      </a:cubicBezTo>
                      <a:cubicBezTo>
                        <a:pt x="110102" y="251611"/>
                        <a:pt x="115782" y="249245"/>
                        <a:pt x="115512" y="244958"/>
                      </a:cubicBezTo>
                      <a:cubicBezTo>
                        <a:pt x="114892" y="247066"/>
                        <a:pt x="107338" y="256236"/>
                        <a:pt x="105557" y="256518"/>
                      </a:cubicBezTo>
                      <a:cubicBezTo>
                        <a:pt x="101048" y="257244"/>
                        <a:pt x="105979" y="248577"/>
                        <a:pt x="107279" y="246867"/>
                      </a:cubicBezTo>
                      <a:cubicBezTo>
                        <a:pt x="101927" y="251376"/>
                        <a:pt x="102477" y="261741"/>
                        <a:pt x="98695" y="251470"/>
                      </a:cubicBezTo>
                      <a:cubicBezTo>
                        <a:pt x="95216" y="242007"/>
                        <a:pt x="98788" y="237065"/>
                        <a:pt x="103707" y="228996"/>
                      </a:cubicBezTo>
                      <a:cubicBezTo>
                        <a:pt x="101622" y="230787"/>
                        <a:pt x="100358" y="231982"/>
                        <a:pt x="99057" y="234383"/>
                      </a:cubicBezTo>
                      <a:cubicBezTo>
                        <a:pt x="98448" y="233938"/>
                        <a:pt x="97266" y="233352"/>
                        <a:pt x="96563" y="232919"/>
                      </a:cubicBezTo>
                      <a:cubicBezTo>
                        <a:pt x="97781" y="236573"/>
                        <a:pt x="95626" y="239653"/>
                        <a:pt x="95544" y="242839"/>
                      </a:cubicBezTo>
                      <a:cubicBezTo>
                        <a:pt x="95450" y="246914"/>
                        <a:pt x="99163" y="252465"/>
                        <a:pt x="92616" y="251692"/>
                      </a:cubicBezTo>
                      <a:cubicBezTo>
                        <a:pt x="97020" y="254374"/>
                        <a:pt x="96949" y="260839"/>
                        <a:pt x="94420" y="263428"/>
                      </a:cubicBezTo>
                      <a:cubicBezTo>
                        <a:pt x="91176" y="266742"/>
                        <a:pt x="84383" y="265512"/>
                        <a:pt x="84769" y="259949"/>
                      </a:cubicBezTo>
                      <a:cubicBezTo>
                        <a:pt x="81596" y="264493"/>
                        <a:pt x="87147" y="265606"/>
                        <a:pt x="86737" y="268885"/>
                      </a:cubicBezTo>
                      <a:cubicBezTo>
                        <a:pt x="86620" y="269834"/>
                        <a:pt x="81701" y="267901"/>
                        <a:pt x="81642" y="272211"/>
                      </a:cubicBezTo>
                      <a:cubicBezTo>
                        <a:pt x="75178" y="267421"/>
                        <a:pt x="82287" y="244256"/>
                        <a:pt x="83704" y="237451"/>
                      </a:cubicBezTo>
                      <a:cubicBezTo>
                        <a:pt x="79218" y="244267"/>
                        <a:pt x="83060" y="249690"/>
                        <a:pt x="78832" y="256693"/>
                      </a:cubicBezTo>
                      <a:cubicBezTo>
                        <a:pt x="79171" y="251353"/>
                        <a:pt x="77508" y="244361"/>
                        <a:pt x="75845" y="239688"/>
                      </a:cubicBezTo>
                      <a:cubicBezTo>
                        <a:pt x="75330" y="243190"/>
                        <a:pt x="75412" y="246727"/>
                        <a:pt x="75845" y="250240"/>
                      </a:cubicBezTo>
                      <a:cubicBezTo>
                        <a:pt x="76103" y="249913"/>
                        <a:pt x="76489" y="249057"/>
                        <a:pt x="76806" y="248355"/>
                      </a:cubicBezTo>
                      <a:cubicBezTo>
                        <a:pt x="78867" y="253098"/>
                        <a:pt x="77672" y="260687"/>
                        <a:pt x="75400" y="265219"/>
                      </a:cubicBezTo>
                      <a:cubicBezTo>
                        <a:pt x="68608" y="278781"/>
                        <a:pt x="73175" y="261729"/>
                        <a:pt x="69404" y="257361"/>
                      </a:cubicBezTo>
                      <a:cubicBezTo>
                        <a:pt x="70224" y="260863"/>
                        <a:pt x="68162" y="265243"/>
                        <a:pt x="65844" y="265571"/>
                      </a:cubicBezTo>
                      <a:cubicBezTo>
                        <a:pt x="66089" y="268604"/>
                        <a:pt x="65937" y="271555"/>
                        <a:pt x="66546" y="273441"/>
                      </a:cubicBezTo>
                      <a:cubicBezTo>
                        <a:pt x="60468" y="278418"/>
                        <a:pt x="62763" y="269845"/>
                        <a:pt x="60585" y="265922"/>
                      </a:cubicBezTo>
                      <a:cubicBezTo>
                        <a:pt x="53793" y="271251"/>
                        <a:pt x="55479" y="251247"/>
                        <a:pt x="54636" y="248132"/>
                      </a:cubicBezTo>
                      <a:cubicBezTo>
                        <a:pt x="53488" y="243858"/>
                        <a:pt x="51930" y="228094"/>
                        <a:pt x="47269" y="225810"/>
                      </a:cubicBezTo>
                      <a:cubicBezTo>
                        <a:pt x="49881" y="222706"/>
                        <a:pt x="46941" y="221945"/>
                        <a:pt x="47152" y="218525"/>
                      </a:cubicBezTo>
                      <a:cubicBezTo>
                        <a:pt x="47304" y="216043"/>
                        <a:pt x="48499" y="211381"/>
                        <a:pt x="47831" y="209063"/>
                      </a:cubicBezTo>
                      <a:cubicBezTo>
                        <a:pt x="47047" y="206310"/>
                        <a:pt x="42772" y="204577"/>
                        <a:pt x="42889" y="200466"/>
                      </a:cubicBezTo>
                      <a:cubicBezTo>
                        <a:pt x="43030" y="195524"/>
                        <a:pt x="46520" y="193486"/>
                        <a:pt x="48932" y="189844"/>
                      </a:cubicBezTo>
                      <a:cubicBezTo>
                        <a:pt x="46695" y="189305"/>
                        <a:pt x="36811" y="189200"/>
                        <a:pt x="35546" y="187420"/>
                      </a:cubicBezTo>
                      <a:cubicBezTo>
                        <a:pt x="32548" y="183227"/>
                        <a:pt x="40043" y="178062"/>
                        <a:pt x="38333" y="173541"/>
                      </a:cubicBezTo>
                      <a:cubicBezTo>
                        <a:pt x="37619" y="174186"/>
                        <a:pt x="37115" y="174713"/>
                        <a:pt x="36389" y="175228"/>
                      </a:cubicBezTo>
                      <a:cubicBezTo>
                        <a:pt x="33707" y="172722"/>
                        <a:pt x="27863" y="168049"/>
                        <a:pt x="27114" y="165812"/>
                      </a:cubicBezTo>
                      <a:cubicBezTo>
                        <a:pt x="26458" y="163868"/>
                        <a:pt x="27676" y="158363"/>
                        <a:pt x="28706" y="156525"/>
                      </a:cubicBezTo>
                      <a:cubicBezTo>
                        <a:pt x="30475" y="153339"/>
                        <a:pt x="32548" y="154604"/>
                        <a:pt x="34621" y="151618"/>
                      </a:cubicBezTo>
                      <a:cubicBezTo>
                        <a:pt x="38392" y="146148"/>
                        <a:pt x="33520" y="144298"/>
                        <a:pt x="34351" y="139941"/>
                      </a:cubicBezTo>
                      <a:cubicBezTo>
                        <a:pt x="35042" y="136311"/>
                        <a:pt x="40676" y="132656"/>
                        <a:pt x="36120" y="128475"/>
                      </a:cubicBezTo>
                      <a:cubicBezTo>
                        <a:pt x="32501" y="125126"/>
                        <a:pt x="33707" y="130022"/>
                        <a:pt x="30768" y="129705"/>
                      </a:cubicBezTo>
                      <a:cubicBezTo>
                        <a:pt x="25240" y="129108"/>
                        <a:pt x="22406" y="126988"/>
                        <a:pt x="17709" y="124388"/>
                      </a:cubicBezTo>
                      <a:cubicBezTo>
                        <a:pt x="13528" y="122081"/>
                        <a:pt x="7052" y="120301"/>
                        <a:pt x="4054" y="117010"/>
                      </a:cubicBezTo>
                      <a:cubicBezTo>
                        <a:pt x="4346" y="117326"/>
                        <a:pt x="-34" y="108906"/>
                        <a:pt x="1" y="110159"/>
                      </a:cubicBezTo>
                      <a:cubicBezTo>
                        <a:pt x="-92" y="107032"/>
                        <a:pt x="4358" y="98869"/>
                        <a:pt x="5717" y="97112"/>
                      </a:cubicBezTo>
                      <a:cubicBezTo>
                        <a:pt x="7485" y="94840"/>
                        <a:pt x="5471" y="94641"/>
                        <a:pt x="10659" y="94559"/>
                      </a:cubicBezTo>
                      <a:cubicBezTo>
                        <a:pt x="13083" y="94524"/>
                        <a:pt x="12029" y="98775"/>
                        <a:pt x="16608" y="95847"/>
                      </a:cubicBezTo>
                      <a:cubicBezTo>
                        <a:pt x="20578" y="93318"/>
                        <a:pt x="19513" y="87345"/>
                        <a:pt x="21492" y="84030"/>
                      </a:cubicBezTo>
                      <a:cubicBezTo>
                        <a:pt x="24994" y="78186"/>
                        <a:pt x="21457" y="81641"/>
                        <a:pt x="27793" y="81020"/>
                      </a:cubicBezTo>
                      <a:cubicBezTo>
                        <a:pt x="32922" y="80517"/>
                        <a:pt x="42538" y="78292"/>
                        <a:pt x="47070" y="81196"/>
                      </a:cubicBezTo>
                      <a:cubicBezTo>
                        <a:pt x="46566" y="79603"/>
                        <a:pt x="50267" y="75656"/>
                        <a:pt x="50115" y="75247"/>
                      </a:cubicBezTo>
                      <a:cubicBezTo>
                        <a:pt x="49131" y="72728"/>
                        <a:pt x="46484" y="74720"/>
                        <a:pt x="44505" y="72529"/>
                      </a:cubicBezTo>
                      <a:cubicBezTo>
                        <a:pt x="41800" y="69543"/>
                        <a:pt x="41601" y="63289"/>
                        <a:pt x="37560" y="62013"/>
                      </a:cubicBezTo>
                      <a:cubicBezTo>
                        <a:pt x="34246" y="67177"/>
                        <a:pt x="25287" y="62305"/>
                        <a:pt x="21703" y="58312"/>
                      </a:cubicBezTo>
                      <a:cubicBezTo>
                        <a:pt x="18189" y="54412"/>
                        <a:pt x="16890" y="48603"/>
                        <a:pt x="10729" y="45804"/>
                      </a:cubicBezTo>
                      <a:cubicBezTo>
                        <a:pt x="6818" y="44024"/>
                        <a:pt x="6009" y="49599"/>
                        <a:pt x="3480" y="43567"/>
                      </a:cubicBezTo>
                      <a:cubicBezTo>
                        <a:pt x="1629" y="39175"/>
                        <a:pt x="6560" y="28986"/>
                        <a:pt x="9136" y="25953"/>
                      </a:cubicBezTo>
                      <a:cubicBezTo>
                        <a:pt x="10717" y="24102"/>
                        <a:pt x="13282" y="24840"/>
                        <a:pt x="14969" y="23353"/>
                      </a:cubicBezTo>
                      <a:cubicBezTo>
                        <a:pt x="16608" y="21912"/>
                        <a:pt x="15344" y="19769"/>
                        <a:pt x="16807" y="18586"/>
                      </a:cubicBezTo>
                      <a:cubicBezTo>
                        <a:pt x="19817" y="16162"/>
                        <a:pt x="21012" y="14265"/>
                        <a:pt x="24818" y="15167"/>
                      </a:cubicBezTo>
                      <a:cubicBezTo>
                        <a:pt x="24947" y="10681"/>
                        <a:pt x="18084" y="4720"/>
                        <a:pt x="16362" y="9814"/>
                      </a:cubicBezTo>
                      <a:cubicBezTo>
                        <a:pt x="14735" y="7039"/>
                        <a:pt x="16831" y="3057"/>
                        <a:pt x="18951" y="0"/>
                      </a:cubicBezTo>
                      <a:cubicBezTo>
                        <a:pt x="19115" y="3982"/>
                        <a:pt x="22101" y="5340"/>
                        <a:pt x="25287" y="7671"/>
                      </a:cubicBezTo>
                      <a:lnTo>
                        <a:pt x="25287" y="7671"/>
                      </a:lnTo>
                      <a:close/>
                    </a:path>
                  </a:pathLst>
                </a:custGeom>
                <a:solidFill>
                  <a:srgbClr val="D6D6D2"/>
                </a:solidFill>
                <a:ln w="8774" cap="rnd">
                  <a:solidFill>
                    <a:srgbClr val="FFFFFF"/>
                  </a:solidFill>
                  <a:prstDash val="solid"/>
                  <a:round/>
                </a:ln>
              </p:spPr>
              <p:txBody>
                <a:bodyPr rtlCol="0" anchor="ctr"/>
                <a:lstStyle/>
                <a:p>
                  <a:endParaRPr lang="en-US"/>
                </a:p>
              </p:txBody>
            </p:sp>
            <p:sp>
              <p:nvSpPr>
                <p:cNvPr id="134" name="Freeform: Shape 133">
                  <a:extLst>
                    <a:ext uri="{FF2B5EF4-FFF2-40B4-BE49-F238E27FC236}">
                      <a16:creationId xmlns:a16="http://schemas.microsoft.com/office/drawing/2014/main" id="{B1C55FE7-B63F-4ECB-B549-CDFF83B616A6}"/>
                    </a:ext>
                  </a:extLst>
                </p:cNvPr>
                <p:cNvSpPr/>
                <p:nvPr/>
              </p:nvSpPr>
              <p:spPr>
                <a:xfrm>
                  <a:off x="1381" y="4689103"/>
                  <a:ext cx="58838" cy="161317"/>
                </a:xfrm>
                <a:custGeom>
                  <a:avLst/>
                  <a:gdLst>
                    <a:gd name="connsiteX0" fmla="*/ 0 w 58838"/>
                    <a:gd name="connsiteY0" fmla="*/ 48407 h 161317"/>
                    <a:gd name="connsiteX1" fmla="*/ 2389 w 58838"/>
                    <a:gd name="connsiteY1" fmla="*/ 49368 h 161317"/>
                    <a:gd name="connsiteX2" fmla="*/ 4392 w 58838"/>
                    <a:gd name="connsiteY2" fmla="*/ 42259 h 161317"/>
                    <a:gd name="connsiteX3" fmla="*/ 9182 w 58838"/>
                    <a:gd name="connsiteY3" fmla="*/ 37738 h 161317"/>
                    <a:gd name="connsiteX4" fmla="*/ 16326 w 58838"/>
                    <a:gd name="connsiteY4" fmla="*/ 27607 h 161317"/>
                    <a:gd name="connsiteX5" fmla="*/ 24067 w 58838"/>
                    <a:gd name="connsiteY5" fmla="*/ 24481 h 161317"/>
                    <a:gd name="connsiteX6" fmla="*/ 36751 w 58838"/>
                    <a:gd name="connsiteY6" fmla="*/ 14280 h 161317"/>
                    <a:gd name="connsiteX7" fmla="*/ 36153 w 58838"/>
                    <a:gd name="connsiteY7" fmla="*/ 17336 h 161317"/>
                    <a:gd name="connsiteX8" fmla="*/ 40979 w 58838"/>
                    <a:gd name="connsiteY8" fmla="*/ 8166 h 161317"/>
                    <a:gd name="connsiteX9" fmla="*/ 39245 w 58838"/>
                    <a:gd name="connsiteY9" fmla="*/ 9642 h 161317"/>
                    <a:gd name="connsiteX10" fmla="*/ 46741 w 58838"/>
                    <a:gd name="connsiteY10" fmla="*/ 273 h 161317"/>
                    <a:gd name="connsiteX11" fmla="*/ 47748 w 58838"/>
                    <a:gd name="connsiteY11" fmla="*/ 11317 h 161317"/>
                    <a:gd name="connsiteX12" fmla="*/ 49083 w 58838"/>
                    <a:gd name="connsiteY12" fmla="*/ 25055 h 161317"/>
                    <a:gd name="connsiteX13" fmla="*/ 56590 w 58838"/>
                    <a:gd name="connsiteY13" fmla="*/ 26495 h 161317"/>
                    <a:gd name="connsiteX14" fmla="*/ 57597 w 58838"/>
                    <a:gd name="connsiteY14" fmla="*/ 39190 h 161317"/>
                    <a:gd name="connsiteX15" fmla="*/ 58839 w 58838"/>
                    <a:gd name="connsiteY15" fmla="*/ 61313 h 161317"/>
                    <a:gd name="connsiteX16" fmla="*/ 47783 w 58838"/>
                    <a:gd name="connsiteY16" fmla="*/ 69863 h 161317"/>
                    <a:gd name="connsiteX17" fmla="*/ 42923 w 58838"/>
                    <a:gd name="connsiteY17" fmla="*/ 75086 h 161317"/>
                    <a:gd name="connsiteX18" fmla="*/ 36809 w 58838"/>
                    <a:gd name="connsiteY18" fmla="*/ 66689 h 161317"/>
                    <a:gd name="connsiteX19" fmla="*/ 40393 w 58838"/>
                    <a:gd name="connsiteY19" fmla="*/ 67802 h 161317"/>
                    <a:gd name="connsiteX20" fmla="*/ 33038 w 58838"/>
                    <a:gd name="connsiteY20" fmla="*/ 62133 h 161317"/>
                    <a:gd name="connsiteX21" fmla="*/ 28108 w 58838"/>
                    <a:gd name="connsiteY21" fmla="*/ 74992 h 161317"/>
                    <a:gd name="connsiteX22" fmla="*/ 27955 w 58838"/>
                    <a:gd name="connsiteY22" fmla="*/ 98333 h 161317"/>
                    <a:gd name="connsiteX23" fmla="*/ 29993 w 58838"/>
                    <a:gd name="connsiteY23" fmla="*/ 103756 h 161317"/>
                    <a:gd name="connsiteX24" fmla="*/ 36001 w 58838"/>
                    <a:gd name="connsiteY24" fmla="*/ 104763 h 161317"/>
                    <a:gd name="connsiteX25" fmla="*/ 26480 w 58838"/>
                    <a:gd name="connsiteY25" fmla="*/ 113921 h 161317"/>
                    <a:gd name="connsiteX26" fmla="*/ 15752 w 58838"/>
                    <a:gd name="connsiteY26" fmla="*/ 115877 h 161317"/>
                    <a:gd name="connsiteX27" fmla="*/ 14171 w 58838"/>
                    <a:gd name="connsiteY27" fmla="*/ 122120 h 161317"/>
                    <a:gd name="connsiteX28" fmla="*/ 8713 w 58838"/>
                    <a:gd name="connsiteY28" fmla="*/ 141783 h 161317"/>
                    <a:gd name="connsiteX29" fmla="*/ 12 w 58838"/>
                    <a:gd name="connsiteY29" fmla="*/ 161318 h 161317"/>
                    <a:gd name="connsiteX30" fmla="*/ 0 w 58838"/>
                    <a:gd name="connsiteY30" fmla="*/ 48407 h 161317"/>
                    <a:gd name="connsiteX31" fmla="*/ 0 w 58838"/>
                    <a:gd name="connsiteY31" fmla="*/ 48407 h 161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8838" h="161317">
                      <a:moveTo>
                        <a:pt x="0" y="48407"/>
                      </a:moveTo>
                      <a:cubicBezTo>
                        <a:pt x="2108" y="44976"/>
                        <a:pt x="2893" y="45550"/>
                        <a:pt x="2389" y="49368"/>
                      </a:cubicBezTo>
                      <a:cubicBezTo>
                        <a:pt x="4087" y="46850"/>
                        <a:pt x="2740" y="45514"/>
                        <a:pt x="4392" y="42259"/>
                      </a:cubicBezTo>
                      <a:cubicBezTo>
                        <a:pt x="5165" y="40713"/>
                        <a:pt x="7249" y="39752"/>
                        <a:pt x="9182" y="37738"/>
                      </a:cubicBezTo>
                      <a:cubicBezTo>
                        <a:pt x="10622" y="36227"/>
                        <a:pt x="12707" y="30360"/>
                        <a:pt x="16326" y="27607"/>
                      </a:cubicBezTo>
                      <a:cubicBezTo>
                        <a:pt x="12250" y="35595"/>
                        <a:pt x="22603" y="25757"/>
                        <a:pt x="24067" y="24481"/>
                      </a:cubicBezTo>
                      <a:cubicBezTo>
                        <a:pt x="28248" y="20873"/>
                        <a:pt x="32593" y="18590"/>
                        <a:pt x="36751" y="14280"/>
                      </a:cubicBezTo>
                      <a:cubicBezTo>
                        <a:pt x="36423" y="15416"/>
                        <a:pt x="36224" y="16915"/>
                        <a:pt x="36153" y="17336"/>
                      </a:cubicBezTo>
                      <a:cubicBezTo>
                        <a:pt x="36634" y="13647"/>
                        <a:pt x="39421" y="11399"/>
                        <a:pt x="40979" y="8166"/>
                      </a:cubicBezTo>
                      <a:cubicBezTo>
                        <a:pt x="40534" y="8611"/>
                        <a:pt x="39960" y="9208"/>
                        <a:pt x="39245" y="9642"/>
                      </a:cubicBezTo>
                      <a:cubicBezTo>
                        <a:pt x="40955" y="7230"/>
                        <a:pt x="42138" y="-1660"/>
                        <a:pt x="46741" y="273"/>
                      </a:cubicBezTo>
                      <a:cubicBezTo>
                        <a:pt x="49657" y="1502"/>
                        <a:pt x="47865" y="8951"/>
                        <a:pt x="47748" y="11317"/>
                      </a:cubicBezTo>
                      <a:cubicBezTo>
                        <a:pt x="47490" y="16306"/>
                        <a:pt x="44434" y="21319"/>
                        <a:pt x="49083" y="25055"/>
                      </a:cubicBezTo>
                      <a:cubicBezTo>
                        <a:pt x="51097" y="26682"/>
                        <a:pt x="54412" y="24328"/>
                        <a:pt x="56590" y="26495"/>
                      </a:cubicBezTo>
                      <a:cubicBezTo>
                        <a:pt x="59647" y="29528"/>
                        <a:pt x="57586" y="35618"/>
                        <a:pt x="57597" y="39190"/>
                      </a:cubicBezTo>
                      <a:cubicBezTo>
                        <a:pt x="57609" y="45491"/>
                        <a:pt x="56672" y="55094"/>
                        <a:pt x="58839" y="61313"/>
                      </a:cubicBezTo>
                      <a:cubicBezTo>
                        <a:pt x="56789" y="61536"/>
                        <a:pt x="50371" y="67895"/>
                        <a:pt x="47783" y="69863"/>
                      </a:cubicBezTo>
                      <a:cubicBezTo>
                        <a:pt x="45640" y="71491"/>
                        <a:pt x="46588" y="75320"/>
                        <a:pt x="42923" y="75086"/>
                      </a:cubicBezTo>
                      <a:cubicBezTo>
                        <a:pt x="39854" y="74899"/>
                        <a:pt x="37945" y="68703"/>
                        <a:pt x="36809" y="66689"/>
                      </a:cubicBezTo>
                      <a:cubicBezTo>
                        <a:pt x="37711" y="67087"/>
                        <a:pt x="39210" y="67228"/>
                        <a:pt x="40393" y="67802"/>
                      </a:cubicBezTo>
                      <a:cubicBezTo>
                        <a:pt x="40768" y="62543"/>
                        <a:pt x="37535" y="60599"/>
                        <a:pt x="33038" y="62133"/>
                      </a:cubicBezTo>
                      <a:cubicBezTo>
                        <a:pt x="27159" y="64136"/>
                        <a:pt x="28272" y="70237"/>
                        <a:pt x="28108" y="74992"/>
                      </a:cubicBezTo>
                      <a:cubicBezTo>
                        <a:pt x="27850" y="82511"/>
                        <a:pt x="26316" y="90756"/>
                        <a:pt x="27955" y="98333"/>
                      </a:cubicBezTo>
                      <a:cubicBezTo>
                        <a:pt x="29419" y="105068"/>
                        <a:pt x="24079" y="98720"/>
                        <a:pt x="29993" y="103756"/>
                      </a:cubicBezTo>
                      <a:cubicBezTo>
                        <a:pt x="31504" y="105032"/>
                        <a:pt x="33682" y="102433"/>
                        <a:pt x="36001" y="104763"/>
                      </a:cubicBezTo>
                      <a:cubicBezTo>
                        <a:pt x="44094" y="112926"/>
                        <a:pt x="30872" y="113500"/>
                        <a:pt x="26480" y="113921"/>
                      </a:cubicBezTo>
                      <a:cubicBezTo>
                        <a:pt x="22474" y="114308"/>
                        <a:pt x="19511" y="114203"/>
                        <a:pt x="15752" y="115877"/>
                      </a:cubicBezTo>
                      <a:cubicBezTo>
                        <a:pt x="7519" y="119508"/>
                        <a:pt x="13480" y="117107"/>
                        <a:pt x="14171" y="122120"/>
                      </a:cubicBezTo>
                      <a:cubicBezTo>
                        <a:pt x="15155" y="129182"/>
                        <a:pt x="11442" y="135271"/>
                        <a:pt x="8713" y="141783"/>
                      </a:cubicBezTo>
                      <a:cubicBezTo>
                        <a:pt x="6195" y="147826"/>
                        <a:pt x="3888" y="155556"/>
                        <a:pt x="12" y="161318"/>
                      </a:cubicBezTo>
                      <a:cubicBezTo>
                        <a:pt x="0" y="123689"/>
                        <a:pt x="0" y="86048"/>
                        <a:pt x="0" y="48407"/>
                      </a:cubicBezTo>
                      <a:lnTo>
                        <a:pt x="0" y="48407"/>
                      </a:lnTo>
                      <a:close/>
                    </a:path>
                  </a:pathLst>
                </a:custGeom>
                <a:solidFill>
                  <a:srgbClr val="D6D6D2"/>
                </a:solidFill>
                <a:ln w="8774" cap="rnd">
                  <a:solidFill>
                    <a:srgbClr val="FFFFFF"/>
                  </a:solidFill>
                  <a:prstDash val="solid"/>
                  <a:round/>
                </a:ln>
              </p:spPr>
              <p:txBody>
                <a:bodyPr rtlCol="0" anchor="ctr"/>
                <a:lstStyle/>
                <a:p>
                  <a:endParaRPr lang="en-US"/>
                </a:p>
              </p:txBody>
            </p:sp>
            <p:sp>
              <p:nvSpPr>
                <p:cNvPr id="135" name="Freeform: Shape 134">
                  <a:extLst>
                    <a:ext uri="{FF2B5EF4-FFF2-40B4-BE49-F238E27FC236}">
                      <a16:creationId xmlns:a16="http://schemas.microsoft.com/office/drawing/2014/main" id="{89DF677E-3C0D-4705-99C2-9EBB4B08B4C7}"/>
                    </a:ext>
                  </a:extLst>
                </p:cNvPr>
                <p:cNvSpPr/>
                <p:nvPr/>
              </p:nvSpPr>
              <p:spPr>
                <a:xfrm>
                  <a:off x="274215" y="3970539"/>
                  <a:ext cx="751491" cy="530877"/>
                </a:xfrm>
                <a:custGeom>
                  <a:avLst/>
                  <a:gdLst>
                    <a:gd name="connsiteX0" fmla="*/ 751491 w 751491"/>
                    <a:gd name="connsiteY0" fmla="*/ 74106 h 530877"/>
                    <a:gd name="connsiteX1" fmla="*/ 742579 w 751491"/>
                    <a:gd name="connsiteY1" fmla="*/ 70101 h 530877"/>
                    <a:gd name="connsiteX2" fmla="*/ 737801 w 751491"/>
                    <a:gd name="connsiteY2" fmla="*/ 73661 h 530877"/>
                    <a:gd name="connsiteX3" fmla="*/ 728396 w 751491"/>
                    <a:gd name="connsiteY3" fmla="*/ 77561 h 530877"/>
                    <a:gd name="connsiteX4" fmla="*/ 724496 w 751491"/>
                    <a:gd name="connsiteY4" fmla="*/ 79763 h 530877"/>
                    <a:gd name="connsiteX5" fmla="*/ 731312 w 751491"/>
                    <a:gd name="connsiteY5" fmla="*/ 85138 h 530877"/>
                    <a:gd name="connsiteX6" fmla="*/ 733151 w 751491"/>
                    <a:gd name="connsiteY6" fmla="*/ 89273 h 530877"/>
                    <a:gd name="connsiteX7" fmla="*/ 728771 w 751491"/>
                    <a:gd name="connsiteY7" fmla="*/ 87726 h 530877"/>
                    <a:gd name="connsiteX8" fmla="*/ 710630 w 751491"/>
                    <a:gd name="connsiteY8" fmla="*/ 95433 h 530877"/>
                    <a:gd name="connsiteX9" fmla="*/ 704516 w 751491"/>
                    <a:gd name="connsiteY9" fmla="*/ 98747 h 530877"/>
                    <a:gd name="connsiteX10" fmla="*/ 693894 w 751491"/>
                    <a:gd name="connsiteY10" fmla="*/ 94578 h 530877"/>
                    <a:gd name="connsiteX11" fmla="*/ 651592 w 751491"/>
                    <a:gd name="connsiteY11" fmla="*/ 97447 h 530877"/>
                    <a:gd name="connsiteX12" fmla="*/ 627560 w 751491"/>
                    <a:gd name="connsiteY12" fmla="*/ 99930 h 530877"/>
                    <a:gd name="connsiteX13" fmla="*/ 609571 w 751491"/>
                    <a:gd name="connsiteY13" fmla="*/ 108725 h 530877"/>
                    <a:gd name="connsiteX14" fmla="*/ 601572 w 751491"/>
                    <a:gd name="connsiteY14" fmla="*/ 113340 h 530877"/>
                    <a:gd name="connsiteX15" fmla="*/ 589872 w 751491"/>
                    <a:gd name="connsiteY15" fmla="*/ 118469 h 530877"/>
                    <a:gd name="connsiteX16" fmla="*/ 589837 w 751491"/>
                    <a:gd name="connsiteY16" fmla="*/ 123049 h 530877"/>
                    <a:gd name="connsiteX17" fmla="*/ 585305 w 751491"/>
                    <a:gd name="connsiteY17" fmla="*/ 122568 h 530877"/>
                    <a:gd name="connsiteX18" fmla="*/ 579625 w 751491"/>
                    <a:gd name="connsiteY18" fmla="*/ 121374 h 530877"/>
                    <a:gd name="connsiteX19" fmla="*/ 577001 w 751491"/>
                    <a:gd name="connsiteY19" fmla="*/ 126948 h 530877"/>
                    <a:gd name="connsiteX20" fmla="*/ 559586 w 751491"/>
                    <a:gd name="connsiteY20" fmla="*/ 141646 h 530877"/>
                    <a:gd name="connsiteX21" fmla="*/ 570361 w 751491"/>
                    <a:gd name="connsiteY21" fmla="*/ 156333 h 530877"/>
                    <a:gd name="connsiteX22" fmla="*/ 575174 w 751491"/>
                    <a:gd name="connsiteY22" fmla="*/ 165222 h 530877"/>
                    <a:gd name="connsiteX23" fmla="*/ 574015 w 751491"/>
                    <a:gd name="connsiteY23" fmla="*/ 169333 h 530877"/>
                    <a:gd name="connsiteX24" fmla="*/ 578044 w 751491"/>
                    <a:gd name="connsiteY24" fmla="*/ 173034 h 530877"/>
                    <a:gd name="connsiteX25" fmla="*/ 580468 w 751491"/>
                    <a:gd name="connsiteY25" fmla="*/ 180810 h 530877"/>
                    <a:gd name="connsiteX26" fmla="*/ 577786 w 751491"/>
                    <a:gd name="connsiteY26" fmla="*/ 185705 h 530877"/>
                    <a:gd name="connsiteX27" fmla="*/ 578454 w 751491"/>
                    <a:gd name="connsiteY27" fmla="*/ 192275 h 530877"/>
                    <a:gd name="connsiteX28" fmla="*/ 581253 w 751491"/>
                    <a:gd name="connsiteY28" fmla="*/ 196983 h 530877"/>
                    <a:gd name="connsiteX29" fmla="*/ 574975 w 751491"/>
                    <a:gd name="connsiteY29" fmla="*/ 204057 h 530877"/>
                    <a:gd name="connsiteX30" fmla="*/ 570700 w 751491"/>
                    <a:gd name="connsiteY30" fmla="*/ 211072 h 530877"/>
                    <a:gd name="connsiteX31" fmla="*/ 562830 w 751491"/>
                    <a:gd name="connsiteY31" fmla="*/ 215757 h 530877"/>
                    <a:gd name="connsiteX32" fmla="*/ 558321 w 751491"/>
                    <a:gd name="connsiteY32" fmla="*/ 222550 h 530877"/>
                    <a:gd name="connsiteX33" fmla="*/ 552056 w 751491"/>
                    <a:gd name="connsiteY33" fmla="*/ 227468 h 530877"/>
                    <a:gd name="connsiteX34" fmla="*/ 552454 w 751491"/>
                    <a:gd name="connsiteY34" fmla="*/ 231872 h 530877"/>
                    <a:gd name="connsiteX35" fmla="*/ 546223 w 751491"/>
                    <a:gd name="connsiteY35" fmla="*/ 236240 h 530877"/>
                    <a:gd name="connsiteX36" fmla="*/ 555042 w 751491"/>
                    <a:gd name="connsiteY36" fmla="*/ 246008 h 530877"/>
                    <a:gd name="connsiteX37" fmla="*/ 552700 w 751491"/>
                    <a:gd name="connsiteY37" fmla="*/ 258141 h 530877"/>
                    <a:gd name="connsiteX38" fmla="*/ 546985 w 751491"/>
                    <a:gd name="connsiteY38" fmla="*/ 264676 h 530877"/>
                    <a:gd name="connsiteX39" fmla="*/ 514485 w 751491"/>
                    <a:gd name="connsiteY39" fmla="*/ 268436 h 530877"/>
                    <a:gd name="connsiteX40" fmla="*/ 488345 w 751491"/>
                    <a:gd name="connsiteY40" fmla="*/ 270145 h 530877"/>
                    <a:gd name="connsiteX41" fmla="*/ 503453 w 751491"/>
                    <a:gd name="connsiteY41" fmla="*/ 286014 h 530877"/>
                    <a:gd name="connsiteX42" fmla="*/ 504636 w 751491"/>
                    <a:gd name="connsiteY42" fmla="*/ 295255 h 530877"/>
                    <a:gd name="connsiteX43" fmla="*/ 512014 w 751491"/>
                    <a:gd name="connsiteY43" fmla="*/ 303816 h 530877"/>
                    <a:gd name="connsiteX44" fmla="*/ 488989 w 751491"/>
                    <a:gd name="connsiteY44" fmla="*/ 319181 h 530877"/>
                    <a:gd name="connsiteX45" fmla="*/ 475345 w 751491"/>
                    <a:gd name="connsiteY45" fmla="*/ 319685 h 530877"/>
                    <a:gd name="connsiteX46" fmla="*/ 469443 w 751491"/>
                    <a:gd name="connsiteY46" fmla="*/ 330132 h 530877"/>
                    <a:gd name="connsiteX47" fmla="*/ 463985 w 751491"/>
                    <a:gd name="connsiteY47" fmla="*/ 338951 h 530877"/>
                    <a:gd name="connsiteX48" fmla="*/ 464383 w 751491"/>
                    <a:gd name="connsiteY48" fmla="*/ 347465 h 530877"/>
                    <a:gd name="connsiteX49" fmla="*/ 456080 w 751491"/>
                    <a:gd name="connsiteY49" fmla="*/ 357326 h 530877"/>
                    <a:gd name="connsiteX50" fmla="*/ 457602 w 751491"/>
                    <a:gd name="connsiteY50" fmla="*/ 371708 h 530877"/>
                    <a:gd name="connsiteX51" fmla="*/ 459148 w 751491"/>
                    <a:gd name="connsiteY51" fmla="*/ 386394 h 530877"/>
                    <a:gd name="connsiteX52" fmla="*/ 447882 w 751491"/>
                    <a:gd name="connsiteY52" fmla="*/ 399804 h 530877"/>
                    <a:gd name="connsiteX53" fmla="*/ 434964 w 751491"/>
                    <a:gd name="connsiteY53" fmla="*/ 405168 h 530877"/>
                    <a:gd name="connsiteX54" fmla="*/ 425770 w 751491"/>
                    <a:gd name="connsiteY54" fmla="*/ 395119 h 530877"/>
                    <a:gd name="connsiteX55" fmla="*/ 413825 w 751491"/>
                    <a:gd name="connsiteY55" fmla="*/ 394873 h 530877"/>
                    <a:gd name="connsiteX56" fmla="*/ 420664 w 751491"/>
                    <a:gd name="connsiteY56" fmla="*/ 396583 h 530877"/>
                    <a:gd name="connsiteX57" fmla="*/ 402218 w 751491"/>
                    <a:gd name="connsiteY57" fmla="*/ 393140 h 530877"/>
                    <a:gd name="connsiteX58" fmla="*/ 390249 w 751491"/>
                    <a:gd name="connsiteY58" fmla="*/ 403224 h 530877"/>
                    <a:gd name="connsiteX59" fmla="*/ 381442 w 751491"/>
                    <a:gd name="connsiteY59" fmla="*/ 406620 h 530877"/>
                    <a:gd name="connsiteX60" fmla="*/ 371968 w 751491"/>
                    <a:gd name="connsiteY60" fmla="*/ 409618 h 530877"/>
                    <a:gd name="connsiteX61" fmla="*/ 370656 w 751491"/>
                    <a:gd name="connsiteY61" fmla="*/ 413248 h 530877"/>
                    <a:gd name="connsiteX62" fmla="*/ 379568 w 751491"/>
                    <a:gd name="connsiteY62" fmla="*/ 417137 h 530877"/>
                    <a:gd name="connsiteX63" fmla="*/ 361591 w 751491"/>
                    <a:gd name="connsiteY63" fmla="*/ 426799 h 530877"/>
                    <a:gd name="connsiteX64" fmla="*/ 340850 w 751491"/>
                    <a:gd name="connsiteY64" fmla="*/ 426073 h 530877"/>
                    <a:gd name="connsiteX65" fmla="*/ 338414 w 751491"/>
                    <a:gd name="connsiteY65" fmla="*/ 421856 h 530877"/>
                    <a:gd name="connsiteX66" fmla="*/ 327628 w 751491"/>
                    <a:gd name="connsiteY66" fmla="*/ 427408 h 530877"/>
                    <a:gd name="connsiteX67" fmla="*/ 321737 w 751491"/>
                    <a:gd name="connsiteY67" fmla="*/ 435922 h 530877"/>
                    <a:gd name="connsiteX68" fmla="*/ 308163 w 751491"/>
                    <a:gd name="connsiteY68" fmla="*/ 443195 h 530877"/>
                    <a:gd name="connsiteX69" fmla="*/ 304474 w 751491"/>
                    <a:gd name="connsiteY69" fmla="*/ 472239 h 530877"/>
                    <a:gd name="connsiteX70" fmla="*/ 305446 w 751491"/>
                    <a:gd name="connsiteY70" fmla="*/ 499761 h 530877"/>
                    <a:gd name="connsiteX71" fmla="*/ 255567 w 751491"/>
                    <a:gd name="connsiteY71" fmla="*/ 518465 h 530877"/>
                    <a:gd name="connsiteX72" fmla="*/ 225047 w 751491"/>
                    <a:gd name="connsiteY72" fmla="*/ 521908 h 530877"/>
                    <a:gd name="connsiteX73" fmla="*/ 192371 w 751491"/>
                    <a:gd name="connsiteY73" fmla="*/ 526686 h 530877"/>
                    <a:gd name="connsiteX74" fmla="*/ 181890 w 751491"/>
                    <a:gd name="connsiteY74" fmla="*/ 529802 h 530877"/>
                    <a:gd name="connsiteX75" fmla="*/ 161699 w 751491"/>
                    <a:gd name="connsiteY75" fmla="*/ 526089 h 530877"/>
                    <a:gd name="connsiteX76" fmla="*/ 134997 w 751491"/>
                    <a:gd name="connsiteY76" fmla="*/ 528268 h 530877"/>
                    <a:gd name="connsiteX77" fmla="*/ 111187 w 751491"/>
                    <a:gd name="connsiteY77" fmla="*/ 530387 h 530877"/>
                    <a:gd name="connsiteX78" fmla="*/ 80608 w 751491"/>
                    <a:gd name="connsiteY78" fmla="*/ 524578 h 530877"/>
                    <a:gd name="connsiteX79" fmla="*/ 18760 w 751491"/>
                    <a:gd name="connsiteY79" fmla="*/ 505383 h 530877"/>
                    <a:gd name="connsiteX80" fmla="*/ 49865 w 751491"/>
                    <a:gd name="connsiteY80" fmla="*/ 470249 h 530877"/>
                    <a:gd name="connsiteX81" fmla="*/ 68826 w 751491"/>
                    <a:gd name="connsiteY81" fmla="*/ 442925 h 530877"/>
                    <a:gd name="connsiteX82" fmla="*/ 65582 w 751491"/>
                    <a:gd name="connsiteY82" fmla="*/ 425112 h 530877"/>
                    <a:gd name="connsiteX83" fmla="*/ 34359 w 751491"/>
                    <a:gd name="connsiteY83" fmla="*/ 414338 h 530877"/>
                    <a:gd name="connsiteX84" fmla="*/ 17577 w 751491"/>
                    <a:gd name="connsiteY84" fmla="*/ 411574 h 530877"/>
                    <a:gd name="connsiteX85" fmla="*/ 15925 w 751491"/>
                    <a:gd name="connsiteY85" fmla="*/ 391079 h 530877"/>
                    <a:gd name="connsiteX86" fmla="*/ 17565 w 751491"/>
                    <a:gd name="connsiteY86" fmla="*/ 366344 h 530877"/>
                    <a:gd name="connsiteX87" fmla="*/ 4050 w 751491"/>
                    <a:gd name="connsiteY87" fmla="*/ 320985 h 530877"/>
                    <a:gd name="connsiteX88" fmla="*/ 19017 w 751491"/>
                    <a:gd name="connsiteY88" fmla="*/ 295548 h 530877"/>
                    <a:gd name="connsiteX89" fmla="*/ 21840 w 751491"/>
                    <a:gd name="connsiteY89" fmla="*/ 293123 h 530877"/>
                    <a:gd name="connsiteX90" fmla="*/ 14895 w 751491"/>
                    <a:gd name="connsiteY90" fmla="*/ 291894 h 530877"/>
                    <a:gd name="connsiteX91" fmla="*/ 302 w 751491"/>
                    <a:gd name="connsiteY91" fmla="*/ 281892 h 530877"/>
                    <a:gd name="connsiteX92" fmla="*/ 1708 w 751491"/>
                    <a:gd name="connsiteY92" fmla="*/ 272054 h 530877"/>
                    <a:gd name="connsiteX93" fmla="*/ 103 w 751491"/>
                    <a:gd name="connsiteY93" fmla="*/ 260378 h 530877"/>
                    <a:gd name="connsiteX94" fmla="*/ 8266 w 751491"/>
                    <a:gd name="connsiteY94" fmla="*/ 247905 h 530877"/>
                    <a:gd name="connsiteX95" fmla="*/ 21149 w 751491"/>
                    <a:gd name="connsiteY95" fmla="*/ 247179 h 530877"/>
                    <a:gd name="connsiteX96" fmla="*/ 11194 w 751491"/>
                    <a:gd name="connsiteY96" fmla="*/ 235561 h 530877"/>
                    <a:gd name="connsiteX97" fmla="*/ 21067 w 751491"/>
                    <a:gd name="connsiteY97" fmla="*/ 229366 h 530877"/>
                    <a:gd name="connsiteX98" fmla="*/ 25236 w 751491"/>
                    <a:gd name="connsiteY98" fmla="*/ 222866 h 530877"/>
                    <a:gd name="connsiteX99" fmla="*/ 33095 w 751491"/>
                    <a:gd name="connsiteY99" fmla="*/ 203085 h 530877"/>
                    <a:gd name="connsiteX100" fmla="*/ 32732 w 751491"/>
                    <a:gd name="connsiteY100" fmla="*/ 194817 h 530877"/>
                    <a:gd name="connsiteX101" fmla="*/ 32357 w 751491"/>
                    <a:gd name="connsiteY101" fmla="*/ 191245 h 530877"/>
                    <a:gd name="connsiteX102" fmla="*/ 35870 w 751491"/>
                    <a:gd name="connsiteY102" fmla="*/ 189687 h 530877"/>
                    <a:gd name="connsiteX103" fmla="*/ 40941 w 751491"/>
                    <a:gd name="connsiteY103" fmla="*/ 170422 h 530877"/>
                    <a:gd name="connsiteX104" fmla="*/ 47570 w 751491"/>
                    <a:gd name="connsiteY104" fmla="*/ 174380 h 530877"/>
                    <a:gd name="connsiteX105" fmla="*/ 69049 w 751491"/>
                    <a:gd name="connsiteY105" fmla="*/ 182180 h 530877"/>
                    <a:gd name="connsiteX106" fmla="*/ 90434 w 751491"/>
                    <a:gd name="connsiteY106" fmla="*/ 188926 h 530877"/>
                    <a:gd name="connsiteX107" fmla="*/ 92402 w 751491"/>
                    <a:gd name="connsiteY107" fmla="*/ 195976 h 530877"/>
                    <a:gd name="connsiteX108" fmla="*/ 100717 w 751491"/>
                    <a:gd name="connsiteY108" fmla="*/ 191163 h 530877"/>
                    <a:gd name="connsiteX109" fmla="*/ 115977 w 751491"/>
                    <a:gd name="connsiteY109" fmla="*/ 191889 h 530877"/>
                    <a:gd name="connsiteX110" fmla="*/ 124550 w 751491"/>
                    <a:gd name="connsiteY110" fmla="*/ 185810 h 530877"/>
                    <a:gd name="connsiteX111" fmla="*/ 135020 w 751491"/>
                    <a:gd name="connsiteY111" fmla="*/ 181513 h 530877"/>
                    <a:gd name="connsiteX112" fmla="*/ 135383 w 751491"/>
                    <a:gd name="connsiteY112" fmla="*/ 174685 h 530877"/>
                    <a:gd name="connsiteX113" fmla="*/ 135172 w 751491"/>
                    <a:gd name="connsiteY113" fmla="*/ 170047 h 530877"/>
                    <a:gd name="connsiteX114" fmla="*/ 141309 w 751491"/>
                    <a:gd name="connsiteY114" fmla="*/ 167072 h 530877"/>
                    <a:gd name="connsiteX115" fmla="*/ 136179 w 751491"/>
                    <a:gd name="connsiteY115" fmla="*/ 156661 h 530877"/>
                    <a:gd name="connsiteX116" fmla="*/ 149648 w 751491"/>
                    <a:gd name="connsiteY116" fmla="*/ 156169 h 530877"/>
                    <a:gd name="connsiteX117" fmla="*/ 160563 w 751491"/>
                    <a:gd name="connsiteY117" fmla="*/ 150676 h 530877"/>
                    <a:gd name="connsiteX118" fmla="*/ 185696 w 751491"/>
                    <a:gd name="connsiteY118" fmla="*/ 147807 h 530877"/>
                    <a:gd name="connsiteX119" fmla="*/ 197220 w 751491"/>
                    <a:gd name="connsiteY119" fmla="*/ 138660 h 530877"/>
                    <a:gd name="connsiteX120" fmla="*/ 204774 w 751491"/>
                    <a:gd name="connsiteY120" fmla="*/ 133449 h 530877"/>
                    <a:gd name="connsiteX121" fmla="*/ 211356 w 751491"/>
                    <a:gd name="connsiteY121" fmla="*/ 127440 h 530877"/>
                    <a:gd name="connsiteX122" fmla="*/ 214038 w 751491"/>
                    <a:gd name="connsiteY122" fmla="*/ 111911 h 530877"/>
                    <a:gd name="connsiteX123" fmla="*/ 223782 w 751491"/>
                    <a:gd name="connsiteY123" fmla="*/ 92177 h 530877"/>
                    <a:gd name="connsiteX124" fmla="*/ 233947 w 751491"/>
                    <a:gd name="connsiteY124" fmla="*/ 75640 h 530877"/>
                    <a:gd name="connsiteX125" fmla="*/ 262570 w 751491"/>
                    <a:gd name="connsiteY125" fmla="*/ 72993 h 530877"/>
                    <a:gd name="connsiteX126" fmla="*/ 268660 w 751491"/>
                    <a:gd name="connsiteY126" fmla="*/ 59502 h 530877"/>
                    <a:gd name="connsiteX127" fmla="*/ 275207 w 751491"/>
                    <a:gd name="connsiteY127" fmla="*/ 53213 h 530877"/>
                    <a:gd name="connsiteX128" fmla="*/ 308597 w 751491"/>
                    <a:gd name="connsiteY128" fmla="*/ 67068 h 530877"/>
                    <a:gd name="connsiteX129" fmla="*/ 322826 w 751491"/>
                    <a:gd name="connsiteY129" fmla="*/ 67313 h 530877"/>
                    <a:gd name="connsiteX130" fmla="*/ 344598 w 751491"/>
                    <a:gd name="connsiteY130" fmla="*/ 67243 h 530877"/>
                    <a:gd name="connsiteX131" fmla="*/ 355009 w 751491"/>
                    <a:gd name="connsiteY131" fmla="*/ 76378 h 530877"/>
                    <a:gd name="connsiteX132" fmla="*/ 367506 w 751491"/>
                    <a:gd name="connsiteY132" fmla="*/ 72209 h 530877"/>
                    <a:gd name="connsiteX133" fmla="*/ 369660 w 751491"/>
                    <a:gd name="connsiteY133" fmla="*/ 74586 h 530877"/>
                    <a:gd name="connsiteX134" fmla="*/ 372260 w 751491"/>
                    <a:gd name="connsiteY134" fmla="*/ 72794 h 530877"/>
                    <a:gd name="connsiteX135" fmla="*/ 379240 w 751491"/>
                    <a:gd name="connsiteY135" fmla="*/ 74481 h 530877"/>
                    <a:gd name="connsiteX136" fmla="*/ 381993 w 751491"/>
                    <a:gd name="connsiteY136" fmla="*/ 82995 h 530877"/>
                    <a:gd name="connsiteX137" fmla="*/ 388902 w 751491"/>
                    <a:gd name="connsiteY137" fmla="*/ 87914 h 530877"/>
                    <a:gd name="connsiteX138" fmla="*/ 402382 w 751491"/>
                    <a:gd name="connsiteY138" fmla="*/ 86801 h 530877"/>
                    <a:gd name="connsiteX139" fmla="*/ 407032 w 751491"/>
                    <a:gd name="connsiteY139" fmla="*/ 86520 h 530877"/>
                    <a:gd name="connsiteX140" fmla="*/ 407009 w 751491"/>
                    <a:gd name="connsiteY140" fmla="*/ 81789 h 530877"/>
                    <a:gd name="connsiteX141" fmla="*/ 413052 w 751491"/>
                    <a:gd name="connsiteY141" fmla="*/ 78885 h 530877"/>
                    <a:gd name="connsiteX142" fmla="*/ 427000 w 751491"/>
                    <a:gd name="connsiteY142" fmla="*/ 73146 h 530877"/>
                    <a:gd name="connsiteX143" fmla="*/ 426274 w 751491"/>
                    <a:gd name="connsiteY143" fmla="*/ 71916 h 530877"/>
                    <a:gd name="connsiteX144" fmla="*/ 434777 w 751491"/>
                    <a:gd name="connsiteY144" fmla="*/ 72923 h 530877"/>
                    <a:gd name="connsiteX145" fmla="*/ 439766 w 751491"/>
                    <a:gd name="connsiteY145" fmla="*/ 71225 h 530877"/>
                    <a:gd name="connsiteX146" fmla="*/ 438290 w 751491"/>
                    <a:gd name="connsiteY146" fmla="*/ 67665 h 530877"/>
                    <a:gd name="connsiteX147" fmla="*/ 460718 w 751491"/>
                    <a:gd name="connsiteY147" fmla="*/ 80828 h 530877"/>
                    <a:gd name="connsiteX148" fmla="*/ 463891 w 751491"/>
                    <a:gd name="connsiteY148" fmla="*/ 61680 h 530877"/>
                    <a:gd name="connsiteX149" fmla="*/ 487877 w 751491"/>
                    <a:gd name="connsiteY149" fmla="*/ 52018 h 530877"/>
                    <a:gd name="connsiteX150" fmla="*/ 496719 w 751491"/>
                    <a:gd name="connsiteY150" fmla="*/ 54993 h 530877"/>
                    <a:gd name="connsiteX151" fmla="*/ 507224 w 751491"/>
                    <a:gd name="connsiteY151" fmla="*/ 51725 h 530877"/>
                    <a:gd name="connsiteX152" fmla="*/ 510761 w 751491"/>
                    <a:gd name="connsiteY152" fmla="*/ 43797 h 530877"/>
                    <a:gd name="connsiteX153" fmla="*/ 505292 w 751491"/>
                    <a:gd name="connsiteY153" fmla="*/ 31008 h 530877"/>
                    <a:gd name="connsiteX154" fmla="*/ 509953 w 751491"/>
                    <a:gd name="connsiteY154" fmla="*/ 31418 h 530877"/>
                    <a:gd name="connsiteX155" fmla="*/ 516816 w 751491"/>
                    <a:gd name="connsiteY155" fmla="*/ 23138 h 530877"/>
                    <a:gd name="connsiteX156" fmla="*/ 526712 w 751491"/>
                    <a:gd name="connsiteY156" fmla="*/ 11075 h 530877"/>
                    <a:gd name="connsiteX157" fmla="*/ 541152 w 751491"/>
                    <a:gd name="connsiteY157" fmla="*/ 405 h 530877"/>
                    <a:gd name="connsiteX158" fmla="*/ 560945 w 751491"/>
                    <a:gd name="connsiteY158" fmla="*/ 8475 h 530877"/>
                    <a:gd name="connsiteX159" fmla="*/ 564950 w 751491"/>
                    <a:gd name="connsiteY159" fmla="*/ 22728 h 530877"/>
                    <a:gd name="connsiteX160" fmla="*/ 565442 w 751491"/>
                    <a:gd name="connsiteY160" fmla="*/ 33912 h 530877"/>
                    <a:gd name="connsiteX161" fmla="*/ 579472 w 751491"/>
                    <a:gd name="connsiteY161" fmla="*/ 34111 h 530877"/>
                    <a:gd name="connsiteX162" fmla="*/ 576509 w 751491"/>
                    <a:gd name="connsiteY162" fmla="*/ 43738 h 530877"/>
                    <a:gd name="connsiteX163" fmla="*/ 571954 w 751491"/>
                    <a:gd name="connsiteY163" fmla="*/ 75383 h 530877"/>
                    <a:gd name="connsiteX164" fmla="*/ 578582 w 751491"/>
                    <a:gd name="connsiteY164" fmla="*/ 104006 h 530877"/>
                    <a:gd name="connsiteX165" fmla="*/ 615579 w 751491"/>
                    <a:gd name="connsiteY165" fmla="*/ 89425 h 530877"/>
                    <a:gd name="connsiteX166" fmla="*/ 628450 w 751491"/>
                    <a:gd name="connsiteY166" fmla="*/ 87200 h 530877"/>
                    <a:gd name="connsiteX167" fmla="*/ 638499 w 751491"/>
                    <a:gd name="connsiteY167" fmla="*/ 80196 h 530877"/>
                    <a:gd name="connsiteX168" fmla="*/ 657366 w 751491"/>
                    <a:gd name="connsiteY168" fmla="*/ 68414 h 530877"/>
                    <a:gd name="connsiteX169" fmla="*/ 669218 w 751491"/>
                    <a:gd name="connsiteY169" fmla="*/ 59994 h 530877"/>
                    <a:gd name="connsiteX170" fmla="*/ 692079 w 751491"/>
                    <a:gd name="connsiteY170" fmla="*/ 62254 h 530877"/>
                    <a:gd name="connsiteX171" fmla="*/ 692278 w 751491"/>
                    <a:gd name="connsiteY171" fmla="*/ 74200 h 530877"/>
                    <a:gd name="connsiteX172" fmla="*/ 721404 w 751491"/>
                    <a:gd name="connsiteY172" fmla="*/ 62348 h 530877"/>
                    <a:gd name="connsiteX173" fmla="*/ 732121 w 751491"/>
                    <a:gd name="connsiteY173" fmla="*/ 65440 h 530877"/>
                    <a:gd name="connsiteX174" fmla="*/ 751491 w 751491"/>
                    <a:gd name="connsiteY174" fmla="*/ 74106 h 530877"/>
                    <a:gd name="connsiteX175" fmla="*/ 751491 w 751491"/>
                    <a:gd name="connsiteY175" fmla="*/ 74106 h 530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751491" h="530877">
                      <a:moveTo>
                        <a:pt x="751491" y="74106"/>
                      </a:moveTo>
                      <a:cubicBezTo>
                        <a:pt x="744336" y="77901"/>
                        <a:pt x="746924" y="70499"/>
                        <a:pt x="742579" y="70101"/>
                      </a:cubicBezTo>
                      <a:cubicBezTo>
                        <a:pt x="741361" y="69995"/>
                        <a:pt x="738983" y="73380"/>
                        <a:pt x="737801" y="73661"/>
                      </a:cubicBezTo>
                      <a:cubicBezTo>
                        <a:pt x="733491" y="74680"/>
                        <a:pt x="732202" y="74305"/>
                        <a:pt x="728396" y="77561"/>
                      </a:cubicBezTo>
                      <a:cubicBezTo>
                        <a:pt x="726312" y="79353"/>
                        <a:pt x="723934" y="75886"/>
                        <a:pt x="724496" y="79763"/>
                      </a:cubicBezTo>
                      <a:cubicBezTo>
                        <a:pt x="724766" y="81648"/>
                        <a:pt x="729966" y="83136"/>
                        <a:pt x="731312" y="85138"/>
                      </a:cubicBezTo>
                      <a:cubicBezTo>
                        <a:pt x="732472" y="86848"/>
                        <a:pt x="734322" y="86755"/>
                        <a:pt x="733151" y="89273"/>
                      </a:cubicBezTo>
                      <a:cubicBezTo>
                        <a:pt x="731535" y="92763"/>
                        <a:pt x="730938" y="87071"/>
                        <a:pt x="728771" y="87726"/>
                      </a:cubicBezTo>
                      <a:cubicBezTo>
                        <a:pt x="722693" y="89554"/>
                        <a:pt x="715642" y="93208"/>
                        <a:pt x="710630" y="95433"/>
                      </a:cubicBezTo>
                      <a:cubicBezTo>
                        <a:pt x="708803" y="96253"/>
                        <a:pt x="708557" y="98829"/>
                        <a:pt x="704516" y="98747"/>
                      </a:cubicBezTo>
                      <a:cubicBezTo>
                        <a:pt x="701038" y="98688"/>
                        <a:pt x="697443" y="95339"/>
                        <a:pt x="693894" y="94578"/>
                      </a:cubicBezTo>
                      <a:cubicBezTo>
                        <a:pt x="681152" y="91837"/>
                        <a:pt x="663971" y="95620"/>
                        <a:pt x="651592" y="97447"/>
                      </a:cubicBezTo>
                      <a:cubicBezTo>
                        <a:pt x="643874" y="98595"/>
                        <a:pt x="635442" y="97342"/>
                        <a:pt x="627560" y="99930"/>
                      </a:cubicBezTo>
                      <a:cubicBezTo>
                        <a:pt x="623414" y="101300"/>
                        <a:pt x="606983" y="104146"/>
                        <a:pt x="609571" y="108725"/>
                      </a:cubicBezTo>
                      <a:cubicBezTo>
                        <a:pt x="604488" y="108784"/>
                        <a:pt x="604430" y="111501"/>
                        <a:pt x="601572" y="113340"/>
                      </a:cubicBezTo>
                      <a:cubicBezTo>
                        <a:pt x="598855" y="115108"/>
                        <a:pt x="591594" y="116783"/>
                        <a:pt x="589872" y="118469"/>
                      </a:cubicBezTo>
                      <a:cubicBezTo>
                        <a:pt x="589240" y="119090"/>
                        <a:pt x="588795" y="123423"/>
                        <a:pt x="589837" y="123049"/>
                      </a:cubicBezTo>
                      <a:cubicBezTo>
                        <a:pt x="587729" y="123821"/>
                        <a:pt x="586769" y="122299"/>
                        <a:pt x="585305" y="122568"/>
                      </a:cubicBezTo>
                      <a:cubicBezTo>
                        <a:pt x="582131" y="123166"/>
                        <a:pt x="582799" y="119524"/>
                        <a:pt x="579625" y="121374"/>
                      </a:cubicBezTo>
                      <a:cubicBezTo>
                        <a:pt x="578664" y="121936"/>
                        <a:pt x="577423" y="126398"/>
                        <a:pt x="577001" y="126948"/>
                      </a:cubicBezTo>
                      <a:cubicBezTo>
                        <a:pt x="573980" y="130790"/>
                        <a:pt x="562139" y="135943"/>
                        <a:pt x="559586" y="141646"/>
                      </a:cubicBezTo>
                      <a:cubicBezTo>
                        <a:pt x="556049" y="149528"/>
                        <a:pt x="566180" y="149599"/>
                        <a:pt x="570361" y="156333"/>
                      </a:cubicBezTo>
                      <a:cubicBezTo>
                        <a:pt x="571848" y="158722"/>
                        <a:pt x="574366" y="162669"/>
                        <a:pt x="575174" y="165222"/>
                      </a:cubicBezTo>
                      <a:cubicBezTo>
                        <a:pt x="575537" y="166393"/>
                        <a:pt x="573898" y="169110"/>
                        <a:pt x="574015" y="169333"/>
                      </a:cubicBezTo>
                      <a:cubicBezTo>
                        <a:pt x="574448" y="170164"/>
                        <a:pt x="577880" y="172635"/>
                        <a:pt x="578044" y="173034"/>
                      </a:cubicBezTo>
                      <a:cubicBezTo>
                        <a:pt x="578465" y="174111"/>
                        <a:pt x="580655" y="179674"/>
                        <a:pt x="580468" y="180810"/>
                      </a:cubicBezTo>
                      <a:cubicBezTo>
                        <a:pt x="580222" y="182297"/>
                        <a:pt x="577833" y="184944"/>
                        <a:pt x="577786" y="185705"/>
                      </a:cubicBezTo>
                      <a:cubicBezTo>
                        <a:pt x="577505" y="189406"/>
                        <a:pt x="577833" y="188539"/>
                        <a:pt x="578454" y="192275"/>
                      </a:cubicBezTo>
                      <a:cubicBezTo>
                        <a:pt x="578910" y="194957"/>
                        <a:pt x="581756" y="193880"/>
                        <a:pt x="581253" y="196983"/>
                      </a:cubicBezTo>
                      <a:cubicBezTo>
                        <a:pt x="580972" y="198740"/>
                        <a:pt x="576111" y="202441"/>
                        <a:pt x="574975" y="204057"/>
                      </a:cubicBezTo>
                      <a:cubicBezTo>
                        <a:pt x="573195" y="206646"/>
                        <a:pt x="573898" y="208531"/>
                        <a:pt x="570700" y="211072"/>
                      </a:cubicBezTo>
                      <a:cubicBezTo>
                        <a:pt x="568065" y="213157"/>
                        <a:pt x="565302" y="213333"/>
                        <a:pt x="562830" y="215757"/>
                      </a:cubicBezTo>
                      <a:cubicBezTo>
                        <a:pt x="561120" y="217444"/>
                        <a:pt x="560113" y="220617"/>
                        <a:pt x="558321" y="222550"/>
                      </a:cubicBezTo>
                      <a:cubicBezTo>
                        <a:pt x="556600" y="224424"/>
                        <a:pt x="553695" y="225349"/>
                        <a:pt x="552056" y="227468"/>
                      </a:cubicBezTo>
                      <a:cubicBezTo>
                        <a:pt x="551400" y="228300"/>
                        <a:pt x="553461" y="230771"/>
                        <a:pt x="552454" y="231872"/>
                      </a:cubicBezTo>
                      <a:cubicBezTo>
                        <a:pt x="549971" y="234613"/>
                        <a:pt x="546727" y="231509"/>
                        <a:pt x="546223" y="236240"/>
                      </a:cubicBezTo>
                      <a:cubicBezTo>
                        <a:pt x="545708" y="241019"/>
                        <a:pt x="553894" y="243068"/>
                        <a:pt x="555042" y="246008"/>
                      </a:cubicBezTo>
                      <a:cubicBezTo>
                        <a:pt x="555827" y="248034"/>
                        <a:pt x="553449" y="255975"/>
                        <a:pt x="552700" y="258141"/>
                      </a:cubicBezTo>
                      <a:cubicBezTo>
                        <a:pt x="550990" y="263037"/>
                        <a:pt x="551131" y="261701"/>
                        <a:pt x="546985" y="264676"/>
                      </a:cubicBezTo>
                      <a:cubicBezTo>
                        <a:pt x="539712" y="269888"/>
                        <a:pt x="524791" y="270298"/>
                        <a:pt x="514485" y="268436"/>
                      </a:cubicBezTo>
                      <a:cubicBezTo>
                        <a:pt x="507962" y="267253"/>
                        <a:pt x="487174" y="257099"/>
                        <a:pt x="488345" y="270145"/>
                      </a:cubicBezTo>
                      <a:cubicBezTo>
                        <a:pt x="489200" y="279690"/>
                        <a:pt x="500677" y="280592"/>
                        <a:pt x="503453" y="286014"/>
                      </a:cubicBezTo>
                      <a:cubicBezTo>
                        <a:pt x="505069" y="289165"/>
                        <a:pt x="503371" y="291460"/>
                        <a:pt x="504636" y="295255"/>
                      </a:cubicBezTo>
                      <a:cubicBezTo>
                        <a:pt x="505690" y="298405"/>
                        <a:pt x="512108" y="299541"/>
                        <a:pt x="512014" y="303816"/>
                      </a:cubicBezTo>
                      <a:cubicBezTo>
                        <a:pt x="511909" y="309133"/>
                        <a:pt x="493650" y="318549"/>
                        <a:pt x="488989" y="319181"/>
                      </a:cubicBezTo>
                      <a:cubicBezTo>
                        <a:pt x="484796" y="319744"/>
                        <a:pt x="479831" y="317788"/>
                        <a:pt x="475345" y="319685"/>
                      </a:cubicBezTo>
                      <a:cubicBezTo>
                        <a:pt x="467018" y="323222"/>
                        <a:pt x="472066" y="322859"/>
                        <a:pt x="469443" y="330132"/>
                      </a:cubicBezTo>
                      <a:cubicBezTo>
                        <a:pt x="468225" y="333505"/>
                        <a:pt x="464805" y="335730"/>
                        <a:pt x="463985" y="338951"/>
                      </a:cubicBezTo>
                      <a:cubicBezTo>
                        <a:pt x="463470" y="340977"/>
                        <a:pt x="467018" y="343143"/>
                        <a:pt x="464383" y="347465"/>
                      </a:cubicBezTo>
                      <a:cubicBezTo>
                        <a:pt x="461701" y="351868"/>
                        <a:pt x="456864" y="351154"/>
                        <a:pt x="456080" y="357326"/>
                      </a:cubicBezTo>
                      <a:cubicBezTo>
                        <a:pt x="455623" y="360980"/>
                        <a:pt x="457532" y="367491"/>
                        <a:pt x="457602" y="371708"/>
                      </a:cubicBezTo>
                      <a:cubicBezTo>
                        <a:pt x="457661" y="376275"/>
                        <a:pt x="460343" y="382845"/>
                        <a:pt x="459148" y="386394"/>
                      </a:cubicBezTo>
                      <a:cubicBezTo>
                        <a:pt x="458047" y="389650"/>
                        <a:pt x="450903" y="397403"/>
                        <a:pt x="447882" y="399804"/>
                      </a:cubicBezTo>
                      <a:cubicBezTo>
                        <a:pt x="445293" y="401841"/>
                        <a:pt x="438255" y="405847"/>
                        <a:pt x="434964" y="405168"/>
                      </a:cubicBezTo>
                      <a:cubicBezTo>
                        <a:pt x="429858" y="404114"/>
                        <a:pt x="429120" y="397461"/>
                        <a:pt x="425770" y="395119"/>
                      </a:cubicBezTo>
                      <a:cubicBezTo>
                        <a:pt x="422163" y="392601"/>
                        <a:pt x="417326" y="391606"/>
                        <a:pt x="413825" y="394873"/>
                      </a:cubicBezTo>
                      <a:cubicBezTo>
                        <a:pt x="415534" y="395259"/>
                        <a:pt x="418615" y="396583"/>
                        <a:pt x="420664" y="396583"/>
                      </a:cubicBezTo>
                      <a:cubicBezTo>
                        <a:pt x="414925" y="401877"/>
                        <a:pt x="406997" y="392753"/>
                        <a:pt x="402218" y="393140"/>
                      </a:cubicBezTo>
                      <a:cubicBezTo>
                        <a:pt x="396503" y="393596"/>
                        <a:pt x="395777" y="400155"/>
                        <a:pt x="390249" y="403224"/>
                      </a:cubicBezTo>
                      <a:cubicBezTo>
                        <a:pt x="388012" y="404465"/>
                        <a:pt x="383937" y="405437"/>
                        <a:pt x="381442" y="406620"/>
                      </a:cubicBezTo>
                      <a:cubicBezTo>
                        <a:pt x="379931" y="407322"/>
                        <a:pt x="372319" y="409372"/>
                        <a:pt x="371968" y="409618"/>
                      </a:cubicBezTo>
                      <a:cubicBezTo>
                        <a:pt x="368934" y="411820"/>
                        <a:pt x="368934" y="408810"/>
                        <a:pt x="370656" y="413248"/>
                      </a:cubicBezTo>
                      <a:cubicBezTo>
                        <a:pt x="373080" y="419502"/>
                        <a:pt x="376430" y="413213"/>
                        <a:pt x="379568" y="417137"/>
                      </a:cubicBezTo>
                      <a:cubicBezTo>
                        <a:pt x="383152" y="421610"/>
                        <a:pt x="365362" y="426119"/>
                        <a:pt x="361591" y="426799"/>
                      </a:cubicBezTo>
                      <a:cubicBezTo>
                        <a:pt x="355735" y="427829"/>
                        <a:pt x="346448" y="428450"/>
                        <a:pt x="340850" y="426073"/>
                      </a:cubicBezTo>
                      <a:cubicBezTo>
                        <a:pt x="339761" y="425604"/>
                        <a:pt x="342431" y="422583"/>
                        <a:pt x="338414" y="421856"/>
                      </a:cubicBezTo>
                      <a:cubicBezTo>
                        <a:pt x="334327" y="421130"/>
                        <a:pt x="330345" y="424913"/>
                        <a:pt x="327628" y="427408"/>
                      </a:cubicBezTo>
                      <a:cubicBezTo>
                        <a:pt x="324431" y="430347"/>
                        <a:pt x="324536" y="431577"/>
                        <a:pt x="321737" y="435922"/>
                      </a:cubicBezTo>
                      <a:cubicBezTo>
                        <a:pt x="317486" y="442504"/>
                        <a:pt x="313023" y="439377"/>
                        <a:pt x="308163" y="443195"/>
                      </a:cubicBezTo>
                      <a:cubicBezTo>
                        <a:pt x="299344" y="450093"/>
                        <a:pt x="303221" y="463901"/>
                        <a:pt x="304474" y="472239"/>
                      </a:cubicBezTo>
                      <a:cubicBezTo>
                        <a:pt x="306395" y="485122"/>
                        <a:pt x="294508" y="490498"/>
                        <a:pt x="305446" y="499761"/>
                      </a:cubicBezTo>
                      <a:cubicBezTo>
                        <a:pt x="295480" y="512152"/>
                        <a:pt x="270616" y="514272"/>
                        <a:pt x="255567" y="518465"/>
                      </a:cubicBezTo>
                      <a:cubicBezTo>
                        <a:pt x="244207" y="521627"/>
                        <a:pt x="236664" y="522868"/>
                        <a:pt x="225047" y="521908"/>
                      </a:cubicBezTo>
                      <a:cubicBezTo>
                        <a:pt x="214237" y="521018"/>
                        <a:pt x="202162" y="521533"/>
                        <a:pt x="192371" y="526686"/>
                      </a:cubicBezTo>
                      <a:cubicBezTo>
                        <a:pt x="184958" y="530586"/>
                        <a:pt x="192371" y="532085"/>
                        <a:pt x="181890" y="529802"/>
                      </a:cubicBezTo>
                      <a:cubicBezTo>
                        <a:pt x="175530" y="528420"/>
                        <a:pt x="168187" y="526429"/>
                        <a:pt x="161699" y="526089"/>
                      </a:cubicBezTo>
                      <a:cubicBezTo>
                        <a:pt x="153056" y="525609"/>
                        <a:pt x="143663" y="527483"/>
                        <a:pt x="134997" y="528268"/>
                      </a:cubicBezTo>
                      <a:cubicBezTo>
                        <a:pt x="127056" y="528982"/>
                        <a:pt x="119127" y="529778"/>
                        <a:pt x="111187" y="530387"/>
                      </a:cubicBezTo>
                      <a:cubicBezTo>
                        <a:pt x="100202" y="531219"/>
                        <a:pt x="91008" y="527764"/>
                        <a:pt x="80608" y="524578"/>
                      </a:cubicBezTo>
                      <a:cubicBezTo>
                        <a:pt x="60136" y="518301"/>
                        <a:pt x="38681" y="513206"/>
                        <a:pt x="18760" y="505383"/>
                      </a:cubicBezTo>
                      <a:cubicBezTo>
                        <a:pt x="29241" y="493765"/>
                        <a:pt x="39559" y="482007"/>
                        <a:pt x="49865" y="470249"/>
                      </a:cubicBezTo>
                      <a:cubicBezTo>
                        <a:pt x="57501" y="461524"/>
                        <a:pt x="67409" y="453852"/>
                        <a:pt x="68826" y="442925"/>
                      </a:cubicBezTo>
                      <a:cubicBezTo>
                        <a:pt x="69670" y="436391"/>
                        <a:pt x="68182" y="431495"/>
                        <a:pt x="65582" y="425112"/>
                      </a:cubicBezTo>
                      <a:cubicBezTo>
                        <a:pt x="61062" y="414045"/>
                        <a:pt x="46434" y="415989"/>
                        <a:pt x="34359" y="414338"/>
                      </a:cubicBezTo>
                      <a:cubicBezTo>
                        <a:pt x="30811" y="413846"/>
                        <a:pt x="20200" y="414232"/>
                        <a:pt x="17577" y="411574"/>
                      </a:cubicBezTo>
                      <a:cubicBezTo>
                        <a:pt x="14684" y="408646"/>
                        <a:pt x="16113" y="394744"/>
                        <a:pt x="15925" y="391079"/>
                      </a:cubicBezTo>
                      <a:cubicBezTo>
                        <a:pt x="15480" y="382002"/>
                        <a:pt x="18842" y="375526"/>
                        <a:pt x="17565" y="366344"/>
                      </a:cubicBezTo>
                      <a:cubicBezTo>
                        <a:pt x="15492" y="351423"/>
                        <a:pt x="4003" y="335999"/>
                        <a:pt x="4050" y="320985"/>
                      </a:cubicBezTo>
                      <a:cubicBezTo>
                        <a:pt x="4097" y="310866"/>
                        <a:pt x="15621" y="303488"/>
                        <a:pt x="19017" y="295548"/>
                      </a:cubicBezTo>
                      <a:cubicBezTo>
                        <a:pt x="19685" y="294013"/>
                        <a:pt x="24323" y="296531"/>
                        <a:pt x="21840" y="293123"/>
                      </a:cubicBezTo>
                      <a:cubicBezTo>
                        <a:pt x="20317" y="291051"/>
                        <a:pt x="16816" y="292350"/>
                        <a:pt x="14895" y="291894"/>
                      </a:cubicBezTo>
                      <a:cubicBezTo>
                        <a:pt x="7599" y="290172"/>
                        <a:pt x="1134" y="291144"/>
                        <a:pt x="302" y="281892"/>
                      </a:cubicBezTo>
                      <a:cubicBezTo>
                        <a:pt x="80" y="279386"/>
                        <a:pt x="1708" y="275076"/>
                        <a:pt x="1708" y="272054"/>
                      </a:cubicBezTo>
                      <a:cubicBezTo>
                        <a:pt x="1696" y="268330"/>
                        <a:pt x="-494" y="264114"/>
                        <a:pt x="103" y="260378"/>
                      </a:cubicBezTo>
                      <a:cubicBezTo>
                        <a:pt x="1087" y="254218"/>
                        <a:pt x="6767" y="252168"/>
                        <a:pt x="8266" y="247905"/>
                      </a:cubicBezTo>
                      <a:cubicBezTo>
                        <a:pt x="12553" y="247671"/>
                        <a:pt x="16851" y="247425"/>
                        <a:pt x="21149" y="247179"/>
                      </a:cubicBezTo>
                      <a:cubicBezTo>
                        <a:pt x="18162" y="242916"/>
                        <a:pt x="14848" y="238489"/>
                        <a:pt x="11194" y="235561"/>
                      </a:cubicBezTo>
                      <a:cubicBezTo>
                        <a:pt x="14321" y="232809"/>
                        <a:pt x="17659" y="232598"/>
                        <a:pt x="21067" y="229366"/>
                      </a:cubicBezTo>
                      <a:cubicBezTo>
                        <a:pt x="23971" y="226614"/>
                        <a:pt x="22988" y="225899"/>
                        <a:pt x="25236" y="222866"/>
                      </a:cubicBezTo>
                      <a:cubicBezTo>
                        <a:pt x="29780" y="216776"/>
                        <a:pt x="32310" y="211517"/>
                        <a:pt x="33095" y="203085"/>
                      </a:cubicBezTo>
                      <a:cubicBezTo>
                        <a:pt x="33329" y="200591"/>
                        <a:pt x="32392" y="196538"/>
                        <a:pt x="32732" y="194817"/>
                      </a:cubicBezTo>
                      <a:cubicBezTo>
                        <a:pt x="32931" y="193833"/>
                        <a:pt x="32076" y="192580"/>
                        <a:pt x="32357" y="191245"/>
                      </a:cubicBezTo>
                      <a:cubicBezTo>
                        <a:pt x="32790" y="189172"/>
                        <a:pt x="35367" y="190882"/>
                        <a:pt x="35870" y="189687"/>
                      </a:cubicBezTo>
                      <a:cubicBezTo>
                        <a:pt x="37463" y="185940"/>
                        <a:pt x="43436" y="174720"/>
                        <a:pt x="40941" y="170422"/>
                      </a:cubicBezTo>
                      <a:cubicBezTo>
                        <a:pt x="46832" y="168068"/>
                        <a:pt x="44759" y="171991"/>
                        <a:pt x="47570" y="174380"/>
                      </a:cubicBezTo>
                      <a:cubicBezTo>
                        <a:pt x="54011" y="179850"/>
                        <a:pt x="60195" y="183023"/>
                        <a:pt x="69049" y="182180"/>
                      </a:cubicBezTo>
                      <a:cubicBezTo>
                        <a:pt x="77399" y="181384"/>
                        <a:pt x="84274" y="180962"/>
                        <a:pt x="90434" y="188926"/>
                      </a:cubicBezTo>
                      <a:cubicBezTo>
                        <a:pt x="91535" y="190355"/>
                        <a:pt x="91746" y="195508"/>
                        <a:pt x="92402" y="195976"/>
                      </a:cubicBezTo>
                      <a:cubicBezTo>
                        <a:pt x="98281" y="200122"/>
                        <a:pt x="93725" y="193353"/>
                        <a:pt x="100717" y="191163"/>
                      </a:cubicBezTo>
                      <a:cubicBezTo>
                        <a:pt x="105858" y="189558"/>
                        <a:pt x="108646" y="195004"/>
                        <a:pt x="115977" y="191889"/>
                      </a:cubicBezTo>
                      <a:cubicBezTo>
                        <a:pt x="118729" y="190718"/>
                        <a:pt x="121681" y="187357"/>
                        <a:pt x="124550" y="185810"/>
                      </a:cubicBezTo>
                      <a:cubicBezTo>
                        <a:pt x="126189" y="184921"/>
                        <a:pt x="134095" y="182672"/>
                        <a:pt x="135020" y="181513"/>
                      </a:cubicBezTo>
                      <a:cubicBezTo>
                        <a:pt x="136695" y="179357"/>
                        <a:pt x="135067" y="175844"/>
                        <a:pt x="135383" y="174685"/>
                      </a:cubicBezTo>
                      <a:cubicBezTo>
                        <a:pt x="135723" y="173432"/>
                        <a:pt x="134493" y="171335"/>
                        <a:pt x="135172" y="170047"/>
                      </a:cubicBezTo>
                      <a:cubicBezTo>
                        <a:pt x="136133" y="168255"/>
                        <a:pt x="141016" y="168466"/>
                        <a:pt x="141309" y="167072"/>
                      </a:cubicBezTo>
                      <a:cubicBezTo>
                        <a:pt x="141988" y="163863"/>
                        <a:pt x="133884" y="161146"/>
                        <a:pt x="136179" y="156661"/>
                      </a:cubicBezTo>
                      <a:cubicBezTo>
                        <a:pt x="137374" y="154354"/>
                        <a:pt x="147305" y="156532"/>
                        <a:pt x="149648" y="156169"/>
                      </a:cubicBezTo>
                      <a:cubicBezTo>
                        <a:pt x="154602" y="155408"/>
                        <a:pt x="156745" y="152117"/>
                        <a:pt x="160563" y="150676"/>
                      </a:cubicBezTo>
                      <a:cubicBezTo>
                        <a:pt x="167004" y="148240"/>
                        <a:pt x="179090" y="144036"/>
                        <a:pt x="185696" y="147807"/>
                      </a:cubicBezTo>
                      <a:cubicBezTo>
                        <a:pt x="181960" y="137770"/>
                        <a:pt x="193215" y="140475"/>
                        <a:pt x="197220" y="138660"/>
                      </a:cubicBezTo>
                      <a:cubicBezTo>
                        <a:pt x="197864" y="138367"/>
                        <a:pt x="203802" y="134128"/>
                        <a:pt x="204774" y="133449"/>
                      </a:cubicBezTo>
                      <a:cubicBezTo>
                        <a:pt x="207713" y="131364"/>
                        <a:pt x="209095" y="130591"/>
                        <a:pt x="211356" y="127440"/>
                      </a:cubicBezTo>
                      <a:cubicBezTo>
                        <a:pt x="215900" y="121104"/>
                        <a:pt x="213183" y="118352"/>
                        <a:pt x="214038" y="111911"/>
                      </a:cubicBezTo>
                      <a:cubicBezTo>
                        <a:pt x="215045" y="104357"/>
                        <a:pt x="222306" y="99333"/>
                        <a:pt x="223782" y="92177"/>
                      </a:cubicBezTo>
                      <a:cubicBezTo>
                        <a:pt x="225866" y="82011"/>
                        <a:pt x="220655" y="80290"/>
                        <a:pt x="233947" y="75640"/>
                      </a:cubicBezTo>
                      <a:cubicBezTo>
                        <a:pt x="242813" y="72548"/>
                        <a:pt x="254524" y="76858"/>
                        <a:pt x="262570" y="72993"/>
                      </a:cubicBezTo>
                      <a:cubicBezTo>
                        <a:pt x="270042" y="69410"/>
                        <a:pt x="265756" y="64538"/>
                        <a:pt x="268660" y="59502"/>
                      </a:cubicBezTo>
                      <a:cubicBezTo>
                        <a:pt x="270745" y="55871"/>
                        <a:pt x="274258" y="57054"/>
                        <a:pt x="275207" y="53213"/>
                      </a:cubicBezTo>
                      <a:cubicBezTo>
                        <a:pt x="282855" y="60474"/>
                        <a:pt x="298173" y="67548"/>
                        <a:pt x="308597" y="67068"/>
                      </a:cubicBezTo>
                      <a:cubicBezTo>
                        <a:pt x="312649" y="66880"/>
                        <a:pt x="317509" y="67384"/>
                        <a:pt x="322826" y="67313"/>
                      </a:cubicBezTo>
                      <a:cubicBezTo>
                        <a:pt x="330298" y="67231"/>
                        <a:pt x="337325" y="62887"/>
                        <a:pt x="344598" y="67243"/>
                      </a:cubicBezTo>
                      <a:cubicBezTo>
                        <a:pt x="348638" y="69667"/>
                        <a:pt x="349821" y="76120"/>
                        <a:pt x="355009" y="76378"/>
                      </a:cubicBezTo>
                      <a:cubicBezTo>
                        <a:pt x="358909" y="76577"/>
                        <a:pt x="364835" y="72548"/>
                        <a:pt x="367506" y="72209"/>
                      </a:cubicBezTo>
                      <a:cubicBezTo>
                        <a:pt x="367107" y="72256"/>
                        <a:pt x="368923" y="74457"/>
                        <a:pt x="369660" y="74586"/>
                      </a:cubicBezTo>
                      <a:cubicBezTo>
                        <a:pt x="370105" y="74656"/>
                        <a:pt x="370902" y="72455"/>
                        <a:pt x="372260" y="72794"/>
                      </a:cubicBezTo>
                      <a:cubicBezTo>
                        <a:pt x="373677" y="73146"/>
                        <a:pt x="378315" y="73591"/>
                        <a:pt x="379240" y="74481"/>
                      </a:cubicBezTo>
                      <a:cubicBezTo>
                        <a:pt x="381548" y="76683"/>
                        <a:pt x="380213" y="80325"/>
                        <a:pt x="381993" y="82995"/>
                      </a:cubicBezTo>
                      <a:cubicBezTo>
                        <a:pt x="382649" y="83967"/>
                        <a:pt x="387474" y="86907"/>
                        <a:pt x="388902" y="87914"/>
                      </a:cubicBezTo>
                      <a:cubicBezTo>
                        <a:pt x="395520" y="92564"/>
                        <a:pt x="394711" y="92224"/>
                        <a:pt x="402382" y="86801"/>
                      </a:cubicBezTo>
                      <a:cubicBezTo>
                        <a:pt x="403554" y="85982"/>
                        <a:pt x="405509" y="87551"/>
                        <a:pt x="407032" y="86520"/>
                      </a:cubicBezTo>
                      <a:cubicBezTo>
                        <a:pt x="407641" y="86110"/>
                        <a:pt x="405884" y="82702"/>
                        <a:pt x="407009" y="81789"/>
                      </a:cubicBezTo>
                      <a:cubicBezTo>
                        <a:pt x="409772" y="79552"/>
                        <a:pt x="413965" y="84307"/>
                        <a:pt x="413052" y="78885"/>
                      </a:cubicBezTo>
                      <a:cubicBezTo>
                        <a:pt x="417783" y="79470"/>
                        <a:pt x="424400" y="75957"/>
                        <a:pt x="427000" y="73146"/>
                      </a:cubicBezTo>
                      <a:cubicBezTo>
                        <a:pt x="427117" y="72174"/>
                        <a:pt x="426333" y="72513"/>
                        <a:pt x="426274" y="71916"/>
                      </a:cubicBezTo>
                      <a:cubicBezTo>
                        <a:pt x="428956" y="70733"/>
                        <a:pt x="432118" y="71471"/>
                        <a:pt x="434777" y="72923"/>
                      </a:cubicBezTo>
                      <a:cubicBezTo>
                        <a:pt x="433886" y="67267"/>
                        <a:pt x="436533" y="67618"/>
                        <a:pt x="439766" y="71225"/>
                      </a:cubicBezTo>
                      <a:cubicBezTo>
                        <a:pt x="439438" y="70733"/>
                        <a:pt x="438712" y="68426"/>
                        <a:pt x="438290" y="67665"/>
                      </a:cubicBezTo>
                      <a:cubicBezTo>
                        <a:pt x="448573" y="66904"/>
                        <a:pt x="449053" y="84213"/>
                        <a:pt x="460718" y="80828"/>
                      </a:cubicBezTo>
                      <a:cubicBezTo>
                        <a:pt x="472687" y="77362"/>
                        <a:pt x="461502" y="68637"/>
                        <a:pt x="463891" y="61680"/>
                      </a:cubicBezTo>
                      <a:cubicBezTo>
                        <a:pt x="467147" y="52170"/>
                        <a:pt x="479854" y="51690"/>
                        <a:pt x="487877" y="52018"/>
                      </a:cubicBezTo>
                      <a:cubicBezTo>
                        <a:pt x="493065" y="52241"/>
                        <a:pt x="492140" y="53611"/>
                        <a:pt x="496719" y="54993"/>
                      </a:cubicBezTo>
                      <a:cubicBezTo>
                        <a:pt x="501251" y="56375"/>
                        <a:pt x="503430" y="55520"/>
                        <a:pt x="507224" y="51725"/>
                      </a:cubicBezTo>
                      <a:cubicBezTo>
                        <a:pt x="509332" y="49629"/>
                        <a:pt x="511241" y="47849"/>
                        <a:pt x="510761" y="43797"/>
                      </a:cubicBezTo>
                      <a:cubicBezTo>
                        <a:pt x="510128" y="38608"/>
                        <a:pt x="503301" y="36711"/>
                        <a:pt x="505292" y="31008"/>
                      </a:cubicBezTo>
                      <a:cubicBezTo>
                        <a:pt x="507400" y="32050"/>
                        <a:pt x="507985" y="31078"/>
                        <a:pt x="509953" y="31418"/>
                      </a:cubicBezTo>
                      <a:cubicBezTo>
                        <a:pt x="509976" y="28455"/>
                        <a:pt x="513935" y="26019"/>
                        <a:pt x="516816" y="23138"/>
                      </a:cubicBezTo>
                      <a:cubicBezTo>
                        <a:pt x="520610" y="19331"/>
                        <a:pt x="523737" y="15185"/>
                        <a:pt x="526712" y="11075"/>
                      </a:cubicBezTo>
                      <a:cubicBezTo>
                        <a:pt x="531853" y="3954"/>
                        <a:pt x="531596" y="2853"/>
                        <a:pt x="541152" y="405"/>
                      </a:cubicBezTo>
                      <a:cubicBezTo>
                        <a:pt x="547781" y="-1293"/>
                        <a:pt x="553438" y="2525"/>
                        <a:pt x="560945" y="8475"/>
                      </a:cubicBezTo>
                      <a:cubicBezTo>
                        <a:pt x="567574" y="13733"/>
                        <a:pt x="568101" y="14026"/>
                        <a:pt x="564950" y="22728"/>
                      </a:cubicBezTo>
                      <a:cubicBezTo>
                        <a:pt x="563217" y="27564"/>
                        <a:pt x="559282" y="31828"/>
                        <a:pt x="565442" y="33912"/>
                      </a:cubicBezTo>
                      <a:cubicBezTo>
                        <a:pt x="569447" y="35259"/>
                        <a:pt x="576744" y="26803"/>
                        <a:pt x="579472" y="34111"/>
                      </a:cubicBezTo>
                      <a:cubicBezTo>
                        <a:pt x="580726" y="37461"/>
                        <a:pt x="577329" y="41326"/>
                        <a:pt x="576509" y="43738"/>
                      </a:cubicBezTo>
                      <a:cubicBezTo>
                        <a:pt x="573219" y="53459"/>
                        <a:pt x="574027" y="65346"/>
                        <a:pt x="571954" y="75383"/>
                      </a:cubicBezTo>
                      <a:cubicBezTo>
                        <a:pt x="570291" y="83464"/>
                        <a:pt x="572680" y="97470"/>
                        <a:pt x="578582" y="104006"/>
                      </a:cubicBezTo>
                      <a:cubicBezTo>
                        <a:pt x="589849" y="116455"/>
                        <a:pt x="605683" y="93571"/>
                        <a:pt x="615579" y="89425"/>
                      </a:cubicBezTo>
                      <a:cubicBezTo>
                        <a:pt x="620100" y="87539"/>
                        <a:pt x="623965" y="88125"/>
                        <a:pt x="628450" y="87200"/>
                      </a:cubicBezTo>
                      <a:cubicBezTo>
                        <a:pt x="636227" y="85583"/>
                        <a:pt x="633966" y="85864"/>
                        <a:pt x="638499" y="80196"/>
                      </a:cubicBezTo>
                      <a:cubicBezTo>
                        <a:pt x="644495" y="72712"/>
                        <a:pt x="649297" y="72970"/>
                        <a:pt x="657366" y="68414"/>
                      </a:cubicBezTo>
                      <a:cubicBezTo>
                        <a:pt x="661781" y="65920"/>
                        <a:pt x="663620" y="61727"/>
                        <a:pt x="669218" y="59994"/>
                      </a:cubicBezTo>
                      <a:cubicBezTo>
                        <a:pt x="676584" y="57710"/>
                        <a:pt x="684103" y="62266"/>
                        <a:pt x="692079" y="62254"/>
                      </a:cubicBezTo>
                      <a:cubicBezTo>
                        <a:pt x="692664" y="69176"/>
                        <a:pt x="676596" y="76296"/>
                        <a:pt x="692278" y="74200"/>
                      </a:cubicBezTo>
                      <a:cubicBezTo>
                        <a:pt x="703205" y="72736"/>
                        <a:pt x="713956" y="65744"/>
                        <a:pt x="721404" y="62348"/>
                      </a:cubicBezTo>
                      <a:cubicBezTo>
                        <a:pt x="723196" y="63941"/>
                        <a:pt x="728595" y="65358"/>
                        <a:pt x="732121" y="65440"/>
                      </a:cubicBezTo>
                      <a:cubicBezTo>
                        <a:pt x="742380" y="65674"/>
                        <a:pt x="743773" y="67594"/>
                        <a:pt x="751491" y="74106"/>
                      </a:cubicBezTo>
                      <a:lnTo>
                        <a:pt x="751491" y="74106"/>
                      </a:lnTo>
                      <a:close/>
                    </a:path>
                  </a:pathLst>
                </a:custGeom>
                <a:solidFill>
                  <a:srgbClr val="D6D6D2"/>
                </a:solidFill>
                <a:ln w="8774" cap="rnd">
                  <a:solidFill>
                    <a:srgbClr val="FFFFFF"/>
                  </a:solidFill>
                  <a:prstDash val="solid"/>
                  <a:round/>
                </a:ln>
              </p:spPr>
              <p:txBody>
                <a:bodyPr rtlCol="0" anchor="ctr"/>
                <a:lstStyle/>
                <a:p>
                  <a:endParaRPr lang="en-US"/>
                </a:p>
              </p:txBody>
            </p:sp>
          </p:grpSp>
          <p:grpSp>
            <p:nvGrpSpPr>
              <p:cNvPr id="75" name="Graphic 4">
                <a:extLst>
                  <a:ext uri="{FF2B5EF4-FFF2-40B4-BE49-F238E27FC236}">
                    <a16:creationId xmlns:a16="http://schemas.microsoft.com/office/drawing/2014/main" id="{68A42DE8-19F6-41C7-93E7-B0081066D060}"/>
                  </a:ext>
                </a:extLst>
              </p:cNvPr>
              <p:cNvGrpSpPr/>
              <p:nvPr/>
            </p:nvGrpSpPr>
            <p:grpSpPr>
              <a:xfrm>
                <a:off x="583" y="864813"/>
                <a:ext cx="7135719" cy="2867451"/>
                <a:chOff x="583" y="864813"/>
                <a:chExt cx="7135719" cy="2867451"/>
              </a:xfrm>
              <a:solidFill>
                <a:srgbClr val="D6D6D2"/>
              </a:solidFill>
            </p:grpSpPr>
            <p:sp>
              <p:nvSpPr>
                <p:cNvPr id="76" name="Freeform: Shape 75">
                  <a:extLst>
                    <a:ext uri="{FF2B5EF4-FFF2-40B4-BE49-F238E27FC236}">
                      <a16:creationId xmlns:a16="http://schemas.microsoft.com/office/drawing/2014/main" id="{2855B6F9-1B36-422B-94CC-0B7935A3D693}"/>
                    </a:ext>
                  </a:extLst>
                </p:cNvPr>
                <p:cNvSpPr/>
                <p:nvPr/>
              </p:nvSpPr>
              <p:spPr>
                <a:xfrm>
                  <a:off x="7043956" y="2768580"/>
                  <a:ext cx="13397" cy="5961"/>
                </a:xfrm>
                <a:custGeom>
                  <a:avLst/>
                  <a:gdLst>
                    <a:gd name="connsiteX0" fmla="*/ 0 w 13397"/>
                    <a:gd name="connsiteY0" fmla="*/ 0 h 5961"/>
                    <a:gd name="connsiteX1" fmla="*/ 10657 w 13397"/>
                    <a:gd name="connsiteY1" fmla="*/ 5961 h 5961"/>
                    <a:gd name="connsiteX2" fmla="*/ 13398 w 13397"/>
                    <a:gd name="connsiteY2" fmla="*/ 2975 h 5961"/>
                    <a:gd name="connsiteX3" fmla="*/ 0 w 13397"/>
                    <a:gd name="connsiteY3" fmla="*/ 0 h 5961"/>
                  </a:gdLst>
                  <a:ahLst/>
                  <a:cxnLst>
                    <a:cxn ang="0">
                      <a:pos x="connsiteX0" y="connsiteY0"/>
                    </a:cxn>
                    <a:cxn ang="0">
                      <a:pos x="connsiteX1" y="connsiteY1"/>
                    </a:cxn>
                    <a:cxn ang="0">
                      <a:pos x="connsiteX2" y="connsiteY2"/>
                    </a:cxn>
                    <a:cxn ang="0">
                      <a:pos x="connsiteX3" y="connsiteY3"/>
                    </a:cxn>
                  </a:cxnLst>
                  <a:rect l="l" t="t" r="r" b="b"/>
                  <a:pathLst>
                    <a:path w="13397" h="5961">
                      <a:moveTo>
                        <a:pt x="0" y="0"/>
                      </a:moveTo>
                      <a:cubicBezTo>
                        <a:pt x="2717" y="2975"/>
                        <a:pt x="5328" y="5961"/>
                        <a:pt x="10657" y="5961"/>
                      </a:cubicBezTo>
                      <a:lnTo>
                        <a:pt x="13398" y="2975"/>
                      </a:lnTo>
                      <a:cubicBezTo>
                        <a:pt x="10657" y="0"/>
                        <a:pt x="5328" y="0"/>
                        <a:pt x="0" y="0"/>
                      </a:cubicBezTo>
                    </a:path>
                  </a:pathLst>
                </a:custGeom>
                <a:solidFill>
                  <a:srgbClr val="D6D6D2"/>
                </a:solidFill>
                <a:ln w="11699"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C10959E2-FB45-464F-B233-C95AF33F1BB2}"/>
                    </a:ext>
                  </a:extLst>
                </p:cNvPr>
                <p:cNvSpPr/>
                <p:nvPr/>
              </p:nvSpPr>
              <p:spPr>
                <a:xfrm>
                  <a:off x="6934430" y="2205502"/>
                  <a:ext cx="167662" cy="68524"/>
                </a:xfrm>
                <a:custGeom>
                  <a:avLst/>
                  <a:gdLst>
                    <a:gd name="connsiteX0" fmla="*/ 7648 w 167662"/>
                    <a:gd name="connsiteY0" fmla="*/ 0 h 68524"/>
                    <a:gd name="connsiteX1" fmla="*/ 2038 w 167662"/>
                    <a:gd name="connsiteY1" fmla="*/ 10927 h 68524"/>
                    <a:gd name="connsiteX2" fmla="*/ 2038 w 167662"/>
                    <a:gd name="connsiteY2" fmla="*/ 16384 h 68524"/>
                    <a:gd name="connsiteX3" fmla="*/ 2038 w 167662"/>
                    <a:gd name="connsiteY3" fmla="*/ 30157 h 68524"/>
                    <a:gd name="connsiteX4" fmla="*/ 15822 w 167662"/>
                    <a:gd name="connsiteY4" fmla="*/ 35615 h 68524"/>
                    <a:gd name="connsiteX5" fmla="*/ 29736 w 167662"/>
                    <a:gd name="connsiteY5" fmla="*/ 32886 h 68524"/>
                    <a:gd name="connsiteX6" fmla="*/ 40674 w 167662"/>
                    <a:gd name="connsiteY6" fmla="*/ 30157 h 68524"/>
                    <a:gd name="connsiteX7" fmla="*/ 76535 w 167662"/>
                    <a:gd name="connsiteY7" fmla="*/ 41084 h 68524"/>
                    <a:gd name="connsiteX8" fmla="*/ 40674 w 167662"/>
                    <a:gd name="connsiteY8" fmla="*/ 30157 h 68524"/>
                    <a:gd name="connsiteX9" fmla="*/ 51695 w 167662"/>
                    <a:gd name="connsiteY9" fmla="*/ 27440 h 68524"/>
                    <a:gd name="connsiteX10" fmla="*/ 51695 w 167662"/>
                    <a:gd name="connsiteY10" fmla="*/ 27440 h 68524"/>
                    <a:gd name="connsiteX11" fmla="*/ 76535 w 167662"/>
                    <a:gd name="connsiteY11" fmla="*/ 38355 h 68524"/>
                    <a:gd name="connsiteX12" fmla="*/ 84838 w 167662"/>
                    <a:gd name="connsiteY12" fmla="*/ 49282 h 68524"/>
                    <a:gd name="connsiteX13" fmla="*/ 101352 w 167662"/>
                    <a:gd name="connsiteY13" fmla="*/ 54868 h 68524"/>
                    <a:gd name="connsiteX14" fmla="*/ 98646 w 167662"/>
                    <a:gd name="connsiteY14" fmla="*/ 52140 h 68524"/>
                    <a:gd name="connsiteX15" fmla="*/ 112431 w 167662"/>
                    <a:gd name="connsiteY15" fmla="*/ 63067 h 68524"/>
                    <a:gd name="connsiteX16" fmla="*/ 112431 w 167662"/>
                    <a:gd name="connsiteY16" fmla="*/ 63067 h 68524"/>
                    <a:gd name="connsiteX17" fmla="*/ 109690 w 167662"/>
                    <a:gd name="connsiteY17" fmla="*/ 65795 h 68524"/>
                    <a:gd name="connsiteX18" fmla="*/ 112431 w 167662"/>
                    <a:gd name="connsiteY18" fmla="*/ 68524 h 68524"/>
                    <a:gd name="connsiteX19" fmla="*/ 117982 w 167662"/>
                    <a:gd name="connsiteY19" fmla="*/ 65795 h 68524"/>
                    <a:gd name="connsiteX20" fmla="*/ 137259 w 167662"/>
                    <a:gd name="connsiteY20" fmla="*/ 49294 h 68524"/>
                    <a:gd name="connsiteX21" fmla="*/ 142834 w 167662"/>
                    <a:gd name="connsiteY21" fmla="*/ 52140 h 68524"/>
                    <a:gd name="connsiteX22" fmla="*/ 151126 w 167662"/>
                    <a:gd name="connsiteY22" fmla="*/ 52140 h 68524"/>
                    <a:gd name="connsiteX23" fmla="*/ 167663 w 167662"/>
                    <a:gd name="connsiteY23" fmla="*/ 41096 h 68524"/>
                    <a:gd name="connsiteX24" fmla="*/ 104233 w 167662"/>
                    <a:gd name="connsiteY24" fmla="*/ 19254 h 68524"/>
                    <a:gd name="connsiteX25" fmla="*/ 76559 w 167662"/>
                    <a:gd name="connsiteY25" fmla="*/ 8210 h 68524"/>
                    <a:gd name="connsiteX26" fmla="*/ 73853 w 167662"/>
                    <a:gd name="connsiteY26" fmla="*/ 10927 h 68524"/>
                    <a:gd name="connsiteX27" fmla="*/ 46273 w 167662"/>
                    <a:gd name="connsiteY27" fmla="*/ 19242 h 68524"/>
                    <a:gd name="connsiteX28" fmla="*/ 46273 w 167662"/>
                    <a:gd name="connsiteY28" fmla="*/ 19242 h 68524"/>
                    <a:gd name="connsiteX29" fmla="*/ 21444 w 167662"/>
                    <a:gd name="connsiteY29" fmla="*/ 16384 h 68524"/>
                    <a:gd name="connsiteX30" fmla="*/ 7648 w 167662"/>
                    <a:gd name="connsiteY30" fmla="*/ 0 h 68524"/>
                    <a:gd name="connsiteX31" fmla="*/ 101340 w 167662"/>
                    <a:gd name="connsiteY31" fmla="*/ 54868 h 68524"/>
                    <a:gd name="connsiteX32" fmla="*/ 104198 w 167662"/>
                    <a:gd name="connsiteY32" fmla="*/ 54868 h 68524"/>
                    <a:gd name="connsiteX33" fmla="*/ 101340 w 167662"/>
                    <a:gd name="connsiteY33" fmla="*/ 54868 h 68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67662" h="68524">
                      <a:moveTo>
                        <a:pt x="7648" y="0"/>
                      </a:moveTo>
                      <a:cubicBezTo>
                        <a:pt x="4767" y="5457"/>
                        <a:pt x="4767" y="8210"/>
                        <a:pt x="2038" y="10927"/>
                      </a:cubicBezTo>
                      <a:cubicBezTo>
                        <a:pt x="2038" y="13644"/>
                        <a:pt x="2038" y="16384"/>
                        <a:pt x="2038" y="16384"/>
                      </a:cubicBezTo>
                      <a:cubicBezTo>
                        <a:pt x="-679" y="21971"/>
                        <a:pt x="-679" y="27440"/>
                        <a:pt x="2038" y="30157"/>
                      </a:cubicBezTo>
                      <a:cubicBezTo>
                        <a:pt x="4767" y="35615"/>
                        <a:pt x="10353" y="35615"/>
                        <a:pt x="15822" y="35615"/>
                      </a:cubicBezTo>
                      <a:cubicBezTo>
                        <a:pt x="18656" y="35615"/>
                        <a:pt x="24149" y="35615"/>
                        <a:pt x="29736" y="32886"/>
                      </a:cubicBezTo>
                      <a:cubicBezTo>
                        <a:pt x="32476" y="32886"/>
                        <a:pt x="37934" y="30157"/>
                        <a:pt x="40674" y="30157"/>
                      </a:cubicBezTo>
                      <a:cubicBezTo>
                        <a:pt x="51695" y="30157"/>
                        <a:pt x="65620" y="35615"/>
                        <a:pt x="76535" y="41084"/>
                      </a:cubicBezTo>
                      <a:cubicBezTo>
                        <a:pt x="68337" y="32886"/>
                        <a:pt x="54552" y="30157"/>
                        <a:pt x="40674" y="30157"/>
                      </a:cubicBezTo>
                      <a:cubicBezTo>
                        <a:pt x="43485" y="30157"/>
                        <a:pt x="48978" y="27440"/>
                        <a:pt x="51695" y="27440"/>
                      </a:cubicBezTo>
                      <a:lnTo>
                        <a:pt x="51695" y="27440"/>
                      </a:lnTo>
                      <a:cubicBezTo>
                        <a:pt x="60010" y="27440"/>
                        <a:pt x="68337" y="35626"/>
                        <a:pt x="76535" y="38355"/>
                      </a:cubicBezTo>
                      <a:cubicBezTo>
                        <a:pt x="79369" y="38355"/>
                        <a:pt x="93154" y="43824"/>
                        <a:pt x="84838" y="49282"/>
                      </a:cubicBezTo>
                      <a:cubicBezTo>
                        <a:pt x="90437" y="52128"/>
                        <a:pt x="95894" y="49282"/>
                        <a:pt x="101352" y="54868"/>
                      </a:cubicBezTo>
                      <a:cubicBezTo>
                        <a:pt x="101352" y="54868"/>
                        <a:pt x="101352" y="52140"/>
                        <a:pt x="98646" y="52140"/>
                      </a:cubicBezTo>
                      <a:cubicBezTo>
                        <a:pt x="106973" y="54868"/>
                        <a:pt x="109679" y="57609"/>
                        <a:pt x="112431" y="63067"/>
                      </a:cubicBezTo>
                      <a:lnTo>
                        <a:pt x="112431" y="63067"/>
                      </a:lnTo>
                      <a:lnTo>
                        <a:pt x="109690" y="65795"/>
                      </a:lnTo>
                      <a:cubicBezTo>
                        <a:pt x="112431" y="68524"/>
                        <a:pt x="112431" y="68524"/>
                        <a:pt x="112431" y="68524"/>
                      </a:cubicBezTo>
                      <a:cubicBezTo>
                        <a:pt x="115265" y="68524"/>
                        <a:pt x="115265" y="65795"/>
                        <a:pt x="117982" y="65795"/>
                      </a:cubicBezTo>
                      <a:cubicBezTo>
                        <a:pt x="126309" y="57609"/>
                        <a:pt x="129050" y="49294"/>
                        <a:pt x="137259" y="49294"/>
                      </a:cubicBezTo>
                      <a:cubicBezTo>
                        <a:pt x="140105" y="49294"/>
                        <a:pt x="140105" y="49294"/>
                        <a:pt x="142834" y="52140"/>
                      </a:cubicBezTo>
                      <a:cubicBezTo>
                        <a:pt x="145586" y="52140"/>
                        <a:pt x="148338" y="52140"/>
                        <a:pt x="151126" y="52140"/>
                      </a:cubicBezTo>
                      <a:cubicBezTo>
                        <a:pt x="156619" y="52140"/>
                        <a:pt x="159323" y="49294"/>
                        <a:pt x="167663" y="41096"/>
                      </a:cubicBezTo>
                      <a:cubicBezTo>
                        <a:pt x="145586" y="32898"/>
                        <a:pt x="123486" y="24711"/>
                        <a:pt x="104233" y="19254"/>
                      </a:cubicBezTo>
                      <a:cubicBezTo>
                        <a:pt x="95918" y="13656"/>
                        <a:pt x="87603" y="8210"/>
                        <a:pt x="76559" y="8210"/>
                      </a:cubicBezTo>
                      <a:cubicBezTo>
                        <a:pt x="76559" y="8210"/>
                        <a:pt x="73853" y="8210"/>
                        <a:pt x="73853" y="10927"/>
                      </a:cubicBezTo>
                      <a:cubicBezTo>
                        <a:pt x="65643" y="10927"/>
                        <a:pt x="54576" y="19242"/>
                        <a:pt x="46273" y="19242"/>
                      </a:cubicBezTo>
                      <a:lnTo>
                        <a:pt x="46273" y="19242"/>
                      </a:lnTo>
                      <a:cubicBezTo>
                        <a:pt x="37969" y="16384"/>
                        <a:pt x="29771" y="16384"/>
                        <a:pt x="21444" y="16384"/>
                      </a:cubicBezTo>
                      <a:cubicBezTo>
                        <a:pt x="15811" y="16396"/>
                        <a:pt x="10342" y="2740"/>
                        <a:pt x="7648" y="0"/>
                      </a:cubicBezTo>
                      <a:moveTo>
                        <a:pt x="101340" y="54868"/>
                      </a:moveTo>
                      <a:lnTo>
                        <a:pt x="104198" y="54868"/>
                      </a:lnTo>
                      <a:lnTo>
                        <a:pt x="101340" y="54868"/>
                      </a:lnTo>
                    </a:path>
                  </a:pathLst>
                </a:custGeom>
                <a:solidFill>
                  <a:srgbClr val="D6D6D2"/>
                </a:solidFill>
                <a:ln w="11699"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54E8A12A-AFAB-4692-89CF-65ED5795CF24}"/>
                    </a:ext>
                  </a:extLst>
                </p:cNvPr>
                <p:cNvSpPr/>
                <p:nvPr/>
              </p:nvSpPr>
              <p:spPr>
                <a:xfrm>
                  <a:off x="7029094" y="3041190"/>
                  <a:ext cx="17669" cy="7448"/>
                </a:xfrm>
                <a:custGeom>
                  <a:avLst/>
                  <a:gdLst>
                    <a:gd name="connsiteX0" fmla="*/ 10997 w 17669"/>
                    <a:gd name="connsiteY0" fmla="*/ 0 h 7448"/>
                    <a:gd name="connsiteX1" fmla="*/ 0 w 17669"/>
                    <a:gd name="connsiteY1" fmla="*/ 2495 h 7448"/>
                    <a:gd name="connsiteX2" fmla="*/ 16607 w 17669"/>
                    <a:gd name="connsiteY2" fmla="*/ 7448 h 7448"/>
                    <a:gd name="connsiteX3" fmla="*/ 10997 w 17669"/>
                    <a:gd name="connsiteY3" fmla="*/ 0 h 7448"/>
                  </a:gdLst>
                  <a:ahLst/>
                  <a:cxnLst>
                    <a:cxn ang="0">
                      <a:pos x="connsiteX0" y="connsiteY0"/>
                    </a:cxn>
                    <a:cxn ang="0">
                      <a:pos x="connsiteX1" y="connsiteY1"/>
                    </a:cxn>
                    <a:cxn ang="0">
                      <a:pos x="connsiteX2" y="connsiteY2"/>
                    </a:cxn>
                    <a:cxn ang="0">
                      <a:pos x="connsiteX3" y="connsiteY3"/>
                    </a:cxn>
                  </a:cxnLst>
                  <a:rect l="l" t="t" r="r" b="b"/>
                  <a:pathLst>
                    <a:path w="17669" h="7448">
                      <a:moveTo>
                        <a:pt x="10997" y="0"/>
                      </a:moveTo>
                      <a:cubicBezTo>
                        <a:pt x="8292" y="0"/>
                        <a:pt x="2694" y="0"/>
                        <a:pt x="0" y="2495"/>
                      </a:cubicBezTo>
                      <a:cubicBezTo>
                        <a:pt x="5551" y="4954"/>
                        <a:pt x="10997" y="4954"/>
                        <a:pt x="16607" y="7448"/>
                      </a:cubicBezTo>
                      <a:cubicBezTo>
                        <a:pt x="19324" y="0"/>
                        <a:pt x="16607" y="0"/>
                        <a:pt x="10997" y="0"/>
                      </a:cubicBezTo>
                    </a:path>
                  </a:pathLst>
                </a:custGeom>
                <a:solidFill>
                  <a:srgbClr val="D6D6D2"/>
                </a:solidFill>
                <a:ln w="11699"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C819BEB2-B95E-40B6-BFB7-4FC5FB0466E5}"/>
                    </a:ext>
                  </a:extLst>
                </p:cNvPr>
                <p:cNvSpPr/>
                <p:nvPr/>
              </p:nvSpPr>
              <p:spPr>
                <a:xfrm>
                  <a:off x="6713258" y="3109702"/>
                  <a:ext cx="5960" cy="1499"/>
                </a:xfrm>
                <a:custGeom>
                  <a:avLst/>
                  <a:gdLst>
                    <a:gd name="connsiteX0" fmla="*/ 0 w 5960"/>
                    <a:gd name="connsiteY0" fmla="*/ 0 h 1499"/>
                    <a:gd name="connsiteX1" fmla="*/ 0 w 5960"/>
                    <a:gd name="connsiteY1" fmla="*/ 0 h 1499"/>
                    <a:gd name="connsiteX2" fmla="*/ 5961 w 5960"/>
                    <a:gd name="connsiteY2" fmla="*/ 1499 h 1499"/>
                    <a:gd name="connsiteX3" fmla="*/ 0 w 5960"/>
                    <a:gd name="connsiteY3" fmla="*/ 0 h 1499"/>
                  </a:gdLst>
                  <a:ahLst/>
                  <a:cxnLst>
                    <a:cxn ang="0">
                      <a:pos x="connsiteX0" y="connsiteY0"/>
                    </a:cxn>
                    <a:cxn ang="0">
                      <a:pos x="connsiteX1" y="connsiteY1"/>
                    </a:cxn>
                    <a:cxn ang="0">
                      <a:pos x="connsiteX2" y="connsiteY2"/>
                    </a:cxn>
                    <a:cxn ang="0">
                      <a:pos x="connsiteX3" y="connsiteY3"/>
                    </a:cxn>
                  </a:cxnLst>
                  <a:rect l="l" t="t" r="r" b="b"/>
                  <a:pathLst>
                    <a:path w="5960" h="1499">
                      <a:moveTo>
                        <a:pt x="0" y="0"/>
                      </a:moveTo>
                      <a:lnTo>
                        <a:pt x="0" y="0"/>
                      </a:lnTo>
                      <a:cubicBezTo>
                        <a:pt x="0" y="1499"/>
                        <a:pt x="2974" y="1499"/>
                        <a:pt x="5961" y="1499"/>
                      </a:cubicBezTo>
                      <a:cubicBezTo>
                        <a:pt x="5961" y="0"/>
                        <a:pt x="2974" y="0"/>
                        <a:pt x="0" y="0"/>
                      </a:cubicBezTo>
                    </a:path>
                  </a:pathLst>
                </a:custGeom>
                <a:solidFill>
                  <a:srgbClr val="D6D6D2"/>
                </a:solidFill>
                <a:ln w="11699"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1D19BB12-8283-4C03-A608-C9C247AE933B}"/>
                    </a:ext>
                  </a:extLst>
                </p:cNvPr>
                <p:cNvSpPr/>
                <p:nvPr/>
              </p:nvSpPr>
              <p:spPr>
                <a:xfrm>
                  <a:off x="6821999" y="3093329"/>
                  <a:ext cx="53603" cy="7436"/>
                </a:xfrm>
                <a:custGeom>
                  <a:avLst/>
                  <a:gdLst>
                    <a:gd name="connsiteX0" fmla="*/ 21491 w 53603"/>
                    <a:gd name="connsiteY0" fmla="*/ 0 h 7436"/>
                    <a:gd name="connsiteX1" fmla="*/ 16138 w 53603"/>
                    <a:gd name="connsiteY1" fmla="*/ 0 h 7436"/>
                    <a:gd name="connsiteX2" fmla="*/ 10693 w 53603"/>
                    <a:gd name="connsiteY2" fmla="*/ 2471 h 7436"/>
                    <a:gd name="connsiteX3" fmla="*/ 8057 w 53603"/>
                    <a:gd name="connsiteY3" fmla="*/ 0 h 7436"/>
                    <a:gd name="connsiteX4" fmla="*/ 0 w 53603"/>
                    <a:gd name="connsiteY4" fmla="*/ 0 h 7436"/>
                    <a:gd name="connsiteX5" fmla="*/ 26784 w 53603"/>
                    <a:gd name="connsiteY5" fmla="*/ 7437 h 7436"/>
                    <a:gd name="connsiteX6" fmla="*/ 29525 w 53603"/>
                    <a:gd name="connsiteY6" fmla="*/ 7437 h 7436"/>
                    <a:gd name="connsiteX7" fmla="*/ 37488 w 53603"/>
                    <a:gd name="connsiteY7" fmla="*/ 4942 h 7436"/>
                    <a:gd name="connsiteX8" fmla="*/ 53604 w 53603"/>
                    <a:gd name="connsiteY8" fmla="*/ 2471 h 7436"/>
                    <a:gd name="connsiteX9" fmla="*/ 24067 w 53603"/>
                    <a:gd name="connsiteY9" fmla="*/ 0 h 7436"/>
                    <a:gd name="connsiteX10" fmla="*/ 21491 w 53603"/>
                    <a:gd name="connsiteY10" fmla="*/ 0 h 7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603" h="7436">
                      <a:moveTo>
                        <a:pt x="21491" y="0"/>
                      </a:moveTo>
                      <a:cubicBezTo>
                        <a:pt x="21491" y="0"/>
                        <a:pt x="18774" y="0"/>
                        <a:pt x="16138" y="0"/>
                      </a:cubicBezTo>
                      <a:cubicBezTo>
                        <a:pt x="13434" y="0"/>
                        <a:pt x="10693" y="2471"/>
                        <a:pt x="10693" y="2471"/>
                      </a:cubicBezTo>
                      <a:cubicBezTo>
                        <a:pt x="8057" y="2471"/>
                        <a:pt x="8057" y="0"/>
                        <a:pt x="8057" y="0"/>
                      </a:cubicBezTo>
                      <a:cubicBezTo>
                        <a:pt x="5340" y="0"/>
                        <a:pt x="2729" y="0"/>
                        <a:pt x="0" y="0"/>
                      </a:cubicBezTo>
                      <a:cubicBezTo>
                        <a:pt x="8057" y="2471"/>
                        <a:pt x="18762" y="7437"/>
                        <a:pt x="26784" y="7437"/>
                      </a:cubicBezTo>
                      <a:lnTo>
                        <a:pt x="29525" y="7437"/>
                      </a:lnTo>
                      <a:cubicBezTo>
                        <a:pt x="32148" y="4942"/>
                        <a:pt x="34865" y="4942"/>
                        <a:pt x="37488" y="4942"/>
                      </a:cubicBezTo>
                      <a:cubicBezTo>
                        <a:pt x="42958" y="2471"/>
                        <a:pt x="48286" y="4942"/>
                        <a:pt x="53604" y="2471"/>
                      </a:cubicBezTo>
                      <a:cubicBezTo>
                        <a:pt x="42958" y="2471"/>
                        <a:pt x="34865" y="2471"/>
                        <a:pt x="24067" y="0"/>
                      </a:cubicBezTo>
                      <a:cubicBezTo>
                        <a:pt x="24079" y="0"/>
                        <a:pt x="24079" y="0"/>
                        <a:pt x="21491" y="0"/>
                      </a:cubicBezTo>
                    </a:path>
                  </a:pathLst>
                </a:custGeom>
                <a:solidFill>
                  <a:srgbClr val="D6D6D2"/>
                </a:solidFill>
                <a:ln w="11699"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0521D766-F4D1-4FEA-9271-F4296798E1B3}"/>
                    </a:ext>
                  </a:extLst>
                </p:cNvPr>
                <p:cNvSpPr/>
                <p:nvPr/>
              </p:nvSpPr>
              <p:spPr>
                <a:xfrm>
                  <a:off x="6754997" y="3073958"/>
                  <a:ext cx="68500" cy="26819"/>
                </a:xfrm>
                <a:custGeom>
                  <a:avLst/>
                  <a:gdLst>
                    <a:gd name="connsiteX0" fmla="*/ 57550 w 68500"/>
                    <a:gd name="connsiteY0" fmla="*/ 0 h 26819"/>
                    <a:gd name="connsiteX1" fmla="*/ 52116 w 68500"/>
                    <a:gd name="connsiteY1" fmla="*/ 10681 h 26819"/>
                    <a:gd name="connsiteX2" fmla="*/ 38332 w 68500"/>
                    <a:gd name="connsiteY2" fmla="*/ 18727 h 26819"/>
                    <a:gd name="connsiteX3" fmla="*/ 30122 w 68500"/>
                    <a:gd name="connsiteY3" fmla="*/ 21479 h 26819"/>
                    <a:gd name="connsiteX4" fmla="*/ 27382 w 68500"/>
                    <a:gd name="connsiteY4" fmla="*/ 21479 h 26819"/>
                    <a:gd name="connsiteX5" fmla="*/ 27382 w 68500"/>
                    <a:gd name="connsiteY5" fmla="*/ 21479 h 26819"/>
                    <a:gd name="connsiteX6" fmla="*/ 24688 w 68500"/>
                    <a:gd name="connsiteY6" fmla="*/ 21479 h 26819"/>
                    <a:gd name="connsiteX7" fmla="*/ 21948 w 68500"/>
                    <a:gd name="connsiteY7" fmla="*/ 21479 h 26819"/>
                    <a:gd name="connsiteX8" fmla="*/ 19219 w 68500"/>
                    <a:gd name="connsiteY8" fmla="*/ 21479 h 26819"/>
                    <a:gd name="connsiteX9" fmla="*/ 19219 w 68500"/>
                    <a:gd name="connsiteY9" fmla="*/ 21479 h 26819"/>
                    <a:gd name="connsiteX10" fmla="*/ 13667 w 68500"/>
                    <a:gd name="connsiteY10" fmla="*/ 26819 h 26819"/>
                    <a:gd name="connsiteX11" fmla="*/ 10904 w 68500"/>
                    <a:gd name="connsiteY11" fmla="*/ 26819 h 26819"/>
                    <a:gd name="connsiteX12" fmla="*/ 8198 w 68500"/>
                    <a:gd name="connsiteY12" fmla="*/ 26819 h 26819"/>
                    <a:gd name="connsiteX13" fmla="*/ 5470 w 68500"/>
                    <a:gd name="connsiteY13" fmla="*/ 26819 h 26819"/>
                    <a:gd name="connsiteX14" fmla="*/ 0 w 68500"/>
                    <a:gd name="connsiteY14" fmla="*/ 26819 h 26819"/>
                    <a:gd name="connsiteX15" fmla="*/ 16408 w 68500"/>
                    <a:gd name="connsiteY15" fmla="*/ 26819 h 26819"/>
                    <a:gd name="connsiteX16" fmla="*/ 35626 w 68500"/>
                    <a:gd name="connsiteY16" fmla="*/ 26819 h 26819"/>
                    <a:gd name="connsiteX17" fmla="*/ 52140 w 68500"/>
                    <a:gd name="connsiteY17" fmla="*/ 18727 h 26819"/>
                    <a:gd name="connsiteX18" fmla="*/ 52140 w 68500"/>
                    <a:gd name="connsiteY18" fmla="*/ 18727 h 26819"/>
                    <a:gd name="connsiteX19" fmla="*/ 54857 w 68500"/>
                    <a:gd name="connsiteY19" fmla="*/ 18727 h 26819"/>
                    <a:gd name="connsiteX20" fmla="*/ 54857 w 68500"/>
                    <a:gd name="connsiteY20" fmla="*/ 18727 h 26819"/>
                    <a:gd name="connsiteX21" fmla="*/ 57563 w 68500"/>
                    <a:gd name="connsiteY21" fmla="*/ 18727 h 26819"/>
                    <a:gd name="connsiteX22" fmla="*/ 60303 w 68500"/>
                    <a:gd name="connsiteY22" fmla="*/ 18727 h 26819"/>
                    <a:gd name="connsiteX23" fmla="*/ 60303 w 68500"/>
                    <a:gd name="connsiteY23" fmla="*/ 21479 h 26819"/>
                    <a:gd name="connsiteX24" fmla="*/ 63043 w 68500"/>
                    <a:gd name="connsiteY24" fmla="*/ 18727 h 26819"/>
                    <a:gd name="connsiteX25" fmla="*/ 57550 w 68500"/>
                    <a:gd name="connsiteY25" fmla="*/ 13410 h 26819"/>
                    <a:gd name="connsiteX26" fmla="*/ 68501 w 68500"/>
                    <a:gd name="connsiteY26" fmla="*/ 8069 h 26819"/>
                    <a:gd name="connsiteX27" fmla="*/ 57550 w 68500"/>
                    <a:gd name="connsiteY27" fmla="*/ 0 h 26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8500" h="26819">
                      <a:moveTo>
                        <a:pt x="57550" y="0"/>
                      </a:moveTo>
                      <a:cubicBezTo>
                        <a:pt x="57550" y="2729"/>
                        <a:pt x="54846" y="8069"/>
                        <a:pt x="52116" y="10681"/>
                      </a:cubicBezTo>
                      <a:cubicBezTo>
                        <a:pt x="49259" y="16139"/>
                        <a:pt x="43801" y="16139"/>
                        <a:pt x="38332" y="18727"/>
                      </a:cubicBezTo>
                      <a:cubicBezTo>
                        <a:pt x="35604" y="21479"/>
                        <a:pt x="32874" y="18727"/>
                        <a:pt x="30122" y="21479"/>
                      </a:cubicBezTo>
                      <a:cubicBezTo>
                        <a:pt x="27382" y="21479"/>
                        <a:pt x="27382" y="21479"/>
                        <a:pt x="27382" y="21479"/>
                      </a:cubicBezTo>
                      <a:lnTo>
                        <a:pt x="27382" y="21479"/>
                      </a:lnTo>
                      <a:cubicBezTo>
                        <a:pt x="24688" y="21479"/>
                        <a:pt x="24688" y="21479"/>
                        <a:pt x="24688" y="21479"/>
                      </a:cubicBezTo>
                      <a:cubicBezTo>
                        <a:pt x="24688" y="21479"/>
                        <a:pt x="24688" y="21479"/>
                        <a:pt x="21948" y="21479"/>
                      </a:cubicBezTo>
                      <a:cubicBezTo>
                        <a:pt x="21948" y="21479"/>
                        <a:pt x="21948" y="21479"/>
                        <a:pt x="19219" y="21479"/>
                      </a:cubicBezTo>
                      <a:lnTo>
                        <a:pt x="19219" y="21479"/>
                      </a:lnTo>
                      <a:cubicBezTo>
                        <a:pt x="16408" y="24091"/>
                        <a:pt x="13667" y="21479"/>
                        <a:pt x="13667" y="26819"/>
                      </a:cubicBezTo>
                      <a:lnTo>
                        <a:pt x="10904" y="26819"/>
                      </a:lnTo>
                      <a:lnTo>
                        <a:pt x="8198" y="26819"/>
                      </a:lnTo>
                      <a:lnTo>
                        <a:pt x="5470" y="26819"/>
                      </a:lnTo>
                      <a:cubicBezTo>
                        <a:pt x="2729" y="26819"/>
                        <a:pt x="2729" y="26819"/>
                        <a:pt x="0" y="26819"/>
                      </a:cubicBezTo>
                      <a:cubicBezTo>
                        <a:pt x="5470" y="26819"/>
                        <a:pt x="10915" y="26819"/>
                        <a:pt x="16408" y="26819"/>
                      </a:cubicBezTo>
                      <a:cubicBezTo>
                        <a:pt x="21959" y="26819"/>
                        <a:pt x="30146" y="26819"/>
                        <a:pt x="35626" y="26819"/>
                      </a:cubicBezTo>
                      <a:cubicBezTo>
                        <a:pt x="41084" y="24091"/>
                        <a:pt x="46565" y="21479"/>
                        <a:pt x="52140" y="18727"/>
                      </a:cubicBezTo>
                      <a:lnTo>
                        <a:pt x="52140" y="18727"/>
                      </a:lnTo>
                      <a:cubicBezTo>
                        <a:pt x="54857" y="18727"/>
                        <a:pt x="54857" y="18727"/>
                        <a:pt x="54857" y="18727"/>
                      </a:cubicBezTo>
                      <a:lnTo>
                        <a:pt x="54857" y="18727"/>
                      </a:lnTo>
                      <a:cubicBezTo>
                        <a:pt x="57563" y="18727"/>
                        <a:pt x="57563" y="18727"/>
                        <a:pt x="57563" y="18727"/>
                      </a:cubicBezTo>
                      <a:lnTo>
                        <a:pt x="60303" y="18727"/>
                      </a:lnTo>
                      <a:lnTo>
                        <a:pt x="60303" y="21479"/>
                      </a:lnTo>
                      <a:cubicBezTo>
                        <a:pt x="63043" y="21479"/>
                        <a:pt x="63043" y="18727"/>
                        <a:pt x="63043" y="18727"/>
                      </a:cubicBezTo>
                      <a:lnTo>
                        <a:pt x="57550" y="13410"/>
                      </a:lnTo>
                      <a:cubicBezTo>
                        <a:pt x="63043" y="13410"/>
                        <a:pt x="68501" y="10681"/>
                        <a:pt x="68501" y="8069"/>
                      </a:cubicBezTo>
                      <a:cubicBezTo>
                        <a:pt x="68501" y="2729"/>
                        <a:pt x="63043" y="0"/>
                        <a:pt x="57550" y="0"/>
                      </a:cubicBezTo>
                    </a:path>
                  </a:pathLst>
                </a:custGeom>
                <a:solidFill>
                  <a:srgbClr val="D6D6D2"/>
                </a:solidFill>
                <a:ln w="11699"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DAD01094-62A5-487F-9904-A1663BAF3C11}"/>
                    </a:ext>
                  </a:extLst>
                </p:cNvPr>
                <p:cNvSpPr/>
                <p:nvPr/>
              </p:nvSpPr>
              <p:spPr>
                <a:xfrm>
                  <a:off x="6708807" y="3109702"/>
                  <a:ext cx="8947" cy="7460"/>
                </a:xfrm>
                <a:custGeom>
                  <a:avLst/>
                  <a:gdLst>
                    <a:gd name="connsiteX0" fmla="*/ 0 w 8947"/>
                    <a:gd name="connsiteY0" fmla="*/ 0 h 7460"/>
                    <a:gd name="connsiteX1" fmla="*/ 2986 w 8947"/>
                    <a:gd name="connsiteY1" fmla="*/ 7460 h 7460"/>
                    <a:gd name="connsiteX2" fmla="*/ 8947 w 8947"/>
                    <a:gd name="connsiteY2" fmla="*/ 4977 h 7460"/>
                    <a:gd name="connsiteX3" fmla="*/ 0 w 8947"/>
                    <a:gd name="connsiteY3" fmla="*/ 0 h 7460"/>
                  </a:gdLst>
                  <a:ahLst/>
                  <a:cxnLst>
                    <a:cxn ang="0">
                      <a:pos x="connsiteX0" y="connsiteY0"/>
                    </a:cxn>
                    <a:cxn ang="0">
                      <a:pos x="connsiteX1" y="connsiteY1"/>
                    </a:cxn>
                    <a:cxn ang="0">
                      <a:pos x="connsiteX2" y="connsiteY2"/>
                    </a:cxn>
                    <a:cxn ang="0">
                      <a:pos x="connsiteX3" y="connsiteY3"/>
                    </a:cxn>
                  </a:cxnLst>
                  <a:rect l="l" t="t" r="r" b="b"/>
                  <a:pathLst>
                    <a:path w="8947" h="7460">
                      <a:moveTo>
                        <a:pt x="0" y="0"/>
                      </a:moveTo>
                      <a:cubicBezTo>
                        <a:pt x="0" y="2495"/>
                        <a:pt x="0" y="4977"/>
                        <a:pt x="2986" y="7460"/>
                      </a:cubicBezTo>
                      <a:cubicBezTo>
                        <a:pt x="2986" y="7460"/>
                        <a:pt x="5973" y="4977"/>
                        <a:pt x="8947" y="4977"/>
                      </a:cubicBezTo>
                      <a:cubicBezTo>
                        <a:pt x="5973" y="2495"/>
                        <a:pt x="2986" y="2495"/>
                        <a:pt x="0" y="0"/>
                      </a:cubicBezTo>
                    </a:path>
                  </a:pathLst>
                </a:custGeom>
                <a:solidFill>
                  <a:srgbClr val="D6D6D2"/>
                </a:solidFill>
                <a:ln w="11699"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5744B009-A11F-4A01-A9BE-133775B1659B}"/>
                    </a:ext>
                  </a:extLst>
                </p:cNvPr>
                <p:cNvSpPr/>
                <p:nvPr/>
              </p:nvSpPr>
              <p:spPr>
                <a:xfrm>
                  <a:off x="6697590" y="3111201"/>
                  <a:ext cx="6026" cy="8935"/>
                </a:xfrm>
                <a:custGeom>
                  <a:avLst/>
                  <a:gdLst>
                    <a:gd name="connsiteX0" fmla="*/ 3007 w 6026"/>
                    <a:gd name="connsiteY0" fmla="*/ 0 h 8935"/>
                    <a:gd name="connsiteX1" fmla="*/ 3007 w 6026"/>
                    <a:gd name="connsiteY1" fmla="*/ 8936 h 8935"/>
                    <a:gd name="connsiteX2" fmla="*/ 3007 w 6026"/>
                    <a:gd name="connsiteY2" fmla="*/ 2986 h 8935"/>
                    <a:gd name="connsiteX3" fmla="*/ 5631 w 6026"/>
                    <a:gd name="connsiteY3" fmla="*/ 0 h 8935"/>
                    <a:gd name="connsiteX4" fmla="*/ 3007 w 6026"/>
                    <a:gd name="connsiteY4" fmla="*/ 0 h 8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6" h="8935">
                      <a:moveTo>
                        <a:pt x="3007" y="0"/>
                      </a:moveTo>
                      <a:cubicBezTo>
                        <a:pt x="-2204" y="0"/>
                        <a:pt x="407" y="5961"/>
                        <a:pt x="3007" y="8936"/>
                      </a:cubicBezTo>
                      <a:cubicBezTo>
                        <a:pt x="5631" y="5973"/>
                        <a:pt x="8230" y="2986"/>
                        <a:pt x="3007" y="2986"/>
                      </a:cubicBezTo>
                      <a:cubicBezTo>
                        <a:pt x="5631" y="0"/>
                        <a:pt x="5631" y="0"/>
                        <a:pt x="5631" y="0"/>
                      </a:cubicBezTo>
                      <a:cubicBezTo>
                        <a:pt x="3007" y="0"/>
                        <a:pt x="3007" y="0"/>
                        <a:pt x="3007" y="0"/>
                      </a:cubicBezTo>
                    </a:path>
                  </a:pathLst>
                </a:custGeom>
                <a:solidFill>
                  <a:srgbClr val="D6D6D2"/>
                </a:solidFill>
                <a:ln w="11699"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FCD03C71-6BDD-43EA-9571-FC770788635B}"/>
                    </a:ext>
                  </a:extLst>
                </p:cNvPr>
                <p:cNvSpPr/>
                <p:nvPr/>
              </p:nvSpPr>
              <p:spPr>
                <a:xfrm>
                  <a:off x="6667102" y="3103752"/>
                  <a:ext cx="30063" cy="26819"/>
                </a:xfrm>
                <a:custGeom>
                  <a:avLst/>
                  <a:gdLst>
                    <a:gd name="connsiteX0" fmla="*/ 19945 w 30063"/>
                    <a:gd name="connsiteY0" fmla="*/ 0 h 26819"/>
                    <a:gd name="connsiteX1" fmla="*/ 11407 w 30063"/>
                    <a:gd name="connsiteY1" fmla="*/ 2729 h 26819"/>
                    <a:gd name="connsiteX2" fmla="*/ 14265 w 30063"/>
                    <a:gd name="connsiteY2" fmla="*/ 13410 h 26819"/>
                    <a:gd name="connsiteX3" fmla="*/ 14265 w 30063"/>
                    <a:gd name="connsiteY3" fmla="*/ 13410 h 26819"/>
                    <a:gd name="connsiteX4" fmla="*/ 8550 w 30063"/>
                    <a:gd name="connsiteY4" fmla="*/ 10669 h 26819"/>
                    <a:gd name="connsiteX5" fmla="*/ 5681 w 30063"/>
                    <a:gd name="connsiteY5" fmla="*/ 10669 h 26819"/>
                    <a:gd name="connsiteX6" fmla="*/ 0 w 30063"/>
                    <a:gd name="connsiteY6" fmla="*/ 26819 h 26819"/>
                    <a:gd name="connsiteX7" fmla="*/ 5681 w 30063"/>
                    <a:gd name="connsiteY7" fmla="*/ 18738 h 26819"/>
                    <a:gd name="connsiteX8" fmla="*/ 11407 w 30063"/>
                    <a:gd name="connsiteY8" fmla="*/ 24079 h 26819"/>
                    <a:gd name="connsiteX9" fmla="*/ 11407 w 30063"/>
                    <a:gd name="connsiteY9" fmla="*/ 24079 h 26819"/>
                    <a:gd name="connsiteX10" fmla="*/ 14265 w 30063"/>
                    <a:gd name="connsiteY10" fmla="*/ 18738 h 26819"/>
                    <a:gd name="connsiteX11" fmla="*/ 22803 w 30063"/>
                    <a:gd name="connsiteY11" fmla="*/ 18738 h 26819"/>
                    <a:gd name="connsiteX12" fmla="*/ 25672 w 30063"/>
                    <a:gd name="connsiteY12" fmla="*/ 16150 h 26819"/>
                    <a:gd name="connsiteX13" fmla="*/ 25672 w 30063"/>
                    <a:gd name="connsiteY13" fmla="*/ 16150 h 26819"/>
                    <a:gd name="connsiteX14" fmla="*/ 28495 w 30063"/>
                    <a:gd name="connsiteY14" fmla="*/ 16150 h 26819"/>
                    <a:gd name="connsiteX15" fmla="*/ 28495 w 30063"/>
                    <a:gd name="connsiteY15" fmla="*/ 16150 h 26819"/>
                    <a:gd name="connsiteX16" fmla="*/ 17075 w 30063"/>
                    <a:gd name="connsiteY16" fmla="*/ 8069 h 26819"/>
                    <a:gd name="connsiteX17" fmla="*/ 19945 w 30063"/>
                    <a:gd name="connsiteY17" fmla="*/ 0 h 26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063" h="26819">
                      <a:moveTo>
                        <a:pt x="19945" y="0"/>
                      </a:moveTo>
                      <a:cubicBezTo>
                        <a:pt x="11407" y="2729"/>
                        <a:pt x="11407" y="2729"/>
                        <a:pt x="11407" y="2729"/>
                      </a:cubicBezTo>
                      <a:cubicBezTo>
                        <a:pt x="11407" y="2729"/>
                        <a:pt x="14265" y="10658"/>
                        <a:pt x="14265" y="13410"/>
                      </a:cubicBezTo>
                      <a:lnTo>
                        <a:pt x="14265" y="13410"/>
                      </a:lnTo>
                      <a:cubicBezTo>
                        <a:pt x="11407" y="13410"/>
                        <a:pt x="11407" y="13410"/>
                        <a:pt x="8550" y="10669"/>
                      </a:cubicBezTo>
                      <a:lnTo>
                        <a:pt x="5681" y="10669"/>
                      </a:lnTo>
                      <a:cubicBezTo>
                        <a:pt x="0" y="13410"/>
                        <a:pt x="2858" y="24079"/>
                        <a:pt x="0" y="26819"/>
                      </a:cubicBezTo>
                      <a:cubicBezTo>
                        <a:pt x="2858" y="24079"/>
                        <a:pt x="5681" y="21467"/>
                        <a:pt x="5681" y="18738"/>
                      </a:cubicBezTo>
                      <a:cubicBezTo>
                        <a:pt x="8550" y="21467"/>
                        <a:pt x="8550" y="24079"/>
                        <a:pt x="11407" y="24079"/>
                      </a:cubicBezTo>
                      <a:lnTo>
                        <a:pt x="11407" y="24079"/>
                      </a:lnTo>
                      <a:cubicBezTo>
                        <a:pt x="14265" y="24079"/>
                        <a:pt x="11407" y="21467"/>
                        <a:pt x="14265" y="18738"/>
                      </a:cubicBezTo>
                      <a:cubicBezTo>
                        <a:pt x="17075" y="18738"/>
                        <a:pt x="19933" y="18738"/>
                        <a:pt x="22803" y="18738"/>
                      </a:cubicBezTo>
                      <a:cubicBezTo>
                        <a:pt x="22803" y="18738"/>
                        <a:pt x="22803" y="16150"/>
                        <a:pt x="25672" y="16150"/>
                      </a:cubicBezTo>
                      <a:lnTo>
                        <a:pt x="25672" y="16150"/>
                      </a:lnTo>
                      <a:cubicBezTo>
                        <a:pt x="25672" y="16150"/>
                        <a:pt x="25672" y="16150"/>
                        <a:pt x="28495" y="16150"/>
                      </a:cubicBezTo>
                      <a:lnTo>
                        <a:pt x="28495" y="16150"/>
                      </a:lnTo>
                      <a:cubicBezTo>
                        <a:pt x="34233" y="10669"/>
                        <a:pt x="22803" y="8069"/>
                        <a:pt x="17075" y="8069"/>
                      </a:cubicBezTo>
                      <a:cubicBezTo>
                        <a:pt x="19945" y="2729"/>
                        <a:pt x="25683" y="0"/>
                        <a:pt x="19945" y="0"/>
                      </a:cubicBezTo>
                    </a:path>
                  </a:pathLst>
                </a:custGeom>
                <a:solidFill>
                  <a:srgbClr val="D6D6D2"/>
                </a:solidFill>
                <a:ln w="11699"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E8729844-EF6E-4238-BE27-D68250DFEE32}"/>
                    </a:ext>
                  </a:extLst>
                </p:cNvPr>
                <p:cNvSpPr/>
                <p:nvPr/>
              </p:nvSpPr>
              <p:spPr>
                <a:xfrm>
                  <a:off x="7084185" y="2990537"/>
                  <a:ext cx="52116" cy="50640"/>
                </a:xfrm>
                <a:custGeom>
                  <a:avLst/>
                  <a:gdLst>
                    <a:gd name="connsiteX0" fmla="*/ 52116 w 52116"/>
                    <a:gd name="connsiteY0" fmla="*/ 0 h 50640"/>
                    <a:gd name="connsiteX1" fmla="*/ 30157 w 52116"/>
                    <a:gd name="connsiteY1" fmla="*/ 22451 h 50640"/>
                    <a:gd name="connsiteX2" fmla="*/ 19230 w 52116"/>
                    <a:gd name="connsiteY2" fmla="*/ 22451 h 50640"/>
                    <a:gd name="connsiteX3" fmla="*/ 19230 w 52116"/>
                    <a:gd name="connsiteY3" fmla="*/ 22451 h 50640"/>
                    <a:gd name="connsiteX4" fmla="*/ 10950 w 52116"/>
                    <a:gd name="connsiteY4" fmla="*/ 30907 h 50640"/>
                    <a:gd name="connsiteX5" fmla="*/ 10950 w 52116"/>
                    <a:gd name="connsiteY5" fmla="*/ 36622 h 50640"/>
                    <a:gd name="connsiteX6" fmla="*/ 5458 w 52116"/>
                    <a:gd name="connsiteY6" fmla="*/ 42185 h 50640"/>
                    <a:gd name="connsiteX7" fmla="*/ 5458 w 52116"/>
                    <a:gd name="connsiteY7" fmla="*/ 45043 h 50640"/>
                    <a:gd name="connsiteX8" fmla="*/ 2741 w 52116"/>
                    <a:gd name="connsiteY8" fmla="*/ 47771 h 50640"/>
                    <a:gd name="connsiteX9" fmla="*/ 2741 w 52116"/>
                    <a:gd name="connsiteY9" fmla="*/ 47771 h 50640"/>
                    <a:gd name="connsiteX10" fmla="*/ 0 w 52116"/>
                    <a:gd name="connsiteY10" fmla="*/ 50641 h 50640"/>
                    <a:gd name="connsiteX11" fmla="*/ 52116 w 52116"/>
                    <a:gd name="connsiteY11" fmla="*/ 14030 h 50640"/>
                    <a:gd name="connsiteX12" fmla="*/ 52116 w 52116"/>
                    <a:gd name="connsiteY12" fmla="*/ 0 h 5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16" h="50640">
                      <a:moveTo>
                        <a:pt x="52116" y="0"/>
                      </a:moveTo>
                      <a:cubicBezTo>
                        <a:pt x="38355" y="0"/>
                        <a:pt x="27440" y="8444"/>
                        <a:pt x="30157" y="22451"/>
                      </a:cubicBezTo>
                      <a:cubicBezTo>
                        <a:pt x="27440" y="22451"/>
                        <a:pt x="24688" y="22451"/>
                        <a:pt x="19230" y="22451"/>
                      </a:cubicBezTo>
                      <a:lnTo>
                        <a:pt x="19230" y="22451"/>
                      </a:lnTo>
                      <a:cubicBezTo>
                        <a:pt x="16525" y="22451"/>
                        <a:pt x="10950" y="28166"/>
                        <a:pt x="10950" y="30907"/>
                      </a:cubicBezTo>
                      <a:cubicBezTo>
                        <a:pt x="10950" y="33764"/>
                        <a:pt x="10950" y="33764"/>
                        <a:pt x="10950" y="36622"/>
                      </a:cubicBezTo>
                      <a:cubicBezTo>
                        <a:pt x="8198" y="39339"/>
                        <a:pt x="8198" y="39339"/>
                        <a:pt x="5458" y="42185"/>
                      </a:cubicBezTo>
                      <a:cubicBezTo>
                        <a:pt x="5458" y="45043"/>
                        <a:pt x="5458" y="45043"/>
                        <a:pt x="5458" y="45043"/>
                      </a:cubicBezTo>
                      <a:cubicBezTo>
                        <a:pt x="2741" y="47771"/>
                        <a:pt x="2741" y="47771"/>
                        <a:pt x="2741" y="47771"/>
                      </a:cubicBezTo>
                      <a:lnTo>
                        <a:pt x="2741" y="47771"/>
                      </a:lnTo>
                      <a:cubicBezTo>
                        <a:pt x="0" y="47771"/>
                        <a:pt x="0" y="47771"/>
                        <a:pt x="0" y="50641"/>
                      </a:cubicBezTo>
                      <a:cubicBezTo>
                        <a:pt x="16525" y="36622"/>
                        <a:pt x="35615" y="25320"/>
                        <a:pt x="52116" y="14030"/>
                      </a:cubicBezTo>
                      <a:cubicBezTo>
                        <a:pt x="52116" y="8444"/>
                        <a:pt x="52116" y="5586"/>
                        <a:pt x="52116" y="0"/>
                      </a:cubicBezTo>
                    </a:path>
                  </a:pathLst>
                </a:custGeom>
                <a:solidFill>
                  <a:srgbClr val="D6D6D2"/>
                </a:solidFill>
                <a:ln w="11699"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CA9B0381-8DDE-4725-9356-3C87D44F95E4}"/>
                    </a:ext>
                  </a:extLst>
                </p:cNvPr>
                <p:cNvSpPr/>
                <p:nvPr/>
              </p:nvSpPr>
              <p:spPr>
                <a:xfrm>
                  <a:off x="6365311" y="3094805"/>
                  <a:ext cx="21710" cy="20858"/>
                </a:xfrm>
                <a:custGeom>
                  <a:avLst/>
                  <a:gdLst>
                    <a:gd name="connsiteX0" fmla="*/ 21710 w 21710"/>
                    <a:gd name="connsiteY0" fmla="*/ 0 h 20858"/>
                    <a:gd name="connsiteX1" fmla="*/ 2749 w 21710"/>
                    <a:gd name="connsiteY1" fmla="*/ 20858 h 20858"/>
                    <a:gd name="connsiteX2" fmla="*/ 8207 w 21710"/>
                    <a:gd name="connsiteY2" fmla="*/ 11911 h 20858"/>
                    <a:gd name="connsiteX3" fmla="*/ 10936 w 21710"/>
                    <a:gd name="connsiteY3" fmla="*/ 14885 h 20858"/>
                    <a:gd name="connsiteX4" fmla="*/ 13653 w 21710"/>
                    <a:gd name="connsiteY4" fmla="*/ 14885 h 20858"/>
                    <a:gd name="connsiteX5" fmla="*/ 16276 w 21710"/>
                    <a:gd name="connsiteY5" fmla="*/ 11911 h 20858"/>
                    <a:gd name="connsiteX6" fmla="*/ 18970 w 21710"/>
                    <a:gd name="connsiteY6" fmla="*/ 5961 h 20858"/>
                    <a:gd name="connsiteX7" fmla="*/ 21710 w 21710"/>
                    <a:gd name="connsiteY7" fmla="*/ 0 h 20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710" h="20858">
                      <a:moveTo>
                        <a:pt x="21710" y="0"/>
                      </a:moveTo>
                      <a:cubicBezTo>
                        <a:pt x="16276" y="2986"/>
                        <a:pt x="-8095" y="14885"/>
                        <a:pt x="2749" y="20858"/>
                      </a:cubicBezTo>
                      <a:cubicBezTo>
                        <a:pt x="5455" y="14885"/>
                        <a:pt x="5455" y="11911"/>
                        <a:pt x="8207" y="11911"/>
                      </a:cubicBezTo>
                      <a:lnTo>
                        <a:pt x="10936" y="14885"/>
                      </a:lnTo>
                      <a:cubicBezTo>
                        <a:pt x="10936" y="14885"/>
                        <a:pt x="10936" y="14885"/>
                        <a:pt x="13653" y="14885"/>
                      </a:cubicBezTo>
                      <a:cubicBezTo>
                        <a:pt x="13653" y="14885"/>
                        <a:pt x="16276" y="14885"/>
                        <a:pt x="16276" y="11911"/>
                      </a:cubicBezTo>
                      <a:cubicBezTo>
                        <a:pt x="18970" y="11911"/>
                        <a:pt x="16276" y="8948"/>
                        <a:pt x="18970" y="5961"/>
                      </a:cubicBezTo>
                      <a:cubicBezTo>
                        <a:pt x="18982" y="2986"/>
                        <a:pt x="21710" y="2986"/>
                        <a:pt x="21710" y="0"/>
                      </a:cubicBezTo>
                    </a:path>
                  </a:pathLst>
                </a:custGeom>
                <a:solidFill>
                  <a:srgbClr val="D6D6D2"/>
                </a:solidFill>
                <a:ln w="11699"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F22B19AE-B256-466F-99EE-B62F62945594}"/>
                    </a:ext>
                  </a:extLst>
                </p:cNvPr>
                <p:cNvSpPr/>
                <p:nvPr/>
              </p:nvSpPr>
              <p:spPr>
                <a:xfrm>
                  <a:off x="6711794" y="3094805"/>
                  <a:ext cx="7541" cy="8947"/>
                </a:xfrm>
                <a:custGeom>
                  <a:avLst/>
                  <a:gdLst>
                    <a:gd name="connsiteX0" fmla="*/ 0 w 7541"/>
                    <a:gd name="connsiteY0" fmla="*/ 0 h 8947"/>
                    <a:gd name="connsiteX1" fmla="*/ 0 w 7541"/>
                    <a:gd name="connsiteY1" fmla="*/ 0 h 8947"/>
                    <a:gd name="connsiteX2" fmla="*/ 2986 w 7541"/>
                    <a:gd name="connsiteY2" fmla="*/ 8948 h 8947"/>
                    <a:gd name="connsiteX3" fmla="*/ 0 w 7541"/>
                    <a:gd name="connsiteY3" fmla="*/ 0 h 8947"/>
                  </a:gdLst>
                  <a:ahLst/>
                  <a:cxnLst>
                    <a:cxn ang="0">
                      <a:pos x="connsiteX0" y="connsiteY0"/>
                    </a:cxn>
                    <a:cxn ang="0">
                      <a:pos x="connsiteX1" y="connsiteY1"/>
                    </a:cxn>
                    <a:cxn ang="0">
                      <a:pos x="connsiteX2" y="connsiteY2"/>
                    </a:cxn>
                    <a:cxn ang="0">
                      <a:pos x="connsiteX3" y="connsiteY3"/>
                    </a:cxn>
                  </a:cxnLst>
                  <a:rect l="l" t="t" r="r" b="b"/>
                  <a:pathLst>
                    <a:path w="7541" h="8947">
                      <a:moveTo>
                        <a:pt x="0" y="0"/>
                      </a:moveTo>
                      <a:lnTo>
                        <a:pt x="0" y="0"/>
                      </a:lnTo>
                      <a:cubicBezTo>
                        <a:pt x="0" y="2986"/>
                        <a:pt x="2986" y="5961"/>
                        <a:pt x="2986" y="8948"/>
                      </a:cubicBezTo>
                      <a:cubicBezTo>
                        <a:pt x="11922" y="5973"/>
                        <a:pt x="5961" y="0"/>
                        <a:pt x="0" y="0"/>
                      </a:cubicBezTo>
                    </a:path>
                  </a:pathLst>
                </a:custGeom>
                <a:solidFill>
                  <a:srgbClr val="D6D6D2"/>
                </a:solidFill>
                <a:ln w="11699"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07A2FB53-D0B7-4F6F-9C50-CA07049B5658}"/>
                    </a:ext>
                  </a:extLst>
                </p:cNvPr>
                <p:cNvSpPr/>
                <p:nvPr/>
              </p:nvSpPr>
              <p:spPr>
                <a:xfrm>
                  <a:off x="6994803" y="3057562"/>
                  <a:ext cx="7460" cy="2986"/>
                </a:xfrm>
                <a:custGeom>
                  <a:avLst/>
                  <a:gdLst>
                    <a:gd name="connsiteX0" fmla="*/ 7461 w 7460"/>
                    <a:gd name="connsiteY0" fmla="*/ 0 h 2986"/>
                    <a:gd name="connsiteX1" fmla="*/ 0 w 7460"/>
                    <a:gd name="connsiteY1" fmla="*/ 2986 h 2986"/>
                    <a:gd name="connsiteX2" fmla="*/ 2483 w 7460"/>
                    <a:gd name="connsiteY2" fmla="*/ 2986 h 2986"/>
                    <a:gd name="connsiteX3" fmla="*/ 7461 w 7460"/>
                    <a:gd name="connsiteY3" fmla="*/ 0 h 2986"/>
                  </a:gdLst>
                  <a:ahLst/>
                  <a:cxnLst>
                    <a:cxn ang="0">
                      <a:pos x="connsiteX0" y="connsiteY0"/>
                    </a:cxn>
                    <a:cxn ang="0">
                      <a:pos x="connsiteX1" y="connsiteY1"/>
                    </a:cxn>
                    <a:cxn ang="0">
                      <a:pos x="connsiteX2" y="connsiteY2"/>
                    </a:cxn>
                    <a:cxn ang="0">
                      <a:pos x="connsiteX3" y="connsiteY3"/>
                    </a:cxn>
                  </a:cxnLst>
                  <a:rect l="l" t="t" r="r" b="b"/>
                  <a:pathLst>
                    <a:path w="7460" h="2986">
                      <a:moveTo>
                        <a:pt x="7461" y="0"/>
                      </a:moveTo>
                      <a:cubicBezTo>
                        <a:pt x="4966" y="0"/>
                        <a:pt x="2483" y="2986"/>
                        <a:pt x="0" y="2986"/>
                      </a:cubicBezTo>
                      <a:lnTo>
                        <a:pt x="2483" y="2986"/>
                      </a:lnTo>
                      <a:cubicBezTo>
                        <a:pt x="4966" y="2986"/>
                        <a:pt x="7461" y="2986"/>
                        <a:pt x="7461" y="0"/>
                      </a:cubicBezTo>
                    </a:path>
                  </a:pathLst>
                </a:custGeom>
                <a:solidFill>
                  <a:srgbClr val="D6D6D2"/>
                </a:solidFill>
                <a:ln w="11699"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552BC656-3F7F-43D5-935D-71BB79959FAF}"/>
                    </a:ext>
                  </a:extLst>
                </p:cNvPr>
                <p:cNvSpPr/>
                <p:nvPr/>
              </p:nvSpPr>
              <p:spPr>
                <a:xfrm>
                  <a:off x="6483899" y="3100778"/>
                  <a:ext cx="10917" cy="10423"/>
                </a:xfrm>
                <a:custGeom>
                  <a:avLst/>
                  <a:gdLst>
                    <a:gd name="connsiteX0" fmla="*/ 5294 w 10917"/>
                    <a:gd name="connsiteY0" fmla="*/ 0 h 10423"/>
                    <a:gd name="connsiteX1" fmla="*/ 0 w 10917"/>
                    <a:gd name="connsiteY1" fmla="*/ 2612 h 10423"/>
                    <a:gd name="connsiteX2" fmla="*/ 5294 w 10917"/>
                    <a:gd name="connsiteY2" fmla="*/ 10423 h 10423"/>
                    <a:gd name="connsiteX3" fmla="*/ 8011 w 10917"/>
                    <a:gd name="connsiteY3" fmla="*/ 0 h 10423"/>
                    <a:gd name="connsiteX4" fmla="*/ 5294 w 10917"/>
                    <a:gd name="connsiteY4" fmla="*/ 0 h 10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17" h="10423">
                      <a:moveTo>
                        <a:pt x="5294" y="0"/>
                      </a:moveTo>
                      <a:cubicBezTo>
                        <a:pt x="2706" y="0"/>
                        <a:pt x="2706" y="2612"/>
                        <a:pt x="0" y="2612"/>
                      </a:cubicBezTo>
                      <a:cubicBezTo>
                        <a:pt x="0" y="5200"/>
                        <a:pt x="2706" y="7823"/>
                        <a:pt x="5294" y="10423"/>
                      </a:cubicBezTo>
                      <a:cubicBezTo>
                        <a:pt x="10634" y="7811"/>
                        <a:pt x="13375" y="2612"/>
                        <a:pt x="8011" y="0"/>
                      </a:cubicBezTo>
                      <a:lnTo>
                        <a:pt x="5294" y="0"/>
                      </a:lnTo>
                    </a:path>
                  </a:pathLst>
                </a:custGeom>
                <a:solidFill>
                  <a:srgbClr val="D6D6D2"/>
                </a:solidFill>
                <a:ln w="11699"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E80AE55C-AF8B-46B4-A6D6-9C84DDB7BE4F}"/>
                    </a:ext>
                  </a:extLst>
                </p:cNvPr>
                <p:cNvSpPr/>
                <p:nvPr/>
              </p:nvSpPr>
              <p:spPr>
                <a:xfrm>
                  <a:off x="6899733" y="3076933"/>
                  <a:ext cx="13136" cy="7448"/>
                </a:xfrm>
                <a:custGeom>
                  <a:avLst/>
                  <a:gdLst>
                    <a:gd name="connsiteX0" fmla="*/ 4212 w 13136"/>
                    <a:gd name="connsiteY0" fmla="*/ 0 h 7448"/>
                    <a:gd name="connsiteX1" fmla="*/ 1237 w 13136"/>
                    <a:gd name="connsiteY1" fmla="*/ 7449 h 7448"/>
                    <a:gd name="connsiteX2" fmla="*/ 13137 w 13136"/>
                    <a:gd name="connsiteY2" fmla="*/ 2495 h 7448"/>
                    <a:gd name="connsiteX3" fmla="*/ 4212 w 13136"/>
                    <a:gd name="connsiteY3" fmla="*/ 0 h 7448"/>
                  </a:gdLst>
                  <a:ahLst/>
                  <a:cxnLst>
                    <a:cxn ang="0">
                      <a:pos x="connsiteX0" y="connsiteY0"/>
                    </a:cxn>
                    <a:cxn ang="0">
                      <a:pos x="connsiteX1" y="connsiteY1"/>
                    </a:cxn>
                    <a:cxn ang="0">
                      <a:pos x="connsiteX2" y="connsiteY2"/>
                    </a:cxn>
                    <a:cxn ang="0">
                      <a:pos x="connsiteX3" y="connsiteY3"/>
                    </a:cxn>
                  </a:cxnLst>
                  <a:rect l="l" t="t" r="r" b="b"/>
                  <a:pathLst>
                    <a:path w="13136" h="7448">
                      <a:moveTo>
                        <a:pt x="4212" y="0"/>
                      </a:moveTo>
                      <a:cubicBezTo>
                        <a:pt x="1237" y="0"/>
                        <a:pt x="-1749" y="2495"/>
                        <a:pt x="1237" y="7449"/>
                      </a:cubicBezTo>
                      <a:lnTo>
                        <a:pt x="13137" y="2495"/>
                      </a:lnTo>
                      <a:cubicBezTo>
                        <a:pt x="10185" y="0"/>
                        <a:pt x="7199" y="0"/>
                        <a:pt x="4212" y="0"/>
                      </a:cubicBezTo>
                    </a:path>
                  </a:pathLst>
                </a:custGeom>
                <a:solidFill>
                  <a:srgbClr val="D6D6D2"/>
                </a:solidFill>
                <a:ln w="11699"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9C520C86-E0E0-4A01-9D52-276D4F6779DA}"/>
                    </a:ext>
                  </a:extLst>
                </p:cNvPr>
                <p:cNvSpPr/>
                <p:nvPr/>
              </p:nvSpPr>
              <p:spPr>
                <a:xfrm>
                  <a:off x="6897984" y="2481086"/>
                  <a:ext cx="14885" cy="8935"/>
                </a:xfrm>
                <a:custGeom>
                  <a:avLst/>
                  <a:gdLst>
                    <a:gd name="connsiteX0" fmla="*/ 0 w 14885"/>
                    <a:gd name="connsiteY0" fmla="*/ 0 h 8935"/>
                    <a:gd name="connsiteX1" fmla="*/ 14885 w 14885"/>
                    <a:gd name="connsiteY1" fmla="*/ 8936 h 8935"/>
                    <a:gd name="connsiteX2" fmla="*/ 0 w 14885"/>
                    <a:gd name="connsiteY2" fmla="*/ 0 h 8935"/>
                  </a:gdLst>
                  <a:ahLst/>
                  <a:cxnLst>
                    <a:cxn ang="0">
                      <a:pos x="connsiteX0" y="connsiteY0"/>
                    </a:cxn>
                    <a:cxn ang="0">
                      <a:pos x="connsiteX1" y="connsiteY1"/>
                    </a:cxn>
                    <a:cxn ang="0">
                      <a:pos x="connsiteX2" y="connsiteY2"/>
                    </a:cxn>
                  </a:cxnLst>
                  <a:rect l="l" t="t" r="r" b="b"/>
                  <a:pathLst>
                    <a:path w="14885" h="8935">
                      <a:moveTo>
                        <a:pt x="0" y="0"/>
                      </a:moveTo>
                      <a:cubicBezTo>
                        <a:pt x="2986" y="2975"/>
                        <a:pt x="8947" y="5961"/>
                        <a:pt x="14885" y="8936"/>
                      </a:cubicBezTo>
                      <a:cubicBezTo>
                        <a:pt x="8947" y="-2986"/>
                        <a:pt x="8947" y="2975"/>
                        <a:pt x="0" y="0"/>
                      </a:cubicBezTo>
                    </a:path>
                  </a:pathLst>
                </a:custGeom>
                <a:solidFill>
                  <a:srgbClr val="D6D6D2"/>
                </a:solidFill>
                <a:ln w="11699"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0E9C6E5E-0C51-4323-94DB-43F67A09FF5B}"/>
                    </a:ext>
                  </a:extLst>
                </p:cNvPr>
                <p:cNvSpPr/>
                <p:nvPr/>
              </p:nvSpPr>
              <p:spPr>
                <a:xfrm>
                  <a:off x="6874151" y="2463214"/>
                  <a:ext cx="11910" cy="11910"/>
                </a:xfrm>
                <a:custGeom>
                  <a:avLst/>
                  <a:gdLst>
                    <a:gd name="connsiteX0" fmla="*/ 4696 w 11910"/>
                    <a:gd name="connsiteY0" fmla="*/ 0 h 11910"/>
                    <a:gd name="connsiteX1" fmla="*/ 2354 w 11910"/>
                    <a:gd name="connsiteY1" fmla="*/ 0 h 11910"/>
                    <a:gd name="connsiteX2" fmla="*/ 0 w 11910"/>
                    <a:gd name="connsiteY2" fmla="*/ 2963 h 11910"/>
                    <a:gd name="connsiteX3" fmla="*/ 11911 w 11910"/>
                    <a:gd name="connsiteY3" fmla="*/ 11911 h 11910"/>
                    <a:gd name="connsiteX4" fmla="*/ 4708 w 11910"/>
                    <a:gd name="connsiteY4" fmla="*/ 5961 h 11910"/>
                    <a:gd name="connsiteX5" fmla="*/ 4696 w 11910"/>
                    <a:gd name="connsiteY5" fmla="*/ 0 h 11910"/>
                    <a:gd name="connsiteX6" fmla="*/ 11911 w 11910"/>
                    <a:gd name="connsiteY6" fmla="*/ 11911 h 11910"/>
                    <a:gd name="connsiteX7" fmla="*/ 11911 w 11910"/>
                    <a:gd name="connsiteY7" fmla="*/ 11911 h 11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10" h="11910">
                      <a:moveTo>
                        <a:pt x="4696" y="0"/>
                      </a:moveTo>
                      <a:cubicBezTo>
                        <a:pt x="2354" y="0"/>
                        <a:pt x="2354" y="0"/>
                        <a:pt x="2354" y="0"/>
                      </a:cubicBezTo>
                      <a:cubicBezTo>
                        <a:pt x="0" y="2963"/>
                        <a:pt x="0" y="2963"/>
                        <a:pt x="0" y="2963"/>
                      </a:cubicBezTo>
                      <a:cubicBezTo>
                        <a:pt x="4696" y="5950"/>
                        <a:pt x="7191" y="8924"/>
                        <a:pt x="11911" y="11911"/>
                      </a:cubicBezTo>
                      <a:cubicBezTo>
                        <a:pt x="7202" y="8924"/>
                        <a:pt x="7202" y="8924"/>
                        <a:pt x="4708" y="5961"/>
                      </a:cubicBezTo>
                      <a:cubicBezTo>
                        <a:pt x="2354" y="2963"/>
                        <a:pt x="4696" y="0"/>
                        <a:pt x="4696" y="0"/>
                      </a:cubicBezTo>
                      <a:moveTo>
                        <a:pt x="11911" y="11911"/>
                      </a:moveTo>
                      <a:lnTo>
                        <a:pt x="11911" y="11911"/>
                      </a:lnTo>
                    </a:path>
                  </a:pathLst>
                </a:custGeom>
                <a:solidFill>
                  <a:srgbClr val="D6D6D2"/>
                </a:solidFill>
                <a:ln w="11699"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5EEC582E-A15E-4C0B-9EAB-B5E883DAD0E4}"/>
                    </a:ext>
                  </a:extLst>
                </p:cNvPr>
                <p:cNvSpPr/>
                <p:nvPr/>
              </p:nvSpPr>
              <p:spPr>
                <a:xfrm>
                  <a:off x="6637308" y="3109702"/>
                  <a:ext cx="25297" cy="13421"/>
                </a:xfrm>
                <a:custGeom>
                  <a:avLst/>
                  <a:gdLst>
                    <a:gd name="connsiteX0" fmla="*/ 25297 w 25297"/>
                    <a:gd name="connsiteY0" fmla="*/ 0 h 13421"/>
                    <a:gd name="connsiteX1" fmla="*/ 0 w 25297"/>
                    <a:gd name="connsiteY1" fmla="*/ 13421 h 13421"/>
                    <a:gd name="connsiteX2" fmla="*/ 8444 w 25297"/>
                    <a:gd name="connsiteY2" fmla="*/ 10681 h 13421"/>
                    <a:gd name="connsiteX3" fmla="*/ 8444 w 25297"/>
                    <a:gd name="connsiteY3" fmla="*/ 10681 h 13421"/>
                    <a:gd name="connsiteX4" fmla="*/ 14054 w 25297"/>
                    <a:gd name="connsiteY4" fmla="*/ 13421 h 13421"/>
                    <a:gd name="connsiteX5" fmla="*/ 16865 w 25297"/>
                    <a:gd name="connsiteY5" fmla="*/ 13421 h 13421"/>
                    <a:gd name="connsiteX6" fmla="*/ 22463 w 25297"/>
                    <a:gd name="connsiteY6" fmla="*/ 8069 h 13421"/>
                    <a:gd name="connsiteX7" fmla="*/ 25297 w 25297"/>
                    <a:gd name="connsiteY7" fmla="*/ 0 h 13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97" h="13421">
                      <a:moveTo>
                        <a:pt x="25297" y="0"/>
                      </a:moveTo>
                      <a:cubicBezTo>
                        <a:pt x="16853" y="5341"/>
                        <a:pt x="8444" y="8069"/>
                        <a:pt x="0" y="13421"/>
                      </a:cubicBezTo>
                      <a:cubicBezTo>
                        <a:pt x="2858" y="13421"/>
                        <a:pt x="5587" y="10681"/>
                        <a:pt x="8444" y="10681"/>
                      </a:cubicBezTo>
                      <a:lnTo>
                        <a:pt x="8444" y="10681"/>
                      </a:lnTo>
                      <a:cubicBezTo>
                        <a:pt x="14054" y="13421"/>
                        <a:pt x="11313" y="13421"/>
                        <a:pt x="14054" y="13421"/>
                      </a:cubicBezTo>
                      <a:lnTo>
                        <a:pt x="16865" y="13421"/>
                      </a:lnTo>
                      <a:cubicBezTo>
                        <a:pt x="22463" y="13421"/>
                        <a:pt x="19711" y="13421"/>
                        <a:pt x="22463" y="8069"/>
                      </a:cubicBezTo>
                      <a:cubicBezTo>
                        <a:pt x="25297" y="5341"/>
                        <a:pt x="22439" y="2752"/>
                        <a:pt x="25297" y="0"/>
                      </a:cubicBezTo>
                    </a:path>
                  </a:pathLst>
                </a:custGeom>
                <a:solidFill>
                  <a:srgbClr val="D6D6D2"/>
                </a:solidFill>
                <a:ln w="11699"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43AB3A6A-AEDD-442C-9CC6-F51EECC4CB84}"/>
                    </a:ext>
                  </a:extLst>
                </p:cNvPr>
                <p:cNvSpPr/>
                <p:nvPr/>
              </p:nvSpPr>
              <p:spPr>
                <a:xfrm>
                  <a:off x="6604014" y="3106715"/>
                  <a:ext cx="28796" cy="23856"/>
                </a:xfrm>
                <a:custGeom>
                  <a:avLst/>
                  <a:gdLst>
                    <a:gd name="connsiteX0" fmla="*/ 8946 w 28796"/>
                    <a:gd name="connsiteY0" fmla="*/ 12 h 23856"/>
                    <a:gd name="connsiteX1" fmla="*/ 373 w 28796"/>
                    <a:gd name="connsiteY1" fmla="*/ 2635 h 23856"/>
                    <a:gd name="connsiteX2" fmla="*/ 14556 w 28796"/>
                    <a:gd name="connsiteY2" fmla="*/ 23856 h 23856"/>
                    <a:gd name="connsiteX3" fmla="*/ 20224 w 28796"/>
                    <a:gd name="connsiteY3" fmla="*/ 15893 h 23856"/>
                    <a:gd name="connsiteX4" fmla="*/ 20224 w 28796"/>
                    <a:gd name="connsiteY4" fmla="*/ 10564 h 23856"/>
                    <a:gd name="connsiteX5" fmla="*/ 28797 w 28796"/>
                    <a:gd name="connsiteY5" fmla="*/ 5341 h 23856"/>
                    <a:gd name="connsiteX6" fmla="*/ 25939 w 28796"/>
                    <a:gd name="connsiteY6" fmla="*/ 5341 h 23856"/>
                    <a:gd name="connsiteX7" fmla="*/ 23070 w 28796"/>
                    <a:gd name="connsiteY7" fmla="*/ 5341 h 23856"/>
                    <a:gd name="connsiteX8" fmla="*/ 20224 w 28796"/>
                    <a:gd name="connsiteY8" fmla="*/ 5341 h 23856"/>
                    <a:gd name="connsiteX9" fmla="*/ 17413 w 28796"/>
                    <a:gd name="connsiteY9" fmla="*/ 5341 h 23856"/>
                    <a:gd name="connsiteX10" fmla="*/ 11804 w 28796"/>
                    <a:gd name="connsiteY10" fmla="*/ 0 h 23856"/>
                    <a:gd name="connsiteX11" fmla="*/ 8946 w 28796"/>
                    <a:gd name="connsiteY11" fmla="*/ 0 h 23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796" h="23856">
                      <a:moveTo>
                        <a:pt x="8946" y="12"/>
                      </a:moveTo>
                      <a:cubicBezTo>
                        <a:pt x="6111" y="12"/>
                        <a:pt x="373" y="12"/>
                        <a:pt x="373" y="2635"/>
                      </a:cubicBezTo>
                      <a:cubicBezTo>
                        <a:pt x="-2473" y="5352"/>
                        <a:pt x="11815" y="18504"/>
                        <a:pt x="14556" y="23856"/>
                      </a:cubicBezTo>
                      <a:cubicBezTo>
                        <a:pt x="17413" y="21245"/>
                        <a:pt x="17413" y="18504"/>
                        <a:pt x="20224" y="15893"/>
                      </a:cubicBezTo>
                      <a:cubicBezTo>
                        <a:pt x="20224" y="13304"/>
                        <a:pt x="20224" y="10564"/>
                        <a:pt x="20224" y="10564"/>
                      </a:cubicBezTo>
                      <a:cubicBezTo>
                        <a:pt x="23070" y="7952"/>
                        <a:pt x="28797" y="10564"/>
                        <a:pt x="28797" y="5341"/>
                      </a:cubicBezTo>
                      <a:cubicBezTo>
                        <a:pt x="28797" y="5341"/>
                        <a:pt x="28797" y="5341"/>
                        <a:pt x="25939" y="5341"/>
                      </a:cubicBezTo>
                      <a:cubicBezTo>
                        <a:pt x="25939" y="5341"/>
                        <a:pt x="25939" y="5341"/>
                        <a:pt x="23070" y="5341"/>
                      </a:cubicBezTo>
                      <a:cubicBezTo>
                        <a:pt x="23070" y="5341"/>
                        <a:pt x="23070" y="5341"/>
                        <a:pt x="20224" y="5341"/>
                      </a:cubicBezTo>
                      <a:lnTo>
                        <a:pt x="17413" y="5341"/>
                      </a:lnTo>
                      <a:cubicBezTo>
                        <a:pt x="14556" y="5341"/>
                        <a:pt x="14556" y="2624"/>
                        <a:pt x="11804" y="0"/>
                      </a:cubicBezTo>
                      <a:lnTo>
                        <a:pt x="8946" y="0"/>
                      </a:lnTo>
                    </a:path>
                  </a:pathLst>
                </a:custGeom>
                <a:solidFill>
                  <a:srgbClr val="D6D6D2"/>
                </a:solidFill>
                <a:ln w="11699"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1A317143-2884-402E-9A04-F49E82247A89}"/>
                    </a:ext>
                  </a:extLst>
                </p:cNvPr>
                <p:cNvSpPr/>
                <p:nvPr/>
              </p:nvSpPr>
              <p:spPr>
                <a:xfrm>
                  <a:off x="6437685" y="3126098"/>
                  <a:ext cx="43215" cy="20846"/>
                </a:xfrm>
                <a:custGeom>
                  <a:avLst/>
                  <a:gdLst>
                    <a:gd name="connsiteX0" fmla="*/ 2741 w 43215"/>
                    <a:gd name="connsiteY0" fmla="*/ 0 h 20846"/>
                    <a:gd name="connsiteX1" fmla="*/ 0 w 43215"/>
                    <a:gd name="connsiteY1" fmla="*/ 0 h 20846"/>
                    <a:gd name="connsiteX2" fmla="*/ 32406 w 43215"/>
                    <a:gd name="connsiteY2" fmla="*/ 20847 h 20846"/>
                    <a:gd name="connsiteX3" fmla="*/ 40475 w 43215"/>
                    <a:gd name="connsiteY3" fmla="*/ 18235 h 20846"/>
                    <a:gd name="connsiteX4" fmla="*/ 43216 w 43215"/>
                    <a:gd name="connsiteY4" fmla="*/ 18235 h 20846"/>
                    <a:gd name="connsiteX5" fmla="*/ 24325 w 43215"/>
                    <a:gd name="connsiteY5" fmla="*/ 10423 h 20846"/>
                    <a:gd name="connsiteX6" fmla="*/ 16173 w 43215"/>
                    <a:gd name="connsiteY6" fmla="*/ 5200 h 20846"/>
                    <a:gd name="connsiteX7" fmla="*/ 2741 w 43215"/>
                    <a:gd name="connsiteY7" fmla="*/ 0 h 20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215" h="20846">
                      <a:moveTo>
                        <a:pt x="2741" y="0"/>
                      </a:moveTo>
                      <a:cubicBezTo>
                        <a:pt x="2741" y="0"/>
                        <a:pt x="2741" y="0"/>
                        <a:pt x="0" y="0"/>
                      </a:cubicBezTo>
                      <a:cubicBezTo>
                        <a:pt x="10798" y="7811"/>
                        <a:pt x="21596" y="13023"/>
                        <a:pt x="32406" y="20847"/>
                      </a:cubicBezTo>
                      <a:cubicBezTo>
                        <a:pt x="35147" y="20847"/>
                        <a:pt x="37758" y="18235"/>
                        <a:pt x="40475" y="18235"/>
                      </a:cubicBezTo>
                      <a:lnTo>
                        <a:pt x="43216" y="18235"/>
                      </a:lnTo>
                      <a:cubicBezTo>
                        <a:pt x="37747" y="15623"/>
                        <a:pt x="29677" y="15623"/>
                        <a:pt x="24325" y="10423"/>
                      </a:cubicBezTo>
                      <a:cubicBezTo>
                        <a:pt x="21596" y="7800"/>
                        <a:pt x="18844" y="7800"/>
                        <a:pt x="16173" y="5200"/>
                      </a:cubicBezTo>
                      <a:cubicBezTo>
                        <a:pt x="13539" y="2588"/>
                        <a:pt x="8081" y="0"/>
                        <a:pt x="2741" y="0"/>
                      </a:cubicBezTo>
                    </a:path>
                  </a:pathLst>
                </a:custGeom>
                <a:solidFill>
                  <a:srgbClr val="D6D6D2"/>
                </a:solidFill>
                <a:ln w="11699"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CE279B75-3097-4690-AAA1-DBAFC6CC22D5}"/>
                    </a:ext>
                  </a:extLst>
                </p:cNvPr>
                <p:cNvSpPr/>
                <p:nvPr/>
              </p:nvSpPr>
              <p:spPr>
                <a:xfrm>
                  <a:off x="6437674" y="1511348"/>
                  <a:ext cx="202574" cy="73009"/>
                </a:xfrm>
                <a:custGeom>
                  <a:avLst/>
                  <a:gdLst>
                    <a:gd name="connsiteX0" fmla="*/ 153303 w 202574"/>
                    <a:gd name="connsiteY0" fmla="*/ 0 h 73009"/>
                    <a:gd name="connsiteX1" fmla="*/ 145141 w 202574"/>
                    <a:gd name="connsiteY1" fmla="*/ 0 h 73009"/>
                    <a:gd name="connsiteX2" fmla="*/ 114972 w 202574"/>
                    <a:gd name="connsiteY2" fmla="*/ 0 h 73009"/>
                    <a:gd name="connsiteX3" fmla="*/ 71148 w 202574"/>
                    <a:gd name="connsiteY3" fmla="*/ 0 h 73009"/>
                    <a:gd name="connsiteX4" fmla="*/ 10950 w 202574"/>
                    <a:gd name="connsiteY4" fmla="*/ 33636 h 73009"/>
                    <a:gd name="connsiteX5" fmla="*/ 0 w 202574"/>
                    <a:gd name="connsiteY5" fmla="*/ 53393 h 73009"/>
                    <a:gd name="connsiteX6" fmla="*/ 5469 w 202574"/>
                    <a:gd name="connsiteY6" fmla="*/ 64566 h 73009"/>
                    <a:gd name="connsiteX7" fmla="*/ 8210 w 202574"/>
                    <a:gd name="connsiteY7" fmla="*/ 73010 h 73009"/>
                    <a:gd name="connsiteX8" fmla="*/ 10938 w 202574"/>
                    <a:gd name="connsiteY8" fmla="*/ 73010 h 73009"/>
                    <a:gd name="connsiteX9" fmla="*/ 27428 w 202574"/>
                    <a:gd name="connsiteY9" fmla="*/ 67412 h 73009"/>
                    <a:gd name="connsiteX10" fmla="*/ 65678 w 202574"/>
                    <a:gd name="connsiteY10" fmla="*/ 56110 h 73009"/>
                    <a:gd name="connsiteX11" fmla="*/ 71136 w 202574"/>
                    <a:gd name="connsiteY11" fmla="*/ 53405 h 73009"/>
                    <a:gd name="connsiteX12" fmla="*/ 71136 w 202574"/>
                    <a:gd name="connsiteY12" fmla="*/ 53405 h 73009"/>
                    <a:gd name="connsiteX13" fmla="*/ 95835 w 202574"/>
                    <a:gd name="connsiteY13" fmla="*/ 61837 h 73009"/>
                    <a:gd name="connsiteX14" fmla="*/ 98541 w 202574"/>
                    <a:gd name="connsiteY14" fmla="*/ 64577 h 73009"/>
                    <a:gd name="connsiteX15" fmla="*/ 104033 w 202574"/>
                    <a:gd name="connsiteY15" fmla="*/ 61837 h 73009"/>
                    <a:gd name="connsiteX16" fmla="*/ 109491 w 202574"/>
                    <a:gd name="connsiteY16" fmla="*/ 61837 h 73009"/>
                    <a:gd name="connsiteX17" fmla="*/ 112232 w 202574"/>
                    <a:gd name="connsiteY17" fmla="*/ 61837 h 73009"/>
                    <a:gd name="connsiteX18" fmla="*/ 114949 w 202574"/>
                    <a:gd name="connsiteY18" fmla="*/ 61837 h 73009"/>
                    <a:gd name="connsiteX19" fmla="*/ 131438 w 202574"/>
                    <a:gd name="connsiteY19" fmla="*/ 58979 h 73009"/>
                    <a:gd name="connsiteX20" fmla="*/ 166936 w 202574"/>
                    <a:gd name="connsiteY20" fmla="*/ 50547 h 73009"/>
                    <a:gd name="connsiteX21" fmla="*/ 202574 w 202574"/>
                    <a:gd name="connsiteY21" fmla="*/ 30942 h 73009"/>
                    <a:gd name="connsiteX22" fmla="*/ 172428 w 202574"/>
                    <a:gd name="connsiteY22" fmla="*/ 11185 h 73009"/>
                    <a:gd name="connsiteX23" fmla="*/ 169688 w 202574"/>
                    <a:gd name="connsiteY23" fmla="*/ 5610 h 73009"/>
                    <a:gd name="connsiteX24" fmla="*/ 158750 w 202574"/>
                    <a:gd name="connsiteY24" fmla="*/ 12 h 73009"/>
                    <a:gd name="connsiteX25" fmla="*/ 153303 w 202574"/>
                    <a:gd name="connsiteY25" fmla="*/ 0 h 73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2574" h="73009">
                      <a:moveTo>
                        <a:pt x="153303" y="0"/>
                      </a:moveTo>
                      <a:cubicBezTo>
                        <a:pt x="150586" y="0"/>
                        <a:pt x="147882" y="0"/>
                        <a:pt x="145141" y="0"/>
                      </a:cubicBezTo>
                      <a:cubicBezTo>
                        <a:pt x="134202" y="0"/>
                        <a:pt x="123135" y="0"/>
                        <a:pt x="114972" y="0"/>
                      </a:cubicBezTo>
                      <a:cubicBezTo>
                        <a:pt x="98564" y="0"/>
                        <a:pt x="84944" y="0"/>
                        <a:pt x="71148" y="0"/>
                      </a:cubicBezTo>
                      <a:cubicBezTo>
                        <a:pt x="52023" y="11161"/>
                        <a:pt x="32897" y="22463"/>
                        <a:pt x="10950" y="33636"/>
                      </a:cubicBezTo>
                      <a:cubicBezTo>
                        <a:pt x="5469" y="36493"/>
                        <a:pt x="0" y="47678"/>
                        <a:pt x="0" y="53393"/>
                      </a:cubicBezTo>
                      <a:cubicBezTo>
                        <a:pt x="0" y="56098"/>
                        <a:pt x="2741" y="61825"/>
                        <a:pt x="5469" y="64566"/>
                      </a:cubicBezTo>
                      <a:cubicBezTo>
                        <a:pt x="5469" y="67412"/>
                        <a:pt x="5469" y="73010"/>
                        <a:pt x="8210" y="73010"/>
                      </a:cubicBezTo>
                      <a:cubicBezTo>
                        <a:pt x="10938" y="73010"/>
                        <a:pt x="10938" y="73010"/>
                        <a:pt x="10938" y="73010"/>
                      </a:cubicBezTo>
                      <a:cubicBezTo>
                        <a:pt x="16396" y="70152"/>
                        <a:pt x="21842" y="70152"/>
                        <a:pt x="27428" y="67412"/>
                      </a:cubicBezTo>
                      <a:cubicBezTo>
                        <a:pt x="41084" y="64566"/>
                        <a:pt x="54728" y="58967"/>
                        <a:pt x="65678" y="56110"/>
                      </a:cubicBezTo>
                      <a:cubicBezTo>
                        <a:pt x="68395" y="56110"/>
                        <a:pt x="71136" y="53405"/>
                        <a:pt x="71136" y="53405"/>
                      </a:cubicBezTo>
                      <a:lnTo>
                        <a:pt x="71136" y="53405"/>
                      </a:lnTo>
                      <a:cubicBezTo>
                        <a:pt x="79451" y="56110"/>
                        <a:pt x="87649" y="61837"/>
                        <a:pt x="95835" y="61837"/>
                      </a:cubicBezTo>
                      <a:lnTo>
                        <a:pt x="98541" y="64577"/>
                      </a:lnTo>
                      <a:cubicBezTo>
                        <a:pt x="101281" y="64577"/>
                        <a:pt x="101281" y="61837"/>
                        <a:pt x="104033" y="61837"/>
                      </a:cubicBezTo>
                      <a:cubicBezTo>
                        <a:pt x="104033" y="61837"/>
                        <a:pt x="106762" y="61837"/>
                        <a:pt x="109491" y="61837"/>
                      </a:cubicBezTo>
                      <a:cubicBezTo>
                        <a:pt x="109491" y="61837"/>
                        <a:pt x="109491" y="61837"/>
                        <a:pt x="112232" y="61837"/>
                      </a:cubicBezTo>
                      <a:cubicBezTo>
                        <a:pt x="112232" y="61837"/>
                        <a:pt x="112232" y="61837"/>
                        <a:pt x="114949" y="61837"/>
                      </a:cubicBezTo>
                      <a:cubicBezTo>
                        <a:pt x="120371" y="61837"/>
                        <a:pt x="125864" y="61837"/>
                        <a:pt x="131438" y="58979"/>
                      </a:cubicBezTo>
                      <a:cubicBezTo>
                        <a:pt x="145117" y="56122"/>
                        <a:pt x="156021" y="53405"/>
                        <a:pt x="166936" y="50547"/>
                      </a:cubicBezTo>
                      <a:cubicBezTo>
                        <a:pt x="183426" y="47689"/>
                        <a:pt x="191635" y="42103"/>
                        <a:pt x="202574" y="30942"/>
                      </a:cubicBezTo>
                      <a:cubicBezTo>
                        <a:pt x="191635" y="25344"/>
                        <a:pt x="180709" y="16888"/>
                        <a:pt x="172428" y="11185"/>
                      </a:cubicBezTo>
                      <a:cubicBezTo>
                        <a:pt x="172428" y="11185"/>
                        <a:pt x="172428" y="8467"/>
                        <a:pt x="169688" y="5610"/>
                      </a:cubicBezTo>
                      <a:cubicBezTo>
                        <a:pt x="164231" y="5610"/>
                        <a:pt x="161478" y="2881"/>
                        <a:pt x="158750" y="12"/>
                      </a:cubicBezTo>
                      <a:cubicBezTo>
                        <a:pt x="156044" y="0"/>
                        <a:pt x="156044" y="0"/>
                        <a:pt x="153303" y="0"/>
                      </a:cubicBezTo>
                    </a:path>
                  </a:pathLst>
                </a:custGeom>
                <a:solidFill>
                  <a:srgbClr val="D6D6D2"/>
                </a:solidFill>
                <a:ln w="8774" cap="flat">
                  <a:solidFill>
                    <a:srgbClr val="FFFFFF"/>
                  </a:solid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DF6A056B-3CC2-4B08-BD70-66BD331CF059}"/>
                    </a:ext>
                  </a:extLst>
                </p:cNvPr>
                <p:cNvSpPr/>
                <p:nvPr/>
              </p:nvSpPr>
              <p:spPr>
                <a:xfrm>
                  <a:off x="583" y="864813"/>
                  <a:ext cx="7044883" cy="2867451"/>
                </a:xfrm>
                <a:custGeom>
                  <a:avLst/>
                  <a:gdLst>
                    <a:gd name="connsiteX0" fmla="*/ 6507817 w 7044883"/>
                    <a:gd name="connsiteY0" fmla="*/ 882651 h 2867451"/>
                    <a:gd name="connsiteX1" fmla="*/ 6539509 w 7044883"/>
                    <a:gd name="connsiteY1" fmla="*/ 886106 h 2867451"/>
                    <a:gd name="connsiteX2" fmla="*/ 6566984 w 7044883"/>
                    <a:gd name="connsiteY2" fmla="*/ 908077 h 2867451"/>
                    <a:gd name="connsiteX3" fmla="*/ 6572418 w 7044883"/>
                    <a:gd name="connsiteY3" fmla="*/ 919121 h 2867451"/>
                    <a:gd name="connsiteX4" fmla="*/ 6588931 w 7044883"/>
                    <a:gd name="connsiteY4" fmla="*/ 924590 h 2867451"/>
                    <a:gd name="connsiteX5" fmla="*/ 6638342 w 7044883"/>
                    <a:gd name="connsiteY5" fmla="*/ 941103 h 2867451"/>
                    <a:gd name="connsiteX6" fmla="*/ 6624675 w 7044883"/>
                    <a:gd name="connsiteY6" fmla="*/ 943809 h 2867451"/>
                    <a:gd name="connsiteX7" fmla="*/ 6632885 w 7044883"/>
                    <a:gd name="connsiteY7" fmla="*/ 943809 h 2867451"/>
                    <a:gd name="connsiteX8" fmla="*/ 6652115 w 7044883"/>
                    <a:gd name="connsiteY8" fmla="*/ 949395 h 2867451"/>
                    <a:gd name="connsiteX9" fmla="*/ 6668640 w 7044883"/>
                    <a:gd name="connsiteY9" fmla="*/ 957605 h 2867451"/>
                    <a:gd name="connsiteX10" fmla="*/ 6701514 w 7044883"/>
                    <a:gd name="connsiteY10" fmla="*/ 974118 h 2867451"/>
                    <a:gd name="connsiteX11" fmla="*/ 6734564 w 7044883"/>
                    <a:gd name="connsiteY11" fmla="*/ 987891 h 2867451"/>
                    <a:gd name="connsiteX12" fmla="*/ 6750913 w 7044883"/>
                    <a:gd name="connsiteY12" fmla="*/ 998923 h 2867451"/>
                    <a:gd name="connsiteX13" fmla="*/ 6748196 w 7044883"/>
                    <a:gd name="connsiteY13" fmla="*/ 1023763 h 2867451"/>
                    <a:gd name="connsiteX14" fmla="*/ 6764710 w 7044883"/>
                    <a:gd name="connsiteY14" fmla="*/ 1015436 h 2867451"/>
                    <a:gd name="connsiteX15" fmla="*/ 6775742 w 7044883"/>
                    <a:gd name="connsiteY15" fmla="*/ 1023763 h 2867451"/>
                    <a:gd name="connsiteX16" fmla="*/ 6772884 w 7044883"/>
                    <a:gd name="connsiteY16" fmla="*/ 1048451 h 2867451"/>
                    <a:gd name="connsiteX17" fmla="*/ 6778482 w 7044883"/>
                    <a:gd name="connsiteY17" fmla="*/ 1078737 h 2867451"/>
                    <a:gd name="connsiteX18" fmla="*/ 6772884 w 7044883"/>
                    <a:gd name="connsiteY18" fmla="*/ 1081583 h 2867451"/>
                    <a:gd name="connsiteX19" fmla="*/ 6767403 w 7044883"/>
                    <a:gd name="connsiteY19" fmla="*/ 1084312 h 2867451"/>
                    <a:gd name="connsiteX20" fmla="*/ 6794890 w 7044883"/>
                    <a:gd name="connsiteY20" fmla="*/ 1100825 h 2867451"/>
                    <a:gd name="connsiteX21" fmla="*/ 6794890 w 7044883"/>
                    <a:gd name="connsiteY21" fmla="*/ 1117338 h 2867451"/>
                    <a:gd name="connsiteX22" fmla="*/ 6808628 w 7044883"/>
                    <a:gd name="connsiteY22" fmla="*/ 1103554 h 2867451"/>
                    <a:gd name="connsiteX23" fmla="*/ 6819695 w 7044883"/>
                    <a:gd name="connsiteY23" fmla="*/ 1100825 h 2867451"/>
                    <a:gd name="connsiteX24" fmla="*/ 6819695 w 7044883"/>
                    <a:gd name="connsiteY24" fmla="*/ 1125536 h 2867451"/>
                    <a:gd name="connsiteX25" fmla="*/ 6825164 w 7044883"/>
                    <a:gd name="connsiteY25" fmla="*/ 1114598 h 2867451"/>
                    <a:gd name="connsiteX26" fmla="*/ 6833350 w 7044883"/>
                    <a:gd name="connsiteY26" fmla="*/ 1109011 h 2867451"/>
                    <a:gd name="connsiteX27" fmla="*/ 6825164 w 7044883"/>
                    <a:gd name="connsiteY27" fmla="*/ 1100813 h 2867451"/>
                    <a:gd name="connsiteX28" fmla="*/ 6811368 w 7044883"/>
                    <a:gd name="connsiteY28" fmla="*/ 1095215 h 2867451"/>
                    <a:gd name="connsiteX29" fmla="*/ 6808628 w 7044883"/>
                    <a:gd name="connsiteY29" fmla="*/ 1089769 h 2867451"/>
                    <a:gd name="connsiteX30" fmla="*/ 6822447 w 7044883"/>
                    <a:gd name="connsiteY30" fmla="*/ 1084300 h 2867451"/>
                    <a:gd name="connsiteX31" fmla="*/ 6819707 w 7044883"/>
                    <a:gd name="connsiteY31" fmla="*/ 1073268 h 2867451"/>
                    <a:gd name="connsiteX32" fmla="*/ 6816861 w 7044883"/>
                    <a:gd name="connsiteY32" fmla="*/ 1062224 h 2867451"/>
                    <a:gd name="connsiteX33" fmla="*/ 6803182 w 7044883"/>
                    <a:gd name="connsiteY33" fmla="*/ 1056766 h 2867451"/>
                    <a:gd name="connsiteX34" fmla="*/ 6805922 w 7044883"/>
                    <a:gd name="connsiteY34" fmla="*/ 1051297 h 2867451"/>
                    <a:gd name="connsiteX35" fmla="*/ 6792150 w 7044883"/>
                    <a:gd name="connsiteY35" fmla="*/ 1054026 h 2867451"/>
                    <a:gd name="connsiteX36" fmla="*/ 6797748 w 7044883"/>
                    <a:gd name="connsiteY36" fmla="*/ 1048439 h 2867451"/>
                    <a:gd name="connsiteX37" fmla="*/ 6786692 w 7044883"/>
                    <a:gd name="connsiteY37" fmla="*/ 1051297 h 2867451"/>
                    <a:gd name="connsiteX38" fmla="*/ 6825176 w 7044883"/>
                    <a:gd name="connsiteY38" fmla="*/ 1048439 h 2867451"/>
                    <a:gd name="connsiteX39" fmla="*/ 6836103 w 7044883"/>
                    <a:gd name="connsiteY39" fmla="*/ 1045711 h 2867451"/>
                    <a:gd name="connsiteX40" fmla="*/ 6847135 w 7044883"/>
                    <a:gd name="connsiteY40" fmla="*/ 1045711 h 2867451"/>
                    <a:gd name="connsiteX41" fmla="*/ 6863649 w 7044883"/>
                    <a:gd name="connsiteY41" fmla="*/ 1051297 h 2867451"/>
                    <a:gd name="connsiteX42" fmla="*/ 6855333 w 7044883"/>
                    <a:gd name="connsiteY42" fmla="*/ 1056766 h 2867451"/>
                    <a:gd name="connsiteX43" fmla="*/ 6855333 w 7044883"/>
                    <a:gd name="connsiteY43" fmla="*/ 1070539 h 2867451"/>
                    <a:gd name="connsiteX44" fmla="*/ 6863649 w 7044883"/>
                    <a:gd name="connsiteY44" fmla="*/ 1056766 h 2867451"/>
                    <a:gd name="connsiteX45" fmla="*/ 6891100 w 7044883"/>
                    <a:gd name="connsiteY45" fmla="*/ 1062224 h 2867451"/>
                    <a:gd name="connsiteX46" fmla="*/ 6899264 w 7044883"/>
                    <a:gd name="connsiteY46" fmla="*/ 1059495 h 2867451"/>
                    <a:gd name="connsiteX47" fmla="*/ 6871823 w 7044883"/>
                    <a:gd name="connsiteY47" fmla="*/ 1051285 h 2867451"/>
                    <a:gd name="connsiteX48" fmla="*/ 6918506 w 7044883"/>
                    <a:gd name="connsiteY48" fmla="*/ 1059495 h 2867451"/>
                    <a:gd name="connsiteX49" fmla="*/ 6923986 w 7044883"/>
                    <a:gd name="connsiteY49" fmla="*/ 1059495 h 2867451"/>
                    <a:gd name="connsiteX50" fmla="*/ 6935007 w 7044883"/>
                    <a:gd name="connsiteY50" fmla="*/ 1062224 h 2867451"/>
                    <a:gd name="connsiteX51" fmla="*/ 6970762 w 7044883"/>
                    <a:gd name="connsiteY51" fmla="*/ 1092522 h 2867451"/>
                    <a:gd name="connsiteX52" fmla="*/ 6989898 w 7044883"/>
                    <a:gd name="connsiteY52" fmla="*/ 1103554 h 2867451"/>
                    <a:gd name="connsiteX53" fmla="*/ 7000920 w 7044883"/>
                    <a:gd name="connsiteY53" fmla="*/ 1114598 h 2867451"/>
                    <a:gd name="connsiteX54" fmla="*/ 7020197 w 7044883"/>
                    <a:gd name="connsiteY54" fmla="*/ 1131111 h 2867451"/>
                    <a:gd name="connsiteX55" fmla="*/ 7033829 w 7044883"/>
                    <a:gd name="connsiteY55" fmla="*/ 1131111 h 2867451"/>
                    <a:gd name="connsiteX56" fmla="*/ 7044884 w 7044883"/>
                    <a:gd name="connsiteY56" fmla="*/ 1136580 h 2867451"/>
                    <a:gd name="connsiteX57" fmla="*/ 7014715 w 7044883"/>
                    <a:gd name="connsiteY57" fmla="*/ 1158680 h 2867451"/>
                    <a:gd name="connsiteX58" fmla="*/ 7000920 w 7044883"/>
                    <a:gd name="connsiteY58" fmla="*/ 1169595 h 2867451"/>
                    <a:gd name="connsiteX59" fmla="*/ 6998190 w 7044883"/>
                    <a:gd name="connsiteY59" fmla="*/ 1175182 h 2867451"/>
                    <a:gd name="connsiteX60" fmla="*/ 6965187 w 7044883"/>
                    <a:gd name="connsiteY60" fmla="*/ 1169595 h 2867451"/>
                    <a:gd name="connsiteX61" fmla="*/ 6951532 w 7044883"/>
                    <a:gd name="connsiteY61" fmla="*/ 1158680 h 2867451"/>
                    <a:gd name="connsiteX62" fmla="*/ 6957024 w 7044883"/>
                    <a:gd name="connsiteY62" fmla="*/ 1166866 h 2867451"/>
                    <a:gd name="connsiteX63" fmla="*/ 6962470 w 7044883"/>
                    <a:gd name="connsiteY63" fmla="*/ 1169595 h 2867451"/>
                    <a:gd name="connsiteX64" fmla="*/ 6976243 w 7044883"/>
                    <a:gd name="connsiteY64" fmla="*/ 1180639 h 2867451"/>
                    <a:gd name="connsiteX65" fmla="*/ 6959742 w 7044883"/>
                    <a:gd name="connsiteY65" fmla="*/ 1186108 h 2867451"/>
                    <a:gd name="connsiteX66" fmla="*/ 6910307 w 7044883"/>
                    <a:gd name="connsiteY66" fmla="*/ 1180639 h 2867451"/>
                    <a:gd name="connsiteX67" fmla="*/ 6899275 w 7044883"/>
                    <a:gd name="connsiteY67" fmla="*/ 1172453 h 2867451"/>
                    <a:gd name="connsiteX68" fmla="*/ 6882785 w 7044883"/>
                    <a:gd name="connsiteY68" fmla="*/ 1169595 h 2867451"/>
                    <a:gd name="connsiteX69" fmla="*/ 6902003 w 7044883"/>
                    <a:gd name="connsiteY69" fmla="*/ 1177922 h 2867451"/>
                    <a:gd name="connsiteX70" fmla="*/ 6902003 w 7044883"/>
                    <a:gd name="connsiteY70" fmla="*/ 1188966 h 2867451"/>
                    <a:gd name="connsiteX71" fmla="*/ 6915824 w 7044883"/>
                    <a:gd name="connsiteY71" fmla="*/ 1188966 h 2867451"/>
                    <a:gd name="connsiteX72" fmla="*/ 6910319 w 7044883"/>
                    <a:gd name="connsiteY72" fmla="*/ 1205468 h 2867451"/>
                    <a:gd name="connsiteX73" fmla="*/ 6902003 w 7044883"/>
                    <a:gd name="connsiteY73" fmla="*/ 1208208 h 2867451"/>
                    <a:gd name="connsiteX74" fmla="*/ 6896582 w 7044883"/>
                    <a:gd name="connsiteY74" fmla="*/ 1208208 h 2867451"/>
                    <a:gd name="connsiteX75" fmla="*/ 6888360 w 7044883"/>
                    <a:gd name="connsiteY75" fmla="*/ 1208208 h 2867451"/>
                    <a:gd name="connsiteX76" fmla="*/ 6913071 w 7044883"/>
                    <a:gd name="connsiteY76" fmla="*/ 1216512 h 2867451"/>
                    <a:gd name="connsiteX77" fmla="*/ 6904861 w 7044883"/>
                    <a:gd name="connsiteY77" fmla="*/ 1235765 h 2867451"/>
                    <a:gd name="connsiteX78" fmla="*/ 6893865 w 7044883"/>
                    <a:gd name="connsiteY78" fmla="*/ 1238494 h 2867451"/>
                    <a:gd name="connsiteX79" fmla="*/ 6885654 w 7044883"/>
                    <a:gd name="connsiteY79" fmla="*/ 1241235 h 2867451"/>
                    <a:gd name="connsiteX80" fmla="*/ 6871847 w 7044883"/>
                    <a:gd name="connsiteY80" fmla="*/ 1241235 h 2867451"/>
                    <a:gd name="connsiteX81" fmla="*/ 6866389 w 7044883"/>
                    <a:gd name="connsiteY81" fmla="*/ 1246821 h 2867451"/>
                    <a:gd name="connsiteX82" fmla="*/ 6877339 w 7044883"/>
                    <a:gd name="connsiteY82" fmla="*/ 1243963 h 2867451"/>
                    <a:gd name="connsiteX83" fmla="*/ 6874599 w 7044883"/>
                    <a:gd name="connsiteY83" fmla="*/ 1255007 h 2867451"/>
                    <a:gd name="connsiteX84" fmla="*/ 6874599 w 7044883"/>
                    <a:gd name="connsiteY84" fmla="*/ 1266051 h 2867451"/>
                    <a:gd name="connsiteX85" fmla="*/ 6910330 w 7044883"/>
                    <a:gd name="connsiteY85" fmla="*/ 1279836 h 2867451"/>
                    <a:gd name="connsiteX86" fmla="*/ 6891124 w 7044883"/>
                    <a:gd name="connsiteY86" fmla="*/ 1279836 h 2867451"/>
                    <a:gd name="connsiteX87" fmla="*/ 6871847 w 7044883"/>
                    <a:gd name="connsiteY87" fmla="*/ 1274238 h 2867451"/>
                    <a:gd name="connsiteX88" fmla="*/ 6877339 w 7044883"/>
                    <a:gd name="connsiteY88" fmla="*/ 1288010 h 2867451"/>
                    <a:gd name="connsiteX89" fmla="*/ 6863672 w 7044883"/>
                    <a:gd name="connsiteY89" fmla="*/ 1293608 h 2867451"/>
                    <a:gd name="connsiteX90" fmla="*/ 6852651 w 7044883"/>
                    <a:gd name="connsiteY90" fmla="*/ 1263322 h 2867451"/>
                    <a:gd name="connsiteX91" fmla="*/ 6849899 w 7044883"/>
                    <a:gd name="connsiteY91" fmla="*/ 1279836 h 2867451"/>
                    <a:gd name="connsiteX92" fmla="*/ 6836126 w 7044883"/>
                    <a:gd name="connsiteY92" fmla="*/ 1285282 h 2867451"/>
                    <a:gd name="connsiteX93" fmla="*/ 6794926 w 7044883"/>
                    <a:gd name="connsiteY93" fmla="*/ 1255007 h 2867451"/>
                    <a:gd name="connsiteX94" fmla="*/ 6767438 w 7044883"/>
                    <a:gd name="connsiteY94" fmla="*/ 1246821 h 2867451"/>
                    <a:gd name="connsiteX95" fmla="*/ 6753818 w 7044883"/>
                    <a:gd name="connsiteY95" fmla="*/ 1246821 h 2867451"/>
                    <a:gd name="connsiteX96" fmla="*/ 6745491 w 7044883"/>
                    <a:gd name="connsiteY96" fmla="*/ 1249550 h 2867451"/>
                    <a:gd name="connsiteX97" fmla="*/ 6734587 w 7044883"/>
                    <a:gd name="connsiteY97" fmla="*/ 1235765 h 2867451"/>
                    <a:gd name="connsiteX98" fmla="*/ 6726273 w 7044883"/>
                    <a:gd name="connsiteY98" fmla="*/ 1219252 h 2867451"/>
                    <a:gd name="connsiteX99" fmla="*/ 6726273 w 7044883"/>
                    <a:gd name="connsiteY99" fmla="*/ 1213677 h 2867451"/>
                    <a:gd name="connsiteX100" fmla="*/ 6720779 w 7044883"/>
                    <a:gd name="connsiteY100" fmla="*/ 1199881 h 2867451"/>
                    <a:gd name="connsiteX101" fmla="*/ 6693375 w 7044883"/>
                    <a:gd name="connsiteY101" fmla="*/ 1186108 h 2867451"/>
                    <a:gd name="connsiteX102" fmla="*/ 6594424 w 7044883"/>
                    <a:gd name="connsiteY102" fmla="*/ 1180639 h 2867451"/>
                    <a:gd name="connsiteX103" fmla="*/ 6583497 w 7044883"/>
                    <a:gd name="connsiteY103" fmla="*/ 1177922 h 2867451"/>
                    <a:gd name="connsiteX104" fmla="*/ 6586214 w 7044883"/>
                    <a:gd name="connsiteY104" fmla="*/ 1172453 h 2867451"/>
                    <a:gd name="connsiteX105" fmla="*/ 6577887 w 7044883"/>
                    <a:gd name="connsiteY105" fmla="*/ 1164138 h 2867451"/>
                    <a:gd name="connsiteX106" fmla="*/ 6564255 w 7044883"/>
                    <a:gd name="connsiteY106" fmla="*/ 1153094 h 2867451"/>
                    <a:gd name="connsiteX107" fmla="*/ 6564255 w 7044883"/>
                    <a:gd name="connsiteY107" fmla="*/ 1144907 h 2867451"/>
                    <a:gd name="connsiteX108" fmla="*/ 6561514 w 7044883"/>
                    <a:gd name="connsiteY108" fmla="*/ 1139309 h 2867451"/>
                    <a:gd name="connsiteX109" fmla="*/ 6572442 w 7044883"/>
                    <a:gd name="connsiteY109" fmla="*/ 1142167 h 2867451"/>
                    <a:gd name="connsiteX110" fmla="*/ 6575159 w 7044883"/>
                    <a:gd name="connsiteY110" fmla="*/ 1136569 h 2867451"/>
                    <a:gd name="connsiteX111" fmla="*/ 6580756 w 7044883"/>
                    <a:gd name="connsiteY111" fmla="*/ 1131099 h 2867451"/>
                    <a:gd name="connsiteX112" fmla="*/ 6583497 w 7044883"/>
                    <a:gd name="connsiteY112" fmla="*/ 1109011 h 2867451"/>
                    <a:gd name="connsiteX113" fmla="*/ 6555940 w 7044883"/>
                    <a:gd name="connsiteY113" fmla="*/ 1125525 h 2867451"/>
                    <a:gd name="connsiteX114" fmla="*/ 6553187 w 7044883"/>
                    <a:gd name="connsiteY114" fmla="*/ 1120055 h 2867451"/>
                    <a:gd name="connsiteX115" fmla="*/ 6553187 w 7044883"/>
                    <a:gd name="connsiteY115" fmla="*/ 1111881 h 2867451"/>
                    <a:gd name="connsiteX116" fmla="*/ 6539532 w 7044883"/>
                    <a:gd name="connsiteY116" fmla="*/ 1117338 h 2867451"/>
                    <a:gd name="connsiteX117" fmla="*/ 6536674 w 7044883"/>
                    <a:gd name="connsiteY117" fmla="*/ 1131111 h 2867451"/>
                    <a:gd name="connsiteX118" fmla="*/ 6523031 w 7044883"/>
                    <a:gd name="connsiteY118" fmla="*/ 1131111 h 2867451"/>
                    <a:gd name="connsiteX119" fmla="*/ 6525771 w 7044883"/>
                    <a:gd name="connsiteY119" fmla="*/ 1131111 h 2867451"/>
                    <a:gd name="connsiteX120" fmla="*/ 6520290 w 7044883"/>
                    <a:gd name="connsiteY120" fmla="*/ 1147636 h 2867451"/>
                    <a:gd name="connsiteX121" fmla="*/ 6525771 w 7044883"/>
                    <a:gd name="connsiteY121" fmla="*/ 1164138 h 2867451"/>
                    <a:gd name="connsiteX122" fmla="*/ 6539532 w 7044883"/>
                    <a:gd name="connsiteY122" fmla="*/ 1172453 h 2867451"/>
                    <a:gd name="connsiteX123" fmla="*/ 6542261 w 7044883"/>
                    <a:gd name="connsiteY123" fmla="*/ 1183380 h 2867451"/>
                    <a:gd name="connsiteX124" fmla="*/ 6503754 w 7044883"/>
                    <a:gd name="connsiteY124" fmla="*/ 1197152 h 2867451"/>
                    <a:gd name="connsiteX125" fmla="*/ 6498342 w 7044883"/>
                    <a:gd name="connsiteY125" fmla="*/ 1199881 h 2867451"/>
                    <a:gd name="connsiteX126" fmla="*/ 6506506 w 7044883"/>
                    <a:gd name="connsiteY126" fmla="*/ 1202739 h 2867451"/>
                    <a:gd name="connsiteX127" fmla="*/ 6506506 w 7044883"/>
                    <a:gd name="connsiteY127" fmla="*/ 1202739 h 2867451"/>
                    <a:gd name="connsiteX128" fmla="*/ 6528488 w 7044883"/>
                    <a:gd name="connsiteY128" fmla="*/ 1197152 h 2867451"/>
                    <a:gd name="connsiteX129" fmla="*/ 6533945 w 7044883"/>
                    <a:gd name="connsiteY129" fmla="*/ 1197152 h 2867451"/>
                    <a:gd name="connsiteX130" fmla="*/ 6525771 w 7044883"/>
                    <a:gd name="connsiteY130" fmla="*/ 1216512 h 2867451"/>
                    <a:gd name="connsiteX131" fmla="*/ 6525771 w 7044883"/>
                    <a:gd name="connsiteY131" fmla="*/ 1216512 h 2867451"/>
                    <a:gd name="connsiteX132" fmla="*/ 6511951 w 7044883"/>
                    <a:gd name="connsiteY132" fmla="*/ 1221981 h 2867451"/>
                    <a:gd name="connsiteX133" fmla="*/ 6507829 w 7044883"/>
                    <a:gd name="connsiteY133" fmla="*/ 1227099 h 2867451"/>
                    <a:gd name="connsiteX134" fmla="*/ 6507770 w 7044883"/>
                    <a:gd name="connsiteY134" fmla="*/ 1224311 h 2867451"/>
                    <a:gd name="connsiteX135" fmla="*/ 6502360 w 7044883"/>
                    <a:gd name="connsiteY135" fmla="*/ 1228012 h 2867451"/>
                    <a:gd name="connsiteX136" fmla="*/ 6486760 w 7044883"/>
                    <a:gd name="connsiteY136" fmla="*/ 1242206 h 2867451"/>
                    <a:gd name="connsiteX137" fmla="*/ 6468724 w 7044883"/>
                    <a:gd name="connsiteY137" fmla="*/ 1248671 h 2867451"/>
                    <a:gd name="connsiteX138" fmla="*/ 6428846 w 7044883"/>
                    <a:gd name="connsiteY138" fmla="*/ 1265595 h 2867451"/>
                    <a:gd name="connsiteX139" fmla="*/ 6440429 w 7044883"/>
                    <a:gd name="connsiteY139" fmla="*/ 1258263 h 2867451"/>
                    <a:gd name="connsiteX140" fmla="*/ 6414863 w 7044883"/>
                    <a:gd name="connsiteY140" fmla="*/ 1261577 h 2867451"/>
                    <a:gd name="connsiteX141" fmla="*/ 6417767 w 7044883"/>
                    <a:gd name="connsiteY141" fmla="*/ 1260640 h 2867451"/>
                    <a:gd name="connsiteX142" fmla="*/ 6407894 w 7044883"/>
                    <a:gd name="connsiteY142" fmla="*/ 1259001 h 2867451"/>
                    <a:gd name="connsiteX143" fmla="*/ 6401816 w 7044883"/>
                    <a:gd name="connsiteY143" fmla="*/ 1260149 h 2867451"/>
                    <a:gd name="connsiteX144" fmla="*/ 6400587 w 7044883"/>
                    <a:gd name="connsiteY144" fmla="*/ 1257853 h 2867451"/>
                    <a:gd name="connsiteX145" fmla="*/ 6382726 w 7044883"/>
                    <a:gd name="connsiteY145" fmla="*/ 1255886 h 2867451"/>
                    <a:gd name="connsiteX146" fmla="*/ 6384858 w 7044883"/>
                    <a:gd name="connsiteY146" fmla="*/ 1254035 h 2867451"/>
                    <a:gd name="connsiteX147" fmla="*/ 6377000 w 7044883"/>
                    <a:gd name="connsiteY147" fmla="*/ 1250592 h 2867451"/>
                    <a:gd name="connsiteX148" fmla="*/ 6371647 w 7044883"/>
                    <a:gd name="connsiteY148" fmla="*/ 1246610 h 2867451"/>
                    <a:gd name="connsiteX149" fmla="*/ 6377000 w 7044883"/>
                    <a:gd name="connsiteY149" fmla="*/ 1245404 h 2867451"/>
                    <a:gd name="connsiteX150" fmla="*/ 6368017 w 7044883"/>
                    <a:gd name="connsiteY150" fmla="*/ 1238424 h 2867451"/>
                    <a:gd name="connsiteX151" fmla="*/ 6355087 w 7044883"/>
                    <a:gd name="connsiteY151" fmla="*/ 1228750 h 2867451"/>
                    <a:gd name="connsiteX152" fmla="*/ 6330903 w 7044883"/>
                    <a:gd name="connsiteY152" fmla="*/ 1230015 h 2867451"/>
                    <a:gd name="connsiteX153" fmla="*/ 6319063 w 7044883"/>
                    <a:gd name="connsiteY153" fmla="*/ 1225061 h 2867451"/>
                    <a:gd name="connsiteX154" fmla="*/ 6315139 w 7044883"/>
                    <a:gd name="connsiteY154" fmla="*/ 1228000 h 2867451"/>
                    <a:gd name="connsiteX155" fmla="*/ 6322330 w 7044883"/>
                    <a:gd name="connsiteY155" fmla="*/ 1229160 h 2867451"/>
                    <a:gd name="connsiteX156" fmla="*/ 6326792 w 7044883"/>
                    <a:gd name="connsiteY156" fmla="*/ 1232509 h 2867451"/>
                    <a:gd name="connsiteX157" fmla="*/ 6349431 w 7044883"/>
                    <a:gd name="connsiteY157" fmla="*/ 1229090 h 2867451"/>
                    <a:gd name="connsiteX158" fmla="*/ 6363039 w 7044883"/>
                    <a:gd name="connsiteY158" fmla="*/ 1244233 h 2867451"/>
                    <a:gd name="connsiteX159" fmla="*/ 6355532 w 7044883"/>
                    <a:gd name="connsiteY159" fmla="*/ 1251201 h 2867451"/>
                    <a:gd name="connsiteX160" fmla="*/ 6344875 w 7044883"/>
                    <a:gd name="connsiteY160" fmla="*/ 1245884 h 2867451"/>
                    <a:gd name="connsiteX161" fmla="*/ 6328760 w 7044883"/>
                    <a:gd name="connsiteY161" fmla="*/ 1246540 h 2867451"/>
                    <a:gd name="connsiteX162" fmla="*/ 6322740 w 7044883"/>
                    <a:gd name="connsiteY162" fmla="*/ 1248812 h 2867451"/>
                    <a:gd name="connsiteX163" fmla="*/ 6320632 w 7044883"/>
                    <a:gd name="connsiteY163" fmla="*/ 1245404 h 2867451"/>
                    <a:gd name="connsiteX164" fmla="*/ 6296272 w 7044883"/>
                    <a:gd name="connsiteY164" fmla="*/ 1239794 h 2867451"/>
                    <a:gd name="connsiteX165" fmla="*/ 6285298 w 7044883"/>
                    <a:gd name="connsiteY165" fmla="*/ 1249491 h 2867451"/>
                    <a:gd name="connsiteX166" fmla="*/ 6274372 w 7044883"/>
                    <a:gd name="connsiteY166" fmla="*/ 1248917 h 2867451"/>
                    <a:gd name="connsiteX167" fmla="*/ 6262074 w 7044883"/>
                    <a:gd name="connsiteY167" fmla="*/ 1251693 h 2867451"/>
                    <a:gd name="connsiteX168" fmla="*/ 6243195 w 7044883"/>
                    <a:gd name="connsiteY168" fmla="*/ 1254433 h 2867451"/>
                    <a:gd name="connsiteX169" fmla="*/ 6217863 w 7044883"/>
                    <a:gd name="connsiteY169" fmla="*/ 1258685 h 2867451"/>
                    <a:gd name="connsiteX170" fmla="*/ 6238944 w 7044883"/>
                    <a:gd name="connsiteY170" fmla="*/ 1257841 h 2867451"/>
                    <a:gd name="connsiteX171" fmla="*/ 6262238 w 7044883"/>
                    <a:gd name="connsiteY171" fmla="*/ 1253649 h 2867451"/>
                    <a:gd name="connsiteX172" fmla="*/ 6296014 w 7044883"/>
                    <a:gd name="connsiteY172" fmla="*/ 1244795 h 2867451"/>
                    <a:gd name="connsiteX173" fmla="*/ 6310080 w 7044883"/>
                    <a:gd name="connsiteY173" fmla="*/ 1243331 h 2867451"/>
                    <a:gd name="connsiteX174" fmla="*/ 6317341 w 7044883"/>
                    <a:gd name="connsiteY174" fmla="*/ 1253508 h 2867451"/>
                    <a:gd name="connsiteX175" fmla="*/ 6317657 w 7044883"/>
                    <a:gd name="connsiteY175" fmla="*/ 1260242 h 2867451"/>
                    <a:gd name="connsiteX176" fmla="*/ 6305114 w 7044883"/>
                    <a:gd name="connsiteY176" fmla="*/ 1271345 h 2867451"/>
                    <a:gd name="connsiteX177" fmla="*/ 6319672 w 7044883"/>
                    <a:gd name="connsiteY177" fmla="*/ 1262596 h 2867451"/>
                    <a:gd name="connsiteX178" fmla="*/ 6327940 w 7044883"/>
                    <a:gd name="connsiteY178" fmla="*/ 1259586 h 2867451"/>
                    <a:gd name="connsiteX179" fmla="*/ 6337496 w 7044883"/>
                    <a:gd name="connsiteY179" fmla="*/ 1268557 h 2867451"/>
                    <a:gd name="connsiteX180" fmla="*/ 6350567 w 7044883"/>
                    <a:gd name="connsiteY180" fmla="*/ 1257115 h 2867451"/>
                    <a:gd name="connsiteX181" fmla="*/ 6376964 w 7044883"/>
                    <a:gd name="connsiteY181" fmla="*/ 1252349 h 2867451"/>
                    <a:gd name="connsiteX182" fmla="*/ 6373907 w 7044883"/>
                    <a:gd name="connsiteY182" fmla="*/ 1280164 h 2867451"/>
                    <a:gd name="connsiteX183" fmla="*/ 6413059 w 7044883"/>
                    <a:gd name="connsiteY183" fmla="*/ 1299511 h 2867451"/>
                    <a:gd name="connsiteX184" fmla="*/ 6407356 w 7044883"/>
                    <a:gd name="connsiteY184" fmla="*/ 1295459 h 2867451"/>
                    <a:gd name="connsiteX185" fmla="*/ 6417147 w 7044883"/>
                    <a:gd name="connsiteY185" fmla="*/ 1288373 h 2867451"/>
                    <a:gd name="connsiteX186" fmla="*/ 6413059 w 7044883"/>
                    <a:gd name="connsiteY186" fmla="*/ 1282307 h 2867451"/>
                    <a:gd name="connsiteX187" fmla="*/ 6413902 w 7044883"/>
                    <a:gd name="connsiteY187" fmla="*/ 1279883 h 2867451"/>
                    <a:gd name="connsiteX188" fmla="*/ 6434164 w 7044883"/>
                    <a:gd name="connsiteY188" fmla="*/ 1313741 h 2867451"/>
                    <a:gd name="connsiteX189" fmla="*/ 6423412 w 7044883"/>
                    <a:gd name="connsiteY189" fmla="*/ 1316587 h 2867451"/>
                    <a:gd name="connsiteX190" fmla="*/ 6429139 w 7044883"/>
                    <a:gd name="connsiteY190" fmla="*/ 1317769 h 2867451"/>
                    <a:gd name="connsiteX191" fmla="*/ 6423412 w 7044883"/>
                    <a:gd name="connsiteY191" fmla="*/ 1318390 h 2867451"/>
                    <a:gd name="connsiteX192" fmla="*/ 6437021 w 7044883"/>
                    <a:gd name="connsiteY192" fmla="*/ 1316587 h 2867451"/>
                    <a:gd name="connsiteX193" fmla="*/ 6443076 w 7044883"/>
                    <a:gd name="connsiteY193" fmla="*/ 1347938 h 2867451"/>
                    <a:gd name="connsiteX194" fmla="*/ 6434164 w 7044883"/>
                    <a:gd name="connsiteY194" fmla="*/ 1343933 h 2867451"/>
                    <a:gd name="connsiteX195" fmla="*/ 6441706 w 7044883"/>
                    <a:gd name="connsiteY195" fmla="*/ 1349145 h 2867451"/>
                    <a:gd name="connsiteX196" fmla="*/ 6429865 w 7044883"/>
                    <a:gd name="connsiteY196" fmla="*/ 1346802 h 2867451"/>
                    <a:gd name="connsiteX197" fmla="*/ 6421621 w 7044883"/>
                    <a:gd name="connsiteY197" fmla="*/ 1347493 h 2867451"/>
                    <a:gd name="connsiteX198" fmla="*/ 6425708 w 7044883"/>
                    <a:gd name="connsiteY198" fmla="*/ 1354907 h 2867451"/>
                    <a:gd name="connsiteX199" fmla="*/ 6438989 w 7044883"/>
                    <a:gd name="connsiteY199" fmla="*/ 1352717 h 2867451"/>
                    <a:gd name="connsiteX200" fmla="*/ 6441366 w 7044883"/>
                    <a:gd name="connsiteY200" fmla="*/ 1355094 h 2867451"/>
                    <a:gd name="connsiteX201" fmla="*/ 6434538 w 7044883"/>
                    <a:gd name="connsiteY201" fmla="*/ 1365400 h 2867451"/>
                    <a:gd name="connsiteX202" fmla="*/ 6447011 w 7044883"/>
                    <a:gd name="connsiteY202" fmla="*/ 1363034 h 2867451"/>
                    <a:gd name="connsiteX203" fmla="*/ 6444001 w 7044883"/>
                    <a:gd name="connsiteY203" fmla="*/ 1350222 h 2867451"/>
                    <a:gd name="connsiteX204" fmla="*/ 6455912 w 7044883"/>
                    <a:gd name="connsiteY204" fmla="*/ 1372802 h 2867451"/>
                    <a:gd name="connsiteX205" fmla="*/ 6445734 w 7044883"/>
                    <a:gd name="connsiteY205" fmla="*/ 1370413 h 2867451"/>
                    <a:gd name="connsiteX206" fmla="*/ 6458418 w 7044883"/>
                    <a:gd name="connsiteY206" fmla="*/ 1376081 h 2867451"/>
                    <a:gd name="connsiteX207" fmla="*/ 6476337 w 7044883"/>
                    <a:gd name="connsiteY207" fmla="*/ 1386738 h 2867451"/>
                    <a:gd name="connsiteX208" fmla="*/ 6468619 w 7044883"/>
                    <a:gd name="connsiteY208" fmla="*/ 1397033 h 2867451"/>
                    <a:gd name="connsiteX209" fmla="*/ 6484066 w 7044883"/>
                    <a:gd name="connsiteY209" fmla="*/ 1412492 h 2867451"/>
                    <a:gd name="connsiteX210" fmla="*/ 6485003 w 7044883"/>
                    <a:gd name="connsiteY210" fmla="*/ 1426569 h 2867451"/>
                    <a:gd name="connsiteX211" fmla="*/ 6485191 w 7044883"/>
                    <a:gd name="connsiteY211" fmla="*/ 1429427 h 2867451"/>
                    <a:gd name="connsiteX212" fmla="*/ 6480401 w 7044883"/>
                    <a:gd name="connsiteY212" fmla="*/ 1429895 h 2867451"/>
                    <a:gd name="connsiteX213" fmla="*/ 6475634 w 7044883"/>
                    <a:gd name="connsiteY213" fmla="*/ 1438234 h 2867451"/>
                    <a:gd name="connsiteX214" fmla="*/ 6462962 w 7044883"/>
                    <a:gd name="connsiteY214" fmla="*/ 1440682 h 2867451"/>
                    <a:gd name="connsiteX215" fmla="*/ 6463173 w 7044883"/>
                    <a:gd name="connsiteY215" fmla="*/ 1451304 h 2867451"/>
                    <a:gd name="connsiteX216" fmla="*/ 6447807 w 7044883"/>
                    <a:gd name="connsiteY216" fmla="*/ 1449910 h 2867451"/>
                    <a:gd name="connsiteX217" fmla="*/ 6367303 w 7044883"/>
                    <a:gd name="connsiteY217" fmla="*/ 1433257 h 2867451"/>
                    <a:gd name="connsiteX218" fmla="*/ 6369094 w 7044883"/>
                    <a:gd name="connsiteY218" fmla="*/ 1432753 h 2867451"/>
                    <a:gd name="connsiteX219" fmla="*/ 6365171 w 7044883"/>
                    <a:gd name="connsiteY219" fmla="*/ 1430540 h 2867451"/>
                    <a:gd name="connsiteX220" fmla="*/ 6373720 w 7044883"/>
                    <a:gd name="connsiteY220" fmla="*/ 1417938 h 2867451"/>
                    <a:gd name="connsiteX221" fmla="*/ 6375184 w 7044883"/>
                    <a:gd name="connsiteY221" fmla="*/ 1414307 h 2867451"/>
                    <a:gd name="connsiteX222" fmla="*/ 6365171 w 7044883"/>
                    <a:gd name="connsiteY222" fmla="*/ 1422658 h 2867451"/>
                    <a:gd name="connsiteX223" fmla="*/ 6352956 w 7044883"/>
                    <a:gd name="connsiteY223" fmla="*/ 1412129 h 2867451"/>
                    <a:gd name="connsiteX224" fmla="*/ 6351597 w 7044883"/>
                    <a:gd name="connsiteY224" fmla="*/ 1416322 h 2867451"/>
                    <a:gd name="connsiteX225" fmla="*/ 6353506 w 7044883"/>
                    <a:gd name="connsiteY225" fmla="*/ 1418067 h 2867451"/>
                    <a:gd name="connsiteX226" fmla="*/ 6349852 w 7044883"/>
                    <a:gd name="connsiteY226" fmla="*/ 1421978 h 2867451"/>
                    <a:gd name="connsiteX227" fmla="*/ 6349793 w 7044883"/>
                    <a:gd name="connsiteY227" fmla="*/ 1428654 h 2867451"/>
                    <a:gd name="connsiteX228" fmla="*/ 6365159 w 7044883"/>
                    <a:gd name="connsiteY228" fmla="*/ 1432741 h 2867451"/>
                    <a:gd name="connsiteX229" fmla="*/ 6335037 w 7044883"/>
                    <a:gd name="connsiteY229" fmla="*/ 1439874 h 2867451"/>
                    <a:gd name="connsiteX230" fmla="*/ 6336899 w 7044883"/>
                    <a:gd name="connsiteY230" fmla="*/ 1436583 h 2867451"/>
                    <a:gd name="connsiteX231" fmla="*/ 6330305 w 7044883"/>
                    <a:gd name="connsiteY231" fmla="*/ 1442052 h 2867451"/>
                    <a:gd name="connsiteX232" fmla="*/ 6332625 w 7044883"/>
                    <a:gd name="connsiteY232" fmla="*/ 1441666 h 2867451"/>
                    <a:gd name="connsiteX233" fmla="*/ 6300114 w 7044883"/>
                    <a:gd name="connsiteY233" fmla="*/ 1458846 h 2867451"/>
                    <a:gd name="connsiteX234" fmla="*/ 6262952 w 7044883"/>
                    <a:gd name="connsiteY234" fmla="*/ 1474294 h 2867451"/>
                    <a:gd name="connsiteX235" fmla="*/ 6267590 w 7044883"/>
                    <a:gd name="connsiteY235" fmla="*/ 1470441 h 2867451"/>
                    <a:gd name="connsiteX236" fmla="*/ 6260435 w 7044883"/>
                    <a:gd name="connsiteY236" fmla="*/ 1466728 h 2867451"/>
                    <a:gd name="connsiteX237" fmla="*/ 6234728 w 7044883"/>
                    <a:gd name="connsiteY237" fmla="*/ 1487024 h 2867451"/>
                    <a:gd name="connsiteX238" fmla="*/ 6236812 w 7044883"/>
                    <a:gd name="connsiteY238" fmla="*/ 1484823 h 2867451"/>
                    <a:gd name="connsiteX239" fmla="*/ 6226120 w 7044883"/>
                    <a:gd name="connsiteY239" fmla="*/ 1481520 h 2867451"/>
                    <a:gd name="connsiteX240" fmla="*/ 6230430 w 7044883"/>
                    <a:gd name="connsiteY240" fmla="*/ 1491615 h 2867451"/>
                    <a:gd name="connsiteX241" fmla="*/ 6213600 w 7044883"/>
                    <a:gd name="connsiteY241" fmla="*/ 1494695 h 2867451"/>
                    <a:gd name="connsiteX242" fmla="*/ 6202907 w 7044883"/>
                    <a:gd name="connsiteY242" fmla="*/ 1496347 h 2867451"/>
                    <a:gd name="connsiteX243" fmla="*/ 6204910 w 7044883"/>
                    <a:gd name="connsiteY243" fmla="*/ 1495047 h 2867451"/>
                    <a:gd name="connsiteX244" fmla="*/ 6199312 w 7044883"/>
                    <a:gd name="connsiteY244" fmla="*/ 1494157 h 2867451"/>
                    <a:gd name="connsiteX245" fmla="*/ 6200390 w 7044883"/>
                    <a:gd name="connsiteY245" fmla="*/ 1497986 h 2867451"/>
                    <a:gd name="connsiteX246" fmla="*/ 6184637 w 7044883"/>
                    <a:gd name="connsiteY246" fmla="*/ 1508421 h 2867451"/>
                    <a:gd name="connsiteX247" fmla="*/ 6175854 w 7044883"/>
                    <a:gd name="connsiteY247" fmla="*/ 1501418 h 2867451"/>
                    <a:gd name="connsiteX248" fmla="*/ 6169471 w 7044883"/>
                    <a:gd name="connsiteY248" fmla="*/ 1504240 h 2867451"/>
                    <a:gd name="connsiteX249" fmla="*/ 6168112 w 7044883"/>
                    <a:gd name="connsiteY249" fmla="*/ 1511455 h 2867451"/>
                    <a:gd name="connsiteX250" fmla="*/ 6168593 w 7044883"/>
                    <a:gd name="connsiteY250" fmla="*/ 1514710 h 2867451"/>
                    <a:gd name="connsiteX251" fmla="*/ 6163322 w 7044883"/>
                    <a:gd name="connsiteY251" fmla="*/ 1515683 h 2867451"/>
                    <a:gd name="connsiteX252" fmla="*/ 6145931 w 7044883"/>
                    <a:gd name="connsiteY252" fmla="*/ 1528507 h 2867451"/>
                    <a:gd name="connsiteX253" fmla="*/ 6127825 w 7044883"/>
                    <a:gd name="connsiteY253" fmla="*/ 1525930 h 2867451"/>
                    <a:gd name="connsiteX254" fmla="*/ 6140310 w 7044883"/>
                    <a:gd name="connsiteY254" fmla="*/ 1535229 h 2867451"/>
                    <a:gd name="connsiteX255" fmla="*/ 6125331 w 7044883"/>
                    <a:gd name="connsiteY255" fmla="*/ 1533601 h 2867451"/>
                    <a:gd name="connsiteX256" fmla="*/ 6125927 w 7044883"/>
                    <a:gd name="connsiteY256" fmla="*/ 1541635 h 2867451"/>
                    <a:gd name="connsiteX257" fmla="*/ 6120423 w 7044883"/>
                    <a:gd name="connsiteY257" fmla="*/ 1545301 h 2867451"/>
                    <a:gd name="connsiteX258" fmla="*/ 6108138 w 7044883"/>
                    <a:gd name="connsiteY258" fmla="*/ 1543415 h 2867451"/>
                    <a:gd name="connsiteX259" fmla="*/ 6113162 w 7044883"/>
                    <a:gd name="connsiteY259" fmla="*/ 1548838 h 2867451"/>
                    <a:gd name="connsiteX260" fmla="*/ 6103161 w 7044883"/>
                    <a:gd name="connsiteY260" fmla="*/ 1548838 h 2867451"/>
                    <a:gd name="connsiteX261" fmla="*/ 6116055 w 7044883"/>
                    <a:gd name="connsiteY261" fmla="*/ 1553722 h 2867451"/>
                    <a:gd name="connsiteX262" fmla="*/ 6090992 w 7044883"/>
                    <a:gd name="connsiteY262" fmla="*/ 1552140 h 2867451"/>
                    <a:gd name="connsiteX263" fmla="*/ 6100725 w 7044883"/>
                    <a:gd name="connsiteY263" fmla="*/ 1560947 h 2867451"/>
                    <a:gd name="connsiteX264" fmla="*/ 6096274 w 7044883"/>
                    <a:gd name="connsiteY264" fmla="*/ 1565363 h 2867451"/>
                    <a:gd name="connsiteX265" fmla="*/ 6088299 w 7044883"/>
                    <a:gd name="connsiteY265" fmla="*/ 1563864 h 2867451"/>
                    <a:gd name="connsiteX266" fmla="*/ 6084258 w 7044883"/>
                    <a:gd name="connsiteY266" fmla="*/ 1573151 h 2867451"/>
                    <a:gd name="connsiteX267" fmla="*/ 6078016 w 7044883"/>
                    <a:gd name="connsiteY267" fmla="*/ 1572109 h 2867451"/>
                    <a:gd name="connsiteX268" fmla="*/ 6072933 w 7044883"/>
                    <a:gd name="connsiteY268" fmla="*/ 1574638 h 2867451"/>
                    <a:gd name="connsiteX269" fmla="*/ 6066340 w 7044883"/>
                    <a:gd name="connsiteY269" fmla="*/ 1575411 h 2867451"/>
                    <a:gd name="connsiteX270" fmla="*/ 6059898 w 7044883"/>
                    <a:gd name="connsiteY270" fmla="*/ 1584617 h 2867451"/>
                    <a:gd name="connsiteX271" fmla="*/ 6059008 w 7044883"/>
                    <a:gd name="connsiteY271" fmla="*/ 1577297 h 2867451"/>
                    <a:gd name="connsiteX272" fmla="*/ 6046700 w 7044883"/>
                    <a:gd name="connsiteY272" fmla="*/ 1595110 h 2867451"/>
                    <a:gd name="connsiteX273" fmla="*/ 6029671 w 7044883"/>
                    <a:gd name="connsiteY273" fmla="*/ 1598506 h 2867451"/>
                    <a:gd name="connsiteX274" fmla="*/ 6028452 w 7044883"/>
                    <a:gd name="connsiteY274" fmla="*/ 1599701 h 2867451"/>
                    <a:gd name="connsiteX275" fmla="*/ 6013075 w 7044883"/>
                    <a:gd name="connsiteY275" fmla="*/ 1603449 h 2867451"/>
                    <a:gd name="connsiteX276" fmla="*/ 6013626 w 7044883"/>
                    <a:gd name="connsiteY276" fmla="*/ 1604690 h 2867451"/>
                    <a:gd name="connsiteX277" fmla="*/ 6017409 w 7044883"/>
                    <a:gd name="connsiteY277" fmla="*/ 1609246 h 2867451"/>
                    <a:gd name="connsiteX278" fmla="*/ 6018908 w 7044883"/>
                    <a:gd name="connsiteY278" fmla="*/ 1614715 h 2867451"/>
                    <a:gd name="connsiteX279" fmla="*/ 6012396 w 7044883"/>
                    <a:gd name="connsiteY279" fmla="*/ 1617421 h 2867451"/>
                    <a:gd name="connsiteX280" fmla="*/ 6009972 w 7044883"/>
                    <a:gd name="connsiteY280" fmla="*/ 1625080 h 2867451"/>
                    <a:gd name="connsiteX281" fmla="*/ 5998389 w 7044883"/>
                    <a:gd name="connsiteY281" fmla="*/ 1644837 h 2867451"/>
                    <a:gd name="connsiteX282" fmla="*/ 5991550 w 7044883"/>
                    <a:gd name="connsiteY282" fmla="*/ 1639989 h 2867451"/>
                    <a:gd name="connsiteX283" fmla="*/ 5991514 w 7044883"/>
                    <a:gd name="connsiteY283" fmla="*/ 1636862 h 2867451"/>
                    <a:gd name="connsiteX284" fmla="*/ 5986888 w 7044883"/>
                    <a:gd name="connsiteY284" fmla="*/ 1634683 h 2867451"/>
                    <a:gd name="connsiteX285" fmla="*/ 5984839 w 7044883"/>
                    <a:gd name="connsiteY285" fmla="*/ 1620559 h 2867451"/>
                    <a:gd name="connsiteX286" fmla="*/ 5975575 w 7044883"/>
                    <a:gd name="connsiteY286" fmla="*/ 1618650 h 2867451"/>
                    <a:gd name="connsiteX287" fmla="*/ 5970914 w 7044883"/>
                    <a:gd name="connsiteY287" fmla="*/ 1609386 h 2867451"/>
                    <a:gd name="connsiteX288" fmla="*/ 5946929 w 7044883"/>
                    <a:gd name="connsiteY288" fmla="*/ 1594255 h 2867451"/>
                    <a:gd name="connsiteX289" fmla="*/ 5953382 w 7044883"/>
                    <a:gd name="connsiteY289" fmla="*/ 1594255 h 2867451"/>
                    <a:gd name="connsiteX290" fmla="*/ 5945195 w 7044883"/>
                    <a:gd name="connsiteY290" fmla="*/ 1589418 h 2867451"/>
                    <a:gd name="connsiteX291" fmla="*/ 5940932 w 7044883"/>
                    <a:gd name="connsiteY291" fmla="*/ 1592686 h 2867451"/>
                    <a:gd name="connsiteX292" fmla="*/ 5942701 w 7044883"/>
                    <a:gd name="connsiteY292" fmla="*/ 1594255 h 2867451"/>
                    <a:gd name="connsiteX293" fmla="*/ 5919325 w 7044883"/>
                    <a:gd name="connsiteY293" fmla="*/ 1594747 h 2867451"/>
                    <a:gd name="connsiteX294" fmla="*/ 5906559 w 7044883"/>
                    <a:gd name="connsiteY294" fmla="*/ 1591807 h 2867451"/>
                    <a:gd name="connsiteX295" fmla="*/ 5868789 w 7044883"/>
                    <a:gd name="connsiteY295" fmla="*/ 1595848 h 2867451"/>
                    <a:gd name="connsiteX296" fmla="*/ 5854712 w 7044883"/>
                    <a:gd name="connsiteY296" fmla="*/ 1602055 h 2867451"/>
                    <a:gd name="connsiteX297" fmla="*/ 5847205 w 7044883"/>
                    <a:gd name="connsiteY297" fmla="*/ 1601809 h 2867451"/>
                    <a:gd name="connsiteX298" fmla="*/ 5844348 w 7044883"/>
                    <a:gd name="connsiteY298" fmla="*/ 1606107 h 2867451"/>
                    <a:gd name="connsiteX299" fmla="*/ 5830961 w 7044883"/>
                    <a:gd name="connsiteY299" fmla="*/ 1605229 h 2867451"/>
                    <a:gd name="connsiteX300" fmla="*/ 5824344 w 7044883"/>
                    <a:gd name="connsiteY300" fmla="*/ 1615242 h 2867451"/>
                    <a:gd name="connsiteX301" fmla="*/ 5808299 w 7044883"/>
                    <a:gd name="connsiteY301" fmla="*/ 1635433 h 2867451"/>
                    <a:gd name="connsiteX302" fmla="*/ 5782862 w 7044883"/>
                    <a:gd name="connsiteY302" fmla="*/ 1650260 h 2867451"/>
                    <a:gd name="connsiteX303" fmla="*/ 5787968 w 7044883"/>
                    <a:gd name="connsiteY303" fmla="*/ 1627328 h 2867451"/>
                    <a:gd name="connsiteX304" fmla="*/ 5791060 w 7044883"/>
                    <a:gd name="connsiteY304" fmla="*/ 1616776 h 2867451"/>
                    <a:gd name="connsiteX305" fmla="*/ 5789643 w 7044883"/>
                    <a:gd name="connsiteY305" fmla="*/ 1607712 h 2867451"/>
                    <a:gd name="connsiteX306" fmla="*/ 5795756 w 7044883"/>
                    <a:gd name="connsiteY306" fmla="*/ 1602887 h 2867451"/>
                    <a:gd name="connsiteX307" fmla="*/ 5797900 w 7044883"/>
                    <a:gd name="connsiteY307" fmla="*/ 1600158 h 2867451"/>
                    <a:gd name="connsiteX308" fmla="*/ 5773563 w 7044883"/>
                    <a:gd name="connsiteY308" fmla="*/ 1608777 h 2867451"/>
                    <a:gd name="connsiteX309" fmla="*/ 5788577 w 7044883"/>
                    <a:gd name="connsiteY309" fmla="*/ 1602887 h 2867451"/>
                    <a:gd name="connsiteX310" fmla="*/ 5748571 w 7044883"/>
                    <a:gd name="connsiteY310" fmla="*/ 1618463 h 2867451"/>
                    <a:gd name="connsiteX311" fmla="*/ 5735348 w 7044883"/>
                    <a:gd name="connsiteY311" fmla="*/ 1625396 h 2867451"/>
                    <a:gd name="connsiteX312" fmla="*/ 5725323 w 7044883"/>
                    <a:gd name="connsiteY312" fmla="*/ 1628113 h 2867451"/>
                    <a:gd name="connsiteX313" fmla="*/ 5729305 w 7044883"/>
                    <a:gd name="connsiteY313" fmla="*/ 1631486 h 2867451"/>
                    <a:gd name="connsiteX314" fmla="*/ 5736414 w 7044883"/>
                    <a:gd name="connsiteY314" fmla="*/ 1639356 h 2867451"/>
                    <a:gd name="connsiteX315" fmla="*/ 5720967 w 7044883"/>
                    <a:gd name="connsiteY315" fmla="*/ 1652169 h 2867451"/>
                    <a:gd name="connsiteX316" fmla="*/ 5713893 w 7044883"/>
                    <a:gd name="connsiteY316" fmla="*/ 1650447 h 2867451"/>
                    <a:gd name="connsiteX317" fmla="*/ 5692847 w 7044883"/>
                    <a:gd name="connsiteY317" fmla="*/ 1632809 h 2867451"/>
                    <a:gd name="connsiteX318" fmla="*/ 5689919 w 7044883"/>
                    <a:gd name="connsiteY318" fmla="*/ 1631779 h 2867451"/>
                    <a:gd name="connsiteX319" fmla="*/ 5681780 w 7044883"/>
                    <a:gd name="connsiteY319" fmla="*/ 1641546 h 2867451"/>
                    <a:gd name="connsiteX320" fmla="*/ 5683138 w 7044883"/>
                    <a:gd name="connsiteY320" fmla="*/ 1650049 h 2867451"/>
                    <a:gd name="connsiteX321" fmla="*/ 5683888 w 7044883"/>
                    <a:gd name="connsiteY321" fmla="*/ 1638888 h 2867451"/>
                    <a:gd name="connsiteX322" fmla="*/ 5665641 w 7044883"/>
                    <a:gd name="connsiteY322" fmla="*/ 1636709 h 2867451"/>
                    <a:gd name="connsiteX323" fmla="*/ 5653684 w 7044883"/>
                    <a:gd name="connsiteY323" fmla="*/ 1635890 h 2867451"/>
                    <a:gd name="connsiteX324" fmla="*/ 5662432 w 7044883"/>
                    <a:gd name="connsiteY324" fmla="*/ 1639368 h 2867451"/>
                    <a:gd name="connsiteX325" fmla="*/ 5653309 w 7044883"/>
                    <a:gd name="connsiteY325" fmla="*/ 1646383 h 2867451"/>
                    <a:gd name="connsiteX326" fmla="*/ 5647325 w 7044883"/>
                    <a:gd name="connsiteY326" fmla="*/ 1646652 h 2867451"/>
                    <a:gd name="connsiteX327" fmla="*/ 5639911 w 7044883"/>
                    <a:gd name="connsiteY327" fmla="*/ 1652122 h 2867451"/>
                    <a:gd name="connsiteX328" fmla="*/ 5641469 w 7044883"/>
                    <a:gd name="connsiteY328" fmla="*/ 1666117 h 2867451"/>
                    <a:gd name="connsiteX329" fmla="*/ 5630425 w 7044883"/>
                    <a:gd name="connsiteY329" fmla="*/ 1673003 h 2867451"/>
                    <a:gd name="connsiteX330" fmla="*/ 5632006 w 7044883"/>
                    <a:gd name="connsiteY330" fmla="*/ 1672863 h 2867451"/>
                    <a:gd name="connsiteX331" fmla="*/ 5637979 w 7044883"/>
                    <a:gd name="connsiteY331" fmla="*/ 1685113 h 2867451"/>
                    <a:gd name="connsiteX332" fmla="*/ 5632907 w 7044883"/>
                    <a:gd name="connsiteY332" fmla="*/ 1697410 h 2867451"/>
                    <a:gd name="connsiteX333" fmla="*/ 5635953 w 7044883"/>
                    <a:gd name="connsiteY333" fmla="*/ 1693018 h 2867451"/>
                    <a:gd name="connsiteX334" fmla="*/ 5624967 w 7044883"/>
                    <a:gd name="connsiteY334" fmla="*/ 1700736 h 2867451"/>
                    <a:gd name="connsiteX335" fmla="*/ 5628797 w 7044883"/>
                    <a:gd name="connsiteY335" fmla="*/ 1713080 h 2867451"/>
                    <a:gd name="connsiteX336" fmla="*/ 5616488 w 7044883"/>
                    <a:gd name="connsiteY336" fmla="*/ 1705690 h 2867451"/>
                    <a:gd name="connsiteX337" fmla="*/ 5614673 w 7044883"/>
                    <a:gd name="connsiteY337" fmla="*/ 1723222 h 2867451"/>
                    <a:gd name="connsiteX338" fmla="*/ 5613900 w 7044883"/>
                    <a:gd name="connsiteY338" fmla="*/ 1719873 h 2867451"/>
                    <a:gd name="connsiteX339" fmla="*/ 5610374 w 7044883"/>
                    <a:gd name="connsiteY339" fmla="*/ 1724616 h 2867451"/>
                    <a:gd name="connsiteX340" fmla="*/ 5604156 w 7044883"/>
                    <a:gd name="connsiteY340" fmla="*/ 1725705 h 2867451"/>
                    <a:gd name="connsiteX341" fmla="*/ 5609859 w 7044883"/>
                    <a:gd name="connsiteY341" fmla="*/ 1725705 h 2867451"/>
                    <a:gd name="connsiteX342" fmla="*/ 5589716 w 7044883"/>
                    <a:gd name="connsiteY342" fmla="*/ 1742968 h 2867451"/>
                    <a:gd name="connsiteX343" fmla="*/ 5572324 w 7044883"/>
                    <a:gd name="connsiteY343" fmla="*/ 1774249 h 2867451"/>
                    <a:gd name="connsiteX344" fmla="*/ 5574795 w 7044883"/>
                    <a:gd name="connsiteY344" fmla="*/ 1802463 h 2867451"/>
                    <a:gd name="connsiteX345" fmla="*/ 5590383 w 7044883"/>
                    <a:gd name="connsiteY345" fmla="*/ 1808518 h 2867451"/>
                    <a:gd name="connsiteX346" fmla="*/ 5586893 w 7044883"/>
                    <a:gd name="connsiteY346" fmla="*/ 1815533 h 2867451"/>
                    <a:gd name="connsiteX347" fmla="*/ 5595478 w 7044883"/>
                    <a:gd name="connsiteY347" fmla="*/ 1799289 h 2867451"/>
                    <a:gd name="connsiteX348" fmla="*/ 5607330 w 7044883"/>
                    <a:gd name="connsiteY348" fmla="*/ 1795939 h 2867451"/>
                    <a:gd name="connsiteX349" fmla="*/ 5621231 w 7044883"/>
                    <a:gd name="connsiteY349" fmla="*/ 1804524 h 2867451"/>
                    <a:gd name="connsiteX350" fmla="*/ 5638213 w 7044883"/>
                    <a:gd name="connsiteY350" fmla="*/ 1814233 h 2867451"/>
                    <a:gd name="connsiteX351" fmla="*/ 5633364 w 7044883"/>
                    <a:gd name="connsiteY351" fmla="*/ 1823075 h 2867451"/>
                    <a:gd name="connsiteX352" fmla="*/ 5627099 w 7044883"/>
                    <a:gd name="connsiteY352" fmla="*/ 1829727 h 2867451"/>
                    <a:gd name="connsiteX353" fmla="*/ 5610374 w 7044883"/>
                    <a:gd name="connsiteY353" fmla="*/ 1853642 h 2867451"/>
                    <a:gd name="connsiteX354" fmla="*/ 5611675 w 7044883"/>
                    <a:gd name="connsiteY354" fmla="*/ 1869640 h 2867451"/>
                    <a:gd name="connsiteX355" fmla="*/ 5609824 w 7044883"/>
                    <a:gd name="connsiteY355" fmla="*/ 1883905 h 2867451"/>
                    <a:gd name="connsiteX356" fmla="*/ 5619310 w 7044883"/>
                    <a:gd name="connsiteY356" fmla="*/ 1889409 h 2867451"/>
                    <a:gd name="connsiteX357" fmla="*/ 5624616 w 7044883"/>
                    <a:gd name="connsiteY357" fmla="*/ 1886610 h 2867451"/>
                    <a:gd name="connsiteX358" fmla="*/ 5632907 w 7044883"/>
                    <a:gd name="connsiteY358" fmla="*/ 1886528 h 2867451"/>
                    <a:gd name="connsiteX359" fmla="*/ 5634875 w 7044883"/>
                    <a:gd name="connsiteY359" fmla="*/ 1905348 h 2867451"/>
                    <a:gd name="connsiteX360" fmla="*/ 5638810 w 7044883"/>
                    <a:gd name="connsiteY360" fmla="*/ 1915936 h 2867451"/>
                    <a:gd name="connsiteX361" fmla="*/ 5640122 w 7044883"/>
                    <a:gd name="connsiteY361" fmla="*/ 1928092 h 2867451"/>
                    <a:gd name="connsiteX362" fmla="*/ 5623702 w 7044883"/>
                    <a:gd name="connsiteY362" fmla="*/ 1940986 h 2867451"/>
                    <a:gd name="connsiteX363" fmla="*/ 5597913 w 7044883"/>
                    <a:gd name="connsiteY363" fmla="*/ 1924567 h 2867451"/>
                    <a:gd name="connsiteX364" fmla="*/ 5610339 w 7044883"/>
                    <a:gd name="connsiteY364" fmla="*/ 1915174 h 2867451"/>
                    <a:gd name="connsiteX365" fmla="*/ 5623339 w 7044883"/>
                    <a:gd name="connsiteY365" fmla="*/ 1908663 h 2867451"/>
                    <a:gd name="connsiteX366" fmla="*/ 5622683 w 7044883"/>
                    <a:gd name="connsiteY366" fmla="*/ 1902327 h 2867451"/>
                    <a:gd name="connsiteX367" fmla="*/ 5616312 w 7044883"/>
                    <a:gd name="connsiteY367" fmla="*/ 1909974 h 2867451"/>
                    <a:gd name="connsiteX368" fmla="*/ 5607470 w 7044883"/>
                    <a:gd name="connsiteY368" fmla="*/ 1905969 h 2867451"/>
                    <a:gd name="connsiteX369" fmla="*/ 5602528 w 7044883"/>
                    <a:gd name="connsiteY369" fmla="*/ 1907257 h 2867451"/>
                    <a:gd name="connsiteX370" fmla="*/ 5589797 w 7044883"/>
                    <a:gd name="connsiteY370" fmla="*/ 1914132 h 2867451"/>
                    <a:gd name="connsiteX371" fmla="*/ 5599787 w 7044883"/>
                    <a:gd name="connsiteY371" fmla="*/ 1921616 h 2867451"/>
                    <a:gd name="connsiteX372" fmla="*/ 5572886 w 7044883"/>
                    <a:gd name="connsiteY372" fmla="*/ 1939733 h 2867451"/>
                    <a:gd name="connsiteX373" fmla="*/ 5559722 w 7044883"/>
                    <a:gd name="connsiteY373" fmla="*/ 1964995 h 2867451"/>
                    <a:gd name="connsiteX374" fmla="*/ 5557064 w 7044883"/>
                    <a:gd name="connsiteY374" fmla="*/ 1992014 h 2867451"/>
                    <a:gd name="connsiteX375" fmla="*/ 5571446 w 7044883"/>
                    <a:gd name="connsiteY375" fmla="*/ 2019864 h 2867451"/>
                    <a:gd name="connsiteX376" fmla="*/ 5574209 w 7044883"/>
                    <a:gd name="connsiteY376" fmla="*/ 2033191 h 2867451"/>
                    <a:gd name="connsiteX377" fmla="*/ 5561057 w 7044883"/>
                    <a:gd name="connsiteY377" fmla="*/ 2043252 h 2867451"/>
                    <a:gd name="connsiteX378" fmla="*/ 5540515 w 7044883"/>
                    <a:gd name="connsiteY378" fmla="*/ 2049599 h 2867451"/>
                    <a:gd name="connsiteX379" fmla="*/ 5521297 w 7044883"/>
                    <a:gd name="connsiteY379" fmla="*/ 2043544 h 2867451"/>
                    <a:gd name="connsiteX380" fmla="*/ 5489886 w 7044883"/>
                    <a:gd name="connsiteY380" fmla="*/ 2057259 h 2867451"/>
                    <a:gd name="connsiteX381" fmla="*/ 5476863 w 7044883"/>
                    <a:gd name="connsiteY381" fmla="*/ 2068630 h 2867451"/>
                    <a:gd name="connsiteX382" fmla="*/ 5464402 w 7044883"/>
                    <a:gd name="connsiteY382" fmla="*/ 2077660 h 2867451"/>
                    <a:gd name="connsiteX383" fmla="*/ 5457879 w 7044883"/>
                    <a:gd name="connsiteY383" fmla="*/ 2094337 h 2867451"/>
                    <a:gd name="connsiteX384" fmla="*/ 5455056 w 7044883"/>
                    <a:gd name="connsiteY384" fmla="*/ 2110722 h 2867451"/>
                    <a:gd name="connsiteX385" fmla="*/ 5460092 w 7044883"/>
                    <a:gd name="connsiteY385" fmla="*/ 2115617 h 2867451"/>
                    <a:gd name="connsiteX386" fmla="*/ 5457914 w 7044883"/>
                    <a:gd name="connsiteY386" fmla="*/ 2110230 h 2867451"/>
                    <a:gd name="connsiteX387" fmla="*/ 5462013 w 7044883"/>
                    <a:gd name="connsiteY387" fmla="*/ 2123487 h 2867451"/>
                    <a:gd name="connsiteX388" fmla="*/ 5453639 w 7044883"/>
                    <a:gd name="connsiteY388" fmla="*/ 2120923 h 2867451"/>
                    <a:gd name="connsiteX389" fmla="*/ 5453920 w 7044883"/>
                    <a:gd name="connsiteY389" fmla="*/ 2123394 h 2867451"/>
                    <a:gd name="connsiteX390" fmla="*/ 5461170 w 7044883"/>
                    <a:gd name="connsiteY390" fmla="*/ 2129694 h 2867451"/>
                    <a:gd name="connsiteX391" fmla="*/ 5463243 w 7044883"/>
                    <a:gd name="connsiteY391" fmla="*/ 2134028 h 2867451"/>
                    <a:gd name="connsiteX392" fmla="*/ 5462938 w 7044883"/>
                    <a:gd name="connsiteY392" fmla="*/ 2142319 h 2867451"/>
                    <a:gd name="connsiteX393" fmla="*/ 5467588 w 7044883"/>
                    <a:gd name="connsiteY393" fmla="*/ 2150611 h 2867451"/>
                    <a:gd name="connsiteX394" fmla="*/ 5455408 w 7044883"/>
                    <a:gd name="connsiteY394" fmla="*/ 2137471 h 2867451"/>
                    <a:gd name="connsiteX395" fmla="*/ 5443275 w 7044883"/>
                    <a:gd name="connsiteY395" fmla="*/ 2139509 h 2867451"/>
                    <a:gd name="connsiteX396" fmla="*/ 5430052 w 7044883"/>
                    <a:gd name="connsiteY396" fmla="*/ 2145564 h 2867451"/>
                    <a:gd name="connsiteX397" fmla="*/ 5415495 w 7044883"/>
                    <a:gd name="connsiteY397" fmla="*/ 2150611 h 2867451"/>
                    <a:gd name="connsiteX398" fmla="*/ 5397190 w 7044883"/>
                    <a:gd name="connsiteY398" fmla="*/ 2165134 h 2867451"/>
                    <a:gd name="connsiteX399" fmla="*/ 5390678 w 7044883"/>
                    <a:gd name="connsiteY399" fmla="*/ 2152907 h 2867451"/>
                    <a:gd name="connsiteX400" fmla="*/ 5383885 w 7044883"/>
                    <a:gd name="connsiteY400" fmla="*/ 2158669 h 2867451"/>
                    <a:gd name="connsiteX401" fmla="*/ 5387891 w 7044883"/>
                    <a:gd name="connsiteY401" fmla="*/ 2164161 h 2867451"/>
                    <a:gd name="connsiteX402" fmla="*/ 5385408 w 7044883"/>
                    <a:gd name="connsiteY402" fmla="*/ 2161714 h 2867451"/>
                    <a:gd name="connsiteX403" fmla="*/ 5391838 w 7044883"/>
                    <a:gd name="connsiteY403" fmla="*/ 2166094 h 2867451"/>
                    <a:gd name="connsiteX404" fmla="*/ 5388640 w 7044883"/>
                    <a:gd name="connsiteY404" fmla="*/ 2168975 h 2867451"/>
                    <a:gd name="connsiteX405" fmla="*/ 5386310 w 7044883"/>
                    <a:gd name="connsiteY405" fmla="*/ 2174725 h 2867451"/>
                    <a:gd name="connsiteX406" fmla="*/ 5391486 w 7044883"/>
                    <a:gd name="connsiteY406" fmla="*/ 2177677 h 2867451"/>
                    <a:gd name="connsiteX407" fmla="*/ 5382199 w 7044883"/>
                    <a:gd name="connsiteY407" fmla="*/ 2181518 h 2867451"/>
                    <a:gd name="connsiteX408" fmla="*/ 5386743 w 7044883"/>
                    <a:gd name="connsiteY408" fmla="*/ 2187690 h 2867451"/>
                    <a:gd name="connsiteX409" fmla="*/ 5387903 w 7044883"/>
                    <a:gd name="connsiteY409" fmla="*/ 2193546 h 2867451"/>
                    <a:gd name="connsiteX410" fmla="*/ 5382210 w 7044883"/>
                    <a:gd name="connsiteY410" fmla="*/ 2198863 h 2867451"/>
                    <a:gd name="connsiteX411" fmla="*/ 5390034 w 7044883"/>
                    <a:gd name="connsiteY411" fmla="*/ 2200292 h 2867451"/>
                    <a:gd name="connsiteX412" fmla="*/ 5386485 w 7044883"/>
                    <a:gd name="connsiteY412" fmla="*/ 2202646 h 2867451"/>
                    <a:gd name="connsiteX413" fmla="*/ 5382527 w 7044883"/>
                    <a:gd name="connsiteY413" fmla="*/ 2208946 h 2867451"/>
                    <a:gd name="connsiteX414" fmla="*/ 5381438 w 7044883"/>
                    <a:gd name="connsiteY414" fmla="*/ 2216383 h 2867451"/>
                    <a:gd name="connsiteX415" fmla="*/ 5377186 w 7044883"/>
                    <a:gd name="connsiteY415" fmla="*/ 2218023 h 2867451"/>
                    <a:gd name="connsiteX416" fmla="*/ 5377491 w 7044883"/>
                    <a:gd name="connsiteY416" fmla="*/ 2222555 h 2867451"/>
                    <a:gd name="connsiteX417" fmla="*/ 5362699 w 7044883"/>
                    <a:gd name="connsiteY417" fmla="*/ 2242687 h 2867451"/>
                    <a:gd name="connsiteX418" fmla="*/ 5346455 w 7044883"/>
                    <a:gd name="connsiteY418" fmla="*/ 2259189 h 2867451"/>
                    <a:gd name="connsiteX419" fmla="*/ 5337004 w 7044883"/>
                    <a:gd name="connsiteY419" fmla="*/ 2262679 h 2867451"/>
                    <a:gd name="connsiteX420" fmla="*/ 5333502 w 7044883"/>
                    <a:gd name="connsiteY420" fmla="*/ 2270034 h 2867451"/>
                    <a:gd name="connsiteX421" fmla="*/ 5322493 w 7044883"/>
                    <a:gd name="connsiteY421" fmla="*/ 2279649 h 2867451"/>
                    <a:gd name="connsiteX422" fmla="*/ 5302771 w 7044883"/>
                    <a:gd name="connsiteY422" fmla="*/ 2295213 h 2867451"/>
                    <a:gd name="connsiteX423" fmla="*/ 5290837 w 7044883"/>
                    <a:gd name="connsiteY423" fmla="*/ 2306363 h 2867451"/>
                    <a:gd name="connsiteX424" fmla="*/ 5295686 w 7044883"/>
                    <a:gd name="connsiteY424" fmla="*/ 2292684 h 2867451"/>
                    <a:gd name="connsiteX425" fmla="*/ 5292524 w 7044883"/>
                    <a:gd name="connsiteY425" fmla="*/ 2289346 h 2867451"/>
                    <a:gd name="connsiteX426" fmla="*/ 5292055 w 7044883"/>
                    <a:gd name="connsiteY426" fmla="*/ 2282506 h 2867451"/>
                    <a:gd name="connsiteX427" fmla="*/ 5283014 w 7044883"/>
                    <a:gd name="connsiteY427" fmla="*/ 2273805 h 2867451"/>
                    <a:gd name="connsiteX428" fmla="*/ 5281023 w 7044883"/>
                    <a:gd name="connsiteY428" fmla="*/ 2264857 h 2867451"/>
                    <a:gd name="connsiteX429" fmla="*/ 5281292 w 7044883"/>
                    <a:gd name="connsiteY429" fmla="*/ 2231561 h 2867451"/>
                    <a:gd name="connsiteX430" fmla="*/ 5277428 w 7044883"/>
                    <a:gd name="connsiteY430" fmla="*/ 2207389 h 2867451"/>
                    <a:gd name="connsiteX431" fmla="*/ 5270600 w 7044883"/>
                    <a:gd name="connsiteY431" fmla="*/ 2190630 h 2867451"/>
                    <a:gd name="connsiteX432" fmla="*/ 5275296 w 7044883"/>
                    <a:gd name="connsiteY432" fmla="*/ 2196427 h 2867451"/>
                    <a:gd name="connsiteX433" fmla="*/ 5269405 w 7044883"/>
                    <a:gd name="connsiteY433" fmla="*/ 2184750 h 2867451"/>
                    <a:gd name="connsiteX434" fmla="*/ 5259380 w 7044883"/>
                    <a:gd name="connsiteY434" fmla="*/ 2145435 h 2867451"/>
                    <a:gd name="connsiteX435" fmla="*/ 5249495 w 7044883"/>
                    <a:gd name="connsiteY435" fmla="*/ 2082954 h 2867451"/>
                    <a:gd name="connsiteX436" fmla="*/ 5234317 w 7044883"/>
                    <a:gd name="connsiteY436" fmla="*/ 2010846 h 2867451"/>
                    <a:gd name="connsiteX437" fmla="*/ 5235231 w 7044883"/>
                    <a:gd name="connsiteY437" fmla="*/ 1972010 h 2867451"/>
                    <a:gd name="connsiteX438" fmla="*/ 5239693 w 7044883"/>
                    <a:gd name="connsiteY438" fmla="*/ 1937871 h 2867451"/>
                    <a:gd name="connsiteX439" fmla="*/ 5242738 w 7044883"/>
                    <a:gd name="connsiteY439" fmla="*/ 1929896 h 2867451"/>
                    <a:gd name="connsiteX440" fmla="*/ 5247774 w 7044883"/>
                    <a:gd name="connsiteY440" fmla="*/ 1913418 h 2867451"/>
                    <a:gd name="connsiteX441" fmla="*/ 5264967 w 7044883"/>
                    <a:gd name="connsiteY441" fmla="*/ 1878810 h 2867451"/>
                    <a:gd name="connsiteX442" fmla="*/ 5259216 w 7044883"/>
                    <a:gd name="connsiteY442" fmla="*/ 1888460 h 2867451"/>
                    <a:gd name="connsiteX443" fmla="*/ 5279512 w 7044883"/>
                    <a:gd name="connsiteY443" fmla="*/ 1871502 h 2867451"/>
                    <a:gd name="connsiteX444" fmla="*/ 5291118 w 7044883"/>
                    <a:gd name="connsiteY444" fmla="*/ 1863878 h 2867451"/>
                    <a:gd name="connsiteX445" fmla="*/ 5306824 w 7044883"/>
                    <a:gd name="connsiteY445" fmla="*/ 1838101 h 2867451"/>
                    <a:gd name="connsiteX446" fmla="*/ 5294948 w 7044883"/>
                    <a:gd name="connsiteY446" fmla="*/ 1812652 h 2867451"/>
                    <a:gd name="connsiteX447" fmla="*/ 5308674 w 7044883"/>
                    <a:gd name="connsiteY447" fmla="*/ 1804114 h 2867451"/>
                    <a:gd name="connsiteX448" fmla="*/ 5315689 w 7044883"/>
                    <a:gd name="connsiteY448" fmla="*/ 1808260 h 2867451"/>
                    <a:gd name="connsiteX449" fmla="*/ 5326347 w 7044883"/>
                    <a:gd name="connsiteY449" fmla="*/ 1809138 h 2867451"/>
                    <a:gd name="connsiteX450" fmla="*/ 5341408 w 7044883"/>
                    <a:gd name="connsiteY450" fmla="*/ 1790353 h 2867451"/>
                    <a:gd name="connsiteX451" fmla="*/ 5360298 w 7044883"/>
                    <a:gd name="connsiteY451" fmla="*/ 1793246 h 2867451"/>
                    <a:gd name="connsiteX452" fmla="*/ 5377842 w 7044883"/>
                    <a:gd name="connsiteY452" fmla="*/ 1795787 h 2867451"/>
                    <a:gd name="connsiteX453" fmla="*/ 5372127 w 7044883"/>
                    <a:gd name="connsiteY453" fmla="*/ 1789311 h 2867451"/>
                    <a:gd name="connsiteX454" fmla="*/ 5403736 w 7044883"/>
                    <a:gd name="connsiteY454" fmla="*/ 1766497 h 2867451"/>
                    <a:gd name="connsiteX455" fmla="*/ 5424712 w 7044883"/>
                    <a:gd name="connsiteY455" fmla="*/ 1756741 h 2867451"/>
                    <a:gd name="connsiteX456" fmla="*/ 5432828 w 7044883"/>
                    <a:gd name="connsiteY456" fmla="*/ 1741176 h 2867451"/>
                    <a:gd name="connsiteX457" fmla="*/ 5438402 w 7044883"/>
                    <a:gd name="connsiteY457" fmla="*/ 1737909 h 2867451"/>
                    <a:gd name="connsiteX458" fmla="*/ 5443099 w 7044883"/>
                    <a:gd name="connsiteY458" fmla="*/ 1732428 h 2867451"/>
                    <a:gd name="connsiteX459" fmla="*/ 5451426 w 7044883"/>
                    <a:gd name="connsiteY459" fmla="*/ 1722180 h 2867451"/>
                    <a:gd name="connsiteX460" fmla="*/ 5450747 w 7044883"/>
                    <a:gd name="connsiteY460" fmla="*/ 1714415 h 2867451"/>
                    <a:gd name="connsiteX461" fmla="*/ 5457726 w 7044883"/>
                    <a:gd name="connsiteY461" fmla="*/ 1705034 h 2867451"/>
                    <a:gd name="connsiteX462" fmla="*/ 5472987 w 7044883"/>
                    <a:gd name="connsiteY462" fmla="*/ 1693440 h 2867451"/>
                    <a:gd name="connsiteX463" fmla="*/ 5480693 w 7044883"/>
                    <a:gd name="connsiteY463" fmla="*/ 1689411 h 2867451"/>
                    <a:gd name="connsiteX464" fmla="*/ 5491069 w 7044883"/>
                    <a:gd name="connsiteY464" fmla="*/ 1673179 h 2867451"/>
                    <a:gd name="connsiteX465" fmla="*/ 5512829 w 7044883"/>
                    <a:gd name="connsiteY465" fmla="*/ 1664571 h 2867451"/>
                    <a:gd name="connsiteX466" fmla="*/ 5527914 w 7044883"/>
                    <a:gd name="connsiteY466" fmla="*/ 1651103 h 2867451"/>
                    <a:gd name="connsiteX467" fmla="*/ 5550798 w 7044883"/>
                    <a:gd name="connsiteY467" fmla="*/ 1631720 h 2867451"/>
                    <a:gd name="connsiteX468" fmla="*/ 5563985 w 7044883"/>
                    <a:gd name="connsiteY468" fmla="*/ 1622199 h 2867451"/>
                    <a:gd name="connsiteX469" fmla="*/ 5563365 w 7044883"/>
                    <a:gd name="connsiteY469" fmla="*/ 1615453 h 2867451"/>
                    <a:gd name="connsiteX470" fmla="*/ 5576388 w 7044883"/>
                    <a:gd name="connsiteY470" fmla="*/ 1600087 h 2867451"/>
                    <a:gd name="connsiteX471" fmla="*/ 5586940 w 7044883"/>
                    <a:gd name="connsiteY471" fmla="*/ 1595649 h 2867451"/>
                    <a:gd name="connsiteX472" fmla="*/ 5594646 w 7044883"/>
                    <a:gd name="connsiteY472" fmla="*/ 1590390 h 2867451"/>
                    <a:gd name="connsiteX473" fmla="*/ 5610726 w 7044883"/>
                    <a:gd name="connsiteY473" fmla="*/ 1585565 h 2867451"/>
                    <a:gd name="connsiteX474" fmla="*/ 5627403 w 7044883"/>
                    <a:gd name="connsiteY474" fmla="*/ 1578667 h 2867451"/>
                    <a:gd name="connsiteX475" fmla="*/ 5626326 w 7044883"/>
                    <a:gd name="connsiteY475" fmla="*/ 1577753 h 2867451"/>
                    <a:gd name="connsiteX476" fmla="*/ 5639033 w 7044883"/>
                    <a:gd name="connsiteY476" fmla="*/ 1576009 h 2867451"/>
                    <a:gd name="connsiteX477" fmla="*/ 5636409 w 7044883"/>
                    <a:gd name="connsiteY477" fmla="*/ 1581595 h 2867451"/>
                    <a:gd name="connsiteX478" fmla="*/ 5642628 w 7044883"/>
                    <a:gd name="connsiteY478" fmla="*/ 1574287 h 2867451"/>
                    <a:gd name="connsiteX479" fmla="*/ 5653649 w 7044883"/>
                    <a:gd name="connsiteY479" fmla="*/ 1570528 h 2867451"/>
                    <a:gd name="connsiteX480" fmla="*/ 5660781 w 7044883"/>
                    <a:gd name="connsiteY480" fmla="*/ 1566124 h 2867451"/>
                    <a:gd name="connsiteX481" fmla="*/ 5646387 w 7044883"/>
                    <a:gd name="connsiteY481" fmla="*/ 1560011 h 2867451"/>
                    <a:gd name="connsiteX482" fmla="*/ 5653555 w 7044883"/>
                    <a:gd name="connsiteY482" fmla="*/ 1554553 h 2867451"/>
                    <a:gd name="connsiteX483" fmla="*/ 5654855 w 7044883"/>
                    <a:gd name="connsiteY483" fmla="*/ 1549740 h 2867451"/>
                    <a:gd name="connsiteX484" fmla="*/ 5670209 w 7044883"/>
                    <a:gd name="connsiteY484" fmla="*/ 1540089 h 2867451"/>
                    <a:gd name="connsiteX485" fmla="*/ 5661425 w 7044883"/>
                    <a:gd name="connsiteY485" fmla="*/ 1527312 h 2867451"/>
                    <a:gd name="connsiteX486" fmla="*/ 5665032 w 7044883"/>
                    <a:gd name="connsiteY486" fmla="*/ 1512520 h 2867451"/>
                    <a:gd name="connsiteX487" fmla="*/ 5675092 w 7044883"/>
                    <a:gd name="connsiteY487" fmla="*/ 1506079 h 2867451"/>
                    <a:gd name="connsiteX488" fmla="*/ 5676111 w 7044883"/>
                    <a:gd name="connsiteY488" fmla="*/ 1492154 h 2867451"/>
                    <a:gd name="connsiteX489" fmla="*/ 5676931 w 7044883"/>
                    <a:gd name="connsiteY489" fmla="*/ 1480946 h 2867451"/>
                    <a:gd name="connsiteX490" fmla="*/ 5677517 w 7044883"/>
                    <a:gd name="connsiteY490" fmla="*/ 1472045 h 2867451"/>
                    <a:gd name="connsiteX491" fmla="*/ 5678641 w 7044883"/>
                    <a:gd name="connsiteY491" fmla="*/ 1466763 h 2867451"/>
                    <a:gd name="connsiteX492" fmla="*/ 5679531 w 7044883"/>
                    <a:gd name="connsiteY492" fmla="*/ 1460158 h 2867451"/>
                    <a:gd name="connsiteX493" fmla="*/ 5689380 w 7044883"/>
                    <a:gd name="connsiteY493" fmla="*/ 1453038 h 2867451"/>
                    <a:gd name="connsiteX494" fmla="*/ 5694932 w 7044883"/>
                    <a:gd name="connsiteY494" fmla="*/ 1451761 h 2867451"/>
                    <a:gd name="connsiteX495" fmla="*/ 5696712 w 7044883"/>
                    <a:gd name="connsiteY495" fmla="*/ 1448048 h 2867451"/>
                    <a:gd name="connsiteX496" fmla="*/ 5701900 w 7044883"/>
                    <a:gd name="connsiteY496" fmla="*/ 1443891 h 2867451"/>
                    <a:gd name="connsiteX497" fmla="*/ 5723649 w 7044883"/>
                    <a:gd name="connsiteY497" fmla="*/ 1447486 h 2867451"/>
                    <a:gd name="connsiteX498" fmla="*/ 5734657 w 7044883"/>
                    <a:gd name="connsiteY498" fmla="*/ 1449735 h 2867451"/>
                    <a:gd name="connsiteX499" fmla="*/ 5741766 w 7044883"/>
                    <a:gd name="connsiteY499" fmla="*/ 1454127 h 2867451"/>
                    <a:gd name="connsiteX500" fmla="*/ 5731050 w 7044883"/>
                    <a:gd name="connsiteY500" fmla="*/ 1445601 h 2867451"/>
                    <a:gd name="connsiteX501" fmla="*/ 5759228 w 7044883"/>
                    <a:gd name="connsiteY501" fmla="*/ 1443188 h 2867451"/>
                    <a:gd name="connsiteX502" fmla="*/ 5722911 w 7044883"/>
                    <a:gd name="connsiteY502" fmla="*/ 1437672 h 2867451"/>
                    <a:gd name="connsiteX503" fmla="*/ 5707943 w 7044883"/>
                    <a:gd name="connsiteY503" fmla="*/ 1429158 h 2867451"/>
                    <a:gd name="connsiteX504" fmla="*/ 5697450 w 7044883"/>
                    <a:gd name="connsiteY504" fmla="*/ 1424754 h 2867451"/>
                    <a:gd name="connsiteX505" fmla="*/ 5677997 w 7044883"/>
                    <a:gd name="connsiteY505" fmla="*/ 1427483 h 2867451"/>
                    <a:gd name="connsiteX506" fmla="*/ 5667703 w 7044883"/>
                    <a:gd name="connsiteY506" fmla="*/ 1432613 h 2867451"/>
                    <a:gd name="connsiteX507" fmla="*/ 5654164 w 7044883"/>
                    <a:gd name="connsiteY507" fmla="*/ 1432695 h 2867451"/>
                    <a:gd name="connsiteX508" fmla="*/ 5641762 w 7044883"/>
                    <a:gd name="connsiteY508" fmla="*/ 1433702 h 2867451"/>
                    <a:gd name="connsiteX509" fmla="*/ 5636831 w 7044883"/>
                    <a:gd name="connsiteY509" fmla="*/ 1437321 h 2867451"/>
                    <a:gd name="connsiteX510" fmla="*/ 5634723 w 7044883"/>
                    <a:gd name="connsiteY510" fmla="*/ 1441139 h 2867451"/>
                    <a:gd name="connsiteX511" fmla="*/ 5629804 w 7044883"/>
                    <a:gd name="connsiteY511" fmla="*/ 1445647 h 2867451"/>
                    <a:gd name="connsiteX512" fmla="*/ 5640192 w 7044883"/>
                    <a:gd name="connsiteY512" fmla="*/ 1453834 h 2867451"/>
                    <a:gd name="connsiteX513" fmla="*/ 5625588 w 7044883"/>
                    <a:gd name="connsiteY513" fmla="*/ 1462465 h 2867451"/>
                    <a:gd name="connsiteX514" fmla="*/ 5628574 w 7044883"/>
                    <a:gd name="connsiteY514" fmla="*/ 1470757 h 2867451"/>
                    <a:gd name="connsiteX515" fmla="*/ 5631010 w 7044883"/>
                    <a:gd name="connsiteY515" fmla="*/ 1474903 h 2867451"/>
                    <a:gd name="connsiteX516" fmla="*/ 5622309 w 7044883"/>
                    <a:gd name="connsiteY516" fmla="*/ 1486626 h 2867451"/>
                    <a:gd name="connsiteX517" fmla="*/ 5620282 w 7044883"/>
                    <a:gd name="connsiteY517" fmla="*/ 1497073 h 2867451"/>
                    <a:gd name="connsiteX518" fmla="*/ 5638857 w 7044883"/>
                    <a:gd name="connsiteY518" fmla="*/ 1503901 h 2867451"/>
                    <a:gd name="connsiteX519" fmla="*/ 5631783 w 7044883"/>
                    <a:gd name="connsiteY519" fmla="*/ 1509417 h 2867451"/>
                    <a:gd name="connsiteX520" fmla="*/ 5632954 w 7044883"/>
                    <a:gd name="connsiteY520" fmla="*/ 1511466 h 2867451"/>
                    <a:gd name="connsiteX521" fmla="*/ 5626525 w 7044883"/>
                    <a:gd name="connsiteY521" fmla="*/ 1516163 h 2867451"/>
                    <a:gd name="connsiteX522" fmla="*/ 5613630 w 7044883"/>
                    <a:gd name="connsiteY522" fmla="*/ 1512146 h 2867451"/>
                    <a:gd name="connsiteX523" fmla="*/ 5610691 w 7044883"/>
                    <a:gd name="connsiteY523" fmla="*/ 1503479 h 2867451"/>
                    <a:gd name="connsiteX524" fmla="*/ 5601486 w 7044883"/>
                    <a:gd name="connsiteY524" fmla="*/ 1508503 h 2867451"/>
                    <a:gd name="connsiteX525" fmla="*/ 5609180 w 7044883"/>
                    <a:gd name="connsiteY525" fmla="*/ 1512848 h 2867451"/>
                    <a:gd name="connsiteX526" fmla="*/ 5591367 w 7044883"/>
                    <a:gd name="connsiteY526" fmla="*/ 1506536 h 2867451"/>
                    <a:gd name="connsiteX527" fmla="*/ 5584012 w 7044883"/>
                    <a:gd name="connsiteY527" fmla="*/ 1510951 h 2867451"/>
                    <a:gd name="connsiteX528" fmla="*/ 5585874 w 7044883"/>
                    <a:gd name="connsiteY528" fmla="*/ 1513129 h 2867451"/>
                    <a:gd name="connsiteX529" fmla="*/ 5580065 w 7044883"/>
                    <a:gd name="connsiteY529" fmla="*/ 1515741 h 2867451"/>
                    <a:gd name="connsiteX530" fmla="*/ 5570895 w 7044883"/>
                    <a:gd name="connsiteY530" fmla="*/ 1525462 h 2867451"/>
                    <a:gd name="connsiteX531" fmla="*/ 5562955 w 7044883"/>
                    <a:gd name="connsiteY531" fmla="*/ 1525895 h 2867451"/>
                    <a:gd name="connsiteX532" fmla="*/ 5558727 w 7044883"/>
                    <a:gd name="connsiteY532" fmla="*/ 1530556 h 2867451"/>
                    <a:gd name="connsiteX533" fmla="*/ 5547718 w 7044883"/>
                    <a:gd name="connsiteY533" fmla="*/ 1541272 h 2867451"/>
                    <a:gd name="connsiteX534" fmla="*/ 5546875 w 7044883"/>
                    <a:gd name="connsiteY534" fmla="*/ 1544950 h 2867451"/>
                    <a:gd name="connsiteX535" fmla="*/ 5544263 w 7044883"/>
                    <a:gd name="connsiteY535" fmla="*/ 1544668 h 2867451"/>
                    <a:gd name="connsiteX536" fmla="*/ 5538103 w 7044883"/>
                    <a:gd name="connsiteY536" fmla="*/ 1548088 h 2867451"/>
                    <a:gd name="connsiteX537" fmla="*/ 5531193 w 7044883"/>
                    <a:gd name="connsiteY537" fmla="*/ 1555888 h 2867451"/>
                    <a:gd name="connsiteX538" fmla="*/ 5527855 w 7044883"/>
                    <a:gd name="connsiteY538" fmla="*/ 1557293 h 2867451"/>
                    <a:gd name="connsiteX539" fmla="*/ 5524927 w 7044883"/>
                    <a:gd name="connsiteY539" fmla="*/ 1561568 h 2867451"/>
                    <a:gd name="connsiteX540" fmla="*/ 5511998 w 7044883"/>
                    <a:gd name="connsiteY540" fmla="*/ 1569544 h 2867451"/>
                    <a:gd name="connsiteX541" fmla="*/ 5505756 w 7044883"/>
                    <a:gd name="connsiteY541" fmla="*/ 1582438 h 2867451"/>
                    <a:gd name="connsiteX542" fmla="*/ 5485881 w 7044883"/>
                    <a:gd name="connsiteY542" fmla="*/ 1583352 h 2867451"/>
                    <a:gd name="connsiteX543" fmla="*/ 5487591 w 7044883"/>
                    <a:gd name="connsiteY543" fmla="*/ 1580459 h 2867451"/>
                    <a:gd name="connsiteX544" fmla="*/ 5472155 w 7044883"/>
                    <a:gd name="connsiteY544" fmla="*/ 1586818 h 2867451"/>
                    <a:gd name="connsiteX545" fmla="*/ 5475938 w 7044883"/>
                    <a:gd name="connsiteY545" fmla="*/ 1586572 h 2867451"/>
                    <a:gd name="connsiteX546" fmla="*/ 5473350 w 7044883"/>
                    <a:gd name="connsiteY546" fmla="*/ 1573959 h 2867451"/>
                    <a:gd name="connsiteX547" fmla="*/ 5475833 w 7044883"/>
                    <a:gd name="connsiteY547" fmla="*/ 1572319 h 2867451"/>
                    <a:gd name="connsiteX548" fmla="*/ 5477707 w 7044883"/>
                    <a:gd name="connsiteY548" fmla="*/ 1573994 h 2867451"/>
                    <a:gd name="connsiteX549" fmla="*/ 5482731 w 7044883"/>
                    <a:gd name="connsiteY549" fmla="*/ 1567319 h 2867451"/>
                    <a:gd name="connsiteX550" fmla="*/ 5487661 w 7044883"/>
                    <a:gd name="connsiteY550" fmla="*/ 1557258 h 2867451"/>
                    <a:gd name="connsiteX551" fmla="*/ 5458499 w 7044883"/>
                    <a:gd name="connsiteY551" fmla="*/ 1564765 h 2867451"/>
                    <a:gd name="connsiteX552" fmla="*/ 5459214 w 7044883"/>
                    <a:gd name="connsiteY552" fmla="*/ 1566815 h 2867451"/>
                    <a:gd name="connsiteX553" fmla="*/ 5453920 w 7044883"/>
                    <a:gd name="connsiteY553" fmla="*/ 1565585 h 2867451"/>
                    <a:gd name="connsiteX554" fmla="*/ 5460233 w 7044883"/>
                    <a:gd name="connsiteY554" fmla="*/ 1543181 h 2867451"/>
                    <a:gd name="connsiteX555" fmla="*/ 5462212 w 7044883"/>
                    <a:gd name="connsiteY555" fmla="*/ 1542092 h 2867451"/>
                    <a:gd name="connsiteX556" fmla="*/ 5452784 w 7044883"/>
                    <a:gd name="connsiteY556" fmla="*/ 1540897 h 2867451"/>
                    <a:gd name="connsiteX557" fmla="*/ 5464707 w 7044883"/>
                    <a:gd name="connsiteY557" fmla="*/ 1536915 h 2867451"/>
                    <a:gd name="connsiteX558" fmla="*/ 5459799 w 7044883"/>
                    <a:gd name="connsiteY558" fmla="*/ 1535194 h 2867451"/>
                    <a:gd name="connsiteX559" fmla="*/ 5462669 w 7044883"/>
                    <a:gd name="connsiteY559" fmla="*/ 1530088 h 2867451"/>
                    <a:gd name="connsiteX560" fmla="*/ 5467224 w 7044883"/>
                    <a:gd name="connsiteY560" fmla="*/ 1530017 h 2867451"/>
                    <a:gd name="connsiteX561" fmla="*/ 5466241 w 7044883"/>
                    <a:gd name="connsiteY561" fmla="*/ 1524232 h 2867451"/>
                    <a:gd name="connsiteX562" fmla="*/ 5479370 w 7044883"/>
                    <a:gd name="connsiteY562" fmla="*/ 1516034 h 2867451"/>
                    <a:gd name="connsiteX563" fmla="*/ 5478046 w 7044883"/>
                    <a:gd name="connsiteY563" fmla="*/ 1510365 h 2867451"/>
                    <a:gd name="connsiteX564" fmla="*/ 5478011 w 7044883"/>
                    <a:gd name="connsiteY564" fmla="*/ 1505130 h 2867451"/>
                    <a:gd name="connsiteX565" fmla="*/ 5483375 w 7044883"/>
                    <a:gd name="connsiteY565" fmla="*/ 1495269 h 2867451"/>
                    <a:gd name="connsiteX566" fmla="*/ 5482532 w 7044883"/>
                    <a:gd name="connsiteY566" fmla="*/ 1484729 h 2867451"/>
                    <a:gd name="connsiteX567" fmla="*/ 5466534 w 7044883"/>
                    <a:gd name="connsiteY567" fmla="*/ 1492646 h 2867451"/>
                    <a:gd name="connsiteX568" fmla="*/ 5454354 w 7044883"/>
                    <a:gd name="connsiteY568" fmla="*/ 1502601 h 2867451"/>
                    <a:gd name="connsiteX569" fmla="*/ 5449247 w 7044883"/>
                    <a:gd name="connsiteY569" fmla="*/ 1502694 h 2867451"/>
                    <a:gd name="connsiteX570" fmla="*/ 5449271 w 7044883"/>
                    <a:gd name="connsiteY570" fmla="*/ 1505564 h 2867451"/>
                    <a:gd name="connsiteX571" fmla="*/ 5439503 w 7044883"/>
                    <a:gd name="connsiteY571" fmla="*/ 1505681 h 2867451"/>
                    <a:gd name="connsiteX572" fmla="*/ 5441834 w 7044883"/>
                    <a:gd name="connsiteY572" fmla="*/ 1495023 h 2867451"/>
                    <a:gd name="connsiteX573" fmla="*/ 5437231 w 7044883"/>
                    <a:gd name="connsiteY573" fmla="*/ 1499275 h 2867451"/>
                    <a:gd name="connsiteX574" fmla="*/ 5430626 w 7044883"/>
                    <a:gd name="connsiteY574" fmla="*/ 1494227 h 2867451"/>
                    <a:gd name="connsiteX575" fmla="*/ 5422768 w 7044883"/>
                    <a:gd name="connsiteY575" fmla="*/ 1487317 h 2867451"/>
                    <a:gd name="connsiteX576" fmla="*/ 5406453 w 7044883"/>
                    <a:gd name="connsiteY576" fmla="*/ 1489085 h 2867451"/>
                    <a:gd name="connsiteX577" fmla="*/ 5403818 w 7044883"/>
                    <a:gd name="connsiteY577" fmla="*/ 1494649 h 2867451"/>
                    <a:gd name="connsiteX578" fmla="*/ 5396932 w 7044883"/>
                    <a:gd name="connsiteY578" fmla="*/ 1493676 h 2867451"/>
                    <a:gd name="connsiteX579" fmla="*/ 5383276 w 7044883"/>
                    <a:gd name="connsiteY579" fmla="*/ 1495421 h 2867451"/>
                    <a:gd name="connsiteX580" fmla="*/ 5367466 w 7044883"/>
                    <a:gd name="connsiteY580" fmla="*/ 1498654 h 2867451"/>
                    <a:gd name="connsiteX581" fmla="*/ 5357523 w 7044883"/>
                    <a:gd name="connsiteY581" fmla="*/ 1500715 h 2867451"/>
                    <a:gd name="connsiteX582" fmla="*/ 5336629 w 7044883"/>
                    <a:gd name="connsiteY582" fmla="*/ 1497061 h 2867451"/>
                    <a:gd name="connsiteX583" fmla="*/ 5324871 w 7044883"/>
                    <a:gd name="connsiteY583" fmla="*/ 1505306 h 2867451"/>
                    <a:gd name="connsiteX584" fmla="*/ 5307948 w 7044883"/>
                    <a:gd name="connsiteY584" fmla="*/ 1511338 h 2867451"/>
                    <a:gd name="connsiteX585" fmla="*/ 5298743 w 7044883"/>
                    <a:gd name="connsiteY585" fmla="*/ 1518657 h 2867451"/>
                    <a:gd name="connsiteX586" fmla="*/ 5290790 w 7044883"/>
                    <a:gd name="connsiteY586" fmla="*/ 1519079 h 2867451"/>
                    <a:gd name="connsiteX587" fmla="*/ 5291997 w 7044883"/>
                    <a:gd name="connsiteY587" fmla="*/ 1519395 h 2867451"/>
                    <a:gd name="connsiteX588" fmla="*/ 5289186 w 7044883"/>
                    <a:gd name="connsiteY588" fmla="*/ 1535135 h 2867451"/>
                    <a:gd name="connsiteX589" fmla="*/ 5288413 w 7044883"/>
                    <a:gd name="connsiteY589" fmla="*/ 1544106 h 2867451"/>
                    <a:gd name="connsiteX590" fmla="*/ 5282920 w 7044883"/>
                    <a:gd name="connsiteY590" fmla="*/ 1544341 h 2867451"/>
                    <a:gd name="connsiteX591" fmla="*/ 5269628 w 7044883"/>
                    <a:gd name="connsiteY591" fmla="*/ 1553675 h 2867451"/>
                    <a:gd name="connsiteX592" fmla="*/ 5252857 w 7044883"/>
                    <a:gd name="connsiteY592" fmla="*/ 1566229 h 2867451"/>
                    <a:gd name="connsiteX593" fmla="*/ 5251323 w 7044883"/>
                    <a:gd name="connsiteY593" fmla="*/ 1583527 h 2867451"/>
                    <a:gd name="connsiteX594" fmla="*/ 5236004 w 7044883"/>
                    <a:gd name="connsiteY594" fmla="*/ 1588809 h 2867451"/>
                    <a:gd name="connsiteX595" fmla="*/ 5228333 w 7044883"/>
                    <a:gd name="connsiteY595" fmla="*/ 1596879 h 2867451"/>
                    <a:gd name="connsiteX596" fmla="*/ 5215837 w 7044883"/>
                    <a:gd name="connsiteY596" fmla="*/ 1601259 h 2867451"/>
                    <a:gd name="connsiteX597" fmla="*/ 5193948 w 7044883"/>
                    <a:gd name="connsiteY597" fmla="*/ 1617456 h 2867451"/>
                    <a:gd name="connsiteX598" fmla="*/ 5194967 w 7044883"/>
                    <a:gd name="connsiteY598" fmla="*/ 1614996 h 2867451"/>
                    <a:gd name="connsiteX599" fmla="*/ 5176943 w 7044883"/>
                    <a:gd name="connsiteY599" fmla="*/ 1642870 h 2867451"/>
                    <a:gd name="connsiteX600" fmla="*/ 5180913 w 7044883"/>
                    <a:gd name="connsiteY600" fmla="*/ 1631381 h 2867451"/>
                    <a:gd name="connsiteX601" fmla="*/ 5172258 w 7044883"/>
                    <a:gd name="connsiteY601" fmla="*/ 1650529 h 2867451"/>
                    <a:gd name="connsiteX602" fmla="*/ 5174085 w 7044883"/>
                    <a:gd name="connsiteY602" fmla="*/ 1646758 h 2867451"/>
                    <a:gd name="connsiteX603" fmla="*/ 5170724 w 7044883"/>
                    <a:gd name="connsiteY603" fmla="*/ 1671739 h 2867451"/>
                    <a:gd name="connsiteX604" fmla="*/ 5160254 w 7044883"/>
                    <a:gd name="connsiteY604" fmla="*/ 1672441 h 2867451"/>
                    <a:gd name="connsiteX605" fmla="*/ 5156131 w 7044883"/>
                    <a:gd name="connsiteY605" fmla="*/ 1677641 h 2867451"/>
                    <a:gd name="connsiteX606" fmla="*/ 5167035 w 7044883"/>
                    <a:gd name="connsiteY606" fmla="*/ 1681951 h 2867451"/>
                    <a:gd name="connsiteX607" fmla="*/ 5171028 w 7044883"/>
                    <a:gd name="connsiteY607" fmla="*/ 1675006 h 2867451"/>
                    <a:gd name="connsiteX608" fmla="*/ 5171907 w 7044883"/>
                    <a:gd name="connsiteY608" fmla="*/ 1680616 h 2867451"/>
                    <a:gd name="connsiteX609" fmla="*/ 5179402 w 7044883"/>
                    <a:gd name="connsiteY609" fmla="*/ 1682970 h 2867451"/>
                    <a:gd name="connsiteX610" fmla="*/ 5173324 w 7044883"/>
                    <a:gd name="connsiteY610" fmla="*/ 1673940 h 2867451"/>
                    <a:gd name="connsiteX611" fmla="*/ 5180409 w 7044883"/>
                    <a:gd name="connsiteY611" fmla="*/ 1676482 h 2867451"/>
                    <a:gd name="connsiteX612" fmla="*/ 5184356 w 7044883"/>
                    <a:gd name="connsiteY612" fmla="*/ 1674561 h 2867451"/>
                    <a:gd name="connsiteX613" fmla="*/ 5188701 w 7044883"/>
                    <a:gd name="connsiteY613" fmla="*/ 1677208 h 2867451"/>
                    <a:gd name="connsiteX614" fmla="*/ 5195400 w 7044883"/>
                    <a:gd name="connsiteY614" fmla="*/ 1679410 h 2867451"/>
                    <a:gd name="connsiteX615" fmla="*/ 5199640 w 7044883"/>
                    <a:gd name="connsiteY615" fmla="*/ 1678543 h 2867451"/>
                    <a:gd name="connsiteX616" fmla="*/ 5214911 w 7044883"/>
                    <a:gd name="connsiteY616" fmla="*/ 1692538 h 2867451"/>
                    <a:gd name="connsiteX617" fmla="*/ 5211468 w 7044883"/>
                    <a:gd name="connsiteY617" fmla="*/ 1699003 h 2867451"/>
                    <a:gd name="connsiteX618" fmla="*/ 5213775 w 7044883"/>
                    <a:gd name="connsiteY618" fmla="*/ 1702540 h 2867451"/>
                    <a:gd name="connsiteX619" fmla="*/ 5193479 w 7044883"/>
                    <a:gd name="connsiteY619" fmla="*/ 1705889 h 2867451"/>
                    <a:gd name="connsiteX620" fmla="*/ 5182834 w 7044883"/>
                    <a:gd name="connsiteY620" fmla="*/ 1702036 h 2867451"/>
                    <a:gd name="connsiteX621" fmla="*/ 5168862 w 7044883"/>
                    <a:gd name="connsiteY621" fmla="*/ 1701310 h 2867451"/>
                    <a:gd name="connsiteX622" fmla="*/ 5170162 w 7044883"/>
                    <a:gd name="connsiteY622" fmla="*/ 1707552 h 2867451"/>
                    <a:gd name="connsiteX623" fmla="*/ 5163006 w 7044883"/>
                    <a:gd name="connsiteY623" fmla="*/ 1708653 h 2867451"/>
                    <a:gd name="connsiteX624" fmla="*/ 5153168 w 7044883"/>
                    <a:gd name="connsiteY624" fmla="*/ 1711897 h 2867451"/>
                    <a:gd name="connsiteX625" fmla="*/ 5135413 w 7044883"/>
                    <a:gd name="connsiteY625" fmla="*/ 1701814 h 2867451"/>
                    <a:gd name="connsiteX626" fmla="*/ 5139431 w 7044883"/>
                    <a:gd name="connsiteY626" fmla="*/ 1697082 h 2867451"/>
                    <a:gd name="connsiteX627" fmla="*/ 5130237 w 7044883"/>
                    <a:gd name="connsiteY627" fmla="*/ 1700057 h 2867451"/>
                    <a:gd name="connsiteX628" fmla="*/ 5118596 w 7044883"/>
                    <a:gd name="connsiteY628" fmla="*/ 1697492 h 2867451"/>
                    <a:gd name="connsiteX629" fmla="*/ 5114169 w 7044883"/>
                    <a:gd name="connsiteY629" fmla="*/ 1705960 h 2867451"/>
                    <a:gd name="connsiteX630" fmla="*/ 5116031 w 7044883"/>
                    <a:gd name="connsiteY630" fmla="*/ 1709227 h 2867451"/>
                    <a:gd name="connsiteX631" fmla="*/ 5100419 w 7044883"/>
                    <a:gd name="connsiteY631" fmla="*/ 1711136 h 2867451"/>
                    <a:gd name="connsiteX632" fmla="*/ 5094107 w 7044883"/>
                    <a:gd name="connsiteY632" fmla="*/ 1723457 h 2867451"/>
                    <a:gd name="connsiteX633" fmla="*/ 5079362 w 7044883"/>
                    <a:gd name="connsiteY633" fmla="*/ 1720341 h 2867451"/>
                    <a:gd name="connsiteX634" fmla="*/ 5064875 w 7044883"/>
                    <a:gd name="connsiteY634" fmla="*/ 1711804 h 2867451"/>
                    <a:gd name="connsiteX635" fmla="*/ 5056958 w 7044883"/>
                    <a:gd name="connsiteY635" fmla="*/ 1717004 h 2867451"/>
                    <a:gd name="connsiteX636" fmla="*/ 5045551 w 7044883"/>
                    <a:gd name="connsiteY636" fmla="*/ 1725682 h 2867451"/>
                    <a:gd name="connsiteX637" fmla="*/ 5012595 w 7044883"/>
                    <a:gd name="connsiteY637" fmla="*/ 1728422 h 2867451"/>
                    <a:gd name="connsiteX638" fmla="*/ 4999607 w 7044883"/>
                    <a:gd name="connsiteY638" fmla="*/ 1708220 h 2867451"/>
                    <a:gd name="connsiteX639" fmla="*/ 5012923 w 7044883"/>
                    <a:gd name="connsiteY639" fmla="*/ 1706873 h 2867451"/>
                    <a:gd name="connsiteX640" fmla="*/ 5019282 w 7044883"/>
                    <a:gd name="connsiteY640" fmla="*/ 1703254 h 2867451"/>
                    <a:gd name="connsiteX641" fmla="*/ 5029307 w 7044883"/>
                    <a:gd name="connsiteY641" fmla="*/ 1703652 h 2867451"/>
                    <a:gd name="connsiteX642" fmla="*/ 5044673 w 7044883"/>
                    <a:gd name="connsiteY642" fmla="*/ 1704812 h 2867451"/>
                    <a:gd name="connsiteX643" fmla="*/ 5063962 w 7044883"/>
                    <a:gd name="connsiteY643" fmla="*/ 1700127 h 2867451"/>
                    <a:gd name="connsiteX644" fmla="*/ 5046090 w 7044883"/>
                    <a:gd name="connsiteY644" fmla="*/ 1695677 h 2867451"/>
                    <a:gd name="connsiteX645" fmla="*/ 5036849 w 7044883"/>
                    <a:gd name="connsiteY645" fmla="*/ 1692983 h 2867451"/>
                    <a:gd name="connsiteX646" fmla="*/ 5035186 w 7044883"/>
                    <a:gd name="connsiteY646" fmla="*/ 1689154 h 2867451"/>
                    <a:gd name="connsiteX647" fmla="*/ 5028253 w 7044883"/>
                    <a:gd name="connsiteY647" fmla="*/ 1678894 h 2867451"/>
                    <a:gd name="connsiteX648" fmla="*/ 5017396 w 7044883"/>
                    <a:gd name="connsiteY648" fmla="*/ 1672547 h 2867451"/>
                    <a:gd name="connsiteX649" fmla="*/ 5019024 w 7044883"/>
                    <a:gd name="connsiteY649" fmla="*/ 1672172 h 2867451"/>
                    <a:gd name="connsiteX650" fmla="*/ 5013766 w 7044883"/>
                    <a:gd name="connsiteY650" fmla="*/ 1670556 h 2867451"/>
                    <a:gd name="connsiteX651" fmla="*/ 5011810 w 7044883"/>
                    <a:gd name="connsiteY651" fmla="*/ 1673226 h 2867451"/>
                    <a:gd name="connsiteX652" fmla="*/ 5006282 w 7044883"/>
                    <a:gd name="connsiteY652" fmla="*/ 1671832 h 2867451"/>
                    <a:gd name="connsiteX653" fmla="*/ 4991784 w 7044883"/>
                    <a:gd name="connsiteY653" fmla="*/ 1676107 h 2867451"/>
                    <a:gd name="connsiteX654" fmla="*/ 4990308 w 7044883"/>
                    <a:gd name="connsiteY654" fmla="*/ 1678250 h 2867451"/>
                    <a:gd name="connsiteX655" fmla="*/ 4981442 w 7044883"/>
                    <a:gd name="connsiteY655" fmla="*/ 1682220 h 2867451"/>
                    <a:gd name="connsiteX656" fmla="*/ 4969110 w 7044883"/>
                    <a:gd name="connsiteY656" fmla="*/ 1678437 h 2867451"/>
                    <a:gd name="connsiteX657" fmla="*/ 4983234 w 7044883"/>
                    <a:gd name="connsiteY657" fmla="*/ 1672781 h 2867451"/>
                    <a:gd name="connsiteX658" fmla="*/ 4956438 w 7044883"/>
                    <a:gd name="connsiteY658" fmla="*/ 1665906 h 2867451"/>
                    <a:gd name="connsiteX659" fmla="*/ 4930942 w 7044883"/>
                    <a:gd name="connsiteY659" fmla="*/ 1659090 h 2867451"/>
                    <a:gd name="connsiteX660" fmla="*/ 4910248 w 7044883"/>
                    <a:gd name="connsiteY660" fmla="*/ 1656467 h 2867451"/>
                    <a:gd name="connsiteX661" fmla="*/ 4907706 w 7044883"/>
                    <a:gd name="connsiteY661" fmla="*/ 1657521 h 2867451"/>
                    <a:gd name="connsiteX662" fmla="*/ 4910412 w 7044883"/>
                    <a:gd name="connsiteY662" fmla="*/ 1660156 h 2867451"/>
                    <a:gd name="connsiteX663" fmla="*/ 4901101 w 7044883"/>
                    <a:gd name="connsiteY663" fmla="*/ 1664583 h 2867451"/>
                    <a:gd name="connsiteX664" fmla="*/ 4893723 w 7044883"/>
                    <a:gd name="connsiteY664" fmla="*/ 1665801 h 2867451"/>
                    <a:gd name="connsiteX665" fmla="*/ 4894894 w 7044883"/>
                    <a:gd name="connsiteY665" fmla="*/ 1672910 h 2867451"/>
                    <a:gd name="connsiteX666" fmla="*/ 4901733 w 7044883"/>
                    <a:gd name="connsiteY666" fmla="*/ 1679937 h 2867451"/>
                    <a:gd name="connsiteX667" fmla="*/ 4884822 w 7044883"/>
                    <a:gd name="connsiteY667" fmla="*/ 1673975 h 2867451"/>
                    <a:gd name="connsiteX668" fmla="*/ 4883627 w 7044883"/>
                    <a:gd name="connsiteY668" fmla="*/ 1684914 h 2867451"/>
                    <a:gd name="connsiteX669" fmla="*/ 4883417 w 7044883"/>
                    <a:gd name="connsiteY669" fmla="*/ 1688837 h 2867451"/>
                    <a:gd name="connsiteX670" fmla="*/ 4888663 w 7044883"/>
                    <a:gd name="connsiteY670" fmla="*/ 1686261 h 2867451"/>
                    <a:gd name="connsiteX671" fmla="*/ 4888781 w 7044883"/>
                    <a:gd name="connsiteY671" fmla="*/ 1695056 h 2867451"/>
                    <a:gd name="connsiteX672" fmla="*/ 4880172 w 7044883"/>
                    <a:gd name="connsiteY672" fmla="*/ 1695208 h 2867451"/>
                    <a:gd name="connsiteX673" fmla="*/ 4876905 w 7044883"/>
                    <a:gd name="connsiteY673" fmla="*/ 1697410 h 2867451"/>
                    <a:gd name="connsiteX674" fmla="*/ 4871764 w 7044883"/>
                    <a:gd name="connsiteY674" fmla="*/ 1696567 h 2867451"/>
                    <a:gd name="connsiteX675" fmla="*/ 4860802 w 7044883"/>
                    <a:gd name="connsiteY675" fmla="*/ 1693487 h 2867451"/>
                    <a:gd name="connsiteX676" fmla="*/ 4858717 w 7044883"/>
                    <a:gd name="connsiteY676" fmla="*/ 1686800 h 2867451"/>
                    <a:gd name="connsiteX677" fmla="*/ 4827482 w 7044883"/>
                    <a:gd name="connsiteY677" fmla="*/ 1689587 h 2867451"/>
                    <a:gd name="connsiteX678" fmla="*/ 4821756 w 7044883"/>
                    <a:gd name="connsiteY678" fmla="*/ 1693803 h 2867451"/>
                    <a:gd name="connsiteX679" fmla="*/ 4814822 w 7044883"/>
                    <a:gd name="connsiteY679" fmla="*/ 1697797 h 2867451"/>
                    <a:gd name="connsiteX680" fmla="*/ 4799398 w 7044883"/>
                    <a:gd name="connsiteY680" fmla="*/ 1690360 h 2867451"/>
                    <a:gd name="connsiteX681" fmla="*/ 4795170 w 7044883"/>
                    <a:gd name="connsiteY681" fmla="*/ 1691472 h 2867451"/>
                    <a:gd name="connsiteX682" fmla="*/ 4789256 w 7044883"/>
                    <a:gd name="connsiteY682" fmla="*/ 1688135 h 2867451"/>
                    <a:gd name="connsiteX683" fmla="*/ 4777919 w 7044883"/>
                    <a:gd name="connsiteY683" fmla="*/ 1688006 h 2867451"/>
                    <a:gd name="connsiteX684" fmla="*/ 4756569 w 7044883"/>
                    <a:gd name="connsiteY684" fmla="*/ 1680897 h 2867451"/>
                    <a:gd name="connsiteX685" fmla="*/ 4753114 w 7044883"/>
                    <a:gd name="connsiteY685" fmla="*/ 1699694 h 2867451"/>
                    <a:gd name="connsiteX686" fmla="*/ 4751030 w 7044883"/>
                    <a:gd name="connsiteY686" fmla="*/ 1702224 h 2867451"/>
                    <a:gd name="connsiteX687" fmla="*/ 4736788 w 7044883"/>
                    <a:gd name="connsiteY687" fmla="*/ 1705386 h 2867451"/>
                    <a:gd name="connsiteX688" fmla="*/ 4725944 w 7044883"/>
                    <a:gd name="connsiteY688" fmla="*/ 1698125 h 2867451"/>
                    <a:gd name="connsiteX689" fmla="*/ 4729527 w 7044883"/>
                    <a:gd name="connsiteY689" fmla="*/ 1689657 h 2867451"/>
                    <a:gd name="connsiteX690" fmla="*/ 4724690 w 7044883"/>
                    <a:gd name="connsiteY690" fmla="*/ 1684012 h 2867451"/>
                    <a:gd name="connsiteX691" fmla="*/ 4724210 w 7044883"/>
                    <a:gd name="connsiteY691" fmla="*/ 1687807 h 2867451"/>
                    <a:gd name="connsiteX692" fmla="*/ 4717195 w 7044883"/>
                    <a:gd name="connsiteY692" fmla="*/ 1682443 h 2867451"/>
                    <a:gd name="connsiteX693" fmla="*/ 4698679 w 7044883"/>
                    <a:gd name="connsiteY693" fmla="*/ 1685394 h 2867451"/>
                    <a:gd name="connsiteX694" fmla="*/ 4669646 w 7044883"/>
                    <a:gd name="connsiteY694" fmla="*/ 1686706 h 2867451"/>
                    <a:gd name="connsiteX695" fmla="*/ 4671825 w 7044883"/>
                    <a:gd name="connsiteY695" fmla="*/ 1685605 h 2867451"/>
                    <a:gd name="connsiteX696" fmla="*/ 4661846 w 7044883"/>
                    <a:gd name="connsiteY696" fmla="*/ 1685605 h 2867451"/>
                    <a:gd name="connsiteX697" fmla="*/ 4666074 w 7044883"/>
                    <a:gd name="connsiteY697" fmla="*/ 1687186 h 2867451"/>
                    <a:gd name="connsiteX698" fmla="*/ 4648928 w 7044883"/>
                    <a:gd name="connsiteY698" fmla="*/ 1686706 h 2867451"/>
                    <a:gd name="connsiteX699" fmla="*/ 4653238 w 7044883"/>
                    <a:gd name="connsiteY699" fmla="*/ 1686706 h 2867451"/>
                    <a:gd name="connsiteX700" fmla="*/ 4640566 w 7044883"/>
                    <a:gd name="connsiteY700" fmla="*/ 1685734 h 2867451"/>
                    <a:gd name="connsiteX701" fmla="*/ 4620786 w 7044883"/>
                    <a:gd name="connsiteY701" fmla="*/ 1685336 h 2867451"/>
                    <a:gd name="connsiteX702" fmla="*/ 4598979 w 7044883"/>
                    <a:gd name="connsiteY702" fmla="*/ 1691086 h 2867451"/>
                    <a:gd name="connsiteX703" fmla="*/ 4584960 w 7044883"/>
                    <a:gd name="connsiteY703" fmla="*/ 1688240 h 2867451"/>
                    <a:gd name="connsiteX704" fmla="*/ 4586038 w 7044883"/>
                    <a:gd name="connsiteY704" fmla="*/ 1688802 h 2867451"/>
                    <a:gd name="connsiteX705" fmla="*/ 4522772 w 7044883"/>
                    <a:gd name="connsiteY705" fmla="*/ 1720412 h 2867451"/>
                    <a:gd name="connsiteX706" fmla="*/ 4500040 w 7044883"/>
                    <a:gd name="connsiteY706" fmla="*/ 1747465 h 2867451"/>
                    <a:gd name="connsiteX707" fmla="*/ 4486349 w 7044883"/>
                    <a:gd name="connsiteY707" fmla="*/ 1756038 h 2867451"/>
                    <a:gd name="connsiteX708" fmla="*/ 4472693 w 7044883"/>
                    <a:gd name="connsiteY708" fmla="*/ 1760535 h 2867451"/>
                    <a:gd name="connsiteX709" fmla="*/ 4453709 w 7044883"/>
                    <a:gd name="connsiteY709" fmla="*/ 1783806 h 2867451"/>
                    <a:gd name="connsiteX710" fmla="*/ 4442466 w 7044883"/>
                    <a:gd name="connsiteY710" fmla="*/ 1806960 h 2867451"/>
                    <a:gd name="connsiteX711" fmla="*/ 4424945 w 7044883"/>
                    <a:gd name="connsiteY711" fmla="*/ 1813003 h 2867451"/>
                    <a:gd name="connsiteX712" fmla="*/ 4408222 w 7044883"/>
                    <a:gd name="connsiteY712" fmla="*/ 1830875 h 2867451"/>
                    <a:gd name="connsiteX713" fmla="*/ 4400679 w 7044883"/>
                    <a:gd name="connsiteY713" fmla="*/ 1833100 h 2867451"/>
                    <a:gd name="connsiteX714" fmla="*/ 4396533 w 7044883"/>
                    <a:gd name="connsiteY714" fmla="*/ 1840057 h 2867451"/>
                    <a:gd name="connsiteX715" fmla="*/ 4389518 w 7044883"/>
                    <a:gd name="connsiteY715" fmla="*/ 1844413 h 2867451"/>
                    <a:gd name="connsiteX716" fmla="*/ 4370370 w 7044883"/>
                    <a:gd name="connsiteY716" fmla="*/ 1856898 h 2867451"/>
                    <a:gd name="connsiteX717" fmla="*/ 4358904 w 7044883"/>
                    <a:gd name="connsiteY717" fmla="*/ 1864990 h 2867451"/>
                    <a:gd name="connsiteX718" fmla="*/ 4347228 w 7044883"/>
                    <a:gd name="connsiteY718" fmla="*/ 1883389 h 2867451"/>
                    <a:gd name="connsiteX719" fmla="*/ 4345541 w 7044883"/>
                    <a:gd name="connsiteY719" fmla="*/ 1877803 h 2867451"/>
                    <a:gd name="connsiteX720" fmla="*/ 4330445 w 7044883"/>
                    <a:gd name="connsiteY720" fmla="*/ 1895897 h 2867451"/>
                    <a:gd name="connsiteX721" fmla="*/ 4330305 w 7044883"/>
                    <a:gd name="connsiteY721" fmla="*/ 1907000 h 2867451"/>
                    <a:gd name="connsiteX722" fmla="*/ 4328513 w 7044883"/>
                    <a:gd name="connsiteY722" fmla="*/ 1910103 h 2867451"/>
                    <a:gd name="connsiteX723" fmla="*/ 4316883 w 7044883"/>
                    <a:gd name="connsiteY723" fmla="*/ 1913582 h 2867451"/>
                    <a:gd name="connsiteX724" fmla="*/ 4311262 w 7044883"/>
                    <a:gd name="connsiteY724" fmla="*/ 1917107 h 2867451"/>
                    <a:gd name="connsiteX725" fmla="*/ 4306015 w 7044883"/>
                    <a:gd name="connsiteY725" fmla="*/ 1925094 h 2867451"/>
                    <a:gd name="connsiteX726" fmla="*/ 4285110 w 7044883"/>
                    <a:gd name="connsiteY726" fmla="*/ 1945367 h 2867451"/>
                    <a:gd name="connsiteX727" fmla="*/ 4265329 w 7044883"/>
                    <a:gd name="connsiteY727" fmla="*/ 1956563 h 2867451"/>
                    <a:gd name="connsiteX728" fmla="*/ 4254636 w 7044883"/>
                    <a:gd name="connsiteY728" fmla="*/ 1964117 h 2867451"/>
                    <a:gd name="connsiteX729" fmla="*/ 4242058 w 7044883"/>
                    <a:gd name="connsiteY729" fmla="*/ 1969001 h 2867451"/>
                    <a:gd name="connsiteX730" fmla="*/ 4232350 w 7044883"/>
                    <a:gd name="connsiteY730" fmla="*/ 1975582 h 2867451"/>
                    <a:gd name="connsiteX731" fmla="*/ 4224034 w 7044883"/>
                    <a:gd name="connsiteY731" fmla="*/ 1988606 h 2867451"/>
                    <a:gd name="connsiteX732" fmla="*/ 4201970 w 7044883"/>
                    <a:gd name="connsiteY732" fmla="*/ 2002519 h 2867451"/>
                    <a:gd name="connsiteX733" fmla="*/ 4180139 w 7044883"/>
                    <a:gd name="connsiteY733" fmla="*/ 2014476 h 2867451"/>
                    <a:gd name="connsiteX734" fmla="*/ 4174225 w 7044883"/>
                    <a:gd name="connsiteY734" fmla="*/ 2034515 h 2867451"/>
                    <a:gd name="connsiteX735" fmla="*/ 4173136 w 7044883"/>
                    <a:gd name="connsiteY735" fmla="*/ 2035979 h 2867451"/>
                    <a:gd name="connsiteX736" fmla="*/ 4195341 w 7044883"/>
                    <a:gd name="connsiteY736" fmla="*/ 2038895 h 2867451"/>
                    <a:gd name="connsiteX737" fmla="*/ 4207006 w 7044883"/>
                    <a:gd name="connsiteY737" fmla="*/ 2044411 h 2867451"/>
                    <a:gd name="connsiteX738" fmla="*/ 4228520 w 7044883"/>
                    <a:gd name="connsiteY738" fmla="*/ 2042619 h 2867451"/>
                    <a:gd name="connsiteX739" fmla="*/ 4247106 w 7044883"/>
                    <a:gd name="connsiteY739" fmla="*/ 2037150 h 2867451"/>
                    <a:gd name="connsiteX740" fmla="*/ 4252271 w 7044883"/>
                    <a:gd name="connsiteY740" fmla="*/ 2040066 h 2867451"/>
                    <a:gd name="connsiteX741" fmla="*/ 4258642 w 7044883"/>
                    <a:gd name="connsiteY741" fmla="*/ 2043919 h 2867451"/>
                    <a:gd name="connsiteX742" fmla="*/ 4256464 w 7044883"/>
                    <a:gd name="connsiteY742" fmla="*/ 2051356 h 2867451"/>
                    <a:gd name="connsiteX743" fmla="*/ 4251076 w 7044883"/>
                    <a:gd name="connsiteY743" fmla="*/ 2056720 h 2867451"/>
                    <a:gd name="connsiteX744" fmla="*/ 4251954 w 7044883"/>
                    <a:gd name="connsiteY744" fmla="*/ 2065094 h 2867451"/>
                    <a:gd name="connsiteX745" fmla="*/ 4255046 w 7044883"/>
                    <a:gd name="connsiteY745" fmla="*/ 2068584 h 2867451"/>
                    <a:gd name="connsiteX746" fmla="*/ 4254836 w 7044883"/>
                    <a:gd name="connsiteY746" fmla="*/ 2075880 h 2867451"/>
                    <a:gd name="connsiteX747" fmla="*/ 4248453 w 7044883"/>
                    <a:gd name="connsiteY747" fmla="*/ 2086608 h 2867451"/>
                    <a:gd name="connsiteX748" fmla="*/ 4248254 w 7044883"/>
                    <a:gd name="connsiteY748" fmla="*/ 2100099 h 2867451"/>
                    <a:gd name="connsiteX749" fmla="*/ 4256299 w 7044883"/>
                    <a:gd name="connsiteY749" fmla="*/ 2099163 h 2867451"/>
                    <a:gd name="connsiteX750" fmla="*/ 4274792 w 7044883"/>
                    <a:gd name="connsiteY750" fmla="*/ 2096047 h 2867451"/>
                    <a:gd name="connsiteX751" fmla="*/ 4279699 w 7044883"/>
                    <a:gd name="connsiteY751" fmla="*/ 2083293 h 2867451"/>
                    <a:gd name="connsiteX752" fmla="*/ 4273703 w 7044883"/>
                    <a:gd name="connsiteY752" fmla="*/ 2083469 h 2867451"/>
                    <a:gd name="connsiteX753" fmla="*/ 4267917 w 7044883"/>
                    <a:gd name="connsiteY753" fmla="*/ 2075974 h 2867451"/>
                    <a:gd name="connsiteX754" fmla="*/ 4291411 w 7044883"/>
                    <a:gd name="connsiteY754" fmla="*/ 2064449 h 2867451"/>
                    <a:gd name="connsiteX755" fmla="*/ 4300510 w 7044883"/>
                    <a:gd name="connsiteY755" fmla="*/ 2063407 h 2867451"/>
                    <a:gd name="connsiteX756" fmla="*/ 4300417 w 7044883"/>
                    <a:gd name="connsiteY756" fmla="*/ 2066593 h 2867451"/>
                    <a:gd name="connsiteX757" fmla="*/ 4289947 w 7044883"/>
                    <a:gd name="connsiteY757" fmla="*/ 2080354 h 2867451"/>
                    <a:gd name="connsiteX758" fmla="*/ 4285812 w 7044883"/>
                    <a:gd name="connsiteY758" fmla="*/ 2075903 h 2867451"/>
                    <a:gd name="connsiteX759" fmla="*/ 4284770 w 7044883"/>
                    <a:gd name="connsiteY759" fmla="*/ 2083200 h 2867451"/>
                    <a:gd name="connsiteX760" fmla="*/ 4309692 w 7044883"/>
                    <a:gd name="connsiteY760" fmla="*/ 2088739 h 2867451"/>
                    <a:gd name="connsiteX761" fmla="*/ 4298250 w 7044883"/>
                    <a:gd name="connsiteY761" fmla="*/ 2097347 h 2867451"/>
                    <a:gd name="connsiteX762" fmla="*/ 4293976 w 7044883"/>
                    <a:gd name="connsiteY762" fmla="*/ 2104597 h 2867451"/>
                    <a:gd name="connsiteX763" fmla="*/ 4288237 w 7044883"/>
                    <a:gd name="connsiteY763" fmla="*/ 2110242 h 2867451"/>
                    <a:gd name="connsiteX764" fmla="*/ 4276057 w 7044883"/>
                    <a:gd name="connsiteY764" fmla="*/ 2114950 h 2867451"/>
                    <a:gd name="connsiteX765" fmla="*/ 4319331 w 7044883"/>
                    <a:gd name="connsiteY765" fmla="*/ 2111366 h 2867451"/>
                    <a:gd name="connsiteX766" fmla="*/ 4329626 w 7044883"/>
                    <a:gd name="connsiteY766" fmla="*/ 2106330 h 2867451"/>
                    <a:gd name="connsiteX767" fmla="*/ 4334205 w 7044883"/>
                    <a:gd name="connsiteY767" fmla="*/ 2097007 h 2867451"/>
                    <a:gd name="connsiteX768" fmla="*/ 4347041 w 7044883"/>
                    <a:gd name="connsiteY768" fmla="*/ 2086467 h 2867451"/>
                    <a:gd name="connsiteX769" fmla="*/ 4347345 w 7044883"/>
                    <a:gd name="connsiteY769" fmla="*/ 2096867 h 2867451"/>
                    <a:gd name="connsiteX770" fmla="*/ 4336278 w 7044883"/>
                    <a:gd name="connsiteY770" fmla="*/ 2109398 h 2867451"/>
                    <a:gd name="connsiteX771" fmla="*/ 4332085 w 7044883"/>
                    <a:gd name="connsiteY771" fmla="*/ 2115711 h 2867451"/>
                    <a:gd name="connsiteX772" fmla="*/ 4328114 w 7044883"/>
                    <a:gd name="connsiteY772" fmla="*/ 2122667 h 2867451"/>
                    <a:gd name="connsiteX773" fmla="*/ 4341548 w 7044883"/>
                    <a:gd name="connsiteY773" fmla="*/ 2120232 h 2867451"/>
                    <a:gd name="connsiteX774" fmla="*/ 4350659 w 7044883"/>
                    <a:gd name="connsiteY774" fmla="*/ 2106330 h 2867451"/>
                    <a:gd name="connsiteX775" fmla="*/ 4352802 w 7044883"/>
                    <a:gd name="connsiteY775" fmla="*/ 2094525 h 2867451"/>
                    <a:gd name="connsiteX776" fmla="*/ 4356878 w 7044883"/>
                    <a:gd name="connsiteY776" fmla="*/ 2078925 h 2867451"/>
                    <a:gd name="connsiteX777" fmla="*/ 4351549 w 7044883"/>
                    <a:gd name="connsiteY777" fmla="*/ 2080869 h 2867451"/>
                    <a:gd name="connsiteX778" fmla="*/ 4350437 w 7044883"/>
                    <a:gd name="connsiteY778" fmla="*/ 2065105 h 2867451"/>
                    <a:gd name="connsiteX779" fmla="*/ 4372466 w 7044883"/>
                    <a:gd name="connsiteY779" fmla="*/ 2070059 h 2867451"/>
                    <a:gd name="connsiteX780" fmla="*/ 4397060 w 7044883"/>
                    <a:gd name="connsiteY780" fmla="*/ 2069321 h 2867451"/>
                    <a:gd name="connsiteX781" fmla="*/ 4410833 w 7044883"/>
                    <a:gd name="connsiteY781" fmla="*/ 2066511 h 2867451"/>
                    <a:gd name="connsiteX782" fmla="*/ 4416947 w 7044883"/>
                    <a:gd name="connsiteY782" fmla="*/ 2072062 h 2867451"/>
                    <a:gd name="connsiteX783" fmla="*/ 4424465 w 7044883"/>
                    <a:gd name="connsiteY783" fmla="*/ 2078445 h 2867451"/>
                    <a:gd name="connsiteX784" fmla="*/ 4433753 w 7044883"/>
                    <a:gd name="connsiteY784" fmla="*/ 2082333 h 2867451"/>
                    <a:gd name="connsiteX785" fmla="*/ 4433237 w 7044883"/>
                    <a:gd name="connsiteY785" fmla="*/ 2085928 h 2867451"/>
                    <a:gd name="connsiteX786" fmla="*/ 4438437 w 7044883"/>
                    <a:gd name="connsiteY786" fmla="*/ 2089149 h 2867451"/>
                    <a:gd name="connsiteX787" fmla="*/ 4434549 w 7044883"/>
                    <a:gd name="connsiteY787" fmla="*/ 2095415 h 2867451"/>
                    <a:gd name="connsiteX788" fmla="*/ 4445382 w 7044883"/>
                    <a:gd name="connsiteY788" fmla="*/ 2104058 h 2867451"/>
                    <a:gd name="connsiteX789" fmla="*/ 4449352 w 7044883"/>
                    <a:gd name="connsiteY789" fmla="*/ 2109843 h 2867451"/>
                    <a:gd name="connsiteX790" fmla="*/ 4478467 w 7044883"/>
                    <a:gd name="connsiteY790" fmla="*/ 2123862 h 2867451"/>
                    <a:gd name="connsiteX791" fmla="*/ 4469754 w 7044883"/>
                    <a:gd name="connsiteY791" fmla="*/ 2126579 h 2867451"/>
                    <a:gd name="connsiteX792" fmla="*/ 4482999 w 7044883"/>
                    <a:gd name="connsiteY792" fmla="*/ 2133173 h 2867451"/>
                    <a:gd name="connsiteX793" fmla="*/ 4492029 w 7044883"/>
                    <a:gd name="connsiteY793" fmla="*/ 2141874 h 2867451"/>
                    <a:gd name="connsiteX794" fmla="*/ 4494840 w 7044883"/>
                    <a:gd name="connsiteY794" fmla="*/ 2141347 h 2867451"/>
                    <a:gd name="connsiteX795" fmla="*/ 4492380 w 7044883"/>
                    <a:gd name="connsiteY795" fmla="*/ 2152321 h 2867451"/>
                    <a:gd name="connsiteX796" fmla="*/ 4483082 w 7044883"/>
                    <a:gd name="connsiteY796" fmla="*/ 2154499 h 2867451"/>
                    <a:gd name="connsiteX797" fmla="*/ 4487005 w 7044883"/>
                    <a:gd name="connsiteY797" fmla="*/ 2154980 h 2867451"/>
                    <a:gd name="connsiteX798" fmla="*/ 4458054 w 7044883"/>
                    <a:gd name="connsiteY798" fmla="*/ 2149663 h 2867451"/>
                    <a:gd name="connsiteX799" fmla="*/ 4470527 w 7044883"/>
                    <a:gd name="connsiteY799" fmla="*/ 2156256 h 2867451"/>
                    <a:gd name="connsiteX800" fmla="*/ 4472518 w 7044883"/>
                    <a:gd name="connsiteY800" fmla="*/ 2162452 h 2867451"/>
                    <a:gd name="connsiteX801" fmla="*/ 4486946 w 7044883"/>
                    <a:gd name="connsiteY801" fmla="*/ 2167933 h 2867451"/>
                    <a:gd name="connsiteX802" fmla="*/ 4489616 w 7044883"/>
                    <a:gd name="connsiteY802" fmla="*/ 2181331 h 2867451"/>
                    <a:gd name="connsiteX803" fmla="*/ 4480048 w 7044883"/>
                    <a:gd name="connsiteY803" fmla="*/ 2198137 h 2867451"/>
                    <a:gd name="connsiteX804" fmla="*/ 4493751 w 7044883"/>
                    <a:gd name="connsiteY804" fmla="*/ 2211558 h 2867451"/>
                    <a:gd name="connsiteX805" fmla="*/ 4502089 w 7044883"/>
                    <a:gd name="connsiteY805" fmla="*/ 2217238 h 2867451"/>
                    <a:gd name="connsiteX806" fmla="*/ 4489581 w 7044883"/>
                    <a:gd name="connsiteY806" fmla="*/ 2227111 h 2867451"/>
                    <a:gd name="connsiteX807" fmla="*/ 4495566 w 7044883"/>
                    <a:gd name="connsiteY807" fmla="*/ 2232908 h 2867451"/>
                    <a:gd name="connsiteX808" fmla="*/ 4483550 w 7044883"/>
                    <a:gd name="connsiteY808" fmla="*/ 2240626 h 2867451"/>
                    <a:gd name="connsiteX809" fmla="*/ 4479369 w 7044883"/>
                    <a:gd name="connsiteY809" fmla="*/ 2249831 h 2867451"/>
                    <a:gd name="connsiteX810" fmla="*/ 4469859 w 7044883"/>
                    <a:gd name="connsiteY810" fmla="*/ 2253579 h 2867451"/>
                    <a:gd name="connsiteX811" fmla="*/ 4468794 w 7044883"/>
                    <a:gd name="connsiteY811" fmla="*/ 2258111 h 2867451"/>
                    <a:gd name="connsiteX812" fmla="*/ 4467716 w 7044883"/>
                    <a:gd name="connsiteY812" fmla="*/ 2263674 h 2867451"/>
                    <a:gd name="connsiteX813" fmla="*/ 4464144 w 7044883"/>
                    <a:gd name="connsiteY813" fmla="*/ 2263838 h 2867451"/>
                    <a:gd name="connsiteX814" fmla="*/ 4467950 w 7044883"/>
                    <a:gd name="connsiteY814" fmla="*/ 2267422 h 2867451"/>
                    <a:gd name="connsiteX815" fmla="*/ 4458441 w 7044883"/>
                    <a:gd name="connsiteY815" fmla="*/ 2278993 h 2867451"/>
                    <a:gd name="connsiteX816" fmla="*/ 4456344 w 7044883"/>
                    <a:gd name="connsiteY816" fmla="*/ 2300601 h 2867451"/>
                    <a:gd name="connsiteX817" fmla="*/ 4452503 w 7044883"/>
                    <a:gd name="connsiteY817" fmla="*/ 2301959 h 2867451"/>
                    <a:gd name="connsiteX818" fmla="*/ 4449786 w 7044883"/>
                    <a:gd name="connsiteY818" fmla="*/ 2308342 h 2867451"/>
                    <a:gd name="connsiteX819" fmla="*/ 4445452 w 7044883"/>
                    <a:gd name="connsiteY819" fmla="*/ 2317372 h 2867451"/>
                    <a:gd name="connsiteX820" fmla="*/ 4446471 w 7044883"/>
                    <a:gd name="connsiteY820" fmla="*/ 2324035 h 2867451"/>
                    <a:gd name="connsiteX821" fmla="*/ 4445019 w 7044883"/>
                    <a:gd name="connsiteY821" fmla="*/ 2330641 h 2867451"/>
                    <a:gd name="connsiteX822" fmla="*/ 4448954 w 7044883"/>
                    <a:gd name="connsiteY822" fmla="*/ 2343465 h 2867451"/>
                    <a:gd name="connsiteX823" fmla="*/ 4457023 w 7044883"/>
                    <a:gd name="connsiteY823" fmla="*/ 2358503 h 2867451"/>
                    <a:gd name="connsiteX824" fmla="*/ 4444832 w 7044883"/>
                    <a:gd name="connsiteY824" fmla="*/ 2370636 h 2867451"/>
                    <a:gd name="connsiteX825" fmla="*/ 4449223 w 7044883"/>
                    <a:gd name="connsiteY825" fmla="*/ 2381012 h 2867451"/>
                    <a:gd name="connsiteX826" fmla="*/ 4448673 w 7044883"/>
                    <a:gd name="connsiteY826" fmla="*/ 2389116 h 2867451"/>
                    <a:gd name="connsiteX827" fmla="*/ 4450078 w 7044883"/>
                    <a:gd name="connsiteY827" fmla="*/ 2395394 h 2867451"/>
                    <a:gd name="connsiteX828" fmla="*/ 4443942 w 7044883"/>
                    <a:gd name="connsiteY828" fmla="*/ 2413383 h 2867451"/>
                    <a:gd name="connsiteX829" fmla="*/ 4438742 w 7044883"/>
                    <a:gd name="connsiteY829" fmla="*/ 2413839 h 2867451"/>
                    <a:gd name="connsiteX830" fmla="*/ 4441283 w 7044883"/>
                    <a:gd name="connsiteY830" fmla="*/ 2414249 h 2867451"/>
                    <a:gd name="connsiteX831" fmla="*/ 4439503 w 7044883"/>
                    <a:gd name="connsiteY831" fmla="*/ 2419883 h 2867451"/>
                    <a:gd name="connsiteX832" fmla="*/ 4440569 w 7044883"/>
                    <a:gd name="connsiteY832" fmla="*/ 2418911 h 2867451"/>
                    <a:gd name="connsiteX833" fmla="*/ 4440885 w 7044883"/>
                    <a:gd name="connsiteY833" fmla="*/ 2419379 h 2867451"/>
                    <a:gd name="connsiteX834" fmla="*/ 4436610 w 7044883"/>
                    <a:gd name="connsiteY834" fmla="*/ 2427284 h 2867451"/>
                    <a:gd name="connsiteX835" fmla="*/ 4432663 w 7044883"/>
                    <a:gd name="connsiteY835" fmla="*/ 2432309 h 2867451"/>
                    <a:gd name="connsiteX836" fmla="*/ 4435533 w 7044883"/>
                    <a:gd name="connsiteY836" fmla="*/ 2433222 h 2867451"/>
                    <a:gd name="connsiteX837" fmla="*/ 4434186 w 7044883"/>
                    <a:gd name="connsiteY837" fmla="*/ 2434827 h 2867451"/>
                    <a:gd name="connsiteX838" fmla="*/ 4436938 w 7044883"/>
                    <a:gd name="connsiteY838" fmla="*/ 2435553 h 2867451"/>
                    <a:gd name="connsiteX839" fmla="*/ 4441986 w 7044883"/>
                    <a:gd name="connsiteY839" fmla="*/ 2433714 h 2867451"/>
                    <a:gd name="connsiteX840" fmla="*/ 4433261 w 7044883"/>
                    <a:gd name="connsiteY840" fmla="*/ 2447253 h 2867451"/>
                    <a:gd name="connsiteX841" fmla="*/ 4430942 w 7044883"/>
                    <a:gd name="connsiteY841" fmla="*/ 2463930 h 2867451"/>
                    <a:gd name="connsiteX842" fmla="*/ 4409369 w 7044883"/>
                    <a:gd name="connsiteY842" fmla="*/ 2487540 h 2867451"/>
                    <a:gd name="connsiteX843" fmla="*/ 4380032 w 7044883"/>
                    <a:gd name="connsiteY843" fmla="*/ 2520520 h 2867451"/>
                    <a:gd name="connsiteX844" fmla="*/ 4369585 w 7044883"/>
                    <a:gd name="connsiteY844" fmla="*/ 2541472 h 2867451"/>
                    <a:gd name="connsiteX845" fmla="*/ 4343152 w 7044883"/>
                    <a:gd name="connsiteY845" fmla="*/ 2572507 h 2867451"/>
                    <a:gd name="connsiteX846" fmla="*/ 4335118 w 7044883"/>
                    <a:gd name="connsiteY846" fmla="*/ 2589290 h 2867451"/>
                    <a:gd name="connsiteX847" fmla="*/ 4332132 w 7044883"/>
                    <a:gd name="connsiteY847" fmla="*/ 2598320 h 2867451"/>
                    <a:gd name="connsiteX848" fmla="*/ 4323570 w 7044883"/>
                    <a:gd name="connsiteY848" fmla="*/ 2611191 h 2867451"/>
                    <a:gd name="connsiteX849" fmla="*/ 4303989 w 7044883"/>
                    <a:gd name="connsiteY849" fmla="*/ 2638607 h 2867451"/>
                    <a:gd name="connsiteX850" fmla="*/ 4286105 w 7044883"/>
                    <a:gd name="connsiteY850" fmla="*/ 2655835 h 2867451"/>
                    <a:gd name="connsiteX851" fmla="*/ 4271302 w 7044883"/>
                    <a:gd name="connsiteY851" fmla="*/ 2672945 h 2867451"/>
                    <a:gd name="connsiteX852" fmla="*/ 4260211 w 7044883"/>
                    <a:gd name="connsiteY852" fmla="*/ 2680663 h 2867451"/>
                    <a:gd name="connsiteX853" fmla="*/ 4253383 w 7044883"/>
                    <a:gd name="connsiteY853" fmla="*/ 2689388 h 2867451"/>
                    <a:gd name="connsiteX854" fmla="*/ 4242398 w 7044883"/>
                    <a:gd name="connsiteY854" fmla="*/ 2699882 h 2867451"/>
                    <a:gd name="connsiteX855" fmla="*/ 4236472 w 7044883"/>
                    <a:gd name="connsiteY855" fmla="*/ 2707483 h 2867451"/>
                    <a:gd name="connsiteX856" fmla="*/ 4232841 w 7044883"/>
                    <a:gd name="connsiteY856" fmla="*/ 2710410 h 2867451"/>
                    <a:gd name="connsiteX857" fmla="*/ 4228578 w 7044883"/>
                    <a:gd name="connsiteY857" fmla="*/ 2713163 h 2867451"/>
                    <a:gd name="connsiteX858" fmla="*/ 4222172 w 7044883"/>
                    <a:gd name="connsiteY858" fmla="*/ 2727861 h 2867451"/>
                    <a:gd name="connsiteX859" fmla="*/ 4204008 w 7044883"/>
                    <a:gd name="connsiteY859" fmla="*/ 2738342 h 2867451"/>
                    <a:gd name="connsiteX860" fmla="*/ 4194428 w 7044883"/>
                    <a:gd name="connsiteY860" fmla="*/ 2752267 h 2867451"/>
                    <a:gd name="connsiteX861" fmla="*/ 4190727 w 7044883"/>
                    <a:gd name="connsiteY861" fmla="*/ 2759564 h 2867451"/>
                    <a:gd name="connsiteX862" fmla="*/ 4187131 w 7044883"/>
                    <a:gd name="connsiteY862" fmla="*/ 2765829 h 2867451"/>
                    <a:gd name="connsiteX863" fmla="*/ 4184601 w 7044883"/>
                    <a:gd name="connsiteY863" fmla="*/ 2764049 h 2867451"/>
                    <a:gd name="connsiteX864" fmla="*/ 4185492 w 7044883"/>
                    <a:gd name="connsiteY864" fmla="*/ 2768617 h 2867451"/>
                    <a:gd name="connsiteX865" fmla="*/ 4187471 w 7044883"/>
                    <a:gd name="connsiteY865" fmla="*/ 2768008 h 2867451"/>
                    <a:gd name="connsiteX866" fmla="*/ 4178136 w 7044883"/>
                    <a:gd name="connsiteY866" fmla="*/ 2778970 h 2867451"/>
                    <a:gd name="connsiteX867" fmla="*/ 4169927 w 7044883"/>
                    <a:gd name="connsiteY867" fmla="*/ 2779274 h 2867451"/>
                    <a:gd name="connsiteX868" fmla="*/ 4149314 w 7044883"/>
                    <a:gd name="connsiteY868" fmla="*/ 2803330 h 2867451"/>
                    <a:gd name="connsiteX869" fmla="*/ 4115785 w 7044883"/>
                    <a:gd name="connsiteY869" fmla="*/ 2821904 h 2867451"/>
                    <a:gd name="connsiteX870" fmla="*/ 4103206 w 7044883"/>
                    <a:gd name="connsiteY870" fmla="*/ 2831801 h 2867451"/>
                    <a:gd name="connsiteX871" fmla="*/ 4093509 w 7044883"/>
                    <a:gd name="connsiteY871" fmla="*/ 2835946 h 2867451"/>
                    <a:gd name="connsiteX872" fmla="*/ 4080181 w 7044883"/>
                    <a:gd name="connsiteY872" fmla="*/ 2837645 h 2867451"/>
                    <a:gd name="connsiteX873" fmla="*/ 4055903 w 7044883"/>
                    <a:gd name="connsiteY873" fmla="*/ 2841872 h 2867451"/>
                    <a:gd name="connsiteX874" fmla="*/ 4060084 w 7044883"/>
                    <a:gd name="connsiteY874" fmla="*/ 2840889 h 2867451"/>
                    <a:gd name="connsiteX875" fmla="*/ 4056629 w 7044883"/>
                    <a:gd name="connsiteY875" fmla="*/ 2835806 h 2867451"/>
                    <a:gd name="connsiteX876" fmla="*/ 4045211 w 7044883"/>
                    <a:gd name="connsiteY876" fmla="*/ 2837562 h 2867451"/>
                    <a:gd name="connsiteX877" fmla="*/ 4040187 w 7044883"/>
                    <a:gd name="connsiteY877" fmla="*/ 2833218 h 2867451"/>
                    <a:gd name="connsiteX878" fmla="*/ 4022373 w 7044883"/>
                    <a:gd name="connsiteY878" fmla="*/ 2829997 h 2867451"/>
                    <a:gd name="connsiteX879" fmla="*/ 4018989 w 7044883"/>
                    <a:gd name="connsiteY879" fmla="*/ 2831765 h 2867451"/>
                    <a:gd name="connsiteX880" fmla="*/ 4019094 w 7044883"/>
                    <a:gd name="connsiteY880" fmla="*/ 2818941 h 2867451"/>
                    <a:gd name="connsiteX881" fmla="*/ 4021073 w 7044883"/>
                    <a:gd name="connsiteY881" fmla="*/ 2813284 h 2867451"/>
                    <a:gd name="connsiteX882" fmla="*/ 4020429 w 7044883"/>
                    <a:gd name="connsiteY882" fmla="*/ 2808413 h 2867451"/>
                    <a:gd name="connsiteX883" fmla="*/ 4017759 w 7044883"/>
                    <a:gd name="connsiteY883" fmla="*/ 2807101 h 2867451"/>
                    <a:gd name="connsiteX884" fmla="*/ 3997990 w 7044883"/>
                    <a:gd name="connsiteY884" fmla="*/ 2818941 h 2867451"/>
                    <a:gd name="connsiteX885" fmla="*/ 3999758 w 7044883"/>
                    <a:gd name="connsiteY885" fmla="*/ 2816739 h 2867451"/>
                    <a:gd name="connsiteX886" fmla="*/ 3995929 w 7044883"/>
                    <a:gd name="connsiteY886" fmla="*/ 2818672 h 2867451"/>
                    <a:gd name="connsiteX887" fmla="*/ 4006235 w 7044883"/>
                    <a:gd name="connsiteY887" fmla="*/ 2803822 h 2867451"/>
                    <a:gd name="connsiteX888" fmla="*/ 4002253 w 7044883"/>
                    <a:gd name="connsiteY888" fmla="*/ 2807230 h 2867451"/>
                    <a:gd name="connsiteX889" fmla="*/ 3995484 w 7044883"/>
                    <a:gd name="connsiteY889" fmla="*/ 2803295 h 2867451"/>
                    <a:gd name="connsiteX890" fmla="*/ 3989440 w 7044883"/>
                    <a:gd name="connsiteY890" fmla="*/ 2811563 h 2867451"/>
                    <a:gd name="connsiteX891" fmla="*/ 3991584 w 7044883"/>
                    <a:gd name="connsiteY891" fmla="*/ 2812605 h 2867451"/>
                    <a:gd name="connsiteX892" fmla="*/ 3985728 w 7044883"/>
                    <a:gd name="connsiteY892" fmla="*/ 2814502 h 2867451"/>
                    <a:gd name="connsiteX893" fmla="*/ 3987976 w 7044883"/>
                    <a:gd name="connsiteY893" fmla="*/ 2813296 h 2867451"/>
                    <a:gd name="connsiteX894" fmla="*/ 3981207 w 7044883"/>
                    <a:gd name="connsiteY894" fmla="*/ 2824598 h 2867451"/>
                    <a:gd name="connsiteX895" fmla="*/ 3977624 w 7044883"/>
                    <a:gd name="connsiteY895" fmla="*/ 2828018 h 2867451"/>
                    <a:gd name="connsiteX896" fmla="*/ 3972623 w 7044883"/>
                    <a:gd name="connsiteY896" fmla="*/ 2832374 h 2867451"/>
                    <a:gd name="connsiteX897" fmla="*/ 3976359 w 7044883"/>
                    <a:gd name="connsiteY897" fmla="*/ 2831707 h 2867451"/>
                    <a:gd name="connsiteX898" fmla="*/ 3963945 w 7044883"/>
                    <a:gd name="connsiteY898" fmla="*/ 2850410 h 2867451"/>
                    <a:gd name="connsiteX899" fmla="*/ 3961145 w 7044883"/>
                    <a:gd name="connsiteY899" fmla="*/ 2849286 h 2867451"/>
                    <a:gd name="connsiteX900" fmla="*/ 3957995 w 7044883"/>
                    <a:gd name="connsiteY900" fmla="*/ 2845386 h 2867451"/>
                    <a:gd name="connsiteX901" fmla="*/ 3942102 w 7044883"/>
                    <a:gd name="connsiteY901" fmla="*/ 2847459 h 2867451"/>
                    <a:gd name="connsiteX902" fmla="*/ 3949118 w 7044883"/>
                    <a:gd name="connsiteY902" fmla="*/ 2846264 h 2867451"/>
                    <a:gd name="connsiteX903" fmla="*/ 3940615 w 7044883"/>
                    <a:gd name="connsiteY903" fmla="*/ 2846229 h 2867451"/>
                    <a:gd name="connsiteX904" fmla="*/ 3943239 w 7044883"/>
                    <a:gd name="connsiteY904" fmla="*/ 2843840 h 2867451"/>
                    <a:gd name="connsiteX905" fmla="*/ 3936106 w 7044883"/>
                    <a:gd name="connsiteY905" fmla="*/ 2844004 h 2867451"/>
                    <a:gd name="connsiteX906" fmla="*/ 3937641 w 7044883"/>
                    <a:gd name="connsiteY906" fmla="*/ 2850925 h 2867451"/>
                    <a:gd name="connsiteX907" fmla="*/ 3944960 w 7044883"/>
                    <a:gd name="connsiteY907" fmla="*/ 2854790 h 2867451"/>
                    <a:gd name="connsiteX908" fmla="*/ 3939116 w 7044883"/>
                    <a:gd name="connsiteY908" fmla="*/ 2862777 h 2867451"/>
                    <a:gd name="connsiteX909" fmla="*/ 3933272 w 7044883"/>
                    <a:gd name="connsiteY909" fmla="*/ 2862133 h 2867451"/>
                    <a:gd name="connsiteX910" fmla="*/ 3928716 w 7044883"/>
                    <a:gd name="connsiteY910" fmla="*/ 2857027 h 2867451"/>
                    <a:gd name="connsiteX911" fmla="*/ 3929150 w 7044883"/>
                    <a:gd name="connsiteY911" fmla="*/ 2852612 h 2867451"/>
                    <a:gd name="connsiteX912" fmla="*/ 3928002 w 7044883"/>
                    <a:gd name="connsiteY912" fmla="*/ 2846416 h 2867451"/>
                    <a:gd name="connsiteX913" fmla="*/ 3920588 w 7044883"/>
                    <a:gd name="connsiteY913" fmla="*/ 2844753 h 2867451"/>
                    <a:gd name="connsiteX914" fmla="*/ 3955582 w 7044883"/>
                    <a:gd name="connsiteY914" fmla="*/ 2830910 h 2867451"/>
                    <a:gd name="connsiteX915" fmla="*/ 3958346 w 7044883"/>
                    <a:gd name="connsiteY915" fmla="*/ 2819164 h 2867451"/>
                    <a:gd name="connsiteX916" fmla="*/ 3962633 w 7044883"/>
                    <a:gd name="connsiteY916" fmla="*/ 2809103 h 2867451"/>
                    <a:gd name="connsiteX917" fmla="*/ 3965069 w 7044883"/>
                    <a:gd name="connsiteY917" fmla="*/ 2794780 h 2867451"/>
                    <a:gd name="connsiteX918" fmla="*/ 3960045 w 7044883"/>
                    <a:gd name="connsiteY918" fmla="*/ 2790599 h 2867451"/>
                    <a:gd name="connsiteX919" fmla="*/ 3961731 w 7044883"/>
                    <a:gd name="connsiteY919" fmla="*/ 2787062 h 2867451"/>
                    <a:gd name="connsiteX920" fmla="*/ 3961298 w 7044883"/>
                    <a:gd name="connsiteY920" fmla="*/ 2781828 h 2867451"/>
                    <a:gd name="connsiteX921" fmla="*/ 3962516 w 7044883"/>
                    <a:gd name="connsiteY921" fmla="*/ 2762972 h 2867451"/>
                    <a:gd name="connsiteX922" fmla="*/ 3965338 w 7044883"/>
                    <a:gd name="connsiteY922" fmla="*/ 2757924 h 2867451"/>
                    <a:gd name="connsiteX923" fmla="*/ 3960654 w 7044883"/>
                    <a:gd name="connsiteY923" fmla="*/ 2738600 h 2867451"/>
                    <a:gd name="connsiteX924" fmla="*/ 3956238 w 7044883"/>
                    <a:gd name="connsiteY924" fmla="*/ 2721455 h 2867451"/>
                    <a:gd name="connsiteX925" fmla="*/ 3950265 w 7044883"/>
                    <a:gd name="connsiteY925" fmla="*/ 2711160 h 2867451"/>
                    <a:gd name="connsiteX926" fmla="*/ 3958229 w 7044883"/>
                    <a:gd name="connsiteY926" fmla="*/ 2702130 h 2867451"/>
                    <a:gd name="connsiteX927" fmla="*/ 3976277 w 7044883"/>
                    <a:gd name="connsiteY927" fmla="*/ 2696919 h 2867451"/>
                    <a:gd name="connsiteX928" fmla="*/ 3985868 w 7044883"/>
                    <a:gd name="connsiteY928" fmla="*/ 2683298 h 2867451"/>
                    <a:gd name="connsiteX929" fmla="*/ 3990014 w 7044883"/>
                    <a:gd name="connsiteY929" fmla="*/ 2681834 h 2867451"/>
                    <a:gd name="connsiteX930" fmla="*/ 3994406 w 7044883"/>
                    <a:gd name="connsiteY930" fmla="*/ 2675241 h 2867451"/>
                    <a:gd name="connsiteX931" fmla="*/ 3998681 w 7044883"/>
                    <a:gd name="connsiteY931" fmla="*/ 2679070 h 2867451"/>
                    <a:gd name="connsiteX932" fmla="*/ 4005462 w 7044883"/>
                    <a:gd name="connsiteY932" fmla="*/ 2688030 h 2867451"/>
                    <a:gd name="connsiteX933" fmla="*/ 4005391 w 7044883"/>
                    <a:gd name="connsiteY933" fmla="*/ 2694237 h 2867451"/>
                    <a:gd name="connsiteX934" fmla="*/ 4009631 w 7044883"/>
                    <a:gd name="connsiteY934" fmla="*/ 2702060 h 2867451"/>
                    <a:gd name="connsiteX935" fmla="*/ 4006106 w 7044883"/>
                    <a:gd name="connsiteY935" fmla="*/ 2710762 h 2867451"/>
                    <a:gd name="connsiteX936" fmla="*/ 4018696 w 7044883"/>
                    <a:gd name="connsiteY936" fmla="*/ 2720225 h 2867451"/>
                    <a:gd name="connsiteX937" fmla="*/ 4015147 w 7044883"/>
                    <a:gd name="connsiteY937" fmla="*/ 2719979 h 2867451"/>
                    <a:gd name="connsiteX938" fmla="*/ 4029084 w 7044883"/>
                    <a:gd name="connsiteY938" fmla="*/ 2720927 h 2867451"/>
                    <a:gd name="connsiteX939" fmla="*/ 4037048 w 7044883"/>
                    <a:gd name="connsiteY939" fmla="*/ 2714006 h 2867451"/>
                    <a:gd name="connsiteX940" fmla="*/ 4037060 w 7044883"/>
                    <a:gd name="connsiteY940" fmla="*/ 2708162 h 2867451"/>
                    <a:gd name="connsiteX941" fmla="*/ 4047424 w 7044883"/>
                    <a:gd name="connsiteY941" fmla="*/ 2692808 h 2867451"/>
                    <a:gd name="connsiteX942" fmla="*/ 4060506 w 7044883"/>
                    <a:gd name="connsiteY942" fmla="*/ 2690290 h 2867451"/>
                    <a:gd name="connsiteX943" fmla="*/ 4061502 w 7044883"/>
                    <a:gd name="connsiteY943" fmla="*/ 2677325 h 2867451"/>
                    <a:gd name="connsiteX944" fmla="*/ 4080931 w 7044883"/>
                    <a:gd name="connsiteY944" fmla="*/ 2656093 h 2867451"/>
                    <a:gd name="connsiteX945" fmla="*/ 4079139 w 7044883"/>
                    <a:gd name="connsiteY945" fmla="*/ 2650775 h 2867451"/>
                    <a:gd name="connsiteX946" fmla="*/ 4082711 w 7044883"/>
                    <a:gd name="connsiteY946" fmla="*/ 2646302 h 2867451"/>
                    <a:gd name="connsiteX947" fmla="*/ 4093263 w 7044883"/>
                    <a:gd name="connsiteY947" fmla="*/ 2628406 h 2867451"/>
                    <a:gd name="connsiteX948" fmla="*/ 4098077 w 7044883"/>
                    <a:gd name="connsiteY948" fmla="*/ 2617714 h 2867451"/>
                    <a:gd name="connsiteX949" fmla="*/ 4103815 w 7044883"/>
                    <a:gd name="connsiteY949" fmla="*/ 2611471 h 2867451"/>
                    <a:gd name="connsiteX950" fmla="*/ 4103136 w 7044883"/>
                    <a:gd name="connsiteY950" fmla="*/ 2608239 h 2867451"/>
                    <a:gd name="connsiteX951" fmla="*/ 4104260 w 7044883"/>
                    <a:gd name="connsiteY951" fmla="*/ 2605440 h 2867451"/>
                    <a:gd name="connsiteX952" fmla="*/ 4101719 w 7044883"/>
                    <a:gd name="connsiteY952" fmla="*/ 2603238 h 2867451"/>
                    <a:gd name="connsiteX953" fmla="*/ 4102820 w 7044883"/>
                    <a:gd name="connsiteY953" fmla="*/ 2596328 h 2867451"/>
                    <a:gd name="connsiteX954" fmla="*/ 4108102 w 7044883"/>
                    <a:gd name="connsiteY954" fmla="*/ 2590215 h 2867451"/>
                    <a:gd name="connsiteX955" fmla="*/ 4111510 w 7044883"/>
                    <a:gd name="connsiteY955" fmla="*/ 2572203 h 2867451"/>
                    <a:gd name="connsiteX956" fmla="*/ 4113442 w 7044883"/>
                    <a:gd name="connsiteY956" fmla="*/ 2564602 h 2867451"/>
                    <a:gd name="connsiteX957" fmla="*/ 4119766 w 7044883"/>
                    <a:gd name="connsiteY957" fmla="*/ 2559425 h 2867451"/>
                    <a:gd name="connsiteX958" fmla="*/ 4116546 w 7044883"/>
                    <a:gd name="connsiteY958" fmla="*/ 2548487 h 2867451"/>
                    <a:gd name="connsiteX959" fmla="*/ 4125810 w 7044883"/>
                    <a:gd name="connsiteY959" fmla="*/ 2538228 h 2867451"/>
                    <a:gd name="connsiteX960" fmla="*/ 4138563 w 7044883"/>
                    <a:gd name="connsiteY960" fmla="*/ 2533086 h 2867451"/>
                    <a:gd name="connsiteX961" fmla="*/ 4148495 w 7044883"/>
                    <a:gd name="connsiteY961" fmla="*/ 2519442 h 2867451"/>
                    <a:gd name="connsiteX962" fmla="*/ 4139208 w 7044883"/>
                    <a:gd name="connsiteY962" fmla="*/ 2504534 h 2867451"/>
                    <a:gd name="connsiteX963" fmla="*/ 4140390 w 7044883"/>
                    <a:gd name="connsiteY963" fmla="*/ 2494778 h 2867451"/>
                    <a:gd name="connsiteX964" fmla="*/ 4143880 w 7044883"/>
                    <a:gd name="connsiteY964" fmla="*/ 2489730 h 2867451"/>
                    <a:gd name="connsiteX965" fmla="*/ 4145696 w 7044883"/>
                    <a:gd name="connsiteY965" fmla="*/ 2482656 h 2867451"/>
                    <a:gd name="connsiteX966" fmla="*/ 4136490 w 7044883"/>
                    <a:gd name="connsiteY966" fmla="*/ 2476379 h 2867451"/>
                    <a:gd name="connsiteX967" fmla="*/ 4127929 w 7044883"/>
                    <a:gd name="connsiteY967" fmla="*/ 2474880 h 2867451"/>
                    <a:gd name="connsiteX968" fmla="*/ 4110632 w 7044883"/>
                    <a:gd name="connsiteY968" fmla="*/ 2478534 h 2867451"/>
                    <a:gd name="connsiteX969" fmla="*/ 4092443 w 7044883"/>
                    <a:gd name="connsiteY969" fmla="*/ 2485655 h 2867451"/>
                    <a:gd name="connsiteX970" fmla="*/ 4080263 w 7044883"/>
                    <a:gd name="connsiteY970" fmla="*/ 2494192 h 2867451"/>
                    <a:gd name="connsiteX971" fmla="*/ 4062239 w 7044883"/>
                    <a:gd name="connsiteY971" fmla="*/ 2492728 h 2867451"/>
                    <a:gd name="connsiteX972" fmla="*/ 4047366 w 7044883"/>
                    <a:gd name="connsiteY972" fmla="*/ 2503398 h 2867451"/>
                    <a:gd name="connsiteX973" fmla="*/ 4040233 w 7044883"/>
                    <a:gd name="connsiteY973" fmla="*/ 2502906 h 2867451"/>
                    <a:gd name="connsiteX974" fmla="*/ 4038852 w 7044883"/>
                    <a:gd name="connsiteY974" fmla="*/ 2507649 h 2867451"/>
                    <a:gd name="connsiteX975" fmla="*/ 4030103 w 7044883"/>
                    <a:gd name="connsiteY975" fmla="*/ 2519641 h 2867451"/>
                    <a:gd name="connsiteX976" fmla="*/ 4021202 w 7044883"/>
                    <a:gd name="connsiteY976" fmla="*/ 2517721 h 2867451"/>
                    <a:gd name="connsiteX977" fmla="*/ 4010030 w 7044883"/>
                    <a:gd name="connsiteY977" fmla="*/ 2520824 h 2867451"/>
                    <a:gd name="connsiteX978" fmla="*/ 3993399 w 7044883"/>
                    <a:gd name="connsiteY978" fmla="*/ 2521492 h 2867451"/>
                    <a:gd name="connsiteX979" fmla="*/ 3983186 w 7044883"/>
                    <a:gd name="connsiteY979" fmla="*/ 2522722 h 2867451"/>
                    <a:gd name="connsiteX980" fmla="*/ 3975551 w 7044883"/>
                    <a:gd name="connsiteY980" fmla="*/ 2517580 h 2867451"/>
                    <a:gd name="connsiteX981" fmla="*/ 3953275 w 7044883"/>
                    <a:gd name="connsiteY981" fmla="*/ 2521457 h 2867451"/>
                    <a:gd name="connsiteX982" fmla="*/ 3948731 w 7044883"/>
                    <a:gd name="connsiteY982" fmla="*/ 2514254 h 2867451"/>
                    <a:gd name="connsiteX983" fmla="*/ 3940849 w 7044883"/>
                    <a:gd name="connsiteY983" fmla="*/ 2501957 h 2867451"/>
                    <a:gd name="connsiteX984" fmla="*/ 3939678 w 7044883"/>
                    <a:gd name="connsiteY984" fmla="*/ 2484413 h 2867451"/>
                    <a:gd name="connsiteX985" fmla="*/ 3938226 w 7044883"/>
                    <a:gd name="connsiteY985" fmla="*/ 2470945 h 2867451"/>
                    <a:gd name="connsiteX986" fmla="*/ 3939163 w 7044883"/>
                    <a:gd name="connsiteY986" fmla="*/ 2468157 h 2867451"/>
                    <a:gd name="connsiteX987" fmla="*/ 3934701 w 7044883"/>
                    <a:gd name="connsiteY987" fmla="*/ 2467771 h 2867451"/>
                    <a:gd name="connsiteX988" fmla="*/ 3931679 w 7044883"/>
                    <a:gd name="connsiteY988" fmla="*/ 2466307 h 2867451"/>
                    <a:gd name="connsiteX989" fmla="*/ 3931843 w 7044883"/>
                    <a:gd name="connsiteY989" fmla="*/ 2462782 h 2867451"/>
                    <a:gd name="connsiteX990" fmla="*/ 3927334 w 7044883"/>
                    <a:gd name="connsiteY990" fmla="*/ 2459304 h 2867451"/>
                    <a:gd name="connsiteX991" fmla="*/ 3933834 w 7044883"/>
                    <a:gd name="connsiteY991" fmla="*/ 2444664 h 2867451"/>
                    <a:gd name="connsiteX992" fmla="*/ 3931527 w 7044883"/>
                    <a:gd name="connsiteY992" fmla="*/ 2442006 h 2867451"/>
                    <a:gd name="connsiteX993" fmla="*/ 3924137 w 7044883"/>
                    <a:gd name="connsiteY993" fmla="*/ 2440975 h 2867451"/>
                    <a:gd name="connsiteX994" fmla="*/ 3899367 w 7044883"/>
                    <a:gd name="connsiteY994" fmla="*/ 2433128 h 2867451"/>
                    <a:gd name="connsiteX995" fmla="*/ 3895186 w 7044883"/>
                    <a:gd name="connsiteY995" fmla="*/ 2428502 h 2867451"/>
                    <a:gd name="connsiteX996" fmla="*/ 3891157 w 7044883"/>
                    <a:gd name="connsiteY996" fmla="*/ 2422096 h 2867451"/>
                    <a:gd name="connsiteX997" fmla="*/ 3885630 w 7044883"/>
                    <a:gd name="connsiteY997" fmla="*/ 2417177 h 2867451"/>
                    <a:gd name="connsiteX998" fmla="*/ 3876155 w 7044883"/>
                    <a:gd name="connsiteY998" fmla="*/ 2413711 h 2867451"/>
                    <a:gd name="connsiteX999" fmla="*/ 3866786 w 7044883"/>
                    <a:gd name="connsiteY999" fmla="*/ 2405677 h 2867451"/>
                    <a:gd name="connsiteX1000" fmla="*/ 3865755 w 7044883"/>
                    <a:gd name="connsiteY1000" fmla="*/ 2410080 h 2867451"/>
                    <a:gd name="connsiteX1001" fmla="*/ 3862101 w 7044883"/>
                    <a:gd name="connsiteY1001" fmla="*/ 2408429 h 2867451"/>
                    <a:gd name="connsiteX1002" fmla="*/ 3854887 w 7044883"/>
                    <a:gd name="connsiteY1002" fmla="*/ 2409038 h 2867451"/>
                    <a:gd name="connsiteX1003" fmla="*/ 3840388 w 7044883"/>
                    <a:gd name="connsiteY1003" fmla="*/ 2400851 h 2867451"/>
                    <a:gd name="connsiteX1004" fmla="*/ 3834415 w 7044883"/>
                    <a:gd name="connsiteY1004" fmla="*/ 2399926 h 2867451"/>
                    <a:gd name="connsiteX1005" fmla="*/ 3836781 w 7044883"/>
                    <a:gd name="connsiteY1005" fmla="*/ 2394668 h 2867451"/>
                    <a:gd name="connsiteX1006" fmla="*/ 3815185 w 7044883"/>
                    <a:gd name="connsiteY1006" fmla="*/ 2394129 h 2867451"/>
                    <a:gd name="connsiteX1007" fmla="*/ 3799421 w 7044883"/>
                    <a:gd name="connsiteY1007" fmla="*/ 2396553 h 2867451"/>
                    <a:gd name="connsiteX1008" fmla="*/ 3793214 w 7044883"/>
                    <a:gd name="connsiteY1008" fmla="*/ 2392571 h 2867451"/>
                    <a:gd name="connsiteX1009" fmla="*/ 3786152 w 7044883"/>
                    <a:gd name="connsiteY1009" fmla="*/ 2392958 h 2867451"/>
                    <a:gd name="connsiteX1010" fmla="*/ 3776572 w 7044883"/>
                    <a:gd name="connsiteY1010" fmla="*/ 2381445 h 2867451"/>
                    <a:gd name="connsiteX1011" fmla="*/ 3769779 w 7044883"/>
                    <a:gd name="connsiteY1011" fmla="*/ 2374524 h 2867451"/>
                    <a:gd name="connsiteX1012" fmla="*/ 3768596 w 7044883"/>
                    <a:gd name="connsiteY1012" fmla="*/ 2365670 h 2867451"/>
                    <a:gd name="connsiteX1013" fmla="*/ 3773480 w 7044883"/>
                    <a:gd name="connsiteY1013" fmla="*/ 2354860 h 2867451"/>
                    <a:gd name="connsiteX1014" fmla="*/ 3765422 w 7044883"/>
                    <a:gd name="connsiteY1014" fmla="*/ 2347330 h 2867451"/>
                    <a:gd name="connsiteX1015" fmla="*/ 3761569 w 7044883"/>
                    <a:gd name="connsiteY1015" fmla="*/ 2340139 h 2867451"/>
                    <a:gd name="connsiteX1016" fmla="*/ 3758888 w 7044883"/>
                    <a:gd name="connsiteY1016" fmla="*/ 2332971 h 2867451"/>
                    <a:gd name="connsiteX1017" fmla="*/ 3762096 w 7044883"/>
                    <a:gd name="connsiteY1017" fmla="*/ 2325699 h 2867451"/>
                    <a:gd name="connsiteX1018" fmla="*/ 3757950 w 7044883"/>
                    <a:gd name="connsiteY1018" fmla="*/ 2318765 h 2867451"/>
                    <a:gd name="connsiteX1019" fmla="*/ 3750455 w 7044883"/>
                    <a:gd name="connsiteY1019" fmla="*/ 2303622 h 2867451"/>
                    <a:gd name="connsiteX1020" fmla="*/ 3738193 w 7044883"/>
                    <a:gd name="connsiteY1020" fmla="*/ 2286301 h 2867451"/>
                    <a:gd name="connsiteX1021" fmla="*/ 3738263 w 7044883"/>
                    <a:gd name="connsiteY1021" fmla="*/ 2274870 h 2867451"/>
                    <a:gd name="connsiteX1022" fmla="*/ 3733403 w 7044883"/>
                    <a:gd name="connsiteY1022" fmla="*/ 2274671 h 2867451"/>
                    <a:gd name="connsiteX1023" fmla="*/ 3738346 w 7044883"/>
                    <a:gd name="connsiteY1023" fmla="*/ 2270584 h 2867451"/>
                    <a:gd name="connsiteX1024" fmla="*/ 3732115 w 7044883"/>
                    <a:gd name="connsiteY1024" fmla="*/ 2266579 h 2867451"/>
                    <a:gd name="connsiteX1025" fmla="*/ 3733520 w 7044883"/>
                    <a:gd name="connsiteY1025" fmla="*/ 2263077 h 2867451"/>
                    <a:gd name="connsiteX1026" fmla="*/ 3731248 w 7044883"/>
                    <a:gd name="connsiteY1026" fmla="*/ 2259353 h 2867451"/>
                    <a:gd name="connsiteX1027" fmla="*/ 3726165 w 7044883"/>
                    <a:gd name="connsiteY1027" fmla="*/ 2257198 h 2867451"/>
                    <a:gd name="connsiteX1028" fmla="*/ 3728660 w 7044883"/>
                    <a:gd name="connsiteY1028" fmla="*/ 2252197 h 2867451"/>
                    <a:gd name="connsiteX1029" fmla="*/ 3717733 w 7044883"/>
                    <a:gd name="connsiteY1029" fmla="*/ 2234723 h 2867451"/>
                    <a:gd name="connsiteX1030" fmla="*/ 3719806 w 7044883"/>
                    <a:gd name="connsiteY1030" fmla="*/ 2219241 h 2867451"/>
                    <a:gd name="connsiteX1031" fmla="*/ 3713786 w 7044883"/>
                    <a:gd name="connsiteY1031" fmla="*/ 2208525 h 2867451"/>
                    <a:gd name="connsiteX1032" fmla="*/ 3706127 w 7044883"/>
                    <a:gd name="connsiteY1032" fmla="*/ 2196801 h 2867451"/>
                    <a:gd name="connsiteX1033" fmla="*/ 3701313 w 7044883"/>
                    <a:gd name="connsiteY1033" fmla="*/ 2195092 h 2867451"/>
                    <a:gd name="connsiteX1034" fmla="*/ 3699159 w 7044883"/>
                    <a:gd name="connsiteY1034" fmla="*/ 2189013 h 2867451"/>
                    <a:gd name="connsiteX1035" fmla="*/ 3689590 w 7044883"/>
                    <a:gd name="connsiteY1035" fmla="*/ 2183158 h 2867451"/>
                    <a:gd name="connsiteX1036" fmla="*/ 3694041 w 7044883"/>
                    <a:gd name="connsiteY1036" fmla="*/ 2180394 h 2867451"/>
                    <a:gd name="connsiteX1037" fmla="*/ 3696301 w 7044883"/>
                    <a:gd name="connsiteY1037" fmla="*/ 2174889 h 2867451"/>
                    <a:gd name="connsiteX1038" fmla="*/ 3690106 w 7044883"/>
                    <a:gd name="connsiteY1038" fmla="*/ 2174175 h 2867451"/>
                    <a:gd name="connsiteX1039" fmla="*/ 3683664 w 7044883"/>
                    <a:gd name="connsiteY1039" fmla="*/ 2165930 h 2867451"/>
                    <a:gd name="connsiteX1040" fmla="*/ 3674787 w 7044883"/>
                    <a:gd name="connsiteY1040" fmla="*/ 2165942 h 2867451"/>
                    <a:gd name="connsiteX1041" fmla="*/ 3673885 w 7044883"/>
                    <a:gd name="connsiteY1041" fmla="*/ 2162522 h 2867451"/>
                    <a:gd name="connsiteX1042" fmla="*/ 3675548 w 7044883"/>
                    <a:gd name="connsiteY1042" fmla="*/ 2158013 h 2867451"/>
                    <a:gd name="connsiteX1043" fmla="*/ 3668369 w 7044883"/>
                    <a:gd name="connsiteY1043" fmla="*/ 2153691 h 2867451"/>
                    <a:gd name="connsiteX1044" fmla="*/ 3661787 w 7044883"/>
                    <a:gd name="connsiteY1044" fmla="*/ 2151009 h 2867451"/>
                    <a:gd name="connsiteX1045" fmla="*/ 3645614 w 7044883"/>
                    <a:gd name="connsiteY1045" fmla="*/ 2143104 h 2867451"/>
                    <a:gd name="connsiteX1046" fmla="*/ 3633937 w 7044883"/>
                    <a:gd name="connsiteY1046" fmla="*/ 2144146 h 2867451"/>
                    <a:gd name="connsiteX1047" fmla="*/ 3632626 w 7044883"/>
                    <a:gd name="connsiteY1047" fmla="*/ 2149592 h 2867451"/>
                    <a:gd name="connsiteX1048" fmla="*/ 3621968 w 7044883"/>
                    <a:gd name="connsiteY1048" fmla="*/ 2143479 h 2867451"/>
                    <a:gd name="connsiteX1049" fmla="*/ 3604436 w 7044883"/>
                    <a:gd name="connsiteY1049" fmla="*/ 2138302 h 2867451"/>
                    <a:gd name="connsiteX1050" fmla="*/ 3595418 w 7044883"/>
                    <a:gd name="connsiteY1050" fmla="*/ 2131076 h 2867451"/>
                    <a:gd name="connsiteX1051" fmla="*/ 3588789 w 7044883"/>
                    <a:gd name="connsiteY1051" fmla="*/ 2129437 h 2867451"/>
                    <a:gd name="connsiteX1052" fmla="*/ 3580123 w 7044883"/>
                    <a:gd name="connsiteY1052" fmla="*/ 2122949 h 2867451"/>
                    <a:gd name="connsiteX1053" fmla="*/ 3561501 w 7044883"/>
                    <a:gd name="connsiteY1053" fmla="*/ 2120723 h 2867451"/>
                    <a:gd name="connsiteX1054" fmla="*/ 3559510 w 7044883"/>
                    <a:gd name="connsiteY1054" fmla="*/ 2120864 h 2867451"/>
                    <a:gd name="connsiteX1055" fmla="*/ 3546218 w 7044883"/>
                    <a:gd name="connsiteY1055" fmla="*/ 2118241 h 2867451"/>
                    <a:gd name="connsiteX1056" fmla="*/ 3539917 w 7044883"/>
                    <a:gd name="connsiteY1056" fmla="*/ 2121344 h 2867451"/>
                    <a:gd name="connsiteX1057" fmla="*/ 3524973 w 7044883"/>
                    <a:gd name="connsiteY1057" fmla="*/ 2124073 h 2867451"/>
                    <a:gd name="connsiteX1058" fmla="*/ 3506750 w 7044883"/>
                    <a:gd name="connsiteY1058" fmla="*/ 2124682 h 2867451"/>
                    <a:gd name="connsiteX1059" fmla="*/ 3500894 w 7044883"/>
                    <a:gd name="connsiteY1059" fmla="*/ 2123628 h 2867451"/>
                    <a:gd name="connsiteX1060" fmla="*/ 3485775 w 7044883"/>
                    <a:gd name="connsiteY1060" fmla="*/ 2127141 h 2867451"/>
                    <a:gd name="connsiteX1061" fmla="*/ 3472658 w 7044883"/>
                    <a:gd name="connsiteY1061" fmla="*/ 2128020 h 2867451"/>
                    <a:gd name="connsiteX1062" fmla="*/ 3456824 w 7044883"/>
                    <a:gd name="connsiteY1062" fmla="*/ 2134180 h 2867451"/>
                    <a:gd name="connsiteX1063" fmla="*/ 3438624 w 7044883"/>
                    <a:gd name="connsiteY1063" fmla="*/ 2138127 h 2867451"/>
                    <a:gd name="connsiteX1064" fmla="*/ 3419066 w 7044883"/>
                    <a:gd name="connsiteY1064" fmla="*/ 2141910 h 2867451"/>
                    <a:gd name="connsiteX1065" fmla="*/ 3399121 w 7044883"/>
                    <a:gd name="connsiteY1065" fmla="*/ 2159688 h 2867451"/>
                    <a:gd name="connsiteX1066" fmla="*/ 3380254 w 7044883"/>
                    <a:gd name="connsiteY1066" fmla="*/ 2180066 h 2867451"/>
                    <a:gd name="connsiteX1067" fmla="*/ 3388288 w 7044883"/>
                    <a:gd name="connsiteY1067" fmla="*/ 2186495 h 2867451"/>
                    <a:gd name="connsiteX1068" fmla="*/ 3405363 w 7044883"/>
                    <a:gd name="connsiteY1068" fmla="*/ 2185231 h 2867451"/>
                    <a:gd name="connsiteX1069" fmla="*/ 3411793 w 7044883"/>
                    <a:gd name="connsiteY1069" fmla="*/ 2206417 h 2867451"/>
                    <a:gd name="connsiteX1070" fmla="*/ 3418796 w 7044883"/>
                    <a:gd name="connsiteY1070" fmla="*/ 2216723 h 2867451"/>
                    <a:gd name="connsiteX1071" fmla="*/ 3414815 w 7044883"/>
                    <a:gd name="connsiteY1071" fmla="*/ 2226924 h 2867451"/>
                    <a:gd name="connsiteX1072" fmla="*/ 3390009 w 7044883"/>
                    <a:gd name="connsiteY1072" fmla="*/ 2247466 h 2867451"/>
                    <a:gd name="connsiteX1073" fmla="*/ 3380687 w 7044883"/>
                    <a:gd name="connsiteY1073" fmla="*/ 2258076 h 2867451"/>
                    <a:gd name="connsiteX1074" fmla="*/ 3372442 w 7044883"/>
                    <a:gd name="connsiteY1074" fmla="*/ 2270561 h 2867451"/>
                    <a:gd name="connsiteX1075" fmla="*/ 3368261 w 7044883"/>
                    <a:gd name="connsiteY1075" fmla="*/ 2282190 h 2867451"/>
                    <a:gd name="connsiteX1076" fmla="*/ 3362804 w 7044883"/>
                    <a:gd name="connsiteY1076" fmla="*/ 2294429 h 2867451"/>
                    <a:gd name="connsiteX1077" fmla="*/ 3353083 w 7044883"/>
                    <a:gd name="connsiteY1077" fmla="*/ 2304243 h 2867451"/>
                    <a:gd name="connsiteX1078" fmla="*/ 3352486 w 7044883"/>
                    <a:gd name="connsiteY1078" fmla="*/ 2312113 h 2867451"/>
                    <a:gd name="connsiteX1079" fmla="*/ 3340692 w 7044883"/>
                    <a:gd name="connsiteY1079" fmla="*/ 2326097 h 2867451"/>
                    <a:gd name="connsiteX1080" fmla="*/ 3332705 w 7044883"/>
                    <a:gd name="connsiteY1080" fmla="*/ 2339542 h 2867451"/>
                    <a:gd name="connsiteX1081" fmla="*/ 3344768 w 7044883"/>
                    <a:gd name="connsiteY1081" fmla="*/ 2344613 h 2867451"/>
                    <a:gd name="connsiteX1082" fmla="*/ 3341699 w 7044883"/>
                    <a:gd name="connsiteY1082" fmla="*/ 2359873 h 2867451"/>
                    <a:gd name="connsiteX1083" fmla="*/ 3300779 w 7044883"/>
                    <a:gd name="connsiteY1083" fmla="*/ 2372779 h 2867451"/>
                    <a:gd name="connsiteX1084" fmla="*/ 3275518 w 7044883"/>
                    <a:gd name="connsiteY1084" fmla="*/ 2392384 h 2867451"/>
                    <a:gd name="connsiteX1085" fmla="*/ 3261124 w 7044883"/>
                    <a:gd name="connsiteY1085" fmla="*/ 2398720 h 2867451"/>
                    <a:gd name="connsiteX1086" fmla="*/ 3243065 w 7044883"/>
                    <a:gd name="connsiteY1086" fmla="*/ 2391634 h 2867451"/>
                    <a:gd name="connsiteX1087" fmla="*/ 3223659 w 7044883"/>
                    <a:gd name="connsiteY1087" fmla="*/ 2387442 h 2867451"/>
                    <a:gd name="connsiteX1088" fmla="*/ 3190574 w 7044883"/>
                    <a:gd name="connsiteY1088" fmla="*/ 2367942 h 2867451"/>
                    <a:gd name="connsiteX1089" fmla="*/ 3173241 w 7044883"/>
                    <a:gd name="connsiteY1089" fmla="*/ 2365366 h 2867451"/>
                    <a:gd name="connsiteX1090" fmla="*/ 3155908 w 7044883"/>
                    <a:gd name="connsiteY1090" fmla="*/ 2373505 h 2867451"/>
                    <a:gd name="connsiteX1091" fmla="*/ 3128011 w 7044883"/>
                    <a:gd name="connsiteY1091" fmla="*/ 2367450 h 2867451"/>
                    <a:gd name="connsiteX1092" fmla="*/ 3104155 w 7044883"/>
                    <a:gd name="connsiteY1092" fmla="*/ 2349438 h 2867451"/>
                    <a:gd name="connsiteX1093" fmla="*/ 3088180 w 7044883"/>
                    <a:gd name="connsiteY1093" fmla="*/ 2349321 h 2867451"/>
                    <a:gd name="connsiteX1094" fmla="*/ 3072299 w 7044883"/>
                    <a:gd name="connsiteY1094" fmla="*/ 2349637 h 2867451"/>
                    <a:gd name="connsiteX1095" fmla="*/ 3063106 w 7044883"/>
                    <a:gd name="connsiteY1095" fmla="*/ 2354966 h 2867451"/>
                    <a:gd name="connsiteX1096" fmla="*/ 3050961 w 7044883"/>
                    <a:gd name="connsiteY1096" fmla="*/ 2360646 h 2867451"/>
                    <a:gd name="connsiteX1097" fmla="*/ 3023907 w 7044883"/>
                    <a:gd name="connsiteY1097" fmla="*/ 2377627 h 2867451"/>
                    <a:gd name="connsiteX1098" fmla="*/ 3016833 w 7044883"/>
                    <a:gd name="connsiteY1098" fmla="*/ 2388039 h 2867451"/>
                    <a:gd name="connsiteX1099" fmla="*/ 3016107 w 7044883"/>
                    <a:gd name="connsiteY1099" fmla="*/ 2392607 h 2867451"/>
                    <a:gd name="connsiteX1100" fmla="*/ 3011177 w 7044883"/>
                    <a:gd name="connsiteY1100" fmla="*/ 2393895 h 2867451"/>
                    <a:gd name="connsiteX1101" fmla="*/ 2986700 w 7044883"/>
                    <a:gd name="connsiteY1101" fmla="*/ 2397303 h 2867451"/>
                    <a:gd name="connsiteX1102" fmla="*/ 2967973 w 7044883"/>
                    <a:gd name="connsiteY1102" fmla="*/ 2403299 h 2867451"/>
                    <a:gd name="connsiteX1103" fmla="*/ 2946623 w 7044883"/>
                    <a:gd name="connsiteY1103" fmla="*/ 2406321 h 2867451"/>
                    <a:gd name="connsiteX1104" fmla="*/ 2933471 w 7044883"/>
                    <a:gd name="connsiteY1104" fmla="*/ 2410092 h 2867451"/>
                    <a:gd name="connsiteX1105" fmla="*/ 2925823 w 7044883"/>
                    <a:gd name="connsiteY1105" fmla="*/ 2408815 h 2867451"/>
                    <a:gd name="connsiteX1106" fmla="*/ 2894424 w 7044883"/>
                    <a:gd name="connsiteY1106" fmla="*/ 2424005 h 2867451"/>
                    <a:gd name="connsiteX1107" fmla="*/ 2882842 w 7044883"/>
                    <a:gd name="connsiteY1107" fmla="*/ 2420855 h 2867451"/>
                    <a:gd name="connsiteX1108" fmla="*/ 2876377 w 7044883"/>
                    <a:gd name="connsiteY1108" fmla="*/ 2417154 h 2867451"/>
                    <a:gd name="connsiteX1109" fmla="*/ 2872360 w 7044883"/>
                    <a:gd name="connsiteY1109" fmla="*/ 2420082 h 2867451"/>
                    <a:gd name="connsiteX1110" fmla="*/ 2858786 w 7044883"/>
                    <a:gd name="connsiteY1110" fmla="*/ 2420609 h 2867451"/>
                    <a:gd name="connsiteX1111" fmla="*/ 2842132 w 7044883"/>
                    <a:gd name="connsiteY1111" fmla="*/ 2415315 h 2867451"/>
                    <a:gd name="connsiteX1112" fmla="*/ 2828676 w 7044883"/>
                    <a:gd name="connsiteY1112" fmla="*/ 2414870 h 2867451"/>
                    <a:gd name="connsiteX1113" fmla="*/ 2821790 w 7044883"/>
                    <a:gd name="connsiteY1113" fmla="*/ 2411486 h 2867451"/>
                    <a:gd name="connsiteX1114" fmla="*/ 2792815 w 7044883"/>
                    <a:gd name="connsiteY1114" fmla="*/ 2410267 h 2867451"/>
                    <a:gd name="connsiteX1115" fmla="*/ 2778305 w 7044883"/>
                    <a:gd name="connsiteY1115" fmla="*/ 2410221 h 2867451"/>
                    <a:gd name="connsiteX1116" fmla="*/ 2765469 w 7044883"/>
                    <a:gd name="connsiteY1116" fmla="*/ 2398837 h 2867451"/>
                    <a:gd name="connsiteX1117" fmla="*/ 2751602 w 7044883"/>
                    <a:gd name="connsiteY1117" fmla="*/ 2388425 h 2867451"/>
                    <a:gd name="connsiteX1118" fmla="*/ 2748194 w 7044883"/>
                    <a:gd name="connsiteY1118" fmla="*/ 2387934 h 2867451"/>
                    <a:gd name="connsiteX1119" fmla="*/ 2749658 w 7044883"/>
                    <a:gd name="connsiteY1119" fmla="*/ 2382886 h 2867451"/>
                    <a:gd name="connsiteX1120" fmla="*/ 2749576 w 7044883"/>
                    <a:gd name="connsiteY1120" fmla="*/ 2372111 h 2867451"/>
                    <a:gd name="connsiteX1121" fmla="*/ 2726797 w 7044883"/>
                    <a:gd name="connsiteY1121" fmla="*/ 2367263 h 2867451"/>
                    <a:gd name="connsiteX1122" fmla="*/ 2704276 w 7044883"/>
                    <a:gd name="connsiteY1122" fmla="*/ 2361372 h 2867451"/>
                    <a:gd name="connsiteX1123" fmla="*/ 2688583 w 7044883"/>
                    <a:gd name="connsiteY1123" fmla="*/ 2345573 h 2867451"/>
                    <a:gd name="connsiteX1124" fmla="*/ 2658086 w 7044883"/>
                    <a:gd name="connsiteY1124" fmla="*/ 2345093 h 2867451"/>
                    <a:gd name="connsiteX1125" fmla="*/ 2638809 w 7044883"/>
                    <a:gd name="connsiteY1125" fmla="*/ 2337035 h 2867451"/>
                    <a:gd name="connsiteX1126" fmla="*/ 2607106 w 7044883"/>
                    <a:gd name="connsiteY1126" fmla="*/ 2334974 h 2867451"/>
                    <a:gd name="connsiteX1127" fmla="*/ 2584491 w 7044883"/>
                    <a:gd name="connsiteY1127" fmla="*/ 2341462 h 2867451"/>
                    <a:gd name="connsiteX1128" fmla="*/ 2561091 w 7044883"/>
                    <a:gd name="connsiteY1128" fmla="*/ 2347306 h 2867451"/>
                    <a:gd name="connsiteX1129" fmla="*/ 2549789 w 7044883"/>
                    <a:gd name="connsiteY1129" fmla="*/ 2355399 h 2867451"/>
                    <a:gd name="connsiteX1130" fmla="*/ 2531028 w 7044883"/>
                    <a:gd name="connsiteY1130" fmla="*/ 2353431 h 2867451"/>
                    <a:gd name="connsiteX1131" fmla="*/ 2523321 w 7044883"/>
                    <a:gd name="connsiteY1131" fmla="*/ 2356512 h 2867451"/>
                    <a:gd name="connsiteX1132" fmla="*/ 2515861 w 7044883"/>
                    <a:gd name="connsiteY1132" fmla="*/ 2353197 h 2867451"/>
                    <a:gd name="connsiteX1133" fmla="*/ 2504372 w 7044883"/>
                    <a:gd name="connsiteY1133" fmla="*/ 2350902 h 2867451"/>
                    <a:gd name="connsiteX1134" fmla="*/ 2500812 w 7044883"/>
                    <a:gd name="connsiteY1134" fmla="*/ 2345046 h 2867451"/>
                    <a:gd name="connsiteX1135" fmla="*/ 2491115 w 7044883"/>
                    <a:gd name="connsiteY1135" fmla="*/ 2345257 h 2867451"/>
                    <a:gd name="connsiteX1136" fmla="*/ 2474941 w 7044883"/>
                    <a:gd name="connsiteY1136" fmla="*/ 2339143 h 2867451"/>
                    <a:gd name="connsiteX1137" fmla="*/ 2465244 w 7044883"/>
                    <a:gd name="connsiteY1137" fmla="*/ 2330852 h 2867451"/>
                    <a:gd name="connsiteX1138" fmla="*/ 2453685 w 7044883"/>
                    <a:gd name="connsiteY1138" fmla="*/ 2325148 h 2867451"/>
                    <a:gd name="connsiteX1139" fmla="*/ 2456097 w 7044883"/>
                    <a:gd name="connsiteY1139" fmla="*/ 2316435 h 2867451"/>
                    <a:gd name="connsiteX1140" fmla="*/ 2450019 w 7044883"/>
                    <a:gd name="connsiteY1140" fmla="*/ 2306984 h 2867451"/>
                    <a:gd name="connsiteX1141" fmla="*/ 2450441 w 7044883"/>
                    <a:gd name="connsiteY1141" fmla="*/ 2297603 h 2867451"/>
                    <a:gd name="connsiteX1142" fmla="*/ 2446728 w 7044883"/>
                    <a:gd name="connsiteY1142" fmla="*/ 2285434 h 2867451"/>
                    <a:gd name="connsiteX1143" fmla="*/ 2442254 w 7044883"/>
                    <a:gd name="connsiteY1143" fmla="*/ 2270853 h 2867451"/>
                    <a:gd name="connsiteX1144" fmla="*/ 2415915 w 7044883"/>
                    <a:gd name="connsiteY1144" fmla="*/ 2264447 h 2867451"/>
                    <a:gd name="connsiteX1145" fmla="*/ 2404285 w 7044883"/>
                    <a:gd name="connsiteY1145" fmla="*/ 2265560 h 2867451"/>
                    <a:gd name="connsiteX1146" fmla="*/ 2399343 w 7044883"/>
                    <a:gd name="connsiteY1146" fmla="*/ 2261437 h 2867451"/>
                    <a:gd name="connsiteX1147" fmla="*/ 2393464 w 7044883"/>
                    <a:gd name="connsiteY1147" fmla="*/ 2260711 h 2867451"/>
                    <a:gd name="connsiteX1148" fmla="*/ 2358997 w 7044883"/>
                    <a:gd name="connsiteY1148" fmla="*/ 2246786 h 2867451"/>
                    <a:gd name="connsiteX1149" fmla="*/ 2324354 w 7044883"/>
                    <a:gd name="connsiteY1149" fmla="*/ 2240005 h 2867451"/>
                    <a:gd name="connsiteX1150" fmla="*/ 2296293 w 7044883"/>
                    <a:gd name="connsiteY1150" fmla="*/ 2229863 h 2867451"/>
                    <a:gd name="connsiteX1151" fmla="*/ 2284184 w 7044883"/>
                    <a:gd name="connsiteY1151" fmla="*/ 2224687 h 2867451"/>
                    <a:gd name="connsiteX1152" fmla="*/ 2277660 w 7044883"/>
                    <a:gd name="connsiteY1152" fmla="*/ 2218632 h 2867451"/>
                    <a:gd name="connsiteX1153" fmla="*/ 2267366 w 7044883"/>
                    <a:gd name="connsiteY1153" fmla="*/ 2238471 h 2867451"/>
                    <a:gd name="connsiteX1154" fmla="*/ 2243322 w 7044883"/>
                    <a:gd name="connsiteY1154" fmla="*/ 2254352 h 2867451"/>
                    <a:gd name="connsiteX1155" fmla="*/ 2242104 w 7044883"/>
                    <a:gd name="connsiteY1155" fmla="*/ 2263674 h 2867451"/>
                    <a:gd name="connsiteX1156" fmla="*/ 2232102 w 7044883"/>
                    <a:gd name="connsiteY1156" fmla="*/ 2265853 h 2867451"/>
                    <a:gd name="connsiteX1157" fmla="*/ 2224947 w 7044883"/>
                    <a:gd name="connsiteY1157" fmla="*/ 2285926 h 2867451"/>
                    <a:gd name="connsiteX1158" fmla="*/ 2220180 w 7044883"/>
                    <a:gd name="connsiteY1158" fmla="*/ 2298012 h 2867451"/>
                    <a:gd name="connsiteX1159" fmla="*/ 2227863 w 7044883"/>
                    <a:gd name="connsiteY1159" fmla="*/ 2306433 h 2867451"/>
                    <a:gd name="connsiteX1160" fmla="*/ 2228976 w 7044883"/>
                    <a:gd name="connsiteY1160" fmla="*/ 2315990 h 2867451"/>
                    <a:gd name="connsiteX1161" fmla="*/ 2238110 w 7044883"/>
                    <a:gd name="connsiteY1161" fmla="*/ 2326741 h 2867451"/>
                    <a:gd name="connsiteX1162" fmla="*/ 2244177 w 7044883"/>
                    <a:gd name="connsiteY1162" fmla="*/ 2341626 h 2867451"/>
                    <a:gd name="connsiteX1163" fmla="*/ 2226598 w 7044883"/>
                    <a:gd name="connsiteY1163" fmla="*/ 2366829 h 2867451"/>
                    <a:gd name="connsiteX1164" fmla="*/ 2222253 w 7044883"/>
                    <a:gd name="connsiteY1164" fmla="*/ 2370355 h 2867451"/>
                    <a:gd name="connsiteX1165" fmla="*/ 2218763 w 7044883"/>
                    <a:gd name="connsiteY1165" fmla="*/ 2368539 h 2867451"/>
                    <a:gd name="connsiteX1166" fmla="*/ 2207579 w 7044883"/>
                    <a:gd name="connsiteY1166" fmla="*/ 2371725 h 2867451"/>
                    <a:gd name="connsiteX1167" fmla="*/ 2208000 w 7044883"/>
                    <a:gd name="connsiteY1167" fmla="*/ 2375918 h 2867451"/>
                    <a:gd name="connsiteX1168" fmla="*/ 2201758 w 7044883"/>
                    <a:gd name="connsiteY1168" fmla="*/ 2380602 h 2867451"/>
                    <a:gd name="connsiteX1169" fmla="*/ 2188863 w 7044883"/>
                    <a:gd name="connsiteY1169" fmla="*/ 2383565 h 2867451"/>
                    <a:gd name="connsiteX1170" fmla="*/ 2168076 w 7044883"/>
                    <a:gd name="connsiteY1170" fmla="*/ 2372111 h 2867451"/>
                    <a:gd name="connsiteX1171" fmla="*/ 2161470 w 7044883"/>
                    <a:gd name="connsiteY1171" fmla="*/ 2371713 h 2867451"/>
                    <a:gd name="connsiteX1172" fmla="*/ 2156540 w 7044883"/>
                    <a:gd name="connsiteY1172" fmla="*/ 2375180 h 2867451"/>
                    <a:gd name="connsiteX1173" fmla="*/ 2151106 w 7044883"/>
                    <a:gd name="connsiteY1173" fmla="*/ 2370835 h 2867451"/>
                    <a:gd name="connsiteX1174" fmla="*/ 2143540 w 7044883"/>
                    <a:gd name="connsiteY1174" fmla="*/ 2372861 h 2867451"/>
                    <a:gd name="connsiteX1175" fmla="*/ 2130470 w 7044883"/>
                    <a:gd name="connsiteY1175" fmla="*/ 2365998 h 2867451"/>
                    <a:gd name="connsiteX1176" fmla="*/ 2123876 w 7044883"/>
                    <a:gd name="connsiteY1176" fmla="*/ 2369277 h 2867451"/>
                    <a:gd name="connsiteX1177" fmla="*/ 2118067 w 7044883"/>
                    <a:gd name="connsiteY1177" fmla="*/ 2364358 h 2867451"/>
                    <a:gd name="connsiteX1178" fmla="*/ 2099341 w 7044883"/>
                    <a:gd name="connsiteY1178" fmla="*/ 2373083 h 2867451"/>
                    <a:gd name="connsiteX1179" fmla="*/ 2091962 w 7044883"/>
                    <a:gd name="connsiteY1179" fmla="*/ 2369055 h 2867451"/>
                    <a:gd name="connsiteX1180" fmla="*/ 2074442 w 7044883"/>
                    <a:gd name="connsiteY1180" fmla="*/ 2366794 h 2867451"/>
                    <a:gd name="connsiteX1181" fmla="*/ 2063948 w 7044883"/>
                    <a:gd name="connsiteY1181" fmla="*/ 2362637 h 2867451"/>
                    <a:gd name="connsiteX1182" fmla="*/ 2052600 w 7044883"/>
                    <a:gd name="connsiteY1182" fmla="*/ 2363562 h 2867451"/>
                    <a:gd name="connsiteX1183" fmla="*/ 2046850 w 7044883"/>
                    <a:gd name="connsiteY1183" fmla="*/ 2354790 h 2867451"/>
                    <a:gd name="connsiteX1184" fmla="*/ 2039623 w 7044883"/>
                    <a:gd name="connsiteY1184" fmla="*/ 2348489 h 2867451"/>
                    <a:gd name="connsiteX1185" fmla="*/ 2033346 w 7044883"/>
                    <a:gd name="connsiteY1185" fmla="*/ 2326893 h 2867451"/>
                    <a:gd name="connsiteX1186" fmla="*/ 2013390 w 7044883"/>
                    <a:gd name="connsiteY1186" fmla="*/ 2326167 h 2867451"/>
                    <a:gd name="connsiteX1187" fmla="*/ 1991091 w 7044883"/>
                    <a:gd name="connsiteY1187" fmla="*/ 2323918 h 2867451"/>
                    <a:gd name="connsiteX1188" fmla="*/ 1974988 w 7044883"/>
                    <a:gd name="connsiteY1188" fmla="*/ 2324598 h 2867451"/>
                    <a:gd name="connsiteX1189" fmla="*/ 1968078 w 7044883"/>
                    <a:gd name="connsiteY1189" fmla="*/ 2317278 h 2867451"/>
                    <a:gd name="connsiteX1190" fmla="*/ 1958931 w 7044883"/>
                    <a:gd name="connsiteY1190" fmla="*/ 2311691 h 2867451"/>
                    <a:gd name="connsiteX1191" fmla="*/ 1954200 w 7044883"/>
                    <a:gd name="connsiteY1191" fmla="*/ 2318578 h 2867451"/>
                    <a:gd name="connsiteX1192" fmla="*/ 1947044 w 7044883"/>
                    <a:gd name="connsiteY1192" fmla="*/ 2315674 h 2867451"/>
                    <a:gd name="connsiteX1193" fmla="*/ 1938237 w 7044883"/>
                    <a:gd name="connsiteY1193" fmla="*/ 2307347 h 2867451"/>
                    <a:gd name="connsiteX1194" fmla="*/ 1928739 w 7044883"/>
                    <a:gd name="connsiteY1194" fmla="*/ 2317009 h 2867451"/>
                    <a:gd name="connsiteX1195" fmla="*/ 1911288 w 7044883"/>
                    <a:gd name="connsiteY1195" fmla="*/ 2317243 h 2867451"/>
                    <a:gd name="connsiteX1196" fmla="*/ 1896602 w 7044883"/>
                    <a:gd name="connsiteY1196" fmla="*/ 2325863 h 2867451"/>
                    <a:gd name="connsiteX1197" fmla="*/ 1887947 w 7044883"/>
                    <a:gd name="connsiteY1197" fmla="*/ 2332152 h 2867451"/>
                    <a:gd name="connsiteX1198" fmla="*/ 1878906 w 7044883"/>
                    <a:gd name="connsiteY1198" fmla="*/ 2333651 h 2867451"/>
                    <a:gd name="connsiteX1199" fmla="*/ 1851911 w 7044883"/>
                    <a:gd name="connsiteY1199" fmla="*/ 2345163 h 2867451"/>
                    <a:gd name="connsiteX1200" fmla="*/ 1846781 w 7044883"/>
                    <a:gd name="connsiteY1200" fmla="*/ 2351464 h 2867451"/>
                    <a:gd name="connsiteX1201" fmla="*/ 1834719 w 7044883"/>
                    <a:gd name="connsiteY1201" fmla="*/ 2352916 h 2867451"/>
                    <a:gd name="connsiteX1202" fmla="*/ 1813029 w 7044883"/>
                    <a:gd name="connsiteY1202" fmla="*/ 2363421 h 2867451"/>
                    <a:gd name="connsiteX1203" fmla="*/ 1806248 w 7044883"/>
                    <a:gd name="connsiteY1203" fmla="*/ 2369383 h 2867451"/>
                    <a:gd name="connsiteX1204" fmla="*/ 1793131 w 7044883"/>
                    <a:gd name="connsiteY1204" fmla="*/ 2374020 h 2867451"/>
                    <a:gd name="connsiteX1205" fmla="*/ 1794876 w 7044883"/>
                    <a:gd name="connsiteY1205" fmla="*/ 2386083 h 2867451"/>
                    <a:gd name="connsiteX1206" fmla="*/ 1783012 w 7044883"/>
                    <a:gd name="connsiteY1206" fmla="*/ 2390779 h 2867451"/>
                    <a:gd name="connsiteX1207" fmla="*/ 1780225 w 7044883"/>
                    <a:gd name="connsiteY1207" fmla="*/ 2393906 h 2867451"/>
                    <a:gd name="connsiteX1208" fmla="*/ 1773994 w 7044883"/>
                    <a:gd name="connsiteY1208" fmla="*/ 2390733 h 2867451"/>
                    <a:gd name="connsiteX1209" fmla="*/ 1760561 w 7044883"/>
                    <a:gd name="connsiteY1209" fmla="*/ 2402339 h 2867451"/>
                    <a:gd name="connsiteX1210" fmla="*/ 1754132 w 7044883"/>
                    <a:gd name="connsiteY1210" fmla="*/ 2403814 h 2867451"/>
                    <a:gd name="connsiteX1211" fmla="*/ 1718177 w 7044883"/>
                    <a:gd name="connsiteY1211" fmla="*/ 2403100 h 2867451"/>
                    <a:gd name="connsiteX1212" fmla="*/ 1713797 w 7044883"/>
                    <a:gd name="connsiteY1212" fmla="*/ 2416838 h 2867451"/>
                    <a:gd name="connsiteX1213" fmla="*/ 1695304 w 7044883"/>
                    <a:gd name="connsiteY1213" fmla="*/ 2422401 h 2867451"/>
                    <a:gd name="connsiteX1214" fmla="*/ 1682949 w 7044883"/>
                    <a:gd name="connsiteY1214" fmla="*/ 2425083 h 2867451"/>
                    <a:gd name="connsiteX1215" fmla="*/ 1679412 w 7044883"/>
                    <a:gd name="connsiteY1215" fmla="*/ 2428198 h 2867451"/>
                    <a:gd name="connsiteX1216" fmla="*/ 1667548 w 7044883"/>
                    <a:gd name="connsiteY1216" fmla="*/ 2417599 h 2867451"/>
                    <a:gd name="connsiteX1217" fmla="*/ 1653904 w 7044883"/>
                    <a:gd name="connsiteY1217" fmla="*/ 2411954 h 2867451"/>
                    <a:gd name="connsiteX1218" fmla="*/ 1653026 w 7044883"/>
                    <a:gd name="connsiteY1218" fmla="*/ 2406895 h 2867451"/>
                    <a:gd name="connsiteX1219" fmla="*/ 1646854 w 7044883"/>
                    <a:gd name="connsiteY1219" fmla="*/ 2402854 h 2867451"/>
                    <a:gd name="connsiteX1220" fmla="*/ 1644430 w 7044883"/>
                    <a:gd name="connsiteY1220" fmla="*/ 2396998 h 2867451"/>
                    <a:gd name="connsiteX1221" fmla="*/ 1636665 w 7044883"/>
                    <a:gd name="connsiteY1221" fmla="*/ 2395534 h 2867451"/>
                    <a:gd name="connsiteX1222" fmla="*/ 1644851 w 7044883"/>
                    <a:gd name="connsiteY1222" fmla="*/ 2386247 h 2867451"/>
                    <a:gd name="connsiteX1223" fmla="*/ 1640905 w 7044883"/>
                    <a:gd name="connsiteY1223" fmla="*/ 2380637 h 2867451"/>
                    <a:gd name="connsiteX1224" fmla="*/ 1633339 w 7044883"/>
                    <a:gd name="connsiteY1224" fmla="*/ 2383073 h 2867451"/>
                    <a:gd name="connsiteX1225" fmla="*/ 1613628 w 7044883"/>
                    <a:gd name="connsiteY1225" fmla="*/ 2401952 h 2867451"/>
                    <a:gd name="connsiteX1226" fmla="*/ 1603779 w 7044883"/>
                    <a:gd name="connsiteY1226" fmla="*/ 2400266 h 2867451"/>
                    <a:gd name="connsiteX1227" fmla="*/ 1598684 w 7044883"/>
                    <a:gd name="connsiteY1227" fmla="*/ 2395113 h 2867451"/>
                    <a:gd name="connsiteX1228" fmla="*/ 1594410 w 7044883"/>
                    <a:gd name="connsiteY1228" fmla="*/ 2397010 h 2867451"/>
                    <a:gd name="connsiteX1229" fmla="*/ 1590896 w 7044883"/>
                    <a:gd name="connsiteY1229" fmla="*/ 2394539 h 2867451"/>
                    <a:gd name="connsiteX1230" fmla="*/ 1586458 w 7044883"/>
                    <a:gd name="connsiteY1230" fmla="*/ 2395078 h 2867451"/>
                    <a:gd name="connsiteX1231" fmla="*/ 1582933 w 7044883"/>
                    <a:gd name="connsiteY1231" fmla="*/ 2391599 h 2867451"/>
                    <a:gd name="connsiteX1232" fmla="*/ 1563831 w 7044883"/>
                    <a:gd name="connsiteY1232" fmla="*/ 2392923 h 2867451"/>
                    <a:gd name="connsiteX1233" fmla="*/ 1556910 w 7044883"/>
                    <a:gd name="connsiteY1233" fmla="*/ 2379782 h 2867451"/>
                    <a:gd name="connsiteX1234" fmla="*/ 1555539 w 7044883"/>
                    <a:gd name="connsiteY1234" fmla="*/ 2374922 h 2867451"/>
                    <a:gd name="connsiteX1235" fmla="*/ 1549847 w 7044883"/>
                    <a:gd name="connsiteY1235" fmla="*/ 2371865 h 2867451"/>
                    <a:gd name="connsiteX1236" fmla="*/ 1553654 w 7044883"/>
                    <a:gd name="connsiteY1236" fmla="*/ 2364686 h 2867451"/>
                    <a:gd name="connsiteX1237" fmla="*/ 1543792 w 7044883"/>
                    <a:gd name="connsiteY1237" fmla="*/ 2360049 h 2867451"/>
                    <a:gd name="connsiteX1238" fmla="*/ 1535407 w 7044883"/>
                    <a:gd name="connsiteY1238" fmla="*/ 2354626 h 2867451"/>
                    <a:gd name="connsiteX1239" fmla="*/ 1525605 w 7044883"/>
                    <a:gd name="connsiteY1239" fmla="*/ 2350867 h 2867451"/>
                    <a:gd name="connsiteX1240" fmla="*/ 1512663 w 7044883"/>
                    <a:gd name="connsiteY1240" fmla="*/ 2343570 h 2867451"/>
                    <a:gd name="connsiteX1241" fmla="*/ 1504676 w 7044883"/>
                    <a:gd name="connsiteY1241" fmla="*/ 2322162 h 2867451"/>
                    <a:gd name="connsiteX1242" fmla="*/ 1498082 w 7044883"/>
                    <a:gd name="connsiteY1242" fmla="*/ 2317524 h 2867451"/>
                    <a:gd name="connsiteX1243" fmla="*/ 1494955 w 7044883"/>
                    <a:gd name="connsiteY1243" fmla="*/ 2310356 h 2867451"/>
                    <a:gd name="connsiteX1244" fmla="*/ 1486125 w 7044883"/>
                    <a:gd name="connsiteY1244" fmla="*/ 2305356 h 2867451"/>
                    <a:gd name="connsiteX1245" fmla="*/ 1457209 w 7044883"/>
                    <a:gd name="connsiteY1245" fmla="*/ 2297907 h 2867451"/>
                    <a:gd name="connsiteX1246" fmla="*/ 1453766 w 7044883"/>
                    <a:gd name="connsiteY1246" fmla="*/ 2297462 h 2867451"/>
                    <a:gd name="connsiteX1247" fmla="*/ 1449913 w 7044883"/>
                    <a:gd name="connsiteY1247" fmla="*/ 2303622 h 2867451"/>
                    <a:gd name="connsiteX1248" fmla="*/ 1432884 w 7044883"/>
                    <a:gd name="connsiteY1248" fmla="*/ 2304571 h 2867451"/>
                    <a:gd name="connsiteX1249" fmla="*/ 1431081 w 7044883"/>
                    <a:gd name="connsiteY1249" fmla="*/ 2311200 h 2867451"/>
                    <a:gd name="connsiteX1250" fmla="*/ 1421606 w 7044883"/>
                    <a:gd name="connsiteY1250" fmla="*/ 2316142 h 2867451"/>
                    <a:gd name="connsiteX1251" fmla="*/ 1411417 w 7044883"/>
                    <a:gd name="connsiteY1251" fmla="*/ 2314889 h 2867451"/>
                    <a:gd name="connsiteX1252" fmla="*/ 1404742 w 7044883"/>
                    <a:gd name="connsiteY1252" fmla="*/ 2317454 h 2867451"/>
                    <a:gd name="connsiteX1253" fmla="*/ 1392878 w 7044883"/>
                    <a:gd name="connsiteY1253" fmla="*/ 2312968 h 2867451"/>
                    <a:gd name="connsiteX1254" fmla="*/ 1381412 w 7044883"/>
                    <a:gd name="connsiteY1254" fmla="*/ 2312547 h 2867451"/>
                    <a:gd name="connsiteX1255" fmla="*/ 1366047 w 7044883"/>
                    <a:gd name="connsiteY1255" fmla="*/ 2314877 h 2867451"/>
                    <a:gd name="connsiteX1256" fmla="*/ 1365894 w 7044883"/>
                    <a:gd name="connsiteY1256" fmla="*/ 2305684 h 2867451"/>
                    <a:gd name="connsiteX1257" fmla="*/ 1350482 w 7044883"/>
                    <a:gd name="connsiteY1257" fmla="*/ 2301362 h 2867451"/>
                    <a:gd name="connsiteX1258" fmla="*/ 1348678 w 7044883"/>
                    <a:gd name="connsiteY1258" fmla="*/ 2283842 h 2867451"/>
                    <a:gd name="connsiteX1259" fmla="*/ 1343525 w 7044883"/>
                    <a:gd name="connsiteY1259" fmla="*/ 2284345 h 2867451"/>
                    <a:gd name="connsiteX1260" fmla="*/ 1339180 w 7044883"/>
                    <a:gd name="connsiteY1260" fmla="*/ 2280773 h 2867451"/>
                    <a:gd name="connsiteX1261" fmla="*/ 1336475 w 7044883"/>
                    <a:gd name="connsiteY1261" fmla="*/ 2278056 h 2867451"/>
                    <a:gd name="connsiteX1262" fmla="*/ 1330490 w 7044883"/>
                    <a:gd name="connsiteY1262" fmla="*/ 2277611 h 2867451"/>
                    <a:gd name="connsiteX1263" fmla="*/ 1324272 w 7044883"/>
                    <a:gd name="connsiteY1263" fmla="*/ 2278126 h 2867451"/>
                    <a:gd name="connsiteX1264" fmla="*/ 1322679 w 7044883"/>
                    <a:gd name="connsiteY1264" fmla="*/ 2282612 h 2867451"/>
                    <a:gd name="connsiteX1265" fmla="*/ 1312794 w 7044883"/>
                    <a:gd name="connsiteY1265" fmla="*/ 2286535 h 2867451"/>
                    <a:gd name="connsiteX1266" fmla="*/ 1315652 w 7044883"/>
                    <a:gd name="connsiteY1266" fmla="*/ 2295260 h 2867451"/>
                    <a:gd name="connsiteX1267" fmla="*/ 1305967 w 7044883"/>
                    <a:gd name="connsiteY1267" fmla="*/ 2302732 h 2867451"/>
                    <a:gd name="connsiteX1268" fmla="*/ 1298858 w 7044883"/>
                    <a:gd name="connsiteY1268" fmla="*/ 2309607 h 2867451"/>
                    <a:gd name="connsiteX1269" fmla="*/ 1295895 w 7044883"/>
                    <a:gd name="connsiteY1269" fmla="*/ 2314092 h 2867451"/>
                    <a:gd name="connsiteX1270" fmla="*/ 1271418 w 7044883"/>
                    <a:gd name="connsiteY1270" fmla="*/ 2276698 h 2867451"/>
                    <a:gd name="connsiteX1271" fmla="*/ 1241459 w 7044883"/>
                    <a:gd name="connsiteY1271" fmla="*/ 2228223 h 2867451"/>
                    <a:gd name="connsiteX1272" fmla="*/ 1191287 w 7044883"/>
                    <a:gd name="connsiteY1272" fmla="*/ 2153434 h 2867451"/>
                    <a:gd name="connsiteX1273" fmla="*/ 1123548 w 7044883"/>
                    <a:gd name="connsiteY1273" fmla="*/ 2097921 h 2867451"/>
                    <a:gd name="connsiteX1274" fmla="*/ 1105957 w 7044883"/>
                    <a:gd name="connsiteY1274" fmla="*/ 2074603 h 2867451"/>
                    <a:gd name="connsiteX1275" fmla="*/ 1121206 w 7044883"/>
                    <a:gd name="connsiteY1275" fmla="*/ 2072987 h 2867451"/>
                    <a:gd name="connsiteX1276" fmla="*/ 1126452 w 7044883"/>
                    <a:gd name="connsiteY1276" fmla="*/ 2065141 h 2867451"/>
                    <a:gd name="connsiteX1277" fmla="*/ 1122342 w 7044883"/>
                    <a:gd name="connsiteY1277" fmla="*/ 2058898 h 2867451"/>
                    <a:gd name="connsiteX1278" fmla="*/ 1128818 w 7044883"/>
                    <a:gd name="connsiteY1278" fmla="*/ 2053066 h 2867451"/>
                    <a:gd name="connsiteX1279" fmla="*/ 1112832 w 7044883"/>
                    <a:gd name="connsiteY1279" fmla="*/ 2060854 h 2867451"/>
                    <a:gd name="connsiteX1280" fmla="*/ 1095019 w 7044883"/>
                    <a:gd name="connsiteY1280" fmla="*/ 2061557 h 2867451"/>
                    <a:gd name="connsiteX1281" fmla="*/ 1091201 w 7044883"/>
                    <a:gd name="connsiteY1281" fmla="*/ 2068865 h 2867451"/>
                    <a:gd name="connsiteX1282" fmla="*/ 1066606 w 7044883"/>
                    <a:gd name="connsiteY1282" fmla="*/ 2078339 h 2867451"/>
                    <a:gd name="connsiteX1283" fmla="*/ 1049402 w 7044883"/>
                    <a:gd name="connsiteY1283" fmla="*/ 2082169 h 2867451"/>
                    <a:gd name="connsiteX1284" fmla="*/ 1053220 w 7044883"/>
                    <a:gd name="connsiteY1284" fmla="*/ 2087404 h 2867451"/>
                    <a:gd name="connsiteX1285" fmla="*/ 1031331 w 7044883"/>
                    <a:gd name="connsiteY1285" fmla="*/ 2100228 h 2867451"/>
                    <a:gd name="connsiteX1286" fmla="*/ 1023684 w 7044883"/>
                    <a:gd name="connsiteY1286" fmla="*/ 2098120 h 2867451"/>
                    <a:gd name="connsiteX1287" fmla="*/ 1017336 w 7044883"/>
                    <a:gd name="connsiteY1287" fmla="*/ 2101669 h 2867451"/>
                    <a:gd name="connsiteX1288" fmla="*/ 1007791 w 7044883"/>
                    <a:gd name="connsiteY1288" fmla="*/ 2109152 h 2867451"/>
                    <a:gd name="connsiteX1289" fmla="*/ 1000846 w 7044883"/>
                    <a:gd name="connsiteY1289" fmla="*/ 2111190 h 2867451"/>
                    <a:gd name="connsiteX1290" fmla="*/ 1002064 w 7044883"/>
                    <a:gd name="connsiteY1290" fmla="*/ 2117643 h 2867451"/>
                    <a:gd name="connsiteX1291" fmla="*/ 992332 w 7044883"/>
                    <a:gd name="connsiteY1291" fmla="*/ 2120501 h 2867451"/>
                    <a:gd name="connsiteX1292" fmla="*/ 990399 w 7044883"/>
                    <a:gd name="connsiteY1292" fmla="*/ 2115851 h 2867451"/>
                    <a:gd name="connsiteX1293" fmla="*/ 984626 w 7044883"/>
                    <a:gd name="connsiteY1293" fmla="*/ 2117151 h 2867451"/>
                    <a:gd name="connsiteX1294" fmla="*/ 976170 w 7044883"/>
                    <a:gd name="connsiteY1294" fmla="*/ 2112350 h 2867451"/>
                    <a:gd name="connsiteX1295" fmla="*/ 969084 w 7044883"/>
                    <a:gd name="connsiteY1295" fmla="*/ 2114516 h 2867451"/>
                    <a:gd name="connsiteX1296" fmla="*/ 960512 w 7044883"/>
                    <a:gd name="connsiteY1296" fmla="*/ 2114235 h 2867451"/>
                    <a:gd name="connsiteX1297" fmla="*/ 955663 w 7044883"/>
                    <a:gd name="connsiteY1297" fmla="*/ 2120278 h 2867451"/>
                    <a:gd name="connsiteX1298" fmla="*/ 949784 w 7044883"/>
                    <a:gd name="connsiteY1298" fmla="*/ 2125759 h 2867451"/>
                    <a:gd name="connsiteX1299" fmla="*/ 946680 w 7044883"/>
                    <a:gd name="connsiteY1299" fmla="*/ 2120665 h 2867451"/>
                    <a:gd name="connsiteX1300" fmla="*/ 938295 w 7044883"/>
                    <a:gd name="connsiteY1300" fmla="*/ 2116964 h 2867451"/>
                    <a:gd name="connsiteX1301" fmla="*/ 940016 w 7044883"/>
                    <a:gd name="connsiteY1301" fmla="*/ 2109211 h 2867451"/>
                    <a:gd name="connsiteX1302" fmla="*/ 949105 w 7044883"/>
                    <a:gd name="connsiteY1302" fmla="*/ 2100123 h 2867451"/>
                    <a:gd name="connsiteX1303" fmla="*/ 946669 w 7044883"/>
                    <a:gd name="connsiteY1303" fmla="*/ 2098706 h 2867451"/>
                    <a:gd name="connsiteX1304" fmla="*/ 959352 w 7044883"/>
                    <a:gd name="connsiteY1304" fmla="*/ 2096621 h 2867451"/>
                    <a:gd name="connsiteX1305" fmla="*/ 964903 w 7044883"/>
                    <a:gd name="connsiteY1305" fmla="*/ 2082274 h 2867451"/>
                    <a:gd name="connsiteX1306" fmla="*/ 956963 w 7044883"/>
                    <a:gd name="connsiteY1306" fmla="*/ 2081689 h 2867451"/>
                    <a:gd name="connsiteX1307" fmla="*/ 953403 w 7044883"/>
                    <a:gd name="connsiteY1307" fmla="*/ 2087392 h 2867451"/>
                    <a:gd name="connsiteX1308" fmla="*/ 951693 w 7044883"/>
                    <a:gd name="connsiteY1308" fmla="*/ 2090250 h 2867451"/>
                    <a:gd name="connsiteX1309" fmla="*/ 948624 w 7044883"/>
                    <a:gd name="connsiteY1309" fmla="*/ 2088446 h 2867451"/>
                    <a:gd name="connsiteX1310" fmla="*/ 939314 w 7044883"/>
                    <a:gd name="connsiteY1310" fmla="*/ 2089746 h 2867451"/>
                    <a:gd name="connsiteX1311" fmla="*/ 928082 w 7044883"/>
                    <a:gd name="connsiteY1311" fmla="*/ 2084945 h 2867451"/>
                    <a:gd name="connsiteX1312" fmla="*/ 923995 w 7044883"/>
                    <a:gd name="connsiteY1312" fmla="*/ 2078000 h 2867451"/>
                    <a:gd name="connsiteX1313" fmla="*/ 900654 w 7044883"/>
                    <a:gd name="connsiteY1313" fmla="*/ 2083293 h 2867451"/>
                    <a:gd name="connsiteX1314" fmla="*/ 909321 w 7044883"/>
                    <a:gd name="connsiteY1314" fmla="*/ 2084863 h 2867451"/>
                    <a:gd name="connsiteX1315" fmla="*/ 904612 w 7044883"/>
                    <a:gd name="connsiteY1315" fmla="*/ 2088341 h 2867451"/>
                    <a:gd name="connsiteX1316" fmla="*/ 893932 w 7044883"/>
                    <a:gd name="connsiteY1316" fmla="*/ 2089887 h 2867451"/>
                    <a:gd name="connsiteX1317" fmla="*/ 894611 w 7044883"/>
                    <a:gd name="connsiteY1317" fmla="*/ 2083773 h 2867451"/>
                    <a:gd name="connsiteX1318" fmla="*/ 892772 w 7044883"/>
                    <a:gd name="connsiteY1318" fmla="*/ 2081033 h 2867451"/>
                    <a:gd name="connsiteX1319" fmla="*/ 894868 w 7044883"/>
                    <a:gd name="connsiteY1319" fmla="*/ 2079991 h 2867451"/>
                    <a:gd name="connsiteX1320" fmla="*/ 898839 w 7044883"/>
                    <a:gd name="connsiteY1320" fmla="*/ 2077801 h 2867451"/>
                    <a:gd name="connsiteX1321" fmla="*/ 889680 w 7044883"/>
                    <a:gd name="connsiteY1321" fmla="*/ 2073631 h 2867451"/>
                    <a:gd name="connsiteX1322" fmla="*/ 884703 w 7044883"/>
                    <a:gd name="connsiteY1322" fmla="*/ 2061674 h 2867451"/>
                    <a:gd name="connsiteX1323" fmla="*/ 876353 w 7044883"/>
                    <a:gd name="connsiteY1323" fmla="*/ 2059308 h 2867451"/>
                    <a:gd name="connsiteX1324" fmla="*/ 876962 w 7044883"/>
                    <a:gd name="connsiteY1324" fmla="*/ 2062072 h 2867451"/>
                    <a:gd name="connsiteX1325" fmla="*/ 878695 w 7044883"/>
                    <a:gd name="connsiteY1325" fmla="*/ 2065831 h 2867451"/>
                    <a:gd name="connsiteX1326" fmla="*/ 877828 w 7044883"/>
                    <a:gd name="connsiteY1326" fmla="*/ 2070657 h 2867451"/>
                    <a:gd name="connsiteX1327" fmla="*/ 883696 w 7044883"/>
                    <a:gd name="connsiteY1327" fmla="*/ 2076114 h 2867451"/>
                    <a:gd name="connsiteX1328" fmla="*/ 860191 w 7044883"/>
                    <a:gd name="connsiteY1328" fmla="*/ 2069532 h 2867451"/>
                    <a:gd name="connsiteX1329" fmla="*/ 856548 w 7044883"/>
                    <a:gd name="connsiteY1329" fmla="*/ 2078269 h 2867451"/>
                    <a:gd name="connsiteX1330" fmla="*/ 846828 w 7044883"/>
                    <a:gd name="connsiteY1330" fmla="*/ 2078562 h 2867451"/>
                    <a:gd name="connsiteX1331" fmla="*/ 837388 w 7044883"/>
                    <a:gd name="connsiteY1331" fmla="*/ 2072882 h 2867451"/>
                    <a:gd name="connsiteX1332" fmla="*/ 827000 w 7044883"/>
                    <a:gd name="connsiteY1332" fmla="*/ 2074592 h 2867451"/>
                    <a:gd name="connsiteX1333" fmla="*/ 820582 w 7044883"/>
                    <a:gd name="connsiteY1333" fmla="*/ 2065808 h 2867451"/>
                    <a:gd name="connsiteX1334" fmla="*/ 831849 w 7044883"/>
                    <a:gd name="connsiteY1334" fmla="*/ 2063595 h 2867451"/>
                    <a:gd name="connsiteX1335" fmla="*/ 829600 w 7044883"/>
                    <a:gd name="connsiteY1335" fmla="*/ 2052246 h 2867451"/>
                    <a:gd name="connsiteX1336" fmla="*/ 829471 w 7044883"/>
                    <a:gd name="connsiteY1336" fmla="*/ 2044938 h 2867451"/>
                    <a:gd name="connsiteX1337" fmla="*/ 835397 w 7044883"/>
                    <a:gd name="connsiteY1337" fmla="*/ 2040980 h 2867451"/>
                    <a:gd name="connsiteX1338" fmla="*/ 827000 w 7044883"/>
                    <a:gd name="connsiteY1338" fmla="*/ 2033707 h 2867451"/>
                    <a:gd name="connsiteX1339" fmla="*/ 819189 w 7044883"/>
                    <a:gd name="connsiteY1339" fmla="*/ 2021187 h 2867451"/>
                    <a:gd name="connsiteX1340" fmla="*/ 820723 w 7044883"/>
                    <a:gd name="connsiteY1340" fmla="*/ 2008738 h 2867451"/>
                    <a:gd name="connsiteX1341" fmla="*/ 812548 w 7044883"/>
                    <a:gd name="connsiteY1341" fmla="*/ 1993021 h 2867451"/>
                    <a:gd name="connsiteX1342" fmla="*/ 798155 w 7044883"/>
                    <a:gd name="connsiteY1342" fmla="*/ 1994824 h 2867451"/>
                    <a:gd name="connsiteX1343" fmla="*/ 793763 w 7044883"/>
                    <a:gd name="connsiteY1343" fmla="*/ 1993501 h 2867451"/>
                    <a:gd name="connsiteX1344" fmla="*/ 790296 w 7044883"/>
                    <a:gd name="connsiteY1344" fmla="*/ 1997096 h 2867451"/>
                    <a:gd name="connsiteX1345" fmla="*/ 784616 w 7044883"/>
                    <a:gd name="connsiteY1345" fmla="*/ 2001090 h 2867451"/>
                    <a:gd name="connsiteX1346" fmla="*/ 779475 w 7044883"/>
                    <a:gd name="connsiteY1346" fmla="*/ 2004404 h 2867451"/>
                    <a:gd name="connsiteX1347" fmla="*/ 766276 w 7044883"/>
                    <a:gd name="connsiteY1347" fmla="*/ 1999650 h 2867451"/>
                    <a:gd name="connsiteX1348" fmla="*/ 758394 w 7044883"/>
                    <a:gd name="connsiteY1348" fmla="*/ 1992705 h 2867451"/>
                    <a:gd name="connsiteX1349" fmla="*/ 742525 w 7044883"/>
                    <a:gd name="connsiteY1349" fmla="*/ 1989016 h 2867451"/>
                    <a:gd name="connsiteX1350" fmla="*/ 731610 w 7044883"/>
                    <a:gd name="connsiteY1350" fmla="*/ 1988430 h 2867451"/>
                    <a:gd name="connsiteX1351" fmla="*/ 727323 w 7044883"/>
                    <a:gd name="connsiteY1351" fmla="*/ 1990749 h 2867451"/>
                    <a:gd name="connsiteX1352" fmla="*/ 724981 w 7044883"/>
                    <a:gd name="connsiteY1352" fmla="*/ 1986556 h 2867451"/>
                    <a:gd name="connsiteX1353" fmla="*/ 713808 w 7044883"/>
                    <a:gd name="connsiteY1353" fmla="*/ 1982867 h 2867451"/>
                    <a:gd name="connsiteX1354" fmla="*/ 714605 w 7044883"/>
                    <a:gd name="connsiteY1354" fmla="*/ 1988371 h 2867451"/>
                    <a:gd name="connsiteX1355" fmla="*/ 716338 w 7044883"/>
                    <a:gd name="connsiteY1355" fmla="*/ 1993712 h 2867451"/>
                    <a:gd name="connsiteX1356" fmla="*/ 711115 w 7044883"/>
                    <a:gd name="connsiteY1356" fmla="*/ 1991381 h 2867451"/>
                    <a:gd name="connsiteX1357" fmla="*/ 700996 w 7044883"/>
                    <a:gd name="connsiteY1357" fmla="*/ 1991276 h 2867451"/>
                    <a:gd name="connsiteX1358" fmla="*/ 695035 w 7044883"/>
                    <a:gd name="connsiteY1358" fmla="*/ 2000071 h 2867451"/>
                    <a:gd name="connsiteX1359" fmla="*/ 674692 w 7044883"/>
                    <a:gd name="connsiteY1359" fmla="*/ 2002027 h 2867451"/>
                    <a:gd name="connsiteX1360" fmla="*/ 680430 w 7044883"/>
                    <a:gd name="connsiteY1360" fmla="*/ 2008585 h 2867451"/>
                    <a:gd name="connsiteX1361" fmla="*/ 677713 w 7044883"/>
                    <a:gd name="connsiteY1361" fmla="*/ 2011631 h 2867451"/>
                    <a:gd name="connsiteX1362" fmla="*/ 674586 w 7044883"/>
                    <a:gd name="connsiteY1362" fmla="*/ 2017205 h 2867451"/>
                    <a:gd name="connsiteX1363" fmla="*/ 660087 w 7044883"/>
                    <a:gd name="connsiteY1363" fmla="*/ 2016584 h 2867451"/>
                    <a:gd name="connsiteX1364" fmla="*/ 652803 w 7044883"/>
                    <a:gd name="connsiteY1364" fmla="*/ 2021796 h 2867451"/>
                    <a:gd name="connsiteX1365" fmla="*/ 636407 w 7044883"/>
                    <a:gd name="connsiteY1365" fmla="*/ 2024783 h 2867451"/>
                    <a:gd name="connsiteX1366" fmla="*/ 616802 w 7044883"/>
                    <a:gd name="connsiteY1366" fmla="*/ 2029807 h 2867451"/>
                    <a:gd name="connsiteX1367" fmla="*/ 593332 w 7044883"/>
                    <a:gd name="connsiteY1367" fmla="*/ 2035100 h 2867451"/>
                    <a:gd name="connsiteX1368" fmla="*/ 578247 w 7044883"/>
                    <a:gd name="connsiteY1368" fmla="*/ 2037126 h 2867451"/>
                    <a:gd name="connsiteX1369" fmla="*/ 559521 w 7044883"/>
                    <a:gd name="connsiteY1369" fmla="*/ 2041928 h 2867451"/>
                    <a:gd name="connsiteX1370" fmla="*/ 553372 w 7044883"/>
                    <a:gd name="connsiteY1370" fmla="*/ 2037407 h 2867451"/>
                    <a:gd name="connsiteX1371" fmla="*/ 546158 w 7044883"/>
                    <a:gd name="connsiteY1371" fmla="*/ 2043544 h 2867451"/>
                    <a:gd name="connsiteX1372" fmla="*/ 532772 w 7044883"/>
                    <a:gd name="connsiteY1372" fmla="*/ 2041261 h 2867451"/>
                    <a:gd name="connsiteX1373" fmla="*/ 532561 w 7044883"/>
                    <a:gd name="connsiteY1373" fmla="*/ 2045699 h 2867451"/>
                    <a:gd name="connsiteX1374" fmla="*/ 528274 w 7044883"/>
                    <a:gd name="connsiteY1374" fmla="*/ 2046039 h 2867451"/>
                    <a:gd name="connsiteX1375" fmla="*/ 519280 w 7044883"/>
                    <a:gd name="connsiteY1375" fmla="*/ 2049377 h 2867451"/>
                    <a:gd name="connsiteX1376" fmla="*/ 519514 w 7044883"/>
                    <a:gd name="connsiteY1376" fmla="*/ 2059343 h 2867451"/>
                    <a:gd name="connsiteX1377" fmla="*/ 505179 w 7044883"/>
                    <a:gd name="connsiteY1377" fmla="*/ 2057821 h 2867451"/>
                    <a:gd name="connsiteX1378" fmla="*/ 492496 w 7044883"/>
                    <a:gd name="connsiteY1378" fmla="*/ 2062318 h 2867451"/>
                    <a:gd name="connsiteX1379" fmla="*/ 487319 w 7044883"/>
                    <a:gd name="connsiteY1379" fmla="*/ 2059015 h 2867451"/>
                    <a:gd name="connsiteX1380" fmla="*/ 483161 w 7044883"/>
                    <a:gd name="connsiteY1380" fmla="*/ 2060222 h 2867451"/>
                    <a:gd name="connsiteX1381" fmla="*/ 469763 w 7044883"/>
                    <a:gd name="connsiteY1381" fmla="*/ 2062213 h 2867451"/>
                    <a:gd name="connsiteX1382" fmla="*/ 457045 w 7044883"/>
                    <a:gd name="connsiteY1382" fmla="*/ 2063513 h 2867451"/>
                    <a:gd name="connsiteX1383" fmla="*/ 451423 w 7044883"/>
                    <a:gd name="connsiteY1383" fmla="*/ 2072530 h 2867451"/>
                    <a:gd name="connsiteX1384" fmla="*/ 442499 w 7044883"/>
                    <a:gd name="connsiteY1384" fmla="*/ 2068549 h 2867451"/>
                    <a:gd name="connsiteX1385" fmla="*/ 428832 w 7044883"/>
                    <a:gd name="connsiteY1385" fmla="*/ 2072109 h 2867451"/>
                    <a:gd name="connsiteX1386" fmla="*/ 410527 w 7044883"/>
                    <a:gd name="connsiteY1386" fmla="*/ 2075786 h 2867451"/>
                    <a:gd name="connsiteX1387" fmla="*/ 405221 w 7044883"/>
                    <a:gd name="connsiteY1387" fmla="*/ 2079932 h 2867451"/>
                    <a:gd name="connsiteX1388" fmla="*/ 393416 w 7044883"/>
                    <a:gd name="connsiteY1388" fmla="*/ 2080143 h 2867451"/>
                    <a:gd name="connsiteX1389" fmla="*/ 380241 w 7044883"/>
                    <a:gd name="connsiteY1389" fmla="*/ 2091983 h 2867451"/>
                    <a:gd name="connsiteX1390" fmla="*/ 376587 w 7044883"/>
                    <a:gd name="connsiteY1390" fmla="*/ 2093178 h 2867451"/>
                    <a:gd name="connsiteX1391" fmla="*/ 375064 w 7044883"/>
                    <a:gd name="connsiteY1391" fmla="*/ 2087310 h 2867451"/>
                    <a:gd name="connsiteX1392" fmla="*/ 364898 w 7044883"/>
                    <a:gd name="connsiteY1392" fmla="*/ 2084816 h 2867451"/>
                    <a:gd name="connsiteX1393" fmla="*/ 352660 w 7044883"/>
                    <a:gd name="connsiteY1393" fmla="*/ 2091304 h 2867451"/>
                    <a:gd name="connsiteX1394" fmla="*/ 342377 w 7044883"/>
                    <a:gd name="connsiteY1394" fmla="*/ 2086619 h 2867451"/>
                    <a:gd name="connsiteX1395" fmla="*/ 332317 w 7044883"/>
                    <a:gd name="connsiteY1395" fmla="*/ 2088809 h 2867451"/>
                    <a:gd name="connsiteX1396" fmla="*/ 322503 w 7044883"/>
                    <a:gd name="connsiteY1396" fmla="*/ 2082731 h 2867451"/>
                    <a:gd name="connsiteX1397" fmla="*/ 310405 w 7044883"/>
                    <a:gd name="connsiteY1397" fmla="*/ 2085132 h 2867451"/>
                    <a:gd name="connsiteX1398" fmla="*/ 301235 w 7044883"/>
                    <a:gd name="connsiteY1398" fmla="*/ 2090086 h 2867451"/>
                    <a:gd name="connsiteX1399" fmla="*/ 310686 w 7044883"/>
                    <a:gd name="connsiteY1399" fmla="*/ 2100954 h 2867451"/>
                    <a:gd name="connsiteX1400" fmla="*/ 303026 w 7044883"/>
                    <a:gd name="connsiteY1400" fmla="*/ 2107630 h 2867451"/>
                    <a:gd name="connsiteX1401" fmla="*/ 300708 w 7044883"/>
                    <a:gd name="connsiteY1401" fmla="*/ 2112420 h 2867451"/>
                    <a:gd name="connsiteX1402" fmla="*/ 294805 w 7044883"/>
                    <a:gd name="connsiteY1402" fmla="*/ 2113345 h 2867451"/>
                    <a:gd name="connsiteX1403" fmla="*/ 307137 w 7044883"/>
                    <a:gd name="connsiteY1403" fmla="*/ 2117374 h 2867451"/>
                    <a:gd name="connsiteX1404" fmla="*/ 322245 w 7044883"/>
                    <a:gd name="connsiteY1404" fmla="*/ 2115793 h 2867451"/>
                    <a:gd name="connsiteX1405" fmla="*/ 325805 w 7044883"/>
                    <a:gd name="connsiteY1405" fmla="*/ 2123593 h 2867451"/>
                    <a:gd name="connsiteX1406" fmla="*/ 316342 w 7044883"/>
                    <a:gd name="connsiteY1406" fmla="*/ 2122632 h 2867451"/>
                    <a:gd name="connsiteX1407" fmla="*/ 310920 w 7044883"/>
                    <a:gd name="connsiteY1407" fmla="*/ 2137963 h 2867451"/>
                    <a:gd name="connsiteX1408" fmla="*/ 319235 w 7044883"/>
                    <a:gd name="connsiteY1408" fmla="*/ 2138712 h 2867451"/>
                    <a:gd name="connsiteX1409" fmla="*/ 327187 w 7044883"/>
                    <a:gd name="connsiteY1409" fmla="*/ 2142776 h 2867451"/>
                    <a:gd name="connsiteX1410" fmla="*/ 333898 w 7044883"/>
                    <a:gd name="connsiteY1410" fmla="*/ 2140317 h 2867451"/>
                    <a:gd name="connsiteX1411" fmla="*/ 342014 w 7044883"/>
                    <a:gd name="connsiteY1411" fmla="*/ 2146196 h 2867451"/>
                    <a:gd name="connsiteX1412" fmla="*/ 358141 w 7044883"/>
                    <a:gd name="connsiteY1412" fmla="*/ 2151255 h 2867451"/>
                    <a:gd name="connsiteX1413" fmla="*/ 350364 w 7044883"/>
                    <a:gd name="connsiteY1413" fmla="*/ 2162135 h 2867451"/>
                    <a:gd name="connsiteX1414" fmla="*/ 341675 w 7044883"/>
                    <a:gd name="connsiteY1414" fmla="*/ 2159219 h 2867451"/>
                    <a:gd name="connsiteX1415" fmla="*/ 334074 w 7044883"/>
                    <a:gd name="connsiteY1415" fmla="*/ 2159969 h 2867451"/>
                    <a:gd name="connsiteX1416" fmla="*/ 321191 w 7044883"/>
                    <a:gd name="connsiteY1416" fmla="*/ 2157170 h 2867451"/>
                    <a:gd name="connsiteX1417" fmla="*/ 316120 w 7044883"/>
                    <a:gd name="connsiteY1417" fmla="*/ 2158681 h 2867451"/>
                    <a:gd name="connsiteX1418" fmla="*/ 310276 w 7044883"/>
                    <a:gd name="connsiteY1418" fmla="*/ 2156596 h 2867451"/>
                    <a:gd name="connsiteX1419" fmla="*/ 298998 w 7044883"/>
                    <a:gd name="connsiteY1419" fmla="*/ 2159559 h 2867451"/>
                    <a:gd name="connsiteX1420" fmla="*/ 303366 w 7044883"/>
                    <a:gd name="connsiteY1420" fmla="*/ 2163014 h 2867451"/>
                    <a:gd name="connsiteX1421" fmla="*/ 287965 w 7044883"/>
                    <a:gd name="connsiteY1421" fmla="*/ 2174842 h 2867451"/>
                    <a:gd name="connsiteX1422" fmla="*/ 286408 w 7044883"/>
                    <a:gd name="connsiteY1422" fmla="*/ 2183895 h 2867451"/>
                    <a:gd name="connsiteX1423" fmla="*/ 290624 w 7044883"/>
                    <a:gd name="connsiteY1423" fmla="*/ 2186015 h 2867451"/>
                    <a:gd name="connsiteX1424" fmla="*/ 292779 w 7044883"/>
                    <a:gd name="connsiteY1424" fmla="*/ 2192164 h 2867451"/>
                    <a:gd name="connsiteX1425" fmla="*/ 297909 w 7044883"/>
                    <a:gd name="connsiteY1425" fmla="*/ 2196919 h 2867451"/>
                    <a:gd name="connsiteX1426" fmla="*/ 302394 w 7044883"/>
                    <a:gd name="connsiteY1426" fmla="*/ 2204309 h 2867451"/>
                    <a:gd name="connsiteX1427" fmla="*/ 279685 w 7044883"/>
                    <a:gd name="connsiteY1427" fmla="*/ 2217625 h 2867451"/>
                    <a:gd name="connsiteX1428" fmla="*/ 265503 w 7044883"/>
                    <a:gd name="connsiteY1428" fmla="*/ 2222180 h 2867451"/>
                    <a:gd name="connsiteX1429" fmla="*/ 248322 w 7044883"/>
                    <a:gd name="connsiteY1429" fmla="*/ 2228247 h 2867451"/>
                    <a:gd name="connsiteX1430" fmla="*/ 271663 w 7044883"/>
                    <a:gd name="connsiteY1430" fmla="*/ 2244280 h 2867451"/>
                    <a:gd name="connsiteX1431" fmla="*/ 271967 w 7044883"/>
                    <a:gd name="connsiteY1431" fmla="*/ 2251811 h 2867451"/>
                    <a:gd name="connsiteX1432" fmla="*/ 297042 w 7044883"/>
                    <a:gd name="connsiteY1432" fmla="*/ 2254785 h 2867451"/>
                    <a:gd name="connsiteX1433" fmla="*/ 313110 w 7044883"/>
                    <a:gd name="connsiteY1433" fmla="*/ 2264658 h 2867451"/>
                    <a:gd name="connsiteX1434" fmla="*/ 324095 w 7044883"/>
                    <a:gd name="connsiteY1434" fmla="*/ 2267422 h 2867451"/>
                    <a:gd name="connsiteX1435" fmla="*/ 334952 w 7044883"/>
                    <a:gd name="connsiteY1435" fmla="*/ 2279227 h 2867451"/>
                    <a:gd name="connsiteX1436" fmla="*/ 323967 w 7044883"/>
                    <a:gd name="connsiteY1436" fmla="*/ 2301058 h 2867451"/>
                    <a:gd name="connsiteX1437" fmla="*/ 302453 w 7044883"/>
                    <a:gd name="connsiteY1437" fmla="*/ 2316950 h 2867451"/>
                    <a:gd name="connsiteX1438" fmla="*/ 266756 w 7044883"/>
                    <a:gd name="connsiteY1438" fmla="*/ 2319035 h 2867451"/>
                    <a:gd name="connsiteX1439" fmla="*/ 257808 w 7044883"/>
                    <a:gd name="connsiteY1439" fmla="*/ 2315182 h 2867451"/>
                    <a:gd name="connsiteX1440" fmla="*/ 252515 w 7044883"/>
                    <a:gd name="connsiteY1440" fmla="*/ 2306890 h 2867451"/>
                    <a:gd name="connsiteX1441" fmla="*/ 243754 w 7044883"/>
                    <a:gd name="connsiteY1441" fmla="*/ 2319491 h 2867451"/>
                    <a:gd name="connsiteX1442" fmla="*/ 227534 w 7044883"/>
                    <a:gd name="connsiteY1442" fmla="*/ 2330348 h 2867451"/>
                    <a:gd name="connsiteX1443" fmla="*/ 219898 w 7044883"/>
                    <a:gd name="connsiteY1443" fmla="*/ 2330348 h 2867451"/>
                    <a:gd name="connsiteX1444" fmla="*/ 225227 w 7044883"/>
                    <a:gd name="connsiteY1444" fmla="*/ 2327268 h 2867451"/>
                    <a:gd name="connsiteX1445" fmla="*/ 208877 w 7044883"/>
                    <a:gd name="connsiteY1445" fmla="*/ 2322536 h 2867451"/>
                    <a:gd name="connsiteX1446" fmla="*/ 177455 w 7044883"/>
                    <a:gd name="connsiteY1446" fmla="*/ 2309783 h 2867451"/>
                    <a:gd name="connsiteX1447" fmla="*/ 172806 w 7044883"/>
                    <a:gd name="connsiteY1447" fmla="*/ 2305028 h 2867451"/>
                    <a:gd name="connsiteX1448" fmla="*/ 174539 w 7044883"/>
                    <a:gd name="connsiteY1448" fmla="*/ 2300390 h 2867451"/>
                    <a:gd name="connsiteX1449" fmla="*/ 172595 w 7044883"/>
                    <a:gd name="connsiteY1449" fmla="*/ 2293457 h 2867451"/>
                    <a:gd name="connsiteX1450" fmla="*/ 165346 w 7044883"/>
                    <a:gd name="connsiteY1450" fmla="*/ 2292695 h 2867451"/>
                    <a:gd name="connsiteX1451" fmla="*/ 163062 w 7044883"/>
                    <a:gd name="connsiteY1451" fmla="*/ 2290025 h 2867451"/>
                    <a:gd name="connsiteX1452" fmla="*/ 157487 w 7044883"/>
                    <a:gd name="connsiteY1452" fmla="*/ 2287847 h 2867451"/>
                    <a:gd name="connsiteX1453" fmla="*/ 154068 w 7044883"/>
                    <a:gd name="connsiteY1453" fmla="*/ 2291911 h 2867451"/>
                    <a:gd name="connsiteX1454" fmla="*/ 143188 w 7044883"/>
                    <a:gd name="connsiteY1454" fmla="*/ 2291044 h 2867451"/>
                    <a:gd name="connsiteX1455" fmla="*/ 130715 w 7044883"/>
                    <a:gd name="connsiteY1455" fmla="*/ 2290728 h 2867451"/>
                    <a:gd name="connsiteX1456" fmla="*/ 130129 w 7044883"/>
                    <a:gd name="connsiteY1456" fmla="*/ 2301257 h 2867451"/>
                    <a:gd name="connsiteX1457" fmla="*/ 121240 w 7044883"/>
                    <a:gd name="connsiteY1457" fmla="*/ 2302697 h 2867451"/>
                    <a:gd name="connsiteX1458" fmla="*/ 109072 w 7044883"/>
                    <a:gd name="connsiteY1458" fmla="*/ 2304067 h 2867451"/>
                    <a:gd name="connsiteX1459" fmla="*/ 106132 w 7044883"/>
                    <a:gd name="connsiteY1459" fmla="*/ 2297497 h 2867451"/>
                    <a:gd name="connsiteX1460" fmla="*/ 101143 w 7044883"/>
                    <a:gd name="connsiteY1460" fmla="*/ 2292004 h 2867451"/>
                    <a:gd name="connsiteX1461" fmla="*/ 83283 w 7044883"/>
                    <a:gd name="connsiteY1461" fmla="*/ 2293515 h 2867451"/>
                    <a:gd name="connsiteX1462" fmla="*/ 76420 w 7044883"/>
                    <a:gd name="connsiteY1462" fmla="*/ 2299078 h 2867451"/>
                    <a:gd name="connsiteX1463" fmla="*/ 65950 w 7044883"/>
                    <a:gd name="connsiteY1463" fmla="*/ 2292473 h 2867451"/>
                    <a:gd name="connsiteX1464" fmla="*/ 61652 w 7044883"/>
                    <a:gd name="connsiteY1464" fmla="*/ 2296736 h 2867451"/>
                    <a:gd name="connsiteX1465" fmla="*/ 57611 w 7044883"/>
                    <a:gd name="connsiteY1465" fmla="*/ 2302627 h 2867451"/>
                    <a:gd name="connsiteX1466" fmla="*/ 51943 w 7044883"/>
                    <a:gd name="connsiteY1466" fmla="*/ 2304571 h 2867451"/>
                    <a:gd name="connsiteX1467" fmla="*/ 47212 w 7044883"/>
                    <a:gd name="connsiteY1467" fmla="*/ 2304348 h 2867451"/>
                    <a:gd name="connsiteX1468" fmla="*/ 45595 w 7044883"/>
                    <a:gd name="connsiteY1468" fmla="*/ 2310626 h 2867451"/>
                    <a:gd name="connsiteX1469" fmla="*/ 35687 w 7044883"/>
                    <a:gd name="connsiteY1469" fmla="*/ 2321646 h 2867451"/>
                    <a:gd name="connsiteX1470" fmla="*/ 22816 w 7044883"/>
                    <a:gd name="connsiteY1470" fmla="*/ 2328802 h 2867451"/>
                    <a:gd name="connsiteX1471" fmla="*/ 14220 w 7044883"/>
                    <a:gd name="connsiteY1471" fmla="*/ 2323497 h 2867451"/>
                    <a:gd name="connsiteX1472" fmla="*/ 623 w 7044883"/>
                    <a:gd name="connsiteY1472" fmla="*/ 2315006 h 2867451"/>
                    <a:gd name="connsiteX1473" fmla="*/ 670 w 7044883"/>
                    <a:gd name="connsiteY1473" fmla="*/ 2290658 h 2867451"/>
                    <a:gd name="connsiteX1474" fmla="*/ 658 w 7044883"/>
                    <a:gd name="connsiteY1474" fmla="*/ 2007051 h 2867451"/>
                    <a:gd name="connsiteX1475" fmla="*/ 658 w 7044883"/>
                    <a:gd name="connsiteY1475" fmla="*/ 1561884 h 2867451"/>
                    <a:gd name="connsiteX1476" fmla="*/ 658 w 7044883"/>
                    <a:gd name="connsiteY1476" fmla="*/ 1141206 h 2867451"/>
                    <a:gd name="connsiteX1477" fmla="*/ 658 w 7044883"/>
                    <a:gd name="connsiteY1477" fmla="*/ 926569 h 2867451"/>
                    <a:gd name="connsiteX1478" fmla="*/ 658 w 7044883"/>
                    <a:gd name="connsiteY1478" fmla="*/ 923513 h 2867451"/>
                    <a:gd name="connsiteX1479" fmla="*/ 658 w 7044883"/>
                    <a:gd name="connsiteY1479" fmla="*/ 923513 h 2867451"/>
                    <a:gd name="connsiteX1480" fmla="*/ 19444 w 7044883"/>
                    <a:gd name="connsiteY1480" fmla="*/ 919894 h 2867451"/>
                    <a:gd name="connsiteX1481" fmla="*/ 37058 w 7044883"/>
                    <a:gd name="connsiteY1481" fmla="*/ 912328 h 2867451"/>
                    <a:gd name="connsiteX1482" fmla="*/ 50725 w 7044883"/>
                    <a:gd name="connsiteY1482" fmla="*/ 915420 h 2867451"/>
                    <a:gd name="connsiteX1483" fmla="*/ 65259 w 7044883"/>
                    <a:gd name="connsiteY1483" fmla="*/ 918594 h 2867451"/>
                    <a:gd name="connsiteX1484" fmla="*/ 84712 w 7044883"/>
                    <a:gd name="connsiteY1484" fmla="*/ 919952 h 2867451"/>
                    <a:gd name="connsiteX1485" fmla="*/ 106835 w 7044883"/>
                    <a:gd name="connsiteY1485" fmla="*/ 920667 h 2867451"/>
                    <a:gd name="connsiteX1486" fmla="*/ 115736 w 7044883"/>
                    <a:gd name="connsiteY1486" fmla="*/ 912316 h 2867451"/>
                    <a:gd name="connsiteX1487" fmla="*/ 123184 w 7044883"/>
                    <a:gd name="connsiteY1487" fmla="*/ 904282 h 2867451"/>
                    <a:gd name="connsiteX1488" fmla="*/ 141513 w 7044883"/>
                    <a:gd name="connsiteY1488" fmla="*/ 901565 h 2867451"/>
                    <a:gd name="connsiteX1489" fmla="*/ 142157 w 7044883"/>
                    <a:gd name="connsiteY1489" fmla="*/ 894562 h 2867451"/>
                    <a:gd name="connsiteX1490" fmla="*/ 156644 w 7044883"/>
                    <a:gd name="connsiteY1490" fmla="*/ 890990 h 2867451"/>
                    <a:gd name="connsiteX1491" fmla="*/ 163554 w 7044883"/>
                    <a:gd name="connsiteY1491" fmla="*/ 903052 h 2867451"/>
                    <a:gd name="connsiteX1492" fmla="*/ 161411 w 7044883"/>
                    <a:gd name="connsiteY1492" fmla="*/ 904915 h 2867451"/>
                    <a:gd name="connsiteX1493" fmla="*/ 166763 w 7044883"/>
                    <a:gd name="connsiteY1493" fmla="*/ 902432 h 2867451"/>
                    <a:gd name="connsiteX1494" fmla="*/ 158541 w 7044883"/>
                    <a:gd name="connsiteY1494" fmla="*/ 889666 h 2867451"/>
                    <a:gd name="connsiteX1495" fmla="*/ 184892 w 7044883"/>
                    <a:gd name="connsiteY1495" fmla="*/ 881878 h 2867451"/>
                    <a:gd name="connsiteX1496" fmla="*/ 208632 w 7044883"/>
                    <a:gd name="connsiteY1496" fmla="*/ 881819 h 2867451"/>
                    <a:gd name="connsiteX1497" fmla="*/ 190362 w 7044883"/>
                    <a:gd name="connsiteY1497" fmla="*/ 886809 h 2867451"/>
                    <a:gd name="connsiteX1498" fmla="*/ 217216 w 7044883"/>
                    <a:gd name="connsiteY1498" fmla="*/ 901729 h 2867451"/>
                    <a:gd name="connsiteX1499" fmla="*/ 206500 w 7044883"/>
                    <a:gd name="connsiteY1499" fmla="*/ 907585 h 2867451"/>
                    <a:gd name="connsiteX1500" fmla="*/ 199356 w 7044883"/>
                    <a:gd name="connsiteY1500" fmla="*/ 918886 h 2867451"/>
                    <a:gd name="connsiteX1501" fmla="*/ 202026 w 7044883"/>
                    <a:gd name="connsiteY1501" fmla="*/ 922857 h 2867451"/>
                    <a:gd name="connsiteX1502" fmla="*/ 200035 w 7044883"/>
                    <a:gd name="connsiteY1502" fmla="*/ 928443 h 2867451"/>
                    <a:gd name="connsiteX1503" fmla="*/ 244633 w 7044883"/>
                    <a:gd name="connsiteY1503" fmla="*/ 931992 h 2867451"/>
                    <a:gd name="connsiteX1504" fmla="*/ 237231 w 7044883"/>
                    <a:gd name="connsiteY1504" fmla="*/ 915525 h 2867451"/>
                    <a:gd name="connsiteX1505" fmla="*/ 248580 w 7044883"/>
                    <a:gd name="connsiteY1505" fmla="*/ 908053 h 2867451"/>
                    <a:gd name="connsiteX1506" fmla="*/ 278011 w 7044883"/>
                    <a:gd name="connsiteY1506" fmla="*/ 903380 h 2867451"/>
                    <a:gd name="connsiteX1507" fmla="*/ 298717 w 7044883"/>
                    <a:gd name="connsiteY1507" fmla="*/ 889303 h 2867451"/>
                    <a:gd name="connsiteX1508" fmla="*/ 285822 w 7044883"/>
                    <a:gd name="connsiteY1508" fmla="*/ 864826 h 2867451"/>
                    <a:gd name="connsiteX1509" fmla="*/ 286900 w 7044883"/>
                    <a:gd name="connsiteY1509" fmla="*/ 869885 h 2867451"/>
                    <a:gd name="connsiteX1510" fmla="*/ 277542 w 7044883"/>
                    <a:gd name="connsiteY1510" fmla="*/ 853724 h 2867451"/>
                    <a:gd name="connsiteX1511" fmla="*/ 259729 w 7044883"/>
                    <a:gd name="connsiteY1511" fmla="*/ 832631 h 2867451"/>
                    <a:gd name="connsiteX1512" fmla="*/ 262106 w 7044883"/>
                    <a:gd name="connsiteY1512" fmla="*/ 819573 h 2867451"/>
                    <a:gd name="connsiteX1513" fmla="*/ 283070 w 7044883"/>
                    <a:gd name="connsiteY1513" fmla="*/ 817617 h 2867451"/>
                    <a:gd name="connsiteX1514" fmla="*/ 285038 w 7044883"/>
                    <a:gd name="connsiteY1514" fmla="*/ 813600 h 2867451"/>
                    <a:gd name="connsiteX1515" fmla="*/ 284499 w 7044883"/>
                    <a:gd name="connsiteY1515" fmla="*/ 805765 h 2867451"/>
                    <a:gd name="connsiteX1516" fmla="*/ 300169 w 7044883"/>
                    <a:gd name="connsiteY1516" fmla="*/ 802076 h 2867451"/>
                    <a:gd name="connsiteX1517" fmla="*/ 322468 w 7044883"/>
                    <a:gd name="connsiteY1517" fmla="*/ 808049 h 2867451"/>
                    <a:gd name="connsiteX1518" fmla="*/ 367334 w 7044883"/>
                    <a:gd name="connsiteY1518" fmla="*/ 812183 h 2867451"/>
                    <a:gd name="connsiteX1519" fmla="*/ 415071 w 7044883"/>
                    <a:gd name="connsiteY1519" fmla="*/ 817793 h 2867451"/>
                    <a:gd name="connsiteX1520" fmla="*/ 509231 w 7044883"/>
                    <a:gd name="connsiteY1520" fmla="*/ 852927 h 2867451"/>
                    <a:gd name="connsiteX1521" fmla="*/ 500178 w 7044883"/>
                    <a:gd name="connsiteY1521" fmla="*/ 853817 h 2867451"/>
                    <a:gd name="connsiteX1522" fmla="*/ 496876 w 7044883"/>
                    <a:gd name="connsiteY1522" fmla="*/ 866255 h 2867451"/>
                    <a:gd name="connsiteX1523" fmla="*/ 504746 w 7044883"/>
                    <a:gd name="connsiteY1523" fmla="*/ 858795 h 2867451"/>
                    <a:gd name="connsiteX1524" fmla="*/ 526916 w 7044883"/>
                    <a:gd name="connsiteY1524" fmla="*/ 862788 h 2867451"/>
                    <a:gd name="connsiteX1525" fmla="*/ 556077 w 7044883"/>
                    <a:gd name="connsiteY1525" fmla="*/ 870471 h 2867451"/>
                    <a:gd name="connsiteX1526" fmla="*/ 547856 w 7044883"/>
                    <a:gd name="connsiteY1526" fmla="*/ 869230 h 2867451"/>
                    <a:gd name="connsiteX1527" fmla="*/ 542129 w 7044883"/>
                    <a:gd name="connsiteY1527" fmla="*/ 869230 h 2867451"/>
                    <a:gd name="connsiteX1528" fmla="*/ 558771 w 7044883"/>
                    <a:gd name="connsiteY1528" fmla="*/ 875507 h 2867451"/>
                    <a:gd name="connsiteX1529" fmla="*/ 577041 w 7044883"/>
                    <a:gd name="connsiteY1529" fmla="*/ 883237 h 2867451"/>
                    <a:gd name="connsiteX1530" fmla="*/ 597279 w 7044883"/>
                    <a:gd name="connsiteY1530" fmla="*/ 890392 h 2867451"/>
                    <a:gd name="connsiteX1531" fmla="*/ 620081 w 7044883"/>
                    <a:gd name="connsiteY1531" fmla="*/ 895545 h 2867451"/>
                    <a:gd name="connsiteX1532" fmla="*/ 626733 w 7044883"/>
                    <a:gd name="connsiteY1532" fmla="*/ 908006 h 2867451"/>
                    <a:gd name="connsiteX1533" fmla="*/ 655485 w 7044883"/>
                    <a:gd name="connsiteY1533" fmla="*/ 926019 h 2867451"/>
                    <a:gd name="connsiteX1534" fmla="*/ 650109 w 7044883"/>
                    <a:gd name="connsiteY1534" fmla="*/ 924836 h 2867451"/>
                    <a:gd name="connsiteX1535" fmla="*/ 672935 w 7044883"/>
                    <a:gd name="connsiteY1535" fmla="*/ 933666 h 2867451"/>
                    <a:gd name="connsiteX1536" fmla="*/ 675113 w 7044883"/>
                    <a:gd name="connsiteY1536" fmla="*/ 949547 h 2867451"/>
                    <a:gd name="connsiteX1537" fmla="*/ 679060 w 7044883"/>
                    <a:gd name="connsiteY1537" fmla="*/ 953236 h 2867451"/>
                    <a:gd name="connsiteX1538" fmla="*/ 699450 w 7044883"/>
                    <a:gd name="connsiteY1538" fmla="*/ 942719 h 2867451"/>
                    <a:gd name="connsiteX1539" fmla="*/ 713679 w 7044883"/>
                    <a:gd name="connsiteY1539" fmla="*/ 913827 h 2867451"/>
                    <a:gd name="connsiteX1540" fmla="*/ 718317 w 7044883"/>
                    <a:gd name="connsiteY1540" fmla="*/ 901530 h 2867451"/>
                    <a:gd name="connsiteX1541" fmla="*/ 723365 w 7044883"/>
                    <a:gd name="connsiteY1541" fmla="*/ 891845 h 2867451"/>
                    <a:gd name="connsiteX1542" fmla="*/ 715143 w 7044883"/>
                    <a:gd name="connsiteY1542" fmla="*/ 889631 h 2867451"/>
                    <a:gd name="connsiteX1543" fmla="*/ 724489 w 7044883"/>
                    <a:gd name="connsiteY1543" fmla="*/ 887429 h 2867451"/>
                    <a:gd name="connsiteX1544" fmla="*/ 720870 w 7044883"/>
                    <a:gd name="connsiteY1544" fmla="*/ 887429 h 2867451"/>
                    <a:gd name="connsiteX1545" fmla="*/ 729092 w 7044883"/>
                    <a:gd name="connsiteY1545" fmla="*/ 884255 h 2867451"/>
                    <a:gd name="connsiteX1546" fmla="*/ 718352 w 7044883"/>
                    <a:gd name="connsiteY1546" fmla="*/ 885555 h 2867451"/>
                    <a:gd name="connsiteX1547" fmla="*/ 719078 w 7044883"/>
                    <a:gd name="connsiteY1547" fmla="*/ 884255 h 2867451"/>
                    <a:gd name="connsiteX1548" fmla="*/ 705224 w 7044883"/>
                    <a:gd name="connsiteY1548" fmla="*/ 888425 h 2867451"/>
                    <a:gd name="connsiteX1549" fmla="*/ 689366 w 7044883"/>
                    <a:gd name="connsiteY1549" fmla="*/ 882194 h 2867451"/>
                    <a:gd name="connsiteX1550" fmla="*/ 681695 w 7044883"/>
                    <a:gd name="connsiteY1550" fmla="*/ 870928 h 2867451"/>
                    <a:gd name="connsiteX1551" fmla="*/ 667302 w 7044883"/>
                    <a:gd name="connsiteY1551" fmla="*/ 852470 h 2867451"/>
                    <a:gd name="connsiteX1552" fmla="*/ 670839 w 7044883"/>
                    <a:gd name="connsiteY1552" fmla="*/ 836191 h 2867451"/>
                    <a:gd name="connsiteX1553" fmla="*/ 670042 w 7044883"/>
                    <a:gd name="connsiteY1553" fmla="*/ 830090 h 2867451"/>
                    <a:gd name="connsiteX1554" fmla="*/ 667618 w 7044883"/>
                    <a:gd name="connsiteY1554" fmla="*/ 835817 h 2867451"/>
                    <a:gd name="connsiteX1555" fmla="*/ 638655 w 7044883"/>
                    <a:gd name="connsiteY1555" fmla="*/ 823789 h 2867451"/>
                    <a:gd name="connsiteX1556" fmla="*/ 624215 w 7044883"/>
                    <a:gd name="connsiteY1556" fmla="*/ 819936 h 2867451"/>
                    <a:gd name="connsiteX1557" fmla="*/ 611848 w 7044883"/>
                    <a:gd name="connsiteY1557" fmla="*/ 817500 h 2867451"/>
                    <a:gd name="connsiteX1558" fmla="*/ 605781 w 7044883"/>
                    <a:gd name="connsiteY1558" fmla="*/ 822208 h 2867451"/>
                    <a:gd name="connsiteX1559" fmla="*/ 611133 w 7044883"/>
                    <a:gd name="connsiteY1559" fmla="*/ 831460 h 2867451"/>
                    <a:gd name="connsiteX1560" fmla="*/ 607058 w 7044883"/>
                    <a:gd name="connsiteY1560" fmla="*/ 788034 h 2867451"/>
                    <a:gd name="connsiteX1561" fmla="*/ 611649 w 7044883"/>
                    <a:gd name="connsiteY1561" fmla="*/ 783138 h 2867451"/>
                    <a:gd name="connsiteX1562" fmla="*/ 611578 w 7044883"/>
                    <a:gd name="connsiteY1562" fmla="*/ 788525 h 2867451"/>
                    <a:gd name="connsiteX1563" fmla="*/ 630422 w 7044883"/>
                    <a:gd name="connsiteY1563" fmla="*/ 778559 h 2867451"/>
                    <a:gd name="connsiteX1564" fmla="*/ 628338 w 7044883"/>
                    <a:gd name="connsiteY1564" fmla="*/ 779402 h 2867451"/>
                    <a:gd name="connsiteX1565" fmla="*/ 626475 w 7044883"/>
                    <a:gd name="connsiteY1565" fmla="*/ 770185 h 2867451"/>
                    <a:gd name="connsiteX1566" fmla="*/ 627143 w 7044883"/>
                    <a:gd name="connsiteY1566" fmla="*/ 774893 h 2867451"/>
                    <a:gd name="connsiteX1567" fmla="*/ 618828 w 7044883"/>
                    <a:gd name="connsiteY1567" fmla="*/ 765266 h 2867451"/>
                    <a:gd name="connsiteX1568" fmla="*/ 627237 w 7044883"/>
                    <a:gd name="connsiteY1568" fmla="*/ 749620 h 2867451"/>
                    <a:gd name="connsiteX1569" fmla="*/ 628607 w 7044883"/>
                    <a:gd name="connsiteY1569" fmla="*/ 743776 h 2867451"/>
                    <a:gd name="connsiteX1570" fmla="*/ 630820 w 7044883"/>
                    <a:gd name="connsiteY1570" fmla="*/ 718268 h 2867451"/>
                    <a:gd name="connsiteX1571" fmla="*/ 603169 w 7044883"/>
                    <a:gd name="connsiteY1571" fmla="*/ 713958 h 2867451"/>
                    <a:gd name="connsiteX1572" fmla="*/ 595510 w 7044883"/>
                    <a:gd name="connsiteY1572" fmla="*/ 709789 h 2867451"/>
                    <a:gd name="connsiteX1573" fmla="*/ 596447 w 7044883"/>
                    <a:gd name="connsiteY1573" fmla="*/ 701802 h 2867451"/>
                    <a:gd name="connsiteX1574" fmla="*/ 604844 w 7044883"/>
                    <a:gd name="connsiteY1574" fmla="*/ 692069 h 2867451"/>
                    <a:gd name="connsiteX1575" fmla="*/ 607573 w 7044883"/>
                    <a:gd name="connsiteY1575" fmla="*/ 686694 h 2867451"/>
                    <a:gd name="connsiteX1576" fmla="*/ 594702 w 7044883"/>
                    <a:gd name="connsiteY1576" fmla="*/ 693369 h 2867451"/>
                    <a:gd name="connsiteX1577" fmla="*/ 603685 w 7044883"/>
                    <a:gd name="connsiteY1577" fmla="*/ 678250 h 2867451"/>
                    <a:gd name="connsiteX1578" fmla="*/ 605980 w 7044883"/>
                    <a:gd name="connsiteY1578" fmla="*/ 671141 h 2867451"/>
                    <a:gd name="connsiteX1579" fmla="*/ 613604 w 7044883"/>
                    <a:gd name="connsiteY1579" fmla="*/ 665695 h 2867451"/>
                    <a:gd name="connsiteX1580" fmla="*/ 651925 w 7044883"/>
                    <a:gd name="connsiteY1580" fmla="*/ 649392 h 2867451"/>
                    <a:gd name="connsiteX1581" fmla="*/ 665194 w 7044883"/>
                    <a:gd name="connsiteY1581" fmla="*/ 640515 h 2867451"/>
                    <a:gd name="connsiteX1582" fmla="*/ 683686 w 7044883"/>
                    <a:gd name="connsiteY1582" fmla="*/ 629401 h 2867451"/>
                    <a:gd name="connsiteX1583" fmla="*/ 691802 w 7044883"/>
                    <a:gd name="connsiteY1583" fmla="*/ 608683 h 2867451"/>
                    <a:gd name="connsiteX1584" fmla="*/ 700399 w 7044883"/>
                    <a:gd name="connsiteY1584" fmla="*/ 587146 h 2867451"/>
                    <a:gd name="connsiteX1585" fmla="*/ 708187 w 7044883"/>
                    <a:gd name="connsiteY1585" fmla="*/ 565433 h 2867451"/>
                    <a:gd name="connsiteX1586" fmla="*/ 713316 w 7044883"/>
                    <a:gd name="connsiteY1586" fmla="*/ 550536 h 2867451"/>
                    <a:gd name="connsiteX1587" fmla="*/ 720472 w 7044883"/>
                    <a:gd name="connsiteY1587" fmla="*/ 532968 h 2867451"/>
                    <a:gd name="connsiteX1588" fmla="*/ 728530 w 7044883"/>
                    <a:gd name="connsiteY1588" fmla="*/ 520132 h 2867451"/>
                    <a:gd name="connsiteX1589" fmla="*/ 741916 w 7044883"/>
                    <a:gd name="connsiteY1589" fmla="*/ 501921 h 2867451"/>
                    <a:gd name="connsiteX1590" fmla="*/ 756918 w 7044883"/>
                    <a:gd name="connsiteY1590" fmla="*/ 505997 h 2867451"/>
                    <a:gd name="connsiteX1591" fmla="*/ 746928 w 7044883"/>
                    <a:gd name="connsiteY1591" fmla="*/ 510494 h 2867451"/>
                    <a:gd name="connsiteX1592" fmla="*/ 760244 w 7044883"/>
                    <a:gd name="connsiteY1592" fmla="*/ 511278 h 2867451"/>
                    <a:gd name="connsiteX1593" fmla="*/ 823124 w 7044883"/>
                    <a:gd name="connsiteY1593" fmla="*/ 508760 h 2867451"/>
                    <a:gd name="connsiteX1594" fmla="*/ 874561 w 7044883"/>
                    <a:gd name="connsiteY1594" fmla="*/ 515928 h 2867451"/>
                    <a:gd name="connsiteX1595" fmla="*/ 864559 w 7044883"/>
                    <a:gd name="connsiteY1595" fmla="*/ 518083 h 2867451"/>
                    <a:gd name="connsiteX1596" fmla="*/ 873226 w 7044883"/>
                    <a:gd name="connsiteY1596" fmla="*/ 518282 h 2867451"/>
                    <a:gd name="connsiteX1597" fmla="*/ 888732 w 7044883"/>
                    <a:gd name="connsiteY1597" fmla="*/ 519488 h 2867451"/>
                    <a:gd name="connsiteX1598" fmla="*/ 903055 w 7044883"/>
                    <a:gd name="connsiteY1598" fmla="*/ 522182 h 2867451"/>
                    <a:gd name="connsiteX1599" fmla="*/ 917788 w 7044883"/>
                    <a:gd name="connsiteY1599" fmla="*/ 528225 h 2867451"/>
                    <a:gd name="connsiteX1600" fmla="*/ 911757 w 7044883"/>
                    <a:gd name="connsiteY1600" fmla="*/ 528904 h 2867451"/>
                    <a:gd name="connsiteX1601" fmla="*/ 915727 w 7044883"/>
                    <a:gd name="connsiteY1601" fmla="*/ 532500 h 2867451"/>
                    <a:gd name="connsiteX1602" fmla="*/ 912588 w 7044883"/>
                    <a:gd name="connsiteY1602" fmla="*/ 537009 h 2867451"/>
                    <a:gd name="connsiteX1603" fmla="*/ 916535 w 7044883"/>
                    <a:gd name="connsiteY1603" fmla="*/ 545757 h 2867451"/>
                    <a:gd name="connsiteX1604" fmla="*/ 915633 w 7044883"/>
                    <a:gd name="connsiteY1604" fmla="*/ 552339 h 2867451"/>
                    <a:gd name="connsiteX1605" fmla="*/ 920189 w 7044883"/>
                    <a:gd name="connsiteY1605" fmla="*/ 569075 h 2867451"/>
                    <a:gd name="connsiteX1606" fmla="*/ 915703 w 7044883"/>
                    <a:gd name="connsiteY1606" fmla="*/ 574462 h 2867451"/>
                    <a:gd name="connsiteX1607" fmla="*/ 911792 w 7044883"/>
                    <a:gd name="connsiteY1607" fmla="*/ 583035 h 2867451"/>
                    <a:gd name="connsiteX1608" fmla="*/ 903324 w 7044883"/>
                    <a:gd name="connsiteY1608" fmla="*/ 599946 h 2867451"/>
                    <a:gd name="connsiteX1609" fmla="*/ 890828 w 7044883"/>
                    <a:gd name="connsiteY1609" fmla="*/ 615054 h 2867451"/>
                    <a:gd name="connsiteX1610" fmla="*/ 891554 w 7044883"/>
                    <a:gd name="connsiteY1610" fmla="*/ 626356 h 2867451"/>
                    <a:gd name="connsiteX1611" fmla="*/ 885991 w 7044883"/>
                    <a:gd name="connsiteY1611" fmla="*/ 631790 h 2867451"/>
                    <a:gd name="connsiteX1612" fmla="*/ 876762 w 7044883"/>
                    <a:gd name="connsiteY1612" fmla="*/ 638911 h 2867451"/>
                    <a:gd name="connsiteX1613" fmla="*/ 870181 w 7044883"/>
                    <a:gd name="connsiteY1613" fmla="*/ 640644 h 2867451"/>
                    <a:gd name="connsiteX1614" fmla="*/ 897141 w 7044883"/>
                    <a:gd name="connsiteY1614" fmla="*/ 675380 h 2867451"/>
                    <a:gd name="connsiteX1615" fmla="*/ 907330 w 7044883"/>
                    <a:gd name="connsiteY1615" fmla="*/ 681599 h 2867451"/>
                    <a:gd name="connsiteX1616" fmla="*/ 906603 w 7044883"/>
                    <a:gd name="connsiteY1616" fmla="*/ 691050 h 2867451"/>
                    <a:gd name="connsiteX1617" fmla="*/ 913724 w 7044883"/>
                    <a:gd name="connsiteY1617" fmla="*/ 701275 h 2867451"/>
                    <a:gd name="connsiteX1618" fmla="*/ 915329 w 7044883"/>
                    <a:gd name="connsiteY1618" fmla="*/ 716054 h 2867451"/>
                    <a:gd name="connsiteX1619" fmla="*/ 909836 w 7044883"/>
                    <a:gd name="connsiteY1619" fmla="*/ 730940 h 2867451"/>
                    <a:gd name="connsiteX1620" fmla="*/ 914368 w 7044883"/>
                    <a:gd name="connsiteY1620" fmla="*/ 741211 h 2867451"/>
                    <a:gd name="connsiteX1621" fmla="*/ 900150 w 7044883"/>
                    <a:gd name="connsiteY1621" fmla="*/ 758005 h 2867451"/>
                    <a:gd name="connsiteX1622" fmla="*/ 905128 w 7044883"/>
                    <a:gd name="connsiteY1622" fmla="*/ 776416 h 2867451"/>
                    <a:gd name="connsiteX1623" fmla="*/ 901368 w 7044883"/>
                    <a:gd name="connsiteY1623" fmla="*/ 787296 h 2867451"/>
                    <a:gd name="connsiteX1624" fmla="*/ 909004 w 7044883"/>
                    <a:gd name="connsiteY1624" fmla="*/ 808107 h 2867451"/>
                    <a:gd name="connsiteX1625" fmla="*/ 900291 w 7044883"/>
                    <a:gd name="connsiteY1625" fmla="*/ 821283 h 2867451"/>
                    <a:gd name="connsiteX1626" fmla="*/ 899577 w 7044883"/>
                    <a:gd name="connsiteY1626" fmla="*/ 842773 h 2867451"/>
                    <a:gd name="connsiteX1627" fmla="*/ 904449 w 7044883"/>
                    <a:gd name="connsiteY1627" fmla="*/ 857331 h 2867451"/>
                    <a:gd name="connsiteX1628" fmla="*/ 901778 w 7044883"/>
                    <a:gd name="connsiteY1628" fmla="*/ 874664 h 2867451"/>
                    <a:gd name="connsiteX1629" fmla="*/ 910644 w 7044883"/>
                    <a:gd name="connsiteY1629" fmla="*/ 893519 h 2867451"/>
                    <a:gd name="connsiteX1630" fmla="*/ 939700 w 7044883"/>
                    <a:gd name="connsiteY1630" fmla="*/ 909740 h 2867451"/>
                    <a:gd name="connsiteX1631" fmla="*/ 959996 w 7044883"/>
                    <a:gd name="connsiteY1631" fmla="*/ 927647 h 2867451"/>
                    <a:gd name="connsiteX1632" fmla="*/ 954679 w 7044883"/>
                    <a:gd name="connsiteY1632" fmla="*/ 927647 h 2867451"/>
                    <a:gd name="connsiteX1633" fmla="*/ 948133 w 7044883"/>
                    <a:gd name="connsiteY1633" fmla="*/ 936899 h 2867451"/>
                    <a:gd name="connsiteX1634" fmla="*/ 937721 w 7044883"/>
                    <a:gd name="connsiteY1634" fmla="*/ 946537 h 2867451"/>
                    <a:gd name="connsiteX1635" fmla="*/ 931912 w 7044883"/>
                    <a:gd name="connsiteY1635" fmla="*/ 950906 h 2867451"/>
                    <a:gd name="connsiteX1636" fmla="*/ 932896 w 7044883"/>
                    <a:gd name="connsiteY1636" fmla="*/ 954759 h 2867451"/>
                    <a:gd name="connsiteX1637" fmla="*/ 930272 w 7044883"/>
                    <a:gd name="connsiteY1637" fmla="*/ 961200 h 2867451"/>
                    <a:gd name="connsiteX1638" fmla="*/ 936714 w 7044883"/>
                    <a:gd name="connsiteY1638" fmla="*/ 984003 h 2867451"/>
                    <a:gd name="connsiteX1639" fmla="*/ 930647 w 7044883"/>
                    <a:gd name="connsiteY1639" fmla="*/ 990678 h 2867451"/>
                    <a:gd name="connsiteX1640" fmla="*/ 932217 w 7044883"/>
                    <a:gd name="connsiteY1640" fmla="*/ 998923 h 2867451"/>
                    <a:gd name="connsiteX1641" fmla="*/ 923316 w 7044883"/>
                    <a:gd name="connsiteY1641" fmla="*/ 998173 h 2867451"/>
                    <a:gd name="connsiteX1642" fmla="*/ 918549 w 7044883"/>
                    <a:gd name="connsiteY1642" fmla="*/ 1003830 h 2867451"/>
                    <a:gd name="connsiteX1643" fmla="*/ 905994 w 7044883"/>
                    <a:gd name="connsiteY1643" fmla="*/ 1004662 h 2867451"/>
                    <a:gd name="connsiteX1644" fmla="*/ 901087 w 7044883"/>
                    <a:gd name="connsiteY1644" fmla="*/ 1014663 h 2867451"/>
                    <a:gd name="connsiteX1645" fmla="*/ 894669 w 7044883"/>
                    <a:gd name="connsiteY1645" fmla="*/ 1019617 h 2867451"/>
                    <a:gd name="connsiteX1646" fmla="*/ 897773 w 7044883"/>
                    <a:gd name="connsiteY1646" fmla="*/ 1024665 h 2867451"/>
                    <a:gd name="connsiteX1647" fmla="*/ 876610 w 7044883"/>
                    <a:gd name="connsiteY1647" fmla="*/ 1035358 h 2867451"/>
                    <a:gd name="connsiteX1648" fmla="*/ 885616 w 7044883"/>
                    <a:gd name="connsiteY1648" fmla="*/ 1041775 h 2867451"/>
                    <a:gd name="connsiteX1649" fmla="*/ 880768 w 7044883"/>
                    <a:gd name="connsiteY1649" fmla="*/ 1041799 h 2867451"/>
                    <a:gd name="connsiteX1650" fmla="*/ 881330 w 7044883"/>
                    <a:gd name="connsiteY1650" fmla="*/ 1045956 h 2867451"/>
                    <a:gd name="connsiteX1651" fmla="*/ 869572 w 7044883"/>
                    <a:gd name="connsiteY1651" fmla="*/ 1048369 h 2867451"/>
                    <a:gd name="connsiteX1652" fmla="*/ 874865 w 7044883"/>
                    <a:gd name="connsiteY1652" fmla="*/ 1050220 h 2867451"/>
                    <a:gd name="connsiteX1653" fmla="*/ 869536 w 7044883"/>
                    <a:gd name="connsiteY1653" fmla="*/ 1058324 h 2867451"/>
                    <a:gd name="connsiteX1654" fmla="*/ 861362 w 7044883"/>
                    <a:gd name="connsiteY1654" fmla="*/ 1066815 h 2867451"/>
                    <a:gd name="connsiteX1655" fmla="*/ 855307 w 7044883"/>
                    <a:gd name="connsiteY1655" fmla="*/ 1065023 h 2867451"/>
                    <a:gd name="connsiteX1656" fmla="*/ 849147 w 7044883"/>
                    <a:gd name="connsiteY1656" fmla="*/ 1067096 h 2867451"/>
                    <a:gd name="connsiteX1657" fmla="*/ 837681 w 7044883"/>
                    <a:gd name="connsiteY1657" fmla="*/ 1064098 h 2867451"/>
                    <a:gd name="connsiteX1658" fmla="*/ 845598 w 7044883"/>
                    <a:gd name="connsiteY1658" fmla="*/ 1068290 h 2867451"/>
                    <a:gd name="connsiteX1659" fmla="*/ 842377 w 7044883"/>
                    <a:gd name="connsiteY1659" fmla="*/ 1068290 h 2867451"/>
                    <a:gd name="connsiteX1660" fmla="*/ 848807 w 7044883"/>
                    <a:gd name="connsiteY1660" fmla="*/ 1070680 h 2867451"/>
                    <a:gd name="connsiteX1661" fmla="*/ 850611 w 7044883"/>
                    <a:gd name="connsiteY1661" fmla="*/ 1079112 h 2867451"/>
                    <a:gd name="connsiteX1662" fmla="*/ 848983 w 7044883"/>
                    <a:gd name="connsiteY1662" fmla="*/ 1080787 h 2867451"/>
                    <a:gd name="connsiteX1663" fmla="*/ 852051 w 7044883"/>
                    <a:gd name="connsiteY1663" fmla="*/ 1089910 h 2867451"/>
                    <a:gd name="connsiteX1664" fmla="*/ 842038 w 7044883"/>
                    <a:gd name="connsiteY1664" fmla="*/ 1087474 h 2867451"/>
                    <a:gd name="connsiteX1665" fmla="*/ 830572 w 7044883"/>
                    <a:gd name="connsiteY1665" fmla="*/ 1089910 h 2867451"/>
                    <a:gd name="connsiteX1666" fmla="*/ 834133 w 7044883"/>
                    <a:gd name="connsiteY1666" fmla="*/ 1092838 h 2867451"/>
                    <a:gd name="connsiteX1667" fmla="*/ 828417 w 7044883"/>
                    <a:gd name="connsiteY1667" fmla="*/ 1096422 h 2867451"/>
                    <a:gd name="connsiteX1668" fmla="*/ 818790 w 7044883"/>
                    <a:gd name="connsiteY1668" fmla="*/ 1096422 h 2867451"/>
                    <a:gd name="connsiteX1669" fmla="*/ 805732 w 7044883"/>
                    <a:gd name="connsiteY1669" fmla="*/ 1102406 h 2867451"/>
                    <a:gd name="connsiteX1670" fmla="*/ 785881 w 7044883"/>
                    <a:gd name="connsiteY1670" fmla="*/ 1090882 h 2867451"/>
                    <a:gd name="connsiteX1671" fmla="*/ 800017 w 7044883"/>
                    <a:gd name="connsiteY1671" fmla="*/ 1087275 h 2867451"/>
                    <a:gd name="connsiteX1672" fmla="*/ 808449 w 7044883"/>
                    <a:gd name="connsiteY1672" fmla="*/ 1081267 h 2867451"/>
                    <a:gd name="connsiteX1673" fmla="*/ 797686 w 7044883"/>
                    <a:gd name="connsiteY1673" fmla="*/ 1082649 h 2867451"/>
                    <a:gd name="connsiteX1674" fmla="*/ 801961 w 7044883"/>
                    <a:gd name="connsiteY1674" fmla="*/ 1082649 h 2867451"/>
                    <a:gd name="connsiteX1675" fmla="*/ 794126 w 7044883"/>
                    <a:gd name="connsiteY1675" fmla="*/ 1084499 h 2867451"/>
                    <a:gd name="connsiteX1676" fmla="*/ 798049 w 7044883"/>
                    <a:gd name="connsiteY1676" fmla="*/ 1085694 h 2867451"/>
                    <a:gd name="connsiteX1677" fmla="*/ 779112 w 7044883"/>
                    <a:gd name="connsiteY1677" fmla="*/ 1082660 h 2867451"/>
                    <a:gd name="connsiteX1678" fmla="*/ 763629 w 7044883"/>
                    <a:gd name="connsiteY1678" fmla="*/ 1072214 h 2867451"/>
                    <a:gd name="connsiteX1679" fmla="*/ 758757 w 7044883"/>
                    <a:gd name="connsiteY1679" fmla="*/ 1076442 h 2867451"/>
                    <a:gd name="connsiteX1680" fmla="*/ 747772 w 7044883"/>
                    <a:gd name="connsiteY1680" fmla="*/ 1074978 h 2867451"/>
                    <a:gd name="connsiteX1681" fmla="*/ 750899 w 7044883"/>
                    <a:gd name="connsiteY1681" fmla="*/ 1077870 h 2867451"/>
                    <a:gd name="connsiteX1682" fmla="*/ 735147 w 7044883"/>
                    <a:gd name="connsiteY1682" fmla="*/ 1075692 h 2867451"/>
                    <a:gd name="connsiteX1683" fmla="*/ 715823 w 7044883"/>
                    <a:gd name="connsiteY1683" fmla="*/ 1076734 h 2867451"/>
                    <a:gd name="connsiteX1684" fmla="*/ 722533 w 7044883"/>
                    <a:gd name="connsiteY1684" fmla="*/ 1079721 h 2867451"/>
                    <a:gd name="connsiteX1685" fmla="*/ 723119 w 7044883"/>
                    <a:gd name="connsiteY1685" fmla="*/ 1088095 h 2867451"/>
                    <a:gd name="connsiteX1686" fmla="*/ 737817 w 7044883"/>
                    <a:gd name="connsiteY1686" fmla="*/ 1102605 h 2867451"/>
                    <a:gd name="connsiteX1687" fmla="*/ 761345 w 7044883"/>
                    <a:gd name="connsiteY1687" fmla="*/ 1108613 h 2867451"/>
                    <a:gd name="connsiteX1688" fmla="*/ 786349 w 7044883"/>
                    <a:gd name="connsiteY1688" fmla="*/ 1116952 h 2867451"/>
                    <a:gd name="connsiteX1689" fmla="*/ 846921 w 7044883"/>
                    <a:gd name="connsiteY1689" fmla="*/ 1117151 h 2867451"/>
                    <a:gd name="connsiteX1690" fmla="*/ 858867 w 7044883"/>
                    <a:gd name="connsiteY1690" fmla="*/ 1119891 h 2867451"/>
                    <a:gd name="connsiteX1691" fmla="*/ 865414 w 7044883"/>
                    <a:gd name="connsiteY1691" fmla="*/ 1126825 h 2867451"/>
                    <a:gd name="connsiteX1692" fmla="*/ 876821 w 7044883"/>
                    <a:gd name="connsiteY1692" fmla="*/ 1126204 h 2867451"/>
                    <a:gd name="connsiteX1693" fmla="*/ 893779 w 7044883"/>
                    <a:gd name="connsiteY1693" fmla="*/ 1117573 h 2867451"/>
                    <a:gd name="connsiteX1694" fmla="*/ 895665 w 7044883"/>
                    <a:gd name="connsiteY1694" fmla="*/ 1103015 h 2867451"/>
                    <a:gd name="connsiteX1695" fmla="*/ 889224 w 7044883"/>
                    <a:gd name="connsiteY1695" fmla="*/ 1103659 h 2867451"/>
                    <a:gd name="connsiteX1696" fmla="*/ 901474 w 7044883"/>
                    <a:gd name="connsiteY1696" fmla="*/ 1093224 h 2867451"/>
                    <a:gd name="connsiteX1697" fmla="*/ 923328 w 7044883"/>
                    <a:gd name="connsiteY1697" fmla="*/ 1090074 h 2867451"/>
                    <a:gd name="connsiteX1698" fmla="*/ 926045 w 7044883"/>
                    <a:gd name="connsiteY1698" fmla="*/ 1085705 h 2867451"/>
                    <a:gd name="connsiteX1699" fmla="*/ 925775 w 7044883"/>
                    <a:gd name="connsiteY1699" fmla="*/ 1083890 h 2867451"/>
                    <a:gd name="connsiteX1700" fmla="*/ 930905 w 7044883"/>
                    <a:gd name="connsiteY1700" fmla="*/ 1082040 h 2867451"/>
                    <a:gd name="connsiteX1701" fmla="*/ 954340 w 7044883"/>
                    <a:gd name="connsiteY1701" fmla="*/ 1073596 h 2867451"/>
                    <a:gd name="connsiteX1702" fmla="*/ 959153 w 7044883"/>
                    <a:gd name="connsiteY1702" fmla="*/ 1066346 h 2867451"/>
                    <a:gd name="connsiteX1703" fmla="*/ 969377 w 7044883"/>
                    <a:gd name="connsiteY1703" fmla="*/ 1061744 h 2867451"/>
                    <a:gd name="connsiteX1704" fmla="*/ 972984 w 7044883"/>
                    <a:gd name="connsiteY1704" fmla="*/ 1049107 h 2867451"/>
                    <a:gd name="connsiteX1705" fmla="*/ 976018 w 7044883"/>
                    <a:gd name="connsiteY1705" fmla="*/ 1040124 h 2867451"/>
                    <a:gd name="connsiteX1706" fmla="*/ 976556 w 7044883"/>
                    <a:gd name="connsiteY1706" fmla="*/ 1030017 h 2867451"/>
                    <a:gd name="connsiteX1707" fmla="*/ 999956 w 7044883"/>
                    <a:gd name="connsiteY1707" fmla="*/ 1010717 h 2867451"/>
                    <a:gd name="connsiteX1708" fmla="*/ 1018613 w 7044883"/>
                    <a:gd name="connsiteY1708" fmla="*/ 994274 h 2867451"/>
                    <a:gd name="connsiteX1709" fmla="*/ 1019549 w 7044883"/>
                    <a:gd name="connsiteY1709" fmla="*/ 969761 h 2867451"/>
                    <a:gd name="connsiteX1710" fmla="*/ 1009103 w 7044883"/>
                    <a:gd name="connsiteY1710" fmla="*/ 948083 h 2867451"/>
                    <a:gd name="connsiteX1711" fmla="*/ 998059 w 7044883"/>
                    <a:gd name="connsiteY1711" fmla="*/ 939920 h 2867451"/>
                    <a:gd name="connsiteX1712" fmla="*/ 999300 w 7044883"/>
                    <a:gd name="connsiteY1712" fmla="*/ 931020 h 2867451"/>
                    <a:gd name="connsiteX1713" fmla="*/ 1013741 w 7044883"/>
                    <a:gd name="connsiteY1713" fmla="*/ 900698 h 2867451"/>
                    <a:gd name="connsiteX1714" fmla="*/ 1070717 w 7044883"/>
                    <a:gd name="connsiteY1714" fmla="*/ 886902 h 2867451"/>
                    <a:gd name="connsiteX1715" fmla="*/ 1118770 w 7044883"/>
                    <a:gd name="connsiteY1715" fmla="*/ 892325 h 2867451"/>
                    <a:gd name="connsiteX1716" fmla="*/ 1115104 w 7044883"/>
                    <a:gd name="connsiteY1716" fmla="*/ 898532 h 2867451"/>
                    <a:gd name="connsiteX1717" fmla="*/ 1125176 w 7044883"/>
                    <a:gd name="connsiteY1717" fmla="*/ 906519 h 2867451"/>
                    <a:gd name="connsiteX1718" fmla="*/ 1142696 w 7044883"/>
                    <a:gd name="connsiteY1718" fmla="*/ 919132 h 2867451"/>
                    <a:gd name="connsiteX1719" fmla="*/ 1140166 w 7044883"/>
                    <a:gd name="connsiteY1719" fmla="*/ 917961 h 2867451"/>
                    <a:gd name="connsiteX1720" fmla="*/ 1151972 w 7044883"/>
                    <a:gd name="connsiteY1720" fmla="*/ 924157 h 2867451"/>
                    <a:gd name="connsiteX1721" fmla="*/ 1148271 w 7044883"/>
                    <a:gd name="connsiteY1721" fmla="*/ 930821 h 2867451"/>
                    <a:gd name="connsiteX1722" fmla="*/ 1148950 w 7044883"/>
                    <a:gd name="connsiteY1722" fmla="*/ 939218 h 2867451"/>
                    <a:gd name="connsiteX1723" fmla="*/ 1143516 w 7044883"/>
                    <a:gd name="connsiteY1723" fmla="*/ 944230 h 2867451"/>
                    <a:gd name="connsiteX1724" fmla="*/ 1151269 w 7044883"/>
                    <a:gd name="connsiteY1724" fmla="*/ 956071 h 2867451"/>
                    <a:gd name="connsiteX1725" fmla="*/ 1146315 w 7044883"/>
                    <a:gd name="connsiteY1725" fmla="*/ 962430 h 2867451"/>
                    <a:gd name="connsiteX1726" fmla="*/ 1145038 w 7044883"/>
                    <a:gd name="connsiteY1726" fmla="*/ 972584 h 2867451"/>
                    <a:gd name="connsiteX1727" fmla="*/ 1150648 w 7044883"/>
                    <a:gd name="connsiteY1727" fmla="*/ 980255 h 2867451"/>
                    <a:gd name="connsiteX1728" fmla="*/ 1144219 w 7044883"/>
                    <a:gd name="connsiteY1728" fmla="*/ 986111 h 2867451"/>
                    <a:gd name="connsiteX1729" fmla="*/ 1138820 w 7044883"/>
                    <a:gd name="connsiteY1729" fmla="*/ 987024 h 2867451"/>
                    <a:gd name="connsiteX1730" fmla="*/ 1155427 w 7044883"/>
                    <a:gd name="connsiteY1730" fmla="*/ 998935 h 2867451"/>
                    <a:gd name="connsiteX1731" fmla="*/ 1170242 w 7044883"/>
                    <a:gd name="connsiteY1731" fmla="*/ 1005470 h 2867451"/>
                    <a:gd name="connsiteX1732" fmla="*/ 1171706 w 7044883"/>
                    <a:gd name="connsiteY1732" fmla="*/ 1011630 h 2867451"/>
                    <a:gd name="connsiteX1733" fmla="*/ 1181590 w 7044883"/>
                    <a:gd name="connsiteY1733" fmla="*/ 1010517 h 2867451"/>
                    <a:gd name="connsiteX1734" fmla="*/ 1189589 w 7044883"/>
                    <a:gd name="connsiteY1734" fmla="*/ 1011981 h 2867451"/>
                    <a:gd name="connsiteX1735" fmla="*/ 1199942 w 7044883"/>
                    <a:gd name="connsiteY1735" fmla="*/ 1008515 h 2867451"/>
                    <a:gd name="connsiteX1736" fmla="*/ 1213094 w 7044883"/>
                    <a:gd name="connsiteY1736" fmla="*/ 1010798 h 2867451"/>
                    <a:gd name="connsiteX1737" fmla="*/ 1227616 w 7044883"/>
                    <a:gd name="connsiteY1737" fmla="*/ 1007999 h 2867451"/>
                    <a:gd name="connsiteX1738" fmla="*/ 1242045 w 7044883"/>
                    <a:gd name="connsiteY1738" fmla="*/ 1009592 h 2867451"/>
                    <a:gd name="connsiteX1739" fmla="*/ 1232430 w 7044883"/>
                    <a:gd name="connsiteY1739" fmla="*/ 1002249 h 2867451"/>
                    <a:gd name="connsiteX1740" fmla="*/ 1211314 w 7044883"/>
                    <a:gd name="connsiteY1740" fmla="*/ 1004076 h 2867451"/>
                    <a:gd name="connsiteX1741" fmla="*/ 1209136 w 7044883"/>
                    <a:gd name="connsiteY1741" fmla="*/ 998045 h 2867451"/>
                    <a:gd name="connsiteX1742" fmla="*/ 1208023 w 7044883"/>
                    <a:gd name="connsiteY1742" fmla="*/ 1003654 h 2867451"/>
                    <a:gd name="connsiteX1743" fmla="*/ 1197330 w 7044883"/>
                    <a:gd name="connsiteY1743" fmla="*/ 1000926 h 2867451"/>
                    <a:gd name="connsiteX1744" fmla="*/ 1179845 w 7044883"/>
                    <a:gd name="connsiteY1744" fmla="*/ 998911 h 2867451"/>
                    <a:gd name="connsiteX1745" fmla="*/ 1184483 w 7044883"/>
                    <a:gd name="connsiteY1745" fmla="*/ 995562 h 2867451"/>
                    <a:gd name="connsiteX1746" fmla="*/ 1175453 w 7044883"/>
                    <a:gd name="connsiteY1746" fmla="*/ 991088 h 2867451"/>
                    <a:gd name="connsiteX1747" fmla="*/ 1168063 w 7044883"/>
                    <a:gd name="connsiteY1747" fmla="*/ 995000 h 2867451"/>
                    <a:gd name="connsiteX1748" fmla="*/ 1159408 w 7044883"/>
                    <a:gd name="connsiteY1748" fmla="*/ 991170 h 2867451"/>
                    <a:gd name="connsiteX1749" fmla="*/ 1165580 w 7044883"/>
                    <a:gd name="connsiteY1749" fmla="*/ 975933 h 2867451"/>
                    <a:gd name="connsiteX1750" fmla="*/ 1161540 w 7044883"/>
                    <a:gd name="connsiteY1750" fmla="*/ 962711 h 2867451"/>
                    <a:gd name="connsiteX1751" fmla="*/ 1191018 w 7044883"/>
                    <a:gd name="connsiteY1751" fmla="*/ 949044 h 2867451"/>
                    <a:gd name="connsiteX1752" fmla="*/ 1185022 w 7044883"/>
                    <a:gd name="connsiteY1752" fmla="*/ 935458 h 2867451"/>
                    <a:gd name="connsiteX1753" fmla="*/ 1184424 w 7044883"/>
                    <a:gd name="connsiteY1753" fmla="*/ 927705 h 2867451"/>
                    <a:gd name="connsiteX1754" fmla="*/ 1176987 w 7044883"/>
                    <a:gd name="connsiteY1754" fmla="*/ 924836 h 2867451"/>
                    <a:gd name="connsiteX1755" fmla="*/ 1166365 w 7044883"/>
                    <a:gd name="connsiteY1755" fmla="*/ 888003 h 2867451"/>
                    <a:gd name="connsiteX1756" fmla="*/ 1156305 w 7044883"/>
                    <a:gd name="connsiteY1756" fmla="*/ 887500 h 2867451"/>
                    <a:gd name="connsiteX1757" fmla="*/ 1149805 w 7044883"/>
                    <a:gd name="connsiteY1757" fmla="*/ 882674 h 2867451"/>
                    <a:gd name="connsiteX1758" fmla="*/ 1130376 w 7044883"/>
                    <a:gd name="connsiteY1758" fmla="*/ 879395 h 2867451"/>
                    <a:gd name="connsiteX1759" fmla="*/ 1122201 w 7044883"/>
                    <a:gd name="connsiteY1759" fmla="*/ 869323 h 2867451"/>
                    <a:gd name="connsiteX1760" fmla="*/ 1113160 w 7044883"/>
                    <a:gd name="connsiteY1760" fmla="*/ 868187 h 2867451"/>
                    <a:gd name="connsiteX1761" fmla="*/ 1095346 w 7044883"/>
                    <a:gd name="connsiteY1761" fmla="*/ 863421 h 2867451"/>
                    <a:gd name="connsiteX1762" fmla="*/ 1073387 w 7044883"/>
                    <a:gd name="connsiteY1762" fmla="*/ 859298 h 2867451"/>
                    <a:gd name="connsiteX1763" fmla="*/ 1053525 w 7044883"/>
                    <a:gd name="connsiteY1763" fmla="*/ 858244 h 2867451"/>
                    <a:gd name="connsiteX1764" fmla="*/ 1035477 w 7044883"/>
                    <a:gd name="connsiteY1764" fmla="*/ 868597 h 2867451"/>
                    <a:gd name="connsiteX1765" fmla="*/ 1038698 w 7044883"/>
                    <a:gd name="connsiteY1765" fmla="*/ 869839 h 2867451"/>
                    <a:gd name="connsiteX1766" fmla="*/ 1003950 w 7044883"/>
                    <a:gd name="connsiteY1766" fmla="*/ 868433 h 2867451"/>
                    <a:gd name="connsiteX1767" fmla="*/ 967129 w 7044883"/>
                    <a:gd name="connsiteY1767" fmla="*/ 867040 h 2867451"/>
                    <a:gd name="connsiteX1768" fmla="*/ 973172 w 7044883"/>
                    <a:gd name="connsiteY1768" fmla="*/ 843183 h 2867451"/>
                    <a:gd name="connsiteX1769" fmla="*/ 953660 w 7044883"/>
                    <a:gd name="connsiteY1769" fmla="*/ 813412 h 2867451"/>
                    <a:gd name="connsiteX1770" fmla="*/ 960699 w 7044883"/>
                    <a:gd name="connsiteY1770" fmla="*/ 801549 h 2867451"/>
                    <a:gd name="connsiteX1771" fmla="*/ 963287 w 7044883"/>
                    <a:gd name="connsiteY1771" fmla="*/ 791278 h 2867451"/>
                    <a:gd name="connsiteX1772" fmla="*/ 966227 w 7044883"/>
                    <a:gd name="connsiteY1772" fmla="*/ 781065 h 2867451"/>
                    <a:gd name="connsiteX1773" fmla="*/ 963943 w 7044883"/>
                    <a:gd name="connsiteY1773" fmla="*/ 772469 h 2867451"/>
                    <a:gd name="connsiteX1774" fmla="*/ 978629 w 7044883"/>
                    <a:gd name="connsiteY1774" fmla="*/ 760137 h 2867451"/>
                    <a:gd name="connsiteX1775" fmla="*/ 982178 w 7044883"/>
                    <a:gd name="connsiteY1775" fmla="*/ 752969 h 2867451"/>
                    <a:gd name="connsiteX1776" fmla="*/ 995787 w 7044883"/>
                    <a:gd name="connsiteY1776" fmla="*/ 731151 h 2867451"/>
                    <a:gd name="connsiteX1777" fmla="*/ 974729 w 7044883"/>
                    <a:gd name="connsiteY1777" fmla="*/ 707880 h 2867451"/>
                    <a:gd name="connsiteX1778" fmla="*/ 973031 w 7044883"/>
                    <a:gd name="connsiteY1778" fmla="*/ 696719 h 2867451"/>
                    <a:gd name="connsiteX1779" fmla="*/ 962456 w 7044883"/>
                    <a:gd name="connsiteY1779" fmla="*/ 686295 h 2867451"/>
                    <a:gd name="connsiteX1780" fmla="*/ 949772 w 7044883"/>
                    <a:gd name="connsiteY1780" fmla="*/ 665730 h 2867451"/>
                    <a:gd name="connsiteX1781" fmla="*/ 928773 w 7044883"/>
                    <a:gd name="connsiteY1781" fmla="*/ 651594 h 2867451"/>
                    <a:gd name="connsiteX1782" fmla="*/ 952372 w 7044883"/>
                    <a:gd name="connsiteY1782" fmla="*/ 630314 h 2867451"/>
                    <a:gd name="connsiteX1783" fmla="*/ 954515 w 7044883"/>
                    <a:gd name="connsiteY1783" fmla="*/ 614855 h 2867451"/>
                    <a:gd name="connsiteX1784" fmla="*/ 994873 w 7044883"/>
                    <a:gd name="connsiteY1784" fmla="*/ 602078 h 2867451"/>
                    <a:gd name="connsiteX1785" fmla="*/ 1030031 w 7044883"/>
                    <a:gd name="connsiteY1785" fmla="*/ 584921 h 2867451"/>
                    <a:gd name="connsiteX1786" fmla="*/ 1034154 w 7044883"/>
                    <a:gd name="connsiteY1786" fmla="*/ 546472 h 2867451"/>
                    <a:gd name="connsiteX1787" fmla="*/ 1032619 w 7044883"/>
                    <a:gd name="connsiteY1787" fmla="*/ 535603 h 2867451"/>
                    <a:gd name="connsiteX1788" fmla="*/ 1017699 w 7044883"/>
                    <a:gd name="connsiteY1788" fmla="*/ 518622 h 2867451"/>
                    <a:gd name="connsiteX1789" fmla="*/ 1031120 w 7044883"/>
                    <a:gd name="connsiteY1789" fmla="*/ 511431 h 2867451"/>
                    <a:gd name="connsiteX1790" fmla="*/ 1044027 w 7044883"/>
                    <a:gd name="connsiteY1790" fmla="*/ 516701 h 2867451"/>
                    <a:gd name="connsiteX1791" fmla="*/ 1058116 w 7044883"/>
                    <a:gd name="connsiteY1791" fmla="*/ 524278 h 2867451"/>
                    <a:gd name="connsiteX1792" fmla="*/ 1048348 w 7044883"/>
                    <a:gd name="connsiteY1792" fmla="*/ 530825 h 2867451"/>
                    <a:gd name="connsiteX1793" fmla="*/ 1067637 w 7044883"/>
                    <a:gd name="connsiteY1793" fmla="*/ 542396 h 2867451"/>
                    <a:gd name="connsiteX1794" fmla="*/ 1060001 w 7044883"/>
                    <a:gd name="connsiteY1794" fmla="*/ 546390 h 2867451"/>
                    <a:gd name="connsiteX1795" fmla="*/ 1063233 w 7044883"/>
                    <a:gd name="connsiteY1795" fmla="*/ 559834 h 2867451"/>
                    <a:gd name="connsiteX1796" fmla="*/ 1070026 w 7044883"/>
                    <a:gd name="connsiteY1796" fmla="*/ 567904 h 2867451"/>
                    <a:gd name="connsiteX1797" fmla="*/ 1063187 w 7044883"/>
                    <a:gd name="connsiteY1797" fmla="*/ 575715 h 2867451"/>
                    <a:gd name="connsiteX1798" fmla="*/ 1055082 w 7044883"/>
                    <a:gd name="connsiteY1798" fmla="*/ 592545 h 2867451"/>
                    <a:gd name="connsiteX1799" fmla="*/ 1053009 w 7044883"/>
                    <a:gd name="connsiteY1799" fmla="*/ 596491 h 2867451"/>
                    <a:gd name="connsiteX1800" fmla="*/ 1051053 w 7044883"/>
                    <a:gd name="connsiteY1800" fmla="*/ 601352 h 2867451"/>
                    <a:gd name="connsiteX1801" fmla="*/ 1043909 w 7044883"/>
                    <a:gd name="connsiteY1801" fmla="*/ 604409 h 2867451"/>
                    <a:gd name="connsiteX1802" fmla="*/ 1042586 w 7044883"/>
                    <a:gd name="connsiteY1802" fmla="*/ 612665 h 2867451"/>
                    <a:gd name="connsiteX1803" fmla="*/ 1043710 w 7044883"/>
                    <a:gd name="connsiteY1803" fmla="*/ 620008 h 2867451"/>
                    <a:gd name="connsiteX1804" fmla="*/ 1049156 w 7044883"/>
                    <a:gd name="connsiteY1804" fmla="*/ 625431 h 2867451"/>
                    <a:gd name="connsiteX1805" fmla="*/ 1056359 w 7044883"/>
                    <a:gd name="connsiteY1805" fmla="*/ 630209 h 2867451"/>
                    <a:gd name="connsiteX1806" fmla="*/ 1052705 w 7044883"/>
                    <a:gd name="connsiteY1806" fmla="*/ 633910 h 2867451"/>
                    <a:gd name="connsiteX1807" fmla="*/ 1052834 w 7044883"/>
                    <a:gd name="connsiteY1807" fmla="*/ 637013 h 2867451"/>
                    <a:gd name="connsiteX1808" fmla="*/ 1057963 w 7044883"/>
                    <a:gd name="connsiteY1808" fmla="*/ 641066 h 2867451"/>
                    <a:gd name="connsiteX1809" fmla="*/ 1053103 w 7044883"/>
                    <a:gd name="connsiteY1809" fmla="*/ 646629 h 2867451"/>
                    <a:gd name="connsiteX1810" fmla="*/ 1053325 w 7044883"/>
                    <a:gd name="connsiteY1810" fmla="*/ 650107 h 2867451"/>
                    <a:gd name="connsiteX1811" fmla="*/ 1044600 w 7044883"/>
                    <a:gd name="connsiteY1811" fmla="*/ 649896 h 2867451"/>
                    <a:gd name="connsiteX1812" fmla="*/ 1045514 w 7044883"/>
                    <a:gd name="connsiteY1812" fmla="*/ 659956 h 2867451"/>
                    <a:gd name="connsiteX1813" fmla="*/ 1089479 w 7044883"/>
                    <a:gd name="connsiteY1813" fmla="*/ 674771 h 2867451"/>
                    <a:gd name="connsiteX1814" fmla="*/ 1130575 w 7044883"/>
                    <a:gd name="connsiteY1814" fmla="*/ 676727 h 2867451"/>
                    <a:gd name="connsiteX1815" fmla="*/ 1130575 w 7044883"/>
                    <a:gd name="connsiteY1815" fmla="*/ 687221 h 2867451"/>
                    <a:gd name="connsiteX1816" fmla="*/ 1134276 w 7044883"/>
                    <a:gd name="connsiteY1816" fmla="*/ 677102 h 2867451"/>
                    <a:gd name="connsiteX1817" fmla="*/ 1155918 w 7044883"/>
                    <a:gd name="connsiteY1817" fmla="*/ 678812 h 2867451"/>
                    <a:gd name="connsiteX1818" fmla="*/ 1179096 w 7044883"/>
                    <a:gd name="connsiteY1818" fmla="*/ 682595 h 2867451"/>
                    <a:gd name="connsiteX1819" fmla="*/ 1183663 w 7044883"/>
                    <a:gd name="connsiteY1819" fmla="*/ 695641 h 2867451"/>
                    <a:gd name="connsiteX1820" fmla="*/ 1204896 w 7044883"/>
                    <a:gd name="connsiteY1820" fmla="*/ 702047 h 2867451"/>
                    <a:gd name="connsiteX1821" fmla="*/ 1221515 w 7044883"/>
                    <a:gd name="connsiteY1821" fmla="*/ 701438 h 2867451"/>
                    <a:gd name="connsiteX1822" fmla="*/ 1233168 w 7044883"/>
                    <a:gd name="connsiteY1822" fmla="*/ 701579 h 2867451"/>
                    <a:gd name="connsiteX1823" fmla="*/ 1235686 w 7044883"/>
                    <a:gd name="connsiteY1823" fmla="*/ 699120 h 2867451"/>
                    <a:gd name="connsiteX1824" fmla="*/ 1240323 w 7044883"/>
                    <a:gd name="connsiteY1824" fmla="*/ 697094 h 2867451"/>
                    <a:gd name="connsiteX1825" fmla="*/ 1242830 w 7044883"/>
                    <a:gd name="connsiteY1825" fmla="*/ 692022 h 2867451"/>
                    <a:gd name="connsiteX1826" fmla="*/ 1237185 w 7044883"/>
                    <a:gd name="connsiteY1826" fmla="*/ 695185 h 2867451"/>
                    <a:gd name="connsiteX1827" fmla="*/ 1228190 w 7044883"/>
                    <a:gd name="connsiteY1827" fmla="*/ 695032 h 2867451"/>
                    <a:gd name="connsiteX1828" fmla="*/ 1234222 w 7044883"/>
                    <a:gd name="connsiteY1828" fmla="*/ 696403 h 2867451"/>
                    <a:gd name="connsiteX1829" fmla="*/ 1221784 w 7044883"/>
                    <a:gd name="connsiteY1829" fmla="*/ 698534 h 2867451"/>
                    <a:gd name="connsiteX1830" fmla="*/ 1213270 w 7044883"/>
                    <a:gd name="connsiteY1830" fmla="*/ 700150 h 2867451"/>
                    <a:gd name="connsiteX1831" fmla="*/ 1209780 w 7044883"/>
                    <a:gd name="connsiteY1831" fmla="*/ 699647 h 2867451"/>
                    <a:gd name="connsiteX1832" fmla="*/ 1211361 w 7044883"/>
                    <a:gd name="connsiteY1832" fmla="*/ 691847 h 2867451"/>
                    <a:gd name="connsiteX1833" fmla="*/ 1213153 w 7044883"/>
                    <a:gd name="connsiteY1833" fmla="*/ 686647 h 2867451"/>
                    <a:gd name="connsiteX1834" fmla="*/ 1214605 w 7044883"/>
                    <a:gd name="connsiteY1834" fmla="*/ 685277 h 2867451"/>
                    <a:gd name="connsiteX1835" fmla="*/ 1205236 w 7044883"/>
                    <a:gd name="connsiteY1835" fmla="*/ 684632 h 2867451"/>
                    <a:gd name="connsiteX1836" fmla="*/ 1213153 w 7044883"/>
                    <a:gd name="connsiteY1836" fmla="*/ 689844 h 2867451"/>
                    <a:gd name="connsiteX1837" fmla="*/ 1200258 w 7044883"/>
                    <a:gd name="connsiteY1837" fmla="*/ 680908 h 2867451"/>
                    <a:gd name="connsiteX1838" fmla="*/ 1201746 w 7044883"/>
                    <a:gd name="connsiteY1838" fmla="*/ 669408 h 2867451"/>
                    <a:gd name="connsiteX1839" fmla="*/ 1183300 w 7044883"/>
                    <a:gd name="connsiteY1839" fmla="*/ 668412 h 2867451"/>
                    <a:gd name="connsiteX1840" fmla="*/ 1187762 w 7044883"/>
                    <a:gd name="connsiteY1840" fmla="*/ 659019 h 2867451"/>
                    <a:gd name="connsiteX1841" fmla="*/ 1173872 w 7044883"/>
                    <a:gd name="connsiteY1841" fmla="*/ 664090 h 2867451"/>
                    <a:gd name="connsiteX1842" fmla="*/ 1170031 w 7044883"/>
                    <a:gd name="connsiteY1842" fmla="*/ 666808 h 2867451"/>
                    <a:gd name="connsiteX1843" fmla="*/ 1157745 w 7044883"/>
                    <a:gd name="connsiteY1843" fmla="*/ 662287 h 2867451"/>
                    <a:gd name="connsiteX1844" fmla="*/ 1162407 w 7044883"/>
                    <a:gd name="connsiteY1844" fmla="*/ 664969 h 2867451"/>
                    <a:gd name="connsiteX1845" fmla="*/ 1137168 w 7044883"/>
                    <a:gd name="connsiteY1845" fmla="*/ 653023 h 2867451"/>
                    <a:gd name="connsiteX1846" fmla="*/ 1119390 w 7044883"/>
                    <a:gd name="connsiteY1846" fmla="*/ 649463 h 2867451"/>
                    <a:gd name="connsiteX1847" fmla="*/ 1110396 w 7044883"/>
                    <a:gd name="connsiteY1847" fmla="*/ 642225 h 2867451"/>
                    <a:gd name="connsiteX1848" fmla="*/ 1096143 w 7044883"/>
                    <a:gd name="connsiteY1848" fmla="*/ 637505 h 2867451"/>
                    <a:gd name="connsiteX1849" fmla="*/ 1096272 w 7044883"/>
                    <a:gd name="connsiteY1849" fmla="*/ 631017 h 2867451"/>
                    <a:gd name="connsiteX1850" fmla="*/ 1089690 w 7044883"/>
                    <a:gd name="connsiteY1850" fmla="*/ 617771 h 2867451"/>
                    <a:gd name="connsiteX1851" fmla="*/ 1082663 w 7044883"/>
                    <a:gd name="connsiteY1851" fmla="*/ 606786 h 2867451"/>
                    <a:gd name="connsiteX1852" fmla="*/ 1133011 w 7044883"/>
                    <a:gd name="connsiteY1852" fmla="*/ 595437 h 2867451"/>
                    <a:gd name="connsiteX1853" fmla="*/ 1157511 w 7044883"/>
                    <a:gd name="connsiteY1853" fmla="*/ 609444 h 2867451"/>
                    <a:gd name="connsiteX1854" fmla="*/ 1184366 w 7044883"/>
                    <a:gd name="connsiteY1854" fmla="*/ 611693 h 2867451"/>
                    <a:gd name="connsiteX1855" fmla="*/ 1180876 w 7044883"/>
                    <a:gd name="connsiteY1855" fmla="*/ 586420 h 2867451"/>
                    <a:gd name="connsiteX1856" fmla="*/ 1158167 w 7044883"/>
                    <a:gd name="connsiteY1856" fmla="*/ 590577 h 2867451"/>
                    <a:gd name="connsiteX1857" fmla="*/ 1158050 w 7044883"/>
                    <a:gd name="connsiteY1857" fmla="*/ 577378 h 2867451"/>
                    <a:gd name="connsiteX1858" fmla="*/ 1170616 w 7044883"/>
                    <a:gd name="connsiteY1858" fmla="*/ 578350 h 2867451"/>
                    <a:gd name="connsiteX1859" fmla="*/ 1184764 w 7044883"/>
                    <a:gd name="connsiteY1859" fmla="*/ 565702 h 2867451"/>
                    <a:gd name="connsiteX1860" fmla="*/ 1192763 w 7044883"/>
                    <a:gd name="connsiteY1860" fmla="*/ 561743 h 2867451"/>
                    <a:gd name="connsiteX1861" fmla="*/ 1197694 w 7044883"/>
                    <a:gd name="connsiteY1861" fmla="*/ 561884 h 2867451"/>
                    <a:gd name="connsiteX1862" fmla="*/ 1213481 w 7044883"/>
                    <a:gd name="connsiteY1862" fmla="*/ 560525 h 2867451"/>
                    <a:gd name="connsiteX1863" fmla="*/ 1213141 w 7044883"/>
                    <a:gd name="connsiteY1863" fmla="*/ 557914 h 2867451"/>
                    <a:gd name="connsiteX1864" fmla="*/ 1250255 w 7044883"/>
                    <a:gd name="connsiteY1864" fmla="*/ 559682 h 2867451"/>
                    <a:gd name="connsiteX1865" fmla="*/ 1283328 w 7044883"/>
                    <a:gd name="connsiteY1865" fmla="*/ 573431 h 2867451"/>
                    <a:gd name="connsiteX1866" fmla="*/ 1319224 w 7044883"/>
                    <a:gd name="connsiteY1866" fmla="*/ 584077 h 2867451"/>
                    <a:gd name="connsiteX1867" fmla="*/ 1335925 w 7044883"/>
                    <a:gd name="connsiteY1867" fmla="*/ 591081 h 2867451"/>
                    <a:gd name="connsiteX1868" fmla="*/ 1329682 w 7044883"/>
                    <a:gd name="connsiteY1868" fmla="*/ 593435 h 2867451"/>
                    <a:gd name="connsiteX1869" fmla="*/ 1333957 w 7044883"/>
                    <a:gd name="connsiteY1869" fmla="*/ 590050 h 2867451"/>
                    <a:gd name="connsiteX1870" fmla="*/ 1327270 w 7044883"/>
                    <a:gd name="connsiteY1870" fmla="*/ 595590 h 2867451"/>
                    <a:gd name="connsiteX1871" fmla="*/ 1353679 w 7044883"/>
                    <a:gd name="connsiteY1871" fmla="*/ 609890 h 2867451"/>
                    <a:gd name="connsiteX1872" fmla="*/ 1360144 w 7044883"/>
                    <a:gd name="connsiteY1872" fmla="*/ 619856 h 2867451"/>
                    <a:gd name="connsiteX1873" fmla="*/ 1384176 w 7044883"/>
                    <a:gd name="connsiteY1873" fmla="*/ 626871 h 2867451"/>
                    <a:gd name="connsiteX1874" fmla="*/ 1413221 w 7044883"/>
                    <a:gd name="connsiteY1874" fmla="*/ 623838 h 2867451"/>
                    <a:gd name="connsiteX1875" fmla="*/ 1440778 w 7044883"/>
                    <a:gd name="connsiteY1875" fmla="*/ 618615 h 2867451"/>
                    <a:gd name="connsiteX1876" fmla="*/ 1451283 w 7044883"/>
                    <a:gd name="connsiteY1876" fmla="*/ 623779 h 2867451"/>
                    <a:gd name="connsiteX1877" fmla="*/ 1464248 w 7044883"/>
                    <a:gd name="connsiteY1877" fmla="*/ 630244 h 2867451"/>
                    <a:gd name="connsiteX1878" fmla="*/ 1450487 w 7044883"/>
                    <a:gd name="connsiteY1878" fmla="*/ 654405 h 2867451"/>
                    <a:gd name="connsiteX1879" fmla="*/ 1409344 w 7044883"/>
                    <a:gd name="connsiteY1879" fmla="*/ 669700 h 2867451"/>
                    <a:gd name="connsiteX1880" fmla="*/ 1412975 w 7044883"/>
                    <a:gd name="connsiteY1880" fmla="*/ 680112 h 2867451"/>
                    <a:gd name="connsiteX1881" fmla="*/ 1406803 w 7044883"/>
                    <a:gd name="connsiteY1881" fmla="*/ 692069 h 2867451"/>
                    <a:gd name="connsiteX1882" fmla="*/ 1417156 w 7044883"/>
                    <a:gd name="connsiteY1882" fmla="*/ 716382 h 2867451"/>
                    <a:gd name="connsiteX1883" fmla="*/ 1408114 w 7044883"/>
                    <a:gd name="connsiteY1883" fmla="*/ 722964 h 2867451"/>
                    <a:gd name="connsiteX1884" fmla="*/ 1406194 w 7044883"/>
                    <a:gd name="connsiteY1884" fmla="*/ 728879 h 2867451"/>
                    <a:gd name="connsiteX1885" fmla="*/ 1401978 w 7044883"/>
                    <a:gd name="connsiteY1885" fmla="*/ 737428 h 2867451"/>
                    <a:gd name="connsiteX1886" fmla="*/ 1414029 w 7044883"/>
                    <a:gd name="connsiteY1886" fmla="*/ 769459 h 2867451"/>
                    <a:gd name="connsiteX1887" fmla="*/ 1408384 w 7044883"/>
                    <a:gd name="connsiteY1887" fmla="*/ 748378 h 2867451"/>
                    <a:gd name="connsiteX1888" fmla="*/ 1404636 w 7044883"/>
                    <a:gd name="connsiteY1888" fmla="*/ 734055 h 2867451"/>
                    <a:gd name="connsiteX1889" fmla="*/ 1418315 w 7044883"/>
                    <a:gd name="connsiteY1889" fmla="*/ 723058 h 2867451"/>
                    <a:gd name="connsiteX1890" fmla="*/ 1424757 w 7044883"/>
                    <a:gd name="connsiteY1890" fmla="*/ 716769 h 2867451"/>
                    <a:gd name="connsiteX1891" fmla="*/ 1421114 w 7044883"/>
                    <a:gd name="connsiteY1891" fmla="*/ 712260 h 2867451"/>
                    <a:gd name="connsiteX1892" fmla="*/ 1425811 w 7044883"/>
                    <a:gd name="connsiteY1892" fmla="*/ 703980 h 2867451"/>
                    <a:gd name="connsiteX1893" fmla="*/ 1441563 w 7044883"/>
                    <a:gd name="connsiteY1893" fmla="*/ 702012 h 2867451"/>
                    <a:gd name="connsiteX1894" fmla="*/ 1442160 w 7044883"/>
                    <a:gd name="connsiteY1894" fmla="*/ 693475 h 2867451"/>
                    <a:gd name="connsiteX1895" fmla="*/ 1454890 w 7044883"/>
                    <a:gd name="connsiteY1895" fmla="*/ 713888 h 2867451"/>
                    <a:gd name="connsiteX1896" fmla="*/ 1447653 w 7044883"/>
                    <a:gd name="connsiteY1896" fmla="*/ 734746 h 2867451"/>
                    <a:gd name="connsiteX1897" fmla="*/ 1442172 w 7044883"/>
                    <a:gd name="connsiteY1897" fmla="*/ 753075 h 2867451"/>
                    <a:gd name="connsiteX1898" fmla="*/ 1430144 w 7044883"/>
                    <a:gd name="connsiteY1898" fmla="*/ 764622 h 2867451"/>
                    <a:gd name="connsiteX1899" fmla="*/ 1429429 w 7044883"/>
                    <a:gd name="connsiteY1899" fmla="*/ 771450 h 2867451"/>
                    <a:gd name="connsiteX1900" fmla="*/ 1457689 w 7044883"/>
                    <a:gd name="connsiteY1900" fmla="*/ 779753 h 2867451"/>
                    <a:gd name="connsiteX1901" fmla="*/ 1456225 w 7044883"/>
                    <a:gd name="connsiteY1901" fmla="*/ 779180 h 2867451"/>
                    <a:gd name="connsiteX1902" fmla="*/ 1445474 w 7044883"/>
                    <a:gd name="connsiteY1902" fmla="*/ 757958 h 2867451"/>
                    <a:gd name="connsiteX1903" fmla="*/ 1470736 w 7044883"/>
                    <a:gd name="connsiteY1903" fmla="*/ 757701 h 2867451"/>
                    <a:gd name="connsiteX1904" fmla="*/ 1477576 w 7044883"/>
                    <a:gd name="connsiteY1904" fmla="*/ 754082 h 2867451"/>
                    <a:gd name="connsiteX1905" fmla="*/ 1482705 w 7044883"/>
                    <a:gd name="connsiteY1905" fmla="*/ 726325 h 2867451"/>
                    <a:gd name="connsiteX1906" fmla="*/ 1473933 w 7044883"/>
                    <a:gd name="connsiteY1906" fmla="*/ 705338 h 2867451"/>
                    <a:gd name="connsiteX1907" fmla="*/ 1469143 w 7044883"/>
                    <a:gd name="connsiteY1907" fmla="*/ 698030 h 2867451"/>
                    <a:gd name="connsiteX1908" fmla="*/ 1467914 w 7044883"/>
                    <a:gd name="connsiteY1908" fmla="*/ 691027 h 2867451"/>
                    <a:gd name="connsiteX1909" fmla="*/ 1454059 w 7044883"/>
                    <a:gd name="connsiteY1909" fmla="*/ 683297 h 2867451"/>
                    <a:gd name="connsiteX1910" fmla="*/ 1461425 w 7044883"/>
                    <a:gd name="connsiteY1910" fmla="*/ 683005 h 2867451"/>
                    <a:gd name="connsiteX1911" fmla="*/ 1458088 w 7044883"/>
                    <a:gd name="connsiteY1911" fmla="*/ 668869 h 2867451"/>
                    <a:gd name="connsiteX1912" fmla="*/ 1464833 w 7044883"/>
                    <a:gd name="connsiteY1912" fmla="*/ 662627 h 2867451"/>
                    <a:gd name="connsiteX1913" fmla="*/ 1467750 w 7044883"/>
                    <a:gd name="connsiteY1913" fmla="*/ 655728 h 2867451"/>
                    <a:gd name="connsiteX1914" fmla="*/ 1471685 w 7044883"/>
                    <a:gd name="connsiteY1914" fmla="*/ 648327 h 2867451"/>
                    <a:gd name="connsiteX1915" fmla="*/ 1480503 w 7044883"/>
                    <a:gd name="connsiteY1915" fmla="*/ 634566 h 2867451"/>
                    <a:gd name="connsiteX1916" fmla="*/ 1475444 w 7044883"/>
                    <a:gd name="connsiteY1916" fmla="*/ 626614 h 2867451"/>
                    <a:gd name="connsiteX1917" fmla="*/ 1469377 w 7044883"/>
                    <a:gd name="connsiteY1917" fmla="*/ 621601 h 2867451"/>
                    <a:gd name="connsiteX1918" fmla="*/ 1469776 w 7044883"/>
                    <a:gd name="connsiteY1918" fmla="*/ 616916 h 2867451"/>
                    <a:gd name="connsiteX1919" fmla="*/ 1451435 w 7044883"/>
                    <a:gd name="connsiteY1919" fmla="*/ 608999 h 2867451"/>
                    <a:gd name="connsiteX1920" fmla="*/ 1433950 w 7044883"/>
                    <a:gd name="connsiteY1920" fmla="*/ 608648 h 2867451"/>
                    <a:gd name="connsiteX1921" fmla="*/ 1427157 w 7044883"/>
                    <a:gd name="connsiteY1921" fmla="*/ 601996 h 2867451"/>
                    <a:gd name="connsiteX1922" fmla="*/ 1405491 w 7044883"/>
                    <a:gd name="connsiteY1922" fmla="*/ 588715 h 2867451"/>
                    <a:gd name="connsiteX1923" fmla="*/ 1406920 w 7044883"/>
                    <a:gd name="connsiteY1923" fmla="*/ 572073 h 2867451"/>
                    <a:gd name="connsiteX1924" fmla="*/ 1396321 w 7044883"/>
                    <a:gd name="connsiteY1924" fmla="*/ 569742 h 2867451"/>
                    <a:gd name="connsiteX1925" fmla="*/ 1376083 w 7044883"/>
                    <a:gd name="connsiteY1925" fmla="*/ 563969 h 2867451"/>
                    <a:gd name="connsiteX1926" fmla="*/ 1355085 w 7044883"/>
                    <a:gd name="connsiteY1926" fmla="*/ 563137 h 2867451"/>
                    <a:gd name="connsiteX1927" fmla="*/ 1339110 w 7044883"/>
                    <a:gd name="connsiteY1927" fmla="*/ 553416 h 2867451"/>
                    <a:gd name="connsiteX1928" fmla="*/ 1328617 w 7044883"/>
                    <a:gd name="connsiteY1928" fmla="*/ 543778 h 2867451"/>
                    <a:gd name="connsiteX1929" fmla="*/ 1335058 w 7044883"/>
                    <a:gd name="connsiteY1929" fmla="*/ 536985 h 2867451"/>
                    <a:gd name="connsiteX1930" fmla="*/ 1324775 w 7044883"/>
                    <a:gd name="connsiteY1930" fmla="*/ 525309 h 2867451"/>
                    <a:gd name="connsiteX1931" fmla="*/ 1332809 w 7044883"/>
                    <a:gd name="connsiteY1931" fmla="*/ 516033 h 2867451"/>
                    <a:gd name="connsiteX1932" fmla="*/ 1331404 w 7044883"/>
                    <a:gd name="connsiteY1932" fmla="*/ 498618 h 2867451"/>
                    <a:gd name="connsiteX1933" fmla="*/ 1314329 w 7044883"/>
                    <a:gd name="connsiteY1933" fmla="*/ 489319 h 2867451"/>
                    <a:gd name="connsiteX1934" fmla="*/ 1322573 w 7044883"/>
                    <a:gd name="connsiteY1934" fmla="*/ 487949 h 2867451"/>
                    <a:gd name="connsiteX1935" fmla="*/ 1303589 w 7044883"/>
                    <a:gd name="connsiteY1935" fmla="*/ 481812 h 2867451"/>
                    <a:gd name="connsiteX1936" fmla="*/ 1321133 w 7044883"/>
                    <a:gd name="connsiteY1936" fmla="*/ 475605 h 2867451"/>
                    <a:gd name="connsiteX1937" fmla="*/ 1307231 w 7044883"/>
                    <a:gd name="connsiteY1937" fmla="*/ 464491 h 2867451"/>
                    <a:gd name="connsiteX1938" fmla="*/ 1311412 w 7044883"/>
                    <a:gd name="connsiteY1938" fmla="*/ 460860 h 2867451"/>
                    <a:gd name="connsiteX1939" fmla="*/ 1313872 w 7044883"/>
                    <a:gd name="connsiteY1939" fmla="*/ 462195 h 2867451"/>
                    <a:gd name="connsiteX1940" fmla="*/ 1317362 w 7044883"/>
                    <a:gd name="connsiteY1940" fmla="*/ 457054 h 2867451"/>
                    <a:gd name="connsiteX1941" fmla="*/ 1323557 w 7044883"/>
                    <a:gd name="connsiteY1941" fmla="*/ 452709 h 2867451"/>
                    <a:gd name="connsiteX1942" fmla="*/ 1326848 w 7044883"/>
                    <a:gd name="connsiteY1942" fmla="*/ 448809 h 2867451"/>
                    <a:gd name="connsiteX1943" fmla="*/ 1317912 w 7044883"/>
                    <a:gd name="connsiteY1943" fmla="*/ 449020 h 2867451"/>
                    <a:gd name="connsiteX1944" fmla="*/ 1320442 w 7044883"/>
                    <a:gd name="connsiteY1944" fmla="*/ 440962 h 2867451"/>
                    <a:gd name="connsiteX1945" fmla="*/ 1334508 w 7044883"/>
                    <a:gd name="connsiteY1945" fmla="*/ 442075 h 2867451"/>
                    <a:gd name="connsiteX1946" fmla="*/ 1348128 w 7044883"/>
                    <a:gd name="connsiteY1946" fmla="*/ 439639 h 2867451"/>
                    <a:gd name="connsiteX1947" fmla="*/ 1375416 w 7044883"/>
                    <a:gd name="connsiteY1947" fmla="*/ 434111 h 2867451"/>
                    <a:gd name="connsiteX1948" fmla="*/ 1410914 w 7044883"/>
                    <a:gd name="connsiteY1948" fmla="*/ 432999 h 2867451"/>
                    <a:gd name="connsiteX1949" fmla="*/ 1473102 w 7044883"/>
                    <a:gd name="connsiteY1949" fmla="*/ 433643 h 2867451"/>
                    <a:gd name="connsiteX1950" fmla="*/ 1503446 w 7044883"/>
                    <a:gd name="connsiteY1950" fmla="*/ 428794 h 2867451"/>
                    <a:gd name="connsiteX1951" fmla="*/ 1534271 w 7044883"/>
                    <a:gd name="connsiteY1951" fmla="*/ 423325 h 2867451"/>
                    <a:gd name="connsiteX1952" fmla="*/ 1558971 w 7044883"/>
                    <a:gd name="connsiteY1952" fmla="*/ 427436 h 2867451"/>
                    <a:gd name="connsiteX1953" fmla="*/ 1575788 w 7044883"/>
                    <a:gd name="connsiteY1953" fmla="*/ 427506 h 2867451"/>
                    <a:gd name="connsiteX1954" fmla="*/ 1578482 w 7044883"/>
                    <a:gd name="connsiteY1954" fmla="*/ 421229 h 2867451"/>
                    <a:gd name="connsiteX1955" fmla="*/ 1587805 w 7044883"/>
                    <a:gd name="connsiteY1955" fmla="*/ 416708 h 2867451"/>
                    <a:gd name="connsiteX1956" fmla="*/ 1604540 w 7044883"/>
                    <a:gd name="connsiteY1956" fmla="*/ 412691 h 2867451"/>
                    <a:gd name="connsiteX1957" fmla="*/ 1633819 w 7044883"/>
                    <a:gd name="connsiteY1957" fmla="*/ 409646 h 2867451"/>
                    <a:gd name="connsiteX1958" fmla="*/ 1661786 w 7044883"/>
                    <a:gd name="connsiteY1958" fmla="*/ 412784 h 2867451"/>
                    <a:gd name="connsiteX1959" fmla="*/ 1649442 w 7044883"/>
                    <a:gd name="connsiteY1959" fmla="*/ 422564 h 2867451"/>
                    <a:gd name="connsiteX1960" fmla="*/ 1629591 w 7044883"/>
                    <a:gd name="connsiteY1960" fmla="*/ 433432 h 2867451"/>
                    <a:gd name="connsiteX1961" fmla="*/ 1603205 w 7044883"/>
                    <a:gd name="connsiteY1961" fmla="*/ 445870 h 2867451"/>
                    <a:gd name="connsiteX1962" fmla="*/ 1593941 w 7044883"/>
                    <a:gd name="connsiteY1962" fmla="*/ 462277 h 2867451"/>
                    <a:gd name="connsiteX1963" fmla="*/ 1616802 w 7044883"/>
                    <a:gd name="connsiteY1963" fmla="*/ 474282 h 2867451"/>
                    <a:gd name="connsiteX1964" fmla="*/ 1625316 w 7044883"/>
                    <a:gd name="connsiteY1964" fmla="*/ 481964 h 2867451"/>
                    <a:gd name="connsiteX1965" fmla="*/ 1638152 w 7044883"/>
                    <a:gd name="connsiteY1965" fmla="*/ 486719 h 2867451"/>
                    <a:gd name="connsiteX1966" fmla="*/ 1645308 w 7044883"/>
                    <a:gd name="connsiteY1966" fmla="*/ 499262 h 2867451"/>
                    <a:gd name="connsiteX1967" fmla="*/ 1624637 w 7044883"/>
                    <a:gd name="connsiteY1967" fmla="*/ 475359 h 2867451"/>
                    <a:gd name="connsiteX1968" fmla="*/ 1597068 w 7044883"/>
                    <a:gd name="connsiteY1968" fmla="*/ 457066 h 2867451"/>
                    <a:gd name="connsiteX1969" fmla="*/ 1632929 w 7044883"/>
                    <a:gd name="connsiteY1969" fmla="*/ 441876 h 2867451"/>
                    <a:gd name="connsiteX1970" fmla="*/ 1659737 w 7044883"/>
                    <a:gd name="connsiteY1970" fmla="*/ 438702 h 2867451"/>
                    <a:gd name="connsiteX1971" fmla="*/ 1674622 w 7044883"/>
                    <a:gd name="connsiteY1971" fmla="*/ 428689 h 2867451"/>
                    <a:gd name="connsiteX1972" fmla="*/ 1669633 w 7044883"/>
                    <a:gd name="connsiteY1972" fmla="*/ 430059 h 2867451"/>
                    <a:gd name="connsiteX1973" fmla="*/ 1690807 w 7044883"/>
                    <a:gd name="connsiteY1973" fmla="*/ 410934 h 2867451"/>
                    <a:gd name="connsiteX1974" fmla="*/ 1686029 w 7044883"/>
                    <a:gd name="connsiteY1974" fmla="*/ 407315 h 2867451"/>
                    <a:gd name="connsiteX1975" fmla="*/ 1683253 w 7044883"/>
                    <a:gd name="connsiteY1975" fmla="*/ 414260 h 2867451"/>
                    <a:gd name="connsiteX1976" fmla="*/ 1653541 w 7044883"/>
                    <a:gd name="connsiteY1976" fmla="*/ 395276 h 2867451"/>
                    <a:gd name="connsiteX1977" fmla="*/ 1678580 w 7044883"/>
                    <a:gd name="connsiteY1977" fmla="*/ 397419 h 2867451"/>
                    <a:gd name="connsiteX1978" fmla="*/ 1653366 w 7044883"/>
                    <a:gd name="connsiteY1978" fmla="*/ 391575 h 2867451"/>
                    <a:gd name="connsiteX1979" fmla="*/ 1642767 w 7044883"/>
                    <a:gd name="connsiteY1979" fmla="*/ 385532 h 2867451"/>
                    <a:gd name="connsiteX1980" fmla="*/ 1645812 w 7044883"/>
                    <a:gd name="connsiteY1980" fmla="*/ 379266 h 2867451"/>
                    <a:gd name="connsiteX1981" fmla="*/ 1637848 w 7044883"/>
                    <a:gd name="connsiteY1981" fmla="*/ 374254 h 2867451"/>
                    <a:gd name="connsiteX1982" fmla="*/ 1607456 w 7044883"/>
                    <a:gd name="connsiteY1982" fmla="*/ 371900 h 2867451"/>
                    <a:gd name="connsiteX1983" fmla="*/ 1600839 w 7044883"/>
                    <a:gd name="connsiteY1983" fmla="*/ 364580 h 2867451"/>
                    <a:gd name="connsiteX1984" fmla="*/ 1613874 w 7044883"/>
                    <a:gd name="connsiteY1984" fmla="*/ 362718 h 2867451"/>
                    <a:gd name="connsiteX1985" fmla="*/ 1618735 w 7044883"/>
                    <a:gd name="connsiteY1985" fmla="*/ 361418 h 2867451"/>
                    <a:gd name="connsiteX1986" fmla="*/ 1607105 w 7044883"/>
                    <a:gd name="connsiteY1986" fmla="*/ 356054 h 2867451"/>
                    <a:gd name="connsiteX1987" fmla="*/ 1620585 w 7044883"/>
                    <a:gd name="connsiteY1987" fmla="*/ 354098 h 2867451"/>
                    <a:gd name="connsiteX1988" fmla="*/ 1637859 w 7044883"/>
                    <a:gd name="connsiteY1988" fmla="*/ 356698 h 2867451"/>
                    <a:gd name="connsiteX1989" fmla="*/ 1635681 w 7044883"/>
                    <a:gd name="connsiteY1989" fmla="*/ 358162 h 2867451"/>
                    <a:gd name="connsiteX1990" fmla="*/ 1654267 w 7044883"/>
                    <a:gd name="connsiteY1990" fmla="*/ 358865 h 2867451"/>
                    <a:gd name="connsiteX1991" fmla="*/ 1645296 w 7044883"/>
                    <a:gd name="connsiteY1991" fmla="*/ 367262 h 2867451"/>
                    <a:gd name="connsiteX1992" fmla="*/ 1655005 w 7044883"/>
                    <a:gd name="connsiteY1992" fmla="*/ 370084 h 2867451"/>
                    <a:gd name="connsiteX1993" fmla="*/ 1657594 w 7044883"/>
                    <a:gd name="connsiteY1993" fmla="*/ 363924 h 2867451"/>
                    <a:gd name="connsiteX1994" fmla="*/ 1659303 w 7044883"/>
                    <a:gd name="connsiteY1994" fmla="*/ 361195 h 2867451"/>
                    <a:gd name="connsiteX1995" fmla="*/ 1670359 w 7044883"/>
                    <a:gd name="connsiteY1995" fmla="*/ 362390 h 2867451"/>
                    <a:gd name="connsiteX1996" fmla="*/ 1659994 w 7044883"/>
                    <a:gd name="connsiteY1996" fmla="*/ 356393 h 2867451"/>
                    <a:gd name="connsiteX1997" fmla="*/ 1659655 w 7044883"/>
                    <a:gd name="connsiteY1997" fmla="*/ 353255 h 2867451"/>
                    <a:gd name="connsiteX1998" fmla="*/ 1647697 w 7044883"/>
                    <a:gd name="connsiteY1998" fmla="*/ 355035 h 2867451"/>
                    <a:gd name="connsiteX1999" fmla="*/ 1632425 w 7044883"/>
                    <a:gd name="connsiteY1999" fmla="*/ 346158 h 2867451"/>
                    <a:gd name="connsiteX2000" fmla="*/ 1645308 w 7044883"/>
                    <a:gd name="connsiteY2000" fmla="*/ 341168 h 2867451"/>
                    <a:gd name="connsiteX2001" fmla="*/ 1590943 w 7044883"/>
                    <a:gd name="connsiteY2001" fmla="*/ 333404 h 2867451"/>
                    <a:gd name="connsiteX2002" fmla="*/ 1597431 w 7044883"/>
                    <a:gd name="connsiteY2002" fmla="*/ 329820 h 2867451"/>
                    <a:gd name="connsiteX2003" fmla="*/ 1607691 w 7044883"/>
                    <a:gd name="connsiteY2003" fmla="*/ 324761 h 2867451"/>
                    <a:gd name="connsiteX2004" fmla="*/ 1605981 w 7044883"/>
                    <a:gd name="connsiteY2004" fmla="*/ 314946 h 2867451"/>
                    <a:gd name="connsiteX2005" fmla="*/ 1624204 w 7044883"/>
                    <a:gd name="connsiteY2005" fmla="*/ 320685 h 2867451"/>
                    <a:gd name="connsiteX2006" fmla="*/ 1615643 w 7044883"/>
                    <a:gd name="connsiteY2006" fmla="*/ 319971 h 2867451"/>
                    <a:gd name="connsiteX2007" fmla="*/ 1623806 w 7044883"/>
                    <a:gd name="connsiteY2007" fmla="*/ 325159 h 2867451"/>
                    <a:gd name="connsiteX2008" fmla="*/ 1637848 w 7044883"/>
                    <a:gd name="connsiteY2008" fmla="*/ 327044 h 2867451"/>
                    <a:gd name="connsiteX2009" fmla="*/ 1640342 w 7044883"/>
                    <a:gd name="connsiteY2009" fmla="*/ 331284 h 2867451"/>
                    <a:gd name="connsiteX2010" fmla="*/ 1655005 w 7044883"/>
                    <a:gd name="connsiteY2010" fmla="*/ 335512 h 2867451"/>
                    <a:gd name="connsiteX2011" fmla="*/ 1654267 w 7044883"/>
                    <a:gd name="connsiteY2011" fmla="*/ 328450 h 2867451"/>
                    <a:gd name="connsiteX2012" fmla="*/ 1644266 w 7044883"/>
                    <a:gd name="connsiteY2012" fmla="*/ 326330 h 2867451"/>
                    <a:gd name="connsiteX2013" fmla="*/ 1655017 w 7044883"/>
                    <a:gd name="connsiteY2013" fmla="*/ 321013 h 2867451"/>
                    <a:gd name="connsiteX2014" fmla="*/ 1660393 w 7044883"/>
                    <a:gd name="connsiteY2014" fmla="*/ 320533 h 2867451"/>
                    <a:gd name="connsiteX2015" fmla="*/ 1661751 w 7044883"/>
                    <a:gd name="connsiteY2015" fmla="*/ 309922 h 2867451"/>
                    <a:gd name="connsiteX2016" fmla="*/ 1676789 w 7044883"/>
                    <a:gd name="connsiteY2016" fmla="*/ 301373 h 2867451"/>
                    <a:gd name="connsiteX2017" fmla="*/ 1665698 w 7044883"/>
                    <a:gd name="connsiteY2017" fmla="*/ 297098 h 2867451"/>
                    <a:gd name="connsiteX2018" fmla="*/ 1681707 w 7044883"/>
                    <a:gd name="connsiteY2018" fmla="*/ 296887 h 2867451"/>
                    <a:gd name="connsiteX2019" fmla="*/ 1679295 w 7044883"/>
                    <a:gd name="connsiteY2019" fmla="*/ 299230 h 2867451"/>
                    <a:gd name="connsiteX2020" fmla="*/ 1687868 w 7044883"/>
                    <a:gd name="connsiteY2020" fmla="*/ 302134 h 2867451"/>
                    <a:gd name="connsiteX2021" fmla="*/ 1685713 w 7044883"/>
                    <a:gd name="connsiteY2021" fmla="*/ 299593 h 2867451"/>
                    <a:gd name="connsiteX2022" fmla="*/ 1692142 w 7044883"/>
                    <a:gd name="connsiteY2022" fmla="*/ 294252 h 2867451"/>
                    <a:gd name="connsiteX2023" fmla="*/ 1697858 w 7044883"/>
                    <a:gd name="connsiteY2023" fmla="*/ 292823 h 2867451"/>
                    <a:gd name="connsiteX2024" fmla="*/ 1680009 w 7044883"/>
                    <a:gd name="connsiteY2024" fmla="*/ 291359 h 2867451"/>
                    <a:gd name="connsiteX2025" fmla="*/ 1672127 w 7044883"/>
                    <a:gd name="connsiteY2025" fmla="*/ 288607 h 2867451"/>
                    <a:gd name="connsiteX2026" fmla="*/ 1655368 w 7044883"/>
                    <a:gd name="connsiteY2026" fmla="*/ 286979 h 2867451"/>
                    <a:gd name="connsiteX2027" fmla="*/ 1654080 w 7044883"/>
                    <a:gd name="connsiteY2027" fmla="*/ 281639 h 2867451"/>
                    <a:gd name="connsiteX2028" fmla="*/ 1686732 w 7044883"/>
                    <a:gd name="connsiteY2028" fmla="*/ 280655 h 2867451"/>
                    <a:gd name="connsiteX2029" fmla="*/ 1705295 w 7044883"/>
                    <a:gd name="connsiteY2029" fmla="*/ 285094 h 2867451"/>
                    <a:gd name="connsiteX2030" fmla="*/ 1716104 w 7044883"/>
                    <a:gd name="connsiteY2030" fmla="*/ 282107 h 2867451"/>
                    <a:gd name="connsiteX2031" fmla="*/ 1722534 w 7044883"/>
                    <a:gd name="connsiteY2031" fmla="*/ 278371 h 2867451"/>
                    <a:gd name="connsiteX2032" fmla="*/ 1725415 w 7044883"/>
                    <a:gd name="connsiteY2032" fmla="*/ 272703 h 2867451"/>
                    <a:gd name="connsiteX2033" fmla="*/ 1741495 w 7044883"/>
                    <a:gd name="connsiteY2033" fmla="*/ 267679 h 2867451"/>
                    <a:gd name="connsiteX2034" fmla="*/ 1737536 w 7044883"/>
                    <a:gd name="connsiteY2034" fmla="*/ 262654 h 2867451"/>
                    <a:gd name="connsiteX2035" fmla="*/ 1751520 w 7044883"/>
                    <a:gd name="connsiteY2035" fmla="*/ 257630 h 2867451"/>
                    <a:gd name="connsiteX2036" fmla="*/ 1748978 w 7044883"/>
                    <a:gd name="connsiteY2036" fmla="*/ 256190 h 2867451"/>
                    <a:gd name="connsiteX2037" fmla="*/ 1765445 w 7044883"/>
                    <a:gd name="connsiteY2037" fmla="*/ 253297 h 2867451"/>
                    <a:gd name="connsiteX2038" fmla="*/ 1747198 w 7044883"/>
                    <a:gd name="connsiteY2038" fmla="*/ 252583 h 2867451"/>
                    <a:gd name="connsiteX2039" fmla="*/ 1767881 w 7044883"/>
                    <a:gd name="connsiteY2039" fmla="*/ 248050 h 2867451"/>
                    <a:gd name="connsiteX2040" fmla="*/ 1771312 w 7044883"/>
                    <a:gd name="connsiteY2040" fmla="*/ 245263 h 2867451"/>
                    <a:gd name="connsiteX2041" fmla="*/ 1778023 w 7044883"/>
                    <a:gd name="connsiteY2041" fmla="*/ 245520 h 2867451"/>
                    <a:gd name="connsiteX2042" fmla="*/ 1798694 w 7044883"/>
                    <a:gd name="connsiteY2042" fmla="*/ 248191 h 2867451"/>
                    <a:gd name="connsiteX2043" fmla="*/ 1816156 w 7044883"/>
                    <a:gd name="connsiteY2043" fmla="*/ 240988 h 2867451"/>
                    <a:gd name="connsiteX2044" fmla="*/ 1808684 w 7044883"/>
                    <a:gd name="connsiteY2044" fmla="*/ 236655 h 2867451"/>
                    <a:gd name="connsiteX2045" fmla="*/ 1830174 w 7044883"/>
                    <a:gd name="connsiteY2045" fmla="*/ 232310 h 2867451"/>
                    <a:gd name="connsiteX2046" fmla="*/ 1852567 w 7044883"/>
                    <a:gd name="connsiteY2046" fmla="*/ 226887 h 2867451"/>
                    <a:gd name="connsiteX2047" fmla="*/ 1859090 w 7044883"/>
                    <a:gd name="connsiteY2047" fmla="*/ 225084 h 2867451"/>
                    <a:gd name="connsiteX2048" fmla="*/ 1861632 w 7044883"/>
                    <a:gd name="connsiteY2048" fmla="*/ 228832 h 2867451"/>
                    <a:gd name="connsiteX2049" fmla="*/ 1875498 w 7044883"/>
                    <a:gd name="connsiteY2049" fmla="*/ 225740 h 2867451"/>
                    <a:gd name="connsiteX2050" fmla="*/ 1893382 w 7044883"/>
                    <a:gd name="connsiteY2050" fmla="*/ 228070 h 2867451"/>
                    <a:gd name="connsiteX2051" fmla="*/ 1898687 w 7044883"/>
                    <a:gd name="connsiteY2051" fmla="*/ 220715 h 2867451"/>
                    <a:gd name="connsiteX2052" fmla="*/ 1912296 w 7044883"/>
                    <a:gd name="connsiteY2052" fmla="*/ 218432 h 2867451"/>
                    <a:gd name="connsiteX2053" fmla="*/ 1923047 w 7044883"/>
                    <a:gd name="connsiteY2053" fmla="*/ 217799 h 2867451"/>
                    <a:gd name="connsiteX2054" fmla="*/ 1936234 w 7044883"/>
                    <a:gd name="connsiteY2054" fmla="*/ 217483 h 2867451"/>
                    <a:gd name="connsiteX2055" fmla="*/ 1961765 w 7044883"/>
                    <a:gd name="connsiteY2055" fmla="*/ 212037 h 2867451"/>
                    <a:gd name="connsiteX2056" fmla="*/ 1984251 w 7044883"/>
                    <a:gd name="connsiteY2056" fmla="*/ 207704 h 2867451"/>
                    <a:gd name="connsiteX2057" fmla="*/ 2030324 w 7044883"/>
                    <a:gd name="connsiteY2057" fmla="*/ 195887 h 2867451"/>
                    <a:gd name="connsiteX2058" fmla="*/ 2008272 w 7044883"/>
                    <a:gd name="connsiteY2058" fmla="*/ 200583 h 2867451"/>
                    <a:gd name="connsiteX2059" fmla="*/ 1993012 w 7044883"/>
                    <a:gd name="connsiteY2059" fmla="*/ 199693 h 2867451"/>
                    <a:gd name="connsiteX2060" fmla="*/ 1995424 w 7044883"/>
                    <a:gd name="connsiteY2060" fmla="*/ 201110 h 2867451"/>
                    <a:gd name="connsiteX2061" fmla="*/ 1983104 w 7044883"/>
                    <a:gd name="connsiteY2061" fmla="*/ 195091 h 2867451"/>
                    <a:gd name="connsiteX2062" fmla="*/ 1986324 w 7044883"/>
                    <a:gd name="connsiteY2062" fmla="*/ 192901 h 2867451"/>
                    <a:gd name="connsiteX2063" fmla="*/ 1967750 w 7044883"/>
                    <a:gd name="connsiteY2063" fmla="*/ 197351 h 2867451"/>
                    <a:gd name="connsiteX2064" fmla="*/ 1975269 w 7044883"/>
                    <a:gd name="connsiteY2064" fmla="*/ 199471 h 2867451"/>
                    <a:gd name="connsiteX2065" fmla="*/ 1963803 w 7044883"/>
                    <a:gd name="connsiteY2065" fmla="*/ 200993 h 2867451"/>
                    <a:gd name="connsiteX2066" fmla="*/ 1960617 w 7044883"/>
                    <a:gd name="connsiteY2066" fmla="*/ 193638 h 2867451"/>
                    <a:gd name="connsiteX2067" fmla="*/ 1970537 w 7044883"/>
                    <a:gd name="connsiteY2067" fmla="*/ 181915 h 2867451"/>
                    <a:gd name="connsiteX2068" fmla="*/ 1977365 w 7044883"/>
                    <a:gd name="connsiteY2068" fmla="*/ 186811 h 2867451"/>
                    <a:gd name="connsiteX2069" fmla="*/ 1975971 w 7044883"/>
                    <a:gd name="connsiteY2069" fmla="*/ 179702 h 2867451"/>
                    <a:gd name="connsiteX2070" fmla="*/ 1992098 w 7044883"/>
                    <a:gd name="connsiteY2070" fmla="*/ 178495 h 2867451"/>
                    <a:gd name="connsiteX2071" fmla="*/ 1991676 w 7044883"/>
                    <a:gd name="connsiteY2071" fmla="*/ 184878 h 2867451"/>
                    <a:gd name="connsiteX2072" fmla="*/ 1989896 w 7044883"/>
                    <a:gd name="connsiteY2072" fmla="*/ 187724 h 2867451"/>
                    <a:gd name="connsiteX2073" fmla="*/ 2006374 w 7044883"/>
                    <a:gd name="connsiteY2073" fmla="*/ 183344 h 2867451"/>
                    <a:gd name="connsiteX2074" fmla="*/ 2012816 w 7044883"/>
                    <a:gd name="connsiteY2074" fmla="*/ 184410 h 2867451"/>
                    <a:gd name="connsiteX2075" fmla="*/ 2021763 w 7044883"/>
                    <a:gd name="connsiteY2075" fmla="*/ 184140 h 2867451"/>
                    <a:gd name="connsiteX2076" fmla="*/ 2002814 w 7044883"/>
                    <a:gd name="connsiteY2076" fmla="*/ 176762 h 2867451"/>
                    <a:gd name="connsiteX2077" fmla="*/ 2029751 w 7044883"/>
                    <a:gd name="connsiteY2077" fmla="*/ 177758 h 2867451"/>
                    <a:gd name="connsiteX2078" fmla="*/ 2041778 w 7044883"/>
                    <a:gd name="connsiteY2078" fmla="*/ 179690 h 2867451"/>
                    <a:gd name="connsiteX2079" fmla="*/ 2046416 w 7044883"/>
                    <a:gd name="connsiteY2079" fmla="*/ 181880 h 2867451"/>
                    <a:gd name="connsiteX2080" fmla="*/ 2044601 w 7044883"/>
                    <a:gd name="connsiteY2080" fmla="*/ 183344 h 2867451"/>
                    <a:gd name="connsiteX2081" fmla="*/ 2053912 w 7044883"/>
                    <a:gd name="connsiteY2081" fmla="*/ 181880 h 2867451"/>
                    <a:gd name="connsiteX2082" fmla="*/ 2060353 w 7044883"/>
                    <a:gd name="connsiteY2082" fmla="*/ 177558 h 2867451"/>
                    <a:gd name="connsiteX2083" fmla="*/ 2049976 w 7044883"/>
                    <a:gd name="connsiteY2083" fmla="*/ 173904 h 2867451"/>
                    <a:gd name="connsiteX2084" fmla="*/ 2064592 w 7044883"/>
                    <a:gd name="connsiteY2084" fmla="*/ 173846 h 2867451"/>
                    <a:gd name="connsiteX2085" fmla="*/ 2069886 w 7044883"/>
                    <a:gd name="connsiteY2085" fmla="*/ 177758 h 2867451"/>
                    <a:gd name="connsiteX2086" fmla="*/ 2095488 w 7044883"/>
                    <a:gd name="connsiteY2086" fmla="*/ 172499 h 2867451"/>
                    <a:gd name="connsiteX2087" fmla="*/ 2128104 w 7044883"/>
                    <a:gd name="connsiteY2087" fmla="*/ 178273 h 2867451"/>
                    <a:gd name="connsiteX2088" fmla="*/ 2136162 w 7044883"/>
                    <a:gd name="connsiteY2088" fmla="*/ 180334 h 2867451"/>
                    <a:gd name="connsiteX2089" fmla="*/ 2125762 w 7044883"/>
                    <a:gd name="connsiteY2089" fmla="*/ 183344 h 2867451"/>
                    <a:gd name="connsiteX2090" fmla="*/ 2130048 w 7044883"/>
                    <a:gd name="connsiteY2090" fmla="*/ 184878 h 2867451"/>
                    <a:gd name="connsiteX2091" fmla="*/ 2125024 w 7044883"/>
                    <a:gd name="connsiteY2091" fmla="*/ 186342 h 2867451"/>
                    <a:gd name="connsiteX2092" fmla="*/ 2118383 w 7044883"/>
                    <a:gd name="connsiteY2092" fmla="*/ 192690 h 2867451"/>
                    <a:gd name="connsiteX2093" fmla="*/ 2103990 w 7044883"/>
                    <a:gd name="connsiteY2093" fmla="*/ 201801 h 2867451"/>
                    <a:gd name="connsiteX2094" fmla="*/ 2121628 w 7044883"/>
                    <a:gd name="connsiteY2094" fmla="*/ 196215 h 2867451"/>
                    <a:gd name="connsiteX2095" fmla="*/ 2143973 w 7044883"/>
                    <a:gd name="connsiteY2095" fmla="*/ 192912 h 2867451"/>
                    <a:gd name="connsiteX2096" fmla="*/ 2140015 w 7044883"/>
                    <a:gd name="connsiteY2096" fmla="*/ 190734 h 2867451"/>
                    <a:gd name="connsiteX2097" fmla="*/ 2154724 w 7044883"/>
                    <a:gd name="connsiteY2097" fmla="*/ 189270 h 2867451"/>
                    <a:gd name="connsiteX2098" fmla="*/ 2152230 w 7044883"/>
                    <a:gd name="connsiteY2098" fmla="*/ 192245 h 2867451"/>
                    <a:gd name="connsiteX2099" fmla="*/ 2160803 w 7044883"/>
                    <a:gd name="connsiteY2099" fmla="*/ 193650 h 2867451"/>
                    <a:gd name="connsiteX2100" fmla="*/ 2148986 w 7044883"/>
                    <a:gd name="connsiteY2100" fmla="*/ 203195 h 2867451"/>
                    <a:gd name="connsiteX2101" fmla="*/ 2159386 w 7044883"/>
                    <a:gd name="connsiteY2101" fmla="*/ 200279 h 2867451"/>
                    <a:gd name="connsiteX2102" fmla="*/ 2169715 w 7044883"/>
                    <a:gd name="connsiteY2102" fmla="*/ 201801 h 2867451"/>
                    <a:gd name="connsiteX2103" fmla="*/ 2199006 w 7044883"/>
                    <a:gd name="connsiteY2103" fmla="*/ 184890 h 2867451"/>
                    <a:gd name="connsiteX2104" fmla="*/ 2191182 w 7044883"/>
                    <a:gd name="connsiteY2104" fmla="*/ 194435 h 2867451"/>
                    <a:gd name="connsiteX2105" fmla="*/ 2187973 w 7044883"/>
                    <a:gd name="connsiteY2105" fmla="*/ 197363 h 2867451"/>
                    <a:gd name="connsiteX2106" fmla="*/ 2196160 w 7044883"/>
                    <a:gd name="connsiteY2106" fmla="*/ 195899 h 2867451"/>
                    <a:gd name="connsiteX2107" fmla="*/ 2215132 w 7044883"/>
                    <a:gd name="connsiteY2107" fmla="*/ 192245 h 2867451"/>
                    <a:gd name="connsiteX2108" fmla="*/ 2206911 w 7044883"/>
                    <a:gd name="connsiteY2108" fmla="*/ 184140 h 2867451"/>
                    <a:gd name="connsiteX2109" fmla="*/ 2224232 w 7044883"/>
                    <a:gd name="connsiteY2109" fmla="*/ 182911 h 2867451"/>
                    <a:gd name="connsiteX2110" fmla="*/ 2241952 w 7044883"/>
                    <a:gd name="connsiteY2110" fmla="*/ 178964 h 2867451"/>
                    <a:gd name="connsiteX2111" fmla="*/ 2226165 w 7044883"/>
                    <a:gd name="connsiteY2111" fmla="*/ 176762 h 2867451"/>
                    <a:gd name="connsiteX2112" fmla="*/ 2235475 w 7044883"/>
                    <a:gd name="connsiteY2112" fmla="*/ 174256 h 2867451"/>
                    <a:gd name="connsiteX2113" fmla="*/ 2241202 w 7044883"/>
                    <a:gd name="connsiteY2113" fmla="*/ 170848 h 2867451"/>
                    <a:gd name="connsiteX2114" fmla="*/ 2256041 w 7044883"/>
                    <a:gd name="connsiteY2114" fmla="*/ 167651 h 2867451"/>
                    <a:gd name="connsiteX2115" fmla="*/ 2273046 w 7044883"/>
                    <a:gd name="connsiteY2115" fmla="*/ 161291 h 2867451"/>
                    <a:gd name="connsiteX2116" fmla="*/ 2267635 w 7044883"/>
                    <a:gd name="connsiteY2116" fmla="*/ 167955 h 2867451"/>
                    <a:gd name="connsiteX2117" fmla="*/ 2282357 w 7044883"/>
                    <a:gd name="connsiteY2117" fmla="*/ 166128 h 2867451"/>
                    <a:gd name="connsiteX2118" fmla="*/ 2298050 w 7044883"/>
                    <a:gd name="connsiteY2118" fmla="*/ 167955 h 2867451"/>
                    <a:gd name="connsiteX2119" fmla="*/ 2294841 w 7044883"/>
                    <a:gd name="connsiteY2119" fmla="*/ 172359 h 2867451"/>
                    <a:gd name="connsiteX2120" fmla="*/ 2287334 w 7044883"/>
                    <a:gd name="connsiteY2120" fmla="*/ 172359 h 2867451"/>
                    <a:gd name="connsiteX2121" fmla="*/ 2306646 w 7044883"/>
                    <a:gd name="connsiteY2121" fmla="*/ 174150 h 2867451"/>
                    <a:gd name="connsiteX2122" fmla="*/ 2307021 w 7044883"/>
                    <a:gd name="connsiteY2122" fmla="*/ 178296 h 2867451"/>
                    <a:gd name="connsiteX2123" fmla="*/ 2312666 w 7044883"/>
                    <a:gd name="connsiteY2123" fmla="*/ 181212 h 2867451"/>
                    <a:gd name="connsiteX2124" fmla="*/ 2311589 w 7044883"/>
                    <a:gd name="connsiteY2124" fmla="*/ 182676 h 2867451"/>
                    <a:gd name="connsiteX2125" fmla="*/ 2319224 w 7044883"/>
                    <a:gd name="connsiteY2125" fmla="*/ 182384 h 2867451"/>
                    <a:gd name="connsiteX2126" fmla="*/ 2318920 w 7044883"/>
                    <a:gd name="connsiteY2126" fmla="*/ 192069 h 2867451"/>
                    <a:gd name="connsiteX2127" fmla="*/ 2304726 w 7044883"/>
                    <a:gd name="connsiteY2127" fmla="*/ 211955 h 2867451"/>
                    <a:gd name="connsiteX2128" fmla="*/ 2316624 w 7044883"/>
                    <a:gd name="connsiteY2128" fmla="*/ 209273 h 2867451"/>
                    <a:gd name="connsiteX2129" fmla="*/ 2328617 w 7044883"/>
                    <a:gd name="connsiteY2129" fmla="*/ 199166 h 2867451"/>
                    <a:gd name="connsiteX2130" fmla="*/ 2327247 w 7044883"/>
                    <a:gd name="connsiteY2130" fmla="*/ 189762 h 2867451"/>
                    <a:gd name="connsiteX2131" fmla="*/ 2328418 w 7044883"/>
                    <a:gd name="connsiteY2131" fmla="*/ 179690 h 2867451"/>
                    <a:gd name="connsiteX2132" fmla="*/ 2316144 w 7044883"/>
                    <a:gd name="connsiteY2132" fmla="*/ 168915 h 2867451"/>
                    <a:gd name="connsiteX2133" fmla="*/ 2311015 w 7044883"/>
                    <a:gd name="connsiteY2133" fmla="*/ 160003 h 2867451"/>
                    <a:gd name="connsiteX2134" fmla="*/ 2302957 w 7044883"/>
                    <a:gd name="connsiteY2134" fmla="*/ 159663 h 2867451"/>
                    <a:gd name="connsiteX2135" fmla="*/ 2301095 w 7044883"/>
                    <a:gd name="connsiteY2135" fmla="*/ 155740 h 2867451"/>
                    <a:gd name="connsiteX2136" fmla="*/ 2295942 w 7044883"/>
                    <a:gd name="connsiteY2136" fmla="*/ 152086 h 2867451"/>
                    <a:gd name="connsiteX2137" fmla="*/ 2286655 w 7044883"/>
                    <a:gd name="connsiteY2137" fmla="*/ 151980 h 2867451"/>
                    <a:gd name="connsiteX2138" fmla="*/ 2282603 w 7044883"/>
                    <a:gd name="connsiteY2138" fmla="*/ 145996 h 2867451"/>
                    <a:gd name="connsiteX2139" fmla="*/ 2273913 w 7044883"/>
                    <a:gd name="connsiteY2139" fmla="*/ 135385 h 2867451"/>
                    <a:gd name="connsiteX2140" fmla="*/ 2305393 w 7044883"/>
                    <a:gd name="connsiteY2140" fmla="*/ 138840 h 2867451"/>
                    <a:gd name="connsiteX2141" fmla="*/ 2337904 w 7044883"/>
                    <a:gd name="connsiteY2141" fmla="*/ 137142 h 2867451"/>
                    <a:gd name="connsiteX2142" fmla="*/ 2351279 w 7044883"/>
                    <a:gd name="connsiteY2142" fmla="*/ 140117 h 2867451"/>
                    <a:gd name="connsiteX2143" fmla="*/ 2371575 w 7044883"/>
                    <a:gd name="connsiteY2143" fmla="*/ 135104 h 2867451"/>
                    <a:gd name="connsiteX2144" fmla="*/ 2384399 w 7044883"/>
                    <a:gd name="connsiteY2144" fmla="*/ 135186 h 2867451"/>
                    <a:gd name="connsiteX2145" fmla="*/ 2387760 w 7044883"/>
                    <a:gd name="connsiteY2145" fmla="*/ 140585 h 2867451"/>
                    <a:gd name="connsiteX2146" fmla="*/ 2424757 w 7044883"/>
                    <a:gd name="connsiteY2146" fmla="*/ 141440 h 2867451"/>
                    <a:gd name="connsiteX2147" fmla="*/ 2431796 w 7044883"/>
                    <a:gd name="connsiteY2147" fmla="*/ 146874 h 2867451"/>
                    <a:gd name="connsiteX2148" fmla="*/ 2452127 w 7044883"/>
                    <a:gd name="connsiteY2148" fmla="*/ 148772 h 2867451"/>
                    <a:gd name="connsiteX2149" fmla="*/ 2414217 w 7044883"/>
                    <a:gd name="connsiteY2149" fmla="*/ 137634 h 2867451"/>
                    <a:gd name="connsiteX2150" fmla="*/ 2415669 w 7044883"/>
                    <a:gd name="connsiteY2150" fmla="*/ 136966 h 2867451"/>
                    <a:gd name="connsiteX2151" fmla="*/ 2396216 w 7044883"/>
                    <a:gd name="connsiteY2151" fmla="*/ 134226 h 2867451"/>
                    <a:gd name="connsiteX2152" fmla="*/ 2380616 w 7044883"/>
                    <a:gd name="connsiteY2152" fmla="*/ 130185 h 2867451"/>
                    <a:gd name="connsiteX2153" fmla="*/ 2393534 w 7044883"/>
                    <a:gd name="connsiteY2153" fmla="*/ 110885 h 2867451"/>
                    <a:gd name="connsiteX2154" fmla="*/ 2399203 w 7044883"/>
                    <a:gd name="connsiteY2154" fmla="*/ 107114 h 2867451"/>
                    <a:gd name="connsiteX2155" fmla="*/ 2380288 w 7044883"/>
                    <a:gd name="connsiteY2155" fmla="*/ 92662 h 2867451"/>
                    <a:gd name="connsiteX2156" fmla="*/ 2392222 w 7044883"/>
                    <a:gd name="connsiteY2156" fmla="*/ 82929 h 2867451"/>
                    <a:gd name="connsiteX2157" fmla="*/ 2399390 w 7044883"/>
                    <a:gd name="connsiteY2157" fmla="*/ 76757 h 2867451"/>
                    <a:gd name="connsiteX2158" fmla="*/ 2395865 w 7044883"/>
                    <a:gd name="connsiteY2158" fmla="*/ 73724 h 2867451"/>
                    <a:gd name="connsiteX2159" fmla="*/ 2403536 w 7044883"/>
                    <a:gd name="connsiteY2159" fmla="*/ 67564 h 2867451"/>
                    <a:gd name="connsiteX2160" fmla="*/ 2426291 w 7044883"/>
                    <a:gd name="connsiteY2160" fmla="*/ 52936 h 2867451"/>
                    <a:gd name="connsiteX2161" fmla="*/ 2442231 w 7044883"/>
                    <a:gd name="connsiteY2161" fmla="*/ 39128 h 2867451"/>
                    <a:gd name="connsiteX2162" fmla="*/ 2452841 w 7044883"/>
                    <a:gd name="connsiteY2162" fmla="*/ 39843 h 2867451"/>
                    <a:gd name="connsiteX2163" fmla="*/ 2466251 w 7044883"/>
                    <a:gd name="connsiteY2163" fmla="*/ 28354 h 2867451"/>
                    <a:gd name="connsiteX2164" fmla="*/ 2486020 w 7044883"/>
                    <a:gd name="connsiteY2164" fmla="*/ 17321 h 2867451"/>
                    <a:gd name="connsiteX2165" fmla="*/ 2506761 w 7044883"/>
                    <a:gd name="connsiteY2165" fmla="*/ 9709 h 2867451"/>
                    <a:gd name="connsiteX2166" fmla="*/ 2510743 w 7044883"/>
                    <a:gd name="connsiteY2166" fmla="*/ 13070 h 2867451"/>
                    <a:gd name="connsiteX2167" fmla="*/ 2523286 w 7044883"/>
                    <a:gd name="connsiteY2167" fmla="*/ 11185 h 2867451"/>
                    <a:gd name="connsiteX2168" fmla="*/ 2545620 w 7044883"/>
                    <a:gd name="connsiteY2168" fmla="*/ 363 h 2867451"/>
                    <a:gd name="connsiteX2169" fmla="*/ 2558561 w 7044883"/>
                    <a:gd name="connsiteY2169" fmla="*/ 0 h 2867451"/>
                    <a:gd name="connsiteX2170" fmla="*/ 2557074 w 7044883"/>
                    <a:gd name="connsiteY2170" fmla="*/ 5434 h 2867451"/>
                    <a:gd name="connsiteX2171" fmla="*/ 2578471 w 7044883"/>
                    <a:gd name="connsiteY2171" fmla="*/ 3197 h 2867451"/>
                    <a:gd name="connsiteX2172" fmla="*/ 2590604 w 7044883"/>
                    <a:gd name="connsiteY2172" fmla="*/ 14768 h 2867451"/>
                    <a:gd name="connsiteX2173" fmla="*/ 2641139 w 7044883"/>
                    <a:gd name="connsiteY2173" fmla="*/ 18844 h 2867451"/>
                    <a:gd name="connsiteX2174" fmla="*/ 2639031 w 7044883"/>
                    <a:gd name="connsiteY2174" fmla="*/ 21947 h 2867451"/>
                    <a:gd name="connsiteX2175" fmla="*/ 2646796 w 7044883"/>
                    <a:gd name="connsiteY2175" fmla="*/ 33530 h 2867451"/>
                    <a:gd name="connsiteX2176" fmla="*/ 2662969 w 7044883"/>
                    <a:gd name="connsiteY2176" fmla="*/ 40897 h 2867451"/>
                    <a:gd name="connsiteX2177" fmla="*/ 2635120 w 7044883"/>
                    <a:gd name="connsiteY2177" fmla="*/ 40955 h 2867451"/>
                    <a:gd name="connsiteX2178" fmla="*/ 2628503 w 7044883"/>
                    <a:gd name="connsiteY2178" fmla="*/ 47760 h 2867451"/>
                    <a:gd name="connsiteX2179" fmla="*/ 2618290 w 7044883"/>
                    <a:gd name="connsiteY2179" fmla="*/ 51460 h 2867451"/>
                    <a:gd name="connsiteX2180" fmla="*/ 2623654 w 7044883"/>
                    <a:gd name="connsiteY2180" fmla="*/ 52280 h 2867451"/>
                    <a:gd name="connsiteX2181" fmla="*/ 2588601 w 7044883"/>
                    <a:gd name="connsiteY2181" fmla="*/ 63172 h 2867451"/>
                    <a:gd name="connsiteX2182" fmla="*/ 2549661 w 7044883"/>
                    <a:gd name="connsiteY2182" fmla="*/ 71159 h 2867451"/>
                    <a:gd name="connsiteX2183" fmla="*/ 2583191 w 7044883"/>
                    <a:gd name="connsiteY2183" fmla="*/ 68372 h 2867451"/>
                    <a:gd name="connsiteX2184" fmla="*/ 2595488 w 7044883"/>
                    <a:gd name="connsiteY2184" fmla="*/ 71839 h 2867451"/>
                    <a:gd name="connsiteX2185" fmla="*/ 2608230 w 7044883"/>
                    <a:gd name="connsiteY2185" fmla="*/ 70257 h 2867451"/>
                    <a:gd name="connsiteX2186" fmla="*/ 2627554 w 7044883"/>
                    <a:gd name="connsiteY2186" fmla="*/ 69063 h 2867451"/>
                    <a:gd name="connsiteX2187" fmla="*/ 2641678 w 7044883"/>
                    <a:gd name="connsiteY2187" fmla="*/ 67154 h 2867451"/>
                    <a:gd name="connsiteX2188" fmla="*/ 2644782 w 7044883"/>
                    <a:gd name="connsiteY2188" fmla="*/ 67400 h 2867451"/>
                    <a:gd name="connsiteX2189" fmla="*/ 2634019 w 7044883"/>
                    <a:gd name="connsiteY2189" fmla="*/ 74907 h 2867451"/>
                    <a:gd name="connsiteX2190" fmla="*/ 2636513 w 7044883"/>
                    <a:gd name="connsiteY2190" fmla="*/ 77156 h 2867451"/>
                    <a:gd name="connsiteX2191" fmla="*/ 2622366 w 7044883"/>
                    <a:gd name="connsiteY2191" fmla="*/ 83011 h 2867451"/>
                    <a:gd name="connsiteX2192" fmla="*/ 2644793 w 7044883"/>
                    <a:gd name="connsiteY2192" fmla="*/ 81641 h 2867451"/>
                    <a:gd name="connsiteX2193" fmla="*/ 2672023 w 7044883"/>
                    <a:gd name="connsiteY2193" fmla="*/ 77319 h 2867451"/>
                    <a:gd name="connsiteX2194" fmla="*/ 2688360 w 7044883"/>
                    <a:gd name="connsiteY2194" fmla="*/ 80973 h 2867451"/>
                    <a:gd name="connsiteX2195" fmla="*/ 2681591 w 7044883"/>
                    <a:gd name="connsiteY2195" fmla="*/ 78655 h 2867451"/>
                    <a:gd name="connsiteX2196" fmla="*/ 2700493 w 7044883"/>
                    <a:gd name="connsiteY2196" fmla="*/ 78655 h 2867451"/>
                    <a:gd name="connsiteX2197" fmla="*/ 2698362 w 7044883"/>
                    <a:gd name="connsiteY2197" fmla="*/ 80165 h 2867451"/>
                    <a:gd name="connsiteX2198" fmla="*/ 2714805 w 7044883"/>
                    <a:gd name="connsiteY2198" fmla="*/ 79416 h 2867451"/>
                    <a:gd name="connsiteX2199" fmla="*/ 2712298 w 7044883"/>
                    <a:gd name="connsiteY2199" fmla="*/ 80973 h 2867451"/>
                    <a:gd name="connsiteX2200" fmla="*/ 2720684 w 7044883"/>
                    <a:gd name="connsiteY2200" fmla="*/ 87965 h 2867451"/>
                    <a:gd name="connsiteX2201" fmla="*/ 2725146 w 7044883"/>
                    <a:gd name="connsiteY2201" fmla="*/ 91455 h 2867451"/>
                    <a:gd name="connsiteX2202" fmla="*/ 2713774 w 7044883"/>
                    <a:gd name="connsiteY2202" fmla="*/ 93622 h 2867451"/>
                    <a:gd name="connsiteX2203" fmla="*/ 2718412 w 7044883"/>
                    <a:gd name="connsiteY2203" fmla="*/ 95999 h 2867451"/>
                    <a:gd name="connsiteX2204" fmla="*/ 2709827 w 7044883"/>
                    <a:gd name="connsiteY2204" fmla="*/ 98927 h 2867451"/>
                    <a:gd name="connsiteX2205" fmla="*/ 2714816 w 7044883"/>
                    <a:gd name="connsiteY2205" fmla="*/ 99665 h 2867451"/>
                    <a:gd name="connsiteX2206" fmla="*/ 2706197 w 7044883"/>
                    <a:gd name="connsiteY2206" fmla="*/ 102452 h 2867451"/>
                    <a:gd name="connsiteX2207" fmla="*/ 2702859 w 7044883"/>
                    <a:gd name="connsiteY2207" fmla="*/ 107734 h 2867451"/>
                    <a:gd name="connsiteX2208" fmla="*/ 2685526 w 7044883"/>
                    <a:gd name="connsiteY2208" fmla="*/ 112384 h 2867451"/>
                    <a:gd name="connsiteX2209" fmla="*/ 2676286 w 7044883"/>
                    <a:gd name="connsiteY2209" fmla="*/ 129354 h 2867451"/>
                    <a:gd name="connsiteX2210" fmla="*/ 2672889 w 7044883"/>
                    <a:gd name="connsiteY2210" fmla="*/ 124786 h 2867451"/>
                    <a:gd name="connsiteX2211" fmla="*/ 2667561 w 7044883"/>
                    <a:gd name="connsiteY2211" fmla="*/ 129131 h 2867451"/>
                    <a:gd name="connsiteX2212" fmla="*/ 2680607 w 7044883"/>
                    <a:gd name="connsiteY2212" fmla="*/ 136100 h 2867451"/>
                    <a:gd name="connsiteX2213" fmla="*/ 2689075 w 7044883"/>
                    <a:gd name="connsiteY2213" fmla="*/ 139168 h 2867451"/>
                    <a:gd name="connsiteX2214" fmla="*/ 2693420 w 7044883"/>
                    <a:gd name="connsiteY2214" fmla="*/ 136709 h 2867451"/>
                    <a:gd name="connsiteX2215" fmla="*/ 2716620 w 7044883"/>
                    <a:gd name="connsiteY2215" fmla="*/ 132914 h 2867451"/>
                    <a:gd name="connsiteX2216" fmla="*/ 2744985 w 7044883"/>
                    <a:gd name="connsiteY2216" fmla="*/ 131708 h 2867451"/>
                    <a:gd name="connsiteX2217" fmla="*/ 2746976 w 7044883"/>
                    <a:gd name="connsiteY2217" fmla="*/ 117595 h 2867451"/>
                    <a:gd name="connsiteX2218" fmla="*/ 2747702 w 7044883"/>
                    <a:gd name="connsiteY2218" fmla="*/ 112384 h 2867451"/>
                    <a:gd name="connsiteX2219" fmla="*/ 2768783 w 7044883"/>
                    <a:gd name="connsiteY2219" fmla="*/ 111716 h 2867451"/>
                    <a:gd name="connsiteX2220" fmla="*/ 2767026 w 7044883"/>
                    <a:gd name="connsiteY2220" fmla="*/ 113871 h 2867451"/>
                    <a:gd name="connsiteX2221" fmla="*/ 2810687 w 7044883"/>
                    <a:gd name="connsiteY2221" fmla="*/ 110580 h 2867451"/>
                    <a:gd name="connsiteX2222" fmla="*/ 2825842 w 7044883"/>
                    <a:gd name="connsiteY2222" fmla="*/ 109655 h 2867451"/>
                    <a:gd name="connsiteX2223" fmla="*/ 2837448 w 7044883"/>
                    <a:gd name="connsiteY2223" fmla="*/ 111880 h 2867451"/>
                    <a:gd name="connsiteX2224" fmla="*/ 2854242 w 7044883"/>
                    <a:gd name="connsiteY2224" fmla="*/ 113859 h 2867451"/>
                    <a:gd name="connsiteX2225" fmla="*/ 2874456 w 7044883"/>
                    <a:gd name="connsiteY2225" fmla="*/ 108671 h 2867451"/>
                    <a:gd name="connsiteX2226" fmla="*/ 2905703 w 7044883"/>
                    <a:gd name="connsiteY2226" fmla="*/ 110135 h 2867451"/>
                    <a:gd name="connsiteX2227" fmla="*/ 2903208 w 7044883"/>
                    <a:gd name="connsiteY2227" fmla="*/ 108648 h 2867451"/>
                    <a:gd name="connsiteX2228" fmla="*/ 2915728 w 7044883"/>
                    <a:gd name="connsiteY2228" fmla="*/ 109339 h 2867451"/>
                    <a:gd name="connsiteX2229" fmla="*/ 2915435 w 7044883"/>
                    <a:gd name="connsiteY2229" fmla="*/ 116073 h 2867451"/>
                    <a:gd name="connsiteX2230" fmla="*/ 2921829 w 7044883"/>
                    <a:gd name="connsiteY2230" fmla="*/ 113813 h 2867451"/>
                    <a:gd name="connsiteX2231" fmla="*/ 2937558 w 7044883"/>
                    <a:gd name="connsiteY2231" fmla="*/ 116167 h 2867451"/>
                    <a:gd name="connsiteX2232" fmla="*/ 2933998 w 7044883"/>
                    <a:gd name="connsiteY2232" fmla="*/ 117595 h 2867451"/>
                    <a:gd name="connsiteX2233" fmla="*/ 2936844 w 7044883"/>
                    <a:gd name="connsiteY2233" fmla="*/ 119821 h 2867451"/>
                    <a:gd name="connsiteX2234" fmla="*/ 2931819 w 7044883"/>
                    <a:gd name="connsiteY2234" fmla="*/ 122046 h 2867451"/>
                    <a:gd name="connsiteX2235" fmla="*/ 2951682 w 7044883"/>
                    <a:gd name="connsiteY2235" fmla="*/ 125700 h 2867451"/>
                    <a:gd name="connsiteX2236" fmla="*/ 2971123 w 7044883"/>
                    <a:gd name="connsiteY2236" fmla="*/ 139192 h 2867451"/>
                    <a:gd name="connsiteX2237" fmla="*/ 2951834 w 7044883"/>
                    <a:gd name="connsiteY2237" fmla="*/ 153280 h 2867451"/>
                    <a:gd name="connsiteX2238" fmla="*/ 2973817 w 7044883"/>
                    <a:gd name="connsiteY2238" fmla="*/ 141194 h 2867451"/>
                    <a:gd name="connsiteX2239" fmla="*/ 2999746 w 7044883"/>
                    <a:gd name="connsiteY2239" fmla="*/ 153948 h 2867451"/>
                    <a:gd name="connsiteX2240" fmla="*/ 2995085 w 7044883"/>
                    <a:gd name="connsiteY2240" fmla="*/ 155353 h 2867451"/>
                    <a:gd name="connsiteX2241" fmla="*/ 2996865 w 7044883"/>
                    <a:gd name="connsiteY2241" fmla="*/ 165109 h 2867451"/>
                    <a:gd name="connsiteX2242" fmla="*/ 2986864 w 7044883"/>
                    <a:gd name="connsiteY2242" fmla="*/ 164301 h 2867451"/>
                    <a:gd name="connsiteX2243" fmla="*/ 2995167 w 7044883"/>
                    <a:gd name="connsiteY2243" fmla="*/ 169044 h 2867451"/>
                    <a:gd name="connsiteX2244" fmla="*/ 3004513 w 7044883"/>
                    <a:gd name="connsiteY2244" fmla="*/ 173096 h 2867451"/>
                    <a:gd name="connsiteX2245" fmla="*/ 2990471 w 7044883"/>
                    <a:gd name="connsiteY2245" fmla="*/ 184890 h 2867451"/>
                    <a:gd name="connsiteX2246" fmla="*/ 3012254 w 7044883"/>
                    <a:gd name="connsiteY2246" fmla="*/ 174584 h 2867451"/>
                    <a:gd name="connsiteX2247" fmla="*/ 3028697 w 7044883"/>
                    <a:gd name="connsiteY2247" fmla="*/ 177570 h 2867451"/>
                    <a:gd name="connsiteX2248" fmla="*/ 3027971 w 7044883"/>
                    <a:gd name="connsiteY2248" fmla="*/ 171644 h 2867451"/>
                    <a:gd name="connsiteX2249" fmla="*/ 3009350 w 7044883"/>
                    <a:gd name="connsiteY2249" fmla="*/ 162099 h 2867451"/>
                    <a:gd name="connsiteX2250" fmla="*/ 3028346 w 7044883"/>
                    <a:gd name="connsiteY2250" fmla="*/ 163563 h 2867451"/>
                    <a:gd name="connsiteX2251" fmla="*/ 3024727 w 7044883"/>
                    <a:gd name="connsiteY2251" fmla="*/ 165777 h 2867451"/>
                    <a:gd name="connsiteX2252" fmla="*/ 3025476 w 7044883"/>
                    <a:gd name="connsiteY2252" fmla="*/ 167967 h 2867451"/>
                    <a:gd name="connsiteX2253" fmla="*/ 3041533 w 7044883"/>
                    <a:gd name="connsiteY2253" fmla="*/ 187736 h 2867451"/>
                    <a:gd name="connsiteX2254" fmla="*/ 3039015 w 7044883"/>
                    <a:gd name="connsiteY2254" fmla="*/ 191460 h 2867451"/>
                    <a:gd name="connsiteX2255" fmla="*/ 3035841 w 7044883"/>
                    <a:gd name="connsiteY2255" fmla="*/ 195899 h 2867451"/>
                    <a:gd name="connsiteX2256" fmla="*/ 3037984 w 7044883"/>
                    <a:gd name="connsiteY2256" fmla="*/ 204635 h 2867451"/>
                    <a:gd name="connsiteX2257" fmla="*/ 3046920 w 7044883"/>
                    <a:gd name="connsiteY2257" fmla="*/ 203195 h 2867451"/>
                    <a:gd name="connsiteX2258" fmla="*/ 3045117 w 7044883"/>
                    <a:gd name="connsiteY2258" fmla="*/ 198089 h 2867451"/>
                    <a:gd name="connsiteX2259" fmla="*/ 3057156 w 7044883"/>
                    <a:gd name="connsiteY2259" fmla="*/ 198721 h 2867451"/>
                    <a:gd name="connsiteX2260" fmla="*/ 3058866 w 7044883"/>
                    <a:gd name="connsiteY2260" fmla="*/ 207071 h 2867451"/>
                    <a:gd name="connsiteX2261" fmla="*/ 3056184 w 7044883"/>
                    <a:gd name="connsiteY2261" fmla="*/ 214883 h 2867451"/>
                    <a:gd name="connsiteX2262" fmla="*/ 3035127 w 7044883"/>
                    <a:gd name="connsiteY2262" fmla="*/ 238821 h 2867451"/>
                    <a:gd name="connsiteX2263" fmla="*/ 3045117 w 7044883"/>
                    <a:gd name="connsiteY2263" fmla="*/ 226548 h 2867451"/>
                    <a:gd name="connsiteX2264" fmla="*/ 3016435 w 7044883"/>
                    <a:gd name="connsiteY2264" fmla="*/ 223655 h 2867451"/>
                    <a:gd name="connsiteX2265" fmla="*/ 3004934 w 7044883"/>
                    <a:gd name="connsiteY2265" fmla="*/ 212916 h 2867451"/>
                    <a:gd name="connsiteX2266" fmla="*/ 2978326 w 7044883"/>
                    <a:gd name="connsiteY2266" fmla="*/ 206158 h 2867451"/>
                    <a:gd name="connsiteX2267" fmla="*/ 2986395 w 7044883"/>
                    <a:gd name="connsiteY2267" fmla="*/ 212599 h 2867451"/>
                    <a:gd name="connsiteX2268" fmla="*/ 2999758 w 7044883"/>
                    <a:gd name="connsiteY2268" fmla="*/ 216593 h 2867451"/>
                    <a:gd name="connsiteX2269" fmla="*/ 2999758 w 7044883"/>
                    <a:gd name="connsiteY2269" fmla="*/ 222062 h 2867451"/>
                    <a:gd name="connsiteX2270" fmla="*/ 3006059 w 7044883"/>
                    <a:gd name="connsiteY2270" fmla="*/ 230143 h 2867451"/>
                    <a:gd name="connsiteX2271" fmla="*/ 3003190 w 7044883"/>
                    <a:gd name="connsiteY2271" fmla="*/ 237018 h 2867451"/>
                    <a:gd name="connsiteX2272" fmla="*/ 3014760 w 7044883"/>
                    <a:gd name="connsiteY2272" fmla="*/ 237463 h 2867451"/>
                    <a:gd name="connsiteX2273" fmla="*/ 3028814 w 7044883"/>
                    <a:gd name="connsiteY2273" fmla="*/ 230963 h 2867451"/>
                    <a:gd name="connsiteX2274" fmla="*/ 3029259 w 7044883"/>
                    <a:gd name="connsiteY2274" fmla="*/ 238540 h 2867451"/>
                    <a:gd name="connsiteX2275" fmla="*/ 3046171 w 7044883"/>
                    <a:gd name="connsiteY2275" fmla="*/ 240520 h 2867451"/>
                    <a:gd name="connsiteX2276" fmla="*/ 3050481 w 7044883"/>
                    <a:gd name="connsiteY2276" fmla="*/ 252571 h 2867451"/>
                    <a:gd name="connsiteX2277" fmla="*/ 3040854 w 7044883"/>
                    <a:gd name="connsiteY2277" fmla="*/ 254655 h 2867451"/>
                    <a:gd name="connsiteX2278" fmla="*/ 3033780 w 7044883"/>
                    <a:gd name="connsiteY2278" fmla="*/ 274413 h 2867451"/>
                    <a:gd name="connsiteX2279" fmla="*/ 3010603 w 7044883"/>
                    <a:gd name="connsiteY2279" fmla="*/ 293022 h 2867451"/>
                    <a:gd name="connsiteX2280" fmla="*/ 2970784 w 7044883"/>
                    <a:gd name="connsiteY2280" fmla="*/ 307521 h 2867451"/>
                    <a:gd name="connsiteX2281" fmla="*/ 2963253 w 7044883"/>
                    <a:gd name="connsiteY2281" fmla="*/ 317874 h 2867451"/>
                    <a:gd name="connsiteX2282" fmla="*/ 2956097 w 7044883"/>
                    <a:gd name="connsiteY2282" fmla="*/ 322781 h 2867451"/>
                    <a:gd name="connsiteX2283" fmla="*/ 2958276 w 7044883"/>
                    <a:gd name="connsiteY2283" fmla="*/ 323484 h 2867451"/>
                    <a:gd name="connsiteX2284" fmla="*/ 2933272 w 7044883"/>
                    <a:gd name="connsiteY2284" fmla="*/ 327115 h 2867451"/>
                    <a:gd name="connsiteX2285" fmla="*/ 2907846 w 7044883"/>
                    <a:gd name="connsiteY2285" fmla="*/ 337678 h 2867451"/>
                    <a:gd name="connsiteX2286" fmla="*/ 2911301 w 7044883"/>
                    <a:gd name="connsiteY2286" fmla="*/ 339236 h 2867451"/>
                    <a:gd name="connsiteX2287" fmla="*/ 2893042 w 7044883"/>
                    <a:gd name="connsiteY2287" fmla="*/ 346591 h 2867451"/>
                    <a:gd name="connsiteX2288" fmla="*/ 2881717 w 7044883"/>
                    <a:gd name="connsiteY2288" fmla="*/ 349425 h 2867451"/>
                    <a:gd name="connsiteX2289" fmla="*/ 2871037 w 7044883"/>
                    <a:gd name="connsiteY2289" fmla="*/ 349659 h 2867451"/>
                    <a:gd name="connsiteX2290" fmla="*/ 2871388 w 7044883"/>
                    <a:gd name="connsiteY2290" fmla="*/ 358490 h 2867451"/>
                    <a:gd name="connsiteX2291" fmla="*/ 2861913 w 7044883"/>
                    <a:gd name="connsiteY2291" fmla="*/ 360469 h 2867451"/>
                    <a:gd name="connsiteX2292" fmla="*/ 2854394 w 7044883"/>
                    <a:gd name="connsiteY2292" fmla="*/ 363081 h 2867451"/>
                    <a:gd name="connsiteX2293" fmla="*/ 2845634 w 7044883"/>
                    <a:gd name="connsiteY2293" fmla="*/ 366102 h 2867451"/>
                    <a:gd name="connsiteX2294" fmla="*/ 2833513 w 7044883"/>
                    <a:gd name="connsiteY2294" fmla="*/ 366571 h 2867451"/>
                    <a:gd name="connsiteX2295" fmla="*/ 2852790 w 7044883"/>
                    <a:gd name="connsiteY2295" fmla="*/ 375366 h 2867451"/>
                    <a:gd name="connsiteX2296" fmla="*/ 2825643 w 7044883"/>
                    <a:gd name="connsiteY2296" fmla="*/ 391235 h 2867451"/>
                    <a:gd name="connsiteX2297" fmla="*/ 2793483 w 7044883"/>
                    <a:gd name="connsiteY2297" fmla="*/ 404200 h 2867451"/>
                    <a:gd name="connsiteX2298" fmla="*/ 2774908 w 7044883"/>
                    <a:gd name="connsiteY2298" fmla="*/ 416895 h 2867451"/>
                    <a:gd name="connsiteX2299" fmla="*/ 2777731 w 7044883"/>
                    <a:gd name="connsiteY2299" fmla="*/ 421744 h 2867451"/>
                    <a:gd name="connsiteX2300" fmla="*/ 2755549 w 7044883"/>
                    <a:gd name="connsiteY2300" fmla="*/ 435634 h 2867451"/>
                    <a:gd name="connsiteX2301" fmla="*/ 2757001 w 7044883"/>
                    <a:gd name="connsiteY2301" fmla="*/ 432870 h 2867451"/>
                    <a:gd name="connsiteX2302" fmla="*/ 2741167 w 7044883"/>
                    <a:gd name="connsiteY2302" fmla="*/ 437121 h 2867451"/>
                    <a:gd name="connsiteX2303" fmla="*/ 2728460 w 7044883"/>
                    <a:gd name="connsiteY2303" fmla="*/ 436254 h 2867451"/>
                    <a:gd name="connsiteX2304" fmla="*/ 2705190 w 7044883"/>
                    <a:gd name="connsiteY2304" fmla="*/ 441841 h 2867451"/>
                    <a:gd name="connsiteX2305" fmla="*/ 2696570 w 7044883"/>
                    <a:gd name="connsiteY2305" fmla="*/ 452252 h 2867451"/>
                    <a:gd name="connsiteX2306" fmla="*/ 2689402 w 7044883"/>
                    <a:gd name="connsiteY2306" fmla="*/ 464631 h 2867451"/>
                    <a:gd name="connsiteX2307" fmla="*/ 2650239 w 7044883"/>
                    <a:gd name="connsiteY2307" fmla="*/ 475465 h 2867451"/>
                    <a:gd name="connsiteX2308" fmla="*/ 2649138 w 7044883"/>
                    <a:gd name="connsiteY2308" fmla="*/ 481180 h 2867451"/>
                    <a:gd name="connsiteX2309" fmla="*/ 2640624 w 7044883"/>
                    <a:gd name="connsiteY2309" fmla="*/ 488933 h 2867451"/>
                    <a:gd name="connsiteX2310" fmla="*/ 2639675 w 7044883"/>
                    <a:gd name="connsiteY2310" fmla="*/ 495035 h 2867451"/>
                    <a:gd name="connsiteX2311" fmla="*/ 2635892 w 7044883"/>
                    <a:gd name="connsiteY2311" fmla="*/ 501031 h 2867451"/>
                    <a:gd name="connsiteX2312" fmla="*/ 2599048 w 7044883"/>
                    <a:gd name="connsiteY2312" fmla="*/ 520648 h 2867451"/>
                    <a:gd name="connsiteX2313" fmla="*/ 2599388 w 7044883"/>
                    <a:gd name="connsiteY2313" fmla="*/ 522674 h 2867451"/>
                    <a:gd name="connsiteX2314" fmla="*/ 2629100 w 7044883"/>
                    <a:gd name="connsiteY2314" fmla="*/ 518141 h 2867451"/>
                    <a:gd name="connsiteX2315" fmla="*/ 2638610 w 7044883"/>
                    <a:gd name="connsiteY2315" fmla="*/ 511454 h 2867451"/>
                    <a:gd name="connsiteX2316" fmla="*/ 2645109 w 7044883"/>
                    <a:gd name="connsiteY2316" fmla="*/ 509744 h 2867451"/>
                    <a:gd name="connsiteX2317" fmla="*/ 2647487 w 7044883"/>
                    <a:gd name="connsiteY2317" fmla="*/ 505142 h 2867451"/>
                    <a:gd name="connsiteX2318" fmla="*/ 2657313 w 7044883"/>
                    <a:gd name="connsiteY2318" fmla="*/ 509030 h 2867451"/>
                    <a:gd name="connsiteX2319" fmla="*/ 2671636 w 7044883"/>
                    <a:gd name="connsiteY2319" fmla="*/ 512262 h 2867451"/>
                    <a:gd name="connsiteX2320" fmla="*/ 2705295 w 7044883"/>
                    <a:gd name="connsiteY2320" fmla="*/ 513621 h 2867451"/>
                    <a:gd name="connsiteX2321" fmla="*/ 2681216 w 7044883"/>
                    <a:gd name="connsiteY2321" fmla="*/ 509803 h 2867451"/>
                    <a:gd name="connsiteX2322" fmla="*/ 2660604 w 7044883"/>
                    <a:gd name="connsiteY2322" fmla="*/ 502389 h 2867451"/>
                    <a:gd name="connsiteX2323" fmla="*/ 2660358 w 7044883"/>
                    <a:gd name="connsiteY2323" fmla="*/ 484635 h 2867451"/>
                    <a:gd name="connsiteX2324" fmla="*/ 2692951 w 7044883"/>
                    <a:gd name="connsiteY2324" fmla="*/ 484717 h 2867451"/>
                    <a:gd name="connsiteX2325" fmla="*/ 2702484 w 7044883"/>
                    <a:gd name="connsiteY2325" fmla="*/ 481309 h 2867451"/>
                    <a:gd name="connsiteX2326" fmla="*/ 2716983 w 7044883"/>
                    <a:gd name="connsiteY2326" fmla="*/ 483522 h 2867451"/>
                    <a:gd name="connsiteX2327" fmla="*/ 2740418 w 7044883"/>
                    <a:gd name="connsiteY2327" fmla="*/ 481812 h 2867451"/>
                    <a:gd name="connsiteX2328" fmla="*/ 2753535 w 7044883"/>
                    <a:gd name="connsiteY2328" fmla="*/ 475500 h 2867451"/>
                    <a:gd name="connsiteX2329" fmla="*/ 2764145 w 7044883"/>
                    <a:gd name="connsiteY2329" fmla="*/ 476917 h 2867451"/>
                    <a:gd name="connsiteX2330" fmla="*/ 2772332 w 7044883"/>
                    <a:gd name="connsiteY2330" fmla="*/ 473099 h 2867451"/>
                    <a:gd name="connsiteX2331" fmla="*/ 2762342 w 7044883"/>
                    <a:gd name="connsiteY2331" fmla="*/ 471459 h 2867451"/>
                    <a:gd name="connsiteX2332" fmla="*/ 2788681 w 7044883"/>
                    <a:gd name="connsiteY2332" fmla="*/ 465287 h 2867451"/>
                    <a:gd name="connsiteX2333" fmla="*/ 2817374 w 7044883"/>
                    <a:gd name="connsiteY2333" fmla="*/ 459068 h 2867451"/>
                    <a:gd name="connsiteX2334" fmla="*/ 2821403 w 7044883"/>
                    <a:gd name="connsiteY2334" fmla="*/ 455168 h 2867451"/>
                    <a:gd name="connsiteX2335" fmla="*/ 2825584 w 7044883"/>
                    <a:gd name="connsiteY2335" fmla="*/ 453587 h 2867451"/>
                    <a:gd name="connsiteX2336" fmla="*/ 2813322 w 7044883"/>
                    <a:gd name="connsiteY2336" fmla="*/ 445823 h 2867451"/>
                    <a:gd name="connsiteX2337" fmla="*/ 2826498 w 7044883"/>
                    <a:gd name="connsiteY2337" fmla="*/ 451257 h 2867451"/>
                    <a:gd name="connsiteX2338" fmla="*/ 2851631 w 7044883"/>
                    <a:gd name="connsiteY2338" fmla="*/ 450788 h 2867451"/>
                    <a:gd name="connsiteX2339" fmla="*/ 2861011 w 7044883"/>
                    <a:gd name="connsiteY2339" fmla="*/ 443258 h 2867451"/>
                    <a:gd name="connsiteX2340" fmla="*/ 2878497 w 7044883"/>
                    <a:gd name="connsiteY2340" fmla="*/ 438433 h 2867451"/>
                    <a:gd name="connsiteX2341" fmla="*/ 2899847 w 7044883"/>
                    <a:gd name="connsiteY2341" fmla="*/ 431218 h 2867451"/>
                    <a:gd name="connsiteX2342" fmla="*/ 2904227 w 7044883"/>
                    <a:gd name="connsiteY2342" fmla="*/ 422423 h 2867451"/>
                    <a:gd name="connsiteX2343" fmla="*/ 2892094 w 7044883"/>
                    <a:gd name="connsiteY2343" fmla="*/ 420479 h 2867451"/>
                    <a:gd name="connsiteX2344" fmla="*/ 2875557 w 7044883"/>
                    <a:gd name="connsiteY2344" fmla="*/ 426698 h 2867451"/>
                    <a:gd name="connsiteX2345" fmla="*/ 2843433 w 7044883"/>
                    <a:gd name="connsiteY2345" fmla="*/ 430773 h 2867451"/>
                    <a:gd name="connsiteX2346" fmla="*/ 2845248 w 7044883"/>
                    <a:gd name="connsiteY2346" fmla="*/ 432226 h 2867451"/>
                    <a:gd name="connsiteX2347" fmla="*/ 2833290 w 7044883"/>
                    <a:gd name="connsiteY2347" fmla="*/ 415525 h 2867451"/>
                    <a:gd name="connsiteX2348" fmla="*/ 2848164 w 7044883"/>
                    <a:gd name="connsiteY2348" fmla="*/ 409634 h 2867451"/>
                    <a:gd name="connsiteX2349" fmla="*/ 2854793 w 7044883"/>
                    <a:gd name="connsiteY2349" fmla="*/ 398391 h 2867451"/>
                    <a:gd name="connsiteX2350" fmla="*/ 2893488 w 7044883"/>
                    <a:gd name="connsiteY2350" fmla="*/ 402935 h 2867451"/>
                    <a:gd name="connsiteX2351" fmla="*/ 2906382 w 7044883"/>
                    <a:gd name="connsiteY2351" fmla="*/ 407912 h 2867451"/>
                    <a:gd name="connsiteX2352" fmla="*/ 2912636 w 7044883"/>
                    <a:gd name="connsiteY2352" fmla="*/ 404891 h 2867451"/>
                    <a:gd name="connsiteX2353" fmla="*/ 2912050 w 7044883"/>
                    <a:gd name="connsiteY2353" fmla="*/ 400663 h 2867451"/>
                    <a:gd name="connsiteX2354" fmla="*/ 2918117 w 7044883"/>
                    <a:gd name="connsiteY2354" fmla="*/ 394725 h 2867451"/>
                    <a:gd name="connsiteX2355" fmla="*/ 2937839 w 7044883"/>
                    <a:gd name="connsiteY2355" fmla="*/ 393999 h 2867451"/>
                    <a:gd name="connsiteX2356" fmla="*/ 2919546 w 7044883"/>
                    <a:gd name="connsiteY2356" fmla="*/ 400124 h 2867451"/>
                    <a:gd name="connsiteX2357" fmla="*/ 2926526 w 7044883"/>
                    <a:gd name="connsiteY2357" fmla="*/ 413944 h 2867451"/>
                    <a:gd name="connsiteX2358" fmla="*/ 2947407 w 7044883"/>
                    <a:gd name="connsiteY2358" fmla="*/ 423489 h 2867451"/>
                    <a:gd name="connsiteX2359" fmla="*/ 2984416 w 7044883"/>
                    <a:gd name="connsiteY2359" fmla="*/ 427119 h 2867451"/>
                    <a:gd name="connsiteX2360" fmla="*/ 3009432 w 7044883"/>
                    <a:gd name="connsiteY2360" fmla="*/ 413112 h 2867451"/>
                    <a:gd name="connsiteX2361" fmla="*/ 3003635 w 7044883"/>
                    <a:gd name="connsiteY2361" fmla="*/ 398766 h 2867451"/>
                    <a:gd name="connsiteX2362" fmla="*/ 3020745 w 7044883"/>
                    <a:gd name="connsiteY2362" fmla="*/ 412796 h 2867451"/>
                    <a:gd name="connsiteX2363" fmla="*/ 3033756 w 7044883"/>
                    <a:gd name="connsiteY2363" fmla="*/ 430984 h 2867451"/>
                    <a:gd name="connsiteX2364" fmla="*/ 3021717 w 7044883"/>
                    <a:gd name="connsiteY2364" fmla="*/ 455508 h 2867451"/>
                    <a:gd name="connsiteX2365" fmla="*/ 3037703 w 7044883"/>
                    <a:gd name="connsiteY2365" fmla="*/ 464725 h 2867451"/>
                    <a:gd name="connsiteX2366" fmla="*/ 3038242 w 7044883"/>
                    <a:gd name="connsiteY2366" fmla="*/ 480688 h 2867451"/>
                    <a:gd name="connsiteX2367" fmla="*/ 3040034 w 7044883"/>
                    <a:gd name="connsiteY2367" fmla="*/ 488921 h 2867451"/>
                    <a:gd name="connsiteX2368" fmla="*/ 3037610 w 7044883"/>
                    <a:gd name="connsiteY2368" fmla="*/ 503455 h 2867451"/>
                    <a:gd name="connsiteX2369" fmla="*/ 3018613 w 7044883"/>
                    <a:gd name="connsiteY2369" fmla="*/ 517427 h 2867451"/>
                    <a:gd name="connsiteX2370" fmla="*/ 3022115 w 7044883"/>
                    <a:gd name="connsiteY2370" fmla="*/ 525801 h 2867451"/>
                    <a:gd name="connsiteX2371" fmla="*/ 3034038 w 7044883"/>
                    <a:gd name="connsiteY2371" fmla="*/ 532793 h 2867451"/>
                    <a:gd name="connsiteX2372" fmla="*/ 3069746 w 7044883"/>
                    <a:gd name="connsiteY2372" fmla="*/ 538883 h 2867451"/>
                    <a:gd name="connsiteX2373" fmla="*/ 3026144 w 7044883"/>
                    <a:gd name="connsiteY2373" fmla="*/ 526129 h 2867451"/>
                    <a:gd name="connsiteX2374" fmla="*/ 3035619 w 7044883"/>
                    <a:gd name="connsiteY2374" fmla="*/ 507051 h 2867451"/>
                    <a:gd name="connsiteX2375" fmla="*/ 3040596 w 7044883"/>
                    <a:gd name="connsiteY2375" fmla="*/ 499579 h 2867451"/>
                    <a:gd name="connsiteX2376" fmla="*/ 3043055 w 7044883"/>
                    <a:gd name="connsiteY2376" fmla="*/ 490760 h 2867451"/>
                    <a:gd name="connsiteX2377" fmla="*/ 3040971 w 7044883"/>
                    <a:gd name="connsiteY2377" fmla="*/ 476893 h 2867451"/>
                    <a:gd name="connsiteX2378" fmla="*/ 3066900 w 7044883"/>
                    <a:gd name="connsiteY2378" fmla="*/ 464596 h 2867451"/>
                    <a:gd name="connsiteX2379" fmla="*/ 3049134 w 7044883"/>
                    <a:gd name="connsiteY2379" fmla="*/ 460649 h 2867451"/>
                    <a:gd name="connsiteX2380" fmla="*/ 3037200 w 7044883"/>
                    <a:gd name="connsiteY2380" fmla="*/ 448751 h 2867451"/>
                    <a:gd name="connsiteX2381" fmla="*/ 3062286 w 7044883"/>
                    <a:gd name="connsiteY2381" fmla="*/ 444581 h 2867451"/>
                    <a:gd name="connsiteX2382" fmla="*/ 3073646 w 7044883"/>
                    <a:gd name="connsiteY2382" fmla="*/ 439299 h 2867451"/>
                    <a:gd name="connsiteX2383" fmla="*/ 3089855 w 7044883"/>
                    <a:gd name="connsiteY2383" fmla="*/ 439662 h 2867451"/>
                    <a:gd name="connsiteX2384" fmla="*/ 3144993 w 7044883"/>
                    <a:gd name="connsiteY2384" fmla="*/ 428560 h 2867451"/>
                    <a:gd name="connsiteX2385" fmla="*/ 3202566 w 7044883"/>
                    <a:gd name="connsiteY2385" fmla="*/ 432073 h 2867451"/>
                    <a:gd name="connsiteX2386" fmla="*/ 3261991 w 7044883"/>
                    <a:gd name="connsiteY2386" fmla="*/ 440670 h 2867451"/>
                    <a:gd name="connsiteX2387" fmla="*/ 3325713 w 7044883"/>
                    <a:gd name="connsiteY2387" fmla="*/ 450133 h 2867451"/>
                    <a:gd name="connsiteX2388" fmla="*/ 3310945 w 7044883"/>
                    <a:gd name="connsiteY2388" fmla="*/ 454513 h 2867451"/>
                    <a:gd name="connsiteX2389" fmla="*/ 3303742 w 7044883"/>
                    <a:gd name="connsiteY2389" fmla="*/ 450648 h 2867451"/>
                    <a:gd name="connsiteX2390" fmla="*/ 3296025 w 7044883"/>
                    <a:gd name="connsiteY2390" fmla="*/ 461868 h 2867451"/>
                    <a:gd name="connsiteX2391" fmla="*/ 3343421 w 7044883"/>
                    <a:gd name="connsiteY2391" fmla="*/ 491627 h 2867451"/>
                    <a:gd name="connsiteX2392" fmla="*/ 3355835 w 7044883"/>
                    <a:gd name="connsiteY2392" fmla="*/ 497271 h 2867451"/>
                    <a:gd name="connsiteX2393" fmla="*/ 3362874 w 7044883"/>
                    <a:gd name="connsiteY2393" fmla="*/ 502319 h 2867451"/>
                    <a:gd name="connsiteX2394" fmla="*/ 3407940 w 7044883"/>
                    <a:gd name="connsiteY2394" fmla="*/ 510400 h 2867451"/>
                    <a:gd name="connsiteX2395" fmla="*/ 3367992 w 7044883"/>
                    <a:gd name="connsiteY2395" fmla="*/ 502565 h 2867451"/>
                    <a:gd name="connsiteX2396" fmla="*/ 3376869 w 7044883"/>
                    <a:gd name="connsiteY2396" fmla="*/ 498911 h 2867451"/>
                    <a:gd name="connsiteX2397" fmla="*/ 3400128 w 7044883"/>
                    <a:gd name="connsiteY2397" fmla="*/ 500516 h 2867451"/>
                    <a:gd name="connsiteX2398" fmla="*/ 3441751 w 7044883"/>
                    <a:gd name="connsiteY2398" fmla="*/ 504298 h 2867451"/>
                    <a:gd name="connsiteX2399" fmla="*/ 3480469 w 7044883"/>
                    <a:gd name="connsiteY2399" fmla="*/ 502940 h 2867451"/>
                    <a:gd name="connsiteX2400" fmla="*/ 3493059 w 7044883"/>
                    <a:gd name="connsiteY2400" fmla="*/ 510810 h 2867451"/>
                    <a:gd name="connsiteX2401" fmla="*/ 3520558 w 7044883"/>
                    <a:gd name="connsiteY2401" fmla="*/ 516549 h 2867451"/>
                    <a:gd name="connsiteX2402" fmla="*/ 3503237 w 7044883"/>
                    <a:gd name="connsiteY2402" fmla="*/ 508069 h 2867451"/>
                    <a:gd name="connsiteX2403" fmla="*/ 3501351 w 7044883"/>
                    <a:gd name="connsiteY2403" fmla="*/ 504345 h 2867451"/>
                    <a:gd name="connsiteX2404" fmla="*/ 3532094 w 7044883"/>
                    <a:gd name="connsiteY2404" fmla="*/ 510107 h 2867451"/>
                    <a:gd name="connsiteX2405" fmla="*/ 3504818 w 7044883"/>
                    <a:gd name="connsiteY2405" fmla="*/ 500832 h 2867451"/>
                    <a:gd name="connsiteX2406" fmla="*/ 3508717 w 7044883"/>
                    <a:gd name="connsiteY2406" fmla="*/ 500211 h 2867451"/>
                    <a:gd name="connsiteX2407" fmla="*/ 3506598 w 7044883"/>
                    <a:gd name="connsiteY2407" fmla="*/ 497435 h 2867451"/>
                    <a:gd name="connsiteX2408" fmla="*/ 3527901 w 7044883"/>
                    <a:gd name="connsiteY2408" fmla="*/ 501851 h 2867451"/>
                    <a:gd name="connsiteX2409" fmla="*/ 3546487 w 7044883"/>
                    <a:gd name="connsiteY2409" fmla="*/ 505997 h 2867451"/>
                    <a:gd name="connsiteX2410" fmla="*/ 3550844 w 7044883"/>
                    <a:gd name="connsiteY2410" fmla="*/ 501827 h 2867451"/>
                    <a:gd name="connsiteX2411" fmla="*/ 3550961 w 7044883"/>
                    <a:gd name="connsiteY2411" fmla="*/ 497084 h 2867451"/>
                    <a:gd name="connsiteX2412" fmla="*/ 3558456 w 7044883"/>
                    <a:gd name="connsiteY2412" fmla="*/ 492060 h 2867451"/>
                    <a:gd name="connsiteX2413" fmla="*/ 3563082 w 7044883"/>
                    <a:gd name="connsiteY2413" fmla="*/ 479669 h 2867451"/>
                    <a:gd name="connsiteX2414" fmla="*/ 3569172 w 7044883"/>
                    <a:gd name="connsiteY2414" fmla="*/ 482386 h 2867451"/>
                    <a:gd name="connsiteX2415" fmla="*/ 3566315 w 7044883"/>
                    <a:gd name="connsiteY2415" fmla="*/ 481086 h 2867451"/>
                    <a:gd name="connsiteX2416" fmla="*/ 3569524 w 7044883"/>
                    <a:gd name="connsiteY2416" fmla="*/ 479048 h 2867451"/>
                    <a:gd name="connsiteX2417" fmla="*/ 3559545 w 7044883"/>
                    <a:gd name="connsiteY2417" fmla="*/ 473591 h 2867451"/>
                    <a:gd name="connsiteX2418" fmla="*/ 3554978 w 7044883"/>
                    <a:gd name="connsiteY2418" fmla="*/ 469796 h 2867451"/>
                    <a:gd name="connsiteX2419" fmla="*/ 3556079 w 7044883"/>
                    <a:gd name="connsiteY2419" fmla="*/ 460240 h 2867451"/>
                    <a:gd name="connsiteX2420" fmla="*/ 3545913 w 7044883"/>
                    <a:gd name="connsiteY2420" fmla="*/ 458448 h 2867451"/>
                    <a:gd name="connsiteX2421" fmla="*/ 3548091 w 7044883"/>
                    <a:gd name="connsiteY2421" fmla="*/ 453587 h 2867451"/>
                    <a:gd name="connsiteX2422" fmla="*/ 3555259 w 7044883"/>
                    <a:gd name="connsiteY2422" fmla="*/ 456082 h 2867451"/>
                    <a:gd name="connsiteX2423" fmla="*/ 3553819 w 7044883"/>
                    <a:gd name="connsiteY2423" fmla="*/ 443281 h 2867451"/>
                    <a:gd name="connsiteX2424" fmla="*/ 3550926 w 7044883"/>
                    <a:gd name="connsiteY2424" fmla="*/ 439768 h 2867451"/>
                    <a:gd name="connsiteX2425" fmla="*/ 3556665 w 7044883"/>
                    <a:gd name="connsiteY2425" fmla="*/ 441138 h 2867451"/>
                    <a:gd name="connsiteX2426" fmla="*/ 3553819 w 7044883"/>
                    <a:gd name="connsiteY2426" fmla="*/ 432858 h 2867451"/>
                    <a:gd name="connsiteX2427" fmla="*/ 3567345 w 7044883"/>
                    <a:gd name="connsiteY2427" fmla="*/ 429427 h 2867451"/>
                    <a:gd name="connsiteX2428" fmla="*/ 3564499 w 7044883"/>
                    <a:gd name="connsiteY2428" fmla="*/ 431488 h 2867451"/>
                    <a:gd name="connsiteX2429" fmla="*/ 3563832 w 7044883"/>
                    <a:gd name="connsiteY2429" fmla="*/ 434814 h 2867451"/>
                    <a:gd name="connsiteX2430" fmla="*/ 3568798 w 7044883"/>
                    <a:gd name="connsiteY2430" fmla="*/ 435634 h 2867451"/>
                    <a:gd name="connsiteX2431" fmla="*/ 3565928 w 7044883"/>
                    <a:gd name="connsiteY2431" fmla="*/ 437695 h 2867451"/>
                    <a:gd name="connsiteX2432" fmla="*/ 3586060 w 7044883"/>
                    <a:gd name="connsiteY2432" fmla="*/ 434369 h 2867451"/>
                    <a:gd name="connsiteX2433" fmla="*/ 3581751 w 7044883"/>
                    <a:gd name="connsiteY2433" fmla="*/ 429040 h 2867451"/>
                    <a:gd name="connsiteX2434" fmla="*/ 3580263 w 7044883"/>
                    <a:gd name="connsiteY2434" fmla="*/ 421732 h 2867451"/>
                    <a:gd name="connsiteX2435" fmla="*/ 3589562 w 7044883"/>
                    <a:gd name="connsiteY2435" fmla="*/ 426639 h 2867451"/>
                    <a:gd name="connsiteX2436" fmla="*/ 3586330 w 7044883"/>
                    <a:gd name="connsiteY2436" fmla="*/ 430024 h 2867451"/>
                    <a:gd name="connsiteX2437" fmla="*/ 3607785 w 7044883"/>
                    <a:gd name="connsiteY2437" fmla="*/ 419718 h 2867451"/>
                    <a:gd name="connsiteX2438" fmla="*/ 3606017 w 7044883"/>
                    <a:gd name="connsiteY2438" fmla="*/ 420350 h 2867451"/>
                    <a:gd name="connsiteX2439" fmla="*/ 3631361 w 7044883"/>
                    <a:gd name="connsiteY2439" fmla="*/ 426639 h 2867451"/>
                    <a:gd name="connsiteX2440" fmla="*/ 3630295 w 7044883"/>
                    <a:gd name="connsiteY2440" fmla="*/ 428654 h 2867451"/>
                    <a:gd name="connsiteX2441" fmla="*/ 3637814 w 7044883"/>
                    <a:gd name="connsiteY2441" fmla="*/ 431476 h 2867451"/>
                    <a:gd name="connsiteX2442" fmla="*/ 3638165 w 7044883"/>
                    <a:gd name="connsiteY2442" fmla="*/ 436360 h 2867451"/>
                    <a:gd name="connsiteX2443" fmla="*/ 3646035 w 7044883"/>
                    <a:gd name="connsiteY2443" fmla="*/ 428642 h 2867451"/>
                    <a:gd name="connsiteX2444" fmla="*/ 3649947 w 7044883"/>
                    <a:gd name="connsiteY2444" fmla="*/ 434228 h 2867451"/>
                    <a:gd name="connsiteX2445" fmla="*/ 3648155 w 7044883"/>
                    <a:gd name="connsiteY2445" fmla="*/ 436981 h 2867451"/>
                    <a:gd name="connsiteX2446" fmla="*/ 3650041 w 7044883"/>
                    <a:gd name="connsiteY2446" fmla="*/ 437531 h 2867451"/>
                    <a:gd name="connsiteX2447" fmla="*/ 3651024 w 7044883"/>
                    <a:gd name="connsiteY2447" fmla="*/ 442485 h 2867451"/>
                    <a:gd name="connsiteX2448" fmla="*/ 3657911 w 7044883"/>
                    <a:gd name="connsiteY2448" fmla="*/ 440904 h 2867451"/>
                    <a:gd name="connsiteX2449" fmla="*/ 3662502 w 7044883"/>
                    <a:gd name="connsiteY2449" fmla="*/ 444616 h 2867451"/>
                    <a:gd name="connsiteX2450" fmla="*/ 3672878 w 7044883"/>
                    <a:gd name="connsiteY2450" fmla="*/ 446678 h 2867451"/>
                    <a:gd name="connsiteX2451" fmla="*/ 3671391 w 7044883"/>
                    <a:gd name="connsiteY2451" fmla="*/ 448739 h 2867451"/>
                    <a:gd name="connsiteX2452" fmla="*/ 3672503 w 7044883"/>
                    <a:gd name="connsiteY2452" fmla="*/ 449430 h 2867451"/>
                    <a:gd name="connsiteX2453" fmla="*/ 3668217 w 7044883"/>
                    <a:gd name="connsiteY2453" fmla="*/ 458413 h 2867451"/>
                    <a:gd name="connsiteX2454" fmla="*/ 3670372 w 7044883"/>
                    <a:gd name="connsiteY2454" fmla="*/ 454302 h 2867451"/>
                    <a:gd name="connsiteX2455" fmla="*/ 3684613 w 7044883"/>
                    <a:gd name="connsiteY2455" fmla="*/ 453213 h 2867451"/>
                    <a:gd name="connsiteX2456" fmla="*/ 3681451 w 7044883"/>
                    <a:gd name="connsiteY2456" fmla="*/ 450109 h 2867451"/>
                    <a:gd name="connsiteX2457" fmla="*/ 3688688 w 7044883"/>
                    <a:gd name="connsiteY2457" fmla="*/ 445214 h 2867451"/>
                    <a:gd name="connsiteX2458" fmla="*/ 3686463 w 7044883"/>
                    <a:gd name="connsiteY2458" fmla="*/ 455672 h 2867451"/>
                    <a:gd name="connsiteX2459" fmla="*/ 3693713 w 7044883"/>
                    <a:gd name="connsiteY2459" fmla="*/ 447661 h 2867451"/>
                    <a:gd name="connsiteX2460" fmla="*/ 3712170 w 7044883"/>
                    <a:gd name="connsiteY2460" fmla="*/ 448001 h 2867451"/>
                    <a:gd name="connsiteX2461" fmla="*/ 3708211 w 7044883"/>
                    <a:gd name="connsiteY2461" fmla="*/ 456304 h 2867451"/>
                    <a:gd name="connsiteX2462" fmla="*/ 3698960 w 7044883"/>
                    <a:gd name="connsiteY2462" fmla="*/ 455672 h 2867451"/>
                    <a:gd name="connsiteX2463" fmla="*/ 3699311 w 7044883"/>
                    <a:gd name="connsiteY2463" fmla="*/ 461153 h 2867451"/>
                    <a:gd name="connsiteX2464" fmla="*/ 3713599 w 7044883"/>
                    <a:gd name="connsiteY2464" fmla="*/ 461844 h 2867451"/>
                    <a:gd name="connsiteX2465" fmla="*/ 3720544 w 7044883"/>
                    <a:gd name="connsiteY2465" fmla="*/ 476003 h 2867451"/>
                    <a:gd name="connsiteX2466" fmla="*/ 3720415 w 7044883"/>
                    <a:gd name="connsiteY2466" fmla="*/ 461153 h 2867451"/>
                    <a:gd name="connsiteX2467" fmla="*/ 3731084 w 7044883"/>
                    <a:gd name="connsiteY2467" fmla="*/ 456632 h 2867451"/>
                    <a:gd name="connsiteX2468" fmla="*/ 3733087 w 7044883"/>
                    <a:gd name="connsiteY2468" fmla="*/ 460977 h 2867451"/>
                    <a:gd name="connsiteX2469" fmla="*/ 3735019 w 7044883"/>
                    <a:gd name="connsiteY2469" fmla="*/ 458413 h 2867451"/>
                    <a:gd name="connsiteX2470" fmla="*/ 3739680 w 7044883"/>
                    <a:gd name="connsiteY2470" fmla="*/ 456293 h 2867451"/>
                    <a:gd name="connsiteX2471" fmla="*/ 3734352 w 7044883"/>
                    <a:gd name="connsiteY2471" fmla="*/ 447357 h 2867451"/>
                    <a:gd name="connsiteX2472" fmla="*/ 3762553 w 7044883"/>
                    <a:gd name="connsiteY2472" fmla="*/ 448727 h 2867451"/>
                    <a:gd name="connsiteX2473" fmla="*/ 3794713 w 7044883"/>
                    <a:gd name="connsiteY2473" fmla="*/ 452159 h 2867451"/>
                    <a:gd name="connsiteX2474" fmla="*/ 3790122 w 7044883"/>
                    <a:gd name="connsiteY2474" fmla="*/ 455660 h 2867451"/>
                    <a:gd name="connsiteX2475" fmla="*/ 3793284 w 7044883"/>
                    <a:gd name="connsiteY2475" fmla="*/ 464585 h 2867451"/>
                    <a:gd name="connsiteX2476" fmla="*/ 3814400 w 7044883"/>
                    <a:gd name="connsiteY2476" fmla="*/ 463894 h 2867451"/>
                    <a:gd name="connsiteX2477" fmla="*/ 3807607 w 7044883"/>
                    <a:gd name="connsiteY2477" fmla="*/ 472794 h 2867451"/>
                    <a:gd name="connsiteX2478" fmla="*/ 3815735 w 7044883"/>
                    <a:gd name="connsiteY2478" fmla="*/ 474235 h 2867451"/>
                    <a:gd name="connsiteX2479" fmla="*/ 3824577 w 7044883"/>
                    <a:gd name="connsiteY2479" fmla="*/ 473029 h 2867451"/>
                    <a:gd name="connsiteX2480" fmla="*/ 3841934 w 7044883"/>
                    <a:gd name="connsiteY2480" fmla="*/ 477643 h 2867451"/>
                    <a:gd name="connsiteX2481" fmla="*/ 3839416 w 7044883"/>
                    <a:gd name="connsiteY2481" fmla="*/ 480383 h 2867451"/>
                    <a:gd name="connsiteX2482" fmla="*/ 3839732 w 7044883"/>
                    <a:gd name="connsiteY2482" fmla="*/ 483791 h 2867451"/>
                    <a:gd name="connsiteX2483" fmla="*/ 3835902 w 7044883"/>
                    <a:gd name="connsiteY2483" fmla="*/ 492247 h 2867451"/>
                    <a:gd name="connsiteX2484" fmla="*/ 3846396 w 7044883"/>
                    <a:gd name="connsiteY2484" fmla="*/ 487235 h 2867451"/>
                    <a:gd name="connsiteX2485" fmla="*/ 3860333 w 7044883"/>
                    <a:gd name="connsiteY2485" fmla="*/ 490104 h 2867451"/>
                    <a:gd name="connsiteX2486" fmla="*/ 3859466 w 7044883"/>
                    <a:gd name="connsiteY2486" fmla="*/ 503069 h 2867451"/>
                    <a:gd name="connsiteX2487" fmla="*/ 3827365 w 7044883"/>
                    <a:gd name="connsiteY2487" fmla="*/ 505329 h 2867451"/>
                    <a:gd name="connsiteX2488" fmla="*/ 3808544 w 7044883"/>
                    <a:gd name="connsiteY2488" fmla="*/ 509768 h 2867451"/>
                    <a:gd name="connsiteX2489" fmla="*/ 3802091 w 7044883"/>
                    <a:gd name="connsiteY2489" fmla="*/ 520542 h 2867451"/>
                    <a:gd name="connsiteX2490" fmla="*/ 3836910 w 7044883"/>
                    <a:gd name="connsiteY2490" fmla="*/ 523271 h 2867451"/>
                    <a:gd name="connsiteX2491" fmla="*/ 3866200 w 7044883"/>
                    <a:gd name="connsiteY2491" fmla="*/ 528764 h 2867451"/>
                    <a:gd name="connsiteX2492" fmla="*/ 3857627 w 7044883"/>
                    <a:gd name="connsiteY2492" fmla="*/ 532137 h 2867451"/>
                    <a:gd name="connsiteX2493" fmla="*/ 3859091 w 7044883"/>
                    <a:gd name="connsiteY2493" fmla="*/ 532816 h 2867451"/>
                    <a:gd name="connsiteX2494" fmla="*/ 3821919 w 7044883"/>
                    <a:gd name="connsiteY2494" fmla="*/ 527417 h 2867451"/>
                    <a:gd name="connsiteX2495" fmla="*/ 3815501 w 7044883"/>
                    <a:gd name="connsiteY2495" fmla="*/ 531750 h 2867451"/>
                    <a:gd name="connsiteX2496" fmla="*/ 3790427 w 7044883"/>
                    <a:gd name="connsiteY2496" fmla="*/ 532324 h 2867451"/>
                    <a:gd name="connsiteX2497" fmla="*/ 3826943 w 7044883"/>
                    <a:gd name="connsiteY2497" fmla="*/ 550383 h 2867451"/>
                    <a:gd name="connsiteX2498" fmla="*/ 3860145 w 7044883"/>
                    <a:gd name="connsiteY2498" fmla="*/ 557106 h 2867451"/>
                    <a:gd name="connsiteX2499" fmla="*/ 3873040 w 7044883"/>
                    <a:gd name="connsiteY2499" fmla="*/ 563137 h 2867451"/>
                    <a:gd name="connsiteX2500" fmla="*/ 3871927 w 7044883"/>
                    <a:gd name="connsiteY2500" fmla="*/ 563863 h 2867451"/>
                    <a:gd name="connsiteX2501" fmla="*/ 3865123 w 7044883"/>
                    <a:gd name="connsiteY2501" fmla="*/ 569930 h 2867451"/>
                    <a:gd name="connsiteX2502" fmla="*/ 3876951 w 7044883"/>
                    <a:gd name="connsiteY2502" fmla="*/ 575235 h 2867451"/>
                    <a:gd name="connsiteX2503" fmla="*/ 3860145 w 7044883"/>
                    <a:gd name="connsiteY2503" fmla="*/ 584639 h 2867451"/>
                    <a:gd name="connsiteX2504" fmla="*/ 3873040 w 7044883"/>
                    <a:gd name="connsiteY2504" fmla="*/ 585307 h 2867451"/>
                    <a:gd name="connsiteX2505" fmla="*/ 3856573 w 7044883"/>
                    <a:gd name="connsiteY2505" fmla="*/ 588575 h 2867451"/>
                    <a:gd name="connsiteX2506" fmla="*/ 3843550 w 7044883"/>
                    <a:gd name="connsiteY2506" fmla="*/ 590366 h 2867451"/>
                    <a:gd name="connsiteX2507" fmla="*/ 3831452 w 7044883"/>
                    <a:gd name="connsiteY2507" fmla="*/ 581993 h 2867451"/>
                    <a:gd name="connsiteX2508" fmla="*/ 3825069 w 7044883"/>
                    <a:gd name="connsiteY2508" fmla="*/ 573970 h 2867451"/>
                    <a:gd name="connsiteX2509" fmla="*/ 3801951 w 7044883"/>
                    <a:gd name="connsiteY2509" fmla="*/ 565936 h 2867451"/>
                    <a:gd name="connsiteX2510" fmla="*/ 3777919 w 7044883"/>
                    <a:gd name="connsiteY2510" fmla="*/ 555689 h 2867451"/>
                    <a:gd name="connsiteX2511" fmla="*/ 3788295 w 7044883"/>
                    <a:gd name="connsiteY2511" fmla="*/ 565269 h 2867451"/>
                    <a:gd name="connsiteX2512" fmla="*/ 3782182 w 7044883"/>
                    <a:gd name="connsiteY2512" fmla="*/ 565936 h 2867451"/>
                    <a:gd name="connsiteX2513" fmla="*/ 3800721 w 7044883"/>
                    <a:gd name="connsiteY2513" fmla="*/ 574919 h 2867451"/>
                    <a:gd name="connsiteX2514" fmla="*/ 3814142 w 7044883"/>
                    <a:gd name="connsiteY2514" fmla="*/ 584780 h 2867451"/>
                    <a:gd name="connsiteX2515" fmla="*/ 3819846 w 7044883"/>
                    <a:gd name="connsiteY2515" fmla="*/ 595543 h 2867451"/>
                    <a:gd name="connsiteX2516" fmla="*/ 3828302 w 7044883"/>
                    <a:gd name="connsiteY2516" fmla="*/ 602008 h 2867451"/>
                    <a:gd name="connsiteX2517" fmla="*/ 3830035 w 7044883"/>
                    <a:gd name="connsiteY2517" fmla="*/ 611096 h 2867451"/>
                    <a:gd name="connsiteX2518" fmla="*/ 3837249 w 7044883"/>
                    <a:gd name="connsiteY2518" fmla="*/ 615886 h 2867451"/>
                    <a:gd name="connsiteX2519" fmla="*/ 3845096 w 7044883"/>
                    <a:gd name="connsiteY2519" fmla="*/ 623018 h 2867451"/>
                    <a:gd name="connsiteX2520" fmla="*/ 3854793 w 7044883"/>
                    <a:gd name="connsiteY2520" fmla="*/ 618743 h 2867451"/>
                    <a:gd name="connsiteX2521" fmla="*/ 3855004 w 7044883"/>
                    <a:gd name="connsiteY2521" fmla="*/ 610182 h 2867451"/>
                    <a:gd name="connsiteX2522" fmla="*/ 3848867 w 7044883"/>
                    <a:gd name="connsiteY2522" fmla="*/ 596023 h 2867451"/>
                    <a:gd name="connsiteX2523" fmla="*/ 3863307 w 7044883"/>
                    <a:gd name="connsiteY2523" fmla="*/ 611529 h 2867451"/>
                    <a:gd name="connsiteX2524" fmla="*/ 3864221 w 7044883"/>
                    <a:gd name="connsiteY2524" fmla="*/ 617139 h 2867451"/>
                    <a:gd name="connsiteX2525" fmla="*/ 3875874 w 7044883"/>
                    <a:gd name="connsiteY2525" fmla="*/ 624669 h 2867451"/>
                    <a:gd name="connsiteX2526" fmla="*/ 3866786 w 7044883"/>
                    <a:gd name="connsiteY2526" fmla="*/ 622421 h 2867451"/>
                    <a:gd name="connsiteX2527" fmla="*/ 3856655 w 7044883"/>
                    <a:gd name="connsiteY2527" fmla="*/ 623662 h 2867451"/>
                    <a:gd name="connsiteX2528" fmla="*/ 3838409 w 7044883"/>
                    <a:gd name="connsiteY2528" fmla="*/ 629940 h 2867451"/>
                    <a:gd name="connsiteX2529" fmla="*/ 3855109 w 7044883"/>
                    <a:gd name="connsiteY2529" fmla="*/ 635304 h 2867451"/>
                    <a:gd name="connsiteX2530" fmla="*/ 3860497 w 7044883"/>
                    <a:gd name="connsiteY2530" fmla="*/ 644122 h 2867451"/>
                    <a:gd name="connsiteX2531" fmla="*/ 3865849 w 7044883"/>
                    <a:gd name="connsiteY2531" fmla="*/ 654546 h 2867451"/>
                    <a:gd name="connsiteX2532" fmla="*/ 3879750 w 7044883"/>
                    <a:gd name="connsiteY2532" fmla="*/ 668096 h 2867451"/>
                    <a:gd name="connsiteX2533" fmla="*/ 3880196 w 7044883"/>
                    <a:gd name="connsiteY2533" fmla="*/ 685874 h 2867451"/>
                    <a:gd name="connsiteX2534" fmla="*/ 3896592 w 7044883"/>
                    <a:gd name="connsiteY2534" fmla="*/ 685218 h 2867451"/>
                    <a:gd name="connsiteX2535" fmla="*/ 3895538 w 7044883"/>
                    <a:gd name="connsiteY2535" fmla="*/ 687830 h 2867451"/>
                    <a:gd name="connsiteX2536" fmla="*/ 3907636 w 7044883"/>
                    <a:gd name="connsiteY2536" fmla="*/ 689095 h 2867451"/>
                    <a:gd name="connsiteX2537" fmla="*/ 3908409 w 7044883"/>
                    <a:gd name="connsiteY2537" fmla="*/ 697047 h 2867451"/>
                    <a:gd name="connsiteX2538" fmla="*/ 3923188 w 7044883"/>
                    <a:gd name="connsiteY2538" fmla="*/ 700923 h 2867451"/>
                    <a:gd name="connsiteX2539" fmla="*/ 3925578 w 7044883"/>
                    <a:gd name="connsiteY2539" fmla="*/ 704835 h 2867451"/>
                    <a:gd name="connsiteX2540" fmla="*/ 3937043 w 7044883"/>
                    <a:gd name="connsiteY2540" fmla="*/ 701813 h 2867451"/>
                    <a:gd name="connsiteX2541" fmla="*/ 3941564 w 7044883"/>
                    <a:gd name="connsiteY2541" fmla="*/ 699436 h 2867451"/>
                    <a:gd name="connsiteX2542" fmla="*/ 3946073 w 7044883"/>
                    <a:gd name="connsiteY2542" fmla="*/ 713478 h 2867451"/>
                    <a:gd name="connsiteX2543" fmla="*/ 3958873 w 7044883"/>
                    <a:gd name="connsiteY2543" fmla="*/ 718947 h 2867451"/>
                    <a:gd name="connsiteX2544" fmla="*/ 3981207 w 7044883"/>
                    <a:gd name="connsiteY2544" fmla="*/ 703547 h 2867451"/>
                    <a:gd name="connsiteX2545" fmla="*/ 3988445 w 7044883"/>
                    <a:gd name="connsiteY2545" fmla="*/ 690254 h 2867451"/>
                    <a:gd name="connsiteX2546" fmla="*/ 3991396 w 7044883"/>
                    <a:gd name="connsiteY2546" fmla="*/ 681857 h 2867451"/>
                    <a:gd name="connsiteX2547" fmla="*/ 3994968 w 7044883"/>
                    <a:gd name="connsiteY2547" fmla="*/ 676692 h 2867451"/>
                    <a:gd name="connsiteX2548" fmla="*/ 4013824 w 7044883"/>
                    <a:gd name="connsiteY2548" fmla="*/ 673483 h 2867451"/>
                    <a:gd name="connsiteX2549" fmla="*/ 4001070 w 7044883"/>
                    <a:gd name="connsiteY2549" fmla="*/ 667944 h 2867451"/>
                    <a:gd name="connsiteX2550" fmla="*/ 4006130 w 7044883"/>
                    <a:gd name="connsiteY2550" fmla="*/ 656068 h 2867451"/>
                    <a:gd name="connsiteX2551" fmla="*/ 4017537 w 7044883"/>
                    <a:gd name="connsiteY2551" fmla="*/ 629132 h 2867451"/>
                    <a:gd name="connsiteX2552" fmla="*/ 4045035 w 7044883"/>
                    <a:gd name="connsiteY2552" fmla="*/ 602593 h 2867451"/>
                    <a:gd name="connsiteX2553" fmla="*/ 4074642 w 7044883"/>
                    <a:gd name="connsiteY2553" fmla="*/ 613918 h 2867451"/>
                    <a:gd name="connsiteX2554" fmla="*/ 4052648 w 7044883"/>
                    <a:gd name="connsiteY2554" fmla="*/ 606423 h 2867451"/>
                    <a:gd name="connsiteX2555" fmla="*/ 4046429 w 7044883"/>
                    <a:gd name="connsiteY2555" fmla="*/ 614164 h 2867451"/>
                    <a:gd name="connsiteX2556" fmla="*/ 4042564 w 7044883"/>
                    <a:gd name="connsiteY2556" fmla="*/ 620383 h 2867451"/>
                    <a:gd name="connsiteX2557" fmla="*/ 4052261 w 7044883"/>
                    <a:gd name="connsiteY2557" fmla="*/ 624014 h 2867451"/>
                    <a:gd name="connsiteX2558" fmla="*/ 4059042 w 7044883"/>
                    <a:gd name="connsiteY2558" fmla="*/ 630982 h 2867451"/>
                    <a:gd name="connsiteX2559" fmla="*/ 4087068 w 7044883"/>
                    <a:gd name="connsiteY2559" fmla="*/ 650974 h 2867451"/>
                    <a:gd name="connsiteX2560" fmla="*/ 4133153 w 7044883"/>
                    <a:gd name="connsiteY2560" fmla="*/ 658071 h 2867451"/>
                    <a:gd name="connsiteX2561" fmla="*/ 4145848 w 7044883"/>
                    <a:gd name="connsiteY2561" fmla="*/ 658364 h 2867451"/>
                    <a:gd name="connsiteX2562" fmla="*/ 4143225 w 7044883"/>
                    <a:gd name="connsiteY2562" fmla="*/ 668834 h 2867451"/>
                    <a:gd name="connsiteX2563" fmla="*/ 4144677 w 7044883"/>
                    <a:gd name="connsiteY2563" fmla="*/ 653761 h 2867451"/>
                    <a:gd name="connsiteX2564" fmla="*/ 4151739 w 7044883"/>
                    <a:gd name="connsiteY2564" fmla="*/ 647390 h 2867451"/>
                    <a:gd name="connsiteX2565" fmla="*/ 4163825 w 7044883"/>
                    <a:gd name="connsiteY2565" fmla="*/ 642729 h 2867451"/>
                    <a:gd name="connsiteX2566" fmla="*/ 4167315 w 7044883"/>
                    <a:gd name="connsiteY2566" fmla="*/ 644239 h 2867451"/>
                    <a:gd name="connsiteX2567" fmla="*/ 4170489 w 7044883"/>
                    <a:gd name="connsiteY2567" fmla="*/ 641347 h 2867451"/>
                    <a:gd name="connsiteX2568" fmla="*/ 4182587 w 7044883"/>
                    <a:gd name="connsiteY2568" fmla="*/ 643197 h 2867451"/>
                    <a:gd name="connsiteX2569" fmla="*/ 4178289 w 7044883"/>
                    <a:gd name="connsiteY2569" fmla="*/ 639848 h 2867451"/>
                    <a:gd name="connsiteX2570" fmla="*/ 4239412 w 7044883"/>
                    <a:gd name="connsiteY2570" fmla="*/ 644509 h 2867451"/>
                    <a:gd name="connsiteX2571" fmla="*/ 4241192 w 7044883"/>
                    <a:gd name="connsiteY2571" fmla="*/ 648444 h 2867451"/>
                    <a:gd name="connsiteX2572" fmla="*/ 4256276 w 7044883"/>
                    <a:gd name="connsiteY2572" fmla="*/ 646336 h 2867451"/>
                    <a:gd name="connsiteX2573" fmla="*/ 4267262 w 7044883"/>
                    <a:gd name="connsiteY2573" fmla="*/ 653351 h 2867451"/>
                    <a:gd name="connsiteX2574" fmla="*/ 4277286 w 7044883"/>
                    <a:gd name="connsiteY2574" fmla="*/ 658937 h 2867451"/>
                    <a:gd name="connsiteX2575" fmla="*/ 4290497 w 7044883"/>
                    <a:gd name="connsiteY2575" fmla="*/ 660905 h 2867451"/>
                    <a:gd name="connsiteX2576" fmla="*/ 4290134 w 7044883"/>
                    <a:gd name="connsiteY2576" fmla="*/ 665554 h 2867451"/>
                    <a:gd name="connsiteX2577" fmla="*/ 4285871 w 7044883"/>
                    <a:gd name="connsiteY2577" fmla="*/ 666866 h 2867451"/>
                    <a:gd name="connsiteX2578" fmla="*/ 4301600 w 7044883"/>
                    <a:gd name="connsiteY2578" fmla="*/ 666866 h 2867451"/>
                    <a:gd name="connsiteX2579" fmla="*/ 4299820 w 7044883"/>
                    <a:gd name="connsiteY2579" fmla="*/ 670134 h 2867451"/>
                    <a:gd name="connsiteX2580" fmla="*/ 4303403 w 7044883"/>
                    <a:gd name="connsiteY2580" fmla="*/ 670134 h 2867451"/>
                    <a:gd name="connsiteX2581" fmla="*/ 4292289 w 7044883"/>
                    <a:gd name="connsiteY2581" fmla="*/ 673038 h 2867451"/>
                    <a:gd name="connsiteX2582" fmla="*/ 4302560 w 7044883"/>
                    <a:gd name="connsiteY2582" fmla="*/ 677360 h 2867451"/>
                    <a:gd name="connsiteX2583" fmla="*/ 4305710 w 7044883"/>
                    <a:gd name="connsiteY2583" fmla="*/ 681997 h 2867451"/>
                    <a:gd name="connsiteX2584" fmla="*/ 4315583 w 7044883"/>
                    <a:gd name="connsiteY2584" fmla="*/ 680639 h 2867451"/>
                    <a:gd name="connsiteX2585" fmla="*/ 4314131 w 7044883"/>
                    <a:gd name="connsiteY2585" fmla="*/ 681951 h 2867451"/>
                    <a:gd name="connsiteX2586" fmla="*/ 4320877 w 7044883"/>
                    <a:gd name="connsiteY2586" fmla="*/ 681295 h 2867451"/>
                    <a:gd name="connsiteX2587" fmla="*/ 4312737 w 7044883"/>
                    <a:gd name="connsiteY2587" fmla="*/ 674713 h 2867451"/>
                    <a:gd name="connsiteX2588" fmla="*/ 4308779 w 7044883"/>
                    <a:gd name="connsiteY2588" fmla="*/ 676669 h 2867451"/>
                    <a:gd name="connsiteX2589" fmla="*/ 4303415 w 7044883"/>
                    <a:gd name="connsiteY2589" fmla="*/ 672160 h 2867451"/>
                    <a:gd name="connsiteX2590" fmla="*/ 4329520 w 7044883"/>
                    <a:gd name="connsiteY2590" fmla="*/ 667522 h 2867451"/>
                    <a:gd name="connsiteX2591" fmla="*/ 4316626 w 7044883"/>
                    <a:gd name="connsiteY2591" fmla="*/ 666152 h 2867451"/>
                    <a:gd name="connsiteX2592" fmla="*/ 4335938 w 7044883"/>
                    <a:gd name="connsiteY2592" fmla="*/ 662943 h 2867451"/>
                    <a:gd name="connsiteX2593" fmla="*/ 4313405 w 7044883"/>
                    <a:gd name="connsiteY2593" fmla="*/ 659605 h 2867451"/>
                    <a:gd name="connsiteX2594" fmla="*/ 4315220 w 7044883"/>
                    <a:gd name="connsiteY2594" fmla="*/ 657696 h 2867451"/>
                    <a:gd name="connsiteX2595" fmla="*/ 4308065 w 7044883"/>
                    <a:gd name="connsiteY2595" fmla="*/ 656384 h 2867451"/>
                    <a:gd name="connsiteX2596" fmla="*/ 4318663 w 7044883"/>
                    <a:gd name="connsiteY2596" fmla="*/ 644286 h 2867451"/>
                    <a:gd name="connsiteX2597" fmla="*/ 4343094 w 7044883"/>
                    <a:gd name="connsiteY2597" fmla="*/ 635292 h 2867451"/>
                    <a:gd name="connsiteX2598" fmla="*/ 4340412 w 7044883"/>
                    <a:gd name="connsiteY2598" fmla="*/ 642366 h 2867451"/>
                    <a:gd name="connsiteX2599" fmla="*/ 4345951 w 7044883"/>
                    <a:gd name="connsiteY2599" fmla="*/ 635889 h 2867451"/>
                    <a:gd name="connsiteX2600" fmla="*/ 4356937 w 7044883"/>
                    <a:gd name="connsiteY2600" fmla="*/ 632727 h 2867451"/>
                    <a:gd name="connsiteX2601" fmla="*/ 4369620 w 7044883"/>
                    <a:gd name="connsiteY2601" fmla="*/ 637974 h 2867451"/>
                    <a:gd name="connsiteX2602" fmla="*/ 4375230 w 7044883"/>
                    <a:gd name="connsiteY2602" fmla="*/ 653046 h 2867451"/>
                    <a:gd name="connsiteX2603" fmla="*/ 4398630 w 7044883"/>
                    <a:gd name="connsiteY2603" fmla="*/ 646664 h 2867451"/>
                    <a:gd name="connsiteX2604" fmla="*/ 4404860 w 7044883"/>
                    <a:gd name="connsiteY2604" fmla="*/ 649627 h 2867451"/>
                    <a:gd name="connsiteX2605" fmla="*/ 4410880 w 7044883"/>
                    <a:gd name="connsiteY2605" fmla="*/ 647800 h 2867451"/>
                    <a:gd name="connsiteX2606" fmla="*/ 4423048 w 7044883"/>
                    <a:gd name="connsiteY2606" fmla="*/ 648877 h 2867451"/>
                    <a:gd name="connsiteX2607" fmla="*/ 4420273 w 7044883"/>
                    <a:gd name="connsiteY2607" fmla="*/ 645821 h 2867451"/>
                    <a:gd name="connsiteX2608" fmla="*/ 4411372 w 7044883"/>
                    <a:gd name="connsiteY2608" fmla="*/ 611307 h 2867451"/>
                    <a:gd name="connsiteX2609" fmla="*/ 4403010 w 7044883"/>
                    <a:gd name="connsiteY2609" fmla="*/ 606552 h 2867451"/>
                    <a:gd name="connsiteX2610" fmla="*/ 4386696 w 7044883"/>
                    <a:gd name="connsiteY2610" fmla="*/ 603354 h 2867451"/>
                    <a:gd name="connsiteX2611" fmla="*/ 4406242 w 7044883"/>
                    <a:gd name="connsiteY2611" fmla="*/ 595578 h 2867451"/>
                    <a:gd name="connsiteX2612" fmla="*/ 4410552 w 7044883"/>
                    <a:gd name="connsiteY2612" fmla="*/ 586092 h 2867451"/>
                    <a:gd name="connsiteX2613" fmla="*/ 4418961 w 7044883"/>
                    <a:gd name="connsiteY2613" fmla="*/ 581431 h 2867451"/>
                    <a:gd name="connsiteX2614" fmla="*/ 4431375 w 7044883"/>
                    <a:gd name="connsiteY2614" fmla="*/ 581512 h 2867451"/>
                    <a:gd name="connsiteX2615" fmla="*/ 4425871 w 7044883"/>
                    <a:gd name="connsiteY2615" fmla="*/ 575762 h 2867451"/>
                    <a:gd name="connsiteX2616" fmla="*/ 4391708 w 7044883"/>
                    <a:gd name="connsiteY2616" fmla="*/ 579931 h 2867451"/>
                    <a:gd name="connsiteX2617" fmla="*/ 4398173 w 7044883"/>
                    <a:gd name="connsiteY2617" fmla="*/ 580658 h 2867451"/>
                    <a:gd name="connsiteX2618" fmla="*/ 4382550 w 7044883"/>
                    <a:gd name="connsiteY2618" fmla="*/ 580306 h 2867451"/>
                    <a:gd name="connsiteX2619" fmla="*/ 4387398 w 7044883"/>
                    <a:gd name="connsiteY2619" fmla="*/ 584663 h 2867451"/>
                    <a:gd name="connsiteX2620" fmla="*/ 4399883 w 7044883"/>
                    <a:gd name="connsiteY2620" fmla="*/ 548966 h 2867451"/>
                    <a:gd name="connsiteX2621" fmla="*/ 4424243 w 7044883"/>
                    <a:gd name="connsiteY2621" fmla="*/ 550699 h 2867451"/>
                    <a:gd name="connsiteX2622" fmla="*/ 4445382 w 7044883"/>
                    <a:gd name="connsiteY2622" fmla="*/ 549505 h 2867451"/>
                    <a:gd name="connsiteX2623" fmla="*/ 4479263 w 7044883"/>
                    <a:gd name="connsiteY2623" fmla="*/ 540253 h 2867451"/>
                    <a:gd name="connsiteX2624" fmla="*/ 4469964 w 7044883"/>
                    <a:gd name="connsiteY2624" fmla="*/ 538906 h 2867451"/>
                    <a:gd name="connsiteX2625" fmla="*/ 4453369 w 7044883"/>
                    <a:gd name="connsiteY2625" fmla="*/ 509873 h 2867451"/>
                    <a:gd name="connsiteX2626" fmla="*/ 4489324 w 7044883"/>
                    <a:gd name="connsiteY2626" fmla="*/ 513223 h 2867451"/>
                    <a:gd name="connsiteX2627" fmla="*/ 4503752 w 7044883"/>
                    <a:gd name="connsiteY2627" fmla="*/ 522018 h 2867451"/>
                    <a:gd name="connsiteX2628" fmla="*/ 4524728 w 7044883"/>
                    <a:gd name="connsiteY2628" fmla="*/ 526656 h 2867451"/>
                    <a:gd name="connsiteX2629" fmla="*/ 4563305 w 7044883"/>
                    <a:gd name="connsiteY2629" fmla="*/ 527956 h 2867451"/>
                    <a:gd name="connsiteX2630" fmla="*/ 4604846 w 7044883"/>
                    <a:gd name="connsiteY2630" fmla="*/ 529384 h 2867451"/>
                    <a:gd name="connsiteX2631" fmla="*/ 4688631 w 7044883"/>
                    <a:gd name="connsiteY2631" fmla="*/ 541342 h 2867451"/>
                    <a:gd name="connsiteX2632" fmla="*/ 4736472 w 7044883"/>
                    <a:gd name="connsiteY2632" fmla="*/ 551672 h 2867451"/>
                    <a:gd name="connsiteX2633" fmla="*/ 4778845 w 7044883"/>
                    <a:gd name="connsiteY2633" fmla="*/ 563137 h 2867451"/>
                    <a:gd name="connsiteX2634" fmla="*/ 4777720 w 7044883"/>
                    <a:gd name="connsiteY2634" fmla="*/ 564472 h 2867451"/>
                    <a:gd name="connsiteX2635" fmla="*/ 4736753 w 7044883"/>
                    <a:gd name="connsiteY2635" fmla="*/ 564086 h 2867451"/>
                    <a:gd name="connsiteX2636" fmla="*/ 4709594 w 7044883"/>
                    <a:gd name="connsiteY2636" fmla="*/ 562458 h 2867451"/>
                    <a:gd name="connsiteX2637" fmla="*/ 4700529 w 7044883"/>
                    <a:gd name="connsiteY2637" fmla="*/ 563863 h 2867451"/>
                    <a:gd name="connsiteX2638" fmla="*/ 4697145 w 7044883"/>
                    <a:gd name="connsiteY2638" fmla="*/ 559741 h 2867451"/>
                    <a:gd name="connsiteX2639" fmla="*/ 4689567 w 7044883"/>
                    <a:gd name="connsiteY2639" fmla="*/ 556813 h 2867451"/>
                    <a:gd name="connsiteX2640" fmla="*/ 4686183 w 7044883"/>
                    <a:gd name="connsiteY2640" fmla="*/ 558089 h 2867451"/>
                    <a:gd name="connsiteX2641" fmla="*/ 4679812 w 7044883"/>
                    <a:gd name="connsiteY2641" fmla="*/ 554916 h 2867451"/>
                    <a:gd name="connsiteX2642" fmla="*/ 4657127 w 7044883"/>
                    <a:gd name="connsiteY2642" fmla="*/ 575786 h 2867451"/>
                    <a:gd name="connsiteX2643" fmla="*/ 4644642 w 7044883"/>
                    <a:gd name="connsiteY2643" fmla="*/ 568993 h 2867451"/>
                    <a:gd name="connsiteX2644" fmla="*/ 4635484 w 7044883"/>
                    <a:gd name="connsiteY2644" fmla="*/ 570597 h 2867451"/>
                    <a:gd name="connsiteX2645" fmla="*/ 4658063 w 7044883"/>
                    <a:gd name="connsiteY2645" fmla="*/ 580868 h 2867451"/>
                    <a:gd name="connsiteX2646" fmla="*/ 4670267 w 7044883"/>
                    <a:gd name="connsiteY2646" fmla="*/ 574884 h 2867451"/>
                    <a:gd name="connsiteX2647" fmla="*/ 4694275 w 7044883"/>
                    <a:gd name="connsiteY2647" fmla="*/ 571499 h 2867451"/>
                    <a:gd name="connsiteX2648" fmla="*/ 4782780 w 7044883"/>
                    <a:gd name="connsiteY2648" fmla="*/ 567189 h 2867451"/>
                    <a:gd name="connsiteX2649" fmla="*/ 4760422 w 7044883"/>
                    <a:gd name="connsiteY2649" fmla="*/ 591046 h 2867451"/>
                    <a:gd name="connsiteX2650" fmla="*/ 4745900 w 7044883"/>
                    <a:gd name="connsiteY2650" fmla="*/ 600052 h 2867451"/>
                    <a:gd name="connsiteX2651" fmla="*/ 4731167 w 7044883"/>
                    <a:gd name="connsiteY2651" fmla="*/ 611599 h 2867451"/>
                    <a:gd name="connsiteX2652" fmla="*/ 4734141 w 7044883"/>
                    <a:gd name="connsiteY2652" fmla="*/ 603132 h 2867451"/>
                    <a:gd name="connsiteX2653" fmla="*/ 4734130 w 7044883"/>
                    <a:gd name="connsiteY2653" fmla="*/ 595683 h 2867451"/>
                    <a:gd name="connsiteX2654" fmla="*/ 4740770 w 7044883"/>
                    <a:gd name="connsiteY2654" fmla="*/ 593447 h 2867451"/>
                    <a:gd name="connsiteX2655" fmla="*/ 4752400 w 7044883"/>
                    <a:gd name="connsiteY2655" fmla="*/ 585284 h 2867451"/>
                    <a:gd name="connsiteX2656" fmla="*/ 4737632 w 7044883"/>
                    <a:gd name="connsiteY2656" fmla="*/ 581466 h 2867451"/>
                    <a:gd name="connsiteX2657" fmla="*/ 4733451 w 7044883"/>
                    <a:gd name="connsiteY2657" fmla="*/ 591057 h 2867451"/>
                    <a:gd name="connsiteX2658" fmla="*/ 4730886 w 7044883"/>
                    <a:gd name="connsiteY2658" fmla="*/ 582473 h 2867451"/>
                    <a:gd name="connsiteX2659" fmla="*/ 4729492 w 7044883"/>
                    <a:gd name="connsiteY2659" fmla="*/ 577894 h 2867451"/>
                    <a:gd name="connsiteX2660" fmla="*/ 4714138 w 7044883"/>
                    <a:gd name="connsiteY2660" fmla="*/ 573888 h 2867451"/>
                    <a:gd name="connsiteX2661" fmla="*/ 4720931 w 7044883"/>
                    <a:gd name="connsiteY2661" fmla="*/ 578397 h 2867451"/>
                    <a:gd name="connsiteX2662" fmla="*/ 4714583 w 7044883"/>
                    <a:gd name="connsiteY2662" fmla="*/ 588750 h 2867451"/>
                    <a:gd name="connsiteX2663" fmla="*/ 4723941 w 7044883"/>
                    <a:gd name="connsiteY2663" fmla="*/ 598201 h 2867451"/>
                    <a:gd name="connsiteX2664" fmla="*/ 4709664 w 7044883"/>
                    <a:gd name="connsiteY2664" fmla="*/ 607442 h 2867451"/>
                    <a:gd name="connsiteX2665" fmla="*/ 4693046 w 7044883"/>
                    <a:gd name="connsiteY2665" fmla="*/ 605451 h 2867451"/>
                    <a:gd name="connsiteX2666" fmla="*/ 4680620 w 7044883"/>
                    <a:gd name="connsiteY2666" fmla="*/ 599665 h 2867451"/>
                    <a:gd name="connsiteX2667" fmla="*/ 4689837 w 7044883"/>
                    <a:gd name="connsiteY2667" fmla="*/ 610967 h 2867451"/>
                    <a:gd name="connsiteX2668" fmla="*/ 4676216 w 7044883"/>
                    <a:gd name="connsiteY2668" fmla="*/ 619938 h 2867451"/>
                    <a:gd name="connsiteX2669" fmla="*/ 4676568 w 7044883"/>
                    <a:gd name="connsiteY2669" fmla="*/ 629237 h 2867451"/>
                    <a:gd name="connsiteX2670" fmla="*/ 4682294 w 7044883"/>
                    <a:gd name="connsiteY2670" fmla="*/ 629237 h 2867451"/>
                    <a:gd name="connsiteX2671" fmla="*/ 4697719 w 7044883"/>
                    <a:gd name="connsiteY2671" fmla="*/ 630420 h 2867451"/>
                    <a:gd name="connsiteX2672" fmla="*/ 4711152 w 7044883"/>
                    <a:gd name="connsiteY2672" fmla="*/ 623334 h 2867451"/>
                    <a:gd name="connsiteX2673" fmla="*/ 4720790 w 7044883"/>
                    <a:gd name="connsiteY2673" fmla="*/ 623756 h 2867451"/>
                    <a:gd name="connsiteX2674" fmla="*/ 4730605 w 7044883"/>
                    <a:gd name="connsiteY2674" fmla="*/ 619329 h 2867451"/>
                    <a:gd name="connsiteX2675" fmla="*/ 4777205 w 7044883"/>
                    <a:gd name="connsiteY2675" fmla="*/ 581735 h 2867451"/>
                    <a:gd name="connsiteX2676" fmla="*/ 4809013 w 7044883"/>
                    <a:gd name="connsiteY2676" fmla="*/ 564542 h 2867451"/>
                    <a:gd name="connsiteX2677" fmla="*/ 4850741 w 7044883"/>
                    <a:gd name="connsiteY2677" fmla="*/ 566569 h 2867451"/>
                    <a:gd name="connsiteX2678" fmla="*/ 4894004 w 7044883"/>
                    <a:gd name="connsiteY2678" fmla="*/ 574767 h 2867451"/>
                    <a:gd name="connsiteX2679" fmla="*/ 4929056 w 7044883"/>
                    <a:gd name="connsiteY2679" fmla="*/ 586923 h 2867451"/>
                    <a:gd name="connsiteX2680" fmla="*/ 4939761 w 7044883"/>
                    <a:gd name="connsiteY2680" fmla="*/ 614363 h 2867451"/>
                    <a:gd name="connsiteX2681" fmla="*/ 4920730 w 7044883"/>
                    <a:gd name="connsiteY2681" fmla="*/ 616015 h 2867451"/>
                    <a:gd name="connsiteX2682" fmla="*/ 4905715 w 7044883"/>
                    <a:gd name="connsiteY2682" fmla="*/ 609281 h 2867451"/>
                    <a:gd name="connsiteX2683" fmla="*/ 4907812 w 7044883"/>
                    <a:gd name="connsiteY2683" fmla="*/ 609948 h 2867451"/>
                    <a:gd name="connsiteX2684" fmla="*/ 4898525 w 7044883"/>
                    <a:gd name="connsiteY2684" fmla="*/ 619950 h 2867451"/>
                    <a:gd name="connsiteX2685" fmla="*/ 4882117 w 7044883"/>
                    <a:gd name="connsiteY2685" fmla="*/ 615979 h 2867451"/>
                    <a:gd name="connsiteX2686" fmla="*/ 4892833 w 7044883"/>
                    <a:gd name="connsiteY2686" fmla="*/ 620606 h 2867451"/>
                    <a:gd name="connsiteX2687" fmla="*/ 4891053 w 7044883"/>
                    <a:gd name="connsiteY2687" fmla="*/ 626555 h 2867451"/>
                    <a:gd name="connsiteX2688" fmla="*/ 4881754 w 7044883"/>
                    <a:gd name="connsiteY2688" fmla="*/ 629249 h 2867451"/>
                    <a:gd name="connsiteX2689" fmla="*/ 4897072 w 7044883"/>
                    <a:gd name="connsiteY2689" fmla="*/ 626590 h 2867451"/>
                    <a:gd name="connsiteX2690" fmla="*/ 4924957 w 7044883"/>
                    <a:gd name="connsiteY2690" fmla="*/ 631087 h 2867451"/>
                    <a:gd name="connsiteX2691" fmla="*/ 4940815 w 7044883"/>
                    <a:gd name="connsiteY2691" fmla="*/ 630115 h 2867451"/>
                    <a:gd name="connsiteX2692" fmla="*/ 4943239 w 7044883"/>
                    <a:gd name="connsiteY2692" fmla="*/ 639203 h 2867451"/>
                    <a:gd name="connsiteX2693" fmla="*/ 4943567 w 7044883"/>
                    <a:gd name="connsiteY2693" fmla="*/ 636521 h 2867451"/>
                    <a:gd name="connsiteX2694" fmla="*/ 4941096 w 7044883"/>
                    <a:gd name="connsiteY2694" fmla="*/ 642471 h 2867451"/>
                    <a:gd name="connsiteX2695" fmla="*/ 4936037 w 7044883"/>
                    <a:gd name="connsiteY2695" fmla="*/ 649802 h 2867451"/>
                    <a:gd name="connsiteX2696" fmla="*/ 4960010 w 7044883"/>
                    <a:gd name="connsiteY2696" fmla="*/ 645129 h 2867451"/>
                    <a:gd name="connsiteX2697" fmla="*/ 4958944 w 7044883"/>
                    <a:gd name="connsiteY2697" fmla="*/ 645797 h 2867451"/>
                    <a:gd name="connsiteX2698" fmla="*/ 4977905 w 7044883"/>
                    <a:gd name="connsiteY2698" fmla="*/ 647109 h 2867451"/>
                    <a:gd name="connsiteX2699" fmla="*/ 4971323 w 7044883"/>
                    <a:gd name="connsiteY2699" fmla="*/ 657239 h 2867451"/>
                    <a:gd name="connsiteX2700" fmla="*/ 4944317 w 7044883"/>
                    <a:gd name="connsiteY2700" fmla="*/ 672792 h 2867451"/>
                    <a:gd name="connsiteX2701" fmla="*/ 4958054 w 7044883"/>
                    <a:gd name="connsiteY2701" fmla="*/ 667440 h 2867451"/>
                    <a:gd name="connsiteX2702" fmla="*/ 4971194 w 7044883"/>
                    <a:gd name="connsiteY2702" fmla="*/ 662158 h 2867451"/>
                    <a:gd name="connsiteX2703" fmla="*/ 4981466 w 7044883"/>
                    <a:gd name="connsiteY2703" fmla="*/ 656349 h 2867451"/>
                    <a:gd name="connsiteX2704" fmla="*/ 4973935 w 7044883"/>
                    <a:gd name="connsiteY2704" fmla="*/ 667487 h 2867451"/>
                    <a:gd name="connsiteX2705" fmla="*/ 5001644 w 7044883"/>
                    <a:gd name="connsiteY2705" fmla="*/ 658504 h 2867451"/>
                    <a:gd name="connsiteX2706" fmla="*/ 5029635 w 7044883"/>
                    <a:gd name="connsiteY2706" fmla="*/ 668318 h 2867451"/>
                    <a:gd name="connsiteX2707" fmla="*/ 5047577 w 7044883"/>
                    <a:gd name="connsiteY2707" fmla="*/ 686284 h 2867451"/>
                    <a:gd name="connsiteX2708" fmla="*/ 5051793 w 7044883"/>
                    <a:gd name="connsiteY2708" fmla="*/ 695360 h 2867451"/>
                    <a:gd name="connsiteX2709" fmla="*/ 5029366 w 7044883"/>
                    <a:gd name="connsiteY2709" fmla="*/ 694939 h 2867451"/>
                    <a:gd name="connsiteX2710" fmla="*/ 5075439 w 7044883"/>
                    <a:gd name="connsiteY2710" fmla="*/ 713876 h 2867451"/>
                    <a:gd name="connsiteX2711" fmla="*/ 5116488 w 7044883"/>
                    <a:gd name="connsiteY2711" fmla="*/ 707247 h 2867451"/>
                    <a:gd name="connsiteX2712" fmla="*/ 5145169 w 7044883"/>
                    <a:gd name="connsiteY2712" fmla="*/ 704729 h 2867451"/>
                    <a:gd name="connsiteX2713" fmla="*/ 5177762 w 7044883"/>
                    <a:gd name="connsiteY2713" fmla="*/ 695419 h 2867451"/>
                    <a:gd name="connsiteX2714" fmla="*/ 5213869 w 7044883"/>
                    <a:gd name="connsiteY2714" fmla="*/ 689891 h 2867451"/>
                    <a:gd name="connsiteX2715" fmla="*/ 5230581 w 7044883"/>
                    <a:gd name="connsiteY2715" fmla="*/ 689165 h 2867451"/>
                    <a:gd name="connsiteX2716" fmla="*/ 5231366 w 7044883"/>
                    <a:gd name="connsiteY2716" fmla="*/ 696309 h 2867451"/>
                    <a:gd name="connsiteX2717" fmla="*/ 5274195 w 7044883"/>
                    <a:gd name="connsiteY2717" fmla="*/ 685733 h 2867451"/>
                    <a:gd name="connsiteX2718" fmla="*/ 5341443 w 7044883"/>
                    <a:gd name="connsiteY2718" fmla="*/ 687818 h 2867451"/>
                    <a:gd name="connsiteX2719" fmla="*/ 5457563 w 7044883"/>
                    <a:gd name="connsiteY2719" fmla="*/ 735671 h 2867451"/>
                    <a:gd name="connsiteX2720" fmla="*/ 5469614 w 7044883"/>
                    <a:gd name="connsiteY2720" fmla="*/ 764810 h 2867451"/>
                    <a:gd name="connsiteX2721" fmla="*/ 5462399 w 7044883"/>
                    <a:gd name="connsiteY2721" fmla="*/ 775045 h 2867451"/>
                    <a:gd name="connsiteX2722" fmla="*/ 5448299 w 7044883"/>
                    <a:gd name="connsiteY2722" fmla="*/ 775772 h 2867451"/>
                    <a:gd name="connsiteX2723" fmla="*/ 5460081 w 7044883"/>
                    <a:gd name="connsiteY2723" fmla="*/ 779086 h 2867451"/>
                    <a:gd name="connsiteX2724" fmla="*/ 5455021 w 7044883"/>
                    <a:gd name="connsiteY2724" fmla="*/ 790235 h 2867451"/>
                    <a:gd name="connsiteX2725" fmla="*/ 5452175 w 7044883"/>
                    <a:gd name="connsiteY2725" fmla="*/ 803329 h 2867451"/>
                    <a:gd name="connsiteX2726" fmla="*/ 5450442 w 7044883"/>
                    <a:gd name="connsiteY2726" fmla="*/ 803329 h 2867451"/>
                    <a:gd name="connsiteX2727" fmla="*/ 5452480 w 7044883"/>
                    <a:gd name="connsiteY2727" fmla="*/ 810438 h 2867451"/>
                    <a:gd name="connsiteX2728" fmla="*/ 5474392 w 7044883"/>
                    <a:gd name="connsiteY2728" fmla="*/ 816012 h 2867451"/>
                    <a:gd name="connsiteX2729" fmla="*/ 5471898 w 7044883"/>
                    <a:gd name="connsiteY2729" fmla="*/ 813541 h 2867451"/>
                    <a:gd name="connsiteX2730" fmla="*/ 5481149 w 7044883"/>
                    <a:gd name="connsiteY2730" fmla="*/ 820439 h 2867451"/>
                    <a:gd name="connsiteX2731" fmla="*/ 5516589 w 7044883"/>
                    <a:gd name="connsiteY2731" fmla="*/ 828309 h 2867451"/>
                    <a:gd name="connsiteX2732" fmla="*/ 5513696 w 7044883"/>
                    <a:gd name="connsiteY2732" fmla="*/ 842328 h 2867451"/>
                    <a:gd name="connsiteX2733" fmla="*/ 5517678 w 7044883"/>
                    <a:gd name="connsiteY2733" fmla="*/ 852705 h 2867451"/>
                    <a:gd name="connsiteX2734" fmla="*/ 5518615 w 7044883"/>
                    <a:gd name="connsiteY2734" fmla="*/ 862449 h 2867451"/>
                    <a:gd name="connsiteX2735" fmla="*/ 5524260 w 7044883"/>
                    <a:gd name="connsiteY2735" fmla="*/ 875167 h 2867451"/>
                    <a:gd name="connsiteX2736" fmla="*/ 5536885 w 7044883"/>
                    <a:gd name="connsiteY2736" fmla="*/ 886317 h 2867451"/>
                    <a:gd name="connsiteX2737" fmla="*/ 5529061 w 7044883"/>
                    <a:gd name="connsiteY2737" fmla="*/ 898672 h 2867451"/>
                    <a:gd name="connsiteX2738" fmla="*/ 5525607 w 7044883"/>
                    <a:gd name="connsiteY2738" fmla="*/ 910489 h 2867451"/>
                    <a:gd name="connsiteX2739" fmla="*/ 5504069 w 7044883"/>
                    <a:gd name="connsiteY2739" fmla="*/ 920280 h 2867451"/>
                    <a:gd name="connsiteX2740" fmla="*/ 5530069 w 7044883"/>
                    <a:gd name="connsiteY2740" fmla="*/ 911051 h 2867451"/>
                    <a:gd name="connsiteX2741" fmla="*/ 5533723 w 7044883"/>
                    <a:gd name="connsiteY2741" fmla="*/ 906390 h 2867451"/>
                    <a:gd name="connsiteX2742" fmla="*/ 5532903 w 7044883"/>
                    <a:gd name="connsiteY2742" fmla="*/ 901143 h 2867451"/>
                    <a:gd name="connsiteX2743" fmla="*/ 5544849 w 7044883"/>
                    <a:gd name="connsiteY2743" fmla="*/ 889936 h 2867451"/>
                    <a:gd name="connsiteX2744" fmla="*/ 5541885 w 7044883"/>
                    <a:gd name="connsiteY2744" fmla="*/ 870366 h 2867451"/>
                    <a:gd name="connsiteX2745" fmla="*/ 5539426 w 7044883"/>
                    <a:gd name="connsiteY2745" fmla="*/ 861863 h 2867451"/>
                    <a:gd name="connsiteX2746" fmla="*/ 5540866 w 7044883"/>
                    <a:gd name="connsiteY2746" fmla="*/ 854309 h 2867451"/>
                    <a:gd name="connsiteX2747" fmla="*/ 5538372 w 7044883"/>
                    <a:gd name="connsiteY2747" fmla="*/ 850233 h 2867451"/>
                    <a:gd name="connsiteX2748" fmla="*/ 5540070 w 7044883"/>
                    <a:gd name="connsiteY2748" fmla="*/ 846661 h 2867451"/>
                    <a:gd name="connsiteX2749" fmla="*/ 5544720 w 7044883"/>
                    <a:gd name="connsiteY2749" fmla="*/ 842761 h 2867451"/>
                    <a:gd name="connsiteX2750" fmla="*/ 5556220 w 7044883"/>
                    <a:gd name="connsiteY2750" fmla="*/ 834388 h 2867451"/>
                    <a:gd name="connsiteX2751" fmla="*/ 5570192 w 7044883"/>
                    <a:gd name="connsiteY2751" fmla="*/ 829984 h 2867451"/>
                    <a:gd name="connsiteX2752" fmla="*/ 5573366 w 7044883"/>
                    <a:gd name="connsiteY2752" fmla="*/ 826201 h 2867451"/>
                    <a:gd name="connsiteX2753" fmla="*/ 5579081 w 7044883"/>
                    <a:gd name="connsiteY2753" fmla="*/ 823028 h 2867451"/>
                    <a:gd name="connsiteX2754" fmla="*/ 5585909 w 7044883"/>
                    <a:gd name="connsiteY2754" fmla="*/ 816024 h 2867451"/>
                    <a:gd name="connsiteX2755" fmla="*/ 5604097 w 7044883"/>
                    <a:gd name="connsiteY2755" fmla="*/ 818741 h 2867451"/>
                    <a:gd name="connsiteX2756" fmla="*/ 5628633 w 7044883"/>
                    <a:gd name="connsiteY2756" fmla="*/ 814537 h 2867451"/>
                    <a:gd name="connsiteX2757" fmla="*/ 5647383 w 7044883"/>
                    <a:gd name="connsiteY2757" fmla="*/ 817418 h 2867451"/>
                    <a:gd name="connsiteX2758" fmla="*/ 5671649 w 7044883"/>
                    <a:gd name="connsiteY2758" fmla="*/ 810508 h 2867451"/>
                    <a:gd name="connsiteX2759" fmla="*/ 5682904 w 7044883"/>
                    <a:gd name="connsiteY2759" fmla="*/ 815813 h 2867451"/>
                    <a:gd name="connsiteX2760" fmla="*/ 5706128 w 7044883"/>
                    <a:gd name="connsiteY2760" fmla="*/ 826155 h 2867451"/>
                    <a:gd name="connsiteX2761" fmla="*/ 5762039 w 7044883"/>
                    <a:gd name="connsiteY2761" fmla="*/ 826424 h 2867451"/>
                    <a:gd name="connsiteX2762" fmla="*/ 5787113 w 7044883"/>
                    <a:gd name="connsiteY2762" fmla="*/ 832350 h 2867451"/>
                    <a:gd name="connsiteX2763" fmla="*/ 5812879 w 7044883"/>
                    <a:gd name="connsiteY2763" fmla="*/ 835067 h 2867451"/>
                    <a:gd name="connsiteX2764" fmla="*/ 5858905 w 7044883"/>
                    <a:gd name="connsiteY2764" fmla="*/ 813658 h 2867451"/>
                    <a:gd name="connsiteX2765" fmla="*/ 5886181 w 7044883"/>
                    <a:gd name="connsiteY2765" fmla="*/ 815368 h 2867451"/>
                    <a:gd name="connsiteX2766" fmla="*/ 5877983 w 7044883"/>
                    <a:gd name="connsiteY2766" fmla="*/ 820428 h 2867451"/>
                    <a:gd name="connsiteX2767" fmla="*/ 5895222 w 7044883"/>
                    <a:gd name="connsiteY2767" fmla="*/ 831776 h 2867451"/>
                    <a:gd name="connsiteX2768" fmla="*/ 5894367 w 7044883"/>
                    <a:gd name="connsiteY2768" fmla="*/ 838194 h 2867451"/>
                    <a:gd name="connsiteX2769" fmla="*/ 5893641 w 7044883"/>
                    <a:gd name="connsiteY2769" fmla="*/ 849039 h 2867451"/>
                    <a:gd name="connsiteX2770" fmla="*/ 5902062 w 7044883"/>
                    <a:gd name="connsiteY2770" fmla="*/ 860434 h 2867451"/>
                    <a:gd name="connsiteX2771" fmla="*/ 5934105 w 7044883"/>
                    <a:gd name="connsiteY2771" fmla="*/ 867215 h 2867451"/>
                    <a:gd name="connsiteX2772" fmla="*/ 5956064 w 7044883"/>
                    <a:gd name="connsiteY2772" fmla="*/ 879653 h 2867451"/>
                    <a:gd name="connsiteX2773" fmla="*/ 5967283 w 7044883"/>
                    <a:gd name="connsiteY2773" fmla="*/ 900862 h 2867451"/>
                    <a:gd name="connsiteX2774" fmla="*/ 6003788 w 7044883"/>
                    <a:gd name="connsiteY2774" fmla="*/ 896400 h 2867451"/>
                    <a:gd name="connsiteX2775" fmla="*/ 6018755 w 7044883"/>
                    <a:gd name="connsiteY2775" fmla="*/ 903556 h 2867451"/>
                    <a:gd name="connsiteX2776" fmla="*/ 6015546 w 7044883"/>
                    <a:gd name="connsiteY2776" fmla="*/ 896611 h 2867451"/>
                    <a:gd name="connsiteX2777" fmla="*/ 6018674 w 7044883"/>
                    <a:gd name="connsiteY2777" fmla="*/ 888308 h 2867451"/>
                    <a:gd name="connsiteX2778" fmla="*/ 6024131 w 7044883"/>
                    <a:gd name="connsiteY2778" fmla="*/ 896880 h 2867451"/>
                    <a:gd name="connsiteX2779" fmla="*/ 6021637 w 7044883"/>
                    <a:gd name="connsiteY2779" fmla="*/ 886082 h 2867451"/>
                    <a:gd name="connsiteX2780" fmla="*/ 6035585 w 7044883"/>
                    <a:gd name="connsiteY2780" fmla="*/ 877498 h 2867451"/>
                    <a:gd name="connsiteX2781" fmla="*/ 6046629 w 7044883"/>
                    <a:gd name="connsiteY2781" fmla="*/ 877240 h 2867451"/>
                    <a:gd name="connsiteX2782" fmla="*/ 6033770 w 7044883"/>
                    <a:gd name="connsiteY2782" fmla="*/ 861582 h 2867451"/>
                    <a:gd name="connsiteX2783" fmla="*/ 6030936 w 7044883"/>
                    <a:gd name="connsiteY2783" fmla="*/ 848828 h 2867451"/>
                    <a:gd name="connsiteX2784" fmla="*/ 6024319 w 7044883"/>
                    <a:gd name="connsiteY2784" fmla="*/ 838721 h 2867451"/>
                    <a:gd name="connsiteX2785" fmla="*/ 6020980 w 7044883"/>
                    <a:gd name="connsiteY2785" fmla="*/ 830968 h 2867451"/>
                    <a:gd name="connsiteX2786" fmla="*/ 6007185 w 7044883"/>
                    <a:gd name="connsiteY2786" fmla="*/ 826424 h 2867451"/>
                    <a:gd name="connsiteX2787" fmla="*/ 5997640 w 7044883"/>
                    <a:gd name="connsiteY2787" fmla="*/ 818413 h 2867451"/>
                    <a:gd name="connsiteX2788" fmla="*/ 6017022 w 7044883"/>
                    <a:gd name="connsiteY2788" fmla="*/ 810203 h 2867451"/>
                    <a:gd name="connsiteX2789" fmla="*/ 6007360 w 7044883"/>
                    <a:gd name="connsiteY2789" fmla="*/ 777774 h 2867451"/>
                    <a:gd name="connsiteX2790" fmla="*/ 6041101 w 7044883"/>
                    <a:gd name="connsiteY2790" fmla="*/ 780807 h 2867451"/>
                    <a:gd name="connsiteX2791" fmla="*/ 6086320 w 7044883"/>
                    <a:gd name="connsiteY2791" fmla="*/ 787577 h 2867451"/>
                    <a:gd name="connsiteX2792" fmla="*/ 6125635 w 7044883"/>
                    <a:gd name="connsiteY2792" fmla="*/ 790423 h 2867451"/>
                    <a:gd name="connsiteX2793" fmla="*/ 6133739 w 7044883"/>
                    <a:gd name="connsiteY2793" fmla="*/ 796138 h 2867451"/>
                    <a:gd name="connsiteX2794" fmla="*/ 6154960 w 7044883"/>
                    <a:gd name="connsiteY2794" fmla="*/ 805191 h 2867451"/>
                    <a:gd name="connsiteX2795" fmla="*/ 6167105 w 7044883"/>
                    <a:gd name="connsiteY2795" fmla="*/ 804699 h 2867451"/>
                    <a:gd name="connsiteX2796" fmla="*/ 6151647 w 7044883"/>
                    <a:gd name="connsiteY2796" fmla="*/ 799370 h 2867451"/>
                    <a:gd name="connsiteX2797" fmla="*/ 6179251 w 7044883"/>
                    <a:gd name="connsiteY2797" fmla="*/ 798843 h 2867451"/>
                    <a:gd name="connsiteX2798" fmla="*/ 6177809 w 7044883"/>
                    <a:gd name="connsiteY2798" fmla="*/ 799534 h 2867451"/>
                    <a:gd name="connsiteX2799" fmla="*/ 6183197 w 7044883"/>
                    <a:gd name="connsiteY2799" fmla="*/ 802017 h 2867451"/>
                    <a:gd name="connsiteX2800" fmla="*/ 6181405 w 7044883"/>
                    <a:gd name="connsiteY2800" fmla="*/ 800120 h 2867451"/>
                    <a:gd name="connsiteX2801" fmla="*/ 6191067 w 7044883"/>
                    <a:gd name="connsiteY2801" fmla="*/ 802720 h 2867451"/>
                    <a:gd name="connsiteX2802" fmla="*/ 6196162 w 7044883"/>
                    <a:gd name="connsiteY2802" fmla="*/ 799124 h 2867451"/>
                    <a:gd name="connsiteX2803" fmla="*/ 6226647 w 7044883"/>
                    <a:gd name="connsiteY2803" fmla="*/ 800986 h 2867451"/>
                    <a:gd name="connsiteX2804" fmla="*/ 6256933 w 7044883"/>
                    <a:gd name="connsiteY2804" fmla="*/ 802368 h 2867451"/>
                    <a:gd name="connsiteX2805" fmla="*/ 6284783 w 7044883"/>
                    <a:gd name="connsiteY2805" fmla="*/ 800342 h 2867451"/>
                    <a:gd name="connsiteX2806" fmla="*/ 6274605 w 7044883"/>
                    <a:gd name="connsiteY2806" fmla="*/ 801689 h 2867451"/>
                    <a:gd name="connsiteX2807" fmla="*/ 6306859 w 7044883"/>
                    <a:gd name="connsiteY2807" fmla="*/ 808107 h 2867451"/>
                    <a:gd name="connsiteX2808" fmla="*/ 6287734 w 7044883"/>
                    <a:gd name="connsiteY2808" fmla="*/ 798984 h 2867451"/>
                    <a:gd name="connsiteX2809" fmla="*/ 6313851 w 7044883"/>
                    <a:gd name="connsiteY2809" fmla="*/ 806784 h 2867451"/>
                    <a:gd name="connsiteX2810" fmla="*/ 6318969 w 7044883"/>
                    <a:gd name="connsiteY2810" fmla="*/ 809794 h 2867451"/>
                    <a:gd name="connsiteX2811" fmla="*/ 6338070 w 7044883"/>
                    <a:gd name="connsiteY2811" fmla="*/ 818612 h 2867451"/>
                    <a:gd name="connsiteX2812" fmla="*/ 6386919 w 7044883"/>
                    <a:gd name="connsiteY2812" fmla="*/ 829973 h 2867451"/>
                    <a:gd name="connsiteX2813" fmla="*/ 6383043 w 7044883"/>
                    <a:gd name="connsiteY2813" fmla="*/ 830605 h 2867451"/>
                    <a:gd name="connsiteX2814" fmla="*/ 6403444 w 7044883"/>
                    <a:gd name="connsiteY2814" fmla="*/ 836133 h 2867451"/>
                    <a:gd name="connsiteX2815" fmla="*/ 6417908 w 7044883"/>
                    <a:gd name="connsiteY2815" fmla="*/ 836554 h 2867451"/>
                    <a:gd name="connsiteX2816" fmla="*/ 6459144 w 7044883"/>
                    <a:gd name="connsiteY2816" fmla="*/ 850807 h 2867451"/>
                    <a:gd name="connsiteX2817" fmla="*/ 6450267 w 7044883"/>
                    <a:gd name="connsiteY2817" fmla="*/ 851205 h 2867451"/>
                    <a:gd name="connsiteX2818" fmla="*/ 6447796 w 7044883"/>
                    <a:gd name="connsiteY2818" fmla="*/ 847575 h 2867451"/>
                    <a:gd name="connsiteX2819" fmla="*/ 6437747 w 7044883"/>
                    <a:gd name="connsiteY2819" fmla="*/ 845783 h 2867451"/>
                    <a:gd name="connsiteX2820" fmla="*/ 6464204 w 7044883"/>
                    <a:gd name="connsiteY2820" fmla="*/ 854520 h 2867451"/>
                    <a:gd name="connsiteX2821" fmla="*/ 6505616 w 7044883"/>
                    <a:gd name="connsiteY2821" fmla="*/ 881047 h 2867451"/>
                    <a:gd name="connsiteX2822" fmla="*/ 6484207 w 7044883"/>
                    <a:gd name="connsiteY2822" fmla="*/ 870307 h 2867451"/>
                    <a:gd name="connsiteX2823" fmla="*/ 6491773 w 7044883"/>
                    <a:gd name="connsiteY2823" fmla="*/ 879138 h 2867451"/>
                    <a:gd name="connsiteX2824" fmla="*/ 6507782 w 7044883"/>
                    <a:gd name="connsiteY2824" fmla="*/ 882698 h 2867451"/>
                    <a:gd name="connsiteX2825" fmla="*/ 6507782 w 7044883"/>
                    <a:gd name="connsiteY2825" fmla="*/ 882651 h 2867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Lst>
                  <a:rect l="l" t="t" r="r" b="b"/>
                  <a:pathLst>
                    <a:path w="7044883" h="2867451">
                      <a:moveTo>
                        <a:pt x="6507817" y="882651"/>
                      </a:moveTo>
                      <a:cubicBezTo>
                        <a:pt x="6518885" y="882651"/>
                        <a:pt x="6531205" y="877779"/>
                        <a:pt x="6539509" y="886106"/>
                      </a:cubicBezTo>
                      <a:cubicBezTo>
                        <a:pt x="6550447" y="894292"/>
                        <a:pt x="6558786" y="899762"/>
                        <a:pt x="6566984" y="908077"/>
                      </a:cubicBezTo>
                      <a:lnTo>
                        <a:pt x="6572418" y="919121"/>
                      </a:lnTo>
                      <a:cubicBezTo>
                        <a:pt x="6577876" y="919121"/>
                        <a:pt x="6583473" y="921861"/>
                        <a:pt x="6588931" y="924590"/>
                      </a:cubicBezTo>
                      <a:cubicBezTo>
                        <a:pt x="6599835" y="927307"/>
                        <a:pt x="6630156" y="938363"/>
                        <a:pt x="6638342" y="941103"/>
                      </a:cubicBezTo>
                      <a:cubicBezTo>
                        <a:pt x="6632885" y="943809"/>
                        <a:pt x="6627415" y="943809"/>
                        <a:pt x="6624675" y="943809"/>
                      </a:cubicBezTo>
                      <a:cubicBezTo>
                        <a:pt x="6627415" y="943809"/>
                        <a:pt x="6630156" y="943809"/>
                        <a:pt x="6632885" y="943809"/>
                      </a:cubicBezTo>
                      <a:cubicBezTo>
                        <a:pt x="6641047" y="946666"/>
                        <a:pt x="6646657" y="943809"/>
                        <a:pt x="6652115" y="949395"/>
                      </a:cubicBezTo>
                      <a:cubicBezTo>
                        <a:pt x="6657596" y="952135"/>
                        <a:pt x="6663042" y="954864"/>
                        <a:pt x="6668640" y="957605"/>
                      </a:cubicBezTo>
                      <a:cubicBezTo>
                        <a:pt x="6679543" y="963179"/>
                        <a:pt x="6690599" y="968649"/>
                        <a:pt x="6701514" y="974118"/>
                      </a:cubicBezTo>
                      <a:cubicBezTo>
                        <a:pt x="6712546" y="979693"/>
                        <a:pt x="6723508" y="982433"/>
                        <a:pt x="6734564" y="987891"/>
                      </a:cubicBezTo>
                      <a:cubicBezTo>
                        <a:pt x="6739998" y="990631"/>
                        <a:pt x="6748196" y="993489"/>
                        <a:pt x="6750913" y="998923"/>
                      </a:cubicBezTo>
                      <a:cubicBezTo>
                        <a:pt x="6756523" y="1007250"/>
                        <a:pt x="6753783" y="1018177"/>
                        <a:pt x="6748196" y="1023763"/>
                      </a:cubicBezTo>
                      <a:cubicBezTo>
                        <a:pt x="6756535" y="1026492"/>
                        <a:pt x="6770144" y="1023763"/>
                        <a:pt x="6764710" y="1015436"/>
                      </a:cubicBezTo>
                      <a:cubicBezTo>
                        <a:pt x="6767403" y="1015436"/>
                        <a:pt x="6775742" y="1021034"/>
                        <a:pt x="6775742" y="1023763"/>
                      </a:cubicBezTo>
                      <a:cubicBezTo>
                        <a:pt x="6778471" y="1031949"/>
                        <a:pt x="6770132" y="1040276"/>
                        <a:pt x="6772884" y="1048451"/>
                      </a:cubicBezTo>
                      <a:cubicBezTo>
                        <a:pt x="6772884" y="1059507"/>
                        <a:pt x="6786680" y="1070551"/>
                        <a:pt x="6778482" y="1078737"/>
                      </a:cubicBezTo>
                      <a:lnTo>
                        <a:pt x="6772884" y="1081583"/>
                      </a:lnTo>
                      <a:cubicBezTo>
                        <a:pt x="6772884" y="1084312"/>
                        <a:pt x="6770144" y="1084312"/>
                        <a:pt x="6767403" y="1084312"/>
                      </a:cubicBezTo>
                      <a:cubicBezTo>
                        <a:pt x="6772884" y="1087052"/>
                        <a:pt x="6794890" y="1092522"/>
                        <a:pt x="6794890" y="1100825"/>
                      </a:cubicBezTo>
                      <a:cubicBezTo>
                        <a:pt x="6794890" y="1103554"/>
                        <a:pt x="6797736" y="1111881"/>
                        <a:pt x="6794890" y="1117338"/>
                      </a:cubicBezTo>
                      <a:cubicBezTo>
                        <a:pt x="6800441" y="1114598"/>
                        <a:pt x="6811368" y="1106294"/>
                        <a:pt x="6808628" y="1103554"/>
                      </a:cubicBezTo>
                      <a:cubicBezTo>
                        <a:pt x="6811368" y="1103554"/>
                        <a:pt x="6816849" y="1100825"/>
                        <a:pt x="6819695" y="1100825"/>
                      </a:cubicBezTo>
                      <a:cubicBezTo>
                        <a:pt x="6822436" y="1103554"/>
                        <a:pt x="6819695" y="1120067"/>
                        <a:pt x="6819695" y="1125536"/>
                      </a:cubicBezTo>
                      <a:cubicBezTo>
                        <a:pt x="6819695" y="1122808"/>
                        <a:pt x="6822436" y="1114598"/>
                        <a:pt x="6825164" y="1114598"/>
                      </a:cubicBezTo>
                      <a:cubicBezTo>
                        <a:pt x="6825164" y="1111881"/>
                        <a:pt x="6830633" y="1111881"/>
                        <a:pt x="6833350" y="1109011"/>
                      </a:cubicBezTo>
                      <a:cubicBezTo>
                        <a:pt x="6836080" y="1106294"/>
                        <a:pt x="6830633" y="1103554"/>
                        <a:pt x="6825164" y="1100813"/>
                      </a:cubicBezTo>
                      <a:cubicBezTo>
                        <a:pt x="6822447" y="1098085"/>
                        <a:pt x="6816849" y="1098085"/>
                        <a:pt x="6811368" y="1095215"/>
                      </a:cubicBezTo>
                      <a:cubicBezTo>
                        <a:pt x="6805911" y="1095215"/>
                        <a:pt x="6803170" y="1095215"/>
                        <a:pt x="6808628" y="1089769"/>
                      </a:cubicBezTo>
                      <a:cubicBezTo>
                        <a:pt x="6811368" y="1087041"/>
                        <a:pt x="6819695" y="1087041"/>
                        <a:pt x="6822447" y="1084300"/>
                      </a:cubicBezTo>
                      <a:cubicBezTo>
                        <a:pt x="6822447" y="1081571"/>
                        <a:pt x="6819707" y="1075997"/>
                        <a:pt x="6819707" y="1073268"/>
                      </a:cubicBezTo>
                      <a:cubicBezTo>
                        <a:pt x="6819707" y="1070539"/>
                        <a:pt x="6816861" y="1064941"/>
                        <a:pt x="6816861" y="1062224"/>
                      </a:cubicBezTo>
                      <a:cubicBezTo>
                        <a:pt x="6814121" y="1054026"/>
                        <a:pt x="6811380" y="1059495"/>
                        <a:pt x="6803182" y="1056766"/>
                      </a:cubicBezTo>
                      <a:cubicBezTo>
                        <a:pt x="6805922" y="1056766"/>
                        <a:pt x="6808639" y="1054026"/>
                        <a:pt x="6805922" y="1051297"/>
                      </a:cubicBezTo>
                      <a:cubicBezTo>
                        <a:pt x="6803182" y="1048439"/>
                        <a:pt x="6794902" y="1054026"/>
                        <a:pt x="6792150" y="1054026"/>
                      </a:cubicBezTo>
                      <a:cubicBezTo>
                        <a:pt x="6794890" y="1051297"/>
                        <a:pt x="6797748" y="1051297"/>
                        <a:pt x="6797748" y="1048439"/>
                      </a:cubicBezTo>
                      <a:cubicBezTo>
                        <a:pt x="6794902" y="1048439"/>
                        <a:pt x="6789421" y="1051297"/>
                        <a:pt x="6786692" y="1051297"/>
                      </a:cubicBezTo>
                      <a:cubicBezTo>
                        <a:pt x="6794902" y="1042993"/>
                        <a:pt x="6816861" y="1048439"/>
                        <a:pt x="6825176" y="1048439"/>
                      </a:cubicBezTo>
                      <a:cubicBezTo>
                        <a:pt x="6830646" y="1048439"/>
                        <a:pt x="6830646" y="1048439"/>
                        <a:pt x="6836103" y="1045711"/>
                      </a:cubicBezTo>
                      <a:cubicBezTo>
                        <a:pt x="6838808" y="1045711"/>
                        <a:pt x="6841677" y="1045711"/>
                        <a:pt x="6847135" y="1045711"/>
                      </a:cubicBezTo>
                      <a:cubicBezTo>
                        <a:pt x="6849864" y="1048439"/>
                        <a:pt x="6860814" y="1048439"/>
                        <a:pt x="6863649" y="1051297"/>
                      </a:cubicBezTo>
                      <a:cubicBezTo>
                        <a:pt x="6866366" y="1054026"/>
                        <a:pt x="6858074" y="1054026"/>
                        <a:pt x="6855333" y="1056766"/>
                      </a:cubicBezTo>
                      <a:cubicBezTo>
                        <a:pt x="6852628" y="1062224"/>
                        <a:pt x="6855333" y="1064953"/>
                        <a:pt x="6855333" y="1070539"/>
                      </a:cubicBezTo>
                      <a:cubicBezTo>
                        <a:pt x="6858074" y="1064941"/>
                        <a:pt x="6860814" y="1059495"/>
                        <a:pt x="6863649" y="1056766"/>
                      </a:cubicBezTo>
                      <a:cubicBezTo>
                        <a:pt x="6869094" y="1054026"/>
                        <a:pt x="6885631" y="1059495"/>
                        <a:pt x="6891100" y="1062224"/>
                      </a:cubicBezTo>
                      <a:cubicBezTo>
                        <a:pt x="6893841" y="1062224"/>
                        <a:pt x="6907590" y="1064941"/>
                        <a:pt x="6899264" y="1059495"/>
                      </a:cubicBezTo>
                      <a:cubicBezTo>
                        <a:pt x="6891100" y="1054026"/>
                        <a:pt x="6880021" y="1054026"/>
                        <a:pt x="6871823" y="1051285"/>
                      </a:cubicBezTo>
                      <a:cubicBezTo>
                        <a:pt x="6885631" y="1054014"/>
                        <a:pt x="6904838" y="1059495"/>
                        <a:pt x="6918506" y="1059495"/>
                      </a:cubicBezTo>
                      <a:cubicBezTo>
                        <a:pt x="6921246" y="1059495"/>
                        <a:pt x="6921246" y="1059495"/>
                        <a:pt x="6923986" y="1059495"/>
                      </a:cubicBezTo>
                      <a:cubicBezTo>
                        <a:pt x="6929572" y="1059495"/>
                        <a:pt x="6929572" y="1059495"/>
                        <a:pt x="6935007" y="1062224"/>
                      </a:cubicBezTo>
                      <a:cubicBezTo>
                        <a:pt x="6948815" y="1067810"/>
                        <a:pt x="6959718" y="1081571"/>
                        <a:pt x="6970762" y="1092522"/>
                      </a:cubicBezTo>
                      <a:cubicBezTo>
                        <a:pt x="6976231" y="1095227"/>
                        <a:pt x="6984429" y="1098096"/>
                        <a:pt x="6989898" y="1103554"/>
                      </a:cubicBezTo>
                      <a:cubicBezTo>
                        <a:pt x="6992756" y="1106294"/>
                        <a:pt x="6998190" y="1111881"/>
                        <a:pt x="7000920" y="1114598"/>
                      </a:cubicBezTo>
                      <a:cubicBezTo>
                        <a:pt x="7006389" y="1117338"/>
                        <a:pt x="7028383" y="1120055"/>
                        <a:pt x="7020197" y="1131111"/>
                      </a:cubicBezTo>
                      <a:cubicBezTo>
                        <a:pt x="7025654" y="1128394"/>
                        <a:pt x="7028383" y="1131111"/>
                        <a:pt x="7033829" y="1131111"/>
                      </a:cubicBezTo>
                      <a:cubicBezTo>
                        <a:pt x="7036698" y="1131111"/>
                        <a:pt x="7044884" y="1128394"/>
                        <a:pt x="7044884" y="1136580"/>
                      </a:cubicBezTo>
                      <a:cubicBezTo>
                        <a:pt x="7044884" y="1147636"/>
                        <a:pt x="7020197" y="1155822"/>
                        <a:pt x="7014715" y="1158680"/>
                      </a:cubicBezTo>
                      <a:cubicBezTo>
                        <a:pt x="7009118" y="1161409"/>
                        <a:pt x="7003672" y="1164138"/>
                        <a:pt x="7000920" y="1169595"/>
                      </a:cubicBezTo>
                      <a:cubicBezTo>
                        <a:pt x="7000920" y="1172453"/>
                        <a:pt x="7003660" y="1175182"/>
                        <a:pt x="6998190" y="1175182"/>
                      </a:cubicBezTo>
                      <a:cubicBezTo>
                        <a:pt x="6989898" y="1177922"/>
                        <a:pt x="6973514" y="1172453"/>
                        <a:pt x="6965187" y="1169595"/>
                      </a:cubicBezTo>
                      <a:cubicBezTo>
                        <a:pt x="6959730" y="1164138"/>
                        <a:pt x="6957024" y="1158680"/>
                        <a:pt x="6951532" y="1158680"/>
                      </a:cubicBezTo>
                      <a:cubicBezTo>
                        <a:pt x="6951532" y="1161409"/>
                        <a:pt x="6954272" y="1164138"/>
                        <a:pt x="6957024" y="1166866"/>
                      </a:cubicBezTo>
                      <a:cubicBezTo>
                        <a:pt x="6959730" y="1169595"/>
                        <a:pt x="6959730" y="1169595"/>
                        <a:pt x="6962470" y="1169595"/>
                      </a:cubicBezTo>
                      <a:cubicBezTo>
                        <a:pt x="6965187" y="1175182"/>
                        <a:pt x="6973514" y="1175182"/>
                        <a:pt x="6976243" y="1180639"/>
                      </a:cubicBezTo>
                      <a:cubicBezTo>
                        <a:pt x="6981701" y="1191683"/>
                        <a:pt x="6965199" y="1188954"/>
                        <a:pt x="6959742" y="1186108"/>
                      </a:cubicBezTo>
                      <a:cubicBezTo>
                        <a:pt x="6943217" y="1186108"/>
                        <a:pt x="6926844" y="1183380"/>
                        <a:pt x="6910307" y="1180639"/>
                      </a:cubicBezTo>
                      <a:cubicBezTo>
                        <a:pt x="6910307" y="1175182"/>
                        <a:pt x="6904850" y="1172453"/>
                        <a:pt x="6899275" y="1172453"/>
                      </a:cubicBezTo>
                      <a:cubicBezTo>
                        <a:pt x="6893852" y="1169595"/>
                        <a:pt x="6888348" y="1172453"/>
                        <a:pt x="6882785" y="1169595"/>
                      </a:cubicBezTo>
                      <a:cubicBezTo>
                        <a:pt x="6888360" y="1172453"/>
                        <a:pt x="6896582" y="1175182"/>
                        <a:pt x="6902003" y="1177922"/>
                      </a:cubicBezTo>
                      <a:cubicBezTo>
                        <a:pt x="6907613" y="1183380"/>
                        <a:pt x="6910319" y="1188966"/>
                        <a:pt x="6902003" y="1188966"/>
                      </a:cubicBezTo>
                      <a:cubicBezTo>
                        <a:pt x="6907613" y="1194435"/>
                        <a:pt x="6910319" y="1191695"/>
                        <a:pt x="6915824" y="1188966"/>
                      </a:cubicBezTo>
                      <a:cubicBezTo>
                        <a:pt x="6915824" y="1191695"/>
                        <a:pt x="6913083" y="1202739"/>
                        <a:pt x="6910319" y="1205468"/>
                      </a:cubicBezTo>
                      <a:cubicBezTo>
                        <a:pt x="6907613" y="1208208"/>
                        <a:pt x="6907613" y="1205468"/>
                        <a:pt x="6902003" y="1208208"/>
                      </a:cubicBezTo>
                      <a:lnTo>
                        <a:pt x="6896582" y="1208208"/>
                      </a:lnTo>
                      <a:cubicBezTo>
                        <a:pt x="6893865" y="1208208"/>
                        <a:pt x="6893865" y="1205468"/>
                        <a:pt x="6888360" y="1208208"/>
                      </a:cubicBezTo>
                      <a:cubicBezTo>
                        <a:pt x="6896582" y="1216512"/>
                        <a:pt x="6907613" y="1208208"/>
                        <a:pt x="6913071" y="1216512"/>
                      </a:cubicBezTo>
                      <a:cubicBezTo>
                        <a:pt x="6921269" y="1224721"/>
                        <a:pt x="6913071" y="1230179"/>
                        <a:pt x="6904861" y="1235765"/>
                      </a:cubicBezTo>
                      <a:cubicBezTo>
                        <a:pt x="6902003" y="1235765"/>
                        <a:pt x="6899275" y="1238494"/>
                        <a:pt x="6893865" y="1238494"/>
                      </a:cubicBezTo>
                      <a:cubicBezTo>
                        <a:pt x="6891124" y="1238494"/>
                        <a:pt x="6888360" y="1241235"/>
                        <a:pt x="6885654" y="1241235"/>
                      </a:cubicBezTo>
                      <a:cubicBezTo>
                        <a:pt x="6880044" y="1243963"/>
                        <a:pt x="6877339" y="1238494"/>
                        <a:pt x="6871847" y="1241235"/>
                      </a:cubicBezTo>
                      <a:cubicBezTo>
                        <a:pt x="6869118" y="1241235"/>
                        <a:pt x="6869118" y="1243963"/>
                        <a:pt x="6866389" y="1246821"/>
                      </a:cubicBezTo>
                      <a:cubicBezTo>
                        <a:pt x="6869106" y="1243963"/>
                        <a:pt x="6874587" y="1241235"/>
                        <a:pt x="6877339" y="1243963"/>
                      </a:cubicBezTo>
                      <a:cubicBezTo>
                        <a:pt x="6885654" y="1249550"/>
                        <a:pt x="6882797" y="1252267"/>
                        <a:pt x="6874599" y="1255007"/>
                      </a:cubicBezTo>
                      <a:cubicBezTo>
                        <a:pt x="6869118" y="1257736"/>
                        <a:pt x="6866401" y="1260465"/>
                        <a:pt x="6874599" y="1266051"/>
                      </a:cubicBezTo>
                      <a:cubicBezTo>
                        <a:pt x="6885654" y="1271521"/>
                        <a:pt x="6899286" y="1274249"/>
                        <a:pt x="6910330" y="1279836"/>
                      </a:cubicBezTo>
                      <a:cubicBezTo>
                        <a:pt x="6904873" y="1279836"/>
                        <a:pt x="6896593" y="1282565"/>
                        <a:pt x="6891124" y="1279836"/>
                      </a:cubicBezTo>
                      <a:cubicBezTo>
                        <a:pt x="6882797" y="1279836"/>
                        <a:pt x="6877339" y="1274238"/>
                        <a:pt x="6871847" y="1274238"/>
                      </a:cubicBezTo>
                      <a:cubicBezTo>
                        <a:pt x="6877339" y="1279836"/>
                        <a:pt x="6880044" y="1279836"/>
                        <a:pt x="6877339" y="1288010"/>
                      </a:cubicBezTo>
                      <a:cubicBezTo>
                        <a:pt x="6874599" y="1288010"/>
                        <a:pt x="6869118" y="1293608"/>
                        <a:pt x="6863672" y="1293608"/>
                      </a:cubicBezTo>
                      <a:cubicBezTo>
                        <a:pt x="6852651" y="1290739"/>
                        <a:pt x="6860838" y="1271509"/>
                        <a:pt x="6852651" y="1263322"/>
                      </a:cubicBezTo>
                      <a:cubicBezTo>
                        <a:pt x="6849899" y="1271509"/>
                        <a:pt x="6858109" y="1274238"/>
                        <a:pt x="6849899" y="1279836"/>
                      </a:cubicBezTo>
                      <a:cubicBezTo>
                        <a:pt x="6847171" y="1282565"/>
                        <a:pt x="6841701" y="1285282"/>
                        <a:pt x="6836126" y="1285282"/>
                      </a:cubicBezTo>
                      <a:cubicBezTo>
                        <a:pt x="6816885" y="1285282"/>
                        <a:pt x="6811415" y="1260465"/>
                        <a:pt x="6794926" y="1255007"/>
                      </a:cubicBezTo>
                      <a:cubicBezTo>
                        <a:pt x="6786715" y="1252278"/>
                        <a:pt x="6772919" y="1246821"/>
                        <a:pt x="6767438" y="1246821"/>
                      </a:cubicBezTo>
                      <a:cubicBezTo>
                        <a:pt x="6762016" y="1246821"/>
                        <a:pt x="6759276" y="1249550"/>
                        <a:pt x="6753818" y="1246821"/>
                      </a:cubicBezTo>
                      <a:cubicBezTo>
                        <a:pt x="6750949" y="1246821"/>
                        <a:pt x="6745491" y="1249550"/>
                        <a:pt x="6745491" y="1249550"/>
                      </a:cubicBezTo>
                      <a:cubicBezTo>
                        <a:pt x="6740021" y="1246821"/>
                        <a:pt x="6737293" y="1238506"/>
                        <a:pt x="6734587" y="1235765"/>
                      </a:cubicBezTo>
                      <a:cubicBezTo>
                        <a:pt x="6731847" y="1230191"/>
                        <a:pt x="6728977" y="1224721"/>
                        <a:pt x="6726273" y="1219252"/>
                      </a:cubicBezTo>
                      <a:cubicBezTo>
                        <a:pt x="6726273" y="1219252"/>
                        <a:pt x="6726273" y="1216512"/>
                        <a:pt x="6726273" y="1213677"/>
                      </a:cubicBezTo>
                      <a:cubicBezTo>
                        <a:pt x="6723532" y="1208208"/>
                        <a:pt x="6720779" y="1205468"/>
                        <a:pt x="6720779" y="1199881"/>
                      </a:cubicBezTo>
                      <a:cubicBezTo>
                        <a:pt x="6718074" y="1191695"/>
                        <a:pt x="6704255" y="1188966"/>
                        <a:pt x="6693375" y="1186108"/>
                      </a:cubicBezTo>
                      <a:cubicBezTo>
                        <a:pt x="6663054" y="1175182"/>
                        <a:pt x="6627439" y="1180639"/>
                        <a:pt x="6594424" y="1180639"/>
                      </a:cubicBezTo>
                      <a:cubicBezTo>
                        <a:pt x="6591684" y="1180639"/>
                        <a:pt x="6583497" y="1180639"/>
                        <a:pt x="6583497" y="1177922"/>
                      </a:cubicBezTo>
                      <a:lnTo>
                        <a:pt x="6586214" y="1172453"/>
                      </a:lnTo>
                      <a:cubicBezTo>
                        <a:pt x="6588943" y="1164138"/>
                        <a:pt x="6583497" y="1166855"/>
                        <a:pt x="6577887" y="1164138"/>
                      </a:cubicBezTo>
                      <a:cubicBezTo>
                        <a:pt x="6575159" y="1161409"/>
                        <a:pt x="6566995" y="1155822"/>
                        <a:pt x="6564255" y="1153094"/>
                      </a:cubicBezTo>
                      <a:cubicBezTo>
                        <a:pt x="6564255" y="1153094"/>
                        <a:pt x="6564255" y="1147636"/>
                        <a:pt x="6564255" y="1144907"/>
                      </a:cubicBezTo>
                      <a:cubicBezTo>
                        <a:pt x="6564255" y="1144907"/>
                        <a:pt x="6561514" y="1142178"/>
                        <a:pt x="6561514" y="1139309"/>
                      </a:cubicBezTo>
                      <a:cubicBezTo>
                        <a:pt x="6564255" y="1142167"/>
                        <a:pt x="6569677" y="1147624"/>
                        <a:pt x="6572442" y="1142167"/>
                      </a:cubicBezTo>
                      <a:cubicBezTo>
                        <a:pt x="6575159" y="1139309"/>
                        <a:pt x="6575159" y="1136569"/>
                        <a:pt x="6575159" y="1136569"/>
                      </a:cubicBezTo>
                      <a:cubicBezTo>
                        <a:pt x="6577887" y="1133840"/>
                        <a:pt x="6580756" y="1133840"/>
                        <a:pt x="6580756" y="1131099"/>
                      </a:cubicBezTo>
                      <a:cubicBezTo>
                        <a:pt x="6586226" y="1125525"/>
                        <a:pt x="6583497" y="1117327"/>
                        <a:pt x="6583497" y="1109011"/>
                      </a:cubicBezTo>
                      <a:cubicBezTo>
                        <a:pt x="6575159" y="1114598"/>
                        <a:pt x="6567008" y="1122796"/>
                        <a:pt x="6555940" y="1125525"/>
                      </a:cubicBezTo>
                      <a:cubicBezTo>
                        <a:pt x="6553187" y="1125525"/>
                        <a:pt x="6553187" y="1122796"/>
                        <a:pt x="6553187" y="1120055"/>
                      </a:cubicBezTo>
                      <a:cubicBezTo>
                        <a:pt x="6553187" y="1117338"/>
                        <a:pt x="6555940" y="1117338"/>
                        <a:pt x="6553187" y="1111881"/>
                      </a:cubicBezTo>
                      <a:cubicBezTo>
                        <a:pt x="6550470" y="1103554"/>
                        <a:pt x="6536674" y="1114598"/>
                        <a:pt x="6539532" y="1117338"/>
                      </a:cubicBezTo>
                      <a:cubicBezTo>
                        <a:pt x="6544990" y="1122796"/>
                        <a:pt x="6547730" y="1128394"/>
                        <a:pt x="6536674" y="1131111"/>
                      </a:cubicBezTo>
                      <a:cubicBezTo>
                        <a:pt x="6533957" y="1133840"/>
                        <a:pt x="6525771" y="1136580"/>
                        <a:pt x="6523031" y="1131111"/>
                      </a:cubicBezTo>
                      <a:lnTo>
                        <a:pt x="6525771" y="1131111"/>
                      </a:lnTo>
                      <a:cubicBezTo>
                        <a:pt x="6520290" y="1120067"/>
                        <a:pt x="6520290" y="1144907"/>
                        <a:pt x="6520290" y="1147636"/>
                      </a:cubicBezTo>
                      <a:cubicBezTo>
                        <a:pt x="6520290" y="1155822"/>
                        <a:pt x="6520290" y="1161409"/>
                        <a:pt x="6525771" y="1164138"/>
                      </a:cubicBezTo>
                      <a:cubicBezTo>
                        <a:pt x="6528488" y="1166866"/>
                        <a:pt x="6533945" y="1172453"/>
                        <a:pt x="6539532" y="1172453"/>
                      </a:cubicBezTo>
                      <a:cubicBezTo>
                        <a:pt x="6544990" y="1175182"/>
                        <a:pt x="6539532" y="1177922"/>
                        <a:pt x="6542261" y="1183380"/>
                      </a:cubicBezTo>
                      <a:cubicBezTo>
                        <a:pt x="6531228" y="1186108"/>
                        <a:pt x="6517585" y="1191695"/>
                        <a:pt x="6503754" y="1197152"/>
                      </a:cubicBezTo>
                      <a:cubicBezTo>
                        <a:pt x="6503754" y="1197152"/>
                        <a:pt x="6501072" y="1199881"/>
                        <a:pt x="6498342" y="1199881"/>
                      </a:cubicBezTo>
                      <a:cubicBezTo>
                        <a:pt x="6501072" y="1202739"/>
                        <a:pt x="6506506" y="1199881"/>
                        <a:pt x="6506506" y="1202739"/>
                      </a:cubicBezTo>
                      <a:lnTo>
                        <a:pt x="6506506" y="1202739"/>
                      </a:lnTo>
                      <a:cubicBezTo>
                        <a:pt x="6511951" y="1199881"/>
                        <a:pt x="6520290" y="1199881"/>
                        <a:pt x="6528488" y="1197152"/>
                      </a:cubicBezTo>
                      <a:cubicBezTo>
                        <a:pt x="6528488" y="1197152"/>
                        <a:pt x="6531217" y="1197152"/>
                        <a:pt x="6533945" y="1197152"/>
                      </a:cubicBezTo>
                      <a:cubicBezTo>
                        <a:pt x="6528488" y="1202739"/>
                        <a:pt x="6531228" y="1210937"/>
                        <a:pt x="6525771" y="1216512"/>
                      </a:cubicBezTo>
                      <a:lnTo>
                        <a:pt x="6525771" y="1216512"/>
                      </a:lnTo>
                      <a:cubicBezTo>
                        <a:pt x="6523031" y="1219252"/>
                        <a:pt x="6517585" y="1221981"/>
                        <a:pt x="6511951" y="1221981"/>
                      </a:cubicBezTo>
                      <a:cubicBezTo>
                        <a:pt x="6509246" y="1224721"/>
                        <a:pt x="6510569" y="1227099"/>
                        <a:pt x="6507829" y="1227099"/>
                      </a:cubicBezTo>
                      <a:lnTo>
                        <a:pt x="6507770" y="1224311"/>
                      </a:lnTo>
                      <a:cubicBezTo>
                        <a:pt x="6505674" y="1228539"/>
                        <a:pt x="6507278" y="1224733"/>
                        <a:pt x="6502360" y="1228012"/>
                      </a:cubicBezTo>
                      <a:cubicBezTo>
                        <a:pt x="6496071" y="1232217"/>
                        <a:pt x="6492569" y="1236983"/>
                        <a:pt x="6486760" y="1242206"/>
                      </a:cubicBezTo>
                      <a:cubicBezTo>
                        <a:pt x="6479522" y="1248718"/>
                        <a:pt x="6477250" y="1246411"/>
                        <a:pt x="6468724" y="1248671"/>
                      </a:cubicBezTo>
                      <a:cubicBezTo>
                        <a:pt x="6459636" y="1251072"/>
                        <a:pt x="6436272" y="1271930"/>
                        <a:pt x="6428846" y="1265595"/>
                      </a:cubicBezTo>
                      <a:cubicBezTo>
                        <a:pt x="6430825" y="1264810"/>
                        <a:pt x="6448603" y="1261367"/>
                        <a:pt x="6440429" y="1258263"/>
                      </a:cubicBezTo>
                      <a:cubicBezTo>
                        <a:pt x="6435440" y="1256378"/>
                        <a:pt x="6420157" y="1261074"/>
                        <a:pt x="6414863" y="1261577"/>
                      </a:cubicBezTo>
                      <a:cubicBezTo>
                        <a:pt x="6415788" y="1261179"/>
                        <a:pt x="6416830" y="1260933"/>
                        <a:pt x="6417767" y="1260640"/>
                      </a:cubicBezTo>
                      <a:cubicBezTo>
                        <a:pt x="6415179" y="1257982"/>
                        <a:pt x="6411771" y="1259200"/>
                        <a:pt x="6407894" y="1259001"/>
                      </a:cubicBezTo>
                      <a:cubicBezTo>
                        <a:pt x="6405880" y="1258895"/>
                        <a:pt x="6403795" y="1260324"/>
                        <a:pt x="6401816" y="1260149"/>
                      </a:cubicBezTo>
                      <a:cubicBezTo>
                        <a:pt x="6401289" y="1260102"/>
                        <a:pt x="6401511" y="1257935"/>
                        <a:pt x="6400587" y="1257853"/>
                      </a:cubicBezTo>
                      <a:cubicBezTo>
                        <a:pt x="6394461" y="1257326"/>
                        <a:pt x="6388653" y="1257115"/>
                        <a:pt x="6382726" y="1255886"/>
                      </a:cubicBezTo>
                      <a:cubicBezTo>
                        <a:pt x="6383452" y="1255347"/>
                        <a:pt x="6384096" y="1254597"/>
                        <a:pt x="6384858" y="1254035"/>
                      </a:cubicBezTo>
                      <a:cubicBezTo>
                        <a:pt x="6382574" y="1252138"/>
                        <a:pt x="6379892" y="1250943"/>
                        <a:pt x="6377000" y="1250592"/>
                      </a:cubicBezTo>
                      <a:cubicBezTo>
                        <a:pt x="6377503" y="1247617"/>
                        <a:pt x="6374564" y="1247055"/>
                        <a:pt x="6371647" y="1246610"/>
                      </a:cubicBezTo>
                      <a:cubicBezTo>
                        <a:pt x="6373521" y="1246376"/>
                        <a:pt x="6374739" y="1245345"/>
                        <a:pt x="6377000" y="1245404"/>
                      </a:cubicBezTo>
                      <a:cubicBezTo>
                        <a:pt x="6373346" y="1237663"/>
                        <a:pt x="6374318" y="1241867"/>
                        <a:pt x="6368017" y="1238424"/>
                      </a:cubicBezTo>
                      <a:cubicBezTo>
                        <a:pt x="6362407" y="1235355"/>
                        <a:pt x="6360966" y="1231748"/>
                        <a:pt x="6355087" y="1228750"/>
                      </a:cubicBezTo>
                      <a:cubicBezTo>
                        <a:pt x="6344278" y="1223234"/>
                        <a:pt x="6341268" y="1230495"/>
                        <a:pt x="6330903" y="1230015"/>
                      </a:cubicBezTo>
                      <a:cubicBezTo>
                        <a:pt x="6327214" y="1229839"/>
                        <a:pt x="6322623" y="1226080"/>
                        <a:pt x="6319063" y="1225061"/>
                      </a:cubicBezTo>
                      <a:cubicBezTo>
                        <a:pt x="6319344" y="1228305"/>
                        <a:pt x="6319250" y="1228247"/>
                        <a:pt x="6315139" y="1228000"/>
                      </a:cubicBezTo>
                      <a:cubicBezTo>
                        <a:pt x="6318032" y="1230425"/>
                        <a:pt x="6319203" y="1228129"/>
                        <a:pt x="6322330" y="1229160"/>
                      </a:cubicBezTo>
                      <a:cubicBezTo>
                        <a:pt x="6324251" y="1229792"/>
                        <a:pt x="6324321" y="1232357"/>
                        <a:pt x="6326792" y="1232509"/>
                      </a:cubicBezTo>
                      <a:cubicBezTo>
                        <a:pt x="6333983" y="1232931"/>
                        <a:pt x="6342591" y="1226712"/>
                        <a:pt x="6349431" y="1229090"/>
                      </a:cubicBezTo>
                      <a:cubicBezTo>
                        <a:pt x="6353249" y="1230413"/>
                        <a:pt x="6364995" y="1240122"/>
                        <a:pt x="6363039" y="1244233"/>
                      </a:cubicBezTo>
                      <a:cubicBezTo>
                        <a:pt x="6373029" y="1247161"/>
                        <a:pt x="6359514" y="1251342"/>
                        <a:pt x="6355532" y="1251201"/>
                      </a:cubicBezTo>
                      <a:cubicBezTo>
                        <a:pt x="6350554" y="1251025"/>
                        <a:pt x="6349723" y="1247840"/>
                        <a:pt x="6344875" y="1245884"/>
                      </a:cubicBezTo>
                      <a:cubicBezTo>
                        <a:pt x="6338059" y="1243143"/>
                        <a:pt x="6333948" y="1245170"/>
                        <a:pt x="6328760" y="1246540"/>
                      </a:cubicBezTo>
                      <a:cubicBezTo>
                        <a:pt x="6326839" y="1247043"/>
                        <a:pt x="6325023" y="1249093"/>
                        <a:pt x="6322740" y="1248812"/>
                      </a:cubicBezTo>
                      <a:cubicBezTo>
                        <a:pt x="6320819" y="1248578"/>
                        <a:pt x="6322400" y="1246259"/>
                        <a:pt x="6320632" y="1245404"/>
                      </a:cubicBezTo>
                      <a:cubicBezTo>
                        <a:pt x="6312035" y="1241235"/>
                        <a:pt x="6303568" y="1233599"/>
                        <a:pt x="6296272" y="1239794"/>
                      </a:cubicBezTo>
                      <a:cubicBezTo>
                        <a:pt x="6292852" y="1242710"/>
                        <a:pt x="6290990" y="1248308"/>
                        <a:pt x="6285298" y="1249491"/>
                      </a:cubicBezTo>
                      <a:cubicBezTo>
                        <a:pt x="6281866" y="1250206"/>
                        <a:pt x="6278107" y="1248660"/>
                        <a:pt x="6274372" y="1248917"/>
                      </a:cubicBezTo>
                      <a:cubicBezTo>
                        <a:pt x="6270354" y="1249198"/>
                        <a:pt x="6266314" y="1251330"/>
                        <a:pt x="6262074" y="1251693"/>
                      </a:cubicBezTo>
                      <a:cubicBezTo>
                        <a:pt x="6255528" y="1252267"/>
                        <a:pt x="6249859" y="1251470"/>
                        <a:pt x="6243195" y="1254433"/>
                      </a:cubicBezTo>
                      <a:cubicBezTo>
                        <a:pt x="6233393" y="1258778"/>
                        <a:pt x="6229247" y="1259118"/>
                        <a:pt x="6217863" y="1258685"/>
                      </a:cubicBezTo>
                      <a:cubicBezTo>
                        <a:pt x="6223590" y="1262831"/>
                        <a:pt x="6232912" y="1260008"/>
                        <a:pt x="6238944" y="1257841"/>
                      </a:cubicBezTo>
                      <a:cubicBezTo>
                        <a:pt x="6249039" y="1254199"/>
                        <a:pt x="6251804" y="1254012"/>
                        <a:pt x="6262238" y="1253649"/>
                      </a:cubicBezTo>
                      <a:cubicBezTo>
                        <a:pt x="6274277" y="1253215"/>
                        <a:pt x="6286458" y="1252267"/>
                        <a:pt x="6296014" y="1244795"/>
                      </a:cubicBezTo>
                      <a:cubicBezTo>
                        <a:pt x="6301425" y="1240567"/>
                        <a:pt x="6302573" y="1236491"/>
                        <a:pt x="6310080" y="1243331"/>
                      </a:cubicBezTo>
                      <a:cubicBezTo>
                        <a:pt x="6312457" y="1245497"/>
                        <a:pt x="6315865" y="1250814"/>
                        <a:pt x="6317341" y="1253508"/>
                      </a:cubicBezTo>
                      <a:cubicBezTo>
                        <a:pt x="6319824" y="1258017"/>
                        <a:pt x="6322599" y="1256225"/>
                        <a:pt x="6317657" y="1260242"/>
                      </a:cubicBezTo>
                      <a:cubicBezTo>
                        <a:pt x="6313066" y="1263955"/>
                        <a:pt x="6302233" y="1261882"/>
                        <a:pt x="6305114" y="1271345"/>
                      </a:cubicBezTo>
                      <a:cubicBezTo>
                        <a:pt x="6306086" y="1264376"/>
                        <a:pt x="6314495" y="1264505"/>
                        <a:pt x="6319672" y="1262596"/>
                      </a:cubicBezTo>
                      <a:cubicBezTo>
                        <a:pt x="6324251" y="1260922"/>
                        <a:pt x="6320831" y="1257982"/>
                        <a:pt x="6327940" y="1259586"/>
                      </a:cubicBezTo>
                      <a:cubicBezTo>
                        <a:pt x="6331699" y="1260430"/>
                        <a:pt x="6335904" y="1268323"/>
                        <a:pt x="6337496" y="1268557"/>
                      </a:cubicBezTo>
                      <a:cubicBezTo>
                        <a:pt x="6342205" y="1269248"/>
                        <a:pt x="6346058" y="1259083"/>
                        <a:pt x="6350567" y="1257115"/>
                      </a:cubicBezTo>
                      <a:cubicBezTo>
                        <a:pt x="6357734" y="1253977"/>
                        <a:pt x="6369457" y="1251248"/>
                        <a:pt x="6376964" y="1252349"/>
                      </a:cubicBezTo>
                      <a:cubicBezTo>
                        <a:pt x="6374517" y="1261659"/>
                        <a:pt x="6366799" y="1271134"/>
                        <a:pt x="6373907" y="1280164"/>
                      </a:cubicBezTo>
                      <a:cubicBezTo>
                        <a:pt x="6383207" y="1291957"/>
                        <a:pt x="6398209" y="1298925"/>
                        <a:pt x="6413059" y="1299511"/>
                      </a:cubicBezTo>
                      <a:cubicBezTo>
                        <a:pt x="6411678" y="1298879"/>
                        <a:pt x="6409124" y="1296466"/>
                        <a:pt x="6407356" y="1295459"/>
                      </a:cubicBezTo>
                      <a:cubicBezTo>
                        <a:pt x="6410260" y="1293023"/>
                        <a:pt x="6415718" y="1292508"/>
                        <a:pt x="6417147" y="1288373"/>
                      </a:cubicBezTo>
                      <a:cubicBezTo>
                        <a:pt x="6418095" y="1285586"/>
                        <a:pt x="6416490" y="1280374"/>
                        <a:pt x="6413059" y="1282307"/>
                      </a:cubicBezTo>
                      <a:cubicBezTo>
                        <a:pt x="6413364" y="1281628"/>
                        <a:pt x="6413621" y="1280480"/>
                        <a:pt x="6413902" y="1279883"/>
                      </a:cubicBezTo>
                      <a:cubicBezTo>
                        <a:pt x="6422206" y="1288209"/>
                        <a:pt x="6428038" y="1303563"/>
                        <a:pt x="6434164" y="1313741"/>
                      </a:cubicBezTo>
                      <a:cubicBezTo>
                        <a:pt x="6429795" y="1309560"/>
                        <a:pt x="6425215" y="1311387"/>
                        <a:pt x="6423412" y="1316587"/>
                      </a:cubicBezTo>
                      <a:cubicBezTo>
                        <a:pt x="6425251" y="1316704"/>
                        <a:pt x="6427406" y="1317781"/>
                        <a:pt x="6429139" y="1317769"/>
                      </a:cubicBezTo>
                      <a:cubicBezTo>
                        <a:pt x="6427195" y="1318039"/>
                        <a:pt x="6425497" y="1318437"/>
                        <a:pt x="6423412" y="1318390"/>
                      </a:cubicBezTo>
                      <a:cubicBezTo>
                        <a:pt x="6426809" y="1319877"/>
                        <a:pt x="6440324" y="1323918"/>
                        <a:pt x="6437021" y="1316587"/>
                      </a:cubicBezTo>
                      <a:cubicBezTo>
                        <a:pt x="6440137" y="1325475"/>
                        <a:pt x="6443591" y="1338569"/>
                        <a:pt x="6443076" y="1347938"/>
                      </a:cubicBezTo>
                      <a:cubicBezTo>
                        <a:pt x="6440862" y="1345104"/>
                        <a:pt x="6437490" y="1344038"/>
                        <a:pt x="6434164" y="1343933"/>
                      </a:cubicBezTo>
                      <a:cubicBezTo>
                        <a:pt x="6435686" y="1346849"/>
                        <a:pt x="6439012" y="1348395"/>
                        <a:pt x="6441706" y="1349145"/>
                      </a:cubicBezTo>
                      <a:cubicBezTo>
                        <a:pt x="6435557" y="1354298"/>
                        <a:pt x="6436002" y="1344729"/>
                        <a:pt x="6429865" y="1346802"/>
                      </a:cubicBezTo>
                      <a:cubicBezTo>
                        <a:pt x="6432301" y="1353138"/>
                        <a:pt x="6425719" y="1346252"/>
                        <a:pt x="6421621" y="1347493"/>
                      </a:cubicBezTo>
                      <a:cubicBezTo>
                        <a:pt x="6412848" y="1350175"/>
                        <a:pt x="6420098" y="1355633"/>
                        <a:pt x="6425708" y="1354907"/>
                      </a:cubicBezTo>
                      <a:cubicBezTo>
                        <a:pt x="6430310" y="1354309"/>
                        <a:pt x="6432348" y="1349238"/>
                        <a:pt x="6438989" y="1352717"/>
                      </a:cubicBezTo>
                      <a:cubicBezTo>
                        <a:pt x="6440043" y="1353267"/>
                        <a:pt x="6440359" y="1351908"/>
                        <a:pt x="6441366" y="1355094"/>
                      </a:cubicBezTo>
                      <a:cubicBezTo>
                        <a:pt x="6442935" y="1360071"/>
                        <a:pt x="6437490" y="1361266"/>
                        <a:pt x="6434538" y="1365400"/>
                      </a:cubicBezTo>
                      <a:cubicBezTo>
                        <a:pt x="6437888" y="1368105"/>
                        <a:pt x="6445992" y="1367649"/>
                        <a:pt x="6447011" y="1363034"/>
                      </a:cubicBezTo>
                      <a:cubicBezTo>
                        <a:pt x="6447972" y="1358795"/>
                        <a:pt x="6440429" y="1355574"/>
                        <a:pt x="6444001" y="1350222"/>
                      </a:cubicBezTo>
                      <a:cubicBezTo>
                        <a:pt x="6444716" y="1359298"/>
                        <a:pt x="6450759" y="1365529"/>
                        <a:pt x="6455912" y="1372802"/>
                      </a:cubicBezTo>
                      <a:cubicBezTo>
                        <a:pt x="6454050" y="1371642"/>
                        <a:pt x="6442806" y="1361254"/>
                        <a:pt x="6445734" y="1370413"/>
                      </a:cubicBezTo>
                      <a:cubicBezTo>
                        <a:pt x="6446754" y="1373586"/>
                        <a:pt x="6455806" y="1374699"/>
                        <a:pt x="6458418" y="1376081"/>
                      </a:cubicBezTo>
                      <a:cubicBezTo>
                        <a:pt x="6463653" y="1378868"/>
                        <a:pt x="6473479" y="1380508"/>
                        <a:pt x="6476337" y="1386738"/>
                      </a:cubicBezTo>
                      <a:cubicBezTo>
                        <a:pt x="6481408" y="1397829"/>
                        <a:pt x="6471699" y="1390346"/>
                        <a:pt x="6468619" y="1397033"/>
                      </a:cubicBezTo>
                      <a:cubicBezTo>
                        <a:pt x="6464169" y="1406707"/>
                        <a:pt x="6480857" y="1408452"/>
                        <a:pt x="6484066" y="1412492"/>
                      </a:cubicBezTo>
                      <a:cubicBezTo>
                        <a:pt x="6487076" y="1416287"/>
                        <a:pt x="6487322" y="1422728"/>
                        <a:pt x="6485003" y="1426569"/>
                      </a:cubicBezTo>
                      <a:cubicBezTo>
                        <a:pt x="6484547" y="1427319"/>
                        <a:pt x="6485706" y="1428935"/>
                        <a:pt x="6485191" y="1429427"/>
                      </a:cubicBezTo>
                      <a:cubicBezTo>
                        <a:pt x="6484113" y="1430434"/>
                        <a:pt x="6481045" y="1429111"/>
                        <a:pt x="6480401" y="1429895"/>
                      </a:cubicBezTo>
                      <a:cubicBezTo>
                        <a:pt x="6478737" y="1431863"/>
                        <a:pt x="6477812" y="1436313"/>
                        <a:pt x="6475634" y="1438234"/>
                      </a:cubicBezTo>
                      <a:cubicBezTo>
                        <a:pt x="6472074" y="1441373"/>
                        <a:pt x="6465913" y="1437531"/>
                        <a:pt x="6462962" y="1440682"/>
                      </a:cubicBezTo>
                      <a:cubicBezTo>
                        <a:pt x="6459999" y="1443856"/>
                        <a:pt x="6463876" y="1447580"/>
                        <a:pt x="6463173" y="1451304"/>
                      </a:cubicBezTo>
                      <a:cubicBezTo>
                        <a:pt x="6461322" y="1461154"/>
                        <a:pt x="6454740" y="1452311"/>
                        <a:pt x="6447807" y="1449910"/>
                      </a:cubicBezTo>
                      <a:cubicBezTo>
                        <a:pt x="6420976" y="1440635"/>
                        <a:pt x="6396077" y="1434077"/>
                        <a:pt x="6367303" y="1433257"/>
                      </a:cubicBezTo>
                      <a:cubicBezTo>
                        <a:pt x="6367536" y="1432894"/>
                        <a:pt x="6368802" y="1432870"/>
                        <a:pt x="6369094" y="1432753"/>
                      </a:cubicBezTo>
                      <a:cubicBezTo>
                        <a:pt x="6368380" y="1432507"/>
                        <a:pt x="6365721" y="1431031"/>
                        <a:pt x="6365171" y="1430540"/>
                      </a:cubicBezTo>
                      <a:cubicBezTo>
                        <a:pt x="6369012" y="1426136"/>
                        <a:pt x="6366049" y="1416123"/>
                        <a:pt x="6373720" y="1417938"/>
                      </a:cubicBezTo>
                      <a:cubicBezTo>
                        <a:pt x="6374130" y="1417048"/>
                        <a:pt x="6374786" y="1415361"/>
                        <a:pt x="6375184" y="1414307"/>
                      </a:cubicBezTo>
                      <a:cubicBezTo>
                        <a:pt x="6370183" y="1412633"/>
                        <a:pt x="6363719" y="1417341"/>
                        <a:pt x="6365171" y="1422658"/>
                      </a:cubicBezTo>
                      <a:cubicBezTo>
                        <a:pt x="6356492" y="1425246"/>
                        <a:pt x="6360814" y="1414624"/>
                        <a:pt x="6352956" y="1412129"/>
                      </a:cubicBezTo>
                      <a:cubicBezTo>
                        <a:pt x="6348072" y="1410583"/>
                        <a:pt x="6352183" y="1411052"/>
                        <a:pt x="6351597" y="1416322"/>
                      </a:cubicBezTo>
                      <a:cubicBezTo>
                        <a:pt x="6351527" y="1416931"/>
                        <a:pt x="6353647" y="1417189"/>
                        <a:pt x="6353506" y="1418067"/>
                      </a:cubicBezTo>
                      <a:cubicBezTo>
                        <a:pt x="6353190" y="1419988"/>
                        <a:pt x="6350075" y="1420550"/>
                        <a:pt x="6349852" y="1421978"/>
                      </a:cubicBezTo>
                      <a:cubicBezTo>
                        <a:pt x="6349208" y="1426230"/>
                        <a:pt x="6347100" y="1423618"/>
                        <a:pt x="6349793" y="1428654"/>
                      </a:cubicBezTo>
                      <a:cubicBezTo>
                        <a:pt x="6353495" y="1435564"/>
                        <a:pt x="6358718" y="1430996"/>
                        <a:pt x="6365159" y="1432741"/>
                      </a:cubicBezTo>
                      <a:cubicBezTo>
                        <a:pt x="6360919" y="1436911"/>
                        <a:pt x="6341537" y="1439569"/>
                        <a:pt x="6335037" y="1439874"/>
                      </a:cubicBezTo>
                      <a:cubicBezTo>
                        <a:pt x="6335634" y="1438949"/>
                        <a:pt x="6335786" y="1437695"/>
                        <a:pt x="6336899" y="1436583"/>
                      </a:cubicBezTo>
                      <a:cubicBezTo>
                        <a:pt x="6333093" y="1436993"/>
                        <a:pt x="6331196" y="1439253"/>
                        <a:pt x="6330305" y="1442052"/>
                      </a:cubicBezTo>
                      <a:cubicBezTo>
                        <a:pt x="6331254" y="1442122"/>
                        <a:pt x="6331699" y="1441712"/>
                        <a:pt x="6332625" y="1441666"/>
                      </a:cubicBezTo>
                      <a:cubicBezTo>
                        <a:pt x="6323583" y="1448962"/>
                        <a:pt x="6311626" y="1455368"/>
                        <a:pt x="6300114" y="1458846"/>
                      </a:cubicBezTo>
                      <a:cubicBezTo>
                        <a:pt x="6286458" y="1462969"/>
                        <a:pt x="6275601" y="1468415"/>
                        <a:pt x="6262952" y="1474294"/>
                      </a:cubicBezTo>
                      <a:cubicBezTo>
                        <a:pt x="6264850" y="1473146"/>
                        <a:pt x="6266056" y="1471799"/>
                        <a:pt x="6267590" y="1470441"/>
                      </a:cubicBezTo>
                      <a:cubicBezTo>
                        <a:pt x="6263936" y="1472584"/>
                        <a:pt x="6261278" y="1470734"/>
                        <a:pt x="6260435" y="1466728"/>
                      </a:cubicBezTo>
                      <a:cubicBezTo>
                        <a:pt x="6259486" y="1484577"/>
                        <a:pt x="6245339" y="1476367"/>
                        <a:pt x="6234728" y="1487024"/>
                      </a:cubicBezTo>
                      <a:cubicBezTo>
                        <a:pt x="6235454" y="1486134"/>
                        <a:pt x="6235805" y="1485560"/>
                        <a:pt x="6236812" y="1484823"/>
                      </a:cubicBezTo>
                      <a:cubicBezTo>
                        <a:pt x="6233534" y="1483558"/>
                        <a:pt x="6229458" y="1483487"/>
                        <a:pt x="6226120" y="1481520"/>
                      </a:cubicBezTo>
                      <a:cubicBezTo>
                        <a:pt x="6229165" y="1486263"/>
                        <a:pt x="6234048" y="1486579"/>
                        <a:pt x="6230430" y="1491615"/>
                      </a:cubicBezTo>
                      <a:cubicBezTo>
                        <a:pt x="6227771" y="1495304"/>
                        <a:pt x="6217653" y="1495621"/>
                        <a:pt x="6213600" y="1494695"/>
                      </a:cubicBezTo>
                      <a:cubicBezTo>
                        <a:pt x="6214549" y="1491662"/>
                        <a:pt x="6206901" y="1495094"/>
                        <a:pt x="6202907" y="1496347"/>
                      </a:cubicBezTo>
                      <a:cubicBezTo>
                        <a:pt x="6203364" y="1495890"/>
                        <a:pt x="6204301" y="1495281"/>
                        <a:pt x="6204910" y="1495047"/>
                      </a:cubicBezTo>
                      <a:cubicBezTo>
                        <a:pt x="6202451" y="1492716"/>
                        <a:pt x="6199968" y="1491568"/>
                        <a:pt x="6199312" y="1494157"/>
                      </a:cubicBezTo>
                      <a:cubicBezTo>
                        <a:pt x="6193421" y="1494321"/>
                        <a:pt x="6196022" y="1498548"/>
                        <a:pt x="6200390" y="1497986"/>
                      </a:cubicBezTo>
                      <a:cubicBezTo>
                        <a:pt x="6195365" y="1498970"/>
                        <a:pt x="6189111" y="1505470"/>
                        <a:pt x="6184637" y="1508421"/>
                      </a:cubicBezTo>
                      <a:cubicBezTo>
                        <a:pt x="6185399" y="1504076"/>
                        <a:pt x="6179719" y="1501863"/>
                        <a:pt x="6175854" y="1501418"/>
                      </a:cubicBezTo>
                      <a:cubicBezTo>
                        <a:pt x="6170924" y="1500844"/>
                        <a:pt x="6172388" y="1499427"/>
                        <a:pt x="6169471" y="1504240"/>
                      </a:cubicBezTo>
                      <a:cubicBezTo>
                        <a:pt x="6168159" y="1506419"/>
                        <a:pt x="6168733" y="1510014"/>
                        <a:pt x="6168112" y="1511455"/>
                      </a:cubicBezTo>
                      <a:cubicBezTo>
                        <a:pt x="6167844" y="1512087"/>
                        <a:pt x="6169214" y="1514043"/>
                        <a:pt x="6168593" y="1514710"/>
                      </a:cubicBezTo>
                      <a:cubicBezTo>
                        <a:pt x="6166660" y="1516830"/>
                        <a:pt x="6164997" y="1514464"/>
                        <a:pt x="6163322" y="1515683"/>
                      </a:cubicBezTo>
                      <a:cubicBezTo>
                        <a:pt x="6158299" y="1519325"/>
                        <a:pt x="6154714" y="1529397"/>
                        <a:pt x="6145931" y="1528507"/>
                      </a:cubicBezTo>
                      <a:cubicBezTo>
                        <a:pt x="6136901" y="1527581"/>
                        <a:pt x="6139092" y="1517603"/>
                        <a:pt x="6127825" y="1525930"/>
                      </a:cubicBezTo>
                      <a:cubicBezTo>
                        <a:pt x="6132287" y="1529525"/>
                        <a:pt x="6138986" y="1529490"/>
                        <a:pt x="6140310" y="1535229"/>
                      </a:cubicBezTo>
                      <a:cubicBezTo>
                        <a:pt x="6136269" y="1541014"/>
                        <a:pt x="6130495" y="1534479"/>
                        <a:pt x="6125331" y="1533601"/>
                      </a:cubicBezTo>
                      <a:cubicBezTo>
                        <a:pt x="6134137" y="1536424"/>
                        <a:pt x="6129218" y="1538953"/>
                        <a:pt x="6125927" y="1541635"/>
                      </a:cubicBezTo>
                      <a:cubicBezTo>
                        <a:pt x="6122824" y="1544165"/>
                        <a:pt x="6125752" y="1544586"/>
                        <a:pt x="6120423" y="1545301"/>
                      </a:cubicBezTo>
                      <a:cubicBezTo>
                        <a:pt x="6115809" y="1545910"/>
                        <a:pt x="6112787" y="1540405"/>
                        <a:pt x="6108138" y="1543415"/>
                      </a:cubicBezTo>
                      <a:cubicBezTo>
                        <a:pt x="6109976" y="1545055"/>
                        <a:pt x="6111382" y="1547643"/>
                        <a:pt x="6113162" y="1548838"/>
                      </a:cubicBezTo>
                      <a:cubicBezTo>
                        <a:pt x="6109660" y="1550559"/>
                        <a:pt x="6106311" y="1551203"/>
                        <a:pt x="6103161" y="1548838"/>
                      </a:cubicBezTo>
                      <a:cubicBezTo>
                        <a:pt x="6104953" y="1553066"/>
                        <a:pt x="6113021" y="1553710"/>
                        <a:pt x="6116055" y="1553722"/>
                      </a:cubicBezTo>
                      <a:cubicBezTo>
                        <a:pt x="6109730" y="1564719"/>
                        <a:pt x="6099448" y="1555221"/>
                        <a:pt x="6090992" y="1552140"/>
                      </a:cubicBezTo>
                      <a:cubicBezTo>
                        <a:pt x="6093522" y="1554354"/>
                        <a:pt x="6100455" y="1557071"/>
                        <a:pt x="6100725" y="1560947"/>
                      </a:cubicBezTo>
                      <a:cubicBezTo>
                        <a:pt x="6101053" y="1565866"/>
                        <a:pt x="6098406" y="1562845"/>
                        <a:pt x="6096274" y="1565363"/>
                      </a:cubicBezTo>
                      <a:cubicBezTo>
                        <a:pt x="6087877" y="1575318"/>
                        <a:pt x="6094634" y="1566838"/>
                        <a:pt x="6088299" y="1563864"/>
                      </a:cubicBezTo>
                      <a:cubicBezTo>
                        <a:pt x="6086636" y="1568888"/>
                        <a:pt x="6090301" y="1571265"/>
                        <a:pt x="6084258" y="1573151"/>
                      </a:cubicBezTo>
                      <a:cubicBezTo>
                        <a:pt x="6081670" y="1573959"/>
                        <a:pt x="6079983" y="1571816"/>
                        <a:pt x="6078016" y="1572109"/>
                      </a:cubicBezTo>
                      <a:cubicBezTo>
                        <a:pt x="6076177" y="1572366"/>
                        <a:pt x="6074807" y="1574240"/>
                        <a:pt x="6072933" y="1574638"/>
                      </a:cubicBezTo>
                      <a:cubicBezTo>
                        <a:pt x="6070450" y="1575177"/>
                        <a:pt x="6068752" y="1575739"/>
                        <a:pt x="6066340" y="1575411"/>
                      </a:cubicBezTo>
                      <a:cubicBezTo>
                        <a:pt x="6078016" y="1579581"/>
                        <a:pt x="6063306" y="1580986"/>
                        <a:pt x="6059898" y="1584617"/>
                      </a:cubicBezTo>
                      <a:cubicBezTo>
                        <a:pt x="6063939" y="1582052"/>
                        <a:pt x="6062393" y="1578398"/>
                        <a:pt x="6059008" y="1577297"/>
                      </a:cubicBezTo>
                      <a:cubicBezTo>
                        <a:pt x="6062275" y="1585741"/>
                        <a:pt x="6053785" y="1592440"/>
                        <a:pt x="6046700" y="1595110"/>
                      </a:cubicBezTo>
                      <a:cubicBezTo>
                        <a:pt x="6041897" y="1596925"/>
                        <a:pt x="6034988" y="1597370"/>
                        <a:pt x="6029671" y="1598506"/>
                      </a:cubicBezTo>
                      <a:cubicBezTo>
                        <a:pt x="6026567" y="1599162"/>
                        <a:pt x="6021472" y="1597933"/>
                        <a:pt x="6028452" y="1599701"/>
                      </a:cubicBezTo>
                      <a:cubicBezTo>
                        <a:pt x="6026790" y="1608590"/>
                        <a:pt x="6018802" y="1603484"/>
                        <a:pt x="6013075" y="1603449"/>
                      </a:cubicBezTo>
                      <a:cubicBezTo>
                        <a:pt x="6013263" y="1603870"/>
                        <a:pt x="6013438" y="1604280"/>
                        <a:pt x="6013626" y="1604690"/>
                      </a:cubicBezTo>
                      <a:cubicBezTo>
                        <a:pt x="6016940" y="1604772"/>
                        <a:pt x="6018755" y="1606482"/>
                        <a:pt x="6017409" y="1609246"/>
                      </a:cubicBezTo>
                      <a:cubicBezTo>
                        <a:pt x="6021835" y="1610675"/>
                        <a:pt x="6020688" y="1611869"/>
                        <a:pt x="6018908" y="1614715"/>
                      </a:cubicBezTo>
                      <a:cubicBezTo>
                        <a:pt x="6017959" y="1616238"/>
                        <a:pt x="6013930" y="1615640"/>
                        <a:pt x="6012396" y="1617421"/>
                      </a:cubicBezTo>
                      <a:cubicBezTo>
                        <a:pt x="6010674" y="1619423"/>
                        <a:pt x="6010522" y="1622655"/>
                        <a:pt x="6009972" y="1625080"/>
                      </a:cubicBezTo>
                      <a:cubicBezTo>
                        <a:pt x="6008403" y="1632083"/>
                        <a:pt x="6009819" y="1646301"/>
                        <a:pt x="5998389" y="1644837"/>
                      </a:cubicBezTo>
                      <a:cubicBezTo>
                        <a:pt x="5996761" y="1644626"/>
                        <a:pt x="5992545" y="1640937"/>
                        <a:pt x="5991550" y="1639989"/>
                      </a:cubicBezTo>
                      <a:cubicBezTo>
                        <a:pt x="5990402" y="1638923"/>
                        <a:pt x="5993201" y="1638080"/>
                        <a:pt x="5991514" y="1636862"/>
                      </a:cubicBezTo>
                      <a:cubicBezTo>
                        <a:pt x="5990390" y="1636054"/>
                        <a:pt x="5987615" y="1635351"/>
                        <a:pt x="5986888" y="1634683"/>
                      </a:cubicBezTo>
                      <a:cubicBezTo>
                        <a:pt x="5983715" y="1631779"/>
                        <a:pt x="5970609" y="1619318"/>
                        <a:pt x="5984839" y="1620559"/>
                      </a:cubicBezTo>
                      <a:cubicBezTo>
                        <a:pt x="5981548" y="1618779"/>
                        <a:pt x="5978562" y="1620477"/>
                        <a:pt x="5975575" y="1618650"/>
                      </a:cubicBezTo>
                      <a:cubicBezTo>
                        <a:pt x="5971781" y="1616355"/>
                        <a:pt x="5972788" y="1612572"/>
                        <a:pt x="5970914" y="1609386"/>
                      </a:cubicBezTo>
                      <a:cubicBezTo>
                        <a:pt x="5965843" y="1600802"/>
                        <a:pt x="5954131" y="1601305"/>
                        <a:pt x="5946929" y="1594255"/>
                      </a:cubicBezTo>
                      <a:cubicBezTo>
                        <a:pt x="5949283" y="1594852"/>
                        <a:pt x="5951274" y="1594161"/>
                        <a:pt x="5953382" y="1594255"/>
                      </a:cubicBezTo>
                      <a:cubicBezTo>
                        <a:pt x="5951625" y="1591292"/>
                        <a:pt x="5948369" y="1589617"/>
                        <a:pt x="5945195" y="1589418"/>
                      </a:cubicBezTo>
                      <a:cubicBezTo>
                        <a:pt x="5944399" y="1592709"/>
                        <a:pt x="5944012" y="1593178"/>
                        <a:pt x="5940932" y="1592686"/>
                      </a:cubicBezTo>
                      <a:cubicBezTo>
                        <a:pt x="5941717" y="1593482"/>
                        <a:pt x="5941635" y="1593658"/>
                        <a:pt x="5942701" y="1594255"/>
                      </a:cubicBezTo>
                      <a:cubicBezTo>
                        <a:pt x="5935182" y="1593845"/>
                        <a:pt x="5926387" y="1595321"/>
                        <a:pt x="5919325" y="1594747"/>
                      </a:cubicBezTo>
                      <a:cubicBezTo>
                        <a:pt x="5914734" y="1594372"/>
                        <a:pt x="5911525" y="1592779"/>
                        <a:pt x="5906559" y="1591807"/>
                      </a:cubicBezTo>
                      <a:cubicBezTo>
                        <a:pt x="5896136" y="1589769"/>
                        <a:pt x="5874305" y="1603004"/>
                        <a:pt x="5868789" y="1595848"/>
                      </a:cubicBezTo>
                      <a:cubicBezTo>
                        <a:pt x="5872104" y="1601950"/>
                        <a:pt x="5859350" y="1605779"/>
                        <a:pt x="5854712" y="1602055"/>
                      </a:cubicBezTo>
                      <a:cubicBezTo>
                        <a:pt x="5853717" y="1607700"/>
                        <a:pt x="5850332" y="1604725"/>
                        <a:pt x="5847205" y="1601809"/>
                      </a:cubicBezTo>
                      <a:cubicBezTo>
                        <a:pt x="5850543" y="1606025"/>
                        <a:pt x="5849032" y="1608695"/>
                        <a:pt x="5844348" y="1606107"/>
                      </a:cubicBezTo>
                      <a:cubicBezTo>
                        <a:pt x="5849922" y="1615945"/>
                        <a:pt x="5831031" y="1605252"/>
                        <a:pt x="5830961" y="1605229"/>
                      </a:cubicBezTo>
                      <a:cubicBezTo>
                        <a:pt x="5833093" y="1612104"/>
                        <a:pt x="5831851" y="1614317"/>
                        <a:pt x="5824344" y="1615242"/>
                      </a:cubicBezTo>
                      <a:cubicBezTo>
                        <a:pt x="5828385" y="1618404"/>
                        <a:pt x="5811977" y="1631720"/>
                        <a:pt x="5808299" y="1635433"/>
                      </a:cubicBezTo>
                      <a:cubicBezTo>
                        <a:pt x="5804645" y="1639134"/>
                        <a:pt x="5787839" y="1659828"/>
                        <a:pt x="5782862" y="1650260"/>
                      </a:cubicBezTo>
                      <a:cubicBezTo>
                        <a:pt x="5781105" y="1646863"/>
                        <a:pt x="5786340" y="1630385"/>
                        <a:pt x="5787968" y="1627328"/>
                      </a:cubicBezTo>
                      <a:cubicBezTo>
                        <a:pt x="5791376" y="1620899"/>
                        <a:pt x="5791552" y="1624822"/>
                        <a:pt x="5791060" y="1616776"/>
                      </a:cubicBezTo>
                      <a:cubicBezTo>
                        <a:pt x="5790838" y="1613228"/>
                        <a:pt x="5792653" y="1610932"/>
                        <a:pt x="5789643" y="1607712"/>
                      </a:cubicBezTo>
                      <a:cubicBezTo>
                        <a:pt x="5793461" y="1609515"/>
                        <a:pt x="5796529" y="1606283"/>
                        <a:pt x="5795756" y="1602887"/>
                      </a:cubicBezTo>
                      <a:cubicBezTo>
                        <a:pt x="5796682" y="1601704"/>
                        <a:pt x="5797255" y="1601317"/>
                        <a:pt x="5797900" y="1600158"/>
                      </a:cubicBezTo>
                      <a:cubicBezTo>
                        <a:pt x="5790732" y="1603659"/>
                        <a:pt x="5781504" y="1601528"/>
                        <a:pt x="5773563" y="1608777"/>
                      </a:cubicBezTo>
                      <a:cubicBezTo>
                        <a:pt x="5775835" y="1610288"/>
                        <a:pt x="5783717" y="1603507"/>
                        <a:pt x="5788577" y="1602887"/>
                      </a:cubicBezTo>
                      <a:cubicBezTo>
                        <a:pt x="5782475" y="1605135"/>
                        <a:pt x="5751007" y="1627293"/>
                        <a:pt x="5748571" y="1618463"/>
                      </a:cubicBezTo>
                      <a:cubicBezTo>
                        <a:pt x="5748688" y="1628675"/>
                        <a:pt x="5728755" y="1633571"/>
                        <a:pt x="5735348" y="1625396"/>
                      </a:cubicBezTo>
                      <a:cubicBezTo>
                        <a:pt x="5732291" y="1627516"/>
                        <a:pt x="5729610" y="1631826"/>
                        <a:pt x="5725323" y="1628113"/>
                      </a:cubicBezTo>
                      <a:cubicBezTo>
                        <a:pt x="5725347" y="1634918"/>
                        <a:pt x="5728520" y="1630760"/>
                        <a:pt x="5729305" y="1631486"/>
                      </a:cubicBezTo>
                      <a:cubicBezTo>
                        <a:pt x="5731355" y="1633407"/>
                        <a:pt x="5733474" y="1637342"/>
                        <a:pt x="5736414" y="1639356"/>
                      </a:cubicBezTo>
                      <a:cubicBezTo>
                        <a:pt x="5730324" y="1642530"/>
                        <a:pt x="5727876" y="1649381"/>
                        <a:pt x="5720967" y="1652169"/>
                      </a:cubicBezTo>
                      <a:cubicBezTo>
                        <a:pt x="5714279" y="1654862"/>
                        <a:pt x="5717289" y="1655623"/>
                        <a:pt x="5713893" y="1650447"/>
                      </a:cubicBezTo>
                      <a:cubicBezTo>
                        <a:pt x="5712183" y="1647835"/>
                        <a:pt x="5697590" y="1618978"/>
                        <a:pt x="5692847" y="1632809"/>
                      </a:cubicBezTo>
                      <a:cubicBezTo>
                        <a:pt x="5691828" y="1632329"/>
                        <a:pt x="5690786" y="1632142"/>
                        <a:pt x="5689919" y="1631779"/>
                      </a:cubicBezTo>
                      <a:cubicBezTo>
                        <a:pt x="5695107" y="1641488"/>
                        <a:pt x="5686851" y="1636756"/>
                        <a:pt x="5681780" y="1641546"/>
                      </a:cubicBezTo>
                      <a:cubicBezTo>
                        <a:pt x="5678454" y="1644685"/>
                        <a:pt x="5677599" y="1647742"/>
                        <a:pt x="5683138" y="1650049"/>
                      </a:cubicBezTo>
                      <a:cubicBezTo>
                        <a:pt x="5670584" y="1649768"/>
                        <a:pt x="5678137" y="1643069"/>
                        <a:pt x="5683888" y="1638888"/>
                      </a:cubicBezTo>
                      <a:cubicBezTo>
                        <a:pt x="5677318" y="1641652"/>
                        <a:pt x="5673898" y="1633372"/>
                        <a:pt x="5665641" y="1636709"/>
                      </a:cubicBezTo>
                      <a:cubicBezTo>
                        <a:pt x="5666836" y="1633055"/>
                        <a:pt x="5654527" y="1633676"/>
                        <a:pt x="5653684" y="1635890"/>
                      </a:cubicBezTo>
                      <a:cubicBezTo>
                        <a:pt x="5651318" y="1642143"/>
                        <a:pt x="5661343" y="1639813"/>
                        <a:pt x="5662432" y="1639368"/>
                      </a:cubicBezTo>
                      <a:cubicBezTo>
                        <a:pt x="5657935" y="1643338"/>
                        <a:pt x="5658193" y="1644533"/>
                        <a:pt x="5653309" y="1646383"/>
                      </a:cubicBezTo>
                      <a:cubicBezTo>
                        <a:pt x="5651833" y="1646945"/>
                        <a:pt x="5649163" y="1646079"/>
                        <a:pt x="5647325" y="1646652"/>
                      </a:cubicBezTo>
                      <a:cubicBezTo>
                        <a:pt x="5644982" y="1647390"/>
                        <a:pt x="5642640" y="1651068"/>
                        <a:pt x="5639911" y="1652122"/>
                      </a:cubicBezTo>
                      <a:cubicBezTo>
                        <a:pt x="5640555" y="1653925"/>
                        <a:pt x="5642042" y="1664302"/>
                        <a:pt x="5641469" y="1666117"/>
                      </a:cubicBezTo>
                      <a:cubicBezTo>
                        <a:pt x="5639419" y="1672558"/>
                        <a:pt x="5634055" y="1669010"/>
                        <a:pt x="5630425" y="1673003"/>
                      </a:cubicBezTo>
                      <a:cubicBezTo>
                        <a:pt x="5630401" y="1673565"/>
                        <a:pt x="5631959" y="1672839"/>
                        <a:pt x="5632006" y="1672863"/>
                      </a:cubicBezTo>
                      <a:cubicBezTo>
                        <a:pt x="5626396" y="1678238"/>
                        <a:pt x="5636269" y="1680147"/>
                        <a:pt x="5637979" y="1685113"/>
                      </a:cubicBezTo>
                      <a:cubicBezTo>
                        <a:pt x="5639384" y="1689177"/>
                        <a:pt x="5637897" y="1697563"/>
                        <a:pt x="5632907" y="1697410"/>
                      </a:cubicBezTo>
                      <a:cubicBezTo>
                        <a:pt x="5634126" y="1696262"/>
                        <a:pt x="5635109" y="1693990"/>
                        <a:pt x="5635953" y="1693018"/>
                      </a:cubicBezTo>
                      <a:cubicBezTo>
                        <a:pt x="5632240" y="1693651"/>
                        <a:pt x="5621430" y="1692679"/>
                        <a:pt x="5624967" y="1700736"/>
                      </a:cubicBezTo>
                      <a:cubicBezTo>
                        <a:pt x="5625401" y="1701708"/>
                        <a:pt x="5643940" y="1713186"/>
                        <a:pt x="5628797" y="1713080"/>
                      </a:cubicBezTo>
                      <a:cubicBezTo>
                        <a:pt x="5632743" y="1707283"/>
                        <a:pt x="5619287" y="1700760"/>
                        <a:pt x="5616488" y="1705690"/>
                      </a:cubicBezTo>
                      <a:cubicBezTo>
                        <a:pt x="5611159" y="1715130"/>
                        <a:pt x="5637276" y="1713174"/>
                        <a:pt x="5614673" y="1723222"/>
                      </a:cubicBezTo>
                      <a:cubicBezTo>
                        <a:pt x="5619498" y="1716828"/>
                        <a:pt x="5615809" y="1719428"/>
                        <a:pt x="5613900" y="1719873"/>
                      </a:cubicBezTo>
                      <a:cubicBezTo>
                        <a:pt x="5614989" y="1719615"/>
                        <a:pt x="5610234" y="1724757"/>
                        <a:pt x="5610374" y="1724616"/>
                      </a:cubicBezTo>
                      <a:cubicBezTo>
                        <a:pt x="5610047" y="1724897"/>
                        <a:pt x="5605339" y="1725260"/>
                        <a:pt x="5604156" y="1725705"/>
                      </a:cubicBezTo>
                      <a:cubicBezTo>
                        <a:pt x="5605725" y="1728247"/>
                        <a:pt x="5607740" y="1727532"/>
                        <a:pt x="5609859" y="1725705"/>
                      </a:cubicBezTo>
                      <a:cubicBezTo>
                        <a:pt x="5610808" y="1731467"/>
                        <a:pt x="5594096" y="1737592"/>
                        <a:pt x="5589716" y="1742968"/>
                      </a:cubicBezTo>
                      <a:cubicBezTo>
                        <a:pt x="5582372" y="1751998"/>
                        <a:pt x="5576446" y="1763440"/>
                        <a:pt x="5572324" y="1774249"/>
                      </a:cubicBezTo>
                      <a:cubicBezTo>
                        <a:pt x="5568693" y="1783759"/>
                        <a:pt x="5566128" y="1794991"/>
                        <a:pt x="5574795" y="1802463"/>
                      </a:cubicBezTo>
                      <a:cubicBezTo>
                        <a:pt x="5578941" y="1806035"/>
                        <a:pt x="5587127" y="1805613"/>
                        <a:pt x="5590383" y="1808518"/>
                      </a:cubicBezTo>
                      <a:cubicBezTo>
                        <a:pt x="5593896" y="1811644"/>
                        <a:pt x="5591543" y="1811363"/>
                        <a:pt x="5586893" y="1815533"/>
                      </a:cubicBezTo>
                      <a:cubicBezTo>
                        <a:pt x="5599705" y="1814022"/>
                        <a:pt x="5591800" y="1806128"/>
                        <a:pt x="5595478" y="1799289"/>
                      </a:cubicBezTo>
                      <a:cubicBezTo>
                        <a:pt x="5598148" y="1794346"/>
                        <a:pt x="5603254" y="1794932"/>
                        <a:pt x="5607330" y="1795939"/>
                      </a:cubicBezTo>
                      <a:cubicBezTo>
                        <a:pt x="5612143" y="1797134"/>
                        <a:pt x="5616277" y="1802322"/>
                        <a:pt x="5621231" y="1804524"/>
                      </a:cubicBezTo>
                      <a:cubicBezTo>
                        <a:pt x="5629464" y="1808178"/>
                        <a:pt x="5633634" y="1805121"/>
                        <a:pt x="5638213" y="1814233"/>
                      </a:cubicBezTo>
                      <a:cubicBezTo>
                        <a:pt x="5631666" y="1816013"/>
                        <a:pt x="5635449" y="1819468"/>
                        <a:pt x="5633364" y="1823075"/>
                      </a:cubicBezTo>
                      <a:cubicBezTo>
                        <a:pt x="5632638" y="1824316"/>
                        <a:pt x="5628153" y="1828790"/>
                        <a:pt x="5627099" y="1829727"/>
                      </a:cubicBezTo>
                      <a:cubicBezTo>
                        <a:pt x="5617238" y="1838476"/>
                        <a:pt x="5607927" y="1837363"/>
                        <a:pt x="5610374" y="1853642"/>
                      </a:cubicBezTo>
                      <a:cubicBezTo>
                        <a:pt x="5611382" y="1860376"/>
                        <a:pt x="5612846" y="1862894"/>
                        <a:pt x="5611675" y="1869640"/>
                      </a:cubicBezTo>
                      <a:cubicBezTo>
                        <a:pt x="5610983" y="1873598"/>
                        <a:pt x="5607974" y="1879642"/>
                        <a:pt x="5609824" y="1883905"/>
                      </a:cubicBezTo>
                      <a:cubicBezTo>
                        <a:pt x="5611417" y="1887570"/>
                        <a:pt x="5614966" y="1889339"/>
                        <a:pt x="5619310" y="1889409"/>
                      </a:cubicBezTo>
                      <a:cubicBezTo>
                        <a:pt x="5620727" y="1889421"/>
                        <a:pt x="5623175" y="1886844"/>
                        <a:pt x="5624616" y="1886610"/>
                      </a:cubicBezTo>
                      <a:cubicBezTo>
                        <a:pt x="5627344" y="1886165"/>
                        <a:pt x="5629710" y="1887945"/>
                        <a:pt x="5632907" y="1886528"/>
                      </a:cubicBezTo>
                      <a:cubicBezTo>
                        <a:pt x="5636304" y="1890920"/>
                        <a:pt x="5633540" y="1898907"/>
                        <a:pt x="5634875" y="1905348"/>
                      </a:cubicBezTo>
                      <a:cubicBezTo>
                        <a:pt x="5635589" y="1908756"/>
                        <a:pt x="5637252" y="1910771"/>
                        <a:pt x="5638810" y="1915936"/>
                      </a:cubicBezTo>
                      <a:cubicBezTo>
                        <a:pt x="5640028" y="1919953"/>
                        <a:pt x="5638189" y="1923888"/>
                        <a:pt x="5640122" y="1928092"/>
                      </a:cubicBezTo>
                      <a:cubicBezTo>
                        <a:pt x="5632556" y="1932144"/>
                        <a:pt x="5626759" y="1931969"/>
                        <a:pt x="5623702" y="1940986"/>
                      </a:cubicBezTo>
                      <a:cubicBezTo>
                        <a:pt x="5610867" y="1941092"/>
                        <a:pt x="5607810" y="1923888"/>
                        <a:pt x="5597913" y="1924567"/>
                      </a:cubicBezTo>
                      <a:cubicBezTo>
                        <a:pt x="5605374" y="1923384"/>
                        <a:pt x="5605620" y="1918243"/>
                        <a:pt x="5610339" y="1915174"/>
                      </a:cubicBezTo>
                      <a:cubicBezTo>
                        <a:pt x="5614251" y="1912633"/>
                        <a:pt x="5620177" y="1912762"/>
                        <a:pt x="5623339" y="1908663"/>
                      </a:cubicBezTo>
                      <a:cubicBezTo>
                        <a:pt x="5625342" y="1906063"/>
                        <a:pt x="5629523" y="1902362"/>
                        <a:pt x="5622683" y="1902327"/>
                      </a:cubicBezTo>
                      <a:cubicBezTo>
                        <a:pt x="5617507" y="1902303"/>
                        <a:pt x="5620552" y="1908604"/>
                        <a:pt x="5616312" y="1909974"/>
                      </a:cubicBezTo>
                      <a:cubicBezTo>
                        <a:pt x="5614298" y="1910619"/>
                        <a:pt x="5609578" y="1905922"/>
                        <a:pt x="5607470" y="1905969"/>
                      </a:cubicBezTo>
                      <a:cubicBezTo>
                        <a:pt x="5605479" y="1906016"/>
                        <a:pt x="5603828" y="1907140"/>
                        <a:pt x="5602528" y="1907257"/>
                      </a:cubicBezTo>
                      <a:cubicBezTo>
                        <a:pt x="5598159" y="1907679"/>
                        <a:pt x="5593498" y="1910525"/>
                        <a:pt x="5589797" y="1914132"/>
                      </a:cubicBezTo>
                      <a:cubicBezTo>
                        <a:pt x="5593908" y="1916346"/>
                        <a:pt x="5596942" y="1917985"/>
                        <a:pt x="5599787" y="1921616"/>
                      </a:cubicBezTo>
                      <a:cubicBezTo>
                        <a:pt x="5595173" y="1923138"/>
                        <a:pt x="5567194" y="1934943"/>
                        <a:pt x="5572886" y="1939733"/>
                      </a:cubicBezTo>
                      <a:cubicBezTo>
                        <a:pt x="5567241" y="1943821"/>
                        <a:pt x="5563095" y="1958214"/>
                        <a:pt x="5559722" y="1964995"/>
                      </a:cubicBezTo>
                      <a:cubicBezTo>
                        <a:pt x="5555448" y="1973627"/>
                        <a:pt x="5555448" y="1982761"/>
                        <a:pt x="5557064" y="1992014"/>
                      </a:cubicBezTo>
                      <a:cubicBezTo>
                        <a:pt x="5559125" y="2003690"/>
                        <a:pt x="5565063" y="2011209"/>
                        <a:pt x="5571446" y="2019864"/>
                      </a:cubicBezTo>
                      <a:cubicBezTo>
                        <a:pt x="5575064" y="2024759"/>
                        <a:pt x="5578039" y="2027078"/>
                        <a:pt x="5574209" y="2033191"/>
                      </a:cubicBezTo>
                      <a:cubicBezTo>
                        <a:pt x="5572066" y="2036611"/>
                        <a:pt x="5564395" y="2040289"/>
                        <a:pt x="5561057" y="2043252"/>
                      </a:cubicBezTo>
                      <a:cubicBezTo>
                        <a:pt x="5552719" y="2050618"/>
                        <a:pt x="5552039" y="2048229"/>
                        <a:pt x="5540515" y="2049599"/>
                      </a:cubicBezTo>
                      <a:cubicBezTo>
                        <a:pt x="5528066" y="2051075"/>
                        <a:pt x="5531322" y="2044985"/>
                        <a:pt x="5521297" y="2043544"/>
                      </a:cubicBezTo>
                      <a:cubicBezTo>
                        <a:pt x="5510311" y="2041952"/>
                        <a:pt x="5497792" y="2051145"/>
                        <a:pt x="5489886" y="2057259"/>
                      </a:cubicBezTo>
                      <a:cubicBezTo>
                        <a:pt x="5485518" y="2060631"/>
                        <a:pt x="5481407" y="2065621"/>
                        <a:pt x="5476863" y="2068630"/>
                      </a:cubicBezTo>
                      <a:cubicBezTo>
                        <a:pt x="5471933" y="2071898"/>
                        <a:pt x="5468220" y="2072050"/>
                        <a:pt x="5464402" y="2077660"/>
                      </a:cubicBezTo>
                      <a:cubicBezTo>
                        <a:pt x="5461228" y="2082298"/>
                        <a:pt x="5459167" y="2088833"/>
                        <a:pt x="5457879" y="2094337"/>
                      </a:cubicBezTo>
                      <a:cubicBezTo>
                        <a:pt x="5456672" y="2099420"/>
                        <a:pt x="5458534" y="2107829"/>
                        <a:pt x="5455056" y="2110722"/>
                      </a:cubicBezTo>
                      <a:cubicBezTo>
                        <a:pt x="5457328" y="2112268"/>
                        <a:pt x="5458359" y="2113509"/>
                        <a:pt x="5460092" y="2115617"/>
                      </a:cubicBezTo>
                      <a:cubicBezTo>
                        <a:pt x="5459354" y="2114013"/>
                        <a:pt x="5459038" y="2112080"/>
                        <a:pt x="5457914" y="2110230"/>
                      </a:cubicBezTo>
                      <a:cubicBezTo>
                        <a:pt x="5461263" y="2110171"/>
                        <a:pt x="5465596" y="2121157"/>
                        <a:pt x="5462013" y="2123487"/>
                      </a:cubicBezTo>
                      <a:cubicBezTo>
                        <a:pt x="5458488" y="2125783"/>
                        <a:pt x="5457281" y="2118428"/>
                        <a:pt x="5453639" y="2120923"/>
                      </a:cubicBezTo>
                      <a:cubicBezTo>
                        <a:pt x="5455232" y="2123124"/>
                        <a:pt x="5453815" y="2121368"/>
                        <a:pt x="5453920" y="2123394"/>
                      </a:cubicBezTo>
                      <a:cubicBezTo>
                        <a:pt x="5459776" y="2122749"/>
                        <a:pt x="5455045" y="2130034"/>
                        <a:pt x="5461170" y="2129694"/>
                      </a:cubicBezTo>
                      <a:cubicBezTo>
                        <a:pt x="5460408" y="2133430"/>
                        <a:pt x="5460104" y="2132798"/>
                        <a:pt x="5463243" y="2134028"/>
                      </a:cubicBezTo>
                      <a:cubicBezTo>
                        <a:pt x="5460467" y="2136393"/>
                        <a:pt x="5459073" y="2139602"/>
                        <a:pt x="5462938" y="2142319"/>
                      </a:cubicBezTo>
                      <a:cubicBezTo>
                        <a:pt x="5463535" y="2132154"/>
                        <a:pt x="5467224" y="2147039"/>
                        <a:pt x="5467588" y="2150611"/>
                      </a:cubicBezTo>
                      <a:cubicBezTo>
                        <a:pt x="5462997" y="2150131"/>
                        <a:pt x="5445863" y="2142624"/>
                        <a:pt x="5455408" y="2137471"/>
                      </a:cubicBezTo>
                      <a:cubicBezTo>
                        <a:pt x="5449962" y="2140247"/>
                        <a:pt x="5448732" y="2138490"/>
                        <a:pt x="5443275" y="2139509"/>
                      </a:cubicBezTo>
                      <a:cubicBezTo>
                        <a:pt x="5438075" y="2140481"/>
                        <a:pt x="5433894" y="2143959"/>
                        <a:pt x="5430052" y="2145564"/>
                      </a:cubicBezTo>
                      <a:cubicBezTo>
                        <a:pt x="5425801" y="2147332"/>
                        <a:pt x="5420214" y="2148023"/>
                        <a:pt x="5415495" y="2150611"/>
                      </a:cubicBezTo>
                      <a:cubicBezTo>
                        <a:pt x="5408550" y="2154418"/>
                        <a:pt x="5403912" y="2161327"/>
                        <a:pt x="5397190" y="2165134"/>
                      </a:cubicBezTo>
                      <a:cubicBezTo>
                        <a:pt x="5394379" y="2161351"/>
                        <a:pt x="5395972" y="2154605"/>
                        <a:pt x="5390678" y="2152907"/>
                      </a:cubicBezTo>
                      <a:cubicBezTo>
                        <a:pt x="5387621" y="2151923"/>
                        <a:pt x="5379599" y="2156081"/>
                        <a:pt x="5383885" y="2158669"/>
                      </a:cubicBezTo>
                      <a:cubicBezTo>
                        <a:pt x="5381414" y="2162299"/>
                        <a:pt x="5383581" y="2164852"/>
                        <a:pt x="5387891" y="2164161"/>
                      </a:cubicBezTo>
                      <a:cubicBezTo>
                        <a:pt x="5387083" y="2163353"/>
                        <a:pt x="5386345" y="2162522"/>
                        <a:pt x="5385408" y="2161714"/>
                      </a:cubicBezTo>
                      <a:cubicBezTo>
                        <a:pt x="5388699" y="2161198"/>
                        <a:pt x="5396417" y="2162346"/>
                        <a:pt x="5391838" y="2166094"/>
                      </a:cubicBezTo>
                      <a:cubicBezTo>
                        <a:pt x="5392856" y="2169279"/>
                        <a:pt x="5392154" y="2169947"/>
                        <a:pt x="5388640" y="2168975"/>
                      </a:cubicBezTo>
                      <a:cubicBezTo>
                        <a:pt x="5390631" y="2174315"/>
                        <a:pt x="5385384" y="2171083"/>
                        <a:pt x="5386310" y="2174725"/>
                      </a:cubicBezTo>
                      <a:cubicBezTo>
                        <a:pt x="5386801" y="2176646"/>
                        <a:pt x="5390983" y="2175030"/>
                        <a:pt x="5391486" y="2177677"/>
                      </a:cubicBezTo>
                      <a:cubicBezTo>
                        <a:pt x="5392259" y="2181822"/>
                        <a:pt x="5386321" y="2186355"/>
                        <a:pt x="5382199" y="2181518"/>
                      </a:cubicBezTo>
                      <a:cubicBezTo>
                        <a:pt x="5382351" y="2186484"/>
                        <a:pt x="5385642" y="2185125"/>
                        <a:pt x="5386743" y="2187690"/>
                      </a:cubicBezTo>
                      <a:cubicBezTo>
                        <a:pt x="5387129" y="2188615"/>
                        <a:pt x="5387855" y="2192855"/>
                        <a:pt x="5387903" y="2193546"/>
                      </a:cubicBezTo>
                      <a:cubicBezTo>
                        <a:pt x="5385221" y="2195162"/>
                        <a:pt x="5383991" y="2196520"/>
                        <a:pt x="5382210" y="2198863"/>
                      </a:cubicBezTo>
                      <a:cubicBezTo>
                        <a:pt x="5384869" y="2197352"/>
                        <a:pt x="5388277" y="2196837"/>
                        <a:pt x="5390034" y="2200292"/>
                      </a:cubicBezTo>
                      <a:cubicBezTo>
                        <a:pt x="5388640" y="2200912"/>
                        <a:pt x="5387891" y="2202107"/>
                        <a:pt x="5386485" y="2202646"/>
                      </a:cubicBezTo>
                      <a:cubicBezTo>
                        <a:pt x="5391591" y="2205597"/>
                        <a:pt x="5387727" y="2209708"/>
                        <a:pt x="5382527" y="2208946"/>
                      </a:cubicBezTo>
                      <a:cubicBezTo>
                        <a:pt x="5380641" y="2211827"/>
                        <a:pt x="5382796" y="2214170"/>
                        <a:pt x="5381438" y="2216383"/>
                      </a:cubicBezTo>
                      <a:cubicBezTo>
                        <a:pt x="5380290" y="2218257"/>
                        <a:pt x="5377339" y="2217765"/>
                        <a:pt x="5377186" y="2218023"/>
                      </a:cubicBezTo>
                      <a:cubicBezTo>
                        <a:pt x="5376167" y="2219662"/>
                        <a:pt x="5377936" y="2221466"/>
                        <a:pt x="5377491" y="2222555"/>
                      </a:cubicBezTo>
                      <a:cubicBezTo>
                        <a:pt x="5373954" y="2230999"/>
                        <a:pt x="5368730" y="2235602"/>
                        <a:pt x="5362699" y="2242687"/>
                      </a:cubicBezTo>
                      <a:cubicBezTo>
                        <a:pt x="5356879" y="2249515"/>
                        <a:pt x="5354326" y="2255102"/>
                        <a:pt x="5346455" y="2259189"/>
                      </a:cubicBezTo>
                      <a:cubicBezTo>
                        <a:pt x="5343469" y="2260735"/>
                        <a:pt x="5339991" y="2260032"/>
                        <a:pt x="5337004" y="2262679"/>
                      </a:cubicBezTo>
                      <a:cubicBezTo>
                        <a:pt x="5334791" y="2264635"/>
                        <a:pt x="5334158" y="2269319"/>
                        <a:pt x="5333502" y="2270034"/>
                      </a:cubicBezTo>
                      <a:cubicBezTo>
                        <a:pt x="5330481" y="2273430"/>
                        <a:pt x="5326312" y="2275749"/>
                        <a:pt x="5322493" y="2279649"/>
                      </a:cubicBezTo>
                      <a:cubicBezTo>
                        <a:pt x="5316755" y="2285528"/>
                        <a:pt x="5308838" y="2289522"/>
                        <a:pt x="5302771" y="2295213"/>
                      </a:cubicBezTo>
                      <a:cubicBezTo>
                        <a:pt x="5299024" y="2298727"/>
                        <a:pt x="5295463" y="2303646"/>
                        <a:pt x="5290837" y="2306363"/>
                      </a:cubicBezTo>
                      <a:cubicBezTo>
                        <a:pt x="5291130" y="2301994"/>
                        <a:pt x="5295698" y="2298188"/>
                        <a:pt x="5295686" y="2292684"/>
                      </a:cubicBezTo>
                      <a:cubicBezTo>
                        <a:pt x="5295674" y="2290002"/>
                        <a:pt x="5293250" y="2291536"/>
                        <a:pt x="5292524" y="2289346"/>
                      </a:cubicBezTo>
                      <a:cubicBezTo>
                        <a:pt x="5291552" y="2286383"/>
                        <a:pt x="5293812" y="2285352"/>
                        <a:pt x="5292055" y="2282506"/>
                      </a:cubicBezTo>
                      <a:cubicBezTo>
                        <a:pt x="5289163" y="2277822"/>
                        <a:pt x="5285450" y="2279087"/>
                        <a:pt x="5283014" y="2273805"/>
                      </a:cubicBezTo>
                      <a:cubicBezTo>
                        <a:pt x="5282803" y="2273372"/>
                        <a:pt x="5281117" y="2265794"/>
                        <a:pt x="5281023" y="2264857"/>
                      </a:cubicBezTo>
                      <a:cubicBezTo>
                        <a:pt x="5279864" y="2254153"/>
                        <a:pt x="5282347" y="2242699"/>
                        <a:pt x="5281292" y="2231561"/>
                      </a:cubicBezTo>
                      <a:cubicBezTo>
                        <a:pt x="5280531" y="2223410"/>
                        <a:pt x="5279313" y="2215329"/>
                        <a:pt x="5277428" y="2207389"/>
                      </a:cubicBezTo>
                      <a:cubicBezTo>
                        <a:pt x="5275917" y="2201053"/>
                        <a:pt x="5272181" y="2196602"/>
                        <a:pt x="5270600" y="2190630"/>
                      </a:cubicBezTo>
                      <a:cubicBezTo>
                        <a:pt x="5273657" y="2191473"/>
                        <a:pt x="5275436" y="2193300"/>
                        <a:pt x="5275296" y="2196427"/>
                      </a:cubicBezTo>
                      <a:cubicBezTo>
                        <a:pt x="5283459" y="2191648"/>
                        <a:pt x="5272696" y="2189950"/>
                        <a:pt x="5269405" y="2184750"/>
                      </a:cubicBezTo>
                      <a:cubicBezTo>
                        <a:pt x="5262413" y="2173718"/>
                        <a:pt x="5261113" y="2158025"/>
                        <a:pt x="5259380" y="2145435"/>
                      </a:cubicBezTo>
                      <a:cubicBezTo>
                        <a:pt x="5256499" y="2124577"/>
                        <a:pt x="5254414" y="2103226"/>
                        <a:pt x="5249495" y="2082954"/>
                      </a:cubicBezTo>
                      <a:cubicBezTo>
                        <a:pt x="5243640" y="2058805"/>
                        <a:pt x="5237011" y="2035382"/>
                        <a:pt x="5234317" y="2010846"/>
                      </a:cubicBezTo>
                      <a:cubicBezTo>
                        <a:pt x="5232783" y="1996804"/>
                        <a:pt x="5232924" y="1985877"/>
                        <a:pt x="5235231" y="1972010"/>
                      </a:cubicBezTo>
                      <a:cubicBezTo>
                        <a:pt x="5237093" y="1960861"/>
                        <a:pt x="5236297" y="1948587"/>
                        <a:pt x="5239693" y="1937871"/>
                      </a:cubicBezTo>
                      <a:cubicBezTo>
                        <a:pt x="5240934" y="1933936"/>
                        <a:pt x="5241813" y="1932894"/>
                        <a:pt x="5242738" y="1929896"/>
                      </a:cubicBezTo>
                      <a:cubicBezTo>
                        <a:pt x="5244401" y="1924544"/>
                        <a:pt x="5246123" y="1918981"/>
                        <a:pt x="5247774" y="1913418"/>
                      </a:cubicBezTo>
                      <a:cubicBezTo>
                        <a:pt x="5250468" y="1904271"/>
                        <a:pt x="5254098" y="1882195"/>
                        <a:pt x="5264967" y="1878810"/>
                      </a:cubicBezTo>
                      <a:cubicBezTo>
                        <a:pt x="5262800" y="1882148"/>
                        <a:pt x="5259380" y="1884232"/>
                        <a:pt x="5259216" y="1888460"/>
                      </a:cubicBezTo>
                      <a:cubicBezTo>
                        <a:pt x="5264393" y="1878096"/>
                        <a:pt x="5272064" y="1879033"/>
                        <a:pt x="5279512" y="1871502"/>
                      </a:cubicBezTo>
                      <a:cubicBezTo>
                        <a:pt x="5285028" y="1865927"/>
                        <a:pt x="5283248" y="1853302"/>
                        <a:pt x="5291118" y="1863878"/>
                      </a:cubicBezTo>
                      <a:cubicBezTo>
                        <a:pt x="5296154" y="1856699"/>
                        <a:pt x="5304317" y="1846826"/>
                        <a:pt x="5306824" y="1838101"/>
                      </a:cubicBezTo>
                      <a:cubicBezTo>
                        <a:pt x="5308557" y="1832011"/>
                        <a:pt x="5305816" y="1808318"/>
                        <a:pt x="5294948" y="1812652"/>
                      </a:cubicBezTo>
                      <a:cubicBezTo>
                        <a:pt x="5298180" y="1808154"/>
                        <a:pt x="5304341" y="1803587"/>
                        <a:pt x="5308674" y="1804114"/>
                      </a:cubicBezTo>
                      <a:cubicBezTo>
                        <a:pt x="5308627" y="1804114"/>
                        <a:pt x="5314916" y="1808002"/>
                        <a:pt x="5315689" y="1808260"/>
                      </a:cubicBezTo>
                      <a:cubicBezTo>
                        <a:pt x="5319296" y="1809513"/>
                        <a:pt x="5322634" y="1809899"/>
                        <a:pt x="5326347" y="1809138"/>
                      </a:cubicBezTo>
                      <a:cubicBezTo>
                        <a:pt x="5332577" y="1807873"/>
                        <a:pt x="5342813" y="1796607"/>
                        <a:pt x="5341408" y="1790353"/>
                      </a:cubicBezTo>
                      <a:cubicBezTo>
                        <a:pt x="5347544" y="1789346"/>
                        <a:pt x="5353318" y="1794124"/>
                        <a:pt x="5360298" y="1793246"/>
                      </a:cubicBezTo>
                      <a:cubicBezTo>
                        <a:pt x="5369269" y="1792121"/>
                        <a:pt x="5371506" y="1788842"/>
                        <a:pt x="5377842" y="1795787"/>
                      </a:cubicBezTo>
                      <a:cubicBezTo>
                        <a:pt x="5377046" y="1792672"/>
                        <a:pt x="5375957" y="1789674"/>
                        <a:pt x="5372127" y="1789311"/>
                      </a:cubicBezTo>
                      <a:cubicBezTo>
                        <a:pt x="5383124" y="1782471"/>
                        <a:pt x="5392470" y="1773254"/>
                        <a:pt x="5403736" y="1766497"/>
                      </a:cubicBezTo>
                      <a:cubicBezTo>
                        <a:pt x="5409862" y="1762819"/>
                        <a:pt x="5420203" y="1750370"/>
                        <a:pt x="5424712" y="1756741"/>
                      </a:cubicBezTo>
                      <a:cubicBezTo>
                        <a:pt x="5418961" y="1751236"/>
                        <a:pt x="5427429" y="1745603"/>
                        <a:pt x="5432828" y="1741176"/>
                      </a:cubicBezTo>
                      <a:cubicBezTo>
                        <a:pt x="5434666" y="1739677"/>
                        <a:pt x="5437559" y="1738635"/>
                        <a:pt x="5438402" y="1737909"/>
                      </a:cubicBezTo>
                      <a:cubicBezTo>
                        <a:pt x="5439878" y="1736632"/>
                        <a:pt x="5441635" y="1734091"/>
                        <a:pt x="5443099" y="1732428"/>
                      </a:cubicBezTo>
                      <a:cubicBezTo>
                        <a:pt x="5445781" y="1729371"/>
                        <a:pt x="5450091" y="1726396"/>
                        <a:pt x="5451426" y="1722180"/>
                      </a:cubicBezTo>
                      <a:cubicBezTo>
                        <a:pt x="5452339" y="1719252"/>
                        <a:pt x="5450114" y="1716968"/>
                        <a:pt x="5450747" y="1714415"/>
                      </a:cubicBezTo>
                      <a:cubicBezTo>
                        <a:pt x="5451484" y="1711476"/>
                        <a:pt x="5455583" y="1707248"/>
                        <a:pt x="5457726" y="1705034"/>
                      </a:cubicBezTo>
                      <a:cubicBezTo>
                        <a:pt x="5461896" y="1700724"/>
                        <a:pt x="5467963" y="1696743"/>
                        <a:pt x="5472987" y="1693440"/>
                      </a:cubicBezTo>
                      <a:cubicBezTo>
                        <a:pt x="5475188" y="1691988"/>
                        <a:pt x="5478866" y="1690817"/>
                        <a:pt x="5480693" y="1689411"/>
                      </a:cubicBezTo>
                      <a:cubicBezTo>
                        <a:pt x="5486842" y="1684680"/>
                        <a:pt x="5486455" y="1677641"/>
                        <a:pt x="5491069" y="1673179"/>
                      </a:cubicBezTo>
                      <a:cubicBezTo>
                        <a:pt x="5496246" y="1668155"/>
                        <a:pt x="5506669" y="1670216"/>
                        <a:pt x="5512829" y="1664571"/>
                      </a:cubicBezTo>
                      <a:cubicBezTo>
                        <a:pt x="5517818" y="1660015"/>
                        <a:pt x="5523217" y="1656092"/>
                        <a:pt x="5527914" y="1651103"/>
                      </a:cubicBezTo>
                      <a:cubicBezTo>
                        <a:pt x="5535713" y="1642846"/>
                        <a:pt x="5540913" y="1636920"/>
                        <a:pt x="5550798" y="1631720"/>
                      </a:cubicBezTo>
                      <a:cubicBezTo>
                        <a:pt x="5554194" y="1629940"/>
                        <a:pt x="5561994" y="1625361"/>
                        <a:pt x="5563985" y="1622199"/>
                      </a:cubicBezTo>
                      <a:cubicBezTo>
                        <a:pt x="5565695" y="1619493"/>
                        <a:pt x="5567932" y="1613544"/>
                        <a:pt x="5563365" y="1615453"/>
                      </a:cubicBezTo>
                      <a:cubicBezTo>
                        <a:pt x="5566187" y="1606213"/>
                        <a:pt x="5567194" y="1605697"/>
                        <a:pt x="5576388" y="1600087"/>
                      </a:cubicBezTo>
                      <a:cubicBezTo>
                        <a:pt x="5580288" y="1597710"/>
                        <a:pt x="5582325" y="1597511"/>
                        <a:pt x="5586940" y="1595649"/>
                      </a:cubicBezTo>
                      <a:cubicBezTo>
                        <a:pt x="5589727" y="1594513"/>
                        <a:pt x="5592069" y="1591210"/>
                        <a:pt x="5594646" y="1590390"/>
                      </a:cubicBezTo>
                      <a:cubicBezTo>
                        <a:pt x="5601099" y="1588329"/>
                        <a:pt x="5604659" y="1591140"/>
                        <a:pt x="5610726" y="1585565"/>
                      </a:cubicBezTo>
                      <a:cubicBezTo>
                        <a:pt x="5617905" y="1578948"/>
                        <a:pt x="5618128" y="1579616"/>
                        <a:pt x="5627403" y="1578667"/>
                      </a:cubicBezTo>
                      <a:cubicBezTo>
                        <a:pt x="5627052" y="1578362"/>
                        <a:pt x="5626677" y="1578058"/>
                        <a:pt x="5626326" y="1577753"/>
                      </a:cubicBezTo>
                      <a:cubicBezTo>
                        <a:pt x="5631069" y="1575763"/>
                        <a:pt x="5633669" y="1575856"/>
                        <a:pt x="5639033" y="1576009"/>
                      </a:cubicBezTo>
                      <a:cubicBezTo>
                        <a:pt x="5637897" y="1577707"/>
                        <a:pt x="5637756" y="1579955"/>
                        <a:pt x="5636409" y="1581595"/>
                      </a:cubicBezTo>
                      <a:cubicBezTo>
                        <a:pt x="5639583" y="1581232"/>
                        <a:pt x="5639724" y="1576793"/>
                        <a:pt x="5642628" y="1574287"/>
                      </a:cubicBezTo>
                      <a:cubicBezTo>
                        <a:pt x="5645521" y="1571816"/>
                        <a:pt x="5650182" y="1571523"/>
                        <a:pt x="5653649" y="1570528"/>
                      </a:cubicBezTo>
                      <a:cubicBezTo>
                        <a:pt x="5655780" y="1569919"/>
                        <a:pt x="5662854" y="1571441"/>
                        <a:pt x="5660781" y="1566124"/>
                      </a:cubicBezTo>
                      <a:cubicBezTo>
                        <a:pt x="5659563" y="1562974"/>
                        <a:pt x="5649479" y="1561287"/>
                        <a:pt x="5646387" y="1560011"/>
                      </a:cubicBezTo>
                      <a:cubicBezTo>
                        <a:pt x="5648390" y="1557071"/>
                        <a:pt x="5651681" y="1556720"/>
                        <a:pt x="5653555" y="1554553"/>
                      </a:cubicBezTo>
                      <a:cubicBezTo>
                        <a:pt x="5654621" y="1553323"/>
                        <a:pt x="5653169" y="1551625"/>
                        <a:pt x="5654855" y="1549740"/>
                      </a:cubicBezTo>
                      <a:cubicBezTo>
                        <a:pt x="5659130" y="1545020"/>
                        <a:pt x="5666145" y="1544235"/>
                        <a:pt x="5670209" y="1540089"/>
                      </a:cubicBezTo>
                      <a:cubicBezTo>
                        <a:pt x="5678266" y="1531868"/>
                        <a:pt x="5667234" y="1517744"/>
                        <a:pt x="5661425" y="1527312"/>
                      </a:cubicBezTo>
                      <a:cubicBezTo>
                        <a:pt x="5659001" y="1523482"/>
                        <a:pt x="5662830" y="1515917"/>
                        <a:pt x="5665032" y="1512520"/>
                      </a:cubicBezTo>
                      <a:cubicBezTo>
                        <a:pt x="5668722" y="1506805"/>
                        <a:pt x="5671286" y="1510084"/>
                        <a:pt x="5675092" y="1506079"/>
                      </a:cubicBezTo>
                      <a:cubicBezTo>
                        <a:pt x="5678161" y="1502858"/>
                        <a:pt x="5675900" y="1495176"/>
                        <a:pt x="5676111" y="1492154"/>
                      </a:cubicBezTo>
                      <a:cubicBezTo>
                        <a:pt x="5676357" y="1488523"/>
                        <a:pt x="5676943" y="1484764"/>
                        <a:pt x="5676931" y="1480946"/>
                      </a:cubicBezTo>
                      <a:cubicBezTo>
                        <a:pt x="5676931" y="1479564"/>
                        <a:pt x="5677341" y="1474294"/>
                        <a:pt x="5677517" y="1472045"/>
                      </a:cubicBezTo>
                      <a:cubicBezTo>
                        <a:pt x="5677575" y="1471343"/>
                        <a:pt x="5678442" y="1468145"/>
                        <a:pt x="5678641" y="1466763"/>
                      </a:cubicBezTo>
                      <a:cubicBezTo>
                        <a:pt x="5678864" y="1465264"/>
                        <a:pt x="5678875" y="1461622"/>
                        <a:pt x="5679531" y="1460158"/>
                      </a:cubicBezTo>
                      <a:cubicBezTo>
                        <a:pt x="5681335" y="1456200"/>
                        <a:pt x="5685750" y="1455052"/>
                        <a:pt x="5689380" y="1453038"/>
                      </a:cubicBezTo>
                      <a:cubicBezTo>
                        <a:pt x="5691008" y="1452136"/>
                        <a:pt x="5693386" y="1452686"/>
                        <a:pt x="5694932" y="1451761"/>
                      </a:cubicBezTo>
                      <a:cubicBezTo>
                        <a:pt x="5695974" y="1451140"/>
                        <a:pt x="5695822" y="1448704"/>
                        <a:pt x="5696712" y="1448048"/>
                      </a:cubicBezTo>
                      <a:cubicBezTo>
                        <a:pt x="5698352" y="1446854"/>
                        <a:pt x="5700120" y="1444675"/>
                        <a:pt x="5701900" y="1443891"/>
                      </a:cubicBezTo>
                      <a:cubicBezTo>
                        <a:pt x="5709524" y="1440553"/>
                        <a:pt x="5716469" y="1445800"/>
                        <a:pt x="5723649" y="1447486"/>
                      </a:cubicBezTo>
                      <a:cubicBezTo>
                        <a:pt x="5727923" y="1448482"/>
                        <a:pt x="5730593" y="1447732"/>
                        <a:pt x="5734657" y="1449735"/>
                      </a:cubicBezTo>
                      <a:cubicBezTo>
                        <a:pt x="5737140" y="1450953"/>
                        <a:pt x="5738967" y="1453084"/>
                        <a:pt x="5741766" y="1454127"/>
                      </a:cubicBezTo>
                      <a:cubicBezTo>
                        <a:pt x="5740478" y="1449126"/>
                        <a:pt x="5735348" y="1447557"/>
                        <a:pt x="5731050" y="1445601"/>
                      </a:cubicBezTo>
                      <a:cubicBezTo>
                        <a:pt x="5735782" y="1437086"/>
                        <a:pt x="5752576" y="1447849"/>
                        <a:pt x="5759228" y="1443188"/>
                      </a:cubicBezTo>
                      <a:cubicBezTo>
                        <a:pt x="5746861" y="1442158"/>
                        <a:pt x="5734435" y="1441642"/>
                        <a:pt x="5722911" y="1437672"/>
                      </a:cubicBezTo>
                      <a:cubicBezTo>
                        <a:pt x="5715638" y="1435166"/>
                        <a:pt x="5713588" y="1433655"/>
                        <a:pt x="5707943" y="1429158"/>
                      </a:cubicBezTo>
                      <a:cubicBezTo>
                        <a:pt x="5704547" y="1426452"/>
                        <a:pt x="5702181" y="1424918"/>
                        <a:pt x="5697450" y="1424754"/>
                      </a:cubicBezTo>
                      <a:cubicBezTo>
                        <a:pt x="5691957" y="1424543"/>
                        <a:pt x="5683794" y="1426054"/>
                        <a:pt x="5677997" y="1427483"/>
                      </a:cubicBezTo>
                      <a:cubicBezTo>
                        <a:pt x="5673851" y="1428502"/>
                        <a:pt x="5671017" y="1431898"/>
                        <a:pt x="5667703" y="1432613"/>
                      </a:cubicBezTo>
                      <a:cubicBezTo>
                        <a:pt x="5664388" y="1433315"/>
                        <a:pt x="5658415" y="1431523"/>
                        <a:pt x="5654164" y="1432695"/>
                      </a:cubicBezTo>
                      <a:cubicBezTo>
                        <a:pt x="5649421" y="1433995"/>
                        <a:pt x="5646212" y="1437766"/>
                        <a:pt x="5641762" y="1433702"/>
                      </a:cubicBezTo>
                      <a:cubicBezTo>
                        <a:pt x="5640414" y="1437086"/>
                        <a:pt x="5639126" y="1434920"/>
                        <a:pt x="5636831" y="1437321"/>
                      </a:cubicBezTo>
                      <a:cubicBezTo>
                        <a:pt x="5636304" y="1437859"/>
                        <a:pt x="5634325" y="1441478"/>
                        <a:pt x="5634723" y="1441139"/>
                      </a:cubicBezTo>
                      <a:cubicBezTo>
                        <a:pt x="5635051" y="1440846"/>
                        <a:pt x="5629746" y="1446608"/>
                        <a:pt x="5629804" y="1445647"/>
                      </a:cubicBezTo>
                      <a:cubicBezTo>
                        <a:pt x="5629722" y="1447193"/>
                        <a:pt x="5638857" y="1450438"/>
                        <a:pt x="5640192" y="1453834"/>
                      </a:cubicBezTo>
                      <a:cubicBezTo>
                        <a:pt x="5636034" y="1453436"/>
                        <a:pt x="5626923" y="1458167"/>
                        <a:pt x="5625588" y="1462465"/>
                      </a:cubicBezTo>
                      <a:cubicBezTo>
                        <a:pt x="5624604" y="1465662"/>
                        <a:pt x="5627638" y="1468321"/>
                        <a:pt x="5628574" y="1470757"/>
                      </a:cubicBezTo>
                      <a:cubicBezTo>
                        <a:pt x="5629336" y="1472771"/>
                        <a:pt x="5623140" y="1475254"/>
                        <a:pt x="5631010" y="1474903"/>
                      </a:cubicBezTo>
                      <a:cubicBezTo>
                        <a:pt x="5627696" y="1479131"/>
                        <a:pt x="5625588" y="1483195"/>
                        <a:pt x="5622309" y="1486626"/>
                      </a:cubicBezTo>
                      <a:cubicBezTo>
                        <a:pt x="5627438" y="1488359"/>
                        <a:pt x="5618526" y="1493606"/>
                        <a:pt x="5620282" y="1497073"/>
                      </a:cubicBezTo>
                      <a:cubicBezTo>
                        <a:pt x="5622320" y="1501067"/>
                        <a:pt x="5635250" y="1501722"/>
                        <a:pt x="5638857" y="1503901"/>
                      </a:cubicBezTo>
                      <a:cubicBezTo>
                        <a:pt x="5638412" y="1507426"/>
                        <a:pt x="5635870" y="1509229"/>
                        <a:pt x="5631783" y="1509417"/>
                      </a:cubicBezTo>
                      <a:cubicBezTo>
                        <a:pt x="5632193" y="1509944"/>
                        <a:pt x="5632509" y="1510740"/>
                        <a:pt x="5632954" y="1511466"/>
                      </a:cubicBezTo>
                      <a:cubicBezTo>
                        <a:pt x="5625810" y="1505728"/>
                        <a:pt x="5626864" y="1515846"/>
                        <a:pt x="5626525" y="1516163"/>
                      </a:cubicBezTo>
                      <a:cubicBezTo>
                        <a:pt x="5620435" y="1522042"/>
                        <a:pt x="5618292" y="1512368"/>
                        <a:pt x="5613630" y="1512146"/>
                      </a:cubicBezTo>
                      <a:cubicBezTo>
                        <a:pt x="5617671" y="1508937"/>
                        <a:pt x="5619310" y="1503842"/>
                        <a:pt x="5610691" y="1503479"/>
                      </a:cubicBezTo>
                      <a:cubicBezTo>
                        <a:pt x="5608489" y="1503385"/>
                        <a:pt x="5601239" y="1506583"/>
                        <a:pt x="5601486" y="1508503"/>
                      </a:cubicBezTo>
                      <a:cubicBezTo>
                        <a:pt x="5601813" y="1511302"/>
                        <a:pt x="5607587" y="1509803"/>
                        <a:pt x="5609180" y="1512848"/>
                      </a:cubicBezTo>
                      <a:cubicBezTo>
                        <a:pt x="5603102" y="1512485"/>
                        <a:pt x="5596965" y="1505728"/>
                        <a:pt x="5591367" y="1506536"/>
                      </a:cubicBezTo>
                      <a:cubicBezTo>
                        <a:pt x="5587525" y="1507086"/>
                        <a:pt x="5589177" y="1512028"/>
                        <a:pt x="5584012" y="1510951"/>
                      </a:cubicBezTo>
                      <a:cubicBezTo>
                        <a:pt x="5584703" y="1511677"/>
                        <a:pt x="5585113" y="1512415"/>
                        <a:pt x="5585874" y="1513129"/>
                      </a:cubicBezTo>
                      <a:cubicBezTo>
                        <a:pt x="5583473" y="1514863"/>
                        <a:pt x="5582665" y="1515764"/>
                        <a:pt x="5580065" y="1515741"/>
                      </a:cubicBezTo>
                      <a:cubicBezTo>
                        <a:pt x="5580955" y="1518950"/>
                        <a:pt x="5573741" y="1525438"/>
                        <a:pt x="5570895" y="1525462"/>
                      </a:cubicBezTo>
                      <a:cubicBezTo>
                        <a:pt x="5572605" y="1530322"/>
                        <a:pt x="5564934" y="1532055"/>
                        <a:pt x="5562955" y="1525895"/>
                      </a:cubicBezTo>
                      <a:cubicBezTo>
                        <a:pt x="5563493" y="1530755"/>
                        <a:pt x="5563552" y="1536353"/>
                        <a:pt x="5558727" y="1530556"/>
                      </a:cubicBezTo>
                      <a:cubicBezTo>
                        <a:pt x="5559394" y="1536482"/>
                        <a:pt x="5551278" y="1538848"/>
                        <a:pt x="5547718" y="1541272"/>
                      </a:cubicBezTo>
                      <a:cubicBezTo>
                        <a:pt x="5547823" y="1541202"/>
                        <a:pt x="5547425" y="1544528"/>
                        <a:pt x="5546875" y="1544950"/>
                      </a:cubicBezTo>
                      <a:cubicBezTo>
                        <a:pt x="5545785" y="1545769"/>
                        <a:pt x="5544966" y="1544130"/>
                        <a:pt x="5544263" y="1544668"/>
                      </a:cubicBezTo>
                      <a:cubicBezTo>
                        <a:pt x="5542928" y="1545699"/>
                        <a:pt x="5540058" y="1545863"/>
                        <a:pt x="5538103" y="1548088"/>
                      </a:cubicBezTo>
                      <a:cubicBezTo>
                        <a:pt x="5542190" y="1551016"/>
                        <a:pt x="5534683" y="1553312"/>
                        <a:pt x="5531193" y="1555888"/>
                      </a:cubicBezTo>
                      <a:cubicBezTo>
                        <a:pt x="5529987" y="1556778"/>
                        <a:pt x="5528347" y="1556907"/>
                        <a:pt x="5527855" y="1557293"/>
                      </a:cubicBezTo>
                      <a:cubicBezTo>
                        <a:pt x="5526192" y="1558582"/>
                        <a:pt x="5526379" y="1560221"/>
                        <a:pt x="5524927" y="1561568"/>
                      </a:cubicBezTo>
                      <a:cubicBezTo>
                        <a:pt x="5521285" y="1564941"/>
                        <a:pt x="5514668" y="1566464"/>
                        <a:pt x="5511998" y="1569544"/>
                      </a:cubicBezTo>
                      <a:cubicBezTo>
                        <a:pt x="5508824" y="1573174"/>
                        <a:pt x="5507559" y="1578726"/>
                        <a:pt x="5505756" y="1582438"/>
                      </a:cubicBezTo>
                      <a:cubicBezTo>
                        <a:pt x="5497604" y="1575657"/>
                        <a:pt x="5494430" y="1585729"/>
                        <a:pt x="5485881" y="1583352"/>
                      </a:cubicBezTo>
                      <a:cubicBezTo>
                        <a:pt x="5486467" y="1582345"/>
                        <a:pt x="5486970" y="1581431"/>
                        <a:pt x="5487591" y="1580459"/>
                      </a:cubicBezTo>
                      <a:cubicBezTo>
                        <a:pt x="5486994" y="1580459"/>
                        <a:pt x="5468489" y="1604128"/>
                        <a:pt x="5472155" y="1586818"/>
                      </a:cubicBezTo>
                      <a:cubicBezTo>
                        <a:pt x="5473362" y="1586994"/>
                        <a:pt x="5474802" y="1586455"/>
                        <a:pt x="5475938" y="1586572"/>
                      </a:cubicBezTo>
                      <a:cubicBezTo>
                        <a:pt x="5475130" y="1582134"/>
                        <a:pt x="5481033" y="1577953"/>
                        <a:pt x="5473350" y="1573959"/>
                      </a:cubicBezTo>
                      <a:cubicBezTo>
                        <a:pt x="5475001" y="1573842"/>
                        <a:pt x="5474591" y="1573046"/>
                        <a:pt x="5475833" y="1572319"/>
                      </a:cubicBezTo>
                      <a:cubicBezTo>
                        <a:pt x="5476371" y="1572975"/>
                        <a:pt x="5476910" y="1573631"/>
                        <a:pt x="5477707" y="1573994"/>
                      </a:cubicBezTo>
                      <a:cubicBezTo>
                        <a:pt x="5475036" y="1567096"/>
                        <a:pt x="5480424" y="1569837"/>
                        <a:pt x="5482731" y="1567319"/>
                      </a:cubicBezTo>
                      <a:cubicBezTo>
                        <a:pt x="5484558" y="1565316"/>
                        <a:pt x="5486396" y="1560163"/>
                        <a:pt x="5487661" y="1557258"/>
                      </a:cubicBezTo>
                      <a:cubicBezTo>
                        <a:pt x="5475715" y="1555466"/>
                        <a:pt x="5467506" y="1563676"/>
                        <a:pt x="5458499" y="1564765"/>
                      </a:cubicBezTo>
                      <a:cubicBezTo>
                        <a:pt x="5458921" y="1565819"/>
                        <a:pt x="5459389" y="1565773"/>
                        <a:pt x="5459214" y="1566815"/>
                      </a:cubicBezTo>
                      <a:cubicBezTo>
                        <a:pt x="5457925" y="1566663"/>
                        <a:pt x="5455197" y="1566054"/>
                        <a:pt x="5453920" y="1565585"/>
                      </a:cubicBezTo>
                      <a:cubicBezTo>
                        <a:pt x="5458324" y="1559741"/>
                        <a:pt x="5469742" y="1551004"/>
                        <a:pt x="5460233" y="1543181"/>
                      </a:cubicBezTo>
                      <a:cubicBezTo>
                        <a:pt x="5460877" y="1542619"/>
                        <a:pt x="5461591" y="1542584"/>
                        <a:pt x="5462212" y="1542092"/>
                      </a:cubicBezTo>
                      <a:cubicBezTo>
                        <a:pt x="5459249" y="1537712"/>
                        <a:pt x="5456380" y="1540968"/>
                        <a:pt x="5452784" y="1540897"/>
                      </a:cubicBezTo>
                      <a:cubicBezTo>
                        <a:pt x="5455255" y="1533648"/>
                        <a:pt x="5460034" y="1539925"/>
                        <a:pt x="5464707" y="1536915"/>
                      </a:cubicBezTo>
                      <a:cubicBezTo>
                        <a:pt x="5462575" y="1536763"/>
                        <a:pt x="5461545" y="1535615"/>
                        <a:pt x="5459799" y="1535194"/>
                      </a:cubicBezTo>
                      <a:cubicBezTo>
                        <a:pt x="5462985" y="1533215"/>
                        <a:pt x="5462446" y="1533285"/>
                        <a:pt x="5462669" y="1530088"/>
                      </a:cubicBezTo>
                      <a:cubicBezTo>
                        <a:pt x="5464191" y="1530216"/>
                        <a:pt x="5465608" y="1529666"/>
                        <a:pt x="5467224" y="1530017"/>
                      </a:cubicBezTo>
                      <a:cubicBezTo>
                        <a:pt x="5469485" y="1527581"/>
                        <a:pt x="5471909" y="1523916"/>
                        <a:pt x="5466241" y="1524232"/>
                      </a:cubicBezTo>
                      <a:cubicBezTo>
                        <a:pt x="5470246" y="1520437"/>
                        <a:pt x="5475317" y="1520379"/>
                        <a:pt x="5479370" y="1516034"/>
                      </a:cubicBezTo>
                      <a:cubicBezTo>
                        <a:pt x="5477636" y="1513270"/>
                        <a:pt x="5478456" y="1513001"/>
                        <a:pt x="5478046" y="1510365"/>
                      </a:cubicBezTo>
                      <a:cubicBezTo>
                        <a:pt x="5481489" y="1508691"/>
                        <a:pt x="5482239" y="1506184"/>
                        <a:pt x="5478011" y="1505130"/>
                      </a:cubicBezTo>
                      <a:cubicBezTo>
                        <a:pt x="5482649" y="1502893"/>
                        <a:pt x="5488704" y="1498806"/>
                        <a:pt x="5483375" y="1495269"/>
                      </a:cubicBezTo>
                      <a:cubicBezTo>
                        <a:pt x="5485811" y="1492294"/>
                        <a:pt x="5484312" y="1488547"/>
                        <a:pt x="5482532" y="1484729"/>
                      </a:cubicBezTo>
                      <a:cubicBezTo>
                        <a:pt x="5478690" y="1485115"/>
                        <a:pt x="5469497" y="1490046"/>
                        <a:pt x="5466534" y="1492646"/>
                      </a:cubicBezTo>
                      <a:cubicBezTo>
                        <a:pt x="5462657" y="1496054"/>
                        <a:pt x="5461263" y="1507215"/>
                        <a:pt x="5454354" y="1502601"/>
                      </a:cubicBezTo>
                      <a:cubicBezTo>
                        <a:pt x="5452023" y="1504393"/>
                        <a:pt x="5451508" y="1504802"/>
                        <a:pt x="5449247" y="1502694"/>
                      </a:cubicBezTo>
                      <a:cubicBezTo>
                        <a:pt x="5449271" y="1503748"/>
                        <a:pt x="5449025" y="1504475"/>
                        <a:pt x="5449271" y="1505564"/>
                      </a:cubicBezTo>
                      <a:cubicBezTo>
                        <a:pt x="5445090" y="1506325"/>
                        <a:pt x="5442115" y="1509265"/>
                        <a:pt x="5439503" y="1505681"/>
                      </a:cubicBezTo>
                      <a:cubicBezTo>
                        <a:pt x="5438485" y="1504287"/>
                        <a:pt x="5440616" y="1496686"/>
                        <a:pt x="5441834" y="1495023"/>
                      </a:cubicBezTo>
                      <a:cubicBezTo>
                        <a:pt x="5439480" y="1495258"/>
                        <a:pt x="5438110" y="1496710"/>
                        <a:pt x="5437231" y="1499275"/>
                      </a:cubicBezTo>
                      <a:cubicBezTo>
                        <a:pt x="5434877" y="1497541"/>
                        <a:pt x="5432301" y="1495972"/>
                        <a:pt x="5430626" y="1494227"/>
                      </a:cubicBezTo>
                      <a:cubicBezTo>
                        <a:pt x="5438894" y="1491276"/>
                        <a:pt x="5425988" y="1487669"/>
                        <a:pt x="5422768" y="1487317"/>
                      </a:cubicBezTo>
                      <a:cubicBezTo>
                        <a:pt x="5418153" y="1486825"/>
                        <a:pt x="5410295" y="1486462"/>
                        <a:pt x="5406453" y="1489085"/>
                      </a:cubicBezTo>
                      <a:cubicBezTo>
                        <a:pt x="5404357" y="1490526"/>
                        <a:pt x="5404919" y="1494157"/>
                        <a:pt x="5403818" y="1494649"/>
                      </a:cubicBezTo>
                      <a:cubicBezTo>
                        <a:pt x="5401488" y="1495691"/>
                        <a:pt x="5398970" y="1493712"/>
                        <a:pt x="5396932" y="1493676"/>
                      </a:cubicBezTo>
                      <a:cubicBezTo>
                        <a:pt x="5390643" y="1493548"/>
                        <a:pt x="5387750" y="1495468"/>
                        <a:pt x="5383276" y="1495421"/>
                      </a:cubicBezTo>
                      <a:cubicBezTo>
                        <a:pt x="5374984" y="1495328"/>
                        <a:pt x="5373989" y="1494801"/>
                        <a:pt x="5367466" y="1498654"/>
                      </a:cubicBezTo>
                      <a:cubicBezTo>
                        <a:pt x="5363121" y="1501219"/>
                        <a:pt x="5363027" y="1501910"/>
                        <a:pt x="5357523" y="1500715"/>
                      </a:cubicBezTo>
                      <a:cubicBezTo>
                        <a:pt x="5351796" y="1499474"/>
                        <a:pt x="5343691" y="1496124"/>
                        <a:pt x="5336629" y="1497061"/>
                      </a:cubicBezTo>
                      <a:cubicBezTo>
                        <a:pt x="5329802" y="1497963"/>
                        <a:pt x="5327693" y="1503748"/>
                        <a:pt x="5324871" y="1505306"/>
                      </a:cubicBezTo>
                      <a:cubicBezTo>
                        <a:pt x="5319835" y="1508070"/>
                        <a:pt x="5312714" y="1507402"/>
                        <a:pt x="5307948" y="1511338"/>
                      </a:cubicBezTo>
                      <a:cubicBezTo>
                        <a:pt x="5304388" y="1514265"/>
                        <a:pt x="5303544" y="1517064"/>
                        <a:pt x="5298743" y="1518657"/>
                      </a:cubicBezTo>
                      <a:cubicBezTo>
                        <a:pt x="5296225" y="1519489"/>
                        <a:pt x="5293449" y="1518154"/>
                        <a:pt x="5290790" y="1519079"/>
                      </a:cubicBezTo>
                      <a:cubicBezTo>
                        <a:pt x="5291188" y="1519184"/>
                        <a:pt x="5291587" y="1519290"/>
                        <a:pt x="5291997" y="1519395"/>
                      </a:cubicBezTo>
                      <a:cubicBezTo>
                        <a:pt x="5288753" y="1524490"/>
                        <a:pt x="5288788" y="1529607"/>
                        <a:pt x="5289186" y="1535135"/>
                      </a:cubicBezTo>
                      <a:cubicBezTo>
                        <a:pt x="5289502" y="1539609"/>
                        <a:pt x="5290041" y="1542888"/>
                        <a:pt x="5288413" y="1544106"/>
                      </a:cubicBezTo>
                      <a:cubicBezTo>
                        <a:pt x="5289256" y="1543474"/>
                        <a:pt x="5283260" y="1544247"/>
                        <a:pt x="5282920" y="1544341"/>
                      </a:cubicBezTo>
                      <a:cubicBezTo>
                        <a:pt x="5277439" y="1545722"/>
                        <a:pt x="5273773" y="1550372"/>
                        <a:pt x="5269628" y="1553675"/>
                      </a:cubicBezTo>
                      <a:cubicBezTo>
                        <a:pt x="5264486" y="1557762"/>
                        <a:pt x="5257155" y="1565234"/>
                        <a:pt x="5252857" y="1566229"/>
                      </a:cubicBezTo>
                      <a:cubicBezTo>
                        <a:pt x="5253430" y="1568244"/>
                        <a:pt x="5251932" y="1579159"/>
                        <a:pt x="5251323" y="1583527"/>
                      </a:cubicBezTo>
                      <a:cubicBezTo>
                        <a:pt x="5247411" y="1579323"/>
                        <a:pt x="5240161" y="1586608"/>
                        <a:pt x="5236004" y="1588809"/>
                      </a:cubicBezTo>
                      <a:cubicBezTo>
                        <a:pt x="5232373" y="1590730"/>
                        <a:pt x="5230043" y="1595918"/>
                        <a:pt x="5228333" y="1596879"/>
                      </a:cubicBezTo>
                      <a:cubicBezTo>
                        <a:pt x="5224960" y="1598787"/>
                        <a:pt x="5220404" y="1597850"/>
                        <a:pt x="5215837" y="1601259"/>
                      </a:cubicBezTo>
                      <a:cubicBezTo>
                        <a:pt x="5208576" y="1606658"/>
                        <a:pt x="5199815" y="1610206"/>
                        <a:pt x="5193948" y="1617456"/>
                      </a:cubicBezTo>
                      <a:cubicBezTo>
                        <a:pt x="5194182" y="1616378"/>
                        <a:pt x="5194463" y="1615945"/>
                        <a:pt x="5194967" y="1614996"/>
                      </a:cubicBezTo>
                      <a:cubicBezTo>
                        <a:pt x="5189568" y="1623159"/>
                        <a:pt x="5177036" y="1631263"/>
                        <a:pt x="5176943" y="1642870"/>
                      </a:cubicBezTo>
                      <a:cubicBezTo>
                        <a:pt x="5175865" y="1638853"/>
                        <a:pt x="5178149" y="1634391"/>
                        <a:pt x="5180913" y="1631381"/>
                      </a:cubicBezTo>
                      <a:cubicBezTo>
                        <a:pt x="5164130" y="1629776"/>
                        <a:pt x="5183853" y="1646161"/>
                        <a:pt x="5172258" y="1650529"/>
                      </a:cubicBezTo>
                      <a:cubicBezTo>
                        <a:pt x="5172949" y="1649323"/>
                        <a:pt x="5173289" y="1647988"/>
                        <a:pt x="5174085" y="1646758"/>
                      </a:cubicBezTo>
                      <a:cubicBezTo>
                        <a:pt x="5154129" y="1642881"/>
                        <a:pt x="5166262" y="1663810"/>
                        <a:pt x="5170724" y="1671739"/>
                      </a:cubicBezTo>
                      <a:cubicBezTo>
                        <a:pt x="5161870" y="1666667"/>
                        <a:pt x="5165407" y="1662475"/>
                        <a:pt x="5160254" y="1672441"/>
                      </a:cubicBezTo>
                      <a:cubicBezTo>
                        <a:pt x="5158977" y="1674912"/>
                        <a:pt x="5155171" y="1674210"/>
                        <a:pt x="5156131" y="1677641"/>
                      </a:cubicBezTo>
                      <a:cubicBezTo>
                        <a:pt x="5157139" y="1681213"/>
                        <a:pt x="5164036" y="1683286"/>
                        <a:pt x="5167035" y="1681951"/>
                      </a:cubicBezTo>
                      <a:cubicBezTo>
                        <a:pt x="5170138" y="1680569"/>
                        <a:pt x="5168604" y="1675486"/>
                        <a:pt x="5171028" y="1675006"/>
                      </a:cubicBezTo>
                      <a:cubicBezTo>
                        <a:pt x="5175139" y="1674186"/>
                        <a:pt x="5170958" y="1679363"/>
                        <a:pt x="5171907" y="1680616"/>
                      </a:cubicBezTo>
                      <a:cubicBezTo>
                        <a:pt x="5173265" y="1682420"/>
                        <a:pt x="5177891" y="1687233"/>
                        <a:pt x="5179402" y="1682970"/>
                      </a:cubicBezTo>
                      <a:cubicBezTo>
                        <a:pt x="5178922" y="1684317"/>
                        <a:pt x="5173476" y="1675826"/>
                        <a:pt x="5173324" y="1673940"/>
                      </a:cubicBezTo>
                      <a:cubicBezTo>
                        <a:pt x="5175209" y="1674877"/>
                        <a:pt x="5178208" y="1676165"/>
                        <a:pt x="5180409" y="1676482"/>
                      </a:cubicBezTo>
                      <a:cubicBezTo>
                        <a:pt x="5181604" y="1676657"/>
                        <a:pt x="5183478" y="1674315"/>
                        <a:pt x="5184356" y="1674561"/>
                      </a:cubicBezTo>
                      <a:cubicBezTo>
                        <a:pt x="5185480" y="1674866"/>
                        <a:pt x="5187460" y="1676892"/>
                        <a:pt x="5188701" y="1677208"/>
                      </a:cubicBezTo>
                      <a:cubicBezTo>
                        <a:pt x="5191617" y="1677957"/>
                        <a:pt x="5192332" y="1679293"/>
                        <a:pt x="5195400" y="1679410"/>
                      </a:cubicBezTo>
                      <a:cubicBezTo>
                        <a:pt x="5195763" y="1679421"/>
                        <a:pt x="5200740" y="1678730"/>
                        <a:pt x="5199640" y="1678543"/>
                      </a:cubicBezTo>
                      <a:cubicBezTo>
                        <a:pt x="5203294" y="1679199"/>
                        <a:pt x="5214993" y="1687901"/>
                        <a:pt x="5214911" y="1692538"/>
                      </a:cubicBezTo>
                      <a:cubicBezTo>
                        <a:pt x="5208154" y="1692854"/>
                        <a:pt x="5216563" y="1697164"/>
                        <a:pt x="5211468" y="1699003"/>
                      </a:cubicBezTo>
                      <a:cubicBezTo>
                        <a:pt x="5212335" y="1700034"/>
                        <a:pt x="5212909" y="1701451"/>
                        <a:pt x="5213775" y="1702540"/>
                      </a:cubicBezTo>
                      <a:cubicBezTo>
                        <a:pt x="5209255" y="1701123"/>
                        <a:pt x="5190446" y="1698804"/>
                        <a:pt x="5193479" y="1705889"/>
                      </a:cubicBezTo>
                      <a:cubicBezTo>
                        <a:pt x="5188888" y="1705550"/>
                        <a:pt x="5186687" y="1703430"/>
                        <a:pt x="5182834" y="1702036"/>
                      </a:cubicBezTo>
                      <a:cubicBezTo>
                        <a:pt x="5176907" y="1699905"/>
                        <a:pt x="5175221" y="1700197"/>
                        <a:pt x="5168862" y="1701310"/>
                      </a:cubicBezTo>
                      <a:cubicBezTo>
                        <a:pt x="5169740" y="1703266"/>
                        <a:pt x="5169412" y="1705515"/>
                        <a:pt x="5170162" y="1707552"/>
                      </a:cubicBezTo>
                      <a:cubicBezTo>
                        <a:pt x="5168217" y="1708829"/>
                        <a:pt x="5165430" y="1707939"/>
                        <a:pt x="5163006" y="1708653"/>
                      </a:cubicBezTo>
                      <a:cubicBezTo>
                        <a:pt x="5160300" y="1709450"/>
                        <a:pt x="5156272" y="1711921"/>
                        <a:pt x="5153168" y="1711897"/>
                      </a:cubicBezTo>
                      <a:cubicBezTo>
                        <a:pt x="5144993" y="1711851"/>
                        <a:pt x="5143811" y="1700935"/>
                        <a:pt x="5135413" y="1701814"/>
                      </a:cubicBezTo>
                      <a:cubicBezTo>
                        <a:pt x="5136842" y="1700490"/>
                        <a:pt x="5138131" y="1698148"/>
                        <a:pt x="5139431" y="1697082"/>
                      </a:cubicBezTo>
                      <a:cubicBezTo>
                        <a:pt x="5134453" y="1699226"/>
                        <a:pt x="5134980" y="1700151"/>
                        <a:pt x="5130237" y="1700057"/>
                      </a:cubicBezTo>
                      <a:cubicBezTo>
                        <a:pt x="5127262" y="1699998"/>
                        <a:pt x="5121969" y="1698160"/>
                        <a:pt x="5118596" y="1697492"/>
                      </a:cubicBezTo>
                      <a:cubicBezTo>
                        <a:pt x="5119357" y="1701872"/>
                        <a:pt x="5116581" y="1704859"/>
                        <a:pt x="5114169" y="1705960"/>
                      </a:cubicBezTo>
                      <a:cubicBezTo>
                        <a:pt x="5117144" y="1705468"/>
                        <a:pt x="5119720" y="1707142"/>
                        <a:pt x="5116031" y="1709227"/>
                      </a:cubicBezTo>
                      <a:cubicBezTo>
                        <a:pt x="5111815" y="1711628"/>
                        <a:pt x="5105116" y="1708056"/>
                        <a:pt x="5100419" y="1711136"/>
                      </a:cubicBezTo>
                      <a:cubicBezTo>
                        <a:pt x="5096672" y="1713584"/>
                        <a:pt x="5095079" y="1719791"/>
                        <a:pt x="5094107" y="1723457"/>
                      </a:cubicBezTo>
                      <a:cubicBezTo>
                        <a:pt x="5090535" y="1720295"/>
                        <a:pt x="5083976" y="1722309"/>
                        <a:pt x="5079362" y="1720341"/>
                      </a:cubicBezTo>
                      <a:cubicBezTo>
                        <a:pt x="5074244" y="1718175"/>
                        <a:pt x="5069325" y="1712459"/>
                        <a:pt x="5064875" y="1711804"/>
                      </a:cubicBezTo>
                      <a:cubicBezTo>
                        <a:pt x="5066644" y="1716699"/>
                        <a:pt x="5059980" y="1714614"/>
                        <a:pt x="5056958" y="1717004"/>
                      </a:cubicBezTo>
                      <a:cubicBezTo>
                        <a:pt x="5052180" y="1720798"/>
                        <a:pt x="5054440" y="1724347"/>
                        <a:pt x="5045551" y="1725682"/>
                      </a:cubicBezTo>
                      <a:cubicBezTo>
                        <a:pt x="5034847" y="1727298"/>
                        <a:pt x="5022421" y="1728375"/>
                        <a:pt x="5012595" y="1728422"/>
                      </a:cubicBezTo>
                      <a:cubicBezTo>
                        <a:pt x="5014399" y="1724347"/>
                        <a:pt x="5002851" y="1711944"/>
                        <a:pt x="4999607" y="1708220"/>
                      </a:cubicBezTo>
                      <a:cubicBezTo>
                        <a:pt x="5003530" y="1708630"/>
                        <a:pt x="5007969" y="1708630"/>
                        <a:pt x="5012923" y="1706873"/>
                      </a:cubicBezTo>
                      <a:cubicBezTo>
                        <a:pt x="5015324" y="1706018"/>
                        <a:pt x="5016612" y="1703781"/>
                        <a:pt x="5019282" y="1703254"/>
                      </a:cubicBezTo>
                      <a:cubicBezTo>
                        <a:pt x="5021566" y="1702797"/>
                        <a:pt x="5026777" y="1703489"/>
                        <a:pt x="5029307" y="1703652"/>
                      </a:cubicBezTo>
                      <a:cubicBezTo>
                        <a:pt x="5034519" y="1703980"/>
                        <a:pt x="5039250" y="1705163"/>
                        <a:pt x="5044673" y="1704812"/>
                      </a:cubicBezTo>
                      <a:cubicBezTo>
                        <a:pt x="5051465" y="1704355"/>
                        <a:pt x="5057251" y="1699741"/>
                        <a:pt x="5063962" y="1700127"/>
                      </a:cubicBezTo>
                      <a:cubicBezTo>
                        <a:pt x="5057661" y="1692550"/>
                        <a:pt x="5054171" y="1695946"/>
                        <a:pt x="5046090" y="1695677"/>
                      </a:cubicBezTo>
                      <a:cubicBezTo>
                        <a:pt x="5045949" y="1695677"/>
                        <a:pt x="5036428" y="1692702"/>
                        <a:pt x="5036849" y="1692983"/>
                      </a:cubicBezTo>
                      <a:cubicBezTo>
                        <a:pt x="5034566" y="1691484"/>
                        <a:pt x="5030900" y="1692772"/>
                        <a:pt x="5035186" y="1689154"/>
                      </a:cubicBezTo>
                      <a:cubicBezTo>
                        <a:pt x="5031193" y="1686413"/>
                        <a:pt x="5031860" y="1682209"/>
                        <a:pt x="5028253" y="1678894"/>
                      </a:cubicBezTo>
                      <a:cubicBezTo>
                        <a:pt x="5025009" y="1675896"/>
                        <a:pt x="5020699" y="1675475"/>
                        <a:pt x="5017396" y="1672547"/>
                      </a:cubicBezTo>
                      <a:cubicBezTo>
                        <a:pt x="5018017" y="1671821"/>
                        <a:pt x="5017900" y="1672406"/>
                        <a:pt x="5019024" y="1672172"/>
                      </a:cubicBezTo>
                      <a:cubicBezTo>
                        <a:pt x="5016682" y="1668682"/>
                        <a:pt x="5016038" y="1670638"/>
                        <a:pt x="5013766" y="1670556"/>
                      </a:cubicBezTo>
                      <a:cubicBezTo>
                        <a:pt x="5013496" y="1670544"/>
                        <a:pt x="5012899" y="1673167"/>
                        <a:pt x="5011810" y="1673226"/>
                      </a:cubicBezTo>
                      <a:cubicBezTo>
                        <a:pt x="5009784" y="1673331"/>
                        <a:pt x="5008156" y="1671856"/>
                        <a:pt x="5006282" y="1671832"/>
                      </a:cubicBezTo>
                      <a:cubicBezTo>
                        <a:pt x="5002874" y="1671797"/>
                        <a:pt x="4984967" y="1671200"/>
                        <a:pt x="4991784" y="1676107"/>
                      </a:cubicBezTo>
                      <a:cubicBezTo>
                        <a:pt x="4991807" y="1676540"/>
                        <a:pt x="4990261" y="1677946"/>
                        <a:pt x="4990308" y="1678250"/>
                      </a:cubicBezTo>
                      <a:cubicBezTo>
                        <a:pt x="4995379" y="1682396"/>
                        <a:pt x="4984440" y="1682209"/>
                        <a:pt x="4981442" y="1682220"/>
                      </a:cubicBezTo>
                      <a:cubicBezTo>
                        <a:pt x="4987240" y="1676236"/>
                        <a:pt x="4971710" y="1679011"/>
                        <a:pt x="4969110" y="1678437"/>
                      </a:cubicBezTo>
                      <a:cubicBezTo>
                        <a:pt x="4973431" y="1676529"/>
                        <a:pt x="4981899" y="1677220"/>
                        <a:pt x="4983234" y="1672781"/>
                      </a:cubicBezTo>
                      <a:cubicBezTo>
                        <a:pt x="4969051" y="1674866"/>
                        <a:pt x="4969051" y="1668858"/>
                        <a:pt x="4956438" y="1665906"/>
                      </a:cubicBezTo>
                      <a:cubicBezTo>
                        <a:pt x="4947959" y="1663939"/>
                        <a:pt x="4939679" y="1660870"/>
                        <a:pt x="4930942" y="1659090"/>
                      </a:cubicBezTo>
                      <a:cubicBezTo>
                        <a:pt x="4925168" y="1657907"/>
                        <a:pt x="4912321" y="1660976"/>
                        <a:pt x="4910248" y="1656467"/>
                      </a:cubicBezTo>
                      <a:cubicBezTo>
                        <a:pt x="4909756" y="1656853"/>
                        <a:pt x="4908327" y="1657286"/>
                        <a:pt x="4907706" y="1657521"/>
                      </a:cubicBezTo>
                      <a:cubicBezTo>
                        <a:pt x="4908608" y="1658399"/>
                        <a:pt x="4909510" y="1659278"/>
                        <a:pt x="4910412" y="1660156"/>
                      </a:cubicBezTo>
                      <a:cubicBezTo>
                        <a:pt x="4907285" y="1661444"/>
                        <a:pt x="4904287" y="1663552"/>
                        <a:pt x="4901101" y="1664583"/>
                      </a:cubicBezTo>
                      <a:cubicBezTo>
                        <a:pt x="4900410" y="1664805"/>
                        <a:pt x="4893770" y="1665754"/>
                        <a:pt x="4893723" y="1665801"/>
                      </a:cubicBezTo>
                      <a:cubicBezTo>
                        <a:pt x="4890631" y="1669326"/>
                        <a:pt x="4897061" y="1668061"/>
                        <a:pt x="4894894" y="1672910"/>
                      </a:cubicBezTo>
                      <a:cubicBezTo>
                        <a:pt x="4898583" y="1673905"/>
                        <a:pt x="4902495" y="1675510"/>
                        <a:pt x="4901733" y="1679937"/>
                      </a:cubicBezTo>
                      <a:cubicBezTo>
                        <a:pt x="4900621" y="1679105"/>
                        <a:pt x="4873802" y="1681307"/>
                        <a:pt x="4884822" y="1673975"/>
                      </a:cubicBezTo>
                      <a:cubicBezTo>
                        <a:pt x="4871822" y="1671996"/>
                        <a:pt x="4877549" y="1697316"/>
                        <a:pt x="4883627" y="1684914"/>
                      </a:cubicBezTo>
                      <a:cubicBezTo>
                        <a:pt x="4883581" y="1685945"/>
                        <a:pt x="4883792" y="1687338"/>
                        <a:pt x="4883417" y="1688837"/>
                      </a:cubicBezTo>
                      <a:cubicBezTo>
                        <a:pt x="4883944" y="1687971"/>
                        <a:pt x="4887340" y="1684094"/>
                        <a:pt x="4888663" y="1686261"/>
                      </a:cubicBezTo>
                      <a:cubicBezTo>
                        <a:pt x="4889085" y="1686964"/>
                        <a:pt x="4888359" y="1695478"/>
                        <a:pt x="4888781" y="1695056"/>
                      </a:cubicBezTo>
                      <a:cubicBezTo>
                        <a:pt x="4885396" y="1698394"/>
                        <a:pt x="4885443" y="1696216"/>
                        <a:pt x="4880172" y="1695208"/>
                      </a:cubicBezTo>
                      <a:cubicBezTo>
                        <a:pt x="4882316" y="1695618"/>
                        <a:pt x="4876507" y="1697492"/>
                        <a:pt x="4876905" y="1697410"/>
                      </a:cubicBezTo>
                      <a:cubicBezTo>
                        <a:pt x="4878732" y="1697036"/>
                        <a:pt x="4870979" y="1696497"/>
                        <a:pt x="4871764" y="1696567"/>
                      </a:cubicBezTo>
                      <a:cubicBezTo>
                        <a:pt x="4866212" y="1696028"/>
                        <a:pt x="4863952" y="1697445"/>
                        <a:pt x="4860802" y="1693487"/>
                      </a:cubicBezTo>
                      <a:cubicBezTo>
                        <a:pt x="4859326" y="1691636"/>
                        <a:pt x="4860603" y="1688451"/>
                        <a:pt x="4858717" y="1686800"/>
                      </a:cubicBezTo>
                      <a:cubicBezTo>
                        <a:pt x="4853435" y="1682162"/>
                        <a:pt x="4831862" y="1684668"/>
                        <a:pt x="4827482" y="1689587"/>
                      </a:cubicBezTo>
                      <a:cubicBezTo>
                        <a:pt x="4837461" y="1696368"/>
                        <a:pt x="4822716" y="1693838"/>
                        <a:pt x="4821756" y="1693803"/>
                      </a:cubicBezTo>
                      <a:cubicBezTo>
                        <a:pt x="4818734" y="1693674"/>
                        <a:pt x="4814565" y="1691191"/>
                        <a:pt x="4814822" y="1697797"/>
                      </a:cubicBezTo>
                      <a:cubicBezTo>
                        <a:pt x="4808674" y="1696907"/>
                        <a:pt x="4805312" y="1691707"/>
                        <a:pt x="4799398" y="1690360"/>
                      </a:cubicBezTo>
                      <a:cubicBezTo>
                        <a:pt x="4797735" y="1689985"/>
                        <a:pt x="4797185" y="1691929"/>
                        <a:pt x="4795170" y="1691472"/>
                      </a:cubicBezTo>
                      <a:cubicBezTo>
                        <a:pt x="4792840" y="1690934"/>
                        <a:pt x="4791399" y="1688708"/>
                        <a:pt x="4789256" y="1688135"/>
                      </a:cubicBezTo>
                      <a:cubicBezTo>
                        <a:pt x="4785473" y="1687139"/>
                        <a:pt x="4781655" y="1688509"/>
                        <a:pt x="4777919" y="1688006"/>
                      </a:cubicBezTo>
                      <a:cubicBezTo>
                        <a:pt x="4770014" y="1686952"/>
                        <a:pt x="4765880" y="1677653"/>
                        <a:pt x="4756569" y="1680897"/>
                      </a:cubicBezTo>
                      <a:cubicBezTo>
                        <a:pt x="4749214" y="1683450"/>
                        <a:pt x="4748874" y="1695935"/>
                        <a:pt x="4753114" y="1699694"/>
                      </a:cubicBezTo>
                      <a:cubicBezTo>
                        <a:pt x="4752505" y="1700549"/>
                        <a:pt x="4751721" y="1701076"/>
                        <a:pt x="4751030" y="1702224"/>
                      </a:cubicBezTo>
                      <a:cubicBezTo>
                        <a:pt x="4743394" y="1697563"/>
                        <a:pt x="4742176" y="1705339"/>
                        <a:pt x="4736788" y="1705386"/>
                      </a:cubicBezTo>
                      <a:cubicBezTo>
                        <a:pt x="4736425" y="1705386"/>
                        <a:pt x="4726506" y="1699378"/>
                        <a:pt x="4725944" y="1698125"/>
                      </a:cubicBezTo>
                      <a:cubicBezTo>
                        <a:pt x="4724105" y="1693990"/>
                        <a:pt x="4727677" y="1693323"/>
                        <a:pt x="4729527" y="1689657"/>
                      </a:cubicBezTo>
                      <a:cubicBezTo>
                        <a:pt x="4733380" y="1682033"/>
                        <a:pt x="4732174" y="1687057"/>
                        <a:pt x="4724690" y="1684012"/>
                      </a:cubicBezTo>
                      <a:cubicBezTo>
                        <a:pt x="4724667" y="1685265"/>
                        <a:pt x="4724175" y="1686530"/>
                        <a:pt x="4724210" y="1687807"/>
                      </a:cubicBezTo>
                      <a:cubicBezTo>
                        <a:pt x="4721270" y="1686682"/>
                        <a:pt x="4718518" y="1685066"/>
                        <a:pt x="4717195" y="1682443"/>
                      </a:cubicBezTo>
                      <a:cubicBezTo>
                        <a:pt x="4712206" y="1684961"/>
                        <a:pt x="4704265" y="1684996"/>
                        <a:pt x="4698679" y="1685394"/>
                      </a:cubicBezTo>
                      <a:cubicBezTo>
                        <a:pt x="4689556" y="1686050"/>
                        <a:pt x="4679589" y="1687420"/>
                        <a:pt x="4669646" y="1686706"/>
                      </a:cubicBezTo>
                      <a:cubicBezTo>
                        <a:pt x="4670618" y="1686284"/>
                        <a:pt x="4671063" y="1686038"/>
                        <a:pt x="4671825" y="1685605"/>
                      </a:cubicBezTo>
                      <a:cubicBezTo>
                        <a:pt x="4668499" y="1685605"/>
                        <a:pt x="4665184" y="1685605"/>
                        <a:pt x="4661846" y="1685605"/>
                      </a:cubicBezTo>
                      <a:cubicBezTo>
                        <a:pt x="4663416" y="1686237"/>
                        <a:pt x="4664095" y="1686823"/>
                        <a:pt x="4666074" y="1687186"/>
                      </a:cubicBezTo>
                      <a:cubicBezTo>
                        <a:pt x="4660371" y="1687186"/>
                        <a:pt x="4654609" y="1687514"/>
                        <a:pt x="4648928" y="1686706"/>
                      </a:cubicBezTo>
                      <a:cubicBezTo>
                        <a:pt x="4650381" y="1686694"/>
                        <a:pt x="4651786" y="1686647"/>
                        <a:pt x="4653238" y="1686706"/>
                      </a:cubicBezTo>
                      <a:cubicBezTo>
                        <a:pt x="4650193" y="1684012"/>
                        <a:pt x="4644560" y="1685734"/>
                        <a:pt x="4640566" y="1685734"/>
                      </a:cubicBezTo>
                      <a:cubicBezTo>
                        <a:pt x="4633387" y="1685746"/>
                        <a:pt x="4626993" y="1683895"/>
                        <a:pt x="4620786" y="1685336"/>
                      </a:cubicBezTo>
                      <a:cubicBezTo>
                        <a:pt x="4613279" y="1687069"/>
                        <a:pt x="4606861" y="1692234"/>
                        <a:pt x="4598979" y="1691086"/>
                      </a:cubicBezTo>
                      <a:cubicBezTo>
                        <a:pt x="4593873" y="1690348"/>
                        <a:pt x="4589164" y="1684375"/>
                        <a:pt x="4584960" y="1688240"/>
                      </a:cubicBezTo>
                      <a:cubicBezTo>
                        <a:pt x="4585358" y="1688322"/>
                        <a:pt x="4585721" y="1688509"/>
                        <a:pt x="4586038" y="1688802"/>
                      </a:cubicBezTo>
                      <a:cubicBezTo>
                        <a:pt x="4564617" y="1694927"/>
                        <a:pt x="4537048" y="1701931"/>
                        <a:pt x="4522772" y="1720412"/>
                      </a:cubicBezTo>
                      <a:cubicBezTo>
                        <a:pt x="4515159" y="1730261"/>
                        <a:pt x="4510639" y="1740321"/>
                        <a:pt x="4500040" y="1747465"/>
                      </a:cubicBezTo>
                      <a:cubicBezTo>
                        <a:pt x="4496210" y="1750054"/>
                        <a:pt x="4490530" y="1754340"/>
                        <a:pt x="4486349" y="1756038"/>
                      </a:cubicBezTo>
                      <a:cubicBezTo>
                        <a:pt x="4481524" y="1758006"/>
                        <a:pt x="4477694" y="1757549"/>
                        <a:pt x="4472693" y="1760535"/>
                      </a:cubicBezTo>
                      <a:cubicBezTo>
                        <a:pt x="4463453" y="1766051"/>
                        <a:pt x="4457749" y="1773922"/>
                        <a:pt x="4453709" y="1783806"/>
                      </a:cubicBezTo>
                      <a:cubicBezTo>
                        <a:pt x="4450207" y="1792391"/>
                        <a:pt x="4448989" y="1801444"/>
                        <a:pt x="4442466" y="1806960"/>
                      </a:cubicBezTo>
                      <a:cubicBezTo>
                        <a:pt x="4436598" y="1811914"/>
                        <a:pt x="4432289" y="1809396"/>
                        <a:pt x="4424945" y="1813003"/>
                      </a:cubicBezTo>
                      <a:cubicBezTo>
                        <a:pt x="4416841" y="1816973"/>
                        <a:pt x="4414487" y="1827338"/>
                        <a:pt x="4408222" y="1830875"/>
                      </a:cubicBezTo>
                      <a:cubicBezTo>
                        <a:pt x="4406125" y="1832069"/>
                        <a:pt x="4403174" y="1831167"/>
                        <a:pt x="4400679" y="1833100"/>
                      </a:cubicBezTo>
                      <a:cubicBezTo>
                        <a:pt x="4398009" y="1835161"/>
                        <a:pt x="4398501" y="1837785"/>
                        <a:pt x="4396533" y="1840057"/>
                      </a:cubicBezTo>
                      <a:cubicBezTo>
                        <a:pt x="4394296" y="1842645"/>
                        <a:pt x="4391556" y="1843570"/>
                        <a:pt x="4389518" y="1844413"/>
                      </a:cubicBezTo>
                      <a:cubicBezTo>
                        <a:pt x="4382550" y="1847271"/>
                        <a:pt x="4372607" y="1847376"/>
                        <a:pt x="4370370" y="1856898"/>
                      </a:cubicBezTo>
                      <a:cubicBezTo>
                        <a:pt x="4362078" y="1853736"/>
                        <a:pt x="4367055" y="1870870"/>
                        <a:pt x="4358904" y="1864990"/>
                      </a:cubicBezTo>
                      <a:cubicBezTo>
                        <a:pt x="4355847" y="1870905"/>
                        <a:pt x="4341384" y="1870331"/>
                        <a:pt x="4347228" y="1883389"/>
                      </a:cubicBezTo>
                      <a:cubicBezTo>
                        <a:pt x="4344698" y="1882663"/>
                        <a:pt x="4345049" y="1881398"/>
                        <a:pt x="4345541" y="1877803"/>
                      </a:cubicBezTo>
                      <a:cubicBezTo>
                        <a:pt x="4342461" y="1877979"/>
                        <a:pt x="4330340" y="1891775"/>
                        <a:pt x="4330445" y="1895897"/>
                      </a:cubicBezTo>
                      <a:cubicBezTo>
                        <a:pt x="4321943" y="1894222"/>
                        <a:pt x="4320057" y="1907937"/>
                        <a:pt x="4330305" y="1907000"/>
                      </a:cubicBezTo>
                      <a:cubicBezTo>
                        <a:pt x="4329825" y="1907878"/>
                        <a:pt x="4329052" y="1909377"/>
                        <a:pt x="4328513" y="1910103"/>
                      </a:cubicBezTo>
                      <a:cubicBezTo>
                        <a:pt x="4322915" y="1906473"/>
                        <a:pt x="4320526" y="1910572"/>
                        <a:pt x="4316883" y="1913582"/>
                      </a:cubicBezTo>
                      <a:cubicBezTo>
                        <a:pt x="4314611" y="1915455"/>
                        <a:pt x="4313311" y="1914659"/>
                        <a:pt x="4311262" y="1917107"/>
                      </a:cubicBezTo>
                      <a:cubicBezTo>
                        <a:pt x="4309552" y="1919156"/>
                        <a:pt x="4306928" y="1923724"/>
                        <a:pt x="4306015" y="1925094"/>
                      </a:cubicBezTo>
                      <a:cubicBezTo>
                        <a:pt x="4299738" y="1934463"/>
                        <a:pt x="4289420" y="1934053"/>
                        <a:pt x="4285110" y="1945367"/>
                      </a:cubicBezTo>
                      <a:cubicBezTo>
                        <a:pt x="4279676" y="1940928"/>
                        <a:pt x="4267871" y="1954736"/>
                        <a:pt x="4265329" y="1956563"/>
                      </a:cubicBezTo>
                      <a:cubicBezTo>
                        <a:pt x="4262202" y="1958776"/>
                        <a:pt x="4258021" y="1961622"/>
                        <a:pt x="4254636" y="1964117"/>
                      </a:cubicBezTo>
                      <a:cubicBezTo>
                        <a:pt x="4250819" y="1966939"/>
                        <a:pt x="4245923" y="1967256"/>
                        <a:pt x="4242058" y="1969001"/>
                      </a:cubicBezTo>
                      <a:cubicBezTo>
                        <a:pt x="4239950" y="1969961"/>
                        <a:pt x="4234692" y="1973275"/>
                        <a:pt x="4232350" y="1975582"/>
                      </a:cubicBezTo>
                      <a:cubicBezTo>
                        <a:pt x="4228133" y="1979752"/>
                        <a:pt x="4228286" y="1984530"/>
                        <a:pt x="4224034" y="1988606"/>
                      </a:cubicBezTo>
                      <a:cubicBezTo>
                        <a:pt x="4218483" y="1993923"/>
                        <a:pt x="4208915" y="1999099"/>
                        <a:pt x="4201970" y="2002519"/>
                      </a:cubicBezTo>
                      <a:cubicBezTo>
                        <a:pt x="4194310" y="2006290"/>
                        <a:pt x="4186756" y="2008843"/>
                        <a:pt x="4180139" y="2014476"/>
                      </a:cubicBezTo>
                      <a:cubicBezTo>
                        <a:pt x="4171391" y="2021925"/>
                        <a:pt x="4167385" y="2024220"/>
                        <a:pt x="4174225" y="2034515"/>
                      </a:cubicBezTo>
                      <a:cubicBezTo>
                        <a:pt x="4173370" y="2035171"/>
                        <a:pt x="4173464" y="2035253"/>
                        <a:pt x="4173136" y="2035979"/>
                      </a:cubicBezTo>
                      <a:cubicBezTo>
                        <a:pt x="4177785" y="2033449"/>
                        <a:pt x="4191359" y="2036119"/>
                        <a:pt x="4195341" y="2038895"/>
                      </a:cubicBezTo>
                      <a:cubicBezTo>
                        <a:pt x="4201618" y="2043263"/>
                        <a:pt x="4194826" y="2045570"/>
                        <a:pt x="4207006" y="2044411"/>
                      </a:cubicBezTo>
                      <a:cubicBezTo>
                        <a:pt x="4214372" y="2043708"/>
                        <a:pt x="4221504" y="2042244"/>
                        <a:pt x="4228520" y="2042619"/>
                      </a:cubicBezTo>
                      <a:cubicBezTo>
                        <a:pt x="4237210" y="2043076"/>
                        <a:pt x="4242082" y="2045442"/>
                        <a:pt x="4247106" y="2037150"/>
                      </a:cubicBezTo>
                      <a:cubicBezTo>
                        <a:pt x="4245677" y="2044692"/>
                        <a:pt x="4250326" y="2039387"/>
                        <a:pt x="4252271" y="2040066"/>
                      </a:cubicBezTo>
                      <a:cubicBezTo>
                        <a:pt x="4255445" y="2041179"/>
                        <a:pt x="4255491" y="2040874"/>
                        <a:pt x="4258642" y="2043919"/>
                      </a:cubicBezTo>
                      <a:cubicBezTo>
                        <a:pt x="4256007" y="2046461"/>
                        <a:pt x="4254285" y="2048955"/>
                        <a:pt x="4256464" y="2051356"/>
                      </a:cubicBezTo>
                      <a:cubicBezTo>
                        <a:pt x="4256393" y="2055924"/>
                        <a:pt x="4251345" y="2054214"/>
                        <a:pt x="4251076" y="2056720"/>
                      </a:cubicBezTo>
                      <a:cubicBezTo>
                        <a:pt x="4250631" y="2060749"/>
                        <a:pt x="4258817" y="2064485"/>
                        <a:pt x="4251954" y="2065094"/>
                      </a:cubicBezTo>
                      <a:cubicBezTo>
                        <a:pt x="4252880" y="2065972"/>
                        <a:pt x="4253161" y="2067576"/>
                        <a:pt x="4255046" y="2068584"/>
                      </a:cubicBezTo>
                      <a:cubicBezTo>
                        <a:pt x="4249823" y="2071594"/>
                        <a:pt x="4255339" y="2072296"/>
                        <a:pt x="4254836" y="2075880"/>
                      </a:cubicBezTo>
                      <a:cubicBezTo>
                        <a:pt x="4254086" y="2081138"/>
                        <a:pt x="4250174" y="2082462"/>
                        <a:pt x="4248453" y="2086608"/>
                      </a:cubicBezTo>
                      <a:cubicBezTo>
                        <a:pt x="4247258" y="2089489"/>
                        <a:pt x="4245642" y="2097242"/>
                        <a:pt x="4248254" y="2100099"/>
                      </a:cubicBezTo>
                      <a:cubicBezTo>
                        <a:pt x="4252693" y="2104936"/>
                        <a:pt x="4253711" y="2100041"/>
                        <a:pt x="4256299" y="2099163"/>
                      </a:cubicBezTo>
                      <a:cubicBezTo>
                        <a:pt x="4263760" y="2096644"/>
                        <a:pt x="4270224" y="2101353"/>
                        <a:pt x="4274792" y="2096047"/>
                      </a:cubicBezTo>
                      <a:cubicBezTo>
                        <a:pt x="4275670" y="2095028"/>
                        <a:pt x="4280320" y="2084582"/>
                        <a:pt x="4279699" y="2083293"/>
                      </a:cubicBezTo>
                      <a:cubicBezTo>
                        <a:pt x="4278750" y="2081361"/>
                        <a:pt x="4275120" y="2084500"/>
                        <a:pt x="4273703" y="2083469"/>
                      </a:cubicBezTo>
                      <a:cubicBezTo>
                        <a:pt x="4271571" y="2081923"/>
                        <a:pt x="4270447" y="2077976"/>
                        <a:pt x="4267917" y="2075974"/>
                      </a:cubicBezTo>
                      <a:cubicBezTo>
                        <a:pt x="4277568" y="2070926"/>
                        <a:pt x="4281022" y="2065094"/>
                        <a:pt x="4291411" y="2064449"/>
                      </a:cubicBezTo>
                      <a:cubicBezTo>
                        <a:pt x="4292523" y="2064379"/>
                        <a:pt x="4300183" y="2063325"/>
                        <a:pt x="4300510" y="2063407"/>
                      </a:cubicBezTo>
                      <a:cubicBezTo>
                        <a:pt x="4304551" y="2064391"/>
                        <a:pt x="4302220" y="2063208"/>
                        <a:pt x="4300417" y="2066593"/>
                      </a:cubicBezTo>
                      <a:cubicBezTo>
                        <a:pt x="4297723" y="2071640"/>
                        <a:pt x="4290181" y="2074170"/>
                        <a:pt x="4289947" y="2080354"/>
                      </a:cubicBezTo>
                      <a:cubicBezTo>
                        <a:pt x="4289455" y="2079265"/>
                        <a:pt x="4288284" y="2075821"/>
                        <a:pt x="4285812" y="2075903"/>
                      </a:cubicBezTo>
                      <a:cubicBezTo>
                        <a:pt x="4275518" y="2076278"/>
                        <a:pt x="4282756" y="2081583"/>
                        <a:pt x="4284770" y="2083200"/>
                      </a:cubicBezTo>
                      <a:cubicBezTo>
                        <a:pt x="4290532" y="2087826"/>
                        <a:pt x="4302150" y="2092920"/>
                        <a:pt x="4309692" y="2088739"/>
                      </a:cubicBezTo>
                      <a:cubicBezTo>
                        <a:pt x="4306800" y="2093389"/>
                        <a:pt x="4301600" y="2094326"/>
                        <a:pt x="4298250" y="2097347"/>
                      </a:cubicBezTo>
                      <a:cubicBezTo>
                        <a:pt x="4295803" y="2099549"/>
                        <a:pt x="4295755" y="2101774"/>
                        <a:pt x="4293976" y="2104597"/>
                      </a:cubicBezTo>
                      <a:cubicBezTo>
                        <a:pt x="4292547" y="2106880"/>
                        <a:pt x="4290813" y="2109082"/>
                        <a:pt x="4288237" y="2110242"/>
                      </a:cubicBezTo>
                      <a:cubicBezTo>
                        <a:pt x="4286421" y="2111050"/>
                        <a:pt x="4276514" y="2111471"/>
                        <a:pt x="4276057" y="2114950"/>
                      </a:cubicBezTo>
                      <a:cubicBezTo>
                        <a:pt x="4274429" y="2127247"/>
                        <a:pt x="4315033" y="2113708"/>
                        <a:pt x="4319331" y="2111366"/>
                      </a:cubicBezTo>
                      <a:cubicBezTo>
                        <a:pt x="4322915" y="2109422"/>
                        <a:pt x="4326580" y="2109422"/>
                        <a:pt x="4329626" y="2106330"/>
                      </a:cubicBezTo>
                      <a:cubicBezTo>
                        <a:pt x="4332811" y="2103086"/>
                        <a:pt x="4331827" y="2101423"/>
                        <a:pt x="4334205" y="2097007"/>
                      </a:cubicBezTo>
                      <a:cubicBezTo>
                        <a:pt x="4337413" y="2091023"/>
                        <a:pt x="4341372" y="2090437"/>
                        <a:pt x="4347041" y="2086467"/>
                      </a:cubicBezTo>
                      <a:cubicBezTo>
                        <a:pt x="4346209" y="2089770"/>
                        <a:pt x="4348258" y="2093787"/>
                        <a:pt x="4347345" y="2096867"/>
                      </a:cubicBezTo>
                      <a:cubicBezTo>
                        <a:pt x="4345635" y="2102617"/>
                        <a:pt x="4340130" y="2105007"/>
                        <a:pt x="4336278" y="2109398"/>
                      </a:cubicBezTo>
                      <a:cubicBezTo>
                        <a:pt x="4334860" y="2111015"/>
                        <a:pt x="4332952" y="2114329"/>
                        <a:pt x="4332085" y="2115711"/>
                      </a:cubicBezTo>
                      <a:cubicBezTo>
                        <a:pt x="4330621" y="2118006"/>
                        <a:pt x="4328806" y="2119505"/>
                        <a:pt x="4328114" y="2122667"/>
                      </a:cubicBezTo>
                      <a:cubicBezTo>
                        <a:pt x="4332038" y="2118498"/>
                        <a:pt x="4336816" y="2122726"/>
                        <a:pt x="4341548" y="2120232"/>
                      </a:cubicBezTo>
                      <a:cubicBezTo>
                        <a:pt x="4345904" y="2117936"/>
                        <a:pt x="4348938" y="2110359"/>
                        <a:pt x="4350659" y="2106330"/>
                      </a:cubicBezTo>
                      <a:cubicBezTo>
                        <a:pt x="4352592" y="2101809"/>
                        <a:pt x="4351713" y="2098284"/>
                        <a:pt x="4352802" y="2094525"/>
                      </a:cubicBezTo>
                      <a:cubicBezTo>
                        <a:pt x="4354571" y="2088446"/>
                        <a:pt x="4357979" y="2086092"/>
                        <a:pt x="4356878" y="2078925"/>
                      </a:cubicBezTo>
                      <a:cubicBezTo>
                        <a:pt x="4355426" y="2079838"/>
                        <a:pt x="4352299" y="2080401"/>
                        <a:pt x="4351549" y="2080869"/>
                      </a:cubicBezTo>
                      <a:cubicBezTo>
                        <a:pt x="4354513" y="2076454"/>
                        <a:pt x="4359173" y="2066054"/>
                        <a:pt x="4350437" y="2065105"/>
                      </a:cubicBezTo>
                      <a:cubicBezTo>
                        <a:pt x="4356117" y="2061194"/>
                        <a:pt x="4366411" y="2068443"/>
                        <a:pt x="4372466" y="2070059"/>
                      </a:cubicBezTo>
                      <a:cubicBezTo>
                        <a:pt x="4381976" y="2072612"/>
                        <a:pt x="4387738" y="2073093"/>
                        <a:pt x="4397060" y="2069321"/>
                      </a:cubicBezTo>
                      <a:cubicBezTo>
                        <a:pt x="4402998" y="2066921"/>
                        <a:pt x="4406430" y="2063758"/>
                        <a:pt x="4410833" y="2066511"/>
                      </a:cubicBezTo>
                      <a:cubicBezTo>
                        <a:pt x="4412461" y="2067518"/>
                        <a:pt x="4410821" y="2075048"/>
                        <a:pt x="4416947" y="2072062"/>
                      </a:cubicBezTo>
                      <a:cubicBezTo>
                        <a:pt x="4416911" y="2075962"/>
                        <a:pt x="4421350" y="2076852"/>
                        <a:pt x="4424465" y="2078445"/>
                      </a:cubicBezTo>
                      <a:cubicBezTo>
                        <a:pt x="4427241" y="2079874"/>
                        <a:pt x="4431398" y="2080319"/>
                        <a:pt x="4433753" y="2082333"/>
                      </a:cubicBezTo>
                      <a:cubicBezTo>
                        <a:pt x="4434900" y="2083305"/>
                        <a:pt x="4432336" y="2084886"/>
                        <a:pt x="4433237" y="2085928"/>
                      </a:cubicBezTo>
                      <a:cubicBezTo>
                        <a:pt x="4434373" y="2087217"/>
                        <a:pt x="4438297" y="2088118"/>
                        <a:pt x="4438437" y="2089149"/>
                      </a:cubicBezTo>
                      <a:cubicBezTo>
                        <a:pt x="4438777" y="2091585"/>
                        <a:pt x="4434233" y="2092569"/>
                        <a:pt x="4434549" y="2095415"/>
                      </a:cubicBezTo>
                      <a:cubicBezTo>
                        <a:pt x="4435182" y="2100779"/>
                        <a:pt x="4442548" y="2101177"/>
                        <a:pt x="4445382" y="2104058"/>
                      </a:cubicBezTo>
                      <a:cubicBezTo>
                        <a:pt x="4446705" y="2105416"/>
                        <a:pt x="4448474" y="2109035"/>
                        <a:pt x="4449352" y="2109843"/>
                      </a:cubicBezTo>
                      <a:cubicBezTo>
                        <a:pt x="4457152" y="2116976"/>
                        <a:pt x="4468419" y="2120407"/>
                        <a:pt x="4478467" y="2123862"/>
                      </a:cubicBezTo>
                      <a:cubicBezTo>
                        <a:pt x="4474345" y="2122632"/>
                        <a:pt x="4469285" y="2121133"/>
                        <a:pt x="4469754" y="2126579"/>
                      </a:cubicBezTo>
                      <a:cubicBezTo>
                        <a:pt x="4474930" y="2124471"/>
                        <a:pt x="4478573" y="2130901"/>
                        <a:pt x="4482999" y="2133173"/>
                      </a:cubicBezTo>
                      <a:cubicBezTo>
                        <a:pt x="4487602" y="2135538"/>
                        <a:pt x="4499782" y="2134883"/>
                        <a:pt x="4492029" y="2141874"/>
                      </a:cubicBezTo>
                      <a:cubicBezTo>
                        <a:pt x="4492521" y="2141722"/>
                        <a:pt x="4493821" y="2141757"/>
                        <a:pt x="4494840" y="2141347"/>
                      </a:cubicBezTo>
                      <a:cubicBezTo>
                        <a:pt x="4497452" y="2146946"/>
                        <a:pt x="4491092" y="2148234"/>
                        <a:pt x="4492380" y="2152321"/>
                      </a:cubicBezTo>
                      <a:cubicBezTo>
                        <a:pt x="4489090" y="2150576"/>
                        <a:pt x="4485037" y="2151056"/>
                        <a:pt x="4483082" y="2154499"/>
                      </a:cubicBezTo>
                      <a:cubicBezTo>
                        <a:pt x="4484358" y="2154535"/>
                        <a:pt x="4485611" y="2155038"/>
                        <a:pt x="4487005" y="2154980"/>
                      </a:cubicBezTo>
                      <a:cubicBezTo>
                        <a:pt x="4480282" y="2166586"/>
                        <a:pt x="4466533" y="2144205"/>
                        <a:pt x="4458054" y="2149663"/>
                      </a:cubicBezTo>
                      <a:cubicBezTo>
                        <a:pt x="4461204" y="2150787"/>
                        <a:pt x="4468548" y="2154218"/>
                        <a:pt x="4470527" y="2156256"/>
                      </a:cubicBezTo>
                      <a:cubicBezTo>
                        <a:pt x="4471253" y="2157006"/>
                        <a:pt x="4471147" y="2160824"/>
                        <a:pt x="4472518" y="2162452"/>
                      </a:cubicBezTo>
                      <a:cubicBezTo>
                        <a:pt x="4474813" y="2165157"/>
                        <a:pt x="4483046" y="2167956"/>
                        <a:pt x="4486946" y="2167933"/>
                      </a:cubicBezTo>
                      <a:cubicBezTo>
                        <a:pt x="4480411" y="2173964"/>
                        <a:pt x="4489031" y="2175159"/>
                        <a:pt x="4489616" y="2181331"/>
                      </a:cubicBezTo>
                      <a:cubicBezTo>
                        <a:pt x="4490308" y="2188568"/>
                        <a:pt x="4479545" y="2192620"/>
                        <a:pt x="4480048" y="2198137"/>
                      </a:cubicBezTo>
                      <a:cubicBezTo>
                        <a:pt x="4480400" y="2201849"/>
                        <a:pt x="4490776" y="2210352"/>
                        <a:pt x="4493751" y="2211558"/>
                      </a:cubicBezTo>
                      <a:cubicBezTo>
                        <a:pt x="4498751" y="2213572"/>
                        <a:pt x="4503085" y="2210574"/>
                        <a:pt x="4502089" y="2217238"/>
                      </a:cubicBezTo>
                      <a:cubicBezTo>
                        <a:pt x="4497135" y="2213139"/>
                        <a:pt x="4487766" y="2222743"/>
                        <a:pt x="4489581" y="2227111"/>
                      </a:cubicBezTo>
                      <a:cubicBezTo>
                        <a:pt x="4490635" y="2229641"/>
                        <a:pt x="4496398" y="2228891"/>
                        <a:pt x="4495566" y="2232908"/>
                      </a:cubicBezTo>
                      <a:cubicBezTo>
                        <a:pt x="4495449" y="2233435"/>
                        <a:pt x="4484827" y="2239057"/>
                        <a:pt x="4483550" y="2240626"/>
                      </a:cubicBezTo>
                      <a:cubicBezTo>
                        <a:pt x="4481758" y="2242839"/>
                        <a:pt x="4481149" y="2248332"/>
                        <a:pt x="4479369" y="2249831"/>
                      </a:cubicBezTo>
                      <a:cubicBezTo>
                        <a:pt x="4476710" y="2252056"/>
                        <a:pt x="4472483" y="2250546"/>
                        <a:pt x="4469859" y="2253579"/>
                      </a:cubicBezTo>
                      <a:cubicBezTo>
                        <a:pt x="4468266" y="2255418"/>
                        <a:pt x="4469871" y="2256366"/>
                        <a:pt x="4468794" y="2258111"/>
                      </a:cubicBezTo>
                      <a:cubicBezTo>
                        <a:pt x="4467939" y="2259505"/>
                        <a:pt x="4468372" y="2262093"/>
                        <a:pt x="4467716" y="2263674"/>
                      </a:cubicBezTo>
                      <a:cubicBezTo>
                        <a:pt x="4467388" y="2264459"/>
                        <a:pt x="4464343" y="2263007"/>
                        <a:pt x="4464144" y="2263838"/>
                      </a:cubicBezTo>
                      <a:cubicBezTo>
                        <a:pt x="4463395" y="2267071"/>
                        <a:pt x="4463113" y="2269776"/>
                        <a:pt x="4467950" y="2267422"/>
                      </a:cubicBezTo>
                      <a:cubicBezTo>
                        <a:pt x="4467365" y="2274882"/>
                        <a:pt x="4453135" y="2272610"/>
                        <a:pt x="4458441" y="2278993"/>
                      </a:cubicBezTo>
                      <a:cubicBezTo>
                        <a:pt x="4452292" y="2282951"/>
                        <a:pt x="4460420" y="2294815"/>
                        <a:pt x="4456344" y="2300601"/>
                      </a:cubicBezTo>
                      <a:cubicBezTo>
                        <a:pt x="4455524" y="2301760"/>
                        <a:pt x="4452936" y="2301116"/>
                        <a:pt x="4452503" y="2301959"/>
                      </a:cubicBezTo>
                      <a:cubicBezTo>
                        <a:pt x="4451379" y="2304102"/>
                        <a:pt x="4450277" y="2307335"/>
                        <a:pt x="4449786" y="2308342"/>
                      </a:cubicBezTo>
                      <a:cubicBezTo>
                        <a:pt x="4448380" y="2311200"/>
                        <a:pt x="4446190" y="2314198"/>
                        <a:pt x="4445452" y="2317372"/>
                      </a:cubicBezTo>
                      <a:cubicBezTo>
                        <a:pt x="4445241" y="2318262"/>
                        <a:pt x="4446483" y="2324235"/>
                        <a:pt x="4446471" y="2324035"/>
                      </a:cubicBezTo>
                      <a:cubicBezTo>
                        <a:pt x="4446612" y="2326354"/>
                        <a:pt x="4444797" y="2328181"/>
                        <a:pt x="4445019" y="2330641"/>
                      </a:cubicBezTo>
                      <a:cubicBezTo>
                        <a:pt x="4445347" y="2334576"/>
                        <a:pt x="4448790" y="2339026"/>
                        <a:pt x="4448954" y="2343465"/>
                      </a:cubicBezTo>
                      <a:cubicBezTo>
                        <a:pt x="4449130" y="2348068"/>
                        <a:pt x="4446823" y="2365506"/>
                        <a:pt x="4457023" y="2358503"/>
                      </a:cubicBezTo>
                      <a:cubicBezTo>
                        <a:pt x="4456766" y="2363363"/>
                        <a:pt x="4446940" y="2366021"/>
                        <a:pt x="4444832" y="2370636"/>
                      </a:cubicBezTo>
                      <a:cubicBezTo>
                        <a:pt x="4441763" y="2377358"/>
                        <a:pt x="4447420" y="2376421"/>
                        <a:pt x="4449223" y="2381012"/>
                      </a:cubicBezTo>
                      <a:cubicBezTo>
                        <a:pt x="4449879" y="2382652"/>
                        <a:pt x="4448708" y="2387067"/>
                        <a:pt x="4448673" y="2389116"/>
                      </a:cubicBezTo>
                      <a:cubicBezTo>
                        <a:pt x="4448626" y="2391517"/>
                        <a:pt x="4450406" y="2392946"/>
                        <a:pt x="4450078" y="2395394"/>
                      </a:cubicBezTo>
                      <a:cubicBezTo>
                        <a:pt x="4449235" y="2401624"/>
                        <a:pt x="4444246" y="2405723"/>
                        <a:pt x="4443942" y="2413383"/>
                      </a:cubicBezTo>
                      <a:cubicBezTo>
                        <a:pt x="4442560" y="2413430"/>
                        <a:pt x="4439819" y="2414003"/>
                        <a:pt x="4438742" y="2413839"/>
                      </a:cubicBezTo>
                      <a:cubicBezTo>
                        <a:pt x="4439386" y="2413921"/>
                        <a:pt x="4440124" y="2414249"/>
                        <a:pt x="4441283" y="2414249"/>
                      </a:cubicBezTo>
                      <a:cubicBezTo>
                        <a:pt x="4440452" y="2415608"/>
                        <a:pt x="4440088" y="2418243"/>
                        <a:pt x="4439503" y="2419883"/>
                      </a:cubicBezTo>
                      <a:cubicBezTo>
                        <a:pt x="4439761" y="2419824"/>
                        <a:pt x="4440287" y="2418911"/>
                        <a:pt x="4440569" y="2418911"/>
                      </a:cubicBezTo>
                      <a:cubicBezTo>
                        <a:pt x="4440569" y="2419028"/>
                        <a:pt x="4440744" y="2419356"/>
                        <a:pt x="4440885" y="2419379"/>
                      </a:cubicBezTo>
                      <a:cubicBezTo>
                        <a:pt x="4440264" y="2422928"/>
                        <a:pt x="4441494" y="2427156"/>
                        <a:pt x="4436610" y="2427284"/>
                      </a:cubicBezTo>
                      <a:cubicBezTo>
                        <a:pt x="4441306" y="2430247"/>
                        <a:pt x="4436985" y="2432039"/>
                        <a:pt x="4432663" y="2432309"/>
                      </a:cubicBezTo>
                      <a:cubicBezTo>
                        <a:pt x="4433554" y="2432683"/>
                        <a:pt x="4434877" y="2433035"/>
                        <a:pt x="4435533" y="2433222"/>
                      </a:cubicBezTo>
                      <a:cubicBezTo>
                        <a:pt x="4435416" y="2433737"/>
                        <a:pt x="4433999" y="2434030"/>
                        <a:pt x="4434186" y="2434827"/>
                      </a:cubicBezTo>
                      <a:cubicBezTo>
                        <a:pt x="4435779" y="2435436"/>
                        <a:pt x="4435685" y="2434827"/>
                        <a:pt x="4436938" y="2435553"/>
                      </a:cubicBezTo>
                      <a:cubicBezTo>
                        <a:pt x="4437735" y="2431758"/>
                        <a:pt x="4439678" y="2431501"/>
                        <a:pt x="4441986" y="2433714"/>
                      </a:cubicBezTo>
                      <a:cubicBezTo>
                        <a:pt x="4439936" y="2439394"/>
                        <a:pt x="4435732" y="2442064"/>
                        <a:pt x="4433261" y="2447253"/>
                      </a:cubicBezTo>
                      <a:cubicBezTo>
                        <a:pt x="4430626" y="2452769"/>
                        <a:pt x="4431750" y="2459233"/>
                        <a:pt x="4430942" y="2463930"/>
                      </a:cubicBezTo>
                      <a:cubicBezTo>
                        <a:pt x="4428775" y="2476262"/>
                        <a:pt x="4417767" y="2478534"/>
                        <a:pt x="4409369" y="2487540"/>
                      </a:cubicBezTo>
                      <a:cubicBezTo>
                        <a:pt x="4399426" y="2498198"/>
                        <a:pt x="4386731" y="2507520"/>
                        <a:pt x="4380032" y="2520520"/>
                      </a:cubicBezTo>
                      <a:cubicBezTo>
                        <a:pt x="4376834" y="2526727"/>
                        <a:pt x="4373555" y="2535721"/>
                        <a:pt x="4369585" y="2541472"/>
                      </a:cubicBezTo>
                      <a:cubicBezTo>
                        <a:pt x="4362476" y="2551766"/>
                        <a:pt x="4349383" y="2559156"/>
                        <a:pt x="4343152" y="2572507"/>
                      </a:cubicBezTo>
                      <a:cubicBezTo>
                        <a:pt x="4340810" y="2577543"/>
                        <a:pt x="4336652" y="2583212"/>
                        <a:pt x="4335118" y="2589290"/>
                      </a:cubicBezTo>
                      <a:cubicBezTo>
                        <a:pt x="4334006" y="2593705"/>
                        <a:pt x="4334626" y="2594502"/>
                        <a:pt x="4332132" y="2598320"/>
                      </a:cubicBezTo>
                      <a:cubicBezTo>
                        <a:pt x="4329122" y="2602910"/>
                        <a:pt x="4326077" y="2605229"/>
                        <a:pt x="4323570" y="2611191"/>
                      </a:cubicBezTo>
                      <a:cubicBezTo>
                        <a:pt x="4318839" y="2622340"/>
                        <a:pt x="4310992" y="2628652"/>
                        <a:pt x="4303989" y="2638607"/>
                      </a:cubicBezTo>
                      <a:cubicBezTo>
                        <a:pt x="4298836" y="2645939"/>
                        <a:pt x="4292781" y="2649862"/>
                        <a:pt x="4286105" y="2655835"/>
                      </a:cubicBezTo>
                      <a:cubicBezTo>
                        <a:pt x="4280343" y="2660976"/>
                        <a:pt x="4276853" y="2667839"/>
                        <a:pt x="4271302" y="2672945"/>
                      </a:cubicBezTo>
                      <a:cubicBezTo>
                        <a:pt x="4268397" y="2675627"/>
                        <a:pt x="4263491" y="2677899"/>
                        <a:pt x="4260211" y="2680663"/>
                      </a:cubicBezTo>
                      <a:cubicBezTo>
                        <a:pt x="4255573" y="2684563"/>
                        <a:pt x="4256581" y="2685535"/>
                        <a:pt x="4253383" y="2689388"/>
                      </a:cubicBezTo>
                      <a:cubicBezTo>
                        <a:pt x="4249800" y="2693698"/>
                        <a:pt x="4246087" y="2695267"/>
                        <a:pt x="4242398" y="2699882"/>
                      </a:cubicBezTo>
                      <a:cubicBezTo>
                        <a:pt x="4240688" y="2702013"/>
                        <a:pt x="4239658" y="2705000"/>
                        <a:pt x="4236472" y="2707483"/>
                      </a:cubicBezTo>
                      <a:cubicBezTo>
                        <a:pt x="4235757" y="2708033"/>
                        <a:pt x="4232631" y="2710621"/>
                        <a:pt x="4232841" y="2710410"/>
                      </a:cubicBezTo>
                      <a:cubicBezTo>
                        <a:pt x="4232326" y="2710903"/>
                        <a:pt x="4229433" y="2711851"/>
                        <a:pt x="4228578" y="2713163"/>
                      </a:cubicBezTo>
                      <a:cubicBezTo>
                        <a:pt x="4229140" y="2714006"/>
                        <a:pt x="4224292" y="2725307"/>
                        <a:pt x="4222172" y="2727861"/>
                      </a:cubicBezTo>
                      <a:cubicBezTo>
                        <a:pt x="4217569" y="2733435"/>
                        <a:pt x="4209055" y="2732639"/>
                        <a:pt x="4204008" y="2738342"/>
                      </a:cubicBezTo>
                      <a:cubicBezTo>
                        <a:pt x="4201197" y="2741516"/>
                        <a:pt x="4196313" y="2748204"/>
                        <a:pt x="4194428" y="2752267"/>
                      </a:cubicBezTo>
                      <a:cubicBezTo>
                        <a:pt x="4193338" y="2754621"/>
                        <a:pt x="4192085" y="2757362"/>
                        <a:pt x="4190727" y="2759564"/>
                      </a:cubicBezTo>
                      <a:cubicBezTo>
                        <a:pt x="4189309" y="2761836"/>
                        <a:pt x="4187365" y="2762515"/>
                        <a:pt x="4187131" y="2765829"/>
                      </a:cubicBezTo>
                      <a:cubicBezTo>
                        <a:pt x="4186464" y="2765361"/>
                        <a:pt x="4185047" y="2764377"/>
                        <a:pt x="4184601" y="2764049"/>
                      </a:cubicBezTo>
                      <a:cubicBezTo>
                        <a:pt x="4184379" y="2766099"/>
                        <a:pt x="4184988" y="2767574"/>
                        <a:pt x="4185492" y="2768617"/>
                      </a:cubicBezTo>
                      <a:cubicBezTo>
                        <a:pt x="4186217" y="2768535"/>
                        <a:pt x="4186756" y="2768195"/>
                        <a:pt x="4187471" y="2768008"/>
                      </a:cubicBezTo>
                      <a:cubicBezTo>
                        <a:pt x="4185960" y="2771837"/>
                        <a:pt x="4182177" y="2777588"/>
                        <a:pt x="4178136" y="2778970"/>
                      </a:cubicBezTo>
                      <a:cubicBezTo>
                        <a:pt x="4173393" y="2780598"/>
                        <a:pt x="4173839" y="2776628"/>
                        <a:pt x="4169927" y="2779274"/>
                      </a:cubicBezTo>
                      <a:cubicBezTo>
                        <a:pt x="4180467" y="2784392"/>
                        <a:pt x="4153086" y="2800613"/>
                        <a:pt x="4149314" y="2803330"/>
                      </a:cubicBezTo>
                      <a:cubicBezTo>
                        <a:pt x="4139477" y="2810427"/>
                        <a:pt x="4125610" y="2814854"/>
                        <a:pt x="4115785" y="2821904"/>
                      </a:cubicBezTo>
                      <a:cubicBezTo>
                        <a:pt x="4111721" y="2824820"/>
                        <a:pt x="4107938" y="2829704"/>
                        <a:pt x="4103206" y="2831801"/>
                      </a:cubicBezTo>
                      <a:cubicBezTo>
                        <a:pt x="4100126" y="2833159"/>
                        <a:pt x="4096496" y="2830126"/>
                        <a:pt x="4093509" y="2835946"/>
                      </a:cubicBezTo>
                      <a:cubicBezTo>
                        <a:pt x="4089012" y="2830887"/>
                        <a:pt x="4084796" y="2836087"/>
                        <a:pt x="4080181" y="2837645"/>
                      </a:cubicBezTo>
                      <a:cubicBezTo>
                        <a:pt x="4074583" y="2839542"/>
                        <a:pt x="4060752" y="2847634"/>
                        <a:pt x="4055903" y="2841872"/>
                      </a:cubicBezTo>
                      <a:cubicBezTo>
                        <a:pt x="4057812" y="2841533"/>
                        <a:pt x="4057894" y="2840807"/>
                        <a:pt x="4060084" y="2840889"/>
                      </a:cubicBezTo>
                      <a:cubicBezTo>
                        <a:pt x="4059206" y="2839647"/>
                        <a:pt x="4056805" y="2836005"/>
                        <a:pt x="4056629" y="2835806"/>
                      </a:cubicBezTo>
                      <a:cubicBezTo>
                        <a:pt x="4049111" y="2833686"/>
                        <a:pt x="4050692" y="2843840"/>
                        <a:pt x="4045211" y="2837562"/>
                      </a:cubicBezTo>
                      <a:cubicBezTo>
                        <a:pt x="4044087" y="2836286"/>
                        <a:pt x="4042388" y="2824926"/>
                        <a:pt x="4040187" y="2833218"/>
                      </a:cubicBezTo>
                      <a:cubicBezTo>
                        <a:pt x="4030466" y="2834752"/>
                        <a:pt x="4030372" y="2827678"/>
                        <a:pt x="4022373" y="2829997"/>
                      </a:cubicBezTo>
                      <a:cubicBezTo>
                        <a:pt x="4022537" y="2829962"/>
                        <a:pt x="4021600" y="2838722"/>
                        <a:pt x="4018989" y="2831765"/>
                      </a:cubicBezTo>
                      <a:cubicBezTo>
                        <a:pt x="4017677" y="2828252"/>
                        <a:pt x="4019949" y="2822349"/>
                        <a:pt x="4019094" y="2818941"/>
                      </a:cubicBezTo>
                      <a:cubicBezTo>
                        <a:pt x="4021249" y="2817700"/>
                        <a:pt x="4021741" y="2815861"/>
                        <a:pt x="4021073" y="2813284"/>
                      </a:cubicBezTo>
                      <a:cubicBezTo>
                        <a:pt x="4026121" y="2812277"/>
                        <a:pt x="4021343" y="2810521"/>
                        <a:pt x="4020429" y="2808413"/>
                      </a:cubicBezTo>
                      <a:cubicBezTo>
                        <a:pt x="4019328" y="2805895"/>
                        <a:pt x="4024423" y="2803962"/>
                        <a:pt x="4017759" y="2807101"/>
                      </a:cubicBezTo>
                      <a:cubicBezTo>
                        <a:pt x="4012735" y="2809467"/>
                        <a:pt x="4004080" y="2821998"/>
                        <a:pt x="3997990" y="2818941"/>
                      </a:cubicBezTo>
                      <a:cubicBezTo>
                        <a:pt x="3998903" y="2818227"/>
                        <a:pt x="3999196" y="2817594"/>
                        <a:pt x="3999758" y="2816739"/>
                      </a:cubicBezTo>
                      <a:cubicBezTo>
                        <a:pt x="3998540" y="2817665"/>
                        <a:pt x="3996784" y="2818192"/>
                        <a:pt x="3995929" y="2818672"/>
                      </a:cubicBezTo>
                      <a:cubicBezTo>
                        <a:pt x="3998283" y="2813601"/>
                        <a:pt x="4006340" y="2808272"/>
                        <a:pt x="4006235" y="2803822"/>
                      </a:cubicBezTo>
                      <a:cubicBezTo>
                        <a:pt x="4005497" y="2804747"/>
                        <a:pt x="4002932" y="2806293"/>
                        <a:pt x="4002253" y="2807230"/>
                      </a:cubicBezTo>
                      <a:cubicBezTo>
                        <a:pt x="4002077" y="2802358"/>
                        <a:pt x="3996022" y="2806386"/>
                        <a:pt x="3995484" y="2803295"/>
                      </a:cubicBezTo>
                      <a:cubicBezTo>
                        <a:pt x="3991876" y="2803728"/>
                        <a:pt x="3991139" y="2808729"/>
                        <a:pt x="3989440" y="2811563"/>
                      </a:cubicBezTo>
                      <a:cubicBezTo>
                        <a:pt x="3989815" y="2811809"/>
                        <a:pt x="3991151" y="2812324"/>
                        <a:pt x="3991584" y="2812605"/>
                      </a:cubicBezTo>
                      <a:cubicBezTo>
                        <a:pt x="3989335" y="2811680"/>
                        <a:pt x="3986595" y="2811621"/>
                        <a:pt x="3985728" y="2814502"/>
                      </a:cubicBezTo>
                      <a:cubicBezTo>
                        <a:pt x="3985986" y="2814444"/>
                        <a:pt x="3988070" y="2813296"/>
                        <a:pt x="3987976" y="2813296"/>
                      </a:cubicBezTo>
                      <a:cubicBezTo>
                        <a:pt x="3986278" y="2817805"/>
                        <a:pt x="3981219" y="2820112"/>
                        <a:pt x="3981207" y="2824598"/>
                      </a:cubicBezTo>
                      <a:cubicBezTo>
                        <a:pt x="3977987" y="2823556"/>
                        <a:pt x="3977307" y="2824504"/>
                        <a:pt x="3977624" y="2828018"/>
                      </a:cubicBezTo>
                      <a:cubicBezTo>
                        <a:pt x="3972986" y="2827081"/>
                        <a:pt x="3971405" y="2828275"/>
                        <a:pt x="3972623" y="2832374"/>
                      </a:cubicBezTo>
                      <a:cubicBezTo>
                        <a:pt x="3973724" y="2832140"/>
                        <a:pt x="3975305" y="2832035"/>
                        <a:pt x="3976359" y="2831707"/>
                      </a:cubicBezTo>
                      <a:cubicBezTo>
                        <a:pt x="3972307" y="2835302"/>
                        <a:pt x="3958171" y="2844964"/>
                        <a:pt x="3963945" y="2850410"/>
                      </a:cubicBezTo>
                      <a:cubicBezTo>
                        <a:pt x="3962481" y="2852811"/>
                        <a:pt x="3961298" y="2852893"/>
                        <a:pt x="3961145" y="2849286"/>
                      </a:cubicBezTo>
                      <a:cubicBezTo>
                        <a:pt x="3959260" y="2847564"/>
                        <a:pt x="3959330" y="2848478"/>
                        <a:pt x="3957995" y="2845386"/>
                      </a:cubicBezTo>
                      <a:cubicBezTo>
                        <a:pt x="3955243" y="2847435"/>
                        <a:pt x="3945639" y="2851125"/>
                        <a:pt x="3942102" y="2847459"/>
                      </a:cubicBezTo>
                      <a:cubicBezTo>
                        <a:pt x="3945428" y="2847271"/>
                        <a:pt x="3947818" y="2849157"/>
                        <a:pt x="3949118" y="2846264"/>
                      </a:cubicBezTo>
                      <a:cubicBezTo>
                        <a:pt x="3946283" y="2845796"/>
                        <a:pt x="3943438" y="2845819"/>
                        <a:pt x="3940615" y="2846229"/>
                      </a:cubicBezTo>
                      <a:cubicBezTo>
                        <a:pt x="3941622" y="2845444"/>
                        <a:pt x="3942477" y="2844461"/>
                        <a:pt x="3943239" y="2843840"/>
                      </a:cubicBezTo>
                      <a:cubicBezTo>
                        <a:pt x="3941868" y="2843934"/>
                        <a:pt x="3936633" y="2843559"/>
                        <a:pt x="3936106" y="2844004"/>
                      </a:cubicBezTo>
                      <a:cubicBezTo>
                        <a:pt x="3931913" y="2847576"/>
                        <a:pt x="3936903" y="2846534"/>
                        <a:pt x="3937641" y="2850925"/>
                      </a:cubicBezTo>
                      <a:cubicBezTo>
                        <a:pt x="3940615" y="2848970"/>
                        <a:pt x="3943590" y="2852144"/>
                        <a:pt x="3944960" y="2854790"/>
                      </a:cubicBezTo>
                      <a:cubicBezTo>
                        <a:pt x="3943040" y="2856289"/>
                        <a:pt x="3941728" y="2859369"/>
                        <a:pt x="3939116" y="2862777"/>
                      </a:cubicBezTo>
                      <a:cubicBezTo>
                        <a:pt x="3933764" y="2869781"/>
                        <a:pt x="3937383" y="2868376"/>
                        <a:pt x="3933272" y="2862133"/>
                      </a:cubicBezTo>
                      <a:cubicBezTo>
                        <a:pt x="3931714" y="2859768"/>
                        <a:pt x="3929688" y="2860587"/>
                        <a:pt x="3928716" y="2857027"/>
                      </a:cubicBezTo>
                      <a:cubicBezTo>
                        <a:pt x="3928166" y="2855013"/>
                        <a:pt x="3929267" y="2853268"/>
                        <a:pt x="3929150" y="2852612"/>
                      </a:cubicBezTo>
                      <a:cubicBezTo>
                        <a:pt x="3928752" y="2850410"/>
                        <a:pt x="3930543" y="2849133"/>
                        <a:pt x="3928002" y="2846416"/>
                      </a:cubicBezTo>
                      <a:cubicBezTo>
                        <a:pt x="3926421" y="2844730"/>
                        <a:pt x="3921022" y="2845503"/>
                        <a:pt x="3920588" y="2844753"/>
                      </a:cubicBezTo>
                      <a:cubicBezTo>
                        <a:pt x="3914744" y="2834857"/>
                        <a:pt x="3953896" y="2833627"/>
                        <a:pt x="3955582" y="2830910"/>
                      </a:cubicBezTo>
                      <a:cubicBezTo>
                        <a:pt x="3956929" y="2828732"/>
                        <a:pt x="3957292" y="2822467"/>
                        <a:pt x="3958346" y="2819164"/>
                      </a:cubicBezTo>
                      <a:cubicBezTo>
                        <a:pt x="3959447" y="2815744"/>
                        <a:pt x="3961637" y="2812851"/>
                        <a:pt x="3962633" y="2809103"/>
                      </a:cubicBezTo>
                      <a:cubicBezTo>
                        <a:pt x="3964062" y="2803646"/>
                        <a:pt x="3967142" y="2800683"/>
                        <a:pt x="3965069" y="2794780"/>
                      </a:cubicBezTo>
                      <a:cubicBezTo>
                        <a:pt x="3964436" y="2792988"/>
                        <a:pt x="3960794" y="2792637"/>
                        <a:pt x="3960045" y="2790599"/>
                      </a:cubicBezTo>
                      <a:cubicBezTo>
                        <a:pt x="3959635" y="2789452"/>
                        <a:pt x="3961930" y="2788210"/>
                        <a:pt x="3961731" y="2787062"/>
                      </a:cubicBezTo>
                      <a:cubicBezTo>
                        <a:pt x="3961403" y="2785200"/>
                        <a:pt x="3961251" y="2783690"/>
                        <a:pt x="3961298" y="2781828"/>
                      </a:cubicBezTo>
                      <a:cubicBezTo>
                        <a:pt x="3961415" y="2775620"/>
                        <a:pt x="3961157" y="2768886"/>
                        <a:pt x="3962516" y="2762972"/>
                      </a:cubicBezTo>
                      <a:cubicBezTo>
                        <a:pt x="3962785" y="2761766"/>
                        <a:pt x="3965326" y="2758111"/>
                        <a:pt x="3965338" y="2757924"/>
                      </a:cubicBezTo>
                      <a:cubicBezTo>
                        <a:pt x="3965479" y="2751963"/>
                        <a:pt x="3962164" y="2744456"/>
                        <a:pt x="3960654" y="2738600"/>
                      </a:cubicBezTo>
                      <a:cubicBezTo>
                        <a:pt x="3959190" y="2732920"/>
                        <a:pt x="3958042" y="2727041"/>
                        <a:pt x="3956238" y="2721455"/>
                      </a:cubicBezTo>
                      <a:cubicBezTo>
                        <a:pt x="3955032" y="2717730"/>
                        <a:pt x="3951156" y="2713936"/>
                        <a:pt x="3950265" y="2711160"/>
                      </a:cubicBezTo>
                      <a:cubicBezTo>
                        <a:pt x="3948321" y="2705094"/>
                        <a:pt x="3952655" y="2704356"/>
                        <a:pt x="3958229" y="2702130"/>
                      </a:cubicBezTo>
                      <a:cubicBezTo>
                        <a:pt x="3963441" y="2700057"/>
                        <a:pt x="3971182" y="2699612"/>
                        <a:pt x="3976277" y="2696919"/>
                      </a:cubicBezTo>
                      <a:cubicBezTo>
                        <a:pt x="3983854" y="2692902"/>
                        <a:pt x="3982554" y="2688205"/>
                        <a:pt x="3985868" y="2683298"/>
                      </a:cubicBezTo>
                      <a:cubicBezTo>
                        <a:pt x="3986232" y="2682760"/>
                        <a:pt x="3989054" y="2682736"/>
                        <a:pt x="3990014" y="2681834"/>
                      </a:cubicBezTo>
                      <a:cubicBezTo>
                        <a:pt x="3991373" y="2680546"/>
                        <a:pt x="3992181" y="2675674"/>
                        <a:pt x="3994406" y="2675241"/>
                      </a:cubicBezTo>
                      <a:cubicBezTo>
                        <a:pt x="3998388" y="2674468"/>
                        <a:pt x="3996409" y="2677431"/>
                        <a:pt x="3998681" y="2679070"/>
                      </a:cubicBezTo>
                      <a:cubicBezTo>
                        <a:pt x="4002674" y="2681951"/>
                        <a:pt x="4004244" y="2683263"/>
                        <a:pt x="4005462" y="2688030"/>
                      </a:cubicBezTo>
                      <a:cubicBezTo>
                        <a:pt x="4006153" y="2690676"/>
                        <a:pt x="4004337" y="2691309"/>
                        <a:pt x="4005391" y="2694237"/>
                      </a:cubicBezTo>
                      <a:cubicBezTo>
                        <a:pt x="4006504" y="2697352"/>
                        <a:pt x="4010299" y="2695677"/>
                        <a:pt x="4009631" y="2702060"/>
                      </a:cubicBezTo>
                      <a:cubicBezTo>
                        <a:pt x="4009210" y="2706054"/>
                        <a:pt x="4005895" y="2706967"/>
                        <a:pt x="4006106" y="2710762"/>
                      </a:cubicBezTo>
                      <a:cubicBezTo>
                        <a:pt x="4006469" y="2717379"/>
                        <a:pt x="4014620" y="2717215"/>
                        <a:pt x="4018696" y="2720225"/>
                      </a:cubicBezTo>
                      <a:cubicBezTo>
                        <a:pt x="4017349" y="2719815"/>
                        <a:pt x="4016201" y="2720038"/>
                        <a:pt x="4015147" y="2719979"/>
                      </a:cubicBezTo>
                      <a:cubicBezTo>
                        <a:pt x="4017759" y="2728575"/>
                        <a:pt x="4022912" y="2726081"/>
                        <a:pt x="4029084" y="2720927"/>
                      </a:cubicBezTo>
                      <a:cubicBezTo>
                        <a:pt x="4032305" y="2718234"/>
                        <a:pt x="4035256" y="2717847"/>
                        <a:pt x="4037048" y="2714006"/>
                      </a:cubicBezTo>
                      <a:cubicBezTo>
                        <a:pt x="4037961" y="2712050"/>
                        <a:pt x="4036158" y="2710282"/>
                        <a:pt x="4037060" y="2708162"/>
                      </a:cubicBezTo>
                      <a:cubicBezTo>
                        <a:pt x="4039461" y="2702564"/>
                        <a:pt x="4045094" y="2699109"/>
                        <a:pt x="4047424" y="2692808"/>
                      </a:cubicBezTo>
                      <a:cubicBezTo>
                        <a:pt x="4051512" y="2696122"/>
                        <a:pt x="4057731" y="2694600"/>
                        <a:pt x="4060506" y="2690290"/>
                      </a:cubicBezTo>
                      <a:cubicBezTo>
                        <a:pt x="4063340" y="2685875"/>
                        <a:pt x="4061267" y="2682467"/>
                        <a:pt x="4061502" y="2677325"/>
                      </a:cubicBezTo>
                      <a:cubicBezTo>
                        <a:pt x="4062111" y="2663740"/>
                        <a:pt x="4073377" y="2661386"/>
                        <a:pt x="4080931" y="2656093"/>
                      </a:cubicBezTo>
                      <a:cubicBezTo>
                        <a:pt x="4081599" y="2654137"/>
                        <a:pt x="4081411" y="2652520"/>
                        <a:pt x="4079139" y="2650775"/>
                      </a:cubicBezTo>
                      <a:cubicBezTo>
                        <a:pt x="4080872" y="2649288"/>
                        <a:pt x="4080990" y="2647625"/>
                        <a:pt x="4082711" y="2646302"/>
                      </a:cubicBezTo>
                      <a:cubicBezTo>
                        <a:pt x="4078811" y="2642577"/>
                        <a:pt x="4091858" y="2634555"/>
                        <a:pt x="4093263" y="2628406"/>
                      </a:cubicBezTo>
                      <a:cubicBezTo>
                        <a:pt x="4094505" y="2622972"/>
                        <a:pt x="4091975" y="2621848"/>
                        <a:pt x="4098077" y="2617714"/>
                      </a:cubicBezTo>
                      <a:cubicBezTo>
                        <a:pt x="4099962" y="2616437"/>
                        <a:pt x="4102351" y="2616051"/>
                        <a:pt x="4103815" y="2611471"/>
                      </a:cubicBezTo>
                      <a:cubicBezTo>
                        <a:pt x="4099189" y="2610054"/>
                        <a:pt x="4103464" y="2609879"/>
                        <a:pt x="4103136" y="2608239"/>
                      </a:cubicBezTo>
                      <a:cubicBezTo>
                        <a:pt x="4103241" y="2608754"/>
                        <a:pt x="4104354" y="2606131"/>
                        <a:pt x="4104260" y="2605440"/>
                      </a:cubicBezTo>
                      <a:cubicBezTo>
                        <a:pt x="4104167" y="2604761"/>
                        <a:pt x="4101696" y="2603531"/>
                        <a:pt x="4101719" y="2603238"/>
                      </a:cubicBezTo>
                      <a:cubicBezTo>
                        <a:pt x="4101859" y="2601236"/>
                        <a:pt x="4100829" y="2600275"/>
                        <a:pt x="4102820" y="2596328"/>
                      </a:cubicBezTo>
                      <a:cubicBezTo>
                        <a:pt x="4104167" y="2593623"/>
                        <a:pt x="4106638" y="2592827"/>
                        <a:pt x="4108102" y="2590215"/>
                      </a:cubicBezTo>
                      <a:cubicBezTo>
                        <a:pt x="4111170" y="2584722"/>
                        <a:pt x="4110093" y="2577895"/>
                        <a:pt x="4111510" y="2572203"/>
                      </a:cubicBezTo>
                      <a:cubicBezTo>
                        <a:pt x="4112248" y="2569251"/>
                        <a:pt x="4111721" y="2567272"/>
                        <a:pt x="4113442" y="2564602"/>
                      </a:cubicBezTo>
                      <a:cubicBezTo>
                        <a:pt x="4114871" y="2562400"/>
                        <a:pt x="4119357" y="2560819"/>
                        <a:pt x="4119766" y="2559425"/>
                      </a:cubicBezTo>
                      <a:cubicBezTo>
                        <a:pt x="4120762" y="2556029"/>
                        <a:pt x="4115808" y="2551848"/>
                        <a:pt x="4116546" y="2548487"/>
                      </a:cubicBezTo>
                      <a:cubicBezTo>
                        <a:pt x="4117412" y="2544575"/>
                        <a:pt x="4122120" y="2539668"/>
                        <a:pt x="4125810" y="2538228"/>
                      </a:cubicBezTo>
                      <a:cubicBezTo>
                        <a:pt x="4131665" y="2535944"/>
                        <a:pt x="4133516" y="2538169"/>
                        <a:pt x="4138563" y="2533086"/>
                      </a:cubicBezTo>
                      <a:cubicBezTo>
                        <a:pt x="4140636" y="2531002"/>
                        <a:pt x="4148378" y="2522148"/>
                        <a:pt x="4148495" y="2519442"/>
                      </a:cubicBezTo>
                      <a:cubicBezTo>
                        <a:pt x="4148682" y="2514957"/>
                        <a:pt x="4140484" y="2508070"/>
                        <a:pt x="4139208" y="2504534"/>
                      </a:cubicBezTo>
                      <a:cubicBezTo>
                        <a:pt x="4137158" y="2498889"/>
                        <a:pt x="4138669" y="2499814"/>
                        <a:pt x="4140390" y="2494778"/>
                      </a:cubicBezTo>
                      <a:cubicBezTo>
                        <a:pt x="4140718" y="2493818"/>
                        <a:pt x="4143260" y="2491077"/>
                        <a:pt x="4143880" y="2489730"/>
                      </a:cubicBezTo>
                      <a:cubicBezTo>
                        <a:pt x="4145157" y="2486943"/>
                        <a:pt x="4143646" y="2485174"/>
                        <a:pt x="4145696" y="2482656"/>
                      </a:cubicBezTo>
                      <a:cubicBezTo>
                        <a:pt x="4141527" y="2482902"/>
                        <a:pt x="4137966" y="2480256"/>
                        <a:pt x="4136490" y="2476379"/>
                      </a:cubicBezTo>
                      <a:cubicBezTo>
                        <a:pt x="4132497" y="2479202"/>
                        <a:pt x="4131384" y="2475056"/>
                        <a:pt x="4127929" y="2474880"/>
                      </a:cubicBezTo>
                      <a:cubicBezTo>
                        <a:pt x="4122811" y="2474622"/>
                        <a:pt x="4115492" y="2476777"/>
                        <a:pt x="4110632" y="2478534"/>
                      </a:cubicBezTo>
                      <a:cubicBezTo>
                        <a:pt x="4104893" y="2480619"/>
                        <a:pt x="4097351" y="2482762"/>
                        <a:pt x="4092443" y="2485655"/>
                      </a:cubicBezTo>
                      <a:cubicBezTo>
                        <a:pt x="4087536" y="2488559"/>
                        <a:pt x="4085967" y="2492822"/>
                        <a:pt x="4080263" y="2494192"/>
                      </a:cubicBezTo>
                      <a:cubicBezTo>
                        <a:pt x="4074326" y="2495609"/>
                        <a:pt x="4068564" y="2490597"/>
                        <a:pt x="4062239" y="2492728"/>
                      </a:cubicBezTo>
                      <a:cubicBezTo>
                        <a:pt x="4057133" y="2494438"/>
                        <a:pt x="4052355" y="2501606"/>
                        <a:pt x="4047366" y="2503398"/>
                      </a:cubicBezTo>
                      <a:cubicBezTo>
                        <a:pt x="4045047" y="2504229"/>
                        <a:pt x="4041615" y="2502133"/>
                        <a:pt x="4040233" y="2502906"/>
                      </a:cubicBezTo>
                      <a:cubicBezTo>
                        <a:pt x="4036907" y="2504791"/>
                        <a:pt x="4040304" y="2505798"/>
                        <a:pt x="4038852" y="2507649"/>
                      </a:cubicBezTo>
                      <a:cubicBezTo>
                        <a:pt x="4035642" y="2511724"/>
                        <a:pt x="4034518" y="2518154"/>
                        <a:pt x="4030103" y="2519641"/>
                      </a:cubicBezTo>
                      <a:cubicBezTo>
                        <a:pt x="4027351" y="2520567"/>
                        <a:pt x="4024189" y="2517557"/>
                        <a:pt x="4021202" y="2517721"/>
                      </a:cubicBezTo>
                      <a:cubicBezTo>
                        <a:pt x="4017255" y="2517943"/>
                        <a:pt x="4013906" y="2520133"/>
                        <a:pt x="4010030" y="2520824"/>
                      </a:cubicBezTo>
                      <a:cubicBezTo>
                        <a:pt x="4004244" y="2521855"/>
                        <a:pt x="3998974" y="2521363"/>
                        <a:pt x="3993399" y="2521492"/>
                      </a:cubicBezTo>
                      <a:cubicBezTo>
                        <a:pt x="3990940" y="2521550"/>
                        <a:pt x="3984838" y="2523155"/>
                        <a:pt x="3983186" y="2522722"/>
                      </a:cubicBezTo>
                      <a:cubicBezTo>
                        <a:pt x="3980270" y="2521972"/>
                        <a:pt x="3978771" y="2518540"/>
                        <a:pt x="3975551" y="2517580"/>
                      </a:cubicBezTo>
                      <a:cubicBezTo>
                        <a:pt x="3968090" y="2515355"/>
                        <a:pt x="3960291" y="2523822"/>
                        <a:pt x="3953275" y="2521457"/>
                      </a:cubicBezTo>
                      <a:cubicBezTo>
                        <a:pt x="3947595" y="2519536"/>
                        <a:pt x="3950547" y="2518330"/>
                        <a:pt x="3948731" y="2514254"/>
                      </a:cubicBezTo>
                      <a:cubicBezTo>
                        <a:pt x="3946389" y="2508961"/>
                        <a:pt x="3945358" y="2506302"/>
                        <a:pt x="3940849" y="2501957"/>
                      </a:cubicBezTo>
                      <a:cubicBezTo>
                        <a:pt x="3931984" y="2493419"/>
                        <a:pt x="3935064" y="2493220"/>
                        <a:pt x="3939678" y="2484413"/>
                      </a:cubicBezTo>
                      <a:cubicBezTo>
                        <a:pt x="3942407" y="2479190"/>
                        <a:pt x="3942102" y="2476157"/>
                        <a:pt x="3938226" y="2470945"/>
                      </a:cubicBezTo>
                      <a:cubicBezTo>
                        <a:pt x="3937886" y="2470465"/>
                        <a:pt x="3939842" y="2468825"/>
                        <a:pt x="3939163" y="2468157"/>
                      </a:cubicBezTo>
                      <a:cubicBezTo>
                        <a:pt x="3938285" y="2467279"/>
                        <a:pt x="3934455" y="2467443"/>
                        <a:pt x="3934701" y="2467771"/>
                      </a:cubicBezTo>
                      <a:cubicBezTo>
                        <a:pt x="3936481" y="2470067"/>
                        <a:pt x="3930742" y="2465675"/>
                        <a:pt x="3931679" y="2466307"/>
                      </a:cubicBezTo>
                      <a:cubicBezTo>
                        <a:pt x="3930813" y="2465722"/>
                        <a:pt x="3932394" y="2463555"/>
                        <a:pt x="3931843" y="2462782"/>
                      </a:cubicBezTo>
                      <a:cubicBezTo>
                        <a:pt x="3930859" y="2461377"/>
                        <a:pt x="3927557" y="2461072"/>
                        <a:pt x="3927334" y="2459304"/>
                      </a:cubicBezTo>
                      <a:cubicBezTo>
                        <a:pt x="3926702" y="2454303"/>
                        <a:pt x="3934151" y="2449068"/>
                        <a:pt x="3933834" y="2444664"/>
                      </a:cubicBezTo>
                      <a:cubicBezTo>
                        <a:pt x="3933518" y="2440308"/>
                        <a:pt x="3934595" y="2443821"/>
                        <a:pt x="3931527" y="2442006"/>
                      </a:cubicBezTo>
                      <a:cubicBezTo>
                        <a:pt x="3933541" y="2443189"/>
                        <a:pt x="3922462" y="2440881"/>
                        <a:pt x="3924137" y="2440975"/>
                      </a:cubicBezTo>
                      <a:cubicBezTo>
                        <a:pt x="3913515" y="2440413"/>
                        <a:pt x="3908467" y="2442591"/>
                        <a:pt x="3899367" y="2433128"/>
                      </a:cubicBezTo>
                      <a:cubicBezTo>
                        <a:pt x="3897376" y="2431055"/>
                        <a:pt x="3896474" y="2430200"/>
                        <a:pt x="3895186" y="2428502"/>
                      </a:cubicBezTo>
                      <a:cubicBezTo>
                        <a:pt x="3893956" y="2426910"/>
                        <a:pt x="3892235" y="2423220"/>
                        <a:pt x="3891157" y="2422096"/>
                      </a:cubicBezTo>
                      <a:cubicBezTo>
                        <a:pt x="3891263" y="2422202"/>
                        <a:pt x="3884939" y="2416756"/>
                        <a:pt x="3885630" y="2417177"/>
                      </a:cubicBezTo>
                      <a:cubicBezTo>
                        <a:pt x="3883428" y="2415877"/>
                        <a:pt x="3878204" y="2415479"/>
                        <a:pt x="3876155" y="2413711"/>
                      </a:cubicBezTo>
                      <a:cubicBezTo>
                        <a:pt x="3870885" y="2409190"/>
                        <a:pt x="3876623" y="2402468"/>
                        <a:pt x="3866786" y="2405677"/>
                      </a:cubicBezTo>
                      <a:cubicBezTo>
                        <a:pt x="3866352" y="2405817"/>
                        <a:pt x="3867406" y="2409776"/>
                        <a:pt x="3865755" y="2410080"/>
                      </a:cubicBezTo>
                      <a:cubicBezTo>
                        <a:pt x="3864315" y="2410350"/>
                        <a:pt x="3862581" y="2408300"/>
                        <a:pt x="3862101" y="2408429"/>
                      </a:cubicBezTo>
                      <a:cubicBezTo>
                        <a:pt x="3864127" y="2407902"/>
                        <a:pt x="3852416" y="2408464"/>
                        <a:pt x="3854887" y="2409038"/>
                      </a:cubicBezTo>
                      <a:cubicBezTo>
                        <a:pt x="3849417" y="2407773"/>
                        <a:pt x="3846923" y="2403077"/>
                        <a:pt x="3840388" y="2400851"/>
                      </a:cubicBezTo>
                      <a:cubicBezTo>
                        <a:pt x="3836839" y="2399645"/>
                        <a:pt x="3837074" y="2403170"/>
                        <a:pt x="3834415" y="2399926"/>
                      </a:cubicBezTo>
                      <a:cubicBezTo>
                        <a:pt x="3833689" y="2399024"/>
                        <a:pt x="3838221" y="2396998"/>
                        <a:pt x="3836781" y="2394668"/>
                      </a:cubicBezTo>
                      <a:cubicBezTo>
                        <a:pt x="3834392" y="2390791"/>
                        <a:pt x="3819436" y="2393438"/>
                        <a:pt x="3815185" y="2394129"/>
                      </a:cubicBezTo>
                      <a:cubicBezTo>
                        <a:pt x="3810570" y="2394879"/>
                        <a:pt x="3805698" y="2398240"/>
                        <a:pt x="3799421" y="2396553"/>
                      </a:cubicBezTo>
                      <a:cubicBezTo>
                        <a:pt x="3796915" y="2395886"/>
                        <a:pt x="3795814" y="2393286"/>
                        <a:pt x="3793214" y="2392571"/>
                      </a:cubicBezTo>
                      <a:cubicBezTo>
                        <a:pt x="3791926" y="2392220"/>
                        <a:pt x="3788752" y="2393731"/>
                        <a:pt x="3786152" y="2392958"/>
                      </a:cubicBezTo>
                      <a:cubicBezTo>
                        <a:pt x="3779687" y="2391014"/>
                        <a:pt x="3780132" y="2385322"/>
                        <a:pt x="3776572" y="2381445"/>
                      </a:cubicBezTo>
                      <a:cubicBezTo>
                        <a:pt x="3772508" y="2377030"/>
                        <a:pt x="3771864" y="2380040"/>
                        <a:pt x="3769779" y="2374524"/>
                      </a:cubicBezTo>
                      <a:cubicBezTo>
                        <a:pt x="3769639" y="2374149"/>
                        <a:pt x="3768561" y="2366103"/>
                        <a:pt x="3768596" y="2365670"/>
                      </a:cubicBezTo>
                      <a:cubicBezTo>
                        <a:pt x="3768959" y="2361559"/>
                        <a:pt x="3773433" y="2358573"/>
                        <a:pt x="3773480" y="2354860"/>
                      </a:cubicBezTo>
                      <a:cubicBezTo>
                        <a:pt x="3773550" y="2348571"/>
                        <a:pt x="3770353" y="2350890"/>
                        <a:pt x="3765422" y="2347330"/>
                      </a:cubicBezTo>
                      <a:cubicBezTo>
                        <a:pt x="3760293" y="2343641"/>
                        <a:pt x="3763080" y="2343535"/>
                        <a:pt x="3761569" y="2340139"/>
                      </a:cubicBezTo>
                      <a:cubicBezTo>
                        <a:pt x="3760785" y="2338382"/>
                        <a:pt x="3758841" y="2334072"/>
                        <a:pt x="3758888" y="2332971"/>
                      </a:cubicBezTo>
                      <a:cubicBezTo>
                        <a:pt x="3758993" y="2329950"/>
                        <a:pt x="3762330" y="2328872"/>
                        <a:pt x="3762096" y="2325699"/>
                      </a:cubicBezTo>
                      <a:cubicBezTo>
                        <a:pt x="3761897" y="2322876"/>
                        <a:pt x="3759133" y="2321108"/>
                        <a:pt x="3757950" y="2318765"/>
                      </a:cubicBezTo>
                      <a:cubicBezTo>
                        <a:pt x="3755761" y="2314444"/>
                        <a:pt x="3754472" y="2308869"/>
                        <a:pt x="3750455" y="2303622"/>
                      </a:cubicBezTo>
                      <a:cubicBezTo>
                        <a:pt x="3745818" y="2297567"/>
                        <a:pt x="3738263" y="2294991"/>
                        <a:pt x="3738193" y="2286301"/>
                      </a:cubicBezTo>
                      <a:cubicBezTo>
                        <a:pt x="3738146" y="2280633"/>
                        <a:pt x="3745349" y="2275339"/>
                        <a:pt x="3738263" y="2274870"/>
                      </a:cubicBezTo>
                      <a:cubicBezTo>
                        <a:pt x="3738017" y="2274859"/>
                        <a:pt x="3732490" y="2285223"/>
                        <a:pt x="3733403" y="2274671"/>
                      </a:cubicBezTo>
                      <a:cubicBezTo>
                        <a:pt x="3733637" y="2272036"/>
                        <a:pt x="3738650" y="2273407"/>
                        <a:pt x="3738346" y="2270584"/>
                      </a:cubicBezTo>
                      <a:cubicBezTo>
                        <a:pt x="3738052" y="2267949"/>
                        <a:pt x="3733508" y="2268874"/>
                        <a:pt x="3732115" y="2266579"/>
                      </a:cubicBezTo>
                      <a:cubicBezTo>
                        <a:pt x="3731635" y="2265794"/>
                        <a:pt x="3733555" y="2263124"/>
                        <a:pt x="3733520" y="2263077"/>
                      </a:cubicBezTo>
                      <a:cubicBezTo>
                        <a:pt x="3733954" y="2263674"/>
                        <a:pt x="3731143" y="2259130"/>
                        <a:pt x="3731248" y="2259353"/>
                      </a:cubicBezTo>
                      <a:cubicBezTo>
                        <a:pt x="3730698" y="2258182"/>
                        <a:pt x="3727055" y="2258802"/>
                        <a:pt x="3726165" y="2257198"/>
                      </a:cubicBezTo>
                      <a:cubicBezTo>
                        <a:pt x="3725334" y="2255675"/>
                        <a:pt x="3729246" y="2254059"/>
                        <a:pt x="3728660" y="2252197"/>
                      </a:cubicBezTo>
                      <a:cubicBezTo>
                        <a:pt x="3726739" y="2246084"/>
                        <a:pt x="3722312" y="2242418"/>
                        <a:pt x="3717733" y="2234723"/>
                      </a:cubicBezTo>
                      <a:cubicBezTo>
                        <a:pt x="3710542" y="2222649"/>
                        <a:pt x="3722090" y="2228563"/>
                        <a:pt x="3719806" y="2219241"/>
                      </a:cubicBezTo>
                      <a:cubicBezTo>
                        <a:pt x="3718904" y="2215552"/>
                        <a:pt x="3696477" y="2212120"/>
                        <a:pt x="3713786" y="2208525"/>
                      </a:cubicBezTo>
                      <a:cubicBezTo>
                        <a:pt x="3705963" y="2206428"/>
                        <a:pt x="3709769" y="2202880"/>
                        <a:pt x="3706127" y="2196801"/>
                      </a:cubicBezTo>
                      <a:cubicBezTo>
                        <a:pt x="3704757" y="2194506"/>
                        <a:pt x="3702520" y="2196485"/>
                        <a:pt x="3701313" y="2195092"/>
                      </a:cubicBezTo>
                      <a:cubicBezTo>
                        <a:pt x="3699381" y="2192855"/>
                        <a:pt x="3702777" y="2191953"/>
                        <a:pt x="3699159" y="2189013"/>
                      </a:cubicBezTo>
                      <a:cubicBezTo>
                        <a:pt x="3695048" y="2185664"/>
                        <a:pt x="3689754" y="2190243"/>
                        <a:pt x="3689590" y="2183158"/>
                      </a:cubicBezTo>
                      <a:cubicBezTo>
                        <a:pt x="3689520" y="2180241"/>
                        <a:pt x="3693244" y="2181717"/>
                        <a:pt x="3694041" y="2180394"/>
                      </a:cubicBezTo>
                      <a:cubicBezTo>
                        <a:pt x="3695458" y="2178051"/>
                        <a:pt x="3690715" y="2176049"/>
                        <a:pt x="3696301" y="2174889"/>
                      </a:cubicBezTo>
                      <a:cubicBezTo>
                        <a:pt x="3693959" y="2171505"/>
                        <a:pt x="3691499" y="2175041"/>
                        <a:pt x="3690106" y="2174175"/>
                      </a:cubicBezTo>
                      <a:cubicBezTo>
                        <a:pt x="3687904" y="2172805"/>
                        <a:pt x="3684625" y="2166504"/>
                        <a:pt x="3683664" y="2165930"/>
                      </a:cubicBezTo>
                      <a:cubicBezTo>
                        <a:pt x="3681123" y="2164419"/>
                        <a:pt x="3677165" y="2166937"/>
                        <a:pt x="3674787" y="2165942"/>
                      </a:cubicBezTo>
                      <a:cubicBezTo>
                        <a:pt x="3670606" y="2164208"/>
                        <a:pt x="3674869" y="2165450"/>
                        <a:pt x="3673885" y="2162522"/>
                      </a:cubicBezTo>
                      <a:cubicBezTo>
                        <a:pt x="3674014" y="2162920"/>
                        <a:pt x="3676134" y="2159828"/>
                        <a:pt x="3675548" y="2158013"/>
                      </a:cubicBezTo>
                      <a:cubicBezTo>
                        <a:pt x="3674424" y="2154581"/>
                        <a:pt x="3670091" y="2154570"/>
                        <a:pt x="3668369" y="2153691"/>
                      </a:cubicBezTo>
                      <a:cubicBezTo>
                        <a:pt x="3666882" y="2152930"/>
                        <a:pt x="3664012" y="2151993"/>
                        <a:pt x="3661787" y="2151009"/>
                      </a:cubicBezTo>
                      <a:cubicBezTo>
                        <a:pt x="3656716" y="2148761"/>
                        <a:pt x="3651001" y="2144252"/>
                        <a:pt x="3645614" y="2143104"/>
                      </a:cubicBezTo>
                      <a:cubicBezTo>
                        <a:pt x="3642287" y="2142390"/>
                        <a:pt x="3636924" y="2142120"/>
                        <a:pt x="3633937" y="2144146"/>
                      </a:cubicBezTo>
                      <a:cubicBezTo>
                        <a:pt x="3631735" y="2145646"/>
                        <a:pt x="3633820" y="2149229"/>
                        <a:pt x="3632626" y="2149592"/>
                      </a:cubicBezTo>
                      <a:cubicBezTo>
                        <a:pt x="3629405" y="2150564"/>
                        <a:pt x="3624123" y="2144053"/>
                        <a:pt x="3621968" y="2143479"/>
                      </a:cubicBezTo>
                      <a:cubicBezTo>
                        <a:pt x="3615796" y="2141804"/>
                        <a:pt x="3609542" y="2143116"/>
                        <a:pt x="3604436" y="2138302"/>
                      </a:cubicBezTo>
                      <a:cubicBezTo>
                        <a:pt x="3599447" y="2133594"/>
                        <a:pt x="3601847" y="2133020"/>
                        <a:pt x="3595418" y="2131076"/>
                      </a:cubicBezTo>
                      <a:cubicBezTo>
                        <a:pt x="3593310" y="2130432"/>
                        <a:pt x="3592127" y="2131076"/>
                        <a:pt x="3588789" y="2129437"/>
                      </a:cubicBezTo>
                      <a:cubicBezTo>
                        <a:pt x="3585440" y="2127786"/>
                        <a:pt x="3584339" y="2124623"/>
                        <a:pt x="3580123" y="2122949"/>
                      </a:cubicBezTo>
                      <a:cubicBezTo>
                        <a:pt x="3573353" y="2120267"/>
                        <a:pt x="3566139" y="2117515"/>
                        <a:pt x="3561501" y="2120723"/>
                      </a:cubicBezTo>
                      <a:cubicBezTo>
                        <a:pt x="3562497" y="2117069"/>
                        <a:pt x="3561209" y="2117386"/>
                        <a:pt x="3559510" y="2120864"/>
                      </a:cubicBezTo>
                      <a:cubicBezTo>
                        <a:pt x="3554182" y="2119131"/>
                        <a:pt x="3551512" y="2117479"/>
                        <a:pt x="3546218" y="2118241"/>
                      </a:cubicBezTo>
                      <a:cubicBezTo>
                        <a:pt x="3545035" y="2118416"/>
                        <a:pt x="3541275" y="2120887"/>
                        <a:pt x="3539917" y="2121344"/>
                      </a:cubicBezTo>
                      <a:cubicBezTo>
                        <a:pt x="3535771" y="2122761"/>
                        <a:pt x="3529388" y="2123487"/>
                        <a:pt x="3524973" y="2124073"/>
                      </a:cubicBezTo>
                      <a:cubicBezTo>
                        <a:pt x="3519586" y="2124787"/>
                        <a:pt x="3512137" y="2125455"/>
                        <a:pt x="3506750" y="2124682"/>
                      </a:cubicBezTo>
                      <a:cubicBezTo>
                        <a:pt x="3505778" y="2124541"/>
                        <a:pt x="3501456" y="2123640"/>
                        <a:pt x="3500894" y="2123628"/>
                      </a:cubicBezTo>
                      <a:cubicBezTo>
                        <a:pt x="3495436" y="2123429"/>
                        <a:pt x="3491232" y="2126193"/>
                        <a:pt x="3485775" y="2127141"/>
                      </a:cubicBezTo>
                      <a:cubicBezTo>
                        <a:pt x="3481476" y="2127891"/>
                        <a:pt x="3477026" y="2127247"/>
                        <a:pt x="3472658" y="2128020"/>
                      </a:cubicBezTo>
                      <a:cubicBezTo>
                        <a:pt x="3466415" y="2129121"/>
                        <a:pt x="3462516" y="2132493"/>
                        <a:pt x="3456824" y="2134180"/>
                      </a:cubicBezTo>
                      <a:cubicBezTo>
                        <a:pt x="3451319" y="2135820"/>
                        <a:pt x="3444281" y="2137483"/>
                        <a:pt x="3438624" y="2138127"/>
                      </a:cubicBezTo>
                      <a:cubicBezTo>
                        <a:pt x="3429536" y="2139146"/>
                        <a:pt x="3425414" y="2136628"/>
                        <a:pt x="3419066" y="2141910"/>
                      </a:cubicBezTo>
                      <a:cubicBezTo>
                        <a:pt x="3412379" y="2147473"/>
                        <a:pt x="3405375" y="2153422"/>
                        <a:pt x="3399121" y="2159688"/>
                      </a:cubicBezTo>
                      <a:cubicBezTo>
                        <a:pt x="3392762" y="2166047"/>
                        <a:pt x="3379504" y="2171926"/>
                        <a:pt x="3380254" y="2180066"/>
                      </a:cubicBezTo>
                      <a:cubicBezTo>
                        <a:pt x="3380828" y="2186285"/>
                        <a:pt x="3380898" y="2186753"/>
                        <a:pt x="3388288" y="2186495"/>
                      </a:cubicBezTo>
                      <a:cubicBezTo>
                        <a:pt x="3395549" y="2186238"/>
                        <a:pt x="3398617" y="2183368"/>
                        <a:pt x="3405363" y="2185231"/>
                      </a:cubicBezTo>
                      <a:cubicBezTo>
                        <a:pt x="3423493" y="2190208"/>
                        <a:pt x="3407987" y="2196192"/>
                        <a:pt x="3411793" y="2206417"/>
                      </a:cubicBezTo>
                      <a:cubicBezTo>
                        <a:pt x="3413151" y="2210071"/>
                        <a:pt x="3419077" y="2211722"/>
                        <a:pt x="3418796" y="2216723"/>
                      </a:cubicBezTo>
                      <a:cubicBezTo>
                        <a:pt x="3418609" y="2219967"/>
                        <a:pt x="3415880" y="2224546"/>
                        <a:pt x="3414815" y="2226924"/>
                      </a:cubicBezTo>
                      <a:cubicBezTo>
                        <a:pt x="3411125" y="2235215"/>
                        <a:pt x="3398805" y="2241387"/>
                        <a:pt x="3390009" y="2247466"/>
                      </a:cubicBezTo>
                      <a:cubicBezTo>
                        <a:pt x="3384166" y="2251506"/>
                        <a:pt x="3383931" y="2252185"/>
                        <a:pt x="3380687" y="2258076"/>
                      </a:cubicBezTo>
                      <a:cubicBezTo>
                        <a:pt x="3378755" y="2261590"/>
                        <a:pt x="3376694" y="2269928"/>
                        <a:pt x="3372442" y="2270561"/>
                      </a:cubicBezTo>
                      <a:cubicBezTo>
                        <a:pt x="3375417" y="2276217"/>
                        <a:pt x="3367230" y="2276358"/>
                        <a:pt x="3368261" y="2282190"/>
                      </a:cubicBezTo>
                      <a:cubicBezTo>
                        <a:pt x="3364256" y="2282366"/>
                        <a:pt x="3365802" y="2290365"/>
                        <a:pt x="3362804" y="2294429"/>
                      </a:cubicBezTo>
                      <a:cubicBezTo>
                        <a:pt x="3359888" y="2298387"/>
                        <a:pt x="3354863" y="2299746"/>
                        <a:pt x="3353083" y="2304243"/>
                      </a:cubicBezTo>
                      <a:cubicBezTo>
                        <a:pt x="3352064" y="2306819"/>
                        <a:pt x="3353364" y="2309630"/>
                        <a:pt x="3352486" y="2312113"/>
                      </a:cubicBezTo>
                      <a:cubicBezTo>
                        <a:pt x="3350015" y="2319011"/>
                        <a:pt x="3343526" y="2320510"/>
                        <a:pt x="3340692" y="2326097"/>
                      </a:cubicBezTo>
                      <a:cubicBezTo>
                        <a:pt x="3337354" y="2332679"/>
                        <a:pt x="3337963" y="2334377"/>
                        <a:pt x="3332705" y="2339542"/>
                      </a:cubicBezTo>
                      <a:cubicBezTo>
                        <a:pt x="3336289" y="2341193"/>
                        <a:pt x="3342882" y="2340912"/>
                        <a:pt x="3344768" y="2344613"/>
                      </a:cubicBezTo>
                      <a:cubicBezTo>
                        <a:pt x="3345306" y="2345678"/>
                        <a:pt x="3343351" y="2357355"/>
                        <a:pt x="3341699" y="2359873"/>
                      </a:cubicBezTo>
                      <a:cubicBezTo>
                        <a:pt x="3333911" y="2371842"/>
                        <a:pt x="3311835" y="2365061"/>
                        <a:pt x="3300779" y="2372779"/>
                      </a:cubicBezTo>
                      <a:cubicBezTo>
                        <a:pt x="3292569" y="2378518"/>
                        <a:pt x="3285308" y="2386669"/>
                        <a:pt x="3275518" y="2392384"/>
                      </a:cubicBezTo>
                      <a:cubicBezTo>
                        <a:pt x="3270247" y="2395464"/>
                        <a:pt x="3266582" y="2399259"/>
                        <a:pt x="3261124" y="2398720"/>
                      </a:cubicBezTo>
                      <a:cubicBezTo>
                        <a:pt x="3255081" y="2398123"/>
                        <a:pt x="3249284" y="2392724"/>
                        <a:pt x="3243065" y="2391634"/>
                      </a:cubicBezTo>
                      <a:cubicBezTo>
                        <a:pt x="3236003" y="2390405"/>
                        <a:pt x="3230569" y="2390381"/>
                        <a:pt x="3223659" y="2387442"/>
                      </a:cubicBezTo>
                      <a:cubicBezTo>
                        <a:pt x="3210858" y="2382008"/>
                        <a:pt x="3203117" y="2372170"/>
                        <a:pt x="3190574" y="2367942"/>
                      </a:cubicBezTo>
                      <a:cubicBezTo>
                        <a:pt x="3184484" y="2365892"/>
                        <a:pt x="3179647" y="2363831"/>
                        <a:pt x="3173241" y="2365366"/>
                      </a:cubicBezTo>
                      <a:cubicBezTo>
                        <a:pt x="3167174" y="2366818"/>
                        <a:pt x="3161986" y="2372451"/>
                        <a:pt x="3155908" y="2373505"/>
                      </a:cubicBezTo>
                      <a:cubicBezTo>
                        <a:pt x="3146609" y="2375121"/>
                        <a:pt x="3135518" y="2373236"/>
                        <a:pt x="3128011" y="2367450"/>
                      </a:cubicBezTo>
                      <a:cubicBezTo>
                        <a:pt x="3119110" y="2360611"/>
                        <a:pt x="3116053" y="2352623"/>
                        <a:pt x="3104155" y="2349438"/>
                      </a:cubicBezTo>
                      <a:cubicBezTo>
                        <a:pt x="3098580" y="2347950"/>
                        <a:pt x="3093696" y="2350035"/>
                        <a:pt x="3088180" y="2349321"/>
                      </a:cubicBezTo>
                      <a:cubicBezTo>
                        <a:pt x="3080931" y="2348384"/>
                        <a:pt x="3079607" y="2345995"/>
                        <a:pt x="3072299" y="2349637"/>
                      </a:cubicBezTo>
                      <a:cubicBezTo>
                        <a:pt x="3069453" y="2351054"/>
                        <a:pt x="3065717" y="2353162"/>
                        <a:pt x="3063106" y="2354966"/>
                      </a:cubicBezTo>
                      <a:cubicBezTo>
                        <a:pt x="3057414" y="2358889"/>
                        <a:pt x="3056325" y="2358538"/>
                        <a:pt x="3050961" y="2360646"/>
                      </a:cubicBezTo>
                      <a:cubicBezTo>
                        <a:pt x="3042189" y="2364089"/>
                        <a:pt x="3030770" y="2371198"/>
                        <a:pt x="3023907" y="2377627"/>
                      </a:cubicBezTo>
                      <a:cubicBezTo>
                        <a:pt x="3020675" y="2380649"/>
                        <a:pt x="3019222" y="2384420"/>
                        <a:pt x="3016833" y="2388039"/>
                      </a:cubicBezTo>
                      <a:cubicBezTo>
                        <a:pt x="3016014" y="2389280"/>
                        <a:pt x="3017220" y="2391447"/>
                        <a:pt x="3016107" y="2392607"/>
                      </a:cubicBezTo>
                      <a:cubicBezTo>
                        <a:pt x="3014690" y="2394059"/>
                        <a:pt x="3012711" y="2392829"/>
                        <a:pt x="3011177" y="2393895"/>
                      </a:cubicBezTo>
                      <a:cubicBezTo>
                        <a:pt x="3000367" y="2401484"/>
                        <a:pt x="2998013" y="2397490"/>
                        <a:pt x="2986700" y="2397303"/>
                      </a:cubicBezTo>
                      <a:cubicBezTo>
                        <a:pt x="2980153" y="2397197"/>
                        <a:pt x="2974098" y="2401332"/>
                        <a:pt x="2967973" y="2403299"/>
                      </a:cubicBezTo>
                      <a:cubicBezTo>
                        <a:pt x="2960641" y="2405653"/>
                        <a:pt x="2954247" y="2405103"/>
                        <a:pt x="2946623" y="2406321"/>
                      </a:cubicBezTo>
                      <a:cubicBezTo>
                        <a:pt x="2942126" y="2407035"/>
                        <a:pt x="2937769" y="2409623"/>
                        <a:pt x="2933471" y="2410092"/>
                      </a:cubicBezTo>
                      <a:cubicBezTo>
                        <a:pt x="2930660" y="2410396"/>
                        <a:pt x="2928610" y="2408464"/>
                        <a:pt x="2925823" y="2408815"/>
                      </a:cubicBezTo>
                      <a:cubicBezTo>
                        <a:pt x="2915341" y="2410139"/>
                        <a:pt x="2905995" y="2423092"/>
                        <a:pt x="2894424" y="2424005"/>
                      </a:cubicBezTo>
                      <a:cubicBezTo>
                        <a:pt x="2889611" y="2424380"/>
                        <a:pt x="2887163" y="2422963"/>
                        <a:pt x="2882842" y="2420855"/>
                      </a:cubicBezTo>
                      <a:cubicBezTo>
                        <a:pt x="2882514" y="2420691"/>
                        <a:pt x="2876272" y="2417154"/>
                        <a:pt x="2876377" y="2417154"/>
                      </a:cubicBezTo>
                      <a:cubicBezTo>
                        <a:pt x="2874491" y="2417154"/>
                        <a:pt x="2874339" y="2419754"/>
                        <a:pt x="2872360" y="2420082"/>
                      </a:cubicBezTo>
                      <a:cubicBezTo>
                        <a:pt x="2866317" y="2421065"/>
                        <a:pt x="2865766" y="2422166"/>
                        <a:pt x="2858786" y="2420609"/>
                      </a:cubicBezTo>
                      <a:cubicBezTo>
                        <a:pt x="2853130" y="2419356"/>
                        <a:pt x="2847438" y="2416193"/>
                        <a:pt x="2842132" y="2415315"/>
                      </a:cubicBezTo>
                      <a:cubicBezTo>
                        <a:pt x="2837542" y="2414554"/>
                        <a:pt x="2833126" y="2416100"/>
                        <a:pt x="2828676" y="2414870"/>
                      </a:cubicBezTo>
                      <a:cubicBezTo>
                        <a:pt x="2827915" y="2414659"/>
                        <a:pt x="2824120" y="2412212"/>
                        <a:pt x="2821790" y="2411486"/>
                      </a:cubicBezTo>
                      <a:cubicBezTo>
                        <a:pt x="2813533" y="2408956"/>
                        <a:pt x="2801482" y="2409623"/>
                        <a:pt x="2792815" y="2410267"/>
                      </a:cubicBezTo>
                      <a:cubicBezTo>
                        <a:pt x="2787686" y="2410654"/>
                        <a:pt x="2783141" y="2412083"/>
                        <a:pt x="2778305" y="2410221"/>
                      </a:cubicBezTo>
                      <a:cubicBezTo>
                        <a:pt x="2772613" y="2408019"/>
                        <a:pt x="2769954" y="2401695"/>
                        <a:pt x="2765469" y="2398837"/>
                      </a:cubicBezTo>
                      <a:cubicBezTo>
                        <a:pt x="2759028" y="2394726"/>
                        <a:pt x="2754893" y="2394597"/>
                        <a:pt x="2751602" y="2388425"/>
                      </a:cubicBezTo>
                      <a:cubicBezTo>
                        <a:pt x="2751427" y="2388098"/>
                        <a:pt x="2748510" y="2389152"/>
                        <a:pt x="2748194" y="2387934"/>
                      </a:cubicBezTo>
                      <a:cubicBezTo>
                        <a:pt x="2747714" y="2386107"/>
                        <a:pt x="2749998" y="2384725"/>
                        <a:pt x="2749658" y="2382886"/>
                      </a:cubicBezTo>
                      <a:cubicBezTo>
                        <a:pt x="2749342" y="2381129"/>
                        <a:pt x="2749928" y="2372732"/>
                        <a:pt x="2749576" y="2372111"/>
                      </a:cubicBezTo>
                      <a:cubicBezTo>
                        <a:pt x="2746953" y="2367520"/>
                        <a:pt x="2732442" y="2367368"/>
                        <a:pt x="2726797" y="2367263"/>
                      </a:cubicBezTo>
                      <a:cubicBezTo>
                        <a:pt x="2719443" y="2367122"/>
                        <a:pt x="2710062" y="2366619"/>
                        <a:pt x="2704276" y="2361372"/>
                      </a:cubicBezTo>
                      <a:cubicBezTo>
                        <a:pt x="2698409" y="2356043"/>
                        <a:pt x="2697015" y="2349754"/>
                        <a:pt x="2688583" y="2345573"/>
                      </a:cubicBezTo>
                      <a:cubicBezTo>
                        <a:pt x="2677714" y="2340186"/>
                        <a:pt x="2668626" y="2346229"/>
                        <a:pt x="2658086" y="2345093"/>
                      </a:cubicBezTo>
                      <a:cubicBezTo>
                        <a:pt x="2650251" y="2344261"/>
                        <a:pt x="2647534" y="2337925"/>
                        <a:pt x="2638809" y="2337035"/>
                      </a:cubicBezTo>
                      <a:cubicBezTo>
                        <a:pt x="2628971" y="2336040"/>
                        <a:pt x="2616112" y="2331554"/>
                        <a:pt x="2607106" y="2334974"/>
                      </a:cubicBezTo>
                      <a:cubicBezTo>
                        <a:pt x="2599224" y="2337972"/>
                        <a:pt x="2592712" y="2339026"/>
                        <a:pt x="2584491" y="2341462"/>
                      </a:cubicBezTo>
                      <a:cubicBezTo>
                        <a:pt x="2576948" y="2343699"/>
                        <a:pt x="2568083" y="2343032"/>
                        <a:pt x="2561091" y="2347306"/>
                      </a:cubicBezTo>
                      <a:cubicBezTo>
                        <a:pt x="2556933" y="2349848"/>
                        <a:pt x="2554650" y="2353994"/>
                        <a:pt x="2549789" y="2355399"/>
                      </a:cubicBezTo>
                      <a:cubicBezTo>
                        <a:pt x="2543137" y="2357320"/>
                        <a:pt x="2537457" y="2352565"/>
                        <a:pt x="2531028" y="2353431"/>
                      </a:cubicBezTo>
                      <a:cubicBezTo>
                        <a:pt x="2528111" y="2353818"/>
                        <a:pt x="2526776" y="2356640"/>
                        <a:pt x="2523321" y="2356512"/>
                      </a:cubicBezTo>
                      <a:cubicBezTo>
                        <a:pt x="2520370" y="2356406"/>
                        <a:pt x="2518473" y="2353865"/>
                        <a:pt x="2515861" y="2353197"/>
                      </a:cubicBezTo>
                      <a:cubicBezTo>
                        <a:pt x="2511727" y="2352131"/>
                        <a:pt x="2507932" y="2352975"/>
                        <a:pt x="2504372" y="2350902"/>
                      </a:cubicBezTo>
                      <a:cubicBezTo>
                        <a:pt x="2502803" y="2349988"/>
                        <a:pt x="2502873" y="2346205"/>
                        <a:pt x="2500812" y="2345046"/>
                      </a:cubicBezTo>
                      <a:cubicBezTo>
                        <a:pt x="2497837" y="2343360"/>
                        <a:pt x="2494160" y="2345667"/>
                        <a:pt x="2491115" y="2345257"/>
                      </a:cubicBezTo>
                      <a:cubicBezTo>
                        <a:pt x="2485704" y="2344531"/>
                        <a:pt x="2479614" y="2341825"/>
                        <a:pt x="2474941" y="2339143"/>
                      </a:cubicBezTo>
                      <a:cubicBezTo>
                        <a:pt x="2470619" y="2336672"/>
                        <a:pt x="2469261" y="2333534"/>
                        <a:pt x="2465244" y="2330852"/>
                      </a:cubicBezTo>
                      <a:cubicBezTo>
                        <a:pt x="2461484" y="2328334"/>
                        <a:pt x="2455664" y="2330360"/>
                        <a:pt x="2453685" y="2325148"/>
                      </a:cubicBezTo>
                      <a:cubicBezTo>
                        <a:pt x="2452162" y="2321155"/>
                        <a:pt x="2456753" y="2319351"/>
                        <a:pt x="2456097" y="2316435"/>
                      </a:cubicBezTo>
                      <a:cubicBezTo>
                        <a:pt x="2455207" y="2312429"/>
                        <a:pt x="2450862" y="2311492"/>
                        <a:pt x="2450019" y="2306984"/>
                      </a:cubicBezTo>
                      <a:cubicBezTo>
                        <a:pt x="2449504" y="2304161"/>
                        <a:pt x="2451436" y="2300882"/>
                        <a:pt x="2450441" y="2297603"/>
                      </a:cubicBezTo>
                      <a:cubicBezTo>
                        <a:pt x="2448977" y="2292731"/>
                        <a:pt x="2446658" y="2291021"/>
                        <a:pt x="2446728" y="2285434"/>
                      </a:cubicBezTo>
                      <a:cubicBezTo>
                        <a:pt x="2446822" y="2277717"/>
                        <a:pt x="2451178" y="2275163"/>
                        <a:pt x="2442254" y="2270853"/>
                      </a:cubicBezTo>
                      <a:cubicBezTo>
                        <a:pt x="2436117" y="2267890"/>
                        <a:pt x="2422930" y="2264553"/>
                        <a:pt x="2415915" y="2264447"/>
                      </a:cubicBezTo>
                      <a:cubicBezTo>
                        <a:pt x="2411968" y="2264389"/>
                        <a:pt x="2408010" y="2266415"/>
                        <a:pt x="2404285" y="2265560"/>
                      </a:cubicBezTo>
                      <a:cubicBezTo>
                        <a:pt x="2402259" y="2265091"/>
                        <a:pt x="2401276" y="2262269"/>
                        <a:pt x="2399343" y="2261437"/>
                      </a:cubicBezTo>
                      <a:cubicBezTo>
                        <a:pt x="2397493" y="2260653"/>
                        <a:pt x="2395314" y="2261449"/>
                        <a:pt x="2393464" y="2260711"/>
                      </a:cubicBezTo>
                      <a:cubicBezTo>
                        <a:pt x="2382291" y="2256261"/>
                        <a:pt x="2371083" y="2248309"/>
                        <a:pt x="2358997" y="2246786"/>
                      </a:cubicBezTo>
                      <a:cubicBezTo>
                        <a:pt x="2345072" y="2245030"/>
                        <a:pt x="2335913" y="2248449"/>
                        <a:pt x="2324354" y="2240005"/>
                      </a:cubicBezTo>
                      <a:cubicBezTo>
                        <a:pt x="2316238" y="2234079"/>
                        <a:pt x="2305346" y="2233904"/>
                        <a:pt x="2296293" y="2229863"/>
                      </a:cubicBezTo>
                      <a:cubicBezTo>
                        <a:pt x="2293084" y="2228423"/>
                        <a:pt x="2286983" y="2226455"/>
                        <a:pt x="2284184" y="2224687"/>
                      </a:cubicBezTo>
                      <a:cubicBezTo>
                        <a:pt x="2281982" y="2223305"/>
                        <a:pt x="2280448" y="2218280"/>
                        <a:pt x="2277660" y="2218632"/>
                      </a:cubicBezTo>
                      <a:cubicBezTo>
                        <a:pt x="2273550" y="2219170"/>
                        <a:pt x="2270282" y="2234993"/>
                        <a:pt x="2267366" y="2238471"/>
                      </a:cubicBezTo>
                      <a:cubicBezTo>
                        <a:pt x="2260398" y="2246739"/>
                        <a:pt x="2247398" y="2242793"/>
                        <a:pt x="2243322" y="2254352"/>
                      </a:cubicBezTo>
                      <a:cubicBezTo>
                        <a:pt x="2242514" y="2256636"/>
                        <a:pt x="2243369" y="2262339"/>
                        <a:pt x="2242104" y="2263674"/>
                      </a:cubicBezTo>
                      <a:cubicBezTo>
                        <a:pt x="2241027" y="2264787"/>
                        <a:pt x="2234609" y="2263944"/>
                        <a:pt x="2232102" y="2265853"/>
                      </a:cubicBezTo>
                      <a:cubicBezTo>
                        <a:pt x="2225954" y="2270525"/>
                        <a:pt x="2226586" y="2279742"/>
                        <a:pt x="2224947" y="2285926"/>
                      </a:cubicBezTo>
                      <a:cubicBezTo>
                        <a:pt x="2224068" y="2289217"/>
                        <a:pt x="2219782" y="2295178"/>
                        <a:pt x="2220180" y="2298012"/>
                      </a:cubicBezTo>
                      <a:cubicBezTo>
                        <a:pt x="2220801" y="2302404"/>
                        <a:pt x="2226165" y="2302861"/>
                        <a:pt x="2227863" y="2306433"/>
                      </a:cubicBezTo>
                      <a:cubicBezTo>
                        <a:pt x="2229210" y="2309244"/>
                        <a:pt x="2228027" y="2311586"/>
                        <a:pt x="2228976" y="2315990"/>
                      </a:cubicBezTo>
                      <a:cubicBezTo>
                        <a:pt x="2230217" y="2321787"/>
                        <a:pt x="2233508" y="2324024"/>
                        <a:pt x="2238110" y="2326741"/>
                      </a:cubicBezTo>
                      <a:cubicBezTo>
                        <a:pt x="2246250" y="2331566"/>
                        <a:pt x="2246777" y="2330652"/>
                        <a:pt x="2244177" y="2341626"/>
                      </a:cubicBezTo>
                      <a:cubicBezTo>
                        <a:pt x="2241612" y="2352424"/>
                        <a:pt x="2237513" y="2361829"/>
                        <a:pt x="2226598" y="2366829"/>
                      </a:cubicBezTo>
                      <a:cubicBezTo>
                        <a:pt x="2225368" y="2367392"/>
                        <a:pt x="2223284" y="2370109"/>
                        <a:pt x="2222253" y="2370355"/>
                      </a:cubicBezTo>
                      <a:cubicBezTo>
                        <a:pt x="2220695" y="2370718"/>
                        <a:pt x="2219466" y="2368387"/>
                        <a:pt x="2218763" y="2368539"/>
                      </a:cubicBezTo>
                      <a:cubicBezTo>
                        <a:pt x="2215554" y="2369242"/>
                        <a:pt x="2210120" y="2369394"/>
                        <a:pt x="2207579" y="2371725"/>
                      </a:cubicBezTo>
                      <a:cubicBezTo>
                        <a:pt x="2207391" y="2371889"/>
                        <a:pt x="2208984" y="2374910"/>
                        <a:pt x="2208000" y="2375918"/>
                      </a:cubicBezTo>
                      <a:cubicBezTo>
                        <a:pt x="2206126" y="2377850"/>
                        <a:pt x="2204042" y="2379138"/>
                        <a:pt x="2201758" y="2380602"/>
                      </a:cubicBezTo>
                      <a:cubicBezTo>
                        <a:pt x="2197647" y="2383226"/>
                        <a:pt x="2193735" y="2385099"/>
                        <a:pt x="2188863" y="2383565"/>
                      </a:cubicBezTo>
                      <a:cubicBezTo>
                        <a:pt x="2180338" y="2380883"/>
                        <a:pt x="2179190" y="2372369"/>
                        <a:pt x="2168076" y="2372111"/>
                      </a:cubicBezTo>
                      <a:cubicBezTo>
                        <a:pt x="2165745" y="2372065"/>
                        <a:pt x="2163707" y="2371456"/>
                        <a:pt x="2161470" y="2371713"/>
                      </a:cubicBezTo>
                      <a:cubicBezTo>
                        <a:pt x="2159725" y="2371912"/>
                        <a:pt x="2158636" y="2375285"/>
                        <a:pt x="2156540" y="2375180"/>
                      </a:cubicBezTo>
                      <a:cubicBezTo>
                        <a:pt x="2154326" y="2375063"/>
                        <a:pt x="2154092" y="2371233"/>
                        <a:pt x="2151106" y="2370835"/>
                      </a:cubicBezTo>
                      <a:cubicBezTo>
                        <a:pt x="2148470" y="2370495"/>
                        <a:pt x="2146585" y="2373411"/>
                        <a:pt x="2143540" y="2372861"/>
                      </a:cubicBezTo>
                      <a:cubicBezTo>
                        <a:pt x="2139230" y="2372088"/>
                        <a:pt x="2135424" y="2365764"/>
                        <a:pt x="2130470" y="2365998"/>
                      </a:cubicBezTo>
                      <a:cubicBezTo>
                        <a:pt x="2128573" y="2366080"/>
                        <a:pt x="2124450" y="2369359"/>
                        <a:pt x="2123876" y="2369277"/>
                      </a:cubicBezTo>
                      <a:cubicBezTo>
                        <a:pt x="2120527" y="2368820"/>
                        <a:pt x="2121323" y="2364745"/>
                        <a:pt x="2118067" y="2364358"/>
                      </a:cubicBezTo>
                      <a:cubicBezTo>
                        <a:pt x="2112258" y="2363667"/>
                        <a:pt x="2104939" y="2373610"/>
                        <a:pt x="2099341" y="2373083"/>
                      </a:cubicBezTo>
                      <a:cubicBezTo>
                        <a:pt x="2097186" y="2372873"/>
                        <a:pt x="2094387" y="2369664"/>
                        <a:pt x="2091962" y="2369055"/>
                      </a:cubicBezTo>
                      <a:cubicBezTo>
                        <a:pt x="2085568" y="2367450"/>
                        <a:pt x="2080227" y="2369242"/>
                        <a:pt x="2074442" y="2366794"/>
                      </a:cubicBezTo>
                      <a:cubicBezTo>
                        <a:pt x="2069137" y="2364557"/>
                        <a:pt x="2072310" y="2362110"/>
                        <a:pt x="2063948" y="2362637"/>
                      </a:cubicBezTo>
                      <a:cubicBezTo>
                        <a:pt x="2059978" y="2362883"/>
                        <a:pt x="2056066" y="2365213"/>
                        <a:pt x="2052600" y="2363562"/>
                      </a:cubicBezTo>
                      <a:cubicBezTo>
                        <a:pt x="2050082" y="2362367"/>
                        <a:pt x="2048700" y="2356605"/>
                        <a:pt x="2046850" y="2354790"/>
                      </a:cubicBezTo>
                      <a:cubicBezTo>
                        <a:pt x="2043465" y="2351499"/>
                        <a:pt x="2041778" y="2352998"/>
                        <a:pt x="2039623" y="2348489"/>
                      </a:cubicBezTo>
                      <a:cubicBezTo>
                        <a:pt x="2036426" y="2341837"/>
                        <a:pt x="2040443" y="2331062"/>
                        <a:pt x="2033346" y="2326893"/>
                      </a:cubicBezTo>
                      <a:cubicBezTo>
                        <a:pt x="2029212" y="2324469"/>
                        <a:pt x="2018496" y="2326354"/>
                        <a:pt x="2013390" y="2326167"/>
                      </a:cubicBezTo>
                      <a:cubicBezTo>
                        <a:pt x="2005801" y="2325886"/>
                        <a:pt x="1998446" y="2324434"/>
                        <a:pt x="1991091" y="2323918"/>
                      </a:cubicBezTo>
                      <a:cubicBezTo>
                        <a:pt x="1986500" y="2323590"/>
                        <a:pt x="1979496" y="2326144"/>
                        <a:pt x="1974988" y="2324598"/>
                      </a:cubicBezTo>
                      <a:cubicBezTo>
                        <a:pt x="1968886" y="2322513"/>
                        <a:pt x="1971228" y="2322384"/>
                        <a:pt x="1968078" y="2317278"/>
                      </a:cubicBezTo>
                      <a:cubicBezTo>
                        <a:pt x="1965934" y="2313800"/>
                        <a:pt x="1966602" y="2307862"/>
                        <a:pt x="1958931" y="2311691"/>
                      </a:cubicBezTo>
                      <a:cubicBezTo>
                        <a:pt x="1955851" y="2313226"/>
                        <a:pt x="1957350" y="2317524"/>
                        <a:pt x="1954200" y="2318578"/>
                      </a:cubicBezTo>
                      <a:cubicBezTo>
                        <a:pt x="1949773" y="2320054"/>
                        <a:pt x="1950604" y="2317688"/>
                        <a:pt x="1947044" y="2315674"/>
                      </a:cubicBezTo>
                      <a:cubicBezTo>
                        <a:pt x="1944748" y="2314385"/>
                        <a:pt x="1939396" y="2307745"/>
                        <a:pt x="1938237" y="2307347"/>
                      </a:cubicBezTo>
                      <a:cubicBezTo>
                        <a:pt x="1930858" y="2304794"/>
                        <a:pt x="1934138" y="2313202"/>
                        <a:pt x="1928739" y="2317009"/>
                      </a:cubicBezTo>
                      <a:cubicBezTo>
                        <a:pt x="1923445" y="2320733"/>
                        <a:pt x="1916934" y="2316985"/>
                        <a:pt x="1911288" y="2317243"/>
                      </a:cubicBezTo>
                      <a:cubicBezTo>
                        <a:pt x="1902915" y="2317629"/>
                        <a:pt x="1902048" y="2321845"/>
                        <a:pt x="1896602" y="2325863"/>
                      </a:cubicBezTo>
                      <a:cubicBezTo>
                        <a:pt x="1894459" y="2327443"/>
                        <a:pt x="1889646" y="2331402"/>
                        <a:pt x="1887947" y="2332152"/>
                      </a:cubicBezTo>
                      <a:cubicBezTo>
                        <a:pt x="1884633" y="2333616"/>
                        <a:pt x="1883310" y="2333065"/>
                        <a:pt x="1878906" y="2333651"/>
                      </a:cubicBezTo>
                      <a:cubicBezTo>
                        <a:pt x="1869900" y="2334857"/>
                        <a:pt x="1858680" y="2339331"/>
                        <a:pt x="1851911" y="2345163"/>
                      </a:cubicBezTo>
                      <a:cubicBezTo>
                        <a:pt x="1849276" y="2347423"/>
                        <a:pt x="1850775" y="2349766"/>
                        <a:pt x="1846781" y="2351464"/>
                      </a:cubicBezTo>
                      <a:cubicBezTo>
                        <a:pt x="1843807" y="2352717"/>
                        <a:pt x="1838255" y="2351815"/>
                        <a:pt x="1834719" y="2352916"/>
                      </a:cubicBezTo>
                      <a:cubicBezTo>
                        <a:pt x="1827399" y="2355188"/>
                        <a:pt x="1817995" y="2358924"/>
                        <a:pt x="1813029" y="2363421"/>
                      </a:cubicBezTo>
                      <a:cubicBezTo>
                        <a:pt x="1810359" y="2365846"/>
                        <a:pt x="1811354" y="2367731"/>
                        <a:pt x="1806248" y="2369383"/>
                      </a:cubicBezTo>
                      <a:cubicBezTo>
                        <a:pt x="1800825" y="2371116"/>
                        <a:pt x="1795661" y="2367942"/>
                        <a:pt x="1793131" y="2374020"/>
                      </a:cubicBezTo>
                      <a:cubicBezTo>
                        <a:pt x="1790320" y="2380825"/>
                        <a:pt x="1800638" y="2380087"/>
                        <a:pt x="1794876" y="2386083"/>
                      </a:cubicBezTo>
                      <a:cubicBezTo>
                        <a:pt x="1793166" y="2387875"/>
                        <a:pt x="1785366" y="2390100"/>
                        <a:pt x="1783012" y="2390779"/>
                      </a:cubicBezTo>
                      <a:cubicBezTo>
                        <a:pt x="1781900" y="2391096"/>
                        <a:pt x="1781665" y="2393789"/>
                        <a:pt x="1780225" y="2393906"/>
                      </a:cubicBezTo>
                      <a:cubicBezTo>
                        <a:pt x="1778093" y="2394070"/>
                        <a:pt x="1775013" y="2390487"/>
                        <a:pt x="1773994" y="2390733"/>
                      </a:cubicBezTo>
                      <a:cubicBezTo>
                        <a:pt x="1768865" y="2391916"/>
                        <a:pt x="1772917" y="2404775"/>
                        <a:pt x="1760561" y="2402339"/>
                      </a:cubicBezTo>
                      <a:cubicBezTo>
                        <a:pt x="1758758" y="2401987"/>
                        <a:pt x="1748124" y="2391377"/>
                        <a:pt x="1754132" y="2403814"/>
                      </a:cubicBezTo>
                      <a:cubicBezTo>
                        <a:pt x="1744879" y="2403252"/>
                        <a:pt x="1727218" y="2395886"/>
                        <a:pt x="1718177" y="2403100"/>
                      </a:cubicBezTo>
                      <a:cubicBezTo>
                        <a:pt x="1713282" y="2407000"/>
                        <a:pt x="1716772" y="2412610"/>
                        <a:pt x="1713797" y="2416838"/>
                      </a:cubicBezTo>
                      <a:cubicBezTo>
                        <a:pt x="1709452" y="2422998"/>
                        <a:pt x="1701488" y="2421522"/>
                        <a:pt x="1695304" y="2422401"/>
                      </a:cubicBezTo>
                      <a:cubicBezTo>
                        <a:pt x="1691405" y="2422951"/>
                        <a:pt x="1686591" y="2423841"/>
                        <a:pt x="1682949" y="2425083"/>
                      </a:cubicBezTo>
                      <a:cubicBezTo>
                        <a:pt x="1681473" y="2425586"/>
                        <a:pt x="1681836" y="2428022"/>
                        <a:pt x="1679412" y="2428198"/>
                      </a:cubicBezTo>
                      <a:cubicBezTo>
                        <a:pt x="1670476" y="2428807"/>
                        <a:pt x="1674189" y="2421054"/>
                        <a:pt x="1667548" y="2417599"/>
                      </a:cubicBezTo>
                      <a:cubicBezTo>
                        <a:pt x="1661306" y="2414343"/>
                        <a:pt x="1658648" y="2418559"/>
                        <a:pt x="1653904" y="2411954"/>
                      </a:cubicBezTo>
                      <a:cubicBezTo>
                        <a:pt x="1652815" y="2410431"/>
                        <a:pt x="1652897" y="2406754"/>
                        <a:pt x="1653026" y="2406895"/>
                      </a:cubicBezTo>
                      <a:cubicBezTo>
                        <a:pt x="1651468" y="2405021"/>
                        <a:pt x="1648552" y="2404740"/>
                        <a:pt x="1646854" y="2402854"/>
                      </a:cubicBezTo>
                      <a:cubicBezTo>
                        <a:pt x="1644922" y="2400711"/>
                        <a:pt x="1648154" y="2399868"/>
                        <a:pt x="1644430" y="2396998"/>
                      </a:cubicBezTo>
                      <a:cubicBezTo>
                        <a:pt x="1642158" y="2395253"/>
                        <a:pt x="1638141" y="2397549"/>
                        <a:pt x="1636665" y="2395534"/>
                      </a:cubicBezTo>
                      <a:cubicBezTo>
                        <a:pt x="1632648" y="2390007"/>
                        <a:pt x="1641361" y="2388390"/>
                        <a:pt x="1644851" y="2386247"/>
                      </a:cubicBezTo>
                      <a:cubicBezTo>
                        <a:pt x="1643001" y="2381972"/>
                        <a:pt x="1644605" y="2381855"/>
                        <a:pt x="1640905" y="2380637"/>
                      </a:cubicBezTo>
                      <a:cubicBezTo>
                        <a:pt x="1635447" y="2378857"/>
                        <a:pt x="1637051" y="2380614"/>
                        <a:pt x="1633339" y="2383073"/>
                      </a:cubicBezTo>
                      <a:cubicBezTo>
                        <a:pt x="1626663" y="2387500"/>
                        <a:pt x="1619835" y="2394621"/>
                        <a:pt x="1613628" y="2401952"/>
                      </a:cubicBezTo>
                      <a:cubicBezTo>
                        <a:pt x="1609564" y="2394879"/>
                        <a:pt x="1606941" y="2401531"/>
                        <a:pt x="1603779" y="2400266"/>
                      </a:cubicBezTo>
                      <a:cubicBezTo>
                        <a:pt x="1599891" y="2398720"/>
                        <a:pt x="1602385" y="2397490"/>
                        <a:pt x="1598684" y="2395113"/>
                      </a:cubicBezTo>
                      <a:cubicBezTo>
                        <a:pt x="1597630" y="2394433"/>
                        <a:pt x="1595499" y="2397139"/>
                        <a:pt x="1594410" y="2397010"/>
                      </a:cubicBezTo>
                      <a:cubicBezTo>
                        <a:pt x="1593086" y="2396834"/>
                        <a:pt x="1592325" y="2394902"/>
                        <a:pt x="1590896" y="2394539"/>
                      </a:cubicBezTo>
                      <a:cubicBezTo>
                        <a:pt x="1589350" y="2394141"/>
                        <a:pt x="1588132" y="2395546"/>
                        <a:pt x="1586458" y="2395078"/>
                      </a:cubicBezTo>
                      <a:cubicBezTo>
                        <a:pt x="1584631" y="2394562"/>
                        <a:pt x="1585415" y="2391986"/>
                        <a:pt x="1582933" y="2391599"/>
                      </a:cubicBezTo>
                      <a:cubicBezTo>
                        <a:pt x="1579185" y="2391014"/>
                        <a:pt x="1567415" y="2395417"/>
                        <a:pt x="1563831" y="2392923"/>
                      </a:cubicBezTo>
                      <a:cubicBezTo>
                        <a:pt x="1562098" y="2391705"/>
                        <a:pt x="1558736" y="2382453"/>
                        <a:pt x="1556910" y="2379782"/>
                      </a:cubicBezTo>
                      <a:cubicBezTo>
                        <a:pt x="1555914" y="2378330"/>
                        <a:pt x="1556605" y="2376175"/>
                        <a:pt x="1555539" y="2374922"/>
                      </a:cubicBezTo>
                      <a:cubicBezTo>
                        <a:pt x="1554345" y="2373529"/>
                        <a:pt x="1550234" y="2373236"/>
                        <a:pt x="1549847" y="2371865"/>
                      </a:cubicBezTo>
                      <a:cubicBezTo>
                        <a:pt x="1548454" y="2366853"/>
                        <a:pt x="1553771" y="2365436"/>
                        <a:pt x="1553654" y="2364686"/>
                      </a:cubicBezTo>
                      <a:cubicBezTo>
                        <a:pt x="1552623" y="2357870"/>
                        <a:pt x="1546978" y="2361126"/>
                        <a:pt x="1543792" y="2360049"/>
                      </a:cubicBezTo>
                      <a:cubicBezTo>
                        <a:pt x="1541310" y="2359193"/>
                        <a:pt x="1538593" y="2355879"/>
                        <a:pt x="1535407" y="2354626"/>
                      </a:cubicBezTo>
                      <a:cubicBezTo>
                        <a:pt x="1532678" y="2353560"/>
                        <a:pt x="1528591" y="2351241"/>
                        <a:pt x="1525605" y="2350867"/>
                      </a:cubicBezTo>
                      <a:cubicBezTo>
                        <a:pt x="1517734" y="2349859"/>
                        <a:pt x="1516470" y="2350867"/>
                        <a:pt x="1512663" y="2343570"/>
                      </a:cubicBezTo>
                      <a:cubicBezTo>
                        <a:pt x="1508611" y="2335794"/>
                        <a:pt x="1511152" y="2328919"/>
                        <a:pt x="1504676" y="2322162"/>
                      </a:cubicBezTo>
                      <a:cubicBezTo>
                        <a:pt x="1502814" y="2320206"/>
                        <a:pt x="1499863" y="2319644"/>
                        <a:pt x="1498082" y="2317524"/>
                      </a:cubicBezTo>
                      <a:cubicBezTo>
                        <a:pt x="1496373" y="2315509"/>
                        <a:pt x="1496724" y="2312593"/>
                        <a:pt x="1494955" y="2310356"/>
                      </a:cubicBezTo>
                      <a:cubicBezTo>
                        <a:pt x="1491758" y="2306281"/>
                        <a:pt x="1489896" y="2307347"/>
                        <a:pt x="1486125" y="2305356"/>
                      </a:cubicBezTo>
                      <a:cubicBezTo>
                        <a:pt x="1477775" y="2300964"/>
                        <a:pt x="1466871" y="2294558"/>
                        <a:pt x="1457209" y="2297907"/>
                      </a:cubicBezTo>
                      <a:cubicBezTo>
                        <a:pt x="1456132" y="2298282"/>
                        <a:pt x="1454879" y="2296830"/>
                        <a:pt x="1453766" y="2297462"/>
                      </a:cubicBezTo>
                      <a:cubicBezTo>
                        <a:pt x="1451986" y="2298493"/>
                        <a:pt x="1452068" y="2302334"/>
                        <a:pt x="1449913" y="2303622"/>
                      </a:cubicBezTo>
                      <a:cubicBezTo>
                        <a:pt x="1444362" y="2306972"/>
                        <a:pt x="1438002" y="2301678"/>
                        <a:pt x="1432884" y="2304571"/>
                      </a:cubicBezTo>
                      <a:cubicBezTo>
                        <a:pt x="1431034" y="2305613"/>
                        <a:pt x="1432709" y="2309408"/>
                        <a:pt x="1431081" y="2311200"/>
                      </a:cubicBezTo>
                      <a:cubicBezTo>
                        <a:pt x="1430062" y="2312324"/>
                        <a:pt x="1422930" y="2315931"/>
                        <a:pt x="1421606" y="2316142"/>
                      </a:cubicBezTo>
                      <a:cubicBezTo>
                        <a:pt x="1419077" y="2316552"/>
                        <a:pt x="1414755" y="2314455"/>
                        <a:pt x="1411417" y="2314889"/>
                      </a:cubicBezTo>
                      <a:cubicBezTo>
                        <a:pt x="1409169" y="2315170"/>
                        <a:pt x="1406978" y="2317419"/>
                        <a:pt x="1404742" y="2317454"/>
                      </a:cubicBezTo>
                      <a:cubicBezTo>
                        <a:pt x="1399811" y="2317536"/>
                        <a:pt x="1397398" y="2314163"/>
                        <a:pt x="1392878" y="2312968"/>
                      </a:cubicBezTo>
                      <a:cubicBezTo>
                        <a:pt x="1390102" y="2312230"/>
                        <a:pt x="1383848" y="2312148"/>
                        <a:pt x="1381412" y="2312547"/>
                      </a:cubicBezTo>
                      <a:cubicBezTo>
                        <a:pt x="1378847" y="2312968"/>
                        <a:pt x="1369595" y="2319421"/>
                        <a:pt x="1366047" y="2314877"/>
                      </a:cubicBezTo>
                      <a:cubicBezTo>
                        <a:pt x="1364981" y="2313519"/>
                        <a:pt x="1366351" y="2307698"/>
                        <a:pt x="1365894" y="2305684"/>
                      </a:cubicBezTo>
                      <a:cubicBezTo>
                        <a:pt x="1363283" y="2294323"/>
                        <a:pt x="1357860" y="2303845"/>
                        <a:pt x="1350482" y="2301362"/>
                      </a:cubicBezTo>
                      <a:cubicBezTo>
                        <a:pt x="1340258" y="2297919"/>
                        <a:pt x="1356443" y="2288596"/>
                        <a:pt x="1348678" y="2283842"/>
                      </a:cubicBezTo>
                      <a:cubicBezTo>
                        <a:pt x="1349276" y="2284216"/>
                        <a:pt x="1344544" y="2284802"/>
                        <a:pt x="1343525" y="2284345"/>
                      </a:cubicBezTo>
                      <a:cubicBezTo>
                        <a:pt x="1341534" y="2283490"/>
                        <a:pt x="1340457" y="2281476"/>
                        <a:pt x="1339180" y="2280773"/>
                      </a:cubicBezTo>
                      <a:cubicBezTo>
                        <a:pt x="1339028" y="2280691"/>
                        <a:pt x="1336908" y="2278302"/>
                        <a:pt x="1336475" y="2278056"/>
                      </a:cubicBezTo>
                      <a:cubicBezTo>
                        <a:pt x="1338454" y="2279204"/>
                        <a:pt x="1328406" y="2277822"/>
                        <a:pt x="1330490" y="2277611"/>
                      </a:cubicBezTo>
                      <a:cubicBezTo>
                        <a:pt x="1326309" y="2278033"/>
                        <a:pt x="1327785" y="2276639"/>
                        <a:pt x="1324272" y="2278126"/>
                      </a:cubicBezTo>
                      <a:cubicBezTo>
                        <a:pt x="1322843" y="2278735"/>
                        <a:pt x="1323932" y="2281909"/>
                        <a:pt x="1322679" y="2282612"/>
                      </a:cubicBezTo>
                      <a:cubicBezTo>
                        <a:pt x="1317971" y="2285259"/>
                        <a:pt x="1314645" y="2279813"/>
                        <a:pt x="1312794" y="2286535"/>
                      </a:cubicBezTo>
                      <a:cubicBezTo>
                        <a:pt x="1311682" y="2290540"/>
                        <a:pt x="1315874" y="2291431"/>
                        <a:pt x="1315652" y="2295260"/>
                      </a:cubicBezTo>
                      <a:cubicBezTo>
                        <a:pt x="1315242" y="2302533"/>
                        <a:pt x="1310323" y="2300531"/>
                        <a:pt x="1305967" y="2302732"/>
                      </a:cubicBezTo>
                      <a:cubicBezTo>
                        <a:pt x="1303039" y="2304196"/>
                        <a:pt x="1300860" y="2308658"/>
                        <a:pt x="1298858" y="2309607"/>
                      </a:cubicBezTo>
                      <a:cubicBezTo>
                        <a:pt x="1297183" y="2310380"/>
                        <a:pt x="1286385" y="2305566"/>
                        <a:pt x="1295895" y="2314092"/>
                      </a:cubicBezTo>
                      <a:cubicBezTo>
                        <a:pt x="1285905" y="2313144"/>
                        <a:pt x="1275997" y="2284825"/>
                        <a:pt x="1271418" y="2276698"/>
                      </a:cubicBezTo>
                      <a:cubicBezTo>
                        <a:pt x="1262107" y="2260114"/>
                        <a:pt x="1251777" y="2244198"/>
                        <a:pt x="1241459" y="2228223"/>
                      </a:cubicBezTo>
                      <a:cubicBezTo>
                        <a:pt x="1225005" y="2203091"/>
                        <a:pt x="1208445" y="2178110"/>
                        <a:pt x="1191287" y="2153434"/>
                      </a:cubicBezTo>
                      <a:cubicBezTo>
                        <a:pt x="1173802" y="2128266"/>
                        <a:pt x="1148774" y="2114399"/>
                        <a:pt x="1123548" y="2097921"/>
                      </a:cubicBezTo>
                      <a:cubicBezTo>
                        <a:pt x="1118770" y="2094794"/>
                        <a:pt x="1095955" y="2077309"/>
                        <a:pt x="1105957" y="2074603"/>
                      </a:cubicBezTo>
                      <a:cubicBezTo>
                        <a:pt x="1113007" y="2072683"/>
                        <a:pt x="1114378" y="2079370"/>
                        <a:pt x="1121206" y="2072987"/>
                      </a:cubicBezTo>
                      <a:cubicBezTo>
                        <a:pt x="1122201" y="2072050"/>
                        <a:pt x="1126464" y="2066639"/>
                        <a:pt x="1126452" y="2065141"/>
                      </a:cubicBezTo>
                      <a:cubicBezTo>
                        <a:pt x="1126429" y="2061885"/>
                        <a:pt x="1122037" y="2059753"/>
                        <a:pt x="1122342" y="2058898"/>
                      </a:cubicBezTo>
                      <a:cubicBezTo>
                        <a:pt x="1122962" y="2057177"/>
                        <a:pt x="1134018" y="2055279"/>
                        <a:pt x="1128818" y="2053066"/>
                      </a:cubicBezTo>
                      <a:cubicBezTo>
                        <a:pt x="1122705" y="2050466"/>
                        <a:pt x="1115666" y="2058957"/>
                        <a:pt x="1112832" y="2060854"/>
                      </a:cubicBezTo>
                      <a:cubicBezTo>
                        <a:pt x="1106742" y="2064906"/>
                        <a:pt x="1099703" y="2059179"/>
                        <a:pt x="1095019" y="2061557"/>
                      </a:cubicBezTo>
                      <a:cubicBezTo>
                        <a:pt x="1091001" y="2063595"/>
                        <a:pt x="1092992" y="2067131"/>
                        <a:pt x="1091201" y="2068865"/>
                      </a:cubicBezTo>
                      <a:cubicBezTo>
                        <a:pt x="1087055" y="2072858"/>
                        <a:pt x="1072333" y="2076910"/>
                        <a:pt x="1066606" y="2078339"/>
                      </a:cubicBezTo>
                      <a:cubicBezTo>
                        <a:pt x="1060715" y="2079803"/>
                        <a:pt x="1054438" y="2077836"/>
                        <a:pt x="1049402" y="2082169"/>
                      </a:cubicBezTo>
                      <a:cubicBezTo>
                        <a:pt x="1051030" y="2083481"/>
                        <a:pt x="1051627" y="2086034"/>
                        <a:pt x="1053220" y="2087404"/>
                      </a:cubicBezTo>
                      <a:cubicBezTo>
                        <a:pt x="1047610" y="2090789"/>
                        <a:pt x="1037784" y="2099444"/>
                        <a:pt x="1031331" y="2100228"/>
                      </a:cubicBezTo>
                      <a:cubicBezTo>
                        <a:pt x="1028801" y="2100533"/>
                        <a:pt x="1026448" y="2097933"/>
                        <a:pt x="1023684" y="2098120"/>
                      </a:cubicBezTo>
                      <a:cubicBezTo>
                        <a:pt x="1018214" y="2098507"/>
                        <a:pt x="1020510" y="2099467"/>
                        <a:pt x="1017336" y="2101669"/>
                      </a:cubicBezTo>
                      <a:cubicBezTo>
                        <a:pt x="1013834" y="2104093"/>
                        <a:pt x="1011199" y="2107302"/>
                        <a:pt x="1007791" y="2109152"/>
                      </a:cubicBezTo>
                      <a:cubicBezTo>
                        <a:pt x="1004242" y="2111085"/>
                        <a:pt x="1003259" y="2107782"/>
                        <a:pt x="1000846" y="2111190"/>
                      </a:cubicBezTo>
                      <a:cubicBezTo>
                        <a:pt x="998598" y="2114364"/>
                        <a:pt x="1002439" y="2115418"/>
                        <a:pt x="1002064" y="2117643"/>
                      </a:cubicBezTo>
                      <a:cubicBezTo>
                        <a:pt x="1000588" y="2126450"/>
                        <a:pt x="997251" y="2124834"/>
                        <a:pt x="992332" y="2120501"/>
                      </a:cubicBezTo>
                      <a:cubicBezTo>
                        <a:pt x="991617" y="2119892"/>
                        <a:pt x="992121" y="2116636"/>
                        <a:pt x="990399" y="2115851"/>
                      </a:cubicBezTo>
                      <a:cubicBezTo>
                        <a:pt x="988233" y="2114868"/>
                        <a:pt x="984520" y="2117116"/>
                        <a:pt x="984626" y="2117151"/>
                      </a:cubicBezTo>
                      <a:cubicBezTo>
                        <a:pt x="980503" y="2115723"/>
                        <a:pt x="982400" y="2112982"/>
                        <a:pt x="976170" y="2112350"/>
                      </a:cubicBezTo>
                      <a:cubicBezTo>
                        <a:pt x="972856" y="2112010"/>
                        <a:pt x="972001" y="2114212"/>
                        <a:pt x="969084" y="2114516"/>
                      </a:cubicBezTo>
                      <a:cubicBezTo>
                        <a:pt x="966695" y="2114762"/>
                        <a:pt x="963030" y="2113404"/>
                        <a:pt x="960512" y="2114235"/>
                      </a:cubicBezTo>
                      <a:cubicBezTo>
                        <a:pt x="960184" y="2114341"/>
                        <a:pt x="956448" y="2119494"/>
                        <a:pt x="955663" y="2120278"/>
                      </a:cubicBezTo>
                      <a:cubicBezTo>
                        <a:pt x="954000" y="2121941"/>
                        <a:pt x="952150" y="2124998"/>
                        <a:pt x="949784" y="2125759"/>
                      </a:cubicBezTo>
                      <a:cubicBezTo>
                        <a:pt x="945978" y="2126977"/>
                        <a:pt x="942698" y="2124998"/>
                        <a:pt x="946680" y="2120665"/>
                      </a:cubicBezTo>
                      <a:cubicBezTo>
                        <a:pt x="943893" y="2119435"/>
                        <a:pt x="941082" y="2118194"/>
                        <a:pt x="938295" y="2116964"/>
                      </a:cubicBezTo>
                      <a:cubicBezTo>
                        <a:pt x="939208" y="2113415"/>
                        <a:pt x="938787" y="2112549"/>
                        <a:pt x="940016" y="2109211"/>
                      </a:cubicBezTo>
                      <a:cubicBezTo>
                        <a:pt x="940930" y="2106728"/>
                        <a:pt x="944127" y="2100275"/>
                        <a:pt x="949105" y="2100123"/>
                      </a:cubicBezTo>
                      <a:cubicBezTo>
                        <a:pt x="948297" y="2099654"/>
                        <a:pt x="947477" y="2099174"/>
                        <a:pt x="946669" y="2098706"/>
                      </a:cubicBezTo>
                      <a:cubicBezTo>
                        <a:pt x="950311" y="2092452"/>
                        <a:pt x="954281" y="2098682"/>
                        <a:pt x="959352" y="2096621"/>
                      </a:cubicBezTo>
                      <a:cubicBezTo>
                        <a:pt x="964283" y="2094618"/>
                        <a:pt x="963931" y="2087100"/>
                        <a:pt x="964903" y="2082274"/>
                      </a:cubicBezTo>
                      <a:cubicBezTo>
                        <a:pt x="961390" y="2082192"/>
                        <a:pt x="960758" y="2080096"/>
                        <a:pt x="956963" y="2081689"/>
                      </a:cubicBezTo>
                      <a:cubicBezTo>
                        <a:pt x="958439" y="2081068"/>
                        <a:pt x="953883" y="2087076"/>
                        <a:pt x="953403" y="2087392"/>
                      </a:cubicBezTo>
                      <a:cubicBezTo>
                        <a:pt x="952618" y="2087931"/>
                        <a:pt x="953391" y="2089383"/>
                        <a:pt x="951693" y="2090250"/>
                      </a:cubicBezTo>
                      <a:cubicBezTo>
                        <a:pt x="950323" y="2090953"/>
                        <a:pt x="949702" y="2088130"/>
                        <a:pt x="948624" y="2088446"/>
                      </a:cubicBezTo>
                      <a:cubicBezTo>
                        <a:pt x="944350" y="2089711"/>
                        <a:pt x="945615" y="2090109"/>
                        <a:pt x="939314" y="2089746"/>
                      </a:cubicBezTo>
                      <a:cubicBezTo>
                        <a:pt x="933880" y="2089430"/>
                        <a:pt x="931116" y="2088036"/>
                        <a:pt x="928082" y="2084945"/>
                      </a:cubicBezTo>
                      <a:cubicBezTo>
                        <a:pt x="926478" y="2083305"/>
                        <a:pt x="925576" y="2078937"/>
                        <a:pt x="923995" y="2078000"/>
                      </a:cubicBezTo>
                      <a:cubicBezTo>
                        <a:pt x="919053" y="2075072"/>
                        <a:pt x="899951" y="2074744"/>
                        <a:pt x="900654" y="2083293"/>
                      </a:cubicBezTo>
                      <a:cubicBezTo>
                        <a:pt x="904484" y="2081771"/>
                        <a:pt x="906873" y="2082204"/>
                        <a:pt x="909321" y="2084863"/>
                      </a:cubicBezTo>
                      <a:cubicBezTo>
                        <a:pt x="915258" y="2091292"/>
                        <a:pt x="905526" y="2087943"/>
                        <a:pt x="904612" y="2088341"/>
                      </a:cubicBezTo>
                      <a:cubicBezTo>
                        <a:pt x="899014" y="2090812"/>
                        <a:pt x="897316" y="2095778"/>
                        <a:pt x="893932" y="2089887"/>
                      </a:cubicBezTo>
                      <a:cubicBezTo>
                        <a:pt x="894822" y="2091444"/>
                        <a:pt x="894880" y="2082333"/>
                        <a:pt x="894611" y="2083773"/>
                      </a:cubicBezTo>
                      <a:cubicBezTo>
                        <a:pt x="894716" y="2083282"/>
                        <a:pt x="892339" y="2082146"/>
                        <a:pt x="892772" y="2081033"/>
                      </a:cubicBezTo>
                      <a:cubicBezTo>
                        <a:pt x="893182" y="2079979"/>
                        <a:pt x="895021" y="2079499"/>
                        <a:pt x="894868" y="2079991"/>
                      </a:cubicBezTo>
                      <a:cubicBezTo>
                        <a:pt x="895278" y="2078702"/>
                        <a:pt x="898804" y="2079054"/>
                        <a:pt x="898839" y="2077801"/>
                      </a:cubicBezTo>
                      <a:cubicBezTo>
                        <a:pt x="898897" y="2075283"/>
                        <a:pt x="892550" y="2074557"/>
                        <a:pt x="889680" y="2073631"/>
                      </a:cubicBezTo>
                      <a:cubicBezTo>
                        <a:pt x="893065" y="2069954"/>
                        <a:pt x="888439" y="2064122"/>
                        <a:pt x="884703" y="2061674"/>
                      </a:cubicBezTo>
                      <a:cubicBezTo>
                        <a:pt x="883075" y="2060608"/>
                        <a:pt x="878203" y="2057926"/>
                        <a:pt x="876353" y="2059308"/>
                      </a:cubicBezTo>
                      <a:cubicBezTo>
                        <a:pt x="874116" y="2060983"/>
                        <a:pt x="877254" y="2061112"/>
                        <a:pt x="876962" y="2062072"/>
                      </a:cubicBezTo>
                      <a:cubicBezTo>
                        <a:pt x="877676" y="2059835"/>
                        <a:pt x="879351" y="2067295"/>
                        <a:pt x="878695" y="2065831"/>
                      </a:cubicBezTo>
                      <a:cubicBezTo>
                        <a:pt x="879058" y="2066639"/>
                        <a:pt x="877184" y="2069181"/>
                        <a:pt x="877828" y="2070657"/>
                      </a:cubicBezTo>
                      <a:cubicBezTo>
                        <a:pt x="878742" y="2072776"/>
                        <a:pt x="886635" y="2071254"/>
                        <a:pt x="883696" y="2076114"/>
                      </a:cubicBezTo>
                      <a:cubicBezTo>
                        <a:pt x="881295" y="2080108"/>
                        <a:pt x="868494" y="2063032"/>
                        <a:pt x="860191" y="2069532"/>
                      </a:cubicBezTo>
                      <a:cubicBezTo>
                        <a:pt x="857087" y="2071957"/>
                        <a:pt x="860659" y="2075786"/>
                        <a:pt x="856548" y="2078269"/>
                      </a:cubicBezTo>
                      <a:cubicBezTo>
                        <a:pt x="853796" y="2079944"/>
                        <a:pt x="850646" y="2076360"/>
                        <a:pt x="846828" y="2078562"/>
                      </a:cubicBezTo>
                      <a:cubicBezTo>
                        <a:pt x="847484" y="2073057"/>
                        <a:pt x="841476" y="2071137"/>
                        <a:pt x="837388" y="2072882"/>
                      </a:cubicBezTo>
                      <a:cubicBezTo>
                        <a:pt x="830865" y="2075657"/>
                        <a:pt x="833442" y="2082977"/>
                        <a:pt x="827000" y="2074592"/>
                      </a:cubicBezTo>
                      <a:cubicBezTo>
                        <a:pt x="826637" y="2074123"/>
                        <a:pt x="820840" y="2064133"/>
                        <a:pt x="820582" y="2065808"/>
                      </a:cubicBezTo>
                      <a:cubicBezTo>
                        <a:pt x="821800" y="2057856"/>
                        <a:pt x="827726" y="2067541"/>
                        <a:pt x="831849" y="2063595"/>
                      </a:cubicBezTo>
                      <a:cubicBezTo>
                        <a:pt x="834566" y="2060983"/>
                        <a:pt x="829963" y="2054307"/>
                        <a:pt x="829600" y="2052246"/>
                      </a:cubicBezTo>
                      <a:cubicBezTo>
                        <a:pt x="829261" y="2050302"/>
                        <a:pt x="828640" y="2046730"/>
                        <a:pt x="829471" y="2044938"/>
                      </a:cubicBezTo>
                      <a:cubicBezTo>
                        <a:pt x="830514" y="2042654"/>
                        <a:pt x="834929" y="2042889"/>
                        <a:pt x="835397" y="2040980"/>
                      </a:cubicBezTo>
                      <a:cubicBezTo>
                        <a:pt x="837166" y="2033824"/>
                        <a:pt x="830397" y="2035826"/>
                        <a:pt x="827000" y="2033707"/>
                      </a:cubicBezTo>
                      <a:cubicBezTo>
                        <a:pt x="822784" y="2031072"/>
                        <a:pt x="819610" y="2026188"/>
                        <a:pt x="819189" y="2021187"/>
                      </a:cubicBezTo>
                      <a:cubicBezTo>
                        <a:pt x="818896" y="2017662"/>
                        <a:pt x="821894" y="2012825"/>
                        <a:pt x="820723" y="2008738"/>
                      </a:cubicBezTo>
                      <a:cubicBezTo>
                        <a:pt x="819189" y="2003386"/>
                        <a:pt x="806856" y="1998654"/>
                        <a:pt x="812548" y="1993021"/>
                      </a:cubicBezTo>
                      <a:cubicBezTo>
                        <a:pt x="806985" y="1990269"/>
                        <a:pt x="803191" y="1993267"/>
                        <a:pt x="798155" y="1994824"/>
                      </a:cubicBezTo>
                      <a:cubicBezTo>
                        <a:pt x="797089" y="1995152"/>
                        <a:pt x="794723" y="1993044"/>
                        <a:pt x="793763" y="1993501"/>
                      </a:cubicBezTo>
                      <a:cubicBezTo>
                        <a:pt x="792194" y="1994239"/>
                        <a:pt x="791631" y="1996417"/>
                        <a:pt x="790296" y="1997096"/>
                      </a:cubicBezTo>
                      <a:cubicBezTo>
                        <a:pt x="789113" y="1997694"/>
                        <a:pt x="786713" y="1999966"/>
                        <a:pt x="784616" y="2001090"/>
                      </a:cubicBezTo>
                      <a:cubicBezTo>
                        <a:pt x="781923" y="2002531"/>
                        <a:pt x="782438" y="2004358"/>
                        <a:pt x="779475" y="2004404"/>
                      </a:cubicBezTo>
                      <a:cubicBezTo>
                        <a:pt x="779252" y="2004404"/>
                        <a:pt x="767072" y="2000083"/>
                        <a:pt x="766276" y="1999650"/>
                      </a:cubicBezTo>
                      <a:cubicBezTo>
                        <a:pt x="763196" y="1997963"/>
                        <a:pt x="761463" y="1994555"/>
                        <a:pt x="758394" y="1992705"/>
                      </a:cubicBezTo>
                      <a:cubicBezTo>
                        <a:pt x="753112" y="1989507"/>
                        <a:pt x="748299" y="1990351"/>
                        <a:pt x="742525" y="1989016"/>
                      </a:cubicBezTo>
                      <a:cubicBezTo>
                        <a:pt x="736529" y="1987622"/>
                        <a:pt x="736002" y="1988301"/>
                        <a:pt x="731610" y="1988430"/>
                      </a:cubicBezTo>
                      <a:cubicBezTo>
                        <a:pt x="730240" y="1988465"/>
                        <a:pt x="729174" y="1990948"/>
                        <a:pt x="727323" y="1990749"/>
                      </a:cubicBezTo>
                      <a:cubicBezTo>
                        <a:pt x="726047" y="1990608"/>
                        <a:pt x="725953" y="1986966"/>
                        <a:pt x="724981" y="1986556"/>
                      </a:cubicBezTo>
                      <a:cubicBezTo>
                        <a:pt x="722791" y="1985643"/>
                        <a:pt x="716162" y="1981239"/>
                        <a:pt x="713808" y="1982867"/>
                      </a:cubicBezTo>
                      <a:cubicBezTo>
                        <a:pt x="710728" y="1984987"/>
                        <a:pt x="714652" y="1986638"/>
                        <a:pt x="714605" y="1988371"/>
                      </a:cubicBezTo>
                      <a:cubicBezTo>
                        <a:pt x="714581" y="1988887"/>
                        <a:pt x="718645" y="1991440"/>
                        <a:pt x="716338" y="1993712"/>
                      </a:cubicBezTo>
                      <a:cubicBezTo>
                        <a:pt x="713387" y="1996640"/>
                        <a:pt x="713387" y="1992049"/>
                        <a:pt x="711115" y="1991381"/>
                      </a:cubicBezTo>
                      <a:cubicBezTo>
                        <a:pt x="705153" y="1989636"/>
                        <a:pt x="704837" y="1987891"/>
                        <a:pt x="700996" y="1991276"/>
                      </a:cubicBezTo>
                      <a:cubicBezTo>
                        <a:pt x="698279" y="1993677"/>
                        <a:pt x="698490" y="1998631"/>
                        <a:pt x="695035" y="2000071"/>
                      </a:cubicBezTo>
                      <a:cubicBezTo>
                        <a:pt x="688628" y="2002753"/>
                        <a:pt x="680618" y="1998115"/>
                        <a:pt x="674692" y="2002027"/>
                      </a:cubicBezTo>
                      <a:cubicBezTo>
                        <a:pt x="675113" y="2003432"/>
                        <a:pt x="680395" y="2008211"/>
                        <a:pt x="680430" y="2008585"/>
                      </a:cubicBezTo>
                      <a:cubicBezTo>
                        <a:pt x="680700" y="2012930"/>
                        <a:pt x="679529" y="2008340"/>
                        <a:pt x="677713" y="2011631"/>
                      </a:cubicBezTo>
                      <a:cubicBezTo>
                        <a:pt x="676894" y="2013106"/>
                        <a:pt x="675921" y="2016350"/>
                        <a:pt x="674586" y="2017205"/>
                      </a:cubicBezTo>
                      <a:cubicBezTo>
                        <a:pt x="669433" y="2020484"/>
                        <a:pt x="664444" y="2015495"/>
                        <a:pt x="660087" y="2016584"/>
                      </a:cubicBezTo>
                      <a:cubicBezTo>
                        <a:pt x="655696" y="2017685"/>
                        <a:pt x="656328" y="2019559"/>
                        <a:pt x="652803" y="2021796"/>
                      </a:cubicBezTo>
                      <a:cubicBezTo>
                        <a:pt x="647193" y="2025356"/>
                        <a:pt x="642942" y="2024759"/>
                        <a:pt x="636407" y="2024783"/>
                      </a:cubicBezTo>
                      <a:cubicBezTo>
                        <a:pt x="628220" y="2024806"/>
                        <a:pt x="624836" y="2028390"/>
                        <a:pt x="616802" y="2029807"/>
                      </a:cubicBezTo>
                      <a:cubicBezTo>
                        <a:pt x="608709" y="2031224"/>
                        <a:pt x="601097" y="2033601"/>
                        <a:pt x="593332" y="2035100"/>
                      </a:cubicBezTo>
                      <a:cubicBezTo>
                        <a:pt x="588144" y="2036096"/>
                        <a:pt x="583564" y="2035674"/>
                        <a:pt x="578247" y="2037126"/>
                      </a:cubicBezTo>
                      <a:cubicBezTo>
                        <a:pt x="574113" y="2038262"/>
                        <a:pt x="563467" y="2043146"/>
                        <a:pt x="559521" y="2041928"/>
                      </a:cubicBezTo>
                      <a:cubicBezTo>
                        <a:pt x="553946" y="2040218"/>
                        <a:pt x="563608" y="2033601"/>
                        <a:pt x="553372" y="2037407"/>
                      </a:cubicBezTo>
                      <a:cubicBezTo>
                        <a:pt x="550058" y="2038637"/>
                        <a:pt x="549777" y="2042643"/>
                        <a:pt x="546158" y="2043544"/>
                      </a:cubicBezTo>
                      <a:cubicBezTo>
                        <a:pt x="542176" y="2044528"/>
                        <a:pt x="537234" y="2039539"/>
                        <a:pt x="532772" y="2041261"/>
                      </a:cubicBezTo>
                      <a:cubicBezTo>
                        <a:pt x="530956" y="2041975"/>
                        <a:pt x="533849" y="2045055"/>
                        <a:pt x="532561" y="2045699"/>
                      </a:cubicBezTo>
                      <a:cubicBezTo>
                        <a:pt x="531460" y="2046250"/>
                        <a:pt x="529270" y="2045547"/>
                        <a:pt x="528274" y="2046039"/>
                      </a:cubicBezTo>
                      <a:cubicBezTo>
                        <a:pt x="525721" y="2047316"/>
                        <a:pt x="521201" y="2046683"/>
                        <a:pt x="519280" y="2049377"/>
                      </a:cubicBezTo>
                      <a:cubicBezTo>
                        <a:pt x="517675" y="2051625"/>
                        <a:pt x="520123" y="2057223"/>
                        <a:pt x="519514" y="2059343"/>
                      </a:cubicBezTo>
                      <a:cubicBezTo>
                        <a:pt x="516129" y="2071031"/>
                        <a:pt x="512850" y="2058699"/>
                        <a:pt x="505179" y="2057821"/>
                      </a:cubicBezTo>
                      <a:cubicBezTo>
                        <a:pt x="500787" y="2057317"/>
                        <a:pt x="497122" y="2062236"/>
                        <a:pt x="492496" y="2062318"/>
                      </a:cubicBezTo>
                      <a:cubicBezTo>
                        <a:pt x="490528" y="2062353"/>
                        <a:pt x="489052" y="2059214"/>
                        <a:pt x="487319" y="2059015"/>
                      </a:cubicBezTo>
                      <a:cubicBezTo>
                        <a:pt x="486066" y="2058863"/>
                        <a:pt x="484672" y="2060198"/>
                        <a:pt x="483161" y="2060222"/>
                      </a:cubicBezTo>
                      <a:cubicBezTo>
                        <a:pt x="479062" y="2060292"/>
                        <a:pt x="474120" y="2061732"/>
                        <a:pt x="469763" y="2062213"/>
                      </a:cubicBezTo>
                      <a:cubicBezTo>
                        <a:pt x="468393" y="2062365"/>
                        <a:pt x="456857" y="2063677"/>
                        <a:pt x="457045" y="2063513"/>
                      </a:cubicBezTo>
                      <a:cubicBezTo>
                        <a:pt x="454574" y="2065808"/>
                        <a:pt x="459574" y="2072331"/>
                        <a:pt x="451423" y="2072530"/>
                      </a:cubicBezTo>
                      <a:cubicBezTo>
                        <a:pt x="448121" y="2072612"/>
                        <a:pt x="445813" y="2068841"/>
                        <a:pt x="442499" y="2068549"/>
                      </a:cubicBezTo>
                      <a:cubicBezTo>
                        <a:pt x="439138" y="2068256"/>
                        <a:pt x="432333" y="2071195"/>
                        <a:pt x="428832" y="2072109"/>
                      </a:cubicBezTo>
                      <a:cubicBezTo>
                        <a:pt x="422871" y="2073666"/>
                        <a:pt x="414485" y="2073573"/>
                        <a:pt x="410527" y="2075786"/>
                      </a:cubicBezTo>
                      <a:cubicBezTo>
                        <a:pt x="408360" y="2076992"/>
                        <a:pt x="411698" y="2078538"/>
                        <a:pt x="405221" y="2079932"/>
                      </a:cubicBezTo>
                      <a:cubicBezTo>
                        <a:pt x="400982" y="2080846"/>
                        <a:pt x="397363" y="2079827"/>
                        <a:pt x="393416" y="2080143"/>
                      </a:cubicBezTo>
                      <a:cubicBezTo>
                        <a:pt x="381248" y="2081115"/>
                        <a:pt x="384258" y="2084921"/>
                        <a:pt x="380241" y="2091983"/>
                      </a:cubicBezTo>
                      <a:cubicBezTo>
                        <a:pt x="378542" y="2094970"/>
                        <a:pt x="381552" y="2096703"/>
                        <a:pt x="376587" y="2093178"/>
                      </a:cubicBezTo>
                      <a:cubicBezTo>
                        <a:pt x="371972" y="2089910"/>
                        <a:pt x="375251" y="2087533"/>
                        <a:pt x="375064" y="2087310"/>
                      </a:cubicBezTo>
                      <a:cubicBezTo>
                        <a:pt x="372558" y="2084289"/>
                        <a:pt x="373272" y="2084558"/>
                        <a:pt x="364898" y="2084816"/>
                      </a:cubicBezTo>
                      <a:cubicBezTo>
                        <a:pt x="358972" y="2084991"/>
                        <a:pt x="349814" y="2082321"/>
                        <a:pt x="352660" y="2091304"/>
                      </a:cubicBezTo>
                      <a:cubicBezTo>
                        <a:pt x="344790" y="2091691"/>
                        <a:pt x="346465" y="2087837"/>
                        <a:pt x="342377" y="2086619"/>
                      </a:cubicBezTo>
                      <a:cubicBezTo>
                        <a:pt x="340000" y="2085905"/>
                        <a:pt x="332914" y="2088856"/>
                        <a:pt x="332317" y="2088809"/>
                      </a:cubicBezTo>
                      <a:cubicBezTo>
                        <a:pt x="329108" y="2088552"/>
                        <a:pt x="326777" y="2083680"/>
                        <a:pt x="322503" y="2082731"/>
                      </a:cubicBezTo>
                      <a:cubicBezTo>
                        <a:pt x="315921" y="2081279"/>
                        <a:pt x="316272" y="2085109"/>
                        <a:pt x="310405" y="2085132"/>
                      </a:cubicBezTo>
                      <a:cubicBezTo>
                        <a:pt x="318263" y="2096715"/>
                        <a:pt x="305369" y="2088107"/>
                        <a:pt x="301235" y="2090086"/>
                      </a:cubicBezTo>
                      <a:cubicBezTo>
                        <a:pt x="292474" y="2094279"/>
                        <a:pt x="310627" y="2096129"/>
                        <a:pt x="310686" y="2100954"/>
                      </a:cubicBezTo>
                      <a:cubicBezTo>
                        <a:pt x="310721" y="2103379"/>
                        <a:pt x="304186" y="2106728"/>
                        <a:pt x="303026" y="2107630"/>
                      </a:cubicBezTo>
                      <a:cubicBezTo>
                        <a:pt x="301387" y="2108907"/>
                        <a:pt x="303272" y="2110944"/>
                        <a:pt x="300708" y="2112420"/>
                      </a:cubicBezTo>
                      <a:cubicBezTo>
                        <a:pt x="300954" y="2112279"/>
                        <a:pt x="291034" y="2110148"/>
                        <a:pt x="294805" y="2113345"/>
                      </a:cubicBezTo>
                      <a:cubicBezTo>
                        <a:pt x="295894" y="2114282"/>
                        <a:pt x="305275" y="2116800"/>
                        <a:pt x="307137" y="2117374"/>
                      </a:cubicBezTo>
                      <a:cubicBezTo>
                        <a:pt x="315616" y="2119997"/>
                        <a:pt x="315523" y="2115711"/>
                        <a:pt x="322245" y="2115793"/>
                      </a:cubicBezTo>
                      <a:cubicBezTo>
                        <a:pt x="329038" y="2115887"/>
                        <a:pt x="330595" y="2119377"/>
                        <a:pt x="325805" y="2123593"/>
                      </a:cubicBezTo>
                      <a:cubicBezTo>
                        <a:pt x="318931" y="2129636"/>
                        <a:pt x="321788" y="2123019"/>
                        <a:pt x="316342" y="2122632"/>
                      </a:cubicBezTo>
                      <a:cubicBezTo>
                        <a:pt x="310592" y="2122222"/>
                        <a:pt x="303425" y="2133009"/>
                        <a:pt x="310920" y="2137963"/>
                      </a:cubicBezTo>
                      <a:cubicBezTo>
                        <a:pt x="313134" y="2139427"/>
                        <a:pt x="316788" y="2137963"/>
                        <a:pt x="319235" y="2138712"/>
                      </a:cubicBezTo>
                      <a:cubicBezTo>
                        <a:pt x="322128" y="2139614"/>
                        <a:pt x="324060" y="2142390"/>
                        <a:pt x="327187" y="2142776"/>
                      </a:cubicBezTo>
                      <a:cubicBezTo>
                        <a:pt x="329530" y="2143057"/>
                        <a:pt x="331942" y="2139907"/>
                        <a:pt x="333898" y="2140317"/>
                      </a:cubicBezTo>
                      <a:cubicBezTo>
                        <a:pt x="336510" y="2140856"/>
                        <a:pt x="339320" y="2144896"/>
                        <a:pt x="342014" y="2146196"/>
                      </a:cubicBezTo>
                      <a:cubicBezTo>
                        <a:pt x="346418" y="2148316"/>
                        <a:pt x="355740" y="2146102"/>
                        <a:pt x="358141" y="2151255"/>
                      </a:cubicBezTo>
                      <a:cubicBezTo>
                        <a:pt x="360507" y="2156338"/>
                        <a:pt x="355283" y="2161901"/>
                        <a:pt x="350364" y="2162135"/>
                      </a:cubicBezTo>
                      <a:cubicBezTo>
                        <a:pt x="347366" y="2162276"/>
                        <a:pt x="344790" y="2159547"/>
                        <a:pt x="341675" y="2159219"/>
                      </a:cubicBezTo>
                      <a:cubicBezTo>
                        <a:pt x="339367" y="2158973"/>
                        <a:pt x="336123" y="2160156"/>
                        <a:pt x="334074" y="2159969"/>
                      </a:cubicBezTo>
                      <a:cubicBezTo>
                        <a:pt x="329787" y="2159582"/>
                        <a:pt x="325630" y="2157451"/>
                        <a:pt x="321191" y="2157170"/>
                      </a:cubicBezTo>
                      <a:cubicBezTo>
                        <a:pt x="320219" y="2157111"/>
                        <a:pt x="317631" y="2158622"/>
                        <a:pt x="316120" y="2158681"/>
                      </a:cubicBezTo>
                      <a:cubicBezTo>
                        <a:pt x="313977" y="2158786"/>
                        <a:pt x="312372" y="2156444"/>
                        <a:pt x="310276" y="2156596"/>
                      </a:cubicBezTo>
                      <a:cubicBezTo>
                        <a:pt x="306013" y="2156900"/>
                        <a:pt x="304186" y="2160355"/>
                        <a:pt x="298998" y="2159559"/>
                      </a:cubicBezTo>
                      <a:cubicBezTo>
                        <a:pt x="300637" y="2160262"/>
                        <a:pt x="301797" y="2162135"/>
                        <a:pt x="303366" y="2163014"/>
                      </a:cubicBezTo>
                      <a:cubicBezTo>
                        <a:pt x="298576" y="2166644"/>
                        <a:pt x="291959" y="2170942"/>
                        <a:pt x="287965" y="2174842"/>
                      </a:cubicBezTo>
                      <a:cubicBezTo>
                        <a:pt x="282812" y="2179867"/>
                        <a:pt x="283093" y="2178485"/>
                        <a:pt x="286408" y="2183895"/>
                      </a:cubicBezTo>
                      <a:cubicBezTo>
                        <a:pt x="285705" y="2182771"/>
                        <a:pt x="290554" y="2185945"/>
                        <a:pt x="290624" y="2186015"/>
                      </a:cubicBezTo>
                      <a:cubicBezTo>
                        <a:pt x="290624" y="2186015"/>
                        <a:pt x="292416" y="2191625"/>
                        <a:pt x="292779" y="2192164"/>
                      </a:cubicBezTo>
                      <a:cubicBezTo>
                        <a:pt x="292861" y="2192293"/>
                        <a:pt x="297241" y="2196099"/>
                        <a:pt x="297909" y="2196919"/>
                      </a:cubicBezTo>
                      <a:cubicBezTo>
                        <a:pt x="299712" y="2199120"/>
                        <a:pt x="299220" y="2201990"/>
                        <a:pt x="302394" y="2204309"/>
                      </a:cubicBezTo>
                      <a:cubicBezTo>
                        <a:pt x="294852" y="2208970"/>
                        <a:pt x="287684" y="2215645"/>
                        <a:pt x="279685" y="2217625"/>
                      </a:cubicBezTo>
                      <a:cubicBezTo>
                        <a:pt x="273818" y="2219065"/>
                        <a:pt x="271077" y="2218023"/>
                        <a:pt x="265503" y="2222180"/>
                      </a:cubicBezTo>
                      <a:cubicBezTo>
                        <a:pt x="258312" y="2227556"/>
                        <a:pt x="257515" y="2228247"/>
                        <a:pt x="248322" y="2228247"/>
                      </a:cubicBezTo>
                      <a:cubicBezTo>
                        <a:pt x="241424" y="2241375"/>
                        <a:pt x="273150" y="2235520"/>
                        <a:pt x="271663" y="2244280"/>
                      </a:cubicBezTo>
                      <a:cubicBezTo>
                        <a:pt x="270445" y="2251506"/>
                        <a:pt x="262797" y="2246716"/>
                        <a:pt x="271967" y="2251811"/>
                      </a:cubicBezTo>
                      <a:cubicBezTo>
                        <a:pt x="278620" y="2255500"/>
                        <a:pt x="288036" y="2254574"/>
                        <a:pt x="297042" y="2254785"/>
                      </a:cubicBezTo>
                      <a:cubicBezTo>
                        <a:pt x="294700" y="2264939"/>
                        <a:pt x="307301" y="2263909"/>
                        <a:pt x="313110" y="2264658"/>
                      </a:cubicBezTo>
                      <a:cubicBezTo>
                        <a:pt x="316436" y="2265091"/>
                        <a:pt x="321191" y="2265408"/>
                        <a:pt x="324095" y="2267422"/>
                      </a:cubicBezTo>
                      <a:cubicBezTo>
                        <a:pt x="328932" y="2270795"/>
                        <a:pt x="327644" y="2277927"/>
                        <a:pt x="334952" y="2279227"/>
                      </a:cubicBezTo>
                      <a:cubicBezTo>
                        <a:pt x="325150" y="2280082"/>
                        <a:pt x="325466" y="2293632"/>
                        <a:pt x="323967" y="2301058"/>
                      </a:cubicBezTo>
                      <a:cubicBezTo>
                        <a:pt x="321285" y="2314151"/>
                        <a:pt x="315089" y="2313355"/>
                        <a:pt x="302453" y="2316950"/>
                      </a:cubicBezTo>
                      <a:cubicBezTo>
                        <a:pt x="290226" y="2320428"/>
                        <a:pt x="279510" y="2322021"/>
                        <a:pt x="266756" y="2319035"/>
                      </a:cubicBezTo>
                      <a:cubicBezTo>
                        <a:pt x="263453" y="2318262"/>
                        <a:pt x="260233" y="2318016"/>
                        <a:pt x="257808" y="2315182"/>
                      </a:cubicBezTo>
                      <a:cubicBezTo>
                        <a:pt x="255044" y="2311961"/>
                        <a:pt x="257234" y="2308225"/>
                        <a:pt x="252515" y="2306890"/>
                      </a:cubicBezTo>
                      <a:cubicBezTo>
                        <a:pt x="243403" y="2304302"/>
                        <a:pt x="245464" y="2315299"/>
                        <a:pt x="243754" y="2319491"/>
                      </a:cubicBezTo>
                      <a:cubicBezTo>
                        <a:pt x="240592" y="2327174"/>
                        <a:pt x="234912" y="2329306"/>
                        <a:pt x="227534" y="2330348"/>
                      </a:cubicBezTo>
                      <a:cubicBezTo>
                        <a:pt x="225496" y="2330629"/>
                        <a:pt x="221538" y="2336169"/>
                        <a:pt x="219898" y="2330348"/>
                      </a:cubicBezTo>
                      <a:cubicBezTo>
                        <a:pt x="218633" y="2325827"/>
                        <a:pt x="225250" y="2329716"/>
                        <a:pt x="225227" y="2327268"/>
                      </a:cubicBezTo>
                      <a:cubicBezTo>
                        <a:pt x="225180" y="2321412"/>
                        <a:pt x="212075" y="2323028"/>
                        <a:pt x="208877" y="2322536"/>
                      </a:cubicBezTo>
                      <a:cubicBezTo>
                        <a:pt x="197084" y="2320721"/>
                        <a:pt x="186052" y="2314772"/>
                        <a:pt x="177455" y="2309783"/>
                      </a:cubicBezTo>
                      <a:cubicBezTo>
                        <a:pt x="178896" y="2310626"/>
                        <a:pt x="172642" y="2304267"/>
                        <a:pt x="172806" y="2305028"/>
                      </a:cubicBezTo>
                      <a:cubicBezTo>
                        <a:pt x="172314" y="2302744"/>
                        <a:pt x="174738" y="2301608"/>
                        <a:pt x="174539" y="2300390"/>
                      </a:cubicBezTo>
                      <a:cubicBezTo>
                        <a:pt x="174059" y="2297333"/>
                        <a:pt x="175910" y="2295986"/>
                        <a:pt x="172595" y="2293457"/>
                      </a:cubicBezTo>
                      <a:cubicBezTo>
                        <a:pt x="170511" y="2291864"/>
                        <a:pt x="167395" y="2293761"/>
                        <a:pt x="165346" y="2292695"/>
                      </a:cubicBezTo>
                      <a:cubicBezTo>
                        <a:pt x="164608" y="2292309"/>
                        <a:pt x="162828" y="2289943"/>
                        <a:pt x="163062" y="2290025"/>
                      </a:cubicBezTo>
                      <a:cubicBezTo>
                        <a:pt x="160005" y="2288877"/>
                        <a:pt x="161844" y="2286711"/>
                        <a:pt x="157487" y="2287847"/>
                      </a:cubicBezTo>
                      <a:cubicBezTo>
                        <a:pt x="155157" y="2288456"/>
                        <a:pt x="155368" y="2291501"/>
                        <a:pt x="154068" y="2291911"/>
                      </a:cubicBezTo>
                      <a:cubicBezTo>
                        <a:pt x="150917" y="2292906"/>
                        <a:pt x="146853" y="2291770"/>
                        <a:pt x="143188" y="2291044"/>
                      </a:cubicBezTo>
                      <a:cubicBezTo>
                        <a:pt x="139651" y="2290341"/>
                        <a:pt x="133467" y="2287425"/>
                        <a:pt x="130715" y="2290728"/>
                      </a:cubicBezTo>
                      <a:cubicBezTo>
                        <a:pt x="128126" y="2293820"/>
                        <a:pt x="131862" y="2298364"/>
                        <a:pt x="130129" y="2301257"/>
                      </a:cubicBezTo>
                      <a:cubicBezTo>
                        <a:pt x="127190" y="2306187"/>
                        <a:pt x="125948" y="2301573"/>
                        <a:pt x="121240" y="2302697"/>
                      </a:cubicBezTo>
                      <a:cubicBezTo>
                        <a:pt x="115911" y="2303974"/>
                        <a:pt x="116110" y="2310017"/>
                        <a:pt x="109072" y="2304067"/>
                      </a:cubicBezTo>
                      <a:cubicBezTo>
                        <a:pt x="107280" y="2302557"/>
                        <a:pt x="107421" y="2299418"/>
                        <a:pt x="106132" y="2297497"/>
                      </a:cubicBezTo>
                      <a:cubicBezTo>
                        <a:pt x="106741" y="2298399"/>
                        <a:pt x="99234" y="2291196"/>
                        <a:pt x="101143" y="2292004"/>
                      </a:cubicBezTo>
                      <a:cubicBezTo>
                        <a:pt x="96857" y="2290201"/>
                        <a:pt x="89467" y="2293504"/>
                        <a:pt x="83283" y="2293515"/>
                      </a:cubicBezTo>
                      <a:cubicBezTo>
                        <a:pt x="79196" y="2293527"/>
                        <a:pt x="71443" y="2290283"/>
                        <a:pt x="76420" y="2299078"/>
                      </a:cubicBezTo>
                      <a:cubicBezTo>
                        <a:pt x="69569" y="2300144"/>
                        <a:pt x="70494" y="2292930"/>
                        <a:pt x="65950" y="2292473"/>
                      </a:cubicBezTo>
                      <a:cubicBezTo>
                        <a:pt x="61301" y="2292004"/>
                        <a:pt x="63526" y="2294979"/>
                        <a:pt x="61652" y="2296736"/>
                      </a:cubicBezTo>
                      <a:cubicBezTo>
                        <a:pt x="60926" y="2297415"/>
                        <a:pt x="59181" y="2301667"/>
                        <a:pt x="57611" y="2302627"/>
                      </a:cubicBezTo>
                      <a:cubicBezTo>
                        <a:pt x="55714" y="2303786"/>
                        <a:pt x="53641" y="2303716"/>
                        <a:pt x="51943" y="2304571"/>
                      </a:cubicBezTo>
                      <a:cubicBezTo>
                        <a:pt x="50257" y="2305414"/>
                        <a:pt x="49284" y="2302873"/>
                        <a:pt x="47212" y="2304348"/>
                      </a:cubicBezTo>
                      <a:cubicBezTo>
                        <a:pt x="46052" y="2305180"/>
                        <a:pt x="46169" y="2309443"/>
                        <a:pt x="45595" y="2310626"/>
                      </a:cubicBezTo>
                      <a:cubicBezTo>
                        <a:pt x="43019" y="2316001"/>
                        <a:pt x="41613" y="2318297"/>
                        <a:pt x="35687" y="2321646"/>
                      </a:cubicBezTo>
                      <a:cubicBezTo>
                        <a:pt x="33474" y="2322888"/>
                        <a:pt x="24983" y="2328708"/>
                        <a:pt x="22816" y="2328802"/>
                      </a:cubicBezTo>
                      <a:cubicBezTo>
                        <a:pt x="19795" y="2328943"/>
                        <a:pt x="16879" y="2325101"/>
                        <a:pt x="14220" y="2323497"/>
                      </a:cubicBezTo>
                      <a:cubicBezTo>
                        <a:pt x="7978" y="2319726"/>
                        <a:pt x="1818" y="2321295"/>
                        <a:pt x="623" y="2315006"/>
                      </a:cubicBezTo>
                      <a:cubicBezTo>
                        <a:pt x="-806" y="2307593"/>
                        <a:pt x="670" y="2298259"/>
                        <a:pt x="670" y="2290658"/>
                      </a:cubicBezTo>
                      <a:cubicBezTo>
                        <a:pt x="775" y="2196134"/>
                        <a:pt x="693" y="2101575"/>
                        <a:pt x="658" y="2007051"/>
                      </a:cubicBezTo>
                      <a:cubicBezTo>
                        <a:pt x="588" y="1858666"/>
                        <a:pt x="658" y="1710269"/>
                        <a:pt x="658" y="1561884"/>
                      </a:cubicBezTo>
                      <a:cubicBezTo>
                        <a:pt x="658" y="1421662"/>
                        <a:pt x="658" y="1281429"/>
                        <a:pt x="658" y="1141206"/>
                      </a:cubicBezTo>
                      <a:cubicBezTo>
                        <a:pt x="658" y="1069977"/>
                        <a:pt x="658" y="996932"/>
                        <a:pt x="658" y="926569"/>
                      </a:cubicBezTo>
                      <a:cubicBezTo>
                        <a:pt x="658" y="925023"/>
                        <a:pt x="658" y="923548"/>
                        <a:pt x="658" y="923513"/>
                      </a:cubicBezTo>
                      <a:lnTo>
                        <a:pt x="658" y="923513"/>
                      </a:lnTo>
                      <a:cubicBezTo>
                        <a:pt x="7638" y="920268"/>
                        <a:pt x="12229" y="920854"/>
                        <a:pt x="19444" y="919894"/>
                      </a:cubicBezTo>
                      <a:cubicBezTo>
                        <a:pt x="26459" y="918957"/>
                        <a:pt x="30745" y="913663"/>
                        <a:pt x="37058" y="912328"/>
                      </a:cubicBezTo>
                      <a:cubicBezTo>
                        <a:pt x="42105" y="911262"/>
                        <a:pt x="45806" y="914717"/>
                        <a:pt x="50725" y="915420"/>
                      </a:cubicBezTo>
                      <a:cubicBezTo>
                        <a:pt x="55082" y="916052"/>
                        <a:pt x="69323" y="910969"/>
                        <a:pt x="65259" y="918594"/>
                      </a:cubicBezTo>
                      <a:cubicBezTo>
                        <a:pt x="71115" y="908077"/>
                        <a:pt x="77322" y="917329"/>
                        <a:pt x="84712" y="919952"/>
                      </a:cubicBezTo>
                      <a:cubicBezTo>
                        <a:pt x="90720" y="922095"/>
                        <a:pt x="100663" y="922740"/>
                        <a:pt x="106835" y="920667"/>
                      </a:cubicBezTo>
                      <a:cubicBezTo>
                        <a:pt x="112937" y="918605"/>
                        <a:pt x="112023" y="917118"/>
                        <a:pt x="115736" y="912316"/>
                      </a:cubicBezTo>
                      <a:cubicBezTo>
                        <a:pt x="116567" y="911239"/>
                        <a:pt x="122025" y="904868"/>
                        <a:pt x="123184" y="904282"/>
                      </a:cubicBezTo>
                      <a:cubicBezTo>
                        <a:pt x="128595" y="901612"/>
                        <a:pt x="137461" y="906695"/>
                        <a:pt x="141513" y="901565"/>
                      </a:cubicBezTo>
                      <a:cubicBezTo>
                        <a:pt x="143972" y="898450"/>
                        <a:pt x="139709" y="897607"/>
                        <a:pt x="142157" y="894562"/>
                      </a:cubicBezTo>
                      <a:cubicBezTo>
                        <a:pt x="144359" y="891821"/>
                        <a:pt x="153201" y="890416"/>
                        <a:pt x="156644" y="890990"/>
                      </a:cubicBezTo>
                      <a:cubicBezTo>
                        <a:pt x="151608" y="896541"/>
                        <a:pt x="158003" y="901846"/>
                        <a:pt x="163554" y="903052"/>
                      </a:cubicBezTo>
                      <a:cubicBezTo>
                        <a:pt x="162839" y="903673"/>
                        <a:pt x="162125" y="904294"/>
                        <a:pt x="161411" y="904915"/>
                      </a:cubicBezTo>
                      <a:cubicBezTo>
                        <a:pt x="164807" y="905090"/>
                        <a:pt x="165006" y="904844"/>
                        <a:pt x="166763" y="902432"/>
                      </a:cubicBezTo>
                      <a:cubicBezTo>
                        <a:pt x="162219" y="900125"/>
                        <a:pt x="153283" y="896412"/>
                        <a:pt x="158541" y="889666"/>
                      </a:cubicBezTo>
                      <a:cubicBezTo>
                        <a:pt x="161680" y="885637"/>
                        <a:pt x="179716" y="883037"/>
                        <a:pt x="184892" y="881878"/>
                      </a:cubicBezTo>
                      <a:cubicBezTo>
                        <a:pt x="191954" y="880297"/>
                        <a:pt x="202436" y="878037"/>
                        <a:pt x="208632" y="881819"/>
                      </a:cubicBezTo>
                      <a:cubicBezTo>
                        <a:pt x="203162" y="882054"/>
                        <a:pt x="194343" y="882335"/>
                        <a:pt x="190362" y="886809"/>
                      </a:cubicBezTo>
                      <a:cubicBezTo>
                        <a:pt x="197892" y="887160"/>
                        <a:pt x="214124" y="894562"/>
                        <a:pt x="217216" y="901729"/>
                      </a:cubicBezTo>
                      <a:cubicBezTo>
                        <a:pt x="221339" y="911239"/>
                        <a:pt x="211044" y="905606"/>
                        <a:pt x="206500" y="907585"/>
                      </a:cubicBezTo>
                      <a:cubicBezTo>
                        <a:pt x="202448" y="909365"/>
                        <a:pt x="199789" y="915619"/>
                        <a:pt x="199356" y="918886"/>
                      </a:cubicBezTo>
                      <a:cubicBezTo>
                        <a:pt x="199110" y="920713"/>
                        <a:pt x="201944" y="921158"/>
                        <a:pt x="202026" y="922857"/>
                      </a:cubicBezTo>
                      <a:cubicBezTo>
                        <a:pt x="202108" y="924742"/>
                        <a:pt x="199754" y="926358"/>
                        <a:pt x="200035" y="928443"/>
                      </a:cubicBezTo>
                      <a:cubicBezTo>
                        <a:pt x="201792" y="941326"/>
                        <a:pt x="238121" y="945846"/>
                        <a:pt x="244633" y="931992"/>
                      </a:cubicBezTo>
                      <a:cubicBezTo>
                        <a:pt x="248861" y="922985"/>
                        <a:pt x="239831" y="922107"/>
                        <a:pt x="237231" y="915525"/>
                      </a:cubicBezTo>
                      <a:cubicBezTo>
                        <a:pt x="233893" y="907034"/>
                        <a:pt x="243251" y="907924"/>
                        <a:pt x="248580" y="908053"/>
                      </a:cubicBezTo>
                      <a:cubicBezTo>
                        <a:pt x="258078" y="908299"/>
                        <a:pt x="269239" y="908662"/>
                        <a:pt x="278011" y="903380"/>
                      </a:cubicBezTo>
                      <a:cubicBezTo>
                        <a:pt x="286537" y="898239"/>
                        <a:pt x="287310" y="888788"/>
                        <a:pt x="298717" y="889303"/>
                      </a:cubicBezTo>
                      <a:cubicBezTo>
                        <a:pt x="292556" y="887535"/>
                        <a:pt x="303319" y="861406"/>
                        <a:pt x="285822" y="864826"/>
                      </a:cubicBezTo>
                      <a:cubicBezTo>
                        <a:pt x="286642" y="867040"/>
                        <a:pt x="285705" y="868000"/>
                        <a:pt x="286900" y="869885"/>
                      </a:cubicBezTo>
                      <a:cubicBezTo>
                        <a:pt x="276687" y="877439"/>
                        <a:pt x="279498" y="857389"/>
                        <a:pt x="277542" y="853724"/>
                      </a:cubicBezTo>
                      <a:cubicBezTo>
                        <a:pt x="273314" y="845795"/>
                        <a:pt x="265093" y="840478"/>
                        <a:pt x="259729" y="832631"/>
                      </a:cubicBezTo>
                      <a:cubicBezTo>
                        <a:pt x="256251" y="827548"/>
                        <a:pt x="253487" y="822875"/>
                        <a:pt x="262106" y="819573"/>
                      </a:cubicBezTo>
                      <a:cubicBezTo>
                        <a:pt x="268513" y="817137"/>
                        <a:pt x="277495" y="820873"/>
                        <a:pt x="283070" y="817617"/>
                      </a:cubicBezTo>
                      <a:cubicBezTo>
                        <a:pt x="279252" y="819854"/>
                        <a:pt x="285670" y="808376"/>
                        <a:pt x="285038" y="813600"/>
                      </a:cubicBezTo>
                      <a:cubicBezTo>
                        <a:pt x="285284" y="811503"/>
                        <a:pt x="283035" y="808845"/>
                        <a:pt x="284499" y="805765"/>
                      </a:cubicBezTo>
                      <a:cubicBezTo>
                        <a:pt x="287263" y="799921"/>
                        <a:pt x="295625" y="801959"/>
                        <a:pt x="300169" y="802076"/>
                      </a:cubicBezTo>
                      <a:cubicBezTo>
                        <a:pt x="307383" y="802263"/>
                        <a:pt x="313684" y="805413"/>
                        <a:pt x="322468" y="808049"/>
                      </a:cubicBezTo>
                      <a:cubicBezTo>
                        <a:pt x="336170" y="812171"/>
                        <a:pt x="353128" y="811878"/>
                        <a:pt x="367334" y="812183"/>
                      </a:cubicBezTo>
                      <a:cubicBezTo>
                        <a:pt x="383895" y="812534"/>
                        <a:pt x="398745" y="815392"/>
                        <a:pt x="415071" y="817793"/>
                      </a:cubicBezTo>
                      <a:cubicBezTo>
                        <a:pt x="446071" y="822372"/>
                        <a:pt x="483759" y="834153"/>
                        <a:pt x="509231" y="852927"/>
                      </a:cubicBezTo>
                      <a:cubicBezTo>
                        <a:pt x="507030" y="855785"/>
                        <a:pt x="503258" y="855105"/>
                        <a:pt x="500178" y="853817"/>
                      </a:cubicBezTo>
                      <a:cubicBezTo>
                        <a:pt x="499358" y="855117"/>
                        <a:pt x="495704" y="865224"/>
                        <a:pt x="496876" y="866255"/>
                      </a:cubicBezTo>
                      <a:cubicBezTo>
                        <a:pt x="502708" y="871420"/>
                        <a:pt x="504664" y="858865"/>
                        <a:pt x="504746" y="858795"/>
                      </a:cubicBezTo>
                      <a:cubicBezTo>
                        <a:pt x="511140" y="852716"/>
                        <a:pt x="518589" y="859661"/>
                        <a:pt x="526916" y="862788"/>
                      </a:cubicBezTo>
                      <a:cubicBezTo>
                        <a:pt x="535617" y="866056"/>
                        <a:pt x="549460" y="863866"/>
                        <a:pt x="556077" y="870471"/>
                      </a:cubicBezTo>
                      <a:cubicBezTo>
                        <a:pt x="553173" y="871525"/>
                        <a:pt x="547797" y="872509"/>
                        <a:pt x="547856" y="869230"/>
                      </a:cubicBezTo>
                      <a:cubicBezTo>
                        <a:pt x="546146" y="869077"/>
                        <a:pt x="543406" y="869124"/>
                        <a:pt x="542129" y="869230"/>
                      </a:cubicBezTo>
                      <a:cubicBezTo>
                        <a:pt x="544647" y="875413"/>
                        <a:pt x="553302" y="874406"/>
                        <a:pt x="558771" y="875507"/>
                      </a:cubicBezTo>
                      <a:cubicBezTo>
                        <a:pt x="565962" y="876936"/>
                        <a:pt x="570529" y="880133"/>
                        <a:pt x="577041" y="883237"/>
                      </a:cubicBezTo>
                      <a:cubicBezTo>
                        <a:pt x="583272" y="886223"/>
                        <a:pt x="590486" y="888952"/>
                        <a:pt x="597279" y="890392"/>
                      </a:cubicBezTo>
                      <a:cubicBezTo>
                        <a:pt x="605043" y="892044"/>
                        <a:pt x="613429" y="890498"/>
                        <a:pt x="620081" y="895545"/>
                      </a:cubicBezTo>
                      <a:cubicBezTo>
                        <a:pt x="608463" y="896658"/>
                        <a:pt x="623934" y="906273"/>
                        <a:pt x="626733" y="908006"/>
                      </a:cubicBezTo>
                      <a:cubicBezTo>
                        <a:pt x="635833" y="913663"/>
                        <a:pt x="646303" y="918886"/>
                        <a:pt x="655485" y="926019"/>
                      </a:cubicBezTo>
                      <a:cubicBezTo>
                        <a:pt x="653752" y="925480"/>
                        <a:pt x="651843" y="925398"/>
                        <a:pt x="650109" y="924836"/>
                      </a:cubicBezTo>
                      <a:cubicBezTo>
                        <a:pt x="655848" y="930821"/>
                        <a:pt x="666283" y="929146"/>
                        <a:pt x="672935" y="933666"/>
                      </a:cubicBezTo>
                      <a:cubicBezTo>
                        <a:pt x="680899" y="939089"/>
                        <a:pt x="676484" y="942544"/>
                        <a:pt x="675113" y="949547"/>
                      </a:cubicBezTo>
                      <a:cubicBezTo>
                        <a:pt x="679236" y="947919"/>
                        <a:pt x="680934" y="949676"/>
                        <a:pt x="679060" y="953236"/>
                      </a:cubicBezTo>
                      <a:cubicBezTo>
                        <a:pt x="686204" y="957347"/>
                        <a:pt x="691802" y="941794"/>
                        <a:pt x="699450" y="942719"/>
                      </a:cubicBezTo>
                      <a:cubicBezTo>
                        <a:pt x="687563" y="940436"/>
                        <a:pt x="711173" y="918465"/>
                        <a:pt x="713679" y="913827"/>
                      </a:cubicBezTo>
                      <a:cubicBezTo>
                        <a:pt x="715729" y="910044"/>
                        <a:pt x="716268" y="905406"/>
                        <a:pt x="718317" y="901530"/>
                      </a:cubicBezTo>
                      <a:cubicBezTo>
                        <a:pt x="719559" y="899153"/>
                        <a:pt x="723060" y="895510"/>
                        <a:pt x="723365" y="891845"/>
                      </a:cubicBezTo>
                      <a:cubicBezTo>
                        <a:pt x="721866" y="892149"/>
                        <a:pt x="714335" y="892606"/>
                        <a:pt x="715143" y="889631"/>
                      </a:cubicBezTo>
                      <a:cubicBezTo>
                        <a:pt x="715635" y="887863"/>
                        <a:pt x="722908" y="888050"/>
                        <a:pt x="724489" y="887429"/>
                      </a:cubicBezTo>
                      <a:cubicBezTo>
                        <a:pt x="723283" y="887429"/>
                        <a:pt x="722077" y="887429"/>
                        <a:pt x="720870" y="887429"/>
                      </a:cubicBezTo>
                      <a:cubicBezTo>
                        <a:pt x="723482" y="886129"/>
                        <a:pt x="726234" y="885064"/>
                        <a:pt x="729092" y="884255"/>
                      </a:cubicBezTo>
                      <a:cubicBezTo>
                        <a:pt x="725508" y="884689"/>
                        <a:pt x="721936" y="885122"/>
                        <a:pt x="718352" y="885555"/>
                      </a:cubicBezTo>
                      <a:cubicBezTo>
                        <a:pt x="718598" y="885122"/>
                        <a:pt x="718844" y="884689"/>
                        <a:pt x="719078" y="884255"/>
                      </a:cubicBezTo>
                      <a:cubicBezTo>
                        <a:pt x="713668" y="883635"/>
                        <a:pt x="710154" y="888073"/>
                        <a:pt x="705224" y="888425"/>
                      </a:cubicBezTo>
                      <a:cubicBezTo>
                        <a:pt x="700293" y="888788"/>
                        <a:pt x="692798" y="885661"/>
                        <a:pt x="689366" y="882194"/>
                      </a:cubicBezTo>
                      <a:cubicBezTo>
                        <a:pt x="686450" y="879255"/>
                        <a:pt x="684541" y="874242"/>
                        <a:pt x="681695" y="870928"/>
                      </a:cubicBezTo>
                      <a:cubicBezTo>
                        <a:pt x="677877" y="866466"/>
                        <a:pt x="668005" y="859005"/>
                        <a:pt x="667302" y="852470"/>
                      </a:cubicBezTo>
                      <a:cubicBezTo>
                        <a:pt x="666681" y="846708"/>
                        <a:pt x="671916" y="842855"/>
                        <a:pt x="670839" y="836191"/>
                      </a:cubicBezTo>
                      <a:cubicBezTo>
                        <a:pt x="670476" y="833896"/>
                        <a:pt x="671342" y="831085"/>
                        <a:pt x="670042" y="830090"/>
                      </a:cubicBezTo>
                      <a:cubicBezTo>
                        <a:pt x="666740" y="827548"/>
                        <a:pt x="666541" y="834165"/>
                        <a:pt x="667618" y="835817"/>
                      </a:cubicBezTo>
                      <a:cubicBezTo>
                        <a:pt x="655426" y="835676"/>
                        <a:pt x="649465" y="826330"/>
                        <a:pt x="638655" y="823789"/>
                      </a:cubicBezTo>
                      <a:cubicBezTo>
                        <a:pt x="633338" y="822536"/>
                        <a:pt x="629415" y="821845"/>
                        <a:pt x="624215" y="819936"/>
                      </a:cubicBezTo>
                      <a:cubicBezTo>
                        <a:pt x="619964" y="818366"/>
                        <a:pt x="616286" y="814431"/>
                        <a:pt x="611848" y="817500"/>
                      </a:cubicBezTo>
                      <a:cubicBezTo>
                        <a:pt x="615724" y="821458"/>
                        <a:pt x="609646" y="822688"/>
                        <a:pt x="605781" y="822208"/>
                      </a:cubicBezTo>
                      <a:cubicBezTo>
                        <a:pt x="606964" y="825663"/>
                        <a:pt x="609096" y="828403"/>
                        <a:pt x="611133" y="831460"/>
                      </a:cubicBezTo>
                      <a:cubicBezTo>
                        <a:pt x="595264" y="837140"/>
                        <a:pt x="604341" y="792624"/>
                        <a:pt x="607058" y="788034"/>
                      </a:cubicBezTo>
                      <a:cubicBezTo>
                        <a:pt x="608041" y="786371"/>
                        <a:pt x="609166" y="783126"/>
                        <a:pt x="611649" y="783138"/>
                      </a:cubicBezTo>
                      <a:cubicBezTo>
                        <a:pt x="615865" y="783173"/>
                        <a:pt x="611180" y="788104"/>
                        <a:pt x="611578" y="788525"/>
                      </a:cubicBezTo>
                      <a:cubicBezTo>
                        <a:pt x="617399" y="794604"/>
                        <a:pt x="628197" y="787799"/>
                        <a:pt x="630422" y="778559"/>
                      </a:cubicBezTo>
                      <a:cubicBezTo>
                        <a:pt x="629462" y="778758"/>
                        <a:pt x="629204" y="779121"/>
                        <a:pt x="628338" y="779402"/>
                      </a:cubicBezTo>
                      <a:cubicBezTo>
                        <a:pt x="628232" y="776299"/>
                        <a:pt x="628818" y="772563"/>
                        <a:pt x="626475" y="770185"/>
                      </a:cubicBezTo>
                      <a:cubicBezTo>
                        <a:pt x="626827" y="771438"/>
                        <a:pt x="626850" y="773429"/>
                        <a:pt x="627143" y="774893"/>
                      </a:cubicBezTo>
                      <a:cubicBezTo>
                        <a:pt x="621767" y="773781"/>
                        <a:pt x="618875" y="769951"/>
                        <a:pt x="618828" y="765266"/>
                      </a:cubicBezTo>
                      <a:cubicBezTo>
                        <a:pt x="618781" y="761671"/>
                        <a:pt x="624215" y="750404"/>
                        <a:pt x="627237" y="749620"/>
                      </a:cubicBezTo>
                      <a:cubicBezTo>
                        <a:pt x="626628" y="746153"/>
                        <a:pt x="626663" y="746095"/>
                        <a:pt x="628607" y="743776"/>
                      </a:cubicBezTo>
                      <a:cubicBezTo>
                        <a:pt x="618067" y="739091"/>
                        <a:pt x="631207" y="725318"/>
                        <a:pt x="630820" y="718268"/>
                      </a:cubicBezTo>
                      <a:cubicBezTo>
                        <a:pt x="630012" y="703336"/>
                        <a:pt x="610923" y="712892"/>
                        <a:pt x="603169" y="713958"/>
                      </a:cubicBezTo>
                      <a:cubicBezTo>
                        <a:pt x="596494" y="714872"/>
                        <a:pt x="597981" y="717940"/>
                        <a:pt x="595510" y="709789"/>
                      </a:cubicBezTo>
                      <a:cubicBezTo>
                        <a:pt x="593800" y="704202"/>
                        <a:pt x="593074" y="706650"/>
                        <a:pt x="596447" y="701802"/>
                      </a:cubicBezTo>
                      <a:cubicBezTo>
                        <a:pt x="599047" y="698054"/>
                        <a:pt x="602724" y="696742"/>
                        <a:pt x="604844" y="692069"/>
                      </a:cubicBezTo>
                      <a:cubicBezTo>
                        <a:pt x="605980" y="689575"/>
                        <a:pt x="603989" y="688614"/>
                        <a:pt x="607573" y="686694"/>
                      </a:cubicBezTo>
                      <a:cubicBezTo>
                        <a:pt x="600066" y="678636"/>
                        <a:pt x="601799" y="699928"/>
                        <a:pt x="594702" y="693369"/>
                      </a:cubicBezTo>
                      <a:cubicBezTo>
                        <a:pt x="588987" y="688099"/>
                        <a:pt x="601565" y="681517"/>
                        <a:pt x="603685" y="678250"/>
                      </a:cubicBezTo>
                      <a:cubicBezTo>
                        <a:pt x="604985" y="676235"/>
                        <a:pt x="604739" y="673331"/>
                        <a:pt x="605980" y="671141"/>
                      </a:cubicBezTo>
                      <a:cubicBezTo>
                        <a:pt x="609541" y="664899"/>
                        <a:pt x="608217" y="668143"/>
                        <a:pt x="613604" y="665695"/>
                      </a:cubicBezTo>
                      <a:cubicBezTo>
                        <a:pt x="626815" y="659675"/>
                        <a:pt x="640073" y="655658"/>
                        <a:pt x="651925" y="649392"/>
                      </a:cubicBezTo>
                      <a:cubicBezTo>
                        <a:pt x="656972" y="646722"/>
                        <a:pt x="660978" y="643736"/>
                        <a:pt x="665194" y="640515"/>
                      </a:cubicBezTo>
                      <a:cubicBezTo>
                        <a:pt x="669515" y="637213"/>
                        <a:pt x="678217" y="623674"/>
                        <a:pt x="683686" y="629401"/>
                      </a:cubicBezTo>
                      <a:cubicBezTo>
                        <a:pt x="678545" y="624623"/>
                        <a:pt x="689472" y="614328"/>
                        <a:pt x="691802" y="608683"/>
                      </a:cubicBezTo>
                      <a:cubicBezTo>
                        <a:pt x="694789" y="601469"/>
                        <a:pt x="698279" y="595004"/>
                        <a:pt x="700399" y="587146"/>
                      </a:cubicBezTo>
                      <a:cubicBezTo>
                        <a:pt x="702472" y="579475"/>
                        <a:pt x="706231" y="571944"/>
                        <a:pt x="708187" y="565433"/>
                      </a:cubicBezTo>
                      <a:cubicBezTo>
                        <a:pt x="709651" y="560561"/>
                        <a:pt x="707098" y="551976"/>
                        <a:pt x="713316" y="550536"/>
                      </a:cubicBezTo>
                      <a:cubicBezTo>
                        <a:pt x="708327" y="546284"/>
                        <a:pt x="714745" y="532722"/>
                        <a:pt x="720472" y="532968"/>
                      </a:cubicBezTo>
                      <a:cubicBezTo>
                        <a:pt x="709698" y="530380"/>
                        <a:pt x="725742" y="523224"/>
                        <a:pt x="728530" y="520132"/>
                      </a:cubicBezTo>
                      <a:cubicBezTo>
                        <a:pt x="734936" y="513047"/>
                        <a:pt x="731176" y="504240"/>
                        <a:pt x="741916" y="501921"/>
                      </a:cubicBezTo>
                      <a:cubicBezTo>
                        <a:pt x="745488" y="501148"/>
                        <a:pt x="764613" y="500410"/>
                        <a:pt x="756918" y="505997"/>
                      </a:cubicBezTo>
                      <a:cubicBezTo>
                        <a:pt x="755525" y="507004"/>
                        <a:pt x="743602" y="505786"/>
                        <a:pt x="746928" y="510494"/>
                      </a:cubicBezTo>
                      <a:cubicBezTo>
                        <a:pt x="748837" y="513211"/>
                        <a:pt x="757516" y="511419"/>
                        <a:pt x="760244" y="511278"/>
                      </a:cubicBezTo>
                      <a:cubicBezTo>
                        <a:pt x="781114" y="510248"/>
                        <a:pt x="802195" y="508842"/>
                        <a:pt x="823124" y="508760"/>
                      </a:cubicBezTo>
                      <a:cubicBezTo>
                        <a:pt x="839180" y="508702"/>
                        <a:pt x="861104" y="505434"/>
                        <a:pt x="874561" y="515928"/>
                      </a:cubicBezTo>
                      <a:cubicBezTo>
                        <a:pt x="871305" y="517298"/>
                        <a:pt x="867780" y="517216"/>
                        <a:pt x="864559" y="518083"/>
                      </a:cubicBezTo>
                      <a:cubicBezTo>
                        <a:pt x="867955" y="519664"/>
                        <a:pt x="869279" y="518821"/>
                        <a:pt x="873226" y="518282"/>
                      </a:cubicBezTo>
                      <a:cubicBezTo>
                        <a:pt x="881400" y="517146"/>
                        <a:pt x="880733" y="517333"/>
                        <a:pt x="888732" y="519488"/>
                      </a:cubicBezTo>
                      <a:cubicBezTo>
                        <a:pt x="893592" y="520788"/>
                        <a:pt x="898300" y="520577"/>
                        <a:pt x="903055" y="522182"/>
                      </a:cubicBezTo>
                      <a:cubicBezTo>
                        <a:pt x="908009" y="523868"/>
                        <a:pt x="912670" y="526562"/>
                        <a:pt x="917788" y="528225"/>
                      </a:cubicBezTo>
                      <a:cubicBezTo>
                        <a:pt x="915879" y="527991"/>
                        <a:pt x="913677" y="528857"/>
                        <a:pt x="911757" y="528904"/>
                      </a:cubicBezTo>
                      <a:cubicBezTo>
                        <a:pt x="911546" y="528658"/>
                        <a:pt x="915211" y="534315"/>
                        <a:pt x="915727" y="532500"/>
                      </a:cubicBezTo>
                      <a:cubicBezTo>
                        <a:pt x="915645" y="532757"/>
                        <a:pt x="912588" y="537044"/>
                        <a:pt x="912588" y="537009"/>
                      </a:cubicBezTo>
                      <a:cubicBezTo>
                        <a:pt x="912693" y="540932"/>
                        <a:pt x="915692" y="542747"/>
                        <a:pt x="916535" y="545757"/>
                      </a:cubicBezTo>
                      <a:cubicBezTo>
                        <a:pt x="917530" y="549294"/>
                        <a:pt x="915680" y="548193"/>
                        <a:pt x="915633" y="552339"/>
                      </a:cubicBezTo>
                      <a:cubicBezTo>
                        <a:pt x="915586" y="557387"/>
                        <a:pt x="920728" y="565760"/>
                        <a:pt x="920189" y="569075"/>
                      </a:cubicBezTo>
                      <a:cubicBezTo>
                        <a:pt x="919709" y="571991"/>
                        <a:pt x="917015" y="572296"/>
                        <a:pt x="915703" y="574462"/>
                      </a:cubicBezTo>
                      <a:cubicBezTo>
                        <a:pt x="913888" y="577449"/>
                        <a:pt x="913256" y="580166"/>
                        <a:pt x="911792" y="583035"/>
                      </a:cubicBezTo>
                      <a:cubicBezTo>
                        <a:pt x="908770" y="588926"/>
                        <a:pt x="905631" y="593247"/>
                        <a:pt x="903324" y="599946"/>
                      </a:cubicBezTo>
                      <a:cubicBezTo>
                        <a:pt x="900771" y="607407"/>
                        <a:pt x="892362" y="608273"/>
                        <a:pt x="890828" y="615054"/>
                      </a:cubicBezTo>
                      <a:cubicBezTo>
                        <a:pt x="889868" y="619270"/>
                        <a:pt x="893639" y="622163"/>
                        <a:pt x="891554" y="626356"/>
                      </a:cubicBezTo>
                      <a:cubicBezTo>
                        <a:pt x="892585" y="624283"/>
                        <a:pt x="884890" y="632868"/>
                        <a:pt x="885991" y="631790"/>
                      </a:cubicBezTo>
                      <a:cubicBezTo>
                        <a:pt x="882290" y="635421"/>
                        <a:pt x="883204" y="636604"/>
                        <a:pt x="876762" y="638911"/>
                      </a:cubicBezTo>
                      <a:cubicBezTo>
                        <a:pt x="873846" y="639953"/>
                        <a:pt x="873249" y="638922"/>
                        <a:pt x="870181" y="640644"/>
                      </a:cubicBezTo>
                      <a:cubicBezTo>
                        <a:pt x="850306" y="651735"/>
                        <a:pt x="888357" y="670813"/>
                        <a:pt x="897141" y="675380"/>
                      </a:cubicBezTo>
                      <a:cubicBezTo>
                        <a:pt x="899764" y="676739"/>
                        <a:pt x="905608" y="678777"/>
                        <a:pt x="907330" y="681599"/>
                      </a:cubicBezTo>
                      <a:cubicBezTo>
                        <a:pt x="910503" y="686752"/>
                        <a:pt x="905912" y="686120"/>
                        <a:pt x="906603" y="691050"/>
                      </a:cubicBezTo>
                      <a:cubicBezTo>
                        <a:pt x="907130" y="694810"/>
                        <a:pt x="911710" y="698148"/>
                        <a:pt x="913724" y="701275"/>
                      </a:cubicBezTo>
                      <a:cubicBezTo>
                        <a:pt x="918022" y="707903"/>
                        <a:pt x="917038" y="708407"/>
                        <a:pt x="915329" y="716054"/>
                      </a:cubicBezTo>
                      <a:cubicBezTo>
                        <a:pt x="914380" y="720259"/>
                        <a:pt x="909707" y="727813"/>
                        <a:pt x="909836" y="730940"/>
                      </a:cubicBezTo>
                      <a:cubicBezTo>
                        <a:pt x="910000" y="734442"/>
                        <a:pt x="913829" y="737124"/>
                        <a:pt x="914368" y="741211"/>
                      </a:cubicBezTo>
                      <a:cubicBezTo>
                        <a:pt x="915832" y="752348"/>
                        <a:pt x="905819" y="749889"/>
                        <a:pt x="900150" y="758005"/>
                      </a:cubicBezTo>
                      <a:cubicBezTo>
                        <a:pt x="892971" y="768300"/>
                        <a:pt x="907821" y="766145"/>
                        <a:pt x="905128" y="776416"/>
                      </a:cubicBezTo>
                      <a:cubicBezTo>
                        <a:pt x="903629" y="782119"/>
                        <a:pt x="900174" y="781335"/>
                        <a:pt x="901368" y="787296"/>
                      </a:cubicBezTo>
                      <a:cubicBezTo>
                        <a:pt x="903043" y="795693"/>
                        <a:pt x="911885" y="797942"/>
                        <a:pt x="909004" y="808107"/>
                      </a:cubicBezTo>
                      <a:cubicBezTo>
                        <a:pt x="907540" y="813307"/>
                        <a:pt x="904097" y="818238"/>
                        <a:pt x="900291" y="821283"/>
                      </a:cubicBezTo>
                      <a:cubicBezTo>
                        <a:pt x="907868" y="827864"/>
                        <a:pt x="911616" y="841801"/>
                        <a:pt x="899577" y="842773"/>
                      </a:cubicBezTo>
                      <a:cubicBezTo>
                        <a:pt x="907002" y="848406"/>
                        <a:pt x="908536" y="850515"/>
                        <a:pt x="904449" y="857331"/>
                      </a:cubicBezTo>
                      <a:cubicBezTo>
                        <a:pt x="899541" y="865529"/>
                        <a:pt x="898886" y="864217"/>
                        <a:pt x="901778" y="874664"/>
                      </a:cubicBezTo>
                      <a:cubicBezTo>
                        <a:pt x="904050" y="882873"/>
                        <a:pt x="903535" y="887160"/>
                        <a:pt x="910644" y="893519"/>
                      </a:cubicBezTo>
                      <a:cubicBezTo>
                        <a:pt x="918854" y="900886"/>
                        <a:pt x="930331" y="903907"/>
                        <a:pt x="939700" y="909740"/>
                      </a:cubicBezTo>
                      <a:cubicBezTo>
                        <a:pt x="945931" y="913628"/>
                        <a:pt x="959317" y="918863"/>
                        <a:pt x="959996" y="927647"/>
                      </a:cubicBezTo>
                      <a:cubicBezTo>
                        <a:pt x="960676" y="936442"/>
                        <a:pt x="956764" y="927319"/>
                        <a:pt x="954679" y="927647"/>
                      </a:cubicBezTo>
                      <a:cubicBezTo>
                        <a:pt x="949198" y="928502"/>
                        <a:pt x="950393" y="934006"/>
                        <a:pt x="948133" y="936899"/>
                      </a:cubicBezTo>
                      <a:cubicBezTo>
                        <a:pt x="945427" y="940377"/>
                        <a:pt x="941258" y="943574"/>
                        <a:pt x="937721" y="946537"/>
                      </a:cubicBezTo>
                      <a:cubicBezTo>
                        <a:pt x="937194" y="946994"/>
                        <a:pt x="932099" y="950461"/>
                        <a:pt x="931912" y="950906"/>
                      </a:cubicBezTo>
                      <a:cubicBezTo>
                        <a:pt x="931186" y="952627"/>
                        <a:pt x="933259" y="953822"/>
                        <a:pt x="932896" y="954759"/>
                      </a:cubicBezTo>
                      <a:cubicBezTo>
                        <a:pt x="933072" y="954314"/>
                        <a:pt x="930390" y="962289"/>
                        <a:pt x="930272" y="961200"/>
                      </a:cubicBezTo>
                      <a:cubicBezTo>
                        <a:pt x="930963" y="967665"/>
                        <a:pt x="941750" y="975699"/>
                        <a:pt x="936714" y="984003"/>
                      </a:cubicBezTo>
                      <a:cubicBezTo>
                        <a:pt x="933903" y="988652"/>
                        <a:pt x="931420" y="984600"/>
                        <a:pt x="930647" y="990678"/>
                      </a:cubicBezTo>
                      <a:cubicBezTo>
                        <a:pt x="930214" y="994133"/>
                        <a:pt x="936995" y="994145"/>
                        <a:pt x="932217" y="998923"/>
                      </a:cubicBezTo>
                      <a:cubicBezTo>
                        <a:pt x="930436" y="993864"/>
                        <a:pt x="926935" y="995960"/>
                        <a:pt x="923316" y="998173"/>
                      </a:cubicBezTo>
                      <a:cubicBezTo>
                        <a:pt x="919908" y="1000246"/>
                        <a:pt x="921910" y="1002214"/>
                        <a:pt x="918549" y="1003830"/>
                      </a:cubicBezTo>
                      <a:cubicBezTo>
                        <a:pt x="914813" y="1005634"/>
                        <a:pt x="909215" y="1002870"/>
                        <a:pt x="905994" y="1004662"/>
                      </a:cubicBezTo>
                      <a:cubicBezTo>
                        <a:pt x="901134" y="1007344"/>
                        <a:pt x="903898" y="1010939"/>
                        <a:pt x="901087" y="1014663"/>
                      </a:cubicBezTo>
                      <a:cubicBezTo>
                        <a:pt x="899014" y="1017404"/>
                        <a:pt x="895677" y="1016279"/>
                        <a:pt x="894669" y="1019617"/>
                      </a:cubicBezTo>
                      <a:cubicBezTo>
                        <a:pt x="894377" y="1020636"/>
                        <a:pt x="897925" y="1023049"/>
                        <a:pt x="897773" y="1024665"/>
                      </a:cubicBezTo>
                      <a:cubicBezTo>
                        <a:pt x="896567" y="1037056"/>
                        <a:pt x="875708" y="1027745"/>
                        <a:pt x="876610" y="1035358"/>
                      </a:cubicBezTo>
                      <a:cubicBezTo>
                        <a:pt x="876997" y="1038578"/>
                        <a:pt x="884223" y="1038508"/>
                        <a:pt x="885616" y="1041775"/>
                      </a:cubicBezTo>
                      <a:cubicBezTo>
                        <a:pt x="888415" y="1048428"/>
                        <a:pt x="882197" y="1045875"/>
                        <a:pt x="880768" y="1041799"/>
                      </a:cubicBezTo>
                      <a:cubicBezTo>
                        <a:pt x="880990" y="1042794"/>
                        <a:pt x="880885" y="1044481"/>
                        <a:pt x="881330" y="1045956"/>
                      </a:cubicBezTo>
                      <a:cubicBezTo>
                        <a:pt x="877407" y="1046765"/>
                        <a:pt x="873495" y="1047561"/>
                        <a:pt x="869572" y="1048369"/>
                      </a:cubicBezTo>
                      <a:cubicBezTo>
                        <a:pt x="871422" y="1048439"/>
                        <a:pt x="873343" y="1049833"/>
                        <a:pt x="874865" y="1050220"/>
                      </a:cubicBezTo>
                      <a:cubicBezTo>
                        <a:pt x="875099" y="1053475"/>
                        <a:pt x="872359" y="1055724"/>
                        <a:pt x="869536" y="1058324"/>
                      </a:cubicBezTo>
                      <a:cubicBezTo>
                        <a:pt x="868400" y="1059366"/>
                        <a:pt x="861947" y="1066604"/>
                        <a:pt x="861362" y="1066815"/>
                      </a:cubicBezTo>
                      <a:cubicBezTo>
                        <a:pt x="858867" y="1067705"/>
                        <a:pt x="857743" y="1064777"/>
                        <a:pt x="855307" y="1065023"/>
                      </a:cubicBezTo>
                      <a:cubicBezTo>
                        <a:pt x="853855" y="1065175"/>
                        <a:pt x="850271" y="1067436"/>
                        <a:pt x="849147" y="1067096"/>
                      </a:cubicBezTo>
                      <a:cubicBezTo>
                        <a:pt x="844544" y="1065679"/>
                        <a:pt x="842975" y="1059132"/>
                        <a:pt x="837681" y="1064098"/>
                      </a:cubicBezTo>
                      <a:cubicBezTo>
                        <a:pt x="840773" y="1064718"/>
                        <a:pt x="843783" y="1065796"/>
                        <a:pt x="845598" y="1068290"/>
                      </a:cubicBezTo>
                      <a:cubicBezTo>
                        <a:pt x="844521" y="1068290"/>
                        <a:pt x="843443" y="1068290"/>
                        <a:pt x="842377" y="1068290"/>
                      </a:cubicBezTo>
                      <a:cubicBezTo>
                        <a:pt x="844532" y="1068981"/>
                        <a:pt x="846477" y="1070176"/>
                        <a:pt x="848807" y="1070680"/>
                      </a:cubicBezTo>
                      <a:cubicBezTo>
                        <a:pt x="845903" y="1073748"/>
                        <a:pt x="847027" y="1077355"/>
                        <a:pt x="850611" y="1079112"/>
                      </a:cubicBezTo>
                      <a:cubicBezTo>
                        <a:pt x="850072" y="1079674"/>
                        <a:pt x="849521" y="1080224"/>
                        <a:pt x="848983" y="1080787"/>
                      </a:cubicBezTo>
                      <a:cubicBezTo>
                        <a:pt x="853913" y="1083539"/>
                        <a:pt x="852039" y="1086959"/>
                        <a:pt x="852051" y="1089910"/>
                      </a:cubicBezTo>
                      <a:cubicBezTo>
                        <a:pt x="848866" y="1091713"/>
                        <a:pt x="837236" y="1093002"/>
                        <a:pt x="842038" y="1087474"/>
                      </a:cubicBezTo>
                      <a:cubicBezTo>
                        <a:pt x="839215" y="1091678"/>
                        <a:pt x="835198" y="1092931"/>
                        <a:pt x="830572" y="1089910"/>
                      </a:cubicBezTo>
                      <a:cubicBezTo>
                        <a:pt x="831790" y="1090683"/>
                        <a:pt x="832891" y="1092018"/>
                        <a:pt x="834133" y="1092838"/>
                      </a:cubicBezTo>
                      <a:cubicBezTo>
                        <a:pt x="830069" y="1092322"/>
                        <a:pt x="818088" y="1094325"/>
                        <a:pt x="828417" y="1096422"/>
                      </a:cubicBezTo>
                      <a:cubicBezTo>
                        <a:pt x="825489" y="1098202"/>
                        <a:pt x="822011" y="1097874"/>
                        <a:pt x="818790" y="1096422"/>
                      </a:cubicBezTo>
                      <a:cubicBezTo>
                        <a:pt x="826672" y="1102254"/>
                        <a:pt x="809819" y="1102757"/>
                        <a:pt x="805732" y="1102406"/>
                      </a:cubicBezTo>
                      <a:cubicBezTo>
                        <a:pt x="801551" y="1102055"/>
                        <a:pt x="782614" y="1097710"/>
                        <a:pt x="785881" y="1090882"/>
                      </a:cubicBezTo>
                      <a:cubicBezTo>
                        <a:pt x="786631" y="1089301"/>
                        <a:pt x="798213" y="1087989"/>
                        <a:pt x="800017" y="1087275"/>
                      </a:cubicBezTo>
                      <a:cubicBezTo>
                        <a:pt x="802277" y="1086385"/>
                        <a:pt x="807290" y="1083843"/>
                        <a:pt x="808449" y="1081267"/>
                      </a:cubicBezTo>
                      <a:cubicBezTo>
                        <a:pt x="804690" y="1080236"/>
                        <a:pt x="800790" y="1080131"/>
                        <a:pt x="797686" y="1082649"/>
                      </a:cubicBezTo>
                      <a:cubicBezTo>
                        <a:pt x="799115" y="1082649"/>
                        <a:pt x="800532" y="1082649"/>
                        <a:pt x="801961" y="1082649"/>
                      </a:cubicBezTo>
                      <a:cubicBezTo>
                        <a:pt x="799349" y="1083269"/>
                        <a:pt x="796738" y="1083878"/>
                        <a:pt x="794126" y="1084499"/>
                      </a:cubicBezTo>
                      <a:cubicBezTo>
                        <a:pt x="795473" y="1084874"/>
                        <a:pt x="796550" y="1085459"/>
                        <a:pt x="798049" y="1085694"/>
                      </a:cubicBezTo>
                      <a:cubicBezTo>
                        <a:pt x="795754" y="1087064"/>
                        <a:pt x="773959" y="1089769"/>
                        <a:pt x="779112" y="1082660"/>
                      </a:cubicBezTo>
                      <a:cubicBezTo>
                        <a:pt x="770797" y="1082450"/>
                        <a:pt x="768993" y="1072425"/>
                        <a:pt x="763629" y="1072214"/>
                      </a:cubicBezTo>
                      <a:cubicBezTo>
                        <a:pt x="765878" y="1072296"/>
                        <a:pt x="759636" y="1076266"/>
                        <a:pt x="758757" y="1076442"/>
                      </a:cubicBezTo>
                      <a:cubicBezTo>
                        <a:pt x="754471" y="1077320"/>
                        <a:pt x="751730" y="1073643"/>
                        <a:pt x="747772" y="1074978"/>
                      </a:cubicBezTo>
                      <a:cubicBezTo>
                        <a:pt x="748826" y="1075868"/>
                        <a:pt x="749798" y="1076980"/>
                        <a:pt x="750899" y="1077870"/>
                      </a:cubicBezTo>
                      <a:cubicBezTo>
                        <a:pt x="746331" y="1078608"/>
                        <a:pt x="739784" y="1076161"/>
                        <a:pt x="735147" y="1075692"/>
                      </a:cubicBezTo>
                      <a:cubicBezTo>
                        <a:pt x="728448" y="1075025"/>
                        <a:pt x="722522" y="1075306"/>
                        <a:pt x="715823" y="1076734"/>
                      </a:cubicBezTo>
                      <a:cubicBezTo>
                        <a:pt x="717357" y="1078409"/>
                        <a:pt x="721995" y="1078760"/>
                        <a:pt x="722533" y="1079721"/>
                      </a:cubicBezTo>
                      <a:cubicBezTo>
                        <a:pt x="724314" y="1082906"/>
                        <a:pt x="722545" y="1084546"/>
                        <a:pt x="723119" y="1088095"/>
                      </a:cubicBezTo>
                      <a:cubicBezTo>
                        <a:pt x="724396" y="1096058"/>
                        <a:pt x="729373" y="1099912"/>
                        <a:pt x="737817" y="1102605"/>
                      </a:cubicBezTo>
                      <a:cubicBezTo>
                        <a:pt x="746331" y="1105322"/>
                        <a:pt x="753300" y="1104748"/>
                        <a:pt x="761345" y="1108613"/>
                      </a:cubicBezTo>
                      <a:cubicBezTo>
                        <a:pt x="768958" y="1112267"/>
                        <a:pt x="777859" y="1115207"/>
                        <a:pt x="786349" y="1116952"/>
                      </a:cubicBezTo>
                      <a:cubicBezTo>
                        <a:pt x="805638" y="1120945"/>
                        <a:pt x="826848" y="1113708"/>
                        <a:pt x="846921" y="1117151"/>
                      </a:cubicBezTo>
                      <a:cubicBezTo>
                        <a:pt x="850505" y="1117772"/>
                        <a:pt x="855752" y="1118088"/>
                        <a:pt x="858867" y="1119891"/>
                      </a:cubicBezTo>
                      <a:cubicBezTo>
                        <a:pt x="861737" y="1121554"/>
                        <a:pt x="862310" y="1125396"/>
                        <a:pt x="865414" y="1126825"/>
                      </a:cubicBezTo>
                      <a:cubicBezTo>
                        <a:pt x="866936" y="1127527"/>
                        <a:pt x="875533" y="1126368"/>
                        <a:pt x="876821" y="1126204"/>
                      </a:cubicBezTo>
                      <a:cubicBezTo>
                        <a:pt x="881728" y="1125583"/>
                        <a:pt x="891308" y="1122234"/>
                        <a:pt x="893779" y="1117573"/>
                      </a:cubicBezTo>
                      <a:cubicBezTo>
                        <a:pt x="896625" y="1112220"/>
                        <a:pt x="890723" y="1106774"/>
                        <a:pt x="895665" y="1103015"/>
                      </a:cubicBezTo>
                      <a:cubicBezTo>
                        <a:pt x="893065" y="1102757"/>
                        <a:pt x="892128" y="1102207"/>
                        <a:pt x="889224" y="1103659"/>
                      </a:cubicBezTo>
                      <a:cubicBezTo>
                        <a:pt x="890851" y="1100977"/>
                        <a:pt x="898839" y="1094501"/>
                        <a:pt x="901474" y="1093224"/>
                      </a:cubicBezTo>
                      <a:cubicBezTo>
                        <a:pt x="906826" y="1090636"/>
                        <a:pt x="918596" y="1093927"/>
                        <a:pt x="923328" y="1090074"/>
                      </a:cubicBezTo>
                      <a:cubicBezTo>
                        <a:pt x="924581" y="1089055"/>
                        <a:pt x="924464" y="1086783"/>
                        <a:pt x="926045" y="1085705"/>
                      </a:cubicBezTo>
                      <a:cubicBezTo>
                        <a:pt x="926173" y="1085623"/>
                        <a:pt x="925365" y="1084230"/>
                        <a:pt x="925775" y="1083890"/>
                      </a:cubicBezTo>
                      <a:cubicBezTo>
                        <a:pt x="927391" y="1082555"/>
                        <a:pt x="928727" y="1083293"/>
                        <a:pt x="930905" y="1082040"/>
                      </a:cubicBezTo>
                      <a:cubicBezTo>
                        <a:pt x="937908" y="1078023"/>
                        <a:pt x="948226" y="1078796"/>
                        <a:pt x="954340" y="1073596"/>
                      </a:cubicBezTo>
                      <a:cubicBezTo>
                        <a:pt x="956260" y="1071956"/>
                        <a:pt x="956998" y="1068033"/>
                        <a:pt x="959153" y="1066346"/>
                      </a:cubicBezTo>
                      <a:cubicBezTo>
                        <a:pt x="962315" y="1063899"/>
                        <a:pt x="966285" y="1064707"/>
                        <a:pt x="969377" y="1061744"/>
                      </a:cubicBezTo>
                      <a:cubicBezTo>
                        <a:pt x="973828" y="1057481"/>
                        <a:pt x="971684" y="1053592"/>
                        <a:pt x="972984" y="1049107"/>
                      </a:cubicBezTo>
                      <a:cubicBezTo>
                        <a:pt x="973828" y="1046202"/>
                        <a:pt x="975830" y="1043157"/>
                        <a:pt x="976018" y="1040124"/>
                      </a:cubicBezTo>
                      <a:cubicBezTo>
                        <a:pt x="976404" y="1033905"/>
                        <a:pt x="973101" y="1036142"/>
                        <a:pt x="976556" y="1030017"/>
                      </a:cubicBezTo>
                      <a:cubicBezTo>
                        <a:pt x="981499" y="1021292"/>
                        <a:pt x="992074" y="1016104"/>
                        <a:pt x="999956" y="1010717"/>
                      </a:cubicBezTo>
                      <a:cubicBezTo>
                        <a:pt x="1007147" y="1005786"/>
                        <a:pt x="1015240" y="1002354"/>
                        <a:pt x="1018613" y="994274"/>
                      </a:cubicBezTo>
                      <a:cubicBezTo>
                        <a:pt x="1021833" y="986532"/>
                        <a:pt x="1021587" y="977350"/>
                        <a:pt x="1019549" y="969761"/>
                      </a:cubicBezTo>
                      <a:cubicBezTo>
                        <a:pt x="1017336" y="961470"/>
                        <a:pt x="1015685" y="954244"/>
                        <a:pt x="1009103" y="948083"/>
                      </a:cubicBezTo>
                      <a:cubicBezTo>
                        <a:pt x="1006210" y="945366"/>
                        <a:pt x="1000050" y="943258"/>
                        <a:pt x="998059" y="939920"/>
                      </a:cubicBezTo>
                      <a:cubicBezTo>
                        <a:pt x="994943" y="934697"/>
                        <a:pt x="997122" y="936184"/>
                        <a:pt x="999300" y="931020"/>
                      </a:cubicBezTo>
                      <a:cubicBezTo>
                        <a:pt x="1004781" y="918043"/>
                        <a:pt x="995951" y="907151"/>
                        <a:pt x="1013741" y="900698"/>
                      </a:cubicBezTo>
                      <a:cubicBezTo>
                        <a:pt x="1032502" y="893906"/>
                        <a:pt x="1052166" y="892442"/>
                        <a:pt x="1070717" y="886902"/>
                      </a:cubicBezTo>
                      <a:cubicBezTo>
                        <a:pt x="1080531" y="883974"/>
                        <a:pt x="1118570" y="873083"/>
                        <a:pt x="1118770" y="892325"/>
                      </a:cubicBezTo>
                      <a:cubicBezTo>
                        <a:pt x="1118793" y="894526"/>
                        <a:pt x="1114682" y="896880"/>
                        <a:pt x="1115104" y="898532"/>
                      </a:cubicBezTo>
                      <a:cubicBezTo>
                        <a:pt x="1116310" y="903334"/>
                        <a:pt x="1121346" y="904224"/>
                        <a:pt x="1125176" y="906519"/>
                      </a:cubicBezTo>
                      <a:cubicBezTo>
                        <a:pt x="1129216" y="908932"/>
                        <a:pt x="1140377" y="920104"/>
                        <a:pt x="1142696" y="919132"/>
                      </a:cubicBezTo>
                      <a:cubicBezTo>
                        <a:pt x="1142075" y="918629"/>
                        <a:pt x="1140565" y="918359"/>
                        <a:pt x="1140166" y="917961"/>
                      </a:cubicBezTo>
                      <a:cubicBezTo>
                        <a:pt x="1143153" y="916568"/>
                        <a:pt x="1151164" y="920034"/>
                        <a:pt x="1151972" y="924157"/>
                      </a:cubicBezTo>
                      <a:cubicBezTo>
                        <a:pt x="1152206" y="925339"/>
                        <a:pt x="1148540" y="929286"/>
                        <a:pt x="1148271" y="930821"/>
                      </a:cubicBezTo>
                      <a:cubicBezTo>
                        <a:pt x="1147638" y="934240"/>
                        <a:pt x="1151058" y="934556"/>
                        <a:pt x="1148950" y="939218"/>
                      </a:cubicBezTo>
                      <a:cubicBezTo>
                        <a:pt x="1147791" y="941747"/>
                        <a:pt x="1143668" y="941103"/>
                        <a:pt x="1143516" y="944230"/>
                      </a:cubicBezTo>
                      <a:cubicBezTo>
                        <a:pt x="1143129" y="952159"/>
                        <a:pt x="1156422" y="945167"/>
                        <a:pt x="1151269" y="956071"/>
                      </a:cubicBezTo>
                      <a:cubicBezTo>
                        <a:pt x="1150039" y="958682"/>
                        <a:pt x="1147182" y="959877"/>
                        <a:pt x="1146315" y="962430"/>
                      </a:cubicBezTo>
                      <a:cubicBezTo>
                        <a:pt x="1146502" y="961903"/>
                        <a:pt x="1145120" y="972959"/>
                        <a:pt x="1145038" y="972584"/>
                      </a:cubicBezTo>
                      <a:cubicBezTo>
                        <a:pt x="1146011" y="976589"/>
                        <a:pt x="1150918" y="976179"/>
                        <a:pt x="1150648" y="980255"/>
                      </a:cubicBezTo>
                      <a:cubicBezTo>
                        <a:pt x="1150356" y="984729"/>
                        <a:pt x="1146093" y="984975"/>
                        <a:pt x="1144219" y="986111"/>
                      </a:cubicBezTo>
                      <a:cubicBezTo>
                        <a:pt x="1143586" y="986485"/>
                        <a:pt x="1139967" y="983101"/>
                        <a:pt x="1138820" y="987024"/>
                      </a:cubicBezTo>
                      <a:cubicBezTo>
                        <a:pt x="1137121" y="992821"/>
                        <a:pt x="1151866" y="997424"/>
                        <a:pt x="1155427" y="998935"/>
                      </a:cubicBezTo>
                      <a:cubicBezTo>
                        <a:pt x="1159889" y="1000832"/>
                        <a:pt x="1166728" y="1001933"/>
                        <a:pt x="1170242" y="1005470"/>
                      </a:cubicBezTo>
                      <a:cubicBezTo>
                        <a:pt x="1172233" y="1007472"/>
                        <a:pt x="1169539" y="1010857"/>
                        <a:pt x="1171706" y="1011630"/>
                      </a:cubicBezTo>
                      <a:cubicBezTo>
                        <a:pt x="1172666" y="1011970"/>
                        <a:pt x="1180349" y="1010412"/>
                        <a:pt x="1181590" y="1010517"/>
                      </a:cubicBezTo>
                      <a:cubicBezTo>
                        <a:pt x="1184003" y="1010728"/>
                        <a:pt x="1187153" y="1012251"/>
                        <a:pt x="1189589" y="1011981"/>
                      </a:cubicBezTo>
                      <a:cubicBezTo>
                        <a:pt x="1193196" y="1011583"/>
                        <a:pt x="1196358" y="1008480"/>
                        <a:pt x="1199942" y="1008515"/>
                      </a:cubicBezTo>
                      <a:cubicBezTo>
                        <a:pt x="1204709" y="1008562"/>
                        <a:pt x="1207496" y="1011548"/>
                        <a:pt x="1213094" y="1010798"/>
                      </a:cubicBezTo>
                      <a:cubicBezTo>
                        <a:pt x="1218212" y="1010107"/>
                        <a:pt x="1221702" y="1007133"/>
                        <a:pt x="1227616" y="1007999"/>
                      </a:cubicBezTo>
                      <a:cubicBezTo>
                        <a:pt x="1233062" y="1008796"/>
                        <a:pt x="1236517" y="1011876"/>
                        <a:pt x="1242045" y="1009592"/>
                      </a:cubicBezTo>
                      <a:cubicBezTo>
                        <a:pt x="1239539" y="1004662"/>
                        <a:pt x="1224044" y="1006746"/>
                        <a:pt x="1232430" y="1002249"/>
                      </a:cubicBezTo>
                      <a:cubicBezTo>
                        <a:pt x="1224220" y="1000984"/>
                        <a:pt x="1218657" y="1010623"/>
                        <a:pt x="1211314" y="1004076"/>
                      </a:cubicBezTo>
                      <a:cubicBezTo>
                        <a:pt x="1227546" y="1004474"/>
                        <a:pt x="1211466" y="1001160"/>
                        <a:pt x="1209136" y="998045"/>
                      </a:cubicBezTo>
                      <a:cubicBezTo>
                        <a:pt x="1209218" y="1000047"/>
                        <a:pt x="1208234" y="1001675"/>
                        <a:pt x="1208023" y="1003654"/>
                      </a:cubicBezTo>
                      <a:cubicBezTo>
                        <a:pt x="1205411" y="998736"/>
                        <a:pt x="1201523" y="1001066"/>
                        <a:pt x="1197330" y="1000926"/>
                      </a:cubicBezTo>
                      <a:cubicBezTo>
                        <a:pt x="1191322" y="1000727"/>
                        <a:pt x="1186216" y="998876"/>
                        <a:pt x="1179845" y="998911"/>
                      </a:cubicBezTo>
                      <a:cubicBezTo>
                        <a:pt x="1181532" y="997588"/>
                        <a:pt x="1182047" y="996499"/>
                        <a:pt x="1184483" y="995562"/>
                      </a:cubicBezTo>
                      <a:cubicBezTo>
                        <a:pt x="1178662" y="996838"/>
                        <a:pt x="1178545" y="991287"/>
                        <a:pt x="1175453" y="991088"/>
                      </a:cubicBezTo>
                      <a:cubicBezTo>
                        <a:pt x="1174797" y="991041"/>
                        <a:pt x="1171307" y="994765"/>
                        <a:pt x="1168063" y="995000"/>
                      </a:cubicBezTo>
                      <a:cubicBezTo>
                        <a:pt x="1164608" y="995246"/>
                        <a:pt x="1161036" y="994016"/>
                        <a:pt x="1159408" y="991170"/>
                      </a:cubicBezTo>
                      <a:cubicBezTo>
                        <a:pt x="1156282" y="985736"/>
                        <a:pt x="1160509" y="977503"/>
                        <a:pt x="1165580" y="975933"/>
                      </a:cubicBezTo>
                      <a:cubicBezTo>
                        <a:pt x="1158144" y="977866"/>
                        <a:pt x="1159865" y="966904"/>
                        <a:pt x="1161540" y="962711"/>
                      </a:cubicBezTo>
                      <a:cubicBezTo>
                        <a:pt x="1167771" y="947076"/>
                        <a:pt x="1179705" y="954630"/>
                        <a:pt x="1191018" y="949044"/>
                      </a:cubicBezTo>
                      <a:cubicBezTo>
                        <a:pt x="1201102" y="944078"/>
                        <a:pt x="1189156" y="940646"/>
                        <a:pt x="1185022" y="935458"/>
                      </a:cubicBezTo>
                      <a:cubicBezTo>
                        <a:pt x="1182820" y="932694"/>
                        <a:pt x="1184483" y="927834"/>
                        <a:pt x="1184424" y="927705"/>
                      </a:cubicBezTo>
                      <a:cubicBezTo>
                        <a:pt x="1181555" y="922177"/>
                        <a:pt x="1180290" y="927049"/>
                        <a:pt x="1176987" y="924836"/>
                      </a:cubicBezTo>
                      <a:cubicBezTo>
                        <a:pt x="1167197" y="918301"/>
                        <a:pt x="1179166" y="894608"/>
                        <a:pt x="1166365" y="888003"/>
                      </a:cubicBezTo>
                      <a:cubicBezTo>
                        <a:pt x="1163636" y="886598"/>
                        <a:pt x="1159198" y="888554"/>
                        <a:pt x="1156305" y="887500"/>
                      </a:cubicBezTo>
                      <a:cubicBezTo>
                        <a:pt x="1153494" y="886469"/>
                        <a:pt x="1152323" y="883787"/>
                        <a:pt x="1149805" y="882674"/>
                      </a:cubicBezTo>
                      <a:cubicBezTo>
                        <a:pt x="1143996" y="880098"/>
                        <a:pt x="1135552" y="882710"/>
                        <a:pt x="1130376" y="879395"/>
                      </a:cubicBezTo>
                      <a:cubicBezTo>
                        <a:pt x="1126722" y="877053"/>
                        <a:pt x="1125949" y="871911"/>
                        <a:pt x="1122201" y="869323"/>
                      </a:cubicBezTo>
                      <a:cubicBezTo>
                        <a:pt x="1118371" y="866676"/>
                        <a:pt x="1115490" y="868351"/>
                        <a:pt x="1113160" y="868187"/>
                      </a:cubicBezTo>
                      <a:cubicBezTo>
                        <a:pt x="1106707" y="867730"/>
                        <a:pt x="1101788" y="866313"/>
                        <a:pt x="1095346" y="863421"/>
                      </a:cubicBezTo>
                      <a:cubicBezTo>
                        <a:pt x="1087043" y="859708"/>
                        <a:pt x="1082675" y="859790"/>
                        <a:pt x="1073387" y="859298"/>
                      </a:cubicBezTo>
                      <a:cubicBezTo>
                        <a:pt x="1066360" y="858923"/>
                        <a:pt x="1060247" y="856101"/>
                        <a:pt x="1053525" y="858244"/>
                      </a:cubicBezTo>
                      <a:cubicBezTo>
                        <a:pt x="1048899" y="859720"/>
                        <a:pt x="1038300" y="864615"/>
                        <a:pt x="1035477" y="868597"/>
                      </a:cubicBezTo>
                      <a:cubicBezTo>
                        <a:pt x="1036519" y="868984"/>
                        <a:pt x="1037691" y="869499"/>
                        <a:pt x="1038698" y="869839"/>
                      </a:cubicBezTo>
                      <a:cubicBezTo>
                        <a:pt x="1027349" y="875800"/>
                        <a:pt x="1015158" y="871127"/>
                        <a:pt x="1003950" y="868433"/>
                      </a:cubicBezTo>
                      <a:cubicBezTo>
                        <a:pt x="993035" y="865810"/>
                        <a:pt x="973570" y="879700"/>
                        <a:pt x="967129" y="867040"/>
                      </a:cubicBezTo>
                      <a:cubicBezTo>
                        <a:pt x="963112" y="859169"/>
                        <a:pt x="973312" y="851651"/>
                        <a:pt x="973172" y="843183"/>
                      </a:cubicBezTo>
                      <a:cubicBezTo>
                        <a:pt x="972949" y="830382"/>
                        <a:pt x="954059" y="824913"/>
                        <a:pt x="953660" y="813412"/>
                      </a:cubicBezTo>
                      <a:cubicBezTo>
                        <a:pt x="953461" y="808037"/>
                        <a:pt x="958427" y="806140"/>
                        <a:pt x="960699" y="801549"/>
                      </a:cubicBezTo>
                      <a:cubicBezTo>
                        <a:pt x="961765" y="799405"/>
                        <a:pt x="962491" y="793913"/>
                        <a:pt x="963287" y="791278"/>
                      </a:cubicBezTo>
                      <a:cubicBezTo>
                        <a:pt x="963767" y="789650"/>
                        <a:pt x="966285" y="782318"/>
                        <a:pt x="966227" y="781065"/>
                      </a:cubicBezTo>
                      <a:cubicBezTo>
                        <a:pt x="965981" y="775994"/>
                        <a:pt x="962093" y="778008"/>
                        <a:pt x="963943" y="772469"/>
                      </a:cubicBezTo>
                      <a:cubicBezTo>
                        <a:pt x="965641" y="767386"/>
                        <a:pt x="975491" y="764271"/>
                        <a:pt x="978629" y="760137"/>
                      </a:cubicBezTo>
                      <a:cubicBezTo>
                        <a:pt x="980281" y="757958"/>
                        <a:pt x="980655" y="754855"/>
                        <a:pt x="982178" y="752969"/>
                      </a:cubicBezTo>
                      <a:cubicBezTo>
                        <a:pt x="988596" y="744947"/>
                        <a:pt x="996642" y="742605"/>
                        <a:pt x="995787" y="731151"/>
                      </a:cubicBezTo>
                      <a:cubicBezTo>
                        <a:pt x="994756" y="717214"/>
                        <a:pt x="980140" y="718526"/>
                        <a:pt x="974729" y="707880"/>
                      </a:cubicBezTo>
                      <a:cubicBezTo>
                        <a:pt x="972949" y="704355"/>
                        <a:pt x="974952" y="700221"/>
                        <a:pt x="973031" y="696719"/>
                      </a:cubicBezTo>
                      <a:cubicBezTo>
                        <a:pt x="970724" y="692491"/>
                        <a:pt x="965032" y="690945"/>
                        <a:pt x="962456" y="686295"/>
                      </a:cubicBezTo>
                      <a:cubicBezTo>
                        <a:pt x="958005" y="678343"/>
                        <a:pt x="957677" y="671352"/>
                        <a:pt x="949772" y="665730"/>
                      </a:cubicBezTo>
                      <a:cubicBezTo>
                        <a:pt x="943975" y="661608"/>
                        <a:pt x="926935" y="657883"/>
                        <a:pt x="928773" y="651594"/>
                      </a:cubicBezTo>
                      <a:cubicBezTo>
                        <a:pt x="931151" y="643431"/>
                        <a:pt x="948589" y="639227"/>
                        <a:pt x="952372" y="630314"/>
                      </a:cubicBezTo>
                      <a:cubicBezTo>
                        <a:pt x="955347" y="623311"/>
                        <a:pt x="948800" y="620770"/>
                        <a:pt x="954515" y="614855"/>
                      </a:cubicBezTo>
                      <a:cubicBezTo>
                        <a:pt x="962748" y="606318"/>
                        <a:pt x="984555" y="604701"/>
                        <a:pt x="994873" y="602078"/>
                      </a:cubicBezTo>
                      <a:cubicBezTo>
                        <a:pt x="1005027" y="599501"/>
                        <a:pt x="1023004" y="592779"/>
                        <a:pt x="1030031" y="584921"/>
                      </a:cubicBezTo>
                      <a:cubicBezTo>
                        <a:pt x="1039728" y="574052"/>
                        <a:pt x="1035723" y="559202"/>
                        <a:pt x="1034154" y="546472"/>
                      </a:cubicBezTo>
                      <a:cubicBezTo>
                        <a:pt x="1033697" y="542712"/>
                        <a:pt x="1034001" y="539234"/>
                        <a:pt x="1032619" y="535603"/>
                      </a:cubicBezTo>
                      <a:cubicBezTo>
                        <a:pt x="1030558" y="530204"/>
                        <a:pt x="1017629" y="523002"/>
                        <a:pt x="1017699" y="518622"/>
                      </a:cubicBezTo>
                      <a:cubicBezTo>
                        <a:pt x="1017758" y="515705"/>
                        <a:pt x="1027701" y="511360"/>
                        <a:pt x="1031120" y="511431"/>
                      </a:cubicBezTo>
                      <a:cubicBezTo>
                        <a:pt x="1035782" y="511536"/>
                        <a:pt x="1039951" y="514581"/>
                        <a:pt x="1044027" y="516701"/>
                      </a:cubicBezTo>
                      <a:cubicBezTo>
                        <a:pt x="1046861" y="518177"/>
                        <a:pt x="1057928" y="520823"/>
                        <a:pt x="1058116" y="524278"/>
                      </a:cubicBezTo>
                      <a:cubicBezTo>
                        <a:pt x="1058361" y="528506"/>
                        <a:pt x="1050526" y="526480"/>
                        <a:pt x="1048348" y="530825"/>
                      </a:cubicBezTo>
                      <a:cubicBezTo>
                        <a:pt x="1051007" y="529033"/>
                        <a:pt x="1067485" y="538918"/>
                        <a:pt x="1067637" y="542396"/>
                      </a:cubicBezTo>
                      <a:cubicBezTo>
                        <a:pt x="1067789" y="545792"/>
                        <a:pt x="1061969" y="543321"/>
                        <a:pt x="1060001" y="546390"/>
                      </a:cubicBezTo>
                      <a:cubicBezTo>
                        <a:pt x="1058244" y="549142"/>
                        <a:pt x="1062250" y="557492"/>
                        <a:pt x="1063233" y="559834"/>
                      </a:cubicBezTo>
                      <a:cubicBezTo>
                        <a:pt x="1063948" y="561497"/>
                        <a:pt x="1070061" y="568232"/>
                        <a:pt x="1070026" y="567904"/>
                      </a:cubicBezTo>
                      <a:cubicBezTo>
                        <a:pt x="1070565" y="573619"/>
                        <a:pt x="1066442" y="572682"/>
                        <a:pt x="1063187" y="575715"/>
                      </a:cubicBezTo>
                      <a:cubicBezTo>
                        <a:pt x="1058596" y="580002"/>
                        <a:pt x="1056558" y="587778"/>
                        <a:pt x="1055082" y="592545"/>
                      </a:cubicBezTo>
                      <a:cubicBezTo>
                        <a:pt x="1055996" y="589582"/>
                        <a:pt x="1051428" y="598588"/>
                        <a:pt x="1053009" y="596491"/>
                      </a:cubicBezTo>
                      <a:cubicBezTo>
                        <a:pt x="1052271" y="597487"/>
                        <a:pt x="1053255" y="599091"/>
                        <a:pt x="1051053" y="601352"/>
                      </a:cubicBezTo>
                      <a:cubicBezTo>
                        <a:pt x="1048606" y="603858"/>
                        <a:pt x="1046240" y="601223"/>
                        <a:pt x="1043909" y="604409"/>
                      </a:cubicBezTo>
                      <a:cubicBezTo>
                        <a:pt x="1045116" y="602769"/>
                        <a:pt x="1042539" y="613391"/>
                        <a:pt x="1042586" y="612665"/>
                      </a:cubicBezTo>
                      <a:cubicBezTo>
                        <a:pt x="1042340" y="615898"/>
                        <a:pt x="1042352" y="617397"/>
                        <a:pt x="1043710" y="620008"/>
                      </a:cubicBezTo>
                      <a:cubicBezTo>
                        <a:pt x="1045631" y="623697"/>
                        <a:pt x="1045936" y="622807"/>
                        <a:pt x="1049156" y="625431"/>
                      </a:cubicBezTo>
                      <a:cubicBezTo>
                        <a:pt x="1050409" y="626473"/>
                        <a:pt x="1056019" y="628710"/>
                        <a:pt x="1056359" y="630209"/>
                      </a:cubicBezTo>
                      <a:cubicBezTo>
                        <a:pt x="1056933" y="632750"/>
                        <a:pt x="1052845" y="634413"/>
                        <a:pt x="1052705" y="633910"/>
                      </a:cubicBezTo>
                      <a:cubicBezTo>
                        <a:pt x="1052705" y="633910"/>
                        <a:pt x="1052482" y="635877"/>
                        <a:pt x="1052834" y="637013"/>
                      </a:cubicBezTo>
                      <a:cubicBezTo>
                        <a:pt x="1053325" y="638641"/>
                        <a:pt x="1057588" y="638758"/>
                        <a:pt x="1057963" y="641066"/>
                      </a:cubicBezTo>
                      <a:cubicBezTo>
                        <a:pt x="1058373" y="643701"/>
                        <a:pt x="1055164" y="644684"/>
                        <a:pt x="1053103" y="646629"/>
                      </a:cubicBezTo>
                      <a:cubicBezTo>
                        <a:pt x="1052025" y="647636"/>
                        <a:pt x="1054438" y="649474"/>
                        <a:pt x="1053325" y="650107"/>
                      </a:cubicBezTo>
                      <a:cubicBezTo>
                        <a:pt x="1050819" y="651512"/>
                        <a:pt x="1046451" y="648596"/>
                        <a:pt x="1044600" y="649896"/>
                      </a:cubicBezTo>
                      <a:cubicBezTo>
                        <a:pt x="1041345" y="652215"/>
                        <a:pt x="1043254" y="657450"/>
                        <a:pt x="1045514" y="659956"/>
                      </a:cubicBezTo>
                      <a:cubicBezTo>
                        <a:pt x="1055644" y="671199"/>
                        <a:pt x="1077838" y="666327"/>
                        <a:pt x="1089479" y="674771"/>
                      </a:cubicBezTo>
                      <a:cubicBezTo>
                        <a:pt x="1089561" y="670415"/>
                        <a:pt x="1124450" y="674221"/>
                        <a:pt x="1130575" y="676727"/>
                      </a:cubicBezTo>
                      <a:cubicBezTo>
                        <a:pt x="1127225" y="679854"/>
                        <a:pt x="1130985" y="683356"/>
                        <a:pt x="1130575" y="687221"/>
                      </a:cubicBezTo>
                      <a:cubicBezTo>
                        <a:pt x="1135353" y="683414"/>
                        <a:pt x="1129743" y="679995"/>
                        <a:pt x="1134276" y="677102"/>
                      </a:cubicBezTo>
                      <a:cubicBezTo>
                        <a:pt x="1139007" y="674092"/>
                        <a:pt x="1150145" y="678964"/>
                        <a:pt x="1155918" y="678812"/>
                      </a:cubicBezTo>
                      <a:cubicBezTo>
                        <a:pt x="1162980" y="678613"/>
                        <a:pt x="1173451" y="676329"/>
                        <a:pt x="1179096" y="682595"/>
                      </a:cubicBezTo>
                      <a:cubicBezTo>
                        <a:pt x="1182632" y="686518"/>
                        <a:pt x="1180220" y="691964"/>
                        <a:pt x="1183663" y="695641"/>
                      </a:cubicBezTo>
                      <a:cubicBezTo>
                        <a:pt x="1187423" y="699647"/>
                        <a:pt x="1199813" y="700654"/>
                        <a:pt x="1204896" y="702047"/>
                      </a:cubicBezTo>
                      <a:cubicBezTo>
                        <a:pt x="1211618" y="703886"/>
                        <a:pt x="1214546" y="702153"/>
                        <a:pt x="1221515" y="701438"/>
                      </a:cubicBezTo>
                      <a:cubicBezTo>
                        <a:pt x="1225192" y="701064"/>
                        <a:pt x="1229291" y="701907"/>
                        <a:pt x="1233168" y="701579"/>
                      </a:cubicBezTo>
                      <a:cubicBezTo>
                        <a:pt x="1234409" y="701474"/>
                        <a:pt x="1234597" y="699319"/>
                        <a:pt x="1235686" y="699120"/>
                      </a:cubicBezTo>
                      <a:cubicBezTo>
                        <a:pt x="1235088" y="699225"/>
                        <a:pt x="1247526" y="700619"/>
                        <a:pt x="1240323" y="697094"/>
                      </a:cubicBezTo>
                      <a:cubicBezTo>
                        <a:pt x="1244973" y="696379"/>
                        <a:pt x="1246121" y="693803"/>
                        <a:pt x="1242830" y="692022"/>
                      </a:cubicBezTo>
                      <a:cubicBezTo>
                        <a:pt x="1241741" y="691437"/>
                        <a:pt x="1238204" y="695032"/>
                        <a:pt x="1237185" y="695185"/>
                      </a:cubicBezTo>
                      <a:cubicBezTo>
                        <a:pt x="1232360" y="695864"/>
                        <a:pt x="1232863" y="690722"/>
                        <a:pt x="1228190" y="695032"/>
                      </a:cubicBezTo>
                      <a:cubicBezTo>
                        <a:pt x="1230591" y="695032"/>
                        <a:pt x="1231868" y="695922"/>
                        <a:pt x="1234222" y="696403"/>
                      </a:cubicBezTo>
                      <a:cubicBezTo>
                        <a:pt x="1227663" y="699834"/>
                        <a:pt x="1227453" y="698347"/>
                        <a:pt x="1221784" y="698534"/>
                      </a:cubicBezTo>
                      <a:cubicBezTo>
                        <a:pt x="1219114" y="698616"/>
                        <a:pt x="1214980" y="700127"/>
                        <a:pt x="1213270" y="700150"/>
                      </a:cubicBezTo>
                      <a:cubicBezTo>
                        <a:pt x="1210248" y="700197"/>
                        <a:pt x="1211314" y="704624"/>
                        <a:pt x="1209780" y="699647"/>
                      </a:cubicBezTo>
                      <a:cubicBezTo>
                        <a:pt x="1208761" y="696344"/>
                        <a:pt x="1213867" y="695360"/>
                        <a:pt x="1211361" y="691847"/>
                      </a:cubicBezTo>
                      <a:cubicBezTo>
                        <a:pt x="1216291" y="691460"/>
                        <a:pt x="1217381" y="689141"/>
                        <a:pt x="1213153" y="686647"/>
                      </a:cubicBezTo>
                      <a:cubicBezTo>
                        <a:pt x="1213153" y="686635"/>
                        <a:pt x="1214535" y="684750"/>
                        <a:pt x="1214605" y="685277"/>
                      </a:cubicBezTo>
                      <a:cubicBezTo>
                        <a:pt x="1212169" y="682079"/>
                        <a:pt x="1208960" y="683028"/>
                        <a:pt x="1205236" y="684632"/>
                      </a:cubicBezTo>
                      <a:cubicBezTo>
                        <a:pt x="1207016" y="687420"/>
                        <a:pt x="1210494" y="688087"/>
                        <a:pt x="1213153" y="689844"/>
                      </a:cubicBezTo>
                      <a:cubicBezTo>
                        <a:pt x="1206618" y="690570"/>
                        <a:pt x="1200364" y="686366"/>
                        <a:pt x="1200258" y="680908"/>
                      </a:cubicBezTo>
                      <a:cubicBezTo>
                        <a:pt x="1200176" y="676540"/>
                        <a:pt x="1206594" y="674818"/>
                        <a:pt x="1201746" y="669408"/>
                      </a:cubicBezTo>
                      <a:cubicBezTo>
                        <a:pt x="1197389" y="664547"/>
                        <a:pt x="1185010" y="671059"/>
                        <a:pt x="1183300" y="668412"/>
                      </a:cubicBezTo>
                      <a:cubicBezTo>
                        <a:pt x="1180255" y="663704"/>
                        <a:pt x="1185174" y="662006"/>
                        <a:pt x="1187762" y="659019"/>
                      </a:cubicBezTo>
                      <a:cubicBezTo>
                        <a:pt x="1183031" y="658211"/>
                        <a:pt x="1178206" y="661982"/>
                        <a:pt x="1173872" y="664090"/>
                      </a:cubicBezTo>
                      <a:cubicBezTo>
                        <a:pt x="1171952" y="665027"/>
                        <a:pt x="1174786" y="666948"/>
                        <a:pt x="1170031" y="666808"/>
                      </a:cubicBezTo>
                      <a:cubicBezTo>
                        <a:pt x="1166295" y="666702"/>
                        <a:pt x="1162383" y="662334"/>
                        <a:pt x="1157745" y="662287"/>
                      </a:cubicBezTo>
                      <a:cubicBezTo>
                        <a:pt x="1159256" y="663072"/>
                        <a:pt x="1160591" y="664254"/>
                        <a:pt x="1162407" y="664969"/>
                      </a:cubicBezTo>
                      <a:cubicBezTo>
                        <a:pt x="1152440" y="665437"/>
                        <a:pt x="1145612" y="655752"/>
                        <a:pt x="1137168" y="653023"/>
                      </a:cubicBezTo>
                      <a:cubicBezTo>
                        <a:pt x="1131687" y="651266"/>
                        <a:pt x="1124707" y="652543"/>
                        <a:pt x="1119390" y="649463"/>
                      </a:cubicBezTo>
                      <a:cubicBezTo>
                        <a:pt x="1115888" y="647437"/>
                        <a:pt x="1114471" y="643923"/>
                        <a:pt x="1110396" y="642225"/>
                      </a:cubicBezTo>
                      <a:cubicBezTo>
                        <a:pt x="1105243" y="640070"/>
                        <a:pt x="1099832" y="642155"/>
                        <a:pt x="1096143" y="637505"/>
                      </a:cubicBezTo>
                      <a:cubicBezTo>
                        <a:pt x="1095229" y="636346"/>
                        <a:pt x="1096916" y="632879"/>
                        <a:pt x="1096272" y="631017"/>
                      </a:cubicBezTo>
                      <a:cubicBezTo>
                        <a:pt x="1094784" y="626719"/>
                        <a:pt x="1091423" y="622257"/>
                        <a:pt x="1089690" y="617771"/>
                      </a:cubicBezTo>
                      <a:cubicBezTo>
                        <a:pt x="1088003" y="613415"/>
                        <a:pt x="1086914" y="609140"/>
                        <a:pt x="1082663" y="606786"/>
                      </a:cubicBezTo>
                      <a:cubicBezTo>
                        <a:pt x="1095616" y="598389"/>
                        <a:pt x="1119320" y="590893"/>
                        <a:pt x="1133011" y="595437"/>
                      </a:cubicBezTo>
                      <a:cubicBezTo>
                        <a:pt x="1142087" y="598447"/>
                        <a:pt x="1149618" y="604022"/>
                        <a:pt x="1157511" y="609444"/>
                      </a:cubicBezTo>
                      <a:cubicBezTo>
                        <a:pt x="1167185" y="616097"/>
                        <a:pt x="1173369" y="614551"/>
                        <a:pt x="1184366" y="611693"/>
                      </a:cubicBezTo>
                      <a:cubicBezTo>
                        <a:pt x="1204182" y="606552"/>
                        <a:pt x="1200223" y="588739"/>
                        <a:pt x="1180876" y="586420"/>
                      </a:cubicBezTo>
                      <a:cubicBezTo>
                        <a:pt x="1173369" y="585518"/>
                        <a:pt x="1163941" y="594196"/>
                        <a:pt x="1158167" y="590577"/>
                      </a:cubicBezTo>
                      <a:cubicBezTo>
                        <a:pt x="1149173" y="584944"/>
                        <a:pt x="1165838" y="581864"/>
                        <a:pt x="1158050" y="577378"/>
                      </a:cubicBezTo>
                      <a:cubicBezTo>
                        <a:pt x="1162102" y="574333"/>
                        <a:pt x="1166072" y="579592"/>
                        <a:pt x="1170616" y="578350"/>
                      </a:cubicBezTo>
                      <a:cubicBezTo>
                        <a:pt x="1176367" y="576781"/>
                        <a:pt x="1179669" y="568887"/>
                        <a:pt x="1184764" y="565702"/>
                      </a:cubicBezTo>
                      <a:cubicBezTo>
                        <a:pt x="1186298" y="564730"/>
                        <a:pt x="1190959" y="562177"/>
                        <a:pt x="1192763" y="561743"/>
                      </a:cubicBezTo>
                      <a:cubicBezTo>
                        <a:pt x="1194356" y="561357"/>
                        <a:pt x="1195937" y="562270"/>
                        <a:pt x="1197694" y="561884"/>
                      </a:cubicBezTo>
                      <a:cubicBezTo>
                        <a:pt x="1202437" y="560853"/>
                        <a:pt x="1208480" y="558043"/>
                        <a:pt x="1213481" y="560525"/>
                      </a:cubicBezTo>
                      <a:cubicBezTo>
                        <a:pt x="1213293" y="559682"/>
                        <a:pt x="1213246" y="558769"/>
                        <a:pt x="1213141" y="557914"/>
                      </a:cubicBezTo>
                      <a:cubicBezTo>
                        <a:pt x="1225930" y="559354"/>
                        <a:pt x="1237536" y="560162"/>
                        <a:pt x="1250255" y="559682"/>
                      </a:cubicBezTo>
                      <a:cubicBezTo>
                        <a:pt x="1264133" y="559155"/>
                        <a:pt x="1271781" y="567283"/>
                        <a:pt x="1283328" y="573431"/>
                      </a:cubicBezTo>
                      <a:cubicBezTo>
                        <a:pt x="1294606" y="579439"/>
                        <a:pt x="1307185" y="580271"/>
                        <a:pt x="1319224" y="584077"/>
                      </a:cubicBezTo>
                      <a:cubicBezTo>
                        <a:pt x="1323030" y="585284"/>
                        <a:pt x="1334133" y="587181"/>
                        <a:pt x="1335925" y="591081"/>
                      </a:cubicBezTo>
                      <a:cubicBezTo>
                        <a:pt x="1337962" y="595519"/>
                        <a:pt x="1331908" y="595426"/>
                        <a:pt x="1329682" y="593435"/>
                      </a:cubicBezTo>
                      <a:cubicBezTo>
                        <a:pt x="1331111" y="592638"/>
                        <a:pt x="1332505" y="590729"/>
                        <a:pt x="1333957" y="590050"/>
                      </a:cubicBezTo>
                      <a:cubicBezTo>
                        <a:pt x="1327399" y="588586"/>
                        <a:pt x="1323721" y="590905"/>
                        <a:pt x="1327270" y="595590"/>
                      </a:cubicBezTo>
                      <a:cubicBezTo>
                        <a:pt x="1332493" y="602488"/>
                        <a:pt x="1347156" y="604116"/>
                        <a:pt x="1353679" y="609890"/>
                      </a:cubicBezTo>
                      <a:cubicBezTo>
                        <a:pt x="1357521" y="613286"/>
                        <a:pt x="1356361" y="616378"/>
                        <a:pt x="1360144" y="619856"/>
                      </a:cubicBezTo>
                      <a:cubicBezTo>
                        <a:pt x="1363423" y="622854"/>
                        <a:pt x="1379749" y="626333"/>
                        <a:pt x="1384176" y="626871"/>
                      </a:cubicBezTo>
                      <a:cubicBezTo>
                        <a:pt x="1393838" y="628031"/>
                        <a:pt x="1404074" y="626379"/>
                        <a:pt x="1413221" y="623838"/>
                      </a:cubicBezTo>
                      <a:cubicBezTo>
                        <a:pt x="1419967" y="621952"/>
                        <a:pt x="1434395" y="616823"/>
                        <a:pt x="1440778" y="618615"/>
                      </a:cubicBezTo>
                      <a:cubicBezTo>
                        <a:pt x="1445486" y="619926"/>
                        <a:pt x="1446294" y="622796"/>
                        <a:pt x="1451283" y="623779"/>
                      </a:cubicBezTo>
                      <a:cubicBezTo>
                        <a:pt x="1456003" y="624716"/>
                        <a:pt x="1464986" y="622116"/>
                        <a:pt x="1464248" y="630244"/>
                      </a:cubicBezTo>
                      <a:cubicBezTo>
                        <a:pt x="1463533" y="638021"/>
                        <a:pt x="1436843" y="643548"/>
                        <a:pt x="1450487" y="654405"/>
                      </a:cubicBezTo>
                      <a:cubicBezTo>
                        <a:pt x="1441422" y="656607"/>
                        <a:pt x="1412741" y="660343"/>
                        <a:pt x="1409344" y="669700"/>
                      </a:cubicBezTo>
                      <a:cubicBezTo>
                        <a:pt x="1408267" y="672687"/>
                        <a:pt x="1412541" y="677734"/>
                        <a:pt x="1412975" y="680112"/>
                      </a:cubicBezTo>
                      <a:cubicBezTo>
                        <a:pt x="1414579" y="689305"/>
                        <a:pt x="1408747" y="685359"/>
                        <a:pt x="1406803" y="692069"/>
                      </a:cubicBezTo>
                      <a:cubicBezTo>
                        <a:pt x="1404683" y="699389"/>
                        <a:pt x="1418713" y="710140"/>
                        <a:pt x="1417156" y="716382"/>
                      </a:cubicBezTo>
                      <a:cubicBezTo>
                        <a:pt x="1416336" y="719685"/>
                        <a:pt x="1409977" y="720669"/>
                        <a:pt x="1408114" y="722964"/>
                      </a:cubicBezTo>
                      <a:cubicBezTo>
                        <a:pt x="1406522" y="724932"/>
                        <a:pt x="1407096" y="727684"/>
                        <a:pt x="1406194" y="728879"/>
                      </a:cubicBezTo>
                      <a:cubicBezTo>
                        <a:pt x="1402060" y="734336"/>
                        <a:pt x="1401685" y="732263"/>
                        <a:pt x="1401978" y="737428"/>
                      </a:cubicBezTo>
                      <a:cubicBezTo>
                        <a:pt x="1402552" y="747676"/>
                        <a:pt x="1408103" y="760828"/>
                        <a:pt x="1414029" y="769459"/>
                      </a:cubicBezTo>
                      <a:cubicBezTo>
                        <a:pt x="1413209" y="762221"/>
                        <a:pt x="1409356" y="755991"/>
                        <a:pt x="1408384" y="748378"/>
                      </a:cubicBezTo>
                      <a:cubicBezTo>
                        <a:pt x="1407997" y="745368"/>
                        <a:pt x="1404156" y="735109"/>
                        <a:pt x="1404636" y="734055"/>
                      </a:cubicBezTo>
                      <a:cubicBezTo>
                        <a:pt x="1408700" y="725119"/>
                        <a:pt x="1423398" y="737978"/>
                        <a:pt x="1418315" y="723058"/>
                      </a:cubicBezTo>
                      <a:cubicBezTo>
                        <a:pt x="1422988" y="721934"/>
                        <a:pt x="1420517" y="717928"/>
                        <a:pt x="1424757" y="716769"/>
                      </a:cubicBezTo>
                      <a:cubicBezTo>
                        <a:pt x="1423667" y="716230"/>
                        <a:pt x="1420716" y="713829"/>
                        <a:pt x="1421114" y="712260"/>
                      </a:cubicBezTo>
                      <a:cubicBezTo>
                        <a:pt x="1421173" y="712026"/>
                        <a:pt x="1425682" y="704179"/>
                        <a:pt x="1425811" y="703980"/>
                      </a:cubicBezTo>
                      <a:cubicBezTo>
                        <a:pt x="1429289" y="699049"/>
                        <a:pt x="1438529" y="693545"/>
                        <a:pt x="1441563" y="702012"/>
                      </a:cubicBezTo>
                      <a:cubicBezTo>
                        <a:pt x="1442980" y="699319"/>
                        <a:pt x="1442101" y="696215"/>
                        <a:pt x="1442160" y="693475"/>
                      </a:cubicBezTo>
                      <a:cubicBezTo>
                        <a:pt x="1446317" y="702762"/>
                        <a:pt x="1456916" y="702457"/>
                        <a:pt x="1454890" y="713888"/>
                      </a:cubicBezTo>
                      <a:cubicBezTo>
                        <a:pt x="1454164" y="718034"/>
                        <a:pt x="1452091" y="733106"/>
                        <a:pt x="1447653" y="734746"/>
                      </a:cubicBezTo>
                      <a:cubicBezTo>
                        <a:pt x="1452653" y="742546"/>
                        <a:pt x="1449035" y="747441"/>
                        <a:pt x="1442172" y="753075"/>
                      </a:cubicBezTo>
                      <a:cubicBezTo>
                        <a:pt x="1438459" y="756120"/>
                        <a:pt x="1432310" y="760348"/>
                        <a:pt x="1430144" y="764622"/>
                      </a:cubicBezTo>
                      <a:cubicBezTo>
                        <a:pt x="1428680" y="767527"/>
                        <a:pt x="1431104" y="768897"/>
                        <a:pt x="1429429" y="771450"/>
                      </a:cubicBezTo>
                      <a:cubicBezTo>
                        <a:pt x="1434910" y="776345"/>
                        <a:pt x="1450850" y="786979"/>
                        <a:pt x="1457689" y="779753"/>
                      </a:cubicBezTo>
                      <a:cubicBezTo>
                        <a:pt x="1457197" y="779566"/>
                        <a:pt x="1456717" y="779367"/>
                        <a:pt x="1456225" y="779180"/>
                      </a:cubicBezTo>
                      <a:cubicBezTo>
                        <a:pt x="1461015" y="774624"/>
                        <a:pt x="1449175" y="761378"/>
                        <a:pt x="1445474" y="757958"/>
                      </a:cubicBezTo>
                      <a:cubicBezTo>
                        <a:pt x="1452759" y="755101"/>
                        <a:pt x="1462351" y="760148"/>
                        <a:pt x="1470736" y="757701"/>
                      </a:cubicBezTo>
                      <a:cubicBezTo>
                        <a:pt x="1476123" y="756131"/>
                        <a:pt x="1473992" y="756682"/>
                        <a:pt x="1477576" y="754082"/>
                      </a:cubicBezTo>
                      <a:cubicBezTo>
                        <a:pt x="1490189" y="744959"/>
                        <a:pt x="1488467" y="738822"/>
                        <a:pt x="1482705" y="726325"/>
                      </a:cubicBezTo>
                      <a:cubicBezTo>
                        <a:pt x="1479239" y="718854"/>
                        <a:pt x="1477212" y="713056"/>
                        <a:pt x="1473933" y="705338"/>
                      </a:cubicBezTo>
                      <a:cubicBezTo>
                        <a:pt x="1472715" y="702516"/>
                        <a:pt x="1470244" y="700490"/>
                        <a:pt x="1469143" y="698030"/>
                      </a:cubicBezTo>
                      <a:cubicBezTo>
                        <a:pt x="1468136" y="695782"/>
                        <a:pt x="1469577" y="692983"/>
                        <a:pt x="1467914" y="691027"/>
                      </a:cubicBezTo>
                      <a:cubicBezTo>
                        <a:pt x="1463955" y="686436"/>
                        <a:pt x="1456799" y="688708"/>
                        <a:pt x="1454059" y="683297"/>
                      </a:cubicBezTo>
                      <a:cubicBezTo>
                        <a:pt x="1456530" y="683801"/>
                        <a:pt x="1459130" y="683075"/>
                        <a:pt x="1461425" y="683005"/>
                      </a:cubicBezTo>
                      <a:cubicBezTo>
                        <a:pt x="1459048" y="676821"/>
                        <a:pt x="1455698" y="673542"/>
                        <a:pt x="1458088" y="668869"/>
                      </a:cubicBezTo>
                      <a:cubicBezTo>
                        <a:pt x="1459036" y="667018"/>
                        <a:pt x="1463241" y="664910"/>
                        <a:pt x="1464833" y="662627"/>
                      </a:cubicBezTo>
                      <a:cubicBezTo>
                        <a:pt x="1466789" y="659839"/>
                        <a:pt x="1466906" y="658422"/>
                        <a:pt x="1467750" y="655728"/>
                      </a:cubicBezTo>
                      <a:cubicBezTo>
                        <a:pt x="1469518" y="650095"/>
                        <a:pt x="1468031" y="651536"/>
                        <a:pt x="1471685" y="648327"/>
                      </a:cubicBezTo>
                      <a:cubicBezTo>
                        <a:pt x="1476334" y="644228"/>
                        <a:pt x="1482459" y="643092"/>
                        <a:pt x="1480503" y="634566"/>
                      </a:cubicBezTo>
                      <a:cubicBezTo>
                        <a:pt x="1480094" y="632797"/>
                        <a:pt x="1476709" y="627972"/>
                        <a:pt x="1475444" y="626614"/>
                      </a:cubicBezTo>
                      <a:cubicBezTo>
                        <a:pt x="1473886" y="624904"/>
                        <a:pt x="1470373" y="623217"/>
                        <a:pt x="1469377" y="621601"/>
                      </a:cubicBezTo>
                      <a:cubicBezTo>
                        <a:pt x="1468757" y="620594"/>
                        <a:pt x="1470666" y="618052"/>
                        <a:pt x="1469776" y="616916"/>
                      </a:cubicBezTo>
                      <a:cubicBezTo>
                        <a:pt x="1465267" y="611201"/>
                        <a:pt x="1458252" y="610358"/>
                        <a:pt x="1451435" y="608999"/>
                      </a:cubicBezTo>
                      <a:cubicBezTo>
                        <a:pt x="1445837" y="607887"/>
                        <a:pt x="1438155" y="609316"/>
                        <a:pt x="1433950" y="608648"/>
                      </a:cubicBezTo>
                      <a:cubicBezTo>
                        <a:pt x="1428645" y="607805"/>
                        <a:pt x="1430952" y="607137"/>
                        <a:pt x="1427157" y="601996"/>
                      </a:cubicBezTo>
                      <a:cubicBezTo>
                        <a:pt x="1423105" y="596503"/>
                        <a:pt x="1412272" y="589828"/>
                        <a:pt x="1405491" y="588715"/>
                      </a:cubicBezTo>
                      <a:cubicBezTo>
                        <a:pt x="1412799" y="584663"/>
                        <a:pt x="1414322" y="576980"/>
                        <a:pt x="1406920" y="572073"/>
                      </a:cubicBezTo>
                      <a:cubicBezTo>
                        <a:pt x="1403723" y="569953"/>
                        <a:pt x="1401439" y="570808"/>
                        <a:pt x="1396321" y="569742"/>
                      </a:cubicBezTo>
                      <a:cubicBezTo>
                        <a:pt x="1389458" y="568314"/>
                        <a:pt x="1383333" y="564988"/>
                        <a:pt x="1376083" y="563969"/>
                      </a:cubicBezTo>
                      <a:cubicBezTo>
                        <a:pt x="1369373" y="563020"/>
                        <a:pt x="1361549" y="564847"/>
                        <a:pt x="1355085" y="563137"/>
                      </a:cubicBezTo>
                      <a:cubicBezTo>
                        <a:pt x="1349241" y="561591"/>
                        <a:pt x="1343970" y="556953"/>
                        <a:pt x="1339110" y="553416"/>
                      </a:cubicBezTo>
                      <a:cubicBezTo>
                        <a:pt x="1336276" y="551344"/>
                        <a:pt x="1328394" y="547455"/>
                        <a:pt x="1328617" y="543778"/>
                      </a:cubicBezTo>
                      <a:cubicBezTo>
                        <a:pt x="1328687" y="542607"/>
                        <a:pt x="1333922" y="538402"/>
                        <a:pt x="1335058" y="536985"/>
                      </a:cubicBezTo>
                      <a:cubicBezTo>
                        <a:pt x="1330959" y="533823"/>
                        <a:pt x="1322175" y="533249"/>
                        <a:pt x="1324775" y="525309"/>
                      </a:cubicBezTo>
                      <a:cubicBezTo>
                        <a:pt x="1325654" y="522650"/>
                        <a:pt x="1331638" y="518528"/>
                        <a:pt x="1332809" y="516033"/>
                      </a:cubicBezTo>
                      <a:cubicBezTo>
                        <a:pt x="1336042" y="509112"/>
                        <a:pt x="1335351" y="504509"/>
                        <a:pt x="1331404" y="498618"/>
                      </a:cubicBezTo>
                      <a:cubicBezTo>
                        <a:pt x="1326825" y="491790"/>
                        <a:pt x="1320009" y="494718"/>
                        <a:pt x="1314329" y="489319"/>
                      </a:cubicBezTo>
                      <a:cubicBezTo>
                        <a:pt x="1316823" y="487937"/>
                        <a:pt x="1319704" y="487481"/>
                        <a:pt x="1322573" y="487949"/>
                      </a:cubicBezTo>
                      <a:cubicBezTo>
                        <a:pt x="1320360" y="483007"/>
                        <a:pt x="1308754" y="479903"/>
                        <a:pt x="1303589" y="481812"/>
                      </a:cubicBezTo>
                      <a:cubicBezTo>
                        <a:pt x="1307442" y="477959"/>
                        <a:pt x="1320442" y="481250"/>
                        <a:pt x="1321133" y="475605"/>
                      </a:cubicBezTo>
                      <a:cubicBezTo>
                        <a:pt x="1322386" y="465135"/>
                        <a:pt x="1300966" y="474258"/>
                        <a:pt x="1307231" y="464491"/>
                      </a:cubicBezTo>
                      <a:cubicBezTo>
                        <a:pt x="1308426" y="462652"/>
                        <a:pt x="1310089" y="461832"/>
                        <a:pt x="1311412" y="460860"/>
                      </a:cubicBezTo>
                      <a:cubicBezTo>
                        <a:pt x="1312373" y="460158"/>
                        <a:pt x="1312853" y="462863"/>
                        <a:pt x="1313872" y="462195"/>
                      </a:cubicBezTo>
                      <a:cubicBezTo>
                        <a:pt x="1315476" y="461141"/>
                        <a:pt x="1315699" y="458237"/>
                        <a:pt x="1317362" y="457054"/>
                      </a:cubicBezTo>
                      <a:cubicBezTo>
                        <a:pt x="1320875" y="454524"/>
                        <a:pt x="1321039" y="456094"/>
                        <a:pt x="1323557" y="452709"/>
                      </a:cubicBezTo>
                      <a:cubicBezTo>
                        <a:pt x="1324764" y="451093"/>
                        <a:pt x="1324576" y="449969"/>
                        <a:pt x="1326848" y="448809"/>
                      </a:cubicBezTo>
                      <a:cubicBezTo>
                        <a:pt x="1323147" y="447134"/>
                        <a:pt x="1320419" y="452194"/>
                        <a:pt x="1317912" y="449020"/>
                      </a:cubicBezTo>
                      <a:cubicBezTo>
                        <a:pt x="1316120" y="446748"/>
                        <a:pt x="1318697" y="442145"/>
                        <a:pt x="1320442" y="440962"/>
                      </a:cubicBezTo>
                      <a:cubicBezTo>
                        <a:pt x="1323288" y="439042"/>
                        <a:pt x="1331193" y="442286"/>
                        <a:pt x="1334508" y="442075"/>
                      </a:cubicBezTo>
                      <a:cubicBezTo>
                        <a:pt x="1338841" y="441782"/>
                        <a:pt x="1343643" y="440084"/>
                        <a:pt x="1348128" y="439639"/>
                      </a:cubicBezTo>
                      <a:cubicBezTo>
                        <a:pt x="1357544" y="438702"/>
                        <a:pt x="1365894" y="435130"/>
                        <a:pt x="1375416" y="434111"/>
                      </a:cubicBezTo>
                      <a:cubicBezTo>
                        <a:pt x="1387268" y="432846"/>
                        <a:pt x="1399038" y="432952"/>
                        <a:pt x="1410914" y="432999"/>
                      </a:cubicBezTo>
                      <a:cubicBezTo>
                        <a:pt x="1430858" y="433069"/>
                        <a:pt x="1453403" y="436863"/>
                        <a:pt x="1473102" y="433643"/>
                      </a:cubicBezTo>
                      <a:cubicBezTo>
                        <a:pt x="1483748" y="431909"/>
                        <a:pt x="1492320" y="429298"/>
                        <a:pt x="1503446" y="428794"/>
                      </a:cubicBezTo>
                      <a:cubicBezTo>
                        <a:pt x="1514842" y="428279"/>
                        <a:pt x="1523450" y="424765"/>
                        <a:pt x="1534271" y="423325"/>
                      </a:cubicBezTo>
                      <a:cubicBezTo>
                        <a:pt x="1543383" y="422107"/>
                        <a:pt x="1550210" y="427037"/>
                        <a:pt x="1558971" y="427436"/>
                      </a:cubicBezTo>
                      <a:cubicBezTo>
                        <a:pt x="1563187" y="427623"/>
                        <a:pt x="1572006" y="429708"/>
                        <a:pt x="1575788" y="427506"/>
                      </a:cubicBezTo>
                      <a:cubicBezTo>
                        <a:pt x="1579442" y="425386"/>
                        <a:pt x="1576151" y="423981"/>
                        <a:pt x="1578482" y="421229"/>
                      </a:cubicBezTo>
                      <a:cubicBezTo>
                        <a:pt x="1581890" y="417211"/>
                        <a:pt x="1583202" y="417551"/>
                        <a:pt x="1587805" y="416708"/>
                      </a:cubicBezTo>
                      <a:cubicBezTo>
                        <a:pt x="1594925" y="415396"/>
                        <a:pt x="1597818" y="414939"/>
                        <a:pt x="1604540" y="412691"/>
                      </a:cubicBezTo>
                      <a:cubicBezTo>
                        <a:pt x="1613207" y="409798"/>
                        <a:pt x="1624532" y="410489"/>
                        <a:pt x="1633819" y="409646"/>
                      </a:cubicBezTo>
                      <a:cubicBezTo>
                        <a:pt x="1639218" y="409154"/>
                        <a:pt x="1658929" y="406753"/>
                        <a:pt x="1661786" y="412784"/>
                      </a:cubicBezTo>
                      <a:cubicBezTo>
                        <a:pt x="1664925" y="419413"/>
                        <a:pt x="1651714" y="421451"/>
                        <a:pt x="1649442" y="422564"/>
                      </a:cubicBezTo>
                      <a:cubicBezTo>
                        <a:pt x="1642767" y="425831"/>
                        <a:pt x="1636407" y="430153"/>
                        <a:pt x="1629591" y="433432"/>
                      </a:cubicBezTo>
                      <a:cubicBezTo>
                        <a:pt x="1620562" y="437753"/>
                        <a:pt x="1611602" y="440529"/>
                        <a:pt x="1603205" y="445870"/>
                      </a:cubicBezTo>
                      <a:cubicBezTo>
                        <a:pt x="1596483" y="450144"/>
                        <a:pt x="1589749" y="452287"/>
                        <a:pt x="1593941" y="462277"/>
                      </a:cubicBezTo>
                      <a:cubicBezTo>
                        <a:pt x="1597935" y="471752"/>
                        <a:pt x="1609728" y="468754"/>
                        <a:pt x="1616802" y="474282"/>
                      </a:cubicBezTo>
                      <a:cubicBezTo>
                        <a:pt x="1620152" y="476893"/>
                        <a:pt x="1620011" y="479962"/>
                        <a:pt x="1625316" y="481964"/>
                      </a:cubicBezTo>
                      <a:cubicBezTo>
                        <a:pt x="1629755" y="483639"/>
                        <a:pt x="1634346" y="483229"/>
                        <a:pt x="1638152" y="486719"/>
                      </a:cubicBezTo>
                      <a:cubicBezTo>
                        <a:pt x="1642146" y="490373"/>
                        <a:pt x="1641303" y="495925"/>
                        <a:pt x="1645308" y="499262"/>
                      </a:cubicBezTo>
                      <a:cubicBezTo>
                        <a:pt x="1646667" y="486099"/>
                        <a:pt x="1633140" y="481461"/>
                        <a:pt x="1624637" y="475359"/>
                      </a:cubicBezTo>
                      <a:cubicBezTo>
                        <a:pt x="1614577" y="468121"/>
                        <a:pt x="1597162" y="471916"/>
                        <a:pt x="1597068" y="457066"/>
                      </a:cubicBezTo>
                      <a:cubicBezTo>
                        <a:pt x="1596975" y="442895"/>
                        <a:pt x="1621733" y="442871"/>
                        <a:pt x="1632929" y="441876"/>
                      </a:cubicBezTo>
                      <a:cubicBezTo>
                        <a:pt x="1642064" y="441068"/>
                        <a:pt x="1650836" y="440107"/>
                        <a:pt x="1659737" y="438702"/>
                      </a:cubicBezTo>
                      <a:cubicBezTo>
                        <a:pt x="1666506" y="437636"/>
                        <a:pt x="1669902" y="433889"/>
                        <a:pt x="1674622" y="428689"/>
                      </a:cubicBezTo>
                      <a:cubicBezTo>
                        <a:pt x="1673697" y="429157"/>
                        <a:pt x="1670874" y="429427"/>
                        <a:pt x="1669633" y="430059"/>
                      </a:cubicBezTo>
                      <a:cubicBezTo>
                        <a:pt x="1672092" y="420444"/>
                        <a:pt x="1692728" y="421217"/>
                        <a:pt x="1690807" y="410934"/>
                      </a:cubicBezTo>
                      <a:cubicBezTo>
                        <a:pt x="1690479" y="409119"/>
                        <a:pt x="1689308" y="406027"/>
                        <a:pt x="1686029" y="407315"/>
                      </a:cubicBezTo>
                      <a:cubicBezTo>
                        <a:pt x="1682680" y="408627"/>
                        <a:pt x="1685689" y="411918"/>
                        <a:pt x="1683253" y="414260"/>
                      </a:cubicBezTo>
                      <a:cubicBezTo>
                        <a:pt x="1673252" y="423899"/>
                        <a:pt x="1659912" y="400710"/>
                        <a:pt x="1653541" y="395276"/>
                      </a:cubicBezTo>
                      <a:cubicBezTo>
                        <a:pt x="1661552" y="389701"/>
                        <a:pt x="1670827" y="397934"/>
                        <a:pt x="1678580" y="397419"/>
                      </a:cubicBezTo>
                      <a:cubicBezTo>
                        <a:pt x="1673029" y="387921"/>
                        <a:pt x="1661575" y="394772"/>
                        <a:pt x="1653366" y="391575"/>
                      </a:cubicBezTo>
                      <a:cubicBezTo>
                        <a:pt x="1653131" y="391493"/>
                        <a:pt x="1642650" y="385227"/>
                        <a:pt x="1642767" y="385532"/>
                      </a:cubicBezTo>
                      <a:cubicBezTo>
                        <a:pt x="1641830" y="382920"/>
                        <a:pt x="1646561" y="381562"/>
                        <a:pt x="1645812" y="379266"/>
                      </a:cubicBezTo>
                      <a:cubicBezTo>
                        <a:pt x="1644922" y="376549"/>
                        <a:pt x="1640167" y="375144"/>
                        <a:pt x="1637848" y="374254"/>
                      </a:cubicBezTo>
                      <a:cubicBezTo>
                        <a:pt x="1628326" y="370588"/>
                        <a:pt x="1616345" y="375542"/>
                        <a:pt x="1607456" y="371900"/>
                      </a:cubicBezTo>
                      <a:cubicBezTo>
                        <a:pt x="1604025" y="370482"/>
                        <a:pt x="1600605" y="368058"/>
                        <a:pt x="1600839" y="364580"/>
                      </a:cubicBezTo>
                      <a:cubicBezTo>
                        <a:pt x="1601167" y="359239"/>
                        <a:pt x="1607515" y="360598"/>
                        <a:pt x="1613874" y="362718"/>
                      </a:cubicBezTo>
                      <a:cubicBezTo>
                        <a:pt x="1618079" y="364123"/>
                        <a:pt x="1623653" y="368456"/>
                        <a:pt x="1618735" y="361418"/>
                      </a:cubicBezTo>
                      <a:cubicBezTo>
                        <a:pt x="1615233" y="356405"/>
                        <a:pt x="1612118" y="359134"/>
                        <a:pt x="1607105" y="356054"/>
                      </a:cubicBezTo>
                      <a:cubicBezTo>
                        <a:pt x="1611497" y="354438"/>
                        <a:pt x="1616451" y="354883"/>
                        <a:pt x="1620585" y="354098"/>
                      </a:cubicBezTo>
                      <a:cubicBezTo>
                        <a:pt x="1627354" y="352821"/>
                        <a:pt x="1633327" y="350163"/>
                        <a:pt x="1637859" y="356698"/>
                      </a:cubicBezTo>
                      <a:cubicBezTo>
                        <a:pt x="1637215" y="357272"/>
                        <a:pt x="1636349" y="357565"/>
                        <a:pt x="1635681" y="358162"/>
                      </a:cubicBezTo>
                      <a:cubicBezTo>
                        <a:pt x="1641701" y="359860"/>
                        <a:pt x="1648388" y="356604"/>
                        <a:pt x="1654267" y="358865"/>
                      </a:cubicBezTo>
                      <a:cubicBezTo>
                        <a:pt x="1652358" y="362554"/>
                        <a:pt x="1634311" y="368855"/>
                        <a:pt x="1645296" y="367262"/>
                      </a:cubicBezTo>
                      <a:cubicBezTo>
                        <a:pt x="1647440" y="366957"/>
                        <a:pt x="1661318" y="360844"/>
                        <a:pt x="1655005" y="370084"/>
                      </a:cubicBezTo>
                      <a:cubicBezTo>
                        <a:pt x="1662102" y="372684"/>
                        <a:pt x="1656610" y="365447"/>
                        <a:pt x="1657594" y="363924"/>
                      </a:cubicBezTo>
                      <a:cubicBezTo>
                        <a:pt x="1658929" y="361874"/>
                        <a:pt x="1656703" y="362987"/>
                        <a:pt x="1659303" y="361195"/>
                      </a:cubicBezTo>
                      <a:cubicBezTo>
                        <a:pt x="1659690" y="360938"/>
                        <a:pt x="1669129" y="362507"/>
                        <a:pt x="1670359" y="362390"/>
                      </a:cubicBezTo>
                      <a:cubicBezTo>
                        <a:pt x="1665955" y="360387"/>
                        <a:pt x="1662817" y="358408"/>
                        <a:pt x="1659994" y="356393"/>
                      </a:cubicBezTo>
                      <a:cubicBezTo>
                        <a:pt x="1660100" y="356464"/>
                        <a:pt x="1661997" y="354426"/>
                        <a:pt x="1659655" y="353255"/>
                      </a:cubicBezTo>
                      <a:cubicBezTo>
                        <a:pt x="1656914" y="351885"/>
                        <a:pt x="1650637" y="355410"/>
                        <a:pt x="1647697" y="355035"/>
                      </a:cubicBezTo>
                      <a:cubicBezTo>
                        <a:pt x="1642509" y="354391"/>
                        <a:pt x="1637859" y="348582"/>
                        <a:pt x="1632425" y="346158"/>
                      </a:cubicBezTo>
                      <a:cubicBezTo>
                        <a:pt x="1636243" y="343183"/>
                        <a:pt x="1641736" y="344354"/>
                        <a:pt x="1645308" y="341168"/>
                      </a:cubicBezTo>
                      <a:cubicBezTo>
                        <a:pt x="1626417" y="340372"/>
                        <a:pt x="1610419" y="334587"/>
                        <a:pt x="1590943" y="333404"/>
                      </a:cubicBezTo>
                      <a:cubicBezTo>
                        <a:pt x="1593192" y="331424"/>
                        <a:pt x="1594047" y="330265"/>
                        <a:pt x="1597431" y="329820"/>
                      </a:cubicBezTo>
                      <a:cubicBezTo>
                        <a:pt x="1591330" y="322664"/>
                        <a:pt x="1606215" y="325698"/>
                        <a:pt x="1607691" y="324761"/>
                      </a:cubicBezTo>
                      <a:cubicBezTo>
                        <a:pt x="1612375" y="321798"/>
                        <a:pt x="1611614" y="316598"/>
                        <a:pt x="1605981" y="314946"/>
                      </a:cubicBezTo>
                      <a:cubicBezTo>
                        <a:pt x="1611368" y="313998"/>
                        <a:pt x="1620690" y="316422"/>
                        <a:pt x="1624204" y="320685"/>
                      </a:cubicBezTo>
                      <a:cubicBezTo>
                        <a:pt x="1621346" y="320439"/>
                        <a:pt x="1618500" y="320205"/>
                        <a:pt x="1615643" y="319971"/>
                      </a:cubicBezTo>
                      <a:cubicBezTo>
                        <a:pt x="1619297" y="323051"/>
                        <a:pt x="1620726" y="324573"/>
                        <a:pt x="1623806" y="325159"/>
                      </a:cubicBezTo>
                      <a:cubicBezTo>
                        <a:pt x="1627741" y="325908"/>
                        <a:pt x="1632660" y="325299"/>
                        <a:pt x="1637848" y="327044"/>
                      </a:cubicBezTo>
                      <a:cubicBezTo>
                        <a:pt x="1635400" y="330277"/>
                        <a:pt x="1636044" y="331893"/>
                        <a:pt x="1640342" y="331284"/>
                      </a:cubicBezTo>
                      <a:cubicBezTo>
                        <a:pt x="1639089" y="335512"/>
                        <a:pt x="1651023" y="335570"/>
                        <a:pt x="1655005" y="335512"/>
                      </a:cubicBezTo>
                      <a:cubicBezTo>
                        <a:pt x="1652241" y="333556"/>
                        <a:pt x="1650707" y="330874"/>
                        <a:pt x="1654267" y="328450"/>
                      </a:cubicBezTo>
                      <a:cubicBezTo>
                        <a:pt x="1650426" y="327384"/>
                        <a:pt x="1646994" y="329340"/>
                        <a:pt x="1644266" y="326330"/>
                      </a:cubicBezTo>
                      <a:cubicBezTo>
                        <a:pt x="1648259" y="323929"/>
                        <a:pt x="1649395" y="321388"/>
                        <a:pt x="1655017" y="321013"/>
                      </a:cubicBezTo>
                      <a:cubicBezTo>
                        <a:pt x="1660685" y="320638"/>
                        <a:pt x="1657055" y="327689"/>
                        <a:pt x="1660393" y="320533"/>
                      </a:cubicBezTo>
                      <a:cubicBezTo>
                        <a:pt x="1661950" y="317172"/>
                        <a:pt x="1657488" y="315134"/>
                        <a:pt x="1661751" y="309922"/>
                      </a:cubicBezTo>
                      <a:cubicBezTo>
                        <a:pt x="1665300" y="305601"/>
                        <a:pt x="1672561" y="304804"/>
                        <a:pt x="1676789" y="301373"/>
                      </a:cubicBezTo>
                      <a:cubicBezTo>
                        <a:pt x="1673287" y="298913"/>
                        <a:pt x="1669340" y="300611"/>
                        <a:pt x="1665698" y="297098"/>
                      </a:cubicBezTo>
                      <a:cubicBezTo>
                        <a:pt x="1669855" y="292882"/>
                        <a:pt x="1677304" y="293667"/>
                        <a:pt x="1681707" y="296887"/>
                      </a:cubicBezTo>
                      <a:cubicBezTo>
                        <a:pt x="1680829" y="297660"/>
                        <a:pt x="1680326" y="298457"/>
                        <a:pt x="1679295" y="299230"/>
                      </a:cubicBezTo>
                      <a:cubicBezTo>
                        <a:pt x="1681579" y="301466"/>
                        <a:pt x="1684788" y="302860"/>
                        <a:pt x="1687868" y="302134"/>
                      </a:cubicBezTo>
                      <a:cubicBezTo>
                        <a:pt x="1687142" y="301291"/>
                        <a:pt x="1686439" y="300436"/>
                        <a:pt x="1685713" y="299593"/>
                      </a:cubicBezTo>
                      <a:cubicBezTo>
                        <a:pt x="1689531" y="299148"/>
                        <a:pt x="1694110" y="297566"/>
                        <a:pt x="1692142" y="294252"/>
                      </a:cubicBezTo>
                      <a:cubicBezTo>
                        <a:pt x="1694684" y="294229"/>
                        <a:pt x="1695691" y="293456"/>
                        <a:pt x="1697858" y="292823"/>
                      </a:cubicBezTo>
                      <a:cubicBezTo>
                        <a:pt x="1692295" y="290048"/>
                        <a:pt x="1685924" y="292402"/>
                        <a:pt x="1680009" y="291359"/>
                      </a:cubicBezTo>
                      <a:cubicBezTo>
                        <a:pt x="1676601" y="290762"/>
                        <a:pt x="1675372" y="289474"/>
                        <a:pt x="1672127" y="288607"/>
                      </a:cubicBezTo>
                      <a:cubicBezTo>
                        <a:pt x="1667080" y="287260"/>
                        <a:pt x="1659374" y="288197"/>
                        <a:pt x="1655368" y="286979"/>
                      </a:cubicBezTo>
                      <a:cubicBezTo>
                        <a:pt x="1652007" y="285960"/>
                        <a:pt x="1650051" y="286745"/>
                        <a:pt x="1654080" y="281639"/>
                      </a:cubicBezTo>
                      <a:cubicBezTo>
                        <a:pt x="1660252" y="273804"/>
                        <a:pt x="1678616" y="279261"/>
                        <a:pt x="1686732" y="280655"/>
                      </a:cubicBezTo>
                      <a:cubicBezTo>
                        <a:pt x="1692213" y="281592"/>
                        <a:pt x="1699849" y="285949"/>
                        <a:pt x="1705295" y="285094"/>
                      </a:cubicBezTo>
                      <a:cubicBezTo>
                        <a:pt x="1709546" y="284426"/>
                        <a:pt x="1713001" y="278008"/>
                        <a:pt x="1716104" y="282107"/>
                      </a:cubicBezTo>
                      <a:cubicBezTo>
                        <a:pt x="1718166" y="279027"/>
                        <a:pt x="1720519" y="280397"/>
                        <a:pt x="1722534" y="278371"/>
                      </a:cubicBezTo>
                      <a:cubicBezTo>
                        <a:pt x="1724267" y="276626"/>
                        <a:pt x="1724302" y="273851"/>
                        <a:pt x="1725415" y="272703"/>
                      </a:cubicBezTo>
                      <a:cubicBezTo>
                        <a:pt x="1729608" y="268370"/>
                        <a:pt x="1734374" y="263521"/>
                        <a:pt x="1741495" y="267679"/>
                      </a:cubicBezTo>
                      <a:cubicBezTo>
                        <a:pt x="1739949" y="265969"/>
                        <a:pt x="1739633" y="264259"/>
                        <a:pt x="1737536" y="262654"/>
                      </a:cubicBezTo>
                      <a:cubicBezTo>
                        <a:pt x="1740757" y="257888"/>
                        <a:pt x="1746683" y="259598"/>
                        <a:pt x="1751520" y="257630"/>
                      </a:cubicBezTo>
                      <a:cubicBezTo>
                        <a:pt x="1750677" y="257150"/>
                        <a:pt x="1749822" y="256670"/>
                        <a:pt x="1748978" y="256190"/>
                      </a:cubicBezTo>
                      <a:cubicBezTo>
                        <a:pt x="1753686" y="252606"/>
                        <a:pt x="1759812" y="250837"/>
                        <a:pt x="1765445" y="253297"/>
                      </a:cubicBezTo>
                      <a:cubicBezTo>
                        <a:pt x="1762400" y="247254"/>
                        <a:pt x="1752328" y="251681"/>
                        <a:pt x="1747198" y="252583"/>
                      </a:cubicBezTo>
                      <a:cubicBezTo>
                        <a:pt x="1753452" y="249456"/>
                        <a:pt x="1762107" y="250779"/>
                        <a:pt x="1767881" y="248050"/>
                      </a:cubicBezTo>
                      <a:cubicBezTo>
                        <a:pt x="1768654" y="247687"/>
                        <a:pt x="1770879" y="245356"/>
                        <a:pt x="1771312" y="245263"/>
                      </a:cubicBezTo>
                      <a:cubicBezTo>
                        <a:pt x="1777496" y="244045"/>
                        <a:pt x="1770551" y="242944"/>
                        <a:pt x="1778023" y="245520"/>
                      </a:cubicBezTo>
                      <a:cubicBezTo>
                        <a:pt x="1784781" y="247839"/>
                        <a:pt x="1790906" y="249549"/>
                        <a:pt x="1798694" y="248191"/>
                      </a:cubicBezTo>
                      <a:cubicBezTo>
                        <a:pt x="1781560" y="242768"/>
                        <a:pt x="1812057" y="241164"/>
                        <a:pt x="1816156" y="240988"/>
                      </a:cubicBezTo>
                      <a:cubicBezTo>
                        <a:pt x="1814797" y="237990"/>
                        <a:pt x="1811881" y="237229"/>
                        <a:pt x="1808684" y="236655"/>
                      </a:cubicBezTo>
                      <a:cubicBezTo>
                        <a:pt x="1813989" y="232614"/>
                        <a:pt x="1823569" y="232989"/>
                        <a:pt x="1830174" y="232310"/>
                      </a:cubicBezTo>
                      <a:cubicBezTo>
                        <a:pt x="1839637" y="231338"/>
                        <a:pt x="1844018" y="229944"/>
                        <a:pt x="1852567" y="226887"/>
                      </a:cubicBezTo>
                      <a:cubicBezTo>
                        <a:pt x="1853843" y="226431"/>
                        <a:pt x="1857755" y="224779"/>
                        <a:pt x="1859090" y="225084"/>
                      </a:cubicBezTo>
                      <a:cubicBezTo>
                        <a:pt x="1861163" y="225552"/>
                        <a:pt x="1860273" y="228714"/>
                        <a:pt x="1861632" y="228832"/>
                      </a:cubicBezTo>
                      <a:cubicBezTo>
                        <a:pt x="1866469" y="229265"/>
                        <a:pt x="1870661" y="224557"/>
                        <a:pt x="1875498" y="225740"/>
                      </a:cubicBezTo>
                      <a:cubicBezTo>
                        <a:pt x="1874315" y="231350"/>
                        <a:pt x="1889892" y="229101"/>
                        <a:pt x="1893382" y="228070"/>
                      </a:cubicBezTo>
                      <a:cubicBezTo>
                        <a:pt x="1902224" y="225470"/>
                        <a:pt x="1894740" y="225341"/>
                        <a:pt x="1898687" y="220715"/>
                      </a:cubicBezTo>
                      <a:cubicBezTo>
                        <a:pt x="1901357" y="217600"/>
                        <a:pt x="1908349" y="218373"/>
                        <a:pt x="1912296" y="218432"/>
                      </a:cubicBezTo>
                      <a:cubicBezTo>
                        <a:pt x="1916395" y="218490"/>
                        <a:pt x="1919018" y="218162"/>
                        <a:pt x="1923047" y="217799"/>
                      </a:cubicBezTo>
                      <a:cubicBezTo>
                        <a:pt x="1927181" y="217425"/>
                        <a:pt x="1932393" y="217975"/>
                        <a:pt x="1936234" y="217483"/>
                      </a:cubicBezTo>
                      <a:cubicBezTo>
                        <a:pt x="1944210" y="216476"/>
                        <a:pt x="1953356" y="213384"/>
                        <a:pt x="1961765" y="212037"/>
                      </a:cubicBezTo>
                      <a:cubicBezTo>
                        <a:pt x="1969307" y="210831"/>
                        <a:pt x="1976709" y="208934"/>
                        <a:pt x="1984251" y="207704"/>
                      </a:cubicBezTo>
                      <a:cubicBezTo>
                        <a:pt x="1999125" y="205303"/>
                        <a:pt x="2017184" y="203593"/>
                        <a:pt x="2030324" y="195887"/>
                      </a:cubicBezTo>
                      <a:cubicBezTo>
                        <a:pt x="2024843" y="195009"/>
                        <a:pt x="2015439" y="200724"/>
                        <a:pt x="2008272" y="200583"/>
                      </a:cubicBezTo>
                      <a:cubicBezTo>
                        <a:pt x="2002135" y="200466"/>
                        <a:pt x="1997532" y="189528"/>
                        <a:pt x="1993012" y="199693"/>
                      </a:cubicBezTo>
                      <a:cubicBezTo>
                        <a:pt x="1993609" y="200138"/>
                        <a:pt x="1994745" y="200759"/>
                        <a:pt x="1995424" y="201110"/>
                      </a:cubicBezTo>
                      <a:cubicBezTo>
                        <a:pt x="1990412" y="206568"/>
                        <a:pt x="1987390" y="197000"/>
                        <a:pt x="1983104" y="195091"/>
                      </a:cubicBezTo>
                      <a:cubicBezTo>
                        <a:pt x="1984169" y="194341"/>
                        <a:pt x="1985095" y="193474"/>
                        <a:pt x="1986324" y="192901"/>
                      </a:cubicBezTo>
                      <a:cubicBezTo>
                        <a:pt x="1982237" y="190839"/>
                        <a:pt x="1971509" y="194938"/>
                        <a:pt x="1967750" y="197351"/>
                      </a:cubicBezTo>
                      <a:cubicBezTo>
                        <a:pt x="1970244" y="198077"/>
                        <a:pt x="1972762" y="198791"/>
                        <a:pt x="1975269" y="199471"/>
                      </a:cubicBezTo>
                      <a:cubicBezTo>
                        <a:pt x="1972680" y="203254"/>
                        <a:pt x="1967797" y="202071"/>
                        <a:pt x="1963803" y="200993"/>
                      </a:cubicBezTo>
                      <a:cubicBezTo>
                        <a:pt x="1964658" y="198171"/>
                        <a:pt x="1963264" y="195430"/>
                        <a:pt x="1960617" y="193638"/>
                      </a:cubicBezTo>
                      <a:cubicBezTo>
                        <a:pt x="1966836" y="191519"/>
                        <a:pt x="1963686" y="181248"/>
                        <a:pt x="1970537" y="181915"/>
                      </a:cubicBezTo>
                      <a:cubicBezTo>
                        <a:pt x="1974531" y="182302"/>
                        <a:pt x="1972739" y="187314"/>
                        <a:pt x="1977365" y="186811"/>
                      </a:cubicBezTo>
                      <a:cubicBezTo>
                        <a:pt x="1984813" y="186002"/>
                        <a:pt x="1979941" y="180943"/>
                        <a:pt x="1975971" y="179702"/>
                      </a:cubicBezTo>
                      <a:cubicBezTo>
                        <a:pt x="1981499" y="179912"/>
                        <a:pt x="1986641" y="177863"/>
                        <a:pt x="1992098" y="178495"/>
                      </a:cubicBezTo>
                      <a:cubicBezTo>
                        <a:pt x="1988140" y="180252"/>
                        <a:pt x="1985013" y="184152"/>
                        <a:pt x="1991676" y="184878"/>
                      </a:cubicBezTo>
                      <a:cubicBezTo>
                        <a:pt x="1991138" y="185897"/>
                        <a:pt x="1990704" y="186846"/>
                        <a:pt x="1989896" y="187724"/>
                      </a:cubicBezTo>
                      <a:cubicBezTo>
                        <a:pt x="1994194" y="189247"/>
                        <a:pt x="2001046" y="183449"/>
                        <a:pt x="2006374" y="183344"/>
                      </a:cubicBezTo>
                      <a:cubicBezTo>
                        <a:pt x="2007838" y="183321"/>
                        <a:pt x="2011036" y="184316"/>
                        <a:pt x="2012816" y="184410"/>
                      </a:cubicBezTo>
                      <a:cubicBezTo>
                        <a:pt x="2015720" y="184562"/>
                        <a:pt x="2018906" y="184948"/>
                        <a:pt x="2021763" y="184140"/>
                      </a:cubicBezTo>
                      <a:cubicBezTo>
                        <a:pt x="2017618" y="178343"/>
                        <a:pt x="2006082" y="182512"/>
                        <a:pt x="2002814" y="176762"/>
                      </a:cubicBezTo>
                      <a:cubicBezTo>
                        <a:pt x="2011352" y="173904"/>
                        <a:pt x="2021143" y="177570"/>
                        <a:pt x="2029751" y="177758"/>
                      </a:cubicBezTo>
                      <a:cubicBezTo>
                        <a:pt x="2033451" y="177840"/>
                        <a:pt x="2042282" y="174900"/>
                        <a:pt x="2041778" y="179690"/>
                      </a:cubicBezTo>
                      <a:cubicBezTo>
                        <a:pt x="2043992" y="179936"/>
                        <a:pt x="2044578" y="181037"/>
                        <a:pt x="2046416" y="181880"/>
                      </a:cubicBezTo>
                      <a:cubicBezTo>
                        <a:pt x="2045807" y="182372"/>
                        <a:pt x="2045198" y="182852"/>
                        <a:pt x="2044601" y="183344"/>
                      </a:cubicBezTo>
                      <a:cubicBezTo>
                        <a:pt x="2047634" y="184679"/>
                        <a:pt x="2051089" y="183730"/>
                        <a:pt x="2053912" y="181880"/>
                      </a:cubicBezTo>
                      <a:cubicBezTo>
                        <a:pt x="2050796" y="178495"/>
                        <a:pt x="2057003" y="177254"/>
                        <a:pt x="2060353" y="177558"/>
                      </a:cubicBezTo>
                      <a:cubicBezTo>
                        <a:pt x="2058116" y="173705"/>
                        <a:pt x="2054380" y="173377"/>
                        <a:pt x="2049976" y="173904"/>
                      </a:cubicBezTo>
                      <a:cubicBezTo>
                        <a:pt x="2053560" y="172077"/>
                        <a:pt x="2060716" y="172569"/>
                        <a:pt x="2064592" y="173846"/>
                      </a:cubicBezTo>
                      <a:cubicBezTo>
                        <a:pt x="2066747" y="174560"/>
                        <a:pt x="2067708" y="177266"/>
                        <a:pt x="2069886" y="177758"/>
                      </a:cubicBezTo>
                      <a:cubicBezTo>
                        <a:pt x="2079302" y="179924"/>
                        <a:pt x="2087219" y="173904"/>
                        <a:pt x="2095488" y="172499"/>
                      </a:cubicBezTo>
                      <a:cubicBezTo>
                        <a:pt x="2105759" y="170754"/>
                        <a:pt x="2118465" y="175544"/>
                        <a:pt x="2128104" y="178273"/>
                      </a:cubicBezTo>
                      <a:cubicBezTo>
                        <a:pt x="2129451" y="178648"/>
                        <a:pt x="2135717" y="177394"/>
                        <a:pt x="2136162" y="180334"/>
                      </a:cubicBezTo>
                      <a:cubicBezTo>
                        <a:pt x="2136466" y="182407"/>
                        <a:pt x="2127753" y="181048"/>
                        <a:pt x="2125762" y="183344"/>
                      </a:cubicBezTo>
                      <a:cubicBezTo>
                        <a:pt x="2128865" y="183367"/>
                        <a:pt x="2127940" y="183883"/>
                        <a:pt x="2130048" y="184878"/>
                      </a:cubicBezTo>
                      <a:cubicBezTo>
                        <a:pt x="2128186" y="184878"/>
                        <a:pt x="2126804" y="186084"/>
                        <a:pt x="2125024" y="186342"/>
                      </a:cubicBezTo>
                      <a:cubicBezTo>
                        <a:pt x="2129322" y="191928"/>
                        <a:pt x="2122178" y="190570"/>
                        <a:pt x="2118383" y="192690"/>
                      </a:cubicBezTo>
                      <a:cubicBezTo>
                        <a:pt x="2112071" y="196192"/>
                        <a:pt x="2111064" y="200068"/>
                        <a:pt x="2103990" y="201801"/>
                      </a:cubicBezTo>
                      <a:cubicBezTo>
                        <a:pt x="2114285" y="208653"/>
                        <a:pt x="2113336" y="200173"/>
                        <a:pt x="2121628" y="196215"/>
                      </a:cubicBezTo>
                      <a:cubicBezTo>
                        <a:pt x="2128549" y="192924"/>
                        <a:pt x="2138141" y="197749"/>
                        <a:pt x="2143973" y="192912"/>
                      </a:cubicBezTo>
                      <a:cubicBezTo>
                        <a:pt x="2142298" y="192350"/>
                        <a:pt x="2141514" y="191472"/>
                        <a:pt x="2140015" y="190734"/>
                      </a:cubicBezTo>
                      <a:cubicBezTo>
                        <a:pt x="2144254" y="190687"/>
                        <a:pt x="2150965" y="187021"/>
                        <a:pt x="2154724" y="189270"/>
                      </a:cubicBezTo>
                      <a:cubicBezTo>
                        <a:pt x="2153565" y="190219"/>
                        <a:pt x="2153143" y="191226"/>
                        <a:pt x="2152230" y="192245"/>
                      </a:cubicBezTo>
                      <a:cubicBezTo>
                        <a:pt x="2155556" y="190746"/>
                        <a:pt x="2158894" y="190757"/>
                        <a:pt x="2160803" y="193650"/>
                      </a:cubicBezTo>
                      <a:cubicBezTo>
                        <a:pt x="2155860" y="195501"/>
                        <a:pt x="2153424" y="200736"/>
                        <a:pt x="2148986" y="203195"/>
                      </a:cubicBezTo>
                      <a:cubicBezTo>
                        <a:pt x="2153237" y="203699"/>
                        <a:pt x="2155591" y="200642"/>
                        <a:pt x="2159386" y="200279"/>
                      </a:cubicBezTo>
                      <a:cubicBezTo>
                        <a:pt x="2163063" y="199927"/>
                        <a:pt x="2166003" y="201626"/>
                        <a:pt x="2169715" y="201801"/>
                      </a:cubicBezTo>
                      <a:cubicBezTo>
                        <a:pt x="2168251" y="195208"/>
                        <a:pt x="2192576" y="184539"/>
                        <a:pt x="2199006" y="184890"/>
                      </a:cubicBezTo>
                      <a:cubicBezTo>
                        <a:pt x="2195399" y="186916"/>
                        <a:pt x="2183851" y="190265"/>
                        <a:pt x="2191182" y="194435"/>
                      </a:cubicBezTo>
                      <a:cubicBezTo>
                        <a:pt x="2189789" y="195278"/>
                        <a:pt x="2189086" y="196566"/>
                        <a:pt x="2187973" y="197363"/>
                      </a:cubicBezTo>
                      <a:cubicBezTo>
                        <a:pt x="2190808" y="197819"/>
                        <a:pt x="2193747" y="197316"/>
                        <a:pt x="2196160" y="195899"/>
                      </a:cubicBezTo>
                      <a:cubicBezTo>
                        <a:pt x="2191557" y="188146"/>
                        <a:pt x="2211760" y="192491"/>
                        <a:pt x="2215132" y="192245"/>
                      </a:cubicBezTo>
                      <a:cubicBezTo>
                        <a:pt x="2232126" y="191015"/>
                        <a:pt x="2212111" y="184937"/>
                        <a:pt x="2206911" y="184140"/>
                      </a:cubicBezTo>
                      <a:cubicBezTo>
                        <a:pt x="2214547" y="177008"/>
                        <a:pt x="2218318" y="182243"/>
                        <a:pt x="2224232" y="182911"/>
                      </a:cubicBezTo>
                      <a:cubicBezTo>
                        <a:pt x="2229784" y="183531"/>
                        <a:pt x="2236670" y="181177"/>
                        <a:pt x="2241952" y="178964"/>
                      </a:cubicBezTo>
                      <a:cubicBezTo>
                        <a:pt x="2236518" y="178812"/>
                        <a:pt x="2231154" y="179315"/>
                        <a:pt x="2226165" y="176762"/>
                      </a:cubicBezTo>
                      <a:cubicBezTo>
                        <a:pt x="2230182" y="172464"/>
                        <a:pt x="2232032" y="175286"/>
                        <a:pt x="2235475" y="174256"/>
                      </a:cubicBezTo>
                      <a:cubicBezTo>
                        <a:pt x="2238169" y="173459"/>
                        <a:pt x="2238040" y="171562"/>
                        <a:pt x="2241202" y="170848"/>
                      </a:cubicBezTo>
                      <a:cubicBezTo>
                        <a:pt x="2247117" y="169524"/>
                        <a:pt x="2250279" y="170169"/>
                        <a:pt x="2256041" y="167651"/>
                      </a:cubicBezTo>
                      <a:cubicBezTo>
                        <a:pt x="2261698" y="165156"/>
                        <a:pt x="2267026" y="163118"/>
                        <a:pt x="2273046" y="161291"/>
                      </a:cubicBezTo>
                      <a:cubicBezTo>
                        <a:pt x="2272132" y="164055"/>
                        <a:pt x="2270305" y="166608"/>
                        <a:pt x="2267635" y="167955"/>
                      </a:cubicBezTo>
                      <a:cubicBezTo>
                        <a:pt x="2273069" y="170145"/>
                        <a:pt x="2277250" y="166608"/>
                        <a:pt x="2282357" y="166128"/>
                      </a:cubicBezTo>
                      <a:cubicBezTo>
                        <a:pt x="2286760" y="165718"/>
                        <a:pt x="2294701" y="164910"/>
                        <a:pt x="2298050" y="167955"/>
                      </a:cubicBezTo>
                      <a:cubicBezTo>
                        <a:pt x="2294466" y="168482"/>
                        <a:pt x="2292546" y="169723"/>
                        <a:pt x="2294841" y="172359"/>
                      </a:cubicBezTo>
                      <a:cubicBezTo>
                        <a:pt x="2292370" y="172113"/>
                        <a:pt x="2289805" y="172628"/>
                        <a:pt x="2287334" y="172359"/>
                      </a:cubicBezTo>
                      <a:cubicBezTo>
                        <a:pt x="2294056" y="178109"/>
                        <a:pt x="2298847" y="174420"/>
                        <a:pt x="2306646" y="174150"/>
                      </a:cubicBezTo>
                      <a:cubicBezTo>
                        <a:pt x="2314411" y="173881"/>
                        <a:pt x="2316180" y="178589"/>
                        <a:pt x="2307021" y="178296"/>
                      </a:cubicBezTo>
                      <a:cubicBezTo>
                        <a:pt x="2309293" y="179608"/>
                        <a:pt x="2309633" y="180943"/>
                        <a:pt x="2312666" y="181212"/>
                      </a:cubicBezTo>
                      <a:cubicBezTo>
                        <a:pt x="2312315" y="181704"/>
                        <a:pt x="2311940" y="182184"/>
                        <a:pt x="2311589" y="182676"/>
                      </a:cubicBezTo>
                      <a:cubicBezTo>
                        <a:pt x="2313931" y="181681"/>
                        <a:pt x="2316906" y="180896"/>
                        <a:pt x="2319224" y="182384"/>
                      </a:cubicBezTo>
                      <a:cubicBezTo>
                        <a:pt x="2325408" y="186330"/>
                        <a:pt x="2319845" y="187853"/>
                        <a:pt x="2318920" y="192069"/>
                      </a:cubicBezTo>
                      <a:cubicBezTo>
                        <a:pt x="2316554" y="202961"/>
                        <a:pt x="2317597" y="207107"/>
                        <a:pt x="2304726" y="211955"/>
                      </a:cubicBezTo>
                      <a:cubicBezTo>
                        <a:pt x="2312116" y="214485"/>
                        <a:pt x="2311788" y="212517"/>
                        <a:pt x="2316624" y="209273"/>
                      </a:cubicBezTo>
                      <a:cubicBezTo>
                        <a:pt x="2318979" y="207692"/>
                        <a:pt x="2327387" y="201321"/>
                        <a:pt x="2328617" y="199166"/>
                      </a:cubicBezTo>
                      <a:cubicBezTo>
                        <a:pt x="2331650" y="193802"/>
                        <a:pt x="2327821" y="194060"/>
                        <a:pt x="2327247" y="189762"/>
                      </a:cubicBezTo>
                      <a:cubicBezTo>
                        <a:pt x="2326755" y="186120"/>
                        <a:pt x="2328793" y="183520"/>
                        <a:pt x="2328418" y="179690"/>
                      </a:cubicBezTo>
                      <a:cubicBezTo>
                        <a:pt x="2327868" y="173986"/>
                        <a:pt x="2319154" y="172394"/>
                        <a:pt x="2316144" y="168915"/>
                      </a:cubicBezTo>
                      <a:cubicBezTo>
                        <a:pt x="2313064" y="165343"/>
                        <a:pt x="2315723" y="162392"/>
                        <a:pt x="2311015" y="160003"/>
                      </a:cubicBezTo>
                      <a:cubicBezTo>
                        <a:pt x="2308813" y="158890"/>
                        <a:pt x="2305182" y="160776"/>
                        <a:pt x="2302957" y="159663"/>
                      </a:cubicBezTo>
                      <a:cubicBezTo>
                        <a:pt x="2301739" y="159043"/>
                        <a:pt x="2302114" y="156290"/>
                        <a:pt x="2301095" y="155740"/>
                      </a:cubicBezTo>
                      <a:cubicBezTo>
                        <a:pt x="2299081" y="154651"/>
                        <a:pt x="2298390" y="153035"/>
                        <a:pt x="2295942" y="152086"/>
                      </a:cubicBezTo>
                      <a:cubicBezTo>
                        <a:pt x="2293354" y="151090"/>
                        <a:pt x="2289114" y="153269"/>
                        <a:pt x="2286655" y="151980"/>
                      </a:cubicBezTo>
                      <a:cubicBezTo>
                        <a:pt x="2283036" y="150095"/>
                        <a:pt x="2285050" y="148959"/>
                        <a:pt x="2282603" y="145996"/>
                      </a:cubicBezTo>
                      <a:cubicBezTo>
                        <a:pt x="2280108" y="142963"/>
                        <a:pt x="2271067" y="139531"/>
                        <a:pt x="2273913" y="135385"/>
                      </a:cubicBezTo>
                      <a:cubicBezTo>
                        <a:pt x="2277227" y="130560"/>
                        <a:pt x="2299596" y="138173"/>
                        <a:pt x="2305393" y="138840"/>
                      </a:cubicBezTo>
                      <a:cubicBezTo>
                        <a:pt x="2316437" y="140105"/>
                        <a:pt x="2326895" y="137341"/>
                        <a:pt x="2337904" y="137142"/>
                      </a:cubicBezTo>
                      <a:cubicBezTo>
                        <a:pt x="2344393" y="137025"/>
                        <a:pt x="2346383" y="139590"/>
                        <a:pt x="2351279" y="140117"/>
                      </a:cubicBezTo>
                      <a:cubicBezTo>
                        <a:pt x="2356924" y="140714"/>
                        <a:pt x="2366141" y="136966"/>
                        <a:pt x="2371575" y="135104"/>
                      </a:cubicBezTo>
                      <a:cubicBezTo>
                        <a:pt x="2378508" y="132715"/>
                        <a:pt x="2378274" y="131450"/>
                        <a:pt x="2384399" y="135186"/>
                      </a:cubicBezTo>
                      <a:cubicBezTo>
                        <a:pt x="2387538" y="137119"/>
                        <a:pt x="2391824" y="136510"/>
                        <a:pt x="2387760" y="140585"/>
                      </a:cubicBezTo>
                      <a:cubicBezTo>
                        <a:pt x="2398839" y="139367"/>
                        <a:pt x="2413947" y="136592"/>
                        <a:pt x="2424757" y="141440"/>
                      </a:cubicBezTo>
                      <a:cubicBezTo>
                        <a:pt x="2427849" y="142834"/>
                        <a:pt x="2428657" y="145457"/>
                        <a:pt x="2431796" y="146874"/>
                      </a:cubicBezTo>
                      <a:cubicBezTo>
                        <a:pt x="2437101" y="149275"/>
                        <a:pt x="2446283" y="148221"/>
                        <a:pt x="2452127" y="148772"/>
                      </a:cubicBezTo>
                      <a:cubicBezTo>
                        <a:pt x="2445416" y="138301"/>
                        <a:pt x="2423223" y="143337"/>
                        <a:pt x="2414217" y="137634"/>
                      </a:cubicBezTo>
                      <a:cubicBezTo>
                        <a:pt x="2414404" y="137236"/>
                        <a:pt x="2415482" y="137259"/>
                        <a:pt x="2415669" y="136966"/>
                      </a:cubicBezTo>
                      <a:cubicBezTo>
                        <a:pt x="2408853" y="135210"/>
                        <a:pt x="2403231" y="134601"/>
                        <a:pt x="2396216" y="134226"/>
                      </a:cubicBezTo>
                      <a:cubicBezTo>
                        <a:pt x="2389950" y="133886"/>
                        <a:pt x="2386355" y="131005"/>
                        <a:pt x="2380616" y="130185"/>
                      </a:cubicBezTo>
                      <a:cubicBezTo>
                        <a:pt x="2390501" y="125419"/>
                        <a:pt x="2395010" y="121929"/>
                        <a:pt x="2393534" y="110885"/>
                      </a:cubicBezTo>
                      <a:cubicBezTo>
                        <a:pt x="2396907" y="110779"/>
                        <a:pt x="2397516" y="109678"/>
                        <a:pt x="2399203" y="107114"/>
                      </a:cubicBezTo>
                      <a:cubicBezTo>
                        <a:pt x="2389154" y="103506"/>
                        <a:pt x="2377606" y="104279"/>
                        <a:pt x="2380288" y="92662"/>
                      </a:cubicBezTo>
                      <a:cubicBezTo>
                        <a:pt x="2382432" y="83409"/>
                        <a:pt x="2384118" y="84218"/>
                        <a:pt x="2392222" y="82929"/>
                      </a:cubicBezTo>
                      <a:cubicBezTo>
                        <a:pt x="2398008" y="82004"/>
                        <a:pt x="2399121" y="82812"/>
                        <a:pt x="2399390" y="76757"/>
                      </a:cubicBezTo>
                      <a:cubicBezTo>
                        <a:pt x="2399507" y="74181"/>
                        <a:pt x="2395244" y="76640"/>
                        <a:pt x="2395865" y="73724"/>
                      </a:cubicBezTo>
                      <a:cubicBezTo>
                        <a:pt x="2396579" y="70386"/>
                        <a:pt x="2400936" y="69180"/>
                        <a:pt x="2403536" y="67564"/>
                      </a:cubicBezTo>
                      <a:cubicBezTo>
                        <a:pt x="2411336" y="62692"/>
                        <a:pt x="2418374" y="57597"/>
                        <a:pt x="2426291" y="52936"/>
                      </a:cubicBezTo>
                      <a:cubicBezTo>
                        <a:pt x="2432077" y="49528"/>
                        <a:pt x="2437359" y="41740"/>
                        <a:pt x="2442231" y="39128"/>
                      </a:cubicBezTo>
                      <a:cubicBezTo>
                        <a:pt x="2448262" y="35884"/>
                        <a:pt x="2449105" y="40580"/>
                        <a:pt x="2452841" y="39843"/>
                      </a:cubicBezTo>
                      <a:cubicBezTo>
                        <a:pt x="2457175" y="38988"/>
                        <a:pt x="2462656" y="30907"/>
                        <a:pt x="2466251" y="28354"/>
                      </a:cubicBezTo>
                      <a:cubicBezTo>
                        <a:pt x="2471100" y="24910"/>
                        <a:pt x="2488936" y="23962"/>
                        <a:pt x="2486020" y="17321"/>
                      </a:cubicBezTo>
                      <a:cubicBezTo>
                        <a:pt x="2494195" y="14944"/>
                        <a:pt x="2498610" y="8186"/>
                        <a:pt x="2506761" y="9709"/>
                      </a:cubicBezTo>
                      <a:cubicBezTo>
                        <a:pt x="2506246" y="9615"/>
                        <a:pt x="2509642" y="12777"/>
                        <a:pt x="2510743" y="13070"/>
                      </a:cubicBezTo>
                      <a:cubicBezTo>
                        <a:pt x="2514069" y="13925"/>
                        <a:pt x="2520206" y="12227"/>
                        <a:pt x="2523286" y="11185"/>
                      </a:cubicBezTo>
                      <a:cubicBezTo>
                        <a:pt x="2531145" y="8526"/>
                        <a:pt x="2537153" y="1640"/>
                        <a:pt x="2545620" y="363"/>
                      </a:cubicBezTo>
                      <a:cubicBezTo>
                        <a:pt x="2545550" y="375"/>
                        <a:pt x="2559182" y="679"/>
                        <a:pt x="2558561" y="0"/>
                      </a:cubicBezTo>
                      <a:cubicBezTo>
                        <a:pt x="2561255" y="2963"/>
                        <a:pt x="2555973" y="3888"/>
                        <a:pt x="2557074" y="5434"/>
                      </a:cubicBezTo>
                      <a:cubicBezTo>
                        <a:pt x="2561489" y="11712"/>
                        <a:pt x="2572252" y="1968"/>
                        <a:pt x="2578471" y="3197"/>
                      </a:cubicBezTo>
                      <a:cubicBezTo>
                        <a:pt x="2585603" y="4603"/>
                        <a:pt x="2584081" y="10950"/>
                        <a:pt x="2590604" y="14768"/>
                      </a:cubicBezTo>
                      <a:cubicBezTo>
                        <a:pt x="2605864" y="23716"/>
                        <a:pt x="2624439" y="20671"/>
                        <a:pt x="2641139" y="18844"/>
                      </a:cubicBezTo>
                      <a:cubicBezTo>
                        <a:pt x="2640378" y="19664"/>
                        <a:pt x="2639898" y="21034"/>
                        <a:pt x="2639031" y="21947"/>
                      </a:cubicBezTo>
                      <a:cubicBezTo>
                        <a:pt x="2644653" y="23435"/>
                        <a:pt x="2643177" y="29876"/>
                        <a:pt x="2646796" y="33530"/>
                      </a:cubicBezTo>
                      <a:cubicBezTo>
                        <a:pt x="2650005" y="36774"/>
                        <a:pt x="2658414" y="36774"/>
                        <a:pt x="2662969" y="40897"/>
                      </a:cubicBezTo>
                      <a:cubicBezTo>
                        <a:pt x="2654619" y="45769"/>
                        <a:pt x="2643622" y="37571"/>
                        <a:pt x="2635120" y="40955"/>
                      </a:cubicBezTo>
                      <a:cubicBezTo>
                        <a:pt x="2633527" y="41588"/>
                        <a:pt x="2630505" y="46647"/>
                        <a:pt x="2628503" y="47760"/>
                      </a:cubicBezTo>
                      <a:cubicBezTo>
                        <a:pt x="2625141" y="49633"/>
                        <a:pt x="2621534" y="49387"/>
                        <a:pt x="2618290" y="51460"/>
                      </a:cubicBezTo>
                      <a:cubicBezTo>
                        <a:pt x="2620187" y="51250"/>
                        <a:pt x="2622038" y="52198"/>
                        <a:pt x="2623654" y="52280"/>
                      </a:cubicBezTo>
                      <a:cubicBezTo>
                        <a:pt x="2617224" y="59120"/>
                        <a:pt x="2597350" y="61556"/>
                        <a:pt x="2588601" y="63172"/>
                      </a:cubicBezTo>
                      <a:cubicBezTo>
                        <a:pt x="2576421" y="65409"/>
                        <a:pt x="2560810" y="64659"/>
                        <a:pt x="2549661" y="71159"/>
                      </a:cubicBezTo>
                      <a:cubicBezTo>
                        <a:pt x="2560365" y="72834"/>
                        <a:pt x="2572498" y="66767"/>
                        <a:pt x="2583191" y="68372"/>
                      </a:cubicBezTo>
                      <a:cubicBezTo>
                        <a:pt x="2586774" y="68899"/>
                        <a:pt x="2589714" y="72424"/>
                        <a:pt x="2595488" y="71839"/>
                      </a:cubicBezTo>
                      <a:cubicBezTo>
                        <a:pt x="2600254" y="71358"/>
                        <a:pt x="2603592" y="70257"/>
                        <a:pt x="2608230" y="70257"/>
                      </a:cubicBezTo>
                      <a:cubicBezTo>
                        <a:pt x="2614800" y="70257"/>
                        <a:pt x="2620550" y="69672"/>
                        <a:pt x="2627554" y="69063"/>
                      </a:cubicBezTo>
                      <a:cubicBezTo>
                        <a:pt x="2630845" y="68782"/>
                        <a:pt x="2639008" y="66955"/>
                        <a:pt x="2641678" y="67154"/>
                      </a:cubicBezTo>
                      <a:cubicBezTo>
                        <a:pt x="2641350" y="67130"/>
                        <a:pt x="2645285" y="63816"/>
                        <a:pt x="2644782" y="67400"/>
                      </a:cubicBezTo>
                      <a:cubicBezTo>
                        <a:pt x="2644090" y="72190"/>
                        <a:pt x="2636712" y="72576"/>
                        <a:pt x="2634019" y="74907"/>
                      </a:cubicBezTo>
                      <a:cubicBezTo>
                        <a:pt x="2635084" y="75586"/>
                        <a:pt x="2635623" y="76441"/>
                        <a:pt x="2636513" y="77156"/>
                      </a:cubicBezTo>
                      <a:cubicBezTo>
                        <a:pt x="2631325" y="78608"/>
                        <a:pt x="2611228" y="78057"/>
                        <a:pt x="2622366" y="83011"/>
                      </a:cubicBezTo>
                      <a:cubicBezTo>
                        <a:pt x="2627472" y="85272"/>
                        <a:pt x="2639418" y="83175"/>
                        <a:pt x="2644793" y="81641"/>
                      </a:cubicBezTo>
                      <a:cubicBezTo>
                        <a:pt x="2657196" y="78116"/>
                        <a:pt x="2658730" y="73256"/>
                        <a:pt x="2672023" y="77319"/>
                      </a:cubicBezTo>
                      <a:cubicBezTo>
                        <a:pt x="2676555" y="78713"/>
                        <a:pt x="2682493" y="83316"/>
                        <a:pt x="2688360" y="80973"/>
                      </a:cubicBezTo>
                      <a:cubicBezTo>
                        <a:pt x="2686076" y="79510"/>
                        <a:pt x="2684542" y="78643"/>
                        <a:pt x="2681591" y="78655"/>
                      </a:cubicBezTo>
                      <a:cubicBezTo>
                        <a:pt x="2688618" y="78889"/>
                        <a:pt x="2691511" y="74743"/>
                        <a:pt x="2700493" y="78655"/>
                      </a:cubicBezTo>
                      <a:cubicBezTo>
                        <a:pt x="2699779" y="79158"/>
                        <a:pt x="2699076" y="79662"/>
                        <a:pt x="2698362" y="80165"/>
                      </a:cubicBezTo>
                      <a:cubicBezTo>
                        <a:pt x="2701266" y="81442"/>
                        <a:pt x="2711162" y="80364"/>
                        <a:pt x="2714805" y="79416"/>
                      </a:cubicBezTo>
                      <a:cubicBezTo>
                        <a:pt x="2713891" y="80001"/>
                        <a:pt x="2713259" y="80505"/>
                        <a:pt x="2712298" y="80973"/>
                      </a:cubicBezTo>
                      <a:cubicBezTo>
                        <a:pt x="2715871" y="84264"/>
                        <a:pt x="2717229" y="85026"/>
                        <a:pt x="2720684" y="87965"/>
                      </a:cubicBezTo>
                      <a:cubicBezTo>
                        <a:pt x="2723261" y="90132"/>
                        <a:pt x="2726446" y="87883"/>
                        <a:pt x="2725146" y="91455"/>
                      </a:cubicBezTo>
                      <a:cubicBezTo>
                        <a:pt x="2724560" y="93072"/>
                        <a:pt x="2715027" y="93423"/>
                        <a:pt x="2713774" y="93622"/>
                      </a:cubicBezTo>
                      <a:cubicBezTo>
                        <a:pt x="2715308" y="94172"/>
                        <a:pt x="2716807" y="95461"/>
                        <a:pt x="2718412" y="95999"/>
                      </a:cubicBezTo>
                      <a:cubicBezTo>
                        <a:pt x="2715238" y="96573"/>
                        <a:pt x="2712287" y="96971"/>
                        <a:pt x="2709827" y="98927"/>
                      </a:cubicBezTo>
                      <a:cubicBezTo>
                        <a:pt x="2711783" y="98752"/>
                        <a:pt x="2713212" y="99501"/>
                        <a:pt x="2714816" y="99665"/>
                      </a:cubicBezTo>
                      <a:cubicBezTo>
                        <a:pt x="2711373" y="104666"/>
                        <a:pt x="2708609" y="100731"/>
                        <a:pt x="2706197" y="102452"/>
                      </a:cubicBezTo>
                      <a:cubicBezTo>
                        <a:pt x="2703491" y="104397"/>
                        <a:pt x="2704944" y="105685"/>
                        <a:pt x="2702859" y="107734"/>
                      </a:cubicBezTo>
                      <a:cubicBezTo>
                        <a:pt x="2696418" y="114047"/>
                        <a:pt x="2693267" y="110814"/>
                        <a:pt x="2685526" y="112384"/>
                      </a:cubicBezTo>
                      <a:cubicBezTo>
                        <a:pt x="2694345" y="117724"/>
                        <a:pt x="2681485" y="130314"/>
                        <a:pt x="2676286" y="129354"/>
                      </a:cubicBezTo>
                      <a:cubicBezTo>
                        <a:pt x="2675993" y="129295"/>
                        <a:pt x="2676016" y="125419"/>
                        <a:pt x="2672889" y="124786"/>
                      </a:cubicBezTo>
                      <a:cubicBezTo>
                        <a:pt x="2668380" y="123861"/>
                        <a:pt x="2667818" y="126004"/>
                        <a:pt x="2667561" y="129131"/>
                      </a:cubicBezTo>
                      <a:cubicBezTo>
                        <a:pt x="2666834" y="137739"/>
                        <a:pt x="2674131" y="134917"/>
                        <a:pt x="2680607" y="136100"/>
                      </a:cubicBezTo>
                      <a:cubicBezTo>
                        <a:pt x="2682270" y="136404"/>
                        <a:pt x="2688243" y="139203"/>
                        <a:pt x="2689075" y="139168"/>
                      </a:cubicBezTo>
                      <a:cubicBezTo>
                        <a:pt x="2691042" y="139098"/>
                        <a:pt x="2693080" y="136744"/>
                        <a:pt x="2693420" y="136709"/>
                      </a:cubicBezTo>
                      <a:cubicBezTo>
                        <a:pt x="2699744" y="136076"/>
                        <a:pt x="2709066" y="132621"/>
                        <a:pt x="2716620" y="132914"/>
                      </a:cubicBezTo>
                      <a:cubicBezTo>
                        <a:pt x="2726294" y="133289"/>
                        <a:pt x="2735768" y="138020"/>
                        <a:pt x="2744985" y="131708"/>
                      </a:cubicBezTo>
                      <a:cubicBezTo>
                        <a:pt x="2749061" y="128920"/>
                        <a:pt x="2755819" y="118521"/>
                        <a:pt x="2746976" y="117595"/>
                      </a:cubicBezTo>
                      <a:cubicBezTo>
                        <a:pt x="2748733" y="114035"/>
                        <a:pt x="2748663" y="114949"/>
                        <a:pt x="2747702" y="112384"/>
                      </a:cubicBezTo>
                      <a:cubicBezTo>
                        <a:pt x="2750841" y="108578"/>
                        <a:pt x="2764286" y="109503"/>
                        <a:pt x="2768783" y="111716"/>
                      </a:cubicBezTo>
                      <a:cubicBezTo>
                        <a:pt x="2768163" y="112396"/>
                        <a:pt x="2767636" y="113227"/>
                        <a:pt x="2767026" y="113871"/>
                      </a:cubicBezTo>
                      <a:cubicBezTo>
                        <a:pt x="2781268" y="110838"/>
                        <a:pt x="2796200" y="112044"/>
                        <a:pt x="2810687" y="110580"/>
                      </a:cubicBezTo>
                      <a:cubicBezTo>
                        <a:pt x="2816016" y="110041"/>
                        <a:pt x="2822270" y="109479"/>
                        <a:pt x="2825842" y="109655"/>
                      </a:cubicBezTo>
                      <a:cubicBezTo>
                        <a:pt x="2829707" y="109854"/>
                        <a:pt x="2834567" y="111400"/>
                        <a:pt x="2837448" y="111880"/>
                      </a:cubicBezTo>
                      <a:cubicBezTo>
                        <a:pt x="2843315" y="112852"/>
                        <a:pt x="2848539" y="113204"/>
                        <a:pt x="2854242" y="113859"/>
                      </a:cubicBezTo>
                      <a:cubicBezTo>
                        <a:pt x="2862780" y="114855"/>
                        <a:pt x="2865708" y="110967"/>
                        <a:pt x="2874456" y="108671"/>
                      </a:cubicBezTo>
                      <a:cubicBezTo>
                        <a:pt x="2886894" y="105392"/>
                        <a:pt x="2893382" y="114621"/>
                        <a:pt x="2905703" y="110135"/>
                      </a:cubicBezTo>
                      <a:cubicBezTo>
                        <a:pt x="2904883" y="109620"/>
                        <a:pt x="2904063" y="109304"/>
                        <a:pt x="2903208" y="108648"/>
                      </a:cubicBezTo>
                      <a:cubicBezTo>
                        <a:pt x="2907038" y="106282"/>
                        <a:pt x="2912238" y="106446"/>
                        <a:pt x="2915728" y="109339"/>
                      </a:cubicBezTo>
                      <a:cubicBezTo>
                        <a:pt x="2911184" y="110639"/>
                        <a:pt x="2912402" y="114785"/>
                        <a:pt x="2915435" y="116073"/>
                      </a:cubicBezTo>
                      <a:cubicBezTo>
                        <a:pt x="2914732" y="115780"/>
                        <a:pt x="2921583" y="113836"/>
                        <a:pt x="2921829" y="113813"/>
                      </a:cubicBezTo>
                      <a:cubicBezTo>
                        <a:pt x="2926655" y="113321"/>
                        <a:pt x="2932745" y="115441"/>
                        <a:pt x="2937558" y="116167"/>
                      </a:cubicBezTo>
                      <a:cubicBezTo>
                        <a:pt x="2936328" y="116530"/>
                        <a:pt x="2935075" y="117256"/>
                        <a:pt x="2933998" y="117595"/>
                      </a:cubicBezTo>
                      <a:cubicBezTo>
                        <a:pt x="2935333" y="118169"/>
                        <a:pt x="2935871" y="119059"/>
                        <a:pt x="2936844" y="119821"/>
                      </a:cubicBezTo>
                      <a:cubicBezTo>
                        <a:pt x="2934490" y="119973"/>
                        <a:pt x="2933752" y="121355"/>
                        <a:pt x="2931819" y="122046"/>
                      </a:cubicBezTo>
                      <a:cubicBezTo>
                        <a:pt x="2935427" y="126039"/>
                        <a:pt x="2945850" y="122994"/>
                        <a:pt x="2951682" y="125700"/>
                      </a:cubicBezTo>
                      <a:cubicBezTo>
                        <a:pt x="2958252" y="128745"/>
                        <a:pt x="2965853" y="134144"/>
                        <a:pt x="2971123" y="139192"/>
                      </a:cubicBezTo>
                      <a:cubicBezTo>
                        <a:pt x="2964729" y="143654"/>
                        <a:pt x="2957292" y="147682"/>
                        <a:pt x="2951834" y="153280"/>
                      </a:cubicBezTo>
                      <a:cubicBezTo>
                        <a:pt x="2956753" y="150306"/>
                        <a:pt x="2968418" y="141733"/>
                        <a:pt x="2973817" y="141194"/>
                      </a:cubicBezTo>
                      <a:cubicBezTo>
                        <a:pt x="2981383" y="140433"/>
                        <a:pt x="2993668" y="150095"/>
                        <a:pt x="2999746" y="153948"/>
                      </a:cubicBezTo>
                      <a:cubicBezTo>
                        <a:pt x="2999325" y="154007"/>
                        <a:pt x="2996713" y="155365"/>
                        <a:pt x="2995085" y="155353"/>
                      </a:cubicBezTo>
                      <a:cubicBezTo>
                        <a:pt x="3001761" y="158761"/>
                        <a:pt x="2996865" y="161689"/>
                        <a:pt x="2996865" y="165109"/>
                      </a:cubicBezTo>
                      <a:cubicBezTo>
                        <a:pt x="2993129" y="167159"/>
                        <a:pt x="2989955" y="164524"/>
                        <a:pt x="2986864" y="164301"/>
                      </a:cubicBezTo>
                      <a:cubicBezTo>
                        <a:pt x="2989862" y="166233"/>
                        <a:pt x="2992227" y="167955"/>
                        <a:pt x="2995167" y="169044"/>
                      </a:cubicBezTo>
                      <a:cubicBezTo>
                        <a:pt x="2998868" y="170426"/>
                        <a:pt x="3002428" y="167100"/>
                        <a:pt x="3004513" y="173096"/>
                      </a:cubicBezTo>
                      <a:cubicBezTo>
                        <a:pt x="3007136" y="180639"/>
                        <a:pt x="2995741" y="184082"/>
                        <a:pt x="2990471" y="184890"/>
                      </a:cubicBezTo>
                      <a:cubicBezTo>
                        <a:pt x="2994839" y="185885"/>
                        <a:pt x="3024130" y="182688"/>
                        <a:pt x="3012254" y="174584"/>
                      </a:cubicBezTo>
                      <a:cubicBezTo>
                        <a:pt x="3017536" y="170414"/>
                        <a:pt x="3024551" y="172921"/>
                        <a:pt x="3028697" y="177570"/>
                      </a:cubicBezTo>
                      <a:cubicBezTo>
                        <a:pt x="3026589" y="173904"/>
                        <a:pt x="3026741" y="174748"/>
                        <a:pt x="3027971" y="171644"/>
                      </a:cubicBezTo>
                      <a:cubicBezTo>
                        <a:pt x="3022431" y="170602"/>
                        <a:pt x="3011153" y="168259"/>
                        <a:pt x="3009350" y="162099"/>
                      </a:cubicBezTo>
                      <a:cubicBezTo>
                        <a:pt x="3013976" y="162392"/>
                        <a:pt x="3025687" y="159862"/>
                        <a:pt x="3028346" y="163563"/>
                      </a:cubicBezTo>
                      <a:cubicBezTo>
                        <a:pt x="3027139" y="164313"/>
                        <a:pt x="3026132" y="165250"/>
                        <a:pt x="3024727" y="165777"/>
                      </a:cubicBezTo>
                      <a:cubicBezTo>
                        <a:pt x="3025230" y="167006"/>
                        <a:pt x="3025875" y="166632"/>
                        <a:pt x="3025476" y="167967"/>
                      </a:cubicBezTo>
                      <a:cubicBezTo>
                        <a:pt x="3039472" y="160752"/>
                        <a:pt x="3032562" y="185956"/>
                        <a:pt x="3041533" y="187736"/>
                      </a:cubicBezTo>
                      <a:cubicBezTo>
                        <a:pt x="3040455" y="188743"/>
                        <a:pt x="3040022" y="190453"/>
                        <a:pt x="3039015" y="191460"/>
                      </a:cubicBezTo>
                      <a:cubicBezTo>
                        <a:pt x="3043934" y="193650"/>
                        <a:pt x="3039565" y="195758"/>
                        <a:pt x="3035841" y="195899"/>
                      </a:cubicBezTo>
                      <a:cubicBezTo>
                        <a:pt x="3041170" y="196519"/>
                        <a:pt x="3045046" y="203710"/>
                        <a:pt x="3037984" y="204635"/>
                      </a:cubicBezTo>
                      <a:cubicBezTo>
                        <a:pt x="3040116" y="206041"/>
                        <a:pt x="3044215" y="205127"/>
                        <a:pt x="3046920" y="203195"/>
                      </a:cubicBezTo>
                      <a:cubicBezTo>
                        <a:pt x="3045433" y="201497"/>
                        <a:pt x="3046077" y="200127"/>
                        <a:pt x="3045117" y="198089"/>
                      </a:cubicBezTo>
                      <a:cubicBezTo>
                        <a:pt x="3050844" y="198335"/>
                        <a:pt x="3053338" y="195618"/>
                        <a:pt x="3057156" y="198721"/>
                      </a:cubicBezTo>
                      <a:cubicBezTo>
                        <a:pt x="3056559" y="198229"/>
                        <a:pt x="3058889" y="206287"/>
                        <a:pt x="3058866" y="207071"/>
                      </a:cubicBezTo>
                      <a:cubicBezTo>
                        <a:pt x="3058796" y="208688"/>
                        <a:pt x="3056934" y="213150"/>
                        <a:pt x="3056184" y="214883"/>
                      </a:cubicBezTo>
                      <a:cubicBezTo>
                        <a:pt x="3052308" y="223948"/>
                        <a:pt x="3047096" y="241726"/>
                        <a:pt x="3035127" y="238821"/>
                      </a:cubicBezTo>
                      <a:cubicBezTo>
                        <a:pt x="3037914" y="234160"/>
                        <a:pt x="3043079" y="231923"/>
                        <a:pt x="3045117" y="226548"/>
                      </a:cubicBezTo>
                      <a:cubicBezTo>
                        <a:pt x="3034787" y="224346"/>
                        <a:pt x="3026894" y="222542"/>
                        <a:pt x="3016435" y="223655"/>
                      </a:cubicBezTo>
                      <a:cubicBezTo>
                        <a:pt x="3026694" y="220247"/>
                        <a:pt x="3008436" y="214579"/>
                        <a:pt x="3004934" y="212916"/>
                      </a:cubicBezTo>
                      <a:cubicBezTo>
                        <a:pt x="2997369" y="209332"/>
                        <a:pt x="2986957" y="202199"/>
                        <a:pt x="2978326" y="206158"/>
                      </a:cubicBezTo>
                      <a:cubicBezTo>
                        <a:pt x="2983303" y="207247"/>
                        <a:pt x="2983491" y="211053"/>
                        <a:pt x="2986395" y="212599"/>
                      </a:cubicBezTo>
                      <a:cubicBezTo>
                        <a:pt x="2990611" y="214848"/>
                        <a:pt x="2994933" y="214532"/>
                        <a:pt x="2999758" y="216593"/>
                      </a:cubicBezTo>
                      <a:cubicBezTo>
                        <a:pt x="3006586" y="219509"/>
                        <a:pt x="3007183" y="225201"/>
                        <a:pt x="2999758" y="222062"/>
                      </a:cubicBezTo>
                      <a:cubicBezTo>
                        <a:pt x="3003986" y="223772"/>
                        <a:pt x="3005801" y="226138"/>
                        <a:pt x="3006059" y="230143"/>
                      </a:cubicBezTo>
                      <a:cubicBezTo>
                        <a:pt x="3006234" y="232837"/>
                        <a:pt x="2998587" y="231478"/>
                        <a:pt x="3003190" y="237018"/>
                      </a:cubicBezTo>
                      <a:cubicBezTo>
                        <a:pt x="3005274" y="239524"/>
                        <a:pt x="3012195" y="238189"/>
                        <a:pt x="3014760" y="237463"/>
                      </a:cubicBezTo>
                      <a:cubicBezTo>
                        <a:pt x="3007441" y="229054"/>
                        <a:pt x="3025746" y="223515"/>
                        <a:pt x="3028814" y="230963"/>
                      </a:cubicBezTo>
                      <a:cubicBezTo>
                        <a:pt x="3029962" y="233750"/>
                        <a:pt x="3024739" y="233903"/>
                        <a:pt x="3029259" y="238540"/>
                      </a:cubicBezTo>
                      <a:cubicBezTo>
                        <a:pt x="3032538" y="241902"/>
                        <a:pt x="3042903" y="243846"/>
                        <a:pt x="3046171" y="240520"/>
                      </a:cubicBezTo>
                      <a:cubicBezTo>
                        <a:pt x="3049157" y="243729"/>
                        <a:pt x="3050633" y="248156"/>
                        <a:pt x="3050481" y="252571"/>
                      </a:cubicBezTo>
                      <a:cubicBezTo>
                        <a:pt x="3047108" y="250568"/>
                        <a:pt x="3042517" y="250896"/>
                        <a:pt x="3040854" y="254655"/>
                      </a:cubicBezTo>
                      <a:cubicBezTo>
                        <a:pt x="3057624" y="253285"/>
                        <a:pt x="3037797" y="271204"/>
                        <a:pt x="3033780" y="274413"/>
                      </a:cubicBezTo>
                      <a:cubicBezTo>
                        <a:pt x="3025629" y="280924"/>
                        <a:pt x="3017782" y="286874"/>
                        <a:pt x="3010603" y="293022"/>
                      </a:cubicBezTo>
                      <a:cubicBezTo>
                        <a:pt x="2998821" y="303118"/>
                        <a:pt x="2983081" y="300190"/>
                        <a:pt x="2970784" y="307521"/>
                      </a:cubicBezTo>
                      <a:cubicBezTo>
                        <a:pt x="2965232" y="310824"/>
                        <a:pt x="2967083" y="313061"/>
                        <a:pt x="2963253" y="317874"/>
                      </a:cubicBezTo>
                      <a:cubicBezTo>
                        <a:pt x="2961227" y="320416"/>
                        <a:pt x="2957772" y="318764"/>
                        <a:pt x="2956097" y="322781"/>
                      </a:cubicBezTo>
                      <a:cubicBezTo>
                        <a:pt x="2956823" y="323098"/>
                        <a:pt x="2957526" y="323039"/>
                        <a:pt x="2958276" y="323484"/>
                      </a:cubicBezTo>
                      <a:cubicBezTo>
                        <a:pt x="2948356" y="333240"/>
                        <a:pt x="2945171" y="326471"/>
                        <a:pt x="2933272" y="327115"/>
                      </a:cubicBezTo>
                      <a:cubicBezTo>
                        <a:pt x="2925038" y="327560"/>
                        <a:pt x="2915810" y="335184"/>
                        <a:pt x="2907846" y="337678"/>
                      </a:cubicBezTo>
                      <a:cubicBezTo>
                        <a:pt x="2909122" y="338065"/>
                        <a:pt x="2910130" y="338709"/>
                        <a:pt x="2911301" y="339236"/>
                      </a:cubicBezTo>
                      <a:cubicBezTo>
                        <a:pt x="2907436" y="343558"/>
                        <a:pt x="2898406" y="344342"/>
                        <a:pt x="2893042" y="346591"/>
                      </a:cubicBezTo>
                      <a:cubicBezTo>
                        <a:pt x="2889131" y="348242"/>
                        <a:pt x="2885816" y="349460"/>
                        <a:pt x="2881717" y="349425"/>
                      </a:cubicBezTo>
                      <a:cubicBezTo>
                        <a:pt x="2876717" y="349378"/>
                        <a:pt x="2875604" y="346169"/>
                        <a:pt x="2871037" y="349659"/>
                      </a:cubicBezTo>
                      <a:cubicBezTo>
                        <a:pt x="2878989" y="349741"/>
                        <a:pt x="2876073" y="355656"/>
                        <a:pt x="2871388" y="358490"/>
                      </a:cubicBezTo>
                      <a:cubicBezTo>
                        <a:pt x="2867628" y="360774"/>
                        <a:pt x="2865860" y="359567"/>
                        <a:pt x="2861913" y="360469"/>
                      </a:cubicBezTo>
                      <a:cubicBezTo>
                        <a:pt x="2858095" y="361347"/>
                        <a:pt x="2857275" y="362074"/>
                        <a:pt x="2854394" y="363081"/>
                      </a:cubicBezTo>
                      <a:cubicBezTo>
                        <a:pt x="2852041" y="363901"/>
                        <a:pt x="2848117" y="365962"/>
                        <a:pt x="2845634" y="366102"/>
                      </a:cubicBezTo>
                      <a:cubicBezTo>
                        <a:pt x="2842519" y="366301"/>
                        <a:pt x="2837542" y="365001"/>
                        <a:pt x="2833513" y="366571"/>
                      </a:cubicBezTo>
                      <a:cubicBezTo>
                        <a:pt x="2840879" y="372743"/>
                        <a:pt x="2861105" y="360750"/>
                        <a:pt x="2852790" y="375366"/>
                      </a:cubicBezTo>
                      <a:cubicBezTo>
                        <a:pt x="2848375" y="383096"/>
                        <a:pt x="2833700" y="389069"/>
                        <a:pt x="2825643" y="391235"/>
                      </a:cubicBezTo>
                      <a:cubicBezTo>
                        <a:pt x="2813205" y="394561"/>
                        <a:pt x="2803801" y="396986"/>
                        <a:pt x="2793483" y="404200"/>
                      </a:cubicBezTo>
                      <a:cubicBezTo>
                        <a:pt x="2788576" y="407631"/>
                        <a:pt x="2781127" y="421369"/>
                        <a:pt x="2774908" y="416895"/>
                      </a:cubicBezTo>
                      <a:cubicBezTo>
                        <a:pt x="2776314" y="418265"/>
                        <a:pt x="2776618" y="420186"/>
                        <a:pt x="2777731" y="421744"/>
                      </a:cubicBezTo>
                      <a:cubicBezTo>
                        <a:pt x="2769580" y="423782"/>
                        <a:pt x="2762307" y="430926"/>
                        <a:pt x="2755549" y="435634"/>
                      </a:cubicBezTo>
                      <a:cubicBezTo>
                        <a:pt x="2756053" y="434744"/>
                        <a:pt x="2756474" y="433772"/>
                        <a:pt x="2757001" y="432870"/>
                      </a:cubicBezTo>
                      <a:cubicBezTo>
                        <a:pt x="2750818" y="428724"/>
                        <a:pt x="2746836" y="435868"/>
                        <a:pt x="2741167" y="437121"/>
                      </a:cubicBezTo>
                      <a:cubicBezTo>
                        <a:pt x="2737291" y="437976"/>
                        <a:pt x="2732677" y="436676"/>
                        <a:pt x="2728460" y="436254"/>
                      </a:cubicBezTo>
                      <a:cubicBezTo>
                        <a:pt x="2722441" y="435657"/>
                        <a:pt x="2706782" y="434041"/>
                        <a:pt x="2705190" y="441841"/>
                      </a:cubicBezTo>
                      <a:cubicBezTo>
                        <a:pt x="2714781" y="443843"/>
                        <a:pt x="2698374" y="450519"/>
                        <a:pt x="2696570" y="452252"/>
                      </a:cubicBezTo>
                      <a:cubicBezTo>
                        <a:pt x="2692857" y="455801"/>
                        <a:pt x="2692846" y="461059"/>
                        <a:pt x="2689402" y="464631"/>
                      </a:cubicBezTo>
                      <a:cubicBezTo>
                        <a:pt x="2678569" y="475851"/>
                        <a:pt x="2658941" y="458811"/>
                        <a:pt x="2650239" y="475465"/>
                      </a:cubicBezTo>
                      <a:cubicBezTo>
                        <a:pt x="2649513" y="476835"/>
                        <a:pt x="2650099" y="479353"/>
                        <a:pt x="2649138" y="481180"/>
                      </a:cubicBezTo>
                      <a:cubicBezTo>
                        <a:pt x="2647077" y="485103"/>
                        <a:pt x="2642873" y="485349"/>
                        <a:pt x="2640624" y="488933"/>
                      </a:cubicBezTo>
                      <a:cubicBezTo>
                        <a:pt x="2639429" y="490818"/>
                        <a:pt x="2640601" y="493102"/>
                        <a:pt x="2639675" y="495035"/>
                      </a:cubicBezTo>
                      <a:cubicBezTo>
                        <a:pt x="2637825" y="498934"/>
                        <a:pt x="2638867" y="497225"/>
                        <a:pt x="2635892" y="501031"/>
                      </a:cubicBezTo>
                      <a:cubicBezTo>
                        <a:pt x="2627144" y="512204"/>
                        <a:pt x="2612762" y="518938"/>
                        <a:pt x="2599048" y="520648"/>
                      </a:cubicBezTo>
                      <a:cubicBezTo>
                        <a:pt x="2599165" y="521327"/>
                        <a:pt x="2599282" y="521994"/>
                        <a:pt x="2599388" y="522674"/>
                      </a:cubicBezTo>
                      <a:cubicBezTo>
                        <a:pt x="2609635" y="518973"/>
                        <a:pt x="2619215" y="524477"/>
                        <a:pt x="2629100" y="518141"/>
                      </a:cubicBezTo>
                      <a:cubicBezTo>
                        <a:pt x="2632250" y="516127"/>
                        <a:pt x="2635178" y="513445"/>
                        <a:pt x="2638610" y="511454"/>
                      </a:cubicBezTo>
                      <a:cubicBezTo>
                        <a:pt x="2640507" y="510353"/>
                        <a:pt x="2643130" y="510939"/>
                        <a:pt x="2645109" y="509744"/>
                      </a:cubicBezTo>
                      <a:cubicBezTo>
                        <a:pt x="2646468" y="508924"/>
                        <a:pt x="2645812" y="505797"/>
                        <a:pt x="2647487" y="505142"/>
                      </a:cubicBezTo>
                      <a:cubicBezTo>
                        <a:pt x="2652980" y="503034"/>
                        <a:pt x="2653202" y="507203"/>
                        <a:pt x="2657313" y="509030"/>
                      </a:cubicBezTo>
                      <a:cubicBezTo>
                        <a:pt x="2661564" y="510927"/>
                        <a:pt x="2667104" y="511349"/>
                        <a:pt x="2671636" y="512262"/>
                      </a:cubicBezTo>
                      <a:cubicBezTo>
                        <a:pt x="2684226" y="514804"/>
                        <a:pt x="2691663" y="517005"/>
                        <a:pt x="2705295" y="513621"/>
                      </a:cubicBezTo>
                      <a:cubicBezTo>
                        <a:pt x="2699615" y="508468"/>
                        <a:pt x="2688465" y="511899"/>
                        <a:pt x="2681216" y="509803"/>
                      </a:cubicBezTo>
                      <a:cubicBezTo>
                        <a:pt x="2676508" y="508433"/>
                        <a:pt x="2664035" y="505598"/>
                        <a:pt x="2660604" y="502389"/>
                      </a:cubicBezTo>
                      <a:cubicBezTo>
                        <a:pt x="2655357" y="497482"/>
                        <a:pt x="2656716" y="488933"/>
                        <a:pt x="2660358" y="484635"/>
                      </a:cubicBezTo>
                      <a:cubicBezTo>
                        <a:pt x="2668591" y="474926"/>
                        <a:pt x="2681685" y="486602"/>
                        <a:pt x="2692951" y="484717"/>
                      </a:cubicBezTo>
                      <a:cubicBezTo>
                        <a:pt x="2696265" y="484166"/>
                        <a:pt x="2699228" y="481789"/>
                        <a:pt x="2702484" y="481309"/>
                      </a:cubicBezTo>
                      <a:cubicBezTo>
                        <a:pt x="2707099" y="480641"/>
                        <a:pt x="2712310" y="483581"/>
                        <a:pt x="2716983" y="483522"/>
                      </a:cubicBezTo>
                      <a:cubicBezTo>
                        <a:pt x="2723776" y="483452"/>
                        <a:pt x="2734035" y="483581"/>
                        <a:pt x="2740418" y="481812"/>
                      </a:cubicBezTo>
                      <a:cubicBezTo>
                        <a:pt x="2745313" y="480454"/>
                        <a:pt x="2748510" y="476495"/>
                        <a:pt x="2753535" y="475500"/>
                      </a:cubicBezTo>
                      <a:cubicBezTo>
                        <a:pt x="2758149" y="474586"/>
                        <a:pt x="2759672" y="476776"/>
                        <a:pt x="2764145" y="476917"/>
                      </a:cubicBezTo>
                      <a:cubicBezTo>
                        <a:pt x="2766183" y="476975"/>
                        <a:pt x="2774452" y="477643"/>
                        <a:pt x="2772332" y="473099"/>
                      </a:cubicBezTo>
                      <a:cubicBezTo>
                        <a:pt x="2771137" y="470546"/>
                        <a:pt x="2764918" y="471986"/>
                        <a:pt x="2762342" y="471459"/>
                      </a:cubicBezTo>
                      <a:cubicBezTo>
                        <a:pt x="2767495" y="466259"/>
                        <a:pt x="2781490" y="466798"/>
                        <a:pt x="2788681" y="465287"/>
                      </a:cubicBezTo>
                      <a:cubicBezTo>
                        <a:pt x="2794045" y="464163"/>
                        <a:pt x="2814446" y="464690"/>
                        <a:pt x="2817374" y="459068"/>
                      </a:cubicBezTo>
                      <a:cubicBezTo>
                        <a:pt x="2820255" y="453529"/>
                        <a:pt x="2807373" y="452639"/>
                        <a:pt x="2821403" y="455168"/>
                      </a:cubicBezTo>
                      <a:cubicBezTo>
                        <a:pt x="2823652" y="455578"/>
                        <a:pt x="2829788" y="459900"/>
                        <a:pt x="2825584" y="453587"/>
                      </a:cubicBezTo>
                      <a:cubicBezTo>
                        <a:pt x="2823324" y="450179"/>
                        <a:pt x="2812526" y="449559"/>
                        <a:pt x="2813322" y="445823"/>
                      </a:cubicBezTo>
                      <a:cubicBezTo>
                        <a:pt x="2814165" y="441876"/>
                        <a:pt x="2824307" y="450179"/>
                        <a:pt x="2826498" y="451257"/>
                      </a:cubicBezTo>
                      <a:cubicBezTo>
                        <a:pt x="2835410" y="455649"/>
                        <a:pt x="2842484" y="453833"/>
                        <a:pt x="2851631" y="450788"/>
                      </a:cubicBezTo>
                      <a:cubicBezTo>
                        <a:pt x="2854359" y="449875"/>
                        <a:pt x="2870638" y="443996"/>
                        <a:pt x="2861011" y="443258"/>
                      </a:cubicBezTo>
                      <a:cubicBezTo>
                        <a:pt x="2864045" y="439030"/>
                        <a:pt x="2873625" y="439569"/>
                        <a:pt x="2878497" y="438433"/>
                      </a:cubicBezTo>
                      <a:cubicBezTo>
                        <a:pt x="2874796" y="433022"/>
                        <a:pt x="2896263" y="433326"/>
                        <a:pt x="2899847" y="431218"/>
                      </a:cubicBezTo>
                      <a:cubicBezTo>
                        <a:pt x="2907331" y="426838"/>
                        <a:pt x="2898898" y="426628"/>
                        <a:pt x="2904227" y="422423"/>
                      </a:cubicBezTo>
                      <a:cubicBezTo>
                        <a:pt x="2900503" y="422025"/>
                        <a:pt x="2895479" y="420233"/>
                        <a:pt x="2892094" y="420479"/>
                      </a:cubicBezTo>
                      <a:cubicBezTo>
                        <a:pt x="2886472" y="420889"/>
                        <a:pt x="2881062" y="424988"/>
                        <a:pt x="2875557" y="426698"/>
                      </a:cubicBezTo>
                      <a:cubicBezTo>
                        <a:pt x="2866727" y="429438"/>
                        <a:pt x="2849253" y="424215"/>
                        <a:pt x="2843433" y="430773"/>
                      </a:cubicBezTo>
                      <a:cubicBezTo>
                        <a:pt x="2844018" y="431324"/>
                        <a:pt x="2844615" y="431289"/>
                        <a:pt x="2845248" y="432226"/>
                      </a:cubicBezTo>
                      <a:cubicBezTo>
                        <a:pt x="2838572" y="433936"/>
                        <a:pt x="2827844" y="421779"/>
                        <a:pt x="2833290" y="415525"/>
                      </a:cubicBezTo>
                      <a:cubicBezTo>
                        <a:pt x="2836183" y="412187"/>
                        <a:pt x="2844498" y="413815"/>
                        <a:pt x="2848164" y="409634"/>
                      </a:cubicBezTo>
                      <a:cubicBezTo>
                        <a:pt x="2851385" y="405933"/>
                        <a:pt x="2849558" y="401483"/>
                        <a:pt x="2854793" y="398391"/>
                      </a:cubicBezTo>
                      <a:cubicBezTo>
                        <a:pt x="2865532" y="392055"/>
                        <a:pt x="2883322" y="398731"/>
                        <a:pt x="2893488" y="402935"/>
                      </a:cubicBezTo>
                      <a:cubicBezTo>
                        <a:pt x="2896333" y="404118"/>
                        <a:pt x="2903653" y="407924"/>
                        <a:pt x="2906382" y="407912"/>
                      </a:cubicBezTo>
                      <a:cubicBezTo>
                        <a:pt x="2908666" y="407901"/>
                        <a:pt x="2911219" y="406671"/>
                        <a:pt x="2912636" y="404891"/>
                      </a:cubicBezTo>
                      <a:cubicBezTo>
                        <a:pt x="2914568" y="402467"/>
                        <a:pt x="2911160" y="402232"/>
                        <a:pt x="2912050" y="400663"/>
                      </a:cubicBezTo>
                      <a:cubicBezTo>
                        <a:pt x="2914158" y="396915"/>
                        <a:pt x="2914006" y="396365"/>
                        <a:pt x="2918117" y="394725"/>
                      </a:cubicBezTo>
                      <a:cubicBezTo>
                        <a:pt x="2920939" y="393589"/>
                        <a:pt x="2935590" y="391821"/>
                        <a:pt x="2937839" y="393999"/>
                      </a:cubicBezTo>
                      <a:cubicBezTo>
                        <a:pt x="2943507" y="399504"/>
                        <a:pt x="2920799" y="398625"/>
                        <a:pt x="2919546" y="400124"/>
                      </a:cubicBezTo>
                      <a:cubicBezTo>
                        <a:pt x="2917145" y="402994"/>
                        <a:pt x="2924020" y="411555"/>
                        <a:pt x="2926526" y="413944"/>
                      </a:cubicBezTo>
                      <a:cubicBezTo>
                        <a:pt x="2932030" y="419167"/>
                        <a:pt x="2940345" y="421322"/>
                        <a:pt x="2947407" y="423489"/>
                      </a:cubicBezTo>
                      <a:cubicBezTo>
                        <a:pt x="2960442" y="427482"/>
                        <a:pt x="2971322" y="428021"/>
                        <a:pt x="2984416" y="427119"/>
                      </a:cubicBezTo>
                      <a:cubicBezTo>
                        <a:pt x="2994429" y="426417"/>
                        <a:pt x="3012160" y="426440"/>
                        <a:pt x="3009432" y="413112"/>
                      </a:cubicBezTo>
                      <a:cubicBezTo>
                        <a:pt x="3008471" y="408416"/>
                        <a:pt x="3002440" y="403942"/>
                        <a:pt x="3003635" y="398766"/>
                      </a:cubicBezTo>
                      <a:cubicBezTo>
                        <a:pt x="3009303" y="401893"/>
                        <a:pt x="3016599" y="407983"/>
                        <a:pt x="3020745" y="412796"/>
                      </a:cubicBezTo>
                      <a:cubicBezTo>
                        <a:pt x="3023966" y="416556"/>
                        <a:pt x="3031391" y="425796"/>
                        <a:pt x="3033756" y="430984"/>
                      </a:cubicBezTo>
                      <a:cubicBezTo>
                        <a:pt x="3039542" y="443633"/>
                        <a:pt x="3018508" y="444675"/>
                        <a:pt x="3021717" y="455508"/>
                      </a:cubicBezTo>
                      <a:cubicBezTo>
                        <a:pt x="3023907" y="462886"/>
                        <a:pt x="3033862" y="460661"/>
                        <a:pt x="3037703" y="464725"/>
                      </a:cubicBezTo>
                      <a:cubicBezTo>
                        <a:pt x="3041158" y="468367"/>
                        <a:pt x="3037891" y="476074"/>
                        <a:pt x="3038242" y="480688"/>
                      </a:cubicBezTo>
                      <a:cubicBezTo>
                        <a:pt x="3038465" y="483487"/>
                        <a:pt x="3040104" y="486157"/>
                        <a:pt x="3040034" y="488921"/>
                      </a:cubicBezTo>
                      <a:cubicBezTo>
                        <a:pt x="3039964" y="491427"/>
                        <a:pt x="3038031" y="502565"/>
                        <a:pt x="3037610" y="503455"/>
                      </a:cubicBezTo>
                      <a:cubicBezTo>
                        <a:pt x="3033358" y="512403"/>
                        <a:pt x="3018789" y="507894"/>
                        <a:pt x="3018613" y="517427"/>
                      </a:cubicBezTo>
                      <a:cubicBezTo>
                        <a:pt x="3018625" y="516935"/>
                        <a:pt x="3022185" y="525906"/>
                        <a:pt x="3022115" y="525801"/>
                      </a:cubicBezTo>
                      <a:cubicBezTo>
                        <a:pt x="3025137" y="529993"/>
                        <a:pt x="3029318" y="531329"/>
                        <a:pt x="3034038" y="532793"/>
                      </a:cubicBezTo>
                      <a:cubicBezTo>
                        <a:pt x="3045386" y="536318"/>
                        <a:pt x="3057882" y="537184"/>
                        <a:pt x="3069746" y="538883"/>
                      </a:cubicBezTo>
                      <a:cubicBezTo>
                        <a:pt x="3058632" y="528869"/>
                        <a:pt x="3037176" y="538039"/>
                        <a:pt x="3026144" y="526129"/>
                      </a:cubicBezTo>
                      <a:cubicBezTo>
                        <a:pt x="3015498" y="514628"/>
                        <a:pt x="3027128" y="513340"/>
                        <a:pt x="3035619" y="507051"/>
                      </a:cubicBezTo>
                      <a:cubicBezTo>
                        <a:pt x="3040280" y="503584"/>
                        <a:pt x="3038991" y="503736"/>
                        <a:pt x="3040596" y="499579"/>
                      </a:cubicBezTo>
                      <a:cubicBezTo>
                        <a:pt x="3040760" y="499157"/>
                        <a:pt x="3043020" y="491111"/>
                        <a:pt x="3043055" y="490760"/>
                      </a:cubicBezTo>
                      <a:cubicBezTo>
                        <a:pt x="3043559" y="485853"/>
                        <a:pt x="3039577" y="481859"/>
                        <a:pt x="3040971" y="476893"/>
                      </a:cubicBezTo>
                      <a:cubicBezTo>
                        <a:pt x="3044238" y="465264"/>
                        <a:pt x="3058784" y="468719"/>
                        <a:pt x="3066900" y="464596"/>
                      </a:cubicBezTo>
                      <a:cubicBezTo>
                        <a:pt x="3061185" y="461610"/>
                        <a:pt x="3055669" y="464350"/>
                        <a:pt x="3049134" y="460649"/>
                      </a:cubicBezTo>
                      <a:cubicBezTo>
                        <a:pt x="3043231" y="457312"/>
                        <a:pt x="3040233" y="455145"/>
                        <a:pt x="3037200" y="448751"/>
                      </a:cubicBezTo>
                      <a:cubicBezTo>
                        <a:pt x="3045257" y="446186"/>
                        <a:pt x="3054521" y="447743"/>
                        <a:pt x="3062286" y="444581"/>
                      </a:cubicBezTo>
                      <a:cubicBezTo>
                        <a:pt x="3066678" y="442801"/>
                        <a:pt x="3069067" y="440096"/>
                        <a:pt x="3073646" y="439299"/>
                      </a:cubicBezTo>
                      <a:cubicBezTo>
                        <a:pt x="3078623" y="438433"/>
                        <a:pt x="3084737" y="439534"/>
                        <a:pt x="3089855" y="439662"/>
                      </a:cubicBezTo>
                      <a:cubicBezTo>
                        <a:pt x="3109717" y="440143"/>
                        <a:pt x="3125188" y="427459"/>
                        <a:pt x="3144993" y="428560"/>
                      </a:cubicBezTo>
                      <a:cubicBezTo>
                        <a:pt x="3163602" y="429579"/>
                        <a:pt x="3184320" y="429321"/>
                        <a:pt x="3202566" y="432073"/>
                      </a:cubicBezTo>
                      <a:cubicBezTo>
                        <a:pt x="3222722" y="435107"/>
                        <a:pt x="3241144" y="442134"/>
                        <a:pt x="3261991" y="440670"/>
                      </a:cubicBezTo>
                      <a:cubicBezTo>
                        <a:pt x="3281584" y="439288"/>
                        <a:pt x="3309657" y="436336"/>
                        <a:pt x="3325713" y="450133"/>
                      </a:cubicBezTo>
                      <a:cubicBezTo>
                        <a:pt x="3322762" y="453904"/>
                        <a:pt x="3314505" y="455332"/>
                        <a:pt x="3310945" y="454513"/>
                      </a:cubicBezTo>
                      <a:cubicBezTo>
                        <a:pt x="3308743" y="453997"/>
                        <a:pt x="3305452" y="450847"/>
                        <a:pt x="3303742" y="450648"/>
                      </a:cubicBezTo>
                      <a:cubicBezTo>
                        <a:pt x="3298308" y="450027"/>
                        <a:pt x="3286163" y="460931"/>
                        <a:pt x="3296025" y="461868"/>
                      </a:cubicBezTo>
                      <a:cubicBezTo>
                        <a:pt x="3276490" y="480266"/>
                        <a:pt x="3333361" y="489905"/>
                        <a:pt x="3343421" y="491627"/>
                      </a:cubicBezTo>
                      <a:cubicBezTo>
                        <a:pt x="3350144" y="492774"/>
                        <a:pt x="3351115" y="494121"/>
                        <a:pt x="3355835" y="497271"/>
                      </a:cubicBezTo>
                      <a:cubicBezTo>
                        <a:pt x="3357826" y="498595"/>
                        <a:pt x="3360848" y="501452"/>
                        <a:pt x="3362874" y="502319"/>
                      </a:cubicBezTo>
                      <a:cubicBezTo>
                        <a:pt x="3369503" y="505165"/>
                        <a:pt x="3401756" y="514944"/>
                        <a:pt x="3407940" y="510400"/>
                      </a:cubicBezTo>
                      <a:cubicBezTo>
                        <a:pt x="3397985" y="503619"/>
                        <a:pt x="3376635" y="510775"/>
                        <a:pt x="3367992" y="502565"/>
                      </a:cubicBezTo>
                      <a:cubicBezTo>
                        <a:pt x="3360731" y="495655"/>
                        <a:pt x="3373473" y="498443"/>
                        <a:pt x="3376869" y="498911"/>
                      </a:cubicBezTo>
                      <a:cubicBezTo>
                        <a:pt x="3384880" y="499989"/>
                        <a:pt x="3392129" y="500234"/>
                        <a:pt x="3400128" y="500516"/>
                      </a:cubicBezTo>
                      <a:cubicBezTo>
                        <a:pt x="3414697" y="501019"/>
                        <a:pt x="3427240" y="507835"/>
                        <a:pt x="3441751" y="504298"/>
                      </a:cubicBezTo>
                      <a:cubicBezTo>
                        <a:pt x="3454423" y="501218"/>
                        <a:pt x="3468102" y="501160"/>
                        <a:pt x="3480469" y="502940"/>
                      </a:cubicBezTo>
                      <a:cubicBezTo>
                        <a:pt x="3473724" y="509451"/>
                        <a:pt x="3489206" y="510494"/>
                        <a:pt x="3493059" y="510810"/>
                      </a:cubicBezTo>
                      <a:cubicBezTo>
                        <a:pt x="3502792" y="511618"/>
                        <a:pt x="3510978" y="517204"/>
                        <a:pt x="3520558" y="516549"/>
                      </a:cubicBezTo>
                      <a:cubicBezTo>
                        <a:pt x="3515077" y="513867"/>
                        <a:pt x="3508120" y="511688"/>
                        <a:pt x="3503237" y="508069"/>
                      </a:cubicBezTo>
                      <a:cubicBezTo>
                        <a:pt x="3500449" y="506008"/>
                        <a:pt x="3495905" y="505235"/>
                        <a:pt x="3501351" y="504345"/>
                      </a:cubicBezTo>
                      <a:cubicBezTo>
                        <a:pt x="3510814" y="502799"/>
                        <a:pt x="3522795" y="516947"/>
                        <a:pt x="3532094" y="510107"/>
                      </a:cubicBezTo>
                      <a:cubicBezTo>
                        <a:pt x="3524469" y="507683"/>
                        <a:pt x="3510556" y="505423"/>
                        <a:pt x="3504818" y="500832"/>
                      </a:cubicBezTo>
                      <a:cubicBezTo>
                        <a:pt x="3506211" y="500586"/>
                        <a:pt x="3507207" y="500258"/>
                        <a:pt x="3508717" y="500211"/>
                      </a:cubicBezTo>
                      <a:cubicBezTo>
                        <a:pt x="3507827" y="499321"/>
                        <a:pt x="3507359" y="498279"/>
                        <a:pt x="3506598" y="497435"/>
                      </a:cubicBezTo>
                      <a:cubicBezTo>
                        <a:pt x="3515124" y="495070"/>
                        <a:pt x="3522244" y="499227"/>
                        <a:pt x="3527901" y="501851"/>
                      </a:cubicBezTo>
                      <a:cubicBezTo>
                        <a:pt x="3533476" y="504439"/>
                        <a:pt x="3539648" y="508831"/>
                        <a:pt x="3546487" y="505997"/>
                      </a:cubicBezTo>
                      <a:cubicBezTo>
                        <a:pt x="3547073" y="505751"/>
                        <a:pt x="3550516" y="502296"/>
                        <a:pt x="3550844" y="501827"/>
                      </a:cubicBezTo>
                      <a:cubicBezTo>
                        <a:pt x="3552893" y="498852"/>
                        <a:pt x="3549907" y="499204"/>
                        <a:pt x="3550961" y="497084"/>
                      </a:cubicBezTo>
                      <a:cubicBezTo>
                        <a:pt x="3552636" y="493711"/>
                        <a:pt x="3555751" y="486755"/>
                        <a:pt x="3558456" y="492060"/>
                      </a:cubicBezTo>
                      <a:cubicBezTo>
                        <a:pt x="3560412" y="486825"/>
                        <a:pt x="3547647" y="481555"/>
                        <a:pt x="3563082" y="479669"/>
                      </a:cubicBezTo>
                      <a:cubicBezTo>
                        <a:pt x="3560436" y="483979"/>
                        <a:pt x="3565272" y="484389"/>
                        <a:pt x="3569172" y="482386"/>
                      </a:cubicBezTo>
                      <a:cubicBezTo>
                        <a:pt x="3568224" y="481953"/>
                        <a:pt x="3567264" y="481519"/>
                        <a:pt x="3566315" y="481086"/>
                      </a:cubicBezTo>
                      <a:cubicBezTo>
                        <a:pt x="3567404" y="480395"/>
                        <a:pt x="3568165" y="479739"/>
                        <a:pt x="3569524" y="479048"/>
                      </a:cubicBezTo>
                      <a:cubicBezTo>
                        <a:pt x="3565741" y="476214"/>
                        <a:pt x="3561349" y="478334"/>
                        <a:pt x="3559545" y="473591"/>
                      </a:cubicBezTo>
                      <a:cubicBezTo>
                        <a:pt x="3563492" y="471096"/>
                        <a:pt x="3556629" y="472174"/>
                        <a:pt x="3554978" y="469796"/>
                      </a:cubicBezTo>
                      <a:cubicBezTo>
                        <a:pt x="3552144" y="465697"/>
                        <a:pt x="3550949" y="463085"/>
                        <a:pt x="3556079" y="460240"/>
                      </a:cubicBezTo>
                      <a:cubicBezTo>
                        <a:pt x="3552355" y="460064"/>
                        <a:pt x="3548783" y="461176"/>
                        <a:pt x="3545913" y="458448"/>
                      </a:cubicBezTo>
                      <a:cubicBezTo>
                        <a:pt x="3549907" y="457932"/>
                        <a:pt x="3551910" y="456246"/>
                        <a:pt x="3548091" y="453587"/>
                      </a:cubicBezTo>
                      <a:cubicBezTo>
                        <a:pt x="3551008" y="451983"/>
                        <a:pt x="3553690" y="453365"/>
                        <a:pt x="3555259" y="456082"/>
                      </a:cubicBezTo>
                      <a:cubicBezTo>
                        <a:pt x="3555716" y="454396"/>
                        <a:pt x="3540737" y="438421"/>
                        <a:pt x="3553819" y="443281"/>
                      </a:cubicBezTo>
                      <a:cubicBezTo>
                        <a:pt x="3552800" y="442321"/>
                        <a:pt x="3552015" y="440717"/>
                        <a:pt x="3550926" y="439768"/>
                      </a:cubicBezTo>
                      <a:cubicBezTo>
                        <a:pt x="3552788" y="440681"/>
                        <a:pt x="3554826" y="440576"/>
                        <a:pt x="3556665" y="441138"/>
                      </a:cubicBezTo>
                      <a:cubicBezTo>
                        <a:pt x="3554791" y="438690"/>
                        <a:pt x="3554146" y="435833"/>
                        <a:pt x="3553819" y="432858"/>
                      </a:cubicBezTo>
                      <a:cubicBezTo>
                        <a:pt x="3558398" y="431792"/>
                        <a:pt x="3564160" y="425011"/>
                        <a:pt x="3567345" y="429427"/>
                      </a:cubicBezTo>
                      <a:cubicBezTo>
                        <a:pt x="3566490" y="430153"/>
                        <a:pt x="3565378" y="430785"/>
                        <a:pt x="3564499" y="431488"/>
                      </a:cubicBezTo>
                      <a:cubicBezTo>
                        <a:pt x="3564464" y="433280"/>
                        <a:pt x="3564710" y="432179"/>
                        <a:pt x="3563832" y="434814"/>
                      </a:cubicBezTo>
                      <a:cubicBezTo>
                        <a:pt x="3565495" y="434767"/>
                        <a:pt x="3567310" y="435681"/>
                        <a:pt x="3568798" y="435634"/>
                      </a:cubicBezTo>
                      <a:cubicBezTo>
                        <a:pt x="3567825" y="436231"/>
                        <a:pt x="3566924" y="437098"/>
                        <a:pt x="3565928" y="437695"/>
                      </a:cubicBezTo>
                      <a:cubicBezTo>
                        <a:pt x="3569981" y="440131"/>
                        <a:pt x="3585791" y="436395"/>
                        <a:pt x="3586060" y="434369"/>
                      </a:cubicBezTo>
                      <a:cubicBezTo>
                        <a:pt x="3585920" y="435364"/>
                        <a:pt x="3581914" y="429403"/>
                        <a:pt x="3581751" y="429040"/>
                      </a:cubicBezTo>
                      <a:cubicBezTo>
                        <a:pt x="3580193" y="425702"/>
                        <a:pt x="3584432" y="424812"/>
                        <a:pt x="3580263" y="421732"/>
                      </a:cubicBezTo>
                      <a:cubicBezTo>
                        <a:pt x="3584596" y="420795"/>
                        <a:pt x="3586787" y="424192"/>
                        <a:pt x="3589562" y="426639"/>
                      </a:cubicBezTo>
                      <a:cubicBezTo>
                        <a:pt x="3588543" y="427389"/>
                        <a:pt x="3587606" y="429356"/>
                        <a:pt x="3586330" y="430024"/>
                      </a:cubicBezTo>
                      <a:cubicBezTo>
                        <a:pt x="3595148" y="433889"/>
                        <a:pt x="3601930" y="415267"/>
                        <a:pt x="3607785" y="419718"/>
                      </a:cubicBezTo>
                      <a:cubicBezTo>
                        <a:pt x="3607118" y="419718"/>
                        <a:pt x="3606532" y="419940"/>
                        <a:pt x="3606017" y="420350"/>
                      </a:cubicBezTo>
                      <a:cubicBezTo>
                        <a:pt x="3617096" y="418031"/>
                        <a:pt x="3621125" y="430773"/>
                        <a:pt x="3631361" y="426639"/>
                      </a:cubicBezTo>
                      <a:cubicBezTo>
                        <a:pt x="3631208" y="427553"/>
                        <a:pt x="3630717" y="427939"/>
                        <a:pt x="3630295" y="428654"/>
                      </a:cubicBezTo>
                      <a:cubicBezTo>
                        <a:pt x="3633937" y="430188"/>
                        <a:pt x="3634511" y="432776"/>
                        <a:pt x="3637814" y="431476"/>
                      </a:cubicBezTo>
                      <a:cubicBezTo>
                        <a:pt x="3637626" y="433198"/>
                        <a:pt x="3638481" y="434580"/>
                        <a:pt x="3638165" y="436360"/>
                      </a:cubicBezTo>
                      <a:cubicBezTo>
                        <a:pt x="3642873" y="434931"/>
                        <a:pt x="3641796" y="430422"/>
                        <a:pt x="3646035" y="428642"/>
                      </a:cubicBezTo>
                      <a:cubicBezTo>
                        <a:pt x="3646187" y="431933"/>
                        <a:pt x="3646972" y="434135"/>
                        <a:pt x="3649947" y="434228"/>
                      </a:cubicBezTo>
                      <a:cubicBezTo>
                        <a:pt x="3649654" y="435294"/>
                        <a:pt x="3648623" y="436032"/>
                        <a:pt x="3648155" y="436981"/>
                      </a:cubicBezTo>
                      <a:cubicBezTo>
                        <a:pt x="3647886" y="436746"/>
                        <a:pt x="3650392" y="438421"/>
                        <a:pt x="3650041" y="437531"/>
                      </a:cubicBezTo>
                      <a:cubicBezTo>
                        <a:pt x="3647288" y="440283"/>
                        <a:pt x="3646902" y="444991"/>
                        <a:pt x="3651024" y="442485"/>
                      </a:cubicBezTo>
                      <a:cubicBezTo>
                        <a:pt x="3652781" y="446643"/>
                        <a:pt x="3656587" y="445284"/>
                        <a:pt x="3657911" y="440904"/>
                      </a:cubicBezTo>
                      <a:cubicBezTo>
                        <a:pt x="3659386" y="445600"/>
                        <a:pt x="3664902" y="439873"/>
                        <a:pt x="3662502" y="444616"/>
                      </a:cubicBezTo>
                      <a:cubicBezTo>
                        <a:pt x="3665933" y="444581"/>
                        <a:pt x="3669856" y="444499"/>
                        <a:pt x="3672878" y="446678"/>
                      </a:cubicBezTo>
                      <a:cubicBezTo>
                        <a:pt x="3672855" y="446900"/>
                        <a:pt x="3671508" y="448587"/>
                        <a:pt x="3671391" y="448739"/>
                      </a:cubicBezTo>
                      <a:cubicBezTo>
                        <a:pt x="3671871" y="449242"/>
                        <a:pt x="3672913" y="447931"/>
                        <a:pt x="3672503" y="449430"/>
                      </a:cubicBezTo>
                      <a:cubicBezTo>
                        <a:pt x="3665664" y="450753"/>
                        <a:pt x="3665757" y="454641"/>
                        <a:pt x="3668217" y="458413"/>
                      </a:cubicBezTo>
                      <a:cubicBezTo>
                        <a:pt x="3672316" y="457452"/>
                        <a:pt x="3671028" y="457230"/>
                        <a:pt x="3670372" y="454302"/>
                      </a:cubicBezTo>
                      <a:cubicBezTo>
                        <a:pt x="3676181" y="451784"/>
                        <a:pt x="3679483" y="454513"/>
                        <a:pt x="3684613" y="453213"/>
                      </a:cubicBezTo>
                      <a:cubicBezTo>
                        <a:pt x="3683618" y="452487"/>
                        <a:pt x="3682903" y="450882"/>
                        <a:pt x="3681451" y="450109"/>
                      </a:cubicBezTo>
                      <a:cubicBezTo>
                        <a:pt x="3683067" y="449453"/>
                        <a:pt x="3687634" y="444406"/>
                        <a:pt x="3688688" y="445214"/>
                      </a:cubicBezTo>
                      <a:cubicBezTo>
                        <a:pt x="3691546" y="447369"/>
                        <a:pt x="3688618" y="453505"/>
                        <a:pt x="3686463" y="455672"/>
                      </a:cubicBezTo>
                      <a:cubicBezTo>
                        <a:pt x="3691991" y="457265"/>
                        <a:pt x="3691476" y="449887"/>
                        <a:pt x="3693713" y="447661"/>
                      </a:cubicBezTo>
                      <a:cubicBezTo>
                        <a:pt x="3699815" y="441583"/>
                        <a:pt x="3706548" y="443457"/>
                        <a:pt x="3712170" y="448001"/>
                      </a:cubicBezTo>
                      <a:cubicBezTo>
                        <a:pt x="3711222" y="451292"/>
                        <a:pt x="3711561" y="454255"/>
                        <a:pt x="3708211" y="456304"/>
                      </a:cubicBezTo>
                      <a:cubicBezTo>
                        <a:pt x="3705729" y="453435"/>
                        <a:pt x="3700787" y="452639"/>
                        <a:pt x="3698960" y="455672"/>
                      </a:cubicBezTo>
                      <a:cubicBezTo>
                        <a:pt x="3704440" y="456164"/>
                        <a:pt x="3705729" y="460685"/>
                        <a:pt x="3699311" y="461153"/>
                      </a:cubicBezTo>
                      <a:cubicBezTo>
                        <a:pt x="3703831" y="461399"/>
                        <a:pt x="3715402" y="454759"/>
                        <a:pt x="3713599" y="461844"/>
                      </a:cubicBezTo>
                      <a:cubicBezTo>
                        <a:pt x="3722664" y="461130"/>
                        <a:pt x="3720637" y="470979"/>
                        <a:pt x="3720544" y="476003"/>
                      </a:cubicBezTo>
                      <a:cubicBezTo>
                        <a:pt x="3724502" y="467653"/>
                        <a:pt x="3726657" y="470230"/>
                        <a:pt x="3720415" y="461153"/>
                      </a:cubicBezTo>
                      <a:cubicBezTo>
                        <a:pt x="3726341" y="462722"/>
                        <a:pt x="3725404" y="456000"/>
                        <a:pt x="3731084" y="456632"/>
                      </a:cubicBezTo>
                      <a:cubicBezTo>
                        <a:pt x="3731799" y="456714"/>
                        <a:pt x="3731365" y="460685"/>
                        <a:pt x="3733087" y="460977"/>
                      </a:cubicBezTo>
                      <a:cubicBezTo>
                        <a:pt x="3734539" y="461223"/>
                        <a:pt x="3734516" y="458424"/>
                        <a:pt x="3735019" y="458413"/>
                      </a:cubicBezTo>
                      <a:cubicBezTo>
                        <a:pt x="3735745" y="458389"/>
                        <a:pt x="3732443" y="452170"/>
                        <a:pt x="3739680" y="456293"/>
                      </a:cubicBezTo>
                      <a:cubicBezTo>
                        <a:pt x="3737690" y="452393"/>
                        <a:pt x="3741039" y="447041"/>
                        <a:pt x="3734352" y="447357"/>
                      </a:cubicBezTo>
                      <a:cubicBezTo>
                        <a:pt x="3741835" y="440061"/>
                        <a:pt x="3754425" y="446865"/>
                        <a:pt x="3762553" y="448727"/>
                      </a:cubicBezTo>
                      <a:cubicBezTo>
                        <a:pt x="3772672" y="451034"/>
                        <a:pt x="3784090" y="451093"/>
                        <a:pt x="3794713" y="452159"/>
                      </a:cubicBezTo>
                      <a:cubicBezTo>
                        <a:pt x="3793097" y="453189"/>
                        <a:pt x="3792347" y="454841"/>
                        <a:pt x="3790122" y="455660"/>
                      </a:cubicBezTo>
                      <a:cubicBezTo>
                        <a:pt x="3800241" y="458190"/>
                        <a:pt x="3800030" y="458038"/>
                        <a:pt x="3793284" y="464585"/>
                      </a:cubicBezTo>
                      <a:cubicBezTo>
                        <a:pt x="3800955" y="463683"/>
                        <a:pt x="3807736" y="464538"/>
                        <a:pt x="3814400" y="463894"/>
                      </a:cubicBezTo>
                      <a:cubicBezTo>
                        <a:pt x="3811109" y="467056"/>
                        <a:pt x="3811742" y="470440"/>
                        <a:pt x="3807607" y="472794"/>
                      </a:cubicBezTo>
                      <a:cubicBezTo>
                        <a:pt x="3811250" y="471975"/>
                        <a:pt x="3813030" y="474118"/>
                        <a:pt x="3815735" y="474235"/>
                      </a:cubicBezTo>
                      <a:cubicBezTo>
                        <a:pt x="3818605" y="474352"/>
                        <a:pt x="3821146" y="473122"/>
                        <a:pt x="3824577" y="473029"/>
                      </a:cubicBezTo>
                      <a:cubicBezTo>
                        <a:pt x="3831054" y="472841"/>
                        <a:pt x="3835352" y="477713"/>
                        <a:pt x="3841934" y="477643"/>
                      </a:cubicBezTo>
                      <a:cubicBezTo>
                        <a:pt x="3841020" y="478580"/>
                        <a:pt x="3840611" y="479564"/>
                        <a:pt x="3839416" y="480383"/>
                      </a:cubicBezTo>
                      <a:cubicBezTo>
                        <a:pt x="3846829" y="477666"/>
                        <a:pt x="3848188" y="485829"/>
                        <a:pt x="3839732" y="483791"/>
                      </a:cubicBezTo>
                      <a:cubicBezTo>
                        <a:pt x="3841606" y="487609"/>
                        <a:pt x="3838374" y="489788"/>
                        <a:pt x="3835902" y="492247"/>
                      </a:cubicBezTo>
                      <a:cubicBezTo>
                        <a:pt x="3840142" y="492809"/>
                        <a:pt x="3842332" y="488324"/>
                        <a:pt x="3846396" y="487235"/>
                      </a:cubicBezTo>
                      <a:cubicBezTo>
                        <a:pt x="3851525" y="485853"/>
                        <a:pt x="3855707" y="487844"/>
                        <a:pt x="3860333" y="490104"/>
                      </a:cubicBezTo>
                      <a:cubicBezTo>
                        <a:pt x="3873297" y="496440"/>
                        <a:pt x="3876553" y="505950"/>
                        <a:pt x="3859466" y="503069"/>
                      </a:cubicBezTo>
                      <a:cubicBezTo>
                        <a:pt x="3847391" y="501043"/>
                        <a:pt x="3838737" y="502026"/>
                        <a:pt x="3827365" y="505329"/>
                      </a:cubicBezTo>
                      <a:cubicBezTo>
                        <a:pt x="3822247" y="506805"/>
                        <a:pt x="3812409" y="505622"/>
                        <a:pt x="3808544" y="509768"/>
                      </a:cubicBezTo>
                      <a:cubicBezTo>
                        <a:pt x="3804328" y="514300"/>
                        <a:pt x="3810641" y="517087"/>
                        <a:pt x="3802091" y="520542"/>
                      </a:cubicBezTo>
                      <a:cubicBezTo>
                        <a:pt x="3814213" y="519746"/>
                        <a:pt x="3824847" y="521432"/>
                        <a:pt x="3836910" y="523271"/>
                      </a:cubicBezTo>
                      <a:cubicBezTo>
                        <a:pt x="3846045" y="524665"/>
                        <a:pt x="3858142" y="524173"/>
                        <a:pt x="3866200" y="528764"/>
                      </a:cubicBezTo>
                      <a:cubicBezTo>
                        <a:pt x="3862897" y="528647"/>
                        <a:pt x="3859735" y="529666"/>
                        <a:pt x="3857627" y="532137"/>
                      </a:cubicBezTo>
                      <a:cubicBezTo>
                        <a:pt x="3857873" y="532418"/>
                        <a:pt x="3858904" y="532359"/>
                        <a:pt x="3859091" y="532816"/>
                      </a:cubicBezTo>
                      <a:cubicBezTo>
                        <a:pt x="3847473" y="535381"/>
                        <a:pt x="3831464" y="525051"/>
                        <a:pt x="3821919" y="527417"/>
                      </a:cubicBezTo>
                      <a:cubicBezTo>
                        <a:pt x="3819003" y="528143"/>
                        <a:pt x="3818897" y="530450"/>
                        <a:pt x="3815501" y="531750"/>
                      </a:cubicBezTo>
                      <a:cubicBezTo>
                        <a:pt x="3809610" y="533999"/>
                        <a:pt x="3796798" y="533659"/>
                        <a:pt x="3790427" y="532324"/>
                      </a:cubicBezTo>
                      <a:cubicBezTo>
                        <a:pt x="3797828" y="540979"/>
                        <a:pt x="3816297" y="547455"/>
                        <a:pt x="3826943" y="550383"/>
                      </a:cubicBezTo>
                      <a:cubicBezTo>
                        <a:pt x="3832717" y="551976"/>
                        <a:pt x="3866235" y="548591"/>
                        <a:pt x="3860145" y="557106"/>
                      </a:cubicBezTo>
                      <a:cubicBezTo>
                        <a:pt x="3865041" y="557434"/>
                        <a:pt x="3869257" y="560186"/>
                        <a:pt x="3873040" y="563137"/>
                      </a:cubicBezTo>
                      <a:cubicBezTo>
                        <a:pt x="3872583" y="563231"/>
                        <a:pt x="3872220" y="563477"/>
                        <a:pt x="3871927" y="563863"/>
                      </a:cubicBezTo>
                      <a:cubicBezTo>
                        <a:pt x="3877057" y="568958"/>
                        <a:pt x="3864795" y="564296"/>
                        <a:pt x="3865123" y="569930"/>
                      </a:cubicBezTo>
                      <a:cubicBezTo>
                        <a:pt x="3865380" y="574169"/>
                        <a:pt x="3874047" y="572495"/>
                        <a:pt x="3876951" y="575235"/>
                      </a:cubicBezTo>
                      <a:cubicBezTo>
                        <a:pt x="3871740" y="577870"/>
                        <a:pt x="3865626" y="581337"/>
                        <a:pt x="3860145" y="584639"/>
                      </a:cubicBezTo>
                      <a:cubicBezTo>
                        <a:pt x="3864233" y="584956"/>
                        <a:pt x="3870053" y="582555"/>
                        <a:pt x="3873040" y="585307"/>
                      </a:cubicBezTo>
                      <a:cubicBezTo>
                        <a:pt x="3867102" y="586431"/>
                        <a:pt x="3862546" y="588059"/>
                        <a:pt x="3856573" y="588575"/>
                      </a:cubicBezTo>
                      <a:cubicBezTo>
                        <a:pt x="3853037" y="588879"/>
                        <a:pt x="3847380" y="591795"/>
                        <a:pt x="3843550" y="590366"/>
                      </a:cubicBezTo>
                      <a:cubicBezTo>
                        <a:pt x="3839404" y="588809"/>
                        <a:pt x="3836090" y="584042"/>
                        <a:pt x="3831452" y="581993"/>
                      </a:cubicBezTo>
                      <a:cubicBezTo>
                        <a:pt x="3827458" y="580224"/>
                        <a:pt x="3815384" y="577507"/>
                        <a:pt x="3825069" y="573970"/>
                      </a:cubicBezTo>
                      <a:cubicBezTo>
                        <a:pt x="3818300" y="569450"/>
                        <a:pt x="3809142" y="569660"/>
                        <a:pt x="3801951" y="565936"/>
                      </a:cubicBezTo>
                      <a:cubicBezTo>
                        <a:pt x="3793085" y="561333"/>
                        <a:pt x="3788928" y="552796"/>
                        <a:pt x="3777919" y="555689"/>
                      </a:cubicBezTo>
                      <a:cubicBezTo>
                        <a:pt x="3781748" y="558605"/>
                        <a:pt x="3784840" y="561931"/>
                        <a:pt x="3788295" y="565269"/>
                      </a:cubicBezTo>
                      <a:cubicBezTo>
                        <a:pt x="3785976" y="565737"/>
                        <a:pt x="3785379" y="566732"/>
                        <a:pt x="3782182" y="565936"/>
                      </a:cubicBezTo>
                      <a:cubicBezTo>
                        <a:pt x="3785332" y="569403"/>
                        <a:pt x="3795966" y="572541"/>
                        <a:pt x="3800721" y="574919"/>
                      </a:cubicBezTo>
                      <a:cubicBezTo>
                        <a:pt x="3806624" y="577847"/>
                        <a:pt x="3809669" y="579557"/>
                        <a:pt x="3814142" y="584780"/>
                      </a:cubicBezTo>
                      <a:cubicBezTo>
                        <a:pt x="3818394" y="589711"/>
                        <a:pt x="3817433" y="591104"/>
                        <a:pt x="3819846" y="595543"/>
                      </a:cubicBezTo>
                      <a:cubicBezTo>
                        <a:pt x="3821696" y="598986"/>
                        <a:pt x="3826158" y="598986"/>
                        <a:pt x="3828302" y="602008"/>
                      </a:cubicBezTo>
                      <a:cubicBezTo>
                        <a:pt x="3830211" y="604690"/>
                        <a:pt x="3828653" y="608917"/>
                        <a:pt x="3830035" y="611096"/>
                      </a:cubicBezTo>
                      <a:cubicBezTo>
                        <a:pt x="3831124" y="612817"/>
                        <a:pt x="3835504" y="614375"/>
                        <a:pt x="3837249" y="615886"/>
                      </a:cubicBezTo>
                      <a:cubicBezTo>
                        <a:pt x="3840154" y="618404"/>
                        <a:pt x="3841079" y="622468"/>
                        <a:pt x="3845096" y="623018"/>
                      </a:cubicBezTo>
                      <a:cubicBezTo>
                        <a:pt x="3845471" y="623065"/>
                        <a:pt x="3854500" y="619036"/>
                        <a:pt x="3854793" y="618743"/>
                      </a:cubicBezTo>
                      <a:cubicBezTo>
                        <a:pt x="3858939" y="614492"/>
                        <a:pt x="3856280" y="614352"/>
                        <a:pt x="3855004" y="610182"/>
                      </a:cubicBezTo>
                      <a:cubicBezTo>
                        <a:pt x="3853587" y="605603"/>
                        <a:pt x="3850343" y="600509"/>
                        <a:pt x="3848867" y="596023"/>
                      </a:cubicBezTo>
                      <a:cubicBezTo>
                        <a:pt x="3853997" y="597592"/>
                        <a:pt x="3860391" y="607313"/>
                        <a:pt x="3863307" y="611529"/>
                      </a:cubicBezTo>
                      <a:cubicBezTo>
                        <a:pt x="3864080" y="612653"/>
                        <a:pt x="3862980" y="615406"/>
                        <a:pt x="3864221" y="617139"/>
                      </a:cubicBezTo>
                      <a:cubicBezTo>
                        <a:pt x="3866036" y="619680"/>
                        <a:pt x="3873122" y="622678"/>
                        <a:pt x="3875874" y="624669"/>
                      </a:cubicBezTo>
                      <a:cubicBezTo>
                        <a:pt x="3872231" y="625653"/>
                        <a:pt x="3870299" y="622936"/>
                        <a:pt x="3866786" y="622421"/>
                      </a:cubicBezTo>
                      <a:cubicBezTo>
                        <a:pt x="3862042" y="621706"/>
                        <a:pt x="3861621" y="622362"/>
                        <a:pt x="3856655" y="623662"/>
                      </a:cubicBezTo>
                      <a:cubicBezTo>
                        <a:pt x="3852416" y="624787"/>
                        <a:pt x="3839978" y="624306"/>
                        <a:pt x="3838409" y="629940"/>
                      </a:cubicBezTo>
                      <a:cubicBezTo>
                        <a:pt x="3835047" y="642085"/>
                        <a:pt x="3851584" y="634062"/>
                        <a:pt x="3855109" y="635304"/>
                      </a:cubicBezTo>
                      <a:cubicBezTo>
                        <a:pt x="3858635" y="636533"/>
                        <a:pt x="3859325" y="642085"/>
                        <a:pt x="3860497" y="644122"/>
                      </a:cubicBezTo>
                      <a:cubicBezTo>
                        <a:pt x="3861878" y="646558"/>
                        <a:pt x="3863905" y="650763"/>
                        <a:pt x="3865849" y="654546"/>
                      </a:cubicBezTo>
                      <a:cubicBezTo>
                        <a:pt x="3870686" y="663962"/>
                        <a:pt x="3871681" y="662006"/>
                        <a:pt x="3879750" y="668096"/>
                      </a:cubicBezTo>
                      <a:cubicBezTo>
                        <a:pt x="3886742" y="673378"/>
                        <a:pt x="3889037" y="682466"/>
                        <a:pt x="3880196" y="685874"/>
                      </a:cubicBezTo>
                      <a:cubicBezTo>
                        <a:pt x="3885688" y="684855"/>
                        <a:pt x="3891462" y="682325"/>
                        <a:pt x="3896592" y="685218"/>
                      </a:cubicBezTo>
                      <a:cubicBezTo>
                        <a:pt x="3896182" y="686014"/>
                        <a:pt x="3895924" y="686951"/>
                        <a:pt x="3895538" y="687830"/>
                      </a:cubicBezTo>
                      <a:cubicBezTo>
                        <a:pt x="3901089" y="685792"/>
                        <a:pt x="3903302" y="685382"/>
                        <a:pt x="3907636" y="689095"/>
                      </a:cubicBezTo>
                      <a:cubicBezTo>
                        <a:pt x="3909345" y="690559"/>
                        <a:pt x="3912917" y="695735"/>
                        <a:pt x="3908409" y="697047"/>
                      </a:cubicBezTo>
                      <a:cubicBezTo>
                        <a:pt x="3913046" y="699131"/>
                        <a:pt x="3918902" y="698885"/>
                        <a:pt x="3923188" y="700923"/>
                      </a:cubicBezTo>
                      <a:cubicBezTo>
                        <a:pt x="3924722" y="701649"/>
                        <a:pt x="3925121" y="704647"/>
                        <a:pt x="3925578" y="704835"/>
                      </a:cubicBezTo>
                      <a:cubicBezTo>
                        <a:pt x="3933073" y="707950"/>
                        <a:pt x="3933073" y="706310"/>
                        <a:pt x="3937043" y="701813"/>
                      </a:cubicBezTo>
                      <a:cubicBezTo>
                        <a:pt x="3940100" y="698358"/>
                        <a:pt x="3936188" y="694142"/>
                        <a:pt x="3941564" y="699436"/>
                      </a:cubicBezTo>
                      <a:cubicBezTo>
                        <a:pt x="3945007" y="702820"/>
                        <a:pt x="3944258" y="710374"/>
                        <a:pt x="3946073" y="713478"/>
                      </a:cubicBezTo>
                      <a:cubicBezTo>
                        <a:pt x="3948427" y="717495"/>
                        <a:pt x="3951483" y="719908"/>
                        <a:pt x="3958873" y="718947"/>
                      </a:cubicBezTo>
                      <a:cubicBezTo>
                        <a:pt x="3967411" y="717835"/>
                        <a:pt x="3976195" y="710175"/>
                        <a:pt x="3981207" y="703547"/>
                      </a:cubicBezTo>
                      <a:cubicBezTo>
                        <a:pt x="3984217" y="699565"/>
                        <a:pt x="3986454" y="694775"/>
                        <a:pt x="3988445" y="690254"/>
                      </a:cubicBezTo>
                      <a:cubicBezTo>
                        <a:pt x="3989218" y="688474"/>
                        <a:pt x="3990951" y="682431"/>
                        <a:pt x="3991396" y="681857"/>
                      </a:cubicBezTo>
                      <a:cubicBezTo>
                        <a:pt x="3993469" y="679233"/>
                        <a:pt x="4000684" y="680159"/>
                        <a:pt x="3994968" y="676692"/>
                      </a:cubicBezTo>
                      <a:cubicBezTo>
                        <a:pt x="3998002" y="669712"/>
                        <a:pt x="4008003" y="672757"/>
                        <a:pt x="4013824" y="673483"/>
                      </a:cubicBezTo>
                      <a:cubicBezTo>
                        <a:pt x="4010345" y="670637"/>
                        <a:pt x="4002639" y="672007"/>
                        <a:pt x="4001070" y="667944"/>
                      </a:cubicBezTo>
                      <a:cubicBezTo>
                        <a:pt x="4000004" y="665191"/>
                        <a:pt x="4005192" y="658645"/>
                        <a:pt x="4006130" y="656068"/>
                      </a:cubicBezTo>
                      <a:cubicBezTo>
                        <a:pt x="4009502" y="646886"/>
                        <a:pt x="4012442" y="637810"/>
                        <a:pt x="4017537" y="629132"/>
                      </a:cubicBezTo>
                      <a:cubicBezTo>
                        <a:pt x="4023872" y="618310"/>
                        <a:pt x="4032211" y="605111"/>
                        <a:pt x="4045035" y="602593"/>
                      </a:cubicBezTo>
                      <a:cubicBezTo>
                        <a:pt x="4053210" y="600989"/>
                        <a:pt x="4076645" y="599115"/>
                        <a:pt x="4074642" y="613918"/>
                      </a:cubicBezTo>
                      <a:cubicBezTo>
                        <a:pt x="4072335" y="608379"/>
                        <a:pt x="4054744" y="594594"/>
                        <a:pt x="4052648" y="606423"/>
                      </a:cubicBezTo>
                      <a:cubicBezTo>
                        <a:pt x="4046124" y="603788"/>
                        <a:pt x="4042353" y="608906"/>
                        <a:pt x="4046429" y="614164"/>
                      </a:cubicBezTo>
                      <a:cubicBezTo>
                        <a:pt x="4041381" y="613801"/>
                        <a:pt x="4040245" y="617104"/>
                        <a:pt x="4042564" y="620383"/>
                      </a:cubicBezTo>
                      <a:cubicBezTo>
                        <a:pt x="4044145" y="622632"/>
                        <a:pt x="4049837" y="622444"/>
                        <a:pt x="4052261" y="624014"/>
                      </a:cubicBezTo>
                      <a:cubicBezTo>
                        <a:pt x="4055599" y="626180"/>
                        <a:pt x="4056618" y="627398"/>
                        <a:pt x="4059042" y="630982"/>
                      </a:cubicBezTo>
                      <a:cubicBezTo>
                        <a:pt x="4065589" y="640656"/>
                        <a:pt x="4075415" y="646886"/>
                        <a:pt x="4087068" y="650974"/>
                      </a:cubicBezTo>
                      <a:cubicBezTo>
                        <a:pt x="4101567" y="656056"/>
                        <a:pt x="4117541" y="660132"/>
                        <a:pt x="4133153" y="658071"/>
                      </a:cubicBezTo>
                      <a:cubicBezTo>
                        <a:pt x="4136830" y="657579"/>
                        <a:pt x="4142206" y="651852"/>
                        <a:pt x="4145848" y="658364"/>
                      </a:cubicBezTo>
                      <a:cubicBezTo>
                        <a:pt x="4148401" y="662954"/>
                        <a:pt x="4140742" y="663130"/>
                        <a:pt x="4143225" y="668834"/>
                      </a:cubicBezTo>
                      <a:cubicBezTo>
                        <a:pt x="4144314" y="661701"/>
                        <a:pt x="4151165" y="660226"/>
                        <a:pt x="4144677" y="653761"/>
                      </a:cubicBezTo>
                      <a:cubicBezTo>
                        <a:pt x="4150146" y="654604"/>
                        <a:pt x="4148506" y="650107"/>
                        <a:pt x="4151739" y="647390"/>
                      </a:cubicBezTo>
                      <a:cubicBezTo>
                        <a:pt x="4154327" y="645188"/>
                        <a:pt x="4161026" y="643654"/>
                        <a:pt x="4163825" y="642729"/>
                      </a:cubicBezTo>
                      <a:cubicBezTo>
                        <a:pt x="4164551" y="642483"/>
                        <a:pt x="4165969" y="644438"/>
                        <a:pt x="4167315" y="644239"/>
                      </a:cubicBezTo>
                      <a:cubicBezTo>
                        <a:pt x="4168650" y="644029"/>
                        <a:pt x="4169025" y="641312"/>
                        <a:pt x="4170489" y="641347"/>
                      </a:cubicBezTo>
                      <a:cubicBezTo>
                        <a:pt x="4174694" y="641440"/>
                        <a:pt x="4178055" y="643841"/>
                        <a:pt x="4182587" y="643197"/>
                      </a:cubicBezTo>
                      <a:cubicBezTo>
                        <a:pt x="4180807" y="641792"/>
                        <a:pt x="4181123" y="640866"/>
                        <a:pt x="4178289" y="639848"/>
                      </a:cubicBezTo>
                      <a:cubicBezTo>
                        <a:pt x="4187974" y="630642"/>
                        <a:pt x="4243171" y="634542"/>
                        <a:pt x="4239412" y="644509"/>
                      </a:cubicBezTo>
                      <a:cubicBezTo>
                        <a:pt x="4241367" y="647156"/>
                        <a:pt x="4241496" y="644064"/>
                        <a:pt x="4241192" y="648444"/>
                      </a:cubicBezTo>
                      <a:cubicBezTo>
                        <a:pt x="4246977" y="643619"/>
                        <a:pt x="4248617" y="642166"/>
                        <a:pt x="4256276" y="646336"/>
                      </a:cubicBezTo>
                      <a:cubicBezTo>
                        <a:pt x="4260047" y="648385"/>
                        <a:pt x="4262671" y="651922"/>
                        <a:pt x="4267262" y="653351"/>
                      </a:cubicBezTo>
                      <a:cubicBezTo>
                        <a:pt x="4270693" y="654417"/>
                        <a:pt x="4281608" y="654393"/>
                        <a:pt x="4277286" y="658937"/>
                      </a:cubicBezTo>
                      <a:cubicBezTo>
                        <a:pt x="4282018" y="658844"/>
                        <a:pt x="4285649" y="661373"/>
                        <a:pt x="4290497" y="660905"/>
                      </a:cubicBezTo>
                      <a:cubicBezTo>
                        <a:pt x="4287991" y="663774"/>
                        <a:pt x="4288413" y="663247"/>
                        <a:pt x="4290134" y="665554"/>
                      </a:cubicBezTo>
                      <a:cubicBezTo>
                        <a:pt x="4288951" y="665753"/>
                        <a:pt x="4287300" y="666854"/>
                        <a:pt x="4285871" y="666866"/>
                      </a:cubicBezTo>
                      <a:cubicBezTo>
                        <a:pt x="4292734" y="669068"/>
                        <a:pt x="4295123" y="674057"/>
                        <a:pt x="4301600" y="666866"/>
                      </a:cubicBezTo>
                      <a:cubicBezTo>
                        <a:pt x="4300979" y="668131"/>
                        <a:pt x="4300663" y="668974"/>
                        <a:pt x="4299820" y="670134"/>
                      </a:cubicBezTo>
                      <a:cubicBezTo>
                        <a:pt x="4300733" y="670145"/>
                        <a:pt x="4302279" y="670075"/>
                        <a:pt x="4303403" y="670134"/>
                      </a:cubicBezTo>
                      <a:cubicBezTo>
                        <a:pt x="4301026" y="675088"/>
                        <a:pt x="4296060" y="672558"/>
                        <a:pt x="4292289" y="673038"/>
                      </a:cubicBezTo>
                      <a:cubicBezTo>
                        <a:pt x="4295322" y="674888"/>
                        <a:pt x="4299292" y="675240"/>
                        <a:pt x="4302560" y="677360"/>
                      </a:cubicBezTo>
                      <a:cubicBezTo>
                        <a:pt x="4304153" y="678379"/>
                        <a:pt x="4304739" y="681751"/>
                        <a:pt x="4305710" y="681997"/>
                      </a:cubicBezTo>
                      <a:cubicBezTo>
                        <a:pt x="4310360" y="683180"/>
                        <a:pt x="4310934" y="678695"/>
                        <a:pt x="4315583" y="680639"/>
                      </a:cubicBezTo>
                      <a:cubicBezTo>
                        <a:pt x="4315349" y="681096"/>
                        <a:pt x="4314236" y="681400"/>
                        <a:pt x="4314131" y="681951"/>
                      </a:cubicBezTo>
                      <a:cubicBezTo>
                        <a:pt x="4316391" y="682630"/>
                        <a:pt x="4318558" y="682314"/>
                        <a:pt x="4320877" y="681295"/>
                      </a:cubicBezTo>
                      <a:cubicBezTo>
                        <a:pt x="4318663" y="677102"/>
                        <a:pt x="4316239" y="675345"/>
                        <a:pt x="4312737" y="674713"/>
                      </a:cubicBezTo>
                      <a:cubicBezTo>
                        <a:pt x="4311718" y="675497"/>
                        <a:pt x="4309891" y="675790"/>
                        <a:pt x="4308779" y="676669"/>
                      </a:cubicBezTo>
                      <a:cubicBezTo>
                        <a:pt x="4308943" y="674080"/>
                        <a:pt x="4306355" y="673272"/>
                        <a:pt x="4303415" y="672160"/>
                      </a:cubicBezTo>
                      <a:cubicBezTo>
                        <a:pt x="4310547" y="666538"/>
                        <a:pt x="4324554" y="677863"/>
                        <a:pt x="4329520" y="667522"/>
                      </a:cubicBezTo>
                      <a:cubicBezTo>
                        <a:pt x="4325503" y="666058"/>
                        <a:pt x="4320982" y="666362"/>
                        <a:pt x="4316626" y="666152"/>
                      </a:cubicBezTo>
                      <a:cubicBezTo>
                        <a:pt x="4322926" y="659066"/>
                        <a:pt x="4330633" y="667416"/>
                        <a:pt x="4335938" y="662943"/>
                      </a:cubicBezTo>
                      <a:cubicBezTo>
                        <a:pt x="4329063" y="659312"/>
                        <a:pt x="4319846" y="664149"/>
                        <a:pt x="4313405" y="659605"/>
                      </a:cubicBezTo>
                      <a:cubicBezTo>
                        <a:pt x="4314002" y="658855"/>
                        <a:pt x="4314576" y="658387"/>
                        <a:pt x="4315220" y="657696"/>
                      </a:cubicBezTo>
                      <a:cubicBezTo>
                        <a:pt x="4312609" y="658820"/>
                        <a:pt x="4309868" y="658926"/>
                        <a:pt x="4308065" y="656384"/>
                      </a:cubicBezTo>
                      <a:cubicBezTo>
                        <a:pt x="4314951" y="655459"/>
                        <a:pt x="4315982" y="648538"/>
                        <a:pt x="4318663" y="644286"/>
                      </a:cubicBezTo>
                      <a:cubicBezTo>
                        <a:pt x="4324273" y="635374"/>
                        <a:pt x="4331745" y="636264"/>
                        <a:pt x="4343094" y="635292"/>
                      </a:cubicBezTo>
                      <a:cubicBezTo>
                        <a:pt x="4339112" y="635901"/>
                        <a:pt x="4335645" y="640176"/>
                        <a:pt x="4340412" y="642366"/>
                      </a:cubicBezTo>
                      <a:cubicBezTo>
                        <a:pt x="4345295" y="644626"/>
                        <a:pt x="4349992" y="639496"/>
                        <a:pt x="4345951" y="635889"/>
                      </a:cubicBezTo>
                      <a:cubicBezTo>
                        <a:pt x="4349957" y="633289"/>
                        <a:pt x="4352498" y="631802"/>
                        <a:pt x="4356937" y="632727"/>
                      </a:cubicBezTo>
                      <a:cubicBezTo>
                        <a:pt x="4357393" y="632821"/>
                        <a:pt x="4369128" y="637576"/>
                        <a:pt x="4369620" y="637974"/>
                      </a:cubicBezTo>
                      <a:cubicBezTo>
                        <a:pt x="4372782" y="640492"/>
                        <a:pt x="4377549" y="651372"/>
                        <a:pt x="4375230" y="653046"/>
                      </a:cubicBezTo>
                      <a:cubicBezTo>
                        <a:pt x="4389026" y="658516"/>
                        <a:pt x="4387035" y="644919"/>
                        <a:pt x="4398630" y="646664"/>
                      </a:cubicBezTo>
                      <a:cubicBezTo>
                        <a:pt x="4400679" y="646968"/>
                        <a:pt x="4403373" y="649638"/>
                        <a:pt x="4404860" y="649627"/>
                      </a:cubicBezTo>
                      <a:cubicBezTo>
                        <a:pt x="4407226" y="649615"/>
                        <a:pt x="4408479" y="647928"/>
                        <a:pt x="4410880" y="647800"/>
                      </a:cubicBezTo>
                      <a:cubicBezTo>
                        <a:pt x="4415002" y="647565"/>
                        <a:pt x="4418844" y="647355"/>
                        <a:pt x="4423048" y="648877"/>
                      </a:cubicBezTo>
                      <a:cubicBezTo>
                        <a:pt x="4421936" y="647120"/>
                        <a:pt x="4422580" y="647331"/>
                        <a:pt x="4420273" y="645821"/>
                      </a:cubicBezTo>
                      <a:cubicBezTo>
                        <a:pt x="4421186" y="643958"/>
                        <a:pt x="4392013" y="615909"/>
                        <a:pt x="4411372" y="611307"/>
                      </a:cubicBezTo>
                      <a:cubicBezTo>
                        <a:pt x="4406980" y="610850"/>
                        <a:pt x="4406149" y="607887"/>
                        <a:pt x="4403010" y="606552"/>
                      </a:cubicBezTo>
                      <a:cubicBezTo>
                        <a:pt x="4397494" y="604221"/>
                        <a:pt x="4392996" y="603835"/>
                        <a:pt x="4386696" y="603354"/>
                      </a:cubicBezTo>
                      <a:cubicBezTo>
                        <a:pt x="4393875" y="596691"/>
                        <a:pt x="4401148" y="607196"/>
                        <a:pt x="4406242" y="595578"/>
                      </a:cubicBezTo>
                      <a:cubicBezTo>
                        <a:pt x="4408139" y="591245"/>
                        <a:pt x="4406511" y="590718"/>
                        <a:pt x="4410552" y="586092"/>
                      </a:cubicBezTo>
                      <a:cubicBezTo>
                        <a:pt x="4414487" y="581583"/>
                        <a:pt x="4413515" y="581676"/>
                        <a:pt x="4418961" y="581431"/>
                      </a:cubicBezTo>
                      <a:cubicBezTo>
                        <a:pt x="4422193" y="581278"/>
                        <a:pt x="4428002" y="586033"/>
                        <a:pt x="4431375" y="581512"/>
                      </a:cubicBezTo>
                      <a:cubicBezTo>
                        <a:pt x="4434959" y="576711"/>
                        <a:pt x="4429103" y="576559"/>
                        <a:pt x="4425871" y="575762"/>
                      </a:cubicBezTo>
                      <a:cubicBezTo>
                        <a:pt x="4416068" y="573350"/>
                        <a:pt x="4399286" y="573010"/>
                        <a:pt x="4391708" y="579931"/>
                      </a:cubicBezTo>
                      <a:cubicBezTo>
                        <a:pt x="4393980" y="580494"/>
                        <a:pt x="4395397" y="581231"/>
                        <a:pt x="4398173" y="580658"/>
                      </a:cubicBezTo>
                      <a:cubicBezTo>
                        <a:pt x="4393840" y="583398"/>
                        <a:pt x="4387199" y="581653"/>
                        <a:pt x="4382550" y="580306"/>
                      </a:cubicBezTo>
                      <a:cubicBezTo>
                        <a:pt x="4384049" y="581899"/>
                        <a:pt x="4384915" y="583738"/>
                        <a:pt x="4387398" y="584663"/>
                      </a:cubicBezTo>
                      <a:cubicBezTo>
                        <a:pt x="4358272" y="584932"/>
                        <a:pt x="4387914" y="551847"/>
                        <a:pt x="4399883" y="548966"/>
                      </a:cubicBezTo>
                      <a:cubicBezTo>
                        <a:pt x="4408280" y="546940"/>
                        <a:pt x="4416080" y="550090"/>
                        <a:pt x="4424243" y="550699"/>
                      </a:cubicBezTo>
                      <a:cubicBezTo>
                        <a:pt x="4431000" y="551203"/>
                        <a:pt x="4438554" y="550114"/>
                        <a:pt x="4445382" y="549505"/>
                      </a:cubicBezTo>
                      <a:cubicBezTo>
                        <a:pt x="4457141" y="548463"/>
                        <a:pt x="4468770" y="544492"/>
                        <a:pt x="4479263" y="540253"/>
                      </a:cubicBezTo>
                      <a:cubicBezTo>
                        <a:pt x="4476055" y="540592"/>
                        <a:pt x="4472752" y="540499"/>
                        <a:pt x="4469964" y="538906"/>
                      </a:cubicBezTo>
                      <a:cubicBezTo>
                        <a:pt x="4485611" y="525121"/>
                        <a:pt x="4444597" y="517357"/>
                        <a:pt x="4453369" y="509873"/>
                      </a:cubicBezTo>
                      <a:cubicBezTo>
                        <a:pt x="4457141" y="506664"/>
                        <a:pt x="4485072" y="511829"/>
                        <a:pt x="4489324" y="513223"/>
                      </a:cubicBezTo>
                      <a:cubicBezTo>
                        <a:pt x="4495062" y="515096"/>
                        <a:pt x="4498377" y="519594"/>
                        <a:pt x="4503752" y="522018"/>
                      </a:cubicBezTo>
                      <a:cubicBezTo>
                        <a:pt x="4509878" y="524770"/>
                        <a:pt x="4518099" y="525496"/>
                        <a:pt x="4524728" y="526656"/>
                      </a:cubicBezTo>
                      <a:cubicBezTo>
                        <a:pt x="4537938" y="528963"/>
                        <a:pt x="4550036" y="527042"/>
                        <a:pt x="4563305" y="527956"/>
                      </a:cubicBezTo>
                      <a:cubicBezTo>
                        <a:pt x="4576844" y="528893"/>
                        <a:pt x="4591647" y="527534"/>
                        <a:pt x="4604846" y="529384"/>
                      </a:cubicBezTo>
                      <a:cubicBezTo>
                        <a:pt x="4632591" y="533273"/>
                        <a:pt x="4660581" y="537629"/>
                        <a:pt x="4688631" y="541342"/>
                      </a:cubicBezTo>
                      <a:cubicBezTo>
                        <a:pt x="4705062" y="543520"/>
                        <a:pt x="4720135" y="549095"/>
                        <a:pt x="4736472" y="551672"/>
                      </a:cubicBezTo>
                      <a:cubicBezTo>
                        <a:pt x="4750385" y="553862"/>
                        <a:pt x="4764697" y="563254"/>
                        <a:pt x="4778845" y="563137"/>
                      </a:cubicBezTo>
                      <a:cubicBezTo>
                        <a:pt x="4778552" y="563641"/>
                        <a:pt x="4778165" y="564097"/>
                        <a:pt x="4777720" y="564472"/>
                      </a:cubicBezTo>
                      <a:cubicBezTo>
                        <a:pt x="4772567" y="568068"/>
                        <a:pt x="4745420" y="564226"/>
                        <a:pt x="4736753" y="564086"/>
                      </a:cubicBezTo>
                      <a:cubicBezTo>
                        <a:pt x="4727618" y="563945"/>
                        <a:pt x="4718788" y="561486"/>
                        <a:pt x="4709594" y="562458"/>
                      </a:cubicBezTo>
                      <a:cubicBezTo>
                        <a:pt x="4707146" y="562716"/>
                        <a:pt x="4702661" y="564437"/>
                        <a:pt x="4700529" y="563863"/>
                      </a:cubicBezTo>
                      <a:cubicBezTo>
                        <a:pt x="4698620" y="563348"/>
                        <a:pt x="4698609" y="560479"/>
                        <a:pt x="4697145" y="559741"/>
                      </a:cubicBezTo>
                      <a:cubicBezTo>
                        <a:pt x="4694170" y="558265"/>
                        <a:pt x="4691945" y="557398"/>
                        <a:pt x="4689567" y="556813"/>
                      </a:cubicBezTo>
                      <a:cubicBezTo>
                        <a:pt x="4688443" y="556532"/>
                        <a:pt x="4687764" y="558488"/>
                        <a:pt x="4686183" y="558089"/>
                      </a:cubicBezTo>
                      <a:cubicBezTo>
                        <a:pt x="4683665" y="557457"/>
                        <a:pt x="4683044" y="555126"/>
                        <a:pt x="4679812" y="554916"/>
                      </a:cubicBezTo>
                      <a:cubicBezTo>
                        <a:pt x="4669833" y="554283"/>
                        <a:pt x="4660488" y="567939"/>
                        <a:pt x="4657127" y="575786"/>
                      </a:cubicBezTo>
                      <a:cubicBezTo>
                        <a:pt x="4652407" y="572659"/>
                        <a:pt x="4650615" y="569239"/>
                        <a:pt x="4644642" y="568993"/>
                      </a:cubicBezTo>
                      <a:cubicBezTo>
                        <a:pt x="4640566" y="568829"/>
                        <a:pt x="4641094" y="573408"/>
                        <a:pt x="4635484" y="570597"/>
                      </a:cubicBezTo>
                      <a:cubicBezTo>
                        <a:pt x="4642522" y="574556"/>
                        <a:pt x="4647219" y="583035"/>
                        <a:pt x="4658063" y="580868"/>
                      </a:cubicBezTo>
                      <a:cubicBezTo>
                        <a:pt x="4663170" y="579849"/>
                        <a:pt x="4665254" y="576476"/>
                        <a:pt x="4670267" y="574884"/>
                      </a:cubicBezTo>
                      <a:cubicBezTo>
                        <a:pt x="4677305" y="572647"/>
                        <a:pt x="4686850" y="571862"/>
                        <a:pt x="4694275" y="571499"/>
                      </a:cubicBezTo>
                      <a:cubicBezTo>
                        <a:pt x="4723777" y="570082"/>
                        <a:pt x="4753266" y="568630"/>
                        <a:pt x="4782780" y="567189"/>
                      </a:cubicBezTo>
                      <a:cubicBezTo>
                        <a:pt x="4781105" y="573467"/>
                        <a:pt x="4765833" y="586794"/>
                        <a:pt x="4760422" y="591046"/>
                      </a:cubicBezTo>
                      <a:cubicBezTo>
                        <a:pt x="4755960" y="594536"/>
                        <a:pt x="4750421" y="596620"/>
                        <a:pt x="4745900" y="600052"/>
                      </a:cubicBezTo>
                      <a:cubicBezTo>
                        <a:pt x="4741391" y="603472"/>
                        <a:pt x="4736742" y="610944"/>
                        <a:pt x="4731167" y="611599"/>
                      </a:cubicBezTo>
                      <a:cubicBezTo>
                        <a:pt x="4730991" y="607852"/>
                        <a:pt x="4733532" y="606364"/>
                        <a:pt x="4734141" y="603132"/>
                      </a:cubicBezTo>
                      <a:cubicBezTo>
                        <a:pt x="4734387" y="601809"/>
                        <a:pt x="4733427" y="596784"/>
                        <a:pt x="4734130" y="595683"/>
                      </a:cubicBezTo>
                      <a:cubicBezTo>
                        <a:pt x="4736004" y="592756"/>
                        <a:pt x="4737421" y="594934"/>
                        <a:pt x="4740770" y="593447"/>
                      </a:cubicBezTo>
                      <a:cubicBezTo>
                        <a:pt x="4745666" y="591280"/>
                        <a:pt x="4748020" y="587392"/>
                        <a:pt x="4752400" y="585284"/>
                      </a:cubicBezTo>
                      <a:cubicBezTo>
                        <a:pt x="4747914" y="583480"/>
                        <a:pt x="4743733" y="577577"/>
                        <a:pt x="4737632" y="581466"/>
                      </a:cubicBezTo>
                      <a:cubicBezTo>
                        <a:pt x="4737444" y="581583"/>
                        <a:pt x="4734586" y="589605"/>
                        <a:pt x="4733451" y="591057"/>
                      </a:cubicBezTo>
                      <a:cubicBezTo>
                        <a:pt x="4730300" y="588949"/>
                        <a:pt x="4732080" y="585740"/>
                        <a:pt x="4730886" y="582473"/>
                      </a:cubicBezTo>
                      <a:cubicBezTo>
                        <a:pt x="4730289" y="580857"/>
                        <a:pt x="4721446" y="581231"/>
                        <a:pt x="4729492" y="577894"/>
                      </a:cubicBezTo>
                      <a:cubicBezTo>
                        <a:pt x="4726143" y="574275"/>
                        <a:pt x="4718612" y="571066"/>
                        <a:pt x="4714138" y="573888"/>
                      </a:cubicBezTo>
                      <a:cubicBezTo>
                        <a:pt x="4717804" y="576289"/>
                        <a:pt x="4720334" y="575177"/>
                        <a:pt x="4720931" y="578397"/>
                      </a:cubicBezTo>
                      <a:cubicBezTo>
                        <a:pt x="4721657" y="582356"/>
                        <a:pt x="4714653" y="586384"/>
                        <a:pt x="4714583" y="588750"/>
                      </a:cubicBezTo>
                      <a:cubicBezTo>
                        <a:pt x="4714384" y="595672"/>
                        <a:pt x="4721997" y="593236"/>
                        <a:pt x="4723941" y="598201"/>
                      </a:cubicBezTo>
                      <a:cubicBezTo>
                        <a:pt x="4727958" y="608496"/>
                        <a:pt x="4716106" y="606282"/>
                        <a:pt x="4709664" y="607442"/>
                      </a:cubicBezTo>
                      <a:cubicBezTo>
                        <a:pt x="4698609" y="609409"/>
                        <a:pt x="4701782" y="609925"/>
                        <a:pt x="4693046" y="605451"/>
                      </a:cubicBezTo>
                      <a:cubicBezTo>
                        <a:pt x="4688677" y="603214"/>
                        <a:pt x="4684122" y="603507"/>
                        <a:pt x="4680620" y="599665"/>
                      </a:cubicBezTo>
                      <a:cubicBezTo>
                        <a:pt x="4676732" y="607735"/>
                        <a:pt x="4686159" y="607348"/>
                        <a:pt x="4689837" y="610967"/>
                      </a:cubicBezTo>
                      <a:cubicBezTo>
                        <a:pt x="4697742" y="618755"/>
                        <a:pt x="4681615" y="617853"/>
                        <a:pt x="4676216" y="619938"/>
                      </a:cubicBezTo>
                      <a:cubicBezTo>
                        <a:pt x="4678055" y="622737"/>
                        <a:pt x="4677610" y="625677"/>
                        <a:pt x="4676568" y="629237"/>
                      </a:cubicBezTo>
                      <a:cubicBezTo>
                        <a:pt x="4678781" y="626122"/>
                        <a:pt x="4681451" y="626040"/>
                        <a:pt x="4682294" y="629237"/>
                      </a:cubicBezTo>
                      <a:cubicBezTo>
                        <a:pt x="4687260" y="624798"/>
                        <a:pt x="4694030" y="630888"/>
                        <a:pt x="4697719" y="630420"/>
                      </a:cubicBezTo>
                      <a:cubicBezTo>
                        <a:pt x="4702813" y="629776"/>
                        <a:pt x="4706245" y="624424"/>
                        <a:pt x="4711152" y="623334"/>
                      </a:cubicBezTo>
                      <a:cubicBezTo>
                        <a:pt x="4714185" y="622655"/>
                        <a:pt x="4717617" y="624260"/>
                        <a:pt x="4720790" y="623756"/>
                      </a:cubicBezTo>
                      <a:cubicBezTo>
                        <a:pt x="4724480" y="623182"/>
                        <a:pt x="4727243" y="620641"/>
                        <a:pt x="4730605" y="619329"/>
                      </a:cubicBezTo>
                      <a:cubicBezTo>
                        <a:pt x="4750409" y="611623"/>
                        <a:pt x="4761675" y="596374"/>
                        <a:pt x="4777205" y="581735"/>
                      </a:cubicBezTo>
                      <a:cubicBezTo>
                        <a:pt x="4788225" y="571347"/>
                        <a:pt x="4793905" y="564449"/>
                        <a:pt x="4809013" y="564542"/>
                      </a:cubicBezTo>
                      <a:cubicBezTo>
                        <a:pt x="4822891" y="564624"/>
                        <a:pt x="4836699" y="565339"/>
                        <a:pt x="4850741" y="566569"/>
                      </a:cubicBezTo>
                      <a:cubicBezTo>
                        <a:pt x="4865240" y="567833"/>
                        <a:pt x="4880020" y="570773"/>
                        <a:pt x="4894004" y="574767"/>
                      </a:cubicBezTo>
                      <a:cubicBezTo>
                        <a:pt x="4904860" y="577858"/>
                        <a:pt x="4920308" y="580529"/>
                        <a:pt x="4929056" y="586923"/>
                      </a:cubicBezTo>
                      <a:cubicBezTo>
                        <a:pt x="4938566" y="593856"/>
                        <a:pt x="4953698" y="606200"/>
                        <a:pt x="4939761" y="614363"/>
                      </a:cubicBezTo>
                      <a:cubicBezTo>
                        <a:pt x="4931083" y="619458"/>
                        <a:pt x="4928108" y="621097"/>
                        <a:pt x="4920730" y="616015"/>
                      </a:cubicBezTo>
                      <a:cubicBezTo>
                        <a:pt x="4916244" y="612934"/>
                        <a:pt x="4911524" y="603577"/>
                        <a:pt x="4905715" y="609281"/>
                      </a:cubicBezTo>
                      <a:cubicBezTo>
                        <a:pt x="4906371" y="609632"/>
                        <a:pt x="4907296" y="609655"/>
                        <a:pt x="4907812" y="609948"/>
                      </a:cubicBezTo>
                      <a:cubicBezTo>
                        <a:pt x="4906547" y="611236"/>
                        <a:pt x="4899801" y="619434"/>
                        <a:pt x="4898525" y="619950"/>
                      </a:cubicBezTo>
                      <a:cubicBezTo>
                        <a:pt x="4894824" y="621414"/>
                        <a:pt x="4885806" y="617432"/>
                        <a:pt x="4882117" y="615979"/>
                      </a:cubicBezTo>
                      <a:cubicBezTo>
                        <a:pt x="4883838" y="620032"/>
                        <a:pt x="4888640" y="620910"/>
                        <a:pt x="4892833" y="620606"/>
                      </a:cubicBezTo>
                      <a:cubicBezTo>
                        <a:pt x="4892575" y="621964"/>
                        <a:pt x="4891603" y="625255"/>
                        <a:pt x="4891053" y="626555"/>
                      </a:cubicBezTo>
                      <a:cubicBezTo>
                        <a:pt x="4887563" y="625993"/>
                        <a:pt x="4884119" y="626707"/>
                        <a:pt x="4881754" y="629249"/>
                      </a:cubicBezTo>
                      <a:cubicBezTo>
                        <a:pt x="4890045" y="629916"/>
                        <a:pt x="4890854" y="627445"/>
                        <a:pt x="4897072" y="626590"/>
                      </a:cubicBezTo>
                      <a:cubicBezTo>
                        <a:pt x="4904673" y="625548"/>
                        <a:pt x="4917087" y="630560"/>
                        <a:pt x="4924957" y="631087"/>
                      </a:cubicBezTo>
                      <a:cubicBezTo>
                        <a:pt x="4929794" y="631404"/>
                        <a:pt x="4937255" y="628909"/>
                        <a:pt x="4940815" y="630115"/>
                      </a:cubicBezTo>
                      <a:cubicBezTo>
                        <a:pt x="4944375" y="631322"/>
                        <a:pt x="4952210" y="639121"/>
                        <a:pt x="4943239" y="639203"/>
                      </a:cubicBezTo>
                      <a:cubicBezTo>
                        <a:pt x="4943204" y="638325"/>
                        <a:pt x="4943555" y="637400"/>
                        <a:pt x="4943567" y="636521"/>
                      </a:cubicBezTo>
                      <a:cubicBezTo>
                        <a:pt x="4937489" y="636849"/>
                        <a:pt x="4942466" y="639941"/>
                        <a:pt x="4941096" y="642471"/>
                      </a:cubicBezTo>
                      <a:cubicBezTo>
                        <a:pt x="4939585" y="645247"/>
                        <a:pt x="4935615" y="645282"/>
                        <a:pt x="4936037" y="649802"/>
                      </a:cubicBezTo>
                      <a:cubicBezTo>
                        <a:pt x="4942618" y="646359"/>
                        <a:pt x="4952690" y="641897"/>
                        <a:pt x="4960010" y="645129"/>
                      </a:cubicBezTo>
                      <a:cubicBezTo>
                        <a:pt x="4959624" y="645282"/>
                        <a:pt x="4959272" y="645504"/>
                        <a:pt x="4958944" y="645797"/>
                      </a:cubicBezTo>
                      <a:cubicBezTo>
                        <a:pt x="4962657" y="645738"/>
                        <a:pt x="4976207" y="641405"/>
                        <a:pt x="4977905" y="647109"/>
                      </a:cubicBezTo>
                      <a:cubicBezTo>
                        <a:pt x="4979006" y="650763"/>
                        <a:pt x="4973338" y="655307"/>
                        <a:pt x="4971323" y="657239"/>
                      </a:cubicBezTo>
                      <a:cubicBezTo>
                        <a:pt x="4965374" y="662919"/>
                        <a:pt x="4953522" y="669864"/>
                        <a:pt x="4944317" y="672792"/>
                      </a:cubicBezTo>
                      <a:cubicBezTo>
                        <a:pt x="4948404" y="676903"/>
                        <a:pt x="4954119" y="669337"/>
                        <a:pt x="4958054" y="667440"/>
                      </a:cubicBezTo>
                      <a:cubicBezTo>
                        <a:pt x="4962950" y="665086"/>
                        <a:pt x="4966217" y="666046"/>
                        <a:pt x="4971194" y="662158"/>
                      </a:cubicBezTo>
                      <a:cubicBezTo>
                        <a:pt x="4974884" y="659277"/>
                        <a:pt x="4975844" y="655646"/>
                        <a:pt x="4981466" y="656349"/>
                      </a:cubicBezTo>
                      <a:cubicBezTo>
                        <a:pt x="4976383" y="658832"/>
                        <a:pt x="4977191" y="663938"/>
                        <a:pt x="4973935" y="667487"/>
                      </a:cubicBezTo>
                      <a:cubicBezTo>
                        <a:pt x="4984347" y="661081"/>
                        <a:pt x="4989195" y="656021"/>
                        <a:pt x="5001644" y="658504"/>
                      </a:cubicBezTo>
                      <a:cubicBezTo>
                        <a:pt x="5012208" y="660624"/>
                        <a:pt x="5021823" y="661174"/>
                        <a:pt x="5029635" y="668318"/>
                      </a:cubicBezTo>
                      <a:cubicBezTo>
                        <a:pt x="5035772" y="673940"/>
                        <a:pt x="5040796" y="679760"/>
                        <a:pt x="5047577" y="686284"/>
                      </a:cubicBezTo>
                      <a:cubicBezTo>
                        <a:pt x="5051231" y="689786"/>
                        <a:pt x="5057286" y="691343"/>
                        <a:pt x="5051793" y="695360"/>
                      </a:cubicBezTo>
                      <a:cubicBezTo>
                        <a:pt x="5047975" y="698148"/>
                        <a:pt x="5034062" y="695103"/>
                        <a:pt x="5029366" y="694939"/>
                      </a:cubicBezTo>
                      <a:cubicBezTo>
                        <a:pt x="5035163" y="700595"/>
                        <a:pt x="5077840" y="704647"/>
                        <a:pt x="5075439" y="713876"/>
                      </a:cubicBezTo>
                      <a:cubicBezTo>
                        <a:pt x="5078906" y="706041"/>
                        <a:pt x="5108313" y="709145"/>
                        <a:pt x="5116488" y="707247"/>
                      </a:cubicBezTo>
                      <a:cubicBezTo>
                        <a:pt x="5116558" y="704355"/>
                        <a:pt x="5139454" y="706264"/>
                        <a:pt x="5145169" y="704729"/>
                      </a:cubicBezTo>
                      <a:cubicBezTo>
                        <a:pt x="5156682" y="701649"/>
                        <a:pt x="5165922" y="697094"/>
                        <a:pt x="5177762" y="695419"/>
                      </a:cubicBezTo>
                      <a:cubicBezTo>
                        <a:pt x="5189825" y="693709"/>
                        <a:pt x="5201771" y="691285"/>
                        <a:pt x="5213869" y="689891"/>
                      </a:cubicBezTo>
                      <a:cubicBezTo>
                        <a:pt x="5217769" y="689434"/>
                        <a:pt x="5227290" y="686377"/>
                        <a:pt x="5230581" y="689165"/>
                      </a:cubicBezTo>
                      <a:cubicBezTo>
                        <a:pt x="5231858" y="690242"/>
                        <a:pt x="5228953" y="693943"/>
                        <a:pt x="5231366" y="696309"/>
                      </a:cubicBezTo>
                      <a:cubicBezTo>
                        <a:pt x="5233404" y="678753"/>
                        <a:pt x="5262320" y="685698"/>
                        <a:pt x="5274195" y="685733"/>
                      </a:cubicBezTo>
                      <a:cubicBezTo>
                        <a:pt x="5296412" y="685804"/>
                        <a:pt x="5319495" y="685066"/>
                        <a:pt x="5341443" y="687818"/>
                      </a:cubicBezTo>
                      <a:cubicBezTo>
                        <a:pt x="5378404" y="692456"/>
                        <a:pt x="5433800" y="703066"/>
                        <a:pt x="5457563" y="735671"/>
                      </a:cubicBezTo>
                      <a:cubicBezTo>
                        <a:pt x="5461978" y="741714"/>
                        <a:pt x="5472448" y="756483"/>
                        <a:pt x="5469614" y="764810"/>
                      </a:cubicBezTo>
                      <a:cubicBezTo>
                        <a:pt x="5469567" y="764938"/>
                        <a:pt x="5462259" y="775127"/>
                        <a:pt x="5462399" y="775045"/>
                      </a:cubicBezTo>
                      <a:cubicBezTo>
                        <a:pt x="5457902" y="777880"/>
                        <a:pt x="5453218" y="773347"/>
                        <a:pt x="5448299" y="775772"/>
                      </a:cubicBezTo>
                      <a:cubicBezTo>
                        <a:pt x="5452491" y="776884"/>
                        <a:pt x="5455817" y="778770"/>
                        <a:pt x="5460081" y="779086"/>
                      </a:cubicBezTo>
                      <a:cubicBezTo>
                        <a:pt x="5455946" y="781967"/>
                        <a:pt x="5456825" y="787225"/>
                        <a:pt x="5455021" y="790235"/>
                      </a:cubicBezTo>
                      <a:cubicBezTo>
                        <a:pt x="5452374" y="794651"/>
                        <a:pt x="5443356" y="797321"/>
                        <a:pt x="5452175" y="803329"/>
                      </a:cubicBezTo>
                      <a:cubicBezTo>
                        <a:pt x="5451590" y="803329"/>
                        <a:pt x="5451016" y="803329"/>
                        <a:pt x="5450442" y="803329"/>
                      </a:cubicBezTo>
                      <a:cubicBezTo>
                        <a:pt x="5454073" y="804664"/>
                        <a:pt x="5455162" y="807592"/>
                        <a:pt x="5452480" y="810438"/>
                      </a:cubicBezTo>
                      <a:cubicBezTo>
                        <a:pt x="5458851" y="804137"/>
                        <a:pt x="5468466" y="813002"/>
                        <a:pt x="5474392" y="816012"/>
                      </a:cubicBezTo>
                      <a:cubicBezTo>
                        <a:pt x="5473420" y="815251"/>
                        <a:pt x="5472729" y="814396"/>
                        <a:pt x="5471898" y="813541"/>
                      </a:cubicBezTo>
                      <a:cubicBezTo>
                        <a:pt x="5476723" y="813799"/>
                        <a:pt x="5482239" y="814607"/>
                        <a:pt x="5481149" y="820439"/>
                      </a:cubicBezTo>
                      <a:cubicBezTo>
                        <a:pt x="5488879" y="815157"/>
                        <a:pt x="5516226" y="817921"/>
                        <a:pt x="5516589" y="828309"/>
                      </a:cubicBezTo>
                      <a:cubicBezTo>
                        <a:pt x="5516753" y="832795"/>
                        <a:pt x="5512618" y="836613"/>
                        <a:pt x="5513696" y="842328"/>
                      </a:cubicBezTo>
                      <a:cubicBezTo>
                        <a:pt x="5514352" y="845806"/>
                        <a:pt x="5517045" y="848992"/>
                        <a:pt x="5517678" y="852705"/>
                      </a:cubicBezTo>
                      <a:cubicBezTo>
                        <a:pt x="5517994" y="854614"/>
                        <a:pt x="5518849" y="861113"/>
                        <a:pt x="5518615" y="862449"/>
                      </a:cubicBezTo>
                      <a:cubicBezTo>
                        <a:pt x="5517092" y="870986"/>
                        <a:pt x="5512876" y="871666"/>
                        <a:pt x="5524260" y="875167"/>
                      </a:cubicBezTo>
                      <a:cubicBezTo>
                        <a:pt x="5531404" y="877369"/>
                        <a:pt x="5539543" y="877404"/>
                        <a:pt x="5536885" y="886317"/>
                      </a:cubicBezTo>
                      <a:cubicBezTo>
                        <a:pt x="5535597" y="890662"/>
                        <a:pt x="5530525" y="894304"/>
                        <a:pt x="5529061" y="898672"/>
                      </a:cubicBezTo>
                      <a:cubicBezTo>
                        <a:pt x="5527796" y="902408"/>
                        <a:pt x="5527199" y="907058"/>
                        <a:pt x="5525607" y="910489"/>
                      </a:cubicBezTo>
                      <a:cubicBezTo>
                        <a:pt x="5520594" y="921334"/>
                        <a:pt x="5515171" y="921369"/>
                        <a:pt x="5504069" y="920280"/>
                      </a:cubicBezTo>
                      <a:cubicBezTo>
                        <a:pt x="5509679" y="933549"/>
                        <a:pt x="5526672" y="917212"/>
                        <a:pt x="5530069" y="911051"/>
                      </a:cubicBezTo>
                      <a:cubicBezTo>
                        <a:pt x="5531884" y="907749"/>
                        <a:pt x="5532903" y="908861"/>
                        <a:pt x="5533723" y="906390"/>
                      </a:cubicBezTo>
                      <a:cubicBezTo>
                        <a:pt x="5534004" y="905535"/>
                        <a:pt x="5532329" y="903052"/>
                        <a:pt x="5532903" y="901143"/>
                      </a:cubicBezTo>
                      <a:cubicBezTo>
                        <a:pt x="5534496" y="895862"/>
                        <a:pt x="5542377" y="894117"/>
                        <a:pt x="5544849" y="889936"/>
                      </a:cubicBezTo>
                      <a:cubicBezTo>
                        <a:pt x="5549006" y="882885"/>
                        <a:pt x="5544310" y="877006"/>
                        <a:pt x="5541885" y="870366"/>
                      </a:cubicBezTo>
                      <a:cubicBezTo>
                        <a:pt x="5541042" y="868035"/>
                        <a:pt x="5539625" y="864217"/>
                        <a:pt x="5539426" y="861863"/>
                      </a:cubicBezTo>
                      <a:cubicBezTo>
                        <a:pt x="5539157" y="858549"/>
                        <a:pt x="5539543" y="859228"/>
                        <a:pt x="5540866" y="854309"/>
                      </a:cubicBezTo>
                      <a:cubicBezTo>
                        <a:pt x="5541136" y="853302"/>
                        <a:pt x="5539016" y="850760"/>
                        <a:pt x="5538372" y="850233"/>
                      </a:cubicBezTo>
                      <a:cubicBezTo>
                        <a:pt x="5544802" y="850105"/>
                        <a:pt x="5539098" y="847809"/>
                        <a:pt x="5540070" y="846661"/>
                      </a:cubicBezTo>
                      <a:cubicBezTo>
                        <a:pt x="5540632" y="845994"/>
                        <a:pt x="5543385" y="844120"/>
                        <a:pt x="5544720" y="842761"/>
                      </a:cubicBezTo>
                      <a:cubicBezTo>
                        <a:pt x="5547847" y="839588"/>
                        <a:pt x="5552321" y="836379"/>
                        <a:pt x="5556220" y="834388"/>
                      </a:cubicBezTo>
                      <a:cubicBezTo>
                        <a:pt x="5561128" y="831893"/>
                        <a:pt x="5564945" y="832854"/>
                        <a:pt x="5570192" y="829984"/>
                      </a:cubicBezTo>
                      <a:cubicBezTo>
                        <a:pt x="5568916" y="830687"/>
                        <a:pt x="5573097" y="826424"/>
                        <a:pt x="5573366" y="826201"/>
                      </a:cubicBezTo>
                      <a:cubicBezTo>
                        <a:pt x="5575240" y="824702"/>
                        <a:pt x="5576938" y="824011"/>
                        <a:pt x="5579081" y="823028"/>
                      </a:cubicBezTo>
                      <a:cubicBezTo>
                        <a:pt x="5576622" y="818296"/>
                        <a:pt x="5586788" y="823824"/>
                        <a:pt x="5585909" y="816024"/>
                      </a:cubicBezTo>
                      <a:cubicBezTo>
                        <a:pt x="5590640" y="819936"/>
                        <a:pt x="5598253" y="818097"/>
                        <a:pt x="5604097" y="818741"/>
                      </a:cubicBezTo>
                      <a:cubicBezTo>
                        <a:pt x="5613525" y="819783"/>
                        <a:pt x="5619474" y="816633"/>
                        <a:pt x="5628633" y="814537"/>
                      </a:cubicBezTo>
                      <a:cubicBezTo>
                        <a:pt x="5635847" y="812885"/>
                        <a:pt x="5640977" y="816621"/>
                        <a:pt x="5647383" y="817418"/>
                      </a:cubicBezTo>
                      <a:cubicBezTo>
                        <a:pt x="5658415" y="818811"/>
                        <a:pt x="5662292" y="812757"/>
                        <a:pt x="5671649" y="810508"/>
                      </a:cubicBezTo>
                      <a:cubicBezTo>
                        <a:pt x="5678946" y="808763"/>
                        <a:pt x="5677997" y="812171"/>
                        <a:pt x="5682904" y="815813"/>
                      </a:cubicBezTo>
                      <a:cubicBezTo>
                        <a:pt x="5689697" y="820873"/>
                        <a:pt x="5697860" y="824210"/>
                        <a:pt x="5706128" y="826155"/>
                      </a:cubicBezTo>
                      <a:cubicBezTo>
                        <a:pt x="5724492" y="830488"/>
                        <a:pt x="5743265" y="823871"/>
                        <a:pt x="5762039" y="826424"/>
                      </a:cubicBezTo>
                      <a:cubicBezTo>
                        <a:pt x="5770904" y="827630"/>
                        <a:pt x="5778142" y="832280"/>
                        <a:pt x="5787113" y="832350"/>
                      </a:cubicBezTo>
                      <a:cubicBezTo>
                        <a:pt x="5792559" y="832397"/>
                        <a:pt x="5814366" y="829059"/>
                        <a:pt x="5812879" y="835067"/>
                      </a:cubicBezTo>
                      <a:cubicBezTo>
                        <a:pt x="5831394" y="835067"/>
                        <a:pt x="5844277" y="823929"/>
                        <a:pt x="5858905" y="813658"/>
                      </a:cubicBezTo>
                      <a:cubicBezTo>
                        <a:pt x="5869469" y="806233"/>
                        <a:pt x="5875957" y="812194"/>
                        <a:pt x="5886181" y="815368"/>
                      </a:cubicBezTo>
                      <a:cubicBezTo>
                        <a:pt x="5882890" y="816352"/>
                        <a:pt x="5880267" y="817898"/>
                        <a:pt x="5877983" y="820428"/>
                      </a:cubicBezTo>
                      <a:cubicBezTo>
                        <a:pt x="5882878" y="824913"/>
                        <a:pt x="5893044" y="824679"/>
                        <a:pt x="5895222" y="831776"/>
                      </a:cubicBezTo>
                      <a:cubicBezTo>
                        <a:pt x="5895433" y="832455"/>
                        <a:pt x="5894520" y="837362"/>
                        <a:pt x="5894367" y="838194"/>
                      </a:cubicBezTo>
                      <a:cubicBezTo>
                        <a:pt x="5893442" y="843089"/>
                        <a:pt x="5893044" y="844600"/>
                        <a:pt x="5893641" y="849039"/>
                      </a:cubicBezTo>
                      <a:cubicBezTo>
                        <a:pt x="5894508" y="855305"/>
                        <a:pt x="5895281" y="858455"/>
                        <a:pt x="5902062" y="860434"/>
                      </a:cubicBezTo>
                      <a:cubicBezTo>
                        <a:pt x="5913141" y="863655"/>
                        <a:pt x="5923143" y="861933"/>
                        <a:pt x="5934105" y="867215"/>
                      </a:cubicBezTo>
                      <a:cubicBezTo>
                        <a:pt x="5942420" y="871209"/>
                        <a:pt x="5952785" y="869944"/>
                        <a:pt x="5956064" y="879653"/>
                      </a:cubicBezTo>
                      <a:cubicBezTo>
                        <a:pt x="5959202" y="888882"/>
                        <a:pt x="5954178" y="898438"/>
                        <a:pt x="5967283" y="900862"/>
                      </a:cubicBezTo>
                      <a:cubicBezTo>
                        <a:pt x="5978737" y="902982"/>
                        <a:pt x="5992182" y="895288"/>
                        <a:pt x="6003788" y="896400"/>
                      </a:cubicBezTo>
                      <a:cubicBezTo>
                        <a:pt x="6009246" y="896927"/>
                        <a:pt x="6013872" y="901214"/>
                        <a:pt x="6018755" y="903556"/>
                      </a:cubicBezTo>
                      <a:cubicBezTo>
                        <a:pt x="6015980" y="901518"/>
                        <a:pt x="6013251" y="899129"/>
                        <a:pt x="6015546" y="896611"/>
                      </a:cubicBezTo>
                      <a:cubicBezTo>
                        <a:pt x="6002991" y="898661"/>
                        <a:pt x="6013438" y="887312"/>
                        <a:pt x="6018674" y="888308"/>
                      </a:cubicBezTo>
                      <a:cubicBezTo>
                        <a:pt x="6020758" y="888706"/>
                        <a:pt x="6021988" y="894409"/>
                        <a:pt x="6024131" y="896880"/>
                      </a:cubicBezTo>
                      <a:cubicBezTo>
                        <a:pt x="6022913" y="892957"/>
                        <a:pt x="6023967" y="889397"/>
                        <a:pt x="6021637" y="886082"/>
                      </a:cubicBezTo>
                      <a:cubicBezTo>
                        <a:pt x="6027492" y="884724"/>
                        <a:pt x="6031486" y="879020"/>
                        <a:pt x="6035585" y="877498"/>
                      </a:cubicBezTo>
                      <a:cubicBezTo>
                        <a:pt x="6038864" y="876280"/>
                        <a:pt x="6041593" y="879477"/>
                        <a:pt x="6046629" y="877240"/>
                      </a:cubicBezTo>
                      <a:cubicBezTo>
                        <a:pt x="6039415" y="877252"/>
                        <a:pt x="6035011" y="866477"/>
                        <a:pt x="6033770" y="861582"/>
                      </a:cubicBezTo>
                      <a:cubicBezTo>
                        <a:pt x="6032657" y="857190"/>
                        <a:pt x="6034660" y="853606"/>
                        <a:pt x="6030936" y="848828"/>
                      </a:cubicBezTo>
                      <a:cubicBezTo>
                        <a:pt x="6026778" y="843488"/>
                        <a:pt x="6026755" y="844799"/>
                        <a:pt x="6024319" y="838721"/>
                      </a:cubicBezTo>
                      <a:cubicBezTo>
                        <a:pt x="6023756" y="837339"/>
                        <a:pt x="6021906" y="832350"/>
                        <a:pt x="6020980" y="830968"/>
                      </a:cubicBezTo>
                      <a:cubicBezTo>
                        <a:pt x="6016566" y="824398"/>
                        <a:pt x="6014434" y="825862"/>
                        <a:pt x="6007185" y="826424"/>
                      </a:cubicBezTo>
                      <a:cubicBezTo>
                        <a:pt x="6000181" y="826974"/>
                        <a:pt x="5989945" y="828099"/>
                        <a:pt x="5997640" y="818413"/>
                      </a:cubicBezTo>
                      <a:cubicBezTo>
                        <a:pt x="6002535" y="812241"/>
                        <a:pt x="6011061" y="814373"/>
                        <a:pt x="6017022" y="810203"/>
                      </a:cubicBezTo>
                      <a:cubicBezTo>
                        <a:pt x="6009808" y="802158"/>
                        <a:pt x="6021648" y="775994"/>
                        <a:pt x="6007360" y="777774"/>
                      </a:cubicBezTo>
                      <a:cubicBezTo>
                        <a:pt x="6011037" y="771989"/>
                        <a:pt x="6034765" y="780222"/>
                        <a:pt x="6041101" y="780807"/>
                      </a:cubicBezTo>
                      <a:cubicBezTo>
                        <a:pt x="6056385" y="782213"/>
                        <a:pt x="6071106" y="785071"/>
                        <a:pt x="6086320" y="787577"/>
                      </a:cubicBezTo>
                      <a:cubicBezTo>
                        <a:pt x="6098780" y="789638"/>
                        <a:pt x="6113502" y="787987"/>
                        <a:pt x="6125635" y="790423"/>
                      </a:cubicBezTo>
                      <a:cubicBezTo>
                        <a:pt x="6131666" y="791629"/>
                        <a:pt x="6129324" y="793105"/>
                        <a:pt x="6133739" y="796138"/>
                      </a:cubicBezTo>
                      <a:cubicBezTo>
                        <a:pt x="6140016" y="800459"/>
                        <a:pt x="6149561" y="799499"/>
                        <a:pt x="6154960" y="805191"/>
                      </a:cubicBezTo>
                      <a:cubicBezTo>
                        <a:pt x="6146177" y="809794"/>
                        <a:pt x="6165946" y="809360"/>
                        <a:pt x="6167105" y="804699"/>
                      </a:cubicBezTo>
                      <a:cubicBezTo>
                        <a:pt x="6168207" y="800272"/>
                        <a:pt x="6154679" y="792589"/>
                        <a:pt x="6151647" y="799370"/>
                      </a:cubicBezTo>
                      <a:cubicBezTo>
                        <a:pt x="6148016" y="787202"/>
                        <a:pt x="6175889" y="797309"/>
                        <a:pt x="6179251" y="798843"/>
                      </a:cubicBezTo>
                      <a:cubicBezTo>
                        <a:pt x="6179063" y="799148"/>
                        <a:pt x="6177868" y="799417"/>
                        <a:pt x="6177809" y="799534"/>
                      </a:cubicBezTo>
                      <a:cubicBezTo>
                        <a:pt x="6179906" y="801209"/>
                        <a:pt x="6180832" y="801818"/>
                        <a:pt x="6183197" y="802017"/>
                      </a:cubicBezTo>
                      <a:cubicBezTo>
                        <a:pt x="6182717" y="801291"/>
                        <a:pt x="6181862" y="800811"/>
                        <a:pt x="6181405" y="800120"/>
                      </a:cubicBezTo>
                      <a:cubicBezTo>
                        <a:pt x="6185809" y="798164"/>
                        <a:pt x="6186863" y="802802"/>
                        <a:pt x="6191067" y="802720"/>
                      </a:cubicBezTo>
                      <a:cubicBezTo>
                        <a:pt x="6192859" y="802685"/>
                        <a:pt x="6194147" y="799534"/>
                        <a:pt x="6196162" y="799124"/>
                      </a:cubicBezTo>
                      <a:cubicBezTo>
                        <a:pt x="6205648" y="797239"/>
                        <a:pt x="6217079" y="800096"/>
                        <a:pt x="6226647" y="800986"/>
                      </a:cubicBezTo>
                      <a:cubicBezTo>
                        <a:pt x="6236649" y="801935"/>
                        <a:pt x="6246884" y="803153"/>
                        <a:pt x="6256933" y="802368"/>
                      </a:cubicBezTo>
                      <a:cubicBezTo>
                        <a:pt x="6263526" y="801865"/>
                        <a:pt x="6279466" y="796735"/>
                        <a:pt x="6284783" y="800342"/>
                      </a:cubicBezTo>
                      <a:cubicBezTo>
                        <a:pt x="6281398" y="800822"/>
                        <a:pt x="6278002" y="801268"/>
                        <a:pt x="6274605" y="801689"/>
                      </a:cubicBezTo>
                      <a:cubicBezTo>
                        <a:pt x="6279513" y="803540"/>
                        <a:pt x="6302994" y="814619"/>
                        <a:pt x="6306859" y="808107"/>
                      </a:cubicBezTo>
                      <a:cubicBezTo>
                        <a:pt x="6312094" y="799253"/>
                        <a:pt x="6290662" y="802497"/>
                        <a:pt x="6287734" y="798984"/>
                      </a:cubicBezTo>
                      <a:cubicBezTo>
                        <a:pt x="6297302" y="798796"/>
                        <a:pt x="6309448" y="795798"/>
                        <a:pt x="6313851" y="806784"/>
                      </a:cubicBezTo>
                      <a:cubicBezTo>
                        <a:pt x="6307925" y="809700"/>
                        <a:pt x="6315608" y="809079"/>
                        <a:pt x="6318969" y="809794"/>
                      </a:cubicBezTo>
                      <a:cubicBezTo>
                        <a:pt x="6326792" y="811480"/>
                        <a:pt x="6331266" y="815497"/>
                        <a:pt x="6338070" y="818612"/>
                      </a:cubicBezTo>
                      <a:cubicBezTo>
                        <a:pt x="6353108" y="825510"/>
                        <a:pt x="6373486" y="819866"/>
                        <a:pt x="6386919" y="829973"/>
                      </a:cubicBezTo>
                      <a:cubicBezTo>
                        <a:pt x="6384261" y="829539"/>
                        <a:pt x="6384670" y="830207"/>
                        <a:pt x="6383043" y="830605"/>
                      </a:cubicBezTo>
                      <a:cubicBezTo>
                        <a:pt x="6389109" y="833006"/>
                        <a:pt x="6396921" y="834236"/>
                        <a:pt x="6403444" y="836133"/>
                      </a:cubicBezTo>
                      <a:cubicBezTo>
                        <a:pt x="6406747" y="837093"/>
                        <a:pt x="6420285" y="842972"/>
                        <a:pt x="6417908" y="836554"/>
                      </a:cubicBezTo>
                      <a:cubicBezTo>
                        <a:pt x="6426118" y="833451"/>
                        <a:pt x="6453101" y="843827"/>
                        <a:pt x="6459144" y="850807"/>
                      </a:cubicBezTo>
                      <a:cubicBezTo>
                        <a:pt x="6456556" y="851077"/>
                        <a:pt x="6452878" y="852002"/>
                        <a:pt x="6450267" y="851205"/>
                      </a:cubicBezTo>
                      <a:cubicBezTo>
                        <a:pt x="6449095" y="850842"/>
                        <a:pt x="6449353" y="848020"/>
                        <a:pt x="6447796" y="847575"/>
                      </a:cubicBezTo>
                      <a:cubicBezTo>
                        <a:pt x="6444270" y="846556"/>
                        <a:pt x="6440230" y="847130"/>
                        <a:pt x="6437747" y="845783"/>
                      </a:cubicBezTo>
                      <a:cubicBezTo>
                        <a:pt x="6438801" y="860235"/>
                        <a:pt x="6452890" y="852154"/>
                        <a:pt x="6464204" y="854520"/>
                      </a:cubicBezTo>
                      <a:cubicBezTo>
                        <a:pt x="6477894" y="857366"/>
                        <a:pt x="6493693" y="873083"/>
                        <a:pt x="6505616" y="881047"/>
                      </a:cubicBezTo>
                      <a:cubicBezTo>
                        <a:pt x="6497757" y="880988"/>
                        <a:pt x="6491257" y="872989"/>
                        <a:pt x="6484207" y="870307"/>
                      </a:cubicBezTo>
                      <a:cubicBezTo>
                        <a:pt x="6486924" y="872567"/>
                        <a:pt x="6489208" y="877311"/>
                        <a:pt x="6491773" y="879138"/>
                      </a:cubicBezTo>
                      <a:cubicBezTo>
                        <a:pt x="6496012" y="882194"/>
                        <a:pt x="6505393" y="880086"/>
                        <a:pt x="6507782" y="882698"/>
                      </a:cubicBezTo>
                      <a:lnTo>
                        <a:pt x="6507782" y="882651"/>
                      </a:lnTo>
                      <a:close/>
                    </a:path>
                  </a:pathLst>
                </a:custGeom>
                <a:solidFill>
                  <a:srgbClr val="D6D6D2"/>
                </a:solidFill>
                <a:ln w="8774" cap="flat">
                  <a:solidFill>
                    <a:srgbClr val="FFFFFF"/>
                  </a:solidFill>
                  <a:prstDash val="solid"/>
                  <a:miter/>
                </a:ln>
              </p:spPr>
              <p:txBody>
                <a:bodyPr rtlCol="0" anchor="ctr"/>
                <a:lstStyle/>
                <a:p>
                  <a:endParaRPr lang="en-US"/>
                </a:p>
              </p:txBody>
            </p:sp>
          </p:grpSp>
        </p:grpSp>
        <p:pic>
          <p:nvPicPr>
            <p:cNvPr id="73" name="Disputed_Territories">
              <a:extLst>
                <a:ext uri="{FF2B5EF4-FFF2-40B4-BE49-F238E27FC236}">
                  <a16:creationId xmlns:a16="http://schemas.microsoft.com/office/drawing/2014/main" id="{DF8BB671-88FE-4F5F-A7F1-86165494F6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545487"/>
              <a:ext cx="7132320" cy="6312513"/>
            </a:xfrm>
            <a:prstGeom prst="rect">
              <a:avLst/>
            </a:prstGeom>
          </p:spPr>
        </p:pic>
      </p:grpSp>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Asia</a:t>
            </a:r>
            <a:endParaRPr lang="de-DE" dirty="0"/>
          </a:p>
        </p:txBody>
      </p:sp>
      <p:sp>
        <p:nvSpPr>
          <p:cNvPr id="477" name="Footer Placeholder 476">
            <a:extLst>
              <a:ext uri="{FF2B5EF4-FFF2-40B4-BE49-F238E27FC236}">
                <a16:creationId xmlns:a16="http://schemas.microsoft.com/office/drawing/2014/main" id="{93AD14D5-BD8A-42B6-B817-A0279021666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480" name="Slide Number Placeholder 479">
            <a:extLst>
              <a:ext uri="{FF2B5EF4-FFF2-40B4-BE49-F238E27FC236}">
                <a16:creationId xmlns:a16="http://schemas.microsoft.com/office/drawing/2014/main" id="{1AF3D991-719E-442E-B87F-1BC6C5127C59}"/>
              </a:ext>
            </a:extLst>
          </p:cNvPr>
          <p:cNvSpPr>
            <a:spLocks noGrp="1"/>
          </p:cNvSpPr>
          <p:nvPr>
            <p:ph type="sldNum" sz="quarter" idx="10"/>
          </p:nvPr>
        </p:nvSpPr>
        <p:spPr/>
        <p:txBody>
          <a:bodyPr/>
          <a:lstStyle/>
          <a:p>
            <a:fld id="{1F90F471-3972-4120-B8B3-0237DE626C35}" type="slidenum">
              <a:rPr lang="en-US" smtClean="0"/>
              <a:pPr/>
              <a:t>361</a:t>
            </a:fld>
            <a:endParaRPr lang="en-US" dirty="0"/>
          </a:p>
        </p:txBody>
      </p:sp>
      <p:sp>
        <p:nvSpPr>
          <p:cNvPr id="3" name="TextBox 2">
            <a:extLst>
              <a:ext uri="{FF2B5EF4-FFF2-40B4-BE49-F238E27FC236}">
                <a16:creationId xmlns:a16="http://schemas.microsoft.com/office/drawing/2014/main" id="{72A2A73C-6A0E-43A7-8521-388274EDCCE4}"/>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shade one or more countries</a:t>
            </a:r>
          </a:p>
        </p:txBody>
      </p:sp>
    </p:spTree>
    <p:extLst>
      <p:ext uri="{BB962C8B-B14F-4D97-AF65-F5344CB8AC3E}">
        <p14:creationId xmlns:p14="http://schemas.microsoft.com/office/powerpoint/2010/main" val="333952793"/>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Germany</a:t>
            </a:r>
            <a:endParaRPr lang="de-DE" dirty="0"/>
          </a:p>
        </p:txBody>
      </p:sp>
      <p:sp>
        <p:nvSpPr>
          <p:cNvPr id="3" name="TextBox 2">
            <a:extLst>
              <a:ext uri="{FF2B5EF4-FFF2-40B4-BE49-F238E27FC236}">
                <a16:creationId xmlns:a16="http://schemas.microsoft.com/office/drawing/2014/main" id="{BF0E1D15-68B7-4F42-A3B6-9F8BD059F8DD}"/>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shade one or more countries</a:t>
            </a:r>
          </a:p>
        </p:txBody>
      </p:sp>
      <p:grpSp>
        <p:nvGrpSpPr>
          <p:cNvPr id="4" name="Group 3" descr="Germany: describe map here">
            <a:extLst>
              <a:ext uri="{FF2B5EF4-FFF2-40B4-BE49-F238E27FC236}">
                <a16:creationId xmlns:a16="http://schemas.microsoft.com/office/drawing/2014/main" id="{F4BC6276-E548-4223-8616-0EA47F521907}"/>
              </a:ext>
            </a:extLst>
          </p:cNvPr>
          <p:cNvGrpSpPr/>
          <p:nvPr/>
        </p:nvGrpSpPr>
        <p:grpSpPr bwMode="auto">
          <a:xfrm>
            <a:off x="4514915" y="1430878"/>
            <a:ext cx="3309594" cy="4624406"/>
            <a:chOff x="3026602" y="2009775"/>
            <a:chExt cx="3078944" cy="4302125"/>
          </a:xfrm>
          <a:solidFill>
            <a:schemeClr val="tx2">
              <a:lumMod val="40000"/>
              <a:lumOff val="60000"/>
            </a:schemeClr>
          </a:solidFill>
        </p:grpSpPr>
        <p:grpSp>
          <p:nvGrpSpPr>
            <p:cNvPr id="5" name="Gruppieren 6">
              <a:extLst>
                <a:ext uri="{FF2B5EF4-FFF2-40B4-BE49-F238E27FC236}">
                  <a16:creationId xmlns:a16="http://schemas.microsoft.com/office/drawing/2014/main" id="{69739F3D-C846-4B53-B379-8C75AF19342F}"/>
                </a:ext>
              </a:extLst>
            </p:cNvPr>
            <p:cNvGrpSpPr/>
            <p:nvPr/>
          </p:nvGrpSpPr>
          <p:grpSpPr bwMode="auto">
            <a:xfrm>
              <a:off x="3333483" y="2710390"/>
              <a:ext cx="1650209" cy="1422944"/>
              <a:chOff x="3333483" y="2710390"/>
              <a:chExt cx="1650209" cy="1422944"/>
            </a:xfrm>
            <a:grpFill/>
          </p:grpSpPr>
          <p:sp>
            <p:nvSpPr>
              <p:cNvPr id="33" name="Freeform 7">
                <a:extLst>
                  <a:ext uri="{FF2B5EF4-FFF2-40B4-BE49-F238E27FC236}">
                    <a16:creationId xmlns:a16="http://schemas.microsoft.com/office/drawing/2014/main" id="{C6F277C3-202A-475B-9534-D5C0F9A0156C}"/>
                  </a:ext>
                </a:extLst>
              </p:cNvPr>
              <p:cNvSpPr>
                <a:spLocks noEditPoints="1"/>
              </p:cNvSpPr>
              <p:nvPr/>
            </p:nvSpPr>
            <p:spPr bwMode="auto">
              <a:xfrm>
                <a:off x="3339273" y="2710390"/>
                <a:ext cx="1644419" cy="1422944"/>
              </a:xfrm>
              <a:custGeom>
                <a:avLst/>
                <a:gdLst/>
                <a:ahLst/>
                <a:cxnLst>
                  <a:cxn ang="0">
                    <a:pos x="579" y="25"/>
                  </a:cxn>
                  <a:cxn ang="0">
                    <a:pos x="449" y="0"/>
                  </a:cxn>
                  <a:cxn ang="0">
                    <a:pos x="430" y="67"/>
                  </a:cxn>
                  <a:cxn ang="0">
                    <a:pos x="424" y="139"/>
                  </a:cxn>
                  <a:cxn ang="0">
                    <a:pos x="380" y="97"/>
                  </a:cxn>
                  <a:cxn ang="0">
                    <a:pos x="362" y="172"/>
                  </a:cxn>
                  <a:cxn ang="0">
                    <a:pos x="319" y="123"/>
                  </a:cxn>
                  <a:cxn ang="0">
                    <a:pos x="305" y="65"/>
                  </a:cxn>
                  <a:cxn ang="0">
                    <a:pos x="233" y="57"/>
                  </a:cxn>
                  <a:cxn ang="0">
                    <a:pos x="168" y="63"/>
                  </a:cxn>
                  <a:cxn ang="0">
                    <a:pos x="108" y="91"/>
                  </a:cxn>
                  <a:cxn ang="0">
                    <a:pos x="91" y="132"/>
                  </a:cxn>
                  <a:cxn ang="0">
                    <a:pos x="111" y="176"/>
                  </a:cxn>
                  <a:cxn ang="0">
                    <a:pos x="155" y="219"/>
                  </a:cxn>
                  <a:cxn ang="0">
                    <a:pos x="126" y="237"/>
                  </a:cxn>
                  <a:cxn ang="0">
                    <a:pos x="109" y="337"/>
                  </a:cxn>
                  <a:cxn ang="0">
                    <a:pos x="70" y="447"/>
                  </a:cxn>
                  <a:cxn ang="0">
                    <a:pos x="3" y="450"/>
                  </a:cxn>
                  <a:cxn ang="0">
                    <a:pos x="0" y="503"/>
                  </a:cxn>
                  <a:cxn ang="0">
                    <a:pos x="52" y="515"/>
                  </a:cxn>
                  <a:cxn ang="0">
                    <a:pos x="109" y="564"/>
                  </a:cxn>
                  <a:cxn ang="0">
                    <a:pos x="173" y="564"/>
                  </a:cxn>
                  <a:cxn ang="0">
                    <a:pos x="214" y="522"/>
                  </a:cxn>
                  <a:cxn ang="0">
                    <a:pos x="269" y="563"/>
                  </a:cxn>
                  <a:cxn ang="0">
                    <a:pos x="263" y="628"/>
                  </a:cxn>
                  <a:cxn ang="0">
                    <a:pos x="254" y="665"/>
                  </a:cxn>
                  <a:cxn ang="0">
                    <a:pos x="330" y="665"/>
                  </a:cxn>
                  <a:cxn ang="0">
                    <a:pos x="369" y="664"/>
                  </a:cxn>
                  <a:cxn ang="0">
                    <a:pos x="385" y="625"/>
                  </a:cxn>
                  <a:cxn ang="0">
                    <a:pos x="355" y="560"/>
                  </a:cxn>
                  <a:cxn ang="0">
                    <a:pos x="378" y="533"/>
                  </a:cxn>
                  <a:cxn ang="0">
                    <a:pos x="438" y="511"/>
                  </a:cxn>
                  <a:cxn ang="0">
                    <a:pos x="467" y="556"/>
                  </a:cxn>
                  <a:cxn ang="0">
                    <a:pos x="524" y="517"/>
                  </a:cxn>
                  <a:cxn ang="0">
                    <a:pos x="528" y="585"/>
                  </a:cxn>
                  <a:cxn ang="0">
                    <a:pos x="523" y="642"/>
                  </a:cxn>
                  <a:cxn ang="0">
                    <a:pos x="544" y="695"/>
                  </a:cxn>
                  <a:cxn ang="0">
                    <a:pos x="567" y="734"/>
                  </a:cxn>
                  <a:cxn ang="0">
                    <a:pos x="608" y="770"/>
                  </a:cxn>
                  <a:cxn ang="0">
                    <a:pos x="629" y="849"/>
                  </a:cxn>
                  <a:cxn ang="0">
                    <a:pos x="651" y="886"/>
                  </a:cxn>
                  <a:cxn ang="0">
                    <a:pos x="626" y="945"/>
                  </a:cxn>
                  <a:cxn ang="0">
                    <a:pos x="663" y="981"/>
                  </a:cxn>
                  <a:cxn ang="0">
                    <a:pos x="691" y="950"/>
                  </a:cxn>
                  <a:cxn ang="0">
                    <a:pos x="765" y="922"/>
                  </a:cxn>
                  <a:cxn ang="0">
                    <a:pos x="829" y="899"/>
                  </a:cxn>
                  <a:cxn ang="0">
                    <a:pos x="894" y="885"/>
                  </a:cxn>
                  <a:cxn ang="0">
                    <a:pos x="885" y="822"/>
                  </a:cxn>
                  <a:cxn ang="0">
                    <a:pos x="882" y="748"/>
                  </a:cxn>
                  <a:cxn ang="0">
                    <a:pos x="956" y="703"/>
                  </a:cxn>
                  <a:cxn ang="0">
                    <a:pos x="986" y="598"/>
                  </a:cxn>
                  <a:cxn ang="0">
                    <a:pos x="976" y="507"/>
                  </a:cxn>
                  <a:cxn ang="0">
                    <a:pos x="950" y="404"/>
                  </a:cxn>
                  <a:cxn ang="0">
                    <a:pos x="1016" y="393"/>
                  </a:cxn>
                  <a:cxn ang="0">
                    <a:pos x="1100" y="350"/>
                  </a:cxn>
                  <a:cxn ang="0">
                    <a:pos x="1011" y="284"/>
                  </a:cxn>
                  <a:cxn ang="0">
                    <a:pos x="900" y="208"/>
                  </a:cxn>
                  <a:cxn ang="0">
                    <a:pos x="842" y="203"/>
                  </a:cxn>
                  <a:cxn ang="0">
                    <a:pos x="740" y="185"/>
                  </a:cxn>
                  <a:cxn ang="0">
                    <a:pos x="442" y="271"/>
                  </a:cxn>
                  <a:cxn ang="0">
                    <a:pos x="546" y="305"/>
                  </a:cxn>
                  <a:cxn ang="0">
                    <a:pos x="493" y="353"/>
                  </a:cxn>
                  <a:cxn ang="0">
                    <a:pos x="440" y="276"/>
                  </a:cxn>
                </a:cxnLst>
                <a:rect l="0" t="0" r="r" b="b"/>
                <a:pathLst>
                  <a:path w="1136" h="983">
                    <a:moveTo>
                      <a:pt x="696" y="147"/>
                    </a:moveTo>
                    <a:lnTo>
                      <a:pt x="679" y="131"/>
                    </a:lnTo>
                    <a:lnTo>
                      <a:pt x="666" y="116"/>
                    </a:lnTo>
                    <a:lnTo>
                      <a:pt x="651" y="95"/>
                    </a:lnTo>
                    <a:lnTo>
                      <a:pt x="612" y="62"/>
                    </a:lnTo>
                    <a:lnTo>
                      <a:pt x="593" y="35"/>
                    </a:lnTo>
                    <a:lnTo>
                      <a:pt x="579" y="25"/>
                    </a:lnTo>
                    <a:lnTo>
                      <a:pt x="553" y="21"/>
                    </a:lnTo>
                    <a:lnTo>
                      <a:pt x="530" y="26"/>
                    </a:lnTo>
                    <a:lnTo>
                      <a:pt x="509" y="28"/>
                    </a:lnTo>
                    <a:lnTo>
                      <a:pt x="491" y="24"/>
                    </a:lnTo>
                    <a:lnTo>
                      <a:pt x="476" y="10"/>
                    </a:lnTo>
                    <a:lnTo>
                      <a:pt x="463" y="0"/>
                    </a:lnTo>
                    <a:lnTo>
                      <a:pt x="449" y="0"/>
                    </a:lnTo>
                    <a:lnTo>
                      <a:pt x="435" y="7"/>
                    </a:lnTo>
                    <a:lnTo>
                      <a:pt x="426" y="28"/>
                    </a:lnTo>
                    <a:lnTo>
                      <a:pt x="420" y="45"/>
                    </a:lnTo>
                    <a:lnTo>
                      <a:pt x="414" y="57"/>
                    </a:lnTo>
                    <a:lnTo>
                      <a:pt x="413" y="74"/>
                    </a:lnTo>
                    <a:lnTo>
                      <a:pt x="424" y="73"/>
                    </a:lnTo>
                    <a:lnTo>
                      <a:pt x="430" y="67"/>
                    </a:lnTo>
                    <a:lnTo>
                      <a:pt x="438" y="67"/>
                    </a:lnTo>
                    <a:lnTo>
                      <a:pt x="449" y="76"/>
                    </a:lnTo>
                    <a:lnTo>
                      <a:pt x="456" y="90"/>
                    </a:lnTo>
                    <a:lnTo>
                      <a:pt x="456" y="111"/>
                    </a:lnTo>
                    <a:lnTo>
                      <a:pt x="449" y="130"/>
                    </a:lnTo>
                    <a:lnTo>
                      <a:pt x="439" y="138"/>
                    </a:lnTo>
                    <a:lnTo>
                      <a:pt x="424" y="139"/>
                    </a:lnTo>
                    <a:lnTo>
                      <a:pt x="418" y="125"/>
                    </a:lnTo>
                    <a:lnTo>
                      <a:pt x="417" y="114"/>
                    </a:lnTo>
                    <a:lnTo>
                      <a:pt x="412" y="111"/>
                    </a:lnTo>
                    <a:lnTo>
                      <a:pt x="408" y="121"/>
                    </a:lnTo>
                    <a:lnTo>
                      <a:pt x="400" y="121"/>
                    </a:lnTo>
                    <a:lnTo>
                      <a:pt x="391" y="111"/>
                    </a:lnTo>
                    <a:lnTo>
                      <a:pt x="380" y="97"/>
                    </a:lnTo>
                    <a:lnTo>
                      <a:pt x="370" y="97"/>
                    </a:lnTo>
                    <a:lnTo>
                      <a:pt x="357" y="103"/>
                    </a:lnTo>
                    <a:lnTo>
                      <a:pt x="354" y="117"/>
                    </a:lnTo>
                    <a:lnTo>
                      <a:pt x="358" y="130"/>
                    </a:lnTo>
                    <a:lnTo>
                      <a:pt x="365" y="138"/>
                    </a:lnTo>
                    <a:lnTo>
                      <a:pt x="368" y="157"/>
                    </a:lnTo>
                    <a:lnTo>
                      <a:pt x="362" y="172"/>
                    </a:lnTo>
                    <a:lnTo>
                      <a:pt x="350" y="181"/>
                    </a:lnTo>
                    <a:lnTo>
                      <a:pt x="338" y="179"/>
                    </a:lnTo>
                    <a:lnTo>
                      <a:pt x="329" y="166"/>
                    </a:lnTo>
                    <a:lnTo>
                      <a:pt x="322" y="153"/>
                    </a:lnTo>
                    <a:lnTo>
                      <a:pt x="313" y="139"/>
                    </a:lnTo>
                    <a:lnTo>
                      <a:pt x="312" y="131"/>
                    </a:lnTo>
                    <a:lnTo>
                      <a:pt x="319" y="123"/>
                    </a:lnTo>
                    <a:lnTo>
                      <a:pt x="328" y="118"/>
                    </a:lnTo>
                    <a:lnTo>
                      <a:pt x="331" y="113"/>
                    </a:lnTo>
                    <a:lnTo>
                      <a:pt x="326" y="102"/>
                    </a:lnTo>
                    <a:lnTo>
                      <a:pt x="316" y="95"/>
                    </a:lnTo>
                    <a:lnTo>
                      <a:pt x="314" y="85"/>
                    </a:lnTo>
                    <a:lnTo>
                      <a:pt x="311" y="72"/>
                    </a:lnTo>
                    <a:lnTo>
                      <a:pt x="305" y="65"/>
                    </a:lnTo>
                    <a:lnTo>
                      <a:pt x="289" y="61"/>
                    </a:lnTo>
                    <a:lnTo>
                      <a:pt x="271" y="60"/>
                    </a:lnTo>
                    <a:lnTo>
                      <a:pt x="260" y="61"/>
                    </a:lnTo>
                    <a:lnTo>
                      <a:pt x="255" y="63"/>
                    </a:lnTo>
                    <a:lnTo>
                      <a:pt x="247" y="65"/>
                    </a:lnTo>
                    <a:lnTo>
                      <a:pt x="239" y="61"/>
                    </a:lnTo>
                    <a:lnTo>
                      <a:pt x="233" y="57"/>
                    </a:lnTo>
                    <a:lnTo>
                      <a:pt x="224" y="58"/>
                    </a:lnTo>
                    <a:lnTo>
                      <a:pt x="214" y="64"/>
                    </a:lnTo>
                    <a:lnTo>
                      <a:pt x="206" y="69"/>
                    </a:lnTo>
                    <a:lnTo>
                      <a:pt x="197" y="73"/>
                    </a:lnTo>
                    <a:lnTo>
                      <a:pt x="187" y="73"/>
                    </a:lnTo>
                    <a:lnTo>
                      <a:pt x="177" y="67"/>
                    </a:lnTo>
                    <a:lnTo>
                      <a:pt x="168" y="63"/>
                    </a:lnTo>
                    <a:lnTo>
                      <a:pt x="158" y="64"/>
                    </a:lnTo>
                    <a:lnTo>
                      <a:pt x="144" y="67"/>
                    </a:lnTo>
                    <a:lnTo>
                      <a:pt x="133" y="73"/>
                    </a:lnTo>
                    <a:lnTo>
                      <a:pt x="126" y="80"/>
                    </a:lnTo>
                    <a:lnTo>
                      <a:pt x="122" y="87"/>
                    </a:lnTo>
                    <a:lnTo>
                      <a:pt x="118" y="89"/>
                    </a:lnTo>
                    <a:lnTo>
                      <a:pt x="108" y="91"/>
                    </a:lnTo>
                    <a:lnTo>
                      <a:pt x="102" y="99"/>
                    </a:lnTo>
                    <a:lnTo>
                      <a:pt x="101" y="107"/>
                    </a:lnTo>
                    <a:lnTo>
                      <a:pt x="107" y="113"/>
                    </a:lnTo>
                    <a:lnTo>
                      <a:pt x="111" y="119"/>
                    </a:lnTo>
                    <a:lnTo>
                      <a:pt x="108" y="125"/>
                    </a:lnTo>
                    <a:lnTo>
                      <a:pt x="101" y="130"/>
                    </a:lnTo>
                    <a:lnTo>
                      <a:pt x="91" y="132"/>
                    </a:lnTo>
                    <a:lnTo>
                      <a:pt x="83" y="137"/>
                    </a:lnTo>
                    <a:lnTo>
                      <a:pt x="78" y="147"/>
                    </a:lnTo>
                    <a:lnTo>
                      <a:pt x="77" y="159"/>
                    </a:lnTo>
                    <a:lnTo>
                      <a:pt x="78" y="169"/>
                    </a:lnTo>
                    <a:lnTo>
                      <a:pt x="86" y="174"/>
                    </a:lnTo>
                    <a:lnTo>
                      <a:pt x="99" y="175"/>
                    </a:lnTo>
                    <a:lnTo>
                      <a:pt x="111" y="176"/>
                    </a:lnTo>
                    <a:lnTo>
                      <a:pt x="128" y="177"/>
                    </a:lnTo>
                    <a:lnTo>
                      <a:pt x="144" y="182"/>
                    </a:lnTo>
                    <a:lnTo>
                      <a:pt x="161" y="193"/>
                    </a:lnTo>
                    <a:lnTo>
                      <a:pt x="167" y="202"/>
                    </a:lnTo>
                    <a:lnTo>
                      <a:pt x="169" y="214"/>
                    </a:lnTo>
                    <a:lnTo>
                      <a:pt x="166" y="220"/>
                    </a:lnTo>
                    <a:lnTo>
                      <a:pt x="155" y="219"/>
                    </a:lnTo>
                    <a:lnTo>
                      <a:pt x="148" y="214"/>
                    </a:lnTo>
                    <a:lnTo>
                      <a:pt x="142" y="205"/>
                    </a:lnTo>
                    <a:lnTo>
                      <a:pt x="135" y="198"/>
                    </a:lnTo>
                    <a:lnTo>
                      <a:pt x="131" y="199"/>
                    </a:lnTo>
                    <a:lnTo>
                      <a:pt x="126" y="209"/>
                    </a:lnTo>
                    <a:lnTo>
                      <a:pt x="126" y="221"/>
                    </a:lnTo>
                    <a:lnTo>
                      <a:pt x="126" y="237"/>
                    </a:lnTo>
                    <a:lnTo>
                      <a:pt x="123" y="253"/>
                    </a:lnTo>
                    <a:lnTo>
                      <a:pt x="118" y="270"/>
                    </a:lnTo>
                    <a:lnTo>
                      <a:pt x="116" y="291"/>
                    </a:lnTo>
                    <a:lnTo>
                      <a:pt x="123" y="304"/>
                    </a:lnTo>
                    <a:lnTo>
                      <a:pt x="124" y="316"/>
                    </a:lnTo>
                    <a:lnTo>
                      <a:pt x="121" y="327"/>
                    </a:lnTo>
                    <a:lnTo>
                      <a:pt x="109" y="337"/>
                    </a:lnTo>
                    <a:lnTo>
                      <a:pt x="97" y="348"/>
                    </a:lnTo>
                    <a:lnTo>
                      <a:pt x="88" y="363"/>
                    </a:lnTo>
                    <a:lnTo>
                      <a:pt x="85" y="385"/>
                    </a:lnTo>
                    <a:lnTo>
                      <a:pt x="81" y="407"/>
                    </a:lnTo>
                    <a:lnTo>
                      <a:pt x="75" y="424"/>
                    </a:lnTo>
                    <a:lnTo>
                      <a:pt x="73" y="441"/>
                    </a:lnTo>
                    <a:lnTo>
                      <a:pt x="70" y="447"/>
                    </a:lnTo>
                    <a:lnTo>
                      <a:pt x="58" y="449"/>
                    </a:lnTo>
                    <a:lnTo>
                      <a:pt x="45" y="446"/>
                    </a:lnTo>
                    <a:lnTo>
                      <a:pt x="37" y="443"/>
                    </a:lnTo>
                    <a:lnTo>
                      <a:pt x="25" y="441"/>
                    </a:lnTo>
                    <a:lnTo>
                      <a:pt x="12" y="442"/>
                    </a:lnTo>
                    <a:lnTo>
                      <a:pt x="4" y="444"/>
                    </a:lnTo>
                    <a:lnTo>
                      <a:pt x="3" y="450"/>
                    </a:lnTo>
                    <a:lnTo>
                      <a:pt x="6" y="459"/>
                    </a:lnTo>
                    <a:lnTo>
                      <a:pt x="12" y="462"/>
                    </a:lnTo>
                    <a:lnTo>
                      <a:pt x="14" y="469"/>
                    </a:lnTo>
                    <a:lnTo>
                      <a:pt x="12" y="476"/>
                    </a:lnTo>
                    <a:lnTo>
                      <a:pt x="5" y="483"/>
                    </a:lnTo>
                    <a:lnTo>
                      <a:pt x="1" y="491"/>
                    </a:lnTo>
                    <a:lnTo>
                      <a:pt x="0" y="503"/>
                    </a:lnTo>
                    <a:lnTo>
                      <a:pt x="3" y="512"/>
                    </a:lnTo>
                    <a:lnTo>
                      <a:pt x="11" y="518"/>
                    </a:lnTo>
                    <a:lnTo>
                      <a:pt x="22" y="519"/>
                    </a:lnTo>
                    <a:lnTo>
                      <a:pt x="31" y="515"/>
                    </a:lnTo>
                    <a:lnTo>
                      <a:pt x="39" y="510"/>
                    </a:lnTo>
                    <a:lnTo>
                      <a:pt x="47" y="509"/>
                    </a:lnTo>
                    <a:lnTo>
                      <a:pt x="52" y="515"/>
                    </a:lnTo>
                    <a:lnTo>
                      <a:pt x="54" y="527"/>
                    </a:lnTo>
                    <a:lnTo>
                      <a:pt x="53" y="537"/>
                    </a:lnTo>
                    <a:lnTo>
                      <a:pt x="57" y="546"/>
                    </a:lnTo>
                    <a:lnTo>
                      <a:pt x="67" y="556"/>
                    </a:lnTo>
                    <a:lnTo>
                      <a:pt x="76" y="564"/>
                    </a:lnTo>
                    <a:lnTo>
                      <a:pt x="92" y="565"/>
                    </a:lnTo>
                    <a:lnTo>
                      <a:pt x="109" y="564"/>
                    </a:lnTo>
                    <a:lnTo>
                      <a:pt x="129" y="563"/>
                    </a:lnTo>
                    <a:lnTo>
                      <a:pt x="141" y="560"/>
                    </a:lnTo>
                    <a:lnTo>
                      <a:pt x="148" y="557"/>
                    </a:lnTo>
                    <a:lnTo>
                      <a:pt x="156" y="559"/>
                    </a:lnTo>
                    <a:lnTo>
                      <a:pt x="163" y="563"/>
                    </a:lnTo>
                    <a:lnTo>
                      <a:pt x="168" y="565"/>
                    </a:lnTo>
                    <a:lnTo>
                      <a:pt x="173" y="564"/>
                    </a:lnTo>
                    <a:lnTo>
                      <a:pt x="180" y="555"/>
                    </a:lnTo>
                    <a:lnTo>
                      <a:pt x="183" y="543"/>
                    </a:lnTo>
                    <a:lnTo>
                      <a:pt x="188" y="533"/>
                    </a:lnTo>
                    <a:lnTo>
                      <a:pt x="196" y="523"/>
                    </a:lnTo>
                    <a:lnTo>
                      <a:pt x="202" y="518"/>
                    </a:lnTo>
                    <a:lnTo>
                      <a:pt x="209" y="518"/>
                    </a:lnTo>
                    <a:lnTo>
                      <a:pt x="214" y="522"/>
                    </a:lnTo>
                    <a:lnTo>
                      <a:pt x="220" y="529"/>
                    </a:lnTo>
                    <a:lnTo>
                      <a:pt x="231" y="537"/>
                    </a:lnTo>
                    <a:lnTo>
                      <a:pt x="239" y="543"/>
                    </a:lnTo>
                    <a:lnTo>
                      <a:pt x="249" y="549"/>
                    </a:lnTo>
                    <a:lnTo>
                      <a:pt x="256" y="550"/>
                    </a:lnTo>
                    <a:lnTo>
                      <a:pt x="263" y="554"/>
                    </a:lnTo>
                    <a:lnTo>
                      <a:pt x="269" y="563"/>
                    </a:lnTo>
                    <a:lnTo>
                      <a:pt x="271" y="572"/>
                    </a:lnTo>
                    <a:lnTo>
                      <a:pt x="274" y="581"/>
                    </a:lnTo>
                    <a:lnTo>
                      <a:pt x="276" y="591"/>
                    </a:lnTo>
                    <a:lnTo>
                      <a:pt x="272" y="607"/>
                    </a:lnTo>
                    <a:lnTo>
                      <a:pt x="268" y="614"/>
                    </a:lnTo>
                    <a:lnTo>
                      <a:pt x="263" y="622"/>
                    </a:lnTo>
                    <a:lnTo>
                      <a:pt x="263" y="628"/>
                    </a:lnTo>
                    <a:lnTo>
                      <a:pt x="268" y="632"/>
                    </a:lnTo>
                    <a:lnTo>
                      <a:pt x="276" y="635"/>
                    </a:lnTo>
                    <a:lnTo>
                      <a:pt x="278" y="640"/>
                    </a:lnTo>
                    <a:lnTo>
                      <a:pt x="279" y="647"/>
                    </a:lnTo>
                    <a:lnTo>
                      <a:pt x="272" y="652"/>
                    </a:lnTo>
                    <a:lnTo>
                      <a:pt x="263" y="659"/>
                    </a:lnTo>
                    <a:lnTo>
                      <a:pt x="254" y="665"/>
                    </a:lnTo>
                    <a:lnTo>
                      <a:pt x="252" y="673"/>
                    </a:lnTo>
                    <a:lnTo>
                      <a:pt x="255" y="681"/>
                    </a:lnTo>
                    <a:lnTo>
                      <a:pt x="264" y="684"/>
                    </a:lnTo>
                    <a:lnTo>
                      <a:pt x="278" y="683"/>
                    </a:lnTo>
                    <a:lnTo>
                      <a:pt x="296" y="679"/>
                    </a:lnTo>
                    <a:lnTo>
                      <a:pt x="315" y="672"/>
                    </a:lnTo>
                    <a:lnTo>
                      <a:pt x="330" y="665"/>
                    </a:lnTo>
                    <a:lnTo>
                      <a:pt x="338" y="657"/>
                    </a:lnTo>
                    <a:lnTo>
                      <a:pt x="344" y="652"/>
                    </a:lnTo>
                    <a:lnTo>
                      <a:pt x="353" y="651"/>
                    </a:lnTo>
                    <a:lnTo>
                      <a:pt x="356" y="653"/>
                    </a:lnTo>
                    <a:lnTo>
                      <a:pt x="358" y="661"/>
                    </a:lnTo>
                    <a:lnTo>
                      <a:pt x="362" y="664"/>
                    </a:lnTo>
                    <a:lnTo>
                      <a:pt x="369" y="664"/>
                    </a:lnTo>
                    <a:lnTo>
                      <a:pt x="374" y="659"/>
                    </a:lnTo>
                    <a:lnTo>
                      <a:pt x="378" y="652"/>
                    </a:lnTo>
                    <a:lnTo>
                      <a:pt x="380" y="649"/>
                    </a:lnTo>
                    <a:lnTo>
                      <a:pt x="386" y="646"/>
                    </a:lnTo>
                    <a:lnTo>
                      <a:pt x="392" y="640"/>
                    </a:lnTo>
                    <a:lnTo>
                      <a:pt x="392" y="633"/>
                    </a:lnTo>
                    <a:lnTo>
                      <a:pt x="385" y="625"/>
                    </a:lnTo>
                    <a:lnTo>
                      <a:pt x="377" y="618"/>
                    </a:lnTo>
                    <a:lnTo>
                      <a:pt x="369" y="614"/>
                    </a:lnTo>
                    <a:lnTo>
                      <a:pt x="362" y="609"/>
                    </a:lnTo>
                    <a:lnTo>
                      <a:pt x="359" y="595"/>
                    </a:lnTo>
                    <a:lnTo>
                      <a:pt x="358" y="582"/>
                    </a:lnTo>
                    <a:lnTo>
                      <a:pt x="358" y="567"/>
                    </a:lnTo>
                    <a:lnTo>
                      <a:pt x="355" y="560"/>
                    </a:lnTo>
                    <a:lnTo>
                      <a:pt x="348" y="553"/>
                    </a:lnTo>
                    <a:lnTo>
                      <a:pt x="344" y="547"/>
                    </a:lnTo>
                    <a:lnTo>
                      <a:pt x="344" y="540"/>
                    </a:lnTo>
                    <a:lnTo>
                      <a:pt x="348" y="531"/>
                    </a:lnTo>
                    <a:lnTo>
                      <a:pt x="359" y="528"/>
                    </a:lnTo>
                    <a:lnTo>
                      <a:pt x="368" y="528"/>
                    </a:lnTo>
                    <a:lnTo>
                      <a:pt x="378" y="533"/>
                    </a:lnTo>
                    <a:lnTo>
                      <a:pt x="386" y="534"/>
                    </a:lnTo>
                    <a:lnTo>
                      <a:pt x="395" y="533"/>
                    </a:lnTo>
                    <a:lnTo>
                      <a:pt x="402" y="530"/>
                    </a:lnTo>
                    <a:lnTo>
                      <a:pt x="410" y="524"/>
                    </a:lnTo>
                    <a:lnTo>
                      <a:pt x="419" y="515"/>
                    </a:lnTo>
                    <a:lnTo>
                      <a:pt x="430" y="511"/>
                    </a:lnTo>
                    <a:lnTo>
                      <a:pt x="438" y="511"/>
                    </a:lnTo>
                    <a:lnTo>
                      <a:pt x="446" y="512"/>
                    </a:lnTo>
                    <a:lnTo>
                      <a:pt x="450" y="520"/>
                    </a:lnTo>
                    <a:lnTo>
                      <a:pt x="451" y="529"/>
                    </a:lnTo>
                    <a:lnTo>
                      <a:pt x="452" y="538"/>
                    </a:lnTo>
                    <a:lnTo>
                      <a:pt x="453" y="549"/>
                    </a:lnTo>
                    <a:lnTo>
                      <a:pt x="458" y="554"/>
                    </a:lnTo>
                    <a:lnTo>
                      <a:pt x="467" y="556"/>
                    </a:lnTo>
                    <a:lnTo>
                      <a:pt x="473" y="556"/>
                    </a:lnTo>
                    <a:lnTo>
                      <a:pt x="486" y="550"/>
                    </a:lnTo>
                    <a:lnTo>
                      <a:pt x="492" y="540"/>
                    </a:lnTo>
                    <a:lnTo>
                      <a:pt x="503" y="535"/>
                    </a:lnTo>
                    <a:lnTo>
                      <a:pt x="509" y="529"/>
                    </a:lnTo>
                    <a:lnTo>
                      <a:pt x="515" y="522"/>
                    </a:lnTo>
                    <a:lnTo>
                      <a:pt x="524" y="517"/>
                    </a:lnTo>
                    <a:lnTo>
                      <a:pt x="534" y="519"/>
                    </a:lnTo>
                    <a:lnTo>
                      <a:pt x="540" y="524"/>
                    </a:lnTo>
                    <a:lnTo>
                      <a:pt x="545" y="535"/>
                    </a:lnTo>
                    <a:lnTo>
                      <a:pt x="546" y="553"/>
                    </a:lnTo>
                    <a:lnTo>
                      <a:pt x="545" y="566"/>
                    </a:lnTo>
                    <a:lnTo>
                      <a:pt x="539" y="575"/>
                    </a:lnTo>
                    <a:lnTo>
                      <a:pt x="528" y="585"/>
                    </a:lnTo>
                    <a:lnTo>
                      <a:pt x="519" y="592"/>
                    </a:lnTo>
                    <a:lnTo>
                      <a:pt x="512" y="600"/>
                    </a:lnTo>
                    <a:lnTo>
                      <a:pt x="512" y="607"/>
                    </a:lnTo>
                    <a:lnTo>
                      <a:pt x="519" y="611"/>
                    </a:lnTo>
                    <a:lnTo>
                      <a:pt x="521" y="621"/>
                    </a:lnTo>
                    <a:lnTo>
                      <a:pt x="524" y="630"/>
                    </a:lnTo>
                    <a:lnTo>
                      <a:pt x="523" y="642"/>
                    </a:lnTo>
                    <a:lnTo>
                      <a:pt x="520" y="654"/>
                    </a:lnTo>
                    <a:lnTo>
                      <a:pt x="521" y="663"/>
                    </a:lnTo>
                    <a:lnTo>
                      <a:pt x="533" y="670"/>
                    </a:lnTo>
                    <a:lnTo>
                      <a:pt x="549" y="676"/>
                    </a:lnTo>
                    <a:lnTo>
                      <a:pt x="551" y="683"/>
                    </a:lnTo>
                    <a:lnTo>
                      <a:pt x="549" y="690"/>
                    </a:lnTo>
                    <a:lnTo>
                      <a:pt x="544" y="695"/>
                    </a:lnTo>
                    <a:lnTo>
                      <a:pt x="542" y="701"/>
                    </a:lnTo>
                    <a:lnTo>
                      <a:pt x="544" y="708"/>
                    </a:lnTo>
                    <a:lnTo>
                      <a:pt x="550" y="714"/>
                    </a:lnTo>
                    <a:lnTo>
                      <a:pt x="557" y="716"/>
                    </a:lnTo>
                    <a:lnTo>
                      <a:pt x="562" y="719"/>
                    </a:lnTo>
                    <a:lnTo>
                      <a:pt x="566" y="724"/>
                    </a:lnTo>
                    <a:lnTo>
                      <a:pt x="567" y="734"/>
                    </a:lnTo>
                    <a:lnTo>
                      <a:pt x="569" y="741"/>
                    </a:lnTo>
                    <a:lnTo>
                      <a:pt x="572" y="744"/>
                    </a:lnTo>
                    <a:lnTo>
                      <a:pt x="575" y="752"/>
                    </a:lnTo>
                    <a:lnTo>
                      <a:pt x="579" y="756"/>
                    </a:lnTo>
                    <a:lnTo>
                      <a:pt x="594" y="758"/>
                    </a:lnTo>
                    <a:lnTo>
                      <a:pt x="601" y="761"/>
                    </a:lnTo>
                    <a:lnTo>
                      <a:pt x="608" y="770"/>
                    </a:lnTo>
                    <a:lnTo>
                      <a:pt x="607" y="784"/>
                    </a:lnTo>
                    <a:lnTo>
                      <a:pt x="599" y="799"/>
                    </a:lnTo>
                    <a:lnTo>
                      <a:pt x="590" y="815"/>
                    </a:lnTo>
                    <a:lnTo>
                      <a:pt x="588" y="833"/>
                    </a:lnTo>
                    <a:lnTo>
                      <a:pt x="591" y="839"/>
                    </a:lnTo>
                    <a:lnTo>
                      <a:pt x="610" y="848"/>
                    </a:lnTo>
                    <a:lnTo>
                      <a:pt x="629" y="849"/>
                    </a:lnTo>
                    <a:lnTo>
                      <a:pt x="649" y="849"/>
                    </a:lnTo>
                    <a:lnTo>
                      <a:pt x="658" y="855"/>
                    </a:lnTo>
                    <a:lnTo>
                      <a:pt x="667" y="868"/>
                    </a:lnTo>
                    <a:lnTo>
                      <a:pt x="670" y="878"/>
                    </a:lnTo>
                    <a:lnTo>
                      <a:pt x="668" y="885"/>
                    </a:lnTo>
                    <a:lnTo>
                      <a:pt x="659" y="887"/>
                    </a:lnTo>
                    <a:lnTo>
                      <a:pt x="651" y="886"/>
                    </a:lnTo>
                    <a:lnTo>
                      <a:pt x="645" y="893"/>
                    </a:lnTo>
                    <a:lnTo>
                      <a:pt x="645" y="904"/>
                    </a:lnTo>
                    <a:lnTo>
                      <a:pt x="649" y="909"/>
                    </a:lnTo>
                    <a:lnTo>
                      <a:pt x="650" y="922"/>
                    </a:lnTo>
                    <a:lnTo>
                      <a:pt x="647" y="930"/>
                    </a:lnTo>
                    <a:lnTo>
                      <a:pt x="637" y="937"/>
                    </a:lnTo>
                    <a:lnTo>
                      <a:pt x="626" y="945"/>
                    </a:lnTo>
                    <a:lnTo>
                      <a:pt x="621" y="950"/>
                    </a:lnTo>
                    <a:lnTo>
                      <a:pt x="619" y="959"/>
                    </a:lnTo>
                    <a:lnTo>
                      <a:pt x="622" y="969"/>
                    </a:lnTo>
                    <a:lnTo>
                      <a:pt x="631" y="976"/>
                    </a:lnTo>
                    <a:lnTo>
                      <a:pt x="643" y="982"/>
                    </a:lnTo>
                    <a:lnTo>
                      <a:pt x="652" y="983"/>
                    </a:lnTo>
                    <a:lnTo>
                      <a:pt x="663" y="981"/>
                    </a:lnTo>
                    <a:lnTo>
                      <a:pt x="671" y="979"/>
                    </a:lnTo>
                    <a:lnTo>
                      <a:pt x="675" y="971"/>
                    </a:lnTo>
                    <a:lnTo>
                      <a:pt x="674" y="965"/>
                    </a:lnTo>
                    <a:lnTo>
                      <a:pt x="673" y="959"/>
                    </a:lnTo>
                    <a:lnTo>
                      <a:pt x="673" y="954"/>
                    </a:lnTo>
                    <a:lnTo>
                      <a:pt x="679" y="950"/>
                    </a:lnTo>
                    <a:lnTo>
                      <a:pt x="691" y="950"/>
                    </a:lnTo>
                    <a:lnTo>
                      <a:pt x="699" y="950"/>
                    </a:lnTo>
                    <a:lnTo>
                      <a:pt x="708" y="948"/>
                    </a:lnTo>
                    <a:lnTo>
                      <a:pt x="716" y="943"/>
                    </a:lnTo>
                    <a:lnTo>
                      <a:pt x="735" y="930"/>
                    </a:lnTo>
                    <a:lnTo>
                      <a:pt x="746" y="925"/>
                    </a:lnTo>
                    <a:lnTo>
                      <a:pt x="757" y="923"/>
                    </a:lnTo>
                    <a:lnTo>
                      <a:pt x="765" y="922"/>
                    </a:lnTo>
                    <a:lnTo>
                      <a:pt x="773" y="918"/>
                    </a:lnTo>
                    <a:lnTo>
                      <a:pt x="782" y="909"/>
                    </a:lnTo>
                    <a:lnTo>
                      <a:pt x="790" y="900"/>
                    </a:lnTo>
                    <a:lnTo>
                      <a:pt x="799" y="895"/>
                    </a:lnTo>
                    <a:lnTo>
                      <a:pt x="810" y="894"/>
                    </a:lnTo>
                    <a:lnTo>
                      <a:pt x="821" y="895"/>
                    </a:lnTo>
                    <a:lnTo>
                      <a:pt x="829" y="899"/>
                    </a:lnTo>
                    <a:lnTo>
                      <a:pt x="837" y="900"/>
                    </a:lnTo>
                    <a:lnTo>
                      <a:pt x="850" y="896"/>
                    </a:lnTo>
                    <a:lnTo>
                      <a:pt x="861" y="891"/>
                    </a:lnTo>
                    <a:lnTo>
                      <a:pt x="869" y="887"/>
                    </a:lnTo>
                    <a:lnTo>
                      <a:pt x="878" y="887"/>
                    </a:lnTo>
                    <a:lnTo>
                      <a:pt x="888" y="886"/>
                    </a:lnTo>
                    <a:lnTo>
                      <a:pt x="894" y="885"/>
                    </a:lnTo>
                    <a:lnTo>
                      <a:pt x="895" y="878"/>
                    </a:lnTo>
                    <a:lnTo>
                      <a:pt x="893" y="872"/>
                    </a:lnTo>
                    <a:lnTo>
                      <a:pt x="889" y="866"/>
                    </a:lnTo>
                    <a:lnTo>
                      <a:pt x="886" y="859"/>
                    </a:lnTo>
                    <a:lnTo>
                      <a:pt x="890" y="844"/>
                    </a:lnTo>
                    <a:lnTo>
                      <a:pt x="889" y="830"/>
                    </a:lnTo>
                    <a:lnTo>
                      <a:pt x="885" y="822"/>
                    </a:lnTo>
                    <a:lnTo>
                      <a:pt x="878" y="803"/>
                    </a:lnTo>
                    <a:lnTo>
                      <a:pt x="877" y="790"/>
                    </a:lnTo>
                    <a:lnTo>
                      <a:pt x="879" y="776"/>
                    </a:lnTo>
                    <a:lnTo>
                      <a:pt x="884" y="768"/>
                    </a:lnTo>
                    <a:lnTo>
                      <a:pt x="886" y="763"/>
                    </a:lnTo>
                    <a:lnTo>
                      <a:pt x="886" y="754"/>
                    </a:lnTo>
                    <a:lnTo>
                      <a:pt x="882" y="748"/>
                    </a:lnTo>
                    <a:lnTo>
                      <a:pt x="877" y="739"/>
                    </a:lnTo>
                    <a:lnTo>
                      <a:pt x="878" y="731"/>
                    </a:lnTo>
                    <a:lnTo>
                      <a:pt x="885" y="724"/>
                    </a:lnTo>
                    <a:lnTo>
                      <a:pt x="899" y="722"/>
                    </a:lnTo>
                    <a:lnTo>
                      <a:pt x="911" y="722"/>
                    </a:lnTo>
                    <a:lnTo>
                      <a:pt x="925" y="722"/>
                    </a:lnTo>
                    <a:lnTo>
                      <a:pt x="956" y="703"/>
                    </a:lnTo>
                    <a:lnTo>
                      <a:pt x="977" y="682"/>
                    </a:lnTo>
                    <a:lnTo>
                      <a:pt x="985" y="664"/>
                    </a:lnTo>
                    <a:lnTo>
                      <a:pt x="986" y="646"/>
                    </a:lnTo>
                    <a:lnTo>
                      <a:pt x="983" y="632"/>
                    </a:lnTo>
                    <a:lnTo>
                      <a:pt x="977" y="622"/>
                    </a:lnTo>
                    <a:lnTo>
                      <a:pt x="980" y="609"/>
                    </a:lnTo>
                    <a:lnTo>
                      <a:pt x="986" y="598"/>
                    </a:lnTo>
                    <a:lnTo>
                      <a:pt x="984" y="588"/>
                    </a:lnTo>
                    <a:lnTo>
                      <a:pt x="977" y="578"/>
                    </a:lnTo>
                    <a:lnTo>
                      <a:pt x="976" y="566"/>
                    </a:lnTo>
                    <a:lnTo>
                      <a:pt x="984" y="556"/>
                    </a:lnTo>
                    <a:lnTo>
                      <a:pt x="985" y="542"/>
                    </a:lnTo>
                    <a:lnTo>
                      <a:pt x="978" y="528"/>
                    </a:lnTo>
                    <a:lnTo>
                      <a:pt x="976" y="507"/>
                    </a:lnTo>
                    <a:lnTo>
                      <a:pt x="965" y="487"/>
                    </a:lnTo>
                    <a:lnTo>
                      <a:pt x="951" y="472"/>
                    </a:lnTo>
                    <a:lnTo>
                      <a:pt x="943" y="457"/>
                    </a:lnTo>
                    <a:lnTo>
                      <a:pt x="936" y="436"/>
                    </a:lnTo>
                    <a:lnTo>
                      <a:pt x="933" y="418"/>
                    </a:lnTo>
                    <a:lnTo>
                      <a:pt x="936" y="407"/>
                    </a:lnTo>
                    <a:lnTo>
                      <a:pt x="950" y="404"/>
                    </a:lnTo>
                    <a:lnTo>
                      <a:pt x="963" y="402"/>
                    </a:lnTo>
                    <a:lnTo>
                      <a:pt x="971" y="393"/>
                    </a:lnTo>
                    <a:lnTo>
                      <a:pt x="975" y="385"/>
                    </a:lnTo>
                    <a:lnTo>
                      <a:pt x="984" y="375"/>
                    </a:lnTo>
                    <a:lnTo>
                      <a:pt x="1000" y="375"/>
                    </a:lnTo>
                    <a:lnTo>
                      <a:pt x="1008" y="381"/>
                    </a:lnTo>
                    <a:lnTo>
                      <a:pt x="1016" y="393"/>
                    </a:lnTo>
                    <a:lnTo>
                      <a:pt x="1026" y="396"/>
                    </a:lnTo>
                    <a:lnTo>
                      <a:pt x="1039" y="390"/>
                    </a:lnTo>
                    <a:lnTo>
                      <a:pt x="1048" y="386"/>
                    </a:lnTo>
                    <a:lnTo>
                      <a:pt x="1060" y="388"/>
                    </a:lnTo>
                    <a:lnTo>
                      <a:pt x="1067" y="388"/>
                    </a:lnTo>
                    <a:lnTo>
                      <a:pt x="1080" y="372"/>
                    </a:lnTo>
                    <a:lnTo>
                      <a:pt x="1100" y="350"/>
                    </a:lnTo>
                    <a:lnTo>
                      <a:pt x="1110" y="338"/>
                    </a:lnTo>
                    <a:lnTo>
                      <a:pt x="1115" y="333"/>
                    </a:lnTo>
                    <a:lnTo>
                      <a:pt x="1124" y="325"/>
                    </a:lnTo>
                    <a:lnTo>
                      <a:pt x="1136" y="317"/>
                    </a:lnTo>
                    <a:lnTo>
                      <a:pt x="1097" y="318"/>
                    </a:lnTo>
                    <a:lnTo>
                      <a:pt x="1045" y="317"/>
                    </a:lnTo>
                    <a:lnTo>
                      <a:pt x="1011" y="284"/>
                    </a:lnTo>
                    <a:lnTo>
                      <a:pt x="1002" y="279"/>
                    </a:lnTo>
                    <a:lnTo>
                      <a:pt x="993" y="275"/>
                    </a:lnTo>
                    <a:lnTo>
                      <a:pt x="986" y="268"/>
                    </a:lnTo>
                    <a:lnTo>
                      <a:pt x="974" y="250"/>
                    </a:lnTo>
                    <a:lnTo>
                      <a:pt x="939" y="248"/>
                    </a:lnTo>
                    <a:lnTo>
                      <a:pt x="919" y="229"/>
                    </a:lnTo>
                    <a:lnTo>
                      <a:pt x="900" y="208"/>
                    </a:lnTo>
                    <a:lnTo>
                      <a:pt x="891" y="203"/>
                    </a:lnTo>
                    <a:lnTo>
                      <a:pt x="890" y="208"/>
                    </a:lnTo>
                    <a:lnTo>
                      <a:pt x="881" y="211"/>
                    </a:lnTo>
                    <a:lnTo>
                      <a:pt x="865" y="205"/>
                    </a:lnTo>
                    <a:lnTo>
                      <a:pt x="853" y="199"/>
                    </a:lnTo>
                    <a:lnTo>
                      <a:pt x="846" y="195"/>
                    </a:lnTo>
                    <a:lnTo>
                      <a:pt x="842" y="203"/>
                    </a:lnTo>
                    <a:lnTo>
                      <a:pt x="829" y="204"/>
                    </a:lnTo>
                    <a:lnTo>
                      <a:pt x="798" y="195"/>
                    </a:lnTo>
                    <a:lnTo>
                      <a:pt x="787" y="190"/>
                    </a:lnTo>
                    <a:lnTo>
                      <a:pt x="766" y="179"/>
                    </a:lnTo>
                    <a:lnTo>
                      <a:pt x="757" y="177"/>
                    </a:lnTo>
                    <a:lnTo>
                      <a:pt x="748" y="178"/>
                    </a:lnTo>
                    <a:lnTo>
                      <a:pt x="740" y="185"/>
                    </a:lnTo>
                    <a:lnTo>
                      <a:pt x="726" y="187"/>
                    </a:lnTo>
                    <a:lnTo>
                      <a:pt x="717" y="184"/>
                    </a:lnTo>
                    <a:lnTo>
                      <a:pt x="708" y="177"/>
                    </a:lnTo>
                    <a:lnTo>
                      <a:pt x="698" y="161"/>
                    </a:lnTo>
                    <a:lnTo>
                      <a:pt x="696" y="147"/>
                    </a:lnTo>
                    <a:lnTo>
                      <a:pt x="696" y="147"/>
                    </a:lnTo>
                    <a:close/>
                    <a:moveTo>
                      <a:pt x="442" y="271"/>
                    </a:moveTo>
                    <a:lnTo>
                      <a:pt x="442" y="271"/>
                    </a:lnTo>
                    <a:lnTo>
                      <a:pt x="462" y="278"/>
                    </a:lnTo>
                    <a:lnTo>
                      <a:pt x="478" y="291"/>
                    </a:lnTo>
                    <a:lnTo>
                      <a:pt x="496" y="297"/>
                    </a:lnTo>
                    <a:lnTo>
                      <a:pt x="514" y="302"/>
                    </a:lnTo>
                    <a:lnTo>
                      <a:pt x="531" y="304"/>
                    </a:lnTo>
                    <a:lnTo>
                      <a:pt x="546" y="305"/>
                    </a:lnTo>
                    <a:lnTo>
                      <a:pt x="554" y="322"/>
                    </a:lnTo>
                    <a:lnTo>
                      <a:pt x="554" y="342"/>
                    </a:lnTo>
                    <a:lnTo>
                      <a:pt x="550" y="358"/>
                    </a:lnTo>
                    <a:lnTo>
                      <a:pt x="531" y="365"/>
                    </a:lnTo>
                    <a:lnTo>
                      <a:pt x="517" y="362"/>
                    </a:lnTo>
                    <a:lnTo>
                      <a:pt x="508" y="354"/>
                    </a:lnTo>
                    <a:lnTo>
                      <a:pt x="493" y="353"/>
                    </a:lnTo>
                    <a:lnTo>
                      <a:pt x="481" y="345"/>
                    </a:lnTo>
                    <a:lnTo>
                      <a:pt x="478" y="329"/>
                    </a:lnTo>
                    <a:lnTo>
                      <a:pt x="477" y="317"/>
                    </a:lnTo>
                    <a:lnTo>
                      <a:pt x="462" y="310"/>
                    </a:lnTo>
                    <a:lnTo>
                      <a:pt x="448" y="300"/>
                    </a:lnTo>
                    <a:lnTo>
                      <a:pt x="441" y="285"/>
                    </a:lnTo>
                    <a:lnTo>
                      <a:pt x="440" y="276"/>
                    </a:lnTo>
                    <a:lnTo>
                      <a:pt x="442" y="271"/>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4" name="Freeform 8">
                <a:extLst>
                  <a:ext uri="{FF2B5EF4-FFF2-40B4-BE49-F238E27FC236}">
                    <a16:creationId xmlns:a16="http://schemas.microsoft.com/office/drawing/2014/main" id="{E87DE5A0-73E0-436A-8DD7-B9C40DF65DC0}"/>
                  </a:ext>
                </a:extLst>
              </p:cNvPr>
              <p:cNvSpPr>
                <a:spLocks/>
              </p:cNvSpPr>
              <p:nvPr/>
            </p:nvSpPr>
            <p:spPr bwMode="auto">
              <a:xfrm>
                <a:off x="3676553" y="2740788"/>
                <a:ext cx="55007" cy="36189"/>
              </a:xfrm>
              <a:custGeom>
                <a:avLst/>
                <a:gdLst/>
                <a:ahLst/>
                <a:cxnLst>
                  <a:cxn ang="0">
                    <a:pos x="38" y="12"/>
                  </a:cxn>
                  <a:cxn ang="0">
                    <a:pos x="31" y="2"/>
                  </a:cxn>
                  <a:cxn ang="0">
                    <a:pos x="19" y="0"/>
                  </a:cxn>
                  <a:cxn ang="0">
                    <a:pos x="4" y="4"/>
                  </a:cxn>
                  <a:cxn ang="0">
                    <a:pos x="1" y="14"/>
                  </a:cxn>
                  <a:cxn ang="0">
                    <a:pos x="0" y="22"/>
                  </a:cxn>
                  <a:cxn ang="0">
                    <a:pos x="7" y="25"/>
                  </a:cxn>
                  <a:cxn ang="0">
                    <a:pos x="15" y="24"/>
                  </a:cxn>
                  <a:cxn ang="0">
                    <a:pos x="16" y="19"/>
                  </a:cxn>
                  <a:cxn ang="0">
                    <a:pos x="20" y="15"/>
                  </a:cxn>
                  <a:cxn ang="0">
                    <a:pos x="28" y="12"/>
                  </a:cxn>
                  <a:cxn ang="0">
                    <a:pos x="38" y="12"/>
                  </a:cxn>
                </a:cxnLst>
                <a:rect l="0" t="0" r="r" b="b"/>
                <a:pathLst>
                  <a:path w="38" h="25">
                    <a:moveTo>
                      <a:pt x="38" y="12"/>
                    </a:moveTo>
                    <a:lnTo>
                      <a:pt x="31" y="2"/>
                    </a:lnTo>
                    <a:lnTo>
                      <a:pt x="19" y="0"/>
                    </a:lnTo>
                    <a:lnTo>
                      <a:pt x="4" y="4"/>
                    </a:lnTo>
                    <a:lnTo>
                      <a:pt x="1" y="14"/>
                    </a:lnTo>
                    <a:lnTo>
                      <a:pt x="0" y="22"/>
                    </a:lnTo>
                    <a:lnTo>
                      <a:pt x="7" y="25"/>
                    </a:lnTo>
                    <a:lnTo>
                      <a:pt x="15" y="24"/>
                    </a:lnTo>
                    <a:lnTo>
                      <a:pt x="16" y="19"/>
                    </a:lnTo>
                    <a:lnTo>
                      <a:pt x="20" y="15"/>
                    </a:lnTo>
                    <a:lnTo>
                      <a:pt x="28" y="12"/>
                    </a:lnTo>
                    <a:lnTo>
                      <a:pt x="38" y="12"/>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5" name="Freeform 9">
                <a:extLst>
                  <a:ext uri="{FF2B5EF4-FFF2-40B4-BE49-F238E27FC236}">
                    <a16:creationId xmlns:a16="http://schemas.microsoft.com/office/drawing/2014/main" id="{C38F517A-5790-467C-B394-AE7E9D7C73A6}"/>
                  </a:ext>
                </a:extLst>
              </p:cNvPr>
              <p:cNvSpPr>
                <a:spLocks/>
              </p:cNvSpPr>
              <p:nvPr/>
            </p:nvSpPr>
            <p:spPr bwMode="auto">
              <a:xfrm>
                <a:off x="3608518" y="2752369"/>
                <a:ext cx="43427" cy="26056"/>
              </a:xfrm>
              <a:custGeom>
                <a:avLst/>
                <a:gdLst/>
                <a:ahLst/>
                <a:cxnLst>
                  <a:cxn ang="0">
                    <a:pos x="0" y="5"/>
                  </a:cxn>
                  <a:cxn ang="0">
                    <a:pos x="10" y="0"/>
                  </a:cxn>
                  <a:cxn ang="0">
                    <a:pos x="24" y="4"/>
                  </a:cxn>
                  <a:cxn ang="0">
                    <a:pos x="30" y="10"/>
                  </a:cxn>
                  <a:cxn ang="0">
                    <a:pos x="30" y="17"/>
                  </a:cxn>
                  <a:cxn ang="0">
                    <a:pos x="18" y="18"/>
                  </a:cxn>
                  <a:cxn ang="0">
                    <a:pos x="8" y="17"/>
                  </a:cxn>
                  <a:cxn ang="0">
                    <a:pos x="3" y="12"/>
                  </a:cxn>
                  <a:cxn ang="0">
                    <a:pos x="0" y="5"/>
                  </a:cxn>
                </a:cxnLst>
                <a:rect l="0" t="0" r="r" b="b"/>
                <a:pathLst>
                  <a:path w="30" h="18">
                    <a:moveTo>
                      <a:pt x="0" y="5"/>
                    </a:moveTo>
                    <a:lnTo>
                      <a:pt x="10" y="0"/>
                    </a:lnTo>
                    <a:lnTo>
                      <a:pt x="24" y="4"/>
                    </a:lnTo>
                    <a:lnTo>
                      <a:pt x="30" y="10"/>
                    </a:lnTo>
                    <a:lnTo>
                      <a:pt x="30" y="17"/>
                    </a:lnTo>
                    <a:lnTo>
                      <a:pt x="18" y="18"/>
                    </a:lnTo>
                    <a:lnTo>
                      <a:pt x="8" y="17"/>
                    </a:lnTo>
                    <a:lnTo>
                      <a:pt x="3" y="12"/>
                    </a:lnTo>
                    <a:lnTo>
                      <a:pt x="0" y="5"/>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6" name="Freeform 10">
                <a:extLst>
                  <a:ext uri="{FF2B5EF4-FFF2-40B4-BE49-F238E27FC236}">
                    <a16:creationId xmlns:a16="http://schemas.microsoft.com/office/drawing/2014/main" id="{DE83BFF5-FDD5-465E-9B6E-87F419832AFF}"/>
                  </a:ext>
                </a:extLst>
              </p:cNvPr>
              <p:cNvSpPr>
                <a:spLocks/>
              </p:cNvSpPr>
              <p:nvPr/>
            </p:nvSpPr>
            <p:spPr bwMode="auto">
              <a:xfrm>
                <a:off x="3510084" y="2765397"/>
                <a:ext cx="55007" cy="24609"/>
              </a:xfrm>
              <a:custGeom>
                <a:avLst/>
                <a:gdLst/>
                <a:ahLst/>
                <a:cxnLst>
                  <a:cxn ang="0">
                    <a:pos x="38" y="11"/>
                  </a:cxn>
                  <a:cxn ang="0">
                    <a:pos x="24" y="0"/>
                  </a:cxn>
                  <a:cxn ang="0">
                    <a:pos x="8" y="1"/>
                  </a:cxn>
                  <a:cxn ang="0">
                    <a:pos x="3" y="9"/>
                  </a:cxn>
                  <a:cxn ang="0">
                    <a:pos x="0" y="16"/>
                  </a:cxn>
                  <a:cxn ang="0">
                    <a:pos x="16" y="17"/>
                  </a:cxn>
                  <a:cxn ang="0">
                    <a:pos x="28" y="16"/>
                  </a:cxn>
                  <a:cxn ang="0">
                    <a:pos x="38" y="11"/>
                  </a:cxn>
                </a:cxnLst>
                <a:rect l="0" t="0" r="r" b="b"/>
                <a:pathLst>
                  <a:path w="38" h="17">
                    <a:moveTo>
                      <a:pt x="38" y="11"/>
                    </a:moveTo>
                    <a:lnTo>
                      <a:pt x="24" y="0"/>
                    </a:lnTo>
                    <a:lnTo>
                      <a:pt x="8" y="1"/>
                    </a:lnTo>
                    <a:lnTo>
                      <a:pt x="3" y="9"/>
                    </a:lnTo>
                    <a:lnTo>
                      <a:pt x="0" y="16"/>
                    </a:lnTo>
                    <a:lnTo>
                      <a:pt x="16" y="17"/>
                    </a:lnTo>
                    <a:lnTo>
                      <a:pt x="28" y="16"/>
                    </a:lnTo>
                    <a:lnTo>
                      <a:pt x="38" y="11"/>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7" name="Freeform 11">
                <a:extLst>
                  <a:ext uri="{FF2B5EF4-FFF2-40B4-BE49-F238E27FC236}">
                    <a16:creationId xmlns:a16="http://schemas.microsoft.com/office/drawing/2014/main" id="{C8517005-19FF-487B-A517-37ACEC1ABEBA}"/>
                  </a:ext>
                </a:extLst>
              </p:cNvPr>
              <p:cNvSpPr>
                <a:spLocks/>
              </p:cNvSpPr>
              <p:nvPr/>
            </p:nvSpPr>
            <p:spPr bwMode="auto">
              <a:xfrm>
                <a:off x="3413099" y="2788558"/>
                <a:ext cx="83958" cy="30399"/>
              </a:xfrm>
              <a:custGeom>
                <a:avLst/>
                <a:gdLst/>
                <a:ahLst/>
                <a:cxnLst>
                  <a:cxn ang="0">
                    <a:pos x="1" y="1"/>
                  </a:cxn>
                  <a:cxn ang="0">
                    <a:pos x="25" y="0"/>
                  </a:cxn>
                  <a:cxn ang="0">
                    <a:pos x="38" y="6"/>
                  </a:cxn>
                  <a:cxn ang="0">
                    <a:pos x="51" y="9"/>
                  </a:cxn>
                  <a:cxn ang="0">
                    <a:pos x="58" y="13"/>
                  </a:cxn>
                  <a:cxn ang="0">
                    <a:pos x="50" y="18"/>
                  </a:cxn>
                  <a:cxn ang="0">
                    <a:pos x="27" y="21"/>
                  </a:cxn>
                  <a:cxn ang="0">
                    <a:pos x="10" y="20"/>
                  </a:cxn>
                  <a:cxn ang="0">
                    <a:pos x="1" y="16"/>
                  </a:cxn>
                  <a:cxn ang="0">
                    <a:pos x="0" y="10"/>
                  </a:cxn>
                  <a:cxn ang="0">
                    <a:pos x="1" y="1"/>
                  </a:cxn>
                </a:cxnLst>
                <a:rect l="0" t="0" r="r" b="b"/>
                <a:pathLst>
                  <a:path w="58" h="21">
                    <a:moveTo>
                      <a:pt x="1" y="1"/>
                    </a:moveTo>
                    <a:lnTo>
                      <a:pt x="25" y="0"/>
                    </a:lnTo>
                    <a:lnTo>
                      <a:pt x="38" y="6"/>
                    </a:lnTo>
                    <a:lnTo>
                      <a:pt x="51" y="9"/>
                    </a:lnTo>
                    <a:lnTo>
                      <a:pt x="58" y="13"/>
                    </a:lnTo>
                    <a:lnTo>
                      <a:pt x="50" y="18"/>
                    </a:lnTo>
                    <a:lnTo>
                      <a:pt x="27" y="21"/>
                    </a:lnTo>
                    <a:lnTo>
                      <a:pt x="10" y="20"/>
                    </a:lnTo>
                    <a:lnTo>
                      <a:pt x="1" y="16"/>
                    </a:lnTo>
                    <a:lnTo>
                      <a:pt x="0" y="10"/>
                    </a:lnTo>
                    <a:lnTo>
                      <a:pt x="1" y="1"/>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8" name="Freeform 12">
                <a:extLst>
                  <a:ext uri="{FF2B5EF4-FFF2-40B4-BE49-F238E27FC236}">
                    <a16:creationId xmlns:a16="http://schemas.microsoft.com/office/drawing/2014/main" id="{B1A5C11F-5933-419C-990E-C34F8070706C}"/>
                  </a:ext>
                </a:extLst>
              </p:cNvPr>
              <p:cNvSpPr>
                <a:spLocks/>
              </p:cNvSpPr>
              <p:nvPr/>
            </p:nvSpPr>
            <p:spPr bwMode="auto">
              <a:xfrm>
                <a:off x="3333483" y="2831985"/>
                <a:ext cx="53560" cy="46322"/>
              </a:xfrm>
              <a:custGeom>
                <a:avLst/>
                <a:gdLst/>
                <a:ahLst/>
                <a:cxnLst>
                  <a:cxn ang="0">
                    <a:pos x="0" y="22"/>
                  </a:cxn>
                  <a:cxn ang="0">
                    <a:pos x="13" y="11"/>
                  </a:cxn>
                  <a:cxn ang="0">
                    <a:pos x="24" y="1"/>
                  </a:cxn>
                  <a:cxn ang="0">
                    <a:pos x="34" y="0"/>
                  </a:cxn>
                  <a:cxn ang="0">
                    <a:pos x="37" y="7"/>
                  </a:cxn>
                  <a:cxn ang="0">
                    <a:pos x="31" y="20"/>
                  </a:cxn>
                  <a:cxn ang="0">
                    <a:pos x="20" y="30"/>
                  </a:cxn>
                  <a:cxn ang="0">
                    <a:pos x="10" y="32"/>
                  </a:cxn>
                  <a:cxn ang="0">
                    <a:pos x="2" y="31"/>
                  </a:cxn>
                  <a:cxn ang="0">
                    <a:pos x="1" y="30"/>
                  </a:cxn>
                  <a:cxn ang="0">
                    <a:pos x="0" y="22"/>
                  </a:cxn>
                </a:cxnLst>
                <a:rect l="0" t="0" r="r" b="b"/>
                <a:pathLst>
                  <a:path w="37" h="32">
                    <a:moveTo>
                      <a:pt x="0" y="22"/>
                    </a:moveTo>
                    <a:lnTo>
                      <a:pt x="13" y="11"/>
                    </a:lnTo>
                    <a:lnTo>
                      <a:pt x="24" y="1"/>
                    </a:lnTo>
                    <a:lnTo>
                      <a:pt x="34" y="0"/>
                    </a:lnTo>
                    <a:lnTo>
                      <a:pt x="37" y="7"/>
                    </a:lnTo>
                    <a:lnTo>
                      <a:pt x="31" y="20"/>
                    </a:lnTo>
                    <a:lnTo>
                      <a:pt x="20" y="30"/>
                    </a:lnTo>
                    <a:lnTo>
                      <a:pt x="10" y="32"/>
                    </a:lnTo>
                    <a:lnTo>
                      <a:pt x="2" y="31"/>
                    </a:lnTo>
                    <a:lnTo>
                      <a:pt x="1" y="30"/>
                    </a:lnTo>
                    <a:lnTo>
                      <a:pt x="0" y="22"/>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6" name="Freeform 13">
              <a:extLst>
                <a:ext uri="{FF2B5EF4-FFF2-40B4-BE49-F238E27FC236}">
                  <a16:creationId xmlns:a16="http://schemas.microsoft.com/office/drawing/2014/main" id="{34C51F68-B1C3-42E8-99DA-09ED817582F4}"/>
                </a:ext>
              </a:extLst>
            </p:cNvPr>
            <p:cNvSpPr>
              <a:spLocks/>
            </p:cNvSpPr>
            <p:nvPr/>
          </p:nvSpPr>
          <p:spPr bwMode="auto">
            <a:xfrm>
              <a:off x="3976196" y="3102676"/>
              <a:ext cx="165021" cy="136070"/>
            </a:xfrm>
            <a:custGeom>
              <a:avLst/>
              <a:gdLst/>
              <a:ahLst/>
              <a:cxnLst>
                <a:cxn ang="0">
                  <a:pos x="2" y="0"/>
                </a:cxn>
                <a:cxn ang="0">
                  <a:pos x="22" y="7"/>
                </a:cxn>
                <a:cxn ang="0">
                  <a:pos x="38" y="20"/>
                </a:cxn>
                <a:cxn ang="0">
                  <a:pos x="56" y="26"/>
                </a:cxn>
                <a:cxn ang="0">
                  <a:pos x="74" y="31"/>
                </a:cxn>
                <a:cxn ang="0">
                  <a:pos x="91" y="33"/>
                </a:cxn>
                <a:cxn ang="0">
                  <a:pos x="106" y="34"/>
                </a:cxn>
                <a:cxn ang="0">
                  <a:pos x="114" y="51"/>
                </a:cxn>
                <a:cxn ang="0">
                  <a:pos x="114" y="71"/>
                </a:cxn>
                <a:cxn ang="0">
                  <a:pos x="110" y="87"/>
                </a:cxn>
                <a:cxn ang="0">
                  <a:pos x="91" y="94"/>
                </a:cxn>
                <a:cxn ang="0">
                  <a:pos x="77" y="91"/>
                </a:cxn>
                <a:cxn ang="0">
                  <a:pos x="68" y="83"/>
                </a:cxn>
                <a:cxn ang="0">
                  <a:pos x="53" y="82"/>
                </a:cxn>
                <a:cxn ang="0">
                  <a:pos x="41" y="74"/>
                </a:cxn>
                <a:cxn ang="0">
                  <a:pos x="37" y="46"/>
                </a:cxn>
                <a:cxn ang="0">
                  <a:pos x="8" y="29"/>
                </a:cxn>
                <a:cxn ang="0">
                  <a:pos x="1" y="14"/>
                </a:cxn>
                <a:cxn ang="0">
                  <a:pos x="0" y="5"/>
                </a:cxn>
                <a:cxn ang="0">
                  <a:pos x="2" y="0"/>
                </a:cxn>
              </a:cxnLst>
              <a:rect l="0" t="0" r="r" b="b"/>
              <a:pathLst>
                <a:path w="114" h="94">
                  <a:moveTo>
                    <a:pt x="2" y="0"/>
                  </a:moveTo>
                  <a:lnTo>
                    <a:pt x="22" y="7"/>
                  </a:lnTo>
                  <a:lnTo>
                    <a:pt x="38" y="20"/>
                  </a:lnTo>
                  <a:lnTo>
                    <a:pt x="56" y="26"/>
                  </a:lnTo>
                  <a:lnTo>
                    <a:pt x="74" y="31"/>
                  </a:lnTo>
                  <a:lnTo>
                    <a:pt x="91" y="33"/>
                  </a:lnTo>
                  <a:lnTo>
                    <a:pt x="106" y="34"/>
                  </a:lnTo>
                  <a:lnTo>
                    <a:pt x="114" y="51"/>
                  </a:lnTo>
                  <a:lnTo>
                    <a:pt x="114" y="71"/>
                  </a:lnTo>
                  <a:lnTo>
                    <a:pt x="110" y="87"/>
                  </a:lnTo>
                  <a:lnTo>
                    <a:pt x="91" y="94"/>
                  </a:lnTo>
                  <a:lnTo>
                    <a:pt x="77" y="91"/>
                  </a:lnTo>
                  <a:lnTo>
                    <a:pt x="68" y="83"/>
                  </a:lnTo>
                  <a:lnTo>
                    <a:pt x="53" y="82"/>
                  </a:lnTo>
                  <a:lnTo>
                    <a:pt x="41" y="74"/>
                  </a:lnTo>
                  <a:lnTo>
                    <a:pt x="37" y="46"/>
                  </a:lnTo>
                  <a:lnTo>
                    <a:pt x="8" y="29"/>
                  </a:lnTo>
                  <a:lnTo>
                    <a:pt x="1" y="14"/>
                  </a:lnTo>
                  <a:lnTo>
                    <a:pt x="0" y="5"/>
                  </a:lnTo>
                  <a:lnTo>
                    <a:pt x="2" y="0"/>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 name="Freeform 14">
              <a:extLst>
                <a:ext uri="{FF2B5EF4-FFF2-40B4-BE49-F238E27FC236}">
                  <a16:creationId xmlns:a16="http://schemas.microsoft.com/office/drawing/2014/main" id="{76AB0E05-5B18-4183-8B9C-B0DF645AA121}"/>
                </a:ext>
              </a:extLst>
            </p:cNvPr>
            <p:cNvSpPr>
              <a:spLocks/>
            </p:cNvSpPr>
            <p:nvPr/>
          </p:nvSpPr>
          <p:spPr bwMode="auto">
            <a:xfrm>
              <a:off x="3935665" y="2807376"/>
              <a:ext cx="63692" cy="104224"/>
            </a:xfrm>
            <a:custGeom>
              <a:avLst/>
              <a:gdLst/>
              <a:ahLst/>
              <a:cxnLst>
                <a:cxn ang="0">
                  <a:pos x="1" y="7"/>
                </a:cxn>
                <a:cxn ang="0">
                  <a:pos x="12" y="6"/>
                </a:cxn>
                <a:cxn ang="0">
                  <a:pos x="18" y="0"/>
                </a:cxn>
                <a:cxn ang="0">
                  <a:pos x="26" y="0"/>
                </a:cxn>
                <a:cxn ang="0">
                  <a:pos x="37" y="9"/>
                </a:cxn>
                <a:cxn ang="0">
                  <a:pos x="44" y="23"/>
                </a:cxn>
                <a:cxn ang="0">
                  <a:pos x="44" y="44"/>
                </a:cxn>
                <a:cxn ang="0">
                  <a:pos x="37" y="63"/>
                </a:cxn>
                <a:cxn ang="0">
                  <a:pos x="27" y="71"/>
                </a:cxn>
                <a:cxn ang="0">
                  <a:pos x="12" y="72"/>
                </a:cxn>
                <a:cxn ang="0">
                  <a:pos x="6" y="58"/>
                </a:cxn>
                <a:cxn ang="0">
                  <a:pos x="5" y="47"/>
                </a:cxn>
                <a:cxn ang="0">
                  <a:pos x="0" y="44"/>
                </a:cxn>
                <a:cxn ang="0">
                  <a:pos x="0" y="29"/>
                </a:cxn>
                <a:cxn ang="0">
                  <a:pos x="1" y="7"/>
                </a:cxn>
              </a:cxnLst>
              <a:rect l="0" t="0" r="r" b="b"/>
              <a:pathLst>
                <a:path w="44" h="72">
                  <a:moveTo>
                    <a:pt x="1" y="7"/>
                  </a:moveTo>
                  <a:lnTo>
                    <a:pt x="12" y="6"/>
                  </a:lnTo>
                  <a:lnTo>
                    <a:pt x="18" y="0"/>
                  </a:lnTo>
                  <a:lnTo>
                    <a:pt x="26" y="0"/>
                  </a:lnTo>
                  <a:lnTo>
                    <a:pt x="37" y="9"/>
                  </a:lnTo>
                  <a:lnTo>
                    <a:pt x="44" y="23"/>
                  </a:lnTo>
                  <a:lnTo>
                    <a:pt x="44" y="44"/>
                  </a:lnTo>
                  <a:lnTo>
                    <a:pt x="37" y="63"/>
                  </a:lnTo>
                  <a:lnTo>
                    <a:pt x="27" y="71"/>
                  </a:lnTo>
                  <a:lnTo>
                    <a:pt x="12" y="72"/>
                  </a:lnTo>
                  <a:lnTo>
                    <a:pt x="6" y="58"/>
                  </a:lnTo>
                  <a:lnTo>
                    <a:pt x="5" y="47"/>
                  </a:lnTo>
                  <a:lnTo>
                    <a:pt x="0" y="44"/>
                  </a:lnTo>
                  <a:lnTo>
                    <a:pt x="0" y="29"/>
                  </a:lnTo>
                  <a:lnTo>
                    <a:pt x="1" y="7"/>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8" name="Gruppieren 1">
              <a:extLst>
                <a:ext uri="{FF2B5EF4-FFF2-40B4-BE49-F238E27FC236}">
                  <a16:creationId xmlns:a16="http://schemas.microsoft.com/office/drawing/2014/main" id="{5178A8B3-B0C9-4C29-8665-1E5C17245090}"/>
                </a:ext>
              </a:extLst>
            </p:cNvPr>
            <p:cNvGrpSpPr/>
            <p:nvPr/>
          </p:nvGrpSpPr>
          <p:grpSpPr bwMode="auto">
            <a:xfrm>
              <a:off x="3886448" y="2009775"/>
              <a:ext cx="961175" cy="1006049"/>
              <a:chOff x="3886448" y="2009775"/>
              <a:chExt cx="961175" cy="1006049"/>
            </a:xfrm>
            <a:grpFill/>
          </p:grpSpPr>
          <p:sp>
            <p:nvSpPr>
              <p:cNvPr id="26" name="Freeform 15">
                <a:extLst>
                  <a:ext uri="{FF2B5EF4-FFF2-40B4-BE49-F238E27FC236}">
                    <a16:creationId xmlns:a16="http://schemas.microsoft.com/office/drawing/2014/main" id="{7DE4F320-0751-4A5C-BFCD-2C99A0AFC857}"/>
                  </a:ext>
                </a:extLst>
              </p:cNvPr>
              <p:cNvSpPr>
                <a:spLocks/>
              </p:cNvSpPr>
              <p:nvPr/>
            </p:nvSpPr>
            <p:spPr bwMode="auto">
              <a:xfrm>
                <a:off x="3995015" y="2151635"/>
                <a:ext cx="793259" cy="864189"/>
              </a:xfrm>
              <a:custGeom>
                <a:avLst/>
                <a:gdLst/>
                <a:ahLst/>
                <a:cxnLst>
                  <a:cxn ang="0">
                    <a:pos x="48" y="7"/>
                  </a:cxn>
                  <a:cxn ang="0">
                    <a:pos x="72" y="18"/>
                  </a:cxn>
                  <a:cxn ang="0">
                    <a:pos x="110" y="15"/>
                  </a:cxn>
                  <a:cxn ang="0">
                    <a:pos x="174" y="46"/>
                  </a:cxn>
                  <a:cxn ang="0">
                    <a:pos x="209" y="19"/>
                  </a:cxn>
                  <a:cxn ang="0">
                    <a:pos x="239" y="33"/>
                  </a:cxn>
                  <a:cxn ang="0">
                    <a:pos x="290" y="42"/>
                  </a:cxn>
                  <a:cxn ang="0">
                    <a:pos x="305" y="84"/>
                  </a:cxn>
                  <a:cxn ang="0">
                    <a:pos x="280" y="110"/>
                  </a:cxn>
                  <a:cxn ang="0">
                    <a:pos x="239" y="140"/>
                  </a:cxn>
                  <a:cxn ang="0">
                    <a:pos x="282" y="140"/>
                  </a:cxn>
                  <a:cxn ang="0">
                    <a:pos x="294" y="118"/>
                  </a:cxn>
                  <a:cxn ang="0">
                    <a:pos x="299" y="159"/>
                  </a:cxn>
                  <a:cxn ang="0">
                    <a:pos x="276" y="184"/>
                  </a:cxn>
                  <a:cxn ang="0">
                    <a:pos x="341" y="184"/>
                  </a:cxn>
                  <a:cxn ang="0">
                    <a:pos x="355" y="215"/>
                  </a:cxn>
                  <a:cxn ang="0">
                    <a:pos x="374" y="199"/>
                  </a:cxn>
                  <a:cxn ang="0">
                    <a:pos x="401" y="191"/>
                  </a:cxn>
                  <a:cxn ang="0">
                    <a:pos x="443" y="223"/>
                  </a:cxn>
                  <a:cxn ang="0">
                    <a:pos x="492" y="219"/>
                  </a:cxn>
                  <a:cxn ang="0">
                    <a:pos x="528" y="203"/>
                  </a:cxn>
                  <a:cxn ang="0">
                    <a:pos x="548" y="247"/>
                  </a:cxn>
                  <a:cxn ang="0">
                    <a:pos x="521" y="297"/>
                  </a:cxn>
                  <a:cxn ang="0">
                    <a:pos x="495" y="320"/>
                  </a:cxn>
                  <a:cxn ang="0">
                    <a:pos x="474" y="307"/>
                  </a:cxn>
                  <a:cxn ang="0">
                    <a:pos x="474" y="338"/>
                  </a:cxn>
                  <a:cxn ang="0">
                    <a:pos x="491" y="366"/>
                  </a:cxn>
                  <a:cxn ang="0">
                    <a:pos x="465" y="394"/>
                  </a:cxn>
                  <a:cxn ang="0">
                    <a:pos x="469" y="433"/>
                  </a:cxn>
                  <a:cxn ang="0">
                    <a:pos x="490" y="479"/>
                  </a:cxn>
                  <a:cxn ang="0">
                    <a:pos x="481" y="513"/>
                  </a:cxn>
                  <a:cxn ang="0">
                    <a:pos x="448" y="521"/>
                  </a:cxn>
                  <a:cxn ang="0">
                    <a:pos x="434" y="553"/>
                  </a:cxn>
                  <a:cxn ang="0">
                    <a:pos x="437" y="594"/>
                  </a:cxn>
                  <a:cxn ang="0">
                    <a:pos x="400" y="585"/>
                  </a:cxn>
                  <a:cxn ang="0">
                    <a:pos x="359" y="548"/>
                  </a:cxn>
                  <a:cxn ang="0">
                    <a:pos x="340" y="503"/>
                  </a:cxn>
                  <a:cxn ang="0">
                    <a:pos x="339" y="464"/>
                  </a:cxn>
                  <a:cxn ang="0">
                    <a:pos x="300" y="481"/>
                  </a:cxn>
                  <a:cxn ang="0">
                    <a:pos x="260" y="503"/>
                  </a:cxn>
                  <a:cxn ang="0">
                    <a:pos x="243" y="533"/>
                  </a:cxn>
                  <a:cxn ang="0">
                    <a:pos x="198" y="481"/>
                  </a:cxn>
                  <a:cxn ang="0">
                    <a:pos x="166" y="419"/>
                  </a:cxn>
                  <a:cxn ang="0">
                    <a:pos x="98" y="386"/>
                  </a:cxn>
                  <a:cxn ang="0">
                    <a:pos x="56" y="349"/>
                  </a:cxn>
                  <a:cxn ang="0">
                    <a:pos x="67" y="331"/>
                  </a:cxn>
                  <a:cxn ang="0">
                    <a:pos x="92" y="327"/>
                  </a:cxn>
                  <a:cxn ang="0">
                    <a:pos x="82" y="298"/>
                  </a:cxn>
                  <a:cxn ang="0">
                    <a:pos x="48" y="290"/>
                  </a:cxn>
                  <a:cxn ang="0">
                    <a:pos x="42" y="264"/>
                  </a:cxn>
                  <a:cxn ang="0">
                    <a:pos x="68" y="240"/>
                  </a:cxn>
                  <a:cxn ang="0">
                    <a:pos x="54" y="227"/>
                  </a:cxn>
                  <a:cxn ang="0">
                    <a:pos x="14" y="247"/>
                  </a:cxn>
                  <a:cxn ang="0">
                    <a:pos x="0" y="230"/>
                  </a:cxn>
                  <a:cxn ang="0">
                    <a:pos x="27" y="205"/>
                  </a:cxn>
                  <a:cxn ang="0">
                    <a:pos x="64" y="195"/>
                  </a:cxn>
                  <a:cxn ang="0">
                    <a:pos x="83" y="168"/>
                  </a:cxn>
                  <a:cxn ang="0">
                    <a:pos x="74" y="132"/>
                  </a:cxn>
                  <a:cxn ang="0">
                    <a:pos x="39" y="115"/>
                  </a:cxn>
                  <a:cxn ang="0">
                    <a:pos x="32" y="90"/>
                  </a:cxn>
                  <a:cxn ang="0">
                    <a:pos x="36" y="55"/>
                  </a:cxn>
                  <a:cxn ang="0">
                    <a:pos x="13" y="32"/>
                  </a:cxn>
                  <a:cxn ang="0">
                    <a:pos x="11" y="0"/>
                  </a:cxn>
                </a:cxnLst>
                <a:rect l="0" t="0" r="r" b="b"/>
                <a:pathLst>
                  <a:path w="548" h="597">
                    <a:moveTo>
                      <a:pt x="11" y="0"/>
                    </a:moveTo>
                    <a:lnTo>
                      <a:pt x="33" y="1"/>
                    </a:lnTo>
                    <a:lnTo>
                      <a:pt x="48" y="7"/>
                    </a:lnTo>
                    <a:lnTo>
                      <a:pt x="60" y="16"/>
                    </a:lnTo>
                    <a:lnTo>
                      <a:pt x="66" y="21"/>
                    </a:lnTo>
                    <a:lnTo>
                      <a:pt x="72" y="18"/>
                    </a:lnTo>
                    <a:lnTo>
                      <a:pt x="79" y="10"/>
                    </a:lnTo>
                    <a:lnTo>
                      <a:pt x="100" y="10"/>
                    </a:lnTo>
                    <a:lnTo>
                      <a:pt x="110" y="15"/>
                    </a:lnTo>
                    <a:lnTo>
                      <a:pt x="134" y="29"/>
                    </a:lnTo>
                    <a:lnTo>
                      <a:pt x="156" y="40"/>
                    </a:lnTo>
                    <a:lnTo>
                      <a:pt x="174" y="46"/>
                    </a:lnTo>
                    <a:lnTo>
                      <a:pt x="190" y="44"/>
                    </a:lnTo>
                    <a:lnTo>
                      <a:pt x="194" y="27"/>
                    </a:lnTo>
                    <a:lnTo>
                      <a:pt x="209" y="19"/>
                    </a:lnTo>
                    <a:lnTo>
                      <a:pt x="224" y="20"/>
                    </a:lnTo>
                    <a:lnTo>
                      <a:pt x="232" y="27"/>
                    </a:lnTo>
                    <a:lnTo>
                      <a:pt x="239" y="33"/>
                    </a:lnTo>
                    <a:lnTo>
                      <a:pt x="257" y="36"/>
                    </a:lnTo>
                    <a:lnTo>
                      <a:pt x="278" y="40"/>
                    </a:lnTo>
                    <a:lnTo>
                      <a:pt x="290" y="42"/>
                    </a:lnTo>
                    <a:lnTo>
                      <a:pt x="303" y="55"/>
                    </a:lnTo>
                    <a:lnTo>
                      <a:pt x="305" y="72"/>
                    </a:lnTo>
                    <a:lnTo>
                      <a:pt x="305" y="84"/>
                    </a:lnTo>
                    <a:lnTo>
                      <a:pt x="301" y="94"/>
                    </a:lnTo>
                    <a:lnTo>
                      <a:pt x="290" y="103"/>
                    </a:lnTo>
                    <a:lnTo>
                      <a:pt x="280" y="110"/>
                    </a:lnTo>
                    <a:lnTo>
                      <a:pt x="267" y="122"/>
                    </a:lnTo>
                    <a:lnTo>
                      <a:pt x="257" y="131"/>
                    </a:lnTo>
                    <a:lnTo>
                      <a:pt x="239" y="140"/>
                    </a:lnTo>
                    <a:lnTo>
                      <a:pt x="251" y="147"/>
                    </a:lnTo>
                    <a:lnTo>
                      <a:pt x="269" y="147"/>
                    </a:lnTo>
                    <a:lnTo>
                      <a:pt x="282" y="140"/>
                    </a:lnTo>
                    <a:lnTo>
                      <a:pt x="284" y="128"/>
                    </a:lnTo>
                    <a:lnTo>
                      <a:pt x="286" y="119"/>
                    </a:lnTo>
                    <a:lnTo>
                      <a:pt x="294" y="118"/>
                    </a:lnTo>
                    <a:lnTo>
                      <a:pt x="298" y="125"/>
                    </a:lnTo>
                    <a:lnTo>
                      <a:pt x="299" y="141"/>
                    </a:lnTo>
                    <a:lnTo>
                      <a:pt x="299" y="159"/>
                    </a:lnTo>
                    <a:lnTo>
                      <a:pt x="294" y="169"/>
                    </a:lnTo>
                    <a:lnTo>
                      <a:pt x="284" y="178"/>
                    </a:lnTo>
                    <a:lnTo>
                      <a:pt x="276" y="184"/>
                    </a:lnTo>
                    <a:lnTo>
                      <a:pt x="303" y="182"/>
                    </a:lnTo>
                    <a:lnTo>
                      <a:pt x="326" y="182"/>
                    </a:lnTo>
                    <a:lnTo>
                      <a:pt x="341" y="184"/>
                    </a:lnTo>
                    <a:lnTo>
                      <a:pt x="349" y="193"/>
                    </a:lnTo>
                    <a:lnTo>
                      <a:pt x="352" y="205"/>
                    </a:lnTo>
                    <a:lnTo>
                      <a:pt x="355" y="215"/>
                    </a:lnTo>
                    <a:lnTo>
                      <a:pt x="363" y="219"/>
                    </a:lnTo>
                    <a:lnTo>
                      <a:pt x="370" y="211"/>
                    </a:lnTo>
                    <a:lnTo>
                      <a:pt x="374" y="199"/>
                    </a:lnTo>
                    <a:lnTo>
                      <a:pt x="375" y="189"/>
                    </a:lnTo>
                    <a:lnTo>
                      <a:pt x="389" y="185"/>
                    </a:lnTo>
                    <a:lnTo>
                      <a:pt x="401" y="191"/>
                    </a:lnTo>
                    <a:lnTo>
                      <a:pt x="416" y="203"/>
                    </a:lnTo>
                    <a:lnTo>
                      <a:pt x="432" y="219"/>
                    </a:lnTo>
                    <a:lnTo>
                      <a:pt x="443" y="223"/>
                    </a:lnTo>
                    <a:lnTo>
                      <a:pt x="462" y="229"/>
                    </a:lnTo>
                    <a:lnTo>
                      <a:pt x="482" y="228"/>
                    </a:lnTo>
                    <a:lnTo>
                      <a:pt x="492" y="219"/>
                    </a:lnTo>
                    <a:lnTo>
                      <a:pt x="499" y="208"/>
                    </a:lnTo>
                    <a:lnTo>
                      <a:pt x="511" y="201"/>
                    </a:lnTo>
                    <a:lnTo>
                      <a:pt x="528" y="203"/>
                    </a:lnTo>
                    <a:lnTo>
                      <a:pt x="541" y="213"/>
                    </a:lnTo>
                    <a:lnTo>
                      <a:pt x="545" y="226"/>
                    </a:lnTo>
                    <a:lnTo>
                      <a:pt x="548" y="247"/>
                    </a:lnTo>
                    <a:lnTo>
                      <a:pt x="542" y="264"/>
                    </a:lnTo>
                    <a:lnTo>
                      <a:pt x="529" y="285"/>
                    </a:lnTo>
                    <a:lnTo>
                      <a:pt x="521" y="297"/>
                    </a:lnTo>
                    <a:lnTo>
                      <a:pt x="521" y="308"/>
                    </a:lnTo>
                    <a:lnTo>
                      <a:pt x="508" y="319"/>
                    </a:lnTo>
                    <a:lnTo>
                      <a:pt x="495" y="320"/>
                    </a:lnTo>
                    <a:lnTo>
                      <a:pt x="486" y="318"/>
                    </a:lnTo>
                    <a:lnTo>
                      <a:pt x="480" y="308"/>
                    </a:lnTo>
                    <a:lnTo>
                      <a:pt x="474" y="307"/>
                    </a:lnTo>
                    <a:lnTo>
                      <a:pt x="469" y="311"/>
                    </a:lnTo>
                    <a:lnTo>
                      <a:pt x="470" y="324"/>
                    </a:lnTo>
                    <a:lnTo>
                      <a:pt x="474" y="338"/>
                    </a:lnTo>
                    <a:lnTo>
                      <a:pt x="483" y="343"/>
                    </a:lnTo>
                    <a:lnTo>
                      <a:pt x="491" y="352"/>
                    </a:lnTo>
                    <a:lnTo>
                      <a:pt x="491" y="366"/>
                    </a:lnTo>
                    <a:lnTo>
                      <a:pt x="485" y="377"/>
                    </a:lnTo>
                    <a:lnTo>
                      <a:pt x="478" y="387"/>
                    </a:lnTo>
                    <a:lnTo>
                      <a:pt x="465" y="394"/>
                    </a:lnTo>
                    <a:lnTo>
                      <a:pt x="460" y="406"/>
                    </a:lnTo>
                    <a:lnTo>
                      <a:pt x="460" y="422"/>
                    </a:lnTo>
                    <a:lnTo>
                      <a:pt x="469" y="433"/>
                    </a:lnTo>
                    <a:lnTo>
                      <a:pt x="479" y="448"/>
                    </a:lnTo>
                    <a:lnTo>
                      <a:pt x="486" y="462"/>
                    </a:lnTo>
                    <a:lnTo>
                      <a:pt x="490" y="479"/>
                    </a:lnTo>
                    <a:lnTo>
                      <a:pt x="493" y="492"/>
                    </a:lnTo>
                    <a:lnTo>
                      <a:pt x="491" y="505"/>
                    </a:lnTo>
                    <a:lnTo>
                      <a:pt x="481" y="513"/>
                    </a:lnTo>
                    <a:lnTo>
                      <a:pt x="469" y="518"/>
                    </a:lnTo>
                    <a:lnTo>
                      <a:pt x="458" y="517"/>
                    </a:lnTo>
                    <a:lnTo>
                      <a:pt x="448" y="521"/>
                    </a:lnTo>
                    <a:lnTo>
                      <a:pt x="440" y="527"/>
                    </a:lnTo>
                    <a:lnTo>
                      <a:pt x="434" y="539"/>
                    </a:lnTo>
                    <a:lnTo>
                      <a:pt x="434" y="553"/>
                    </a:lnTo>
                    <a:lnTo>
                      <a:pt x="435" y="574"/>
                    </a:lnTo>
                    <a:lnTo>
                      <a:pt x="438" y="589"/>
                    </a:lnTo>
                    <a:lnTo>
                      <a:pt x="437" y="594"/>
                    </a:lnTo>
                    <a:lnTo>
                      <a:pt x="428" y="597"/>
                    </a:lnTo>
                    <a:lnTo>
                      <a:pt x="412" y="591"/>
                    </a:lnTo>
                    <a:lnTo>
                      <a:pt x="400" y="585"/>
                    </a:lnTo>
                    <a:lnTo>
                      <a:pt x="388" y="577"/>
                    </a:lnTo>
                    <a:lnTo>
                      <a:pt x="372" y="562"/>
                    </a:lnTo>
                    <a:lnTo>
                      <a:pt x="359" y="548"/>
                    </a:lnTo>
                    <a:lnTo>
                      <a:pt x="345" y="537"/>
                    </a:lnTo>
                    <a:lnTo>
                      <a:pt x="340" y="520"/>
                    </a:lnTo>
                    <a:lnTo>
                      <a:pt x="340" y="503"/>
                    </a:lnTo>
                    <a:lnTo>
                      <a:pt x="340" y="490"/>
                    </a:lnTo>
                    <a:lnTo>
                      <a:pt x="339" y="479"/>
                    </a:lnTo>
                    <a:lnTo>
                      <a:pt x="339" y="464"/>
                    </a:lnTo>
                    <a:lnTo>
                      <a:pt x="334" y="458"/>
                    </a:lnTo>
                    <a:lnTo>
                      <a:pt x="317" y="464"/>
                    </a:lnTo>
                    <a:lnTo>
                      <a:pt x="300" y="481"/>
                    </a:lnTo>
                    <a:lnTo>
                      <a:pt x="285" y="490"/>
                    </a:lnTo>
                    <a:lnTo>
                      <a:pt x="269" y="496"/>
                    </a:lnTo>
                    <a:lnTo>
                      <a:pt x="260" y="503"/>
                    </a:lnTo>
                    <a:lnTo>
                      <a:pt x="252" y="511"/>
                    </a:lnTo>
                    <a:lnTo>
                      <a:pt x="247" y="521"/>
                    </a:lnTo>
                    <a:lnTo>
                      <a:pt x="243" y="533"/>
                    </a:lnTo>
                    <a:lnTo>
                      <a:pt x="226" y="517"/>
                    </a:lnTo>
                    <a:lnTo>
                      <a:pt x="213" y="502"/>
                    </a:lnTo>
                    <a:lnTo>
                      <a:pt x="198" y="481"/>
                    </a:lnTo>
                    <a:lnTo>
                      <a:pt x="191" y="460"/>
                    </a:lnTo>
                    <a:lnTo>
                      <a:pt x="179" y="435"/>
                    </a:lnTo>
                    <a:lnTo>
                      <a:pt x="166" y="419"/>
                    </a:lnTo>
                    <a:lnTo>
                      <a:pt x="146" y="403"/>
                    </a:lnTo>
                    <a:lnTo>
                      <a:pt x="119" y="393"/>
                    </a:lnTo>
                    <a:lnTo>
                      <a:pt x="98" y="386"/>
                    </a:lnTo>
                    <a:lnTo>
                      <a:pt x="77" y="376"/>
                    </a:lnTo>
                    <a:lnTo>
                      <a:pt x="64" y="364"/>
                    </a:lnTo>
                    <a:lnTo>
                      <a:pt x="56" y="349"/>
                    </a:lnTo>
                    <a:lnTo>
                      <a:pt x="55" y="335"/>
                    </a:lnTo>
                    <a:lnTo>
                      <a:pt x="58" y="330"/>
                    </a:lnTo>
                    <a:lnTo>
                      <a:pt x="67" y="331"/>
                    </a:lnTo>
                    <a:lnTo>
                      <a:pt x="77" y="332"/>
                    </a:lnTo>
                    <a:lnTo>
                      <a:pt x="85" y="332"/>
                    </a:lnTo>
                    <a:lnTo>
                      <a:pt x="92" y="327"/>
                    </a:lnTo>
                    <a:lnTo>
                      <a:pt x="93" y="318"/>
                    </a:lnTo>
                    <a:lnTo>
                      <a:pt x="91" y="308"/>
                    </a:lnTo>
                    <a:lnTo>
                      <a:pt x="82" y="298"/>
                    </a:lnTo>
                    <a:lnTo>
                      <a:pt x="75" y="290"/>
                    </a:lnTo>
                    <a:lnTo>
                      <a:pt x="60" y="290"/>
                    </a:lnTo>
                    <a:lnTo>
                      <a:pt x="48" y="290"/>
                    </a:lnTo>
                    <a:lnTo>
                      <a:pt x="41" y="286"/>
                    </a:lnTo>
                    <a:lnTo>
                      <a:pt x="39" y="275"/>
                    </a:lnTo>
                    <a:lnTo>
                      <a:pt x="42" y="264"/>
                    </a:lnTo>
                    <a:lnTo>
                      <a:pt x="50" y="255"/>
                    </a:lnTo>
                    <a:lnTo>
                      <a:pt x="60" y="247"/>
                    </a:lnTo>
                    <a:lnTo>
                      <a:pt x="68" y="240"/>
                    </a:lnTo>
                    <a:lnTo>
                      <a:pt x="68" y="232"/>
                    </a:lnTo>
                    <a:lnTo>
                      <a:pt x="64" y="227"/>
                    </a:lnTo>
                    <a:lnTo>
                      <a:pt x="54" y="227"/>
                    </a:lnTo>
                    <a:lnTo>
                      <a:pt x="41" y="231"/>
                    </a:lnTo>
                    <a:lnTo>
                      <a:pt x="27" y="240"/>
                    </a:lnTo>
                    <a:lnTo>
                      <a:pt x="14" y="247"/>
                    </a:lnTo>
                    <a:lnTo>
                      <a:pt x="8" y="247"/>
                    </a:lnTo>
                    <a:lnTo>
                      <a:pt x="0" y="239"/>
                    </a:lnTo>
                    <a:lnTo>
                      <a:pt x="0" y="230"/>
                    </a:lnTo>
                    <a:lnTo>
                      <a:pt x="4" y="221"/>
                    </a:lnTo>
                    <a:lnTo>
                      <a:pt x="12" y="215"/>
                    </a:lnTo>
                    <a:lnTo>
                      <a:pt x="27" y="205"/>
                    </a:lnTo>
                    <a:lnTo>
                      <a:pt x="42" y="201"/>
                    </a:lnTo>
                    <a:lnTo>
                      <a:pt x="54" y="197"/>
                    </a:lnTo>
                    <a:lnTo>
                      <a:pt x="64" y="195"/>
                    </a:lnTo>
                    <a:lnTo>
                      <a:pt x="74" y="189"/>
                    </a:lnTo>
                    <a:lnTo>
                      <a:pt x="81" y="182"/>
                    </a:lnTo>
                    <a:lnTo>
                      <a:pt x="83" y="168"/>
                    </a:lnTo>
                    <a:lnTo>
                      <a:pt x="83" y="154"/>
                    </a:lnTo>
                    <a:lnTo>
                      <a:pt x="82" y="141"/>
                    </a:lnTo>
                    <a:lnTo>
                      <a:pt x="74" y="132"/>
                    </a:lnTo>
                    <a:lnTo>
                      <a:pt x="64" y="126"/>
                    </a:lnTo>
                    <a:lnTo>
                      <a:pt x="51" y="120"/>
                    </a:lnTo>
                    <a:lnTo>
                      <a:pt x="39" y="115"/>
                    </a:lnTo>
                    <a:lnTo>
                      <a:pt x="37" y="110"/>
                    </a:lnTo>
                    <a:lnTo>
                      <a:pt x="32" y="100"/>
                    </a:lnTo>
                    <a:lnTo>
                      <a:pt x="32" y="90"/>
                    </a:lnTo>
                    <a:lnTo>
                      <a:pt x="34" y="80"/>
                    </a:lnTo>
                    <a:lnTo>
                      <a:pt x="35" y="68"/>
                    </a:lnTo>
                    <a:lnTo>
                      <a:pt x="36" y="55"/>
                    </a:lnTo>
                    <a:lnTo>
                      <a:pt x="30" y="43"/>
                    </a:lnTo>
                    <a:lnTo>
                      <a:pt x="19" y="35"/>
                    </a:lnTo>
                    <a:lnTo>
                      <a:pt x="13" y="32"/>
                    </a:lnTo>
                    <a:lnTo>
                      <a:pt x="6" y="19"/>
                    </a:lnTo>
                    <a:lnTo>
                      <a:pt x="6" y="7"/>
                    </a:lnTo>
                    <a:lnTo>
                      <a:pt x="11" y="0"/>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 name="Freeform 16">
                <a:extLst>
                  <a:ext uri="{FF2B5EF4-FFF2-40B4-BE49-F238E27FC236}">
                    <a16:creationId xmlns:a16="http://schemas.microsoft.com/office/drawing/2014/main" id="{3BF58457-A651-4416-A6E9-CB531D3D716D}"/>
                  </a:ext>
                </a:extLst>
              </p:cNvPr>
              <p:cNvSpPr>
                <a:spLocks/>
              </p:cNvSpPr>
              <p:nvPr/>
            </p:nvSpPr>
            <p:spPr bwMode="auto">
              <a:xfrm>
                <a:off x="4759322" y="2373110"/>
                <a:ext cx="88301" cy="102777"/>
              </a:xfrm>
              <a:custGeom>
                <a:avLst/>
                <a:gdLst/>
                <a:ahLst/>
                <a:cxnLst>
                  <a:cxn ang="0">
                    <a:pos x="32" y="71"/>
                  </a:cxn>
                  <a:cxn ang="0">
                    <a:pos x="25" y="53"/>
                  </a:cxn>
                  <a:cxn ang="0">
                    <a:pos x="20" y="42"/>
                  </a:cxn>
                  <a:cxn ang="0">
                    <a:pos x="8" y="38"/>
                  </a:cxn>
                  <a:cxn ang="0">
                    <a:pos x="0" y="30"/>
                  </a:cxn>
                  <a:cxn ang="0">
                    <a:pos x="0" y="17"/>
                  </a:cxn>
                  <a:cxn ang="0">
                    <a:pos x="4" y="5"/>
                  </a:cxn>
                  <a:cxn ang="0">
                    <a:pos x="15" y="0"/>
                  </a:cxn>
                  <a:cxn ang="0">
                    <a:pos x="29" y="1"/>
                  </a:cxn>
                  <a:cxn ang="0">
                    <a:pos x="39" y="9"/>
                  </a:cxn>
                  <a:cxn ang="0">
                    <a:pos x="50" y="23"/>
                  </a:cxn>
                  <a:cxn ang="0">
                    <a:pos x="60" y="29"/>
                  </a:cxn>
                  <a:cxn ang="0">
                    <a:pos x="61" y="38"/>
                  </a:cxn>
                  <a:cxn ang="0">
                    <a:pos x="58" y="43"/>
                  </a:cxn>
                  <a:cxn ang="0">
                    <a:pos x="44" y="43"/>
                  </a:cxn>
                  <a:cxn ang="0">
                    <a:pos x="35" y="43"/>
                  </a:cxn>
                  <a:cxn ang="0">
                    <a:pos x="35" y="56"/>
                  </a:cxn>
                  <a:cxn ang="0">
                    <a:pos x="36" y="64"/>
                  </a:cxn>
                  <a:cxn ang="0">
                    <a:pos x="32" y="71"/>
                  </a:cxn>
                </a:cxnLst>
                <a:rect l="0" t="0" r="r" b="b"/>
                <a:pathLst>
                  <a:path w="61" h="71">
                    <a:moveTo>
                      <a:pt x="32" y="71"/>
                    </a:moveTo>
                    <a:lnTo>
                      <a:pt x="25" y="53"/>
                    </a:lnTo>
                    <a:lnTo>
                      <a:pt x="20" y="42"/>
                    </a:lnTo>
                    <a:lnTo>
                      <a:pt x="8" y="38"/>
                    </a:lnTo>
                    <a:lnTo>
                      <a:pt x="0" y="30"/>
                    </a:lnTo>
                    <a:lnTo>
                      <a:pt x="0" y="17"/>
                    </a:lnTo>
                    <a:lnTo>
                      <a:pt x="4" y="5"/>
                    </a:lnTo>
                    <a:lnTo>
                      <a:pt x="15" y="0"/>
                    </a:lnTo>
                    <a:lnTo>
                      <a:pt x="29" y="1"/>
                    </a:lnTo>
                    <a:lnTo>
                      <a:pt x="39" y="9"/>
                    </a:lnTo>
                    <a:lnTo>
                      <a:pt x="50" y="23"/>
                    </a:lnTo>
                    <a:lnTo>
                      <a:pt x="60" y="29"/>
                    </a:lnTo>
                    <a:lnTo>
                      <a:pt x="61" y="38"/>
                    </a:lnTo>
                    <a:lnTo>
                      <a:pt x="58" y="43"/>
                    </a:lnTo>
                    <a:lnTo>
                      <a:pt x="44" y="43"/>
                    </a:lnTo>
                    <a:lnTo>
                      <a:pt x="35" y="43"/>
                    </a:lnTo>
                    <a:lnTo>
                      <a:pt x="35" y="56"/>
                    </a:lnTo>
                    <a:lnTo>
                      <a:pt x="36" y="64"/>
                    </a:lnTo>
                    <a:lnTo>
                      <a:pt x="32" y="71"/>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8" name="Freeform 17">
                <a:extLst>
                  <a:ext uri="{FF2B5EF4-FFF2-40B4-BE49-F238E27FC236}">
                    <a16:creationId xmlns:a16="http://schemas.microsoft.com/office/drawing/2014/main" id="{3FDE1BA2-98EA-43A2-B43A-C542579F6CD9}"/>
                  </a:ext>
                </a:extLst>
              </p:cNvPr>
              <p:cNvSpPr>
                <a:spLocks/>
              </p:cNvSpPr>
              <p:nvPr/>
            </p:nvSpPr>
            <p:spPr bwMode="auto">
              <a:xfrm>
                <a:off x="4064497" y="2370215"/>
                <a:ext cx="30399" cy="36189"/>
              </a:xfrm>
              <a:custGeom>
                <a:avLst/>
                <a:gdLst/>
                <a:ahLst/>
                <a:cxnLst>
                  <a:cxn ang="0">
                    <a:pos x="2" y="1"/>
                  </a:cxn>
                  <a:cxn ang="0">
                    <a:pos x="20" y="0"/>
                  </a:cxn>
                  <a:cxn ang="0">
                    <a:pos x="21" y="11"/>
                  </a:cxn>
                  <a:cxn ang="0">
                    <a:pos x="16" y="19"/>
                  </a:cxn>
                  <a:cxn ang="0">
                    <a:pos x="12" y="25"/>
                  </a:cxn>
                  <a:cxn ang="0">
                    <a:pos x="3" y="19"/>
                  </a:cxn>
                  <a:cxn ang="0">
                    <a:pos x="0" y="8"/>
                  </a:cxn>
                  <a:cxn ang="0">
                    <a:pos x="2" y="1"/>
                  </a:cxn>
                </a:cxnLst>
                <a:rect l="0" t="0" r="r" b="b"/>
                <a:pathLst>
                  <a:path w="21" h="25">
                    <a:moveTo>
                      <a:pt x="2" y="1"/>
                    </a:moveTo>
                    <a:lnTo>
                      <a:pt x="20" y="0"/>
                    </a:lnTo>
                    <a:lnTo>
                      <a:pt x="21" y="11"/>
                    </a:lnTo>
                    <a:lnTo>
                      <a:pt x="16" y="19"/>
                    </a:lnTo>
                    <a:lnTo>
                      <a:pt x="12" y="25"/>
                    </a:lnTo>
                    <a:lnTo>
                      <a:pt x="3" y="19"/>
                    </a:lnTo>
                    <a:lnTo>
                      <a:pt x="0" y="8"/>
                    </a:lnTo>
                    <a:lnTo>
                      <a:pt x="2" y="1"/>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9" name="Freeform 18">
                <a:extLst>
                  <a:ext uri="{FF2B5EF4-FFF2-40B4-BE49-F238E27FC236}">
                    <a16:creationId xmlns:a16="http://schemas.microsoft.com/office/drawing/2014/main" id="{569C4BBD-F04F-49BA-91E3-12541C32FCBB}"/>
                  </a:ext>
                </a:extLst>
              </p:cNvPr>
              <p:cNvSpPr>
                <a:spLocks/>
              </p:cNvSpPr>
              <p:nvPr/>
            </p:nvSpPr>
            <p:spPr bwMode="auto">
              <a:xfrm>
                <a:off x="3986330" y="2339817"/>
                <a:ext cx="44875" cy="49217"/>
              </a:xfrm>
              <a:custGeom>
                <a:avLst/>
                <a:gdLst/>
                <a:ahLst/>
                <a:cxnLst>
                  <a:cxn ang="0">
                    <a:pos x="15" y="0"/>
                  </a:cxn>
                  <a:cxn ang="0">
                    <a:pos x="29" y="10"/>
                  </a:cxn>
                  <a:cxn ang="0">
                    <a:pos x="31" y="20"/>
                  </a:cxn>
                  <a:cxn ang="0">
                    <a:pos x="23" y="28"/>
                  </a:cxn>
                  <a:cxn ang="0">
                    <a:pos x="11" y="34"/>
                  </a:cxn>
                  <a:cxn ang="0">
                    <a:pos x="3" y="30"/>
                  </a:cxn>
                  <a:cxn ang="0">
                    <a:pos x="0" y="21"/>
                  </a:cxn>
                  <a:cxn ang="0">
                    <a:pos x="0" y="10"/>
                  </a:cxn>
                  <a:cxn ang="0">
                    <a:pos x="6" y="3"/>
                  </a:cxn>
                  <a:cxn ang="0">
                    <a:pos x="15" y="0"/>
                  </a:cxn>
                </a:cxnLst>
                <a:rect l="0" t="0" r="r" b="b"/>
                <a:pathLst>
                  <a:path w="31" h="34">
                    <a:moveTo>
                      <a:pt x="15" y="0"/>
                    </a:moveTo>
                    <a:lnTo>
                      <a:pt x="29" y="10"/>
                    </a:lnTo>
                    <a:lnTo>
                      <a:pt x="31" y="20"/>
                    </a:lnTo>
                    <a:lnTo>
                      <a:pt x="23" y="28"/>
                    </a:lnTo>
                    <a:lnTo>
                      <a:pt x="11" y="34"/>
                    </a:lnTo>
                    <a:lnTo>
                      <a:pt x="3" y="30"/>
                    </a:lnTo>
                    <a:lnTo>
                      <a:pt x="0" y="21"/>
                    </a:lnTo>
                    <a:lnTo>
                      <a:pt x="0" y="10"/>
                    </a:lnTo>
                    <a:lnTo>
                      <a:pt x="6" y="3"/>
                    </a:lnTo>
                    <a:lnTo>
                      <a:pt x="15" y="0"/>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 name="Freeform 19">
                <a:extLst>
                  <a:ext uri="{FF2B5EF4-FFF2-40B4-BE49-F238E27FC236}">
                    <a16:creationId xmlns:a16="http://schemas.microsoft.com/office/drawing/2014/main" id="{92731D06-12C9-4FC0-818E-A0788E8CED33}"/>
                  </a:ext>
                </a:extLst>
              </p:cNvPr>
              <p:cNvSpPr>
                <a:spLocks/>
              </p:cNvSpPr>
              <p:nvPr/>
            </p:nvSpPr>
            <p:spPr bwMode="auto">
              <a:xfrm>
                <a:off x="3938560" y="2244278"/>
                <a:ext cx="37636" cy="41979"/>
              </a:xfrm>
              <a:custGeom>
                <a:avLst/>
                <a:gdLst/>
                <a:ahLst/>
                <a:cxnLst>
                  <a:cxn ang="0">
                    <a:pos x="21" y="0"/>
                  </a:cxn>
                  <a:cxn ang="0">
                    <a:pos x="8" y="5"/>
                  </a:cxn>
                  <a:cxn ang="0">
                    <a:pos x="0" y="12"/>
                  </a:cxn>
                  <a:cxn ang="0">
                    <a:pos x="0" y="20"/>
                  </a:cxn>
                  <a:cxn ang="0">
                    <a:pos x="9" y="24"/>
                  </a:cxn>
                  <a:cxn ang="0">
                    <a:pos x="25" y="29"/>
                  </a:cxn>
                  <a:cxn ang="0">
                    <a:pos x="26" y="14"/>
                  </a:cxn>
                  <a:cxn ang="0">
                    <a:pos x="24" y="3"/>
                  </a:cxn>
                  <a:cxn ang="0">
                    <a:pos x="21" y="0"/>
                  </a:cxn>
                </a:cxnLst>
                <a:rect l="0" t="0" r="r" b="b"/>
                <a:pathLst>
                  <a:path w="26" h="29">
                    <a:moveTo>
                      <a:pt x="21" y="0"/>
                    </a:moveTo>
                    <a:lnTo>
                      <a:pt x="8" y="5"/>
                    </a:lnTo>
                    <a:lnTo>
                      <a:pt x="0" y="12"/>
                    </a:lnTo>
                    <a:lnTo>
                      <a:pt x="0" y="20"/>
                    </a:lnTo>
                    <a:lnTo>
                      <a:pt x="9" y="24"/>
                    </a:lnTo>
                    <a:lnTo>
                      <a:pt x="25" y="29"/>
                    </a:lnTo>
                    <a:lnTo>
                      <a:pt x="26" y="14"/>
                    </a:lnTo>
                    <a:lnTo>
                      <a:pt x="24" y="3"/>
                    </a:lnTo>
                    <a:lnTo>
                      <a:pt x="21" y="0"/>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1" name="Freeform 20">
                <a:extLst>
                  <a:ext uri="{FF2B5EF4-FFF2-40B4-BE49-F238E27FC236}">
                    <a16:creationId xmlns:a16="http://schemas.microsoft.com/office/drawing/2014/main" id="{25B29A96-9019-4330-A8B8-6175D49D511F}"/>
                  </a:ext>
                </a:extLst>
              </p:cNvPr>
              <p:cNvSpPr>
                <a:spLocks/>
              </p:cNvSpPr>
              <p:nvPr/>
            </p:nvSpPr>
            <p:spPr bwMode="auto">
              <a:xfrm>
                <a:off x="3896581" y="2260201"/>
                <a:ext cx="59350" cy="68035"/>
              </a:xfrm>
              <a:custGeom>
                <a:avLst/>
                <a:gdLst/>
                <a:ahLst/>
                <a:cxnLst>
                  <a:cxn ang="0">
                    <a:pos x="8" y="0"/>
                  </a:cxn>
                  <a:cxn ang="0">
                    <a:pos x="18" y="13"/>
                  </a:cxn>
                  <a:cxn ang="0">
                    <a:pos x="37" y="29"/>
                  </a:cxn>
                  <a:cxn ang="0">
                    <a:pos x="41" y="36"/>
                  </a:cxn>
                  <a:cxn ang="0">
                    <a:pos x="35" y="44"/>
                  </a:cxn>
                  <a:cxn ang="0">
                    <a:pos x="19" y="47"/>
                  </a:cxn>
                  <a:cxn ang="0">
                    <a:pos x="3" y="46"/>
                  </a:cxn>
                  <a:cxn ang="0">
                    <a:pos x="1" y="33"/>
                  </a:cxn>
                  <a:cxn ang="0">
                    <a:pos x="0" y="17"/>
                  </a:cxn>
                  <a:cxn ang="0">
                    <a:pos x="4" y="5"/>
                  </a:cxn>
                  <a:cxn ang="0">
                    <a:pos x="8" y="0"/>
                  </a:cxn>
                </a:cxnLst>
                <a:rect l="0" t="0" r="r" b="b"/>
                <a:pathLst>
                  <a:path w="41" h="47">
                    <a:moveTo>
                      <a:pt x="8" y="0"/>
                    </a:moveTo>
                    <a:lnTo>
                      <a:pt x="18" y="13"/>
                    </a:lnTo>
                    <a:lnTo>
                      <a:pt x="37" y="29"/>
                    </a:lnTo>
                    <a:lnTo>
                      <a:pt x="41" y="36"/>
                    </a:lnTo>
                    <a:lnTo>
                      <a:pt x="35" y="44"/>
                    </a:lnTo>
                    <a:lnTo>
                      <a:pt x="19" y="47"/>
                    </a:lnTo>
                    <a:lnTo>
                      <a:pt x="3" y="46"/>
                    </a:lnTo>
                    <a:lnTo>
                      <a:pt x="1" y="33"/>
                    </a:lnTo>
                    <a:lnTo>
                      <a:pt x="0" y="17"/>
                    </a:lnTo>
                    <a:lnTo>
                      <a:pt x="4" y="5"/>
                    </a:lnTo>
                    <a:lnTo>
                      <a:pt x="8" y="0"/>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2" name="Freeform 21">
                <a:extLst>
                  <a:ext uri="{FF2B5EF4-FFF2-40B4-BE49-F238E27FC236}">
                    <a16:creationId xmlns:a16="http://schemas.microsoft.com/office/drawing/2014/main" id="{F0F84E78-5E3D-44FD-9497-927AE70E423A}"/>
                  </a:ext>
                </a:extLst>
              </p:cNvPr>
              <p:cNvSpPr>
                <a:spLocks/>
              </p:cNvSpPr>
              <p:nvPr/>
            </p:nvSpPr>
            <p:spPr bwMode="auto">
              <a:xfrm>
                <a:off x="3886448" y="2009775"/>
                <a:ext cx="115804" cy="214238"/>
              </a:xfrm>
              <a:custGeom>
                <a:avLst/>
                <a:gdLst/>
                <a:ahLst/>
                <a:cxnLst>
                  <a:cxn ang="0">
                    <a:pos x="68" y="0"/>
                  </a:cxn>
                  <a:cxn ang="0">
                    <a:pos x="80" y="10"/>
                  </a:cxn>
                  <a:cxn ang="0">
                    <a:pos x="75" y="22"/>
                  </a:cxn>
                  <a:cxn ang="0">
                    <a:pos x="62" y="34"/>
                  </a:cxn>
                  <a:cxn ang="0">
                    <a:pos x="56" y="47"/>
                  </a:cxn>
                  <a:cxn ang="0">
                    <a:pos x="58" y="65"/>
                  </a:cxn>
                  <a:cxn ang="0">
                    <a:pos x="63" y="78"/>
                  </a:cxn>
                  <a:cxn ang="0">
                    <a:pos x="60" y="85"/>
                  </a:cxn>
                  <a:cxn ang="0">
                    <a:pos x="47" y="81"/>
                  </a:cxn>
                  <a:cxn ang="0">
                    <a:pos x="37" y="70"/>
                  </a:cxn>
                  <a:cxn ang="0">
                    <a:pos x="22" y="91"/>
                  </a:cxn>
                  <a:cxn ang="0">
                    <a:pos x="20" y="120"/>
                  </a:cxn>
                  <a:cxn ang="0">
                    <a:pos x="16" y="142"/>
                  </a:cxn>
                  <a:cxn ang="0">
                    <a:pos x="7" y="148"/>
                  </a:cxn>
                  <a:cxn ang="0">
                    <a:pos x="0" y="144"/>
                  </a:cxn>
                  <a:cxn ang="0">
                    <a:pos x="3" y="113"/>
                  </a:cxn>
                  <a:cxn ang="0">
                    <a:pos x="8" y="82"/>
                  </a:cxn>
                  <a:cxn ang="0">
                    <a:pos x="21" y="59"/>
                  </a:cxn>
                  <a:cxn ang="0">
                    <a:pos x="41" y="40"/>
                  </a:cxn>
                  <a:cxn ang="0">
                    <a:pos x="54" y="26"/>
                  </a:cxn>
                  <a:cxn ang="0">
                    <a:pos x="59" y="10"/>
                  </a:cxn>
                  <a:cxn ang="0">
                    <a:pos x="62" y="3"/>
                  </a:cxn>
                  <a:cxn ang="0">
                    <a:pos x="68" y="0"/>
                  </a:cxn>
                </a:cxnLst>
                <a:rect l="0" t="0" r="r" b="b"/>
                <a:pathLst>
                  <a:path w="80" h="148">
                    <a:moveTo>
                      <a:pt x="68" y="0"/>
                    </a:moveTo>
                    <a:lnTo>
                      <a:pt x="80" y="10"/>
                    </a:lnTo>
                    <a:lnTo>
                      <a:pt x="75" y="22"/>
                    </a:lnTo>
                    <a:lnTo>
                      <a:pt x="62" y="34"/>
                    </a:lnTo>
                    <a:lnTo>
                      <a:pt x="56" y="47"/>
                    </a:lnTo>
                    <a:lnTo>
                      <a:pt x="58" y="65"/>
                    </a:lnTo>
                    <a:lnTo>
                      <a:pt x="63" y="78"/>
                    </a:lnTo>
                    <a:lnTo>
                      <a:pt x="60" y="85"/>
                    </a:lnTo>
                    <a:lnTo>
                      <a:pt x="47" y="81"/>
                    </a:lnTo>
                    <a:lnTo>
                      <a:pt x="37" y="70"/>
                    </a:lnTo>
                    <a:lnTo>
                      <a:pt x="22" y="91"/>
                    </a:lnTo>
                    <a:lnTo>
                      <a:pt x="20" y="120"/>
                    </a:lnTo>
                    <a:lnTo>
                      <a:pt x="16" y="142"/>
                    </a:lnTo>
                    <a:lnTo>
                      <a:pt x="7" y="148"/>
                    </a:lnTo>
                    <a:lnTo>
                      <a:pt x="0" y="144"/>
                    </a:lnTo>
                    <a:lnTo>
                      <a:pt x="3" y="113"/>
                    </a:lnTo>
                    <a:lnTo>
                      <a:pt x="8" y="82"/>
                    </a:lnTo>
                    <a:lnTo>
                      <a:pt x="21" y="59"/>
                    </a:lnTo>
                    <a:lnTo>
                      <a:pt x="41" y="40"/>
                    </a:lnTo>
                    <a:lnTo>
                      <a:pt x="54" y="26"/>
                    </a:lnTo>
                    <a:lnTo>
                      <a:pt x="59" y="10"/>
                    </a:lnTo>
                    <a:lnTo>
                      <a:pt x="62" y="3"/>
                    </a:lnTo>
                    <a:lnTo>
                      <a:pt x="68" y="0"/>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 name="Gruppieren 2">
              <a:extLst>
                <a:ext uri="{FF2B5EF4-FFF2-40B4-BE49-F238E27FC236}">
                  <a16:creationId xmlns:a16="http://schemas.microsoft.com/office/drawing/2014/main" id="{0BEDB3F1-B581-453B-9CD0-642026D1F8E1}"/>
                </a:ext>
              </a:extLst>
            </p:cNvPr>
            <p:cNvGrpSpPr/>
            <p:nvPr/>
          </p:nvGrpSpPr>
          <p:grpSpPr bwMode="auto">
            <a:xfrm>
              <a:off x="4623253" y="2263096"/>
              <a:ext cx="1237658" cy="907616"/>
              <a:chOff x="4623253" y="2263096"/>
              <a:chExt cx="1237658" cy="907616"/>
            </a:xfrm>
            <a:grpFill/>
          </p:grpSpPr>
          <p:sp>
            <p:nvSpPr>
              <p:cNvPr id="23" name="Freeform 22">
                <a:extLst>
                  <a:ext uri="{FF2B5EF4-FFF2-40B4-BE49-F238E27FC236}">
                    <a16:creationId xmlns:a16="http://schemas.microsoft.com/office/drawing/2014/main" id="{3524BDEF-9586-4FAC-8539-BAD4DD355501}"/>
                  </a:ext>
                </a:extLst>
              </p:cNvPr>
              <p:cNvSpPr>
                <a:spLocks/>
              </p:cNvSpPr>
              <p:nvPr/>
            </p:nvSpPr>
            <p:spPr bwMode="auto">
              <a:xfrm>
                <a:off x="4623253" y="2394824"/>
                <a:ext cx="1237658" cy="775888"/>
              </a:xfrm>
              <a:custGeom>
                <a:avLst/>
                <a:gdLst/>
                <a:ahLst/>
                <a:cxnLst>
                  <a:cxn ang="0">
                    <a:pos x="64" y="227"/>
                  </a:cxn>
                  <a:cxn ang="0">
                    <a:pos x="117" y="175"/>
                  </a:cxn>
                  <a:cxn ang="0">
                    <a:pos x="127" y="200"/>
                  </a:cxn>
                  <a:cxn ang="0">
                    <a:pos x="151" y="215"/>
                  </a:cxn>
                  <a:cxn ang="0">
                    <a:pos x="180" y="217"/>
                  </a:cxn>
                  <a:cxn ang="0">
                    <a:pos x="210" y="208"/>
                  </a:cxn>
                  <a:cxn ang="0">
                    <a:pos x="222" y="164"/>
                  </a:cxn>
                  <a:cxn ang="0">
                    <a:pos x="225" y="142"/>
                  </a:cxn>
                  <a:cxn ang="0">
                    <a:pos x="288" y="138"/>
                  </a:cxn>
                  <a:cxn ang="0">
                    <a:pos x="320" y="112"/>
                  </a:cxn>
                  <a:cxn ang="0">
                    <a:pos x="334" y="134"/>
                  </a:cxn>
                  <a:cxn ang="0">
                    <a:pos x="350" y="98"/>
                  </a:cxn>
                  <a:cxn ang="0">
                    <a:pos x="399" y="37"/>
                  </a:cxn>
                  <a:cxn ang="0">
                    <a:pos x="425" y="3"/>
                  </a:cxn>
                  <a:cxn ang="0">
                    <a:pos x="475" y="12"/>
                  </a:cxn>
                  <a:cxn ang="0">
                    <a:pos x="453" y="23"/>
                  </a:cxn>
                  <a:cxn ang="0">
                    <a:pos x="413" y="61"/>
                  </a:cxn>
                  <a:cxn ang="0">
                    <a:pos x="424" y="85"/>
                  </a:cxn>
                  <a:cxn ang="0">
                    <a:pos x="445" y="40"/>
                  </a:cxn>
                  <a:cxn ang="0">
                    <a:pos x="481" y="46"/>
                  </a:cxn>
                  <a:cxn ang="0">
                    <a:pos x="507" y="33"/>
                  </a:cxn>
                  <a:cxn ang="0">
                    <a:pos x="534" y="29"/>
                  </a:cxn>
                  <a:cxn ang="0">
                    <a:pos x="549" y="55"/>
                  </a:cxn>
                  <a:cxn ang="0">
                    <a:pos x="557" y="90"/>
                  </a:cxn>
                  <a:cxn ang="0">
                    <a:pos x="612" y="106"/>
                  </a:cxn>
                  <a:cxn ang="0">
                    <a:pos x="640" y="129"/>
                  </a:cxn>
                  <a:cxn ang="0">
                    <a:pos x="692" y="116"/>
                  </a:cxn>
                  <a:cxn ang="0">
                    <a:pos x="704" y="148"/>
                  </a:cxn>
                  <a:cxn ang="0">
                    <a:pos x="712" y="179"/>
                  </a:cxn>
                  <a:cxn ang="0">
                    <a:pos x="717" y="211"/>
                  </a:cxn>
                  <a:cxn ang="0">
                    <a:pos x="733" y="254"/>
                  </a:cxn>
                  <a:cxn ang="0">
                    <a:pos x="772" y="268"/>
                  </a:cxn>
                  <a:cxn ang="0">
                    <a:pos x="813" y="272"/>
                  </a:cxn>
                  <a:cxn ang="0">
                    <a:pos x="832" y="318"/>
                  </a:cxn>
                  <a:cxn ang="0">
                    <a:pos x="842" y="382"/>
                  </a:cxn>
                  <a:cxn ang="0">
                    <a:pos x="851" y="423"/>
                  </a:cxn>
                  <a:cxn ang="0">
                    <a:pos x="810" y="455"/>
                  </a:cxn>
                  <a:cxn ang="0">
                    <a:pos x="777" y="401"/>
                  </a:cxn>
                  <a:cxn ang="0">
                    <a:pos x="742" y="391"/>
                  </a:cxn>
                  <a:cxn ang="0">
                    <a:pos x="694" y="397"/>
                  </a:cxn>
                  <a:cxn ang="0">
                    <a:pos x="659" y="435"/>
                  </a:cxn>
                  <a:cxn ang="0">
                    <a:pos x="616" y="468"/>
                  </a:cxn>
                  <a:cxn ang="0">
                    <a:pos x="565" y="478"/>
                  </a:cxn>
                  <a:cxn ang="0">
                    <a:pos x="527" y="486"/>
                  </a:cxn>
                  <a:cxn ang="0">
                    <a:pos x="467" y="464"/>
                  </a:cxn>
                  <a:cxn ang="0">
                    <a:pos x="396" y="459"/>
                  </a:cxn>
                  <a:cxn ang="0">
                    <a:pos x="337" y="424"/>
                  </a:cxn>
                  <a:cxn ang="0">
                    <a:pos x="293" y="457"/>
                  </a:cxn>
                  <a:cxn ang="0">
                    <a:pos x="238" y="504"/>
                  </a:cxn>
                  <a:cxn ang="0">
                    <a:pos x="249" y="535"/>
                  </a:cxn>
                  <a:cxn ang="0">
                    <a:pos x="158" y="535"/>
                  </a:cxn>
                  <a:cxn ang="0">
                    <a:pos x="99" y="486"/>
                  </a:cxn>
                  <a:cxn ang="0">
                    <a:pos x="52" y="466"/>
                  </a:cxn>
                  <a:cxn ang="0">
                    <a:pos x="13" y="426"/>
                  </a:cxn>
                  <a:cxn ang="0">
                    <a:pos x="14" y="353"/>
                  </a:cxn>
                  <a:cxn ang="0">
                    <a:pos x="57" y="337"/>
                  </a:cxn>
                  <a:cxn ang="0">
                    <a:pos x="45" y="280"/>
                  </a:cxn>
                </a:cxnLst>
                <a:rect l="0" t="0" r="r" b="b"/>
                <a:pathLst>
                  <a:path w="855" h="536">
                    <a:moveTo>
                      <a:pt x="35" y="265"/>
                    </a:moveTo>
                    <a:lnTo>
                      <a:pt x="40" y="250"/>
                    </a:lnTo>
                    <a:lnTo>
                      <a:pt x="51" y="240"/>
                    </a:lnTo>
                    <a:lnTo>
                      <a:pt x="64" y="227"/>
                    </a:lnTo>
                    <a:lnTo>
                      <a:pt x="81" y="211"/>
                    </a:lnTo>
                    <a:lnTo>
                      <a:pt x="94" y="196"/>
                    </a:lnTo>
                    <a:lnTo>
                      <a:pt x="106" y="182"/>
                    </a:lnTo>
                    <a:lnTo>
                      <a:pt x="117" y="175"/>
                    </a:lnTo>
                    <a:lnTo>
                      <a:pt x="125" y="175"/>
                    </a:lnTo>
                    <a:lnTo>
                      <a:pt x="127" y="181"/>
                    </a:lnTo>
                    <a:lnTo>
                      <a:pt x="128" y="190"/>
                    </a:lnTo>
                    <a:lnTo>
                      <a:pt x="127" y="200"/>
                    </a:lnTo>
                    <a:lnTo>
                      <a:pt x="127" y="209"/>
                    </a:lnTo>
                    <a:lnTo>
                      <a:pt x="131" y="215"/>
                    </a:lnTo>
                    <a:lnTo>
                      <a:pt x="138" y="217"/>
                    </a:lnTo>
                    <a:lnTo>
                      <a:pt x="151" y="215"/>
                    </a:lnTo>
                    <a:lnTo>
                      <a:pt x="159" y="209"/>
                    </a:lnTo>
                    <a:lnTo>
                      <a:pt x="168" y="207"/>
                    </a:lnTo>
                    <a:lnTo>
                      <a:pt x="174" y="209"/>
                    </a:lnTo>
                    <a:lnTo>
                      <a:pt x="180" y="217"/>
                    </a:lnTo>
                    <a:lnTo>
                      <a:pt x="188" y="226"/>
                    </a:lnTo>
                    <a:lnTo>
                      <a:pt x="196" y="226"/>
                    </a:lnTo>
                    <a:lnTo>
                      <a:pt x="204" y="222"/>
                    </a:lnTo>
                    <a:lnTo>
                      <a:pt x="210" y="208"/>
                    </a:lnTo>
                    <a:lnTo>
                      <a:pt x="216" y="196"/>
                    </a:lnTo>
                    <a:lnTo>
                      <a:pt x="222" y="181"/>
                    </a:lnTo>
                    <a:lnTo>
                      <a:pt x="222" y="172"/>
                    </a:lnTo>
                    <a:lnTo>
                      <a:pt x="222" y="164"/>
                    </a:lnTo>
                    <a:lnTo>
                      <a:pt x="216" y="158"/>
                    </a:lnTo>
                    <a:lnTo>
                      <a:pt x="214" y="154"/>
                    </a:lnTo>
                    <a:lnTo>
                      <a:pt x="217" y="148"/>
                    </a:lnTo>
                    <a:lnTo>
                      <a:pt x="225" y="142"/>
                    </a:lnTo>
                    <a:lnTo>
                      <a:pt x="234" y="138"/>
                    </a:lnTo>
                    <a:lnTo>
                      <a:pt x="254" y="136"/>
                    </a:lnTo>
                    <a:lnTo>
                      <a:pt x="278" y="136"/>
                    </a:lnTo>
                    <a:lnTo>
                      <a:pt x="288" y="138"/>
                    </a:lnTo>
                    <a:lnTo>
                      <a:pt x="300" y="132"/>
                    </a:lnTo>
                    <a:lnTo>
                      <a:pt x="305" y="119"/>
                    </a:lnTo>
                    <a:lnTo>
                      <a:pt x="311" y="112"/>
                    </a:lnTo>
                    <a:lnTo>
                      <a:pt x="320" y="112"/>
                    </a:lnTo>
                    <a:lnTo>
                      <a:pt x="322" y="120"/>
                    </a:lnTo>
                    <a:lnTo>
                      <a:pt x="322" y="126"/>
                    </a:lnTo>
                    <a:lnTo>
                      <a:pt x="327" y="132"/>
                    </a:lnTo>
                    <a:lnTo>
                      <a:pt x="334" y="134"/>
                    </a:lnTo>
                    <a:lnTo>
                      <a:pt x="341" y="133"/>
                    </a:lnTo>
                    <a:lnTo>
                      <a:pt x="342" y="124"/>
                    </a:lnTo>
                    <a:lnTo>
                      <a:pt x="343" y="113"/>
                    </a:lnTo>
                    <a:lnTo>
                      <a:pt x="350" y="98"/>
                    </a:lnTo>
                    <a:lnTo>
                      <a:pt x="369" y="79"/>
                    </a:lnTo>
                    <a:lnTo>
                      <a:pt x="394" y="54"/>
                    </a:lnTo>
                    <a:lnTo>
                      <a:pt x="398" y="49"/>
                    </a:lnTo>
                    <a:lnTo>
                      <a:pt x="399" y="37"/>
                    </a:lnTo>
                    <a:lnTo>
                      <a:pt x="399" y="26"/>
                    </a:lnTo>
                    <a:lnTo>
                      <a:pt x="404" y="17"/>
                    </a:lnTo>
                    <a:lnTo>
                      <a:pt x="413" y="10"/>
                    </a:lnTo>
                    <a:lnTo>
                      <a:pt x="425" y="3"/>
                    </a:lnTo>
                    <a:lnTo>
                      <a:pt x="437" y="0"/>
                    </a:lnTo>
                    <a:lnTo>
                      <a:pt x="451" y="7"/>
                    </a:lnTo>
                    <a:lnTo>
                      <a:pt x="463" y="11"/>
                    </a:lnTo>
                    <a:lnTo>
                      <a:pt x="475" y="12"/>
                    </a:lnTo>
                    <a:lnTo>
                      <a:pt x="489" y="12"/>
                    </a:lnTo>
                    <a:lnTo>
                      <a:pt x="491" y="16"/>
                    </a:lnTo>
                    <a:lnTo>
                      <a:pt x="473" y="21"/>
                    </a:lnTo>
                    <a:lnTo>
                      <a:pt x="453" y="23"/>
                    </a:lnTo>
                    <a:lnTo>
                      <a:pt x="439" y="30"/>
                    </a:lnTo>
                    <a:lnTo>
                      <a:pt x="430" y="38"/>
                    </a:lnTo>
                    <a:lnTo>
                      <a:pt x="420" y="49"/>
                    </a:lnTo>
                    <a:lnTo>
                      <a:pt x="413" y="61"/>
                    </a:lnTo>
                    <a:lnTo>
                      <a:pt x="413" y="72"/>
                    </a:lnTo>
                    <a:lnTo>
                      <a:pt x="411" y="84"/>
                    </a:lnTo>
                    <a:lnTo>
                      <a:pt x="417" y="91"/>
                    </a:lnTo>
                    <a:lnTo>
                      <a:pt x="424" y="85"/>
                    </a:lnTo>
                    <a:lnTo>
                      <a:pt x="425" y="75"/>
                    </a:lnTo>
                    <a:lnTo>
                      <a:pt x="429" y="63"/>
                    </a:lnTo>
                    <a:lnTo>
                      <a:pt x="439" y="48"/>
                    </a:lnTo>
                    <a:lnTo>
                      <a:pt x="445" y="40"/>
                    </a:lnTo>
                    <a:lnTo>
                      <a:pt x="456" y="36"/>
                    </a:lnTo>
                    <a:lnTo>
                      <a:pt x="467" y="37"/>
                    </a:lnTo>
                    <a:lnTo>
                      <a:pt x="475" y="42"/>
                    </a:lnTo>
                    <a:lnTo>
                      <a:pt x="481" y="46"/>
                    </a:lnTo>
                    <a:lnTo>
                      <a:pt x="491" y="47"/>
                    </a:lnTo>
                    <a:lnTo>
                      <a:pt x="497" y="44"/>
                    </a:lnTo>
                    <a:lnTo>
                      <a:pt x="502" y="39"/>
                    </a:lnTo>
                    <a:lnTo>
                      <a:pt x="507" y="33"/>
                    </a:lnTo>
                    <a:lnTo>
                      <a:pt x="515" y="33"/>
                    </a:lnTo>
                    <a:lnTo>
                      <a:pt x="521" y="33"/>
                    </a:lnTo>
                    <a:lnTo>
                      <a:pt x="527" y="35"/>
                    </a:lnTo>
                    <a:lnTo>
                      <a:pt x="534" y="29"/>
                    </a:lnTo>
                    <a:lnTo>
                      <a:pt x="542" y="27"/>
                    </a:lnTo>
                    <a:lnTo>
                      <a:pt x="547" y="34"/>
                    </a:lnTo>
                    <a:lnTo>
                      <a:pt x="550" y="45"/>
                    </a:lnTo>
                    <a:lnTo>
                      <a:pt x="549" y="55"/>
                    </a:lnTo>
                    <a:lnTo>
                      <a:pt x="548" y="64"/>
                    </a:lnTo>
                    <a:lnTo>
                      <a:pt x="546" y="72"/>
                    </a:lnTo>
                    <a:lnTo>
                      <a:pt x="546" y="81"/>
                    </a:lnTo>
                    <a:lnTo>
                      <a:pt x="557" y="90"/>
                    </a:lnTo>
                    <a:lnTo>
                      <a:pt x="574" y="94"/>
                    </a:lnTo>
                    <a:lnTo>
                      <a:pt x="588" y="104"/>
                    </a:lnTo>
                    <a:lnTo>
                      <a:pt x="596" y="106"/>
                    </a:lnTo>
                    <a:lnTo>
                      <a:pt x="612" y="106"/>
                    </a:lnTo>
                    <a:lnTo>
                      <a:pt x="621" y="112"/>
                    </a:lnTo>
                    <a:lnTo>
                      <a:pt x="625" y="122"/>
                    </a:lnTo>
                    <a:lnTo>
                      <a:pt x="632" y="131"/>
                    </a:lnTo>
                    <a:lnTo>
                      <a:pt x="640" y="129"/>
                    </a:lnTo>
                    <a:lnTo>
                      <a:pt x="642" y="117"/>
                    </a:lnTo>
                    <a:lnTo>
                      <a:pt x="655" y="114"/>
                    </a:lnTo>
                    <a:lnTo>
                      <a:pt x="675" y="116"/>
                    </a:lnTo>
                    <a:lnTo>
                      <a:pt x="692" y="116"/>
                    </a:lnTo>
                    <a:lnTo>
                      <a:pt x="702" y="120"/>
                    </a:lnTo>
                    <a:lnTo>
                      <a:pt x="707" y="130"/>
                    </a:lnTo>
                    <a:lnTo>
                      <a:pt x="708" y="139"/>
                    </a:lnTo>
                    <a:lnTo>
                      <a:pt x="704" y="148"/>
                    </a:lnTo>
                    <a:lnTo>
                      <a:pt x="701" y="155"/>
                    </a:lnTo>
                    <a:lnTo>
                      <a:pt x="701" y="164"/>
                    </a:lnTo>
                    <a:lnTo>
                      <a:pt x="706" y="173"/>
                    </a:lnTo>
                    <a:lnTo>
                      <a:pt x="712" y="179"/>
                    </a:lnTo>
                    <a:lnTo>
                      <a:pt x="717" y="187"/>
                    </a:lnTo>
                    <a:lnTo>
                      <a:pt x="717" y="196"/>
                    </a:lnTo>
                    <a:lnTo>
                      <a:pt x="717" y="204"/>
                    </a:lnTo>
                    <a:lnTo>
                      <a:pt x="717" y="211"/>
                    </a:lnTo>
                    <a:lnTo>
                      <a:pt x="724" y="223"/>
                    </a:lnTo>
                    <a:lnTo>
                      <a:pt x="730" y="236"/>
                    </a:lnTo>
                    <a:lnTo>
                      <a:pt x="732" y="244"/>
                    </a:lnTo>
                    <a:lnTo>
                      <a:pt x="733" y="254"/>
                    </a:lnTo>
                    <a:lnTo>
                      <a:pt x="746" y="258"/>
                    </a:lnTo>
                    <a:lnTo>
                      <a:pt x="762" y="256"/>
                    </a:lnTo>
                    <a:lnTo>
                      <a:pt x="769" y="260"/>
                    </a:lnTo>
                    <a:lnTo>
                      <a:pt x="772" y="268"/>
                    </a:lnTo>
                    <a:lnTo>
                      <a:pt x="779" y="275"/>
                    </a:lnTo>
                    <a:lnTo>
                      <a:pt x="786" y="276"/>
                    </a:lnTo>
                    <a:lnTo>
                      <a:pt x="796" y="272"/>
                    </a:lnTo>
                    <a:lnTo>
                      <a:pt x="813" y="272"/>
                    </a:lnTo>
                    <a:lnTo>
                      <a:pt x="821" y="275"/>
                    </a:lnTo>
                    <a:lnTo>
                      <a:pt x="827" y="292"/>
                    </a:lnTo>
                    <a:lnTo>
                      <a:pt x="830" y="307"/>
                    </a:lnTo>
                    <a:lnTo>
                      <a:pt x="832" y="318"/>
                    </a:lnTo>
                    <a:lnTo>
                      <a:pt x="837" y="332"/>
                    </a:lnTo>
                    <a:lnTo>
                      <a:pt x="841" y="350"/>
                    </a:lnTo>
                    <a:lnTo>
                      <a:pt x="840" y="374"/>
                    </a:lnTo>
                    <a:lnTo>
                      <a:pt x="842" y="382"/>
                    </a:lnTo>
                    <a:lnTo>
                      <a:pt x="851" y="393"/>
                    </a:lnTo>
                    <a:lnTo>
                      <a:pt x="855" y="405"/>
                    </a:lnTo>
                    <a:lnTo>
                      <a:pt x="853" y="420"/>
                    </a:lnTo>
                    <a:lnTo>
                      <a:pt x="851" y="423"/>
                    </a:lnTo>
                    <a:lnTo>
                      <a:pt x="844" y="428"/>
                    </a:lnTo>
                    <a:lnTo>
                      <a:pt x="837" y="439"/>
                    </a:lnTo>
                    <a:lnTo>
                      <a:pt x="824" y="451"/>
                    </a:lnTo>
                    <a:lnTo>
                      <a:pt x="810" y="455"/>
                    </a:lnTo>
                    <a:lnTo>
                      <a:pt x="803" y="445"/>
                    </a:lnTo>
                    <a:lnTo>
                      <a:pt x="794" y="434"/>
                    </a:lnTo>
                    <a:lnTo>
                      <a:pt x="785" y="415"/>
                    </a:lnTo>
                    <a:lnTo>
                      <a:pt x="777" y="401"/>
                    </a:lnTo>
                    <a:lnTo>
                      <a:pt x="766" y="388"/>
                    </a:lnTo>
                    <a:lnTo>
                      <a:pt x="758" y="383"/>
                    </a:lnTo>
                    <a:lnTo>
                      <a:pt x="750" y="385"/>
                    </a:lnTo>
                    <a:lnTo>
                      <a:pt x="742" y="391"/>
                    </a:lnTo>
                    <a:lnTo>
                      <a:pt x="733" y="399"/>
                    </a:lnTo>
                    <a:lnTo>
                      <a:pt x="726" y="403"/>
                    </a:lnTo>
                    <a:lnTo>
                      <a:pt x="713" y="401"/>
                    </a:lnTo>
                    <a:lnTo>
                      <a:pt x="694" y="397"/>
                    </a:lnTo>
                    <a:lnTo>
                      <a:pt x="679" y="400"/>
                    </a:lnTo>
                    <a:lnTo>
                      <a:pt x="665" y="408"/>
                    </a:lnTo>
                    <a:lnTo>
                      <a:pt x="660" y="419"/>
                    </a:lnTo>
                    <a:lnTo>
                      <a:pt x="659" y="435"/>
                    </a:lnTo>
                    <a:lnTo>
                      <a:pt x="650" y="445"/>
                    </a:lnTo>
                    <a:lnTo>
                      <a:pt x="637" y="450"/>
                    </a:lnTo>
                    <a:lnTo>
                      <a:pt x="627" y="463"/>
                    </a:lnTo>
                    <a:lnTo>
                      <a:pt x="616" y="468"/>
                    </a:lnTo>
                    <a:lnTo>
                      <a:pt x="604" y="468"/>
                    </a:lnTo>
                    <a:lnTo>
                      <a:pt x="590" y="468"/>
                    </a:lnTo>
                    <a:lnTo>
                      <a:pt x="579" y="470"/>
                    </a:lnTo>
                    <a:lnTo>
                      <a:pt x="565" y="478"/>
                    </a:lnTo>
                    <a:lnTo>
                      <a:pt x="559" y="488"/>
                    </a:lnTo>
                    <a:lnTo>
                      <a:pt x="554" y="501"/>
                    </a:lnTo>
                    <a:lnTo>
                      <a:pt x="541" y="495"/>
                    </a:lnTo>
                    <a:lnTo>
                      <a:pt x="527" y="486"/>
                    </a:lnTo>
                    <a:lnTo>
                      <a:pt x="511" y="482"/>
                    </a:lnTo>
                    <a:lnTo>
                      <a:pt x="495" y="480"/>
                    </a:lnTo>
                    <a:lnTo>
                      <a:pt x="482" y="475"/>
                    </a:lnTo>
                    <a:lnTo>
                      <a:pt x="467" y="464"/>
                    </a:lnTo>
                    <a:lnTo>
                      <a:pt x="456" y="459"/>
                    </a:lnTo>
                    <a:lnTo>
                      <a:pt x="439" y="458"/>
                    </a:lnTo>
                    <a:lnTo>
                      <a:pt x="416" y="459"/>
                    </a:lnTo>
                    <a:lnTo>
                      <a:pt x="396" y="459"/>
                    </a:lnTo>
                    <a:lnTo>
                      <a:pt x="377" y="449"/>
                    </a:lnTo>
                    <a:lnTo>
                      <a:pt x="364" y="438"/>
                    </a:lnTo>
                    <a:lnTo>
                      <a:pt x="352" y="429"/>
                    </a:lnTo>
                    <a:lnTo>
                      <a:pt x="337" y="424"/>
                    </a:lnTo>
                    <a:lnTo>
                      <a:pt x="324" y="430"/>
                    </a:lnTo>
                    <a:lnTo>
                      <a:pt x="316" y="443"/>
                    </a:lnTo>
                    <a:lnTo>
                      <a:pt x="308" y="453"/>
                    </a:lnTo>
                    <a:lnTo>
                      <a:pt x="293" y="457"/>
                    </a:lnTo>
                    <a:lnTo>
                      <a:pt x="274" y="466"/>
                    </a:lnTo>
                    <a:lnTo>
                      <a:pt x="256" y="476"/>
                    </a:lnTo>
                    <a:lnTo>
                      <a:pt x="244" y="490"/>
                    </a:lnTo>
                    <a:lnTo>
                      <a:pt x="238" y="504"/>
                    </a:lnTo>
                    <a:lnTo>
                      <a:pt x="236" y="518"/>
                    </a:lnTo>
                    <a:lnTo>
                      <a:pt x="240" y="526"/>
                    </a:lnTo>
                    <a:lnTo>
                      <a:pt x="249" y="531"/>
                    </a:lnTo>
                    <a:lnTo>
                      <a:pt x="249" y="535"/>
                    </a:lnTo>
                    <a:lnTo>
                      <a:pt x="229" y="536"/>
                    </a:lnTo>
                    <a:lnTo>
                      <a:pt x="210" y="536"/>
                    </a:lnTo>
                    <a:lnTo>
                      <a:pt x="184" y="535"/>
                    </a:lnTo>
                    <a:lnTo>
                      <a:pt x="158" y="535"/>
                    </a:lnTo>
                    <a:lnTo>
                      <a:pt x="124" y="502"/>
                    </a:lnTo>
                    <a:lnTo>
                      <a:pt x="115" y="497"/>
                    </a:lnTo>
                    <a:lnTo>
                      <a:pt x="106" y="493"/>
                    </a:lnTo>
                    <a:lnTo>
                      <a:pt x="99" y="486"/>
                    </a:lnTo>
                    <a:lnTo>
                      <a:pt x="93" y="478"/>
                    </a:lnTo>
                    <a:lnTo>
                      <a:pt x="87" y="468"/>
                    </a:lnTo>
                    <a:lnTo>
                      <a:pt x="69" y="468"/>
                    </a:lnTo>
                    <a:lnTo>
                      <a:pt x="52" y="466"/>
                    </a:lnTo>
                    <a:lnTo>
                      <a:pt x="46" y="461"/>
                    </a:lnTo>
                    <a:lnTo>
                      <a:pt x="32" y="447"/>
                    </a:lnTo>
                    <a:lnTo>
                      <a:pt x="19" y="433"/>
                    </a:lnTo>
                    <a:lnTo>
                      <a:pt x="13" y="426"/>
                    </a:lnTo>
                    <a:lnTo>
                      <a:pt x="4" y="421"/>
                    </a:lnTo>
                    <a:lnTo>
                      <a:pt x="0" y="371"/>
                    </a:lnTo>
                    <a:lnTo>
                      <a:pt x="6" y="359"/>
                    </a:lnTo>
                    <a:lnTo>
                      <a:pt x="14" y="353"/>
                    </a:lnTo>
                    <a:lnTo>
                      <a:pt x="24" y="349"/>
                    </a:lnTo>
                    <a:lnTo>
                      <a:pt x="35" y="350"/>
                    </a:lnTo>
                    <a:lnTo>
                      <a:pt x="47" y="345"/>
                    </a:lnTo>
                    <a:lnTo>
                      <a:pt x="57" y="337"/>
                    </a:lnTo>
                    <a:lnTo>
                      <a:pt x="59" y="324"/>
                    </a:lnTo>
                    <a:lnTo>
                      <a:pt x="56" y="311"/>
                    </a:lnTo>
                    <a:lnTo>
                      <a:pt x="52" y="294"/>
                    </a:lnTo>
                    <a:lnTo>
                      <a:pt x="45" y="280"/>
                    </a:lnTo>
                    <a:lnTo>
                      <a:pt x="35" y="265"/>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 name="Freeform 23">
                <a:extLst>
                  <a:ext uri="{FF2B5EF4-FFF2-40B4-BE49-F238E27FC236}">
                    <a16:creationId xmlns:a16="http://schemas.microsoft.com/office/drawing/2014/main" id="{8BE95897-F553-4A94-96BF-79280F9D7F67}"/>
                  </a:ext>
                </a:extLst>
              </p:cNvPr>
              <p:cNvSpPr>
                <a:spLocks/>
              </p:cNvSpPr>
              <p:nvPr/>
            </p:nvSpPr>
            <p:spPr bwMode="auto">
              <a:xfrm>
                <a:off x="5665490" y="2578663"/>
                <a:ext cx="131728" cy="159231"/>
              </a:xfrm>
              <a:custGeom>
                <a:avLst/>
                <a:gdLst/>
                <a:ahLst/>
                <a:cxnLst>
                  <a:cxn ang="0">
                    <a:pos x="1" y="17"/>
                  </a:cxn>
                  <a:cxn ang="0">
                    <a:pos x="5" y="6"/>
                  </a:cxn>
                  <a:cxn ang="0">
                    <a:pos x="12" y="0"/>
                  </a:cxn>
                  <a:cxn ang="0">
                    <a:pos x="25" y="2"/>
                  </a:cxn>
                  <a:cxn ang="0">
                    <a:pos x="35" y="14"/>
                  </a:cxn>
                  <a:cxn ang="0">
                    <a:pos x="46" y="26"/>
                  </a:cxn>
                  <a:cxn ang="0">
                    <a:pos x="57" y="34"/>
                  </a:cxn>
                  <a:cxn ang="0">
                    <a:pos x="66" y="38"/>
                  </a:cxn>
                  <a:cxn ang="0">
                    <a:pos x="75" y="43"/>
                  </a:cxn>
                  <a:cxn ang="0">
                    <a:pos x="86" y="55"/>
                  </a:cxn>
                  <a:cxn ang="0">
                    <a:pos x="90" y="64"/>
                  </a:cxn>
                  <a:cxn ang="0">
                    <a:pos x="91" y="79"/>
                  </a:cxn>
                  <a:cxn ang="0">
                    <a:pos x="88" y="91"/>
                  </a:cxn>
                  <a:cxn ang="0">
                    <a:pos x="81" y="103"/>
                  </a:cxn>
                  <a:cxn ang="0">
                    <a:pos x="66" y="107"/>
                  </a:cxn>
                  <a:cxn ang="0">
                    <a:pos x="52" y="110"/>
                  </a:cxn>
                  <a:cxn ang="0">
                    <a:pos x="37" y="109"/>
                  </a:cxn>
                  <a:cxn ang="0">
                    <a:pos x="26" y="105"/>
                  </a:cxn>
                  <a:cxn ang="0">
                    <a:pos x="18" y="95"/>
                  </a:cxn>
                  <a:cxn ang="0">
                    <a:pos x="16" y="83"/>
                  </a:cxn>
                  <a:cxn ang="0">
                    <a:pos x="16" y="72"/>
                  </a:cxn>
                  <a:cxn ang="0">
                    <a:pos x="20" y="69"/>
                  </a:cxn>
                  <a:cxn ang="0">
                    <a:pos x="34" y="71"/>
                  </a:cxn>
                  <a:cxn ang="0">
                    <a:pos x="41" y="68"/>
                  </a:cxn>
                  <a:cxn ang="0">
                    <a:pos x="44" y="54"/>
                  </a:cxn>
                  <a:cxn ang="0">
                    <a:pos x="44" y="44"/>
                  </a:cxn>
                  <a:cxn ang="0">
                    <a:pos x="37" y="35"/>
                  </a:cxn>
                  <a:cxn ang="0">
                    <a:pos x="26" y="41"/>
                  </a:cxn>
                  <a:cxn ang="0">
                    <a:pos x="21" y="53"/>
                  </a:cxn>
                  <a:cxn ang="0">
                    <a:pos x="18" y="62"/>
                  </a:cxn>
                  <a:cxn ang="0">
                    <a:pos x="15" y="65"/>
                  </a:cxn>
                  <a:cxn ang="0">
                    <a:pos x="9" y="55"/>
                  </a:cxn>
                  <a:cxn ang="0">
                    <a:pos x="3" y="39"/>
                  </a:cxn>
                  <a:cxn ang="0">
                    <a:pos x="0" y="29"/>
                  </a:cxn>
                  <a:cxn ang="0">
                    <a:pos x="1" y="17"/>
                  </a:cxn>
                </a:cxnLst>
                <a:rect l="0" t="0" r="r" b="b"/>
                <a:pathLst>
                  <a:path w="91" h="110">
                    <a:moveTo>
                      <a:pt x="1" y="17"/>
                    </a:moveTo>
                    <a:lnTo>
                      <a:pt x="5" y="6"/>
                    </a:lnTo>
                    <a:lnTo>
                      <a:pt x="12" y="0"/>
                    </a:lnTo>
                    <a:lnTo>
                      <a:pt x="25" y="2"/>
                    </a:lnTo>
                    <a:lnTo>
                      <a:pt x="35" y="14"/>
                    </a:lnTo>
                    <a:lnTo>
                      <a:pt x="46" y="26"/>
                    </a:lnTo>
                    <a:lnTo>
                      <a:pt x="57" y="34"/>
                    </a:lnTo>
                    <a:lnTo>
                      <a:pt x="66" y="38"/>
                    </a:lnTo>
                    <a:lnTo>
                      <a:pt x="75" y="43"/>
                    </a:lnTo>
                    <a:lnTo>
                      <a:pt x="86" y="55"/>
                    </a:lnTo>
                    <a:lnTo>
                      <a:pt x="90" y="64"/>
                    </a:lnTo>
                    <a:lnTo>
                      <a:pt x="91" y="79"/>
                    </a:lnTo>
                    <a:lnTo>
                      <a:pt x="88" y="91"/>
                    </a:lnTo>
                    <a:lnTo>
                      <a:pt x="81" y="103"/>
                    </a:lnTo>
                    <a:lnTo>
                      <a:pt x="66" y="107"/>
                    </a:lnTo>
                    <a:lnTo>
                      <a:pt x="52" y="110"/>
                    </a:lnTo>
                    <a:lnTo>
                      <a:pt x="37" y="109"/>
                    </a:lnTo>
                    <a:lnTo>
                      <a:pt x="26" y="105"/>
                    </a:lnTo>
                    <a:lnTo>
                      <a:pt x="18" y="95"/>
                    </a:lnTo>
                    <a:lnTo>
                      <a:pt x="16" y="83"/>
                    </a:lnTo>
                    <a:lnTo>
                      <a:pt x="16" y="72"/>
                    </a:lnTo>
                    <a:lnTo>
                      <a:pt x="20" y="69"/>
                    </a:lnTo>
                    <a:lnTo>
                      <a:pt x="34" y="71"/>
                    </a:lnTo>
                    <a:lnTo>
                      <a:pt x="41" y="68"/>
                    </a:lnTo>
                    <a:lnTo>
                      <a:pt x="44" y="54"/>
                    </a:lnTo>
                    <a:lnTo>
                      <a:pt x="44" y="44"/>
                    </a:lnTo>
                    <a:lnTo>
                      <a:pt x="37" y="35"/>
                    </a:lnTo>
                    <a:lnTo>
                      <a:pt x="26" y="41"/>
                    </a:lnTo>
                    <a:lnTo>
                      <a:pt x="21" y="53"/>
                    </a:lnTo>
                    <a:lnTo>
                      <a:pt x="18" y="62"/>
                    </a:lnTo>
                    <a:lnTo>
                      <a:pt x="15" y="65"/>
                    </a:lnTo>
                    <a:lnTo>
                      <a:pt x="9" y="55"/>
                    </a:lnTo>
                    <a:lnTo>
                      <a:pt x="3" y="39"/>
                    </a:lnTo>
                    <a:lnTo>
                      <a:pt x="0" y="29"/>
                    </a:lnTo>
                    <a:lnTo>
                      <a:pt x="1" y="17"/>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 name="Freeform 24">
                <a:extLst>
                  <a:ext uri="{FF2B5EF4-FFF2-40B4-BE49-F238E27FC236}">
                    <a16:creationId xmlns:a16="http://schemas.microsoft.com/office/drawing/2014/main" id="{F12EC703-2DAC-425F-BEDA-3DA60C471749}"/>
                  </a:ext>
                </a:extLst>
              </p:cNvPr>
              <p:cNvSpPr>
                <a:spLocks/>
              </p:cNvSpPr>
              <p:nvPr/>
            </p:nvSpPr>
            <p:spPr bwMode="auto">
              <a:xfrm>
                <a:off x="5439672" y="2263096"/>
                <a:ext cx="218581" cy="264903"/>
              </a:xfrm>
              <a:custGeom>
                <a:avLst/>
                <a:gdLst/>
                <a:ahLst/>
                <a:cxnLst>
                  <a:cxn ang="0">
                    <a:pos x="4" y="92"/>
                  </a:cxn>
                  <a:cxn ang="0">
                    <a:pos x="14" y="103"/>
                  </a:cxn>
                  <a:cxn ang="0">
                    <a:pos x="22" y="116"/>
                  </a:cxn>
                  <a:cxn ang="0">
                    <a:pos x="22" y="125"/>
                  </a:cxn>
                  <a:cxn ang="0">
                    <a:pos x="15" y="130"/>
                  </a:cxn>
                  <a:cxn ang="0">
                    <a:pos x="7" y="133"/>
                  </a:cxn>
                  <a:cxn ang="0">
                    <a:pos x="7" y="142"/>
                  </a:cxn>
                  <a:cxn ang="0">
                    <a:pos x="8" y="159"/>
                  </a:cxn>
                  <a:cxn ang="0">
                    <a:pos x="15" y="163"/>
                  </a:cxn>
                  <a:cxn ang="0">
                    <a:pos x="29" y="176"/>
                  </a:cxn>
                  <a:cxn ang="0">
                    <a:pos x="44" y="181"/>
                  </a:cxn>
                  <a:cxn ang="0">
                    <a:pos x="61" y="183"/>
                  </a:cxn>
                  <a:cxn ang="0">
                    <a:pos x="70" y="180"/>
                  </a:cxn>
                  <a:cxn ang="0">
                    <a:pos x="77" y="168"/>
                  </a:cxn>
                  <a:cxn ang="0">
                    <a:pos x="80" y="157"/>
                  </a:cxn>
                  <a:cxn ang="0">
                    <a:pos x="82" y="144"/>
                  </a:cxn>
                  <a:cxn ang="0">
                    <a:pos x="89" y="138"/>
                  </a:cxn>
                  <a:cxn ang="0">
                    <a:pos x="101" y="136"/>
                  </a:cxn>
                  <a:cxn ang="0">
                    <a:pos x="114" y="138"/>
                  </a:cxn>
                  <a:cxn ang="0">
                    <a:pos x="118" y="145"/>
                  </a:cxn>
                  <a:cxn ang="0">
                    <a:pos x="122" y="157"/>
                  </a:cxn>
                  <a:cxn ang="0">
                    <a:pos x="119" y="164"/>
                  </a:cxn>
                  <a:cxn ang="0">
                    <a:pos x="117" y="169"/>
                  </a:cxn>
                  <a:cxn ang="0">
                    <a:pos x="120" y="173"/>
                  </a:cxn>
                  <a:cxn ang="0">
                    <a:pos x="129" y="172"/>
                  </a:cxn>
                  <a:cxn ang="0">
                    <a:pos x="140" y="164"/>
                  </a:cxn>
                  <a:cxn ang="0">
                    <a:pos x="150" y="152"/>
                  </a:cxn>
                  <a:cxn ang="0">
                    <a:pos x="151" y="143"/>
                  </a:cxn>
                  <a:cxn ang="0">
                    <a:pos x="144" y="129"/>
                  </a:cxn>
                  <a:cxn ang="0">
                    <a:pos x="134" y="118"/>
                  </a:cxn>
                  <a:cxn ang="0">
                    <a:pos x="119" y="106"/>
                  </a:cxn>
                  <a:cxn ang="0">
                    <a:pos x="113" y="96"/>
                  </a:cxn>
                  <a:cxn ang="0">
                    <a:pos x="109" y="86"/>
                  </a:cxn>
                  <a:cxn ang="0">
                    <a:pos x="109" y="77"/>
                  </a:cxn>
                  <a:cxn ang="0">
                    <a:pos x="114" y="70"/>
                  </a:cxn>
                  <a:cxn ang="0">
                    <a:pos x="120" y="63"/>
                  </a:cxn>
                  <a:cxn ang="0">
                    <a:pos x="121" y="52"/>
                  </a:cxn>
                  <a:cxn ang="0">
                    <a:pos x="110" y="45"/>
                  </a:cxn>
                  <a:cxn ang="0">
                    <a:pos x="95" y="44"/>
                  </a:cxn>
                  <a:cxn ang="0">
                    <a:pos x="81" y="42"/>
                  </a:cxn>
                  <a:cxn ang="0">
                    <a:pos x="71" y="34"/>
                  </a:cxn>
                  <a:cxn ang="0">
                    <a:pos x="68" y="18"/>
                  </a:cxn>
                  <a:cxn ang="0">
                    <a:pos x="68" y="6"/>
                  </a:cxn>
                  <a:cxn ang="0">
                    <a:pos x="64" y="1"/>
                  </a:cxn>
                  <a:cxn ang="0">
                    <a:pos x="50" y="0"/>
                  </a:cxn>
                  <a:cxn ang="0">
                    <a:pos x="37" y="4"/>
                  </a:cxn>
                  <a:cxn ang="0">
                    <a:pos x="28" y="9"/>
                  </a:cxn>
                  <a:cxn ang="0">
                    <a:pos x="22" y="19"/>
                  </a:cxn>
                  <a:cxn ang="0">
                    <a:pos x="14" y="32"/>
                  </a:cxn>
                  <a:cxn ang="0">
                    <a:pos x="14" y="44"/>
                  </a:cxn>
                  <a:cxn ang="0">
                    <a:pos x="23" y="48"/>
                  </a:cxn>
                  <a:cxn ang="0">
                    <a:pos x="38" y="51"/>
                  </a:cxn>
                  <a:cxn ang="0">
                    <a:pos x="43" y="56"/>
                  </a:cxn>
                  <a:cxn ang="0">
                    <a:pos x="43" y="65"/>
                  </a:cxn>
                  <a:cxn ang="0">
                    <a:pos x="37" y="68"/>
                  </a:cxn>
                  <a:cxn ang="0">
                    <a:pos x="22" y="67"/>
                  </a:cxn>
                  <a:cxn ang="0">
                    <a:pos x="12" y="67"/>
                  </a:cxn>
                  <a:cxn ang="0">
                    <a:pos x="4" y="72"/>
                  </a:cxn>
                  <a:cxn ang="0">
                    <a:pos x="0" y="81"/>
                  </a:cxn>
                  <a:cxn ang="0">
                    <a:pos x="0" y="81"/>
                  </a:cxn>
                  <a:cxn ang="0">
                    <a:pos x="4" y="92"/>
                  </a:cxn>
                </a:cxnLst>
                <a:rect l="0" t="0" r="r" b="b"/>
                <a:pathLst>
                  <a:path w="151" h="183">
                    <a:moveTo>
                      <a:pt x="4" y="92"/>
                    </a:moveTo>
                    <a:lnTo>
                      <a:pt x="14" y="103"/>
                    </a:lnTo>
                    <a:lnTo>
                      <a:pt x="22" y="116"/>
                    </a:lnTo>
                    <a:lnTo>
                      <a:pt x="22" y="125"/>
                    </a:lnTo>
                    <a:lnTo>
                      <a:pt x="15" y="130"/>
                    </a:lnTo>
                    <a:lnTo>
                      <a:pt x="7" y="133"/>
                    </a:lnTo>
                    <a:lnTo>
                      <a:pt x="7" y="142"/>
                    </a:lnTo>
                    <a:lnTo>
                      <a:pt x="8" y="159"/>
                    </a:lnTo>
                    <a:lnTo>
                      <a:pt x="15" y="163"/>
                    </a:lnTo>
                    <a:lnTo>
                      <a:pt x="29" y="176"/>
                    </a:lnTo>
                    <a:lnTo>
                      <a:pt x="44" y="181"/>
                    </a:lnTo>
                    <a:lnTo>
                      <a:pt x="61" y="183"/>
                    </a:lnTo>
                    <a:lnTo>
                      <a:pt x="70" y="180"/>
                    </a:lnTo>
                    <a:lnTo>
                      <a:pt x="77" y="168"/>
                    </a:lnTo>
                    <a:lnTo>
                      <a:pt x="80" y="157"/>
                    </a:lnTo>
                    <a:lnTo>
                      <a:pt x="82" y="144"/>
                    </a:lnTo>
                    <a:lnTo>
                      <a:pt x="89" y="138"/>
                    </a:lnTo>
                    <a:lnTo>
                      <a:pt x="101" y="136"/>
                    </a:lnTo>
                    <a:lnTo>
                      <a:pt x="114" y="138"/>
                    </a:lnTo>
                    <a:lnTo>
                      <a:pt x="118" y="145"/>
                    </a:lnTo>
                    <a:lnTo>
                      <a:pt x="122" y="157"/>
                    </a:lnTo>
                    <a:lnTo>
                      <a:pt x="119" y="164"/>
                    </a:lnTo>
                    <a:lnTo>
                      <a:pt x="117" y="169"/>
                    </a:lnTo>
                    <a:lnTo>
                      <a:pt x="120" y="173"/>
                    </a:lnTo>
                    <a:lnTo>
                      <a:pt x="129" y="172"/>
                    </a:lnTo>
                    <a:lnTo>
                      <a:pt x="140" y="164"/>
                    </a:lnTo>
                    <a:lnTo>
                      <a:pt x="150" y="152"/>
                    </a:lnTo>
                    <a:lnTo>
                      <a:pt x="151" y="143"/>
                    </a:lnTo>
                    <a:lnTo>
                      <a:pt x="144" y="129"/>
                    </a:lnTo>
                    <a:lnTo>
                      <a:pt x="134" y="118"/>
                    </a:lnTo>
                    <a:lnTo>
                      <a:pt x="119" y="106"/>
                    </a:lnTo>
                    <a:lnTo>
                      <a:pt x="113" y="96"/>
                    </a:lnTo>
                    <a:lnTo>
                      <a:pt x="109" y="86"/>
                    </a:lnTo>
                    <a:lnTo>
                      <a:pt x="109" y="77"/>
                    </a:lnTo>
                    <a:lnTo>
                      <a:pt x="114" y="70"/>
                    </a:lnTo>
                    <a:lnTo>
                      <a:pt x="120" y="63"/>
                    </a:lnTo>
                    <a:lnTo>
                      <a:pt x="121" y="52"/>
                    </a:lnTo>
                    <a:lnTo>
                      <a:pt x="110" y="45"/>
                    </a:lnTo>
                    <a:lnTo>
                      <a:pt x="95" y="44"/>
                    </a:lnTo>
                    <a:lnTo>
                      <a:pt x="81" y="42"/>
                    </a:lnTo>
                    <a:lnTo>
                      <a:pt x="71" y="34"/>
                    </a:lnTo>
                    <a:lnTo>
                      <a:pt x="68" y="18"/>
                    </a:lnTo>
                    <a:lnTo>
                      <a:pt x="68" y="6"/>
                    </a:lnTo>
                    <a:lnTo>
                      <a:pt x="64" y="1"/>
                    </a:lnTo>
                    <a:lnTo>
                      <a:pt x="50" y="0"/>
                    </a:lnTo>
                    <a:lnTo>
                      <a:pt x="37" y="4"/>
                    </a:lnTo>
                    <a:lnTo>
                      <a:pt x="28" y="9"/>
                    </a:lnTo>
                    <a:lnTo>
                      <a:pt x="22" y="19"/>
                    </a:lnTo>
                    <a:lnTo>
                      <a:pt x="14" y="32"/>
                    </a:lnTo>
                    <a:lnTo>
                      <a:pt x="14" y="44"/>
                    </a:lnTo>
                    <a:lnTo>
                      <a:pt x="23" y="48"/>
                    </a:lnTo>
                    <a:lnTo>
                      <a:pt x="38" y="51"/>
                    </a:lnTo>
                    <a:lnTo>
                      <a:pt x="43" y="56"/>
                    </a:lnTo>
                    <a:lnTo>
                      <a:pt x="43" y="65"/>
                    </a:lnTo>
                    <a:lnTo>
                      <a:pt x="37" y="68"/>
                    </a:lnTo>
                    <a:lnTo>
                      <a:pt x="22" y="67"/>
                    </a:lnTo>
                    <a:lnTo>
                      <a:pt x="12" y="67"/>
                    </a:lnTo>
                    <a:lnTo>
                      <a:pt x="4" y="72"/>
                    </a:lnTo>
                    <a:lnTo>
                      <a:pt x="0" y="81"/>
                    </a:lnTo>
                    <a:lnTo>
                      <a:pt x="0" y="81"/>
                    </a:lnTo>
                    <a:lnTo>
                      <a:pt x="4" y="92"/>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10" name="Freeform 25">
              <a:extLst>
                <a:ext uri="{FF2B5EF4-FFF2-40B4-BE49-F238E27FC236}">
                  <a16:creationId xmlns:a16="http://schemas.microsoft.com/office/drawing/2014/main" id="{E6CF4D48-5BE0-4F5F-B2E8-9548D11C67AB}"/>
                </a:ext>
              </a:extLst>
            </p:cNvPr>
            <p:cNvSpPr>
              <a:spLocks/>
            </p:cNvSpPr>
            <p:nvPr/>
          </p:nvSpPr>
          <p:spPr bwMode="auto">
            <a:xfrm>
              <a:off x="4346770" y="2814614"/>
              <a:ext cx="217133" cy="191077"/>
            </a:xfrm>
            <a:custGeom>
              <a:avLst/>
              <a:gdLst/>
              <a:ahLst/>
              <a:cxnLst>
                <a:cxn ang="0">
                  <a:pos x="150" y="123"/>
                </a:cxn>
                <a:cxn ang="0">
                  <a:pos x="146" y="131"/>
                </a:cxn>
                <a:cxn ang="0">
                  <a:pos x="133" y="132"/>
                </a:cxn>
                <a:cxn ang="0">
                  <a:pos x="115" y="127"/>
                </a:cxn>
                <a:cxn ang="0">
                  <a:pos x="102" y="123"/>
                </a:cxn>
                <a:cxn ang="0">
                  <a:pos x="91" y="118"/>
                </a:cxn>
                <a:cxn ang="0">
                  <a:pos x="79" y="112"/>
                </a:cxn>
                <a:cxn ang="0">
                  <a:pos x="70" y="107"/>
                </a:cxn>
                <a:cxn ang="0">
                  <a:pos x="61" y="105"/>
                </a:cxn>
                <a:cxn ang="0">
                  <a:pos x="52" y="106"/>
                </a:cxn>
                <a:cxn ang="0">
                  <a:pos x="44" y="113"/>
                </a:cxn>
                <a:cxn ang="0">
                  <a:pos x="30" y="115"/>
                </a:cxn>
                <a:cxn ang="0">
                  <a:pos x="21" y="112"/>
                </a:cxn>
                <a:cxn ang="0">
                  <a:pos x="12" y="105"/>
                </a:cxn>
                <a:cxn ang="0">
                  <a:pos x="7" y="96"/>
                </a:cxn>
                <a:cxn ang="0">
                  <a:pos x="2" y="89"/>
                </a:cxn>
                <a:cxn ang="0">
                  <a:pos x="0" y="75"/>
                </a:cxn>
                <a:cxn ang="0">
                  <a:pos x="4" y="63"/>
                </a:cxn>
                <a:cxn ang="0">
                  <a:pos x="9" y="53"/>
                </a:cxn>
                <a:cxn ang="0">
                  <a:pos x="17" y="45"/>
                </a:cxn>
                <a:cxn ang="0">
                  <a:pos x="26" y="38"/>
                </a:cxn>
                <a:cxn ang="0">
                  <a:pos x="42" y="32"/>
                </a:cxn>
                <a:cxn ang="0">
                  <a:pos x="57" y="23"/>
                </a:cxn>
                <a:cxn ang="0">
                  <a:pos x="74" y="6"/>
                </a:cxn>
                <a:cxn ang="0">
                  <a:pos x="91" y="0"/>
                </a:cxn>
                <a:cxn ang="0">
                  <a:pos x="96" y="6"/>
                </a:cxn>
                <a:cxn ang="0">
                  <a:pos x="96" y="21"/>
                </a:cxn>
                <a:cxn ang="0">
                  <a:pos x="97" y="32"/>
                </a:cxn>
                <a:cxn ang="0">
                  <a:pos x="97" y="45"/>
                </a:cxn>
                <a:cxn ang="0">
                  <a:pos x="97" y="62"/>
                </a:cxn>
                <a:cxn ang="0">
                  <a:pos x="102" y="79"/>
                </a:cxn>
                <a:cxn ang="0">
                  <a:pos x="116" y="90"/>
                </a:cxn>
                <a:cxn ang="0">
                  <a:pos x="129" y="104"/>
                </a:cxn>
                <a:cxn ang="0">
                  <a:pos x="145" y="119"/>
                </a:cxn>
                <a:cxn ang="0">
                  <a:pos x="150" y="123"/>
                </a:cxn>
              </a:cxnLst>
              <a:rect l="0" t="0" r="r" b="b"/>
              <a:pathLst>
                <a:path w="150" h="132">
                  <a:moveTo>
                    <a:pt x="150" y="123"/>
                  </a:moveTo>
                  <a:lnTo>
                    <a:pt x="146" y="131"/>
                  </a:lnTo>
                  <a:lnTo>
                    <a:pt x="133" y="132"/>
                  </a:lnTo>
                  <a:lnTo>
                    <a:pt x="115" y="127"/>
                  </a:lnTo>
                  <a:lnTo>
                    <a:pt x="102" y="123"/>
                  </a:lnTo>
                  <a:lnTo>
                    <a:pt x="91" y="118"/>
                  </a:lnTo>
                  <a:lnTo>
                    <a:pt x="79" y="112"/>
                  </a:lnTo>
                  <a:lnTo>
                    <a:pt x="70" y="107"/>
                  </a:lnTo>
                  <a:lnTo>
                    <a:pt x="61" y="105"/>
                  </a:lnTo>
                  <a:lnTo>
                    <a:pt x="52" y="106"/>
                  </a:lnTo>
                  <a:lnTo>
                    <a:pt x="44" y="113"/>
                  </a:lnTo>
                  <a:lnTo>
                    <a:pt x="30" y="115"/>
                  </a:lnTo>
                  <a:lnTo>
                    <a:pt x="21" y="112"/>
                  </a:lnTo>
                  <a:lnTo>
                    <a:pt x="12" y="105"/>
                  </a:lnTo>
                  <a:lnTo>
                    <a:pt x="7" y="96"/>
                  </a:lnTo>
                  <a:lnTo>
                    <a:pt x="2" y="89"/>
                  </a:lnTo>
                  <a:lnTo>
                    <a:pt x="0" y="75"/>
                  </a:lnTo>
                  <a:lnTo>
                    <a:pt x="4" y="63"/>
                  </a:lnTo>
                  <a:lnTo>
                    <a:pt x="9" y="53"/>
                  </a:lnTo>
                  <a:lnTo>
                    <a:pt x="17" y="45"/>
                  </a:lnTo>
                  <a:lnTo>
                    <a:pt x="26" y="38"/>
                  </a:lnTo>
                  <a:lnTo>
                    <a:pt x="42" y="32"/>
                  </a:lnTo>
                  <a:lnTo>
                    <a:pt x="57" y="23"/>
                  </a:lnTo>
                  <a:lnTo>
                    <a:pt x="74" y="6"/>
                  </a:lnTo>
                  <a:lnTo>
                    <a:pt x="91" y="0"/>
                  </a:lnTo>
                  <a:lnTo>
                    <a:pt x="96" y="6"/>
                  </a:lnTo>
                  <a:lnTo>
                    <a:pt x="96" y="21"/>
                  </a:lnTo>
                  <a:lnTo>
                    <a:pt x="97" y="32"/>
                  </a:lnTo>
                  <a:lnTo>
                    <a:pt x="97" y="45"/>
                  </a:lnTo>
                  <a:lnTo>
                    <a:pt x="97" y="62"/>
                  </a:lnTo>
                  <a:lnTo>
                    <a:pt x="102" y="79"/>
                  </a:lnTo>
                  <a:lnTo>
                    <a:pt x="116" y="90"/>
                  </a:lnTo>
                  <a:lnTo>
                    <a:pt x="129" y="104"/>
                  </a:lnTo>
                  <a:lnTo>
                    <a:pt x="145" y="119"/>
                  </a:lnTo>
                  <a:lnTo>
                    <a:pt x="150" y="123"/>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 name="Freeform 26">
              <a:extLst>
                <a:ext uri="{FF2B5EF4-FFF2-40B4-BE49-F238E27FC236}">
                  <a16:creationId xmlns:a16="http://schemas.microsoft.com/office/drawing/2014/main" id="{36C4F0AA-8DBD-4BD2-ADBE-DE2E60BA43D4}"/>
                </a:ext>
              </a:extLst>
            </p:cNvPr>
            <p:cNvSpPr>
              <a:spLocks/>
            </p:cNvSpPr>
            <p:nvPr/>
          </p:nvSpPr>
          <p:spPr bwMode="auto">
            <a:xfrm>
              <a:off x="3026602" y="3450089"/>
              <a:ext cx="1192783" cy="1152252"/>
            </a:xfrm>
            <a:custGeom>
              <a:avLst/>
              <a:gdLst/>
              <a:ahLst/>
              <a:cxnLst>
                <a:cxn ang="0">
                  <a:pos x="277" y="100"/>
                </a:cxn>
                <a:cxn ang="0">
                  <a:pos x="215" y="143"/>
                </a:cxn>
                <a:cxn ang="0">
                  <a:pos x="214" y="185"/>
                </a:cxn>
                <a:cxn ang="0">
                  <a:pos x="168" y="210"/>
                </a:cxn>
                <a:cxn ang="0">
                  <a:pos x="121" y="229"/>
                </a:cxn>
                <a:cxn ang="0">
                  <a:pos x="78" y="219"/>
                </a:cxn>
                <a:cxn ang="0">
                  <a:pos x="18" y="238"/>
                </a:cxn>
                <a:cxn ang="0">
                  <a:pos x="46" y="299"/>
                </a:cxn>
                <a:cxn ang="0">
                  <a:pos x="69" y="355"/>
                </a:cxn>
                <a:cxn ang="0">
                  <a:pos x="59" y="417"/>
                </a:cxn>
                <a:cxn ang="0">
                  <a:pos x="32" y="467"/>
                </a:cxn>
                <a:cxn ang="0">
                  <a:pos x="37" y="509"/>
                </a:cxn>
                <a:cxn ang="0">
                  <a:pos x="9" y="543"/>
                </a:cxn>
                <a:cxn ang="0">
                  <a:pos x="6" y="602"/>
                </a:cxn>
                <a:cxn ang="0">
                  <a:pos x="34" y="669"/>
                </a:cxn>
                <a:cxn ang="0">
                  <a:pos x="40" y="700"/>
                </a:cxn>
                <a:cxn ang="0">
                  <a:pos x="72" y="738"/>
                </a:cxn>
                <a:cxn ang="0">
                  <a:pos x="118" y="796"/>
                </a:cxn>
                <a:cxn ang="0">
                  <a:pos x="161" y="796"/>
                </a:cxn>
                <a:cxn ang="0">
                  <a:pos x="194" y="751"/>
                </a:cxn>
                <a:cxn ang="0">
                  <a:pos x="227" y="724"/>
                </a:cxn>
                <a:cxn ang="0">
                  <a:pos x="273" y="711"/>
                </a:cxn>
                <a:cxn ang="0">
                  <a:pos x="386" y="645"/>
                </a:cxn>
                <a:cxn ang="0">
                  <a:pos x="428" y="605"/>
                </a:cxn>
                <a:cxn ang="0">
                  <a:pos x="482" y="666"/>
                </a:cxn>
                <a:cxn ang="0">
                  <a:pos x="537" y="622"/>
                </a:cxn>
                <a:cxn ang="0">
                  <a:pos x="601" y="572"/>
                </a:cxn>
                <a:cxn ang="0">
                  <a:pos x="630" y="533"/>
                </a:cxn>
                <a:cxn ang="0">
                  <a:pos x="635" y="469"/>
                </a:cxn>
                <a:cxn ang="0">
                  <a:pos x="683" y="432"/>
                </a:cxn>
                <a:cxn ang="0">
                  <a:pos x="717" y="383"/>
                </a:cxn>
                <a:cxn ang="0">
                  <a:pos x="782" y="372"/>
                </a:cxn>
                <a:cxn ang="0">
                  <a:pos x="806" y="304"/>
                </a:cxn>
                <a:cxn ang="0">
                  <a:pos x="810" y="247"/>
                </a:cxn>
                <a:cxn ang="0">
                  <a:pos x="783" y="223"/>
                </a:cxn>
                <a:cxn ang="0">
                  <a:pos x="760" y="197"/>
                </a:cxn>
                <a:cxn ang="0">
                  <a:pos x="765" y="165"/>
                </a:cxn>
                <a:cxn ang="0">
                  <a:pos x="740" y="119"/>
                </a:cxn>
                <a:cxn ang="0">
                  <a:pos x="735" y="81"/>
                </a:cxn>
                <a:cxn ang="0">
                  <a:pos x="761" y="24"/>
                </a:cxn>
                <a:cxn ang="0">
                  <a:pos x="725" y="18"/>
                </a:cxn>
                <a:cxn ang="0">
                  <a:pos x="683" y="45"/>
                </a:cxn>
                <a:cxn ang="0">
                  <a:pos x="666" y="9"/>
                </a:cxn>
                <a:cxn ang="0">
                  <a:pos x="626" y="13"/>
                </a:cxn>
                <a:cxn ang="0">
                  <a:pos x="584" y="17"/>
                </a:cxn>
                <a:cxn ang="0">
                  <a:pos x="564" y="42"/>
                </a:cxn>
                <a:cxn ang="0">
                  <a:pos x="578" y="98"/>
                </a:cxn>
                <a:cxn ang="0">
                  <a:pos x="608" y="129"/>
                </a:cxn>
                <a:cxn ang="0">
                  <a:pos x="585" y="153"/>
                </a:cxn>
                <a:cxn ang="0">
                  <a:pos x="560" y="141"/>
                </a:cxn>
                <a:cxn ang="0">
                  <a:pos x="494" y="172"/>
                </a:cxn>
                <a:cxn ang="0">
                  <a:pos x="479" y="148"/>
                </a:cxn>
                <a:cxn ang="0">
                  <a:pos x="484" y="121"/>
                </a:cxn>
                <a:cxn ang="0">
                  <a:pos x="492" y="80"/>
                </a:cxn>
                <a:cxn ang="0">
                  <a:pos x="472" y="39"/>
                </a:cxn>
                <a:cxn ang="0">
                  <a:pos x="430" y="11"/>
                </a:cxn>
                <a:cxn ang="0">
                  <a:pos x="399" y="32"/>
                </a:cxn>
                <a:cxn ang="0">
                  <a:pos x="372" y="48"/>
                </a:cxn>
                <a:cxn ang="0">
                  <a:pos x="308" y="54"/>
                </a:cxn>
              </a:cxnLst>
              <a:rect l="0" t="0" r="r" b="b"/>
              <a:pathLst>
                <a:path w="824" h="796">
                  <a:moveTo>
                    <a:pt x="292" y="53"/>
                  </a:moveTo>
                  <a:lnTo>
                    <a:pt x="289" y="67"/>
                  </a:lnTo>
                  <a:lnTo>
                    <a:pt x="287" y="81"/>
                  </a:lnTo>
                  <a:lnTo>
                    <a:pt x="285" y="91"/>
                  </a:lnTo>
                  <a:lnTo>
                    <a:pt x="277" y="100"/>
                  </a:lnTo>
                  <a:lnTo>
                    <a:pt x="261" y="103"/>
                  </a:lnTo>
                  <a:lnTo>
                    <a:pt x="250" y="106"/>
                  </a:lnTo>
                  <a:lnTo>
                    <a:pt x="235" y="120"/>
                  </a:lnTo>
                  <a:lnTo>
                    <a:pt x="226" y="136"/>
                  </a:lnTo>
                  <a:lnTo>
                    <a:pt x="215" y="143"/>
                  </a:lnTo>
                  <a:lnTo>
                    <a:pt x="202" y="148"/>
                  </a:lnTo>
                  <a:lnTo>
                    <a:pt x="198" y="153"/>
                  </a:lnTo>
                  <a:lnTo>
                    <a:pt x="202" y="162"/>
                  </a:lnTo>
                  <a:lnTo>
                    <a:pt x="210" y="168"/>
                  </a:lnTo>
                  <a:lnTo>
                    <a:pt x="214" y="185"/>
                  </a:lnTo>
                  <a:lnTo>
                    <a:pt x="207" y="203"/>
                  </a:lnTo>
                  <a:lnTo>
                    <a:pt x="197" y="215"/>
                  </a:lnTo>
                  <a:lnTo>
                    <a:pt x="187" y="217"/>
                  </a:lnTo>
                  <a:lnTo>
                    <a:pt x="177" y="213"/>
                  </a:lnTo>
                  <a:lnTo>
                    <a:pt x="168" y="210"/>
                  </a:lnTo>
                  <a:lnTo>
                    <a:pt x="158" y="215"/>
                  </a:lnTo>
                  <a:lnTo>
                    <a:pt x="151" y="223"/>
                  </a:lnTo>
                  <a:lnTo>
                    <a:pt x="138" y="226"/>
                  </a:lnTo>
                  <a:lnTo>
                    <a:pt x="130" y="223"/>
                  </a:lnTo>
                  <a:lnTo>
                    <a:pt x="121" y="229"/>
                  </a:lnTo>
                  <a:lnTo>
                    <a:pt x="118" y="239"/>
                  </a:lnTo>
                  <a:lnTo>
                    <a:pt x="109" y="241"/>
                  </a:lnTo>
                  <a:lnTo>
                    <a:pt x="98" y="237"/>
                  </a:lnTo>
                  <a:lnTo>
                    <a:pt x="90" y="226"/>
                  </a:lnTo>
                  <a:lnTo>
                    <a:pt x="78" y="219"/>
                  </a:lnTo>
                  <a:lnTo>
                    <a:pt x="67" y="219"/>
                  </a:lnTo>
                  <a:lnTo>
                    <a:pt x="61" y="225"/>
                  </a:lnTo>
                  <a:lnTo>
                    <a:pt x="54" y="234"/>
                  </a:lnTo>
                  <a:lnTo>
                    <a:pt x="29" y="235"/>
                  </a:lnTo>
                  <a:lnTo>
                    <a:pt x="18" y="238"/>
                  </a:lnTo>
                  <a:lnTo>
                    <a:pt x="16" y="252"/>
                  </a:lnTo>
                  <a:lnTo>
                    <a:pt x="21" y="264"/>
                  </a:lnTo>
                  <a:lnTo>
                    <a:pt x="37" y="276"/>
                  </a:lnTo>
                  <a:lnTo>
                    <a:pt x="43" y="287"/>
                  </a:lnTo>
                  <a:lnTo>
                    <a:pt x="46" y="299"/>
                  </a:lnTo>
                  <a:lnTo>
                    <a:pt x="42" y="315"/>
                  </a:lnTo>
                  <a:lnTo>
                    <a:pt x="40" y="327"/>
                  </a:lnTo>
                  <a:lnTo>
                    <a:pt x="46" y="342"/>
                  </a:lnTo>
                  <a:lnTo>
                    <a:pt x="60" y="350"/>
                  </a:lnTo>
                  <a:lnTo>
                    <a:pt x="69" y="355"/>
                  </a:lnTo>
                  <a:lnTo>
                    <a:pt x="71" y="366"/>
                  </a:lnTo>
                  <a:lnTo>
                    <a:pt x="66" y="381"/>
                  </a:lnTo>
                  <a:lnTo>
                    <a:pt x="63" y="394"/>
                  </a:lnTo>
                  <a:lnTo>
                    <a:pt x="62" y="405"/>
                  </a:lnTo>
                  <a:lnTo>
                    <a:pt x="59" y="417"/>
                  </a:lnTo>
                  <a:lnTo>
                    <a:pt x="50" y="427"/>
                  </a:lnTo>
                  <a:lnTo>
                    <a:pt x="37" y="441"/>
                  </a:lnTo>
                  <a:lnTo>
                    <a:pt x="30" y="450"/>
                  </a:lnTo>
                  <a:lnTo>
                    <a:pt x="29" y="460"/>
                  </a:lnTo>
                  <a:lnTo>
                    <a:pt x="32" y="467"/>
                  </a:lnTo>
                  <a:lnTo>
                    <a:pt x="41" y="468"/>
                  </a:lnTo>
                  <a:lnTo>
                    <a:pt x="47" y="473"/>
                  </a:lnTo>
                  <a:lnTo>
                    <a:pt x="49" y="485"/>
                  </a:lnTo>
                  <a:lnTo>
                    <a:pt x="46" y="500"/>
                  </a:lnTo>
                  <a:lnTo>
                    <a:pt x="37" y="509"/>
                  </a:lnTo>
                  <a:lnTo>
                    <a:pt x="23" y="512"/>
                  </a:lnTo>
                  <a:lnTo>
                    <a:pt x="8" y="512"/>
                  </a:lnTo>
                  <a:lnTo>
                    <a:pt x="0" y="520"/>
                  </a:lnTo>
                  <a:lnTo>
                    <a:pt x="0" y="532"/>
                  </a:lnTo>
                  <a:lnTo>
                    <a:pt x="9" y="543"/>
                  </a:lnTo>
                  <a:lnTo>
                    <a:pt x="19" y="553"/>
                  </a:lnTo>
                  <a:lnTo>
                    <a:pt x="22" y="569"/>
                  </a:lnTo>
                  <a:lnTo>
                    <a:pt x="20" y="584"/>
                  </a:lnTo>
                  <a:lnTo>
                    <a:pt x="12" y="591"/>
                  </a:lnTo>
                  <a:lnTo>
                    <a:pt x="6" y="602"/>
                  </a:lnTo>
                  <a:lnTo>
                    <a:pt x="6" y="615"/>
                  </a:lnTo>
                  <a:lnTo>
                    <a:pt x="16" y="626"/>
                  </a:lnTo>
                  <a:lnTo>
                    <a:pt x="26" y="632"/>
                  </a:lnTo>
                  <a:lnTo>
                    <a:pt x="30" y="660"/>
                  </a:lnTo>
                  <a:lnTo>
                    <a:pt x="34" y="669"/>
                  </a:lnTo>
                  <a:lnTo>
                    <a:pt x="42" y="674"/>
                  </a:lnTo>
                  <a:lnTo>
                    <a:pt x="50" y="678"/>
                  </a:lnTo>
                  <a:lnTo>
                    <a:pt x="51" y="686"/>
                  </a:lnTo>
                  <a:lnTo>
                    <a:pt x="47" y="694"/>
                  </a:lnTo>
                  <a:lnTo>
                    <a:pt x="40" y="700"/>
                  </a:lnTo>
                  <a:lnTo>
                    <a:pt x="38" y="713"/>
                  </a:lnTo>
                  <a:lnTo>
                    <a:pt x="39" y="722"/>
                  </a:lnTo>
                  <a:lnTo>
                    <a:pt x="48" y="730"/>
                  </a:lnTo>
                  <a:lnTo>
                    <a:pt x="65" y="729"/>
                  </a:lnTo>
                  <a:lnTo>
                    <a:pt x="72" y="738"/>
                  </a:lnTo>
                  <a:lnTo>
                    <a:pt x="75" y="750"/>
                  </a:lnTo>
                  <a:lnTo>
                    <a:pt x="74" y="766"/>
                  </a:lnTo>
                  <a:lnTo>
                    <a:pt x="73" y="774"/>
                  </a:lnTo>
                  <a:lnTo>
                    <a:pt x="86" y="795"/>
                  </a:lnTo>
                  <a:lnTo>
                    <a:pt x="118" y="796"/>
                  </a:lnTo>
                  <a:lnTo>
                    <a:pt x="124" y="786"/>
                  </a:lnTo>
                  <a:lnTo>
                    <a:pt x="134" y="777"/>
                  </a:lnTo>
                  <a:lnTo>
                    <a:pt x="145" y="782"/>
                  </a:lnTo>
                  <a:lnTo>
                    <a:pt x="153" y="792"/>
                  </a:lnTo>
                  <a:lnTo>
                    <a:pt x="161" y="796"/>
                  </a:lnTo>
                  <a:lnTo>
                    <a:pt x="171" y="793"/>
                  </a:lnTo>
                  <a:lnTo>
                    <a:pt x="175" y="780"/>
                  </a:lnTo>
                  <a:lnTo>
                    <a:pt x="177" y="763"/>
                  </a:lnTo>
                  <a:lnTo>
                    <a:pt x="182" y="753"/>
                  </a:lnTo>
                  <a:lnTo>
                    <a:pt x="194" y="751"/>
                  </a:lnTo>
                  <a:lnTo>
                    <a:pt x="203" y="757"/>
                  </a:lnTo>
                  <a:lnTo>
                    <a:pt x="209" y="755"/>
                  </a:lnTo>
                  <a:lnTo>
                    <a:pt x="214" y="746"/>
                  </a:lnTo>
                  <a:lnTo>
                    <a:pt x="215" y="736"/>
                  </a:lnTo>
                  <a:lnTo>
                    <a:pt x="227" y="724"/>
                  </a:lnTo>
                  <a:lnTo>
                    <a:pt x="239" y="719"/>
                  </a:lnTo>
                  <a:lnTo>
                    <a:pt x="250" y="723"/>
                  </a:lnTo>
                  <a:lnTo>
                    <a:pt x="257" y="727"/>
                  </a:lnTo>
                  <a:lnTo>
                    <a:pt x="263" y="724"/>
                  </a:lnTo>
                  <a:lnTo>
                    <a:pt x="273" y="711"/>
                  </a:lnTo>
                  <a:lnTo>
                    <a:pt x="300" y="697"/>
                  </a:lnTo>
                  <a:lnTo>
                    <a:pt x="315" y="692"/>
                  </a:lnTo>
                  <a:lnTo>
                    <a:pt x="342" y="665"/>
                  </a:lnTo>
                  <a:lnTo>
                    <a:pt x="369" y="652"/>
                  </a:lnTo>
                  <a:lnTo>
                    <a:pt x="386" y="645"/>
                  </a:lnTo>
                  <a:lnTo>
                    <a:pt x="398" y="619"/>
                  </a:lnTo>
                  <a:lnTo>
                    <a:pt x="407" y="601"/>
                  </a:lnTo>
                  <a:lnTo>
                    <a:pt x="417" y="592"/>
                  </a:lnTo>
                  <a:lnTo>
                    <a:pt x="425" y="593"/>
                  </a:lnTo>
                  <a:lnTo>
                    <a:pt x="428" y="605"/>
                  </a:lnTo>
                  <a:lnTo>
                    <a:pt x="430" y="611"/>
                  </a:lnTo>
                  <a:lnTo>
                    <a:pt x="451" y="626"/>
                  </a:lnTo>
                  <a:lnTo>
                    <a:pt x="472" y="636"/>
                  </a:lnTo>
                  <a:lnTo>
                    <a:pt x="478" y="647"/>
                  </a:lnTo>
                  <a:lnTo>
                    <a:pt x="482" y="666"/>
                  </a:lnTo>
                  <a:lnTo>
                    <a:pt x="493" y="679"/>
                  </a:lnTo>
                  <a:lnTo>
                    <a:pt x="505" y="678"/>
                  </a:lnTo>
                  <a:lnTo>
                    <a:pt x="512" y="662"/>
                  </a:lnTo>
                  <a:lnTo>
                    <a:pt x="519" y="642"/>
                  </a:lnTo>
                  <a:lnTo>
                    <a:pt x="537" y="622"/>
                  </a:lnTo>
                  <a:lnTo>
                    <a:pt x="558" y="616"/>
                  </a:lnTo>
                  <a:lnTo>
                    <a:pt x="568" y="609"/>
                  </a:lnTo>
                  <a:lnTo>
                    <a:pt x="578" y="589"/>
                  </a:lnTo>
                  <a:lnTo>
                    <a:pt x="584" y="581"/>
                  </a:lnTo>
                  <a:lnTo>
                    <a:pt x="601" y="572"/>
                  </a:lnTo>
                  <a:lnTo>
                    <a:pt x="603" y="562"/>
                  </a:lnTo>
                  <a:lnTo>
                    <a:pt x="597" y="548"/>
                  </a:lnTo>
                  <a:lnTo>
                    <a:pt x="596" y="536"/>
                  </a:lnTo>
                  <a:lnTo>
                    <a:pt x="611" y="533"/>
                  </a:lnTo>
                  <a:lnTo>
                    <a:pt x="630" y="533"/>
                  </a:lnTo>
                  <a:lnTo>
                    <a:pt x="638" y="521"/>
                  </a:lnTo>
                  <a:lnTo>
                    <a:pt x="643" y="507"/>
                  </a:lnTo>
                  <a:lnTo>
                    <a:pt x="646" y="489"/>
                  </a:lnTo>
                  <a:lnTo>
                    <a:pt x="645" y="473"/>
                  </a:lnTo>
                  <a:lnTo>
                    <a:pt x="635" y="469"/>
                  </a:lnTo>
                  <a:lnTo>
                    <a:pt x="626" y="465"/>
                  </a:lnTo>
                  <a:lnTo>
                    <a:pt x="629" y="454"/>
                  </a:lnTo>
                  <a:lnTo>
                    <a:pt x="640" y="444"/>
                  </a:lnTo>
                  <a:lnTo>
                    <a:pt x="657" y="433"/>
                  </a:lnTo>
                  <a:lnTo>
                    <a:pt x="683" y="432"/>
                  </a:lnTo>
                  <a:lnTo>
                    <a:pt x="696" y="432"/>
                  </a:lnTo>
                  <a:lnTo>
                    <a:pt x="705" y="421"/>
                  </a:lnTo>
                  <a:lnTo>
                    <a:pt x="707" y="406"/>
                  </a:lnTo>
                  <a:lnTo>
                    <a:pt x="708" y="394"/>
                  </a:lnTo>
                  <a:lnTo>
                    <a:pt x="717" y="383"/>
                  </a:lnTo>
                  <a:lnTo>
                    <a:pt x="731" y="380"/>
                  </a:lnTo>
                  <a:lnTo>
                    <a:pt x="741" y="388"/>
                  </a:lnTo>
                  <a:lnTo>
                    <a:pt x="750" y="394"/>
                  </a:lnTo>
                  <a:lnTo>
                    <a:pt x="767" y="387"/>
                  </a:lnTo>
                  <a:lnTo>
                    <a:pt x="782" y="372"/>
                  </a:lnTo>
                  <a:lnTo>
                    <a:pt x="796" y="354"/>
                  </a:lnTo>
                  <a:lnTo>
                    <a:pt x="801" y="337"/>
                  </a:lnTo>
                  <a:lnTo>
                    <a:pt x="807" y="328"/>
                  </a:lnTo>
                  <a:lnTo>
                    <a:pt x="804" y="322"/>
                  </a:lnTo>
                  <a:lnTo>
                    <a:pt x="806" y="304"/>
                  </a:lnTo>
                  <a:lnTo>
                    <a:pt x="815" y="288"/>
                  </a:lnTo>
                  <a:lnTo>
                    <a:pt x="823" y="273"/>
                  </a:lnTo>
                  <a:lnTo>
                    <a:pt x="824" y="259"/>
                  </a:lnTo>
                  <a:lnTo>
                    <a:pt x="817" y="250"/>
                  </a:lnTo>
                  <a:lnTo>
                    <a:pt x="810" y="247"/>
                  </a:lnTo>
                  <a:lnTo>
                    <a:pt x="795" y="245"/>
                  </a:lnTo>
                  <a:lnTo>
                    <a:pt x="791" y="241"/>
                  </a:lnTo>
                  <a:lnTo>
                    <a:pt x="788" y="233"/>
                  </a:lnTo>
                  <a:lnTo>
                    <a:pt x="785" y="230"/>
                  </a:lnTo>
                  <a:lnTo>
                    <a:pt x="783" y="223"/>
                  </a:lnTo>
                  <a:lnTo>
                    <a:pt x="782" y="213"/>
                  </a:lnTo>
                  <a:lnTo>
                    <a:pt x="778" y="208"/>
                  </a:lnTo>
                  <a:lnTo>
                    <a:pt x="773" y="205"/>
                  </a:lnTo>
                  <a:lnTo>
                    <a:pt x="766" y="203"/>
                  </a:lnTo>
                  <a:lnTo>
                    <a:pt x="760" y="197"/>
                  </a:lnTo>
                  <a:lnTo>
                    <a:pt x="758" y="190"/>
                  </a:lnTo>
                  <a:lnTo>
                    <a:pt x="760" y="184"/>
                  </a:lnTo>
                  <a:lnTo>
                    <a:pt x="765" y="179"/>
                  </a:lnTo>
                  <a:lnTo>
                    <a:pt x="767" y="172"/>
                  </a:lnTo>
                  <a:lnTo>
                    <a:pt x="765" y="165"/>
                  </a:lnTo>
                  <a:lnTo>
                    <a:pt x="749" y="159"/>
                  </a:lnTo>
                  <a:lnTo>
                    <a:pt x="737" y="152"/>
                  </a:lnTo>
                  <a:lnTo>
                    <a:pt x="736" y="143"/>
                  </a:lnTo>
                  <a:lnTo>
                    <a:pt x="739" y="131"/>
                  </a:lnTo>
                  <a:lnTo>
                    <a:pt x="740" y="119"/>
                  </a:lnTo>
                  <a:lnTo>
                    <a:pt x="737" y="110"/>
                  </a:lnTo>
                  <a:lnTo>
                    <a:pt x="735" y="100"/>
                  </a:lnTo>
                  <a:lnTo>
                    <a:pt x="728" y="96"/>
                  </a:lnTo>
                  <a:lnTo>
                    <a:pt x="728" y="89"/>
                  </a:lnTo>
                  <a:lnTo>
                    <a:pt x="735" y="81"/>
                  </a:lnTo>
                  <a:lnTo>
                    <a:pt x="744" y="74"/>
                  </a:lnTo>
                  <a:lnTo>
                    <a:pt x="755" y="64"/>
                  </a:lnTo>
                  <a:lnTo>
                    <a:pt x="761" y="55"/>
                  </a:lnTo>
                  <a:lnTo>
                    <a:pt x="762" y="42"/>
                  </a:lnTo>
                  <a:lnTo>
                    <a:pt x="761" y="24"/>
                  </a:lnTo>
                  <a:lnTo>
                    <a:pt x="756" y="13"/>
                  </a:lnTo>
                  <a:lnTo>
                    <a:pt x="750" y="8"/>
                  </a:lnTo>
                  <a:lnTo>
                    <a:pt x="740" y="6"/>
                  </a:lnTo>
                  <a:lnTo>
                    <a:pt x="731" y="11"/>
                  </a:lnTo>
                  <a:lnTo>
                    <a:pt x="725" y="18"/>
                  </a:lnTo>
                  <a:lnTo>
                    <a:pt x="719" y="24"/>
                  </a:lnTo>
                  <a:lnTo>
                    <a:pt x="708" y="29"/>
                  </a:lnTo>
                  <a:lnTo>
                    <a:pt x="702" y="39"/>
                  </a:lnTo>
                  <a:lnTo>
                    <a:pt x="689" y="45"/>
                  </a:lnTo>
                  <a:lnTo>
                    <a:pt x="683" y="45"/>
                  </a:lnTo>
                  <a:lnTo>
                    <a:pt x="674" y="43"/>
                  </a:lnTo>
                  <a:lnTo>
                    <a:pt x="669" y="38"/>
                  </a:lnTo>
                  <a:lnTo>
                    <a:pt x="668" y="27"/>
                  </a:lnTo>
                  <a:lnTo>
                    <a:pt x="667" y="18"/>
                  </a:lnTo>
                  <a:lnTo>
                    <a:pt x="666" y="9"/>
                  </a:lnTo>
                  <a:lnTo>
                    <a:pt x="662" y="1"/>
                  </a:lnTo>
                  <a:lnTo>
                    <a:pt x="654" y="0"/>
                  </a:lnTo>
                  <a:lnTo>
                    <a:pt x="646" y="0"/>
                  </a:lnTo>
                  <a:lnTo>
                    <a:pt x="635" y="4"/>
                  </a:lnTo>
                  <a:lnTo>
                    <a:pt x="626" y="13"/>
                  </a:lnTo>
                  <a:lnTo>
                    <a:pt x="618" y="19"/>
                  </a:lnTo>
                  <a:lnTo>
                    <a:pt x="611" y="22"/>
                  </a:lnTo>
                  <a:lnTo>
                    <a:pt x="602" y="23"/>
                  </a:lnTo>
                  <a:lnTo>
                    <a:pt x="594" y="22"/>
                  </a:lnTo>
                  <a:lnTo>
                    <a:pt x="584" y="17"/>
                  </a:lnTo>
                  <a:lnTo>
                    <a:pt x="575" y="17"/>
                  </a:lnTo>
                  <a:lnTo>
                    <a:pt x="564" y="20"/>
                  </a:lnTo>
                  <a:lnTo>
                    <a:pt x="560" y="29"/>
                  </a:lnTo>
                  <a:lnTo>
                    <a:pt x="560" y="36"/>
                  </a:lnTo>
                  <a:lnTo>
                    <a:pt x="564" y="42"/>
                  </a:lnTo>
                  <a:lnTo>
                    <a:pt x="571" y="49"/>
                  </a:lnTo>
                  <a:lnTo>
                    <a:pt x="574" y="56"/>
                  </a:lnTo>
                  <a:lnTo>
                    <a:pt x="574" y="71"/>
                  </a:lnTo>
                  <a:lnTo>
                    <a:pt x="575" y="84"/>
                  </a:lnTo>
                  <a:lnTo>
                    <a:pt x="578" y="98"/>
                  </a:lnTo>
                  <a:lnTo>
                    <a:pt x="585" y="103"/>
                  </a:lnTo>
                  <a:lnTo>
                    <a:pt x="593" y="107"/>
                  </a:lnTo>
                  <a:lnTo>
                    <a:pt x="601" y="114"/>
                  </a:lnTo>
                  <a:lnTo>
                    <a:pt x="608" y="122"/>
                  </a:lnTo>
                  <a:lnTo>
                    <a:pt x="608" y="129"/>
                  </a:lnTo>
                  <a:lnTo>
                    <a:pt x="602" y="135"/>
                  </a:lnTo>
                  <a:lnTo>
                    <a:pt x="596" y="138"/>
                  </a:lnTo>
                  <a:lnTo>
                    <a:pt x="594" y="141"/>
                  </a:lnTo>
                  <a:lnTo>
                    <a:pt x="590" y="148"/>
                  </a:lnTo>
                  <a:lnTo>
                    <a:pt x="585" y="153"/>
                  </a:lnTo>
                  <a:lnTo>
                    <a:pt x="578" y="153"/>
                  </a:lnTo>
                  <a:lnTo>
                    <a:pt x="574" y="150"/>
                  </a:lnTo>
                  <a:lnTo>
                    <a:pt x="572" y="142"/>
                  </a:lnTo>
                  <a:lnTo>
                    <a:pt x="569" y="140"/>
                  </a:lnTo>
                  <a:lnTo>
                    <a:pt x="560" y="141"/>
                  </a:lnTo>
                  <a:lnTo>
                    <a:pt x="554" y="146"/>
                  </a:lnTo>
                  <a:lnTo>
                    <a:pt x="546" y="154"/>
                  </a:lnTo>
                  <a:lnTo>
                    <a:pt x="531" y="161"/>
                  </a:lnTo>
                  <a:lnTo>
                    <a:pt x="512" y="168"/>
                  </a:lnTo>
                  <a:lnTo>
                    <a:pt x="494" y="172"/>
                  </a:lnTo>
                  <a:lnTo>
                    <a:pt x="480" y="173"/>
                  </a:lnTo>
                  <a:lnTo>
                    <a:pt x="471" y="170"/>
                  </a:lnTo>
                  <a:lnTo>
                    <a:pt x="468" y="162"/>
                  </a:lnTo>
                  <a:lnTo>
                    <a:pt x="470" y="154"/>
                  </a:lnTo>
                  <a:lnTo>
                    <a:pt x="479" y="148"/>
                  </a:lnTo>
                  <a:lnTo>
                    <a:pt x="488" y="141"/>
                  </a:lnTo>
                  <a:lnTo>
                    <a:pt x="495" y="136"/>
                  </a:lnTo>
                  <a:lnTo>
                    <a:pt x="494" y="129"/>
                  </a:lnTo>
                  <a:lnTo>
                    <a:pt x="492" y="124"/>
                  </a:lnTo>
                  <a:lnTo>
                    <a:pt x="484" y="121"/>
                  </a:lnTo>
                  <a:lnTo>
                    <a:pt x="479" y="117"/>
                  </a:lnTo>
                  <a:lnTo>
                    <a:pt x="479" y="111"/>
                  </a:lnTo>
                  <a:lnTo>
                    <a:pt x="484" y="103"/>
                  </a:lnTo>
                  <a:lnTo>
                    <a:pt x="488" y="96"/>
                  </a:lnTo>
                  <a:lnTo>
                    <a:pt x="492" y="80"/>
                  </a:lnTo>
                  <a:lnTo>
                    <a:pt x="490" y="70"/>
                  </a:lnTo>
                  <a:lnTo>
                    <a:pt x="487" y="61"/>
                  </a:lnTo>
                  <a:lnTo>
                    <a:pt x="485" y="52"/>
                  </a:lnTo>
                  <a:lnTo>
                    <a:pt x="479" y="43"/>
                  </a:lnTo>
                  <a:lnTo>
                    <a:pt x="472" y="39"/>
                  </a:lnTo>
                  <a:lnTo>
                    <a:pt x="465" y="38"/>
                  </a:lnTo>
                  <a:lnTo>
                    <a:pt x="455" y="32"/>
                  </a:lnTo>
                  <a:lnTo>
                    <a:pt x="447" y="26"/>
                  </a:lnTo>
                  <a:lnTo>
                    <a:pt x="436" y="18"/>
                  </a:lnTo>
                  <a:lnTo>
                    <a:pt x="430" y="11"/>
                  </a:lnTo>
                  <a:lnTo>
                    <a:pt x="425" y="7"/>
                  </a:lnTo>
                  <a:lnTo>
                    <a:pt x="418" y="7"/>
                  </a:lnTo>
                  <a:lnTo>
                    <a:pt x="412" y="12"/>
                  </a:lnTo>
                  <a:lnTo>
                    <a:pt x="404" y="22"/>
                  </a:lnTo>
                  <a:lnTo>
                    <a:pt x="399" y="32"/>
                  </a:lnTo>
                  <a:lnTo>
                    <a:pt x="396" y="44"/>
                  </a:lnTo>
                  <a:lnTo>
                    <a:pt x="389" y="53"/>
                  </a:lnTo>
                  <a:lnTo>
                    <a:pt x="384" y="54"/>
                  </a:lnTo>
                  <a:lnTo>
                    <a:pt x="379" y="52"/>
                  </a:lnTo>
                  <a:lnTo>
                    <a:pt x="372" y="48"/>
                  </a:lnTo>
                  <a:lnTo>
                    <a:pt x="364" y="46"/>
                  </a:lnTo>
                  <a:lnTo>
                    <a:pt x="357" y="49"/>
                  </a:lnTo>
                  <a:lnTo>
                    <a:pt x="345" y="52"/>
                  </a:lnTo>
                  <a:lnTo>
                    <a:pt x="325" y="53"/>
                  </a:lnTo>
                  <a:lnTo>
                    <a:pt x="308" y="54"/>
                  </a:lnTo>
                  <a:lnTo>
                    <a:pt x="292" y="53"/>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2" name="Freeform 27">
              <a:extLst>
                <a:ext uri="{FF2B5EF4-FFF2-40B4-BE49-F238E27FC236}">
                  <a16:creationId xmlns:a16="http://schemas.microsoft.com/office/drawing/2014/main" id="{79C5D707-6EED-4703-9144-BCC8078DEEC4}"/>
                </a:ext>
              </a:extLst>
            </p:cNvPr>
            <p:cNvSpPr>
              <a:spLocks/>
            </p:cNvSpPr>
            <p:nvPr/>
          </p:nvSpPr>
          <p:spPr bwMode="auto">
            <a:xfrm>
              <a:off x="4608777" y="3192425"/>
              <a:ext cx="885902" cy="1104483"/>
            </a:xfrm>
            <a:custGeom>
              <a:avLst/>
              <a:gdLst/>
              <a:ahLst/>
              <a:cxnLst>
                <a:cxn ang="0">
                  <a:pos x="571" y="510"/>
                </a:cxn>
                <a:cxn ang="0">
                  <a:pos x="537" y="523"/>
                </a:cxn>
                <a:cxn ang="0">
                  <a:pos x="493" y="511"/>
                </a:cxn>
                <a:cxn ang="0">
                  <a:pos x="472" y="540"/>
                </a:cxn>
                <a:cxn ang="0">
                  <a:pos x="423" y="530"/>
                </a:cxn>
                <a:cxn ang="0">
                  <a:pos x="369" y="553"/>
                </a:cxn>
                <a:cxn ang="0">
                  <a:pos x="342" y="596"/>
                </a:cxn>
                <a:cxn ang="0">
                  <a:pos x="349" y="666"/>
                </a:cxn>
                <a:cxn ang="0">
                  <a:pos x="349" y="750"/>
                </a:cxn>
                <a:cxn ang="0">
                  <a:pos x="314" y="763"/>
                </a:cxn>
                <a:cxn ang="0">
                  <a:pos x="273" y="746"/>
                </a:cxn>
                <a:cxn ang="0">
                  <a:pos x="239" y="738"/>
                </a:cxn>
                <a:cxn ang="0">
                  <a:pos x="195" y="716"/>
                </a:cxn>
                <a:cxn ang="0">
                  <a:pos x="201" y="673"/>
                </a:cxn>
                <a:cxn ang="0">
                  <a:pos x="187" y="638"/>
                </a:cxn>
                <a:cxn ang="0">
                  <a:pos x="184" y="609"/>
                </a:cxn>
                <a:cxn ang="0">
                  <a:pos x="128" y="604"/>
                </a:cxn>
                <a:cxn ang="0">
                  <a:pos x="89" y="573"/>
                </a:cxn>
                <a:cxn ang="0">
                  <a:pos x="60" y="538"/>
                </a:cxn>
                <a:cxn ang="0">
                  <a:pos x="18" y="518"/>
                </a:cxn>
                <a:cxn ang="0">
                  <a:pos x="12" y="497"/>
                </a:cxn>
                <a:cxn ang="0">
                  <a:pos x="2" y="443"/>
                </a:cxn>
                <a:cxn ang="0">
                  <a:pos x="9" y="421"/>
                </a:cxn>
                <a:cxn ang="0">
                  <a:pos x="1" y="398"/>
                </a:cxn>
                <a:cxn ang="0">
                  <a:pos x="34" y="389"/>
                </a:cxn>
                <a:cxn ang="0">
                  <a:pos x="100" y="349"/>
                </a:cxn>
                <a:cxn ang="0">
                  <a:pos x="106" y="299"/>
                </a:cxn>
                <a:cxn ang="0">
                  <a:pos x="109" y="265"/>
                </a:cxn>
                <a:cxn ang="0">
                  <a:pos x="99" y="233"/>
                </a:cxn>
                <a:cxn ang="0">
                  <a:pos x="101" y="195"/>
                </a:cxn>
                <a:cxn ang="0">
                  <a:pos x="74" y="139"/>
                </a:cxn>
                <a:cxn ang="0">
                  <a:pos x="56" y="85"/>
                </a:cxn>
                <a:cxn ang="0">
                  <a:pos x="86" y="69"/>
                </a:cxn>
                <a:cxn ang="0">
                  <a:pos x="107" y="42"/>
                </a:cxn>
                <a:cxn ang="0">
                  <a:pos x="139" y="60"/>
                </a:cxn>
                <a:cxn ang="0">
                  <a:pos x="171" y="53"/>
                </a:cxn>
                <a:cxn ang="0">
                  <a:pos x="203" y="39"/>
                </a:cxn>
                <a:cxn ang="0">
                  <a:pos x="238" y="0"/>
                </a:cxn>
                <a:cxn ang="0">
                  <a:pos x="254" y="14"/>
                </a:cxn>
                <a:cxn ang="0">
                  <a:pos x="280" y="34"/>
                </a:cxn>
                <a:cxn ang="0">
                  <a:pos x="297" y="44"/>
                </a:cxn>
                <a:cxn ang="0">
                  <a:pos x="342" y="48"/>
                </a:cxn>
                <a:cxn ang="0">
                  <a:pos x="363" y="60"/>
                </a:cxn>
                <a:cxn ang="0">
                  <a:pos x="386" y="63"/>
                </a:cxn>
                <a:cxn ang="0">
                  <a:pos x="382" y="99"/>
                </a:cxn>
                <a:cxn ang="0">
                  <a:pos x="377" y="141"/>
                </a:cxn>
                <a:cxn ang="0">
                  <a:pos x="355" y="165"/>
                </a:cxn>
                <a:cxn ang="0">
                  <a:pos x="384" y="188"/>
                </a:cxn>
                <a:cxn ang="0">
                  <a:pos x="413" y="208"/>
                </a:cxn>
                <a:cxn ang="0">
                  <a:pos x="399" y="240"/>
                </a:cxn>
                <a:cxn ang="0">
                  <a:pos x="393" y="276"/>
                </a:cxn>
                <a:cxn ang="0">
                  <a:pos x="398" y="295"/>
                </a:cxn>
                <a:cxn ang="0">
                  <a:pos x="376" y="303"/>
                </a:cxn>
                <a:cxn ang="0">
                  <a:pos x="383" y="341"/>
                </a:cxn>
                <a:cxn ang="0">
                  <a:pos x="424" y="375"/>
                </a:cxn>
                <a:cxn ang="0">
                  <a:pos x="468" y="389"/>
                </a:cxn>
                <a:cxn ang="0">
                  <a:pos x="511" y="406"/>
                </a:cxn>
                <a:cxn ang="0">
                  <a:pos x="531" y="424"/>
                </a:cxn>
                <a:cxn ang="0">
                  <a:pos x="564" y="431"/>
                </a:cxn>
                <a:cxn ang="0">
                  <a:pos x="582" y="418"/>
                </a:cxn>
                <a:cxn ang="0">
                  <a:pos x="596" y="430"/>
                </a:cxn>
                <a:cxn ang="0">
                  <a:pos x="599" y="467"/>
                </a:cxn>
                <a:cxn ang="0">
                  <a:pos x="612" y="499"/>
                </a:cxn>
              </a:cxnLst>
              <a:rect l="0" t="0" r="r" b="b"/>
              <a:pathLst>
                <a:path w="612" h="763">
                  <a:moveTo>
                    <a:pt x="607" y="519"/>
                  </a:moveTo>
                  <a:lnTo>
                    <a:pt x="593" y="513"/>
                  </a:lnTo>
                  <a:lnTo>
                    <a:pt x="571" y="510"/>
                  </a:lnTo>
                  <a:lnTo>
                    <a:pt x="555" y="512"/>
                  </a:lnTo>
                  <a:lnTo>
                    <a:pt x="546" y="521"/>
                  </a:lnTo>
                  <a:lnTo>
                    <a:pt x="537" y="523"/>
                  </a:lnTo>
                  <a:lnTo>
                    <a:pt x="529" y="514"/>
                  </a:lnTo>
                  <a:lnTo>
                    <a:pt x="511" y="509"/>
                  </a:lnTo>
                  <a:lnTo>
                    <a:pt x="493" y="511"/>
                  </a:lnTo>
                  <a:lnTo>
                    <a:pt x="479" y="515"/>
                  </a:lnTo>
                  <a:lnTo>
                    <a:pt x="475" y="529"/>
                  </a:lnTo>
                  <a:lnTo>
                    <a:pt x="472" y="540"/>
                  </a:lnTo>
                  <a:lnTo>
                    <a:pt x="461" y="537"/>
                  </a:lnTo>
                  <a:lnTo>
                    <a:pt x="449" y="530"/>
                  </a:lnTo>
                  <a:lnTo>
                    <a:pt x="423" y="530"/>
                  </a:lnTo>
                  <a:lnTo>
                    <a:pt x="403" y="531"/>
                  </a:lnTo>
                  <a:lnTo>
                    <a:pt x="381" y="544"/>
                  </a:lnTo>
                  <a:lnTo>
                    <a:pt x="369" y="553"/>
                  </a:lnTo>
                  <a:lnTo>
                    <a:pt x="358" y="558"/>
                  </a:lnTo>
                  <a:lnTo>
                    <a:pt x="349" y="571"/>
                  </a:lnTo>
                  <a:lnTo>
                    <a:pt x="342" y="596"/>
                  </a:lnTo>
                  <a:lnTo>
                    <a:pt x="344" y="635"/>
                  </a:lnTo>
                  <a:lnTo>
                    <a:pt x="348" y="651"/>
                  </a:lnTo>
                  <a:lnTo>
                    <a:pt x="349" y="666"/>
                  </a:lnTo>
                  <a:lnTo>
                    <a:pt x="355" y="694"/>
                  </a:lnTo>
                  <a:lnTo>
                    <a:pt x="352" y="733"/>
                  </a:lnTo>
                  <a:lnTo>
                    <a:pt x="349" y="750"/>
                  </a:lnTo>
                  <a:lnTo>
                    <a:pt x="336" y="752"/>
                  </a:lnTo>
                  <a:lnTo>
                    <a:pt x="327" y="762"/>
                  </a:lnTo>
                  <a:lnTo>
                    <a:pt x="314" y="763"/>
                  </a:lnTo>
                  <a:lnTo>
                    <a:pt x="301" y="750"/>
                  </a:lnTo>
                  <a:lnTo>
                    <a:pt x="286" y="742"/>
                  </a:lnTo>
                  <a:lnTo>
                    <a:pt x="273" y="746"/>
                  </a:lnTo>
                  <a:lnTo>
                    <a:pt x="260" y="753"/>
                  </a:lnTo>
                  <a:lnTo>
                    <a:pt x="249" y="743"/>
                  </a:lnTo>
                  <a:lnTo>
                    <a:pt x="239" y="738"/>
                  </a:lnTo>
                  <a:lnTo>
                    <a:pt x="225" y="741"/>
                  </a:lnTo>
                  <a:lnTo>
                    <a:pt x="204" y="734"/>
                  </a:lnTo>
                  <a:lnTo>
                    <a:pt x="195" y="716"/>
                  </a:lnTo>
                  <a:lnTo>
                    <a:pt x="190" y="697"/>
                  </a:lnTo>
                  <a:lnTo>
                    <a:pt x="193" y="678"/>
                  </a:lnTo>
                  <a:lnTo>
                    <a:pt x="201" y="673"/>
                  </a:lnTo>
                  <a:lnTo>
                    <a:pt x="205" y="662"/>
                  </a:lnTo>
                  <a:lnTo>
                    <a:pt x="203" y="651"/>
                  </a:lnTo>
                  <a:lnTo>
                    <a:pt x="187" y="638"/>
                  </a:lnTo>
                  <a:lnTo>
                    <a:pt x="181" y="631"/>
                  </a:lnTo>
                  <a:lnTo>
                    <a:pt x="186" y="619"/>
                  </a:lnTo>
                  <a:lnTo>
                    <a:pt x="184" y="609"/>
                  </a:lnTo>
                  <a:lnTo>
                    <a:pt x="171" y="602"/>
                  </a:lnTo>
                  <a:lnTo>
                    <a:pt x="142" y="603"/>
                  </a:lnTo>
                  <a:lnTo>
                    <a:pt x="128" y="604"/>
                  </a:lnTo>
                  <a:lnTo>
                    <a:pt x="112" y="601"/>
                  </a:lnTo>
                  <a:lnTo>
                    <a:pt x="97" y="587"/>
                  </a:lnTo>
                  <a:lnTo>
                    <a:pt x="89" y="573"/>
                  </a:lnTo>
                  <a:lnTo>
                    <a:pt x="77" y="562"/>
                  </a:lnTo>
                  <a:lnTo>
                    <a:pt x="65" y="555"/>
                  </a:lnTo>
                  <a:lnTo>
                    <a:pt x="60" y="538"/>
                  </a:lnTo>
                  <a:lnTo>
                    <a:pt x="49" y="528"/>
                  </a:lnTo>
                  <a:lnTo>
                    <a:pt x="34" y="521"/>
                  </a:lnTo>
                  <a:lnTo>
                    <a:pt x="18" y="518"/>
                  </a:lnTo>
                  <a:lnTo>
                    <a:pt x="9" y="526"/>
                  </a:lnTo>
                  <a:lnTo>
                    <a:pt x="13" y="511"/>
                  </a:lnTo>
                  <a:lnTo>
                    <a:pt x="12" y="497"/>
                  </a:lnTo>
                  <a:lnTo>
                    <a:pt x="1" y="470"/>
                  </a:lnTo>
                  <a:lnTo>
                    <a:pt x="0" y="457"/>
                  </a:lnTo>
                  <a:lnTo>
                    <a:pt x="2" y="443"/>
                  </a:lnTo>
                  <a:lnTo>
                    <a:pt x="7" y="435"/>
                  </a:lnTo>
                  <a:lnTo>
                    <a:pt x="9" y="430"/>
                  </a:lnTo>
                  <a:lnTo>
                    <a:pt x="9" y="421"/>
                  </a:lnTo>
                  <a:lnTo>
                    <a:pt x="5" y="415"/>
                  </a:lnTo>
                  <a:lnTo>
                    <a:pt x="0" y="406"/>
                  </a:lnTo>
                  <a:lnTo>
                    <a:pt x="1" y="398"/>
                  </a:lnTo>
                  <a:lnTo>
                    <a:pt x="8" y="391"/>
                  </a:lnTo>
                  <a:lnTo>
                    <a:pt x="22" y="389"/>
                  </a:lnTo>
                  <a:lnTo>
                    <a:pt x="34" y="389"/>
                  </a:lnTo>
                  <a:lnTo>
                    <a:pt x="48" y="389"/>
                  </a:lnTo>
                  <a:lnTo>
                    <a:pt x="79" y="370"/>
                  </a:lnTo>
                  <a:lnTo>
                    <a:pt x="100" y="349"/>
                  </a:lnTo>
                  <a:lnTo>
                    <a:pt x="108" y="331"/>
                  </a:lnTo>
                  <a:lnTo>
                    <a:pt x="109" y="313"/>
                  </a:lnTo>
                  <a:lnTo>
                    <a:pt x="106" y="299"/>
                  </a:lnTo>
                  <a:lnTo>
                    <a:pt x="100" y="289"/>
                  </a:lnTo>
                  <a:lnTo>
                    <a:pt x="103" y="276"/>
                  </a:lnTo>
                  <a:lnTo>
                    <a:pt x="109" y="265"/>
                  </a:lnTo>
                  <a:lnTo>
                    <a:pt x="107" y="255"/>
                  </a:lnTo>
                  <a:lnTo>
                    <a:pt x="100" y="245"/>
                  </a:lnTo>
                  <a:lnTo>
                    <a:pt x="99" y="233"/>
                  </a:lnTo>
                  <a:lnTo>
                    <a:pt x="107" y="223"/>
                  </a:lnTo>
                  <a:lnTo>
                    <a:pt x="108" y="209"/>
                  </a:lnTo>
                  <a:lnTo>
                    <a:pt x="101" y="195"/>
                  </a:lnTo>
                  <a:lnTo>
                    <a:pt x="99" y="174"/>
                  </a:lnTo>
                  <a:lnTo>
                    <a:pt x="88" y="154"/>
                  </a:lnTo>
                  <a:lnTo>
                    <a:pt x="74" y="139"/>
                  </a:lnTo>
                  <a:lnTo>
                    <a:pt x="66" y="124"/>
                  </a:lnTo>
                  <a:lnTo>
                    <a:pt x="59" y="103"/>
                  </a:lnTo>
                  <a:lnTo>
                    <a:pt x="56" y="85"/>
                  </a:lnTo>
                  <a:lnTo>
                    <a:pt x="59" y="74"/>
                  </a:lnTo>
                  <a:lnTo>
                    <a:pt x="73" y="71"/>
                  </a:lnTo>
                  <a:lnTo>
                    <a:pt x="86" y="69"/>
                  </a:lnTo>
                  <a:lnTo>
                    <a:pt x="94" y="60"/>
                  </a:lnTo>
                  <a:lnTo>
                    <a:pt x="98" y="52"/>
                  </a:lnTo>
                  <a:lnTo>
                    <a:pt x="107" y="42"/>
                  </a:lnTo>
                  <a:lnTo>
                    <a:pt x="123" y="42"/>
                  </a:lnTo>
                  <a:lnTo>
                    <a:pt x="131" y="48"/>
                  </a:lnTo>
                  <a:lnTo>
                    <a:pt x="139" y="60"/>
                  </a:lnTo>
                  <a:lnTo>
                    <a:pt x="149" y="63"/>
                  </a:lnTo>
                  <a:lnTo>
                    <a:pt x="162" y="57"/>
                  </a:lnTo>
                  <a:lnTo>
                    <a:pt x="171" y="53"/>
                  </a:lnTo>
                  <a:lnTo>
                    <a:pt x="183" y="55"/>
                  </a:lnTo>
                  <a:lnTo>
                    <a:pt x="190" y="55"/>
                  </a:lnTo>
                  <a:lnTo>
                    <a:pt x="203" y="39"/>
                  </a:lnTo>
                  <a:lnTo>
                    <a:pt x="223" y="17"/>
                  </a:lnTo>
                  <a:lnTo>
                    <a:pt x="233" y="5"/>
                  </a:lnTo>
                  <a:lnTo>
                    <a:pt x="238" y="0"/>
                  </a:lnTo>
                  <a:lnTo>
                    <a:pt x="244" y="6"/>
                  </a:lnTo>
                  <a:lnTo>
                    <a:pt x="248" y="12"/>
                  </a:lnTo>
                  <a:lnTo>
                    <a:pt x="254" y="14"/>
                  </a:lnTo>
                  <a:lnTo>
                    <a:pt x="267" y="15"/>
                  </a:lnTo>
                  <a:lnTo>
                    <a:pt x="275" y="23"/>
                  </a:lnTo>
                  <a:lnTo>
                    <a:pt x="280" y="34"/>
                  </a:lnTo>
                  <a:lnTo>
                    <a:pt x="281" y="40"/>
                  </a:lnTo>
                  <a:lnTo>
                    <a:pt x="291" y="41"/>
                  </a:lnTo>
                  <a:lnTo>
                    <a:pt x="297" y="44"/>
                  </a:lnTo>
                  <a:lnTo>
                    <a:pt x="312" y="47"/>
                  </a:lnTo>
                  <a:lnTo>
                    <a:pt x="326" y="48"/>
                  </a:lnTo>
                  <a:lnTo>
                    <a:pt x="342" y="48"/>
                  </a:lnTo>
                  <a:lnTo>
                    <a:pt x="350" y="48"/>
                  </a:lnTo>
                  <a:lnTo>
                    <a:pt x="358" y="56"/>
                  </a:lnTo>
                  <a:lnTo>
                    <a:pt x="363" y="60"/>
                  </a:lnTo>
                  <a:lnTo>
                    <a:pt x="373" y="59"/>
                  </a:lnTo>
                  <a:lnTo>
                    <a:pt x="382" y="56"/>
                  </a:lnTo>
                  <a:lnTo>
                    <a:pt x="386" y="63"/>
                  </a:lnTo>
                  <a:lnTo>
                    <a:pt x="386" y="72"/>
                  </a:lnTo>
                  <a:lnTo>
                    <a:pt x="384" y="92"/>
                  </a:lnTo>
                  <a:lnTo>
                    <a:pt x="382" y="99"/>
                  </a:lnTo>
                  <a:lnTo>
                    <a:pt x="381" y="114"/>
                  </a:lnTo>
                  <a:lnTo>
                    <a:pt x="377" y="126"/>
                  </a:lnTo>
                  <a:lnTo>
                    <a:pt x="377" y="141"/>
                  </a:lnTo>
                  <a:lnTo>
                    <a:pt x="370" y="149"/>
                  </a:lnTo>
                  <a:lnTo>
                    <a:pt x="358" y="157"/>
                  </a:lnTo>
                  <a:lnTo>
                    <a:pt x="355" y="165"/>
                  </a:lnTo>
                  <a:lnTo>
                    <a:pt x="355" y="171"/>
                  </a:lnTo>
                  <a:lnTo>
                    <a:pt x="364" y="180"/>
                  </a:lnTo>
                  <a:lnTo>
                    <a:pt x="384" y="188"/>
                  </a:lnTo>
                  <a:lnTo>
                    <a:pt x="404" y="191"/>
                  </a:lnTo>
                  <a:lnTo>
                    <a:pt x="412" y="200"/>
                  </a:lnTo>
                  <a:lnTo>
                    <a:pt x="413" y="208"/>
                  </a:lnTo>
                  <a:lnTo>
                    <a:pt x="411" y="216"/>
                  </a:lnTo>
                  <a:lnTo>
                    <a:pt x="404" y="229"/>
                  </a:lnTo>
                  <a:lnTo>
                    <a:pt x="399" y="240"/>
                  </a:lnTo>
                  <a:lnTo>
                    <a:pt x="393" y="253"/>
                  </a:lnTo>
                  <a:lnTo>
                    <a:pt x="390" y="265"/>
                  </a:lnTo>
                  <a:lnTo>
                    <a:pt x="393" y="276"/>
                  </a:lnTo>
                  <a:lnTo>
                    <a:pt x="400" y="282"/>
                  </a:lnTo>
                  <a:lnTo>
                    <a:pt x="400" y="287"/>
                  </a:lnTo>
                  <a:lnTo>
                    <a:pt x="398" y="295"/>
                  </a:lnTo>
                  <a:lnTo>
                    <a:pt x="393" y="297"/>
                  </a:lnTo>
                  <a:lnTo>
                    <a:pt x="382" y="299"/>
                  </a:lnTo>
                  <a:lnTo>
                    <a:pt x="376" y="303"/>
                  </a:lnTo>
                  <a:lnTo>
                    <a:pt x="373" y="316"/>
                  </a:lnTo>
                  <a:lnTo>
                    <a:pt x="377" y="328"/>
                  </a:lnTo>
                  <a:lnTo>
                    <a:pt x="383" y="341"/>
                  </a:lnTo>
                  <a:lnTo>
                    <a:pt x="395" y="357"/>
                  </a:lnTo>
                  <a:lnTo>
                    <a:pt x="407" y="369"/>
                  </a:lnTo>
                  <a:lnTo>
                    <a:pt x="424" y="375"/>
                  </a:lnTo>
                  <a:lnTo>
                    <a:pt x="439" y="379"/>
                  </a:lnTo>
                  <a:lnTo>
                    <a:pt x="458" y="384"/>
                  </a:lnTo>
                  <a:lnTo>
                    <a:pt x="468" y="389"/>
                  </a:lnTo>
                  <a:lnTo>
                    <a:pt x="482" y="395"/>
                  </a:lnTo>
                  <a:lnTo>
                    <a:pt x="497" y="401"/>
                  </a:lnTo>
                  <a:lnTo>
                    <a:pt x="511" y="406"/>
                  </a:lnTo>
                  <a:lnTo>
                    <a:pt x="514" y="406"/>
                  </a:lnTo>
                  <a:lnTo>
                    <a:pt x="524" y="416"/>
                  </a:lnTo>
                  <a:lnTo>
                    <a:pt x="531" y="424"/>
                  </a:lnTo>
                  <a:lnTo>
                    <a:pt x="537" y="432"/>
                  </a:lnTo>
                  <a:lnTo>
                    <a:pt x="554" y="433"/>
                  </a:lnTo>
                  <a:lnTo>
                    <a:pt x="564" y="431"/>
                  </a:lnTo>
                  <a:lnTo>
                    <a:pt x="566" y="431"/>
                  </a:lnTo>
                  <a:lnTo>
                    <a:pt x="572" y="421"/>
                  </a:lnTo>
                  <a:lnTo>
                    <a:pt x="582" y="418"/>
                  </a:lnTo>
                  <a:lnTo>
                    <a:pt x="589" y="417"/>
                  </a:lnTo>
                  <a:lnTo>
                    <a:pt x="595" y="422"/>
                  </a:lnTo>
                  <a:lnTo>
                    <a:pt x="596" y="430"/>
                  </a:lnTo>
                  <a:lnTo>
                    <a:pt x="596" y="445"/>
                  </a:lnTo>
                  <a:lnTo>
                    <a:pt x="596" y="460"/>
                  </a:lnTo>
                  <a:lnTo>
                    <a:pt x="599" y="467"/>
                  </a:lnTo>
                  <a:lnTo>
                    <a:pt x="607" y="479"/>
                  </a:lnTo>
                  <a:lnTo>
                    <a:pt x="611" y="492"/>
                  </a:lnTo>
                  <a:lnTo>
                    <a:pt x="612" y="499"/>
                  </a:lnTo>
                  <a:lnTo>
                    <a:pt x="610" y="511"/>
                  </a:lnTo>
                  <a:lnTo>
                    <a:pt x="607" y="519"/>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Freeform 28">
              <a:extLst>
                <a:ext uri="{FF2B5EF4-FFF2-40B4-BE49-F238E27FC236}">
                  <a16:creationId xmlns:a16="http://schemas.microsoft.com/office/drawing/2014/main" id="{146932FC-102B-4E6A-A4B9-BE91F851F62A}"/>
                </a:ext>
              </a:extLst>
            </p:cNvPr>
            <p:cNvSpPr>
              <a:spLocks/>
            </p:cNvSpPr>
            <p:nvPr/>
          </p:nvSpPr>
          <p:spPr bwMode="auto">
            <a:xfrm>
              <a:off x="5057518" y="3929229"/>
              <a:ext cx="1048028" cy="770098"/>
            </a:xfrm>
            <a:custGeom>
              <a:avLst/>
              <a:gdLst/>
              <a:ahLst/>
              <a:cxnLst>
                <a:cxn ang="0">
                  <a:pos x="261" y="1"/>
                </a:cxn>
                <a:cxn ang="0">
                  <a:pos x="227" y="14"/>
                </a:cxn>
                <a:cxn ang="0">
                  <a:pos x="186" y="2"/>
                </a:cxn>
                <a:cxn ang="0">
                  <a:pos x="162" y="31"/>
                </a:cxn>
                <a:cxn ang="0">
                  <a:pos x="113" y="21"/>
                </a:cxn>
                <a:cxn ang="0">
                  <a:pos x="59" y="44"/>
                </a:cxn>
                <a:cxn ang="0">
                  <a:pos x="32" y="87"/>
                </a:cxn>
                <a:cxn ang="0">
                  <a:pos x="39" y="157"/>
                </a:cxn>
                <a:cxn ang="0">
                  <a:pos x="39" y="241"/>
                </a:cxn>
                <a:cxn ang="0">
                  <a:pos x="73" y="263"/>
                </a:cxn>
                <a:cxn ang="0">
                  <a:pos x="95" y="217"/>
                </a:cxn>
                <a:cxn ang="0">
                  <a:pos x="127" y="228"/>
                </a:cxn>
                <a:cxn ang="0">
                  <a:pos x="154" y="249"/>
                </a:cxn>
                <a:cxn ang="0">
                  <a:pos x="159" y="299"/>
                </a:cxn>
                <a:cxn ang="0">
                  <a:pos x="94" y="326"/>
                </a:cxn>
                <a:cxn ang="0">
                  <a:pos x="61" y="339"/>
                </a:cxn>
                <a:cxn ang="0">
                  <a:pos x="76" y="384"/>
                </a:cxn>
                <a:cxn ang="0">
                  <a:pos x="42" y="427"/>
                </a:cxn>
                <a:cxn ang="0">
                  <a:pos x="6" y="436"/>
                </a:cxn>
                <a:cxn ang="0">
                  <a:pos x="5" y="484"/>
                </a:cxn>
                <a:cxn ang="0">
                  <a:pos x="98" y="532"/>
                </a:cxn>
                <a:cxn ang="0">
                  <a:pos x="176" y="462"/>
                </a:cxn>
                <a:cxn ang="0">
                  <a:pos x="255" y="454"/>
                </a:cxn>
                <a:cxn ang="0">
                  <a:pos x="347" y="384"/>
                </a:cxn>
                <a:cxn ang="0">
                  <a:pos x="384" y="355"/>
                </a:cxn>
                <a:cxn ang="0">
                  <a:pos x="450" y="340"/>
                </a:cxn>
                <a:cxn ang="0">
                  <a:pos x="516" y="308"/>
                </a:cxn>
                <a:cxn ang="0">
                  <a:pos x="574" y="272"/>
                </a:cxn>
                <a:cxn ang="0">
                  <a:pos x="559" y="232"/>
                </a:cxn>
                <a:cxn ang="0">
                  <a:pos x="595" y="220"/>
                </a:cxn>
                <a:cxn ang="0">
                  <a:pos x="632" y="258"/>
                </a:cxn>
                <a:cxn ang="0">
                  <a:pos x="651" y="278"/>
                </a:cxn>
                <a:cxn ang="0">
                  <a:pos x="663" y="313"/>
                </a:cxn>
                <a:cxn ang="0">
                  <a:pos x="707" y="274"/>
                </a:cxn>
                <a:cxn ang="0">
                  <a:pos x="721" y="157"/>
                </a:cxn>
                <a:cxn ang="0">
                  <a:pos x="708" y="96"/>
                </a:cxn>
                <a:cxn ang="0">
                  <a:pos x="715" y="61"/>
                </a:cxn>
                <a:cxn ang="0">
                  <a:pos x="667" y="32"/>
                </a:cxn>
                <a:cxn ang="0">
                  <a:pos x="633" y="20"/>
                </a:cxn>
                <a:cxn ang="0">
                  <a:pos x="606" y="20"/>
                </a:cxn>
                <a:cxn ang="0">
                  <a:pos x="563" y="50"/>
                </a:cxn>
                <a:cxn ang="0">
                  <a:pos x="534" y="41"/>
                </a:cxn>
                <a:cxn ang="0">
                  <a:pos x="496" y="53"/>
                </a:cxn>
                <a:cxn ang="0">
                  <a:pos x="480" y="98"/>
                </a:cxn>
                <a:cxn ang="0">
                  <a:pos x="472" y="87"/>
                </a:cxn>
                <a:cxn ang="0">
                  <a:pos x="448" y="104"/>
                </a:cxn>
                <a:cxn ang="0">
                  <a:pos x="407" y="121"/>
                </a:cxn>
                <a:cxn ang="0">
                  <a:pos x="373" y="105"/>
                </a:cxn>
                <a:cxn ang="0">
                  <a:pos x="356" y="87"/>
                </a:cxn>
                <a:cxn ang="0">
                  <a:pos x="334" y="101"/>
                </a:cxn>
                <a:cxn ang="0">
                  <a:pos x="301" y="101"/>
                </a:cxn>
                <a:cxn ang="0">
                  <a:pos x="287" y="83"/>
                </a:cxn>
                <a:cxn ang="0">
                  <a:pos x="299" y="56"/>
                </a:cxn>
                <a:cxn ang="0">
                  <a:pos x="292" y="35"/>
                </a:cxn>
                <a:cxn ang="0">
                  <a:pos x="297" y="10"/>
                </a:cxn>
              </a:cxnLst>
              <a:rect l="0" t="0" r="r" b="b"/>
              <a:pathLst>
                <a:path w="724" h="532">
                  <a:moveTo>
                    <a:pt x="297" y="10"/>
                  </a:moveTo>
                  <a:lnTo>
                    <a:pt x="283" y="4"/>
                  </a:lnTo>
                  <a:lnTo>
                    <a:pt x="261" y="1"/>
                  </a:lnTo>
                  <a:lnTo>
                    <a:pt x="245" y="3"/>
                  </a:lnTo>
                  <a:lnTo>
                    <a:pt x="236" y="12"/>
                  </a:lnTo>
                  <a:lnTo>
                    <a:pt x="227" y="14"/>
                  </a:lnTo>
                  <a:lnTo>
                    <a:pt x="219" y="5"/>
                  </a:lnTo>
                  <a:lnTo>
                    <a:pt x="201" y="0"/>
                  </a:lnTo>
                  <a:lnTo>
                    <a:pt x="186" y="2"/>
                  </a:lnTo>
                  <a:lnTo>
                    <a:pt x="169" y="6"/>
                  </a:lnTo>
                  <a:lnTo>
                    <a:pt x="165" y="20"/>
                  </a:lnTo>
                  <a:lnTo>
                    <a:pt x="162" y="31"/>
                  </a:lnTo>
                  <a:lnTo>
                    <a:pt x="151" y="28"/>
                  </a:lnTo>
                  <a:lnTo>
                    <a:pt x="139" y="21"/>
                  </a:lnTo>
                  <a:lnTo>
                    <a:pt x="113" y="21"/>
                  </a:lnTo>
                  <a:lnTo>
                    <a:pt x="93" y="22"/>
                  </a:lnTo>
                  <a:lnTo>
                    <a:pt x="71" y="35"/>
                  </a:lnTo>
                  <a:lnTo>
                    <a:pt x="59" y="44"/>
                  </a:lnTo>
                  <a:lnTo>
                    <a:pt x="48" y="49"/>
                  </a:lnTo>
                  <a:lnTo>
                    <a:pt x="39" y="62"/>
                  </a:lnTo>
                  <a:lnTo>
                    <a:pt x="32" y="87"/>
                  </a:lnTo>
                  <a:lnTo>
                    <a:pt x="34" y="126"/>
                  </a:lnTo>
                  <a:lnTo>
                    <a:pt x="38" y="142"/>
                  </a:lnTo>
                  <a:lnTo>
                    <a:pt x="39" y="157"/>
                  </a:lnTo>
                  <a:lnTo>
                    <a:pt x="45" y="185"/>
                  </a:lnTo>
                  <a:lnTo>
                    <a:pt x="42" y="224"/>
                  </a:lnTo>
                  <a:lnTo>
                    <a:pt x="39" y="241"/>
                  </a:lnTo>
                  <a:lnTo>
                    <a:pt x="44" y="256"/>
                  </a:lnTo>
                  <a:lnTo>
                    <a:pt x="57" y="265"/>
                  </a:lnTo>
                  <a:lnTo>
                    <a:pt x="73" y="263"/>
                  </a:lnTo>
                  <a:lnTo>
                    <a:pt x="85" y="250"/>
                  </a:lnTo>
                  <a:lnTo>
                    <a:pt x="91" y="240"/>
                  </a:lnTo>
                  <a:lnTo>
                    <a:pt x="95" y="217"/>
                  </a:lnTo>
                  <a:lnTo>
                    <a:pt x="107" y="211"/>
                  </a:lnTo>
                  <a:lnTo>
                    <a:pt x="122" y="215"/>
                  </a:lnTo>
                  <a:lnTo>
                    <a:pt x="127" y="228"/>
                  </a:lnTo>
                  <a:lnTo>
                    <a:pt x="127" y="240"/>
                  </a:lnTo>
                  <a:lnTo>
                    <a:pt x="133" y="246"/>
                  </a:lnTo>
                  <a:lnTo>
                    <a:pt x="154" y="249"/>
                  </a:lnTo>
                  <a:lnTo>
                    <a:pt x="163" y="259"/>
                  </a:lnTo>
                  <a:lnTo>
                    <a:pt x="164" y="282"/>
                  </a:lnTo>
                  <a:lnTo>
                    <a:pt x="159" y="299"/>
                  </a:lnTo>
                  <a:lnTo>
                    <a:pt x="136" y="308"/>
                  </a:lnTo>
                  <a:lnTo>
                    <a:pt x="117" y="318"/>
                  </a:lnTo>
                  <a:lnTo>
                    <a:pt x="94" y="326"/>
                  </a:lnTo>
                  <a:lnTo>
                    <a:pt x="76" y="327"/>
                  </a:lnTo>
                  <a:lnTo>
                    <a:pt x="68" y="329"/>
                  </a:lnTo>
                  <a:lnTo>
                    <a:pt x="61" y="339"/>
                  </a:lnTo>
                  <a:lnTo>
                    <a:pt x="64" y="356"/>
                  </a:lnTo>
                  <a:lnTo>
                    <a:pt x="73" y="372"/>
                  </a:lnTo>
                  <a:lnTo>
                    <a:pt x="76" y="384"/>
                  </a:lnTo>
                  <a:lnTo>
                    <a:pt x="70" y="398"/>
                  </a:lnTo>
                  <a:lnTo>
                    <a:pt x="54" y="415"/>
                  </a:lnTo>
                  <a:lnTo>
                    <a:pt x="42" y="427"/>
                  </a:lnTo>
                  <a:lnTo>
                    <a:pt x="29" y="428"/>
                  </a:lnTo>
                  <a:lnTo>
                    <a:pt x="15" y="426"/>
                  </a:lnTo>
                  <a:lnTo>
                    <a:pt x="6" y="436"/>
                  </a:lnTo>
                  <a:lnTo>
                    <a:pt x="0" y="451"/>
                  </a:lnTo>
                  <a:lnTo>
                    <a:pt x="4" y="476"/>
                  </a:lnTo>
                  <a:lnTo>
                    <a:pt x="5" y="484"/>
                  </a:lnTo>
                  <a:lnTo>
                    <a:pt x="24" y="507"/>
                  </a:lnTo>
                  <a:lnTo>
                    <a:pt x="50" y="530"/>
                  </a:lnTo>
                  <a:lnTo>
                    <a:pt x="98" y="532"/>
                  </a:lnTo>
                  <a:lnTo>
                    <a:pt x="118" y="507"/>
                  </a:lnTo>
                  <a:lnTo>
                    <a:pt x="142" y="486"/>
                  </a:lnTo>
                  <a:lnTo>
                    <a:pt x="176" y="462"/>
                  </a:lnTo>
                  <a:lnTo>
                    <a:pt x="203" y="459"/>
                  </a:lnTo>
                  <a:lnTo>
                    <a:pt x="233" y="467"/>
                  </a:lnTo>
                  <a:lnTo>
                    <a:pt x="255" y="454"/>
                  </a:lnTo>
                  <a:lnTo>
                    <a:pt x="281" y="426"/>
                  </a:lnTo>
                  <a:lnTo>
                    <a:pt x="310" y="398"/>
                  </a:lnTo>
                  <a:lnTo>
                    <a:pt x="347" y="384"/>
                  </a:lnTo>
                  <a:lnTo>
                    <a:pt x="372" y="376"/>
                  </a:lnTo>
                  <a:lnTo>
                    <a:pt x="381" y="366"/>
                  </a:lnTo>
                  <a:lnTo>
                    <a:pt x="384" y="355"/>
                  </a:lnTo>
                  <a:lnTo>
                    <a:pt x="395" y="349"/>
                  </a:lnTo>
                  <a:lnTo>
                    <a:pt x="422" y="348"/>
                  </a:lnTo>
                  <a:lnTo>
                    <a:pt x="450" y="340"/>
                  </a:lnTo>
                  <a:lnTo>
                    <a:pt x="476" y="328"/>
                  </a:lnTo>
                  <a:lnTo>
                    <a:pt x="489" y="313"/>
                  </a:lnTo>
                  <a:lnTo>
                    <a:pt x="516" y="308"/>
                  </a:lnTo>
                  <a:lnTo>
                    <a:pt x="537" y="308"/>
                  </a:lnTo>
                  <a:lnTo>
                    <a:pt x="555" y="289"/>
                  </a:lnTo>
                  <a:lnTo>
                    <a:pt x="574" y="272"/>
                  </a:lnTo>
                  <a:lnTo>
                    <a:pt x="576" y="258"/>
                  </a:lnTo>
                  <a:lnTo>
                    <a:pt x="568" y="243"/>
                  </a:lnTo>
                  <a:lnTo>
                    <a:pt x="559" y="232"/>
                  </a:lnTo>
                  <a:lnTo>
                    <a:pt x="559" y="225"/>
                  </a:lnTo>
                  <a:lnTo>
                    <a:pt x="572" y="218"/>
                  </a:lnTo>
                  <a:lnTo>
                    <a:pt x="595" y="220"/>
                  </a:lnTo>
                  <a:lnTo>
                    <a:pt x="613" y="229"/>
                  </a:lnTo>
                  <a:lnTo>
                    <a:pt x="626" y="240"/>
                  </a:lnTo>
                  <a:lnTo>
                    <a:pt x="632" y="258"/>
                  </a:lnTo>
                  <a:lnTo>
                    <a:pt x="633" y="268"/>
                  </a:lnTo>
                  <a:lnTo>
                    <a:pt x="643" y="273"/>
                  </a:lnTo>
                  <a:lnTo>
                    <a:pt x="651" y="278"/>
                  </a:lnTo>
                  <a:lnTo>
                    <a:pt x="654" y="288"/>
                  </a:lnTo>
                  <a:lnTo>
                    <a:pt x="651" y="301"/>
                  </a:lnTo>
                  <a:lnTo>
                    <a:pt x="663" y="313"/>
                  </a:lnTo>
                  <a:lnTo>
                    <a:pt x="678" y="318"/>
                  </a:lnTo>
                  <a:lnTo>
                    <a:pt x="692" y="309"/>
                  </a:lnTo>
                  <a:lnTo>
                    <a:pt x="707" y="274"/>
                  </a:lnTo>
                  <a:lnTo>
                    <a:pt x="715" y="223"/>
                  </a:lnTo>
                  <a:lnTo>
                    <a:pt x="718" y="185"/>
                  </a:lnTo>
                  <a:lnTo>
                    <a:pt x="721" y="157"/>
                  </a:lnTo>
                  <a:lnTo>
                    <a:pt x="724" y="136"/>
                  </a:lnTo>
                  <a:lnTo>
                    <a:pt x="717" y="113"/>
                  </a:lnTo>
                  <a:lnTo>
                    <a:pt x="708" y="96"/>
                  </a:lnTo>
                  <a:lnTo>
                    <a:pt x="706" y="85"/>
                  </a:lnTo>
                  <a:lnTo>
                    <a:pt x="714" y="72"/>
                  </a:lnTo>
                  <a:lnTo>
                    <a:pt x="715" y="61"/>
                  </a:lnTo>
                  <a:lnTo>
                    <a:pt x="706" y="48"/>
                  </a:lnTo>
                  <a:lnTo>
                    <a:pt x="688" y="36"/>
                  </a:lnTo>
                  <a:lnTo>
                    <a:pt x="667" y="32"/>
                  </a:lnTo>
                  <a:lnTo>
                    <a:pt x="653" y="24"/>
                  </a:lnTo>
                  <a:lnTo>
                    <a:pt x="644" y="23"/>
                  </a:lnTo>
                  <a:lnTo>
                    <a:pt x="633" y="20"/>
                  </a:lnTo>
                  <a:lnTo>
                    <a:pt x="623" y="19"/>
                  </a:lnTo>
                  <a:lnTo>
                    <a:pt x="614" y="18"/>
                  </a:lnTo>
                  <a:lnTo>
                    <a:pt x="606" y="20"/>
                  </a:lnTo>
                  <a:lnTo>
                    <a:pt x="589" y="32"/>
                  </a:lnTo>
                  <a:lnTo>
                    <a:pt x="571" y="44"/>
                  </a:lnTo>
                  <a:lnTo>
                    <a:pt x="563" y="50"/>
                  </a:lnTo>
                  <a:lnTo>
                    <a:pt x="551" y="50"/>
                  </a:lnTo>
                  <a:lnTo>
                    <a:pt x="543" y="45"/>
                  </a:lnTo>
                  <a:lnTo>
                    <a:pt x="534" y="41"/>
                  </a:lnTo>
                  <a:lnTo>
                    <a:pt x="526" y="40"/>
                  </a:lnTo>
                  <a:lnTo>
                    <a:pt x="513" y="44"/>
                  </a:lnTo>
                  <a:lnTo>
                    <a:pt x="496" y="53"/>
                  </a:lnTo>
                  <a:lnTo>
                    <a:pt x="491" y="65"/>
                  </a:lnTo>
                  <a:lnTo>
                    <a:pt x="486" y="79"/>
                  </a:lnTo>
                  <a:lnTo>
                    <a:pt x="480" y="98"/>
                  </a:lnTo>
                  <a:lnTo>
                    <a:pt x="476" y="112"/>
                  </a:lnTo>
                  <a:lnTo>
                    <a:pt x="475" y="95"/>
                  </a:lnTo>
                  <a:lnTo>
                    <a:pt x="472" y="87"/>
                  </a:lnTo>
                  <a:lnTo>
                    <a:pt x="464" y="87"/>
                  </a:lnTo>
                  <a:lnTo>
                    <a:pt x="458" y="95"/>
                  </a:lnTo>
                  <a:lnTo>
                    <a:pt x="448" y="104"/>
                  </a:lnTo>
                  <a:lnTo>
                    <a:pt x="436" y="113"/>
                  </a:lnTo>
                  <a:lnTo>
                    <a:pt x="423" y="117"/>
                  </a:lnTo>
                  <a:lnTo>
                    <a:pt x="407" y="121"/>
                  </a:lnTo>
                  <a:lnTo>
                    <a:pt x="392" y="121"/>
                  </a:lnTo>
                  <a:lnTo>
                    <a:pt x="380" y="116"/>
                  </a:lnTo>
                  <a:lnTo>
                    <a:pt x="373" y="105"/>
                  </a:lnTo>
                  <a:lnTo>
                    <a:pt x="369" y="93"/>
                  </a:lnTo>
                  <a:lnTo>
                    <a:pt x="363" y="87"/>
                  </a:lnTo>
                  <a:lnTo>
                    <a:pt x="356" y="87"/>
                  </a:lnTo>
                  <a:lnTo>
                    <a:pt x="349" y="87"/>
                  </a:lnTo>
                  <a:lnTo>
                    <a:pt x="343" y="94"/>
                  </a:lnTo>
                  <a:lnTo>
                    <a:pt x="334" y="101"/>
                  </a:lnTo>
                  <a:lnTo>
                    <a:pt x="323" y="104"/>
                  </a:lnTo>
                  <a:lnTo>
                    <a:pt x="309" y="106"/>
                  </a:lnTo>
                  <a:lnTo>
                    <a:pt x="301" y="101"/>
                  </a:lnTo>
                  <a:lnTo>
                    <a:pt x="296" y="91"/>
                  </a:lnTo>
                  <a:lnTo>
                    <a:pt x="292" y="86"/>
                  </a:lnTo>
                  <a:lnTo>
                    <a:pt x="287" y="83"/>
                  </a:lnTo>
                  <a:lnTo>
                    <a:pt x="293" y="75"/>
                  </a:lnTo>
                  <a:lnTo>
                    <a:pt x="298" y="66"/>
                  </a:lnTo>
                  <a:lnTo>
                    <a:pt x="299" y="56"/>
                  </a:lnTo>
                  <a:lnTo>
                    <a:pt x="294" y="49"/>
                  </a:lnTo>
                  <a:lnTo>
                    <a:pt x="292" y="44"/>
                  </a:lnTo>
                  <a:lnTo>
                    <a:pt x="292" y="35"/>
                  </a:lnTo>
                  <a:lnTo>
                    <a:pt x="296" y="28"/>
                  </a:lnTo>
                  <a:lnTo>
                    <a:pt x="298" y="20"/>
                  </a:lnTo>
                  <a:lnTo>
                    <a:pt x="297" y="10"/>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4" name="Freeform 29">
              <a:extLst>
                <a:ext uri="{FF2B5EF4-FFF2-40B4-BE49-F238E27FC236}">
                  <a16:creationId xmlns:a16="http://schemas.microsoft.com/office/drawing/2014/main" id="{F0D2E80C-19BE-4C9E-A766-2F1CFDE65DE1}"/>
                </a:ext>
              </a:extLst>
            </p:cNvPr>
            <p:cNvSpPr>
              <a:spLocks/>
            </p:cNvSpPr>
            <p:nvPr/>
          </p:nvSpPr>
          <p:spPr bwMode="auto">
            <a:xfrm>
              <a:off x="4345323" y="3942257"/>
              <a:ext cx="949594" cy="749832"/>
            </a:xfrm>
            <a:custGeom>
              <a:avLst/>
              <a:gdLst/>
              <a:ahLst/>
              <a:cxnLst>
                <a:cxn ang="0">
                  <a:pos x="198" y="21"/>
                </a:cxn>
                <a:cxn ang="0">
                  <a:pos x="193" y="35"/>
                </a:cxn>
                <a:cxn ang="0">
                  <a:pos x="155" y="45"/>
                </a:cxn>
                <a:cxn ang="0">
                  <a:pos x="126" y="44"/>
                </a:cxn>
                <a:cxn ang="0">
                  <a:pos x="95" y="49"/>
                </a:cxn>
                <a:cxn ang="0">
                  <a:pos x="70" y="71"/>
                </a:cxn>
                <a:cxn ang="0">
                  <a:pos x="40" y="79"/>
                </a:cxn>
                <a:cxn ang="0">
                  <a:pos x="4" y="99"/>
                </a:cxn>
                <a:cxn ang="0">
                  <a:pos x="11" y="131"/>
                </a:cxn>
                <a:cxn ang="0">
                  <a:pos x="43" y="141"/>
                </a:cxn>
                <a:cxn ang="0">
                  <a:pos x="52" y="183"/>
                </a:cxn>
                <a:cxn ang="0">
                  <a:pos x="59" y="227"/>
                </a:cxn>
                <a:cxn ang="0">
                  <a:pos x="47" y="250"/>
                </a:cxn>
                <a:cxn ang="0">
                  <a:pos x="18" y="312"/>
                </a:cxn>
                <a:cxn ang="0">
                  <a:pos x="1" y="360"/>
                </a:cxn>
                <a:cxn ang="0">
                  <a:pos x="15" y="391"/>
                </a:cxn>
                <a:cxn ang="0">
                  <a:pos x="37" y="361"/>
                </a:cxn>
                <a:cxn ang="0">
                  <a:pos x="37" y="396"/>
                </a:cxn>
                <a:cxn ang="0">
                  <a:pos x="68" y="403"/>
                </a:cxn>
                <a:cxn ang="0">
                  <a:pos x="95" y="420"/>
                </a:cxn>
                <a:cxn ang="0">
                  <a:pos x="141" y="476"/>
                </a:cxn>
                <a:cxn ang="0">
                  <a:pos x="170" y="505"/>
                </a:cxn>
                <a:cxn ang="0">
                  <a:pos x="200" y="518"/>
                </a:cxn>
                <a:cxn ang="0">
                  <a:pos x="200" y="485"/>
                </a:cxn>
                <a:cxn ang="0">
                  <a:pos x="226" y="473"/>
                </a:cxn>
                <a:cxn ang="0">
                  <a:pos x="263" y="482"/>
                </a:cxn>
                <a:cxn ang="0">
                  <a:pos x="303" y="497"/>
                </a:cxn>
                <a:cxn ang="0">
                  <a:pos x="331" y="493"/>
                </a:cxn>
                <a:cxn ang="0">
                  <a:pos x="334" y="433"/>
                </a:cxn>
                <a:cxn ang="0">
                  <a:pos x="369" y="441"/>
                </a:cxn>
                <a:cxn ang="0">
                  <a:pos x="399" y="466"/>
                </a:cxn>
                <a:cxn ang="0">
                  <a:pos x="454" y="465"/>
                </a:cxn>
                <a:cxn ang="0">
                  <a:pos x="497" y="475"/>
                </a:cxn>
                <a:cxn ang="0">
                  <a:pos x="507" y="417"/>
                </a:cxn>
                <a:cxn ang="0">
                  <a:pos x="546" y="406"/>
                </a:cxn>
                <a:cxn ang="0">
                  <a:pos x="565" y="363"/>
                </a:cxn>
                <a:cxn ang="0">
                  <a:pos x="560" y="320"/>
                </a:cxn>
                <a:cxn ang="0">
                  <a:pos x="609" y="309"/>
                </a:cxn>
                <a:cxn ang="0">
                  <a:pos x="656" y="273"/>
                </a:cxn>
                <a:cxn ang="0">
                  <a:pos x="625" y="237"/>
                </a:cxn>
                <a:cxn ang="0">
                  <a:pos x="614" y="206"/>
                </a:cxn>
                <a:cxn ang="0">
                  <a:pos x="583" y="231"/>
                </a:cxn>
                <a:cxn ang="0">
                  <a:pos x="549" y="256"/>
                </a:cxn>
                <a:cxn ang="0">
                  <a:pos x="518" y="234"/>
                </a:cxn>
                <a:cxn ang="0">
                  <a:pos x="483" y="232"/>
                </a:cxn>
                <a:cxn ang="0">
                  <a:pos x="442" y="235"/>
                </a:cxn>
                <a:cxn ang="0">
                  <a:pos x="407" y="223"/>
                </a:cxn>
                <a:cxn ang="0">
                  <a:pos x="372" y="179"/>
                </a:cxn>
                <a:cxn ang="0">
                  <a:pos x="387" y="144"/>
                </a:cxn>
                <a:cxn ang="0">
                  <a:pos x="363" y="113"/>
                </a:cxn>
                <a:cxn ang="0">
                  <a:pos x="353" y="84"/>
                </a:cxn>
                <a:cxn ang="0">
                  <a:pos x="294" y="83"/>
                </a:cxn>
                <a:cxn ang="0">
                  <a:pos x="259" y="44"/>
                </a:cxn>
                <a:cxn ang="0">
                  <a:pos x="231" y="10"/>
                </a:cxn>
                <a:cxn ang="0">
                  <a:pos x="191" y="8"/>
                </a:cxn>
              </a:cxnLst>
              <a:rect l="0" t="0" r="r" b="b"/>
              <a:pathLst>
                <a:path w="656" h="518">
                  <a:moveTo>
                    <a:pt x="191" y="8"/>
                  </a:moveTo>
                  <a:lnTo>
                    <a:pt x="194" y="15"/>
                  </a:lnTo>
                  <a:lnTo>
                    <a:pt x="198" y="21"/>
                  </a:lnTo>
                  <a:lnTo>
                    <a:pt x="200" y="27"/>
                  </a:lnTo>
                  <a:lnTo>
                    <a:pt x="199" y="34"/>
                  </a:lnTo>
                  <a:lnTo>
                    <a:pt x="193" y="35"/>
                  </a:lnTo>
                  <a:lnTo>
                    <a:pt x="183" y="36"/>
                  </a:lnTo>
                  <a:lnTo>
                    <a:pt x="174" y="36"/>
                  </a:lnTo>
                  <a:lnTo>
                    <a:pt x="155" y="45"/>
                  </a:lnTo>
                  <a:lnTo>
                    <a:pt x="142" y="49"/>
                  </a:lnTo>
                  <a:lnTo>
                    <a:pt x="134" y="48"/>
                  </a:lnTo>
                  <a:lnTo>
                    <a:pt x="126" y="44"/>
                  </a:lnTo>
                  <a:lnTo>
                    <a:pt x="115" y="43"/>
                  </a:lnTo>
                  <a:lnTo>
                    <a:pt x="104" y="44"/>
                  </a:lnTo>
                  <a:lnTo>
                    <a:pt x="95" y="49"/>
                  </a:lnTo>
                  <a:lnTo>
                    <a:pt x="87" y="58"/>
                  </a:lnTo>
                  <a:lnTo>
                    <a:pt x="78" y="67"/>
                  </a:lnTo>
                  <a:lnTo>
                    <a:pt x="70" y="71"/>
                  </a:lnTo>
                  <a:lnTo>
                    <a:pt x="62" y="72"/>
                  </a:lnTo>
                  <a:lnTo>
                    <a:pt x="51" y="74"/>
                  </a:lnTo>
                  <a:lnTo>
                    <a:pt x="40" y="79"/>
                  </a:lnTo>
                  <a:lnTo>
                    <a:pt x="21" y="92"/>
                  </a:lnTo>
                  <a:lnTo>
                    <a:pt x="13" y="97"/>
                  </a:lnTo>
                  <a:lnTo>
                    <a:pt x="4" y="99"/>
                  </a:lnTo>
                  <a:lnTo>
                    <a:pt x="3" y="108"/>
                  </a:lnTo>
                  <a:lnTo>
                    <a:pt x="4" y="122"/>
                  </a:lnTo>
                  <a:lnTo>
                    <a:pt x="11" y="131"/>
                  </a:lnTo>
                  <a:lnTo>
                    <a:pt x="20" y="136"/>
                  </a:lnTo>
                  <a:lnTo>
                    <a:pt x="34" y="137"/>
                  </a:lnTo>
                  <a:lnTo>
                    <a:pt x="43" y="141"/>
                  </a:lnTo>
                  <a:lnTo>
                    <a:pt x="48" y="149"/>
                  </a:lnTo>
                  <a:lnTo>
                    <a:pt x="50" y="163"/>
                  </a:lnTo>
                  <a:lnTo>
                    <a:pt x="52" y="183"/>
                  </a:lnTo>
                  <a:lnTo>
                    <a:pt x="50" y="204"/>
                  </a:lnTo>
                  <a:lnTo>
                    <a:pt x="52" y="218"/>
                  </a:lnTo>
                  <a:lnTo>
                    <a:pt x="59" y="227"/>
                  </a:lnTo>
                  <a:lnTo>
                    <a:pt x="61" y="235"/>
                  </a:lnTo>
                  <a:lnTo>
                    <a:pt x="58" y="243"/>
                  </a:lnTo>
                  <a:lnTo>
                    <a:pt x="47" y="250"/>
                  </a:lnTo>
                  <a:lnTo>
                    <a:pt x="34" y="264"/>
                  </a:lnTo>
                  <a:lnTo>
                    <a:pt x="20" y="286"/>
                  </a:lnTo>
                  <a:lnTo>
                    <a:pt x="18" y="312"/>
                  </a:lnTo>
                  <a:lnTo>
                    <a:pt x="15" y="334"/>
                  </a:lnTo>
                  <a:lnTo>
                    <a:pt x="9" y="347"/>
                  </a:lnTo>
                  <a:lnTo>
                    <a:pt x="1" y="360"/>
                  </a:lnTo>
                  <a:lnTo>
                    <a:pt x="0" y="377"/>
                  </a:lnTo>
                  <a:lnTo>
                    <a:pt x="5" y="388"/>
                  </a:lnTo>
                  <a:lnTo>
                    <a:pt x="15" y="391"/>
                  </a:lnTo>
                  <a:lnTo>
                    <a:pt x="27" y="379"/>
                  </a:lnTo>
                  <a:lnTo>
                    <a:pt x="31" y="365"/>
                  </a:lnTo>
                  <a:lnTo>
                    <a:pt x="37" y="361"/>
                  </a:lnTo>
                  <a:lnTo>
                    <a:pt x="40" y="367"/>
                  </a:lnTo>
                  <a:lnTo>
                    <a:pt x="38" y="380"/>
                  </a:lnTo>
                  <a:lnTo>
                    <a:pt x="37" y="396"/>
                  </a:lnTo>
                  <a:lnTo>
                    <a:pt x="41" y="402"/>
                  </a:lnTo>
                  <a:lnTo>
                    <a:pt x="55" y="405"/>
                  </a:lnTo>
                  <a:lnTo>
                    <a:pt x="68" y="403"/>
                  </a:lnTo>
                  <a:lnTo>
                    <a:pt x="77" y="400"/>
                  </a:lnTo>
                  <a:lnTo>
                    <a:pt x="85" y="403"/>
                  </a:lnTo>
                  <a:lnTo>
                    <a:pt x="95" y="420"/>
                  </a:lnTo>
                  <a:lnTo>
                    <a:pt x="104" y="441"/>
                  </a:lnTo>
                  <a:lnTo>
                    <a:pt x="118" y="465"/>
                  </a:lnTo>
                  <a:lnTo>
                    <a:pt x="141" y="476"/>
                  </a:lnTo>
                  <a:lnTo>
                    <a:pt x="159" y="483"/>
                  </a:lnTo>
                  <a:lnTo>
                    <a:pt x="168" y="492"/>
                  </a:lnTo>
                  <a:lnTo>
                    <a:pt x="170" y="505"/>
                  </a:lnTo>
                  <a:lnTo>
                    <a:pt x="172" y="514"/>
                  </a:lnTo>
                  <a:lnTo>
                    <a:pt x="187" y="518"/>
                  </a:lnTo>
                  <a:lnTo>
                    <a:pt x="200" y="518"/>
                  </a:lnTo>
                  <a:lnTo>
                    <a:pt x="205" y="508"/>
                  </a:lnTo>
                  <a:lnTo>
                    <a:pt x="204" y="496"/>
                  </a:lnTo>
                  <a:lnTo>
                    <a:pt x="200" y="485"/>
                  </a:lnTo>
                  <a:lnTo>
                    <a:pt x="204" y="471"/>
                  </a:lnTo>
                  <a:lnTo>
                    <a:pt x="215" y="467"/>
                  </a:lnTo>
                  <a:lnTo>
                    <a:pt x="226" y="473"/>
                  </a:lnTo>
                  <a:lnTo>
                    <a:pt x="235" y="482"/>
                  </a:lnTo>
                  <a:lnTo>
                    <a:pt x="248" y="483"/>
                  </a:lnTo>
                  <a:lnTo>
                    <a:pt x="263" y="482"/>
                  </a:lnTo>
                  <a:lnTo>
                    <a:pt x="278" y="481"/>
                  </a:lnTo>
                  <a:lnTo>
                    <a:pt x="290" y="484"/>
                  </a:lnTo>
                  <a:lnTo>
                    <a:pt x="303" y="497"/>
                  </a:lnTo>
                  <a:lnTo>
                    <a:pt x="311" y="503"/>
                  </a:lnTo>
                  <a:lnTo>
                    <a:pt x="325" y="502"/>
                  </a:lnTo>
                  <a:lnTo>
                    <a:pt x="331" y="493"/>
                  </a:lnTo>
                  <a:lnTo>
                    <a:pt x="332" y="468"/>
                  </a:lnTo>
                  <a:lnTo>
                    <a:pt x="328" y="449"/>
                  </a:lnTo>
                  <a:lnTo>
                    <a:pt x="334" y="433"/>
                  </a:lnTo>
                  <a:lnTo>
                    <a:pt x="347" y="427"/>
                  </a:lnTo>
                  <a:lnTo>
                    <a:pt x="359" y="427"/>
                  </a:lnTo>
                  <a:lnTo>
                    <a:pt x="369" y="441"/>
                  </a:lnTo>
                  <a:lnTo>
                    <a:pt x="371" y="460"/>
                  </a:lnTo>
                  <a:lnTo>
                    <a:pt x="379" y="467"/>
                  </a:lnTo>
                  <a:lnTo>
                    <a:pt x="399" y="466"/>
                  </a:lnTo>
                  <a:lnTo>
                    <a:pt x="412" y="461"/>
                  </a:lnTo>
                  <a:lnTo>
                    <a:pt x="433" y="461"/>
                  </a:lnTo>
                  <a:lnTo>
                    <a:pt x="454" y="465"/>
                  </a:lnTo>
                  <a:lnTo>
                    <a:pt x="472" y="472"/>
                  </a:lnTo>
                  <a:lnTo>
                    <a:pt x="489" y="475"/>
                  </a:lnTo>
                  <a:lnTo>
                    <a:pt x="497" y="475"/>
                  </a:lnTo>
                  <a:lnTo>
                    <a:pt x="492" y="442"/>
                  </a:lnTo>
                  <a:lnTo>
                    <a:pt x="498" y="427"/>
                  </a:lnTo>
                  <a:lnTo>
                    <a:pt x="507" y="417"/>
                  </a:lnTo>
                  <a:lnTo>
                    <a:pt x="521" y="419"/>
                  </a:lnTo>
                  <a:lnTo>
                    <a:pt x="534" y="418"/>
                  </a:lnTo>
                  <a:lnTo>
                    <a:pt x="546" y="406"/>
                  </a:lnTo>
                  <a:lnTo>
                    <a:pt x="562" y="389"/>
                  </a:lnTo>
                  <a:lnTo>
                    <a:pt x="568" y="375"/>
                  </a:lnTo>
                  <a:lnTo>
                    <a:pt x="565" y="363"/>
                  </a:lnTo>
                  <a:lnTo>
                    <a:pt x="556" y="347"/>
                  </a:lnTo>
                  <a:lnTo>
                    <a:pt x="553" y="330"/>
                  </a:lnTo>
                  <a:lnTo>
                    <a:pt x="560" y="320"/>
                  </a:lnTo>
                  <a:lnTo>
                    <a:pt x="568" y="318"/>
                  </a:lnTo>
                  <a:lnTo>
                    <a:pt x="586" y="317"/>
                  </a:lnTo>
                  <a:lnTo>
                    <a:pt x="609" y="309"/>
                  </a:lnTo>
                  <a:lnTo>
                    <a:pt x="628" y="299"/>
                  </a:lnTo>
                  <a:lnTo>
                    <a:pt x="651" y="290"/>
                  </a:lnTo>
                  <a:lnTo>
                    <a:pt x="656" y="273"/>
                  </a:lnTo>
                  <a:lnTo>
                    <a:pt x="655" y="250"/>
                  </a:lnTo>
                  <a:lnTo>
                    <a:pt x="646" y="240"/>
                  </a:lnTo>
                  <a:lnTo>
                    <a:pt x="625" y="237"/>
                  </a:lnTo>
                  <a:lnTo>
                    <a:pt x="619" y="231"/>
                  </a:lnTo>
                  <a:lnTo>
                    <a:pt x="619" y="219"/>
                  </a:lnTo>
                  <a:lnTo>
                    <a:pt x="614" y="206"/>
                  </a:lnTo>
                  <a:lnTo>
                    <a:pt x="599" y="202"/>
                  </a:lnTo>
                  <a:lnTo>
                    <a:pt x="587" y="208"/>
                  </a:lnTo>
                  <a:lnTo>
                    <a:pt x="583" y="231"/>
                  </a:lnTo>
                  <a:lnTo>
                    <a:pt x="577" y="241"/>
                  </a:lnTo>
                  <a:lnTo>
                    <a:pt x="565" y="254"/>
                  </a:lnTo>
                  <a:lnTo>
                    <a:pt x="549" y="256"/>
                  </a:lnTo>
                  <a:lnTo>
                    <a:pt x="536" y="247"/>
                  </a:lnTo>
                  <a:lnTo>
                    <a:pt x="531" y="232"/>
                  </a:lnTo>
                  <a:lnTo>
                    <a:pt x="518" y="234"/>
                  </a:lnTo>
                  <a:lnTo>
                    <a:pt x="509" y="244"/>
                  </a:lnTo>
                  <a:lnTo>
                    <a:pt x="496" y="245"/>
                  </a:lnTo>
                  <a:lnTo>
                    <a:pt x="483" y="232"/>
                  </a:lnTo>
                  <a:lnTo>
                    <a:pt x="468" y="224"/>
                  </a:lnTo>
                  <a:lnTo>
                    <a:pt x="455" y="228"/>
                  </a:lnTo>
                  <a:lnTo>
                    <a:pt x="442" y="235"/>
                  </a:lnTo>
                  <a:lnTo>
                    <a:pt x="431" y="225"/>
                  </a:lnTo>
                  <a:lnTo>
                    <a:pt x="421" y="220"/>
                  </a:lnTo>
                  <a:lnTo>
                    <a:pt x="407" y="223"/>
                  </a:lnTo>
                  <a:lnTo>
                    <a:pt x="386" y="216"/>
                  </a:lnTo>
                  <a:lnTo>
                    <a:pt x="377" y="198"/>
                  </a:lnTo>
                  <a:lnTo>
                    <a:pt x="372" y="179"/>
                  </a:lnTo>
                  <a:lnTo>
                    <a:pt x="375" y="160"/>
                  </a:lnTo>
                  <a:lnTo>
                    <a:pt x="383" y="155"/>
                  </a:lnTo>
                  <a:lnTo>
                    <a:pt x="387" y="144"/>
                  </a:lnTo>
                  <a:lnTo>
                    <a:pt x="385" y="133"/>
                  </a:lnTo>
                  <a:lnTo>
                    <a:pt x="369" y="120"/>
                  </a:lnTo>
                  <a:lnTo>
                    <a:pt x="363" y="113"/>
                  </a:lnTo>
                  <a:lnTo>
                    <a:pt x="368" y="101"/>
                  </a:lnTo>
                  <a:lnTo>
                    <a:pt x="366" y="91"/>
                  </a:lnTo>
                  <a:lnTo>
                    <a:pt x="353" y="84"/>
                  </a:lnTo>
                  <a:lnTo>
                    <a:pt x="324" y="85"/>
                  </a:lnTo>
                  <a:lnTo>
                    <a:pt x="310" y="86"/>
                  </a:lnTo>
                  <a:lnTo>
                    <a:pt x="294" y="83"/>
                  </a:lnTo>
                  <a:lnTo>
                    <a:pt x="279" y="69"/>
                  </a:lnTo>
                  <a:lnTo>
                    <a:pt x="271" y="55"/>
                  </a:lnTo>
                  <a:lnTo>
                    <a:pt x="259" y="44"/>
                  </a:lnTo>
                  <a:lnTo>
                    <a:pt x="247" y="37"/>
                  </a:lnTo>
                  <a:lnTo>
                    <a:pt x="242" y="20"/>
                  </a:lnTo>
                  <a:lnTo>
                    <a:pt x="231" y="10"/>
                  </a:lnTo>
                  <a:lnTo>
                    <a:pt x="216" y="3"/>
                  </a:lnTo>
                  <a:lnTo>
                    <a:pt x="200" y="0"/>
                  </a:lnTo>
                  <a:lnTo>
                    <a:pt x="191" y="8"/>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 name="Freeform 30">
              <a:extLst>
                <a:ext uri="{FF2B5EF4-FFF2-40B4-BE49-F238E27FC236}">
                  <a16:creationId xmlns:a16="http://schemas.microsoft.com/office/drawing/2014/main" id="{28573A48-964E-499D-81F5-0EAF7BD45AA5}"/>
                </a:ext>
              </a:extLst>
            </p:cNvPr>
            <p:cNvSpPr>
              <a:spLocks/>
            </p:cNvSpPr>
            <p:nvPr/>
          </p:nvSpPr>
          <p:spPr bwMode="auto">
            <a:xfrm>
              <a:off x="3631679" y="3924886"/>
              <a:ext cx="801944" cy="1217392"/>
            </a:xfrm>
            <a:custGeom>
              <a:avLst/>
              <a:gdLst/>
              <a:ahLst/>
              <a:cxnLst>
                <a:cxn ang="0">
                  <a:pos x="364" y="44"/>
                </a:cxn>
                <a:cxn ang="0">
                  <a:pos x="313" y="52"/>
                </a:cxn>
                <a:cxn ang="0">
                  <a:pos x="287" y="93"/>
                </a:cxn>
                <a:cxn ang="0">
                  <a:pos x="222" y="116"/>
                </a:cxn>
                <a:cxn ang="0">
                  <a:pos x="227" y="145"/>
                </a:cxn>
                <a:cxn ang="0">
                  <a:pos x="212" y="205"/>
                </a:cxn>
                <a:cxn ang="0">
                  <a:pos x="185" y="234"/>
                </a:cxn>
                <a:cxn ang="0">
                  <a:pos x="150" y="281"/>
                </a:cxn>
                <a:cxn ang="0">
                  <a:pos x="94" y="334"/>
                </a:cxn>
                <a:cxn ang="0">
                  <a:pos x="92" y="379"/>
                </a:cxn>
                <a:cxn ang="0">
                  <a:pos x="78" y="420"/>
                </a:cxn>
                <a:cxn ang="0">
                  <a:pos x="43" y="433"/>
                </a:cxn>
                <a:cxn ang="0">
                  <a:pos x="62" y="489"/>
                </a:cxn>
                <a:cxn ang="0">
                  <a:pos x="56" y="532"/>
                </a:cxn>
                <a:cxn ang="0">
                  <a:pos x="0" y="585"/>
                </a:cxn>
                <a:cxn ang="0">
                  <a:pos x="49" y="612"/>
                </a:cxn>
                <a:cxn ang="0">
                  <a:pos x="104" y="610"/>
                </a:cxn>
                <a:cxn ang="0">
                  <a:pos x="132" y="666"/>
                </a:cxn>
                <a:cxn ang="0">
                  <a:pos x="132" y="705"/>
                </a:cxn>
                <a:cxn ang="0">
                  <a:pos x="120" y="743"/>
                </a:cxn>
                <a:cxn ang="0">
                  <a:pos x="145" y="790"/>
                </a:cxn>
                <a:cxn ang="0">
                  <a:pos x="175" y="765"/>
                </a:cxn>
                <a:cxn ang="0">
                  <a:pos x="187" y="797"/>
                </a:cxn>
                <a:cxn ang="0">
                  <a:pos x="230" y="800"/>
                </a:cxn>
                <a:cxn ang="0">
                  <a:pos x="221" y="821"/>
                </a:cxn>
                <a:cxn ang="0">
                  <a:pos x="232" y="841"/>
                </a:cxn>
                <a:cxn ang="0">
                  <a:pos x="259" y="812"/>
                </a:cxn>
                <a:cxn ang="0">
                  <a:pos x="279" y="777"/>
                </a:cxn>
                <a:cxn ang="0">
                  <a:pos x="288" y="716"/>
                </a:cxn>
                <a:cxn ang="0">
                  <a:pos x="276" y="659"/>
                </a:cxn>
                <a:cxn ang="0">
                  <a:pos x="274" y="613"/>
                </a:cxn>
                <a:cxn ang="0">
                  <a:pos x="306" y="576"/>
                </a:cxn>
                <a:cxn ang="0">
                  <a:pos x="331" y="583"/>
                </a:cxn>
                <a:cxn ang="0">
                  <a:pos x="365" y="587"/>
                </a:cxn>
                <a:cxn ang="0">
                  <a:pos x="391" y="593"/>
                </a:cxn>
                <a:cxn ang="0">
                  <a:pos x="392" y="543"/>
                </a:cxn>
                <a:cxn ang="0">
                  <a:pos x="421" y="551"/>
                </a:cxn>
                <a:cxn ang="0">
                  <a:pos x="461" y="525"/>
                </a:cxn>
                <a:cxn ang="0">
                  <a:pos x="455" y="493"/>
                </a:cxn>
                <a:cxn ang="0">
                  <a:pos x="476" y="468"/>
                </a:cxn>
                <a:cxn ang="0">
                  <a:pos x="494" y="469"/>
                </a:cxn>
                <a:cxn ang="0">
                  <a:pos x="528" y="422"/>
                </a:cxn>
                <a:cxn ang="0">
                  <a:pos x="533" y="379"/>
                </a:cxn>
                <a:cxn ang="0">
                  <a:pos x="508" y="403"/>
                </a:cxn>
                <a:cxn ang="0">
                  <a:pos x="508" y="346"/>
                </a:cxn>
                <a:cxn ang="0">
                  <a:pos x="540" y="262"/>
                </a:cxn>
                <a:cxn ang="0">
                  <a:pos x="545" y="230"/>
                </a:cxn>
                <a:cxn ang="0">
                  <a:pos x="541" y="161"/>
                </a:cxn>
                <a:cxn ang="0">
                  <a:pos x="504" y="143"/>
                </a:cxn>
                <a:cxn ang="0">
                  <a:pos x="477" y="111"/>
                </a:cxn>
                <a:cxn ang="0">
                  <a:pos x="473" y="132"/>
                </a:cxn>
                <a:cxn ang="0">
                  <a:pos x="441" y="143"/>
                </a:cxn>
                <a:cxn ang="0">
                  <a:pos x="419" y="111"/>
                </a:cxn>
                <a:cxn ang="0">
                  <a:pos x="447" y="70"/>
                </a:cxn>
                <a:cxn ang="0">
                  <a:pos x="457" y="48"/>
                </a:cxn>
                <a:cxn ang="0">
                  <a:pos x="456" y="16"/>
                </a:cxn>
                <a:cxn ang="0">
                  <a:pos x="389" y="0"/>
                </a:cxn>
              </a:cxnLst>
              <a:rect l="0" t="0" r="r" b="b"/>
              <a:pathLst>
                <a:path w="554" h="841">
                  <a:moveTo>
                    <a:pt x="389" y="0"/>
                  </a:moveTo>
                  <a:lnTo>
                    <a:pt x="383" y="9"/>
                  </a:lnTo>
                  <a:lnTo>
                    <a:pt x="378" y="26"/>
                  </a:lnTo>
                  <a:lnTo>
                    <a:pt x="364" y="44"/>
                  </a:lnTo>
                  <a:lnTo>
                    <a:pt x="349" y="59"/>
                  </a:lnTo>
                  <a:lnTo>
                    <a:pt x="332" y="66"/>
                  </a:lnTo>
                  <a:lnTo>
                    <a:pt x="323" y="60"/>
                  </a:lnTo>
                  <a:lnTo>
                    <a:pt x="313" y="52"/>
                  </a:lnTo>
                  <a:lnTo>
                    <a:pt x="299" y="55"/>
                  </a:lnTo>
                  <a:lnTo>
                    <a:pt x="290" y="66"/>
                  </a:lnTo>
                  <a:lnTo>
                    <a:pt x="289" y="78"/>
                  </a:lnTo>
                  <a:lnTo>
                    <a:pt x="287" y="93"/>
                  </a:lnTo>
                  <a:lnTo>
                    <a:pt x="278" y="104"/>
                  </a:lnTo>
                  <a:lnTo>
                    <a:pt x="265" y="104"/>
                  </a:lnTo>
                  <a:lnTo>
                    <a:pt x="239" y="105"/>
                  </a:lnTo>
                  <a:lnTo>
                    <a:pt x="222" y="116"/>
                  </a:lnTo>
                  <a:lnTo>
                    <a:pt x="211" y="126"/>
                  </a:lnTo>
                  <a:lnTo>
                    <a:pt x="208" y="137"/>
                  </a:lnTo>
                  <a:lnTo>
                    <a:pt x="217" y="141"/>
                  </a:lnTo>
                  <a:lnTo>
                    <a:pt x="227" y="145"/>
                  </a:lnTo>
                  <a:lnTo>
                    <a:pt x="228" y="161"/>
                  </a:lnTo>
                  <a:lnTo>
                    <a:pt x="225" y="179"/>
                  </a:lnTo>
                  <a:lnTo>
                    <a:pt x="220" y="193"/>
                  </a:lnTo>
                  <a:lnTo>
                    <a:pt x="212" y="205"/>
                  </a:lnTo>
                  <a:lnTo>
                    <a:pt x="193" y="205"/>
                  </a:lnTo>
                  <a:lnTo>
                    <a:pt x="178" y="208"/>
                  </a:lnTo>
                  <a:lnTo>
                    <a:pt x="179" y="220"/>
                  </a:lnTo>
                  <a:lnTo>
                    <a:pt x="185" y="234"/>
                  </a:lnTo>
                  <a:lnTo>
                    <a:pt x="183" y="244"/>
                  </a:lnTo>
                  <a:lnTo>
                    <a:pt x="166" y="253"/>
                  </a:lnTo>
                  <a:lnTo>
                    <a:pt x="160" y="261"/>
                  </a:lnTo>
                  <a:lnTo>
                    <a:pt x="150" y="281"/>
                  </a:lnTo>
                  <a:lnTo>
                    <a:pt x="140" y="288"/>
                  </a:lnTo>
                  <a:lnTo>
                    <a:pt x="119" y="294"/>
                  </a:lnTo>
                  <a:lnTo>
                    <a:pt x="101" y="314"/>
                  </a:lnTo>
                  <a:lnTo>
                    <a:pt x="94" y="334"/>
                  </a:lnTo>
                  <a:lnTo>
                    <a:pt x="87" y="350"/>
                  </a:lnTo>
                  <a:lnTo>
                    <a:pt x="89" y="360"/>
                  </a:lnTo>
                  <a:lnTo>
                    <a:pt x="93" y="368"/>
                  </a:lnTo>
                  <a:lnTo>
                    <a:pt x="92" y="379"/>
                  </a:lnTo>
                  <a:lnTo>
                    <a:pt x="85" y="391"/>
                  </a:lnTo>
                  <a:lnTo>
                    <a:pt x="79" y="399"/>
                  </a:lnTo>
                  <a:lnTo>
                    <a:pt x="77" y="408"/>
                  </a:lnTo>
                  <a:lnTo>
                    <a:pt x="78" y="420"/>
                  </a:lnTo>
                  <a:lnTo>
                    <a:pt x="73" y="432"/>
                  </a:lnTo>
                  <a:lnTo>
                    <a:pt x="61" y="435"/>
                  </a:lnTo>
                  <a:lnTo>
                    <a:pt x="52" y="429"/>
                  </a:lnTo>
                  <a:lnTo>
                    <a:pt x="43" y="433"/>
                  </a:lnTo>
                  <a:lnTo>
                    <a:pt x="39" y="449"/>
                  </a:lnTo>
                  <a:lnTo>
                    <a:pt x="40" y="460"/>
                  </a:lnTo>
                  <a:lnTo>
                    <a:pt x="49" y="474"/>
                  </a:lnTo>
                  <a:lnTo>
                    <a:pt x="62" y="489"/>
                  </a:lnTo>
                  <a:lnTo>
                    <a:pt x="71" y="498"/>
                  </a:lnTo>
                  <a:lnTo>
                    <a:pt x="76" y="510"/>
                  </a:lnTo>
                  <a:lnTo>
                    <a:pt x="72" y="523"/>
                  </a:lnTo>
                  <a:lnTo>
                    <a:pt x="56" y="532"/>
                  </a:lnTo>
                  <a:lnTo>
                    <a:pt x="38" y="542"/>
                  </a:lnTo>
                  <a:lnTo>
                    <a:pt x="17" y="556"/>
                  </a:lnTo>
                  <a:lnTo>
                    <a:pt x="7" y="570"/>
                  </a:lnTo>
                  <a:lnTo>
                    <a:pt x="0" y="585"/>
                  </a:lnTo>
                  <a:lnTo>
                    <a:pt x="0" y="599"/>
                  </a:lnTo>
                  <a:lnTo>
                    <a:pt x="9" y="610"/>
                  </a:lnTo>
                  <a:lnTo>
                    <a:pt x="26" y="615"/>
                  </a:lnTo>
                  <a:lnTo>
                    <a:pt x="49" y="612"/>
                  </a:lnTo>
                  <a:lnTo>
                    <a:pt x="62" y="600"/>
                  </a:lnTo>
                  <a:lnTo>
                    <a:pt x="76" y="595"/>
                  </a:lnTo>
                  <a:lnTo>
                    <a:pt x="91" y="598"/>
                  </a:lnTo>
                  <a:lnTo>
                    <a:pt x="104" y="610"/>
                  </a:lnTo>
                  <a:lnTo>
                    <a:pt x="114" y="627"/>
                  </a:lnTo>
                  <a:lnTo>
                    <a:pt x="122" y="642"/>
                  </a:lnTo>
                  <a:lnTo>
                    <a:pt x="130" y="655"/>
                  </a:lnTo>
                  <a:lnTo>
                    <a:pt x="132" y="666"/>
                  </a:lnTo>
                  <a:lnTo>
                    <a:pt x="128" y="677"/>
                  </a:lnTo>
                  <a:lnTo>
                    <a:pt x="124" y="685"/>
                  </a:lnTo>
                  <a:lnTo>
                    <a:pt x="124" y="696"/>
                  </a:lnTo>
                  <a:lnTo>
                    <a:pt x="132" y="705"/>
                  </a:lnTo>
                  <a:lnTo>
                    <a:pt x="138" y="717"/>
                  </a:lnTo>
                  <a:lnTo>
                    <a:pt x="135" y="723"/>
                  </a:lnTo>
                  <a:lnTo>
                    <a:pt x="125" y="732"/>
                  </a:lnTo>
                  <a:lnTo>
                    <a:pt x="120" y="743"/>
                  </a:lnTo>
                  <a:lnTo>
                    <a:pt x="121" y="760"/>
                  </a:lnTo>
                  <a:lnTo>
                    <a:pt x="129" y="774"/>
                  </a:lnTo>
                  <a:lnTo>
                    <a:pt x="137" y="784"/>
                  </a:lnTo>
                  <a:lnTo>
                    <a:pt x="145" y="790"/>
                  </a:lnTo>
                  <a:lnTo>
                    <a:pt x="155" y="788"/>
                  </a:lnTo>
                  <a:lnTo>
                    <a:pt x="161" y="777"/>
                  </a:lnTo>
                  <a:lnTo>
                    <a:pt x="166" y="767"/>
                  </a:lnTo>
                  <a:lnTo>
                    <a:pt x="175" y="765"/>
                  </a:lnTo>
                  <a:lnTo>
                    <a:pt x="182" y="767"/>
                  </a:lnTo>
                  <a:lnTo>
                    <a:pt x="185" y="779"/>
                  </a:lnTo>
                  <a:lnTo>
                    <a:pt x="186" y="791"/>
                  </a:lnTo>
                  <a:lnTo>
                    <a:pt x="187" y="797"/>
                  </a:lnTo>
                  <a:lnTo>
                    <a:pt x="198" y="802"/>
                  </a:lnTo>
                  <a:lnTo>
                    <a:pt x="210" y="801"/>
                  </a:lnTo>
                  <a:lnTo>
                    <a:pt x="218" y="797"/>
                  </a:lnTo>
                  <a:lnTo>
                    <a:pt x="230" y="800"/>
                  </a:lnTo>
                  <a:lnTo>
                    <a:pt x="235" y="806"/>
                  </a:lnTo>
                  <a:lnTo>
                    <a:pt x="234" y="812"/>
                  </a:lnTo>
                  <a:lnTo>
                    <a:pt x="229" y="819"/>
                  </a:lnTo>
                  <a:lnTo>
                    <a:pt x="221" y="821"/>
                  </a:lnTo>
                  <a:lnTo>
                    <a:pt x="214" y="826"/>
                  </a:lnTo>
                  <a:lnTo>
                    <a:pt x="213" y="835"/>
                  </a:lnTo>
                  <a:lnTo>
                    <a:pt x="217" y="840"/>
                  </a:lnTo>
                  <a:lnTo>
                    <a:pt x="232" y="841"/>
                  </a:lnTo>
                  <a:lnTo>
                    <a:pt x="247" y="839"/>
                  </a:lnTo>
                  <a:lnTo>
                    <a:pt x="256" y="836"/>
                  </a:lnTo>
                  <a:lnTo>
                    <a:pt x="259" y="825"/>
                  </a:lnTo>
                  <a:lnTo>
                    <a:pt x="259" y="812"/>
                  </a:lnTo>
                  <a:lnTo>
                    <a:pt x="260" y="800"/>
                  </a:lnTo>
                  <a:lnTo>
                    <a:pt x="264" y="791"/>
                  </a:lnTo>
                  <a:lnTo>
                    <a:pt x="274" y="782"/>
                  </a:lnTo>
                  <a:lnTo>
                    <a:pt x="279" y="777"/>
                  </a:lnTo>
                  <a:lnTo>
                    <a:pt x="288" y="765"/>
                  </a:lnTo>
                  <a:lnTo>
                    <a:pt x="291" y="747"/>
                  </a:lnTo>
                  <a:lnTo>
                    <a:pt x="291" y="727"/>
                  </a:lnTo>
                  <a:lnTo>
                    <a:pt x="288" y="716"/>
                  </a:lnTo>
                  <a:lnTo>
                    <a:pt x="281" y="691"/>
                  </a:lnTo>
                  <a:lnTo>
                    <a:pt x="275" y="680"/>
                  </a:lnTo>
                  <a:lnTo>
                    <a:pt x="273" y="669"/>
                  </a:lnTo>
                  <a:lnTo>
                    <a:pt x="276" y="659"/>
                  </a:lnTo>
                  <a:lnTo>
                    <a:pt x="279" y="648"/>
                  </a:lnTo>
                  <a:lnTo>
                    <a:pt x="277" y="635"/>
                  </a:lnTo>
                  <a:lnTo>
                    <a:pt x="270" y="626"/>
                  </a:lnTo>
                  <a:lnTo>
                    <a:pt x="274" y="613"/>
                  </a:lnTo>
                  <a:lnTo>
                    <a:pt x="285" y="601"/>
                  </a:lnTo>
                  <a:lnTo>
                    <a:pt x="294" y="591"/>
                  </a:lnTo>
                  <a:lnTo>
                    <a:pt x="300" y="581"/>
                  </a:lnTo>
                  <a:lnTo>
                    <a:pt x="306" y="576"/>
                  </a:lnTo>
                  <a:lnTo>
                    <a:pt x="315" y="578"/>
                  </a:lnTo>
                  <a:lnTo>
                    <a:pt x="319" y="583"/>
                  </a:lnTo>
                  <a:lnTo>
                    <a:pt x="325" y="585"/>
                  </a:lnTo>
                  <a:lnTo>
                    <a:pt x="331" y="583"/>
                  </a:lnTo>
                  <a:lnTo>
                    <a:pt x="338" y="578"/>
                  </a:lnTo>
                  <a:lnTo>
                    <a:pt x="353" y="576"/>
                  </a:lnTo>
                  <a:lnTo>
                    <a:pt x="361" y="580"/>
                  </a:lnTo>
                  <a:lnTo>
                    <a:pt x="365" y="587"/>
                  </a:lnTo>
                  <a:lnTo>
                    <a:pt x="368" y="598"/>
                  </a:lnTo>
                  <a:lnTo>
                    <a:pt x="374" y="601"/>
                  </a:lnTo>
                  <a:lnTo>
                    <a:pt x="384" y="599"/>
                  </a:lnTo>
                  <a:lnTo>
                    <a:pt x="391" y="593"/>
                  </a:lnTo>
                  <a:lnTo>
                    <a:pt x="396" y="580"/>
                  </a:lnTo>
                  <a:lnTo>
                    <a:pt x="397" y="567"/>
                  </a:lnTo>
                  <a:lnTo>
                    <a:pt x="392" y="554"/>
                  </a:lnTo>
                  <a:lnTo>
                    <a:pt x="392" y="543"/>
                  </a:lnTo>
                  <a:lnTo>
                    <a:pt x="395" y="540"/>
                  </a:lnTo>
                  <a:lnTo>
                    <a:pt x="404" y="540"/>
                  </a:lnTo>
                  <a:lnTo>
                    <a:pt x="412" y="545"/>
                  </a:lnTo>
                  <a:lnTo>
                    <a:pt x="421" y="551"/>
                  </a:lnTo>
                  <a:lnTo>
                    <a:pt x="436" y="550"/>
                  </a:lnTo>
                  <a:lnTo>
                    <a:pt x="448" y="544"/>
                  </a:lnTo>
                  <a:lnTo>
                    <a:pt x="456" y="534"/>
                  </a:lnTo>
                  <a:lnTo>
                    <a:pt x="461" y="525"/>
                  </a:lnTo>
                  <a:lnTo>
                    <a:pt x="463" y="515"/>
                  </a:lnTo>
                  <a:lnTo>
                    <a:pt x="460" y="505"/>
                  </a:lnTo>
                  <a:lnTo>
                    <a:pt x="456" y="499"/>
                  </a:lnTo>
                  <a:lnTo>
                    <a:pt x="455" y="493"/>
                  </a:lnTo>
                  <a:lnTo>
                    <a:pt x="456" y="482"/>
                  </a:lnTo>
                  <a:lnTo>
                    <a:pt x="461" y="472"/>
                  </a:lnTo>
                  <a:lnTo>
                    <a:pt x="469" y="467"/>
                  </a:lnTo>
                  <a:lnTo>
                    <a:pt x="476" y="468"/>
                  </a:lnTo>
                  <a:lnTo>
                    <a:pt x="481" y="472"/>
                  </a:lnTo>
                  <a:lnTo>
                    <a:pt x="484" y="477"/>
                  </a:lnTo>
                  <a:lnTo>
                    <a:pt x="488" y="476"/>
                  </a:lnTo>
                  <a:lnTo>
                    <a:pt x="494" y="469"/>
                  </a:lnTo>
                  <a:lnTo>
                    <a:pt x="502" y="458"/>
                  </a:lnTo>
                  <a:lnTo>
                    <a:pt x="513" y="449"/>
                  </a:lnTo>
                  <a:lnTo>
                    <a:pt x="526" y="435"/>
                  </a:lnTo>
                  <a:lnTo>
                    <a:pt x="528" y="422"/>
                  </a:lnTo>
                  <a:lnTo>
                    <a:pt x="534" y="414"/>
                  </a:lnTo>
                  <a:lnTo>
                    <a:pt x="530" y="408"/>
                  </a:lnTo>
                  <a:lnTo>
                    <a:pt x="531" y="392"/>
                  </a:lnTo>
                  <a:lnTo>
                    <a:pt x="533" y="379"/>
                  </a:lnTo>
                  <a:lnTo>
                    <a:pt x="530" y="373"/>
                  </a:lnTo>
                  <a:lnTo>
                    <a:pt x="524" y="377"/>
                  </a:lnTo>
                  <a:lnTo>
                    <a:pt x="520" y="391"/>
                  </a:lnTo>
                  <a:lnTo>
                    <a:pt x="508" y="403"/>
                  </a:lnTo>
                  <a:lnTo>
                    <a:pt x="498" y="400"/>
                  </a:lnTo>
                  <a:lnTo>
                    <a:pt x="493" y="389"/>
                  </a:lnTo>
                  <a:lnTo>
                    <a:pt x="494" y="372"/>
                  </a:lnTo>
                  <a:lnTo>
                    <a:pt x="508" y="346"/>
                  </a:lnTo>
                  <a:lnTo>
                    <a:pt x="511" y="324"/>
                  </a:lnTo>
                  <a:lnTo>
                    <a:pt x="513" y="298"/>
                  </a:lnTo>
                  <a:lnTo>
                    <a:pt x="527" y="276"/>
                  </a:lnTo>
                  <a:lnTo>
                    <a:pt x="540" y="262"/>
                  </a:lnTo>
                  <a:lnTo>
                    <a:pt x="551" y="255"/>
                  </a:lnTo>
                  <a:lnTo>
                    <a:pt x="554" y="247"/>
                  </a:lnTo>
                  <a:lnTo>
                    <a:pt x="552" y="239"/>
                  </a:lnTo>
                  <a:lnTo>
                    <a:pt x="545" y="230"/>
                  </a:lnTo>
                  <a:lnTo>
                    <a:pt x="543" y="216"/>
                  </a:lnTo>
                  <a:lnTo>
                    <a:pt x="545" y="195"/>
                  </a:lnTo>
                  <a:lnTo>
                    <a:pt x="543" y="175"/>
                  </a:lnTo>
                  <a:lnTo>
                    <a:pt x="541" y="161"/>
                  </a:lnTo>
                  <a:lnTo>
                    <a:pt x="536" y="153"/>
                  </a:lnTo>
                  <a:lnTo>
                    <a:pt x="527" y="149"/>
                  </a:lnTo>
                  <a:lnTo>
                    <a:pt x="513" y="148"/>
                  </a:lnTo>
                  <a:lnTo>
                    <a:pt x="504" y="143"/>
                  </a:lnTo>
                  <a:lnTo>
                    <a:pt x="497" y="134"/>
                  </a:lnTo>
                  <a:lnTo>
                    <a:pt x="496" y="120"/>
                  </a:lnTo>
                  <a:lnTo>
                    <a:pt x="497" y="111"/>
                  </a:lnTo>
                  <a:lnTo>
                    <a:pt x="477" y="111"/>
                  </a:lnTo>
                  <a:lnTo>
                    <a:pt x="471" y="115"/>
                  </a:lnTo>
                  <a:lnTo>
                    <a:pt x="471" y="120"/>
                  </a:lnTo>
                  <a:lnTo>
                    <a:pt x="472" y="126"/>
                  </a:lnTo>
                  <a:lnTo>
                    <a:pt x="473" y="132"/>
                  </a:lnTo>
                  <a:lnTo>
                    <a:pt x="469" y="140"/>
                  </a:lnTo>
                  <a:lnTo>
                    <a:pt x="461" y="142"/>
                  </a:lnTo>
                  <a:lnTo>
                    <a:pt x="450" y="144"/>
                  </a:lnTo>
                  <a:lnTo>
                    <a:pt x="441" y="143"/>
                  </a:lnTo>
                  <a:lnTo>
                    <a:pt x="429" y="137"/>
                  </a:lnTo>
                  <a:lnTo>
                    <a:pt x="420" y="130"/>
                  </a:lnTo>
                  <a:lnTo>
                    <a:pt x="417" y="120"/>
                  </a:lnTo>
                  <a:lnTo>
                    <a:pt x="419" y="111"/>
                  </a:lnTo>
                  <a:lnTo>
                    <a:pt x="424" y="106"/>
                  </a:lnTo>
                  <a:lnTo>
                    <a:pt x="445" y="91"/>
                  </a:lnTo>
                  <a:lnTo>
                    <a:pt x="448" y="83"/>
                  </a:lnTo>
                  <a:lnTo>
                    <a:pt x="447" y="70"/>
                  </a:lnTo>
                  <a:lnTo>
                    <a:pt x="443" y="65"/>
                  </a:lnTo>
                  <a:lnTo>
                    <a:pt x="443" y="54"/>
                  </a:lnTo>
                  <a:lnTo>
                    <a:pt x="449" y="47"/>
                  </a:lnTo>
                  <a:lnTo>
                    <a:pt x="457" y="48"/>
                  </a:lnTo>
                  <a:lnTo>
                    <a:pt x="466" y="46"/>
                  </a:lnTo>
                  <a:lnTo>
                    <a:pt x="468" y="39"/>
                  </a:lnTo>
                  <a:lnTo>
                    <a:pt x="465" y="29"/>
                  </a:lnTo>
                  <a:lnTo>
                    <a:pt x="456" y="16"/>
                  </a:lnTo>
                  <a:lnTo>
                    <a:pt x="447" y="10"/>
                  </a:lnTo>
                  <a:lnTo>
                    <a:pt x="427" y="10"/>
                  </a:lnTo>
                  <a:lnTo>
                    <a:pt x="408" y="9"/>
                  </a:lnTo>
                  <a:lnTo>
                    <a:pt x="389" y="0"/>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 name="Freeform 31">
              <a:extLst>
                <a:ext uri="{FF2B5EF4-FFF2-40B4-BE49-F238E27FC236}">
                  <a16:creationId xmlns:a16="http://schemas.microsoft.com/office/drawing/2014/main" id="{E4318595-3016-4816-98A4-199737587F77}"/>
                </a:ext>
              </a:extLst>
            </p:cNvPr>
            <p:cNvSpPr>
              <a:spLocks/>
            </p:cNvSpPr>
            <p:nvPr/>
          </p:nvSpPr>
          <p:spPr bwMode="auto">
            <a:xfrm>
              <a:off x="3036735" y="4307040"/>
              <a:ext cx="810629" cy="1081322"/>
            </a:xfrm>
            <a:custGeom>
              <a:avLst/>
              <a:gdLst/>
              <a:ahLst/>
              <a:cxnLst>
                <a:cxn ang="0">
                  <a:pos x="475" y="74"/>
                </a:cxn>
                <a:cxn ang="0">
                  <a:pos x="444" y="34"/>
                </a:cxn>
                <a:cxn ang="0">
                  <a:pos x="418" y="1"/>
                </a:cxn>
                <a:cxn ang="0">
                  <a:pos x="391" y="27"/>
                </a:cxn>
                <a:cxn ang="0">
                  <a:pos x="335" y="73"/>
                </a:cxn>
                <a:cxn ang="0">
                  <a:pos x="266" y="119"/>
                </a:cxn>
                <a:cxn ang="0">
                  <a:pos x="243" y="131"/>
                </a:cxn>
                <a:cxn ang="0">
                  <a:pos x="208" y="144"/>
                </a:cxn>
                <a:cxn ang="0">
                  <a:pos x="196" y="165"/>
                </a:cxn>
                <a:cxn ang="0">
                  <a:pos x="170" y="171"/>
                </a:cxn>
                <a:cxn ang="0">
                  <a:pos x="154" y="204"/>
                </a:cxn>
                <a:cxn ang="0">
                  <a:pos x="127" y="185"/>
                </a:cxn>
                <a:cxn ang="0">
                  <a:pos x="79" y="203"/>
                </a:cxn>
                <a:cxn ang="0">
                  <a:pos x="44" y="219"/>
                </a:cxn>
                <a:cxn ang="0">
                  <a:pos x="15" y="261"/>
                </a:cxn>
                <a:cxn ang="0">
                  <a:pos x="7" y="289"/>
                </a:cxn>
                <a:cxn ang="0">
                  <a:pos x="1" y="329"/>
                </a:cxn>
                <a:cxn ang="0">
                  <a:pos x="26" y="362"/>
                </a:cxn>
                <a:cxn ang="0">
                  <a:pos x="62" y="394"/>
                </a:cxn>
                <a:cxn ang="0">
                  <a:pos x="81" y="429"/>
                </a:cxn>
                <a:cxn ang="0">
                  <a:pos x="61" y="467"/>
                </a:cxn>
                <a:cxn ang="0">
                  <a:pos x="71" y="491"/>
                </a:cxn>
                <a:cxn ang="0">
                  <a:pos x="108" y="496"/>
                </a:cxn>
                <a:cxn ang="0">
                  <a:pos x="157" y="489"/>
                </a:cxn>
                <a:cxn ang="0">
                  <a:pos x="189" y="477"/>
                </a:cxn>
                <a:cxn ang="0">
                  <a:pos x="227" y="481"/>
                </a:cxn>
                <a:cxn ang="0">
                  <a:pos x="266" y="499"/>
                </a:cxn>
                <a:cxn ang="0">
                  <a:pos x="278" y="538"/>
                </a:cxn>
                <a:cxn ang="0">
                  <a:pos x="271" y="557"/>
                </a:cxn>
                <a:cxn ang="0">
                  <a:pos x="281" y="593"/>
                </a:cxn>
                <a:cxn ang="0">
                  <a:pos x="266" y="630"/>
                </a:cxn>
                <a:cxn ang="0">
                  <a:pos x="286" y="653"/>
                </a:cxn>
                <a:cxn ang="0">
                  <a:pos x="304" y="684"/>
                </a:cxn>
                <a:cxn ang="0">
                  <a:pos x="352" y="709"/>
                </a:cxn>
                <a:cxn ang="0">
                  <a:pos x="393" y="694"/>
                </a:cxn>
                <a:cxn ang="0">
                  <a:pos x="432" y="714"/>
                </a:cxn>
                <a:cxn ang="0">
                  <a:pos x="466" y="733"/>
                </a:cxn>
                <a:cxn ang="0">
                  <a:pos x="491" y="737"/>
                </a:cxn>
                <a:cxn ang="0">
                  <a:pos x="525" y="680"/>
                </a:cxn>
                <a:cxn ang="0">
                  <a:pos x="542" y="632"/>
                </a:cxn>
                <a:cxn ang="0">
                  <a:pos x="543" y="609"/>
                </a:cxn>
                <a:cxn ang="0">
                  <a:pos x="560" y="579"/>
                </a:cxn>
                <a:cxn ang="0">
                  <a:pos x="547" y="546"/>
                </a:cxn>
                <a:cxn ang="0">
                  <a:pos x="548" y="520"/>
                </a:cxn>
                <a:cxn ang="0">
                  <a:pos x="531" y="479"/>
                </a:cxn>
                <a:cxn ang="0">
                  <a:pos x="549" y="453"/>
                </a:cxn>
                <a:cxn ang="0">
                  <a:pos x="535" y="421"/>
                </a:cxn>
                <a:cxn ang="0">
                  <a:pos x="541" y="391"/>
                </a:cxn>
                <a:cxn ang="0">
                  <a:pos x="515" y="346"/>
                </a:cxn>
                <a:cxn ang="0">
                  <a:pos x="473" y="336"/>
                </a:cxn>
                <a:cxn ang="0">
                  <a:pos x="420" y="346"/>
                </a:cxn>
                <a:cxn ang="0">
                  <a:pos x="418" y="306"/>
                </a:cxn>
                <a:cxn ang="0">
                  <a:pos x="467" y="268"/>
                </a:cxn>
                <a:cxn ang="0">
                  <a:pos x="482" y="234"/>
                </a:cxn>
                <a:cxn ang="0">
                  <a:pos x="451" y="196"/>
                </a:cxn>
                <a:cxn ang="0">
                  <a:pos x="463" y="165"/>
                </a:cxn>
                <a:cxn ang="0">
                  <a:pos x="489" y="156"/>
                </a:cxn>
                <a:cxn ang="0">
                  <a:pos x="496" y="127"/>
                </a:cxn>
                <a:cxn ang="0">
                  <a:pos x="500" y="96"/>
                </a:cxn>
              </a:cxnLst>
              <a:rect l="0" t="0" r="r" b="b"/>
              <a:pathLst>
                <a:path w="560" h="747">
                  <a:moveTo>
                    <a:pt x="498" y="86"/>
                  </a:moveTo>
                  <a:lnTo>
                    <a:pt x="486" y="87"/>
                  </a:lnTo>
                  <a:lnTo>
                    <a:pt x="475" y="74"/>
                  </a:lnTo>
                  <a:lnTo>
                    <a:pt x="471" y="55"/>
                  </a:lnTo>
                  <a:lnTo>
                    <a:pt x="465" y="44"/>
                  </a:lnTo>
                  <a:lnTo>
                    <a:pt x="444" y="34"/>
                  </a:lnTo>
                  <a:lnTo>
                    <a:pt x="423" y="19"/>
                  </a:lnTo>
                  <a:lnTo>
                    <a:pt x="421" y="13"/>
                  </a:lnTo>
                  <a:lnTo>
                    <a:pt x="418" y="1"/>
                  </a:lnTo>
                  <a:lnTo>
                    <a:pt x="410" y="0"/>
                  </a:lnTo>
                  <a:lnTo>
                    <a:pt x="400" y="9"/>
                  </a:lnTo>
                  <a:lnTo>
                    <a:pt x="391" y="27"/>
                  </a:lnTo>
                  <a:lnTo>
                    <a:pt x="379" y="53"/>
                  </a:lnTo>
                  <a:lnTo>
                    <a:pt x="362" y="60"/>
                  </a:lnTo>
                  <a:lnTo>
                    <a:pt x="335" y="73"/>
                  </a:lnTo>
                  <a:lnTo>
                    <a:pt x="308" y="100"/>
                  </a:lnTo>
                  <a:lnTo>
                    <a:pt x="293" y="105"/>
                  </a:lnTo>
                  <a:lnTo>
                    <a:pt x="266" y="119"/>
                  </a:lnTo>
                  <a:lnTo>
                    <a:pt x="256" y="132"/>
                  </a:lnTo>
                  <a:lnTo>
                    <a:pt x="250" y="135"/>
                  </a:lnTo>
                  <a:lnTo>
                    <a:pt x="243" y="131"/>
                  </a:lnTo>
                  <a:lnTo>
                    <a:pt x="232" y="127"/>
                  </a:lnTo>
                  <a:lnTo>
                    <a:pt x="220" y="132"/>
                  </a:lnTo>
                  <a:lnTo>
                    <a:pt x="208" y="144"/>
                  </a:lnTo>
                  <a:lnTo>
                    <a:pt x="207" y="154"/>
                  </a:lnTo>
                  <a:lnTo>
                    <a:pt x="202" y="163"/>
                  </a:lnTo>
                  <a:lnTo>
                    <a:pt x="196" y="165"/>
                  </a:lnTo>
                  <a:lnTo>
                    <a:pt x="187" y="159"/>
                  </a:lnTo>
                  <a:lnTo>
                    <a:pt x="175" y="161"/>
                  </a:lnTo>
                  <a:lnTo>
                    <a:pt x="170" y="171"/>
                  </a:lnTo>
                  <a:lnTo>
                    <a:pt x="168" y="188"/>
                  </a:lnTo>
                  <a:lnTo>
                    <a:pt x="164" y="201"/>
                  </a:lnTo>
                  <a:lnTo>
                    <a:pt x="154" y="204"/>
                  </a:lnTo>
                  <a:lnTo>
                    <a:pt x="146" y="200"/>
                  </a:lnTo>
                  <a:lnTo>
                    <a:pt x="138" y="190"/>
                  </a:lnTo>
                  <a:lnTo>
                    <a:pt x="127" y="185"/>
                  </a:lnTo>
                  <a:lnTo>
                    <a:pt x="117" y="194"/>
                  </a:lnTo>
                  <a:lnTo>
                    <a:pt x="111" y="204"/>
                  </a:lnTo>
                  <a:lnTo>
                    <a:pt x="79" y="203"/>
                  </a:lnTo>
                  <a:lnTo>
                    <a:pt x="67" y="210"/>
                  </a:lnTo>
                  <a:lnTo>
                    <a:pt x="57" y="212"/>
                  </a:lnTo>
                  <a:lnTo>
                    <a:pt x="44" y="219"/>
                  </a:lnTo>
                  <a:lnTo>
                    <a:pt x="36" y="233"/>
                  </a:lnTo>
                  <a:lnTo>
                    <a:pt x="27" y="246"/>
                  </a:lnTo>
                  <a:lnTo>
                    <a:pt x="15" y="261"/>
                  </a:lnTo>
                  <a:lnTo>
                    <a:pt x="4" y="272"/>
                  </a:lnTo>
                  <a:lnTo>
                    <a:pt x="5" y="282"/>
                  </a:lnTo>
                  <a:lnTo>
                    <a:pt x="7" y="289"/>
                  </a:lnTo>
                  <a:lnTo>
                    <a:pt x="4" y="299"/>
                  </a:lnTo>
                  <a:lnTo>
                    <a:pt x="0" y="315"/>
                  </a:lnTo>
                  <a:lnTo>
                    <a:pt x="1" y="329"/>
                  </a:lnTo>
                  <a:lnTo>
                    <a:pt x="12" y="341"/>
                  </a:lnTo>
                  <a:lnTo>
                    <a:pt x="22" y="348"/>
                  </a:lnTo>
                  <a:lnTo>
                    <a:pt x="26" y="362"/>
                  </a:lnTo>
                  <a:lnTo>
                    <a:pt x="36" y="373"/>
                  </a:lnTo>
                  <a:lnTo>
                    <a:pt x="50" y="388"/>
                  </a:lnTo>
                  <a:lnTo>
                    <a:pt x="62" y="394"/>
                  </a:lnTo>
                  <a:lnTo>
                    <a:pt x="72" y="397"/>
                  </a:lnTo>
                  <a:lnTo>
                    <a:pt x="80" y="411"/>
                  </a:lnTo>
                  <a:lnTo>
                    <a:pt x="81" y="429"/>
                  </a:lnTo>
                  <a:lnTo>
                    <a:pt x="76" y="443"/>
                  </a:lnTo>
                  <a:lnTo>
                    <a:pt x="66" y="456"/>
                  </a:lnTo>
                  <a:lnTo>
                    <a:pt x="61" y="467"/>
                  </a:lnTo>
                  <a:lnTo>
                    <a:pt x="61" y="477"/>
                  </a:lnTo>
                  <a:lnTo>
                    <a:pt x="65" y="486"/>
                  </a:lnTo>
                  <a:lnTo>
                    <a:pt x="71" y="491"/>
                  </a:lnTo>
                  <a:lnTo>
                    <a:pt x="83" y="494"/>
                  </a:lnTo>
                  <a:lnTo>
                    <a:pt x="95" y="496"/>
                  </a:lnTo>
                  <a:lnTo>
                    <a:pt x="108" y="496"/>
                  </a:lnTo>
                  <a:lnTo>
                    <a:pt x="121" y="493"/>
                  </a:lnTo>
                  <a:lnTo>
                    <a:pt x="134" y="490"/>
                  </a:lnTo>
                  <a:lnTo>
                    <a:pt x="157" y="489"/>
                  </a:lnTo>
                  <a:lnTo>
                    <a:pt x="173" y="488"/>
                  </a:lnTo>
                  <a:lnTo>
                    <a:pt x="182" y="483"/>
                  </a:lnTo>
                  <a:lnTo>
                    <a:pt x="189" y="477"/>
                  </a:lnTo>
                  <a:lnTo>
                    <a:pt x="199" y="474"/>
                  </a:lnTo>
                  <a:lnTo>
                    <a:pt x="215" y="476"/>
                  </a:lnTo>
                  <a:lnTo>
                    <a:pt x="227" y="481"/>
                  </a:lnTo>
                  <a:lnTo>
                    <a:pt x="240" y="491"/>
                  </a:lnTo>
                  <a:lnTo>
                    <a:pt x="252" y="495"/>
                  </a:lnTo>
                  <a:lnTo>
                    <a:pt x="266" y="499"/>
                  </a:lnTo>
                  <a:lnTo>
                    <a:pt x="274" y="512"/>
                  </a:lnTo>
                  <a:lnTo>
                    <a:pt x="279" y="525"/>
                  </a:lnTo>
                  <a:lnTo>
                    <a:pt x="278" y="538"/>
                  </a:lnTo>
                  <a:lnTo>
                    <a:pt x="275" y="546"/>
                  </a:lnTo>
                  <a:lnTo>
                    <a:pt x="271" y="550"/>
                  </a:lnTo>
                  <a:lnTo>
                    <a:pt x="271" y="557"/>
                  </a:lnTo>
                  <a:lnTo>
                    <a:pt x="272" y="566"/>
                  </a:lnTo>
                  <a:lnTo>
                    <a:pt x="281" y="578"/>
                  </a:lnTo>
                  <a:lnTo>
                    <a:pt x="281" y="593"/>
                  </a:lnTo>
                  <a:lnTo>
                    <a:pt x="279" y="609"/>
                  </a:lnTo>
                  <a:lnTo>
                    <a:pt x="273" y="620"/>
                  </a:lnTo>
                  <a:lnTo>
                    <a:pt x="266" y="630"/>
                  </a:lnTo>
                  <a:lnTo>
                    <a:pt x="266" y="640"/>
                  </a:lnTo>
                  <a:lnTo>
                    <a:pt x="272" y="649"/>
                  </a:lnTo>
                  <a:lnTo>
                    <a:pt x="286" y="653"/>
                  </a:lnTo>
                  <a:lnTo>
                    <a:pt x="297" y="661"/>
                  </a:lnTo>
                  <a:lnTo>
                    <a:pt x="301" y="673"/>
                  </a:lnTo>
                  <a:lnTo>
                    <a:pt x="304" y="684"/>
                  </a:lnTo>
                  <a:lnTo>
                    <a:pt x="313" y="696"/>
                  </a:lnTo>
                  <a:lnTo>
                    <a:pt x="331" y="705"/>
                  </a:lnTo>
                  <a:lnTo>
                    <a:pt x="352" y="709"/>
                  </a:lnTo>
                  <a:lnTo>
                    <a:pt x="372" y="708"/>
                  </a:lnTo>
                  <a:lnTo>
                    <a:pt x="381" y="701"/>
                  </a:lnTo>
                  <a:lnTo>
                    <a:pt x="393" y="694"/>
                  </a:lnTo>
                  <a:lnTo>
                    <a:pt x="406" y="695"/>
                  </a:lnTo>
                  <a:lnTo>
                    <a:pt x="419" y="705"/>
                  </a:lnTo>
                  <a:lnTo>
                    <a:pt x="432" y="714"/>
                  </a:lnTo>
                  <a:lnTo>
                    <a:pt x="443" y="719"/>
                  </a:lnTo>
                  <a:lnTo>
                    <a:pt x="457" y="723"/>
                  </a:lnTo>
                  <a:lnTo>
                    <a:pt x="466" y="733"/>
                  </a:lnTo>
                  <a:lnTo>
                    <a:pt x="477" y="740"/>
                  </a:lnTo>
                  <a:lnTo>
                    <a:pt x="482" y="747"/>
                  </a:lnTo>
                  <a:lnTo>
                    <a:pt x="491" y="737"/>
                  </a:lnTo>
                  <a:lnTo>
                    <a:pt x="501" y="723"/>
                  </a:lnTo>
                  <a:lnTo>
                    <a:pt x="515" y="704"/>
                  </a:lnTo>
                  <a:lnTo>
                    <a:pt x="525" y="680"/>
                  </a:lnTo>
                  <a:lnTo>
                    <a:pt x="528" y="659"/>
                  </a:lnTo>
                  <a:lnTo>
                    <a:pt x="533" y="637"/>
                  </a:lnTo>
                  <a:lnTo>
                    <a:pt x="542" y="632"/>
                  </a:lnTo>
                  <a:lnTo>
                    <a:pt x="548" y="624"/>
                  </a:lnTo>
                  <a:lnTo>
                    <a:pt x="548" y="615"/>
                  </a:lnTo>
                  <a:lnTo>
                    <a:pt x="543" y="609"/>
                  </a:lnTo>
                  <a:lnTo>
                    <a:pt x="542" y="598"/>
                  </a:lnTo>
                  <a:lnTo>
                    <a:pt x="548" y="590"/>
                  </a:lnTo>
                  <a:lnTo>
                    <a:pt x="560" y="579"/>
                  </a:lnTo>
                  <a:lnTo>
                    <a:pt x="560" y="569"/>
                  </a:lnTo>
                  <a:lnTo>
                    <a:pt x="551" y="558"/>
                  </a:lnTo>
                  <a:lnTo>
                    <a:pt x="547" y="546"/>
                  </a:lnTo>
                  <a:lnTo>
                    <a:pt x="548" y="533"/>
                  </a:lnTo>
                  <a:lnTo>
                    <a:pt x="556" y="526"/>
                  </a:lnTo>
                  <a:lnTo>
                    <a:pt x="548" y="520"/>
                  </a:lnTo>
                  <a:lnTo>
                    <a:pt x="540" y="510"/>
                  </a:lnTo>
                  <a:lnTo>
                    <a:pt x="532" y="496"/>
                  </a:lnTo>
                  <a:lnTo>
                    <a:pt x="531" y="479"/>
                  </a:lnTo>
                  <a:lnTo>
                    <a:pt x="536" y="468"/>
                  </a:lnTo>
                  <a:lnTo>
                    <a:pt x="546" y="459"/>
                  </a:lnTo>
                  <a:lnTo>
                    <a:pt x="549" y="453"/>
                  </a:lnTo>
                  <a:lnTo>
                    <a:pt x="543" y="441"/>
                  </a:lnTo>
                  <a:lnTo>
                    <a:pt x="535" y="432"/>
                  </a:lnTo>
                  <a:lnTo>
                    <a:pt x="535" y="421"/>
                  </a:lnTo>
                  <a:lnTo>
                    <a:pt x="539" y="413"/>
                  </a:lnTo>
                  <a:lnTo>
                    <a:pt x="543" y="402"/>
                  </a:lnTo>
                  <a:lnTo>
                    <a:pt x="541" y="391"/>
                  </a:lnTo>
                  <a:lnTo>
                    <a:pt x="533" y="378"/>
                  </a:lnTo>
                  <a:lnTo>
                    <a:pt x="525" y="363"/>
                  </a:lnTo>
                  <a:lnTo>
                    <a:pt x="515" y="346"/>
                  </a:lnTo>
                  <a:lnTo>
                    <a:pt x="502" y="334"/>
                  </a:lnTo>
                  <a:lnTo>
                    <a:pt x="487" y="331"/>
                  </a:lnTo>
                  <a:lnTo>
                    <a:pt x="473" y="336"/>
                  </a:lnTo>
                  <a:lnTo>
                    <a:pt x="460" y="348"/>
                  </a:lnTo>
                  <a:lnTo>
                    <a:pt x="437" y="351"/>
                  </a:lnTo>
                  <a:lnTo>
                    <a:pt x="420" y="346"/>
                  </a:lnTo>
                  <a:lnTo>
                    <a:pt x="411" y="335"/>
                  </a:lnTo>
                  <a:lnTo>
                    <a:pt x="411" y="321"/>
                  </a:lnTo>
                  <a:lnTo>
                    <a:pt x="418" y="306"/>
                  </a:lnTo>
                  <a:lnTo>
                    <a:pt x="428" y="292"/>
                  </a:lnTo>
                  <a:lnTo>
                    <a:pt x="449" y="278"/>
                  </a:lnTo>
                  <a:lnTo>
                    <a:pt x="467" y="268"/>
                  </a:lnTo>
                  <a:lnTo>
                    <a:pt x="483" y="259"/>
                  </a:lnTo>
                  <a:lnTo>
                    <a:pt x="487" y="246"/>
                  </a:lnTo>
                  <a:lnTo>
                    <a:pt x="482" y="234"/>
                  </a:lnTo>
                  <a:lnTo>
                    <a:pt x="473" y="225"/>
                  </a:lnTo>
                  <a:lnTo>
                    <a:pt x="460" y="210"/>
                  </a:lnTo>
                  <a:lnTo>
                    <a:pt x="451" y="196"/>
                  </a:lnTo>
                  <a:lnTo>
                    <a:pt x="450" y="185"/>
                  </a:lnTo>
                  <a:lnTo>
                    <a:pt x="454" y="169"/>
                  </a:lnTo>
                  <a:lnTo>
                    <a:pt x="463" y="165"/>
                  </a:lnTo>
                  <a:lnTo>
                    <a:pt x="472" y="171"/>
                  </a:lnTo>
                  <a:lnTo>
                    <a:pt x="484" y="168"/>
                  </a:lnTo>
                  <a:lnTo>
                    <a:pt x="489" y="156"/>
                  </a:lnTo>
                  <a:lnTo>
                    <a:pt x="488" y="144"/>
                  </a:lnTo>
                  <a:lnTo>
                    <a:pt x="490" y="135"/>
                  </a:lnTo>
                  <a:lnTo>
                    <a:pt x="496" y="127"/>
                  </a:lnTo>
                  <a:lnTo>
                    <a:pt x="503" y="115"/>
                  </a:lnTo>
                  <a:lnTo>
                    <a:pt x="504" y="104"/>
                  </a:lnTo>
                  <a:lnTo>
                    <a:pt x="500" y="96"/>
                  </a:lnTo>
                  <a:lnTo>
                    <a:pt x="498" y="86"/>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 name="Freeform 32">
              <a:extLst>
                <a:ext uri="{FF2B5EF4-FFF2-40B4-BE49-F238E27FC236}">
                  <a16:creationId xmlns:a16="http://schemas.microsoft.com/office/drawing/2014/main" id="{245C386A-8019-4058-894E-B77815259706}"/>
                </a:ext>
              </a:extLst>
            </p:cNvPr>
            <p:cNvSpPr>
              <a:spLocks/>
            </p:cNvSpPr>
            <p:nvPr/>
          </p:nvSpPr>
          <p:spPr bwMode="auto">
            <a:xfrm>
              <a:off x="3091742" y="4993180"/>
              <a:ext cx="351756" cy="280825"/>
            </a:xfrm>
            <a:custGeom>
              <a:avLst/>
              <a:gdLst/>
              <a:ahLst/>
              <a:cxnLst>
                <a:cxn ang="0">
                  <a:pos x="22" y="16"/>
                </a:cxn>
                <a:cxn ang="0">
                  <a:pos x="3" y="26"/>
                </a:cxn>
                <a:cxn ang="0">
                  <a:pos x="4" y="49"/>
                </a:cxn>
                <a:cxn ang="0">
                  <a:pos x="30" y="55"/>
                </a:cxn>
                <a:cxn ang="0">
                  <a:pos x="50" y="66"/>
                </a:cxn>
                <a:cxn ang="0">
                  <a:pos x="54" y="85"/>
                </a:cxn>
                <a:cxn ang="0">
                  <a:pos x="61" y="116"/>
                </a:cxn>
                <a:cxn ang="0">
                  <a:pos x="84" y="145"/>
                </a:cxn>
                <a:cxn ang="0">
                  <a:pos x="101" y="175"/>
                </a:cxn>
                <a:cxn ang="0">
                  <a:pos x="119" y="165"/>
                </a:cxn>
                <a:cxn ang="0">
                  <a:pos x="132" y="151"/>
                </a:cxn>
                <a:cxn ang="0">
                  <a:pos x="144" y="171"/>
                </a:cxn>
                <a:cxn ang="0">
                  <a:pos x="155" y="187"/>
                </a:cxn>
                <a:cxn ang="0">
                  <a:pos x="170" y="181"/>
                </a:cxn>
                <a:cxn ang="0">
                  <a:pos x="182" y="182"/>
                </a:cxn>
                <a:cxn ang="0">
                  <a:pos x="200" y="194"/>
                </a:cxn>
                <a:cxn ang="0">
                  <a:pos x="226" y="191"/>
                </a:cxn>
                <a:cxn ang="0">
                  <a:pos x="234" y="175"/>
                </a:cxn>
                <a:cxn ang="0">
                  <a:pos x="228" y="156"/>
                </a:cxn>
                <a:cxn ang="0">
                  <a:pos x="241" y="135"/>
                </a:cxn>
                <a:cxn ang="0">
                  <a:pos x="243" y="104"/>
                </a:cxn>
                <a:cxn ang="0">
                  <a:pos x="233" y="83"/>
                </a:cxn>
                <a:cxn ang="0">
                  <a:pos x="237" y="72"/>
                </a:cxn>
                <a:cxn ang="0">
                  <a:pos x="241" y="51"/>
                </a:cxn>
                <a:cxn ang="0">
                  <a:pos x="228" y="25"/>
                </a:cxn>
                <a:cxn ang="0">
                  <a:pos x="202" y="17"/>
                </a:cxn>
                <a:cxn ang="0">
                  <a:pos x="177" y="2"/>
                </a:cxn>
                <a:cxn ang="0">
                  <a:pos x="151" y="3"/>
                </a:cxn>
                <a:cxn ang="0">
                  <a:pos x="135" y="14"/>
                </a:cxn>
                <a:cxn ang="0">
                  <a:pos x="96" y="16"/>
                </a:cxn>
                <a:cxn ang="0">
                  <a:pos x="70" y="22"/>
                </a:cxn>
                <a:cxn ang="0">
                  <a:pos x="45" y="20"/>
                </a:cxn>
                <a:cxn ang="0">
                  <a:pos x="27" y="12"/>
                </a:cxn>
              </a:cxnLst>
              <a:rect l="0" t="0" r="r" b="b"/>
              <a:pathLst>
                <a:path w="243" h="194">
                  <a:moveTo>
                    <a:pt x="27" y="12"/>
                  </a:moveTo>
                  <a:lnTo>
                    <a:pt x="22" y="16"/>
                  </a:lnTo>
                  <a:lnTo>
                    <a:pt x="9" y="21"/>
                  </a:lnTo>
                  <a:lnTo>
                    <a:pt x="3" y="26"/>
                  </a:lnTo>
                  <a:lnTo>
                    <a:pt x="0" y="38"/>
                  </a:lnTo>
                  <a:lnTo>
                    <a:pt x="4" y="49"/>
                  </a:lnTo>
                  <a:lnTo>
                    <a:pt x="18" y="57"/>
                  </a:lnTo>
                  <a:lnTo>
                    <a:pt x="30" y="55"/>
                  </a:lnTo>
                  <a:lnTo>
                    <a:pt x="42" y="58"/>
                  </a:lnTo>
                  <a:lnTo>
                    <a:pt x="50" y="66"/>
                  </a:lnTo>
                  <a:lnTo>
                    <a:pt x="54" y="74"/>
                  </a:lnTo>
                  <a:lnTo>
                    <a:pt x="54" y="85"/>
                  </a:lnTo>
                  <a:lnTo>
                    <a:pt x="52" y="99"/>
                  </a:lnTo>
                  <a:lnTo>
                    <a:pt x="61" y="116"/>
                  </a:lnTo>
                  <a:lnTo>
                    <a:pt x="75" y="133"/>
                  </a:lnTo>
                  <a:lnTo>
                    <a:pt x="84" y="145"/>
                  </a:lnTo>
                  <a:lnTo>
                    <a:pt x="90" y="165"/>
                  </a:lnTo>
                  <a:lnTo>
                    <a:pt x="101" y="175"/>
                  </a:lnTo>
                  <a:lnTo>
                    <a:pt x="111" y="173"/>
                  </a:lnTo>
                  <a:lnTo>
                    <a:pt x="119" y="165"/>
                  </a:lnTo>
                  <a:lnTo>
                    <a:pt x="124" y="152"/>
                  </a:lnTo>
                  <a:lnTo>
                    <a:pt x="132" y="151"/>
                  </a:lnTo>
                  <a:lnTo>
                    <a:pt x="141" y="160"/>
                  </a:lnTo>
                  <a:lnTo>
                    <a:pt x="144" y="171"/>
                  </a:lnTo>
                  <a:lnTo>
                    <a:pt x="148" y="179"/>
                  </a:lnTo>
                  <a:lnTo>
                    <a:pt x="155" y="187"/>
                  </a:lnTo>
                  <a:lnTo>
                    <a:pt x="163" y="187"/>
                  </a:lnTo>
                  <a:lnTo>
                    <a:pt x="170" y="181"/>
                  </a:lnTo>
                  <a:lnTo>
                    <a:pt x="176" y="178"/>
                  </a:lnTo>
                  <a:lnTo>
                    <a:pt x="182" y="182"/>
                  </a:lnTo>
                  <a:lnTo>
                    <a:pt x="187" y="190"/>
                  </a:lnTo>
                  <a:lnTo>
                    <a:pt x="200" y="194"/>
                  </a:lnTo>
                  <a:lnTo>
                    <a:pt x="217" y="194"/>
                  </a:lnTo>
                  <a:lnTo>
                    <a:pt x="226" y="191"/>
                  </a:lnTo>
                  <a:lnTo>
                    <a:pt x="232" y="184"/>
                  </a:lnTo>
                  <a:lnTo>
                    <a:pt x="234" y="175"/>
                  </a:lnTo>
                  <a:lnTo>
                    <a:pt x="228" y="166"/>
                  </a:lnTo>
                  <a:lnTo>
                    <a:pt x="228" y="156"/>
                  </a:lnTo>
                  <a:lnTo>
                    <a:pt x="235" y="146"/>
                  </a:lnTo>
                  <a:lnTo>
                    <a:pt x="241" y="135"/>
                  </a:lnTo>
                  <a:lnTo>
                    <a:pt x="243" y="119"/>
                  </a:lnTo>
                  <a:lnTo>
                    <a:pt x="243" y="104"/>
                  </a:lnTo>
                  <a:lnTo>
                    <a:pt x="234" y="92"/>
                  </a:lnTo>
                  <a:lnTo>
                    <a:pt x="233" y="83"/>
                  </a:lnTo>
                  <a:lnTo>
                    <a:pt x="233" y="76"/>
                  </a:lnTo>
                  <a:lnTo>
                    <a:pt x="237" y="72"/>
                  </a:lnTo>
                  <a:lnTo>
                    <a:pt x="240" y="64"/>
                  </a:lnTo>
                  <a:lnTo>
                    <a:pt x="241" y="51"/>
                  </a:lnTo>
                  <a:lnTo>
                    <a:pt x="236" y="38"/>
                  </a:lnTo>
                  <a:lnTo>
                    <a:pt x="228" y="25"/>
                  </a:lnTo>
                  <a:lnTo>
                    <a:pt x="214" y="21"/>
                  </a:lnTo>
                  <a:lnTo>
                    <a:pt x="202" y="17"/>
                  </a:lnTo>
                  <a:lnTo>
                    <a:pt x="189" y="7"/>
                  </a:lnTo>
                  <a:lnTo>
                    <a:pt x="177" y="2"/>
                  </a:lnTo>
                  <a:lnTo>
                    <a:pt x="161" y="0"/>
                  </a:lnTo>
                  <a:lnTo>
                    <a:pt x="151" y="3"/>
                  </a:lnTo>
                  <a:lnTo>
                    <a:pt x="144" y="9"/>
                  </a:lnTo>
                  <a:lnTo>
                    <a:pt x="135" y="14"/>
                  </a:lnTo>
                  <a:lnTo>
                    <a:pt x="119" y="15"/>
                  </a:lnTo>
                  <a:lnTo>
                    <a:pt x="96" y="16"/>
                  </a:lnTo>
                  <a:lnTo>
                    <a:pt x="83" y="19"/>
                  </a:lnTo>
                  <a:lnTo>
                    <a:pt x="70" y="22"/>
                  </a:lnTo>
                  <a:lnTo>
                    <a:pt x="57" y="22"/>
                  </a:lnTo>
                  <a:lnTo>
                    <a:pt x="45" y="20"/>
                  </a:lnTo>
                  <a:lnTo>
                    <a:pt x="33" y="17"/>
                  </a:lnTo>
                  <a:lnTo>
                    <a:pt x="27" y="12"/>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33">
              <a:extLst>
                <a:ext uri="{FF2B5EF4-FFF2-40B4-BE49-F238E27FC236}">
                  <a16:creationId xmlns:a16="http://schemas.microsoft.com/office/drawing/2014/main" id="{EA6B8D7E-7344-4564-B3ED-427E8A525377}"/>
                </a:ext>
              </a:extLst>
            </p:cNvPr>
            <p:cNvSpPr>
              <a:spLocks/>
            </p:cNvSpPr>
            <p:nvPr/>
          </p:nvSpPr>
          <p:spPr bwMode="auto">
            <a:xfrm>
              <a:off x="3433365" y="4938173"/>
              <a:ext cx="1090007" cy="1207258"/>
            </a:xfrm>
            <a:custGeom>
              <a:avLst/>
              <a:gdLst/>
              <a:ahLst/>
              <a:cxnLst>
                <a:cxn ang="0">
                  <a:pos x="397" y="100"/>
                </a:cxn>
                <a:cxn ang="0">
                  <a:pos x="369" y="141"/>
                </a:cxn>
                <a:cxn ang="0">
                  <a:pos x="366" y="119"/>
                </a:cxn>
                <a:cxn ang="0">
                  <a:pos x="347" y="101"/>
                </a:cxn>
                <a:cxn ang="0">
                  <a:pos x="319" y="67"/>
                </a:cxn>
                <a:cxn ang="0">
                  <a:pos x="274" y="97"/>
                </a:cxn>
                <a:cxn ang="0">
                  <a:pos x="274" y="154"/>
                </a:cxn>
                <a:cxn ang="0">
                  <a:pos x="268" y="196"/>
                </a:cxn>
                <a:cxn ang="0">
                  <a:pos x="227" y="287"/>
                </a:cxn>
                <a:cxn ang="0">
                  <a:pos x="190" y="353"/>
                </a:cxn>
                <a:cxn ang="0">
                  <a:pos x="157" y="389"/>
                </a:cxn>
                <a:cxn ang="0">
                  <a:pos x="99" y="460"/>
                </a:cxn>
                <a:cxn ang="0">
                  <a:pos x="68" y="550"/>
                </a:cxn>
                <a:cxn ang="0">
                  <a:pos x="35" y="627"/>
                </a:cxn>
                <a:cxn ang="0">
                  <a:pos x="24" y="703"/>
                </a:cxn>
                <a:cxn ang="0">
                  <a:pos x="4" y="749"/>
                </a:cxn>
                <a:cxn ang="0">
                  <a:pos x="36" y="787"/>
                </a:cxn>
                <a:cxn ang="0">
                  <a:pos x="59" y="821"/>
                </a:cxn>
                <a:cxn ang="0">
                  <a:pos x="91" y="810"/>
                </a:cxn>
                <a:cxn ang="0">
                  <a:pos x="154" y="804"/>
                </a:cxn>
                <a:cxn ang="0">
                  <a:pos x="196" y="813"/>
                </a:cxn>
                <a:cxn ang="0">
                  <a:pos x="248" y="810"/>
                </a:cxn>
                <a:cxn ang="0">
                  <a:pos x="216" y="786"/>
                </a:cxn>
                <a:cxn ang="0">
                  <a:pos x="256" y="735"/>
                </a:cxn>
                <a:cxn ang="0">
                  <a:pos x="300" y="751"/>
                </a:cxn>
                <a:cxn ang="0">
                  <a:pos x="305" y="775"/>
                </a:cxn>
                <a:cxn ang="0">
                  <a:pos x="323" y="786"/>
                </a:cxn>
                <a:cxn ang="0">
                  <a:pos x="374" y="771"/>
                </a:cxn>
                <a:cxn ang="0">
                  <a:pos x="418" y="795"/>
                </a:cxn>
                <a:cxn ang="0">
                  <a:pos x="393" y="760"/>
                </a:cxn>
                <a:cxn ang="0">
                  <a:pos x="397" y="747"/>
                </a:cxn>
                <a:cxn ang="0">
                  <a:pos x="465" y="784"/>
                </a:cxn>
                <a:cxn ang="0">
                  <a:pos x="514" y="802"/>
                </a:cxn>
                <a:cxn ang="0">
                  <a:pos x="571" y="832"/>
                </a:cxn>
                <a:cxn ang="0">
                  <a:pos x="618" y="803"/>
                </a:cxn>
                <a:cxn ang="0">
                  <a:pos x="641" y="773"/>
                </a:cxn>
                <a:cxn ang="0">
                  <a:pos x="653" y="693"/>
                </a:cxn>
                <a:cxn ang="0">
                  <a:pos x="656" y="607"/>
                </a:cxn>
                <a:cxn ang="0">
                  <a:pos x="636" y="524"/>
                </a:cxn>
                <a:cxn ang="0">
                  <a:pos x="693" y="502"/>
                </a:cxn>
                <a:cxn ang="0">
                  <a:pos x="700" y="445"/>
                </a:cxn>
                <a:cxn ang="0">
                  <a:pos x="727" y="444"/>
                </a:cxn>
                <a:cxn ang="0">
                  <a:pos x="731" y="403"/>
                </a:cxn>
                <a:cxn ang="0">
                  <a:pos x="747" y="338"/>
                </a:cxn>
                <a:cxn ang="0">
                  <a:pos x="693" y="261"/>
                </a:cxn>
                <a:cxn ang="0">
                  <a:pos x="682" y="166"/>
                </a:cxn>
                <a:cxn ang="0">
                  <a:pos x="663" y="107"/>
                </a:cxn>
                <a:cxn ang="0">
                  <a:pos x="626" y="102"/>
                </a:cxn>
                <a:cxn ang="0">
                  <a:pos x="606" y="51"/>
                </a:cxn>
                <a:cxn ang="0">
                  <a:pos x="563" y="13"/>
                </a:cxn>
                <a:cxn ang="0">
                  <a:pos x="471" y="10"/>
                </a:cxn>
                <a:cxn ang="0">
                  <a:pos x="492" y="53"/>
                </a:cxn>
                <a:cxn ang="0">
                  <a:pos x="431" y="73"/>
                </a:cxn>
              </a:cxnLst>
              <a:rect l="0" t="0" r="r" b="b"/>
              <a:pathLst>
                <a:path w="753" h="834">
                  <a:moveTo>
                    <a:pt x="425" y="65"/>
                  </a:moveTo>
                  <a:lnTo>
                    <a:pt x="416" y="77"/>
                  </a:lnTo>
                  <a:lnTo>
                    <a:pt x="411" y="82"/>
                  </a:lnTo>
                  <a:lnTo>
                    <a:pt x="401" y="91"/>
                  </a:lnTo>
                  <a:lnTo>
                    <a:pt x="397" y="100"/>
                  </a:lnTo>
                  <a:lnTo>
                    <a:pt x="396" y="112"/>
                  </a:lnTo>
                  <a:lnTo>
                    <a:pt x="396" y="125"/>
                  </a:lnTo>
                  <a:lnTo>
                    <a:pt x="393" y="136"/>
                  </a:lnTo>
                  <a:lnTo>
                    <a:pt x="384" y="139"/>
                  </a:lnTo>
                  <a:lnTo>
                    <a:pt x="369" y="141"/>
                  </a:lnTo>
                  <a:lnTo>
                    <a:pt x="354" y="140"/>
                  </a:lnTo>
                  <a:lnTo>
                    <a:pt x="350" y="135"/>
                  </a:lnTo>
                  <a:lnTo>
                    <a:pt x="351" y="126"/>
                  </a:lnTo>
                  <a:lnTo>
                    <a:pt x="358" y="121"/>
                  </a:lnTo>
                  <a:lnTo>
                    <a:pt x="366" y="119"/>
                  </a:lnTo>
                  <a:lnTo>
                    <a:pt x="371" y="112"/>
                  </a:lnTo>
                  <a:lnTo>
                    <a:pt x="372" y="106"/>
                  </a:lnTo>
                  <a:lnTo>
                    <a:pt x="367" y="100"/>
                  </a:lnTo>
                  <a:lnTo>
                    <a:pt x="355" y="97"/>
                  </a:lnTo>
                  <a:lnTo>
                    <a:pt x="347" y="101"/>
                  </a:lnTo>
                  <a:lnTo>
                    <a:pt x="335" y="102"/>
                  </a:lnTo>
                  <a:lnTo>
                    <a:pt x="324" y="97"/>
                  </a:lnTo>
                  <a:lnTo>
                    <a:pt x="323" y="91"/>
                  </a:lnTo>
                  <a:lnTo>
                    <a:pt x="322" y="79"/>
                  </a:lnTo>
                  <a:lnTo>
                    <a:pt x="319" y="67"/>
                  </a:lnTo>
                  <a:lnTo>
                    <a:pt x="312" y="65"/>
                  </a:lnTo>
                  <a:lnTo>
                    <a:pt x="303" y="67"/>
                  </a:lnTo>
                  <a:lnTo>
                    <a:pt x="292" y="88"/>
                  </a:lnTo>
                  <a:lnTo>
                    <a:pt x="282" y="90"/>
                  </a:lnTo>
                  <a:lnTo>
                    <a:pt x="274" y="97"/>
                  </a:lnTo>
                  <a:lnTo>
                    <a:pt x="273" y="110"/>
                  </a:lnTo>
                  <a:lnTo>
                    <a:pt x="277" y="122"/>
                  </a:lnTo>
                  <a:lnTo>
                    <a:pt x="286" y="133"/>
                  </a:lnTo>
                  <a:lnTo>
                    <a:pt x="286" y="143"/>
                  </a:lnTo>
                  <a:lnTo>
                    <a:pt x="274" y="154"/>
                  </a:lnTo>
                  <a:lnTo>
                    <a:pt x="268" y="162"/>
                  </a:lnTo>
                  <a:lnTo>
                    <a:pt x="269" y="173"/>
                  </a:lnTo>
                  <a:lnTo>
                    <a:pt x="274" y="179"/>
                  </a:lnTo>
                  <a:lnTo>
                    <a:pt x="274" y="188"/>
                  </a:lnTo>
                  <a:lnTo>
                    <a:pt x="268" y="196"/>
                  </a:lnTo>
                  <a:lnTo>
                    <a:pt x="259" y="201"/>
                  </a:lnTo>
                  <a:lnTo>
                    <a:pt x="254" y="223"/>
                  </a:lnTo>
                  <a:lnTo>
                    <a:pt x="251" y="244"/>
                  </a:lnTo>
                  <a:lnTo>
                    <a:pt x="241" y="268"/>
                  </a:lnTo>
                  <a:lnTo>
                    <a:pt x="227" y="287"/>
                  </a:lnTo>
                  <a:lnTo>
                    <a:pt x="217" y="301"/>
                  </a:lnTo>
                  <a:lnTo>
                    <a:pt x="208" y="311"/>
                  </a:lnTo>
                  <a:lnTo>
                    <a:pt x="201" y="323"/>
                  </a:lnTo>
                  <a:lnTo>
                    <a:pt x="193" y="338"/>
                  </a:lnTo>
                  <a:lnTo>
                    <a:pt x="190" y="353"/>
                  </a:lnTo>
                  <a:lnTo>
                    <a:pt x="189" y="369"/>
                  </a:lnTo>
                  <a:lnTo>
                    <a:pt x="185" y="380"/>
                  </a:lnTo>
                  <a:lnTo>
                    <a:pt x="181" y="383"/>
                  </a:lnTo>
                  <a:lnTo>
                    <a:pt x="168" y="388"/>
                  </a:lnTo>
                  <a:lnTo>
                    <a:pt x="157" y="389"/>
                  </a:lnTo>
                  <a:lnTo>
                    <a:pt x="147" y="396"/>
                  </a:lnTo>
                  <a:lnTo>
                    <a:pt x="135" y="410"/>
                  </a:lnTo>
                  <a:lnTo>
                    <a:pt x="118" y="427"/>
                  </a:lnTo>
                  <a:lnTo>
                    <a:pt x="107" y="445"/>
                  </a:lnTo>
                  <a:lnTo>
                    <a:pt x="99" y="460"/>
                  </a:lnTo>
                  <a:lnTo>
                    <a:pt x="92" y="483"/>
                  </a:lnTo>
                  <a:lnTo>
                    <a:pt x="86" y="501"/>
                  </a:lnTo>
                  <a:lnTo>
                    <a:pt x="78" y="514"/>
                  </a:lnTo>
                  <a:lnTo>
                    <a:pt x="70" y="530"/>
                  </a:lnTo>
                  <a:lnTo>
                    <a:pt x="68" y="550"/>
                  </a:lnTo>
                  <a:lnTo>
                    <a:pt x="67" y="561"/>
                  </a:lnTo>
                  <a:lnTo>
                    <a:pt x="60" y="576"/>
                  </a:lnTo>
                  <a:lnTo>
                    <a:pt x="48" y="595"/>
                  </a:lnTo>
                  <a:lnTo>
                    <a:pt x="39" y="611"/>
                  </a:lnTo>
                  <a:lnTo>
                    <a:pt x="35" y="627"/>
                  </a:lnTo>
                  <a:lnTo>
                    <a:pt x="33" y="638"/>
                  </a:lnTo>
                  <a:lnTo>
                    <a:pt x="32" y="669"/>
                  </a:lnTo>
                  <a:lnTo>
                    <a:pt x="32" y="683"/>
                  </a:lnTo>
                  <a:lnTo>
                    <a:pt x="29" y="694"/>
                  </a:lnTo>
                  <a:lnTo>
                    <a:pt x="24" y="703"/>
                  </a:lnTo>
                  <a:lnTo>
                    <a:pt x="12" y="709"/>
                  </a:lnTo>
                  <a:lnTo>
                    <a:pt x="4" y="715"/>
                  </a:lnTo>
                  <a:lnTo>
                    <a:pt x="0" y="725"/>
                  </a:lnTo>
                  <a:lnTo>
                    <a:pt x="2" y="736"/>
                  </a:lnTo>
                  <a:lnTo>
                    <a:pt x="4" y="749"/>
                  </a:lnTo>
                  <a:lnTo>
                    <a:pt x="7" y="760"/>
                  </a:lnTo>
                  <a:lnTo>
                    <a:pt x="10" y="775"/>
                  </a:lnTo>
                  <a:lnTo>
                    <a:pt x="14" y="785"/>
                  </a:lnTo>
                  <a:lnTo>
                    <a:pt x="23" y="788"/>
                  </a:lnTo>
                  <a:lnTo>
                    <a:pt x="36" y="787"/>
                  </a:lnTo>
                  <a:lnTo>
                    <a:pt x="43" y="785"/>
                  </a:lnTo>
                  <a:lnTo>
                    <a:pt x="51" y="788"/>
                  </a:lnTo>
                  <a:lnTo>
                    <a:pt x="56" y="799"/>
                  </a:lnTo>
                  <a:lnTo>
                    <a:pt x="56" y="811"/>
                  </a:lnTo>
                  <a:lnTo>
                    <a:pt x="59" y="821"/>
                  </a:lnTo>
                  <a:lnTo>
                    <a:pt x="66" y="826"/>
                  </a:lnTo>
                  <a:lnTo>
                    <a:pt x="74" y="824"/>
                  </a:lnTo>
                  <a:lnTo>
                    <a:pt x="79" y="818"/>
                  </a:lnTo>
                  <a:lnTo>
                    <a:pt x="84" y="811"/>
                  </a:lnTo>
                  <a:lnTo>
                    <a:pt x="91" y="810"/>
                  </a:lnTo>
                  <a:lnTo>
                    <a:pt x="99" y="813"/>
                  </a:lnTo>
                  <a:lnTo>
                    <a:pt x="108" y="816"/>
                  </a:lnTo>
                  <a:lnTo>
                    <a:pt x="127" y="816"/>
                  </a:lnTo>
                  <a:lnTo>
                    <a:pt x="142" y="815"/>
                  </a:lnTo>
                  <a:lnTo>
                    <a:pt x="154" y="804"/>
                  </a:lnTo>
                  <a:lnTo>
                    <a:pt x="159" y="795"/>
                  </a:lnTo>
                  <a:lnTo>
                    <a:pt x="167" y="791"/>
                  </a:lnTo>
                  <a:lnTo>
                    <a:pt x="180" y="793"/>
                  </a:lnTo>
                  <a:lnTo>
                    <a:pt x="188" y="802"/>
                  </a:lnTo>
                  <a:lnTo>
                    <a:pt x="196" y="813"/>
                  </a:lnTo>
                  <a:lnTo>
                    <a:pt x="206" y="818"/>
                  </a:lnTo>
                  <a:lnTo>
                    <a:pt x="214" y="820"/>
                  </a:lnTo>
                  <a:lnTo>
                    <a:pt x="235" y="819"/>
                  </a:lnTo>
                  <a:lnTo>
                    <a:pt x="246" y="817"/>
                  </a:lnTo>
                  <a:lnTo>
                    <a:pt x="248" y="810"/>
                  </a:lnTo>
                  <a:lnTo>
                    <a:pt x="247" y="803"/>
                  </a:lnTo>
                  <a:lnTo>
                    <a:pt x="238" y="797"/>
                  </a:lnTo>
                  <a:lnTo>
                    <a:pt x="227" y="797"/>
                  </a:lnTo>
                  <a:lnTo>
                    <a:pt x="219" y="794"/>
                  </a:lnTo>
                  <a:lnTo>
                    <a:pt x="216" y="786"/>
                  </a:lnTo>
                  <a:lnTo>
                    <a:pt x="218" y="777"/>
                  </a:lnTo>
                  <a:lnTo>
                    <a:pt x="229" y="765"/>
                  </a:lnTo>
                  <a:lnTo>
                    <a:pt x="243" y="751"/>
                  </a:lnTo>
                  <a:lnTo>
                    <a:pt x="250" y="741"/>
                  </a:lnTo>
                  <a:lnTo>
                    <a:pt x="256" y="735"/>
                  </a:lnTo>
                  <a:lnTo>
                    <a:pt x="264" y="735"/>
                  </a:lnTo>
                  <a:lnTo>
                    <a:pt x="271" y="741"/>
                  </a:lnTo>
                  <a:lnTo>
                    <a:pt x="277" y="746"/>
                  </a:lnTo>
                  <a:lnTo>
                    <a:pt x="288" y="749"/>
                  </a:lnTo>
                  <a:lnTo>
                    <a:pt x="300" y="751"/>
                  </a:lnTo>
                  <a:lnTo>
                    <a:pt x="310" y="752"/>
                  </a:lnTo>
                  <a:lnTo>
                    <a:pt x="317" y="758"/>
                  </a:lnTo>
                  <a:lnTo>
                    <a:pt x="317" y="763"/>
                  </a:lnTo>
                  <a:lnTo>
                    <a:pt x="311" y="771"/>
                  </a:lnTo>
                  <a:lnTo>
                    <a:pt x="305" y="775"/>
                  </a:lnTo>
                  <a:lnTo>
                    <a:pt x="300" y="781"/>
                  </a:lnTo>
                  <a:lnTo>
                    <a:pt x="298" y="792"/>
                  </a:lnTo>
                  <a:lnTo>
                    <a:pt x="305" y="797"/>
                  </a:lnTo>
                  <a:lnTo>
                    <a:pt x="316" y="794"/>
                  </a:lnTo>
                  <a:lnTo>
                    <a:pt x="323" y="786"/>
                  </a:lnTo>
                  <a:lnTo>
                    <a:pt x="326" y="777"/>
                  </a:lnTo>
                  <a:lnTo>
                    <a:pt x="330" y="772"/>
                  </a:lnTo>
                  <a:lnTo>
                    <a:pt x="341" y="771"/>
                  </a:lnTo>
                  <a:lnTo>
                    <a:pt x="361" y="773"/>
                  </a:lnTo>
                  <a:lnTo>
                    <a:pt x="374" y="771"/>
                  </a:lnTo>
                  <a:lnTo>
                    <a:pt x="380" y="768"/>
                  </a:lnTo>
                  <a:lnTo>
                    <a:pt x="390" y="771"/>
                  </a:lnTo>
                  <a:lnTo>
                    <a:pt x="397" y="778"/>
                  </a:lnTo>
                  <a:lnTo>
                    <a:pt x="406" y="787"/>
                  </a:lnTo>
                  <a:lnTo>
                    <a:pt x="418" y="795"/>
                  </a:lnTo>
                  <a:lnTo>
                    <a:pt x="426" y="799"/>
                  </a:lnTo>
                  <a:lnTo>
                    <a:pt x="427" y="789"/>
                  </a:lnTo>
                  <a:lnTo>
                    <a:pt x="419" y="780"/>
                  </a:lnTo>
                  <a:lnTo>
                    <a:pt x="408" y="771"/>
                  </a:lnTo>
                  <a:lnTo>
                    <a:pt x="393" y="760"/>
                  </a:lnTo>
                  <a:lnTo>
                    <a:pt x="382" y="754"/>
                  </a:lnTo>
                  <a:lnTo>
                    <a:pt x="376" y="745"/>
                  </a:lnTo>
                  <a:lnTo>
                    <a:pt x="380" y="739"/>
                  </a:lnTo>
                  <a:lnTo>
                    <a:pt x="392" y="741"/>
                  </a:lnTo>
                  <a:lnTo>
                    <a:pt x="397" y="747"/>
                  </a:lnTo>
                  <a:lnTo>
                    <a:pt x="408" y="758"/>
                  </a:lnTo>
                  <a:lnTo>
                    <a:pt x="421" y="767"/>
                  </a:lnTo>
                  <a:lnTo>
                    <a:pt x="431" y="776"/>
                  </a:lnTo>
                  <a:lnTo>
                    <a:pt x="450" y="783"/>
                  </a:lnTo>
                  <a:lnTo>
                    <a:pt x="465" y="784"/>
                  </a:lnTo>
                  <a:lnTo>
                    <a:pt x="474" y="788"/>
                  </a:lnTo>
                  <a:lnTo>
                    <a:pt x="481" y="794"/>
                  </a:lnTo>
                  <a:lnTo>
                    <a:pt x="489" y="797"/>
                  </a:lnTo>
                  <a:lnTo>
                    <a:pt x="504" y="797"/>
                  </a:lnTo>
                  <a:lnTo>
                    <a:pt x="514" y="802"/>
                  </a:lnTo>
                  <a:lnTo>
                    <a:pt x="526" y="816"/>
                  </a:lnTo>
                  <a:lnTo>
                    <a:pt x="533" y="824"/>
                  </a:lnTo>
                  <a:lnTo>
                    <a:pt x="547" y="832"/>
                  </a:lnTo>
                  <a:lnTo>
                    <a:pt x="558" y="834"/>
                  </a:lnTo>
                  <a:lnTo>
                    <a:pt x="571" y="832"/>
                  </a:lnTo>
                  <a:lnTo>
                    <a:pt x="583" y="826"/>
                  </a:lnTo>
                  <a:lnTo>
                    <a:pt x="588" y="817"/>
                  </a:lnTo>
                  <a:lnTo>
                    <a:pt x="595" y="802"/>
                  </a:lnTo>
                  <a:lnTo>
                    <a:pt x="606" y="793"/>
                  </a:lnTo>
                  <a:lnTo>
                    <a:pt x="618" y="803"/>
                  </a:lnTo>
                  <a:lnTo>
                    <a:pt x="631" y="810"/>
                  </a:lnTo>
                  <a:lnTo>
                    <a:pt x="648" y="803"/>
                  </a:lnTo>
                  <a:lnTo>
                    <a:pt x="653" y="791"/>
                  </a:lnTo>
                  <a:lnTo>
                    <a:pt x="650" y="780"/>
                  </a:lnTo>
                  <a:lnTo>
                    <a:pt x="641" y="773"/>
                  </a:lnTo>
                  <a:lnTo>
                    <a:pt x="641" y="761"/>
                  </a:lnTo>
                  <a:lnTo>
                    <a:pt x="649" y="753"/>
                  </a:lnTo>
                  <a:lnTo>
                    <a:pt x="650" y="732"/>
                  </a:lnTo>
                  <a:lnTo>
                    <a:pt x="655" y="717"/>
                  </a:lnTo>
                  <a:lnTo>
                    <a:pt x="653" y="693"/>
                  </a:lnTo>
                  <a:lnTo>
                    <a:pt x="651" y="675"/>
                  </a:lnTo>
                  <a:lnTo>
                    <a:pt x="645" y="655"/>
                  </a:lnTo>
                  <a:lnTo>
                    <a:pt x="648" y="640"/>
                  </a:lnTo>
                  <a:lnTo>
                    <a:pt x="654" y="625"/>
                  </a:lnTo>
                  <a:lnTo>
                    <a:pt x="656" y="607"/>
                  </a:lnTo>
                  <a:lnTo>
                    <a:pt x="652" y="589"/>
                  </a:lnTo>
                  <a:lnTo>
                    <a:pt x="645" y="569"/>
                  </a:lnTo>
                  <a:lnTo>
                    <a:pt x="634" y="552"/>
                  </a:lnTo>
                  <a:lnTo>
                    <a:pt x="629" y="536"/>
                  </a:lnTo>
                  <a:lnTo>
                    <a:pt x="636" y="524"/>
                  </a:lnTo>
                  <a:lnTo>
                    <a:pt x="649" y="526"/>
                  </a:lnTo>
                  <a:lnTo>
                    <a:pt x="661" y="528"/>
                  </a:lnTo>
                  <a:lnTo>
                    <a:pt x="669" y="526"/>
                  </a:lnTo>
                  <a:lnTo>
                    <a:pt x="679" y="514"/>
                  </a:lnTo>
                  <a:lnTo>
                    <a:pt x="693" y="502"/>
                  </a:lnTo>
                  <a:lnTo>
                    <a:pt x="704" y="498"/>
                  </a:lnTo>
                  <a:lnTo>
                    <a:pt x="715" y="486"/>
                  </a:lnTo>
                  <a:lnTo>
                    <a:pt x="715" y="473"/>
                  </a:lnTo>
                  <a:lnTo>
                    <a:pt x="709" y="455"/>
                  </a:lnTo>
                  <a:lnTo>
                    <a:pt x="700" y="445"/>
                  </a:lnTo>
                  <a:lnTo>
                    <a:pt x="696" y="431"/>
                  </a:lnTo>
                  <a:lnTo>
                    <a:pt x="698" y="420"/>
                  </a:lnTo>
                  <a:lnTo>
                    <a:pt x="707" y="418"/>
                  </a:lnTo>
                  <a:lnTo>
                    <a:pt x="717" y="433"/>
                  </a:lnTo>
                  <a:lnTo>
                    <a:pt x="727" y="444"/>
                  </a:lnTo>
                  <a:lnTo>
                    <a:pt x="744" y="447"/>
                  </a:lnTo>
                  <a:lnTo>
                    <a:pt x="753" y="439"/>
                  </a:lnTo>
                  <a:lnTo>
                    <a:pt x="750" y="426"/>
                  </a:lnTo>
                  <a:lnTo>
                    <a:pt x="738" y="415"/>
                  </a:lnTo>
                  <a:lnTo>
                    <a:pt x="731" y="403"/>
                  </a:lnTo>
                  <a:lnTo>
                    <a:pt x="731" y="391"/>
                  </a:lnTo>
                  <a:lnTo>
                    <a:pt x="737" y="382"/>
                  </a:lnTo>
                  <a:lnTo>
                    <a:pt x="746" y="369"/>
                  </a:lnTo>
                  <a:lnTo>
                    <a:pt x="748" y="355"/>
                  </a:lnTo>
                  <a:lnTo>
                    <a:pt x="747" y="338"/>
                  </a:lnTo>
                  <a:lnTo>
                    <a:pt x="744" y="326"/>
                  </a:lnTo>
                  <a:lnTo>
                    <a:pt x="735" y="316"/>
                  </a:lnTo>
                  <a:lnTo>
                    <a:pt x="726" y="300"/>
                  </a:lnTo>
                  <a:lnTo>
                    <a:pt x="711" y="278"/>
                  </a:lnTo>
                  <a:lnTo>
                    <a:pt x="693" y="261"/>
                  </a:lnTo>
                  <a:lnTo>
                    <a:pt x="681" y="248"/>
                  </a:lnTo>
                  <a:lnTo>
                    <a:pt x="675" y="237"/>
                  </a:lnTo>
                  <a:lnTo>
                    <a:pt x="674" y="215"/>
                  </a:lnTo>
                  <a:lnTo>
                    <a:pt x="678" y="187"/>
                  </a:lnTo>
                  <a:lnTo>
                    <a:pt x="682" y="166"/>
                  </a:lnTo>
                  <a:lnTo>
                    <a:pt x="689" y="149"/>
                  </a:lnTo>
                  <a:lnTo>
                    <a:pt x="690" y="125"/>
                  </a:lnTo>
                  <a:lnTo>
                    <a:pt x="686" y="111"/>
                  </a:lnTo>
                  <a:lnTo>
                    <a:pt x="675" y="105"/>
                  </a:lnTo>
                  <a:lnTo>
                    <a:pt x="663" y="107"/>
                  </a:lnTo>
                  <a:lnTo>
                    <a:pt x="651" y="118"/>
                  </a:lnTo>
                  <a:lnTo>
                    <a:pt x="642" y="123"/>
                  </a:lnTo>
                  <a:lnTo>
                    <a:pt x="633" y="121"/>
                  </a:lnTo>
                  <a:lnTo>
                    <a:pt x="627" y="112"/>
                  </a:lnTo>
                  <a:lnTo>
                    <a:pt x="626" y="102"/>
                  </a:lnTo>
                  <a:lnTo>
                    <a:pt x="619" y="93"/>
                  </a:lnTo>
                  <a:lnTo>
                    <a:pt x="611" y="84"/>
                  </a:lnTo>
                  <a:lnTo>
                    <a:pt x="607" y="76"/>
                  </a:lnTo>
                  <a:lnTo>
                    <a:pt x="607" y="64"/>
                  </a:lnTo>
                  <a:lnTo>
                    <a:pt x="606" y="51"/>
                  </a:lnTo>
                  <a:lnTo>
                    <a:pt x="597" y="44"/>
                  </a:lnTo>
                  <a:lnTo>
                    <a:pt x="586" y="42"/>
                  </a:lnTo>
                  <a:lnTo>
                    <a:pt x="576" y="36"/>
                  </a:lnTo>
                  <a:lnTo>
                    <a:pt x="566" y="23"/>
                  </a:lnTo>
                  <a:lnTo>
                    <a:pt x="563" y="13"/>
                  </a:lnTo>
                  <a:lnTo>
                    <a:pt x="550" y="3"/>
                  </a:lnTo>
                  <a:lnTo>
                    <a:pt x="524" y="0"/>
                  </a:lnTo>
                  <a:lnTo>
                    <a:pt x="501" y="1"/>
                  </a:lnTo>
                  <a:lnTo>
                    <a:pt x="481" y="2"/>
                  </a:lnTo>
                  <a:lnTo>
                    <a:pt x="471" y="10"/>
                  </a:lnTo>
                  <a:lnTo>
                    <a:pt x="471" y="17"/>
                  </a:lnTo>
                  <a:lnTo>
                    <a:pt x="483" y="28"/>
                  </a:lnTo>
                  <a:lnTo>
                    <a:pt x="498" y="39"/>
                  </a:lnTo>
                  <a:lnTo>
                    <a:pt x="498" y="47"/>
                  </a:lnTo>
                  <a:lnTo>
                    <a:pt x="492" y="53"/>
                  </a:lnTo>
                  <a:lnTo>
                    <a:pt x="481" y="55"/>
                  </a:lnTo>
                  <a:lnTo>
                    <a:pt x="470" y="61"/>
                  </a:lnTo>
                  <a:lnTo>
                    <a:pt x="458" y="68"/>
                  </a:lnTo>
                  <a:lnTo>
                    <a:pt x="446" y="74"/>
                  </a:lnTo>
                  <a:lnTo>
                    <a:pt x="431" y="73"/>
                  </a:lnTo>
                  <a:lnTo>
                    <a:pt x="425" y="65"/>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34">
              <a:extLst>
                <a:ext uri="{FF2B5EF4-FFF2-40B4-BE49-F238E27FC236}">
                  <a16:creationId xmlns:a16="http://schemas.microsoft.com/office/drawing/2014/main" id="{EA45CA45-6A3C-41DE-8681-C31153506EB9}"/>
                </a:ext>
              </a:extLst>
            </p:cNvPr>
            <p:cNvSpPr>
              <a:spLocks/>
            </p:cNvSpPr>
            <p:nvPr/>
          </p:nvSpPr>
          <p:spPr bwMode="auto">
            <a:xfrm>
              <a:off x="4022518" y="4521278"/>
              <a:ext cx="1684951" cy="1790622"/>
            </a:xfrm>
            <a:custGeom>
              <a:avLst/>
              <a:gdLst/>
              <a:ahLst/>
              <a:cxnLst>
                <a:cxn ang="0">
                  <a:pos x="74" y="343"/>
                </a:cxn>
                <a:cxn ang="0">
                  <a:pos x="64" y="298"/>
                </a:cxn>
                <a:cxn ang="0">
                  <a:pos x="160" y="313"/>
                </a:cxn>
                <a:cxn ang="0">
                  <a:pos x="200" y="364"/>
                </a:cxn>
                <a:cxn ang="0">
                  <a:pos x="235" y="411"/>
                </a:cxn>
                <a:cxn ang="0">
                  <a:pos x="282" y="437"/>
                </a:cxn>
                <a:cxn ang="0">
                  <a:pos x="286" y="549"/>
                </a:cxn>
                <a:cxn ang="0">
                  <a:pos x="341" y="643"/>
                </a:cxn>
                <a:cxn ang="0">
                  <a:pos x="343" y="714"/>
                </a:cxn>
                <a:cxn ang="0">
                  <a:pos x="291" y="708"/>
                </a:cxn>
                <a:cxn ang="0">
                  <a:pos x="297" y="786"/>
                </a:cxn>
                <a:cxn ang="0">
                  <a:pos x="229" y="812"/>
                </a:cxn>
                <a:cxn ang="0">
                  <a:pos x="247" y="913"/>
                </a:cxn>
                <a:cxn ang="0">
                  <a:pos x="243" y="1020"/>
                </a:cxn>
                <a:cxn ang="0">
                  <a:pos x="241" y="1091"/>
                </a:cxn>
                <a:cxn ang="0">
                  <a:pos x="176" y="1114"/>
                </a:cxn>
                <a:cxn ang="0">
                  <a:pos x="234" y="1163"/>
                </a:cxn>
                <a:cxn ang="0">
                  <a:pos x="273" y="1196"/>
                </a:cxn>
                <a:cxn ang="0">
                  <a:pos x="286" y="1235"/>
                </a:cxn>
                <a:cxn ang="0">
                  <a:pos x="310" y="1167"/>
                </a:cxn>
                <a:cxn ang="0">
                  <a:pos x="340" y="1109"/>
                </a:cxn>
                <a:cxn ang="0">
                  <a:pos x="392" y="1135"/>
                </a:cxn>
                <a:cxn ang="0">
                  <a:pos x="453" y="1164"/>
                </a:cxn>
                <a:cxn ang="0">
                  <a:pos x="500" y="1188"/>
                </a:cxn>
                <a:cxn ang="0">
                  <a:pos x="574" y="1164"/>
                </a:cxn>
                <a:cxn ang="0">
                  <a:pos x="665" y="1123"/>
                </a:cxn>
                <a:cxn ang="0">
                  <a:pos x="776" y="1110"/>
                </a:cxn>
                <a:cxn ang="0">
                  <a:pos x="824" y="1096"/>
                </a:cxn>
                <a:cxn ang="0">
                  <a:pos x="879" y="1106"/>
                </a:cxn>
                <a:cxn ang="0">
                  <a:pos x="927" y="1096"/>
                </a:cxn>
                <a:cxn ang="0">
                  <a:pos x="942" y="1138"/>
                </a:cxn>
                <a:cxn ang="0">
                  <a:pos x="1001" y="1165"/>
                </a:cxn>
                <a:cxn ang="0">
                  <a:pos x="971" y="1084"/>
                </a:cxn>
                <a:cxn ang="0">
                  <a:pos x="992" y="1010"/>
                </a:cxn>
                <a:cxn ang="0">
                  <a:pos x="944" y="970"/>
                </a:cxn>
                <a:cxn ang="0">
                  <a:pos x="956" y="901"/>
                </a:cxn>
                <a:cxn ang="0">
                  <a:pos x="1003" y="868"/>
                </a:cxn>
                <a:cxn ang="0">
                  <a:pos x="1088" y="800"/>
                </a:cxn>
                <a:cxn ang="0">
                  <a:pos x="1160" y="743"/>
                </a:cxn>
                <a:cxn ang="0">
                  <a:pos x="1070" y="616"/>
                </a:cxn>
                <a:cxn ang="0">
                  <a:pos x="1015" y="553"/>
                </a:cxn>
                <a:cxn ang="0">
                  <a:pos x="907" y="462"/>
                </a:cxn>
                <a:cxn ang="0">
                  <a:pos x="825" y="315"/>
                </a:cxn>
                <a:cxn ang="0">
                  <a:pos x="782" y="178"/>
                </a:cxn>
                <a:cxn ang="0">
                  <a:pos x="720" y="75"/>
                </a:cxn>
                <a:cxn ang="0">
                  <a:pos x="602" y="67"/>
                </a:cxn>
                <a:cxn ang="0">
                  <a:pos x="551" y="49"/>
                </a:cxn>
                <a:cxn ang="0">
                  <a:pos x="501" y="81"/>
                </a:cxn>
                <a:cxn ang="0">
                  <a:pos x="423" y="85"/>
                </a:cxn>
                <a:cxn ang="0">
                  <a:pos x="393" y="105"/>
                </a:cxn>
                <a:cxn ang="0">
                  <a:pos x="318" y="20"/>
                </a:cxn>
                <a:cxn ang="0">
                  <a:pos x="258" y="10"/>
                </a:cxn>
                <a:cxn ang="0">
                  <a:pos x="214" y="65"/>
                </a:cxn>
                <a:cxn ang="0">
                  <a:pos x="185" y="81"/>
                </a:cxn>
                <a:cxn ang="0">
                  <a:pos x="178" y="132"/>
                </a:cxn>
                <a:cxn ang="0">
                  <a:pos x="122" y="131"/>
                </a:cxn>
                <a:cxn ang="0">
                  <a:pos x="104" y="189"/>
                </a:cxn>
                <a:cxn ang="0">
                  <a:pos x="61" y="171"/>
                </a:cxn>
                <a:cxn ang="0">
                  <a:pos x="24" y="179"/>
                </a:cxn>
                <a:cxn ang="0">
                  <a:pos x="6" y="247"/>
                </a:cxn>
                <a:cxn ang="0">
                  <a:pos x="21" y="335"/>
                </a:cxn>
              </a:cxnLst>
              <a:rect l="0" t="0" r="r" b="b"/>
              <a:pathLst>
                <a:path w="1164" h="1237">
                  <a:moveTo>
                    <a:pt x="18" y="353"/>
                  </a:moveTo>
                  <a:lnTo>
                    <a:pt x="24" y="361"/>
                  </a:lnTo>
                  <a:lnTo>
                    <a:pt x="39" y="362"/>
                  </a:lnTo>
                  <a:lnTo>
                    <a:pt x="51" y="356"/>
                  </a:lnTo>
                  <a:lnTo>
                    <a:pt x="63" y="349"/>
                  </a:lnTo>
                  <a:lnTo>
                    <a:pt x="74" y="343"/>
                  </a:lnTo>
                  <a:lnTo>
                    <a:pt x="85" y="341"/>
                  </a:lnTo>
                  <a:lnTo>
                    <a:pt x="91" y="335"/>
                  </a:lnTo>
                  <a:lnTo>
                    <a:pt x="91" y="327"/>
                  </a:lnTo>
                  <a:lnTo>
                    <a:pt x="76" y="316"/>
                  </a:lnTo>
                  <a:lnTo>
                    <a:pt x="64" y="305"/>
                  </a:lnTo>
                  <a:lnTo>
                    <a:pt x="64" y="298"/>
                  </a:lnTo>
                  <a:lnTo>
                    <a:pt x="74" y="290"/>
                  </a:lnTo>
                  <a:lnTo>
                    <a:pt x="94" y="289"/>
                  </a:lnTo>
                  <a:lnTo>
                    <a:pt x="117" y="288"/>
                  </a:lnTo>
                  <a:lnTo>
                    <a:pt x="143" y="291"/>
                  </a:lnTo>
                  <a:lnTo>
                    <a:pt x="156" y="301"/>
                  </a:lnTo>
                  <a:lnTo>
                    <a:pt x="160" y="313"/>
                  </a:lnTo>
                  <a:lnTo>
                    <a:pt x="169" y="324"/>
                  </a:lnTo>
                  <a:lnTo>
                    <a:pt x="179" y="330"/>
                  </a:lnTo>
                  <a:lnTo>
                    <a:pt x="190" y="332"/>
                  </a:lnTo>
                  <a:lnTo>
                    <a:pt x="199" y="339"/>
                  </a:lnTo>
                  <a:lnTo>
                    <a:pt x="200" y="352"/>
                  </a:lnTo>
                  <a:lnTo>
                    <a:pt x="200" y="364"/>
                  </a:lnTo>
                  <a:lnTo>
                    <a:pt x="204" y="372"/>
                  </a:lnTo>
                  <a:lnTo>
                    <a:pt x="212" y="381"/>
                  </a:lnTo>
                  <a:lnTo>
                    <a:pt x="219" y="390"/>
                  </a:lnTo>
                  <a:lnTo>
                    <a:pt x="220" y="400"/>
                  </a:lnTo>
                  <a:lnTo>
                    <a:pt x="226" y="409"/>
                  </a:lnTo>
                  <a:lnTo>
                    <a:pt x="235" y="411"/>
                  </a:lnTo>
                  <a:lnTo>
                    <a:pt x="244" y="406"/>
                  </a:lnTo>
                  <a:lnTo>
                    <a:pt x="256" y="395"/>
                  </a:lnTo>
                  <a:lnTo>
                    <a:pt x="268" y="393"/>
                  </a:lnTo>
                  <a:lnTo>
                    <a:pt x="279" y="399"/>
                  </a:lnTo>
                  <a:lnTo>
                    <a:pt x="283" y="413"/>
                  </a:lnTo>
                  <a:lnTo>
                    <a:pt x="282" y="437"/>
                  </a:lnTo>
                  <a:lnTo>
                    <a:pt x="275" y="454"/>
                  </a:lnTo>
                  <a:lnTo>
                    <a:pt x="271" y="475"/>
                  </a:lnTo>
                  <a:lnTo>
                    <a:pt x="267" y="503"/>
                  </a:lnTo>
                  <a:lnTo>
                    <a:pt x="268" y="525"/>
                  </a:lnTo>
                  <a:lnTo>
                    <a:pt x="274" y="536"/>
                  </a:lnTo>
                  <a:lnTo>
                    <a:pt x="286" y="549"/>
                  </a:lnTo>
                  <a:lnTo>
                    <a:pt x="304" y="566"/>
                  </a:lnTo>
                  <a:lnTo>
                    <a:pt x="319" y="588"/>
                  </a:lnTo>
                  <a:lnTo>
                    <a:pt x="328" y="604"/>
                  </a:lnTo>
                  <a:lnTo>
                    <a:pt x="337" y="614"/>
                  </a:lnTo>
                  <a:lnTo>
                    <a:pt x="340" y="626"/>
                  </a:lnTo>
                  <a:lnTo>
                    <a:pt x="341" y="643"/>
                  </a:lnTo>
                  <a:lnTo>
                    <a:pt x="339" y="657"/>
                  </a:lnTo>
                  <a:lnTo>
                    <a:pt x="330" y="670"/>
                  </a:lnTo>
                  <a:lnTo>
                    <a:pt x="324" y="679"/>
                  </a:lnTo>
                  <a:lnTo>
                    <a:pt x="324" y="691"/>
                  </a:lnTo>
                  <a:lnTo>
                    <a:pt x="331" y="703"/>
                  </a:lnTo>
                  <a:lnTo>
                    <a:pt x="343" y="714"/>
                  </a:lnTo>
                  <a:lnTo>
                    <a:pt x="346" y="727"/>
                  </a:lnTo>
                  <a:lnTo>
                    <a:pt x="337" y="735"/>
                  </a:lnTo>
                  <a:lnTo>
                    <a:pt x="320" y="732"/>
                  </a:lnTo>
                  <a:lnTo>
                    <a:pt x="310" y="721"/>
                  </a:lnTo>
                  <a:lnTo>
                    <a:pt x="300" y="706"/>
                  </a:lnTo>
                  <a:lnTo>
                    <a:pt x="291" y="708"/>
                  </a:lnTo>
                  <a:lnTo>
                    <a:pt x="289" y="719"/>
                  </a:lnTo>
                  <a:lnTo>
                    <a:pt x="293" y="733"/>
                  </a:lnTo>
                  <a:lnTo>
                    <a:pt x="302" y="743"/>
                  </a:lnTo>
                  <a:lnTo>
                    <a:pt x="308" y="761"/>
                  </a:lnTo>
                  <a:lnTo>
                    <a:pt x="308" y="774"/>
                  </a:lnTo>
                  <a:lnTo>
                    <a:pt x="297" y="786"/>
                  </a:lnTo>
                  <a:lnTo>
                    <a:pt x="286" y="790"/>
                  </a:lnTo>
                  <a:lnTo>
                    <a:pt x="272" y="802"/>
                  </a:lnTo>
                  <a:lnTo>
                    <a:pt x="262" y="814"/>
                  </a:lnTo>
                  <a:lnTo>
                    <a:pt x="254" y="816"/>
                  </a:lnTo>
                  <a:lnTo>
                    <a:pt x="242" y="814"/>
                  </a:lnTo>
                  <a:lnTo>
                    <a:pt x="229" y="812"/>
                  </a:lnTo>
                  <a:lnTo>
                    <a:pt x="222" y="824"/>
                  </a:lnTo>
                  <a:lnTo>
                    <a:pt x="227" y="840"/>
                  </a:lnTo>
                  <a:lnTo>
                    <a:pt x="238" y="857"/>
                  </a:lnTo>
                  <a:lnTo>
                    <a:pt x="245" y="877"/>
                  </a:lnTo>
                  <a:lnTo>
                    <a:pt x="249" y="895"/>
                  </a:lnTo>
                  <a:lnTo>
                    <a:pt x="247" y="913"/>
                  </a:lnTo>
                  <a:lnTo>
                    <a:pt x="241" y="928"/>
                  </a:lnTo>
                  <a:lnTo>
                    <a:pt x="238" y="943"/>
                  </a:lnTo>
                  <a:lnTo>
                    <a:pt x="244" y="963"/>
                  </a:lnTo>
                  <a:lnTo>
                    <a:pt x="246" y="981"/>
                  </a:lnTo>
                  <a:lnTo>
                    <a:pt x="248" y="1005"/>
                  </a:lnTo>
                  <a:lnTo>
                    <a:pt x="243" y="1020"/>
                  </a:lnTo>
                  <a:lnTo>
                    <a:pt x="242" y="1041"/>
                  </a:lnTo>
                  <a:lnTo>
                    <a:pt x="234" y="1049"/>
                  </a:lnTo>
                  <a:lnTo>
                    <a:pt x="234" y="1061"/>
                  </a:lnTo>
                  <a:lnTo>
                    <a:pt x="243" y="1068"/>
                  </a:lnTo>
                  <a:lnTo>
                    <a:pt x="246" y="1079"/>
                  </a:lnTo>
                  <a:lnTo>
                    <a:pt x="241" y="1091"/>
                  </a:lnTo>
                  <a:lnTo>
                    <a:pt x="224" y="1098"/>
                  </a:lnTo>
                  <a:lnTo>
                    <a:pt x="211" y="1091"/>
                  </a:lnTo>
                  <a:lnTo>
                    <a:pt x="199" y="1081"/>
                  </a:lnTo>
                  <a:lnTo>
                    <a:pt x="188" y="1090"/>
                  </a:lnTo>
                  <a:lnTo>
                    <a:pt x="181" y="1105"/>
                  </a:lnTo>
                  <a:lnTo>
                    <a:pt x="176" y="1114"/>
                  </a:lnTo>
                  <a:lnTo>
                    <a:pt x="180" y="1129"/>
                  </a:lnTo>
                  <a:lnTo>
                    <a:pt x="186" y="1136"/>
                  </a:lnTo>
                  <a:lnTo>
                    <a:pt x="205" y="1137"/>
                  </a:lnTo>
                  <a:lnTo>
                    <a:pt x="214" y="1143"/>
                  </a:lnTo>
                  <a:lnTo>
                    <a:pt x="225" y="1155"/>
                  </a:lnTo>
                  <a:lnTo>
                    <a:pt x="234" y="1163"/>
                  </a:lnTo>
                  <a:lnTo>
                    <a:pt x="241" y="1167"/>
                  </a:lnTo>
                  <a:lnTo>
                    <a:pt x="243" y="1177"/>
                  </a:lnTo>
                  <a:lnTo>
                    <a:pt x="245" y="1186"/>
                  </a:lnTo>
                  <a:lnTo>
                    <a:pt x="252" y="1190"/>
                  </a:lnTo>
                  <a:lnTo>
                    <a:pt x="265" y="1191"/>
                  </a:lnTo>
                  <a:lnTo>
                    <a:pt x="273" y="1196"/>
                  </a:lnTo>
                  <a:lnTo>
                    <a:pt x="274" y="1202"/>
                  </a:lnTo>
                  <a:lnTo>
                    <a:pt x="274" y="1211"/>
                  </a:lnTo>
                  <a:lnTo>
                    <a:pt x="269" y="1218"/>
                  </a:lnTo>
                  <a:lnTo>
                    <a:pt x="270" y="1233"/>
                  </a:lnTo>
                  <a:lnTo>
                    <a:pt x="276" y="1237"/>
                  </a:lnTo>
                  <a:lnTo>
                    <a:pt x="286" y="1235"/>
                  </a:lnTo>
                  <a:lnTo>
                    <a:pt x="292" y="1225"/>
                  </a:lnTo>
                  <a:lnTo>
                    <a:pt x="306" y="1211"/>
                  </a:lnTo>
                  <a:lnTo>
                    <a:pt x="316" y="1201"/>
                  </a:lnTo>
                  <a:lnTo>
                    <a:pt x="326" y="1192"/>
                  </a:lnTo>
                  <a:lnTo>
                    <a:pt x="320" y="1182"/>
                  </a:lnTo>
                  <a:lnTo>
                    <a:pt x="310" y="1167"/>
                  </a:lnTo>
                  <a:lnTo>
                    <a:pt x="308" y="1151"/>
                  </a:lnTo>
                  <a:lnTo>
                    <a:pt x="313" y="1137"/>
                  </a:lnTo>
                  <a:lnTo>
                    <a:pt x="321" y="1126"/>
                  </a:lnTo>
                  <a:lnTo>
                    <a:pt x="327" y="1115"/>
                  </a:lnTo>
                  <a:lnTo>
                    <a:pt x="333" y="1108"/>
                  </a:lnTo>
                  <a:lnTo>
                    <a:pt x="340" y="1109"/>
                  </a:lnTo>
                  <a:lnTo>
                    <a:pt x="346" y="1124"/>
                  </a:lnTo>
                  <a:lnTo>
                    <a:pt x="351" y="1136"/>
                  </a:lnTo>
                  <a:lnTo>
                    <a:pt x="358" y="1144"/>
                  </a:lnTo>
                  <a:lnTo>
                    <a:pt x="369" y="1142"/>
                  </a:lnTo>
                  <a:lnTo>
                    <a:pt x="379" y="1136"/>
                  </a:lnTo>
                  <a:lnTo>
                    <a:pt x="392" y="1135"/>
                  </a:lnTo>
                  <a:lnTo>
                    <a:pt x="408" y="1135"/>
                  </a:lnTo>
                  <a:lnTo>
                    <a:pt x="419" y="1140"/>
                  </a:lnTo>
                  <a:lnTo>
                    <a:pt x="429" y="1150"/>
                  </a:lnTo>
                  <a:lnTo>
                    <a:pt x="440" y="1154"/>
                  </a:lnTo>
                  <a:lnTo>
                    <a:pt x="450" y="1157"/>
                  </a:lnTo>
                  <a:lnTo>
                    <a:pt x="453" y="1164"/>
                  </a:lnTo>
                  <a:lnTo>
                    <a:pt x="454" y="1175"/>
                  </a:lnTo>
                  <a:lnTo>
                    <a:pt x="456" y="1188"/>
                  </a:lnTo>
                  <a:lnTo>
                    <a:pt x="465" y="1195"/>
                  </a:lnTo>
                  <a:lnTo>
                    <a:pt x="477" y="1201"/>
                  </a:lnTo>
                  <a:lnTo>
                    <a:pt x="491" y="1196"/>
                  </a:lnTo>
                  <a:lnTo>
                    <a:pt x="500" y="1188"/>
                  </a:lnTo>
                  <a:lnTo>
                    <a:pt x="511" y="1189"/>
                  </a:lnTo>
                  <a:lnTo>
                    <a:pt x="517" y="1193"/>
                  </a:lnTo>
                  <a:lnTo>
                    <a:pt x="528" y="1193"/>
                  </a:lnTo>
                  <a:lnTo>
                    <a:pt x="542" y="1185"/>
                  </a:lnTo>
                  <a:lnTo>
                    <a:pt x="556" y="1173"/>
                  </a:lnTo>
                  <a:lnTo>
                    <a:pt x="574" y="1164"/>
                  </a:lnTo>
                  <a:lnTo>
                    <a:pt x="593" y="1159"/>
                  </a:lnTo>
                  <a:lnTo>
                    <a:pt x="606" y="1161"/>
                  </a:lnTo>
                  <a:lnTo>
                    <a:pt x="627" y="1159"/>
                  </a:lnTo>
                  <a:lnTo>
                    <a:pt x="640" y="1151"/>
                  </a:lnTo>
                  <a:lnTo>
                    <a:pt x="654" y="1134"/>
                  </a:lnTo>
                  <a:lnTo>
                    <a:pt x="665" y="1123"/>
                  </a:lnTo>
                  <a:lnTo>
                    <a:pt x="683" y="1119"/>
                  </a:lnTo>
                  <a:lnTo>
                    <a:pt x="707" y="1114"/>
                  </a:lnTo>
                  <a:lnTo>
                    <a:pt x="730" y="1117"/>
                  </a:lnTo>
                  <a:lnTo>
                    <a:pt x="750" y="1119"/>
                  </a:lnTo>
                  <a:lnTo>
                    <a:pt x="768" y="1117"/>
                  </a:lnTo>
                  <a:lnTo>
                    <a:pt x="776" y="1110"/>
                  </a:lnTo>
                  <a:lnTo>
                    <a:pt x="782" y="1099"/>
                  </a:lnTo>
                  <a:lnTo>
                    <a:pt x="789" y="1083"/>
                  </a:lnTo>
                  <a:lnTo>
                    <a:pt x="798" y="1077"/>
                  </a:lnTo>
                  <a:lnTo>
                    <a:pt x="810" y="1076"/>
                  </a:lnTo>
                  <a:lnTo>
                    <a:pt x="817" y="1085"/>
                  </a:lnTo>
                  <a:lnTo>
                    <a:pt x="824" y="1096"/>
                  </a:lnTo>
                  <a:lnTo>
                    <a:pt x="834" y="1099"/>
                  </a:lnTo>
                  <a:lnTo>
                    <a:pt x="847" y="1104"/>
                  </a:lnTo>
                  <a:lnTo>
                    <a:pt x="853" y="1112"/>
                  </a:lnTo>
                  <a:lnTo>
                    <a:pt x="866" y="1118"/>
                  </a:lnTo>
                  <a:lnTo>
                    <a:pt x="874" y="1115"/>
                  </a:lnTo>
                  <a:lnTo>
                    <a:pt x="879" y="1106"/>
                  </a:lnTo>
                  <a:lnTo>
                    <a:pt x="889" y="1099"/>
                  </a:lnTo>
                  <a:lnTo>
                    <a:pt x="900" y="1099"/>
                  </a:lnTo>
                  <a:lnTo>
                    <a:pt x="908" y="1104"/>
                  </a:lnTo>
                  <a:lnTo>
                    <a:pt x="914" y="1104"/>
                  </a:lnTo>
                  <a:lnTo>
                    <a:pt x="920" y="1100"/>
                  </a:lnTo>
                  <a:lnTo>
                    <a:pt x="927" y="1096"/>
                  </a:lnTo>
                  <a:lnTo>
                    <a:pt x="936" y="1099"/>
                  </a:lnTo>
                  <a:lnTo>
                    <a:pt x="939" y="1109"/>
                  </a:lnTo>
                  <a:lnTo>
                    <a:pt x="938" y="1119"/>
                  </a:lnTo>
                  <a:lnTo>
                    <a:pt x="932" y="1126"/>
                  </a:lnTo>
                  <a:lnTo>
                    <a:pt x="932" y="1133"/>
                  </a:lnTo>
                  <a:lnTo>
                    <a:pt x="942" y="1138"/>
                  </a:lnTo>
                  <a:lnTo>
                    <a:pt x="951" y="1142"/>
                  </a:lnTo>
                  <a:lnTo>
                    <a:pt x="957" y="1155"/>
                  </a:lnTo>
                  <a:lnTo>
                    <a:pt x="967" y="1166"/>
                  </a:lnTo>
                  <a:lnTo>
                    <a:pt x="976" y="1173"/>
                  </a:lnTo>
                  <a:lnTo>
                    <a:pt x="990" y="1173"/>
                  </a:lnTo>
                  <a:lnTo>
                    <a:pt x="1001" y="1165"/>
                  </a:lnTo>
                  <a:lnTo>
                    <a:pt x="1005" y="1140"/>
                  </a:lnTo>
                  <a:lnTo>
                    <a:pt x="1004" y="1124"/>
                  </a:lnTo>
                  <a:lnTo>
                    <a:pt x="1005" y="1110"/>
                  </a:lnTo>
                  <a:lnTo>
                    <a:pt x="999" y="1101"/>
                  </a:lnTo>
                  <a:lnTo>
                    <a:pt x="985" y="1094"/>
                  </a:lnTo>
                  <a:lnTo>
                    <a:pt x="971" y="1084"/>
                  </a:lnTo>
                  <a:lnTo>
                    <a:pt x="969" y="1076"/>
                  </a:lnTo>
                  <a:lnTo>
                    <a:pt x="973" y="1065"/>
                  </a:lnTo>
                  <a:lnTo>
                    <a:pt x="981" y="1053"/>
                  </a:lnTo>
                  <a:lnTo>
                    <a:pt x="991" y="1040"/>
                  </a:lnTo>
                  <a:lnTo>
                    <a:pt x="993" y="1025"/>
                  </a:lnTo>
                  <a:lnTo>
                    <a:pt x="992" y="1010"/>
                  </a:lnTo>
                  <a:lnTo>
                    <a:pt x="986" y="1000"/>
                  </a:lnTo>
                  <a:lnTo>
                    <a:pt x="975" y="995"/>
                  </a:lnTo>
                  <a:lnTo>
                    <a:pt x="959" y="991"/>
                  </a:lnTo>
                  <a:lnTo>
                    <a:pt x="950" y="990"/>
                  </a:lnTo>
                  <a:lnTo>
                    <a:pt x="946" y="982"/>
                  </a:lnTo>
                  <a:lnTo>
                    <a:pt x="944" y="970"/>
                  </a:lnTo>
                  <a:lnTo>
                    <a:pt x="934" y="958"/>
                  </a:lnTo>
                  <a:lnTo>
                    <a:pt x="929" y="954"/>
                  </a:lnTo>
                  <a:lnTo>
                    <a:pt x="927" y="945"/>
                  </a:lnTo>
                  <a:lnTo>
                    <a:pt x="932" y="931"/>
                  </a:lnTo>
                  <a:lnTo>
                    <a:pt x="944" y="914"/>
                  </a:lnTo>
                  <a:lnTo>
                    <a:pt x="956" y="901"/>
                  </a:lnTo>
                  <a:lnTo>
                    <a:pt x="965" y="899"/>
                  </a:lnTo>
                  <a:lnTo>
                    <a:pt x="979" y="900"/>
                  </a:lnTo>
                  <a:lnTo>
                    <a:pt x="986" y="898"/>
                  </a:lnTo>
                  <a:lnTo>
                    <a:pt x="988" y="887"/>
                  </a:lnTo>
                  <a:lnTo>
                    <a:pt x="995" y="877"/>
                  </a:lnTo>
                  <a:lnTo>
                    <a:pt x="1003" y="868"/>
                  </a:lnTo>
                  <a:lnTo>
                    <a:pt x="1018" y="863"/>
                  </a:lnTo>
                  <a:lnTo>
                    <a:pt x="1031" y="863"/>
                  </a:lnTo>
                  <a:lnTo>
                    <a:pt x="1054" y="853"/>
                  </a:lnTo>
                  <a:lnTo>
                    <a:pt x="1068" y="839"/>
                  </a:lnTo>
                  <a:lnTo>
                    <a:pt x="1082" y="819"/>
                  </a:lnTo>
                  <a:lnTo>
                    <a:pt x="1088" y="800"/>
                  </a:lnTo>
                  <a:lnTo>
                    <a:pt x="1091" y="776"/>
                  </a:lnTo>
                  <a:lnTo>
                    <a:pt x="1096" y="761"/>
                  </a:lnTo>
                  <a:lnTo>
                    <a:pt x="1111" y="753"/>
                  </a:lnTo>
                  <a:lnTo>
                    <a:pt x="1130" y="753"/>
                  </a:lnTo>
                  <a:lnTo>
                    <a:pt x="1150" y="751"/>
                  </a:lnTo>
                  <a:lnTo>
                    <a:pt x="1160" y="743"/>
                  </a:lnTo>
                  <a:lnTo>
                    <a:pt x="1164" y="720"/>
                  </a:lnTo>
                  <a:lnTo>
                    <a:pt x="1152" y="679"/>
                  </a:lnTo>
                  <a:lnTo>
                    <a:pt x="1151" y="653"/>
                  </a:lnTo>
                  <a:lnTo>
                    <a:pt x="1120" y="640"/>
                  </a:lnTo>
                  <a:lnTo>
                    <a:pt x="1096" y="629"/>
                  </a:lnTo>
                  <a:lnTo>
                    <a:pt x="1070" y="616"/>
                  </a:lnTo>
                  <a:lnTo>
                    <a:pt x="1064" y="596"/>
                  </a:lnTo>
                  <a:lnTo>
                    <a:pt x="1062" y="582"/>
                  </a:lnTo>
                  <a:lnTo>
                    <a:pt x="1058" y="568"/>
                  </a:lnTo>
                  <a:lnTo>
                    <a:pt x="1042" y="559"/>
                  </a:lnTo>
                  <a:lnTo>
                    <a:pt x="1026" y="558"/>
                  </a:lnTo>
                  <a:lnTo>
                    <a:pt x="1015" y="553"/>
                  </a:lnTo>
                  <a:lnTo>
                    <a:pt x="1005" y="544"/>
                  </a:lnTo>
                  <a:lnTo>
                    <a:pt x="989" y="513"/>
                  </a:lnTo>
                  <a:lnTo>
                    <a:pt x="956" y="471"/>
                  </a:lnTo>
                  <a:lnTo>
                    <a:pt x="949" y="468"/>
                  </a:lnTo>
                  <a:lnTo>
                    <a:pt x="920" y="467"/>
                  </a:lnTo>
                  <a:lnTo>
                    <a:pt x="907" y="462"/>
                  </a:lnTo>
                  <a:lnTo>
                    <a:pt x="891" y="441"/>
                  </a:lnTo>
                  <a:lnTo>
                    <a:pt x="874" y="411"/>
                  </a:lnTo>
                  <a:lnTo>
                    <a:pt x="863" y="387"/>
                  </a:lnTo>
                  <a:lnTo>
                    <a:pt x="858" y="371"/>
                  </a:lnTo>
                  <a:lnTo>
                    <a:pt x="837" y="336"/>
                  </a:lnTo>
                  <a:lnTo>
                    <a:pt x="825" y="315"/>
                  </a:lnTo>
                  <a:lnTo>
                    <a:pt x="823" y="305"/>
                  </a:lnTo>
                  <a:lnTo>
                    <a:pt x="837" y="266"/>
                  </a:lnTo>
                  <a:lnTo>
                    <a:pt x="839" y="250"/>
                  </a:lnTo>
                  <a:lnTo>
                    <a:pt x="831" y="232"/>
                  </a:lnTo>
                  <a:lnTo>
                    <a:pt x="809" y="204"/>
                  </a:lnTo>
                  <a:lnTo>
                    <a:pt x="782" y="178"/>
                  </a:lnTo>
                  <a:lnTo>
                    <a:pt x="762" y="154"/>
                  </a:lnTo>
                  <a:lnTo>
                    <a:pt x="761" y="142"/>
                  </a:lnTo>
                  <a:lnTo>
                    <a:pt x="762" y="125"/>
                  </a:lnTo>
                  <a:lnTo>
                    <a:pt x="765" y="121"/>
                  </a:lnTo>
                  <a:lnTo>
                    <a:pt x="739" y="98"/>
                  </a:lnTo>
                  <a:lnTo>
                    <a:pt x="720" y="75"/>
                  </a:lnTo>
                  <a:lnTo>
                    <a:pt x="695" y="72"/>
                  </a:lnTo>
                  <a:lnTo>
                    <a:pt x="677" y="65"/>
                  </a:lnTo>
                  <a:lnTo>
                    <a:pt x="656" y="61"/>
                  </a:lnTo>
                  <a:lnTo>
                    <a:pt x="635" y="61"/>
                  </a:lnTo>
                  <a:lnTo>
                    <a:pt x="622" y="66"/>
                  </a:lnTo>
                  <a:lnTo>
                    <a:pt x="602" y="67"/>
                  </a:lnTo>
                  <a:lnTo>
                    <a:pt x="594" y="60"/>
                  </a:lnTo>
                  <a:lnTo>
                    <a:pt x="592" y="41"/>
                  </a:lnTo>
                  <a:lnTo>
                    <a:pt x="582" y="27"/>
                  </a:lnTo>
                  <a:lnTo>
                    <a:pt x="570" y="27"/>
                  </a:lnTo>
                  <a:lnTo>
                    <a:pt x="557" y="33"/>
                  </a:lnTo>
                  <a:lnTo>
                    <a:pt x="551" y="49"/>
                  </a:lnTo>
                  <a:lnTo>
                    <a:pt x="555" y="68"/>
                  </a:lnTo>
                  <a:lnTo>
                    <a:pt x="554" y="93"/>
                  </a:lnTo>
                  <a:lnTo>
                    <a:pt x="548" y="102"/>
                  </a:lnTo>
                  <a:lnTo>
                    <a:pt x="534" y="103"/>
                  </a:lnTo>
                  <a:lnTo>
                    <a:pt x="513" y="84"/>
                  </a:lnTo>
                  <a:lnTo>
                    <a:pt x="501" y="81"/>
                  </a:lnTo>
                  <a:lnTo>
                    <a:pt x="471" y="83"/>
                  </a:lnTo>
                  <a:lnTo>
                    <a:pt x="458" y="82"/>
                  </a:lnTo>
                  <a:lnTo>
                    <a:pt x="449" y="73"/>
                  </a:lnTo>
                  <a:lnTo>
                    <a:pt x="438" y="67"/>
                  </a:lnTo>
                  <a:lnTo>
                    <a:pt x="427" y="71"/>
                  </a:lnTo>
                  <a:lnTo>
                    <a:pt x="423" y="85"/>
                  </a:lnTo>
                  <a:lnTo>
                    <a:pt x="427" y="96"/>
                  </a:lnTo>
                  <a:lnTo>
                    <a:pt x="428" y="108"/>
                  </a:lnTo>
                  <a:lnTo>
                    <a:pt x="423" y="118"/>
                  </a:lnTo>
                  <a:lnTo>
                    <a:pt x="410" y="118"/>
                  </a:lnTo>
                  <a:lnTo>
                    <a:pt x="395" y="114"/>
                  </a:lnTo>
                  <a:lnTo>
                    <a:pt x="393" y="105"/>
                  </a:lnTo>
                  <a:lnTo>
                    <a:pt x="391" y="92"/>
                  </a:lnTo>
                  <a:lnTo>
                    <a:pt x="382" y="83"/>
                  </a:lnTo>
                  <a:lnTo>
                    <a:pt x="364" y="76"/>
                  </a:lnTo>
                  <a:lnTo>
                    <a:pt x="341" y="65"/>
                  </a:lnTo>
                  <a:lnTo>
                    <a:pt x="327" y="41"/>
                  </a:lnTo>
                  <a:lnTo>
                    <a:pt x="318" y="20"/>
                  </a:lnTo>
                  <a:lnTo>
                    <a:pt x="308" y="3"/>
                  </a:lnTo>
                  <a:lnTo>
                    <a:pt x="300" y="0"/>
                  </a:lnTo>
                  <a:lnTo>
                    <a:pt x="291" y="3"/>
                  </a:lnTo>
                  <a:lnTo>
                    <a:pt x="278" y="5"/>
                  </a:lnTo>
                  <a:lnTo>
                    <a:pt x="264" y="2"/>
                  </a:lnTo>
                  <a:lnTo>
                    <a:pt x="258" y="10"/>
                  </a:lnTo>
                  <a:lnTo>
                    <a:pt x="256" y="23"/>
                  </a:lnTo>
                  <a:lnTo>
                    <a:pt x="243" y="37"/>
                  </a:lnTo>
                  <a:lnTo>
                    <a:pt x="232" y="46"/>
                  </a:lnTo>
                  <a:lnTo>
                    <a:pt x="224" y="57"/>
                  </a:lnTo>
                  <a:lnTo>
                    <a:pt x="218" y="64"/>
                  </a:lnTo>
                  <a:lnTo>
                    <a:pt x="214" y="65"/>
                  </a:lnTo>
                  <a:lnTo>
                    <a:pt x="211" y="60"/>
                  </a:lnTo>
                  <a:lnTo>
                    <a:pt x="206" y="56"/>
                  </a:lnTo>
                  <a:lnTo>
                    <a:pt x="199" y="55"/>
                  </a:lnTo>
                  <a:lnTo>
                    <a:pt x="191" y="60"/>
                  </a:lnTo>
                  <a:lnTo>
                    <a:pt x="186" y="70"/>
                  </a:lnTo>
                  <a:lnTo>
                    <a:pt x="185" y="81"/>
                  </a:lnTo>
                  <a:lnTo>
                    <a:pt x="186" y="87"/>
                  </a:lnTo>
                  <a:lnTo>
                    <a:pt x="190" y="93"/>
                  </a:lnTo>
                  <a:lnTo>
                    <a:pt x="193" y="103"/>
                  </a:lnTo>
                  <a:lnTo>
                    <a:pt x="191" y="113"/>
                  </a:lnTo>
                  <a:lnTo>
                    <a:pt x="186" y="122"/>
                  </a:lnTo>
                  <a:lnTo>
                    <a:pt x="178" y="132"/>
                  </a:lnTo>
                  <a:lnTo>
                    <a:pt x="166" y="138"/>
                  </a:lnTo>
                  <a:lnTo>
                    <a:pt x="151" y="139"/>
                  </a:lnTo>
                  <a:lnTo>
                    <a:pt x="142" y="133"/>
                  </a:lnTo>
                  <a:lnTo>
                    <a:pt x="134" y="128"/>
                  </a:lnTo>
                  <a:lnTo>
                    <a:pt x="125" y="128"/>
                  </a:lnTo>
                  <a:lnTo>
                    <a:pt x="122" y="131"/>
                  </a:lnTo>
                  <a:lnTo>
                    <a:pt x="122" y="142"/>
                  </a:lnTo>
                  <a:lnTo>
                    <a:pt x="127" y="155"/>
                  </a:lnTo>
                  <a:lnTo>
                    <a:pt x="126" y="168"/>
                  </a:lnTo>
                  <a:lnTo>
                    <a:pt x="121" y="181"/>
                  </a:lnTo>
                  <a:lnTo>
                    <a:pt x="114" y="187"/>
                  </a:lnTo>
                  <a:lnTo>
                    <a:pt x="104" y="189"/>
                  </a:lnTo>
                  <a:lnTo>
                    <a:pt x="98" y="186"/>
                  </a:lnTo>
                  <a:lnTo>
                    <a:pt x="95" y="175"/>
                  </a:lnTo>
                  <a:lnTo>
                    <a:pt x="91" y="168"/>
                  </a:lnTo>
                  <a:lnTo>
                    <a:pt x="83" y="164"/>
                  </a:lnTo>
                  <a:lnTo>
                    <a:pt x="68" y="166"/>
                  </a:lnTo>
                  <a:lnTo>
                    <a:pt x="61" y="171"/>
                  </a:lnTo>
                  <a:lnTo>
                    <a:pt x="55" y="173"/>
                  </a:lnTo>
                  <a:lnTo>
                    <a:pt x="49" y="171"/>
                  </a:lnTo>
                  <a:lnTo>
                    <a:pt x="45" y="166"/>
                  </a:lnTo>
                  <a:lnTo>
                    <a:pt x="36" y="164"/>
                  </a:lnTo>
                  <a:lnTo>
                    <a:pt x="30" y="169"/>
                  </a:lnTo>
                  <a:lnTo>
                    <a:pt x="24" y="179"/>
                  </a:lnTo>
                  <a:lnTo>
                    <a:pt x="15" y="189"/>
                  </a:lnTo>
                  <a:lnTo>
                    <a:pt x="4" y="201"/>
                  </a:lnTo>
                  <a:lnTo>
                    <a:pt x="0" y="214"/>
                  </a:lnTo>
                  <a:lnTo>
                    <a:pt x="7" y="223"/>
                  </a:lnTo>
                  <a:lnTo>
                    <a:pt x="9" y="236"/>
                  </a:lnTo>
                  <a:lnTo>
                    <a:pt x="6" y="247"/>
                  </a:lnTo>
                  <a:lnTo>
                    <a:pt x="3" y="257"/>
                  </a:lnTo>
                  <a:lnTo>
                    <a:pt x="5" y="268"/>
                  </a:lnTo>
                  <a:lnTo>
                    <a:pt x="11" y="279"/>
                  </a:lnTo>
                  <a:lnTo>
                    <a:pt x="18" y="304"/>
                  </a:lnTo>
                  <a:lnTo>
                    <a:pt x="21" y="315"/>
                  </a:lnTo>
                  <a:lnTo>
                    <a:pt x="21" y="335"/>
                  </a:lnTo>
                  <a:lnTo>
                    <a:pt x="18" y="353"/>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35">
              <a:extLst>
                <a:ext uri="{FF2B5EF4-FFF2-40B4-BE49-F238E27FC236}">
                  <a16:creationId xmlns:a16="http://schemas.microsoft.com/office/drawing/2014/main" id="{65210261-E835-4807-9D71-FF37C37AF22C}"/>
                </a:ext>
              </a:extLst>
            </p:cNvPr>
            <p:cNvSpPr>
              <a:spLocks noEditPoints="1"/>
            </p:cNvSpPr>
            <p:nvPr/>
          </p:nvSpPr>
          <p:spPr bwMode="auto">
            <a:xfrm>
              <a:off x="4953294" y="2949236"/>
              <a:ext cx="1065398" cy="1155147"/>
            </a:xfrm>
            <a:custGeom>
              <a:avLst/>
              <a:gdLst/>
              <a:ahLst/>
              <a:cxnLst>
                <a:cxn ang="0">
                  <a:pos x="406" y="295"/>
                </a:cxn>
                <a:cxn ang="0">
                  <a:pos x="439" y="308"/>
                </a:cxn>
                <a:cxn ang="0">
                  <a:pos x="491" y="342"/>
                </a:cxn>
                <a:cxn ang="0">
                  <a:pos x="455" y="421"/>
                </a:cxn>
                <a:cxn ang="0">
                  <a:pos x="369" y="386"/>
                </a:cxn>
                <a:cxn ang="0">
                  <a:pos x="371" y="341"/>
                </a:cxn>
                <a:cxn ang="0">
                  <a:pos x="350" y="329"/>
                </a:cxn>
                <a:cxn ang="0">
                  <a:pos x="596" y="68"/>
                </a:cxn>
                <a:cxn ang="0">
                  <a:pos x="538" y="5"/>
                </a:cxn>
                <a:cxn ang="0">
                  <a:pos x="467" y="15"/>
                </a:cxn>
                <a:cxn ang="0">
                  <a:pos x="422" y="62"/>
                </a:cxn>
                <a:cxn ang="0">
                  <a:pos x="351" y="87"/>
                </a:cxn>
                <a:cxn ang="0">
                  <a:pos x="299" y="103"/>
                </a:cxn>
                <a:cxn ang="0">
                  <a:pos x="228" y="76"/>
                </a:cxn>
                <a:cxn ang="0">
                  <a:pos x="109" y="41"/>
                </a:cxn>
                <a:cxn ang="0">
                  <a:pos x="16" y="107"/>
                </a:cxn>
                <a:cxn ang="0">
                  <a:pos x="21" y="152"/>
                </a:cxn>
                <a:cxn ang="0">
                  <a:pos x="16" y="182"/>
                </a:cxn>
                <a:cxn ang="0">
                  <a:pos x="53" y="209"/>
                </a:cxn>
                <a:cxn ang="0">
                  <a:pos x="112" y="216"/>
                </a:cxn>
                <a:cxn ang="0">
                  <a:pos x="148" y="231"/>
                </a:cxn>
                <a:cxn ang="0">
                  <a:pos x="139" y="294"/>
                </a:cxn>
                <a:cxn ang="0">
                  <a:pos x="117" y="339"/>
                </a:cxn>
                <a:cxn ang="0">
                  <a:pos x="175" y="376"/>
                </a:cxn>
                <a:cxn ang="0">
                  <a:pos x="152" y="433"/>
                </a:cxn>
                <a:cxn ang="0">
                  <a:pos x="155" y="465"/>
                </a:cxn>
                <a:cxn ang="0">
                  <a:pos x="145" y="509"/>
                </a:cxn>
                <a:cxn ang="0">
                  <a:pos x="220" y="552"/>
                </a:cxn>
                <a:cxn ang="0">
                  <a:pos x="286" y="584"/>
                </a:cxn>
                <a:cxn ang="0">
                  <a:pos x="334" y="589"/>
                </a:cxn>
                <a:cxn ang="0">
                  <a:pos x="358" y="613"/>
                </a:cxn>
                <a:cxn ang="0">
                  <a:pos x="374" y="667"/>
                </a:cxn>
                <a:cxn ang="0">
                  <a:pos x="364" y="712"/>
                </a:cxn>
                <a:cxn ang="0">
                  <a:pos x="365" y="752"/>
                </a:cxn>
                <a:cxn ang="0">
                  <a:pos x="381" y="783"/>
                </a:cxn>
                <a:cxn ang="0">
                  <a:pos x="428" y="764"/>
                </a:cxn>
                <a:cxn ang="0">
                  <a:pos x="464" y="798"/>
                </a:cxn>
                <a:cxn ang="0">
                  <a:pos x="530" y="772"/>
                </a:cxn>
                <a:cxn ang="0">
                  <a:pos x="552" y="775"/>
                </a:cxn>
                <a:cxn ang="0">
                  <a:pos x="598" y="717"/>
                </a:cxn>
                <a:cxn ang="0">
                  <a:pos x="643" y="721"/>
                </a:cxn>
                <a:cxn ang="0">
                  <a:pos x="705" y="697"/>
                </a:cxn>
                <a:cxn ang="0">
                  <a:pos x="735" y="674"/>
                </a:cxn>
                <a:cxn ang="0">
                  <a:pos x="713" y="641"/>
                </a:cxn>
                <a:cxn ang="0">
                  <a:pos x="694" y="606"/>
                </a:cxn>
                <a:cxn ang="0">
                  <a:pos x="711" y="555"/>
                </a:cxn>
                <a:cxn ang="0">
                  <a:pos x="716" y="485"/>
                </a:cxn>
                <a:cxn ang="0">
                  <a:pos x="683" y="420"/>
                </a:cxn>
                <a:cxn ang="0">
                  <a:pos x="689" y="360"/>
                </a:cxn>
                <a:cxn ang="0">
                  <a:pos x="669" y="305"/>
                </a:cxn>
                <a:cxn ang="0">
                  <a:pos x="611" y="256"/>
                </a:cxn>
                <a:cxn ang="0">
                  <a:pos x="569" y="202"/>
                </a:cxn>
                <a:cxn ang="0">
                  <a:pos x="622" y="126"/>
                </a:cxn>
                <a:cxn ang="0">
                  <a:pos x="625" y="37"/>
                </a:cxn>
              </a:cxnLst>
              <a:rect l="0" t="0" r="r" b="b"/>
              <a:pathLst>
                <a:path w="736" h="798">
                  <a:moveTo>
                    <a:pt x="350" y="329"/>
                  </a:moveTo>
                  <a:lnTo>
                    <a:pt x="367" y="309"/>
                  </a:lnTo>
                  <a:lnTo>
                    <a:pt x="378" y="303"/>
                  </a:lnTo>
                  <a:lnTo>
                    <a:pt x="403" y="302"/>
                  </a:lnTo>
                  <a:lnTo>
                    <a:pt x="406" y="295"/>
                  </a:lnTo>
                  <a:lnTo>
                    <a:pt x="414" y="292"/>
                  </a:lnTo>
                  <a:lnTo>
                    <a:pt x="421" y="294"/>
                  </a:lnTo>
                  <a:lnTo>
                    <a:pt x="424" y="302"/>
                  </a:lnTo>
                  <a:lnTo>
                    <a:pt x="428" y="308"/>
                  </a:lnTo>
                  <a:lnTo>
                    <a:pt x="439" y="308"/>
                  </a:lnTo>
                  <a:lnTo>
                    <a:pt x="455" y="303"/>
                  </a:lnTo>
                  <a:lnTo>
                    <a:pt x="468" y="310"/>
                  </a:lnTo>
                  <a:lnTo>
                    <a:pt x="477" y="332"/>
                  </a:lnTo>
                  <a:lnTo>
                    <a:pt x="489" y="335"/>
                  </a:lnTo>
                  <a:lnTo>
                    <a:pt x="491" y="342"/>
                  </a:lnTo>
                  <a:lnTo>
                    <a:pt x="485" y="355"/>
                  </a:lnTo>
                  <a:lnTo>
                    <a:pt x="486" y="394"/>
                  </a:lnTo>
                  <a:lnTo>
                    <a:pt x="482" y="407"/>
                  </a:lnTo>
                  <a:lnTo>
                    <a:pt x="468" y="419"/>
                  </a:lnTo>
                  <a:lnTo>
                    <a:pt x="455" y="421"/>
                  </a:lnTo>
                  <a:lnTo>
                    <a:pt x="443" y="410"/>
                  </a:lnTo>
                  <a:lnTo>
                    <a:pt x="441" y="399"/>
                  </a:lnTo>
                  <a:lnTo>
                    <a:pt x="428" y="393"/>
                  </a:lnTo>
                  <a:lnTo>
                    <a:pt x="371" y="392"/>
                  </a:lnTo>
                  <a:lnTo>
                    <a:pt x="369" y="386"/>
                  </a:lnTo>
                  <a:lnTo>
                    <a:pt x="373" y="380"/>
                  </a:lnTo>
                  <a:lnTo>
                    <a:pt x="381" y="374"/>
                  </a:lnTo>
                  <a:lnTo>
                    <a:pt x="385" y="341"/>
                  </a:lnTo>
                  <a:lnTo>
                    <a:pt x="380" y="334"/>
                  </a:lnTo>
                  <a:lnTo>
                    <a:pt x="371" y="341"/>
                  </a:lnTo>
                  <a:lnTo>
                    <a:pt x="363" y="352"/>
                  </a:lnTo>
                  <a:lnTo>
                    <a:pt x="354" y="353"/>
                  </a:lnTo>
                  <a:lnTo>
                    <a:pt x="350" y="342"/>
                  </a:lnTo>
                  <a:lnTo>
                    <a:pt x="350" y="329"/>
                  </a:lnTo>
                  <a:lnTo>
                    <a:pt x="350" y="329"/>
                  </a:lnTo>
                  <a:close/>
                  <a:moveTo>
                    <a:pt x="625" y="37"/>
                  </a:moveTo>
                  <a:lnTo>
                    <a:pt x="625" y="37"/>
                  </a:lnTo>
                  <a:lnTo>
                    <a:pt x="616" y="45"/>
                  </a:lnTo>
                  <a:lnTo>
                    <a:pt x="609" y="56"/>
                  </a:lnTo>
                  <a:lnTo>
                    <a:pt x="596" y="68"/>
                  </a:lnTo>
                  <a:lnTo>
                    <a:pt x="582" y="72"/>
                  </a:lnTo>
                  <a:lnTo>
                    <a:pt x="566" y="51"/>
                  </a:lnTo>
                  <a:lnTo>
                    <a:pt x="557" y="32"/>
                  </a:lnTo>
                  <a:lnTo>
                    <a:pt x="549" y="18"/>
                  </a:lnTo>
                  <a:lnTo>
                    <a:pt x="538" y="5"/>
                  </a:lnTo>
                  <a:lnTo>
                    <a:pt x="530" y="0"/>
                  </a:lnTo>
                  <a:lnTo>
                    <a:pt x="522" y="2"/>
                  </a:lnTo>
                  <a:lnTo>
                    <a:pt x="498" y="20"/>
                  </a:lnTo>
                  <a:lnTo>
                    <a:pt x="485" y="18"/>
                  </a:lnTo>
                  <a:lnTo>
                    <a:pt x="467" y="15"/>
                  </a:lnTo>
                  <a:lnTo>
                    <a:pt x="451" y="17"/>
                  </a:lnTo>
                  <a:lnTo>
                    <a:pt x="437" y="25"/>
                  </a:lnTo>
                  <a:lnTo>
                    <a:pt x="432" y="36"/>
                  </a:lnTo>
                  <a:lnTo>
                    <a:pt x="431" y="52"/>
                  </a:lnTo>
                  <a:lnTo>
                    <a:pt x="422" y="62"/>
                  </a:lnTo>
                  <a:lnTo>
                    <a:pt x="409" y="67"/>
                  </a:lnTo>
                  <a:lnTo>
                    <a:pt x="399" y="80"/>
                  </a:lnTo>
                  <a:lnTo>
                    <a:pt x="388" y="85"/>
                  </a:lnTo>
                  <a:lnTo>
                    <a:pt x="362" y="85"/>
                  </a:lnTo>
                  <a:lnTo>
                    <a:pt x="351" y="87"/>
                  </a:lnTo>
                  <a:lnTo>
                    <a:pt x="337" y="95"/>
                  </a:lnTo>
                  <a:lnTo>
                    <a:pt x="331" y="105"/>
                  </a:lnTo>
                  <a:lnTo>
                    <a:pt x="326" y="117"/>
                  </a:lnTo>
                  <a:lnTo>
                    <a:pt x="313" y="112"/>
                  </a:lnTo>
                  <a:lnTo>
                    <a:pt x="299" y="103"/>
                  </a:lnTo>
                  <a:lnTo>
                    <a:pt x="283" y="99"/>
                  </a:lnTo>
                  <a:lnTo>
                    <a:pt x="267" y="97"/>
                  </a:lnTo>
                  <a:lnTo>
                    <a:pt x="254" y="92"/>
                  </a:lnTo>
                  <a:lnTo>
                    <a:pt x="239" y="81"/>
                  </a:lnTo>
                  <a:lnTo>
                    <a:pt x="228" y="76"/>
                  </a:lnTo>
                  <a:lnTo>
                    <a:pt x="168" y="76"/>
                  </a:lnTo>
                  <a:lnTo>
                    <a:pt x="149" y="66"/>
                  </a:lnTo>
                  <a:lnTo>
                    <a:pt x="136" y="55"/>
                  </a:lnTo>
                  <a:lnTo>
                    <a:pt x="124" y="46"/>
                  </a:lnTo>
                  <a:lnTo>
                    <a:pt x="109" y="41"/>
                  </a:lnTo>
                  <a:lnTo>
                    <a:pt x="96" y="47"/>
                  </a:lnTo>
                  <a:lnTo>
                    <a:pt x="80" y="70"/>
                  </a:lnTo>
                  <a:lnTo>
                    <a:pt x="65" y="74"/>
                  </a:lnTo>
                  <a:lnTo>
                    <a:pt x="28" y="93"/>
                  </a:lnTo>
                  <a:lnTo>
                    <a:pt x="16" y="107"/>
                  </a:lnTo>
                  <a:lnTo>
                    <a:pt x="10" y="121"/>
                  </a:lnTo>
                  <a:lnTo>
                    <a:pt x="8" y="135"/>
                  </a:lnTo>
                  <a:lnTo>
                    <a:pt x="12" y="143"/>
                  </a:lnTo>
                  <a:lnTo>
                    <a:pt x="21" y="148"/>
                  </a:lnTo>
                  <a:lnTo>
                    <a:pt x="21" y="152"/>
                  </a:lnTo>
                  <a:lnTo>
                    <a:pt x="9" y="160"/>
                  </a:lnTo>
                  <a:lnTo>
                    <a:pt x="0" y="168"/>
                  </a:lnTo>
                  <a:lnTo>
                    <a:pt x="6" y="174"/>
                  </a:lnTo>
                  <a:lnTo>
                    <a:pt x="10" y="180"/>
                  </a:lnTo>
                  <a:lnTo>
                    <a:pt x="16" y="182"/>
                  </a:lnTo>
                  <a:lnTo>
                    <a:pt x="29" y="183"/>
                  </a:lnTo>
                  <a:lnTo>
                    <a:pt x="37" y="191"/>
                  </a:lnTo>
                  <a:lnTo>
                    <a:pt x="42" y="202"/>
                  </a:lnTo>
                  <a:lnTo>
                    <a:pt x="43" y="208"/>
                  </a:lnTo>
                  <a:lnTo>
                    <a:pt x="53" y="209"/>
                  </a:lnTo>
                  <a:lnTo>
                    <a:pt x="59" y="212"/>
                  </a:lnTo>
                  <a:lnTo>
                    <a:pt x="74" y="215"/>
                  </a:lnTo>
                  <a:lnTo>
                    <a:pt x="88" y="216"/>
                  </a:lnTo>
                  <a:lnTo>
                    <a:pt x="104" y="216"/>
                  </a:lnTo>
                  <a:lnTo>
                    <a:pt x="112" y="216"/>
                  </a:lnTo>
                  <a:lnTo>
                    <a:pt x="120" y="224"/>
                  </a:lnTo>
                  <a:lnTo>
                    <a:pt x="125" y="228"/>
                  </a:lnTo>
                  <a:lnTo>
                    <a:pt x="135" y="227"/>
                  </a:lnTo>
                  <a:lnTo>
                    <a:pt x="144" y="224"/>
                  </a:lnTo>
                  <a:lnTo>
                    <a:pt x="148" y="231"/>
                  </a:lnTo>
                  <a:lnTo>
                    <a:pt x="148" y="240"/>
                  </a:lnTo>
                  <a:lnTo>
                    <a:pt x="146" y="260"/>
                  </a:lnTo>
                  <a:lnTo>
                    <a:pt x="144" y="267"/>
                  </a:lnTo>
                  <a:lnTo>
                    <a:pt x="143" y="282"/>
                  </a:lnTo>
                  <a:lnTo>
                    <a:pt x="139" y="294"/>
                  </a:lnTo>
                  <a:lnTo>
                    <a:pt x="139" y="309"/>
                  </a:lnTo>
                  <a:lnTo>
                    <a:pt x="132" y="317"/>
                  </a:lnTo>
                  <a:lnTo>
                    <a:pt x="120" y="325"/>
                  </a:lnTo>
                  <a:lnTo>
                    <a:pt x="117" y="333"/>
                  </a:lnTo>
                  <a:lnTo>
                    <a:pt x="117" y="339"/>
                  </a:lnTo>
                  <a:lnTo>
                    <a:pt x="126" y="348"/>
                  </a:lnTo>
                  <a:lnTo>
                    <a:pt x="146" y="356"/>
                  </a:lnTo>
                  <a:lnTo>
                    <a:pt x="166" y="359"/>
                  </a:lnTo>
                  <a:lnTo>
                    <a:pt x="174" y="368"/>
                  </a:lnTo>
                  <a:lnTo>
                    <a:pt x="175" y="376"/>
                  </a:lnTo>
                  <a:lnTo>
                    <a:pt x="173" y="384"/>
                  </a:lnTo>
                  <a:lnTo>
                    <a:pt x="166" y="397"/>
                  </a:lnTo>
                  <a:lnTo>
                    <a:pt x="161" y="408"/>
                  </a:lnTo>
                  <a:lnTo>
                    <a:pt x="155" y="421"/>
                  </a:lnTo>
                  <a:lnTo>
                    <a:pt x="152" y="433"/>
                  </a:lnTo>
                  <a:lnTo>
                    <a:pt x="155" y="444"/>
                  </a:lnTo>
                  <a:lnTo>
                    <a:pt x="162" y="450"/>
                  </a:lnTo>
                  <a:lnTo>
                    <a:pt x="162" y="455"/>
                  </a:lnTo>
                  <a:lnTo>
                    <a:pt x="160" y="463"/>
                  </a:lnTo>
                  <a:lnTo>
                    <a:pt x="155" y="465"/>
                  </a:lnTo>
                  <a:lnTo>
                    <a:pt x="144" y="467"/>
                  </a:lnTo>
                  <a:lnTo>
                    <a:pt x="138" y="471"/>
                  </a:lnTo>
                  <a:lnTo>
                    <a:pt x="135" y="484"/>
                  </a:lnTo>
                  <a:lnTo>
                    <a:pt x="139" y="496"/>
                  </a:lnTo>
                  <a:lnTo>
                    <a:pt x="145" y="509"/>
                  </a:lnTo>
                  <a:lnTo>
                    <a:pt x="157" y="525"/>
                  </a:lnTo>
                  <a:lnTo>
                    <a:pt x="169" y="537"/>
                  </a:lnTo>
                  <a:lnTo>
                    <a:pt x="186" y="543"/>
                  </a:lnTo>
                  <a:lnTo>
                    <a:pt x="201" y="547"/>
                  </a:lnTo>
                  <a:lnTo>
                    <a:pt x="220" y="552"/>
                  </a:lnTo>
                  <a:lnTo>
                    <a:pt x="230" y="557"/>
                  </a:lnTo>
                  <a:lnTo>
                    <a:pt x="244" y="563"/>
                  </a:lnTo>
                  <a:lnTo>
                    <a:pt x="259" y="569"/>
                  </a:lnTo>
                  <a:lnTo>
                    <a:pt x="276" y="574"/>
                  </a:lnTo>
                  <a:lnTo>
                    <a:pt x="286" y="584"/>
                  </a:lnTo>
                  <a:lnTo>
                    <a:pt x="293" y="592"/>
                  </a:lnTo>
                  <a:lnTo>
                    <a:pt x="299" y="600"/>
                  </a:lnTo>
                  <a:lnTo>
                    <a:pt x="316" y="601"/>
                  </a:lnTo>
                  <a:lnTo>
                    <a:pt x="328" y="599"/>
                  </a:lnTo>
                  <a:lnTo>
                    <a:pt x="334" y="589"/>
                  </a:lnTo>
                  <a:lnTo>
                    <a:pt x="344" y="586"/>
                  </a:lnTo>
                  <a:lnTo>
                    <a:pt x="351" y="585"/>
                  </a:lnTo>
                  <a:lnTo>
                    <a:pt x="357" y="590"/>
                  </a:lnTo>
                  <a:lnTo>
                    <a:pt x="358" y="598"/>
                  </a:lnTo>
                  <a:lnTo>
                    <a:pt x="358" y="613"/>
                  </a:lnTo>
                  <a:lnTo>
                    <a:pt x="358" y="628"/>
                  </a:lnTo>
                  <a:lnTo>
                    <a:pt x="361" y="635"/>
                  </a:lnTo>
                  <a:lnTo>
                    <a:pt x="369" y="647"/>
                  </a:lnTo>
                  <a:lnTo>
                    <a:pt x="373" y="660"/>
                  </a:lnTo>
                  <a:lnTo>
                    <a:pt x="374" y="667"/>
                  </a:lnTo>
                  <a:lnTo>
                    <a:pt x="372" y="679"/>
                  </a:lnTo>
                  <a:lnTo>
                    <a:pt x="369" y="687"/>
                  </a:lnTo>
                  <a:lnTo>
                    <a:pt x="370" y="697"/>
                  </a:lnTo>
                  <a:lnTo>
                    <a:pt x="368" y="705"/>
                  </a:lnTo>
                  <a:lnTo>
                    <a:pt x="364" y="712"/>
                  </a:lnTo>
                  <a:lnTo>
                    <a:pt x="364" y="721"/>
                  </a:lnTo>
                  <a:lnTo>
                    <a:pt x="366" y="726"/>
                  </a:lnTo>
                  <a:lnTo>
                    <a:pt x="371" y="733"/>
                  </a:lnTo>
                  <a:lnTo>
                    <a:pt x="370" y="743"/>
                  </a:lnTo>
                  <a:lnTo>
                    <a:pt x="365" y="752"/>
                  </a:lnTo>
                  <a:lnTo>
                    <a:pt x="359" y="760"/>
                  </a:lnTo>
                  <a:lnTo>
                    <a:pt x="364" y="763"/>
                  </a:lnTo>
                  <a:lnTo>
                    <a:pt x="368" y="768"/>
                  </a:lnTo>
                  <a:lnTo>
                    <a:pt x="373" y="778"/>
                  </a:lnTo>
                  <a:lnTo>
                    <a:pt x="381" y="783"/>
                  </a:lnTo>
                  <a:lnTo>
                    <a:pt x="395" y="781"/>
                  </a:lnTo>
                  <a:lnTo>
                    <a:pt x="406" y="778"/>
                  </a:lnTo>
                  <a:lnTo>
                    <a:pt x="415" y="771"/>
                  </a:lnTo>
                  <a:lnTo>
                    <a:pt x="421" y="764"/>
                  </a:lnTo>
                  <a:lnTo>
                    <a:pt x="428" y="764"/>
                  </a:lnTo>
                  <a:lnTo>
                    <a:pt x="435" y="764"/>
                  </a:lnTo>
                  <a:lnTo>
                    <a:pt x="441" y="770"/>
                  </a:lnTo>
                  <a:lnTo>
                    <a:pt x="445" y="782"/>
                  </a:lnTo>
                  <a:lnTo>
                    <a:pt x="452" y="793"/>
                  </a:lnTo>
                  <a:lnTo>
                    <a:pt x="464" y="798"/>
                  </a:lnTo>
                  <a:lnTo>
                    <a:pt x="479" y="798"/>
                  </a:lnTo>
                  <a:lnTo>
                    <a:pt x="495" y="794"/>
                  </a:lnTo>
                  <a:lnTo>
                    <a:pt x="508" y="790"/>
                  </a:lnTo>
                  <a:lnTo>
                    <a:pt x="520" y="781"/>
                  </a:lnTo>
                  <a:lnTo>
                    <a:pt x="530" y="772"/>
                  </a:lnTo>
                  <a:lnTo>
                    <a:pt x="536" y="764"/>
                  </a:lnTo>
                  <a:lnTo>
                    <a:pt x="544" y="764"/>
                  </a:lnTo>
                  <a:lnTo>
                    <a:pt x="547" y="772"/>
                  </a:lnTo>
                  <a:lnTo>
                    <a:pt x="548" y="789"/>
                  </a:lnTo>
                  <a:lnTo>
                    <a:pt x="552" y="775"/>
                  </a:lnTo>
                  <a:lnTo>
                    <a:pt x="558" y="756"/>
                  </a:lnTo>
                  <a:lnTo>
                    <a:pt x="563" y="742"/>
                  </a:lnTo>
                  <a:lnTo>
                    <a:pt x="568" y="730"/>
                  </a:lnTo>
                  <a:lnTo>
                    <a:pt x="585" y="721"/>
                  </a:lnTo>
                  <a:lnTo>
                    <a:pt x="598" y="717"/>
                  </a:lnTo>
                  <a:lnTo>
                    <a:pt x="606" y="718"/>
                  </a:lnTo>
                  <a:lnTo>
                    <a:pt x="615" y="722"/>
                  </a:lnTo>
                  <a:lnTo>
                    <a:pt x="623" y="727"/>
                  </a:lnTo>
                  <a:lnTo>
                    <a:pt x="635" y="727"/>
                  </a:lnTo>
                  <a:lnTo>
                    <a:pt x="643" y="721"/>
                  </a:lnTo>
                  <a:lnTo>
                    <a:pt x="661" y="709"/>
                  </a:lnTo>
                  <a:lnTo>
                    <a:pt x="678" y="697"/>
                  </a:lnTo>
                  <a:lnTo>
                    <a:pt x="686" y="695"/>
                  </a:lnTo>
                  <a:lnTo>
                    <a:pt x="695" y="696"/>
                  </a:lnTo>
                  <a:lnTo>
                    <a:pt x="705" y="697"/>
                  </a:lnTo>
                  <a:lnTo>
                    <a:pt x="716" y="700"/>
                  </a:lnTo>
                  <a:lnTo>
                    <a:pt x="725" y="701"/>
                  </a:lnTo>
                  <a:lnTo>
                    <a:pt x="736" y="697"/>
                  </a:lnTo>
                  <a:lnTo>
                    <a:pt x="736" y="687"/>
                  </a:lnTo>
                  <a:lnTo>
                    <a:pt x="735" y="674"/>
                  </a:lnTo>
                  <a:lnTo>
                    <a:pt x="734" y="666"/>
                  </a:lnTo>
                  <a:lnTo>
                    <a:pt x="728" y="660"/>
                  </a:lnTo>
                  <a:lnTo>
                    <a:pt x="721" y="653"/>
                  </a:lnTo>
                  <a:lnTo>
                    <a:pt x="715" y="649"/>
                  </a:lnTo>
                  <a:lnTo>
                    <a:pt x="713" y="641"/>
                  </a:lnTo>
                  <a:lnTo>
                    <a:pt x="713" y="635"/>
                  </a:lnTo>
                  <a:lnTo>
                    <a:pt x="710" y="630"/>
                  </a:lnTo>
                  <a:lnTo>
                    <a:pt x="701" y="626"/>
                  </a:lnTo>
                  <a:lnTo>
                    <a:pt x="695" y="618"/>
                  </a:lnTo>
                  <a:lnTo>
                    <a:pt x="694" y="606"/>
                  </a:lnTo>
                  <a:lnTo>
                    <a:pt x="694" y="595"/>
                  </a:lnTo>
                  <a:lnTo>
                    <a:pt x="702" y="584"/>
                  </a:lnTo>
                  <a:lnTo>
                    <a:pt x="709" y="574"/>
                  </a:lnTo>
                  <a:lnTo>
                    <a:pt x="711" y="568"/>
                  </a:lnTo>
                  <a:lnTo>
                    <a:pt x="711" y="555"/>
                  </a:lnTo>
                  <a:lnTo>
                    <a:pt x="714" y="543"/>
                  </a:lnTo>
                  <a:lnTo>
                    <a:pt x="718" y="533"/>
                  </a:lnTo>
                  <a:lnTo>
                    <a:pt x="720" y="521"/>
                  </a:lnTo>
                  <a:lnTo>
                    <a:pt x="716" y="504"/>
                  </a:lnTo>
                  <a:lnTo>
                    <a:pt x="716" y="485"/>
                  </a:lnTo>
                  <a:lnTo>
                    <a:pt x="715" y="465"/>
                  </a:lnTo>
                  <a:lnTo>
                    <a:pt x="714" y="444"/>
                  </a:lnTo>
                  <a:lnTo>
                    <a:pt x="705" y="440"/>
                  </a:lnTo>
                  <a:lnTo>
                    <a:pt x="693" y="434"/>
                  </a:lnTo>
                  <a:lnTo>
                    <a:pt x="683" y="420"/>
                  </a:lnTo>
                  <a:lnTo>
                    <a:pt x="680" y="410"/>
                  </a:lnTo>
                  <a:lnTo>
                    <a:pt x="678" y="400"/>
                  </a:lnTo>
                  <a:lnTo>
                    <a:pt x="678" y="386"/>
                  </a:lnTo>
                  <a:lnTo>
                    <a:pt x="679" y="372"/>
                  </a:lnTo>
                  <a:lnTo>
                    <a:pt x="689" y="360"/>
                  </a:lnTo>
                  <a:lnTo>
                    <a:pt x="692" y="354"/>
                  </a:lnTo>
                  <a:lnTo>
                    <a:pt x="692" y="340"/>
                  </a:lnTo>
                  <a:lnTo>
                    <a:pt x="690" y="327"/>
                  </a:lnTo>
                  <a:lnTo>
                    <a:pt x="683" y="321"/>
                  </a:lnTo>
                  <a:lnTo>
                    <a:pt x="669" y="305"/>
                  </a:lnTo>
                  <a:lnTo>
                    <a:pt x="651" y="289"/>
                  </a:lnTo>
                  <a:lnTo>
                    <a:pt x="642" y="275"/>
                  </a:lnTo>
                  <a:lnTo>
                    <a:pt x="632" y="263"/>
                  </a:lnTo>
                  <a:lnTo>
                    <a:pt x="619" y="259"/>
                  </a:lnTo>
                  <a:lnTo>
                    <a:pt x="611" y="256"/>
                  </a:lnTo>
                  <a:lnTo>
                    <a:pt x="592" y="238"/>
                  </a:lnTo>
                  <a:lnTo>
                    <a:pt x="581" y="234"/>
                  </a:lnTo>
                  <a:lnTo>
                    <a:pt x="565" y="226"/>
                  </a:lnTo>
                  <a:lnTo>
                    <a:pt x="565" y="216"/>
                  </a:lnTo>
                  <a:lnTo>
                    <a:pt x="569" y="202"/>
                  </a:lnTo>
                  <a:lnTo>
                    <a:pt x="575" y="191"/>
                  </a:lnTo>
                  <a:lnTo>
                    <a:pt x="588" y="183"/>
                  </a:lnTo>
                  <a:lnTo>
                    <a:pt x="598" y="171"/>
                  </a:lnTo>
                  <a:lnTo>
                    <a:pt x="601" y="152"/>
                  </a:lnTo>
                  <a:lnTo>
                    <a:pt x="622" y="126"/>
                  </a:lnTo>
                  <a:lnTo>
                    <a:pt x="637" y="99"/>
                  </a:lnTo>
                  <a:lnTo>
                    <a:pt x="644" y="80"/>
                  </a:lnTo>
                  <a:lnTo>
                    <a:pt x="640" y="68"/>
                  </a:lnTo>
                  <a:lnTo>
                    <a:pt x="634" y="52"/>
                  </a:lnTo>
                  <a:lnTo>
                    <a:pt x="625" y="37"/>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 name="Freeform 36">
              <a:extLst>
                <a:ext uri="{FF2B5EF4-FFF2-40B4-BE49-F238E27FC236}">
                  <a16:creationId xmlns:a16="http://schemas.microsoft.com/office/drawing/2014/main" id="{6F4C5405-0673-4219-BA42-071E661E4635}"/>
                </a:ext>
              </a:extLst>
            </p:cNvPr>
            <p:cNvSpPr>
              <a:spLocks/>
            </p:cNvSpPr>
            <p:nvPr/>
          </p:nvSpPr>
          <p:spPr bwMode="auto">
            <a:xfrm>
              <a:off x="5458490" y="3371921"/>
              <a:ext cx="205552" cy="186735"/>
            </a:xfrm>
            <a:custGeom>
              <a:avLst/>
              <a:gdLst/>
              <a:ahLst/>
              <a:cxnLst>
                <a:cxn ang="0">
                  <a:pos x="1" y="37"/>
                </a:cxn>
                <a:cxn ang="0">
                  <a:pos x="18" y="17"/>
                </a:cxn>
                <a:cxn ang="0">
                  <a:pos x="29" y="11"/>
                </a:cxn>
                <a:cxn ang="0">
                  <a:pos x="54" y="10"/>
                </a:cxn>
                <a:cxn ang="0">
                  <a:pos x="57" y="3"/>
                </a:cxn>
                <a:cxn ang="0">
                  <a:pos x="65" y="0"/>
                </a:cxn>
                <a:cxn ang="0">
                  <a:pos x="72" y="2"/>
                </a:cxn>
                <a:cxn ang="0">
                  <a:pos x="75" y="10"/>
                </a:cxn>
                <a:cxn ang="0">
                  <a:pos x="79" y="16"/>
                </a:cxn>
                <a:cxn ang="0">
                  <a:pos x="90" y="16"/>
                </a:cxn>
                <a:cxn ang="0">
                  <a:pos x="98" y="14"/>
                </a:cxn>
                <a:cxn ang="0">
                  <a:pos x="106" y="11"/>
                </a:cxn>
                <a:cxn ang="0">
                  <a:pos x="119" y="18"/>
                </a:cxn>
                <a:cxn ang="0">
                  <a:pos x="125" y="32"/>
                </a:cxn>
                <a:cxn ang="0">
                  <a:pos x="128" y="40"/>
                </a:cxn>
                <a:cxn ang="0">
                  <a:pos x="140" y="43"/>
                </a:cxn>
                <a:cxn ang="0">
                  <a:pos x="142" y="50"/>
                </a:cxn>
                <a:cxn ang="0">
                  <a:pos x="140" y="56"/>
                </a:cxn>
                <a:cxn ang="0">
                  <a:pos x="136" y="63"/>
                </a:cxn>
                <a:cxn ang="0">
                  <a:pos x="137" y="88"/>
                </a:cxn>
                <a:cxn ang="0">
                  <a:pos x="137" y="102"/>
                </a:cxn>
                <a:cxn ang="0">
                  <a:pos x="133" y="115"/>
                </a:cxn>
                <a:cxn ang="0">
                  <a:pos x="119" y="127"/>
                </a:cxn>
                <a:cxn ang="0">
                  <a:pos x="106" y="129"/>
                </a:cxn>
                <a:cxn ang="0">
                  <a:pos x="94" y="118"/>
                </a:cxn>
                <a:cxn ang="0">
                  <a:pos x="92" y="107"/>
                </a:cxn>
                <a:cxn ang="0">
                  <a:pos x="79" y="101"/>
                </a:cxn>
                <a:cxn ang="0">
                  <a:pos x="57" y="100"/>
                </a:cxn>
                <a:cxn ang="0">
                  <a:pos x="35" y="100"/>
                </a:cxn>
                <a:cxn ang="0">
                  <a:pos x="22" y="100"/>
                </a:cxn>
                <a:cxn ang="0">
                  <a:pos x="20" y="94"/>
                </a:cxn>
                <a:cxn ang="0">
                  <a:pos x="24" y="88"/>
                </a:cxn>
                <a:cxn ang="0">
                  <a:pos x="32" y="82"/>
                </a:cxn>
                <a:cxn ang="0">
                  <a:pos x="34" y="68"/>
                </a:cxn>
                <a:cxn ang="0">
                  <a:pos x="36" y="49"/>
                </a:cxn>
                <a:cxn ang="0">
                  <a:pos x="31" y="42"/>
                </a:cxn>
                <a:cxn ang="0">
                  <a:pos x="22" y="49"/>
                </a:cxn>
                <a:cxn ang="0">
                  <a:pos x="14" y="60"/>
                </a:cxn>
                <a:cxn ang="0">
                  <a:pos x="5" y="61"/>
                </a:cxn>
                <a:cxn ang="0">
                  <a:pos x="1" y="50"/>
                </a:cxn>
                <a:cxn ang="0">
                  <a:pos x="1" y="49"/>
                </a:cxn>
                <a:cxn ang="0">
                  <a:pos x="0" y="49"/>
                </a:cxn>
                <a:cxn ang="0">
                  <a:pos x="1" y="37"/>
                </a:cxn>
              </a:cxnLst>
              <a:rect l="0" t="0" r="r" b="b"/>
              <a:pathLst>
                <a:path w="142" h="129">
                  <a:moveTo>
                    <a:pt x="1" y="37"/>
                  </a:moveTo>
                  <a:lnTo>
                    <a:pt x="18" y="17"/>
                  </a:lnTo>
                  <a:lnTo>
                    <a:pt x="29" y="11"/>
                  </a:lnTo>
                  <a:lnTo>
                    <a:pt x="54" y="10"/>
                  </a:lnTo>
                  <a:lnTo>
                    <a:pt x="57" y="3"/>
                  </a:lnTo>
                  <a:lnTo>
                    <a:pt x="65" y="0"/>
                  </a:lnTo>
                  <a:lnTo>
                    <a:pt x="72" y="2"/>
                  </a:lnTo>
                  <a:lnTo>
                    <a:pt x="75" y="10"/>
                  </a:lnTo>
                  <a:lnTo>
                    <a:pt x="79" y="16"/>
                  </a:lnTo>
                  <a:lnTo>
                    <a:pt x="90" y="16"/>
                  </a:lnTo>
                  <a:lnTo>
                    <a:pt x="98" y="14"/>
                  </a:lnTo>
                  <a:lnTo>
                    <a:pt x="106" y="11"/>
                  </a:lnTo>
                  <a:lnTo>
                    <a:pt x="119" y="18"/>
                  </a:lnTo>
                  <a:lnTo>
                    <a:pt x="125" y="32"/>
                  </a:lnTo>
                  <a:lnTo>
                    <a:pt x="128" y="40"/>
                  </a:lnTo>
                  <a:lnTo>
                    <a:pt x="140" y="43"/>
                  </a:lnTo>
                  <a:lnTo>
                    <a:pt x="142" y="50"/>
                  </a:lnTo>
                  <a:lnTo>
                    <a:pt x="140" y="56"/>
                  </a:lnTo>
                  <a:lnTo>
                    <a:pt x="136" y="63"/>
                  </a:lnTo>
                  <a:lnTo>
                    <a:pt x="137" y="88"/>
                  </a:lnTo>
                  <a:lnTo>
                    <a:pt x="137" y="102"/>
                  </a:lnTo>
                  <a:lnTo>
                    <a:pt x="133" y="115"/>
                  </a:lnTo>
                  <a:lnTo>
                    <a:pt x="119" y="127"/>
                  </a:lnTo>
                  <a:lnTo>
                    <a:pt x="106" y="129"/>
                  </a:lnTo>
                  <a:lnTo>
                    <a:pt x="94" y="118"/>
                  </a:lnTo>
                  <a:lnTo>
                    <a:pt x="92" y="107"/>
                  </a:lnTo>
                  <a:lnTo>
                    <a:pt x="79" y="101"/>
                  </a:lnTo>
                  <a:lnTo>
                    <a:pt x="57" y="100"/>
                  </a:lnTo>
                  <a:lnTo>
                    <a:pt x="35" y="100"/>
                  </a:lnTo>
                  <a:lnTo>
                    <a:pt x="22" y="100"/>
                  </a:lnTo>
                  <a:lnTo>
                    <a:pt x="20" y="94"/>
                  </a:lnTo>
                  <a:lnTo>
                    <a:pt x="24" y="88"/>
                  </a:lnTo>
                  <a:lnTo>
                    <a:pt x="32" y="82"/>
                  </a:lnTo>
                  <a:lnTo>
                    <a:pt x="34" y="68"/>
                  </a:lnTo>
                  <a:lnTo>
                    <a:pt x="36" y="49"/>
                  </a:lnTo>
                  <a:lnTo>
                    <a:pt x="31" y="42"/>
                  </a:lnTo>
                  <a:lnTo>
                    <a:pt x="22" y="49"/>
                  </a:lnTo>
                  <a:lnTo>
                    <a:pt x="14" y="60"/>
                  </a:lnTo>
                  <a:lnTo>
                    <a:pt x="5" y="61"/>
                  </a:lnTo>
                  <a:lnTo>
                    <a:pt x="1" y="50"/>
                  </a:lnTo>
                  <a:lnTo>
                    <a:pt x="1" y="49"/>
                  </a:lnTo>
                  <a:lnTo>
                    <a:pt x="0" y="49"/>
                  </a:lnTo>
                  <a:lnTo>
                    <a:pt x="1" y="37"/>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39" name="Footer Placeholder 38">
            <a:extLst>
              <a:ext uri="{FF2B5EF4-FFF2-40B4-BE49-F238E27FC236}">
                <a16:creationId xmlns:a16="http://schemas.microsoft.com/office/drawing/2014/main" id="{4D34C94A-DF9F-4152-BEF4-F05DFF8C0CE9}"/>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42" name="Slide Number Placeholder 41">
            <a:extLst>
              <a:ext uri="{FF2B5EF4-FFF2-40B4-BE49-F238E27FC236}">
                <a16:creationId xmlns:a16="http://schemas.microsoft.com/office/drawing/2014/main" id="{0B4D54AE-C968-4C34-AE59-AB452C6D1833}"/>
              </a:ext>
            </a:extLst>
          </p:cNvPr>
          <p:cNvSpPr>
            <a:spLocks noGrp="1"/>
          </p:cNvSpPr>
          <p:nvPr>
            <p:ph type="sldNum" sz="quarter" idx="10"/>
          </p:nvPr>
        </p:nvSpPr>
        <p:spPr/>
        <p:txBody>
          <a:bodyPr/>
          <a:lstStyle/>
          <a:p>
            <a:fld id="{1F90F471-3972-4120-B8B3-0237DE626C35}" type="slidenum">
              <a:rPr lang="en-US" smtClean="0"/>
              <a:pPr/>
              <a:t>362</a:t>
            </a:fld>
            <a:endParaRPr lang="en-US" dirty="0"/>
          </a:p>
        </p:txBody>
      </p:sp>
    </p:spTree>
    <p:extLst>
      <p:ext uri="{BB962C8B-B14F-4D97-AF65-F5344CB8AC3E}">
        <p14:creationId xmlns:p14="http://schemas.microsoft.com/office/powerpoint/2010/main" val="647388303"/>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France</a:t>
            </a:r>
            <a:endParaRPr lang="de-DE" dirty="0"/>
          </a:p>
        </p:txBody>
      </p:sp>
      <p:sp>
        <p:nvSpPr>
          <p:cNvPr id="3" name="TextBox 2">
            <a:extLst>
              <a:ext uri="{FF2B5EF4-FFF2-40B4-BE49-F238E27FC236}">
                <a16:creationId xmlns:a16="http://schemas.microsoft.com/office/drawing/2014/main" id="{30080E07-7C7F-4C4E-824C-71DF60964B22}"/>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shade one or more countries</a:t>
            </a:r>
          </a:p>
        </p:txBody>
      </p:sp>
      <p:grpSp>
        <p:nvGrpSpPr>
          <p:cNvPr id="38" name="Gruppieren 140" descr="France, describe the map here">
            <a:extLst>
              <a:ext uri="{FF2B5EF4-FFF2-40B4-BE49-F238E27FC236}">
                <a16:creationId xmlns:a16="http://schemas.microsoft.com/office/drawing/2014/main" id="{671E2696-4626-476E-A2DD-561676D4B143}"/>
              </a:ext>
            </a:extLst>
          </p:cNvPr>
          <p:cNvGrpSpPr/>
          <p:nvPr/>
        </p:nvGrpSpPr>
        <p:grpSpPr bwMode="auto">
          <a:xfrm>
            <a:off x="3814960" y="1108215"/>
            <a:ext cx="5279095" cy="4904238"/>
            <a:chOff x="2306638" y="-17900650"/>
            <a:chExt cx="38542913" cy="35806063"/>
          </a:xfrm>
          <a:solidFill>
            <a:srgbClr val="96968C">
              <a:lumMod val="40000"/>
              <a:lumOff val="60000"/>
            </a:srgbClr>
          </a:solidFill>
        </p:grpSpPr>
        <p:sp>
          <p:nvSpPr>
            <p:cNvPr id="39" name="Freeform 7">
              <a:extLst>
                <a:ext uri="{FF2B5EF4-FFF2-40B4-BE49-F238E27FC236}">
                  <a16:creationId xmlns:a16="http://schemas.microsoft.com/office/drawing/2014/main" id="{55AFF21C-8AEB-49D4-8A3E-FB89CEF2A5B5}"/>
                </a:ext>
              </a:extLst>
            </p:cNvPr>
            <p:cNvSpPr>
              <a:spLocks/>
            </p:cNvSpPr>
            <p:nvPr/>
          </p:nvSpPr>
          <p:spPr bwMode="auto">
            <a:xfrm>
              <a:off x="15106651" y="-9750425"/>
              <a:ext cx="7743825" cy="9740900"/>
            </a:xfrm>
            <a:custGeom>
              <a:avLst/>
              <a:gdLst>
                <a:gd name="T0" fmla="*/ 119 w 4878"/>
                <a:gd name="T1" fmla="*/ 3766 h 6136"/>
                <a:gd name="T2" fmla="*/ 256 w 4878"/>
                <a:gd name="T3" fmla="*/ 3250 h 6136"/>
                <a:gd name="T4" fmla="*/ 540 w 4878"/>
                <a:gd name="T5" fmla="*/ 3107 h 6136"/>
                <a:gd name="T6" fmla="*/ 890 w 4878"/>
                <a:gd name="T7" fmla="*/ 2976 h 6136"/>
                <a:gd name="T8" fmla="*/ 1121 w 4878"/>
                <a:gd name="T9" fmla="*/ 2626 h 6136"/>
                <a:gd name="T10" fmla="*/ 1271 w 4878"/>
                <a:gd name="T11" fmla="*/ 2301 h 6136"/>
                <a:gd name="T12" fmla="*/ 1290 w 4878"/>
                <a:gd name="T13" fmla="*/ 2017 h 6136"/>
                <a:gd name="T14" fmla="*/ 1340 w 4878"/>
                <a:gd name="T15" fmla="*/ 1836 h 6136"/>
                <a:gd name="T16" fmla="*/ 1262 w 4878"/>
                <a:gd name="T17" fmla="*/ 1636 h 6136"/>
                <a:gd name="T18" fmla="*/ 1308 w 4878"/>
                <a:gd name="T19" fmla="*/ 1405 h 6136"/>
                <a:gd name="T20" fmla="*/ 1468 w 4878"/>
                <a:gd name="T21" fmla="*/ 1024 h 6136"/>
                <a:gd name="T22" fmla="*/ 1274 w 4878"/>
                <a:gd name="T23" fmla="*/ 746 h 6136"/>
                <a:gd name="T24" fmla="*/ 1558 w 4878"/>
                <a:gd name="T25" fmla="*/ 496 h 6136"/>
                <a:gd name="T26" fmla="*/ 1924 w 4878"/>
                <a:gd name="T27" fmla="*/ 450 h 6136"/>
                <a:gd name="T28" fmla="*/ 2233 w 4878"/>
                <a:gd name="T29" fmla="*/ 190 h 6136"/>
                <a:gd name="T30" fmla="*/ 2373 w 4878"/>
                <a:gd name="T31" fmla="*/ 75 h 6136"/>
                <a:gd name="T32" fmla="*/ 2492 w 4878"/>
                <a:gd name="T33" fmla="*/ 468 h 6136"/>
                <a:gd name="T34" fmla="*/ 2564 w 4878"/>
                <a:gd name="T35" fmla="*/ 731 h 6136"/>
                <a:gd name="T36" fmla="*/ 2764 w 4878"/>
                <a:gd name="T37" fmla="*/ 1005 h 6136"/>
                <a:gd name="T38" fmla="*/ 3020 w 4878"/>
                <a:gd name="T39" fmla="*/ 1224 h 6136"/>
                <a:gd name="T40" fmla="*/ 3082 w 4878"/>
                <a:gd name="T41" fmla="*/ 1564 h 6136"/>
                <a:gd name="T42" fmla="*/ 3251 w 4878"/>
                <a:gd name="T43" fmla="*/ 1539 h 6136"/>
                <a:gd name="T44" fmla="*/ 3426 w 4878"/>
                <a:gd name="T45" fmla="*/ 1452 h 6136"/>
                <a:gd name="T46" fmla="*/ 3619 w 4878"/>
                <a:gd name="T47" fmla="*/ 1458 h 6136"/>
                <a:gd name="T48" fmla="*/ 3807 w 4878"/>
                <a:gd name="T49" fmla="*/ 1667 h 6136"/>
                <a:gd name="T50" fmla="*/ 3872 w 4878"/>
                <a:gd name="T51" fmla="*/ 1961 h 6136"/>
                <a:gd name="T52" fmla="*/ 4278 w 4878"/>
                <a:gd name="T53" fmla="*/ 1927 h 6136"/>
                <a:gd name="T54" fmla="*/ 4475 w 4878"/>
                <a:gd name="T55" fmla="*/ 1914 h 6136"/>
                <a:gd name="T56" fmla="*/ 4619 w 4878"/>
                <a:gd name="T57" fmla="*/ 1892 h 6136"/>
                <a:gd name="T58" fmla="*/ 4768 w 4878"/>
                <a:gd name="T59" fmla="*/ 2080 h 6136"/>
                <a:gd name="T60" fmla="*/ 4800 w 4878"/>
                <a:gd name="T61" fmla="*/ 2348 h 6136"/>
                <a:gd name="T62" fmla="*/ 4709 w 4878"/>
                <a:gd name="T63" fmla="*/ 2557 h 6136"/>
                <a:gd name="T64" fmla="*/ 4609 w 4878"/>
                <a:gd name="T65" fmla="*/ 2782 h 6136"/>
                <a:gd name="T66" fmla="*/ 4512 w 4878"/>
                <a:gd name="T67" fmla="*/ 2954 h 6136"/>
                <a:gd name="T68" fmla="*/ 4609 w 4878"/>
                <a:gd name="T69" fmla="*/ 3260 h 6136"/>
                <a:gd name="T70" fmla="*/ 4559 w 4878"/>
                <a:gd name="T71" fmla="*/ 3500 h 6136"/>
                <a:gd name="T72" fmla="*/ 4547 w 4878"/>
                <a:gd name="T73" fmla="*/ 3884 h 6136"/>
                <a:gd name="T74" fmla="*/ 4747 w 4878"/>
                <a:gd name="T75" fmla="*/ 4225 h 6136"/>
                <a:gd name="T76" fmla="*/ 4803 w 4878"/>
                <a:gd name="T77" fmla="*/ 4727 h 6136"/>
                <a:gd name="T78" fmla="*/ 4753 w 4878"/>
                <a:gd name="T79" fmla="*/ 5096 h 6136"/>
                <a:gd name="T80" fmla="*/ 4500 w 4878"/>
                <a:gd name="T81" fmla="*/ 5186 h 6136"/>
                <a:gd name="T82" fmla="*/ 4356 w 4878"/>
                <a:gd name="T83" fmla="*/ 5283 h 6136"/>
                <a:gd name="T84" fmla="*/ 4116 w 4878"/>
                <a:gd name="T85" fmla="*/ 5333 h 6136"/>
                <a:gd name="T86" fmla="*/ 4041 w 4878"/>
                <a:gd name="T87" fmla="*/ 5502 h 6136"/>
                <a:gd name="T88" fmla="*/ 4044 w 4878"/>
                <a:gd name="T89" fmla="*/ 5661 h 6136"/>
                <a:gd name="T90" fmla="*/ 3700 w 4878"/>
                <a:gd name="T91" fmla="*/ 5755 h 6136"/>
                <a:gd name="T92" fmla="*/ 3429 w 4878"/>
                <a:gd name="T93" fmla="*/ 5955 h 6136"/>
                <a:gd name="T94" fmla="*/ 3029 w 4878"/>
                <a:gd name="T95" fmla="*/ 5945 h 6136"/>
                <a:gd name="T96" fmla="*/ 2679 w 4878"/>
                <a:gd name="T97" fmla="*/ 5936 h 6136"/>
                <a:gd name="T98" fmla="*/ 2542 w 4878"/>
                <a:gd name="T99" fmla="*/ 6030 h 6136"/>
                <a:gd name="T100" fmla="*/ 2358 w 4878"/>
                <a:gd name="T101" fmla="*/ 5961 h 6136"/>
                <a:gd name="T102" fmla="*/ 2102 w 4878"/>
                <a:gd name="T103" fmla="*/ 6133 h 6136"/>
                <a:gd name="T104" fmla="*/ 1936 w 4878"/>
                <a:gd name="T105" fmla="*/ 6092 h 6136"/>
                <a:gd name="T106" fmla="*/ 1796 w 4878"/>
                <a:gd name="T107" fmla="*/ 5939 h 6136"/>
                <a:gd name="T108" fmla="*/ 1677 w 4878"/>
                <a:gd name="T109" fmla="*/ 5677 h 6136"/>
                <a:gd name="T110" fmla="*/ 1312 w 4878"/>
                <a:gd name="T111" fmla="*/ 5489 h 6136"/>
                <a:gd name="T112" fmla="*/ 1152 w 4878"/>
                <a:gd name="T113" fmla="*/ 5015 h 6136"/>
                <a:gd name="T114" fmla="*/ 849 w 4878"/>
                <a:gd name="T115" fmla="*/ 4584 h 6136"/>
                <a:gd name="T116" fmla="*/ 643 w 4878"/>
                <a:gd name="T117" fmla="*/ 4690 h 6136"/>
                <a:gd name="T118" fmla="*/ 381 w 4878"/>
                <a:gd name="T119" fmla="*/ 4702 h 6136"/>
                <a:gd name="T120" fmla="*/ 209 w 4878"/>
                <a:gd name="T121" fmla="*/ 4403 h 6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78" h="6136">
                  <a:moveTo>
                    <a:pt x="13" y="4181"/>
                  </a:moveTo>
                  <a:lnTo>
                    <a:pt x="6" y="4175"/>
                  </a:lnTo>
                  <a:lnTo>
                    <a:pt x="0" y="4147"/>
                  </a:lnTo>
                  <a:lnTo>
                    <a:pt x="0" y="4112"/>
                  </a:lnTo>
                  <a:lnTo>
                    <a:pt x="0" y="4072"/>
                  </a:lnTo>
                  <a:lnTo>
                    <a:pt x="3" y="4037"/>
                  </a:lnTo>
                  <a:lnTo>
                    <a:pt x="6" y="4006"/>
                  </a:lnTo>
                  <a:lnTo>
                    <a:pt x="13" y="3981"/>
                  </a:lnTo>
                  <a:lnTo>
                    <a:pt x="22" y="3947"/>
                  </a:lnTo>
                  <a:lnTo>
                    <a:pt x="31" y="3916"/>
                  </a:lnTo>
                  <a:lnTo>
                    <a:pt x="38" y="3887"/>
                  </a:lnTo>
                  <a:lnTo>
                    <a:pt x="38" y="3872"/>
                  </a:lnTo>
                  <a:lnTo>
                    <a:pt x="38" y="3853"/>
                  </a:lnTo>
                  <a:lnTo>
                    <a:pt x="41" y="3831"/>
                  </a:lnTo>
                  <a:lnTo>
                    <a:pt x="44" y="3816"/>
                  </a:lnTo>
                  <a:lnTo>
                    <a:pt x="59" y="3803"/>
                  </a:lnTo>
                  <a:lnTo>
                    <a:pt x="81" y="3791"/>
                  </a:lnTo>
                  <a:lnTo>
                    <a:pt x="103" y="3778"/>
                  </a:lnTo>
                  <a:lnTo>
                    <a:pt x="119" y="3766"/>
                  </a:lnTo>
                  <a:lnTo>
                    <a:pt x="134" y="3747"/>
                  </a:lnTo>
                  <a:lnTo>
                    <a:pt x="153" y="3719"/>
                  </a:lnTo>
                  <a:lnTo>
                    <a:pt x="169" y="3691"/>
                  </a:lnTo>
                  <a:lnTo>
                    <a:pt x="178" y="3669"/>
                  </a:lnTo>
                  <a:lnTo>
                    <a:pt x="181" y="3647"/>
                  </a:lnTo>
                  <a:lnTo>
                    <a:pt x="181" y="3619"/>
                  </a:lnTo>
                  <a:lnTo>
                    <a:pt x="181" y="3591"/>
                  </a:lnTo>
                  <a:lnTo>
                    <a:pt x="181" y="3569"/>
                  </a:lnTo>
                  <a:lnTo>
                    <a:pt x="187" y="3538"/>
                  </a:lnTo>
                  <a:lnTo>
                    <a:pt x="197" y="3500"/>
                  </a:lnTo>
                  <a:lnTo>
                    <a:pt x="206" y="3463"/>
                  </a:lnTo>
                  <a:lnTo>
                    <a:pt x="216" y="3432"/>
                  </a:lnTo>
                  <a:lnTo>
                    <a:pt x="225" y="3413"/>
                  </a:lnTo>
                  <a:lnTo>
                    <a:pt x="237" y="3391"/>
                  </a:lnTo>
                  <a:lnTo>
                    <a:pt x="250" y="3366"/>
                  </a:lnTo>
                  <a:lnTo>
                    <a:pt x="256" y="3347"/>
                  </a:lnTo>
                  <a:lnTo>
                    <a:pt x="259" y="3319"/>
                  </a:lnTo>
                  <a:lnTo>
                    <a:pt x="256" y="3285"/>
                  </a:lnTo>
                  <a:lnTo>
                    <a:pt x="256" y="3250"/>
                  </a:lnTo>
                  <a:lnTo>
                    <a:pt x="259" y="3222"/>
                  </a:lnTo>
                  <a:lnTo>
                    <a:pt x="272" y="3201"/>
                  </a:lnTo>
                  <a:lnTo>
                    <a:pt x="287" y="3182"/>
                  </a:lnTo>
                  <a:lnTo>
                    <a:pt x="306" y="3163"/>
                  </a:lnTo>
                  <a:lnTo>
                    <a:pt x="325" y="3151"/>
                  </a:lnTo>
                  <a:lnTo>
                    <a:pt x="347" y="3144"/>
                  </a:lnTo>
                  <a:lnTo>
                    <a:pt x="378" y="3147"/>
                  </a:lnTo>
                  <a:lnTo>
                    <a:pt x="403" y="3151"/>
                  </a:lnTo>
                  <a:lnTo>
                    <a:pt x="425" y="3160"/>
                  </a:lnTo>
                  <a:lnTo>
                    <a:pt x="447" y="3172"/>
                  </a:lnTo>
                  <a:lnTo>
                    <a:pt x="468" y="3179"/>
                  </a:lnTo>
                  <a:lnTo>
                    <a:pt x="478" y="3179"/>
                  </a:lnTo>
                  <a:lnTo>
                    <a:pt x="487" y="3182"/>
                  </a:lnTo>
                  <a:lnTo>
                    <a:pt x="500" y="3179"/>
                  </a:lnTo>
                  <a:lnTo>
                    <a:pt x="509" y="3179"/>
                  </a:lnTo>
                  <a:lnTo>
                    <a:pt x="515" y="3176"/>
                  </a:lnTo>
                  <a:lnTo>
                    <a:pt x="525" y="3157"/>
                  </a:lnTo>
                  <a:lnTo>
                    <a:pt x="534" y="3132"/>
                  </a:lnTo>
                  <a:lnTo>
                    <a:pt x="540" y="3107"/>
                  </a:lnTo>
                  <a:lnTo>
                    <a:pt x="550" y="3088"/>
                  </a:lnTo>
                  <a:lnTo>
                    <a:pt x="575" y="3076"/>
                  </a:lnTo>
                  <a:lnTo>
                    <a:pt x="606" y="3066"/>
                  </a:lnTo>
                  <a:lnTo>
                    <a:pt x="634" y="3063"/>
                  </a:lnTo>
                  <a:lnTo>
                    <a:pt x="653" y="3063"/>
                  </a:lnTo>
                  <a:lnTo>
                    <a:pt x="675" y="3063"/>
                  </a:lnTo>
                  <a:lnTo>
                    <a:pt x="693" y="3063"/>
                  </a:lnTo>
                  <a:lnTo>
                    <a:pt x="715" y="3051"/>
                  </a:lnTo>
                  <a:lnTo>
                    <a:pt x="740" y="3032"/>
                  </a:lnTo>
                  <a:lnTo>
                    <a:pt x="762" y="3019"/>
                  </a:lnTo>
                  <a:lnTo>
                    <a:pt x="781" y="3016"/>
                  </a:lnTo>
                  <a:lnTo>
                    <a:pt x="806" y="3019"/>
                  </a:lnTo>
                  <a:lnTo>
                    <a:pt x="831" y="3023"/>
                  </a:lnTo>
                  <a:lnTo>
                    <a:pt x="849" y="3019"/>
                  </a:lnTo>
                  <a:lnTo>
                    <a:pt x="859" y="3013"/>
                  </a:lnTo>
                  <a:lnTo>
                    <a:pt x="868" y="3007"/>
                  </a:lnTo>
                  <a:lnTo>
                    <a:pt x="874" y="2998"/>
                  </a:lnTo>
                  <a:lnTo>
                    <a:pt x="884" y="2985"/>
                  </a:lnTo>
                  <a:lnTo>
                    <a:pt x="890" y="2976"/>
                  </a:lnTo>
                  <a:lnTo>
                    <a:pt x="893" y="2969"/>
                  </a:lnTo>
                  <a:lnTo>
                    <a:pt x="896" y="2951"/>
                  </a:lnTo>
                  <a:lnTo>
                    <a:pt x="893" y="2929"/>
                  </a:lnTo>
                  <a:lnTo>
                    <a:pt x="890" y="2907"/>
                  </a:lnTo>
                  <a:lnTo>
                    <a:pt x="893" y="2888"/>
                  </a:lnTo>
                  <a:lnTo>
                    <a:pt x="903" y="2863"/>
                  </a:lnTo>
                  <a:lnTo>
                    <a:pt x="918" y="2838"/>
                  </a:lnTo>
                  <a:lnTo>
                    <a:pt x="937" y="2820"/>
                  </a:lnTo>
                  <a:lnTo>
                    <a:pt x="959" y="2813"/>
                  </a:lnTo>
                  <a:lnTo>
                    <a:pt x="984" y="2810"/>
                  </a:lnTo>
                  <a:lnTo>
                    <a:pt x="1012" y="2810"/>
                  </a:lnTo>
                  <a:lnTo>
                    <a:pt x="1034" y="2804"/>
                  </a:lnTo>
                  <a:lnTo>
                    <a:pt x="1056" y="2788"/>
                  </a:lnTo>
                  <a:lnTo>
                    <a:pt x="1081" y="2766"/>
                  </a:lnTo>
                  <a:lnTo>
                    <a:pt x="1096" y="2745"/>
                  </a:lnTo>
                  <a:lnTo>
                    <a:pt x="1105" y="2720"/>
                  </a:lnTo>
                  <a:lnTo>
                    <a:pt x="1109" y="2688"/>
                  </a:lnTo>
                  <a:lnTo>
                    <a:pt x="1115" y="2654"/>
                  </a:lnTo>
                  <a:lnTo>
                    <a:pt x="1121" y="2626"/>
                  </a:lnTo>
                  <a:lnTo>
                    <a:pt x="1130" y="2610"/>
                  </a:lnTo>
                  <a:lnTo>
                    <a:pt x="1146" y="2595"/>
                  </a:lnTo>
                  <a:lnTo>
                    <a:pt x="1162" y="2576"/>
                  </a:lnTo>
                  <a:lnTo>
                    <a:pt x="1168" y="2560"/>
                  </a:lnTo>
                  <a:lnTo>
                    <a:pt x="1168" y="2542"/>
                  </a:lnTo>
                  <a:lnTo>
                    <a:pt x="1162" y="2523"/>
                  </a:lnTo>
                  <a:lnTo>
                    <a:pt x="1152" y="2501"/>
                  </a:lnTo>
                  <a:lnTo>
                    <a:pt x="1146" y="2479"/>
                  </a:lnTo>
                  <a:lnTo>
                    <a:pt x="1149" y="2464"/>
                  </a:lnTo>
                  <a:lnTo>
                    <a:pt x="1159" y="2454"/>
                  </a:lnTo>
                  <a:lnTo>
                    <a:pt x="1180" y="2445"/>
                  </a:lnTo>
                  <a:lnTo>
                    <a:pt x="1202" y="2439"/>
                  </a:lnTo>
                  <a:lnTo>
                    <a:pt x="1224" y="2432"/>
                  </a:lnTo>
                  <a:lnTo>
                    <a:pt x="1240" y="2423"/>
                  </a:lnTo>
                  <a:lnTo>
                    <a:pt x="1252" y="2404"/>
                  </a:lnTo>
                  <a:lnTo>
                    <a:pt x="1262" y="2376"/>
                  </a:lnTo>
                  <a:lnTo>
                    <a:pt x="1271" y="2348"/>
                  </a:lnTo>
                  <a:lnTo>
                    <a:pt x="1274" y="2323"/>
                  </a:lnTo>
                  <a:lnTo>
                    <a:pt x="1271" y="2301"/>
                  </a:lnTo>
                  <a:lnTo>
                    <a:pt x="1265" y="2276"/>
                  </a:lnTo>
                  <a:lnTo>
                    <a:pt x="1262" y="2254"/>
                  </a:lnTo>
                  <a:lnTo>
                    <a:pt x="1265" y="2236"/>
                  </a:lnTo>
                  <a:lnTo>
                    <a:pt x="1274" y="2211"/>
                  </a:lnTo>
                  <a:lnTo>
                    <a:pt x="1283" y="2189"/>
                  </a:lnTo>
                  <a:lnTo>
                    <a:pt x="1290" y="2164"/>
                  </a:lnTo>
                  <a:lnTo>
                    <a:pt x="1290" y="2145"/>
                  </a:lnTo>
                  <a:lnTo>
                    <a:pt x="1280" y="2136"/>
                  </a:lnTo>
                  <a:lnTo>
                    <a:pt x="1265" y="2129"/>
                  </a:lnTo>
                  <a:lnTo>
                    <a:pt x="1246" y="2123"/>
                  </a:lnTo>
                  <a:lnTo>
                    <a:pt x="1230" y="2117"/>
                  </a:lnTo>
                  <a:lnTo>
                    <a:pt x="1221" y="2105"/>
                  </a:lnTo>
                  <a:lnTo>
                    <a:pt x="1224" y="2089"/>
                  </a:lnTo>
                  <a:lnTo>
                    <a:pt x="1234" y="2070"/>
                  </a:lnTo>
                  <a:lnTo>
                    <a:pt x="1249" y="2051"/>
                  </a:lnTo>
                  <a:lnTo>
                    <a:pt x="1262" y="2039"/>
                  </a:lnTo>
                  <a:lnTo>
                    <a:pt x="1268" y="2033"/>
                  </a:lnTo>
                  <a:lnTo>
                    <a:pt x="1280" y="2023"/>
                  </a:lnTo>
                  <a:lnTo>
                    <a:pt x="1290" y="2017"/>
                  </a:lnTo>
                  <a:lnTo>
                    <a:pt x="1302" y="2008"/>
                  </a:lnTo>
                  <a:lnTo>
                    <a:pt x="1305" y="2001"/>
                  </a:lnTo>
                  <a:lnTo>
                    <a:pt x="1308" y="1986"/>
                  </a:lnTo>
                  <a:lnTo>
                    <a:pt x="1302" y="1967"/>
                  </a:lnTo>
                  <a:lnTo>
                    <a:pt x="1299" y="1948"/>
                  </a:lnTo>
                  <a:lnTo>
                    <a:pt x="1302" y="1933"/>
                  </a:lnTo>
                  <a:lnTo>
                    <a:pt x="1315" y="1927"/>
                  </a:lnTo>
                  <a:lnTo>
                    <a:pt x="1333" y="1923"/>
                  </a:lnTo>
                  <a:lnTo>
                    <a:pt x="1352" y="1920"/>
                  </a:lnTo>
                  <a:lnTo>
                    <a:pt x="1368" y="1911"/>
                  </a:lnTo>
                  <a:lnTo>
                    <a:pt x="1374" y="1898"/>
                  </a:lnTo>
                  <a:lnTo>
                    <a:pt x="1377" y="1877"/>
                  </a:lnTo>
                  <a:lnTo>
                    <a:pt x="1377" y="1861"/>
                  </a:lnTo>
                  <a:lnTo>
                    <a:pt x="1371" y="1855"/>
                  </a:lnTo>
                  <a:lnTo>
                    <a:pt x="1365" y="1848"/>
                  </a:lnTo>
                  <a:lnTo>
                    <a:pt x="1358" y="1845"/>
                  </a:lnTo>
                  <a:lnTo>
                    <a:pt x="1352" y="1839"/>
                  </a:lnTo>
                  <a:lnTo>
                    <a:pt x="1346" y="1836"/>
                  </a:lnTo>
                  <a:lnTo>
                    <a:pt x="1340" y="1836"/>
                  </a:lnTo>
                  <a:lnTo>
                    <a:pt x="1330" y="1836"/>
                  </a:lnTo>
                  <a:lnTo>
                    <a:pt x="1321" y="1839"/>
                  </a:lnTo>
                  <a:lnTo>
                    <a:pt x="1315" y="1839"/>
                  </a:lnTo>
                  <a:lnTo>
                    <a:pt x="1305" y="1839"/>
                  </a:lnTo>
                  <a:lnTo>
                    <a:pt x="1299" y="1836"/>
                  </a:lnTo>
                  <a:lnTo>
                    <a:pt x="1290" y="1833"/>
                  </a:lnTo>
                  <a:lnTo>
                    <a:pt x="1283" y="1823"/>
                  </a:lnTo>
                  <a:lnTo>
                    <a:pt x="1274" y="1814"/>
                  </a:lnTo>
                  <a:lnTo>
                    <a:pt x="1268" y="1802"/>
                  </a:lnTo>
                  <a:lnTo>
                    <a:pt x="1259" y="1792"/>
                  </a:lnTo>
                  <a:lnTo>
                    <a:pt x="1255" y="1786"/>
                  </a:lnTo>
                  <a:lnTo>
                    <a:pt x="1252" y="1780"/>
                  </a:lnTo>
                  <a:lnTo>
                    <a:pt x="1246" y="1761"/>
                  </a:lnTo>
                  <a:lnTo>
                    <a:pt x="1237" y="1739"/>
                  </a:lnTo>
                  <a:lnTo>
                    <a:pt x="1230" y="1714"/>
                  </a:lnTo>
                  <a:lnTo>
                    <a:pt x="1230" y="1695"/>
                  </a:lnTo>
                  <a:lnTo>
                    <a:pt x="1240" y="1677"/>
                  </a:lnTo>
                  <a:lnTo>
                    <a:pt x="1252" y="1655"/>
                  </a:lnTo>
                  <a:lnTo>
                    <a:pt x="1262" y="1636"/>
                  </a:lnTo>
                  <a:lnTo>
                    <a:pt x="1262" y="1614"/>
                  </a:lnTo>
                  <a:lnTo>
                    <a:pt x="1255" y="1586"/>
                  </a:lnTo>
                  <a:lnTo>
                    <a:pt x="1246" y="1564"/>
                  </a:lnTo>
                  <a:lnTo>
                    <a:pt x="1243" y="1558"/>
                  </a:lnTo>
                  <a:lnTo>
                    <a:pt x="1234" y="1555"/>
                  </a:lnTo>
                  <a:lnTo>
                    <a:pt x="1224" y="1549"/>
                  </a:lnTo>
                  <a:lnTo>
                    <a:pt x="1215" y="1542"/>
                  </a:lnTo>
                  <a:lnTo>
                    <a:pt x="1209" y="1536"/>
                  </a:lnTo>
                  <a:lnTo>
                    <a:pt x="1196" y="1524"/>
                  </a:lnTo>
                  <a:lnTo>
                    <a:pt x="1184" y="1505"/>
                  </a:lnTo>
                  <a:lnTo>
                    <a:pt x="1174" y="1483"/>
                  </a:lnTo>
                  <a:lnTo>
                    <a:pt x="1171" y="1467"/>
                  </a:lnTo>
                  <a:lnTo>
                    <a:pt x="1177" y="1449"/>
                  </a:lnTo>
                  <a:lnTo>
                    <a:pt x="1193" y="1427"/>
                  </a:lnTo>
                  <a:lnTo>
                    <a:pt x="1215" y="1405"/>
                  </a:lnTo>
                  <a:lnTo>
                    <a:pt x="1234" y="1396"/>
                  </a:lnTo>
                  <a:lnTo>
                    <a:pt x="1255" y="1393"/>
                  </a:lnTo>
                  <a:lnTo>
                    <a:pt x="1280" y="1399"/>
                  </a:lnTo>
                  <a:lnTo>
                    <a:pt x="1308" y="1405"/>
                  </a:lnTo>
                  <a:lnTo>
                    <a:pt x="1330" y="1405"/>
                  </a:lnTo>
                  <a:lnTo>
                    <a:pt x="1358" y="1396"/>
                  </a:lnTo>
                  <a:lnTo>
                    <a:pt x="1387" y="1380"/>
                  </a:lnTo>
                  <a:lnTo>
                    <a:pt x="1408" y="1364"/>
                  </a:lnTo>
                  <a:lnTo>
                    <a:pt x="1427" y="1343"/>
                  </a:lnTo>
                  <a:lnTo>
                    <a:pt x="1449" y="1314"/>
                  </a:lnTo>
                  <a:lnTo>
                    <a:pt x="1465" y="1286"/>
                  </a:lnTo>
                  <a:lnTo>
                    <a:pt x="1477" y="1261"/>
                  </a:lnTo>
                  <a:lnTo>
                    <a:pt x="1493" y="1227"/>
                  </a:lnTo>
                  <a:lnTo>
                    <a:pt x="1505" y="1196"/>
                  </a:lnTo>
                  <a:lnTo>
                    <a:pt x="1515" y="1168"/>
                  </a:lnTo>
                  <a:lnTo>
                    <a:pt x="1515" y="1140"/>
                  </a:lnTo>
                  <a:lnTo>
                    <a:pt x="1515" y="1108"/>
                  </a:lnTo>
                  <a:lnTo>
                    <a:pt x="1511" y="1077"/>
                  </a:lnTo>
                  <a:lnTo>
                    <a:pt x="1502" y="1052"/>
                  </a:lnTo>
                  <a:lnTo>
                    <a:pt x="1496" y="1046"/>
                  </a:lnTo>
                  <a:lnTo>
                    <a:pt x="1486" y="1040"/>
                  </a:lnTo>
                  <a:lnTo>
                    <a:pt x="1477" y="1033"/>
                  </a:lnTo>
                  <a:lnTo>
                    <a:pt x="1468" y="1024"/>
                  </a:lnTo>
                  <a:lnTo>
                    <a:pt x="1461" y="1018"/>
                  </a:lnTo>
                  <a:lnTo>
                    <a:pt x="1452" y="999"/>
                  </a:lnTo>
                  <a:lnTo>
                    <a:pt x="1446" y="974"/>
                  </a:lnTo>
                  <a:lnTo>
                    <a:pt x="1440" y="949"/>
                  </a:lnTo>
                  <a:lnTo>
                    <a:pt x="1433" y="927"/>
                  </a:lnTo>
                  <a:lnTo>
                    <a:pt x="1424" y="905"/>
                  </a:lnTo>
                  <a:lnTo>
                    <a:pt x="1415" y="880"/>
                  </a:lnTo>
                  <a:lnTo>
                    <a:pt x="1402" y="855"/>
                  </a:lnTo>
                  <a:lnTo>
                    <a:pt x="1390" y="840"/>
                  </a:lnTo>
                  <a:lnTo>
                    <a:pt x="1383" y="837"/>
                  </a:lnTo>
                  <a:lnTo>
                    <a:pt x="1374" y="834"/>
                  </a:lnTo>
                  <a:lnTo>
                    <a:pt x="1365" y="834"/>
                  </a:lnTo>
                  <a:lnTo>
                    <a:pt x="1355" y="830"/>
                  </a:lnTo>
                  <a:lnTo>
                    <a:pt x="1346" y="830"/>
                  </a:lnTo>
                  <a:lnTo>
                    <a:pt x="1340" y="827"/>
                  </a:lnTo>
                  <a:lnTo>
                    <a:pt x="1318" y="812"/>
                  </a:lnTo>
                  <a:lnTo>
                    <a:pt x="1296" y="790"/>
                  </a:lnTo>
                  <a:lnTo>
                    <a:pt x="1280" y="768"/>
                  </a:lnTo>
                  <a:lnTo>
                    <a:pt x="1274" y="746"/>
                  </a:lnTo>
                  <a:lnTo>
                    <a:pt x="1268" y="721"/>
                  </a:lnTo>
                  <a:lnTo>
                    <a:pt x="1265" y="693"/>
                  </a:lnTo>
                  <a:lnTo>
                    <a:pt x="1265" y="671"/>
                  </a:lnTo>
                  <a:lnTo>
                    <a:pt x="1268" y="662"/>
                  </a:lnTo>
                  <a:lnTo>
                    <a:pt x="1271" y="653"/>
                  </a:lnTo>
                  <a:lnTo>
                    <a:pt x="1274" y="640"/>
                  </a:lnTo>
                  <a:lnTo>
                    <a:pt x="1280" y="628"/>
                  </a:lnTo>
                  <a:lnTo>
                    <a:pt x="1290" y="612"/>
                  </a:lnTo>
                  <a:lnTo>
                    <a:pt x="1299" y="599"/>
                  </a:lnTo>
                  <a:lnTo>
                    <a:pt x="1308" y="587"/>
                  </a:lnTo>
                  <a:lnTo>
                    <a:pt x="1330" y="571"/>
                  </a:lnTo>
                  <a:lnTo>
                    <a:pt x="1362" y="553"/>
                  </a:lnTo>
                  <a:lnTo>
                    <a:pt x="1387" y="543"/>
                  </a:lnTo>
                  <a:lnTo>
                    <a:pt x="1415" y="537"/>
                  </a:lnTo>
                  <a:lnTo>
                    <a:pt x="1452" y="537"/>
                  </a:lnTo>
                  <a:lnTo>
                    <a:pt x="1486" y="537"/>
                  </a:lnTo>
                  <a:lnTo>
                    <a:pt x="1515" y="531"/>
                  </a:lnTo>
                  <a:lnTo>
                    <a:pt x="1533" y="518"/>
                  </a:lnTo>
                  <a:lnTo>
                    <a:pt x="1558" y="496"/>
                  </a:lnTo>
                  <a:lnTo>
                    <a:pt x="1580" y="475"/>
                  </a:lnTo>
                  <a:lnTo>
                    <a:pt x="1599" y="459"/>
                  </a:lnTo>
                  <a:lnTo>
                    <a:pt x="1621" y="450"/>
                  </a:lnTo>
                  <a:lnTo>
                    <a:pt x="1646" y="437"/>
                  </a:lnTo>
                  <a:lnTo>
                    <a:pt x="1668" y="428"/>
                  </a:lnTo>
                  <a:lnTo>
                    <a:pt x="1693" y="425"/>
                  </a:lnTo>
                  <a:lnTo>
                    <a:pt x="1721" y="425"/>
                  </a:lnTo>
                  <a:lnTo>
                    <a:pt x="1746" y="425"/>
                  </a:lnTo>
                  <a:lnTo>
                    <a:pt x="1771" y="418"/>
                  </a:lnTo>
                  <a:lnTo>
                    <a:pt x="1799" y="412"/>
                  </a:lnTo>
                  <a:lnTo>
                    <a:pt x="1830" y="406"/>
                  </a:lnTo>
                  <a:lnTo>
                    <a:pt x="1858" y="403"/>
                  </a:lnTo>
                  <a:lnTo>
                    <a:pt x="1880" y="406"/>
                  </a:lnTo>
                  <a:lnTo>
                    <a:pt x="1886" y="412"/>
                  </a:lnTo>
                  <a:lnTo>
                    <a:pt x="1896" y="418"/>
                  </a:lnTo>
                  <a:lnTo>
                    <a:pt x="1902" y="428"/>
                  </a:lnTo>
                  <a:lnTo>
                    <a:pt x="1908" y="437"/>
                  </a:lnTo>
                  <a:lnTo>
                    <a:pt x="1917" y="446"/>
                  </a:lnTo>
                  <a:lnTo>
                    <a:pt x="1924" y="450"/>
                  </a:lnTo>
                  <a:lnTo>
                    <a:pt x="1945" y="450"/>
                  </a:lnTo>
                  <a:lnTo>
                    <a:pt x="1967" y="443"/>
                  </a:lnTo>
                  <a:lnTo>
                    <a:pt x="1986" y="434"/>
                  </a:lnTo>
                  <a:lnTo>
                    <a:pt x="2011" y="421"/>
                  </a:lnTo>
                  <a:lnTo>
                    <a:pt x="2039" y="406"/>
                  </a:lnTo>
                  <a:lnTo>
                    <a:pt x="2064" y="390"/>
                  </a:lnTo>
                  <a:lnTo>
                    <a:pt x="2086" y="371"/>
                  </a:lnTo>
                  <a:lnTo>
                    <a:pt x="2095" y="353"/>
                  </a:lnTo>
                  <a:lnTo>
                    <a:pt x="2105" y="328"/>
                  </a:lnTo>
                  <a:lnTo>
                    <a:pt x="2114" y="309"/>
                  </a:lnTo>
                  <a:lnTo>
                    <a:pt x="2120" y="290"/>
                  </a:lnTo>
                  <a:lnTo>
                    <a:pt x="2130" y="265"/>
                  </a:lnTo>
                  <a:lnTo>
                    <a:pt x="2136" y="243"/>
                  </a:lnTo>
                  <a:lnTo>
                    <a:pt x="2148" y="225"/>
                  </a:lnTo>
                  <a:lnTo>
                    <a:pt x="2164" y="215"/>
                  </a:lnTo>
                  <a:lnTo>
                    <a:pt x="2186" y="209"/>
                  </a:lnTo>
                  <a:lnTo>
                    <a:pt x="2211" y="206"/>
                  </a:lnTo>
                  <a:lnTo>
                    <a:pt x="2227" y="197"/>
                  </a:lnTo>
                  <a:lnTo>
                    <a:pt x="2233" y="190"/>
                  </a:lnTo>
                  <a:lnTo>
                    <a:pt x="2242" y="184"/>
                  </a:lnTo>
                  <a:lnTo>
                    <a:pt x="2248" y="175"/>
                  </a:lnTo>
                  <a:lnTo>
                    <a:pt x="2258" y="165"/>
                  </a:lnTo>
                  <a:lnTo>
                    <a:pt x="2261" y="156"/>
                  </a:lnTo>
                  <a:lnTo>
                    <a:pt x="2264" y="150"/>
                  </a:lnTo>
                  <a:lnTo>
                    <a:pt x="2264" y="134"/>
                  </a:lnTo>
                  <a:lnTo>
                    <a:pt x="2258" y="115"/>
                  </a:lnTo>
                  <a:lnTo>
                    <a:pt x="2252" y="97"/>
                  </a:lnTo>
                  <a:lnTo>
                    <a:pt x="2248" y="81"/>
                  </a:lnTo>
                  <a:lnTo>
                    <a:pt x="2255" y="65"/>
                  </a:lnTo>
                  <a:lnTo>
                    <a:pt x="2267" y="47"/>
                  </a:lnTo>
                  <a:lnTo>
                    <a:pt x="2280" y="31"/>
                  </a:lnTo>
                  <a:lnTo>
                    <a:pt x="2295" y="19"/>
                  </a:lnTo>
                  <a:lnTo>
                    <a:pt x="2314" y="9"/>
                  </a:lnTo>
                  <a:lnTo>
                    <a:pt x="2336" y="0"/>
                  </a:lnTo>
                  <a:lnTo>
                    <a:pt x="2351" y="19"/>
                  </a:lnTo>
                  <a:lnTo>
                    <a:pt x="2364" y="40"/>
                  </a:lnTo>
                  <a:lnTo>
                    <a:pt x="2373" y="56"/>
                  </a:lnTo>
                  <a:lnTo>
                    <a:pt x="2373" y="75"/>
                  </a:lnTo>
                  <a:lnTo>
                    <a:pt x="2370" y="100"/>
                  </a:lnTo>
                  <a:lnTo>
                    <a:pt x="2373" y="119"/>
                  </a:lnTo>
                  <a:lnTo>
                    <a:pt x="2383" y="137"/>
                  </a:lnTo>
                  <a:lnTo>
                    <a:pt x="2401" y="156"/>
                  </a:lnTo>
                  <a:lnTo>
                    <a:pt x="2420" y="178"/>
                  </a:lnTo>
                  <a:lnTo>
                    <a:pt x="2433" y="193"/>
                  </a:lnTo>
                  <a:lnTo>
                    <a:pt x="2439" y="212"/>
                  </a:lnTo>
                  <a:lnTo>
                    <a:pt x="2445" y="237"/>
                  </a:lnTo>
                  <a:lnTo>
                    <a:pt x="2445" y="256"/>
                  </a:lnTo>
                  <a:lnTo>
                    <a:pt x="2445" y="275"/>
                  </a:lnTo>
                  <a:lnTo>
                    <a:pt x="2439" y="297"/>
                  </a:lnTo>
                  <a:lnTo>
                    <a:pt x="2433" y="322"/>
                  </a:lnTo>
                  <a:lnTo>
                    <a:pt x="2433" y="340"/>
                  </a:lnTo>
                  <a:lnTo>
                    <a:pt x="2442" y="359"/>
                  </a:lnTo>
                  <a:lnTo>
                    <a:pt x="2454" y="378"/>
                  </a:lnTo>
                  <a:lnTo>
                    <a:pt x="2464" y="393"/>
                  </a:lnTo>
                  <a:lnTo>
                    <a:pt x="2473" y="415"/>
                  </a:lnTo>
                  <a:lnTo>
                    <a:pt x="2483" y="440"/>
                  </a:lnTo>
                  <a:lnTo>
                    <a:pt x="2492" y="468"/>
                  </a:lnTo>
                  <a:lnTo>
                    <a:pt x="2495" y="490"/>
                  </a:lnTo>
                  <a:lnTo>
                    <a:pt x="2492" y="509"/>
                  </a:lnTo>
                  <a:lnTo>
                    <a:pt x="2483" y="531"/>
                  </a:lnTo>
                  <a:lnTo>
                    <a:pt x="2470" y="556"/>
                  </a:lnTo>
                  <a:lnTo>
                    <a:pt x="2464" y="578"/>
                  </a:lnTo>
                  <a:lnTo>
                    <a:pt x="2464" y="596"/>
                  </a:lnTo>
                  <a:lnTo>
                    <a:pt x="2467" y="603"/>
                  </a:lnTo>
                  <a:lnTo>
                    <a:pt x="2476" y="609"/>
                  </a:lnTo>
                  <a:lnTo>
                    <a:pt x="2486" y="615"/>
                  </a:lnTo>
                  <a:lnTo>
                    <a:pt x="2498" y="621"/>
                  </a:lnTo>
                  <a:lnTo>
                    <a:pt x="2504" y="628"/>
                  </a:lnTo>
                  <a:lnTo>
                    <a:pt x="2514" y="634"/>
                  </a:lnTo>
                  <a:lnTo>
                    <a:pt x="2520" y="653"/>
                  </a:lnTo>
                  <a:lnTo>
                    <a:pt x="2526" y="674"/>
                  </a:lnTo>
                  <a:lnTo>
                    <a:pt x="2533" y="699"/>
                  </a:lnTo>
                  <a:lnTo>
                    <a:pt x="2542" y="715"/>
                  </a:lnTo>
                  <a:lnTo>
                    <a:pt x="2545" y="721"/>
                  </a:lnTo>
                  <a:lnTo>
                    <a:pt x="2554" y="724"/>
                  </a:lnTo>
                  <a:lnTo>
                    <a:pt x="2564" y="731"/>
                  </a:lnTo>
                  <a:lnTo>
                    <a:pt x="2573" y="734"/>
                  </a:lnTo>
                  <a:lnTo>
                    <a:pt x="2579" y="740"/>
                  </a:lnTo>
                  <a:lnTo>
                    <a:pt x="2598" y="756"/>
                  </a:lnTo>
                  <a:lnTo>
                    <a:pt x="2620" y="774"/>
                  </a:lnTo>
                  <a:lnTo>
                    <a:pt x="2636" y="796"/>
                  </a:lnTo>
                  <a:lnTo>
                    <a:pt x="2639" y="812"/>
                  </a:lnTo>
                  <a:lnTo>
                    <a:pt x="2642" y="837"/>
                  </a:lnTo>
                  <a:lnTo>
                    <a:pt x="2642" y="859"/>
                  </a:lnTo>
                  <a:lnTo>
                    <a:pt x="2648" y="877"/>
                  </a:lnTo>
                  <a:lnTo>
                    <a:pt x="2670" y="893"/>
                  </a:lnTo>
                  <a:lnTo>
                    <a:pt x="2698" y="909"/>
                  </a:lnTo>
                  <a:lnTo>
                    <a:pt x="2723" y="924"/>
                  </a:lnTo>
                  <a:lnTo>
                    <a:pt x="2732" y="927"/>
                  </a:lnTo>
                  <a:lnTo>
                    <a:pt x="2742" y="934"/>
                  </a:lnTo>
                  <a:lnTo>
                    <a:pt x="2754" y="943"/>
                  </a:lnTo>
                  <a:lnTo>
                    <a:pt x="2764" y="949"/>
                  </a:lnTo>
                  <a:lnTo>
                    <a:pt x="2767" y="959"/>
                  </a:lnTo>
                  <a:lnTo>
                    <a:pt x="2770" y="977"/>
                  </a:lnTo>
                  <a:lnTo>
                    <a:pt x="2764" y="1005"/>
                  </a:lnTo>
                  <a:lnTo>
                    <a:pt x="2757" y="1030"/>
                  </a:lnTo>
                  <a:lnTo>
                    <a:pt x="2754" y="1049"/>
                  </a:lnTo>
                  <a:lnTo>
                    <a:pt x="2757" y="1074"/>
                  </a:lnTo>
                  <a:lnTo>
                    <a:pt x="2770" y="1099"/>
                  </a:lnTo>
                  <a:lnTo>
                    <a:pt x="2779" y="1118"/>
                  </a:lnTo>
                  <a:lnTo>
                    <a:pt x="2795" y="1127"/>
                  </a:lnTo>
                  <a:lnTo>
                    <a:pt x="2817" y="1137"/>
                  </a:lnTo>
                  <a:lnTo>
                    <a:pt x="2835" y="1143"/>
                  </a:lnTo>
                  <a:lnTo>
                    <a:pt x="2851" y="1143"/>
                  </a:lnTo>
                  <a:lnTo>
                    <a:pt x="2873" y="1140"/>
                  </a:lnTo>
                  <a:lnTo>
                    <a:pt x="2889" y="1143"/>
                  </a:lnTo>
                  <a:lnTo>
                    <a:pt x="2907" y="1155"/>
                  </a:lnTo>
                  <a:lnTo>
                    <a:pt x="2926" y="1177"/>
                  </a:lnTo>
                  <a:lnTo>
                    <a:pt x="2942" y="1193"/>
                  </a:lnTo>
                  <a:lnTo>
                    <a:pt x="2957" y="1196"/>
                  </a:lnTo>
                  <a:lnTo>
                    <a:pt x="2976" y="1199"/>
                  </a:lnTo>
                  <a:lnTo>
                    <a:pt x="2992" y="1199"/>
                  </a:lnTo>
                  <a:lnTo>
                    <a:pt x="3004" y="1205"/>
                  </a:lnTo>
                  <a:lnTo>
                    <a:pt x="3020" y="1224"/>
                  </a:lnTo>
                  <a:lnTo>
                    <a:pt x="3032" y="1255"/>
                  </a:lnTo>
                  <a:lnTo>
                    <a:pt x="3042" y="1283"/>
                  </a:lnTo>
                  <a:lnTo>
                    <a:pt x="3048" y="1308"/>
                  </a:lnTo>
                  <a:lnTo>
                    <a:pt x="3051" y="1330"/>
                  </a:lnTo>
                  <a:lnTo>
                    <a:pt x="3048" y="1355"/>
                  </a:lnTo>
                  <a:lnTo>
                    <a:pt x="3045" y="1380"/>
                  </a:lnTo>
                  <a:lnTo>
                    <a:pt x="3048" y="1399"/>
                  </a:lnTo>
                  <a:lnTo>
                    <a:pt x="3063" y="1414"/>
                  </a:lnTo>
                  <a:lnTo>
                    <a:pt x="3085" y="1433"/>
                  </a:lnTo>
                  <a:lnTo>
                    <a:pt x="3101" y="1452"/>
                  </a:lnTo>
                  <a:lnTo>
                    <a:pt x="3104" y="1471"/>
                  </a:lnTo>
                  <a:lnTo>
                    <a:pt x="3104" y="1492"/>
                  </a:lnTo>
                  <a:lnTo>
                    <a:pt x="3101" y="1514"/>
                  </a:lnTo>
                  <a:lnTo>
                    <a:pt x="3098" y="1521"/>
                  </a:lnTo>
                  <a:lnTo>
                    <a:pt x="3092" y="1530"/>
                  </a:lnTo>
                  <a:lnTo>
                    <a:pt x="3088" y="1539"/>
                  </a:lnTo>
                  <a:lnTo>
                    <a:pt x="3082" y="1549"/>
                  </a:lnTo>
                  <a:lnTo>
                    <a:pt x="3082" y="1555"/>
                  </a:lnTo>
                  <a:lnTo>
                    <a:pt x="3082" y="1564"/>
                  </a:lnTo>
                  <a:lnTo>
                    <a:pt x="3085" y="1574"/>
                  </a:lnTo>
                  <a:lnTo>
                    <a:pt x="3088" y="1580"/>
                  </a:lnTo>
                  <a:lnTo>
                    <a:pt x="3095" y="1586"/>
                  </a:lnTo>
                  <a:lnTo>
                    <a:pt x="3113" y="1592"/>
                  </a:lnTo>
                  <a:lnTo>
                    <a:pt x="3138" y="1589"/>
                  </a:lnTo>
                  <a:lnTo>
                    <a:pt x="3160" y="1589"/>
                  </a:lnTo>
                  <a:lnTo>
                    <a:pt x="3170" y="1589"/>
                  </a:lnTo>
                  <a:lnTo>
                    <a:pt x="3179" y="1586"/>
                  </a:lnTo>
                  <a:lnTo>
                    <a:pt x="3188" y="1586"/>
                  </a:lnTo>
                  <a:lnTo>
                    <a:pt x="3198" y="1583"/>
                  </a:lnTo>
                  <a:lnTo>
                    <a:pt x="3207" y="1580"/>
                  </a:lnTo>
                  <a:lnTo>
                    <a:pt x="3210" y="1577"/>
                  </a:lnTo>
                  <a:lnTo>
                    <a:pt x="3213" y="1571"/>
                  </a:lnTo>
                  <a:lnTo>
                    <a:pt x="3213" y="1561"/>
                  </a:lnTo>
                  <a:lnTo>
                    <a:pt x="3216" y="1555"/>
                  </a:lnTo>
                  <a:lnTo>
                    <a:pt x="3216" y="1546"/>
                  </a:lnTo>
                  <a:lnTo>
                    <a:pt x="3223" y="1542"/>
                  </a:lnTo>
                  <a:lnTo>
                    <a:pt x="3235" y="1539"/>
                  </a:lnTo>
                  <a:lnTo>
                    <a:pt x="3251" y="1539"/>
                  </a:lnTo>
                  <a:lnTo>
                    <a:pt x="3270" y="1539"/>
                  </a:lnTo>
                  <a:lnTo>
                    <a:pt x="3285" y="1539"/>
                  </a:lnTo>
                  <a:lnTo>
                    <a:pt x="3304" y="1542"/>
                  </a:lnTo>
                  <a:lnTo>
                    <a:pt x="3326" y="1542"/>
                  </a:lnTo>
                  <a:lnTo>
                    <a:pt x="3341" y="1539"/>
                  </a:lnTo>
                  <a:lnTo>
                    <a:pt x="3348" y="1536"/>
                  </a:lnTo>
                  <a:lnTo>
                    <a:pt x="3357" y="1530"/>
                  </a:lnTo>
                  <a:lnTo>
                    <a:pt x="3363" y="1524"/>
                  </a:lnTo>
                  <a:lnTo>
                    <a:pt x="3369" y="1517"/>
                  </a:lnTo>
                  <a:lnTo>
                    <a:pt x="3373" y="1511"/>
                  </a:lnTo>
                  <a:lnTo>
                    <a:pt x="3373" y="1505"/>
                  </a:lnTo>
                  <a:lnTo>
                    <a:pt x="3373" y="1496"/>
                  </a:lnTo>
                  <a:lnTo>
                    <a:pt x="3373" y="1489"/>
                  </a:lnTo>
                  <a:lnTo>
                    <a:pt x="3369" y="1480"/>
                  </a:lnTo>
                  <a:lnTo>
                    <a:pt x="3369" y="1471"/>
                  </a:lnTo>
                  <a:lnTo>
                    <a:pt x="3373" y="1464"/>
                  </a:lnTo>
                  <a:lnTo>
                    <a:pt x="3388" y="1458"/>
                  </a:lnTo>
                  <a:lnTo>
                    <a:pt x="3407" y="1452"/>
                  </a:lnTo>
                  <a:lnTo>
                    <a:pt x="3426" y="1452"/>
                  </a:lnTo>
                  <a:lnTo>
                    <a:pt x="3444" y="1464"/>
                  </a:lnTo>
                  <a:lnTo>
                    <a:pt x="3466" y="1483"/>
                  </a:lnTo>
                  <a:lnTo>
                    <a:pt x="3485" y="1499"/>
                  </a:lnTo>
                  <a:lnTo>
                    <a:pt x="3491" y="1508"/>
                  </a:lnTo>
                  <a:lnTo>
                    <a:pt x="3501" y="1517"/>
                  </a:lnTo>
                  <a:lnTo>
                    <a:pt x="3507" y="1527"/>
                  </a:lnTo>
                  <a:lnTo>
                    <a:pt x="3516" y="1536"/>
                  </a:lnTo>
                  <a:lnTo>
                    <a:pt x="3522" y="1542"/>
                  </a:lnTo>
                  <a:lnTo>
                    <a:pt x="3532" y="1546"/>
                  </a:lnTo>
                  <a:lnTo>
                    <a:pt x="3547" y="1539"/>
                  </a:lnTo>
                  <a:lnTo>
                    <a:pt x="3566" y="1527"/>
                  </a:lnTo>
                  <a:lnTo>
                    <a:pt x="3582" y="1511"/>
                  </a:lnTo>
                  <a:lnTo>
                    <a:pt x="3594" y="1499"/>
                  </a:lnTo>
                  <a:lnTo>
                    <a:pt x="3594" y="1492"/>
                  </a:lnTo>
                  <a:lnTo>
                    <a:pt x="3597" y="1483"/>
                  </a:lnTo>
                  <a:lnTo>
                    <a:pt x="3601" y="1477"/>
                  </a:lnTo>
                  <a:lnTo>
                    <a:pt x="3601" y="1467"/>
                  </a:lnTo>
                  <a:lnTo>
                    <a:pt x="3604" y="1464"/>
                  </a:lnTo>
                  <a:lnTo>
                    <a:pt x="3619" y="1458"/>
                  </a:lnTo>
                  <a:lnTo>
                    <a:pt x="3641" y="1458"/>
                  </a:lnTo>
                  <a:lnTo>
                    <a:pt x="3657" y="1464"/>
                  </a:lnTo>
                  <a:lnTo>
                    <a:pt x="3666" y="1474"/>
                  </a:lnTo>
                  <a:lnTo>
                    <a:pt x="3672" y="1489"/>
                  </a:lnTo>
                  <a:lnTo>
                    <a:pt x="3679" y="1505"/>
                  </a:lnTo>
                  <a:lnTo>
                    <a:pt x="3688" y="1514"/>
                  </a:lnTo>
                  <a:lnTo>
                    <a:pt x="3700" y="1517"/>
                  </a:lnTo>
                  <a:lnTo>
                    <a:pt x="3722" y="1517"/>
                  </a:lnTo>
                  <a:lnTo>
                    <a:pt x="3741" y="1514"/>
                  </a:lnTo>
                  <a:lnTo>
                    <a:pt x="3760" y="1511"/>
                  </a:lnTo>
                  <a:lnTo>
                    <a:pt x="3775" y="1514"/>
                  </a:lnTo>
                  <a:lnTo>
                    <a:pt x="3788" y="1530"/>
                  </a:lnTo>
                  <a:lnTo>
                    <a:pt x="3797" y="1549"/>
                  </a:lnTo>
                  <a:lnTo>
                    <a:pt x="3804" y="1571"/>
                  </a:lnTo>
                  <a:lnTo>
                    <a:pt x="3807" y="1589"/>
                  </a:lnTo>
                  <a:lnTo>
                    <a:pt x="3807" y="1608"/>
                  </a:lnTo>
                  <a:lnTo>
                    <a:pt x="3804" y="1630"/>
                  </a:lnTo>
                  <a:lnTo>
                    <a:pt x="3804" y="1652"/>
                  </a:lnTo>
                  <a:lnTo>
                    <a:pt x="3807" y="1667"/>
                  </a:lnTo>
                  <a:lnTo>
                    <a:pt x="3822" y="1674"/>
                  </a:lnTo>
                  <a:lnTo>
                    <a:pt x="3844" y="1677"/>
                  </a:lnTo>
                  <a:lnTo>
                    <a:pt x="3866" y="1680"/>
                  </a:lnTo>
                  <a:lnTo>
                    <a:pt x="3882" y="1689"/>
                  </a:lnTo>
                  <a:lnTo>
                    <a:pt x="3894" y="1708"/>
                  </a:lnTo>
                  <a:lnTo>
                    <a:pt x="3903" y="1733"/>
                  </a:lnTo>
                  <a:lnTo>
                    <a:pt x="3910" y="1761"/>
                  </a:lnTo>
                  <a:lnTo>
                    <a:pt x="3913" y="1783"/>
                  </a:lnTo>
                  <a:lnTo>
                    <a:pt x="3916" y="1805"/>
                  </a:lnTo>
                  <a:lnTo>
                    <a:pt x="3916" y="1830"/>
                  </a:lnTo>
                  <a:lnTo>
                    <a:pt x="3910" y="1852"/>
                  </a:lnTo>
                  <a:lnTo>
                    <a:pt x="3894" y="1864"/>
                  </a:lnTo>
                  <a:lnTo>
                    <a:pt x="3872" y="1880"/>
                  </a:lnTo>
                  <a:lnTo>
                    <a:pt x="3857" y="1892"/>
                  </a:lnTo>
                  <a:lnTo>
                    <a:pt x="3850" y="1911"/>
                  </a:lnTo>
                  <a:lnTo>
                    <a:pt x="3850" y="1930"/>
                  </a:lnTo>
                  <a:lnTo>
                    <a:pt x="3857" y="1945"/>
                  </a:lnTo>
                  <a:lnTo>
                    <a:pt x="3863" y="1955"/>
                  </a:lnTo>
                  <a:lnTo>
                    <a:pt x="3872" y="1961"/>
                  </a:lnTo>
                  <a:lnTo>
                    <a:pt x="3882" y="1967"/>
                  </a:lnTo>
                  <a:lnTo>
                    <a:pt x="3894" y="1970"/>
                  </a:lnTo>
                  <a:lnTo>
                    <a:pt x="3900" y="1970"/>
                  </a:lnTo>
                  <a:lnTo>
                    <a:pt x="3922" y="1967"/>
                  </a:lnTo>
                  <a:lnTo>
                    <a:pt x="3944" y="1955"/>
                  </a:lnTo>
                  <a:lnTo>
                    <a:pt x="3960" y="1945"/>
                  </a:lnTo>
                  <a:lnTo>
                    <a:pt x="3981" y="1936"/>
                  </a:lnTo>
                  <a:lnTo>
                    <a:pt x="4006" y="1927"/>
                  </a:lnTo>
                  <a:lnTo>
                    <a:pt x="4028" y="1920"/>
                  </a:lnTo>
                  <a:lnTo>
                    <a:pt x="4056" y="1920"/>
                  </a:lnTo>
                  <a:lnTo>
                    <a:pt x="4091" y="1927"/>
                  </a:lnTo>
                  <a:lnTo>
                    <a:pt x="4116" y="1933"/>
                  </a:lnTo>
                  <a:lnTo>
                    <a:pt x="4141" y="1942"/>
                  </a:lnTo>
                  <a:lnTo>
                    <a:pt x="4166" y="1955"/>
                  </a:lnTo>
                  <a:lnTo>
                    <a:pt x="4191" y="1958"/>
                  </a:lnTo>
                  <a:lnTo>
                    <a:pt x="4209" y="1955"/>
                  </a:lnTo>
                  <a:lnTo>
                    <a:pt x="4234" y="1948"/>
                  </a:lnTo>
                  <a:lnTo>
                    <a:pt x="4259" y="1939"/>
                  </a:lnTo>
                  <a:lnTo>
                    <a:pt x="4278" y="1927"/>
                  </a:lnTo>
                  <a:lnTo>
                    <a:pt x="4281" y="1920"/>
                  </a:lnTo>
                  <a:lnTo>
                    <a:pt x="4288" y="1911"/>
                  </a:lnTo>
                  <a:lnTo>
                    <a:pt x="4291" y="1902"/>
                  </a:lnTo>
                  <a:lnTo>
                    <a:pt x="4297" y="1892"/>
                  </a:lnTo>
                  <a:lnTo>
                    <a:pt x="4300" y="1886"/>
                  </a:lnTo>
                  <a:lnTo>
                    <a:pt x="4306" y="1880"/>
                  </a:lnTo>
                  <a:lnTo>
                    <a:pt x="4322" y="1873"/>
                  </a:lnTo>
                  <a:lnTo>
                    <a:pt x="4344" y="1867"/>
                  </a:lnTo>
                  <a:lnTo>
                    <a:pt x="4359" y="1867"/>
                  </a:lnTo>
                  <a:lnTo>
                    <a:pt x="4378" y="1867"/>
                  </a:lnTo>
                  <a:lnTo>
                    <a:pt x="4397" y="1873"/>
                  </a:lnTo>
                  <a:lnTo>
                    <a:pt x="4412" y="1880"/>
                  </a:lnTo>
                  <a:lnTo>
                    <a:pt x="4419" y="1883"/>
                  </a:lnTo>
                  <a:lnTo>
                    <a:pt x="4428" y="1892"/>
                  </a:lnTo>
                  <a:lnTo>
                    <a:pt x="4434" y="1898"/>
                  </a:lnTo>
                  <a:lnTo>
                    <a:pt x="4444" y="1908"/>
                  </a:lnTo>
                  <a:lnTo>
                    <a:pt x="4450" y="1914"/>
                  </a:lnTo>
                  <a:lnTo>
                    <a:pt x="4456" y="1917"/>
                  </a:lnTo>
                  <a:lnTo>
                    <a:pt x="4475" y="1914"/>
                  </a:lnTo>
                  <a:lnTo>
                    <a:pt x="4497" y="1902"/>
                  </a:lnTo>
                  <a:lnTo>
                    <a:pt x="4512" y="1889"/>
                  </a:lnTo>
                  <a:lnTo>
                    <a:pt x="4519" y="1883"/>
                  </a:lnTo>
                  <a:lnTo>
                    <a:pt x="4522" y="1873"/>
                  </a:lnTo>
                  <a:lnTo>
                    <a:pt x="4525" y="1864"/>
                  </a:lnTo>
                  <a:lnTo>
                    <a:pt x="4528" y="1855"/>
                  </a:lnTo>
                  <a:lnTo>
                    <a:pt x="4534" y="1845"/>
                  </a:lnTo>
                  <a:lnTo>
                    <a:pt x="4537" y="1842"/>
                  </a:lnTo>
                  <a:lnTo>
                    <a:pt x="4547" y="1839"/>
                  </a:lnTo>
                  <a:lnTo>
                    <a:pt x="4556" y="1839"/>
                  </a:lnTo>
                  <a:lnTo>
                    <a:pt x="4565" y="1842"/>
                  </a:lnTo>
                  <a:lnTo>
                    <a:pt x="4578" y="1842"/>
                  </a:lnTo>
                  <a:lnTo>
                    <a:pt x="4587" y="1845"/>
                  </a:lnTo>
                  <a:lnTo>
                    <a:pt x="4590" y="1855"/>
                  </a:lnTo>
                  <a:lnTo>
                    <a:pt x="4594" y="1864"/>
                  </a:lnTo>
                  <a:lnTo>
                    <a:pt x="4597" y="1873"/>
                  </a:lnTo>
                  <a:lnTo>
                    <a:pt x="4603" y="1880"/>
                  </a:lnTo>
                  <a:lnTo>
                    <a:pt x="4609" y="1886"/>
                  </a:lnTo>
                  <a:lnTo>
                    <a:pt x="4619" y="1892"/>
                  </a:lnTo>
                  <a:lnTo>
                    <a:pt x="4628" y="1895"/>
                  </a:lnTo>
                  <a:lnTo>
                    <a:pt x="4637" y="1898"/>
                  </a:lnTo>
                  <a:lnTo>
                    <a:pt x="4647" y="1898"/>
                  </a:lnTo>
                  <a:lnTo>
                    <a:pt x="4656" y="1898"/>
                  </a:lnTo>
                  <a:lnTo>
                    <a:pt x="4665" y="1898"/>
                  </a:lnTo>
                  <a:lnTo>
                    <a:pt x="4675" y="1898"/>
                  </a:lnTo>
                  <a:lnTo>
                    <a:pt x="4684" y="1898"/>
                  </a:lnTo>
                  <a:lnTo>
                    <a:pt x="4693" y="1902"/>
                  </a:lnTo>
                  <a:lnTo>
                    <a:pt x="4703" y="1908"/>
                  </a:lnTo>
                  <a:lnTo>
                    <a:pt x="4715" y="1911"/>
                  </a:lnTo>
                  <a:lnTo>
                    <a:pt x="4725" y="1917"/>
                  </a:lnTo>
                  <a:lnTo>
                    <a:pt x="4731" y="1927"/>
                  </a:lnTo>
                  <a:lnTo>
                    <a:pt x="4734" y="1942"/>
                  </a:lnTo>
                  <a:lnTo>
                    <a:pt x="4731" y="1967"/>
                  </a:lnTo>
                  <a:lnTo>
                    <a:pt x="4728" y="1989"/>
                  </a:lnTo>
                  <a:lnTo>
                    <a:pt x="4728" y="2008"/>
                  </a:lnTo>
                  <a:lnTo>
                    <a:pt x="4737" y="2033"/>
                  </a:lnTo>
                  <a:lnTo>
                    <a:pt x="4753" y="2061"/>
                  </a:lnTo>
                  <a:lnTo>
                    <a:pt x="4768" y="2080"/>
                  </a:lnTo>
                  <a:lnTo>
                    <a:pt x="4790" y="2089"/>
                  </a:lnTo>
                  <a:lnTo>
                    <a:pt x="4812" y="2098"/>
                  </a:lnTo>
                  <a:lnTo>
                    <a:pt x="4834" y="2105"/>
                  </a:lnTo>
                  <a:lnTo>
                    <a:pt x="4840" y="2111"/>
                  </a:lnTo>
                  <a:lnTo>
                    <a:pt x="4850" y="2114"/>
                  </a:lnTo>
                  <a:lnTo>
                    <a:pt x="4859" y="2120"/>
                  </a:lnTo>
                  <a:lnTo>
                    <a:pt x="4865" y="2126"/>
                  </a:lnTo>
                  <a:lnTo>
                    <a:pt x="4871" y="2133"/>
                  </a:lnTo>
                  <a:lnTo>
                    <a:pt x="4878" y="2154"/>
                  </a:lnTo>
                  <a:lnTo>
                    <a:pt x="4878" y="2186"/>
                  </a:lnTo>
                  <a:lnTo>
                    <a:pt x="4875" y="2217"/>
                  </a:lnTo>
                  <a:lnTo>
                    <a:pt x="4871" y="2239"/>
                  </a:lnTo>
                  <a:lnTo>
                    <a:pt x="4862" y="2267"/>
                  </a:lnTo>
                  <a:lnTo>
                    <a:pt x="4850" y="2298"/>
                  </a:lnTo>
                  <a:lnTo>
                    <a:pt x="4834" y="2323"/>
                  </a:lnTo>
                  <a:lnTo>
                    <a:pt x="4828" y="2329"/>
                  </a:lnTo>
                  <a:lnTo>
                    <a:pt x="4818" y="2336"/>
                  </a:lnTo>
                  <a:lnTo>
                    <a:pt x="4809" y="2342"/>
                  </a:lnTo>
                  <a:lnTo>
                    <a:pt x="4800" y="2348"/>
                  </a:lnTo>
                  <a:lnTo>
                    <a:pt x="4790" y="2351"/>
                  </a:lnTo>
                  <a:lnTo>
                    <a:pt x="4784" y="2357"/>
                  </a:lnTo>
                  <a:lnTo>
                    <a:pt x="4781" y="2373"/>
                  </a:lnTo>
                  <a:lnTo>
                    <a:pt x="4781" y="2392"/>
                  </a:lnTo>
                  <a:lnTo>
                    <a:pt x="4781" y="2411"/>
                  </a:lnTo>
                  <a:lnTo>
                    <a:pt x="4778" y="2426"/>
                  </a:lnTo>
                  <a:lnTo>
                    <a:pt x="4765" y="2435"/>
                  </a:lnTo>
                  <a:lnTo>
                    <a:pt x="4743" y="2439"/>
                  </a:lnTo>
                  <a:lnTo>
                    <a:pt x="4722" y="2445"/>
                  </a:lnTo>
                  <a:lnTo>
                    <a:pt x="4700" y="2448"/>
                  </a:lnTo>
                  <a:lnTo>
                    <a:pt x="4687" y="2457"/>
                  </a:lnTo>
                  <a:lnTo>
                    <a:pt x="4684" y="2473"/>
                  </a:lnTo>
                  <a:lnTo>
                    <a:pt x="4681" y="2492"/>
                  </a:lnTo>
                  <a:lnTo>
                    <a:pt x="4684" y="2510"/>
                  </a:lnTo>
                  <a:lnTo>
                    <a:pt x="4687" y="2526"/>
                  </a:lnTo>
                  <a:lnTo>
                    <a:pt x="4690" y="2532"/>
                  </a:lnTo>
                  <a:lnTo>
                    <a:pt x="4697" y="2542"/>
                  </a:lnTo>
                  <a:lnTo>
                    <a:pt x="4703" y="2548"/>
                  </a:lnTo>
                  <a:lnTo>
                    <a:pt x="4709" y="2557"/>
                  </a:lnTo>
                  <a:lnTo>
                    <a:pt x="4715" y="2564"/>
                  </a:lnTo>
                  <a:lnTo>
                    <a:pt x="4718" y="2573"/>
                  </a:lnTo>
                  <a:lnTo>
                    <a:pt x="4718" y="2595"/>
                  </a:lnTo>
                  <a:lnTo>
                    <a:pt x="4712" y="2623"/>
                  </a:lnTo>
                  <a:lnTo>
                    <a:pt x="4706" y="2645"/>
                  </a:lnTo>
                  <a:lnTo>
                    <a:pt x="4700" y="2663"/>
                  </a:lnTo>
                  <a:lnTo>
                    <a:pt x="4690" y="2685"/>
                  </a:lnTo>
                  <a:lnTo>
                    <a:pt x="4681" y="2701"/>
                  </a:lnTo>
                  <a:lnTo>
                    <a:pt x="4675" y="2704"/>
                  </a:lnTo>
                  <a:lnTo>
                    <a:pt x="4665" y="2710"/>
                  </a:lnTo>
                  <a:lnTo>
                    <a:pt x="4656" y="2717"/>
                  </a:lnTo>
                  <a:lnTo>
                    <a:pt x="4650" y="2723"/>
                  </a:lnTo>
                  <a:lnTo>
                    <a:pt x="4647" y="2729"/>
                  </a:lnTo>
                  <a:lnTo>
                    <a:pt x="4644" y="2738"/>
                  </a:lnTo>
                  <a:lnTo>
                    <a:pt x="4640" y="2748"/>
                  </a:lnTo>
                  <a:lnTo>
                    <a:pt x="4637" y="2757"/>
                  </a:lnTo>
                  <a:lnTo>
                    <a:pt x="4634" y="2766"/>
                  </a:lnTo>
                  <a:lnTo>
                    <a:pt x="4631" y="2773"/>
                  </a:lnTo>
                  <a:lnTo>
                    <a:pt x="4609" y="2782"/>
                  </a:lnTo>
                  <a:lnTo>
                    <a:pt x="4584" y="2788"/>
                  </a:lnTo>
                  <a:lnTo>
                    <a:pt x="4562" y="2788"/>
                  </a:lnTo>
                  <a:lnTo>
                    <a:pt x="4556" y="2785"/>
                  </a:lnTo>
                  <a:lnTo>
                    <a:pt x="4550" y="2782"/>
                  </a:lnTo>
                  <a:lnTo>
                    <a:pt x="4540" y="2779"/>
                  </a:lnTo>
                  <a:lnTo>
                    <a:pt x="4534" y="2776"/>
                  </a:lnTo>
                  <a:lnTo>
                    <a:pt x="4528" y="2773"/>
                  </a:lnTo>
                  <a:lnTo>
                    <a:pt x="4506" y="2776"/>
                  </a:lnTo>
                  <a:lnTo>
                    <a:pt x="4478" y="2782"/>
                  </a:lnTo>
                  <a:lnTo>
                    <a:pt x="4456" y="2795"/>
                  </a:lnTo>
                  <a:lnTo>
                    <a:pt x="4444" y="2813"/>
                  </a:lnTo>
                  <a:lnTo>
                    <a:pt x="4434" y="2835"/>
                  </a:lnTo>
                  <a:lnTo>
                    <a:pt x="4428" y="2860"/>
                  </a:lnTo>
                  <a:lnTo>
                    <a:pt x="4434" y="2879"/>
                  </a:lnTo>
                  <a:lnTo>
                    <a:pt x="4444" y="2901"/>
                  </a:lnTo>
                  <a:lnTo>
                    <a:pt x="4459" y="2919"/>
                  </a:lnTo>
                  <a:lnTo>
                    <a:pt x="4472" y="2935"/>
                  </a:lnTo>
                  <a:lnTo>
                    <a:pt x="4487" y="2944"/>
                  </a:lnTo>
                  <a:lnTo>
                    <a:pt x="4512" y="2954"/>
                  </a:lnTo>
                  <a:lnTo>
                    <a:pt x="4534" y="2960"/>
                  </a:lnTo>
                  <a:lnTo>
                    <a:pt x="4550" y="2973"/>
                  </a:lnTo>
                  <a:lnTo>
                    <a:pt x="4559" y="2991"/>
                  </a:lnTo>
                  <a:lnTo>
                    <a:pt x="4565" y="3019"/>
                  </a:lnTo>
                  <a:lnTo>
                    <a:pt x="4569" y="3048"/>
                  </a:lnTo>
                  <a:lnTo>
                    <a:pt x="4572" y="3069"/>
                  </a:lnTo>
                  <a:lnTo>
                    <a:pt x="4572" y="3088"/>
                  </a:lnTo>
                  <a:lnTo>
                    <a:pt x="4572" y="3110"/>
                  </a:lnTo>
                  <a:lnTo>
                    <a:pt x="4569" y="3132"/>
                  </a:lnTo>
                  <a:lnTo>
                    <a:pt x="4572" y="3147"/>
                  </a:lnTo>
                  <a:lnTo>
                    <a:pt x="4578" y="3157"/>
                  </a:lnTo>
                  <a:lnTo>
                    <a:pt x="4587" y="3163"/>
                  </a:lnTo>
                  <a:lnTo>
                    <a:pt x="4597" y="3169"/>
                  </a:lnTo>
                  <a:lnTo>
                    <a:pt x="4606" y="3179"/>
                  </a:lnTo>
                  <a:lnTo>
                    <a:pt x="4612" y="3185"/>
                  </a:lnTo>
                  <a:lnTo>
                    <a:pt x="4619" y="3204"/>
                  </a:lnTo>
                  <a:lnTo>
                    <a:pt x="4622" y="3226"/>
                  </a:lnTo>
                  <a:lnTo>
                    <a:pt x="4622" y="3241"/>
                  </a:lnTo>
                  <a:lnTo>
                    <a:pt x="4609" y="3260"/>
                  </a:lnTo>
                  <a:lnTo>
                    <a:pt x="4590" y="3282"/>
                  </a:lnTo>
                  <a:lnTo>
                    <a:pt x="4572" y="3294"/>
                  </a:lnTo>
                  <a:lnTo>
                    <a:pt x="4553" y="3297"/>
                  </a:lnTo>
                  <a:lnTo>
                    <a:pt x="4531" y="3304"/>
                  </a:lnTo>
                  <a:lnTo>
                    <a:pt x="4515" y="3310"/>
                  </a:lnTo>
                  <a:lnTo>
                    <a:pt x="4509" y="3325"/>
                  </a:lnTo>
                  <a:lnTo>
                    <a:pt x="4506" y="3344"/>
                  </a:lnTo>
                  <a:lnTo>
                    <a:pt x="4506" y="3363"/>
                  </a:lnTo>
                  <a:lnTo>
                    <a:pt x="4512" y="3369"/>
                  </a:lnTo>
                  <a:lnTo>
                    <a:pt x="4519" y="3375"/>
                  </a:lnTo>
                  <a:lnTo>
                    <a:pt x="4528" y="3382"/>
                  </a:lnTo>
                  <a:lnTo>
                    <a:pt x="4534" y="3388"/>
                  </a:lnTo>
                  <a:lnTo>
                    <a:pt x="4544" y="3394"/>
                  </a:lnTo>
                  <a:lnTo>
                    <a:pt x="4547" y="3400"/>
                  </a:lnTo>
                  <a:lnTo>
                    <a:pt x="4550" y="3416"/>
                  </a:lnTo>
                  <a:lnTo>
                    <a:pt x="4550" y="3441"/>
                  </a:lnTo>
                  <a:lnTo>
                    <a:pt x="4547" y="3463"/>
                  </a:lnTo>
                  <a:lnTo>
                    <a:pt x="4547" y="3482"/>
                  </a:lnTo>
                  <a:lnTo>
                    <a:pt x="4559" y="3500"/>
                  </a:lnTo>
                  <a:lnTo>
                    <a:pt x="4575" y="3519"/>
                  </a:lnTo>
                  <a:lnTo>
                    <a:pt x="4584" y="3535"/>
                  </a:lnTo>
                  <a:lnTo>
                    <a:pt x="4587" y="3560"/>
                  </a:lnTo>
                  <a:lnTo>
                    <a:pt x="4587" y="3588"/>
                  </a:lnTo>
                  <a:lnTo>
                    <a:pt x="4581" y="3613"/>
                  </a:lnTo>
                  <a:lnTo>
                    <a:pt x="4575" y="3635"/>
                  </a:lnTo>
                  <a:lnTo>
                    <a:pt x="4559" y="3663"/>
                  </a:lnTo>
                  <a:lnTo>
                    <a:pt x="4547" y="3681"/>
                  </a:lnTo>
                  <a:lnTo>
                    <a:pt x="4540" y="3691"/>
                  </a:lnTo>
                  <a:lnTo>
                    <a:pt x="4531" y="3697"/>
                  </a:lnTo>
                  <a:lnTo>
                    <a:pt x="4522" y="3706"/>
                  </a:lnTo>
                  <a:lnTo>
                    <a:pt x="4512" y="3716"/>
                  </a:lnTo>
                  <a:lnTo>
                    <a:pt x="4506" y="3722"/>
                  </a:lnTo>
                  <a:lnTo>
                    <a:pt x="4503" y="3747"/>
                  </a:lnTo>
                  <a:lnTo>
                    <a:pt x="4503" y="3775"/>
                  </a:lnTo>
                  <a:lnTo>
                    <a:pt x="4506" y="3797"/>
                  </a:lnTo>
                  <a:lnTo>
                    <a:pt x="4515" y="3828"/>
                  </a:lnTo>
                  <a:lnTo>
                    <a:pt x="4531" y="3859"/>
                  </a:lnTo>
                  <a:lnTo>
                    <a:pt x="4547" y="3884"/>
                  </a:lnTo>
                  <a:lnTo>
                    <a:pt x="4569" y="3897"/>
                  </a:lnTo>
                  <a:lnTo>
                    <a:pt x="4597" y="3906"/>
                  </a:lnTo>
                  <a:lnTo>
                    <a:pt x="4619" y="3916"/>
                  </a:lnTo>
                  <a:lnTo>
                    <a:pt x="4634" y="3934"/>
                  </a:lnTo>
                  <a:lnTo>
                    <a:pt x="4650" y="3956"/>
                  </a:lnTo>
                  <a:lnTo>
                    <a:pt x="4659" y="3978"/>
                  </a:lnTo>
                  <a:lnTo>
                    <a:pt x="4665" y="4006"/>
                  </a:lnTo>
                  <a:lnTo>
                    <a:pt x="4668" y="4044"/>
                  </a:lnTo>
                  <a:lnTo>
                    <a:pt x="4675" y="4078"/>
                  </a:lnTo>
                  <a:lnTo>
                    <a:pt x="4684" y="4106"/>
                  </a:lnTo>
                  <a:lnTo>
                    <a:pt x="4690" y="4112"/>
                  </a:lnTo>
                  <a:lnTo>
                    <a:pt x="4700" y="4119"/>
                  </a:lnTo>
                  <a:lnTo>
                    <a:pt x="4709" y="4125"/>
                  </a:lnTo>
                  <a:lnTo>
                    <a:pt x="4718" y="4131"/>
                  </a:lnTo>
                  <a:lnTo>
                    <a:pt x="4728" y="4137"/>
                  </a:lnTo>
                  <a:lnTo>
                    <a:pt x="4734" y="4144"/>
                  </a:lnTo>
                  <a:lnTo>
                    <a:pt x="4740" y="4169"/>
                  </a:lnTo>
                  <a:lnTo>
                    <a:pt x="4743" y="4197"/>
                  </a:lnTo>
                  <a:lnTo>
                    <a:pt x="4747" y="4225"/>
                  </a:lnTo>
                  <a:lnTo>
                    <a:pt x="4747" y="4250"/>
                  </a:lnTo>
                  <a:lnTo>
                    <a:pt x="4740" y="4278"/>
                  </a:lnTo>
                  <a:lnTo>
                    <a:pt x="4731" y="4309"/>
                  </a:lnTo>
                  <a:lnTo>
                    <a:pt x="4725" y="4337"/>
                  </a:lnTo>
                  <a:lnTo>
                    <a:pt x="4725" y="4365"/>
                  </a:lnTo>
                  <a:lnTo>
                    <a:pt x="4731" y="4396"/>
                  </a:lnTo>
                  <a:lnTo>
                    <a:pt x="4737" y="4421"/>
                  </a:lnTo>
                  <a:lnTo>
                    <a:pt x="4759" y="4440"/>
                  </a:lnTo>
                  <a:lnTo>
                    <a:pt x="4787" y="4456"/>
                  </a:lnTo>
                  <a:lnTo>
                    <a:pt x="4809" y="4475"/>
                  </a:lnTo>
                  <a:lnTo>
                    <a:pt x="4825" y="4493"/>
                  </a:lnTo>
                  <a:lnTo>
                    <a:pt x="4840" y="4521"/>
                  </a:lnTo>
                  <a:lnTo>
                    <a:pt x="4846" y="4546"/>
                  </a:lnTo>
                  <a:lnTo>
                    <a:pt x="4846" y="4574"/>
                  </a:lnTo>
                  <a:lnTo>
                    <a:pt x="4843" y="4609"/>
                  </a:lnTo>
                  <a:lnTo>
                    <a:pt x="4834" y="4643"/>
                  </a:lnTo>
                  <a:lnTo>
                    <a:pt x="4828" y="4671"/>
                  </a:lnTo>
                  <a:lnTo>
                    <a:pt x="4818" y="4696"/>
                  </a:lnTo>
                  <a:lnTo>
                    <a:pt x="4803" y="4727"/>
                  </a:lnTo>
                  <a:lnTo>
                    <a:pt x="4797" y="4752"/>
                  </a:lnTo>
                  <a:lnTo>
                    <a:pt x="4793" y="4777"/>
                  </a:lnTo>
                  <a:lnTo>
                    <a:pt x="4797" y="4806"/>
                  </a:lnTo>
                  <a:lnTo>
                    <a:pt x="4800" y="4831"/>
                  </a:lnTo>
                  <a:lnTo>
                    <a:pt x="4806" y="4846"/>
                  </a:lnTo>
                  <a:lnTo>
                    <a:pt x="4815" y="4868"/>
                  </a:lnTo>
                  <a:lnTo>
                    <a:pt x="4822" y="4887"/>
                  </a:lnTo>
                  <a:lnTo>
                    <a:pt x="4825" y="4905"/>
                  </a:lnTo>
                  <a:lnTo>
                    <a:pt x="4822" y="4924"/>
                  </a:lnTo>
                  <a:lnTo>
                    <a:pt x="4815" y="4946"/>
                  </a:lnTo>
                  <a:lnTo>
                    <a:pt x="4803" y="4971"/>
                  </a:lnTo>
                  <a:lnTo>
                    <a:pt x="4793" y="4987"/>
                  </a:lnTo>
                  <a:lnTo>
                    <a:pt x="4784" y="5005"/>
                  </a:lnTo>
                  <a:lnTo>
                    <a:pt x="4772" y="5024"/>
                  </a:lnTo>
                  <a:lnTo>
                    <a:pt x="4759" y="5043"/>
                  </a:lnTo>
                  <a:lnTo>
                    <a:pt x="4750" y="5062"/>
                  </a:lnTo>
                  <a:lnTo>
                    <a:pt x="4750" y="5071"/>
                  </a:lnTo>
                  <a:lnTo>
                    <a:pt x="4750" y="5083"/>
                  </a:lnTo>
                  <a:lnTo>
                    <a:pt x="4753" y="5096"/>
                  </a:lnTo>
                  <a:lnTo>
                    <a:pt x="4740" y="5096"/>
                  </a:lnTo>
                  <a:lnTo>
                    <a:pt x="4728" y="5093"/>
                  </a:lnTo>
                  <a:lnTo>
                    <a:pt x="4718" y="5090"/>
                  </a:lnTo>
                  <a:lnTo>
                    <a:pt x="4700" y="5083"/>
                  </a:lnTo>
                  <a:lnTo>
                    <a:pt x="4678" y="5077"/>
                  </a:lnTo>
                  <a:lnTo>
                    <a:pt x="4659" y="5068"/>
                  </a:lnTo>
                  <a:lnTo>
                    <a:pt x="4640" y="5068"/>
                  </a:lnTo>
                  <a:lnTo>
                    <a:pt x="4634" y="5071"/>
                  </a:lnTo>
                  <a:lnTo>
                    <a:pt x="4628" y="5077"/>
                  </a:lnTo>
                  <a:lnTo>
                    <a:pt x="4619" y="5087"/>
                  </a:lnTo>
                  <a:lnTo>
                    <a:pt x="4612" y="5096"/>
                  </a:lnTo>
                  <a:lnTo>
                    <a:pt x="4606" y="5102"/>
                  </a:lnTo>
                  <a:lnTo>
                    <a:pt x="4600" y="5108"/>
                  </a:lnTo>
                  <a:lnTo>
                    <a:pt x="4581" y="5118"/>
                  </a:lnTo>
                  <a:lnTo>
                    <a:pt x="4556" y="5127"/>
                  </a:lnTo>
                  <a:lnTo>
                    <a:pt x="4531" y="5137"/>
                  </a:lnTo>
                  <a:lnTo>
                    <a:pt x="4512" y="5146"/>
                  </a:lnTo>
                  <a:lnTo>
                    <a:pt x="4506" y="5165"/>
                  </a:lnTo>
                  <a:lnTo>
                    <a:pt x="4500" y="5186"/>
                  </a:lnTo>
                  <a:lnTo>
                    <a:pt x="4494" y="5205"/>
                  </a:lnTo>
                  <a:lnTo>
                    <a:pt x="4484" y="5215"/>
                  </a:lnTo>
                  <a:lnTo>
                    <a:pt x="4475" y="5221"/>
                  </a:lnTo>
                  <a:lnTo>
                    <a:pt x="4466" y="5230"/>
                  </a:lnTo>
                  <a:lnTo>
                    <a:pt x="4453" y="5236"/>
                  </a:lnTo>
                  <a:lnTo>
                    <a:pt x="4444" y="5240"/>
                  </a:lnTo>
                  <a:lnTo>
                    <a:pt x="4428" y="5243"/>
                  </a:lnTo>
                  <a:lnTo>
                    <a:pt x="4409" y="5240"/>
                  </a:lnTo>
                  <a:lnTo>
                    <a:pt x="4387" y="5236"/>
                  </a:lnTo>
                  <a:lnTo>
                    <a:pt x="4366" y="5233"/>
                  </a:lnTo>
                  <a:lnTo>
                    <a:pt x="4347" y="5233"/>
                  </a:lnTo>
                  <a:lnTo>
                    <a:pt x="4337" y="5240"/>
                  </a:lnTo>
                  <a:lnTo>
                    <a:pt x="4334" y="5246"/>
                  </a:lnTo>
                  <a:lnTo>
                    <a:pt x="4337" y="5252"/>
                  </a:lnTo>
                  <a:lnTo>
                    <a:pt x="4341" y="5258"/>
                  </a:lnTo>
                  <a:lnTo>
                    <a:pt x="4347" y="5265"/>
                  </a:lnTo>
                  <a:lnTo>
                    <a:pt x="4350" y="5271"/>
                  </a:lnTo>
                  <a:lnTo>
                    <a:pt x="4353" y="5277"/>
                  </a:lnTo>
                  <a:lnTo>
                    <a:pt x="4356" y="5283"/>
                  </a:lnTo>
                  <a:lnTo>
                    <a:pt x="4356" y="5286"/>
                  </a:lnTo>
                  <a:lnTo>
                    <a:pt x="4350" y="5290"/>
                  </a:lnTo>
                  <a:lnTo>
                    <a:pt x="4344" y="5293"/>
                  </a:lnTo>
                  <a:lnTo>
                    <a:pt x="4337" y="5293"/>
                  </a:lnTo>
                  <a:lnTo>
                    <a:pt x="4328" y="5290"/>
                  </a:lnTo>
                  <a:lnTo>
                    <a:pt x="4319" y="5290"/>
                  </a:lnTo>
                  <a:lnTo>
                    <a:pt x="4313" y="5286"/>
                  </a:lnTo>
                  <a:lnTo>
                    <a:pt x="4306" y="5286"/>
                  </a:lnTo>
                  <a:lnTo>
                    <a:pt x="4284" y="5286"/>
                  </a:lnTo>
                  <a:lnTo>
                    <a:pt x="4256" y="5286"/>
                  </a:lnTo>
                  <a:lnTo>
                    <a:pt x="4234" y="5286"/>
                  </a:lnTo>
                  <a:lnTo>
                    <a:pt x="4216" y="5296"/>
                  </a:lnTo>
                  <a:lnTo>
                    <a:pt x="4194" y="5311"/>
                  </a:lnTo>
                  <a:lnTo>
                    <a:pt x="4175" y="5324"/>
                  </a:lnTo>
                  <a:lnTo>
                    <a:pt x="4163" y="5324"/>
                  </a:lnTo>
                  <a:lnTo>
                    <a:pt x="4144" y="5321"/>
                  </a:lnTo>
                  <a:lnTo>
                    <a:pt x="4128" y="5318"/>
                  </a:lnTo>
                  <a:lnTo>
                    <a:pt x="4116" y="5324"/>
                  </a:lnTo>
                  <a:lnTo>
                    <a:pt x="4116" y="5333"/>
                  </a:lnTo>
                  <a:lnTo>
                    <a:pt x="4116" y="5349"/>
                  </a:lnTo>
                  <a:lnTo>
                    <a:pt x="4119" y="5364"/>
                  </a:lnTo>
                  <a:lnTo>
                    <a:pt x="4122" y="5377"/>
                  </a:lnTo>
                  <a:lnTo>
                    <a:pt x="4116" y="5383"/>
                  </a:lnTo>
                  <a:lnTo>
                    <a:pt x="4097" y="5389"/>
                  </a:lnTo>
                  <a:lnTo>
                    <a:pt x="4069" y="5399"/>
                  </a:lnTo>
                  <a:lnTo>
                    <a:pt x="4050" y="5411"/>
                  </a:lnTo>
                  <a:lnTo>
                    <a:pt x="4047" y="5421"/>
                  </a:lnTo>
                  <a:lnTo>
                    <a:pt x="4041" y="5430"/>
                  </a:lnTo>
                  <a:lnTo>
                    <a:pt x="4038" y="5439"/>
                  </a:lnTo>
                  <a:lnTo>
                    <a:pt x="4035" y="5449"/>
                  </a:lnTo>
                  <a:lnTo>
                    <a:pt x="4035" y="5458"/>
                  </a:lnTo>
                  <a:lnTo>
                    <a:pt x="4038" y="5464"/>
                  </a:lnTo>
                  <a:lnTo>
                    <a:pt x="4044" y="5471"/>
                  </a:lnTo>
                  <a:lnTo>
                    <a:pt x="4047" y="5477"/>
                  </a:lnTo>
                  <a:lnTo>
                    <a:pt x="4050" y="5480"/>
                  </a:lnTo>
                  <a:lnTo>
                    <a:pt x="4050" y="5486"/>
                  </a:lnTo>
                  <a:lnTo>
                    <a:pt x="4044" y="5496"/>
                  </a:lnTo>
                  <a:lnTo>
                    <a:pt x="4041" y="5502"/>
                  </a:lnTo>
                  <a:lnTo>
                    <a:pt x="4038" y="5511"/>
                  </a:lnTo>
                  <a:lnTo>
                    <a:pt x="4035" y="5517"/>
                  </a:lnTo>
                  <a:lnTo>
                    <a:pt x="4038" y="5524"/>
                  </a:lnTo>
                  <a:lnTo>
                    <a:pt x="4041" y="5533"/>
                  </a:lnTo>
                  <a:lnTo>
                    <a:pt x="4047" y="5539"/>
                  </a:lnTo>
                  <a:lnTo>
                    <a:pt x="4053" y="5549"/>
                  </a:lnTo>
                  <a:lnTo>
                    <a:pt x="4060" y="5555"/>
                  </a:lnTo>
                  <a:lnTo>
                    <a:pt x="4063" y="5564"/>
                  </a:lnTo>
                  <a:lnTo>
                    <a:pt x="4069" y="5577"/>
                  </a:lnTo>
                  <a:lnTo>
                    <a:pt x="4078" y="5596"/>
                  </a:lnTo>
                  <a:lnTo>
                    <a:pt x="4085" y="5614"/>
                  </a:lnTo>
                  <a:lnTo>
                    <a:pt x="4088" y="5633"/>
                  </a:lnTo>
                  <a:lnTo>
                    <a:pt x="4085" y="5646"/>
                  </a:lnTo>
                  <a:lnTo>
                    <a:pt x="4081" y="5646"/>
                  </a:lnTo>
                  <a:lnTo>
                    <a:pt x="4075" y="5646"/>
                  </a:lnTo>
                  <a:lnTo>
                    <a:pt x="4069" y="5646"/>
                  </a:lnTo>
                  <a:lnTo>
                    <a:pt x="4063" y="5646"/>
                  </a:lnTo>
                  <a:lnTo>
                    <a:pt x="4060" y="5646"/>
                  </a:lnTo>
                  <a:lnTo>
                    <a:pt x="4044" y="5661"/>
                  </a:lnTo>
                  <a:lnTo>
                    <a:pt x="4028" y="5683"/>
                  </a:lnTo>
                  <a:lnTo>
                    <a:pt x="4016" y="5699"/>
                  </a:lnTo>
                  <a:lnTo>
                    <a:pt x="3988" y="5708"/>
                  </a:lnTo>
                  <a:lnTo>
                    <a:pt x="3950" y="5714"/>
                  </a:lnTo>
                  <a:lnTo>
                    <a:pt x="3916" y="5717"/>
                  </a:lnTo>
                  <a:lnTo>
                    <a:pt x="3885" y="5714"/>
                  </a:lnTo>
                  <a:lnTo>
                    <a:pt x="3869" y="5708"/>
                  </a:lnTo>
                  <a:lnTo>
                    <a:pt x="3853" y="5695"/>
                  </a:lnTo>
                  <a:lnTo>
                    <a:pt x="3838" y="5686"/>
                  </a:lnTo>
                  <a:lnTo>
                    <a:pt x="3822" y="5680"/>
                  </a:lnTo>
                  <a:lnTo>
                    <a:pt x="3804" y="5686"/>
                  </a:lnTo>
                  <a:lnTo>
                    <a:pt x="3785" y="5702"/>
                  </a:lnTo>
                  <a:lnTo>
                    <a:pt x="3766" y="5714"/>
                  </a:lnTo>
                  <a:lnTo>
                    <a:pt x="3760" y="5717"/>
                  </a:lnTo>
                  <a:lnTo>
                    <a:pt x="3750" y="5724"/>
                  </a:lnTo>
                  <a:lnTo>
                    <a:pt x="3741" y="5730"/>
                  </a:lnTo>
                  <a:lnTo>
                    <a:pt x="3735" y="5736"/>
                  </a:lnTo>
                  <a:lnTo>
                    <a:pt x="3725" y="5742"/>
                  </a:lnTo>
                  <a:lnTo>
                    <a:pt x="3700" y="5755"/>
                  </a:lnTo>
                  <a:lnTo>
                    <a:pt x="3669" y="5770"/>
                  </a:lnTo>
                  <a:lnTo>
                    <a:pt x="3638" y="5786"/>
                  </a:lnTo>
                  <a:lnTo>
                    <a:pt x="3610" y="5805"/>
                  </a:lnTo>
                  <a:lnTo>
                    <a:pt x="3591" y="5823"/>
                  </a:lnTo>
                  <a:lnTo>
                    <a:pt x="3588" y="5839"/>
                  </a:lnTo>
                  <a:lnTo>
                    <a:pt x="3591" y="5858"/>
                  </a:lnTo>
                  <a:lnTo>
                    <a:pt x="3594" y="5877"/>
                  </a:lnTo>
                  <a:lnTo>
                    <a:pt x="3591" y="5889"/>
                  </a:lnTo>
                  <a:lnTo>
                    <a:pt x="3579" y="5898"/>
                  </a:lnTo>
                  <a:lnTo>
                    <a:pt x="3560" y="5908"/>
                  </a:lnTo>
                  <a:lnTo>
                    <a:pt x="3541" y="5914"/>
                  </a:lnTo>
                  <a:lnTo>
                    <a:pt x="3529" y="5923"/>
                  </a:lnTo>
                  <a:lnTo>
                    <a:pt x="3497" y="5920"/>
                  </a:lnTo>
                  <a:lnTo>
                    <a:pt x="3469" y="5923"/>
                  </a:lnTo>
                  <a:lnTo>
                    <a:pt x="3448" y="5927"/>
                  </a:lnTo>
                  <a:lnTo>
                    <a:pt x="3441" y="5930"/>
                  </a:lnTo>
                  <a:lnTo>
                    <a:pt x="3438" y="5939"/>
                  </a:lnTo>
                  <a:lnTo>
                    <a:pt x="3432" y="5945"/>
                  </a:lnTo>
                  <a:lnTo>
                    <a:pt x="3429" y="5955"/>
                  </a:lnTo>
                  <a:lnTo>
                    <a:pt x="3423" y="5964"/>
                  </a:lnTo>
                  <a:lnTo>
                    <a:pt x="3419" y="5973"/>
                  </a:lnTo>
                  <a:lnTo>
                    <a:pt x="3413" y="5977"/>
                  </a:lnTo>
                  <a:lnTo>
                    <a:pt x="3385" y="5989"/>
                  </a:lnTo>
                  <a:lnTo>
                    <a:pt x="3348" y="5998"/>
                  </a:lnTo>
                  <a:lnTo>
                    <a:pt x="3307" y="6005"/>
                  </a:lnTo>
                  <a:lnTo>
                    <a:pt x="3266" y="6005"/>
                  </a:lnTo>
                  <a:lnTo>
                    <a:pt x="3238" y="5998"/>
                  </a:lnTo>
                  <a:lnTo>
                    <a:pt x="3229" y="5995"/>
                  </a:lnTo>
                  <a:lnTo>
                    <a:pt x="3223" y="5986"/>
                  </a:lnTo>
                  <a:lnTo>
                    <a:pt x="3213" y="5977"/>
                  </a:lnTo>
                  <a:lnTo>
                    <a:pt x="3207" y="5970"/>
                  </a:lnTo>
                  <a:lnTo>
                    <a:pt x="3198" y="5964"/>
                  </a:lnTo>
                  <a:lnTo>
                    <a:pt x="3173" y="5961"/>
                  </a:lnTo>
                  <a:lnTo>
                    <a:pt x="3138" y="5961"/>
                  </a:lnTo>
                  <a:lnTo>
                    <a:pt x="3104" y="5964"/>
                  </a:lnTo>
                  <a:lnTo>
                    <a:pt x="3076" y="5964"/>
                  </a:lnTo>
                  <a:lnTo>
                    <a:pt x="3054" y="5958"/>
                  </a:lnTo>
                  <a:lnTo>
                    <a:pt x="3029" y="5945"/>
                  </a:lnTo>
                  <a:lnTo>
                    <a:pt x="3001" y="5933"/>
                  </a:lnTo>
                  <a:lnTo>
                    <a:pt x="2979" y="5927"/>
                  </a:lnTo>
                  <a:lnTo>
                    <a:pt x="2951" y="5923"/>
                  </a:lnTo>
                  <a:lnTo>
                    <a:pt x="2917" y="5923"/>
                  </a:lnTo>
                  <a:lnTo>
                    <a:pt x="2889" y="5927"/>
                  </a:lnTo>
                  <a:lnTo>
                    <a:pt x="2870" y="5936"/>
                  </a:lnTo>
                  <a:lnTo>
                    <a:pt x="2848" y="5948"/>
                  </a:lnTo>
                  <a:lnTo>
                    <a:pt x="2826" y="5961"/>
                  </a:lnTo>
                  <a:lnTo>
                    <a:pt x="2807" y="5964"/>
                  </a:lnTo>
                  <a:lnTo>
                    <a:pt x="2792" y="5955"/>
                  </a:lnTo>
                  <a:lnTo>
                    <a:pt x="2773" y="5933"/>
                  </a:lnTo>
                  <a:lnTo>
                    <a:pt x="2757" y="5914"/>
                  </a:lnTo>
                  <a:lnTo>
                    <a:pt x="2742" y="5902"/>
                  </a:lnTo>
                  <a:lnTo>
                    <a:pt x="2726" y="5895"/>
                  </a:lnTo>
                  <a:lnTo>
                    <a:pt x="2707" y="5892"/>
                  </a:lnTo>
                  <a:lnTo>
                    <a:pt x="2689" y="5895"/>
                  </a:lnTo>
                  <a:lnTo>
                    <a:pt x="2676" y="5902"/>
                  </a:lnTo>
                  <a:lnTo>
                    <a:pt x="2673" y="5917"/>
                  </a:lnTo>
                  <a:lnTo>
                    <a:pt x="2679" y="5936"/>
                  </a:lnTo>
                  <a:lnTo>
                    <a:pt x="2689" y="5961"/>
                  </a:lnTo>
                  <a:lnTo>
                    <a:pt x="2698" y="5983"/>
                  </a:lnTo>
                  <a:lnTo>
                    <a:pt x="2701" y="5998"/>
                  </a:lnTo>
                  <a:lnTo>
                    <a:pt x="2698" y="6008"/>
                  </a:lnTo>
                  <a:lnTo>
                    <a:pt x="2695" y="6017"/>
                  </a:lnTo>
                  <a:lnTo>
                    <a:pt x="2692" y="6026"/>
                  </a:lnTo>
                  <a:lnTo>
                    <a:pt x="2689" y="6036"/>
                  </a:lnTo>
                  <a:lnTo>
                    <a:pt x="2682" y="6042"/>
                  </a:lnTo>
                  <a:lnTo>
                    <a:pt x="2676" y="6045"/>
                  </a:lnTo>
                  <a:lnTo>
                    <a:pt x="2664" y="6039"/>
                  </a:lnTo>
                  <a:lnTo>
                    <a:pt x="2651" y="6020"/>
                  </a:lnTo>
                  <a:lnTo>
                    <a:pt x="2642" y="5998"/>
                  </a:lnTo>
                  <a:lnTo>
                    <a:pt x="2629" y="5989"/>
                  </a:lnTo>
                  <a:lnTo>
                    <a:pt x="2608" y="5989"/>
                  </a:lnTo>
                  <a:lnTo>
                    <a:pt x="2583" y="5995"/>
                  </a:lnTo>
                  <a:lnTo>
                    <a:pt x="2558" y="6005"/>
                  </a:lnTo>
                  <a:lnTo>
                    <a:pt x="2542" y="6017"/>
                  </a:lnTo>
                  <a:lnTo>
                    <a:pt x="2542" y="6023"/>
                  </a:lnTo>
                  <a:lnTo>
                    <a:pt x="2542" y="6030"/>
                  </a:lnTo>
                  <a:lnTo>
                    <a:pt x="2542" y="6039"/>
                  </a:lnTo>
                  <a:lnTo>
                    <a:pt x="2545" y="6045"/>
                  </a:lnTo>
                  <a:lnTo>
                    <a:pt x="2545" y="6055"/>
                  </a:lnTo>
                  <a:lnTo>
                    <a:pt x="2545" y="6061"/>
                  </a:lnTo>
                  <a:lnTo>
                    <a:pt x="2542" y="6064"/>
                  </a:lnTo>
                  <a:lnTo>
                    <a:pt x="2526" y="6073"/>
                  </a:lnTo>
                  <a:lnTo>
                    <a:pt x="2501" y="6076"/>
                  </a:lnTo>
                  <a:lnTo>
                    <a:pt x="2476" y="6073"/>
                  </a:lnTo>
                  <a:lnTo>
                    <a:pt x="2458" y="6064"/>
                  </a:lnTo>
                  <a:lnTo>
                    <a:pt x="2454" y="6051"/>
                  </a:lnTo>
                  <a:lnTo>
                    <a:pt x="2454" y="6036"/>
                  </a:lnTo>
                  <a:lnTo>
                    <a:pt x="2461" y="6014"/>
                  </a:lnTo>
                  <a:lnTo>
                    <a:pt x="2461" y="5995"/>
                  </a:lnTo>
                  <a:lnTo>
                    <a:pt x="2458" y="5983"/>
                  </a:lnTo>
                  <a:lnTo>
                    <a:pt x="2442" y="5973"/>
                  </a:lnTo>
                  <a:lnTo>
                    <a:pt x="2420" y="5967"/>
                  </a:lnTo>
                  <a:lnTo>
                    <a:pt x="2401" y="5964"/>
                  </a:lnTo>
                  <a:lnTo>
                    <a:pt x="2380" y="5964"/>
                  </a:lnTo>
                  <a:lnTo>
                    <a:pt x="2358" y="5961"/>
                  </a:lnTo>
                  <a:lnTo>
                    <a:pt x="2333" y="5961"/>
                  </a:lnTo>
                  <a:lnTo>
                    <a:pt x="2314" y="5964"/>
                  </a:lnTo>
                  <a:lnTo>
                    <a:pt x="2292" y="5980"/>
                  </a:lnTo>
                  <a:lnTo>
                    <a:pt x="2270" y="5998"/>
                  </a:lnTo>
                  <a:lnTo>
                    <a:pt x="2255" y="6017"/>
                  </a:lnTo>
                  <a:lnTo>
                    <a:pt x="2255" y="6023"/>
                  </a:lnTo>
                  <a:lnTo>
                    <a:pt x="2255" y="6033"/>
                  </a:lnTo>
                  <a:lnTo>
                    <a:pt x="2255" y="6042"/>
                  </a:lnTo>
                  <a:lnTo>
                    <a:pt x="2258" y="6051"/>
                  </a:lnTo>
                  <a:lnTo>
                    <a:pt x="2258" y="6058"/>
                  </a:lnTo>
                  <a:lnTo>
                    <a:pt x="2255" y="6064"/>
                  </a:lnTo>
                  <a:lnTo>
                    <a:pt x="2239" y="6080"/>
                  </a:lnTo>
                  <a:lnTo>
                    <a:pt x="2214" y="6092"/>
                  </a:lnTo>
                  <a:lnTo>
                    <a:pt x="2189" y="6101"/>
                  </a:lnTo>
                  <a:lnTo>
                    <a:pt x="2167" y="6111"/>
                  </a:lnTo>
                  <a:lnTo>
                    <a:pt x="2152" y="6120"/>
                  </a:lnTo>
                  <a:lnTo>
                    <a:pt x="2136" y="6130"/>
                  </a:lnTo>
                  <a:lnTo>
                    <a:pt x="2117" y="6136"/>
                  </a:lnTo>
                  <a:lnTo>
                    <a:pt x="2102" y="6133"/>
                  </a:lnTo>
                  <a:lnTo>
                    <a:pt x="2092" y="6120"/>
                  </a:lnTo>
                  <a:lnTo>
                    <a:pt x="2086" y="6098"/>
                  </a:lnTo>
                  <a:lnTo>
                    <a:pt x="2083" y="6073"/>
                  </a:lnTo>
                  <a:lnTo>
                    <a:pt x="2077" y="6058"/>
                  </a:lnTo>
                  <a:lnTo>
                    <a:pt x="2061" y="6045"/>
                  </a:lnTo>
                  <a:lnTo>
                    <a:pt x="2042" y="6033"/>
                  </a:lnTo>
                  <a:lnTo>
                    <a:pt x="2020" y="6020"/>
                  </a:lnTo>
                  <a:lnTo>
                    <a:pt x="2002" y="6017"/>
                  </a:lnTo>
                  <a:lnTo>
                    <a:pt x="1995" y="6020"/>
                  </a:lnTo>
                  <a:lnTo>
                    <a:pt x="1986" y="6023"/>
                  </a:lnTo>
                  <a:lnTo>
                    <a:pt x="1977" y="6030"/>
                  </a:lnTo>
                  <a:lnTo>
                    <a:pt x="1967" y="6036"/>
                  </a:lnTo>
                  <a:lnTo>
                    <a:pt x="1961" y="6042"/>
                  </a:lnTo>
                  <a:lnTo>
                    <a:pt x="1955" y="6048"/>
                  </a:lnTo>
                  <a:lnTo>
                    <a:pt x="1952" y="6058"/>
                  </a:lnTo>
                  <a:lnTo>
                    <a:pt x="1949" y="6067"/>
                  </a:lnTo>
                  <a:lnTo>
                    <a:pt x="1945" y="6076"/>
                  </a:lnTo>
                  <a:lnTo>
                    <a:pt x="1942" y="6086"/>
                  </a:lnTo>
                  <a:lnTo>
                    <a:pt x="1936" y="6092"/>
                  </a:lnTo>
                  <a:lnTo>
                    <a:pt x="1917" y="6098"/>
                  </a:lnTo>
                  <a:lnTo>
                    <a:pt x="1889" y="6101"/>
                  </a:lnTo>
                  <a:lnTo>
                    <a:pt x="1864" y="6101"/>
                  </a:lnTo>
                  <a:lnTo>
                    <a:pt x="1842" y="6095"/>
                  </a:lnTo>
                  <a:lnTo>
                    <a:pt x="1833" y="6092"/>
                  </a:lnTo>
                  <a:lnTo>
                    <a:pt x="1821" y="6083"/>
                  </a:lnTo>
                  <a:lnTo>
                    <a:pt x="1811" y="6073"/>
                  </a:lnTo>
                  <a:lnTo>
                    <a:pt x="1802" y="6064"/>
                  </a:lnTo>
                  <a:lnTo>
                    <a:pt x="1796" y="6058"/>
                  </a:lnTo>
                  <a:lnTo>
                    <a:pt x="1786" y="6051"/>
                  </a:lnTo>
                  <a:lnTo>
                    <a:pt x="1774" y="6042"/>
                  </a:lnTo>
                  <a:lnTo>
                    <a:pt x="1764" y="6036"/>
                  </a:lnTo>
                  <a:lnTo>
                    <a:pt x="1758" y="6030"/>
                  </a:lnTo>
                  <a:lnTo>
                    <a:pt x="1752" y="6023"/>
                  </a:lnTo>
                  <a:lnTo>
                    <a:pt x="1749" y="6017"/>
                  </a:lnTo>
                  <a:lnTo>
                    <a:pt x="1755" y="5998"/>
                  </a:lnTo>
                  <a:lnTo>
                    <a:pt x="1771" y="5977"/>
                  </a:lnTo>
                  <a:lnTo>
                    <a:pt x="1786" y="5958"/>
                  </a:lnTo>
                  <a:lnTo>
                    <a:pt x="1796" y="5939"/>
                  </a:lnTo>
                  <a:lnTo>
                    <a:pt x="1792" y="5930"/>
                  </a:lnTo>
                  <a:lnTo>
                    <a:pt x="1786" y="5923"/>
                  </a:lnTo>
                  <a:lnTo>
                    <a:pt x="1780" y="5914"/>
                  </a:lnTo>
                  <a:lnTo>
                    <a:pt x="1774" y="5905"/>
                  </a:lnTo>
                  <a:lnTo>
                    <a:pt x="1768" y="5902"/>
                  </a:lnTo>
                  <a:lnTo>
                    <a:pt x="1752" y="5892"/>
                  </a:lnTo>
                  <a:lnTo>
                    <a:pt x="1727" y="5886"/>
                  </a:lnTo>
                  <a:lnTo>
                    <a:pt x="1705" y="5877"/>
                  </a:lnTo>
                  <a:lnTo>
                    <a:pt x="1693" y="5867"/>
                  </a:lnTo>
                  <a:lnTo>
                    <a:pt x="1689" y="5848"/>
                  </a:lnTo>
                  <a:lnTo>
                    <a:pt x="1696" y="5827"/>
                  </a:lnTo>
                  <a:lnTo>
                    <a:pt x="1705" y="5805"/>
                  </a:lnTo>
                  <a:lnTo>
                    <a:pt x="1714" y="5780"/>
                  </a:lnTo>
                  <a:lnTo>
                    <a:pt x="1718" y="5761"/>
                  </a:lnTo>
                  <a:lnTo>
                    <a:pt x="1718" y="5742"/>
                  </a:lnTo>
                  <a:lnTo>
                    <a:pt x="1711" y="5717"/>
                  </a:lnTo>
                  <a:lnTo>
                    <a:pt x="1702" y="5695"/>
                  </a:lnTo>
                  <a:lnTo>
                    <a:pt x="1693" y="5683"/>
                  </a:lnTo>
                  <a:lnTo>
                    <a:pt x="1677" y="5677"/>
                  </a:lnTo>
                  <a:lnTo>
                    <a:pt x="1655" y="5677"/>
                  </a:lnTo>
                  <a:lnTo>
                    <a:pt x="1633" y="5680"/>
                  </a:lnTo>
                  <a:lnTo>
                    <a:pt x="1614" y="5683"/>
                  </a:lnTo>
                  <a:lnTo>
                    <a:pt x="1599" y="5686"/>
                  </a:lnTo>
                  <a:lnTo>
                    <a:pt x="1580" y="5695"/>
                  </a:lnTo>
                  <a:lnTo>
                    <a:pt x="1558" y="5708"/>
                  </a:lnTo>
                  <a:lnTo>
                    <a:pt x="1540" y="5714"/>
                  </a:lnTo>
                  <a:lnTo>
                    <a:pt x="1524" y="5711"/>
                  </a:lnTo>
                  <a:lnTo>
                    <a:pt x="1508" y="5699"/>
                  </a:lnTo>
                  <a:lnTo>
                    <a:pt x="1496" y="5670"/>
                  </a:lnTo>
                  <a:lnTo>
                    <a:pt x="1486" y="5642"/>
                  </a:lnTo>
                  <a:lnTo>
                    <a:pt x="1477" y="5614"/>
                  </a:lnTo>
                  <a:lnTo>
                    <a:pt x="1465" y="5592"/>
                  </a:lnTo>
                  <a:lnTo>
                    <a:pt x="1443" y="5580"/>
                  </a:lnTo>
                  <a:lnTo>
                    <a:pt x="1412" y="5567"/>
                  </a:lnTo>
                  <a:lnTo>
                    <a:pt x="1380" y="5558"/>
                  </a:lnTo>
                  <a:lnTo>
                    <a:pt x="1355" y="5542"/>
                  </a:lnTo>
                  <a:lnTo>
                    <a:pt x="1333" y="5521"/>
                  </a:lnTo>
                  <a:lnTo>
                    <a:pt x="1312" y="5489"/>
                  </a:lnTo>
                  <a:lnTo>
                    <a:pt x="1293" y="5455"/>
                  </a:lnTo>
                  <a:lnTo>
                    <a:pt x="1283" y="5424"/>
                  </a:lnTo>
                  <a:lnTo>
                    <a:pt x="1287" y="5402"/>
                  </a:lnTo>
                  <a:lnTo>
                    <a:pt x="1296" y="5377"/>
                  </a:lnTo>
                  <a:lnTo>
                    <a:pt x="1305" y="5352"/>
                  </a:lnTo>
                  <a:lnTo>
                    <a:pt x="1312" y="5330"/>
                  </a:lnTo>
                  <a:lnTo>
                    <a:pt x="1315" y="5299"/>
                  </a:lnTo>
                  <a:lnTo>
                    <a:pt x="1318" y="5265"/>
                  </a:lnTo>
                  <a:lnTo>
                    <a:pt x="1312" y="5233"/>
                  </a:lnTo>
                  <a:lnTo>
                    <a:pt x="1302" y="5211"/>
                  </a:lnTo>
                  <a:lnTo>
                    <a:pt x="1287" y="5183"/>
                  </a:lnTo>
                  <a:lnTo>
                    <a:pt x="1268" y="5158"/>
                  </a:lnTo>
                  <a:lnTo>
                    <a:pt x="1252" y="5140"/>
                  </a:lnTo>
                  <a:lnTo>
                    <a:pt x="1234" y="5124"/>
                  </a:lnTo>
                  <a:lnTo>
                    <a:pt x="1209" y="5105"/>
                  </a:lnTo>
                  <a:lnTo>
                    <a:pt x="1184" y="5087"/>
                  </a:lnTo>
                  <a:lnTo>
                    <a:pt x="1165" y="5068"/>
                  </a:lnTo>
                  <a:lnTo>
                    <a:pt x="1155" y="5043"/>
                  </a:lnTo>
                  <a:lnTo>
                    <a:pt x="1152" y="5015"/>
                  </a:lnTo>
                  <a:lnTo>
                    <a:pt x="1149" y="4984"/>
                  </a:lnTo>
                  <a:lnTo>
                    <a:pt x="1146" y="4952"/>
                  </a:lnTo>
                  <a:lnTo>
                    <a:pt x="1137" y="4930"/>
                  </a:lnTo>
                  <a:lnTo>
                    <a:pt x="1118" y="4912"/>
                  </a:lnTo>
                  <a:lnTo>
                    <a:pt x="1087" y="4896"/>
                  </a:lnTo>
                  <a:lnTo>
                    <a:pt x="1059" y="4877"/>
                  </a:lnTo>
                  <a:lnTo>
                    <a:pt x="1040" y="4862"/>
                  </a:lnTo>
                  <a:lnTo>
                    <a:pt x="1024" y="4837"/>
                  </a:lnTo>
                  <a:lnTo>
                    <a:pt x="1015" y="4806"/>
                  </a:lnTo>
                  <a:lnTo>
                    <a:pt x="1006" y="4777"/>
                  </a:lnTo>
                  <a:lnTo>
                    <a:pt x="993" y="4746"/>
                  </a:lnTo>
                  <a:lnTo>
                    <a:pt x="981" y="4706"/>
                  </a:lnTo>
                  <a:lnTo>
                    <a:pt x="965" y="4671"/>
                  </a:lnTo>
                  <a:lnTo>
                    <a:pt x="946" y="4643"/>
                  </a:lnTo>
                  <a:lnTo>
                    <a:pt x="927" y="4634"/>
                  </a:lnTo>
                  <a:lnTo>
                    <a:pt x="899" y="4628"/>
                  </a:lnTo>
                  <a:lnTo>
                    <a:pt x="881" y="4618"/>
                  </a:lnTo>
                  <a:lnTo>
                    <a:pt x="865" y="4603"/>
                  </a:lnTo>
                  <a:lnTo>
                    <a:pt x="849" y="4584"/>
                  </a:lnTo>
                  <a:lnTo>
                    <a:pt x="834" y="4565"/>
                  </a:lnTo>
                  <a:lnTo>
                    <a:pt x="818" y="4553"/>
                  </a:lnTo>
                  <a:lnTo>
                    <a:pt x="799" y="4553"/>
                  </a:lnTo>
                  <a:lnTo>
                    <a:pt x="781" y="4556"/>
                  </a:lnTo>
                  <a:lnTo>
                    <a:pt x="765" y="4565"/>
                  </a:lnTo>
                  <a:lnTo>
                    <a:pt x="759" y="4578"/>
                  </a:lnTo>
                  <a:lnTo>
                    <a:pt x="762" y="4596"/>
                  </a:lnTo>
                  <a:lnTo>
                    <a:pt x="765" y="4615"/>
                  </a:lnTo>
                  <a:lnTo>
                    <a:pt x="765" y="4637"/>
                  </a:lnTo>
                  <a:lnTo>
                    <a:pt x="765" y="4649"/>
                  </a:lnTo>
                  <a:lnTo>
                    <a:pt x="759" y="4659"/>
                  </a:lnTo>
                  <a:lnTo>
                    <a:pt x="753" y="4668"/>
                  </a:lnTo>
                  <a:lnTo>
                    <a:pt x="746" y="4674"/>
                  </a:lnTo>
                  <a:lnTo>
                    <a:pt x="740" y="4681"/>
                  </a:lnTo>
                  <a:lnTo>
                    <a:pt x="718" y="4684"/>
                  </a:lnTo>
                  <a:lnTo>
                    <a:pt x="693" y="4681"/>
                  </a:lnTo>
                  <a:lnTo>
                    <a:pt x="668" y="4681"/>
                  </a:lnTo>
                  <a:lnTo>
                    <a:pt x="650" y="4684"/>
                  </a:lnTo>
                  <a:lnTo>
                    <a:pt x="643" y="4690"/>
                  </a:lnTo>
                  <a:lnTo>
                    <a:pt x="637" y="4696"/>
                  </a:lnTo>
                  <a:lnTo>
                    <a:pt x="634" y="4706"/>
                  </a:lnTo>
                  <a:lnTo>
                    <a:pt x="628" y="4715"/>
                  </a:lnTo>
                  <a:lnTo>
                    <a:pt x="621" y="4724"/>
                  </a:lnTo>
                  <a:lnTo>
                    <a:pt x="618" y="4731"/>
                  </a:lnTo>
                  <a:lnTo>
                    <a:pt x="609" y="4731"/>
                  </a:lnTo>
                  <a:lnTo>
                    <a:pt x="600" y="4731"/>
                  </a:lnTo>
                  <a:lnTo>
                    <a:pt x="590" y="4731"/>
                  </a:lnTo>
                  <a:lnTo>
                    <a:pt x="581" y="4731"/>
                  </a:lnTo>
                  <a:lnTo>
                    <a:pt x="572" y="4731"/>
                  </a:lnTo>
                  <a:lnTo>
                    <a:pt x="547" y="4724"/>
                  </a:lnTo>
                  <a:lnTo>
                    <a:pt x="515" y="4715"/>
                  </a:lnTo>
                  <a:lnTo>
                    <a:pt x="484" y="4706"/>
                  </a:lnTo>
                  <a:lnTo>
                    <a:pt x="456" y="4699"/>
                  </a:lnTo>
                  <a:lnTo>
                    <a:pt x="443" y="4702"/>
                  </a:lnTo>
                  <a:lnTo>
                    <a:pt x="428" y="4709"/>
                  </a:lnTo>
                  <a:lnTo>
                    <a:pt x="412" y="4715"/>
                  </a:lnTo>
                  <a:lnTo>
                    <a:pt x="400" y="4715"/>
                  </a:lnTo>
                  <a:lnTo>
                    <a:pt x="381" y="4702"/>
                  </a:lnTo>
                  <a:lnTo>
                    <a:pt x="359" y="4678"/>
                  </a:lnTo>
                  <a:lnTo>
                    <a:pt x="344" y="4649"/>
                  </a:lnTo>
                  <a:lnTo>
                    <a:pt x="334" y="4624"/>
                  </a:lnTo>
                  <a:lnTo>
                    <a:pt x="334" y="4606"/>
                  </a:lnTo>
                  <a:lnTo>
                    <a:pt x="340" y="4581"/>
                  </a:lnTo>
                  <a:lnTo>
                    <a:pt x="347" y="4556"/>
                  </a:lnTo>
                  <a:lnTo>
                    <a:pt x="350" y="4537"/>
                  </a:lnTo>
                  <a:lnTo>
                    <a:pt x="350" y="4512"/>
                  </a:lnTo>
                  <a:lnTo>
                    <a:pt x="347" y="4487"/>
                  </a:lnTo>
                  <a:lnTo>
                    <a:pt x="340" y="4459"/>
                  </a:lnTo>
                  <a:lnTo>
                    <a:pt x="334" y="4440"/>
                  </a:lnTo>
                  <a:lnTo>
                    <a:pt x="319" y="4428"/>
                  </a:lnTo>
                  <a:lnTo>
                    <a:pt x="297" y="4415"/>
                  </a:lnTo>
                  <a:lnTo>
                    <a:pt x="278" y="4406"/>
                  </a:lnTo>
                  <a:lnTo>
                    <a:pt x="265" y="4409"/>
                  </a:lnTo>
                  <a:lnTo>
                    <a:pt x="250" y="4412"/>
                  </a:lnTo>
                  <a:lnTo>
                    <a:pt x="234" y="4418"/>
                  </a:lnTo>
                  <a:lnTo>
                    <a:pt x="222" y="4418"/>
                  </a:lnTo>
                  <a:lnTo>
                    <a:pt x="209" y="4403"/>
                  </a:lnTo>
                  <a:lnTo>
                    <a:pt x="203" y="4381"/>
                  </a:lnTo>
                  <a:lnTo>
                    <a:pt x="194" y="4359"/>
                  </a:lnTo>
                  <a:lnTo>
                    <a:pt x="184" y="4343"/>
                  </a:lnTo>
                  <a:lnTo>
                    <a:pt x="166" y="4334"/>
                  </a:lnTo>
                  <a:lnTo>
                    <a:pt x="141" y="4328"/>
                  </a:lnTo>
                  <a:lnTo>
                    <a:pt x="119" y="4322"/>
                  </a:lnTo>
                  <a:lnTo>
                    <a:pt x="100" y="4312"/>
                  </a:lnTo>
                  <a:lnTo>
                    <a:pt x="81" y="4290"/>
                  </a:lnTo>
                  <a:lnTo>
                    <a:pt x="66" y="4262"/>
                  </a:lnTo>
                  <a:lnTo>
                    <a:pt x="50" y="4231"/>
                  </a:lnTo>
                  <a:lnTo>
                    <a:pt x="38" y="4206"/>
                  </a:lnTo>
                  <a:lnTo>
                    <a:pt x="31" y="4200"/>
                  </a:lnTo>
                  <a:lnTo>
                    <a:pt x="25" y="4194"/>
                  </a:lnTo>
                  <a:lnTo>
                    <a:pt x="19" y="4187"/>
                  </a:lnTo>
                  <a:lnTo>
                    <a:pt x="13" y="4181"/>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40" name="Freeform 9">
              <a:extLst>
                <a:ext uri="{FF2B5EF4-FFF2-40B4-BE49-F238E27FC236}">
                  <a16:creationId xmlns:a16="http://schemas.microsoft.com/office/drawing/2014/main" id="{064E296B-0686-4932-9958-3F5DEE4F7F23}"/>
                </a:ext>
              </a:extLst>
            </p:cNvPr>
            <p:cNvSpPr>
              <a:spLocks/>
            </p:cNvSpPr>
            <p:nvPr/>
          </p:nvSpPr>
          <p:spPr bwMode="auto">
            <a:xfrm>
              <a:off x="16390938" y="-396875"/>
              <a:ext cx="5121275" cy="5700713"/>
            </a:xfrm>
            <a:custGeom>
              <a:avLst/>
              <a:gdLst>
                <a:gd name="T0" fmla="*/ 3188 w 3226"/>
                <a:gd name="T1" fmla="*/ 1246 h 3591"/>
                <a:gd name="T2" fmla="*/ 3016 w 3226"/>
                <a:gd name="T3" fmla="*/ 1374 h 3591"/>
                <a:gd name="T4" fmla="*/ 2904 w 3226"/>
                <a:gd name="T5" fmla="*/ 1561 h 3591"/>
                <a:gd name="T6" fmla="*/ 3098 w 3226"/>
                <a:gd name="T7" fmla="*/ 1733 h 3591"/>
                <a:gd name="T8" fmla="*/ 3076 w 3226"/>
                <a:gd name="T9" fmla="*/ 1933 h 3591"/>
                <a:gd name="T10" fmla="*/ 3094 w 3226"/>
                <a:gd name="T11" fmla="*/ 2208 h 3591"/>
                <a:gd name="T12" fmla="*/ 3094 w 3226"/>
                <a:gd name="T13" fmla="*/ 2483 h 3591"/>
                <a:gd name="T14" fmla="*/ 2904 w 3226"/>
                <a:gd name="T15" fmla="*/ 2426 h 3591"/>
                <a:gd name="T16" fmla="*/ 2857 w 3226"/>
                <a:gd name="T17" fmla="*/ 2539 h 3591"/>
                <a:gd name="T18" fmla="*/ 2792 w 3226"/>
                <a:gd name="T19" fmla="*/ 2711 h 3591"/>
                <a:gd name="T20" fmla="*/ 2623 w 3226"/>
                <a:gd name="T21" fmla="*/ 2842 h 3591"/>
                <a:gd name="T22" fmla="*/ 2570 w 3226"/>
                <a:gd name="T23" fmla="*/ 2926 h 3591"/>
                <a:gd name="T24" fmla="*/ 2623 w 3226"/>
                <a:gd name="T25" fmla="*/ 3038 h 3591"/>
                <a:gd name="T26" fmla="*/ 2573 w 3226"/>
                <a:gd name="T27" fmla="*/ 3179 h 3591"/>
                <a:gd name="T28" fmla="*/ 2442 w 3226"/>
                <a:gd name="T29" fmla="*/ 3273 h 3591"/>
                <a:gd name="T30" fmla="*/ 2429 w 3226"/>
                <a:gd name="T31" fmla="*/ 3413 h 3591"/>
                <a:gd name="T32" fmla="*/ 2267 w 3226"/>
                <a:gd name="T33" fmla="*/ 3473 h 3591"/>
                <a:gd name="T34" fmla="*/ 2111 w 3226"/>
                <a:gd name="T35" fmla="*/ 3497 h 3591"/>
                <a:gd name="T36" fmla="*/ 1973 w 3226"/>
                <a:gd name="T37" fmla="*/ 3591 h 3591"/>
                <a:gd name="T38" fmla="*/ 1755 w 3226"/>
                <a:gd name="T39" fmla="*/ 3460 h 3591"/>
                <a:gd name="T40" fmla="*/ 1611 w 3226"/>
                <a:gd name="T41" fmla="*/ 3332 h 3591"/>
                <a:gd name="T42" fmla="*/ 1393 w 3226"/>
                <a:gd name="T43" fmla="*/ 3341 h 3591"/>
                <a:gd name="T44" fmla="*/ 1224 w 3226"/>
                <a:gd name="T45" fmla="*/ 3238 h 3591"/>
                <a:gd name="T46" fmla="*/ 1255 w 3226"/>
                <a:gd name="T47" fmla="*/ 3079 h 3591"/>
                <a:gd name="T48" fmla="*/ 1062 w 3226"/>
                <a:gd name="T49" fmla="*/ 3051 h 3591"/>
                <a:gd name="T50" fmla="*/ 1033 w 3226"/>
                <a:gd name="T51" fmla="*/ 2864 h 3591"/>
                <a:gd name="T52" fmla="*/ 1030 w 3226"/>
                <a:gd name="T53" fmla="*/ 2620 h 3591"/>
                <a:gd name="T54" fmla="*/ 1108 w 3226"/>
                <a:gd name="T55" fmla="*/ 2501 h 3591"/>
                <a:gd name="T56" fmla="*/ 1102 w 3226"/>
                <a:gd name="T57" fmla="*/ 2398 h 3591"/>
                <a:gd name="T58" fmla="*/ 940 w 3226"/>
                <a:gd name="T59" fmla="*/ 2314 h 3591"/>
                <a:gd name="T60" fmla="*/ 840 w 3226"/>
                <a:gd name="T61" fmla="*/ 2149 h 3591"/>
                <a:gd name="T62" fmla="*/ 706 w 3226"/>
                <a:gd name="T63" fmla="*/ 1986 h 3591"/>
                <a:gd name="T64" fmla="*/ 443 w 3226"/>
                <a:gd name="T65" fmla="*/ 1942 h 3591"/>
                <a:gd name="T66" fmla="*/ 231 w 3226"/>
                <a:gd name="T67" fmla="*/ 2039 h 3591"/>
                <a:gd name="T68" fmla="*/ 222 w 3226"/>
                <a:gd name="T69" fmla="*/ 1793 h 3591"/>
                <a:gd name="T70" fmla="*/ 25 w 3226"/>
                <a:gd name="T71" fmla="*/ 1708 h 3591"/>
                <a:gd name="T72" fmla="*/ 153 w 3226"/>
                <a:gd name="T73" fmla="*/ 1521 h 3591"/>
                <a:gd name="T74" fmla="*/ 293 w 3226"/>
                <a:gd name="T75" fmla="*/ 1399 h 3591"/>
                <a:gd name="T76" fmla="*/ 387 w 3226"/>
                <a:gd name="T77" fmla="*/ 1227 h 3591"/>
                <a:gd name="T78" fmla="*/ 431 w 3226"/>
                <a:gd name="T79" fmla="*/ 996 h 3591"/>
                <a:gd name="T80" fmla="*/ 306 w 3226"/>
                <a:gd name="T81" fmla="*/ 800 h 3591"/>
                <a:gd name="T82" fmla="*/ 306 w 3226"/>
                <a:gd name="T83" fmla="*/ 528 h 3591"/>
                <a:gd name="T84" fmla="*/ 478 w 3226"/>
                <a:gd name="T85" fmla="*/ 409 h 3591"/>
                <a:gd name="T86" fmla="*/ 677 w 3226"/>
                <a:gd name="T87" fmla="*/ 253 h 3591"/>
                <a:gd name="T88" fmla="*/ 880 w 3226"/>
                <a:gd name="T89" fmla="*/ 188 h 3591"/>
                <a:gd name="T90" fmla="*/ 993 w 3226"/>
                <a:gd name="T91" fmla="*/ 172 h 3591"/>
                <a:gd name="T92" fmla="*/ 1143 w 3226"/>
                <a:gd name="T93" fmla="*/ 166 h 3591"/>
                <a:gd name="T94" fmla="*/ 1274 w 3226"/>
                <a:gd name="T95" fmla="*/ 181 h 3591"/>
                <a:gd name="T96" fmla="*/ 1449 w 3226"/>
                <a:gd name="T97" fmla="*/ 166 h 3591"/>
                <a:gd name="T98" fmla="*/ 1592 w 3226"/>
                <a:gd name="T99" fmla="*/ 72 h 3591"/>
                <a:gd name="T100" fmla="*/ 1733 w 3226"/>
                <a:gd name="T101" fmla="*/ 172 h 3591"/>
                <a:gd name="T102" fmla="*/ 1833 w 3226"/>
                <a:gd name="T103" fmla="*/ 106 h 3591"/>
                <a:gd name="T104" fmla="*/ 1870 w 3226"/>
                <a:gd name="T105" fmla="*/ 44 h 3591"/>
                <a:gd name="T106" fmla="*/ 2039 w 3226"/>
                <a:gd name="T107" fmla="*/ 56 h 3591"/>
                <a:gd name="T108" fmla="*/ 2364 w 3226"/>
                <a:gd name="T109" fmla="*/ 69 h 3591"/>
                <a:gd name="T110" fmla="*/ 2610 w 3226"/>
                <a:gd name="T111" fmla="*/ 81 h 3591"/>
                <a:gd name="T112" fmla="*/ 2704 w 3226"/>
                <a:gd name="T113" fmla="*/ 75 h 3591"/>
                <a:gd name="T114" fmla="*/ 2851 w 3226"/>
                <a:gd name="T115" fmla="*/ 272 h 3591"/>
                <a:gd name="T116" fmla="*/ 2970 w 3226"/>
                <a:gd name="T117" fmla="*/ 387 h 3591"/>
                <a:gd name="T118" fmla="*/ 3123 w 3226"/>
                <a:gd name="T119" fmla="*/ 581 h 3591"/>
                <a:gd name="T120" fmla="*/ 3201 w 3226"/>
                <a:gd name="T121" fmla="*/ 899 h 3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26" h="3591">
                  <a:moveTo>
                    <a:pt x="3226" y="981"/>
                  </a:moveTo>
                  <a:lnTo>
                    <a:pt x="3226" y="999"/>
                  </a:lnTo>
                  <a:lnTo>
                    <a:pt x="3219" y="1021"/>
                  </a:lnTo>
                  <a:lnTo>
                    <a:pt x="3213" y="1046"/>
                  </a:lnTo>
                  <a:lnTo>
                    <a:pt x="3210" y="1065"/>
                  </a:lnTo>
                  <a:lnTo>
                    <a:pt x="3213" y="1090"/>
                  </a:lnTo>
                  <a:lnTo>
                    <a:pt x="3219" y="1118"/>
                  </a:lnTo>
                  <a:lnTo>
                    <a:pt x="3222" y="1140"/>
                  </a:lnTo>
                  <a:lnTo>
                    <a:pt x="3216" y="1165"/>
                  </a:lnTo>
                  <a:lnTo>
                    <a:pt x="3204" y="1196"/>
                  </a:lnTo>
                  <a:lnTo>
                    <a:pt x="3194" y="1218"/>
                  </a:lnTo>
                  <a:lnTo>
                    <a:pt x="3188" y="1246"/>
                  </a:lnTo>
                  <a:lnTo>
                    <a:pt x="3182" y="1277"/>
                  </a:lnTo>
                  <a:lnTo>
                    <a:pt x="3172" y="1309"/>
                  </a:lnTo>
                  <a:lnTo>
                    <a:pt x="3157" y="1330"/>
                  </a:lnTo>
                  <a:lnTo>
                    <a:pt x="3144" y="1334"/>
                  </a:lnTo>
                  <a:lnTo>
                    <a:pt x="3126" y="1337"/>
                  </a:lnTo>
                  <a:lnTo>
                    <a:pt x="3107" y="1340"/>
                  </a:lnTo>
                  <a:lnTo>
                    <a:pt x="3094" y="1343"/>
                  </a:lnTo>
                  <a:lnTo>
                    <a:pt x="3076" y="1352"/>
                  </a:lnTo>
                  <a:lnTo>
                    <a:pt x="3054" y="1365"/>
                  </a:lnTo>
                  <a:lnTo>
                    <a:pt x="3035" y="1374"/>
                  </a:lnTo>
                  <a:lnTo>
                    <a:pt x="3026" y="1374"/>
                  </a:lnTo>
                  <a:lnTo>
                    <a:pt x="3016" y="1374"/>
                  </a:lnTo>
                  <a:lnTo>
                    <a:pt x="3007" y="1371"/>
                  </a:lnTo>
                  <a:lnTo>
                    <a:pt x="2998" y="1371"/>
                  </a:lnTo>
                  <a:lnTo>
                    <a:pt x="2988" y="1374"/>
                  </a:lnTo>
                  <a:lnTo>
                    <a:pt x="2970" y="1383"/>
                  </a:lnTo>
                  <a:lnTo>
                    <a:pt x="2951" y="1396"/>
                  </a:lnTo>
                  <a:lnTo>
                    <a:pt x="2935" y="1412"/>
                  </a:lnTo>
                  <a:lnTo>
                    <a:pt x="2920" y="1437"/>
                  </a:lnTo>
                  <a:lnTo>
                    <a:pt x="2907" y="1471"/>
                  </a:lnTo>
                  <a:lnTo>
                    <a:pt x="2901" y="1499"/>
                  </a:lnTo>
                  <a:lnTo>
                    <a:pt x="2901" y="1518"/>
                  </a:lnTo>
                  <a:lnTo>
                    <a:pt x="2901" y="1540"/>
                  </a:lnTo>
                  <a:lnTo>
                    <a:pt x="2904" y="1561"/>
                  </a:lnTo>
                  <a:lnTo>
                    <a:pt x="2913" y="1577"/>
                  </a:lnTo>
                  <a:lnTo>
                    <a:pt x="2926" y="1583"/>
                  </a:lnTo>
                  <a:lnTo>
                    <a:pt x="2941" y="1583"/>
                  </a:lnTo>
                  <a:lnTo>
                    <a:pt x="2960" y="1583"/>
                  </a:lnTo>
                  <a:lnTo>
                    <a:pt x="2976" y="1586"/>
                  </a:lnTo>
                  <a:lnTo>
                    <a:pt x="2995" y="1599"/>
                  </a:lnTo>
                  <a:lnTo>
                    <a:pt x="3016" y="1615"/>
                  </a:lnTo>
                  <a:lnTo>
                    <a:pt x="3038" y="1633"/>
                  </a:lnTo>
                  <a:lnTo>
                    <a:pt x="3054" y="1652"/>
                  </a:lnTo>
                  <a:lnTo>
                    <a:pt x="3069" y="1677"/>
                  </a:lnTo>
                  <a:lnTo>
                    <a:pt x="3085" y="1705"/>
                  </a:lnTo>
                  <a:lnTo>
                    <a:pt x="3098" y="1733"/>
                  </a:lnTo>
                  <a:lnTo>
                    <a:pt x="3107" y="1749"/>
                  </a:lnTo>
                  <a:lnTo>
                    <a:pt x="3116" y="1771"/>
                  </a:lnTo>
                  <a:lnTo>
                    <a:pt x="3123" y="1789"/>
                  </a:lnTo>
                  <a:lnTo>
                    <a:pt x="3129" y="1814"/>
                  </a:lnTo>
                  <a:lnTo>
                    <a:pt x="3129" y="1846"/>
                  </a:lnTo>
                  <a:lnTo>
                    <a:pt x="3126" y="1877"/>
                  </a:lnTo>
                  <a:lnTo>
                    <a:pt x="3119" y="1902"/>
                  </a:lnTo>
                  <a:lnTo>
                    <a:pt x="3113" y="1908"/>
                  </a:lnTo>
                  <a:lnTo>
                    <a:pt x="3104" y="1914"/>
                  </a:lnTo>
                  <a:lnTo>
                    <a:pt x="3094" y="1921"/>
                  </a:lnTo>
                  <a:lnTo>
                    <a:pt x="3085" y="1927"/>
                  </a:lnTo>
                  <a:lnTo>
                    <a:pt x="3076" y="1933"/>
                  </a:lnTo>
                  <a:lnTo>
                    <a:pt x="3069" y="1936"/>
                  </a:lnTo>
                  <a:lnTo>
                    <a:pt x="3057" y="1958"/>
                  </a:lnTo>
                  <a:lnTo>
                    <a:pt x="3044" y="1983"/>
                  </a:lnTo>
                  <a:lnTo>
                    <a:pt x="3032" y="2011"/>
                  </a:lnTo>
                  <a:lnTo>
                    <a:pt x="3026" y="2036"/>
                  </a:lnTo>
                  <a:lnTo>
                    <a:pt x="3029" y="2061"/>
                  </a:lnTo>
                  <a:lnTo>
                    <a:pt x="3035" y="2092"/>
                  </a:lnTo>
                  <a:lnTo>
                    <a:pt x="3044" y="2124"/>
                  </a:lnTo>
                  <a:lnTo>
                    <a:pt x="3054" y="2149"/>
                  </a:lnTo>
                  <a:lnTo>
                    <a:pt x="3063" y="2167"/>
                  </a:lnTo>
                  <a:lnTo>
                    <a:pt x="3082" y="2189"/>
                  </a:lnTo>
                  <a:lnTo>
                    <a:pt x="3094" y="2208"/>
                  </a:lnTo>
                  <a:lnTo>
                    <a:pt x="3104" y="2233"/>
                  </a:lnTo>
                  <a:lnTo>
                    <a:pt x="3116" y="2261"/>
                  </a:lnTo>
                  <a:lnTo>
                    <a:pt x="3126" y="2292"/>
                  </a:lnTo>
                  <a:lnTo>
                    <a:pt x="3126" y="2317"/>
                  </a:lnTo>
                  <a:lnTo>
                    <a:pt x="3119" y="2336"/>
                  </a:lnTo>
                  <a:lnTo>
                    <a:pt x="3104" y="2351"/>
                  </a:lnTo>
                  <a:lnTo>
                    <a:pt x="3094" y="2370"/>
                  </a:lnTo>
                  <a:lnTo>
                    <a:pt x="3091" y="2389"/>
                  </a:lnTo>
                  <a:lnTo>
                    <a:pt x="3094" y="2414"/>
                  </a:lnTo>
                  <a:lnTo>
                    <a:pt x="3098" y="2439"/>
                  </a:lnTo>
                  <a:lnTo>
                    <a:pt x="3098" y="2464"/>
                  </a:lnTo>
                  <a:lnTo>
                    <a:pt x="3094" y="2483"/>
                  </a:lnTo>
                  <a:lnTo>
                    <a:pt x="3079" y="2501"/>
                  </a:lnTo>
                  <a:lnTo>
                    <a:pt x="3057" y="2517"/>
                  </a:lnTo>
                  <a:lnTo>
                    <a:pt x="3038" y="2526"/>
                  </a:lnTo>
                  <a:lnTo>
                    <a:pt x="3010" y="2526"/>
                  </a:lnTo>
                  <a:lnTo>
                    <a:pt x="2976" y="2520"/>
                  </a:lnTo>
                  <a:lnTo>
                    <a:pt x="2948" y="2508"/>
                  </a:lnTo>
                  <a:lnTo>
                    <a:pt x="2926" y="2492"/>
                  </a:lnTo>
                  <a:lnTo>
                    <a:pt x="2920" y="2480"/>
                  </a:lnTo>
                  <a:lnTo>
                    <a:pt x="2920" y="2464"/>
                  </a:lnTo>
                  <a:lnTo>
                    <a:pt x="2920" y="2448"/>
                  </a:lnTo>
                  <a:lnTo>
                    <a:pt x="2916" y="2436"/>
                  </a:lnTo>
                  <a:lnTo>
                    <a:pt x="2904" y="2426"/>
                  </a:lnTo>
                  <a:lnTo>
                    <a:pt x="2888" y="2420"/>
                  </a:lnTo>
                  <a:lnTo>
                    <a:pt x="2870" y="2417"/>
                  </a:lnTo>
                  <a:lnTo>
                    <a:pt x="2857" y="2417"/>
                  </a:lnTo>
                  <a:lnTo>
                    <a:pt x="2851" y="2423"/>
                  </a:lnTo>
                  <a:lnTo>
                    <a:pt x="2848" y="2430"/>
                  </a:lnTo>
                  <a:lnTo>
                    <a:pt x="2845" y="2439"/>
                  </a:lnTo>
                  <a:lnTo>
                    <a:pt x="2841" y="2448"/>
                  </a:lnTo>
                  <a:lnTo>
                    <a:pt x="2841" y="2458"/>
                  </a:lnTo>
                  <a:lnTo>
                    <a:pt x="2841" y="2464"/>
                  </a:lnTo>
                  <a:lnTo>
                    <a:pt x="2845" y="2486"/>
                  </a:lnTo>
                  <a:lnTo>
                    <a:pt x="2851" y="2514"/>
                  </a:lnTo>
                  <a:lnTo>
                    <a:pt x="2857" y="2539"/>
                  </a:lnTo>
                  <a:lnTo>
                    <a:pt x="2857" y="2561"/>
                  </a:lnTo>
                  <a:lnTo>
                    <a:pt x="2860" y="2586"/>
                  </a:lnTo>
                  <a:lnTo>
                    <a:pt x="2860" y="2611"/>
                  </a:lnTo>
                  <a:lnTo>
                    <a:pt x="2854" y="2629"/>
                  </a:lnTo>
                  <a:lnTo>
                    <a:pt x="2848" y="2633"/>
                  </a:lnTo>
                  <a:lnTo>
                    <a:pt x="2841" y="2636"/>
                  </a:lnTo>
                  <a:lnTo>
                    <a:pt x="2832" y="2639"/>
                  </a:lnTo>
                  <a:lnTo>
                    <a:pt x="2823" y="2642"/>
                  </a:lnTo>
                  <a:lnTo>
                    <a:pt x="2817" y="2645"/>
                  </a:lnTo>
                  <a:lnTo>
                    <a:pt x="2807" y="2664"/>
                  </a:lnTo>
                  <a:lnTo>
                    <a:pt x="2801" y="2689"/>
                  </a:lnTo>
                  <a:lnTo>
                    <a:pt x="2792" y="2711"/>
                  </a:lnTo>
                  <a:lnTo>
                    <a:pt x="2785" y="2717"/>
                  </a:lnTo>
                  <a:lnTo>
                    <a:pt x="2776" y="2723"/>
                  </a:lnTo>
                  <a:lnTo>
                    <a:pt x="2767" y="2732"/>
                  </a:lnTo>
                  <a:lnTo>
                    <a:pt x="2757" y="2739"/>
                  </a:lnTo>
                  <a:lnTo>
                    <a:pt x="2748" y="2742"/>
                  </a:lnTo>
                  <a:lnTo>
                    <a:pt x="2729" y="2751"/>
                  </a:lnTo>
                  <a:lnTo>
                    <a:pt x="2701" y="2757"/>
                  </a:lnTo>
                  <a:lnTo>
                    <a:pt x="2682" y="2767"/>
                  </a:lnTo>
                  <a:lnTo>
                    <a:pt x="2660" y="2786"/>
                  </a:lnTo>
                  <a:lnTo>
                    <a:pt x="2642" y="2811"/>
                  </a:lnTo>
                  <a:lnTo>
                    <a:pt x="2626" y="2835"/>
                  </a:lnTo>
                  <a:lnTo>
                    <a:pt x="2623" y="2842"/>
                  </a:lnTo>
                  <a:lnTo>
                    <a:pt x="2620" y="2851"/>
                  </a:lnTo>
                  <a:lnTo>
                    <a:pt x="2617" y="2860"/>
                  </a:lnTo>
                  <a:lnTo>
                    <a:pt x="2614" y="2870"/>
                  </a:lnTo>
                  <a:lnTo>
                    <a:pt x="2610" y="2876"/>
                  </a:lnTo>
                  <a:lnTo>
                    <a:pt x="2604" y="2882"/>
                  </a:lnTo>
                  <a:lnTo>
                    <a:pt x="2595" y="2885"/>
                  </a:lnTo>
                  <a:lnTo>
                    <a:pt x="2585" y="2892"/>
                  </a:lnTo>
                  <a:lnTo>
                    <a:pt x="2576" y="2898"/>
                  </a:lnTo>
                  <a:lnTo>
                    <a:pt x="2573" y="2904"/>
                  </a:lnTo>
                  <a:lnTo>
                    <a:pt x="2570" y="2910"/>
                  </a:lnTo>
                  <a:lnTo>
                    <a:pt x="2570" y="2917"/>
                  </a:lnTo>
                  <a:lnTo>
                    <a:pt x="2570" y="2926"/>
                  </a:lnTo>
                  <a:lnTo>
                    <a:pt x="2570" y="2935"/>
                  </a:lnTo>
                  <a:lnTo>
                    <a:pt x="2573" y="2942"/>
                  </a:lnTo>
                  <a:lnTo>
                    <a:pt x="2573" y="2951"/>
                  </a:lnTo>
                  <a:lnTo>
                    <a:pt x="2576" y="2964"/>
                  </a:lnTo>
                  <a:lnTo>
                    <a:pt x="2579" y="2973"/>
                  </a:lnTo>
                  <a:lnTo>
                    <a:pt x="2585" y="2982"/>
                  </a:lnTo>
                  <a:lnTo>
                    <a:pt x="2592" y="2989"/>
                  </a:lnTo>
                  <a:lnTo>
                    <a:pt x="2598" y="2995"/>
                  </a:lnTo>
                  <a:lnTo>
                    <a:pt x="2607" y="3001"/>
                  </a:lnTo>
                  <a:lnTo>
                    <a:pt x="2617" y="3010"/>
                  </a:lnTo>
                  <a:lnTo>
                    <a:pt x="2620" y="3017"/>
                  </a:lnTo>
                  <a:lnTo>
                    <a:pt x="2623" y="3038"/>
                  </a:lnTo>
                  <a:lnTo>
                    <a:pt x="2617" y="3063"/>
                  </a:lnTo>
                  <a:lnTo>
                    <a:pt x="2607" y="3088"/>
                  </a:lnTo>
                  <a:lnTo>
                    <a:pt x="2595" y="3104"/>
                  </a:lnTo>
                  <a:lnTo>
                    <a:pt x="2592" y="3107"/>
                  </a:lnTo>
                  <a:lnTo>
                    <a:pt x="2585" y="3104"/>
                  </a:lnTo>
                  <a:lnTo>
                    <a:pt x="2579" y="3104"/>
                  </a:lnTo>
                  <a:lnTo>
                    <a:pt x="2576" y="3104"/>
                  </a:lnTo>
                  <a:lnTo>
                    <a:pt x="2573" y="3104"/>
                  </a:lnTo>
                  <a:lnTo>
                    <a:pt x="2567" y="3120"/>
                  </a:lnTo>
                  <a:lnTo>
                    <a:pt x="2570" y="3142"/>
                  </a:lnTo>
                  <a:lnTo>
                    <a:pt x="2573" y="3163"/>
                  </a:lnTo>
                  <a:lnTo>
                    <a:pt x="2573" y="3179"/>
                  </a:lnTo>
                  <a:lnTo>
                    <a:pt x="2557" y="3198"/>
                  </a:lnTo>
                  <a:lnTo>
                    <a:pt x="2535" y="3216"/>
                  </a:lnTo>
                  <a:lnTo>
                    <a:pt x="2514" y="3229"/>
                  </a:lnTo>
                  <a:lnTo>
                    <a:pt x="2507" y="3235"/>
                  </a:lnTo>
                  <a:lnTo>
                    <a:pt x="2498" y="3238"/>
                  </a:lnTo>
                  <a:lnTo>
                    <a:pt x="2492" y="3241"/>
                  </a:lnTo>
                  <a:lnTo>
                    <a:pt x="2482" y="3245"/>
                  </a:lnTo>
                  <a:lnTo>
                    <a:pt x="2473" y="3248"/>
                  </a:lnTo>
                  <a:lnTo>
                    <a:pt x="2464" y="3254"/>
                  </a:lnTo>
                  <a:lnTo>
                    <a:pt x="2454" y="3260"/>
                  </a:lnTo>
                  <a:lnTo>
                    <a:pt x="2445" y="3263"/>
                  </a:lnTo>
                  <a:lnTo>
                    <a:pt x="2442" y="3273"/>
                  </a:lnTo>
                  <a:lnTo>
                    <a:pt x="2445" y="3285"/>
                  </a:lnTo>
                  <a:lnTo>
                    <a:pt x="2451" y="3301"/>
                  </a:lnTo>
                  <a:lnTo>
                    <a:pt x="2461" y="3313"/>
                  </a:lnTo>
                  <a:lnTo>
                    <a:pt x="2467" y="3329"/>
                  </a:lnTo>
                  <a:lnTo>
                    <a:pt x="2470" y="3344"/>
                  </a:lnTo>
                  <a:lnTo>
                    <a:pt x="2470" y="3363"/>
                  </a:lnTo>
                  <a:lnTo>
                    <a:pt x="2467" y="3382"/>
                  </a:lnTo>
                  <a:lnTo>
                    <a:pt x="2464" y="3388"/>
                  </a:lnTo>
                  <a:lnTo>
                    <a:pt x="2454" y="3394"/>
                  </a:lnTo>
                  <a:lnTo>
                    <a:pt x="2445" y="3401"/>
                  </a:lnTo>
                  <a:lnTo>
                    <a:pt x="2436" y="3407"/>
                  </a:lnTo>
                  <a:lnTo>
                    <a:pt x="2429" y="3413"/>
                  </a:lnTo>
                  <a:lnTo>
                    <a:pt x="2414" y="3432"/>
                  </a:lnTo>
                  <a:lnTo>
                    <a:pt x="2401" y="3454"/>
                  </a:lnTo>
                  <a:lnTo>
                    <a:pt x="2392" y="3473"/>
                  </a:lnTo>
                  <a:lnTo>
                    <a:pt x="2389" y="3482"/>
                  </a:lnTo>
                  <a:lnTo>
                    <a:pt x="2373" y="3476"/>
                  </a:lnTo>
                  <a:lnTo>
                    <a:pt x="2361" y="3473"/>
                  </a:lnTo>
                  <a:lnTo>
                    <a:pt x="2351" y="3469"/>
                  </a:lnTo>
                  <a:lnTo>
                    <a:pt x="2332" y="3466"/>
                  </a:lnTo>
                  <a:lnTo>
                    <a:pt x="2311" y="3463"/>
                  </a:lnTo>
                  <a:lnTo>
                    <a:pt x="2289" y="3463"/>
                  </a:lnTo>
                  <a:lnTo>
                    <a:pt x="2273" y="3469"/>
                  </a:lnTo>
                  <a:lnTo>
                    <a:pt x="2267" y="3473"/>
                  </a:lnTo>
                  <a:lnTo>
                    <a:pt x="2261" y="3482"/>
                  </a:lnTo>
                  <a:lnTo>
                    <a:pt x="2258" y="3491"/>
                  </a:lnTo>
                  <a:lnTo>
                    <a:pt x="2251" y="3501"/>
                  </a:lnTo>
                  <a:lnTo>
                    <a:pt x="2248" y="3507"/>
                  </a:lnTo>
                  <a:lnTo>
                    <a:pt x="2242" y="3513"/>
                  </a:lnTo>
                  <a:lnTo>
                    <a:pt x="2226" y="3522"/>
                  </a:lnTo>
                  <a:lnTo>
                    <a:pt x="2208" y="3532"/>
                  </a:lnTo>
                  <a:lnTo>
                    <a:pt x="2189" y="3535"/>
                  </a:lnTo>
                  <a:lnTo>
                    <a:pt x="2170" y="3526"/>
                  </a:lnTo>
                  <a:lnTo>
                    <a:pt x="2148" y="3510"/>
                  </a:lnTo>
                  <a:lnTo>
                    <a:pt x="2126" y="3501"/>
                  </a:lnTo>
                  <a:lnTo>
                    <a:pt x="2111" y="3497"/>
                  </a:lnTo>
                  <a:lnTo>
                    <a:pt x="2092" y="3497"/>
                  </a:lnTo>
                  <a:lnTo>
                    <a:pt x="2076" y="3497"/>
                  </a:lnTo>
                  <a:lnTo>
                    <a:pt x="2061" y="3501"/>
                  </a:lnTo>
                  <a:lnTo>
                    <a:pt x="2058" y="3507"/>
                  </a:lnTo>
                  <a:lnTo>
                    <a:pt x="2055" y="3513"/>
                  </a:lnTo>
                  <a:lnTo>
                    <a:pt x="2051" y="3522"/>
                  </a:lnTo>
                  <a:lnTo>
                    <a:pt x="2051" y="3529"/>
                  </a:lnTo>
                  <a:lnTo>
                    <a:pt x="2048" y="3535"/>
                  </a:lnTo>
                  <a:lnTo>
                    <a:pt x="2033" y="3551"/>
                  </a:lnTo>
                  <a:lnTo>
                    <a:pt x="2014" y="3569"/>
                  </a:lnTo>
                  <a:lnTo>
                    <a:pt x="1992" y="3582"/>
                  </a:lnTo>
                  <a:lnTo>
                    <a:pt x="1973" y="3591"/>
                  </a:lnTo>
                  <a:lnTo>
                    <a:pt x="1958" y="3588"/>
                  </a:lnTo>
                  <a:lnTo>
                    <a:pt x="1936" y="3582"/>
                  </a:lnTo>
                  <a:lnTo>
                    <a:pt x="1917" y="3572"/>
                  </a:lnTo>
                  <a:lnTo>
                    <a:pt x="1902" y="3566"/>
                  </a:lnTo>
                  <a:lnTo>
                    <a:pt x="1873" y="3563"/>
                  </a:lnTo>
                  <a:lnTo>
                    <a:pt x="1845" y="3560"/>
                  </a:lnTo>
                  <a:lnTo>
                    <a:pt x="1820" y="3551"/>
                  </a:lnTo>
                  <a:lnTo>
                    <a:pt x="1808" y="3532"/>
                  </a:lnTo>
                  <a:lnTo>
                    <a:pt x="1795" y="3510"/>
                  </a:lnTo>
                  <a:lnTo>
                    <a:pt x="1783" y="3485"/>
                  </a:lnTo>
                  <a:lnTo>
                    <a:pt x="1770" y="3469"/>
                  </a:lnTo>
                  <a:lnTo>
                    <a:pt x="1755" y="3460"/>
                  </a:lnTo>
                  <a:lnTo>
                    <a:pt x="1730" y="3454"/>
                  </a:lnTo>
                  <a:lnTo>
                    <a:pt x="1708" y="3448"/>
                  </a:lnTo>
                  <a:lnTo>
                    <a:pt x="1686" y="3441"/>
                  </a:lnTo>
                  <a:lnTo>
                    <a:pt x="1674" y="3429"/>
                  </a:lnTo>
                  <a:lnTo>
                    <a:pt x="1670" y="3416"/>
                  </a:lnTo>
                  <a:lnTo>
                    <a:pt x="1670" y="3401"/>
                  </a:lnTo>
                  <a:lnTo>
                    <a:pt x="1674" y="3379"/>
                  </a:lnTo>
                  <a:lnTo>
                    <a:pt x="1677" y="3363"/>
                  </a:lnTo>
                  <a:lnTo>
                    <a:pt x="1674" y="3351"/>
                  </a:lnTo>
                  <a:lnTo>
                    <a:pt x="1658" y="3341"/>
                  </a:lnTo>
                  <a:lnTo>
                    <a:pt x="1636" y="3335"/>
                  </a:lnTo>
                  <a:lnTo>
                    <a:pt x="1611" y="3332"/>
                  </a:lnTo>
                  <a:lnTo>
                    <a:pt x="1592" y="3332"/>
                  </a:lnTo>
                  <a:lnTo>
                    <a:pt x="1574" y="3335"/>
                  </a:lnTo>
                  <a:lnTo>
                    <a:pt x="1549" y="3344"/>
                  </a:lnTo>
                  <a:lnTo>
                    <a:pt x="1527" y="3351"/>
                  </a:lnTo>
                  <a:lnTo>
                    <a:pt x="1508" y="3351"/>
                  </a:lnTo>
                  <a:lnTo>
                    <a:pt x="1492" y="3341"/>
                  </a:lnTo>
                  <a:lnTo>
                    <a:pt x="1474" y="3323"/>
                  </a:lnTo>
                  <a:lnTo>
                    <a:pt x="1458" y="3307"/>
                  </a:lnTo>
                  <a:lnTo>
                    <a:pt x="1443" y="3301"/>
                  </a:lnTo>
                  <a:lnTo>
                    <a:pt x="1427" y="3307"/>
                  </a:lnTo>
                  <a:lnTo>
                    <a:pt x="1408" y="3323"/>
                  </a:lnTo>
                  <a:lnTo>
                    <a:pt x="1393" y="3341"/>
                  </a:lnTo>
                  <a:lnTo>
                    <a:pt x="1377" y="3354"/>
                  </a:lnTo>
                  <a:lnTo>
                    <a:pt x="1368" y="3357"/>
                  </a:lnTo>
                  <a:lnTo>
                    <a:pt x="1358" y="3360"/>
                  </a:lnTo>
                  <a:lnTo>
                    <a:pt x="1349" y="3335"/>
                  </a:lnTo>
                  <a:lnTo>
                    <a:pt x="1339" y="3307"/>
                  </a:lnTo>
                  <a:lnTo>
                    <a:pt x="1327" y="3288"/>
                  </a:lnTo>
                  <a:lnTo>
                    <a:pt x="1311" y="3282"/>
                  </a:lnTo>
                  <a:lnTo>
                    <a:pt x="1290" y="3276"/>
                  </a:lnTo>
                  <a:lnTo>
                    <a:pt x="1265" y="3273"/>
                  </a:lnTo>
                  <a:lnTo>
                    <a:pt x="1243" y="3266"/>
                  </a:lnTo>
                  <a:lnTo>
                    <a:pt x="1227" y="3257"/>
                  </a:lnTo>
                  <a:lnTo>
                    <a:pt x="1224" y="3238"/>
                  </a:lnTo>
                  <a:lnTo>
                    <a:pt x="1224" y="3213"/>
                  </a:lnTo>
                  <a:lnTo>
                    <a:pt x="1227" y="3195"/>
                  </a:lnTo>
                  <a:lnTo>
                    <a:pt x="1233" y="3188"/>
                  </a:lnTo>
                  <a:lnTo>
                    <a:pt x="1240" y="3179"/>
                  </a:lnTo>
                  <a:lnTo>
                    <a:pt x="1249" y="3173"/>
                  </a:lnTo>
                  <a:lnTo>
                    <a:pt x="1258" y="3163"/>
                  </a:lnTo>
                  <a:lnTo>
                    <a:pt x="1265" y="3157"/>
                  </a:lnTo>
                  <a:lnTo>
                    <a:pt x="1268" y="3148"/>
                  </a:lnTo>
                  <a:lnTo>
                    <a:pt x="1271" y="3129"/>
                  </a:lnTo>
                  <a:lnTo>
                    <a:pt x="1268" y="3104"/>
                  </a:lnTo>
                  <a:lnTo>
                    <a:pt x="1261" y="3085"/>
                  </a:lnTo>
                  <a:lnTo>
                    <a:pt x="1255" y="3079"/>
                  </a:lnTo>
                  <a:lnTo>
                    <a:pt x="1246" y="3076"/>
                  </a:lnTo>
                  <a:lnTo>
                    <a:pt x="1236" y="3076"/>
                  </a:lnTo>
                  <a:lnTo>
                    <a:pt x="1227" y="3076"/>
                  </a:lnTo>
                  <a:lnTo>
                    <a:pt x="1208" y="3079"/>
                  </a:lnTo>
                  <a:lnTo>
                    <a:pt x="1183" y="3088"/>
                  </a:lnTo>
                  <a:lnTo>
                    <a:pt x="1158" y="3098"/>
                  </a:lnTo>
                  <a:lnTo>
                    <a:pt x="1140" y="3104"/>
                  </a:lnTo>
                  <a:lnTo>
                    <a:pt x="1121" y="3101"/>
                  </a:lnTo>
                  <a:lnTo>
                    <a:pt x="1099" y="3098"/>
                  </a:lnTo>
                  <a:lnTo>
                    <a:pt x="1083" y="3088"/>
                  </a:lnTo>
                  <a:lnTo>
                    <a:pt x="1071" y="3073"/>
                  </a:lnTo>
                  <a:lnTo>
                    <a:pt x="1062" y="3051"/>
                  </a:lnTo>
                  <a:lnTo>
                    <a:pt x="1052" y="3026"/>
                  </a:lnTo>
                  <a:lnTo>
                    <a:pt x="1043" y="3007"/>
                  </a:lnTo>
                  <a:lnTo>
                    <a:pt x="1037" y="3001"/>
                  </a:lnTo>
                  <a:lnTo>
                    <a:pt x="1030" y="2995"/>
                  </a:lnTo>
                  <a:lnTo>
                    <a:pt x="1021" y="2985"/>
                  </a:lnTo>
                  <a:lnTo>
                    <a:pt x="1012" y="2979"/>
                  </a:lnTo>
                  <a:lnTo>
                    <a:pt x="1005" y="2970"/>
                  </a:lnTo>
                  <a:lnTo>
                    <a:pt x="999" y="2964"/>
                  </a:lnTo>
                  <a:lnTo>
                    <a:pt x="1002" y="2939"/>
                  </a:lnTo>
                  <a:lnTo>
                    <a:pt x="1015" y="2914"/>
                  </a:lnTo>
                  <a:lnTo>
                    <a:pt x="1024" y="2889"/>
                  </a:lnTo>
                  <a:lnTo>
                    <a:pt x="1033" y="2864"/>
                  </a:lnTo>
                  <a:lnTo>
                    <a:pt x="1037" y="2845"/>
                  </a:lnTo>
                  <a:lnTo>
                    <a:pt x="1043" y="2823"/>
                  </a:lnTo>
                  <a:lnTo>
                    <a:pt x="1043" y="2798"/>
                  </a:lnTo>
                  <a:lnTo>
                    <a:pt x="1043" y="2779"/>
                  </a:lnTo>
                  <a:lnTo>
                    <a:pt x="1030" y="2761"/>
                  </a:lnTo>
                  <a:lnTo>
                    <a:pt x="1012" y="2739"/>
                  </a:lnTo>
                  <a:lnTo>
                    <a:pt x="999" y="2720"/>
                  </a:lnTo>
                  <a:lnTo>
                    <a:pt x="999" y="2698"/>
                  </a:lnTo>
                  <a:lnTo>
                    <a:pt x="999" y="2670"/>
                  </a:lnTo>
                  <a:lnTo>
                    <a:pt x="1005" y="2642"/>
                  </a:lnTo>
                  <a:lnTo>
                    <a:pt x="1015" y="2626"/>
                  </a:lnTo>
                  <a:lnTo>
                    <a:pt x="1030" y="2620"/>
                  </a:lnTo>
                  <a:lnTo>
                    <a:pt x="1049" y="2623"/>
                  </a:lnTo>
                  <a:lnTo>
                    <a:pt x="1071" y="2626"/>
                  </a:lnTo>
                  <a:lnTo>
                    <a:pt x="1087" y="2626"/>
                  </a:lnTo>
                  <a:lnTo>
                    <a:pt x="1108" y="2611"/>
                  </a:lnTo>
                  <a:lnTo>
                    <a:pt x="1133" y="2589"/>
                  </a:lnTo>
                  <a:lnTo>
                    <a:pt x="1146" y="2570"/>
                  </a:lnTo>
                  <a:lnTo>
                    <a:pt x="1149" y="2551"/>
                  </a:lnTo>
                  <a:lnTo>
                    <a:pt x="1152" y="2529"/>
                  </a:lnTo>
                  <a:lnTo>
                    <a:pt x="1149" y="2508"/>
                  </a:lnTo>
                  <a:lnTo>
                    <a:pt x="1140" y="2495"/>
                  </a:lnTo>
                  <a:lnTo>
                    <a:pt x="1127" y="2492"/>
                  </a:lnTo>
                  <a:lnTo>
                    <a:pt x="1108" y="2501"/>
                  </a:lnTo>
                  <a:lnTo>
                    <a:pt x="1087" y="2514"/>
                  </a:lnTo>
                  <a:lnTo>
                    <a:pt x="1068" y="2523"/>
                  </a:lnTo>
                  <a:lnTo>
                    <a:pt x="1052" y="2523"/>
                  </a:lnTo>
                  <a:lnTo>
                    <a:pt x="1043" y="2511"/>
                  </a:lnTo>
                  <a:lnTo>
                    <a:pt x="1033" y="2492"/>
                  </a:lnTo>
                  <a:lnTo>
                    <a:pt x="1030" y="2473"/>
                  </a:lnTo>
                  <a:lnTo>
                    <a:pt x="1030" y="2458"/>
                  </a:lnTo>
                  <a:lnTo>
                    <a:pt x="1040" y="2445"/>
                  </a:lnTo>
                  <a:lnTo>
                    <a:pt x="1058" y="2433"/>
                  </a:lnTo>
                  <a:lnTo>
                    <a:pt x="1080" y="2420"/>
                  </a:lnTo>
                  <a:lnTo>
                    <a:pt x="1096" y="2411"/>
                  </a:lnTo>
                  <a:lnTo>
                    <a:pt x="1102" y="2398"/>
                  </a:lnTo>
                  <a:lnTo>
                    <a:pt x="1102" y="2392"/>
                  </a:lnTo>
                  <a:lnTo>
                    <a:pt x="1096" y="2386"/>
                  </a:lnTo>
                  <a:lnTo>
                    <a:pt x="1090" y="2380"/>
                  </a:lnTo>
                  <a:lnTo>
                    <a:pt x="1083" y="2373"/>
                  </a:lnTo>
                  <a:lnTo>
                    <a:pt x="1077" y="2370"/>
                  </a:lnTo>
                  <a:lnTo>
                    <a:pt x="1071" y="2364"/>
                  </a:lnTo>
                  <a:lnTo>
                    <a:pt x="1055" y="2345"/>
                  </a:lnTo>
                  <a:lnTo>
                    <a:pt x="1037" y="2323"/>
                  </a:lnTo>
                  <a:lnTo>
                    <a:pt x="1015" y="2311"/>
                  </a:lnTo>
                  <a:lnTo>
                    <a:pt x="993" y="2308"/>
                  </a:lnTo>
                  <a:lnTo>
                    <a:pt x="965" y="2311"/>
                  </a:lnTo>
                  <a:lnTo>
                    <a:pt x="940" y="2314"/>
                  </a:lnTo>
                  <a:lnTo>
                    <a:pt x="915" y="2311"/>
                  </a:lnTo>
                  <a:lnTo>
                    <a:pt x="896" y="2302"/>
                  </a:lnTo>
                  <a:lnTo>
                    <a:pt x="874" y="2289"/>
                  </a:lnTo>
                  <a:lnTo>
                    <a:pt x="852" y="2273"/>
                  </a:lnTo>
                  <a:lnTo>
                    <a:pt x="843" y="2258"/>
                  </a:lnTo>
                  <a:lnTo>
                    <a:pt x="846" y="2242"/>
                  </a:lnTo>
                  <a:lnTo>
                    <a:pt x="862" y="2223"/>
                  </a:lnTo>
                  <a:lnTo>
                    <a:pt x="877" y="2205"/>
                  </a:lnTo>
                  <a:lnTo>
                    <a:pt x="884" y="2189"/>
                  </a:lnTo>
                  <a:lnTo>
                    <a:pt x="874" y="2177"/>
                  </a:lnTo>
                  <a:lnTo>
                    <a:pt x="859" y="2161"/>
                  </a:lnTo>
                  <a:lnTo>
                    <a:pt x="840" y="2149"/>
                  </a:lnTo>
                  <a:lnTo>
                    <a:pt x="824" y="2139"/>
                  </a:lnTo>
                  <a:lnTo>
                    <a:pt x="805" y="2139"/>
                  </a:lnTo>
                  <a:lnTo>
                    <a:pt x="784" y="2139"/>
                  </a:lnTo>
                  <a:lnTo>
                    <a:pt x="765" y="2139"/>
                  </a:lnTo>
                  <a:lnTo>
                    <a:pt x="746" y="2130"/>
                  </a:lnTo>
                  <a:lnTo>
                    <a:pt x="721" y="2117"/>
                  </a:lnTo>
                  <a:lnTo>
                    <a:pt x="706" y="2102"/>
                  </a:lnTo>
                  <a:lnTo>
                    <a:pt x="702" y="2083"/>
                  </a:lnTo>
                  <a:lnTo>
                    <a:pt x="706" y="2058"/>
                  </a:lnTo>
                  <a:lnTo>
                    <a:pt x="709" y="2030"/>
                  </a:lnTo>
                  <a:lnTo>
                    <a:pt x="712" y="2005"/>
                  </a:lnTo>
                  <a:lnTo>
                    <a:pt x="706" y="1986"/>
                  </a:lnTo>
                  <a:lnTo>
                    <a:pt x="690" y="1974"/>
                  </a:lnTo>
                  <a:lnTo>
                    <a:pt x="662" y="1964"/>
                  </a:lnTo>
                  <a:lnTo>
                    <a:pt x="640" y="1958"/>
                  </a:lnTo>
                  <a:lnTo>
                    <a:pt x="621" y="1958"/>
                  </a:lnTo>
                  <a:lnTo>
                    <a:pt x="599" y="1964"/>
                  </a:lnTo>
                  <a:lnTo>
                    <a:pt x="578" y="1967"/>
                  </a:lnTo>
                  <a:lnTo>
                    <a:pt x="559" y="1971"/>
                  </a:lnTo>
                  <a:lnTo>
                    <a:pt x="537" y="1967"/>
                  </a:lnTo>
                  <a:lnTo>
                    <a:pt x="512" y="1958"/>
                  </a:lnTo>
                  <a:lnTo>
                    <a:pt x="487" y="1952"/>
                  </a:lnTo>
                  <a:lnTo>
                    <a:pt x="465" y="1946"/>
                  </a:lnTo>
                  <a:lnTo>
                    <a:pt x="443" y="1942"/>
                  </a:lnTo>
                  <a:lnTo>
                    <a:pt x="418" y="1939"/>
                  </a:lnTo>
                  <a:lnTo>
                    <a:pt x="393" y="1939"/>
                  </a:lnTo>
                  <a:lnTo>
                    <a:pt x="375" y="1946"/>
                  </a:lnTo>
                  <a:lnTo>
                    <a:pt x="365" y="1958"/>
                  </a:lnTo>
                  <a:lnTo>
                    <a:pt x="362" y="1977"/>
                  </a:lnTo>
                  <a:lnTo>
                    <a:pt x="359" y="1999"/>
                  </a:lnTo>
                  <a:lnTo>
                    <a:pt x="356" y="2017"/>
                  </a:lnTo>
                  <a:lnTo>
                    <a:pt x="346" y="2030"/>
                  </a:lnTo>
                  <a:lnTo>
                    <a:pt x="325" y="2039"/>
                  </a:lnTo>
                  <a:lnTo>
                    <a:pt x="293" y="2045"/>
                  </a:lnTo>
                  <a:lnTo>
                    <a:pt x="259" y="2045"/>
                  </a:lnTo>
                  <a:lnTo>
                    <a:pt x="231" y="2039"/>
                  </a:lnTo>
                  <a:lnTo>
                    <a:pt x="209" y="2030"/>
                  </a:lnTo>
                  <a:lnTo>
                    <a:pt x="203" y="2014"/>
                  </a:lnTo>
                  <a:lnTo>
                    <a:pt x="203" y="1989"/>
                  </a:lnTo>
                  <a:lnTo>
                    <a:pt x="206" y="1964"/>
                  </a:lnTo>
                  <a:lnTo>
                    <a:pt x="209" y="1946"/>
                  </a:lnTo>
                  <a:lnTo>
                    <a:pt x="215" y="1924"/>
                  </a:lnTo>
                  <a:lnTo>
                    <a:pt x="228" y="1902"/>
                  </a:lnTo>
                  <a:lnTo>
                    <a:pt x="240" y="1877"/>
                  </a:lnTo>
                  <a:lnTo>
                    <a:pt x="243" y="1855"/>
                  </a:lnTo>
                  <a:lnTo>
                    <a:pt x="240" y="1836"/>
                  </a:lnTo>
                  <a:lnTo>
                    <a:pt x="231" y="1814"/>
                  </a:lnTo>
                  <a:lnTo>
                    <a:pt x="222" y="1793"/>
                  </a:lnTo>
                  <a:lnTo>
                    <a:pt x="209" y="1780"/>
                  </a:lnTo>
                  <a:lnTo>
                    <a:pt x="184" y="1768"/>
                  </a:lnTo>
                  <a:lnTo>
                    <a:pt x="153" y="1758"/>
                  </a:lnTo>
                  <a:lnTo>
                    <a:pt x="128" y="1752"/>
                  </a:lnTo>
                  <a:lnTo>
                    <a:pt x="100" y="1752"/>
                  </a:lnTo>
                  <a:lnTo>
                    <a:pt x="69" y="1749"/>
                  </a:lnTo>
                  <a:lnTo>
                    <a:pt x="37" y="1746"/>
                  </a:lnTo>
                  <a:lnTo>
                    <a:pt x="12" y="1739"/>
                  </a:lnTo>
                  <a:lnTo>
                    <a:pt x="0" y="1733"/>
                  </a:lnTo>
                  <a:lnTo>
                    <a:pt x="9" y="1727"/>
                  </a:lnTo>
                  <a:lnTo>
                    <a:pt x="19" y="1718"/>
                  </a:lnTo>
                  <a:lnTo>
                    <a:pt x="25" y="1708"/>
                  </a:lnTo>
                  <a:lnTo>
                    <a:pt x="31" y="1699"/>
                  </a:lnTo>
                  <a:lnTo>
                    <a:pt x="34" y="1683"/>
                  </a:lnTo>
                  <a:lnTo>
                    <a:pt x="34" y="1661"/>
                  </a:lnTo>
                  <a:lnTo>
                    <a:pt x="37" y="1646"/>
                  </a:lnTo>
                  <a:lnTo>
                    <a:pt x="53" y="1621"/>
                  </a:lnTo>
                  <a:lnTo>
                    <a:pt x="75" y="1596"/>
                  </a:lnTo>
                  <a:lnTo>
                    <a:pt x="94" y="1574"/>
                  </a:lnTo>
                  <a:lnTo>
                    <a:pt x="106" y="1555"/>
                  </a:lnTo>
                  <a:lnTo>
                    <a:pt x="122" y="1537"/>
                  </a:lnTo>
                  <a:lnTo>
                    <a:pt x="137" y="1521"/>
                  </a:lnTo>
                  <a:lnTo>
                    <a:pt x="143" y="1521"/>
                  </a:lnTo>
                  <a:lnTo>
                    <a:pt x="153" y="1521"/>
                  </a:lnTo>
                  <a:lnTo>
                    <a:pt x="162" y="1521"/>
                  </a:lnTo>
                  <a:lnTo>
                    <a:pt x="172" y="1521"/>
                  </a:lnTo>
                  <a:lnTo>
                    <a:pt x="190" y="1524"/>
                  </a:lnTo>
                  <a:lnTo>
                    <a:pt x="215" y="1530"/>
                  </a:lnTo>
                  <a:lnTo>
                    <a:pt x="237" y="1533"/>
                  </a:lnTo>
                  <a:lnTo>
                    <a:pt x="256" y="1530"/>
                  </a:lnTo>
                  <a:lnTo>
                    <a:pt x="278" y="1518"/>
                  </a:lnTo>
                  <a:lnTo>
                    <a:pt x="296" y="1499"/>
                  </a:lnTo>
                  <a:lnTo>
                    <a:pt x="309" y="1477"/>
                  </a:lnTo>
                  <a:lnTo>
                    <a:pt x="309" y="1455"/>
                  </a:lnTo>
                  <a:lnTo>
                    <a:pt x="303" y="1427"/>
                  </a:lnTo>
                  <a:lnTo>
                    <a:pt x="293" y="1399"/>
                  </a:lnTo>
                  <a:lnTo>
                    <a:pt x="287" y="1371"/>
                  </a:lnTo>
                  <a:lnTo>
                    <a:pt x="284" y="1349"/>
                  </a:lnTo>
                  <a:lnTo>
                    <a:pt x="284" y="1324"/>
                  </a:lnTo>
                  <a:lnTo>
                    <a:pt x="284" y="1296"/>
                  </a:lnTo>
                  <a:lnTo>
                    <a:pt x="287" y="1265"/>
                  </a:lnTo>
                  <a:lnTo>
                    <a:pt x="293" y="1237"/>
                  </a:lnTo>
                  <a:lnTo>
                    <a:pt x="309" y="1218"/>
                  </a:lnTo>
                  <a:lnTo>
                    <a:pt x="321" y="1218"/>
                  </a:lnTo>
                  <a:lnTo>
                    <a:pt x="337" y="1224"/>
                  </a:lnTo>
                  <a:lnTo>
                    <a:pt x="356" y="1234"/>
                  </a:lnTo>
                  <a:lnTo>
                    <a:pt x="368" y="1234"/>
                  </a:lnTo>
                  <a:lnTo>
                    <a:pt x="387" y="1227"/>
                  </a:lnTo>
                  <a:lnTo>
                    <a:pt x="409" y="1218"/>
                  </a:lnTo>
                  <a:lnTo>
                    <a:pt x="428" y="1202"/>
                  </a:lnTo>
                  <a:lnTo>
                    <a:pt x="443" y="1190"/>
                  </a:lnTo>
                  <a:lnTo>
                    <a:pt x="456" y="1171"/>
                  </a:lnTo>
                  <a:lnTo>
                    <a:pt x="471" y="1146"/>
                  </a:lnTo>
                  <a:lnTo>
                    <a:pt x="481" y="1124"/>
                  </a:lnTo>
                  <a:lnTo>
                    <a:pt x="487" y="1102"/>
                  </a:lnTo>
                  <a:lnTo>
                    <a:pt x="484" y="1074"/>
                  </a:lnTo>
                  <a:lnTo>
                    <a:pt x="478" y="1043"/>
                  </a:lnTo>
                  <a:lnTo>
                    <a:pt x="462" y="1015"/>
                  </a:lnTo>
                  <a:lnTo>
                    <a:pt x="446" y="996"/>
                  </a:lnTo>
                  <a:lnTo>
                    <a:pt x="431" y="996"/>
                  </a:lnTo>
                  <a:lnTo>
                    <a:pt x="415" y="1003"/>
                  </a:lnTo>
                  <a:lnTo>
                    <a:pt x="396" y="1009"/>
                  </a:lnTo>
                  <a:lnTo>
                    <a:pt x="381" y="1009"/>
                  </a:lnTo>
                  <a:lnTo>
                    <a:pt x="362" y="996"/>
                  </a:lnTo>
                  <a:lnTo>
                    <a:pt x="343" y="974"/>
                  </a:lnTo>
                  <a:lnTo>
                    <a:pt x="331" y="953"/>
                  </a:lnTo>
                  <a:lnTo>
                    <a:pt x="325" y="931"/>
                  </a:lnTo>
                  <a:lnTo>
                    <a:pt x="325" y="903"/>
                  </a:lnTo>
                  <a:lnTo>
                    <a:pt x="321" y="875"/>
                  </a:lnTo>
                  <a:lnTo>
                    <a:pt x="321" y="853"/>
                  </a:lnTo>
                  <a:lnTo>
                    <a:pt x="315" y="828"/>
                  </a:lnTo>
                  <a:lnTo>
                    <a:pt x="306" y="800"/>
                  </a:lnTo>
                  <a:lnTo>
                    <a:pt x="300" y="775"/>
                  </a:lnTo>
                  <a:lnTo>
                    <a:pt x="306" y="753"/>
                  </a:lnTo>
                  <a:lnTo>
                    <a:pt x="318" y="731"/>
                  </a:lnTo>
                  <a:lnTo>
                    <a:pt x="331" y="706"/>
                  </a:lnTo>
                  <a:lnTo>
                    <a:pt x="343" y="681"/>
                  </a:lnTo>
                  <a:lnTo>
                    <a:pt x="346" y="659"/>
                  </a:lnTo>
                  <a:lnTo>
                    <a:pt x="340" y="643"/>
                  </a:lnTo>
                  <a:lnTo>
                    <a:pt x="331" y="622"/>
                  </a:lnTo>
                  <a:lnTo>
                    <a:pt x="318" y="600"/>
                  </a:lnTo>
                  <a:lnTo>
                    <a:pt x="312" y="584"/>
                  </a:lnTo>
                  <a:lnTo>
                    <a:pt x="309" y="559"/>
                  </a:lnTo>
                  <a:lnTo>
                    <a:pt x="306" y="528"/>
                  </a:lnTo>
                  <a:lnTo>
                    <a:pt x="312" y="500"/>
                  </a:lnTo>
                  <a:lnTo>
                    <a:pt x="321" y="481"/>
                  </a:lnTo>
                  <a:lnTo>
                    <a:pt x="331" y="478"/>
                  </a:lnTo>
                  <a:lnTo>
                    <a:pt x="350" y="481"/>
                  </a:lnTo>
                  <a:lnTo>
                    <a:pt x="365" y="481"/>
                  </a:lnTo>
                  <a:lnTo>
                    <a:pt x="378" y="481"/>
                  </a:lnTo>
                  <a:lnTo>
                    <a:pt x="390" y="469"/>
                  </a:lnTo>
                  <a:lnTo>
                    <a:pt x="406" y="447"/>
                  </a:lnTo>
                  <a:lnTo>
                    <a:pt x="418" y="425"/>
                  </a:lnTo>
                  <a:lnTo>
                    <a:pt x="434" y="412"/>
                  </a:lnTo>
                  <a:lnTo>
                    <a:pt x="453" y="409"/>
                  </a:lnTo>
                  <a:lnTo>
                    <a:pt x="478" y="409"/>
                  </a:lnTo>
                  <a:lnTo>
                    <a:pt x="499" y="412"/>
                  </a:lnTo>
                  <a:lnTo>
                    <a:pt x="521" y="412"/>
                  </a:lnTo>
                  <a:lnTo>
                    <a:pt x="546" y="400"/>
                  </a:lnTo>
                  <a:lnTo>
                    <a:pt x="574" y="381"/>
                  </a:lnTo>
                  <a:lnTo>
                    <a:pt x="603" y="362"/>
                  </a:lnTo>
                  <a:lnTo>
                    <a:pt x="624" y="347"/>
                  </a:lnTo>
                  <a:lnTo>
                    <a:pt x="643" y="331"/>
                  </a:lnTo>
                  <a:lnTo>
                    <a:pt x="665" y="316"/>
                  </a:lnTo>
                  <a:lnTo>
                    <a:pt x="677" y="297"/>
                  </a:lnTo>
                  <a:lnTo>
                    <a:pt x="681" y="284"/>
                  </a:lnTo>
                  <a:lnTo>
                    <a:pt x="677" y="269"/>
                  </a:lnTo>
                  <a:lnTo>
                    <a:pt x="677" y="253"/>
                  </a:lnTo>
                  <a:lnTo>
                    <a:pt x="677" y="241"/>
                  </a:lnTo>
                  <a:lnTo>
                    <a:pt x="696" y="228"/>
                  </a:lnTo>
                  <a:lnTo>
                    <a:pt x="718" y="219"/>
                  </a:lnTo>
                  <a:lnTo>
                    <a:pt x="746" y="209"/>
                  </a:lnTo>
                  <a:lnTo>
                    <a:pt x="774" y="206"/>
                  </a:lnTo>
                  <a:lnTo>
                    <a:pt x="796" y="203"/>
                  </a:lnTo>
                  <a:lnTo>
                    <a:pt x="812" y="203"/>
                  </a:lnTo>
                  <a:lnTo>
                    <a:pt x="830" y="203"/>
                  </a:lnTo>
                  <a:lnTo>
                    <a:pt x="849" y="206"/>
                  </a:lnTo>
                  <a:lnTo>
                    <a:pt x="865" y="203"/>
                  </a:lnTo>
                  <a:lnTo>
                    <a:pt x="871" y="197"/>
                  </a:lnTo>
                  <a:lnTo>
                    <a:pt x="880" y="188"/>
                  </a:lnTo>
                  <a:lnTo>
                    <a:pt x="887" y="178"/>
                  </a:lnTo>
                  <a:lnTo>
                    <a:pt x="893" y="169"/>
                  </a:lnTo>
                  <a:lnTo>
                    <a:pt x="899" y="159"/>
                  </a:lnTo>
                  <a:lnTo>
                    <a:pt x="905" y="153"/>
                  </a:lnTo>
                  <a:lnTo>
                    <a:pt x="915" y="150"/>
                  </a:lnTo>
                  <a:lnTo>
                    <a:pt x="927" y="147"/>
                  </a:lnTo>
                  <a:lnTo>
                    <a:pt x="940" y="144"/>
                  </a:lnTo>
                  <a:lnTo>
                    <a:pt x="955" y="144"/>
                  </a:lnTo>
                  <a:lnTo>
                    <a:pt x="965" y="150"/>
                  </a:lnTo>
                  <a:lnTo>
                    <a:pt x="977" y="159"/>
                  </a:lnTo>
                  <a:lnTo>
                    <a:pt x="987" y="166"/>
                  </a:lnTo>
                  <a:lnTo>
                    <a:pt x="993" y="172"/>
                  </a:lnTo>
                  <a:lnTo>
                    <a:pt x="1002" y="181"/>
                  </a:lnTo>
                  <a:lnTo>
                    <a:pt x="1012" y="191"/>
                  </a:lnTo>
                  <a:lnTo>
                    <a:pt x="1024" y="200"/>
                  </a:lnTo>
                  <a:lnTo>
                    <a:pt x="1033" y="203"/>
                  </a:lnTo>
                  <a:lnTo>
                    <a:pt x="1055" y="209"/>
                  </a:lnTo>
                  <a:lnTo>
                    <a:pt x="1080" y="209"/>
                  </a:lnTo>
                  <a:lnTo>
                    <a:pt x="1108" y="206"/>
                  </a:lnTo>
                  <a:lnTo>
                    <a:pt x="1127" y="200"/>
                  </a:lnTo>
                  <a:lnTo>
                    <a:pt x="1133" y="194"/>
                  </a:lnTo>
                  <a:lnTo>
                    <a:pt x="1136" y="184"/>
                  </a:lnTo>
                  <a:lnTo>
                    <a:pt x="1140" y="175"/>
                  </a:lnTo>
                  <a:lnTo>
                    <a:pt x="1143" y="166"/>
                  </a:lnTo>
                  <a:lnTo>
                    <a:pt x="1146" y="156"/>
                  </a:lnTo>
                  <a:lnTo>
                    <a:pt x="1152" y="150"/>
                  </a:lnTo>
                  <a:lnTo>
                    <a:pt x="1158" y="144"/>
                  </a:lnTo>
                  <a:lnTo>
                    <a:pt x="1168" y="138"/>
                  </a:lnTo>
                  <a:lnTo>
                    <a:pt x="1177" y="131"/>
                  </a:lnTo>
                  <a:lnTo>
                    <a:pt x="1186" y="128"/>
                  </a:lnTo>
                  <a:lnTo>
                    <a:pt x="1193" y="125"/>
                  </a:lnTo>
                  <a:lnTo>
                    <a:pt x="1211" y="128"/>
                  </a:lnTo>
                  <a:lnTo>
                    <a:pt x="1233" y="141"/>
                  </a:lnTo>
                  <a:lnTo>
                    <a:pt x="1252" y="153"/>
                  </a:lnTo>
                  <a:lnTo>
                    <a:pt x="1268" y="166"/>
                  </a:lnTo>
                  <a:lnTo>
                    <a:pt x="1274" y="181"/>
                  </a:lnTo>
                  <a:lnTo>
                    <a:pt x="1277" y="206"/>
                  </a:lnTo>
                  <a:lnTo>
                    <a:pt x="1283" y="228"/>
                  </a:lnTo>
                  <a:lnTo>
                    <a:pt x="1293" y="241"/>
                  </a:lnTo>
                  <a:lnTo>
                    <a:pt x="1308" y="244"/>
                  </a:lnTo>
                  <a:lnTo>
                    <a:pt x="1327" y="238"/>
                  </a:lnTo>
                  <a:lnTo>
                    <a:pt x="1343" y="228"/>
                  </a:lnTo>
                  <a:lnTo>
                    <a:pt x="1358" y="219"/>
                  </a:lnTo>
                  <a:lnTo>
                    <a:pt x="1380" y="209"/>
                  </a:lnTo>
                  <a:lnTo>
                    <a:pt x="1405" y="200"/>
                  </a:lnTo>
                  <a:lnTo>
                    <a:pt x="1430" y="188"/>
                  </a:lnTo>
                  <a:lnTo>
                    <a:pt x="1446" y="172"/>
                  </a:lnTo>
                  <a:lnTo>
                    <a:pt x="1449" y="166"/>
                  </a:lnTo>
                  <a:lnTo>
                    <a:pt x="1449" y="159"/>
                  </a:lnTo>
                  <a:lnTo>
                    <a:pt x="1446" y="150"/>
                  </a:lnTo>
                  <a:lnTo>
                    <a:pt x="1446" y="141"/>
                  </a:lnTo>
                  <a:lnTo>
                    <a:pt x="1446" y="131"/>
                  </a:lnTo>
                  <a:lnTo>
                    <a:pt x="1446" y="125"/>
                  </a:lnTo>
                  <a:lnTo>
                    <a:pt x="1461" y="106"/>
                  </a:lnTo>
                  <a:lnTo>
                    <a:pt x="1483" y="88"/>
                  </a:lnTo>
                  <a:lnTo>
                    <a:pt x="1505" y="72"/>
                  </a:lnTo>
                  <a:lnTo>
                    <a:pt x="1524" y="69"/>
                  </a:lnTo>
                  <a:lnTo>
                    <a:pt x="1549" y="69"/>
                  </a:lnTo>
                  <a:lnTo>
                    <a:pt x="1571" y="72"/>
                  </a:lnTo>
                  <a:lnTo>
                    <a:pt x="1592" y="72"/>
                  </a:lnTo>
                  <a:lnTo>
                    <a:pt x="1611" y="75"/>
                  </a:lnTo>
                  <a:lnTo>
                    <a:pt x="1633" y="81"/>
                  </a:lnTo>
                  <a:lnTo>
                    <a:pt x="1649" y="91"/>
                  </a:lnTo>
                  <a:lnTo>
                    <a:pt x="1652" y="103"/>
                  </a:lnTo>
                  <a:lnTo>
                    <a:pt x="1652" y="122"/>
                  </a:lnTo>
                  <a:lnTo>
                    <a:pt x="1645" y="144"/>
                  </a:lnTo>
                  <a:lnTo>
                    <a:pt x="1645" y="159"/>
                  </a:lnTo>
                  <a:lnTo>
                    <a:pt x="1649" y="172"/>
                  </a:lnTo>
                  <a:lnTo>
                    <a:pt x="1667" y="181"/>
                  </a:lnTo>
                  <a:lnTo>
                    <a:pt x="1692" y="184"/>
                  </a:lnTo>
                  <a:lnTo>
                    <a:pt x="1717" y="181"/>
                  </a:lnTo>
                  <a:lnTo>
                    <a:pt x="1733" y="172"/>
                  </a:lnTo>
                  <a:lnTo>
                    <a:pt x="1736" y="169"/>
                  </a:lnTo>
                  <a:lnTo>
                    <a:pt x="1736" y="163"/>
                  </a:lnTo>
                  <a:lnTo>
                    <a:pt x="1736" y="153"/>
                  </a:lnTo>
                  <a:lnTo>
                    <a:pt x="1733" y="147"/>
                  </a:lnTo>
                  <a:lnTo>
                    <a:pt x="1733" y="138"/>
                  </a:lnTo>
                  <a:lnTo>
                    <a:pt x="1733" y="131"/>
                  </a:lnTo>
                  <a:lnTo>
                    <a:pt x="1733" y="125"/>
                  </a:lnTo>
                  <a:lnTo>
                    <a:pt x="1749" y="113"/>
                  </a:lnTo>
                  <a:lnTo>
                    <a:pt x="1774" y="103"/>
                  </a:lnTo>
                  <a:lnTo>
                    <a:pt x="1799" y="97"/>
                  </a:lnTo>
                  <a:lnTo>
                    <a:pt x="1820" y="97"/>
                  </a:lnTo>
                  <a:lnTo>
                    <a:pt x="1833" y="106"/>
                  </a:lnTo>
                  <a:lnTo>
                    <a:pt x="1842" y="128"/>
                  </a:lnTo>
                  <a:lnTo>
                    <a:pt x="1855" y="147"/>
                  </a:lnTo>
                  <a:lnTo>
                    <a:pt x="1867" y="153"/>
                  </a:lnTo>
                  <a:lnTo>
                    <a:pt x="1873" y="150"/>
                  </a:lnTo>
                  <a:lnTo>
                    <a:pt x="1880" y="144"/>
                  </a:lnTo>
                  <a:lnTo>
                    <a:pt x="1883" y="134"/>
                  </a:lnTo>
                  <a:lnTo>
                    <a:pt x="1886" y="125"/>
                  </a:lnTo>
                  <a:lnTo>
                    <a:pt x="1889" y="116"/>
                  </a:lnTo>
                  <a:lnTo>
                    <a:pt x="1892" y="106"/>
                  </a:lnTo>
                  <a:lnTo>
                    <a:pt x="1889" y="91"/>
                  </a:lnTo>
                  <a:lnTo>
                    <a:pt x="1880" y="69"/>
                  </a:lnTo>
                  <a:lnTo>
                    <a:pt x="1870" y="44"/>
                  </a:lnTo>
                  <a:lnTo>
                    <a:pt x="1864" y="25"/>
                  </a:lnTo>
                  <a:lnTo>
                    <a:pt x="1867" y="10"/>
                  </a:lnTo>
                  <a:lnTo>
                    <a:pt x="1880" y="3"/>
                  </a:lnTo>
                  <a:lnTo>
                    <a:pt x="1898" y="0"/>
                  </a:lnTo>
                  <a:lnTo>
                    <a:pt x="1917" y="3"/>
                  </a:lnTo>
                  <a:lnTo>
                    <a:pt x="1933" y="10"/>
                  </a:lnTo>
                  <a:lnTo>
                    <a:pt x="1948" y="22"/>
                  </a:lnTo>
                  <a:lnTo>
                    <a:pt x="1964" y="41"/>
                  </a:lnTo>
                  <a:lnTo>
                    <a:pt x="1983" y="63"/>
                  </a:lnTo>
                  <a:lnTo>
                    <a:pt x="1998" y="72"/>
                  </a:lnTo>
                  <a:lnTo>
                    <a:pt x="2017" y="69"/>
                  </a:lnTo>
                  <a:lnTo>
                    <a:pt x="2039" y="56"/>
                  </a:lnTo>
                  <a:lnTo>
                    <a:pt x="2061" y="44"/>
                  </a:lnTo>
                  <a:lnTo>
                    <a:pt x="2080" y="35"/>
                  </a:lnTo>
                  <a:lnTo>
                    <a:pt x="2108" y="31"/>
                  </a:lnTo>
                  <a:lnTo>
                    <a:pt x="2142" y="31"/>
                  </a:lnTo>
                  <a:lnTo>
                    <a:pt x="2170" y="35"/>
                  </a:lnTo>
                  <a:lnTo>
                    <a:pt x="2192" y="41"/>
                  </a:lnTo>
                  <a:lnTo>
                    <a:pt x="2220" y="53"/>
                  </a:lnTo>
                  <a:lnTo>
                    <a:pt x="2245" y="66"/>
                  </a:lnTo>
                  <a:lnTo>
                    <a:pt x="2267" y="72"/>
                  </a:lnTo>
                  <a:lnTo>
                    <a:pt x="2295" y="72"/>
                  </a:lnTo>
                  <a:lnTo>
                    <a:pt x="2329" y="69"/>
                  </a:lnTo>
                  <a:lnTo>
                    <a:pt x="2364" y="69"/>
                  </a:lnTo>
                  <a:lnTo>
                    <a:pt x="2389" y="72"/>
                  </a:lnTo>
                  <a:lnTo>
                    <a:pt x="2398" y="78"/>
                  </a:lnTo>
                  <a:lnTo>
                    <a:pt x="2404" y="85"/>
                  </a:lnTo>
                  <a:lnTo>
                    <a:pt x="2414" y="94"/>
                  </a:lnTo>
                  <a:lnTo>
                    <a:pt x="2420" y="103"/>
                  </a:lnTo>
                  <a:lnTo>
                    <a:pt x="2429" y="106"/>
                  </a:lnTo>
                  <a:lnTo>
                    <a:pt x="2457" y="113"/>
                  </a:lnTo>
                  <a:lnTo>
                    <a:pt x="2498" y="113"/>
                  </a:lnTo>
                  <a:lnTo>
                    <a:pt x="2539" y="106"/>
                  </a:lnTo>
                  <a:lnTo>
                    <a:pt x="2576" y="97"/>
                  </a:lnTo>
                  <a:lnTo>
                    <a:pt x="2604" y="85"/>
                  </a:lnTo>
                  <a:lnTo>
                    <a:pt x="2610" y="81"/>
                  </a:lnTo>
                  <a:lnTo>
                    <a:pt x="2614" y="72"/>
                  </a:lnTo>
                  <a:lnTo>
                    <a:pt x="2620" y="63"/>
                  </a:lnTo>
                  <a:lnTo>
                    <a:pt x="2623" y="53"/>
                  </a:lnTo>
                  <a:lnTo>
                    <a:pt x="2629" y="47"/>
                  </a:lnTo>
                  <a:lnTo>
                    <a:pt x="2632" y="38"/>
                  </a:lnTo>
                  <a:lnTo>
                    <a:pt x="2639" y="35"/>
                  </a:lnTo>
                  <a:lnTo>
                    <a:pt x="2660" y="31"/>
                  </a:lnTo>
                  <a:lnTo>
                    <a:pt x="2688" y="28"/>
                  </a:lnTo>
                  <a:lnTo>
                    <a:pt x="2720" y="31"/>
                  </a:lnTo>
                  <a:lnTo>
                    <a:pt x="2717" y="35"/>
                  </a:lnTo>
                  <a:lnTo>
                    <a:pt x="2710" y="53"/>
                  </a:lnTo>
                  <a:lnTo>
                    <a:pt x="2704" y="75"/>
                  </a:lnTo>
                  <a:lnTo>
                    <a:pt x="2701" y="94"/>
                  </a:lnTo>
                  <a:lnTo>
                    <a:pt x="2710" y="119"/>
                  </a:lnTo>
                  <a:lnTo>
                    <a:pt x="2723" y="144"/>
                  </a:lnTo>
                  <a:lnTo>
                    <a:pt x="2738" y="169"/>
                  </a:lnTo>
                  <a:lnTo>
                    <a:pt x="2748" y="191"/>
                  </a:lnTo>
                  <a:lnTo>
                    <a:pt x="2754" y="209"/>
                  </a:lnTo>
                  <a:lnTo>
                    <a:pt x="2763" y="231"/>
                  </a:lnTo>
                  <a:lnTo>
                    <a:pt x="2773" y="247"/>
                  </a:lnTo>
                  <a:lnTo>
                    <a:pt x="2788" y="253"/>
                  </a:lnTo>
                  <a:lnTo>
                    <a:pt x="2810" y="259"/>
                  </a:lnTo>
                  <a:lnTo>
                    <a:pt x="2832" y="266"/>
                  </a:lnTo>
                  <a:lnTo>
                    <a:pt x="2851" y="272"/>
                  </a:lnTo>
                  <a:lnTo>
                    <a:pt x="2870" y="284"/>
                  </a:lnTo>
                  <a:lnTo>
                    <a:pt x="2888" y="303"/>
                  </a:lnTo>
                  <a:lnTo>
                    <a:pt x="2901" y="319"/>
                  </a:lnTo>
                  <a:lnTo>
                    <a:pt x="2907" y="334"/>
                  </a:lnTo>
                  <a:lnTo>
                    <a:pt x="2913" y="356"/>
                  </a:lnTo>
                  <a:lnTo>
                    <a:pt x="2920" y="375"/>
                  </a:lnTo>
                  <a:lnTo>
                    <a:pt x="2926" y="391"/>
                  </a:lnTo>
                  <a:lnTo>
                    <a:pt x="2932" y="391"/>
                  </a:lnTo>
                  <a:lnTo>
                    <a:pt x="2941" y="391"/>
                  </a:lnTo>
                  <a:lnTo>
                    <a:pt x="2951" y="391"/>
                  </a:lnTo>
                  <a:lnTo>
                    <a:pt x="2960" y="387"/>
                  </a:lnTo>
                  <a:lnTo>
                    <a:pt x="2970" y="387"/>
                  </a:lnTo>
                  <a:lnTo>
                    <a:pt x="2976" y="391"/>
                  </a:lnTo>
                  <a:lnTo>
                    <a:pt x="3001" y="400"/>
                  </a:lnTo>
                  <a:lnTo>
                    <a:pt x="3026" y="419"/>
                  </a:lnTo>
                  <a:lnTo>
                    <a:pt x="3041" y="437"/>
                  </a:lnTo>
                  <a:lnTo>
                    <a:pt x="3044" y="456"/>
                  </a:lnTo>
                  <a:lnTo>
                    <a:pt x="3041" y="481"/>
                  </a:lnTo>
                  <a:lnTo>
                    <a:pt x="3038" y="503"/>
                  </a:lnTo>
                  <a:lnTo>
                    <a:pt x="3041" y="522"/>
                  </a:lnTo>
                  <a:lnTo>
                    <a:pt x="3057" y="537"/>
                  </a:lnTo>
                  <a:lnTo>
                    <a:pt x="3082" y="553"/>
                  </a:lnTo>
                  <a:lnTo>
                    <a:pt x="3107" y="565"/>
                  </a:lnTo>
                  <a:lnTo>
                    <a:pt x="3123" y="581"/>
                  </a:lnTo>
                  <a:lnTo>
                    <a:pt x="3138" y="603"/>
                  </a:lnTo>
                  <a:lnTo>
                    <a:pt x="3151" y="631"/>
                  </a:lnTo>
                  <a:lnTo>
                    <a:pt x="3163" y="662"/>
                  </a:lnTo>
                  <a:lnTo>
                    <a:pt x="3169" y="687"/>
                  </a:lnTo>
                  <a:lnTo>
                    <a:pt x="3172" y="709"/>
                  </a:lnTo>
                  <a:lnTo>
                    <a:pt x="3169" y="734"/>
                  </a:lnTo>
                  <a:lnTo>
                    <a:pt x="3166" y="762"/>
                  </a:lnTo>
                  <a:lnTo>
                    <a:pt x="3166" y="784"/>
                  </a:lnTo>
                  <a:lnTo>
                    <a:pt x="3172" y="812"/>
                  </a:lnTo>
                  <a:lnTo>
                    <a:pt x="3182" y="846"/>
                  </a:lnTo>
                  <a:lnTo>
                    <a:pt x="3191" y="875"/>
                  </a:lnTo>
                  <a:lnTo>
                    <a:pt x="3201" y="899"/>
                  </a:lnTo>
                  <a:lnTo>
                    <a:pt x="3210" y="928"/>
                  </a:lnTo>
                  <a:lnTo>
                    <a:pt x="3219" y="956"/>
                  </a:lnTo>
                  <a:lnTo>
                    <a:pt x="3226" y="981"/>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41" name="Freeform 11">
              <a:extLst>
                <a:ext uri="{FF2B5EF4-FFF2-40B4-BE49-F238E27FC236}">
                  <a16:creationId xmlns:a16="http://schemas.microsoft.com/office/drawing/2014/main" id="{BF36DACF-0E66-4CE1-B36B-E22285ABC70E}"/>
                </a:ext>
              </a:extLst>
            </p:cNvPr>
            <p:cNvSpPr>
              <a:spLocks/>
            </p:cNvSpPr>
            <p:nvPr/>
          </p:nvSpPr>
          <p:spPr bwMode="auto">
            <a:xfrm>
              <a:off x="27262138" y="-12328525"/>
              <a:ext cx="6811963" cy="6597650"/>
            </a:xfrm>
            <a:custGeom>
              <a:avLst/>
              <a:gdLst>
                <a:gd name="T0" fmla="*/ 1361 w 4291"/>
                <a:gd name="T1" fmla="*/ 3632 h 4156"/>
                <a:gd name="T2" fmla="*/ 1299 w 4291"/>
                <a:gd name="T3" fmla="*/ 3451 h 4156"/>
                <a:gd name="T4" fmla="*/ 1243 w 4291"/>
                <a:gd name="T5" fmla="*/ 3216 h 4156"/>
                <a:gd name="T6" fmla="*/ 1037 w 4291"/>
                <a:gd name="T7" fmla="*/ 3017 h 4156"/>
                <a:gd name="T8" fmla="*/ 918 w 4291"/>
                <a:gd name="T9" fmla="*/ 2998 h 4156"/>
                <a:gd name="T10" fmla="*/ 859 w 4291"/>
                <a:gd name="T11" fmla="*/ 2832 h 4156"/>
                <a:gd name="T12" fmla="*/ 640 w 4291"/>
                <a:gd name="T13" fmla="*/ 2570 h 4156"/>
                <a:gd name="T14" fmla="*/ 328 w 4291"/>
                <a:gd name="T15" fmla="*/ 2414 h 4156"/>
                <a:gd name="T16" fmla="*/ 150 w 4291"/>
                <a:gd name="T17" fmla="*/ 2233 h 4156"/>
                <a:gd name="T18" fmla="*/ 19 w 4291"/>
                <a:gd name="T19" fmla="*/ 1974 h 4156"/>
                <a:gd name="T20" fmla="*/ 44 w 4291"/>
                <a:gd name="T21" fmla="*/ 1827 h 4156"/>
                <a:gd name="T22" fmla="*/ 100 w 4291"/>
                <a:gd name="T23" fmla="*/ 1643 h 4156"/>
                <a:gd name="T24" fmla="*/ 144 w 4291"/>
                <a:gd name="T25" fmla="*/ 1368 h 4156"/>
                <a:gd name="T26" fmla="*/ 41 w 4291"/>
                <a:gd name="T27" fmla="*/ 1040 h 4156"/>
                <a:gd name="T28" fmla="*/ 187 w 4291"/>
                <a:gd name="T29" fmla="*/ 790 h 4156"/>
                <a:gd name="T30" fmla="*/ 297 w 4291"/>
                <a:gd name="T31" fmla="*/ 475 h 4156"/>
                <a:gd name="T32" fmla="*/ 231 w 4291"/>
                <a:gd name="T33" fmla="*/ 194 h 4156"/>
                <a:gd name="T34" fmla="*/ 403 w 4291"/>
                <a:gd name="T35" fmla="*/ 84 h 4156"/>
                <a:gd name="T36" fmla="*/ 518 w 4291"/>
                <a:gd name="T37" fmla="*/ 144 h 4156"/>
                <a:gd name="T38" fmla="*/ 681 w 4291"/>
                <a:gd name="T39" fmla="*/ 38 h 4156"/>
                <a:gd name="T40" fmla="*/ 781 w 4291"/>
                <a:gd name="T41" fmla="*/ 175 h 4156"/>
                <a:gd name="T42" fmla="*/ 996 w 4291"/>
                <a:gd name="T43" fmla="*/ 163 h 4156"/>
                <a:gd name="T44" fmla="*/ 1333 w 4291"/>
                <a:gd name="T45" fmla="*/ 106 h 4156"/>
                <a:gd name="T46" fmla="*/ 1558 w 4291"/>
                <a:gd name="T47" fmla="*/ 241 h 4156"/>
                <a:gd name="T48" fmla="*/ 1733 w 4291"/>
                <a:gd name="T49" fmla="*/ 275 h 4156"/>
                <a:gd name="T50" fmla="*/ 2030 w 4291"/>
                <a:gd name="T51" fmla="*/ 169 h 4156"/>
                <a:gd name="T52" fmla="*/ 2342 w 4291"/>
                <a:gd name="T53" fmla="*/ 222 h 4156"/>
                <a:gd name="T54" fmla="*/ 2579 w 4291"/>
                <a:gd name="T55" fmla="*/ 606 h 4156"/>
                <a:gd name="T56" fmla="*/ 2888 w 4291"/>
                <a:gd name="T57" fmla="*/ 953 h 4156"/>
                <a:gd name="T58" fmla="*/ 2985 w 4291"/>
                <a:gd name="T59" fmla="*/ 746 h 4156"/>
                <a:gd name="T60" fmla="*/ 3235 w 4291"/>
                <a:gd name="T61" fmla="*/ 931 h 4156"/>
                <a:gd name="T62" fmla="*/ 3341 w 4291"/>
                <a:gd name="T63" fmla="*/ 968 h 4156"/>
                <a:gd name="T64" fmla="*/ 3488 w 4291"/>
                <a:gd name="T65" fmla="*/ 993 h 4156"/>
                <a:gd name="T66" fmla="*/ 3760 w 4291"/>
                <a:gd name="T67" fmla="*/ 959 h 4156"/>
                <a:gd name="T68" fmla="*/ 3991 w 4291"/>
                <a:gd name="T69" fmla="*/ 887 h 4156"/>
                <a:gd name="T70" fmla="*/ 4203 w 4291"/>
                <a:gd name="T71" fmla="*/ 1087 h 4156"/>
                <a:gd name="T72" fmla="*/ 4206 w 4291"/>
                <a:gd name="T73" fmla="*/ 1252 h 4156"/>
                <a:gd name="T74" fmla="*/ 3991 w 4291"/>
                <a:gd name="T75" fmla="*/ 1396 h 4156"/>
                <a:gd name="T76" fmla="*/ 3688 w 4291"/>
                <a:gd name="T77" fmla="*/ 1390 h 4156"/>
                <a:gd name="T78" fmla="*/ 3472 w 4291"/>
                <a:gd name="T79" fmla="*/ 1302 h 4156"/>
                <a:gd name="T80" fmla="*/ 3388 w 4291"/>
                <a:gd name="T81" fmla="*/ 1168 h 4156"/>
                <a:gd name="T82" fmla="*/ 3313 w 4291"/>
                <a:gd name="T83" fmla="*/ 1383 h 4156"/>
                <a:gd name="T84" fmla="*/ 3376 w 4291"/>
                <a:gd name="T85" fmla="*/ 1615 h 4156"/>
                <a:gd name="T86" fmla="*/ 3529 w 4291"/>
                <a:gd name="T87" fmla="*/ 1805 h 4156"/>
                <a:gd name="T88" fmla="*/ 3703 w 4291"/>
                <a:gd name="T89" fmla="*/ 1761 h 4156"/>
                <a:gd name="T90" fmla="*/ 3741 w 4291"/>
                <a:gd name="T91" fmla="*/ 2108 h 4156"/>
                <a:gd name="T92" fmla="*/ 3663 w 4291"/>
                <a:gd name="T93" fmla="*/ 2320 h 4156"/>
                <a:gd name="T94" fmla="*/ 3507 w 4291"/>
                <a:gd name="T95" fmla="*/ 2576 h 4156"/>
                <a:gd name="T96" fmla="*/ 3513 w 4291"/>
                <a:gd name="T97" fmla="*/ 2867 h 4156"/>
                <a:gd name="T98" fmla="*/ 3632 w 4291"/>
                <a:gd name="T99" fmla="*/ 3048 h 4156"/>
                <a:gd name="T100" fmla="*/ 3491 w 4291"/>
                <a:gd name="T101" fmla="*/ 3298 h 4156"/>
                <a:gd name="T102" fmla="*/ 3441 w 4291"/>
                <a:gd name="T103" fmla="*/ 3535 h 4156"/>
                <a:gd name="T104" fmla="*/ 3313 w 4291"/>
                <a:gd name="T105" fmla="*/ 3847 h 4156"/>
                <a:gd name="T106" fmla="*/ 3291 w 4291"/>
                <a:gd name="T107" fmla="*/ 4075 h 4156"/>
                <a:gd name="T108" fmla="*/ 3194 w 4291"/>
                <a:gd name="T109" fmla="*/ 4150 h 4156"/>
                <a:gd name="T110" fmla="*/ 2948 w 4291"/>
                <a:gd name="T111" fmla="*/ 3997 h 4156"/>
                <a:gd name="T112" fmla="*/ 2701 w 4291"/>
                <a:gd name="T113" fmla="*/ 3941 h 4156"/>
                <a:gd name="T114" fmla="*/ 2395 w 4291"/>
                <a:gd name="T115" fmla="*/ 3841 h 4156"/>
                <a:gd name="T116" fmla="*/ 2092 w 4291"/>
                <a:gd name="T117" fmla="*/ 3860 h 4156"/>
                <a:gd name="T118" fmla="*/ 1914 w 4291"/>
                <a:gd name="T119" fmla="*/ 3757 h 4156"/>
                <a:gd name="T120" fmla="*/ 1730 w 4291"/>
                <a:gd name="T121" fmla="*/ 3866 h 4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91" h="4156">
                  <a:moveTo>
                    <a:pt x="1642" y="3913"/>
                  </a:moveTo>
                  <a:lnTo>
                    <a:pt x="1611" y="3913"/>
                  </a:lnTo>
                  <a:lnTo>
                    <a:pt x="1589" y="3910"/>
                  </a:lnTo>
                  <a:lnTo>
                    <a:pt x="1571" y="3894"/>
                  </a:lnTo>
                  <a:lnTo>
                    <a:pt x="1555" y="3872"/>
                  </a:lnTo>
                  <a:lnTo>
                    <a:pt x="1539" y="3853"/>
                  </a:lnTo>
                  <a:lnTo>
                    <a:pt x="1521" y="3838"/>
                  </a:lnTo>
                  <a:lnTo>
                    <a:pt x="1496" y="3822"/>
                  </a:lnTo>
                  <a:lnTo>
                    <a:pt x="1477" y="3803"/>
                  </a:lnTo>
                  <a:lnTo>
                    <a:pt x="1461" y="3778"/>
                  </a:lnTo>
                  <a:lnTo>
                    <a:pt x="1446" y="3744"/>
                  </a:lnTo>
                  <a:lnTo>
                    <a:pt x="1430" y="3716"/>
                  </a:lnTo>
                  <a:lnTo>
                    <a:pt x="1414" y="3694"/>
                  </a:lnTo>
                  <a:lnTo>
                    <a:pt x="1396" y="3669"/>
                  </a:lnTo>
                  <a:lnTo>
                    <a:pt x="1380" y="3650"/>
                  </a:lnTo>
                  <a:lnTo>
                    <a:pt x="1361" y="3632"/>
                  </a:lnTo>
                  <a:lnTo>
                    <a:pt x="1340" y="3613"/>
                  </a:lnTo>
                  <a:lnTo>
                    <a:pt x="1321" y="3597"/>
                  </a:lnTo>
                  <a:lnTo>
                    <a:pt x="1311" y="3594"/>
                  </a:lnTo>
                  <a:lnTo>
                    <a:pt x="1302" y="3588"/>
                  </a:lnTo>
                  <a:lnTo>
                    <a:pt x="1293" y="3585"/>
                  </a:lnTo>
                  <a:lnTo>
                    <a:pt x="1283" y="3579"/>
                  </a:lnTo>
                  <a:lnTo>
                    <a:pt x="1277" y="3572"/>
                  </a:lnTo>
                  <a:lnTo>
                    <a:pt x="1268" y="3557"/>
                  </a:lnTo>
                  <a:lnTo>
                    <a:pt x="1261" y="3532"/>
                  </a:lnTo>
                  <a:lnTo>
                    <a:pt x="1258" y="3510"/>
                  </a:lnTo>
                  <a:lnTo>
                    <a:pt x="1258" y="3488"/>
                  </a:lnTo>
                  <a:lnTo>
                    <a:pt x="1265" y="3482"/>
                  </a:lnTo>
                  <a:lnTo>
                    <a:pt x="1271" y="3472"/>
                  </a:lnTo>
                  <a:lnTo>
                    <a:pt x="1280" y="3466"/>
                  </a:lnTo>
                  <a:lnTo>
                    <a:pt x="1290" y="3460"/>
                  </a:lnTo>
                  <a:lnTo>
                    <a:pt x="1299" y="3451"/>
                  </a:lnTo>
                  <a:lnTo>
                    <a:pt x="1305" y="3444"/>
                  </a:lnTo>
                  <a:lnTo>
                    <a:pt x="1311" y="3419"/>
                  </a:lnTo>
                  <a:lnTo>
                    <a:pt x="1315" y="3391"/>
                  </a:lnTo>
                  <a:lnTo>
                    <a:pt x="1315" y="3363"/>
                  </a:lnTo>
                  <a:lnTo>
                    <a:pt x="1315" y="3338"/>
                  </a:lnTo>
                  <a:lnTo>
                    <a:pt x="1308" y="3310"/>
                  </a:lnTo>
                  <a:lnTo>
                    <a:pt x="1305" y="3285"/>
                  </a:lnTo>
                  <a:lnTo>
                    <a:pt x="1302" y="3266"/>
                  </a:lnTo>
                  <a:lnTo>
                    <a:pt x="1296" y="3248"/>
                  </a:lnTo>
                  <a:lnTo>
                    <a:pt x="1290" y="3226"/>
                  </a:lnTo>
                  <a:lnTo>
                    <a:pt x="1280" y="3213"/>
                  </a:lnTo>
                  <a:lnTo>
                    <a:pt x="1274" y="3213"/>
                  </a:lnTo>
                  <a:lnTo>
                    <a:pt x="1268" y="3213"/>
                  </a:lnTo>
                  <a:lnTo>
                    <a:pt x="1258" y="3213"/>
                  </a:lnTo>
                  <a:lnTo>
                    <a:pt x="1252" y="3216"/>
                  </a:lnTo>
                  <a:lnTo>
                    <a:pt x="1243" y="3216"/>
                  </a:lnTo>
                  <a:lnTo>
                    <a:pt x="1240" y="3213"/>
                  </a:lnTo>
                  <a:lnTo>
                    <a:pt x="1230" y="3198"/>
                  </a:lnTo>
                  <a:lnTo>
                    <a:pt x="1227" y="3176"/>
                  </a:lnTo>
                  <a:lnTo>
                    <a:pt x="1227" y="3151"/>
                  </a:lnTo>
                  <a:lnTo>
                    <a:pt x="1224" y="3129"/>
                  </a:lnTo>
                  <a:lnTo>
                    <a:pt x="1218" y="3113"/>
                  </a:lnTo>
                  <a:lnTo>
                    <a:pt x="1199" y="3107"/>
                  </a:lnTo>
                  <a:lnTo>
                    <a:pt x="1174" y="3104"/>
                  </a:lnTo>
                  <a:lnTo>
                    <a:pt x="1146" y="3104"/>
                  </a:lnTo>
                  <a:lnTo>
                    <a:pt x="1127" y="3101"/>
                  </a:lnTo>
                  <a:lnTo>
                    <a:pt x="1105" y="3095"/>
                  </a:lnTo>
                  <a:lnTo>
                    <a:pt x="1077" y="3085"/>
                  </a:lnTo>
                  <a:lnTo>
                    <a:pt x="1052" y="3073"/>
                  </a:lnTo>
                  <a:lnTo>
                    <a:pt x="1037" y="3057"/>
                  </a:lnTo>
                  <a:lnTo>
                    <a:pt x="1034" y="3042"/>
                  </a:lnTo>
                  <a:lnTo>
                    <a:pt x="1037" y="3017"/>
                  </a:lnTo>
                  <a:lnTo>
                    <a:pt x="1040" y="2995"/>
                  </a:lnTo>
                  <a:lnTo>
                    <a:pt x="1037" y="2979"/>
                  </a:lnTo>
                  <a:lnTo>
                    <a:pt x="1024" y="2967"/>
                  </a:lnTo>
                  <a:lnTo>
                    <a:pt x="1005" y="2954"/>
                  </a:lnTo>
                  <a:lnTo>
                    <a:pt x="984" y="2948"/>
                  </a:lnTo>
                  <a:lnTo>
                    <a:pt x="968" y="2945"/>
                  </a:lnTo>
                  <a:lnTo>
                    <a:pt x="959" y="2948"/>
                  </a:lnTo>
                  <a:lnTo>
                    <a:pt x="949" y="2951"/>
                  </a:lnTo>
                  <a:lnTo>
                    <a:pt x="940" y="2957"/>
                  </a:lnTo>
                  <a:lnTo>
                    <a:pt x="934" y="2963"/>
                  </a:lnTo>
                  <a:lnTo>
                    <a:pt x="927" y="2970"/>
                  </a:lnTo>
                  <a:lnTo>
                    <a:pt x="924" y="2976"/>
                  </a:lnTo>
                  <a:lnTo>
                    <a:pt x="924" y="2982"/>
                  </a:lnTo>
                  <a:lnTo>
                    <a:pt x="921" y="2988"/>
                  </a:lnTo>
                  <a:lnTo>
                    <a:pt x="918" y="2992"/>
                  </a:lnTo>
                  <a:lnTo>
                    <a:pt x="918" y="2998"/>
                  </a:lnTo>
                  <a:lnTo>
                    <a:pt x="902" y="2998"/>
                  </a:lnTo>
                  <a:lnTo>
                    <a:pt x="887" y="2995"/>
                  </a:lnTo>
                  <a:lnTo>
                    <a:pt x="871" y="2985"/>
                  </a:lnTo>
                  <a:lnTo>
                    <a:pt x="865" y="2979"/>
                  </a:lnTo>
                  <a:lnTo>
                    <a:pt x="862" y="2970"/>
                  </a:lnTo>
                  <a:lnTo>
                    <a:pt x="852" y="2954"/>
                  </a:lnTo>
                  <a:lnTo>
                    <a:pt x="840" y="2935"/>
                  </a:lnTo>
                  <a:lnTo>
                    <a:pt x="827" y="2917"/>
                  </a:lnTo>
                  <a:lnTo>
                    <a:pt x="824" y="2898"/>
                  </a:lnTo>
                  <a:lnTo>
                    <a:pt x="827" y="2892"/>
                  </a:lnTo>
                  <a:lnTo>
                    <a:pt x="831" y="2885"/>
                  </a:lnTo>
                  <a:lnTo>
                    <a:pt x="837" y="2876"/>
                  </a:lnTo>
                  <a:lnTo>
                    <a:pt x="840" y="2867"/>
                  </a:lnTo>
                  <a:lnTo>
                    <a:pt x="846" y="2860"/>
                  </a:lnTo>
                  <a:lnTo>
                    <a:pt x="849" y="2854"/>
                  </a:lnTo>
                  <a:lnTo>
                    <a:pt x="859" y="2832"/>
                  </a:lnTo>
                  <a:lnTo>
                    <a:pt x="868" y="2807"/>
                  </a:lnTo>
                  <a:lnTo>
                    <a:pt x="874" y="2785"/>
                  </a:lnTo>
                  <a:lnTo>
                    <a:pt x="871" y="2764"/>
                  </a:lnTo>
                  <a:lnTo>
                    <a:pt x="865" y="2732"/>
                  </a:lnTo>
                  <a:lnTo>
                    <a:pt x="856" y="2714"/>
                  </a:lnTo>
                  <a:lnTo>
                    <a:pt x="840" y="2704"/>
                  </a:lnTo>
                  <a:lnTo>
                    <a:pt x="818" y="2701"/>
                  </a:lnTo>
                  <a:lnTo>
                    <a:pt x="796" y="2701"/>
                  </a:lnTo>
                  <a:lnTo>
                    <a:pt x="777" y="2695"/>
                  </a:lnTo>
                  <a:lnTo>
                    <a:pt x="759" y="2686"/>
                  </a:lnTo>
                  <a:lnTo>
                    <a:pt x="740" y="2667"/>
                  </a:lnTo>
                  <a:lnTo>
                    <a:pt x="718" y="2648"/>
                  </a:lnTo>
                  <a:lnTo>
                    <a:pt x="703" y="2632"/>
                  </a:lnTo>
                  <a:lnTo>
                    <a:pt x="684" y="2614"/>
                  </a:lnTo>
                  <a:lnTo>
                    <a:pt x="662" y="2586"/>
                  </a:lnTo>
                  <a:lnTo>
                    <a:pt x="640" y="2570"/>
                  </a:lnTo>
                  <a:lnTo>
                    <a:pt x="621" y="2567"/>
                  </a:lnTo>
                  <a:lnTo>
                    <a:pt x="596" y="2567"/>
                  </a:lnTo>
                  <a:lnTo>
                    <a:pt x="578" y="2570"/>
                  </a:lnTo>
                  <a:lnTo>
                    <a:pt x="559" y="2570"/>
                  </a:lnTo>
                  <a:lnTo>
                    <a:pt x="537" y="2573"/>
                  </a:lnTo>
                  <a:lnTo>
                    <a:pt x="518" y="2570"/>
                  </a:lnTo>
                  <a:lnTo>
                    <a:pt x="503" y="2558"/>
                  </a:lnTo>
                  <a:lnTo>
                    <a:pt x="484" y="2539"/>
                  </a:lnTo>
                  <a:lnTo>
                    <a:pt x="468" y="2520"/>
                  </a:lnTo>
                  <a:lnTo>
                    <a:pt x="453" y="2508"/>
                  </a:lnTo>
                  <a:lnTo>
                    <a:pt x="428" y="2495"/>
                  </a:lnTo>
                  <a:lnTo>
                    <a:pt x="393" y="2486"/>
                  </a:lnTo>
                  <a:lnTo>
                    <a:pt x="368" y="2476"/>
                  </a:lnTo>
                  <a:lnTo>
                    <a:pt x="356" y="2458"/>
                  </a:lnTo>
                  <a:lnTo>
                    <a:pt x="340" y="2433"/>
                  </a:lnTo>
                  <a:lnTo>
                    <a:pt x="328" y="2414"/>
                  </a:lnTo>
                  <a:lnTo>
                    <a:pt x="322" y="2405"/>
                  </a:lnTo>
                  <a:lnTo>
                    <a:pt x="312" y="2395"/>
                  </a:lnTo>
                  <a:lnTo>
                    <a:pt x="303" y="2389"/>
                  </a:lnTo>
                  <a:lnTo>
                    <a:pt x="293" y="2380"/>
                  </a:lnTo>
                  <a:lnTo>
                    <a:pt x="284" y="2373"/>
                  </a:lnTo>
                  <a:lnTo>
                    <a:pt x="262" y="2364"/>
                  </a:lnTo>
                  <a:lnTo>
                    <a:pt x="237" y="2355"/>
                  </a:lnTo>
                  <a:lnTo>
                    <a:pt x="215" y="2342"/>
                  </a:lnTo>
                  <a:lnTo>
                    <a:pt x="209" y="2336"/>
                  </a:lnTo>
                  <a:lnTo>
                    <a:pt x="200" y="2326"/>
                  </a:lnTo>
                  <a:lnTo>
                    <a:pt x="194" y="2314"/>
                  </a:lnTo>
                  <a:lnTo>
                    <a:pt x="187" y="2301"/>
                  </a:lnTo>
                  <a:lnTo>
                    <a:pt x="181" y="2295"/>
                  </a:lnTo>
                  <a:lnTo>
                    <a:pt x="172" y="2277"/>
                  </a:lnTo>
                  <a:lnTo>
                    <a:pt x="159" y="2255"/>
                  </a:lnTo>
                  <a:lnTo>
                    <a:pt x="150" y="2233"/>
                  </a:lnTo>
                  <a:lnTo>
                    <a:pt x="144" y="2214"/>
                  </a:lnTo>
                  <a:lnTo>
                    <a:pt x="147" y="2192"/>
                  </a:lnTo>
                  <a:lnTo>
                    <a:pt x="156" y="2167"/>
                  </a:lnTo>
                  <a:lnTo>
                    <a:pt x="162" y="2142"/>
                  </a:lnTo>
                  <a:lnTo>
                    <a:pt x="169" y="2124"/>
                  </a:lnTo>
                  <a:lnTo>
                    <a:pt x="165" y="2102"/>
                  </a:lnTo>
                  <a:lnTo>
                    <a:pt x="162" y="2077"/>
                  </a:lnTo>
                  <a:lnTo>
                    <a:pt x="156" y="2052"/>
                  </a:lnTo>
                  <a:lnTo>
                    <a:pt x="150" y="2033"/>
                  </a:lnTo>
                  <a:lnTo>
                    <a:pt x="144" y="2024"/>
                  </a:lnTo>
                  <a:lnTo>
                    <a:pt x="134" y="2020"/>
                  </a:lnTo>
                  <a:lnTo>
                    <a:pt x="112" y="2014"/>
                  </a:lnTo>
                  <a:lnTo>
                    <a:pt x="90" y="2005"/>
                  </a:lnTo>
                  <a:lnTo>
                    <a:pt x="72" y="1999"/>
                  </a:lnTo>
                  <a:lnTo>
                    <a:pt x="47" y="1989"/>
                  </a:lnTo>
                  <a:lnTo>
                    <a:pt x="19" y="1974"/>
                  </a:lnTo>
                  <a:lnTo>
                    <a:pt x="3" y="1958"/>
                  </a:lnTo>
                  <a:lnTo>
                    <a:pt x="0" y="1936"/>
                  </a:lnTo>
                  <a:lnTo>
                    <a:pt x="3" y="1911"/>
                  </a:lnTo>
                  <a:lnTo>
                    <a:pt x="9" y="1892"/>
                  </a:lnTo>
                  <a:lnTo>
                    <a:pt x="16" y="1889"/>
                  </a:lnTo>
                  <a:lnTo>
                    <a:pt x="22" y="1886"/>
                  </a:lnTo>
                  <a:lnTo>
                    <a:pt x="28" y="1883"/>
                  </a:lnTo>
                  <a:lnTo>
                    <a:pt x="37" y="1880"/>
                  </a:lnTo>
                  <a:lnTo>
                    <a:pt x="44" y="1877"/>
                  </a:lnTo>
                  <a:lnTo>
                    <a:pt x="47" y="1871"/>
                  </a:lnTo>
                  <a:lnTo>
                    <a:pt x="50" y="1864"/>
                  </a:lnTo>
                  <a:lnTo>
                    <a:pt x="50" y="1858"/>
                  </a:lnTo>
                  <a:lnTo>
                    <a:pt x="50" y="1849"/>
                  </a:lnTo>
                  <a:lnTo>
                    <a:pt x="50" y="1839"/>
                  </a:lnTo>
                  <a:lnTo>
                    <a:pt x="47" y="1833"/>
                  </a:lnTo>
                  <a:lnTo>
                    <a:pt x="44" y="1827"/>
                  </a:lnTo>
                  <a:lnTo>
                    <a:pt x="37" y="1817"/>
                  </a:lnTo>
                  <a:lnTo>
                    <a:pt x="31" y="1808"/>
                  </a:lnTo>
                  <a:lnTo>
                    <a:pt x="28" y="1799"/>
                  </a:lnTo>
                  <a:lnTo>
                    <a:pt x="25" y="1793"/>
                  </a:lnTo>
                  <a:lnTo>
                    <a:pt x="22" y="1771"/>
                  </a:lnTo>
                  <a:lnTo>
                    <a:pt x="22" y="1746"/>
                  </a:lnTo>
                  <a:lnTo>
                    <a:pt x="25" y="1724"/>
                  </a:lnTo>
                  <a:lnTo>
                    <a:pt x="28" y="1705"/>
                  </a:lnTo>
                  <a:lnTo>
                    <a:pt x="34" y="1680"/>
                  </a:lnTo>
                  <a:lnTo>
                    <a:pt x="44" y="1658"/>
                  </a:lnTo>
                  <a:lnTo>
                    <a:pt x="56" y="1643"/>
                  </a:lnTo>
                  <a:lnTo>
                    <a:pt x="62" y="1640"/>
                  </a:lnTo>
                  <a:lnTo>
                    <a:pt x="72" y="1640"/>
                  </a:lnTo>
                  <a:lnTo>
                    <a:pt x="81" y="1643"/>
                  </a:lnTo>
                  <a:lnTo>
                    <a:pt x="90" y="1643"/>
                  </a:lnTo>
                  <a:lnTo>
                    <a:pt x="100" y="1643"/>
                  </a:lnTo>
                  <a:lnTo>
                    <a:pt x="106" y="1643"/>
                  </a:lnTo>
                  <a:lnTo>
                    <a:pt x="125" y="1627"/>
                  </a:lnTo>
                  <a:lnTo>
                    <a:pt x="147" y="1605"/>
                  </a:lnTo>
                  <a:lnTo>
                    <a:pt x="159" y="1583"/>
                  </a:lnTo>
                  <a:lnTo>
                    <a:pt x="169" y="1565"/>
                  </a:lnTo>
                  <a:lnTo>
                    <a:pt x="178" y="1540"/>
                  </a:lnTo>
                  <a:lnTo>
                    <a:pt x="184" y="1511"/>
                  </a:lnTo>
                  <a:lnTo>
                    <a:pt x="190" y="1490"/>
                  </a:lnTo>
                  <a:lnTo>
                    <a:pt x="190" y="1480"/>
                  </a:lnTo>
                  <a:lnTo>
                    <a:pt x="190" y="1471"/>
                  </a:lnTo>
                  <a:lnTo>
                    <a:pt x="190" y="1449"/>
                  </a:lnTo>
                  <a:lnTo>
                    <a:pt x="187" y="1421"/>
                  </a:lnTo>
                  <a:lnTo>
                    <a:pt x="181" y="1396"/>
                  </a:lnTo>
                  <a:lnTo>
                    <a:pt x="172" y="1377"/>
                  </a:lnTo>
                  <a:lnTo>
                    <a:pt x="159" y="1371"/>
                  </a:lnTo>
                  <a:lnTo>
                    <a:pt x="144" y="1368"/>
                  </a:lnTo>
                  <a:lnTo>
                    <a:pt x="125" y="1362"/>
                  </a:lnTo>
                  <a:lnTo>
                    <a:pt x="109" y="1355"/>
                  </a:lnTo>
                  <a:lnTo>
                    <a:pt x="100" y="1340"/>
                  </a:lnTo>
                  <a:lnTo>
                    <a:pt x="94" y="1321"/>
                  </a:lnTo>
                  <a:lnTo>
                    <a:pt x="90" y="1302"/>
                  </a:lnTo>
                  <a:lnTo>
                    <a:pt x="90" y="1280"/>
                  </a:lnTo>
                  <a:lnTo>
                    <a:pt x="94" y="1255"/>
                  </a:lnTo>
                  <a:lnTo>
                    <a:pt x="100" y="1230"/>
                  </a:lnTo>
                  <a:lnTo>
                    <a:pt x="100" y="1209"/>
                  </a:lnTo>
                  <a:lnTo>
                    <a:pt x="97" y="1177"/>
                  </a:lnTo>
                  <a:lnTo>
                    <a:pt x="87" y="1143"/>
                  </a:lnTo>
                  <a:lnTo>
                    <a:pt x="78" y="1115"/>
                  </a:lnTo>
                  <a:lnTo>
                    <a:pt x="69" y="1099"/>
                  </a:lnTo>
                  <a:lnTo>
                    <a:pt x="56" y="1077"/>
                  </a:lnTo>
                  <a:lnTo>
                    <a:pt x="44" y="1059"/>
                  </a:lnTo>
                  <a:lnTo>
                    <a:pt x="41" y="1040"/>
                  </a:lnTo>
                  <a:lnTo>
                    <a:pt x="47" y="1021"/>
                  </a:lnTo>
                  <a:lnTo>
                    <a:pt x="59" y="1002"/>
                  </a:lnTo>
                  <a:lnTo>
                    <a:pt x="72" y="987"/>
                  </a:lnTo>
                  <a:lnTo>
                    <a:pt x="81" y="971"/>
                  </a:lnTo>
                  <a:lnTo>
                    <a:pt x="87" y="953"/>
                  </a:lnTo>
                  <a:lnTo>
                    <a:pt x="90" y="928"/>
                  </a:lnTo>
                  <a:lnTo>
                    <a:pt x="94" y="906"/>
                  </a:lnTo>
                  <a:lnTo>
                    <a:pt x="100" y="890"/>
                  </a:lnTo>
                  <a:lnTo>
                    <a:pt x="109" y="884"/>
                  </a:lnTo>
                  <a:lnTo>
                    <a:pt x="119" y="878"/>
                  </a:lnTo>
                  <a:lnTo>
                    <a:pt x="128" y="868"/>
                  </a:lnTo>
                  <a:lnTo>
                    <a:pt x="140" y="862"/>
                  </a:lnTo>
                  <a:lnTo>
                    <a:pt x="147" y="856"/>
                  </a:lnTo>
                  <a:lnTo>
                    <a:pt x="162" y="840"/>
                  </a:lnTo>
                  <a:lnTo>
                    <a:pt x="175" y="815"/>
                  </a:lnTo>
                  <a:lnTo>
                    <a:pt x="187" y="790"/>
                  </a:lnTo>
                  <a:lnTo>
                    <a:pt x="194" y="768"/>
                  </a:lnTo>
                  <a:lnTo>
                    <a:pt x="190" y="750"/>
                  </a:lnTo>
                  <a:lnTo>
                    <a:pt x="181" y="725"/>
                  </a:lnTo>
                  <a:lnTo>
                    <a:pt x="172" y="703"/>
                  </a:lnTo>
                  <a:lnTo>
                    <a:pt x="169" y="684"/>
                  </a:lnTo>
                  <a:lnTo>
                    <a:pt x="175" y="659"/>
                  </a:lnTo>
                  <a:lnTo>
                    <a:pt x="184" y="634"/>
                  </a:lnTo>
                  <a:lnTo>
                    <a:pt x="200" y="609"/>
                  </a:lnTo>
                  <a:lnTo>
                    <a:pt x="215" y="590"/>
                  </a:lnTo>
                  <a:lnTo>
                    <a:pt x="231" y="581"/>
                  </a:lnTo>
                  <a:lnTo>
                    <a:pt x="250" y="572"/>
                  </a:lnTo>
                  <a:lnTo>
                    <a:pt x="265" y="559"/>
                  </a:lnTo>
                  <a:lnTo>
                    <a:pt x="281" y="540"/>
                  </a:lnTo>
                  <a:lnTo>
                    <a:pt x="293" y="515"/>
                  </a:lnTo>
                  <a:lnTo>
                    <a:pt x="300" y="494"/>
                  </a:lnTo>
                  <a:lnTo>
                    <a:pt x="297" y="475"/>
                  </a:lnTo>
                  <a:lnTo>
                    <a:pt x="287" y="450"/>
                  </a:lnTo>
                  <a:lnTo>
                    <a:pt x="278" y="425"/>
                  </a:lnTo>
                  <a:lnTo>
                    <a:pt x="268" y="406"/>
                  </a:lnTo>
                  <a:lnTo>
                    <a:pt x="265" y="397"/>
                  </a:lnTo>
                  <a:lnTo>
                    <a:pt x="265" y="384"/>
                  </a:lnTo>
                  <a:lnTo>
                    <a:pt x="268" y="362"/>
                  </a:lnTo>
                  <a:lnTo>
                    <a:pt x="268" y="337"/>
                  </a:lnTo>
                  <a:lnTo>
                    <a:pt x="268" y="312"/>
                  </a:lnTo>
                  <a:lnTo>
                    <a:pt x="265" y="291"/>
                  </a:lnTo>
                  <a:lnTo>
                    <a:pt x="262" y="284"/>
                  </a:lnTo>
                  <a:lnTo>
                    <a:pt x="253" y="275"/>
                  </a:lnTo>
                  <a:lnTo>
                    <a:pt x="247" y="266"/>
                  </a:lnTo>
                  <a:lnTo>
                    <a:pt x="240" y="256"/>
                  </a:lnTo>
                  <a:lnTo>
                    <a:pt x="234" y="250"/>
                  </a:lnTo>
                  <a:lnTo>
                    <a:pt x="231" y="225"/>
                  </a:lnTo>
                  <a:lnTo>
                    <a:pt x="231" y="194"/>
                  </a:lnTo>
                  <a:lnTo>
                    <a:pt x="237" y="163"/>
                  </a:lnTo>
                  <a:lnTo>
                    <a:pt x="247" y="141"/>
                  </a:lnTo>
                  <a:lnTo>
                    <a:pt x="259" y="134"/>
                  </a:lnTo>
                  <a:lnTo>
                    <a:pt x="278" y="131"/>
                  </a:lnTo>
                  <a:lnTo>
                    <a:pt x="300" y="128"/>
                  </a:lnTo>
                  <a:lnTo>
                    <a:pt x="312" y="122"/>
                  </a:lnTo>
                  <a:lnTo>
                    <a:pt x="325" y="109"/>
                  </a:lnTo>
                  <a:lnTo>
                    <a:pt x="337" y="94"/>
                  </a:lnTo>
                  <a:lnTo>
                    <a:pt x="350" y="75"/>
                  </a:lnTo>
                  <a:lnTo>
                    <a:pt x="362" y="66"/>
                  </a:lnTo>
                  <a:lnTo>
                    <a:pt x="368" y="66"/>
                  </a:lnTo>
                  <a:lnTo>
                    <a:pt x="378" y="69"/>
                  </a:lnTo>
                  <a:lnTo>
                    <a:pt x="384" y="72"/>
                  </a:lnTo>
                  <a:lnTo>
                    <a:pt x="393" y="75"/>
                  </a:lnTo>
                  <a:lnTo>
                    <a:pt x="400" y="78"/>
                  </a:lnTo>
                  <a:lnTo>
                    <a:pt x="403" y="84"/>
                  </a:lnTo>
                  <a:lnTo>
                    <a:pt x="409" y="91"/>
                  </a:lnTo>
                  <a:lnTo>
                    <a:pt x="412" y="97"/>
                  </a:lnTo>
                  <a:lnTo>
                    <a:pt x="415" y="103"/>
                  </a:lnTo>
                  <a:lnTo>
                    <a:pt x="421" y="106"/>
                  </a:lnTo>
                  <a:lnTo>
                    <a:pt x="434" y="106"/>
                  </a:lnTo>
                  <a:lnTo>
                    <a:pt x="453" y="103"/>
                  </a:lnTo>
                  <a:lnTo>
                    <a:pt x="475" y="97"/>
                  </a:lnTo>
                  <a:lnTo>
                    <a:pt x="490" y="94"/>
                  </a:lnTo>
                  <a:lnTo>
                    <a:pt x="506" y="97"/>
                  </a:lnTo>
                  <a:lnTo>
                    <a:pt x="509" y="100"/>
                  </a:lnTo>
                  <a:lnTo>
                    <a:pt x="512" y="106"/>
                  </a:lnTo>
                  <a:lnTo>
                    <a:pt x="512" y="116"/>
                  </a:lnTo>
                  <a:lnTo>
                    <a:pt x="512" y="125"/>
                  </a:lnTo>
                  <a:lnTo>
                    <a:pt x="512" y="131"/>
                  </a:lnTo>
                  <a:lnTo>
                    <a:pt x="515" y="141"/>
                  </a:lnTo>
                  <a:lnTo>
                    <a:pt x="518" y="144"/>
                  </a:lnTo>
                  <a:lnTo>
                    <a:pt x="534" y="150"/>
                  </a:lnTo>
                  <a:lnTo>
                    <a:pt x="559" y="156"/>
                  </a:lnTo>
                  <a:lnTo>
                    <a:pt x="581" y="153"/>
                  </a:lnTo>
                  <a:lnTo>
                    <a:pt x="596" y="147"/>
                  </a:lnTo>
                  <a:lnTo>
                    <a:pt x="606" y="134"/>
                  </a:lnTo>
                  <a:lnTo>
                    <a:pt x="609" y="116"/>
                  </a:lnTo>
                  <a:lnTo>
                    <a:pt x="615" y="97"/>
                  </a:lnTo>
                  <a:lnTo>
                    <a:pt x="621" y="81"/>
                  </a:lnTo>
                  <a:lnTo>
                    <a:pt x="628" y="78"/>
                  </a:lnTo>
                  <a:lnTo>
                    <a:pt x="637" y="75"/>
                  </a:lnTo>
                  <a:lnTo>
                    <a:pt x="646" y="72"/>
                  </a:lnTo>
                  <a:lnTo>
                    <a:pt x="656" y="69"/>
                  </a:lnTo>
                  <a:lnTo>
                    <a:pt x="662" y="66"/>
                  </a:lnTo>
                  <a:lnTo>
                    <a:pt x="668" y="59"/>
                  </a:lnTo>
                  <a:lnTo>
                    <a:pt x="674" y="50"/>
                  </a:lnTo>
                  <a:lnTo>
                    <a:pt x="681" y="38"/>
                  </a:lnTo>
                  <a:lnTo>
                    <a:pt x="684" y="28"/>
                  </a:lnTo>
                  <a:lnTo>
                    <a:pt x="690" y="22"/>
                  </a:lnTo>
                  <a:lnTo>
                    <a:pt x="706" y="10"/>
                  </a:lnTo>
                  <a:lnTo>
                    <a:pt x="724" y="0"/>
                  </a:lnTo>
                  <a:lnTo>
                    <a:pt x="743" y="0"/>
                  </a:lnTo>
                  <a:lnTo>
                    <a:pt x="746" y="3"/>
                  </a:lnTo>
                  <a:lnTo>
                    <a:pt x="746" y="6"/>
                  </a:lnTo>
                  <a:lnTo>
                    <a:pt x="746" y="13"/>
                  </a:lnTo>
                  <a:lnTo>
                    <a:pt x="746" y="16"/>
                  </a:lnTo>
                  <a:lnTo>
                    <a:pt x="746" y="19"/>
                  </a:lnTo>
                  <a:lnTo>
                    <a:pt x="746" y="44"/>
                  </a:lnTo>
                  <a:lnTo>
                    <a:pt x="743" y="72"/>
                  </a:lnTo>
                  <a:lnTo>
                    <a:pt x="746" y="94"/>
                  </a:lnTo>
                  <a:lnTo>
                    <a:pt x="752" y="122"/>
                  </a:lnTo>
                  <a:lnTo>
                    <a:pt x="765" y="150"/>
                  </a:lnTo>
                  <a:lnTo>
                    <a:pt x="781" y="175"/>
                  </a:lnTo>
                  <a:lnTo>
                    <a:pt x="784" y="181"/>
                  </a:lnTo>
                  <a:lnTo>
                    <a:pt x="793" y="184"/>
                  </a:lnTo>
                  <a:lnTo>
                    <a:pt x="802" y="191"/>
                  </a:lnTo>
                  <a:lnTo>
                    <a:pt x="812" y="197"/>
                  </a:lnTo>
                  <a:lnTo>
                    <a:pt x="818" y="200"/>
                  </a:lnTo>
                  <a:lnTo>
                    <a:pt x="827" y="200"/>
                  </a:lnTo>
                  <a:lnTo>
                    <a:pt x="846" y="194"/>
                  </a:lnTo>
                  <a:lnTo>
                    <a:pt x="871" y="178"/>
                  </a:lnTo>
                  <a:lnTo>
                    <a:pt x="893" y="159"/>
                  </a:lnTo>
                  <a:lnTo>
                    <a:pt x="915" y="153"/>
                  </a:lnTo>
                  <a:lnTo>
                    <a:pt x="927" y="153"/>
                  </a:lnTo>
                  <a:lnTo>
                    <a:pt x="946" y="163"/>
                  </a:lnTo>
                  <a:lnTo>
                    <a:pt x="965" y="169"/>
                  </a:lnTo>
                  <a:lnTo>
                    <a:pt x="977" y="172"/>
                  </a:lnTo>
                  <a:lnTo>
                    <a:pt x="987" y="169"/>
                  </a:lnTo>
                  <a:lnTo>
                    <a:pt x="996" y="163"/>
                  </a:lnTo>
                  <a:lnTo>
                    <a:pt x="1005" y="153"/>
                  </a:lnTo>
                  <a:lnTo>
                    <a:pt x="1015" y="147"/>
                  </a:lnTo>
                  <a:lnTo>
                    <a:pt x="1024" y="141"/>
                  </a:lnTo>
                  <a:lnTo>
                    <a:pt x="1043" y="122"/>
                  </a:lnTo>
                  <a:lnTo>
                    <a:pt x="1071" y="103"/>
                  </a:lnTo>
                  <a:lnTo>
                    <a:pt x="1096" y="84"/>
                  </a:lnTo>
                  <a:lnTo>
                    <a:pt x="1121" y="72"/>
                  </a:lnTo>
                  <a:lnTo>
                    <a:pt x="1140" y="72"/>
                  </a:lnTo>
                  <a:lnTo>
                    <a:pt x="1165" y="75"/>
                  </a:lnTo>
                  <a:lnTo>
                    <a:pt x="1183" y="78"/>
                  </a:lnTo>
                  <a:lnTo>
                    <a:pt x="1208" y="78"/>
                  </a:lnTo>
                  <a:lnTo>
                    <a:pt x="1240" y="78"/>
                  </a:lnTo>
                  <a:lnTo>
                    <a:pt x="1265" y="78"/>
                  </a:lnTo>
                  <a:lnTo>
                    <a:pt x="1286" y="84"/>
                  </a:lnTo>
                  <a:lnTo>
                    <a:pt x="1315" y="94"/>
                  </a:lnTo>
                  <a:lnTo>
                    <a:pt x="1333" y="106"/>
                  </a:lnTo>
                  <a:lnTo>
                    <a:pt x="1340" y="122"/>
                  </a:lnTo>
                  <a:lnTo>
                    <a:pt x="1340" y="141"/>
                  </a:lnTo>
                  <a:lnTo>
                    <a:pt x="1346" y="156"/>
                  </a:lnTo>
                  <a:lnTo>
                    <a:pt x="1361" y="175"/>
                  </a:lnTo>
                  <a:lnTo>
                    <a:pt x="1383" y="191"/>
                  </a:lnTo>
                  <a:lnTo>
                    <a:pt x="1405" y="203"/>
                  </a:lnTo>
                  <a:lnTo>
                    <a:pt x="1427" y="203"/>
                  </a:lnTo>
                  <a:lnTo>
                    <a:pt x="1452" y="200"/>
                  </a:lnTo>
                  <a:lnTo>
                    <a:pt x="1477" y="194"/>
                  </a:lnTo>
                  <a:lnTo>
                    <a:pt x="1499" y="197"/>
                  </a:lnTo>
                  <a:lnTo>
                    <a:pt x="1508" y="200"/>
                  </a:lnTo>
                  <a:lnTo>
                    <a:pt x="1518" y="206"/>
                  </a:lnTo>
                  <a:lnTo>
                    <a:pt x="1524" y="216"/>
                  </a:lnTo>
                  <a:lnTo>
                    <a:pt x="1533" y="222"/>
                  </a:lnTo>
                  <a:lnTo>
                    <a:pt x="1539" y="228"/>
                  </a:lnTo>
                  <a:lnTo>
                    <a:pt x="1558" y="241"/>
                  </a:lnTo>
                  <a:lnTo>
                    <a:pt x="1577" y="256"/>
                  </a:lnTo>
                  <a:lnTo>
                    <a:pt x="1592" y="272"/>
                  </a:lnTo>
                  <a:lnTo>
                    <a:pt x="1592" y="278"/>
                  </a:lnTo>
                  <a:lnTo>
                    <a:pt x="1596" y="284"/>
                  </a:lnTo>
                  <a:lnTo>
                    <a:pt x="1596" y="294"/>
                  </a:lnTo>
                  <a:lnTo>
                    <a:pt x="1596" y="303"/>
                  </a:lnTo>
                  <a:lnTo>
                    <a:pt x="1596" y="309"/>
                  </a:lnTo>
                  <a:lnTo>
                    <a:pt x="1599" y="316"/>
                  </a:lnTo>
                  <a:lnTo>
                    <a:pt x="1602" y="322"/>
                  </a:lnTo>
                  <a:lnTo>
                    <a:pt x="1614" y="325"/>
                  </a:lnTo>
                  <a:lnTo>
                    <a:pt x="1633" y="322"/>
                  </a:lnTo>
                  <a:lnTo>
                    <a:pt x="1652" y="319"/>
                  </a:lnTo>
                  <a:lnTo>
                    <a:pt x="1667" y="316"/>
                  </a:lnTo>
                  <a:lnTo>
                    <a:pt x="1689" y="303"/>
                  </a:lnTo>
                  <a:lnTo>
                    <a:pt x="1711" y="287"/>
                  </a:lnTo>
                  <a:lnTo>
                    <a:pt x="1733" y="275"/>
                  </a:lnTo>
                  <a:lnTo>
                    <a:pt x="1755" y="269"/>
                  </a:lnTo>
                  <a:lnTo>
                    <a:pt x="1777" y="262"/>
                  </a:lnTo>
                  <a:lnTo>
                    <a:pt x="1795" y="256"/>
                  </a:lnTo>
                  <a:lnTo>
                    <a:pt x="1814" y="234"/>
                  </a:lnTo>
                  <a:lnTo>
                    <a:pt x="1830" y="203"/>
                  </a:lnTo>
                  <a:lnTo>
                    <a:pt x="1845" y="178"/>
                  </a:lnTo>
                  <a:lnTo>
                    <a:pt x="1864" y="166"/>
                  </a:lnTo>
                  <a:lnTo>
                    <a:pt x="1886" y="150"/>
                  </a:lnTo>
                  <a:lnTo>
                    <a:pt x="1908" y="141"/>
                  </a:lnTo>
                  <a:lnTo>
                    <a:pt x="1933" y="138"/>
                  </a:lnTo>
                  <a:lnTo>
                    <a:pt x="1961" y="134"/>
                  </a:lnTo>
                  <a:lnTo>
                    <a:pt x="1989" y="138"/>
                  </a:lnTo>
                  <a:lnTo>
                    <a:pt x="2011" y="141"/>
                  </a:lnTo>
                  <a:lnTo>
                    <a:pt x="2017" y="147"/>
                  </a:lnTo>
                  <a:lnTo>
                    <a:pt x="2023" y="156"/>
                  </a:lnTo>
                  <a:lnTo>
                    <a:pt x="2030" y="169"/>
                  </a:lnTo>
                  <a:lnTo>
                    <a:pt x="2036" y="178"/>
                  </a:lnTo>
                  <a:lnTo>
                    <a:pt x="2039" y="184"/>
                  </a:lnTo>
                  <a:lnTo>
                    <a:pt x="2061" y="200"/>
                  </a:lnTo>
                  <a:lnTo>
                    <a:pt x="2089" y="219"/>
                  </a:lnTo>
                  <a:lnTo>
                    <a:pt x="2117" y="231"/>
                  </a:lnTo>
                  <a:lnTo>
                    <a:pt x="2142" y="241"/>
                  </a:lnTo>
                  <a:lnTo>
                    <a:pt x="2151" y="241"/>
                  </a:lnTo>
                  <a:lnTo>
                    <a:pt x="2161" y="237"/>
                  </a:lnTo>
                  <a:lnTo>
                    <a:pt x="2173" y="234"/>
                  </a:lnTo>
                  <a:lnTo>
                    <a:pt x="2183" y="231"/>
                  </a:lnTo>
                  <a:lnTo>
                    <a:pt x="2192" y="231"/>
                  </a:lnTo>
                  <a:lnTo>
                    <a:pt x="2220" y="225"/>
                  </a:lnTo>
                  <a:lnTo>
                    <a:pt x="2258" y="216"/>
                  </a:lnTo>
                  <a:lnTo>
                    <a:pt x="2295" y="212"/>
                  </a:lnTo>
                  <a:lnTo>
                    <a:pt x="2323" y="212"/>
                  </a:lnTo>
                  <a:lnTo>
                    <a:pt x="2342" y="222"/>
                  </a:lnTo>
                  <a:lnTo>
                    <a:pt x="2364" y="237"/>
                  </a:lnTo>
                  <a:lnTo>
                    <a:pt x="2386" y="253"/>
                  </a:lnTo>
                  <a:lnTo>
                    <a:pt x="2401" y="269"/>
                  </a:lnTo>
                  <a:lnTo>
                    <a:pt x="2426" y="287"/>
                  </a:lnTo>
                  <a:lnTo>
                    <a:pt x="2451" y="312"/>
                  </a:lnTo>
                  <a:lnTo>
                    <a:pt x="2470" y="334"/>
                  </a:lnTo>
                  <a:lnTo>
                    <a:pt x="2482" y="365"/>
                  </a:lnTo>
                  <a:lnTo>
                    <a:pt x="2492" y="403"/>
                  </a:lnTo>
                  <a:lnTo>
                    <a:pt x="2501" y="440"/>
                  </a:lnTo>
                  <a:lnTo>
                    <a:pt x="2511" y="472"/>
                  </a:lnTo>
                  <a:lnTo>
                    <a:pt x="2523" y="494"/>
                  </a:lnTo>
                  <a:lnTo>
                    <a:pt x="2539" y="518"/>
                  </a:lnTo>
                  <a:lnTo>
                    <a:pt x="2551" y="540"/>
                  </a:lnTo>
                  <a:lnTo>
                    <a:pt x="2561" y="559"/>
                  </a:lnTo>
                  <a:lnTo>
                    <a:pt x="2570" y="587"/>
                  </a:lnTo>
                  <a:lnTo>
                    <a:pt x="2579" y="606"/>
                  </a:lnTo>
                  <a:lnTo>
                    <a:pt x="2607" y="628"/>
                  </a:lnTo>
                  <a:lnTo>
                    <a:pt x="2639" y="650"/>
                  </a:lnTo>
                  <a:lnTo>
                    <a:pt x="2664" y="668"/>
                  </a:lnTo>
                  <a:lnTo>
                    <a:pt x="2682" y="690"/>
                  </a:lnTo>
                  <a:lnTo>
                    <a:pt x="2698" y="718"/>
                  </a:lnTo>
                  <a:lnTo>
                    <a:pt x="2714" y="750"/>
                  </a:lnTo>
                  <a:lnTo>
                    <a:pt x="2723" y="771"/>
                  </a:lnTo>
                  <a:lnTo>
                    <a:pt x="2735" y="803"/>
                  </a:lnTo>
                  <a:lnTo>
                    <a:pt x="2748" y="843"/>
                  </a:lnTo>
                  <a:lnTo>
                    <a:pt x="2760" y="881"/>
                  </a:lnTo>
                  <a:lnTo>
                    <a:pt x="2776" y="909"/>
                  </a:lnTo>
                  <a:lnTo>
                    <a:pt x="2792" y="921"/>
                  </a:lnTo>
                  <a:lnTo>
                    <a:pt x="2813" y="931"/>
                  </a:lnTo>
                  <a:lnTo>
                    <a:pt x="2832" y="937"/>
                  </a:lnTo>
                  <a:lnTo>
                    <a:pt x="2857" y="943"/>
                  </a:lnTo>
                  <a:lnTo>
                    <a:pt x="2888" y="953"/>
                  </a:lnTo>
                  <a:lnTo>
                    <a:pt x="2920" y="956"/>
                  </a:lnTo>
                  <a:lnTo>
                    <a:pt x="2941" y="953"/>
                  </a:lnTo>
                  <a:lnTo>
                    <a:pt x="2951" y="949"/>
                  </a:lnTo>
                  <a:lnTo>
                    <a:pt x="2960" y="943"/>
                  </a:lnTo>
                  <a:lnTo>
                    <a:pt x="2970" y="934"/>
                  </a:lnTo>
                  <a:lnTo>
                    <a:pt x="2979" y="924"/>
                  </a:lnTo>
                  <a:lnTo>
                    <a:pt x="2985" y="915"/>
                  </a:lnTo>
                  <a:lnTo>
                    <a:pt x="2991" y="906"/>
                  </a:lnTo>
                  <a:lnTo>
                    <a:pt x="2991" y="890"/>
                  </a:lnTo>
                  <a:lnTo>
                    <a:pt x="2985" y="871"/>
                  </a:lnTo>
                  <a:lnTo>
                    <a:pt x="2979" y="853"/>
                  </a:lnTo>
                  <a:lnTo>
                    <a:pt x="2976" y="837"/>
                  </a:lnTo>
                  <a:lnTo>
                    <a:pt x="2973" y="815"/>
                  </a:lnTo>
                  <a:lnTo>
                    <a:pt x="2973" y="787"/>
                  </a:lnTo>
                  <a:lnTo>
                    <a:pt x="2976" y="762"/>
                  </a:lnTo>
                  <a:lnTo>
                    <a:pt x="2985" y="746"/>
                  </a:lnTo>
                  <a:lnTo>
                    <a:pt x="3004" y="737"/>
                  </a:lnTo>
                  <a:lnTo>
                    <a:pt x="3032" y="737"/>
                  </a:lnTo>
                  <a:lnTo>
                    <a:pt x="3060" y="743"/>
                  </a:lnTo>
                  <a:lnTo>
                    <a:pt x="3082" y="746"/>
                  </a:lnTo>
                  <a:lnTo>
                    <a:pt x="3104" y="756"/>
                  </a:lnTo>
                  <a:lnTo>
                    <a:pt x="3132" y="771"/>
                  </a:lnTo>
                  <a:lnTo>
                    <a:pt x="3151" y="781"/>
                  </a:lnTo>
                  <a:lnTo>
                    <a:pt x="3169" y="790"/>
                  </a:lnTo>
                  <a:lnTo>
                    <a:pt x="3191" y="800"/>
                  </a:lnTo>
                  <a:lnTo>
                    <a:pt x="3207" y="809"/>
                  </a:lnTo>
                  <a:lnTo>
                    <a:pt x="3219" y="825"/>
                  </a:lnTo>
                  <a:lnTo>
                    <a:pt x="3232" y="849"/>
                  </a:lnTo>
                  <a:lnTo>
                    <a:pt x="3241" y="871"/>
                  </a:lnTo>
                  <a:lnTo>
                    <a:pt x="3248" y="893"/>
                  </a:lnTo>
                  <a:lnTo>
                    <a:pt x="3244" y="912"/>
                  </a:lnTo>
                  <a:lnTo>
                    <a:pt x="3235" y="931"/>
                  </a:lnTo>
                  <a:lnTo>
                    <a:pt x="3229" y="949"/>
                  </a:lnTo>
                  <a:lnTo>
                    <a:pt x="3232" y="971"/>
                  </a:lnTo>
                  <a:lnTo>
                    <a:pt x="3238" y="996"/>
                  </a:lnTo>
                  <a:lnTo>
                    <a:pt x="3248" y="1015"/>
                  </a:lnTo>
                  <a:lnTo>
                    <a:pt x="3266" y="1024"/>
                  </a:lnTo>
                  <a:lnTo>
                    <a:pt x="3291" y="1031"/>
                  </a:lnTo>
                  <a:lnTo>
                    <a:pt x="3319" y="1031"/>
                  </a:lnTo>
                  <a:lnTo>
                    <a:pt x="3338" y="1024"/>
                  </a:lnTo>
                  <a:lnTo>
                    <a:pt x="3341" y="1018"/>
                  </a:lnTo>
                  <a:lnTo>
                    <a:pt x="3344" y="1012"/>
                  </a:lnTo>
                  <a:lnTo>
                    <a:pt x="3344" y="1006"/>
                  </a:lnTo>
                  <a:lnTo>
                    <a:pt x="3344" y="996"/>
                  </a:lnTo>
                  <a:lnTo>
                    <a:pt x="3344" y="990"/>
                  </a:lnTo>
                  <a:lnTo>
                    <a:pt x="3344" y="984"/>
                  </a:lnTo>
                  <a:lnTo>
                    <a:pt x="3344" y="978"/>
                  </a:lnTo>
                  <a:lnTo>
                    <a:pt x="3341" y="968"/>
                  </a:lnTo>
                  <a:lnTo>
                    <a:pt x="3341" y="959"/>
                  </a:lnTo>
                  <a:lnTo>
                    <a:pt x="3341" y="949"/>
                  </a:lnTo>
                  <a:lnTo>
                    <a:pt x="3344" y="946"/>
                  </a:lnTo>
                  <a:lnTo>
                    <a:pt x="3347" y="943"/>
                  </a:lnTo>
                  <a:lnTo>
                    <a:pt x="3357" y="940"/>
                  </a:lnTo>
                  <a:lnTo>
                    <a:pt x="3363" y="940"/>
                  </a:lnTo>
                  <a:lnTo>
                    <a:pt x="3372" y="940"/>
                  </a:lnTo>
                  <a:lnTo>
                    <a:pt x="3379" y="940"/>
                  </a:lnTo>
                  <a:lnTo>
                    <a:pt x="3401" y="943"/>
                  </a:lnTo>
                  <a:lnTo>
                    <a:pt x="3429" y="946"/>
                  </a:lnTo>
                  <a:lnTo>
                    <a:pt x="3457" y="953"/>
                  </a:lnTo>
                  <a:lnTo>
                    <a:pt x="3479" y="962"/>
                  </a:lnTo>
                  <a:lnTo>
                    <a:pt x="3482" y="968"/>
                  </a:lnTo>
                  <a:lnTo>
                    <a:pt x="3485" y="974"/>
                  </a:lnTo>
                  <a:lnTo>
                    <a:pt x="3485" y="984"/>
                  </a:lnTo>
                  <a:lnTo>
                    <a:pt x="3488" y="993"/>
                  </a:lnTo>
                  <a:lnTo>
                    <a:pt x="3488" y="999"/>
                  </a:lnTo>
                  <a:lnTo>
                    <a:pt x="3494" y="1006"/>
                  </a:lnTo>
                  <a:lnTo>
                    <a:pt x="3507" y="1009"/>
                  </a:lnTo>
                  <a:lnTo>
                    <a:pt x="3525" y="1009"/>
                  </a:lnTo>
                  <a:lnTo>
                    <a:pt x="3547" y="1009"/>
                  </a:lnTo>
                  <a:lnTo>
                    <a:pt x="3563" y="1006"/>
                  </a:lnTo>
                  <a:lnTo>
                    <a:pt x="3588" y="996"/>
                  </a:lnTo>
                  <a:lnTo>
                    <a:pt x="3613" y="984"/>
                  </a:lnTo>
                  <a:lnTo>
                    <a:pt x="3638" y="974"/>
                  </a:lnTo>
                  <a:lnTo>
                    <a:pt x="3663" y="974"/>
                  </a:lnTo>
                  <a:lnTo>
                    <a:pt x="3694" y="971"/>
                  </a:lnTo>
                  <a:lnTo>
                    <a:pt x="3719" y="971"/>
                  </a:lnTo>
                  <a:lnTo>
                    <a:pt x="3728" y="968"/>
                  </a:lnTo>
                  <a:lnTo>
                    <a:pt x="3738" y="965"/>
                  </a:lnTo>
                  <a:lnTo>
                    <a:pt x="3750" y="962"/>
                  </a:lnTo>
                  <a:lnTo>
                    <a:pt x="3760" y="959"/>
                  </a:lnTo>
                  <a:lnTo>
                    <a:pt x="3766" y="953"/>
                  </a:lnTo>
                  <a:lnTo>
                    <a:pt x="3769" y="937"/>
                  </a:lnTo>
                  <a:lnTo>
                    <a:pt x="3766" y="918"/>
                  </a:lnTo>
                  <a:lnTo>
                    <a:pt x="3763" y="896"/>
                  </a:lnTo>
                  <a:lnTo>
                    <a:pt x="3766" y="881"/>
                  </a:lnTo>
                  <a:lnTo>
                    <a:pt x="3778" y="865"/>
                  </a:lnTo>
                  <a:lnTo>
                    <a:pt x="3797" y="853"/>
                  </a:lnTo>
                  <a:lnTo>
                    <a:pt x="3816" y="840"/>
                  </a:lnTo>
                  <a:lnTo>
                    <a:pt x="3835" y="837"/>
                  </a:lnTo>
                  <a:lnTo>
                    <a:pt x="3856" y="834"/>
                  </a:lnTo>
                  <a:lnTo>
                    <a:pt x="3875" y="831"/>
                  </a:lnTo>
                  <a:lnTo>
                    <a:pt x="3903" y="837"/>
                  </a:lnTo>
                  <a:lnTo>
                    <a:pt x="3935" y="843"/>
                  </a:lnTo>
                  <a:lnTo>
                    <a:pt x="3966" y="856"/>
                  </a:lnTo>
                  <a:lnTo>
                    <a:pt x="3984" y="871"/>
                  </a:lnTo>
                  <a:lnTo>
                    <a:pt x="3991" y="887"/>
                  </a:lnTo>
                  <a:lnTo>
                    <a:pt x="3991" y="906"/>
                  </a:lnTo>
                  <a:lnTo>
                    <a:pt x="3991" y="928"/>
                  </a:lnTo>
                  <a:lnTo>
                    <a:pt x="3994" y="943"/>
                  </a:lnTo>
                  <a:lnTo>
                    <a:pt x="4006" y="965"/>
                  </a:lnTo>
                  <a:lnTo>
                    <a:pt x="4025" y="987"/>
                  </a:lnTo>
                  <a:lnTo>
                    <a:pt x="4047" y="1009"/>
                  </a:lnTo>
                  <a:lnTo>
                    <a:pt x="4059" y="1027"/>
                  </a:lnTo>
                  <a:lnTo>
                    <a:pt x="4069" y="1043"/>
                  </a:lnTo>
                  <a:lnTo>
                    <a:pt x="4075" y="1062"/>
                  </a:lnTo>
                  <a:lnTo>
                    <a:pt x="4084" y="1081"/>
                  </a:lnTo>
                  <a:lnTo>
                    <a:pt x="4094" y="1090"/>
                  </a:lnTo>
                  <a:lnTo>
                    <a:pt x="4116" y="1093"/>
                  </a:lnTo>
                  <a:lnTo>
                    <a:pt x="4141" y="1090"/>
                  </a:lnTo>
                  <a:lnTo>
                    <a:pt x="4166" y="1084"/>
                  </a:lnTo>
                  <a:lnTo>
                    <a:pt x="4187" y="1081"/>
                  </a:lnTo>
                  <a:lnTo>
                    <a:pt x="4203" y="1087"/>
                  </a:lnTo>
                  <a:lnTo>
                    <a:pt x="4225" y="1096"/>
                  </a:lnTo>
                  <a:lnTo>
                    <a:pt x="4250" y="1109"/>
                  </a:lnTo>
                  <a:lnTo>
                    <a:pt x="4272" y="1118"/>
                  </a:lnTo>
                  <a:lnTo>
                    <a:pt x="4287" y="1127"/>
                  </a:lnTo>
                  <a:lnTo>
                    <a:pt x="4291" y="1131"/>
                  </a:lnTo>
                  <a:lnTo>
                    <a:pt x="4291" y="1137"/>
                  </a:lnTo>
                  <a:lnTo>
                    <a:pt x="4284" y="1152"/>
                  </a:lnTo>
                  <a:lnTo>
                    <a:pt x="4275" y="1174"/>
                  </a:lnTo>
                  <a:lnTo>
                    <a:pt x="4269" y="1193"/>
                  </a:lnTo>
                  <a:lnTo>
                    <a:pt x="4259" y="1209"/>
                  </a:lnTo>
                  <a:lnTo>
                    <a:pt x="4253" y="1215"/>
                  </a:lnTo>
                  <a:lnTo>
                    <a:pt x="4244" y="1218"/>
                  </a:lnTo>
                  <a:lnTo>
                    <a:pt x="4234" y="1224"/>
                  </a:lnTo>
                  <a:lnTo>
                    <a:pt x="4225" y="1230"/>
                  </a:lnTo>
                  <a:lnTo>
                    <a:pt x="4219" y="1237"/>
                  </a:lnTo>
                  <a:lnTo>
                    <a:pt x="4206" y="1252"/>
                  </a:lnTo>
                  <a:lnTo>
                    <a:pt x="4197" y="1274"/>
                  </a:lnTo>
                  <a:lnTo>
                    <a:pt x="4194" y="1296"/>
                  </a:lnTo>
                  <a:lnTo>
                    <a:pt x="4194" y="1312"/>
                  </a:lnTo>
                  <a:lnTo>
                    <a:pt x="4200" y="1330"/>
                  </a:lnTo>
                  <a:lnTo>
                    <a:pt x="4206" y="1349"/>
                  </a:lnTo>
                  <a:lnTo>
                    <a:pt x="4209" y="1365"/>
                  </a:lnTo>
                  <a:lnTo>
                    <a:pt x="4197" y="1387"/>
                  </a:lnTo>
                  <a:lnTo>
                    <a:pt x="4181" y="1405"/>
                  </a:lnTo>
                  <a:lnTo>
                    <a:pt x="4162" y="1421"/>
                  </a:lnTo>
                  <a:lnTo>
                    <a:pt x="4137" y="1427"/>
                  </a:lnTo>
                  <a:lnTo>
                    <a:pt x="4103" y="1430"/>
                  </a:lnTo>
                  <a:lnTo>
                    <a:pt x="4078" y="1427"/>
                  </a:lnTo>
                  <a:lnTo>
                    <a:pt x="4056" y="1418"/>
                  </a:lnTo>
                  <a:lnTo>
                    <a:pt x="4034" y="1405"/>
                  </a:lnTo>
                  <a:lnTo>
                    <a:pt x="4013" y="1396"/>
                  </a:lnTo>
                  <a:lnTo>
                    <a:pt x="3991" y="1396"/>
                  </a:lnTo>
                  <a:lnTo>
                    <a:pt x="3966" y="1396"/>
                  </a:lnTo>
                  <a:lnTo>
                    <a:pt x="3944" y="1399"/>
                  </a:lnTo>
                  <a:lnTo>
                    <a:pt x="3938" y="1402"/>
                  </a:lnTo>
                  <a:lnTo>
                    <a:pt x="3928" y="1408"/>
                  </a:lnTo>
                  <a:lnTo>
                    <a:pt x="3919" y="1418"/>
                  </a:lnTo>
                  <a:lnTo>
                    <a:pt x="3910" y="1424"/>
                  </a:lnTo>
                  <a:lnTo>
                    <a:pt x="3900" y="1427"/>
                  </a:lnTo>
                  <a:lnTo>
                    <a:pt x="3869" y="1430"/>
                  </a:lnTo>
                  <a:lnTo>
                    <a:pt x="3831" y="1430"/>
                  </a:lnTo>
                  <a:lnTo>
                    <a:pt x="3800" y="1424"/>
                  </a:lnTo>
                  <a:lnTo>
                    <a:pt x="3782" y="1415"/>
                  </a:lnTo>
                  <a:lnTo>
                    <a:pt x="3760" y="1399"/>
                  </a:lnTo>
                  <a:lnTo>
                    <a:pt x="3744" y="1387"/>
                  </a:lnTo>
                  <a:lnTo>
                    <a:pt x="3725" y="1387"/>
                  </a:lnTo>
                  <a:lnTo>
                    <a:pt x="3707" y="1387"/>
                  </a:lnTo>
                  <a:lnTo>
                    <a:pt x="3688" y="1390"/>
                  </a:lnTo>
                  <a:lnTo>
                    <a:pt x="3672" y="1387"/>
                  </a:lnTo>
                  <a:lnTo>
                    <a:pt x="3660" y="1374"/>
                  </a:lnTo>
                  <a:lnTo>
                    <a:pt x="3650" y="1358"/>
                  </a:lnTo>
                  <a:lnTo>
                    <a:pt x="3644" y="1340"/>
                  </a:lnTo>
                  <a:lnTo>
                    <a:pt x="3632" y="1324"/>
                  </a:lnTo>
                  <a:lnTo>
                    <a:pt x="3625" y="1321"/>
                  </a:lnTo>
                  <a:lnTo>
                    <a:pt x="3616" y="1315"/>
                  </a:lnTo>
                  <a:lnTo>
                    <a:pt x="3604" y="1312"/>
                  </a:lnTo>
                  <a:lnTo>
                    <a:pt x="3594" y="1309"/>
                  </a:lnTo>
                  <a:lnTo>
                    <a:pt x="3585" y="1309"/>
                  </a:lnTo>
                  <a:lnTo>
                    <a:pt x="3563" y="1305"/>
                  </a:lnTo>
                  <a:lnTo>
                    <a:pt x="3538" y="1305"/>
                  </a:lnTo>
                  <a:lnTo>
                    <a:pt x="3519" y="1305"/>
                  </a:lnTo>
                  <a:lnTo>
                    <a:pt x="3504" y="1305"/>
                  </a:lnTo>
                  <a:lnTo>
                    <a:pt x="3488" y="1305"/>
                  </a:lnTo>
                  <a:lnTo>
                    <a:pt x="3472" y="1302"/>
                  </a:lnTo>
                  <a:lnTo>
                    <a:pt x="3463" y="1296"/>
                  </a:lnTo>
                  <a:lnTo>
                    <a:pt x="3457" y="1284"/>
                  </a:lnTo>
                  <a:lnTo>
                    <a:pt x="3460" y="1268"/>
                  </a:lnTo>
                  <a:lnTo>
                    <a:pt x="3463" y="1249"/>
                  </a:lnTo>
                  <a:lnTo>
                    <a:pt x="3463" y="1234"/>
                  </a:lnTo>
                  <a:lnTo>
                    <a:pt x="3466" y="1218"/>
                  </a:lnTo>
                  <a:lnTo>
                    <a:pt x="3466" y="1196"/>
                  </a:lnTo>
                  <a:lnTo>
                    <a:pt x="3463" y="1184"/>
                  </a:lnTo>
                  <a:lnTo>
                    <a:pt x="3460" y="1174"/>
                  </a:lnTo>
                  <a:lnTo>
                    <a:pt x="3454" y="1168"/>
                  </a:lnTo>
                  <a:lnTo>
                    <a:pt x="3444" y="1162"/>
                  </a:lnTo>
                  <a:lnTo>
                    <a:pt x="3435" y="1156"/>
                  </a:lnTo>
                  <a:lnTo>
                    <a:pt x="3426" y="1152"/>
                  </a:lnTo>
                  <a:lnTo>
                    <a:pt x="3419" y="1152"/>
                  </a:lnTo>
                  <a:lnTo>
                    <a:pt x="3404" y="1156"/>
                  </a:lnTo>
                  <a:lnTo>
                    <a:pt x="3388" y="1168"/>
                  </a:lnTo>
                  <a:lnTo>
                    <a:pt x="3372" y="1180"/>
                  </a:lnTo>
                  <a:lnTo>
                    <a:pt x="3363" y="1196"/>
                  </a:lnTo>
                  <a:lnTo>
                    <a:pt x="3363" y="1212"/>
                  </a:lnTo>
                  <a:lnTo>
                    <a:pt x="3363" y="1234"/>
                  </a:lnTo>
                  <a:lnTo>
                    <a:pt x="3366" y="1255"/>
                  </a:lnTo>
                  <a:lnTo>
                    <a:pt x="3363" y="1271"/>
                  </a:lnTo>
                  <a:lnTo>
                    <a:pt x="3360" y="1277"/>
                  </a:lnTo>
                  <a:lnTo>
                    <a:pt x="3351" y="1284"/>
                  </a:lnTo>
                  <a:lnTo>
                    <a:pt x="3341" y="1293"/>
                  </a:lnTo>
                  <a:lnTo>
                    <a:pt x="3335" y="1299"/>
                  </a:lnTo>
                  <a:lnTo>
                    <a:pt x="3329" y="1305"/>
                  </a:lnTo>
                  <a:lnTo>
                    <a:pt x="3326" y="1321"/>
                  </a:lnTo>
                  <a:lnTo>
                    <a:pt x="3326" y="1340"/>
                  </a:lnTo>
                  <a:lnTo>
                    <a:pt x="3326" y="1358"/>
                  </a:lnTo>
                  <a:lnTo>
                    <a:pt x="3322" y="1374"/>
                  </a:lnTo>
                  <a:lnTo>
                    <a:pt x="3313" y="1383"/>
                  </a:lnTo>
                  <a:lnTo>
                    <a:pt x="3294" y="1393"/>
                  </a:lnTo>
                  <a:lnTo>
                    <a:pt x="3276" y="1402"/>
                  </a:lnTo>
                  <a:lnTo>
                    <a:pt x="3266" y="1412"/>
                  </a:lnTo>
                  <a:lnTo>
                    <a:pt x="3260" y="1437"/>
                  </a:lnTo>
                  <a:lnTo>
                    <a:pt x="3257" y="1468"/>
                  </a:lnTo>
                  <a:lnTo>
                    <a:pt x="3260" y="1499"/>
                  </a:lnTo>
                  <a:lnTo>
                    <a:pt x="3266" y="1524"/>
                  </a:lnTo>
                  <a:lnTo>
                    <a:pt x="3269" y="1543"/>
                  </a:lnTo>
                  <a:lnTo>
                    <a:pt x="3273" y="1568"/>
                  </a:lnTo>
                  <a:lnTo>
                    <a:pt x="3279" y="1590"/>
                  </a:lnTo>
                  <a:lnTo>
                    <a:pt x="3291" y="1605"/>
                  </a:lnTo>
                  <a:lnTo>
                    <a:pt x="3304" y="1608"/>
                  </a:lnTo>
                  <a:lnTo>
                    <a:pt x="3319" y="1605"/>
                  </a:lnTo>
                  <a:lnTo>
                    <a:pt x="3338" y="1602"/>
                  </a:lnTo>
                  <a:lnTo>
                    <a:pt x="3351" y="1605"/>
                  </a:lnTo>
                  <a:lnTo>
                    <a:pt x="3376" y="1615"/>
                  </a:lnTo>
                  <a:lnTo>
                    <a:pt x="3404" y="1630"/>
                  </a:lnTo>
                  <a:lnTo>
                    <a:pt x="3426" y="1652"/>
                  </a:lnTo>
                  <a:lnTo>
                    <a:pt x="3435" y="1674"/>
                  </a:lnTo>
                  <a:lnTo>
                    <a:pt x="3432" y="1686"/>
                  </a:lnTo>
                  <a:lnTo>
                    <a:pt x="3416" y="1702"/>
                  </a:lnTo>
                  <a:lnTo>
                    <a:pt x="3401" y="1718"/>
                  </a:lnTo>
                  <a:lnTo>
                    <a:pt x="3394" y="1730"/>
                  </a:lnTo>
                  <a:lnTo>
                    <a:pt x="3397" y="1736"/>
                  </a:lnTo>
                  <a:lnTo>
                    <a:pt x="3404" y="1743"/>
                  </a:lnTo>
                  <a:lnTo>
                    <a:pt x="3413" y="1749"/>
                  </a:lnTo>
                  <a:lnTo>
                    <a:pt x="3422" y="1752"/>
                  </a:lnTo>
                  <a:lnTo>
                    <a:pt x="3429" y="1758"/>
                  </a:lnTo>
                  <a:lnTo>
                    <a:pt x="3454" y="1774"/>
                  </a:lnTo>
                  <a:lnTo>
                    <a:pt x="3482" y="1789"/>
                  </a:lnTo>
                  <a:lnTo>
                    <a:pt x="3507" y="1802"/>
                  </a:lnTo>
                  <a:lnTo>
                    <a:pt x="3529" y="1805"/>
                  </a:lnTo>
                  <a:lnTo>
                    <a:pt x="3550" y="1805"/>
                  </a:lnTo>
                  <a:lnTo>
                    <a:pt x="3569" y="1802"/>
                  </a:lnTo>
                  <a:lnTo>
                    <a:pt x="3579" y="1786"/>
                  </a:lnTo>
                  <a:lnTo>
                    <a:pt x="3585" y="1768"/>
                  </a:lnTo>
                  <a:lnTo>
                    <a:pt x="3588" y="1746"/>
                  </a:lnTo>
                  <a:lnTo>
                    <a:pt x="3594" y="1730"/>
                  </a:lnTo>
                  <a:lnTo>
                    <a:pt x="3597" y="1724"/>
                  </a:lnTo>
                  <a:lnTo>
                    <a:pt x="3600" y="1714"/>
                  </a:lnTo>
                  <a:lnTo>
                    <a:pt x="3607" y="1708"/>
                  </a:lnTo>
                  <a:lnTo>
                    <a:pt x="3610" y="1702"/>
                  </a:lnTo>
                  <a:lnTo>
                    <a:pt x="3616" y="1699"/>
                  </a:lnTo>
                  <a:lnTo>
                    <a:pt x="3635" y="1699"/>
                  </a:lnTo>
                  <a:lnTo>
                    <a:pt x="3653" y="1708"/>
                  </a:lnTo>
                  <a:lnTo>
                    <a:pt x="3672" y="1718"/>
                  </a:lnTo>
                  <a:lnTo>
                    <a:pt x="3688" y="1736"/>
                  </a:lnTo>
                  <a:lnTo>
                    <a:pt x="3703" y="1761"/>
                  </a:lnTo>
                  <a:lnTo>
                    <a:pt x="3713" y="1783"/>
                  </a:lnTo>
                  <a:lnTo>
                    <a:pt x="3710" y="1802"/>
                  </a:lnTo>
                  <a:lnTo>
                    <a:pt x="3703" y="1824"/>
                  </a:lnTo>
                  <a:lnTo>
                    <a:pt x="3694" y="1849"/>
                  </a:lnTo>
                  <a:lnTo>
                    <a:pt x="3688" y="1867"/>
                  </a:lnTo>
                  <a:lnTo>
                    <a:pt x="3688" y="1892"/>
                  </a:lnTo>
                  <a:lnTo>
                    <a:pt x="3685" y="1924"/>
                  </a:lnTo>
                  <a:lnTo>
                    <a:pt x="3688" y="1952"/>
                  </a:lnTo>
                  <a:lnTo>
                    <a:pt x="3700" y="1967"/>
                  </a:lnTo>
                  <a:lnTo>
                    <a:pt x="3716" y="1986"/>
                  </a:lnTo>
                  <a:lnTo>
                    <a:pt x="3732" y="2005"/>
                  </a:lnTo>
                  <a:lnTo>
                    <a:pt x="3744" y="2020"/>
                  </a:lnTo>
                  <a:lnTo>
                    <a:pt x="3744" y="2039"/>
                  </a:lnTo>
                  <a:lnTo>
                    <a:pt x="3744" y="2061"/>
                  </a:lnTo>
                  <a:lnTo>
                    <a:pt x="3741" y="2080"/>
                  </a:lnTo>
                  <a:lnTo>
                    <a:pt x="3741" y="2108"/>
                  </a:lnTo>
                  <a:lnTo>
                    <a:pt x="3738" y="2139"/>
                  </a:lnTo>
                  <a:lnTo>
                    <a:pt x="3741" y="2167"/>
                  </a:lnTo>
                  <a:lnTo>
                    <a:pt x="3744" y="2173"/>
                  </a:lnTo>
                  <a:lnTo>
                    <a:pt x="3747" y="2180"/>
                  </a:lnTo>
                  <a:lnTo>
                    <a:pt x="3750" y="2186"/>
                  </a:lnTo>
                  <a:lnTo>
                    <a:pt x="3757" y="2192"/>
                  </a:lnTo>
                  <a:lnTo>
                    <a:pt x="3757" y="2198"/>
                  </a:lnTo>
                  <a:lnTo>
                    <a:pt x="3757" y="2227"/>
                  </a:lnTo>
                  <a:lnTo>
                    <a:pt x="3753" y="2258"/>
                  </a:lnTo>
                  <a:lnTo>
                    <a:pt x="3741" y="2283"/>
                  </a:lnTo>
                  <a:lnTo>
                    <a:pt x="3725" y="2298"/>
                  </a:lnTo>
                  <a:lnTo>
                    <a:pt x="3703" y="2311"/>
                  </a:lnTo>
                  <a:lnTo>
                    <a:pt x="3685" y="2320"/>
                  </a:lnTo>
                  <a:lnTo>
                    <a:pt x="3678" y="2320"/>
                  </a:lnTo>
                  <a:lnTo>
                    <a:pt x="3672" y="2320"/>
                  </a:lnTo>
                  <a:lnTo>
                    <a:pt x="3663" y="2320"/>
                  </a:lnTo>
                  <a:lnTo>
                    <a:pt x="3657" y="2320"/>
                  </a:lnTo>
                  <a:lnTo>
                    <a:pt x="3650" y="2320"/>
                  </a:lnTo>
                  <a:lnTo>
                    <a:pt x="3638" y="2339"/>
                  </a:lnTo>
                  <a:lnTo>
                    <a:pt x="3632" y="2364"/>
                  </a:lnTo>
                  <a:lnTo>
                    <a:pt x="3628" y="2392"/>
                  </a:lnTo>
                  <a:lnTo>
                    <a:pt x="3619" y="2411"/>
                  </a:lnTo>
                  <a:lnTo>
                    <a:pt x="3604" y="2426"/>
                  </a:lnTo>
                  <a:lnTo>
                    <a:pt x="3582" y="2439"/>
                  </a:lnTo>
                  <a:lnTo>
                    <a:pt x="3566" y="2454"/>
                  </a:lnTo>
                  <a:lnTo>
                    <a:pt x="3550" y="2470"/>
                  </a:lnTo>
                  <a:lnTo>
                    <a:pt x="3538" y="2492"/>
                  </a:lnTo>
                  <a:lnTo>
                    <a:pt x="3525" y="2514"/>
                  </a:lnTo>
                  <a:lnTo>
                    <a:pt x="3522" y="2533"/>
                  </a:lnTo>
                  <a:lnTo>
                    <a:pt x="3516" y="2558"/>
                  </a:lnTo>
                  <a:lnTo>
                    <a:pt x="3510" y="2573"/>
                  </a:lnTo>
                  <a:lnTo>
                    <a:pt x="3507" y="2576"/>
                  </a:lnTo>
                  <a:lnTo>
                    <a:pt x="3500" y="2579"/>
                  </a:lnTo>
                  <a:lnTo>
                    <a:pt x="3491" y="2579"/>
                  </a:lnTo>
                  <a:lnTo>
                    <a:pt x="3485" y="2579"/>
                  </a:lnTo>
                  <a:lnTo>
                    <a:pt x="3479" y="2583"/>
                  </a:lnTo>
                  <a:lnTo>
                    <a:pt x="3472" y="2586"/>
                  </a:lnTo>
                  <a:lnTo>
                    <a:pt x="3469" y="2604"/>
                  </a:lnTo>
                  <a:lnTo>
                    <a:pt x="3469" y="2629"/>
                  </a:lnTo>
                  <a:lnTo>
                    <a:pt x="3472" y="2657"/>
                  </a:lnTo>
                  <a:lnTo>
                    <a:pt x="3472" y="2676"/>
                  </a:lnTo>
                  <a:lnTo>
                    <a:pt x="3472" y="2707"/>
                  </a:lnTo>
                  <a:lnTo>
                    <a:pt x="3472" y="2745"/>
                  </a:lnTo>
                  <a:lnTo>
                    <a:pt x="3472" y="2773"/>
                  </a:lnTo>
                  <a:lnTo>
                    <a:pt x="3479" y="2801"/>
                  </a:lnTo>
                  <a:lnTo>
                    <a:pt x="3485" y="2829"/>
                  </a:lnTo>
                  <a:lnTo>
                    <a:pt x="3494" y="2854"/>
                  </a:lnTo>
                  <a:lnTo>
                    <a:pt x="3513" y="2867"/>
                  </a:lnTo>
                  <a:lnTo>
                    <a:pt x="3535" y="2879"/>
                  </a:lnTo>
                  <a:lnTo>
                    <a:pt x="3557" y="2885"/>
                  </a:lnTo>
                  <a:lnTo>
                    <a:pt x="3569" y="2885"/>
                  </a:lnTo>
                  <a:lnTo>
                    <a:pt x="3588" y="2882"/>
                  </a:lnTo>
                  <a:lnTo>
                    <a:pt x="3607" y="2882"/>
                  </a:lnTo>
                  <a:lnTo>
                    <a:pt x="3619" y="2885"/>
                  </a:lnTo>
                  <a:lnTo>
                    <a:pt x="3625" y="2892"/>
                  </a:lnTo>
                  <a:lnTo>
                    <a:pt x="3635" y="2898"/>
                  </a:lnTo>
                  <a:lnTo>
                    <a:pt x="3641" y="2910"/>
                  </a:lnTo>
                  <a:lnTo>
                    <a:pt x="3647" y="2920"/>
                  </a:lnTo>
                  <a:lnTo>
                    <a:pt x="3650" y="2929"/>
                  </a:lnTo>
                  <a:lnTo>
                    <a:pt x="3653" y="2954"/>
                  </a:lnTo>
                  <a:lnTo>
                    <a:pt x="3653" y="2985"/>
                  </a:lnTo>
                  <a:lnTo>
                    <a:pt x="3650" y="3010"/>
                  </a:lnTo>
                  <a:lnTo>
                    <a:pt x="3641" y="3029"/>
                  </a:lnTo>
                  <a:lnTo>
                    <a:pt x="3632" y="3048"/>
                  </a:lnTo>
                  <a:lnTo>
                    <a:pt x="3619" y="3063"/>
                  </a:lnTo>
                  <a:lnTo>
                    <a:pt x="3616" y="3073"/>
                  </a:lnTo>
                  <a:lnTo>
                    <a:pt x="3607" y="3079"/>
                  </a:lnTo>
                  <a:lnTo>
                    <a:pt x="3600" y="3088"/>
                  </a:lnTo>
                  <a:lnTo>
                    <a:pt x="3594" y="3095"/>
                  </a:lnTo>
                  <a:lnTo>
                    <a:pt x="3591" y="3104"/>
                  </a:lnTo>
                  <a:lnTo>
                    <a:pt x="3579" y="3135"/>
                  </a:lnTo>
                  <a:lnTo>
                    <a:pt x="3566" y="3173"/>
                  </a:lnTo>
                  <a:lnTo>
                    <a:pt x="3554" y="3204"/>
                  </a:lnTo>
                  <a:lnTo>
                    <a:pt x="3547" y="3210"/>
                  </a:lnTo>
                  <a:lnTo>
                    <a:pt x="3538" y="3220"/>
                  </a:lnTo>
                  <a:lnTo>
                    <a:pt x="3529" y="3226"/>
                  </a:lnTo>
                  <a:lnTo>
                    <a:pt x="3519" y="3235"/>
                  </a:lnTo>
                  <a:lnTo>
                    <a:pt x="3513" y="3245"/>
                  </a:lnTo>
                  <a:lnTo>
                    <a:pt x="3500" y="3266"/>
                  </a:lnTo>
                  <a:lnTo>
                    <a:pt x="3491" y="3298"/>
                  </a:lnTo>
                  <a:lnTo>
                    <a:pt x="3485" y="3323"/>
                  </a:lnTo>
                  <a:lnTo>
                    <a:pt x="3488" y="3341"/>
                  </a:lnTo>
                  <a:lnTo>
                    <a:pt x="3497" y="3363"/>
                  </a:lnTo>
                  <a:lnTo>
                    <a:pt x="3507" y="3385"/>
                  </a:lnTo>
                  <a:lnTo>
                    <a:pt x="3513" y="3404"/>
                  </a:lnTo>
                  <a:lnTo>
                    <a:pt x="3510" y="3422"/>
                  </a:lnTo>
                  <a:lnTo>
                    <a:pt x="3507" y="3441"/>
                  </a:lnTo>
                  <a:lnTo>
                    <a:pt x="3497" y="3457"/>
                  </a:lnTo>
                  <a:lnTo>
                    <a:pt x="3494" y="3463"/>
                  </a:lnTo>
                  <a:lnTo>
                    <a:pt x="3485" y="3466"/>
                  </a:lnTo>
                  <a:lnTo>
                    <a:pt x="3475" y="3472"/>
                  </a:lnTo>
                  <a:lnTo>
                    <a:pt x="3466" y="3476"/>
                  </a:lnTo>
                  <a:lnTo>
                    <a:pt x="3457" y="3482"/>
                  </a:lnTo>
                  <a:lnTo>
                    <a:pt x="3450" y="3485"/>
                  </a:lnTo>
                  <a:lnTo>
                    <a:pt x="3444" y="3507"/>
                  </a:lnTo>
                  <a:lnTo>
                    <a:pt x="3441" y="3535"/>
                  </a:lnTo>
                  <a:lnTo>
                    <a:pt x="3435" y="3560"/>
                  </a:lnTo>
                  <a:lnTo>
                    <a:pt x="3426" y="3582"/>
                  </a:lnTo>
                  <a:lnTo>
                    <a:pt x="3413" y="3610"/>
                  </a:lnTo>
                  <a:lnTo>
                    <a:pt x="3404" y="3632"/>
                  </a:lnTo>
                  <a:lnTo>
                    <a:pt x="3391" y="3663"/>
                  </a:lnTo>
                  <a:lnTo>
                    <a:pt x="3376" y="3697"/>
                  </a:lnTo>
                  <a:lnTo>
                    <a:pt x="3360" y="3725"/>
                  </a:lnTo>
                  <a:lnTo>
                    <a:pt x="3351" y="3735"/>
                  </a:lnTo>
                  <a:lnTo>
                    <a:pt x="3341" y="3741"/>
                  </a:lnTo>
                  <a:lnTo>
                    <a:pt x="3329" y="3750"/>
                  </a:lnTo>
                  <a:lnTo>
                    <a:pt x="3319" y="3760"/>
                  </a:lnTo>
                  <a:lnTo>
                    <a:pt x="3313" y="3769"/>
                  </a:lnTo>
                  <a:lnTo>
                    <a:pt x="3310" y="3785"/>
                  </a:lnTo>
                  <a:lnTo>
                    <a:pt x="3310" y="3807"/>
                  </a:lnTo>
                  <a:lnTo>
                    <a:pt x="3313" y="3828"/>
                  </a:lnTo>
                  <a:lnTo>
                    <a:pt x="3313" y="3847"/>
                  </a:lnTo>
                  <a:lnTo>
                    <a:pt x="3310" y="3866"/>
                  </a:lnTo>
                  <a:lnTo>
                    <a:pt x="3304" y="3891"/>
                  </a:lnTo>
                  <a:lnTo>
                    <a:pt x="3297" y="3906"/>
                  </a:lnTo>
                  <a:lnTo>
                    <a:pt x="3294" y="3913"/>
                  </a:lnTo>
                  <a:lnTo>
                    <a:pt x="3288" y="3916"/>
                  </a:lnTo>
                  <a:lnTo>
                    <a:pt x="3282" y="3922"/>
                  </a:lnTo>
                  <a:lnTo>
                    <a:pt x="3276" y="3925"/>
                  </a:lnTo>
                  <a:lnTo>
                    <a:pt x="3266" y="3944"/>
                  </a:lnTo>
                  <a:lnTo>
                    <a:pt x="3254" y="3966"/>
                  </a:lnTo>
                  <a:lnTo>
                    <a:pt x="3251" y="3988"/>
                  </a:lnTo>
                  <a:lnTo>
                    <a:pt x="3260" y="4006"/>
                  </a:lnTo>
                  <a:lnTo>
                    <a:pt x="3276" y="4028"/>
                  </a:lnTo>
                  <a:lnTo>
                    <a:pt x="3288" y="4047"/>
                  </a:lnTo>
                  <a:lnTo>
                    <a:pt x="3291" y="4056"/>
                  </a:lnTo>
                  <a:lnTo>
                    <a:pt x="3291" y="4066"/>
                  </a:lnTo>
                  <a:lnTo>
                    <a:pt x="3291" y="4075"/>
                  </a:lnTo>
                  <a:lnTo>
                    <a:pt x="3291" y="4084"/>
                  </a:lnTo>
                  <a:lnTo>
                    <a:pt x="3288" y="4091"/>
                  </a:lnTo>
                  <a:lnTo>
                    <a:pt x="3276" y="4097"/>
                  </a:lnTo>
                  <a:lnTo>
                    <a:pt x="3257" y="4103"/>
                  </a:lnTo>
                  <a:lnTo>
                    <a:pt x="3235" y="4106"/>
                  </a:lnTo>
                  <a:lnTo>
                    <a:pt x="3223" y="4113"/>
                  </a:lnTo>
                  <a:lnTo>
                    <a:pt x="3219" y="4119"/>
                  </a:lnTo>
                  <a:lnTo>
                    <a:pt x="3219" y="4128"/>
                  </a:lnTo>
                  <a:lnTo>
                    <a:pt x="3216" y="4138"/>
                  </a:lnTo>
                  <a:lnTo>
                    <a:pt x="3216" y="4147"/>
                  </a:lnTo>
                  <a:lnTo>
                    <a:pt x="3216" y="4153"/>
                  </a:lnTo>
                  <a:lnTo>
                    <a:pt x="3216" y="4156"/>
                  </a:lnTo>
                  <a:lnTo>
                    <a:pt x="3216" y="4156"/>
                  </a:lnTo>
                  <a:lnTo>
                    <a:pt x="3210" y="4153"/>
                  </a:lnTo>
                  <a:lnTo>
                    <a:pt x="3204" y="4153"/>
                  </a:lnTo>
                  <a:lnTo>
                    <a:pt x="3194" y="4150"/>
                  </a:lnTo>
                  <a:lnTo>
                    <a:pt x="3188" y="4144"/>
                  </a:lnTo>
                  <a:lnTo>
                    <a:pt x="3182" y="4141"/>
                  </a:lnTo>
                  <a:lnTo>
                    <a:pt x="3173" y="4128"/>
                  </a:lnTo>
                  <a:lnTo>
                    <a:pt x="3154" y="4113"/>
                  </a:lnTo>
                  <a:lnTo>
                    <a:pt x="3132" y="4094"/>
                  </a:lnTo>
                  <a:lnTo>
                    <a:pt x="3110" y="4075"/>
                  </a:lnTo>
                  <a:lnTo>
                    <a:pt x="3091" y="4066"/>
                  </a:lnTo>
                  <a:lnTo>
                    <a:pt x="3066" y="4056"/>
                  </a:lnTo>
                  <a:lnTo>
                    <a:pt x="3038" y="4050"/>
                  </a:lnTo>
                  <a:lnTo>
                    <a:pt x="3007" y="4044"/>
                  </a:lnTo>
                  <a:lnTo>
                    <a:pt x="2985" y="4035"/>
                  </a:lnTo>
                  <a:lnTo>
                    <a:pt x="2976" y="4028"/>
                  </a:lnTo>
                  <a:lnTo>
                    <a:pt x="2970" y="4022"/>
                  </a:lnTo>
                  <a:lnTo>
                    <a:pt x="2960" y="4013"/>
                  </a:lnTo>
                  <a:lnTo>
                    <a:pt x="2954" y="4003"/>
                  </a:lnTo>
                  <a:lnTo>
                    <a:pt x="2948" y="3997"/>
                  </a:lnTo>
                  <a:lnTo>
                    <a:pt x="2932" y="3978"/>
                  </a:lnTo>
                  <a:lnTo>
                    <a:pt x="2913" y="3953"/>
                  </a:lnTo>
                  <a:lnTo>
                    <a:pt x="2898" y="3931"/>
                  </a:lnTo>
                  <a:lnTo>
                    <a:pt x="2879" y="3916"/>
                  </a:lnTo>
                  <a:lnTo>
                    <a:pt x="2857" y="3897"/>
                  </a:lnTo>
                  <a:lnTo>
                    <a:pt x="2835" y="3882"/>
                  </a:lnTo>
                  <a:lnTo>
                    <a:pt x="2817" y="3869"/>
                  </a:lnTo>
                  <a:lnTo>
                    <a:pt x="2807" y="3869"/>
                  </a:lnTo>
                  <a:lnTo>
                    <a:pt x="2795" y="3866"/>
                  </a:lnTo>
                  <a:lnTo>
                    <a:pt x="2785" y="3866"/>
                  </a:lnTo>
                  <a:lnTo>
                    <a:pt x="2776" y="3869"/>
                  </a:lnTo>
                  <a:lnTo>
                    <a:pt x="2767" y="3869"/>
                  </a:lnTo>
                  <a:lnTo>
                    <a:pt x="2751" y="3888"/>
                  </a:lnTo>
                  <a:lnTo>
                    <a:pt x="2735" y="3913"/>
                  </a:lnTo>
                  <a:lnTo>
                    <a:pt x="2717" y="3931"/>
                  </a:lnTo>
                  <a:lnTo>
                    <a:pt x="2701" y="3941"/>
                  </a:lnTo>
                  <a:lnTo>
                    <a:pt x="2682" y="3947"/>
                  </a:lnTo>
                  <a:lnTo>
                    <a:pt x="2664" y="3950"/>
                  </a:lnTo>
                  <a:lnTo>
                    <a:pt x="2639" y="3950"/>
                  </a:lnTo>
                  <a:lnTo>
                    <a:pt x="2607" y="3950"/>
                  </a:lnTo>
                  <a:lnTo>
                    <a:pt x="2582" y="3944"/>
                  </a:lnTo>
                  <a:lnTo>
                    <a:pt x="2564" y="3931"/>
                  </a:lnTo>
                  <a:lnTo>
                    <a:pt x="2542" y="3910"/>
                  </a:lnTo>
                  <a:lnTo>
                    <a:pt x="2520" y="3888"/>
                  </a:lnTo>
                  <a:lnTo>
                    <a:pt x="2501" y="3869"/>
                  </a:lnTo>
                  <a:lnTo>
                    <a:pt x="2492" y="3866"/>
                  </a:lnTo>
                  <a:lnTo>
                    <a:pt x="2482" y="3857"/>
                  </a:lnTo>
                  <a:lnTo>
                    <a:pt x="2473" y="3850"/>
                  </a:lnTo>
                  <a:lnTo>
                    <a:pt x="2461" y="3844"/>
                  </a:lnTo>
                  <a:lnTo>
                    <a:pt x="2451" y="3841"/>
                  </a:lnTo>
                  <a:lnTo>
                    <a:pt x="2426" y="3841"/>
                  </a:lnTo>
                  <a:lnTo>
                    <a:pt x="2395" y="3841"/>
                  </a:lnTo>
                  <a:lnTo>
                    <a:pt x="2364" y="3847"/>
                  </a:lnTo>
                  <a:lnTo>
                    <a:pt x="2339" y="3853"/>
                  </a:lnTo>
                  <a:lnTo>
                    <a:pt x="2317" y="3866"/>
                  </a:lnTo>
                  <a:lnTo>
                    <a:pt x="2298" y="3878"/>
                  </a:lnTo>
                  <a:lnTo>
                    <a:pt x="2279" y="3891"/>
                  </a:lnTo>
                  <a:lnTo>
                    <a:pt x="2261" y="3900"/>
                  </a:lnTo>
                  <a:lnTo>
                    <a:pt x="2239" y="3906"/>
                  </a:lnTo>
                  <a:lnTo>
                    <a:pt x="2220" y="3913"/>
                  </a:lnTo>
                  <a:lnTo>
                    <a:pt x="2198" y="3916"/>
                  </a:lnTo>
                  <a:lnTo>
                    <a:pt x="2170" y="3919"/>
                  </a:lnTo>
                  <a:lnTo>
                    <a:pt x="2142" y="3919"/>
                  </a:lnTo>
                  <a:lnTo>
                    <a:pt x="2120" y="3916"/>
                  </a:lnTo>
                  <a:lnTo>
                    <a:pt x="2111" y="3913"/>
                  </a:lnTo>
                  <a:lnTo>
                    <a:pt x="2108" y="3903"/>
                  </a:lnTo>
                  <a:lnTo>
                    <a:pt x="2101" y="3882"/>
                  </a:lnTo>
                  <a:lnTo>
                    <a:pt x="2092" y="3860"/>
                  </a:lnTo>
                  <a:lnTo>
                    <a:pt x="2086" y="3841"/>
                  </a:lnTo>
                  <a:lnTo>
                    <a:pt x="2086" y="3822"/>
                  </a:lnTo>
                  <a:lnTo>
                    <a:pt x="2083" y="3800"/>
                  </a:lnTo>
                  <a:lnTo>
                    <a:pt x="2080" y="3778"/>
                  </a:lnTo>
                  <a:lnTo>
                    <a:pt x="2073" y="3760"/>
                  </a:lnTo>
                  <a:lnTo>
                    <a:pt x="2055" y="3744"/>
                  </a:lnTo>
                  <a:lnTo>
                    <a:pt x="2023" y="3732"/>
                  </a:lnTo>
                  <a:lnTo>
                    <a:pt x="1992" y="3722"/>
                  </a:lnTo>
                  <a:lnTo>
                    <a:pt x="1967" y="3716"/>
                  </a:lnTo>
                  <a:lnTo>
                    <a:pt x="1961" y="3716"/>
                  </a:lnTo>
                  <a:lnTo>
                    <a:pt x="1955" y="3716"/>
                  </a:lnTo>
                  <a:lnTo>
                    <a:pt x="1945" y="3716"/>
                  </a:lnTo>
                  <a:lnTo>
                    <a:pt x="1939" y="3716"/>
                  </a:lnTo>
                  <a:lnTo>
                    <a:pt x="1933" y="3716"/>
                  </a:lnTo>
                  <a:lnTo>
                    <a:pt x="1923" y="3732"/>
                  </a:lnTo>
                  <a:lnTo>
                    <a:pt x="1914" y="3757"/>
                  </a:lnTo>
                  <a:lnTo>
                    <a:pt x="1908" y="3778"/>
                  </a:lnTo>
                  <a:lnTo>
                    <a:pt x="1899" y="3797"/>
                  </a:lnTo>
                  <a:lnTo>
                    <a:pt x="1883" y="3803"/>
                  </a:lnTo>
                  <a:lnTo>
                    <a:pt x="1864" y="3810"/>
                  </a:lnTo>
                  <a:lnTo>
                    <a:pt x="1845" y="3816"/>
                  </a:lnTo>
                  <a:lnTo>
                    <a:pt x="1839" y="3822"/>
                  </a:lnTo>
                  <a:lnTo>
                    <a:pt x="1830" y="3832"/>
                  </a:lnTo>
                  <a:lnTo>
                    <a:pt x="1820" y="3841"/>
                  </a:lnTo>
                  <a:lnTo>
                    <a:pt x="1811" y="3850"/>
                  </a:lnTo>
                  <a:lnTo>
                    <a:pt x="1805" y="3853"/>
                  </a:lnTo>
                  <a:lnTo>
                    <a:pt x="1789" y="3857"/>
                  </a:lnTo>
                  <a:lnTo>
                    <a:pt x="1770" y="3853"/>
                  </a:lnTo>
                  <a:lnTo>
                    <a:pt x="1752" y="3850"/>
                  </a:lnTo>
                  <a:lnTo>
                    <a:pt x="1739" y="3853"/>
                  </a:lnTo>
                  <a:lnTo>
                    <a:pt x="1736" y="3860"/>
                  </a:lnTo>
                  <a:lnTo>
                    <a:pt x="1730" y="3866"/>
                  </a:lnTo>
                  <a:lnTo>
                    <a:pt x="1727" y="3875"/>
                  </a:lnTo>
                  <a:lnTo>
                    <a:pt x="1724" y="3885"/>
                  </a:lnTo>
                  <a:lnTo>
                    <a:pt x="1721" y="3894"/>
                  </a:lnTo>
                  <a:lnTo>
                    <a:pt x="1717" y="3897"/>
                  </a:lnTo>
                  <a:lnTo>
                    <a:pt x="1708" y="3903"/>
                  </a:lnTo>
                  <a:lnTo>
                    <a:pt x="1699" y="3903"/>
                  </a:lnTo>
                  <a:lnTo>
                    <a:pt x="1689" y="3906"/>
                  </a:lnTo>
                  <a:lnTo>
                    <a:pt x="1680" y="3906"/>
                  </a:lnTo>
                  <a:lnTo>
                    <a:pt x="1671" y="3910"/>
                  </a:lnTo>
                  <a:lnTo>
                    <a:pt x="1658" y="3910"/>
                  </a:lnTo>
                  <a:lnTo>
                    <a:pt x="1642" y="3913"/>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42" name="Freeform 13">
              <a:extLst>
                <a:ext uri="{FF2B5EF4-FFF2-40B4-BE49-F238E27FC236}">
                  <a16:creationId xmlns:a16="http://schemas.microsoft.com/office/drawing/2014/main" id="{1237D93D-36D5-427D-9545-84C866F6ABA2}"/>
                </a:ext>
              </a:extLst>
            </p:cNvPr>
            <p:cNvSpPr>
              <a:spLocks/>
            </p:cNvSpPr>
            <p:nvPr/>
          </p:nvSpPr>
          <p:spPr bwMode="auto">
            <a:xfrm>
              <a:off x="22136101" y="-7639050"/>
              <a:ext cx="6856413" cy="8297863"/>
            </a:xfrm>
            <a:custGeom>
              <a:avLst/>
              <a:gdLst>
                <a:gd name="T0" fmla="*/ 290 w 4319"/>
                <a:gd name="T1" fmla="*/ 212 h 5227"/>
                <a:gd name="T2" fmla="*/ 528 w 4319"/>
                <a:gd name="T3" fmla="*/ 34 h 5227"/>
                <a:gd name="T4" fmla="*/ 840 w 4319"/>
                <a:gd name="T5" fmla="*/ 0 h 5227"/>
                <a:gd name="T6" fmla="*/ 1230 w 4319"/>
                <a:gd name="T7" fmla="*/ 250 h 5227"/>
                <a:gd name="T8" fmla="*/ 1415 w 4319"/>
                <a:gd name="T9" fmla="*/ 534 h 5227"/>
                <a:gd name="T10" fmla="*/ 1633 w 4319"/>
                <a:gd name="T11" fmla="*/ 934 h 5227"/>
                <a:gd name="T12" fmla="*/ 1961 w 4319"/>
                <a:gd name="T13" fmla="*/ 1043 h 5227"/>
                <a:gd name="T14" fmla="*/ 2198 w 4319"/>
                <a:gd name="T15" fmla="*/ 984 h 5227"/>
                <a:gd name="T16" fmla="*/ 2479 w 4319"/>
                <a:gd name="T17" fmla="*/ 984 h 5227"/>
                <a:gd name="T18" fmla="*/ 2729 w 4319"/>
                <a:gd name="T19" fmla="*/ 959 h 5227"/>
                <a:gd name="T20" fmla="*/ 2951 w 4319"/>
                <a:gd name="T21" fmla="*/ 865 h 5227"/>
                <a:gd name="T22" fmla="*/ 3185 w 4319"/>
                <a:gd name="T23" fmla="*/ 1093 h 5227"/>
                <a:gd name="T24" fmla="*/ 3294 w 4319"/>
                <a:gd name="T25" fmla="*/ 1102 h 5227"/>
                <a:gd name="T26" fmla="*/ 3388 w 4319"/>
                <a:gd name="T27" fmla="*/ 1330 h 5227"/>
                <a:gd name="T28" fmla="*/ 3457 w 4319"/>
                <a:gd name="T29" fmla="*/ 1608 h 5227"/>
                <a:gd name="T30" fmla="*/ 3547 w 4319"/>
                <a:gd name="T31" fmla="*/ 1605 h 5227"/>
                <a:gd name="T32" fmla="*/ 3741 w 4319"/>
                <a:gd name="T33" fmla="*/ 1627 h 5227"/>
                <a:gd name="T34" fmla="*/ 3941 w 4319"/>
                <a:gd name="T35" fmla="*/ 1796 h 5227"/>
                <a:gd name="T36" fmla="*/ 4119 w 4319"/>
                <a:gd name="T37" fmla="*/ 1811 h 5227"/>
                <a:gd name="T38" fmla="*/ 4203 w 4319"/>
                <a:gd name="T39" fmla="*/ 1736 h 5227"/>
                <a:gd name="T40" fmla="*/ 4188 w 4319"/>
                <a:gd name="T41" fmla="*/ 2024 h 5227"/>
                <a:gd name="T42" fmla="*/ 4281 w 4319"/>
                <a:gd name="T43" fmla="*/ 2398 h 5227"/>
                <a:gd name="T44" fmla="*/ 4256 w 4319"/>
                <a:gd name="T45" fmla="*/ 2785 h 5227"/>
                <a:gd name="T46" fmla="*/ 4000 w 4319"/>
                <a:gd name="T47" fmla="*/ 3073 h 5227"/>
                <a:gd name="T48" fmla="*/ 3928 w 4319"/>
                <a:gd name="T49" fmla="*/ 3210 h 5227"/>
                <a:gd name="T50" fmla="*/ 4100 w 4319"/>
                <a:gd name="T51" fmla="*/ 3451 h 5227"/>
                <a:gd name="T52" fmla="*/ 4106 w 4319"/>
                <a:gd name="T53" fmla="*/ 3635 h 5227"/>
                <a:gd name="T54" fmla="*/ 4184 w 4319"/>
                <a:gd name="T55" fmla="*/ 3925 h 5227"/>
                <a:gd name="T56" fmla="*/ 4131 w 4319"/>
                <a:gd name="T57" fmla="*/ 4219 h 5227"/>
                <a:gd name="T58" fmla="*/ 4222 w 4319"/>
                <a:gd name="T59" fmla="*/ 4440 h 5227"/>
                <a:gd name="T60" fmla="*/ 3847 w 4319"/>
                <a:gd name="T61" fmla="*/ 4387 h 5227"/>
                <a:gd name="T62" fmla="*/ 3544 w 4319"/>
                <a:gd name="T63" fmla="*/ 4372 h 5227"/>
                <a:gd name="T64" fmla="*/ 3391 w 4319"/>
                <a:gd name="T65" fmla="*/ 4653 h 5227"/>
                <a:gd name="T66" fmla="*/ 3238 w 4319"/>
                <a:gd name="T67" fmla="*/ 5049 h 5227"/>
                <a:gd name="T68" fmla="*/ 3095 w 4319"/>
                <a:gd name="T69" fmla="*/ 5062 h 5227"/>
                <a:gd name="T70" fmla="*/ 2945 w 4319"/>
                <a:gd name="T71" fmla="*/ 4959 h 5227"/>
                <a:gd name="T72" fmla="*/ 2807 w 4319"/>
                <a:gd name="T73" fmla="*/ 4912 h 5227"/>
                <a:gd name="T74" fmla="*/ 2629 w 4319"/>
                <a:gd name="T75" fmla="*/ 4918 h 5227"/>
                <a:gd name="T76" fmla="*/ 2536 w 4319"/>
                <a:gd name="T77" fmla="*/ 5140 h 5227"/>
                <a:gd name="T78" fmla="*/ 2158 w 4319"/>
                <a:gd name="T79" fmla="*/ 5196 h 5227"/>
                <a:gd name="T80" fmla="*/ 1986 w 4319"/>
                <a:gd name="T81" fmla="*/ 5205 h 5227"/>
                <a:gd name="T82" fmla="*/ 1774 w 4319"/>
                <a:gd name="T83" fmla="*/ 5134 h 5227"/>
                <a:gd name="T84" fmla="*/ 1886 w 4319"/>
                <a:gd name="T85" fmla="*/ 4899 h 5227"/>
                <a:gd name="T86" fmla="*/ 1880 w 4319"/>
                <a:gd name="T87" fmla="*/ 4522 h 5227"/>
                <a:gd name="T88" fmla="*/ 1527 w 4319"/>
                <a:gd name="T89" fmla="*/ 4303 h 5227"/>
                <a:gd name="T90" fmla="*/ 1387 w 4319"/>
                <a:gd name="T91" fmla="*/ 4041 h 5227"/>
                <a:gd name="T92" fmla="*/ 1215 w 4319"/>
                <a:gd name="T93" fmla="*/ 3944 h 5227"/>
                <a:gd name="T94" fmla="*/ 1080 w 4319"/>
                <a:gd name="T95" fmla="*/ 4106 h 5227"/>
                <a:gd name="T96" fmla="*/ 856 w 4319"/>
                <a:gd name="T97" fmla="*/ 4016 h 5227"/>
                <a:gd name="T98" fmla="*/ 575 w 4319"/>
                <a:gd name="T99" fmla="*/ 4000 h 5227"/>
                <a:gd name="T100" fmla="*/ 340 w 4319"/>
                <a:gd name="T101" fmla="*/ 3835 h 5227"/>
                <a:gd name="T102" fmla="*/ 378 w 4319"/>
                <a:gd name="T103" fmla="*/ 3516 h 5227"/>
                <a:gd name="T104" fmla="*/ 303 w 4319"/>
                <a:gd name="T105" fmla="*/ 3066 h 5227"/>
                <a:gd name="T106" fmla="*/ 237 w 4319"/>
                <a:gd name="T107" fmla="*/ 2676 h 5227"/>
                <a:gd name="T108" fmla="*/ 119 w 4319"/>
                <a:gd name="T109" fmla="*/ 2351 h 5227"/>
                <a:gd name="T110" fmla="*/ 84 w 4319"/>
                <a:gd name="T111" fmla="*/ 2039 h 5227"/>
                <a:gd name="T112" fmla="*/ 144 w 4319"/>
                <a:gd name="T113" fmla="*/ 1817 h 5227"/>
                <a:gd name="T114" fmla="*/ 16 w 4319"/>
                <a:gd name="T115" fmla="*/ 1483 h 5227"/>
                <a:gd name="T116" fmla="*/ 222 w 4319"/>
                <a:gd name="T117" fmla="*/ 1393 h 5227"/>
                <a:gd name="T118" fmla="*/ 253 w 4319"/>
                <a:gd name="T119" fmla="*/ 1162 h 5227"/>
                <a:gd name="T120" fmla="*/ 422 w 4319"/>
                <a:gd name="T121" fmla="*/ 968 h 5227"/>
                <a:gd name="T122" fmla="*/ 300 w 4319"/>
                <a:gd name="T123" fmla="*/ 659 h 5227"/>
                <a:gd name="T124" fmla="*/ 169 w 4319"/>
                <a:gd name="T125" fmla="*/ 543 h 5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19" h="5227">
                  <a:moveTo>
                    <a:pt x="159" y="515"/>
                  </a:moveTo>
                  <a:lnTo>
                    <a:pt x="159" y="503"/>
                  </a:lnTo>
                  <a:lnTo>
                    <a:pt x="159" y="493"/>
                  </a:lnTo>
                  <a:lnTo>
                    <a:pt x="162" y="465"/>
                  </a:lnTo>
                  <a:lnTo>
                    <a:pt x="172" y="434"/>
                  </a:lnTo>
                  <a:lnTo>
                    <a:pt x="187" y="409"/>
                  </a:lnTo>
                  <a:lnTo>
                    <a:pt x="200" y="403"/>
                  </a:lnTo>
                  <a:lnTo>
                    <a:pt x="219" y="397"/>
                  </a:lnTo>
                  <a:lnTo>
                    <a:pt x="237" y="390"/>
                  </a:lnTo>
                  <a:lnTo>
                    <a:pt x="253" y="384"/>
                  </a:lnTo>
                  <a:lnTo>
                    <a:pt x="269" y="369"/>
                  </a:lnTo>
                  <a:lnTo>
                    <a:pt x="287" y="347"/>
                  </a:lnTo>
                  <a:lnTo>
                    <a:pt x="297" y="328"/>
                  </a:lnTo>
                  <a:lnTo>
                    <a:pt x="300" y="312"/>
                  </a:lnTo>
                  <a:lnTo>
                    <a:pt x="303" y="291"/>
                  </a:lnTo>
                  <a:lnTo>
                    <a:pt x="303" y="275"/>
                  </a:lnTo>
                  <a:lnTo>
                    <a:pt x="297" y="247"/>
                  </a:lnTo>
                  <a:lnTo>
                    <a:pt x="290" y="212"/>
                  </a:lnTo>
                  <a:lnTo>
                    <a:pt x="284" y="184"/>
                  </a:lnTo>
                  <a:lnTo>
                    <a:pt x="281" y="169"/>
                  </a:lnTo>
                  <a:lnTo>
                    <a:pt x="275" y="147"/>
                  </a:lnTo>
                  <a:lnTo>
                    <a:pt x="272" y="128"/>
                  </a:lnTo>
                  <a:lnTo>
                    <a:pt x="272" y="109"/>
                  </a:lnTo>
                  <a:lnTo>
                    <a:pt x="281" y="94"/>
                  </a:lnTo>
                  <a:lnTo>
                    <a:pt x="300" y="72"/>
                  </a:lnTo>
                  <a:lnTo>
                    <a:pt x="319" y="56"/>
                  </a:lnTo>
                  <a:lnTo>
                    <a:pt x="337" y="41"/>
                  </a:lnTo>
                  <a:lnTo>
                    <a:pt x="356" y="31"/>
                  </a:lnTo>
                  <a:lnTo>
                    <a:pt x="381" y="19"/>
                  </a:lnTo>
                  <a:lnTo>
                    <a:pt x="406" y="9"/>
                  </a:lnTo>
                  <a:lnTo>
                    <a:pt x="428" y="3"/>
                  </a:lnTo>
                  <a:lnTo>
                    <a:pt x="450" y="6"/>
                  </a:lnTo>
                  <a:lnTo>
                    <a:pt x="472" y="16"/>
                  </a:lnTo>
                  <a:lnTo>
                    <a:pt x="490" y="22"/>
                  </a:lnTo>
                  <a:lnTo>
                    <a:pt x="506" y="28"/>
                  </a:lnTo>
                  <a:lnTo>
                    <a:pt x="528" y="34"/>
                  </a:lnTo>
                  <a:lnTo>
                    <a:pt x="547" y="44"/>
                  </a:lnTo>
                  <a:lnTo>
                    <a:pt x="562" y="50"/>
                  </a:lnTo>
                  <a:lnTo>
                    <a:pt x="571" y="50"/>
                  </a:lnTo>
                  <a:lnTo>
                    <a:pt x="581" y="47"/>
                  </a:lnTo>
                  <a:lnTo>
                    <a:pt x="603" y="41"/>
                  </a:lnTo>
                  <a:lnTo>
                    <a:pt x="631" y="28"/>
                  </a:lnTo>
                  <a:lnTo>
                    <a:pt x="662" y="19"/>
                  </a:lnTo>
                  <a:lnTo>
                    <a:pt x="693" y="9"/>
                  </a:lnTo>
                  <a:lnTo>
                    <a:pt x="715" y="3"/>
                  </a:lnTo>
                  <a:lnTo>
                    <a:pt x="734" y="3"/>
                  </a:lnTo>
                  <a:lnTo>
                    <a:pt x="756" y="3"/>
                  </a:lnTo>
                  <a:lnTo>
                    <a:pt x="774" y="3"/>
                  </a:lnTo>
                  <a:lnTo>
                    <a:pt x="787" y="6"/>
                  </a:lnTo>
                  <a:lnTo>
                    <a:pt x="803" y="13"/>
                  </a:lnTo>
                  <a:lnTo>
                    <a:pt x="818" y="16"/>
                  </a:lnTo>
                  <a:lnTo>
                    <a:pt x="828" y="13"/>
                  </a:lnTo>
                  <a:lnTo>
                    <a:pt x="834" y="9"/>
                  </a:lnTo>
                  <a:lnTo>
                    <a:pt x="840" y="0"/>
                  </a:lnTo>
                  <a:lnTo>
                    <a:pt x="868" y="13"/>
                  </a:lnTo>
                  <a:lnTo>
                    <a:pt x="896" y="22"/>
                  </a:lnTo>
                  <a:lnTo>
                    <a:pt x="918" y="28"/>
                  </a:lnTo>
                  <a:lnTo>
                    <a:pt x="934" y="31"/>
                  </a:lnTo>
                  <a:lnTo>
                    <a:pt x="956" y="28"/>
                  </a:lnTo>
                  <a:lnTo>
                    <a:pt x="977" y="28"/>
                  </a:lnTo>
                  <a:lnTo>
                    <a:pt x="993" y="28"/>
                  </a:lnTo>
                  <a:lnTo>
                    <a:pt x="1012" y="47"/>
                  </a:lnTo>
                  <a:lnTo>
                    <a:pt x="1034" y="69"/>
                  </a:lnTo>
                  <a:lnTo>
                    <a:pt x="1052" y="91"/>
                  </a:lnTo>
                  <a:lnTo>
                    <a:pt x="1071" y="113"/>
                  </a:lnTo>
                  <a:lnTo>
                    <a:pt x="1093" y="141"/>
                  </a:lnTo>
                  <a:lnTo>
                    <a:pt x="1112" y="162"/>
                  </a:lnTo>
                  <a:lnTo>
                    <a:pt x="1137" y="178"/>
                  </a:lnTo>
                  <a:lnTo>
                    <a:pt x="1168" y="194"/>
                  </a:lnTo>
                  <a:lnTo>
                    <a:pt x="1199" y="209"/>
                  </a:lnTo>
                  <a:lnTo>
                    <a:pt x="1221" y="225"/>
                  </a:lnTo>
                  <a:lnTo>
                    <a:pt x="1230" y="250"/>
                  </a:lnTo>
                  <a:lnTo>
                    <a:pt x="1240" y="281"/>
                  </a:lnTo>
                  <a:lnTo>
                    <a:pt x="1246" y="315"/>
                  </a:lnTo>
                  <a:lnTo>
                    <a:pt x="1249" y="340"/>
                  </a:lnTo>
                  <a:lnTo>
                    <a:pt x="1243" y="359"/>
                  </a:lnTo>
                  <a:lnTo>
                    <a:pt x="1234" y="381"/>
                  </a:lnTo>
                  <a:lnTo>
                    <a:pt x="1224" y="403"/>
                  </a:lnTo>
                  <a:lnTo>
                    <a:pt x="1221" y="422"/>
                  </a:lnTo>
                  <a:lnTo>
                    <a:pt x="1224" y="447"/>
                  </a:lnTo>
                  <a:lnTo>
                    <a:pt x="1230" y="472"/>
                  </a:lnTo>
                  <a:lnTo>
                    <a:pt x="1243" y="497"/>
                  </a:lnTo>
                  <a:lnTo>
                    <a:pt x="1255" y="515"/>
                  </a:lnTo>
                  <a:lnTo>
                    <a:pt x="1271" y="525"/>
                  </a:lnTo>
                  <a:lnTo>
                    <a:pt x="1293" y="534"/>
                  </a:lnTo>
                  <a:lnTo>
                    <a:pt x="1312" y="540"/>
                  </a:lnTo>
                  <a:lnTo>
                    <a:pt x="1333" y="540"/>
                  </a:lnTo>
                  <a:lnTo>
                    <a:pt x="1362" y="540"/>
                  </a:lnTo>
                  <a:lnTo>
                    <a:pt x="1390" y="537"/>
                  </a:lnTo>
                  <a:lnTo>
                    <a:pt x="1415" y="534"/>
                  </a:lnTo>
                  <a:lnTo>
                    <a:pt x="1433" y="540"/>
                  </a:lnTo>
                  <a:lnTo>
                    <a:pt x="1452" y="556"/>
                  </a:lnTo>
                  <a:lnTo>
                    <a:pt x="1465" y="581"/>
                  </a:lnTo>
                  <a:lnTo>
                    <a:pt x="1477" y="606"/>
                  </a:lnTo>
                  <a:lnTo>
                    <a:pt x="1490" y="628"/>
                  </a:lnTo>
                  <a:lnTo>
                    <a:pt x="1496" y="653"/>
                  </a:lnTo>
                  <a:lnTo>
                    <a:pt x="1505" y="684"/>
                  </a:lnTo>
                  <a:lnTo>
                    <a:pt x="1515" y="715"/>
                  </a:lnTo>
                  <a:lnTo>
                    <a:pt x="1527" y="740"/>
                  </a:lnTo>
                  <a:lnTo>
                    <a:pt x="1546" y="765"/>
                  </a:lnTo>
                  <a:lnTo>
                    <a:pt x="1577" y="790"/>
                  </a:lnTo>
                  <a:lnTo>
                    <a:pt x="1602" y="818"/>
                  </a:lnTo>
                  <a:lnTo>
                    <a:pt x="1621" y="843"/>
                  </a:lnTo>
                  <a:lnTo>
                    <a:pt x="1624" y="862"/>
                  </a:lnTo>
                  <a:lnTo>
                    <a:pt x="1621" y="884"/>
                  </a:lnTo>
                  <a:lnTo>
                    <a:pt x="1618" y="906"/>
                  </a:lnTo>
                  <a:lnTo>
                    <a:pt x="1621" y="924"/>
                  </a:lnTo>
                  <a:lnTo>
                    <a:pt x="1633" y="934"/>
                  </a:lnTo>
                  <a:lnTo>
                    <a:pt x="1649" y="943"/>
                  </a:lnTo>
                  <a:lnTo>
                    <a:pt x="1668" y="952"/>
                  </a:lnTo>
                  <a:lnTo>
                    <a:pt x="1677" y="956"/>
                  </a:lnTo>
                  <a:lnTo>
                    <a:pt x="1683" y="968"/>
                  </a:lnTo>
                  <a:lnTo>
                    <a:pt x="1686" y="990"/>
                  </a:lnTo>
                  <a:lnTo>
                    <a:pt x="1689" y="1012"/>
                  </a:lnTo>
                  <a:lnTo>
                    <a:pt x="1693" y="1034"/>
                  </a:lnTo>
                  <a:lnTo>
                    <a:pt x="1696" y="1046"/>
                  </a:lnTo>
                  <a:lnTo>
                    <a:pt x="1702" y="1052"/>
                  </a:lnTo>
                  <a:lnTo>
                    <a:pt x="1721" y="1065"/>
                  </a:lnTo>
                  <a:lnTo>
                    <a:pt x="1746" y="1074"/>
                  </a:lnTo>
                  <a:lnTo>
                    <a:pt x="1771" y="1084"/>
                  </a:lnTo>
                  <a:lnTo>
                    <a:pt x="1792" y="1087"/>
                  </a:lnTo>
                  <a:lnTo>
                    <a:pt x="1827" y="1084"/>
                  </a:lnTo>
                  <a:lnTo>
                    <a:pt x="1867" y="1074"/>
                  </a:lnTo>
                  <a:lnTo>
                    <a:pt x="1908" y="1062"/>
                  </a:lnTo>
                  <a:lnTo>
                    <a:pt x="1942" y="1052"/>
                  </a:lnTo>
                  <a:lnTo>
                    <a:pt x="1961" y="1043"/>
                  </a:lnTo>
                  <a:lnTo>
                    <a:pt x="1983" y="1034"/>
                  </a:lnTo>
                  <a:lnTo>
                    <a:pt x="2002" y="1027"/>
                  </a:lnTo>
                  <a:lnTo>
                    <a:pt x="2030" y="1027"/>
                  </a:lnTo>
                  <a:lnTo>
                    <a:pt x="2064" y="1031"/>
                  </a:lnTo>
                  <a:lnTo>
                    <a:pt x="2092" y="1031"/>
                  </a:lnTo>
                  <a:lnTo>
                    <a:pt x="2111" y="1034"/>
                  </a:lnTo>
                  <a:lnTo>
                    <a:pt x="2130" y="1034"/>
                  </a:lnTo>
                  <a:lnTo>
                    <a:pt x="2148" y="1034"/>
                  </a:lnTo>
                  <a:lnTo>
                    <a:pt x="2164" y="1027"/>
                  </a:lnTo>
                  <a:lnTo>
                    <a:pt x="2164" y="1024"/>
                  </a:lnTo>
                  <a:lnTo>
                    <a:pt x="2164" y="1018"/>
                  </a:lnTo>
                  <a:lnTo>
                    <a:pt x="2164" y="1012"/>
                  </a:lnTo>
                  <a:lnTo>
                    <a:pt x="2161" y="1006"/>
                  </a:lnTo>
                  <a:lnTo>
                    <a:pt x="2161" y="996"/>
                  </a:lnTo>
                  <a:lnTo>
                    <a:pt x="2161" y="993"/>
                  </a:lnTo>
                  <a:lnTo>
                    <a:pt x="2164" y="987"/>
                  </a:lnTo>
                  <a:lnTo>
                    <a:pt x="2177" y="984"/>
                  </a:lnTo>
                  <a:lnTo>
                    <a:pt x="2198" y="984"/>
                  </a:lnTo>
                  <a:lnTo>
                    <a:pt x="2217" y="987"/>
                  </a:lnTo>
                  <a:lnTo>
                    <a:pt x="2233" y="993"/>
                  </a:lnTo>
                  <a:lnTo>
                    <a:pt x="2252" y="1002"/>
                  </a:lnTo>
                  <a:lnTo>
                    <a:pt x="2273" y="1018"/>
                  </a:lnTo>
                  <a:lnTo>
                    <a:pt x="2295" y="1034"/>
                  </a:lnTo>
                  <a:lnTo>
                    <a:pt x="2314" y="1043"/>
                  </a:lnTo>
                  <a:lnTo>
                    <a:pt x="2336" y="1046"/>
                  </a:lnTo>
                  <a:lnTo>
                    <a:pt x="2364" y="1043"/>
                  </a:lnTo>
                  <a:lnTo>
                    <a:pt x="2389" y="1037"/>
                  </a:lnTo>
                  <a:lnTo>
                    <a:pt x="2411" y="1027"/>
                  </a:lnTo>
                  <a:lnTo>
                    <a:pt x="2417" y="1024"/>
                  </a:lnTo>
                  <a:lnTo>
                    <a:pt x="2420" y="1015"/>
                  </a:lnTo>
                  <a:lnTo>
                    <a:pt x="2426" y="1009"/>
                  </a:lnTo>
                  <a:lnTo>
                    <a:pt x="2430" y="999"/>
                  </a:lnTo>
                  <a:lnTo>
                    <a:pt x="2436" y="993"/>
                  </a:lnTo>
                  <a:lnTo>
                    <a:pt x="2442" y="987"/>
                  </a:lnTo>
                  <a:lnTo>
                    <a:pt x="2458" y="984"/>
                  </a:lnTo>
                  <a:lnTo>
                    <a:pt x="2479" y="984"/>
                  </a:lnTo>
                  <a:lnTo>
                    <a:pt x="2501" y="987"/>
                  </a:lnTo>
                  <a:lnTo>
                    <a:pt x="2517" y="987"/>
                  </a:lnTo>
                  <a:lnTo>
                    <a:pt x="2536" y="990"/>
                  </a:lnTo>
                  <a:lnTo>
                    <a:pt x="2558" y="996"/>
                  </a:lnTo>
                  <a:lnTo>
                    <a:pt x="2579" y="999"/>
                  </a:lnTo>
                  <a:lnTo>
                    <a:pt x="2598" y="996"/>
                  </a:lnTo>
                  <a:lnTo>
                    <a:pt x="2601" y="993"/>
                  </a:lnTo>
                  <a:lnTo>
                    <a:pt x="2604" y="984"/>
                  </a:lnTo>
                  <a:lnTo>
                    <a:pt x="2611" y="977"/>
                  </a:lnTo>
                  <a:lnTo>
                    <a:pt x="2614" y="971"/>
                  </a:lnTo>
                  <a:lnTo>
                    <a:pt x="2617" y="968"/>
                  </a:lnTo>
                  <a:lnTo>
                    <a:pt x="2636" y="965"/>
                  </a:lnTo>
                  <a:lnTo>
                    <a:pt x="2657" y="965"/>
                  </a:lnTo>
                  <a:lnTo>
                    <a:pt x="2682" y="968"/>
                  </a:lnTo>
                  <a:lnTo>
                    <a:pt x="2701" y="968"/>
                  </a:lnTo>
                  <a:lnTo>
                    <a:pt x="2711" y="965"/>
                  </a:lnTo>
                  <a:lnTo>
                    <a:pt x="2720" y="962"/>
                  </a:lnTo>
                  <a:lnTo>
                    <a:pt x="2729" y="959"/>
                  </a:lnTo>
                  <a:lnTo>
                    <a:pt x="2739" y="956"/>
                  </a:lnTo>
                  <a:lnTo>
                    <a:pt x="2742" y="949"/>
                  </a:lnTo>
                  <a:lnTo>
                    <a:pt x="2745" y="934"/>
                  </a:lnTo>
                  <a:lnTo>
                    <a:pt x="2745" y="912"/>
                  </a:lnTo>
                  <a:lnTo>
                    <a:pt x="2742" y="893"/>
                  </a:lnTo>
                  <a:lnTo>
                    <a:pt x="2742" y="874"/>
                  </a:lnTo>
                  <a:lnTo>
                    <a:pt x="2748" y="865"/>
                  </a:lnTo>
                  <a:lnTo>
                    <a:pt x="2754" y="856"/>
                  </a:lnTo>
                  <a:lnTo>
                    <a:pt x="2761" y="843"/>
                  </a:lnTo>
                  <a:lnTo>
                    <a:pt x="2770" y="834"/>
                  </a:lnTo>
                  <a:lnTo>
                    <a:pt x="2779" y="831"/>
                  </a:lnTo>
                  <a:lnTo>
                    <a:pt x="2801" y="824"/>
                  </a:lnTo>
                  <a:lnTo>
                    <a:pt x="2826" y="824"/>
                  </a:lnTo>
                  <a:lnTo>
                    <a:pt x="2854" y="824"/>
                  </a:lnTo>
                  <a:lnTo>
                    <a:pt x="2879" y="831"/>
                  </a:lnTo>
                  <a:lnTo>
                    <a:pt x="2901" y="837"/>
                  </a:lnTo>
                  <a:lnTo>
                    <a:pt x="2926" y="853"/>
                  </a:lnTo>
                  <a:lnTo>
                    <a:pt x="2951" y="865"/>
                  </a:lnTo>
                  <a:lnTo>
                    <a:pt x="2973" y="874"/>
                  </a:lnTo>
                  <a:lnTo>
                    <a:pt x="3001" y="878"/>
                  </a:lnTo>
                  <a:lnTo>
                    <a:pt x="3032" y="874"/>
                  </a:lnTo>
                  <a:lnTo>
                    <a:pt x="3067" y="871"/>
                  </a:lnTo>
                  <a:lnTo>
                    <a:pt x="3092" y="874"/>
                  </a:lnTo>
                  <a:lnTo>
                    <a:pt x="3123" y="890"/>
                  </a:lnTo>
                  <a:lnTo>
                    <a:pt x="3154" y="918"/>
                  </a:lnTo>
                  <a:lnTo>
                    <a:pt x="3185" y="946"/>
                  </a:lnTo>
                  <a:lnTo>
                    <a:pt x="3204" y="971"/>
                  </a:lnTo>
                  <a:lnTo>
                    <a:pt x="3213" y="996"/>
                  </a:lnTo>
                  <a:lnTo>
                    <a:pt x="3220" y="1024"/>
                  </a:lnTo>
                  <a:lnTo>
                    <a:pt x="3216" y="1049"/>
                  </a:lnTo>
                  <a:lnTo>
                    <a:pt x="3213" y="1056"/>
                  </a:lnTo>
                  <a:lnTo>
                    <a:pt x="3207" y="1062"/>
                  </a:lnTo>
                  <a:lnTo>
                    <a:pt x="3198" y="1071"/>
                  </a:lnTo>
                  <a:lnTo>
                    <a:pt x="3191" y="1077"/>
                  </a:lnTo>
                  <a:lnTo>
                    <a:pt x="3188" y="1084"/>
                  </a:lnTo>
                  <a:lnTo>
                    <a:pt x="3185" y="1093"/>
                  </a:lnTo>
                  <a:lnTo>
                    <a:pt x="3188" y="1102"/>
                  </a:lnTo>
                  <a:lnTo>
                    <a:pt x="3188" y="1112"/>
                  </a:lnTo>
                  <a:lnTo>
                    <a:pt x="3195" y="1121"/>
                  </a:lnTo>
                  <a:lnTo>
                    <a:pt x="3198" y="1124"/>
                  </a:lnTo>
                  <a:lnTo>
                    <a:pt x="3210" y="1130"/>
                  </a:lnTo>
                  <a:lnTo>
                    <a:pt x="3229" y="1134"/>
                  </a:lnTo>
                  <a:lnTo>
                    <a:pt x="3248" y="1130"/>
                  </a:lnTo>
                  <a:lnTo>
                    <a:pt x="3260" y="1124"/>
                  </a:lnTo>
                  <a:lnTo>
                    <a:pt x="3263" y="1121"/>
                  </a:lnTo>
                  <a:lnTo>
                    <a:pt x="3263" y="1118"/>
                  </a:lnTo>
                  <a:lnTo>
                    <a:pt x="3260" y="1112"/>
                  </a:lnTo>
                  <a:lnTo>
                    <a:pt x="3260" y="1105"/>
                  </a:lnTo>
                  <a:lnTo>
                    <a:pt x="3260" y="1102"/>
                  </a:lnTo>
                  <a:lnTo>
                    <a:pt x="3266" y="1099"/>
                  </a:lnTo>
                  <a:lnTo>
                    <a:pt x="3273" y="1099"/>
                  </a:lnTo>
                  <a:lnTo>
                    <a:pt x="3282" y="1099"/>
                  </a:lnTo>
                  <a:lnTo>
                    <a:pt x="3288" y="1099"/>
                  </a:lnTo>
                  <a:lnTo>
                    <a:pt x="3294" y="1102"/>
                  </a:lnTo>
                  <a:lnTo>
                    <a:pt x="3301" y="1109"/>
                  </a:lnTo>
                  <a:lnTo>
                    <a:pt x="3304" y="1118"/>
                  </a:lnTo>
                  <a:lnTo>
                    <a:pt x="3307" y="1127"/>
                  </a:lnTo>
                  <a:lnTo>
                    <a:pt x="3310" y="1137"/>
                  </a:lnTo>
                  <a:lnTo>
                    <a:pt x="3313" y="1146"/>
                  </a:lnTo>
                  <a:lnTo>
                    <a:pt x="3316" y="1152"/>
                  </a:lnTo>
                  <a:lnTo>
                    <a:pt x="3335" y="1159"/>
                  </a:lnTo>
                  <a:lnTo>
                    <a:pt x="3357" y="1162"/>
                  </a:lnTo>
                  <a:lnTo>
                    <a:pt x="3379" y="1168"/>
                  </a:lnTo>
                  <a:lnTo>
                    <a:pt x="3394" y="1177"/>
                  </a:lnTo>
                  <a:lnTo>
                    <a:pt x="3401" y="1196"/>
                  </a:lnTo>
                  <a:lnTo>
                    <a:pt x="3404" y="1224"/>
                  </a:lnTo>
                  <a:lnTo>
                    <a:pt x="3407" y="1252"/>
                  </a:lnTo>
                  <a:lnTo>
                    <a:pt x="3404" y="1274"/>
                  </a:lnTo>
                  <a:lnTo>
                    <a:pt x="3404" y="1287"/>
                  </a:lnTo>
                  <a:lnTo>
                    <a:pt x="3401" y="1296"/>
                  </a:lnTo>
                  <a:lnTo>
                    <a:pt x="3394" y="1312"/>
                  </a:lnTo>
                  <a:lnTo>
                    <a:pt x="3388" y="1330"/>
                  </a:lnTo>
                  <a:lnTo>
                    <a:pt x="3382" y="1343"/>
                  </a:lnTo>
                  <a:lnTo>
                    <a:pt x="3373" y="1365"/>
                  </a:lnTo>
                  <a:lnTo>
                    <a:pt x="3366" y="1390"/>
                  </a:lnTo>
                  <a:lnTo>
                    <a:pt x="3363" y="1408"/>
                  </a:lnTo>
                  <a:lnTo>
                    <a:pt x="3373" y="1427"/>
                  </a:lnTo>
                  <a:lnTo>
                    <a:pt x="3385" y="1449"/>
                  </a:lnTo>
                  <a:lnTo>
                    <a:pt x="3391" y="1465"/>
                  </a:lnTo>
                  <a:lnTo>
                    <a:pt x="3388" y="1483"/>
                  </a:lnTo>
                  <a:lnTo>
                    <a:pt x="3382" y="1502"/>
                  </a:lnTo>
                  <a:lnTo>
                    <a:pt x="3379" y="1521"/>
                  </a:lnTo>
                  <a:lnTo>
                    <a:pt x="3376" y="1533"/>
                  </a:lnTo>
                  <a:lnTo>
                    <a:pt x="3376" y="1555"/>
                  </a:lnTo>
                  <a:lnTo>
                    <a:pt x="3376" y="1571"/>
                  </a:lnTo>
                  <a:lnTo>
                    <a:pt x="3379" y="1586"/>
                  </a:lnTo>
                  <a:lnTo>
                    <a:pt x="3394" y="1599"/>
                  </a:lnTo>
                  <a:lnTo>
                    <a:pt x="3416" y="1605"/>
                  </a:lnTo>
                  <a:lnTo>
                    <a:pt x="3438" y="1611"/>
                  </a:lnTo>
                  <a:lnTo>
                    <a:pt x="3457" y="1608"/>
                  </a:lnTo>
                  <a:lnTo>
                    <a:pt x="3463" y="1605"/>
                  </a:lnTo>
                  <a:lnTo>
                    <a:pt x="3466" y="1599"/>
                  </a:lnTo>
                  <a:lnTo>
                    <a:pt x="3469" y="1589"/>
                  </a:lnTo>
                  <a:lnTo>
                    <a:pt x="3472" y="1580"/>
                  </a:lnTo>
                  <a:lnTo>
                    <a:pt x="3476" y="1574"/>
                  </a:lnTo>
                  <a:lnTo>
                    <a:pt x="3479" y="1568"/>
                  </a:lnTo>
                  <a:lnTo>
                    <a:pt x="3485" y="1565"/>
                  </a:lnTo>
                  <a:lnTo>
                    <a:pt x="3491" y="1558"/>
                  </a:lnTo>
                  <a:lnTo>
                    <a:pt x="3497" y="1555"/>
                  </a:lnTo>
                  <a:lnTo>
                    <a:pt x="3507" y="1552"/>
                  </a:lnTo>
                  <a:lnTo>
                    <a:pt x="3513" y="1549"/>
                  </a:lnTo>
                  <a:lnTo>
                    <a:pt x="3519" y="1552"/>
                  </a:lnTo>
                  <a:lnTo>
                    <a:pt x="3529" y="1555"/>
                  </a:lnTo>
                  <a:lnTo>
                    <a:pt x="3535" y="1558"/>
                  </a:lnTo>
                  <a:lnTo>
                    <a:pt x="3544" y="1561"/>
                  </a:lnTo>
                  <a:lnTo>
                    <a:pt x="3547" y="1568"/>
                  </a:lnTo>
                  <a:lnTo>
                    <a:pt x="3551" y="1583"/>
                  </a:lnTo>
                  <a:lnTo>
                    <a:pt x="3547" y="1605"/>
                  </a:lnTo>
                  <a:lnTo>
                    <a:pt x="3544" y="1627"/>
                  </a:lnTo>
                  <a:lnTo>
                    <a:pt x="3547" y="1646"/>
                  </a:lnTo>
                  <a:lnTo>
                    <a:pt x="3554" y="1652"/>
                  </a:lnTo>
                  <a:lnTo>
                    <a:pt x="3560" y="1661"/>
                  </a:lnTo>
                  <a:lnTo>
                    <a:pt x="3566" y="1668"/>
                  </a:lnTo>
                  <a:lnTo>
                    <a:pt x="3576" y="1677"/>
                  </a:lnTo>
                  <a:lnTo>
                    <a:pt x="3585" y="1683"/>
                  </a:lnTo>
                  <a:lnTo>
                    <a:pt x="3594" y="1686"/>
                  </a:lnTo>
                  <a:lnTo>
                    <a:pt x="3622" y="1686"/>
                  </a:lnTo>
                  <a:lnTo>
                    <a:pt x="3654" y="1683"/>
                  </a:lnTo>
                  <a:lnTo>
                    <a:pt x="3688" y="1674"/>
                  </a:lnTo>
                  <a:lnTo>
                    <a:pt x="3710" y="1661"/>
                  </a:lnTo>
                  <a:lnTo>
                    <a:pt x="3713" y="1655"/>
                  </a:lnTo>
                  <a:lnTo>
                    <a:pt x="3716" y="1649"/>
                  </a:lnTo>
                  <a:lnTo>
                    <a:pt x="3719" y="1643"/>
                  </a:lnTo>
                  <a:lnTo>
                    <a:pt x="3719" y="1636"/>
                  </a:lnTo>
                  <a:lnTo>
                    <a:pt x="3725" y="1633"/>
                  </a:lnTo>
                  <a:lnTo>
                    <a:pt x="3741" y="1627"/>
                  </a:lnTo>
                  <a:lnTo>
                    <a:pt x="3763" y="1627"/>
                  </a:lnTo>
                  <a:lnTo>
                    <a:pt x="3782" y="1633"/>
                  </a:lnTo>
                  <a:lnTo>
                    <a:pt x="3785" y="1646"/>
                  </a:lnTo>
                  <a:lnTo>
                    <a:pt x="3788" y="1661"/>
                  </a:lnTo>
                  <a:lnTo>
                    <a:pt x="3788" y="1680"/>
                  </a:lnTo>
                  <a:lnTo>
                    <a:pt x="3794" y="1696"/>
                  </a:lnTo>
                  <a:lnTo>
                    <a:pt x="3800" y="1702"/>
                  </a:lnTo>
                  <a:lnTo>
                    <a:pt x="3810" y="1705"/>
                  </a:lnTo>
                  <a:lnTo>
                    <a:pt x="3822" y="1711"/>
                  </a:lnTo>
                  <a:lnTo>
                    <a:pt x="3832" y="1718"/>
                  </a:lnTo>
                  <a:lnTo>
                    <a:pt x="3838" y="1721"/>
                  </a:lnTo>
                  <a:lnTo>
                    <a:pt x="3850" y="1736"/>
                  </a:lnTo>
                  <a:lnTo>
                    <a:pt x="3860" y="1758"/>
                  </a:lnTo>
                  <a:lnTo>
                    <a:pt x="3869" y="1780"/>
                  </a:lnTo>
                  <a:lnTo>
                    <a:pt x="3882" y="1792"/>
                  </a:lnTo>
                  <a:lnTo>
                    <a:pt x="3900" y="1799"/>
                  </a:lnTo>
                  <a:lnTo>
                    <a:pt x="3919" y="1799"/>
                  </a:lnTo>
                  <a:lnTo>
                    <a:pt x="3941" y="1796"/>
                  </a:lnTo>
                  <a:lnTo>
                    <a:pt x="3960" y="1792"/>
                  </a:lnTo>
                  <a:lnTo>
                    <a:pt x="3975" y="1786"/>
                  </a:lnTo>
                  <a:lnTo>
                    <a:pt x="3994" y="1777"/>
                  </a:lnTo>
                  <a:lnTo>
                    <a:pt x="4013" y="1771"/>
                  </a:lnTo>
                  <a:lnTo>
                    <a:pt x="4019" y="1774"/>
                  </a:lnTo>
                  <a:lnTo>
                    <a:pt x="4025" y="1777"/>
                  </a:lnTo>
                  <a:lnTo>
                    <a:pt x="4035" y="1783"/>
                  </a:lnTo>
                  <a:lnTo>
                    <a:pt x="4041" y="1786"/>
                  </a:lnTo>
                  <a:lnTo>
                    <a:pt x="4047" y="1792"/>
                  </a:lnTo>
                  <a:lnTo>
                    <a:pt x="4053" y="1792"/>
                  </a:lnTo>
                  <a:lnTo>
                    <a:pt x="4063" y="1792"/>
                  </a:lnTo>
                  <a:lnTo>
                    <a:pt x="4072" y="1789"/>
                  </a:lnTo>
                  <a:lnTo>
                    <a:pt x="4085" y="1783"/>
                  </a:lnTo>
                  <a:lnTo>
                    <a:pt x="4088" y="1796"/>
                  </a:lnTo>
                  <a:lnTo>
                    <a:pt x="4094" y="1802"/>
                  </a:lnTo>
                  <a:lnTo>
                    <a:pt x="4100" y="1805"/>
                  </a:lnTo>
                  <a:lnTo>
                    <a:pt x="4110" y="1808"/>
                  </a:lnTo>
                  <a:lnTo>
                    <a:pt x="4119" y="1811"/>
                  </a:lnTo>
                  <a:lnTo>
                    <a:pt x="4128" y="1814"/>
                  </a:lnTo>
                  <a:lnTo>
                    <a:pt x="4138" y="1811"/>
                  </a:lnTo>
                  <a:lnTo>
                    <a:pt x="4144" y="1808"/>
                  </a:lnTo>
                  <a:lnTo>
                    <a:pt x="4150" y="1802"/>
                  </a:lnTo>
                  <a:lnTo>
                    <a:pt x="4153" y="1792"/>
                  </a:lnTo>
                  <a:lnTo>
                    <a:pt x="4159" y="1786"/>
                  </a:lnTo>
                  <a:lnTo>
                    <a:pt x="4163" y="1777"/>
                  </a:lnTo>
                  <a:lnTo>
                    <a:pt x="4163" y="1774"/>
                  </a:lnTo>
                  <a:lnTo>
                    <a:pt x="4163" y="1764"/>
                  </a:lnTo>
                  <a:lnTo>
                    <a:pt x="4159" y="1758"/>
                  </a:lnTo>
                  <a:lnTo>
                    <a:pt x="4159" y="1752"/>
                  </a:lnTo>
                  <a:lnTo>
                    <a:pt x="4159" y="1746"/>
                  </a:lnTo>
                  <a:lnTo>
                    <a:pt x="4163" y="1739"/>
                  </a:lnTo>
                  <a:lnTo>
                    <a:pt x="4169" y="1736"/>
                  </a:lnTo>
                  <a:lnTo>
                    <a:pt x="4175" y="1733"/>
                  </a:lnTo>
                  <a:lnTo>
                    <a:pt x="4184" y="1733"/>
                  </a:lnTo>
                  <a:lnTo>
                    <a:pt x="4194" y="1733"/>
                  </a:lnTo>
                  <a:lnTo>
                    <a:pt x="4203" y="1736"/>
                  </a:lnTo>
                  <a:lnTo>
                    <a:pt x="4209" y="1739"/>
                  </a:lnTo>
                  <a:lnTo>
                    <a:pt x="4219" y="1755"/>
                  </a:lnTo>
                  <a:lnTo>
                    <a:pt x="4222" y="1777"/>
                  </a:lnTo>
                  <a:lnTo>
                    <a:pt x="4225" y="1802"/>
                  </a:lnTo>
                  <a:lnTo>
                    <a:pt x="4228" y="1821"/>
                  </a:lnTo>
                  <a:lnTo>
                    <a:pt x="4234" y="1827"/>
                  </a:lnTo>
                  <a:lnTo>
                    <a:pt x="4241" y="1833"/>
                  </a:lnTo>
                  <a:lnTo>
                    <a:pt x="4247" y="1839"/>
                  </a:lnTo>
                  <a:lnTo>
                    <a:pt x="4253" y="1846"/>
                  </a:lnTo>
                  <a:lnTo>
                    <a:pt x="4256" y="1852"/>
                  </a:lnTo>
                  <a:lnTo>
                    <a:pt x="4263" y="1877"/>
                  </a:lnTo>
                  <a:lnTo>
                    <a:pt x="4263" y="1908"/>
                  </a:lnTo>
                  <a:lnTo>
                    <a:pt x="4263" y="1933"/>
                  </a:lnTo>
                  <a:lnTo>
                    <a:pt x="4253" y="1955"/>
                  </a:lnTo>
                  <a:lnTo>
                    <a:pt x="4241" y="1977"/>
                  </a:lnTo>
                  <a:lnTo>
                    <a:pt x="4228" y="1995"/>
                  </a:lnTo>
                  <a:lnTo>
                    <a:pt x="4209" y="2008"/>
                  </a:lnTo>
                  <a:lnTo>
                    <a:pt x="4188" y="2024"/>
                  </a:lnTo>
                  <a:lnTo>
                    <a:pt x="4172" y="2039"/>
                  </a:lnTo>
                  <a:lnTo>
                    <a:pt x="4166" y="2067"/>
                  </a:lnTo>
                  <a:lnTo>
                    <a:pt x="4163" y="2098"/>
                  </a:lnTo>
                  <a:lnTo>
                    <a:pt x="4163" y="2133"/>
                  </a:lnTo>
                  <a:lnTo>
                    <a:pt x="4163" y="2161"/>
                  </a:lnTo>
                  <a:lnTo>
                    <a:pt x="4166" y="2180"/>
                  </a:lnTo>
                  <a:lnTo>
                    <a:pt x="4169" y="2202"/>
                  </a:lnTo>
                  <a:lnTo>
                    <a:pt x="4175" y="2217"/>
                  </a:lnTo>
                  <a:lnTo>
                    <a:pt x="4188" y="2223"/>
                  </a:lnTo>
                  <a:lnTo>
                    <a:pt x="4203" y="2230"/>
                  </a:lnTo>
                  <a:lnTo>
                    <a:pt x="4222" y="2233"/>
                  </a:lnTo>
                  <a:lnTo>
                    <a:pt x="4234" y="2239"/>
                  </a:lnTo>
                  <a:lnTo>
                    <a:pt x="4253" y="2264"/>
                  </a:lnTo>
                  <a:lnTo>
                    <a:pt x="4269" y="2298"/>
                  </a:lnTo>
                  <a:lnTo>
                    <a:pt x="4278" y="2326"/>
                  </a:lnTo>
                  <a:lnTo>
                    <a:pt x="4281" y="2348"/>
                  </a:lnTo>
                  <a:lnTo>
                    <a:pt x="4281" y="2373"/>
                  </a:lnTo>
                  <a:lnTo>
                    <a:pt x="4281" y="2398"/>
                  </a:lnTo>
                  <a:lnTo>
                    <a:pt x="4284" y="2420"/>
                  </a:lnTo>
                  <a:lnTo>
                    <a:pt x="4288" y="2429"/>
                  </a:lnTo>
                  <a:lnTo>
                    <a:pt x="4297" y="2439"/>
                  </a:lnTo>
                  <a:lnTo>
                    <a:pt x="4303" y="2451"/>
                  </a:lnTo>
                  <a:lnTo>
                    <a:pt x="4309" y="2461"/>
                  </a:lnTo>
                  <a:lnTo>
                    <a:pt x="4316" y="2470"/>
                  </a:lnTo>
                  <a:lnTo>
                    <a:pt x="4319" y="2495"/>
                  </a:lnTo>
                  <a:lnTo>
                    <a:pt x="4319" y="2526"/>
                  </a:lnTo>
                  <a:lnTo>
                    <a:pt x="4316" y="2554"/>
                  </a:lnTo>
                  <a:lnTo>
                    <a:pt x="4309" y="2573"/>
                  </a:lnTo>
                  <a:lnTo>
                    <a:pt x="4294" y="2592"/>
                  </a:lnTo>
                  <a:lnTo>
                    <a:pt x="4281" y="2611"/>
                  </a:lnTo>
                  <a:lnTo>
                    <a:pt x="4272" y="2629"/>
                  </a:lnTo>
                  <a:lnTo>
                    <a:pt x="4269" y="2657"/>
                  </a:lnTo>
                  <a:lnTo>
                    <a:pt x="4269" y="2695"/>
                  </a:lnTo>
                  <a:lnTo>
                    <a:pt x="4272" y="2732"/>
                  </a:lnTo>
                  <a:lnTo>
                    <a:pt x="4269" y="2760"/>
                  </a:lnTo>
                  <a:lnTo>
                    <a:pt x="4256" y="2785"/>
                  </a:lnTo>
                  <a:lnTo>
                    <a:pt x="4241" y="2814"/>
                  </a:lnTo>
                  <a:lnTo>
                    <a:pt x="4219" y="2839"/>
                  </a:lnTo>
                  <a:lnTo>
                    <a:pt x="4203" y="2860"/>
                  </a:lnTo>
                  <a:lnTo>
                    <a:pt x="4184" y="2870"/>
                  </a:lnTo>
                  <a:lnTo>
                    <a:pt x="4166" y="2882"/>
                  </a:lnTo>
                  <a:lnTo>
                    <a:pt x="4150" y="2895"/>
                  </a:lnTo>
                  <a:lnTo>
                    <a:pt x="4141" y="2920"/>
                  </a:lnTo>
                  <a:lnTo>
                    <a:pt x="4134" y="2954"/>
                  </a:lnTo>
                  <a:lnTo>
                    <a:pt x="4128" y="2985"/>
                  </a:lnTo>
                  <a:lnTo>
                    <a:pt x="4119" y="3010"/>
                  </a:lnTo>
                  <a:lnTo>
                    <a:pt x="4103" y="3029"/>
                  </a:lnTo>
                  <a:lnTo>
                    <a:pt x="4081" y="3045"/>
                  </a:lnTo>
                  <a:lnTo>
                    <a:pt x="4063" y="3057"/>
                  </a:lnTo>
                  <a:lnTo>
                    <a:pt x="4050" y="3057"/>
                  </a:lnTo>
                  <a:lnTo>
                    <a:pt x="4035" y="3054"/>
                  </a:lnTo>
                  <a:lnTo>
                    <a:pt x="4022" y="3054"/>
                  </a:lnTo>
                  <a:lnTo>
                    <a:pt x="4010" y="3057"/>
                  </a:lnTo>
                  <a:lnTo>
                    <a:pt x="4000" y="3073"/>
                  </a:lnTo>
                  <a:lnTo>
                    <a:pt x="3994" y="3101"/>
                  </a:lnTo>
                  <a:lnTo>
                    <a:pt x="3994" y="3123"/>
                  </a:lnTo>
                  <a:lnTo>
                    <a:pt x="3997" y="3129"/>
                  </a:lnTo>
                  <a:lnTo>
                    <a:pt x="4000" y="3135"/>
                  </a:lnTo>
                  <a:lnTo>
                    <a:pt x="4006" y="3141"/>
                  </a:lnTo>
                  <a:lnTo>
                    <a:pt x="4013" y="3148"/>
                  </a:lnTo>
                  <a:lnTo>
                    <a:pt x="4016" y="3157"/>
                  </a:lnTo>
                  <a:lnTo>
                    <a:pt x="4019" y="3160"/>
                  </a:lnTo>
                  <a:lnTo>
                    <a:pt x="4016" y="3170"/>
                  </a:lnTo>
                  <a:lnTo>
                    <a:pt x="4013" y="3179"/>
                  </a:lnTo>
                  <a:lnTo>
                    <a:pt x="4006" y="3188"/>
                  </a:lnTo>
                  <a:lnTo>
                    <a:pt x="4000" y="3198"/>
                  </a:lnTo>
                  <a:lnTo>
                    <a:pt x="3994" y="3204"/>
                  </a:lnTo>
                  <a:lnTo>
                    <a:pt x="3988" y="3210"/>
                  </a:lnTo>
                  <a:lnTo>
                    <a:pt x="3975" y="3210"/>
                  </a:lnTo>
                  <a:lnTo>
                    <a:pt x="3960" y="3210"/>
                  </a:lnTo>
                  <a:lnTo>
                    <a:pt x="3941" y="3207"/>
                  </a:lnTo>
                  <a:lnTo>
                    <a:pt x="3928" y="3210"/>
                  </a:lnTo>
                  <a:lnTo>
                    <a:pt x="3922" y="3216"/>
                  </a:lnTo>
                  <a:lnTo>
                    <a:pt x="3916" y="3226"/>
                  </a:lnTo>
                  <a:lnTo>
                    <a:pt x="3907" y="3235"/>
                  </a:lnTo>
                  <a:lnTo>
                    <a:pt x="3903" y="3248"/>
                  </a:lnTo>
                  <a:lnTo>
                    <a:pt x="3900" y="3257"/>
                  </a:lnTo>
                  <a:lnTo>
                    <a:pt x="3894" y="3276"/>
                  </a:lnTo>
                  <a:lnTo>
                    <a:pt x="3891" y="3298"/>
                  </a:lnTo>
                  <a:lnTo>
                    <a:pt x="3894" y="3319"/>
                  </a:lnTo>
                  <a:lnTo>
                    <a:pt x="3900" y="3338"/>
                  </a:lnTo>
                  <a:lnTo>
                    <a:pt x="3916" y="3351"/>
                  </a:lnTo>
                  <a:lnTo>
                    <a:pt x="3941" y="3360"/>
                  </a:lnTo>
                  <a:lnTo>
                    <a:pt x="3972" y="3366"/>
                  </a:lnTo>
                  <a:lnTo>
                    <a:pt x="3997" y="3372"/>
                  </a:lnTo>
                  <a:lnTo>
                    <a:pt x="4019" y="3382"/>
                  </a:lnTo>
                  <a:lnTo>
                    <a:pt x="4041" y="3401"/>
                  </a:lnTo>
                  <a:lnTo>
                    <a:pt x="4063" y="3429"/>
                  </a:lnTo>
                  <a:lnTo>
                    <a:pt x="4081" y="3444"/>
                  </a:lnTo>
                  <a:lnTo>
                    <a:pt x="4100" y="3451"/>
                  </a:lnTo>
                  <a:lnTo>
                    <a:pt x="4125" y="3454"/>
                  </a:lnTo>
                  <a:lnTo>
                    <a:pt x="4150" y="3454"/>
                  </a:lnTo>
                  <a:lnTo>
                    <a:pt x="4169" y="3457"/>
                  </a:lnTo>
                  <a:lnTo>
                    <a:pt x="4191" y="3463"/>
                  </a:lnTo>
                  <a:lnTo>
                    <a:pt x="4219" y="3472"/>
                  </a:lnTo>
                  <a:lnTo>
                    <a:pt x="4238" y="3485"/>
                  </a:lnTo>
                  <a:lnTo>
                    <a:pt x="4244" y="3504"/>
                  </a:lnTo>
                  <a:lnTo>
                    <a:pt x="4250" y="3529"/>
                  </a:lnTo>
                  <a:lnTo>
                    <a:pt x="4247" y="3550"/>
                  </a:lnTo>
                  <a:lnTo>
                    <a:pt x="4238" y="3569"/>
                  </a:lnTo>
                  <a:lnTo>
                    <a:pt x="4219" y="3591"/>
                  </a:lnTo>
                  <a:lnTo>
                    <a:pt x="4197" y="3610"/>
                  </a:lnTo>
                  <a:lnTo>
                    <a:pt x="4178" y="3622"/>
                  </a:lnTo>
                  <a:lnTo>
                    <a:pt x="4163" y="3622"/>
                  </a:lnTo>
                  <a:lnTo>
                    <a:pt x="4144" y="3619"/>
                  </a:lnTo>
                  <a:lnTo>
                    <a:pt x="4125" y="3616"/>
                  </a:lnTo>
                  <a:lnTo>
                    <a:pt x="4113" y="3622"/>
                  </a:lnTo>
                  <a:lnTo>
                    <a:pt x="4106" y="3635"/>
                  </a:lnTo>
                  <a:lnTo>
                    <a:pt x="4106" y="3654"/>
                  </a:lnTo>
                  <a:lnTo>
                    <a:pt x="4110" y="3675"/>
                  </a:lnTo>
                  <a:lnTo>
                    <a:pt x="4113" y="3691"/>
                  </a:lnTo>
                  <a:lnTo>
                    <a:pt x="4119" y="3707"/>
                  </a:lnTo>
                  <a:lnTo>
                    <a:pt x="4131" y="3725"/>
                  </a:lnTo>
                  <a:lnTo>
                    <a:pt x="4141" y="3741"/>
                  </a:lnTo>
                  <a:lnTo>
                    <a:pt x="4141" y="3763"/>
                  </a:lnTo>
                  <a:lnTo>
                    <a:pt x="4138" y="3785"/>
                  </a:lnTo>
                  <a:lnTo>
                    <a:pt x="4134" y="3810"/>
                  </a:lnTo>
                  <a:lnTo>
                    <a:pt x="4134" y="3828"/>
                  </a:lnTo>
                  <a:lnTo>
                    <a:pt x="4141" y="3838"/>
                  </a:lnTo>
                  <a:lnTo>
                    <a:pt x="4150" y="3844"/>
                  </a:lnTo>
                  <a:lnTo>
                    <a:pt x="4159" y="3853"/>
                  </a:lnTo>
                  <a:lnTo>
                    <a:pt x="4169" y="3860"/>
                  </a:lnTo>
                  <a:lnTo>
                    <a:pt x="4178" y="3869"/>
                  </a:lnTo>
                  <a:lnTo>
                    <a:pt x="4184" y="3875"/>
                  </a:lnTo>
                  <a:lnTo>
                    <a:pt x="4188" y="3897"/>
                  </a:lnTo>
                  <a:lnTo>
                    <a:pt x="4184" y="3925"/>
                  </a:lnTo>
                  <a:lnTo>
                    <a:pt x="4184" y="3953"/>
                  </a:lnTo>
                  <a:lnTo>
                    <a:pt x="4184" y="3975"/>
                  </a:lnTo>
                  <a:lnTo>
                    <a:pt x="4194" y="3991"/>
                  </a:lnTo>
                  <a:lnTo>
                    <a:pt x="4206" y="4009"/>
                  </a:lnTo>
                  <a:lnTo>
                    <a:pt x="4219" y="4028"/>
                  </a:lnTo>
                  <a:lnTo>
                    <a:pt x="4228" y="4047"/>
                  </a:lnTo>
                  <a:lnTo>
                    <a:pt x="4228" y="4069"/>
                  </a:lnTo>
                  <a:lnTo>
                    <a:pt x="4222" y="4097"/>
                  </a:lnTo>
                  <a:lnTo>
                    <a:pt x="4216" y="4125"/>
                  </a:lnTo>
                  <a:lnTo>
                    <a:pt x="4206" y="4144"/>
                  </a:lnTo>
                  <a:lnTo>
                    <a:pt x="4200" y="4150"/>
                  </a:lnTo>
                  <a:lnTo>
                    <a:pt x="4191" y="4153"/>
                  </a:lnTo>
                  <a:lnTo>
                    <a:pt x="4181" y="4156"/>
                  </a:lnTo>
                  <a:lnTo>
                    <a:pt x="4172" y="4159"/>
                  </a:lnTo>
                  <a:lnTo>
                    <a:pt x="4163" y="4163"/>
                  </a:lnTo>
                  <a:lnTo>
                    <a:pt x="4156" y="4169"/>
                  </a:lnTo>
                  <a:lnTo>
                    <a:pt x="4141" y="4191"/>
                  </a:lnTo>
                  <a:lnTo>
                    <a:pt x="4131" y="4219"/>
                  </a:lnTo>
                  <a:lnTo>
                    <a:pt x="4125" y="4244"/>
                  </a:lnTo>
                  <a:lnTo>
                    <a:pt x="4128" y="4266"/>
                  </a:lnTo>
                  <a:lnTo>
                    <a:pt x="4134" y="4291"/>
                  </a:lnTo>
                  <a:lnTo>
                    <a:pt x="4147" y="4309"/>
                  </a:lnTo>
                  <a:lnTo>
                    <a:pt x="4153" y="4312"/>
                  </a:lnTo>
                  <a:lnTo>
                    <a:pt x="4159" y="4316"/>
                  </a:lnTo>
                  <a:lnTo>
                    <a:pt x="4169" y="4316"/>
                  </a:lnTo>
                  <a:lnTo>
                    <a:pt x="4178" y="4319"/>
                  </a:lnTo>
                  <a:lnTo>
                    <a:pt x="4188" y="4322"/>
                  </a:lnTo>
                  <a:lnTo>
                    <a:pt x="4194" y="4325"/>
                  </a:lnTo>
                  <a:lnTo>
                    <a:pt x="4209" y="4340"/>
                  </a:lnTo>
                  <a:lnTo>
                    <a:pt x="4228" y="4359"/>
                  </a:lnTo>
                  <a:lnTo>
                    <a:pt x="4238" y="4378"/>
                  </a:lnTo>
                  <a:lnTo>
                    <a:pt x="4241" y="4390"/>
                  </a:lnTo>
                  <a:lnTo>
                    <a:pt x="4244" y="4406"/>
                  </a:lnTo>
                  <a:lnTo>
                    <a:pt x="4244" y="4422"/>
                  </a:lnTo>
                  <a:lnTo>
                    <a:pt x="4238" y="4434"/>
                  </a:lnTo>
                  <a:lnTo>
                    <a:pt x="4222" y="4440"/>
                  </a:lnTo>
                  <a:lnTo>
                    <a:pt x="4197" y="4440"/>
                  </a:lnTo>
                  <a:lnTo>
                    <a:pt x="4169" y="4437"/>
                  </a:lnTo>
                  <a:lnTo>
                    <a:pt x="4144" y="4434"/>
                  </a:lnTo>
                  <a:lnTo>
                    <a:pt x="4122" y="4434"/>
                  </a:lnTo>
                  <a:lnTo>
                    <a:pt x="4100" y="4440"/>
                  </a:lnTo>
                  <a:lnTo>
                    <a:pt x="4075" y="4447"/>
                  </a:lnTo>
                  <a:lnTo>
                    <a:pt x="4060" y="4459"/>
                  </a:lnTo>
                  <a:lnTo>
                    <a:pt x="4050" y="4469"/>
                  </a:lnTo>
                  <a:lnTo>
                    <a:pt x="4044" y="4484"/>
                  </a:lnTo>
                  <a:lnTo>
                    <a:pt x="4010" y="4478"/>
                  </a:lnTo>
                  <a:lnTo>
                    <a:pt x="3981" y="4475"/>
                  </a:lnTo>
                  <a:lnTo>
                    <a:pt x="3963" y="4469"/>
                  </a:lnTo>
                  <a:lnTo>
                    <a:pt x="3938" y="4465"/>
                  </a:lnTo>
                  <a:lnTo>
                    <a:pt x="3919" y="4456"/>
                  </a:lnTo>
                  <a:lnTo>
                    <a:pt x="3900" y="4440"/>
                  </a:lnTo>
                  <a:lnTo>
                    <a:pt x="3882" y="4415"/>
                  </a:lnTo>
                  <a:lnTo>
                    <a:pt x="3863" y="4397"/>
                  </a:lnTo>
                  <a:lnTo>
                    <a:pt x="3847" y="4387"/>
                  </a:lnTo>
                  <a:lnTo>
                    <a:pt x="3828" y="4378"/>
                  </a:lnTo>
                  <a:lnTo>
                    <a:pt x="3810" y="4372"/>
                  </a:lnTo>
                  <a:lnTo>
                    <a:pt x="3788" y="4369"/>
                  </a:lnTo>
                  <a:lnTo>
                    <a:pt x="3760" y="4365"/>
                  </a:lnTo>
                  <a:lnTo>
                    <a:pt x="3735" y="4372"/>
                  </a:lnTo>
                  <a:lnTo>
                    <a:pt x="3729" y="4378"/>
                  </a:lnTo>
                  <a:lnTo>
                    <a:pt x="3719" y="4384"/>
                  </a:lnTo>
                  <a:lnTo>
                    <a:pt x="3710" y="4397"/>
                  </a:lnTo>
                  <a:lnTo>
                    <a:pt x="3700" y="4406"/>
                  </a:lnTo>
                  <a:lnTo>
                    <a:pt x="3694" y="4412"/>
                  </a:lnTo>
                  <a:lnTo>
                    <a:pt x="3675" y="4419"/>
                  </a:lnTo>
                  <a:lnTo>
                    <a:pt x="3654" y="4428"/>
                  </a:lnTo>
                  <a:lnTo>
                    <a:pt x="3635" y="4431"/>
                  </a:lnTo>
                  <a:lnTo>
                    <a:pt x="3619" y="4422"/>
                  </a:lnTo>
                  <a:lnTo>
                    <a:pt x="3597" y="4406"/>
                  </a:lnTo>
                  <a:lnTo>
                    <a:pt x="3582" y="4394"/>
                  </a:lnTo>
                  <a:lnTo>
                    <a:pt x="3563" y="4384"/>
                  </a:lnTo>
                  <a:lnTo>
                    <a:pt x="3544" y="4372"/>
                  </a:lnTo>
                  <a:lnTo>
                    <a:pt x="3522" y="4362"/>
                  </a:lnTo>
                  <a:lnTo>
                    <a:pt x="3504" y="4359"/>
                  </a:lnTo>
                  <a:lnTo>
                    <a:pt x="3494" y="4359"/>
                  </a:lnTo>
                  <a:lnTo>
                    <a:pt x="3485" y="4362"/>
                  </a:lnTo>
                  <a:lnTo>
                    <a:pt x="3472" y="4369"/>
                  </a:lnTo>
                  <a:lnTo>
                    <a:pt x="3463" y="4372"/>
                  </a:lnTo>
                  <a:lnTo>
                    <a:pt x="3454" y="4378"/>
                  </a:lnTo>
                  <a:lnTo>
                    <a:pt x="3438" y="4394"/>
                  </a:lnTo>
                  <a:lnTo>
                    <a:pt x="3419" y="4419"/>
                  </a:lnTo>
                  <a:lnTo>
                    <a:pt x="3404" y="4444"/>
                  </a:lnTo>
                  <a:lnTo>
                    <a:pt x="3391" y="4465"/>
                  </a:lnTo>
                  <a:lnTo>
                    <a:pt x="3382" y="4493"/>
                  </a:lnTo>
                  <a:lnTo>
                    <a:pt x="3376" y="4528"/>
                  </a:lnTo>
                  <a:lnTo>
                    <a:pt x="3373" y="4559"/>
                  </a:lnTo>
                  <a:lnTo>
                    <a:pt x="3376" y="4581"/>
                  </a:lnTo>
                  <a:lnTo>
                    <a:pt x="3382" y="4606"/>
                  </a:lnTo>
                  <a:lnTo>
                    <a:pt x="3391" y="4631"/>
                  </a:lnTo>
                  <a:lnTo>
                    <a:pt x="3391" y="4653"/>
                  </a:lnTo>
                  <a:lnTo>
                    <a:pt x="3382" y="4675"/>
                  </a:lnTo>
                  <a:lnTo>
                    <a:pt x="3366" y="4696"/>
                  </a:lnTo>
                  <a:lnTo>
                    <a:pt x="3348" y="4718"/>
                  </a:lnTo>
                  <a:lnTo>
                    <a:pt x="3335" y="4737"/>
                  </a:lnTo>
                  <a:lnTo>
                    <a:pt x="3319" y="4771"/>
                  </a:lnTo>
                  <a:lnTo>
                    <a:pt x="3307" y="4818"/>
                  </a:lnTo>
                  <a:lnTo>
                    <a:pt x="3291" y="4862"/>
                  </a:lnTo>
                  <a:lnTo>
                    <a:pt x="3279" y="4899"/>
                  </a:lnTo>
                  <a:lnTo>
                    <a:pt x="3273" y="4918"/>
                  </a:lnTo>
                  <a:lnTo>
                    <a:pt x="3266" y="4943"/>
                  </a:lnTo>
                  <a:lnTo>
                    <a:pt x="3257" y="4962"/>
                  </a:lnTo>
                  <a:lnTo>
                    <a:pt x="3251" y="4971"/>
                  </a:lnTo>
                  <a:lnTo>
                    <a:pt x="3245" y="4981"/>
                  </a:lnTo>
                  <a:lnTo>
                    <a:pt x="3238" y="4990"/>
                  </a:lnTo>
                  <a:lnTo>
                    <a:pt x="3232" y="4999"/>
                  </a:lnTo>
                  <a:lnTo>
                    <a:pt x="3229" y="5009"/>
                  </a:lnTo>
                  <a:lnTo>
                    <a:pt x="3232" y="5027"/>
                  </a:lnTo>
                  <a:lnTo>
                    <a:pt x="3238" y="5049"/>
                  </a:lnTo>
                  <a:lnTo>
                    <a:pt x="3241" y="5071"/>
                  </a:lnTo>
                  <a:lnTo>
                    <a:pt x="3241" y="5093"/>
                  </a:lnTo>
                  <a:lnTo>
                    <a:pt x="3238" y="5118"/>
                  </a:lnTo>
                  <a:lnTo>
                    <a:pt x="3232" y="5146"/>
                  </a:lnTo>
                  <a:lnTo>
                    <a:pt x="3223" y="5165"/>
                  </a:lnTo>
                  <a:lnTo>
                    <a:pt x="3207" y="5177"/>
                  </a:lnTo>
                  <a:lnTo>
                    <a:pt x="3185" y="5190"/>
                  </a:lnTo>
                  <a:lnTo>
                    <a:pt x="3163" y="5196"/>
                  </a:lnTo>
                  <a:lnTo>
                    <a:pt x="3145" y="5196"/>
                  </a:lnTo>
                  <a:lnTo>
                    <a:pt x="3135" y="5193"/>
                  </a:lnTo>
                  <a:lnTo>
                    <a:pt x="3126" y="5187"/>
                  </a:lnTo>
                  <a:lnTo>
                    <a:pt x="3120" y="5177"/>
                  </a:lnTo>
                  <a:lnTo>
                    <a:pt x="3113" y="5168"/>
                  </a:lnTo>
                  <a:lnTo>
                    <a:pt x="3107" y="5159"/>
                  </a:lnTo>
                  <a:lnTo>
                    <a:pt x="3098" y="5134"/>
                  </a:lnTo>
                  <a:lnTo>
                    <a:pt x="3092" y="5106"/>
                  </a:lnTo>
                  <a:lnTo>
                    <a:pt x="3088" y="5081"/>
                  </a:lnTo>
                  <a:lnTo>
                    <a:pt x="3095" y="5062"/>
                  </a:lnTo>
                  <a:lnTo>
                    <a:pt x="3104" y="5043"/>
                  </a:lnTo>
                  <a:lnTo>
                    <a:pt x="3107" y="5027"/>
                  </a:lnTo>
                  <a:lnTo>
                    <a:pt x="3098" y="5009"/>
                  </a:lnTo>
                  <a:lnTo>
                    <a:pt x="3082" y="4993"/>
                  </a:lnTo>
                  <a:lnTo>
                    <a:pt x="3063" y="4977"/>
                  </a:lnTo>
                  <a:lnTo>
                    <a:pt x="3048" y="4962"/>
                  </a:lnTo>
                  <a:lnTo>
                    <a:pt x="3042" y="4956"/>
                  </a:lnTo>
                  <a:lnTo>
                    <a:pt x="3035" y="4946"/>
                  </a:lnTo>
                  <a:lnTo>
                    <a:pt x="3026" y="4937"/>
                  </a:lnTo>
                  <a:lnTo>
                    <a:pt x="3020" y="4931"/>
                  </a:lnTo>
                  <a:lnTo>
                    <a:pt x="3004" y="4924"/>
                  </a:lnTo>
                  <a:lnTo>
                    <a:pt x="2985" y="4915"/>
                  </a:lnTo>
                  <a:lnTo>
                    <a:pt x="2967" y="4912"/>
                  </a:lnTo>
                  <a:lnTo>
                    <a:pt x="2951" y="4909"/>
                  </a:lnTo>
                  <a:lnTo>
                    <a:pt x="2935" y="4915"/>
                  </a:lnTo>
                  <a:lnTo>
                    <a:pt x="2935" y="4924"/>
                  </a:lnTo>
                  <a:lnTo>
                    <a:pt x="2939" y="4940"/>
                  </a:lnTo>
                  <a:lnTo>
                    <a:pt x="2945" y="4959"/>
                  </a:lnTo>
                  <a:lnTo>
                    <a:pt x="2948" y="4974"/>
                  </a:lnTo>
                  <a:lnTo>
                    <a:pt x="2948" y="4984"/>
                  </a:lnTo>
                  <a:lnTo>
                    <a:pt x="2932" y="4990"/>
                  </a:lnTo>
                  <a:lnTo>
                    <a:pt x="2910" y="4990"/>
                  </a:lnTo>
                  <a:lnTo>
                    <a:pt x="2885" y="4987"/>
                  </a:lnTo>
                  <a:lnTo>
                    <a:pt x="2870" y="4977"/>
                  </a:lnTo>
                  <a:lnTo>
                    <a:pt x="2867" y="4974"/>
                  </a:lnTo>
                  <a:lnTo>
                    <a:pt x="2860" y="4965"/>
                  </a:lnTo>
                  <a:lnTo>
                    <a:pt x="2857" y="4956"/>
                  </a:lnTo>
                  <a:lnTo>
                    <a:pt x="2857" y="4949"/>
                  </a:lnTo>
                  <a:lnTo>
                    <a:pt x="2851" y="4943"/>
                  </a:lnTo>
                  <a:lnTo>
                    <a:pt x="2848" y="4937"/>
                  </a:lnTo>
                  <a:lnTo>
                    <a:pt x="2842" y="4931"/>
                  </a:lnTo>
                  <a:lnTo>
                    <a:pt x="2835" y="4924"/>
                  </a:lnTo>
                  <a:lnTo>
                    <a:pt x="2829" y="4918"/>
                  </a:lnTo>
                  <a:lnTo>
                    <a:pt x="2823" y="4915"/>
                  </a:lnTo>
                  <a:lnTo>
                    <a:pt x="2817" y="4915"/>
                  </a:lnTo>
                  <a:lnTo>
                    <a:pt x="2807" y="4912"/>
                  </a:lnTo>
                  <a:lnTo>
                    <a:pt x="2798" y="4912"/>
                  </a:lnTo>
                  <a:lnTo>
                    <a:pt x="2792" y="4912"/>
                  </a:lnTo>
                  <a:lnTo>
                    <a:pt x="2785" y="4915"/>
                  </a:lnTo>
                  <a:lnTo>
                    <a:pt x="2782" y="4921"/>
                  </a:lnTo>
                  <a:lnTo>
                    <a:pt x="2779" y="4928"/>
                  </a:lnTo>
                  <a:lnTo>
                    <a:pt x="2776" y="4937"/>
                  </a:lnTo>
                  <a:lnTo>
                    <a:pt x="2776" y="4943"/>
                  </a:lnTo>
                  <a:lnTo>
                    <a:pt x="2773" y="4953"/>
                  </a:lnTo>
                  <a:lnTo>
                    <a:pt x="2770" y="4959"/>
                  </a:lnTo>
                  <a:lnTo>
                    <a:pt x="2751" y="4965"/>
                  </a:lnTo>
                  <a:lnTo>
                    <a:pt x="2729" y="4968"/>
                  </a:lnTo>
                  <a:lnTo>
                    <a:pt x="2707" y="4968"/>
                  </a:lnTo>
                  <a:lnTo>
                    <a:pt x="2692" y="4959"/>
                  </a:lnTo>
                  <a:lnTo>
                    <a:pt x="2670" y="4943"/>
                  </a:lnTo>
                  <a:lnTo>
                    <a:pt x="2654" y="4931"/>
                  </a:lnTo>
                  <a:lnTo>
                    <a:pt x="2645" y="4928"/>
                  </a:lnTo>
                  <a:lnTo>
                    <a:pt x="2639" y="4924"/>
                  </a:lnTo>
                  <a:lnTo>
                    <a:pt x="2629" y="4918"/>
                  </a:lnTo>
                  <a:lnTo>
                    <a:pt x="2620" y="4918"/>
                  </a:lnTo>
                  <a:lnTo>
                    <a:pt x="2611" y="4915"/>
                  </a:lnTo>
                  <a:lnTo>
                    <a:pt x="2604" y="4915"/>
                  </a:lnTo>
                  <a:lnTo>
                    <a:pt x="2595" y="4918"/>
                  </a:lnTo>
                  <a:lnTo>
                    <a:pt x="2586" y="4924"/>
                  </a:lnTo>
                  <a:lnTo>
                    <a:pt x="2576" y="4934"/>
                  </a:lnTo>
                  <a:lnTo>
                    <a:pt x="2570" y="4943"/>
                  </a:lnTo>
                  <a:lnTo>
                    <a:pt x="2564" y="4953"/>
                  </a:lnTo>
                  <a:lnTo>
                    <a:pt x="2564" y="4968"/>
                  </a:lnTo>
                  <a:lnTo>
                    <a:pt x="2567" y="4990"/>
                  </a:lnTo>
                  <a:lnTo>
                    <a:pt x="2564" y="5009"/>
                  </a:lnTo>
                  <a:lnTo>
                    <a:pt x="2558" y="5024"/>
                  </a:lnTo>
                  <a:lnTo>
                    <a:pt x="2542" y="5043"/>
                  </a:lnTo>
                  <a:lnTo>
                    <a:pt x="2536" y="5062"/>
                  </a:lnTo>
                  <a:lnTo>
                    <a:pt x="2533" y="5077"/>
                  </a:lnTo>
                  <a:lnTo>
                    <a:pt x="2536" y="5099"/>
                  </a:lnTo>
                  <a:lnTo>
                    <a:pt x="2539" y="5121"/>
                  </a:lnTo>
                  <a:lnTo>
                    <a:pt x="2536" y="5140"/>
                  </a:lnTo>
                  <a:lnTo>
                    <a:pt x="2523" y="5155"/>
                  </a:lnTo>
                  <a:lnTo>
                    <a:pt x="2504" y="5171"/>
                  </a:lnTo>
                  <a:lnTo>
                    <a:pt x="2483" y="5184"/>
                  </a:lnTo>
                  <a:lnTo>
                    <a:pt x="2464" y="5193"/>
                  </a:lnTo>
                  <a:lnTo>
                    <a:pt x="2439" y="5199"/>
                  </a:lnTo>
                  <a:lnTo>
                    <a:pt x="2408" y="5199"/>
                  </a:lnTo>
                  <a:lnTo>
                    <a:pt x="2373" y="5196"/>
                  </a:lnTo>
                  <a:lnTo>
                    <a:pt x="2348" y="5196"/>
                  </a:lnTo>
                  <a:lnTo>
                    <a:pt x="2317" y="5190"/>
                  </a:lnTo>
                  <a:lnTo>
                    <a:pt x="2283" y="5184"/>
                  </a:lnTo>
                  <a:lnTo>
                    <a:pt x="2252" y="5177"/>
                  </a:lnTo>
                  <a:lnTo>
                    <a:pt x="2227" y="5177"/>
                  </a:lnTo>
                  <a:lnTo>
                    <a:pt x="2198" y="5180"/>
                  </a:lnTo>
                  <a:lnTo>
                    <a:pt x="2192" y="5184"/>
                  </a:lnTo>
                  <a:lnTo>
                    <a:pt x="2183" y="5187"/>
                  </a:lnTo>
                  <a:lnTo>
                    <a:pt x="2173" y="5193"/>
                  </a:lnTo>
                  <a:lnTo>
                    <a:pt x="2164" y="5196"/>
                  </a:lnTo>
                  <a:lnTo>
                    <a:pt x="2158" y="5196"/>
                  </a:lnTo>
                  <a:lnTo>
                    <a:pt x="2136" y="5196"/>
                  </a:lnTo>
                  <a:lnTo>
                    <a:pt x="2114" y="5193"/>
                  </a:lnTo>
                  <a:lnTo>
                    <a:pt x="2095" y="5187"/>
                  </a:lnTo>
                  <a:lnTo>
                    <a:pt x="2089" y="5184"/>
                  </a:lnTo>
                  <a:lnTo>
                    <a:pt x="2083" y="5177"/>
                  </a:lnTo>
                  <a:lnTo>
                    <a:pt x="2077" y="5171"/>
                  </a:lnTo>
                  <a:lnTo>
                    <a:pt x="2070" y="5165"/>
                  </a:lnTo>
                  <a:lnTo>
                    <a:pt x="2064" y="5162"/>
                  </a:lnTo>
                  <a:lnTo>
                    <a:pt x="2055" y="5159"/>
                  </a:lnTo>
                  <a:lnTo>
                    <a:pt x="2045" y="5155"/>
                  </a:lnTo>
                  <a:lnTo>
                    <a:pt x="2033" y="5155"/>
                  </a:lnTo>
                  <a:lnTo>
                    <a:pt x="2024" y="5159"/>
                  </a:lnTo>
                  <a:lnTo>
                    <a:pt x="2014" y="5162"/>
                  </a:lnTo>
                  <a:lnTo>
                    <a:pt x="2008" y="5165"/>
                  </a:lnTo>
                  <a:lnTo>
                    <a:pt x="2002" y="5174"/>
                  </a:lnTo>
                  <a:lnTo>
                    <a:pt x="1999" y="5184"/>
                  </a:lnTo>
                  <a:lnTo>
                    <a:pt x="1992" y="5196"/>
                  </a:lnTo>
                  <a:lnTo>
                    <a:pt x="1986" y="5205"/>
                  </a:lnTo>
                  <a:lnTo>
                    <a:pt x="1980" y="5212"/>
                  </a:lnTo>
                  <a:lnTo>
                    <a:pt x="1967" y="5218"/>
                  </a:lnTo>
                  <a:lnTo>
                    <a:pt x="1949" y="5224"/>
                  </a:lnTo>
                  <a:lnTo>
                    <a:pt x="1927" y="5227"/>
                  </a:lnTo>
                  <a:lnTo>
                    <a:pt x="1914" y="5224"/>
                  </a:lnTo>
                  <a:lnTo>
                    <a:pt x="1911" y="5221"/>
                  </a:lnTo>
                  <a:lnTo>
                    <a:pt x="1908" y="5215"/>
                  </a:lnTo>
                  <a:lnTo>
                    <a:pt x="1905" y="5209"/>
                  </a:lnTo>
                  <a:lnTo>
                    <a:pt x="1905" y="5199"/>
                  </a:lnTo>
                  <a:lnTo>
                    <a:pt x="1902" y="5190"/>
                  </a:lnTo>
                  <a:lnTo>
                    <a:pt x="1902" y="5184"/>
                  </a:lnTo>
                  <a:lnTo>
                    <a:pt x="1899" y="5177"/>
                  </a:lnTo>
                  <a:lnTo>
                    <a:pt x="1880" y="5168"/>
                  </a:lnTo>
                  <a:lnTo>
                    <a:pt x="1858" y="5159"/>
                  </a:lnTo>
                  <a:lnTo>
                    <a:pt x="1839" y="5152"/>
                  </a:lnTo>
                  <a:lnTo>
                    <a:pt x="1817" y="5149"/>
                  </a:lnTo>
                  <a:lnTo>
                    <a:pt x="1792" y="5143"/>
                  </a:lnTo>
                  <a:lnTo>
                    <a:pt x="1774" y="5134"/>
                  </a:lnTo>
                  <a:lnTo>
                    <a:pt x="1761" y="5118"/>
                  </a:lnTo>
                  <a:lnTo>
                    <a:pt x="1752" y="5099"/>
                  </a:lnTo>
                  <a:lnTo>
                    <a:pt x="1743" y="5081"/>
                  </a:lnTo>
                  <a:lnTo>
                    <a:pt x="1739" y="5065"/>
                  </a:lnTo>
                  <a:lnTo>
                    <a:pt x="1736" y="5043"/>
                  </a:lnTo>
                  <a:lnTo>
                    <a:pt x="1733" y="5027"/>
                  </a:lnTo>
                  <a:lnTo>
                    <a:pt x="1727" y="5015"/>
                  </a:lnTo>
                  <a:lnTo>
                    <a:pt x="1718" y="5006"/>
                  </a:lnTo>
                  <a:lnTo>
                    <a:pt x="1708" y="4993"/>
                  </a:lnTo>
                  <a:lnTo>
                    <a:pt x="1699" y="4984"/>
                  </a:lnTo>
                  <a:lnTo>
                    <a:pt x="1727" y="4959"/>
                  </a:lnTo>
                  <a:lnTo>
                    <a:pt x="1752" y="4937"/>
                  </a:lnTo>
                  <a:lnTo>
                    <a:pt x="1777" y="4924"/>
                  </a:lnTo>
                  <a:lnTo>
                    <a:pt x="1799" y="4918"/>
                  </a:lnTo>
                  <a:lnTo>
                    <a:pt x="1824" y="4915"/>
                  </a:lnTo>
                  <a:lnTo>
                    <a:pt x="1849" y="4912"/>
                  </a:lnTo>
                  <a:lnTo>
                    <a:pt x="1871" y="4909"/>
                  </a:lnTo>
                  <a:lnTo>
                    <a:pt x="1886" y="4899"/>
                  </a:lnTo>
                  <a:lnTo>
                    <a:pt x="1905" y="4887"/>
                  </a:lnTo>
                  <a:lnTo>
                    <a:pt x="1917" y="4874"/>
                  </a:lnTo>
                  <a:lnTo>
                    <a:pt x="1924" y="4865"/>
                  </a:lnTo>
                  <a:lnTo>
                    <a:pt x="1924" y="4853"/>
                  </a:lnTo>
                  <a:lnTo>
                    <a:pt x="1914" y="4834"/>
                  </a:lnTo>
                  <a:lnTo>
                    <a:pt x="1908" y="4809"/>
                  </a:lnTo>
                  <a:lnTo>
                    <a:pt x="1899" y="4787"/>
                  </a:lnTo>
                  <a:lnTo>
                    <a:pt x="1892" y="4768"/>
                  </a:lnTo>
                  <a:lnTo>
                    <a:pt x="1889" y="4759"/>
                  </a:lnTo>
                  <a:lnTo>
                    <a:pt x="1889" y="4746"/>
                  </a:lnTo>
                  <a:lnTo>
                    <a:pt x="1889" y="4725"/>
                  </a:lnTo>
                  <a:lnTo>
                    <a:pt x="1892" y="4696"/>
                  </a:lnTo>
                  <a:lnTo>
                    <a:pt x="1892" y="4665"/>
                  </a:lnTo>
                  <a:lnTo>
                    <a:pt x="1892" y="4643"/>
                  </a:lnTo>
                  <a:lnTo>
                    <a:pt x="1892" y="4615"/>
                  </a:lnTo>
                  <a:lnTo>
                    <a:pt x="1889" y="4581"/>
                  </a:lnTo>
                  <a:lnTo>
                    <a:pt x="1886" y="4547"/>
                  </a:lnTo>
                  <a:lnTo>
                    <a:pt x="1880" y="4522"/>
                  </a:lnTo>
                  <a:lnTo>
                    <a:pt x="1864" y="4506"/>
                  </a:lnTo>
                  <a:lnTo>
                    <a:pt x="1846" y="4487"/>
                  </a:lnTo>
                  <a:lnTo>
                    <a:pt x="1824" y="4475"/>
                  </a:lnTo>
                  <a:lnTo>
                    <a:pt x="1802" y="4465"/>
                  </a:lnTo>
                  <a:lnTo>
                    <a:pt x="1783" y="4465"/>
                  </a:lnTo>
                  <a:lnTo>
                    <a:pt x="1761" y="4469"/>
                  </a:lnTo>
                  <a:lnTo>
                    <a:pt x="1739" y="4472"/>
                  </a:lnTo>
                  <a:lnTo>
                    <a:pt x="1721" y="4472"/>
                  </a:lnTo>
                  <a:lnTo>
                    <a:pt x="1711" y="4465"/>
                  </a:lnTo>
                  <a:lnTo>
                    <a:pt x="1699" y="4456"/>
                  </a:lnTo>
                  <a:lnTo>
                    <a:pt x="1677" y="4440"/>
                  </a:lnTo>
                  <a:lnTo>
                    <a:pt x="1649" y="4425"/>
                  </a:lnTo>
                  <a:lnTo>
                    <a:pt x="1618" y="4406"/>
                  </a:lnTo>
                  <a:lnTo>
                    <a:pt x="1589" y="4390"/>
                  </a:lnTo>
                  <a:lnTo>
                    <a:pt x="1568" y="4375"/>
                  </a:lnTo>
                  <a:lnTo>
                    <a:pt x="1552" y="4353"/>
                  </a:lnTo>
                  <a:lnTo>
                    <a:pt x="1540" y="4325"/>
                  </a:lnTo>
                  <a:lnTo>
                    <a:pt x="1527" y="4303"/>
                  </a:lnTo>
                  <a:lnTo>
                    <a:pt x="1521" y="4297"/>
                  </a:lnTo>
                  <a:lnTo>
                    <a:pt x="1511" y="4294"/>
                  </a:lnTo>
                  <a:lnTo>
                    <a:pt x="1502" y="4287"/>
                  </a:lnTo>
                  <a:lnTo>
                    <a:pt x="1493" y="4281"/>
                  </a:lnTo>
                  <a:lnTo>
                    <a:pt x="1486" y="4278"/>
                  </a:lnTo>
                  <a:lnTo>
                    <a:pt x="1480" y="4272"/>
                  </a:lnTo>
                  <a:lnTo>
                    <a:pt x="1477" y="4253"/>
                  </a:lnTo>
                  <a:lnTo>
                    <a:pt x="1483" y="4228"/>
                  </a:lnTo>
                  <a:lnTo>
                    <a:pt x="1490" y="4203"/>
                  </a:lnTo>
                  <a:lnTo>
                    <a:pt x="1496" y="4178"/>
                  </a:lnTo>
                  <a:lnTo>
                    <a:pt x="1496" y="4159"/>
                  </a:lnTo>
                  <a:lnTo>
                    <a:pt x="1486" y="4134"/>
                  </a:lnTo>
                  <a:lnTo>
                    <a:pt x="1474" y="4106"/>
                  </a:lnTo>
                  <a:lnTo>
                    <a:pt x="1455" y="4081"/>
                  </a:lnTo>
                  <a:lnTo>
                    <a:pt x="1440" y="4063"/>
                  </a:lnTo>
                  <a:lnTo>
                    <a:pt x="1424" y="4053"/>
                  </a:lnTo>
                  <a:lnTo>
                    <a:pt x="1402" y="4050"/>
                  </a:lnTo>
                  <a:lnTo>
                    <a:pt x="1387" y="4041"/>
                  </a:lnTo>
                  <a:lnTo>
                    <a:pt x="1374" y="4022"/>
                  </a:lnTo>
                  <a:lnTo>
                    <a:pt x="1362" y="3994"/>
                  </a:lnTo>
                  <a:lnTo>
                    <a:pt x="1352" y="3966"/>
                  </a:lnTo>
                  <a:lnTo>
                    <a:pt x="1343" y="3944"/>
                  </a:lnTo>
                  <a:lnTo>
                    <a:pt x="1327" y="3919"/>
                  </a:lnTo>
                  <a:lnTo>
                    <a:pt x="1308" y="3894"/>
                  </a:lnTo>
                  <a:lnTo>
                    <a:pt x="1290" y="3875"/>
                  </a:lnTo>
                  <a:lnTo>
                    <a:pt x="1280" y="3872"/>
                  </a:lnTo>
                  <a:lnTo>
                    <a:pt x="1271" y="3872"/>
                  </a:lnTo>
                  <a:lnTo>
                    <a:pt x="1258" y="3872"/>
                  </a:lnTo>
                  <a:lnTo>
                    <a:pt x="1249" y="3872"/>
                  </a:lnTo>
                  <a:lnTo>
                    <a:pt x="1240" y="3875"/>
                  </a:lnTo>
                  <a:lnTo>
                    <a:pt x="1234" y="3881"/>
                  </a:lnTo>
                  <a:lnTo>
                    <a:pt x="1227" y="3891"/>
                  </a:lnTo>
                  <a:lnTo>
                    <a:pt x="1221" y="3903"/>
                  </a:lnTo>
                  <a:lnTo>
                    <a:pt x="1218" y="3916"/>
                  </a:lnTo>
                  <a:lnTo>
                    <a:pt x="1215" y="3925"/>
                  </a:lnTo>
                  <a:lnTo>
                    <a:pt x="1215" y="3944"/>
                  </a:lnTo>
                  <a:lnTo>
                    <a:pt x="1218" y="3969"/>
                  </a:lnTo>
                  <a:lnTo>
                    <a:pt x="1218" y="3994"/>
                  </a:lnTo>
                  <a:lnTo>
                    <a:pt x="1215" y="4013"/>
                  </a:lnTo>
                  <a:lnTo>
                    <a:pt x="1209" y="4022"/>
                  </a:lnTo>
                  <a:lnTo>
                    <a:pt x="1199" y="4028"/>
                  </a:lnTo>
                  <a:lnTo>
                    <a:pt x="1190" y="4034"/>
                  </a:lnTo>
                  <a:lnTo>
                    <a:pt x="1180" y="4041"/>
                  </a:lnTo>
                  <a:lnTo>
                    <a:pt x="1171" y="4044"/>
                  </a:lnTo>
                  <a:lnTo>
                    <a:pt x="1159" y="4044"/>
                  </a:lnTo>
                  <a:lnTo>
                    <a:pt x="1143" y="4041"/>
                  </a:lnTo>
                  <a:lnTo>
                    <a:pt x="1127" y="4041"/>
                  </a:lnTo>
                  <a:lnTo>
                    <a:pt x="1115" y="4044"/>
                  </a:lnTo>
                  <a:lnTo>
                    <a:pt x="1112" y="4056"/>
                  </a:lnTo>
                  <a:lnTo>
                    <a:pt x="1115" y="4072"/>
                  </a:lnTo>
                  <a:lnTo>
                    <a:pt x="1118" y="4088"/>
                  </a:lnTo>
                  <a:lnTo>
                    <a:pt x="1115" y="4100"/>
                  </a:lnTo>
                  <a:lnTo>
                    <a:pt x="1099" y="4106"/>
                  </a:lnTo>
                  <a:lnTo>
                    <a:pt x="1080" y="4106"/>
                  </a:lnTo>
                  <a:lnTo>
                    <a:pt x="1062" y="4100"/>
                  </a:lnTo>
                  <a:lnTo>
                    <a:pt x="1046" y="4094"/>
                  </a:lnTo>
                  <a:lnTo>
                    <a:pt x="1037" y="4075"/>
                  </a:lnTo>
                  <a:lnTo>
                    <a:pt x="1034" y="4053"/>
                  </a:lnTo>
                  <a:lnTo>
                    <a:pt x="1027" y="4028"/>
                  </a:lnTo>
                  <a:lnTo>
                    <a:pt x="1024" y="4009"/>
                  </a:lnTo>
                  <a:lnTo>
                    <a:pt x="1009" y="3988"/>
                  </a:lnTo>
                  <a:lnTo>
                    <a:pt x="987" y="3966"/>
                  </a:lnTo>
                  <a:lnTo>
                    <a:pt x="968" y="3953"/>
                  </a:lnTo>
                  <a:lnTo>
                    <a:pt x="949" y="3953"/>
                  </a:lnTo>
                  <a:lnTo>
                    <a:pt x="927" y="3960"/>
                  </a:lnTo>
                  <a:lnTo>
                    <a:pt x="906" y="3966"/>
                  </a:lnTo>
                  <a:lnTo>
                    <a:pt x="890" y="3975"/>
                  </a:lnTo>
                  <a:lnTo>
                    <a:pt x="884" y="3981"/>
                  </a:lnTo>
                  <a:lnTo>
                    <a:pt x="878" y="3988"/>
                  </a:lnTo>
                  <a:lnTo>
                    <a:pt x="871" y="3997"/>
                  </a:lnTo>
                  <a:lnTo>
                    <a:pt x="862" y="4006"/>
                  </a:lnTo>
                  <a:lnTo>
                    <a:pt x="856" y="4016"/>
                  </a:lnTo>
                  <a:lnTo>
                    <a:pt x="849" y="4022"/>
                  </a:lnTo>
                  <a:lnTo>
                    <a:pt x="840" y="4022"/>
                  </a:lnTo>
                  <a:lnTo>
                    <a:pt x="828" y="4016"/>
                  </a:lnTo>
                  <a:lnTo>
                    <a:pt x="815" y="3997"/>
                  </a:lnTo>
                  <a:lnTo>
                    <a:pt x="803" y="3978"/>
                  </a:lnTo>
                  <a:lnTo>
                    <a:pt x="790" y="3966"/>
                  </a:lnTo>
                  <a:lnTo>
                    <a:pt x="771" y="3960"/>
                  </a:lnTo>
                  <a:lnTo>
                    <a:pt x="749" y="3956"/>
                  </a:lnTo>
                  <a:lnTo>
                    <a:pt x="728" y="3960"/>
                  </a:lnTo>
                  <a:lnTo>
                    <a:pt x="709" y="3966"/>
                  </a:lnTo>
                  <a:lnTo>
                    <a:pt x="696" y="3978"/>
                  </a:lnTo>
                  <a:lnTo>
                    <a:pt x="687" y="4000"/>
                  </a:lnTo>
                  <a:lnTo>
                    <a:pt x="675" y="4016"/>
                  </a:lnTo>
                  <a:lnTo>
                    <a:pt x="656" y="4022"/>
                  </a:lnTo>
                  <a:lnTo>
                    <a:pt x="631" y="4025"/>
                  </a:lnTo>
                  <a:lnTo>
                    <a:pt x="606" y="4022"/>
                  </a:lnTo>
                  <a:lnTo>
                    <a:pt x="587" y="4016"/>
                  </a:lnTo>
                  <a:lnTo>
                    <a:pt x="575" y="4000"/>
                  </a:lnTo>
                  <a:lnTo>
                    <a:pt x="565" y="3972"/>
                  </a:lnTo>
                  <a:lnTo>
                    <a:pt x="559" y="3947"/>
                  </a:lnTo>
                  <a:lnTo>
                    <a:pt x="547" y="3925"/>
                  </a:lnTo>
                  <a:lnTo>
                    <a:pt x="531" y="3913"/>
                  </a:lnTo>
                  <a:lnTo>
                    <a:pt x="506" y="3897"/>
                  </a:lnTo>
                  <a:lnTo>
                    <a:pt x="487" y="3888"/>
                  </a:lnTo>
                  <a:lnTo>
                    <a:pt x="478" y="3888"/>
                  </a:lnTo>
                  <a:lnTo>
                    <a:pt x="472" y="3888"/>
                  </a:lnTo>
                  <a:lnTo>
                    <a:pt x="462" y="3891"/>
                  </a:lnTo>
                  <a:lnTo>
                    <a:pt x="453" y="3891"/>
                  </a:lnTo>
                  <a:lnTo>
                    <a:pt x="447" y="3894"/>
                  </a:lnTo>
                  <a:lnTo>
                    <a:pt x="425" y="3894"/>
                  </a:lnTo>
                  <a:lnTo>
                    <a:pt x="403" y="3897"/>
                  </a:lnTo>
                  <a:lnTo>
                    <a:pt x="378" y="3897"/>
                  </a:lnTo>
                  <a:lnTo>
                    <a:pt x="362" y="3894"/>
                  </a:lnTo>
                  <a:lnTo>
                    <a:pt x="350" y="3878"/>
                  </a:lnTo>
                  <a:lnTo>
                    <a:pt x="344" y="3856"/>
                  </a:lnTo>
                  <a:lnTo>
                    <a:pt x="340" y="3835"/>
                  </a:lnTo>
                  <a:lnTo>
                    <a:pt x="334" y="3813"/>
                  </a:lnTo>
                  <a:lnTo>
                    <a:pt x="331" y="3800"/>
                  </a:lnTo>
                  <a:lnTo>
                    <a:pt x="328" y="3785"/>
                  </a:lnTo>
                  <a:lnTo>
                    <a:pt x="325" y="3766"/>
                  </a:lnTo>
                  <a:lnTo>
                    <a:pt x="322" y="3753"/>
                  </a:lnTo>
                  <a:lnTo>
                    <a:pt x="322" y="3741"/>
                  </a:lnTo>
                  <a:lnTo>
                    <a:pt x="322" y="3732"/>
                  </a:lnTo>
                  <a:lnTo>
                    <a:pt x="331" y="3713"/>
                  </a:lnTo>
                  <a:lnTo>
                    <a:pt x="344" y="3694"/>
                  </a:lnTo>
                  <a:lnTo>
                    <a:pt x="356" y="3675"/>
                  </a:lnTo>
                  <a:lnTo>
                    <a:pt x="365" y="3657"/>
                  </a:lnTo>
                  <a:lnTo>
                    <a:pt x="375" y="3641"/>
                  </a:lnTo>
                  <a:lnTo>
                    <a:pt x="387" y="3616"/>
                  </a:lnTo>
                  <a:lnTo>
                    <a:pt x="394" y="3594"/>
                  </a:lnTo>
                  <a:lnTo>
                    <a:pt x="397" y="3575"/>
                  </a:lnTo>
                  <a:lnTo>
                    <a:pt x="394" y="3557"/>
                  </a:lnTo>
                  <a:lnTo>
                    <a:pt x="387" y="3538"/>
                  </a:lnTo>
                  <a:lnTo>
                    <a:pt x="378" y="3516"/>
                  </a:lnTo>
                  <a:lnTo>
                    <a:pt x="372" y="3501"/>
                  </a:lnTo>
                  <a:lnTo>
                    <a:pt x="369" y="3476"/>
                  </a:lnTo>
                  <a:lnTo>
                    <a:pt x="365" y="3447"/>
                  </a:lnTo>
                  <a:lnTo>
                    <a:pt x="369" y="3422"/>
                  </a:lnTo>
                  <a:lnTo>
                    <a:pt x="375" y="3397"/>
                  </a:lnTo>
                  <a:lnTo>
                    <a:pt x="390" y="3366"/>
                  </a:lnTo>
                  <a:lnTo>
                    <a:pt x="400" y="3341"/>
                  </a:lnTo>
                  <a:lnTo>
                    <a:pt x="406" y="3313"/>
                  </a:lnTo>
                  <a:lnTo>
                    <a:pt x="415" y="3279"/>
                  </a:lnTo>
                  <a:lnTo>
                    <a:pt x="418" y="3244"/>
                  </a:lnTo>
                  <a:lnTo>
                    <a:pt x="418" y="3216"/>
                  </a:lnTo>
                  <a:lnTo>
                    <a:pt x="412" y="3191"/>
                  </a:lnTo>
                  <a:lnTo>
                    <a:pt x="397" y="3163"/>
                  </a:lnTo>
                  <a:lnTo>
                    <a:pt x="381" y="3145"/>
                  </a:lnTo>
                  <a:lnTo>
                    <a:pt x="359" y="3126"/>
                  </a:lnTo>
                  <a:lnTo>
                    <a:pt x="331" y="3110"/>
                  </a:lnTo>
                  <a:lnTo>
                    <a:pt x="309" y="3091"/>
                  </a:lnTo>
                  <a:lnTo>
                    <a:pt x="303" y="3066"/>
                  </a:lnTo>
                  <a:lnTo>
                    <a:pt x="297" y="3035"/>
                  </a:lnTo>
                  <a:lnTo>
                    <a:pt x="297" y="3007"/>
                  </a:lnTo>
                  <a:lnTo>
                    <a:pt x="303" y="2979"/>
                  </a:lnTo>
                  <a:lnTo>
                    <a:pt x="312" y="2948"/>
                  </a:lnTo>
                  <a:lnTo>
                    <a:pt x="319" y="2920"/>
                  </a:lnTo>
                  <a:lnTo>
                    <a:pt x="319" y="2895"/>
                  </a:lnTo>
                  <a:lnTo>
                    <a:pt x="315" y="2867"/>
                  </a:lnTo>
                  <a:lnTo>
                    <a:pt x="312" y="2839"/>
                  </a:lnTo>
                  <a:lnTo>
                    <a:pt x="306" y="2814"/>
                  </a:lnTo>
                  <a:lnTo>
                    <a:pt x="300" y="2807"/>
                  </a:lnTo>
                  <a:lnTo>
                    <a:pt x="290" y="2801"/>
                  </a:lnTo>
                  <a:lnTo>
                    <a:pt x="281" y="2795"/>
                  </a:lnTo>
                  <a:lnTo>
                    <a:pt x="272" y="2789"/>
                  </a:lnTo>
                  <a:lnTo>
                    <a:pt x="262" y="2782"/>
                  </a:lnTo>
                  <a:lnTo>
                    <a:pt x="256" y="2776"/>
                  </a:lnTo>
                  <a:lnTo>
                    <a:pt x="247" y="2748"/>
                  </a:lnTo>
                  <a:lnTo>
                    <a:pt x="240" y="2714"/>
                  </a:lnTo>
                  <a:lnTo>
                    <a:pt x="237" y="2676"/>
                  </a:lnTo>
                  <a:lnTo>
                    <a:pt x="231" y="2648"/>
                  </a:lnTo>
                  <a:lnTo>
                    <a:pt x="222" y="2626"/>
                  </a:lnTo>
                  <a:lnTo>
                    <a:pt x="206" y="2604"/>
                  </a:lnTo>
                  <a:lnTo>
                    <a:pt x="191" y="2586"/>
                  </a:lnTo>
                  <a:lnTo>
                    <a:pt x="169" y="2576"/>
                  </a:lnTo>
                  <a:lnTo>
                    <a:pt x="141" y="2567"/>
                  </a:lnTo>
                  <a:lnTo>
                    <a:pt x="119" y="2554"/>
                  </a:lnTo>
                  <a:lnTo>
                    <a:pt x="103" y="2529"/>
                  </a:lnTo>
                  <a:lnTo>
                    <a:pt x="87" y="2498"/>
                  </a:lnTo>
                  <a:lnTo>
                    <a:pt x="78" y="2467"/>
                  </a:lnTo>
                  <a:lnTo>
                    <a:pt x="75" y="2445"/>
                  </a:lnTo>
                  <a:lnTo>
                    <a:pt x="75" y="2417"/>
                  </a:lnTo>
                  <a:lnTo>
                    <a:pt x="78" y="2392"/>
                  </a:lnTo>
                  <a:lnTo>
                    <a:pt x="84" y="2386"/>
                  </a:lnTo>
                  <a:lnTo>
                    <a:pt x="94" y="2376"/>
                  </a:lnTo>
                  <a:lnTo>
                    <a:pt x="103" y="2367"/>
                  </a:lnTo>
                  <a:lnTo>
                    <a:pt x="112" y="2361"/>
                  </a:lnTo>
                  <a:lnTo>
                    <a:pt x="119" y="2351"/>
                  </a:lnTo>
                  <a:lnTo>
                    <a:pt x="131" y="2333"/>
                  </a:lnTo>
                  <a:lnTo>
                    <a:pt x="147" y="2305"/>
                  </a:lnTo>
                  <a:lnTo>
                    <a:pt x="153" y="2283"/>
                  </a:lnTo>
                  <a:lnTo>
                    <a:pt x="159" y="2258"/>
                  </a:lnTo>
                  <a:lnTo>
                    <a:pt x="159" y="2230"/>
                  </a:lnTo>
                  <a:lnTo>
                    <a:pt x="156" y="2205"/>
                  </a:lnTo>
                  <a:lnTo>
                    <a:pt x="147" y="2189"/>
                  </a:lnTo>
                  <a:lnTo>
                    <a:pt x="131" y="2170"/>
                  </a:lnTo>
                  <a:lnTo>
                    <a:pt x="119" y="2152"/>
                  </a:lnTo>
                  <a:lnTo>
                    <a:pt x="119" y="2133"/>
                  </a:lnTo>
                  <a:lnTo>
                    <a:pt x="122" y="2111"/>
                  </a:lnTo>
                  <a:lnTo>
                    <a:pt x="122" y="2086"/>
                  </a:lnTo>
                  <a:lnTo>
                    <a:pt x="119" y="2070"/>
                  </a:lnTo>
                  <a:lnTo>
                    <a:pt x="116" y="2064"/>
                  </a:lnTo>
                  <a:lnTo>
                    <a:pt x="106" y="2058"/>
                  </a:lnTo>
                  <a:lnTo>
                    <a:pt x="100" y="2052"/>
                  </a:lnTo>
                  <a:lnTo>
                    <a:pt x="91" y="2045"/>
                  </a:lnTo>
                  <a:lnTo>
                    <a:pt x="84" y="2039"/>
                  </a:lnTo>
                  <a:lnTo>
                    <a:pt x="78" y="2033"/>
                  </a:lnTo>
                  <a:lnTo>
                    <a:pt x="78" y="2014"/>
                  </a:lnTo>
                  <a:lnTo>
                    <a:pt x="81" y="1995"/>
                  </a:lnTo>
                  <a:lnTo>
                    <a:pt x="87" y="1980"/>
                  </a:lnTo>
                  <a:lnTo>
                    <a:pt x="103" y="1974"/>
                  </a:lnTo>
                  <a:lnTo>
                    <a:pt x="125" y="1967"/>
                  </a:lnTo>
                  <a:lnTo>
                    <a:pt x="144" y="1964"/>
                  </a:lnTo>
                  <a:lnTo>
                    <a:pt x="162" y="1952"/>
                  </a:lnTo>
                  <a:lnTo>
                    <a:pt x="181" y="1930"/>
                  </a:lnTo>
                  <a:lnTo>
                    <a:pt x="194" y="1911"/>
                  </a:lnTo>
                  <a:lnTo>
                    <a:pt x="194" y="1896"/>
                  </a:lnTo>
                  <a:lnTo>
                    <a:pt x="191" y="1874"/>
                  </a:lnTo>
                  <a:lnTo>
                    <a:pt x="184" y="1855"/>
                  </a:lnTo>
                  <a:lnTo>
                    <a:pt x="178" y="1849"/>
                  </a:lnTo>
                  <a:lnTo>
                    <a:pt x="169" y="1839"/>
                  </a:lnTo>
                  <a:lnTo>
                    <a:pt x="159" y="1833"/>
                  </a:lnTo>
                  <a:lnTo>
                    <a:pt x="150" y="1827"/>
                  </a:lnTo>
                  <a:lnTo>
                    <a:pt x="144" y="1817"/>
                  </a:lnTo>
                  <a:lnTo>
                    <a:pt x="141" y="1802"/>
                  </a:lnTo>
                  <a:lnTo>
                    <a:pt x="144" y="1780"/>
                  </a:lnTo>
                  <a:lnTo>
                    <a:pt x="144" y="1758"/>
                  </a:lnTo>
                  <a:lnTo>
                    <a:pt x="144" y="1739"/>
                  </a:lnTo>
                  <a:lnTo>
                    <a:pt x="141" y="1718"/>
                  </a:lnTo>
                  <a:lnTo>
                    <a:pt x="137" y="1689"/>
                  </a:lnTo>
                  <a:lnTo>
                    <a:pt x="131" y="1661"/>
                  </a:lnTo>
                  <a:lnTo>
                    <a:pt x="122" y="1643"/>
                  </a:lnTo>
                  <a:lnTo>
                    <a:pt x="106" y="1630"/>
                  </a:lnTo>
                  <a:lnTo>
                    <a:pt x="84" y="1624"/>
                  </a:lnTo>
                  <a:lnTo>
                    <a:pt x="59" y="1614"/>
                  </a:lnTo>
                  <a:lnTo>
                    <a:pt x="44" y="1605"/>
                  </a:lnTo>
                  <a:lnTo>
                    <a:pt x="31" y="1589"/>
                  </a:lnTo>
                  <a:lnTo>
                    <a:pt x="16" y="1571"/>
                  </a:lnTo>
                  <a:lnTo>
                    <a:pt x="6" y="1549"/>
                  </a:lnTo>
                  <a:lnTo>
                    <a:pt x="0" y="1530"/>
                  </a:lnTo>
                  <a:lnTo>
                    <a:pt x="6" y="1505"/>
                  </a:lnTo>
                  <a:lnTo>
                    <a:pt x="16" y="1483"/>
                  </a:lnTo>
                  <a:lnTo>
                    <a:pt x="28" y="1465"/>
                  </a:lnTo>
                  <a:lnTo>
                    <a:pt x="50" y="1452"/>
                  </a:lnTo>
                  <a:lnTo>
                    <a:pt x="78" y="1446"/>
                  </a:lnTo>
                  <a:lnTo>
                    <a:pt x="100" y="1443"/>
                  </a:lnTo>
                  <a:lnTo>
                    <a:pt x="106" y="1446"/>
                  </a:lnTo>
                  <a:lnTo>
                    <a:pt x="112" y="1449"/>
                  </a:lnTo>
                  <a:lnTo>
                    <a:pt x="122" y="1452"/>
                  </a:lnTo>
                  <a:lnTo>
                    <a:pt x="128" y="1455"/>
                  </a:lnTo>
                  <a:lnTo>
                    <a:pt x="134" y="1458"/>
                  </a:lnTo>
                  <a:lnTo>
                    <a:pt x="156" y="1458"/>
                  </a:lnTo>
                  <a:lnTo>
                    <a:pt x="181" y="1452"/>
                  </a:lnTo>
                  <a:lnTo>
                    <a:pt x="203" y="1443"/>
                  </a:lnTo>
                  <a:lnTo>
                    <a:pt x="206" y="1436"/>
                  </a:lnTo>
                  <a:lnTo>
                    <a:pt x="209" y="1427"/>
                  </a:lnTo>
                  <a:lnTo>
                    <a:pt x="212" y="1418"/>
                  </a:lnTo>
                  <a:lnTo>
                    <a:pt x="216" y="1408"/>
                  </a:lnTo>
                  <a:lnTo>
                    <a:pt x="219" y="1399"/>
                  </a:lnTo>
                  <a:lnTo>
                    <a:pt x="222" y="1393"/>
                  </a:lnTo>
                  <a:lnTo>
                    <a:pt x="228" y="1387"/>
                  </a:lnTo>
                  <a:lnTo>
                    <a:pt x="237" y="1380"/>
                  </a:lnTo>
                  <a:lnTo>
                    <a:pt x="247" y="1374"/>
                  </a:lnTo>
                  <a:lnTo>
                    <a:pt x="253" y="1371"/>
                  </a:lnTo>
                  <a:lnTo>
                    <a:pt x="262" y="1355"/>
                  </a:lnTo>
                  <a:lnTo>
                    <a:pt x="272" y="1333"/>
                  </a:lnTo>
                  <a:lnTo>
                    <a:pt x="278" y="1315"/>
                  </a:lnTo>
                  <a:lnTo>
                    <a:pt x="284" y="1293"/>
                  </a:lnTo>
                  <a:lnTo>
                    <a:pt x="290" y="1265"/>
                  </a:lnTo>
                  <a:lnTo>
                    <a:pt x="290" y="1243"/>
                  </a:lnTo>
                  <a:lnTo>
                    <a:pt x="287" y="1234"/>
                  </a:lnTo>
                  <a:lnTo>
                    <a:pt x="281" y="1227"/>
                  </a:lnTo>
                  <a:lnTo>
                    <a:pt x="275" y="1218"/>
                  </a:lnTo>
                  <a:lnTo>
                    <a:pt x="269" y="1212"/>
                  </a:lnTo>
                  <a:lnTo>
                    <a:pt x="262" y="1202"/>
                  </a:lnTo>
                  <a:lnTo>
                    <a:pt x="259" y="1196"/>
                  </a:lnTo>
                  <a:lnTo>
                    <a:pt x="256" y="1180"/>
                  </a:lnTo>
                  <a:lnTo>
                    <a:pt x="253" y="1162"/>
                  </a:lnTo>
                  <a:lnTo>
                    <a:pt x="256" y="1143"/>
                  </a:lnTo>
                  <a:lnTo>
                    <a:pt x="259" y="1127"/>
                  </a:lnTo>
                  <a:lnTo>
                    <a:pt x="272" y="1118"/>
                  </a:lnTo>
                  <a:lnTo>
                    <a:pt x="294" y="1115"/>
                  </a:lnTo>
                  <a:lnTo>
                    <a:pt x="315" y="1109"/>
                  </a:lnTo>
                  <a:lnTo>
                    <a:pt x="337" y="1105"/>
                  </a:lnTo>
                  <a:lnTo>
                    <a:pt x="350" y="1096"/>
                  </a:lnTo>
                  <a:lnTo>
                    <a:pt x="353" y="1081"/>
                  </a:lnTo>
                  <a:lnTo>
                    <a:pt x="353" y="1062"/>
                  </a:lnTo>
                  <a:lnTo>
                    <a:pt x="353" y="1043"/>
                  </a:lnTo>
                  <a:lnTo>
                    <a:pt x="356" y="1027"/>
                  </a:lnTo>
                  <a:lnTo>
                    <a:pt x="362" y="1021"/>
                  </a:lnTo>
                  <a:lnTo>
                    <a:pt x="372" y="1018"/>
                  </a:lnTo>
                  <a:lnTo>
                    <a:pt x="381" y="1012"/>
                  </a:lnTo>
                  <a:lnTo>
                    <a:pt x="390" y="1006"/>
                  </a:lnTo>
                  <a:lnTo>
                    <a:pt x="400" y="999"/>
                  </a:lnTo>
                  <a:lnTo>
                    <a:pt x="406" y="993"/>
                  </a:lnTo>
                  <a:lnTo>
                    <a:pt x="422" y="968"/>
                  </a:lnTo>
                  <a:lnTo>
                    <a:pt x="434" y="937"/>
                  </a:lnTo>
                  <a:lnTo>
                    <a:pt x="443" y="909"/>
                  </a:lnTo>
                  <a:lnTo>
                    <a:pt x="447" y="887"/>
                  </a:lnTo>
                  <a:lnTo>
                    <a:pt x="450" y="856"/>
                  </a:lnTo>
                  <a:lnTo>
                    <a:pt x="450" y="824"/>
                  </a:lnTo>
                  <a:lnTo>
                    <a:pt x="443" y="803"/>
                  </a:lnTo>
                  <a:lnTo>
                    <a:pt x="437" y="796"/>
                  </a:lnTo>
                  <a:lnTo>
                    <a:pt x="431" y="790"/>
                  </a:lnTo>
                  <a:lnTo>
                    <a:pt x="422" y="784"/>
                  </a:lnTo>
                  <a:lnTo>
                    <a:pt x="412" y="781"/>
                  </a:lnTo>
                  <a:lnTo>
                    <a:pt x="406" y="775"/>
                  </a:lnTo>
                  <a:lnTo>
                    <a:pt x="384" y="768"/>
                  </a:lnTo>
                  <a:lnTo>
                    <a:pt x="362" y="759"/>
                  </a:lnTo>
                  <a:lnTo>
                    <a:pt x="340" y="750"/>
                  </a:lnTo>
                  <a:lnTo>
                    <a:pt x="325" y="731"/>
                  </a:lnTo>
                  <a:lnTo>
                    <a:pt x="309" y="703"/>
                  </a:lnTo>
                  <a:lnTo>
                    <a:pt x="300" y="678"/>
                  </a:lnTo>
                  <a:lnTo>
                    <a:pt x="300" y="659"/>
                  </a:lnTo>
                  <a:lnTo>
                    <a:pt x="303" y="637"/>
                  </a:lnTo>
                  <a:lnTo>
                    <a:pt x="306" y="612"/>
                  </a:lnTo>
                  <a:lnTo>
                    <a:pt x="303" y="597"/>
                  </a:lnTo>
                  <a:lnTo>
                    <a:pt x="297" y="587"/>
                  </a:lnTo>
                  <a:lnTo>
                    <a:pt x="287" y="581"/>
                  </a:lnTo>
                  <a:lnTo>
                    <a:pt x="275" y="578"/>
                  </a:lnTo>
                  <a:lnTo>
                    <a:pt x="265" y="572"/>
                  </a:lnTo>
                  <a:lnTo>
                    <a:pt x="256" y="568"/>
                  </a:lnTo>
                  <a:lnTo>
                    <a:pt x="247" y="568"/>
                  </a:lnTo>
                  <a:lnTo>
                    <a:pt x="237" y="568"/>
                  </a:lnTo>
                  <a:lnTo>
                    <a:pt x="228" y="568"/>
                  </a:lnTo>
                  <a:lnTo>
                    <a:pt x="219" y="568"/>
                  </a:lnTo>
                  <a:lnTo>
                    <a:pt x="209" y="568"/>
                  </a:lnTo>
                  <a:lnTo>
                    <a:pt x="200" y="565"/>
                  </a:lnTo>
                  <a:lnTo>
                    <a:pt x="191" y="562"/>
                  </a:lnTo>
                  <a:lnTo>
                    <a:pt x="181" y="556"/>
                  </a:lnTo>
                  <a:lnTo>
                    <a:pt x="175" y="550"/>
                  </a:lnTo>
                  <a:lnTo>
                    <a:pt x="169" y="543"/>
                  </a:lnTo>
                  <a:lnTo>
                    <a:pt x="166" y="534"/>
                  </a:lnTo>
                  <a:lnTo>
                    <a:pt x="162" y="525"/>
                  </a:lnTo>
                  <a:lnTo>
                    <a:pt x="159" y="515"/>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43" name="Freeform 15">
              <a:extLst>
                <a:ext uri="{FF2B5EF4-FFF2-40B4-BE49-F238E27FC236}">
                  <a16:creationId xmlns:a16="http://schemas.microsoft.com/office/drawing/2014/main" id="{89DDED31-3AE4-47B6-B9B1-66A27DA8603F}"/>
                </a:ext>
              </a:extLst>
            </p:cNvPr>
            <p:cNvSpPr>
              <a:spLocks/>
            </p:cNvSpPr>
            <p:nvPr/>
          </p:nvSpPr>
          <p:spPr bwMode="auto">
            <a:xfrm>
              <a:off x="10452101" y="-12996863"/>
              <a:ext cx="7059613" cy="6091238"/>
            </a:xfrm>
            <a:custGeom>
              <a:avLst/>
              <a:gdLst>
                <a:gd name="T0" fmla="*/ 980 w 4447"/>
                <a:gd name="T1" fmla="*/ 2879 h 3837"/>
                <a:gd name="T2" fmla="*/ 859 w 4447"/>
                <a:gd name="T3" fmla="*/ 2941 h 3837"/>
                <a:gd name="T4" fmla="*/ 684 w 4447"/>
                <a:gd name="T5" fmla="*/ 3035 h 3837"/>
                <a:gd name="T6" fmla="*/ 468 w 4447"/>
                <a:gd name="T7" fmla="*/ 2716 h 3837"/>
                <a:gd name="T8" fmla="*/ 712 w 4447"/>
                <a:gd name="T9" fmla="*/ 2616 h 3837"/>
                <a:gd name="T10" fmla="*/ 671 w 4447"/>
                <a:gd name="T11" fmla="*/ 2529 h 3837"/>
                <a:gd name="T12" fmla="*/ 471 w 4447"/>
                <a:gd name="T13" fmla="*/ 2235 h 3837"/>
                <a:gd name="T14" fmla="*/ 515 w 4447"/>
                <a:gd name="T15" fmla="*/ 1883 h 3837"/>
                <a:gd name="T16" fmla="*/ 534 w 4447"/>
                <a:gd name="T17" fmla="*/ 1655 h 3837"/>
                <a:gd name="T18" fmla="*/ 446 w 4447"/>
                <a:gd name="T19" fmla="*/ 1555 h 3837"/>
                <a:gd name="T20" fmla="*/ 471 w 4447"/>
                <a:gd name="T21" fmla="*/ 1249 h 3837"/>
                <a:gd name="T22" fmla="*/ 403 w 4447"/>
                <a:gd name="T23" fmla="*/ 1111 h 3837"/>
                <a:gd name="T24" fmla="*/ 268 w 4447"/>
                <a:gd name="T25" fmla="*/ 896 h 3837"/>
                <a:gd name="T26" fmla="*/ 109 w 4447"/>
                <a:gd name="T27" fmla="*/ 577 h 3837"/>
                <a:gd name="T28" fmla="*/ 156 w 4447"/>
                <a:gd name="T29" fmla="*/ 352 h 3837"/>
                <a:gd name="T30" fmla="*/ 9 w 4447"/>
                <a:gd name="T31" fmla="*/ 109 h 3837"/>
                <a:gd name="T32" fmla="*/ 159 w 4447"/>
                <a:gd name="T33" fmla="*/ 28 h 3837"/>
                <a:gd name="T34" fmla="*/ 474 w 4447"/>
                <a:gd name="T35" fmla="*/ 178 h 3837"/>
                <a:gd name="T36" fmla="*/ 809 w 4447"/>
                <a:gd name="T37" fmla="*/ 90 h 3837"/>
                <a:gd name="T38" fmla="*/ 1115 w 4447"/>
                <a:gd name="T39" fmla="*/ 199 h 3837"/>
                <a:gd name="T40" fmla="*/ 1030 w 4447"/>
                <a:gd name="T41" fmla="*/ 368 h 3837"/>
                <a:gd name="T42" fmla="*/ 1049 w 4447"/>
                <a:gd name="T43" fmla="*/ 602 h 3837"/>
                <a:gd name="T44" fmla="*/ 1146 w 4447"/>
                <a:gd name="T45" fmla="*/ 843 h 3837"/>
                <a:gd name="T46" fmla="*/ 1183 w 4447"/>
                <a:gd name="T47" fmla="*/ 1124 h 3837"/>
                <a:gd name="T48" fmla="*/ 1265 w 4447"/>
                <a:gd name="T49" fmla="*/ 924 h 3837"/>
                <a:gd name="T50" fmla="*/ 1549 w 4447"/>
                <a:gd name="T51" fmla="*/ 861 h 3837"/>
                <a:gd name="T52" fmla="*/ 1989 w 4447"/>
                <a:gd name="T53" fmla="*/ 974 h 3837"/>
                <a:gd name="T54" fmla="*/ 2576 w 4447"/>
                <a:gd name="T55" fmla="*/ 1114 h 3837"/>
                <a:gd name="T56" fmla="*/ 3073 w 4447"/>
                <a:gd name="T57" fmla="*/ 989 h 3837"/>
                <a:gd name="T58" fmla="*/ 3441 w 4447"/>
                <a:gd name="T59" fmla="*/ 899 h 3837"/>
                <a:gd name="T60" fmla="*/ 3488 w 4447"/>
                <a:gd name="T61" fmla="*/ 1174 h 3837"/>
                <a:gd name="T62" fmla="*/ 3485 w 4447"/>
                <a:gd name="T63" fmla="*/ 1330 h 3837"/>
                <a:gd name="T64" fmla="*/ 3594 w 4447"/>
                <a:gd name="T65" fmla="*/ 1655 h 3837"/>
                <a:gd name="T66" fmla="*/ 3603 w 4447"/>
                <a:gd name="T67" fmla="*/ 1870 h 3837"/>
                <a:gd name="T68" fmla="*/ 3594 w 4447"/>
                <a:gd name="T69" fmla="*/ 2148 h 3837"/>
                <a:gd name="T70" fmla="*/ 3828 w 4447"/>
                <a:gd name="T71" fmla="*/ 2179 h 3837"/>
                <a:gd name="T72" fmla="*/ 3884 w 4447"/>
                <a:gd name="T73" fmla="*/ 2235 h 3837"/>
                <a:gd name="T74" fmla="*/ 4059 w 4447"/>
                <a:gd name="T75" fmla="*/ 2360 h 3837"/>
                <a:gd name="T76" fmla="*/ 4078 w 4447"/>
                <a:gd name="T77" fmla="*/ 2594 h 3837"/>
                <a:gd name="T78" fmla="*/ 4203 w 4447"/>
                <a:gd name="T79" fmla="*/ 2698 h 3837"/>
                <a:gd name="T80" fmla="*/ 4322 w 4447"/>
                <a:gd name="T81" fmla="*/ 2885 h 3837"/>
                <a:gd name="T82" fmla="*/ 4447 w 4447"/>
                <a:gd name="T83" fmla="*/ 3153 h 3837"/>
                <a:gd name="T84" fmla="*/ 4187 w 4447"/>
                <a:gd name="T85" fmla="*/ 3438 h 3837"/>
                <a:gd name="T86" fmla="*/ 4187 w 4447"/>
                <a:gd name="T87" fmla="*/ 3631 h 3837"/>
                <a:gd name="T88" fmla="*/ 4141 w 4447"/>
                <a:gd name="T89" fmla="*/ 3834 h 3837"/>
                <a:gd name="T90" fmla="*/ 3950 w 4447"/>
                <a:gd name="T91" fmla="*/ 3644 h 3837"/>
                <a:gd name="T92" fmla="*/ 3688 w 4447"/>
                <a:gd name="T93" fmla="*/ 3650 h 3837"/>
                <a:gd name="T94" fmla="*/ 3519 w 4447"/>
                <a:gd name="T95" fmla="*/ 3506 h 3837"/>
                <a:gd name="T96" fmla="*/ 3491 w 4447"/>
                <a:gd name="T97" fmla="*/ 3194 h 3837"/>
                <a:gd name="T98" fmla="*/ 3204 w 4447"/>
                <a:gd name="T99" fmla="*/ 3150 h 3837"/>
                <a:gd name="T100" fmla="*/ 3035 w 4447"/>
                <a:gd name="T101" fmla="*/ 3310 h 3837"/>
                <a:gd name="T102" fmla="*/ 2857 w 4447"/>
                <a:gd name="T103" fmla="*/ 3328 h 3837"/>
                <a:gd name="T104" fmla="*/ 2685 w 4447"/>
                <a:gd name="T105" fmla="*/ 3122 h 3837"/>
                <a:gd name="T106" fmla="*/ 2582 w 4447"/>
                <a:gd name="T107" fmla="*/ 2897 h 3837"/>
                <a:gd name="T108" fmla="*/ 2498 w 4447"/>
                <a:gd name="T109" fmla="*/ 2994 h 3837"/>
                <a:gd name="T110" fmla="*/ 2376 w 4447"/>
                <a:gd name="T111" fmla="*/ 3044 h 3837"/>
                <a:gd name="T112" fmla="*/ 2055 w 4447"/>
                <a:gd name="T113" fmla="*/ 3035 h 3837"/>
                <a:gd name="T114" fmla="*/ 1886 w 4447"/>
                <a:gd name="T115" fmla="*/ 3122 h 3837"/>
                <a:gd name="T116" fmla="*/ 1799 w 4447"/>
                <a:gd name="T117" fmla="*/ 3113 h 3837"/>
                <a:gd name="T118" fmla="*/ 1617 w 4447"/>
                <a:gd name="T119" fmla="*/ 3078 h 3837"/>
                <a:gd name="T120" fmla="*/ 1471 w 4447"/>
                <a:gd name="T121" fmla="*/ 2963 h 3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47" h="3837">
                  <a:moveTo>
                    <a:pt x="1230" y="2982"/>
                  </a:moveTo>
                  <a:lnTo>
                    <a:pt x="1218" y="2975"/>
                  </a:lnTo>
                  <a:lnTo>
                    <a:pt x="1208" y="2972"/>
                  </a:lnTo>
                  <a:lnTo>
                    <a:pt x="1186" y="2957"/>
                  </a:lnTo>
                  <a:lnTo>
                    <a:pt x="1158" y="2938"/>
                  </a:lnTo>
                  <a:lnTo>
                    <a:pt x="1130" y="2916"/>
                  </a:lnTo>
                  <a:lnTo>
                    <a:pt x="1105" y="2904"/>
                  </a:lnTo>
                  <a:lnTo>
                    <a:pt x="1083" y="2904"/>
                  </a:lnTo>
                  <a:lnTo>
                    <a:pt x="1055" y="2907"/>
                  </a:lnTo>
                  <a:lnTo>
                    <a:pt x="1030" y="2907"/>
                  </a:lnTo>
                  <a:lnTo>
                    <a:pt x="1008" y="2904"/>
                  </a:lnTo>
                  <a:lnTo>
                    <a:pt x="1002" y="2900"/>
                  </a:lnTo>
                  <a:lnTo>
                    <a:pt x="993" y="2894"/>
                  </a:lnTo>
                  <a:lnTo>
                    <a:pt x="987" y="2885"/>
                  </a:lnTo>
                  <a:lnTo>
                    <a:pt x="980" y="2879"/>
                  </a:lnTo>
                  <a:lnTo>
                    <a:pt x="971" y="2872"/>
                  </a:lnTo>
                  <a:lnTo>
                    <a:pt x="965" y="2869"/>
                  </a:lnTo>
                  <a:lnTo>
                    <a:pt x="959" y="2869"/>
                  </a:lnTo>
                  <a:lnTo>
                    <a:pt x="952" y="2872"/>
                  </a:lnTo>
                  <a:lnTo>
                    <a:pt x="946" y="2875"/>
                  </a:lnTo>
                  <a:lnTo>
                    <a:pt x="940" y="2882"/>
                  </a:lnTo>
                  <a:lnTo>
                    <a:pt x="934" y="2885"/>
                  </a:lnTo>
                  <a:lnTo>
                    <a:pt x="924" y="2904"/>
                  </a:lnTo>
                  <a:lnTo>
                    <a:pt x="912" y="2925"/>
                  </a:lnTo>
                  <a:lnTo>
                    <a:pt x="899" y="2941"/>
                  </a:lnTo>
                  <a:lnTo>
                    <a:pt x="893" y="2941"/>
                  </a:lnTo>
                  <a:lnTo>
                    <a:pt x="887" y="2941"/>
                  </a:lnTo>
                  <a:lnTo>
                    <a:pt x="877" y="2941"/>
                  </a:lnTo>
                  <a:lnTo>
                    <a:pt x="868" y="2941"/>
                  </a:lnTo>
                  <a:lnTo>
                    <a:pt x="859" y="2941"/>
                  </a:lnTo>
                  <a:lnTo>
                    <a:pt x="852" y="2944"/>
                  </a:lnTo>
                  <a:lnTo>
                    <a:pt x="827" y="2957"/>
                  </a:lnTo>
                  <a:lnTo>
                    <a:pt x="802" y="2975"/>
                  </a:lnTo>
                  <a:lnTo>
                    <a:pt x="781" y="2994"/>
                  </a:lnTo>
                  <a:lnTo>
                    <a:pt x="777" y="3004"/>
                  </a:lnTo>
                  <a:lnTo>
                    <a:pt x="774" y="3013"/>
                  </a:lnTo>
                  <a:lnTo>
                    <a:pt x="771" y="3022"/>
                  </a:lnTo>
                  <a:lnTo>
                    <a:pt x="768" y="3028"/>
                  </a:lnTo>
                  <a:lnTo>
                    <a:pt x="765" y="3032"/>
                  </a:lnTo>
                  <a:lnTo>
                    <a:pt x="759" y="3038"/>
                  </a:lnTo>
                  <a:lnTo>
                    <a:pt x="752" y="3041"/>
                  </a:lnTo>
                  <a:lnTo>
                    <a:pt x="746" y="3044"/>
                  </a:lnTo>
                  <a:lnTo>
                    <a:pt x="727" y="3044"/>
                  </a:lnTo>
                  <a:lnTo>
                    <a:pt x="706" y="3041"/>
                  </a:lnTo>
                  <a:lnTo>
                    <a:pt x="684" y="3035"/>
                  </a:lnTo>
                  <a:lnTo>
                    <a:pt x="665" y="3028"/>
                  </a:lnTo>
                  <a:lnTo>
                    <a:pt x="634" y="3022"/>
                  </a:lnTo>
                  <a:lnTo>
                    <a:pt x="599" y="3010"/>
                  </a:lnTo>
                  <a:lnTo>
                    <a:pt x="574" y="2994"/>
                  </a:lnTo>
                  <a:lnTo>
                    <a:pt x="562" y="2975"/>
                  </a:lnTo>
                  <a:lnTo>
                    <a:pt x="549" y="2947"/>
                  </a:lnTo>
                  <a:lnTo>
                    <a:pt x="537" y="2925"/>
                  </a:lnTo>
                  <a:lnTo>
                    <a:pt x="521" y="2900"/>
                  </a:lnTo>
                  <a:lnTo>
                    <a:pt x="503" y="2872"/>
                  </a:lnTo>
                  <a:lnTo>
                    <a:pt x="481" y="2844"/>
                  </a:lnTo>
                  <a:lnTo>
                    <a:pt x="468" y="2819"/>
                  </a:lnTo>
                  <a:lnTo>
                    <a:pt x="465" y="2797"/>
                  </a:lnTo>
                  <a:lnTo>
                    <a:pt x="468" y="2769"/>
                  </a:lnTo>
                  <a:lnTo>
                    <a:pt x="468" y="2738"/>
                  </a:lnTo>
                  <a:lnTo>
                    <a:pt x="468" y="2716"/>
                  </a:lnTo>
                  <a:lnTo>
                    <a:pt x="462" y="2691"/>
                  </a:lnTo>
                  <a:lnTo>
                    <a:pt x="453" y="2663"/>
                  </a:lnTo>
                  <a:lnTo>
                    <a:pt x="440" y="2632"/>
                  </a:lnTo>
                  <a:lnTo>
                    <a:pt x="434" y="2604"/>
                  </a:lnTo>
                  <a:lnTo>
                    <a:pt x="462" y="2594"/>
                  </a:lnTo>
                  <a:lnTo>
                    <a:pt x="487" y="2582"/>
                  </a:lnTo>
                  <a:lnTo>
                    <a:pt x="512" y="2579"/>
                  </a:lnTo>
                  <a:lnTo>
                    <a:pt x="531" y="2582"/>
                  </a:lnTo>
                  <a:lnTo>
                    <a:pt x="553" y="2591"/>
                  </a:lnTo>
                  <a:lnTo>
                    <a:pt x="574" y="2598"/>
                  </a:lnTo>
                  <a:lnTo>
                    <a:pt x="593" y="2604"/>
                  </a:lnTo>
                  <a:lnTo>
                    <a:pt x="624" y="2610"/>
                  </a:lnTo>
                  <a:lnTo>
                    <a:pt x="662" y="2613"/>
                  </a:lnTo>
                  <a:lnTo>
                    <a:pt x="696" y="2616"/>
                  </a:lnTo>
                  <a:lnTo>
                    <a:pt x="712" y="2616"/>
                  </a:lnTo>
                  <a:lnTo>
                    <a:pt x="731" y="2616"/>
                  </a:lnTo>
                  <a:lnTo>
                    <a:pt x="746" y="2616"/>
                  </a:lnTo>
                  <a:lnTo>
                    <a:pt x="762" y="2610"/>
                  </a:lnTo>
                  <a:lnTo>
                    <a:pt x="762" y="2607"/>
                  </a:lnTo>
                  <a:lnTo>
                    <a:pt x="765" y="2601"/>
                  </a:lnTo>
                  <a:lnTo>
                    <a:pt x="762" y="2594"/>
                  </a:lnTo>
                  <a:lnTo>
                    <a:pt x="762" y="2588"/>
                  </a:lnTo>
                  <a:lnTo>
                    <a:pt x="759" y="2582"/>
                  </a:lnTo>
                  <a:lnTo>
                    <a:pt x="749" y="2573"/>
                  </a:lnTo>
                  <a:lnTo>
                    <a:pt x="743" y="2566"/>
                  </a:lnTo>
                  <a:lnTo>
                    <a:pt x="734" y="2560"/>
                  </a:lnTo>
                  <a:lnTo>
                    <a:pt x="727" y="2554"/>
                  </a:lnTo>
                  <a:lnTo>
                    <a:pt x="709" y="2545"/>
                  </a:lnTo>
                  <a:lnTo>
                    <a:pt x="690" y="2538"/>
                  </a:lnTo>
                  <a:lnTo>
                    <a:pt x="671" y="2529"/>
                  </a:lnTo>
                  <a:lnTo>
                    <a:pt x="649" y="2520"/>
                  </a:lnTo>
                  <a:lnTo>
                    <a:pt x="618" y="2507"/>
                  </a:lnTo>
                  <a:lnTo>
                    <a:pt x="593" y="2491"/>
                  </a:lnTo>
                  <a:lnTo>
                    <a:pt x="571" y="2476"/>
                  </a:lnTo>
                  <a:lnTo>
                    <a:pt x="565" y="2460"/>
                  </a:lnTo>
                  <a:lnTo>
                    <a:pt x="562" y="2438"/>
                  </a:lnTo>
                  <a:lnTo>
                    <a:pt x="559" y="2413"/>
                  </a:lnTo>
                  <a:lnTo>
                    <a:pt x="556" y="2398"/>
                  </a:lnTo>
                  <a:lnTo>
                    <a:pt x="543" y="2379"/>
                  </a:lnTo>
                  <a:lnTo>
                    <a:pt x="524" y="2363"/>
                  </a:lnTo>
                  <a:lnTo>
                    <a:pt x="509" y="2345"/>
                  </a:lnTo>
                  <a:lnTo>
                    <a:pt x="499" y="2323"/>
                  </a:lnTo>
                  <a:lnTo>
                    <a:pt x="487" y="2292"/>
                  </a:lnTo>
                  <a:lnTo>
                    <a:pt x="481" y="2260"/>
                  </a:lnTo>
                  <a:lnTo>
                    <a:pt x="471" y="2235"/>
                  </a:lnTo>
                  <a:lnTo>
                    <a:pt x="468" y="2210"/>
                  </a:lnTo>
                  <a:lnTo>
                    <a:pt x="465" y="2182"/>
                  </a:lnTo>
                  <a:lnTo>
                    <a:pt x="462" y="2157"/>
                  </a:lnTo>
                  <a:lnTo>
                    <a:pt x="459" y="2139"/>
                  </a:lnTo>
                  <a:lnTo>
                    <a:pt x="450" y="2117"/>
                  </a:lnTo>
                  <a:lnTo>
                    <a:pt x="446" y="2095"/>
                  </a:lnTo>
                  <a:lnTo>
                    <a:pt x="450" y="2076"/>
                  </a:lnTo>
                  <a:lnTo>
                    <a:pt x="459" y="2054"/>
                  </a:lnTo>
                  <a:lnTo>
                    <a:pt x="468" y="2032"/>
                  </a:lnTo>
                  <a:lnTo>
                    <a:pt x="468" y="2014"/>
                  </a:lnTo>
                  <a:lnTo>
                    <a:pt x="471" y="1989"/>
                  </a:lnTo>
                  <a:lnTo>
                    <a:pt x="474" y="1970"/>
                  </a:lnTo>
                  <a:lnTo>
                    <a:pt x="484" y="1945"/>
                  </a:lnTo>
                  <a:lnTo>
                    <a:pt x="499" y="1914"/>
                  </a:lnTo>
                  <a:lnTo>
                    <a:pt x="515" y="1883"/>
                  </a:lnTo>
                  <a:lnTo>
                    <a:pt x="521" y="1858"/>
                  </a:lnTo>
                  <a:lnTo>
                    <a:pt x="518" y="1836"/>
                  </a:lnTo>
                  <a:lnTo>
                    <a:pt x="512" y="1808"/>
                  </a:lnTo>
                  <a:lnTo>
                    <a:pt x="509" y="1786"/>
                  </a:lnTo>
                  <a:lnTo>
                    <a:pt x="515" y="1764"/>
                  </a:lnTo>
                  <a:lnTo>
                    <a:pt x="524" y="1739"/>
                  </a:lnTo>
                  <a:lnTo>
                    <a:pt x="534" y="1720"/>
                  </a:lnTo>
                  <a:lnTo>
                    <a:pt x="543" y="1705"/>
                  </a:lnTo>
                  <a:lnTo>
                    <a:pt x="553" y="1689"/>
                  </a:lnTo>
                  <a:lnTo>
                    <a:pt x="562" y="1673"/>
                  </a:lnTo>
                  <a:lnTo>
                    <a:pt x="562" y="1661"/>
                  </a:lnTo>
                  <a:lnTo>
                    <a:pt x="559" y="1658"/>
                  </a:lnTo>
                  <a:lnTo>
                    <a:pt x="553" y="1655"/>
                  </a:lnTo>
                  <a:lnTo>
                    <a:pt x="543" y="1655"/>
                  </a:lnTo>
                  <a:lnTo>
                    <a:pt x="534" y="1655"/>
                  </a:lnTo>
                  <a:lnTo>
                    <a:pt x="528" y="1655"/>
                  </a:lnTo>
                  <a:lnTo>
                    <a:pt x="521" y="1655"/>
                  </a:lnTo>
                  <a:lnTo>
                    <a:pt x="515" y="1658"/>
                  </a:lnTo>
                  <a:lnTo>
                    <a:pt x="512" y="1664"/>
                  </a:lnTo>
                  <a:lnTo>
                    <a:pt x="506" y="1670"/>
                  </a:lnTo>
                  <a:lnTo>
                    <a:pt x="503" y="1673"/>
                  </a:lnTo>
                  <a:lnTo>
                    <a:pt x="493" y="1670"/>
                  </a:lnTo>
                  <a:lnTo>
                    <a:pt x="487" y="1667"/>
                  </a:lnTo>
                  <a:lnTo>
                    <a:pt x="478" y="1661"/>
                  </a:lnTo>
                  <a:lnTo>
                    <a:pt x="471" y="1651"/>
                  </a:lnTo>
                  <a:lnTo>
                    <a:pt x="465" y="1645"/>
                  </a:lnTo>
                  <a:lnTo>
                    <a:pt x="459" y="1639"/>
                  </a:lnTo>
                  <a:lnTo>
                    <a:pt x="450" y="1614"/>
                  </a:lnTo>
                  <a:lnTo>
                    <a:pt x="446" y="1583"/>
                  </a:lnTo>
                  <a:lnTo>
                    <a:pt x="446" y="1555"/>
                  </a:lnTo>
                  <a:lnTo>
                    <a:pt x="453" y="1536"/>
                  </a:lnTo>
                  <a:lnTo>
                    <a:pt x="462" y="1511"/>
                  </a:lnTo>
                  <a:lnTo>
                    <a:pt x="471" y="1489"/>
                  </a:lnTo>
                  <a:lnTo>
                    <a:pt x="474" y="1480"/>
                  </a:lnTo>
                  <a:lnTo>
                    <a:pt x="478" y="1470"/>
                  </a:lnTo>
                  <a:lnTo>
                    <a:pt x="481" y="1458"/>
                  </a:lnTo>
                  <a:lnTo>
                    <a:pt x="484" y="1448"/>
                  </a:lnTo>
                  <a:lnTo>
                    <a:pt x="484" y="1427"/>
                  </a:lnTo>
                  <a:lnTo>
                    <a:pt x="481" y="1402"/>
                  </a:lnTo>
                  <a:lnTo>
                    <a:pt x="478" y="1380"/>
                  </a:lnTo>
                  <a:lnTo>
                    <a:pt x="471" y="1355"/>
                  </a:lnTo>
                  <a:lnTo>
                    <a:pt x="462" y="1324"/>
                  </a:lnTo>
                  <a:lnTo>
                    <a:pt x="459" y="1299"/>
                  </a:lnTo>
                  <a:lnTo>
                    <a:pt x="462" y="1277"/>
                  </a:lnTo>
                  <a:lnTo>
                    <a:pt x="471" y="1249"/>
                  </a:lnTo>
                  <a:lnTo>
                    <a:pt x="474" y="1227"/>
                  </a:lnTo>
                  <a:lnTo>
                    <a:pt x="474" y="1217"/>
                  </a:lnTo>
                  <a:lnTo>
                    <a:pt x="471" y="1208"/>
                  </a:lnTo>
                  <a:lnTo>
                    <a:pt x="468" y="1199"/>
                  </a:lnTo>
                  <a:lnTo>
                    <a:pt x="462" y="1189"/>
                  </a:lnTo>
                  <a:lnTo>
                    <a:pt x="459" y="1183"/>
                  </a:lnTo>
                  <a:lnTo>
                    <a:pt x="453" y="1180"/>
                  </a:lnTo>
                  <a:lnTo>
                    <a:pt x="446" y="1180"/>
                  </a:lnTo>
                  <a:lnTo>
                    <a:pt x="440" y="1180"/>
                  </a:lnTo>
                  <a:lnTo>
                    <a:pt x="431" y="1177"/>
                  </a:lnTo>
                  <a:lnTo>
                    <a:pt x="425" y="1177"/>
                  </a:lnTo>
                  <a:lnTo>
                    <a:pt x="421" y="1174"/>
                  </a:lnTo>
                  <a:lnTo>
                    <a:pt x="412" y="1158"/>
                  </a:lnTo>
                  <a:lnTo>
                    <a:pt x="406" y="1136"/>
                  </a:lnTo>
                  <a:lnTo>
                    <a:pt x="403" y="1111"/>
                  </a:lnTo>
                  <a:lnTo>
                    <a:pt x="403" y="1089"/>
                  </a:lnTo>
                  <a:lnTo>
                    <a:pt x="403" y="1074"/>
                  </a:lnTo>
                  <a:lnTo>
                    <a:pt x="406" y="1055"/>
                  </a:lnTo>
                  <a:lnTo>
                    <a:pt x="406" y="1039"/>
                  </a:lnTo>
                  <a:lnTo>
                    <a:pt x="403" y="1024"/>
                  </a:lnTo>
                  <a:lnTo>
                    <a:pt x="387" y="1014"/>
                  </a:lnTo>
                  <a:lnTo>
                    <a:pt x="365" y="1008"/>
                  </a:lnTo>
                  <a:lnTo>
                    <a:pt x="340" y="1005"/>
                  </a:lnTo>
                  <a:lnTo>
                    <a:pt x="315" y="999"/>
                  </a:lnTo>
                  <a:lnTo>
                    <a:pt x="300" y="989"/>
                  </a:lnTo>
                  <a:lnTo>
                    <a:pt x="293" y="977"/>
                  </a:lnTo>
                  <a:lnTo>
                    <a:pt x="290" y="955"/>
                  </a:lnTo>
                  <a:lnTo>
                    <a:pt x="290" y="933"/>
                  </a:lnTo>
                  <a:lnTo>
                    <a:pt x="284" y="918"/>
                  </a:lnTo>
                  <a:lnTo>
                    <a:pt x="268" y="896"/>
                  </a:lnTo>
                  <a:lnTo>
                    <a:pt x="247" y="871"/>
                  </a:lnTo>
                  <a:lnTo>
                    <a:pt x="228" y="852"/>
                  </a:lnTo>
                  <a:lnTo>
                    <a:pt x="209" y="833"/>
                  </a:lnTo>
                  <a:lnTo>
                    <a:pt x="187" y="815"/>
                  </a:lnTo>
                  <a:lnTo>
                    <a:pt x="175" y="793"/>
                  </a:lnTo>
                  <a:lnTo>
                    <a:pt x="175" y="771"/>
                  </a:lnTo>
                  <a:lnTo>
                    <a:pt x="178" y="746"/>
                  </a:lnTo>
                  <a:lnTo>
                    <a:pt x="184" y="718"/>
                  </a:lnTo>
                  <a:lnTo>
                    <a:pt x="184" y="696"/>
                  </a:lnTo>
                  <a:lnTo>
                    <a:pt x="178" y="677"/>
                  </a:lnTo>
                  <a:lnTo>
                    <a:pt x="165" y="655"/>
                  </a:lnTo>
                  <a:lnTo>
                    <a:pt x="153" y="633"/>
                  </a:lnTo>
                  <a:lnTo>
                    <a:pt x="140" y="618"/>
                  </a:lnTo>
                  <a:lnTo>
                    <a:pt x="128" y="599"/>
                  </a:lnTo>
                  <a:lnTo>
                    <a:pt x="109" y="577"/>
                  </a:lnTo>
                  <a:lnTo>
                    <a:pt x="90" y="559"/>
                  </a:lnTo>
                  <a:lnTo>
                    <a:pt x="81" y="540"/>
                  </a:lnTo>
                  <a:lnTo>
                    <a:pt x="75" y="515"/>
                  </a:lnTo>
                  <a:lnTo>
                    <a:pt x="75" y="490"/>
                  </a:lnTo>
                  <a:lnTo>
                    <a:pt x="75" y="462"/>
                  </a:lnTo>
                  <a:lnTo>
                    <a:pt x="81" y="440"/>
                  </a:lnTo>
                  <a:lnTo>
                    <a:pt x="87" y="418"/>
                  </a:lnTo>
                  <a:lnTo>
                    <a:pt x="100" y="399"/>
                  </a:lnTo>
                  <a:lnTo>
                    <a:pt x="115" y="384"/>
                  </a:lnTo>
                  <a:lnTo>
                    <a:pt x="119" y="381"/>
                  </a:lnTo>
                  <a:lnTo>
                    <a:pt x="128" y="377"/>
                  </a:lnTo>
                  <a:lnTo>
                    <a:pt x="134" y="377"/>
                  </a:lnTo>
                  <a:lnTo>
                    <a:pt x="140" y="374"/>
                  </a:lnTo>
                  <a:lnTo>
                    <a:pt x="147" y="371"/>
                  </a:lnTo>
                  <a:lnTo>
                    <a:pt x="156" y="352"/>
                  </a:lnTo>
                  <a:lnTo>
                    <a:pt x="165" y="324"/>
                  </a:lnTo>
                  <a:lnTo>
                    <a:pt x="172" y="302"/>
                  </a:lnTo>
                  <a:lnTo>
                    <a:pt x="172" y="271"/>
                  </a:lnTo>
                  <a:lnTo>
                    <a:pt x="168" y="237"/>
                  </a:lnTo>
                  <a:lnTo>
                    <a:pt x="159" y="203"/>
                  </a:lnTo>
                  <a:lnTo>
                    <a:pt x="147" y="178"/>
                  </a:lnTo>
                  <a:lnTo>
                    <a:pt x="128" y="162"/>
                  </a:lnTo>
                  <a:lnTo>
                    <a:pt x="97" y="153"/>
                  </a:lnTo>
                  <a:lnTo>
                    <a:pt x="72" y="146"/>
                  </a:lnTo>
                  <a:lnTo>
                    <a:pt x="59" y="146"/>
                  </a:lnTo>
                  <a:lnTo>
                    <a:pt x="44" y="143"/>
                  </a:lnTo>
                  <a:lnTo>
                    <a:pt x="28" y="140"/>
                  </a:lnTo>
                  <a:lnTo>
                    <a:pt x="22" y="137"/>
                  </a:lnTo>
                  <a:lnTo>
                    <a:pt x="15" y="128"/>
                  </a:lnTo>
                  <a:lnTo>
                    <a:pt x="9" y="109"/>
                  </a:lnTo>
                  <a:lnTo>
                    <a:pt x="3" y="87"/>
                  </a:lnTo>
                  <a:lnTo>
                    <a:pt x="0" y="68"/>
                  </a:lnTo>
                  <a:lnTo>
                    <a:pt x="3" y="46"/>
                  </a:lnTo>
                  <a:lnTo>
                    <a:pt x="9" y="21"/>
                  </a:lnTo>
                  <a:lnTo>
                    <a:pt x="22" y="6"/>
                  </a:lnTo>
                  <a:lnTo>
                    <a:pt x="37" y="0"/>
                  </a:lnTo>
                  <a:lnTo>
                    <a:pt x="59" y="0"/>
                  </a:lnTo>
                  <a:lnTo>
                    <a:pt x="75" y="3"/>
                  </a:lnTo>
                  <a:lnTo>
                    <a:pt x="81" y="6"/>
                  </a:lnTo>
                  <a:lnTo>
                    <a:pt x="87" y="12"/>
                  </a:lnTo>
                  <a:lnTo>
                    <a:pt x="94" y="21"/>
                  </a:lnTo>
                  <a:lnTo>
                    <a:pt x="100" y="28"/>
                  </a:lnTo>
                  <a:lnTo>
                    <a:pt x="106" y="31"/>
                  </a:lnTo>
                  <a:lnTo>
                    <a:pt x="131" y="31"/>
                  </a:lnTo>
                  <a:lnTo>
                    <a:pt x="159" y="28"/>
                  </a:lnTo>
                  <a:lnTo>
                    <a:pt x="187" y="25"/>
                  </a:lnTo>
                  <a:lnTo>
                    <a:pt x="209" y="28"/>
                  </a:lnTo>
                  <a:lnTo>
                    <a:pt x="218" y="34"/>
                  </a:lnTo>
                  <a:lnTo>
                    <a:pt x="225" y="43"/>
                  </a:lnTo>
                  <a:lnTo>
                    <a:pt x="231" y="53"/>
                  </a:lnTo>
                  <a:lnTo>
                    <a:pt x="237" y="62"/>
                  </a:lnTo>
                  <a:lnTo>
                    <a:pt x="243" y="68"/>
                  </a:lnTo>
                  <a:lnTo>
                    <a:pt x="272" y="84"/>
                  </a:lnTo>
                  <a:lnTo>
                    <a:pt x="306" y="96"/>
                  </a:lnTo>
                  <a:lnTo>
                    <a:pt x="334" y="109"/>
                  </a:lnTo>
                  <a:lnTo>
                    <a:pt x="362" y="121"/>
                  </a:lnTo>
                  <a:lnTo>
                    <a:pt x="390" y="137"/>
                  </a:lnTo>
                  <a:lnTo>
                    <a:pt x="418" y="153"/>
                  </a:lnTo>
                  <a:lnTo>
                    <a:pt x="443" y="162"/>
                  </a:lnTo>
                  <a:lnTo>
                    <a:pt x="474" y="178"/>
                  </a:lnTo>
                  <a:lnTo>
                    <a:pt x="503" y="190"/>
                  </a:lnTo>
                  <a:lnTo>
                    <a:pt x="531" y="196"/>
                  </a:lnTo>
                  <a:lnTo>
                    <a:pt x="556" y="203"/>
                  </a:lnTo>
                  <a:lnTo>
                    <a:pt x="587" y="206"/>
                  </a:lnTo>
                  <a:lnTo>
                    <a:pt x="621" y="209"/>
                  </a:lnTo>
                  <a:lnTo>
                    <a:pt x="649" y="206"/>
                  </a:lnTo>
                  <a:lnTo>
                    <a:pt x="674" y="199"/>
                  </a:lnTo>
                  <a:lnTo>
                    <a:pt x="687" y="187"/>
                  </a:lnTo>
                  <a:lnTo>
                    <a:pt x="699" y="168"/>
                  </a:lnTo>
                  <a:lnTo>
                    <a:pt x="709" y="146"/>
                  </a:lnTo>
                  <a:lnTo>
                    <a:pt x="721" y="131"/>
                  </a:lnTo>
                  <a:lnTo>
                    <a:pt x="740" y="118"/>
                  </a:lnTo>
                  <a:lnTo>
                    <a:pt x="765" y="106"/>
                  </a:lnTo>
                  <a:lnTo>
                    <a:pt x="787" y="96"/>
                  </a:lnTo>
                  <a:lnTo>
                    <a:pt x="809" y="90"/>
                  </a:lnTo>
                  <a:lnTo>
                    <a:pt x="840" y="84"/>
                  </a:lnTo>
                  <a:lnTo>
                    <a:pt x="868" y="78"/>
                  </a:lnTo>
                  <a:lnTo>
                    <a:pt x="893" y="78"/>
                  </a:lnTo>
                  <a:lnTo>
                    <a:pt x="915" y="84"/>
                  </a:lnTo>
                  <a:lnTo>
                    <a:pt x="940" y="93"/>
                  </a:lnTo>
                  <a:lnTo>
                    <a:pt x="959" y="103"/>
                  </a:lnTo>
                  <a:lnTo>
                    <a:pt x="977" y="100"/>
                  </a:lnTo>
                  <a:lnTo>
                    <a:pt x="996" y="100"/>
                  </a:lnTo>
                  <a:lnTo>
                    <a:pt x="1018" y="96"/>
                  </a:lnTo>
                  <a:lnTo>
                    <a:pt x="1033" y="96"/>
                  </a:lnTo>
                  <a:lnTo>
                    <a:pt x="1058" y="112"/>
                  </a:lnTo>
                  <a:lnTo>
                    <a:pt x="1083" y="134"/>
                  </a:lnTo>
                  <a:lnTo>
                    <a:pt x="1099" y="156"/>
                  </a:lnTo>
                  <a:lnTo>
                    <a:pt x="1108" y="174"/>
                  </a:lnTo>
                  <a:lnTo>
                    <a:pt x="1115" y="199"/>
                  </a:lnTo>
                  <a:lnTo>
                    <a:pt x="1118" y="221"/>
                  </a:lnTo>
                  <a:lnTo>
                    <a:pt x="1121" y="243"/>
                  </a:lnTo>
                  <a:lnTo>
                    <a:pt x="1124" y="265"/>
                  </a:lnTo>
                  <a:lnTo>
                    <a:pt x="1124" y="290"/>
                  </a:lnTo>
                  <a:lnTo>
                    <a:pt x="1118" y="306"/>
                  </a:lnTo>
                  <a:lnTo>
                    <a:pt x="1105" y="312"/>
                  </a:lnTo>
                  <a:lnTo>
                    <a:pt x="1090" y="315"/>
                  </a:lnTo>
                  <a:lnTo>
                    <a:pt x="1074" y="318"/>
                  </a:lnTo>
                  <a:lnTo>
                    <a:pt x="1062" y="324"/>
                  </a:lnTo>
                  <a:lnTo>
                    <a:pt x="1055" y="327"/>
                  </a:lnTo>
                  <a:lnTo>
                    <a:pt x="1049" y="334"/>
                  </a:lnTo>
                  <a:lnTo>
                    <a:pt x="1043" y="343"/>
                  </a:lnTo>
                  <a:lnTo>
                    <a:pt x="1040" y="349"/>
                  </a:lnTo>
                  <a:lnTo>
                    <a:pt x="1033" y="356"/>
                  </a:lnTo>
                  <a:lnTo>
                    <a:pt x="1030" y="368"/>
                  </a:lnTo>
                  <a:lnTo>
                    <a:pt x="1024" y="377"/>
                  </a:lnTo>
                  <a:lnTo>
                    <a:pt x="1021" y="384"/>
                  </a:lnTo>
                  <a:lnTo>
                    <a:pt x="1015" y="390"/>
                  </a:lnTo>
                  <a:lnTo>
                    <a:pt x="1005" y="399"/>
                  </a:lnTo>
                  <a:lnTo>
                    <a:pt x="996" y="406"/>
                  </a:lnTo>
                  <a:lnTo>
                    <a:pt x="990" y="412"/>
                  </a:lnTo>
                  <a:lnTo>
                    <a:pt x="987" y="434"/>
                  </a:lnTo>
                  <a:lnTo>
                    <a:pt x="987" y="462"/>
                  </a:lnTo>
                  <a:lnTo>
                    <a:pt x="990" y="487"/>
                  </a:lnTo>
                  <a:lnTo>
                    <a:pt x="999" y="515"/>
                  </a:lnTo>
                  <a:lnTo>
                    <a:pt x="1012" y="546"/>
                  </a:lnTo>
                  <a:lnTo>
                    <a:pt x="1027" y="574"/>
                  </a:lnTo>
                  <a:lnTo>
                    <a:pt x="1033" y="580"/>
                  </a:lnTo>
                  <a:lnTo>
                    <a:pt x="1040" y="593"/>
                  </a:lnTo>
                  <a:lnTo>
                    <a:pt x="1049" y="602"/>
                  </a:lnTo>
                  <a:lnTo>
                    <a:pt x="1055" y="615"/>
                  </a:lnTo>
                  <a:lnTo>
                    <a:pt x="1062" y="624"/>
                  </a:lnTo>
                  <a:lnTo>
                    <a:pt x="1068" y="643"/>
                  </a:lnTo>
                  <a:lnTo>
                    <a:pt x="1077" y="668"/>
                  </a:lnTo>
                  <a:lnTo>
                    <a:pt x="1087" y="687"/>
                  </a:lnTo>
                  <a:lnTo>
                    <a:pt x="1093" y="693"/>
                  </a:lnTo>
                  <a:lnTo>
                    <a:pt x="1105" y="699"/>
                  </a:lnTo>
                  <a:lnTo>
                    <a:pt x="1118" y="708"/>
                  </a:lnTo>
                  <a:lnTo>
                    <a:pt x="1127" y="715"/>
                  </a:lnTo>
                  <a:lnTo>
                    <a:pt x="1133" y="721"/>
                  </a:lnTo>
                  <a:lnTo>
                    <a:pt x="1140" y="740"/>
                  </a:lnTo>
                  <a:lnTo>
                    <a:pt x="1146" y="758"/>
                  </a:lnTo>
                  <a:lnTo>
                    <a:pt x="1149" y="777"/>
                  </a:lnTo>
                  <a:lnTo>
                    <a:pt x="1149" y="805"/>
                  </a:lnTo>
                  <a:lnTo>
                    <a:pt x="1146" y="843"/>
                  </a:lnTo>
                  <a:lnTo>
                    <a:pt x="1143" y="874"/>
                  </a:lnTo>
                  <a:lnTo>
                    <a:pt x="1143" y="905"/>
                  </a:lnTo>
                  <a:lnTo>
                    <a:pt x="1143" y="939"/>
                  </a:lnTo>
                  <a:lnTo>
                    <a:pt x="1143" y="971"/>
                  </a:lnTo>
                  <a:lnTo>
                    <a:pt x="1149" y="993"/>
                  </a:lnTo>
                  <a:lnTo>
                    <a:pt x="1152" y="1014"/>
                  </a:lnTo>
                  <a:lnTo>
                    <a:pt x="1158" y="1033"/>
                  </a:lnTo>
                  <a:lnTo>
                    <a:pt x="1155" y="1049"/>
                  </a:lnTo>
                  <a:lnTo>
                    <a:pt x="1152" y="1068"/>
                  </a:lnTo>
                  <a:lnTo>
                    <a:pt x="1149" y="1086"/>
                  </a:lnTo>
                  <a:lnTo>
                    <a:pt x="1152" y="1099"/>
                  </a:lnTo>
                  <a:lnTo>
                    <a:pt x="1155" y="1105"/>
                  </a:lnTo>
                  <a:lnTo>
                    <a:pt x="1165" y="1111"/>
                  </a:lnTo>
                  <a:lnTo>
                    <a:pt x="1174" y="1117"/>
                  </a:lnTo>
                  <a:lnTo>
                    <a:pt x="1183" y="1124"/>
                  </a:lnTo>
                  <a:lnTo>
                    <a:pt x="1193" y="1124"/>
                  </a:lnTo>
                  <a:lnTo>
                    <a:pt x="1202" y="1124"/>
                  </a:lnTo>
                  <a:lnTo>
                    <a:pt x="1208" y="1121"/>
                  </a:lnTo>
                  <a:lnTo>
                    <a:pt x="1211" y="1114"/>
                  </a:lnTo>
                  <a:lnTo>
                    <a:pt x="1218" y="1105"/>
                  </a:lnTo>
                  <a:lnTo>
                    <a:pt x="1221" y="1096"/>
                  </a:lnTo>
                  <a:lnTo>
                    <a:pt x="1224" y="1086"/>
                  </a:lnTo>
                  <a:lnTo>
                    <a:pt x="1227" y="1068"/>
                  </a:lnTo>
                  <a:lnTo>
                    <a:pt x="1227" y="1049"/>
                  </a:lnTo>
                  <a:lnTo>
                    <a:pt x="1227" y="1030"/>
                  </a:lnTo>
                  <a:lnTo>
                    <a:pt x="1240" y="1011"/>
                  </a:lnTo>
                  <a:lnTo>
                    <a:pt x="1252" y="986"/>
                  </a:lnTo>
                  <a:lnTo>
                    <a:pt x="1261" y="964"/>
                  </a:lnTo>
                  <a:lnTo>
                    <a:pt x="1265" y="946"/>
                  </a:lnTo>
                  <a:lnTo>
                    <a:pt x="1265" y="924"/>
                  </a:lnTo>
                  <a:lnTo>
                    <a:pt x="1265" y="899"/>
                  </a:lnTo>
                  <a:lnTo>
                    <a:pt x="1268" y="880"/>
                  </a:lnTo>
                  <a:lnTo>
                    <a:pt x="1283" y="865"/>
                  </a:lnTo>
                  <a:lnTo>
                    <a:pt x="1305" y="849"/>
                  </a:lnTo>
                  <a:lnTo>
                    <a:pt x="1327" y="840"/>
                  </a:lnTo>
                  <a:lnTo>
                    <a:pt x="1355" y="836"/>
                  </a:lnTo>
                  <a:lnTo>
                    <a:pt x="1389" y="836"/>
                  </a:lnTo>
                  <a:lnTo>
                    <a:pt x="1418" y="840"/>
                  </a:lnTo>
                  <a:lnTo>
                    <a:pt x="1436" y="846"/>
                  </a:lnTo>
                  <a:lnTo>
                    <a:pt x="1458" y="855"/>
                  </a:lnTo>
                  <a:lnTo>
                    <a:pt x="1474" y="861"/>
                  </a:lnTo>
                  <a:lnTo>
                    <a:pt x="1492" y="861"/>
                  </a:lnTo>
                  <a:lnTo>
                    <a:pt x="1511" y="858"/>
                  </a:lnTo>
                  <a:lnTo>
                    <a:pt x="1527" y="855"/>
                  </a:lnTo>
                  <a:lnTo>
                    <a:pt x="1549" y="861"/>
                  </a:lnTo>
                  <a:lnTo>
                    <a:pt x="1574" y="871"/>
                  </a:lnTo>
                  <a:lnTo>
                    <a:pt x="1596" y="880"/>
                  </a:lnTo>
                  <a:lnTo>
                    <a:pt x="1617" y="893"/>
                  </a:lnTo>
                  <a:lnTo>
                    <a:pt x="1642" y="908"/>
                  </a:lnTo>
                  <a:lnTo>
                    <a:pt x="1664" y="921"/>
                  </a:lnTo>
                  <a:lnTo>
                    <a:pt x="1686" y="933"/>
                  </a:lnTo>
                  <a:lnTo>
                    <a:pt x="1711" y="943"/>
                  </a:lnTo>
                  <a:lnTo>
                    <a:pt x="1739" y="955"/>
                  </a:lnTo>
                  <a:lnTo>
                    <a:pt x="1767" y="964"/>
                  </a:lnTo>
                  <a:lnTo>
                    <a:pt x="1792" y="971"/>
                  </a:lnTo>
                  <a:lnTo>
                    <a:pt x="1830" y="974"/>
                  </a:lnTo>
                  <a:lnTo>
                    <a:pt x="1870" y="974"/>
                  </a:lnTo>
                  <a:lnTo>
                    <a:pt x="1914" y="974"/>
                  </a:lnTo>
                  <a:lnTo>
                    <a:pt x="1948" y="974"/>
                  </a:lnTo>
                  <a:lnTo>
                    <a:pt x="1989" y="974"/>
                  </a:lnTo>
                  <a:lnTo>
                    <a:pt x="2036" y="974"/>
                  </a:lnTo>
                  <a:lnTo>
                    <a:pt x="2086" y="971"/>
                  </a:lnTo>
                  <a:lnTo>
                    <a:pt x="2133" y="971"/>
                  </a:lnTo>
                  <a:lnTo>
                    <a:pt x="2173" y="974"/>
                  </a:lnTo>
                  <a:lnTo>
                    <a:pt x="2208" y="980"/>
                  </a:lnTo>
                  <a:lnTo>
                    <a:pt x="2248" y="989"/>
                  </a:lnTo>
                  <a:lnTo>
                    <a:pt x="2289" y="1002"/>
                  </a:lnTo>
                  <a:lnTo>
                    <a:pt x="2329" y="1014"/>
                  </a:lnTo>
                  <a:lnTo>
                    <a:pt x="2364" y="1024"/>
                  </a:lnTo>
                  <a:lnTo>
                    <a:pt x="2401" y="1039"/>
                  </a:lnTo>
                  <a:lnTo>
                    <a:pt x="2445" y="1055"/>
                  </a:lnTo>
                  <a:lnTo>
                    <a:pt x="2492" y="1074"/>
                  </a:lnTo>
                  <a:lnTo>
                    <a:pt x="2529" y="1089"/>
                  </a:lnTo>
                  <a:lnTo>
                    <a:pt x="2551" y="1099"/>
                  </a:lnTo>
                  <a:lnTo>
                    <a:pt x="2576" y="1114"/>
                  </a:lnTo>
                  <a:lnTo>
                    <a:pt x="2604" y="1127"/>
                  </a:lnTo>
                  <a:lnTo>
                    <a:pt x="2626" y="1133"/>
                  </a:lnTo>
                  <a:lnTo>
                    <a:pt x="2660" y="1139"/>
                  </a:lnTo>
                  <a:lnTo>
                    <a:pt x="2704" y="1139"/>
                  </a:lnTo>
                  <a:lnTo>
                    <a:pt x="2745" y="1136"/>
                  </a:lnTo>
                  <a:lnTo>
                    <a:pt x="2779" y="1133"/>
                  </a:lnTo>
                  <a:lnTo>
                    <a:pt x="2817" y="1124"/>
                  </a:lnTo>
                  <a:lnTo>
                    <a:pt x="2863" y="1111"/>
                  </a:lnTo>
                  <a:lnTo>
                    <a:pt x="2907" y="1096"/>
                  </a:lnTo>
                  <a:lnTo>
                    <a:pt x="2941" y="1080"/>
                  </a:lnTo>
                  <a:lnTo>
                    <a:pt x="2966" y="1068"/>
                  </a:lnTo>
                  <a:lnTo>
                    <a:pt x="2995" y="1049"/>
                  </a:lnTo>
                  <a:lnTo>
                    <a:pt x="3023" y="1027"/>
                  </a:lnTo>
                  <a:lnTo>
                    <a:pt x="3044" y="1011"/>
                  </a:lnTo>
                  <a:lnTo>
                    <a:pt x="3073" y="989"/>
                  </a:lnTo>
                  <a:lnTo>
                    <a:pt x="3104" y="964"/>
                  </a:lnTo>
                  <a:lnTo>
                    <a:pt x="3135" y="936"/>
                  </a:lnTo>
                  <a:lnTo>
                    <a:pt x="3163" y="915"/>
                  </a:lnTo>
                  <a:lnTo>
                    <a:pt x="3188" y="899"/>
                  </a:lnTo>
                  <a:lnTo>
                    <a:pt x="3213" y="883"/>
                  </a:lnTo>
                  <a:lnTo>
                    <a:pt x="3238" y="871"/>
                  </a:lnTo>
                  <a:lnTo>
                    <a:pt x="3263" y="858"/>
                  </a:lnTo>
                  <a:lnTo>
                    <a:pt x="3294" y="849"/>
                  </a:lnTo>
                  <a:lnTo>
                    <a:pt x="3326" y="840"/>
                  </a:lnTo>
                  <a:lnTo>
                    <a:pt x="3354" y="833"/>
                  </a:lnTo>
                  <a:lnTo>
                    <a:pt x="3382" y="833"/>
                  </a:lnTo>
                  <a:lnTo>
                    <a:pt x="3413" y="833"/>
                  </a:lnTo>
                  <a:lnTo>
                    <a:pt x="3441" y="836"/>
                  </a:lnTo>
                  <a:lnTo>
                    <a:pt x="3441" y="871"/>
                  </a:lnTo>
                  <a:lnTo>
                    <a:pt x="3441" y="899"/>
                  </a:lnTo>
                  <a:lnTo>
                    <a:pt x="3444" y="921"/>
                  </a:lnTo>
                  <a:lnTo>
                    <a:pt x="3457" y="949"/>
                  </a:lnTo>
                  <a:lnTo>
                    <a:pt x="3466" y="977"/>
                  </a:lnTo>
                  <a:lnTo>
                    <a:pt x="3472" y="1002"/>
                  </a:lnTo>
                  <a:lnTo>
                    <a:pt x="3475" y="1024"/>
                  </a:lnTo>
                  <a:lnTo>
                    <a:pt x="3466" y="1039"/>
                  </a:lnTo>
                  <a:lnTo>
                    <a:pt x="3447" y="1058"/>
                  </a:lnTo>
                  <a:lnTo>
                    <a:pt x="3432" y="1074"/>
                  </a:lnTo>
                  <a:lnTo>
                    <a:pt x="3422" y="1089"/>
                  </a:lnTo>
                  <a:lnTo>
                    <a:pt x="3422" y="1108"/>
                  </a:lnTo>
                  <a:lnTo>
                    <a:pt x="3429" y="1130"/>
                  </a:lnTo>
                  <a:lnTo>
                    <a:pt x="3438" y="1152"/>
                  </a:lnTo>
                  <a:lnTo>
                    <a:pt x="3450" y="1164"/>
                  </a:lnTo>
                  <a:lnTo>
                    <a:pt x="3466" y="1171"/>
                  </a:lnTo>
                  <a:lnTo>
                    <a:pt x="3488" y="1174"/>
                  </a:lnTo>
                  <a:lnTo>
                    <a:pt x="3504" y="1180"/>
                  </a:lnTo>
                  <a:lnTo>
                    <a:pt x="3510" y="1186"/>
                  </a:lnTo>
                  <a:lnTo>
                    <a:pt x="3513" y="1199"/>
                  </a:lnTo>
                  <a:lnTo>
                    <a:pt x="3519" y="1208"/>
                  </a:lnTo>
                  <a:lnTo>
                    <a:pt x="3519" y="1217"/>
                  </a:lnTo>
                  <a:lnTo>
                    <a:pt x="3522" y="1239"/>
                  </a:lnTo>
                  <a:lnTo>
                    <a:pt x="3522" y="1267"/>
                  </a:lnTo>
                  <a:lnTo>
                    <a:pt x="3519" y="1286"/>
                  </a:lnTo>
                  <a:lnTo>
                    <a:pt x="3513" y="1292"/>
                  </a:lnTo>
                  <a:lnTo>
                    <a:pt x="3507" y="1299"/>
                  </a:lnTo>
                  <a:lnTo>
                    <a:pt x="3500" y="1302"/>
                  </a:lnTo>
                  <a:lnTo>
                    <a:pt x="3494" y="1305"/>
                  </a:lnTo>
                  <a:lnTo>
                    <a:pt x="3488" y="1311"/>
                  </a:lnTo>
                  <a:lnTo>
                    <a:pt x="3485" y="1317"/>
                  </a:lnTo>
                  <a:lnTo>
                    <a:pt x="3485" y="1330"/>
                  </a:lnTo>
                  <a:lnTo>
                    <a:pt x="3494" y="1345"/>
                  </a:lnTo>
                  <a:lnTo>
                    <a:pt x="3504" y="1358"/>
                  </a:lnTo>
                  <a:lnTo>
                    <a:pt x="3510" y="1370"/>
                  </a:lnTo>
                  <a:lnTo>
                    <a:pt x="3522" y="1392"/>
                  </a:lnTo>
                  <a:lnTo>
                    <a:pt x="3535" y="1420"/>
                  </a:lnTo>
                  <a:lnTo>
                    <a:pt x="3547" y="1445"/>
                  </a:lnTo>
                  <a:lnTo>
                    <a:pt x="3553" y="1470"/>
                  </a:lnTo>
                  <a:lnTo>
                    <a:pt x="3557" y="1492"/>
                  </a:lnTo>
                  <a:lnTo>
                    <a:pt x="3553" y="1517"/>
                  </a:lnTo>
                  <a:lnTo>
                    <a:pt x="3553" y="1539"/>
                  </a:lnTo>
                  <a:lnTo>
                    <a:pt x="3563" y="1564"/>
                  </a:lnTo>
                  <a:lnTo>
                    <a:pt x="3575" y="1589"/>
                  </a:lnTo>
                  <a:lnTo>
                    <a:pt x="3585" y="1617"/>
                  </a:lnTo>
                  <a:lnTo>
                    <a:pt x="3594" y="1639"/>
                  </a:lnTo>
                  <a:lnTo>
                    <a:pt x="3594" y="1655"/>
                  </a:lnTo>
                  <a:lnTo>
                    <a:pt x="3597" y="1676"/>
                  </a:lnTo>
                  <a:lnTo>
                    <a:pt x="3591" y="1692"/>
                  </a:lnTo>
                  <a:lnTo>
                    <a:pt x="3578" y="1698"/>
                  </a:lnTo>
                  <a:lnTo>
                    <a:pt x="3563" y="1701"/>
                  </a:lnTo>
                  <a:lnTo>
                    <a:pt x="3544" y="1705"/>
                  </a:lnTo>
                  <a:lnTo>
                    <a:pt x="3532" y="1711"/>
                  </a:lnTo>
                  <a:lnTo>
                    <a:pt x="3525" y="1726"/>
                  </a:lnTo>
                  <a:lnTo>
                    <a:pt x="3519" y="1745"/>
                  </a:lnTo>
                  <a:lnTo>
                    <a:pt x="3519" y="1764"/>
                  </a:lnTo>
                  <a:lnTo>
                    <a:pt x="3528" y="1783"/>
                  </a:lnTo>
                  <a:lnTo>
                    <a:pt x="3544" y="1801"/>
                  </a:lnTo>
                  <a:lnTo>
                    <a:pt x="3560" y="1817"/>
                  </a:lnTo>
                  <a:lnTo>
                    <a:pt x="3572" y="1836"/>
                  </a:lnTo>
                  <a:lnTo>
                    <a:pt x="3591" y="1851"/>
                  </a:lnTo>
                  <a:lnTo>
                    <a:pt x="3603" y="1870"/>
                  </a:lnTo>
                  <a:lnTo>
                    <a:pt x="3607" y="1889"/>
                  </a:lnTo>
                  <a:lnTo>
                    <a:pt x="3603" y="1914"/>
                  </a:lnTo>
                  <a:lnTo>
                    <a:pt x="3600" y="1939"/>
                  </a:lnTo>
                  <a:lnTo>
                    <a:pt x="3594" y="1957"/>
                  </a:lnTo>
                  <a:lnTo>
                    <a:pt x="3591" y="1967"/>
                  </a:lnTo>
                  <a:lnTo>
                    <a:pt x="3585" y="1979"/>
                  </a:lnTo>
                  <a:lnTo>
                    <a:pt x="3578" y="1989"/>
                  </a:lnTo>
                  <a:lnTo>
                    <a:pt x="3572" y="1998"/>
                  </a:lnTo>
                  <a:lnTo>
                    <a:pt x="3569" y="2007"/>
                  </a:lnTo>
                  <a:lnTo>
                    <a:pt x="3563" y="2032"/>
                  </a:lnTo>
                  <a:lnTo>
                    <a:pt x="3557" y="2064"/>
                  </a:lnTo>
                  <a:lnTo>
                    <a:pt x="3553" y="2095"/>
                  </a:lnTo>
                  <a:lnTo>
                    <a:pt x="3560" y="2120"/>
                  </a:lnTo>
                  <a:lnTo>
                    <a:pt x="3572" y="2135"/>
                  </a:lnTo>
                  <a:lnTo>
                    <a:pt x="3594" y="2148"/>
                  </a:lnTo>
                  <a:lnTo>
                    <a:pt x="3613" y="2157"/>
                  </a:lnTo>
                  <a:lnTo>
                    <a:pt x="3635" y="2157"/>
                  </a:lnTo>
                  <a:lnTo>
                    <a:pt x="3657" y="2157"/>
                  </a:lnTo>
                  <a:lnTo>
                    <a:pt x="3675" y="2157"/>
                  </a:lnTo>
                  <a:lnTo>
                    <a:pt x="3682" y="2164"/>
                  </a:lnTo>
                  <a:lnTo>
                    <a:pt x="3691" y="2170"/>
                  </a:lnTo>
                  <a:lnTo>
                    <a:pt x="3697" y="2179"/>
                  </a:lnTo>
                  <a:lnTo>
                    <a:pt x="3703" y="2189"/>
                  </a:lnTo>
                  <a:lnTo>
                    <a:pt x="3713" y="2195"/>
                  </a:lnTo>
                  <a:lnTo>
                    <a:pt x="3719" y="2201"/>
                  </a:lnTo>
                  <a:lnTo>
                    <a:pt x="3744" y="2204"/>
                  </a:lnTo>
                  <a:lnTo>
                    <a:pt x="3775" y="2201"/>
                  </a:lnTo>
                  <a:lnTo>
                    <a:pt x="3803" y="2195"/>
                  </a:lnTo>
                  <a:lnTo>
                    <a:pt x="3828" y="2182"/>
                  </a:lnTo>
                  <a:lnTo>
                    <a:pt x="3828" y="2179"/>
                  </a:lnTo>
                  <a:lnTo>
                    <a:pt x="3831" y="2173"/>
                  </a:lnTo>
                  <a:lnTo>
                    <a:pt x="3835" y="2167"/>
                  </a:lnTo>
                  <a:lnTo>
                    <a:pt x="3835" y="2160"/>
                  </a:lnTo>
                  <a:lnTo>
                    <a:pt x="3838" y="2157"/>
                  </a:lnTo>
                  <a:lnTo>
                    <a:pt x="3844" y="2157"/>
                  </a:lnTo>
                  <a:lnTo>
                    <a:pt x="3853" y="2157"/>
                  </a:lnTo>
                  <a:lnTo>
                    <a:pt x="3859" y="2160"/>
                  </a:lnTo>
                  <a:lnTo>
                    <a:pt x="3869" y="2167"/>
                  </a:lnTo>
                  <a:lnTo>
                    <a:pt x="3875" y="2170"/>
                  </a:lnTo>
                  <a:lnTo>
                    <a:pt x="3878" y="2176"/>
                  </a:lnTo>
                  <a:lnTo>
                    <a:pt x="3881" y="2185"/>
                  </a:lnTo>
                  <a:lnTo>
                    <a:pt x="3878" y="2201"/>
                  </a:lnTo>
                  <a:lnTo>
                    <a:pt x="3878" y="2217"/>
                  </a:lnTo>
                  <a:lnTo>
                    <a:pt x="3878" y="2229"/>
                  </a:lnTo>
                  <a:lnTo>
                    <a:pt x="3884" y="2235"/>
                  </a:lnTo>
                  <a:lnTo>
                    <a:pt x="3891" y="2242"/>
                  </a:lnTo>
                  <a:lnTo>
                    <a:pt x="3897" y="2251"/>
                  </a:lnTo>
                  <a:lnTo>
                    <a:pt x="3906" y="2257"/>
                  </a:lnTo>
                  <a:lnTo>
                    <a:pt x="3913" y="2263"/>
                  </a:lnTo>
                  <a:lnTo>
                    <a:pt x="3919" y="2282"/>
                  </a:lnTo>
                  <a:lnTo>
                    <a:pt x="3925" y="2304"/>
                  </a:lnTo>
                  <a:lnTo>
                    <a:pt x="3931" y="2329"/>
                  </a:lnTo>
                  <a:lnTo>
                    <a:pt x="3938" y="2348"/>
                  </a:lnTo>
                  <a:lnTo>
                    <a:pt x="3953" y="2363"/>
                  </a:lnTo>
                  <a:lnTo>
                    <a:pt x="3972" y="2379"/>
                  </a:lnTo>
                  <a:lnTo>
                    <a:pt x="3991" y="2385"/>
                  </a:lnTo>
                  <a:lnTo>
                    <a:pt x="4006" y="2382"/>
                  </a:lnTo>
                  <a:lnTo>
                    <a:pt x="4025" y="2373"/>
                  </a:lnTo>
                  <a:lnTo>
                    <a:pt x="4044" y="2363"/>
                  </a:lnTo>
                  <a:lnTo>
                    <a:pt x="4059" y="2360"/>
                  </a:lnTo>
                  <a:lnTo>
                    <a:pt x="4069" y="2363"/>
                  </a:lnTo>
                  <a:lnTo>
                    <a:pt x="4075" y="2373"/>
                  </a:lnTo>
                  <a:lnTo>
                    <a:pt x="4081" y="2379"/>
                  </a:lnTo>
                  <a:lnTo>
                    <a:pt x="4084" y="2388"/>
                  </a:lnTo>
                  <a:lnTo>
                    <a:pt x="4091" y="2395"/>
                  </a:lnTo>
                  <a:lnTo>
                    <a:pt x="4097" y="2410"/>
                  </a:lnTo>
                  <a:lnTo>
                    <a:pt x="4106" y="2432"/>
                  </a:lnTo>
                  <a:lnTo>
                    <a:pt x="4116" y="2451"/>
                  </a:lnTo>
                  <a:lnTo>
                    <a:pt x="4116" y="2470"/>
                  </a:lnTo>
                  <a:lnTo>
                    <a:pt x="4106" y="2485"/>
                  </a:lnTo>
                  <a:lnTo>
                    <a:pt x="4091" y="2507"/>
                  </a:lnTo>
                  <a:lnTo>
                    <a:pt x="4078" y="2523"/>
                  </a:lnTo>
                  <a:lnTo>
                    <a:pt x="4075" y="2545"/>
                  </a:lnTo>
                  <a:lnTo>
                    <a:pt x="4072" y="2573"/>
                  </a:lnTo>
                  <a:lnTo>
                    <a:pt x="4078" y="2594"/>
                  </a:lnTo>
                  <a:lnTo>
                    <a:pt x="4084" y="2601"/>
                  </a:lnTo>
                  <a:lnTo>
                    <a:pt x="4091" y="2610"/>
                  </a:lnTo>
                  <a:lnTo>
                    <a:pt x="4100" y="2616"/>
                  </a:lnTo>
                  <a:lnTo>
                    <a:pt x="4109" y="2623"/>
                  </a:lnTo>
                  <a:lnTo>
                    <a:pt x="4119" y="2626"/>
                  </a:lnTo>
                  <a:lnTo>
                    <a:pt x="4125" y="2635"/>
                  </a:lnTo>
                  <a:lnTo>
                    <a:pt x="4134" y="2644"/>
                  </a:lnTo>
                  <a:lnTo>
                    <a:pt x="4144" y="2657"/>
                  </a:lnTo>
                  <a:lnTo>
                    <a:pt x="4153" y="2666"/>
                  </a:lnTo>
                  <a:lnTo>
                    <a:pt x="4159" y="2673"/>
                  </a:lnTo>
                  <a:lnTo>
                    <a:pt x="4175" y="2676"/>
                  </a:lnTo>
                  <a:lnTo>
                    <a:pt x="4194" y="2676"/>
                  </a:lnTo>
                  <a:lnTo>
                    <a:pt x="4212" y="2673"/>
                  </a:lnTo>
                  <a:lnTo>
                    <a:pt x="4206" y="2685"/>
                  </a:lnTo>
                  <a:lnTo>
                    <a:pt x="4203" y="2698"/>
                  </a:lnTo>
                  <a:lnTo>
                    <a:pt x="4200" y="2707"/>
                  </a:lnTo>
                  <a:lnTo>
                    <a:pt x="4197" y="2716"/>
                  </a:lnTo>
                  <a:lnTo>
                    <a:pt x="4197" y="2738"/>
                  </a:lnTo>
                  <a:lnTo>
                    <a:pt x="4200" y="2766"/>
                  </a:lnTo>
                  <a:lnTo>
                    <a:pt x="4206" y="2791"/>
                  </a:lnTo>
                  <a:lnTo>
                    <a:pt x="4212" y="2813"/>
                  </a:lnTo>
                  <a:lnTo>
                    <a:pt x="4228" y="2835"/>
                  </a:lnTo>
                  <a:lnTo>
                    <a:pt x="4250" y="2857"/>
                  </a:lnTo>
                  <a:lnTo>
                    <a:pt x="4272" y="2872"/>
                  </a:lnTo>
                  <a:lnTo>
                    <a:pt x="4278" y="2875"/>
                  </a:lnTo>
                  <a:lnTo>
                    <a:pt x="4287" y="2875"/>
                  </a:lnTo>
                  <a:lnTo>
                    <a:pt x="4297" y="2879"/>
                  </a:lnTo>
                  <a:lnTo>
                    <a:pt x="4306" y="2879"/>
                  </a:lnTo>
                  <a:lnTo>
                    <a:pt x="4315" y="2882"/>
                  </a:lnTo>
                  <a:lnTo>
                    <a:pt x="4322" y="2885"/>
                  </a:lnTo>
                  <a:lnTo>
                    <a:pt x="4334" y="2900"/>
                  </a:lnTo>
                  <a:lnTo>
                    <a:pt x="4347" y="2925"/>
                  </a:lnTo>
                  <a:lnTo>
                    <a:pt x="4356" y="2950"/>
                  </a:lnTo>
                  <a:lnTo>
                    <a:pt x="4365" y="2972"/>
                  </a:lnTo>
                  <a:lnTo>
                    <a:pt x="4372" y="2994"/>
                  </a:lnTo>
                  <a:lnTo>
                    <a:pt x="4378" y="3019"/>
                  </a:lnTo>
                  <a:lnTo>
                    <a:pt x="4384" y="3044"/>
                  </a:lnTo>
                  <a:lnTo>
                    <a:pt x="4393" y="3063"/>
                  </a:lnTo>
                  <a:lnTo>
                    <a:pt x="4400" y="3069"/>
                  </a:lnTo>
                  <a:lnTo>
                    <a:pt x="4409" y="3078"/>
                  </a:lnTo>
                  <a:lnTo>
                    <a:pt x="4418" y="3085"/>
                  </a:lnTo>
                  <a:lnTo>
                    <a:pt x="4428" y="3091"/>
                  </a:lnTo>
                  <a:lnTo>
                    <a:pt x="4434" y="3097"/>
                  </a:lnTo>
                  <a:lnTo>
                    <a:pt x="4443" y="3122"/>
                  </a:lnTo>
                  <a:lnTo>
                    <a:pt x="4447" y="3153"/>
                  </a:lnTo>
                  <a:lnTo>
                    <a:pt x="4447" y="3185"/>
                  </a:lnTo>
                  <a:lnTo>
                    <a:pt x="4447" y="3213"/>
                  </a:lnTo>
                  <a:lnTo>
                    <a:pt x="4437" y="3241"/>
                  </a:lnTo>
                  <a:lnTo>
                    <a:pt x="4425" y="3272"/>
                  </a:lnTo>
                  <a:lnTo>
                    <a:pt x="4409" y="3306"/>
                  </a:lnTo>
                  <a:lnTo>
                    <a:pt x="4397" y="3331"/>
                  </a:lnTo>
                  <a:lnTo>
                    <a:pt x="4381" y="3359"/>
                  </a:lnTo>
                  <a:lnTo>
                    <a:pt x="4359" y="3388"/>
                  </a:lnTo>
                  <a:lnTo>
                    <a:pt x="4340" y="3409"/>
                  </a:lnTo>
                  <a:lnTo>
                    <a:pt x="4319" y="3425"/>
                  </a:lnTo>
                  <a:lnTo>
                    <a:pt x="4290" y="3441"/>
                  </a:lnTo>
                  <a:lnTo>
                    <a:pt x="4262" y="3450"/>
                  </a:lnTo>
                  <a:lnTo>
                    <a:pt x="4240" y="3450"/>
                  </a:lnTo>
                  <a:lnTo>
                    <a:pt x="4212" y="3444"/>
                  </a:lnTo>
                  <a:lnTo>
                    <a:pt x="4187" y="3438"/>
                  </a:lnTo>
                  <a:lnTo>
                    <a:pt x="4166" y="3441"/>
                  </a:lnTo>
                  <a:lnTo>
                    <a:pt x="4147" y="3450"/>
                  </a:lnTo>
                  <a:lnTo>
                    <a:pt x="4125" y="3472"/>
                  </a:lnTo>
                  <a:lnTo>
                    <a:pt x="4109" y="3494"/>
                  </a:lnTo>
                  <a:lnTo>
                    <a:pt x="4103" y="3512"/>
                  </a:lnTo>
                  <a:lnTo>
                    <a:pt x="4106" y="3528"/>
                  </a:lnTo>
                  <a:lnTo>
                    <a:pt x="4116" y="3550"/>
                  </a:lnTo>
                  <a:lnTo>
                    <a:pt x="4128" y="3569"/>
                  </a:lnTo>
                  <a:lnTo>
                    <a:pt x="4141" y="3581"/>
                  </a:lnTo>
                  <a:lnTo>
                    <a:pt x="4147" y="3587"/>
                  </a:lnTo>
                  <a:lnTo>
                    <a:pt x="4156" y="3594"/>
                  </a:lnTo>
                  <a:lnTo>
                    <a:pt x="4166" y="3600"/>
                  </a:lnTo>
                  <a:lnTo>
                    <a:pt x="4175" y="3603"/>
                  </a:lnTo>
                  <a:lnTo>
                    <a:pt x="4178" y="3609"/>
                  </a:lnTo>
                  <a:lnTo>
                    <a:pt x="4187" y="3631"/>
                  </a:lnTo>
                  <a:lnTo>
                    <a:pt x="4194" y="3659"/>
                  </a:lnTo>
                  <a:lnTo>
                    <a:pt x="4194" y="3681"/>
                  </a:lnTo>
                  <a:lnTo>
                    <a:pt x="4184" y="3700"/>
                  </a:lnTo>
                  <a:lnTo>
                    <a:pt x="4172" y="3722"/>
                  </a:lnTo>
                  <a:lnTo>
                    <a:pt x="4162" y="3740"/>
                  </a:lnTo>
                  <a:lnTo>
                    <a:pt x="4162" y="3759"/>
                  </a:lnTo>
                  <a:lnTo>
                    <a:pt x="4169" y="3784"/>
                  </a:lnTo>
                  <a:lnTo>
                    <a:pt x="4178" y="3806"/>
                  </a:lnTo>
                  <a:lnTo>
                    <a:pt x="4184" y="3825"/>
                  </a:lnTo>
                  <a:lnTo>
                    <a:pt x="4187" y="3831"/>
                  </a:lnTo>
                  <a:lnTo>
                    <a:pt x="4191" y="3837"/>
                  </a:lnTo>
                  <a:lnTo>
                    <a:pt x="4181" y="3837"/>
                  </a:lnTo>
                  <a:lnTo>
                    <a:pt x="4169" y="3837"/>
                  </a:lnTo>
                  <a:lnTo>
                    <a:pt x="4159" y="3837"/>
                  </a:lnTo>
                  <a:lnTo>
                    <a:pt x="4141" y="3834"/>
                  </a:lnTo>
                  <a:lnTo>
                    <a:pt x="4116" y="3831"/>
                  </a:lnTo>
                  <a:lnTo>
                    <a:pt x="4094" y="3828"/>
                  </a:lnTo>
                  <a:lnTo>
                    <a:pt x="4075" y="3822"/>
                  </a:lnTo>
                  <a:lnTo>
                    <a:pt x="4066" y="3809"/>
                  </a:lnTo>
                  <a:lnTo>
                    <a:pt x="4059" y="3787"/>
                  </a:lnTo>
                  <a:lnTo>
                    <a:pt x="4050" y="3769"/>
                  </a:lnTo>
                  <a:lnTo>
                    <a:pt x="4041" y="3753"/>
                  </a:lnTo>
                  <a:lnTo>
                    <a:pt x="4022" y="3744"/>
                  </a:lnTo>
                  <a:lnTo>
                    <a:pt x="4000" y="3731"/>
                  </a:lnTo>
                  <a:lnTo>
                    <a:pt x="3981" y="3719"/>
                  </a:lnTo>
                  <a:lnTo>
                    <a:pt x="3978" y="3706"/>
                  </a:lnTo>
                  <a:lnTo>
                    <a:pt x="3975" y="3687"/>
                  </a:lnTo>
                  <a:lnTo>
                    <a:pt x="3972" y="3669"/>
                  </a:lnTo>
                  <a:lnTo>
                    <a:pt x="3966" y="3656"/>
                  </a:lnTo>
                  <a:lnTo>
                    <a:pt x="3950" y="3644"/>
                  </a:lnTo>
                  <a:lnTo>
                    <a:pt x="3925" y="3634"/>
                  </a:lnTo>
                  <a:lnTo>
                    <a:pt x="3900" y="3628"/>
                  </a:lnTo>
                  <a:lnTo>
                    <a:pt x="3878" y="3628"/>
                  </a:lnTo>
                  <a:lnTo>
                    <a:pt x="3869" y="3644"/>
                  </a:lnTo>
                  <a:lnTo>
                    <a:pt x="3863" y="3662"/>
                  </a:lnTo>
                  <a:lnTo>
                    <a:pt x="3853" y="3684"/>
                  </a:lnTo>
                  <a:lnTo>
                    <a:pt x="3844" y="3697"/>
                  </a:lnTo>
                  <a:lnTo>
                    <a:pt x="3831" y="3697"/>
                  </a:lnTo>
                  <a:lnTo>
                    <a:pt x="3816" y="3687"/>
                  </a:lnTo>
                  <a:lnTo>
                    <a:pt x="3800" y="3681"/>
                  </a:lnTo>
                  <a:lnTo>
                    <a:pt x="3788" y="3675"/>
                  </a:lnTo>
                  <a:lnTo>
                    <a:pt x="3769" y="3669"/>
                  </a:lnTo>
                  <a:lnTo>
                    <a:pt x="3741" y="3662"/>
                  </a:lnTo>
                  <a:lnTo>
                    <a:pt x="3713" y="3656"/>
                  </a:lnTo>
                  <a:lnTo>
                    <a:pt x="3688" y="3650"/>
                  </a:lnTo>
                  <a:lnTo>
                    <a:pt x="3669" y="3644"/>
                  </a:lnTo>
                  <a:lnTo>
                    <a:pt x="3663" y="3641"/>
                  </a:lnTo>
                  <a:lnTo>
                    <a:pt x="3663" y="3628"/>
                  </a:lnTo>
                  <a:lnTo>
                    <a:pt x="3666" y="3603"/>
                  </a:lnTo>
                  <a:lnTo>
                    <a:pt x="3669" y="3575"/>
                  </a:lnTo>
                  <a:lnTo>
                    <a:pt x="3669" y="3550"/>
                  </a:lnTo>
                  <a:lnTo>
                    <a:pt x="3663" y="3531"/>
                  </a:lnTo>
                  <a:lnTo>
                    <a:pt x="3647" y="3519"/>
                  </a:lnTo>
                  <a:lnTo>
                    <a:pt x="3622" y="3509"/>
                  </a:lnTo>
                  <a:lnTo>
                    <a:pt x="3603" y="3506"/>
                  </a:lnTo>
                  <a:lnTo>
                    <a:pt x="3585" y="3506"/>
                  </a:lnTo>
                  <a:lnTo>
                    <a:pt x="3566" y="3506"/>
                  </a:lnTo>
                  <a:lnTo>
                    <a:pt x="3544" y="3509"/>
                  </a:lnTo>
                  <a:lnTo>
                    <a:pt x="3525" y="3509"/>
                  </a:lnTo>
                  <a:lnTo>
                    <a:pt x="3519" y="3506"/>
                  </a:lnTo>
                  <a:lnTo>
                    <a:pt x="3519" y="3497"/>
                  </a:lnTo>
                  <a:lnTo>
                    <a:pt x="3513" y="3481"/>
                  </a:lnTo>
                  <a:lnTo>
                    <a:pt x="3507" y="3459"/>
                  </a:lnTo>
                  <a:lnTo>
                    <a:pt x="3504" y="3447"/>
                  </a:lnTo>
                  <a:lnTo>
                    <a:pt x="3507" y="3419"/>
                  </a:lnTo>
                  <a:lnTo>
                    <a:pt x="3513" y="3388"/>
                  </a:lnTo>
                  <a:lnTo>
                    <a:pt x="3513" y="3363"/>
                  </a:lnTo>
                  <a:lnTo>
                    <a:pt x="3510" y="3344"/>
                  </a:lnTo>
                  <a:lnTo>
                    <a:pt x="3504" y="3319"/>
                  </a:lnTo>
                  <a:lnTo>
                    <a:pt x="3497" y="3294"/>
                  </a:lnTo>
                  <a:lnTo>
                    <a:pt x="3491" y="3272"/>
                  </a:lnTo>
                  <a:lnTo>
                    <a:pt x="3491" y="3256"/>
                  </a:lnTo>
                  <a:lnTo>
                    <a:pt x="3494" y="3235"/>
                  </a:lnTo>
                  <a:lnTo>
                    <a:pt x="3494" y="3213"/>
                  </a:lnTo>
                  <a:lnTo>
                    <a:pt x="3491" y="3194"/>
                  </a:lnTo>
                  <a:lnTo>
                    <a:pt x="3479" y="3175"/>
                  </a:lnTo>
                  <a:lnTo>
                    <a:pt x="3460" y="3157"/>
                  </a:lnTo>
                  <a:lnTo>
                    <a:pt x="3444" y="3144"/>
                  </a:lnTo>
                  <a:lnTo>
                    <a:pt x="3422" y="3132"/>
                  </a:lnTo>
                  <a:lnTo>
                    <a:pt x="3397" y="3125"/>
                  </a:lnTo>
                  <a:lnTo>
                    <a:pt x="3375" y="3119"/>
                  </a:lnTo>
                  <a:lnTo>
                    <a:pt x="3347" y="3116"/>
                  </a:lnTo>
                  <a:lnTo>
                    <a:pt x="3316" y="3113"/>
                  </a:lnTo>
                  <a:lnTo>
                    <a:pt x="3279" y="3110"/>
                  </a:lnTo>
                  <a:lnTo>
                    <a:pt x="3247" y="3113"/>
                  </a:lnTo>
                  <a:lnTo>
                    <a:pt x="3222" y="3119"/>
                  </a:lnTo>
                  <a:lnTo>
                    <a:pt x="3216" y="3125"/>
                  </a:lnTo>
                  <a:lnTo>
                    <a:pt x="3213" y="3132"/>
                  </a:lnTo>
                  <a:lnTo>
                    <a:pt x="3207" y="3141"/>
                  </a:lnTo>
                  <a:lnTo>
                    <a:pt x="3204" y="3150"/>
                  </a:lnTo>
                  <a:lnTo>
                    <a:pt x="3197" y="3160"/>
                  </a:lnTo>
                  <a:lnTo>
                    <a:pt x="3191" y="3163"/>
                  </a:lnTo>
                  <a:lnTo>
                    <a:pt x="3173" y="3169"/>
                  </a:lnTo>
                  <a:lnTo>
                    <a:pt x="3151" y="3175"/>
                  </a:lnTo>
                  <a:lnTo>
                    <a:pt x="3126" y="3178"/>
                  </a:lnTo>
                  <a:lnTo>
                    <a:pt x="3110" y="3188"/>
                  </a:lnTo>
                  <a:lnTo>
                    <a:pt x="3107" y="3200"/>
                  </a:lnTo>
                  <a:lnTo>
                    <a:pt x="3110" y="3216"/>
                  </a:lnTo>
                  <a:lnTo>
                    <a:pt x="3110" y="3235"/>
                  </a:lnTo>
                  <a:lnTo>
                    <a:pt x="3110" y="3247"/>
                  </a:lnTo>
                  <a:lnTo>
                    <a:pt x="3091" y="3263"/>
                  </a:lnTo>
                  <a:lnTo>
                    <a:pt x="3066" y="3278"/>
                  </a:lnTo>
                  <a:lnTo>
                    <a:pt x="3044" y="3294"/>
                  </a:lnTo>
                  <a:lnTo>
                    <a:pt x="3041" y="3300"/>
                  </a:lnTo>
                  <a:lnTo>
                    <a:pt x="3035" y="3310"/>
                  </a:lnTo>
                  <a:lnTo>
                    <a:pt x="3032" y="3319"/>
                  </a:lnTo>
                  <a:lnTo>
                    <a:pt x="3026" y="3328"/>
                  </a:lnTo>
                  <a:lnTo>
                    <a:pt x="3019" y="3335"/>
                  </a:lnTo>
                  <a:lnTo>
                    <a:pt x="3001" y="3338"/>
                  </a:lnTo>
                  <a:lnTo>
                    <a:pt x="2976" y="3338"/>
                  </a:lnTo>
                  <a:lnTo>
                    <a:pt x="2954" y="3335"/>
                  </a:lnTo>
                  <a:lnTo>
                    <a:pt x="2938" y="3328"/>
                  </a:lnTo>
                  <a:lnTo>
                    <a:pt x="2920" y="3319"/>
                  </a:lnTo>
                  <a:lnTo>
                    <a:pt x="2904" y="3313"/>
                  </a:lnTo>
                  <a:lnTo>
                    <a:pt x="2898" y="3316"/>
                  </a:lnTo>
                  <a:lnTo>
                    <a:pt x="2888" y="3319"/>
                  </a:lnTo>
                  <a:lnTo>
                    <a:pt x="2879" y="3322"/>
                  </a:lnTo>
                  <a:lnTo>
                    <a:pt x="2873" y="3325"/>
                  </a:lnTo>
                  <a:lnTo>
                    <a:pt x="2863" y="3328"/>
                  </a:lnTo>
                  <a:lnTo>
                    <a:pt x="2857" y="3328"/>
                  </a:lnTo>
                  <a:lnTo>
                    <a:pt x="2841" y="3316"/>
                  </a:lnTo>
                  <a:lnTo>
                    <a:pt x="2829" y="3294"/>
                  </a:lnTo>
                  <a:lnTo>
                    <a:pt x="2820" y="3275"/>
                  </a:lnTo>
                  <a:lnTo>
                    <a:pt x="2813" y="3256"/>
                  </a:lnTo>
                  <a:lnTo>
                    <a:pt x="2813" y="3231"/>
                  </a:lnTo>
                  <a:lnTo>
                    <a:pt x="2813" y="3210"/>
                  </a:lnTo>
                  <a:lnTo>
                    <a:pt x="2810" y="3185"/>
                  </a:lnTo>
                  <a:lnTo>
                    <a:pt x="2801" y="3169"/>
                  </a:lnTo>
                  <a:lnTo>
                    <a:pt x="2785" y="3160"/>
                  </a:lnTo>
                  <a:lnTo>
                    <a:pt x="2760" y="3153"/>
                  </a:lnTo>
                  <a:lnTo>
                    <a:pt x="2735" y="3147"/>
                  </a:lnTo>
                  <a:lnTo>
                    <a:pt x="2717" y="3141"/>
                  </a:lnTo>
                  <a:lnTo>
                    <a:pt x="2707" y="3135"/>
                  </a:lnTo>
                  <a:lnTo>
                    <a:pt x="2698" y="3128"/>
                  </a:lnTo>
                  <a:lnTo>
                    <a:pt x="2685" y="3122"/>
                  </a:lnTo>
                  <a:lnTo>
                    <a:pt x="2679" y="3113"/>
                  </a:lnTo>
                  <a:lnTo>
                    <a:pt x="2673" y="3103"/>
                  </a:lnTo>
                  <a:lnTo>
                    <a:pt x="2673" y="3085"/>
                  </a:lnTo>
                  <a:lnTo>
                    <a:pt x="2679" y="3060"/>
                  </a:lnTo>
                  <a:lnTo>
                    <a:pt x="2685" y="3038"/>
                  </a:lnTo>
                  <a:lnTo>
                    <a:pt x="2685" y="3016"/>
                  </a:lnTo>
                  <a:lnTo>
                    <a:pt x="2682" y="2991"/>
                  </a:lnTo>
                  <a:lnTo>
                    <a:pt x="2673" y="2966"/>
                  </a:lnTo>
                  <a:lnTo>
                    <a:pt x="2660" y="2944"/>
                  </a:lnTo>
                  <a:lnTo>
                    <a:pt x="2654" y="2938"/>
                  </a:lnTo>
                  <a:lnTo>
                    <a:pt x="2645" y="2932"/>
                  </a:lnTo>
                  <a:lnTo>
                    <a:pt x="2632" y="2925"/>
                  </a:lnTo>
                  <a:lnTo>
                    <a:pt x="2626" y="2922"/>
                  </a:lnTo>
                  <a:lnTo>
                    <a:pt x="2607" y="2910"/>
                  </a:lnTo>
                  <a:lnTo>
                    <a:pt x="2582" y="2897"/>
                  </a:lnTo>
                  <a:lnTo>
                    <a:pt x="2564" y="2891"/>
                  </a:lnTo>
                  <a:lnTo>
                    <a:pt x="2551" y="2888"/>
                  </a:lnTo>
                  <a:lnTo>
                    <a:pt x="2535" y="2885"/>
                  </a:lnTo>
                  <a:lnTo>
                    <a:pt x="2520" y="2885"/>
                  </a:lnTo>
                  <a:lnTo>
                    <a:pt x="2507" y="2891"/>
                  </a:lnTo>
                  <a:lnTo>
                    <a:pt x="2504" y="2904"/>
                  </a:lnTo>
                  <a:lnTo>
                    <a:pt x="2510" y="2919"/>
                  </a:lnTo>
                  <a:lnTo>
                    <a:pt x="2517" y="2938"/>
                  </a:lnTo>
                  <a:lnTo>
                    <a:pt x="2523" y="2957"/>
                  </a:lnTo>
                  <a:lnTo>
                    <a:pt x="2523" y="2969"/>
                  </a:lnTo>
                  <a:lnTo>
                    <a:pt x="2520" y="2975"/>
                  </a:lnTo>
                  <a:lnTo>
                    <a:pt x="2514" y="2982"/>
                  </a:lnTo>
                  <a:lnTo>
                    <a:pt x="2507" y="2988"/>
                  </a:lnTo>
                  <a:lnTo>
                    <a:pt x="2501" y="2991"/>
                  </a:lnTo>
                  <a:lnTo>
                    <a:pt x="2498" y="2994"/>
                  </a:lnTo>
                  <a:lnTo>
                    <a:pt x="2479" y="2991"/>
                  </a:lnTo>
                  <a:lnTo>
                    <a:pt x="2457" y="2982"/>
                  </a:lnTo>
                  <a:lnTo>
                    <a:pt x="2442" y="2975"/>
                  </a:lnTo>
                  <a:lnTo>
                    <a:pt x="2432" y="2979"/>
                  </a:lnTo>
                  <a:lnTo>
                    <a:pt x="2420" y="2982"/>
                  </a:lnTo>
                  <a:lnTo>
                    <a:pt x="2407" y="2985"/>
                  </a:lnTo>
                  <a:lnTo>
                    <a:pt x="2398" y="2991"/>
                  </a:lnTo>
                  <a:lnTo>
                    <a:pt x="2392" y="3000"/>
                  </a:lnTo>
                  <a:lnTo>
                    <a:pt x="2389" y="3004"/>
                  </a:lnTo>
                  <a:lnTo>
                    <a:pt x="2392" y="3010"/>
                  </a:lnTo>
                  <a:lnTo>
                    <a:pt x="2392" y="3019"/>
                  </a:lnTo>
                  <a:lnTo>
                    <a:pt x="2392" y="3025"/>
                  </a:lnTo>
                  <a:lnTo>
                    <a:pt x="2392" y="3032"/>
                  </a:lnTo>
                  <a:lnTo>
                    <a:pt x="2392" y="3038"/>
                  </a:lnTo>
                  <a:lnTo>
                    <a:pt x="2376" y="3044"/>
                  </a:lnTo>
                  <a:lnTo>
                    <a:pt x="2354" y="3044"/>
                  </a:lnTo>
                  <a:lnTo>
                    <a:pt x="2332" y="3044"/>
                  </a:lnTo>
                  <a:lnTo>
                    <a:pt x="2314" y="3038"/>
                  </a:lnTo>
                  <a:lnTo>
                    <a:pt x="2295" y="3028"/>
                  </a:lnTo>
                  <a:lnTo>
                    <a:pt x="2273" y="3010"/>
                  </a:lnTo>
                  <a:lnTo>
                    <a:pt x="2254" y="2997"/>
                  </a:lnTo>
                  <a:lnTo>
                    <a:pt x="2233" y="2991"/>
                  </a:lnTo>
                  <a:lnTo>
                    <a:pt x="2204" y="2985"/>
                  </a:lnTo>
                  <a:lnTo>
                    <a:pt x="2179" y="2979"/>
                  </a:lnTo>
                  <a:lnTo>
                    <a:pt x="2158" y="2979"/>
                  </a:lnTo>
                  <a:lnTo>
                    <a:pt x="2133" y="2985"/>
                  </a:lnTo>
                  <a:lnTo>
                    <a:pt x="2101" y="2997"/>
                  </a:lnTo>
                  <a:lnTo>
                    <a:pt x="2073" y="3013"/>
                  </a:lnTo>
                  <a:lnTo>
                    <a:pt x="2055" y="3028"/>
                  </a:lnTo>
                  <a:lnTo>
                    <a:pt x="2055" y="3035"/>
                  </a:lnTo>
                  <a:lnTo>
                    <a:pt x="2055" y="3041"/>
                  </a:lnTo>
                  <a:lnTo>
                    <a:pt x="2055" y="3050"/>
                  </a:lnTo>
                  <a:lnTo>
                    <a:pt x="2058" y="3057"/>
                  </a:lnTo>
                  <a:lnTo>
                    <a:pt x="2058" y="3066"/>
                  </a:lnTo>
                  <a:lnTo>
                    <a:pt x="2058" y="3072"/>
                  </a:lnTo>
                  <a:lnTo>
                    <a:pt x="2055" y="3075"/>
                  </a:lnTo>
                  <a:lnTo>
                    <a:pt x="2039" y="3085"/>
                  </a:lnTo>
                  <a:lnTo>
                    <a:pt x="2017" y="3088"/>
                  </a:lnTo>
                  <a:lnTo>
                    <a:pt x="1989" y="3088"/>
                  </a:lnTo>
                  <a:lnTo>
                    <a:pt x="1964" y="3088"/>
                  </a:lnTo>
                  <a:lnTo>
                    <a:pt x="1945" y="3091"/>
                  </a:lnTo>
                  <a:lnTo>
                    <a:pt x="1933" y="3100"/>
                  </a:lnTo>
                  <a:lnTo>
                    <a:pt x="1917" y="3110"/>
                  </a:lnTo>
                  <a:lnTo>
                    <a:pt x="1902" y="3122"/>
                  </a:lnTo>
                  <a:lnTo>
                    <a:pt x="1886" y="3122"/>
                  </a:lnTo>
                  <a:lnTo>
                    <a:pt x="1880" y="3116"/>
                  </a:lnTo>
                  <a:lnTo>
                    <a:pt x="1873" y="3100"/>
                  </a:lnTo>
                  <a:lnTo>
                    <a:pt x="1867" y="3082"/>
                  </a:lnTo>
                  <a:lnTo>
                    <a:pt x="1864" y="3066"/>
                  </a:lnTo>
                  <a:lnTo>
                    <a:pt x="1855" y="3053"/>
                  </a:lnTo>
                  <a:lnTo>
                    <a:pt x="1848" y="3053"/>
                  </a:lnTo>
                  <a:lnTo>
                    <a:pt x="1839" y="3050"/>
                  </a:lnTo>
                  <a:lnTo>
                    <a:pt x="1830" y="3050"/>
                  </a:lnTo>
                  <a:lnTo>
                    <a:pt x="1820" y="3050"/>
                  </a:lnTo>
                  <a:lnTo>
                    <a:pt x="1814" y="3053"/>
                  </a:lnTo>
                  <a:lnTo>
                    <a:pt x="1808" y="3057"/>
                  </a:lnTo>
                  <a:lnTo>
                    <a:pt x="1802" y="3069"/>
                  </a:lnTo>
                  <a:lnTo>
                    <a:pt x="1802" y="3085"/>
                  </a:lnTo>
                  <a:lnTo>
                    <a:pt x="1799" y="3100"/>
                  </a:lnTo>
                  <a:lnTo>
                    <a:pt x="1799" y="3113"/>
                  </a:lnTo>
                  <a:lnTo>
                    <a:pt x="1792" y="3122"/>
                  </a:lnTo>
                  <a:lnTo>
                    <a:pt x="1786" y="3128"/>
                  </a:lnTo>
                  <a:lnTo>
                    <a:pt x="1780" y="3135"/>
                  </a:lnTo>
                  <a:lnTo>
                    <a:pt x="1774" y="3138"/>
                  </a:lnTo>
                  <a:lnTo>
                    <a:pt x="1752" y="3141"/>
                  </a:lnTo>
                  <a:lnTo>
                    <a:pt x="1727" y="3138"/>
                  </a:lnTo>
                  <a:lnTo>
                    <a:pt x="1702" y="3132"/>
                  </a:lnTo>
                  <a:lnTo>
                    <a:pt x="1683" y="3122"/>
                  </a:lnTo>
                  <a:lnTo>
                    <a:pt x="1680" y="3116"/>
                  </a:lnTo>
                  <a:lnTo>
                    <a:pt x="1674" y="3110"/>
                  </a:lnTo>
                  <a:lnTo>
                    <a:pt x="1667" y="3100"/>
                  </a:lnTo>
                  <a:lnTo>
                    <a:pt x="1661" y="3091"/>
                  </a:lnTo>
                  <a:lnTo>
                    <a:pt x="1655" y="3088"/>
                  </a:lnTo>
                  <a:lnTo>
                    <a:pt x="1639" y="3082"/>
                  </a:lnTo>
                  <a:lnTo>
                    <a:pt x="1617" y="3078"/>
                  </a:lnTo>
                  <a:lnTo>
                    <a:pt x="1596" y="3072"/>
                  </a:lnTo>
                  <a:lnTo>
                    <a:pt x="1580" y="3066"/>
                  </a:lnTo>
                  <a:lnTo>
                    <a:pt x="1577" y="3060"/>
                  </a:lnTo>
                  <a:lnTo>
                    <a:pt x="1574" y="3050"/>
                  </a:lnTo>
                  <a:lnTo>
                    <a:pt x="1574" y="3041"/>
                  </a:lnTo>
                  <a:lnTo>
                    <a:pt x="1571" y="3035"/>
                  </a:lnTo>
                  <a:lnTo>
                    <a:pt x="1567" y="3028"/>
                  </a:lnTo>
                  <a:lnTo>
                    <a:pt x="1561" y="3025"/>
                  </a:lnTo>
                  <a:lnTo>
                    <a:pt x="1552" y="3022"/>
                  </a:lnTo>
                  <a:lnTo>
                    <a:pt x="1546" y="3019"/>
                  </a:lnTo>
                  <a:lnTo>
                    <a:pt x="1536" y="3016"/>
                  </a:lnTo>
                  <a:lnTo>
                    <a:pt x="1530" y="3013"/>
                  </a:lnTo>
                  <a:lnTo>
                    <a:pt x="1511" y="2997"/>
                  </a:lnTo>
                  <a:lnTo>
                    <a:pt x="1489" y="2979"/>
                  </a:lnTo>
                  <a:lnTo>
                    <a:pt x="1471" y="2963"/>
                  </a:lnTo>
                  <a:lnTo>
                    <a:pt x="1452" y="2963"/>
                  </a:lnTo>
                  <a:lnTo>
                    <a:pt x="1430" y="2963"/>
                  </a:lnTo>
                  <a:lnTo>
                    <a:pt x="1411" y="2963"/>
                  </a:lnTo>
                  <a:lnTo>
                    <a:pt x="1402" y="2969"/>
                  </a:lnTo>
                  <a:lnTo>
                    <a:pt x="1393" y="2972"/>
                  </a:lnTo>
                  <a:lnTo>
                    <a:pt x="1383" y="2979"/>
                  </a:lnTo>
                  <a:lnTo>
                    <a:pt x="1374" y="2985"/>
                  </a:lnTo>
                  <a:lnTo>
                    <a:pt x="1364" y="2988"/>
                  </a:lnTo>
                  <a:lnTo>
                    <a:pt x="1339" y="2994"/>
                  </a:lnTo>
                  <a:lnTo>
                    <a:pt x="1311" y="2997"/>
                  </a:lnTo>
                  <a:lnTo>
                    <a:pt x="1286" y="2997"/>
                  </a:lnTo>
                  <a:lnTo>
                    <a:pt x="1261" y="2991"/>
                  </a:lnTo>
                  <a:lnTo>
                    <a:pt x="1230" y="2982"/>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44" name="Freeform 18">
              <a:extLst>
                <a:ext uri="{FF2B5EF4-FFF2-40B4-BE49-F238E27FC236}">
                  <a16:creationId xmlns:a16="http://schemas.microsoft.com/office/drawing/2014/main" id="{E68EC982-0F53-4CEC-919A-F3A96907E21F}"/>
                </a:ext>
              </a:extLst>
            </p:cNvPr>
            <p:cNvSpPr>
              <a:spLocks/>
            </p:cNvSpPr>
            <p:nvPr/>
          </p:nvSpPr>
          <p:spPr bwMode="auto">
            <a:xfrm>
              <a:off x="2306638" y="-8956675"/>
              <a:ext cx="233363" cy="292100"/>
            </a:xfrm>
            <a:custGeom>
              <a:avLst/>
              <a:gdLst>
                <a:gd name="T0" fmla="*/ 147 w 147"/>
                <a:gd name="T1" fmla="*/ 84 h 184"/>
                <a:gd name="T2" fmla="*/ 144 w 147"/>
                <a:gd name="T3" fmla="*/ 93 h 184"/>
                <a:gd name="T4" fmla="*/ 141 w 147"/>
                <a:gd name="T5" fmla="*/ 103 h 184"/>
                <a:gd name="T6" fmla="*/ 135 w 147"/>
                <a:gd name="T7" fmla="*/ 112 h 184"/>
                <a:gd name="T8" fmla="*/ 131 w 147"/>
                <a:gd name="T9" fmla="*/ 118 h 184"/>
                <a:gd name="T10" fmla="*/ 125 w 147"/>
                <a:gd name="T11" fmla="*/ 128 h 184"/>
                <a:gd name="T12" fmla="*/ 125 w 147"/>
                <a:gd name="T13" fmla="*/ 134 h 184"/>
                <a:gd name="T14" fmla="*/ 122 w 147"/>
                <a:gd name="T15" fmla="*/ 143 h 184"/>
                <a:gd name="T16" fmla="*/ 122 w 147"/>
                <a:gd name="T17" fmla="*/ 149 h 184"/>
                <a:gd name="T18" fmla="*/ 119 w 147"/>
                <a:gd name="T19" fmla="*/ 159 h 184"/>
                <a:gd name="T20" fmla="*/ 116 w 147"/>
                <a:gd name="T21" fmla="*/ 168 h 184"/>
                <a:gd name="T22" fmla="*/ 113 w 147"/>
                <a:gd name="T23" fmla="*/ 171 h 184"/>
                <a:gd name="T24" fmla="*/ 94 w 147"/>
                <a:gd name="T25" fmla="*/ 181 h 184"/>
                <a:gd name="T26" fmla="*/ 69 w 147"/>
                <a:gd name="T27" fmla="*/ 184 h 184"/>
                <a:gd name="T28" fmla="*/ 44 w 147"/>
                <a:gd name="T29" fmla="*/ 181 h 184"/>
                <a:gd name="T30" fmla="*/ 28 w 147"/>
                <a:gd name="T31" fmla="*/ 171 h 184"/>
                <a:gd name="T32" fmla="*/ 25 w 147"/>
                <a:gd name="T33" fmla="*/ 168 h 184"/>
                <a:gd name="T34" fmla="*/ 25 w 147"/>
                <a:gd name="T35" fmla="*/ 159 h 184"/>
                <a:gd name="T36" fmla="*/ 25 w 147"/>
                <a:gd name="T37" fmla="*/ 149 h 184"/>
                <a:gd name="T38" fmla="*/ 25 w 147"/>
                <a:gd name="T39" fmla="*/ 140 h 184"/>
                <a:gd name="T40" fmla="*/ 28 w 147"/>
                <a:gd name="T41" fmla="*/ 134 h 184"/>
                <a:gd name="T42" fmla="*/ 28 w 147"/>
                <a:gd name="T43" fmla="*/ 128 h 184"/>
                <a:gd name="T44" fmla="*/ 19 w 147"/>
                <a:gd name="T45" fmla="*/ 112 h 184"/>
                <a:gd name="T46" fmla="*/ 10 w 147"/>
                <a:gd name="T47" fmla="*/ 93 h 184"/>
                <a:gd name="T48" fmla="*/ 0 w 147"/>
                <a:gd name="T49" fmla="*/ 78 h 184"/>
                <a:gd name="T50" fmla="*/ 0 w 147"/>
                <a:gd name="T51" fmla="*/ 62 h 184"/>
                <a:gd name="T52" fmla="*/ 3 w 147"/>
                <a:gd name="T53" fmla="*/ 59 h 184"/>
                <a:gd name="T54" fmla="*/ 10 w 147"/>
                <a:gd name="T55" fmla="*/ 53 h 184"/>
                <a:gd name="T56" fmla="*/ 16 w 147"/>
                <a:gd name="T57" fmla="*/ 49 h 184"/>
                <a:gd name="T58" fmla="*/ 25 w 147"/>
                <a:gd name="T59" fmla="*/ 46 h 184"/>
                <a:gd name="T60" fmla="*/ 28 w 147"/>
                <a:gd name="T61" fmla="*/ 43 h 184"/>
                <a:gd name="T62" fmla="*/ 35 w 147"/>
                <a:gd name="T63" fmla="*/ 37 h 184"/>
                <a:gd name="T64" fmla="*/ 41 w 147"/>
                <a:gd name="T65" fmla="*/ 28 h 184"/>
                <a:gd name="T66" fmla="*/ 47 w 147"/>
                <a:gd name="T67" fmla="*/ 18 h 184"/>
                <a:gd name="T68" fmla="*/ 53 w 147"/>
                <a:gd name="T69" fmla="*/ 9 h 184"/>
                <a:gd name="T70" fmla="*/ 60 w 147"/>
                <a:gd name="T71" fmla="*/ 3 h 184"/>
                <a:gd name="T72" fmla="*/ 69 w 147"/>
                <a:gd name="T73" fmla="*/ 0 h 184"/>
                <a:gd name="T74" fmla="*/ 75 w 147"/>
                <a:gd name="T75" fmla="*/ 0 h 184"/>
                <a:gd name="T76" fmla="*/ 81 w 147"/>
                <a:gd name="T77" fmla="*/ 3 h 184"/>
                <a:gd name="T78" fmla="*/ 91 w 147"/>
                <a:gd name="T79" fmla="*/ 6 h 184"/>
                <a:gd name="T80" fmla="*/ 100 w 147"/>
                <a:gd name="T81" fmla="*/ 12 h 184"/>
                <a:gd name="T82" fmla="*/ 106 w 147"/>
                <a:gd name="T83" fmla="*/ 15 h 184"/>
                <a:gd name="T84" fmla="*/ 113 w 147"/>
                <a:gd name="T85" fmla="*/ 21 h 184"/>
                <a:gd name="T86" fmla="*/ 125 w 147"/>
                <a:gd name="T87" fmla="*/ 40 h 184"/>
                <a:gd name="T88" fmla="*/ 141 w 147"/>
                <a:gd name="T89" fmla="*/ 65 h 184"/>
                <a:gd name="T90" fmla="*/ 147 w 147"/>
                <a:gd name="T91" fmla="*/ 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7" h="184">
                  <a:moveTo>
                    <a:pt x="147" y="84"/>
                  </a:moveTo>
                  <a:lnTo>
                    <a:pt x="144" y="93"/>
                  </a:lnTo>
                  <a:lnTo>
                    <a:pt x="141" y="103"/>
                  </a:lnTo>
                  <a:lnTo>
                    <a:pt x="135" y="112"/>
                  </a:lnTo>
                  <a:lnTo>
                    <a:pt x="131" y="118"/>
                  </a:lnTo>
                  <a:lnTo>
                    <a:pt x="125" y="128"/>
                  </a:lnTo>
                  <a:lnTo>
                    <a:pt x="125" y="134"/>
                  </a:lnTo>
                  <a:lnTo>
                    <a:pt x="122" y="143"/>
                  </a:lnTo>
                  <a:lnTo>
                    <a:pt x="122" y="149"/>
                  </a:lnTo>
                  <a:lnTo>
                    <a:pt x="119" y="159"/>
                  </a:lnTo>
                  <a:lnTo>
                    <a:pt x="116" y="168"/>
                  </a:lnTo>
                  <a:lnTo>
                    <a:pt x="113" y="171"/>
                  </a:lnTo>
                  <a:lnTo>
                    <a:pt x="94" y="181"/>
                  </a:lnTo>
                  <a:lnTo>
                    <a:pt x="69" y="184"/>
                  </a:lnTo>
                  <a:lnTo>
                    <a:pt x="44" y="181"/>
                  </a:lnTo>
                  <a:lnTo>
                    <a:pt x="28" y="171"/>
                  </a:lnTo>
                  <a:lnTo>
                    <a:pt x="25" y="168"/>
                  </a:lnTo>
                  <a:lnTo>
                    <a:pt x="25" y="159"/>
                  </a:lnTo>
                  <a:lnTo>
                    <a:pt x="25" y="149"/>
                  </a:lnTo>
                  <a:lnTo>
                    <a:pt x="25" y="140"/>
                  </a:lnTo>
                  <a:lnTo>
                    <a:pt x="28" y="134"/>
                  </a:lnTo>
                  <a:lnTo>
                    <a:pt x="28" y="128"/>
                  </a:lnTo>
                  <a:lnTo>
                    <a:pt x="19" y="112"/>
                  </a:lnTo>
                  <a:lnTo>
                    <a:pt x="10" y="93"/>
                  </a:lnTo>
                  <a:lnTo>
                    <a:pt x="0" y="78"/>
                  </a:lnTo>
                  <a:lnTo>
                    <a:pt x="0" y="62"/>
                  </a:lnTo>
                  <a:lnTo>
                    <a:pt x="3" y="59"/>
                  </a:lnTo>
                  <a:lnTo>
                    <a:pt x="10" y="53"/>
                  </a:lnTo>
                  <a:lnTo>
                    <a:pt x="16" y="49"/>
                  </a:lnTo>
                  <a:lnTo>
                    <a:pt x="25" y="46"/>
                  </a:lnTo>
                  <a:lnTo>
                    <a:pt x="28" y="43"/>
                  </a:lnTo>
                  <a:lnTo>
                    <a:pt x="35" y="37"/>
                  </a:lnTo>
                  <a:lnTo>
                    <a:pt x="41" y="28"/>
                  </a:lnTo>
                  <a:lnTo>
                    <a:pt x="47" y="18"/>
                  </a:lnTo>
                  <a:lnTo>
                    <a:pt x="53" y="9"/>
                  </a:lnTo>
                  <a:lnTo>
                    <a:pt x="60" y="3"/>
                  </a:lnTo>
                  <a:lnTo>
                    <a:pt x="69" y="0"/>
                  </a:lnTo>
                  <a:lnTo>
                    <a:pt x="75" y="0"/>
                  </a:lnTo>
                  <a:lnTo>
                    <a:pt x="81" y="3"/>
                  </a:lnTo>
                  <a:lnTo>
                    <a:pt x="91" y="6"/>
                  </a:lnTo>
                  <a:lnTo>
                    <a:pt x="100" y="12"/>
                  </a:lnTo>
                  <a:lnTo>
                    <a:pt x="106" y="15"/>
                  </a:lnTo>
                  <a:lnTo>
                    <a:pt x="113" y="21"/>
                  </a:lnTo>
                  <a:lnTo>
                    <a:pt x="125" y="40"/>
                  </a:lnTo>
                  <a:lnTo>
                    <a:pt x="141" y="65"/>
                  </a:lnTo>
                  <a:lnTo>
                    <a:pt x="147" y="84"/>
                  </a:lnTo>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45" name="Freeform 20">
              <a:extLst>
                <a:ext uri="{FF2B5EF4-FFF2-40B4-BE49-F238E27FC236}">
                  <a16:creationId xmlns:a16="http://schemas.microsoft.com/office/drawing/2014/main" id="{9CDBB6AC-8C50-4F72-9000-613E83E7A07C}"/>
                </a:ext>
              </a:extLst>
            </p:cNvPr>
            <p:cNvSpPr>
              <a:spLocks/>
            </p:cNvSpPr>
            <p:nvPr/>
          </p:nvSpPr>
          <p:spPr bwMode="auto">
            <a:xfrm>
              <a:off x="6654801" y="-4460875"/>
              <a:ext cx="495300" cy="441325"/>
            </a:xfrm>
            <a:custGeom>
              <a:avLst/>
              <a:gdLst>
                <a:gd name="T0" fmla="*/ 306 w 312"/>
                <a:gd name="T1" fmla="*/ 193 h 278"/>
                <a:gd name="T2" fmla="*/ 312 w 312"/>
                <a:gd name="T3" fmla="*/ 212 h 278"/>
                <a:gd name="T4" fmla="*/ 312 w 312"/>
                <a:gd name="T5" fmla="*/ 234 h 278"/>
                <a:gd name="T6" fmla="*/ 306 w 312"/>
                <a:gd name="T7" fmla="*/ 253 h 278"/>
                <a:gd name="T8" fmla="*/ 287 w 312"/>
                <a:gd name="T9" fmla="*/ 265 h 278"/>
                <a:gd name="T10" fmla="*/ 262 w 312"/>
                <a:gd name="T11" fmla="*/ 274 h 278"/>
                <a:gd name="T12" fmla="*/ 240 w 312"/>
                <a:gd name="T13" fmla="*/ 278 h 278"/>
                <a:gd name="T14" fmla="*/ 218 w 312"/>
                <a:gd name="T15" fmla="*/ 274 h 278"/>
                <a:gd name="T16" fmla="*/ 197 w 312"/>
                <a:gd name="T17" fmla="*/ 265 h 278"/>
                <a:gd name="T18" fmla="*/ 172 w 312"/>
                <a:gd name="T19" fmla="*/ 253 h 278"/>
                <a:gd name="T20" fmla="*/ 153 w 312"/>
                <a:gd name="T21" fmla="*/ 246 h 278"/>
                <a:gd name="T22" fmla="*/ 134 w 312"/>
                <a:gd name="T23" fmla="*/ 246 h 278"/>
                <a:gd name="T24" fmla="*/ 115 w 312"/>
                <a:gd name="T25" fmla="*/ 246 h 278"/>
                <a:gd name="T26" fmla="*/ 100 w 312"/>
                <a:gd name="T27" fmla="*/ 246 h 278"/>
                <a:gd name="T28" fmla="*/ 75 w 312"/>
                <a:gd name="T29" fmla="*/ 237 h 278"/>
                <a:gd name="T30" fmla="*/ 50 w 312"/>
                <a:gd name="T31" fmla="*/ 225 h 278"/>
                <a:gd name="T32" fmla="*/ 31 w 312"/>
                <a:gd name="T33" fmla="*/ 206 h 278"/>
                <a:gd name="T34" fmla="*/ 28 w 312"/>
                <a:gd name="T35" fmla="*/ 190 h 278"/>
                <a:gd name="T36" fmla="*/ 31 w 312"/>
                <a:gd name="T37" fmla="*/ 165 h 278"/>
                <a:gd name="T38" fmla="*/ 34 w 312"/>
                <a:gd name="T39" fmla="*/ 143 h 278"/>
                <a:gd name="T40" fmla="*/ 31 w 312"/>
                <a:gd name="T41" fmla="*/ 121 h 278"/>
                <a:gd name="T42" fmla="*/ 28 w 312"/>
                <a:gd name="T43" fmla="*/ 115 h 278"/>
                <a:gd name="T44" fmla="*/ 22 w 312"/>
                <a:gd name="T45" fmla="*/ 106 h 278"/>
                <a:gd name="T46" fmla="*/ 15 w 312"/>
                <a:gd name="T47" fmla="*/ 100 h 278"/>
                <a:gd name="T48" fmla="*/ 6 w 312"/>
                <a:gd name="T49" fmla="*/ 90 h 278"/>
                <a:gd name="T50" fmla="*/ 3 w 312"/>
                <a:gd name="T51" fmla="*/ 81 h 278"/>
                <a:gd name="T52" fmla="*/ 0 w 312"/>
                <a:gd name="T53" fmla="*/ 75 h 278"/>
                <a:gd name="T54" fmla="*/ 0 w 312"/>
                <a:gd name="T55" fmla="*/ 56 h 278"/>
                <a:gd name="T56" fmla="*/ 9 w 312"/>
                <a:gd name="T57" fmla="*/ 31 h 278"/>
                <a:gd name="T58" fmla="*/ 22 w 312"/>
                <a:gd name="T59" fmla="*/ 12 h 278"/>
                <a:gd name="T60" fmla="*/ 34 w 312"/>
                <a:gd name="T61" fmla="*/ 0 h 278"/>
                <a:gd name="T62" fmla="*/ 53 w 312"/>
                <a:gd name="T63" fmla="*/ 0 h 278"/>
                <a:gd name="T64" fmla="*/ 78 w 312"/>
                <a:gd name="T65" fmla="*/ 6 h 278"/>
                <a:gd name="T66" fmla="*/ 103 w 312"/>
                <a:gd name="T67" fmla="*/ 18 h 278"/>
                <a:gd name="T68" fmla="*/ 125 w 312"/>
                <a:gd name="T69" fmla="*/ 34 h 278"/>
                <a:gd name="T70" fmla="*/ 140 w 312"/>
                <a:gd name="T71" fmla="*/ 50 h 278"/>
                <a:gd name="T72" fmla="*/ 147 w 312"/>
                <a:gd name="T73" fmla="*/ 65 h 278"/>
                <a:gd name="T74" fmla="*/ 150 w 312"/>
                <a:gd name="T75" fmla="*/ 87 h 278"/>
                <a:gd name="T76" fmla="*/ 153 w 312"/>
                <a:gd name="T77" fmla="*/ 109 h 278"/>
                <a:gd name="T78" fmla="*/ 159 w 312"/>
                <a:gd name="T79" fmla="*/ 125 h 278"/>
                <a:gd name="T80" fmla="*/ 172 w 312"/>
                <a:gd name="T81" fmla="*/ 128 h 278"/>
                <a:gd name="T82" fmla="*/ 187 w 312"/>
                <a:gd name="T83" fmla="*/ 125 h 278"/>
                <a:gd name="T84" fmla="*/ 203 w 312"/>
                <a:gd name="T85" fmla="*/ 125 h 278"/>
                <a:gd name="T86" fmla="*/ 212 w 312"/>
                <a:gd name="T87" fmla="*/ 125 h 278"/>
                <a:gd name="T88" fmla="*/ 225 w 312"/>
                <a:gd name="T89" fmla="*/ 140 h 278"/>
                <a:gd name="T90" fmla="*/ 234 w 312"/>
                <a:gd name="T91" fmla="*/ 162 h 278"/>
                <a:gd name="T92" fmla="*/ 243 w 312"/>
                <a:gd name="T93" fmla="*/ 178 h 278"/>
                <a:gd name="T94" fmla="*/ 259 w 312"/>
                <a:gd name="T95" fmla="*/ 181 h 278"/>
                <a:gd name="T96" fmla="*/ 278 w 312"/>
                <a:gd name="T97" fmla="*/ 184 h 278"/>
                <a:gd name="T98" fmla="*/ 293 w 312"/>
                <a:gd name="T99" fmla="*/ 187 h 278"/>
                <a:gd name="T100" fmla="*/ 306 w 312"/>
                <a:gd name="T101" fmla="*/ 19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2" h="278">
                  <a:moveTo>
                    <a:pt x="306" y="193"/>
                  </a:moveTo>
                  <a:lnTo>
                    <a:pt x="312" y="212"/>
                  </a:lnTo>
                  <a:lnTo>
                    <a:pt x="312" y="234"/>
                  </a:lnTo>
                  <a:lnTo>
                    <a:pt x="306" y="253"/>
                  </a:lnTo>
                  <a:lnTo>
                    <a:pt x="287" y="265"/>
                  </a:lnTo>
                  <a:lnTo>
                    <a:pt x="262" y="274"/>
                  </a:lnTo>
                  <a:lnTo>
                    <a:pt x="240" y="278"/>
                  </a:lnTo>
                  <a:lnTo>
                    <a:pt x="218" y="274"/>
                  </a:lnTo>
                  <a:lnTo>
                    <a:pt x="197" y="265"/>
                  </a:lnTo>
                  <a:lnTo>
                    <a:pt x="172" y="253"/>
                  </a:lnTo>
                  <a:lnTo>
                    <a:pt x="153" y="246"/>
                  </a:lnTo>
                  <a:lnTo>
                    <a:pt x="134" y="246"/>
                  </a:lnTo>
                  <a:lnTo>
                    <a:pt x="115" y="246"/>
                  </a:lnTo>
                  <a:lnTo>
                    <a:pt x="100" y="246"/>
                  </a:lnTo>
                  <a:lnTo>
                    <a:pt x="75" y="237"/>
                  </a:lnTo>
                  <a:lnTo>
                    <a:pt x="50" y="225"/>
                  </a:lnTo>
                  <a:lnTo>
                    <a:pt x="31" y="206"/>
                  </a:lnTo>
                  <a:lnTo>
                    <a:pt x="28" y="190"/>
                  </a:lnTo>
                  <a:lnTo>
                    <a:pt x="31" y="165"/>
                  </a:lnTo>
                  <a:lnTo>
                    <a:pt x="34" y="143"/>
                  </a:lnTo>
                  <a:lnTo>
                    <a:pt x="31" y="121"/>
                  </a:lnTo>
                  <a:lnTo>
                    <a:pt x="28" y="115"/>
                  </a:lnTo>
                  <a:lnTo>
                    <a:pt x="22" y="106"/>
                  </a:lnTo>
                  <a:lnTo>
                    <a:pt x="15" y="100"/>
                  </a:lnTo>
                  <a:lnTo>
                    <a:pt x="6" y="90"/>
                  </a:lnTo>
                  <a:lnTo>
                    <a:pt x="3" y="81"/>
                  </a:lnTo>
                  <a:lnTo>
                    <a:pt x="0" y="75"/>
                  </a:lnTo>
                  <a:lnTo>
                    <a:pt x="0" y="56"/>
                  </a:lnTo>
                  <a:lnTo>
                    <a:pt x="9" y="31"/>
                  </a:lnTo>
                  <a:lnTo>
                    <a:pt x="22" y="12"/>
                  </a:lnTo>
                  <a:lnTo>
                    <a:pt x="34" y="0"/>
                  </a:lnTo>
                  <a:lnTo>
                    <a:pt x="53" y="0"/>
                  </a:lnTo>
                  <a:lnTo>
                    <a:pt x="78" y="6"/>
                  </a:lnTo>
                  <a:lnTo>
                    <a:pt x="103" y="18"/>
                  </a:lnTo>
                  <a:lnTo>
                    <a:pt x="125" y="34"/>
                  </a:lnTo>
                  <a:lnTo>
                    <a:pt x="140" y="50"/>
                  </a:lnTo>
                  <a:lnTo>
                    <a:pt x="147" y="65"/>
                  </a:lnTo>
                  <a:lnTo>
                    <a:pt x="150" y="87"/>
                  </a:lnTo>
                  <a:lnTo>
                    <a:pt x="153" y="109"/>
                  </a:lnTo>
                  <a:lnTo>
                    <a:pt x="159" y="125"/>
                  </a:lnTo>
                  <a:lnTo>
                    <a:pt x="172" y="128"/>
                  </a:lnTo>
                  <a:lnTo>
                    <a:pt x="187" y="125"/>
                  </a:lnTo>
                  <a:lnTo>
                    <a:pt x="203" y="125"/>
                  </a:lnTo>
                  <a:lnTo>
                    <a:pt x="212" y="125"/>
                  </a:lnTo>
                  <a:lnTo>
                    <a:pt x="225" y="140"/>
                  </a:lnTo>
                  <a:lnTo>
                    <a:pt x="234" y="162"/>
                  </a:lnTo>
                  <a:lnTo>
                    <a:pt x="243" y="178"/>
                  </a:lnTo>
                  <a:lnTo>
                    <a:pt x="259" y="181"/>
                  </a:lnTo>
                  <a:lnTo>
                    <a:pt x="278" y="184"/>
                  </a:lnTo>
                  <a:lnTo>
                    <a:pt x="293" y="187"/>
                  </a:lnTo>
                  <a:lnTo>
                    <a:pt x="306" y="193"/>
                  </a:lnTo>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46" name="Freeform 21">
              <a:extLst>
                <a:ext uri="{FF2B5EF4-FFF2-40B4-BE49-F238E27FC236}">
                  <a16:creationId xmlns:a16="http://schemas.microsoft.com/office/drawing/2014/main" id="{C72C28C0-867D-4C51-9ED1-5ACF38ED17B7}"/>
                </a:ext>
              </a:extLst>
            </p:cNvPr>
            <p:cNvSpPr>
              <a:spLocks/>
            </p:cNvSpPr>
            <p:nvPr/>
          </p:nvSpPr>
          <p:spPr bwMode="auto">
            <a:xfrm>
              <a:off x="3114676" y="-9998075"/>
              <a:ext cx="9299575" cy="5497513"/>
            </a:xfrm>
            <a:custGeom>
              <a:avLst/>
              <a:gdLst>
                <a:gd name="T0" fmla="*/ 5777 w 5858"/>
                <a:gd name="T1" fmla="*/ 2051 h 3463"/>
                <a:gd name="T2" fmla="*/ 5556 w 5858"/>
                <a:gd name="T3" fmla="*/ 2498 h 3463"/>
                <a:gd name="T4" fmla="*/ 5131 w 5858"/>
                <a:gd name="T5" fmla="*/ 2691 h 3463"/>
                <a:gd name="T6" fmla="*/ 4625 w 5858"/>
                <a:gd name="T7" fmla="*/ 2960 h 3463"/>
                <a:gd name="T8" fmla="*/ 4132 w 5858"/>
                <a:gd name="T9" fmla="*/ 3132 h 3463"/>
                <a:gd name="T10" fmla="*/ 3897 w 5858"/>
                <a:gd name="T11" fmla="*/ 3350 h 3463"/>
                <a:gd name="T12" fmla="*/ 3485 w 5858"/>
                <a:gd name="T13" fmla="*/ 3353 h 3463"/>
                <a:gd name="T14" fmla="*/ 3510 w 5858"/>
                <a:gd name="T15" fmla="*/ 3266 h 3463"/>
                <a:gd name="T16" fmla="*/ 3117 w 5858"/>
                <a:gd name="T17" fmla="*/ 3282 h 3463"/>
                <a:gd name="T18" fmla="*/ 2845 w 5858"/>
                <a:gd name="T19" fmla="*/ 3144 h 3463"/>
                <a:gd name="T20" fmla="*/ 3157 w 5858"/>
                <a:gd name="T21" fmla="*/ 3100 h 3463"/>
                <a:gd name="T22" fmla="*/ 2979 w 5858"/>
                <a:gd name="T23" fmla="*/ 2985 h 3463"/>
                <a:gd name="T24" fmla="*/ 2729 w 5858"/>
                <a:gd name="T25" fmla="*/ 2947 h 3463"/>
                <a:gd name="T26" fmla="*/ 2645 w 5858"/>
                <a:gd name="T27" fmla="*/ 3019 h 3463"/>
                <a:gd name="T28" fmla="*/ 2520 w 5858"/>
                <a:gd name="T29" fmla="*/ 3269 h 3463"/>
                <a:gd name="T30" fmla="*/ 2467 w 5858"/>
                <a:gd name="T31" fmla="*/ 3079 h 3463"/>
                <a:gd name="T32" fmla="*/ 2489 w 5858"/>
                <a:gd name="T33" fmla="*/ 2823 h 3463"/>
                <a:gd name="T34" fmla="*/ 2383 w 5858"/>
                <a:gd name="T35" fmla="*/ 2823 h 3463"/>
                <a:gd name="T36" fmla="*/ 2224 w 5858"/>
                <a:gd name="T37" fmla="*/ 2657 h 3463"/>
                <a:gd name="T38" fmla="*/ 2058 w 5858"/>
                <a:gd name="T39" fmla="*/ 2732 h 3463"/>
                <a:gd name="T40" fmla="*/ 1515 w 5858"/>
                <a:gd name="T41" fmla="*/ 2476 h 3463"/>
                <a:gd name="T42" fmla="*/ 1262 w 5858"/>
                <a:gd name="T43" fmla="*/ 2261 h 3463"/>
                <a:gd name="T44" fmla="*/ 959 w 5858"/>
                <a:gd name="T45" fmla="*/ 2207 h 3463"/>
                <a:gd name="T46" fmla="*/ 850 w 5858"/>
                <a:gd name="T47" fmla="*/ 2295 h 3463"/>
                <a:gd name="T48" fmla="*/ 559 w 5858"/>
                <a:gd name="T49" fmla="*/ 2382 h 3463"/>
                <a:gd name="T50" fmla="*/ 412 w 5858"/>
                <a:gd name="T51" fmla="*/ 2058 h 3463"/>
                <a:gd name="T52" fmla="*/ 72 w 5858"/>
                <a:gd name="T53" fmla="*/ 1745 h 3463"/>
                <a:gd name="T54" fmla="*/ 753 w 5858"/>
                <a:gd name="T55" fmla="*/ 1648 h 3463"/>
                <a:gd name="T56" fmla="*/ 447 w 5858"/>
                <a:gd name="T57" fmla="*/ 1389 h 3463"/>
                <a:gd name="T58" fmla="*/ 337 w 5858"/>
                <a:gd name="T59" fmla="*/ 1302 h 3463"/>
                <a:gd name="T60" fmla="*/ 350 w 5858"/>
                <a:gd name="T61" fmla="*/ 1105 h 3463"/>
                <a:gd name="T62" fmla="*/ 569 w 5858"/>
                <a:gd name="T63" fmla="*/ 1252 h 3463"/>
                <a:gd name="T64" fmla="*/ 803 w 5858"/>
                <a:gd name="T65" fmla="*/ 1193 h 3463"/>
                <a:gd name="T66" fmla="*/ 544 w 5858"/>
                <a:gd name="T67" fmla="*/ 1068 h 3463"/>
                <a:gd name="T68" fmla="*/ 715 w 5858"/>
                <a:gd name="T69" fmla="*/ 962 h 3463"/>
                <a:gd name="T70" fmla="*/ 250 w 5858"/>
                <a:gd name="T71" fmla="*/ 1071 h 3463"/>
                <a:gd name="T72" fmla="*/ 3 w 5858"/>
                <a:gd name="T73" fmla="*/ 921 h 3463"/>
                <a:gd name="T74" fmla="*/ 200 w 5858"/>
                <a:gd name="T75" fmla="*/ 571 h 3463"/>
                <a:gd name="T76" fmla="*/ 431 w 5858"/>
                <a:gd name="T77" fmla="*/ 443 h 3463"/>
                <a:gd name="T78" fmla="*/ 797 w 5858"/>
                <a:gd name="T79" fmla="*/ 374 h 3463"/>
                <a:gd name="T80" fmla="*/ 996 w 5858"/>
                <a:gd name="T81" fmla="*/ 349 h 3463"/>
                <a:gd name="T82" fmla="*/ 1352 w 5858"/>
                <a:gd name="T83" fmla="*/ 359 h 3463"/>
                <a:gd name="T84" fmla="*/ 1502 w 5858"/>
                <a:gd name="T85" fmla="*/ 543 h 3463"/>
                <a:gd name="T86" fmla="*/ 1730 w 5858"/>
                <a:gd name="T87" fmla="*/ 346 h 3463"/>
                <a:gd name="T88" fmla="*/ 2024 w 5858"/>
                <a:gd name="T89" fmla="*/ 281 h 3463"/>
                <a:gd name="T90" fmla="*/ 2183 w 5858"/>
                <a:gd name="T91" fmla="*/ 59 h 3463"/>
                <a:gd name="T92" fmla="*/ 2548 w 5858"/>
                <a:gd name="T93" fmla="*/ 78 h 3463"/>
                <a:gd name="T94" fmla="*/ 2589 w 5858"/>
                <a:gd name="T95" fmla="*/ 128 h 3463"/>
                <a:gd name="T96" fmla="*/ 2742 w 5858"/>
                <a:gd name="T97" fmla="*/ 97 h 3463"/>
                <a:gd name="T98" fmla="*/ 2895 w 5858"/>
                <a:gd name="T99" fmla="*/ 178 h 3463"/>
                <a:gd name="T100" fmla="*/ 2976 w 5858"/>
                <a:gd name="T101" fmla="*/ 340 h 3463"/>
                <a:gd name="T102" fmla="*/ 3173 w 5858"/>
                <a:gd name="T103" fmla="*/ 730 h 3463"/>
                <a:gd name="T104" fmla="*/ 3520 w 5858"/>
                <a:gd name="T105" fmla="*/ 765 h 3463"/>
                <a:gd name="T106" fmla="*/ 3854 w 5858"/>
                <a:gd name="T107" fmla="*/ 615 h 3463"/>
                <a:gd name="T108" fmla="*/ 3910 w 5858"/>
                <a:gd name="T109" fmla="*/ 652 h 3463"/>
                <a:gd name="T110" fmla="*/ 4107 w 5858"/>
                <a:gd name="T111" fmla="*/ 759 h 3463"/>
                <a:gd name="T112" fmla="*/ 4422 w 5858"/>
                <a:gd name="T113" fmla="*/ 590 h 3463"/>
                <a:gd name="T114" fmla="*/ 4672 w 5858"/>
                <a:gd name="T115" fmla="*/ 581 h 3463"/>
                <a:gd name="T116" fmla="*/ 5037 w 5858"/>
                <a:gd name="T117" fmla="*/ 724 h 3463"/>
                <a:gd name="T118" fmla="*/ 5390 w 5858"/>
                <a:gd name="T119" fmla="*/ 1139 h 3463"/>
                <a:gd name="T120" fmla="*/ 5630 w 5858"/>
                <a:gd name="T121" fmla="*/ 1015 h 3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858" h="3463">
                  <a:moveTo>
                    <a:pt x="5846" y="1411"/>
                  </a:moveTo>
                  <a:lnTo>
                    <a:pt x="5852" y="1433"/>
                  </a:lnTo>
                  <a:lnTo>
                    <a:pt x="5855" y="1461"/>
                  </a:lnTo>
                  <a:lnTo>
                    <a:pt x="5858" y="1489"/>
                  </a:lnTo>
                  <a:lnTo>
                    <a:pt x="5855" y="1511"/>
                  </a:lnTo>
                  <a:lnTo>
                    <a:pt x="5843" y="1530"/>
                  </a:lnTo>
                  <a:lnTo>
                    <a:pt x="5824" y="1549"/>
                  </a:lnTo>
                  <a:lnTo>
                    <a:pt x="5805" y="1567"/>
                  </a:lnTo>
                  <a:lnTo>
                    <a:pt x="5790" y="1583"/>
                  </a:lnTo>
                  <a:lnTo>
                    <a:pt x="5780" y="1605"/>
                  </a:lnTo>
                  <a:lnTo>
                    <a:pt x="5771" y="1630"/>
                  </a:lnTo>
                  <a:lnTo>
                    <a:pt x="5765" y="1652"/>
                  </a:lnTo>
                  <a:lnTo>
                    <a:pt x="5771" y="1670"/>
                  </a:lnTo>
                  <a:lnTo>
                    <a:pt x="5783" y="1695"/>
                  </a:lnTo>
                  <a:lnTo>
                    <a:pt x="5790" y="1717"/>
                  </a:lnTo>
                  <a:lnTo>
                    <a:pt x="5796" y="1752"/>
                  </a:lnTo>
                  <a:lnTo>
                    <a:pt x="5796" y="1792"/>
                  </a:lnTo>
                  <a:lnTo>
                    <a:pt x="5796" y="1833"/>
                  </a:lnTo>
                  <a:lnTo>
                    <a:pt x="5790" y="1864"/>
                  </a:lnTo>
                  <a:lnTo>
                    <a:pt x="5783" y="1880"/>
                  </a:lnTo>
                  <a:lnTo>
                    <a:pt x="5771" y="1898"/>
                  </a:lnTo>
                  <a:lnTo>
                    <a:pt x="5759" y="1914"/>
                  </a:lnTo>
                  <a:lnTo>
                    <a:pt x="5749" y="1930"/>
                  </a:lnTo>
                  <a:lnTo>
                    <a:pt x="5749" y="1958"/>
                  </a:lnTo>
                  <a:lnTo>
                    <a:pt x="5755" y="1992"/>
                  </a:lnTo>
                  <a:lnTo>
                    <a:pt x="5768" y="2023"/>
                  </a:lnTo>
                  <a:lnTo>
                    <a:pt x="5777" y="2051"/>
                  </a:lnTo>
                  <a:lnTo>
                    <a:pt x="5793" y="2073"/>
                  </a:lnTo>
                  <a:lnTo>
                    <a:pt x="5818" y="2095"/>
                  </a:lnTo>
                  <a:lnTo>
                    <a:pt x="5843" y="2120"/>
                  </a:lnTo>
                  <a:lnTo>
                    <a:pt x="5855" y="2142"/>
                  </a:lnTo>
                  <a:lnTo>
                    <a:pt x="5855" y="2164"/>
                  </a:lnTo>
                  <a:lnTo>
                    <a:pt x="5849" y="2192"/>
                  </a:lnTo>
                  <a:lnTo>
                    <a:pt x="5840" y="2217"/>
                  </a:lnTo>
                  <a:lnTo>
                    <a:pt x="5833" y="2242"/>
                  </a:lnTo>
                  <a:lnTo>
                    <a:pt x="5830" y="2257"/>
                  </a:lnTo>
                  <a:lnTo>
                    <a:pt x="5827" y="2276"/>
                  </a:lnTo>
                  <a:lnTo>
                    <a:pt x="5821" y="2295"/>
                  </a:lnTo>
                  <a:lnTo>
                    <a:pt x="5815" y="2307"/>
                  </a:lnTo>
                  <a:lnTo>
                    <a:pt x="5793" y="2314"/>
                  </a:lnTo>
                  <a:lnTo>
                    <a:pt x="5765" y="2314"/>
                  </a:lnTo>
                  <a:lnTo>
                    <a:pt x="5737" y="2310"/>
                  </a:lnTo>
                  <a:lnTo>
                    <a:pt x="5709" y="2307"/>
                  </a:lnTo>
                  <a:lnTo>
                    <a:pt x="5687" y="2307"/>
                  </a:lnTo>
                  <a:lnTo>
                    <a:pt x="5665" y="2317"/>
                  </a:lnTo>
                  <a:lnTo>
                    <a:pt x="5646" y="2329"/>
                  </a:lnTo>
                  <a:lnTo>
                    <a:pt x="5630" y="2342"/>
                  </a:lnTo>
                  <a:lnTo>
                    <a:pt x="5627" y="2360"/>
                  </a:lnTo>
                  <a:lnTo>
                    <a:pt x="5630" y="2389"/>
                  </a:lnTo>
                  <a:lnTo>
                    <a:pt x="5634" y="2414"/>
                  </a:lnTo>
                  <a:lnTo>
                    <a:pt x="5630" y="2432"/>
                  </a:lnTo>
                  <a:lnTo>
                    <a:pt x="5618" y="2448"/>
                  </a:lnTo>
                  <a:lnTo>
                    <a:pt x="5571" y="2482"/>
                  </a:lnTo>
                  <a:lnTo>
                    <a:pt x="5556" y="2498"/>
                  </a:lnTo>
                  <a:lnTo>
                    <a:pt x="5552" y="2520"/>
                  </a:lnTo>
                  <a:lnTo>
                    <a:pt x="5552" y="2545"/>
                  </a:lnTo>
                  <a:lnTo>
                    <a:pt x="5556" y="2573"/>
                  </a:lnTo>
                  <a:lnTo>
                    <a:pt x="5556" y="2595"/>
                  </a:lnTo>
                  <a:lnTo>
                    <a:pt x="5549" y="2626"/>
                  </a:lnTo>
                  <a:lnTo>
                    <a:pt x="5540" y="2663"/>
                  </a:lnTo>
                  <a:lnTo>
                    <a:pt x="5531" y="2691"/>
                  </a:lnTo>
                  <a:lnTo>
                    <a:pt x="5515" y="2716"/>
                  </a:lnTo>
                  <a:lnTo>
                    <a:pt x="5490" y="2738"/>
                  </a:lnTo>
                  <a:lnTo>
                    <a:pt x="5465" y="2760"/>
                  </a:lnTo>
                  <a:lnTo>
                    <a:pt x="5443" y="2773"/>
                  </a:lnTo>
                  <a:lnTo>
                    <a:pt x="5421" y="2776"/>
                  </a:lnTo>
                  <a:lnTo>
                    <a:pt x="5396" y="2773"/>
                  </a:lnTo>
                  <a:lnTo>
                    <a:pt x="5371" y="2769"/>
                  </a:lnTo>
                  <a:lnTo>
                    <a:pt x="5353" y="2760"/>
                  </a:lnTo>
                  <a:lnTo>
                    <a:pt x="5340" y="2748"/>
                  </a:lnTo>
                  <a:lnTo>
                    <a:pt x="5331" y="2729"/>
                  </a:lnTo>
                  <a:lnTo>
                    <a:pt x="5321" y="2710"/>
                  </a:lnTo>
                  <a:lnTo>
                    <a:pt x="5309" y="2695"/>
                  </a:lnTo>
                  <a:lnTo>
                    <a:pt x="5290" y="2685"/>
                  </a:lnTo>
                  <a:lnTo>
                    <a:pt x="5268" y="2676"/>
                  </a:lnTo>
                  <a:lnTo>
                    <a:pt x="5250" y="2673"/>
                  </a:lnTo>
                  <a:lnTo>
                    <a:pt x="5221" y="2666"/>
                  </a:lnTo>
                  <a:lnTo>
                    <a:pt x="5190" y="2663"/>
                  </a:lnTo>
                  <a:lnTo>
                    <a:pt x="5165" y="2666"/>
                  </a:lnTo>
                  <a:lnTo>
                    <a:pt x="5150" y="2676"/>
                  </a:lnTo>
                  <a:lnTo>
                    <a:pt x="5131" y="2691"/>
                  </a:lnTo>
                  <a:lnTo>
                    <a:pt x="5112" y="2707"/>
                  </a:lnTo>
                  <a:lnTo>
                    <a:pt x="5093" y="2716"/>
                  </a:lnTo>
                  <a:lnTo>
                    <a:pt x="5075" y="2720"/>
                  </a:lnTo>
                  <a:lnTo>
                    <a:pt x="5053" y="2720"/>
                  </a:lnTo>
                  <a:lnTo>
                    <a:pt x="5031" y="2723"/>
                  </a:lnTo>
                  <a:lnTo>
                    <a:pt x="5009" y="2738"/>
                  </a:lnTo>
                  <a:lnTo>
                    <a:pt x="4984" y="2757"/>
                  </a:lnTo>
                  <a:lnTo>
                    <a:pt x="4965" y="2773"/>
                  </a:lnTo>
                  <a:lnTo>
                    <a:pt x="4947" y="2782"/>
                  </a:lnTo>
                  <a:lnTo>
                    <a:pt x="4922" y="2794"/>
                  </a:lnTo>
                  <a:lnTo>
                    <a:pt x="4900" y="2804"/>
                  </a:lnTo>
                  <a:lnTo>
                    <a:pt x="4884" y="2816"/>
                  </a:lnTo>
                  <a:lnTo>
                    <a:pt x="4878" y="2838"/>
                  </a:lnTo>
                  <a:lnTo>
                    <a:pt x="4878" y="2863"/>
                  </a:lnTo>
                  <a:lnTo>
                    <a:pt x="4881" y="2891"/>
                  </a:lnTo>
                  <a:lnTo>
                    <a:pt x="4875" y="2910"/>
                  </a:lnTo>
                  <a:lnTo>
                    <a:pt x="4856" y="2929"/>
                  </a:lnTo>
                  <a:lnTo>
                    <a:pt x="4828" y="2944"/>
                  </a:lnTo>
                  <a:lnTo>
                    <a:pt x="4797" y="2957"/>
                  </a:lnTo>
                  <a:lnTo>
                    <a:pt x="4772" y="2963"/>
                  </a:lnTo>
                  <a:lnTo>
                    <a:pt x="4756" y="2960"/>
                  </a:lnTo>
                  <a:lnTo>
                    <a:pt x="4737" y="2951"/>
                  </a:lnTo>
                  <a:lnTo>
                    <a:pt x="4719" y="2941"/>
                  </a:lnTo>
                  <a:lnTo>
                    <a:pt x="4703" y="2935"/>
                  </a:lnTo>
                  <a:lnTo>
                    <a:pt x="4681" y="2941"/>
                  </a:lnTo>
                  <a:lnTo>
                    <a:pt x="4653" y="2951"/>
                  </a:lnTo>
                  <a:lnTo>
                    <a:pt x="4625" y="2960"/>
                  </a:lnTo>
                  <a:lnTo>
                    <a:pt x="4603" y="2963"/>
                  </a:lnTo>
                  <a:lnTo>
                    <a:pt x="4581" y="2957"/>
                  </a:lnTo>
                  <a:lnTo>
                    <a:pt x="4559" y="2944"/>
                  </a:lnTo>
                  <a:lnTo>
                    <a:pt x="4538" y="2932"/>
                  </a:lnTo>
                  <a:lnTo>
                    <a:pt x="4516" y="2926"/>
                  </a:lnTo>
                  <a:lnTo>
                    <a:pt x="4500" y="2926"/>
                  </a:lnTo>
                  <a:lnTo>
                    <a:pt x="4478" y="2929"/>
                  </a:lnTo>
                  <a:lnTo>
                    <a:pt x="4463" y="2935"/>
                  </a:lnTo>
                  <a:lnTo>
                    <a:pt x="4441" y="2947"/>
                  </a:lnTo>
                  <a:lnTo>
                    <a:pt x="4419" y="2966"/>
                  </a:lnTo>
                  <a:lnTo>
                    <a:pt x="4397" y="2979"/>
                  </a:lnTo>
                  <a:lnTo>
                    <a:pt x="4372" y="2979"/>
                  </a:lnTo>
                  <a:lnTo>
                    <a:pt x="4344" y="2972"/>
                  </a:lnTo>
                  <a:lnTo>
                    <a:pt x="4322" y="2969"/>
                  </a:lnTo>
                  <a:lnTo>
                    <a:pt x="4294" y="2966"/>
                  </a:lnTo>
                  <a:lnTo>
                    <a:pt x="4266" y="2966"/>
                  </a:lnTo>
                  <a:lnTo>
                    <a:pt x="4241" y="2969"/>
                  </a:lnTo>
                  <a:lnTo>
                    <a:pt x="4232" y="2972"/>
                  </a:lnTo>
                  <a:lnTo>
                    <a:pt x="4222" y="2982"/>
                  </a:lnTo>
                  <a:lnTo>
                    <a:pt x="4213" y="2988"/>
                  </a:lnTo>
                  <a:lnTo>
                    <a:pt x="4203" y="2997"/>
                  </a:lnTo>
                  <a:lnTo>
                    <a:pt x="4197" y="3007"/>
                  </a:lnTo>
                  <a:lnTo>
                    <a:pt x="4191" y="3016"/>
                  </a:lnTo>
                  <a:lnTo>
                    <a:pt x="4175" y="3044"/>
                  </a:lnTo>
                  <a:lnTo>
                    <a:pt x="4163" y="3085"/>
                  </a:lnTo>
                  <a:lnTo>
                    <a:pt x="4147" y="3116"/>
                  </a:lnTo>
                  <a:lnTo>
                    <a:pt x="4132" y="3132"/>
                  </a:lnTo>
                  <a:lnTo>
                    <a:pt x="4113" y="3154"/>
                  </a:lnTo>
                  <a:lnTo>
                    <a:pt x="4097" y="3172"/>
                  </a:lnTo>
                  <a:lnTo>
                    <a:pt x="4097" y="3191"/>
                  </a:lnTo>
                  <a:lnTo>
                    <a:pt x="4097" y="3216"/>
                  </a:lnTo>
                  <a:lnTo>
                    <a:pt x="4097" y="3235"/>
                  </a:lnTo>
                  <a:lnTo>
                    <a:pt x="4100" y="3253"/>
                  </a:lnTo>
                  <a:lnTo>
                    <a:pt x="4103" y="3275"/>
                  </a:lnTo>
                  <a:lnTo>
                    <a:pt x="4103" y="3297"/>
                  </a:lnTo>
                  <a:lnTo>
                    <a:pt x="4097" y="3313"/>
                  </a:lnTo>
                  <a:lnTo>
                    <a:pt x="4085" y="3319"/>
                  </a:lnTo>
                  <a:lnTo>
                    <a:pt x="4066" y="3322"/>
                  </a:lnTo>
                  <a:lnTo>
                    <a:pt x="4047" y="3325"/>
                  </a:lnTo>
                  <a:lnTo>
                    <a:pt x="4032" y="3328"/>
                  </a:lnTo>
                  <a:lnTo>
                    <a:pt x="4025" y="3344"/>
                  </a:lnTo>
                  <a:lnTo>
                    <a:pt x="4022" y="3363"/>
                  </a:lnTo>
                  <a:lnTo>
                    <a:pt x="4019" y="3382"/>
                  </a:lnTo>
                  <a:lnTo>
                    <a:pt x="4013" y="3397"/>
                  </a:lnTo>
                  <a:lnTo>
                    <a:pt x="4000" y="3410"/>
                  </a:lnTo>
                  <a:lnTo>
                    <a:pt x="3979" y="3422"/>
                  </a:lnTo>
                  <a:lnTo>
                    <a:pt x="3957" y="3428"/>
                  </a:lnTo>
                  <a:lnTo>
                    <a:pt x="3941" y="3428"/>
                  </a:lnTo>
                  <a:lnTo>
                    <a:pt x="3935" y="3416"/>
                  </a:lnTo>
                  <a:lnTo>
                    <a:pt x="3935" y="3400"/>
                  </a:lnTo>
                  <a:lnTo>
                    <a:pt x="3935" y="3382"/>
                  </a:lnTo>
                  <a:lnTo>
                    <a:pt x="3932" y="3369"/>
                  </a:lnTo>
                  <a:lnTo>
                    <a:pt x="3916" y="3360"/>
                  </a:lnTo>
                  <a:lnTo>
                    <a:pt x="3897" y="3350"/>
                  </a:lnTo>
                  <a:lnTo>
                    <a:pt x="3879" y="3347"/>
                  </a:lnTo>
                  <a:lnTo>
                    <a:pt x="3854" y="3344"/>
                  </a:lnTo>
                  <a:lnTo>
                    <a:pt x="3822" y="3341"/>
                  </a:lnTo>
                  <a:lnTo>
                    <a:pt x="3801" y="3347"/>
                  </a:lnTo>
                  <a:lnTo>
                    <a:pt x="3785" y="3360"/>
                  </a:lnTo>
                  <a:lnTo>
                    <a:pt x="3769" y="3382"/>
                  </a:lnTo>
                  <a:lnTo>
                    <a:pt x="3757" y="3400"/>
                  </a:lnTo>
                  <a:lnTo>
                    <a:pt x="3744" y="3422"/>
                  </a:lnTo>
                  <a:lnTo>
                    <a:pt x="3729" y="3444"/>
                  </a:lnTo>
                  <a:lnTo>
                    <a:pt x="3713" y="3460"/>
                  </a:lnTo>
                  <a:lnTo>
                    <a:pt x="3698" y="3460"/>
                  </a:lnTo>
                  <a:lnTo>
                    <a:pt x="3682" y="3450"/>
                  </a:lnTo>
                  <a:lnTo>
                    <a:pt x="3663" y="3444"/>
                  </a:lnTo>
                  <a:lnTo>
                    <a:pt x="3651" y="3441"/>
                  </a:lnTo>
                  <a:lnTo>
                    <a:pt x="3641" y="3444"/>
                  </a:lnTo>
                  <a:lnTo>
                    <a:pt x="3635" y="3447"/>
                  </a:lnTo>
                  <a:lnTo>
                    <a:pt x="3626" y="3453"/>
                  </a:lnTo>
                  <a:lnTo>
                    <a:pt x="3616" y="3460"/>
                  </a:lnTo>
                  <a:lnTo>
                    <a:pt x="3598" y="3460"/>
                  </a:lnTo>
                  <a:lnTo>
                    <a:pt x="3579" y="3463"/>
                  </a:lnTo>
                  <a:lnTo>
                    <a:pt x="3560" y="3463"/>
                  </a:lnTo>
                  <a:lnTo>
                    <a:pt x="3538" y="3450"/>
                  </a:lnTo>
                  <a:lnTo>
                    <a:pt x="3513" y="3431"/>
                  </a:lnTo>
                  <a:lnTo>
                    <a:pt x="3498" y="3413"/>
                  </a:lnTo>
                  <a:lnTo>
                    <a:pt x="3488" y="3394"/>
                  </a:lnTo>
                  <a:lnTo>
                    <a:pt x="3485" y="3372"/>
                  </a:lnTo>
                  <a:lnTo>
                    <a:pt x="3485" y="3353"/>
                  </a:lnTo>
                  <a:lnTo>
                    <a:pt x="3491" y="3347"/>
                  </a:lnTo>
                  <a:lnTo>
                    <a:pt x="3498" y="3344"/>
                  </a:lnTo>
                  <a:lnTo>
                    <a:pt x="3504" y="3338"/>
                  </a:lnTo>
                  <a:lnTo>
                    <a:pt x="3513" y="3338"/>
                  </a:lnTo>
                  <a:lnTo>
                    <a:pt x="3520" y="3335"/>
                  </a:lnTo>
                  <a:lnTo>
                    <a:pt x="3535" y="3338"/>
                  </a:lnTo>
                  <a:lnTo>
                    <a:pt x="3554" y="3344"/>
                  </a:lnTo>
                  <a:lnTo>
                    <a:pt x="3569" y="3353"/>
                  </a:lnTo>
                  <a:lnTo>
                    <a:pt x="3585" y="3357"/>
                  </a:lnTo>
                  <a:lnTo>
                    <a:pt x="3607" y="3353"/>
                  </a:lnTo>
                  <a:lnTo>
                    <a:pt x="3629" y="3347"/>
                  </a:lnTo>
                  <a:lnTo>
                    <a:pt x="3644" y="3335"/>
                  </a:lnTo>
                  <a:lnTo>
                    <a:pt x="3648" y="3328"/>
                  </a:lnTo>
                  <a:lnTo>
                    <a:pt x="3648" y="3322"/>
                  </a:lnTo>
                  <a:lnTo>
                    <a:pt x="3644" y="3313"/>
                  </a:lnTo>
                  <a:lnTo>
                    <a:pt x="3641" y="3303"/>
                  </a:lnTo>
                  <a:lnTo>
                    <a:pt x="3638" y="3300"/>
                  </a:lnTo>
                  <a:lnTo>
                    <a:pt x="3632" y="3294"/>
                  </a:lnTo>
                  <a:lnTo>
                    <a:pt x="3623" y="3288"/>
                  </a:lnTo>
                  <a:lnTo>
                    <a:pt x="3610" y="3285"/>
                  </a:lnTo>
                  <a:lnTo>
                    <a:pt x="3601" y="3282"/>
                  </a:lnTo>
                  <a:lnTo>
                    <a:pt x="3591" y="3278"/>
                  </a:lnTo>
                  <a:lnTo>
                    <a:pt x="3573" y="3278"/>
                  </a:lnTo>
                  <a:lnTo>
                    <a:pt x="3548" y="3278"/>
                  </a:lnTo>
                  <a:lnTo>
                    <a:pt x="3529" y="3278"/>
                  </a:lnTo>
                  <a:lnTo>
                    <a:pt x="3523" y="3275"/>
                  </a:lnTo>
                  <a:lnTo>
                    <a:pt x="3510" y="3266"/>
                  </a:lnTo>
                  <a:lnTo>
                    <a:pt x="3501" y="3260"/>
                  </a:lnTo>
                  <a:lnTo>
                    <a:pt x="3491" y="3253"/>
                  </a:lnTo>
                  <a:lnTo>
                    <a:pt x="3485" y="3247"/>
                  </a:lnTo>
                  <a:lnTo>
                    <a:pt x="3463" y="3247"/>
                  </a:lnTo>
                  <a:lnTo>
                    <a:pt x="3438" y="3247"/>
                  </a:lnTo>
                  <a:lnTo>
                    <a:pt x="3416" y="3247"/>
                  </a:lnTo>
                  <a:lnTo>
                    <a:pt x="3398" y="3241"/>
                  </a:lnTo>
                  <a:lnTo>
                    <a:pt x="3376" y="3232"/>
                  </a:lnTo>
                  <a:lnTo>
                    <a:pt x="3354" y="3219"/>
                  </a:lnTo>
                  <a:lnTo>
                    <a:pt x="3335" y="3213"/>
                  </a:lnTo>
                  <a:lnTo>
                    <a:pt x="3326" y="3210"/>
                  </a:lnTo>
                  <a:lnTo>
                    <a:pt x="3317" y="3210"/>
                  </a:lnTo>
                  <a:lnTo>
                    <a:pt x="3304" y="3210"/>
                  </a:lnTo>
                  <a:lnTo>
                    <a:pt x="3295" y="3210"/>
                  </a:lnTo>
                  <a:lnTo>
                    <a:pt x="3288" y="3213"/>
                  </a:lnTo>
                  <a:lnTo>
                    <a:pt x="3282" y="3216"/>
                  </a:lnTo>
                  <a:lnTo>
                    <a:pt x="3279" y="3222"/>
                  </a:lnTo>
                  <a:lnTo>
                    <a:pt x="3276" y="3229"/>
                  </a:lnTo>
                  <a:lnTo>
                    <a:pt x="3273" y="3235"/>
                  </a:lnTo>
                  <a:lnTo>
                    <a:pt x="3270" y="3241"/>
                  </a:lnTo>
                  <a:lnTo>
                    <a:pt x="3251" y="3253"/>
                  </a:lnTo>
                  <a:lnTo>
                    <a:pt x="3229" y="3266"/>
                  </a:lnTo>
                  <a:lnTo>
                    <a:pt x="3207" y="3278"/>
                  </a:lnTo>
                  <a:lnTo>
                    <a:pt x="3189" y="3288"/>
                  </a:lnTo>
                  <a:lnTo>
                    <a:pt x="3167" y="3288"/>
                  </a:lnTo>
                  <a:lnTo>
                    <a:pt x="3142" y="3285"/>
                  </a:lnTo>
                  <a:lnTo>
                    <a:pt x="3117" y="3282"/>
                  </a:lnTo>
                  <a:lnTo>
                    <a:pt x="3098" y="3285"/>
                  </a:lnTo>
                  <a:lnTo>
                    <a:pt x="3092" y="3288"/>
                  </a:lnTo>
                  <a:lnTo>
                    <a:pt x="3082" y="3291"/>
                  </a:lnTo>
                  <a:lnTo>
                    <a:pt x="3076" y="3297"/>
                  </a:lnTo>
                  <a:lnTo>
                    <a:pt x="3070" y="3300"/>
                  </a:lnTo>
                  <a:lnTo>
                    <a:pt x="3042" y="3303"/>
                  </a:lnTo>
                  <a:lnTo>
                    <a:pt x="3007" y="3307"/>
                  </a:lnTo>
                  <a:lnTo>
                    <a:pt x="2979" y="3307"/>
                  </a:lnTo>
                  <a:lnTo>
                    <a:pt x="2964" y="3307"/>
                  </a:lnTo>
                  <a:lnTo>
                    <a:pt x="2945" y="3310"/>
                  </a:lnTo>
                  <a:lnTo>
                    <a:pt x="2929" y="3310"/>
                  </a:lnTo>
                  <a:lnTo>
                    <a:pt x="2917" y="3303"/>
                  </a:lnTo>
                  <a:lnTo>
                    <a:pt x="2914" y="3300"/>
                  </a:lnTo>
                  <a:lnTo>
                    <a:pt x="2914" y="3291"/>
                  </a:lnTo>
                  <a:lnTo>
                    <a:pt x="2917" y="3285"/>
                  </a:lnTo>
                  <a:lnTo>
                    <a:pt x="2917" y="3275"/>
                  </a:lnTo>
                  <a:lnTo>
                    <a:pt x="2917" y="3269"/>
                  </a:lnTo>
                  <a:lnTo>
                    <a:pt x="2917" y="3263"/>
                  </a:lnTo>
                  <a:lnTo>
                    <a:pt x="2898" y="3244"/>
                  </a:lnTo>
                  <a:lnTo>
                    <a:pt x="2873" y="3229"/>
                  </a:lnTo>
                  <a:lnTo>
                    <a:pt x="2851" y="3213"/>
                  </a:lnTo>
                  <a:lnTo>
                    <a:pt x="2842" y="3197"/>
                  </a:lnTo>
                  <a:lnTo>
                    <a:pt x="2829" y="3175"/>
                  </a:lnTo>
                  <a:lnTo>
                    <a:pt x="2826" y="3160"/>
                  </a:lnTo>
                  <a:lnTo>
                    <a:pt x="2829" y="3154"/>
                  </a:lnTo>
                  <a:lnTo>
                    <a:pt x="2836" y="3147"/>
                  </a:lnTo>
                  <a:lnTo>
                    <a:pt x="2845" y="3144"/>
                  </a:lnTo>
                  <a:lnTo>
                    <a:pt x="2851" y="3141"/>
                  </a:lnTo>
                  <a:lnTo>
                    <a:pt x="2873" y="3135"/>
                  </a:lnTo>
                  <a:lnTo>
                    <a:pt x="2901" y="3132"/>
                  </a:lnTo>
                  <a:lnTo>
                    <a:pt x="2929" y="3132"/>
                  </a:lnTo>
                  <a:lnTo>
                    <a:pt x="2951" y="3141"/>
                  </a:lnTo>
                  <a:lnTo>
                    <a:pt x="2951" y="3144"/>
                  </a:lnTo>
                  <a:lnTo>
                    <a:pt x="2954" y="3150"/>
                  </a:lnTo>
                  <a:lnTo>
                    <a:pt x="2954" y="3160"/>
                  </a:lnTo>
                  <a:lnTo>
                    <a:pt x="2954" y="3169"/>
                  </a:lnTo>
                  <a:lnTo>
                    <a:pt x="2954" y="3175"/>
                  </a:lnTo>
                  <a:lnTo>
                    <a:pt x="2954" y="3182"/>
                  </a:lnTo>
                  <a:lnTo>
                    <a:pt x="2957" y="3188"/>
                  </a:lnTo>
                  <a:lnTo>
                    <a:pt x="2976" y="3194"/>
                  </a:lnTo>
                  <a:lnTo>
                    <a:pt x="2998" y="3194"/>
                  </a:lnTo>
                  <a:lnTo>
                    <a:pt x="3023" y="3191"/>
                  </a:lnTo>
                  <a:lnTo>
                    <a:pt x="3045" y="3188"/>
                  </a:lnTo>
                  <a:lnTo>
                    <a:pt x="3067" y="3185"/>
                  </a:lnTo>
                  <a:lnTo>
                    <a:pt x="3092" y="3179"/>
                  </a:lnTo>
                  <a:lnTo>
                    <a:pt x="3110" y="3166"/>
                  </a:lnTo>
                  <a:lnTo>
                    <a:pt x="3117" y="3154"/>
                  </a:lnTo>
                  <a:lnTo>
                    <a:pt x="3117" y="3138"/>
                  </a:lnTo>
                  <a:lnTo>
                    <a:pt x="3120" y="3119"/>
                  </a:lnTo>
                  <a:lnTo>
                    <a:pt x="3126" y="3107"/>
                  </a:lnTo>
                  <a:lnTo>
                    <a:pt x="3132" y="3104"/>
                  </a:lnTo>
                  <a:lnTo>
                    <a:pt x="3139" y="3104"/>
                  </a:lnTo>
                  <a:lnTo>
                    <a:pt x="3148" y="3100"/>
                  </a:lnTo>
                  <a:lnTo>
                    <a:pt x="3157" y="3100"/>
                  </a:lnTo>
                  <a:lnTo>
                    <a:pt x="3164" y="3097"/>
                  </a:lnTo>
                  <a:lnTo>
                    <a:pt x="3170" y="3094"/>
                  </a:lnTo>
                  <a:lnTo>
                    <a:pt x="3176" y="3088"/>
                  </a:lnTo>
                  <a:lnTo>
                    <a:pt x="3182" y="3082"/>
                  </a:lnTo>
                  <a:lnTo>
                    <a:pt x="3189" y="3072"/>
                  </a:lnTo>
                  <a:lnTo>
                    <a:pt x="3192" y="3063"/>
                  </a:lnTo>
                  <a:lnTo>
                    <a:pt x="3195" y="3047"/>
                  </a:lnTo>
                  <a:lnTo>
                    <a:pt x="3195" y="3029"/>
                  </a:lnTo>
                  <a:lnTo>
                    <a:pt x="3192" y="3013"/>
                  </a:lnTo>
                  <a:lnTo>
                    <a:pt x="3189" y="3007"/>
                  </a:lnTo>
                  <a:lnTo>
                    <a:pt x="3182" y="3001"/>
                  </a:lnTo>
                  <a:lnTo>
                    <a:pt x="3176" y="2994"/>
                  </a:lnTo>
                  <a:lnTo>
                    <a:pt x="3167" y="2988"/>
                  </a:lnTo>
                  <a:lnTo>
                    <a:pt x="3157" y="2985"/>
                  </a:lnTo>
                  <a:lnTo>
                    <a:pt x="3151" y="2985"/>
                  </a:lnTo>
                  <a:lnTo>
                    <a:pt x="3145" y="2988"/>
                  </a:lnTo>
                  <a:lnTo>
                    <a:pt x="3139" y="2991"/>
                  </a:lnTo>
                  <a:lnTo>
                    <a:pt x="3132" y="3001"/>
                  </a:lnTo>
                  <a:lnTo>
                    <a:pt x="3126" y="3004"/>
                  </a:lnTo>
                  <a:lnTo>
                    <a:pt x="3120" y="3007"/>
                  </a:lnTo>
                  <a:lnTo>
                    <a:pt x="3104" y="3007"/>
                  </a:lnTo>
                  <a:lnTo>
                    <a:pt x="3082" y="2997"/>
                  </a:lnTo>
                  <a:lnTo>
                    <a:pt x="3064" y="2991"/>
                  </a:lnTo>
                  <a:lnTo>
                    <a:pt x="3048" y="2985"/>
                  </a:lnTo>
                  <a:lnTo>
                    <a:pt x="3026" y="2982"/>
                  </a:lnTo>
                  <a:lnTo>
                    <a:pt x="2998" y="2982"/>
                  </a:lnTo>
                  <a:lnTo>
                    <a:pt x="2979" y="2985"/>
                  </a:lnTo>
                  <a:lnTo>
                    <a:pt x="2961" y="2997"/>
                  </a:lnTo>
                  <a:lnTo>
                    <a:pt x="2945" y="3019"/>
                  </a:lnTo>
                  <a:lnTo>
                    <a:pt x="2926" y="3035"/>
                  </a:lnTo>
                  <a:lnTo>
                    <a:pt x="2907" y="3038"/>
                  </a:lnTo>
                  <a:lnTo>
                    <a:pt x="2882" y="3038"/>
                  </a:lnTo>
                  <a:lnTo>
                    <a:pt x="2861" y="3035"/>
                  </a:lnTo>
                  <a:lnTo>
                    <a:pt x="2839" y="3035"/>
                  </a:lnTo>
                  <a:lnTo>
                    <a:pt x="2833" y="3032"/>
                  </a:lnTo>
                  <a:lnTo>
                    <a:pt x="2826" y="3032"/>
                  </a:lnTo>
                  <a:lnTo>
                    <a:pt x="2817" y="3032"/>
                  </a:lnTo>
                  <a:lnTo>
                    <a:pt x="2811" y="3029"/>
                  </a:lnTo>
                  <a:lnTo>
                    <a:pt x="2808" y="3026"/>
                  </a:lnTo>
                  <a:lnTo>
                    <a:pt x="2804" y="3019"/>
                  </a:lnTo>
                  <a:lnTo>
                    <a:pt x="2804" y="3013"/>
                  </a:lnTo>
                  <a:lnTo>
                    <a:pt x="2804" y="3007"/>
                  </a:lnTo>
                  <a:lnTo>
                    <a:pt x="2808" y="2997"/>
                  </a:lnTo>
                  <a:lnTo>
                    <a:pt x="2808" y="2991"/>
                  </a:lnTo>
                  <a:lnTo>
                    <a:pt x="2808" y="2985"/>
                  </a:lnTo>
                  <a:lnTo>
                    <a:pt x="2801" y="2960"/>
                  </a:lnTo>
                  <a:lnTo>
                    <a:pt x="2789" y="2932"/>
                  </a:lnTo>
                  <a:lnTo>
                    <a:pt x="2776" y="2913"/>
                  </a:lnTo>
                  <a:lnTo>
                    <a:pt x="2764" y="2910"/>
                  </a:lnTo>
                  <a:lnTo>
                    <a:pt x="2748" y="2907"/>
                  </a:lnTo>
                  <a:lnTo>
                    <a:pt x="2733" y="2907"/>
                  </a:lnTo>
                  <a:lnTo>
                    <a:pt x="2723" y="2913"/>
                  </a:lnTo>
                  <a:lnTo>
                    <a:pt x="2720" y="2929"/>
                  </a:lnTo>
                  <a:lnTo>
                    <a:pt x="2729" y="2947"/>
                  </a:lnTo>
                  <a:lnTo>
                    <a:pt x="2739" y="2969"/>
                  </a:lnTo>
                  <a:lnTo>
                    <a:pt x="2745" y="2985"/>
                  </a:lnTo>
                  <a:lnTo>
                    <a:pt x="2745" y="2994"/>
                  </a:lnTo>
                  <a:lnTo>
                    <a:pt x="2745" y="3007"/>
                  </a:lnTo>
                  <a:lnTo>
                    <a:pt x="2742" y="3016"/>
                  </a:lnTo>
                  <a:lnTo>
                    <a:pt x="2739" y="3026"/>
                  </a:lnTo>
                  <a:lnTo>
                    <a:pt x="2739" y="3032"/>
                  </a:lnTo>
                  <a:lnTo>
                    <a:pt x="2736" y="3041"/>
                  </a:lnTo>
                  <a:lnTo>
                    <a:pt x="2733" y="3047"/>
                  </a:lnTo>
                  <a:lnTo>
                    <a:pt x="2726" y="3057"/>
                  </a:lnTo>
                  <a:lnTo>
                    <a:pt x="2723" y="3060"/>
                  </a:lnTo>
                  <a:lnTo>
                    <a:pt x="2714" y="3057"/>
                  </a:lnTo>
                  <a:lnTo>
                    <a:pt x="2708" y="3054"/>
                  </a:lnTo>
                  <a:lnTo>
                    <a:pt x="2698" y="3047"/>
                  </a:lnTo>
                  <a:lnTo>
                    <a:pt x="2692" y="3041"/>
                  </a:lnTo>
                  <a:lnTo>
                    <a:pt x="2686" y="3035"/>
                  </a:lnTo>
                  <a:lnTo>
                    <a:pt x="2680" y="3029"/>
                  </a:lnTo>
                  <a:lnTo>
                    <a:pt x="2673" y="3022"/>
                  </a:lnTo>
                  <a:lnTo>
                    <a:pt x="2667" y="3016"/>
                  </a:lnTo>
                  <a:lnTo>
                    <a:pt x="2664" y="3010"/>
                  </a:lnTo>
                  <a:lnTo>
                    <a:pt x="2658" y="3004"/>
                  </a:lnTo>
                  <a:lnTo>
                    <a:pt x="2651" y="3001"/>
                  </a:lnTo>
                  <a:lnTo>
                    <a:pt x="2645" y="3001"/>
                  </a:lnTo>
                  <a:lnTo>
                    <a:pt x="2642" y="3004"/>
                  </a:lnTo>
                  <a:lnTo>
                    <a:pt x="2642" y="3007"/>
                  </a:lnTo>
                  <a:lnTo>
                    <a:pt x="2645" y="3013"/>
                  </a:lnTo>
                  <a:lnTo>
                    <a:pt x="2645" y="3019"/>
                  </a:lnTo>
                  <a:lnTo>
                    <a:pt x="2645" y="3026"/>
                  </a:lnTo>
                  <a:lnTo>
                    <a:pt x="2648" y="3032"/>
                  </a:lnTo>
                  <a:lnTo>
                    <a:pt x="2645" y="3035"/>
                  </a:lnTo>
                  <a:lnTo>
                    <a:pt x="2633" y="3041"/>
                  </a:lnTo>
                  <a:lnTo>
                    <a:pt x="2617" y="3044"/>
                  </a:lnTo>
                  <a:lnTo>
                    <a:pt x="2598" y="3044"/>
                  </a:lnTo>
                  <a:lnTo>
                    <a:pt x="2583" y="3047"/>
                  </a:lnTo>
                  <a:lnTo>
                    <a:pt x="2558" y="3054"/>
                  </a:lnTo>
                  <a:lnTo>
                    <a:pt x="2530" y="3063"/>
                  </a:lnTo>
                  <a:lnTo>
                    <a:pt x="2511" y="3075"/>
                  </a:lnTo>
                  <a:lnTo>
                    <a:pt x="2505" y="3082"/>
                  </a:lnTo>
                  <a:lnTo>
                    <a:pt x="2502" y="3091"/>
                  </a:lnTo>
                  <a:lnTo>
                    <a:pt x="2502" y="3100"/>
                  </a:lnTo>
                  <a:lnTo>
                    <a:pt x="2498" y="3113"/>
                  </a:lnTo>
                  <a:lnTo>
                    <a:pt x="2498" y="3119"/>
                  </a:lnTo>
                  <a:lnTo>
                    <a:pt x="2492" y="3141"/>
                  </a:lnTo>
                  <a:lnTo>
                    <a:pt x="2486" y="3163"/>
                  </a:lnTo>
                  <a:lnTo>
                    <a:pt x="2480" y="3188"/>
                  </a:lnTo>
                  <a:lnTo>
                    <a:pt x="2480" y="3207"/>
                  </a:lnTo>
                  <a:lnTo>
                    <a:pt x="2483" y="3216"/>
                  </a:lnTo>
                  <a:lnTo>
                    <a:pt x="2489" y="3222"/>
                  </a:lnTo>
                  <a:lnTo>
                    <a:pt x="2495" y="3232"/>
                  </a:lnTo>
                  <a:lnTo>
                    <a:pt x="2502" y="3238"/>
                  </a:lnTo>
                  <a:lnTo>
                    <a:pt x="2508" y="3247"/>
                  </a:lnTo>
                  <a:lnTo>
                    <a:pt x="2514" y="3253"/>
                  </a:lnTo>
                  <a:lnTo>
                    <a:pt x="2517" y="3260"/>
                  </a:lnTo>
                  <a:lnTo>
                    <a:pt x="2520" y="3269"/>
                  </a:lnTo>
                  <a:lnTo>
                    <a:pt x="2527" y="3275"/>
                  </a:lnTo>
                  <a:lnTo>
                    <a:pt x="2533" y="3285"/>
                  </a:lnTo>
                  <a:lnTo>
                    <a:pt x="2536" y="3294"/>
                  </a:lnTo>
                  <a:lnTo>
                    <a:pt x="2536" y="3300"/>
                  </a:lnTo>
                  <a:lnTo>
                    <a:pt x="2536" y="3307"/>
                  </a:lnTo>
                  <a:lnTo>
                    <a:pt x="2533" y="3316"/>
                  </a:lnTo>
                  <a:lnTo>
                    <a:pt x="2530" y="3322"/>
                  </a:lnTo>
                  <a:lnTo>
                    <a:pt x="2523" y="3328"/>
                  </a:lnTo>
                  <a:lnTo>
                    <a:pt x="2520" y="3332"/>
                  </a:lnTo>
                  <a:lnTo>
                    <a:pt x="2514" y="3335"/>
                  </a:lnTo>
                  <a:lnTo>
                    <a:pt x="2505" y="3335"/>
                  </a:lnTo>
                  <a:lnTo>
                    <a:pt x="2495" y="3335"/>
                  </a:lnTo>
                  <a:lnTo>
                    <a:pt x="2486" y="3335"/>
                  </a:lnTo>
                  <a:lnTo>
                    <a:pt x="2480" y="3332"/>
                  </a:lnTo>
                  <a:lnTo>
                    <a:pt x="2473" y="3328"/>
                  </a:lnTo>
                  <a:lnTo>
                    <a:pt x="2464" y="3322"/>
                  </a:lnTo>
                  <a:lnTo>
                    <a:pt x="2458" y="3313"/>
                  </a:lnTo>
                  <a:lnTo>
                    <a:pt x="2455" y="3307"/>
                  </a:lnTo>
                  <a:lnTo>
                    <a:pt x="2442" y="3285"/>
                  </a:lnTo>
                  <a:lnTo>
                    <a:pt x="2433" y="3257"/>
                  </a:lnTo>
                  <a:lnTo>
                    <a:pt x="2430" y="3232"/>
                  </a:lnTo>
                  <a:lnTo>
                    <a:pt x="2427" y="3207"/>
                  </a:lnTo>
                  <a:lnTo>
                    <a:pt x="2427" y="3179"/>
                  </a:lnTo>
                  <a:lnTo>
                    <a:pt x="2430" y="3157"/>
                  </a:lnTo>
                  <a:lnTo>
                    <a:pt x="2439" y="3132"/>
                  </a:lnTo>
                  <a:lnTo>
                    <a:pt x="2455" y="3104"/>
                  </a:lnTo>
                  <a:lnTo>
                    <a:pt x="2467" y="3079"/>
                  </a:lnTo>
                  <a:lnTo>
                    <a:pt x="2470" y="3060"/>
                  </a:lnTo>
                  <a:lnTo>
                    <a:pt x="2470" y="3038"/>
                  </a:lnTo>
                  <a:lnTo>
                    <a:pt x="2470" y="3019"/>
                  </a:lnTo>
                  <a:lnTo>
                    <a:pt x="2467" y="3010"/>
                  </a:lnTo>
                  <a:lnTo>
                    <a:pt x="2461" y="3001"/>
                  </a:lnTo>
                  <a:lnTo>
                    <a:pt x="2455" y="2991"/>
                  </a:lnTo>
                  <a:lnTo>
                    <a:pt x="2448" y="2985"/>
                  </a:lnTo>
                  <a:lnTo>
                    <a:pt x="2433" y="2976"/>
                  </a:lnTo>
                  <a:lnTo>
                    <a:pt x="2414" y="2966"/>
                  </a:lnTo>
                  <a:lnTo>
                    <a:pt x="2395" y="2957"/>
                  </a:lnTo>
                  <a:lnTo>
                    <a:pt x="2383" y="2944"/>
                  </a:lnTo>
                  <a:lnTo>
                    <a:pt x="2380" y="2935"/>
                  </a:lnTo>
                  <a:lnTo>
                    <a:pt x="2380" y="2926"/>
                  </a:lnTo>
                  <a:lnTo>
                    <a:pt x="2380" y="2916"/>
                  </a:lnTo>
                  <a:lnTo>
                    <a:pt x="2380" y="2907"/>
                  </a:lnTo>
                  <a:lnTo>
                    <a:pt x="2383" y="2898"/>
                  </a:lnTo>
                  <a:lnTo>
                    <a:pt x="2386" y="2891"/>
                  </a:lnTo>
                  <a:lnTo>
                    <a:pt x="2389" y="2882"/>
                  </a:lnTo>
                  <a:lnTo>
                    <a:pt x="2395" y="2876"/>
                  </a:lnTo>
                  <a:lnTo>
                    <a:pt x="2402" y="2866"/>
                  </a:lnTo>
                  <a:lnTo>
                    <a:pt x="2408" y="2863"/>
                  </a:lnTo>
                  <a:lnTo>
                    <a:pt x="2423" y="2857"/>
                  </a:lnTo>
                  <a:lnTo>
                    <a:pt x="2445" y="2851"/>
                  </a:lnTo>
                  <a:lnTo>
                    <a:pt x="2461" y="2844"/>
                  </a:lnTo>
                  <a:lnTo>
                    <a:pt x="2470" y="2838"/>
                  </a:lnTo>
                  <a:lnTo>
                    <a:pt x="2480" y="2832"/>
                  </a:lnTo>
                  <a:lnTo>
                    <a:pt x="2489" y="2823"/>
                  </a:lnTo>
                  <a:lnTo>
                    <a:pt x="2498" y="2816"/>
                  </a:lnTo>
                  <a:lnTo>
                    <a:pt x="2505" y="2810"/>
                  </a:lnTo>
                  <a:lnTo>
                    <a:pt x="2514" y="2791"/>
                  </a:lnTo>
                  <a:lnTo>
                    <a:pt x="2527" y="2769"/>
                  </a:lnTo>
                  <a:lnTo>
                    <a:pt x="2533" y="2748"/>
                  </a:lnTo>
                  <a:lnTo>
                    <a:pt x="2536" y="2729"/>
                  </a:lnTo>
                  <a:lnTo>
                    <a:pt x="2536" y="2723"/>
                  </a:lnTo>
                  <a:lnTo>
                    <a:pt x="2533" y="2710"/>
                  </a:lnTo>
                  <a:lnTo>
                    <a:pt x="2527" y="2701"/>
                  </a:lnTo>
                  <a:lnTo>
                    <a:pt x="2523" y="2691"/>
                  </a:lnTo>
                  <a:lnTo>
                    <a:pt x="2517" y="2685"/>
                  </a:lnTo>
                  <a:lnTo>
                    <a:pt x="2505" y="2676"/>
                  </a:lnTo>
                  <a:lnTo>
                    <a:pt x="2483" y="2666"/>
                  </a:lnTo>
                  <a:lnTo>
                    <a:pt x="2464" y="2660"/>
                  </a:lnTo>
                  <a:lnTo>
                    <a:pt x="2445" y="2660"/>
                  </a:lnTo>
                  <a:lnTo>
                    <a:pt x="2436" y="2673"/>
                  </a:lnTo>
                  <a:lnTo>
                    <a:pt x="2427" y="2695"/>
                  </a:lnTo>
                  <a:lnTo>
                    <a:pt x="2420" y="2716"/>
                  </a:lnTo>
                  <a:lnTo>
                    <a:pt x="2417" y="2738"/>
                  </a:lnTo>
                  <a:lnTo>
                    <a:pt x="2420" y="2754"/>
                  </a:lnTo>
                  <a:lnTo>
                    <a:pt x="2423" y="2776"/>
                  </a:lnTo>
                  <a:lnTo>
                    <a:pt x="2420" y="2791"/>
                  </a:lnTo>
                  <a:lnTo>
                    <a:pt x="2417" y="2798"/>
                  </a:lnTo>
                  <a:lnTo>
                    <a:pt x="2408" y="2804"/>
                  </a:lnTo>
                  <a:lnTo>
                    <a:pt x="2398" y="2813"/>
                  </a:lnTo>
                  <a:lnTo>
                    <a:pt x="2389" y="2819"/>
                  </a:lnTo>
                  <a:lnTo>
                    <a:pt x="2383" y="2823"/>
                  </a:lnTo>
                  <a:lnTo>
                    <a:pt x="2367" y="2835"/>
                  </a:lnTo>
                  <a:lnTo>
                    <a:pt x="2349" y="2851"/>
                  </a:lnTo>
                  <a:lnTo>
                    <a:pt x="2330" y="2857"/>
                  </a:lnTo>
                  <a:lnTo>
                    <a:pt x="2314" y="2857"/>
                  </a:lnTo>
                  <a:lnTo>
                    <a:pt x="2292" y="2851"/>
                  </a:lnTo>
                  <a:lnTo>
                    <a:pt x="2274" y="2841"/>
                  </a:lnTo>
                  <a:lnTo>
                    <a:pt x="2258" y="2832"/>
                  </a:lnTo>
                  <a:lnTo>
                    <a:pt x="2249" y="2819"/>
                  </a:lnTo>
                  <a:lnTo>
                    <a:pt x="2242" y="2801"/>
                  </a:lnTo>
                  <a:lnTo>
                    <a:pt x="2236" y="2782"/>
                  </a:lnTo>
                  <a:lnTo>
                    <a:pt x="2230" y="2766"/>
                  </a:lnTo>
                  <a:lnTo>
                    <a:pt x="2224" y="2763"/>
                  </a:lnTo>
                  <a:lnTo>
                    <a:pt x="2214" y="2763"/>
                  </a:lnTo>
                  <a:lnTo>
                    <a:pt x="2208" y="2763"/>
                  </a:lnTo>
                  <a:lnTo>
                    <a:pt x="2199" y="2760"/>
                  </a:lnTo>
                  <a:lnTo>
                    <a:pt x="2189" y="2757"/>
                  </a:lnTo>
                  <a:lnTo>
                    <a:pt x="2186" y="2754"/>
                  </a:lnTo>
                  <a:lnTo>
                    <a:pt x="2180" y="2738"/>
                  </a:lnTo>
                  <a:lnTo>
                    <a:pt x="2183" y="2716"/>
                  </a:lnTo>
                  <a:lnTo>
                    <a:pt x="2186" y="2698"/>
                  </a:lnTo>
                  <a:lnTo>
                    <a:pt x="2189" y="2691"/>
                  </a:lnTo>
                  <a:lnTo>
                    <a:pt x="2192" y="2682"/>
                  </a:lnTo>
                  <a:lnTo>
                    <a:pt x="2199" y="2673"/>
                  </a:lnTo>
                  <a:lnTo>
                    <a:pt x="2205" y="2666"/>
                  </a:lnTo>
                  <a:lnTo>
                    <a:pt x="2211" y="2660"/>
                  </a:lnTo>
                  <a:lnTo>
                    <a:pt x="2217" y="2657"/>
                  </a:lnTo>
                  <a:lnTo>
                    <a:pt x="2224" y="2657"/>
                  </a:lnTo>
                  <a:lnTo>
                    <a:pt x="2233" y="2654"/>
                  </a:lnTo>
                  <a:lnTo>
                    <a:pt x="2239" y="2651"/>
                  </a:lnTo>
                  <a:lnTo>
                    <a:pt x="2245" y="2648"/>
                  </a:lnTo>
                  <a:lnTo>
                    <a:pt x="2249" y="2641"/>
                  </a:lnTo>
                  <a:lnTo>
                    <a:pt x="2249" y="2632"/>
                  </a:lnTo>
                  <a:lnTo>
                    <a:pt x="2249" y="2623"/>
                  </a:lnTo>
                  <a:lnTo>
                    <a:pt x="2249" y="2616"/>
                  </a:lnTo>
                  <a:lnTo>
                    <a:pt x="2245" y="2610"/>
                  </a:lnTo>
                  <a:lnTo>
                    <a:pt x="2239" y="2607"/>
                  </a:lnTo>
                  <a:lnTo>
                    <a:pt x="2230" y="2604"/>
                  </a:lnTo>
                  <a:lnTo>
                    <a:pt x="2224" y="2604"/>
                  </a:lnTo>
                  <a:lnTo>
                    <a:pt x="2214" y="2607"/>
                  </a:lnTo>
                  <a:lnTo>
                    <a:pt x="2205" y="2607"/>
                  </a:lnTo>
                  <a:lnTo>
                    <a:pt x="2199" y="2610"/>
                  </a:lnTo>
                  <a:lnTo>
                    <a:pt x="2180" y="2613"/>
                  </a:lnTo>
                  <a:lnTo>
                    <a:pt x="2158" y="2620"/>
                  </a:lnTo>
                  <a:lnTo>
                    <a:pt x="2142" y="2629"/>
                  </a:lnTo>
                  <a:lnTo>
                    <a:pt x="2139" y="2635"/>
                  </a:lnTo>
                  <a:lnTo>
                    <a:pt x="2139" y="2641"/>
                  </a:lnTo>
                  <a:lnTo>
                    <a:pt x="2142" y="2651"/>
                  </a:lnTo>
                  <a:lnTo>
                    <a:pt x="2142" y="2657"/>
                  </a:lnTo>
                  <a:lnTo>
                    <a:pt x="2142" y="2666"/>
                  </a:lnTo>
                  <a:lnTo>
                    <a:pt x="2142" y="2670"/>
                  </a:lnTo>
                  <a:lnTo>
                    <a:pt x="2127" y="2691"/>
                  </a:lnTo>
                  <a:lnTo>
                    <a:pt x="2105" y="2713"/>
                  </a:lnTo>
                  <a:lnTo>
                    <a:pt x="2080" y="2726"/>
                  </a:lnTo>
                  <a:lnTo>
                    <a:pt x="2058" y="2732"/>
                  </a:lnTo>
                  <a:lnTo>
                    <a:pt x="2030" y="2732"/>
                  </a:lnTo>
                  <a:lnTo>
                    <a:pt x="2002" y="2732"/>
                  </a:lnTo>
                  <a:lnTo>
                    <a:pt x="1980" y="2726"/>
                  </a:lnTo>
                  <a:lnTo>
                    <a:pt x="1955" y="2716"/>
                  </a:lnTo>
                  <a:lnTo>
                    <a:pt x="1933" y="2701"/>
                  </a:lnTo>
                  <a:lnTo>
                    <a:pt x="1921" y="2679"/>
                  </a:lnTo>
                  <a:lnTo>
                    <a:pt x="1914" y="2654"/>
                  </a:lnTo>
                  <a:lnTo>
                    <a:pt x="1908" y="2626"/>
                  </a:lnTo>
                  <a:lnTo>
                    <a:pt x="1896" y="2598"/>
                  </a:lnTo>
                  <a:lnTo>
                    <a:pt x="1883" y="2576"/>
                  </a:lnTo>
                  <a:lnTo>
                    <a:pt x="1868" y="2560"/>
                  </a:lnTo>
                  <a:lnTo>
                    <a:pt x="1846" y="2548"/>
                  </a:lnTo>
                  <a:lnTo>
                    <a:pt x="1821" y="2535"/>
                  </a:lnTo>
                  <a:lnTo>
                    <a:pt x="1799" y="2526"/>
                  </a:lnTo>
                  <a:lnTo>
                    <a:pt x="1780" y="2526"/>
                  </a:lnTo>
                  <a:lnTo>
                    <a:pt x="1755" y="2526"/>
                  </a:lnTo>
                  <a:lnTo>
                    <a:pt x="1736" y="2526"/>
                  </a:lnTo>
                  <a:lnTo>
                    <a:pt x="1715" y="2529"/>
                  </a:lnTo>
                  <a:lnTo>
                    <a:pt x="1687" y="2529"/>
                  </a:lnTo>
                  <a:lnTo>
                    <a:pt x="1658" y="2529"/>
                  </a:lnTo>
                  <a:lnTo>
                    <a:pt x="1637" y="2526"/>
                  </a:lnTo>
                  <a:lnTo>
                    <a:pt x="1615" y="2513"/>
                  </a:lnTo>
                  <a:lnTo>
                    <a:pt x="1593" y="2495"/>
                  </a:lnTo>
                  <a:lnTo>
                    <a:pt x="1571" y="2482"/>
                  </a:lnTo>
                  <a:lnTo>
                    <a:pt x="1555" y="2479"/>
                  </a:lnTo>
                  <a:lnTo>
                    <a:pt x="1533" y="2476"/>
                  </a:lnTo>
                  <a:lnTo>
                    <a:pt x="1515" y="2476"/>
                  </a:lnTo>
                  <a:lnTo>
                    <a:pt x="1502" y="2482"/>
                  </a:lnTo>
                  <a:lnTo>
                    <a:pt x="1499" y="2485"/>
                  </a:lnTo>
                  <a:lnTo>
                    <a:pt x="1499" y="2492"/>
                  </a:lnTo>
                  <a:lnTo>
                    <a:pt x="1502" y="2498"/>
                  </a:lnTo>
                  <a:lnTo>
                    <a:pt x="1502" y="2504"/>
                  </a:lnTo>
                  <a:lnTo>
                    <a:pt x="1502" y="2507"/>
                  </a:lnTo>
                  <a:lnTo>
                    <a:pt x="1502" y="2513"/>
                  </a:lnTo>
                  <a:lnTo>
                    <a:pt x="1484" y="2520"/>
                  </a:lnTo>
                  <a:lnTo>
                    <a:pt x="1462" y="2520"/>
                  </a:lnTo>
                  <a:lnTo>
                    <a:pt x="1437" y="2513"/>
                  </a:lnTo>
                  <a:lnTo>
                    <a:pt x="1418" y="2507"/>
                  </a:lnTo>
                  <a:lnTo>
                    <a:pt x="1393" y="2492"/>
                  </a:lnTo>
                  <a:lnTo>
                    <a:pt x="1371" y="2470"/>
                  </a:lnTo>
                  <a:lnTo>
                    <a:pt x="1352" y="2448"/>
                  </a:lnTo>
                  <a:lnTo>
                    <a:pt x="1334" y="2432"/>
                  </a:lnTo>
                  <a:lnTo>
                    <a:pt x="1309" y="2410"/>
                  </a:lnTo>
                  <a:lnTo>
                    <a:pt x="1296" y="2389"/>
                  </a:lnTo>
                  <a:lnTo>
                    <a:pt x="1299" y="2373"/>
                  </a:lnTo>
                  <a:lnTo>
                    <a:pt x="1306" y="2354"/>
                  </a:lnTo>
                  <a:lnTo>
                    <a:pt x="1315" y="2335"/>
                  </a:lnTo>
                  <a:lnTo>
                    <a:pt x="1321" y="2317"/>
                  </a:lnTo>
                  <a:lnTo>
                    <a:pt x="1321" y="2301"/>
                  </a:lnTo>
                  <a:lnTo>
                    <a:pt x="1312" y="2289"/>
                  </a:lnTo>
                  <a:lnTo>
                    <a:pt x="1296" y="2282"/>
                  </a:lnTo>
                  <a:lnTo>
                    <a:pt x="1277" y="2276"/>
                  </a:lnTo>
                  <a:lnTo>
                    <a:pt x="1265" y="2267"/>
                  </a:lnTo>
                  <a:lnTo>
                    <a:pt x="1262" y="2261"/>
                  </a:lnTo>
                  <a:lnTo>
                    <a:pt x="1256" y="2251"/>
                  </a:lnTo>
                  <a:lnTo>
                    <a:pt x="1252" y="2242"/>
                  </a:lnTo>
                  <a:lnTo>
                    <a:pt x="1246" y="2232"/>
                  </a:lnTo>
                  <a:lnTo>
                    <a:pt x="1240" y="2223"/>
                  </a:lnTo>
                  <a:lnTo>
                    <a:pt x="1234" y="2217"/>
                  </a:lnTo>
                  <a:lnTo>
                    <a:pt x="1218" y="2214"/>
                  </a:lnTo>
                  <a:lnTo>
                    <a:pt x="1196" y="2217"/>
                  </a:lnTo>
                  <a:lnTo>
                    <a:pt x="1174" y="2223"/>
                  </a:lnTo>
                  <a:lnTo>
                    <a:pt x="1159" y="2232"/>
                  </a:lnTo>
                  <a:lnTo>
                    <a:pt x="1156" y="2245"/>
                  </a:lnTo>
                  <a:lnTo>
                    <a:pt x="1156" y="2264"/>
                  </a:lnTo>
                  <a:lnTo>
                    <a:pt x="1162" y="2285"/>
                  </a:lnTo>
                  <a:lnTo>
                    <a:pt x="1162" y="2304"/>
                  </a:lnTo>
                  <a:lnTo>
                    <a:pt x="1159" y="2317"/>
                  </a:lnTo>
                  <a:lnTo>
                    <a:pt x="1153" y="2320"/>
                  </a:lnTo>
                  <a:lnTo>
                    <a:pt x="1146" y="2323"/>
                  </a:lnTo>
                  <a:lnTo>
                    <a:pt x="1140" y="2323"/>
                  </a:lnTo>
                  <a:lnTo>
                    <a:pt x="1131" y="2320"/>
                  </a:lnTo>
                  <a:lnTo>
                    <a:pt x="1124" y="2320"/>
                  </a:lnTo>
                  <a:lnTo>
                    <a:pt x="1118" y="2317"/>
                  </a:lnTo>
                  <a:lnTo>
                    <a:pt x="1087" y="2307"/>
                  </a:lnTo>
                  <a:lnTo>
                    <a:pt x="1056" y="2295"/>
                  </a:lnTo>
                  <a:lnTo>
                    <a:pt x="1028" y="2279"/>
                  </a:lnTo>
                  <a:lnTo>
                    <a:pt x="1009" y="2267"/>
                  </a:lnTo>
                  <a:lnTo>
                    <a:pt x="990" y="2248"/>
                  </a:lnTo>
                  <a:lnTo>
                    <a:pt x="971" y="2226"/>
                  </a:lnTo>
                  <a:lnTo>
                    <a:pt x="959" y="2207"/>
                  </a:lnTo>
                  <a:lnTo>
                    <a:pt x="956" y="2195"/>
                  </a:lnTo>
                  <a:lnTo>
                    <a:pt x="959" y="2176"/>
                  </a:lnTo>
                  <a:lnTo>
                    <a:pt x="962" y="2157"/>
                  </a:lnTo>
                  <a:lnTo>
                    <a:pt x="959" y="2148"/>
                  </a:lnTo>
                  <a:lnTo>
                    <a:pt x="953" y="2142"/>
                  </a:lnTo>
                  <a:lnTo>
                    <a:pt x="943" y="2142"/>
                  </a:lnTo>
                  <a:lnTo>
                    <a:pt x="934" y="2142"/>
                  </a:lnTo>
                  <a:lnTo>
                    <a:pt x="925" y="2142"/>
                  </a:lnTo>
                  <a:lnTo>
                    <a:pt x="915" y="2145"/>
                  </a:lnTo>
                  <a:lnTo>
                    <a:pt x="909" y="2148"/>
                  </a:lnTo>
                  <a:lnTo>
                    <a:pt x="906" y="2157"/>
                  </a:lnTo>
                  <a:lnTo>
                    <a:pt x="903" y="2173"/>
                  </a:lnTo>
                  <a:lnTo>
                    <a:pt x="903" y="2192"/>
                  </a:lnTo>
                  <a:lnTo>
                    <a:pt x="900" y="2204"/>
                  </a:lnTo>
                  <a:lnTo>
                    <a:pt x="896" y="2207"/>
                  </a:lnTo>
                  <a:lnTo>
                    <a:pt x="887" y="2211"/>
                  </a:lnTo>
                  <a:lnTo>
                    <a:pt x="878" y="2211"/>
                  </a:lnTo>
                  <a:lnTo>
                    <a:pt x="871" y="2214"/>
                  </a:lnTo>
                  <a:lnTo>
                    <a:pt x="862" y="2217"/>
                  </a:lnTo>
                  <a:lnTo>
                    <a:pt x="856" y="2220"/>
                  </a:lnTo>
                  <a:lnTo>
                    <a:pt x="853" y="2226"/>
                  </a:lnTo>
                  <a:lnTo>
                    <a:pt x="846" y="2232"/>
                  </a:lnTo>
                  <a:lnTo>
                    <a:pt x="843" y="2239"/>
                  </a:lnTo>
                  <a:lnTo>
                    <a:pt x="840" y="2248"/>
                  </a:lnTo>
                  <a:lnTo>
                    <a:pt x="837" y="2254"/>
                  </a:lnTo>
                  <a:lnTo>
                    <a:pt x="840" y="2273"/>
                  </a:lnTo>
                  <a:lnTo>
                    <a:pt x="850" y="2295"/>
                  </a:lnTo>
                  <a:lnTo>
                    <a:pt x="856" y="2314"/>
                  </a:lnTo>
                  <a:lnTo>
                    <a:pt x="856" y="2335"/>
                  </a:lnTo>
                  <a:lnTo>
                    <a:pt x="853" y="2360"/>
                  </a:lnTo>
                  <a:lnTo>
                    <a:pt x="850" y="2382"/>
                  </a:lnTo>
                  <a:lnTo>
                    <a:pt x="846" y="2389"/>
                  </a:lnTo>
                  <a:lnTo>
                    <a:pt x="840" y="2398"/>
                  </a:lnTo>
                  <a:lnTo>
                    <a:pt x="834" y="2404"/>
                  </a:lnTo>
                  <a:lnTo>
                    <a:pt x="828" y="2410"/>
                  </a:lnTo>
                  <a:lnTo>
                    <a:pt x="822" y="2414"/>
                  </a:lnTo>
                  <a:lnTo>
                    <a:pt x="803" y="2417"/>
                  </a:lnTo>
                  <a:lnTo>
                    <a:pt x="778" y="2410"/>
                  </a:lnTo>
                  <a:lnTo>
                    <a:pt x="753" y="2407"/>
                  </a:lnTo>
                  <a:lnTo>
                    <a:pt x="731" y="2407"/>
                  </a:lnTo>
                  <a:lnTo>
                    <a:pt x="715" y="2417"/>
                  </a:lnTo>
                  <a:lnTo>
                    <a:pt x="700" y="2429"/>
                  </a:lnTo>
                  <a:lnTo>
                    <a:pt x="684" y="2442"/>
                  </a:lnTo>
                  <a:lnTo>
                    <a:pt x="669" y="2445"/>
                  </a:lnTo>
                  <a:lnTo>
                    <a:pt x="659" y="2442"/>
                  </a:lnTo>
                  <a:lnTo>
                    <a:pt x="650" y="2435"/>
                  </a:lnTo>
                  <a:lnTo>
                    <a:pt x="644" y="2426"/>
                  </a:lnTo>
                  <a:lnTo>
                    <a:pt x="634" y="2414"/>
                  </a:lnTo>
                  <a:lnTo>
                    <a:pt x="628" y="2407"/>
                  </a:lnTo>
                  <a:lnTo>
                    <a:pt x="619" y="2401"/>
                  </a:lnTo>
                  <a:lnTo>
                    <a:pt x="606" y="2395"/>
                  </a:lnTo>
                  <a:lnTo>
                    <a:pt x="587" y="2392"/>
                  </a:lnTo>
                  <a:lnTo>
                    <a:pt x="569" y="2389"/>
                  </a:lnTo>
                  <a:lnTo>
                    <a:pt x="559" y="2382"/>
                  </a:lnTo>
                  <a:lnTo>
                    <a:pt x="556" y="2364"/>
                  </a:lnTo>
                  <a:lnTo>
                    <a:pt x="559" y="2339"/>
                  </a:lnTo>
                  <a:lnTo>
                    <a:pt x="569" y="2317"/>
                  </a:lnTo>
                  <a:lnTo>
                    <a:pt x="578" y="2298"/>
                  </a:lnTo>
                  <a:lnTo>
                    <a:pt x="590" y="2289"/>
                  </a:lnTo>
                  <a:lnTo>
                    <a:pt x="609" y="2279"/>
                  </a:lnTo>
                  <a:lnTo>
                    <a:pt x="625" y="2270"/>
                  </a:lnTo>
                  <a:lnTo>
                    <a:pt x="634" y="2261"/>
                  </a:lnTo>
                  <a:lnTo>
                    <a:pt x="634" y="2239"/>
                  </a:lnTo>
                  <a:lnTo>
                    <a:pt x="628" y="2214"/>
                  </a:lnTo>
                  <a:lnTo>
                    <a:pt x="615" y="2189"/>
                  </a:lnTo>
                  <a:lnTo>
                    <a:pt x="603" y="2170"/>
                  </a:lnTo>
                  <a:lnTo>
                    <a:pt x="590" y="2154"/>
                  </a:lnTo>
                  <a:lnTo>
                    <a:pt x="572" y="2139"/>
                  </a:lnTo>
                  <a:lnTo>
                    <a:pt x="553" y="2126"/>
                  </a:lnTo>
                  <a:lnTo>
                    <a:pt x="534" y="2120"/>
                  </a:lnTo>
                  <a:lnTo>
                    <a:pt x="522" y="2120"/>
                  </a:lnTo>
                  <a:lnTo>
                    <a:pt x="503" y="2129"/>
                  </a:lnTo>
                  <a:lnTo>
                    <a:pt x="484" y="2139"/>
                  </a:lnTo>
                  <a:lnTo>
                    <a:pt x="472" y="2139"/>
                  </a:lnTo>
                  <a:lnTo>
                    <a:pt x="466" y="2136"/>
                  </a:lnTo>
                  <a:lnTo>
                    <a:pt x="462" y="2129"/>
                  </a:lnTo>
                  <a:lnTo>
                    <a:pt x="459" y="2123"/>
                  </a:lnTo>
                  <a:lnTo>
                    <a:pt x="456" y="2120"/>
                  </a:lnTo>
                  <a:lnTo>
                    <a:pt x="444" y="2101"/>
                  </a:lnTo>
                  <a:lnTo>
                    <a:pt x="425" y="2079"/>
                  </a:lnTo>
                  <a:lnTo>
                    <a:pt x="412" y="2058"/>
                  </a:lnTo>
                  <a:lnTo>
                    <a:pt x="403" y="2039"/>
                  </a:lnTo>
                  <a:lnTo>
                    <a:pt x="409" y="2020"/>
                  </a:lnTo>
                  <a:lnTo>
                    <a:pt x="416" y="1998"/>
                  </a:lnTo>
                  <a:lnTo>
                    <a:pt x="419" y="1979"/>
                  </a:lnTo>
                  <a:lnTo>
                    <a:pt x="412" y="1954"/>
                  </a:lnTo>
                  <a:lnTo>
                    <a:pt x="400" y="1926"/>
                  </a:lnTo>
                  <a:lnTo>
                    <a:pt x="387" y="1908"/>
                  </a:lnTo>
                  <a:lnTo>
                    <a:pt x="362" y="1892"/>
                  </a:lnTo>
                  <a:lnTo>
                    <a:pt x="331" y="1880"/>
                  </a:lnTo>
                  <a:lnTo>
                    <a:pt x="303" y="1873"/>
                  </a:lnTo>
                  <a:lnTo>
                    <a:pt x="281" y="1873"/>
                  </a:lnTo>
                  <a:lnTo>
                    <a:pt x="256" y="1873"/>
                  </a:lnTo>
                  <a:lnTo>
                    <a:pt x="234" y="1876"/>
                  </a:lnTo>
                  <a:lnTo>
                    <a:pt x="213" y="1873"/>
                  </a:lnTo>
                  <a:lnTo>
                    <a:pt x="197" y="1864"/>
                  </a:lnTo>
                  <a:lnTo>
                    <a:pt x="175" y="1848"/>
                  </a:lnTo>
                  <a:lnTo>
                    <a:pt x="160" y="1839"/>
                  </a:lnTo>
                  <a:lnTo>
                    <a:pt x="138" y="1839"/>
                  </a:lnTo>
                  <a:lnTo>
                    <a:pt x="110" y="1842"/>
                  </a:lnTo>
                  <a:lnTo>
                    <a:pt x="88" y="1839"/>
                  </a:lnTo>
                  <a:lnTo>
                    <a:pt x="72" y="1833"/>
                  </a:lnTo>
                  <a:lnTo>
                    <a:pt x="53" y="1823"/>
                  </a:lnTo>
                  <a:lnTo>
                    <a:pt x="38" y="1811"/>
                  </a:lnTo>
                  <a:lnTo>
                    <a:pt x="31" y="1798"/>
                  </a:lnTo>
                  <a:lnTo>
                    <a:pt x="38" y="1783"/>
                  </a:lnTo>
                  <a:lnTo>
                    <a:pt x="53" y="1764"/>
                  </a:lnTo>
                  <a:lnTo>
                    <a:pt x="72" y="1745"/>
                  </a:lnTo>
                  <a:lnTo>
                    <a:pt x="94" y="1730"/>
                  </a:lnTo>
                  <a:lnTo>
                    <a:pt x="113" y="1720"/>
                  </a:lnTo>
                  <a:lnTo>
                    <a:pt x="144" y="1711"/>
                  </a:lnTo>
                  <a:lnTo>
                    <a:pt x="184" y="1705"/>
                  </a:lnTo>
                  <a:lnTo>
                    <a:pt x="228" y="1702"/>
                  </a:lnTo>
                  <a:lnTo>
                    <a:pt x="272" y="1698"/>
                  </a:lnTo>
                  <a:lnTo>
                    <a:pt x="306" y="1698"/>
                  </a:lnTo>
                  <a:lnTo>
                    <a:pt x="328" y="1695"/>
                  </a:lnTo>
                  <a:lnTo>
                    <a:pt x="353" y="1695"/>
                  </a:lnTo>
                  <a:lnTo>
                    <a:pt x="375" y="1698"/>
                  </a:lnTo>
                  <a:lnTo>
                    <a:pt x="409" y="1698"/>
                  </a:lnTo>
                  <a:lnTo>
                    <a:pt x="450" y="1705"/>
                  </a:lnTo>
                  <a:lnTo>
                    <a:pt x="491" y="1708"/>
                  </a:lnTo>
                  <a:lnTo>
                    <a:pt x="525" y="1705"/>
                  </a:lnTo>
                  <a:lnTo>
                    <a:pt x="544" y="1698"/>
                  </a:lnTo>
                  <a:lnTo>
                    <a:pt x="565" y="1686"/>
                  </a:lnTo>
                  <a:lnTo>
                    <a:pt x="584" y="1673"/>
                  </a:lnTo>
                  <a:lnTo>
                    <a:pt x="603" y="1670"/>
                  </a:lnTo>
                  <a:lnTo>
                    <a:pt x="622" y="1673"/>
                  </a:lnTo>
                  <a:lnTo>
                    <a:pt x="644" y="1680"/>
                  </a:lnTo>
                  <a:lnTo>
                    <a:pt x="665" y="1689"/>
                  </a:lnTo>
                  <a:lnTo>
                    <a:pt x="687" y="1695"/>
                  </a:lnTo>
                  <a:lnTo>
                    <a:pt x="703" y="1695"/>
                  </a:lnTo>
                  <a:lnTo>
                    <a:pt x="725" y="1695"/>
                  </a:lnTo>
                  <a:lnTo>
                    <a:pt x="740" y="1689"/>
                  </a:lnTo>
                  <a:lnTo>
                    <a:pt x="750" y="1673"/>
                  </a:lnTo>
                  <a:lnTo>
                    <a:pt x="753" y="1648"/>
                  </a:lnTo>
                  <a:lnTo>
                    <a:pt x="753" y="1623"/>
                  </a:lnTo>
                  <a:lnTo>
                    <a:pt x="753" y="1599"/>
                  </a:lnTo>
                  <a:lnTo>
                    <a:pt x="750" y="1577"/>
                  </a:lnTo>
                  <a:lnTo>
                    <a:pt x="750" y="1549"/>
                  </a:lnTo>
                  <a:lnTo>
                    <a:pt x="747" y="1511"/>
                  </a:lnTo>
                  <a:lnTo>
                    <a:pt x="740" y="1480"/>
                  </a:lnTo>
                  <a:lnTo>
                    <a:pt x="728" y="1455"/>
                  </a:lnTo>
                  <a:lnTo>
                    <a:pt x="712" y="1446"/>
                  </a:lnTo>
                  <a:lnTo>
                    <a:pt x="690" y="1439"/>
                  </a:lnTo>
                  <a:lnTo>
                    <a:pt x="665" y="1436"/>
                  </a:lnTo>
                  <a:lnTo>
                    <a:pt x="644" y="1433"/>
                  </a:lnTo>
                  <a:lnTo>
                    <a:pt x="628" y="1427"/>
                  </a:lnTo>
                  <a:lnTo>
                    <a:pt x="606" y="1405"/>
                  </a:lnTo>
                  <a:lnTo>
                    <a:pt x="587" y="1380"/>
                  </a:lnTo>
                  <a:lnTo>
                    <a:pt x="569" y="1361"/>
                  </a:lnTo>
                  <a:lnTo>
                    <a:pt x="550" y="1352"/>
                  </a:lnTo>
                  <a:lnTo>
                    <a:pt x="528" y="1346"/>
                  </a:lnTo>
                  <a:lnTo>
                    <a:pt x="509" y="1346"/>
                  </a:lnTo>
                  <a:lnTo>
                    <a:pt x="494" y="1342"/>
                  </a:lnTo>
                  <a:lnTo>
                    <a:pt x="475" y="1346"/>
                  </a:lnTo>
                  <a:lnTo>
                    <a:pt x="456" y="1349"/>
                  </a:lnTo>
                  <a:lnTo>
                    <a:pt x="447" y="1355"/>
                  </a:lnTo>
                  <a:lnTo>
                    <a:pt x="444" y="1361"/>
                  </a:lnTo>
                  <a:lnTo>
                    <a:pt x="444" y="1367"/>
                  </a:lnTo>
                  <a:lnTo>
                    <a:pt x="444" y="1374"/>
                  </a:lnTo>
                  <a:lnTo>
                    <a:pt x="447" y="1383"/>
                  </a:lnTo>
                  <a:lnTo>
                    <a:pt x="447" y="1389"/>
                  </a:lnTo>
                  <a:lnTo>
                    <a:pt x="450" y="1399"/>
                  </a:lnTo>
                  <a:lnTo>
                    <a:pt x="447" y="1402"/>
                  </a:lnTo>
                  <a:lnTo>
                    <a:pt x="441" y="1427"/>
                  </a:lnTo>
                  <a:lnTo>
                    <a:pt x="425" y="1452"/>
                  </a:lnTo>
                  <a:lnTo>
                    <a:pt x="409" y="1474"/>
                  </a:lnTo>
                  <a:lnTo>
                    <a:pt x="397" y="1483"/>
                  </a:lnTo>
                  <a:lnTo>
                    <a:pt x="381" y="1492"/>
                  </a:lnTo>
                  <a:lnTo>
                    <a:pt x="362" y="1499"/>
                  </a:lnTo>
                  <a:lnTo>
                    <a:pt x="347" y="1502"/>
                  </a:lnTo>
                  <a:lnTo>
                    <a:pt x="337" y="1489"/>
                  </a:lnTo>
                  <a:lnTo>
                    <a:pt x="331" y="1474"/>
                  </a:lnTo>
                  <a:lnTo>
                    <a:pt x="325" y="1455"/>
                  </a:lnTo>
                  <a:lnTo>
                    <a:pt x="319" y="1439"/>
                  </a:lnTo>
                  <a:lnTo>
                    <a:pt x="319" y="1417"/>
                  </a:lnTo>
                  <a:lnTo>
                    <a:pt x="316" y="1392"/>
                  </a:lnTo>
                  <a:lnTo>
                    <a:pt x="319" y="1374"/>
                  </a:lnTo>
                  <a:lnTo>
                    <a:pt x="325" y="1367"/>
                  </a:lnTo>
                  <a:lnTo>
                    <a:pt x="334" y="1361"/>
                  </a:lnTo>
                  <a:lnTo>
                    <a:pt x="344" y="1355"/>
                  </a:lnTo>
                  <a:lnTo>
                    <a:pt x="350" y="1349"/>
                  </a:lnTo>
                  <a:lnTo>
                    <a:pt x="359" y="1342"/>
                  </a:lnTo>
                  <a:lnTo>
                    <a:pt x="362" y="1333"/>
                  </a:lnTo>
                  <a:lnTo>
                    <a:pt x="359" y="1327"/>
                  </a:lnTo>
                  <a:lnTo>
                    <a:pt x="356" y="1321"/>
                  </a:lnTo>
                  <a:lnTo>
                    <a:pt x="350" y="1311"/>
                  </a:lnTo>
                  <a:lnTo>
                    <a:pt x="344" y="1305"/>
                  </a:lnTo>
                  <a:lnTo>
                    <a:pt x="337" y="1302"/>
                  </a:lnTo>
                  <a:lnTo>
                    <a:pt x="331" y="1299"/>
                  </a:lnTo>
                  <a:lnTo>
                    <a:pt x="325" y="1299"/>
                  </a:lnTo>
                  <a:lnTo>
                    <a:pt x="316" y="1299"/>
                  </a:lnTo>
                  <a:lnTo>
                    <a:pt x="306" y="1302"/>
                  </a:lnTo>
                  <a:lnTo>
                    <a:pt x="297" y="1302"/>
                  </a:lnTo>
                  <a:lnTo>
                    <a:pt x="291" y="1299"/>
                  </a:lnTo>
                  <a:lnTo>
                    <a:pt x="288" y="1293"/>
                  </a:lnTo>
                  <a:lnTo>
                    <a:pt x="284" y="1286"/>
                  </a:lnTo>
                  <a:lnTo>
                    <a:pt x="281" y="1277"/>
                  </a:lnTo>
                  <a:lnTo>
                    <a:pt x="278" y="1268"/>
                  </a:lnTo>
                  <a:lnTo>
                    <a:pt x="278" y="1258"/>
                  </a:lnTo>
                  <a:lnTo>
                    <a:pt x="278" y="1252"/>
                  </a:lnTo>
                  <a:lnTo>
                    <a:pt x="284" y="1246"/>
                  </a:lnTo>
                  <a:lnTo>
                    <a:pt x="291" y="1239"/>
                  </a:lnTo>
                  <a:lnTo>
                    <a:pt x="303" y="1233"/>
                  </a:lnTo>
                  <a:lnTo>
                    <a:pt x="313" y="1227"/>
                  </a:lnTo>
                  <a:lnTo>
                    <a:pt x="319" y="1221"/>
                  </a:lnTo>
                  <a:lnTo>
                    <a:pt x="325" y="1214"/>
                  </a:lnTo>
                  <a:lnTo>
                    <a:pt x="328" y="1199"/>
                  </a:lnTo>
                  <a:lnTo>
                    <a:pt x="325" y="1180"/>
                  </a:lnTo>
                  <a:lnTo>
                    <a:pt x="322" y="1161"/>
                  </a:lnTo>
                  <a:lnTo>
                    <a:pt x="322" y="1149"/>
                  </a:lnTo>
                  <a:lnTo>
                    <a:pt x="325" y="1139"/>
                  </a:lnTo>
                  <a:lnTo>
                    <a:pt x="331" y="1127"/>
                  </a:lnTo>
                  <a:lnTo>
                    <a:pt x="337" y="1118"/>
                  </a:lnTo>
                  <a:lnTo>
                    <a:pt x="344" y="1108"/>
                  </a:lnTo>
                  <a:lnTo>
                    <a:pt x="350" y="1105"/>
                  </a:lnTo>
                  <a:lnTo>
                    <a:pt x="359" y="1105"/>
                  </a:lnTo>
                  <a:lnTo>
                    <a:pt x="366" y="1108"/>
                  </a:lnTo>
                  <a:lnTo>
                    <a:pt x="375" y="1111"/>
                  </a:lnTo>
                  <a:lnTo>
                    <a:pt x="384" y="1118"/>
                  </a:lnTo>
                  <a:lnTo>
                    <a:pt x="391" y="1127"/>
                  </a:lnTo>
                  <a:lnTo>
                    <a:pt x="397" y="1130"/>
                  </a:lnTo>
                  <a:lnTo>
                    <a:pt x="400" y="1136"/>
                  </a:lnTo>
                  <a:lnTo>
                    <a:pt x="406" y="1146"/>
                  </a:lnTo>
                  <a:lnTo>
                    <a:pt x="409" y="1155"/>
                  </a:lnTo>
                  <a:lnTo>
                    <a:pt x="412" y="1164"/>
                  </a:lnTo>
                  <a:lnTo>
                    <a:pt x="409" y="1171"/>
                  </a:lnTo>
                  <a:lnTo>
                    <a:pt x="409" y="1177"/>
                  </a:lnTo>
                  <a:lnTo>
                    <a:pt x="406" y="1186"/>
                  </a:lnTo>
                  <a:lnTo>
                    <a:pt x="403" y="1193"/>
                  </a:lnTo>
                  <a:lnTo>
                    <a:pt x="403" y="1199"/>
                  </a:lnTo>
                  <a:lnTo>
                    <a:pt x="406" y="1208"/>
                  </a:lnTo>
                  <a:lnTo>
                    <a:pt x="412" y="1218"/>
                  </a:lnTo>
                  <a:lnTo>
                    <a:pt x="419" y="1224"/>
                  </a:lnTo>
                  <a:lnTo>
                    <a:pt x="425" y="1233"/>
                  </a:lnTo>
                  <a:lnTo>
                    <a:pt x="431" y="1236"/>
                  </a:lnTo>
                  <a:lnTo>
                    <a:pt x="447" y="1236"/>
                  </a:lnTo>
                  <a:lnTo>
                    <a:pt x="462" y="1233"/>
                  </a:lnTo>
                  <a:lnTo>
                    <a:pt x="478" y="1230"/>
                  </a:lnTo>
                  <a:lnTo>
                    <a:pt x="494" y="1227"/>
                  </a:lnTo>
                  <a:lnTo>
                    <a:pt x="519" y="1233"/>
                  </a:lnTo>
                  <a:lnTo>
                    <a:pt x="547" y="1246"/>
                  </a:lnTo>
                  <a:lnTo>
                    <a:pt x="569" y="1252"/>
                  </a:lnTo>
                  <a:lnTo>
                    <a:pt x="590" y="1252"/>
                  </a:lnTo>
                  <a:lnTo>
                    <a:pt x="612" y="1252"/>
                  </a:lnTo>
                  <a:lnTo>
                    <a:pt x="631" y="1252"/>
                  </a:lnTo>
                  <a:lnTo>
                    <a:pt x="650" y="1255"/>
                  </a:lnTo>
                  <a:lnTo>
                    <a:pt x="669" y="1261"/>
                  </a:lnTo>
                  <a:lnTo>
                    <a:pt x="687" y="1268"/>
                  </a:lnTo>
                  <a:lnTo>
                    <a:pt x="715" y="1271"/>
                  </a:lnTo>
                  <a:lnTo>
                    <a:pt x="750" y="1271"/>
                  </a:lnTo>
                  <a:lnTo>
                    <a:pt x="787" y="1274"/>
                  </a:lnTo>
                  <a:lnTo>
                    <a:pt x="815" y="1274"/>
                  </a:lnTo>
                  <a:lnTo>
                    <a:pt x="837" y="1274"/>
                  </a:lnTo>
                  <a:lnTo>
                    <a:pt x="862" y="1280"/>
                  </a:lnTo>
                  <a:lnTo>
                    <a:pt x="887" y="1280"/>
                  </a:lnTo>
                  <a:lnTo>
                    <a:pt x="912" y="1280"/>
                  </a:lnTo>
                  <a:lnTo>
                    <a:pt x="928" y="1271"/>
                  </a:lnTo>
                  <a:lnTo>
                    <a:pt x="928" y="1264"/>
                  </a:lnTo>
                  <a:lnTo>
                    <a:pt x="928" y="1258"/>
                  </a:lnTo>
                  <a:lnTo>
                    <a:pt x="928" y="1249"/>
                  </a:lnTo>
                  <a:lnTo>
                    <a:pt x="921" y="1239"/>
                  </a:lnTo>
                  <a:lnTo>
                    <a:pt x="918" y="1230"/>
                  </a:lnTo>
                  <a:lnTo>
                    <a:pt x="915" y="1224"/>
                  </a:lnTo>
                  <a:lnTo>
                    <a:pt x="900" y="1214"/>
                  </a:lnTo>
                  <a:lnTo>
                    <a:pt x="881" y="1205"/>
                  </a:lnTo>
                  <a:lnTo>
                    <a:pt x="862" y="1199"/>
                  </a:lnTo>
                  <a:lnTo>
                    <a:pt x="843" y="1196"/>
                  </a:lnTo>
                  <a:lnTo>
                    <a:pt x="825" y="1193"/>
                  </a:lnTo>
                  <a:lnTo>
                    <a:pt x="803" y="1193"/>
                  </a:lnTo>
                  <a:lnTo>
                    <a:pt x="787" y="1186"/>
                  </a:lnTo>
                  <a:lnTo>
                    <a:pt x="784" y="1180"/>
                  </a:lnTo>
                  <a:lnTo>
                    <a:pt x="778" y="1174"/>
                  </a:lnTo>
                  <a:lnTo>
                    <a:pt x="772" y="1164"/>
                  </a:lnTo>
                  <a:lnTo>
                    <a:pt x="768" y="1155"/>
                  </a:lnTo>
                  <a:lnTo>
                    <a:pt x="762" y="1149"/>
                  </a:lnTo>
                  <a:lnTo>
                    <a:pt x="743" y="1136"/>
                  </a:lnTo>
                  <a:lnTo>
                    <a:pt x="725" y="1124"/>
                  </a:lnTo>
                  <a:lnTo>
                    <a:pt x="703" y="1121"/>
                  </a:lnTo>
                  <a:lnTo>
                    <a:pt x="697" y="1121"/>
                  </a:lnTo>
                  <a:lnTo>
                    <a:pt x="684" y="1124"/>
                  </a:lnTo>
                  <a:lnTo>
                    <a:pt x="675" y="1127"/>
                  </a:lnTo>
                  <a:lnTo>
                    <a:pt x="665" y="1133"/>
                  </a:lnTo>
                  <a:lnTo>
                    <a:pt x="656" y="1136"/>
                  </a:lnTo>
                  <a:lnTo>
                    <a:pt x="631" y="1139"/>
                  </a:lnTo>
                  <a:lnTo>
                    <a:pt x="600" y="1143"/>
                  </a:lnTo>
                  <a:lnTo>
                    <a:pt x="575" y="1143"/>
                  </a:lnTo>
                  <a:lnTo>
                    <a:pt x="556" y="1136"/>
                  </a:lnTo>
                  <a:lnTo>
                    <a:pt x="537" y="1127"/>
                  </a:lnTo>
                  <a:lnTo>
                    <a:pt x="525" y="1115"/>
                  </a:lnTo>
                  <a:lnTo>
                    <a:pt x="522" y="1108"/>
                  </a:lnTo>
                  <a:lnTo>
                    <a:pt x="525" y="1099"/>
                  </a:lnTo>
                  <a:lnTo>
                    <a:pt x="525" y="1090"/>
                  </a:lnTo>
                  <a:lnTo>
                    <a:pt x="528" y="1083"/>
                  </a:lnTo>
                  <a:lnTo>
                    <a:pt x="534" y="1074"/>
                  </a:lnTo>
                  <a:lnTo>
                    <a:pt x="537" y="1071"/>
                  </a:lnTo>
                  <a:lnTo>
                    <a:pt x="544" y="1068"/>
                  </a:lnTo>
                  <a:lnTo>
                    <a:pt x="550" y="1068"/>
                  </a:lnTo>
                  <a:lnTo>
                    <a:pt x="559" y="1068"/>
                  </a:lnTo>
                  <a:lnTo>
                    <a:pt x="565" y="1071"/>
                  </a:lnTo>
                  <a:lnTo>
                    <a:pt x="575" y="1071"/>
                  </a:lnTo>
                  <a:lnTo>
                    <a:pt x="581" y="1071"/>
                  </a:lnTo>
                  <a:lnTo>
                    <a:pt x="597" y="1061"/>
                  </a:lnTo>
                  <a:lnTo>
                    <a:pt x="640" y="1036"/>
                  </a:lnTo>
                  <a:lnTo>
                    <a:pt x="659" y="1030"/>
                  </a:lnTo>
                  <a:lnTo>
                    <a:pt x="678" y="1030"/>
                  </a:lnTo>
                  <a:lnTo>
                    <a:pt x="700" y="1030"/>
                  </a:lnTo>
                  <a:lnTo>
                    <a:pt x="718" y="1030"/>
                  </a:lnTo>
                  <a:lnTo>
                    <a:pt x="747" y="1021"/>
                  </a:lnTo>
                  <a:lnTo>
                    <a:pt x="778" y="1005"/>
                  </a:lnTo>
                  <a:lnTo>
                    <a:pt x="800" y="986"/>
                  </a:lnTo>
                  <a:lnTo>
                    <a:pt x="800" y="980"/>
                  </a:lnTo>
                  <a:lnTo>
                    <a:pt x="803" y="974"/>
                  </a:lnTo>
                  <a:lnTo>
                    <a:pt x="803" y="965"/>
                  </a:lnTo>
                  <a:lnTo>
                    <a:pt x="803" y="958"/>
                  </a:lnTo>
                  <a:lnTo>
                    <a:pt x="800" y="949"/>
                  </a:lnTo>
                  <a:lnTo>
                    <a:pt x="800" y="946"/>
                  </a:lnTo>
                  <a:lnTo>
                    <a:pt x="784" y="940"/>
                  </a:lnTo>
                  <a:lnTo>
                    <a:pt x="765" y="940"/>
                  </a:lnTo>
                  <a:lnTo>
                    <a:pt x="747" y="940"/>
                  </a:lnTo>
                  <a:lnTo>
                    <a:pt x="731" y="946"/>
                  </a:lnTo>
                  <a:lnTo>
                    <a:pt x="725" y="949"/>
                  </a:lnTo>
                  <a:lnTo>
                    <a:pt x="722" y="955"/>
                  </a:lnTo>
                  <a:lnTo>
                    <a:pt x="715" y="962"/>
                  </a:lnTo>
                  <a:lnTo>
                    <a:pt x="712" y="968"/>
                  </a:lnTo>
                  <a:lnTo>
                    <a:pt x="693" y="971"/>
                  </a:lnTo>
                  <a:lnTo>
                    <a:pt x="672" y="971"/>
                  </a:lnTo>
                  <a:lnTo>
                    <a:pt x="650" y="971"/>
                  </a:lnTo>
                  <a:lnTo>
                    <a:pt x="631" y="971"/>
                  </a:lnTo>
                  <a:lnTo>
                    <a:pt x="612" y="971"/>
                  </a:lnTo>
                  <a:lnTo>
                    <a:pt x="590" y="974"/>
                  </a:lnTo>
                  <a:lnTo>
                    <a:pt x="569" y="977"/>
                  </a:lnTo>
                  <a:lnTo>
                    <a:pt x="547" y="986"/>
                  </a:lnTo>
                  <a:lnTo>
                    <a:pt x="522" y="996"/>
                  </a:lnTo>
                  <a:lnTo>
                    <a:pt x="500" y="1005"/>
                  </a:lnTo>
                  <a:lnTo>
                    <a:pt x="494" y="1008"/>
                  </a:lnTo>
                  <a:lnTo>
                    <a:pt x="481" y="1011"/>
                  </a:lnTo>
                  <a:lnTo>
                    <a:pt x="472" y="1015"/>
                  </a:lnTo>
                  <a:lnTo>
                    <a:pt x="462" y="1021"/>
                  </a:lnTo>
                  <a:lnTo>
                    <a:pt x="453" y="1021"/>
                  </a:lnTo>
                  <a:lnTo>
                    <a:pt x="422" y="1024"/>
                  </a:lnTo>
                  <a:lnTo>
                    <a:pt x="387" y="1024"/>
                  </a:lnTo>
                  <a:lnTo>
                    <a:pt x="356" y="1027"/>
                  </a:lnTo>
                  <a:lnTo>
                    <a:pt x="350" y="1030"/>
                  </a:lnTo>
                  <a:lnTo>
                    <a:pt x="341" y="1033"/>
                  </a:lnTo>
                  <a:lnTo>
                    <a:pt x="331" y="1036"/>
                  </a:lnTo>
                  <a:lnTo>
                    <a:pt x="325" y="1043"/>
                  </a:lnTo>
                  <a:lnTo>
                    <a:pt x="316" y="1046"/>
                  </a:lnTo>
                  <a:lnTo>
                    <a:pt x="297" y="1055"/>
                  </a:lnTo>
                  <a:lnTo>
                    <a:pt x="272" y="1065"/>
                  </a:lnTo>
                  <a:lnTo>
                    <a:pt x="250" y="1071"/>
                  </a:lnTo>
                  <a:lnTo>
                    <a:pt x="228" y="1065"/>
                  </a:lnTo>
                  <a:lnTo>
                    <a:pt x="200" y="1055"/>
                  </a:lnTo>
                  <a:lnTo>
                    <a:pt x="178" y="1049"/>
                  </a:lnTo>
                  <a:lnTo>
                    <a:pt x="169" y="1049"/>
                  </a:lnTo>
                  <a:lnTo>
                    <a:pt x="160" y="1049"/>
                  </a:lnTo>
                  <a:lnTo>
                    <a:pt x="150" y="1049"/>
                  </a:lnTo>
                  <a:lnTo>
                    <a:pt x="141" y="1049"/>
                  </a:lnTo>
                  <a:lnTo>
                    <a:pt x="135" y="1049"/>
                  </a:lnTo>
                  <a:lnTo>
                    <a:pt x="128" y="1052"/>
                  </a:lnTo>
                  <a:lnTo>
                    <a:pt x="119" y="1065"/>
                  </a:lnTo>
                  <a:lnTo>
                    <a:pt x="116" y="1080"/>
                  </a:lnTo>
                  <a:lnTo>
                    <a:pt x="110" y="1096"/>
                  </a:lnTo>
                  <a:lnTo>
                    <a:pt x="103" y="1105"/>
                  </a:lnTo>
                  <a:lnTo>
                    <a:pt x="88" y="1111"/>
                  </a:lnTo>
                  <a:lnTo>
                    <a:pt x="66" y="1115"/>
                  </a:lnTo>
                  <a:lnTo>
                    <a:pt x="47" y="1115"/>
                  </a:lnTo>
                  <a:lnTo>
                    <a:pt x="31" y="1108"/>
                  </a:lnTo>
                  <a:lnTo>
                    <a:pt x="25" y="1102"/>
                  </a:lnTo>
                  <a:lnTo>
                    <a:pt x="22" y="1096"/>
                  </a:lnTo>
                  <a:lnTo>
                    <a:pt x="19" y="1086"/>
                  </a:lnTo>
                  <a:lnTo>
                    <a:pt x="16" y="1077"/>
                  </a:lnTo>
                  <a:lnTo>
                    <a:pt x="13" y="1068"/>
                  </a:lnTo>
                  <a:lnTo>
                    <a:pt x="13" y="1061"/>
                  </a:lnTo>
                  <a:lnTo>
                    <a:pt x="6" y="1024"/>
                  </a:lnTo>
                  <a:lnTo>
                    <a:pt x="0" y="980"/>
                  </a:lnTo>
                  <a:lnTo>
                    <a:pt x="0" y="946"/>
                  </a:lnTo>
                  <a:lnTo>
                    <a:pt x="3" y="921"/>
                  </a:lnTo>
                  <a:lnTo>
                    <a:pt x="10" y="890"/>
                  </a:lnTo>
                  <a:lnTo>
                    <a:pt x="19" y="868"/>
                  </a:lnTo>
                  <a:lnTo>
                    <a:pt x="25" y="862"/>
                  </a:lnTo>
                  <a:lnTo>
                    <a:pt x="35" y="855"/>
                  </a:lnTo>
                  <a:lnTo>
                    <a:pt x="44" y="849"/>
                  </a:lnTo>
                  <a:lnTo>
                    <a:pt x="53" y="843"/>
                  </a:lnTo>
                  <a:lnTo>
                    <a:pt x="63" y="840"/>
                  </a:lnTo>
                  <a:lnTo>
                    <a:pt x="69" y="833"/>
                  </a:lnTo>
                  <a:lnTo>
                    <a:pt x="69" y="824"/>
                  </a:lnTo>
                  <a:lnTo>
                    <a:pt x="72" y="815"/>
                  </a:lnTo>
                  <a:lnTo>
                    <a:pt x="72" y="805"/>
                  </a:lnTo>
                  <a:lnTo>
                    <a:pt x="72" y="796"/>
                  </a:lnTo>
                  <a:lnTo>
                    <a:pt x="69" y="787"/>
                  </a:lnTo>
                  <a:lnTo>
                    <a:pt x="63" y="768"/>
                  </a:lnTo>
                  <a:lnTo>
                    <a:pt x="53" y="746"/>
                  </a:lnTo>
                  <a:lnTo>
                    <a:pt x="47" y="727"/>
                  </a:lnTo>
                  <a:lnTo>
                    <a:pt x="53" y="705"/>
                  </a:lnTo>
                  <a:lnTo>
                    <a:pt x="66" y="677"/>
                  </a:lnTo>
                  <a:lnTo>
                    <a:pt x="81" y="649"/>
                  </a:lnTo>
                  <a:lnTo>
                    <a:pt x="91" y="627"/>
                  </a:lnTo>
                  <a:lnTo>
                    <a:pt x="97" y="609"/>
                  </a:lnTo>
                  <a:lnTo>
                    <a:pt x="100" y="587"/>
                  </a:lnTo>
                  <a:lnTo>
                    <a:pt x="110" y="571"/>
                  </a:lnTo>
                  <a:lnTo>
                    <a:pt x="128" y="568"/>
                  </a:lnTo>
                  <a:lnTo>
                    <a:pt x="153" y="568"/>
                  </a:lnTo>
                  <a:lnTo>
                    <a:pt x="178" y="571"/>
                  </a:lnTo>
                  <a:lnTo>
                    <a:pt x="200" y="571"/>
                  </a:lnTo>
                  <a:lnTo>
                    <a:pt x="206" y="568"/>
                  </a:lnTo>
                  <a:lnTo>
                    <a:pt x="216" y="562"/>
                  </a:lnTo>
                  <a:lnTo>
                    <a:pt x="222" y="556"/>
                  </a:lnTo>
                  <a:lnTo>
                    <a:pt x="231" y="552"/>
                  </a:lnTo>
                  <a:lnTo>
                    <a:pt x="238" y="549"/>
                  </a:lnTo>
                  <a:lnTo>
                    <a:pt x="256" y="549"/>
                  </a:lnTo>
                  <a:lnTo>
                    <a:pt x="278" y="552"/>
                  </a:lnTo>
                  <a:lnTo>
                    <a:pt x="300" y="552"/>
                  </a:lnTo>
                  <a:lnTo>
                    <a:pt x="316" y="549"/>
                  </a:lnTo>
                  <a:lnTo>
                    <a:pt x="319" y="543"/>
                  </a:lnTo>
                  <a:lnTo>
                    <a:pt x="319" y="537"/>
                  </a:lnTo>
                  <a:lnTo>
                    <a:pt x="319" y="527"/>
                  </a:lnTo>
                  <a:lnTo>
                    <a:pt x="319" y="518"/>
                  </a:lnTo>
                  <a:lnTo>
                    <a:pt x="319" y="512"/>
                  </a:lnTo>
                  <a:lnTo>
                    <a:pt x="319" y="502"/>
                  </a:lnTo>
                  <a:lnTo>
                    <a:pt x="322" y="499"/>
                  </a:lnTo>
                  <a:lnTo>
                    <a:pt x="331" y="496"/>
                  </a:lnTo>
                  <a:lnTo>
                    <a:pt x="347" y="496"/>
                  </a:lnTo>
                  <a:lnTo>
                    <a:pt x="362" y="499"/>
                  </a:lnTo>
                  <a:lnTo>
                    <a:pt x="375" y="499"/>
                  </a:lnTo>
                  <a:lnTo>
                    <a:pt x="381" y="493"/>
                  </a:lnTo>
                  <a:lnTo>
                    <a:pt x="387" y="484"/>
                  </a:lnTo>
                  <a:lnTo>
                    <a:pt x="394" y="474"/>
                  </a:lnTo>
                  <a:lnTo>
                    <a:pt x="403" y="465"/>
                  </a:lnTo>
                  <a:lnTo>
                    <a:pt x="409" y="456"/>
                  </a:lnTo>
                  <a:lnTo>
                    <a:pt x="416" y="449"/>
                  </a:lnTo>
                  <a:lnTo>
                    <a:pt x="431" y="443"/>
                  </a:lnTo>
                  <a:lnTo>
                    <a:pt x="453" y="437"/>
                  </a:lnTo>
                  <a:lnTo>
                    <a:pt x="472" y="437"/>
                  </a:lnTo>
                  <a:lnTo>
                    <a:pt x="481" y="437"/>
                  </a:lnTo>
                  <a:lnTo>
                    <a:pt x="491" y="440"/>
                  </a:lnTo>
                  <a:lnTo>
                    <a:pt x="503" y="443"/>
                  </a:lnTo>
                  <a:lnTo>
                    <a:pt x="512" y="446"/>
                  </a:lnTo>
                  <a:lnTo>
                    <a:pt x="522" y="446"/>
                  </a:lnTo>
                  <a:lnTo>
                    <a:pt x="544" y="440"/>
                  </a:lnTo>
                  <a:lnTo>
                    <a:pt x="572" y="431"/>
                  </a:lnTo>
                  <a:lnTo>
                    <a:pt x="594" y="424"/>
                  </a:lnTo>
                  <a:lnTo>
                    <a:pt x="612" y="424"/>
                  </a:lnTo>
                  <a:lnTo>
                    <a:pt x="637" y="428"/>
                  </a:lnTo>
                  <a:lnTo>
                    <a:pt x="659" y="428"/>
                  </a:lnTo>
                  <a:lnTo>
                    <a:pt x="678" y="424"/>
                  </a:lnTo>
                  <a:lnTo>
                    <a:pt x="684" y="412"/>
                  </a:lnTo>
                  <a:lnTo>
                    <a:pt x="684" y="396"/>
                  </a:lnTo>
                  <a:lnTo>
                    <a:pt x="687" y="378"/>
                  </a:lnTo>
                  <a:lnTo>
                    <a:pt x="687" y="359"/>
                  </a:lnTo>
                  <a:lnTo>
                    <a:pt x="693" y="349"/>
                  </a:lnTo>
                  <a:lnTo>
                    <a:pt x="709" y="343"/>
                  </a:lnTo>
                  <a:lnTo>
                    <a:pt x="728" y="343"/>
                  </a:lnTo>
                  <a:lnTo>
                    <a:pt x="747" y="346"/>
                  </a:lnTo>
                  <a:lnTo>
                    <a:pt x="762" y="349"/>
                  </a:lnTo>
                  <a:lnTo>
                    <a:pt x="768" y="353"/>
                  </a:lnTo>
                  <a:lnTo>
                    <a:pt x="778" y="359"/>
                  </a:lnTo>
                  <a:lnTo>
                    <a:pt x="787" y="368"/>
                  </a:lnTo>
                  <a:lnTo>
                    <a:pt x="797" y="374"/>
                  </a:lnTo>
                  <a:lnTo>
                    <a:pt x="800" y="384"/>
                  </a:lnTo>
                  <a:lnTo>
                    <a:pt x="803" y="390"/>
                  </a:lnTo>
                  <a:lnTo>
                    <a:pt x="800" y="396"/>
                  </a:lnTo>
                  <a:lnTo>
                    <a:pt x="800" y="406"/>
                  </a:lnTo>
                  <a:lnTo>
                    <a:pt x="800" y="415"/>
                  </a:lnTo>
                  <a:lnTo>
                    <a:pt x="800" y="421"/>
                  </a:lnTo>
                  <a:lnTo>
                    <a:pt x="803" y="428"/>
                  </a:lnTo>
                  <a:lnTo>
                    <a:pt x="809" y="434"/>
                  </a:lnTo>
                  <a:lnTo>
                    <a:pt x="818" y="437"/>
                  </a:lnTo>
                  <a:lnTo>
                    <a:pt x="828" y="437"/>
                  </a:lnTo>
                  <a:lnTo>
                    <a:pt x="840" y="440"/>
                  </a:lnTo>
                  <a:lnTo>
                    <a:pt x="846" y="437"/>
                  </a:lnTo>
                  <a:lnTo>
                    <a:pt x="853" y="434"/>
                  </a:lnTo>
                  <a:lnTo>
                    <a:pt x="856" y="428"/>
                  </a:lnTo>
                  <a:lnTo>
                    <a:pt x="859" y="421"/>
                  </a:lnTo>
                  <a:lnTo>
                    <a:pt x="862" y="415"/>
                  </a:lnTo>
                  <a:lnTo>
                    <a:pt x="868" y="412"/>
                  </a:lnTo>
                  <a:lnTo>
                    <a:pt x="884" y="409"/>
                  </a:lnTo>
                  <a:lnTo>
                    <a:pt x="906" y="409"/>
                  </a:lnTo>
                  <a:lnTo>
                    <a:pt x="925" y="412"/>
                  </a:lnTo>
                  <a:lnTo>
                    <a:pt x="943" y="412"/>
                  </a:lnTo>
                  <a:lnTo>
                    <a:pt x="965" y="412"/>
                  </a:lnTo>
                  <a:lnTo>
                    <a:pt x="984" y="409"/>
                  </a:lnTo>
                  <a:lnTo>
                    <a:pt x="1000" y="399"/>
                  </a:lnTo>
                  <a:lnTo>
                    <a:pt x="1003" y="387"/>
                  </a:lnTo>
                  <a:lnTo>
                    <a:pt x="1000" y="368"/>
                  </a:lnTo>
                  <a:lnTo>
                    <a:pt x="996" y="349"/>
                  </a:lnTo>
                  <a:lnTo>
                    <a:pt x="1003" y="337"/>
                  </a:lnTo>
                  <a:lnTo>
                    <a:pt x="1006" y="334"/>
                  </a:lnTo>
                  <a:lnTo>
                    <a:pt x="1015" y="334"/>
                  </a:lnTo>
                  <a:lnTo>
                    <a:pt x="1021" y="337"/>
                  </a:lnTo>
                  <a:lnTo>
                    <a:pt x="1031" y="337"/>
                  </a:lnTo>
                  <a:lnTo>
                    <a:pt x="1037" y="337"/>
                  </a:lnTo>
                  <a:lnTo>
                    <a:pt x="1068" y="337"/>
                  </a:lnTo>
                  <a:lnTo>
                    <a:pt x="1109" y="337"/>
                  </a:lnTo>
                  <a:lnTo>
                    <a:pt x="1143" y="337"/>
                  </a:lnTo>
                  <a:lnTo>
                    <a:pt x="1159" y="340"/>
                  </a:lnTo>
                  <a:lnTo>
                    <a:pt x="1181" y="346"/>
                  </a:lnTo>
                  <a:lnTo>
                    <a:pt x="1199" y="349"/>
                  </a:lnTo>
                  <a:lnTo>
                    <a:pt x="1215" y="346"/>
                  </a:lnTo>
                  <a:lnTo>
                    <a:pt x="1221" y="337"/>
                  </a:lnTo>
                  <a:lnTo>
                    <a:pt x="1227" y="321"/>
                  </a:lnTo>
                  <a:lnTo>
                    <a:pt x="1234" y="306"/>
                  </a:lnTo>
                  <a:lnTo>
                    <a:pt x="1243" y="293"/>
                  </a:lnTo>
                  <a:lnTo>
                    <a:pt x="1259" y="284"/>
                  </a:lnTo>
                  <a:lnTo>
                    <a:pt x="1281" y="275"/>
                  </a:lnTo>
                  <a:lnTo>
                    <a:pt x="1302" y="265"/>
                  </a:lnTo>
                  <a:lnTo>
                    <a:pt x="1324" y="262"/>
                  </a:lnTo>
                  <a:lnTo>
                    <a:pt x="1343" y="265"/>
                  </a:lnTo>
                  <a:lnTo>
                    <a:pt x="1352" y="281"/>
                  </a:lnTo>
                  <a:lnTo>
                    <a:pt x="1355" y="303"/>
                  </a:lnTo>
                  <a:lnTo>
                    <a:pt x="1355" y="328"/>
                  </a:lnTo>
                  <a:lnTo>
                    <a:pt x="1352" y="346"/>
                  </a:lnTo>
                  <a:lnTo>
                    <a:pt x="1352" y="359"/>
                  </a:lnTo>
                  <a:lnTo>
                    <a:pt x="1346" y="374"/>
                  </a:lnTo>
                  <a:lnTo>
                    <a:pt x="1343" y="390"/>
                  </a:lnTo>
                  <a:lnTo>
                    <a:pt x="1346" y="399"/>
                  </a:lnTo>
                  <a:lnTo>
                    <a:pt x="1359" y="406"/>
                  </a:lnTo>
                  <a:lnTo>
                    <a:pt x="1380" y="409"/>
                  </a:lnTo>
                  <a:lnTo>
                    <a:pt x="1402" y="406"/>
                  </a:lnTo>
                  <a:lnTo>
                    <a:pt x="1418" y="406"/>
                  </a:lnTo>
                  <a:lnTo>
                    <a:pt x="1440" y="409"/>
                  </a:lnTo>
                  <a:lnTo>
                    <a:pt x="1465" y="415"/>
                  </a:lnTo>
                  <a:lnTo>
                    <a:pt x="1487" y="424"/>
                  </a:lnTo>
                  <a:lnTo>
                    <a:pt x="1499" y="437"/>
                  </a:lnTo>
                  <a:lnTo>
                    <a:pt x="1499" y="440"/>
                  </a:lnTo>
                  <a:lnTo>
                    <a:pt x="1496" y="446"/>
                  </a:lnTo>
                  <a:lnTo>
                    <a:pt x="1490" y="456"/>
                  </a:lnTo>
                  <a:lnTo>
                    <a:pt x="1484" y="462"/>
                  </a:lnTo>
                  <a:lnTo>
                    <a:pt x="1480" y="468"/>
                  </a:lnTo>
                  <a:lnTo>
                    <a:pt x="1477" y="474"/>
                  </a:lnTo>
                  <a:lnTo>
                    <a:pt x="1474" y="481"/>
                  </a:lnTo>
                  <a:lnTo>
                    <a:pt x="1474" y="490"/>
                  </a:lnTo>
                  <a:lnTo>
                    <a:pt x="1474" y="499"/>
                  </a:lnTo>
                  <a:lnTo>
                    <a:pt x="1474" y="509"/>
                  </a:lnTo>
                  <a:lnTo>
                    <a:pt x="1477" y="515"/>
                  </a:lnTo>
                  <a:lnTo>
                    <a:pt x="1480" y="521"/>
                  </a:lnTo>
                  <a:lnTo>
                    <a:pt x="1484" y="527"/>
                  </a:lnTo>
                  <a:lnTo>
                    <a:pt x="1490" y="534"/>
                  </a:lnTo>
                  <a:lnTo>
                    <a:pt x="1496" y="540"/>
                  </a:lnTo>
                  <a:lnTo>
                    <a:pt x="1502" y="543"/>
                  </a:lnTo>
                  <a:lnTo>
                    <a:pt x="1515" y="543"/>
                  </a:lnTo>
                  <a:lnTo>
                    <a:pt x="1533" y="537"/>
                  </a:lnTo>
                  <a:lnTo>
                    <a:pt x="1549" y="527"/>
                  </a:lnTo>
                  <a:lnTo>
                    <a:pt x="1562" y="515"/>
                  </a:lnTo>
                  <a:lnTo>
                    <a:pt x="1565" y="496"/>
                  </a:lnTo>
                  <a:lnTo>
                    <a:pt x="1565" y="471"/>
                  </a:lnTo>
                  <a:lnTo>
                    <a:pt x="1558" y="453"/>
                  </a:lnTo>
                  <a:lnTo>
                    <a:pt x="1552" y="440"/>
                  </a:lnTo>
                  <a:lnTo>
                    <a:pt x="1540" y="424"/>
                  </a:lnTo>
                  <a:lnTo>
                    <a:pt x="1530" y="409"/>
                  </a:lnTo>
                  <a:lnTo>
                    <a:pt x="1527" y="393"/>
                  </a:lnTo>
                  <a:lnTo>
                    <a:pt x="1533" y="368"/>
                  </a:lnTo>
                  <a:lnTo>
                    <a:pt x="1546" y="343"/>
                  </a:lnTo>
                  <a:lnTo>
                    <a:pt x="1565" y="318"/>
                  </a:lnTo>
                  <a:lnTo>
                    <a:pt x="1583" y="303"/>
                  </a:lnTo>
                  <a:lnTo>
                    <a:pt x="1599" y="300"/>
                  </a:lnTo>
                  <a:lnTo>
                    <a:pt x="1621" y="300"/>
                  </a:lnTo>
                  <a:lnTo>
                    <a:pt x="1640" y="303"/>
                  </a:lnTo>
                  <a:lnTo>
                    <a:pt x="1655" y="303"/>
                  </a:lnTo>
                  <a:lnTo>
                    <a:pt x="1674" y="306"/>
                  </a:lnTo>
                  <a:lnTo>
                    <a:pt x="1693" y="309"/>
                  </a:lnTo>
                  <a:lnTo>
                    <a:pt x="1711" y="312"/>
                  </a:lnTo>
                  <a:lnTo>
                    <a:pt x="1718" y="318"/>
                  </a:lnTo>
                  <a:lnTo>
                    <a:pt x="1718" y="325"/>
                  </a:lnTo>
                  <a:lnTo>
                    <a:pt x="1721" y="331"/>
                  </a:lnTo>
                  <a:lnTo>
                    <a:pt x="1727" y="337"/>
                  </a:lnTo>
                  <a:lnTo>
                    <a:pt x="1730" y="346"/>
                  </a:lnTo>
                  <a:lnTo>
                    <a:pt x="1736" y="353"/>
                  </a:lnTo>
                  <a:lnTo>
                    <a:pt x="1740" y="356"/>
                  </a:lnTo>
                  <a:lnTo>
                    <a:pt x="1758" y="356"/>
                  </a:lnTo>
                  <a:lnTo>
                    <a:pt x="1777" y="356"/>
                  </a:lnTo>
                  <a:lnTo>
                    <a:pt x="1799" y="349"/>
                  </a:lnTo>
                  <a:lnTo>
                    <a:pt x="1821" y="346"/>
                  </a:lnTo>
                  <a:lnTo>
                    <a:pt x="1836" y="353"/>
                  </a:lnTo>
                  <a:lnTo>
                    <a:pt x="1846" y="362"/>
                  </a:lnTo>
                  <a:lnTo>
                    <a:pt x="1849" y="378"/>
                  </a:lnTo>
                  <a:lnTo>
                    <a:pt x="1855" y="393"/>
                  </a:lnTo>
                  <a:lnTo>
                    <a:pt x="1864" y="406"/>
                  </a:lnTo>
                  <a:lnTo>
                    <a:pt x="1883" y="412"/>
                  </a:lnTo>
                  <a:lnTo>
                    <a:pt x="1905" y="412"/>
                  </a:lnTo>
                  <a:lnTo>
                    <a:pt x="1924" y="406"/>
                  </a:lnTo>
                  <a:lnTo>
                    <a:pt x="1924" y="399"/>
                  </a:lnTo>
                  <a:lnTo>
                    <a:pt x="1924" y="393"/>
                  </a:lnTo>
                  <a:lnTo>
                    <a:pt x="1924" y="390"/>
                  </a:lnTo>
                  <a:lnTo>
                    <a:pt x="1924" y="384"/>
                  </a:lnTo>
                  <a:lnTo>
                    <a:pt x="1936" y="359"/>
                  </a:lnTo>
                  <a:lnTo>
                    <a:pt x="1952" y="331"/>
                  </a:lnTo>
                  <a:lnTo>
                    <a:pt x="1968" y="312"/>
                  </a:lnTo>
                  <a:lnTo>
                    <a:pt x="1983" y="306"/>
                  </a:lnTo>
                  <a:lnTo>
                    <a:pt x="2002" y="303"/>
                  </a:lnTo>
                  <a:lnTo>
                    <a:pt x="2018" y="296"/>
                  </a:lnTo>
                  <a:lnTo>
                    <a:pt x="2024" y="293"/>
                  </a:lnTo>
                  <a:lnTo>
                    <a:pt x="2024" y="290"/>
                  </a:lnTo>
                  <a:lnTo>
                    <a:pt x="2024" y="281"/>
                  </a:lnTo>
                  <a:lnTo>
                    <a:pt x="2027" y="271"/>
                  </a:lnTo>
                  <a:lnTo>
                    <a:pt x="2024" y="262"/>
                  </a:lnTo>
                  <a:lnTo>
                    <a:pt x="2024" y="253"/>
                  </a:lnTo>
                  <a:lnTo>
                    <a:pt x="2021" y="246"/>
                  </a:lnTo>
                  <a:lnTo>
                    <a:pt x="2014" y="240"/>
                  </a:lnTo>
                  <a:lnTo>
                    <a:pt x="2008" y="237"/>
                  </a:lnTo>
                  <a:lnTo>
                    <a:pt x="1999" y="234"/>
                  </a:lnTo>
                  <a:lnTo>
                    <a:pt x="1989" y="231"/>
                  </a:lnTo>
                  <a:lnTo>
                    <a:pt x="1980" y="228"/>
                  </a:lnTo>
                  <a:lnTo>
                    <a:pt x="1974" y="225"/>
                  </a:lnTo>
                  <a:lnTo>
                    <a:pt x="1968" y="209"/>
                  </a:lnTo>
                  <a:lnTo>
                    <a:pt x="1968" y="187"/>
                  </a:lnTo>
                  <a:lnTo>
                    <a:pt x="1968" y="168"/>
                  </a:lnTo>
                  <a:lnTo>
                    <a:pt x="1983" y="153"/>
                  </a:lnTo>
                  <a:lnTo>
                    <a:pt x="2005" y="140"/>
                  </a:lnTo>
                  <a:lnTo>
                    <a:pt x="2030" y="125"/>
                  </a:lnTo>
                  <a:lnTo>
                    <a:pt x="2046" y="109"/>
                  </a:lnTo>
                  <a:lnTo>
                    <a:pt x="2049" y="97"/>
                  </a:lnTo>
                  <a:lnTo>
                    <a:pt x="2049" y="78"/>
                  </a:lnTo>
                  <a:lnTo>
                    <a:pt x="2049" y="59"/>
                  </a:lnTo>
                  <a:lnTo>
                    <a:pt x="2055" y="47"/>
                  </a:lnTo>
                  <a:lnTo>
                    <a:pt x="2071" y="40"/>
                  </a:lnTo>
                  <a:lnTo>
                    <a:pt x="2092" y="40"/>
                  </a:lnTo>
                  <a:lnTo>
                    <a:pt x="2114" y="40"/>
                  </a:lnTo>
                  <a:lnTo>
                    <a:pt x="2133" y="43"/>
                  </a:lnTo>
                  <a:lnTo>
                    <a:pt x="2155" y="50"/>
                  </a:lnTo>
                  <a:lnTo>
                    <a:pt x="2183" y="59"/>
                  </a:lnTo>
                  <a:lnTo>
                    <a:pt x="2202" y="75"/>
                  </a:lnTo>
                  <a:lnTo>
                    <a:pt x="2205" y="87"/>
                  </a:lnTo>
                  <a:lnTo>
                    <a:pt x="2202" y="106"/>
                  </a:lnTo>
                  <a:lnTo>
                    <a:pt x="2202" y="125"/>
                  </a:lnTo>
                  <a:lnTo>
                    <a:pt x="2208" y="137"/>
                  </a:lnTo>
                  <a:lnTo>
                    <a:pt x="2224" y="147"/>
                  </a:lnTo>
                  <a:lnTo>
                    <a:pt x="2245" y="153"/>
                  </a:lnTo>
                  <a:lnTo>
                    <a:pt x="2270" y="153"/>
                  </a:lnTo>
                  <a:lnTo>
                    <a:pt x="2286" y="147"/>
                  </a:lnTo>
                  <a:lnTo>
                    <a:pt x="2292" y="134"/>
                  </a:lnTo>
                  <a:lnTo>
                    <a:pt x="2295" y="118"/>
                  </a:lnTo>
                  <a:lnTo>
                    <a:pt x="2302" y="103"/>
                  </a:lnTo>
                  <a:lnTo>
                    <a:pt x="2308" y="93"/>
                  </a:lnTo>
                  <a:lnTo>
                    <a:pt x="2320" y="90"/>
                  </a:lnTo>
                  <a:lnTo>
                    <a:pt x="2339" y="90"/>
                  </a:lnTo>
                  <a:lnTo>
                    <a:pt x="2358" y="93"/>
                  </a:lnTo>
                  <a:lnTo>
                    <a:pt x="2370" y="93"/>
                  </a:lnTo>
                  <a:lnTo>
                    <a:pt x="2389" y="84"/>
                  </a:lnTo>
                  <a:lnTo>
                    <a:pt x="2408" y="72"/>
                  </a:lnTo>
                  <a:lnTo>
                    <a:pt x="2427" y="62"/>
                  </a:lnTo>
                  <a:lnTo>
                    <a:pt x="2448" y="59"/>
                  </a:lnTo>
                  <a:lnTo>
                    <a:pt x="2477" y="59"/>
                  </a:lnTo>
                  <a:lnTo>
                    <a:pt x="2505" y="59"/>
                  </a:lnTo>
                  <a:lnTo>
                    <a:pt x="2530" y="62"/>
                  </a:lnTo>
                  <a:lnTo>
                    <a:pt x="2536" y="65"/>
                  </a:lnTo>
                  <a:lnTo>
                    <a:pt x="2542" y="72"/>
                  </a:lnTo>
                  <a:lnTo>
                    <a:pt x="2548" y="78"/>
                  </a:lnTo>
                  <a:lnTo>
                    <a:pt x="2555" y="84"/>
                  </a:lnTo>
                  <a:lnTo>
                    <a:pt x="2558" y="87"/>
                  </a:lnTo>
                  <a:lnTo>
                    <a:pt x="2555" y="103"/>
                  </a:lnTo>
                  <a:lnTo>
                    <a:pt x="2545" y="115"/>
                  </a:lnTo>
                  <a:lnTo>
                    <a:pt x="2536" y="131"/>
                  </a:lnTo>
                  <a:lnTo>
                    <a:pt x="2530" y="143"/>
                  </a:lnTo>
                  <a:lnTo>
                    <a:pt x="2530" y="153"/>
                  </a:lnTo>
                  <a:lnTo>
                    <a:pt x="2527" y="162"/>
                  </a:lnTo>
                  <a:lnTo>
                    <a:pt x="2527" y="172"/>
                  </a:lnTo>
                  <a:lnTo>
                    <a:pt x="2530" y="181"/>
                  </a:lnTo>
                  <a:lnTo>
                    <a:pt x="2530" y="187"/>
                  </a:lnTo>
                  <a:lnTo>
                    <a:pt x="2536" y="193"/>
                  </a:lnTo>
                  <a:lnTo>
                    <a:pt x="2542" y="196"/>
                  </a:lnTo>
                  <a:lnTo>
                    <a:pt x="2548" y="200"/>
                  </a:lnTo>
                  <a:lnTo>
                    <a:pt x="2555" y="203"/>
                  </a:lnTo>
                  <a:lnTo>
                    <a:pt x="2561" y="203"/>
                  </a:lnTo>
                  <a:lnTo>
                    <a:pt x="2567" y="200"/>
                  </a:lnTo>
                  <a:lnTo>
                    <a:pt x="2573" y="193"/>
                  </a:lnTo>
                  <a:lnTo>
                    <a:pt x="2580" y="187"/>
                  </a:lnTo>
                  <a:lnTo>
                    <a:pt x="2583" y="181"/>
                  </a:lnTo>
                  <a:lnTo>
                    <a:pt x="2586" y="175"/>
                  </a:lnTo>
                  <a:lnTo>
                    <a:pt x="2589" y="168"/>
                  </a:lnTo>
                  <a:lnTo>
                    <a:pt x="2589" y="159"/>
                  </a:lnTo>
                  <a:lnTo>
                    <a:pt x="2589" y="153"/>
                  </a:lnTo>
                  <a:lnTo>
                    <a:pt x="2589" y="143"/>
                  </a:lnTo>
                  <a:lnTo>
                    <a:pt x="2589" y="134"/>
                  </a:lnTo>
                  <a:lnTo>
                    <a:pt x="2589" y="128"/>
                  </a:lnTo>
                  <a:lnTo>
                    <a:pt x="2595" y="122"/>
                  </a:lnTo>
                  <a:lnTo>
                    <a:pt x="2605" y="115"/>
                  </a:lnTo>
                  <a:lnTo>
                    <a:pt x="2617" y="112"/>
                  </a:lnTo>
                  <a:lnTo>
                    <a:pt x="2626" y="106"/>
                  </a:lnTo>
                  <a:lnTo>
                    <a:pt x="2633" y="100"/>
                  </a:lnTo>
                  <a:lnTo>
                    <a:pt x="2636" y="93"/>
                  </a:lnTo>
                  <a:lnTo>
                    <a:pt x="2639" y="84"/>
                  </a:lnTo>
                  <a:lnTo>
                    <a:pt x="2645" y="75"/>
                  </a:lnTo>
                  <a:lnTo>
                    <a:pt x="2648" y="62"/>
                  </a:lnTo>
                  <a:lnTo>
                    <a:pt x="2651" y="56"/>
                  </a:lnTo>
                  <a:lnTo>
                    <a:pt x="2664" y="37"/>
                  </a:lnTo>
                  <a:lnTo>
                    <a:pt x="2676" y="18"/>
                  </a:lnTo>
                  <a:lnTo>
                    <a:pt x="2692" y="3"/>
                  </a:lnTo>
                  <a:lnTo>
                    <a:pt x="2708" y="0"/>
                  </a:lnTo>
                  <a:lnTo>
                    <a:pt x="2726" y="3"/>
                  </a:lnTo>
                  <a:lnTo>
                    <a:pt x="2745" y="6"/>
                  </a:lnTo>
                  <a:lnTo>
                    <a:pt x="2758" y="12"/>
                  </a:lnTo>
                  <a:lnTo>
                    <a:pt x="2761" y="18"/>
                  </a:lnTo>
                  <a:lnTo>
                    <a:pt x="2761" y="25"/>
                  </a:lnTo>
                  <a:lnTo>
                    <a:pt x="2761" y="37"/>
                  </a:lnTo>
                  <a:lnTo>
                    <a:pt x="2761" y="47"/>
                  </a:lnTo>
                  <a:lnTo>
                    <a:pt x="2758" y="53"/>
                  </a:lnTo>
                  <a:lnTo>
                    <a:pt x="2758" y="62"/>
                  </a:lnTo>
                  <a:lnTo>
                    <a:pt x="2754" y="68"/>
                  </a:lnTo>
                  <a:lnTo>
                    <a:pt x="2751" y="78"/>
                  </a:lnTo>
                  <a:lnTo>
                    <a:pt x="2745" y="87"/>
                  </a:lnTo>
                  <a:lnTo>
                    <a:pt x="2742" y="97"/>
                  </a:lnTo>
                  <a:lnTo>
                    <a:pt x="2739" y="106"/>
                  </a:lnTo>
                  <a:lnTo>
                    <a:pt x="2736" y="115"/>
                  </a:lnTo>
                  <a:lnTo>
                    <a:pt x="2733" y="125"/>
                  </a:lnTo>
                  <a:lnTo>
                    <a:pt x="2726" y="137"/>
                  </a:lnTo>
                  <a:lnTo>
                    <a:pt x="2726" y="147"/>
                  </a:lnTo>
                  <a:lnTo>
                    <a:pt x="2723" y="156"/>
                  </a:lnTo>
                  <a:lnTo>
                    <a:pt x="2723" y="162"/>
                  </a:lnTo>
                  <a:lnTo>
                    <a:pt x="2726" y="172"/>
                  </a:lnTo>
                  <a:lnTo>
                    <a:pt x="2726" y="181"/>
                  </a:lnTo>
                  <a:lnTo>
                    <a:pt x="2729" y="187"/>
                  </a:lnTo>
                  <a:lnTo>
                    <a:pt x="2733" y="196"/>
                  </a:lnTo>
                  <a:lnTo>
                    <a:pt x="2736" y="200"/>
                  </a:lnTo>
                  <a:lnTo>
                    <a:pt x="2742" y="203"/>
                  </a:lnTo>
                  <a:lnTo>
                    <a:pt x="2748" y="203"/>
                  </a:lnTo>
                  <a:lnTo>
                    <a:pt x="2754" y="200"/>
                  </a:lnTo>
                  <a:lnTo>
                    <a:pt x="2761" y="196"/>
                  </a:lnTo>
                  <a:lnTo>
                    <a:pt x="2767" y="196"/>
                  </a:lnTo>
                  <a:lnTo>
                    <a:pt x="2779" y="184"/>
                  </a:lnTo>
                  <a:lnTo>
                    <a:pt x="2792" y="165"/>
                  </a:lnTo>
                  <a:lnTo>
                    <a:pt x="2808" y="147"/>
                  </a:lnTo>
                  <a:lnTo>
                    <a:pt x="2820" y="137"/>
                  </a:lnTo>
                  <a:lnTo>
                    <a:pt x="2842" y="137"/>
                  </a:lnTo>
                  <a:lnTo>
                    <a:pt x="2870" y="143"/>
                  </a:lnTo>
                  <a:lnTo>
                    <a:pt x="2886" y="153"/>
                  </a:lnTo>
                  <a:lnTo>
                    <a:pt x="2892" y="159"/>
                  </a:lnTo>
                  <a:lnTo>
                    <a:pt x="2892" y="168"/>
                  </a:lnTo>
                  <a:lnTo>
                    <a:pt x="2895" y="178"/>
                  </a:lnTo>
                  <a:lnTo>
                    <a:pt x="2895" y="187"/>
                  </a:lnTo>
                  <a:lnTo>
                    <a:pt x="2892" y="196"/>
                  </a:lnTo>
                  <a:lnTo>
                    <a:pt x="2889" y="203"/>
                  </a:lnTo>
                  <a:lnTo>
                    <a:pt x="2879" y="209"/>
                  </a:lnTo>
                  <a:lnTo>
                    <a:pt x="2864" y="212"/>
                  </a:lnTo>
                  <a:lnTo>
                    <a:pt x="2848" y="212"/>
                  </a:lnTo>
                  <a:lnTo>
                    <a:pt x="2839" y="218"/>
                  </a:lnTo>
                  <a:lnTo>
                    <a:pt x="2836" y="225"/>
                  </a:lnTo>
                  <a:lnTo>
                    <a:pt x="2836" y="231"/>
                  </a:lnTo>
                  <a:lnTo>
                    <a:pt x="2839" y="237"/>
                  </a:lnTo>
                  <a:lnTo>
                    <a:pt x="2839" y="246"/>
                  </a:lnTo>
                  <a:lnTo>
                    <a:pt x="2842" y="253"/>
                  </a:lnTo>
                  <a:lnTo>
                    <a:pt x="2845" y="256"/>
                  </a:lnTo>
                  <a:lnTo>
                    <a:pt x="2848" y="262"/>
                  </a:lnTo>
                  <a:lnTo>
                    <a:pt x="2854" y="268"/>
                  </a:lnTo>
                  <a:lnTo>
                    <a:pt x="2861" y="271"/>
                  </a:lnTo>
                  <a:lnTo>
                    <a:pt x="2882" y="278"/>
                  </a:lnTo>
                  <a:lnTo>
                    <a:pt x="2907" y="281"/>
                  </a:lnTo>
                  <a:lnTo>
                    <a:pt x="2929" y="281"/>
                  </a:lnTo>
                  <a:lnTo>
                    <a:pt x="2936" y="281"/>
                  </a:lnTo>
                  <a:lnTo>
                    <a:pt x="2945" y="281"/>
                  </a:lnTo>
                  <a:lnTo>
                    <a:pt x="2954" y="281"/>
                  </a:lnTo>
                  <a:lnTo>
                    <a:pt x="2961" y="284"/>
                  </a:lnTo>
                  <a:lnTo>
                    <a:pt x="2967" y="287"/>
                  </a:lnTo>
                  <a:lnTo>
                    <a:pt x="2973" y="300"/>
                  </a:lnTo>
                  <a:lnTo>
                    <a:pt x="2976" y="321"/>
                  </a:lnTo>
                  <a:lnTo>
                    <a:pt x="2976" y="340"/>
                  </a:lnTo>
                  <a:lnTo>
                    <a:pt x="2976" y="356"/>
                  </a:lnTo>
                  <a:lnTo>
                    <a:pt x="2973" y="374"/>
                  </a:lnTo>
                  <a:lnTo>
                    <a:pt x="2976" y="390"/>
                  </a:lnTo>
                  <a:lnTo>
                    <a:pt x="2979" y="412"/>
                  </a:lnTo>
                  <a:lnTo>
                    <a:pt x="2986" y="437"/>
                  </a:lnTo>
                  <a:lnTo>
                    <a:pt x="2995" y="456"/>
                  </a:lnTo>
                  <a:lnTo>
                    <a:pt x="3014" y="468"/>
                  </a:lnTo>
                  <a:lnTo>
                    <a:pt x="3039" y="474"/>
                  </a:lnTo>
                  <a:lnTo>
                    <a:pt x="3064" y="481"/>
                  </a:lnTo>
                  <a:lnTo>
                    <a:pt x="3085" y="490"/>
                  </a:lnTo>
                  <a:lnTo>
                    <a:pt x="3101" y="499"/>
                  </a:lnTo>
                  <a:lnTo>
                    <a:pt x="3104" y="506"/>
                  </a:lnTo>
                  <a:lnTo>
                    <a:pt x="3104" y="512"/>
                  </a:lnTo>
                  <a:lnTo>
                    <a:pt x="3104" y="521"/>
                  </a:lnTo>
                  <a:lnTo>
                    <a:pt x="3101" y="531"/>
                  </a:lnTo>
                  <a:lnTo>
                    <a:pt x="3101" y="537"/>
                  </a:lnTo>
                  <a:lnTo>
                    <a:pt x="3101" y="543"/>
                  </a:lnTo>
                  <a:lnTo>
                    <a:pt x="3098" y="568"/>
                  </a:lnTo>
                  <a:lnTo>
                    <a:pt x="3098" y="599"/>
                  </a:lnTo>
                  <a:lnTo>
                    <a:pt x="3101" y="624"/>
                  </a:lnTo>
                  <a:lnTo>
                    <a:pt x="3101" y="643"/>
                  </a:lnTo>
                  <a:lnTo>
                    <a:pt x="3101" y="668"/>
                  </a:lnTo>
                  <a:lnTo>
                    <a:pt x="3101" y="690"/>
                  </a:lnTo>
                  <a:lnTo>
                    <a:pt x="3110" y="709"/>
                  </a:lnTo>
                  <a:lnTo>
                    <a:pt x="3126" y="718"/>
                  </a:lnTo>
                  <a:lnTo>
                    <a:pt x="3148" y="727"/>
                  </a:lnTo>
                  <a:lnTo>
                    <a:pt x="3173" y="730"/>
                  </a:lnTo>
                  <a:lnTo>
                    <a:pt x="3195" y="737"/>
                  </a:lnTo>
                  <a:lnTo>
                    <a:pt x="3214" y="743"/>
                  </a:lnTo>
                  <a:lnTo>
                    <a:pt x="3232" y="755"/>
                  </a:lnTo>
                  <a:lnTo>
                    <a:pt x="3254" y="771"/>
                  </a:lnTo>
                  <a:lnTo>
                    <a:pt x="3270" y="787"/>
                  </a:lnTo>
                  <a:lnTo>
                    <a:pt x="3276" y="809"/>
                  </a:lnTo>
                  <a:lnTo>
                    <a:pt x="3276" y="837"/>
                  </a:lnTo>
                  <a:lnTo>
                    <a:pt x="3279" y="862"/>
                  </a:lnTo>
                  <a:lnTo>
                    <a:pt x="3276" y="877"/>
                  </a:lnTo>
                  <a:lnTo>
                    <a:pt x="3273" y="896"/>
                  </a:lnTo>
                  <a:lnTo>
                    <a:pt x="3273" y="915"/>
                  </a:lnTo>
                  <a:lnTo>
                    <a:pt x="3276" y="927"/>
                  </a:lnTo>
                  <a:lnTo>
                    <a:pt x="3292" y="930"/>
                  </a:lnTo>
                  <a:lnTo>
                    <a:pt x="3310" y="930"/>
                  </a:lnTo>
                  <a:lnTo>
                    <a:pt x="3332" y="927"/>
                  </a:lnTo>
                  <a:lnTo>
                    <a:pt x="3348" y="921"/>
                  </a:lnTo>
                  <a:lnTo>
                    <a:pt x="3367" y="908"/>
                  </a:lnTo>
                  <a:lnTo>
                    <a:pt x="3382" y="890"/>
                  </a:lnTo>
                  <a:lnTo>
                    <a:pt x="3398" y="871"/>
                  </a:lnTo>
                  <a:lnTo>
                    <a:pt x="3413" y="855"/>
                  </a:lnTo>
                  <a:lnTo>
                    <a:pt x="3432" y="846"/>
                  </a:lnTo>
                  <a:lnTo>
                    <a:pt x="3457" y="840"/>
                  </a:lnTo>
                  <a:lnTo>
                    <a:pt x="3479" y="833"/>
                  </a:lnTo>
                  <a:lnTo>
                    <a:pt x="3498" y="824"/>
                  </a:lnTo>
                  <a:lnTo>
                    <a:pt x="3507" y="809"/>
                  </a:lnTo>
                  <a:lnTo>
                    <a:pt x="3513" y="787"/>
                  </a:lnTo>
                  <a:lnTo>
                    <a:pt x="3520" y="765"/>
                  </a:lnTo>
                  <a:lnTo>
                    <a:pt x="3526" y="749"/>
                  </a:lnTo>
                  <a:lnTo>
                    <a:pt x="3535" y="743"/>
                  </a:lnTo>
                  <a:lnTo>
                    <a:pt x="3545" y="740"/>
                  </a:lnTo>
                  <a:lnTo>
                    <a:pt x="3554" y="734"/>
                  </a:lnTo>
                  <a:lnTo>
                    <a:pt x="3566" y="730"/>
                  </a:lnTo>
                  <a:lnTo>
                    <a:pt x="3576" y="727"/>
                  </a:lnTo>
                  <a:lnTo>
                    <a:pt x="3594" y="724"/>
                  </a:lnTo>
                  <a:lnTo>
                    <a:pt x="3619" y="724"/>
                  </a:lnTo>
                  <a:lnTo>
                    <a:pt x="3641" y="721"/>
                  </a:lnTo>
                  <a:lnTo>
                    <a:pt x="3660" y="715"/>
                  </a:lnTo>
                  <a:lnTo>
                    <a:pt x="3666" y="699"/>
                  </a:lnTo>
                  <a:lnTo>
                    <a:pt x="3669" y="677"/>
                  </a:lnTo>
                  <a:lnTo>
                    <a:pt x="3669" y="652"/>
                  </a:lnTo>
                  <a:lnTo>
                    <a:pt x="3673" y="627"/>
                  </a:lnTo>
                  <a:lnTo>
                    <a:pt x="3682" y="615"/>
                  </a:lnTo>
                  <a:lnTo>
                    <a:pt x="3698" y="609"/>
                  </a:lnTo>
                  <a:lnTo>
                    <a:pt x="3719" y="609"/>
                  </a:lnTo>
                  <a:lnTo>
                    <a:pt x="3741" y="615"/>
                  </a:lnTo>
                  <a:lnTo>
                    <a:pt x="3760" y="618"/>
                  </a:lnTo>
                  <a:lnTo>
                    <a:pt x="3772" y="624"/>
                  </a:lnTo>
                  <a:lnTo>
                    <a:pt x="3791" y="631"/>
                  </a:lnTo>
                  <a:lnTo>
                    <a:pt x="3807" y="640"/>
                  </a:lnTo>
                  <a:lnTo>
                    <a:pt x="3822" y="640"/>
                  </a:lnTo>
                  <a:lnTo>
                    <a:pt x="3829" y="637"/>
                  </a:lnTo>
                  <a:lnTo>
                    <a:pt x="3838" y="631"/>
                  </a:lnTo>
                  <a:lnTo>
                    <a:pt x="3844" y="621"/>
                  </a:lnTo>
                  <a:lnTo>
                    <a:pt x="3854" y="615"/>
                  </a:lnTo>
                  <a:lnTo>
                    <a:pt x="3857" y="606"/>
                  </a:lnTo>
                  <a:lnTo>
                    <a:pt x="3860" y="590"/>
                  </a:lnTo>
                  <a:lnTo>
                    <a:pt x="3863" y="568"/>
                  </a:lnTo>
                  <a:lnTo>
                    <a:pt x="3869" y="549"/>
                  </a:lnTo>
                  <a:lnTo>
                    <a:pt x="3872" y="546"/>
                  </a:lnTo>
                  <a:lnTo>
                    <a:pt x="3882" y="540"/>
                  </a:lnTo>
                  <a:lnTo>
                    <a:pt x="3891" y="537"/>
                  </a:lnTo>
                  <a:lnTo>
                    <a:pt x="3900" y="531"/>
                  </a:lnTo>
                  <a:lnTo>
                    <a:pt x="3910" y="531"/>
                  </a:lnTo>
                  <a:lnTo>
                    <a:pt x="3916" y="531"/>
                  </a:lnTo>
                  <a:lnTo>
                    <a:pt x="3925" y="531"/>
                  </a:lnTo>
                  <a:lnTo>
                    <a:pt x="3935" y="534"/>
                  </a:lnTo>
                  <a:lnTo>
                    <a:pt x="3944" y="540"/>
                  </a:lnTo>
                  <a:lnTo>
                    <a:pt x="3950" y="546"/>
                  </a:lnTo>
                  <a:lnTo>
                    <a:pt x="3960" y="552"/>
                  </a:lnTo>
                  <a:lnTo>
                    <a:pt x="3963" y="559"/>
                  </a:lnTo>
                  <a:lnTo>
                    <a:pt x="3969" y="577"/>
                  </a:lnTo>
                  <a:lnTo>
                    <a:pt x="3969" y="599"/>
                  </a:lnTo>
                  <a:lnTo>
                    <a:pt x="3963" y="618"/>
                  </a:lnTo>
                  <a:lnTo>
                    <a:pt x="3957" y="621"/>
                  </a:lnTo>
                  <a:lnTo>
                    <a:pt x="3950" y="627"/>
                  </a:lnTo>
                  <a:lnTo>
                    <a:pt x="3941" y="631"/>
                  </a:lnTo>
                  <a:lnTo>
                    <a:pt x="3932" y="634"/>
                  </a:lnTo>
                  <a:lnTo>
                    <a:pt x="3922" y="637"/>
                  </a:lnTo>
                  <a:lnTo>
                    <a:pt x="3916" y="640"/>
                  </a:lnTo>
                  <a:lnTo>
                    <a:pt x="3913" y="646"/>
                  </a:lnTo>
                  <a:lnTo>
                    <a:pt x="3910" y="652"/>
                  </a:lnTo>
                  <a:lnTo>
                    <a:pt x="3913" y="662"/>
                  </a:lnTo>
                  <a:lnTo>
                    <a:pt x="3916" y="671"/>
                  </a:lnTo>
                  <a:lnTo>
                    <a:pt x="3919" y="680"/>
                  </a:lnTo>
                  <a:lnTo>
                    <a:pt x="3925" y="687"/>
                  </a:lnTo>
                  <a:lnTo>
                    <a:pt x="3944" y="696"/>
                  </a:lnTo>
                  <a:lnTo>
                    <a:pt x="3972" y="699"/>
                  </a:lnTo>
                  <a:lnTo>
                    <a:pt x="3994" y="696"/>
                  </a:lnTo>
                  <a:lnTo>
                    <a:pt x="4000" y="693"/>
                  </a:lnTo>
                  <a:lnTo>
                    <a:pt x="4007" y="687"/>
                  </a:lnTo>
                  <a:lnTo>
                    <a:pt x="4013" y="680"/>
                  </a:lnTo>
                  <a:lnTo>
                    <a:pt x="4019" y="671"/>
                  </a:lnTo>
                  <a:lnTo>
                    <a:pt x="4029" y="668"/>
                  </a:lnTo>
                  <a:lnTo>
                    <a:pt x="4032" y="668"/>
                  </a:lnTo>
                  <a:lnTo>
                    <a:pt x="4038" y="671"/>
                  </a:lnTo>
                  <a:lnTo>
                    <a:pt x="4041" y="677"/>
                  </a:lnTo>
                  <a:lnTo>
                    <a:pt x="4044" y="684"/>
                  </a:lnTo>
                  <a:lnTo>
                    <a:pt x="4044" y="693"/>
                  </a:lnTo>
                  <a:lnTo>
                    <a:pt x="4047" y="699"/>
                  </a:lnTo>
                  <a:lnTo>
                    <a:pt x="4047" y="705"/>
                  </a:lnTo>
                  <a:lnTo>
                    <a:pt x="4050" y="712"/>
                  </a:lnTo>
                  <a:lnTo>
                    <a:pt x="4054" y="721"/>
                  </a:lnTo>
                  <a:lnTo>
                    <a:pt x="4057" y="730"/>
                  </a:lnTo>
                  <a:lnTo>
                    <a:pt x="4060" y="740"/>
                  </a:lnTo>
                  <a:lnTo>
                    <a:pt x="4063" y="746"/>
                  </a:lnTo>
                  <a:lnTo>
                    <a:pt x="4066" y="752"/>
                  </a:lnTo>
                  <a:lnTo>
                    <a:pt x="4085" y="755"/>
                  </a:lnTo>
                  <a:lnTo>
                    <a:pt x="4107" y="759"/>
                  </a:lnTo>
                  <a:lnTo>
                    <a:pt x="4125" y="755"/>
                  </a:lnTo>
                  <a:lnTo>
                    <a:pt x="4135" y="749"/>
                  </a:lnTo>
                  <a:lnTo>
                    <a:pt x="4147" y="746"/>
                  </a:lnTo>
                  <a:lnTo>
                    <a:pt x="4157" y="740"/>
                  </a:lnTo>
                  <a:lnTo>
                    <a:pt x="4166" y="730"/>
                  </a:lnTo>
                  <a:lnTo>
                    <a:pt x="4172" y="724"/>
                  </a:lnTo>
                  <a:lnTo>
                    <a:pt x="4178" y="712"/>
                  </a:lnTo>
                  <a:lnTo>
                    <a:pt x="4178" y="693"/>
                  </a:lnTo>
                  <a:lnTo>
                    <a:pt x="4182" y="674"/>
                  </a:lnTo>
                  <a:lnTo>
                    <a:pt x="4185" y="662"/>
                  </a:lnTo>
                  <a:lnTo>
                    <a:pt x="4188" y="656"/>
                  </a:lnTo>
                  <a:lnTo>
                    <a:pt x="4194" y="652"/>
                  </a:lnTo>
                  <a:lnTo>
                    <a:pt x="4203" y="646"/>
                  </a:lnTo>
                  <a:lnTo>
                    <a:pt x="4210" y="643"/>
                  </a:lnTo>
                  <a:lnTo>
                    <a:pt x="4216" y="640"/>
                  </a:lnTo>
                  <a:lnTo>
                    <a:pt x="4241" y="637"/>
                  </a:lnTo>
                  <a:lnTo>
                    <a:pt x="4269" y="637"/>
                  </a:lnTo>
                  <a:lnTo>
                    <a:pt x="4291" y="640"/>
                  </a:lnTo>
                  <a:lnTo>
                    <a:pt x="4310" y="646"/>
                  </a:lnTo>
                  <a:lnTo>
                    <a:pt x="4328" y="656"/>
                  </a:lnTo>
                  <a:lnTo>
                    <a:pt x="4347" y="662"/>
                  </a:lnTo>
                  <a:lnTo>
                    <a:pt x="4366" y="665"/>
                  </a:lnTo>
                  <a:lnTo>
                    <a:pt x="4388" y="656"/>
                  </a:lnTo>
                  <a:lnTo>
                    <a:pt x="4406" y="637"/>
                  </a:lnTo>
                  <a:lnTo>
                    <a:pt x="4422" y="618"/>
                  </a:lnTo>
                  <a:lnTo>
                    <a:pt x="4422" y="606"/>
                  </a:lnTo>
                  <a:lnTo>
                    <a:pt x="4422" y="590"/>
                  </a:lnTo>
                  <a:lnTo>
                    <a:pt x="4419" y="574"/>
                  </a:lnTo>
                  <a:lnTo>
                    <a:pt x="4422" y="562"/>
                  </a:lnTo>
                  <a:lnTo>
                    <a:pt x="4438" y="549"/>
                  </a:lnTo>
                  <a:lnTo>
                    <a:pt x="4463" y="540"/>
                  </a:lnTo>
                  <a:lnTo>
                    <a:pt x="4488" y="534"/>
                  </a:lnTo>
                  <a:lnTo>
                    <a:pt x="4509" y="531"/>
                  </a:lnTo>
                  <a:lnTo>
                    <a:pt x="4528" y="534"/>
                  </a:lnTo>
                  <a:lnTo>
                    <a:pt x="4547" y="540"/>
                  </a:lnTo>
                  <a:lnTo>
                    <a:pt x="4569" y="546"/>
                  </a:lnTo>
                  <a:lnTo>
                    <a:pt x="4584" y="546"/>
                  </a:lnTo>
                  <a:lnTo>
                    <a:pt x="4591" y="543"/>
                  </a:lnTo>
                  <a:lnTo>
                    <a:pt x="4594" y="537"/>
                  </a:lnTo>
                  <a:lnTo>
                    <a:pt x="4597" y="527"/>
                  </a:lnTo>
                  <a:lnTo>
                    <a:pt x="4603" y="521"/>
                  </a:lnTo>
                  <a:lnTo>
                    <a:pt x="4606" y="512"/>
                  </a:lnTo>
                  <a:lnTo>
                    <a:pt x="4609" y="506"/>
                  </a:lnTo>
                  <a:lnTo>
                    <a:pt x="4616" y="502"/>
                  </a:lnTo>
                  <a:lnTo>
                    <a:pt x="4634" y="502"/>
                  </a:lnTo>
                  <a:lnTo>
                    <a:pt x="4653" y="509"/>
                  </a:lnTo>
                  <a:lnTo>
                    <a:pt x="4672" y="521"/>
                  </a:lnTo>
                  <a:lnTo>
                    <a:pt x="4684" y="534"/>
                  </a:lnTo>
                  <a:lnTo>
                    <a:pt x="4687" y="540"/>
                  </a:lnTo>
                  <a:lnTo>
                    <a:pt x="4684" y="549"/>
                  </a:lnTo>
                  <a:lnTo>
                    <a:pt x="4684" y="556"/>
                  </a:lnTo>
                  <a:lnTo>
                    <a:pt x="4681" y="565"/>
                  </a:lnTo>
                  <a:lnTo>
                    <a:pt x="4678" y="574"/>
                  </a:lnTo>
                  <a:lnTo>
                    <a:pt x="4672" y="581"/>
                  </a:lnTo>
                  <a:lnTo>
                    <a:pt x="4669" y="587"/>
                  </a:lnTo>
                  <a:lnTo>
                    <a:pt x="4659" y="596"/>
                  </a:lnTo>
                  <a:lnTo>
                    <a:pt x="4653" y="602"/>
                  </a:lnTo>
                  <a:lnTo>
                    <a:pt x="4647" y="612"/>
                  </a:lnTo>
                  <a:lnTo>
                    <a:pt x="4641" y="618"/>
                  </a:lnTo>
                  <a:lnTo>
                    <a:pt x="4634" y="640"/>
                  </a:lnTo>
                  <a:lnTo>
                    <a:pt x="4628" y="665"/>
                  </a:lnTo>
                  <a:lnTo>
                    <a:pt x="4631" y="690"/>
                  </a:lnTo>
                  <a:lnTo>
                    <a:pt x="4634" y="696"/>
                  </a:lnTo>
                  <a:lnTo>
                    <a:pt x="4641" y="702"/>
                  </a:lnTo>
                  <a:lnTo>
                    <a:pt x="4650" y="709"/>
                  </a:lnTo>
                  <a:lnTo>
                    <a:pt x="4656" y="712"/>
                  </a:lnTo>
                  <a:lnTo>
                    <a:pt x="4662" y="718"/>
                  </a:lnTo>
                  <a:lnTo>
                    <a:pt x="4694" y="730"/>
                  </a:lnTo>
                  <a:lnTo>
                    <a:pt x="4734" y="743"/>
                  </a:lnTo>
                  <a:lnTo>
                    <a:pt x="4769" y="749"/>
                  </a:lnTo>
                  <a:lnTo>
                    <a:pt x="4787" y="752"/>
                  </a:lnTo>
                  <a:lnTo>
                    <a:pt x="4812" y="752"/>
                  </a:lnTo>
                  <a:lnTo>
                    <a:pt x="4831" y="749"/>
                  </a:lnTo>
                  <a:lnTo>
                    <a:pt x="4865" y="743"/>
                  </a:lnTo>
                  <a:lnTo>
                    <a:pt x="4903" y="737"/>
                  </a:lnTo>
                  <a:lnTo>
                    <a:pt x="4937" y="730"/>
                  </a:lnTo>
                  <a:lnTo>
                    <a:pt x="4959" y="730"/>
                  </a:lnTo>
                  <a:lnTo>
                    <a:pt x="4984" y="734"/>
                  </a:lnTo>
                  <a:lnTo>
                    <a:pt x="5006" y="734"/>
                  </a:lnTo>
                  <a:lnTo>
                    <a:pt x="5022" y="730"/>
                  </a:lnTo>
                  <a:lnTo>
                    <a:pt x="5037" y="724"/>
                  </a:lnTo>
                  <a:lnTo>
                    <a:pt x="5056" y="715"/>
                  </a:lnTo>
                  <a:lnTo>
                    <a:pt x="5062" y="743"/>
                  </a:lnTo>
                  <a:lnTo>
                    <a:pt x="5075" y="774"/>
                  </a:lnTo>
                  <a:lnTo>
                    <a:pt x="5084" y="802"/>
                  </a:lnTo>
                  <a:lnTo>
                    <a:pt x="5090" y="827"/>
                  </a:lnTo>
                  <a:lnTo>
                    <a:pt x="5090" y="849"/>
                  </a:lnTo>
                  <a:lnTo>
                    <a:pt x="5090" y="880"/>
                  </a:lnTo>
                  <a:lnTo>
                    <a:pt x="5087" y="908"/>
                  </a:lnTo>
                  <a:lnTo>
                    <a:pt x="5090" y="930"/>
                  </a:lnTo>
                  <a:lnTo>
                    <a:pt x="5103" y="955"/>
                  </a:lnTo>
                  <a:lnTo>
                    <a:pt x="5125" y="983"/>
                  </a:lnTo>
                  <a:lnTo>
                    <a:pt x="5143" y="1011"/>
                  </a:lnTo>
                  <a:lnTo>
                    <a:pt x="5159" y="1036"/>
                  </a:lnTo>
                  <a:lnTo>
                    <a:pt x="5171" y="1058"/>
                  </a:lnTo>
                  <a:lnTo>
                    <a:pt x="5184" y="1086"/>
                  </a:lnTo>
                  <a:lnTo>
                    <a:pt x="5196" y="1105"/>
                  </a:lnTo>
                  <a:lnTo>
                    <a:pt x="5221" y="1121"/>
                  </a:lnTo>
                  <a:lnTo>
                    <a:pt x="5256" y="1133"/>
                  </a:lnTo>
                  <a:lnTo>
                    <a:pt x="5287" y="1139"/>
                  </a:lnTo>
                  <a:lnTo>
                    <a:pt x="5306" y="1146"/>
                  </a:lnTo>
                  <a:lnTo>
                    <a:pt x="5328" y="1152"/>
                  </a:lnTo>
                  <a:lnTo>
                    <a:pt x="5349" y="1155"/>
                  </a:lnTo>
                  <a:lnTo>
                    <a:pt x="5368" y="1155"/>
                  </a:lnTo>
                  <a:lnTo>
                    <a:pt x="5374" y="1152"/>
                  </a:lnTo>
                  <a:lnTo>
                    <a:pt x="5381" y="1149"/>
                  </a:lnTo>
                  <a:lnTo>
                    <a:pt x="5387" y="1143"/>
                  </a:lnTo>
                  <a:lnTo>
                    <a:pt x="5390" y="1139"/>
                  </a:lnTo>
                  <a:lnTo>
                    <a:pt x="5393" y="1133"/>
                  </a:lnTo>
                  <a:lnTo>
                    <a:pt x="5396" y="1124"/>
                  </a:lnTo>
                  <a:lnTo>
                    <a:pt x="5399" y="1115"/>
                  </a:lnTo>
                  <a:lnTo>
                    <a:pt x="5403" y="1105"/>
                  </a:lnTo>
                  <a:lnTo>
                    <a:pt x="5424" y="1086"/>
                  </a:lnTo>
                  <a:lnTo>
                    <a:pt x="5449" y="1068"/>
                  </a:lnTo>
                  <a:lnTo>
                    <a:pt x="5474" y="1055"/>
                  </a:lnTo>
                  <a:lnTo>
                    <a:pt x="5481" y="1052"/>
                  </a:lnTo>
                  <a:lnTo>
                    <a:pt x="5490" y="1052"/>
                  </a:lnTo>
                  <a:lnTo>
                    <a:pt x="5499" y="1052"/>
                  </a:lnTo>
                  <a:lnTo>
                    <a:pt x="5509" y="1052"/>
                  </a:lnTo>
                  <a:lnTo>
                    <a:pt x="5515" y="1052"/>
                  </a:lnTo>
                  <a:lnTo>
                    <a:pt x="5521" y="1052"/>
                  </a:lnTo>
                  <a:lnTo>
                    <a:pt x="5534" y="1036"/>
                  </a:lnTo>
                  <a:lnTo>
                    <a:pt x="5546" y="1015"/>
                  </a:lnTo>
                  <a:lnTo>
                    <a:pt x="5556" y="996"/>
                  </a:lnTo>
                  <a:lnTo>
                    <a:pt x="5562" y="993"/>
                  </a:lnTo>
                  <a:lnTo>
                    <a:pt x="5568" y="986"/>
                  </a:lnTo>
                  <a:lnTo>
                    <a:pt x="5574" y="983"/>
                  </a:lnTo>
                  <a:lnTo>
                    <a:pt x="5581" y="980"/>
                  </a:lnTo>
                  <a:lnTo>
                    <a:pt x="5587" y="980"/>
                  </a:lnTo>
                  <a:lnTo>
                    <a:pt x="5593" y="983"/>
                  </a:lnTo>
                  <a:lnTo>
                    <a:pt x="5602" y="990"/>
                  </a:lnTo>
                  <a:lnTo>
                    <a:pt x="5609" y="996"/>
                  </a:lnTo>
                  <a:lnTo>
                    <a:pt x="5615" y="1005"/>
                  </a:lnTo>
                  <a:lnTo>
                    <a:pt x="5624" y="1011"/>
                  </a:lnTo>
                  <a:lnTo>
                    <a:pt x="5630" y="1015"/>
                  </a:lnTo>
                  <a:lnTo>
                    <a:pt x="5652" y="1018"/>
                  </a:lnTo>
                  <a:lnTo>
                    <a:pt x="5677" y="1018"/>
                  </a:lnTo>
                  <a:lnTo>
                    <a:pt x="5705" y="1015"/>
                  </a:lnTo>
                  <a:lnTo>
                    <a:pt x="5727" y="1015"/>
                  </a:lnTo>
                  <a:lnTo>
                    <a:pt x="5752" y="1027"/>
                  </a:lnTo>
                  <a:lnTo>
                    <a:pt x="5780" y="1049"/>
                  </a:lnTo>
                  <a:lnTo>
                    <a:pt x="5808" y="1068"/>
                  </a:lnTo>
                  <a:lnTo>
                    <a:pt x="5830" y="1083"/>
                  </a:lnTo>
                  <a:lnTo>
                    <a:pt x="5840" y="1086"/>
                  </a:lnTo>
                  <a:lnTo>
                    <a:pt x="5852" y="1093"/>
                  </a:lnTo>
                  <a:lnTo>
                    <a:pt x="5840" y="1124"/>
                  </a:lnTo>
                  <a:lnTo>
                    <a:pt x="5824" y="1155"/>
                  </a:lnTo>
                  <a:lnTo>
                    <a:pt x="5815" y="1180"/>
                  </a:lnTo>
                  <a:lnTo>
                    <a:pt x="5812" y="1214"/>
                  </a:lnTo>
                  <a:lnTo>
                    <a:pt x="5812" y="1255"/>
                  </a:lnTo>
                  <a:lnTo>
                    <a:pt x="5812" y="1296"/>
                  </a:lnTo>
                  <a:lnTo>
                    <a:pt x="5815" y="1330"/>
                  </a:lnTo>
                  <a:lnTo>
                    <a:pt x="5824" y="1355"/>
                  </a:lnTo>
                  <a:lnTo>
                    <a:pt x="5837" y="1386"/>
                  </a:lnTo>
                  <a:lnTo>
                    <a:pt x="5846" y="1411"/>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47" name="Freeform 23">
              <a:extLst>
                <a:ext uri="{FF2B5EF4-FFF2-40B4-BE49-F238E27FC236}">
                  <a16:creationId xmlns:a16="http://schemas.microsoft.com/office/drawing/2014/main" id="{F034B8A5-803A-42B3-B67D-074E9EEE1E37}"/>
                </a:ext>
              </a:extLst>
            </p:cNvPr>
            <p:cNvSpPr>
              <a:spLocks/>
            </p:cNvSpPr>
            <p:nvPr/>
          </p:nvSpPr>
          <p:spPr bwMode="auto">
            <a:xfrm>
              <a:off x="19037301" y="-17900650"/>
              <a:ext cx="6435725" cy="4268788"/>
            </a:xfrm>
            <a:custGeom>
              <a:avLst/>
              <a:gdLst>
                <a:gd name="T0" fmla="*/ 3951 w 4054"/>
                <a:gd name="T1" fmla="*/ 2068 h 2689"/>
                <a:gd name="T2" fmla="*/ 3913 w 4054"/>
                <a:gd name="T3" fmla="*/ 2239 h 2689"/>
                <a:gd name="T4" fmla="*/ 3979 w 4054"/>
                <a:gd name="T5" fmla="*/ 2320 h 2689"/>
                <a:gd name="T6" fmla="*/ 4032 w 4054"/>
                <a:gd name="T7" fmla="*/ 2417 h 2689"/>
                <a:gd name="T8" fmla="*/ 3935 w 4054"/>
                <a:gd name="T9" fmla="*/ 2511 h 2689"/>
                <a:gd name="T10" fmla="*/ 3957 w 4054"/>
                <a:gd name="T11" fmla="*/ 2680 h 2689"/>
                <a:gd name="T12" fmla="*/ 3729 w 4054"/>
                <a:gd name="T13" fmla="*/ 2580 h 2689"/>
                <a:gd name="T14" fmla="*/ 3541 w 4054"/>
                <a:gd name="T15" fmla="*/ 2558 h 2689"/>
                <a:gd name="T16" fmla="*/ 3354 w 4054"/>
                <a:gd name="T17" fmla="*/ 2483 h 2689"/>
                <a:gd name="T18" fmla="*/ 3051 w 4054"/>
                <a:gd name="T19" fmla="*/ 2520 h 2689"/>
                <a:gd name="T20" fmla="*/ 2920 w 4054"/>
                <a:gd name="T21" fmla="*/ 2617 h 2689"/>
                <a:gd name="T22" fmla="*/ 2745 w 4054"/>
                <a:gd name="T23" fmla="*/ 2598 h 2689"/>
                <a:gd name="T24" fmla="*/ 2533 w 4054"/>
                <a:gd name="T25" fmla="*/ 2561 h 2689"/>
                <a:gd name="T26" fmla="*/ 2274 w 4054"/>
                <a:gd name="T27" fmla="*/ 2473 h 2689"/>
                <a:gd name="T28" fmla="*/ 2136 w 4054"/>
                <a:gd name="T29" fmla="*/ 2558 h 2689"/>
                <a:gd name="T30" fmla="*/ 1993 w 4054"/>
                <a:gd name="T31" fmla="*/ 2605 h 2689"/>
                <a:gd name="T32" fmla="*/ 1936 w 4054"/>
                <a:gd name="T33" fmla="*/ 2467 h 2689"/>
                <a:gd name="T34" fmla="*/ 1846 w 4054"/>
                <a:gd name="T35" fmla="*/ 2533 h 2689"/>
                <a:gd name="T36" fmla="*/ 1824 w 4054"/>
                <a:gd name="T37" fmla="*/ 2445 h 2689"/>
                <a:gd name="T38" fmla="*/ 1727 w 4054"/>
                <a:gd name="T39" fmla="*/ 2361 h 2689"/>
                <a:gd name="T40" fmla="*/ 1637 w 4054"/>
                <a:gd name="T41" fmla="*/ 2408 h 2689"/>
                <a:gd name="T42" fmla="*/ 1452 w 4054"/>
                <a:gd name="T43" fmla="*/ 2339 h 2689"/>
                <a:gd name="T44" fmla="*/ 1296 w 4054"/>
                <a:gd name="T45" fmla="*/ 2433 h 2689"/>
                <a:gd name="T46" fmla="*/ 1296 w 4054"/>
                <a:gd name="T47" fmla="*/ 2258 h 2689"/>
                <a:gd name="T48" fmla="*/ 1374 w 4054"/>
                <a:gd name="T49" fmla="*/ 2189 h 2689"/>
                <a:gd name="T50" fmla="*/ 1203 w 4054"/>
                <a:gd name="T51" fmla="*/ 2102 h 2689"/>
                <a:gd name="T52" fmla="*/ 937 w 4054"/>
                <a:gd name="T53" fmla="*/ 2133 h 2689"/>
                <a:gd name="T54" fmla="*/ 747 w 4054"/>
                <a:gd name="T55" fmla="*/ 2071 h 2689"/>
                <a:gd name="T56" fmla="*/ 650 w 4054"/>
                <a:gd name="T57" fmla="*/ 1918 h 2689"/>
                <a:gd name="T58" fmla="*/ 553 w 4054"/>
                <a:gd name="T59" fmla="*/ 1939 h 2689"/>
                <a:gd name="T60" fmla="*/ 425 w 4054"/>
                <a:gd name="T61" fmla="*/ 1780 h 2689"/>
                <a:gd name="T62" fmla="*/ 222 w 4054"/>
                <a:gd name="T63" fmla="*/ 1827 h 2689"/>
                <a:gd name="T64" fmla="*/ 44 w 4054"/>
                <a:gd name="T65" fmla="*/ 1733 h 2689"/>
                <a:gd name="T66" fmla="*/ 32 w 4054"/>
                <a:gd name="T67" fmla="*/ 1499 h 2689"/>
                <a:gd name="T68" fmla="*/ 41 w 4054"/>
                <a:gd name="T69" fmla="*/ 1231 h 2689"/>
                <a:gd name="T70" fmla="*/ 32 w 4054"/>
                <a:gd name="T71" fmla="*/ 853 h 2689"/>
                <a:gd name="T72" fmla="*/ 66 w 4054"/>
                <a:gd name="T73" fmla="*/ 556 h 2689"/>
                <a:gd name="T74" fmla="*/ 281 w 4054"/>
                <a:gd name="T75" fmla="*/ 372 h 2689"/>
                <a:gd name="T76" fmla="*/ 665 w 4054"/>
                <a:gd name="T77" fmla="*/ 244 h 2689"/>
                <a:gd name="T78" fmla="*/ 1143 w 4054"/>
                <a:gd name="T79" fmla="*/ 125 h 2689"/>
                <a:gd name="T80" fmla="*/ 1474 w 4054"/>
                <a:gd name="T81" fmla="*/ 0 h 2689"/>
                <a:gd name="T82" fmla="*/ 1555 w 4054"/>
                <a:gd name="T83" fmla="*/ 228 h 2689"/>
                <a:gd name="T84" fmla="*/ 1587 w 4054"/>
                <a:gd name="T85" fmla="*/ 525 h 2689"/>
                <a:gd name="T86" fmla="*/ 1740 w 4054"/>
                <a:gd name="T87" fmla="*/ 712 h 2689"/>
                <a:gd name="T88" fmla="*/ 1852 w 4054"/>
                <a:gd name="T89" fmla="*/ 843 h 2689"/>
                <a:gd name="T90" fmla="*/ 2036 w 4054"/>
                <a:gd name="T91" fmla="*/ 903 h 2689"/>
                <a:gd name="T92" fmla="*/ 2296 w 4054"/>
                <a:gd name="T93" fmla="*/ 731 h 2689"/>
                <a:gd name="T94" fmla="*/ 2480 w 4054"/>
                <a:gd name="T95" fmla="*/ 900 h 2689"/>
                <a:gd name="T96" fmla="*/ 2552 w 4054"/>
                <a:gd name="T97" fmla="*/ 1031 h 2689"/>
                <a:gd name="T98" fmla="*/ 2614 w 4054"/>
                <a:gd name="T99" fmla="*/ 1331 h 2689"/>
                <a:gd name="T100" fmla="*/ 2833 w 4054"/>
                <a:gd name="T101" fmla="*/ 1384 h 2689"/>
                <a:gd name="T102" fmla="*/ 2995 w 4054"/>
                <a:gd name="T103" fmla="*/ 1406 h 2689"/>
                <a:gd name="T104" fmla="*/ 3201 w 4054"/>
                <a:gd name="T105" fmla="*/ 1559 h 2689"/>
                <a:gd name="T106" fmla="*/ 3182 w 4054"/>
                <a:gd name="T107" fmla="*/ 1849 h 2689"/>
                <a:gd name="T108" fmla="*/ 3298 w 4054"/>
                <a:gd name="T109" fmla="*/ 1746 h 2689"/>
                <a:gd name="T110" fmla="*/ 3457 w 4054"/>
                <a:gd name="T111" fmla="*/ 1771 h 2689"/>
                <a:gd name="T112" fmla="*/ 3601 w 4054"/>
                <a:gd name="T113" fmla="*/ 1827 h 2689"/>
                <a:gd name="T114" fmla="*/ 3779 w 4054"/>
                <a:gd name="T115" fmla="*/ 1771 h 2689"/>
                <a:gd name="T116" fmla="*/ 3891 w 4054"/>
                <a:gd name="T117" fmla="*/ 1921 h 2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54" h="2689">
                  <a:moveTo>
                    <a:pt x="4047" y="1943"/>
                  </a:moveTo>
                  <a:lnTo>
                    <a:pt x="4054" y="1961"/>
                  </a:lnTo>
                  <a:lnTo>
                    <a:pt x="4054" y="1986"/>
                  </a:lnTo>
                  <a:lnTo>
                    <a:pt x="4050" y="2008"/>
                  </a:lnTo>
                  <a:lnTo>
                    <a:pt x="4044" y="2018"/>
                  </a:lnTo>
                  <a:lnTo>
                    <a:pt x="4035" y="2027"/>
                  </a:lnTo>
                  <a:lnTo>
                    <a:pt x="4026" y="2036"/>
                  </a:lnTo>
                  <a:lnTo>
                    <a:pt x="4013" y="2043"/>
                  </a:lnTo>
                  <a:lnTo>
                    <a:pt x="4007" y="2049"/>
                  </a:lnTo>
                  <a:lnTo>
                    <a:pt x="3988" y="2055"/>
                  </a:lnTo>
                  <a:lnTo>
                    <a:pt x="3966" y="2058"/>
                  </a:lnTo>
                  <a:lnTo>
                    <a:pt x="3951" y="2068"/>
                  </a:lnTo>
                  <a:lnTo>
                    <a:pt x="3947" y="2083"/>
                  </a:lnTo>
                  <a:lnTo>
                    <a:pt x="3947" y="2102"/>
                  </a:lnTo>
                  <a:lnTo>
                    <a:pt x="3951" y="2124"/>
                  </a:lnTo>
                  <a:lnTo>
                    <a:pt x="3951" y="2139"/>
                  </a:lnTo>
                  <a:lnTo>
                    <a:pt x="3947" y="2149"/>
                  </a:lnTo>
                  <a:lnTo>
                    <a:pt x="3941" y="2155"/>
                  </a:lnTo>
                  <a:lnTo>
                    <a:pt x="3932" y="2164"/>
                  </a:lnTo>
                  <a:lnTo>
                    <a:pt x="3926" y="2174"/>
                  </a:lnTo>
                  <a:lnTo>
                    <a:pt x="3919" y="2183"/>
                  </a:lnTo>
                  <a:lnTo>
                    <a:pt x="3916" y="2189"/>
                  </a:lnTo>
                  <a:lnTo>
                    <a:pt x="3913" y="2211"/>
                  </a:lnTo>
                  <a:lnTo>
                    <a:pt x="3913" y="2239"/>
                  </a:lnTo>
                  <a:lnTo>
                    <a:pt x="3916" y="2267"/>
                  </a:lnTo>
                  <a:lnTo>
                    <a:pt x="3922" y="2289"/>
                  </a:lnTo>
                  <a:lnTo>
                    <a:pt x="3929" y="2292"/>
                  </a:lnTo>
                  <a:lnTo>
                    <a:pt x="3935" y="2292"/>
                  </a:lnTo>
                  <a:lnTo>
                    <a:pt x="3944" y="2295"/>
                  </a:lnTo>
                  <a:lnTo>
                    <a:pt x="3951" y="2295"/>
                  </a:lnTo>
                  <a:lnTo>
                    <a:pt x="3960" y="2295"/>
                  </a:lnTo>
                  <a:lnTo>
                    <a:pt x="3966" y="2299"/>
                  </a:lnTo>
                  <a:lnTo>
                    <a:pt x="3972" y="2302"/>
                  </a:lnTo>
                  <a:lnTo>
                    <a:pt x="3976" y="2305"/>
                  </a:lnTo>
                  <a:lnTo>
                    <a:pt x="3979" y="2314"/>
                  </a:lnTo>
                  <a:lnTo>
                    <a:pt x="3979" y="2320"/>
                  </a:lnTo>
                  <a:lnTo>
                    <a:pt x="3979" y="2330"/>
                  </a:lnTo>
                  <a:lnTo>
                    <a:pt x="3982" y="2336"/>
                  </a:lnTo>
                  <a:lnTo>
                    <a:pt x="3985" y="2342"/>
                  </a:lnTo>
                  <a:lnTo>
                    <a:pt x="3997" y="2352"/>
                  </a:lnTo>
                  <a:lnTo>
                    <a:pt x="4016" y="2361"/>
                  </a:lnTo>
                  <a:lnTo>
                    <a:pt x="4032" y="2370"/>
                  </a:lnTo>
                  <a:lnTo>
                    <a:pt x="4041" y="2383"/>
                  </a:lnTo>
                  <a:lnTo>
                    <a:pt x="4041" y="2389"/>
                  </a:lnTo>
                  <a:lnTo>
                    <a:pt x="4041" y="2395"/>
                  </a:lnTo>
                  <a:lnTo>
                    <a:pt x="4038" y="2405"/>
                  </a:lnTo>
                  <a:lnTo>
                    <a:pt x="4035" y="2411"/>
                  </a:lnTo>
                  <a:lnTo>
                    <a:pt x="4032" y="2417"/>
                  </a:lnTo>
                  <a:lnTo>
                    <a:pt x="4026" y="2423"/>
                  </a:lnTo>
                  <a:lnTo>
                    <a:pt x="4013" y="2433"/>
                  </a:lnTo>
                  <a:lnTo>
                    <a:pt x="3991" y="2439"/>
                  </a:lnTo>
                  <a:lnTo>
                    <a:pt x="3969" y="2445"/>
                  </a:lnTo>
                  <a:lnTo>
                    <a:pt x="3947" y="2452"/>
                  </a:lnTo>
                  <a:lnTo>
                    <a:pt x="3935" y="2461"/>
                  </a:lnTo>
                  <a:lnTo>
                    <a:pt x="3932" y="2467"/>
                  </a:lnTo>
                  <a:lnTo>
                    <a:pt x="3932" y="2477"/>
                  </a:lnTo>
                  <a:lnTo>
                    <a:pt x="3932" y="2486"/>
                  </a:lnTo>
                  <a:lnTo>
                    <a:pt x="3932" y="2495"/>
                  </a:lnTo>
                  <a:lnTo>
                    <a:pt x="3935" y="2505"/>
                  </a:lnTo>
                  <a:lnTo>
                    <a:pt x="3935" y="2511"/>
                  </a:lnTo>
                  <a:lnTo>
                    <a:pt x="3938" y="2536"/>
                  </a:lnTo>
                  <a:lnTo>
                    <a:pt x="3941" y="2561"/>
                  </a:lnTo>
                  <a:lnTo>
                    <a:pt x="3947" y="2586"/>
                  </a:lnTo>
                  <a:lnTo>
                    <a:pt x="3947" y="2601"/>
                  </a:lnTo>
                  <a:lnTo>
                    <a:pt x="3951" y="2623"/>
                  </a:lnTo>
                  <a:lnTo>
                    <a:pt x="3957" y="2639"/>
                  </a:lnTo>
                  <a:lnTo>
                    <a:pt x="3963" y="2645"/>
                  </a:lnTo>
                  <a:lnTo>
                    <a:pt x="3972" y="2651"/>
                  </a:lnTo>
                  <a:lnTo>
                    <a:pt x="3982" y="2655"/>
                  </a:lnTo>
                  <a:lnTo>
                    <a:pt x="3976" y="2664"/>
                  </a:lnTo>
                  <a:lnTo>
                    <a:pt x="3966" y="2673"/>
                  </a:lnTo>
                  <a:lnTo>
                    <a:pt x="3957" y="2680"/>
                  </a:lnTo>
                  <a:lnTo>
                    <a:pt x="3947" y="2686"/>
                  </a:lnTo>
                  <a:lnTo>
                    <a:pt x="3926" y="2689"/>
                  </a:lnTo>
                  <a:lnTo>
                    <a:pt x="3894" y="2686"/>
                  </a:lnTo>
                  <a:lnTo>
                    <a:pt x="3873" y="2686"/>
                  </a:lnTo>
                  <a:lnTo>
                    <a:pt x="3844" y="2683"/>
                  </a:lnTo>
                  <a:lnTo>
                    <a:pt x="3810" y="2680"/>
                  </a:lnTo>
                  <a:lnTo>
                    <a:pt x="3779" y="2670"/>
                  </a:lnTo>
                  <a:lnTo>
                    <a:pt x="3757" y="2661"/>
                  </a:lnTo>
                  <a:lnTo>
                    <a:pt x="3748" y="2642"/>
                  </a:lnTo>
                  <a:lnTo>
                    <a:pt x="3741" y="2620"/>
                  </a:lnTo>
                  <a:lnTo>
                    <a:pt x="3735" y="2598"/>
                  </a:lnTo>
                  <a:lnTo>
                    <a:pt x="3729" y="2580"/>
                  </a:lnTo>
                  <a:lnTo>
                    <a:pt x="3716" y="2558"/>
                  </a:lnTo>
                  <a:lnTo>
                    <a:pt x="3698" y="2536"/>
                  </a:lnTo>
                  <a:lnTo>
                    <a:pt x="3679" y="2520"/>
                  </a:lnTo>
                  <a:lnTo>
                    <a:pt x="3660" y="2517"/>
                  </a:lnTo>
                  <a:lnTo>
                    <a:pt x="3638" y="2517"/>
                  </a:lnTo>
                  <a:lnTo>
                    <a:pt x="3620" y="2520"/>
                  </a:lnTo>
                  <a:lnTo>
                    <a:pt x="3604" y="2530"/>
                  </a:lnTo>
                  <a:lnTo>
                    <a:pt x="3585" y="2548"/>
                  </a:lnTo>
                  <a:lnTo>
                    <a:pt x="3566" y="2558"/>
                  </a:lnTo>
                  <a:lnTo>
                    <a:pt x="3560" y="2558"/>
                  </a:lnTo>
                  <a:lnTo>
                    <a:pt x="3551" y="2558"/>
                  </a:lnTo>
                  <a:lnTo>
                    <a:pt x="3541" y="2558"/>
                  </a:lnTo>
                  <a:lnTo>
                    <a:pt x="3535" y="2555"/>
                  </a:lnTo>
                  <a:lnTo>
                    <a:pt x="3529" y="2552"/>
                  </a:lnTo>
                  <a:lnTo>
                    <a:pt x="3520" y="2548"/>
                  </a:lnTo>
                  <a:lnTo>
                    <a:pt x="3510" y="2539"/>
                  </a:lnTo>
                  <a:lnTo>
                    <a:pt x="3501" y="2533"/>
                  </a:lnTo>
                  <a:lnTo>
                    <a:pt x="3492" y="2523"/>
                  </a:lnTo>
                  <a:lnTo>
                    <a:pt x="3485" y="2520"/>
                  </a:lnTo>
                  <a:lnTo>
                    <a:pt x="3460" y="2511"/>
                  </a:lnTo>
                  <a:lnTo>
                    <a:pt x="3432" y="2498"/>
                  </a:lnTo>
                  <a:lnTo>
                    <a:pt x="3404" y="2489"/>
                  </a:lnTo>
                  <a:lnTo>
                    <a:pt x="3379" y="2486"/>
                  </a:lnTo>
                  <a:lnTo>
                    <a:pt x="3354" y="2483"/>
                  </a:lnTo>
                  <a:lnTo>
                    <a:pt x="3326" y="2480"/>
                  </a:lnTo>
                  <a:lnTo>
                    <a:pt x="3295" y="2480"/>
                  </a:lnTo>
                  <a:lnTo>
                    <a:pt x="3270" y="2486"/>
                  </a:lnTo>
                  <a:lnTo>
                    <a:pt x="3251" y="2495"/>
                  </a:lnTo>
                  <a:lnTo>
                    <a:pt x="3232" y="2508"/>
                  </a:lnTo>
                  <a:lnTo>
                    <a:pt x="3217" y="2520"/>
                  </a:lnTo>
                  <a:lnTo>
                    <a:pt x="3189" y="2530"/>
                  </a:lnTo>
                  <a:lnTo>
                    <a:pt x="3154" y="2536"/>
                  </a:lnTo>
                  <a:lnTo>
                    <a:pt x="3126" y="2542"/>
                  </a:lnTo>
                  <a:lnTo>
                    <a:pt x="3104" y="2536"/>
                  </a:lnTo>
                  <a:lnTo>
                    <a:pt x="3076" y="2530"/>
                  </a:lnTo>
                  <a:lnTo>
                    <a:pt x="3051" y="2520"/>
                  </a:lnTo>
                  <a:lnTo>
                    <a:pt x="3029" y="2517"/>
                  </a:lnTo>
                  <a:lnTo>
                    <a:pt x="3011" y="2514"/>
                  </a:lnTo>
                  <a:lnTo>
                    <a:pt x="2989" y="2514"/>
                  </a:lnTo>
                  <a:lnTo>
                    <a:pt x="2967" y="2514"/>
                  </a:lnTo>
                  <a:lnTo>
                    <a:pt x="2951" y="2520"/>
                  </a:lnTo>
                  <a:lnTo>
                    <a:pt x="2948" y="2536"/>
                  </a:lnTo>
                  <a:lnTo>
                    <a:pt x="2948" y="2555"/>
                  </a:lnTo>
                  <a:lnTo>
                    <a:pt x="2954" y="2576"/>
                  </a:lnTo>
                  <a:lnTo>
                    <a:pt x="2954" y="2595"/>
                  </a:lnTo>
                  <a:lnTo>
                    <a:pt x="2951" y="2611"/>
                  </a:lnTo>
                  <a:lnTo>
                    <a:pt x="2939" y="2614"/>
                  </a:lnTo>
                  <a:lnTo>
                    <a:pt x="2920" y="2617"/>
                  </a:lnTo>
                  <a:lnTo>
                    <a:pt x="2898" y="2614"/>
                  </a:lnTo>
                  <a:lnTo>
                    <a:pt x="2886" y="2611"/>
                  </a:lnTo>
                  <a:lnTo>
                    <a:pt x="2864" y="2595"/>
                  </a:lnTo>
                  <a:lnTo>
                    <a:pt x="2842" y="2576"/>
                  </a:lnTo>
                  <a:lnTo>
                    <a:pt x="2823" y="2561"/>
                  </a:lnTo>
                  <a:lnTo>
                    <a:pt x="2811" y="2555"/>
                  </a:lnTo>
                  <a:lnTo>
                    <a:pt x="2795" y="2548"/>
                  </a:lnTo>
                  <a:lnTo>
                    <a:pt x="2780" y="2545"/>
                  </a:lnTo>
                  <a:lnTo>
                    <a:pt x="2764" y="2545"/>
                  </a:lnTo>
                  <a:lnTo>
                    <a:pt x="2758" y="2558"/>
                  </a:lnTo>
                  <a:lnTo>
                    <a:pt x="2751" y="2576"/>
                  </a:lnTo>
                  <a:lnTo>
                    <a:pt x="2745" y="2598"/>
                  </a:lnTo>
                  <a:lnTo>
                    <a:pt x="2739" y="2611"/>
                  </a:lnTo>
                  <a:lnTo>
                    <a:pt x="2720" y="2614"/>
                  </a:lnTo>
                  <a:lnTo>
                    <a:pt x="2698" y="2614"/>
                  </a:lnTo>
                  <a:lnTo>
                    <a:pt x="2677" y="2611"/>
                  </a:lnTo>
                  <a:lnTo>
                    <a:pt x="2658" y="2608"/>
                  </a:lnTo>
                  <a:lnTo>
                    <a:pt x="2642" y="2598"/>
                  </a:lnTo>
                  <a:lnTo>
                    <a:pt x="2620" y="2586"/>
                  </a:lnTo>
                  <a:lnTo>
                    <a:pt x="2602" y="2570"/>
                  </a:lnTo>
                  <a:lnTo>
                    <a:pt x="2586" y="2561"/>
                  </a:lnTo>
                  <a:lnTo>
                    <a:pt x="2570" y="2558"/>
                  </a:lnTo>
                  <a:lnTo>
                    <a:pt x="2548" y="2558"/>
                  </a:lnTo>
                  <a:lnTo>
                    <a:pt x="2533" y="2561"/>
                  </a:lnTo>
                  <a:lnTo>
                    <a:pt x="2514" y="2564"/>
                  </a:lnTo>
                  <a:lnTo>
                    <a:pt x="2489" y="2573"/>
                  </a:lnTo>
                  <a:lnTo>
                    <a:pt x="2467" y="2580"/>
                  </a:lnTo>
                  <a:lnTo>
                    <a:pt x="2449" y="2586"/>
                  </a:lnTo>
                  <a:lnTo>
                    <a:pt x="2427" y="2583"/>
                  </a:lnTo>
                  <a:lnTo>
                    <a:pt x="2402" y="2576"/>
                  </a:lnTo>
                  <a:lnTo>
                    <a:pt x="2380" y="2570"/>
                  </a:lnTo>
                  <a:lnTo>
                    <a:pt x="2358" y="2552"/>
                  </a:lnTo>
                  <a:lnTo>
                    <a:pt x="2336" y="2530"/>
                  </a:lnTo>
                  <a:lnTo>
                    <a:pt x="2311" y="2505"/>
                  </a:lnTo>
                  <a:lnTo>
                    <a:pt x="2292" y="2486"/>
                  </a:lnTo>
                  <a:lnTo>
                    <a:pt x="2274" y="2473"/>
                  </a:lnTo>
                  <a:lnTo>
                    <a:pt x="2252" y="2461"/>
                  </a:lnTo>
                  <a:lnTo>
                    <a:pt x="2230" y="2452"/>
                  </a:lnTo>
                  <a:lnTo>
                    <a:pt x="2208" y="2445"/>
                  </a:lnTo>
                  <a:lnTo>
                    <a:pt x="2189" y="2448"/>
                  </a:lnTo>
                  <a:lnTo>
                    <a:pt x="2164" y="2452"/>
                  </a:lnTo>
                  <a:lnTo>
                    <a:pt x="2149" y="2461"/>
                  </a:lnTo>
                  <a:lnTo>
                    <a:pt x="2146" y="2480"/>
                  </a:lnTo>
                  <a:lnTo>
                    <a:pt x="2146" y="2502"/>
                  </a:lnTo>
                  <a:lnTo>
                    <a:pt x="2149" y="2523"/>
                  </a:lnTo>
                  <a:lnTo>
                    <a:pt x="2149" y="2542"/>
                  </a:lnTo>
                  <a:lnTo>
                    <a:pt x="2143" y="2548"/>
                  </a:lnTo>
                  <a:lnTo>
                    <a:pt x="2136" y="2558"/>
                  </a:lnTo>
                  <a:lnTo>
                    <a:pt x="2124" y="2567"/>
                  </a:lnTo>
                  <a:lnTo>
                    <a:pt x="2114" y="2573"/>
                  </a:lnTo>
                  <a:lnTo>
                    <a:pt x="2105" y="2580"/>
                  </a:lnTo>
                  <a:lnTo>
                    <a:pt x="2089" y="2583"/>
                  </a:lnTo>
                  <a:lnTo>
                    <a:pt x="2068" y="2580"/>
                  </a:lnTo>
                  <a:lnTo>
                    <a:pt x="2046" y="2576"/>
                  </a:lnTo>
                  <a:lnTo>
                    <a:pt x="2027" y="2580"/>
                  </a:lnTo>
                  <a:lnTo>
                    <a:pt x="2021" y="2583"/>
                  </a:lnTo>
                  <a:lnTo>
                    <a:pt x="2014" y="2586"/>
                  </a:lnTo>
                  <a:lnTo>
                    <a:pt x="2008" y="2592"/>
                  </a:lnTo>
                  <a:lnTo>
                    <a:pt x="1999" y="2598"/>
                  </a:lnTo>
                  <a:lnTo>
                    <a:pt x="1993" y="2605"/>
                  </a:lnTo>
                  <a:lnTo>
                    <a:pt x="1986" y="2608"/>
                  </a:lnTo>
                  <a:lnTo>
                    <a:pt x="1980" y="2605"/>
                  </a:lnTo>
                  <a:lnTo>
                    <a:pt x="1971" y="2595"/>
                  </a:lnTo>
                  <a:lnTo>
                    <a:pt x="1968" y="2580"/>
                  </a:lnTo>
                  <a:lnTo>
                    <a:pt x="1968" y="2561"/>
                  </a:lnTo>
                  <a:lnTo>
                    <a:pt x="1968" y="2545"/>
                  </a:lnTo>
                  <a:lnTo>
                    <a:pt x="1965" y="2527"/>
                  </a:lnTo>
                  <a:lnTo>
                    <a:pt x="1965" y="2508"/>
                  </a:lnTo>
                  <a:lnTo>
                    <a:pt x="1961" y="2486"/>
                  </a:lnTo>
                  <a:lnTo>
                    <a:pt x="1952" y="2473"/>
                  </a:lnTo>
                  <a:lnTo>
                    <a:pt x="1946" y="2470"/>
                  </a:lnTo>
                  <a:lnTo>
                    <a:pt x="1936" y="2467"/>
                  </a:lnTo>
                  <a:lnTo>
                    <a:pt x="1927" y="2470"/>
                  </a:lnTo>
                  <a:lnTo>
                    <a:pt x="1915" y="2470"/>
                  </a:lnTo>
                  <a:lnTo>
                    <a:pt x="1908" y="2473"/>
                  </a:lnTo>
                  <a:lnTo>
                    <a:pt x="1905" y="2480"/>
                  </a:lnTo>
                  <a:lnTo>
                    <a:pt x="1902" y="2486"/>
                  </a:lnTo>
                  <a:lnTo>
                    <a:pt x="1902" y="2495"/>
                  </a:lnTo>
                  <a:lnTo>
                    <a:pt x="1899" y="2502"/>
                  </a:lnTo>
                  <a:lnTo>
                    <a:pt x="1896" y="2511"/>
                  </a:lnTo>
                  <a:lnTo>
                    <a:pt x="1893" y="2517"/>
                  </a:lnTo>
                  <a:lnTo>
                    <a:pt x="1880" y="2523"/>
                  </a:lnTo>
                  <a:lnTo>
                    <a:pt x="1865" y="2530"/>
                  </a:lnTo>
                  <a:lnTo>
                    <a:pt x="1846" y="2533"/>
                  </a:lnTo>
                  <a:lnTo>
                    <a:pt x="1833" y="2530"/>
                  </a:lnTo>
                  <a:lnTo>
                    <a:pt x="1827" y="2527"/>
                  </a:lnTo>
                  <a:lnTo>
                    <a:pt x="1824" y="2520"/>
                  </a:lnTo>
                  <a:lnTo>
                    <a:pt x="1821" y="2511"/>
                  </a:lnTo>
                  <a:lnTo>
                    <a:pt x="1818" y="2502"/>
                  </a:lnTo>
                  <a:lnTo>
                    <a:pt x="1815" y="2492"/>
                  </a:lnTo>
                  <a:lnTo>
                    <a:pt x="1815" y="2486"/>
                  </a:lnTo>
                  <a:lnTo>
                    <a:pt x="1815" y="2480"/>
                  </a:lnTo>
                  <a:lnTo>
                    <a:pt x="1818" y="2470"/>
                  </a:lnTo>
                  <a:lnTo>
                    <a:pt x="1821" y="2461"/>
                  </a:lnTo>
                  <a:lnTo>
                    <a:pt x="1821" y="2455"/>
                  </a:lnTo>
                  <a:lnTo>
                    <a:pt x="1824" y="2445"/>
                  </a:lnTo>
                  <a:lnTo>
                    <a:pt x="1824" y="2423"/>
                  </a:lnTo>
                  <a:lnTo>
                    <a:pt x="1821" y="2395"/>
                  </a:lnTo>
                  <a:lnTo>
                    <a:pt x="1815" y="2374"/>
                  </a:lnTo>
                  <a:lnTo>
                    <a:pt x="1805" y="2361"/>
                  </a:lnTo>
                  <a:lnTo>
                    <a:pt x="1790" y="2349"/>
                  </a:lnTo>
                  <a:lnTo>
                    <a:pt x="1774" y="2336"/>
                  </a:lnTo>
                  <a:lnTo>
                    <a:pt x="1758" y="2333"/>
                  </a:lnTo>
                  <a:lnTo>
                    <a:pt x="1752" y="2336"/>
                  </a:lnTo>
                  <a:lnTo>
                    <a:pt x="1746" y="2342"/>
                  </a:lnTo>
                  <a:lnTo>
                    <a:pt x="1740" y="2349"/>
                  </a:lnTo>
                  <a:lnTo>
                    <a:pt x="1733" y="2355"/>
                  </a:lnTo>
                  <a:lnTo>
                    <a:pt x="1727" y="2361"/>
                  </a:lnTo>
                  <a:lnTo>
                    <a:pt x="1727" y="2380"/>
                  </a:lnTo>
                  <a:lnTo>
                    <a:pt x="1730" y="2402"/>
                  </a:lnTo>
                  <a:lnTo>
                    <a:pt x="1733" y="2423"/>
                  </a:lnTo>
                  <a:lnTo>
                    <a:pt x="1733" y="2445"/>
                  </a:lnTo>
                  <a:lnTo>
                    <a:pt x="1727" y="2461"/>
                  </a:lnTo>
                  <a:lnTo>
                    <a:pt x="1715" y="2464"/>
                  </a:lnTo>
                  <a:lnTo>
                    <a:pt x="1699" y="2464"/>
                  </a:lnTo>
                  <a:lnTo>
                    <a:pt x="1680" y="2461"/>
                  </a:lnTo>
                  <a:lnTo>
                    <a:pt x="1668" y="2458"/>
                  </a:lnTo>
                  <a:lnTo>
                    <a:pt x="1655" y="2445"/>
                  </a:lnTo>
                  <a:lnTo>
                    <a:pt x="1646" y="2427"/>
                  </a:lnTo>
                  <a:lnTo>
                    <a:pt x="1637" y="2408"/>
                  </a:lnTo>
                  <a:lnTo>
                    <a:pt x="1624" y="2392"/>
                  </a:lnTo>
                  <a:lnTo>
                    <a:pt x="1618" y="2389"/>
                  </a:lnTo>
                  <a:lnTo>
                    <a:pt x="1609" y="2386"/>
                  </a:lnTo>
                  <a:lnTo>
                    <a:pt x="1599" y="2386"/>
                  </a:lnTo>
                  <a:lnTo>
                    <a:pt x="1590" y="2383"/>
                  </a:lnTo>
                  <a:lnTo>
                    <a:pt x="1580" y="2380"/>
                  </a:lnTo>
                  <a:lnTo>
                    <a:pt x="1565" y="2361"/>
                  </a:lnTo>
                  <a:lnTo>
                    <a:pt x="1549" y="2336"/>
                  </a:lnTo>
                  <a:lnTo>
                    <a:pt x="1530" y="2324"/>
                  </a:lnTo>
                  <a:lnTo>
                    <a:pt x="1509" y="2320"/>
                  </a:lnTo>
                  <a:lnTo>
                    <a:pt x="1481" y="2330"/>
                  </a:lnTo>
                  <a:lnTo>
                    <a:pt x="1452" y="2339"/>
                  </a:lnTo>
                  <a:lnTo>
                    <a:pt x="1427" y="2342"/>
                  </a:lnTo>
                  <a:lnTo>
                    <a:pt x="1409" y="2339"/>
                  </a:lnTo>
                  <a:lnTo>
                    <a:pt x="1387" y="2333"/>
                  </a:lnTo>
                  <a:lnTo>
                    <a:pt x="1365" y="2330"/>
                  </a:lnTo>
                  <a:lnTo>
                    <a:pt x="1349" y="2333"/>
                  </a:lnTo>
                  <a:lnTo>
                    <a:pt x="1343" y="2345"/>
                  </a:lnTo>
                  <a:lnTo>
                    <a:pt x="1340" y="2367"/>
                  </a:lnTo>
                  <a:lnTo>
                    <a:pt x="1340" y="2392"/>
                  </a:lnTo>
                  <a:lnTo>
                    <a:pt x="1340" y="2414"/>
                  </a:lnTo>
                  <a:lnTo>
                    <a:pt x="1334" y="2427"/>
                  </a:lnTo>
                  <a:lnTo>
                    <a:pt x="1318" y="2433"/>
                  </a:lnTo>
                  <a:lnTo>
                    <a:pt x="1296" y="2433"/>
                  </a:lnTo>
                  <a:lnTo>
                    <a:pt x="1278" y="2427"/>
                  </a:lnTo>
                  <a:lnTo>
                    <a:pt x="1259" y="2408"/>
                  </a:lnTo>
                  <a:lnTo>
                    <a:pt x="1246" y="2380"/>
                  </a:lnTo>
                  <a:lnTo>
                    <a:pt x="1237" y="2352"/>
                  </a:lnTo>
                  <a:lnTo>
                    <a:pt x="1234" y="2336"/>
                  </a:lnTo>
                  <a:lnTo>
                    <a:pt x="1231" y="2314"/>
                  </a:lnTo>
                  <a:lnTo>
                    <a:pt x="1231" y="2295"/>
                  </a:lnTo>
                  <a:lnTo>
                    <a:pt x="1237" y="2280"/>
                  </a:lnTo>
                  <a:lnTo>
                    <a:pt x="1249" y="2274"/>
                  </a:lnTo>
                  <a:lnTo>
                    <a:pt x="1265" y="2267"/>
                  </a:lnTo>
                  <a:lnTo>
                    <a:pt x="1284" y="2264"/>
                  </a:lnTo>
                  <a:lnTo>
                    <a:pt x="1296" y="2258"/>
                  </a:lnTo>
                  <a:lnTo>
                    <a:pt x="1303" y="2242"/>
                  </a:lnTo>
                  <a:lnTo>
                    <a:pt x="1309" y="2224"/>
                  </a:lnTo>
                  <a:lnTo>
                    <a:pt x="1312" y="2205"/>
                  </a:lnTo>
                  <a:lnTo>
                    <a:pt x="1321" y="2192"/>
                  </a:lnTo>
                  <a:lnTo>
                    <a:pt x="1324" y="2192"/>
                  </a:lnTo>
                  <a:lnTo>
                    <a:pt x="1334" y="2192"/>
                  </a:lnTo>
                  <a:lnTo>
                    <a:pt x="1340" y="2192"/>
                  </a:lnTo>
                  <a:lnTo>
                    <a:pt x="1349" y="2196"/>
                  </a:lnTo>
                  <a:lnTo>
                    <a:pt x="1359" y="2196"/>
                  </a:lnTo>
                  <a:lnTo>
                    <a:pt x="1365" y="2196"/>
                  </a:lnTo>
                  <a:lnTo>
                    <a:pt x="1371" y="2192"/>
                  </a:lnTo>
                  <a:lnTo>
                    <a:pt x="1374" y="2189"/>
                  </a:lnTo>
                  <a:lnTo>
                    <a:pt x="1374" y="2180"/>
                  </a:lnTo>
                  <a:lnTo>
                    <a:pt x="1377" y="2174"/>
                  </a:lnTo>
                  <a:lnTo>
                    <a:pt x="1374" y="2164"/>
                  </a:lnTo>
                  <a:lnTo>
                    <a:pt x="1374" y="2155"/>
                  </a:lnTo>
                  <a:lnTo>
                    <a:pt x="1371" y="2149"/>
                  </a:lnTo>
                  <a:lnTo>
                    <a:pt x="1359" y="2133"/>
                  </a:lnTo>
                  <a:lnTo>
                    <a:pt x="1337" y="2121"/>
                  </a:lnTo>
                  <a:lnTo>
                    <a:pt x="1312" y="2108"/>
                  </a:lnTo>
                  <a:lnTo>
                    <a:pt x="1293" y="2102"/>
                  </a:lnTo>
                  <a:lnTo>
                    <a:pt x="1265" y="2099"/>
                  </a:lnTo>
                  <a:lnTo>
                    <a:pt x="1231" y="2099"/>
                  </a:lnTo>
                  <a:lnTo>
                    <a:pt x="1203" y="2102"/>
                  </a:lnTo>
                  <a:lnTo>
                    <a:pt x="1184" y="2111"/>
                  </a:lnTo>
                  <a:lnTo>
                    <a:pt x="1162" y="2130"/>
                  </a:lnTo>
                  <a:lnTo>
                    <a:pt x="1143" y="2139"/>
                  </a:lnTo>
                  <a:lnTo>
                    <a:pt x="1121" y="2142"/>
                  </a:lnTo>
                  <a:lnTo>
                    <a:pt x="1100" y="2142"/>
                  </a:lnTo>
                  <a:lnTo>
                    <a:pt x="1078" y="2142"/>
                  </a:lnTo>
                  <a:lnTo>
                    <a:pt x="1056" y="2139"/>
                  </a:lnTo>
                  <a:lnTo>
                    <a:pt x="1028" y="2133"/>
                  </a:lnTo>
                  <a:lnTo>
                    <a:pt x="996" y="2127"/>
                  </a:lnTo>
                  <a:lnTo>
                    <a:pt x="975" y="2124"/>
                  </a:lnTo>
                  <a:lnTo>
                    <a:pt x="956" y="2127"/>
                  </a:lnTo>
                  <a:lnTo>
                    <a:pt x="937" y="2133"/>
                  </a:lnTo>
                  <a:lnTo>
                    <a:pt x="918" y="2139"/>
                  </a:lnTo>
                  <a:lnTo>
                    <a:pt x="900" y="2146"/>
                  </a:lnTo>
                  <a:lnTo>
                    <a:pt x="872" y="2155"/>
                  </a:lnTo>
                  <a:lnTo>
                    <a:pt x="847" y="2164"/>
                  </a:lnTo>
                  <a:lnTo>
                    <a:pt x="825" y="2171"/>
                  </a:lnTo>
                  <a:lnTo>
                    <a:pt x="812" y="2171"/>
                  </a:lnTo>
                  <a:lnTo>
                    <a:pt x="803" y="2164"/>
                  </a:lnTo>
                  <a:lnTo>
                    <a:pt x="790" y="2146"/>
                  </a:lnTo>
                  <a:lnTo>
                    <a:pt x="775" y="2127"/>
                  </a:lnTo>
                  <a:lnTo>
                    <a:pt x="762" y="2105"/>
                  </a:lnTo>
                  <a:lnTo>
                    <a:pt x="750" y="2089"/>
                  </a:lnTo>
                  <a:lnTo>
                    <a:pt x="747" y="2071"/>
                  </a:lnTo>
                  <a:lnTo>
                    <a:pt x="744" y="2046"/>
                  </a:lnTo>
                  <a:lnTo>
                    <a:pt x="740" y="2024"/>
                  </a:lnTo>
                  <a:lnTo>
                    <a:pt x="731" y="2008"/>
                  </a:lnTo>
                  <a:lnTo>
                    <a:pt x="719" y="2002"/>
                  </a:lnTo>
                  <a:lnTo>
                    <a:pt x="703" y="1996"/>
                  </a:lnTo>
                  <a:lnTo>
                    <a:pt x="684" y="1993"/>
                  </a:lnTo>
                  <a:lnTo>
                    <a:pt x="672" y="1986"/>
                  </a:lnTo>
                  <a:lnTo>
                    <a:pt x="665" y="1971"/>
                  </a:lnTo>
                  <a:lnTo>
                    <a:pt x="662" y="1955"/>
                  </a:lnTo>
                  <a:lnTo>
                    <a:pt x="659" y="1936"/>
                  </a:lnTo>
                  <a:lnTo>
                    <a:pt x="653" y="1924"/>
                  </a:lnTo>
                  <a:lnTo>
                    <a:pt x="650" y="1918"/>
                  </a:lnTo>
                  <a:lnTo>
                    <a:pt x="641" y="1911"/>
                  </a:lnTo>
                  <a:lnTo>
                    <a:pt x="634" y="1905"/>
                  </a:lnTo>
                  <a:lnTo>
                    <a:pt x="625" y="1899"/>
                  </a:lnTo>
                  <a:lnTo>
                    <a:pt x="619" y="1896"/>
                  </a:lnTo>
                  <a:lnTo>
                    <a:pt x="612" y="1896"/>
                  </a:lnTo>
                  <a:lnTo>
                    <a:pt x="606" y="1905"/>
                  </a:lnTo>
                  <a:lnTo>
                    <a:pt x="603" y="1924"/>
                  </a:lnTo>
                  <a:lnTo>
                    <a:pt x="603" y="1939"/>
                  </a:lnTo>
                  <a:lnTo>
                    <a:pt x="597" y="1949"/>
                  </a:lnTo>
                  <a:lnTo>
                    <a:pt x="584" y="1952"/>
                  </a:lnTo>
                  <a:lnTo>
                    <a:pt x="569" y="1946"/>
                  </a:lnTo>
                  <a:lnTo>
                    <a:pt x="553" y="1939"/>
                  </a:lnTo>
                  <a:lnTo>
                    <a:pt x="541" y="1930"/>
                  </a:lnTo>
                  <a:lnTo>
                    <a:pt x="531" y="1915"/>
                  </a:lnTo>
                  <a:lnTo>
                    <a:pt x="525" y="1890"/>
                  </a:lnTo>
                  <a:lnTo>
                    <a:pt x="519" y="1865"/>
                  </a:lnTo>
                  <a:lnTo>
                    <a:pt x="506" y="1846"/>
                  </a:lnTo>
                  <a:lnTo>
                    <a:pt x="494" y="1843"/>
                  </a:lnTo>
                  <a:lnTo>
                    <a:pt x="472" y="1843"/>
                  </a:lnTo>
                  <a:lnTo>
                    <a:pt x="453" y="1840"/>
                  </a:lnTo>
                  <a:lnTo>
                    <a:pt x="438" y="1836"/>
                  </a:lnTo>
                  <a:lnTo>
                    <a:pt x="431" y="1821"/>
                  </a:lnTo>
                  <a:lnTo>
                    <a:pt x="428" y="1799"/>
                  </a:lnTo>
                  <a:lnTo>
                    <a:pt x="425" y="1780"/>
                  </a:lnTo>
                  <a:lnTo>
                    <a:pt x="419" y="1765"/>
                  </a:lnTo>
                  <a:lnTo>
                    <a:pt x="403" y="1758"/>
                  </a:lnTo>
                  <a:lnTo>
                    <a:pt x="384" y="1752"/>
                  </a:lnTo>
                  <a:lnTo>
                    <a:pt x="363" y="1752"/>
                  </a:lnTo>
                  <a:lnTo>
                    <a:pt x="344" y="1752"/>
                  </a:lnTo>
                  <a:lnTo>
                    <a:pt x="319" y="1752"/>
                  </a:lnTo>
                  <a:lnTo>
                    <a:pt x="291" y="1758"/>
                  </a:lnTo>
                  <a:lnTo>
                    <a:pt x="269" y="1768"/>
                  </a:lnTo>
                  <a:lnTo>
                    <a:pt x="256" y="1780"/>
                  </a:lnTo>
                  <a:lnTo>
                    <a:pt x="247" y="1799"/>
                  </a:lnTo>
                  <a:lnTo>
                    <a:pt x="235" y="1818"/>
                  </a:lnTo>
                  <a:lnTo>
                    <a:pt x="222" y="1827"/>
                  </a:lnTo>
                  <a:lnTo>
                    <a:pt x="203" y="1833"/>
                  </a:lnTo>
                  <a:lnTo>
                    <a:pt x="181" y="1830"/>
                  </a:lnTo>
                  <a:lnTo>
                    <a:pt x="160" y="1827"/>
                  </a:lnTo>
                  <a:lnTo>
                    <a:pt x="141" y="1821"/>
                  </a:lnTo>
                  <a:lnTo>
                    <a:pt x="128" y="1808"/>
                  </a:lnTo>
                  <a:lnTo>
                    <a:pt x="116" y="1786"/>
                  </a:lnTo>
                  <a:lnTo>
                    <a:pt x="103" y="1768"/>
                  </a:lnTo>
                  <a:lnTo>
                    <a:pt x="91" y="1752"/>
                  </a:lnTo>
                  <a:lnTo>
                    <a:pt x="85" y="1746"/>
                  </a:lnTo>
                  <a:lnTo>
                    <a:pt x="72" y="1743"/>
                  </a:lnTo>
                  <a:lnTo>
                    <a:pt x="57" y="1737"/>
                  </a:lnTo>
                  <a:lnTo>
                    <a:pt x="44" y="1733"/>
                  </a:lnTo>
                  <a:lnTo>
                    <a:pt x="41" y="1721"/>
                  </a:lnTo>
                  <a:lnTo>
                    <a:pt x="41" y="1705"/>
                  </a:lnTo>
                  <a:lnTo>
                    <a:pt x="38" y="1693"/>
                  </a:lnTo>
                  <a:lnTo>
                    <a:pt x="35" y="1683"/>
                  </a:lnTo>
                  <a:lnTo>
                    <a:pt x="22" y="1665"/>
                  </a:lnTo>
                  <a:lnTo>
                    <a:pt x="10" y="1643"/>
                  </a:lnTo>
                  <a:lnTo>
                    <a:pt x="0" y="1624"/>
                  </a:lnTo>
                  <a:lnTo>
                    <a:pt x="3" y="1602"/>
                  </a:lnTo>
                  <a:lnTo>
                    <a:pt x="10" y="1580"/>
                  </a:lnTo>
                  <a:lnTo>
                    <a:pt x="16" y="1562"/>
                  </a:lnTo>
                  <a:lnTo>
                    <a:pt x="22" y="1534"/>
                  </a:lnTo>
                  <a:lnTo>
                    <a:pt x="32" y="1499"/>
                  </a:lnTo>
                  <a:lnTo>
                    <a:pt x="38" y="1468"/>
                  </a:lnTo>
                  <a:lnTo>
                    <a:pt x="41" y="1440"/>
                  </a:lnTo>
                  <a:lnTo>
                    <a:pt x="41" y="1409"/>
                  </a:lnTo>
                  <a:lnTo>
                    <a:pt x="38" y="1374"/>
                  </a:lnTo>
                  <a:lnTo>
                    <a:pt x="41" y="1346"/>
                  </a:lnTo>
                  <a:lnTo>
                    <a:pt x="47" y="1331"/>
                  </a:lnTo>
                  <a:lnTo>
                    <a:pt x="60" y="1312"/>
                  </a:lnTo>
                  <a:lnTo>
                    <a:pt x="69" y="1293"/>
                  </a:lnTo>
                  <a:lnTo>
                    <a:pt x="72" y="1274"/>
                  </a:lnTo>
                  <a:lnTo>
                    <a:pt x="66" y="1262"/>
                  </a:lnTo>
                  <a:lnTo>
                    <a:pt x="53" y="1246"/>
                  </a:lnTo>
                  <a:lnTo>
                    <a:pt x="41" y="1231"/>
                  </a:lnTo>
                  <a:lnTo>
                    <a:pt x="32" y="1215"/>
                  </a:lnTo>
                  <a:lnTo>
                    <a:pt x="25" y="1187"/>
                  </a:lnTo>
                  <a:lnTo>
                    <a:pt x="22" y="1149"/>
                  </a:lnTo>
                  <a:lnTo>
                    <a:pt x="22" y="1118"/>
                  </a:lnTo>
                  <a:lnTo>
                    <a:pt x="25" y="1084"/>
                  </a:lnTo>
                  <a:lnTo>
                    <a:pt x="28" y="1046"/>
                  </a:lnTo>
                  <a:lnTo>
                    <a:pt x="32" y="1006"/>
                  </a:lnTo>
                  <a:lnTo>
                    <a:pt x="32" y="971"/>
                  </a:lnTo>
                  <a:lnTo>
                    <a:pt x="32" y="947"/>
                  </a:lnTo>
                  <a:lnTo>
                    <a:pt x="28" y="912"/>
                  </a:lnTo>
                  <a:lnTo>
                    <a:pt x="28" y="878"/>
                  </a:lnTo>
                  <a:lnTo>
                    <a:pt x="32" y="853"/>
                  </a:lnTo>
                  <a:lnTo>
                    <a:pt x="44" y="834"/>
                  </a:lnTo>
                  <a:lnTo>
                    <a:pt x="60" y="812"/>
                  </a:lnTo>
                  <a:lnTo>
                    <a:pt x="72" y="794"/>
                  </a:lnTo>
                  <a:lnTo>
                    <a:pt x="75" y="772"/>
                  </a:lnTo>
                  <a:lnTo>
                    <a:pt x="75" y="740"/>
                  </a:lnTo>
                  <a:lnTo>
                    <a:pt x="72" y="715"/>
                  </a:lnTo>
                  <a:lnTo>
                    <a:pt x="69" y="694"/>
                  </a:lnTo>
                  <a:lnTo>
                    <a:pt x="60" y="665"/>
                  </a:lnTo>
                  <a:lnTo>
                    <a:pt x="53" y="640"/>
                  </a:lnTo>
                  <a:lnTo>
                    <a:pt x="50" y="616"/>
                  </a:lnTo>
                  <a:lnTo>
                    <a:pt x="57" y="587"/>
                  </a:lnTo>
                  <a:lnTo>
                    <a:pt x="66" y="556"/>
                  </a:lnTo>
                  <a:lnTo>
                    <a:pt x="82" y="534"/>
                  </a:lnTo>
                  <a:lnTo>
                    <a:pt x="94" y="528"/>
                  </a:lnTo>
                  <a:lnTo>
                    <a:pt x="113" y="525"/>
                  </a:lnTo>
                  <a:lnTo>
                    <a:pt x="132" y="522"/>
                  </a:lnTo>
                  <a:lnTo>
                    <a:pt x="147" y="516"/>
                  </a:lnTo>
                  <a:lnTo>
                    <a:pt x="166" y="503"/>
                  </a:lnTo>
                  <a:lnTo>
                    <a:pt x="185" y="484"/>
                  </a:lnTo>
                  <a:lnTo>
                    <a:pt x="203" y="466"/>
                  </a:lnTo>
                  <a:lnTo>
                    <a:pt x="219" y="447"/>
                  </a:lnTo>
                  <a:lnTo>
                    <a:pt x="238" y="425"/>
                  </a:lnTo>
                  <a:lnTo>
                    <a:pt x="260" y="397"/>
                  </a:lnTo>
                  <a:lnTo>
                    <a:pt x="281" y="372"/>
                  </a:lnTo>
                  <a:lnTo>
                    <a:pt x="300" y="350"/>
                  </a:lnTo>
                  <a:lnTo>
                    <a:pt x="325" y="331"/>
                  </a:lnTo>
                  <a:lnTo>
                    <a:pt x="353" y="310"/>
                  </a:lnTo>
                  <a:lnTo>
                    <a:pt x="384" y="291"/>
                  </a:lnTo>
                  <a:lnTo>
                    <a:pt x="416" y="272"/>
                  </a:lnTo>
                  <a:lnTo>
                    <a:pt x="444" y="263"/>
                  </a:lnTo>
                  <a:lnTo>
                    <a:pt x="475" y="256"/>
                  </a:lnTo>
                  <a:lnTo>
                    <a:pt x="512" y="256"/>
                  </a:lnTo>
                  <a:lnTo>
                    <a:pt x="553" y="260"/>
                  </a:lnTo>
                  <a:lnTo>
                    <a:pt x="584" y="260"/>
                  </a:lnTo>
                  <a:lnTo>
                    <a:pt x="622" y="253"/>
                  </a:lnTo>
                  <a:lnTo>
                    <a:pt x="665" y="244"/>
                  </a:lnTo>
                  <a:lnTo>
                    <a:pt x="712" y="231"/>
                  </a:lnTo>
                  <a:lnTo>
                    <a:pt x="756" y="222"/>
                  </a:lnTo>
                  <a:lnTo>
                    <a:pt x="794" y="210"/>
                  </a:lnTo>
                  <a:lnTo>
                    <a:pt x="825" y="197"/>
                  </a:lnTo>
                  <a:lnTo>
                    <a:pt x="862" y="181"/>
                  </a:lnTo>
                  <a:lnTo>
                    <a:pt x="900" y="163"/>
                  </a:lnTo>
                  <a:lnTo>
                    <a:pt x="934" y="153"/>
                  </a:lnTo>
                  <a:lnTo>
                    <a:pt x="975" y="147"/>
                  </a:lnTo>
                  <a:lnTo>
                    <a:pt x="1025" y="141"/>
                  </a:lnTo>
                  <a:lnTo>
                    <a:pt x="1075" y="138"/>
                  </a:lnTo>
                  <a:lnTo>
                    <a:pt x="1115" y="135"/>
                  </a:lnTo>
                  <a:lnTo>
                    <a:pt x="1143" y="125"/>
                  </a:lnTo>
                  <a:lnTo>
                    <a:pt x="1181" y="116"/>
                  </a:lnTo>
                  <a:lnTo>
                    <a:pt x="1215" y="107"/>
                  </a:lnTo>
                  <a:lnTo>
                    <a:pt x="1243" y="97"/>
                  </a:lnTo>
                  <a:lnTo>
                    <a:pt x="1271" y="91"/>
                  </a:lnTo>
                  <a:lnTo>
                    <a:pt x="1306" y="85"/>
                  </a:lnTo>
                  <a:lnTo>
                    <a:pt x="1340" y="78"/>
                  </a:lnTo>
                  <a:lnTo>
                    <a:pt x="1368" y="69"/>
                  </a:lnTo>
                  <a:lnTo>
                    <a:pt x="1387" y="57"/>
                  </a:lnTo>
                  <a:lnTo>
                    <a:pt x="1409" y="35"/>
                  </a:lnTo>
                  <a:lnTo>
                    <a:pt x="1434" y="16"/>
                  </a:lnTo>
                  <a:lnTo>
                    <a:pt x="1456" y="0"/>
                  </a:lnTo>
                  <a:lnTo>
                    <a:pt x="1474" y="0"/>
                  </a:lnTo>
                  <a:lnTo>
                    <a:pt x="1484" y="10"/>
                  </a:lnTo>
                  <a:lnTo>
                    <a:pt x="1487" y="28"/>
                  </a:lnTo>
                  <a:lnTo>
                    <a:pt x="1487" y="50"/>
                  </a:lnTo>
                  <a:lnTo>
                    <a:pt x="1487" y="72"/>
                  </a:lnTo>
                  <a:lnTo>
                    <a:pt x="1484" y="91"/>
                  </a:lnTo>
                  <a:lnTo>
                    <a:pt x="1484" y="107"/>
                  </a:lnTo>
                  <a:lnTo>
                    <a:pt x="1484" y="125"/>
                  </a:lnTo>
                  <a:lnTo>
                    <a:pt x="1487" y="141"/>
                  </a:lnTo>
                  <a:lnTo>
                    <a:pt x="1499" y="163"/>
                  </a:lnTo>
                  <a:lnTo>
                    <a:pt x="1518" y="185"/>
                  </a:lnTo>
                  <a:lnTo>
                    <a:pt x="1540" y="210"/>
                  </a:lnTo>
                  <a:lnTo>
                    <a:pt x="1555" y="228"/>
                  </a:lnTo>
                  <a:lnTo>
                    <a:pt x="1568" y="247"/>
                  </a:lnTo>
                  <a:lnTo>
                    <a:pt x="1584" y="272"/>
                  </a:lnTo>
                  <a:lnTo>
                    <a:pt x="1593" y="294"/>
                  </a:lnTo>
                  <a:lnTo>
                    <a:pt x="1596" y="325"/>
                  </a:lnTo>
                  <a:lnTo>
                    <a:pt x="1596" y="359"/>
                  </a:lnTo>
                  <a:lnTo>
                    <a:pt x="1593" y="394"/>
                  </a:lnTo>
                  <a:lnTo>
                    <a:pt x="1584" y="413"/>
                  </a:lnTo>
                  <a:lnTo>
                    <a:pt x="1574" y="434"/>
                  </a:lnTo>
                  <a:lnTo>
                    <a:pt x="1568" y="453"/>
                  </a:lnTo>
                  <a:lnTo>
                    <a:pt x="1571" y="475"/>
                  </a:lnTo>
                  <a:lnTo>
                    <a:pt x="1580" y="503"/>
                  </a:lnTo>
                  <a:lnTo>
                    <a:pt x="1587" y="525"/>
                  </a:lnTo>
                  <a:lnTo>
                    <a:pt x="1587" y="547"/>
                  </a:lnTo>
                  <a:lnTo>
                    <a:pt x="1584" y="575"/>
                  </a:lnTo>
                  <a:lnTo>
                    <a:pt x="1587" y="597"/>
                  </a:lnTo>
                  <a:lnTo>
                    <a:pt x="1593" y="616"/>
                  </a:lnTo>
                  <a:lnTo>
                    <a:pt x="1605" y="634"/>
                  </a:lnTo>
                  <a:lnTo>
                    <a:pt x="1618" y="650"/>
                  </a:lnTo>
                  <a:lnTo>
                    <a:pt x="1640" y="656"/>
                  </a:lnTo>
                  <a:lnTo>
                    <a:pt x="1665" y="656"/>
                  </a:lnTo>
                  <a:lnTo>
                    <a:pt x="1693" y="659"/>
                  </a:lnTo>
                  <a:lnTo>
                    <a:pt x="1712" y="665"/>
                  </a:lnTo>
                  <a:lnTo>
                    <a:pt x="1727" y="684"/>
                  </a:lnTo>
                  <a:lnTo>
                    <a:pt x="1740" y="712"/>
                  </a:lnTo>
                  <a:lnTo>
                    <a:pt x="1749" y="734"/>
                  </a:lnTo>
                  <a:lnTo>
                    <a:pt x="1765" y="759"/>
                  </a:lnTo>
                  <a:lnTo>
                    <a:pt x="1783" y="787"/>
                  </a:lnTo>
                  <a:lnTo>
                    <a:pt x="1802" y="809"/>
                  </a:lnTo>
                  <a:lnTo>
                    <a:pt x="1808" y="812"/>
                  </a:lnTo>
                  <a:lnTo>
                    <a:pt x="1818" y="812"/>
                  </a:lnTo>
                  <a:lnTo>
                    <a:pt x="1827" y="815"/>
                  </a:lnTo>
                  <a:lnTo>
                    <a:pt x="1837" y="818"/>
                  </a:lnTo>
                  <a:lnTo>
                    <a:pt x="1843" y="822"/>
                  </a:lnTo>
                  <a:lnTo>
                    <a:pt x="1846" y="828"/>
                  </a:lnTo>
                  <a:lnTo>
                    <a:pt x="1849" y="834"/>
                  </a:lnTo>
                  <a:lnTo>
                    <a:pt x="1852" y="843"/>
                  </a:lnTo>
                  <a:lnTo>
                    <a:pt x="1855" y="850"/>
                  </a:lnTo>
                  <a:lnTo>
                    <a:pt x="1858" y="856"/>
                  </a:lnTo>
                  <a:lnTo>
                    <a:pt x="1874" y="881"/>
                  </a:lnTo>
                  <a:lnTo>
                    <a:pt x="1896" y="906"/>
                  </a:lnTo>
                  <a:lnTo>
                    <a:pt x="1918" y="925"/>
                  </a:lnTo>
                  <a:lnTo>
                    <a:pt x="1933" y="937"/>
                  </a:lnTo>
                  <a:lnTo>
                    <a:pt x="1958" y="950"/>
                  </a:lnTo>
                  <a:lnTo>
                    <a:pt x="1980" y="956"/>
                  </a:lnTo>
                  <a:lnTo>
                    <a:pt x="2002" y="959"/>
                  </a:lnTo>
                  <a:lnTo>
                    <a:pt x="2014" y="943"/>
                  </a:lnTo>
                  <a:lnTo>
                    <a:pt x="2027" y="922"/>
                  </a:lnTo>
                  <a:lnTo>
                    <a:pt x="2036" y="903"/>
                  </a:lnTo>
                  <a:lnTo>
                    <a:pt x="2049" y="878"/>
                  </a:lnTo>
                  <a:lnTo>
                    <a:pt x="2061" y="847"/>
                  </a:lnTo>
                  <a:lnTo>
                    <a:pt x="2077" y="825"/>
                  </a:lnTo>
                  <a:lnTo>
                    <a:pt x="2096" y="815"/>
                  </a:lnTo>
                  <a:lnTo>
                    <a:pt x="2118" y="806"/>
                  </a:lnTo>
                  <a:lnTo>
                    <a:pt x="2143" y="800"/>
                  </a:lnTo>
                  <a:lnTo>
                    <a:pt x="2161" y="794"/>
                  </a:lnTo>
                  <a:lnTo>
                    <a:pt x="2186" y="781"/>
                  </a:lnTo>
                  <a:lnTo>
                    <a:pt x="2217" y="765"/>
                  </a:lnTo>
                  <a:lnTo>
                    <a:pt x="2249" y="750"/>
                  </a:lnTo>
                  <a:lnTo>
                    <a:pt x="2274" y="737"/>
                  </a:lnTo>
                  <a:lnTo>
                    <a:pt x="2296" y="731"/>
                  </a:lnTo>
                  <a:lnTo>
                    <a:pt x="2321" y="725"/>
                  </a:lnTo>
                  <a:lnTo>
                    <a:pt x="2349" y="722"/>
                  </a:lnTo>
                  <a:lnTo>
                    <a:pt x="2367" y="722"/>
                  </a:lnTo>
                  <a:lnTo>
                    <a:pt x="2389" y="734"/>
                  </a:lnTo>
                  <a:lnTo>
                    <a:pt x="2411" y="753"/>
                  </a:lnTo>
                  <a:lnTo>
                    <a:pt x="2433" y="775"/>
                  </a:lnTo>
                  <a:lnTo>
                    <a:pt x="2445" y="794"/>
                  </a:lnTo>
                  <a:lnTo>
                    <a:pt x="2452" y="815"/>
                  </a:lnTo>
                  <a:lnTo>
                    <a:pt x="2452" y="843"/>
                  </a:lnTo>
                  <a:lnTo>
                    <a:pt x="2455" y="872"/>
                  </a:lnTo>
                  <a:lnTo>
                    <a:pt x="2461" y="890"/>
                  </a:lnTo>
                  <a:lnTo>
                    <a:pt x="2480" y="900"/>
                  </a:lnTo>
                  <a:lnTo>
                    <a:pt x="2505" y="909"/>
                  </a:lnTo>
                  <a:lnTo>
                    <a:pt x="2533" y="912"/>
                  </a:lnTo>
                  <a:lnTo>
                    <a:pt x="2558" y="918"/>
                  </a:lnTo>
                  <a:lnTo>
                    <a:pt x="2577" y="931"/>
                  </a:lnTo>
                  <a:lnTo>
                    <a:pt x="2580" y="947"/>
                  </a:lnTo>
                  <a:lnTo>
                    <a:pt x="2583" y="965"/>
                  </a:lnTo>
                  <a:lnTo>
                    <a:pt x="2580" y="987"/>
                  </a:lnTo>
                  <a:lnTo>
                    <a:pt x="2577" y="1003"/>
                  </a:lnTo>
                  <a:lnTo>
                    <a:pt x="2570" y="1009"/>
                  </a:lnTo>
                  <a:lnTo>
                    <a:pt x="2567" y="1015"/>
                  </a:lnTo>
                  <a:lnTo>
                    <a:pt x="2558" y="1025"/>
                  </a:lnTo>
                  <a:lnTo>
                    <a:pt x="2552" y="1031"/>
                  </a:lnTo>
                  <a:lnTo>
                    <a:pt x="2548" y="1037"/>
                  </a:lnTo>
                  <a:lnTo>
                    <a:pt x="2545" y="1059"/>
                  </a:lnTo>
                  <a:lnTo>
                    <a:pt x="2545" y="1087"/>
                  </a:lnTo>
                  <a:lnTo>
                    <a:pt x="2545" y="1112"/>
                  </a:lnTo>
                  <a:lnTo>
                    <a:pt x="2548" y="1137"/>
                  </a:lnTo>
                  <a:lnTo>
                    <a:pt x="2555" y="1162"/>
                  </a:lnTo>
                  <a:lnTo>
                    <a:pt x="2567" y="1193"/>
                  </a:lnTo>
                  <a:lnTo>
                    <a:pt x="2577" y="1221"/>
                  </a:lnTo>
                  <a:lnTo>
                    <a:pt x="2586" y="1246"/>
                  </a:lnTo>
                  <a:lnTo>
                    <a:pt x="2595" y="1271"/>
                  </a:lnTo>
                  <a:lnTo>
                    <a:pt x="2605" y="1302"/>
                  </a:lnTo>
                  <a:lnTo>
                    <a:pt x="2614" y="1331"/>
                  </a:lnTo>
                  <a:lnTo>
                    <a:pt x="2627" y="1352"/>
                  </a:lnTo>
                  <a:lnTo>
                    <a:pt x="2642" y="1371"/>
                  </a:lnTo>
                  <a:lnTo>
                    <a:pt x="2667" y="1396"/>
                  </a:lnTo>
                  <a:lnTo>
                    <a:pt x="2692" y="1415"/>
                  </a:lnTo>
                  <a:lnTo>
                    <a:pt x="2720" y="1431"/>
                  </a:lnTo>
                  <a:lnTo>
                    <a:pt x="2745" y="1434"/>
                  </a:lnTo>
                  <a:lnTo>
                    <a:pt x="2758" y="1424"/>
                  </a:lnTo>
                  <a:lnTo>
                    <a:pt x="2773" y="1406"/>
                  </a:lnTo>
                  <a:lnTo>
                    <a:pt x="2786" y="1387"/>
                  </a:lnTo>
                  <a:lnTo>
                    <a:pt x="2801" y="1374"/>
                  </a:lnTo>
                  <a:lnTo>
                    <a:pt x="2814" y="1377"/>
                  </a:lnTo>
                  <a:lnTo>
                    <a:pt x="2833" y="1384"/>
                  </a:lnTo>
                  <a:lnTo>
                    <a:pt x="2848" y="1390"/>
                  </a:lnTo>
                  <a:lnTo>
                    <a:pt x="2861" y="1396"/>
                  </a:lnTo>
                  <a:lnTo>
                    <a:pt x="2876" y="1390"/>
                  </a:lnTo>
                  <a:lnTo>
                    <a:pt x="2895" y="1381"/>
                  </a:lnTo>
                  <a:lnTo>
                    <a:pt x="2914" y="1371"/>
                  </a:lnTo>
                  <a:lnTo>
                    <a:pt x="2929" y="1368"/>
                  </a:lnTo>
                  <a:lnTo>
                    <a:pt x="2939" y="1371"/>
                  </a:lnTo>
                  <a:lnTo>
                    <a:pt x="2945" y="1377"/>
                  </a:lnTo>
                  <a:lnTo>
                    <a:pt x="2954" y="1384"/>
                  </a:lnTo>
                  <a:lnTo>
                    <a:pt x="2964" y="1390"/>
                  </a:lnTo>
                  <a:lnTo>
                    <a:pt x="2970" y="1396"/>
                  </a:lnTo>
                  <a:lnTo>
                    <a:pt x="2995" y="1406"/>
                  </a:lnTo>
                  <a:lnTo>
                    <a:pt x="3029" y="1415"/>
                  </a:lnTo>
                  <a:lnTo>
                    <a:pt x="3061" y="1424"/>
                  </a:lnTo>
                  <a:lnTo>
                    <a:pt x="3089" y="1431"/>
                  </a:lnTo>
                  <a:lnTo>
                    <a:pt x="3107" y="1434"/>
                  </a:lnTo>
                  <a:lnTo>
                    <a:pt x="3132" y="1434"/>
                  </a:lnTo>
                  <a:lnTo>
                    <a:pt x="3154" y="1437"/>
                  </a:lnTo>
                  <a:lnTo>
                    <a:pt x="3173" y="1443"/>
                  </a:lnTo>
                  <a:lnTo>
                    <a:pt x="3182" y="1459"/>
                  </a:lnTo>
                  <a:lnTo>
                    <a:pt x="3192" y="1484"/>
                  </a:lnTo>
                  <a:lnTo>
                    <a:pt x="3198" y="1509"/>
                  </a:lnTo>
                  <a:lnTo>
                    <a:pt x="3201" y="1530"/>
                  </a:lnTo>
                  <a:lnTo>
                    <a:pt x="3201" y="1559"/>
                  </a:lnTo>
                  <a:lnTo>
                    <a:pt x="3198" y="1593"/>
                  </a:lnTo>
                  <a:lnTo>
                    <a:pt x="3192" y="1621"/>
                  </a:lnTo>
                  <a:lnTo>
                    <a:pt x="3182" y="1643"/>
                  </a:lnTo>
                  <a:lnTo>
                    <a:pt x="3170" y="1671"/>
                  </a:lnTo>
                  <a:lnTo>
                    <a:pt x="3164" y="1693"/>
                  </a:lnTo>
                  <a:lnTo>
                    <a:pt x="3167" y="1718"/>
                  </a:lnTo>
                  <a:lnTo>
                    <a:pt x="3176" y="1743"/>
                  </a:lnTo>
                  <a:lnTo>
                    <a:pt x="3182" y="1768"/>
                  </a:lnTo>
                  <a:lnTo>
                    <a:pt x="3182" y="1786"/>
                  </a:lnTo>
                  <a:lnTo>
                    <a:pt x="3179" y="1808"/>
                  </a:lnTo>
                  <a:lnTo>
                    <a:pt x="3176" y="1830"/>
                  </a:lnTo>
                  <a:lnTo>
                    <a:pt x="3182" y="1849"/>
                  </a:lnTo>
                  <a:lnTo>
                    <a:pt x="3195" y="1865"/>
                  </a:lnTo>
                  <a:lnTo>
                    <a:pt x="3220" y="1880"/>
                  </a:lnTo>
                  <a:lnTo>
                    <a:pt x="3245" y="1890"/>
                  </a:lnTo>
                  <a:lnTo>
                    <a:pt x="3264" y="1890"/>
                  </a:lnTo>
                  <a:lnTo>
                    <a:pt x="3273" y="1880"/>
                  </a:lnTo>
                  <a:lnTo>
                    <a:pt x="3279" y="1865"/>
                  </a:lnTo>
                  <a:lnTo>
                    <a:pt x="3285" y="1846"/>
                  </a:lnTo>
                  <a:lnTo>
                    <a:pt x="3289" y="1830"/>
                  </a:lnTo>
                  <a:lnTo>
                    <a:pt x="3292" y="1811"/>
                  </a:lnTo>
                  <a:lnTo>
                    <a:pt x="3292" y="1790"/>
                  </a:lnTo>
                  <a:lnTo>
                    <a:pt x="3295" y="1768"/>
                  </a:lnTo>
                  <a:lnTo>
                    <a:pt x="3298" y="1746"/>
                  </a:lnTo>
                  <a:lnTo>
                    <a:pt x="3307" y="1733"/>
                  </a:lnTo>
                  <a:lnTo>
                    <a:pt x="3320" y="1724"/>
                  </a:lnTo>
                  <a:lnTo>
                    <a:pt x="3342" y="1721"/>
                  </a:lnTo>
                  <a:lnTo>
                    <a:pt x="3360" y="1724"/>
                  </a:lnTo>
                  <a:lnTo>
                    <a:pt x="3379" y="1727"/>
                  </a:lnTo>
                  <a:lnTo>
                    <a:pt x="3388" y="1730"/>
                  </a:lnTo>
                  <a:lnTo>
                    <a:pt x="3398" y="1740"/>
                  </a:lnTo>
                  <a:lnTo>
                    <a:pt x="3404" y="1749"/>
                  </a:lnTo>
                  <a:lnTo>
                    <a:pt x="3413" y="1758"/>
                  </a:lnTo>
                  <a:lnTo>
                    <a:pt x="3423" y="1765"/>
                  </a:lnTo>
                  <a:lnTo>
                    <a:pt x="3438" y="1768"/>
                  </a:lnTo>
                  <a:lnTo>
                    <a:pt x="3457" y="1771"/>
                  </a:lnTo>
                  <a:lnTo>
                    <a:pt x="3476" y="1774"/>
                  </a:lnTo>
                  <a:lnTo>
                    <a:pt x="3488" y="1780"/>
                  </a:lnTo>
                  <a:lnTo>
                    <a:pt x="3492" y="1786"/>
                  </a:lnTo>
                  <a:lnTo>
                    <a:pt x="3495" y="1793"/>
                  </a:lnTo>
                  <a:lnTo>
                    <a:pt x="3498" y="1802"/>
                  </a:lnTo>
                  <a:lnTo>
                    <a:pt x="3498" y="1811"/>
                  </a:lnTo>
                  <a:lnTo>
                    <a:pt x="3501" y="1821"/>
                  </a:lnTo>
                  <a:lnTo>
                    <a:pt x="3504" y="1827"/>
                  </a:lnTo>
                  <a:lnTo>
                    <a:pt x="3526" y="1833"/>
                  </a:lnTo>
                  <a:lnTo>
                    <a:pt x="3554" y="1836"/>
                  </a:lnTo>
                  <a:lnTo>
                    <a:pt x="3582" y="1833"/>
                  </a:lnTo>
                  <a:lnTo>
                    <a:pt x="3601" y="1827"/>
                  </a:lnTo>
                  <a:lnTo>
                    <a:pt x="3607" y="1815"/>
                  </a:lnTo>
                  <a:lnTo>
                    <a:pt x="3607" y="1799"/>
                  </a:lnTo>
                  <a:lnTo>
                    <a:pt x="3610" y="1780"/>
                  </a:lnTo>
                  <a:lnTo>
                    <a:pt x="3613" y="1768"/>
                  </a:lnTo>
                  <a:lnTo>
                    <a:pt x="3629" y="1755"/>
                  </a:lnTo>
                  <a:lnTo>
                    <a:pt x="3648" y="1740"/>
                  </a:lnTo>
                  <a:lnTo>
                    <a:pt x="3670" y="1733"/>
                  </a:lnTo>
                  <a:lnTo>
                    <a:pt x="3688" y="1733"/>
                  </a:lnTo>
                  <a:lnTo>
                    <a:pt x="3713" y="1740"/>
                  </a:lnTo>
                  <a:lnTo>
                    <a:pt x="3738" y="1746"/>
                  </a:lnTo>
                  <a:lnTo>
                    <a:pt x="3757" y="1755"/>
                  </a:lnTo>
                  <a:lnTo>
                    <a:pt x="3779" y="1771"/>
                  </a:lnTo>
                  <a:lnTo>
                    <a:pt x="3807" y="1790"/>
                  </a:lnTo>
                  <a:lnTo>
                    <a:pt x="3823" y="1811"/>
                  </a:lnTo>
                  <a:lnTo>
                    <a:pt x="3826" y="1830"/>
                  </a:lnTo>
                  <a:lnTo>
                    <a:pt x="3826" y="1852"/>
                  </a:lnTo>
                  <a:lnTo>
                    <a:pt x="3826" y="1871"/>
                  </a:lnTo>
                  <a:lnTo>
                    <a:pt x="3832" y="1877"/>
                  </a:lnTo>
                  <a:lnTo>
                    <a:pt x="3838" y="1890"/>
                  </a:lnTo>
                  <a:lnTo>
                    <a:pt x="3848" y="1899"/>
                  </a:lnTo>
                  <a:lnTo>
                    <a:pt x="3857" y="1908"/>
                  </a:lnTo>
                  <a:lnTo>
                    <a:pt x="3866" y="1915"/>
                  </a:lnTo>
                  <a:lnTo>
                    <a:pt x="3873" y="1921"/>
                  </a:lnTo>
                  <a:lnTo>
                    <a:pt x="3891" y="1921"/>
                  </a:lnTo>
                  <a:lnTo>
                    <a:pt x="3913" y="1918"/>
                  </a:lnTo>
                  <a:lnTo>
                    <a:pt x="3932" y="1915"/>
                  </a:lnTo>
                  <a:lnTo>
                    <a:pt x="3954" y="1918"/>
                  </a:lnTo>
                  <a:lnTo>
                    <a:pt x="3982" y="1921"/>
                  </a:lnTo>
                  <a:lnTo>
                    <a:pt x="4007" y="1924"/>
                  </a:lnTo>
                  <a:lnTo>
                    <a:pt x="4032" y="1930"/>
                  </a:lnTo>
                  <a:lnTo>
                    <a:pt x="4047" y="1943"/>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48" name="Freeform 26">
              <a:extLst>
                <a:ext uri="{FF2B5EF4-FFF2-40B4-BE49-F238E27FC236}">
                  <a16:creationId xmlns:a16="http://schemas.microsoft.com/office/drawing/2014/main" id="{D0305246-37DD-41DB-B957-D53D247E7BCB}"/>
                </a:ext>
              </a:extLst>
            </p:cNvPr>
            <p:cNvSpPr>
              <a:spLocks/>
            </p:cNvSpPr>
            <p:nvPr/>
          </p:nvSpPr>
          <p:spPr bwMode="auto">
            <a:xfrm>
              <a:off x="10809288" y="34925"/>
              <a:ext cx="757238" cy="471488"/>
            </a:xfrm>
            <a:custGeom>
              <a:avLst/>
              <a:gdLst>
                <a:gd name="T0" fmla="*/ 477 w 477"/>
                <a:gd name="T1" fmla="*/ 237 h 297"/>
                <a:gd name="T2" fmla="*/ 474 w 477"/>
                <a:gd name="T3" fmla="*/ 275 h 297"/>
                <a:gd name="T4" fmla="*/ 434 w 477"/>
                <a:gd name="T5" fmla="*/ 297 h 297"/>
                <a:gd name="T6" fmla="*/ 390 w 477"/>
                <a:gd name="T7" fmla="*/ 290 h 297"/>
                <a:gd name="T8" fmla="*/ 349 w 477"/>
                <a:gd name="T9" fmla="*/ 262 h 297"/>
                <a:gd name="T10" fmla="*/ 303 w 477"/>
                <a:gd name="T11" fmla="*/ 256 h 297"/>
                <a:gd name="T12" fmla="*/ 271 w 477"/>
                <a:gd name="T13" fmla="*/ 247 h 297"/>
                <a:gd name="T14" fmla="*/ 256 w 477"/>
                <a:gd name="T15" fmla="*/ 228 h 297"/>
                <a:gd name="T16" fmla="*/ 237 w 477"/>
                <a:gd name="T17" fmla="*/ 212 h 297"/>
                <a:gd name="T18" fmla="*/ 193 w 477"/>
                <a:gd name="T19" fmla="*/ 187 h 297"/>
                <a:gd name="T20" fmla="*/ 153 w 477"/>
                <a:gd name="T21" fmla="*/ 178 h 297"/>
                <a:gd name="T22" fmla="*/ 115 w 477"/>
                <a:gd name="T23" fmla="*/ 178 h 297"/>
                <a:gd name="T24" fmla="*/ 59 w 477"/>
                <a:gd name="T25" fmla="*/ 162 h 297"/>
                <a:gd name="T26" fmla="*/ 25 w 477"/>
                <a:gd name="T27" fmla="*/ 134 h 297"/>
                <a:gd name="T28" fmla="*/ 6 w 477"/>
                <a:gd name="T29" fmla="*/ 94 h 297"/>
                <a:gd name="T30" fmla="*/ 0 w 477"/>
                <a:gd name="T31" fmla="*/ 56 h 297"/>
                <a:gd name="T32" fmla="*/ 6 w 477"/>
                <a:gd name="T33" fmla="*/ 19 h 297"/>
                <a:gd name="T34" fmla="*/ 37 w 477"/>
                <a:gd name="T35" fmla="*/ 6 h 297"/>
                <a:gd name="T36" fmla="*/ 78 w 477"/>
                <a:gd name="T37" fmla="*/ 3 h 297"/>
                <a:gd name="T38" fmla="*/ 112 w 477"/>
                <a:gd name="T39" fmla="*/ 0 h 297"/>
                <a:gd name="T40" fmla="*/ 143 w 477"/>
                <a:gd name="T41" fmla="*/ 3 h 297"/>
                <a:gd name="T42" fmla="*/ 156 w 477"/>
                <a:gd name="T43" fmla="*/ 37 h 297"/>
                <a:gd name="T44" fmla="*/ 165 w 477"/>
                <a:gd name="T45" fmla="*/ 72 h 297"/>
                <a:gd name="T46" fmla="*/ 203 w 477"/>
                <a:gd name="T47" fmla="*/ 81 h 297"/>
                <a:gd name="T48" fmla="*/ 240 w 477"/>
                <a:gd name="T49" fmla="*/ 84 h 297"/>
                <a:gd name="T50" fmla="*/ 287 w 477"/>
                <a:gd name="T51" fmla="*/ 97 h 297"/>
                <a:gd name="T52" fmla="*/ 318 w 477"/>
                <a:gd name="T53" fmla="*/ 112 h 297"/>
                <a:gd name="T54" fmla="*/ 334 w 477"/>
                <a:gd name="T55" fmla="*/ 134 h 297"/>
                <a:gd name="T56" fmla="*/ 353 w 477"/>
                <a:gd name="T57" fmla="*/ 150 h 297"/>
                <a:gd name="T58" fmla="*/ 387 w 477"/>
                <a:gd name="T59" fmla="*/ 150 h 297"/>
                <a:gd name="T60" fmla="*/ 421 w 477"/>
                <a:gd name="T61" fmla="*/ 150 h 297"/>
                <a:gd name="T62" fmla="*/ 440 w 477"/>
                <a:gd name="T63" fmla="*/ 159 h 297"/>
                <a:gd name="T64" fmla="*/ 459 w 477"/>
                <a:gd name="T65" fmla="*/ 175 h 297"/>
                <a:gd name="T66" fmla="*/ 468 w 477"/>
                <a:gd name="T67" fmla="*/ 190 h 297"/>
                <a:gd name="T68" fmla="*/ 474 w 477"/>
                <a:gd name="T69" fmla="*/ 212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7" h="297">
                  <a:moveTo>
                    <a:pt x="474" y="222"/>
                  </a:moveTo>
                  <a:lnTo>
                    <a:pt x="477" y="237"/>
                  </a:lnTo>
                  <a:lnTo>
                    <a:pt x="477" y="259"/>
                  </a:lnTo>
                  <a:lnTo>
                    <a:pt x="474" y="275"/>
                  </a:lnTo>
                  <a:lnTo>
                    <a:pt x="456" y="287"/>
                  </a:lnTo>
                  <a:lnTo>
                    <a:pt x="434" y="297"/>
                  </a:lnTo>
                  <a:lnTo>
                    <a:pt x="412" y="297"/>
                  </a:lnTo>
                  <a:lnTo>
                    <a:pt x="390" y="290"/>
                  </a:lnTo>
                  <a:lnTo>
                    <a:pt x="368" y="275"/>
                  </a:lnTo>
                  <a:lnTo>
                    <a:pt x="349" y="262"/>
                  </a:lnTo>
                  <a:lnTo>
                    <a:pt x="328" y="259"/>
                  </a:lnTo>
                  <a:lnTo>
                    <a:pt x="303" y="256"/>
                  </a:lnTo>
                  <a:lnTo>
                    <a:pt x="281" y="253"/>
                  </a:lnTo>
                  <a:lnTo>
                    <a:pt x="271" y="247"/>
                  </a:lnTo>
                  <a:lnTo>
                    <a:pt x="262" y="237"/>
                  </a:lnTo>
                  <a:lnTo>
                    <a:pt x="256" y="228"/>
                  </a:lnTo>
                  <a:lnTo>
                    <a:pt x="246" y="218"/>
                  </a:lnTo>
                  <a:lnTo>
                    <a:pt x="237" y="212"/>
                  </a:lnTo>
                  <a:lnTo>
                    <a:pt x="218" y="200"/>
                  </a:lnTo>
                  <a:lnTo>
                    <a:pt x="193" y="187"/>
                  </a:lnTo>
                  <a:lnTo>
                    <a:pt x="171" y="178"/>
                  </a:lnTo>
                  <a:lnTo>
                    <a:pt x="153" y="178"/>
                  </a:lnTo>
                  <a:lnTo>
                    <a:pt x="134" y="178"/>
                  </a:lnTo>
                  <a:lnTo>
                    <a:pt x="115" y="178"/>
                  </a:lnTo>
                  <a:lnTo>
                    <a:pt x="90" y="172"/>
                  </a:lnTo>
                  <a:lnTo>
                    <a:pt x="59" y="162"/>
                  </a:lnTo>
                  <a:lnTo>
                    <a:pt x="37" y="150"/>
                  </a:lnTo>
                  <a:lnTo>
                    <a:pt x="25" y="134"/>
                  </a:lnTo>
                  <a:lnTo>
                    <a:pt x="12" y="112"/>
                  </a:lnTo>
                  <a:lnTo>
                    <a:pt x="6" y="94"/>
                  </a:lnTo>
                  <a:lnTo>
                    <a:pt x="0" y="78"/>
                  </a:lnTo>
                  <a:lnTo>
                    <a:pt x="0" y="56"/>
                  </a:lnTo>
                  <a:lnTo>
                    <a:pt x="0" y="34"/>
                  </a:lnTo>
                  <a:lnTo>
                    <a:pt x="6" y="19"/>
                  </a:lnTo>
                  <a:lnTo>
                    <a:pt x="18" y="12"/>
                  </a:lnTo>
                  <a:lnTo>
                    <a:pt x="37" y="6"/>
                  </a:lnTo>
                  <a:lnTo>
                    <a:pt x="59" y="3"/>
                  </a:lnTo>
                  <a:lnTo>
                    <a:pt x="78" y="3"/>
                  </a:lnTo>
                  <a:lnTo>
                    <a:pt x="93" y="0"/>
                  </a:lnTo>
                  <a:lnTo>
                    <a:pt x="112" y="0"/>
                  </a:lnTo>
                  <a:lnTo>
                    <a:pt x="128" y="0"/>
                  </a:lnTo>
                  <a:lnTo>
                    <a:pt x="143" y="3"/>
                  </a:lnTo>
                  <a:lnTo>
                    <a:pt x="150" y="15"/>
                  </a:lnTo>
                  <a:lnTo>
                    <a:pt x="156" y="37"/>
                  </a:lnTo>
                  <a:lnTo>
                    <a:pt x="159" y="56"/>
                  </a:lnTo>
                  <a:lnTo>
                    <a:pt x="165" y="72"/>
                  </a:lnTo>
                  <a:lnTo>
                    <a:pt x="181" y="78"/>
                  </a:lnTo>
                  <a:lnTo>
                    <a:pt x="203" y="81"/>
                  </a:lnTo>
                  <a:lnTo>
                    <a:pt x="221" y="81"/>
                  </a:lnTo>
                  <a:lnTo>
                    <a:pt x="240" y="84"/>
                  </a:lnTo>
                  <a:lnTo>
                    <a:pt x="262" y="87"/>
                  </a:lnTo>
                  <a:lnTo>
                    <a:pt x="287" y="97"/>
                  </a:lnTo>
                  <a:lnTo>
                    <a:pt x="309" y="106"/>
                  </a:lnTo>
                  <a:lnTo>
                    <a:pt x="318" y="112"/>
                  </a:lnTo>
                  <a:lnTo>
                    <a:pt x="324" y="125"/>
                  </a:lnTo>
                  <a:lnTo>
                    <a:pt x="334" y="134"/>
                  </a:lnTo>
                  <a:lnTo>
                    <a:pt x="343" y="143"/>
                  </a:lnTo>
                  <a:lnTo>
                    <a:pt x="353" y="150"/>
                  </a:lnTo>
                  <a:lnTo>
                    <a:pt x="365" y="153"/>
                  </a:lnTo>
                  <a:lnTo>
                    <a:pt x="387" y="150"/>
                  </a:lnTo>
                  <a:lnTo>
                    <a:pt x="406" y="150"/>
                  </a:lnTo>
                  <a:lnTo>
                    <a:pt x="421" y="150"/>
                  </a:lnTo>
                  <a:lnTo>
                    <a:pt x="431" y="153"/>
                  </a:lnTo>
                  <a:lnTo>
                    <a:pt x="440" y="159"/>
                  </a:lnTo>
                  <a:lnTo>
                    <a:pt x="449" y="168"/>
                  </a:lnTo>
                  <a:lnTo>
                    <a:pt x="459" y="175"/>
                  </a:lnTo>
                  <a:lnTo>
                    <a:pt x="465" y="184"/>
                  </a:lnTo>
                  <a:lnTo>
                    <a:pt x="468" y="190"/>
                  </a:lnTo>
                  <a:lnTo>
                    <a:pt x="471" y="203"/>
                  </a:lnTo>
                  <a:lnTo>
                    <a:pt x="474" y="212"/>
                  </a:lnTo>
                  <a:lnTo>
                    <a:pt x="474" y="222"/>
                  </a:lnTo>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49" name="Freeform 27">
              <a:extLst>
                <a:ext uri="{FF2B5EF4-FFF2-40B4-BE49-F238E27FC236}">
                  <a16:creationId xmlns:a16="http://schemas.microsoft.com/office/drawing/2014/main" id="{AC7837E2-D3BD-47D4-874C-574EC7F62A4C}"/>
                </a:ext>
              </a:extLst>
            </p:cNvPr>
            <p:cNvSpPr>
              <a:spLocks/>
            </p:cNvSpPr>
            <p:nvPr/>
          </p:nvSpPr>
          <p:spPr bwMode="auto">
            <a:xfrm>
              <a:off x="11141076" y="838200"/>
              <a:ext cx="539750" cy="876300"/>
            </a:xfrm>
            <a:custGeom>
              <a:avLst/>
              <a:gdLst>
                <a:gd name="T0" fmla="*/ 340 w 340"/>
                <a:gd name="T1" fmla="*/ 353 h 552"/>
                <a:gd name="T2" fmla="*/ 340 w 340"/>
                <a:gd name="T3" fmla="*/ 390 h 552"/>
                <a:gd name="T4" fmla="*/ 334 w 340"/>
                <a:gd name="T5" fmla="*/ 409 h 552"/>
                <a:gd name="T6" fmla="*/ 331 w 340"/>
                <a:gd name="T7" fmla="*/ 428 h 552"/>
                <a:gd name="T8" fmla="*/ 328 w 340"/>
                <a:gd name="T9" fmla="*/ 446 h 552"/>
                <a:gd name="T10" fmla="*/ 328 w 340"/>
                <a:gd name="T11" fmla="*/ 471 h 552"/>
                <a:gd name="T12" fmla="*/ 328 w 340"/>
                <a:gd name="T13" fmla="*/ 490 h 552"/>
                <a:gd name="T14" fmla="*/ 322 w 340"/>
                <a:gd name="T15" fmla="*/ 512 h 552"/>
                <a:gd name="T16" fmla="*/ 318 w 340"/>
                <a:gd name="T17" fmla="*/ 527 h 552"/>
                <a:gd name="T18" fmla="*/ 309 w 340"/>
                <a:gd name="T19" fmla="*/ 546 h 552"/>
                <a:gd name="T20" fmla="*/ 300 w 340"/>
                <a:gd name="T21" fmla="*/ 552 h 552"/>
                <a:gd name="T22" fmla="*/ 284 w 340"/>
                <a:gd name="T23" fmla="*/ 552 h 552"/>
                <a:gd name="T24" fmla="*/ 262 w 340"/>
                <a:gd name="T25" fmla="*/ 537 h 552"/>
                <a:gd name="T26" fmla="*/ 240 w 340"/>
                <a:gd name="T27" fmla="*/ 496 h 552"/>
                <a:gd name="T28" fmla="*/ 240 w 340"/>
                <a:gd name="T29" fmla="*/ 462 h 552"/>
                <a:gd name="T30" fmla="*/ 240 w 340"/>
                <a:gd name="T31" fmla="*/ 431 h 552"/>
                <a:gd name="T32" fmla="*/ 228 w 340"/>
                <a:gd name="T33" fmla="*/ 424 h 552"/>
                <a:gd name="T34" fmla="*/ 206 w 340"/>
                <a:gd name="T35" fmla="*/ 418 h 552"/>
                <a:gd name="T36" fmla="*/ 194 w 340"/>
                <a:gd name="T37" fmla="*/ 412 h 552"/>
                <a:gd name="T38" fmla="*/ 178 w 340"/>
                <a:gd name="T39" fmla="*/ 371 h 552"/>
                <a:gd name="T40" fmla="*/ 153 w 340"/>
                <a:gd name="T41" fmla="*/ 331 h 552"/>
                <a:gd name="T42" fmla="*/ 109 w 340"/>
                <a:gd name="T43" fmla="*/ 287 h 552"/>
                <a:gd name="T44" fmla="*/ 78 w 340"/>
                <a:gd name="T45" fmla="*/ 281 h 552"/>
                <a:gd name="T46" fmla="*/ 47 w 340"/>
                <a:gd name="T47" fmla="*/ 268 h 552"/>
                <a:gd name="T48" fmla="*/ 31 w 340"/>
                <a:gd name="T49" fmla="*/ 221 h 552"/>
                <a:gd name="T50" fmla="*/ 31 w 340"/>
                <a:gd name="T51" fmla="*/ 187 h 552"/>
                <a:gd name="T52" fmla="*/ 47 w 340"/>
                <a:gd name="T53" fmla="*/ 156 h 552"/>
                <a:gd name="T54" fmla="*/ 50 w 340"/>
                <a:gd name="T55" fmla="*/ 137 h 552"/>
                <a:gd name="T56" fmla="*/ 28 w 340"/>
                <a:gd name="T57" fmla="*/ 125 h 552"/>
                <a:gd name="T58" fmla="*/ 3 w 340"/>
                <a:gd name="T59" fmla="*/ 93 h 552"/>
                <a:gd name="T60" fmla="*/ 0 w 340"/>
                <a:gd name="T61" fmla="*/ 62 h 552"/>
                <a:gd name="T62" fmla="*/ 19 w 340"/>
                <a:gd name="T63" fmla="*/ 18 h 552"/>
                <a:gd name="T64" fmla="*/ 47 w 340"/>
                <a:gd name="T65" fmla="*/ 0 h 552"/>
                <a:gd name="T66" fmla="*/ 84 w 340"/>
                <a:gd name="T67" fmla="*/ 6 h 552"/>
                <a:gd name="T68" fmla="*/ 109 w 340"/>
                <a:gd name="T69" fmla="*/ 40 h 552"/>
                <a:gd name="T70" fmla="*/ 122 w 340"/>
                <a:gd name="T71" fmla="*/ 68 h 552"/>
                <a:gd name="T72" fmla="*/ 137 w 340"/>
                <a:gd name="T73" fmla="*/ 90 h 552"/>
                <a:gd name="T74" fmla="*/ 150 w 340"/>
                <a:gd name="T75" fmla="*/ 106 h 552"/>
                <a:gd name="T76" fmla="*/ 190 w 340"/>
                <a:gd name="T77" fmla="*/ 118 h 552"/>
                <a:gd name="T78" fmla="*/ 231 w 340"/>
                <a:gd name="T79" fmla="*/ 137 h 552"/>
                <a:gd name="T80" fmla="*/ 268 w 340"/>
                <a:gd name="T81" fmla="*/ 178 h 552"/>
                <a:gd name="T82" fmla="*/ 268 w 340"/>
                <a:gd name="T83" fmla="*/ 212 h 552"/>
                <a:gd name="T84" fmla="*/ 268 w 340"/>
                <a:gd name="T85" fmla="*/ 246 h 552"/>
                <a:gd name="T86" fmla="*/ 284 w 340"/>
                <a:gd name="T87" fmla="*/ 262 h 552"/>
                <a:gd name="T88" fmla="*/ 303 w 340"/>
                <a:gd name="T89" fmla="*/ 271 h 552"/>
                <a:gd name="T90" fmla="*/ 322 w 340"/>
                <a:gd name="T91" fmla="*/ 296 h 552"/>
                <a:gd name="T92" fmla="*/ 340 w 340"/>
                <a:gd name="T93" fmla="*/ 33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552">
                  <a:moveTo>
                    <a:pt x="340" y="337"/>
                  </a:moveTo>
                  <a:lnTo>
                    <a:pt x="340" y="353"/>
                  </a:lnTo>
                  <a:lnTo>
                    <a:pt x="340" y="374"/>
                  </a:lnTo>
                  <a:lnTo>
                    <a:pt x="340" y="390"/>
                  </a:lnTo>
                  <a:lnTo>
                    <a:pt x="337" y="399"/>
                  </a:lnTo>
                  <a:lnTo>
                    <a:pt x="334" y="409"/>
                  </a:lnTo>
                  <a:lnTo>
                    <a:pt x="334" y="418"/>
                  </a:lnTo>
                  <a:lnTo>
                    <a:pt x="331" y="428"/>
                  </a:lnTo>
                  <a:lnTo>
                    <a:pt x="328" y="437"/>
                  </a:lnTo>
                  <a:lnTo>
                    <a:pt x="328" y="446"/>
                  </a:lnTo>
                  <a:lnTo>
                    <a:pt x="328" y="459"/>
                  </a:lnTo>
                  <a:lnTo>
                    <a:pt x="328" y="471"/>
                  </a:lnTo>
                  <a:lnTo>
                    <a:pt x="328" y="481"/>
                  </a:lnTo>
                  <a:lnTo>
                    <a:pt x="328" y="490"/>
                  </a:lnTo>
                  <a:lnTo>
                    <a:pt x="325" y="502"/>
                  </a:lnTo>
                  <a:lnTo>
                    <a:pt x="322" y="512"/>
                  </a:lnTo>
                  <a:lnTo>
                    <a:pt x="322" y="521"/>
                  </a:lnTo>
                  <a:lnTo>
                    <a:pt x="318" y="527"/>
                  </a:lnTo>
                  <a:lnTo>
                    <a:pt x="315" y="537"/>
                  </a:lnTo>
                  <a:lnTo>
                    <a:pt x="309" y="546"/>
                  </a:lnTo>
                  <a:lnTo>
                    <a:pt x="306" y="552"/>
                  </a:lnTo>
                  <a:lnTo>
                    <a:pt x="300" y="552"/>
                  </a:lnTo>
                  <a:lnTo>
                    <a:pt x="290" y="552"/>
                  </a:lnTo>
                  <a:lnTo>
                    <a:pt x="284" y="552"/>
                  </a:lnTo>
                  <a:lnTo>
                    <a:pt x="278" y="552"/>
                  </a:lnTo>
                  <a:lnTo>
                    <a:pt x="262" y="537"/>
                  </a:lnTo>
                  <a:lnTo>
                    <a:pt x="250" y="515"/>
                  </a:lnTo>
                  <a:lnTo>
                    <a:pt x="240" y="496"/>
                  </a:lnTo>
                  <a:lnTo>
                    <a:pt x="240" y="481"/>
                  </a:lnTo>
                  <a:lnTo>
                    <a:pt x="240" y="462"/>
                  </a:lnTo>
                  <a:lnTo>
                    <a:pt x="243" y="446"/>
                  </a:lnTo>
                  <a:lnTo>
                    <a:pt x="240" y="431"/>
                  </a:lnTo>
                  <a:lnTo>
                    <a:pt x="234" y="428"/>
                  </a:lnTo>
                  <a:lnTo>
                    <a:pt x="228" y="424"/>
                  </a:lnTo>
                  <a:lnTo>
                    <a:pt x="215" y="421"/>
                  </a:lnTo>
                  <a:lnTo>
                    <a:pt x="206" y="418"/>
                  </a:lnTo>
                  <a:lnTo>
                    <a:pt x="200" y="415"/>
                  </a:lnTo>
                  <a:lnTo>
                    <a:pt x="194" y="412"/>
                  </a:lnTo>
                  <a:lnTo>
                    <a:pt x="184" y="393"/>
                  </a:lnTo>
                  <a:lnTo>
                    <a:pt x="178" y="371"/>
                  </a:lnTo>
                  <a:lnTo>
                    <a:pt x="169" y="353"/>
                  </a:lnTo>
                  <a:lnTo>
                    <a:pt x="153" y="331"/>
                  </a:lnTo>
                  <a:lnTo>
                    <a:pt x="131" y="306"/>
                  </a:lnTo>
                  <a:lnTo>
                    <a:pt x="109" y="287"/>
                  </a:lnTo>
                  <a:lnTo>
                    <a:pt x="97" y="284"/>
                  </a:lnTo>
                  <a:lnTo>
                    <a:pt x="78" y="281"/>
                  </a:lnTo>
                  <a:lnTo>
                    <a:pt x="59" y="275"/>
                  </a:lnTo>
                  <a:lnTo>
                    <a:pt x="47" y="268"/>
                  </a:lnTo>
                  <a:lnTo>
                    <a:pt x="37" y="250"/>
                  </a:lnTo>
                  <a:lnTo>
                    <a:pt x="31" y="221"/>
                  </a:lnTo>
                  <a:lnTo>
                    <a:pt x="28" y="200"/>
                  </a:lnTo>
                  <a:lnTo>
                    <a:pt x="31" y="187"/>
                  </a:lnTo>
                  <a:lnTo>
                    <a:pt x="37" y="171"/>
                  </a:lnTo>
                  <a:lnTo>
                    <a:pt x="47" y="156"/>
                  </a:lnTo>
                  <a:lnTo>
                    <a:pt x="50" y="143"/>
                  </a:lnTo>
                  <a:lnTo>
                    <a:pt x="50" y="137"/>
                  </a:lnTo>
                  <a:lnTo>
                    <a:pt x="40" y="134"/>
                  </a:lnTo>
                  <a:lnTo>
                    <a:pt x="28" y="125"/>
                  </a:lnTo>
                  <a:lnTo>
                    <a:pt x="16" y="109"/>
                  </a:lnTo>
                  <a:lnTo>
                    <a:pt x="3" y="93"/>
                  </a:lnTo>
                  <a:lnTo>
                    <a:pt x="0" y="78"/>
                  </a:lnTo>
                  <a:lnTo>
                    <a:pt x="0" y="62"/>
                  </a:lnTo>
                  <a:lnTo>
                    <a:pt x="6" y="37"/>
                  </a:lnTo>
                  <a:lnTo>
                    <a:pt x="19" y="18"/>
                  </a:lnTo>
                  <a:lnTo>
                    <a:pt x="28" y="6"/>
                  </a:lnTo>
                  <a:lnTo>
                    <a:pt x="47" y="0"/>
                  </a:lnTo>
                  <a:lnTo>
                    <a:pt x="65" y="0"/>
                  </a:lnTo>
                  <a:lnTo>
                    <a:pt x="84" y="6"/>
                  </a:lnTo>
                  <a:lnTo>
                    <a:pt x="97" y="18"/>
                  </a:lnTo>
                  <a:lnTo>
                    <a:pt x="109" y="40"/>
                  </a:lnTo>
                  <a:lnTo>
                    <a:pt x="119" y="59"/>
                  </a:lnTo>
                  <a:lnTo>
                    <a:pt x="122" y="68"/>
                  </a:lnTo>
                  <a:lnTo>
                    <a:pt x="128" y="78"/>
                  </a:lnTo>
                  <a:lnTo>
                    <a:pt x="137" y="90"/>
                  </a:lnTo>
                  <a:lnTo>
                    <a:pt x="144" y="100"/>
                  </a:lnTo>
                  <a:lnTo>
                    <a:pt x="150" y="106"/>
                  </a:lnTo>
                  <a:lnTo>
                    <a:pt x="169" y="112"/>
                  </a:lnTo>
                  <a:lnTo>
                    <a:pt x="190" y="118"/>
                  </a:lnTo>
                  <a:lnTo>
                    <a:pt x="209" y="125"/>
                  </a:lnTo>
                  <a:lnTo>
                    <a:pt x="231" y="137"/>
                  </a:lnTo>
                  <a:lnTo>
                    <a:pt x="253" y="156"/>
                  </a:lnTo>
                  <a:lnTo>
                    <a:pt x="268" y="178"/>
                  </a:lnTo>
                  <a:lnTo>
                    <a:pt x="272" y="193"/>
                  </a:lnTo>
                  <a:lnTo>
                    <a:pt x="268" y="212"/>
                  </a:lnTo>
                  <a:lnTo>
                    <a:pt x="265" y="234"/>
                  </a:lnTo>
                  <a:lnTo>
                    <a:pt x="268" y="246"/>
                  </a:lnTo>
                  <a:lnTo>
                    <a:pt x="275" y="256"/>
                  </a:lnTo>
                  <a:lnTo>
                    <a:pt x="284" y="262"/>
                  </a:lnTo>
                  <a:lnTo>
                    <a:pt x="293" y="265"/>
                  </a:lnTo>
                  <a:lnTo>
                    <a:pt x="303" y="271"/>
                  </a:lnTo>
                  <a:lnTo>
                    <a:pt x="309" y="278"/>
                  </a:lnTo>
                  <a:lnTo>
                    <a:pt x="322" y="296"/>
                  </a:lnTo>
                  <a:lnTo>
                    <a:pt x="334" y="318"/>
                  </a:lnTo>
                  <a:lnTo>
                    <a:pt x="340" y="337"/>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50" name="Freeform 29">
              <a:extLst>
                <a:ext uri="{FF2B5EF4-FFF2-40B4-BE49-F238E27FC236}">
                  <a16:creationId xmlns:a16="http://schemas.microsoft.com/office/drawing/2014/main" id="{D603AB48-B3DE-4A6E-AA74-37664CC992BC}"/>
                </a:ext>
              </a:extLst>
            </p:cNvPr>
            <p:cNvSpPr>
              <a:spLocks/>
            </p:cNvSpPr>
            <p:nvPr/>
          </p:nvSpPr>
          <p:spPr bwMode="auto">
            <a:xfrm>
              <a:off x="11503026" y="-3157538"/>
              <a:ext cx="6454775" cy="7683500"/>
            </a:xfrm>
            <a:custGeom>
              <a:avLst/>
              <a:gdLst>
                <a:gd name="T0" fmla="*/ 2913 w 4066"/>
                <a:gd name="T1" fmla="*/ 3619 h 4840"/>
                <a:gd name="T2" fmla="*/ 2776 w 4066"/>
                <a:gd name="T3" fmla="*/ 3897 h 4840"/>
                <a:gd name="T4" fmla="*/ 2504 w 4066"/>
                <a:gd name="T5" fmla="*/ 4084 h 4840"/>
                <a:gd name="T6" fmla="*/ 2448 w 4066"/>
                <a:gd name="T7" fmla="*/ 4397 h 4840"/>
                <a:gd name="T8" fmla="*/ 2223 w 4066"/>
                <a:gd name="T9" fmla="*/ 4574 h 4840"/>
                <a:gd name="T10" fmla="*/ 2051 w 4066"/>
                <a:gd name="T11" fmla="*/ 4631 h 4840"/>
                <a:gd name="T12" fmla="*/ 1948 w 4066"/>
                <a:gd name="T13" fmla="*/ 4802 h 4840"/>
                <a:gd name="T14" fmla="*/ 1702 w 4066"/>
                <a:gd name="T15" fmla="*/ 4837 h 4840"/>
                <a:gd name="T16" fmla="*/ 1461 w 4066"/>
                <a:gd name="T17" fmla="*/ 4684 h 4840"/>
                <a:gd name="T18" fmla="*/ 1290 w 4066"/>
                <a:gd name="T19" fmla="*/ 4550 h 4840"/>
                <a:gd name="T20" fmla="*/ 1137 w 4066"/>
                <a:gd name="T21" fmla="*/ 4381 h 4840"/>
                <a:gd name="T22" fmla="*/ 999 w 4066"/>
                <a:gd name="T23" fmla="*/ 4300 h 4840"/>
                <a:gd name="T24" fmla="*/ 796 w 4066"/>
                <a:gd name="T25" fmla="*/ 4047 h 4840"/>
                <a:gd name="T26" fmla="*/ 456 w 4066"/>
                <a:gd name="T27" fmla="*/ 3706 h 4840"/>
                <a:gd name="T28" fmla="*/ 143 w 4066"/>
                <a:gd name="T29" fmla="*/ 3416 h 4840"/>
                <a:gd name="T30" fmla="*/ 47 w 4066"/>
                <a:gd name="T31" fmla="*/ 3144 h 4840"/>
                <a:gd name="T32" fmla="*/ 209 w 4066"/>
                <a:gd name="T33" fmla="*/ 2957 h 4840"/>
                <a:gd name="T34" fmla="*/ 268 w 4066"/>
                <a:gd name="T35" fmla="*/ 2738 h 4840"/>
                <a:gd name="T36" fmla="*/ 312 w 4066"/>
                <a:gd name="T37" fmla="*/ 2667 h 4840"/>
                <a:gd name="T38" fmla="*/ 306 w 4066"/>
                <a:gd name="T39" fmla="*/ 2510 h 4840"/>
                <a:gd name="T40" fmla="*/ 206 w 4066"/>
                <a:gd name="T41" fmla="*/ 2364 h 4840"/>
                <a:gd name="T42" fmla="*/ 184 w 4066"/>
                <a:gd name="T43" fmla="*/ 2123 h 4840"/>
                <a:gd name="T44" fmla="*/ 272 w 4066"/>
                <a:gd name="T45" fmla="*/ 1945 h 4840"/>
                <a:gd name="T46" fmla="*/ 543 w 4066"/>
                <a:gd name="T47" fmla="*/ 1955 h 4840"/>
                <a:gd name="T48" fmla="*/ 715 w 4066"/>
                <a:gd name="T49" fmla="*/ 1936 h 4840"/>
                <a:gd name="T50" fmla="*/ 949 w 4066"/>
                <a:gd name="T51" fmla="*/ 1945 h 4840"/>
                <a:gd name="T52" fmla="*/ 1190 w 4066"/>
                <a:gd name="T53" fmla="*/ 1852 h 4840"/>
                <a:gd name="T54" fmla="*/ 1074 w 4066"/>
                <a:gd name="T55" fmla="*/ 1786 h 4840"/>
                <a:gd name="T56" fmla="*/ 1087 w 4066"/>
                <a:gd name="T57" fmla="*/ 1592 h 4840"/>
                <a:gd name="T58" fmla="*/ 1055 w 4066"/>
                <a:gd name="T59" fmla="*/ 1271 h 4840"/>
                <a:gd name="T60" fmla="*/ 984 w 4066"/>
                <a:gd name="T61" fmla="*/ 968 h 4840"/>
                <a:gd name="T62" fmla="*/ 968 w 4066"/>
                <a:gd name="T63" fmla="*/ 852 h 4840"/>
                <a:gd name="T64" fmla="*/ 812 w 4066"/>
                <a:gd name="T65" fmla="*/ 696 h 4840"/>
                <a:gd name="T66" fmla="*/ 668 w 4066"/>
                <a:gd name="T67" fmla="*/ 384 h 4840"/>
                <a:gd name="T68" fmla="*/ 696 w 4066"/>
                <a:gd name="T69" fmla="*/ 290 h 4840"/>
                <a:gd name="T70" fmla="*/ 868 w 4066"/>
                <a:gd name="T71" fmla="*/ 375 h 4840"/>
                <a:gd name="T72" fmla="*/ 1161 w 4066"/>
                <a:gd name="T73" fmla="*/ 340 h 4840"/>
                <a:gd name="T74" fmla="*/ 1258 w 4066"/>
                <a:gd name="T75" fmla="*/ 187 h 4840"/>
                <a:gd name="T76" fmla="*/ 1558 w 4066"/>
                <a:gd name="T77" fmla="*/ 140 h 4840"/>
                <a:gd name="T78" fmla="*/ 1867 w 4066"/>
                <a:gd name="T79" fmla="*/ 140 h 4840"/>
                <a:gd name="T80" fmla="*/ 1973 w 4066"/>
                <a:gd name="T81" fmla="*/ 265 h 4840"/>
                <a:gd name="T82" fmla="*/ 2092 w 4066"/>
                <a:gd name="T83" fmla="*/ 56 h 4840"/>
                <a:gd name="T84" fmla="*/ 2283 w 4066"/>
                <a:gd name="T85" fmla="*/ 28 h 4840"/>
                <a:gd name="T86" fmla="*/ 2479 w 4066"/>
                <a:gd name="T87" fmla="*/ 250 h 4840"/>
                <a:gd name="T88" fmla="*/ 2604 w 4066"/>
                <a:gd name="T89" fmla="*/ 453 h 4840"/>
                <a:gd name="T90" fmla="*/ 2860 w 4066"/>
                <a:gd name="T91" fmla="*/ 578 h 4840"/>
                <a:gd name="T92" fmla="*/ 3023 w 4066"/>
                <a:gd name="T93" fmla="*/ 515 h 4840"/>
                <a:gd name="T94" fmla="*/ 3169 w 4066"/>
                <a:gd name="T95" fmla="*/ 475 h 4840"/>
                <a:gd name="T96" fmla="*/ 3419 w 4066"/>
                <a:gd name="T97" fmla="*/ 831 h 4840"/>
                <a:gd name="T98" fmla="*/ 3575 w 4066"/>
                <a:gd name="T99" fmla="*/ 1199 h 4840"/>
                <a:gd name="T100" fmla="*/ 3778 w 4066"/>
                <a:gd name="T101" fmla="*/ 1546 h 4840"/>
                <a:gd name="T102" fmla="*/ 3984 w 4066"/>
                <a:gd name="T103" fmla="*/ 1627 h 4840"/>
                <a:gd name="T104" fmla="*/ 4041 w 4066"/>
                <a:gd name="T105" fmla="*/ 1824 h 4840"/>
                <a:gd name="T106" fmla="*/ 3944 w 4066"/>
                <a:gd name="T107" fmla="*/ 1942 h 4840"/>
                <a:gd name="T108" fmla="*/ 3722 w 4066"/>
                <a:gd name="T109" fmla="*/ 2070 h 4840"/>
                <a:gd name="T110" fmla="*/ 3429 w 4066"/>
                <a:gd name="T111" fmla="*/ 2220 h 4840"/>
                <a:gd name="T112" fmla="*/ 3379 w 4066"/>
                <a:gd name="T113" fmla="*/ 2514 h 4840"/>
                <a:gd name="T114" fmla="*/ 3541 w 4066"/>
                <a:gd name="T115" fmla="*/ 2754 h 4840"/>
                <a:gd name="T116" fmla="*/ 3388 w 4066"/>
                <a:gd name="T117" fmla="*/ 2957 h 4840"/>
                <a:gd name="T118" fmla="*/ 3294 w 4066"/>
                <a:gd name="T119" fmla="*/ 3269 h 4840"/>
                <a:gd name="T120" fmla="*/ 3110 w 4066"/>
                <a:gd name="T121" fmla="*/ 3438 h 4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66" h="4840">
                  <a:moveTo>
                    <a:pt x="3079" y="3472"/>
                  </a:moveTo>
                  <a:lnTo>
                    <a:pt x="3069" y="3482"/>
                  </a:lnTo>
                  <a:lnTo>
                    <a:pt x="3060" y="3491"/>
                  </a:lnTo>
                  <a:lnTo>
                    <a:pt x="3051" y="3494"/>
                  </a:lnTo>
                  <a:lnTo>
                    <a:pt x="3032" y="3500"/>
                  </a:lnTo>
                  <a:lnTo>
                    <a:pt x="3013" y="3500"/>
                  </a:lnTo>
                  <a:lnTo>
                    <a:pt x="2998" y="3507"/>
                  </a:lnTo>
                  <a:lnTo>
                    <a:pt x="2991" y="3522"/>
                  </a:lnTo>
                  <a:lnTo>
                    <a:pt x="2991" y="3544"/>
                  </a:lnTo>
                  <a:lnTo>
                    <a:pt x="2991" y="3566"/>
                  </a:lnTo>
                  <a:lnTo>
                    <a:pt x="2985" y="3582"/>
                  </a:lnTo>
                  <a:lnTo>
                    <a:pt x="2966" y="3594"/>
                  </a:lnTo>
                  <a:lnTo>
                    <a:pt x="2941" y="3606"/>
                  </a:lnTo>
                  <a:lnTo>
                    <a:pt x="2920" y="3616"/>
                  </a:lnTo>
                  <a:lnTo>
                    <a:pt x="2913" y="3619"/>
                  </a:lnTo>
                  <a:lnTo>
                    <a:pt x="2904" y="3625"/>
                  </a:lnTo>
                  <a:lnTo>
                    <a:pt x="2895" y="3635"/>
                  </a:lnTo>
                  <a:lnTo>
                    <a:pt x="2888" y="3641"/>
                  </a:lnTo>
                  <a:lnTo>
                    <a:pt x="2885" y="3647"/>
                  </a:lnTo>
                  <a:lnTo>
                    <a:pt x="2882" y="3669"/>
                  </a:lnTo>
                  <a:lnTo>
                    <a:pt x="2888" y="3694"/>
                  </a:lnTo>
                  <a:lnTo>
                    <a:pt x="2895" y="3722"/>
                  </a:lnTo>
                  <a:lnTo>
                    <a:pt x="2898" y="3744"/>
                  </a:lnTo>
                  <a:lnTo>
                    <a:pt x="2891" y="3772"/>
                  </a:lnTo>
                  <a:lnTo>
                    <a:pt x="2879" y="3806"/>
                  </a:lnTo>
                  <a:lnTo>
                    <a:pt x="2866" y="3831"/>
                  </a:lnTo>
                  <a:lnTo>
                    <a:pt x="2848" y="3850"/>
                  </a:lnTo>
                  <a:lnTo>
                    <a:pt x="2823" y="3866"/>
                  </a:lnTo>
                  <a:lnTo>
                    <a:pt x="2798" y="3881"/>
                  </a:lnTo>
                  <a:lnTo>
                    <a:pt x="2776" y="3897"/>
                  </a:lnTo>
                  <a:lnTo>
                    <a:pt x="2757" y="3919"/>
                  </a:lnTo>
                  <a:lnTo>
                    <a:pt x="2735" y="3950"/>
                  </a:lnTo>
                  <a:lnTo>
                    <a:pt x="2717" y="3972"/>
                  </a:lnTo>
                  <a:lnTo>
                    <a:pt x="2695" y="3978"/>
                  </a:lnTo>
                  <a:lnTo>
                    <a:pt x="2670" y="3984"/>
                  </a:lnTo>
                  <a:lnTo>
                    <a:pt x="2648" y="3991"/>
                  </a:lnTo>
                  <a:lnTo>
                    <a:pt x="2626" y="4006"/>
                  </a:lnTo>
                  <a:lnTo>
                    <a:pt x="2601" y="4025"/>
                  </a:lnTo>
                  <a:lnTo>
                    <a:pt x="2573" y="4047"/>
                  </a:lnTo>
                  <a:lnTo>
                    <a:pt x="2551" y="4062"/>
                  </a:lnTo>
                  <a:lnTo>
                    <a:pt x="2542" y="4066"/>
                  </a:lnTo>
                  <a:lnTo>
                    <a:pt x="2532" y="4072"/>
                  </a:lnTo>
                  <a:lnTo>
                    <a:pt x="2523" y="4075"/>
                  </a:lnTo>
                  <a:lnTo>
                    <a:pt x="2514" y="4081"/>
                  </a:lnTo>
                  <a:lnTo>
                    <a:pt x="2504" y="4084"/>
                  </a:lnTo>
                  <a:lnTo>
                    <a:pt x="2498" y="4106"/>
                  </a:lnTo>
                  <a:lnTo>
                    <a:pt x="2495" y="4131"/>
                  </a:lnTo>
                  <a:lnTo>
                    <a:pt x="2492" y="4156"/>
                  </a:lnTo>
                  <a:lnTo>
                    <a:pt x="2489" y="4178"/>
                  </a:lnTo>
                  <a:lnTo>
                    <a:pt x="2476" y="4194"/>
                  </a:lnTo>
                  <a:lnTo>
                    <a:pt x="2461" y="4209"/>
                  </a:lnTo>
                  <a:lnTo>
                    <a:pt x="2442" y="4225"/>
                  </a:lnTo>
                  <a:lnTo>
                    <a:pt x="2432" y="4240"/>
                  </a:lnTo>
                  <a:lnTo>
                    <a:pt x="2436" y="4259"/>
                  </a:lnTo>
                  <a:lnTo>
                    <a:pt x="2442" y="4278"/>
                  </a:lnTo>
                  <a:lnTo>
                    <a:pt x="2448" y="4300"/>
                  </a:lnTo>
                  <a:lnTo>
                    <a:pt x="2451" y="4318"/>
                  </a:lnTo>
                  <a:lnTo>
                    <a:pt x="2451" y="4340"/>
                  </a:lnTo>
                  <a:lnTo>
                    <a:pt x="2451" y="4368"/>
                  </a:lnTo>
                  <a:lnTo>
                    <a:pt x="2448" y="4397"/>
                  </a:lnTo>
                  <a:lnTo>
                    <a:pt x="2439" y="4415"/>
                  </a:lnTo>
                  <a:lnTo>
                    <a:pt x="2436" y="4418"/>
                  </a:lnTo>
                  <a:lnTo>
                    <a:pt x="2426" y="4418"/>
                  </a:lnTo>
                  <a:lnTo>
                    <a:pt x="2420" y="4418"/>
                  </a:lnTo>
                  <a:lnTo>
                    <a:pt x="2411" y="4421"/>
                  </a:lnTo>
                  <a:lnTo>
                    <a:pt x="2404" y="4421"/>
                  </a:lnTo>
                  <a:lnTo>
                    <a:pt x="2398" y="4421"/>
                  </a:lnTo>
                  <a:lnTo>
                    <a:pt x="2376" y="4437"/>
                  </a:lnTo>
                  <a:lnTo>
                    <a:pt x="2354" y="4459"/>
                  </a:lnTo>
                  <a:lnTo>
                    <a:pt x="2336" y="4478"/>
                  </a:lnTo>
                  <a:lnTo>
                    <a:pt x="2317" y="4503"/>
                  </a:lnTo>
                  <a:lnTo>
                    <a:pt x="2292" y="4531"/>
                  </a:lnTo>
                  <a:lnTo>
                    <a:pt x="2270" y="4553"/>
                  </a:lnTo>
                  <a:lnTo>
                    <a:pt x="2248" y="4565"/>
                  </a:lnTo>
                  <a:lnTo>
                    <a:pt x="2223" y="4574"/>
                  </a:lnTo>
                  <a:lnTo>
                    <a:pt x="2198" y="4581"/>
                  </a:lnTo>
                  <a:lnTo>
                    <a:pt x="2183" y="4581"/>
                  </a:lnTo>
                  <a:lnTo>
                    <a:pt x="2164" y="4578"/>
                  </a:lnTo>
                  <a:lnTo>
                    <a:pt x="2142" y="4574"/>
                  </a:lnTo>
                  <a:lnTo>
                    <a:pt x="2123" y="4574"/>
                  </a:lnTo>
                  <a:lnTo>
                    <a:pt x="2111" y="4581"/>
                  </a:lnTo>
                  <a:lnTo>
                    <a:pt x="2108" y="4584"/>
                  </a:lnTo>
                  <a:lnTo>
                    <a:pt x="2108" y="4590"/>
                  </a:lnTo>
                  <a:lnTo>
                    <a:pt x="2111" y="4596"/>
                  </a:lnTo>
                  <a:lnTo>
                    <a:pt x="2111" y="4603"/>
                  </a:lnTo>
                  <a:lnTo>
                    <a:pt x="2111" y="4606"/>
                  </a:lnTo>
                  <a:lnTo>
                    <a:pt x="2098" y="4615"/>
                  </a:lnTo>
                  <a:lnTo>
                    <a:pt x="2083" y="4621"/>
                  </a:lnTo>
                  <a:lnTo>
                    <a:pt x="2064" y="4628"/>
                  </a:lnTo>
                  <a:lnTo>
                    <a:pt x="2051" y="4631"/>
                  </a:lnTo>
                  <a:lnTo>
                    <a:pt x="2042" y="4640"/>
                  </a:lnTo>
                  <a:lnTo>
                    <a:pt x="2030" y="4646"/>
                  </a:lnTo>
                  <a:lnTo>
                    <a:pt x="2020" y="4656"/>
                  </a:lnTo>
                  <a:lnTo>
                    <a:pt x="2011" y="4665"/>
                  </a:lnTo>
                  <a:lnTo>
                    <a:pt x="2005" y="4674"/>
                  </a:lnTo>
                  <a:lnTo>
                    <a:pt x="2002" y="4693"/>
                  </a:lnTo>
                  <a:lnTo>
                    <a:pt x="2005" y="4715"/>
                  </a:lnTo>
                  <a:lnTo>
                    <a:pt x="2008" y="4737"/>
                  </a:lnTo>
                  <a:lnTo>
                    <a:pt x="2005" y="4756"/>
                  </a:lnTo>
                  <a:lnTo>
                    <a:pt x="1998" y="4762"/>
                  </a:lnTo>
                  <a:lnTo>
                    <a:pt x="1989" y="4768"/>
                  </a:lnTo>
                  <a:lnTo>
                    <a:pt x="1980" y="4777"/>
                  </a:lnTo>
                  <a:lnTo>
                    <a:pt x="1970" y="4784"/>
                  </a:lnTo>
                  <a:lnTo>
                    <a:pt x="1961" y="4787"/>
                  </a:lnTo>
                  <a:lnTo>
                    <a:pt x="1948" y="4802"/>
                  </a:lnTo>
                  <a:lnTo>
                    <a:pt x="1933" y="4818"/>
                  </a:lnTo>
                  <a:lnTo>
                    <a:pt x="1914" y="4831"/>
                  </a:lnTo>
                  <a:lnTo>
                    <a:pt x="1898" y="4837"/>
                  </a:lnTo>
                  <a:lnTo>
                    <a:pt x="1889" y="4827"/>
                  </a:lnTo>
                  <a:lnTo>
                    <a:pt x="1880" y="4809"/>
                  </a:lnTo>
                  <a:lnTo>
                    <a:pt x="1873" y="4787"/>
                  </a:lnTo>
                  <a:lnTo>
                    <a:pt x="1861" y="4777"/>
                  </a:lnTo>
                  <a:lnTo>
                    <a:pt x="1845" y="4781"/>
                  </a:lnTo>
                  <a:lnTo>
                    <a:pt x="1827" y="4793"/>
                  </a:lnTo>
                  <a:lnTo>
                    <a:pt x="1808" y="4812"/>
                  </a:lnTo>
                  <a:lnTo>
                    <a:pt x="1792" y="4827"/>
                  </a:lnTo>
                  <a:lnTo>
                    <a:pt x="1774" y="4837"/>
                  </a:lnTo>
                  <a:lnTo>
                    <a:pt x="1755" y="4840"/>
                  </a:lnTo>
                  <a:lnTo>
                    <a:pt x="1727" y="4840"/>
                  </a:lnTo>
                  <a:lnTo>
                    <a:pt x="1702" y="4837"/>
                  </a:lnTo>
                  <a:lnTo>
                    <a:pt x="1680" y="4837"/>
                  </a:lnTo>
                  <a:lnTo>
                    <a:pt x="1664" y="4837"/>
                  </a:lnTo>
                  <a:lnTo>
                    <a:pt x="1642" y="4840"/>
                  </a:lnTo>
                  <a:lnTo>
                    <a:pt x="1627" y="4837"/>
                  </a:lnTo>
                  <a:lnTo>
                    <a:pt x="1614" y="4821"/>
                  </a:lnTo>
                  <a:lnTo>
                    <a:pt x="1605" y="4799"/>
                  </a:lnTo>
                  <a:lnTo>
                    <a:pt x="1592" y="4784"/>
                  </a:lnTo>
                  <a:lnTo>
                    <a:pt x="1577" y="4774"/>
                  </a:lnTo>
                  <a:lnTo>
                    <a:pt x="1555" y="4768"/>
                  </a:lnTo>
                  <a:lnTo>
                    <a:pt x="1536" y="4759"/>
                  </a:lnTo>
                  <a:lnTo>
                    <a:pt x="1530" y="4740"/>
                  </a:lnTo>
                  <a:lnTo>
                    <a:pt x="1524" y="4718"/>
                  </a:lnTo>
                  <a:lnTo>
                    <a:pt x="1514" y="4703"/>
                  </a:lnTo>
                  <a:lnTo>
                    <a:pt x="1493" y="4693"/>
                  </a:lnTo>
                  <a:lnTo>
                    <a:pt x="1461" y="4684"/>
                  </a:lnTo>
                  <a:lnTo>
                    <a:pt x="1436" y="4681"/>
                  </a:lnTo>
                  <a:lnTo>
                    <a:pt x="1421" y="4684"/>
                  </a:lnTo>
                  <a:lnTo>
                    <a:pt x="1402" y="4693"/>
                  </a:lnTo>
                  <a:lnTo>
                    <a:pt x="1380" y="4699"/>
                  </a:lnTo>
                  <a:lnTo>
                    <a:pt x="1361" y="4706"/>
                  </a:lnTo>
                  <a:lnTo>
                    <a:pt x="1349" y="4703"/>
                  </a:lnTo>
                  <a:lnTo>
                    <a:pt x="1339" y="4690"/>
                  </a:lnTo>
                  <a:lnTo>
                    <a:pt x="1336" y="4668"/>
                  </a:lnTo>
                  <a:lnTo>
                    <a:pt x="1333" y="4643"/>
                  </a:lnTo>
                  <a:lnTo>
                    <a:pt x="1330" y="4624"/>
                  </a:lnTo>
                  <a:lnTo>
                    <a:pt x="1321" y="4609"/>
                  </a:lnTo>
                  <a:lnTo>
                    <a:pt x="1305" y="4593"/>
                  </a:lnTo>
                  <a:lnTo>
                    <a:pt x="1290" y="4578"/>
                  </a:lnTo>
                  <a:lnTo>
                    <a:pt x="1283" y="4562"/>
                  </a:lnTo>
                  <a:lnTo>
                    <a:pt x="1290" y="4550"/>
                  </a:lnTo>
                  <a:lnTo>
                    <a:pt x="1305" y="4534"/>
                  </a:lnTo>
                  <a:lnTo>
                    <a:pt x="1321" y="4518"/>
                  </a:lnTo>
                  <a:lnTo>
                    <a:pt x="1330" y="4506"/>
                  </a:lnTo>
                  <a:lnTo>
                    <a:pt x="1333" y="4484"/>
                  </a:lnTo>
                  <a:lnTo>
                    <a:pt x="1333" y="4459"/>
                  </a:lnTo>
                  <a:lnTo>
                    <a:pt x="1330" y="4437"/>
                  </a:lnTo>
                  <a:lnTo>
                    <a:pt x="1318" y="4421"/>
                  </a:lnTo>
                  <a:lnTo>
                    <a:pt x="1299" y="4406"/>
                  </a:lnTo>
                  <a:lnTo>
                    <a:pt x="1280" y="4393"/>
                  </a:lnTo>
                  <a:lnTo>
                    <a:pt x="1261" y="4384"/>
                  </a:lnTo>
                  <a:lnTo>
                    <a:pt x="1236" y="4381"/>
                  </a:lnTo>
                  <a:lnTo>
                    <a:pt x="1208" y="4381"/>
                  </a:lnTo>
                  <a:lnTo>
                    <a:pt x="1180" y="4384"/>
                  </a:lnTo>
                  <a:lnTo>
                    <a:pt x="1155" y="4384"/>
                  </a:lnTo>
                  <a:lnTo>
                    <a:pt x="1137" y="4381"/>
                  </a:lnTo>
                  <a:lnTo>
                    <a:pt x="1112" y="4378"/>
                  </a:lnTo>
                  <a:lnTo>
                    <a:pt x="1090" y="4372"/>
                  </a:lnTo>
                  <a:lnTo>
                    <a:pt x="1074" y="4362"/>
                  </a:lnTo>
                  <a:lnTo>
                    <a:pt x="1071" y="4347"/>
                  </a:lnTo>
                  <a:lnTo>
                    <a:pt x="1074" y="4331"/>
                  </a:lnTo>
                  <a:lnTo>
                    <a:pt x="1077" y="4312"/>
                  </a:lnTo>
                  <a:lnTo>
                    <a:pt x="1074" y="4297"/>
                  </a:lnTo>
                  <a:lnTo>
                    <a:pt x="1071" y="4290"/>
                  </a:lnTo>
                  <a:lnTo>
                    <a:pt x="1065" y="4284"/>
                  </a:lnTo>
                  <a:lnTo>
                    <a:pt x="1055" y="4278"/>
                  </a:lnTo>
                  <a:lnTo>
                    <a:pt x="1049" y="4275"/>
                  </a:lnTo>
                  <a:lnTo>
                    <a:pt x="1043" y="4272"/>
                  </a:lnTo>
                  <a:lnTo>
                    <a:pt x="1027" y="4278"/>
                  </a:lnTo>
                  <a:lnTo>
                    <a:pt x="1015" y="4287"/>
                  </a:lnTo>
                  <a:lnTo>
                    <a:pt x="999" y="4300"/>
                  </a:lnTo>
                  <a:lnTo>
                    <a:pt x="987" y="4309"/>
                  </a:lnTo>
                  <a:lnTo>
                    <a:pt x="971" y="4306"/>
                  </a:lnTo>
                  <a:lnTo>
                    <a:pt x="949" y="4300"/>
                  </a:lnTo>
                  <a:lnTo>
                    <a:pt x="927" y="4293"/>
                  </a:lnTo>
                  <a:lnTo>
                    <a:pt x="912" y="4293"/>
                  </a:lnTo>
                  <a:lnTo>
                    <a:pt x="890" y="4297"/>
                  </a:lnTo>
                  <a:lnTo>
                    <a:pt x="862" y="4306"/>
                  </a:lnTo>
                  <a:lnTo>
                    <a:pt x="840" y="4318"/>
                  </a:lnTo>
                  <a:lnTo>
                    <a:pt x="827" y="4275"/>
                  </a:lnTo>
                  <a:lnTo>
                    <a:pt x="818" y="4231"/>
                  </a:lnTo>
                  <a:lnTo>
                    <a:pt x="812" y="4197"/>
                  </a:lnTo>
                  <a:lnTo>
                    <a:pt x="809" y="4162"/>
                  </a:lnTo>
                  <a:lnTo>
                    <a:pt x="806" y="4122"/>
                  </a:lnTo>
                  <a:lnTo>
                    <a:pt x="802" y="4081"/>
                  </a:lnTo>
                  <a:lnTo>
                    <a:pt x="796" y="4047"/>
                  </a:lnTo>
                  <a:lnTo>
                    <a:pt x="784" y="4019"/>
                  </a:lnTo>
                  <a:lnTo>
                    <a:pt x="768" y="3981"/>
                  </a:lnTo>
                  <a:lnTo>
                    <a:pt x="749" y="3947"/>
                  </a:lnTo>
                  <a:lnTo>
                    <a:pt x="734" y="3922"/>
                  </a:lnTo>
                  <a:lnTo>
                    <a:pt x="718" y="3891"/>
                  </a:lnTo>
                  <a:lnTo>
                    <a:pt x="699" y="3859"/>
                  </a:lnTo>
                  <a:lnTo>
                    <a:pt x="674" y="3825"/>
                  </a:lnTo>
                  <a:lnTo>
                    <a:pt x="656" y="3803"/>
                  </a:lnTo>
                  <a:lnTo>
                    <a:pt x="624" y="3784"/>
                  </a:lnTo>
                  <a:lnTo>
                    <a:pt x="590" y="3772"/>
                  </a:lnTo>
                  <a:lnTo>
                    <a:pt x="559" y="3760"/>
                  </a:lnTo>
                  <a:lnTo>
                    <a:pt x="534" y="3750"/>
                  </a:lnTo>
                  <a:lnTo>
                    <a:pt x="506" y="3735"/>
                  </a:lnTo>
                  <a:lnTo>
                    <a:pt x="478" y="3722"/>
                  </a:lnTo>
                  <a:lnTo>
                    <a:pt x="456" y="3706"/>
                  </a:lnTo>
                  <a:lnTo>
                    <a:pt x="437" y="3681"/>
                  </a:lnTo>
                  <a:lnTo>
                    <a:pt x="421" y="3650"/>
                  </a:lnTo>
                  <a:lnTo>
                    <a:pt x="406" y="3619"/>
                  </a:lnTo>
                  <a:lnTo>
                    <a:pt x="390" y="3594"/>
                  </a:lnTo>
                  <a:lnTo>
                    <a:pt x="368" y="3575"/>
                  </a:lnTo>
                  <a:lnTo>
                    <a:pt x="340" y="3557"/>
                  </a:lnTo>
                  <a:lnTo>
                    <a:pt x="318" y="3541"/>
                  </a:lnTo>
                  <a:lnTo>
                    <a:pt x="287" y="3525"/>
                  </a:lnTo>
                  <a:lnTo>
                    <a:pt x="250" y="3513"/>
                  </a:lnTo>
                  <a:lnTo>
                    <a:pt x="222" y="3494"/>
                  </a:lnTo>
                  <a:lnTo>
                    <a:pt x="206" y="3478"/>
                  </a:lnTo>
                  <a:lnTo>
                    <a:pt x="193" y="3453"/>
                  </a:lnTo>
                  <a:lnTo>
                    <a:pt x="178" y="3432"/>
                  </a:lnTo>
                  <a:lnTo>
                    <a:pt x="162" y="3419"/>
                  </a:lnTo>
                  <a:lnTo>
                    <a:pt x="143" y="3416"/>
                  </a:lnTo>
                  <a:lnTo>
                    <a:pt x="119" y="3419"/>
                  </a:lnTo>
                  <a:lnTo>
                    <a:pt x="94" y="3422"/>
                  </a:lnTo>
                  <a:lnTo>
                    <a:pt x="75" y="3419"/>
                  </a:lnTo>
                  <a:lnTo>
                    <a:pt x="53" y="3400"/>
                  </a:lnTo>
                  <a:lnTo>
                    <a:pt x="34" y="3375"/>
                  </a:lnTo>
                  <a:lnTo>
                    <a:pt x="19" y="3354"/>
                  </a:lnTo>
                  <a:lnTo>
                    <a:pt x="12" y="3335"/>
                  </a:lnTo>
                  <a:lnTo>
                    <a:pt x="9" y="3313"/>
                  </a:lnTo>
                  <a:lnTo>
                    <a:pt x="6" y="3294"/>
                  </a:lnTo>
                  <a:lnTo>
                    <a:pt x="3" y="3269"/>
                  </a:lnTo>
                  <a:lnTo>
                    <a:pt x="0" y="3238"/>
                  </a:lnTo>
                  <a:lnTo>
                    <a:pt x="0" y="3207"/>
                  </a:lnTo>
                  <a:lnTo>
                    <a:pt x="6" y="3182"/>
                  </a:lnTo>
                  <a:lnTo>
                    <a:pt x="22" y="3163"/>
                  </a:lnTo>
                  <a:lnTo>
                    <a:pt x="47" y="3144"/>
                  </a:lnTo>
                  <a:lnTo>
                    <a:pt x="72" y="3129"/>
                  </a:lnTo>
                  <a:lnTo>
                    <a:pt x="90" y="3113"/>
                  </a:lnTo>
                  <a:lnTo>
                    <a:pt x="97" y="3104"/>
                  </a:lnTo>
                  <a:lnTo>
                    <a:pt x="100" y="3091"/>
                  </a:lnTo>
                  <a:lnTo>
                    <a:pt x="103" y="3082"/>
                  </a:lnTo>
                  <a:lnTo>
                    <a:pt x="109" y="3069"/>
                  </a:lnTo>
                  <a:lnTo>
                    <a:pt x="112" y="3063"/>
                  </a:lnTo>
                  <a:lnTo>
                    <a:pt x="122" y="3054"/>
                  </a:lnTo>
                  <a:lnTo>
                    <a:pt x="131" y="3048"/>
                  </a:lnTo>
                  <a:lnTo>
                    <a:pt x="143" y="3041"/>
                  </a:lnTo>
                  <a:lnTo>
                    <a:pt x="150" y="3032"/>
                  </a:lnTo>
                  <a:lnTo>
                    <a:pt x="168" y="3013"/>
                  </a:lnTo>
                  <a:lnTo>
                    <a:pt x="187" y="2985"/>
                  </a:lnTo>
                  <a:lnTo>
                    <a:pt x="203" y="2963"/>
                  </a:lnTo>
                  <a:lnTo>
                    <a:pt x="209" y="2957"/>
                  </a:lnTo>
                  <a:lnTo>
                    <a:pt x="215" y="2948"/>
                  </a:lnTo>
                  <a:lnTo>
                    <a:pt x="225" y="2935"/>
                  </a:lnTo>
                  <a:lnTo>
                    <a:pt x="231" y="2926"/>
                  </a:lnTo>
                  <a:lnTo>
                    <a:pt x="237" y="2920"/>
                  </a:lnTo>
                  <a:lnTo>
                    <a:pt x="247" y="2916"/>
                  </a:lnTo>
                  <a:lnTo>
                    <a:pt x="256" y="2913"/>
                  </a:lnTo>
                  <a:lnTo>
                    <a:pt x="265" y="2907"/>
                  </a:lnTo>
                  <a:lnTo>
                    <a:pt x="272" y="2904"/>
                  </a:lnTo>
                  <a:lnTo>
                    <a:pt x="278" y="2898"/>
                  </a:lnTo>
                  <a:lnTo>
                    <a:pt x="284" y="2879"/>
                  </a:lnTo>
                  <a:lnTo>
                    <a:pt x="284" y="2851"/>
                  </a:lnTo>
                  <a:lnTo>
                    <a:pt x="284" y="2829"/>
                  </a:lnTo>
                  <a:lnTo>
                    <a:pt x="281" y="2801"/>
                  </a:lnTo>
                  <a:lnTo>
                    <a:pt x="275" y="2767"/>
                  </a:lnTo>
                  <a:lnTo>
                    <a:pt x="268" y="2738"/>
                  </a:lnTo>
                  <a:lnTo>
                    <a:pt x="265" y="2732"/>
                  </a:lnTo>
                  <a:lnTo>
                    <a:pt x="262" y="2723"/>
                  </a:lnTo>
                  <a:lnTo>
                    <a:pt x="259" y="2713"/>
                  </a:lnTo>
                  <a:lnTo>
                    <a:pt x="259" y="2704"/>
                  </a:lnTo>
                  <a:lnTo>
                    <a:pt x="256" y="2698"/>
                  </a:lnTo>
                  <a:lnTo>
                    <a:pt x="259" y="2692"/>
                  </a:lnTo>
                  <a:lnTo>
                    <a:pt x="262" y="2685"/>
                  </a:lnTo>
                  <a:lnTo>
                    <a:pt x="265" y="2676"/>
                  </a:lnTo>
                  <a:lnTo>
                    <a:pt x="272" y="2670"/>
                  </a:lnTo>
                  <a:lnTo>
                    <a:pt x="278" y="2667"/>
                  </a:lnTo>
                  <a:lnTo>
                    <a:pt x="281" y="2667"/>
                  </a:lnTo>
                  <a:lnTo>
                    <a:pt x="290" y="2667"/>
                  </a:lnTo>
                  <a:lnTo>
                    <a:pt x="297" y="2667"/>
                  </a:lnTo>
                  <a:lnTo>
                    <a:pt x="306" y="2670"/>
                  </a:lnTo>
                  <a:lnTo>
                    <a:pt x="312" y="2667"/>
                  </a:lnTo>
                  <a:lnTo>
                    <a:pt x="318" y="2663"/>
                  </a:lnTo>
                  <a:lnTo>
                    <a:pt x="325" y="2657"/>
                  </a:lnTo>
                  <a:lnTo>
                    <a:pt x="331" y="2648"/>
                  </a:lnTo>
                  <a:lnTo>
                    <a:pt x="334" y="2638"/>
                  </a:lnTo>
                  <a:lnTo>
                    <a:pt x="337" y="2632"/>
                  </a:lnTo>
                  <a:lnTo>
                    <a:pt x="343" y="2614"/>
                  </a:lnTo>
                  <a:lnTo>
                    <a:pt x="343" y="2589"/>
                  </a:lnTo>
                  <a:lnTo>
                    <a:pt x="340" y="2564"/>
                  </a:lnTo>
                  <a:lnTo>
                    <a:pt x="337" y="2548"/>
                  </a:lnTo>
                  <a:lnTo>
                    <a:pt x="331" y="2542"/>
                  </a:lnTo>
                  <a:lnTo>
                    <a:pt x="325" y="2539"/>
                  </a:lnTo>
                  <a:lnTo>
                    <a:pt x="318" y="2535"/>
                  </a:lnTo>
                  <a:lnTo>
                    <a:pt x="312" y="2529"/>
                  </a:lnTo>
                  <a:lnTo>
                    <a:pt x="306" y="2526"/>
                  </a:lnTo>
                  <a:lnTo>
                    <a:pt x="306" y="2510"/>
                  </a:lnTo>
                  <a:lnTo>
                    <a:pt x="309" y="2495"/>
                  </a:lnTo>
                  <a:lnTo>
                    <a:pt x="309" y="2476"/>
                  </a:lnTo>
                  <a:lnTo>
                    <a:pt x="306" y="2464"/>
                  </a:lnTo>
                  <a:lnTo>
                    <a:pt x="293" y="2451"/>
                  </a:lnTo>
                  <a:lnTo>
                    <a:pt x="247" y="2436"/>
                  </a:lnTo>
                  <a:lnTo>
                    <a:pt x="231" y="2426"/>
                  </a:lnTo>
                  <a:lnTo>
                    <a:pt x="228" y="2414"/>
                  </a:lnTo>
                  <a:lnTo>
                    <a:pt x="231" y="2395"/>
                  </a:lnTo>
                  <a:lnTo>
                    <a:pt x="234" y="2379"/>
                  </a:lnTo>
                  <a:lnTo>
                    <a:pt x="231" y="2367"/>
                  </a:lnTo>
                  <a:lnTo>
                    <a:pt x="228" y="2364"/>
                  </a:lnTo>
                  <a:lnTo>
                    <a:pt x="222" y="2364"/>
                  </a:lnTo>
                  <a:lnTo>
                    <a:pt x="215" y="2364"/>
                  </a:lnTo>
                  <a:lnTo>
                    <a:pt x="209" y="2364"/>
                  </a:lnTo>
                  <a:lnTo>
                    <a:pt x="206" y="2364"/>
                  </a:lnTo>
                  <a:lnTo>
                    <a:pt x="184" y="2357"/>
                  </a:lnTo>
                  <a:lnTo>
                    <a:pt x="156" y="2351"/>
                  </a:lnTo>
                  <a:lnTo>
                    <a:pt x="131" y="2342"/>
                  </a:lnTo>
                  <a:lnTo>
                    <a:pt x="112" y="2329"/>
                  </a:lnTo>
                  <a:lnTo>
                    <a:pt x="109" y="2317"/>
                  </a:lnTo>
                  <a:lnTo>
                    <a:pt x="106" y="2295"/>
                  </a:lnTo>
                  <a:lnTo>
                    <a:pt x="106" y="2276"/>
                  </a:lnTo>
                  <a:lnTo>
                    <a:pt x="106" y="2258"/>
                  </a:lnTo>
                  <a:lnTo>
                    <a:pt x="106" y="2236"/>
                  </a:lnTo>
                  <a:lnTo>
                    <a:pt x="109" y="2208"/>
                  </a:lnTo>
                  <a:lnTo>
                    <a:pt x="115" y="2179"/>
                  </a:lnTo>
                  <a:lnTo>
                    <a:pt x="125" y="2161"/>
                  </a:lnTo>
                  <a:lnTo>
                    <a:pt x="140" y="2145"/>
                  </a:lnTo>
                  <a:lnTo>
                    <a:pt x="162" y="2136"/>
                  </a:lnTo>
                  <a:lnTo>
                    <a:pt x="184" y="2123"/>
                  </a:lnTo>
                  <a:lnTo>
                    <a:pt x="200" y="2111"/>
                  </a:lnTo>
                  <a:lnTo>
                    <a:pt x="209" y="2095"/>
                  </a:lnTo>
                  <a:lnTo>
                    <a:pt x="218" y="2073"/>
                  </a:lnTo>
                  <a:lnTo>
                    <a:pt x="228" y="2058"/>
                  </a:lnTo>
                  <a:lnTo>
                    <a:pt x="234" y="2055"/>
                  </a:lnTo>
                  <a:lnTo>
                    <a:pt x="243" y="2051"/>
                  </a:lnTo>
                  <a:lnTo>
                    <a:pt x="253" y="2048"/>
                  </a:lnTo>
                  <a:lnTo>
                    <a:pt x="262" y="2045"/>
                  </a:lnTo>
                  <a:lnTo>
                    <a:pt x="268" y="2039"/>
                  </a:lnTo>
                  <a:lnTo>
                    <a:pt x="272" y="2033"/>
                  </a:lnTo>
                  <a:lnTo>
                    <a:pt x="275" y="2023"/>
                  </a:lnTo>
                  <a:lnTo>
                    <a:pt x="278" y="2011"/>
                  </a:lnTo>
                  <a:lnTo>
                    <a:pt x="278" y="2001"/>
                  </a:lnTo>
                  <a:lnTo>
                    <a:pt x="278" y="1977"/>
                  </a:lnTo>
                  <a:lnTo>
                    <a:pt x="272" y="1945"/>
                  </a:lnTo>
                  <a:lnTo>
                    <a:pt x="278" y="1933"/>
                  </a:lnTo>
                  <a:lnTo>
                    <a:pt x="287" y="1920"/>
                  </a:lnTo>
                  <a:lnTo>
                    <a:pt x="293" y="1914"/>
                  </a:lnTo>
                  <a:lnTo>
                    <a:pt x="309" y="1898"/>
                  </a:lnTo>
                  <a:lnTo>
                    <a:pt x="331" y="1883"/>
                  </a:lnTo>
                  <a:lnTo>
                    <a:pt x="350" y="1870"/>
                  </a:lnTo>
                  <a:lnTo>
                    <a:pt x="378" y="1864"/>
                  </a:lnTo>
                  <a:lnTo>
                    <a:pt x="412" y="1861"/>
                  </a:lnTo>
                  <a:lnTo>
                    <a:pt x="440" y="1864"/>
                  </a:lnTo>
                  <a:lnTo>
                    <a:pt x="459" y="1873"/>
                  </a:lnTo>
                  <a:lnTo>
                    <a:pt x="481" y="1886"/>
                  </a:lnTo>
                  <a:lnTo>
                    <a:pt x="496" y="1902"/>
                  </a:lnTo>
                  <a:lnTo>
                    <a:pt x="509" y="1917"/>
                  </a:lnTo>
                  <a:lnTo>
                    <a:pt x="528" y="1942"/>
                  </a:lnTo>
                  <a:lnTo>
                    <a:pt x="543" y="1955"/>
                  </a:lnTo>
                  <a:lnTo>
                    <a:pt x="549" y="1955"/>
                  </a:lnTo>
                  <a:lnTo>
                    <a:pt x="556" y="1952"/>
                  </a:lnTo>
                  <a:lnTo>
                    <a:pt x="562" y="1948"/>
                  </a:lnTo>
                  <a:lnTo>
                    <a:pt x="568" y="1945"/>
                  </a:lnTo>
                  <a:lnTo>
                    <a:pt x="574" y="1942"/>
                  </a:lnTo>
                  <a:lnTo>
                    <a:pt x="581" y="1939"/>
                  </a:lnTo>
                  <a:lnTo>
                    <a:pt x="587" y="1933"/>
                  </a:lnTo>
                  <a:lnTo>
                    <a:pt x="596" y="1927"/>
                  </a:lnTo>
                  <a:lnTo>
                    <a:pt x="603" y="1923"/>
                  </a:lnTo>
                  <a:lnTo>
                    <a:pt x="618" y="1920"/>
                  </a:lnTo>
                  <a:lnTo>
                    <a:pt x="637" y="1920"/>
                  </a:lnTo>
                  <a:lnTo>
                    <a:pt x="656" y="1920"/>
                  </a:lnTo>
                  <a:lnTo>
                    <a:pt x="674" y="1927"/>
                  </a:lnTo>
                  <a:lnTo>
                    <a:pt x="696" y="1933"/>
                  </a:lnTo>
                  <a:lnTo>
                    <a:pt x="715" y="1936"/>
                  </a:lnTo>
                  <a:lnTo>
                    <a:pt x="731" y="1936"/>
                  </a:lnTo>
                  <a:lnTo>
                    <a:pt x="752" y="1933"/>
                  </a:lnTo>
                  <a:lnTo>
                    <a:pt x="768" y="1936"/>
                  </a:lnTo>
                  <a:lnTo>
                    <a:pt x="774" y="1939"/>
                  </a:lnTo>
                  <a:lnTo>
                    <a:pt x="781" y="1948"/>
                  </a:lnTo>
                  <a:lnTo>
                    <a:pt x="787" y="1958"/>
                  </a:lnTo>
                  <a:lnTo>
                    <a:pt x="793" y="1967"/>
                  </a:lnTo>
                  <a:lnTo>
                    <a:pt x="802" y="1973"/>
                  </a:lnTo>
                  <a:lnTo>
                    <a:pt x="821" y="1977"/>
                  </a:lnTo>
                  <a:lnTo>
                    <a:pt x="849" y="1977"/>
                  </a:lnTo>
                  <a:lnTo>
                    <a:pt x="871" y="1973"/>
                  </a:lnTo>
                  <a:lnTo>
                    <a:pt x="887" y="1967"/>
                  </a:lnTo>
                  <a:lnTo>
                    <a:pt x="909" y="1955"/>
                  </a:lnTo>
                  <a:lnTo>
                    <a:pt x="924" y="1945"/>
                  </a:lnTo>
                  <a:lnTo>
                    <a:pt x="949" y="1945"/>
                  </a:lnTo>
                  <a:lnTo>
                    <a:pt x="974" y="1948"/>
                  </a:lnTo>
                  <a:lnTo>
                    <a:pt x="1002" y="1948"/>
                  </a:lnTo>
                  <a:lnTo>
                    <a:pt x="1024" y="1945"/>
                  </a:lnTo>
                  <a:lnTo>
                    <a:pt x="1033" y="1942"/>
                  </a:lnTo>
                  <a:lnTo>
                    <a:pt x="1040" y="1933"/>
                  </a:lnTo>
                  <a:lnTo>
                    <a:pt x="1049" y="1923"/>
                  </a:lnTo>
                  <a:lnTo>
                    <a:pt x="1055" y="1911"/>
                  </a:lnTo>
                  <a:lnTo>
                    <a:pt x="1065" y="1905"/>
                  </a:lnTo>
                  <a:lnTo>
                    <a:pt x="1071" y="1898"/>
                  </a:lnTo>
                  <a:lnTo>
                    <a:pt x="1090" y="1895"/>
                  </a:lnTo>
                  <a:lnTo>
                    <a:pt x="1112" y="1892"/>
                  </a:lnTo>
                  <a:lnTo>
                    <a:pt x="1133" y="1889"/>
                  </a:lnTo>
                  <a:lnTo>
                    <a:pt x="1152" y="1880"/>
                  </a:lnTo>
                  <a:lnTo>
                    <a:pt x="1174" y="1867"/>
                  </a:lnTo>
                  <a:lnTo>
                    <a:pt x="1190" y="1852"/>
                  </a:lnTo>
                  <a:lnTo>
                    <a:pt x="1186" y="1833"/>
                  </a:lnTo>
                  <a:lnTo>
                    <a:pt x="1180" y="1814"/>
                  </a:lnTo>
                  <a:lnTo>
                    <a:pt x="1171" y="1799"/>
                  </a:lnTo>
                  <a:lnTo>
                    <a:pt x="1165" y="1792"/>
                  </a:lnTo>
                  <a:lnTo>
                    <a:pt x="1155" y="1786"/>
                  </a:lnTo>
                  <a:lnTo>
                    <a:pt x="1146" y="1780"/>
                  </a:lnTo>
                  <a:lnTo>
                    <a:pt x="1137" y="1777"/>
                  </a:lnTo>
                  <a:lnTo>
                    <a:pt x="1130" y="1774"/>
                  </a:lnTo>
                  <a:lnTo>
                    <a:pt x="1121" y="1774"/>
                  </a:lnTo>
                  <a:lnTo>
                    <a:pt x="1115" y="1777"/>
                  </a:lnTo>
                  <a:lnTo>
                    <a:pt x="1105" y="1783"/>
                  </a:lnTo>
                  <a:lnTo>
                    <a:pt x="1096" y="1786"/>
                  </a:lnTo>
                  <a:lnTo>
                    <a:pt x="1087" y="1789"/>
                  </a:lnTo>
                  <a:lnTo>
                    <a:pt x="1080" y="1789"/>
                  </a:lnTo>
                  <a:lnTo>
                    <a:pt x="1074" y="1786"/>
                  </a:lnTo>
                  <a:lnTo>
                    <a:pt x="1065" y="1780"/>
                  </a:lnTo>
                  <a:lnTo>
                    <a:pt x="1055" y="1774"/>
                  </a:lnTo>
                  <a:lnTo>
                    <a:pt x="1049" y="1764"/>
                  </a:lnTo>
                  <a:lnTo>
                    <a:pt x="1043" y="1758"/>
                  </a:lnTo>
                  <a:lnTo>
                    <a:pt x="1037" y="1742"/>
                  </a:lnTo>
                  <a:lnTo>
                    <a:pt x="1030" y="1724"/>
                  </a:lnTo>
                  <a:lnTo>
                    <a:pt x="1030" y="1705"/>
                  </a:lnTo>
                  <a:lnTo>
                    <a:pt x="1033" y="1692"/>
                  </a:lnTo>
                  <a:lnTo>
                    <a:pt x="1043" y="1683"/>
                  </a:lnTo>
                  <a:lnTo>
                    <a:pt x="1058" y="1674"/>
                  </a:lnTo>
                  <a:lnTo>
                    <a:pt x="1077" y="1667"/>
                  </a:lnTo>
                  <a:lnTo>
                    <a:pt x="1087" y="1658"/>
                  </a:lnTo>
                  <a:lnTo>
                    <a:pt x="1093" y="1639"/>
                  </a:lnTo>
                  <a:lnTo>
                    <a:pt x="1090" y="1614"/>
                  </a:lnTo>
                  <a:lnTo>
                    <a:pt x="1087" y="1592"/>
                  </a:lnTo>
                  <a:lnTo>
                    <a:pt x="1074" y="1571"/>
                  </a:lnTo>
                  <a:lnTo>
                    <a:pt x="1058" y="1546"/>
                  </a:lnTo>
                  <a:lnTo>
                    <a:pt x="1046" y="1524"/>
                  </a:lnTo>
                  <a:lnTo>
                    <a:pt x="1043" y="1505"/>
                  </a:lnTo>
                  <a:lnTo>
                    <a:pt x="1043" y="1486"/>
                  </a:lnTo>
                  <a:lnTo>
                    <a:pt x="1046" y="1471"/>
                  </a:lnTo>
                  <a:lnTo>
                    <a:pt x="1062" y="1449"/>
                  </a:lnTo>
                  <a:lnTo>
                    <a:pt x="1083" y="1430"/>
                  </a:lnTo>
                  <a:lnTo>
                    <a:pt x="1099" y="1408"/>
                  </a:lnTo>
                  <a:lnTo>
                    <a:pt x="1102" y="1383"/>
                  </a:lnTo>
                  <a:lnTo>
                    <a:pt x="1102" y="1352"/>
                  </a:lnTo>
                  <a:lnTo>
                    <a:pt x="1099" y="1327"/>
                  </a:lnTo>
                  <a:lnTo>
                    <a:pt x="1087" y="1308"/>
                  </a:lnTo>
                  <a:lnTo>
                    <a:pt x="1068" y="1290"/>
                  </a:lnTo>
                  <a:lnTo>
                    <a:pt x="1055" y="1271"/>
                  </a:lnTo>
                  <a:lnTo>
                    <a:pt x="1049" y="1246"/>
                  </a:lnTo>
                  <a:lnTo>
                    <a:pt x="1052" y="1218"/>
                  </a:lnTo>
                  <a:lnTo>
                    <a:pt x="1052" y="1190"/>
                  </a:lnTo>
                  <a:lnTo>
                    <a:pt x="1055" y="1165"/>
                  </a:lnTo>
                  <a:lnTo>
                    <a:pt x="1058" y="1133"/>
                  </a:lnTo>
                  <a:lnTo>
                    <a:pt x="1055" y="1108"/>
                  </a:lnTo>
                  <a:lnTo>
                    <a:pt x="1046" y="1090"/>
                  </a:lnTo>
                  <a:lnTo>
                    <a:pt x="1030" y="1068"/>
                  </a:lnTo>
                  <a:lnTo>
                    <a:pt x="1021" y="1049"/>
                  </a:lnTo>
                  <a:lnTo>
                    <a:pt x="1015" y="1030"/>
                  </a:lnTo>
                  <a:lnTo>
                    <a:pt x="1008" y="1009"/>
                  </a:lnTo>
                  <a:lnTo>
                    <a:pt x="1002" y="990"/>
                  </a:lnTo>
                  <a:lnTo>
                    <a:pt x="993" y="974"/>
                  </a:lnTo>
                  <a:lnTo>
                    <a:pt x="990" y="971"/>
                  </a:lnTo>
                  <a:lnTo>
                    <a:pt x="984" y="968"/>
                  </a:lnTo>
                  <a:lnTo>
                    <a:pt x="974" y="965"/>
                  </a:lnTo>
                  <a:lnTo>
                    <a:pt x="968" y="962"/>
                  </a:lnTo>
                  <a:lnTo>
                    <a:pt x="959" y="959"/>
                  </a:lnTo>
                  <a:lnTo>
                    <a:pt x="955" y="955"/>
                  </a:lnTo>
                  <a:lnTo>
                    <a:pt x="952" y="952"/>
                  </a:lnTo>
                  <a:lnTo>
                    <a:pt x="949" y="946"/>
                  </a:lnTo>
                  <a:lnTo>
                    <a:pt x="940" y="927"/>
                  </a:lnTo>
                  <a:lnTo>
                    <a:pt x="934" y="905"/>
                  </a:lnTo>
                  <a:lnTo>
                    <a:pt x="930" y="890"/>
                  </a:lnTo>
                  <a:lnTo>
                    <a:pt x="934" y="884"/>
                  </a:lnTo>
                  <a:lnTo>
                    <a:pt x="940" y="877"/>
                  </a:lnTo>
                  <a:lnTo>
                    <a:pt x="949" y="871"/>
                  </a:lnTo>
                  <a:lnTo>
                    <a:pt x="959" y="865"/>
                  </a:lnTo>
                  <a:lnTo>
                    <a:pt x="965" y="859"/>
                  </a:lnTo>
                  <a:lnTo>
                    <a:pt x="968" y="852"/>
                  </a:lnTo>
                  <a:lnTo>
                    <a:pt x="971" y="834"/>
                  </a:lnTo>
                  <a:lnTo>
                    <a:pt x="968" y="809"/>
                  </a:lnTo>
                  <a:lnTo>
                    <a:pt x="962" y="787"/>
                  </a:lnTo>
                  <a:lnTo>
                    <a:pt x="952" y="768"/>
                  </a:lnTo>
                  <a:lnTo>
                    <a:pt x="940" y="746"/>
                  </a:lnTo>
                  <a:lnTo>
                    <a:pt x="927" y="734"/>
                  </a:lnTo>
                  <a:lnTo>
                    <a:pt x="912" y="731"/>
                  </a:lnTo>
                  <a:lnTo>
                    <a:pt x="890" y="734"/>
                  </a:lnTo>
                  <a:lnTo>
                    <a:pt x="871" y="737"/>
                  </a:lnTo>
                  <a:lnTo>
                    <a:pt x="855" y="734"/>
                  </a:lnTo>
                  <a:lnTo>
                    <a:pt x="846" y="731"/>
                  </a:lnTo>
                  <a:lnTo>
                    <a:pt x="837" y="721"/>
                  </a:lnTo>
                  <a:lnTo>
                    <a:pt x="824" y="712"/>
                  </a:lnTo>
                  <a:lnTo>
                    <a:pt x="818" y="706"/>
                  </a:lnTo>
                  <a:lnTo>
                    <a:pt x="812" y="696"/>
                  </a:lnTo>
                  <a:lnTo>
                    <a:pt x="809" y="674"/>
                  </a:lnTo>
                  <a:lnTo>
                    <a:pt x="809" y="649"/>
                  </a:lnTo>
                  <a:lnTo>
                    <a:pt x="806" y="628"/>
                  </a:lnTo>
                  <a:lnTo>
                    <a:pt x="799" y="618"/>
                  </a:lnTo>
                  <a:lnTo>
                    <a:pt x="793" y="609"/>
                  </a:lnTo>
                  <a:lnTo>
                    <a:pt x="787" y="599"/>
                  </a:lnTo>
                  <a:lnTo>
                    <a:pt x="781" y="590"/>
                  </a:lnTo>
                  <a:lnTo>
                    <a:pt x="774" y="581"/>
                  </a:lnTo>
                  <a:lnTo>
                    <a:pt x="759" y="546"/>
                  </a:lnTo>
                  <a:lnTo>
                    <a:pt x="743" y="503"/>
                  </a:lnTo>
                  <a:lnTo>
                    <a:pt x="727" y="465"/>
                  </a:lnTo>
                  <a:lnTo>
                    <a:pt x="715" y="443"/>
                  </a:lnTo>
                  <a:lnTo>
                    <a:pt x="699" y="418"/>
                  </a:lnTo>
                  <a:lnTo>
                    <a:pt x="687" y="400"/>
                  </a:lnTo>
                  <a:lnTo>
                    <a:pt x="668" y="384"/>
                  </a:lnTo>
                  <a:lnTo>
                    <a:pt x="649" y="365"/>
                  </a:lnTo>
                  <a:lnTo>
                    <a:pt x="634" y="350"/>
                  </a:lnTo>
                  <a:lnTo>
                    <a:pt x="628" y="337"/>
                  </a:lnTo>
                  <a:lnTo>
                    <a:pt x="624" y="322"/>
                  </a:lnTo>
                  <a:lnTo>
                    <a:pt x="621" y="303"/>
                  </a:lnTo>
                  <a:lnTo>
                    <a:pt x="624" y="293"/>
                  </a:lnTo>
                  <a:lnTo>
                    <a:pt x="628" y="287"/>
                  </a:lnTo>
                  <a:lnTo>
                    <a:pt x="637" y="284"/>
                  </a:lnTo>
                  <a:lnTo>
                    <a:pt x="646" y="281"/>
                  </a:lnTo>
                  <a:lnTo>
                    <a:pt x="656" y="278"/>
                  </a:lnTo>
                  <a:lnTo>
                    <a:pt x="665" y="278"/>
                  </a:lnTo>
                  <a:lnTo>
                    <a:pt x="671" y="278"/>
                  </a:lnTo>
                  <a:lnTo>
                    <a:pt x="681" y="281"/>
                  </a:lnTo>
                  <a:lnTo>
                    <a:pt x="687" y="284"/>
                  </a:lnTo>
                  <a:lnTo>
                    <a:pt x="696" y="290"/>
                  </a:lnTo>
                  <a:lnTo>
                    <a:pt x="702" y="297"/>
                  </a:lnTo>
                  <a:lnTo>
                    <a:pt x="709" y="300"/>
                  </a:lnTo>
                  <a:lnTo>
                    <a:pt x="727" y="312"/>
                  </a:lnTo>
                  <a:lnTo>
                    <a:pt x="749" y="325"/>
                  </a:lnTo>
                  <a:lnTo>
                    <a:pt x="765" y="340"/>
                  </a:lnTo>
                  <a:lnTo>
                    <a:pt x="768" y="347"/>
                  </a:lnTo>
                  <a:lnTo>
                    <a:pt x="774" y="356"/>
                  </a:lnTo>
                  <a:lnTo>
                    <a:pt x="777" y="365"/>
                  </a:lnTo>
                  <a:lnTo>
                    <a:pt x="784" y="375"/>
                  </a:lnTo>
                  <a:lnTo>
                    <a:pt x="790" y="381"/>
                  </a:lnTo>
                  <a:lnTo>
                    <a:pt x="809" y="384"/>
                  </a:lnTo>
                  <a:lnTo>
                    <a:pt x="830" y="384"/>
                  </a:lnTo>
                  <a:lnTo>
                    <a:pt x="849" y="381"/>
                  </a:lnTo>
                  <a:lnTo>
                    <a:pt x="859" y="378"/>
                  </a:lnTo>
                  <a:lnTo>
                    <a:pt x="868" y="375"/>
                  </a:lnTo>
                  <a:lnTo>
                    <a:pt x="880" y="368"/>
                  </a:lnTo>
                  <a:lnTo>
                    <a:pt x="890" y="365"/>
                  </a:lnTo>
                  <a:lnTo>
                    <a:pt x="899" y="365"/>
                  </a:lnTo>
                  <a:lnTo>
                    <a:pt x="918" y="368"/>
                  </a:lnTo>
                  <a:lnTo>
                    <a:pt x="940" y="375"/>
                  </a:lnTo>
                  <a:lnTo>
                    <a:pt x="965" y="384"/>
                  </a:lnTo>
                  <a:lnTo>
                    <a:pt x="984" y="387"/>
                  </a:lnTo>
                  <a:lnTo>
                    <a:pt x="1005" y="390"/>
                  </a:lnTo>
                  <a:lnTo>
                    <a:pt x="1033" y="390"/>
                  </a:lnTo>
                  <a:lnTo>
                    <a:pt x="1062" y="390"/>
                  </a:lnTo>
                  <a:lnTo>
                    <a:pt x="1083" y="387"/>
                  </a:lnTo>
                  <a:lnTo>
                    <a:pt x="1102" y="378"/>
                  </a:lnTo>
                  <a:lnTo>
                    <a:pt x="1124" y="365"/>
                  </a:lnTo>
                  <a:lnTo>
                    <a:pt x="1143" y="350"/>
                  </a:lnTo>
                  <a:lnTo>
                    <a:pt x="1161" y="340"/>
                  </a:lnTo>
                  <a:lnTo>
                    <a:pt x="1177" y="334"/>
                  </a:lnTo>
                  <a:lnTo>
                    <a:pt x="1199" y="334"/>
                  </a:lnTo>
                  <a:lnTo>
                    <a:pt x="1221" y="331"/>
                  </a:lnTo>
                  <a:lnTo>
                    <a:pt x="1240" y="325"/>
                  </a:lnTo>
                  <a:lnTo>
                    <a:pt x="1252" y="315"/>
                  </a:lnTo>
                  <a:lnTo>
                    <a:pt x="1255" y="300"/>
                  </a:lnTo>
                  <a:lnTo>
                    <a:pt x="1252" y="281"/>
                  </a:lnTo>
                  <a:lnTo>
                    <a:pt x="1246" y="259"/>
                  </a:lnTo>
                  <a:lnTo>
                    <a:pt x="1240" y="240"/>
                  </a:lnTo>
                  <a:lnTo>
                    <a:pt x="1240" y="234"/>
                  </a:lnTo>
                  <a:lnTo>
                    <a:pt x="1240" y="225"/>
                  </a:lnTo>
                  <a:lnTo>
                    <a:pt x="1240" y="215"/>
                  </a:lnTo>
                  <a:lnTo>
                    <a:pt x="1240" y="209"/>
                  </a:lnTo>
                  <a:lnTo>
                    <a:pt x="1240" y="203"/>
                  </a:lnTo>
                  <a:lnTo>
                    <a:pt x="1258" y="187"/>
                  </a:lnTo>
                  <a:lnTo>
                    <a:pt x="1283" y="175"/>
                  </a:lnTo>
                  <a:lnTo>
                    <a:pt x="1311" y="169"/>
                  </a:lnTo>
                  <a:lnTo>
                    <a:pt x="1333" y="169"/>
                  </a:lnTo>
                  <a:lnTo>
                    <a:pt x="1352" y="181"/>
                  </a:lnTo>
                  <a:lnTo>
                    <a:pt x="1368" y="203"/>
                  </a:lnTo>
                  <a:lnTo>
                    <a:pt x="1386" y="215"/>
                  </a:lnTo>
                  <a:lnTo>
                    <a:pt x="1408" y="218"/>
                  </a:lnTo>
                  <a:lnTo>
                    <a:pt x="1436" y="218"/>
                  </a:lnTo>
                  <a:lnTo>
                    <a:pt x="1464" y="215"/>
                  </a:lnTo>
                  <a:lnTo>
                    <a:pt x="1483" y="209"/>
                  </a:lnTo>
                  <a:lnTo>
                    <a:pt x="1496" y="194"/>
                  </a:lnTo>
                  <a:lnTo>
                    <a:pt x="1505" y="172"/>
                  </a:lnTo>
                  <a:lnTo>
                    <a:pt x="1514" y="153"/>
                  </a:lnTo>
                  <a:lnTo>
                    <a:pt x="1533" y="147"/>
                  </a:lnTo>
                  <a:lnTo>
                    <a:pt x="1558" y="140"/>
                  </a:lnTo>
                  <a:lnTo>
                    <a:pt x="1577" y="140"/>
                  </a:lnTo>
                  <a:lnTo>
                    <a:pt x="1596" y="147"/>
                  </a:lnTo>
                  <a:lnTo>
                    <a:pt x="1621" y="159"/>
                  </a:lnTo>
                  <a:lnTo>
                    <a:pt x="1639" y="165"/>
                  </a:lnTo>
                  <a:lnTo>
                    <a:pt x="1658" y="165"/>
                  </a:lnTo>
                  <a:lnTo>
                    <a:pt x="1683" y="159"/>
                  </a:lnTo>
                  <a:lnTo>
                    <a:pt x="1708" y="156"/>
                  </a:lnTo>
                  <a:lnTo>
                    <a:pt x="1730" y="153"/>
                  </a:lnTo>
                  <a:lnTo>
                    <a:pt x="1745" y="156"/>
                  </a:lnTo>
                  <a:lnTo>
                    <a:pt x="1764" y="162"/>
                  </a:lnTo>
                  <a:lnTo>
                    <a:pt x="1780" y="165"/>
                  </a:lnTo>
                  <a:lnTo>
                    <a:pt x="1799" y="162"/>
                  </a:lnTo>
                  <a:lnTo>
                    <a:pt x="1820" y="153"/>
                  </a:lnTo>
                  <a:lnTo>
                    <a:pt x="1845" y="144"/>
                  </a:lnTo>
                  <a:lnTo>
                    <a:pt x="1867" y="140"/>
                  </a:lnTo>
                  <a:lnTo>
                    <a:pt x="1883" y="140"/>
                  </a:lnTo>
                  <a:lnTo>
                    <a:pt x="1898" y="156"/>
                  </a:lnTo>
                  <a:lnTo>
                    <a:pt x="1914" y="181"/>
                  </a:lnTo>
                  <a:lnTo>
                    <a:pt x="1920" y="203"/>
                  </a:lnTo>
                  <a:lnTo>
                    <a:pt x="1923" y="209"/>
                  </a:lnTo>
                  <a:lnTo>
                    <a:pt x="1920" y="218"/>
                  </a:lnTo>
                  <a:lnTo>
                    <a:pt x="1920" y="228"/>
                  </a:lnTo>
                  <a:lnTo>
                    <a:pt x="1920" y="234"/>
                  </a:lnTo>
                  <a:lnTo>
                    <a:pt x="1920" y="243"/>
                  </a:lnTo>
                  <a:lnTo>
                    <a:pt x="1927" y="247"/>
                  </a:lnTo>
                  <a:lnTo>
                    <a:pt x="1930" y="253"/>
                  </a:lnTo>
                  <a:lnTo>
                    <a:pt x="1939" y="259"/>
                  </a:lnTo>
                  <a:lnTo>
                    <a:pt x="1945" y="262"/>
                  </a:lnTo>
                  <a:lnTo>
                    <a:pt x="1952" y="265"/>
                  </a:lnTo>
                  <a:lnTo>
                    <a:pt x="1973" y="265"/>
                  </a:lnTo>
                  <a:lnTo>
                    <a:pt x="2002" y="256"/>
                  </a:lnTo>
                  <a:lnTo>
                    <a:pt x="2020" y="243"/>
                  </a:lnTo>
                  <a:lnTo>
                    <a:pt x="2023" y="231"/>
                  </a:lnTo>
                  <a:lnTo>
                    <a:pt x="2026" y="215"/>
                  </a:lnTo>
                  <a:lnTo>
                    <a:pt x="2026" y="197"/>
                  </a:lnTo>
                  <a:lnTo>
                    <a:pt x="2030" y="181"/>
                  </a:lnTo>
                  <a:lnTo>
                    <a:pt x="2042" y="172"/>
                  </a:lnTo>
                  <a:lnTo>
                    <a:pt x="2061" y="165"/>
                  </a:lnTo>
                  <a:lnTo>
                    <a:pt x="2080" y="156"/>
                  </a:lnTo>
                  <a:lnTo>
                    <a:pt x="2092" y="147"/>
                  </a:lnTo>
                  <a:lnTo>
                    <a:pt x="2092" y="131"/>
                  </a:lnTo>
                  <a:lnTo>
                    <a:pt x="2089" y="112"/>
                  </a:lnTo>
                  <a:lnTo>
                    <a:pt x="2083" y="90"/>
                  </a:lnTo>
                  <a:lnTo>
                    <a:pt x="2083" y="75"/>
                  </a:lnTo>
                  <a:lnTo>
                    <a:pt x="2092" y="56"/>
                  </a:lnTo>
                  <a:lnTo>
                    <a:pt x="2108" y="34"/>
                  </a:lnTo>
                  <a:lnTo>
                    <a:pt x="2126" y="16"/>
                  </a:lnTo>
                  <a:lnTo>
                    <a:pt x="2145" y="3"/>
                  </a:lnTo>
                  <a:lnTo>
                    <a:pt x="2161" y="0"/>
                  </a:lnTo>
                  <a:lnTo>
                    <a:pt x="2179" y="0"/>
                  </a:lnTo>
                  <a:lnTo>
                    <a:pt x="2195" y="3"/>
                  </a:lnTo>
                  <a:lnTo>
                    <a:pt x="2201" y="6"/>
                  </a:lnTo>
                  <a:lnTo>
                    <a:pt x="2204" y="16"/>
                  </a:lnTo>
                  <a:lnTo>
                    <a:pt x="2211" y="25"/>
                  </a:lnTo>
                  <a:lnTo>
                    <a:pt x="2217" y="31"/>
                  </a:lnTo>
                  <a:lnTo>
                    <a:pt x="2220" y="41"/>
                  </a:lnTo>
                  <a:lnTo>
                    <a:pt x="2226" y="44"/>
                  </a:lnTo>
                  <a:lnTo>
                    <a:pt x="2242" y="44"/>
                  </a:lnTo>
                  <a:lnTo>
                    <a:pt x="2261" y="37"/>
                  </a:lnTo>
                  <a:lnTo>
                    <a:pt x="2283" y="28"/>
                  </a:lnTo>
                  <a:lnTo>
                    <a:pt x="2289" y="34"/>
                  </a:lnTo>
                  <a:lnTo>
                    <a:pt x="2295" y="41"/>
                  </a:lnTo>
                  <a:lnTo>
                    <a:pt x="2301" y="47"/>
                  </a:lnTo>
                  <a:lnTo>
                    <a:pt x="2308" y="53"/>
                  </a:lnTo>
                  <a:lnTo>
                    <a:pt x="2320" y="78"/>
                  </a:lnTo>
                  <a:lnTo>
                    <a:pt x="2336" y="109"/>
                  </a:lnTo>
                  <a:lnTo>
                    <a:pt x="2351" y="137"/>
                  </a:lnTo>
                  <a:lnTo>
                    <a:pt x="2370" y="159"/>
                  </a:lnTo>
                  <a:lnTo>
                    <a:pt x="2389" y="169"/>
                  </a:lnTo>
                  <a:lnTo>
                    <a:pt x="2411" y="175"/>
                  </a:lnTo>
                  <a:lnTo>
                    <a:pt x="2436" y="181"/>
                  </a:lnTo>
                  <a:lnTo>
                    <a:pt x="2454" y="190"/>
                  </a:lnTo>
                  <a:lnTo>
                    <a:pt x="2464" y="206"/>
                  </a:lnTo>
                  <a:lnTo>
                    <a:pt x="2473" y="228"/>
                  </a:lnTo>
                  <a:lnTo>
                    <a:pt x="2479" y="250"/>
                  </a:lnTo>
                  <a:lnTo>
                    <a:pt x="2492" y="265"/>
                  </a:lnTo>
                  <a:lnTo>
                    <a:pt x="2504" y="265"/>
                  </a:lnTo>
                  <a:lnTo>
                    <a:pt x="2520" y="259"/>
                  </a:lnTo>
                  <a:lnTo>
                    <a:pt x="2535" y="256"/>
                  </a:lnTo>
                  <a:lnTo>
                    <a:pt x="2548" y="253"/>
                  </a:lnTo>
                  <a:lnTo>
                    <a:pt x="2567" y="262"/>
                  </a:lnTo>
                  <a:lnTo>
                    <a:pt x="2589" y="275"/>
                  </a:lnTo>
                  <a:lnTo>
                    <a:pt x="2604" y="287"/>
                  </a:lnTo>
                  <a:lnTo>
                    <a:pt x="2610" y="306"/>
                  </a:lnTo>
                  <a:lnTo>
                    <a:pt x="2617" y="334"/>
                  </a:lnTo>
                  <a:lnTo>
                    <a:pt x="2620" y="359"/>
                  </a:lnTo>
                  <a:lnTo>
                    <a:pt x="2620" y="384"/>
                  </a:lnTo>
                  <a:lnTo>
                    <a:pt x="2617" y="403"/>
                  </a:lnTo>
                  <a:lnTo>
                    <a:pt x="2610" y="428"/>
                  </a:lnTo>
                  <a:lnTo>
                    <a:pt x="2604" y="453"/>
                  </a:lnTo>
                  <a:lnTo>
                    <a:pt x="2604" y="471"/>
                  </a:lnTo>
                  <a:lnTo>
                    <a:pt x="2614" y="496"/>
                  </a:lnTo>
                  <a:lnTo>
                    <a:pt x="2629" y="525"/>
                  </a:lnTo>
                  <a:lnTo>
                    <a:pt x="2651" y="549"/>
                  </a:lnTo>
                  <a:lnTo>
                    <a:pt x="2670" y="562"/>
                  </a:lnTo>
                  <a:lnTo>
                    <a:pt x="2682" y="562"/>
                  </a:lnTo>
                  <a:lnTo>
                    <a:pt x="2698" y="556"/>
                  </a:lnTo>
                  <a:lnTo>
                    <a:pt x="2713" y="549"/>
                  </a:lnTo>
                  <a:lnTo>
                    <a:pt x="2726" y="546"/>
                  </a:lnTo>
                  <a:lnTo>
                    <a:pt x="2754" y="553"/>
                  </a:lnTo>
                  <a:lnTo>
                    <a:pt x="2785" y="562"/>
                  </a:lnTo>
                  <a:lnTo>
                    <a:pt x="2817" y="571"/>
                  </a:lnTo>
                  <a:lnTo>
                    <a:pt x="2842" y="578"/>
                  </a:lnTo>
                  <a:lnTo>
                    <a:pt x="2851" y="578"/>
                  </a:lnTo>
                  <a:lnTo>
                    <a:pt x="2860" y="578"/>
                  </a:lnTo>
                  <a:lnTo>
                    <a:pt x="2870" y="578"/>
                  </a:lnTo>
                  <a:lnTo>
                    <a:pt x="2879" y="578"/>
                  </a:lnTo>
                  <a:lnTo>
                    <a:pt x="2888" y="578"/>
                  </a:lnTo>
                  <a:lnTo>
                    <a:pt x="2891" y="571"/>
                  </a:lnTo>
                  <a:lnTo>
                    <a:pt x="2898" y="562"/>
                  </a:lnTo>
                  <a:lnTo>
                    <a:pt x="2904" y="553"/>
                  </a:lnTo>
                  <a:lnTo>
                    <a:pt x="2907" y="543"/>
                  </a:lnTo>
                  <a:lnTo>
                    <a:pt x="2913" y="537"/>
                  </a:lnTo>
                  <a:lnTo>
                    <a:pt x="2920" y="531"/>
                  </a:lnTo>
                  <a:lnTo>
                    <a:pt x="2938" y="528"/>
                  </a:lnTo>
                  <a:lnTo>
                    <a:pt x="2963" y="528"/>
                  </a:lnTo>
                  <a:lnTo>
                    <a:pt x="2988" y="531"/>
                  </a:lnTo>
                  <a:lnTo>
                    <a:pt x="3010" y="528"/>
                  </a:lnTo>
                  <a:lnTo>
                    <a:pt x="3016" y="521"/>
                  </a:lnTo>
                  <a:lnTo>
                    <a:pt x="3023" y="515"/>
                  </a:lnTo>
                  <a:lnTo>
                    <a:pt x="3029" y="506"/>
                  </a:lnTo>
                  <a:lnTo>
                    <a:pt x="3035" y="496"/>
                  </a:lnTo>
                  <a:lnTo>
                    <a:pt x="3035" y="484"/>
                  </a:lnTo>
                  <a:lnTo>
                    <a:pt x="3035" y="462"/>
                  </a:lnTo>
                  <a:lnTo>
                    <a:pt x="3032" y="443"/>
                  </a:lnTo>
                  <a:lnTo>
                    <a:pt x="3029" y="425"/>
                  </a:lnTo>
                  <a:lnTo>
                    <a:pt x="3035" y="412"/>
                  </a:lnTo>
                  <a:lnTo>
                    <a:pt x="3051" y="403"/>
                  </a:lnTo>
                  <a:lnTo>
                    <a:pt x="3069" y="400"/>
                  </a:lnTo>
                  <a:lnTo>
                    <a:pt x="3088" y="400"/>
                  </a:lnTo>
                  <a:lnTo>
                    <a:pt x="3104" y="412"/>
                  </a:lnTo>
                  <a:lnTo>
                    <a:pt x="3119" y="431"/>
                  </a:lnTo>
                  <a:lnTo>
                    <a:pt x="3135" y="450"/>
                  </a:lnTo>
                  <a:lnTo>
                    <a:pt x="3151" y="465"/>
                  </a:lnTo>
                  <a:lnTo>
                    <a:pt x="3169" y="475"/>
                  </a:lnTo>
                  <a:lnTo>
                    <a:pt x="3197" y="481"/>
                  </a:lnTo>
                  <a:lnTo>
                    <a:pt x="3216" y="490"/>
                  </a:lnTo>
                  <a:lnTo>
                    <a:pt x="3235" y="518"/>
                  </a:lnTo>
                  <a:lnTo>
                    <a:pt x="3251" y="553"/>
                  </a:lnTo>
                  <a:lnTo>
                    <a:pt x="3263" y="593"/>
                  </a:lnTo>
                  <a:lnTo>
                    <a:pt x="3276" y="624"/>
                  </a:lnTo>
                  <a:lnTo>
                    <a:pt x="3285" y="653"/>
                  </a:lnTo>
                  <a:lnTo>
                    <a:pt x="3294" y="684"/>
                  </a:lnTo>
                  <a:lnTo>
                    <a:pt x="3310" y="709"/>
                  </a:lnTo>
                  <a:lnTo>
                    <a:pt x="3329" y="724"/>
                  </a:lnTo>
                  <a:lnTo>
                    <a:pt x="3357" y="743"/>
                  </a:lnTo>
                  <a:lnTo>
                    <a:pt x="3388" y="759"/>
                  </a:lnTo>
                  <a:lnTo>
                    <a:pt x="3407" y="777"/>
                  </a:lnTo>
                  <a:lnTo>
                    <a:pt x="3416" y="799"/>
                  </a:lnTo>
                  <a:lnTo>
                    <a:pt x="3419" y="831"/>
                  </a:lnTo>
                  <a:lnTo>
                    <a:pt x="3422" y="862"/>
                  </a:lnTo>
                  <a:lnTo>
                    <a:pt x="3425" y="890"/>
                  </a:lnTo>
                  <a:lnTo>
                    <a:pt x="3435" y="915"/>
                  </a:lnTo>
                  <a:lnTo>
                    <a:pt x="3454" y="934"/>
                  </a:lnTo>
                  <a:lnTo>
                    <a:pt x="3479" y="952"/>
                  </a:lnTo>
                  <a:lnTo>
                    <a:pt x="3504" y="971"/>
                  </a:lnTo>
                  <a:lnTo>
                    <a:pt x="3522" y="987"/>
                  </a:lnTo>
                  <a:lnTo>
                    <a:pt x="3538" y="1005"/>
                  </a:lnTo>
                  <a:lnTo>
                    <a:pt x="3557" y="1030"/>
                  </a:lnTo>
                  <a:lnTo>
                    <a:pt x="3572" y="1058"/>
                  </a:lnTo>
                  <a:lnTo>
                    <a:pt x="3582" y="1080"/>
                  </a:lnTo>
                  <a:lnTo>
                    <a:pt x="3588" y="1112"/>
                  </a:lnTo>
                  <a:lnTo>
                    <a:pt x="3585" y="1146"/>
                  </a:lnTo>
                  <a:lnTo>
                    <a:pt x="3582" y="1177"/>
                  </a:lnTo>
                  <a:lnTo>
                    <a:pt x="3575" y="1199"/>
                  </a:lnTo>
                  <a:lnTo>
                    <a:pt x="3566" y="1224"/>
                  </a:lnTo>
                  <a:lnTo>
                    <a:pt x="3557" y="1249"/>
                  </a:lnTo>
                  <a:lnTo>
                    <a:pt x="3553" y="1271"/>
                  </a:lnTo>
                  <a:lnTo>
                    <a:pt x="3563" y="1302"/>
                  </a:lnTo>
                  <a:lnTo>
                    <a:pt x="3582" y="1336"/>
                  </a:lnTo>
                  <a:lnTo>
                    <a:pt x="3603" y="1368"/>
                  </a:lnTo>
                  <a:lnTo>
                    <a:pt x="3625" y="1389"/>
                  </a:lnTo>
                  <a:lnTo>
                    <a:pt x="3650" y="1405"/>
                  </a:lnTo>
                  <a:lnTo>
                    <a:pt x="3682" y="1414"/>
                  </a:lnTo>
                  <a:lnTo>
                    <a:pt x="3713" y="1427"/>
                  </a:lnTo>
                  <a:lnTo>
                    <a:pt x="3735" y="1439"/>
                  </a:lnTo>
                  <a:lnTo>
                    <a:pt x="3747" y="1461"/>
                  </a:lnTo>
                  <a:lnTo>
                    <a:pt x="3756" y="1489"/>
                  </a:lnTo>
                  <a:lnTo>
                    <a:pt x="3766" y="1517"/>
                  </a:lnTo>
                  <a:lnTo>
                    <a:pt x="3778" y="1546"/>
                  </a:lnTo>
                  <a:lnTo>
                    <a:pt x="3794" y="1558"/>
                  </a:lnTo>
                  <a:lnTo>
                    <a:pt x="3810" y="1561"/>
                  </a:lnTo>
                  <a:lnTo>
                    <a:pt x="3828" y="1555"/>
                  </a:lnTo>
                  <a:lnTo>
                    <a:pt x="3850" y="1542"/>
                  </a:lnTo>
                  <a:lnTo>
                    <a:pt x="3869" y="1533"/>
                  </a:lnTo>
                  <a:lnTo>
                    <a:pt x="3884" y="1530"/>
                  </a:lnTo>
                  <a:lnTo>
                    <a:pt x="3903" y="1527"/>
                  </a:lnTo>
                  <a:lnTo>
                    <a:pt x="3925" y="1524"/>
                  </a:lnTo>
                  <a:lnTo>
                    <a:pt x="3947" y="1524"/>
                  </a:lnTo>
                  <a:lnTo>
                    <a:pt x="3963" y="1530"/>
                  </a:lnTo>
                  <a:lnTo>
                    <a:pt x="3972" y="1542"/>
                  </a:lnTo>
                  <a:lnTo>
                    <a:pt x="3981" y="1564"/>
                  </a:lnTo>
                  <a:lnTo>
                    <a:pt x="3988" y="1589"/>
                  </a:lnTo>
                  <a:lnTo>
                    <a:pt x="3988" y="1608"/>
                  </a:lnTo>
                  <a:lnTo>
                    <a:pt x="3984" y="1627"/>
                  </a:lnTo>
                  <a:lnTo>
                    <a:pt x="3975" y="1652"/>
                  </a:lnTo>
                  <a:lnTo>
                    <a:pt x="3966" y="1674"/>
                  </a:lnTo>
                  <a:lnTo>
                    <a:pt x="3959" y="1695"/>
                  </a:lnTo>
                  <a:lnTo>
                    <a:pt x="3963" y="1714"/>
                  </a:lnTo>
                  <a:lnTo>
                    <a:pt x="3975" y="1724"/>
                  </a:lnTo>
                  <a:lnTo>
                    <a:pt x="3997" y="1733"/>
                  </a:lnTo>
                  <a:lnTo>
                    <a:pt x="4022" y="1739"/>
                  </a:lnTo>
                  <a:lnTo>
                    <a:pt x="4038" y="1749"/>
                  </a:lnTo>
                  <a:lnTo>
                    <a:pt x="4044" y="1752"/>
                  </a:lnTo>
                  <a:lnTo>
                    <a:pt x="4050" y="1761"/>
                  </a:lnTo>
                  <a:lnTo>
                    <a:pt x="4056" y="1770"/>
                  </a:lnTo>
                  <a:lnTo>
                    <a:pt x="4062" y="1777"/>
                  </a:lnTo>
                  <a:lnTo>
                    <a:pt x="4066" y="1786"/>
                  </a:lnTo>
                  <a:lnTo>
                    <a:pt x="4056" y="1805"/>
                  </a:lnTo>
                  <a:lnTo>
                    <a:pt x="4041" y="1824"/>
                  </a:lnTo>
                  <a:lnTo>
                    <a:pt x="4025" y="1845"/>
                  </a:lnTo>
                  <a:lnTo>
                    <a:pt x="4019" y="1864"/>
                  </a:lnTo>
                  <a:lnTo>
                    <a:pt x="4022" y="1870"/>
                  </a:lnTo>
                  <a:lnTo>
                    <a:pt x="4028" y="1877"/>
                  </a:lnTo>
                  <a:lnTo>
                    <a:pt x="4034" y="1883"/>
                  </a:lnTo>
                  <a:lnTo>
                    <a:pt x="4019" y="1883"/>
                  </a:lnTo>
                  <a:lnTo>
                    <a:pt x="4006" y="1886"/>
                  </a:lnTo>
                  <a:lnTo>
                    <a:pt x="3994" y="1889"/>
                  </a:lnTo>
                  <a:lnTo>
                    <a:pt x="3984" y="1892"/>
                  </a:lnTo>
                  <a:lnTo>
                    <a:pt x="3978" y="1898"/>
                  </a:lnTo>
                  <a:lnTo>
                    <a:pt x="3972" y="1908"/>
                  </a:lnTo>
                  <a:lnTo>
                    <a:pt x="3966" y="1917"/>
                  </a:lnTo>
                  <a:lnTo>
                    <a:pt x="3959" y="1927"/>
                  </a:lnTo>
                  <a:lnTo>
                    <a:pt x="3950" y="1936"/>
                  </a:lnTo>
                  <a:lnTo>
                    <a:pt x="3944" y="1942"/>
                  </a:lnTo>
                  <a:lnTo>
                    <a:pt x="3928" y="1945"/>
                  </a:lnTo>
                  <a:lnTo>
                    <a:pt x="3909" y="1942"/>
                  </a:lnTo>
                  <a:lnTo>
                    <a:pt x="3891" y="1942"/>
                  </a:lnTo>
                  <a:lnTo>
                    <a:pt x="3875" y="1942"/>
                  </a:lnTo>
                  <a:lnTo>
                    <a:pt x="3853" y="1945"/>
                  </a:lnTo>
                  <a:lnTo>
                    <a:pt x="3825" y="1948"/>
                  </a:lnTo>
                  <a:lnTo>
                    <a:pt x="3797" y="1958"/>
                  </a:lnTo>
                  <a:lnTo>
                    <a:pt x="3775" y="1967"/>
                  </a:lnTo>
                  <a:lnTo>
                    <a:pt x="3756" y="1980"/>
                  </a:lnTo>
                  <a:lnTo>
                    <a:pt x="3756" y="1992"/>
                  </a:lnTo>
                  <a:lnTo>
                    <a:pt x="3756" y="2008"/>
                  </a:lnTo>
                  <a:lnTo>
                    <a:pt x="3760" y="2023"/>
                  </a:lnTo>
                  <a:lnTo>
                    <a:pt x="3756" y="2036"/>
                  </a:lnTo>
                  <a:lnTo>
                    <a:pt x="3744" y="2055"/>
                  </a:lnTo>
                  <a:lnTo>
                    <a:pt x="3722" y="2070"/>
                  </a:lnTo>
                  <a:lnTo>
                    <a:pt x="3703" y="2086"/>
                  </a:lnTo>
                  <a:lnTo>
                    <a:pt x="3682" y="2101"/>
                  </a:lnTo>
                  <a:lnTo>
                    <a:pt x="3653" y="2120"/>
                  </a:lnTo>
                  <a:lnTo>
                    <a:pt x="3625" y="2139"/>
                  </a:lnTo>
                  <a:lnTo>
                    <a:pt x="3600" y="2151"/>
                  </a:lnTo>
                  <a:lnTo>
                    <a:pt x="3578" y="2151"/>
                  </a:lnTo>
                  <a:lnTo>
                    <a:pt x="3557" y="2148"/>
                  </a:lnTo>
                  <a:lnTo>
                    <a:pt x="3532" y="2148"/>
                  </a:lnTo>
                  <a:lnTo>
                    <a:pt x="3513" y="2151"/>
                  </a:lnTo>
                  <a:lnTo>
                    <a:pt x="3497" y="2164"/>
                  </a:lnTo>
                  <a:lnTo>
                    <a:pt x="3485" y="2186"/>
                  </a:lnTo>
                  <a:lnTo>
                    <a:pt x="3469" y="2208"/>
                  </a:lnTo>
                  <a:lnTo>
                    <a:pt x="3457" y="2220"/>
                  </a:lnTo>
                  <a:lnTo>
                    <a:pt x="3444" y="2220"/>
                  </a:lnTo>
                  <a:lnTo>
                    <a:pt x="3429" y="2220"/>
                  </a:lnTo>
                  <a:lnTo>
                    <a:pt x="3410" y="2217"/>
                  </a:lnTo>
                  <a:lnTo>
                    <a:pt x="3400" y="2220"/>
                  </a:lnTo>
                  <a:lnTo>
                    <a:pt x="3391" y="2239"/>
                  </a:lnTo>
                  <a:lnTo>
                    <a:pt x="3385" y="2267"/>
                  </a:lnTo>
                  <a:lnTo>
                    <a:pt x="3388" y="2298"/>
                  </a:lnTo>
                  <a:lnTo>
                    <a:pt x="3391" y="2323"/>
                  </a:lnTo>
                  <a:lnTo>
                    <a:pt x="3397" y="2339"/>
                  </a:lnTo>
                  <a:lnTo>
                    <a:pt x="3410" y="2361"/>
                  </a:lnTo>
                  <a:lnTo>
                    <a:pt x="3419" y="2382"/>
                  </a:lnTo>
                  <a:lnTo>
                    <a:pt x="3425" y="2398"/>
                  </a:lnTo>
                  <a:lnTo>
                    <a:pt x="3422" y="2420"/>
                  </a:lnTo>
                  <a:lnTo>
                    <a:pt x="3410" y="2445"/>
                  </a:lnTo>
                  <a:lnTo>
                    <a:pt x="3397" y="2470"/>
                  </a:lnTo>
                  <a:lnTo>
                    <a:pt x="3385" y="2492"/>
                  </a:lnTo>
                  <a:lnTo>
                    <a:pt x="3379" y="2514"/>
                  </a:lnTo>
                  <a:lnTo>
                    <a:pt x="3385" y="2539"/>
                  </a:lnTo>
                  <a:lnTo>
                    <a:pt x="3394" y="2567"/>
                  </a:lnTo>
                  <a:lnTo>
                    <a:pt x="3400" y="2592"/>
                  </a:lnTo>
                  <a:lnTo>
                    <a:pt x="3400" y="2614"/>
                  </a:lnTo>
                  <a:lnTo>
                    <a:pt x="3404" y="2642"/>
                  </a:lnTo>
                  <a:lnTo>
                    <a:pt x="3404" y="2670"/>
                  </a:lnTo>
                  <a:lnTo>
                    <a:pt x="3410" y="2692"/>
                  </a:lnTo>
                  <a:lnTo>
                    <a:pt x="3422" y="2713"/>
                  </a:lnTo>
                  <a:lnTo>
                    <a:pt x="3441" y="2735"/>
                  </a:lnTo>
                  <a:lnTo>
                    <a:pt x="3460" y="2748"/>
                  </a:lnTo>
                  <a:lnTo>
                    <a:pt x="3475" y="2748"/>
                  </a:lnTo>
                  <a:lnTo>
                    <a:pt x="3494" y="2742"/>
                  </a:lnTo>
                  <a:lnTo>
                    <a:pt x="3510" y="2735"/>
                  </a:lnTo>
                  <a:lnTo>
                    <a:pt x="3525" y="2735"/>
                  </a:lnTo>
                  <a:lnTo>
                    <a:pt x="3541" y="2754"/>
                  </a:lnTo>
                  <a:lnTo>
                    <a:pt x="3557" y="2782"/>
                  </a:lnTo>
                  <a:lnTo>
                    <a:pt x="3563" y="2813"/>
                  </a:lnTo>
                  <a:lnTo>
                    <a:pt x="3566" y="2841"/>
                  </a:lnTo>
                  <a:lnTo>
                    <a:pt x="3560" y="2863"/>
                  </a:lnTo>
                  <a:lnTo>
                    <a:pt x="3550" y="2885"/>
                  </a:lnTo>
                  <a:lnTo>
                    <a:pt x="3535" y="2910"/>
                  </a:lnTo>
                  <a:lnTo>
                    <a:pt x="3522" y="2929"/>
                  </a:lnTo>
                  <a:lnTo>
                    <a:pt x="3507" y="2941"/>
                  </a:lnTo>
                  <a:lnTo>
                    <a:pt x="3488" y="2957"/>
                  </a:lnTo>
                  <a:lnTo>
                    <a:pt x="3466" y="2966"/>
                  </a:lnTo>
                  <a:lnTo>
                    <a:pt x="3447" y="2973"/>
                  </a:lnTo>
                  <a:lnTo>
                    <a:pt x="3435" y="2973"/>
                  </a:lnTo>
                  <a:lnTo>
                    <a:pt x="3416" y="2963"/>
                  </a:lnTo>
                  <a:lnTo>
                    <a:pt x="3400" y="2957"/>
                  </a:lnTo>
                  <a:lnTo>
                    <a:pt x="3388" y="2957"/>
                  </a:lnTo>
                  <a:lnTo>
                    <a:pt x="3372" y="2976"/>
                  </a:lnTo>
                  <a:lnTo>
                    <a:pt x="3366" y="3004"/>
                  </a:lnTo>
                  <a:lnTo>
                    <a:pt x="3363" y="3035"/>
                  </a:lnTo>
                  <a:lnTo>
                    <a:pt x="3363" y="3063"/>
                  </a:lnTo>
                  <a:lnTo>
                    <a:pt x="3363" y="3088"/>
                  </a:lnTo>
                  <a:lnTo>
                    <a:pt x="3366" y="3110"/>
                  </a:lnTo>
                  <a:lnTo>
                    <a:pt x="3372" y="3138"/>
                  </a:lnTo>
                  <a:lnTo>
                    <a:pt x="3382" y="3166"/>
                  </a:lnTo>
                  <a:lnTo>
                    <a:pt x="3388" y="3194"/>
                  </a:lnTo>
                  <a:lnTo>
                    <a:pt x="3388" y="3216"/>
                  </a:lnTo>
                  <a:lnTo>
                    <a:pt x="3375" y="3238"/>
                  </a:lnTo>
                  <a:lnTo>
                    <a:pt x="3357" y="3257"/>
                  </a:lnTo>
                  <a:lnTo>
                    <a:pt x="3335" y="3269"/>
                  </a:lnTo>
                  <a:lnTo>
                    <a:pt x="3316" y="3272"/>
                  </a:lnTo>
                  <a:lnTo>
                    <a:pt x="3294" y="3269"/>
                  </a:lnTo>
                  <a:lnTo>
                    <a:pt x="3269" y="3263"/>
                  </a:lnTo>
                  <a:lnTo>
                    <a:pt x="3251" y="3260"/>
                  </a:lnTo>
                  <a:lnTo>
                    <a:pt x="3241" y="3260"/>
                  </a:lnTo>
                  <a:lnTo>
                    <a:pt x="3232" y="3260"/>
                  </a:lnTo>
                  <a:lnTo>
                    <a:pt x="3222" y="3260"/>
                  </a:lnTo>
                  <a:lnTo>
                    <a:pt x="3216" y="3260"/>
                  </a:lnTo>
                  <a:lnTo>
                    <a:pt x="3201" y="3276"/>
                  </a:lnTo>
                  <a:lnTo>
                    <a:pt x="3185" y="3294"/>
                  </a:lnTo>
                  <a:lnTo>
                    <a:pt x="3173" y="3313"/>
                  </a:lnTo>
                  <a:lnTo>
                    <a:pt x="3154" y="3335"/>
                  </a:lnTo>
                  <a:lnTo>
                    <a:pt x="3132" y="3360"/>
                  </a:lnTo>
                  <a:lnTo>
                    <a:pt x="3116" y="3385"/>
                  </a:lnTo>
                  <a:lnTo>
                    <a:pt x="3113" y="3400"/>
                  </a:lnTo>
                  <a:lnTo>
                    <a:pt x="3113" y="3422"/>
                  </a:lnTo>
                  <a:lnTo>
                    <a:pt x="3110" y="3438"/>
                  </a:lnTo>
                  <a:lnTo>
                    <a:pt x="3104" y="3447"/>
                  </a:lnTo>
                  <a:lnTo>
                    <a:pt x="3098" y="3457"/>
                  </a:lnTo>
                  <a:lnTo>
                    <a:pt x="3088" y="3466"/>
                  </a:lnTo>
                  <a:lnTo>
                    <a:pt x="3079" y="3472"/>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51" name="Freeform 31">
              <a:extLst>
                <a:ext uri="{FF2B5EF4-FFF2-40B4-BE49-F238E27FC236}">
                  <a16:creationId xmlns:a16="http://schemas.microsoft.com/office/drawing/2014/main" id="{FD49AB18-67C8-4C7A-B41C-6E99FF319325}"/>
                </a:ext>
              </a:extLst>
            </p:cNvPr>
            <p:cNvSpPr>
              <a:spLocks/>
            </p:cNvSpPr>
            <p:nvPr/>
          </p:nvSpPr>
          <p:spPr bwMode="auto">
            <a:xfrm>
              <a:off x="18567401" y="-15149513"/>
              <a:ext cx="7053263" cy="5770563"/>
            </a:xfrm>
            <a:custGeom>
              <a:avLst/>
              <a:gdLst>
                <a:gd name="T0" fmla="*/ 4393 w 4443"/>
                <a:gd name="T1" fmla="*/ 1493 h 3635"/>
                <a:gd name="T2" fmla="*/ 4234 w 4443"/>
                <a:gd name="T3" fmla="*/ 1721 h 3635"/>
                <a:gd name="T4" fmla="*/ 4100 w 4443"/>
                <a:gd name="T5" fmla="*/ 1833 h 3635"/>
                <a:gd name="T6" fmla="*/ 4112 w 4443"/>
                <a:gd name="T7" fmla="*/ 2183 h 3635"/>
                <a:gd name="T8" fmla="*/ 4009 w 4443"/>
                <a:gd name="T9" fmla="*/ 2395 h 3635"/>
                <a:gd name="T10" fmla="*/ 3862 w 4443"/>
                <a:gd name="T11" fmla="*/ 2349 h 3635"/>
                <a:gd name="T12" fmla="*/ 3638 w 4443"/>
                <a:gd name="T13" fmla="*/ 2455 h 3635"/>
                <a:gd name="T14" fmla="*/ 3522 w 4443"/>
                <a:gd name="T15" fmla="*/ 2602 h 3635"/>
                <a:gd name="T16" fmla="*/ 3653 w 4443"/>
                <a:gd name="T17" fmla="*/ 2817 h 3635"/>
                <a:gd name="T18" fmla="*/ 3478 w 4443"/>
                <a:gd name="T19" fmla="*/ 2923 h 3635"/>
                <a:gd name="T20" fmla="*/ 3416 w 4443"/>
                <a:gd name="T21" fmla="*/ 3104 h 3635"/>
                <a:gd name="T22" fmla="*/ 3528 w 4443"/>
                <a:gd name="T23" fmla="*/ 3257 h 3635"/>
                <a:gd name="T24" fmla="*/ 3378 w 4443"/>
                <a:gd name="T25" fmla="*/ 3376 h 3635"/>
                <a:gd name="T26" fmla="*/ 3247 w 4443"/>
                <a:gd name="T27" fmla="*/ 3623 h 3635"/>
                <a:gd name="T28" fmla="*/ 3010 w 4443"/>
                <a:gd name="T29" fmla="*/ 3451 h 3635"/>
                <a:gd name="T30" fmla="*/ 2770 w 4443"/>
                <a:gd name="T31" fmla="*/ 3192 h 3635"/>
                <a:gd name="T32" fmla="*/ 2554 w 4443"/>
                <a:gd name="T33" fmla="*/ 3023 h 3635"/>
                <a:gd name="T34" fmla="*/ 2339 w 4443"/>
                <a:gd name="T35" fmla="*/ 3120 h 3635"/>
                <a:gd name="T36" fmla="*/ 2095 w 4443"/>
                <a:gd name="T37" fmla="*/ 3148 h 3635"/>
                <a:gd name="T38" fmla="*/ 1755 w 4443"/>
                <a:gd name="T39" fmla="*/ 3057 h 3635"/>
                <a:gd name="T40" fmla="*/ 1439 w 4443"/>
                <a:gd name="T41" fmla="*/ 2829 h 3635"/>
                <a:gd name="T42" fmla="*/ 1183 w 4443"/>
                <a:gd name="T43" fmla="*/ 2826 h 3635"/>
                <a:gd name="T44" fmla="*/ 818 w 4443"/>
                <a:gd name="T45" fmla="*/ 2895 h 3635"/>
                <a:gd name="T46" fmla="*/ 531 w 4443"/>
                <a:gd name="T47" fmla="*/ 2804 h 3635"/>
                <a:gd name="T48" fmla="*/ 521 w 4443"/>
                <a:gd name="T49" fmla="*/ 2626 h 3635"/>
                <a:gd name="T50" fmla="*/ 640 w 4443"/>
                <a:gd name="T51" fmla="*/ 2617 h 3635"/>
                <a:gd name="T52" fmla="*/ 521 w 4443"/>
                <a:gd name="T53" fmla="*/ 2364 h 3635"/>
                <a:gd name="T54" fmla="*/ 577 w 4443"/>
                <a:gd name="T55" fmla="*/ 2030 h 3635"/>
                <a:gd name="T56" fmla="*/ 477 w 4443"/>
                <a:gd name="T57" fmla="*/ 1808 h 3635"/>
                <a:gd name="T58" fmla="*/ 556 w 4443"/>
                <a:gd name="T59" fmla="*/ 1605 h 3635"/>
                <a:gd name="T60" fmla="*/ 512 w 4443"/>
                <a:gd name="T61" fmla="*/ 1530 h 3635"/>
                <a:gd name="T62" fmla="*/ 484 w 4443"/>
                <a:gd name="T63" fmla="*/ 1259 h 3635"/>
                <a:gd name="T64" fmla="*/ 306 w 4443"/>
                <a:gd name="T65" fmla="*/ 931 h 3635"/>
                <a:gd name="T66" fmla="*/ 65 w 4443"/>
                <a:gd name="T67" fmla="*/ 678 h 3635"/>
                <a:gd name="T68" fmla="*/ 268 w 4443"/>
                <a:gd name="T69" fmla="*/ 347 h 3635"/>
                <a:gd name="T70" fmla="*/ 403 w 4443"/>
                <a:gd name="T71" fmla="*/ 444 h 3635"/>
                <a:gd name="T72" fmla="*/ 387 w 4443"/>
                <a:gd name="T73" fmla="*/ 313 h 3635"/>
                <a:gd name="T74" fmla="*/ 259 w 4443"/>
                <a:gd name="T75" fmla="*/ 160 h 3635"/>
                <a:gd name="T76" fmla="*/ 412 w 4443"/>
                <a:gd name="T77" fmla="*/ 53 h 3635"/>
                <a:gd name="T78" fmla="*/ 680 w 4443"/>
                <a:gd name="T79" fmla="*/ 19 h 3635"/>
                <a:gd name="T80" fmla="*/ 849 w 4443"/>
                <a:gd name="T81" fmla="*/ 206 h 3635"/>
                <a:gd name="T82" fmla="*/ 958 w 4443"/>
                <a:gd name="T83" fmla="*/ 222 h 3635"/>
                <a:gd name="T84" fmla="*/ 1108 w 4443"/>
                <a:gd name="T85" fmla="*/ 438 h 3635"/>
                <a:gd name="T86" fmla="*/ 1439 w 4443"/>
                <a:gd name="T87" fmla="*/ 406 h 3635"/>
                <a:gd name="T88" fmla="*/ 1670 w 4443"/>
                <a:gd name="T89" fmla="*/ 456 h 3635"/>
                <a:gd name="T90" fmla="*/ 1545 w 4443"/>
                <a:gd name="T91" fmla="*/ 541 h 3635"/>
                <a:gd name="T92" fmla="*/ 1639 w 4443"/>
                <a:gd name="T93" fmla="*/ 612 h 3635"/>
                <a:gd name="T94" fmla="*/ 1905 w 4443"/>
                <a:gd name="T95" fmla="*/ 653 h 3635"/>
                <a:gd name="T96" fmla="*/ 2023 w 4443"/>
                <a:gd name="T97" fmla="*/ 628 h 3635"/>
                <a:gd name="T98" fmla="*/ 2114 w 4443"/>
                <a:gd name="T99" fmla="*/ 737 h 3635"/>
                <a:gd name="T100" fmla="*/ 2198 w 4443"/>
                <a:gd name="T101" fmla="*/ 762 h 3635"/>
                <a:gd name="T102" fmla="*/ 2267 w 4443"/>
                <a:gd name="T103" fmla="*/ 862 h 3635"/>
                <a:gd name="T104" fmla="*/ 2432 w 4443"/>
                <a:gd name="T105" fmla="*/ 825 h 3635"/>
                <a:gd name="T106" fmla="*/ 2632 w 4443"/>
                <a:gd name="T107" fmla="*/ 797 h 3635"/>
                <a:gd name="T108" fmla="*/ 2938 w 4443"/>
                <a:gd name="T109" fmla="*/ 865 h 3635"/>
                <a:gd name="T110" fmla="*/ 3160 w 4443"/>
                <a:gd name="T111" fmla="*/ 862 h 3635"/>
                <a:gd name="T112" fmla="*/ 3347 w 4443"/>
                <a:gd name="T113" fmla="*/ 787 h 3635"/>
                <a:gd name="T114" fmla="*/ 3728 w 4443"/>
                <a:gd name="T115" fmla="*/ 765 h 3635"/>
                <a:gd name="T116" fmla="*/ 3916 w 4443"/>
                <a:gd name="T117" fmla="*/ 787 h 3635"/>
                <a:gd name="T118" fmla="*/ 4190 w 4443"/>
                <a:gd name="T119" fmla="*/ 953 h 3635"/>
                <a:gd name="T120" fmla="*/ 4325 w 4443"/>
                <a:gd name="T121" fmla="*/ 981 h 3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43" h="3635">
                  <a:moveTo>
                    <a:pt x="4440" y="1165"/>
                  </a:moveTo>
                  <a:lnTo>
                    <a:pt x="4443" y="1193"/>
                  </a:lnTo>
                  <a:lnTo>
                    <a:pt x="4440" y="1228"/>
                  </a:lnTo>
                  <a:lnTo>
                    <a:pt x="4434" y="1253"/>
                  </a:lnTo>
                  <a:lnTo>
                    <a:pt x="4415" y="1268"/>
                  </a:lnTo>
                  <a:lnTo>
                    <a:pt x="4393" y="1281"/>
                  </a:lnTo>
                  <a:lnTo>
                    <a:pt x="4375" y="1296"/>
                  </a:lnTo>
                  <a:lnTo>
                    <a:pt x="4365" y="1324"/>
                  </a:lnTo>
                  <a:lnTo>
                    <a:pt x="4359" y="1359"/>
                  </a:lnTo>
                  <a:lnTo>
                    <a:pt x="4362" y="1387"/>
                  </a:lnTo>
                  <a:lnTo>
                    <a:pt x="4368" y="1406"/>
                  </a:lnTo>
                  <a:lnTo>
                    <a:pt x="4381" y="1424"/>
                  </a:lnTo>
                  <a:lnTo>
                    <a:pt x="4387" y="1443"/>
                  </a:lnTo>
                  <a:lnTo>
                    <a:pt x="4393" y="1465"/>
                  </a:lnTo>
                  <a:lnTo>
                    <a:pt x="4393" y="1493"/>
                  </a:lnTo>
                  <a:lnTo>
                    <a:pt x="4390" y="1512"/>
                  </a:lnTo>
                  <a:lnTo>
                    <a:pt x="4378" y="1534"/>
                  </a:lnTo>
                  <a:lnTo>
                    <a:pt x="4353" y="1555"/>
                  </a:lnTo>
                  <a:lnTo>
                    <a:pt x="4334" y="1574"/>
                  </a:lnTo>
                  <a:lnTo>
                    <a:pt x="4325" y="1580"/>
                  </a:lnTo>
                  <a:lnTo>
                    <a:pt x="4315" y="1590"/>
                  </a:lnTo>
                  <a:lnTo>
                    <a:pt x="4306" y="1599"/>
                  </a:lnTo>
                  <a:lnTo>
                    <a:pt x="4297" y="1609"/>
                  </a:lnTo>
                  <a:lnTo>
                    <a:pt x="4287" y="1618"/>
                  </a:lnTo>
                  <a:lnTo>
                    <a:pt x="4275" y="1640"/>
                  </a:lnTo>
                  <a:lnTo>
                    <a:pt x="4259" y="1668"/>
                  </a:lnTo>
                  <a:lnTo>
                    <a:pt x="4247" y="1693"/>
                  </a:lnTo>
                  <a:lnTo>
                    <a:pt x="4243" y="1699"/>
                  </a:lnTo>
                  <a:lnTo>
                    <a:pt x="4240" y="1712"/>
                  </a:lnTo>
                  <a:lnTo>
                    <a:pt x="4234" y="1721"/>
                  </a:lnTo>
                  <a:lnTo>
                    <a:pt x="4231" y="1730"/>
                  </a:lnTo>
                  <a:lnTo>
                    <a:pt x="4228" y="1737"/>
                  </a:lnTo>
                  <a:lnTo>
                    <a:pt x="4222" y="1743"/>
                  </a:lnTo>
                  <a:lnTo>
                    <a:pt x="4215" y="1743"/>
                  </a:lnTo>
                  <a:lnTo>
                    <a:pt x="4206" y="1743"/>
                  </a:lnTo>
                  <a:lnTo>
                    <a:pt x="4197" y="1740"/>
                  </a:lnTo>
                  <a:lnTo>
                    <a:pt x="4187" y="1737"/>
                  </a:lnTo>
                  <a:lnTo>
                    <a:pt x="4181" y="1733"/>
                  </a:lnTo>
                  <a:lnTo>
                    <a:pt x="4172" y="1733"/>
                  </a:lnTo>
                  <a:lnTo>
                    <a:pt x="4156" y="1740"/>
                  </a:lnTo>
                  <a:lnTo>
                    <a:pt x="4134" y="1752"/>
                  </a:lnTo>
                  <a:lnTo>
                    <a:pt x="4122" y="1765"/>
                  </a:lnTo>
                  <a:lnTo>
                    <a:pt x="4109" y="1787"/>
                  </a:lnTo>
                  <a:lnTo>
                    <a:pt x="4103" y="1811"/>
                  </a:lnTo>
                  <a:lnTo>
                    <a:pt x="4100" y="1833"/>
                  </a:lnTo>
                  <a:lnTo>
                    <a:pt x="4106" y="1852"/>
                  </a:lnTo>
                  <a:lnTo>
                    <a:pt x="4122" y="1871"/>
                  </a:lnTo>
                  <a:lnTo>
                    <a:pt x="4134" y="1893"/>
                  </a:lnTo>
                  <a:lnTo>
                    <a:pt x="4144" y="1908"/>
                  </a:lnTo>
                  <a:lnTo>
                    <a:pt x="4144" y="1933"/>
                  </a:lnTo>
                  <a:lnTo>
                    <a:pt x="4137" y="1961"/>
                  </a:lnTo>
                  <a:lnTo>
                    <a:pt x="4131" y="1989"/>
                  </a:lnTo>
                  <a:lnTo>
                    <a:pt x="4125" y="2014"/>
                  </a:lnTo>
                  <a:lnTo>
                    <a:pt x="4119" y="2030"/>
                  </a:lnTo>
                  <a:lnTo>
                    <a:pt x="4109" y="2052"/>
                  </a:lnTo>
                  <a:lnTo>
                    <a:pt x="4103" y="2071"/>
                  </a:lnTo>
                  <a:lnTo>
                    <a:pt x="4103" y="2096"/>
                  </a:lnTo>
                  <a:lnTo>
                    <a:pt x="4106" y="2127"/>
                  </a:lnTo>
                  <a:lnTo>
                    <a:pt x="4109" y="2158"/>
                  </a:lnTo>
                  <a:lnTo>
                    <a:pt x="4112" y="2183"/>
                  </a:lnTo>
                  <a:lnTo>
                    <a:pt x="4122" y="2208"/>
                  </a:lnTo>
                  <a:lnTo>
                    <a:pt x="4134" y="2239"/>
                  </a:lnTo>
                  <a:lnTo>
                    <a:pt x="4150" y="2271"/>
                  </a:lnTo>
                  <a:lnTo>
                    <a:pt x="4156" y="2295"/>
                  </a:lnTo>
                  <a:lnTo>
                    <a:pt x="4156" y="2317"/>
                  </a:lnTo>
                  <a:lnTo>
                    <a:pt x="4156" y="2345"/>
                  </a:lnTo>
                  <a:lnTo>
                    <a:pt x="4147" y="2364"/>
                  </a:lnTo>
                  <a:lnTo>
                    <a:pt x="4128" y="2380"/>
                  </a:lnTo>
                  <a:lnTo>
                    <a:pt x="4103" y="2392"/>
                  </a:lnTo>
                  <a:lnTo>
                    <a:pt x="4078" y="2395"/>
                  </a:lnTo>
                  <a:lnTo>
                    <a:pt x="4062" y="2392"/>
                  </a:lnTo>
                  <a:lnTo>
                    <a:pt x="4040" y="2386"/>
                  </a:lnTo>
                  <a:lnTo>
                    <a:pt x="4022" y="2383"/>
                  </a:lnTo>
                  <a:lnTo>
                    <a:pt x="4015" y="2386"/>
                  </a:lnTo>
                  <a:lnTo>
                    <a:pt x="4009" y="2395"/>
                  </a:lnTo>
                  <a:lnTo>
                    <a:pt x="4003" y="2402"/>
                  </a:lnTo>
                  <a:lnTo>
                    <a:pt x="3997" y="2405"/>
                  </a:lnTo>
                  <a:lnTo>
                    <a:pt x="3987" y="2408"/>
                  </a:lnTo>
                  <a:lnTo>
                    <a:pt x="3978" y="2408"/>
                  </a:lnTo>
                  <a:lnTo>
                    <a:pt x="3966" y="2408"/>
                  </a:lnTo>
                  <a:lnTo>
                    <a:pt x="3956" y="2405"/>
                  </a:lnTo>
                  <a:lnTo>
                    <a:pt x="3947" y="2402"/>
                  </a:lnTo>
                  <a:lnTo>
                    <a:pt x="3944" y="2399"/>
                  </a:lnTo>
                  <a:lnTo>
                    <a:pt x="3937" y="2389"/>
                  </a:lnTo>
                  <a:lnTo>
                    <a:pt x="3934" y="2383"/>
                  </a:lnTo>
                  <a:lnTo>
                    <a:pt x="3931" y="2374"/>
                  </a:lnTo>
                  <a:lnTo>
                    <a:pt x="3925" y="2370"/>
                  </a:lnTo>
                  <a:lnTo>
                    <a:pt x="3909" y="2361"/>
                  </a:lnTo>
                  <a:lnTo>
                    <a:pt x="3887" y="2352"/>
                  </a:lnTo>
                  <a:lnTo>
                    <a:pt x="3862" y="2349"/>
                  </a:lnTo>
                  <a:lnTo>
                    <a:pt x="3844" y="2349"/>
                  </a:lnTo>
                  <a:lnTo>
                    <a:pt x="3837" y="2352"/>
                  </a:lnTo>
                  <a:lnTo>
                    <a:pt x="3828" y="2361"/>
                  </a:lnTo>
                  <a:lnTo>
                    <a:pt x="3819" y="2370"/>
                  </a:lnTo>
                  <a:lnTo>
                    <a:pt x="3813" y="2380"/>
                  </a:lnTo>
                  <a:lnTo>
                    <a:pt x="3806" y="2389"/>
                  </a:lnTo>
                  <a:lnTo>
                    <a:pt x="3797" y="2405"/>
                  </a:lnTo>
                  <a:lnTo>
                    <a:pt x="3784" y="2427"/>
                  </a:lnTo>
                  <a:lnTo>
                    <a:pt x="3772" y="2439"/>
                  </a:lnTo>
                  <a:lnTo>
                    <a:pt x="3750" y="2442"/>
                  </a:lnTo>
                  <a:lnTo>
                    <a:pt x="3725" y="2439"/>
                  </a:lnTo>
                  <a:lnTo>
                    <a:pt x="3697" y="2433"/>
                  </a:lnTo>
                  <a:lnTo>
                    <a:pt x="3675" y="2433"/>
                  </a:lnTo>
                  <a:lnTo>
                    <a:pt x="3660" y="2442"/>
                  </a:lnTo>
                  <a:lnTo>
                    <a:pt x="3638" y="2455"/>
                  </a:lnTo>
                  <a:lnTo>
                    <a:pt x="3619" y="2470"/>
                  </a:lnTo>
                  <a:lnTo>
                    <a:pt x="3600" y="2480"/>
                  </a:lnTo>
                  <a:lnTo>
                    <a:pt x="3594" y="2480"/>
                  </a:lnTo>
                  <a:lnTo>
                    <a:pt x="3585" y="2480"/>
                  </a:lnTo>
                  <a:lnTo>
                    <a:pt x="3575" y="2480"/>
                  </a:lnTo>
                  <a:lnTo>
                    <a:pt x="3566" y="2480"/>
                  </a:lnTo>
                  <a:lnTo>
                    <a:pt x="3556" y="2483"/>
                  </a:lnTo>
                  <a:lnTo>
                    <a:pt x="3550" y="2489"/>
                  </a:lnTo>
                  <a:lnTo>
                    <a:pt x="3541" y="2495"/>
                  </a:lnTo>
                  <a:lnTo>
                    <a:pt x="3535" y="2505"/>
                  </a:lnTo>
                  <a:lnTo>
                    <a:pt x="3528" y="2514"/>
                  </a:lnTo>
                  <a:lnTo>
                    <a:pt x="3522" y="2523"/>
                  </a:lnTo>
                  <a:lnTo>
                    <a:pt x="3519" y="2545"/>
                  </a:lnTo>
                  <a:lnTo>
                    <a:pt x="3519" y="2573"/>
                  </a:lnTo>
                  <a:lnTo>
                    <a:pt x="3522" y="2602"/>
                  </a:lnTo>
                  <a:lnTo>
                    <a:pt x="3522" y="2626"/>
                  </a:lnTo>
                  <a:lnTo>
                    <a:pt x="3519" y="2651"/>
                  </a:lnTo>
                  <a:lnTo>
                    <a:pt x="3516" y="2680"/>
                  </a:lnTo>
                  <a:lnTo>
                    <a:pt x="3513" y="2708"/>
                  </a:lnTo>
                  <a:lnTo>
                    <a:pt x="3516" y="2730"/>
                  </a:lnTo>
                  <a:lnTo>
                    <a:pt x="3519" y="2736"/>
                  </a:lnTo>
                  <a:lnTo>
                    <a:pt x="3528" y="2745"/>
                  </a:lnTo>
                  <a:lnTo>
                    <a:pt x="3538" y="2751"/>
                  </a:lnTo>
                  <a:lnTo>
                    <a:pt x="3547" y="2758"/>
                  </a:lnTo>
                  <a:lnTo>
                    <a:pt x="3553" y="2764"/>
                  </a:lnTo>
                  <a:lnTo>
                    <a:pt x="3572" y="2773"/>
                  </a:lnTo>
                  <a:lnTo>
                    <a:pt x="3597" y="2779"/>
                  </a:lnTo>
                  <a:lnTo>
                    <a:pt x="3622" y="2792"/>
                  </a:lnTo>
                  <a:lnTo>
                    <a:pt x="3641" y="2801"/>
                  </a:lnTo>
                  <a:lnTo>
                    <a:pt x="3653" y="2817"/>
                  </a:lnTo>
                  <a:lnTo>
                    <a:pt x="3663" y="2836"/>
                  </a:lnTo>
                  <a:lnTo>
                    <a:pt x="3675" y="2858"/>
                  </a:lnTo>
                  <a:lnTo>
                    <a:pt x="3681" y="2879"/>
                  </a:lnTo>
                  <a:lnTo>
                    <a:pt x="3678" y="2895"/>
                  </a:lnTo>
                  <a:lnTo>
                    <a:pt x="3669" y="2908"/>
                  </a:lnTo>
                  <a:lnTo>
                    <a:pt x="3647" y="2917"/>
                  </a:lnTo>
                  <a:lnTo>
                    <a:pt x="3628" y="2923"/>
                  </a:lnTo>
                  <a:lnTo>
                    <a:pt x="3610" y="2926"/>
                  </a:lnTo>
                  <a:lnTo>
                    <a:pt x="3591" y="2920"/>
                  </a:lnTo>
                  <a:lnTo>
                    <a:pt x="3566" y="2914"/>
                  </a:lnTo>
                  <a:lnTo>
                    <a:pt x="3547" y="2908"/>
                  </a:lnTo>
                  <a:lnTo>
                    <a:pt x="3525" y="2908"/>
                  </a:lnTo>
                  <a:lnTo>
                    <a:pt x="3503" y="2911"/>
                  </a:lnTo>
                  <a:lnTo>
                    <a:pt x="3485" y="2917"/>
                  </a:lnTo>
                  <a:lnTo>
                    <a:pt x="3478" y="2923"/>
                  </a:lnTo>
                  <a:lnTo>
                    <a:pt x="3475" y="2933"/>
                  </a:lnTo>
                  <a:lnTo>
                    <a:pt x="3469" y="2945"/>
                  </a:lnTo>
                  <a:lnTo>
                    <a:pt x="3466" y="2954"/>
                  </a:lnTo>
                  <a:lnTo>
                    <a:pt x="3463" y="2964"/>
                  </a:lnTo>
                  <a:lnTo>
                    <a:pt x="3466" y="2982"/>
                  </a:lnTo>
                  <a:lnTo>
                    <a:pt x="3472" y="3004"/>
                  </a:lnTo>
                  <a:lnTo>
                    <a:pt x="3472" y="3020"/>
                  </a:lnTo>
                  <a:lnTo>
                    <a:pt x="3466" y="3026"/>
                  </a:lnTo>
                  <a:lnTo>
                    <a:pt x="3460" y="3032"/>
                  </a:lnTo>
                  <a:lnTo>
                    <a:pt x="3453" y="3036"/>
                  </a:lnTo>
                  <a:lnTo>
                    <a:pt x="3444" y="3042"/>
                  </a:lnTo>
                  <a:lnTo>
                    <a:pt x="3438" y="3048"/>
                  </a:lnTo>
                  <a:lnTo>
                    <a:pt x="3432" y="3051"/>
                  </a:lnTo>
                  <a:lnTo>
                    <a:pt x="3422" y="3076"/>
                  </a:lnTo>
                  <a:lnTo>
                    <a:pt x="3416" y="3104"/>
                  </a:lnTo>
                  <a:lnTo>
                    <a:pt x="3413" y="3129"/>
                  </a:lnTo>
                  <a:lnTo>
                    <a:pt x="3419" y="3148"/>
                  </a:lnTo>
                  <a:lnTo>
                    <a:pt x="3428" y="3167"/>
                  </a:lnTo>
                  <a:lnTo>
                    <a:pt x="3438" y="3179"/>
                  </a:lnTo>
                  <a:lnTo>
                    <a:pt x="3453" y="3182"/>
                  </a:lnTo>
                  <a:lnTo>
                    <a:pt x="3469" y="3182"/>
                  </a:lnTo>
                  <a:lnTo>
                    <a:pt x="3488" y="3179"/>
                  </a:lnTo>
                  <a:lnTo>
                    <a:pt x="3500" y="3179"/>
                  </a:lnTo>
                  <a:lnTo>
                    <a:pt x="3510" y="3182"/>
                  </a:lnTo>
                  <a:lnTo>
                    <a:pt x="3519" y="3189"/>
                  </a:lnTo>
                  <a:lnTo>
                    <a:pt x="3528" y="3195"/>
                  </a:lnTo>
                  <a:lnTo>
                    <a:pt x="3531" y="3201"/>
                  </a:lnTo>
                  <a:lnTo>
                    <a:pt x="3535" y="3220"/>
                  </a:lnTo>
                  <a:lnTo>
                    <a:pt x="3535" y="3242"/>
                  </a:lnTo>
                  <a:lnTo>
                    <a:pt x="3528" y="3257"/>
                  </a:lnTo>
                  <a:lnTo>
                    <a:pt x="3525" y="3267"/>
                  </a:lnTo>
                  <a:lnTo>
                    <a:pt x="3519" y="3276"/>
                  </a:lnTo>
                  <a:lnTo>
                    <a:pt x="3510" y="3285"/>
                  </a:lnTo>
                  <a:lnTo>
                    <a:pt x="3500" y="3295"/>
                  </a:lnTo>
                  <a:lnTo>
                    <a:pt x="3494" y="3304"/>
                  </a:lnTo>
                  <a:lnTo>
                    <a:pt x="3478" y="3323"/>
                  </a:lnTo>
                  <a:lnTo>
                    <a:pt x="3457" y="3345"/>
                  </a:lnTo>
                  <a:lnTo>
                    <a:pt x="3435" y="3360"/>
                  </a:lnTo>
                  <a:lnTo>
                    <a:pt x="3428" y="3360"/>
                  </a:lnTo>
                  <a:lnTo>
                    <a:pt x="3422" y="3360"/>
                  </a:lnTo>
                  <a:lnTo>
                    <a:pt x="3413" y="3357"/>
                  </a:lnTo>
                  <a:lnTo>
                    <a:pt x="3407" y="3357"/>
                  </a:lnTo>
                  <a:lnTo>
                    <a:pt x="3397" y="3357"/>
                  </a:lnTo>
                  <a:lnTo>
                    <a:pt x="3394" y="3357"/>
                  </a:lnTo>
                  <a:lnTo>
                    <a:pt x="3378" y="3376"/>
                  </a:lnTo>
                  <a:lnTo>
                    <a:pt x="3369" y="3401"/>
                  </a:lnTo>
                  <a:lnTo>
                    <a:pt x="3363" y="3426"/>
                  </a:lnTo>
                  <a:lnTo>
                    <a:pt x="3353" y="3448"/>
                  </a:lnTo>
                  <a:lnTo>
                    <a:pt x="3347" y="3470"/>
                  </a:lnTo>
                  <a:lnTo>
                    <a:pt x="3338" y="3495"/>
                  </a:lnTo>
                  <a:lnTo>
                    <a:pt x="3328" y="3510"/>
                  </a:lnTo>
                  <a:lnTo>
                    <a:pt x="3316" y="3516"/>
                  </a:lnTo>
                  <a:lnTo>
                    <a:pt x="3300" y="3513"/>
                  </a:lnTo>
                  <a:lnTo>
                    <a:pt x="3285" y="3513"/>
                  </a:lnTo>
                  <a:lnTo>
                    <a:pt x="3272" y="3516"/>
                  </a:lnTo>
                  <a:lnTo>
                    <a:pt x="3260" y="3535"/>
                  </a:lnTo>
                  <a:lnTo>
                    <a:pt x="3254" y="3560"/>
                  </a:lnTo>
                  <a:lnTo>
                    <a:pt x="3250" y="3588"/>
                  </a:lnTo>
                  <a:lnTo>
                    <a:pt x="3247" y="3610"/>
                  </a:lnTo>
                  <a:lnTo>
                    <a:pt x="3247" y="3623"/>
                  </a:lnTo>
                  <a:lnTo>
                    <a:pt x="3247" y="3635"/>
                  </a:lnTo>
                  <a:lnTo>
                    <a:pt x="3235" y="3635"/>
                  </a:lnTo>
                  <a:lnTo>
                    <a:pt x="3222" y="3635"/>
                  </a:lnTo>
                  <a:lnTo>
                    <a:pt x="3213" y="3635"/>
                  </a:lnTo>
                  <a:lnTo>
                    <a:pt x="3188" y="3632"/>
                  </a:lnTo>
                  <a:lnTo>
                    <a:pt x="3157" y="3626"/>
                  </a:lnTo>
                  <a:lnTo>
                    <a:pt x="3135" y="3613"/>
                  </a:lnTo>
                  <a:lnTo>
                    <a:pt x="3126" y="3594"/>
                  </a:lnTo>
                  <a:lnTo>
                    <a:pt x="3116" y="3570"/>
                  </a:lnTo>
                  <a:lnTo>
                    <a:pt x="3110" y="3541"/>
                  </a:lnTo>
                  <a:lnTo>
                    <a:pt x="3101" y="3523"/>
                  </a:lnTo>
                  <a:lnTo>
                    <a:pt x="3082" y="3501"/>
                  </a:lnTo>
                  <a:lnTo>
                    <a:pt x="3054" y="3476"/>
                  </a:lnTo>
                  <a:lnTo>
                    <a:pt x="3032" y="3460"/>
                  </a:lnTo>
                  <a:lnTo>
                    <a:pt x="3010" y="3451"/>
                  </a:lnTo>
                  <a:lnTo>
                    <a:pt x="2982" y="3438"/>
                  </a:lnTo>
                  <a:lnTo>
                    <a:pt x="2954" y="3429"/>
                  </a:lnTo>
                  <a:lnTo>
                    <a:pt x="2935" y="3417"/>
                  </a:lnTo>
                  <a:lnTo>
                    <a:pt x="2919" y="3398"/>
                  </a:lnTo>
                  <a:lnTo>
                    <a:pt x="2907" y="3373"/>
                  </a:lnTo>
                  <a:lnTo>
                    <a:pt x="2894" y="3348"/>
                  </a:lnTo>
                  <a:lnTo>
                    <a:pt x="2879" y="3329"/>
                  </a:lnTo>
                  <a:lnTo>
                    <a:pt x="2860" y="3320"/>
                  </a:lnTo>
                  <a:lnTo>
                    <a:pt x="2835" y="3313"/>
                  </a:lnTo>
                  <a:lnTo>
                    <a:pt x="2816" y="3304"/>
                  </a:lnTo>
                  <a:lnTo>
                    <a:pt x="2801" y="3285"/>
                  </a:lnTo>
                  <a:lnTo>
                    <a:pt x="2788" y="3263"/>
                  </a:lnTo>
                  <a:lnTo>
                    <a:pt x="2776" y="3235"/>
                  </a:lnTo>
                  <a:lnTo>
                    <a:pt x="2770" y="3214"/>
                  </a:lnTo>
                  <a:lnTo>
                    <a:pt x="2770" y="3192"/>
                  </a:lnTo>
                  <a:lnTo>
                    <a:pt x="2770" y="3167"/>
                  </a:lnTo>
                  <a:lnTo>
                    <a:pt x="2773" y="3139"/>
                  </a:lnTo>
                  <a:lnTo>
                    <a:pt x="2770" y="3117"/>
                  </a:lnTo>
                  <a:lnTo>
                    <a:pt x="2760" y="3092"/>
                  </a:lnTo>
                  <a:lnTo>
                    <a:pt x="2745" y="3064"/>
                  </a:lnTo>
                  <a:lnTo>
                    <a:pt x="2726" y="3042"/>
                  </a:lnTo>
                  <a:lnTo>
                    <a:pt x="2710" y="3026"/>
                  </a:lnTo>
                  <a:lnTo>
                    <a:pt x="2688" y="3007"/>
                  </a:lnTo>
                  <a:lnTo>
                    <a:pt x="2663" y="2995"/>
                  </a:lnTo>
                  <a:lnTo>
                    <a:pt x="2642" y="2989"/>
                  </a:lnTo>
                  <a:lnTo>
                    <a:pt x="2623" y="2989"/>
                  </a:lnTo>
                  <a:lnTo>
                    <a:pt x="2598" y="2995"/>
                  </a:lnTo>
                  <a:lnTo>
                    <a:pt x="2576" y="3007"/>
                  </a:lnTo>
                  <a:lnTo>
                    <a:pt x="2557" y="3017"/>
                  </a:lnTo>
                  <a:lnTo>
                    <a:pt x="2554" y="3023"/>
                  </a:lnTo>
                  <a:lnTo>
                    <a:pt x="2551" y="3032"/>
                  </a:lnTo>
                  <a:lnTo>
                    <a:pt x="2551" y="3042"/>
                  </a:lnTo>
                  <a:lnTo>
                    <a:pt x="2548" y="3051"/>
                  </a:lnTo>
                  <a:lnTo>
                    <a:pt x="2548" y="3057"/>
                  </a:lnTo>
                  <a:lnTo>
                    <a:pt x="2542" y="3064"/>
                  </a:lnTo>
                  <a:lnTo>
                    <a:pt x="2523" y="3073"/>
                  </a:lnTo>
                  <a:lnTo>
                    <a:pt x="2498" y="3076"/>
                  </a:lnTo>
                  <a:lnTo>
                    <a:pt x="2470" y="3076"/>
                  </a:lnTo>
                  <a:lnTo>
                    <a:pt x="2448" y="3076"/>
                  </a:lnTo>
                  <a:lnTo>
                    <a:pt x="2429" y="3076"/>
                  </a:lnTo>
                  <a:lnTo>
                    <a:pt x="2410" y="3070"/>
                  </a:lnTo>
                  <a:lnTo>
                    <a:pt x="2392" y="3073"/>
                  </a:lnTo>
                  <a:lnTo>
                    <a:pt x="2376" y="3082"/>
                  </a:lnTo>
                  <a:lnTo>
                    <a:pt x="2357" y="3101"/>
                  </a:lnTo>
                  <a:lnTo>
                    <a:pt x="2339" y="3120"/>
                  </a:lnTo>
                  <a:lnTo>
                    <a:pt x="2323" y="3135"/>
                  </a:lnTo>
                  <a:lnTo>
                    <a:pt x="2304" y="3142"/>
                  </a:lnTo>
                  <a:lnTo>
                    <a:pt x="2289" y="3135"/>
                  </a:lnTo>
                  <a:lnTo>
                    <a:pt x="2273" y="3117"/>
                  </a:lnTo>
                  <a:lnTo>
                    <a:pt x="2254" y="3095"/>
                  </a:lnTo>
                  <a:lnTo>
                    <a:pt x="2239" y="3076"/>
                  </a:lnTo>
                  <a:lnTo>
                    <a:pt x="2223" y="3064"/>
                  </a:lnTo>
                  <a:lnTo>
                    <a:pt x="2201" y="3061"/>
                  </a:lnTo>
                  <a:lnTo>
                    <a:pt x="2173" y="3057"/>
                  </a:lnTo>
                  <a:lnTo>
                    <a:pt x="2151" y="3064"/>
                  </a:lnTo>
                  <a:lnTo>
                    <a:pt x="2139" y="3076"/>
                  </a:lnTo>
                  <a:lnTo>
                    <a:pt x="2129" y="3098"/>
                  </a:lnTo>
                  <a:lnTo>
                    <a:pt x="2120" y="3120"/>
                  </a:lnTo>
                  <a:lnTo>
                    <a:pt x="2108" y="3139"/>
                  </a:lnTo>
                  <a:lnTo>
                    <a:pt x="2095" y="3148"/>
                  </a:lnTo>
                  <a:lnTo>
                    <a:pt x="2079" y="3139"/>
                  </a:lnTo>
                  <a:lnTo>
                    <a:pt x="2061" y="3120"/>
                  </a:lnTo>
                  <a:lnTo>
                    <a:pt x="2045" y="3095"/>
                  </a:lnTo>
                  <a:lnTo>
                    <a:pt x="2033" y="3079"/>
                  </a:lnTo>
                  <a:lnTo>
                    <a:pt x="2014" y="3070"/>
                  </a:lnTo>
                  <a:lnTo>
                    <a:pt x="1989" y="3064"/>
                  </a:lnTo>
                  <a:lnTo>
                    <a:pt x="1970" y="3057"/>
                  </a:lnTo>
                  <a:lnTo>
                    <a:pt x="1948" y="3051"/>
                  </a:lnTo>
                  <a:lnTo>
                    <a:pt x="1920" y="3042"/>
                  </a:lnTo>
                  <a:lnTo>
                    <a:pt x="1895" y="3036"/>
                  </a:lnTo>
                  <a:lnTo>
                    <a:pt x="1870" y="3039"/>
                  </a:lnTo>
                  <a:lnTo>
                    <a:pt x="1839" y="3048"/>
                  </a:lnTo>
                  <a:lnTo>
                    <a:pt x="1811" y="3057"/>
                  </a:lnTo>
                  <a:lnTo>
                    <a:pt x="1783" y="3061"/>
                  </a:lnTo>
                  <a:lnTo>
                    <a:pt x="1755" y="3057"/>
                  </a:lnTo>
                  <a:lnTo>
                    <a:pt x="1720" y="3045"/>
                  </a:lnTo>
                  <a:lnTo>
                    <a:pt x="1686" y="3029"/>
                  </a:lnTo>
                  <a:lnTo>
                    <a:pt x="1661" y="3017"/>
                  </a:lnTo>
                  <a:lnTo>
                    <a:pt x="1642" y="2995"/>
                  </a:lnTo>
                  <a:lnTo>
                    <a:pt x="1624" y="2964"/>
                  </a:lnTo>
                  <a:lnTo>
                    <a:pt x="1605" y="2936"/>
                  </a:lnTo>
                  <a:lnTo>
                    <a:pt x="1583" y="2914"/>
                  </a:lnTo>
                  <a:lnTo>
                    <a:pt x="1561" y="2904"/>
                  </a:lnTo>
                  <a:lnTo>
                    <a:pt x="1533" y="2895"/>
                  </a:lnTo>
                  <a:lnTo>
                    <a:pt x="1511" y="2886"/>
                  </a:lnTo>
                  <a:lnTo>
                    <a:pt x="1495" y="2870"/>
                  </a:lnTo>
                  <a:lnTo>
                    <a:pt x="1477" y="2851"/>
                  </a:lnTo>
                  <a:lnTo>
                    <a:pt x="1461" y="2833"/>
                  </a:lnTo>
                  <a:lnTo>
                    <a:pt x="1442" y="2826"/>
                  </a:lnTo>
                  <a:lnTo>
                    <a:pt x="1439" y="2829"/>
                  </a:lnTo>
                  <a:lnTo>
                    <a:pt x="1433" y="2836"/>
                  </a:lnTo>
                  <a:lnTo>
                    <a:pt x="1430" y="2842"/>
                  </a:lnTo>
                  <a:lnTo>
                    <a:pt x="1427" y="2848"/>
                  </a:lnTo>
                  <a:lnTo>
                    <a:pt x="1417" y="2867"/>
                  </a:lnTo>
                  <a:lnTo>
                    <a:pt x="1405" y="2886"/>
                  </a:lnTo>
                  <a:lnTo>
                    <a:pt x="1392" y="2901"/>
                  </a:lnTo>
                  <a:lnTo>
                    <a:pt x="1374" y="2904"/>
                  </a:lnTo>
                  <a:lnTo>
                    <a:pt x="1352" y="2901"/>
                  </a:lnTo>
                  <a:lnTo>
                    <a:pt x="1330" y="2895"/>
                  </a:lnTo>
                  <a:lnTo>
                    <a:pt x="1305" y="2883"/>
                  </a:lnTo>
                  <a:lnTo>
                    <a:pt x="1277" y="2861"/>
                  </a:lnTo>
                  <a:lnTo>
                    <a:pt x="1249" y="2839"/>
                  </a:lnTo>
                  <a:lnTo>
                    <a:pt x="1224" y="2826"/>
                  </a:lnTo>
                  <a:lnTo>
                    <a:pt x="1205" y="2826"/>
                  </a:lnTo>
                  <a:lnTo>
                    <a:pt x="1183" y="2826"/>
                  </a:lnTo>
                  <a:lnTo>
                    <a:pt x="1161" y="2826"/>
                  </a:lnTo>
                  <a:lnTo>
                    <a:pt x="1143" y="2820"/>
                  </a:lnTo>
                  <a:lnTo>
                    <a:pt x="1124" y="2811"/>
                  </a:lnTo>
                  <a:lnTo>
                    <a:pt x="1105" y="2804"/>
                  </a:lnTo>
                  <a:lnTo>
                    <a:pt x="1077" y="2801"/>
                  </a:lnTo>
                  <a:lnTo>
                    <a:pt x="1049" y="2798"/>
                  </a:lnTo>
                  <a:lnTo>
                    <a:pt x="1021" y="2804"/>
                  </a:lnTo>
                  <a:lnTo>
                    <a:pt x="1002" y="2817"/>
                  </a:lnTo>
                  <a:lnTo>
                    <a:pt x="983" y="2836"/>
                  </a:lnTo>
                  <a:lnTo>
                    <a:pt x="965" y="2851"/>
                  </a:lnTo>
                  <a:lnTo>
                    <a:pt x="933" y="2867"/>
                  </a:lnTo>
                  <a:lnTo>
                    <a:pt x="896" y="2883"/>
                  </a:lnTo>
                  <a:lnTo>
                    <a:pt x="858" y="2892"/>
                  </a:lnTo>
                  <a:lnTo>
                    <a:pt x="824" y="2898"/>
                  </a:lnTo>
                  <a:lnTo>
                    <a:pt x="818" y="2895"/>
                  </a:lnTo>
                  <a:lnTo>
                    <a:pt x="808" y="2892"/>
                  </a:lnTo>
                  <a:lnTo>
                    <a:pt x="799" y="2889"/>
                  </a:lnTo>
                  <a:lnTo>
                    <a:pt x="793" y="2886"/>
                  </a:lnTo>
                  <a:lnTo>
                    <a:pt x="783" y="2883"/>
                  </a:lnTo>
                  <a:lnTo>
                    <a:pt x="762" y="2876"/>
                  </a:lnTo>
                  <a:lnTo>
                    <a:pt x="734" y="2867"/>
                  </a:lnTo>
                  <a:lnTo>
                    <a:pt x="709" y="2861"/>
                  </a:lnTo>
                  <a:lnTo>
                    <a:pt x="684" y="2848"/>
                  </a:lnTo>
                  <a:lnTo>
                    <a:pt x="652" y="2836"/>
                  </a:lnTo>
                  <a:lnTo>
                    <a:pt x="624" y="2823"/>
                  </a:lnTo>
                  <a:lnTo>
                    <a:pt x="599" y="2817"/>
                  </a:lnTo>
                  <a:lnTo>
                    <a:pt x="581" y="2817"/>
                  </a:lnTo>
                  <a:lnTo>
                    <a:pt x="562" y="2820"/>
                  </a:lnTo>
                  <a:lnTo>
                    <a:pt x="546" y="2820"/>
                  </a:lnTo>
                  <a:lnTo>
                    <a:pt x="531" y="2804"/>
                  </a:lnTo>
                  <a:lnTo>
                    <a:pt x="512" y="2779"/>
                  </a:lnTo>
                  <a:lnTo>
                    <a:pt x="499" y="2758"/>
                  </a:lnTo>
                  <a:lnTo>
                    <a:pt x="493" y="2751"/>
                  </a:lnTo>
                  <a:lnTo>
                    <a:pt x="484" y="2745"/>
                  </a:lnTo>
                  <a:lnTo>
                    <a:pt x="477" y="2736"/>
                  </a:lnTo>
                  <a:lnTo>
                    <a:pt x="468" y="2726"/>
                  </a:lnTo>
                  <a:lnTo>
                    <a:pt x="477" y="2720"/>
                  </a:lnTo>
                  <a:lnTo>
                    <a:pt x="484" y="2711"/>
                  </a:lnTo>
                  <a:lnTo>
                    <a:pt x="487" y="2705"/>
                  </a:lnTo>
                  <a:lnTo>
                    <a:pt x="490" y="2689"/>
                  </a:lnTo>
                  <a:lnTo>
                    <a:pt x="487" y="2667"/>
                  </a:lnTo>
                  <a:lnTo>
                    <a:pt x="484" y="2648"/>
                  </a:lnTo>
                  <a:lnTo>
                    <a:pt x="487" y="2636"/>
                  </a:lnTo>
                  <a:lnTo>
                    <a:pt x="502" y="2630"/>
                  </a:lnTo>
                  <a:lnTo>
                    <a:pt x="521" y="2626"/>
                  </a:lnTo>
                  <a:lnTo>
                    <a:pt x="543" y="2630"/>
                  </a:lnTo>
                  <a:lnTo>
                    <a:pt x="559" y="2636"/>
                  </a:lnTo>
                  <a:lnTo>
                    <a:pt x="562" y="2639"/>
                  </a:lnTo>
                  <a:lnTo>
                    <a:pt x="565" y="2645"/>
                  </a:lnTo>
                  <a:lnTo>
                    <a:pt x="568" y="2655"/>
                  </a:lnTo>
                  <a:lnTo>
                    <a:pt x="571" y="2664"/>
                  </a:lnTo>
                  <a:lnTo>
                    <a:pt x="574" y="2673"/>
                  </a:lnTo>
                  <a:lnTo>
                    <a:pt x="577" y="2680"/>
                  </a:lnTo>
                  <a:lnTo>
                    <a:pt x="584" y="2683"/>
                  </a:lnTo>
                  <a:lnTo>
                    <a:pt x="599" y="2686"/>
                  </a:lnTo>
                  <a:lnTo>
                    <a:pt x="618" y="2683"/>
                  </a:lnTo>
                  <a:lnTo>
                    <a:pt x="634" y="2676"/>
                  </a:lnTo>
                  <a:lnTo>
                    <a:pt x="640" y="2661"/>
                  </a:lnTo>
                  <a:lnTo>
                    <a:pt x="640" y="2639"/>
                  </a:lnTo>
                  <a:lnTo>
                    <a:pt x="640" y="2617"/>
                  </a:lnTo>
                  <a:lnTo>
                    <a:pt x="634" y="2598"/>
                  </a:lnTo>
                  <a:lnTo>
                    <a:pt x="630" y="2592"/>
                  </a:lnTo>
                  <a:lnTo>
                    <a:pt x="621" y="2583"/>
                  </a:lnTo>
                  <a:lnTo>
                    <a:pt x="615" y="2577"/>
                  </a:lnTo>
                  <a:lnTo>
                    <a:pt x="606" y="2567"/>
                  </a:lnTo>
                  <a:lnTo>
                    <a:pt x="599" y="2561"/>
                  </a:lnTo>
                  <a:lnTo>
                    <a:pt x="593" y="2552"/>
                  </a:lnTo>
                  <a:lnTo>
                    <a:pt x="584" y="2530"/>
                  </a:lnTo>
                  <a:lnTo>
                    <a:pt x="577" y="2502"/>
                  </a:lnTo>
                  <a:lnTo>
                    <a:pt x="571" y="2480"/>
                  </a:lnTo>
                  <a:lnTo>
                    <a:pt x="559" y="2458"/>
                  </a:lnTo>
                  <a:lnTo>
                    <a:pt x="546" y="2436"/>
                  </a:lnTo>
                  <a:lnTo>
                    <a:pt x="534" y="2411"/>
                  </a:lnTo>
                  <a:lnTo>
                    <a:pt x="527" y="2392"/>
                  </a:lnTo>
                  <a:lnTo>
                    <a:pt x="521" y="2364"/>
                  </a:lnTo>
                  <a:lnTo>
                    <a:pt x="515" y="2330"/>
                  </a:lnTo>
                  <a:lnTo>
                    <a:pt x="512" y="2292"/>
                  </a:lnTo>
                  <a:lnTo>
                    <a:pt x="515" y="2261"/>
                  </a:lnTo>
                  <a:lnTo>
                    <a:pt x="521" y="2233"/>
                  </a:lnTo>
                  <a:lnTo>
                    <a:pt x="537" y="2221"/>
                  </a:lnTo>
                  <a:lnTo>
                    <a:pt x="559" y="2208"/>
                  </a:lnTo>
                  <a:lnTo>
                    <a:pt x="581" y="2196"/>
                  </a:lnTo>
                  <a:lnTo>
                    <a:pt x="596" y="2186"/>
                  </a:lnTo>
                  <a:lnTo>
                    <a:pt x="606" y="2164"/>
                  </a:lnTo>
                  <a:lnTo>
                    <a:pt x="615" y="2139"/>
                  </a:lnTo>
                  <a:lnTo>
                    <a:pt x="618" y="2118"/>
                  </a:lnTo>
                  <a:lnTo>
                    <a:pt x="615" y="2096"/>
                  </a:lnTo>
                  <a:lnTo>
                    <a:pt x="606" y="2068"/>
                  </a:lnTo>
                  <a:lnTo>
                    <a:pt x="593" y="2046"/>
                  </a:lnTo>
                  <a:lnTo>
                    <a:pt x="577" y="2030"/>
                  </a:lnTo>
                  <a:lnTo>
                    <a:pt x="565" y="2030"/>
                  </a:lnTo>
                  <a:lnTo>
                    <a:pt x="549" y="2036"/>
                  </a:lnTo>
                  <a:lnTo>
                    <a:pt x="531" y="2043"/>
                  </a:lnTo>
                  <a:lnTo>
                    <a:pt x="518" y="2043"/>
                  </a:lnTo>
                  <a:lnTo>
                    <a:pt x="499" y="2027"/>
                  </a:lnTo>
                  <a:lnTo>
                    <a:pt x="484" y="2002"/>
                  </a:lnTo>
                  <a:lnTo>
                    <a:pt x="474" y="1977"/>
                  </a:lnTo>
                  <a:lnTo>
                    <a:pt x="471" y="1961"/>
                  </a:lnTo>
                  <a:lnTo>
                    <a:pt x="474" y="1940"/>
                  </a:lnTo>
                  <a:lnTo>
                    <a:pt x="477" y="1918"/>
                  </a:lnTo>
                  <a:lnTo>
                    <a:pt x="481" y="1899"/>
                  </a:lnTo>
                  <a:lnTo>
                    <a:pt x="481" y="1877"/>
                  </a:lnTo>
                  <a:lnTo>
                    <a:pt x="477" y="1849"/>
                  </a:lnTo>
                  <a:lnTo>
                    <a:pt x="477" y="1827"/>
                  </a:lnTo>
                  <a:lnTo>
                    <a:pt x="477" y="1808"/>
                  </a:lnTo>
                  <a:lnTo>
                    <a:pt x="471" y="1783"/>
                  </a:lnTo>
                  <a:lnTo>
                    <a:pt x="471" y="1758"/>
                  </a:lnTo>
                  <a:lnTo>
                    <a:pt x="471" y="1733"/>
                  </a:lnTo>
                  <a:lnTo>
                    <a:pt x="477" y="1718"/>
                  </a:lnTo>
                  <a:lnTo>
                    <a:pt x="490" y="1712"/>
                  </a:lnTo>
                  <a:lnTo>
                    <a:pt x="509" y="1712"/>
                  </a:lnTo>
                  <a:lnTo>
                    <a:pt x="531" y="1712"/>
                  </a:lnTo>
                  <a:lnTo>
                    <a:pt x="549" y="1712"/>
                  </a:lnTo>
                  <a:lnTo>
                    <a:pt x="562" y="1705"/>
                  </a:lnTo>
                  <a:lnTo>
                    <a:pt x="571" y="1687"/>
                  </a:lnTo>
                  <a:lnTo>
                    <a:pt x="574" y="1665"/>
                  </a:lnTo>
                  <a:lnTo>
                    <a:pt x="577" y="1640"/>
                  </a:lnTo>
                  <a:lnTo>
                    <a:pt x="571" y="1618"/>
                  </a:lnTo>
                  <a:lnTo>
                    <a:pt x="562" y="1605"/>
                  </a:lnTo>
                  <a:lnTo>
                    <a:pt x="556" y="1605"/>
                  </a:lnTo>
                  <a:lnTo>
                    <a:pt x="549" y="1609"/>
                  </a:lnTo>
                  <a:lnTo>
                    <a:pt x="543" y="1612"/>
                  </a:lnTo>
                  <a:lnTo>
                    <a:pt x="537" y="1618"/>
                  </a:lnTo>
                  <a:lnTo>
                    <a:pt x="531" y="1624"/>
                  </a:lnTo>
                  <a:lnTo>
                    <a:pt x="521" y="1630"/>
                  </a:lnTo>
                  <a:lnTo>
                    <a:pt x="515" y="1634"/>
                  </a:lnTo>
                  <a:lnTo>
                    <a:pt x="496" y="1634"/>
                  </a:lnTo>
                  <a:lnTo>
                    <a:pt x="474" y="1630"/>
                  </a:lnTo>
                  <a:lnTo>
                    <a:pt x="459" y="1621"/>
                  </a:lnTo>
                  <a:lnTo>
                    <a:pt x="452" y="1605"/>
                  </a:lnTo>
                  <a:lnTo>
                    <a:pt x="456" y="1590"/>
                  </a:lnTo>
                  <a:lnTo>
                    <a:pt x="462" y="1571"/>
                  </a:lnTo>
                  <a:lnTo>
                    <a:pt x="468" y="1555"/>
                  </a:lnTo>
                  <a:lnTo>
                    <a:pt x="484" y="1543"/>
                  </a:lnTo>
                  <a:lnTo>
                    <a:pt x="512" y="1530"/>
                  </a:lnTo>
                  <a:lnTo>
                    <a:pt x="537" y="1521"/>
                  </a:lnTo>
                  <a:lnTo>
                    <a:pt x="556" y="1509"/>
                  </a:lnTo>
                  <a:lnTo>
                    <a:pt x="565" y="1493"/>
                  </a:lnTo>
                  <a:lnTo>
                    <a:pt x="571" y="1471"/>
                  </a:lnTo>
                  <a:lnTo>
                    <a:pt x="574" y="1452"/>
                  </a:lnTo>
                  <a:lnTo>
                    <a:pt x="574" y="1427"/>
                  </a:lnTo>
                  <a:lnTo>
                    <a:pt x="571" y="1396"/>
                  </a:lnTo>
                  <a:lnTo>
                    <a:pt x="565" y="1368"/>
                  </a:lnTo>
                  <a:lnTo>
                    <a:pt x="556" y="1343"/>
                  </a:lnTo>
                  <a:lnTo>
                    <a:pt x="540" y="1331"/>
                  </a:lnTo>
                  <a:lnTo>
                    <a:pt x="518" y="1318"/>
                  </a:lnTo>
                  <a:lnTo>
                    <a:pt x="496" y="1306"/>
                  </a:lnTo>
                  <a:lnTo>
                    <a:pt x="484" y="1290"/>
                  </a:lnTo>
                  <a:lnTo>
                    <a:pt x="481" y="1278"/>
                  </a:lnTo>
                  <a:lnTo>
                    <a:pt x="484" y="1259"/>
                  </a:lnTo>
                  <a:lnTo>
                    <a:pt x="487" y="1240"/>
                  </a:lnTo>
                  <a:lnTo>
                    <a:pt x="487" y="1228"/>
                  </a:lnTo>
                  <a:lnTo>
                    <a:pt x="481" y="1196"/>
                  </a:lnTo>
                  <a:lnTo>
                    <a:pt x="471" y="1162"/>
                  </a:lnTo>
                  <a:lnTo>
                    <a:pt x="456" y="1128"/>
                  </a:lnTo>
                  <a:lnTo>
                    <a:pt x="440" y="1103"/>
                  </a:lnTo>
                  <a:lnTo>
                    <a:pt x="424" y="1093"/>
                  </a:lnTo>
                  <a:lnTo>
                    <a:pt x="403" y="1084"/>
                  </a:lnTo>
                  <a:lnTo>
                    <a:pt x="378" y="1071"/>
                  </a:lnTo>
                  <a:lnTo>
                    <a:pt x="362" y="1062"/>
                  </a:lnTo>
                  <a:lnTo>
                    <a:pt x="349" y="1037"/>
                  </a:lnTo>
                  <a:lnTo>
                    <a:pt x="340" y="1009"/>
                  </a:lnTo>
                  <a:lnTo>
                    <a:pt x="331" y="978"/>
                  </a:lnTo>
                  <a:lnTo>
                    <a:pt x="321" y="953"/>
                  </a:lnTo>
                  <a:lnTo>
                    <a:pt x="306" y="931"/>
                  </a:lnTo>
                  <a:lnTo>
                    <a:pt x="284" y="903"/>
                  </a:lnTo>
                  <a:lnTo>
                    <a:pt x="262" y="878"/>
                  </a:lnTo>
                  <a:lnTo>
                    <a:pt x="240" y="862"/>
                  </a:lnTo>
                  <a:lnTo>
                    <a:pt x="221" y="853"/>
                  </a:lnTo>
                  <a:lnTo>
                    <a:pt x="193" y="847"/>
                  </a:lnTo>
                  <a:lnTo>
                    <a:pt x="168" y="840"/>
                  </a:lnTo>
                  <a:lnTo>
                    <a:pt x="150" y="834"/>
                  </a:lnTo>
                  <a:lnTo>
                    <a:pt x="125" y="815"/>
                  </a:lnTo>
                  <a:lnTo>
                    <a:pt x="100" y="790"/>
                  </a:lnTo>
                  <a:lnTo>
                    <a:pt x="78" y="772"/>
                  </a:lnTo>
                  <a:lnTo>
                    <a:pt x="53" y="762"/>
                  </a:lnTo>
                  <a:lnTo>
                    <a:pt x="25" y="750"/>
                  </a:lnTo>
                  <a:lnTo>
                    <a:pt x="0" y="737"/>
                  </a:lnTo>
                  <a:lnTo>
                    <a:pt x="31" y="712"/>
                  </a:lnTo>
                  <a:lnTo>
                    <a:pt x="65" y="678"/>
                  </a:lnTo>
                  <a:lnTo>
                    <a:pt x="97" y="647"/>
                  </a:lnTo>
                  <a:lnTo>
                    <a:pt x="118" y="619"/>
                  </a:lnTo>
                  <a:lnTo>
                    <a:pt x="134" y="584"/>
                  </a:lnTo>
                  <a:lnTo>
                    <a:pt x="150" y="544"/>
                  </a:lnTo>
                  <a:lnTo>
                    <a:pt x="165" y="500"/>
                  </a:lnTo>
                  <a:lnTo>
                    <a:pt x="178" y="466"/>
                  </a:lnTo>
                  <a:lnTo>
                    <a:pt x="187" y="438"/>
                  </a:lnTo>
                  <a:lnTo>
                    <a:pt x="203" y="403"/>
                  </a:lnTo>
                  <a:lnTo>
                    <a:pt x="218" y="378"/>
                  </a:lnTo>
                  <a:lnTo>
                    <a:pt x="225" y="372"/>
                  </a:lnTo>
                  <a:lnTo>
                    <a:pt x="231" y="366"/>
                  </a:lnTo>
                  <a:lnTo>
                    <a:pt x="240" y="359"/>
                  </a:lnTo>
                  <a:lnTo>
                    <a:pt x="250" y="353"/>
                  </a:lnTo>
                  <a:lnTo>
                    <a:pt x="259" y="350"/>
                  </a:lnTo>
                  <a:lnTo>
                    <a:pt x="268" y="347"/>
                  </a:lnTo>
                  <a:lnTo>
                    <a:pt x="287" y="350"/>
                  </a:lnTo>
                  <a:lnTo>
                    <a:pt x="309" y="359"/>
                  </a:lnTo>
                  <a:lnTo>
                    <a:pt x="328" y="372"/>
                  </a:lnTo>
                  <a:lnTo>
                    <a:pt x="331" y="375"/>
                  </a:lnTo>
                  <a:lnTo>
                    <a:pt x="331" y="381"/>
                  </a:lnTo>
                  <a:lnTo>
                    <a:pt x="334" y="391"/>
                  </a:lnTo>
                  <a:lnTo>
                    <a:pt x="334" y="400"/>
                  </a:lnTo>
                  <a:lnTo>
                    <a:pt x="334" y="406"/>
                  </a:lnTo>
                  <a:lnTo>
                    <a:pt x="337" y="409"/>
                  </a:lnTo>
                  <a:lnTo>
                    <a:pt x="346" y="416"/>
                  </a:lnTo>
                  <a:lnTo>
                    <a:pt x="356" y="422"/>
                  </a:lnTo>
                  <a:lnTo>
                    <a:pt x="365" y="425"/>
                  </a:lnTo>
                  <a:lnTo>
                    <a:pt x="378" y="431"/>
                  </a:lnTo>
                  <a:lnTo>
                    <a:pt x="387" y="434"/>
                  </a:lnTo>
                  <a:lnTo>
                    <a:pt x="403" y="444"/>
                  </a:lnTo>
                  <a:lnTo>
                    <a:pt x="421" y="453"/>
                  </a:lnTo>
                  <a:lnTo>
                    <a:pt x="443" y="459"/>
                  </a:lnTo>
                  <a:lnTo>
                    <a:pt x="456" y="459"/>
                  </a:lnTo>
                  <a:lnTo>
                    <a:pt x="462" y="447"/>
                  </a:lnTo>
                  <a:lnTo>
                    <a:pt x="459" y="431"/>
                  </a:lnTo>
                  <a:lnTo>
                    <a:pt x="456" y="416"/>
                  </a:lnTo>
                  <a:lnTo>
                    <a:pt x="452" y="400"/>
                  </a:lnTo>
                  <a:lnTo>
                    <a:pt x="446" y="381"/>
                  </a:lnTo>
                  <a:lnTo>
                    <a:pt x="440" y="356"/>
                  </a:lnTo>
                  <a:lnTo>
                    <a:pt x="428" y="335"/>
                  </a:lnTo>
                  <a:lnTo>
                    <a:pt x="418" y="316"/>
                  </a:lnTo>
                  <a:lnTo>
                    <a:pt x="412" y="316"/>
                  </a:lnTo>
                  <a:lnTo>
                    <a:pt x="403" y="313"/>
                  </a:lnTo>
                  <a:lnTo>
                    <a:pt x="396" y="313"/>
                  </a:lnTo>
                  <a:lnTo>
                    <a:pt x="387" y="313"/>
                  </a:lnTo>
                  <a:lnTo>
                    <a:pt x="381" y="313"/>
                  </a:lnTo>
                  <a:lnTo>
                    <a:pt x="374" y="313"/>
                  </a:lnTo>
                  <a:lnTo>
                    <a:pt x="362" y="297"/>
                  </a:lnTo>
                  <a:lnTo>
                    <a:pt x="353" y="278"/>
                  </a:lnTo>
                  <a:lnTo>
                    <a:pt x="340" y="260"/>
                  </a:lnTo>
                  <a:lnTo>
                    <a:pt x="331" y="244"/>
                  </a:lnTo>
                  <a:lnTo>
                    <a:pt x="324" y="241"/>
                  </a:lnTo>
                  <a:lnTo>
                    <a:pt x="315" y="238"/>
                  </a:lnTo>
                  <a:lnTo>
                    <a:pt x="306" y="235"/>
                  </a:lnTo>
                  <a:lnTo>
                    <a:pt x="296" y="235"/>
                  </a:lnTo>
                  <a:lnTo>
                    <a:pt x="287" y="231"/>
                  </a:lnTo>
                  <a:lnTo>
                    <a:pt x="281" y="228"/>
                  </a:lnTo>
                  <a:lnTo>
                    <a:pt x="271" y="206"/>
                  </a:lnTo>
                  <a:lnTo>
                    <a:pt x="262" y="182"/>
                  </a:lnTo>
                  <a:lnTo>
                    <a:pt x="259" y="160"/>
                  </a:lnTo>
                  <a:lnTo>
                    <a:pt x="262" y="138"/>
                  </a:lnTo>
                  <a:lnTo>
                    <a:pt x="268" y="113"/>
                  </a:lnTo>
                  <a:lnTo>
                    <a:pt x="274" y="91"/>
                  </a:lnTo>
                  <a:lnTo>
                    <a:pt x="287" y="75"/>
                  </a:lnTo>
                  <a:lnTo>
                    <a:pt x="309" y="57"/>
                  </a:lnTo>
                  <a:lnTo>
                    <a:pt x="328" y="38"/>
                  </a:lnTo>
                  <a:lnTo>
                    <a:pt x="337" y="19"/>
                  </a:lnTo>
                  <a:lnTo>
                    <a:pt x="340" y="10"/>
                  </a:lnTo>
                  <a:lnTo>
                    <a:pt x="340" y="0"/>
                  </a:lnTo>
                  <a:lnTo>
                    <a:pt x="353" y="4"/>
                  </a:lnTo>
                  <a:lnTo>
                    <a:pt x="368" y="10"/>
                  </a:lnTo>
                  <a:lnTo>
                    <a:pt x="381" y="13"/>
                  </a:lnTo>
                  <a:lnTo>
                    <a:pt x="387" y="19"/>
                  </a:lnTo>
                  <a:lnTo>
                    <a:pt x="399" y="35"/>
                  </a:lnTo>
                  <a:lnTo>
                    <a:pt x="412" y="53"/>
                  </a:lnTo>
                  <a:lnTo>
                    <a:pt x="424" y="75"/>
                  </a:lnTo>
                  <a:lnTo>
                    <a:pt x="437" y="88"/>
                  </a:lnTo>
                  <a:lnTo>
                    <a:pt x="456" y="94"/>
                  </a:lnTo>
                  <a:lnTo>
                    <a:pt x="477" y="97"/>
                  </a:lnTo>
                  <a:lnTo>
                    <a:pt x="499" y="100"/>
                  </a:lnTo>
                  <a:lnTo>
                    <a:pt x="518" y="94"/>
                  </a:lnTo>
                  <a:lnTo>
                    <a:pt x="531" y="85"/>
                  </a:lnTo>
                  <a:lnTo>
                    <a:pt x="543" y="66"/>
                  </a:lnTo>
                  <a:lnTo>
                    <a:pt x="552" y="47"/>
                  </a:lnTo>
                  <a:lnTo>
                    <a:pt x="565" y="35"/>
                  </a:lnTo>
                  <a:lnTo>
                    <a:pt x="587" y="25"/>
                  </a:lnTo>
                  <a:lnTo>
                    <a:pt x="615" y="19"/>
                  </a:lnTo>
                  <a:lnTo>
                    <a:pt x="640" y="19"/>
                  </a:lnTo>
                  <a:lnTo>
                    <a:pt x="659" y="19"/>
                  </a:lnTo>
                  <a:lnTo>
                    <a:pt x="680" y="19"/>
                  </a:lnTo>
                  <a:lnTo>
                    <a:pt x="699" y="25"/>
                  </a:lnTo>
                  <a:lnTo>
                    <a:pt x="715" y="32"/>
                  </a:lnTo>
                  <a:lnTo>
                    <a:pt x="721" y="47"/>
                  </a:lnTo>
                  <a:lnTo>
                    <a:pt x="724" y="66"/>
                  </a:lnTo>
                  <a:lnTo>
                    <a:pt x="727" y="88"/>
                  </a:lnTo>
                  <a:lnTo>
                    <a:pt x="734" y="103"/>
                  </a:lnTo>
                  <a:lnTo>
                    <a:pt x="749" y="107"/>
                  </a:lnTo>
                  <a:lnTo>
                    <a:pt x="768" y="110"/>
                  </a:lnTo>
                  <a:lnTo>
                    <a:pt x="790" y="110"/>
                  </a:lnTo>
                  <a:lnTo>
                    <a:pt x="802" y="113"/>
                  </a:lnTo>
                  <a:lnTo>
                    <a:pt x="815" y="132"/>
                  </a:lnTo>
                  <a:lnTo>
                    <a:pt x="821" y="157"/>
                  </a:lnTo>
                  <a:lnTo>
                    <a:pt x="827" y="182"/>
                  </a:lnTo>
                  <a:lnTo>
                    <a:pt x="837" y="197"/>
                  </a:lnTo>
                  <a:lnTo>
                    <a:pt x="849" y="206"/>
                  </a:lnTo>
                  <a:lnTo>
                    <a:pt x="865" y="213"/>
                  </a:lnTo>
                  <a:lnTo>
                    <a:pt x="880" y="219"/>
                  </a:lnTo>
                  <a:lnTo>
                    <a:pt x="893" y="216"/>
                  </a:lnTo>
                  <a:lnTo>
                    <a:pt x="899" y="206"/>
                  </a:lnTo>
                  <a:lnTo>
                    <a:pt x="899" y="191"/>
                  </a:lnTo>
                  <a:lnTo>
                    <a:pt x="902" y="172"/>
                  </a:lnTo>
                  <a:lnTo>
                    <a:pt x="908" y="163"/>
                  </a:lnTo>
                  <a:lnTo>
                    <a:pt x="915" y="163"/>
                  </a:lnTo>
                  <a:lnTo>
                    <a:pt x="921" y="166"/>
                  </a:lnTo>
                  <a:lnTo>
                    <a:pt x="930" y="172"/>
                  </a:lnTo>
                  <a:lnTo>
                    <a:pt x="937" y="178"/>
                  </a:lnTo>
                  <a:lnTo>
                    <a:pt x="946" y="185"/>
                  </a:lnTo>
                  <a:lnTo>
                    <a:pt x="949" y="191"/>
                  </a:lnTo>
                  <a:lnTo>
                    <a:pt x="955" y="203"/>
                  </a:lnTo>
                  <a:lnTo>
                    <a:pt x="958" y="222"/>
                  </a:lnTo>
                  <a:lnTo>
                    <a:pt x="961" y="238"/>
                  </a:lnTo>
                  <a:lnTo>
                    <a:pt x="968" y="253"/>
                  </a:lnTo>
                  <a:lnTo>
                    <a:pt x="980" y="260"/>
                  </a:lnTo>
                  <a:lnTo>
                    <a:pt x="999" y="263"/>
                  </a:lnTo>
                  <a:lnTo>
                    <a:pt x="1015" y="269"/>
                  </a:lnTo>
                  <a:lnTo>
                    <a:pt x="1027" y="275"/>
                  </a:lnTo>
                  <a:lnTo>
                    <a:pt x="1036" y="291"/>
                  </a:lnTo>
                  <a:lnTo>
                    <a:pt x="1040" y="313"/>
                  </a:lnTo>
                  <a:lnTo>
                    <a:pt x="1043" y="338"/>
                  </a:lnTo>
                  <a:lnTo>
                    <a:pt x="1046" y="356"/>
                  </a:lnTo>
                  <a:lnTo>
                    <a:pt x="1058" y="372"/>
                  </a:lnTo>
                  <a:lnTo>
                    <a:pt x="1071" y="394"/>
                  </a:lnTo>
                  <a:lnTo>
                    <a:pt x="1086" y="413"/>
                  </a:lnTo>
                  <a:lnTo>
                    <a:pt x="1099" y="431"/>
                  </a:lnTo>
                  <a:lnTo>
                    <a:pt x="1108" y="438"/>
                  </a:lnTo>
                  <a:lnTo>
                    <a:pt x="1121" y="438"/>
                  </a:lnTo>
                  <a:lnTo>
                    <a:pt x="1143" y="431"/>
                  </a:lnTo>
                  <a:lnTo>
                    <a:pt x="1168" y="422"/>
                  </a:lnTo>
                  <a:lnTo>
                    <a:pt x="1196" y="413"/>
                  </a:lnTo>
                  <a:lnTo>
                    <a:pt x="1214" y="406"/>
                  </a:lnTo>
                  <a:lnTo>
                    <a:pt x="1233" y="400"/>
                  </a:lnTo>
                  <a:lnTo>
                    <a:pt x="1252" y="394"/>
                  </a:lnTo>
                  <a:lnTo>
                    <a:pt x="1271" y="391"/>
                  </a:lnTo>
                  <a:lnTo>
                    <a:pt x="1292" y="394"/>
                  </a:lnTo>
                  <a:lnTo>
                    <a:pt x="1324" y="400"/>
                  </a:lnTo>
                  <a:lnTo>
                    <a:pt x="1352" y="406"/>
                  </a:lnTo>
                  <a:lnTo>
                    <a:pt x="1374" y="409"/>
                  </a:lnTo>
                  <a:lnTo>
                    <a:pt x="1396" y="409"/>
                  </a:lnTo>
                  <a:lnTo>
                    <a:pt x="1417" y="409"/>
                  </a:lnTo>
                  <a:lnTo>
                    <a:pt x="1439" y="406"/>
                  </a:lnTo>
                  <a:lnTo>
                    <a:pt x="1458" y="397"/>
                  </a:lnTo>
                  <a:lnTo>
                    <a:pt x="1480" y="378"/>
                  </a:lnTo>
                  <a:lnTo>
                    <a:pt x="1499" y="369"/>
                  </a:lnTo>
                  <a:lnTo>
                    <a:pt x="1527" y="366"/>
                  </a:lnTo>
                  <a:lnTo>
                    <a:pt x="1561" y="366"/>
                  </a:lnTo>
                  <a:lnTo>
                    <a:pt x="1589" y="369"/>
                  </a:lnTo>
                  <a:lnTo>
                    <a:pt x="1608" y="375"/>
                  </a:lnTo>
                  <a:lnTo>
                    <a:pt x="1633" y="388"/>
                  </a:lnTo>
                  <a:lnTo>
                    <a:pt x="1655" y="400"/>
                  </a:lnTo>
                  <a:lnTo>
                    <a:pt x="1667" y="416"/>
                  </a:lnTo>
                  <a:lnTo>
                    <a:pt x="1670" y="422"/>
                  </a:lnTo>
                  <a:lnTo>
                    <a:pt x="1670" y="431"/>
                  </a:lnTo>
                  <a:lnTo>
                    <a:pt x="1673" y="441"/>
                  </a:lnTo>
                  <a:lnTo>
                    <a:pt x="1670" y="447"/>
                  </a:lnTo>
                  <a:lnTo>
                    <a:pt x="1670" y="456"/>
                  </a:lnTo>
                  <a:lnTo>
                    <a:pt x="1667" y="459"/>
                  </a:lnTo>
                  <a:lnTo>
                    <a:pt x="1661" y="463"/>
                  </a:lnTo>
                  <a:lnTo>
                    <a:pt x="1655" y="463"/>
                  </a:lnTo>
                  <a:lnTo>
                    <a:pt x="1645" y="463"/>
                  </a:lnTo>
                  <a:lnTo>
                    <a:pt x="1636" y="459"/>
                  </a:lnTo>
                  <a:lnTo>
                    <a:pt x="1630" y="459"/>
                  </a:lnTo>
                  <a:lnTo>
                    <a:pt x="1620" y="459"/>
                  </a:lnTo>
                  <a:lnTo>
                    <a:pt x="1617" y="459"/>
                  </a:lnTo>
                  <a:lnTo>
                    <a:pt x="1608" y="472"/>
                  </a:lnTo>
                  <a:lnTo>
                    <a:pt x="1605" y="491"/>
                  </a:lnTo>
                  <a:lnTo>
                    <a:pt x="1599" y="509"/>
                  </a:lnTo>
                  <a:lnTo>
                    <a:pt x="1592" y="525"/>
                  </a:lnTo>
                  <a:lnTo>
                    <a:pt x="1580" y="531"/>
                  </a:lnTo>
                  <a:lnTo>
                    <a:pt x="1561" y="534"/>
                  </a:lnTo>
                  <a:lnTo>
                    <a:pt x="1545" y="541"/>
                  </a:lnTo>
                  <a:lnTo>
                    <a:pt x="1533" y="547"/>
                  </a:lnTo>
                  <a:lnTo>
                    <a:pt x="1527" y="562"/>
                  </a:lnTo>
                  <a:lnTo>
                    <a:pt x="1527" y="581"/>
                  </a:lnTo>
                  <a:lnTo>
                    <a:pt x="1530" y="603"/>
                  </a:lnTo>
                  <a:lnTo>
                    <a:pt x="1533" y="619"/>
                  </a:lnTo>
                  <a:lnTo>
                    <a:pt x="1542" y="647"/>
                  </a:lnTo>
                  <a:lnTo>
                    <a:pt x="1555" y="675"/>
                  </a:lnTo>
                  <a:lnTo>
                    <a:pt x="1574" y="694"/>
                  </a:lnTo>
                  <a:lnTo>
                    <a:pt x="1592" y="700"/>
                  </a:lnTo>
                  <a:lnTo>
                    <a:pt x="1614" y="700"/>
                  </a:lnTo>
                  <a:lnTo>
                    <a:pt x="1630" y="694"/>
                  </a:lnTo>
                  <a:lnTo>
                    <a:pt x="1636" y="681"/>
                  </a:lnTo>
                  <a:lnTo>
                    <a:pt x="1636" y="659"/>
                  </a:lnTo>
                  <a:lnTo>
                    <a:pt x="1636" y="634"/>
                  </a:lnTo>
                  <a:lnTo>
                    <a:pt x="1639" y="612"/>
                  </a:lnTo>
                  <a:lnTo>
                    <a:pt x="1645" y="600"/>
                  </a:lnTo>
                  <a:lnTo>
                    <a:pt x="1661" y="597"/>
                  </a:lnTo>
                  <a:lnTo>
                    <a:pt x="1683" y="600"/>
                  </a:lnTo>
                  <a:lnTo>
                    <a:pt x="1705" y="606"/>
                  </a:lnTo>
                  <a:lnTo>
                    <a:pt x="1723" y="609"/>
                  </a:lnTo>
                  <a:lnTo>
                    <a:pt x="1748" y="606"/>
                  </a:lnTo>
                  <a:lnTo>
                    <a:pt x="1777" y="597"/>
                  </a:lnTo>
                  <a:lnTo>
                    <a:pt x="1805" y="587"/>
                  </a:lnTo>
                  <a:lnTo>
                    <a:pt x="1826" y="591"/>
                  </a:lnTo>
                  <a:lnTo>
                    <a:pt x="1845" y="603"/>
                  </a:lnTo>
                  <a:lnTo>
                    <a:pt x="1861" y="628"/>
                  </a:lnTo>
                  <a:lnTo>
                    <a:pt x="1876" y="647"/>
                  </a:lnTo>
                  <a:lnTo>
                    <a:pt x="1886" y="650"/>
                  </a:lnTo>
                  <a:lnTo>
                    <a:pt x="1895" y="653"/>
                  </a:lnTo>
                  <a:lnTo>
                    <a:pt x="1905" y="653"/>
                  </a:lnTo>
                  <a:lnTo>
                    <a:pt x="1914" y="656"/>
                  </a:lnTo>
                  <a:lnTo>
                    <a:pt x="1920" y="659"/>
                  </a:lnTo>
                  <a:lnTo>
                    <a:pt x="1933" y="675"/>
                  </a:lnTo>
                  <a:lnTo>
                    <a:pt x="1942" y="694"/>
                  </a:lnTo>
                  <a:lnTo>
                    <a:pt x="1951" y="712"/>
                  </a:lnTo>
                  <a:lnTo>
                    <a:pt x="1964" y="725"/>
                  </a:lnTo>
                  <a:lnTo>
                    <a:pt x="1976" y="728"/>
                  </a:lnTo>
                  <a:lnTo>
                    <a:pt x="1995" y="731"/>
                  </a:lnTo>
                  <a:lnTo>
                    <a:pt x="2011" y="731"/>
                  </a:lnTo>
                  <a:lnTo>
                    <a:pt x="2023" y="728"/>
                  </a:lnTo>
                  <a:lnTo>
                    <a:pt x="2029" y="712"/>
                  </a:lnTo>
                  <a:lnTo>
                    <a:pt x="2029" y="690"/>
                  </a:lnTo>
                  <a:lnTo>
                    <a:pt x="2026" y="669"/>
                  </a:lnTo>
                  <a:lnTo>
                    <a:pt x="2023" y="647"/>
                  </a:lnTo>
                  <a:lnTo>
                    <a:pt x="2023" y="628"/>
                  </a:lnTo>
                  <a:lnTo>
                    <a:pt x="2029" y="622"/>
                  </a:lnTo>
                  <a:lnTo>
                    <a:pt x="2036" y="616"/>
                  </a:lnTo>
                  <a:lnTo>
                    <a:pt x="2042" y="609"/>
                  </a:lnTo>
                  <a:lnTo>
                    <a:pt x="2048" y="603"/>
                  </a:lnTo>
                  <a:lnTo>
                    <a:pt x="2054" y="600"/>
                  </a:lnTo>
                  <a:lnTo>
                    <a:pt x="2070" y="603"/>
                  </a:lnTo>
                  <a:lnTo>
                    <a:pt x="2086" y="616"/>
                  </a:lnTo>
                  <a:lnTo>
                    <a:pt x="2101" y="628"/>
                  </a:lnTo>
                  <a:lnTo>
                    <a:pt x="2111" y="641"/>
                  </a:lnTo>
                  <a:lnTo>
                    <a:pt x="2117" y="662"/>
                  </a:lnTo>
                  <a:lnTo>
                    <a:pt x="2120" y="690"/>
                  </a:lnTo>
                  <a:lnTo>
                    <a:pt x="2120" y="712"/>
                  </a:lnTo>
                  <a:lnTo>
                    <a:pt x="2117" y="722"/>
                  </a:lnTo>
                  <a:lnTo>
                    <a:pt x="2117" y="728"/>
                  </a:lnTo>
                  <a:lnTo>
                    <a:pt x="2114" y="737"/>
                  </a:lnTo>
                  <a:lnTo>
                    <a:pt x="2111" y="747"/>
                  </a:lnTo>
                  <a:lnTo>
                    <a:pt x="2111" y="753"/>
                  </a:lnTo>
                  <a:lnTo>
                    <a:pt x="2111" y="759"/>
                  </a:lnTo>
                  <a:lnTo>
                    <a:pt x="2114" y="769"/>
                  </a:lnTo>
                  <a:lnTo>
                    <a:pt x="2117" y="778"/>
                  </a:lnTo>
                  <a:lnTo>
                    <a:pt x="2120" y="787"/>
                  </a:lnTo>
                  <a:lnTo>
                    <a:pt x="2123" y="794"/>
                  </a:lnTo>
                  <a:lnTo>
                    <a:pt x="2129" y="797"/>
                  </a:lnTo>
                  <a:lnTo>
                    <a:pt x="2142" y="800"/>
                  </a:lnTo>
                  <a:lnTo>
                    <a:pt x="2161" y="797"/>
                  </a:lnTo>
                  <a:lnTo>
                    <a:pt x="2176" y="790"/>
                  </a:lnTo>
                  <a:lnTo>
                    <a:pt x="2189" y="784"/>
                  </a:lnTo>
                  <a:lnTo>
                    <a:pt x="2192" y="778"/>
                  </a:lnTo>
                  <a:lnTo>
                    <a:pt x="2195" y="769"/>
                  </a:lnTo>
                  <a:lnTo>
                    <a:pt x="2198" y="762"/>
                  </a:lnTo>
                  <a:lnTo>
                    <a:pt x="2198" y="753"/>
                  </a:lnTo>
                  <a:lnTo>
                    <a:pt x="2201" y="747"/>
                  </a:lnTo>
                  <a:lnTo>
                    <a:pt x="2204" y="740"/>
                  </a:lnTo>
                  <a:lnTo>
                    <a:pt x="2211" y="737"/>
                  </a:lnTo>
                  <a:lnTo>
                    <a:pt x="2223" y="737"/>
                  </a:lnTo>
                  <a:lnTo>
                    <a:pt x="2232" y="734"/>
                  </a:lnTo>
                  <a:lnTo>
                    <a:pt x="2242" y="737"/>
                  </a:lnTo>
                  <a:lnTo>
                    <a:pt x="2248" y="740"/>
                  </a:lnTo>
                  <a:lnTo>
                    <a:pt x="2257" y="753"/>
                  </a:lnTo>
                  <a:lnTo>
                    <a:pt x="2261" y="775"/>
                  </a:lnTo>
                  <a:lnTo>
                    <a:pt x="2261" y="794"/>
                  </a:lnTo>
                  <a:lnTo>
                    <a:pt x="2264" y="812"/>
                  </a:lnTo>
                  <a:lnTo>
                    <a:pt x="2264" y="828"/>
                  </a:lnTo>
                  <a:lnTo>
                    <a:pt x="2264" y="847"/>
                  </a:lnTo>
                  <a:lnTo>
                    <a:pt x="2267" y="862"/>
                  </a:lnTo>
                  <a:lnTo>
                    <a:pt x="2276" y="872"/>
                  </a:lnTo>
                  <a:lnTo>
                    <a:pt x="2282" y="875"/>
                  </a:lnTo>
                  <a:lnTo>
                    <a:pt x="2289" y="872"/>
                  </a:lnTo>
                  <a:lnTo>
                    <a:pt x="2295" y="865"/>
                  </a:lnTo>
                  <a:lnTo>
                    <a:pt x="2304" y="859"/>
                  </a:lnTo>
                  <a:lnTo>
                    <a:pt x="2310" y="853"/>
                  </a:lnTo>
                  <a:lnTo>
                    <a:pt x="2317" y="850"/>
                  </a:lnTo>
                  <a:lnTo>
                    <a:pt x="2323" y="847"/>
                  </a:lnTo>
                  <a:lnTo>
                    <a:pt x="2342" y="843"/>
                  </a:lnTo>
                  <a:lnTo>
                    <a:pt x="2364" y="847"/>
                  </a:lnTo>
                  <a:lnTo>
                    <a:pt x="2385" y="850"/>
                  </a:lnTo>
                  <a:lnTo>
                    <a:pt x="2401" y="847"/>
                  </a:lnTo>
                  <a:lnTo>
                    <a:pt x="2410" y="840"/>
                  </a:lnTo>
                  <a:lnTo>
                    <a:pt x="2420" y="834"/>
                  </a:lnTo>
                  <a:lnTo>
                    <a:pt x="2432" y="825"/>
                  </a:lnTo>
                  <a:lnTo>
                    <a:pt x="2439" y="815"/>
                  </a:lnTo>
                  <a:lnTo>
                    <a:pt x="2445" y="809"/>
                  </a:lnTo>
                  <a:lnTo>
                    <a:pt x="2445" y="790"/>
                  </a:lnTo>
                  <a:lnTo>
                    <a:pt x="2442" y="769"/>
                  </a:lnTo>
                  <a:lnTo>
                    <a:pt x="2442" y="747"/>
                  </a:lnTo>
                  <a:lnTo>
                    <a:pt x="2445" y="728"/>
                  </a:lnTo>
                  <a:lnTo>
                    <a:pt x="2460" y="719"/>
                  </a:lnTo>
                  <a:lnTo>
                    <a:pt x="2485" y="715"/>
                  </a:lnTo>
                  <a:lnTo>
                    <a:pt x="2504" y="712"/>
                  </a:lnTo>
                  <a:lnTo>
                    <a:pt x="2526" y="719"/>
                  </a:lnTo>
                  <a:lnTo>
                    <a:pt x="2548" y="728"/>
                  </a:lnTo>
                  <a:lnTo>
                    <a:pt x="2570" y="740"/>
                  </a:lnTo>
                  <a:lnTo>
                    <a:pt x="2588" y="753"/>
                  </a:lnTo>
                  <a:lnTo>
                    <a:pt x="2607" y="772"/>
                  </a:lnTo>
                  <a:lnTo>
                    <a:pt x="2632" y="797"/>
                  </a:lnTo>
                  <a:lnTo>
                    <a:pt x="2654" y="819"/>
                  </a:lnTo>
                  <a:lnTo>
                    <a:pt x="2676" y="837"/>
                  </a:lnTo>
                  <a:lnTo>
                    <a:pt x="2698" y="843"/>
                  </a:lnTo>
                  <a:lnTo>
                    <a:pt x="2723" y="850"/>
                  </a:lnTo>
                  <a:lnTo>
                    <a:pt x="2745" y="853"/>
                  </a:lnTo>
                  <a:lnTo>
                    <a:pt x="2763" y="847"/>
                  </a:lnTo>
                  <a:lnTo>
                    <a:pt x="2785" y="840"/>
                  </a:lnTo>
                  <a:lnTo>
                    <a:pt x="2810" y="831"/>
                  </a:lnTo>
                  <a:lnTo>
                    <a:pt x="2829" y="828"/>
                  </a:lnTo>
                  <a:lnTo>
                    <a:pt x="2844" y="825"/>
                  </a:lnTo>
                  <a:lnTo>
                    <a:pt x="2866" y="825"/>
                  </a:lnTo>
                  <a:lnTo>
                    <a:pt x="2882" y="828"/>
                  </a:lnTo>
                  <a:lnTo>
                    <a:pt x="2898" y="837"/>
                  </a:lnTo>
                  <a:lnTo>
                    <a:pt x="2916" y="853"/>
                  </a:lnTo>
                  <a:lnTo>
                    <a:pt x="2938" y="865"/>
                  </a:lnTo>
                  <a:lnTo>
                    <a:pt x="2954" y="875"/>
                  </a:lnTo>
                  <a:lnTo>
                    <a:pt x="2973" y="878"/>
                  </a:lnTo>
                  <a:lnTo>
                    <a:pt x="2994" y="881"/>
                  </a:lnTo>
                  <a:lnTo>
                    <a:pt x="3016" y="881"/>
                  </a:lnTo>
                  <a:lnTo>
                    <a:pt x="3035" y="878"/>
                  </a:lnTo>
                  <a:lnTo>
                    <a:pt x="3041" y="865"/>
                  </a:lnTo>
                  <a:lnTo>
                    <a:pt x="3047" y="843"/>
                  </a:lnTo>
                  <a:lnTo>
                    <a:pt x="3054" y="825"/>
                  </a:lnTo>
                  <a:lnTo>
                    <a:pt x="3060" y="812"/>
                  </a:lnTo>
                  <a:lnTo>
                    <a:pt x="3076" y="812"/>
                  </a:lnTo>
                  <a:lnTo>
                    <a:pt x="3091" y="815"/>
                  </a:lnTo>
                  <a:lnTo>
                    <a:pt x="3107" y="822"/>
                  </a:lnTo>
                  <a:lnTo>
                    <a:pt x="3119" y="828"/>
                  </a:lnTo>
                  <a:lnTo>
                    <a:pt x="3138" y="843"/>
                  </a:lnTo>
                  <a:lnTo>
                    <a:pt x="3160" y="862"/>
                  </a:lnTo>
                  <a:lnTo>
                    <a:pt x="3182" y="878"/>
                  </a:lnTo>
                  <a:lnTo>
                    <a:pt x="3194" y="881"/>
                  </a:lnTo>
                  <a:lnTo>
                    <a:pt x="3216" y="884"/>
                  </a:lnTo>
                  <a:lnTo>
                    <a:pt x="3235" y="881"/>
                  </a:lnTo>
                  <a:lnTo>
                    <a:pt x="3247" y="878"/>
                  </a:lnTo>
                  <a:lnTo>
                    <a:pt x="3250" y="862"/>
                  </a:lnTo>
                  <a:lnTo>
                    <a:pt x="3250" y="843"/>
                  </a:lnTo>
                  <a:lnTo>
                    <a:pt x="3244" y="822"/>
                  </a:lnTo>
                  <a:lnTo>
                    <a:pt x="3244" y="803"/>
                  </a:lnTo>
                  <a:lnTo>
                    <a:pt x="3247" y="787"/>
                  </a:lnTo>
                  <a:lnTo>
                    <a:pt x="3263" y="781"/>
                  </a:lnTo>
                  <a:lnTo>
                    <a:pt x="3285" y="781"/>
                  </a:lnTo>
                  <a:lnTo>
                    <a:pt x="3307" y="781"/>
                  </a:lnTo>
                  <a:lnTo>
                    <a:pt x="3325" y="784"/>
                  </a:lnTo>
                  <a:lnTo>
                    <a:pt x="3347" y="787"/>
                  </a:lnTo>
                  <a:lnTo>
                    <a:pt x="3372" y="797"/>
                  </a:lnTo>
                  <a:lnTo>
                    <a:pt x="3400" y="803"/>
                  </a:lnTo>
                  <a:lnTo>
                    <a:pt x="3422" y="809"/>
                  </a:lnTo>
                  <a:lnTo>
                    <a:pt x="3450" y="803"/>
                  </a:lnTo>
                  <a:lnTo>
                    <a:pt x="3485" y="797"/>
                  </a:lnTo>
                  <a:lnTo>
                    <a:pt x="3513" y="787"/>
                  </a:lnTo>
                  <a:lnTo>
                    <a:pt x="3528" y="775"/>
                  </a:lnTo>
                  <a:lnTo>
                    <a:pt x="3547" y="762"/>
                  </a:lnTo>
                  <a:lnTo>
                    <a:pt x="3566" y="753"/>
                  </a:lnTo>
                  <a:lnTo>
                    <a:pt x="3591" y="747"/>
                  </a:lnTo>
                  <a:lnTo>
                    <a:pt x="3622" y="747"/>
                  </a:lnTo>
                  <a:lnTo>
                    <a:pt x="3650" y="750"/>
                  </a:lnTo>
                  <a:lnTo>
                    <a:pt x="3675" y="753"/>
                  </a:lnTo>
                  <a:lnTo>
                    <a:pt x="3700" y="756"/>
                  </a:lnTo>
                  <a:lnTo>
                    <a:pt x="3728" y="765"/>
                  </a:lnTo>
                  <a:lnTo>
                    <a:pt x="3756" y="778"/>
                  </a:lnTo>
                  <a:lnTo>
                    <a:pt x="3781" y="787"/>
                  </a:lnTo>
                  <a:lnTo>
                    <a:pt x="3788" y="790"/>
                  </a:lnTo>
                  <a:lnTo>
                    <a:pt x="3797" y="800"/>
                  </a:lnTo>
                  <a:lnTo>
                    <a:pt x="3806" y="806"/>
                  </a:lnTo>
                  <a:lnTo>
                    <a:pt x="3816" y="815"/>
                  </a:lnTo>
                  <a:lnTo>
                    <a:pt x="3825" y="819"/>
                  </a:lnTo>
                  <a:lnTo>
                    <a:pt x="3831" y="822"/>
                  </a:lnTo>
                  <a:lnTo>
                    <a:pt x="3837" y="825"/>
                  </a:lnTo>
                  <a:lnTo>
                    <a:pt x="3847" y="825"/>
                  </a:lnTo>
                  <a:lnTo>
                    <a:pt x="3856" y="825"/>
                  </a:lnTo>
                  <a:lnTo>
                    <a:pt x="3862" y="825"/>
                  </a:lnTo>
                  <a:lnTo>
                    <a:pt x="3881" y="815"/>
                  </a:lnTo>
                  <a:lnTo>
                    <a:pt x="3900" y="797"/>
                  </a:lnTo>
                  <a:lnTo>
                    <a:pt x="3916" y="787"/>
                  </a:lnTo>
                  <a:lnTo>
                    <a:pt x="3934" y="784"/>
                  </a:lnTo>
                  <a:lnTo>
                    <a:pt x="3956" y="784"/>
                  </a:lnTo>
                  <a:lnTo>
                    <a:pt x="3975" y="787"/>
                  </a:lnTo>
                  <a:lnTo>
                    <a:pt x="3994" y="803"/>
                  </a:lnTo>
                  <a:lnTo>
                    <a:pt x="4012" y="825"/>
                  </a:lnTo>
                  <a:lnTo>
                    <a:pt x="4025" y="847"/>
                  </a:lnTo>
                  <a:lnTo>
                    <a:pt x="4031" y="865"/>
                  </a:lnTo>
                  <a:lnTo>
                    <a:pt x="4037" y="887"/>
                  </a:lnTo>
                  <a:lnTo>
                    <a:pt x="4044" y="909"/>
                  </a:lnTo>
                  <a:lnTo>
                    <a:pt x="4053" y="928"/>
                  </a:lnTo>
                  <a:lnTo>
                    <a:pt x="4075" y="937"/>
                  </a:lnTo>
                  <a:lnTo>
                    <a:pt x="4106" y="947"/>
                  </a:lnTo>
                  <a:lnTo>
                    <a:pt x="4140" y="950"/>
                  </a:lnTo>
                  <a:lnTo>
                    <a:pt x="4169" y="953"/>
                  </a:lnTo>
                  <a:lnTo>
                    <a:pt x="4190" y="953"/>
                  </a:lnTo>
                  <a:lnTo>
                    <a:pt x="4222" y="956"/>
                  </a:lnTo>
                  <a:lnTo>
                    <a:pt x="4243" y="953"/>
                  </a:lnTo>
                  <a:lnTo>
                    <a:pt x="4253" y="947"/>
                  </a:lnTo>
                  <a:lnTo>
                    <a:pt x="4262" y="940"/>
                  </a:lnTo>
                  <a:lnTo>
                    <a:pt x="4272" y="931"/>
                  </a:lnTo>
                  <a:lnTo>
                    <a:pt x="4278" y="922"/>
                  </a:lnTo>
                  <a:lnTo>
                    <a:pt x="4306" y="931"/>
                  </a:lnTo>
                  <a:lnTo>
                    <a:pt x="4331" y="937"/>
                  </a:lnTo>
                  <a:lnTo>
                    <a:pt x="4340" y="940"/>
                  </a:lnTo>
                  <a:lnTo>
                    <a:pt x="4353" y="937"/>
                  </a:lnTo>
                  <a:lnTo>
                    <a:pt x="4343" y="947"/>
                  </a:lnTo>
                  <a:lnTo>
                    <a:pt x="4337" y="956"/>
                  </a:lnTo>
                  <a:lnTo>
                    <a:pt x="4331" y="965"/>
                  </a:lnTo>
                  <a:lnTo>
                    <a:pt x="4328" y="972"/>
                  </a:lnTo>
                  <a:lnTo>
                    <a:pt x="4325" y="981"/>
                  </a:lnTo>
                  <a:lnTo>
                    <a:pt x="4325" y="1003"/>
                  </a:lnTo>
                  <a:lnTo>
                    <a:pt x="4331" y="1031"/>
                  </a:lnTo>
                  <a:lnTo>
                    <a:pt x="4343" y="1059"/>
                  </a:lnTo>
                  <a:lnTo>
                    <a:pt x="4356" y="1078"/>
                  </a:lnTo>
                  <a:lnTo>
                    <a:pt x="4362" y="1084"/>
                  </a:lnTo>
                  <a:lnTo>
                    <a:pt x="4371" y="1087"/>
                  </a:lnTo>
                  <a:lnTo>
                    <a:pt x="4384" y="1093"/>
                  </a:lnTo>
                  <a:lnTo>
                    <a:pt x="4393" y="1096"/>
                  </a:lnTo>
                  <a:lnTo>
                    <a:pt x="4400" y="1100"/>
                  </a:lnTo>
                  <a:lnTo>
                    <a:pt x="4415" y="1118"/>
                  </a:lnTo>
                  <a:lnTo>
                    <a:pt x="4431" y="1143"/>
                  </a:lnTo>
                  <a:lnTo>
                    <a:pt x="4440" y="1165"/>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52" name="Freeform 33">
              <a:extLst>
                <a:ext uri="{FF2B5EF4-FFF2-40B4-BE49-F238E27FC236}">
                  <a16:creationId xmlns:a16="http://schemas.microsoft.com/office/drawing/2014/main" id="{8199A9EB-4DB1-4A1E-BDA2-E2916C8720CB}"/>
                </a:ext>
              </a:extLst>
            </p:cNvPr>
            <p:cNvSpPr>
              <a:spLocks/>
            </p:cNvSpPr>
            <p:nvPr/>
          </p:nvSpPr>
          <p:spPr bwMode="auto">
            <a:xfrm>
              <a:off x="9559926" y="2354263"/>
              <a:ext cx="8986838" cy="10806113"/>
            </a:xfrm>
            <a:custGeom>
              <a:avLst/>
              <a:gdLst>
                <a:gd name="T0" fmla="*/ 5602 w 5661"/>
                <a:gd name="T1" fmla="*/ 1883 h 6807"/>
                <a:gd name="T2" fmla="*/ 5421 w 5661"/>
                <a:gd name="T3" fmla="*/ 2133 h 6807"/>
                <a:gd name="T4" fmla="*/ 5293 w 5661"/>
                <a:gd name="T5" fmla="*/ 2342 h 6807"/>
                <a:gd name="T6" fmla="*/ 5099 w 5661"/>
                <a:gd name="T7" fmla="*/ 2567 h 6807"/>
                <a:gd name="T8" fmla="*/ 4840 w 5661"/>
                <a:gd name="T9" fmla="*/ 2817 h 6807"/>
                <a:gd name="T10" fmla="*/ 4943 w 5661"/>
                <a:gd name="T11" fmla="*/ 3151 h 6807"/>
                <a:gd name="T12" fmla="*/ 4659 w 5661"/>
                <a:gd name="T13" fmla="*/ 3307 h 6807"/>
                <a:gd name="T14" fmla="*/ 4656 w 5661"/>
                <a:gd name="T15" fmla="*/ 3585 h 6807"/>
                <a:gd name="T16" fmla="*/ 4359 w 5661"/>
                <a:gd name="T17" fmla="*/ 3888 h 6807"/>
                <a:gd name="T18" fmla="*/ 3872 w 5661"/>
                <a:gd name="T19" fmla="*/ 3910 h 6807"/>
                <a:gd name="T20" fmla="*/ 3450 w 5661"/>
                <a:gd name="T21" fmla="*/ 3994 h 6807"/>
                <a:gd name="T22" fmla="*/ 3291 w 5661"/>
                <a:gd name="T23" fmla="*/ 4063 h 6807"/>
                <a:gd name="T24" fmla="*/ 3129 w 5661"/>
                <a:gd name="T25" fmla="*/ 4047 h 6807"/>
                <a:gd name="T26" fmla="*/ 2745 w 5661"/>
                <a:gd name="T27" fmla="*/ 4175 h 6807"/>
                <a:gd name="T28" fmla="*/ 2807 w 5661"/>
                <a:gd name="T29" fmla="*/ 4634 h 6807"/>
                <a:gd name="T30" fmla="*/ 2782 w 5661"/>
                <a:gd name="T31" fmla="*/ 4940 h 6807"/>
                <a:gd name="T32" fmla="*/ 3107 w 5661"/>
                <a:gd name="T33" fmla="*/ 5305 h 6807"/>
                <a:gd name="T34" fmla="*/ 3032 w 5661"/>
                <a:gd name="T35" fmla="*/ 5671 h 6807"/>
                <a:gd name="T36" fmla="*/ 2876 w 5661"/>
                <a:gd name="T37" fmla="*/ 6049 h 6807"/>
                <a:gd name="T38" fmla="*/ 2598 w 5661"/>
                <a:gd name="T39" fmla="*/ 6358 h 6807"/>
                <a:gd name="T40" fmla="*/ 2476 w 5661"/>
                <a:gd name="T41" fmla="*/ 6695 h 6807"/>
                <a:gd name="T42" fmla="*/ 2223 w 5661"/>
                <a:gd name="T43" fmla="*/ 6726 h 6807"/>
                <a:gd name="T44" fmla="*/ 1945 w 5661"/>
                <a:gd name="T45" fmla="*/ 6601 h 6807"/>
                <a:gd name="T46" fmla="*/ 1677 w 5661"/>
                <a:gd name="T47" fmla="*/ 6361 h 6807"/>
                <a:gd name="T48" fmla="*/ 1211 w 5661"/>
                <a:gd name="T49" fmla="*/ 6273 h 6807"/>
                <a:gd name="T50" fmla="*/ 890 w 5661"/>
                <a:gd name="T51" fmla="*/ 5996 h 6807"/>
                <a:gd name="T52" fmla="*/ 649 w 5661"/>
                <a:gd name="T53" fmla="*/ 6139 h 6807"/>
                <a:gd name="T54" fmla="*/ 674 w 5661"/>
                <a:gd name="T55" fmla="*/ 5793 h 6807"/>
                <a:gd name="T56" fmla="*/ 437 w 5661"/>
                <a:gd name="T57" fmla="*/ 5537 h 6807"/>
                <a:gd name="T58" fmla="*/ 156 w 5661"/>
                <a:gd name="T59" fmla="*/ 5465 h 6807"/>
                <a:gd name="T60" fmla="*/ 75 w 5661"/>
                <a:gd name="T61" fmla="*/ 5302 h 6807"/>
                <a:gd name="T62" fmla="*/ 587 w 5661"/>
                <a:gd name="T63" fmla="*/ 4809 h 6807"/>
                <a:gd name="T64" fmla="*/ 727 w 5661"/>
                <a:gd name="T65" fmla="*/ 4222 h 6807"/>
                <a:gd name="T66" fmla="*/ 968 w 5661"/>
                <a:gd name="T67" fmla="*/ 3188 h 6807"/>
                <a:gd name="T68" fmla="*/ 1152 w 5661"/>
                <a:gd name="T69" fmla="*/ 2461 h 6807"/>
                <a:gd name="T70" fmla="*/ 1405 w 5661"/>
                <a:gd name="T71" fmla="*/ 2358 h 6807"/>
                <a:gd name="T72" fmla="*/ 1186 w 5661"/>
                <a:gd name="T73" fmla="*/ 2130 h 6807"/>
                <a:gd name="T74" fmla="*/ 1071 w 5661"/>
                <a:gd name="T75" fmla="*/ 2320 h 6807"/>
                <a:gd name="T76" fmla="*/ 1211 w 5661"/>
                <a:gd name="T77" fmla="*/ 1515 h 6807"/>
                <a:gd name="T78" fmla="*/ 1355 w 5661"/>
                <a:gd name="T79" fmla="*/ 422 h 6807"/>
                <a:gd name="T80" fmla="*/ 1555 w 5661"/>
                <a:gd name="T81" fmla="*/ 375 h 6807"/>
                <a:gd name="T82" fmla="*/ 1911 w 5661"/>
                <a:gd name="T83" fmla="*/ 706 h 6807"/>
                <a:gd name="T84" fmla="*/ 2067 w 5661"/>
                <a:gd name="T85" fmla="*/ 1387 h 6807"/>
                <a:gd name="T86" fmla="*/ 2270 w 5661"/>
                <a:gd name="T87" fmla="*/ 1871 h 6807"/>
                <a:gd name="T88" fmla="*/ 2304 w 5661"/>
                <a:gd name="T89" fmla="*/ 1568 h 6807"/>
                <a:gd name="T90" fmla="*/ 2123 w 5661"/>
                <a:gd name="T91" fmla="*/ 1187 h 6807"/>
                <a:gd name="T92" fmla="*/ 2273 w 5661"/>
                <a:gd name="T93" fmla="*/ 803 h 6807"/>
                <a:gd name="T94" fmla="*/ 2554 w 5661"/>
                <a:gd name="T95" fmla="*/ 1034 h 6807"/>
                <a:gd name="T96" fmla="*/ 2760 w 5661"/>
                <a:gd name="T97" fmla="*/ 1287 h 6807"/>
                <a:gd name="T98" fmla="*/ 3138 w 5661"/>
                <a:gd name="T99" fmla="*/ 1359 h 6807"/>
                <a:gd name="T100" fmla="*/ 3335 w 5661"/>
                <a:gd name="T101" fmla="*/ 1124 h 6807"/>
                <a:gd name="T102" fmla="*/ 3663 w 5661"/>
                <a:gd name="T103" fmla="*/ 943 h 6807"/>
                <a:gd name="T104" fmla="*/ 3825 w 5661"/>
                <a:gd name="T105" fmla="*/ 553 h 6807"/>
                <a:gd name="T106" fmla="*/ 4137 w 5661"/>
                <a:gd name="T107" fmla="*/ 147 h 6807"/>
                <a:gd name="T108" fmla="*/ 4525 w 5661"/>
                <a:gd name="T109" fmla="*/ 60 h 6807"/>
                <a:gd name="T110" fmla="*/ 4721 w 5661"/>
                <a:gd name="T111" fmla="*/ 206 h 6807"/>
                <a:gd name="T112" fmla="*/ 5108 w 5661"/>
                <a:gd name="T113" fmla="*/ 406 h 6807"/>
                <a:gd name="T114" fmla="*/ 5393 w 5661"/>
                <a:gd name="T115" fmla="*/ 647 h 6807"/>
                <a:gd name="T116" fmla="*/ 5411 w 5661"/>
                <a:gd name="T117" fmla="*/ 878 h 6807"/>
                <a:gd name="T118" fmla="*/ 5324 w 5661"/>
                <a:gd name="T119" fmla="*/ 1252 h 6807"/>
                <a:gd name="T120" fmla="*/ 5561 w 5661"/>
                <a:gd name="T121" fmla="*/ 1430 h 6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61" h="6807">
                  <a:moveTo>
                    <a:pt x="5630" y="1555"/>
                  </a:moveTo>
                  <a:lnTo>
                    <a:pt x="5642" y="1574"/>
                  </a:lnTo>
                  <a:lnTo>
                    <a:pt x="5652" y="1602"/>
                  </a:lnTo>
                  <a:lnTo>
                    <a:pt x="5661" y="1627"/>
                  </a:lnTo>
                  <a:lnTo>
                    <a:pt x="5649" y="1630"/>
                  </a:lnTo>
                  <a:lnTo>
                    <a:pt x="5636" y="1633"/>
                  </a:lnTo>
                  <a:lnTo>
                    <a:pt x="5627" y="1636"/>
                  </a:lnTo>
                  <a:lnTo>
                    <a:pt x="5617" y="1640"/>
                  </a:lnTo>
                  <a:lnTo>
                    <a:pt x="5611" y="1646"/>
                  </a:lnTo>
                  <a:lnTo>
                    <a:pt x="5599" y="1665"/>
                  </a:lnTo>
                  <a:lnTo>
                    <a:pt x="5593" y="1690"/>
                  </a:lnTo>
                  <a:lnTo>
                    <a:pt x="5589" y="1711"/>
                  </a:lnTo>
                  <a:lnTo>
                    <a:pt x="5596" y="1730"/>
                  </a:lnTo>
                  <a:lnTo>
                    <a:pt x="5602" y="1752"/>
                  </a:lnTo>
                  <a:lnTo>
                    <a:pt x="5611" y="1768"/>
                  </a:lnTo>
                  <a:lnTo>
                    <a:pt x="5617" y="1789"/>
                  </a:lnTo>
                  <a:lnTo>
                    <a:pt x="5627" y="1814"/>
                  </a:lnTo>
                  <a:lnTo>
                    <a:pt x="5630" y="1836"/>
                  </a:lnTo>
                  <a:lnTo>
                    <a:pt x="5630" y="1858"/>
                  </a:lnTo>
                  <a:lnTo>
                    <a:pt x="5627" y="1864"/>
                  </a:lnTo>
                  <a:lnTo>
                    <a:pt x="5621" y="1871"/>
                  </a:lnTo>
                  <a:lnTo>
                    <a:pt x="5611" y="1877"/>
                  </a:lnTo>
                  <a:lnTo>
                    <a:pt x="5602" y="1883"/>
                  </a:lnTo>
                  <a:lnTo>
                    <a:pt x="5596" y="1889"/>
                  </a:lnTo>
                  <a:lnTo>
                    <a:pt x="5589" y="1896"/>
                  </a:lnTo>
                  <a:lnTo>
                    <a:pt x="5586" y="1914"/>
                  </a:lnTo>
                  <a:lnTo>
                    <a:pt x="5589" y="1936"/>
                  </a:lnTo>
                  <a:lnTo>
                    <a:pt x="5593" y="1958"/>
                  </a:lnTo>
                  <a:lnTo>
                    <a:pt x="5589" y="1974"/>
                  </a:lnTo>
                  <a:lnTo>
                    <a:pt x="5583" y="1983"/>
                  </a:lnTo>
                  <a:lnTo>
                    <a:pt x="5577" y="1992"/>
                  </a:lnTo>
                  <a:lnTo>
                    <a:pt x="5564" y="2002"/>
                  </a:lnTo>
                  <a:lnTo>
                    <a:pt x="5558" y="2011"/>
                  </a:lnTo>
                  <a:lnTo>
                    <a:pt x="5552" y="2017"/>
                  </a:lnTo>
                  <a:lnTo>
                    <a:pt x="5549" y="2036"/>
                  </a:lnTo>
                  <a:lnTo>
                    <a:pt x="5552" y="2055"/>
                  </a:lnTo>
                  <a:lnTo>
                    <a:pt x="5555" y="2077"/>
                  </a:lnTo>
                  <a:lnTo>
                    <a:pt x="5555" y="2099"/>
                  </a:lnTo>
                  <a:lnTo>
                    <a:pt x="5552" y="2114"/>
                  </a:lnTo>
                  <a:lnTo>
                    <a:pt x="5536" y="2124"/>
                  </a:lnTo>
                  <a:lnTo>
                    <a:pt x="5511" y="2130"/>
                  </a:lnTo>
                  <a:lnTo>
                    <a:pt x="5493" y="2133"/>
                  </a:lnTo>
                  <a:lnTo>
                    <a:pt x="5477" y="2133"/>
                  </a:lnTo>
                  <a:lnTo>
                    <a:pt x="5455" y="2130"/>
                  </a:lnTo>
                  <a:lnTo>
                    <a:pt x="5436" y="2130"/>
                  </a:lnTo>
                  <a:lnTo>
                    <a:pt x="5421" y="2133"/>
                  </a:lnTo>
                  <a:lnTo>
                    <a:pt x="5418" y="2139"/>
                  </a:lnTo>
                  <a:lnTo>
                    <a:pt x="5418" y="2142"/>
                  </a:lnTo>
                  <a:lnTo>
                    <a:pt x="5421" y="2152"/>
                  </a:lnTo>
                  <a:lnTo>
                    <a:pt x="5421" y="2158"/>
                  </a:lnTo>
                  <a:lnTo>
                    <a:pt x="5421" y="2164"/>
                  </a:lnTo>
                  <a:lnTo>
                    <a:pt x="5421" y="2170"/>
                  </a:lnTo>
                  <a:lnTo>
                    <a:pt x="5418" y="2177"/>
                  </a:lnTo>
                  <a:lnTo>
                    <a:pt x="5415" y="2186"/>
                  </a:lnTo>
                  <a:lnTo>
                    <a:pt x="5408" y="2195"/>
                  </a:lnTo>
                  <a:lnTo>
                    <a:pt x="5405" y="2205"/>
                  </a:lnTo>
                  <a:lnTo>
                    <a:pt x="5402" y="2214"/>
                  </a:lnTo>
                  <a:lnTo>
                    <a:pt x="5402" y="2230"/>
                  </a:lnTo>
                  <a:lnTo>
                    <a:pt x="5408" y="2245"/>
                  </a:lnTo>
                  <a:lnTo>
                    <a:pt x="5411" y="2264"/>
                  </a:lnTo>
                  <a:lnTo>
                    <a:pt x="5411" y="2277"/>
                  </a:lnTo>
                  <a:lnTo>
                    <a:pt x="5402" y="2295"/>
                  </a:lnTo>
                  <a:lnTo>
                    <a:pt x="5386" y="2314"/>
                  </a:lnTo>
                  <a:lnTo>
                    <a:pt x="5368" y="2330"/>
                  </a:lnTo>
                  <a:lnTo>
                    <a:pt x="5352" y="2342"/>
                  </a:lnTo>
                  <a:lnTo>
                    <a:pt x="5340" y="2342"/>
                  </a:lnTo>
                  <a:lnTo>
                    <a:pt x="5321" y="2342"/>
                  </a:lnTo>
                  <a:lnTo>
                    <a:pt x="5305" y="2339"/>
                  </a:lnTo>
                  <a:lnTo>
                    <a:pt x="5293" y="2342"/>
                  </a:lnTo>
                  <a:lnTo>
                    <a:pt x="5290" y="2345"/>
                  </a:lnTo>
                  <a:lnTo>
                    <a:pt x="5290" y="2355"/>
                  </a:lnTo>
                  <a:lnTo>
                    <a:pt x="5286" y="2361"/>
                  </a:lnTo>
                  <a:lnTo>
                    <a:pt x="5286" y="2370"/>
                  </a:lnTo>
                  <a:lnTo>
                    <a:pt x="5286" y="2380"/>
                  </a:lnTo>
                  <a:lnTo>
                    <a:pt x="5283" y="2386"/>
                  </a:lnTo>
                  <a:lnTo>
                    <a:pt x="5283" y="2392"/>
                  </a:lnTo>
                  <a:lnTo>
                    <a:pt x="5265" y="2401"/>
                  </a:lnTo>
                  <a:lnTo>
                    <a:pt x="5243" y="2405"/>
                  </a:lnTo>
                  <a:lnTo>
                    <a:pt x="5221" y="2411"/>
                  </a:lnTo>
                  <a:lnTo>
                    <a:pt x="5202" y="2417"/>
                  </a:lnTo>
                  <a:lnTo>
                    <a:pt x="5180" y="2430"/>
                  </a:lnTo>
                  <a:lnTo>
                    <a:pt x="5155" y="2445"/>
                  </a:lnTo>
                  <a:lnTo>
                    <a:pt x="5140" y="2464"/>
                  </a:lnTo>
                  <a:lnTo>
                    <a:pt x="5137" y="2480"/>
                  </a:lnTo>
                  <a:lnTo>
                    <a:pt x="5140" y="2498"/>
                  </a:lnTo>
                  <a:lnTo>
                    <a:pt x="5140" y="2517"/>
                  </a:lnTo>
                  <a:lnTo>
                    <a:pt x="5137" y="2523"/>
                  </a:lnTo>
                  <a:lnTo>
                    <a:pt x="5130" y="2536"/>
                  </a:lnTo>
                  <a:lnTo>
                    <a:pt x="5124" y="2545"/>
                  </a:lnTo>
                  <a:lnTo>
                    <a:pt x="5115" y="2554"/>
                  </a:lnTo>
                  <a:lnTo>
                    <a:pt x="5108" y="2561"/>
                  </a:lnTo>
                  <a:lnTo>
                    <a:pt x="5099" y="2567"/>
                  </a:lnTo>
                  <a:lnTo>
                    <a:pt x="5090" y="2573"/>
                  </a:lnTo>
                  <a:lnTo>
                    <a:pt x="5077" y="2579"/>
                  </a:lnTo>
                  <a:lnTo>
                    <a:pt x="5068" y="2586"/>
                  </a:lnTo>
                  <a:lnTo>
                    <a:pt x="5055" y="2604"/>
                  </a:lnTo>
                  <a:lnTo>
                    <a:pt x="5046" y="2633"/>
                  </a:lnTo>
                  <a:lnTo>
                    <a:pt x="5034" y="2658"/>
                  </a:lnTo>
                  <a:lnTo>
                    <a:pt x="5018" y="2676"/>
                  </a:lnTo>
                  <a:lnTo>
                    <a:pt x="5012" y="2676"/>
                  </a:lnTo>
                  <a:lnTo>
                    <a:pt x="5002" y="2676"/>
                  </a:lnTo>
                  <a:lnTo>
                    <a:pt x="4996" y="2676"/>
                  </a:lnTo>
                  <a:lnTo>
                    <a:pt x="4987" y="2676"/>
                  </a:lnTo>
                  <a:lnTo>
                    <a:pt x="4977" y="2676"/>
                  </a:lnTo>
                  <a:lnTo>
                    <a:pt x="4971" y="2676"/>
                  </a:lnTo>
                  <a:lnTo>
                    <a:pt x="4949" y="2683"/>
                  </a:lnTo>
                  <a:lnTo>
                    <a:pt x="4927" y="2698"/>
                  </a:lnTo>
                  <a:lnTo>
                    <a:pt x="4909" y="2708"/>
                  </a:lnTo>
                  <a:lnTo>
                    <a:pt x="4890" y="2717"/>
                  </a:lnTo>
                  <a:lnTo>
                    <a:pt x="4871" y="2726"/>
                  </a:lnTo>
                  <a:lnTo>
                    <a:pt x="4852" y="2736"/>
                  </a:lnTo>
                  <a:lnTo>
                    <a:pt x="4840" y="2748"/>
                  </a:lnTo>
                  <a:lnTo>
                    <a:pt x="4834" y="2767"/>
                  </a:lnTo>
                  <a:lnTo>
                    <a:pt x="4837" y="2792"/>
                  </a:lnTo>
                  <a:lnTo>
                    <a:pt x="4840" y="2817"/>
                  </a:lnTo>
                  <a:lnTo>
                    <a:pt x="4849" y="2836"/>
                  </a:lnTo>
                  <a:lnTo>
                    <a:pt x="4852" y="2839"/>
                  </a:lnTo>
                  <a:lnTo>
                    <a:pt x="4862" y="2842"/>
                  </a:lnTo>
                  <a:lnTo>
                    <a:pt x="4868" y="2842"/>
                  </a:lnTo>
                  <a:lnTo>
                    <a:pt x="4877" y="2845"/>
                  </a:lnTo>
                  <a:lnTo>
                    <a:pt x="4881" y="2848"/>
                  </a:lnTo>
                  <a:lnTo>
                    <a:pt x="4887" y="2861"/>
                  </a:lnTo>
                  <a:lnTo>
                    <a:pt x="4890" y="2879"/>
                  </a:lnTo>
                  <a:lnTo>
                    <a:pt x="4890" y="2895"/>
                  </a:lnTo>
                  <a:lnTo>
                    <a:pt x="4896" y="2910"/>
                  </a:lnTo>
                  <a:lnTo>
                    <a:pt x="4912" y="2926"/>
                  </a:lnTo>
                  <a:lnTo>
                    <a:pt x="4937" y="2942"/>
                  </a:lnTo>
                  <a:lnTo>
                    <a:pt x="4955" y="2957"/>
                  </a:lnTo>
                  <a:lnTo>
                    <a:pt x="4962" y="2976"/>
                  </a:lnTo>
                  <a:lnTo>
                    <a:pt x="4965" y="3001"/>
                  </a:lnTo>
                  <a:lnTo>
                    <a:pt x="4965" y="3020"/>
                  </a:lnTo>
                  <a:lnTo>
                    <a:pt x="4962" y="3038"/>
                  </a:lnTo>
                  <a:lnTo>
                    <a:pt x="4952" y="3060"/>
                  </a:lnTo>
                  <a:lnTo>
                    <a:pt x="4943" y="3085"/>
                  </a:lnTo>
                  <a:lnTo>
                    <a:pt x="4940" y="3104"/>
                  </a:lnTo>
                  <a:lnTo>
                    <a:pt x="4940" y="3117"/>
                  </a:lnTo>
                  <a:lnTo>
                    <a:pt x="4940" y="3135"/>
                  </a:lnTo>
                  <a:lnTo>
                    <a:pt x="4943" y="3151"/>
                  </a:lnTo>
                  <a:lnTo>
                    <a:pt x="4940" y="3163"/>
                  </a:lnTo>
                  <a:lnTo>
                    <a:pt x="4921" y="3179"/>
                  </a:lnTo>
                  <a:lnTo>
                    <a:pt x="4893" y="3192"/>
                  </a:lnTo>
                  <a:lnTo>
                    <a:pt x="4865" y="3201"/>
                  </a:lnTo>
                  <a:lnTo>
                    <a:pt x="4840" y="3201"/>
                  </a:lnTo>
                  <a:lnTo>
                    <a:pt x="4824" y="3188"/>
                  </a:lnTo>
                  <a:lnTo>
                    <a:pt x="4809" y="3167"/>
                  </a:lnTo>
                  <a:lnTo>
                    <a:pt x="4793" y="3148"/>
                  </a:lnTo>
                  <a:lnTo>
                    <a:pt x="4777" y="3142"/>
                  </a:lnTo>
                  <a:lnTo>
                    <a:pt x="4759" y="3132"/>
                  </a:lnTo>
                  <a:lnTo>
                    <a:pt x="4740" y="3126"/>
                  </a:lnTo>
                  <a:lnTo>
                    <a:pt x="4724" y="3126"/>
                  </a:lnTo>
                  <a:lnTo>
                    <a:pt x="4703" y="3135"/>
                  </a:lnTo>
                  <a:lnTo>
                    <a:pt x="4681" y="3157"/>
                  </a:lnTo>
                  <a:lnTo>
                    <a:pt x="4659" y="3179"/>
                  </a:lnTo>
                  <a:lnTo>
                    <a:pt x="4649" y="3201"/>
                  </a:lnTo>
                  <a:lnTo>
                    <a:pt x="4653" y="3216"/>
                  </a:lnTo>
                  <a:lnTo>
                    <a:pt x="4659" y="3232"/>
                  </a:lnTo>
                  <a:lnTo>
                    <a:pt x="4668" y="3248"/>
                  </a:lnTo>
                  <a:lnTo>
                    <a:pt x="4671" y="3263"/>
                  </a:lnTo>
                  <a:lnTo>
                    <a:pt x="4671" y="3276"/>
                  </a:lnTo>
                  <a:lnTo>
                    <a:pt x="4665" y="3291"/>
                  </a:lnTo>
                  <a:lnTo>
                    <a:pt x="4659" y="3307"/>
                  </a:lnTo>
                  <a:lnTo>
                    <a:pt x="4662" y="3320"/>
                  </a:lnTo>
                  <a:lnTo>
                    <a:pt x="4671" y="3326"/>
                  </a:lnTo>
                  <a:lnTo>
                    <a:pt x="4690" y="3329"/>
                  </a:lnTo>
                  <a:lnTo>
                    <a:pt x="4706" y="3329"/>
                  </a:lnTo>
                  <a:lnTo>
                    <a:pt x="4721" y="3335"/>
                  </a:lnTo>
                  <a:lnTo>
                    <a:pt x="4728" y="3341"/>
                  </a:lnTo>
                  <a:lnTo>
                    <a:pt x="4734" y="3348"/>
                  </a:lnTo>
                  <a:lnTo>
                    <a:pt x="4737" y="3357"/>
                  </a:lnTo>
                  <a:lnTo>
                    <a:pt x="4743" y="3366"/>
                  </a:lnTo>
                  <a:lnTo>
                    <a:pt x="4746" y="3376"/>
                  </a:lnTo>
                  <a:lnTo>
                    <a:pt x="4746" y="3385"/>
                  </a:lnTo>
                  <a:lnTo>
                    <a:pt x="4743" y="3401"/>
                  </a:lnTo>
                  <a:lnTo>
                    <a:pt x="4731" y="3419"/>
                  </a:lnTo>
                  <a:lnTo>
                    <a:pt x="4718" y="3435"/>
                  </a:lnTo>
                  <a:lnTo>
                    <a:pt x="4709" y="3451"/>
                  </a:lnTo>
                  <a:lnTo>
                    <a:pt x="4709" y="3473"/>
                  </a:lnTo>
                  <a:lnTo>
                    <a:pt x="4709" y="3498"/>
                  </a:lnTo>
                  <a:lnTo>
                    <a:pt x="4709" y="3519"/>
                  </a:lnTo>
                  <a:lnTo>
                    <a:pt x="4706" y="3541"/>
                  </a:lnTo>
                  <a:lnTo>
                    <a:pt x="4696" y="3566"/>
                  </a:lnTo>
                  <a:lnTo>
                    <a:pt x="4684" y="3585"/>
                  </a:lnTo>
                  <a:lnTo>
                    <a:pt x="4671" y="3588"/>
                  </a:lnTo>
                  <a:lnTo>
                    <a:pt x="4656" y="3585"/>
                  </a:lnTo>
                  <a:lnTo>
                    <a:pt x="4637" y="3582"/>
                  </a:lnTo>
                  <a:lnTo>
                    <a:pt x="4624" y="3585"/>
                  </a:lnTo>
                  <a:lnTo>
                    <a:pt x="4618" y="3601"/>
                  </a:lnTo>
                  <a:lnTo>
                    <a:pt x="4612" y="3622"/>
                  </a:lnTo>
                  <a:lnTo>
                    <a:pt x="4609" y="3641"/>
                  </a:lnTo>
                  <a:lnTo>
                    <a:pt x="4603" y="3657"/>
                  </a:lnTo>
                  <a:lnTo>
                    <a:pt x="4590" y="3660"/>
                  </a:lnTo>
                  <a:lnTo>
                    <a:pt x="4571" y="3657"/>
                  </a:lnTo>
                  <a:lnTo>
                    <a:pt x="4556" y="3654"/>
                  </a:lnTo>
                  <a:lnTo>
                    <a:pt x="4543" y="3657"/>
                  </a:lnTo>
                  <a:lnTo>
                    <a:pt x="4528" y="3672"/>
                  </a:lnTo>
                  <a:lnTo>
                    <a:pt x="4512" y="3697"/>
                  </a:lnTo>
                  <a:lnTo>
                    <a:pt x="4500" y="3725"/>
                  </a:lnTo>
                  <a:lnTo>
                    <a:pt x="4484" y="3744"/>
                  </a:lnTo>
                  <a:lnTo>
                    <a:pt x="4468" y="3754"/>
                  </a:lnTo>
                  <a:lnTo>
                    <a:pt x="4446" y="3763"/>
                  </a:lnTo>
                  <a:lnTo>
                    <a:pt x="4431" y="3772"/>
                  </a:lnTo>
                  <a:lnTo>
                    <a:pt x="4421" y="3788"/>
                  </a:lnTo>
                  <a:lnTo>
                    <a:pt x="4412" y="3813"/>
                  </a:lnTo>
                  <a:lnTo>
                    <a:pt x="4406" y="3838"/>
                  </a:lnTo>
                  <a:lnTo>
                    <a:pt x="4397" y="3857"/>
                  </a:lnTo>
                  <a:lnTo>
                    <a:pt x="4381" y="3872"/>
                  </a:lnTo>
                  <a:lnTo>
                    <a:pt x="4359" y="3888"/>
                  </a:lnTo>
                  <a:lnTo>
                    <a:pt x="4334" y="3903"/>
                  </a:lnTo>
                  <a:lnTo>
                    <a:pt x="4315" y="3913"/>
                  </a:lnTo>
                  <a:lnTo>
                    <a:pt x="4293" y="3919"/>
                  </a:lnTo>
                  <a:lnTo>
                    <a:pt x="4272" y="3925"/>
                  </a:lnTo>
                  <a:lnTo>
                    <a:pt x="4247" y="3928"/>
                  </a:lnTo>
                  <a:lnTo>
                    <a:pt x="4228" y="3925"/>
                  </a:lnTo>
                  <a:lnTo>
                    <a:pt x="4215" y="3910"/>
                  </a:lnTo>
                  <a:lnTo>
                    <a:pt x="4209" y="3888"/>
                  </a:lnTo>
                  <a:lnTo>
                    <a:pt x="4200" y="3863"/>
                  </a:lnTo>
                  <a:lnTo>
                    <a:pt x="4190" y="3847"/>
                  </a:lnTo>
                  <a:lnTo>
                    <a:pt x="4169" y="3838"/>
                  </a:lnTo>
                  <a:lnTo>
                    <a:pt x="4144" y="3838"/>
                  </a:lnTo>
                  <a:lnTo>
                    <a:pt x="4122" y="3838"/>
                  </a:lnTo>
                  <a:lnTo>
                    <a:pt x="4100" y="3850"/>
                  </a:lnTo>
                  <a:lnTo>
                    <a:pt x="4078" y="3866"/>
                  </a:lnTo>
                  <a:lnTo>
                    <a:pt x="4056" y="3878"/>
                  </a:lnTo>
                  <a:lnTo>
                    <a:pt x="4034" y="3878"/>
                  </a:lnTo>
                  <a:lnTo>
                    <a:pt x="4009" y="3875"/>
                  </a:lnTo>
                  <a:lnTo>
                    <a:pt x="3984" y="3872"/>
                  </a:lnTo>
                  <a:lnTo>
                    <a:pt x="3966" y="3872"/>
                  </a:lnTo>
                  <a:lnTo>
                    <a:pt x="3937" y="3882"/>
                  </a:lnTo>
                  <a:lnTo>
                    <a:pt x="3903" y="3894"/>
                  </a:lnTo>
                  <a:lnTo>
                    <a:pt x="3872" y="3910"/>
                  </a:lnTo>
                  <a:lnTo>
                    <a:pt x="3847" y="3925"/>
                  </a:lnTo>
                  <a:lnTo>
                    <a:pt x="3819" y="3941"/>
                  </a:lnTo>
                  <a:lnTo>
                    <a:pt x="3784" y="3963"/>
                  </a:lnTo>
                  <a:lnTo>
                    <a:pt x="3759" y="3982"/>
                  </a:lnTo>
                  <a:lnTo>
                    <a:pt x="3741" y="3994"/>
                  </a:lnTo>
                  <a:lnTo>
                    <a:pt x="3722" y="4010"/>
                  </a:lnTo>
                  <a:lnTo>
                    <a:pt x="3703" y="4025"/>
                  </a:lnTo>
                  <a:lnTo>
                    <a:pt x="3685" y="4031"/>
                  </a:lnTo>
                  <a:lnTo>
                    <a:pt x="3653" y="4031"/>
                  </a:lnTo>
                  <a:lnTo>
                    <a:pt x="3613" y="4022"/>
                  </a:lnTo>
                  <a:lnTo>
                    <a:pt x="3578" y="4010"/>
                  </a:lnTo>
                  <a:lnTo>
                    <a:pt x="3550" y="3991"/>
                  </a:lnTo>
                  <a:lnTo>
                    <a:pt x="3544" y="3975"/>
                  </a:lnTo>
                  <a:lnTo>
                    <a:pt x="3541" y="3953"/>
                  </a:lnTo>
                  <a:lnTo>
                    <a:pt x="3538" y="3932"/>
                  </a:lnTo>
                  <a:lnTo>
                    <a:pt x="3532" y="3919"/>
                  </a:lnTo>
                  <a:lnTo>
                    <a:pt x="3513" y="3916"/>
                  </a:lnTo>
                  <a:lnTo>
                    <a:pt x="3488" y="3919"/>
                  </a:lnTo>
                  <a:lnTo>
                    <a:pt x="3466" y="3932"/>
                  </a:lnTo>
                  <a:lnTo>
                    <a:pt x="3450" y="3941"/>
                  </a:lnTo>
                  <a:lnTo>
                    <a:pt x="3447" y="3957"/>
                  </a:lnTo>
                  <a:lnTo>
                    <a:pt x="3447" y="3975"/>
                  </a:lnTo>
                  <a:lnTo>
                    <a:pt x="3450" y="3994"/>
                  </a:lnTo>
                  <a:lnTo>
                    <a:pt x="3450" y="4010"/>
                  </a:lnTo>
                  <a:lnTo>
                    <a:pt x="3444" y="4016"/>
                  </a:lnTo>
                  <a:lnTo>
                    <a:pt x="3435" y="4025"/>
                  </a:lnTo>
                  <a:lnTo>
                    <a:pt x="3425" y="4035"/>
                  </a:lnTo>
                  <a:lnTo>
                    <a:pt x="3416" y="4041"/>
                  </a:lnTo>
                  <a:lnTo>
                    <a:pt x="3407" y="4044"/>
                  </a:lnTo>
                  <a:lnTo>
                    <a:pt x="3397" y="4047"/>
                  </a:lnTo>
                  <a:lnTo>
                    <a:pt x="3388" y="4047"/>
                  </a:lnTo>
                  <a:lnTo>
                    <a:pt x="3375" y="4047"/>
                  </a:lnTo>
                  <a:lnTo>
                    <a:pt x="3366" y="4044"/>
                  </a:lnTo>
                  <a:lnTo>
                    <a:pt x="3350" y="4031"/>
                  </a:lnTo>
                  <a:lnTo>
                    <a:pt x="3332" y="4010"/>
                  </a:lnTo>
                  <a:lnTo>
                    <a:pt x="3313" y="3991"/>
                  </a:lnTo>
                  <a:lnTo>
                    <a:pt x="3297" y="3982"/>
                  </a:lnTo>
                  <a:lnTo>
                    <a:pt x="3288" y="3985"/>
                  </a:lnTo>
                  <a:lnTo>
                    <a:pt x="3282" y="3988"/>
                  </a:lnTo>
                  <a:lnTo>
                    <a:pt x="3272" y="3994"/>
                  </a:lnTo>
                  <a:lnTo>
                    <a:pt x="3266" y="4000"/>
                  </a:lnTo>
                  <a:lnTo>
                    <a:pt x="3260" y="4006"/>
                  </a:lnTo>
                  <a:lnTo>
                    <a:pt x="3257" y="4013"/>
                  </a:lnTo>
                  <a:lnTo>
                    <a:pt x="3263" y="4028"/>
                  </a:lnTo>
                  <a:lnTo>
                    <a:pt x="3275" y="4047"/>
                  </a:lnTo>
                  <a:lnTo>
                    <a:pt x="3291" y="4063"/>
                  </a:lnTo>
                  <a:lnTo>
                    <a:pt x="3297" y="4078"/>
                  </a:lnTo>
                  <a:lnTo>
                    <a:pt x="3297" y="4100"/>
                  </a:lnTo>
                  <a:lnTo>
                    <a:pt x="3291" y="4125"/>
                  </a:lnTo>
                  <a:lnTo>
                    <a:pt x="3282" y="4153"/>
                  </a:lnTo>
                  <a:lnTo>
                    <a:pt x="3272" y="4172"/>
                  </a:lnTo>
                  <a:lnTo>
                    <a:pt x="3266" y="4178"/>
                  </a:lnTo>
                  <a:lnTo>
                    <a:pt x="3260" y="4188"/>
                  </a:lnTo>
                  <a:lnTo>
                    <a:pt x="3250" y="4197"/>
                  </a:lnTo>
                  <a:lnTo>
                    <a:pt x="3244" y="4203"/>
                  </a:lnTo>
                  <a:lnTo>
                    <a:pt x="3235" y="4209"/>
                  </a:lnTo>
                  <a:lnTo>
                    <a:pt x="3229" y="4213"/>
                  </a:lnTo>
                  <a:lnTo>
                    <a:pt x="3204" y="4213"/>
                  </a:lnTo>
                  <a:lnTo>
                    <a:pt x="3172" y="4206"/>
                  </a:lnTo>
                  <a:lnTo>
                    <a:pt x="3144" y="4197"/>
                  </a:lnTo>
                  <a:lnTo>
                    <a:pt x="3129" y="4178"/>
                  </a:lnTo>
                  <a:lnTo>
                    <a:pt x="3129" y="4166"/>
                  </a:lnTo>
                  <a:lnTo>
                    <a:pt x="3135" y="4150"/>
                  </a:lnTo>
                  <a:lnTo>
                    <a:pt x="3147" y="4135"/>
                  </a:lnTo>
                  <a:lnTo>
                    <a:pt x="3157" y="4119"/>
                  </a:lnTo>
                  <a:lnTo>
                    <a:pt x="3160" y="4106"/>
                  </a:lnTo>
                  <a:lnTo>
                    <a:pt x="3154" y="4085"/>
                  </a:lnTo>
                  <a:lnTo>
                    <a:pt x="3141" y="4063"/>
                  </a:lnTo>
                  <a:lnTo>
                    <a:pt x="3129" y="4047"/>
                  </a:lnTo>
                  <a:lnTo>
                    <a:pt x="3110" y="4041"/>
                  </a:lnTo>
                  <a:lnTo>
                    <a:pt x="3088" y="4038"/>
                  </a:lnTo>
                  <a:lnTo>
                    <a:pt x="3069" y="4038"/>
                  </a:lnTo>
                  <a:lnTo>
                    <a:pt x="3063" y="4041"/>
                  </a:lnTo>
                  <a:lnTo>
                    <a:pt x="3057" y="4044"/>
                  </a:lnTo>
                  <a:lnTo>
                    <a:pt x="3051" y="4050"/>
                  </a:lnTo>
                  <a:lnTo>
                    <a:pt x="3044" y="4056"/>
                  </a:lnTo>
                  <a:lnTo>
                    <a:pt x="3032" y="4075"/>
                  </a:lnTo>
                  <a:lnTo>
                    <a:pt x="3023" y="4103"/>
                  </a:lnTo>
                  <a:lnTo>
                    <a:pt x="3013" y="4135"/>
                  </a:lnTo>
                  <a:lnTo>
                    <a:pt x="2998" y="4156"/>
                  </a:lnTo>
                  <a:lnTo>
                    <a:pt x="2982" y="4169"/>
                  </a:lnTo>
                  <a:lnTo>
                    <a:pt x="2966" y="4166"/>
                  </a:lnTo>
                  <a:lnTo>
                    <a:pt x="2944" y="4150"/>
                  </a:lnTo>
                  <a:lnTo>
                    <a:pt x="2926" y="4135"/>
                  </a:lnTo>
                  <a:lnTo>
                    <a:pt x="2910" y="4125"/>
                  </a:lnTo>
                  <a:lnTo>
                    <a:pt x="2894" y="4122"/>
                  </a:lnTo>
                  <a:lnTo>
                    <a:pt x="2873" y="4122"/>
                  </a:lnTo>
                  <a:lnTo>
                    <a:pt x="2857" y="4122"/>
                  </a:lnTo>
                  <a:lnTo>
                    <a:pt x="2829" y="4128"/>
                  </a:lnTo>
                  <a:lnTo>
                    <a:pt x="2795" y="4141"/>
                  </a:lnTo>
                  <a:lnTo>
                    <a:pt x="2763" y="4156"/>
                  </a:lnTo>
                  <a:lnTo>
                    <a:pt x="2745" y="4175"/>
                  </a:lnTo>
                  <a:lnTo>
                    <a:pt x="2738" y="4194"/>
                  </a:lnTo>
                  <a:lnTo>
                    <a:pt x="2735" y="4216"/>
                  </a:lnTo>
                  <a:lnTo>
                    <a:pt x="2738" y="4238"/>
                  </a:lnTo>
                  <a:lnTo>
                    <a:pt x="2745" y="4253"/>
                  </a:lnTo>
                  <a:lnTo>
                    <a:pt x="2757" y="4259"/>
                  </a:lnTo>
                  <a:lnTo>
                    <a:pt x="2776" y="4266"/>
                  </a:lnTo>
                  <a:lnTo>
                    <a:pt x="2798" y="4272"/>
                  </a:lnTo>
                  <a:lnTo>
                    <a:pt x="2810" y="4278"/>
                  </a:lnTo>
                  <a:lnTo>
                    <a:pt x="2816" y="4300"/>
                  </a:lnTo>
                  <a:lnTo>
                    <a:pt x="2820" y="4328"/>
                  </a:lnTo>
                  <a:lnTo>
                    <a:pt x="2816" y="4356"/>
                  </a:lnTo>
                  <a:lnTo>
                    <a:pt x="2810" y="4378"/>
                  </a:lnTo>
                  <a:lnTo>
                    <a:pt x="2798" y="4397"/>
                  </a:lnTo>
                  <a:lnTo>
                    <a:pt x="2779" y="4416"/>
                  </a:lnTo>
                  <a:lnTo>
                    <a:pt x="2763" y="4434"/>
                  </a:lnTo>
                  <a:lnTo>
                    <a:pt x="2760" y="4459"/>
                  </a:lnTo>
                  <a:lnTo>
                    <a:pt x="2760" y="4490"/>
                  </a:lnTo>
                  <a:lnTo>
                    <a:pt x="2763" y="4519"/>
                  </a:lnTo>
                  <a:lnTo>
                    <a:pt x="2776" y="4537"/>
                  </a:lnTo>
                  <a:lnTo>
                    <a:pt x="2791" y="4562"/>
                  </a:lnTo>
                  <a:lnTo>
                    <a:pt x="2801" y="4581"/>
                  </a:lnTo>
                  <a:lnTo>
                    <a:pt x="2807" y="4606"/>
                  </a:lnTo>
                  <a:lnTo>
                    <a:pt x="2807" y="4634"/>
                  </a:lnTo>
                  <a:lnTo>
                    <a:pt x="2801" y="4659"/>
                  </a:lnTo>
                  <a:lnTo>
                    <a:pt x="2798" y="4668"/>
                  </a:lnTo>
                  <a:lnTo>
                    <a:pt x="2788" y="4675"/>
                  </a:lnTo>
                  <a:lnTo>
                    <a:pt x="2779" y="4684"/>
                  </a:lnTo>
                  <a:lnTo>
                    <a:pt x="2766" y="4690"/>
                  </a:lnTo>
                  <a:lnTo>
                    <a:pt x="2757" y="4693"/>
                  </a:lnTo>
                  <a:lnTo>
                    <a:pt x="2741" y="4693"/>
                  </a:lnTo>
                  <a:lnTo>
                    <a:pt x="2720" y="4687"/>
                  </a:lnTo>
                  <a:lnTo>
                    <a:pt x="2698" y="4681"/>
                  </a:lnTo>
                  <a:lnTo>
                    <a:pt x="2679" y="4678"/>
                  </a:lnTo>
                  <a:lnTo>
                    <a:pt x="2663" y="4681"/>
                  </a:lnTo>
                  <a:lnTo>
                    <a:pt x="2654" y="4697"/>
                  </a:lnTo>
                  <a:lnTo>
                    <a:pt x="2648" y="4718"/>
                  </a:lnTo>
                  <a:lnTo>
                    <a:pt x="2645" y="4743"/>
                  </a:lnTo>
                  <a:lnTo>
                    <a:pt x="2645" y="4772"/>
                  </a:lnTo>
                  <a:lnTo>
                    <a:pt x="2645" y="4790"/>
                  </a:lnTo>
                  <a:lnTo>
                    <a:pt x="2651" y="4818"/>
                  </a:lnTo>
                  <a:lnTo>
                    <a:pt x="2663" y="4853"/>
                  </a:lnTo>
                  <a:lnTo>
                    <a:pt x="2679" y="4884"/>
                  </a:lnTo>
                  <a:lnTo>
                    <a:pt x="2698" y="4909"/>
                  </a:lnTo>
                  <a:lnTo>
                    <a:pt x="2723" y="4921"/>
                  </a:lnTo>
                  <a:lnTo>
                    <a:pt x="2754" y="4934"/>
                  </a:lnTo>
                  <a:lnTo>
                    <a:pt x="2782" y="4940"/>
                  </a:lnTo>
                  <a:lnTo>
                    <a:pt x="2804" y="4940"/>
                  </a:lnTo>
                  <a:lnTo>
                    <a:pt x="2826" y="4937"/>
                  </a:lnTo>
                  <a:lnTo>
                    <a:pt x="2854" y="4937"/>
                  </a:lnTo>
                  <a:lnTo>
                    <a:pt x="2876" y="4934"/>
                  </a:lnTo>
                  <a:lnTo>
                    <a:pt x="2894" y="4940"/>
                  </a:lnTo>
                  <a:lnTo>
                    <a:pt x="2904" y="4956"/>
                  </a:lnTo>
                  <a:lnTo>
                    <a:pt x="2913" y="4974"/>
                  </a:lnTo>
                  <a:lnTo>
                    <a:pt x="2919" y="4996"/>
                  </a:lnTo>
                  <a:lnTo>
                    <a:pt x="2929" y="5012"/>
                  </a:lnTo>
                  <a:lnTo>
                    <a:pt x="2951" y="5031"/>
                  </a:lnTo>
                  <a:lnTo>
                    <a:pt x="2979" y="5043"/>
                  </a:lnTo>
                  <a:lnTo>
                    <a:pt x="3010" y="5059"/>
                  </a:lnTo>
                  <a:lnTo>
                    <a:pt x="3026" y="5078"/>
                  </a:lnTo>
                  <a:lnTo>
                    <a:pt x="3026" y="5096"/>
                  </a:lnTo>
                  <a:lnTo>
                    <a:pt x="3019" y="5118"/>
                  </a:lnTo>
                  <a:lnTo>
                    <a:pt x="3013" y="5140"/>
                  </a:lnTo>
                  <a:lnTo>
                    <a:pt x="3013" y="5159"/>
                  </a:lnTo>
                  <a:lnTo>
                    <a:pt x="3029" y="5177"/>
                  </a:lnTo>
                  <a:lnTo>
                    <a:pt x="3054" y="5193"/>
                  </a:lnTo>
                  <a:lnTo>
                    <a:pt x="3072" y="5209"/>
                  </a:lnTo>
                  <a:lnTo>
                    <a:pt x="3085" y="5237"/>
                  </a:lnTo>
                  <a:lnTo>
                    <a:pt x="3097" y="5268"/>
                  </a:lnTo>
                  <a:lnTo>
                    <a:pt x="3107" y="5305"/>
                  </a:lnTo>
                  <a:lnTo>
                    <a:pt x="3113" y="5334"/>
                  </a:lnTo>
                  <a:lnTo>
                    <a:pt x="3107" y="5352"/>
                  </a:lnTo>
                  <a:lnTo>
                    <a:pt x="3097" y="5377"/>
                  </a:lnTo>
                  <a:lnTo>
                    <a:pt x="3091" y="5399"/>
                  </a:lnTo>
                  <a:lnTo>
                    <a:pt x="3088" y="5421"/>
                  </a:lnTo>
                  <a:lnTo>
                    <a:pt x="3101" y="5434"/>
                  </a:lnTo>
                  <a:lnTo>
                    <a:pt x="3122" y="5449"/>
                  </a:lnTo>
                  <a:lnTo>
                    <a:pt x="3141" y="5462"/>
                  </a:lnTo>
                  <a:lnTo>
                    <a:pt x="3154" y="5477"/>
                  </a:lnTo>
                  <a:lnTo>
                    <a:pt x="3160" y="5499"/>
                  </a:lnTo>
                  <a:lnTo>
                    <a:pt x="3160" y="5524"/>
                  </a:lnTo>
                  <a:lnTo>
                    <a:pt x="3157" y="5552"/>
                  </a:lnTo>
                  <a:lnTo>
                    <a:pt x="3147" y="5568"/>
                  </a:lnTo>
                  <a:lnTo>
                    <a:pt x="3135" y="5574"/>
                  </a:lnTo>
                  <a:lnTo>
                    <a:pt x="3113" y="5571"/>
                  </a:lnTo>
                  <a:lnTo>
                    <a:pt x="3091" y="5568"/>
                  </a:lnTo>
                  <a:lnTo>
                    <a:pt x="3069" y="5565"/>
                  </a:lnTo>
                  <a:lnTo>
                    <a:pt x="3054" y="5568"/>
                  </a:lnTo>
                  <a:lnTo>
                    <a:pt x="3044" y="5583"/>
                  </a:lnTo>
                  <a:lnTo>
                    <a:pt x="3041" y="5605"/>
                  </a:lnTo>
                  <a:lnTo>
                    <a:pt x="3038" y="5624"/>
                  </a:lnTo>
                  <a:lnTo>
                    <a:pt x="3035" y="5646"/>
                  </a:lnTo>
                  <a:lnTo>
                    <a:pt x="3032" y="5671"/>
                  </a:lnTo>
                  <a:lnTo>
                    <a:pt x="3029" y="5693"/>
                  </a:lnTo>
                  <a:lnTo>
                    <a:pt x="3029" y="5715"/>
                  </a:lnTo>
                  <a:lnTo>
                    <a:pt x="3032" y="5743"/>
                  </a:lnTo>
                  <a:lnTo>
                    <a:pt x="3029" y="5761"/>
                  </a:lnTo>
                  <a:lnTo>
                    <a:pt x="3026" y="5768"/>
                  </a:lnTo>
                  <a:lnTo>
                    <a:pt x="3023" y="5774"/>
                  </a:lnTo>
                  <a:lnTo>
                    <a:pt x="3016" y="5780"/>
                  </a:lnTo>
                  <a:lnTo>
                    <a:pt x="3013" y="5786"/>
                  </a:lnTo>
                  <a:lnTo>
                    <a:pt x="3010" y="5808"/>
                  </a:lnTo>
                  <a:lnTo>
                    <a:pt x="3007" y="5833"/>
                  </a:lnTo>
                  <a:lnTo>
                    <a:pt x="3004" y="5858"/>
                  </a:lnTo>
                  <a:lnTo>
                    <a:pt x="2994" y="5880"/>
                  </a:lnTo>
                  <a:lnTo>
                    <a:pt x="2988" y="5886"/>
                  </a:lnTo>
                  <a:lnTo>
                    <a:pt x="2976" y="5893"/>
                  </a:lnTo>
                  <a:lnTo>
                    <a:pt x="2966" y="5902"/>
                  </a:lnTo>
                  <a:lnTo>
                    <a:pt x="2954" y="5908"/>
                  </a:lnTo>
                  <a:lnTo>
                    <a:pt x="2944" y="5914"/>
                  </a:lnTo>
                  <a:lnTo>
                    <a:pt x="2932" y="5936"/>
                  </a:lnTo>
                  <a:lnTo>
                    <a:pt x="2919" y="5961"/>
                  </a:lnTo>
                  <a:lnTo>
                    <a:pt x="2910" y="5986"/>
                  </a:lnTo>
                  <a:lnTo>
                    <a:pt x="2901" y="6008"/>
                  </a:lnTo>
                  <a:lnTo>
                    <a:pt x="2891" y="6033"/>
                  </a:lnTo>
                  <a:lnTo>
                    <a:pt x="2876" y="6049"/>
                  </a:lnTo>
                  <a:lnTo>
                    <a:pt x="2863" y="6052"/>
                  </a:lnTo>
                  <a:lnTo>
                    <a:pt x="2845" y="6052"/>
                  </a:lnTo>
                  <a:lnTo>
                    <a:pt x="2826" y="6049"/>
                  </a:lnTo>
                  <a:lnTo>
                    <a:pt x="2810" y="6049"/>
                  </a:lnTo>
                  <a:lnTo>
                    <a:pt x="2791" y="6064"/>
                  </a:lnTo>
                  <a:lnTo>
                    <a:pt x="2766" y="6083"/>
                  </a:lnTo>
                  <a:lnTo>
                    <a:pt x="2748" y="6108"/>
                  </a:lnTo>
                  <a:lnTo>
                    <a:pt x="2735" y="6130"/>
                  </a:lnTo>
                  <a:lnTo>
                    <a:pt x="2738" y="6145"/>
                  </a:lnTo>
                  <a:lnTo>
                    <a:pt x="2745" y="6170"/>
                  </a:lnTo>
                  <a:lnTo>
                    <a:pt x="2751" y="6192"/>
                  </a:lnTo>
                  <a:lnTo>
                    <a:pt x="2757" y="6214"/>
                  </a:lnTo>
                  <a:lnTo>
                    <a:pt x="2751" y="6230"/>
                  </a:lnTo>
                  <a:lnTo>
                    <a:pt x="2738" y="6239"/>
                  </a:lnTo>
                  <a:lnTo>
                    <a:pt x="2713" y="6239"/>
                  </a:lnTo>
                  <a:lnTo>
                    <a:pt x="2692" y="6239"/>
                  </a:lnTo>
                  <a:lnTo>
                    <a:pt x="2673" y="6242"/>
                  </a:lnTo>
                  <a:lnTo>
                    <a:pt x="2648" y="6255"/>
                  </a:lnTo>
                  <a:lnTo>
                    <a:pt x="2623" y="6273"/>
                  </a:lnTo>
                  <a:lnTo>
                    <a:pt x="2607" y="6292"/>
                  </a:lnTo>
                  <a:lnTo>
                    <a:pt x="2601" y="6311"/>
                  </a:lnTo>
                  <a:lnTo>
                    <a:pt x="2598" y="6333"/>
                  </a:lnTo>
                  <a:lnTo>
                    <a:pt x="2598" y="6358"/>
                  </a:lnTo>
                  <a:lnTo>
                    <a:pt x="2592" y="6377"/>
                  </a:lnTo>
                  <a:lnTo>
                    <a:pt x="2579" y="6386"/>
                  </a:lnTo>
                  <a:lnTo>
                    <a:pt x="2563" y="6392"/>
                  </a:lnTo>
                  <a:lnTo>
                    <a:pt x="2545" y="6402"/>
                  </a:lnTo>
                  <a:lnTo>
                    <a:pt x="2535" y="6411"/>
                  </a:lnTo>
                  <a:lnTo>
                    <a:pt x="2535" y="6430"/>
                  </a:lnTo>
                  <a:lnTo>
                    <a:pt x="2542" y="6451"/>
                  </a:lnTo>
                  <a:lnTo>
                    <a:pt x="2548" y="6473"/>
                  </a:lnTo>
                  <a:lnTo>
                    <a:pt x="2551" y="6492"/>
                  </a:lnTo>
                  <a:lnTo>
                    <a:pt x="2548" y="6498"/>
                  </a:lnTo>
                  <a:lnTo>
                    <a:pt x="2542" y="6505"/>
                  </a:lnTo>
                  <a:lnTo>
                    <a:pt x="2535" y="6511"/>
                  </a:lnTo>
                  <a:lnTo>
                    <a:pt x="2529" y="6517"/>
                  </a:lnTo>
                  <a:lnTo>
                    <a:pt x="2526" y="6520"/>
                  </a:lnTo>
                  <a:lnTo>
                    <a:pt x="2517" y="6551"/>
                  </a:lnTo>
                  <a:lnTo>
                    <a:pt x="2510" y="6592"/>
                  </a:lnTo>
                  <a:lnTo>
                    <a:pt x="2507" y="6623"/>
                  </a:lnTo>
                  <a:lnTo>
                    <a:pt x="2517" y="6651"/>
                  </a:lnTo>
                  <a:lnTo>
                    <a:pt x="2526" y="6683"/>
                  </a:lnTo>
                  <a:lnTo>
                    <a:pt x="2517" y="6683"/>
                  </a:lnTo>
                  <a:lnTo>
                    <a:pt x="2504" y="6683"/>
                  </a:lnTo>
                  <a:lnTo>
                    <a:pt x="2495" y="6686"/>
                  </a:lnTo>
                  <a:lnTo>
                    <a:pt x="2476" y="6695"/>
                  </a:lnTo>
                  <a:lnTo>
                    <a:pt x="2454" y="6714"/>
                  </a:lnTo>
                  <a:lnTo>
                    <a:pt x="2435" y="6733"/>
                  </a:lnTo>
                  <a:lnTo>
                    <a:pt x="2429" y="6748"/>
                  </a:lnTo>
                  <a:lnTo>
                    <a:pt x="2420" y="6767"/>
                  </a:lnTo>
                  <a:lnTo>
                    <a:pt x="2410" y="6786"/>
                  </a:lnTo>
                  <a:lnTo>
                    <a:pt x="2401" y="6795"/>
                  </a:lnTo>
                  <a:lnTo>
                    <a:pt x="2385" y="6792"/>
                  </a:lnTo>
                  <a:lnTo>
                    <a:pt x="2367" y="6782"/>
                  </a:lnTo>
                  <a:lnTo>
                    <a:pt x="2348" y="6770"/>
                  </a:lnTo>
                  <a:lnTo>
                    <a:pt x="2332" y="6767"/>
                  </a:lnTo>
                  <a:lnTo>
                    <a:pt x="2326" y="6770"/>
                  </a:lnTo>
                  <a:lnTo>
                    <a:pt x="2320" y="6776"/>
                  </a:lnTo>
                  <a:lnTo>
                    <a:pt x="2314" y="6782"/>
                  </a:lnTo>
                  <a:lnTo>
                    <a:pt x="2307" y="6789"/>
                  </a:lnTo>
                  <a:lnTo>
                    <a:pt x="2301" y="6795"/>
                  </a:lnTo>
                  <a:lnTo>
                    <a:pt x="2295" y="6801"/>
                  </a:lnTo>
                  <a:lnTo>
                    <a:pt x="2289" y="6801"/>
                  </a:lnTo>
                  <a:lnTo>
                    <a:pt x="2276" y="6795"/>
                  </a:lnTo>
                  <a:lnTo>
                    <a:pt x="2267" y="6779"/>
                  </a:lnTo>
                  <a:lnTo>
                    <a:pt x="2257" y="6761"/>
                  </a:lnTo>
                  <a:lnTo>
                    <a:pt x="2251" y="6742"/>
                  </a:lnTo>
                  <a:lnTo>
                    <a:pt x="2239" y="6729"/>
                  </a:lnTo>
                  <a:lnTo>
                    <a:pt x="2223" y="6726"/>
                  </a:lnTo>
                  <a:lnTo>
                    <a:pt x="2201" y="6726"/>
                  </a:lnTo>
                  <a:lnTo>
                    <a:pt x="2183" y="6729"/>
                  </a:lnTo>
                  <a:lnTo>
                    <a:pt x="2179" y="6736"/>
                  </a:lnTo>
                  <a:lnTo>
                    <a:pt x="2179" y="6742"/>
                  </a:lnTo>
                  <a:lnTo>
                    <a:pt x="2176" y="6748"/>
                  </a:lnTo>
                  <a:lnTo>
                    <a:pt x="2176" y="6754"/>
                  </a:lnTo>
                  <a:lnTo>
                    <a:pt x="2173" y="6757"/>
                  </a:lnTo>
                  <a:lnTo>
                    <a:pt x="2158" y="6773"/>
                  </a:lnTo>
                  <a:lnTo>
                    <a:pt x="2139" y="6792"/>
                  </a:lnTo>
                  <a:lnTo>
                    <a:pt x="2117" y="6804"/>
                  </a:lnTo>
                  <a:lnTo>
                    <a:pt x="2095" y="6807"/>
                  </a:lnTo>
                  <a:lnTo>
                    <a:pt x="2089" y="6804"/>
                  </a:lnTo>
                  <a:lnTo>
                    <a:pt x="2079" y="6798"/>
                  </a:lnTo>
                  <a:lnTo>
                    <a:pt x="2073" y="6792"/>
                  </a:lnTo>
                  <a:lnTo>
                    <a:pt x="2067" y="6782"/>
                  </a:lnTo>
                  <a:lnTo>
                    <a:pt x="2058" y="6773"/>
                  </a:lnTo>
                  <a:lnTo>
                    <a:pt x="2054" y="6767"/>
                  </a:lnTo>
                  <a:lnTo>
                    <a:pt x="2033" y="6742"/>
                  </a:lnTo>
                  <a:lnTo>
                    <a:pt x="2011" y="6711"/>
                  </a:lnTo>
                  <a:lnTo>
                    <a:pt x="1986" y="6679"/>
                  </a:lnTo>
                  <a:lnTo>
                    <a:pt x="1970" y="6651"/>
                  </a:lnTo>
                  <a:lnTo>
                    <a:pt x="1958" y="6629"/>
                  </a:lnTo>
                  <a:lnTo>
                    <a:pt x="1945" y="6601"/>
                  </a:lnTo>
                  <a:lnTo>
                    <a:pt x="1933" y="6576"/>
                  </a:lnTo>
                  <a:lnTo>
                    <a:pt x="1917" y="6561"/>
                  </a:lnTo>
                  <a:lnTo>
                    <a:pt x="1905" y="6555"/>
                  </a:lnTo>
                  <a:lnTo>
                    <a:pt x="1883" y="6558"/>
                  </a:lnTo>
                  <a:lnTo>
                    <a:pt x="1864" y="6558"/>
                  </a:lnTo>
                  <a:lnTo>
                    <a:pt x="1848" y="6558"/>
                  </a:lnTo>
                  <a:lnTo>
                    <a:pt x="1827" y="6548"/>
                  </a:lnTo>
                  <a:lnTo>
                    <a:pt x="1802" y="6539"/>
                  </a:lnTo>
                  <a:lnTo>
                    <a:pt x="1780" y="6523"/>
                  </a:lnTo>
                  <a:lnTo>
                    <a:pt x="1767" y="6505"/>
                  </a:lnTo>
                  <a:lnTo>
                    <a:pt x="1773" y="6489"/>
                  </a:lnTo>
                  <a:lnTo>
                    <a:pt x="1789" y="6470"/>
                  </a:lnTo>
                  <a:lnTo>
                    <a:pt x="1805" y="6455"/>
                  </a:lnTo>
                  <a:lnTo>
                    <a:pt x="1814" y="6436"/>
                  </a:lnTo>
                  <a:lnTo>
                    <a:pt x="1811" y="6420"/>
                  </a:lnTo>
                  <a:lnTo>
                    <a:pt x="1802" y="6398"/>
                  </a:lnTo>
                  <a:lnTo>
                    <a:pt x="1792" y="6380"/>
                  </a:lnTo>
                  <a:lnTo>
                    <a:pt x="1780" y="6364"/>
                  </a:lnTo>
                  <a:lnTo>
                    <a:pt x="1761" y="6355"/>
                  </a:lnTo>
                  <a:lnTo>
                    <a:pt x="1739" y="6348"/>
                  </a:lnTo>
                  <a:lnTo>
                    <a:pt x="1717" y="6345"/>
                  </a:lnTo>
                  <a:lnTo>
                    <a:pt x="1699" y="6352"/>
                  </a:lnTo>
                  <a:lnTo>
                    <a:pt x="1677" y="6361"/>
                  </a:lnTo>
                  <a:lnTo>
                    <a:pt x="1661" y="6370"/>
                  </a:lnTo>
                  <a:lnTo>
                    <a:pt x="1636" y="6380"/>
                  </a:lnTo>
                  <a:lnTo>
                    <a:pt x="1608" y="6392"/>
                  </a:lnTo>
                  <a:lnTo>
                    <a:pt x="1580" y="6402"/>
                  </a:lnTo>
                  <a:lnTo>
                    <a:pt x="1558" y="6405"/>
                  </a:lnTo>
                  <a:lnTo>
                    <a:pt x="1533" y="6395"/>
                  </a:lnTo>
                  <a:lnTo>
                    <a:pt x="1508" y="6383"/>
                  </a:lnTo>
                  <a:lnTo>
                    <a:pt x="1486" y="6370"/>
                  </a:lnTo>
                  <a:lnTo>
                    <a:pt x="1458" y="6358"/>
                  </a:lnTo>
                  <a:lnTo>
                    <a:pt x="1427" y="6342"/>
                  </a:lnTo>
                  <a:lnTo>
                    <a:pt x="1399" y="6330"/>
                  </a:lnTo>
                  <a:lnTo>
                    <a:pt x="1377" y="6327"/>
                  </a:lnTo>
                  <a:lnTo>
                    <a:pt x="1352" y="6323"/>
                  </a:lnTo>
                  <a:lnTo>
                    <a:pt x="1327" y="6317"/>
                  </a:lnTo>
                  <a:lnTo>
                    <a:pt x="1308" y="6311"/>
                  </a:lnTo>
                  <a:lnTo>
                    <a:pt x="1299" y="6305"/>
                  </a:lnTo>
                  <a:lnTo>
                    <a:pt x="1293" y="6295"/>
                  </a:lnTo>
                  <a:lnTo>
                    <a:pt x="1286" y="6286"/>
                  </a:lnTo>
                  <a:lnTo>
                    <a:pt x="1280" y="6280"/>
                  </a:lnTo>
                  <a:lnTo>
                    <a:pt x="1271" y="6273"/>
                  </a:lnTo>
                  <a:lnTo>
                    <a:pt x="1252" y="6270"/>
                  </a:lnTo>
                  <a:lnTo>
                    <a:pt x="1230" y="6273"/>
                  </a:lnTo>
                  <a:lnTo>
                    <a:pt x="1211" y="6273"/>
                  </a:lnTo>
                  <a:lnTo>
                    <a:pt x="1186" y="6267"/>
                  </a:lnTo>
                  <a:lnTo>
                    <a:pt x="1158" y="6255"/>
                  </a:lnTo>
                  <a:lnTo>
                    <a:pt x="1136" y="6239"/>
                  </a:lnTo>
                  <a:lnTo>
                    <a:pt x="1124" y="6220"/>
                  </a:lnTo>
                  <a:lnTo>
                    <a:pt x="1118" y="6195"/>
                  </a:lnTo>
                  <a:lnTo>
                    <a:pt x="1108" y="6174"/>
                  </a:lnTo>
                  <a:lnTo>
                    <a:pt x="1096" y="6155"/>
                  </a:lnTo>
                  <a:lnTo>
                    <a:pt x="1077" y="6149"/>
                  </a:lnTo>
                  <a:lnTo>
                    <a:pt x="1055" y="6149"/>
                  </a:lnTo>
                  <a:lnTo>
                    <a:pt x="1033" y="6149"/>
                  </a:lnTo>
                  <a:lnTo>
                    <a:pt x="1015" y="6149"/>
                  </a:lnTo>
                  <a:lnTo>
                    <a:pt x="990" y="6149"/>
                  </a:lnTo>
                  <a:lnTo>
                    <a:pt x="958" y="6149"/>
                  </a:lnTo>
                  <a:lnTo>
                    <a:pt x="930" y="6142"/>
                  </a:lnTo>
                  <a:lnTo>
                    <a:pt x="912" y="6130"/>
                  </a:lnTo>
                  <a:lnTo>
                    <a:pt x="890" y="6111"/>
                  </a:lnTo>
                  <a:lnTo>
                    <a:pt x="877" y="6095"/>
                  </a:lnTo>
                  <a:lnTo>
                    <a:pt x="874" y="6071"/>
                  </a:lnTo>
                  <a:lnTo>
                    <a:pt x="874" y="6042"/>
                  </a:lnTo>
                  <a:lnTo>
                    <a:pt x="877" y="6017"/>
                  </a:lnTo>
                  <a:lnTo>
                    <a:pt x="880" y="6011"/>
                  </a:lnTo>
                  <a:lnTo>
                    <a:pt x="887" y="6002"/>
                  </a:lnTo>
                  <a:lnTo>
                    <a:pt x="890" y="5996"/>
                  </a:lnTo>
                  <a:lnTo>
                    <a:pt x="893" y="5986"/>
                  </a:lnTo>
                  <a:lnTo>
                    <a:pt x="896" y="5980"/>
                  </a:lnTo>
                  <a:lnTo>
                    <a:pt x="890" y="5964"/>
                  </a:lnTo>
                  <a:lnTo>
                    <a:pt x="880" y="5942"/>
                  </a:lnTo>
                  <a:lnTo>
                    <a:pt x="868" y="5927"/>
                  </a:lnTo>
                  <a:lnTo>
                    <a:pt x="855" y="5918"/>
                  </a:lnTo>
                  <a:lnTo>
                    <a:pt x="837" y="5918"/>
                  </a:lnTo>
                  <a:lnTo>
                    <a:pt x="812" y="5924"/>
                  </a:lnTo>
                  <a:lnTo>
                    <a:pt x="790" y="5933"/>
                  </a:lnTo>
                  <a:lnTo>
                    <a:pt x="774" y="5942"/>
                  </a:lnTo>
                  <a:lnTo>
                    <a:pt x="765" y="5961"/>
                  </a:lnTo>
                  <a:lnTo>
                    <a:pt x="762" y="5986"/>
                  </a:lnTo>
                  <a:lnTo>
                    <a:pt x="759" y="6011"/>
                  </a:lnTo>
                  <a:lnTo>
                    <a:pt x="755" y="6033"/>
                  </a:lnTo>
                  <a:lnTo>
                    <a:pt x="755" y="6055"/>
                  </a:lnTo>
                  <a:lnTo>
                    <a:pt x="759" y="6077"/>
                  </a:lnTo>
                  <a:lnTo>
                    <a:pt x="755" y="6095"/>
                  </a:lnTo>
                  <a:lnTo>
                    <a:pt x="743" y="6114"/>
                  </a:lnTo>
                  <a:lnTo>
                    <a:pt x="724" y="6130"/>
                  </a:lnTo>
                  <a:lnTo>
                    <a:pt x="705" y="6139"/>
                  </a:lnTo>
                  <a:lnTo>
                    <a:pt x="687" y="6142"/>
                  </a:lnTo>
                  <a:lnTo>
                    <a:pt x="665" y="6142"/>
                  </a:lnTo>
                  <a:lnTo>
                    <a:pt x="649" y="6139"/>
                  </a:lnTo>
                  <a:lnTo>
                    <a:pt x="627" y="6130"/>
                  </a:lnTo>
                  <a:lnTo>
                    <a:pt x="602" y="6114"/>
                  </a:lnTo>
                  <a:lnTo>
                    <a:pt x="587" y="6099"/>
                  </a:lnTo>
                  <a:lnTo>
                    <a:pt x="574" y="6083"/>
                  </a:lnTo>
                  <a:lnTo>
                    <a:pt x="565" y="6061"/>
                  </a:lnTo>
                  <a:lnTo>
                    <a:pt x="559" y="6039"/>
                  </a:lnTo>
                  <a:lnTo>
                    <a:pt x="559" y="6021"/>
                  </a:lnTo>
                  <a:lnTo>
                    <a:pt x="562" y="5996"/>
                  </a:lnTo>
                  <a:lnTo>
                    <a:pt x="571" y="5971"/>
                  </a:lnTo>
                  <a:lnTo>
                    <a:pt x="581" y="5955"/>
                  </a:lnTo>
                  <a:lnTo>
                    <a:pt x="596" y="5946"/>
                  </a:lnTo>
                  <a:lnTo>
                    <a:pt x="615" y="5942"/>
                  </a:lnTo>
                  <a:lnTo>
                    <a:pt x="634" y="5939"/>
                  </a:lnTo>
                  <a:lnTo>
                    <a:pt x="649" y="5930"/>
                  </a:lnTo>
                  <a:lnTo>
                    <a:pt x="652" y="5914"/>
                  </a:lnTo>
                  <a:lnTo>
                    <a:pt x="652" y="5889"/>
                  </a:lnTo>
                  <a:lnTo>
                    <a:pt x="649" y="5864"/>
                  </a:lnTo>
                  <a:lnTo>
                    <a:pt x="646" y="5843"/>
                  </a:lnTo>
                  <a:lnTo>
                    <a:pt x="649" y="5824"/>
                  </a:lnTo>
                  <a:lnTo>
                    <a:pt x="652" y="5814"/>
                  </a:lnTo>
                  <a:lnTo>
                    <a:pt x="659" y="5808"/>
                  </a:lnTo>
                  <a:lnTo>
                    <a:pt x="668" y="5799"/>
                  </a:lnTo>
                  <a:lnTo>
                    <a:pt x="674" y="5793"/>
                  </a:lnTo>
                  <a:lnTo>
                    <a:pt x="681" y="5786"/>
                  </a:lnTo>
                  <a:lnTo>
                    <a:pt x="693" y="5761"/>
                  </a:lnTo>
                  <a:lnTo>
                    <a:pt x="702" y="5730"/>
                  </a:lnTo>
                  <a:lnTo>
                    <a:pt x="712" y="5699"/>
                  </a:lnTo>
                  <a:lnTo>
                    <a:pt x="718" y="5668"/>
                  </a:lnTo>
                  <a:lnTo>
                    <a:pt x="715" y="5643"/>
                  </a:lnTo>
                  <a:lnTo>
                    <a:pt x="712" y="5636"/>
                  </a:lnTo>
                  <a:lnTo>
                    <a:pt x="705" y="5630"/>
                  </a:lnTo>
                  <a:lnTo>
                    <a:pt x="699" y="5624"/>
                  </a:lnTo>
                  <a:lnTo>
                    <a:pt x="693" y="5621"/>
                  </a:lnTo>
                  <a:lnTo>
                    <a:pt x="687" y="5618"/>
                  </a:lnTo>
                  <a:lnTo>
                    <a:pt x="662" y="5605"/>
                  </a:lnTo>
                  <a:lnTo>
                    <a:pt x="634" y="5596"/>
                  </a:lnTo>
                  <a:lnTo>
                    <a:pt x="606" y="5590"/>
                  </a:lnTo>
                  <a:lnTo>
                    <a:pt x="587" y="5587"/>
                  </a:lnTo>
                  <a:lnTo>
                    <a:pt x="562" y="5587"/>
                  </a:lnTo>
                  <a:lnTo>
                    <a:pt x="540" y="5587"/>
                  </a:lnTo>
                  <a:lnTo>
                    <a:pt x="521" y="5577"/>
                  </a:lnTo>
                  <a:lnTo>
                    <a:pt x="496" y="5562"/>
                  </a:lnTo>
                  <a:lnTo>
                    <a:pt x="474" y="5549"/>
                  </a:lnTo>
                  <a:lnTo>
                    <a:pt x="453" y="5540"/>
                  </a:lnTo>
                  <a:lnTo>
                    <a:pt x="446" y="5540"/>
                  </a:lnTo>
                  <a:lnTo>
                    <a:pt x="437" y="5537"/>
                  </a:lnTo>
                  <a:lnTo>
                    <a:pt x="428" y="5540"/>
                  </a:lnTo>
                  <a:lnTo>
                    <a:pt x="418" y="5540"/>
                  </a:lnTo>
                  <a:lnTo>
                    <a:pt x="409" y="5543"/>
                  </a:lnTo>
                  <a:lnTo>
                    <a:pt x="403" y="5555"/>
                  </a:lnTo>
                  <a:lnTo>
                    <a:pt x="396" y="5574"/>
                  </a:lnTo>
                  <a:lnTo>
                    <a:pt x="390" y="5593"/>
                  </a:lnTo>
                  <a:lnTo>
                    <a:pt x="381" y="5602"/>
                  </a:lnTo>
                  <a:lnTo>
                    <a:pt x="362" y="5608"/>
                  </a:lnTo>
                  <a:lnTo>
                    <a:pt x="337" y="5608"/>
                  </a:lnTo>
                  <a:lnTo>
                    <a:pt x="315" y="5605"/>
                  </a:lnTo>
                  <a:lnTo>
                    <a:pt x="293" y="5596"/>
                  </a:lnTo>
                  <a:lnTo>
                    <a:pt x="268" y="5583"/>
                  </a:lnTo>
                  <a:lnTo>
                    <a:pt x="253" y="5565"/>
                  </a:lnTo>
                  <a:lnTo>
                    <a:pt x="250" y="5552"/>
                  </a:lnTo>
                  <a:lnTo>
                    <a:pt x="253" y="5533"/>
                  </a:lnTo>
                  <a:lnTo>
                    <a:pt x="259" y="5512"/>
                  </a:lnTo>
                  <a:lnTo>
                    <a:pt x="262" y="5496"/>
                  </a:lnTo>
                  <a:lnTo>
                    <a:pt x="259" y="5480"/>
                  </a:lnTo>
                  <a:lnTo>
                    <a:pt x="243" y="5468"/>
                  </a:lnTo>
                  <a:lnTo>
                    <a:pt x="221" y="5462"/>
                  </a:lnTo>
                  <a:lnTo>
                    <a:pt x="196" y="5455"/>
                  </a:lnTo>
                  <a:lnTo>
                    <a:pt x="178" y="5455"/>
                  </a:lnTo>
                  <a:lnTo>
                    <a:pt x="156" y="5465"/>
                  </a:lnTo>
                  <a:lnTo>
                    <a:pt x="134" y="5483"/>
                  </a:lnTo>
                  <a:lnTo>
                    <a:pt x="112" y="5505"/>
                  </a:lnTo>
                  <a:lnTo>
                    <a:pt x="87" y="5521"/>
                  </a:lnTo>
                  <a:lnTo>
                    <a:pt x="68" y="5524"/>
                  </a:lnTo>
                  <a:lnTo>
                    <a:pt x="53" y="5515"/>
                  </a:lnTo>
                  <a:lnTo>
                    <a:pt x="40" y="5493"/>
                  </a:lnTo>
                  <a:lnTo>
                    <a:pt x="31" y="5471"/>
                  </a:lnTo>
                  <a:lnTo>
                    <a:pt x="28" y="5449"/>
                  </a:lnTo>
                  <a:lnTo>
                    <a:pt x="28" y="5443"/>
                  </a:lnTo>
                  <a:lnTo>
                    <a:pt x="34" y="5437"/>
                  </a:lnTo>
                  <a:lnTo>
                    <a:pt x="40" y="5430"/>
                  </a:lnTo>
                  <a:lnTo>
                    <a:pt x="47" y="5424"/>
                  </a:lnTo>
                  <a:lnTo>
                    <a:pt x="53" y="5415"/>
                  </a:lnTo>
                  <a:lnTo>
                    <a:pt x="56" y="5409"/>
                  </a:lnTo>
                  <a:lnTo>
                    <a:pt x="50" y="5393"/>
                  </a:lnTo>
                  <a:lnTo>
                    <a:pt x="34" y="5374"/>
                  </a:lnTo>
                  <a:lnTo>
                    <a:pt x="15" y="5355"/>
                  </a:lnTo>
                  <a:lnTo>
                    <a:pt x="3" y="5337"/>
                  </a:lnTo>
                  <a:lnTo>
                    <a:pt x="0" y="5321"/>
                  </a:lnTo>
                  <a:lnTo>
                    <a:pt x="12" y="5312"/>
                  </a:lnTo>
                  <a:lnTo>
                    <a:pt x="31" y="5305"/>
                  </a:lnTo>
                  <a:lnTo>
                    <a:pt x="53" y="5302"/>
                  </a:lnTo>
                  <a:lnTo>
                    <a:pt x="75" y="5302"/>
                  </a:lnTo>
                  <a:lnTo>
                    <a:pt x="93" y="5302"/>
                  </a:lnTo>
                  <a:lnTo>
                    <a:pt x="128" y="5302"/>
                  </a:lnTo>
                  <a:lnTo>
                    <a:pt x="168" y="5302"/>
                  </a:lnTo>
                  <a:lnTo>
                    <a:pt x="209" y="5299"/>
                  </a:lnTo>
                  <a:lnTo>
                    <a:pt x="240" y="5293"/>
                  </a:lnTo>
                  <a:lnTo>
                    <a:pt x="268" y="5281"/>
                  </a:lnTo>
                  <a:lnTo>
                    <a:pt x="303" y="5256"/>
                  </a:lnTo>
                  <a:lnTo>
                    <a:pt x="331" y="5231"/>
                  </a:lnTo>
                  <a:lnTo>
                    <a:pt x="353" y="5209"/>
                  </a:lnTo>
                  <a:lnTo>
                    <a:pt x="378" y="5177"/>
                  </a:lnTo>
                  <a:lnTo>
                    <a:pt x="406" y="5137"/>
                  </a:lnTo>
                  <a:lnTo>
                    <a:pt x="431" y="5093"/>
                  </a:lnTo>
                  <a:lnTo>
                    <a:pt x="456" y="5049"/>
                  </a:lnTo>
                  <a:lnTo>
                    <a:pt x="478" y="5015"/>
                  </a:lnTo>
                  <a:lnTo>
                    <a:pt x="490" y="4996"/>
                  </a:lnTo>
                  <a:lnTo>
                    <a:pt x="509" y="4974"/>
                  </a:lnTo>
                  <a:lnTo>
                    <a:pt x="524" y="4950"/>
                  </a:lnTo>
                  <a:lnTo>
                    <a:pt x="537" y="4928"/>
                  </a:lnTo>
                  <a:lnTo>
                    <a:pt x="546" y="4906"/>
                  </a:lnTo>
                  <a:lnTo>
                    <a:pt x="549" y="4878"/>
                  </a:lnTo>
                  <a:lnTo>
                    <a:pt x="556" y="4850"/>
                  </a:lnTo>
                  <a:lnTo>
                    <a:pt x="565" y="4828"/>
                  </a:lnTo>
                  <a:lnTo>
                    <a:pt x="587" y="4809"/>
                  </a:lnTo>
                  <a:lnTo>
                    <a:pt x="618" y="4787"/>
                  </a:lnTo>
                  <a:lnTo>
                    <a:pt x="637" y="4768"/>
                  </a:lnTo>
                  <a:lnTo>
                    <a:pt x="646" y="4747"/>
                  </a:lnTo>
                  <a:lnTo>
                    <a:pt x="649" y="4718"/>
                  </a:lnTo>
                  <a:lnTo>
                    <a:pt x="652" y="4687"/>
                  </a:lnTo>
                  <a:lnTo>
                    <a:pt x="652" y="4662"/>
                  </a:lnTo>
                  <a:lnTo>
                    <a:pt x="652" y="4634"/>
                  </a:lnTo>
                  <a:lnTo>
                    <a:pt x="652" y="4603"/>
                  </a:lnTo>
                  <a:lnTo>
                    <a:pt x="652" y="4569"/>
                  </a:lnTo>
                  <a:lnTo>
                    <a:pt x="656" y="4540"/>
                  </a:lnTo>
                  <a:lnTo>
                    <a:pt x="665" y="4522"/>
                  </a:lnTo>
                  <a:lnTo>
                    <a:pt x="677" y="4500"/>
                  </a:lnTo>
                  <a:lnTo>
                    <a:pt x="693" y="4481"/>
                  </a:lnTo>
                  <a:lnTo>
                    <a:pt x="702" y="4462"/>
                  </a:lnTo>
                  <a:lnTo>
                    <a:pt x="702" y="4441"/>
                  </a:lnTo>
                  <a:lnTo>
                    <a:pt x="702" y="4416"/>
                  </a:lnTo>
                  <a:lnTo>
                    <a:pt x="702" y="4391"/>
                  </a:lnTo>
                  <a:lnTo>
                    <a:pt x="702" y="4369"/>
                  </a:lnTo>
                  <a:lnTo>
                    <a:pt x="702" y="4341"/>
                  </a:lnTo>
                  <a:lnTo>
                    <a:pt x="705" y="4306"/>
                  </a:lnTo>
                  <a:lnTo>
                    <a:pt x="709" y="4272"/>
                  </a:lnTo>
                  <a:lnTo>
                    <a:pt x="715" y="4244"/>
                  </a:lnTo>
                  <a:lnTo>
                    <a:pt x="727" y="4222"/>
                  </a:lnTo>
                  <a:lnTo>
                    <a:pt x="749" y="4200"/>
                  </a:lnTo>
                  <a:lnTo>
                    <a:pt x="771" y="4175"/>
                  </a:lnTo>
                  <a:lnTo>
                    <a:pt x="787" y="4156"/>
                  </a:lnTo>
                  <a:lnTo>
                    <a:pt x="796" y="4119"/>
                  </a:lnTo>
                  <a:lnTo>
                    <a:pt x="802" y="4075"/>
                  </a:lnTo>
                  <a:lnTo>
                    <a:pt x="805" y="4028"/>
                  </a:lnTo>
                  <a:lnTo>
                    <a:pt x="809" y="3982"/>
                  </a:lnTo>
                  <a:lnTo>
                    <a:pt x="812" y="3935"/>
                  </a:lnTo>
                  <a:lnTo>
                    <a:pt x="818" y="3900"/>
                  </a:lnTo>
                  <a:lnTo>
                    <a:pt x="827" y="3860"/>
                  </a:lnTo>
                  <a:lnTo>
                    <a:pt x="843" y="3810"/>
                  </a:lnTo>
                  <a:lnTo>
                    <a:pt x="862" y="3760"/>
                  </a:lnTo>
                  <a:lnTo>
                    <a:pt x="877" y="3710"/>
                  </a:lnTo>
                  <a:lnTo>
                    <a:pt x="890" y="3669"/>
                  </a:lnTo>
                  <a:lnTo>
                    <a:pt x="902" y="3622"/>
                  </a:lnTo>
                  <a:lnTo>
                    <a:pt x="912" y="3563"/>
                  </a:lnTo>
                  <a:lnTo>
                    <a:pt x="924" y="3501"/>
                  </a:lnTo>
                  <a:lnTo>
                    <a:pt x="933" y="3441"/>
                  </a:lnTo>
                  <a:lnTo>
                    <a:pt x="943" y="3394"/>
                  </a:lnTo>
                  <a:lnTo>
                    <a:pt x="946" y="3348"/>
                  </a:lnTo>
                  <a:lnTo>
                    <a:pt x="952" y="3291"/>
                  </a:lnTo>
                  <a:lnTo>
                    <a:pt x="958" y="3235"/>
                  </a:lnTo>
                  <a:lnTo>
                    <a:pt x="968" y="3188"/>
                  </a:lnTo>
                  <a:lnTo>
                    <a:pt x="977" y="3160"/>
                  </a:lnTo>
                  <a:lnTo>
                    <a:pt x="993" y="3123"/>
                  </a:lnTo>
                  <a:lnTo>
                    <a:pt x="1012" y="3088"/>
                  </a:lnTo>
                  <a:lnTo>
                    <a:pt x="1021" y="3057"/>
                  </a:lnTo>
                  <a:lnTo>
                    <a:pt x="1027" y="3029"/>
                  </a:lnTo>
                  <a:lnTo>
                    <a:pt x="1030" y="2992"/>
                  </a:lnTo>
                  <a:lnTo>
                    <a:pt x="1033" y="2957"/>
                  </a:lnTo>
                  <a:lnTo>
                    <a:pt x="1036" y="2926"/>
                  </a:lnTo>
                  <a:lnTo>
                    <a:pt x="1043" y="2889"/>
                  </a:lnTo>
                  <a:lnTo>
                    <a:pt x="1049" y="2842"/>
                  </a:lnTo>
                  <a:lnTo>
                    <a:pt x="1055" y="2798"/>
                  </a:lnTo>
                  <a:lnTo>
                    <a:pt x="1058" y="2761"/>
                  </a:lnTo>
                  <a:lnTo>
                    <a:pt x="1058" y="2729"/>
                  </a:lnTo>
                  <a:lnTo>
                    <a:pt x="1058" y="2695"/>
                  </a:lnTo>
                  <a:lnTo>
                    <a:pt x="1058" y="2658"/>
                  </a:lnTo>
                  <a:lnTo>
                    <a:pt x="1065" y="2629"/>
                  </a:lnTo>
                  <a:lnTo>
                    <a:pt x="1077" y="2604"/>
                  </a:lnTo>
                  <a:lnTo>
                    <a:pt x="1096" y="2579"/>
                  </a:lnTo>
                  <a:lnTo>
                    <a:pt x="1111" y="2558"/>
                  </a:lnTo>
                  <a:lnTo>
                    <a:pt x="1124" y="2536"/>
                  </a:lnTo>
                  <a:lnTo>
                    <a:pt x="1136" y="2514"/>
                  </a:lnTo>
                  <a:lnTo>
                    <a:pt x="1146" y="2492"/>
                  </a:lnTo>
                  <a:lnTo>
                    <a:pt x="1152" y="2461"/>
                  </a:lnTo>
                  <a:lnTo>
                    <a:pt x="1158" y="2423"/>
                  </a:lnTo>
                  <a:lnTo>
                    <a:pt x="1168" y="2395"/>
                  </a:lnTo>
                  <a:lnTo>
                    <a:pt x="1177" y="2373"/>
                  </a:lnTo>
                  <a:lnTo>
                    <a:pt x="1190" y="2348"/>
                  </a:lnTo>
                  <a:lnTo>
                    <a:pt x="1208" y="2333"/>
                  </a:lnTo>
                  <a:lnTo>
                    <a:pt x="1214" y="2333"/>
                  </a:lnTo>
                  <a:lnTo>
                    <a:pt x="1221" y="2336"/>
                  </a:lnTo>
                  <a:lnTo>
                    <a:pt x="1227" y="2339"/>
                  </a:lnTo>
                  <a:lnTo>
                    <a:pt x="1233" y="2342"/>
                  </a:lnTo>
                  <a:lnTo>
                    <a:pt x="1239" y="2345"/>
                  </a:lnTo>
                  <a:lnTo>
                    <a:pt x="1246" y="2348"/>
                  </a:lnTo>
                  <a:lnTo>
                    <a:pt x="1252" y="2352"/>
                  </a:lnTo>
                  <a:lnTo>
                    <a:pt x="1261" y="2355"/>
                  </a:lnTo>
                  <a:lnTo>
                    <a:pt x="1271" y="2361"/>
                  </a:lnTo>
                  <a:lnTo>
                    <a:pt x="1280" y="2364"/>
                  </a:lnTo>
                  <a:lnTo>
                    <a:pt x="1286" y="2367"/>
                  </a:lnTo>
                  <a:lnTo>
                    <a:pt x="1296" y="2370"/>
                  </a:lnTo>
                  <a:lnTo>
                    <a:pt x="1311" y="2358"/>
                  </a:lnTo>
                  <a:lnTo>
                    <a:pt x="1333" y="2342"/>
                  </a:lnTo>
                  <a:lnTo>
                    <a:pt x="1352" y="2333"/>
                  </a:lnTo>
                  <a:lnTo>
                    <a:pt x="1367" y="2336"/>
                  </a:lnTo>
                  <a:lnTo>
                    <a:pt x="1386" y="2345"/>
                  </a:lnTo>
                  <a:lnTo>
                    <a:pt x="1405" y="2358"/>
                  </a:lnTo>
                  <a:lnTo>
                    <a:pt x="1424" y="2364"/>
                  </a:lnTo>
                  <a:lnTo>
                    <a:pt x="1439" y="2364"/>
                  </a:lnTo>
                  <a:lnTo>
                    <a:pt x="1452" y="2348"/>
                  </a:lnTo>
                  <a:lnTo>
                    <a:pt x="1455" y="2327"/>
                  </a:lnTo>
                  <a:lnTo>
                    <a:pt x="1458" y="2302"/>
                  </a:lnTo>
                  <a:lnTo>
                    <a:pt x="1455" y="2283"/>
                  </a:lnTo>
                  <a:lnTo>
                    <a:pt x="1446" y="2261"/>
                  </a:lnTo>
                  <a:lnTo>
                    <a:pt x="1430" y="2236"/>
                  </a:lnTo>
                  <a:lnTo>
                    <a:pt x="1414" y="2217"/>
                  </a:lnTo>
                  <a:lnTo>
                    <a:pt x="1392" y="2199"/>
                  </a:lnTo>
                  <a:lnTo>
                    <a:pt x="1367" y="2180"/>
                  </a:lnTo>
                  <a:lnTo>
                    <a:pt x="1346" y="2158"/>
                  </a:lnTo>
                  <a:lnTo>
                    <a:pt x="1336" y="2142"/>
                  </a:lnTo>
                  <a:lnTo>
                    <a:pt x="1330" y="2124"/>
                  </a:lnTo>
                  <a:lnTo>
                    <a:pt x="1321" y="2102"/>
                  </a:lnTo>
                  <a:lnTo>
                    <a:pt x="1308" y="2089"/>
                  </a:lnTo>
                  <a:lnTo>
                    <a:pt x="1289" y="2077"/>
                  </a:lnTo>
                  <a:lnTo>
                    <a:pt x="1268" y="2070"/>
                  </a:lnTo>
                  <a:lnTo>
                    <a:pt x="1246" y="2070"/>
                  </a:lnTo>
                  <a:lnTo>
                    <a:pt x="1224" y="2080"/>
                  </a:lnTo>
                  <a:lnTo>
                    <a:pt x="1205" y="2092"/>
                  </a:lnTo>
                  <a:lnTo>
                    <a:pt x="1190" y="2111"/>
                  </a:lnTo>
                  <a:lnTo>
                    <a:pt x="1186" y="2130"/>
                  </a:lnTo>
                  <a:lnTo>
                    <a:pt x="1190" y="2152"/>
                  </a:lnTo>
                  <a:lnTo>
                    <a:pt x="1190" y="2174"/>
                  </a:lnTo>
                  <a:lnTo>
                    <a:pt x="1183" y="2189"/>
                  </a:lnTo>
                  <a:lnTo>
                    <a:pt x="1174" y="2208"/>
                  </a:lnTo>
                  <a:lnTo>
                    <a:pt x="1165" y="2224"/>
                  </a:lnTo>
                  <a:lnTo>
                    <a:pt x="1155" y="2242"/>
                  </a:lnTo>
                  <a:lnTo>
                    <a:pt x="1143" y="2261"/>
                  </a:lnTo>
                  <a:lnTo>
                    <a:pt x="1133" y="2280"/>
                  </a:lnTo>
                  <a:lnTo>
                    <a:pt x="1127" y="2298"/>
                  </a:lnTo>
                  <a:lnTo>
                    <a:pt x="1118" y="2320"/>
                  </a:lnTo>
                  <a:lnTo>
                    <a:pt x="1108" y="2339"/>
                  </a:lnTo>
                  <a:lnTo>
                    <a:pt x="1105" y="2342"/>
                  </a:lnTo>
                  <a:lnTo>
                    <a:pt x="1099" y="2348"/>
                  </a:lnTo>
                  <a:lnTo>
                    <a:pt x="1093" y="2355"/>
                  </a:lnTo>
                  <a:lnTo>
                    <a:pt x="1086" y="2358"/>
                  </a:lnTo>
                  <a:lnTo>
                    <a:pt x="1080" y="2361"/>
                  </a:lnTo>
                  <a:lnTo>
                    <a:pt x="1074" y="2361"/>
                  </a:lnTo>
                  <a:lnTo>
                    <a:pt x="1071" y="2358"/>
                  </a:lnTo>
                  <a:lnTo>
                    <a:pt x="1068" y="2352"/>
                  </a:lnTo>
                  <a:lnTo>
                    <a:pt x="1068" y="2342"/>
                  </a:lnTo>
                  <a:lnTo>
                    <a:pt x="1068" y="2336"/>
                  </a:lnTo>
                  <a:lnTo>
                    <a:pt x="1068" y="2327"/>
                  </a:lnTo>
                  <a:lnTo>
                    <a:pt x="1071" y="2320"/>
                  </a:lnTo>
                  <a:lnTo>
                    <a:pt x="1071" y="2314"/>
                  </a:lnTo>
                  <a:lnTo>
                    <a:pt x="1068" y="2289"/>
                  </a:lnTo>
                  <a:lnTo>
                    <a:pt x="1068" y="2261"/>
                  </a:lnTo>
                  <a:lnTo>
                    <a:pt x="1068" y="2236"/>
                  </a:lnTo>
                  <a:lnTo>
                    <a:pt x="1071" y="2205"/>
                  </a:lnTo>
                  <a:lnTo>
                    <a:pt x="1077" y="2170"/>
                  </a:lnTo>
                  <a:lnTo>
                    <a:pt x="1086" y="2133"/>
                  </a:lnTo>
                  <a:lnTo>
                    <a:pt x="1093" y="2102"/>
                  </a:lnTo>
                  <a:lnTo>
                    <a:pt x="1099" y="2074"/>
                  </a:lnTo>
                  <a:lnTo>
                    <a:pt x="1111" y="2042"/>
                  </a:lnTo>
                  <a:lnTo>
                    <a:pt x="1121" y="2008"/>
                  </a:lnTo>
                  <a:lnTo>
                    <a:pt x="1127" y="1980"/>
                  </a:lnTo>
                  <a:lnTo>
                    <a:pt x="1133" y="1946"/>
                  </a:lnTo>
                  <a:lnTo>
                    <a:pt x="1136" y="1905"/>
                  </a:lnTo>
                  <a:lnTo>
                    <a:pt x="1140" y="1861"/>
                  </a:lnTo>
                  <a:lnTo>
                    <a:pt x="1143" y="1827"/>
                  </a:lnTo>
                  <a:lnTo>
                    <a:pt x="1152" y="1793"/>
                  </a:lnTo>
                  <a:lnTo>
                    <a:pt x="1161" y="1752"/>
                  </a:lnTo>
                  <a:lnTo>
                    <a:pt x="1174" y="1708"/>
                  </a:lnTo>
                  <a:lnTo>
                    <a:pt x="1183" y="1668"/>
                  </a:lnTo>
                  <a:lnTo>
                    <a:pt x="1193" y="1633"/>
                  </a:lnTo>
                  <a:lnTo>
                    <a:pt x="1202" y="1580"/>
                  </a:lnTo>
                  <a:lnTo>
                    <a:pt x="1211" y="1515"/>
                  </a:lnTo>
                  <a:lnTo>
                    <a:pt x="1224" y="1446"/>
                  </a:lnTo>
                  <a:lnTo>
                    <a:pt x="1230" y="1380"/>
                  </a:lnTo>
                  <a:lnTo>
                    <a:pt x="1239" y="1327"/>
                  </a:lnTo>
                  <a:lnTo>
                    <a:pt x="1243" y="1284"/>
                  </a:lnTo>
                  <a:lnTo>
                    <a:pt x="1243" y="1231"/>
                  </a:lnTo>
                  <a:lnTo>
                    <a:pt x="1249" y="1181"/>
                  </a:lnTo>
                  <a:lnTo>
                    <a:pt x="1252" y="1137"/>
                  </a:lnTo>
                  <a:lnTo>
                    <a:pt x="1264" y="1099"/>
                  </a:lnTo>
                  <a:lnTo>
                    <a:pt x="1280" y="1056"/>
                  </a:lnTo>
                  <a:lnTo>
                    <a:pt x="1299" y="1009"/>
                  </a:lnTo>
                  <a:lnTo>
                    <a:pt x="1314" y="965"/>
                  </a:lnTo>
                  <a:lnTo>
                    <a:pt x="1324" y="928"/>
                  </a:lnTo>
                  <a:lnTo>
                    <a:pt x="1330" y="887"/>
                  </a:lnTo>
                  <a:lnTo>
                    <a:pt x="1333" y="834"/>
                  </a:lnTo>
                  <a:lnTo>
                    <a:pt x="1333" y="781"/>
                  </a:lnTo>
                  <a:lnTo>
                    <a:pt x="1333" y="731"/>
                  </a:lnTo>
                  <a:lnTo>
                    <a:pt x="1336" y="687"/>
                  </a:lnTo>
                  <a:lnTo>
                    <a:pt x="1336" y="640"/>
                  </a:lnTo>
                  <a:lnTo>
                    <a:pt x="1336" y="587"/>
                  </a:lnTo>
                  <a:lnTo>
                    <a:pt x="1336" y="531"/>
                  </a:lnTo>
                  <a:lnTo>
                    <a:pt x="1339" y="484"/>
                  </a:lnTo>
                  <a:lnTo>
                    <a:pt x="1346" y="456"/>
                  </a:lnTo>
                  <a:lnTo>
                    <a:pt x="1355" y="422"/>
                  </a:lnTo>
                  <a:lnTo>
                    <a:pt x="1367" y="387"/>
                  </a:lnTo>
                  <a:lnTo>
                    <a:pt x="1377" y="359"/>
                  </a:lnTo>
                  <a:lnTo>
                    <a:pt x="1386" y="331"/>
                  </a:lnTo>
                  <a:lnTo>
                    <a:pt x="1402" y="297"/>
                  </a:lnTo>
                  <a:lnTo>
                    <a:pt x="1417" y="269"/>
                  </a:lnTo>
                  <a:lnTo>
                    <a:pt x="1430" y="253"/>
                  </a:lnTo>
                  <a:lnTo>
                    <a:pt x="1446" y="238"/>
                  </a:lnTo>
                  <a:lnTo>
                    <a:pt x="1464" y="222"/>
                  </a:lnTo>
                  <a:lnTo>
                    <a:pt x="1483" y="209"/>
                  </a:lnTo>
                  <a:lnTo>
                    <a:pt x="1499" y="206"/>
                  </a:lnTo>
                  <a:lnTo>
                    <a:pt x="1505" y="209"/>
                  </a:lnTo>
                  <a:lnTo>
                    <a:pt x="1508" y="216"/>
                  </a:lnTo>
                  <a:lnTo>
                    <a:pt x="1514" y="225"/>
                  </a:lnTo>
                  <a:lnTo>
                    <a:pt x="1517" y="234"/>
                  </a:lnTo>
                  <a:lnTo>
                    <a:pt x="1517" y="241"/>
                  </a:lnTo>
                  <a:lnTo>
                    <a:pt x="1514" y="259"/>
                  </a:lnTo>
                  <a:lnTo>
                    <a:pt x="1505" y="278"/>
                  </a:lnTo>
                  <a:lnTo>
                    <a:pt x="1496" y="297"/>
                  </a:lnTo>
                  <a:lnTo>
                    <a:pt x="1496" y="316"/>
                  </a:lnTo>
                  <a:lnTo>
                    <a:pt x="1505" y="331"/>
                  </a:lnTo>
                  <a:lnTo>
                    <a:pt x="1524" y="347"/>
                  </a:lnTo>
                  <a:lnTo>
                    <a:pt x="1542" y="362"/>
                  </a:lnTo>
                  <a:lnTo>
                    <a:pt x="1555" y="375"/>
                  </a:lnTo>
                  <a:lnTo>
                    <a:pt x="1561" y="384"/>
                  </a:lnTo>
                  <a:lnTo>
                    <a:pt x="1567" y="394"/>
                  </a:lnTo>
                  <a:lnTo>
                    <a:pt x="1574" y="406"/>
                  </a:lnTo>
                  <a:lnTo>
                    <a:pt x="1580" y="416"/>
                  </a:lnTo>
                  <a:lnTo>
                    <a:pt x="1586" y="422"/>
                  </a:lnTo>
                  <a:lnTo>
                    <a:pt x="1602" y="428"/>
                  </a:lnTo>
                  <a:lnTo>
                    <a:pt x="1624" y="431"/>
                  </a:lnTo>
                  <a:lnTo>
                    <a:pt x="1642" y="434"/>
                  </a:lnTo>
                  <a:lnTo>
                    <a:pt x="1661" y="437"/>
                  </a:lnTo>
                  <a:lnTo>
                    <a:pt x="1686" y="450"/>
                  </a:lnTo>
                  <a:lnTo>
                    <a:pt x="1714" y="465"/>
                  </a:lnTo>
                  <a:lnTo>
                    <a:pt x="1742" y="487"/>
                  </a:lnTo>
                  <a:lnTo>
                    <a:pt x="1764" y="506"/>
                  </a:lnTo>
                  <a:lnTo>
                    <a:pt x="1770" y="528"/>
                  </a:lnTo>
                  <a:lnTo>
                    <a:pt x="1777" y="556"/>
                  </a:lnTo>
                  <a:lnTo>
                    <a:pt x="1783" y="584"/>
                  </a:lnTo>
                  <a:lnTo>
                    <a:pt x="1789" y="606"/>
                  </a:lnTo>
                  <a:lnTo>
                    <a:pt x="1808" y="622"/>
                  </a:lnTo>
                  <a:lnTo>
                    <a:pt x="1830" y="634"/>
                  </a:lnTo>
                  <a:lnTo>
                    <a:pt x="1855" y="647"/>
                  </a:lnTo>
                  <a:lnTo>
                    <a:pt x="1873" y="659"/>
                  </a:lnTo>
                  <a:lnTo>
                    <a:pt x="1892" y="681"/>
                  </a:lnTo>
                  <a:lnTo>
                    <a:pt x="1911" y="706"/>
                  </a:lnTo>
                  <a:lnTo>
                    <a:pt x="1923" y="728"/>
                  </a:lnTo>
                  <a:lnTo>
                    <a:pt x="1939" y="759"/>
                  </a:lnTo>
                  <a:lnTo>
                    <a:pt x="1955" y="796"/>
                  </a:lnTo>
                  <a:lnTo>
                    <a:pt x="1970" y="834"/>
                  </a:lnTo>
                  <a:lnTo>
                    <a:pt x="1983" y="865"/>
                  </a:lnTo>
                  <a:lnTo>
                    <a:pt x="1992" y="893"/>
                  </a:lnTo>
                  <a:lnTo>
                    <a:pt x="2005" y="928"/>
                  </a:lnTo>
                  <a:lnTo>
                    <a:pt x="2017" y="962"/>
                  </a:lnTo>
                  <a:lnTo>
                    <a:pt x="2023" y="990"/>
                  </a:lnTo>
                  <a:lnTo>
                    <a:pt x="2026" y="1012"/>
                  </a:lnTo>
                  <a:lnTo>
                    <a:pt x="2023" y="1043"/>
                  </a:lnTo>
                  <a:lnTo>
                    <a:pt x="2023" y="1071"/>
                  </a:lnTo>
                  <a:lnTo>
                    <a:pt x="2023" y="1096"/>
                  </a:lnTo>
                  <a:lnTo>
                    <a:pt x="2033" y="1124"/>
                  </a:lnTo>
                  <a:lnTo>
                    <a:pt x="2045" y="1152"/>
                  </a:lnTo>
                  <a:lnTo>
                    <a:pt x="2054" y="1181"/>
                  </a:lnTo>
                  <a:lnTo>
                    <a:pt x="2061" y="1206"/>
                  </a:lnTo>
                  <a:lnTo>
                    <a:pt x="2064" y="1234"/>
                  </a:lnTo>
                  <a:lnTo>
                    <a:pt x="2067" y="1259"/>
                  </a:lnTo>
                  <a:lnTo>
                    <a:pt x="2067" y="1287"/>
                  </a:lnTo>
                  <a:lnTo>
                    <a:pt x="2064" y="1324"/>
                  </a:lnTo>
                  <a:lnTo>
                    <a:pt x="2061" y="1359"/>
                  </a:lnTo>
                  <a:lnTo>
                    <a:pt x="2067" y="1387"/>
                  </a:lnTo>
                  <a:lnTo>
                    <a:pt x="2079" y="1412"/>
                  </a:lnTo>
                  <a:lnTo>
                    <a:pt x="2098" y="1437"/>
                  </a:lnTo>
                  <a:lnTo>
                    <a:pt x="2117" y="1455"/>
                  </a:lnTo>
                  <a:lnTo>
                    <a:pt x="2136" y="1474"/>
                  </a:lnTo>
                  <a:lnTo>
                    <a:pt x="2164" y="1496"/>
                  </a:lnTo>
                  <a:lnTo>
                    <a:pt x="2186" y="1515"/>
                  </a:lnTo>
                  <a:lnTo>
                    <a:pt x="2201" y="1537"/>
                  </a:lnTo>
                  <a:lnTo>
                    <a:pt x="2220" y="1565"/>
                  </a:lnTo>
                  <a:lnTo>
                    <a:pt x="2236" y="1586"/>
                  </a:lnTo>
                  <a:lnTo>
                    <a:pt x="2248" y="1608"/>
                  </a:lnTo>
                  <a:lnTo>
                    <a:pt x="2261" y="1636"/>
                  </a:lnTo>
                  <a:lnTo>
                    <a:pt x="2270" y="1658"/>
                  </a:lnTo>
                  <a:lnTo>
                    <a:pt x="2273" y="1680"/>
                  </a:lnTo>
                  <a:lnTo>
                    <a:pt x="2273" y="1708"/>
                  </a:lnTo>
                  <a:lnTo>
                    <a:pt x="2273" y="1730"/>
                  </a:lnTo>
                  <a:lnTo>
                    <a:pt x="2273" y="1749"/>
                  </a:lnTo>
                  <a:lnTo>
                    <a:pt x="2276" y="1771"/>
                  </a:lnTo>
                  <a:lnTo>
                    <a:pt x="2276" y="1789"/>
                  </a:lnTo>
                  <a:lnTo>
                    <a:pt x="2273" y="1808"/>
                  </a:lnTo>
                  <a:lnTo>
                    <a:pt x="2267" y="1830"/>
                  </a:lnTo>
                  <a:lnTo>
                    <a:pt x="2264" y="1852"/>
                  </a:lnTo>
                  <a:lnTo>
                    <a:pt x="2267" y="1868"/>
                  </a:lnTo>
                  <a:lnTo>
                    <a:pt x="2270" y="1871"/>
                  </a:lnTo>
                  <a:lnTo>
                    <a:pt x="2279" y="1874"/>
                  </a:lnTo>
                  <a:lnTo>
                    <a:pt x="2289" y="1877"/>
                  </a:lnTo>
                  <a:lnTo>
                    <a:pt x="2298" y="1877"/>
                  </a:lnTo>
                  <a:lnTo>
                    <a:pt x="2304" y="1874"/>
                  </a:lnTo>
                  <a:lnTo>
                    <a:pt x="2307" y="1871"/>
                  </a:lnTo>
                  <a:lnTo>
                    <a:pt x="2311" y="1861"/>
                  </a:lnTo>
                  <a:lnTo>
                    <a:pt x="2314" y="1855"/>
                  </a:lnTo>
                  <a:lnTo>
                    <a:pt x="2314" y="1846"/>
                  </a:lnTo>
                  <a:lnTo>
                    <a:pt x="2314" y="1839"/>
                  </a:lnTo>
                  <a:lnTo>
                    <a:pt x="2317" y="1830"/>
                  </a:lnTo>
                  <a:lnTo>
                    <a:pt x="2323" y="1821"/>
                  </a:lnTo>
                  <a:lnTo>
                    <a:pt x="2326" y="1808"/>
                  </a:lnTo>
                  <a:lnTo>
                    <a:pt x="2329" y="1799"/>
                  </a:lnTo>
                  <a:lnTo>
                    <a:pt x="2329" y="1789"/>
                  </a:lnTo>
                  <a:lnTo>
                    <a:pt x="2329" y="1761"/>
                  </a:lnTo>
                  <a:lnTo>
                    <a:pt x="2329" y="1730"/>
                  </a:lnTo>
                  <a:lnTo>
                    <a:pt x="2326" y="1702"/>
                  </a:lnTo>
                  <a:lnTo>
                    <a:pt x="2329" y="1680"/>
                  </a:lnTo>
                  <a:lnTo>
                    <a:pt x="2329" y="1655"/>
                  </a:lnTo>
                  <a:lnTo>
                    <a:pt x="2332" y="1630"/>
                  </a:lnTo>
                  <a:lnTo>
                    <a:pt x="2329" y="1608"/>
                  </a:lnTo>
                  <a:lnTo>
                    <a:pt x="2320" y="1590"/>
                  </a:lnTo>
                  <a:lnTo>
                    <a:pt x="2304" y="1568"/>
                  </a:lnTo>
                  <a:lnTo>
                    <a:pt x="2292" y="1549"/>
                  </a:lnTo>
                  <a:lnTo>
                    <a:pt x="2292" y="1543"/>
                  </a:lnTo>
                  <a:lnTo>
                    <a:pt x="2292" y="1533"/>
                  </a:lnTo>
                  <a:lnTo>
                    <a:pt x="2292" y="1524"/>
                  </a:lnTo>
                  <a:lnTo>
                    <a:pt x="2295" y="1515"/>
                  </a:lnTo>
                  <a:lnTo>
                    <a:pt x="2295" y="1505"/>
                  </a:lnTo>
                  <a:lnTo>
                    <a:pt x="2292" y="1499"/>
                  </a:lnTo>
                  <a:lnTo>
                    <a:pt x="2286" y="1490"/>
                  </a:lnTo>
                  <a:lnTo>
                    <a:pt x="2276" y="1480"/>
                  </a:lnTo>
                  <a:lnTo>
                    <a:pt x="2264" y="1474"/>
                  </a:lnTo>
                  <a:lnTo>
                    <a:pt x="2251" y="1465"/>
                  </a:lnTo>
                  <a:lnTo>
                    <a:pt x="2242" y="1462"/>
                  </a:lnTo>
                  <a:lnTo>
                    <a:pt x="2220" y="1449"/>
                  </a:lnTo>
                  <a:lnTo>
                    <a:pt x="2192" y="1440"/>
                  </a:lnTo>
                  <a:lnTo>
                    <a:pt x="2170" y="1427"/>
                  </a:lnTo>
                  <a:lnTo>
                    <a:pt x="2158" y="1409"/>
                  </a:lnTo>
                  <a:lnTo>
                    <a:pt x="2148" y="1384"/>
                  </a:lnTo>
                  <a:lnTo>
                    <a:pt x="2142" y="1362"/>
                  </a:lnTo>
                  <a:lnTo>
                    <a:pt x="2139" y="1327"/>
                  </a:lnTo>
                  <a:lnTo>
                    <a:pt x="2136" y="1290"/>
                  </a:lnTo>
                  <a:lnTo>
                    <a:pt x="2136" y="1259"/>
                  </a:lnTo>
                  <a:lnTo>
                    <a:pt x="2129" y="1224"/>
                  </a:lnTo>
                  <a:lnTo>
                    <a:pt x="2123" y="1187"/>
                  </a:lnTo>
                  <a:lnTo>
                    <a:pt x="2117" y="1146"/>
                  </a:lnTo>
                  <a:lnTo>
                    <a:pt x="2111" y="1115"/>
                  </a:lnTo>
                  <a:lnTo>
                    <a:pt x="2111" y="1078"/>
                  </a:lnTo>
                  <a:lnTo>
                    <a:pt x="2111" y="1031"/>
                  </a:lnTo>
                  <a:lnTo>
                    <a:pt x="2108" y="984"/>
                  </a:lnTo>
                  <a:lnTo>
                    <a:pt x="2104" y="946"/>
                  </a:lnTo>
                  <a:lnTo>
                    <a:pt x="2095" y="925"/>
                  </a:lnTo>
                  <a:lnTo>
                    <a:pt x="2083" y="900"/>
                  </a:lnTo>
                  <a:lnTo>
                    <a:pt x="2073" y="878"/>
                  </a:lnTo>
                  <a:lnTo>
                    <a:pt x="2070" y="862"/>
                  </a:lnTo>
                  <a:lnTo>
                    <a:pt x="2064" y="846"/>
                  </a:lnTo>
                  <a:lnTo>
                    <a:pt x="2086" y="834"/>
                  </a:lnTo>
                  <a:lnTo>
                    <a:pt x="2114" y="825"/>
                  </a:lnTo>
                  <a:lnTo>
                    <a:pt x="2136" y="821"/>
                  </a:lnTo>
                  <a:lnTo>
                    <a:pt x="2151" y="821"/>
                  </a:lnTo>
                  <a:lnTo>
                    <a:pt x="2173" y="828"/>
                  </a:lnTo>
                  <a:lnTo>
                    <a:pt x="2195" y="834"/>
                  </a:lnTo>
                  <a:lnTo>
                    <a:pt x="2211" y="837"/>
                  </a:lnTo>
                  <a:lnTo>
                    <a:pt x="2223" y="828"/>
                  </a:lnTo>
                  <a:lnTo>
                    <a:pt x="2239" y="815"/>
                  </a:lnTo>
                  <a:lnTo>
                    <a:pt x="2251" y="806"/>
                  </a:lnTo>
                  <a:lnTo>
                    <a:pt x="2267" y="800"/>
                  </a:lnTo>
                  <a:lnTo>
                    <a:pt x="2273" y="803"/>
                  </a:lnTo>
                  <a:lnTo>
                    <a:pt x="2279" y="806"/>
                  </a:lnTo>
                  <a:lnTo>
                    <a:pt x="2289" y="812"/>
                  </a:lnTo>
                  <a:lnTo>
                    <a:pt x="2295" y="818"/>
                  </a:lnTo>
                  <a:lnTo>
                    <a:pt x="2298" y="825"/>
                  </a:lnTo>
                  <a:lnTo>
                    <a:pt x="2301" y="840"/>
                  </a:lnTo>
                  <a:lnTo>
                    <a:pt x="2298" y="859"/>
                  </a:lnTo>
                  <a:lnTo>
                    <a:pt x="2295" y="875"/>
                  </a:lnTo>
                  <a:lnTo>
                    <a:pt x="2298" y="890"/>
                  </a:lnTo>
                  <a:lnTo>
                    <a:pt x="2314" y="900"/>
                  </a:lnTo>
                  <a:lnTo>
                    <a:pt x="2336" y="906"/>
                  </a:lnTo>
                  <a:lnTo>
                    <a:pt x="2361" y="909"/>
                  </a:lnTo>
                  <a:lnTo>
                    <a:pt x="2379" y="912"/>
                  </a:lnTo>
                  <a:lnTo>
                    <a:pt x="2404" y="912"/>
                  </a:lnTo>
                  <a:lnTo>
                    <a:pt x="2432" y="909"/>
                  </a:lnTo>
                  <a:lnTo>
                    <a:pt x="2460" y="909"/>
                  </a:lnTo>
                  <a:lnTo>
                    <a:pt x="2485" y="912"/>
                  </a:lnTo>
                  <a:lnTo>
                    <a:pt x="2504" y="921"/>
                  </a:lnTo>
                  <a:lnTo>
                    <a:pt x="2523" y="934"/>
                  </a:lnTo>
                  <a:lnTo>
                    <a:pt x="2542" y="949"/>
                  </a:lnTo>
                  <a:lnTo>
                    <a:pt x="2554" y="965"/>
                  </a:lnTo>
                  <a:lnTo>
                    <a:pt x="2557" y="987"/>
                  </a:lnTo>
                  <a:lnTo>
                    <a:pt x="2557" y="1012"/>
                  </a:lnTo>
                  <a:lnTo>
                    <a:pt x="2554" y="1034"/>
                  </a:lnTo>
                  <a:lnTo>
                    <a:pt x="2545" y="1046"/>
                  </a:lnTo>
                  <a:lnTo>
                    <a:pt x="2529" y="1062"/>
                  </a:lnTo>
                  <a:lnTo>
                    <a:pt x="2514" y="1078"/>
                  </a:lnTo>
                  <a:lnTo>
                    <a:pt x="2507" y="1090"/>
                  </a:lnTo>
                  <a:lnTo>
                    <a:pt x="2514" y="1106"/>
                  </a:lnTo>
                  <a:lnTo>
                    <a:pt x="2529" y="1121"/>
                  </a:lnTo>
                  <a:lnTo>
                    <a:pt x="2545" y="1137"/>
                  </a:lnTo>
                  <a:lnTo>
                    <a:pt x="2554" y="1152"/>
                  </a:lnTo>
                  <a:lnTo>
                    <a:pt x="2557" y="1171"/>
                  </a:lnTo>
                  <a:lnTo>
                    <a:pt x="2560" y="1196"/>
                  </a:lnTo>
                  <a:lnTo>
                    <a:pt x="2563" y="1218"/>
                  </a:lnTo>
                  <a:lnTo>
                    <a:pt x="2573" y="1231"/>
                  </a:lnTo>
                  <a:lnTo>
                    <a:pt x="2585" y="1234"/>
                  </a:lnTo>
                  <a:lnTo>
                    <a:pt x="2604" y="1227"/>
                  </a:lnTo>
                  <a:lnTo>
                    <a:pt x="2626" y="1221"/>
                  </a:lnTo>
                  <a:lnTo>
                    <a:pt x="2645" y="1212"/>
                  </a:lnTo>
                  <a:lnTo>
                    <a:pt x="2660" y="1209"/>
                  </a:lnTo>
                  <a:lnTo>
                    <a:pt x="2685" y="1212"/>
                  </a:lnTo>
                  <a:lnTo>
                    <a:pt x="2717" y="1221"/>
                  </a:lnTo>
                  <a:lnTo>
                    <a:pt x="2738" y="1231"/>
                  </a:lnTo>
                  <a:lnTo>
                    <a:pt x="2748" y="1246"/>
                  </a:lnTo>
                  <a:lnTo>
                    <a:pt x="2754" y="1268"/>
                  </a:lnTo>
                  <a:lnTo>
                    <a:pt x="2760" y="1287"/>
                  </a:lnTo>
                  <a:lnTo>
                    <a:pt x="2779" y="1296"/>
                  </a:lnTo>
                  <a:lnTo>
                    <a:pt x="2801" y="1302"/>
                  </a:lnTo>
                  <a:lnTo>
                    <a:pt x="2816" y="1312"/>
                  </a:lnTo>
                  <a:lnTo>
                    <a:pt x="2829" y="1327"/>
                  </a:lnTo>
                  <a:lnTo>
                    <a:pt x="2838" y="1349"/>
                  </a:lnTo>
                  <a:lnTo>
                    <a:pt x="2851" y="1365"/>
                  </a:lnTo>
                  <a:lnTo>
                    <a:pt x="2866" y="1368"/>
                  </a:lnTo>
                  <a:lnTo>
                    <a:pt x="2888" y="1365"/>
                  </a:lnTo>
                  <a:lnTo>
                    <a:pt x="2904" y="1365"/>
                  </a:lnTo>
                  <a:lnTo>
                    <a:pt x="2926" y="1365"/>
                  </a:lnTo>
                  <a:lnTo>
                    <a:pt x="2951" y="1368"/>
                  </a:lnTo>
                  <a:lnTo>
                    <a:pt x="2979" y="1368"/>
                  </a:lnTo>
                  <a:lnTo>
                    <a:pt x="2998" y="1365"/>
                  </a:lnTo>
                  <a:lnTo>
                    <a:pt x="3016" y="1355"/>
                  </a:lnTo>
                  <a:lnTo>
                    <a:pt x="3032" y="1340"/>
                  </a:lnTo>
                  <a:lnTo>
                    <a:pt x="3051" y="1321"/>
                  </a:lnTo>
                  <a:lnTo>
                    <a:pt x="3069" y="1309"/>
                  </a:lnTo>
                  <a:lnTo>
                    <a:pt x="3085" y="1305"/>
                  </a:lnTo>
                  <a:lnTo>
                    <a:pt x="3097" y="1315"/>
                  </a:lnTo>
                  <a:lnTo>
                    <a:pt x="3104" y="1337"/>
                  </a:lnTo>
                  <a:lnTo>
                    <a:pt x="3113" y="1355"/>
                  </a:lnTo>
                  <a:lnTo>
                    <a:pt x="3122" y="1365"/>
                  </a:lnTo>
                  <a:lnTo>
                    <a:pt x="3138" y="1359"/>
                  </a:lnTo>
                  <a:lnTo>
                    <a:pt x="3157" y="1346"/>
                  </a:lnTo>
                  <a:lnTo>
                    <a:pt x="3172" y="1330"/>
                  </a:lnTo>
                  <a:lnTo>
                    <a:pt x="3185" y="1315"/>
                  </a:lnTo>
                  <a:lnTo>
                    <a:pt x="3194" y="1312"/>
                  </a:lnTo>
                  <a:lnTo>
                    <a:pt x="3204" y="1305"/>
                  </a:lnTo>
                  <a:lnTo>
                    <a:pt x="3213" y="1296"/>
                  </a:lnTo>
                  <a:lnTo>
                    <a:pt x="3222" y="1290"/>
                  </a:lnTo>
                  <a:lnTo>
                    <a:pt x="3229" y="1284"/>
                  </a:lnTo>
                  <a:lnTo>
                    <a:pt x="3232" y="1265"/>
                  </a:lnTo>
                  <a:lnTo>
                    <a:pt x="3229" y="1243"/>
                  </a:lnTo>
                  <a:lnTo>
                    <a:pt x="3226" y="1221"/>
                  </a:lnTo>
                  <a:lnTo>
                    <a:pt x="3229" y="1202"/>
                  </a:lnTo>
                  <a:lnTo>
                    <a:pt x="3235" y="1193"/>
                  </a:lnTo>
                  <a:lnTo>
                    <a:pt x="3244" y="1184"/>
                  </a:lnTo>
                  <a:lnTo>
                    <a:pt x="3254" y="1174"/>
                  </a:lnTo>
                  <a:lnTo>
                    <a:pt x="3266" y="1168"/>
                  </a:lnTo>
                  <a:lnTo>
                    <a:pt x="3275" y="1159"/>
                  </a:lnTo>
                  <a:lnTo>
                    <a:pt x="3288" y="1156"/>
                  </a:lnTo>
                  <a:lnTo>
                    <a:pt x="3307" y="1149"/>
                  </a:lnTo>
                  <a:lnTo>
                    <a:pt x="3322" y="1143"/>
                  </a:lnTo>
                  <a:lnTo>
                    <a:pt x="3335" y="1134"/>
                  </a:lnTo>
                  <a:lnTo>
                    <a:pt x="3335" y="1131"/>
                  </a:lnTo>
                  <a:lnTo>
                    <a:pt x="3335" y="1124"/>
                  </a:lnTo>
                  <a:lnTo>
                    <a:pt x="3332" y="1118"/>
                  </a:lnTo>
                  <a:lnTo>
                    <a:pt x="3332" y="1112"/>
                  </a:lnTo>
                  <a:lnTo>
                    <a:pt x="3335" y="1109"/>
                  </a:lnTo>
                  <a:lnTo>
                    <a:pt x="3347" y="1102"/>
                  </a:lnTo>
                  <a:lnTo>
                    <a:pt x="3366" y="1102"/>
                  </a:lnTo>
                  <a:lnTo>
                    <a:pt x="3388" y="1106"/>
                  </a:lnTo>
                  <a:lnTo>
                    <a:pt x="3407" y="1109"/>
                  </a:lnTo>
                  <a:lnTo>
                    <a:pt x="3422" y="1109"/>
                  </a:lnTo>
                  <a:lnTo>
                    <a:pt x="3447" y="1102"/>
                  </a:lnTo>
                  <a:lnTo>
                    <a:pt x="3472" y="1093"/>
                  </a:lnTo>
                  <a:lnTo>
                    <a:pt x="3494" y="1081"/>
                  </a:lnTo>
                  <a:lnTo>
                    <a:pt x="3516" y="1059"/>
                  </a:lnTo>
                  <a:lnTo>
                    <a:pt x="3541" y="1031"/>
                  </a:lnTo>
                  <a:lnTo>
                    <a:pt x="3560" y="1006"/>
                  </a:lnTo>
                  <a:lnTo>
                    <a:pt x="3578" y="987"/>
                  </a:lnTo>
                  <a:lnTo>
                    <a:pt x="3600" y="965"/>
                  </a:lnTo>
                  <a:lnTo>
                    <a:pt x="3622" y="949"/>
                  </a:lnTo>
                  <a:lnTo>
                    <a:pt x="3628" y="949"/>
                  </a:lnTo>
                  <a:lnTo>
                    <a:pt x="3635" y="949"/>
                  </a:lnTo>
                  <a:lnTo>
                    <a:pt x="3644" y="946"/>
                  </a:lnTo>
                  <a:lnTo>
                    <a:pt x="3650" y="946"/>
                  </a:lnTo>
                  <a:lnTo>
                    <a:pt x="3660" y="946"/>
                  </a:lnTo>
                  <a:lnTo>
                    <a:pt x="3663" y="943"/>
                  </a:lnTo>
                  <a:lnTo>
                    <a:pt x="3672" y="925"/>
                  </a:lnTo>
                  <a:lnTo>
                    <a:pt x="3675" y="896"/>
                  </a:lnTo>
                  <a:lnTo>
                    <a:pt x="3675" y="868"/>
                  </a:lnTo>
                  <a:lnTo>
                    <a:pt x="3675" y="846"/>
                  </a:lnTo>
                  <a:lnTo>
                    <a:pt x="3672" y="828"/>
                  </a:lnTo>
                  <a:lnTo>
                    <a:pt x="3666" y="806"/>
                  </a:lnTo>
                  <a:lnTo>
                    <a:pt x="3660" y="787"/>
                  </a:lnTo>
                  <a:lnTo>
                    <a:pt x="3656" y="768"/>
                  </a:lnTo>
                  <a:lnTo>
                    <a:pt x="3666" y="753"/>
                  </a:lnTo>
                  <a:lnTo>
                    <a:pt x="3685" y="737"/>
                  </a:lnTo>
                  <a:lnTo>
                    <a:pt x="3700" y="722"/>
                  </a:lnTo>
                  <a:lnTo>
                    <a:pt x="3713" y="706"/>
                  </a:lnTo>
                  <a:lnTo>
                    <a:pt x="3716" y="684"/>
                  </a:lnTo>
                  <a:lnTo>
                    <a:pt x="3719" y="659"/>
                  </a:lnTo>
                  <a:lnTo>
                    <a:pt x="3722" y="634"/>
                  </a:lnTo>
                  <a:lnTo>
                    <a:pt x="3728" y="612"/>
                  </a:lnTo>
                  <a:lnTo>
                    <a:pt x="3738" y="609"/>
                  </a:lnTo>
                  <a:lnTo>
                    <a:pt x="3747" y="603"/>
                  </a:lnTo>
                  <a:lnTo>
                    <a:pt x="3756" y="600"/>
                  </a:lnTo>
                  <a:lnTo>
                    <a:pt x="3766" y="594"/>
                  </a:lnTo>
                  <a:lnTo>
                    <a:pt x="3775" y="590"/>
                  </a:lnTo>
                  <a:lnTo>
                    <a:pt x="3797" y="575"/>
                  </a:lnTo>
                  <a:lnTo>
                    <a:pt x="3825" y="553"/>
                  </a:lnTo>
                  <a:lnTo>
                    <a:pt x="3850" y="534"/>
                  </a:lnTo>
                  <a:lnTo>
                    <a:pt x="3872" y="519"/>
                  </a:lnTo>
                  <a:lnTo>
                    <a:pt x="3894" y="512"/>
                  </a:lnTo>
                  <a:lnTo>
                    <a:pt x="3919" y="506"/>
                  </a:lnTo>
                  <a:lnTo>
                    <a:pt x="3941" y="500"/>
                  </a:lnTo>
                  <a:lnTo>
                    <a:pt x="3959" y="478"/>
                  </a:lnTo>
                  <a:lnTo>
                    <a:pt x="3981" y="447"/>
                  </a:lnTo>
                  <a:lnTo>
                    <a:pt x="4000" y="425"/>
                  </a:lnTo>
                  <a:lnTo>
                    <a:pt x="4022" y="409"/>
                  </a:lnTo>
                  <a:lnTo>
                    <a:pt x="4047" y="394"/>
                  </a:lnTo>
                  <a:lnTo>
                    <a:pt x="4072" y="378"/>
                  </a:lnTo>
                  <a:lnTo>
                    <a:pt x="4090" y="359"/>
                  </a:lnTo>
                  <a:lnTo>
                    <a:pt x="4103" y="334"/>
                  </a:lnTo>
                  <a:lnTo>
                    <a:pt x="4115" y="300"/>
                  </a:lnTo>
                  <a:lnTo>
                    <a:pt x="4122" y="272"/>
                  </a:lnTo>
                  <a:lnTo>
                    <a:pt x="4119" y="250"/>
                  </a:lnTo>
                  <a:lnTo>
                    <a:pt x="4112" y="222"/>
                  </a:lnTo>
                  <a:lnTo>
                    <a:pt x="4106" y="197"/>
                  </a:lnTo>
                  <a:lnTo>
                    <a:pt x="4109" y="175"/>
                  </a:lnTo>
                  <a:lnTo>
                    <a:pt x="4112" y="169"/>
                  </a:lnTo>
                  <a:lnTo>
                    <a:pt x="4119" y="163"/>
                  </a:lnTo>
                  <a:lnTo>
                    <a:pt x="4128" y="153"/>
                  </a:lnTo>
                  <a:lnTo>
                    <a:pt x="4137" y="147"/>
                  </a:lnTo>
                  <a:lnTo>
                    <a:pt x="4144" y="144"/>
                  </a:lnTo>
                  <a:lnTo>
                    <a:pt x="4165" y="134"/>
                  </a:lnTo>
                  <a:lnTo>
                    <a:pt x="4190" y="122"/>
                  </a:lnTo>
                  <a:lnTo>
                    <a:pt x="4209" y="110"/>
                  </a:lnTo>
                  <a:lnTo>
                    <a:pt x="4215" y="94"/>
                  </a:lnTo>
                  <a:lnTo>
                    <a:pt x="4215" y="72"/>
                  </a:lnTo>
                  <a:lnTo>
                    <a:pt x="4215" y="50"/>
                  </a:lnTo>
                  <a:lnTo>
                    <a:pt x="4222" y="35"/>
                  </a:lnTo>
                  <a:lnTo>
                    <a:pt x="4237" y="28"/>
                  </a:lnTo>
                  <a:lnTo>
                    <a:pt x="4256" y="28"/>
                  </a:lnTo>
                  <a:lnTo>
                    <a:pt x="4275" y="22"/>
                  </a:lnTo>
                  <a:lnTo>
                    <a:pt x="4284" y="19"/>
                  </a:lnTo>
                  <a:lnTo>
                    <a:pt x="4293" y="10"/>
                  </a:lnTo>
                  <a:lnTo>
                    <a:pt x="4303" y="0"/>
                  </a:lnTo>
                  <a:lnTo>
                    <a:pt x="4315" y="6"/>
                  </a:lnTo>
                  <a:lnTo>
                    <a:pt x="4340" y="13"/>
                  </a:lnTo>
                  <a:lnTo>
                    <a:pt x="4372" y="16"/>
                  </a:lnTo>
                  <a:lnTo>
                    <a:pt x="4403" y="19"/>
                  </a:lnTo>
                  <a:lnTo>
                    <a:pt x="4431" y="19"/>
                  </a:lnTo>
                  <a:lnTo>
                    <a:pt x="4456" y="25"/>
                  </a:lnTo>
                  <a:lnTo>
                    <a:pt x="4487" y="35"/>
                  </a:lnTo>
                  <a:lnTo>
                    <a:pt x="4512" y="47"/>
                  </a:lnTo>
                  <a:lnTo>
                    <a:pt x="4525" y="60"/>
                  </a:lnTo>
                  <a:lnTo>
                    <a:pt x="4534" y="81"/>
                  </a:lnTo>
                  <a:lnTo>
                    <a:pt x="4543" y="103"/>
                  </a:lnTo>
                  <a:lnTo>
                    <a:pt x="4546" y="122"/>
                  </a:lnTo>
                  <a:lnTo>
                    <a:pt x="4543" y="144"/>
                  </a:lnTo>
                  <a:lnTo>
                    <a:pt x="4531" y="169"/>
                  </a:lnTo>
                  <a:lnTo>
                    <a:pt x="4518" y="191"/>
                  </a:lnTo>
                  <a:lnTo>
                    <a:pt x="4512" y="213"/>
                  </a:lnTo>
                  <a:lnTo>
                    <a:pt x="4509" y="231"/>
                  </a:lnTo>
                  <a:lnTo>
                    <a:pt x="4506" y="256"/>
                  </a:lnTo>
                  <a:lnTo>
                    <a:pt x="4506" y="281"/>
                  </a:lnTo>
                  <a:lnTo>
                    <a:pt x="4512" y="297"/>
                  </a:lnTo>
                  <a:lnTo>
                    <a:pt x="4534" y="306"/>
                  </a:lnTo>
                  <a:lnTo>
                    <a:pt x="4562" y="312"/>
                  </a:lnTo>
                  <a:lnTo>
                    <a:pt x="4596" y="312"/>
                  </a:lnTo>
                  <a:lnTo>
                    <a:pt x="4628" y="306"/>
                  </a:lnTo>
                  <a:lnTo>
                    <a:pt x="4649" y="297"/>
                  </a:lnTo>
                  <a:lnTo>
                    <a:pt x="4659" y="284"/>
                  </a:lnTo>
                  <a:lnTo>
                    <a:pt x="4662" y="266"/>
                  </a:lnTo>
                  <a:lnTo>
                    <a:pt x="4665" y="244"/>
                  </a:lnTo>
                  <a:lnTo>
                    <a:pt x="4668" y="225"/>
                  </a:lnTo>
                  <a:lnTo>
                    <a:pt x="4678" y="213"/>
                  </a:lnTo>
                  <a:lnTo>
                    <a:pt x="4696" y="206"/>
                  </a:lnTo>
                  <a:lnTo>
                    <a:pt x="4721" y="206"/>
                  </a:lnTo>
                  <a:lnTo>
                    <a:pt x="4746" y="209"/>
                  </a:lnTo>
                  <a:lnTo>
                    <a:pt x="4768" y="213"/>
                  </a:lnTo>
                  <a:lnTo>
                    <a:pt x="4790" y="219"/>
                  </a:lnTo>
                  <a:lnTo>
                    <a:pt x="4815" y="225"/>
                  </a:lnTo>
                  <a:lnTo>
                    <a:pt x="4840" y="234"/>
                  </a:lnTo>
                  <a:lnTo>
                    <a:pt x="4862" y="238"/>
                  </a:lnTo>
                  <a:lnTo>
                    <a:pt x="4881" y="234"/>
                  </a:lnTo>
                  <a:lnTo>
                    <a:pt x="4902" y="231"/>
                  </a:lnTo>
                  <a:lnTo>
                    <a:pt x="4924" y="225"/>
                  </a:lnTo>
                  <a:lnTo>
                    <a:pt x="4943" y="225"/>
                  </a:lnTo>
                  <a:lnTo>
                    <a:pt x="4965" y="231"/>
                  </a:lnTo>
                  <a:lnTo>
                    <a:pt x="4993" y="241"/>
                  </a:lnTo>
                  <a:lnTo>
                    <a:pt x="5009" y="253"/>
                  </a:lnTo>
                  <a:lnTo>
                    <a:pt x="5015" y="272"/>
                  </a:lnTo>
                  <a:lnTo>
                    <a:pt x="5012" y="297"/>
                  </a:lnTo>
                  <a:lnTo>
                    <a:pt x="5009" y="325"/>
                  </a:lnTo>
                  <a:lnTo>
                    <a:pt x="5005" y="350"/>
                  </a:lnTo>
                  <a:lnTo>
                    <a:pt x="5009" y="369"/>
                  </a:lnTo>
                  <a:lnTo>
                    <a:pt x="5024" y="384"/>
                  </a:lnTo>
                  <a:lnTo>
                    <a:pt x="5049" y="397"/>
                  </a:lnTo>
                  <a:lnTo>
                    <a:pt x="5068" y="406"/>
                  </a:lnTo>
                  <a:lnTo>
                    <a:pt x="5087" y="406"/>
                  </a:lnTo>
                  <a:lnTo>
                    <a:pt x="5108" y="406"/>
                  </a:lnTo>
                  <a:lnTo>
                    <a:pt x="5127" y="406"/>
                  </a:lnTo>
                  <a:lnTo>
                    <a:pt x="5143" y="416"/>
                  </a:lnTo>
                  <a:lnTo>
                    <a:pt x="5162" y="428"/>
                  </a:lnTo>
                  <a:lnTo>
                    <a:pt x="5177" y="444"/>
                  </a:lnTo>
                  <a:lnTo>
                    <a:pt x="5187" y="456"/>
                  </a:lnTo>
                  <a:lnTo>
                    <a:pt x="5180" y="472"/>
                  </a:lnTo>
                  <a:lnTo>
                    <a:pt x="5165" y="490"/>
                  </a:lnTo>
                  <a:lnTo>
                    <a:pt x="5149" y="509"/>
                  </a:lnTo>
                  <a:lnTo>
                    <a:pt x="5146" y="525"/>
                  </a:lnTo>
                  <a:lnTo>
                    <a:pt x="5155" y="540"/>
                  </a:lnTo>
                  <a:lnTo>
                    <a:pt x="5177" y="556"/>
                  </a:lnTo>
                  <a:lnTo>
                    <a:pt x="5199" y="569"/>
                  </a:lnTo>
                  <a:lnTo>
                    <a:pt x="5218" y="578"/>
                  </a:lnTo>
                  <a:lnTo>
                    <a:pt x="5243" y="581"/>
                  </a:lnTo>
                  <a:lnTo>
                    <a:pt x="5268" y="578"/>
                  </a:lnTo>
                  <a:lnTo>
                    <a:pt x="5296" y="575"/>
                  </a:lnTo>
                  <a:lnTo>
                    <a:pt x="5318" y="578"/>
                  </a:lnTo>
                  <a:lnTo>
                    <a:pt x="5340" y="590"/>
                  </a:lnTo>
                  <a:lnTo>
                    <a:pt x="5358" y="612"/>
                  </a:lnTo>
                  <a:lnTo>
                    <a:pt x="5374" y="631"/>
                  </a:lnTo>
                  <a:lnTo>
                    <a:pt x="5380" y="637"/>
                  </a:lnTo>
                  <a:lnTo>
                    <a:pt x="5386" y="640"/>
                  </a:lnTo>
                  <a:lnTo>
                    <a:pt x="5393" y="647"/>
                  </a:lnTo>
                  <a:lnTo>
                    <a:pt x="5399" y="653"/>
                  </a:lnTo>
                  <a:lnTo>
                    <a:pt x="5405" y="659"/>
                  </a:lnTo>
                  <a:lnTo>
                    <a:pt x="5405" y="665"/>
                  </a:lnTo>
                  <a:lnTo>
                    <a:pt x="5399" y="678"/>
                  </a:lnTo>
                  <a:lnTo>
                    <a:pt x="5383" y="687"/>
                  </a:lnTo>
                  <a:lnTo>
                    <a:pt x="5361" y="700"/>
                  </a:lnTo>
                  <a:lnTo>
                    <a:pt x="5343" y="712"/>
                  </a:lnTo>
                  <a:lnTo>
                    <a:pt x="5333" y="725"/>
                  </a:lnTo>
                  <a:lnTo>
                    <a:pt x="5333" y="740"/>
                  </a:lnTo>
                  <a:lnTo>
                    <a:pt x="5336" y="759"/>
                  </a:lnTo>
                  <a:lnTo>
                    <a:pt x="5346" y="778"/>
                  </a:lnTo>
                  <a:lnTo>
                    <a:pt x="5355" y="790"/>
                  </a:lnTo>
                  <a:lnTo>
                    <a:pt x="5371" y="790"/>
                  </a:lnTo>
                  <a:lnTo>
                    <a:pt x="5390" y="781"/>
                  </a:lnTo>
                  <a:lnTo>
                    <a:pt x="5411" y="768"/>
                  </a:lnTo>
                  <a:lnTo>
                    <a:pt x="5430" y="759"/>
                  </a:lnTo>
                  <a:lnTo>
                    <a:pt x="5443" y="762"/>
                  </a:lnTo>
                  <a:lnTo>
                    <a:pt x="5452" y="775"/>
                  </a:lnTo>
                  <a:lnTo>
                    <a:pt x="5455" y="796"/>
                  </a:lnTo>
                  <a:lnTo>
                    <a:pt x="5452" y="818"/>
                  </a:lnTo>
                  <a:lnTo>
                    <a:pt x="5449" y="837"/>
                  </a:lnTo>
                  <a:lnTo>
                    <a:pt x="5436" y="856"/>
                  </a:lnTo>
                  <a:lnTo>
                    <a:pt x="5411" y="878"/>
                  </a:lnTo>
                  <a:lnTo>
                    <a:pt x="5390" y="893"/>
                  </a:lnTo>
                  <a:lnTo>
                    <a:pt x="5374" y="893"/>
                  </a:lnTo>
                  <a:lnTo>
                    <a:pt x="5352" y="890"/>
                  </a:lnTo>
                  <a:lnTo>
                    <a:pt x="5333" y="887"/>
                  </a:lnTo>
                  <a:lnTo>
                    <a:pt x="5318" y="893"/>
                  </a:lnTo>
                  <a:lnTo>
                    <a:pt x="5308" y="909"/>
                  </a:lnTo>
                  <a:lnTo>
                    <a:pt x="5302" y="937"/>
                  </a:lnTo>
                  <a:lnTo>
                    <a:pt x="5302" y="965"/>
                  </a:lnTo>
                  <a:lnTo>
                    <a:pt x="5302" y="987"/>
                  </a:lnTo>
                  <a:lnTo>
                    <a:pt x="5315" y="1006"/>
                  </a:lnTo>
                  <a:lnTo>
                    <a:pt x="5333" y="1028"/>
                  </a:lnTo>
                  <a:lnTo>
                    <a:pt x="5346" y="1046"/>
                  </a:lnTo>
                  <a:lnTo>
                    <a:pt x="5346" y="1065"/>
                  </a:lnTo>
                  <a:lnTo>
                    <a:pt x="5346" y="1090"/>
                  </a:lnTo>
                  <a:lnTo>
                    <a:pt x="5340" y="1112"/>
                  </a:lnTo>
                  <a:lnTo>
                    <a:pt x="5336" y="1131"/>
                  </a:lnTo>
                  <a:lnTo>
                    <a:pt x="5327" y="1156"/>
                  </a:lnTo>
                  <a:lnTo>
                    <a:pt x="5318" y="1181"/>
                  </a:lnTo>
                  <a:lnTo>
                    <a:pt x="5305" y="1206"/>
                  </a:lnTo>
                  <a:lnTo>
                    <a:pt x="5302" y="1231"/>
                  </a:lnTo>
                  <a:lnTo>
                    <a:pt x="5308" y="1237"/>
                  </a:lnTo>
                  <a:lnTo>
                    <a:pt x="5315" y="1246"/>
                  </a:lnTo>
                  <a:lnTo>
                    <a:pt x="5324" y="1252"/>
                  </a:lnTo>
                  <a:lnTo>
                    <a:pt x="5333" y="1262"/>
                  </a:lnTo>
                  <a:lnTo>
                    <a:pt x="5340" y="1268"/>
                  </a:lnTo>
                  <a:lnTo>
                    <a:pt x="5346" y="1274"/>
                  </a:lnTo>
                  <a:lnTo>
                    <a:pt x="5355" y="1293"/>
                  </a:lnTo>
                  <a:lnTo>
                    <a:pt x="5365" y="1318"/>
                  </a:lnTo>
                  <a:lnTo>
                    <a:pt x="5374" y="1340"/>
                  </a:lnTo>
                  <a:lnTo>
                    <a:pt x="5386" y="1355"/>
                  </a:lnTo>
                  <a:lnTo>
                    <a:pt x="5402" y="1365"/>
                  </a:lnTo>
                  <a:lnTo>
                    <a:pt x="5424" y="1368"/>
                  </a:lnTo>
                  <a:lnTo>
                    <a:pt x="5443" y="1371"/>
                  </a:lnTo>
                  <a:lnTo>
                    <a:pt x="5461" y="1365"/>
                  </a:lnTo>
                  <a:lnTo>
                    <a:pt x="5486" y="1355"/>
                  </a:lnTo>
                  <a:lnTo>
                    <a:pt x="5511" y="1346"/>
                  </a:lnTo>
                  <a:lnTo>
                    <a:pt x="5530" y="1343"/>
                  </a:lnTo>
                  <a:lnTo>
                    <a:pt x="5539" y="1343"/>
                  </a:lnTo>
                  <a:lnTo>
                    <a:pt x="5549" y="1343"/>
                  </a:lnTo>
                  <a:lnTo>
                    <a:pt x="5558" y="1346"/>
                  </a:lnTo>
                  <a:lnTo>
                    <a:pt x="5564" y="1352"/>
                  </a:lnTo>
                  <a:lnTo>
                    <a:pt x="5571" y="1371"/>
                  </a:lnTo>
                  <a:lnTo>
                    <a:pt x="5574" y="1396"/>
                  </a:lnTo>
                  <a:lnTo>
                    <a:pt x="5571" y="1415"/>
                  </a:lnTo>
                  <a:lnTo>
                    <a:pt x="5568" y="1424"/>
                  </a:lnTo>
                  <a:lnTo>
                    <a:pt x="5561" y="1430"/>
                  </a:lnTo>
                  <a:lnTo>
                    <a:pt x="5552" y="1440"/>
                  </a:lnTo>
                  <a:lnTo>
                    <a:pt x="5543" y="1446"/>
                  </a:lnTo>
                  <a:lnTo>
                    <a:pt x="5536" y="1455"/>
                  </a:lnTo>
                  <a:lnTo>
                    <a:pt x="5530" y="1462"/>
                  </a:lnTo>
                  <a:lnTo>
                    <a:pt x="5527" y="1480"/>
                  </a:lnTo>
                  <a:lnTo>
                    <a:pt x="5527" y="1505"/>
                  </a:lnTo>
                  <a:lnTo>
                    <a:pt x="5530" y="1524"/>
                  </a:lnTo>
                  <a:lnTo>
                    <a:pt x="5546" y="1533"/>
                  </a:lnTo>
                  <a:lnTo>
                    <a:pt x="5568" y="1540"/>
                  </a:lnTo>
                  <a:lnTo>
                    <a:pt x="5593" y="1543"/>
                  </a:lnTo>
                  <a:lnTo>
                    <a:pt x="5614" y="1549"/>
                  </a:lnTo>
                  <a:lnTo>
                    <a:pt x="5630" y="1555"/>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53" name="Freeform 35">
              <a:extLst>
                <a:ext uri="{FF2B5EF4-FFF2-40B4-BE49-F238E27FC236}">
                  <a16:creationId xmlns:a16="http://schemas.microsoft.com/office/drawing/2014/main" id="{9C7A0C01-E69B-4D4C-AC8D-B85313A325C2}"/>
                </a:ext>
              </a:extLst>
            </p:cNvPr>
            <p:cNvSpPr>
              <a:spLocks/>
            </p:cNvSpPr>
            <p:nvPr/>
          </p:nvSpPr>
          <p:spPr bwMode="auto">
            <a:xfrm>
              <a:off x="28313063" y="-6429375"/>
              <a:ext cx="4778375" cy="6642100"/>
            </a:xfrm>
            <a:custGeom>
              <a:avLst/>
              <a:gdLst>
                <a:gd name="T0" fmla="*/ 225 w 3010"/>
                <a:gd name="T1" fmla="*/ 887 h 4184"/>
                <a:gd name="T2" fmla="*/ 368 w 3010"/>
                <a:gd name="T3" fmla="*/ 812 h 4184"/>
                <a:gd name="T4" fmla="*/ 546 w 3010"/>
                <a:gd name="T5" fmla="*/ 831 h 4184"/>
                <a:gd name="T6" fmla="*/ 687 w 3010"/>
                <a:gd name="T7" fmla="*/ 668 h 4184"/>
                <a:gd name="T8" fmla="*/ 699 w 3010"/>
                <a:gd name="T9" fmla="*/ 484 h 4184"/>
                <a:gd name="T10" fmla="*/ 846 w 3010"/>
                <a:gd name="T11" fmla="*/ 365 h 4184"/>
                <a:gd name="T12" fmla="*/ 980 w 3010"/>
                <a:gd name="T13" fmla="*/ 197 h 4184"/>
                <a:gd name="T14" fmla="*/ 1074 w 3010"/>
                <a:gd name="T15" fmla="*/ 144 h 4184"/>
                <a:gd name="T16" fmla="*/ 1221 w 3010"/>
                <a:gd name="T17" fmla="*/ 87 h 4184"/>
                <a:gd name="T18" fmla="*/ 1361 w 3010"/>
                <a:gd name="T19" fmla="*/ 16 h 4184"/>
                <a:gd name="T20" fmla="*/ 1480 w 3010"/>
                <a:gd name="T21" fmla="*/ 203 h 4184"/>
                <a:gd name="T22" fmla="*/ 1764 w 3010"/>
                <a:gd name="T23" fmla="*/ 125 h 4184"/>
                <a:gd name="T24" fmla="*/ 1977 w 3010"/>
                <a:gd name="T25" fmla="*/ 234 h 4184"/>
                <a:gd name="T26" fmla="*/ 2155 w 3010"/>
                <a:gd name="T27" fmla="*/ 153 h 4184"/>
                <a:gd name="T28" fmla="*/ 2323 w 3010"/>
                <a:gd name="T29" fmla="*/ 319 h 4184"/>
                <a:gd name="T30" fmla="*/ 2545 w 3010"/>
                <a:gd name="T31" fmla="*/ 437 h 4184"/>
                <a:gd name="T32" fmla="*/ 2745 w 3010"/>
                <a:gd name="T33" fmla="*/ 546 h 4184"/>
                <a:gd name="T34" fmla="*/ 2873 w 3010"/>
                <a:gd name="T35" fmla="*/ 803 h 4184"/>
                <a:gd name="T36" fmla="*/ 3004 w 3010"/>
                <a:gd name="T37" fmla="*/ 1005 h 4184"/>
                <a:gd name="T38" fmla="*/ 2810 w 3010"/>
                <a:gd name="T39" fmla="*/ 1143 h 4184"/>
                <a:gd name="T40" fmla="*/ 2760 w 3010"/>
                <a:gd name="T41" fmla="*/ 1205 h 4184"/>
                <a:gd name="T42" fmla="*/ 2645 w 3010"/>
                <a:gd name="T43" fmla="*/ 1349 h 4184"/>
                <a:gd name="T44" fmla="*/ 2604 w 3010"/>
                <a:gd name="T45" fmla="*/ 1468 h 4184"/>
                <a:gd name="T46" fmla="*/ 2845 w 3010"/>
                <a:gd name="T47" fmla="*/ 1483 h 4184"/>
                <a:gd name="T48" fmla="*/ 2717 w 3010"/>
                <a:gd name="T49" fmla="*/ 1614 h 4184"/>
                <a:gd name="T50" fmla="*/ 2539 w 3010"/>
                <a:gd name="T51" fmla="*/ 1858 h 4184"/>
                <a:gd name="T52" fmla="*/ 2342 w 3010"/>
                <a:gd name="T53" fmla="*/ 2145 h 4184"/>
                <a:gd name="T54" fmla="*/ 2183 w 3010"/>
                <a:gd name="T55" fmla="*/ 2345 h 4184"/>
                <a:gd name="T56" fmla="*/ 1945 w 3010"/>
                <a:gd name="T57" fmla="*/ 2436 h 4184"/>
                <a:gd name="T58" fmla="*/ 1970 w 3010"/>
                <a:gd name="T59" fmla="*/ 2645 h 4184"/>
                <a:gd name="T60" fmla="*/ 1920 w 3010"/>
                <a:gd name="T61" fmla="*/ 2832 h 4184"/>
                <a:gd name="T62" fmla="*/ 1624 w 3010"/>
                <a:gd name="T63" fmla="*/ 3098 h 4184"/>
                <a:gd name="T64" fmla="*/ 1461 w 3010"/>
                <a:gd name="T65" fmla="*/ 3316 h 4184"/>
                <a:gd name="T66" fmla="*/ 1452 w 3010"/>
                <a:gd name="T67" fmla="*/ 3472 h 4184"/>
                <a:gd name="T68" fmla="*/ 1327 w 3010"/>
                <a:gd name="T69" fmla="*/ 3635 h 4184"/>
                <a:gd name="T70" fmla="*/ 1374 w 3010"/>
                <a:gd name="T71" fmla="*/ 3800 h 4184"/>
                <a:gd name="T72" fmla="*/ 1202 w 3010"/>
                <a:gd name="T73" fmla="*/ 4028 h 4184"/>
                <a:gd name="T74" fmla="*/ 946 w 3010"/>
                <a:gd name="T75" fmla="*/ 4144 h 4184"/>
                <a:gd name="T76" fmla="*/ 762 w 3010"/>
                <a:gd name="T77" fmla="*/ 3975 h 4184"/>
                <a:gd name="T78" fmla="*/ 603 w 3010"/>
                <a:gd name="T79" fmla="*/ 4109 h 4184"/>
                <a:gd name="T80" fmla="*/ 440 w 3010"/>
                <a:gd name="T81" fmla="*/ 4066 h 4184"/>
                <a:gd name="T82" fmla="*/ 325 w 3010"/>
                <a:gd name="T83" fmla="*/ 3966 h 4184"/>
                <a:gd name="T84" fmla="*/ 209 w 3010"/>
                <a:gd name="T85" fmla="*/ 3853 h 4184"/>
                <a:gd name="T86" fmla="*/ 253 w 3010"/>
                <a:gd name="T87" fmla="*/ 3672 h 4184"/>
                <a:gd name="T88" fmla="*/ 297 w 3010"/>
                <a:gd name="T89" fmla="*/ 3560 h 4184"/>
                <a:gd name="T90" fmla="*/ 272 w 3010"/>
                <a:gd name="T91" fmla="*/ 3401 h 4184"/>
                <a:gd name="T92" fmla="*/ 303 w 3010"/>
                <a:gd name="T93" fmla="*/ 3229 h 4184"/>
                <a:gd name="T94" fmla="*/ 243 w 3010"/>
                <a:gd name="T95" fmla="*/ 3048 h 4184"/>
                <a:gd name="T96" fmla="*/ 253 w 3010"/>
                <a:gd name="T97" fmla="*/ 2857 h 4184"/>
                <a:gd name="T98" fmla="*/ 278 w 3010"/>
                <a:gd name="T99" fmla="*/ 2695 h 4184"/>
                <a:gd name="T100" fmla="*/ 9 w 3010"/>
                <a:gd name="T101" fmla="*/ 2576 h 4184"/>
                <a:gd name="T102" fmla="*/ 84 w 3010"/>
                <a:gd name="T103" fmla="*/ 2448 h 4184"/>
                <a:gd name="T104" fmla="*/ 106 w 3010"/>
                <a:gd name="T105" fmla="*/ 2367 h 4184"/>
                <a:gd name="T106" fmla="*/ 237 w 3010"/>
                <a:gd name="T107" fmla="*/ 2223 h 4184"/>
                <a:gd name="T108" fmla="*/ 378 w 3010"/>
                <a:gd name="T109" fmla="*/ 1933 h 4184"/>
                <a:gd name="T110" fmla="*/ 406 w 3010"/>
                <a:gd name="T111" fmla="*/ 1677 h 4184"/>
                <a:gd name="T112" fmla="*/ 297 w 3010"/>
                <a:gd name="T113" fmla="*/ 1461 h 4184"/>
                <a:gd name="T114" fmla="*/ 350 w 3010"/>
                <a:gd name="T115" fmla="*/ 1215 h 4184"/>
                <a:gd name="T116" fmla="*/ 331 w 3010"/>
                <a:gd name="T117" fmla="*/ 1015 h 4184"/>
                <a:gd name="T118" fmla="*/ 272 w 3010"/>
                <a:gd name="T119" fmla="*/ 1002 h 4184"/>
                <a:gd name="T120" fmla="*/ 203 w 3010"/>
                <a:gd name="T121" fmla="*/ 1040 h 4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10" h="4184">
                  <a:moveTo>
                    <a:pt x="194" y="1021"/>
                  </a:moveTo>
                  <a:lnTo>
                    <a:pt x="190" y="1012"/>
                  </a:lnTo>
                  <a:lnTo>
                    <a:pt x="187" y="1002"/>
                  </a:lnTo>
                  <a:lnTo>
                    <a:pt x="184" y="996"/>
                  </a:lnTo>
                  <a:lnTo>
                    <a:pt x="181" y="974"/>
                  </a:lnTo>
                  <a:lnTo>
                    <a:pt x="181" y="952"/>
                  </a:lnTo>
                  <a:lnTo>
                    <a:pt x="187" y="931"/>
                  </a:lnTo>
                  <a:lnTo>
                    <a:pt x="190" y="924"/>
                  </a:lnTo>
                  <a:lnTo>
                    <a:pt x="200" y="915"/>
                  </a:lnTo>
                  <a:lnTo>
                    <a:pt x="209" y="906"/>
                  </a:lnTo>
                  <a:lnTo>
                    <a:pt x="219" y="896"/>
                  </a:lnTo>
                  <a:lnTo>
                    <a:pt x="225" y="887"/>
                  </a:lnTo>
                  <a:lnTo>
                    <a:pt x="228" y="881"/>
                  </a:lnTo>
                  <a:lnTo>
                    <a:pt x="231" y="868"/>
                  </a:lnTo>
                  <a:lnTo>
                    <a:pt x="234" y="856"/>
                  </a:lnTo>
                  <a:lnTo>
                    <a:pt x="237" y="846"/>
                  </a:lnTo>
                  <a:lnTo>
                    <a:pt x="240" y="837"/>
                  </a:lnTo>
                  <a:lnTo>
                    <a:pt x="256" y="824"/>
                  </a:lnTo>
                  <a:lnTo>
                    <a:pt x="278" y="815"/>
                  </a:lnTo>
                  <a:lnTo>
                    <a:pt x="297" y="806"/>
                  </a:lnTo>
                  <a:lnTo>
                    <a:pt x="318" y="806"/>
                  </a:lnTo>
                  <a:lnTo>
                    <a:pt x="340" y="803"/>
                  </a:lnTo>
                  <a:lnTo>
                    <a:pt x="362" y="806"/>
                  </a:lnTo>
                  <a:lnTo>
                    <a:pt x="368" y="812"/>
                  </a:lnTo>
                  <a:lnTo>
                    <a:pt x="378" y="818"/>
                  </a:lnTo>
                  <a:lnTo>
                    <a:pt x="384" y="827"/>
                  </a:lnTo>
                  <a:lnTo>
                    <a:pt x="393" y="837"/>
                  </a:lnTo>
                  <a:lnTo>
                    <a:pt x="400" y="846"/>
                  </a:lnTo>
                  <a:lnTo>
                    <a:pt x="409" y="852"/>
                  </a:lnTo>
                  <a:lnTo>
                    <a:pt x="431" y="859"/>
                  </a:lnTo>
                  <a:lnTo>
                    <a:pt x="456" y="868"/>
                  </a:lnTo>
                  <a:lnTo>
                    <a:pt x="478" y="868"/>
                  </a:lnTo>
                  <a:lnTo>
                    <a:pt x="493" y="862"/>
                  </a:lnTo>
                  <a:lnTo>
                    <a:pt x="512" y="849"/>
                  </a:lnTo>
                  <a:lnTo>
                    <a:pt x="531" y="840"/>
                  </a:lnTo>
                  <a:lnTo>
                    <a:pt x="546" y="831"/>
                  </a:lnTo>
                  <a:lnTo>
                    <a:pt x="565" y="834"/>
                  </a:lnTo>
                  <a:lnTo>
                    <a:pt x="590" y="837"/>
                  </a:lnTo>
                  <a:lnTo>
                    <a:pt x="615" y="843"/>
                  </a:lnTo>
                  <a:lnTo>
                    <a:pt x="634" y="840"/>
                  </a:lnTo>
                  <a:lnTo>
                    <a:pt x="649" y="824"/>
                  </a:lnTo>
                  <a:lnTo>
                    <a:pt x="662" y="806"/>
                  </a:lnTo>
                  <a:lnTo>
                    <a:pt x="671" y="787"/>
                  </a:lnTo>
                  <a:lnTo>
                    <a:pt x="681" y="768"/>
                  </a:lnTo>
                  <a:lnTo>
                    <a:pt x="690" y="743"/>
                  </a:lnTo>
                  <a:lnTo>
                    <a:pt x="696" y="721"/>
                  </a:lnTo>
                  <a:lnTo>
                    <a:pt x="693" y="696"/>
                  </a:lnTo>
                  <a:lnTo>
                    <a:pt x="687" y="668"/>
                  </a:lnTo>
                  <a:lnTo>
                    <a:pt x="684" y="643"/>
                  </a:lnTo>
                  <a:lnTo>
                    <a:pt x="684" y="634"/>
                  </a:lnTo>
                  <a:lnTo>
                    <a:pt x="684" y="625"/>
                  </a:lnTo>
                  <a:lnTo>
                    <a:pt x="687" y="615"/>
                  </a:lnTo>
                  <a:lnTo>
                    <a:pt x="690" y="606"/>
                  </a:lnTo>
                  <a:lnTo>
                    <a:pt x="690" y="596"/>
                  </a:lnTo>
                  <a:lnTo>
                    <a:pt x="690" y="578"/>
                  </a:lnTo>
                  <a:lnTo>
                    <a:pt x="687" y="553"/>
                  </a:lnTo>
                  <a:lnTo>
                    <a:pt x="684" y="531"/>
                  </a:lnTo>
                  <a:lnTo>
                    <a:pt x="684" y="509"/>
                  </a:lnTo>
                  <a:lnTo>
                    <a:pt x="687" y="490"/>
                  </a:lnTo>
                  <a:lnTo>
                    <a:pt x="699" y="484"/>
                  </a:lnTo>
                  <a:lnTo>
                    <a:pt x="721" y="481"/>
                  </a:lnTo>
                  <a:lnTo>
                    <a:pt x="740" y="478"/>
                  </a:lnTo>
                  <a:lnTo>
                    <a:pt x="752" y="475"/>
                  </a:lnTo>
                  <a:lnTo>
                    <a:pt x="768" y="456"/>
                  </a:lnTo>
                  <a:lnTo>
                    <a:pt x="777" y="428"/>
                  </a:lnTo>
                  <a:lnTo>
                    <a:pt x="790" y="400"/>
                  </a:lnTo>
                  <a:lnTo>
                    <a:pt x="802" y="381"/>
                  </a:lnTo>
                  <a:lnTo>
                    <a:pt x="812" y="378"/>
                  </a:lnTo>
                  <a:lnTo>
                    <a:pt x="821" y="375"/>
                  </a:lnTo>
                  <a:lnTo>
                    <a:pt x="831" y="372"/>
                  </a:lnTo>
                  <a:lnTo>
                    <a:pt x="840" y="368"/>
                  </a:lnTo>
                  <a:lnTo>
                    <a:pt x="846" y="365"/>
                  </a:lnTo>
                  <a:lnTo>
                    <a:pt x="874" y="350"/>
                  </a:lnTo>
                  <a:lnTo>
                    <a:pt x="902" y="328"/>
                  </a:lnTo>
                  <a:lnTo>
                    <a:pt x="924" y="306"/>
                  </a:lnTo>
                  <a:lnTo>
                    <a:pt x="930" y="287"/>
                  </a:lnTo>
                  <a:lnTo>
                    <a:pt x="934" y="262"/>
                  </a:lnTo>
                  <a:lnTo>
                    <a:pt x="940" y="240"/>
                  </a:lnTo>
                  <a:lnTo>
                    <a:pt x="946" y="234"/>
                  </a:lnTo>
                  <a:lnTo>
                    <a:pt x="955" y="228"/>
                  </a:lnTo>
                  <a:lnTo>
                    <a:pt x="965" y="222"/>
                  </a:lnTo>
                  <a:lnTo>
                    <a:pt x="971" y="215"/>
                  </a:lnTo>
                  <a:lnTo>
                    <a:pt x="977" y="206"/>
                  </a:lnTo>
                  <a:lnTo>
                    <a:pt x="980" y="197"/>
                  </a:lnTo>
                  <a:lnTo>
                    <a:pt x="996" y="194"/>
                  </a:lnTo>
                  <a:lnTo>
                    <a:pt x="1009" y="194"/>
                  </a:lnTo>
                  <a:lnTo>
                    <a:pt x="1018" y="190"/>
                  </a:lnTo>
                  <a:lnTo>
                    <a:pt x="1027" y="190"/>
                  </a:lnTo>
                  <a:lnTo>
                    <a:pt x="1037" y="187"/>
                  </a:lnTo>
                  <a:lnTo>
                    <a:pt x="1046" y="187"/>
                  </a:lnTo>
                  <a:lnTo>
                    <a:pt x="1055" y="181"/>
                  </a:lnTo>
                  <a:lnTo>
                    <a:pt x="1059" y="178"/>
                  </a:lnTo>
                  <a:lnTo>
                    <a:pt x="1062" y="169"/>
                  </a:lnTo>
                  <a:lnTo>
                    <a:pt x="1065" y="159"/>
                  </a:lnTo>
                  <a:lnTo>
                    <a:pt x="1068" y="150"/>
                  </a:lnTo>
                  <a:lnTo>
                    <a:pt x="1074" y="144"/>
                  </a:lnTo>
                  <a:lnTo>
                    <a:pt x="1077" y="137"/>
                  </a:lnTo>
                  <a:lnTo>
                    <a:pt x="1090" y="134"/>
                  </a:lnTo>
                  <a:lnTo>
                    <a:pt x="1108" y="137"/>
                  </a:lnTo>
                  <a:lnTo>
                    <a:pt x="1127" y="141"/>
                  </a:lnTo>
                  <a:lnTo>
                    <a:pt x="1143" y="137"/>
                  </a:lnTo>
                  <a:lnTo>
                    <a:pt x="1149" y="134"/>
                  </a:lnTo>
                  <a:lnTo>
                    <a:pt x="1158" y="125"/>
                  </a:lnTo>
                  <a:lnTo>
                    <a:pt x="1168" y="116"/>
                  </a:lnTo>
                  <a:lnTo>
                    <a:pt x="1177" y="106"/>
                  </a:lnTo>
                  <a:lnTo>
                    <a:pt x="1183" y="100"/>
                  </a:lnTo>
                  <a:lnTo>
                    <a:pt x="1202" y="94"/>
                  </a:lnTo>
                  <a:lnTo>
                    <a:pt x="1221" y="87"/>
                  </a:lnTo>
                  <a:lnTo>
                    <a:pt x="1237" y="81"/>
                  </a:lnTo>
                  <a:lnTo>
                    <a:pt x="1246" y="62"/>
                  </a:lnTo>
                  <a:lnTo>
                    <a:pt x="1252" y="41"/>
                  </a:lnTo>
                  <a:lnTo>
                    <a:pt x="1261" y="16"/>
                  </a:lnTo>
                  <a:lnTo>
                    <a:pt x="1271" y="0"/>
                  </a:lnTo>
                  <a:lnTo>
                    <a:pt x="1277" y="0"/>
                  </a:lnTo>
                  <a:lnTo>
                    <a:pt x="1283" y="0"/>
                  </a:lnTo>
                  <a:lnTo>
                    <a:pt x="1293" y="0"/>
                  </a:lnTo>
                  <a:lnTo>
                    <a:pt x="1299" y="0"/>
                  </a:lnTo>
                  <a:lnTo>
                    <a:pt x="1305" y="0"/>
                  </a:lnTo>
                  <a:lnTo>
                    <a:pt x="1330" y="6"/>
                  </a:lnTo>
                  <a:lnTo>
                    <a:pt x="1361" y="16"/>
                  </a:lnTo>
                  <a:lnTo>
                    <a:pt x="1393" y="28"/>
                  </a:lnTo>
                  <a:lnTo>
                    <a:pt x="1411" y="44"/>
                  </a:lnTo>
                  <a:lnTo>
                    <a:pt x="1418" y="62"/>
                  </a:lnTo>
                  <a:lnTo>
                    <a:pt x="1421" y="84"/>
                  </a:lnTo>
                  <a:lnTo>
                    <a:pt x="1424" y="106"/>
                  </a:lnTo>
                  <a:lnTo>
                    <a:pt x="1424" y="125"/>
                  </a:lnTo>
                  <a:lnTo>
                    <a:pt x="1430" y="144"/>
                  </a:lnTo>
                  <a:lnTo>
                    <a:pt x="1439" y="166"/>
                  </a:lnTo>
                  <a:lnTo>
                    <a:pt x="1446" y="187"/>
                  </a:lnTo>
                  <a:lnTo>
                    <a:pt x="1449" y="197"/>
                  </a:lnTo>
                  <a:lnTo>
                    <a:pt x="1458" y="200"/>
                  </a:lnTo>
                  <a:lnTo>
                    <a:pt x="1480" y="203"/>
                  </a:lnTo>
                  <a:lnTo>
                    <a:pt x="1508" y="203"/>
                  </a:lnTo>
                  <a:lnTo>
                    <a:pt x="1536" y="200"/>
                  </a:lnTo>
                  <a:lnTo>
                    <a:pt x="1558" y="197"/>
                  </a:lnTo>
                  <a:lnTo>
                    <a:pt x="1577" y="190"/>
                  </a:lnTo>
                  <a:lnTo>
                    <a:pt x="1599" y="184"/>
                  </a:lnTo>
                  <a:lnTo>
                    <a:pt x="1617" y="175"/>
                  </a:lnTo>
                  <a:lnTo>
                    <a:pt x="1636" y="162"/>
                  </a:lnTo>
                  <a:lnTo>
                    <a:pt x="1655" y="150"/>
                  </a:lnTo>
                  <a:lnTo>
                    <a:pt x="1677" y="137"/>
                  </a:lnTo>
                  <a:lnTo>
                    <a:pt x="1702" y="131"/>
                  </a:lnTo>
                  <a:lnTo>
                    <a:pt x="1733" y="125"/>
                  </a:lnTo>
                  <a:lnTo>
                    <a:pt x="1764" y="125"/>
                  </a:lnTo>
                  <a:lnTo>
                    <a:pt x="1789" y="125"/>
                  </a:lnTo>
                  <a:lnTo>
                    <a:pt x="1799" y="128"/>
                  </a:lnTo>
                  <a:lnTo>
                    <a:pt x="1811" y="134"/>
                  </a:lnTo>
                  <a:lnTo>
                    <a:pt x="1820" y="141"/>
                  </a:lnTo>
                  <a:lnTo>
                    <a:pt x="1830" y="150"/>
                  </a:lnTo>
                  <a:lnTo>
                    <a:pt x="1839" y="153"/>
                  </a:lnTo>
                  <a:lnTo>
                    <a:pt x="1858" y="172"/>
                  </a:lnTo>
                  <a:lnTo>
                    <a:pt x="1880" y="194"/>
                  </a:lnTo>
                  <a:lnTo>
                    <a:pt x="1902" y="215"/>
                  </a:lnTo>
                  <a:lnTo>
                    <a:pt x="1920" y="228"/>
                  </a:lnTo>
                  <a:lnTo>
                    <a:pt x="1945" y="234"/>
                  </a:lnTo>
                  <a:lnTo>
                    <a:pt x="1977" y="234"/>
                  </a:lnTo>
                  <a:lnTo>
                    <a:pt x="2002" y="234"/>
                  </a:lnTo>
                  <a:lnTo>
                    <a:pt x="2020" y="231"/>
                  </a:lnTo>
                  <a:lnTo>
                    <a:pt x="2039" y="225"/>
                  </a:lnTo>
                  <a:lnTo>
                    <a:pt x="2055" y="215"/>
                  </a:lnTo>
                  <a:lnTo>
                    <a:pt x="2073" y="197"/>
                  </a:lnTo>
                  <a:lnTo>
                    <a:pt x="2089" y="172"/>
                  </a:lnTo>
                  <a:lnTo>
                    <a:pt x="2105" y="153"/>
                  </a:lnTo>
                  <a:lnTo>
                    <a:pt x="2114" y="153"/>
                  </a:lnTo>
                  <a:lnTo>
                    <a:pt x="2123" y="150"/>
                  </a:lnTo>
                  <a:lnTo>
                    <a:pt x="2133" y="150"/>
                  </a:lnTo>
                  <a:lnTo>
                    <a:pt x="2145" y="153"/>
                  </a:lnTo>
                  <a:lnTo>
                    <a:pt x="2155" y="153"/>
                  </a:lnTo>
                  <a:lnTo>
                    <a:pt x="2173" y="166"/>
                  </a:lnTo>
                  <a:lnTo>
                    <a:pt x="2195" y="181"/>
                  </a:lnTo>
                  <a:lnTo>
                    <a:pt x="2217" y="200"/>
                  </a:lnTo>
                  <a:lnTo>
                    <a:pt x="2236" y="215"/>
                  </a:lnTo>
                  <a:lnTo>
                    <a:pt x="2251" y="237"/>
                  </a:lnTo>
                  <a:lnTo>
                    <a:pt x="2270" y="262"/>
                  </a:lnTo>
                  <a:lnTo>
                    <a:pt x="2286" y="281"/>
                  </a:lnTo>
                  <a:lnTo>
                    <a:pt x="2292" y="287"/>
                  </a:lnTo>
                  <a:lnTo>
                    <a:pt x="2298" y="297"/>
                  </a:lnTo>
                  <a:lnTo>
                    <a:pt x="2308" y="306"/>
                  </a:lnTo>
                  <a:lnTo>
                    <a:pt x="2314" y="312"/>
                  </a:lnTo>
                  <a:lnTo>
                    <a:pt x="2323" y="319"/>
                  </a:lnTo>
                  <a:lnTo>
                    <a:pt x="2345" y="328"/>
                  </a:lnTo>
                  <a:lnTo>
                    <a:pt x="2376" y="334"/>
                  </a:lnTo>
                  <a:lnTo>
                    <a:pt x="2404" y="340"/>
                  </a:lnTo>
                  <a:lnTo>
                    <a:pt x="2429" y="350"/>
                  </a:lnTo>
                  <a:lnTo>
                    <a:pt x="2448" y="359"/>
                  </a:lnTo>
                  <a:lnTo>
                    <a:pt x="2470" y="378"/>
                  </a:lnTo>
                  <a:lnTo>
                    <a:pt x="2492" y="397"/>
                  </a:lnTo>
                  <a:lnTo>
                    <a:pt x="2511" y="412"/>
                  </a:lnTo>
                  <a:lnTo>
                    <a:pt x="2520" y="425"/>
                  </a:lnTo>
                  <a:lnTo>
                    <a:pt x="2529" y="431"/>
                  </a:lnTo>
                  <a:lnTo>
                    <a:pt x="2536" y="434"/>
                  </a:lnTo>
                  <a:lnTo>
                    <a:pt x="2545" y="437"/>
                  </a:lnTo>
                  <a:lnTo>
                    <a:pt x="2554" y="440"/>
                  </a:lnTo>
                  <a:lnTo>
                    <a:pt x="2564" y="443"/>
                  </a:lnTo>
                  <a:lnTo>
                    <a:pt x="2573" y="443"/>
                  </a:lnTo>
                  <a:lnTo>
                    <a:pt x="2579" y="450"/>
                  </a:lnTo>
                  <a:lnTo>
                    <a:pt x="2595" y="468"/>
                  </a:lnTo>
                  <a:lnTo>
                    <a:pt x="2611" y="497"/>
                  </a:lnTo>
                  <a:lnTo>
                    <a:pt x="2623" y="528"/>
                  </a:lnTo>
                  <a:lnTo>
                    <a:pt x="2642" y="546"/>
                  </a:lnTo>
                  <a:lnTo>
                    <a:pt x="2664" y="550"/>
                  </a:lnTo>
                  <a:lnTo>
                    <a:pt x="2692" y="546"/>
                  </a:lnTo>
                  <a:lnTo>
                    <a:pt x="2723" y="543"/>
                  </a:lnTo>
                  <a:lnTo>
                    <a:pt x="2745" y="546"/>
                  </a:lnTo>
                  <a:lnTo>
                    <a:pt x="2767" y="553"/>
                  </a:lnTo>
                  <a:lnTo>
                    <a:pt x="2788" y="568"/>
                  </a:lnTo>
                  <a:lnTo>
                    <a:pt x="2807" y="581"/>
                  </a:lnTo>
                  <a:lnTo>
                    <a:pt x="2823" y="596"/>
                  </a:lnTo>
                  <a:lnTo>
                    <a:pt x="2835" y="615"/>
                  </a:lnTo>
                  <a:lnTo>
                    <a:pt x="2845" y="631"/>
                  </a:lnTo>
                  <a:lnTo>
                    <a:pt x="2848" y="659"/>
                  </a:lnTo>
                  <a:lnTo>
                    <a:pt x="2845" y="693"/>
                  </a:lnTo>
                  <a:lnTo>
                    <a:pt x="2845" y="728"/>
                  </a:lnTo>
                  <a:lnTo>
                    <a:pt x="2845" y="756"/>
                  </a:lnTo>
                  <a:lnTo>
                    <a:pt x="2857" y="778"/>
                  </a:lnTo>
                  <a:lnTo>
                    <a:pt x="2873" y="803"/>
                  </a:lnTo>
                  <a:lnTo>
                    <a:pt x="2892" y="827"/>
                  </a:lnTo>
                  <a:lnTo>
                    <a:pt x="2904" y="849"/>
                  </a:lnTo>
                  <a:lnTo>
                    <a:pt x="2913" y="871"/>
                  </a:lnTo>
                  <a:lnTo>
                    <a:pt x="2926" y="896"/>
                  </a:lnTo>
                  <a:lnTo>
                    <a:pt x="2938" y="915"/>
                  </a:lnTo>
                  <a:lnTo>
                    <a:pt x="2945" y="921"/>
                  </a:lnTo>
                  <a:lnTo>
                    <a:pt x="2954" y="927"/>
                  </a:lnTo>
                  <a:lnTo>
                    <a:pt x="2963" y="937"/>
                  </a:lnTo>
                  <a:lnTo>
                    <a:pt x="2976" y="943"/>
                  </a:lnTo>
                  <a:lnTo>
                    <a:pt x="2982" y="949"/>
                  </a:lnTo>
                  <a:lnTo>
                    <a:pt x="2995" y="974"/>
                  </a:lnTo>
                  <a:lnTo>
                    <a:pt x="3004" y="1005"/>
                  </a:lnTo>
                  <a:lnTo>
                    <a:pt x="3010" y="1030"/>
                  </a:lnTo>
                  <a:lnTo>
                    <a:pt x="3010" y="1059"/>
                  </a:lnTo>
                  <a:lnTo>
                    <a:pt x="3010" y="1096"/>
                  </a:lnTo>
                  <a:lnTo>
                    <a:pt x="3010" y="1130"/>
                  </a:lnTo>
                  <a:lnTo>
                    <a:pt x="2998" y="1127"/>
                  </a:lnTo>
                  <a:lnTo>
                    <a:pt x="2966" y="1121"/>
                  </a:lnTo>
                  <a:lnTo>
                    <a:pt x="2932" y="1118"/>
                  </a:lnTo>
                  <a:lnTo>
                    <a:pt x="2895" y="1118"/>
                  </a:lnTo>
                  <a:lnTo>
                    <a:pt x="2867" y="1121"/>
                  </a:lnTo>
                  <a:lnTo>
                    <a:pt x="2848" y="1127"/>
                  </a:lnTo>
                  <a:lnTo>
                    <a:pt x="2829" y="1137"/>
                  </a:lnTo>
                  <a:lnTo>
                    <a:pt x="2810" y="1143"/>
                  </a:lnTo>
                  <a:lnTo>
                    <a:pt x="2804" y="1146"/>
                  </a:lnTo>
                  <a:lnTo>
                    <a:pt x="2795" y="1146"/>
                  </a:lnTo>
                  <a:lnTo>
                    <a:pt x="2785" y="1149"/>
                  </a:lnTo>
                  <a:lnTo>
                    <a:pt x="2776" y="1149"/>
                  </a:lnTo>
                  <a:lnTo>
                    <a:pt x="2770" y="1152"/>
                  </a:lnTo>
                  <a:lnTo>
                    <a:pt x="2764" y="1155"/>
                  </a:lnTo>
                  <a:lnTo>
                    <a:pt x="2760" y="1162"/>
                  </a:lnTo>
                  <a:lnTo>
                    <a:pt x="2760" y="1171"/>
                  </a:lnTo>
                  <a:lnTo>
                    <a:pt x="2760" y="1180"/>
                  </a:lnTo>
                  <a:lnTo>
                    <a:pt x="2760" y="1190"/>
                  </a:lnTo>
                  <a:lnTo>
                    <a:pt x="2760" y="1196"/>
                  </a:lnTo>
                  <a:lnTo>
                    <a:pt x="2760" y="1205"/>
                  </a:lnTo>
                  <a:lnTo>
                    <a:pt x="2751" y="1224"/>
                  </a:lnTo>
                  <a:lnTo>
                    <a:pt x="2739" y="1249"/>
                  </a:lnTo>
                  <a:lnTo>
                    <a:pt x="2726" y="1265"/>
                  </a:lnTo>
                  <a:lnTo>
                    <a:pt x="2714" y="1271"/>
                  </a:lnTo>
                  <a:lnTo>
                    <a:pt x="2695" y="1274"/>
                  </a:lnTo>
                  <a:lnTo>
                    <a:pt x="2679" y="1277"/>
                  </a:lnTo>
                  <a:lnTo>
                    <a:pt x="2667" y="1283"/>
                  </a:lnTo>
                  <a:lnTo>
                    <a:pt x="2660" y="1299"/>
                  </a:lnTo>
                  <a:lnTo>
                    <a:pt x="2657" y="1321"/>
                  </a:lnTo>
                  <a:lnTo>
                    <a:pt x="2654" y="1340"/>
                  </a:lnTo>
                  <a:lnTo>
                    <a:pt x="2648" y="1349"/>
                  </a:lnTo>
                  <a:lnTo>
                    <a:pt x="2645" y="1349"/>
                  </a:lnTo>
                  <a:lnTo>
                    <a:pt x="2639" y="1352"/>
                  </a:lnTo>
                  <a:lnTo>
                    <a:pt x="2629" y="1355"/>
                  </a:lnTo>
                  <a:lnTo>
                    <a:pt x="2620" y="1361"/>
                  </a:lnTo>
                  <a:lnTo>
                    <a:pt x="2611" y="1365"/>
                  </a:lnTo>
                  <a:lnTo>
                    <a:pt x="2604" y="1371"/>
                  </a:lnTo>
                  <a:lnTo>
                    <a:pt x="2598" y="1374"/>
                  </a:lnTo>
                  <a:lnTo>
                    <a:pt x="2589" y="1390"/>
                  </a:lnTo>
                  <a:lnTo>
                    <a:pt x="2576" y="1411"/>
                  </a:lnTo>
                  <a:lnTo>
                    <a:pt x="2567" y="1433"/>
                  </a:lnTo>
                  <a:lnTo>
                    <a:pt x="2570" y="1452"/>
                  </a:lnTo>
                  <a:lnTo>
                    <a:pt x="2582" y="1461"/>
                  </a:lnTo>
                  <a:lnTo>
                    <a:pt x="2604" y="1468"/>
                  </a:lnTo>
                  <a:lnTo>
                    <a:pt x="2629" y="1468"/>
                  </a:lnTo>
                  <a:lnTo>
                    <a:pt x="2648" y="1468"/>
                  </a:lnTo>
                  <a:lnTo>
                    <a:pt x="2664" y="1455"/>
                  </a:lnTo>
                  <a:lnTo>
                    <a:pt x="2682" y="1440"/>
                  </a:lnTo>
                  <a:lnTo>
                    <a:pt x="2701" y="1427"/>
                  </a:lnTo>
                  <a:lnTo>
                    <a:pt x="2723" y="1424"/>
                  </a:lnTo>
                  <a:lnTo>
                    <a:pt x="2754" y="1421"/>
                  </a:lnTo>
                  <a:lnTo>
                    <a:pt x="2776" y="1421"/>
                  </a:lnTo>
                  <a:lnTo>
                    <a:pt x="2801" y="1433"/>
                  </a:lnTo>
                  <a:lnTo>
                    <a:pt x="2823" y="1449"/>
                  </a:lnTo>
                  <a:lnTo>
                    <a:pt x="2842" y="1468"/>
                  </a:lnTo>
                  <a:lnTo>
                    <a:pt x="2845" y="1483"/>
                  </a:lnTo>
                  <a:lnTo>
                    <a:pt x="2848" y="1505"/>
                  </a:lnTo>
                  <a:lnTo>
                    <a:pt x="2848" y="1527"/>
                  </a:lnTo>
                  <a:lnTo>
                    <a:pt x="2842" y="1543"/>
                  </a:lnTo>
                  <a:lnTo>
                    <a:pt x="2826" y="1552"/>
                  </a:lnTo>
                  <a:lnTo>
                    <a:pt x="2801" y="1558"/>
                  </a:lnTo>
                  <a:lnTo>
                    <a:pt x="2776" y="1564"/>
                  </a:lnTo>
                  <a:lnTo>
                    <a:pt x="2757" y="1571"/>
                  </a:lnTo>
                  <a:lnTo>
                    <a:pt x="2751" y="1577"/>
                  </a:lnTo>
                  <a:lnTo>
                    <a:pt x="2742" y="1586"/>
                  </a:lnTo>
                  <a:lnTo>
                    <a:pt x="2732" y="1596"/>
                  </a:lnTo>
                  <a:lnTo>
                    <a:pt x="2723" y="1608"/>
                  </a:lnTo>
                  <a:lnTo>
                    <a:pt x="2717" y="1614"/>
                  </a:lnTo>
                  <a:lnTo>
                    <a:pt x="2717" y="1639"/>
                  </a:lnTo>
                  <a:lnTo>
                    <a:pt x="2717" y="1667"/>
                  </a:lnTo>
                  <a:lnTo>
                    <a:pt x="2720" y="1696"/>
                  </a:lnTo>
                  <a:lnTo>
                    <a:pt x="2717" y="1717"/>
                  </a:lnTo>
                  <a:lnTo>
                    <a:pt x="2707" y="1739"/>
                  </a:lnTo>
                  <a:lnTo>
                    <a:pt x="2689" y="1764"/>
                  </a:lnTo>
                  <a:lnTo>
                    <a:pt x="2670" y="1786"/>
                  </a:lnTo>
                  <a:lnTo>
                    <a:pt x="2654" y="1805"/>
                  </a:lnTo>
                  <a:lnTo>
                    <a:pt x="2629" y="1817"/>
                  </a:lnTo>
                  <a:lnTo>
                    <a:pt x="2595" y="1830"/>
                  </a:lnTo>
                  <a:lnTo>
                    <a:pt x="2564" y="1842"/>
                  </a:lnTo>
                  <a:lnTo>
                    <a:pt x="2539" y="1858"/>
                  </a:lnTo>
                  <a:lnTo>
                    <a:pt x="2517" y="1883"/>
                  </a:lnTo>
                  <a:lnTo>
                    <a:pt x="2498" y="1917"/>
                  </a:lnTo>
                  <a:lnTo>
                    <a:pt x="2479" y="1952"/>
                  </a:lnTo>
                  <a:lnTo>
                    <a:pt x="2461" y="1980"/>
                  </a:lnTo>
                  <a:lnTo>
                    <a:pt x="2442" y="1998"/>
                  </a:lnTo>
                  <a:lnTo>
                    <a:pt x="2420" y="2020"/>
                  </a:lnTo>
                  <a:lnTo>
                    <a:pt x="2401" y="2036"/>
                  </a:lnTo>
                  <a:lnTo>
                    <a:pt x="2386" y="2055"/>
                  </a:lnTo>
                  <a:lnTo>
                    <a:pt x="2367" y="2077"/>
                  </a:lnTo>
                  <a:lnTo>
                    <a:pt x="2354" y="2098"/>
                  </a:lnTo>
                  <a:lnTo>
                    <a:pt x="2348" y="2117"/>
                  </a:lnTo>
                  <a:lnTo>
                    <a:pt x="2342" y="2145"/>
                  </a:lnTo>
                  <a:lnTo>
                    <a:pt x="2339" y="2167"/>
                  </a:lnTo>
                  <a:lnTo>
                    <a:pt x="2333" y="2192"/>
                  </a:lnTo>
                  <a:lnTo>
                    <a:pt x="2323" y="2220"/>
                  </a:lnTo>
                  <a:lnTo>
                    <a:pt x="2311" y="2248"/>
                  </a:lnTo>
                  <a:lnTo>
                    <a:pt x="2295" y="2270"/>
                  </a:lnTo>
                  <a:lnTo>
                    <a:pt x="2279" y="2276"/>
                  </a:lnTo>
                  <a:lnTo>
                    <a:pt x="2261" y="2279"/>
                  </a:lnTo>
                  <a:lnTo>
                    <a:pt x="2242" y="2286"/>
                  </a:lnTo>
                  <a:lnTo>
                    <a:pt x="2230" y="2298"/>
                  </a:lnTo>
                  <a:lnTo>
                    <a:pt x="2211" y="2314"/>
                  </a:lnTo>
                  <a:lnTo>
                    <a:pt x="2195" y="2333"/>
                  </a:lnTo>
                  <a:lnTo>
                    <a:pt x="2183" y="2345"/>
                  </a:lnTo>
                  <a:lnTo>
                    <a:pt x="2176" y="2351"/>
                  </a:lnTo>
                  <a:lnTo>
                    <a:pt x="2164" y="2358"/>
                  </a:lnTo>
                  <a:lnTo>
                    <a:pt x="2142" y="2364"/>
                  </a:lnTo>
                  <a:lnTo>
                    <a:pt x="2114" y="2376"/>
                  </a:lnTo>
                  <a:lnTo>
                    <a:pt x="2086" y="2386"/>
                  </a:lnTo>
                  <a:lnTo>
                    <a:pt x="2064" y="2392"/>
                  </a:lnTo>
                  <a:lnTo>
                    <a:pt x="2048" y="2395"/>
                  </a:lnTo>
                  <a:lnTo>
                    <a:pt x="2030" y="2395"/>
                  </a:lnTo>
                  <a:lnTo>
                    <a:pt x="2014" y="2398"/>
                  </a:lnTo>
                  <a:lnTo>
                    <a:pt x="1989" y="2408"/>
                  </a:lnTo>
                  <a:lnTo>
                    <a:pt x="1964" y="2420"/>
                  </a:lnTo>
                  <a:lnTo>
                    <a:pt x="1945" y="2436"/>
                  </a:lnTo>
                  <a:lnTo>
                    <a:pt x="1939" y="2457"/>
                  </a:lnTo>
                  <a:lnTo>
                    <a:pt x="1939" y="2489"/>
                  </a:lnTo>
                  <a:lnTo>
                    <a:pt x="1939" y="2520"/>
                  </a:lnTo>
                  <a:lnTo>
                    <a:pt x="1945" y="2545"/>
                  </a:lnTo>
                  <a:lnTo>
                    <a:pt x="1948" y="2551"/>
                  </a:lnTo>
                  <a:lnTo>
                    <a:pt x="1955" y="2557"/>
                  </a:lnTo>
                  <a:lnTo>
                    <a:pt x="1961" y="2567"/>
                  </a:lnTo>
                  <a:lnTo>
                    <a:pt x="1967" y="2573"/>
                  </a:lnTo>
                  <a:lnTo>
                    <a:pt x="1970" y="2582"/>
                  </a:lnTo>
                  <a:lnTo>
                    <a:pt x="1973" y="2589"/>
                  </a:lnTo>
                  <a:lnTo>
                    <a:pt x="1977" y="2614"/>
                  </a:lnTo>
                  <a:lnTo>
                    <a:pt x="1970" y="2645"/>
                  </a:lnTo>
                  <a:lnTo>
                    <a:pt x="1964" y="2676"/>
                  </a:lnTo>
                  <a:lnTo>
                    <a:pt x="1955" y="2701"/>
                  </a:lnTo>
                  <a:lnTo>
                    <a:pt x="1936" y="2717"/>
                  </a:lnTo>
                  <a:lnTo>
                    <a:pt x="1911" y="2735"/>
                  </a:lnTo>
                  <a:lnTo>
                    <a:pt x="1895" y="2754"/>
                  </a:lnTo>
                  <a:lnTo>
                    <a:pt x="1895" y="2760"/>
                  </a:lnTo>
                  <a:lnTo>
                    <a:pt x="1895" y="2770"/>
                  </a:lnTo>
                  <a:lnTo>
                    <a:pt x="1899" y="2779"/>
                  </a:lnTo>
                  <a:lnTo>
                    <a:pt x="1899" y="2785"/>
                  </a:lnTo>
                  <a:lnTo>
                    <a:pt x="1902" y="2792"/>
                  </a:lnTo>
                  <a:lnTo>
                    <a:pt x="1911" y="2810"/>
                  </a:lnTo>
                  <a:lnTo>
                    <a:pt x="1920" y="2832"/>
                  </a:lnTo>
                  <a:lnTo>
                    <a:pt x="1924" y="2851"/>
                  </a:lnTo>
                  <a:lnTo>
                    <a:pt x="1917" y="2879"/>
                  </a:lnTo>
                  <a:lnTo>
                    <a:pt x="1899" y="2907"/>
                  </a:lnTo>
                  <a:lnTo>
                    <a:pt x="1877" y="2938"/>
                  </a:lnTo>
                  <a:lnTo>
                    <a:pt x="1858" y="2960"/>
                  </a:lnTo>
                  <a:lnTo>
                    <a:pt x="1830" y="2988"/>
                  </a:lnTo>
                  <a:lnTo>
                    <a:pt x="1792" y="3016"/>
                  </a:lnTo>
                  <a:lnTo>
                    <a:pt x="1755" y="3045"/>
                  </a:lnTo>
                  <a:lnTo>
                    <a:pt x="1721" y="3063"/>
                  </a:lnTo>
                  <a:lnTo>
                    <a:pt x="1692" y="3076"/>
                  </a:lnTo>
                  <a:lnTo>
                    <a:pt x="1658" y="3085"/>
                  </a:lnTo>
                  <a:lnTo>
                    <a:pt x="1624" y="3098"/>
                  </a:lnTo>
                  <a:lnTo>
                    <a:pt x="1602" y="3113"/>
                  </a:lnTo>
                  <a:lnTo>
                    <a:pt x="1593" y="3132"/>
                  </a:lnTo>
                  <a:lnTo>
                    <a:pt x="1589" y="3157"/>
                  </a:lnTo>
                  <a:lnTo>
                    <a:pt x="1586" y="3182"/>
                  </a:lnTo>
                  <a:lnTo>
                    <a:pt x="1577" y="3201"/>
                  </a:lnTo>
                  <a:lnTo>
                    <a:pt x="1558" y="3213"/>
                  </a:lnTo>
                  <a:lnTo>
                    <a:pt x="1530" y="3226"/>
                  </a:lnTo>
                  <a:lnTo>
                    <a:pt x="1499" y="3235"/>
                  </a:lnTo>
                  <a:lnTo>
                    <a:pt x="1480" y="3247"/>
                  </a:lnTo>
                  <a:lnTo>
                    <a:pt x="1471" y="3269"/>
                  </a:lnTo>
                  <a:lnTo>
                    <a:pt x="1468" y="3294"/>
                  </a:lnTo>
                  <a:lnTo>
                    <a:pt x="1461" y="3316"/>
                  </a:lnTo>
                  <a:lnTo>
                    <a:pt x="1461" y="3322"/>
                  </a:lnTo>
                  <a:lnTo>
                    <a:pt x="1458" y="3332"/>
                  </a:lnTo>
                  <a:lnTo>
                    <a:pt x="1458" y="3341"/>
                  </a:lnTo>
                  <a:lnTo>
                    <a:pt x="1458" y="3347"/>
                  </a:lnTo>
                  <a:lnTo>
                    <a:pt x="1458" y="3357"/>
                  </a:lnTo>
                  <a:lnTo>
                    <a:pt x="1464" y="3372"/>
                  </a:lnTo>
                  <a:lnTo>
                    <a:pt x="1474" y="3388"/>
                  </a:lnTo>
                  <a:lnTo>
                    <a:pt x="1483" y="3407"/>
                  </a:lnTo>
                  <a:lnTo>
                    <a:pt x="1486" y="3422"/>
                  </a:lnTo>
                  <a:lnTo>
                    <a:pt x="1480" y="3438"/>
                  </a:lnTo>
                  <a:lnTo>
                    <a:pt x="1468" y="3457"/>
                  </a:lnTo>
                  <a:lnTo>
                    <a:pt x="1452" y="3472"/>
                  </a:lnTo>
                  <a:lnTo>
                    <a:pt x="1443" y="3488"/>
                  </a:lnTo>
                  <a:lnTo>
                    <a:pt x="1439" y="3504"/>
                  </a:lnTo>
                  <a:lnTo>
                    <a:pt x="1439" y="3522"/>
                  </a:lnTo>
                  <a:lnTo>
                    <a:pt x="1436" y="3541"/>
                  </a:lnTo>
                  <a:lnTo>
                    <a:pt x="1430" y="3557"/>
                  </a:lnTo>
                  <a:lnTo>
                    <a:pt x="1415" y="3566"/>
                  </a:lnTo>
                  <a:lnTo>
                    <a:pt x="1393" y="3572"/>
                  </a:lnTo>
                  <a:lnTo>
                    <a:pt x="1371" y="3582"/>
                  </a:lnTo>
                  <a:lnTo>
                    <a:pt x="1349" y="3588"/>
                  </a:lnTo>
                  <a:lnTo>
                    <a:pt x="1333" y="3600"/>
                  </a:lnTo>
                  <a:lnTo>
                    <a:pt x="1330" y="3616"/>
                  </a:lnTo>
                  <a:lnTo>
                    <a:pt x="1327" y="3635"/>
                  </a:lnTo>
                  <a:lnTo>
                    <a:pt x="1330" y="3657"/>
                  </a:lnTo>
                  <a:lnTo>
                    <a:pt x="1333" y="3672"/>
                  </a:lnTo>
                  <a:lnTo>
                    <a:pt x="1340" y="3682"/>
                  </a:lnTo>
                  <a:lnTo>
                    <a:pt x="1346" y="3691"/>
                  </a:lnTo>
                  <a:lnTo>
                    <a:pt x="1352" y="3703"/>
                  </a:lnTo>
                  <a:lnTo>
                    <a:pt x="1361" y="3713"/>
                  </a:lnTo>
                  <a:lnTo>
                    <a:pt x="1368" y="3719"/>
                  </a:lnTo>
                  <a:lnTo>
                    <a:pt x="1380" y="3728"/>
                  </a:lnTo>
                  <a:lnTo>
                    <a:pt x="1393" y="3738"/>
                  </a:lnTo>
                  <a:lnTo>
                    <a:pt x="1386" y="3753"/>
                  </a:lnTo>
                  <a:lnTo>
                    <a:pt x="1380" y="3778"/>
                  </a:lnTo>
                  <a:lnTo>
                    <a:pt x="1374" y="3800"/>
                  </a:lnTo>
                  <a:lnTo>
                    <a:pt x="1368" y="3819"/>
                  </a:lnTo>
                  <a:lnTo>
                    <a:pt x="1352" y="3825"/>
                  </a:lnTo>
                  <a:lnTo>
                    <a:pt x="1333" y="3831"/>
                  </a:lnTo>
                  <a:lnTo>
                    <a:pt x="1311" y="3838"/>
                  </a:lnTo>
                  <a:lnTo>
                    <a:pt x="1296" y="3844"/>
                  </a:lnTo>
                  <a:lnTo>
                    <a:pt x="1277" y="3863"/>
                  </a:lnTo>
                  <a:lnTo>
                    <a:pt x="1255" y="3891"/>
                  </a:lnTo>
                  <a:lnTo>
                    <a:pt x="1240" y="3913"/>
                  </a:lnTo>
                  <a:lnTo>
                    <a:pt x="1230" y="3941"/>
                  </a:lnTo>
                  <a:lnTo>
                    <a:pt x="1224" y="3972"/>
                  </a:lnTo>
                  <a:lnTo>
                    <a:pt x="1215" y="4006"/>
                  </a:lnTo>
                  <a:lnTo>
                    <a:pt x="1202" y="4028"/>
                  </a:lnTo>
                  <a:lnTo>
                    <a:pt x="1180" y="4044"/>
                  </a:lnTo>
                  <a:lnTo>
                    <a:pt x="1149" y="4056"/>
                  </a:lnTo>
                  <a:lnTo>
                    <a:pt x="1115" y="4069"/>
                  </a:lnTo>
                  <a:lnTo>
                    <a:pt x="1090" y="4081"/>
                  </a:lnTo>
                  <a:lnTo>
                    <a:pt x="1084" y="4087"/>
                  </a:lnTo>
                  <a:lnTo>
                    <a:pt x="1074" y="4100"/>
                  </a:lnTo>
                  <a:lnTo>
                    <a:pt x="1065" y="4112"/>
                  </a:lnTo>
                  <a:lnTo>
                    <a:pt x="1055" y="4122"/>
                  </a:lnTo>
                  <a:lnTo>
                    <a:pt x="1046" y="4128"/>
                  </a:lnTo>
                  <a:lnTo>
                    <a:pt x="1018" y="4137"/>
                  </a:lnTo>
                  <a:lnTo>
                    <a:pt x="984" y="4144"/>
                  </a:lnTo>
                  <a:lnTo>
                    <a:pt x="946" y="4144"/>
                  </a:lnTo>
                  <a:lnTo>
                    <a:pt x="915" y="4144"/>
                  </a:lnTo>
                  <a:lnTo>
                    <a:pt x="893" y="4141"/>
                  </a:lnTo>
                  <a:lnTo>
                    <a:pt x="865" y="4134"/>
                  </a:lnTo>
                  <a:lnTo>
                    <a:pt x="837" y="4125"/>
                  </a:lnTo>
                  <a:lnTo>
                    <a:pt x="818" y="4112"/>
                  </a:lnTo>
                  <a:lnTo>
                    <a:pt x="815" y="4097"/>
                  </a:lnTo>
                  <a:lnTo>
                    <a:pt x="818" y="4072"/>
                  </a:lnTo>
                  <a:lnTo>
                    <a:pt x="821" y="4047"/>
                  </a:lnTo>
                  <a:lnTo>
                    <a:pt x="818" y="4031"/>
                  </a:lnTo>
                  <a:lnTo>
                    <a:pt x="806" y="4009"/>
                  </a:lnTo>
                  <a:lnTo>
                    <a:pt x="784" y="3988"/>
                  </a:lnTo>
                  <a:lnTo>
                    <a:pt x="762" y="3975"/>
                  </a:lnTo>
                  <a:lnTo>
                    <a:pt x="743" y="3972"/>
                  </a:lnTo>
                  <a:lnTo>
                    <a:pt x="718" y="3969"/>
                  </a:lnTo>
                  <a:lnTo>
                    <a:pt x="699" y="3972"/>
                  </a:lnTo>
                  <a:lnTo>
                    <a:pt x="678" y="3981"/>
                  </a:lnTo>
                  <a:lnTo>
                    <a:pt x="656" y="3991"/>
                  </a:lnTo>
                  <a:lnTo>
                    <a:pt x="637" y="4006"/>
                  </a:lnTo>
                  <a:lnTo>
                    <a:pt x="624" y="4022"/>
                  </a:lnTo>
                  <a:lnTo>
                    <a:pt x="621" y="4034"/>
                  </a:lnTo>
                  <a:lnTo>
                    <a:pt x="624" y="4053"/>
                  </a:lnTo>
                  <a:lnTo>
                    <a:pt x="624" y="4072"/>
                  </a:lnTo>
                  <a:lnTo>
                    <a:pt x="624" y="4087"/>
                  </a:lnTo>
                  <a:lnTo>
                    <a:pt x="603" y="4109"/>
                  </a:lnTo>
                  <a:lnTo>
                    <a:pt x="575" y="4128"/>
                  </a:lnTo>
                  <a:lnTo>
                    <a:pt x="550" y="4144"/>
                  </a:lnTo>
                  <a:lnTo>
                    <a:pt x="537" y="4153"/>
                  </a:lnTo>
                  <a:lnTo>
                    <a:pt x="521" y="4169"/>
                  </a:lnTo>
                  <a:lnTo>
                    <a:pt x="509" y="4181"/>
                  </a:lnTo>
                  <a:lnTo>
                    <a:pt x="493" y="4184"/>
                  </a:lnTo>
                  <a:lnTo>
                    <a:pt x="481" y="4175"/>
                  </a:lnTo>
                  <a:lnTo>
                    <a:pt x="468" y="4156"/>
                  </a:lnTo>
                  <a:lnTo>
                    <a:pt x="459" y="4134"/>
                  </a:lnTo>
                  <a:lnTo>
                    <a:pt x="450" y="4116"/>
                  </a:lnTo>
                  <a:lnTo>
                    <a:pt x="446" y="4094"/>
                  </a:lnTo>
                  <a:lnTo>
                    <a:pt x="440" y="4066"/>
                  </a:lnTo>
                  <a:lnTo>
                    <a:pt x="434" y="4038"/>
                  </a:lnTo>
                  <a:lnTo>
                    <a:pt x="425" y="4022"/>
                  </a:lnTo>
                  <a:lnTo>
                    <a:pt x="418" y="4019"/>
                  </a:lnTo>
                  <a:lnTo>
                    <a:pt x="412" y="4019"/>
                  </a:lnTo>
                  <a:lnTo>
                    <a:pt x="403" y="4022"/>
                  </a:lnTo>
                  <a:lnTo>
                    <a:pt x="393" y="4022"/>
                  </a:lnTo>
                  <a:lnTo>
                    <a:pt x="387" y="4022"/>
                  </a:lnTo>
                  <a:lnTo>
                    <a:pt x="381" y="4022"/>
                  </a:lnTo>
                  <a:lnTo>
                    <a:pt x="365" y="4006"/>
                  </a:lnTo>
                  <a:lnTo>
                    <a:pt x="356" y="3984"/>
                  </a:lnTo>
                  <a:lnTo>
                    <a:pt x="340" y="3969"/>
                  </a:lnTo>
                  <a:lnTo>
                    <a:pt x="325" y="3966"/>
                  </a:lnTo>
                  <a:lnTo>
                    <a:pt x="303" y="3969"/>
                  </a:lnTo>
                  <a:lnTo>
                    <a:pt x="281" y="3972"/>
                  </a:lnTo>
                  <a:lnTo>
                    <a:pt x="265" y="3969"/>
                  </a:lnTo>
                  <a:lnTo>
                    <a:pt x="256" y="3950"/>
                  </a:lnTo>
                  <a:lnTo>
                    <a:pt x="256" y="3928"/>
                  </a:lnTo>
                  <a:lnTo>
                    <a:pt x="256" y="3903"/>
                  </a:lnTo>
                  <a:lnTo>
                    <a:pt x="253" y="3885"/>
                  </a:lnTo>
                  <a:lnTo>
                    <a:pt x="247" y="3878"/>
                  </a:lnTo>
                  <a:lnTo>
                    <a:pt x="237" y="3872"/>
                  </a:lnTo>
                  <a:lnTo>
                    <a:pt x="228" y="3863"/>
                  </a:lnTo>
                  <a:lnTo>
                    <a:pt x="219" y="3856"/>
                  </a:lnTo>
                  <a:lnTo>
                    <a:pt x="209" y="3853"/>
                  </a:lnTo>
                  <a:lnTo>
                    <a:pt x="187" y="3838"/>
                  </a:lnTo>
                  <a:lnTo>
                    <a:pt x="159" y="3819"/>
                  </a:lnTo>
                  <a:lnTo>
                    <a:pt x="144" y="3800"/>
                  </a:lnTo>
                  <a:lnTo>
                    <a:pt x="140" y="3778"/>
                  </a:lnTo>
                  <a:lnTo>
                    <a:pt x="144" y="3750"/>
                  </a:lnTo>
                  <a:lnTo>
                    <a:pt x="153" y="3722"/>
                  </a:lnTo>
                  <a:lnTo>
                    <a:pt x="159" y="3707"/>
                  </a:lnTo>
                  <a:lnTo>
                    <a:pt x="169" y="3697"/>
                  </a:lnTo>
                  <a:lnTo>
                    <a:pt x="184" y="3685"/>
                  </a:lnTo>
                  <a:lnTo>
                    <a:pt x="209" y="3678"/>
                  </a:lnTo>
                  <a:lnTo>
                    <a:pt x="231" y="3672"/>
                  </a:lnTo>
                  <a:lnTo>
                    <a:pt x="253" y="3672"/>
                  </a:lnTo>
                  <a:lnTo>
                    <a:pt x="278" y="3675"/>
                  </a:lnTo>
                  <a:lnTo>
                    <a:pt x="306" y="3678"/>
                  </a:lnTo>
                  <a:lnTo>
                    <a:pt x="331" y="3678"/>
                  </a:lnTo>
                  <a:lnTo>
                    <a:pt x="347" y="3672"/>
                  </a:lnTo>
                  <a:lnTo>
                    <a:pt x="353" y="3660"/>
                  </a:lnTo>
                  <a:lnTo>
                    <a:pt x="353" y="3644"/>
                  </a:lnTo>
                  <a:lnTo>
                    <a:pt x="350" y="3628"/>
                  </a:lnTo>
                  <a:lnTo>
                    <a:pt x="347" y="3616"/>
                  </a:lnTo>
                  <a:lnTo>
                    <a:pt x="337" y="3597"/>
                  </a:lnTo>
                  <a:lnTo>
                    <a:pt x="318" y="3578"/>
                  </a:lnTo>
                  <a:lnTo>
                    <a:pt x="303" y="3563"/>
                  </a:lnTo>
                  <a:lnTo>
                    <a:pt x="297" y="3560"/>
                  </a:lnTo>
                  <a:lnTo>
                    <a:pt x="287" y="3557"/>
                  </a:lnTo>
                  <a:lnTo>
                    <a:pt x="278" y="3554"/>
                  </a:lnTo>
                  <a:lnTo>
                    <a:pt x="268" y="3554"/>
                  </a:lnTo>
                  <a:lnTo>
                    <a:pt x="262" y="3550"/>
                  </a:lnTo>
                  <a:lnTo>
                    <a:pt x="256" y="3547"/>
                  </a:lnTo>
                  <a:lnTo>
                    <a:pt x="243" y="3529"/>
                  </a:lnTo>
                  <a:lnTo>
                    <a:pt x="237" y="3504"/>
                  </a:lnTo>
                  <a:lnTo>
                    <a:pt x="234" y="3482"/>
                  </a:lnTo>
                  <a:lnTo>
                    <a:pt x="240" y="3457"/>
                  </a:lnTo>
                  <a:lnTo>
                    <a:pt x="250" y="3429"/>
                  </a:lnTo>
                  <a:lnTo>
                    <a:pt x="265" y="3407"/>
                  </a:lnTo>
                  <a:lnTo>
                    <a:pt x="272" y="3401"/>
                  </a:lnTo>
                  <a:lnTo>
                    <a:pt x="281" y="3397"/>
                  </a:lnTo>
                  <a:lnTo>
                    <a:pt x="290" y="3394"/>
                  </a:lnTo>
                  <a:lnTo>
                    <a:pt x="300" y="3391"/>
                  </a:lnTo>
                  <a:lnTo>
                    <a:pt x="309" y="3388"/>
                  </a:lnTo>
                  <a:lnTo>
                    <a:pt x="315" y="3382"/>
                  </a:lnTo>
                  <a:lnTo>
                    <a:pt x="325" y="3363"/>
                  </a:lnTo>
                  <a:lnTo>
                    <a:pt x="331" y="3335"/>
                  </a:lnTo>
                  <a:lnTo>
                    <a:pt x="337" y="3307"/>
                  </a:lnTo>
                  <a:lnTo>
                    <a:pt x="337" y="3285"/>
                  </a:lnTo>
                  <a:lnTo>
                    <a:pt x="328" y="3266"/>
                  </a:lnTo>
                  <a:lnTo>
                    <a:pt x="315" y="3247"/>
                  </a:lnTo>
                  <a:lnTo>
                    <a:pt x="303" y="3229"/>
                  </a:lnTo>
                  <a:lnTo>
                    <a:pt x="293" y="3213"/>
                  </a:lnTo>
                  <a:lnTo>
                    <a:pt x="293" y="3191"/>
                  </a:lnTo>
                  <a:lnTo>
                    <a:pt x="293" y="3163"/>
                  </a:lnTo>
                  <a:lnTo>
                    <a:pt x="297" y="3135"/>
                  </a:lnTo>
                  <a:lnTo>
                    <a:pt x="293" y="3113"/>
                  </a:lnTo>
                  <a:lnTo>
                    <a:pt x="287" y="3107"/>
                  </a:lnTo>
                  <a:lnTo>
                    <a:pt x="278" y="3098"/>
                  </a:lnTo>
                  <a:lnTo>
                    <a:pt x="268" y="3091"/>
                  </a:lnTo>
                  <a:lnTo>
                    <a:pt x="259" y="3082"/>
                  </a:lnTo>
                  <a:lnTo>
                    <a:pt x="250" y="3076"/>
                  </a:lnTo>
                  <a:lnTo>
                    <a:pt x="243" y="3066"/>
                  </a:lnTo>
                  <a:lnTo>
                    <a:pt x="243" y="3048"/>
                  </a:lnTo>
                  <a:lnTo>
                    <a:pt x="247" y="3023"/>
                  </a:lnTo>
                  <a:lnTo>
                    <a:pt x="250" y="3001"/>
                  </a:lnTo>
                  <a:lnTo>
                    <a:pt x="250" y="2979"/>
                  </a:lnTo>
                  <a:lnTo>
                    <a:pt x="240" y="2963"/>
                  </a:lnTo>
                  <a:lnTo>
                    <a:pt x="228" y="2945"/>
                  </a:lnTo>
                  <a:lnTo>
                    <a:pt x="222" y="2929"/>
                  </a:lnTo>
                  <a:lnTo>
                    <a:pt x="219" y="2913"/>
                  </a:lnTo>
                  <a:lnTo>
                    <a:pt x="215" y="2892"/>
                  </a:lnTo>
                  <a:lnTo>
                    <a:pt x="215" y="2873"/>
                  </a:lnTo>
                  <a:lnTo>
                    <a:pt x="222" y="2860"/>
                  </a:lnTo>
                  <a:lnTo>
                    <a:pt x="234" y="2854"/>
                  </a:lnTo>
                  <a:lnTo>
                    <a:pt x="253" y="2857"/>
                  </a:lnTo>
                  <a:lnTo>
                    <a:pt x="272" y="2860"/>
                  </a:lnTo>
                  <a:lnTo>
                    <a:pt x="287" y="2860"/>
                  </a:lnTo>
                  <a:lnTo>
                    <a:pt x="306" y="2848"/>
                  </a:lnTo>
                  <a:lnTo>
                    <a:pt x="328" y="2829"/>
                  </a:lnTo>
                  <a:lnTo>
                    <a:pt x="347" y="2807"/>
                  </a:lnTo>
                  <a:lnTo>
                    <a:pt x="356" y="2788"/>
                  </a:lnTo>
                  <a:lnTo>
                    <a:pt x="359" y="2767"/>
                  </a:lnTo>
                  <a:lnTo>
                    <a:pt x="353" y="2742"/>
                  </a:lnTo>
                  <a:lnTo>
                    <a:pt x="347" y="2723"/>
                  </a:lnTo>
                  <a:lnTo>
                    <a:pt x="328" y="2710"/>
                  </a:lnTo>
                  <a:lnTo>
                    <a:pt x="300" y="2701"/>
                  </a:lnTo>
                  <a:lnTo>
                    <a:pt x="278" y="2695"/>
                  </a:lnTo>
                  <a:lnTo>
                    <a:pt x="259" y="2692"/>
                  </a:lnTo>
                  <a:lnTo>
                    <a:pt x="234" y="2692"/>
                  </a:lnTo>
                  <a:lnTo>
                    <a:pt x="209" y="2689"/>
                  </a:lnTo>
                  <a:lnTo>
                    <a:pt x="190" y="2682"/>
                  </a:lnTo>
                  <a:lnTo>
                    <a:pt x="172" y="2667"/>
                  </a:lnTo>
                  <a:lnTo>
                    <a:pt x="150" y="2639"/>
                  </a:lnTo>
                  <a:lnTo>
                    <a:pt x="128" y="2620"/>
                  </a:lnTo>
                  <a:lnTo>
                    <a:pt x="106" y="2610"/>
                  </a:lnTo>
                  <a:lnTo>
                    <a:pt x="81" y="2604"/>
                  </a:lnTo>
                  <a:lnTo>
                    <a:pt x="50" y="2598"/>
                  </a:lnTo>
                  <a:lnTo>
                    <a:pt x="25" y="2589"/>
                  </a:lnTo>
                  <a:lnTo>
                    <a:pt x="9" y="2576"/>
                  </a:lnTo>
                  <a:lnTo>
                    <a:pt x="3" y="2557"/>
                  </a:lnTo>
                  <a:lnTo>
                    <a:pt x="0" y="2536"/>
                  </a:lnTo>
                  <a:lnTo>
                    <a:pt x="3" y="2514"/>
                  </a:lnTo>
                  <a:lnTo>
                    <a:pt x="9" y="2495"/>
                  </a:lnTo>
                  <a:lnTo>
                    <a:pt x="12" y="2486"/>
                  </a:lnTo>
                  <a:lnTo>
                    <a:pt x="16" y="2473"/>
                  </a:lnTo>
                  <a:lnTo>
                    <a:pt x="25" y="2464"/>
                  </a:lnTo>
                  <a:lnTo>
                    <a:pt x="31" y="2454"/>
                  </a:lnTo>
                  <a:lnTo>
                    <a:pt x="37" y="2448"/>
                  </a:lnTo>
                  <a:lnTo>
                    <a:pt x="50" y="2445"/>
                  </a:lnTo>
                  <a:lnTo>
                    <a:pt x="69" y="2448"/>
                  </a:lnTo>
                  <a:lnTo>
                    <a:pt x="84" y="2448"/>
                  </a:lnTo>
                  <a:lnTo>
                    <a:pt x="97" y="2448"/>
                  </a:lnTo>
                  <a:lnTo>
                    <a:pt x="103" y="2442"/>
                  </a:lnTo>
                  <a:lnTo>
                    <a:pt x="109" y="2436"/>
                  </a:lnTo>
                  <a:lnTo>
                    <a:pt x="115" y="2426"/>
                  </a:lnTo>
                  <a:lnTo>
                    <a:pt x="122" y="2417"/>
                  </a:lnTo>
                  <a:lnTo>
                    <a:pt x="125" y="2408"/>
                  </a:lnTo>
                  <a:lnTo>
                    <a:pt x="128" y="2398"/>
                  </a:lnTo>
                  <a:lnTo>
                    <a:pt x="125" y="2395"/>
                  </a:lnTo>
                  <a:lnTo>
                    <a:pt x="122" y="2386"/>
                  </a:lnTo>
                  <a:lnTo>
                    <a:pt x="115" y="2379"/>
                  </a:lnTo>
                  <a:lnTo>
                    <a:pt x="109" y="2373"/>
                  </a:lnTo>
                  <a:lnTo>
                    <a:pt x="106" y="2367"/>
                  </a:lnTo>
                  <a:lnTo>
                    <a:pt x="103" y="2361"/>
                  </a:lnTo>
                  <a:lnTo>
                    <a:pt x="103" y="2339"/>
                  </a:lnTo>
                  <a:lnTo>
                    <a:pt x="109" y="2311"/>
                  </a:lnTo>
                  <a:lnTo>
                    <a:pt x="119" y="2295"/>
                  </a:lnTo>
                  <a:lnTo>
                    <a:pt x="131" y="2292"/>
                  </a:lnTo>
                  <a:lnTo>
                    <a:pt x="144" y="2292"/>
                  </a:lnTo>
                  <a:lnTo>
                    <a:pt x="159" y="2295"/>
                  </a:lnTo>
                  <a:lnTo>
                    <a:pt x="172" y="2295"/>
                  </a:lnTo>
                  <a:lnTo>
                    <a:pt x="190" y="2283"/>
                  </a:lnTo>
                  <a:lnTo>
                    <a:pt x="212" y="2267"/>
                  </a:lnTo>
                  <a:lnTo>
                    <a:pt x="228" y="2248"/>
                  </a:lnTo>
                  <a:lnTo>
                    <a:pt x="237" y="2223"/>
                  </a:lnTo>
                  <a:lnTo>
                    <a:pt x="243" y="2192"/>
                  </a:lnTo>
                  <a:lnTo>
                    <a:pt x="250" y="2158"/>
                  </a:lnTo>
                  <a:lnTo>
                    <a:pt x="259" y="2133"/>
                  </a:lnTo>
                  <a:lnTo>
                    <a:pt x="275" y="2120"/>
                  </a:lnTo>
                  <a:lnTo>
                    <a:pt x="293" y="2108"/>
                  </a:lnTo>
                  <a:lnTo>
                    <a:pt x="312" y="2098"/>
                  </a:lnTo>
                  <a:lnTo>
                    <a:pt x="328" y="2077"/>
                  </a:lnTo>
                  <a:lnTo>
                    <a:pt x="350" y="2052"/>
                  </a:lnTo>
                  <a:lnTo>
                    <a:pt x="365" y="2023"/>
                  </a:lnTo>
                  <a:lnTo>
                    <a:pt x="378" y="1998"/>
                  </a:lnTo>
                  <a:lnTo>
                    <a:pt x="381" y="1970"/>
                  </a:lnTo>
                  <a:lnTo>
                    <a:pt x="378" y="1933"/>
                  </a:lnTo>
                  <a:lnTo>
                    <a:pt x="378" y="1895"/>
                  </a:lnTo>
                  <a:lnTo>
                    <a:pt x="381" y="1867"/>
                  </a:lnTo>
                  <a:lnTo>
                    <a:pt x="390" y="1849"/>
                  </a:lnTo>
                  <a:lnTo>
                    <a:pt x="403" y="1830"/>
                  </a:lnTo>
                  <a:lnTo>
                    <a:pt x="418" y="1811"/>
                  </a:lnTo>
                  <a:lnTo>
                    <a:pt x="425" y="1792"/>
                  </a:lnTo>
                  <a:lnTo>
                    <a:pt x="428" y="1764"/>
                  </a:lnTo>
                  <a:lnTo>
                    <a:pt x="428" y="1733"/>
                  </a:lnTo>
                  <a:lnTo>
                    <a:pt x="425" y="1708"/>
                  </a:lnTo>
                  <a:lnTo>
                    <a:pt x="418" y="1699"/>
                  </a:lnTo>
                  <a:lnTo>
                    <a:pt x="412" y="1689"/>
                  </a:lnTo>
                  <a:lnTo>
                    <a:pt x="406" y="1677"/>
                  </a:lnTo>
                  <a:lnTo>
                    <a:pt x="397" y="1667"/>
                  </a:lnTo>
                  <a:lnTo>
                    <a:pt x="393" y="1658"/>
                  </a:lnTo>
                  <a:lnTo>
                    <a:pt x="390" y="1636"/>
                  </a:lnTo>
                  <a:lnTo>
                    <a:pt x="390" y="1611"/>
                  </a:lnTo>
                  <a:lnTo>
                    <a:pt x="390" y="1586"/>
                  </a:lnTo>
                  <a:lnTo>
                    <a:pt x="387" y="1564"/>
                  </a:lnTo>
                  <a:lnTo>
                    <a:pt x="378" y="1536"/>
                  </a:lnTo>
                  <a:lnTo>
                    <a:pt x="362" y="1502"/>
                  </a:lnTo>
                  <a:lnTo>
                    <a:pt x="343" y="1477"/>
                  </a:lnTo>
                  <a:lnTo>
                    <a:pt x="331" y="1471"/>
                  </a:lnTo>
                  <a:lnTo>
                    <a:pt x="312" y="1468"/>
                  </a:lnTo>
                  <a:lnTo>
                    <a:pt x="297" y="1461"/>
                  </a:lnTo>
                  <a:lnTo>
                    <a:pt x="284" y="1455"/>
                  </a:lnTo>
                  <a:lnTo>
                    <a:pt x="278" y="1440"/>
                  </a:lnTo>
                  <a:lnTo>
                    <a:pt x="275" y="1418"/>
                  </a:lnTo>
                  <a:lnTo>
                    <a:pt x="272" y="1399"/>
                  </a:lnTo>
                  <a:lnTo>
                    <a:pt x="272" y="1371"/>
                  </a:lnTo>
                  <a:lnTo>
                    <a:pt x="272" y="1336"/>
                  </a:lnTo>
                  <a:lnTo>
                    <a:pt x="275" y="1305"/>
                  </a:lnTo>
                  <a:lnTo>
                    <a:pt x="281" y="1277"/>
                  </a:lnTo>
                  <a:lnTo>
                    <a:pt x="297" y="1262"/>
                  </a:lnTo>
                  <a:lnTo>
                    <a:pt x="318" y="1246"/>
                  </a:lnTo>
                  <a:lnTo>
                    <a:pt x="337" y="1233"/>
                  </a:lnTo>
                  <a:lnTo>
                    <a:pt x="350" y="1215"/>
                  </a:lnTo>
                  <a:lnTo>
                    <a:pt x="362" y="1193"/>
                  </a:lnTo>
                  <a:lnTo>
                    <a:pt x="372" y="1171"/>
                  </a:lnTo>
                  <a:lnTo>
                    <a:pt x="372" y="1146"/>
                  </a:lnTo>
                  <a:lnTo>
                    <a:pt x="372" y="1115"/>
                  </a:lnTo>
                  <a:lnTo>
                    <a:pt x="365" y="1090"/>
                  </a:lnTo>
                  <a:lnTo>
                    <a:pt x="362" y="1084"/>
                  </a:lnTo>
                  <a:lnTo>
                    <a:pt x="356" y="1077"/>
                  </a:lnTo>
                  <a:lnTo>
                    <a:pt x="350" y="1071"/>
                  </a:lnTo>
                  <a:lnTo>
                    <a:pt x="343" y="1065"/>
                  </a:lnTo>
                  <a:lnTo>
                    <a:pt x="337" y="1059"/>
                  </a:lnTo>
                  <a:lnTo>
                    <a:pt x="334" y="1040"/>
                  </a:lnTo>
                  <a:lnTo>
                    <a:pt x="331" y="1015"/>
                  </a:lnTo>
                  <a:lnTo>
                    <a:pt x="328" y="993"/>
                  </a:lnTo>
                  <a:lnTo>
                    <a:pt x="318" y="977"/>
                  </a:lnTo>
                  <a:lnTo>
                    <a:pt x="312" y="974"/>
                  </a:lnTo>
                  <a:lnTo>
                    <a:pt x="303" y="971"/>
                  </a:lnTo>
                  <a:lnTo>
                    <a:pt x="293" y="971"/>
                  </a:lnTo>
                  <a:lnTo>
                    <a:pt x="284" y="971"/>
                  </a:lnTo>
                  <a:lnTo>
                    <a:pt x="278" y="974"/>
                  </a:lnTo>
                  <a:lnTo>
                    <a:pt x="272" y="977"/>
                  </a:lnTo>
                  <a:lnTo>
                    <a:pt x="268" y="984"/>
                  </a:lnTo>
                  <a:lnTo>
                    <a:pt x="268" y="990"/>
                  </a:lnTo>
                  <a:lnTo>
                    <a:pt x="268" y="996"/>
                  </a:lnTo>
                  <a:lnTo>
                    <a:pt x="272" y="1002"/>
                  </a:lnTo>
                  <a:lnTo>
                    <a:pt x="272" y="1012"/>
                  </a:lnTo>
                  <a:lnTo>
                    <a:pt x="272" y="1015"/>
                  </a:lnTo>
                  <a:lnTo>
                    <a:pt x="268" y="1024"/>
                  </a:lnTo>
                  <a:lnTo>
                    <a:pt x="262" y="1030"/>
                  </a:lnTo>
                  <a:lnTo>
                    <a:pt x="259" y="1040"/>
                  </a:lnTo>
                  <a:lnTo>
                    <a:pt x="253" y="1046"/>
                  </a:lnTo>
                  <a:lnTo>
                    <a:pt x="247" y="1049"/>
                  </a:lnTo>
                  <a:lnTo>
                    <a:pt x="237" y="1052"/>
                  </a:lnTo>
                  <a:lnTo>
                    <a:pt x="228" y="1049"/>
                  </a:lnTo>
                  <a:lnTo>
                    <a:pt x="219" y="1046"/>
                  </a:lnTo>
                  <a:lnTo>
                    <a:pt x="209" y="1043"/>
                  </a:lnTo>
                  <a:lnTo>
                    <a:pt x="203" y="1040"/>
                  </a:lnTo>
                  <a:lnTo>
                    <a:pt x="197" y="1034"/>
                  </a:lnTo>
                  <a:lnTo>
                    <a:pt x="194" y="1021"/>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54" name="Freeform 38">
              <a:extLst>
                <a:ext uri="{FF2B5EF4-FFF2-40B4-BE49-F238E27FC236}">
                  <a16:creationId xmlns:a16="http://schemas.microsoft.com/office/drawing/2014/main" id="{42FB523A-8CA0-42E5-B516-56A23FC7618F}"/>
                </a:ext>
              </a:extLst>
            </p:cNvPr>
            <p:cNvSpPr>
              <a:spLocks/>
            </p:cNvSpPr>
            <p:nvPr/>
          </p:nvSpPr>
          <p:spPr bwMode="auto">
            <a:xfrm>
              <a:off x="9272588" y="-2657475"/>
              <a:ext cx="173038" cy="184150"/>
            </a:xfrm>
            <a:custGeom>
              <a:avLst/>
              <a:gdLst>
                <a:gd name="T0" fmla="*/ 109 w 109"/>
                <a:gd name="T1" fmla="*/ 41 h 116"/>
                <a:gd name="T2" fmla="*/ 109 w 109"/>
                <a:gd name="T3" fmla="*/ 47 h 116"/>
                <a:gd name="T4" fmla="*/ 106 w 109"/>
                <a:gd name="T5" fmla="*/ 57 h 116"/>
                <a:gd name="T6" fmla="*/ 103 w 109"/>
                <a:gd name="T7" fmla="*/ 66 h 116"/>
                <a:gd name="T8" fmla="*/ 100 w 109"/>
                <a:gd name="T9" fmla="*/ 72 h 116"/>
                <a:gd name="T10" fmla="*/ 96 w 109"/>
                <a:gd name="T11" fmla="*/ 78 h 116"/>
                <a:gd name="T12" fmla="*/ 90 w 109"/>
                <a:gd name="T13" fmla="*/ 85 h 116"/>
                <a:gd name="T14" fmla="*/ 87 w 109"/>
                <a:gd name="T15" fmla="*/ 91 h 116"/>
                <a:gd name="T16" fmla="*/ 81 w 109"/>
                <a:gd name="T17" fmla="*/ 97 h 116"/>
                <a:gd name="T18" fmla="*/ 78 w 109"/>
                <a:gd name="T19" fmla="*/ 103 h 116"/>
                <a:gd name="T20" fmla="*/ 68 w 109"/>
                <a:gd name="T21" fmla="*/ 110 h 116"/>
                <a:gd name="T22" fmla="*/ 62 w 109"/>
                <a:gd name="T23" fmla="*/ 116 h 116"/>
                <a:gd name="T24" fmla="*/ 56 w 109"/>
                <a:gd name="T25" fmla="*/ 116 h 116"/>
                <a:gd name="T26" fmla="*/ 50 w 109"/>
                <a:gd name="T27" fmla="*/ 113 h 116"/>
                <a:gd name="T28" fmla="*/ 43 w 109"/>
                <a:gd name="T29" fmla="*/ 110 h 116"/>
                <a:gd name="T30" fmla="*/ 37 w 109"/>
                <a:gd name="T31" fmla="*/ 100 h 116"/>
                <a:gd name="T32" fmla="*/ 31 w 109"/>
                <a:gd name="T33" fmla="*/ 94 h 116"/>
                <a:gd name="T34" fmla="*/ 28 w 109"/>
                <a:gd name="T35" fmla="*/ 85 h 116"/>
                <a:gd name="T36" fmla="*/ 28 w 109"/>
                <a:gd name="T37" fmla="*/ 81 h 116"/>
                <a:gd name="T38" fmla="*/ 31 w 109"/>
                <a:gd name="T39" fmla="*/ 75 h 116"/>
                <a:gd name="T40" fmla="*/ 34 w 109"/>
                <a:gd name="T41" fmla="*/ 69 h 116"/>
                <a:gd name="T42" fmla="*/ 40 w 109"/>
                <a:gd name="T43" fmla="*/ 60 h 116"/>
                <a:gd name="T44" fmla="*/ 40 w 109"/>
                <a:gd name="T45" fmla="*/ 57 h 116"/>
                <a:gd name="T46" fmla="*/ 40 w 109"/>
                <a:gd name="T47" fmla="*/ 50 h 116"/>
                <a:gd name="T48" fmla="*/ 40 w 109"/>
                <a:gd name="T49" fmla="*/ 44 h 116"/>
                <a:gd name="T50" fmla="*/ 34 w 109"/>
                <a:gd name="T51" fmla="*/ 41 h 116"/>
                <a:gd name="T52" fmla="*/ 25 w 109"/>
                <a:gd name="T53" fmla="*/ 38 h 116"/>
                <a:gd name="T54" fmla="*/ 18 w 109"/>
                <a:gd name="T55" fmla="*/ 35 h 116"/>
                <a:gd name="T56" fmla="*/ 9 w 109"/>
                <a:gd name="T57" fmla="*/ 32 h 116"/>
                <a:gd name="T58" fmla="*/ 3 w 109"/>
                <a:gd name="T59" fmla="*/ 28 h 116"/>
                <a:gd name="T60" fmla="*/ 0 w 109"/>
                <a:gd name="T61" fmla="*/ 25 h 116"/>
                <a:gd name="T62" fmla="*/ 0 w 109"/>
                <a:gd name="T63" fmla="*/ 19 h 116"/>
                <a:gd name="T64" fmla="*/ 6 w 109"/>
                <a:gd name="T65" fmla="*/ 10 h 116"/>
                <a:gd name="T66" fmla="*/ 25 w 109"/>
                <a:gd name="T67" fmla="*/ 3 h 116"/>
                <a:gd name="T68" fmla="*/ 43 w 109"/>
                <a:gd name="T69" fmla="*/ 0 h 116"/>
                <a:gd name="T70" fmla="*/ 56 w 109"/>
                <a:gd name="T71" fmla="*/ 0 h 116"/>
                <a:gd name="T72" fmla="*/ 62 w 109"/>
                <a:gd name="T73" fmla="*/ 7 h 116"/>
                <a:gd name="T74" fmla="*/ 65 w 109"/>
                <a:gd name="T75" fmla="*/ 13 h 116"/>
                <a:gd name="T76" fmla="*/ 71 w 109"/>
                <a:gd name="T77" fmla="*/ 19 h 116"/>
                <a:gd name="T78" fmla="*/ 75 w 109"/>
                <a:gd name="T79" fmla="*/ 25 h 116"/>
                <a:gd name="T80" fmla="*/ 81 w 109"/>
                <a:gd name="T81" fmla="*/ 28 h 116"/>
                <a:gd name="T82" fmla="*/ 90 w 109"/>
                <a:gd name="T83" fmla="*/ 32 h 116"/>
                <a:gd name="T84" fmla="*/ 96 w 109"/>
                <a:gd name="T85" fmla="*/ 35 h 116"/>
                <a:gd name="T86" fmla="*/ 103 w 109"/>
                <a:gd name="T87" fmla="*/ 38 h 116"/>
                <a:gd name="T88" fmla="*/ 109 w 109"/>
                <a:gd name="T89" fmla="*/ 4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9" h="116">
                  <a:moveTo>
                    <a:pt x="109" y="41"/>
                  </a:moveTo>
                  <a:lnTo>
                    <a:pt x="109" y="47"/>
                  </a:lnTo>
                  <a:lnTo>
                    <a:pt x="106" y="57"/>
                  </a:lnTo>
                  <a:lnTo>
                    <a:pt x="103" y="66"/>
                  </a:lnTo>
                  <a:lnTo>
                    <a:pt x="100" y="72"/>
                  </a:lnTo>
                  <a:lnTo>
                    <a:pt x="96" y="78"/>
                  </a:lnTo>
                  <a:lnTo>
                    <a:pt x="90" y="85"/>
                  </a:lnTo>
                  <a:lnTo>
                    <a:pt x="87" y="91"/>
                  </a:lnTo>
                  <a:lnTo>
                    <a:pt x="81" y="97"/>
                  </a:lnTo>
                  <a:lnTo>
                    <a:pt x="78" y="103"/>
                  </a:lnTo>
                  <a:lnTo>
                    <a:pt x="68" y="110"/>
                  </a:lnTo>
                  <a:lnTo>
                    <a:pt x="62" y="116"/>
                  </a:lnTo>
                  <a:lnTo>
                    <a:pt x="56" y="116"/>
                  </a:lnTo>
                  <a:lnTo>
                    <a:pt x="50" y="113"/>
                  </a:lnTo>
                  <a:lnTo>
                    <a:pt x="43" y="110"/>
                  </a:lnTo>
                  <a:lnTo>
                    <a:pt x="37" y="100"/>
                  </a:lnTo>
                  <a:lnTo>
                    <a:pt x="31" y="94"/>
                  </a:lnTo>
                  <a:lnTo>
                    <a:pt x="28" y="85"/>
                  </a:lnTo>
                  <a:lnTo>
                    <a:pt x="28" y="81"/>
                  </a:lnTo>
                  <a:lnTo>
                    <a:pt x="31" y="75"/>
                  </a:lnTo>
                  <a:lnTo>
                    <a:pt x="34" y="69"/>
                  </a:lnTo>
                  <a:lnTo>
                    <a:pt x="40" y="60"/>
                  </a:lnTo>
                  <a:lnTo>
                    <a:pt x="40" y="57"/>
                  </a:lnTo>
                  <a:lnTo>
                    <a:pt x="40" y="50"/>
                  </a:lnTo>
                  <a:lnTo>
                    <a:pt x="40" y="44"/>
                  </a:lnTo>
                  <a:lnTo>
                    <a:pt x="34" y="41"/>
                  </a:lnTo>
                  <a:lnTo>
                    <a:pt x="25" y="38"/>
                  </a:lnTo>
                  <a:lnTo>
                    <a:pt x="18" y="35"/>
                  </a:lnTo>
                  <a:lnTo>
                    <a:pt x="9" y="32"/>
                  </a:lnTo>
                  <a:lnTo>
                    <a:pt x="3" y="28"/>
                  </a:lnTo>
                  <a:lnTo>
                    <a:pt x="0" y="25"/>
                  </a:lnTo>
                  <a:lnTo>
                    <a:pt x="0" y="19"/>
                  </a:lnTo>
                  <a:lnTo>
                    <a:pt x="6" y="10"/>
                  </a:lnTo>
                  <a:lnTo>
                    <a:pt x="25" y="3"/>
                  </a:lnTo>
                  <a:lnTo>
                    <a:pt x="43" y="0"/>
                  </a:lnTo>
                  <a:lnTo>
                    <a:pt x="56" y="0"/>
                  </a:lnTo>
                  <a:lnTo>
                    <a:pt x="62" y="7"/>
                  </a:lnTo>
                  <a:lnTo>
                    <a:pt x="65" y="13"/>
                  </a:lnTo>
                  <a:lnTo>
                    <a:pt x="71" y="19"/>
                  </a:lnTo>
                  <a:lnTo>
                    <a:pt x="75" y="25"/>
                  </a:lnTo>
                  <a:lnTo>
                    <a:pt x="81" y="28"/>
                  </a:lnTo>
                  <a:lnTo>
                    <a:pt x="90" y="32"/>
                  </a:lnTo>
                  <a:lnTo>
                    <a:pt x="96" y="35"/>
                  </a:lnTo>
                  <a:lnTo>
                    <a:pt x="103" y="38"/>
                  </a:lnTo>
                  <a:lnTo>
                    <a:pt x="109" y="41"/>
                  </a:lnTo>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55" name="Freeform 40">
              <a:extLst>
                <a:ext uri="{FF2B5EF4-FFF2-40B4-BE49-F238E27FC236}">
                  <a16:creationId xmlns:a16="http://schemas.microsoft.com/office/drawing/2014/main" id="{FEA5C5C3-90CD-4F21-881D-6F3242613028}"/>
                </a:ext>
              </a:extLst>
            </p:cNvPr>
            <p:cNvSpPr>
              <a:spLocks/>
            </p:cNvSpPr>
            <p:nvPr/>
          </p:nvSpPr>
          <p:spPr bwMode="auto">
            <a:xfrm>
              <a:off x="8726488" y="-1889125"/>
              <a:ext cx="292100" cy="233363"/>
            </a:xfrm>
            <a:custGeom>
              <a:avLst/>
              <a:gdLst>
                <a:gd name="T0" fmla="*/ 184 w 184"/>
                <a:gd name="T1" fmla="*/ 97 h 147"/>
                <a:gd name="T2" fmla="*/ 184 w 184"/>
                <a:gd name="T3" fmla="*/ 106 h 147"/>
                <a:gd name="T4" fmla="*/ 184 w 184"/>
                <a:gd name="T5" fmla="*/ 113 h 147"/>
                <a:gd name="T6" fmla="*/ 181 w 184"/>
                <a:gd name="T7" fmla="*/ 125 h 147"/>
                <a:gd name="T8" fmla="*/ 175 w 184"/>
                <a:gd name="T9" fmla="*/ 135 h 147"/>
                <a:gd name="T10" fmla="*/ 172 w 184"/>
                <a:gd name="T11" fmla="*/ 141 h 147"/>
                <a:gd name="T12" fmla="*/ 166 w 184"/>
                <a:gd name="T13" fmla="*/ 147 h 147"/>
                <a:gd name="T14" fmla="*/ 150 w 184"/>
                <a:gd name="T15" fmla="*/ 147 h 147"/>
                <a:gd name="T16" fmla="*/ 131 w 184"/>
                <a:gd name="T17" fmla="*/ 141 h 147"/>
                <a:gd name="T18" fmla="*/ 113 w 184"/>
                <a:gd name="T19" fmla="*/ 135 h 147"/>
                <a:gd name="T20" fmla="*/ 94 w 184"/>
                <a:gd name="T21" fmla="*/ 131 h 147"/>
                <a:gd name="T22" fmla="*/ 88 w 184"/>
                <a:gd name="T23" fmla="*/ 131 h 147"/>
                <a:gd name="T24" fmla="*/ 75 w 184"/>
                <a:gd name="T25" fmla="*/ 138 h 147"/>
                <a:gd name="T26" fmla="*/ 66 w 184"/>
                <a:gd name="T27" fmla="*/ 141 h 147"/>
                <a:gd name="T28" fmla="*/ 56 w 184"/>
                <a:gd name="T29" fmla="*/ 144 h 147"/>
                <a:gd name="T30" fmla="*/ 47 w 184"/>
                <a:gd name="T31" fmla="*/ 147 h 147"/>
                <a:gd name="T32" fmla="*/ 41 w 184"/>
                <a:gd name="T33" fmla="*/ 144 h 147"/>
                <a:gd name="T34" fmla="*/ 31 w 184"/>
                <a:gd name="T35" fmla="*/ 141 h 147"/>
                <a:gd name="T36" fmla="*/ 19 w 184"/>
                <a:gd name="T37" fmla="*/ 138 h 147"/>
                <a:gd name="T38" fmla="*/ 10 w 184"/>
                <a:gd name="T39" fmla="*/ 135 h 147"/>
                <a:gd name="T40" fmla="*/ 6 w 184"/>
                <a:gd name="T41" fmla="*/ 128 h 147"/>
                <a:gd name="T42" fmla="*/ 0 w 184"/>
                <a:gd name="T43" fmla="*/ 106 h 147"/>
                <a:gd name="T44" fmla="*/ 0 w 184"/>
                <a:gd name="T45" fmla="*/ 81 h 147"/>
                <a:gd name="T46" fmla="*/ 6 w 184"/>
                <a:gd name="T47" fmla="*/ 63 h 147"/>
                <a:gd name="T48" fmla="*/ 10 w 184"/>
                <a:gd name="T49" fmla="*/ 60 h 147"/>
                <a:gd name="T50" fmla="*/ 16 w 184"/>
                <a:gd name="T51" fmla="*/ 57 h 147"/>
                <a:gd name="T52" fmla="*/ 22 w 184"/>
                <a:gd name="T53" fmla="*/ 53 h 147"/>
                <a:gd name="T54" fmla="*/ 28 w 184"/>
                <a:gd name="T55" fmla="*/ 53 h 147"/>
                <a:gd name="T56" fmla="*/ 38 w 184"/>
                <a:gd name="T57" fmla="*/ 50 h 147"/>
                <a:gd name="T58" fmla="*/ 41 w 184"/>
                <a:gd name="T59" fmla="*/ 50 h 147"/>
                <a:gd name="T60" fmla="*/ 44 w 184"/>
                <a:gd name="T61" fmla="*/ 44 h 147"/>
                <a:gd name="T62" fmla="*/ 47 w 184"/>
                <a:gd name="T63" fmla="*/ 35 h 147"/>
                <a:gd name="T64" fmla="*/ 50 w 184"/>
                <a:gd name="T65" fmla="*/ 28 h 147"/>
                <a:gd name="T66" fmla="*/ 50 w 184"/>
                <a:gd name="T67" fmla="*/ 19 h 147"/>
                <a:gd name="T68" fmla="*/ 53 w 184"/>
                <a:gd name="T69" fmla="*/ 10 h 147"/>
                <a:gd name="T70" fmla="*/ 56 w 184"/>
                <a:gd name="T71" fmla="*/ 3 h 147"/>
                <a:gd name="T72" fmla="*/ 63 w 184"/>
                <a:gd name="T73" fmla="*/ 0 h 147"/>
                <a:gd name="T74" fmla="*/ 78 w 184"/>
                <a:gd name="T75" fmla="*/ 3 h 147"/>
                <a:gd name="T76" fmla="*/ 97 w 184"/>
                <a:gd name="T77" fmla="*/ 13 h 147"/>
                <a:gd name="T78" fmla="*/ 113 w 184"/>
                <a:gd name="T79" fmla="*/ 28 h 147"/>
                <a:gd name="T80" fmla="*/ 128 w 184"/>
                <a:gd name="T81" fmla="*/ 41 h 147"/>
                <a:gd name="T82" fmla="*/ 147 w 184"/>
                <a:gd name="T83" fmla="*/ 57 h 147"/>
                <a:gd name="T84" fmla="*/ 172 w 184"/>
                <a:gd name="T85" fmla="*/ 78 h 147"/>
                <a:gd name="T86" fmla="*/ 184 w 184"/>
                <a:gd name="T87" fmla="*/ 9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4" h="147">
                  <a:moveTo>
                    <a:pt x="184" y="97"/>
                  </a:moveTo>
                  <a:lnTo>
                    <a:pt x="184" y="106"/>
                  </a:lnTo>
                  <a:lnTo>
                    <a:pt x="184" y="113"/>
                  </a:lnTo>
                  <a:lnTo>
                    <a:pt x="181" y="125"/>
                  </a:lnTo>
                  <a:lnTo>
                    <a:pt x="175" y="135"/>
                  </a:lnTo>
                  <a:lnTo>
                    <a:pt x="172" y="141"/>
                  </a:lnTo>
                  <a:lnTo>
                    <a:pt x="166" y="147"/>
                  </a:lnTo>
                  <a:lnTo>
                    <a:pt x="150" y="147"/>
                  </a:lnTo>
                  <a:lnTo>
                    <a:pt x="131" y="141"/>
                  </a:lnTo>
                  <a:lnTo>
                    <a:pt x="113" y="135"/>
                  </a:lnTo>
                  <a:lnTo>
                    <a:pt x="94" y="131"/>
                  </a:lnTo>
                  <a:lnTo>
                    <a:pt x="88" y="131"/>
                  </a:lnTo>
                  <a:lnTo>
                    <a:pt x="75" y="138"/>
                  </a:lnTo>
                  <a:lnTo>
                    <a:pt x="66" y="141"/>
                  </a:lnTo>
                  <a:lnTo>
                    <a:pt x="56" y="144"/>
                  </a:lnTo>
                  <a:lnTo>
                    <a:pt x="47" y="147"/>
                  </a:lnTo>
                  <a:lnTo>
                    <a:pt x="41" y="144"/>
                  </a:lnTo>
                  <a:lnTo>
                    <a:pt x="31" y="141"/>
                  </a:lnTo>
                  <a:lnTo>
                    <a:pt x="19" y="138"/>
                  </a:lnTo>
                  <a:lnTo>
                    <a:pt x="10" y="135"/>
                  </a:lnTo>
                  <a:lnTo>
                    <a:pt x="6" y="128"/>
                  </a:lnTo>
                  <a:lnTo>
                    <a:pt x="0" y="106"/>
                  </a:lnTo>
                  <a:lnTo>
                    <a:pt x="0" y="81"/>
                  </a:lnTo>
                  <a:lnTo>
                    <a:pt x="6" y="63"/>
                  </a:lnTo>
                  <a:lnTo>
                    <a:pt x="10" y="60"/>
                  </a:lnTo>
                  <a:lnTo>
                    <a:pt x="16" y="57"/>
                  </a:lnTo>
                  <a:lnTo>
                    <a:pt x="22" y="53"/>
                  </a:lnTo>
                  <a:lnTo>
                    <a:pt x="28" y="53"/>
                  </a:lnTo>
                  <a:lnTo>
                    <a:pt x="38" y="50"/>
                  </a:lnTo>
                  <a:lnTo>
                    <a:pt x="41" y="50"/>
                  </a:lnTo>
                  <a:lnTo>
                    <a:pt x="44" y="44"/>
                  </a:lnTo>
                  <a:lnTo>
                    <a:pt x="47" y="35"/>
                  </a:lnTo>
                  <a:lnTo>
                    <a:pt x="50" y="28"/>
                  </a:lnTo>
                  <a:lnTo>
                    <a:pt x="50" y="19"/>
                  </a:lnTo>
                  <a:lnTo>
                    <a:pt x="53" y="10"/>
                  </a:lnTo>
                  <a:lnTo>
                    <a:pt x="56" y="3"/>
                  </a:lnTo>
                  <a:lnTo>
                    <a:pt x="63" y="0"/>
                  </a:lnTo>
                  <a:lnTo>
                    <a:pt x="78" y="3"/>
                  </a:lnTo>
                  <a:lnTo>
                    <a:pt x="97" y="13"/>
                  </a:lnTo>
                  <a:lnTo>
                    <a:pt x="113" y="28"/>
                  </a:lnTo>
                  <a:lnTo>
                    <a:pt x="128" y="41"/>
                  </a:lnTo>
                  <a:lnTo>
                    <a:pt x="147" y="57"/>
                  </a:lnTo>
                  <a:lnTo>
                    <a:pt x="172" y="78"/>
                  </a:lnTo>
                  <a:lnTo>
                    <a:pt x="184" y="97"/>
                  </a:lnTo>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56" name="Freeform 42">
              <a:extLst>
                <a:ext uri="{FF2B5EF4-FFF2-40B4-BE49-F238E27FC236}">
                  <a16:creationId xmlns:a16="http://schemas.microsoft.com/office/drawing/2014/main" id="{2E192652-CDFC-4AF1-9AF3-952A2A00BEF8}"/>
                </a:ext>
              </a:extLst>
            </p:cNvPr>
            <p:cNvSpPr>
              <a:spLocks/>
            </p:cNvSpPr>
            <p:nvPr/>
          </p:nvSpPr>
          <p:spPr bwMode="auto">
            <a:xfrm>
              <a:off x="9078913" y="-2949575"/>
              <a:ext cx="238125" cy="263525"/>
            </a:xfrm>
            <a:custGeom>
              <a:avLst/>
              <a:gdLst>
                <a:gd name="T0" fmla="*/ 150 w 150"/>
                <a:gd name="T1" fmla="*/ 47 h 166"/>
                <a:gd name="T2" fmla="*/ 150 w 150"/>
                <a:gd name="T3" fmla="*/ 69 h 166"/>
                <a:gd name="T4" fmla="*/ 147 w 150"/>
                <a:gd name="T5" fmla="*/ 94 h 166"/>
                <a:gd name="T6" fmla="*/ 137 w 150"/>
                <a:gd name="T7" fmla="*/ 122 h 166"/>
                <a:gd name="T8" fmla="*/ 125 w 150"/>
                <a:gd name="T9" fmla="*/ 141 h 166"/>
                <a:gd name="T10" fmla="*/ 119 w 150"/>
                <a:gd name="T11" fmla="*/ 144 h 166"/>
                <a:gd name="T12" fmla="*/ 112 w 150"/>
                <a:gd name="T13" fmla="*/ 147 h 166"/>
                <a:gd name="T14" fmla="*/ 103 w 150"/>
                <a:gd name="T15" fmla="*/ 150 h 166"/>
                <a:gd name="T16" fmla="*/ 94 w 150"/>
                <a:gd name="T17" fmla="*/ 153 h 166"/>
                <a:gd name="T18" fmla="*/ 87 w 150"/>
                <a:gd name="T19" fmla="*/ 156 h 166"/>
                <a:gd name="T20" fmla="*/ 81 w 150"/>
                <a:gd name="T21" fmla="*/ 156 h 166"/>
                <a:gd name="T22" fmla="*/ 72 w 150"/>
                <a:gd name="T23" fmla="*/ 159 h 166"/>
                <a:gd name="T24" fmla="*/ 62 w 150"/>
                <a:gd name="T25" fmla="*/ 162 h 166"/>
                <a:gd name="T26" fmla="*/ 53 w 150"/>
                <a:gd name="T27" fmla="*/ 166 h 166"/>
                <a:gd name="T28" fmla="*/ 47 w 150"/>
                <a:gd name="T29" fmla="*/ 166 h 166"/>
                <a:gd name="T30" fmla="*/ 37 w 150"/>
                <a:gd name="T31" fmla="*/ 166 h 166"/>
                <a:gd name="T32" fmla="*/ 34 w 150"/>
                <a:gd name="T33" fmla="*/ 159 h 166"/>
                <a:gd name="T34" fmla="*/ 28 w 150"/>
                <a:gd name="T35" fmla="*/ 153 h 166"/>
                <a:gd name="T36" fmla="*/ 25 w 150"/>
                <a:gd name="T37" fmla="*/ 147 h 166"/>
                <a:gd name="T38" fmla="*/ 22 w 150"/>
                <a:gd name="T39" fmla="*/ 141 h 166"/>
                <a:gd name="T40" fmla="*/ 12 w 150"/>
                <a:gd name="T41" fmla="*/ 119 h 166"/>
                <a:gd name="T42" fmla="*/ 3 w 150"/>
                <a:gd name="T43" fmla="*/ 94 h 166"/>
                <a:gd name="T44" fmla="*/ 0 w 150"/>
                <a:gd name="T45" fmla="*/ 72 h 166"/>
                <a:gd name="T46" fmla="*/ 3 w 150"/>
                <a:gd name="T47" fmla="*/ 66 h 166"/>
                <a:gd name="T48" fmla="*/ 6 w 150"/>
                <a:gd name="T49" fmla="*/ 59 h 166"/>
                <a:gd name="T50" fmla="*/ 9 w 150"/>
                <a:gd name="T51" fmla="*/ 50 h 166"/>
                <a:gd name="T52" fmla="*/ 12 w 150"/>
                <a:gd name="T53" fmla="*/ 44 h 166"/>
                <a:gd name="T54" fmla="*/ 15 w 150"/>
                <a:gd name="T55" fmla="*/ 38 h 166"/>
                <a:gd name="T56" fmla="*/ 15 w 150"/>
                <a:gd name="T57" fmla="*/ 28 h 166"/>
                <a:gd name="T58" fmla="*/ 19 w 150"/>
                <a:gd name="T59" fmla="*/ 19 h 166"/>
                <a:gd name="T60" fmla="*/ 22 w 150"/>
                <a:gd name="T61" fmla="*/ 13 h 166"/>
                <a:gd name="T62" fmla="*/ 25 w 150"/>
                <a:gd name="T63" fmla="*/ 6 h 166"/>
                <a:gd name="T64" fmla="*/ 40 w 150"/>
                <a:gd name="T65" fmla="*/ 0 h 166"/>
                <a:gd name="T66" fmla="*/ 62 w 150"/>
                <a:gd name="T67" fmla="*/ 0 h 166"/>
                <a:gd name="T68" fmla="*/ 84 w 150"/>
                <a:gd name="T69" fmla="*/ 3 h 166"/>
                <a:gd name="T70" fmla="*/ 100 w 150"/>
                <a:gd name="T71" fmla="*/ 6 h 166"/>
                <a:gd name="T72" fmla="*/ 109 w 150"/>
                <a:gd name="T73" fmla="*/ 9 h 166"/>
                <a:gd name="T74" fmla="*/ 119 w 150"/>
                <a:gd name="T75" fmla="*/ 16 h 166"/>
                <a:gd name="T76" fmla="*/ 128 w 150"/>
                <a:gd name="T77" fmla="*/ 22 h 166"/>
                <a:gd name="T78" fmla="*/ 137 w 150"/>
                <a:gd name="T79" fmla="*/ 31 h 166"/>
                <a:gd name="T80" fmla="*/ 143 w 150"/>
                <a:gd name="T81" fmla="*/ 41 h 166"/>
                <a:gd name="T82" fmla="*/ 150 w 150"/>
                <a:gd name="T83" fmla="*/ 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66">
                  <a:moveTo>
                    <a:pt x="150" y="47"/>
                  </a:moveTo>
                  <a:lnTo>
                    <a:pt x="150" y="69"/>
                  </a:lnTo>
                  <a:lnTo>
                    <a:pt x="147" y="94"/>
                  </a:lnTo>
                  <a:lnTo>
                    <a:pt x="137" y="122"/>
                  </a:lnTo>
                  <a:lnTo>
                    <a:pt x="125" y="141"/>
                  </a:lnTo>
                  <a:lnTo>
                    <a:pt x="119" y="144"/>
                  </a:lnTo>
                  <a:lnTo>
                    <a:pt x="112" y="147"/>
                  </a:lnTo>
                  <a:lnTo>
                    <a:pt x="103" y="150"/>
                  </a:lnTo>
                  <a:lnTo>
                    <a:pt x="94" y="153"/>
                  </a:lnTo>
                  <a:lnTo>
                    <a:pt x="87" y="156"/>
                  </a:lnTo>
                  <a:lnTo>
                    <a:pt x="81" y="156"/>
                  </a:lnTo>
                  <a:lnTo>
                    <a:pt x="72" y="159"/>
                  </a:lnTo>
                  <a:lnTo>
                    <a:pt x="62" y="162"/>
                  </a:lnTo>
                  <a:lnTo>
                    <a:pt x="53" y="166"/>
                  </a:lnTo>
                  <a:lnTo>
                    <a:pt x="47" y="166"/>
                  </a:lnTo>
                  <a:lnTo>
                    <a:pt x="37" y="166"/>
                  </a:lnTo>
                  <a:lnTo>
                    <a:pt x="34" y="159"/>
                  </a:lnTo>
                  <a:lnTo>
                    <a:pt x="28" y="153"/>
                  </a:lnTo>
                  <a:lnTo>
                    <a:pt x="25" y="147"/>
                  </a:lnTo>
                  <a:lnTo>
                    <a:pt x="22" y="141"/>
                  </a:lnTo>
                  <a:lnTo>
                    <a:pt x="12" y="119"/>
                  </a:lnTo>
                  <a:lnTo>
                    <a:pt x="3" y="94"/>
                  </a:lnTo>
                  <a:lnTo>
                    <a:pt x="0" y="72"/>
                  </a:lnTo>
                  <a:lnTo>
                    <a:pt x="3" y="66"/>
                  </a:lnTo>
                  <a:lnTo>
                    <a:pt x="6" y="59"/>
                  </a:lnTo>
                  <a:lnTo>
                    <a:pt x="9" y="50"/>
                  </a:lnTo>
                  <a:lnTo>
                    <a:pt x="12" y="44"/>
                  </a:lnTo>
                  <a:lnTo>
                    <a:pt x="15" y="38"/>
                  </a:lnTo>
                  <a:lnTo>
                    <a:pt x="15" y="28"/>
                  </a:lnTo>
                  <a:lnTo>
                    <a:pt x="19" y="19"/>
                  </a:lnTo>
                  <a:lnTo>
                    <a:pt x="22" y="13"/>
                  </a:lnTo>
                  <a:lnTo>
                    <a:pt x="25" y="6"/>
                  </a:lnTo>
                  <a:lnTo>
                    <a:pt x="40" y="0"/>
                  </a:lnTo>
                  <a:lnTo>
                    <a:pt x="62" y="0"/>
                  </a:lnTo>
                  <a:lnTo>
                    <a:pt x="84" y="3"/>
                  </a:lnTo>
                  <a:lnTo>
                    <a:pt x="100" y="6"/>
                  </a:lnTo>
                  <a:lnTo>
                    <a:pt x="109" y="9"/>
                  </a:lnTo>
                  <a:lnTo>
                    <a:pt x="119" y="16"/>
                  </a:lnTo>
                  <a:lnTo>
                    <a:pt x="128" y="22"/>
                  </a:lnTo>
                  <a:lnTo>
                    <a:pt x="137" y="31"/>
                  </a:lnTo>
                  <a:lnTo>
                    <a:pt x="143" y="41"/>
                  </a:lnTo>
                  <a:lnTo>
                    <a:pt x="150" y="47"/>
                  </a:lnTo>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57" name="Freeform 43">
              <a:extLst>
                <a:ext uri="{FF2B5EF4-FFF2-40B4-BE49-F238E27FC236}">
                  <a16:creationId xmlns:a16="http://schemas.microsoft.com/office/drawing/2014/main" id="{74A4D62E-9AA5-47A2-8834-A65BBD49A4F8}"/>
                </a:ext>
              </a:extLst>
            </p:cNvPr>
            <p:cNvSpPr>
              <a:spLocks/>
            </p:cNvSpPr>
            <p:nvPr/>
          </p:nvSpPr>
          <p:spPr bwMode="auto">
            <a:xfrm>
              <a:off x="8513763" y="-8416925"/>
              <a:ext cx="8778875" cy="8407400"/>
            </a:xfrm>
            <a:custGeom>
              <a:avLst/>
              <a:gdLst>
                <a:gd name="T0" fmla="*/ 5374 w 5530"/>
                <a:gd name="T1" fmla="*/ 1265 h 5296"/>
                <a:gd name="T2" fmla="*/ 5312 w 5530"/>
                <a:gd name="T3" fmla="*/ 1614 h 5296"/>
                <a:gd name="T4" fmla="*/ 5090 w 5530"/>
                <a:gd name="T5" fmla="*/ 1980 h 5296"/>
                <a:gd name="T6" fmla="*/ 4828 w 5530"/>
                <a:gd name="T7" fmla="*/ 2223 h 5296"/>
                <a:gd name="T8" fmla="*/ 4459 w 5530"/>
                <a:gd name="T9" fmla="*/ 2323 h 5296"/>
                <a:gd name="T10" fmla="*/ 4306 w 5530"/>
                <a:gd name="T11" fmla="*/ 2879 h 5296"/>
                <a:gd name="T12" fmla="*/ 4144 w 5530"/>
                <a:gd name="T13" fmla="*/ 3350 h 5296"/>
                <a:gd name="T14" fmla="*/ 3944 w 5530"/>
                <a:gd name="T15" fmla="*/ 3478 h 5296"/>
                <a:gd name="T16" fmla="*/ 3781 w 5530"/>
                <a:gd name="T17" fmla="*/ 3469 h 5296"/>
                <a:gd name="T18" fmla="*/ 3379 w 5530"/>
                <a:gd name="T19" fmla="*/ 3507 h 5296"/>
                <a:gd name="T20" fmla="*/ 3135 w 5530"/>
                <a:gd name="T21" fmla="*/ 3628 h 5296"/>
                <a:gd name="T22" fmla="*/ 2742 w 5530"/>
                <a:gd name="T23" fmla="*/ 3691 h 5296"/>
                <a:gd name="T24" fmla="*/ 2520 w 5530"/>
                <a:gd name="T25" fmla="*/ 3597 h 5296"/>
                <a:gd name="T26" fmla="*/ 2692 w 5530"/>
                <a:gd name="T27" fmla="*/ 3962 h 5296"/>
                <a:gd name="T28" fmla="*/ 2823 w 5530"/>
                <a:gd name="T29" fmla="*/ 4190 h 5296"/>
                <a:gd name="T30" fmla="*/ 2941 w 5530"/>
                <a:gd name="T31" fmla="*/ 4446 h 5296"/>
                <a:gd name="T32" fmla="*/ 2973 w 5530"/>
                <a:gd name="T33" fmla="*/ 4927 h 5296"/>
                <a:gd name="T34" fmla="*/ 3013 w 5530"/>
                <a:gd name="T35" fmla="*/ 5087 h 5296"/>
                <a:gd name="T36" fmla="*/ 2885 w 5530"/>
                <a:gd name="T37" fmla="*/ 5261 h 5296"/>
                <a:gd name="T38" fmla="*/ 2520 w 5530"/>
                <a:gd name="T39" fmla="*/ 5233 h 5296"/>
                <a:gd name="T40" fmla="*/ 2214 w 5530"/>
                <a:gd name="T41" fmla="*/ 5196 h 5296"/>
                <a:gd name="T42" fmla="*/ 1986 w 5530"/>
                <a:gd name="T43" fmla="*/ 5246 h 5296"/>
                <a:gd name="T44" fmla="*/ 1889 w 5530"/>
                <a:gd name="T45" fmla="*/ 5224 h 5296"/>
                <a:gd name="T46" fmla="*/ 1624 w 5530"/>
                <a:gd name="T47" fmla="*/ 5146 h 5296"/>
                <a:gd name="T48" fmla="*/ 1546 w 5530"/>
                <a:gd name="T49" fmla="*/ 4959 h 5296"/>
                <a:gd name="T50" fmla="*/ 1290 w 5530"/>
                <a:gd name="T51" fmla="*/ 4874 h 5296"/>
                <a:gd name="T52" fmla="*/ 1074 w 5530"/>
                <a:gd name="T53" fmla="*/ 4749 h 5296"/>
                <a:gd name="T54" fmla="*/ 877 w 5530"/>
                <a:gd name="T55" fmla="*/ 4287 h 5296"/>
                <a:gd name="T56" fmla="*/ 646 w 5530"/>
                <a:gd name="T57" fmla="*/ 4034 h 5296"/>
                <a:gd name="T58" fmla="*/ 696 w 5530"/>
                <a:gd name="T59" fmla="*/ 3688 h 5296"/>
                <a:gd name="T60" fmla="*/ 806 w 5530"/>
                <a:gd name="T61" fmla="*/ 3475 h 5296"/>
                <a:gd name="T62" fmla="*/ 471 w 5530"/>
                <a:gd name="T63" fmla="*/ 3238 h 5296"/>
                <a:gd name="T64" fmla="*/ 556 w 5530"/>
                <a:gd name="T65" fmla="*/ 2941 h 5296"/>
                <a:gd name="T66" fmla="*/ 946 w 5530"/>
                <a:gd name="T67" fmla="*/ 2938 h 5296"/>
                <a:gd name="T68" fmla="*/ 1265 w 5530"/>
                <a:gd name="T69" fmla="*/ 3060 h 5296"/>
                <a:gd name="T70" fmla="*/ 1068 w 5530"/>
                <a:gd name="T71" fmla="*/ 2904 h 5296"/>
                <a:gd name="T72" fmla="*/ 721 w 5530"/>
                <a:gd name="T73" fmla="*/ 2788 h 5296"/>
                <a:gd name="T74" fmla="*/ 334 w 5530"/>
                <a:gd name="T75" fmla="*/ 2951 h 5296"/>
                <a:gd name="T76" fmla="*/ 22 w 5530"/>
                <a:gd name="T77" fmla="*/ 2838 h 5296"/>
                <a:gd name="T78" fmla="*/ 119 w 5530"/>
                <a:gd name="T79" fmla="*/ 2816 h 5296"/>
                <a:gd name="T80" fmla="*/ 56 w 5530"/>
                <a:gd name="T81" fmla="*/ 2557 h 5296"/>
                <a:gd name="T82" fmla="*/ 250 w 5530"/>
                <a:gd name="T83" fmla="*/ 2445 h 5296"/>
                <a:gd name="T84" fmla="*/ 556 w 5530"/>
                <a:gd name="T85" fmla="*/ 2432 h 5296"/>
                <a:gd name="T86" fmla="*/ 746 w 5530"/>
                <a:gd name="T87" fmla="*/ 2120 h 5296"/>
                <a:gd name="T88" fmla="*/ 1115 w 5530"/>
                <a:gd name="T89" fmla="*/ 1930 h 5296"/>
                <a:gd name="T90" fmla="*/ 1499 w 5530"/>
                <a:gd name="T91" fmla="*/ 1808 h 5296"/>
                <a:gd name="T92" fmla="*/ 1930 w 5530"/>
                <a:gd name="T93" fmla="*/ 1733 h 5296"/>
                <a:gd name="T94" fmla="*/ 2233 w 5530"/>
                <a:gd name="T95" fmla="*/ 1418 h 5296"/>
                <a:gd name="T96" fmla="*/ 2417 w 5530"/>
                <a:gd name="T97" fmla="*/ 1099 h 5296"/>
                <a:gd name="T98" fmla="*/ 2404 w 5530"/>
                <a:gd name="T99" fmla="*/ 571 h 5296"/>
                <a:gd name="T100" fmla="*/ 2560 w 5530"/>
                <a:gd name="T101" fmla="*/ 109 h 5296"/>
                <a:gd name="T102" fmla="*/ 2798 w 5530"/>
                <a:gd name="T103" fmla="*/ 175 h 5296"/>
                <a:gd name="T104" fmla="*/ 3023 w 5530"/>
                <a:gd name="T105" fmla="*/ 184 h 5296"/>
                <a:gd name="T106" fmla="*/ 3276 w 5530"/>
                <a:gd name="T107" fmla="*/ 190 h 5296"/>
                <a:gd name="T108" fmla="*/ 3597 w 5530"/>
                <a:gd name="T109" fmla="*/ 159 h 5296"/>
                <a:gd name="T110" fmla="*/ 3744 w 5530"/>
                <a:gd name="T111" fmla="*/ 72 h 5296"/>
                <a:gd name="T112" fmla="*/ 3894 w 5530"/>
                <a:gd name="T113" fmla="*/ 200 h 5296"/>
                <a:gd name="T114" fmla="*/ 4100 w 5530"/>
                <a:gd name="T115" fmla="*/ 437 h 5296"/>
                <a:gd name="T116" fmla="*/ 4331 w 5530"/>
                <a:gd name="T117" fmla="*/ 303 h 5296"/>
                <a:gd name="T118" fmla="*/ 4712 w 5530"/>
                <a:gd name="T119" fmla="*/ 309 h 5296"/>
                <a:gd name="T120" fmla="*/ 4843 w 5530"/>
                <a:gd name="T121" fmla="*/ 624 h 5296"/>
                <a:gd name="T122" fmla="*/ 5099 w 5530"/>
                <a:gd name="T123" fmla="*/ 743 h 5296"/>
                <a:gd name="T124" fmla="*/ 5402 w 5530"/>
                <a:gd name="T125" fmla="*/ 952 h 5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530" h="5296">
                  <a:moveTo>
                    <a:pt x="5530" y="1021"/>
                  </a:moveTo>
                  <a:lnTo>
                    <a:pt x="5530" y="1037"/>
                  </a:lnTo>
                  <a:lnTo>
                    <a:pt x="5527" y="1058"/>
                  </a:lnTo>
                  <a:lnTo>
                    <a:pt x="5521" y="1071"/>
                  </a:lnTo>
                  <a:lnTo>
                    <a:pt x="5505" y="1080"/>
                  </a:lnTo>
                  <a:lnTo>
                    <a:pt x="5486" y="1083"/>
                  </a:lnTo>
                  <a:lnTo>
                    <a:pt x="5468" y="1087"/>
                  </a:lnTo>
                  <a:lnTo>
                    <a:pt x="5455" y="1093"/>
                  </a:lnTo>
                  <a:lnTo>
                    <a:pt x="5452" y="1108"/>
                  </a:lnTo>
                  <a:lnTo>
                    <a:pt x="5455" y="1127"/>
                  </a:lnTo>
                  <a:lnTo>
                    <a:pt x="5461" y="1146"/>
                  </a:lnTo>
                  <a:lnTo>
                    <a:pt x="5458" y="1161"/>
                  </a:lnTo>
                  <a:lnTo>
                    <a:pt x="5455" y="1168"/>
                  </a:lnTo>
                  <a:lnTo>
                    <a:pt x="5443" y="1177"/>
                  </a:lnTo>
                  <a:lnTo>
                    <a:pt x="5433" y="1183"/>
                  </a:lnTo>
                  <a:lnTo>
                    <a:pt x="5421" y="1193"/>
                  </a:lnTo>
                  <a:lnTo>
                    <a:pt x="5415" y="1199"/>
                  </a:lnTo>
                  <a:lnTo>
                    <a:pt x="5402" y="1211"/>
                  </a:lnTo>
                  <a:lnTo>
                    <a:pt x="5387" y="1230"/>
                  </a:lnTo>
                  <a:lnTo>
                    <a:pt x="5377" y="1249"/>
                  </a:lnTo>
                  <a:lnTo>
                    <a:pt x="5374" y="1265"/>
                  </a:lnTo>
                  <a:lnTo>
                    <a:pt x="5383" y="1277"/>
                  </a:lnTo>
                  <a:lnTo>
                    <a:pt x="5399" y="1283"/>
                  </a:lnTo>
                  <a:lnTo>
                    <a:pt x="5418" y="1289"/>
                  </a:lnTo>
                  <a:lnTo>
                    <a:pt x="5433" y="1296"/>
                  </a:lnTo>
                  <a:lnTo>
                    <a:pt x="5443" y="1305"/>
                  </a:lnTo>
                  <a:lnTo>
                    <a:pt x="5443" y="1324"/>
                  </a:lnTo>
                  <a:lnTo>
                    <a:pt x="5436" y="1349"/>
                  </a:lnTo>
                  <a:lnTo>
                    <a:pt x="5427" y="1371"/>
                  </a:lnTo>
                  <a:lnTo>
                    <a:pt x="5418" y="1396"/>
                  </a:lnTo>
                  <a:lnTo>
                    <a:pt x="5415" y="1414"/>
                  </a:lnTo>
                  <a:lnTo>
                    <a:pt x="5418" y="1436"/>
                  </a:lnTo>
                  <a:lnTo>
                    <a:pt x="5424" y="1461"/>
                  </a:lnTo>
                  <a:lnTo>
                    <a:pt x="5427" y="1483"/>
                  </a:lnTo>
                  <a:lnTo>
                    <a:pt x="5424" y="1508"/>
                  </a:lnTo>
                  <a:lnTo>
                    <a:pt x="5415" y="1536"/>
                  </a:lnTo>
                  <a:lnTo>
                    <a:pt x="5405" y="1564"/>
                  </a:lnTo>
                  <a:lnTo>
                    <a:pt x="5393" y="1583"/>
                  </a:lnTo>
                  <a:lnTo>
                    <a:pt x="5377" y="1592"/>
                  </a:lnTo>
                  <a:lnTo>
                    <a:pt x="5355" y="1599"/>
                  </a:lnTo>
                  <a:lnTo>
                    <a:pt x="5333" y="1605"/>
                  </a:lnTo>
                  <a:lnTo>
                    <a:pt x="5312" y="1614"/>
                  </a:lnTo>
                  <a:lnTo>
                    <a:pt x="5302" y="1624"/>
                  </a:lnTo>
                  <a:lnTo>
                    <a:pt x="5299" y="1639"/>
                  </a:lnTo>
                  <a:lnTo>
                    <a:pt x="5305" y="1661"/>
                  </a:lnTo>
                  <a:lnTo>
                    <a:pt x="5315" y="1683"/>
                  </a:lnTo>
                  <a:lnTo>
                    <a:pt x="5321" y="1702"/>
                  </a:lnTo>
                  <a:lnTo>
                    <a:pt x="5321" y="1720"/>
                  </a:lnTo>
                  <a:lnTo>
                    <a:pt x="5315" y="1736"/>
                  </a:lnTo>
                  <a:lnTo>
                    <a:pt x="5299" y="1755"/>
                  </a:lnTo>
                  <a:lnTo>
                    <a:pt x="5283" y="1770"/>
                  </a:lnTo>
                  <a:lnTo>
                    <a:pt x="5274" y="1786"/>
                  </a:lnTo>
                  <a:lnTo>
                    <a:pt x="5268" y="1814"/>
                  </a:lnTo>
                  <a:lnTo>
                    <a:pt x="5262" y="1848"/>
                  </a:lnTo>
                  <a:lnTo>
                    <a:pt x="5258" y="1880"/>
                  </a:lnTo>
                  <a:lnTo>
                    <a:pt x="5249" y="1905"/>
                  </a:lnTo>
                  <a:lnTo>
                    <a:pt x="5234" y="1926"/>
                  </a:lnTo>
                  <a:lnTo>
                    <a:pt x="5209" y="1948"/>
                  </a:lnTo>
                  <a:lnTo>
                    <a:pt x="5187" y="1964"/>
                  </a:lnTo>
                  <a:lnTo>
                    <a:pt x="5165" y="1970"/>
                  </a:lnTo>
                  <a:lnTo>
                    <a:pt x="5137" y="1970"/>
                  </a:lnTo>
                  <a:lnTo>
                    <a:pt x="5112" y="1973"/>
                  </a:lnTo>
                  <a:lnTo>
                    <a:pt x="5090" y="1980"/>
                  </a:lnTo>
                  <a:lnTo>
                    <a:pt x="5071" y="1998"/>
                  </a:lnTo>
                  <a:lnTo>
                    <a:pt x="5056" y="2023"/>
                  </a:lnTo>
                  <a:lnTo>
                    <a:pt x="5046" y="2048"/>
                  </a:lnTo>
                  <a:lnTo>
                    <a:pt x="5043" y="2067"/>
                  </a:lnTo>
                  <a:lnTo>
                    <a:pt x="5046" y="2089"/>
                  </a:lnTo>
                  <a:lnTo>
                    <a:pt x="5049" y="2111"/>
                  </a:lnTo>
                  <a:lnTo>
                    <a:pt x="5046" y="2129"/>
                  </a:lnTo>
                  <a:lnTo>
                    <a:pt x="5043" y="2136"/>
                  </a:lnTo>
                  <a:lnTo>
                    <a:pt x="5037" y="2145"/>
                  </a:lnTo>
                  <a:lnTo>
                    <a:pt x="5027" y="2158"/>
                  </a:lnTo>
                  <a:lnTo>
                    <a:pt x="5021" y="2167"/>
                  </a:lnTo>
                  <a:lnTo>
                    <a:pt x="5012" y="2173"/>
                  </a:lnTo>
                  <a:lnTo>
                    <a:pt x="5002" y="2179"/>
                  </a:lnTo>
                  <a:lnTo>
                    <a:pt x="4984" y="2183"/>
                  </a:lnTo>
                  <a:lnTo>
                    <a:pt x="4959" y="2179"/>
                  </a:lnTo>
                  <a:lnTo>
                    <a:pt x="4934" y="2176"/>
                  </a:lnTo>
                  <a:lnTo>
                    <a:pt x="4915" y="2179"/>
                  </a:lnTo>
                  <a:lnTo>
                    <a:pt x="4893" y="2192"/>
                  </a:lnTo>
                  <a:lnTo>
                    <a:pt x="4868" y="2211"/>
                  </a:lnTo>
                  <a:lnTo>
                    <a:pt x="4846" y="2223"/>
                  </a:lnTo>
                  <a:lnTo>
                    <a:pt x="4828" y="2223"/>
                  </a:lnTo>
                  <a:lnTo>
                    <a:pt x="4806" y="2223"/>
                  </a:lnTo>
                  <a:lnTo>
                    <a:pt x="4787" y="2223"/>
                  </a:lnTo>
                  <a:lnTo>
                    <a:pt x="4759" y="2226"/>
                  </a:lnTo>
                  <a:lnTo>
                    <a:pt x="4728" y="2236"/>
                  </a:lnTo>
                  <a:lnTo>
                    <a:pt x="4703" y="2248"/>
                  </a:lnTo>
                  <a:lnTo>
                    <a:pt x="4693" y="2267"/>
                  </a:lnTo>
                  <a:lnTo>
                    <a:pt x="4687" y="2292"/>
                  </a:lnTo>
                  <a:lnTo>
                    <a:pt x="4678" y="2317"/>
                  </a:lnTo>
                  <a:lnTo>
                    <a:pt x="4668" y="2336"/>
                  </a:lnTo>
                  <a:lnTo>
                    <a:pt x="4662" y="2339"/>
                  </a:lnTo>
                  <a:lnTo>
                    <a:pt x="4653" y="2339"/>
                  </a:lnTo>
                  <a:lnTo>
                    <a:pt x="4640" y="2342"/>
                  </a:lnTo>
                  <a:lnTo>
                    <a:pt x="4631" y="2339"/>
                  </a:lnTo>
                  <a:lnTo>
                    <a:pt x="4621" y="2339"/>
                  </a:lnTo>
                  <a:lnTo>
                    <a:pt x="4600" y="2332"/>
                  </a:lnTo>
                  <a:lnTo>
                    <a:pt x="4578" y="2320"/>
                  </a:lnTo>
                  <a:lnTo>
                    <a:pt x="4556" y="2311"/>
                  </a:lnTo>
                  <a:lnTo>
                    <a:pt x="4531" y="2307"/>
                  </a:lnTo>
                  <a:lnTo>
                    <a:pt x="4500" y="2304"/>
                  </a:lnTo>
                  <a:lnTo>
                    <a:pt x="4478" y="2311"/>
                  </a:lnTo>
                  <a:lnTo>
                    <a:pt x="4459" y="2323"/>
                  </a:lnTo>
                  <a:lnTo>
                    <a:pt x="4440" y="2342"/>
                  </a:lnTo>
                  <a:lnTo>
                    <a:pt x="4425" y="2361"/>
                  </a:lnTo>
                  <a:lnTo>
                    <a:pt x="4412" y="2382"/>
                  </a:lnTo>
                  <a:lnTo>
                    <a:pt x="4409" y="2410"/>
                  </a:lnTo>
                  <a:lnTo>
                    <a:pt x="4409" y="2445"/>
                  </a:lnTo>
                  <a:lnTo>
                    <a:pt x="4412" y="2479"/>
                  </a:lnTo>
                  <a:lnTo>
                    <a:pt x="4409" y="2507"/>
                  </a:lnTo>
                  <a:lnTo>
                    <a:pt x="4403" y="2526"/>
                  </a:lnTo>
                  <a:lnTo>
                    <a:pt x="4390" y="2551"/>
                  </a:lnTo>
                  <a:lnTo>
                    <a:pt x="4378" y="2573"/>
                  </a:lnTo>
                  <a:lnTo>
                    <a:pt x="4369" y="2592"/>
                  </a:lnTo>
                  <a:lnTo>
                    <a:pt x="4359" y="2623"/>
                  </a:lnTo>
                  <a:lnTo>
                    <a:pt x="4350" y="2660"/>
                  </a:lnTo>
                  <a:lnTo>
                    <a:pt x="4340" y="2698"/>
                  </a:lnTo>
                  <a:lnTo>
                    <a:pt x="4334" y="2729"/>
                  </a:lnTo>
                  <a:lnTo>
                    <a:pt x="4334" y="2751"/>
                  </a:lnTo>
                  <a:lnTo>
                    <a:pt x="4334" y="2779"/>
                  </a:lnTo>
                  <a:lnTo>
                    <a:pt x="4334" y="2807"/>
                  </a:lnTo>
                  <a:lnTo>
                    <a:pt x="4331" y="2829"/>
                  </a:lnTo>
                  <a:lnTo>
                    <a:pt x="4322" y="2851"/>
                  </a:lnTo>
                  <a:lnTo>
                    <a:pt x="4306" y="2879"/>
                  </a:lnTo>
                  <a:lnTo>
                    <a:pt x="4287" y="2907"/>
                  </a:lnTo>
                  <a:lnTo>
                    <a:pt x="4272" y="2926"/>
                  </a:lnTo>
                  <a:lnTo>
                    <a:pt x="4256" y="2938"/>
                  </a:lnTo>
                  <a:lnTo>
                    <a:pt x="4234" y="2951"/>
                  </a:lnTo>
                  <a:lnTo>
                    <a:pt x="4212" y="2963"/>
                  </a:lnTo>
                  <a:lnTo>
                    <a:pt x="4197" y="2976"/>
                  </a:lnTo>
                  <a:lnTo>
                    <a:pt x="4194" y="2991"/>
                  </a:lnTo>
                  <a:lnTo>
                    <a:pt x="4191" y="3013"/>
                  </a:lnTo>
                  <a:lnTo>
                    <a:pt x="4191" y="3032"/>
                  </a:lnTo>
                  <a:lnTo>
                    <a:pt x="4191" y="3047"/>
                  </a:lnTo>
                  <a:lnTo>
                    <a:pt x="4184" y="3076"/>
                  </a:lnTo>
                  <a:lnTo>
                    <a:pt x="4175" y="3107"/>
                  </a:lnTo>
                  <a:lnTo>
                    <a:pt x="4166" y="3141"/>
                  </a:lnTo>
                  <a:lnTo>
                    <a:pt x="4159" y="3166"/>
                  </a:lnTo>
                  <a:lnTo>
                    <a:pt x="4156" y="3197"/>
                  </a:lnTo>
                  <a:lnTo>
                    <a:pt x="4153" y="3232"/>
                  </a:lnTo>
                  <a:lnTo>
                    <a:pt x="4153" y="3272"/>
                  </a:lnTo>
                  <a:lnTo>
                    <a:pt x="4153" y="3307"/>
                  </a:lnTo>
                  <a:lnTo>
                    <a:pt x="4159" y="3335"/>
                  </a:lnTo>
                  <a:lnTo>
                    <a:pt x="4166" y="3341"/>
                  </a:lnTo>
                  <a:lnTo>
                    <a:pt x="4144" y="3350"/>
                  </a:lnTo>
                  <a:lnTo>
                    <a:pt x="4125" y="3357"/>
                  </a:lnTo>
                  <a:lnTo>
                    <a:pt x="4109" y="3357"/>
                  </a:lnTo>
                  <a:lnTo>
                    <a:pt x="4103" y="3354"/>
                  </a:lnTo>
                  <a:lnTo>
                    <a:pt x="4100" y="3344"/>
                  </a:lnTo>
                  <a:lnTo>
                    <a:pt x="4094" y="3338"/>
                  </a:lnTo>
                  <a:lnTo>
                    <a:pt x="4087" y="3329"/>
                  </a:lnTo>
                  <a:lnTo>
                    <a:pt x="4084" y="3319"/>
                  </a:lnTo>
                  <a:lnTo>
                    <a:pt x="4078" y="3316"/>
                  </a:lnTo>
                  <a:lnTo>
                    <a:pt x="4062" y="3313"/>
                  </a:lnTo>
                  <a:lnTo>
                    <a:pt x="4044" y="3313"/>
                  </a:lnTo>
                  <a:lnTo>
                    <a:pt x="4028" y="3316"/>
                  </a:lnTo>
                  <a:lnTo>
                    <a:pt x="4009" y="3329"/>
                  </a:lnTo>
                  <a:lnTo>
                    <a:pt x="3991" y="3347"/>
                  </a:lnTo>
                  <a:lnTo>
                    <a:pt x="3975" y="3369"/>
                  </a:lnTo>
                  <a:lnTo>
                    <a:pt x="3966" y="3388"/>
                  </a:lnTo>
                  <a:lnTo>
                    <a:pt x="3966" y="3403"/>
                  </a:lnTo>
                  <a:lnTo>
                    <a:pt x="3972" y="3425"/>
                  </a:lnTo>
                  <a:lnTo>
                    <a:pt x="3975" y="3444"/>
                  </a:lnTo>
                  <a:lnTo>
                    <a:pt x="3975" y="3460"/>
                  </a:lnTo>
                  <a:lnTo>
                    <a:pt x="3963" y="3469"/>
                  </a:lnTo>
                  <a:lnTo>
                    <a:pt x="3944" y="3478"/>
                  </a:lnTo>
                  <a:lnTo>
                    <a:pt x="3925" y="3485"/>
                  </a:lnTo>
                  <a:lnTo>
                    <a:pt x="3913" y="3494"/>
                  </a:lnTo>
                  <a:lnTo>
                    <a:pt x="3909" y="3510"/>
                  </a:lnTo>
                  <a:lnTo>
                    <a:pt x="3909" y="3528"/>
                  </a:lnTo>
                  <a:lnTo>
                    <a:pt x="3906" y="3544"/>
                  </a:lnTo>
                  <a:lnTo>
                    <a:pt x="3903" y="3556"/>
                  </a:lnTo>
                  <a:lnTo>
                    <a:pt x="3885" y="3569"/>
                  </a:lnTo>
                  <a:lnTo>
                    <a:pt x="3856" y="3578"/>
                  </a:lnTo>
                  <a:lnTo>
                    <a:pt x="3835" y="3578"/>
                  </a:lnTo>
                  <a:lnTo>
                    <a:pt x="3828" y="3575"/>
                  </a:lnTo>
                  <a:lnTo>
                    <a:pt x="3822" y="3572"/>
                  </a:lnTo>
                  <a:lnTo>
                    <a:pt x="3813" y="3566"/>
                  </a:lnTo>
                  <a:lnTo>
                    <a:pt x="3810" y="3560"/>
                  </a:lnTo>
                  <a:lnTo>
                    <a:pt x="3803" y="3556"/>
                  </a:lnTo>
                  <a:lnTo>
                    <a:pt x="3803" y="3547"/>
                  </a:lnTo>
                  <a:lnTo>
                    <a:pt x="3803" y="3541"/>
                  </a:lnTo>
                  <a:lnTo>
                    <a:pt x="3803" y="3531"/>
                  </a:lnTo>
                  <a:lnTo>
                    <a:pt x="3806" y="3522"/>
                  </a:lnTo>
                  <a:lnTo>
                    <a:pt x="3803" y="3516"/>
                  </a:lnTo>
                  <a:lnTo>
                    <a:pt x="3797" y="3494"/>
                  </a:lnTo>
                  <a:lnTo>
                    <a:pt x="3781" y="3469"/>
                  </a:lnTo>
                  <a:lnTo>
                    <a:pt x="3766" y="3453"/>
                  </a:lnTo>
                  <a:lnTo>
                    <a:pt x="3750" y="3453"/>
                  </a:lnTo>
                  <a:lnTo>
                    <a:pt x="3728" y="3457"/>
                  </a:lnTo>
                  <a:lnTo>
                    <a:pt x="3703" y="3466"/>
                  </a:lnTo>
                  <a:lnTo>
                    <a:pt x="3682" y="3475"/>
                  </a:lnTo>
                  <a:lnTo>
                    <a:pt x="3663" y="3478"/>
                  </a:lnTo>
                  <a:lnTo>
                    <a:pt x="3647" y="3475"/>
                  </a:lnTo>
                  <a:lnTo>
                    <a:pt x="3628" y="3469"/>
                  </a:lnTo>
                  <a:lnTo>
                    <a:pt x="3613" y="3466"/>
                  </a:lnTo>
                  <a:lnTo>
                    <a:pt x="3591" y="3469"/>
                  </a:lnTo>
                  <a:lnTo>
                    <a:pt x="3566" y="3472"/>
                  </a:lnTo>
                  <a:lnTo>
                    <a:pt x="3541" y="3478"/>
                  </a:lnTo>
                  <a:lnTo>
                    <a:pt x="3522" y="3478"/>
                  </a:lnTo>
                  <a:lnTo>
                    <a:pt x="3504" y="3472"/>
                  </a:lnTo>
                  <a:lnTo>
                    <a:pt x="3479" y="3460"/>
                  </a:lnTo>
                  <a:lnTo>
                    <a:pt x="3460" y="3453"/>
                  </a:lnTo>
                  <a:lnTo>
                    <a:pt x="3441" y="3453"/>
                  </a:lnTo>
                  <a:lnTo>
                    <a:pt x="3416" y="3460"/>
                  </a:lnTo>
                  <a:lnTo>
                    <a:pt x="3397" y="3466"/>
                  </a:lnTo>
                  <a:lnTo>
                    <a:pt x="3388" y="3485"/>
                  </a:lnTo>
                  <a:lnTo>
                    <a:pt x="3379" y="3507"/>
                  </a:lnTo>
                  <a:lnTo>
                    <a:pt x="3366" y="3522"/>
                  </a:lnTo>
                  <a:lnTo>
                    <a:pt x="3347" y="3528"/>
                  </a:lnTo>
                  <a:lnTo>
                    <a:pt x="3319" y="3531"/>
                  </a:lnTo>
                  <a:lnTo>
                    <a:pt x="3291" y="3531"/>
                  </a:lnTo>
                  <a:lnTo>
                    <a:pt x="3269" y="3528"/>
                  </a:lnTo>
                  <a:lnTo>
                    <a:pt x="3251" y="3516"/>
                  </a:lnTo>
                  <a:lnTo>
                    <a:pt x="3235" y="3494"/>
                  </a:lnTo>
                  <a:lnTo>
                    <a:pt x="3216" y="3482"/>
                  </a:lnTo>
                  <a:lnTo>
                    <a:pt x="3194" y="3482"/>
                  </a:lnTo>
                  <a:lnTo>
                    <a:pt x="3166" y="3488"/>
                  </a:lnTo>
                  <a:lnTo>
                    <a:pt x="3141" y="3500"/>
                  </a:lnTo>
                  <a:lnTo>
                    <a:pt x="3123" y="3516"/>
                  </a:lnTo>
                  <a:lnTo>
                    <a:pt x="3123" y="3522"/>
                  </a:lnTo>
                  <a:lnTo>
                    <a:pt x="3123" y="3528"/>
                  </a:lnTo>
                  <a:lnTo>
                    <a:pt x="3123" y="3538"/>
                  </a:lnTo>
                  <a:lnTo>
                    <a:pt x="3123" y="3547"/>
                  </a:lnTo>
                  <a:lnTo>
                    <a:pt x="3123" y="3553"/>
                  </a:lnTo>
                  <a:lnTo>
                    <a:pt x="3129" y="3572"/>
                  </a:lnTo>
                  <a:lnTo>
                    <a:pt x="3135" y="3594"/>
                  </a:lnTo>
                  <a:lnTo>
                    <a:pt x="3138" y="3613"/>
                  </a:lnTo>
                  <a:lnTo>
                    <a:pt x="3135" y="3628"/>
                  </a:lnTo>
                  <a:lnTo>
                    <a:pt x="3123" y="3638"/>
                  </a:lnTo>
                  <a:lnTo>
                    <a:pt x="3104" y="3644"/>
                  </a:lnTo>
                  <a:lnTo>
                    <a:pt x="3082" y="3647"/>
                  </a:lnTo>
                  <a:lnTo>
                    <a:pt x="3060" y="3647"/>
                  </a:lnTo>
                  <a:lnTo>
                    <a:pt x="3044" y="3653"/>
                  </a:lnTo>
                  <a:lnTo>
                    <a:pt x="3026" y="3663"/>
                  </a:lnTo>
                  <a:lnTo>
                    <a:pt x="3007" y="3678"/>
                  </a:lnTo>
                  <a:lnTo>
                    <a:pt x="2985" y="3691"/>
                  </a:lnTo>
                  <a:lnTo>
                    <a:pt x="2966" y="3700"/>
                  </a:lnTo>
                  <a:lnTo>
                    <a:pt x="2945" y="3703"/>
                  </a:lnTo>
                  <a:lnTo>
                    <a:pt x="2916" y="3703"/>
                  </a:lnTo>
                  <a:lnTo>
                    <a:pt x="2888" y="3703"/>
                  </a:lnTo>
                  <a:lnTo>
                    <a:pt x="2867" y="3700"/>
                  </a:lnTo>
                  <a:lnTo>
                    <a:pt x="2848" y="3697"/>
                  </a:lnTo>
                  <a:lnTo>
                    <a:pt x="2823" y="3688"/>
                  </a:lnTo>
                  <a:lnTo>
                    <a:pt x="2801" y="3681"/>
                  </a:lnTo>
                  <a:lnTo>
                    <a:pt x="2782" y="3678"/>
                  </a:lnTo>
                  <a:lnTo>
                    <a:pt x="2773" y="3678"/>
                  </a:lnTo>
                  <a:lnTo>
                    <a:pt x="2763" y="3681"/>
                  </a:lnTo>
                  <a:lnTo>
                    <a:pt x="2751" y="3688"/>
                  </a:lnTo>
                  <a:lnTo>
                    <a:pt x="2742" y="3691"/>
                  </a:lnTo>
                  <a:lnTo>
                    <a:pt x="2732" y="3694"/>
                  </a:lnTo>
                  <a:lnTo>
                    <a:pt x="2713" y="3697"/>
                  </a:lnTo>
                  <a:lnTo>
                    <a:pt x="2692" y="3697"/>
                  </a:lnTo>
                  <a:lnTo>
                    <a:pt x="2673" y="3694"/>
                  </a:lnTo>
                  <a:lnTo>
                    <a:pt x="2667" y="3688"/>
                  </a:lnTo>
                  <a:lnTo>
                    <a:pt x="2660" y="3678"/>
                  </a:lnTo>
                  <a:lnTo>
                    <a:pt x="2657" y="3669"/>
                  </a:lnTo>
                  <a:lnTo>
                    <a:pt x="2651" y="3660"/>
                  </a:lnTo>
                  <a:lnTo>
                    <a:pt x="2648" y="3653"/>
                  </a:lnTo>
                  <a:lnTo>
                    <a:pt x="2632" y="3638"/>
                  </a:lnTo>
                  <a:lnTo>
                    <a:pt x="2610" y="3625"/>
                  </a:lnTo>
                  <a:lnTo>
                    <a:pt x="2592" y="3613"/>
                  </a:lnTo>
                  <a:lnTo>
                    <a:pt x="2585" y="3610"/>
                  </a:lnTo>
                  <a:lnTo>
                    <a:pt x="2579" y="3603"/>
                  </a:lnTo>
                  <a:lnTo>
                    <a:pt x="2570" y="3597"/>
                  </a:lnTo>
                  <a:lnTo>
                    <a:pt x="2564" y="3594"/>
                  </a:lnTo>
                  <a:lnTo>
                    <a:pt x="2554" y="3591"/>
                  </a:lnTo>
                  <a:lnTo>
                    <a:pt x="2548" y="3591"/>
                  </a:lnTo>
                  <a:lnTo>
                    <a:pt x="2539" y="3591"/>
                  </a:lnTo>
                  <a:lnTo>
                    <a:pt x="2529" y="3594"/>
                  </a:lnTo>
                  <a:lnTo>
                    <a:pt x="2520" y="3597"/>
                  </a:lnTo>
                  <a:lnTo>
                    <a:pt x="2511" y="3600"/>
                  </a:lnTo>
                  <a:lnTo>
                    <a:pt x="2507" y="3606"/>
                  </a:lnTo>
                  <a:lnTo>
                    <a:pt x="2504" y="3616"/>
                  </a:lnTo>
                  <a:lnTo>
                    <a:pt x="2507" y="3635"/>
                  </a:lnTo>
                  <a:lnTo>
                    <a:pt x="2511" y="3650"/>
                  </a:lnTo>
                  <a:lnTo>
                    <a:pt x="2517" y="3663"/>
                  </a:lnTo>
                  <a:lnTo>
                    <a:pt x="2532" y="3678"/>
                  </a:lnTo>
                  <a:lnTo>
                    <a:pt x="2551" y="3697"/>
                  </a:lnTo>
                  <a:lnTo>
                    <a:pt x="2570" y="3713"/>
                  </a:lnTo>
                  <a:lnTo>
                    <a:pt x="2582" y="3731"/>
                  </a:lnTo>
                  <a:lnTo>
                    <a:pt x="2598" y="3756"/>
                  </a:lnTo>
                  <a:lnTo>
                    <a:pt x="2610" y="3778"/>
                  </a:lnTo>
                  <a:lnTo>
                    <a:pt x="2626" y="3816"/>
                  </a:lnTo>
                  <a:lnTo>
                    <a:pt x="2642" y="3859"/>
                  </a:lnTo>
                  <a:lnTo>
                    <a:pt x="2657" y="3894"/>
                  </a:lnTo>
                  <a:lnTo>
                    <a:pt x="2664" y="3903"/>
                  </a:lnTo>
                  <a:lnTo>
                    <a:pt x="2670" y="3912"/>
                  </a:lnTo>
                  <a:lnTo>
                    <a:pt x="2676" y="3922"/>
                  </a:lnTo>
                  <a:lnTo>
                    <a:pt x="2682" y="3931"/>
                  </a:lnTo>
                  <a:lnTo>
                    <a:pt x="2689" y="3941"/>
                  </a:lnTo>
                  <a:lnTo>
                    <a:pt x="2692" y="3962"/>
                  </a:lnTo>
                  <a:lnTo>
                    <a:pt x="2692" y="3987"/>
                  </a:lnTo>
                  <a:lnTo>
                    <a:pt x="2695" y="4009"/>
                  </a:lnTo>
                  <a:lnTo>
                    <a:pt x="2701" y="4019"/>
                  </a:lnTo>
                  <a:lnTo>
                    <a:pt x="2707" y="4025"/>
                  </a:lnTo>
                  <a:lnTo>
                    <a:pt x="2720" y="4034"/>
                  </a:lnTo>
                  <a:lnTo>
                    <a:pt x="2729" y="4044"/>
                  </a:lnTo>
                  <a:lnTo>
                    <a:pt x="2738" y="4047"/>
                  </a:lnTo>
                  <a:lnTo>
                    <a:pt x="2754" y="4050"/>
                  </a:lnTo>
                  <a:lnTo>
                    <a:pt x="2773" y="4047"/>
                  </a:lnTo>
                  <a:lnTo>
                    <a:pt x="2795" y="4044"/>
                  </a:lnTo>
                  <a:lnTo>
                    <a:pt x="2810" y="4047"/>
                  </a:lnTo>
                  <a:lnTo>
                    <a:pt x="2823" y="4059"/>
                  </a:lnTo>
                  <a:lnTo>
                    <a:pt x="2835" y="4081"/>
                  </a:lnTo>
                  <a:lnTo>
                    <a:pt x="2845" y="4100"/>
                  </a:lnTo>
                  <a:lnTo>
                    <a:pt x="2851" y="4122"/>
                  </a:lnTo>
                  <a:lnTo>
                    <a:pt x="2854" y="4147"/>
                  </a:lnTo>
                  <a:lnTo>
                    <a:pt x="2851" y="4165"/>
                  </a:lnTo>
                  <a:lnTo>
                    <a:pt x="2848" y="4172"/>
                  </a:lnTo>
                  <a:lnTo>
                    <a:pt x="2842" y="4178"/>
                  </a:lnTo>
                  <a:lnTo>
                    <a:pt x="2832" y="4184"/>
                  </a:lnTo>
                  <a:lnTo>
                    <a:pt x="2823" y="4190"/>
                  </a:lnTo>
                  <a:lnTo>
                    <a:pt x="2817" y="4197"/>
                  </a:lnTo>
                  <a:lnTo>
                    <a:pt x="2813" y="4203"/>
                  </a:lnTo>
                  <a:lnTo>
                    <a:pt x="2817" y="4218"/>
                  </a:lnTo>
                  <a:lnTo>
                    <a:pt x="2823" y="4240"/>
                  </a:lnTo>
                  <a:lnTo>
                    <a:pt x="2832" y="4259"/>
                  </a:lnTo>
                  <a:lnTo>
                    <a:pt x="2835" y="4265"/>
                  </a:lnTo>
                  <a:lnTo>
                    <a:pt x="2838" y="4268"/>
                  </a:lnTo>
                  <a:lnTo>
                    <a:pt x="2842" y="4272"/>
                  </a:lnTo>
                  <a:lnTo>
                    <a:pt x="2851" y="4275"/>
                  </a:lnTo>
                  <a:lnTo>
                    <a:pt x="2857" y="4278"/>
                  </a:lnTo>
                  <a:lnTo>
                    <a:pt x="2867" y="4281"/>
                  </a:lnTo>
                  <a:lnTo>
                    <a:pt x="2873" y="4284"/>
                  </a:lnTo>
                  <a:lnTo>
                    <a:pt x="2876" y="4287"/>
                  </a:lnTo>
                  <a:lnTo>
                    <a:pt x="2885" y="4303"/>
                  </a:lnTo>
                  <a:lnTo>
                    <a:pt x="2891" y="4322"/>
                  </a:lnTo>
                  <a:lnTo>
                    <a:pt x="2898" y="4343"/>
                  </a:lnTo>
                  <a:lnTo>
                    <a:pt x="2904" y="4362"/>
                  </a:lnTo>
                  <a:lnTo>
                    <a:pt x="2913" y="4381"/>
                  </a:lnTo>
                  <a:lnTo>
                    <a:pt x="2929" y="4403"/>
                  </a:lnTo>
                  <a:lnTo>
                    <a:pt x="2938" y="4421"/>
                  </a:lnTo>
                  <a:lnTo>
                    <a:pt x="2941" y="4446"/>
                  </a:lnTo>
                  <a:lnTo>
                    <a:pt x="2938" y="4478"/>
                  </a:lnTo>
                  <a:lnTo>
                    <a:pt x="2935" y="4503"/>
                  </a:lnTo>
                  <a:lnTo>
                    <a:pt x="2935" y="4531"/>
                  </a:lnTo>
                  <a:lnTo>
                    <a:pt x="2932" y="4559"/>
                  </a:lnTo>
                  <a:lnTo>
                    <a:pt x="2938" y="4584"/>
                  </a:lnTo>
                  <a:lnTo>
                    <a:pt x="2951" y="4603"/>
                  </a:lnTo>
                  <a:lnTo>
                    <a:pt x="2970" y="4621"/>
                  </a:lnTo>
                  <a:lnTo>
                    <a:pt x="2982" y="4640"/>
                  </a:lnTo>
                  <a:lnTo>
                    <a:pt x="2985" y="4665"/>
                  </a:lnTo>
                  <a:lnTo>
                    <a:pt x="2985" y="4696"/>
                  </a:lnTo>
                  <a:lnTo>
                    <a:pt x="2982" y="4721"/>
                  </a:lnTo>
                  <a:lnTo>
                    <a:pt x="2966" y="4743"/>
                  </a:lnTo>
                  <a:lnTo>
                    <a:pt x="2945" y="4762"/>
                  </a:lnTo>
                  <a:lnTo>
                    <a:pt x="2929" y="4784"/>
                  </a:lnTo>
                  <a:lnTo>
                    <a:pt x="2926" y="4799"/>
                  </a:lnTo>
                  <a:lnTo>
                    <a:pt x="2926" y="4818"/>
                  </a:lnTo>
                  <a:lnTo>
                    <a:pt x="2929" y="4837"/>
                  </a:lnTo>
                  <a:lnTo>
                    <a:pt x="2941" y="4859"/>
                  </a:lnTo>
                  <a:lnTo>
                    <a:pt x="2957" y="4884"/>
                  </a:lnTo>
                  <a:lnTo>
                    <a:pt x="2970" y="4905"/>
                  </a:lnTo>
                  <a:lnTo>
                    <a:pt x="2973" y="4927"/>
                  </a:lnTo>
                  <a:lnTo>
                    <a:pt x="2976" y="4952"/>
                  </a:lnTo>
                  <a:lnTo>
                    <a:pt x="2970" y="4971"/>
                  </a:lnTo>
                  <a:lnTo>
                    <a:pt x="2960" y="4980"/>
                  </a:lnTo>
                  <a:lnTo>
                    <a:pt x="2941" y="4987"/>
                  </a:lnTo>
                  <a:lnTo>
                    <a:pt x="2926" y="4996"/>
                  </a:lnTo>
                  <a:lnTo>
                    <a:pt x="2916" y="5005"/>
                  </a:lnTo>
                  <a:lnTo>
                    <a:pt x="2913" y="5018"/>
                  </a:lnTo>
                  <a:lnTo>
                    <a:pt x="2913" y="5037"/>
                  </a:lnTo>
                  <a:lnTo>
                    <a:pt x="2920" y="5055"/>
                  </a:lnTo>
                  <a:lnTo>
                    <a:pt x="2926" y="5071"/>
                  </a:lnTo>
                  <a:lnTo>
                    <a:pt x="2932" y="5077"/>
                  </a:lnTo>
                  <a:lnTo>
                    <a:pt x="2938" y="5087"/>
                  </a:lnTo>
                  <a:lnTo>
                    <a:pt x="2948" y="5093"/>
                  </a:lnTo>
                  <a:lnTo>
                    <a:pt x="2957" y="5099"/>
                  </a:lnTo>
                  <a:lnTo>
                    <a:pt x="2963" y="5102"/>
                  </a:lnTo>
                  <a:lnTo>
                    <a:pt x="2970" y="5102"/>
                  </a:lnTo>
                  <a:lnTo>
                    <a:pt x="2979" y="5099"/>
                  </a:lnTo>
                  <a:lnTo>
                    <a:pt x="2988" y="5096"/>
                  </a:lnTo>
                  <a:lnTo>
                    <a:pt x="2998" y="5090"/>
                  </a:lnTo>
                  <a:lnTo>
                    <a:pt x="3004" y="5087"/>
                  </a:lnTo>
                  <a:lnTo>
                    <a:pt x="3013" y="5087"/>
                  </a:lnTo>
                  <a:lnTo>
                    <a:pt x="3020" y="5090"/>
                  </a:lnTo>
                  <a:lnTo>
                    <a:pt x="3029" y="5093"/>
                  </a:lnTo>
                  <a:lnTo>
                    <a:pt x="3038" y="5099"/>
                  </a:lnTo>
                  <a:lnTo>
                    <a:pt x="3048" y="5105"/>
                  </a:lnTo>
                  <a:lnTo>
                    <a:pt x="3054" y="5112"/>
                  </a:lnTo>
                  <a:lnTo>
                    <a:pt x="3063" y="5127"/>
                  </a:lnTo>
                  <a:lnTo>
                    <a:pt x="3069" y="5146"/>
                  </a:lnTo>
                  <a:lnTo>
                    <a:pt x="3073" y="5165"/>
                  </a:lnTo>
                  <a:lnTo>
                    <a:pt x="3057" y="5180"/>
                  </a:lnTo>
                  <a:lnTo>
                    <a:pt x="3035" y="5193"/>
                  </a:lnTo>
                  <a:lnTo>
                    <a:pt x="3016" y="5202"/>
                  </a:lnTo>
                  <a:lnTo>
                    <a:pt x="2995" y="5205"/>
                  </a:lnTo>
                  <a:lnTo>
                    <a:pt x="2973" y="5208"/>
                  </a:lnTo>
                  <a:lnTo>
                    <a:pt x="2954" y="5211"/>
                  </a:lnTo>
                  <a:lnTo>
                    <a:pt x="2948" y="5218"/>
                  </a:lnTo>
                  <a:lnTo>
                    <a:pt x="2938" y="5224"/>
                  </a:lnTo>
                  <a:lnTo>
                    <a:pt x="2932" y="5236"/>
                  </a:lnTo>
                  <a:lnTo>
                    <a:pt x="2923" y="5246"/>
                  </a:lnTo>
                  <a:lnTo>
                    <a:pt x="2916" y="5255"/>
                  </a:lnTo>
                  <a:lnTo>
                    <a:pt x="2907" y="5258"/>
                  </a:lnTo>
                  <a:lnTo>
                    <a:pt x="2885" y="5261"/>
                  </a:lnTo>
                  <a:lnTo>
                    <a:pt x="2857" y="5261"/>
                  </a:lnTo>
                  <a:lnTo>
                    <a:pt x="2832" y="5258"/>
                  </a:lnTo>
                  <a:lnTo>
                    <a:pt x="2807" y="5258"/>
                  </a:lnTo>
                  <a:lnTo>
                    <a:pt x="2792" y="5268"/>
                  </a:lnTo>
                  <a:lnTo>
                    <a:pt x="2770" y="5280"/>
                  </a:lnTo>
                  <a:lnTo>
                    <a:pt x="2754" y="5286"/>
                  </a:lnTo>
                  <a:lnTo>
                    <a:pt x="2732" y="5290"/>
                  </a:lnTo>
                  <a:lnTo>
                    <a:pt x="2704" y="5290"/>
                  </a:lnTo>
                  <a:lnTo>
                    <a:pt x="2685" y="5286"/>
                  </a:lnTo>
                  <a:lnTo>
                    <a:pt x="2676" y="5280"/>
                  </a:lnTo>
                  <a:lnTo>
                    <a:pt x="2670" y="5271"/>
                  </a:lnTo>
                  <a:lnTo>
                    <a:pt x="2664" y="5261"/>
                  </a:lnTo>
                  <a:lnTo>
                    <a:pt x="2657" y="5252"/>
                  </a:lnTo>
                  <a:lnTo>
                    <a:pt x="2651" y="5249"/>
                  </a:lnTo>
                  <a:lnTo>
                    <a:pt x="2635" y="5246"/>
                  </a:lnTo>
                  <a:lnTo>
                    <a:pt x="2614" y="5249"/>
                  </a:lnTo>
                  <a:lnTo>
                    <a:pt x="2598" y="5249"/>
                  </a:lnTo>
                  <a:lnTo>
                    <a:pt x="2579" y="5246"/>
                  </a:lnTo>
                  <a:lnTo>
                    <a:pt x="2557" y="5240"/>
                  </a:lnTo>
                  <a:lnTo>
                    <a:pt x="2539" y="5233"/>
                  </a:lnTo>
                  <a:lnTo>
                    <a:pt x="2520" y="5233"/>
                  </a:lnTo>
                  <a:lnTo>
                    <a:pt x="2501" y="5233"/>
                  </a:lnTo>
                  <a:lnTo>
                    <a:pt x="2486" y="5236"/>
                  </a:lnTo>
                  <a:lnTo>
                    <a:pt x="2479" y="5240"/>
                  </a:lnTo>
                  <a:lnTo>
                    <a:pt x="2470" y="5246"/>
                  </a:lnTo>
                  <a:lnTo>
                    <a:pt x="2464" y="5252"/>
                  </a:lnTo>
                  <a:lnTo>
                    <a:pt x="2457" y="5255"/>
                  </a:lnTo>
                  <a:lnTo>
                    <a:pt x="2451" y="5258"/>
                  </a:lnTo>
                  <a:lnTo>
                    <a:pt x="2445" y="5261"/>
                  </a:lnTo>
                  <a:lnTo>
                    <a:pt x="2439" y="5265"/>
                  </a:lnTo>
                  <a:lnTo>
                    <a:pt x="2432" y="5268"/>
                  </a:lnTo>
                  <a:lnTo>
                    <a:pt x="2426" y="5268"/>
                  </a:lnTo>
                  <a:lnTo>
                    <a:pt x="2411" y="5255"/>
                  </a:lnTo>
                  <a:lnTo>
                    <a:pt x="2392" y="5230"/>
                  </a:lnTo>
                  <a:lnTo>
                    <a:pt x="2379" y="5215"/>
                  </a:lnTo>
                  <a:lnTo>
                    <a:pt x="2364" y="5199"/>
                  </a:lnTo>
                  <a:lnTo>
                    <a:pt x="2342" y="5186"/>
                  </a:lnTo>
                  <a:lnTo>
                    <a:pt x="2323" y="5177"/>
                  </a:lnTo>
                  <a:lnTo>
                    <a:pt x="2295" y="5174"/>
                  </a:lnTo>
                  <a:lnTo>
                    <a:pt x="2261" y="5177"/>
                  </a:lnTo>
                  <a:lnTo>
                    <a:pt x="2233" y="5183"/>
                  </a:lnTo>
                  <a:lnTo>
                    <a:pt x="2214" y="5196"/>
                  </a:lnTo>
                  <a:lnTo>
                    <a:pt x="2192" y="5211"/>
                  </a:lnTo>
                  <a:lnTo>
                    <a:pt x="2176" y="5227"/>
                  </a:lnTo>
                  <a:lnTo>
                    <a:pt x="2170" y="5233"/>
                  </a:lnTo>
                  <a:lnTo>
                    <a:pt x="2161" y="5246"/>
                  </a:lnTo>
                  <a:lnTo>
                    <a:pt x="2155" y="5258"/>
                  </a:lnTo>
                  <a:lnTo>
                    <a:pt x="2151" y="5246"/>
                  </a:lnTo>
                  <a:lnTo>
                    <a:pt x="2145" y="5233"/>
                  </a:lnTo>
                  <a:lnTo>
                    <a:pt x="2139" y="5230"/>
                  </a:lnTo>
                  <a:lnTo>
                    <a:pt x="2133" y="5227"/>
                  </a:lnTo>
                  <a:lnTo>
                    <a:pt x="2123" y="5221"/>
                  </a:lnTo>
                  <a:lnTo>
                    <a:pt x="2114" y="5221"/>
                  </a:lnTo>
                  <a:lnTo>
                    <a:pt x="2105" y="5218"/>
                  </a:lnTo>
                  <a:lnTo>
                    <a:pt x="2086" y="5215"/>
                  </a:lnTo>
                  <a:lnTo>
                    <a:pt x="2058" y="5211"/>
                  </a:lnTo>
                  <a:lnTo>
                    <a:pt x="2036" y="5211"/>
                  </a:lnTo>
                  <a:lnTo>
                    <a:pt x="2026" y="5215"/>
                  </a:lnTo>
                  <a:lnTo>
                    <a:pt x="2017" y="5218"/>
                  </a:lnTo>
                  <a:lnTo>
                    <a:pt x="2005" y="5224"/>
                  </a:lnTo>
                  <a:lnTo>
                    <a:pt x="1995" y="5230"/>
                  </a:lnTo>
                  <a:lnTo>
                    <a:pt x="1986" y="5240"/>
                  </a:lnTo>
                  <a:lnTo>
                    <a:pt x="1986" y="5246"/>
                  </a:lnTo>
                  <a:lnTo>
                    <a:pt x="1983" y="5252"/>
                  </a:lnTo>
                  <a:lnTo>
                    <a:pt x="1983" y="5261"/>
                  </a:lnTo>
                  <a:lnTo>
                    <a:pt x="1983" y="5271"/>
                  </a:lnTo>
                  <a:lnTo>
                    <a:pt x="1980" y="5280"/>
                  </a:lnTo>
                  <a:lnTo>
                    <a:pt x="1977" y="5283"/>
                  </a:lnTo>
                  <a:lnTo>
                    <a:pt x="1970" y="5290"/>
                  </a:lnTo>
                  <a:lnTo>
                    <a:pt x="1961" y="5293"/>
                  </a:lnTo>
                  <a:lnTo>
                    <a:pt x="1952" y="5296"/>
                  </a:lnTo>
                  <a:lnTo>
                    <a:pt x="1939" y="5296"/>
                  </a:lnTo>
                  <a:lnTo>
                    <a:pt x="1933" y="5293"/>
                  </a:lnTo>
                  <a:lnTo>
                    <a:pt x="1923" y="5293"/>
                  </a:lnTo>
                  <a:lnTo>
                    <a:pt x="1917" y="5286"/>
                  </a:lnTo>
                  <a:lnTo>
                    <a:pt x="1908" y="5280"/>
                  </a:lnTo>
                  <a:lnTo>
                    <a:pt x="1902" y="5274"/>
                  </a:lnTo>
                  <a:lnTo>
                    <a:pt x="1898" y="5268"/>
                  </a:lnTo>
                  <a:lnTo>
                    <a:pt x="1895" y="5261"/>
                  </a:lnTo>
                  <a:lnTo>
                    <a:pt x="1895" y="5252"/>
                  </a:lnTo>
                  <a:lnTo>
                    <a:pt x="1892" y="5246"/>
                  </a:lnTo>
                  <a:lnTo>
                    <a:pt x="1892" y="5236"/>
                  </a:lnTo>
                  <a:lnTo>
                    <a:pt x="1892" y="5230"/>
                  </a:lnTo>
                  <a:lnTo>
                    <a:pt x="1889" y="5224"/>
                  </a:lnTo>
                  <a:lnTo>
                    <a:pt x="1873" y="5215"/>
                  </a:lnTo>
                  <a:lnTo>
                    <a:pt x="1855" y="5208"/>
                  </a:lnTo>
                  <a:lnTo>
                    <a:pt x="1833" y="5205"/>
                  </a:lnTo>
                  <a:lnTo>
                    <a:pt x="1817" y="5196"/>
                  </a:lnTo>
                  <a:lnTo>
                    <a:pt x="1811" y="5190"/>
                  </a:lnTo>
                  <a:lnTo>
                    <a:pt x="1808" y="5180"/>
                  </a:lnTo>
                  <a:lnTo>
                    <a:pt x="1805" y="5171"/>
                  </a:lnTo>
                  <a:lnTo>
                    <a:pt x="1799" y="5165"/>
                  </a:lnTo>
                  <a:lnTo>
                    <a:pt x="1783" y="5152"/>
                  </a:lnTo>
                  <a:lnTo>
                    <a:pt x="1758" y="5140"/>
                  </a:lnTo>
                  <a:lnTo>
                    <a:pt x="1739" y="5137"/>
                  </a:lnTo>
                  <a:lnTo>
                    <a:pt x="1733" y="5137"/>
                  </a:lnTo>
                  <a:lnTo>
                    <a:pt x="1724" y="5140"/>
                  </a:lnTo>
                  <a:lnTo>
                    <a:pt x="1717" y="5146"/>
                  </a:lnTo>
                  <a:lnTo>
                    <a:pt x="1711" y="5149"/>
                  </a:lnTo>
                  <a:lnTo>
                    <a:pt x="1705" y="5152"/>
                  </a:lnTo>
                  <a:lnTo>
                    <a:pt x="1683" y="5155"/>
                  </a:lnTo>
                  <a:lnTo>
                    <a:pt x="1658" y="5158"/>
                  </a:lnTo>
                  <a:lnTo>
                    <a:pt x="1639" y="5155"/>
                  </a:lnTo>
                  <a:lnTo>
                    <a:pt x="1633" y="5152"/>
                  </a:lnTo>
                  <a:lnTo>
                    <a:pt x="1624" y="5146"/>
                  </a:lnTo>
                  <a:lnTo>
                    <a:pt x="1614" y="5140"/>
                  </a:lnTo>
                  <a:lnTo>
                    <a:pt x="1608" y="5133"/>
                  </a:lnTo>
                  <a:lnTo>
                    <a:pt x="1605" y="5124"/>
                  </a:lnTo>
                  <a:lnTo>
                    <a:pt x="1602" y="5121"/>
                  </a:lnTo>
                  <a:lnTo>
                    <a:pt x="1602" y="5112"/>
                  </a:lnTo>
                  <a:lnTo>
                    <a:pt x="1602" y="5102"/>
                  </a:lnTo>
                  <a:lnTo>
                    <a:pt x="1605" y="5096"/>
                  </a:lnTo>
                  <a:lnTo>
                    <a:pt x="1605" y="5090"/>
                  </a:lnTo>
                  <a:lnTo>
                    <a:pt x="1605" y="5083"/>
                  </a:lnTo>
                  <a:lnTo>
                    <a:pt x="1602" y="5080"/>
                  </a:lnTo>
                  <a:lnTo>
                    <a:pt x="1599" y="5077"/>
                  </a:lnTo>
                  <a:lnTo>
                    <a:pt x="1596" y="5068"/>
                  </a:lnTo>
                  <a:lnTo>
                    <a:pt x="1589" y="5062"/>
                  </a:lnTo>
                  <a:lnTo>
                    <a:pt x="1583" y="5052"/>
                  </a:lnTo>
                  <a:lnTo>
                    <a:pt x="1580" y="5046"/>
                  </a:lnTo>
                  <a:lnTo>
                    <a:pt x="1577" y="5040"/>
                  </a:lnTo>
                  <a:lnTo>
                    <a:pt x="1571" y="5018"/>
                  </a:lnTo>
                  <a:lnTo>
                    <a:pt x="1567" y="4993"/>
                  </a:lnTo>
                  <a:lnTo>
                    <a:pt x="1561" y="4974"/>
                  </a:lnTo>
                  <a:lnTo>
                    <a:pt x="1555" y="4968"/>
                  </a:lnTo>
                  <a:lnTo>
                    <a:pt x="1546" y="4959"/>
                  </a:lnTo>
                  <a:lnTo>
                    <a:pt x="1533" y="4952"/>
                  </a:lnTo>
                  <a:lnTo>
                    <a:pt x="1524" y="4943"/>
                  </a:lnTo>
                  <a:lnTo>
                    <a:pt x="1514" y="4940"/>
                  </a:lnTo>
                  <a:lnTo>
                    <a:pt x="1496" y="4937"/>
                  </a:lnTo>
                  <a:lnTo>
                    <a:pt x="1474" y="4940"/>
                  </a:lnTo>
                  <a:lnTo>
                    <a:pt x="1455" y="4940"/>
                  </a:lnTo>
                  <a:lnTo>
                    <a:pt x="1443" y="4940"/>
                  </a:lnTo>
                  <a:lnTo>
                    <a:pt x="1430" y="4940"/>
                  </a:lnTo>
                  <a:lnTo>
                    <a:pt x="1418" y="4940"/>
                  </a:lnTo>
                  <a:lnTo>
                    <a:pt x="1405" y="4940"/>
                  </a:lnTo>
                  <a:lnTo>
                    <a:pt x="1386" y="4937"/>
                  </a:lnTo>
                  <a:lnTo>
                    <a:pt x="1361" y="4937"/>
                  </a:lnTo>
                  <a:lnTo>
                    <a:pt x="1336" y="4930"/>
                  </a:lnTo>
                  <a:lnTo>
                    <a:pt x="1321" y="4924"/>
                  </a:lnTo>
                  <a:lnTo>
                    <a:pt x="1318" y="4918"/>
                  </a:lnTo>
                  <a:lnTo>
                    <a:pt x="1315" y="4912"/>
                  </a:lnTo>
                  <a:lnTo>
                    <a:pt x="1315" y="4905"/>
                  </a:lnTo>
                  <a:lnTo>
                    <a:pt x="1315" y="4899"/>
                  </a:lnTo>
                  <a:lnTo>
                    <a:pt x="1311" y="4890"/>
                  </a:lnTo>
                  <a:lnTo>
                    <a:pt x="1308" y="4887"/>
                  </a:lnTo>
                  <a:lnTo>
                    <a:pt x="1290" y="4874"/>
                  </a:lnTo>
                  <a:lnTo>
                    <a:pt x="1261" y="4868"/>
                  </a:lnTo>
                  <a:lnTo>
                    <a:pt x="1233" y="4859"/>
                  </a:lnTo>
                  <a:lnTo>
                    <a:pt x="1211" y="4849"/>
                  </a:lnTo>
                  <a:lnTo>
                    <a:pt x="1205" y="4840"/>
                  </a:lnTo>
                  <a:lnTo>
                    <a:pt x="1199" y="4830"/>
                  </a:lnTo>
                  <a:lnTo>
                    <a:pt x="1196" y="4818"/>
                  </a:lnTo>
                  <a:lnTo>
                    <a:pt x="1190" y="4809"/>
                  </a:lnTo>
                  <a:lnTo>
                    <a:pt x="1186" y="4802"/>
                  </a:lnTo>
                  <a:lnTo>
                    <a:pt x="1177" y="4793"/>
                  </a:lnTo>
                  <a:lnTo>
                    <a:pt x="1168" y="4787"/>
                  </a:lnTo>
                  <a:lnTo>
                    <a:pt x="1158" y="4781"/>
                  </a:lnTo>
                  <a:lnTo>
                    <a:pt x="1146" y="4774"/>
                  </a:lnTo>
                  <a:lnTo>
                    <a:pt x="1140" y="4771"/>
                  </a:lnTo>
                  <a:lnTo>
                    <a:pt x="1130" y="4771"/>
                  </a:lnTo>
                  <a:lnTo>
                    <a:pt x="1121" y="4771"/>
                  </a:lnTo>
                  <a:lnTo>
                    <a:pt x="1112" y="4771"/>
                  </a:lnTo>
                  <a:lnTo>
                    <a:pt x="1102" y="4774"/>
                  </a:lnTo>
                  <a:lnTo>
                    <a:pt x="1096" y="4771"/>
                  </a:lnTo>
                  <a:lnTo>
                    <a:pt x="1090" y="4765"/>
                  </a:lnTo>
                  <a:lnTo>
                    <a:pt x="1080" y="4759"/>
                  </a:lnTo>
                  <a:lnTo>
                    <a:pt x="1074" y="4749"/>
                  </a:lnTo>
                  <a:lnTo>
                    <a:pt x="1068" y="4740"/>
                  </a:lnTo>
                  <a:lnTo>
                    <a:pt x="1062" y="4731"/>
                  </a:lnTo>
                  <a:lnTo>
                    <a:pt x="1052" y="4709"/>
                  </a:lnTo>
                  <a:lnTo>
                    <a:pt x="1040" y="4684"/>
                  </a:lnTo>
                  <a:lnTo>
                    <a:pt x="1033" y="4662"/>
                  </a:lnTo>
                  <a:lnTo>
                    <a:pt x="1024" y="4637"/>
                  </a:lnTo>
                  <a:lnTo>
                    <a:pt x="1015" y="4606"/>
                  </a:lnTo>
                  <a:lnTo>
                    <a:pt x="1008" y="4578"/>
                  </a:lnTo>
                  <a:lnTo>
                    <a:pt x="1012" y="4556"/>
                  </a:lnTo>
                  <a:lnTo>
                    <a:pt x="1018" y="4531"/>
                  </a:lnTo>
                  <a:lnTo>
                    <a:pt x="1021" y="4509"/>
                  </a:lnTo>
                  <a:lnTo>
                    <a:pt x="1015" y="4481"/>
                  </a:lnTo>
                  <a:lnTo>
                    <a:pt x="1005" y="4453"/>
                  </a:lnTo>
                  <a:lnTo>
                    <a:pt x="993" y="4428"/>
                  </a:lnTo>
                  <a:lnTo>
                    <a:pt x="974" y="4415"/>
                  </a:lnTo>
                  <a:lnTo>
                    <a:pt x="952" y="4400"/>
                  </a:lnTo>
                  <a:lnTo>
                    <a:pt x="934" y="4387"/>
                  </a:lnTo>
                  <a:lnTo>
                    <a:pt x="918" y="4359"/>
                  </a:lnTo>
                  <a:lnTo>
                    <a:pt x="902" y="4325"/>
                  </a:lnTo>
                  <a:lnTo>
                    <a:pt x="884" y="4293"/>
                  </a:lnTo>
                  <a:lnTo>
                    <a:pt x="877" y="4287"/>
                  </a:lnTo>
                  <a:lnTo>
                    <a:pt x="868" y="4275"/>
                  </a:lnTo>
                  <a:lnTo>
                    <a:pt x="855" y="4265"/>
                  </a:lnTo>
                  <a:lnTo>
                    <a:pt x="843" y="4256"/>
                  </a:lnTo>
                  <a:lnTo>
                    <a:pt x="837" y="4247"/>
                  </a:lnTo>
                  <a:lnTo>
                    <a:pt x="821" y="4231"/>
                  </a:lnTo>
                  <a:lnTo>
                    <a:pt x="806" y="4212"/>
                  </a:lnTo>
                  <a:lnTo>
                    <a:pt x="793" y="4193"/>
                  </a:lnTo>
                  <a:lnTo>
                    <a:pt x="787" y="4172"/>
                  </a:lnTo>
                  <a:lnTo>
                    <a:pt x="781" y="4144"/>
                  </a:lnTo>
                  <a:lnTo>
                    <a:pt x="774" y="4122"/>
                  </a:lnTo>
                  <a:lnTo>
                    <a:pt x="768" y="4112"/>
                  </a:lnTo>
                  <a:lnTo>
                    <a:pt x="759" y="4103"/>
                  </a:lnTo>
                  <a:lnTo>
                    <a:pt x="749" y="4094"/>
                  </a:lnTo>
                  <a:lnTo>
                    <a:pt x="737" y="4087"/>
                  </a:lnTo>
                  <a:lnTo>
                    <a:pt x="731" y="4081"/>
                  </a:lnTo>
                  <a:lnTo>
                    <a:pt x="712" y="4072"/>
                  </a:lnTo>
                  <a:lnTo>
                    <a:pt x="690" y="4065"/>
                  </a:lnTo>
                  <a:lnTo>
                    <a:pt x="674" y="4059"/>
                  </a:lnTo>
                  <a:lnTo>
                    <a:pt x="665" y="4053"/>
                  </a:lnTo>
                  <a:lnTo>
                    <a:pt x="656" y="4044"/>
                  </a:lnTo>
                  <a:lnTo>
                    <a:pt x="646" y="4034"/>
                  </a:lnTo>
                  <a:lnTo>
                    <a:pt x="637" y="4025"/>
                  </a:lnTo>
                  <a:lnTo>
                    <a:pt x="631" y="4015"/>
                  </a:lnTo>
                  <a:lnTo>
                    <a:pt x="612" y="3994"/>
                  </a:lnTo>
                  <a:lnTo>
                    <a:pt x="593" y="3972"/>
                  </a:lnTo>
                  <a:lnTo>
                    <a:pt x="578" y="3947"/>
                  </a:lnTo>
                  <a:lnTo>
                    <a:pt x="571" y="3925"/>
                  </a:lnTo>
                  <a:lnTo>
                    <a:pt x="568" y="3897"/>
                  </a:lnTo>
                  <a:lnTo>
                    <a:pt x="568" y="3872"/>
                  </a:lnTo>
                  <a:lnTo>
                    <a:pt x="574" y="3853"/>
                  </a:lnTo>
                  <a:lnTo>
                    <a:pt x="584" y="3834"/>
                  </a:lnTo>
                  <a:lnTo>
                    <a:pt x="593" y="3816"/>
                  </a:lnTo>
                  <a:lnTo>
                    <a:pt x="596" y="3791"/>
                  </a:lnTo>
                  <a:lnTo>
                    <a:pt x="603" y="3759"/>
                  </a:lnTo>
                  <a:lnTo>
                    <a:pt x="612" y="3734"/>
                  </a:lnTo>
                  <a:lnTo>
                    <a:pt x="618" y="3728"/>
                  </a:lnTo>
                  <a:lnTo>
                    <a:pt x="628" y="3719"/>
                  </a:lnTo>
                  <a:lnTo>
                    <a:pt x="637" y="3713"/>
                  </a:lnTo>
                  <a:lnTo>
                    <a:pt x="649" y="3706"/>
                  </a:lnTo>
                  <a:lnTo>
                    <a:pt x="659" y="3700"/>
                  </a:lnTo>
                  <a:lnTo>
                    <a:pt x="674" y="3694"/>
                  </a:lnTo>
                  <a:lnTo>
                    <a:pt x="696" y="3688"/>
                  </a:lnTo>
                  <a:lnTo>
                    <a:pt x="715" y="3675"/>
                  </a:lnTo>
                  <a:lnTo>
                    <a:pt x="718" y="3669"/>
                  </a:lnTo>
                  <a:lnTo>
                    <a:pt x="721" y="3660"/>
                  </a:lnTo>
                  <a:lnTo>
                    <a:pt x="724" y="3650"/>
                  </a:lnTo>
                  <a:lnTo>
                    <a:pt x="727" y="3638"/>
                  </a:lnTo>
                  <a:lnTo>
                    <a:pt x="731" y="3628"/>
                  </a:lnTo>
                  <a:lnTo>
                    <a:pt x="731" y="3613"/>
                  </a:lnTo>
                  <a:lnTo>
                    <a:pt x="727" y="3591"/>
                  </a:lnTo>
                  <a:lnTo>
                    <a:pt x="731" y="3572"/>
                  </a:lnTo>
                  <a:lnTo>
                    <a:pt x="737" y="3566"/>
                  </a:lnTo>
                  <a:lnTo>
                    <a:pt x="746" y="3556"/>
                  </a:lnTo>
                  <a:lnTo>
                    <a:pt x="756" y="3550"/>
                  </a:lnTo>
                  <a:lnTo>
                    <a:pt x="765" y="3541"/>
                  </a:lnTo>
                  <a:lnTo>
                    <a:pt x="771" y="3535"/>
                  </a:lnTo>
                  <a:lnTo>
                    <a:pt x="777" y="3528"/>
                  </a:lnTo>
                  <a:lnTo>
                    <a:pt x="784" y="3522"/>
                  </a:lnTo>
                  <a:lnTo>
                    <a:pt x="790" y="3513"/>
                  </a:lnTo>
                  <a:lnTo>
                    <a:pt x="796" y="3503"/>
                  </a:lnTo>
                  <a:lnTo>
                    <a:pt x="799" y="3497"/>
                  </a:lnTo>
                  <a:lnTo>
                    <a:pt x="806" y="3488"/>
                  </a:lnTo>
                  <a:lnTo>
                    <a:pt x="806" y="3475"/>
                  </a:lnTo>
                  <a:lnTo>
                    <a:pt x="809" y="3463"/>
                  </a:lnTo>
                  <a:lnTo>
                    <a:pt x="809" y="3450"/>
                  </a:lnTo>
                  <a:lnTo>
                    <a:pt x="812" y="3432"/>
                  </a:lnTo>
                  <a:lnTo>
                    <a:pt x="812" y="3410"/>
                  </a:lnTo>
                  <a:lnTo>
                    <a:pt x="809" y="3391"/>
                  </a:lnTo>
                  <a:lnTo>
                    <a:pt x="796" y="3372"/>
                  </a:lnTo>
                  <a:lnTo>
                    <a:pt x="781" y="3350"/>
                  </a:lnTo>
                  <a:lnTo>
                    <a:pt x="759" y="3332"/>
                  </a:lnTo>
                  <a:lnTo>
                    <a:pt x="743" y="3316"/>
                  </a:lnTo>
                  <a:lnTo>
                    <a:pt x="721" y="3297"/>
                  </a:lnTo>
                  <a:lnTo>
                    <a:pt x="696" y="3279"/>
                  </a:lnTo>
                  <a:lnTo>
                    <a:pt x="668" y="3260"/>
                  </a:lnTo>
                  <a:lnTo>
                    <a:pt x="643" y="3250"/>
                  </a:lnTo>
                  <a:lnTo>
                    <a:pt x="624" y="3254"/>
                  </a:lnTo>
                  <a:lnTo>
                    <a:pt x="603" y="3263"/>
                  </a:lnTo>
                  <a:lnTo>
                    <a:pt x="587" y="3266"/>
                  </a:lnTo>
                  <a:lnTo>
                    <a:pt x="562" y="3266"/>
                  </a:lnTo>
                  <a:lnTo>
                    <a:pt x="534" y="3263"/>
                  </a:lnTo>
                  <a:lnTo>
                    <a:pt x="509" y="3260"/>
                  </a:lnTo>
                  <a:lnTo>
                    <a:pt x="487" y="3250"/>
                  </a:lnTo>
                  <a:lnTo>
                    <a:pt x="471" y="3238"/>
                  </a:lnTo>
                  <a:lnTo>
                    <a:pt x="459" y="3219"/>
                  </a:lnTo>
                  <a:lnTo>
                    <a:pt x="453" y="3201"/>
                  </a:lnTo>
                  <a:lnTo>
                    <a:pt x="453" y="3191"/>
                  </a:lnTo>
                  <a:lnTo>
                    <a:pt x="456" y="3182"/>
                  </a:lnTo>
                  <a:lnTo>
                    <a:pt x="456" y="3169"/>
                  </a:lnTo>
                  <a:lnTo>
                    <a:pt x="462" y="3160"/>
                  </a:lnTo>
                  <a:lnTo>
                    <a:pt x="465" y="3154"/>
                  </a:lnTo>
                  <a:lnTo>
                    <a:pt x="481" y="3147"/>
                  </a:lnTo>
                  <a:lnTo>
                    <a:pt x="499" y="3147"/>
                  </a:lnTo>
                  <a:lnTo>
                    <a:pt x="518" y="3151"/>
                  </a:lnTo>
                  <a:lnTo>
                    <a:pt x="540" y="3147"/>
                  </a:lnTo>
                  <a:lnTo>
                    <a:pt x="553" y="3144"/>
                  </a:lnTo>
                  <a:lnTo>
                    <a:pt x="565" y="3126"/>
                  </a:lnTo>
                  <a:lnTo>
                    <a:pt x="571" y="3104"/>
                  </a:lnTo>
                  <a:lnTo>
                    <a:pt x="574" y="3082"/>
                  </a:lnTo>
                  <a:lnTo>
                    <a:pt x="578" y="3060"/>
                  </a:lnTo>
                  <a:lnTo>
                    <a:pt x="578" y="3032"/>
                  </a:lnTo>
                  <a:lnTo>
                    <a:pt x="574" y="3007"/>
                  </a:lnTo>
                  <a:lnTo>
                    <a:pt x="571" y="2988"/>
                  </a:lnTo>
                  <a:lnTo>
                    <a:pt x="562" y="2966"/>
                  </a:lnTo>
                  <a:lnTo>
                    <a:pt x="556" y="2941"/>
                  </a:lnTo>
                  <a:lnTo>
                    <a:pt x="556" y="2923"/>
                  </a:lnTo>
                  <a:lnTo>
                    <a:pt x="562" y="2916"/>
                  </a:lnTo>
                  <a:lnTo>
                    <a:pt x="568" y="2907"/>
                  </a:lnTo>
                  <a:lnTo>
                    <a:pt x="581" y="2901"/>
                  </a:lnTo>
                  <a:lnTo>
                    <a:pt x="590" y="2894"/>
                  </a:lnTo>
                  <a:lnTo>
                    <a:pt x="599" y="2891"/>
                  </a:lnTo>
                  <a:lnTo>
                    <a:pt x="631" y="2879"/>
                  </a:lnTo>
                  <a:lnTo>
                    <a:pt x="668" y="2870"/>
                  </a:lnTo>
                  <a:lnTo>
                    <a:pt x="709" y="2863"/>
                  </a:lnTo>
                  <a:lnTo>
                    <a:pt x="743" y="2860"/>
                  </a:lnTo>
                  <a:lnTo>
                    <a:pt x="771" y="2860"/>
                  </a:lnTo>
                  <a:lnTo>
                    <a:pt x="809" y="2866"/>
                  </a:lnTo>
                  <a:lnTo>
                    <a:pt x="846" y="2873"/>
                  </a:lnTo>
                  <a:lnTo>
                    <a:pt x="871" y="2885"/>
                  </a:lnTo>
                  <a:lnTo>
                    <a:pt x="880" y="2898"/>
                  </a:lnTo>
                  <a:lnTo>
                    <a:pt x="887" y="2913"/>
                  </a:lnTo>
                  <a:lnTo>
                    <a:pt x="893" y="2929"/>
                  </a:lnTo>
                  <a:lnTo>
                    <a:pt x="899" y="2938"/>
                  </a:lnTo>
                  <a:lnTo>
                    <a:pt x="912" y="2941"/>
                  </a:lnTo>
                  <a:lnTo>
                    <a:pt x="930" y="2941"/>
                  </a:lnTo>
                  <a:lnTo>
                    <a:pt x="946" y="2938"/>
                  </a:lnTo>
                  <a:lnTo>
                    <a:pt x="959" y="2938"/>
                  </a:lnTo>
                  <a:lnTo>
                    <a:pt x="984" y="2951"/>
                  </a:lnTo>
                  <a:lnTo>
                    <a:pt x="1012" y="2969"/>
                  </a:lnTo>
                  <a:lnTo>
                    <a:pt x="1040" y="2988"/>
                  </a:lnTo>
                  <a:lnTo>
                    <a:pt x="1062" y="3007"/>
                  </a:lnTo>
                  <a:lnTo>
                    <a:pt x="1077" y="3023"/>
                  </a:lnTo>
                  <a:lnTo>
                    <a:pt x="1093" y="3044"/>
                  </a:lnTo>
                  <a:lnTo>
                    <a:pt x="1112" y="3060"/>
                  </a:lnTo>
                  <a:lnTo>
                    <a:pt x="1137" y="3072"/>
                  </a:lnTo>
                  <a:lnTo>
                    <a:pt x="1171" y="3085"/>
                  </a:lnTo>
                  <a:lnTo>
                    <a:pt x="1205" y="3094"/>
                  </a:lnTo>
                  <a:lnTo>
                    <a:pt x="1233" y="3097"/>
                  </a:lnTo>
                  <a:lnTo>
                    <a:pt x="1240" y="3097"/>
                  </a:lnTo>
                  <a:lnTo>
                    <a:pt x="1249" y="3097"/>
                  </a:lnTo>
                  <a:lnTo>
                    <a:pt x="1255" y="3094"/>
                  </a:lnTo>
                  <a:lnTo>
                    <a:pt x="1265" y="3091"/>
                  </a:lnTo>
                  <a:lnTo>
                    <a:pt x="1271" y="3088"/>
                  </a:lnTo>
                  <a:lnTo>
                    <a:pt x="1274" y="3082"/>
                  </a:lnTo>
                  <a:lnTo>
                    <a:pt x="1274" y="3076"/>
                  </a:lnTo>
                  <a:lnTo>
                    <a:pt x="1271" y="3066"/>
                  </a:lnTo>
                  <a:lnTo>
                    <a:pt x="1265" y="3060"/>
                  </a:lnTo>
                  <a:lnTo>
                    <a:pt x="1258" y="3051"/>
                  </a:lnTo>
                  <a:lnTo>
                    <a:pt x="1249" y="3044"/>
                  </a:lnTo>
                  <a:lnTo>
                    <a:pt x="1243" y="3038"/>
                  </a:lnTo>
                  <a:lnTo>
                    <a:pt x="1236" y="3035"/>
                  </a:lnTo>
                  <a:lnTo>
                    <a:pt x="1224" y="3032"/>
                  </a:lnTo>
                  <a:lnTo>
                    <a:pt x="1208" y="3032"/>
                  </a:lnTo>
                  <a:lnTo>
                    <a:pt x="1193" y="3035"/>
                  </a:lnTo>
                  <a:lnTo>
                    <a:pt x="1180" y="3032"/>
                  </a:lnTo>
                  <a:lnTo>
                    <a:pt x="1177" y="3026"/>
                  </a:lnTo>
                  <a:lnTo>
                    <a:pt x="1174" y="3019"/>
                  </a:lnTo>
                  <a:lnTo>
                    <a:pt x="1171" y="3010"/>
                  </a:lnTo>
                  <a:lnTo>
                    <a:pt x="1168" y="3001"/>
                  </a:lnTo>
                  <a:lnTo>
                    <a:pt x="1165" y="2994"/>
                  </a:lnTo>
                  <a:lnTo>
                    <a:pt x="1162" y="2988"/>
                  </a:lnTo>
                  <a:lnTo>
                    <a:pt x="1143" y="2969"/>
                  </a:lnTo>
                  <a:lnTo>
                    <a:pt x="1121" y="2954"/>
                  </a:lnTo>
                  <a:lnTo>
                    <a:pt x="1102" y="2938"/>
                  </a:lnTo>
                  <a:lnTo>
                    <a:pt x="1096" y="2929"/>
                  </a:lnTo>
                  <a:lnTo>
                    <a:pt x="1087" y="2919"/>
                  </a:lnTo>
                  <a:lnTo>
                    <a:pt x="1077" y="2913"/>
                  </a:lnTo>
                  <a:lnTo>
                    <a:pt x="1068" y="2904"/>
                  </a:lnTo>
                  <a:lnTo>
                    <a:pt x="1058" y="2894"/>
                  </a:lnTo>
                  <a:lnTo>
                    <a:pt x="1052" y="2888"/>
                  </a:lnTo>
                  <a:lnTo>
                    <a:pt x="1043" y="2882"/>
                  </a:lnTo>
                  <a:lnTo>
                    <a:pt x="1030" y="2873"/>
                  </a:lnTo>
                  <a:lnTo>
                    <a:pt x="1021" y="2863"/>
                  </a:lnTo>
                  <a:lnTo>
                    <a:pt x="1012" y="2860"/>
                  </a:lnTo>
                  <a:lnTo>
                    <a:pt x="993" y="2860"/>
                  </a:lnTo>
                  <a:lnTo>
                    <a:pt x="968" y="2860"/>
                  </a:lnTo>
                  <a:lnTo>
                    <a:pt x="949" y="2860"/>
                  </a:lnTo>
                  <a:lnTo>
                    <a:pt x="943" y="2857"/>
                  </a:lnTo>
                  <a:lnTo>
                    <a:pt x="934" y="2851"/>
                  </a:lnTo>
                  <a:lnTo>
                    <a:pt x="927" y="2841"/>
                  </a:lnTo>
                  <a:lnTo>
                    <a:pt x="921" y="2835"/>
                  </a:lnTo>
                  <a:lnTo>
                    <a:pt x="912" y="2829"/>
                  </a:lnTo>
                  <a:lnTo>
                    <a:pt x="887" y="2813"/>
                  </a:lnTo>
                  <a:lnTo>
                    <a:pt x="855" y="2795"/>
                  </a:lnTo>
                  <a:lnTo>
                    <a:pt x="818" y="2779"/>
                  </a:lnTo>
                  <a:lnTo>
                    <a:pt x="784" y="2766"/>
                  </a:lnTo>
                  <a:lnTo>
                    <a:pt x="756" y="2763"/>
                  </a:lnTo>
                  <a:lnTo>
                    <a:pt x="737" y="2773"/>
                  </a:lnTo>
                  <a:lnTo>
                    <a:pt x="721" y="2788"/>
                  </a:lnTo>
                  <a:lnTo>
                    <a:pt x="702" y="2801"/>
                  </a:lnTo>
                  <a:lnTo>
                    <a:pt x="687" y="2804"/>
                  </a:lnTo>
                  <a:lnTo>
                    <a:pt x="668" y="2801"/>
                  </a:lnTo>
                  <a:lnTo>
                    <a:pt x="649" y="2801"/>
                  </a:lnTo>
                  <a:lnTo>
                    <a:pt x="631" y="2804"/>
                  </a:lnTo>
                  <a:lnTo>
                    <a:pt x="606" y="2804"/>
                  </a:lnTo>
                  <a:lnTo>
                    <a:pt x="587" y="2810"/>
                  </a:lnTo>
                  <a:lnTo>
                    <a:pt x="562" y="2820"/>
                  </a:lnTo>
                  <a:lnTo>
                    <a:pt x="537" y="2835"/>
                  </a:lnTo>
                  <a:lnTo>
                    <a:pt x="518" y="2851"/>
                  </a:lnTo>
                  <a:lnTo>
                    <a:pt x="509" y="2857"/>
                  </a:lnTo>
                  <a:lnTo>
                    <a:pt x="499" y="2866"/>
                  </a:lnTo>
                  <a:lnTo>
                    <a:pt x="493" y="2876"/>
                  </a:lnTo>
                  <a:lnTo>
                    <a:pt x="484" y="2885"/>
                  </a:lnTo>
                  <a:lnTo>
                    <a:pt x="478" y="2894"/>
                  </a:lnTo>
                  <a:lnTo>
                    <a:pt x="459" y="2910"/>
                  </a:lnTo>
                  <a:lnTo>
                    <a:pt x="437" y="2929"/>
                  </a:lnTo>
                  <a:lnTo>
                    <a:pt x="415" y="2941"/>
                  </a:lnTo>
                  <a:lnTo>
                    <a:pt x="393" y="2948"/>
                  </a:lnTo>
                  <a:lnTo>
                    <a:pt x="362" y="2951"/>
                  </a:lnTo>
                  <a:lnTo>
                    <a:pt x="334" y="2951"/>
                  </a:lnTo>
                  <a:lnTo>
                    <a:pt x="309" y="2948"/>
                  </a:lnTo>
                  <a:lnTo>
                    <a:pt x="300" y="2941"/>
                  </a:lnTo>
                  <a:lnTo>
                    <a:pt x="300" y="2929"/>
                  </a:lnTo>
                  <a:lnTo>
                    <a:pt x="293" y="2910"/>
                  </a:lnTo>
                  <a:lnTo>
                    <a:pt x="287" y="2891"/>
                  </a:lnTo>
                  <a:lnTo>
                    <a:pt x="281" y="2879"/>
                  </a:lnTo>
                  <a:lnTo>
                    <a:pt x="262" y="2866"/>
                  </a:lnTo>
                  <a:lnTo>
                    <a:pt x="240" y="2857"/>
                  </a:lnTo>
                  <a:lnTo>
                    <a:pt x="218" y="2854"/>
                  </a:lnTo>
                  <a:lnTo>
                    <a:pt x="212" y="2854"/>
                  </a:lnTo>
                  <a:lnTo>
                    <a:pt x="203" y="2857"/>
                  </a:lnTo>
                  <a:lnTo>
                    <a:pt x="197" y="2863"/>
                  </a:lnTo>
                  <a:lnTo>
                    <a:pt x="187" y="2866"/>
                  </a:lnTo>
                  <a:lnTo>
                    <a:pt x="178" y="2870"/>
                  </a:lnTo>
                  <a:lnTo>
                    <a:pt x="172" y="2873"/>
                  </a:lnTo>
                  <a:lnTo>
                    <a:pt x="144" y="2876"/>
                  </a:lnTo>
                  <a:lnTo>
                    <a:pt x="109" y="2876"/>
                  </a:lnTo>
                  <a:lnTo>
                    <a:pt x="81" y="2873"/>
                  </a:lnTo>
                  <a:lnTo>
                    <a:pt x="59" y="2866"/>
                  </a:lnTo>
                  <a:lnTo>
                    <a:pt x="37" y="2854"/>
                  </a:lnTo>
                  <a:lnTo>
                    <a:pt x="22" y="2838"/>
                  </a:lnTo>
                  <a:lnTo>
                    <a:pt x="19" y="2835"/>
                  </a:lnTo>
                  <a:lnTo>
                    <a:pt x="15" y="2829"/>
                  </a:lnTo>
                  <a:lnTo>
                    <a:pt x="9" y="2820"/>
                  </a:lnTo>
                  <a:lnTo>
                    <a:pt x="9" y="2813"/>
                  </a:lnTo>
                  <a:lnTo>
                    <a:pt x="6" y="2804"/>
                  </a:lnTo>
                  <a:lnTo>
                    <a:pt x="9" y="2798"/>
                  </a:lnTo>
                  <a:lnTo>
                    <a:pt x="12" y="2795"/>
                  </a:lnTo>
                  <a:lnTo>
                    <a:pt x="19" y="2795"/>
                  </a:lnTo>
                  <a:lnTo>
                    <a:pt x="25" y="2791"/>
                  </a:lnTo>
                  <a:lnTo>
                    <a:pt x="31" y="2791"/>
                  </a:lnTo>
                  <a:lnTo>
                    <a:pt x="37" y="2791"/>
                  </a:lnTo>
                  <a:lnTo>
                    <a:pt x="44" y="2795"/>
                  </a:lnTo>
                  <a:lnTo>
                    <a:pt x="53" y="2798"/>
                  </a:lnTo>
                  <a:lnTo>
                    <a:pt x="62" y="2804"/>
                  </a:lnTo>
                  <a:lnTo>
                    <a:pt x="72" y="2807"/>
                  </a:lnTo>
                  <a:lnTo>
                    <a:pt x="78" y="2810"/>
                  </a:lnTo>
                  <a:lnTo>
                    <a:pt x="84" y="2813"/>
                  </a:lnTo>
                  <a:lnTo>
                    <a:pt x="94" y="2816"/>
                  </a:lnTo>
                  <a:lnTo>
                    <a:pt x="103" y="2816"/>
                  </a:lnTo>
                  <a:lnTo>
                    <a:pt x="112" y="2816"/>
                  </a:lnTo>
                  <a:lnTo>
                    <a:pt x="119" y="2816"/>
                  </a:lnTo>
                  <a:lnTo>
                    <a:pt x="125" y="2813"/>
                  </a:lnTo>
                  <a:lnTo>
                    <a:pt x="134" y="2801"/>
                  </a:lnTo>
                  <a:lnTo>
                    <a:pt x="140" y="2779"/>
                  </a:lnTo>
                  <a:lnTo>
                    <a:pt x="140" y="2763"/>
                  </a:lnTo>
                  <a:lnTo>
                    <a:pt x="128" y="2754"/>
                  </a:lnTo>
                  <a:lnTo>
                    <a:pt x="112" y="2745"/>
                  </a:lnTo>
                  <a:lnTo>
                    <a:pt x="97" y="2738"/>
                  </a:lnTo>
                  <a:lnTo>
                    <a:pt x="84" y="2732"/>
                  </a:lnTo>
                  <a:lnTo>
                    <a:pt x="75" y="2726"/>
                  </a:lnTo>
                  <a:lnTo>
                    <a:pt x="69" y="2720"/>
                  </a:lnTo>
                  <a:lnTo>
                    <a:pt x="59" y="2710"/>
                  </a:lnTo>
                  <a:lnTo>
                    <a:pt x="53" y="2701"/>
                  </a:lnTo>
                  <a:lnTo>
                    <a:pt x="47" y="2695"/>
                  </a:lnTo>
                  <a:lnTo>
                    <a:pt x="34" y="2676"/>
                  </a:lnTo>
                  <a:lnTo>
                    <a:pt x="15" y="2651"/>
                  </a:lnTo>
                  <a:lnTo>
                    <a:pt x="3" y="2629"/>
                  </a:lnTo>
                  <a:lnTo>
                    <a:pt x="0" y="2607"/>
                  </a:lnTo>
                  <a:lnTo>
                    <a:pt x="6" y="2592"/>
                  </a:lnTo>
                  <a:lnTo>
                    <a:pt x="22" y="2579"/>
                  </a:lnTo>
                  <a:lnTo>
                    <a:pt x="40" y="2567"/>
                  </a:lnTo>
                  <a:lnTo>
                    <a:pt x="56" y="2557"/>
                  </a:lnTo>
                  <a:lnTo>
                    <a:pt x="75" y="2548"/>
                  </a:lnTo>
                  <a:lnTo>
                    <a:pt x="97" y="2542"/>
                  </a:lnTo>
                  <a:lnTo>
                    <a:pt x="119" y="2542"/>
                  </a:lnTo>
                  <a:lnTo>
                    <a:pt x="137" y="2545"/>
                  </a:lnTo>
                  <a:lnTo>
                    <a:pt x="162" y="2557"/>
                  </a:lnTo>
                  <a:lnTo>
                    <a:pt x="184" y="2567"/>
                  </a:lnTo>
                  <a:lnTo>
                    <a:pt x="203" y="2567"/>
                  </a:lnTo>
                  <a:lnTo>
                    <a:pt x="209" y="2563"/>
                  </a:lnTo>
                  <a:lnTo>
                    <a:pt x="215" y="2554"/>
                  </a:lnTo>
                  <a:lnTo>
                    <a:pt x="222" y="2548"/>
                  </a:lnTo>
                  <a:lnTo>
                    <a:pt x="225" y="2542"/>
                  </a:lnTo>
                  <a:lnTo>
                    <a:pt x="228" y="2523"/>
                  </a:lnTo>
                  <a:lnTo>
                    <a:pt x="231" y="2501"/>
                  </a:lnTo>
                  <a:lnTo>
                    <a:pt x="231" y="2482"/>
                  </a:lnTo>
                  <a:lnTo>
                    <a:pt x="225" y="2467"/>
                  </a:lnTo>
                  <a:lnTo>
                    <a:pt x="222" y="2464"/>
                  </a:lnTo>
                  <a:lnTo>
                    <a:pt x="215" y="2464"/>
                  </a:lnTo>
                  <a:lnTo>
                    <a:pt x="225" y="2457"/>
                  </a:lnTo>
                  <a:lnTo>
                    <a:pt x="234" y="2451"/>
                  </a:lnTo>
                  <a:lnTo>
                    <a:pt x="240" y="2448"/>
                  </a:lnTo>
                  <a:lnTo>
                    <a:pt x="250" y="2445"/>
                  </a:lnTo>
                  <a:lnTo>
                    <a:pt x="262" y="2448"/>
                  </a:lnTo>
                  <a:lnTo>
                    <a:pt x="281" y="2454"/>
                  </a:lnTo>
                  <a:lnTo>
                    <a:pt x="297" y="2464"/>
                  </a:lnTo>
                  <a:lnTo>
                    <a:pt x="312" y="2464"/>
                  </a:lnTo>
                  <a:lnTo>
                    <a:pt x="328" y="2448"/>
                  </a:lnTo>
                  <a:lnTo>
                    <a:pt x="343" y="2426"/>
                  </a:lnTo>
                  <a:lnTo>
                    <a:pt x="356" y="2404"/>
                  </a:lnTo>
                  <a:lnTo>
                    <a:pt x="368" y="2386"/>
                  </a:lnTo>
                  <a:lnTo>
                    <a:pt x="384" y="2364"/>
                  </a:lnTo>
                  <a:lnTo>
                    <a:pt x="400" y="2351"/>
                  </a:lnTo>
                  <a:lnTo>
                    <a:pt x="421" y="2345"/>
                  </a:lnTo>
                  <a:lnTo>
                    <a:pt x="453" y="2348"/>
                  </a:lnTo>
                  <a:lnTo>
                    <a:pt x="478" y="2351"/>
                  </a:lnTo>
                  <a:lnTo>
                    <a:pt x="496" y="2354"/>
                  </a:lnTo>
                  <a:lnTo>
                    <a:pt x="515" y="2364"/>
                  </a:lnTo>
                  <a:lnTo>
                    <a:pt x="531" y="2373"/>
                  </a:lnTo>
                  <a:lnTo>
                    <a:pt x="534" y="2386"/>
                  </a:lnTo>
                  <a:lnTo>
                    <a:pt x="534" y="2404"/>
                  </a:lnTo>
                  <a:lnTo>
                    <a:pt x="534" y="2420"/>
                  </a:lnTo>
                  <a:lnTo>
                    <a:pt x="540" y="2432"/>
                  </a:lnTo>
                  <a:lnTo>
                    <a:pt x="556" y="2432"/>
                  </a:lnTo>
                  <a:lnTo>
                    <a:pt x="578" y="2426"/>
                  </a:lnTo>
                  <a:lnTo>
                    <a:pt x="599" y="2414"/>
                  </a:lnTo>
                  <a:lnTo>
                    <a:pt x="612" y="2401"/>
                  </a:lnTo>
                  <a:lnTo>
                    <a:pt x="618" y="2386"/>
                  </a:lnTo>
                  <a:lnTo>
                    <a:pt x="621" y="2367"/>
                  </a:lnTo>
                  <a:lnTo>
                    <a:pt x="624" y="2348"/>
                  </a:lnTo>
                  <a:lnTo>
                    <a:pt x="631" y="2332"/>
                  </a:lnTo>
                  <a:lnTo>
                    <a:pt x="646" y="2329"/>
                  </a:lnTo>
                  <a:lnTo>
                    <a:pt x="665" y="2326"/>
                  </a:lnTo>
                  <a:lnTo>
                    <a:pt x="684" y="2323"/>
                  </a:lnTo>
                  <a:lnTo>
                    <a:pt x="696" y="2317"/>
                  </a:lnTo>
                  <a:lnTo>
                    <a:pt x="702" y="2301"/>
                  </a:lnTo>
                  <a:lnTo>
                    <a:pt x="702" y="2279"/>
                  </a:lnTo>
                  <a:lnTo>
                    <a:pt x="699" y="2257"/>
                  </a:lnTo>
                  <a:lnTo>
                    <a:pt x="696" y="2239"/>
                  </a:lnTo>
                  <a:lnTo>
                    <a:pt x="696" y="2220"/>
                  </a:lnTo>
                  <a:lnTo>
                    <a:pt x="696" y="2195"/>
                  </a:lnTo>
                  <a:lnTo>
                    <a:pt x="696" y="2176"/>
                  </a:lnTo>
                  <a:lnTo>
                    <a:pt x="712" y="2158"/>
                  </a:lnTo>
                  <a:lnTo>
                    <a:pt x="731" y="2136"/>
                  </a:lnTo>
                  <a:lnTo>
                    <a:pt x="746" y="2120"/>
                  </a:lnTo>
                  <a:lnTo>
                    <a:pt x="762" y="2089"/>
                  </a:lnTo>
                  <a:lnTo>
                    <a:pt x="774" y="2048"/>
                  </a:lnTo>
                  <a:lnTo>
                    <a:pt x="790" y="2020"/>
                  </a:lnTo>
                  <a:lnTo>
                    <a:pt x="796" y="2011"/>
                  </a:lnTo>
                  <a:lnTo>
                    <a:pt x="802" y="2001"/>
                  </a:lnTo>
                  <a:lnTo>
                    <a:pt x="812" y="1992"/>
                  </a:lnTo>
                  <a:lnTo>
                    <a:pt x="821" y="1986"/>
                  </a:lnTo>
                  <a:lnTo>
                    <a:pt x="831" y="1976"/>
                  </a:lnTo>
                  <a:lnTo>
                    <a:pt x="840" y="1973"/>
                  </a:lnTo>
                  <a:lnTo>
                    <a:pt x="865" y="1970"/>
                  </a:lnTo>
                  <a:lnTo>
                    <a:pt x="893" y="1970"/>
                  </a:lnTo>
                  <a:lnTo>
                    <a:pt x="921" y="1973"/>
                  </a:lnTo>
                  <a:lnTo>
                    <a:pt x="943" y="1976"/>
                  </a:lnTo>
                  <a:lnTo>
                    <a:pt x="971" y="1983"/>
                  </a:lnTo>
                  <a:lnTo>
                    <a:pt x="996" y="1983"/>
                  </a:lnTo>
                  <a:lnTo>
                    <a:pt x="1018" y="1970"/>
                  </a:lnTo>
                  <a:lnTo>
                    <a:pt x="1040" y="1951"/>
                  </a:lnTo>
                  <a:lnTo>
                    <a:pt x="1062" y="1939"/>
                  </a:lnTo>
                  <a:lnTo>
                    <a:pt x="1077" y="1933"/>
                  </a:lnTo>
                  <a:lnTo>
                    <a:pt x="1099" y="1930"/>
                  </a:lnTo>
                  <a:lnTo>
                    <a:pt x="1115" y="1930"/>
                  </a:lnTo>
                  <a:lnTo>
                    <a:pt x="1137" y="1936"/>
                  </a:lnTo>
                  <a:lnTo>
                    <a:pt x="1158" y="1948"/>
                  </a:lnTo>
                  <a:lnTo>
                    <a:pt x="1180" y="1961"/>
                  </a:lnTo>
                  <a:lnTo>
                    <a:pt x="1202" y="1967"/>
                  </a:lnTo>
                  <a:lnTo>
                    <a:pt x="1224" y="1964"/>
                  </a:lnTo>
                  <a:lnTo>
                    <a:pt x="1252" y="1955"/>
                  </a:lnTo>
                  <a:lnTo>
                    <a:pt x="1280" y="1945"/>
                  </a:lnTo>
                  <a:lnTo>
                    <a:pt x="1302" y="1939"/>
                  </a:lnTo>
                  <a:lnTo>
                    <a:pt x="1318" y="1945"/>
                  </a:lnTo>
                  <a:lnTo>
                    <a:pt x="1336" y="1955"/>
                  </a:lnTo>
                  <a:lnTo>
                    <a:pt x="1355" y="1964"/>
                  </a:lnTo>
                  <a:lnTo>
                    <a:pt x="1371" y="1967"/>
                  </a:lnTo>
                  <a:lnTo>
                    <a:pt x="1396" y="1961"/>
                  </a:lnTo>
                  <a:lnTo>
                    <a:pt x="1427" y="1948"/>
                  </a:lnTo>
                  <a:lnTo>
                    <a:pt x="1455" y="1933"/>
                  </a:lnTo>
                  <a:lnTo>
                    <a:pt x="1474" y="1914"/>
                  </a:lnTo>
                  <a:lnTo>
                    <a:pt x="1480" y="1895"/>
                  </a:lnTo>
                  <a:lnTo>
                    <a:pt x="1477" y="1867"/>
                  </a:lnTo>
                  <a:lnTo>
                    <a:pt x="1477" y="1842"/>
                  </a:lnTo>
                  <a:lnTo>
                    <a:pt x="1483" y="1820"/>
                  </a:lnTo>
                  <a:lnTo>
                    <a:pt x="1499" y="1808"/>
                  </a:lnTo>
                  <a:lnTo>
                    <a:pt x="1521" y="1798"/>
                  </a:lnTo>
                  <a:lnTo>
                    <a:pt x="1546" y="1786"/>
                  </a:lnTo>
                  <a:lnTo>
                    <a:pt x="1564" y="1777"/>
                  </a:lnTo>
                  <a:lnTo>
                    <a:pt x="1583" y="1761"/>
                  </a:lnTo>
                  <a:lnTo>
                    <a:pt x="1608" y="1742"/>
                  </a:lnTo>
                  <a:lnTo>
                    <a:pt x="1630" y="1727"/>
                  </a:lnTo>
                  <a:lnTo>
                    <a:pt x="1652" y="1724"/>
                  </a:lnTo>
                  <a:lnTo>
                    <a:pt x="1674" y="1724"/>
                  </a:lnTo>
                  <a:lnTo>
                    <a:pt x="1692" y="1720"/>
                  </a:lnTo>
                  <a:lnTo>
                    <a:pt x="1711" y="1711"/>
                  </a:lnTo>
                  <a:lnTo>
                    <a:pt x="1730" y="1695"/>
                  </a:lnTo>
                  <a:lnTo>
                    <a:pt x="1749" y="1680"/>
                  </a:lnTo>
                  <a:lnTo>
                    <a:pt x="1764" y="1670"/>
                  </a:lnTo>
                  <a:lnTo>
                    <a:pt x="1789" y="1667"/>
                  </a:lnTo>
                  <a:lnTo>
                    <a:pt x="1820" y="1670"/>
                  </a:lnTo>
                  <a:lnTo>
                    <a:pt x="1849" y="1677"/>
                  </a:lnTo>
                  <a:lnTo>
                    <a:pt x="1867" y="1680"/>
                  </a:lnTo>
                  <a:lnTo>
                    <a:pt x="1889" y="1689"/>
                  </a:lnTo>
                  <a:lnTo>
                    <a:pt x="1908" y="1699"/>
                  </a:lnTo>
                  <a:lnTo>
                    <a:pt x="1920" y="1714"/>
                  </a:lnTo>
                  <a:lnTo>
                    <a:pt x="1930" y="1733"/>
                  </a:lnTo>
                  <a:lnTo>
                    <a:pt x="1939" y="1752"/>
                  </a:lnTo>
                  <a:lnTo>
                    <a:pt x="1952" y="1764"/>
                  </a:lnTo>
                  <a:lnTo>
                    <a:pt x="1970" y="1773"/>
                  </a:lnTo>
                  <a:lnTo>
                    <a:pt x="1995" y="1777"/>
                  </a:lnTo>
                  <a:lnTo>
                    <a:pt x="2020" y="1780"/>
                  </a:lnTo>
                  <a:lnTo>
                    <a:pt x="2042" y="1777"/>
                  </a:lnTo>
                  <a:lnTo>
                    <a:pt x="2064" y="1764"/>
                  </a:lnTo>
                  <a:lnTo>
                    <a:pt x="2089" y="1742"/>
                  </a:lnTo>
                  <a:lnTo>
                    <a:pt x="2114" y="1720"/>
                  </a:lnTo>
                  <a:lnTo>
                    <a:pt x="2130" y="1695"/>
                  </a:lnTo>
                  <a:lnTo>
                    <a:pt x="2139" y="1667"/>
                  </a:lnTo>
                  <a:lnTo>
                    <a:pt x="2148" y="1630"/>
                  </a:lnTo>
                  <a:lnTo>
                    <a:pt x="2155" y="1599"/>
                  </a:lnTo>
                  <a:lnTo>
                    <a:pt x="2155" y="1577"/>
                  </a:lnTo>
                  <a:lnTo>
                    <a:pt x="2151" y="1549"/>
                  </a:lnTo>
                  <a:lnTo>
                    <a:pt x="2151" y="1524"/>
                  </a:lnTo>
                  <a:lnTo>
                    <a:pt x="2155" y="1502"/>
                  </a:lnTo>
                  <a:lnTo>
                    <a:pt x="2170" y="1486"/>
                  </a:lnTo>
                  <a:lnTo>
                    <a:pt x="2217" y="1452"/>
                  </a:lnTo>
                  <a:lnTo>
                    <a:pt x="2229" y="1436"/>
                  </a:lnTo>
                  <a:lnTo>
                    <a:pt x="2233" y="1418"/>
                  </a:lnTo>
                  <a:lnTo>
                    <a:pt x="2229" y="1393"/>
                  </a:lnTo>
                  <a:lnTo>
                    <a:pt x="2226" y="1364"/>
                  </a:lnTo>
                  <a:lnTo>
                    <a:pt x="2229" y="1346"/>
                  </a:lnTo>
                  <a:lnTo>
                    <a:pt x="2245" y="1333"/>
                  </a:lnTo>
                  <a:lnTo>
                    <a:pt x="2264" y="1321"/>
                  </a:lnTo>
                  <a:lnTo>
                    <a:pt x="2286" y="1311"/>
                  </a:lnTo>
                  <a:lnTo>
                    <a:pt x="2308" y="1311"/>
                  </a:lnTo>
                  <a:lnTo>
                    <a:pt x="2336" y="1314"/>
                  </a:lnTo>
                  <a:lnTo>
                    <a:pt x="2364" y="1318"/>
                  </a:lnTo>
                  <a:lnTo>
                    <a:pt x="2392" y="1318"/>
                  </a:lnTo>
                  <a:lnTo>
                    <a:pt x="2414" y="1311"/>
                  </a:lnTo>
                  <a:lnTo>
                    <a:pt x="2420" y="1299"/>
                  </a:lnTo>
                  <a:lnTo>
                    <a:pt x="2426" y="1280"/>
                  </a:lnTo>
                  <a:lnTo>
                    <a:pt x="2429" y="1261"/>
                  </a:lnTo>
                  <a:lnTo>
                    <a:pt x="2432" y="1246"/>
                  </a:lnTo>
                  <a:lnTo>
                    <a:pt x="2439" y="1221"/>
                  </a:lnTo>
                  <a:lnTo>
                    <a:pt x="2448" y="1196"/>
                  </a:lnTo>
                  <a:lnTo>
                    <a:pt x="2454" y="1168"/>
                  </a:lnTo>
                  <a:lnTo>
                    <a:pt x="2454" y="1146"/>
                  </a:lnTo>
                  <a:lnTo>
                    <a:pt x="2442" y="1124"/>
                  </a:lnTo>
                  <a:lnTo>
                    <a:pt x="2417" y="1099"/>
                  </a:lnTo>
                  <a:lnTo>
                    <a:pt x="2392" y="1077"/>
                  </a:lnTo>
                  <a:lnTo>
                    <a:pt x="2376" y="1055"/>
                  </a:lnTo>
                  <a:lnTo>
                    <a:pt x="2367" y="1027"/>
                  </a:lnTo>
                  <a:lnTo>
                    <a:pt x="2354" y="996"/>
                  </a:lnTo>
                  <a:lnTo>
                    <a:pt x="2348" y="962"/>
                  </a:lnTo>
                  <a:lnTo>
                    <a:pt x="2348" y="934"/>
                  </a:lnTo>
                  <a:lnTo>
                    <a:pt x="2358" y="918"/>
                  </a:lnTo>
                  <a:lnTo>
                    <a:pt x="2370" y="902"/>
                  </a:lnTo>
                  <a:lnTo>
                    <a:pt x="2382" y="884"/>
                  </a:lnTo>
                  <a:lnTo>
                    <a:pt x="2389" y="868"/>
                  </a:lnTo>
                  <a:lnTo>
                    <a:pt x="2395" y="837"/>
                  </a:lnTo>
                  <a:lnTo>
                    <a:pt x="2395" y="796"/>
                  </a:lnTo>
                  <a:lnTo>
                    <a:pt x="2395" y="756"/>
                  </a:lnTo>
                  <a:lnTo>
                    <a:pt x="2389" y="721"/>
                  </a:lnTo>
                  <a:lnTo>
                    <a:pt x="2382" y="699"/>
                  </a:lnTo>
                  <a:lnTo>
                    <a:pt x="2370" y="674"/>
                  </a:lnTo>
                  <a:lnTo>
                    <a:pt x="2364" y="656"/>
                  </a:lnTo>
                  <a:lnTo>
                    <a:pt x="2370" y="634"/>
                  </a:lnTo>
                  <a:lnTo>
                    <a:pt x="2379" y="609"/>
                  </a:lnTo>
                  <a:lnTo>
                    <a:pt x="2389" y="587"/>
                  </a:lnTo>
                  <a:lnTo>
                    <a:pt x="2404" y="571"/>
                  </a:lnTo>
                  <a:lnTo>
                    <a:pt x="2423" y="553"/>
                  </a:lnTo>
                  <a:lnTo>
                    <a:pt x="2442" y="534"/>
                  </a:lnTo>
                  <a:lnTo>
                    <a:pt x="2454" y="515"/>
                  </a:lnTo>
                  <a:lnTo>
                    <a:pt x="2457" y="493"/>
                  </a:lnTo>
                  <a:lnTo>
                    <a:pt x="2454" y="465"/>
                  </a:lnTo>
                  <a:lnTo>
                    <a:pt x="2451" y="437"/>
                  </a:lnTo>
                  <a:lnTo>
                    <a:pt x="2445" y="415"/>
                  </a:lnTo>
                  <a:lnTo>
                    <a:pt x="2436" y="390"/>
                  </a:lnTo>
                  <a:lnTo>
                    <a:pt x="2423" y="359"/>
                  </a:lnTo>
                  <a:lnTo>
                    <a:pt x="2414" y="334"/>
                  </a:lnTo>
                  <a:lnTo>
                    <a:pt x="2411" y="300"/>
                  </a:lnTo>
                  <a:lnTo>
                    <a:pt x="2411" y="259"/>
                  </a:lnTo>
                  <a:lnTo>
                    <a:pt x="2411" y="218"/>
                  </a:lnTo>
                  <a:lnTo>
                    <a:pt x="2414" y="184"/>
                  </a:lnTo>
                  <a:lnTo>
                    <a:pt x="2423" y="159"/>
                  </a:lnTo>
                  <a:lnTo>
                    <a:pt x="2439" y="128"/>
                  </a:lnTo>
                  <a:lnTo>
                    <a:pt x="2451" y="97"/>
                  </a:lnTo>
                  <a:lnTo>
                    <a:pt x="2482" y="106"/>
                  </a:lnTo>
                  <a:lnTo>
                    <a:pt x="2507" y="112"/>
                  </a:lnTo>
                  <a:lnTo>
                    <a:pt x="2532" y="112"/>
                  </a:lnTo>
                  <a:lnTo>
                    <a:pt x="2560" y="109"/>
                  </a:lnTo>
                  <a:lnTo>
                    <a:pt x="2585" y="103"/>
                  </a:lnTo>
                  <a:lnTo>
                    <a:pt x="2595" y="100"/>
                  </a:lnTo>
                  <a:lnTo>
                    <a:pt x="2604" y="94"/>
                  </a:lnTo>
                  <a:lnTo>
                    <a:pt x="2614" y="87"/>
                  </a:lnTo>
                  <a:lnTo>
                    <a:pt x="2623" y="84"/>
                  </a:lnTo>
                  <a:lnTo>
                    <a:pt x="2632" y="78"/>
                  </a:lnTo>
                  <a:lnTo>
                    <a:pt x="2651" y="78"/>
                  </a:lnTo>
                  <a:lnTo>
                    <a:pt x="2673" y="78"/>
                  </a:lnTo>
                  <a:lnTo>
                    <a:pt x="2692" y="78"/>
                  </a:lnTo>
                  <a:lnTo>
                    <a:pt x="2710" y="94"/>
                  </a:lnTo>
                  <a:lnTo>
                    <a:pt x="2732" y="112"/>
                  </a:lnTo>
                  <a:lnTo>
                    <a:pt x="2751" y="128"/>
                  </a:lnTo>
                  <a:lnTo>
                    <a:pt x="2757" y="131"/>
                  </a:lnTo>
                  <a:lnTo>
                    <a:pt x="2767" y="134"/>
                  </a:lnTo>
                  <a:lnTo>
                    <a:pt x="2773" y="137"/>
                  </a:lnTo>
                  <a:lnTo>
                    <a:pt x="2782" y="140"/>
                  </a:lnTo>
                  <a:lnTo>
                    <a:pt x="2788" y="143"/>
                  </a:lnTo>
                  <a:lnTo>
                    <a:pt x="2792" y="150"/>
                  </a:lnTo>
                  <a:lnTo>
                    <a:pt x="2795" y="156"/>
                  </a:lnTo>
                  <a:lnTo>
                    <a:pt x="2795" y="165"/>
                  </a:lnTo>
                  <a:lnTo>
                    <a:pt x="2798" y="175"/>
                  </a:lnTo>
                  <a:lnTo>
                    <a:pt x="2801" y="181"/>
                  </a:lnTo>
                  <a:lnTo>
                    <a:pt x="2817" y="187"/>
                  </a:lnTo>
                  <a:lnTo>
                    <a:pt x="2838" y="193"/>
                  </a:lnTo>
                  <a:lnTo>
                    <a:pt x="2860" y="197"/>
                  </a:lnTo>
                  <a:lnTo>
                    <a:pt x="2876" y="203"/>
                  </a:lnTo>
                  <a:lnTo>
                    <a:pt x="2882" y="206"/>
                  </a:lnTo>
                  <a:lnTo>
                    <a:pt x="2888" y="215"/>
                  </a:lnTo>
                  <a:lnTo>
                    <a:pt x="2895" y="225"/>
                  </a:lnTo>
                  <a:lnTo>
                    <a:pt x="2901" y="231"/>
                  </a:lnTo>
                  <a:lnTo>
                    <a:pt x="2904" y="237"/>
                  </a:lnTo>
                  <a:lnTo>
                    <a:pt x="2923" y="247"/>
                  </a:lnTo>
                  <a:lnTo>
                    <a:pt x="2948" y="253"/>
                  </a:lnTo>
                  <a:lnTo>
                    <a:pt x="2973" y="256"/>
                  </a:lnTo>
                  <a:lnTo>
                    <a:pt x="2995" y="253"/>
                  </a:lnTo>
                  <a:lnTo>
                    <a:pt x="3001" y="250"/>
                  </a:lnTo>
                  <a:lnTo>
                    <a:pt x="3007" y="243"/>
                  </a:lnTo>
                  <a:lnTo>
                    <a:pt x="3013" y="237"/>
                  </a:lnTo>
                  <a:lnTo>
                    <a:pt x="3020" y="228"/>
                  </a:lnTo>
                  <a:lnTo>
                    <a:pt x="3020" y="215"/>
                  </a:lnTo>
                  <a:lnTo>
                    <a:pt x="3023" y="200"/>
                  </a:lnTo>
                  <a:lnTo>
                    <a:pt x="3023" y="184"/>
                  </a:lnTo>
                  <a:lnTo>
                    <a:pt x="3029" y="172"/>
                  </a:lnTo>
                  <a:lnTo>
                    <a:pt x="3035" y="168"/>
                  </a:lnTo>
                  <a:lnTo>
                    <a:pt x="3041" y="165"/>
                  </a:lnTo>
                  <a:lnTo>
                    <a:pt x="3051" y="165"/>
                  </a:lnTo>
                  <a:lnTo>
                    <a:pt x="3060" y="165"/>
                  </a:lnTo>
                  <a:lnTo>
                    <a:pt x="3069" y="168"/>
                  </a:lnTo>
                  <a:lnTo>
                    <a:pt x="3076" y="168"/>
                  </a:lnTo>
                  <a:lnTo>
                    <a:pt x="3085" y="181"/>
                  </a:lnTo>
                  <a:lnTo>
                    <a:pt x="3088" y="197"/>
                  </a:lnTo>
                  <a:lnTo>
                    <a:pt x="3094" y="215"/>
                  </a:lnTo>
                  <a:lnTo>
                    <a:pt x="3101" y="231"/>
                  </a:lnTo>
                  <a:lnTo>
                    <a:pt x="3107" y="237"/>
                  </a:lnTo>
                  <a:lnTo>
                    <a:pt x="3123" y="237"/>
                  </a:lnTo>
                  <a:lnTo>
                    <a:pt x="3138" y="225"/>
                  </a:lnTo>
                  <a:lnTo>
                    <a:pt x="3154" y="215"/>
                  </a:lnTo>
                  <a:lnTo>
                    <a:pt x="3166" y="206"/>
                  </a:lnTo>
                  <a:lnTo>
                    <a:pt x="3185" y="203"/>
                  </a:lnTo>
                  <a:lnTo>
                    <a:pt x="3210" y="203"/>
                  </a:lnTo>
                  <a:lnTo>
                    <a:pt x="3238" y="203"/>
                  </a:lnTo>
                  <a:lnTo>
                    <a:pt x="3260" y="200"/>
                  </a:lnTo>
                  <a:lnTo>
                    <a:pt x="3276" y="190"/>
                  </a:lnTo>
                  <a:lnTo>
                    <a:pt x="3279" y="187"/>
                  </a:lnTo>
                  <a:lnTo>
                    <a:pt x="3279" y="181"/>
                  </a:lnTo>
                  <a:lnTo>
                    <a:pt x="3279" y="172"/>
                  </a:lnTo>
                  <a:lnTo>
                    <a:pt x="3276" y="165"/>
                  </a:lnTo>
                  <a:lnTo>
                    <a:pt x="3276" y="156"/>
                  </a:lnTo>
                  <a:lnTo>
                    <a:pt x="3276" y="150"/>
                  </a:lnTo>
                  <a:lnTo>
                    <a:pt x="3276" y="143"/>
                  </a:lnTo>
                  <a:lnTo>
                    <a:pt x="3294" y="128"/>
                  </a:lnTo>
                  <a:lnTo>
                    <a:pt x="3322" y="112"/>
                  </a:lnTo>
                  <a:lnTo>
                    <a:pt x="3354" y="100"/>
                  </a:lnTo>
                  <a:lnTo>
                    <a:pt x="3379" y="94"/>
                  </a:lnTo>
                  <a:lnTo>
                    <a:pt x="3400" y="94"/>
                  </a:lnTo>
                  <a:lnTo>
                    <a:pt x="3425" y="100"/>
                  </a:lnTo>
                  <a:lnTo>
                    <a:pt x="3454" y="106"/>
                  </a:lnTo>
                  <a:lnTo>
                    <a:pt x="3475" y="112"/>
                  </a:lnTo>
                  <a:lnTo>
                    <a:pt x="3494" y="125"/>
                  </a:lnTo>
                  <a:lnTo>
                    <a:pt x="3516" y="143"/>
                  </a:lnTo>
                  <a:lnTo>
                    <a:pt x="3535" y="153"/>
                  </a:lnTo>
                  <a:lnTo>
                    <a:pt x="3553" y="159"/>
                  </a:lnTo>
                  <a:lnTo>
                    <a:pt x="3575" y="159"/>
                  </a:lnTo>
                  <a:lnTo>
                    <a:pt x="3597" y="159"/>
                  </a:lnTo>
                  <a:lnTo>
                    <a:pt x="3613" y="153"/>
                  </a:lnTo>
                  <a:lnTo>
                    <a:pt x="3613" y="147"/>
                  </a:lnTo>
                  <a:lnTo>
                    <a:pt x="3613" y="140"/>
                  </a:lnTo>
                  <a:lnTo>
                    <a:pt x="3613" y="134"/>
                  </a:lnTo>
                  <a:lnTo>
                    <a:pt x="3613" y="125"/>
                  </a:lnTo>
                  <a:lnTo>
                    <a:pt x="3610" y="119"/>
                  </a:lnTo>
                  <a:lnTo>
                    <a:pt x="3613" y="115"/>
                  </a:lnTo>
                  <a:lnTo>
                    <a:pt x="3619" y="106"/>
                  </a:lnTo>
                  <a:lnTo>
                    <a:pt x="3628" y="100"/>
                  </a:lnTo>
                  <a:lnTo>
                    <a:pt x="3641" y="97"/>
                  </a:lnTo>
                  <a:lnTo>
                    <a:pt x="3653" y="94"/>
                  </a:lnTo>
                  <a:lnTo>
                    <a:pt x="3663" y="90"/>
                  </a:lnTo>
                  <a:lnTo>
                    <a:pt x="3678" y="97"/>
                  </a:lnTo>
                  <a:lnTo>
                    <a:pt x="3700" y="106"/>
                  </a:lnTo>
                  <a:lnTo>
                    <a:pt x="3719" y="109"/>
                  </a:lnTo>
                  <a:lnTo>
                    <a:pt x="3722" y="106"/>
                  </a:lnTo>
                  <a:lnTo>
                    <a:pt x="3728" y="103"/>
                  </a:lnTo>
                  <a:lnTo>
                    <a:pt x="3735" y="97"/>
                  </a:lnTo>
                  <a:lnTo>
                    <a:pt x="3741" y="90"/>
                  </a:lnTo>
                  <a:lnTo>
                    <a:pt x="3744" y="84"/>
                  </a:lnTo>
                  <a:lnTo>
                    <a:pt x="3744" y="72"/>
                  </a:lnTo>
                  <a:lnTo>
                    <a:pt x="3738" y="53"/>
                  </a:lnTo>
                  <a:lnTo>
                    <a:pt x="3731" y="34"/>
                  </a:lnTo>
                  <a:lnTo>
                    <a:pt x="3725" y="19"/>
                  </a:lnTo>
                  <a:lnTo>
                    <a:pt x="3728" y="6"/>
                  </a:lnTo>
                  <a:lnTo>
                    <a:pt x="3741" y="0"/>
                  </a:lnTo>
                  <a:lnTo>
                    <a:pt x="3756" y="0"/>
                  </a:lnTo>
                  <a:lnTo>
                    <a:pt x="3772" y="3"/>
                  </a:lnTo>
                  <a:lnTo>
                    <a:pt x="3785" y="6"/>
                  </a:lnTo>
                  <a:lnTo>
                    <a:pt x="3803" y="12"/>
                  </a:lnTo>
                  <a:lnTo>
                    <a:pt x="3828" y="25"/>
                  </a:lnTo>
                  <a:lnTo>
                    <a:pt x="3847" y="37"/>
                  </a:lnTo>
                  <a:lnTo>
                    <a:pt x="3853" y="40"/>
                  </a:lnTo>
                  <a:lnTo>
                    <a:pt x="3866" y="47"/>
                  </a:lnTo>
                  <a:lnTo>
                    <a:pt x="3875" y="53"/>
                  </a:lnTo>
                  <a:lnTo>
                    <a:pt x="3881" y="59"/>
                  </a:lnTo>
                  <a:lnTo>
                    <a:pt x="3894" y="81"/>
                  </a:lnTo>
                  <a:lnTo>
                    <a:pt x="3903" y="106"/>
                  </a:lnTo>
                  <a:lnTo>
                    <a:pt x="3906" y="131"/>
                  </a:lnTo>
                  <a:lnTo>
                    <a:pt x="3906" y="153"/>
                  </a:lnTo>
                  <a:lnTo>
                    <a:pt x="3900" y="175"/>
                  </a:lnTo>
                  <a:lnTo>
                    <a:pt x="3894" y="200"/>
                  </a:lnTo>
                  <a:lnTo>
                    <a:pt x="3894" y="218"/>
                  </a:lnTo>
                  <a:lnTo>
                    <a:pt x="3900" y="228"/>
                  </a:lnTo>
                  <a:lnTo>
                    <a:pt x="3906" y="237"/>
                  </a:lnTo>
                  <a:lnTo>
                    <a:pt x="3919" y="243"/>
                  </a:lnTo>
                  <a:lnTo>
                    <a:pt x="3928" y="250"/>
                  </a:lnTo>
                  <a:lnTo>
                    <a:pt x="3938" y="256"/>
                  </a:lnTo>
                  <a:lnTo>
                    <a:pt x="3956" y="262"/>
                  </a:lnTo>
                  <a:lnTo>
                    <a:pt x="3981" y="268"/>
                  </a:lnTo>
                  <a:lnTo>
                    <a:pt x="4006" y="275"/>
                  </a:lnTo>
                  <a:lnTo>
                    <a:pt x="4022" y="284"/>
                  </a:lnTo>
                  <a:lnTo>
                    <a:pt x="4031" y="300"/>
                  </a:lnTo>
                  <a:lnTo>
                    <a:pt x="4034" y="325"/>
                  </a:lnTo>
                  <a:lnTo>
                    <a:pt x="4034" y="346"/>
                  </a:lnTo>
                  <a:lnTo>
                    <a:pt x="4034" y="371"/>
                  </a:lnTo>
                  <a:lnTo>
                    <a:pt x="4041" y="390"/>
                  </a:lnTo>
                  <a:lnTo>
                    <a:pt x="4050" y="409"/>
                  </a:lnTo>
                  <a:lnTo>
                    <a:pt x="4062" y="431"/>
                  </a:lnTo>
                  <a:lnTo>
                    <a:pt x="4078" y="443"/>
                  </a:lnTo>
                  <a:lnTo>
                    <a:pt x="4084" y="443"/>
                  </a:lnTo>
                  <a:lnTo>
                    <a:pt x="4094" y="440"/>
                  </a:lnTo>
                  <a:lnTo>
                    <a:pt x="4100" y="437"/>
                  </a:lnTo>
                  <a:lnTo>
                    <a:pt x="4109" y="434"/>
                  </a:lnTo>
                  <a:lnTo>
                    <a:pt x="4119" y="431"/>
                  </a:lnTo>
                  <a:lnTo>
                    <a:pt x="4125" y="428"/>
                  </a:lnTo>
                  <a:lnTo>
                    <a:pt x="4141" y="434"/>
                  </a:lnTo>
                  <a:lnTo>
                    <a:pt x="4159" y="443"/>
                  </a:lnTo>
                  <a:lnTo>
                    <a:pt x="4175" y="450"/>
                  </a:lnTo>
                  <a:lnTo>
                    <a:pt x="4197" y="453"/>
                  </a:lnTo>
                  <a:lnTo>
                    <a:pt x="4222" y="453"/>
                  </a:lnTo>
                  <a:lnTo>
                    <a:pt x="4240" y="450"/>
                  </a:lnTo>
                  <a:lnTo>
                    <a:pt x="4247" y="443"/>
                  </a:lnTo>
                  <a:lnTo>
                    <a:pt x="4253" y="434"/>
                  </a:lnTo>
                  <a:lnTo>
                    <a:pt x="4256" y="425"/>
                  </a:lnTo>
                  <a:lnTo>
                    <a:pt x="4262" y="415"/>
                  </a:lnTo>
                  <a:lnTo>
                    <a:pt x="4265" y="409"/>
                  </a:lnTo>
                  <a:lnTo>
                    <a:pt x="4287" y="393"/>
                  </a:lnTo>
                  <a:lnTo>
                    <a:pt x="4312" y="378"/>
                  </a:lnTo>
                  <a:lnTo>
                    <a:pt x="4331" y="362"/>
                  </a:lnTo>
                  <a:lnTo>
                    <a:pt x="4331" y="350"/>
                  </a:lnTo>
                  <a:lnTo>
                    <a:pt x="4331" y="331"/>
                  </a:lnTo>
                  <a:lnTo>
                    <a:pt x="4328" y="315"/>
                  </a:lnTo>
                  <a:lnTo>
                    <a:pt x="4331" y="303"/>
                  </a:lnTo>
                  <a:lnTo>
                    <a:pt x="4347" y="293"/>
                  </a:lnTo>
                  <a:lnTo>
                    <a:pt x="4372" y="290"/>
                  </a:lnTo>
                  <a:lnTo>
                    <a:pt x="4394" y="284"/>
                  </a:lnTo>
                  <a:lnTo>
                    <a:pt x="4412" y="278"/>
                  </a:lnTo>
                  <a:lnTo>
                    <a:pt x="4418" y="275"/>
                  </a:lnTo>
                  <a:lnTo>
                    <a:pt x="4425" y="265"/>
                  </a:lnTo>
                  <a:lnTo>
                    <a:pt x="4428" y="256"/>
                  </a:lnTo>
                  <a:lnTo>
                    <a:pt x="4434" y="247"/>
                  </a:lnTo>
                  <a:lnTo>
                    <a:pt x="4437" y="240"/>
                  </a:lnTo>
                  <a:lnTo>
                    <a:pt x="4443" y="234"/>
                  </a:lnTo>
                  <a:lnTo>
                    <a:pt x="4468" y="228"/>
                  </a:lnTo>
                  <a:lnTo>
                    <a:pt x="4500" y="225"/>
                  </a:lnTo>
                  <a:lnTo>
                    <a:pt x="4537" y="228"/>
                  </a:lnTo>
                  <a:lnTo>
                    <a:pt x="4568" y="231"/>
                  </a:lnTo>
                  <a:lnTo>
                    <a:pt x="4596" y="234"/>
                  </a:lnTo>
                  <a:lnTo>
                    <a:pt x="4618" y="240"/>
                  </a:lnTo>
                  <a:lnTo>
                    <a:pt x="4643" y="247"/>
                  </a:lnTo>
                  <a:lnTo>
                    <a:pt x="4665" y="259"/>
                  </a:lnTo>
                  <a:lnTo>
                    <a:pt x="4681" y="272"/>
                  </a:lnTo>
                  <a:lnTo>
                    <a:pt x="4700" y="290"/>
                  </a:lnTo>
                  <a:lnTo>
                    <a:pt x="4712" y="309"/>
                  </a:lnTo>
                  <a:lnTo>
                    <a:pt x="4715" y="328"/>
                  </a:lnTo>
                  <a:lnTo>
                    <a:pt x="4715" y="350"/>
                  </a:lnTo>
                  <a:lnTo>
                    <a:pt x="4712" y="371"/>
                  </a:lnTo>
                  <a:lnTo>
                    <a:pt x="4712" y="387"/>
                  </a:lnTo>
                  <a:lnTo>
                    <a:pt x="4718" y="409"/>
                  </a:lnTo>
                  <a:lnTo>
                    <a:pt x="4725" y="434"/>
                  </a:lnTo>
                  <a:lnTo>
                    <a:pt x="4731" y="459"/>
                  </a:lnTo>
                  <a:lnTo>
                    <a:pt x="4734" y="478"/>
                  </a:lnTo>
                  <a:lnTo>
                    <a:pt x="4734" y="503"/>
                  </a:lnTo>
                  <a:lnTo>
                    <a:pt x="4728" y="534"/>
                  </a:lnTo>
                  <a:lnTo>
                    <a:pt x="4725" y="562"/>
                  </a:lnTo>
                  <a:lnTo>
                    <a:pt x="4728" y="574"/>
                  </a:lnTo>
                  <a:lnTo>
                    <a:pt x="4734" y="596"/>
                  </a:lnTo>
                  <a:lnTo>
                    <a:pt x="4740" y="612"/>
                  </a:lnTo>
                  <a:lnTo>
                    <a:pt x="4740" y="621"/>
                  </a:lnTo>
                  <a:lnTo>
                    <a:pt x="4746" y="624"/>
                  </a:lnTo>
                  <a:lnTo>
                    <a:pt x="4765" y="624"/>
                  </a:lnTo>
                  <a:lnTo>
                    <a:pt x="4787" y="621"/>
                  </a:lnTo>
                  <a:lnTo>
                    <a:pt x="4806" y="621"/>
                  </a:lnTo>
                  <a:lnTo>
                    <a:pt x="4824" y="621"/>
                  </a:lnTo>
                  <a:lnTo>
                    <a:pt x="4843" y="624"/>
                  </a:lnTo>
                  <a:lnTo>
                    <a:pt x="4868" y="634"/>
                  </a:lnTo>
                  <a:lnTo>
                    <a:pt x="4884" y="646"/>
                  </a:lnTo>
                  <a:lnTo>
                    <a:pt x="4890" y="665"/>
                  </a:lnTo>
                  <a:lnTo>
                    <a:pt x="4890" y="690"/>
                  </a:lnTo>
                  <a:lnTo>
                    <a:pt x="4887" y="718"/>
                  </a:lnTo>
                  <a:lnTo>
                    <a:pt x="4884" y="743"/>
                  </a:lnTo>
                  <a:lnTo>
                    <a:pt x="4884" y="756"/>
                  </a:lnTo>
                  <a:lnTo>
                    <a:pt x="4890" y="759"/>
                  </a:lnTo>
                  <a:lnTo>
                    <a:pt x="4909" y="765"/>
                  </a:lnTo>
                  <a:lnTo>
                    <a:pt x="4934" y="771"/>
                  </a:lnTo>
                  <a:lnTo>
                    <a:pt x="4962" y="777"/>
                  </a:lnTo>
                  <a:lnTo>
                    <a:pt x="4990" y="784"/>
                  </a:lnTo>
                  <a:lnTo>
                    <a:pt x="5009" y="790"/>
                  </a:lnTo>
                  <a:lnTo>
                    <a:pt x="5021" y="796"/>
                  </a:lnTo>
                  <a:lnTo>
                    <a:pt x="5037" y="802"/>
                  </a:lnTo>
                  <a:lnTo>
                    <a:pt x="5052" y="812"/>
                  </a:lnTo>
                  <a:lnTo>
                    <a:pt x="5065" y="812"/>
                  </a:lnTo>
                  <a:lnTo>
                    <a:pt x="5074" y="799"/>
                  </a:lnTo>
                  <a:lnTo>
                    <a:pt x="5084" y="777"/>
                  </a:lnTo>
                  <a:lnTo>
                    <a:pt x="5090" y="759"/>
                  </a:lnTo>
                  <a:lnTo>
                    <a:pt x="5099" y="743"/>
                  </a:lnTo>
                  <a:lnTo>
                    <a:pt x="5121" y="743"/>
                  </a:lnTo>
                  <a:lnTo>
                    <a:pt x="5146" y="749"/>
                  </a:lnTo>
                  <a:lnTo>
                    <a:pt x="5171" y="759"/>
                  </a:lnTo>
                  <a:lnTo>
                    <a:pt x="5187" y="771"/>
                  </a:lnTo>
                  <a:lnTo>
                    <a:pt x="5193" y="784"/>
                  </a:lnTo>
                  <a:lnTo>
                    <a:pt x="5196" y="802"/>
                  </a:lnTo>
                  <a:lnTo>
                    <a:pt x="5199" y="821"/>
                  </a:lnTo>
                  <a:lnTo>
                    <a:pt x="5202" y="834"/>
                  </a:lnTo>
                  <a:lnTo>
                    <a:pt x="5221" y="846"/>
                  </a:lnTo>
                  <a:lnTo>
                    <a:pt x="5243" y="859"/>
                  </a:lnTo>
                  <a:lnTo>
                    <a:pt x="5262" y="868"/>
                  </a:lnTo>
                  <a:lnTo>
                    <a:pt x="5271" y="884"/>
                  </a:lnTo>
                  <a:lnTo>
                    <a:pt x="5280" y="902"/>
                  </a:lnTo>
                  <a:lnTo>
                    <a:pt x="5287" y="924"/>
                  </a:lnTo>
                  <a:lnTo>
                    <a:pt x="5296" y="937"/>
                  </a:lnTo>
                  <a:lnTo>
                    <a:pt x="5315" y="943"/>
                  </a:lnTo>
                  <a:lnTo>
                    <a:pt x="5337" y="946"/>
                  </a:lnTo>
                  <a:lnTo>
                    <a:pt x="5362" y="949"/>
                  </a:lnTo>
                  <a:lnTo>
                    <a:pt x="5380" y="952"/>
                  </a:lnTo>
                  <a:lnTo>
                    <a:pt x="5390" y="952"/>
                  </a:lnTo>
                  <a:lnTo>
                    <a:pt x="5402" y="952"/>
                  </a:lnTo>
                  <a:lnTo>
                    <a:pt x="5412" y="952"/>
                  </a:lnTo>
                  <a:lnTo>
                    <a:pt x="5421" y="962"/>
                  </a:lnTo>
                  <a:lnTo>
                    <a:pt x="5427" y="974"/>
                  </a:lnTo>
                  <a:lnTo>
                    <a:pt x="5436" y="983"/>
                  </a:lnTo>
                  <a:lnTo>
                    <a:pt x="5443" y="993"/>
                  </a:lnTo>
                  <a:lnTo>
                    <a:pt x="5452" y="996"/>
                  </a:lnTo>
                  <a:lnTo>
                    <a:pt x="5458" y="999"/>
                  </a:lnTo>
                  <a:lnTo>
                    <a:pt x="5468" y="999"/>
                  </a:lnTo>
                  <a:lnTo>
                    <a:pt x="5474" y="999"/>
                  </a:lnTo>
                  <a:lnTo>
                    <a:pt x="5483" y="996"/>
                  </a:lnTo>
                  <a:lnTo>
                    <a:pt x="5493" y="996"/>
                  </a:lnTo>
                  <a:lnTo>
                    <a:pt x="5499" y="996"/>
                  </a:lnTo>
                  <a:lnTo>
                    <a:pt x="5505" y="999"/>
                  </a:lnTo>
                  <a:lnTo>
                    <a:pt x="5511" y="1005"/>
                  </a:lnTo>
                  <a:lnTo>
                    <a:pt x="5518" y="1008"/>
                  </a:lnTo>
                  <a:lnTo>
                    <a:pt x="5524" y="1015"/>
                  </a:lnTo>
                  <a:lnTo>
                    <a:pt x="5530" y="1021"/>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58" name="Freeform 45">
              <a:extLst>
                <a:ext uri="{FF2B5EF4-FFF2-40B4-BE49-F238E27FC236}">
                  <a16:creationId xmlns:a16="http://schemas.microsoft.com/office/drawing/2014/main" id="{DAD82615-206F-4A78-BF80-0F3403666659}"/>
                </a:ext>
              </a:extLst>
            </p:cNvPr>
            <p:cNvSpPr>
              <a:spLocks/>
            </p:cNvSpPr>
            <p:nvPr/>
          </p:nvSpPr>
          <p:spPr bwMode="auto">
            <a:xfrm>
              <a:off x="18710276" y="-10821988"/>
              <a:ext cx="5072063" cy="4198938"/>
            </a:xfrm>
            <a:custGeom>
              <a:avLst/>
              <a:gdLst>
                <a:gd name="T0" fmla="*/ 35 w 3195"/>
                <a:gd name="T1" fmla="*/ 569 h 2645"/>
                <a:gd name="T2" fmla="*/ 10 w 3195"/>
                <a:gd name="T3" fmla="*/ 456 h 2645"/>
                <a:gd name="T4" fmla="*/ 234 w 3195"/>
                <a:gd name="T5" fmla="*/ 384 h 2645"/>
                <a:gd name="T6" fmla="*/ 313 w 3195"/>
                <a:gd name="T7" fmla="*/ 141 h 2645"/>
                <a:gd name="T8" fmla="*/ 394 w 3195"/>
                <a:gd name="T9" fmla="*/ 19 h 2645"/>
                <a:gd name="T10" fmla="*/ 562 w 3195"/>
                <a:gd name="T11" fmla="*/ 110 h 2645"/>
                <a:gd name="T12" fmla="*/ 734 w 3195"/>
                <a:gd name="T13" fmla="*/ 172 h 2645"/>
                <a:gd name="T14" fmla="*/ 1015 w 3195"/>
                <a:gd name="T15" fmla="*/ 78 h 2645"/>
                <a:gd name="T16" fmla="*/ 1240 w 3195"/>
                <a:gd name="T17" fmla="*/ 169 h 2645"/>
                <a:gd name="T18" fmla="*/ 1352 w 3195"/>
                <a:gd name="T19" fmla="*/ 100 h 2645"/>
                <a:gd name="T20" fmla="*/ 1552 w 3195"/>
                <a:gd name="T21" fmla="*/ 269 h 2645"/>
                <a:gd name="T22" fmla="*/ 1830 w 3195"/>
                <a:gd name="T23" fmla="*/ 316 h 2645"/>
                <a:gd name="T24" fmla="*/ 2018 w 3195"/>
                <a:gd name="T25" fmla="*/ 413 h 2645"/>
                <a:gd name="T26" fmla="*/ 2183 w 3195"/>
                <a:gd name="T27" fmla="*/ 391 h 2645"/>
                <a:gd name="T28" fmla="*/ 2358 w 3195"/>
                <a:gd name="T29" fmla="*/ 350 h 2645"/>
                <a:gd name="T30" fmla="*/ 2467 w 3195"/>
                <a:gd name="T31" fmla="*/ 291 h 2645"/>
                <a:gd name="T32" fmla="*/ 2670 w 3195"/>
                <a:gd name="T33" fmla="*/ 366 h 2645"/>
                <a:gd name="T34" fmla="*/ 2745 w 3195"/>
                <a:gd name="T35" fmla="*/ 587 h 2645"/>
                <a:gd name="T36" fmla="*/ 2942 w 3195"/>
                <a:gd name="T37" fmla="*/ 734 h 2645"/>
                <a:gd name="T38" fmla="*/ 3123 w 3195"/>
                <a:gd name="T39" fmla="*/ 909 h 2645"/>
                <a:gd name="T40" fmla="*/ 3085 w 3195"/>
                <a:gd name="T41" fmla="*/ 990 h 2645"/>
                <a:gd name="T42" fmla="*/ 3101 w 3195"/>
                <a:gd name="T43" fmla="*/ 1153 h 2645"/>
                <a:gd name="T44" fmla="*/ 3148 w 3195"/>
                <a:gd name="T45" fmla="*/ 1359 h 2645"/>
                <a:gd name="T46" fmla="*/ 3192 w 3195"/>
                <a:gd name="T47" fmla="*/ 1474 h 2645"/>
                <a:gd name="T48" fmla="*/ 3145 w 3195"/>
                <a:gd name="T49" fmla="*/ 1524 h 2645"/>
                <a:gd name="T50" fmla="*/ 3123 w 3195"/>
                <a:gd name="T51" fmla="*/ 1640 h 2645"/>
                <a:gd name="T52" fmla="*/ 3051 w 3195"/>
                <a:gd name="T53" fmla="*/ 1668 h 2645"/>
                <a:gd name="T54" fmla="*/ 3051 w 3195"/>
                <a:gd name="T55" fmla="*/ 1787 h 2645"/>
                <a:gd name="T56" fmla="*/ 3017 w 3195"/>
                <a:gd name="T57" fmla="*/ 1955 h 2645"/>
                <a:gd name="T58" fmla="*/ 2932 w 3195"/>
                <a:gd name="T59" fmla="*/ 2008 h 2645"/>
                <a:gd name="T60" fmla="*/ 2720 w 3195"/>
                <a:gd name="T61" fmla="*/ 2055 h 2645"/>
                <a:gd name="T62" fmla="*/ 2514 w 3195"/>
                <a:gd name="T63" fmla="*/ 2036 h 2645"/>
                <a:gd name="T64" fmla="*/ 2448 w 3195"/>
                <a:gd name="T65" fmla="*/ 2217 h 2645"/>
                <a:gd name="T66" fmla="*/ 2377 w 3195"/>
                <a:gd name="T67" fmla="*/ 2402 h 2645"/>
                <a:gd name="T68" fmla="*/ 2286 w 3195"/>
                <a:gd name="T69" fmla="*/ 2514 h 2645"/>
                <a:gd name="T70" fmla="*/ 2205 w 3195"/>
                <a:gd name="T71" fmla="*/ 2589 h 2645"/>
                <a:gd name="T72" fmla="*/ 2089 w 3195"/>
                <a:gd name="T73" fmla="*/ 2542 h 2645"/>
                <a:gd name="T74" fmla="*/ 1989 w 3195"/>
                <a:gd name="T75" fmla="*/ 2614 h 2645"/>
                <a:gd name="T76" fmla="*/ 1736 w 3195"/>
                <a:gd name="T77" fmla="*/ 2602 h 2645"/>
                <a:gd name="T78" fmla="*/ 1587 w 3195"/>
                <a:gd name="T79" fmla="*/ 2620 h 2645"/>
                <a:gd name="T80" fmla="*/ 1640 w 3195"/>
                <a:gd name="T81" fmla="*/ 2436 h 2645"/>
                <a:gd name="T82" fmla="*/ 1537 w 3195"/>
                <a:gd name="T83" fmla="*/ 2283 h 2645"/>
                <a:gd name="T84" fmla="*/ 1418 w 3195"/>
                <a:gd name="T85" fmla="*/ 2189 h 2645"/>
                <a:gd name="T86" fmla="*/ 1327 w 3195"/>
                <a:gd name="T87" fmla="*/ 2158 h 2645"/>
                <a:gd name="T88" fmla="*/ 1231 w 3195"/>
                <a:gd name="T89" fmla="*/ 2192 h 2645"/>
                <a:gd name="T90" fmla="*/ 1099 w 3195"/>
                <a:gd name="T91" fmla="*/ 2155 h 2645"/>
                <a:gd name="T92" fmla="*/ 1056 w 3195"/>
                <a:gd name="T93" fmla="*/ 2217 h 2645"/>
                <a:gd name="T94" fmla="*/ 943 w 3195"/>
                <a:gd name="T95" fmla="*/ 2246 h 2645"/>
                <a:gd name="T96" fmla="*/ 825 w 3195"/>
                <a:gd name="T97" fmla="*/ 2261 h 2645"/>
                <a:gd name="T98" fmla="*/ 834 w 3195"/>
                <a:gd name="T99" fmla="*/ 2167 h 2645"/>
                <a:gd name="T100" fmla="*/ 772 w 3195"/>
                <a:gd name="T101" fmla="*/ 1958 h 2645"/>
                <a:gd name="T102" fmla="*/ 619 w 3195"/>
                <a:gd name="T103" fmla="*/ 1818 h 2645"/>
                <a:gd name="T104" fmla="*/ 487 w 3195"/>
                <a:gd name="T105" fmla="*/ 1705 h 2645"/>
                <a:gd name="T106" fmla="*/ 400 w 3195"/>
                <a:gd name="T107" fmla="*/ 1568 h 2645"/>
                <a:gd name="T108" fmla="*/ 294 w 3195"/>
                <a:gd name="T109" fmla="*/ 1406 h 2645"/>
                <a:gd name="T110" fmla="*/ 216 w 3195"/>
                <a:gd name="T111" fmla="*/ 1290 h 2645"/>
                <a:gd name="T112" fmla="*/ 213 w 3195"/>
                <a:gd name="T113" fmla="*/ 1115 h 2645"/>
                <a:gd name="T114" fmla="*/ 175 w 3195"/>
                <a:gd name="T115" fmla="*/ 912 h 2645"/>
                <a:gd name="T116" fmla="*/ 94 w 3195"/>
                <a:gd name="T117" fmla="*/ 715 h 2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95" h="2645">
                  <a:moveTo>
                    <a:pt x="66" y="675"/>
                  </a:moveTo>
                  <a:lnTo>
                    <a:pt x="60" y="662"/>
                  </a:lnTo>
                  <a:lnTo>
                    <a:pt x="53" y="653"/>
                  </a:lnTo>
                  <a:lnTo>
                    <a:pt x="47" y="641"/>
                  </a:lnTo>
                  <a:lnTo>
                    <a:pt x="47" y="628"/>
                  </a:lnTo>
                  <a:lnTo>
                    <a:pt x="50" y="609"/>
                  </a:lnTo>
                  <a:lnTo>
                    <a:pt x="50" y="591"/>
                  </a:lnTo>
                  <a:lnTo>
                    <a:pt x="47" y="575"/>
                  </a:lnTo>
                  <a:lnTo>
                    <a:pt x="44" y="572"/>
                  </a:lnTo>
                  <a:lnTo>
                    <a:pt x="35" y="569"/>
                  </a:lnTo>
                  <a:lnTo>
                    <a:pt x="25" y="566"/>
                  </a:lnTo>
                  <a:lnTo>
                    <a:pt x="19" y="562"/>
                  </a:lnTo>
                  <a:lnTo>
                    <a:pt x="13" y="556"/>
                  </a:lnTo>
                  <a:lnTo>
                    <a:pt x="7" y="550"/>
                  </a:lnTo>
                  <a:lnTo>
                    <a:pt x="3" y="541"/>
                  </a:lnTo>
                  <a:lnTo>
                    <a:pt x="0" y="531"/>
                  </a:lnTo>
                  <a:lnTo>
                    <a:pt x="0" y="519"/>
                  </a:lnTo>
                  <a:lnTo>
                    <a:pt x="0" y="513"/>
                  </a:lnTo>
                  <a:lnTo>
                    <a:pt x="3" y="488"/>
                  </a:lnTo>
                  <a:lnTo>
                    <a:pt x="10" y="456"/>
                  </a:lnTo>
                  <a:lnTo>
                    <a:pt x="19" y="428"/>
                  </a:lnTo>
                  <a:lnTo>
                    <a:pt x="31" y="409"/>
                  </a:lnTo>
                  <a:lnTo>
                    <a:pt x="56" y="400"/>
                  </a:lnTo>
                  <a:lnTo>
                    <a:pt x="88" y="397"/>
                  </a:lnTo>
                  <a:lnTo>
                    <a:pt x="119" y="400"/>
                  </a:lnTo>
                  <a:lnTo>
                    <a:pt x="144" y="400"/>
                  </a:lnTo>
                  <a:lnTo>
                    <a:pt x="166" y="400"/>
                  </a:lnTo>
                  <a:lnTo>
                    <a:pt x="191" y="403"/>
                  </a:lnTo>
                  <a:lnTo>
                    <a:pt x="213" y="400"/>
                  </a:lnTo>
                  <a:lnTo>
                    <a:pt x="234" y="384"/>
                  </a:lnTo>
                  <a:lnTo>
                    <a:pt x="256" y="360"/>
                  </a:lnTo>
                  <a:lnTo>
                    <a:pt x="275" y="338"/>
                  </a:lnTo>
                  <a:lnTo>
                    <a:pt x="288" y="316"/>
                  </a:lnTo>
                  <a:lnTo>
                    <a:pt x="300" y="288"/>
                  </a:lnTo>
                  <a:lnTo>
                    <a:pt x="309" y="263"/>
                  </a:lnTo>
                  <a:lnTo>
                    <a:pt x="309" y="241"/>
                  </a:lnTo>
                  <a:lnTo>
                    <a:pt x="306" y="213"/>
                  </a:lnTo>
                  <a:lnTo>
                    <a:pt x="303" y="182"/>
                  </a:lnTo>
                  <a:lnTo>
                    <a:pt x="303" y="160"/>
                  </a:lnTo>
                  <a:lnTo>
                    <a:pt x="313" y="141"/>
                  </a:lnTo>
                  <a:lnTo>
                    <a:pt x="322" y="122"/>
                  </a:lnTo>
                  <a:lnTo>
                    <a:pt x="331" y="107"/>
                  </a:lnTo>
                  <a:lnTo>
                    <a:pt x="338" y="82"/>
                  </a:lnTo>
                  <a:lnTo>
                    <a:pt x="344" y="53"/>
                  </a:lnTo>
                  <a:lnTo>
                    <a:pt x="350" y="29"/>
                  </a:lnTo>
                  <a:lnTo>
                    <a:pt x="356" y="19"/>
                  </a:lnTo>
                  <a:lnTo>
                    <a:pt x="366" y="10"/>
                  </a:lnTo>
                  <a:lnTo>
                    <a:pt x="378" y="0"/>
                  </a:lnTo>
                  <a:lnTo>
                    <a:pt x="387" y="10"/>
                  </a:lnTo>
                  <a:lnTo>
                    <a:pt x="394" y="19"/>
                  </a:lnTo>
                  <a:lnTo>
                    <a:pt x="403" y="25"/>
                  </a:lnTo>
                  <a:lnTo>
                    <a:pt x="409" y="32"/>
                  </a:lnTo>
                  <a:lnTo>
                    <a:pt x="422" y="53"/>
                  </a:lnTo>
                  <a:lnTo>
                    <a:pt x="441" y="78"/>
                  </a:lnTo>
                  <a:lnTo>
                    <a:pt x="456" y="94"/>
                  </a:lnTo>
                  <a:lnTo>
                    <a:pt x="472" y="94"/>
                  </a:lnTo>
                  <a:lnTo>
                    <a:pt x="491" y="91"/>
                  </a:lnTo>
                  <a:lnTo>
                    <a:pt x="509" y="91"/>
                  </a:lnTo>
                  <a:lnTo>
                    <a:pt x="534" y="97"/>
                  </a:lnTo>
                  <a:lnTo>
                    <a:pt x="562" y="110"/>
                  </a:lnTo>
                  <a:lnTo>
                    <a:pt x="594" y="122"/>
                  </a:lnTo>
                  <a:lnTo>
                    <a:pt x="619" y="135"/>
                  </a:lnTo>
                  <a:lnTo>
                    <a:pt x="644" y="141"/>
                  </a:lnTo>
                  <a:lnTo>
                    <a:pt x="672" y="150"/>
                  </a:lnTo>
                  <a:lnTo>
                    <a:pt x="693" y="157"/>
                  </a:lnTo>
                  <a:lnTo>
                    <a:pt x="703" y="160"/>
                  </a:lnTo>
                  <a:lnTo>
                    <a:pt x="709" y="163"/>
                  </a:lnTo>
                  <a:lnTo>
                    <a:pt x="718" y="166"/>
                  </a:lnTo>
                  <a:lnTo>
                    <a:pt x="728" y="169"/>
                  </a:lnTo>
                  <a:lnTo>
                    <a:pt x="734" y="172"/>
                  </a:lnTo>
                  <a:lnTo>
                    <a:pt x="768" y="166"/>
                  </a:lnTo>
                  <a:lnTo>
                    <a:pt x="806" y="157"/>
                  </a:lnTo>
                  <a:lnTo>
                    <a:pt x="843" y="141"/>
                  </a:lnTo>
                  <a:lnTo>
                    <a:pt x="875" y="125"/>
                  </a:lnTo>
                  <a:lnTo>
                    <a:pt x="893" y="110"/>
                  </a:lnTo>
                  <a:lnTo>
                    <a:pt x="912" y="91"/>
                  </a:lnTo>
                  <a:lnTo>
                    <a:pt x="931" y="78"/>
                  </a:lnTo>
                  <a:lnTo>
                    <a:pt x="959" y="72"/>
                  </a:lnTo>
                  <a:lnTo>
                    <a:pt x="987" y="75"/>
                  </a:lnTo>
                  <a:lnTo>
                    <a:pt x="1015" y="78"/>
                  </a:lnTo>
                  <a:lnTo>
                    <a:pt x="1034" y="85"/>
                  </a:lnTo>
                  <a:lnTo>
                    <a:pt x="1053" y="94"/>
                  </a:lnTo>
                  <a:lnTo>
                    <a:pt x="1071" y="100"/>
                  </a:lnTo>
                  <a:lnTo>
                    <a:pt x="1093" y="100"/>
                  </a:lnTo>
                  <a:lnTo>
                    <a:pt x="1115" y="100"/>
                  </a:lnTo>
                  <a:lnTo>
                    <a:pt x="1134" y="100"/>
                  </a:lnTo>
                  <a:lnTo>
                    <a:pt x="1159" y="113"/>
                  </a:lnTo>
                  <a:lnTo>
                    <a:pt x="1187" y="135"/>
                  </a:lnTo>
                  <a:lnTo>
                    <a:pt x="1215" y="157"/>
                  </a:lnTo>
                  <a:lnTo>
                    <a:pt x="1240" y="169"/>
                  </a:lnTo>
                  <a:lnTo>
                    <a:pt x="1262" y="175"/>
                  </a:lnTo>
                  <a:lnTo>
                    <a:pt x="1284" y="178"/>
                  </a:lnTo>
                  <a:lnTo>
                    <a:pt x="1302" y="175"/>
                  </a:lnTo>
                  <a:lnTo>
                    <a:pt x="1315" y="160"/>
                  </a:lnTo>
                  <a:lnTo>
                    <a:pt x="1327" y="141"/>
                  </a:lnTo>
                  <a:lnTo>
                    <a:pt x="1337" y="122"/>
                  </a:lnTo>
                  <a:lnTo>
                    <a:pt x="1340" y="116"/>
                  </a:lnTo>
                  <a:lnTo>
                    <a:pt x="1343" y="110"/>
                  </a:lnTo>
                  <a:lnTo>
                    <a:pt x="1349" y="103"/>
                  </a:lnTo>
                  <a:lnTo>
                    <a:pt x="1352" y="100"/>
                  </a:lnTo>
                  <a:lnTo>
                    <a:pt x="1371" y="107"/>
                  </a:lnTo>
                  <a:lnTo>
                    <a:pt x="1387" y="125"/>
                  </a:lnTo>
                  <a:lnTo>
                    <a:pt x="1405" y="144"/>
                  </a:lnTo>
                  <a:lnTo>
                    <a:pt x="1421" y="160"/>
                  </a:lnTo>
                  <a:lnTo>
                    <a:pt x="1443" y="169"/>
                  </a:lnTo>
                  <a:lnTo>
                    <a:pt x="1471" y="178"/>
                  </a:lnTo>
                  <a:lnTo>
                    <a:pt x="1493" y="188"/>
                  </a:lnTo>
                  <a:lnTo>
                    <a:pt x="1515" y="210"/>
                  </a:lnTo>
                  <a:lnTo>
                    <a:pt x="1534" y="238"/>
                  </a:lnTo>
                  <a:lnTo>
                    <a:pt x="1552" y="269"/>
                  </a:lnTo>
                  <a:lnTo>
                    <a:pt x="1571" y="291"/>
                  </a:lnTo>
                  <a:lnTo>
                    <a:pt x="1596" y="303"/>
                  </a:lnTo>
                  <a:lnTo>
                    <a:pt x="1630" y="319"/>
                  </a:lnTo>
                  <a:lnTo>
                    <a:pt x="1665" y="331"/>
                  </a:lnTo>
                  <a:lnTo>
                    <a:pt x="1693" y="335"/>
                  </a:lnTo>
                  <a:lnTo>
                    <a:pt x="1721" y="331"/>
                  </a:lnTo>
                  <a:lnTo>
                    <a:pt x="1749" y="322"/>
                  </a:lnTo>
                  <a:lnTo>
                    <a:pt x="1780" y="313"/>
                  </a:lnTo>
                  <a:lnTo>
                    <a:pt x="1805" y="310"/>
                  </a:lnTo>
                  <a:lnTo>
                    <a:pt x="1830" y="316"/>
                  </a:lnTo>
                  <a:lnTo>
                    <a:pt x="1858" y="325"/>
                  </a:lnTo>
                  <a:lnTo>
                    <a:pt x="1880" y="331"/>
                  </a:lnTo>
                  <a:lnTo>
                    <a:pt x="1899" y="338"/>
                  </a:lnTo>
                  <a:lnTo>
                    <a:pt x="1924" y="344"/>
                  </a:lnTo>
                  <a:lnTo>
                    <a:pt x="1943" y="353"/>
                  </a:lnTo>
                  <a:lnTo>
                    <a:pt x="1955" y="369"/>
                  </a:lnTo>
                  <a:lnTo>
                    <a:pt x="1971" y="394"/>
                  </a:lnTo>
                  <a:lnTo>
                    <a:pt x="1989" y="413"/>
                  </a:lnTo>
                  <a:lnTo>
                    <a:pt x="2005" y="422"/>
                  </a:lnTo>
                  <a:lnTo>
                    <a:pt x="2018" y="413"/>
                  </a:lnTo>
                  <a:lnTo>
                    <a:pt x="2030" y="394"/>
                  </a:lnTo>
                  <a:lnTo>
                    <a:pt x="2039" y="372"/>
                  </a:lnTo>
                  <a:lnTo>
                    <a:pt x="2049" y="350"/>
                  </a:lnTo>
                  <a:lnTo>
                    <a:pt x="2061" y="338"/>
                  </a:lnTo>
                  <a:lnTo>
                    <a:pt x="2083" y="331"/>
                  </a:lnTo>
                  <a:lnTo>
                    <a:pt x="2111" y="335"/>
                  </a:lnTo>
                  <a:lnTo>
                    <a:pt x="2133" y="338"/>
                  </a:lnTo>
                  <a:lnTo>
                    <a:pt x="2149" y="350"/>
                  </a:lnTo>
                  <a:lnTo>
                    <a:pt x="2164" y="369"/>
                  </a:lnTo>
                  <a:lnTo>
                    <a:pt x="2183" y="391"/>
                  </a:lnTo>
                  <a:lnTo>
                    <a:pt x="2199" y="409"/>
                  </a:lnTo>
                  <a:lnTo>
                    <a:pt x="2214" y="416"/>
                  </a:lnTo>
                  <a:lnTo>
                    <a:pt x="2233" y="409"/>
                  </a:lnTo>
                  <a:lnTo>
                    <a:pt x="2249" y="394"/>
                  </a:lnTo>
                  <a:lnTo>
                    <a:pt x="2267" y="375"/>
                  </a:lnTo>
                  <a:lnTo>
                    <a:pt x="2286" y="356"/>
                  </a:lnTo>
                  <a:lnTo>
                    <a:pt x="2302" y="347"/>
                  </a:lnTo>
                  <a:lnTo>
                    <a:pt x="2320" y="344"/>
                  </a:lnTo>
                  <a:lnTo>
                    <a:pt x="2339" y="350"/>
                  </a:lnTo>
                  <a:lnTo>
                    <a:pt x="2358" y="350"/>
                  </a:lnTo>
                  <a:lnTo>
                    <a:pt x="2380" y="350"/>
                  </a:lnTo>
                  <a:lnTo>
                    <a:pt x="2408" y="350"/>
                  </a:lnTo>
                  <a:lnTo>
                    <a:pt x="2433" y="347"/>
                  </a:lnTo>
                  <a:lnTo>
                    <a:pt x="2452" y="338"/>
                  </a:lnTo>
                  <a:lnTo>
                    <a:pt x="2458" y="331"/>
                  </a:lnTo>
                  <a:lnTo>
                    <a:pt x="2458" y="325"/>
                  </a:lnTo>
                  <a:lnTo>
                    <a:pt x="2461" y="316"/>
                  </a:lnTo>
                  <a:lnTo>
                    <a:pt x="2461" y="306"/>
                  </a:lnTo>
                  <a:lnTo>
                    <a:pt x="2464" y="297"/>
                  </a:lnTo>
                  <a:lnTo>
                    <a:pt x="2467" y="291"/>
                  </a:lnTo>
                  <a:lnTo>
                    <a:pt x="2486" y="281"/>
                  </a:lnTo>
                  <a:lnTo>
                    <a:pt x="2508" y="269"/>
                  </a:lnTo>
                  <a:lnTo>
                    <a:pt x="2533" y="263"/>
                  </a:lnTo>
                  <a:lnTo>
                    <a:pt x="2552" y="263"/>
                  </a:lnTo>
                  <a:lnTo>
                    <a:pt x="2573" y="269"/>
                  </a:lnTo>
                  <a:lnTo>
                    <a:pt x="2598" y="281"/>
                  </a:lnTo>
                  <a:lnTo>
                    <a:pt x="2620" y="300"/>
                  </a:lnTo>
                  <a:lnTo>
                    <a:pt x="2636" y="316"/>
                  </a:lnTo>
                  <a:lnTo>
                    <a:pt x="2655" y="338"/>
                  </a:lnTo>
                  <a:lnTo>
                    <a:pt x="2670" y="366"/>
                  </a:lnTo>
                  <a:lnTo>
                    <a:pt x="2680" y="391"/>
                  </a:lnTo>
                  <a:lnTo>
                    <a:pt x="2683" y="413"/>
                  </a:lnTo>
                  <a:lnTo>
                    <a:pt x="2680" y="441"/>
                  </a:lnTo>
                  <a:lnTo>
                    <a:pt x="2680" y="466"/>
                  </a:lnTo>
                  <a:lnTo>
                    <a:pt x="2680" y="488"/>
                  </a:lnTo>
                  <a:lnTo>
                    <a:pt x="2686" y="509"/>
                  </a:lnTo>
                  <a:lnTo>
                    <a:pt x="2698" y="537"/>
                  </a:lnTo>
                  <a:lnTo>
                    <a:pt x="2711" y="559"/>
                  </a:lnTo>
                  <a:lnTo>
                    <a:pt x="2726" y="578"/>
                  </a:lnTo>
                  <a:lnTo>
                    <a:pt x="2745" y="587"/>
                  </a:lnTo>
                  <a:lnTo>
                    <a:pt x="2770" y="594"/>
                  </a:lnTo>
                  <a:lnTo>
                    <a:pt x="2789" y="603"/>
                  </a:lnTo>
                  <a:lnTo>
                    <a:pt x="2804" y="622"/>
                  </a:lnTo>
                  <a:lnTo>
                    <a:pt x="2817" y="647"/>
                  </a:lnTo>
                  <a:lnTo>
                    <a:pt x="2829" y="672"/>
                  </a:lnTo>
                  <a:lnTo>
                    <a:pt x="2845" y="691"/>
                  </a:lnTo>
                  <a:lnTo>
                    <a:pt x="2864" y="703"/>
                  </a:lnTo>
                  <a:lnTo>
                    <a:pt x="2892" y="712"/>
                  </a:lnTo>
                  <a:lnTo>
                    <a:pt x="2920" y="725"/>
                  </a:lnTo>
                  <a:lnTo>
                    <a:pt x="2942" y="734"/>
                  </a:lnTo>
                  <a:lnTo>
                    <a:pt x="2964" y="750"/>
                  </a:lnTo>
                  <a:lnTo>
                    <a:pt x="2992" y="775"/>
                  </a:lnTo>
                  <a:lnTo>
                    <a:pt x="3011" y="797"/>
                  </a:lnTo>
                  <a:lnTo>
                    <a:pt x="3020" y="815"/>
                  </a:lnTo>
                  <a:lnTo>
                    <a:pt x="3026" y="844"/>
                  </a:lnTo>
                  <a:lnTo>
                    <a:pt x="3036" y="868"/>
                  </a:lnTo>
                  <a:lnTo>
                    <a:pt x="3045" y="887"/>
                  </a:lnTo>
                  <a:lnTo>
                    <a:pt x="3067" y="900"/>
                  </a:lnTo>
                  <a:lnTo>
                    <a:pt x="3098" y="906"/>
                  </a:lnTo>
                  <a:lnTo>
                    <a:pt x="3123" y="909"/>
                  </a:lnTo>
                  <a:lnTo>
                    <a:pt x="3132" y="909"/>
                  </a:lnTo>
                  <a:lnTo>
                    <a:pt x="3145" y="909"/>
                  </a:lnTo>
                  <a:lnTo>
                    <a:pt x="3157" y="909"/>
                  </a:lnTo>
                  <a:lnTo>
                    <a:pt x="3157" y="928"/>
                  </a:lnTo>
                  <a:lnTo>
                    <a:pt x="3157" y="947"/>
                  </a:lnTo>
                  <a:lnTo>
                    <a:pt x="3154" y="959"/>
                  </a:lnTo>
                  <a:lnTo>
                    <a:pt x="3142" y="968"/>
                  </a:lnTo>
                  <a:lnTo>
                    <a:pt x="3120" y="978"/>
                  </a:lnTo>
                  <a:lnTo>
                    <a:pt x="3101" y="984"/>
                  </a:lnTo>
                  <a:lnTo>
                    <a:pt x="3085" y="990"/>
                  </a:lnTo>
                  <a:lnTo>
                    <a:pt x="3073" y="1006"/>
                  </a:lnTo>
                  <a:lnTo>
                    <a:pt x="3057" y="1025"/>
                  </a:lnTo>
                  <a:lnTo>
                    <a:pt x="3045" y="1046"/>
                  </a:lnTo>
                  <a:lnTo>
                    <a:pt x="3036" y="1062"/>
                  </a:lnTo>
                  <a:lnTo>
                    <a:pt x="3036" y="1084"/>
                  </a:lnTo>
                  <a:lnTo>
                    <a:pt x="3042" y="1106"/>
                  </a:lnTo>
                  <a:lnTo>
                    <a:pt x="3051" y="1125"/>
                  </a:lnTo>
                  <a:lnTo>
                    <a:pt x="3064" y="1134"/>
                  </a:lnTo>
                  <a:lnTo>
                    <a:pt x="3085" y="1143"/>
                  </a:lnTo>
                  <a:lnTo>
                    <a:pt x="3101" y="1153"/>
                  </a:lnTo>
                  <a:lnTo>
                    <a:pt x="3117" y="1175"/>
                  </a:lnTo>
                  <a:lnTo>
                    <a:pt x="3126" y="1206"/>
                  </a:lnTo>
                  <a:lnTo>
                    <a:pt x="3132" y="1234"/>
                  </a:lnTo>
                  <a:lnTo>
                    <a:pt x="3132" y="1256"/>
                  </a:lnTo>
                  <a:lnTo>
                    <a:pt x="3132" y="1281"/>
                  </a:lnTo>
                  <a:lnTo>
                    <a:pt x="3129" y="1306"/>
                  </a:lnTo>
                  <a:lnTo>
                    <a:pt x="3132" y="1328"/>
                  </a:lnTo>
                  <a:lnTo>
                    <a:pt x="3135" y="1337"/>
                  </a:lnTo>
                  <a:lnTo>
                    <a:pt x="3142" y="1346"/>
                  </a:lnTo>
                  <a:lnTo>
                    <a:pt x="3148" y="1359"/>
                  </a:lnTo>
                  <a:lnTo>
                    <a:pt x="3154" y="1368"/>
                  </a:lnTo>
                  <a:lnTo>
                    <a:pt x="3160" y="1377"/>
                  </a:lnTo>
                  <a:lnTo>
                    <a:pt x="3167" y="1381"/>
                  </a:lnTo>
                  <a:lnTo>
                    <a:pt x="3173" y="1387"/>
                  </a:lnTo>
                  <a:lnTo>
                    <a:pt x="3182" y="1393"/>
                  </a:lnTo>
                  <a:lnTo>
                    <a:pt x="3189" y="1399"/>
                  </a:lnTo>
                  <a:lnTo>
                    <a:pt x="3192" y="1406"/>
                  </a:lnTo>
                  <a:lnTo>
                    <a:pt x="3195" y="1424"/>
                  </a:lnTo>
                  <a:lnTo>
                    <a:pt x="3195" y="1449"/>
                  </a:lnTo>
                  <a:lnTo>
                    <a:pt x="3192" y="1474"/>
                  </a:lnTo>
                  <a:lnTo>
                    <a:pt x="3189" y="1496"/>
                  </a:lnTo>
                  <a:lnTo>
                    <a:pt x="3185" y="1505"/>
                  </a:lnTo>
                  <a:lnTo>
                    <a:pt x="3185" y="1509"/>
                  </a:lnTo>
                  <a:lnTo>
                    <a:pt x="3179" y="1509"/>
                  </a:lnTo>
                  <a:lnTo>
                    <a:pt x="3173" y="1512"/>
                  </a:lnTo>
                  <a:lnTo>
                    <a:pt x="3167" y="1512"/>
                  </a:lnTo>
                  <a:lnTo>
                    <a:pt x="3157" y="1515"/>
                  </a:lnTo>
                  <a:lnTo>
                    <a:pt x="3151" y="1518"/>
                  </a:lnTo>
                  <a:lnTo>
                    <a:pt x="3148" y="1521"/>
                  </a:lnTo>
                  <a:lnTo>
                    <a:pt x="3145" y="1524"/>
                  </a:lnTo>
                  <a:lnTo>
                    <a:pt x="3145" y="1530"/>
                  </a:lnTo>
                  <a:lnTo>
                    <a:pt x="3148" y="1540"/>
                  </a:lnTo>
                  <a:lnTo>
                    <a:pt x="3151" y="1549"/>
                  </a:lnTo>
                  <a:lnTo>
                    <a:pt x="3151" y="1555"/>
                  </a:lnTo>
                  <a:lnTo>
                    <a:pt x="3154" y="1565"/>
                  </a:lnTo>
                  <a:lnTo>
                    <a:pt x="3154" y="1571"/>
                  </a:lnTo>
                  <a:lnTo>
                    <a:pt x="3148" y="1593"/>
                  </a:lnTo>
                  <a:lnTo>
                    <a:pt x="3142" y="1618"/>
                  </a:lnTo>
                  <a:lnTo>
                    <a:pt x="3129" y="1637"/>
                  </a:lnTo>
                  <a:lnTo>
                    <a:pt x="3123" y="1640"/>
                  </a:lnTo>
                  <a:lnTo>
                    <a:pt x="3114" y="1640"/>
                  </a:lnTo>
                  <a:lnTo>
                    <a:pt x="3107" y="1637"/>
                  </a:lnTo>
                  <a:lnTo>
                    <a:pt x="3098" y="1637"/>
                  </a:lnTo>
                  <a:lnTo>
                    <a:pt x="3089" y="1637"/>
                  </a:lnTo>
                  <a:lnTo>
                    <a:pt x="3082" y="1637"/>
                  </a:lnTo>
                  <a:lnTo>
                    <a:pt x="3076" y="1640"/>
                  </a:lnTo>
                  <a:lnTo>
                    <a:pt x="3067" y="1646"/>
                  </a:lnTo>
                  <a:lnTo>
                    <a:pt x="3061" y="1652"/>
                  </a:lnTo>
                  <a:lnTo>
                    <a:pt x="3054" y="1662"/>
                  </a:lnTo>
                  <a:lnTo>
                    <a:pt x="3051" y="1668"/>
                  </a:lnTo>
                  <a:lnTo>
                    <a:pt x="3051" y="1687"/>
                  </a:lnTo>
                  <a:lnTo>
                    <a:pt x="3057" y="1708"/>
                  </a:lnTo>
                  <a:lnTo>
                    <a:pt x="3064" y="1730"/>
                  </a:lnTo>
                  <a:lnTo>
                    <a:pt x="3073" y="1749"/>
                  </a:lnTo>
                  <a:lnTo>
                    <a:pt x="3076" y="1758"/>
                  </a:lnTo>
                  <a:lnTo>
                    <a:pt x="3073" y="1762"/>
                  </a:lnTo>
                  <a:lnTo>
                    <a:pt x="3070" y="1768"/>
                  </a:lnTo>
                  <a:lnTo>
                    <a:pt x="3064" y="1774"/>
                  </a:lnTo>
                  <a:lnTo>
                    <a:pt x="3057" y="1780"/>
                  </a:lnTo>
                  <a:lnTo>
                    <a:pt x="3051" y="1787"/>
                  </a:lnTo>
                  <a:lnTo>
                    <a:pt x="3042" y="1793"/>
                  </a:lnTo>
                  <a:lnTo>
                    <a:pt x="3039" y="1802"/>
                  </a:lnTo>
                  <a:lnTo>
                    <a:pt x="3036" y="1808"/>
                  </a:lnTo>
                  <a:lnTo>
                    <a:pt x="3032" y="1827"/>
                  </a:lnTo>
                  <a:lnTo>
                    <a:pt x="3039" y="1855"/>
                  </a:lnTo>
                  <a:lnTo>
                    <a:pt x="3042" y="1880"/>
                  </a:lnTo>
                  <a:lnTo>
                    <a:pt x="3042" y="1902"/>
                  </a:lnTo>
                  <a:lnTo>
                    <a:pt x="3036" y="1921"/>
                  </a:lnTo>
                  <a:lnTo>
                    <a:pt x="3026" y="1940"/>
                  </a:lnTo>
                  <a:lnTo>
                    <a:pt x="3017" y="1955"/>
                  </a:lnTo>
                  <a:lnTo>
                    <a:pt x="3011" y="1968"/>
                  </a:lnTo>
                  <a:lnTo>
                    <a:pt x="3007" y="1980"/>
                  </a:lnTo>
                  <a:lnTo>
                    <a:pt x="3004" y="1993"/>
                  </a:lnTo>
                  <a:lnTo>
                    <a:pt x="2998" y="2005"/>
                  </a:lnTo>
                  <a:lnTo>
                    <a:pt x="2992" y="2014"/>
                  </a:lnTo>
                  <a:lnTo>
                    <a:pt x="2986" y="2018"/>
                  </a:lnTo>
                  <a:lnTo>
                    <a:pt x="2976" y="2021"/>
                  </a:lnTo>
                  <a:lnTo>
                    <a:pt x="2961" y="2018"/>
                  </a:lnTo>
                  <a:lnTo>
                    <a:pt x="2945" y="2011"/>
                  </a:lnTo>
                  <a:lnTo>
                    <a:pt x="2932" y="2008"/>
                  </a:lnTo>
                  <a:lnTo>
                    <a:pt x="2914" y="2008"/>
                  </a:lnTo>
                  <a:lnTo>
                    <a:pt x="2892" y="2008"/>
                  </a:lnTo>
                  <a:lnTo>
                    <a:pt x="2873" y="2008"/>
                  </a:lnTo>
                  <a:lnTo>
                    <a:pt x="2851" y="2014"/>
                  </a:lnTo>
                  <a:lnTo>
                    <a:pt x="2820" y="2024"/>
                  </a:lnTo>
                  <a:lnTo>
                    <a:pt x="2789" y="2033"/>
                  </a:lnTo>
                  <a:lnTo>
                    <a:pt x="2761" y="2046"/>
                  </a:lnTo>
                  <a:lnTo>
                    <a:pt x="2739" y="2052"/>
                  </a:lnTo>
                  <a:lnTo>
                    <a:pt x="2729" y="2055"/>
                  </a:lnTo>
                  <a:lnTo>
                    <a:pt x="2720" y="2055"/>
                  </a:lnTo>
                  <a:lnTo>
                    <a:pt x="2705" y="2049"/>
                  </a:lnTo>
                  <a:lnTo>
                    <a:pt x="2686" y="2039"/>
                  </a:lnTo>
                  <a:lnTo>
                    <a:pt x="2664" y="2033"/>
                  </a:lnTo>
                  <a:lnTo>
                    <a:pt x="2648" y="2027"/>
                  </a:lnTo>
                  <a:lnTo>
                    <a:pt x="2630" y="2021"/>
                  </a:lnTo>
                  <a:lnTo>
                    <a:pt x="2608" y="2011"/>
                  </a:lnTo>
                  <a:lnTo>
                    <a:pt x="2586" y="2008"/>
                  </a:lnTo>
                  <a:lnTo>
                    <a:pt x="2564" y="2014"/>
                  </a:lnTo>
                  <a:lnTo>
                    <a:pt x="2539" y="2024"/>
                  </a:lnTo>
                  <a:lnTo>
                    <a:pt x="2514" y="2036"/>
                  </a:lnTo>
                  <a:lnTo>
                    <a:pt x="2495" y="2046"/>
                  </a:lnTo>
                  <a:lnTo>
                    <a:pt x="2477" y="2061"/>
                  </a:lnTo>
                  <a:lnTo>
                    <a:pt x="2458" y="2077"/>
                  </a:lnTo>
                  <a:lnTo>
                    <a:pt x="2439" y="2099"/>
                  </a:lnTo>
                  <a:lnTo>
                    <a:pt x="2430" y="2114"/>
                  </a:lnTo>
                  <a:lnTo>
                    <a:pt x="2430" y="2133"/>
                  </a:lnTo>
                  <a:lnTo>
                    <a:pt x="2433" y="2152"/>
                  </a:lnTo>
                  <a:lnTo>
                    <a:pt x="2439" y="2174"/>
                  </a:lnTo>
                  <a:lnTo>
                    <a:pt x="2442" y="2189"/>
                  </a:lnTo>
                  <a:lnTo>
                    <a:pt x="2448" y="2217"/>
                  </a:lnTo>
                  <a:lnTo>
                    <a:pt x="2455" y="2252"/>
                  </a:lnTo>
                  <a:lnTo>
                    <a:pt x="2461" y="2280"/>
                  </a:lnTo>
                  <a:lnTo>
                    <a:pt x="2461" y="2296"/>
                  </a:lnTo>
                  <a:lnTo>
                    <a:pt x="2458" y="2317"/>
                  </a:lnTo>
                  <a:lnTo>
                    <a:pt x="2455" y="2333"/>
                  </a:lnTo>
                  <a:lnTo>
                    <a:pt x="2445" y="2352"/>
                  </a:lnTo>
                  <a:lnTo>
                    <a:pt x="2427" y="2374"/>
                  </a:lnTo>
                  <a:lnTo>
                    <a:pt x="2411" y="2389"/>
                  </a:lnTo>
                  <a:lnTo>
                    <a:pt x="2395" y="2395"/>
                  </a:lnTo>
                  <a:lnTo>
                    <a:pt x="2377" y="2402"/>
                  </a:lnTo>
                  <a:lnTo>
                    <a:pt x="2358" y="2408"/>
                  </a:lnTo>
                  <a:lnTo>
                    <a:pt x="2345" y="2414"/>
                  </a:lnTo>
                  <a:lnTo>
                    <a:pt x="2330" y="2439"/>
                  </a:lnTo>
                  <a:lnTo>
                    <a:pt x="2320" y="2470"/>
                  </a:lnTo>
                  <a:lnTo>
                    <a:pt x="2317" y="2498"/>
                  </a:lnTo>
                  <a:lnTo>
                    <a:pt x="2317" y="2508"/>
                  </a:lnTo>
                  <a:lnTo>
                    <a:pt x="2317" y="2520"/>
                  </a:lnTo>
                  <a:lnTo>
                    <a:pt x="2308" y="2517"/>
                  </a:lnTo>
                  <a:lnTo>
                    <a:pt x="2295" y="2517"/>
                  </a:lnTo>
                  <a:lnTo>
                    <a:pt x="2286" y="2514"/>
                  </a:lnTo>
                  <a:lnTo>
                    <a:pt x="2277" y="2514"/>
                  </a:lnTo>
                  <a:lnTo>
                    <a:pt x="2267" y="2517"/>
                  </a:lnTo>
                  <a:lnTo>
                    <a:pt x="2264" y="2520"/>
                  </a:lnTo>
                  <a:lnTo>
                    <a:pt x="2258" y="2530"/>
                  </a:lnTo>
                  <a:lnTo>
                    <a:pt x="2255" y="2539"/>
                  </a:lnTo>
                  <a:lnTo>
                    <a:pt x="2252" y="2548"/>
                  </a:lnTo>
                  <a:lnTo>
                    <a:pt x="2249" y="2558"/>
                  </a:lnTo>
                  <a:lnTo>
                    <a:pt x="2242" y="2564"/>
                  </a:lnTo>
                  <a:lnTo>
                    <a:pt x="2227" y="2577"/>
                  </a:lnTo>
                  <a:lnTo>
                    <a:pt x="2205" y="2589"/>
                  </a:lnTo>
                  <a:lnTo>
                    <a:pt x="2186" y="2592"/>
                  </a:lnTo>
                  <a:lnTo>
                    <a:pt x="2180" y="2589"/>
                  </a:lnTo>
                  <a:lnTo>
                    <a:pt x="2174" y="2583"/>
                  </a:lnTo>
                  <a:lnTo>
                    <a:pt x="2164" y="2573"/>
                  </a:lnTo>
                  <a:lnTo>
                    <a:pt x="2158" y="2567"/>
                  </a:lnTo>
                  <a:lnTo>
                    <a:pt x="2149" y="2558"/>
                  </a:lnTo>
                  <a:lnTo>
                    <a:pt x="2142" y="2555"/>
                  </a:lnTo>
                  <a:lnTo>
                    <a:pt x="2127" y="2548"/>
                  </a:lnTo>
                  <a:lnTo>
                    <a:pt x="2108" y="2542"/>
                  </a:lnTo>
                  <a:lnTo>
                    <a:pt x="2089" y="2542"/>
                  </a:lnTo>
                  <a:lnTo>
                    <a:pt x="2074" y="2542"/>
                  </a:lnTo>
                  <a:lnTo>
                    <a:pt x="2052" y="2548"/>
                  </a:lnTo>
                  <a:lnTo>
                    <a:pt x="2036" y="2555"/>
                  </a:lnTo>
                  <a:lnTo>
                    <a:pt x="2030" y="2561"/>
                  </a:lnTo>
                  <a:lnTo>
                    <a:pt x="2027" y="2567"/>
                  </a:lnTo>
                  <a:lnTo>
                    <a:pt x="2021" y="2577"/>
                  </a:lnTo>
                  <a:lnTo>
                    <a:pt x="2018" y="2586"/>
                  </a:lnTo>
                  <a:lnTo>
                    <a:pt x="2011" y="2595"/>
                  </a:lnTo>
                  <a:lnTo>
                    <a:pt x="2008" y="2602"/>
                  </a:lnTo>
                  <a:lnTo>
                    <a:pt x="1989" y="2614"/>
                  </a:lnTo>
                  <a:lnTo>
                    <a:pt x="1964" y="2623"/>
                  </a:lnTo>
                  <a:lnTo>
                    <a:pt x="1939" y="2630"/>
                  </a:lnTo>
                  <a:lnTo>
                    <a:pt x="1921" y="2633"/>
                  </a:lnTo>
                  <a:lnTo>
                    <a:pt x="1896" y="2630"/>
                  </a:lnTo>
                  <a:lnTo>
                    <a:pt x="1871" y="2617"/>
                  </a:lnTo>
                  <a:lnTo>
                    <a:pt x="1846" y="2608"/>
                  </a:lnTo>
                  <a:lnTo>
                    <a:pt x="1821" y="2602"/>
                  </a:lnTo>
                  <a:lnTo>
                    <a:pt x="1786" y="2595"/>
                  </a:lnTo>
                  <a:lnTo>
                    <a:pt x="1758" y="2595"/>
                  </a:lnTo>
                  <a:lnTo>
                    <a:pt x="1736" y="2602"/>
                  </a:lnTo>
                  <a:lnTo>
                    <a:pt x="1711" y="2611"/>
                  </a:lnTo>
                  <a:lnTo>
                    <a:pt x="1690" y="2620"/>
                  </a:lnTo>
                  <a:lnTo>
                    <a:pt x="1674" y="2630"/>
                  </a:lnTo>
                  <a:lnTo>
                    <a:pt x="1652" y="2642"/>
                  </a:lnTo>
                  <a:lnTo>
                    <a:pt x="1630" y="2645"/>
                  </a:lnTo>
                  <a:lnTo>
                    <a:pt x="1624" y="2645"/>
                  </a:lnTo>
                  <a:lnTo>
                    <a:pt x="1612" y="2642"/>
                  </a:lnTo>
                  <a:lnTo>
                    <a:pt x="1602" y="2636"/>
                  </a:lnTo>
                  <a:lnTo>
                    <a:pt x="1593" y="2630"/>
                  </a:lnTo>
                  <a:lnTo>
                    <a:pt x="1587" y="2620"/>
                  </a:lnTo>
                  <a:lnTo>
                    <a:pt x="1580" y="2605"/>
                  </a:lnTo>
                  <a:lnTo>
                    <a:pt x="1580" y="2586"/>
                  </a:lnTo>
                  <a:lnTo>
                    <a:pt x="1587" y="2567"/>
                  </a:lnTo>
                  <a:lnTo>
                    <a:pt x="1602" y="2555"/>
                  </a:lnTo>
                  <a:lnTo>
                    <a:pt x="1624" y="2539"/>
                  </a:lnTo>
                  <a:lnTo>
                    <a:pt x="1640" y="2527"/>
                  </a:lnTo>
                  <a:lnTo>
                    <a:pt x="1646" y="2505"/>
                  </a:lnTo>
                  <a:lnTo>
                    <a:pt x="1646" y="2480"/>
                  </a:lnTo>
                  <a:lnTo>
                    <a:pt x="1643" y="2458"/>
                  </a:lnTo>
                  <a:lnTo>
                    <a:pt x="1640" y="2436"/>
                  </a:lnTo>
                  <a:lnTo>
                    <a:pt x="1633" y="2408"/>
                  </a:lnTo>
                  <a:lnTo>
                    <a:pt x="1624" y="2383"/>
                  </a:lnTo>
                  <a:lnTo>
                    <a:pt x="1612" y="2364"/>
                  </a:lnTo>
                  <a:lnTo>
                    <a:pt x="1596" y="2355"/>
                  </a:lnTo>
                  <a:lnTo>
                    <a:pt x="1574" y="2352"/>
                  </a:lnTo>
                  <a:lnTo>
                    <a:pt x="1552" y="2349"/>
                  </a:lnTo>
                  <a:lnTo>
                    <a:pt x="1537" y="2342"/>
                  </a:lnTo>
                  <a:lnTo>
                    <a:pt x="1534" y="2327"/>
                  </a:lnTo>
                  <a:lnTo>
                    <a:pt x="1534" y="2305"/>
                  </a:lnTo>
                  <a:lnTo>
                    <a:pt x="1537" y="2283"/>
                  </a:lnTo>
                  <a:lnTo>
                    <a:pt x="1537" y="2264"/>
                  </a:lnTo>
                  <a:lnTo>
                    <a:pt x="1534" y="2246"/>
                  </a:lnTo>
                  <a:lnTo>
                    <a:pt x="1527" y="2224"/>
                  </a:lnTo>
                  <a:lnTo>
                    <a:pt x="1518" y="2205"/>
                  </a:lnTo>
                  <a:lnTo>
                    <a:pt x="1505" y="2189"/>
                  </a:lnTo>
                  <a:lnTo>
                    <a:pt x="1490" y="2186"/>
                  </a:lnTo>
                  <a:lnTo>
                    <a:pt x="1471" y="2189"/>
                  </a:lnTo>
                  <a:lnTo>
                    <a:pt x="1452" y="2192"/>
                  </a:lnTo>
                  <a:lnTo>
                    <a:pt x="1430" y="2192"/>
                  </a:lnTo>
                  <a:lnTo>
                    <a:pt x="1418" y="2189"/>
                  </a:lnTo>
                  <a:lnTo>
                    <a:pt x="1409" y="2180"/>
                  </a:lnTo>
                  <a:lnTo>
                    <a:pt x="1402" y="2164"/>
                  </a:lnTo>
                  <a:lnTo>
                    <a:pt x="1396" y="2149"/>
                  </a:lnTo>
                  <a:lnTo>
                    <a:pt x="1387" y="2139"/>
                  </a:lnTo>
                  <a:lnTo>
                    <a:pt x="1371" y="2133"/>
                  </a:lnTo>
                  <a:lnTo>
                    <a:pt x="1349" y="2133"/>
                  </a:lnTo>
                  <a:lnTo>
                    <a:pt x="1334" y="2139"/>
                  </a:lnTo>
                  <a:lnTo>
                    <a:pt x="1331" y="2142"/>
                  </a:lnTo>
                  <a:lnTo>
                    <a:pt x="1331" y="2152"/>
                  </a:lnTo>
                  <a:lnTo>
                    <a:pt x="1327" y="2158"/>
                  </a:lnTo>
                  <a:lnTo>
                    <a:pt x="1324" y="2167"/>
                  </a:lnTo>
                  <a:lnTo>
                    <a:pt x="1324" y="2174"/>
                  </a:lnTo>
                  <a:lnTo>
                    <a:pt x="1312" y="2186"/>
                  </a:lnTo>
                  <a:lnTo>
                    <a:pt x="1296" y="2202"/>
                  </a:lnTo>
                  <a:lnTo>
                    <a:pt x="1277" y="2214"/>
                  </a:lnTo>
                  <a:lnTo>
                    <a:pt x="1262" y="2221"/>
                  </a:lnTo>
                  <a:lnTo>
                    <a:pt x="1252" y="2217"/>
                  </a:lnTo>
                  <a:lnTo>
                    <a:pt x="1246" y="2211"/>
                  </a:lnTo>
                  <a:lnTo>
                    <a:pt x="1237" y="2202"/>
                  </a:lnTo>
                  <a:lnTo>
                    <a:pt x="1231" y="2192"/>
                  </a:lnTo>
                  <a:lnTo>
                    <a:pt x="1221" y="2183"/>
                  </a:lnTo>
                  <a:lnTo>
                    <a:pt x="1215" y="2174"/>
                  </a:lnTo>
                  <a:lnTo>
                    <a:pt x="1196" y="2158"/>
                  </a:lnTo>
                  <a:lnTo>
                    <a:pt x="1174" y="2139"/>
                  </a:lnTo>
                  <a:lnTo>
                    <a:pt x="1156" y="2127"/>
                  </a:lnTo>
                  <a:lnTo>
                    <a:pt x="1137" y="2127"/>
                  </a:lnTo>
                  <a:lnTo>
                    <a:pt x="1118" y="2133"/>
                  </a:lnTo>
                  <a:lnTo>
                    <a:pt x="1103" y="2139"/>
                  </a:lnTo>
                  <a:lnTo>
                    <a:pt x="1099" y="2146"/>
                  </a:lnTo>
                  <a:lnTo>
                    <a:pt x="1099" y="2155"/>
                  </a:lnTo>
                  <a:lnTo>
                    <a:pt x="1103" y="2164"/>
                  </a:lnTo>
                  <a:lnTo>
                    <a:pt x="1103" y="2171"/>
                  </a:lnTo>
                  <a:lnTo>
                    <a:pt x="1103" y="2180"/>
                  </a:lnTo>
                  <a:lnTo>
                    <a:pt x="1103" y="2186"/>
                  </a:lnTo>
                  <a:lnTo>
                    <a:pt x="1099" y="2192"/>
                  </a:lnTo>
                  <a:lnTo>
                    <a:pt x="1093" y="2199"/>
                  </a:lnTo>
                  <a:lnTo>
                    <a:pt x="1087" y="2205"/>
                  </a:lnTo>
                  <a:lnTo>
                    <a:pt x="1078" y="2211"/>
                  </a:lnTo>
                  <a:lnTo>
                    <a:pt x="1071" y="2214"/>
                  </a:lnTo>
                  <a:lnTo>
                    <a:pt x="1056" y="2217"/>
                  </a:lnTo>
                  <a:lnTo>
                    <a:pt x="1034" y="2217"/>
                  </a:lnTo>
                  <a:lnTo>
                    <a:pt x="1015" y="2214"/>
                  </a:lnTo>
                  <a:lnTo>
                    <a:pt x="1000" y="2214"/>
                  </a:lnTo>
                  <a:lnTo>
                    <a:pt x="981" y="2214"/>
                  </a:lnTo>
                  <a:lnTo>
                    <a:pt x="965" y="2214"/>
                  </a:lnTo>
                  <a:lnTo>
                    <a:pt x="953" y="2217"/>
                  </a:lnTo>
                  <a:lnTo>
                    <a:pt x="946" y="2221"/>
                  </a:lnTo>
                  <a:lnTo>
                    <a:pt x="946" y="2230"/>
                  </a:lnTo>
                  <a:lnTo>
                    <a:pt x="943" y="2236"/>
                  </a:lnTo>
                  <a:lnTo>
                    <a:pt x="943" y="2246"/>
                  </a:lnTo>
                  <a:lnTo>
                    <a:pt x="940" y="2252"/>
                  </a:lnTo>
                  <a:lnTo>
                    <a:pt x="937" y="2255"/>
                  </a:lnTo>
                  <a:lnTo>
                    <a:pt x="928" y="2258"/>
                  </a:lnTo>
                  <a:lnTo>
                    <a:pt x="918" y="2261"/>
                  </a:lnTo>
                  <a:lnTo>
                    <a:pt x="909" y="2261"/>
                  </a:lnTo>
                  <a:lnTo>
                    <a:pt x="900" y="2264"/>
                  </a:lnTo>
                  <a:lnTo>
                    <a:pt x="890" y="2264"/>
                  </a:lnTo>
                  <a:lnTo>
                    <a:pt x="868" y="2264"/>
                  </a:lnTo>
                  <a:lnTo>
                    <a:pt x="843" y="2267"/>
                  </a:lnTo>
                  <a:lnTo>
                    <a:pt x="825" y="2261"/>
                  </a:lnTo>
                  <a:lnTo>
                    <a:pt x="818" y="2255"/>
                  </a:lnTo>
                  <a:lnTo>
                    <a:pt x="815" y="2249"/>
                  </a:lnTo>
                  <a:lnTo>
                    <a:pt x="812" y="2239"/>
                  </a:lnTo>
                  <a:lnTo>
                    <a:pt x="812" y="2230"/>
                  </a:lnTo>
                  <a:lnTo>
                    <a:pt x="812" y="2224"/>
                  </a:lnTo>
                  <a:lnTo>
                    <a:pt x="818" y="2214"/>
                  </a:lnTo>
                  <a:lnTo>
                    <a:pt x="822" y="2205"/>
                  </a:lnTo>
                  <a:lnTo>
                    <a:pt x="828" y="2196"/>
                  </a:lnTo>
                  <a:lnTo>
                    <a:pt x="831" y="2189"/>
                  </a:lnTo>
                  <a:lnTo>
                    <a:pt x="834" y="2167"/>
                  </a:lnTo>
                  <a:lnTo>
                    <a:pt x="834" y="2146"/>
                  </a:lnTo>
                  <a:lnTo>
                    <a:pt x="831" y="2127"/>
                  </a:lnTo>
                  <a:lnTo>
                    <a:pt x="815" y="2108"/>
                  </a:lnTo>
                  <a:lnTo>
                    <a:pt x="793" y="2089"/>
                  </a:lnTo>
                  <a:lnTo>
                    <a:pt x="778" y="2074"/>
                  </a:lnTo>
                  <a:lnTo>
                    <a:pt x="775" y="2055"/>
                  </a:lnTo>
                  <a:lnTo>
                    <a:pt x="778" y="2030"/>
                  </a:lnTo>
                  <a:lnTo>
                    <a:pt x="781" y="2005"/>
                  </a:lnTo>
                  <a:lnTo>
                    <a:pt x="778" y="1983"/>
                  </a:lnTo>
                  <a:lnTo>
                    <a:pt x="772" y="1958"/>
                  </a:lnTo>
                  <a:lnTo>
                    <a:pt x="762" y="1930"/>
                  </a:lnTo>
                  <a:lnTo>
                    <a:pt x="750" y="1899"/>
                  </a:lnTo>
                  <a:lnTo>
                    <a:pt x="734" y="1880"/>
                  </a:lnTo>
                  <a:lnTo>
                    <a:pt x="722" y="1874"/>
                  </a:lnTo>
                  <a:lnTo>
                    <a:pt x="706" y="1874"/>
                  </a:lnTo>
                  <a:lnTo>
                    <a:pt x="687" y="1871"/>
                  </a:lnTo>
                  <a:lnTo>
                    <a:pt x="672" y="1868"/>
                  </a:lnTo>
                  <a:lnTo>
                    <a:pt x="656" y="1852"/>
                  </a:lnTo>
                  <a:lnTo>
                    <a:pt x="637" y="1830"/>
                  </a:lnTo>
                  <a:lnTo>
                    <a:pt x="619" y="1818"/>
                  </a:lnTo>
                  <a:lnTo>
                    <a:pt x="603" y="1815"/>
                  </a:lnTo>
                  <a:lnTo>
                    <a:pt x="581" y="1818"/>
                  </a:lnTo>
                  <a:lnTo>
                    <a:pt x="565" y="1818"/>
                  </a:lnTo>
                  <a:lnTo>
                    <a:pt x="547" y="1812"/>
                  </a:lnTo>
                  <a:lnTo>
                    <a:pt x="525" y="1802"/>
                  </a:lnTo>
                  <a:lnTo>
                    <a:pt x="509" y="1793"/>
                  </a:lnTo>
                  <a:lnTo>
                    <a:pt x="500" y="1774"/>
                  </a:lnTo>
                  <a:lnTo>
                    <a:pt x="487" y="1749"/>
                  </a:lnTo>
                  <a:lnTo>
                    <a:pt x="484" y="1724"/>
                  </a:lnTo>
                  <a:lnTo>
                    <a:pt x="487" y="1705"/>
                  </a:lnTo>
                  <a:lnTo>
                    <a:pt x="494" y="1680"/>
                  </a:lnTo>
                  <a:lnTo>
                    <a:pt x="500" y="1652"/>
                  </a:lnTo>
                  <a:lnTo>
                    <a:pt x="497" y="1634"/>
                  </a:lnTo>
                  <a:lnTo>
                    <a:pt x="494" y="1624"/>
                  </a:lnTo>
                  <a:lnTo>
                    <a:pt x="484" y="1618"/>
                  </a:lnTo>
                  <a:lnTo>
                    <a:pt x="472" y="1609"/>
                  </a:lnTo>
                  <a:lnTo>
                    <a:pt x="462" y="1602"/>
                  </a:lnTo>
                  <a:lnTo>
                    <a:pt x="453" y="1599"/>
                  </a:lnTo>
                  <a:lnTo>
                    <a:pt x="428" y="1584"/>
                  </a:lnTo>
                  <a:lnTo>
                    <a:pt x="400" y="1568"/>
                  </a:lnTo>
                  <a:lnTo>
                    <a:pt x="378" y="1552"/>
                  </a:lnTo>
                  <a:lnTo>
                    <a:pt x="372" y="1534"/>
                  </a:lnTo>
                  <a:lnTo>
                    <a:pt x="372" y="1512"/>
                  </a:lnTo>
                  <a:lnTo>
                    <a:pt x="369" y="1487"/>
                  </a:lnTo>
                  <a:lnTo>
                    <a:pt x="366" y="1471"/>
                  </a:lnTo>
                  <a:lnTo>
                    <a:pt x="350" y="1449"/>
                  </a:lnTo>
                  <a:lnTo>
                    <a:pt x="328" y="1431"/>
                  </a:lnTo>
                  <a:lnTo>
                    <a:pt x="309" y="1415"/>
                  </a:lnTo>
                  <a:lnTo>
                    <a:pt x="303" y="1409"/>
                  </a:lnTo>
                  <a:lnTo>
                    <a:pt x="294" y="1406"/>
                  </a:lnTo>
                  <a:lnTo>
                    <a:pt x="284" y="1399"/>
                  </a:lnTo>
                  <a:lnTo>
                    <a:pt x="275" y="1396"/>
                  </a:lnTo>
                  <a:lnTo>
                    <a:pt x="272" y="1390"/>
                  </a:lnTo>
                  <a:lnTo>
                    <a:pt x="263" y="1374"/>
                  </a:lnTo>
                  <a:lnTo>
                    <a:pt x="256" y="1349"/>
                  </a:lnTo>
                  <a:lnTo>
                    <a:pt x="250" y="1328"/>
                  </a:lnTo>
                  <a:lnTo>
                    <a:pt x="244" y="1309"/>
                  </a:lnTo>
                  <a:lnTo>
                    <a:pt x="234" y="1303"/>
                  </a:lnTo>
                  <a:lnTo>
                    <a:pt x="228" y="1296"/>
                  </a:lnTo>
                  <a:lnTo>
                    <a:pt x="216" y="1290"/>
                  </a:lnTo>
                  <a:lnTo>
                    <a:pt x="206" y="1284"/>
                  </a:lnTo>
                  <a:lnTo>
                    <a:pt x="197" y="1278"/>
                  </a:lnTo>
                  <a:lnTo>
                    <a:pt x="194" y="1271"/>
                  </a:lnTo>
                  <a:lnTo>
                    <a:pt x="194" y="1253"/>
                  </a:lnTo>
                  <a:lnTo>
                    <a:pt x="200" y="1231"/>
                  </a:lnTo>
                  <a:lnTo>
                    <a:pt x="213" y="1206"/>
                  </a:lnTo>
                  <a:lnTo>
                    <a:pt x="222" y="1184"/>
                  </a:lnTo>
                  <a:lnTo>
                    <a:pt x="225" y="1165"/>
                  </a:lnTo>
                  <a:lnTo>
                    <a:pt x="222" y="1143"/>
                  </a:lnTo>
                  <a:lnTo>
                    <a:pt x="213" y="1115"/>
                  </a:lnTo>
                  <a:lnTo>
                    <a:pt x="203" y="1090"/>
                  </a:lnTo>
                  <a:lnTo>
                    <a:pt x="194" y="1068"/>
                  </a:lnTo>
                  <a:lnTo>
                    <a:pt x="184" y="1053"/>
                  </a:lnTo>
                  <a:lnTo>
                    <a:pt x="172" y="1034"/>
                  </a:lnTo>
                  <a:lnTo>
                    <a:pt x="163" y="1015"/>
                  </a:lnTo>
                  <a:lnTo>
                    <a:pt x="163" y="997"/>
                  </a:lnTo>
                  <a:lnTo>
                    <a:pt x="169" y="972"/>
                  </a:lnTo>
                  <a:lnTo>
                    <a:pt x="175" y="950"/>
                  </a:lnTo>
                  <a:lnTo>
                    <a:pt x="175" y="931"/>
                  </a:lnTo>
                  <a:lnTo>
                    <a:pt x="175" y="912"/>
                  </a:lnTo>
                  <a:lnTo>
                    <a:pt x="169" y="887"/>
                  </a:lnTo>
                  <a:lnTo>
                    <a:pt x="163" y="868"/>
                  </a:lnTo>
                  <a:lnTo>
                    <a:pt x="150" y="853"/>
                  </a:lnTo>
                  <a:lnTo>
                    <a:pt x="131" y="831"/>
                  </a:lnTo>
                  <a:lnTo>
                    <a:pt x="113" y="812"/>
                  </a:lnTo>
                  <a:lnTo>
                    <a:pt x="103" y="794"/>
                  </a:lnTo>
                  <a:lnTo>
                    <a:pt x="100" y="775"/>
                  </a:lnTo>
                  <a:lnTo>
                    <a:pt x="103" y="750"/>
                  </a:lnTo>
                  <a:lnTo>
                    <a:pt x="103" y="731"/>
                  </a:lnTo>
                  <a:lnTo>
                    <a:pt x="94" y="715"/>
                  </a:lnTo>
                  <a:lnTo>
                    <a:pt x="81" y="694"/>
                  </a:lnTo>
                  <a:lnTo>
                    <a:pt x="66" y="675"/>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59" name="Freeform 46">
              <a:extLst>
                <a:ext uri="{FF2B5EF4-FFF2-40B4-BE49-F238E27FC236}">
                  <a16:creationId xmlns:a16="http://schemas.microsoft.com/office/drawing/2014/main" id="{7AD1A24F-E2BB-46B7-9C64-655C72278F04}"/>
                </a:ext>
              </a:extLst>
            </p:cNvPr>
            <p:cNvSpPr>
              <a:spLocks/>
            </p:cNvSpPr>
            <p:nvPr/>
          </p:nvSpPr>
          <p:spPr bwMode="auto">
            <a:xfrm>
              <a:off x="18710276" y="-10821988"/>
              <a:ext cx="5072063" cy="4198938"/>
            </a:xfrm>
            <a:custGeom>
              <a:avLst/>
              <a:gdLst>
                <a:gd name="T0" fmla="*/ 35 w 3195"/>
                <a:gd name="T1" fmla="*/ 569 h 2645"/>
                <a:gd name="T2" fmla="*/ 10 w 3195"/>
                <a:gd name="T3" fmla="*/ 456 h 2645"/>
                <a:gd name="T4" fmla="*/ 234 w 3195"/>
                <a:gd name="T5" fmla="*/ 384 h 2645"/>
                <a:gd name="T6" fmla="*/ 313 w 3195"/>
                <a:gd name="T7" fmla="*/ 141 h 2645"/>
                <a:gd name="T8" fmla="*/ 394 w 3195"/>
                <a:gd name="T9" fmla="*/ 19 h 2645"/>
                <a:gd name="T10" fmla="*/ 562 w 3195"/>
                <a:gd name="T11" fmla="*/ 110 h 2645"/>
                <a:gd name="T12" fmla="*/ 734 w 3195"/>
                <a:gd name="T13" fmla="*/ 172 h 2645"/>
                <a:gd name="T14" fmla="*/ 1015 w 3195"/>
                <a:gd name="T15" fmla="*/ 78 h 2645"/>
                <a:gd name="T16" fmla="*/ 1240 w 3195"/>
                <a:gd name="T17" fmla="*/ 169 h 2645"/>
                <a:gd name="T18" fmla="*/ 1352 w 3195"/>
                <a:gd name="T19" fmla="*/ 100 h 2645"/>
                <a:gd name="T20" fmla="*/ 1552 w 3195"/>
                <a:gd name="T21" fmla="*/ 269 h 2645"/>
                <a:gd name="T22" fmla="*/ 1830 w 3195"/>
                <a:gd name="T23" fmla="*/ 316 h 2645"/>
                <a:gd name="T24" fmla="*/ 2018 w 3195"/>
                <a:gd name="T25" fmla="*/ 413 h 2645"/>
                <a:gd name="T26" fmla="*/ 2183 w 3195"/>
                <a:gd name="T27" fmla="*/ 391 h 2645"/>
                <a:gd name="T28" fmla="*/ 2358 w 3195"/>
                <a:gd name="T29" fmla="*/ 350 h 2645"/>
                <a:gd name="T30" fmla="*/ 2467 w 3195"/>
                <a:gd name="T31" fmla="*/ 291 h 2645"/>
                <a:gd name="T32" fmla="*/ 2670 w 3195"/>
                <a:gd name="T33" fmla="*/ 366 h 2645"/>
                <a:gd name="T34" fmla="*/ 2745 w 3195"/>
                <a:gd name="T35" fmla="*/ 587 h 2645"/>
                <a:gd name="T36" fmla="*/ 2942 w 3195"/>
                <a:gd name="T37" fmla="*/ 734 h 2645"/>
                <a:gd name="T38" fmla="*/ 3123 w 3195"/>
                <a:gd name="T39" fmla="*/ 909 h 2645"/>
                <a:gd name="T40" fmla="*/ 3085 w 3195"/>
                <a:gd name="T41" fmla="*/ 990 h 2645"/>
                <a:gd name="T42" fmla="*/ 3101 w 3195"/>
                <a:gd name="T43" fmla="*/ 1153 h 2645"/>
                <a:gd name="T44" fmla="*/ 3148 w 3195"/>
                <a:gd name="T45" fmla="*/ 1359 h 2645"/>
                <a:gd name="T46" fmla="*/ 3192 w 3195"/>
                <a:gd name="T47" fmla="*/ 1474 h 2645"/>
                <a:gd name="T48" fmla="*/ 3145 w 3195"/>
                <a:gd name="T49" fmla="*/ 1524 h 2645"/>
                <a:gd name="T50" fmla="*/ 3123 w 3195"/>
                <a:gd name="T51" fmla="*/ 1640 h 2645"/>
                <a:gd name="T52" fmla="*/ 3051 w 3195"/>
                <a:gd name="T53" fmla="*/ 1668 h 2645"/>
                <a:gd name="T54" fmla="*/ 3051 w 3195"/>
                <a:gd name="T55" fmla="*/ 1787 h 2645"/>
                <a:gd name="T56" fmla="*/ 3017 w 3195"/>
                <a:gd name="T57" fmla="*/ 1955 h 2645"/>
                <a:gd name="T58" fmla="*/ 2932 w 3195"/>
                <a:gd name="T59" fmla="*/ 2008 h 2645"/>
                <a:gd name="T60" fmla="*/ 2720 w 3195"/>
                <a:gd name="T61" fmla="*/ 2055 h 2645"/>
                <a:gd name="T62" fmla="*/ 2514 w 3195"/>
                <a:gd name="T63" fmla="*/ 2036 h 2645"/>
                <a:gd name="T64" fmla="*/ 2448 w 3195"/>
                <a:gd name="T65" fmla="*/ 2217 h 2645"/>
                <a:gd name="T66" fmla="*/ 2377 w 3195"/>
                <a:gd name="T67" fmla="*/ 2402 h 2645"/>
                <a:gd name="T68" fmla="*/ 2286 w 3195"/>
                <a:gd name="T69" fmla="*/ 2514 h 2645"/>
                <a:gd name="T70" fmla="*/ 2205 w 3195"/>
                <a:gd name="T71" fmla="*/ 2589 h 2645"/>
                <a:gd name="T72" fmla="*/ 2089 w 3195"/>
                <a:gd name="T73" fmla="*/ 2542 h 2645"/>
                <a:gd name="T74" fmla="*/ 1989 w 3195"/>
                <a:gd name="T75" fmla="*/ 2614 h 2645"/>
                <a:gd name="T76" fmla="*/ 1736 w 3195"/>
                <a:gd name="T77" fmla="*/ 2602 h 2645"/>
                <a:gd name="T78" fmla="*/ 1587 w 3195"/>
                <a:gd name="T79" fmla="*/ 2620 h 2645"/>
                <a:gd name="T80" fmla="*/ 1640 w 3195"/>
                <a:gd name="T81" fmla="*/ 2436 h 2645"/>
                <a:gd name="T82" fmla="*/ 1537 w 3195"/>
                <a:gd name="T83" fmla="*/ 2283 h 2645"/>
                <a:gd name="T84" fmla="*/ 1418 w 3195"/>
                <a:gd name="T85" fmla="*/ 2189 h 2645"/>
                <a:gd name="T86" fmla="*/ 1327 w 3195"/>
                <a:gd name="T87" fmla="*/ 2158 h 2645"/>
                <a:gd name="T88" fmla="*/ 1231 w 3195"/>
                <a:gd name="T89" fmla="*/ 2192 h 2645"/>
                <a:gd name="T90" fmla="*/ 1099 w 3195"/>
                <a:gd name="T91" fmla="*/ 2155 h 2645"/>
                <a:gd name="T92" fmla="*/ 1056 w 3195"/>
                <a:gd name="T93" fmla="*/ 2217 h 2645"/>
                <a:gd name="T94" fmla="*/ 943 w 3195"/>
                <a:gd name="T95" fmla="*/ 2246 h 2645"/>
                <a:gd name="T96" fmla="*/ 825 w 3195"/>
                <a:gd name="T97" fmla="*/ 2261 h 2645"/>
                <a:gd name="T98" fmla="*/ 834 w 3195"/>
                <a:gd name="T99" fmla="*/ 2167 h 2645"/>
                <a:gd name="T100" fmla="*/ 772 w 3195"/>
                <a:gd name="T101" fmla="*/ 1958 h 2645"/>
                <a:gd name="T102" fmla="*/ 619 w 3195"/>
                <a:gd name="T103" fmla="*/ 1818 h 2645"/>
                <a:gd name="T104" fmla="*/ 487 w 3195"/>
                <a:gd name="T105" fmla="*/ 1705 h 2645"/>
                <a:gd name="T106" fmla="*/ 400 w 3195"/>
                <a:gd name="T107" fmla="*/ 1568 h 2645"/>
                <a:gd name="T108" fmla="*/ 294 w 3195"/>
                <a:gd name="T109" fmla="*/ 1406 h 2645"/>
                <a:gd name="T110" fmla="*/ 216 w 3195"/>
                <a:gd name="T111" fmla="*/ 1290 h 2645"/>
                <a:gd name="T112" fmla="*/ 213 w 3195"/>
                <a:gd name="T113" fmla="*/ 1115 h 2645"/>
                <a:gd name="T114" fmla="*/ 175 w 3195"/>
                <a:gd name="T115" fmla="*/ 912 h 2645"/>
                <a:gd name="T116" fmla="*/ 94 w 3195"/>
                <a:gd name="T117" fmla="*/ 715 h 2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95" h="2645">
                  <a:moveTo>
                    <a:pt x="66" y="675"/>
                  </a:moveTo>
                  <a:lnTo>
                    <a:pt x="60" y="662"/>
                  </a:lnTo>
                  <a:lnTo>
                    <a:pt x="53" y="653"/>
                  </a:lnTo>
                  <a:lnTo>
                    <a:pt x="47" y="641"/>
                  </a:lnTo>
                  <a:lnTo>
                    <a:pt x="47" y="628"/>
                  </a:lnTo>
                  <a:lnTo>
                    <a:pt x="50" y="609"/>
                  </a:lnTo>
                  <a:lnTo>
                    <a:pt x="50" y="591"/>
                  </a:lnTo>
                  <a:lnTo>
                    <a:pt x="47" y="575"/>
                  </a:lnTo>
                  <a:lnTo>
                    <a:pt x="44" y="572"/>
                  </a:lnTo>
                  <a:lnTo>
                    <a:pt x="35" y="569"/>
                  </a:lnTo>
                  <a:lnTo>
                    <a:pt x="25" y="566"/>
                  </a:lnTo>
                  <a:lnTo>
                    <a:pt x="19" y="562"/>
                  </a:lnTo>
                  <a:lnTo>
                    <a:pt x="13" y="556"/>
                  </a:lnTo>
                  <a:lnTo>
                    <a:pt x="7" y="550"/>
                  </a:lnTo>
                  <a:lnTo>
                    <a:pt x="3" y="541"/>
                  </a:lnTo>
                  <a:lnTo>
                    <a:pt x="0" y="531"/>
                  </a:lnTo>
                  <a:lnTo>
                    <a:pt x="0" y="519"/>
                  </a:lnTo>
                  <a:lnTo>
                    <a:pt x="0" y="513"/>
                  </a:lnTo>
                  <a:lnTo>
                    <a:pt x="3" y="488"/>
                  </a:lnTo>
                  <a:lnTo>
                    <a:pt x="10" y="456"/>
                  </a:lnTo>
                  <a:lnTo>
                    <a:pt x="19" y="428"/>
                  </a:lnTo>
                  <a:lnTo>
                    <a:pt x="31" y="409"/>
                  </a:lnTo>
                  <a:lnTo>
                    <a:pt x="56" y="400"/>
                  </a:lnTo>
                  <a:lnTo>
                    <a:pt x="88" y="397"/>
                  </a:lnTo>
                  <a:lnTo>
                    <a:pt x="119" y="400"/>
                  </a:lnTo>
                  <a:lnTo>
                    <a:pt x="144" y="400"/>
                  </a:lnTo>
                  <a:lnTo>
                    <a:pt x="166" y="400"/>
                  </a:lnTo>
                  <a:lnTo>
                    <a:pt x="191" y="403"/>
                  </a:lnTo>
                  <a:lnTo>
                    <a:pt x="213" y="400"/>
                  </a:lnTo>
                  <a:lnTo>
                    <a:pt x="234" y="384"/>
                  </a:lnTo>
                  <a:lnTo>
                    <a:pt x="256" y="360"/>
                  </a:lnTo>
                  <a:lnTo>
                    <a:pt x="275" y="338"/>
                  </a:lnTo>
                  <a:lnTo>
                    <a:pt x="288" y="316"/>
                  </a:lnTo>
                  <a:lnTo>
                    <a:pt x="300" y="288"/>
                  </a:lnTo>
                  <a:lnTo>
                    <a:pt x="309" y="263"/>
                  </a:lnTo>
                  <a:lnTo>
                    <a:pt x="309" y="241"/>
                  </a:lnTo>
                  <a:lnTo>
                    <a:pt x="306" y="213"/>
                  </a:lnTo>
                  <a:lnTo>
                    <a:pt x="303" y="182"/>
                  </a:lnTo>
                  <a:lnTo>
                    <a:pt x="303" y="160"/>
                  </a:lnTo>
                  <a:lnTo>
                    <a:pt x="313" y="141"/>
                  </a:lnTo>
                  <a:lnTo>
                    <a:pt x="322" y="122"/>
                  </a:lnTo>
                  <a:lnTo>
                    <a:pt x="331" y="107"/>
                  </a:lnTo>
                  <a:lnTo>
                    <a:pt x="338" y="82"/>
                  </a:lnTo>
                  <a:lnTo>
                    <a:pt x="344" y="53"/>
                  </a:lnTo>
                  <a:lnTo>
                    <a:pt x="350" y="29"/>
                  </a:lnTo>
                  <a:lnTo>
                    <a:pt x="356" y="19"/>
                  </a:lnTo>
                  <a:lnTo>
                    <a:pt x="366" y="10"/>
                  </a:lnTo>
                  <a:lnTo>
                    <a:pt x="378" y="0"/>
                  </a:lnTo>
                  <a:lnTo>
                    <a:pt x="387" y="10"/>
                  </a:lnTo>
                  <a:lnTo>
                    <a:pt x="394" y="19"/>
                  </a:lnTo>
                  <a:lnTo>
                    <a:pt x="403" y="25"/>
                  </a:lnTo>
                  <a:lnTo>
                    <a:pt x="409" y="32"/>
                  </a:lnTo>
                  <a:lnTo>
                    <a:pt x="422" y="53"/>
                  </a:lnTo>
                  <a:lnTo>
                    <a:pt x="441" y="78"/>
                  </a:lnTo>
                  <a:lnTo>
                    <a:pt x="456" y="94"/>
                  </a:lnTo>
                  <a:lnTo>
                    <a:pt x="472" y="94"/>
                  </a:lnTo>
                  <a:lnTo>
                    <a:pt x="491" y="91"/>
                  </a:lnTo>
                  <a:lnTo>
                    <a:pt x="509" y="91"/>
                  </a:lnTo>
                  <a:lnTo>
                    <a:pt x="534" y="97"/>
                  </a:lnTo>
                  <a:lnTo>
                    <a:pt x="562" y="110"/>
                  </a:lnTo>
                  <a:lnTo>
                    <a:pt x="594" y="122"/>
                  </a:lnTo>
                  <a:lnTo>
                    <a:pt x="619" y="135"/>
                  </a:lnTo>
                  <a:lnTo>
                    <a:pt x="644" y="141"/>
                  </a:lnTo>
                  <a:lnTo>
                    <a:pt x="672" y="150"/>
                  </a:lnTo>
                  <a:lnTo>
                    <a:pt x="693" y="157"/>
                  </a:lnTo>
                  <a:lnTo>
                    <a:pt x="703" y="160"/>
                  </a:lnTo>
                  <a:lnTo>
                    <a:pt x="709" y="163"/>
                  </a:lnTo>
                  <a:lnTo>
                    <a:pt x="718" y="166"/>
                  </a:lnTo>
                  <a:lnTo>
                    <a:pt x="728" y="169"/>
                  </a:lnTo>
                  <a:lnTo>
                    <a:pt x="734" y="172"/>
                  </a:lnTo>
                  <a:lnTo>
                    <a:pt x="768" y="166"/>
                  </a:lnTo>
                  <a:lnTo>
                    <a:pt x="806" y="157"/>
                  </a:lnTo>
                  <a:lnTo>
                    <a:pt x="843" y="141"/>
                  </a:lnTo>
                  <a:lnTo>
                    <a:pt x="875" y="125"/>
                  </a:lnTo>
                  <a:lnTo>
                    <a:pt x="893" y="110"/>
                  </a:lnTo>
                  <a:lnTo>
                    <a:pt x="912" y="91"/>
                  </a:lnTo>
                  <a:lnTo>
                    <a:pt x="931" y="78"/>
                  </a:lnTo>
                  <a:lnTo>
                    <a:pt x="959" y="72"/>
                  </a:lnTo>
                  <a:lnTo>
                    <a:pt x="987" y="75"/>
                  </a:lnTo>
                  <a:lnTo>
                    <a:pt x="1015" y="78"/>
                  </a:lnTo>
                  <a:lnTo>
                    <a:pt x="1034" y="85"/>
                  </a:lnTo>
                  <a:lnTo>
                    <a:pt x="1053" y="94"/>
                  </a:lnTo>
                  <a:lnTo>
                    <a:pt x="1071" y="100"/>
                  </a:lnTo>
                  <a:lnTo>
                    <a:pt x="1093" y="100"/>
                  </a:lnTo>
                  <a:lnTo>
                    <a:pt x="1115" y="100"/>
                  </a:lnTo>
                  <a:lnTo>
                    <a:pt x="1134" y="100"/>
                  </a:lnTo>
                  <a:lnTo>
                    <a:pt x="1159" y="113"/>
                  </a:lnTo>
                  <a:lnTo>
                    <a:pt x="1187" y="135"/>
                  </a:lnTo>
                  <a:lnTo>
                    <a:pt x="1215" y="157"/>
                  </a:lnTo>
                  <a:lnTo>
                    <a:pt x="1240" y="169"/>
                  </a:lnTo>
                  <a:lnTo>
                    <a:pt x="1262" y="175"/>
                  </a:lnTo>
                  <a:lnTo>
                    <a:pt x="1284" y="178"/>
                  </a:lnTo>
                  <a:lnTo>
                    <a:pt x="1302" y="175"/>
                  </a:lnTo>
                  <a:lnTo>
                    <a:pt x="1315" y="160"/>
                  </a:lnTo>
                  <a:lnTo>
                    <a:pt x="1327" y="141"/>
                  </a:lnTo>
                  <a:lnTo>
                    <a:pt x="1337" y="122"/>
                  </a:lnTo>
                  <a:lnTo>
                    <a:pt x="1340" y="116"/>
                  </a:lnTo>
                  <a:lnTo>
                    <a:pt x="1343" y="110"/>
                  </a:lnTo>
                  <a:lnTo>
                    <a:pt x="1349" y="103"/>
                  </a:lnTo>
                  <a:lnTo>
                    <a:pt x="1352" y="100"/>
                  </a:lnTo>
                  <a:lnTo>
                    <a:pt x="1371" y="107"/>
                  </a:lnTo>
                  <a:lnTo>
                    <a:pt x="1387" y="125"/>
                  </a:lnTo>
                  <a:lnTo>
                    <a:pt x="1405" y="144"/>
                  </a:lnTo>
                  <a:lnTo>
                    <a:pt x="1421" y="160"/>
                  </a:lnTo>
                  <a:lnTo>
                    <a:pt x="1443" y="169"/>
                  </a:lnTo>
                  <a:lnTo>
                    <a:pt x="1471" y="178"/>
                  </a:lnTo>
                  <a:lnTo>
                    <a:pt x="1493" y="188"/>
                  </a:lnTo>
                  <a:lnTo>
                    <a:pt x="1515" y="210"/>
                  </a:lnTo>
                  <a:lnTo>
                    <a:pt x="1534" y="238"/>
                  </a:lnTo>
                  <a:lnTo>
                    <a:pt x="1552" y="269"/>
                  </a:lnTo>
                  <a:lnTo>
                    <a:pt x="1571" y="291"/>
                  </a:lnTo>
                  <a:lnTo>
                    <a:pt x="1596" y="303"/>
                  </a:lnTo>
                  <a:lnTo>
                    <a:pt x="1630" y="319"/>
                  </a:lnTo>
                  <a:lnTo>
                    <a:pt x="1665" y="331"/>
                  </a:lnTo>
                  <a:lnTo>
                    <a:pt x="1693" y="335"/>
                  </a:lnTo>
                  <a:lnTo>
                    <a:pt x="1721" y="331"/>
                  </a:lnTo>
                  <a:lnTo>
                    <a:pt x="1749" y="322"/>
                  </a:lnTo>
                  <a:lnTo>
                    <a:pt x="1780" y="313"/>
                  </a:lnTo>
                  <a:lnTo>
                    <a:pt x="1805" y="310"/>
                  </a:lnTo>
                  <a:lnTo>
                    <a:pt x="1830" y="316"/>
                  </a:lnTo>
                  <a:lnTo>
                    <a:pt x="1858" y="325"/>
                  </a:lnTo>
                  <a:lnTo>
                    <a:pt x="1880" y="331"/>
                  </a:lnTo>
                  <a:lnTo>
                    <a:pt x="1899" y="338"/>
                  </a:lnTo>
                  <a:lnTo>
                    <a:pt x="1924" y="344"/>
                  </a:lnTo>
                  <a:lnTo>
                    <a:pt x="1943" y="353"/>
                  </a:lnTo>
                  <a:lnTo>
                    <a:pt x="1955" y="369"/>
                  </a:lnTo>
                  <a:lnTo>
                    <a:pt x="1971" y="394"/>
                  </a:lnTo>
                  <a:lnTo>
                    <a:pt x="1989" y="413"/>
                  </a:lnTo>
                  <a:lnTo>
                    <a:pt x="2005" y="422"/>
                  </a:lnTo>
                  <a:lnTo>
                    <a:pt x="2018" y="413"/>
                  </a:lnTo>
                  <a:lnTo>
                    <a:pt x="2030" y="394"/>
                  </a:lnTo>
                  <a:lnTo>
                    <a:pt x="2039" y="372"/>
                  </a:lnTo>
                  <a:lnTo>
                    <a:pt x="2049" y="350"/>
                  </a:lnTo>
                  <a:lnTo>
                    <a:pt x="2061" y="338"/>
                  </a:lnTo>
                  <a:lnTo>
                    <a:pt x="2083" y="331"/>
                  </a:lnTo>
                  <a:lnTo>
                    <a:pt x="2111" y="335"/>
                  </a:lnTo>
                  <a:lnTo>
                    <a:pt x="2133" y="338"/>
                  </a:lnTo>
                  <a:lnTo>
                    <a:pt x="2149" y="350"/>
                  </a:lnTo>
                  <a:lnTo>
                    <a:pt x="2164" y="369"/>
                  </a:lnTo>
                  <a:lnTo>
                    <a:pt x="2183" y="391"/>
                  </a:lnTo>
                  <a:lnTo>
                    <a:pt x="2199" y="409"/>
                  </a:lnTo>
                  <a:lnTo>
                    <a:pt x="2214" y="416"/>
                  </a:lnTo>
                  <a:lnTo>
                    <a:pt x="2233" y="409"/>
                  </a:lnTo>
                  <a:lnTo>
                    <a:pt x="2249" y="394"/>
                  </a:lnTo>
                  <a:lnTo>
                    <a:pt x="2267" y="375"/>
                  </a:lnTo>
                  <a:lnTo>
                    <a:pt x="2286" y="356"/>
                  </a:lnTo>
                  <a:lnTo>
                    <a:pt x="2302" y="347"/>
                  </a:lnTo>
                  <a:lnTo>
                    <a:pt x="2320" y="344"/>
                  </a:lnTo>
                  <a:lnTo>
                    <a:pt x="2339" y="350"/>
                  </a:lnTo>
                  <a:lnTo>
                    <a:pt x="2358" y="350"/>
                  </a:lnTo>
                  <a:lnTo>
                    <a:pt x="2380" y="350"/>
                  </a:lnTo>
                  <a:lnTo>
                    <a:pt x="2408" y="350"/>
                  </a:lnTo>
                  <a:lnTo>
                    <a:pt x="2433" y="347"/>
                  </a:lnTo>
                  <a:lnTo>
                    <a:pt x="2452" y="338"/>
                  </a:lnTo>
                  <a:lnTo>
                    <a:pt x="2458" y="331"/>
                  </a:lnTo>
                  <a:lnTo>
                    <a:pt x="2458" y="325"/>
                  </a:lnTo>
                  <a:lnTo>
                    <a:pt x="2461" y="316"/>
                  </a:lnTo>
                  <a:lnTo>
                    <a:pt x="2461" y="306"/>
                  </a:lnTo>
                  <a:lnTo>
                    <a:pt x="2464" y="297"/>
                  </a:lnTo>
                  <a:lnTo>
                    <a:pt x="2467" y="291"/>
                  </a:lnTo>
                  <a:lnTo>
                    <a:pt x="2486" y="281"/>
                  </a:lnTo>
                  <a:lnTo>
                    <a:pt x="2508" y="269"/>
                  </a:lnTo>
                  <a:lnTo>
                    <a:pt x="2533" y="263"/>
                  </a:lnTo>
                  <a:lnTo>
                    <a:pt x="2552" y="263"/>
                  </a:lnTo>
                  <a:lnTo>
                    <a:pt x="2573" y="269"/>
                  </a:lnTo>
                  <a:lnTo>
                    <a:pt x="2598" y="281"/>
                  </a:lnTo>
                  <a:lnTo>
                    <a:pt x="2620" y="300"/>
                  </a:lnTo>
                  <a:lnTo>
                    <a:pt x="2636" y="316"/>
                  </a:lnTo>
                  <a:lnTo>
                    <a:pt x="2655" y="338"/>
                  </a:lnTo>
                  <a:lnTo>
                    <a:pt x="2670" y="366"/>
                  </a:lnTo>
                  <a:lnTo>
                    <a:pt x="2680" y="391"/>
                  </a:lnTo>
                  <a:lnTo>
                    <a:pt x="2683" y="413"/>
                  </a:lnTo>
                  <a:lnTo>
                    <a:pt x="2680" y="441"/>
                  </a:lnTo>
                  <a:lnTo>
                    <a:pt x="2680" y="466"/>
                  </a:lnTo>
                  <a:lnTo>
                    <a:pt x="2680" y="488"/>
                  </a:lnTo>
                  <a:lnTo>
                    <a:pt x="2686" y="509"/>
                  </a:lnTo>
                  <a:lnTo>
                    <a:pt x="2698" y="537"/>
                  </a:lnTo>
                  <a:lnTo>
                    <a:pt x="2711" y="559"/>
                  </a:lnTo>
                  <a:lnTo>
                    <a:pt x="2726" y="578"/>
                  </a:lnTo>
                  <a:lnTo>
                    <a:pt x="2745" y="587"/>
                  </a:lnTo>
                  <a:lnTo>
                    <a:pt x="2770" y="594"/>
                  </a:lnTo>
                  <a:lnTo>
                    <a:pt x="2789" y="603"/>
                  </a:lnTo>
                  <a:lnTo>
                    <a:pt x="2804" y="622"/>
                  </a:lnTo>
                  <a:lnTo>
                    <a:pt x="2817" y="647"/>
                  </a:lnTo>
                  <a:lnTo>
                    <a:pt x="2829" y="672"/>
                  </a:lnTo>
                  <a:lnTo>
                    <a:pt x="2845" y="691"/>
                  </a:lnTo>
                  <a:lnTo>
                    <a:pt x="2864" y="703"/>
                  </a:lnTo>
                  <a:lnTo>
                    <a:pt x="2892" y="712"/>
                  </a:lnTo>
                  <a:lnTo>
                    <a:pt x="2920" y="725"/>
                  </a:lnTo>
                  <a:lnTo>
                    <a:pt x="2942" y="734"/>
                  </a:lnTo>
                  <a:lnTo>
                    <a:pt x="2964" y="750"/>
                  </a:lnTo>
                  <a:lnTo>
                    <a:pt x="2992" y="775"/>
                  </a:lnTo>
                  <a:lnTo>
                    <a:pt x="3011" y="797"/>
                  </a:lnTo>
                  <a:lnTo>
                    <a:pt x="3020" y="815"/>
                  </a:lnTo>
                  <a:lnTo>
                    <a:pt x="3026" y="844"/>
                  </a:lnTo>
                  <a:lnTo>
                    <a:pt x="3036" y="868"/>
                  </a:lnTo>
                  <a:lnTo>
                    <a:pt x="3045" y="887"/>
                  </a:lnTo>
                  <a:lnTo>
                    <a:pt x="3067" y="900"/>
                  </a:lnTo>
                  <a:lnTo>
                    <a:pt x="3098" y="906"/>
                  </a:lnTo>
                  <a:lnTo>
                    <a:pt x="3123" y="909"/>
                  </a:lnTo>
                  <a:lnTo>
                    <a:pt x="3132" y="909"/>
                  </a:lnTo>
                  <a:lnTo>
                    <a:pt x="3145" y="909"/>
                  </a:lnTo>
                  <a:lnTo>
                    <a:pt x="3157" y="909"/>
                  </a:lnTo>
                  <a:lnTo>
                    <a:pt x="3157" y="928"/>
                  </a:lnTo>
                  <a:lnTo>
                    <a:pt x="3157" y="947"/>
                  </a:lnTo>
                  <a:lnTo>
                    <a:pt x="3154" y="959"/>
                  </a:lnTo>
                  <a:lnTo>
                    <a:pt x="3142" y="968"/>
                  </a:lnTo>
                  <a:lnTo>
                    <a:pt x="3120" y="978"/>
                  </a:lnTo>
                  <a:lnTo>
                    <a:pt x="3101" y="984"/>
                  </a:lnTo>
                  <a:lnTo>
                    <a:pt x="3085" y="990"/>
                  </a:lnTo>
                  <a:lnTo>
                    <a:pt x="3073" y="1006"/>
                  </a:lnTo>
                  <a:lnTo>
                    <a:pt x="3057" y="1025"/>
                  </a:lnTo>
                  <a:lnTo>
                    <a:pt x="3045" y="1046"/>
                  </a:lnTo>
                  <a:lnTo>
                    <a:pt x="3036" y="1062"/>
                  </a:lnTo>
                  <a:lnTo>
                    <a:pt x="3036" y="1084"/>
                  </a:lnTo>
                  <a:lnTo>
                    <a:pt x="3042" y="1106"/>
                  </a:lnTo>
                  <a:lnTo>
                    <a:pt x="3051" y="1125"/>
                  </a:lnTo>
                  <a:lnTo>
                    <a:pt x="3064" y="1134"/>
                  </a:lnTo>
                  <a:lnTo>
                    <a:pt x="3085" y="1143"/>
                  </a:lnTo>
                  <a:lnTo>
                    <a:pt x="3101" y="1153"/>
                  </a:lnTo>
                  <a:lnTo>
                    <a:pt x="3117" y="1175"/>
                  </a:lnTo>
                  <a:lnTo>
                    <a:pt x="3126" y="1206"/>
                  </a:lnTo>
                  <a:lnTo>
                    <a:pt x="3132" y="1234"/>
                  </a:lnTo>
                  <a:lnTo>
                    <a:pt x="3132" y="1256"/>
                  </a:lnTo>
                  <a:lnTo>
                    <a:pt x="3132" y="1281"/>
                  </a:lnTo>
                  <a:lnTo>
                    <a:pt x="3129" y="1306"/>
                  </a:lnTo>
                  <a:lnTo>
                    <a:pt x="3132" y="1328"/>
                  </a:lnTo>
                  <a:lnTo>
                    <a:pt x="3135" y="1337"/>
                  </a:lnTo>
                  <a:lnTo>
                    <a:pt x="3142" y="1346"/>
                  </a:lnTo>
                  <a:lnTo>
                    <a:pt x="3148" y="1359"/>
                  </a:lnTo>
                  <a:lnTo>
                    <a:pt x="3154" y="1368"/>
                  </a:lnTo>
                  <a:lnTo>
                    <a:pt x="3160" y="1377"/>
                  </a:lnTo>
                  <a:lnTo>
                    <a:pt x="3167" y="1381"/>
                  </a:lnTo>
                  <a:lnTo>
                    <a:pt x="3173" y="1387"/>
                  </a:lnTo>
                  <a:lnTo>
                    <a:pt x="3182" y="1393"/>
                  </a:lnTo>
                  <a:lnTo>
                    <a:pt x="3189" y="1399"/>
                  </a:lnTo>
                  <a:lnTo>
                    <a:pt x="3192" y="1406"/>
                  </a:lnTo>
                  <a:lnTo>
                    <a:pt x="3195" y="1424"/>
                  </a:lnTo>
                  <a:lnTo>
                    <a:pt x="3195" y="1449"/>
                  </a:lnTo>
                  <a:lnTo>
                    <a:pt x="3192" y="1474"/>
                  </a:lnTo>
                  <a:lnTo>
                    <a:pt x="3189" y="1496"/>
                  </a:lnTo>
                  <a:lnTo>
                    <a:pt x="3185" y="1505"/>
                  </a:lnTo>
                  <a:lnTo>
                    <a:pt x="3185" y="1509"/>
                  </a:lnTo>
                  <a:lnTo>
                    <a:pt x="3179" y="1509"/>
                  </a:lnTo>
                  <a:lnTo>
                    <a:pt x="3173" y="1512"/>
                  </a:lnTo>
                  <a:lnTo>
                    <a:pt x="3167" y="1512"/>
                  </a:lnTo>
                  <a:lnTo>
                    <a:pt x="3157" y="1515"/>
                  </a:lnTo>
                  <a:lnTo>
                    <a:pt x="3151" y="1518"/>
                  </a:lnTo>
                  <a:lnTo>
                    <a:pt x="3148" y="1521"/>
                  </a:lnTo>
                  <a:lnTo>
                    <a:pt x="3145" y="1524"/>
                  </a:lnTo>
                  <a:lnTo>
                    <a:pt x="3145" y="1530"/>
                  </a:lnTo>
                  <a:lnTo>
                    <a:pt x="3148" y="1540"/>
                  </a:lnTo>
                  <a:lnTo>
                    <a:pt x="3151" y="1549"/>
                  </a:lnTo>
                  <a:lnTo>
                    <a:pt x="3151" y="1555"/>
                  </a:lnTo>
                  <a:lnTo>
                    <a:pt x="3154" y="1565"/>
                  </a:lnTo>
                  <a:lnTo>
                    <a:pt x="3154" y="1571"/>
                  </a:lnTo>
                  <a:lnTo>
                    <a:pt x="3148" y="1593"/>
                  </a:lnTo>
                  <a:lnTo>
                    <a:pt x="3142" y="1618"/>
                  </a:lnTo>
                  <a:lnTo>
                    <a:pt x="3129" y="1637"/>
                  </a:lnTo>
                  <a:lnTo>
                    <a:pt x="3123" y="1640"/>
                  </a:lnTo>
                  <a:lnTo>
                    <a:pt x="3114" y="1640"/>
                  </a:lnTo>
                  <a:lnTo>
                    <a:pt x="3107" y="1637"/>
                  </a:lnTo>
                  <a:lnTo>
                    <a:pt x="3098" y="1637"/>
                  </a:lnTo>
                  <a:lnTo>
                    <a:pt x="3089" y="1637"/>
                  </a:lnTo>
                  <a:lnTo>
                    <a:pt x="3082" y="1637"/>
                  </a:lnTo>
                  <a:lnTo>
                    <a:pt x="3076" y="1640"/>
                  </a:lnTo>
                  <a:lnTo>
                    <a:pt x="3067" y="1646"/>
                  </a:lnTo>
                  <a:lnTo>
                    <a:pt x="3061" y="1652"/>
                  </a:lnTo>
                  <a:lnTo>
                    <a:pt x="3054" y="1662"/>
                  </a:lnTo>
                  <a:lnTo>
                    <a:pt x="3051" y="1668"/>
                  </a:lnTo>
                  <a:lnTo>
                    <a:pt x="3051" y="1687"/>
                  </a:lnTo>
                  <a:lnTo>
                    <a:pt x="3057" y="1708"/>
                  </a:lnTo>
                  <a:lnTo>
                    <a:pt x="3064" y="1730"/>
                  </a:lnTo>
                  <a:lnTo>
                    <a:pt x="3073" y="1749"/>
                  </a:lnTo>
                  <a:lnTo>
                    <a:pt x="3076" y="1758"/>
                  </a:lnTo>
                  <a:lnTo>
                    <a:pt x="3073" y="1762"/>
                  </a:lnTo>
                  <a:lnTo>
                    <a:pt x="3070" y="1768"/>
                  </a:lnTo>
                  <a:lnTo>
                    <a:pt x="3064" y="1774"/>
                  </a:lnTo>
                  <a:lnTo>
                    <a:pt x="3057" y="1780"/>
                  </a:lnTo>
                  <a:lnTo>
                    <a:pt x="3051" y="1787"/>
                  </a:lnTo>
                  <a:lnTo>
                    <a:pt x="3042" y="1793"/>
                  </a:lnTo>
                  <a:lnTo>
                    <a:pt x="3039" y="1802"/>
                  </a:lnTo>
                  <a:lnTo>
                    <a:pt x="3036" y="1808"/>
                  </a:lnTo>
                  <a:lnTo>
                    <a:pt x="3032" y="1827"/>
                  </a:lnTo>
                  <a:lnTo>
                    <a:pt x="3039" y="1855"/>
                  </a:lnTo>
                  <a:lnTo>
                    <a:pt x="3042" y="1880"/>
                  </a:lnTo>
                  <a:lnTo>
                    <a:pt x="3042" y="1902"/>
                  </a:lnTo>
                  <a:lnTo>
                    <a:pt x="3036" y="1921"/>
                  </a:lnTo>
                  <a:lnTo>
                    <a:pt x="3026" y="1940"/>
                  </a:lnTo>
                  <a:lnTo>
                    <a:pt x="3017" y="1955"/>
                  </a:lnTo>
                  <a:lnTo>
                    <a:pt x="3011" y="1968"/>
                  </a:lnTo>
                  <a:lnTo>
                    <a:pt x="3007" y="1980"/>
                  </a:lnTo>
                  <a:lnTo>
                    <a:pt x="3004" y="1993"/>
                  </a:lnTo>
                  <a:lnTo>
                    <a:pt x="2998" y="2005"/>
                  </a:lnTo>
                  <a:lnTo>
                    <a:pt x="2992" y="2014"/>
                  </a:lnTo>
                  <a:lnTo>
                    <a:pt x="2986" y="2018"/>
                  </a:lnTo>
                  <a:lnTo>
                    <a:pt x="2976" y="2021"/>
                  </a:lnTo>
                  <a:lnTo>
                    <a:pt x="2961" y="2018"/>
                  </a:lnTo>
                  <a:lnTo>
                    <a:pt x="2945" y="2011"/>
                  </a:lnTo>
                  <a:lnTo>
                    <a:pt x="2932" y="2008"/>
                  </a:lnTo>
                  <a:lnTo>
                    <a:pt x="2914" y="2008"/>
                  </a:lnTo>
                  <a:lnTo>
                    <a:pt x="2892" y="2008"/>
                  </a:lnTo>
                  <a:lnTo>
                    <a:pt x="2873" y="2008"/>
                  </a:lnTo>
                  <a:lnTo>
                    <a:pt x="2851" y="2014"/>
                  </a:lnTo>
                  <a:lnTo>
                    <a:pt x="2820" y="2024"/>
                  </a:lnTo>
                  <a:lnTo>
                    <a:pt x="2789" y="2033"/>
                  </a:lnTo>
                  <a:lnTo>
                    <a:pt x="2761" y="2046"/>
                  </a:lnTo>
                  <a:lnTo>
                    <a:pt x="2739" y="2052"/>
                  </a:lnTo>
                  <a:lnTo>
                    <a:pt x="2729" y="2055"/>
                  </a:lnTo>
                  <a:lnTo>
                    <a:pt x="2720" y="2055"/>
                  </a:lnTo>
                  <a:lnTo>
                    <a:pt x="2705" y="2049"/>
                  </a:lnTo>
                  <a:lnTo>
                    <a:pt x="2686" y="2039"/>
                  </a:lnTo>
                  <a:lnTo>
                    <a:pt x="2664" y="2033"/>
                  </a:lnTo>
                  <a:lnTo>
                    <a:pt x="2648" y="2027"/>
                  </a:lnTo>
                  <a:lnTo>
                    <a:pt x="2630" y="2021"/>
                  </a:lnTo>
                  <a:lnTo>
                    <a:pt x="2608" y="2011"/>
                  </a:lnTo>
                  <a:lnTo>
                    <a:pt x="2586" y="2008"/>
                  </a:lnTo>
                  <a:lnTo>
                    <a:pt x="2564" y="2014"/>
                  </a:lnTo>
                  <a:lnTo>
                    <a:pt x="2539" y="2024"/>
                  </a:lnTo>
                  <a:lnTo>
                    <a:pt x="2514" y="2036"/>
                  </a:lnTo>
                  <a:lnTo>
                    <a:pt x="2495" y="2046"/>
                  </a:lnTo>
                  <a:lnTo>
                    <a:pt x="2477" y="2061"/>
                  </a:lnTo>
                  <a:lnTo>
                    <a:pt x="2458" y="2077"/>
                  </a:lnTo>
                  <a:lnTo>
                    <a:pt x="2439" y="2099"/>
                  </a:lnTo>
                  <a:lnTo>
                    <a:pt x="2430" y="2114"/>
                  </a:lnTo>
                  <a:lnTo>
                    <a:pt x="2430" y="2133"/>
                  </a:lnTo>
                  <a:lnTo>
                    <a:pt x="2433" y="2152"/>
                  </a:lnTo>
                  <a:lnTo>
                    <a:pt x="2439" y="2174"/>
                  </a:lnTo>
                  <a:lnTo>
                    <a:pt x="2442" y="2189"/>
                  </a:lnTo>
                  <a:lnTo>
                    <a:pt x="2448" y="2217"/>
                  </a:lnTo>
                  <a:lnTo>
                    <a:pt x="2455" y="2252"/>
                  </a:lnTo>
                  <a:lnTo>
                    <a:pt x="2461" y="2280"/>
                  </a:lnTo>
                  <a:lnTo>
                    <a:pt x="2461" y="2296"/>
                  </a:lnTo>
                  <a:lnTo>
                    <a:pt x="2458" y="2317"/>
                  </a:lnTo>
                  <a:lnTo>
                    <a:pt x="2455" y="2333"/>
                  </a:lnTo>
                  <a:lnTo>
                    <a:pt x="2445" y="2352"/>
                  </a:lnTo>
                  <a:lnTo>
                    <a:pt x="2427" y="2374"/>
                  </a:lnTo>
                  <a:lnTo>
                    <a:pt x="2411" y="2389"/>
                  </a:lnTo>
                  <a:lnTo>
                    <a:pt x="2395" y="2395"/>
                  </a:lnTo>
                  <a:lnTo>
                    <a:pt x="2377" y="2402"/>
                  </a:lnTo>
                  <a:lnTo>
                    <a:pt x="2358" y="2408"/>
                  </a:lnTo>
                  <a:lnTo>
                    <a:pt x="2345" y="2414"/>
                  </a:lnTo>
                  <a:lnTo>
                    <a:pt x="2330" y="2439"/>
                  </a:lnTo>
                  <a:lnTo>
                    <a:pt x="2320" y="2470"/>
                  </a:lnTo>
                  <a:lnTo>
                    <a:pt x="2317" y="2498"/>
                  </a:lnTo>
                  <a:lnTo>
                    <a:pt x="2317" y="2508"/>
                  </a:lnTo>
                  <a:lnTo>
                    <a:pt x="2317" y="2520"/>
                  </a:lnTo>
                  <a:lnTo>
                    <a:pt x="2308" y="2517"/>
                  </a:lnTo>
                  <a:lnTo>
                    <a:pt x="2295" y="2517"/>
                  </a:lnTo>
                  <a:lnTo>
                    <a:pt x="2286" y="2514"/>
                  </a:lnTo>
                  <a:lnTo>
                    <a:pt x="2277" y="2514"/>
                  </a:lnTo>
                  <a:lnTo>
                    <a:pt x="2267" y="2517"/>
                  </a:lnTo>
                  <a:lnTo>
                    <a:pt x="2264" y="2520"/>
                  </a:lnTo>
                  <a:lnTo>
                    <a:pt x="2258" y="2530"/>
                  </a:lnTo>
                  <a:lnTo>
                    <a:pt x="2255" y="2539"/>
                  </a:lnTo>
                  <a:lnTo>
                    <a:pt x="2252" y="2548"/>
                  </a:lnTo>
                  <a:lnTo>
                    <a:pt x="2249" y="2558"/>
                  </a:lnTo>
                  <a:lnTo>
                    <a:pt x="2242" y="2564"/>
                  </a:lnTo>
                  <a:lnTo>
                    <a:pt x="2227" y="2577"/>
                  </a:lnTo>
                  <a:lnTo>
                    <a:pt x="2205" y="2589"/>
                  </a:lnTo>
                  <a:lnTo>
                    <a:pt x="2186" y="2592"/>
                  </a:lnTo>
                  <a:lnTo>
                    <a:pt x="2180" y="2589"/>
                  </a:lnTo>
                  <a:lnTo>
                    <a:pt x="2174" y="2583"/>
                  </a:lnTo>
                  <a:lnTo>
                    <a:pt x="2164" y="2573"/>
                  </a:lnTo>
                  <a:lnTo>
                    <a:pt x="2158" y="2567"/>
                  </a:lnTo>
                  <a:lnTo>
                    <a:pt x="2149" y="2558"/>
                  </a:lnTo>
                  <a:lnTo>
                    <a:pt x="2142" y="2555"/>
                  </a:lnTo>
                  <a:lnTo>
                    <a:pt x="2127" y="2548"/>
                  </a:lnTo>
                  <a:lnTo>
                    <a:pt x="2108" y="2542"/>
                  </a:lnTo>
                  <a:lnTo>
                    <a:pt x="2089" y="2542"/>
                  </a:lnTo>
                  <a:lnTo>
                    <a:pt x="2074" y="2542"/>
                  </a:lnTo>
                  <a:lnTo>
                    <a:pt x="2052" y="2548"/>
                  </a:lnTo>
                  <a:lnTo>
                    <a:pt x="2036" y="2555"/>
                  </a:lnTo>
                  <a:lnTo>
                    <a:pt x="2030" y="2561"/>
                  </a:lnTo>
                  <a:lnTo>
                    <a:pt x="2027" y="2567"/>
                  </a:lnTo>
                  <a:lnTo>
                    <a:pt x="2021" y="2577"/>
                  </a:lnTo>
                  <a:lnTo>
                    <a:pt x="2018" y="2586"/>
                  </a:lnTo>
                  <a:lnTo>
                    <a:pt x="2011" y="2595"/>
                  </a:lnTo>
                  <a:lnTo>
                    <a:pt x="2008" y="2602"/>
                  </a:lnTo>
                  <a:lnTo>
                    <a:pt x="1989" y="2614"/>
                  </a:lnTo>
                  <a:lnTo>
                    <a:pt x="1964" y="2623"/>
                  </a:lnTo>
                  <a:lnTo>
                    <a:pt x="1939" y="2630"/>
                  </a:lnTo>
                  <a:lnTo>
                    <a:pt x="1921" y="2633"/>
                  </a:lnTo>
                  <a:lnTo>
                    <a:pt x="1896" y="2630"/>
                  </a:lnTo>
                  <a:lnTo>
                    <a:pt x="1871" y="2617"/>
                  </a:lnTo>
                  <a:lnTo>
                    <a:pt x="1846" y="2608"/>
                  </a:lnTo>
                  <a:lnTo>
                    <a:pt x="1821" y="2602"/>
                  </a:lnTo>
                  <a:lnTo>
                    <a:pt x="1786" y="2595"/>
                  </a:lnTo>
                  <a:lnTo>
                    <a:pt x="1758" y="2595"/>
                  </a:lnTo>
                  <a:lnTo>
                    <a:pt x="1736" y="2602"/>
                  </a:lnTo>
                  <a:lnTo>
                    <a:pt x="1711" y="2611"/>
                  </a:lnTo>
                  <a:lnTo>
                    <a:pt x="1690" y="2620"/>
                  </a:lnTo>
                  <a:lnTo>
                    <a:pt x="1674" y="2630"/>
                  </a:lnTo>
                  <a:lnTo>
                    <a:pt x="1652" y="2642"/>
                  </a:lnTo>
                  <a:lnTo>
                    <a:pt x="1630" y="2645"/>
                  </a:lnTo>
                  <a:lnTo>
                    <a:pt x="1624" y="2645"/>
                  </a:lnTo>
                  <a:lnTo>
                    <a:pt x="1612" y="2642"/>
                  </a:lnTo>
                  <a:lnTo>
                    <a:pt x="1602" y="2636"/>
                  </a:lnTo>
                  <a:lnTo>
                    <a:pt x="1593" y="2630"/>
                  </a:lnTo>
                  <a:lnTo>
                    <a:pt x="1587" y="2620"/>
                  </a:lnTo>
                  <a:lnTo>
                    <a:pt x="1580" y="2605"/>
                  </a:lnTo>
                  <a:lnTo>
                    <a:pt x="1580" y="2586"/>
                  </a:lnTo>
                  <a:lnTo>
                    <a:pt x="1587" y="2567"/>
                  </a:lnTo>
                  <a:lnTo>
                    <a:pt x="1602" y="2555"/>
                  </a:lnTo>
                  <a:lnTo>
                    <a:pt x="1624" y="2539"/>
                  </a:lnTo>
                  <a:lnTo>
                    <a:pt x="1640" y="2527"/>
                  </a:lnTo>
                  <a:lnTo>
                    <a:pt x="1646" y="2505"/>
                  </a:lnTo>
                  <a:lnTo>
                    <a:pt x="1646" y="2480"/>
                  </a:lnTo>
                  <a:lnTo>
                    <a:pt x="1643" y="2458"/>
                  </a:lnTo>
                  <a:lnTo>
                    <a:pt x="1640" y="2436"/>
                  </a:lnTo>
                  <a:lnTo>
                    <a:pt x="1633" y="2408"/>
                  </a:lnTo>
                  <a:lnTo>
                    <a:pt x="1624" y="2383"/>
                  </a:lnTo>
                  <a:lnTo>
                    <a:pt x="1612" y="2364"/>
                  </a:lnTo>
                  <a:lnTo>
                    <a:pt x="1596" y="2355"/>
                  </a:lnTo>
                  <a:lnTo>
                    <a:pt x="1574" y="2352"/>
                  </a:lnTo>
                  <a:lnTo>
                    <a:pt x="1552" y="2349"/>
                  </a:lnTo>
                  <a:lnTo>
                    <a:pt x="1537" y="2342"/>
                  </a:lnTo>
                  <a:lnTo>
                    <a:pt x="1534" y="2327"/>
                  </a:lnTo>
                  <a:lnTo>
                    <a:pt x="1534" y="2305"/>
                  </a:lnTo>
                  <a:lnTo>
                    <a:pt x="1537" y="2283"/>
                  </a:lnTo>
                  <a:lnTo>
                    <a:pt x="1537" y="2264"/>
                  </a:lnTo>
                  <a:lnTo>
                    <a:pt x="1534" y="2246"/>
                  </a:lnTo>
                  <a:lnTo>
                    <a:pt x="1527" y="2224"/>
                  </a:lnTo>
                  <a:lnTo>
                    <a:pt x="1518" y="2205"/>
                  </a:lnTo>
                  <a:lnTo>
                    <a:pt x="1505" y="2189"/>
                  </a:lnTo>
                  <a:lnTo>
                    <a:pt x="1490" y="2186"/>
                  </a:lnTo>
                  <a:lnTo>
                    <a:pt x="1471" y="2189"/>
                  </a:lnTo>
                  <a:lnTo>
                    <a:pt x="1452" y="2192"/>
                  </a:lnTo>
                  <a:lnTo>
                    <a:pt x="1430" y="2192"/>
                  </a:lnTo>
                  <a:lnTo>
                    <a:pt x="1418" y="2189"/>
                  </a:lnTo>
                  <a:lnTo>
                    <a:pt x="1409" y="2180"/>
                  </a:lnTo>
                  <a:lnTo>
                    <a:pt x="1402" y="2164"/>
                  </a:lnTo>
                  <a:lnTo>
                    <a:pt x="1396" y="2149"/>
                  </a:lnTo>
                  <a:lnTo>
                    <a:pt x="1387" y="2139"/>
                  </a:lnTo>
                  <a:lnTo>
                    <a:pt x="1371" y="2133"/>
                  </a:lnTo>
                  <a:lnTo>
                    <a:pt x="1349" y="2133"/>
                  </a:lnTo>
                  <a:lnTo>
                    <a:pt x="1334" y="2139"/>
                  </a:lnTo>
                  <a:lnTo>
                    <a:pt x="1331" y="2142"/>
                  </a:lnTo>
                  <a:lnTo>
                    <a:pt x="1331" y="2152"/>
                  </a:lnTo>
                  <a:lnTo>
                    <a:pt x="1327" y="2158"/>
                  </a:lnTo>
                  <a:lnTo>
                    <a:pt x="1324" y="2167"/>
                  </a:lnTo>
                  <a:lnTo>
                    <a:pt x="1324" y="2174"/>
                  </a:lnTo>
                  <a:lnTo>
                    <a:pt x="1312" y="2186"/>
                  </a:lnTo>
                  <a:lnTo>
                    <a:pt x="1296" y="2202"/>
                  </a:lnTo>
                  <a:lnTo>
                    <a:pt x="1277" y="2214"/>
                  </a:lnTo>
                  <a:lnTo>
                    <a:pt x="1262" y="2221"/>
                  </a:lnTo>
                  <a:lnTo>
                    <a:pt x="1252" y="2217"/>
                  </a:lnTo>
                  <a:lnTo>
                    <a:pt x="1246" y="2211"/>
                  </a:lnTo>
                  <a:lnTo>
                    <a:pt x="1237" y="2202"/>
                  </a:lnTo>
                  <a:lnTo>
                    <a:pt x="1231" y="2192"/>
                  </a:lnTo>
                  <a:lnTo>
                    <a:pt x="1221" y="2183"/>
                  </a:lnTo>
                  <a:lnTo>
                    <a:pt x="1215" y="2174"/>
                  </a:lnTo>
                  <a:lnTo>
                    <a:pt x="1196" y="2158"/>
                  </a:lnTo>
                  <a:lnTo>
                    <a:pt x="1174" y="2139"/>
                  </a:lnTo>
                  <a:lnTo>
                    <a:pt x="1156" y="2127"/>
                  </a:lnTo>
                  <a:lnTo>
                    <a:pt x="1137" y="2127"/>
                  </a:lnTo>
                  <a:lnTo>
                    <a:pt x="1118" y="2133"/>
                  </a:lnTo>
                  <a:lnTo>
                    <a:pt x="1103" y="2139"/>
                  </a:lnTo>
                  <a:lnTo>
                    <a:pt x="1099" y="2146"/>
                  </a:lnTo>
                  <a:lnTo>
                    <a:pt x="1099" y="2155"/>
                  </a:lnTo>
                  <a:lnTo>
                    <a:pt x="1103" y="2164"/>
                  </a:lnTo>
                  <a:lnTo>
                    <a:pt x="1103" y="2171"/>
                  </a:lnTo>
                  <a:lnTo>
                    <a:pt x="1103" y="2180"/>
                  </a:lnTo>
                  <a:lnTo>
                    <a:pt x="1103" y="2186"/>
                  </a:lnTo>
                  <a:lnTo>
                    <a:pt x="1099" y="2192"/>
                  </a:lnTo>
                  <a:lnTo>
                    <a:pt x="1093" y="2199"/>
                  </a:lnTo>
                  <a:lnTo>
                    <a:pt x="1087" y="2205"/>
                  </a:lnTo>
                  <a:lnTo>
                    <a:pt x="1078" y="2211"/>
                  </a:lnTo>
                  <a:lnTo>
                    <a:pt x="1071" y="2214"/>
                  </a:lnTo>
                  <a:lnTo>
                    <a:pt x="1056" y="2217"/>
                  </a:lnTo>
                  <a:lnTo>
                    <a:pt x="1034" y="2217"/>
                  </a:lnTo>
                  <a:lnTo>
                    <a:pt x="1015" y="2214"/>
                  </a:lnTo>
                  <a:lnTo>
                    <a:pt x="1000" y="2214"/>
                  </a:lnTo>
                  <a:lnTo>
                    <a:pt x="981" y="2214"/>
                  </a:lnTo>
                  <a:lnTo>
                    <a:pt x="965" y="2214"/>
                  </a:lnTo>
                  <a:lnTo>
                    <a:pt x="953" y="2217"/>
                  </a:lnTo>
                  <a:lnTo>
                    <a:pt x="946" y="2221"/>
                  </a:lnTo>
                  <a:lnTo>
                    <a:pt x="946" y="2230"/>
                  </a:lnTo>
                  <a:lnTo>
                    <a:pt x="943" y="2236"/>
                  </a:lnTo>
                  <a:lnTo>
                    <a:pt x="943" y="2246"/>
                  </a:lnTo>
                  <a:lnTo>
                    <a:pt x="940" y="2252"/>
                  </a:lnTo>
                  <a:lnTo>
                    <a:pt x="937" y="2255"/>
                  </a:lnTo>
                  <a:lnTo>
                    <a:pt x="928" y="2258"/>
                  </a:lnTo>
                  <a:lnTo>
                    <a:pt x="918" y="2261"/>
                  </a:lnTo>
                  <a:lnTo>
                    <a:pt x="909" y="2261"/>
                  </a:lnTo>
                  <a:lnTo>
                    <a:pt x="900" y="2264"/>
                  </a:lnTo>
                  <a:lnTo>
                    <a:pt x="890" y="2264"/>
                  </a:lnTo>
                  <a:lnTo>
                    <a:pt x="868" y="2264"/>
                  </a:lnTo>
                  <a:lnTo>
                    <a:pt x="843" y="2267"/>
                  </a:lnTo>
                  <a:lnTo>
                    <a:pt x="825" y="2261"/>
                  </a:lnTo>
                  <a:lnTo>
                    <a:pt x="818" y="2255"/>
                  </a:lnTo>
                  <a:lnTo>
                    <a:pt x="815" y="2249"/>
                  </a:lnTo>
                  <a:lnTo>
                    <a:pt x="812" y="2239"/>
                  </a:lnTo>
                  <a:lnTo>
                    <a:pt x="812" y="2230"/>
                  </a:lnTo>
                  <a:lnTo>
                    <a:pt x="812" y="2224"/>
                  </a:lnTo>
                  <a:lnTo>
                    <a:pt x="818" y="2214"/>
                  </a:lnTo>
                  <a:lnTo>
                    <a:pt x="822" y="2205"/>
                  </a:lnTo>
                  <a:lnTo>
                    <a:pt x="828" y="2196"/>
                  </a:lnTo>
                  <a:lnTo>
                    <a:pt x="831" y="2189"/>
                  </a:lnTo>
                  <a:lnTo>
                    <a:pt x="834" y="2167"/>
                  </a:lnTo>
                  <a:lnTo>
                    <a:pt x="834" y="2146"/>
                  </a:lnTo>
                  <a:lnTo>
                    <a:pt x="831" y="2127"/>
                  </a:lnTo>
                  <a:lnTo>
                    <a:pt x="815" y="2108"/>
                  </a:lnTo>
                  <a:lnTo>
                    <a:pt x="793" y="2089"/>
                  </a:lnTo>
                  <a:lnTo>
                    <a:pt x="778" y="2074"/>
                  </a:lnTo>
                  <a:lnTo>
                    <a:pt x="775" y="2055"/>
                  </a:lnTo>
                  <a:lnTo>
                    <a:pt x="778" y="2030"/>
                  </a:lnTo>
                  <a:lnTo>
                    <a:pt x="781" y="2005"/>
                  </a:lnTo>
                  <a:lnTo>
                    <a:pt x="778" y="1983"/>
                  </a:lnTo>
                  <a:lnTo>
                    <a:pt x="772" y="1958"/>
                  </a:lnTo>
                  <a:lnTo>
                    <a:pt x="762" y="1930"/>
                  </a:lnTo>
                  <a:lnTo>
                    <a:pt x="750" y="1899"/>
                  </a:lnTo>
                  <a:lnTo>
                    <a:pt x="734" y="1880"/>
                  </a:lnTo>
                  <a:lnTo>
                    <a:pt x="722" y="1874"/>
                  </a:lnTo>
                  <a:lnTo>
                    <a:pt x="706" y="1874"/>
                  </a:lnTo>
                  <a:lnTo>
                    <a:pt x="687" y="1871"/>
                  </a:lnTo>
                  <a:lnTo>
                    <a:pt x="672" y="1868"/>
                  </a:lnTo>
                  <a:lnTo>
                    <a:pt x="656" y="1852"/>
                  </a:lnTo>
                  <a:lnTo>
                    <a:pt x="637" y="1830"/>
                  </a:lnTo>
                  <a:lnTo>
                    <a:pt x="619" y="1818"/>
                  </a:lnTo>
                  <a:lnTo>
                    <a:pt x="603" y="1815"/>
                  </a:lnTo>
                  <a:lnTo>
                    <a:pt x="581" y="1818"/>
                  </a:lnTo>
                  <a:lnTo>
                    <a:pt x="565" y="1818"/>
                  </a:lnTo>
                  <a:lnTo>
                    <a:pt x="547" y="1812"/>
                  </a:lnTo>
                  <a:lnTo>
                    <a:pt x="525" y="1802"/>
                  </a:lnTo>
                  <a:lnTo>
                    <a:pt x="509" y="1793"/>
                  </a:lnTo>
                  <a:lnTo>
                    <a:pt x="500" y="1774"/>
                  </a:lnTo>
                  <a:lnTo>
                    <a:pt x="487" y="1749"/>
                  </a:lnTo>
                  <a:lnTo>
                    <a:pt x="484" y="1724"/>
                  </a:lnTo>
                  <a:lnTo>
                    <a:pt x="487" y="1705"/>
                  </a:lnTo>
                  <a:lnTo>
                    <a:pt x="494" y="1680"/>
                  </a:lnTo>
                  <a:lnTo>
                    <a:pt x="500" y="1652"/>
                  </a:lnTo>
                  <a:lnTo>
                    <a:pt x="497" y="1634"/>
                  </a:lnTo>
                  <a:lnTo>
                    <a:pt x="494" y="1624"/>
                  </a:lnTo>
                  <a:lnTo>
                    <a:pt x="484" y="1618"/>
                  </a:lnTo>
                  <a:lnTo>
                    <a:pt x="472" y="1609"/>
                  </a:lnTo>
                  <a:lnTo>
                    <a:pt x="462" y="1602"/>
                  </a:lnTo>
                  <a:lnTo>
                    <a:pt x="453" y="1599"/>
                  </a:lnTo>
                  <a:lnTo>
                    <a:pt x="428" y="1584"/>
                  </a:lnTo>
                  <a:lnTo>
                    <a:pt x="400" y="1568"/>
                  </a:lnTo>
                  <a:lnTo>
                    <a:pt x="378" y="1552"/>
                  </a:lnTo>
                  <a:lnTo>
                    <a:pt x="372" y="1534"/>
                  </a:lnTo>
                  <a:lnTo>
                    <a:pt x="372" y="1512"/>
                  </a:lnTo>
                  <a:lnTo>
                    <a:pt x="369" y="1487"/>
                  </a:lnTo>
                  <a:lnTo>
                    <a:pt x="366" y="1471"/>
                  </a:lnTo>
                  <a:lnTo>
                    <a:pt x="350" y="1449"/>
                  </a:lnTo>
                  <a:lnTo>
                    <a:pt x="328" y="1431"/>
                  </a:lnTo>
                  <a:lnTo>
                    <a:pt x="309" y="1415"/>
                  </a:lnTo>
                  <a:lnTo>
                    <a:pt x="303" y="1409"/>
                  </a:lnTo>
                  <a:lnTo>
                    <a:pt x="294" y="1406"/>
                  </a:lnTo>
                  <a:lnTo>
                    <a:pt x="284" y="1399"/>
                  </a:lnTo>
                  <a:lnTo>
                    <a:pt x="275" y="1396"/>
                  </a:lnTo>
                  <a:lnTo>
                    <a:pt x="272" y="1390"/>
                  </a:lnTo>
                  <a:lnTo>
                    <a:pt x="263" y="1374"/>
                  </a:lnTo>
                  <a:lnTo>
                    <a:pt x="256" y="1349"/>
                  </a:lnTo>
                  <a:lnTo>
                    <a:pt x="250" y="1328"/>
                  </a:lnTo>
                  <a:lnTo>
                    <a:pt x="244" y="1309"/>
                  </a:lnTo>
                  <a:lnTo>
                    <a:pt x="234" y="1303"/>
                  </a:lnTo>
                  <a:lnTo>
                    <a:pt x="228" y="1296"/>
                  </a:lnTo>
                  <a:lnTo>
                    <a:pt x="216" y="1290"/>
                  </a:lnTo>
                  <a:lnTo>
                    <a:pt x="206" y="1284"/>
                  </a:lnTo>
                  <a:lnTo>
                    <a:pt x="197" y="1278"/>
                  </a:lnTo>
                  <a:lnTo>
                    <a:pt x="194" y="1271"/>
                  </a:lnTo>
                  <a:lnTo>
                    <a:pt x="194" y="1253"/>
                  </a:lnTo>
                  <a:lnTo>
                    <a:pt x="200" y="1231"/>
                  </a:lnTo>
                  <a:lnTo>
                    <a:pt x="213" y="1206"/>
                  </a:lnTo>
                  <a:lnTo>
                    <a:pt x="222" y="1184"/>
                  </a:lnTo>
                  <a:lnTo>
                    <a:pt x="225" y="1165"/>
                  </a:lnTo>
                  <a:lnTo>
                    <a:pt x="222" y="1143"/>
                  </a:lnTo>
                  <a:lnTo>
                    <a:pt x="213" y="1115"/>
                  </a:lnTo>
                  <a:lnTo>
                    <a:pt x="203" y="1090"/>
                  </a:lnTo>
                  <a:lnTo>
                    <a:pt x="194" y="1068"/>
                  </a:lnTo>
                  <a:lnTo>
                    <a:pt x="184" y="1053"/>
                  </a:lnTo>
                  <a:lnTo>
                    <a:pt x="172" y="1034"/>
                  </a:lnTo>
                  <a:lnTo>
                    <a:pt x="163" y="1015"/>
                  </a:lnTo>
                  <a:lnTo>
                    <a:pt x="163" y="997"/>
                  </a:lnTo>
                  <a:lnTo>
                    <a:pt x="169" y="972"/>
                  </a:lnTo>
                  <a:lnTo>
                    <a:pt x="175" y="950"/>
                  </a:lnTo>
                  <a:lnTo>
                    <a:pt x="175" y="931"/>
                  </a:lnTo>
                  <a:lnTo>
                    <a:pt x="175" y="912"/>
                  </a:lnTo>
                  <a:lnTo>
                    <a:pt x="169" y="887"/>
                  </a:lnTo>
                  <a:lnTo>
                    <a:pt x="163" y="868"/>
                  </a:lnTo>
                  <a:lnTo>
                    <a:pt x="150" y="853"/>
                  </a:lnTo>
                  <a:lnTo>
                    <a:pt x="131" y="831"/>
                  </a:lnTo>
                  <a:lnTo>
                    <a:pt x="113" y="812"/>
                  </a:lnTo>
                  <a:lnTo>
                    <a:pt x="103" y="794"/>
                  </a:lnTo>
                  <a:lnTo>
                    <a:pt x="100" y="775"/>
                  </a:lnTo>
                  <a:lnTo>
                    <a:pt x="103" y="750"/>
                  </a:lnTo>
                  <a:lnTo>
                    <a:pt x="103" y="731"/>
                  </a:lnTo>
                  <a:lnTo>
                    <a:pt x="94" y="715"/>
                  </a:lnTo>
                  <a:lnTo>
                    <a:pt x="81" y="694"/>
                  </a:lnTo>
                  <a:lnTo>
                    <a:pt x="66" y="675"/>
                  </a:lnTo>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60" name="Freeform 47">
              <a:extLst>
                <a:ext uri="{FF2B5EF4-FFF2-40B4-BE49-F238E27FC236}">
                  <a16:creationId xmlns:a16="http://schemas.microsoft.com/office/drawing/2014/main" id="{388EA94A-B298-4CE8-A6A6-C0B128A82982}"/>
                </a:ext>
              </a:extLst>
            </p:cNvPr>
            <p:cNvSpPr>
              <a:spLocks/>
            </p:cNvSpPr>
            <p:nvPr/>
          </p:nvSpPr>
          <p:spPr bwMode="auto">
            <a:xfrm>
              <a:off x="15354301" y="-13979525"/>
              <a:ext cx="4229100" cy="5230813"/>
            </a:xfrm>
            <a:custGeom>
              <a:avLst/>
              <a:gdLst>
                <a:gd name="T0" fmla="*/ 2427 w 2664"/>
                <a:gd name="T1" fmla="*/ 2130 h 3295"/>
                <a:gd name="T2" fmla="*/ 2370 w 2664"/>
                <a:gd name="T3" fmla="*/ 2349 h 3295"/>
                <a:gd name="T4" fmla="*/ 2145 w 2664"/>
                <a:gd name="T5" fmla="*/ 2398 h 3295"/>
                <a:gd name="T6" fmla="*/ 2127 w 2664"/>
                <a:gd name="T7" fmla="*/ 2545 h 3295"/>
                <a:gd name="T8" fmla="*/ 2161 w 2664"/>
                <a:gd name="T9" fmla="*/ 2630 h 3295"/>
                <a:gd name="T10" fmla="*/ 2092 w 2664"/>
                <a:gd name="T11" fmla="*/ 2745 h 3295"/>
                <a:gd name="T12" fmla="*/ 2077 w 2664"/>
                <a:gd name="T13" fmla="*/ 2854 h 3295"/>
                <a:gd name="T14" fmla="*/ 1958 w 2664"/>
                <a:gd name="T15" fmla="*/ 2973 h 3295"/>
                <a:gd name="T16" fmla="*/ 1789 w 2664"/>
                <a:gd name="T17" fmla="*/ 3114 h 3295"/>
                <a:gd name="T18" fmla="*/ 1674 w 2664"/>
                <a:gd name="T19" fmla="*/ 3070 h 3295"/>
                <a:gd name="T20" fmla="*/ 1443 w 2664"/>
                <a:gd name="T21" fmla="*/ 3123 h 3295"/>
                <a:gd name="T22" fmla="*/ 1206 w 2664"/>
                <a:gd name="T23" fmla="*/ 3217 h 3295"/>
                <a:gd name="T24" fmla="*/ 1065 w 2664"/>
                <a:gd name="T25" fmla="*/ 3285 h 3295"/>
                <a:gd name="T26" fmla="*/ 990 w 2664"/>
                <a:gd name="T27" fmla="*/ 3213 h 3295"/>
                <a:gd name="T28" fmla="*/ 1009 w 2664"/>
                <a:gd name="T29" fmla="*/ 3029 h 3295"/>
                <a:gd name="T30" fmla="*/ 918 w 2664"/>
                <a:gd name="T31" fmla="*/ 3001 h 3295"/>
                <a:gd name="T32" fmla="*/ 818 w 2664"/>
                <a:gd name="T33" fmla="*/ 2876 h 3295"/>
                <a:gd name="T34" fmla="*/ 787 w 2664"/>
                <a:gd name="T35" fmla="*/ 2789 h 3295"/>
                <a:gd name="T36" fmla="*/ 740 w 2664"/>
                <a:gd name="T37" fmla="*/ 2798 h 3295"/>
                <a:gd name="T38" fmla="*/ 603 w 2664"/>
                <a:gd name="T39" fmla="*/ 2789 h 3295"/>
                <a:gd name="T40" fmla="*/ 465 w 2664"/>
                <a:gd name="T41" fmla="*/ 2714 h 3295"/>
                <a:gd name="T42" fmla="*/ 512 w 2664"/>
                <a:gd name="T43" fmla="*/ 2558 h 3295"/>
                <a:gd name="T44" fmla="*/ 431 w 2664"/>
                <a:gd name="T45" fmla="*/ 2383 h 3295"/>
                <a:gd name="T46" fmla="*/ 506 w 2664"/>
                <a:gd name="T47" fmla="*/ 2274 h 3295"/>
                <a:gd name="T48" fmla="*/ 459 w 2664"/>
                <a:gd name="T49" fmla="*/ 2064 h 3295"/>
                <a:gd name="T50" fmla="*/ 406 w 2664"/>
                <a:gd name="T51" fmla="*/ 1924 h 3295"/>
                <a:gd name="T52" fmla="*/ 425 w 2664"/>
                <a:gd name="T53" fmla="*/ 1818 h 3295"/>
                <a:gd name="T54" fmla="*/ 334 w 2664"/>
                <a:gd name="T55" fmla="*/ 1708 h 3295"/>
                <a:gd name="T56" fmla="*/ 353 w 2664"/>
                <a:gd name="T57" fmla="*/ 1518 h 3295"/>
                <a:gd name="T58" fmla="*/ 534 w 2664"/>
                <a:gd name="T59" fmla="*/ 1421 h 3295"/>
                <a:gd name="T60" fmla="*/ 550 w 2664"/>
                <a:gd name="T61" fmla="*/ 1362 h 3295"/>
                <a:gd name="T62" fmla="*/ 422 w 2664"/>
                <a:gd name="T63" fmla="*/ 1396 h 3295"/>
                <a:gd name="T64" fmla="*/ 166 w 2664"/>
                <a:gd name="T65" fmla="*/ 1377 h 3295"/>
                <a:gd name="T66" fmla="*/ 0 w 2664"/>
                <a:gd name="T67" fmla="*/ 1206 h 3295"/>
                <a:gd name="T68" fmla="*/ 128 w 2664"/>
                <a:gd name="T69" fmla="*/ 975 h 3295"/>
                <a:gd name="T70" fmla="*/ 262 w 2664"/>
                <a:gd name="T71" fmla="*/ 756 h 3295"/>
                <a:gd name="T72" fmla="*/ 490 w 2664"/>
                <a:gd name="T73" fmla="*/ 619 h 3295"/>
                <a:gd name="T74" fmla="*/ 700 w 2664"/>
                <a:gd name="T75" fmla="*/ 534 h 3295"/>
                <a:gd name="T76" fmla="*/ 943 w 2664"/>
                <a:gd name="T77" fmla="*/ 434 h 3295"/>
                <a:gd name="T78" fmla="*/ 1243 w 2664"/>
                <a:gd name="T79" fmla="*/ 378 h 3295"/>
                <a:gd name="T80" fmla="*/ 1577 w 2664"/>
                <a:gd name="T81" fmla="*/ 297 h 3295"/>
                <a:gd name="T82" fmla="*/ 1849 w 2664"/>
                <a:gd name="T83" fmla="*/ 131 h 3295"/>
                <a:gd name="T84" fmla="*/ 2102 w 2664"/>
                <a:gd name="T85" fmla="*/ 35 h 3295"/>
                <a:gd name="T86" fmla="*/ 2308 w 2664"/>
                <a:gd name="T87" fmla="*/ 166 h 3295"/>
                <a:gd name="T88" fmla="*/ 2448 w 2664"/>
                <a:gd name="T89" fmla="*/ 356 h 3295"/>
                <a:gd name="T90" fmla="*/ 2508 w 2664"/>
                <a:gd name="T91" fmla="*/ 553 h 3295"/>
                <a:gd name="T92" fmla="*/ 2595 w 2664"/>
                <a:gd name="T93" fmla="*/ 734 h 3295"/>
                <a:gd name="T94" fmla="*/ 2476 w 2664"/>
                <a:gd name="T95" fmla="*/ 868 h 3295"/>
                <a:gd name="T96" fmla="*/ 2573 w 2664"/>
                <a:gd name="T97" fmla="*/ 872 h 3295"/>
                <a:gd name="T98" fmla="*/ 2555 w 2664"/>
                <a:gd name="T99" fmla="*/ 975 h 3295"/>
                <a:gd name="T100" fmla="*/ 2501 w 2664"/>
                <a:gd name="T101" fmla="*/ 1112 h 3295"/>
                <a:gd name="T102" fmla="*/ 2542 w 2664"/>
                <a:gd name="T103" fmla="*/ 1306 h 3295"/>
                <a:gd name="T104" fmla="*/ 2639 w 2664"/>
                <a:gd name="T105" fmla="*/ 1402 h 3295"/>
                <a:gd name="T106" fmla="*/ 2539 w 2664"/>
                <a:gd name="T107" fmla="*/ 1593 h 3295"/>
                <a:gd name="T108" fmla="*/ 2617 w 2664"/>
                <a:gd name="T109" fmla="*/ 1815 h 3295"/>
                <a:gd name="T110" fmla="*/ 2664 w 2664"/>
                <a:gd name="T111" fmla="*/ 1924 h 3295"/>
                <a:gd name="T112" fmla="*/ 2589 w 2664"/>
                <a:gd name="T113" fmla="*/ 1908 h 3295"/>
                <a:gd name="T114" fmla="*/ 2514 w 2664"/>
                <a:gd name="T115" fmla="*/ 1952 h 3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64" h="3295">
                  <a:moveTo>
                    <a:pt x="2492" y="1989"/>
                  </a:moveTo>
                  <a:lnTo>
                    <a:pt x="2480" y="1999"/>
                  </a:lnTo>
                  <a:lnTo>
                    <a:pt x="2470" y="2008"/>
                  </a:lnTo>
                  <a:lnTo>
                    <a:pt x="2464" y="2018"/>
                  </a:lnTo>
                  <a:lnTo>
                    <a:pt x="2458" y="2042"/>
                  </a:lnTo>
                  <a:lnTo>
                    <a:pt x="2452" y="2071"/>
                  </a:lnTo>
                  <a:lnTo>
                    <a:pt x="2445" y="2096"/>
                  </a:lnTo>
                  <a:lnTo>
                    <a:pt x="2436" y="2111"/>
                  </a:lnTo>
                  <a:lnTo>
                    <a:pt x="2427" y="2130"/>
                  </a:lnTo>
                  <a:lnTo>
                    <a:pt x="2417" y="2149"/>
                  </a:lnTo>
                  <a:lnTo>
                    <a:pt x="2417" y="2171"/>
                  </a:lnTo>
                  <a:lnTo>
                    <a:pt x="2420" y="2202"/>
                  </a:lnTo>
                  <a:lnTo>
                    <a:pt x="2423" y="2230"/>
                  </a:lnTo>
                  <a:lnTo>
                    <a:pt x="2423" y="2252"/>
                  </a:lnTo>
                  <a:lnTo>
                    <a:pt x="2414" y="2277"/>
                  </a:lnTo>
                  <a:lnTo>
                    <a:pt x="2402" y="2305"/>
                  </a:lnTo>
                  <a:lnTo>
                    <a:pt x="2389" y="2327"/>
                  </a:lnTo>
                  <a:lnTo>
                    <a:pt x="2370" y="2349"/>
                  </a:lnTo>
                  <a:lnTo>
                    <a:pt x="2348" y="2373"/>
                  </a:lnTo>
                  <a:lnTo>
                    <a:pt x="2327" y="2389"/>
                  </a:lnTo>
                  <a:lnTo>
                    <a:pt x="2305" y="2392"/>
                  </a:lnTo>
                  <a:lnTo>
                    <a:pt x="2280" y="2389"/>
                  </a:lnTo>
                  <a:lnTo>
                    <a:pt x="2258" y="2389"/>
                  </a:lnTo>
                  <a:lnTo>
                    <a:pt x="2233" y="2389"/>
                  </a:lnTo>
                  <a:lnTo>
                    <a:pt x="2202" y="2386"/>
                  </a:lnTo>
                  <a:lnTo>
                    <a:pt x="2170" y="2389"/>
                  </a:lnTo>
                  <a:lnTo>
                    <a:pt x="2145" y="2398"/>
                  </a:lnTo>
                  <a:lnTo>
                    <a:pt x="2133" y="2417"/>
                  </a:lnTo>
                  <a:lnTo>
                    <a:pt x="2124" y="2445"/>
                  </a:lnTo>
                  <a:lnTo>
                    <a:pt x="2117" y="2477"/>
                  </a:lnTo>
                  <a:lnTo>
                    <a:pt x="2114" y="2502"/>
                  </a:lnTo>
                  <a:lnTo>
                    <a:pt x="2114" y="2508"/>
                  </a:lnTo>
                  <a:lnTo>
                    <a:pt x="2114" y="2520"/>
                  </a:lnTo>
                  <a:lnTo>
                    <a:pt x="2117" y="2530"/>
                  </a:lnTo>
                  <a:lnTo>
                    <a:pt x="2121" y="2539"/>
                  </a:lnTo>
                  <a:lnTo>
                    <a:pt x="2127" y="2545"/>
                  </a:lnTo>
                  <a:lnTo>
                    <a:pt x="2133" y="2551"/>
                  </a:lnTo>
                  <a:lnTo>
                    <a:pt x="2139" y="2555"/>
                  </a:lnTo>
                  <a:lnTo>
                    <a:pt x="2149" y="2558"/>
                  </a:lnTo>
                  <a:lnTo>
                    <a:pt x="2158" y="2561"/>
                  </a:lnTo>
                  <a:lnTo>
                    <a:pt x="2161" y="2564"/>
                  </a:lnTo>
                  <a:lnTo>
                    <a:pt x="2164" y="2580"/>
                  </a:lnTo>
                  <a:lnTo>
                    <a:pt x="2164" y="2598"/>
                  </a:lnTo>
                  <a:lnTo>
                    <a:pt x="2161" y="2617"/>
                  </a:lnTo>
                  <a:lnTo>
                    <a:pt x="2161" y="2630"/>
                  </a:lnTo>
                  <a:lnTo>
                    <a:pt x="2167" y="2642"/>
                  </a:lnTo>
                  <a:lnTo>
                    <a:pt x="2174" y="2651"/>
                  </a:lnTo>
                  <a:lnTo>
                    <a:pt x="2180" y="2664"/>
                  </a:lnTo>
                  <a:lnTo>
                    <a:pt x="2158" y="2673"/>
                  </a:lnTo>
                  <a:lnTo>
                    <a:pt x="2139" y="2683"/>
                  </a:lnTo>
                  <a:lnTo>
                    <a:pt x="2124" y="2695"/>
                  </a:lnTo>
                  <a:lnTo>
                    <a:pt x="2111" y="2711"/>
                  </a:lnTo>
                  <a:lnTo>
                    <a:pt x="2099" y="2729"/>
                  </a:lnTo>
                  <a:lnTo>
                    <a:pt x="2092" y="2745"/>
                  </a:lnTo>
                  <a:lnTo>
                    <a:pt x="2096" y="2761"/>
                  </a:lnTo>
                  <a:lnTo>
                    <a:pt x="2102" y="2779"/>
                  </a:lnTo>
                  <a:lnTo>
                    <a:pt x="2108" y="2798"/>
                  </a:lnTo>
                  <a:lnTo>
                    <a:pt x="2108" y="2814"/>
                  </a:lnTo>
                  <a:lnTo>
                    <a:pt x="2105" y="2820"/>
                  </a:lnTo>
                  <a:lnTo>
                    <a:pt x="2102" y="2829"/>
                  </a:lnTo>
                  <a:lnTo>
                    <a:pt x="2092" y="2839"/>
                  </a:lnTo>
                  <a:lnTo>
                    <a:pt x="2086" y="2848"/>
                  </a:lnTo>
                  <a:lnTo>
                    <a:pt x="2077" y="2854"/>
                  </a:lnTo>
                  <a:lnTo>
                    <a:pt x="2071" y="2861"/>
                  </a:lnTo>
                  <a:lnTo>
                    <a:pt x="2055" y="2870"/>
                  </a:lnTo>
                  <a:lnTo>
                    <a:pt x="2030" y="2873"/>
                  </a:lnTo>
                  <a:lnTo>
                    <a:pt x="2008" y="2879"/>
                  </a:lnTo>
                  <a:lnTo>
                    <a:pt x="1992" y="2889"/>
                  </a:lnTo>
                  <a:lnTo>
                    <a:pt x="1980" y="2907"/>
                  </a:lnTo>
                  <a:lnTo>
                    <a:pt x="1974" y="2929"/>
                  </a:lnTo>
                  <a:lnTo>
                    <a:pt x="1964" y="2954"/>
                  </a:lnTo>
                  <a:lnTo>
                    <a:pt x="1958" y="2973"/>
                  </a:lnTo>
                  <a:lnTo>
                    <a:pt x="1949" y="2992"/>
                  </a:lnTo>
                  <a:lnTo>
                    <a:pt x="1939" y="3017"/>
                  </a:lnTo>
                  <a:lnTo>
                    <a:pt x="1930" y="3035"/>
                  </a:lnTo>
                  <a:lnTo>
                    <a:pt x="1908" y="3054"/>
                  </a:lnTo>
                  <a:lnTo>
                    <a:pt x="1883" y="3070"/>
                  </a:lnTo>
                  <a:lnTo>
                    <a:pt x="1855" y="3085"/>
                  </a:lnTo>
                  <a:lnTo>
                    <a:pt x="1830" y="3098"/>
                  </a:lnTo>
                  <a:lnTo>
                    <a:pt x="1811" y="3107"/>
                  </a:lnTo>
                  <a:lnTo>
                    <a:pt x="1789" y="3114"/>
                  </a:lnTo>
                  <a:lnTo>
                    <a:pt x="1768" y="3114"/>
                  </a:lnTo>
                  <a:lnTo>
                    <a:pt x="1761" y="3110"/>
                  </a:lnTo>
                  <a:lnTo>
                    <a:pt x="1752" y="3101"/>
                  </a:lnTo>
                  <a:lnTo>
                    <a:pt x="1746" y="3092"/>
                  </a:lnTo>
                  <a:lnTo>
                    <a:pt x="1740" y="3082"/>
                  </a:lnTo>
                  <a:lnTo>
                    <a:pt x="1730" y="3076"/>
                  </a:lnTo>
                  <a:lnTo>
                    <a:pt x="1724" y="3070"/>
                  </a:lnTo>
                  <a:lnTo>
                    <a:pt x="1702" y="3067"/>
                  </a:lnTo>
                  <a:lnTo>
                    <a:pt x="1674" y="3070"/>
                  </a:lnTo>
                  <a:lnTo>
                    <a:pt x="1643" y="3076"/>
                  </a:lnTo>
                  <a:lnTo>
                    <a:pt x="1615" y="3082"/>
                  </a:lnTo>
                  <a:lnTo>
                    <a:pt x="1590" y="3089"/>
                  </a:lnTo>
                  <a:lnTo>
                    <a:pt x="1565" y="3089"/>
                  </a:lnTo>
                  <a:lnTo>
                    <a:pt x="1537" y="3089"/>
                  </a:lnTo>
                  <a:lnTo>
                    <a:pt x="1512" y="3092"/>
                  </a:lnTo>
                  <a:lnTo>
                    <a:pt x="1490" y="3101"/>
                  </a:lnTo>
                  <a:lnTo>
                    <a:pt x="1465" y="3114"/>
                  </a:lnTo>
                  <a:lnTo>
                    <a:pt x="1443" y="3123"/>
                  </a:lnTo>
                  <a:lnTo>
                    <a:pt x="1424" y="3139"/>
                  </a:lnTo>
                  <a:lnTo>
                    <a:pt x="1402" y="3160"/>
                  </a:lnTo>
                  <a:lnTo>
                    <a:pt x="1377" y="3182"/>
                  </a:lnTo>
                  <a:lnTo>
                    <a:pt x="1359" y="3195"/>
                  </a:lnTo>
                  <a:lnTo>
                    <a:pt x="1330" y="3201"/>
                  </a:lnTo>
                  <a:lnTo>
                    <a:pt x="1296" y="3201"/>
                  </a:lnTo>
                  <a:lnTo>
                    <a:pt x="1259" y="3201"/>
                  </a:lnTo>
                  <a:lnTo>
                    <a:pt x="1231" y="3207"/>
                  </a:lnTo>
                  <a:lnTo>
                    <a:pt x="1206" y="3217"/>
                  </a:lnTo>
                  <a:lnTo>
                    <a:pt x="1174" y="3235"/>
                  </a:lnTo>
                  <a:lnTo>
                    <a:pt x="1152" y="3251"/>
                  </a:lnTo>
                  <a:lnTo>
                    <a:pt x="1143" y="3263"/>
                  </a:lnTo>
                  <a:lnTo>
                    <a:pt x="1134" y="3276"/>
                  </a:lnTo>
                  <a:lnTo>
                    <a:pt x="1124" y="3292"/>
                  </a:lnTo>
                  <a:lnTo>
                    <a:pt x="1106" y="3295"/>
                  </a:lnTo>
                  <a:lnTo>
                    <a:pt x="1087" y="3295"/>
                  </a:lnTo>
                  <a:lnTo>
                    <a:pt x="1071" y="3292"/>
                  </a:lnTo>
                  <a:lnTo>
                    <a:pt x="1065" y="3285"/>
                  </a:lnTo>
                  <a:lnTo>
                    <a:pt x="1056" y="3276"/>
                  </a:lnTo>
                  <a:lnTo>
                    <a:pt x="1046" y="3263"/>
                  </a:lnTo>
                  <a:lnTo>
                    <a:pt x="1037" y="3254"/>
                  </a:lnTo>
                  <a:lnTo>
                    <a:pt x="1031" y="3245"/>
                  </a:lnTo>
                  <a:lnTo>
                    <a:pt x="1021" y="3242"/>
                  </a:lnTo>
                  <a:lnTo>
                    <a:pt x="1012" y="3235"/>
                  </a:lnTo>
                  <a:lnTo>
                    <a:pt x="1003" y="3229"/>
                  </a:lnTo>
                  <a:lnTo>
                    <a:pt x="996" y="3220"/>
                  </a:lnTo>
                  <a:lnTo>
                    <a:pt x="990" y="3213"/>
                  </a:lnTo>
                  <a:lnTo>
                    <a:pt x="984" y="3192"/>
                  </a:lnTo>
                  <a:lnTo>
                    <a:pt x="987" y="3164"/>
                  </a:lnTo>
                  <a:lnTo>
                    <a:pt x="990" y="3142"/>
                  </a:lnTo>
                  <a:lnTo>
                    <a:pt x="1003" y="3126"/>
                  </a:lnTo>
                  <a:lnTo>
                    <a:pt x="1018" y="3104"/>
                  </a:lnTo>
                  <a:lnTo>
                    <a:pt x="1028" y="3089"/>
                  </a:lnTo>
                  <a:lnTo>
                    <a:pt x="1028" y="3070"/>
                  </a:lnTo>
                  <a:lnTo>
                    <a:pt x="1018" y="3051"/>
                  </a:lnTo>
                  <a:lnTo>
                    <a:pt x="1009" y="3029"/>
                  </a:lnTo>
                  <a:lnTo>
                    <a:pt x="1003" y="3014"/>
                  </a:lnTo>
                  <a:lnTo>
                    <a:pt x="996" y="3007"/>
                  </a:lnTo>
                  <a:lnTo>
                    <a:pt x="993" y="2998"/>
                  </a:lnTo>
                  <a:lnTo>
                    <a:pt x="987" y="2992"/>
                  </a:lnTo>
                  <a:lnTo>
                    <a:pt x="981" y="2982"/>
                  </a:lnTo>
                  <a:lnTo>
                    <a:pt x="971" y="2979"/>
                  </a:lnTo>
                  <a:lnTo>
                    <a:pt x="956" y="2982"/>
                  </a:lnTo>
                  <a:lnTo>
                    <a:pt x="937" y="2992"/>
                  </a:lnTo>
                  <a:lnTo>
                    <a:pt x="918" y="3001"/>
                  </a:lnTo>
                  <a:lnTo>
                    <a:pt x="903" y="3004"/>
                  </a:lnTo>
                  <a:lnTo>
                    <a:pt x="884" y="2998"/>
                  </a:lnTo>
                  <a:lnTo>
                    <a:pt x="865" y="2982"/>
                  </a:lnTo>
                  <a:lnTo>
                    <a:pt x="850" y="2967"/>
                  </a:lnTo>
                  <a:lnTo>
                    <a:pt x="843" y="2948"/>
                  </a:lnTo>
                  <a:lnTo>
                    <a:pt x="837" y="2923"/>
                  </a:lnTo>
                  <a:lnTo>
                    <a:pt x="831" y="2901"/>
                  </a:lnTo>
                  <a:lnTo>
                    <a:pt x="825" y="2882"/>
                  </a:lnTo>
                  <a:lnTo>
                    <a:pt x="818" y="2876"/>
                  </a:lnTo>
                  <a:lnTo>
                    <a:pt x="809" y="2870"/>
                  </a:lnTo>
                  <a:lnTo>
                    <a:pt x="803" y="2861"/>
                  </a:lnTo>
                  <a:lnTo>
                    <a:pt x="796" y="2854"/>
                  </a:lnTo>
                  <a:lnTo>
                    <a:pt x="790" y="2848"/>
                  </a:lnTo>
                  <a:lnTo>
                    <a:pt x="790" y="2836"/>
                  </a:lnTo>
                  <a:lnTo>
                    <a:pt x="790" y="2820"/>
                  </a:lnTo>
                  <a:lnTo>
                    <a:pt x="793" y="2804"/>
                  </a:lnTo>
                  <a:lnTo>
                    <a:pt x="790" y="2795"/>
                  </a:lnTo>
                  <a:lnTo>
                    <a:pt x="787" y="2789"/>
                  </a:lnTo>
                  <a:lnTo>
                    <a:pt x="781" y="2786"/>
                  </a:lnTo>
                  <a:lnTo>
                    <a:pt x="771" y="2779"/>
                  </a:lnTo>
                  <a:lnTo>
                    <a:pt x="765" y="2776"/>
                  </a:lnTo>
                  <a:lnTo>
                    <a:pt x="756" y="2776"/>
                  </a:lnTo>
                  <a:lnTo>
                    <a:pt x="750" y="2776"/>
                  </a:lnTo>
                  <a:lnTo>
                    <a:pt x="747" y="2779"/>
                  </a:lnTo>
                  <a:lnTo>
                    <a:pt x="747" y="2786"/>
                  </a:lnTo>
                  <a:lnTo>
                    <a:pt x="743" y="2792"/>
                  </a:lnTo>
                  <a:lnTo>
                    <a:pt x="740" y="2798"/>
                  </a:lnTo>
                  <a:lnTo>
                    <a:pt x="740" y="2801"/>
                  </a:lnTo>
                  <a:lnTo>
                    <a:pt x="715" y="2814"/>
                  </a:lnTo>
                  <a:lnTo>
                    <a:pt x="687" y="2820"/>
                  </a:lnTo>
                  <a:lnTo>
                    <a:pt x="656" y="2823"/>
                  </a:lnTo>
                  <a:lnTo>
                    <a:pt x="631" y="2820"/>
                  </a:lnTo>
                  <a:lnTo>
                    <a:pt x="625" y="2814"/>
                  </a:lnTo>
                  <a:lnTo>
                    <a:pt x="615" y="2808"/>
                  </a:lnTo>
                  <a:lnTo>
                    <a:pt x="609" y="2798"/>
                  </a:lnTo>
                  <a:lnTo>
                    <a:pt x="603" y="2789"/>
                  </a:lnTo>
                  <a:lnTo>
                    <a:pt x="594" y="2783"/>
                  </a:lnTo>
                  <a:lnTo>
                    <a:pt x="587" y="2776"/>
                  </a:lnTo>
                  <a:lnTo>
                    <a:pt x="569" y="2776"/>
                  </a:lnTo>
                  <a:lnTo>
                    <a:pt x="547" y="2776"/>
                  </a:lnTo>
                  <a:lnTo>
                    <a:pt x="525" y="2776"/>
                  </a:lnTo>
                  <a:lnTo>
                    <a:pt x="506" y="2767"/>
                  </a:lnTo>
                  <a:lnTo>
                    <a:pt x="484" y="2754"/>
                  </a:lnTo>
                  <a:lnTo>
                    <a:pt x="472" y="2739"/>
                  </a:lnTo>
                  <a:lnTo>
                    <a:pt x="465" y="2714"/>
                  </a:lnTo>
                  <a:lnTo>
                    <a:pt x="469" y="2683"/>
                  </a:lnTo>
                  <a:lnTo>
                    <a:pt x="475" y="2651"/>
                  </a:lnTo>
                  <a:lnTo>
                    <a:pt x="481" y="2626"/>
                  </a:lnTo>
                  <a:lnTo>
                    <a:pt x="484" y="2617"/>
                  </a:lnTo>
                  <a:lnTo>
                    <a:pt x="490" y="2608"/>
                  </a:lnTo>
                  <a:lnTo>
                    <a:pt x="497" y="2598"/>
                  </a:lnTo>
                  <a:lnTo>
                    <a:pt x="503" y="2586"/>
                  </a:lnTo>
                  <a:lnTo>
                    <a:pt x="506" y="2576"/>
                  </a:lnTo>
                  <a:lnTo>
                    <a:pt x="512" y="2558"/>
                  </a:lnTo>
                  <a:lnTo>
                    <a:pt x="515" y="2533"/>
                  </a:lnTo>
                  <a:lnTo>
                    <a:pt x="519" y="2508"/>
                  </a:lnTo>
                  <a:lnTo>
                    <a:pt x="515" y="2489"/>
                  </a:lnTo>
                  <a:lnTo>
                    <a:pt x="503" y="2470"/>
                  </a:lnTo>
                  <a:lnTo>
                    <a:pt x="484" y="2455"/>
                  </a:lnTo>
                  <a:lnTo>
                    <a:pt x="472" y="2436"/>
                  </a:lnTo>
                  <a:lnTo>
                    <a:pt x="456" y="2420"/>
                  </a:lnTo>
                  <a:lnTo>
                    <a:pt x="440" y="2402"/>
                  </a:lnTo>
                  <a:lnTo>
                    <a:pt x="431" y="2383"/>
                  </a:lnTo>
                  <a:lnTo>
                    <a:pt x="431" y="2364"/>
                  </a:lnTo>
                  <a:lnTo>
                    <a:pt x="437" y="2345"/>
                  </a:lnTo>
                  <a:lnTo>
                    <a:pt x="444" y="2330"/>
                  </a:lnTo>
                  <a:lnTo>
                    <a:pt x="456" y="2324"/>
                  </a:lnTo>
                  <a:lnTo>
                    <a:pt x="475" y="2320"/>
                  </a:lnTo>
                  <a:lnTo>
                    <a:pt x="490" y="2317"/>
                  </a:lnTo>
                  <a:lnTo>
                    <a:pt x="503" y="2311"/>
                  </a:lnTo>
                  <a:lnTo>
                    <a:pt x="509" y="2295"/>
                  </a:lnTo>
                  <a:lnTo>
                    <a:pt x="506" y="2274"/>
                  </a:lnTo>
                  <a:lnTo>
                    <a:pt x="506" y="2258"/>
                  </a:lnTo>
                  <a:lnTo>
                    <a:pt x="497" y="2236"/>
                  </a:lnTo>
                  <a:lnTo>
                    <a:pt x="487" y="2208"/>
                  </a:lnTo>
                  <a:lnTo>
                    <a:pt x="475" y="2183"/>
                  </a:lnTo>
                  <a:lnTo>
                    <a:pt x="465" y="2158"/>
                  </a:lnTo>
                  <a:lnTo>
                    <a:pt x="465" y="2136"/>
                  </a:lnTo>
                  <a:lnTo>
                    <a:pt x="469" y="2111"/>
                  </a:lnTo>
                  <a:lnTo>
                    <a:pt x="465" y="2089"/>
                  </a:lnTo>
                  <a:lnTo>
                    <a:pt x="459" y="2064"/>
                  </a:lnTo>
                  <a:lnTo>
                    <a:pt x="447" y="2039"/>
                  </a:lnTo>
                  <a:lnTo>
                    <a:pt x="434" y="2011"/>
                  </a:lnTo>
                  <a:lnTo>
                    <a:pt x="422" y="1989"/>
                  </a:lnTo>
                  <a:lnTo>
                    <a:pt x="416" y="1977"/>
                  </a:lnTo>
                  <a:lnTo>
                    <a:pt x="406" y="1964"/>
                  </a:lnTo>
                  <a:lnTo>
                    <a:pt x="397" y="1949"/>
                  </a:lnTo>
                  <a:lnTo>
                    <a:pt x="397" y="1936"/>
                  </a:lnTo>
                  <a:lnTo>
                    <a:pt x="400" y="1930"/>
                  </a:lnTo>
                  <a:lnTo>
                    <a:pt x="406" y="1924"/>
                  </a:lnTo>
                  <a:lnTo>
                    <a:pt x="412" y="1921"/>
                  </a:lnTo>
                  <a:lnTo>
                    <a:pt x="419" y="1918"/>
                  </a:lnTo>
                  <a:lnTo>
                    <a:pt x="425" y="1911"/>
                  </a:lnTo>
                  <a:lnTo>
                    <a:pt x="431" y="1905"/>
                  </a:lnTo>
                  <a:lnTo>
                    <a:pt x="434" y="1886"/>
                  </a:lnTo>
                  <a:lnTo>
                    <a:pt x="434" y="1858"/>
                  </a:lnTo>
                  <a:lnTo>
                    <a:pt x="431" y="1836"/>
                  </a:lnTo>
                  <a:lnTo>
                    <a:pt x="431" y="1827"/>
                  </a:lnTo>
                  <a:lnTo>
                    <a:pt x="425" y="1818"/>
                  </a:lnTo>
                  <a:lnTo>
                    <a:pt x="422" y="1805"/>
                  </a:lnTo>
                  <a:lnTo>
                    <a:pt x="416" y="1799"/>
                  </a:lnTo>
                  <a:lnTo>
                    <a:pt x="400" y="1793"/>
                  </a:lnTo>
                  <a:lnTo>
                    <a:pt x="378" y="1790"/>
                  </a:lnTo>
                  <a:lnTo>
                    <a:pt x="362" y="1783"/>
                  </a:lnTo>
                  <a:lnTo>
                    <a:pt x="350" y="1771"/>
                  </a:lnTo>
                  <a:lnTo>
                    <a:pt x="341" y="1749"/>
                  </a:lnTo>
                  <a:lnTo>
                    <a:pt x="334" y="1727"/>
                  </a:lnTo>
                  <a:lnTo>
                    <a:pt x="334" y="1708"/>
                  </a:lnTo>
                  <a:lnTo>
                    <a:pt x="344" y="1693"/>
                  </a:lnTo>
                  <a:lnTo>
                    <a:pt x="359" y="1677"/>
                  </a:lnTo>
                  <a:lnTo>
                    <a:pt x="378" y="1658"/>
                  </a:lnTo>
                  <a:lnTo>
                    <a:pt x="387" y="1643"/>
                  </a:lnTo>
                  <a:lnTo>
                    <a:pt x="384" y="1621"/>
                  </a:lnTo>
                  <a:lnTo>
                    <a:pt x="378" y="1596"/>
                  </a:lnTo>
                  <a:lnTo>
                    <a:pt x="369" y="1568"/>
                  </a:lnTo>
                  <a:lnTo>
                    <a:pt x="356" y="1540"/>
                  </a:lnTo>
                  <a:lnTo>
                    <a:pt x="353" y="1518"/>
                  </a:lnTo>
                  <a:lnTo>
                    <a:pt x="353" y="1490"/>
                  </a:lnTo>
                  <a:lnTo>
                    <a:pt x="353" y="1455"/>
                  </a:lnTo>
                  <a:lnTo>
                    <a:pt x="362" y="1455"/>
                  </a:lnTo>
                  <a:lnTo>
                    <a:pt x="394" y="1452"/>
                  </a:lnTo>
                  <a:lnTo>
                    <a:pt x="428" y="1449"/>
                  </a:lnTo>
                  <a:lnTo>
                    <a:pt x="459" y="1446"/>
                  </a:lnTo>
                  <a:lnTo>
                    <a:pt x="484" y="1440"/>
                  </a:lnTo>
                  <a:lnTo>
                    <a:pt x="512" y="1430"/>
                  </a:lnTo>
                  <a:lnTo>
                    <a:pt x="534" y="1421"/>
                  </a:lnTo>
                  <a:lnTo>
                    <a:pt x="544" y="1415"/>
                  </a:lnTo>
                  <a:lnTo>
                    <a:pt x="550" y="1412"/>
                  </a:lnTo>
                  <a:lnTo>
                    <a:pt x="559" y="1405"/>
                  </a:lnTo>
                  <a:lnTo>
                    <a:pt x="565" y="1399"/>
                  </a:lnTo>
                  <a:lnTo>
                    <a:pt x="572" y="1393"/>
                  </a:lnTo>
                  <a:lnTo>
                    <a:pt x="578" y="1387"/>
                  </a:lnTo>
                  <a:lnTo>
                    <a:pt x="578" y="1381"/>
                  </a:lnTo>
                  <a:lnTo>
                    <a:pt x="569" y="1371"/>
                  </a:lnTo>
                  <a:lnTo>
                    <a:pt x="550" y="1362"/>
                  </a:lnTo>
                  <a:lnTo>
                    <a:pt x="528" y="1356"/>
                  </a:lnTo>
                  <a:lnTo>
                    <a:pt x="509" y="1356"/>
                  </a:lnTo>
                  <a:lnTo>
                    <a:pt x="503" y="1359"/>
                  </a:lnTo>
                  <a:lnTo>
                    <a:pt x="494" y="1365"/>
                  </a:lnTo>
                  <a:lnTo>
                    <a:pt x="487" y="1371"/>
                  </a:lnTo>
                  <a:lnTo>
                    <a:pt x="481" y="1374"/>
                  </a:lnTo>
                  <a:lnTo>
                    <a:pt x="475" y="1381"/>
                  </a:lnTo>
                  <a:lnTo>
                    <a:pt x="450" y="1390"/>
                  </a:lnTo>
                  <a:lnTo>
                    <a:pt x="422" y="1396"/>
                  </a:lnTo>
                  <a:lnTo>
                    <a:pt x="397" y="1399"/>
                  </a:lnTo>
                  <a:lnTo>
                    <a:pt x="375" y="1399"/>
                  </a:lnTo>
                  <a:lnTo>
                    <a:pt x="347" y="1396"/>
                  </a:lnTo>
                  <a:lnTo>
                    <a:pt x="322" y="1390"/>
                  </a:lnTo>
                  <a:lnTo>
                    <a:pt x="300" y="1387"/>
                  </a:lnTo>
                  <a:lnTo>
                    <a:pt x="269" y="1387"/>
                  </a:lnTo>
                  <a:lnTo>
                    <a:pt x="228" y="1387"/>
                  </a:lnTo>
                  <a:lnTo>
                    <a:pt x="197" y="1387"/>
                  </a:lnTo>
                  <a:lnTo>
                    <a:pt x="166" y="1377"/>
                  </a:lnTo>
                  <a:lnTo>
                    <a:pt x="131" y="1368"/>
                  </a:lnTo>
                  <a:lnTo>
                    <a:pt x="97" y="1356"/>
                  </a:lnTo>
                  <a:lnTo>
                    <a:pt x="69" y="1340"/>
                  </a:lnTo>
                  <a:lnTo>
                    <a:pt x="53" y="1327"/>
                  </a:lnTo>
                  <a:lnTo>
                    <a:pt x="35" y="1306"/>
                  </a:lnTo>
                  <a:lnTo>
                    <a:pt x="19" y="1284"/>
                  </a:lnTo>
                  <a:lnTo>
                    <a:pt x="10" y="1265"/>
                  </a:lnTo>
                  <a:lnTo>
                    <a:pt x="3" y="1240"/>
                  </a:lnTo>
                  <a:lnTo>
                    <a:pt x="0" y="1206"/>
                  </a:lnTo>
                  <a:lnTo>
                    <a:pt x="3" y="1181"/>
                  </a:lnTo>
                  <a:lnTo>
                    <a:pt x="6" y="1149"/>
                  </a:lnTo>
                  <a:lnTo>
                    <a:pt x="16" y="1115"/>
                  </a:lnTo>
                  <a:lnTo>
                    <a:pt x="28" y="1087"/>
                  </a:lnTo>
                  <a:lnTo>
                    <a:pt x="53" y="1068"/>
                  </a:lnTo>
                  <a:lnTo>
                    <a:pt x="81" y="1050"/>
                  </a:lnTo>
                  <a:lnTo>
                    <a:pt x="103" y="1031"/>
                  </a:lnTo>
                  <a:lnTo>
                    <a:pt x="119" y="1006"/>
                  </a:lnTo>
                  <a:lnTo>
                    <a:pt x="128" y="975"/>
                  </a:lnTo>
                  <a:lnTo>
                    <a:pt x="138" y="950"/>
                  </a:lnTo>
                  <a:lnTo>
                    <a:pt x="150" y="915"/>
                  </a:lnTo>
                  <a:lnTo>
                    <a:pt x="159" y="875"/>
                  </a:lnTo>
                  <a:lnTo>
                    <a:pt x="169" y="840"/>
                  </a:lnTo>
                  <a:lnTo>
                    <a:pt x="181" y="812"/>
                  </a:lnTo>
                  <a:lnTo>
                    <a:pt x="194" y="784"/>
                  </a:lnTo>
                  <a:lnTo>
                    <a:pt x="213" y="762"/>
                  </a:lnTo>
                  <a:lnTo>
                    <a:pt x="234" y="756"/>
                  </a:lnTo>
                  <a:lnTo>
                    <a:pt x="262" y="756"/>
                  </a:lnTo>
                  <a:lnTo>
                    <a:pt x="294" y="756"/>
                  </a:lnTo>
                  <a:lnTo>
                    <a:pt x="319" y="753"/>
                  </a:lnTo>
                  <a:lnTo>
                    <a:pt x="350" y="740"/>
                  </a:lnTo>
                  <a:lnTo>
                    <a:pt x="387" y="722"/>
                  </a:lnTo>
                  <a:lnTo>
                    <a:pt x="425" y="703"/>
                  </a:lnTo>
                  <a:lnTo>
                    <a:pt x="450" y="681"/>
                  </a:lnTo>
                  <a:lnTo>
                    <a:pt x="465" y="665"/>
                  </a:lnTo>
                  <a:lnTo>
                    <a:pt x="478" y="644"/>
                  </a:lnTo>
                  <a:lnTo>
                    <a:pt x="490" y="619"/>
                  </a:lnTo>
                  <a:lnTo>
                    <a:pt x="506" y="606"/>
                  </a:lnTo>
                  <a:lnTo>
                    <a:pt x="525" y="600"/>
                  </a:lnTo>
                  <a:lnTo>
                    <a:pt x="550" y="600"/>
                  </a:lnTo>
                  <a:lnTo>
                    <a:pt x="578" y="600"/>
                  </a:lnTo>
                  <a:lnTo>
                    <a:pt x="603" y="600"/>
                  </a:lnTo>
                  <a:lnTo>
                    <a:pt x="622" y="597"/>
                  </a:lnTo>
                  <a:lnTo>
                    <a:pt x="647" y="581"/>
                  </a:lnTo>
                  <a:lnTo>
                    <a:pt x="675" y="559"/>
                  </a:lnTo>
                  <a:lnTo>
                    <a:pt x="700" y="534"/>
                  </a:lnTo>
                  <a:lnTo>
                    <a:pt x="722" y="512"/>
                  </a:lnTo>
                  <a:lnTo>
                    <a:pt x="743" y="497"/>
                  </a:lnTo>
                  <a:lnTo>
                    <a:pt x="768" y="478"/>
                  </a:lnTo>
                  <a:lnTo>
                    <a:pt x="793" y="462"/>
                  </a:lnTo>
                  <a:lnTo>
                    <a:pt x="815" y="450"/>
                  </a:lnTo>
                  <a:lnTo>
                    <a:pt x="843" y="447"/>
                  </a:lnTo>
                  <a:lnTo>
                    <a:pt x="878" y="444"/>
                  </a:lnTo>
                  <a:lnTo>
                    <a:pt x="909" y="444"/>
                  </a:lnTo>
                  <a:lnTo>
                    <a:pt x="943" y="434"/>
                  </a:lnTo>
                  <a:lnTo>
                    <a:pt x="987" y="425"/>
                  </a:lnTo>
                  <a:lnTo>
                    <a:pt x="1034" y="413"/>
                  </a:lnTo>
                  <a:lnTo>
                    <a:pt x="1078" y="403"/>
                  </a:lnTo>
                  <a:lnTo>
                    <a:pt x="1112" y="397"/>
                  </a:lnTo>
                  <a:lnTo>
                    <a:pt x="1131" y="397"/>
                  </a:lnTo>
                  <a:lnTo>
                    <a:pt x="1149" y="400"/>
                  </a:lnTo>
                  <a:lnTo>
                    <a:pt x="1168" y="403"/>
                  </a:lnTo>
                  <a:lnTo>
                    <a:pt x="1202" y="394"/>
                  </a:lnTo>
                  <a:lnTo>
                    <a:pt x="1243" y="378"/>
                  </a:lnTo>
                  <a:lnTo>
                    <a:pt x="1284" y="363"/>
                  </a:lnTo>
                  <a:lnTo>
                    <a:pt x="1324" y="344"/>
                  </a:lnTo>
                  <a:lnTo>
                    <a:pt x="1355" y="334"/>
                  </a:lnTo>
                  <a:lnTo>
                    <a:pt x="1390" y="325"/>
                  </a:lnTo>
                  <a:lnTo>
                    <a:pt x="1427" y="313"/>
                  </a:lnTo>
                  <a:lnTo>
                    <a:pt x="1468" y="306"/>
                  </a:lnTo>
                  <a:lnTo>
                    <a:pt x="1502" y="300"/>
                  </a:lnTo>
                  <a:lnTo>
                    <a:pt x="1537" y="297"/>
                  </a:lnTo>
                  <a:lnTo>
                    <a:pt x="1577" y="297"/>
                  </a:lnTo>
                  <a:lnTo>
                    <a:pt x="1618" y="297"/>
                  </a:lnTo>
                  <a:lnTo>
                    <a:pt x="1652" y="291"/>
                  </a:lnTo>
                  <a:lnTo>
                    <a:pt x="1680" y="278"/>
                  </a:lnTo>
                  <a:lnTo>
                    <a:pt x="1711" y="260"/>
                  </a:lnTo>
                  <a:lnTo>
                    <a:pt x="1746" y="241"/>
                  </a:lnTo>
                  <a:lnTo>
                    <a:pt x="1771" y="222"/>
                  </a:lnTo>
                  <a:lnTo>
                    <a:pt x="1796" y="197"/>
                  </a:lnTo>
                  <a:lnTo>
                    <a:pt x="1821" y="166"/>
                  </a:lnTo>
                  <a:lnTo>
                    <a:pt x="1849" y="131"/>
                  </a:lnTo>
                  <a:lnTo>
                    <a:pt x="1871" y="106"/>
                  </a:lnTo>
                  <a:lnTo>
                    <a:pt x="1902" y="85"/>
                  </a:lnTo>
                  <a:lnTo>
                    <a:pt x="1943" y="57"/>
                  </a:lnTo>
                  <a:lnTo>
                    <a:pt x="1986" y="32"/>
                  </a:lnTo>
                  <a:lnTo>
                    <a:pt x="2017" y="7"/>
                  </a:lnTo>
                  <a:lnTo>
                    <a:pt x="2024" y="0"/>
                  </a:lnTo>
                  <a:lnTo>
                    <a:pt x="2049" y="13"/>
                  </a:lnTo>
                  <a:lnTo>
                    <a:pt x="2077" y="25"/>
                  </a:lnTo>
                  <a:lnTo>
                    <a:pt x="2102" y="35"/>
                  </a:lnTo>
                  <a:lnTo>
                    <a:pt x="2124" y="53"/>
                  </a:lnTo>
                  <a:lnTo>
                    <a:pt x="2149" y="78"/>
                  </a:lnTo>
                  <a:lnTo>
                    <a:pt x="2174" y="97"/>
                  </a:lnTo>
                  <a:lnTo>
                    <a:pt x="2192" y="103"/>
                  </a:lnTo>
                  <a:lnTo>
                    <a:pt x="2217" y="110"/>
                  </a:lnTo>
                  <a:lnTo>
                    <a:pt x="2245" y="116"/>
                  </a:lnTo>
                  <a:lnTo>
                    <a:pt x="2264" y="125"/>
                  </a:lnTo>
                  <a:lnTo>
                    <a:pt x="2286" y="141"/>
                  </a:lnTo>
                  <a:lnTo>
                    <a:pt x="2308" y="166"/>
                  </a:lnTo>
                  <a:lnTo>
                    <a:pt x="2330" y="194"/>
                  </a:lnTo>
                  <a:lnTo>
                    <a:pt x="2345" y="216"/>
                  </a:lnTo>
                  <a:lnTo>
                    <a:pt x="2355" y="241"/>
                  </a:lnTo>
                  <a:lnTo>
                    <a:pt x="2364" y="272"/>
                  </a:lnTo>
                  <a:lnTo>
                    <a:pt x="2373" y="300"/>
                  </a:lnTo>
                  <a:lnTo>
                    <a:pt x="2386" y="325"/>
                  </a:lnTo>
                  <a:lnTo>
                    <a:pt x="2402" y="334"/>
                  </a:lnTo>
                  <a:lnTo>
                    <a:pt x="2427" y="347"/>
                  </a:lnTo>
                  <a:lnTo>
                    <a:pt x="2448" y="356"/>
                  </a:lnTo>
                  <a:lnTo>
                    <a:pt x="2464" y="366"/>
                  </a:lnTo>
                  <a:lnTo>
                    <a:pt x="2480" y="391"/>
                  </a:lnTo>
                  <a:lnTo>
                    <a:pt x="2495" y="425"/>
                  </a:lnTo>
                  <a:lnTo>
                    <a:pt x="2505" y="459"/>
                  </a:lnTo>
                  <a:lnTo>
                    <a:pt x="2511" y="491"/>
                  </a:lnTo>
                  <a:lnTo>
                    <a:pt x="2511" y="503"/>
                  </a:lnTo>
                  <a:lnTo>
                    <a:pt x="2508" y="522"/>
                  </a:lnTo>
                  <a:lnTo>
                    <a:pt x="2505" y="541"/>
                  </a:lnTo>
                  <a:lnTo>
                    <a:pt x="2508" y="553"/>
                  </a:lnTo>
                  <a:lnTo>
                    <a:pt x="2520" y="569"/>
                  </a:lnTo>
                  <a:lnTo>
                    <a:pt x="2542" y="581"/>
                  </a:lnTo>
                  <a:lnTo>
                    <a:pt x="2564" y="594"/>
                  </a:lnTo>
                  <a:lnTo>
                    <a:pt x="2580" y="606"/>
                  </a:lnTo>
                  <a:lnTo>
                    <a:pt x="2589" y="631"/>
                  </a:lnTo>
                  <a:lnTo>
                    <a:pt x="2595" y="659"/>
                  </a:lnTo>
                  <a:lnTo>
                    <a:pt x="2598" y="690"/>
                  </a:lnTo>
                  <a:lnTo>
                    <a:pt x="2598" y="715"/>
                  </a:lnTo>
                  <a:lnTo>
                    <a:pt x="2595" y="734"/>
                  </a:lnTo>
                  <a:lnTo>
                    <a:pt x="2589" y="756"/>
                  </a:lnTo>
                  <a:lnTo>
                    <a:pt x="2580" y="772"/>
                  </a:lnTo>
                  <a:lnTo>
                    <a:pt x="2561" y="784"/>
                  </a:lnTo>
                  <a:lnTo>
                    <a:pt x="2536" y="793"/>
                  </a:lnTo>
                  <a:lnTo>
                    <a:pt x="2508" y="806"/>
                  </a:lnTo>
                  <a:lnTo>
                    <a:pt x="2492" y="818"/>
                  </a:lnTo>
                  <a:lnTo>
                    <a:pt x="2486" y="834"/>
                  </a:lnTo>
                  <a:lnTo>
                    <a:pt x="2480" y="853"/>
                  </a:lnTo>
                  <a:lnTo>
                    <a:pt x="2476" y="868"/>
                  </a:lnTo>
                  <a:lnTo>
                    <a:pt x="2483" y="884"/>
                  </a:lnTo>
                  <a:lnTo>
                    <a:pt x="2498" y="893"/>
                  </a:lnTo>
                  <a:lnTo>
                    <a:pt x="2520" y="897"/>
                  </a:lnTo>
                  <a:lnTo>
                    <a:pt x="2539" y="897"/>
                  </a:lnTo>
                  <a:lnTo>
                    <a:pt x="2545" y="893"/>
                  </a:lnTo>
                  <a:lnTo>
                    <a:pt x="2555" y="887"/>
                  </a:lnTo>
                  <a:lnTo>
                    <a:pt x="2561" y="881"/>
                  </a:lnTo>
                  <a:lnTo>
                    <a:pt x="2567" y="875"/>
                  </a:lnTo>
                  <a:lnTo>
                    <a:pt x="2573" y="872"/>
                  </a:lnTo>
                  <a:lnTo>
                    <a:pt x="2580" y="868"/>
                  </a:lnTo>
                  <a:lnTo>
                    <a:pt x="2586" y="868"/>
                  </a:lnTo>
                  <a:lnTo>
                    <a:pt x="2595" y="881"/>
                  </a:lnTo>
                  <a:lnTo>
                    <a:pt x="2601" y="903"/>
                  </a:lnTo>
                  <a:lnTo>
                    <a:pt x="2598" y="928"/>
                  </a:lnTo>
                  <a:lnTo>
                    <a:pt x="2595" y="950"/>
                  </a:lnTo>
                  <a:lnTo>
                    <a:pt x="2586" y="968"/>
                  </a:lnTo>
                  <a:lnTo>
                    <a:pt x="2573" y="975"/>
                  </a:lnTo>
                  <a:lnTo>
                    <a:pt x="2555" y="975"/>
                  </a:lnTo>
                  <a:lnTo>
                    <a:pt x="2533" y="975"/>
                  </a:lnTo>
                  <a:lnTo>
                    <a:pt x="2514" y="975"/>
                  </a:lnTo>
                  <a:lnTo>
                    <a:pt x="2501" y="981"/>
                  </a:lnTo>
                  <a:lnTo>
                    <a:pt x="2495" y="996"/>
                  </a:lnTo>
                  <a:lnTo>
                    <a:pt x="2495" y="1021"/>
                  </a:lnTo>
                  <a:lnTo>
                    <a:pt x="2495" y="1046"/>
                  </a:lnTo>
                  <a:lnTo>
                    <a:pt x="2501" y="1071"/>
                  </a:lnTo>
                  <a:lnTo>
                    <a:pt x="2501" y="1090"/>
                  </a:lnTo>
                  <a:lnTo>
                    <a:pt x="2501" y="1112"/>
                  </a:lnTo>
                  <a:lnTo>
                    <a:pt x="2505" y="1140"/>
                  </a:lnTo>
                  <a:lnTo>
                    <a:pt x="2505" y="1162"/>
                  </a:lnTo>
                  <a:lnTo>
                    <a:pt x="2501" y="1181"/>
                  </a:lnTo>
                  <a:lnTo>
                    <a:pt x="2498" y="1203"/>
                  </a:lnTo>
                  <a:lnTo>
                    <a:pt x="2495" y="1224"/>
                  </a:lnTo>
                  <a:lnTo>
                    <a:pt x="2498" y="1240"/>
                  </a:lnTo>
                  <a:lnTo>
                    <a:pt x="2508" y="1265"/>
                  </a:lnTo>
                  <a:lnTo>
                    <a:pt x="2523" y="1290"/>
                  </a:lnTo>
                  <a:lnTo>
                    <a:pt x="2542" y="1306"/>
                  </a:lnTo>
                  <a:lnTo>
                    <a:pt x="2555" y="1306"/>
                  </a:lnTo>
                  <a:lnTo>
                    <a:pt x="2573" y="1299"/>
                  </a:lnTo>
                  <a:lnTo>
                    <a:pt x="2589" y="1293"/>
                  </a:lnTo>
                  <a:lnTo>
                    <a:pt x="2601" y="1293"/>
                  </a:lnTo>
                  <a:lnTo>
                    <a:pt x="2617" y="1309"/>
                  </a:lnTo>
                  <a:lnTo>
                    <a:pt x="2630" y="1331"/>
                  </a:lnTo>
                  <a:lnTo>
                    <a:pt x="2639" y="1359"/>
                  </a:lnTo>
                  <a:lnTo>
                    <a:pt x="2642" y="1381"/>
                  </a:lnTo>
                  <a:lnTo>
                    <a:pt x="2639" y="1402"/>
                  </a:lnTo>
                  <a:lnTo>
                    <a:pt x="2630" y="1427"/>
                  </a:lnTo>
                  <a:lnTo>
                    <a:pt x="2620" y="1449"/>
                  </a:lnTo>
                  <a:lnTo>
                    <a:pt x="2605" y="1459"/>
                  </a:lnTo>
                  <a:lnTo>
                    <a:pt x="2583" y="1471"/>
                  </a:lnTo>
                  <a:lnTo>
                    <a:pt x="2561" y="1484"/>
                  </a:lnTo>
                  <a:lnTo>
                    <a:pt x="2545" y="1496"/>
                  </a:lnTo>
                  <a:lnTo>
                    <a:pt x="2539" y="1524"/>
                  </a:lnTo>
                  <a:lnTo>
                    <a:pt x="2536" y="1555"/>
                  </a:lnTo>
                  <a:lnTo>
                    <a:pt x="2539" y="1593"/>
                  </a:lnTo>
                  <a:lnTo>
                    <a:pt x="2545" y="1627"/>
                  </a:lnTo>
                  <a:lnTo>
                    <a:pt x="2551" y="1655"/>
                  </a:lnTo>
                  <a:lnTo>
                    <a:pt x="2558" y="1674"/>
                  </a:lnTo>
                  <a:lnTo>
                    <a:pt x="2570" y="1699"/>
                  </a:lnTo>
                  <a:lnTo>
                    <a:pt x="2583" y="1721"/>
                  </a:lnTo>
                  <a:lnTo>
                    <a:pt x="2595" y="1743"/>
                  </a:lnTo>
                  <a:lnTo>
                    <a:pt x="2601" y="1765"/>
                  </a:lnTo>
                  <a:lnTo>
                    <a:pt x="2608" y="1793"/>
                  </a:lnTo>
                  <a:lnTo>
                    <a:pt x="2617" y="1815"/>
                  </a:lnTo>
                  <a:lnTo>
                    <a:pt x="2623" y="1824"/>
                  </a:lnTo>
                  <a:lnTo>
                    <a:pt x="2630" y="1830"/>
                  </a:lnTo>
                  <a:lnTo>
                    <a:pt x="2639" y="1840"/>
                  </a:lnTo>
                  <a:lnTo>
                    <a:pt x="2645" y="1846"/>
                  </a:lnTo>
                  <a:lnTo>
                    <a:pt x="2654" y="1855"/>
                  </a:lnTo>
                  <a:lnTo>
                    <a:pt x="2658" y="1861"/>
                  </a:lnTo>
                  <a:lnTo>
                    <a:pt x="2664" y="1880"/>
                  </a:lnTo>
                  <a:lnTo>
                    <a:pt x="2664" y="1902"/>
                  </a:lnTo>
                  <a:lnTo>
                    <a:pt x="2664" y="1924"/>
                  </a:lnTo>
                  <a:lnTo>
                    <a:pt x="2658" y="1939"/>
                  </a:lnTo>
                  <a:lnTo>
                    <a:pt x="2642" y="1946"/>
                  </a:lnTo>
                  <a:lnTo>
                    <a:pt x="2623" y="1949"/>
                  </a:lnTo>
                  <a:lnTo>
                    <a:pt x="2608" y="1946"/>
                  </a:lnTo>
                  <a:lnTo>
                    <a:pt x="2601" y="1943"/>
                  </a:lnTo>
                  <a:lnTo>
                    <a:pt x="2598" y="1936"/>
                  </a:lnTo>
                  <a:lnTo>
                    <a:pt x="2595" y="1927"/>
                  </a:lnTo>
                  <a:lnTo>
                    <a:pt x="2592" y="1918"/>
                  </a:lnTo>
                  <a:lnTo>
                    <a:pt x="2589" y="1908"/>
                  </a:lnTo>
                  <a:lnTo>
                    <a:pt x="2586" y="1902"/>
                  </a:lnTo>
                  <a:lnTo>
                    <a:pt x="2583" y="1899"/>
                  </a:lnTo>
                  <a:lnTo>
                    <a:pt x="2567" y="1893"/>
                  </a:lnTo>
                  <a:lnTo>
                    <a:pt x="2545" y="1889"/>
                  </a:lnTo>
                  <a:lnTo>
                    <a:pt x="2526" y="1893"/>
                  </a:lnTo>
                  <a:lnTo>
                    <a:pt x="2511" y="1899"/>
                  </a:lnTo>
                  <a:lnTo>
                    <a:pt x="2508" y="1911"/>
                  </a:lnTo>
                  <a:lnTo>
                    <a:pt x="2511" y="1930"/>
                  </a:lnTo>
                  <a:lnTo>
                    <a:pt x="2514" y="1952"/>
                  </a:lnTo>
                  <a:lnTo>
                    <a:pt x="2511" y="1968"/>
                  </a:lnTo>
                  <a:lnTo>
                    <a:pt x="2508" y="1974"/>
                  </a:lnTo>
                  <a:lnTo>
                    <a:pt x="2501" y="1983"/>
                  </a:lnTo>
                  <a:lnTo>
                    <a:pt x="2492" y="1989"/>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61" name="Freeform 49">
              <a:extLst>
                <a:ext uri="{FF2B5EF4-FFF2-40B4-BE49-F238E27FC236}">
                  <a16:creationId xmlns:a16="http://schemas.microsoft.com/office/drawing/2014/main" id="{89B29022-FB24-48B4-9BFC-8D93BE58DD7A}"/>
                </a:ext>
              </a:extLst>
            </p:cNvPr>
            <p:cNvSpPr>
              <a:spLocks/>
            </p:cNvSpPr>
            <p:nvPr/>
          </p:nvSpPr>
          <p:spPr bwMode="auto">
            <a:xfrm>
              <a:off x="23469601" y="-14465300"/>
              <a:ext cx="6399213" cy="9682163"/>
            </a:xfrm>
            <a:custGeom>
              <a:avLst/>
              <a:gdLst>
                <a:gd name="T0" fmla="*/ 309 w 4031"/>
                <a:gd name="T1" fmla="*/ 2926 h 6099"/>
                <a:gd name="T2" fmla="*/ 422 w 4031"/>
                <a:gd name="T3" fmla="*/ 2751 h 6099"/>
                <a:gd name="T4" fmla="*/ 378 w 4031"/>
                <a:gd name="T5" fmla="*/ 2551 h 6099"/>
                <a:gd name="T6" fmla="*/ 575 w 4031"/>
                <a:gd name="T7" fmla="*/ 2405 h 6099"/>
                <a:gd name="T8" fmla="*/ 434 w 4031"/>
                <a:gd name="T9" fmla="*/ 2092 h 6099"/>
                <a:gd name="T10" fmla="*/ 696 w 4031"/>
                <a:gd name="T11" fmla="*/ 1996 h 6099"/>
                <a:gd name="T12" fmla="*/ 890 w 4031"/>
                <a:gd name="T13" fmla="*/ 1977 h 6099"/>
                <a:gd name="T14" fmla="*/ 1024 w 4031"/>
                <a:gd name="T15" fmla="*/ 1752 h 6099"/>
                <a:gd name="T16" fmla="*/ 1046 w 4031"/>
                <a:gd name="T17" fmla="*/ 1321 h 6099"/>
                <a:gd name="T18" fmla="*/ 1218 w 4031"/>
                <a:gd name="T19" fmla="*/ 1168 h 6099"/>
                <a:gd name="T20" fmla="*/ 1352 w 4031"/>
                <a:gd name="T21" fmla="*/ 797 h 6099"/>
                <a:gd name="T22" fmla="*/ 1265 w 4031"/>
                <a:gd name="T23" fmla="*/ 506 h 6099"/>
                <a:gd name="T24" fmla="*/ 1683 w 4031"/>
                <a:gd name="T25" fmla="*/ 562 h 6099"/>
                <a:gd name="T26" fmla="*/ 1952 w 4031"/>
                <a:gd name="T27" fmla="*/ 281 h 6099"/>
                <a:gd name="T28" fmla="*/ 2136 w 4031"/>
                <a:gd name="T29" fmla="*/ 0 h 6099"/>
                <a:gd name="T30" fmla="*/ 2195 w 4031"/>
                <a:gd name="T31" fmla="*/ 231 h 6099"/>
                <a:gd name="T32" fmla="*/ 2167 w 4031"/>
                <a:gd name="T33" fmla="*/ 544 h 6099"/>
                <a:gd name="T34" fmla="*/ 2273 w 4031"/>
                <a:gd name="T35" fmla="*/ 828 h 6099"/>
                <a:gd name="T36" fmla="*/ 2479 w 4031"/>
                <a:gd name="T37" fmla="*/ 900 h 6099"/>
                <a:gd name="T38" fmla="*/ 2726 w 4031"/>
                <a:gd name="T39" fmla="*/ 1090 h 6099"/>
                <a:gd name="T40" fmla="*/ 2923 w 4031"/>
                <a:gd name="T41" fmla="*/ 1124 h 6099"/>
                <a:gd name="T42" fmla="*/ 3101 w 4031"/>
                <a:gd name="T43" fmla="*/ 1284 h 6099"/>
                <a:gd name="T44" fmla="*/ 2995 w 4031"/>
                <a:gd name="T45" fmla="*/ 1480 h 6099"/>
                <a:gd name="T46" fmla="*/ 2801 w 4031"/>
                <a:gd name="T47" fmla="*/ 1443 h 6099"/>
                <a:gd name="T48" fmla="*/ 2620 w 4031"/>
                <a:gd name="T49" fmla="*/ 1571 h 6099"/>
                <a:gd name="T50" fmla="*/ 2654 w 4031"/>
                <a:gd name="T51" fmla="*/ 1905 h 6099"/>
                <a:gd name="T52" fmla="*/ 2498 w 4031"/>
                <a:gd name="T53" fmla="*/ 2230 h 6099"/>
                <a:gd name="T54" fmla="*/ 2479 w 4031"/>
                <a:gd name="T55" fmla="*/ 2626 h 6099"/>
                <a:gd name="T56" fmla="*/ 2536 w 4031"/>
                <a:gd name="T57" fmla="*/ 2951 h 6099"/>
                <a:gd name="T58" fmla="*/ 2433 w 4031"/>
                <a:gd name="T59" fmla="*/ 3173 h 6099"/>
                <a:gd name="T60" fmla="*/ 2479 w 4031"/>
                <a:gd name="T61" fmla="*/ 3351 h 6099"/>
                <a:gd name="T62" fmla="*/ 2589 w 4031"/>
                <a:gd name="T63" fmla="*/ 3672 h 6099"/>
                <a:gd name="T64" fmla="*/ 2892 w 4031"/>
                <a:gd name="T65" fmla="*/ 3904 h 6099"/>
                <a:gd name="T66" fmla="*/ 3254 w 4031"/>
                <a:gd name="T67" fmla="*/ 4078 h 6099"/>
                <a:gd name="T68" fmla="*/ 3291 w 4031"/>
                <a:gd name="T69" fmla="*/ 4344 h 6099"/>
                <a:gd name="T70" fmla="*/ 3426 w 4031"/>
                <a:gd name="T71" fmla="*/ 4403 h 6099"/>
                <a:gd name="T72" fmla="*/ 3669 w 4031"/>
                <a:gd name="T73" fmla="*/ 4559 h 6099"/>
                <a:gd name="T74" fmla="*/ 3657 w 4031"/>
                <a:gd name="T75" fmla="*/ 4903 h 6099"/>
                <a:gd name="T76" fmla="*/ 3944 w 4031"/>
                <a:gd name="T77" fmla="*/ 5218 h 6099"/>
                <a:gd name="T78" fmla="*/ 3872 w 4031"/>
                <a:gd name="T79" fmla="*/ 5437 h 6099"/>
                <a:gd name="T80" fmla="*/ 3735 w 4031"/>
                <a:gd name="T81" fmla="*/ 5696 h 6099"/>
                <a:gd name="T82" fmla="*/ 3507 w 4031"/>
                <a:gd name="T83" fmla="*/ 5930 h 6099"/>
                <a:gd name="T84" fmla="*/ 3276 w 4031"/>
                <a:gd name="T85" fmla="*/ 5949 h 6099"/>
                <a:gd name="T86" fmla="*/ 3179 w 4031"/>
                <a:gd name="T87" fmla="*/ 6074 h 6099"/>
                <a:gd name="T88" fmla="*/ 2948 w 4031"/>
                <a:gd name="T89" fmla="*/ 5961 h 6099"/>
                <a:gd name="T90" fmla="*/ 2714 w 4031"/>
                <a:gd name="T91" fmla="*/ 5952 h 6099"/>
                <a:gd name="T92" fmla="*/ 2626 w 4031"/>
                <a:gd name="T93" fmla="*/ 5899 h 6099"/>
                <a:gd name="T94" fmla="*/ 2542 w 4031"/>
                <a:gd name="T95" fmla="*/ 5643 h 6099"/>
                <a:gd name="T96" fmla="*/ 2454 w 4031"/>
                <a:gd name="T97" fmla="*/ 5402 h 6099"/>
                <a:gd name="T98" fmla="*/ 2348 w 4031"/>
                <a:gd name="T99" fmla="*/ 5384 h 6099"/>
                <a:gd name="T100" fmla="*/ 2061 w 4031"/>
                <a:gd name="T101" fmla="*/ 5137 h 6099"/>
                <a:gd name="T102" fmla="*/ 1861 w 4031"/>
                <a:gd name="T103" fmla="*/ 5268 h 6099"/>
                <a:gd name="T104" fmla="*/ 1590 w 4031"/>
                <a:gd name="T105" fmla="*/ 5299 h 6099"/>
                <a:gd name="T106" fmla="*/ 1321 w 4031"/>
                <a:gd name="T107" fmla="*/ 5306 h 6099"/>
                <a:gd name="T108" fmla="*/ 931 w 4031"/>
                <a:gd name="T109" fmla="*/ 5384 h 6099"/>
                <a:gd name="T110" fmla="*/ 737 w 4031"/>
                <a:gd name="T111" fmla="*/ 5090 h 6099"/>
                <a:gd name="T112" fmla="*/ 403 w 4031"/>
                <a:gd name="T113" fmla="*/ 4797 h 6099"/>
                <a:gd name="T114" fmla="*/ 194 w 4031"/>
                <a:gd name="T115" fmla="*/ 4369 h 6099"/>
                <a:gd name="T116" fmla="*/ 34 w 4031"/>
                <a:gd name="T117" fmla="*/ 4122 h 6099"/>
                <a:gd name="T118" fmla="*/ 84 w 4031"/>
                <a:gd name="T119" fmla="*/ 3932 h 6099"/>
                <a:gd name="T120" fmla="*/ 169 w 4031"/>
                <a:gd name="T121" fmla="*/ 3807 h 6099"/>
                <a:gd name="T122" fmla="*/ 134 w 4031"/>
                <a:gd name="T123" fmla="*/ 3623 h 6099"/>
                <a:gd name="T124" fmla="*/ 122 w 4031"/>
                <a:gd name="T125" fmla="*/ 3273 h 6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31" h="6099">
                  <a:moveTo>
                    <a:pt x="159" y="3204"/>
                  </a:moveTo>
                  <a:lnTo>
                    <a:pt x="159" y="3192"/>
                  </a:lnTo>
                  <a:lnTo>
                    <a:pt x="159" y="3179"/>
                  </a:lnTo>
                  <a:lnTo>
                    <a:pt x="162" y="3157"/>
                  </a:lnTo>
                  <a:lnTo>
                    <a:pt x="166" y="3129"/>
                  </a:lnTo>
                  <a:lnTo>
                    <a:pt x="172" y="3104"/>
                  </a:lnTo>
                  <a:lnTo>
                    <a:pt x="184" y="3085"/>
                  </a:lnTo>
                  <a:lnTo>
                    <a:pt x="197" y="3082"/>
                  </a:lnTo>
                  <a:lnTo>
                    <a:pt x="212" y="3082"/>
                  </a:lnTo>
                  <a:lnTo>
                    <a:pt x="228" y="3085"/>
                  </a:lnTo>
                  <a:lnTo>
                    <a:pt x="240" y="3079"/>
                  </a:lnTo>
                  <a:lnTo>
                    <a:pt x="250" y="3064"/>
                  </a:lnTo>
                  <a:lnTo>
                    <a:pt x="259" y="3039"/>
                  </a:lnTo>
                  <a:lnTo>
                    <a:pt x="265" y="3017"/>
                  </a:lnTo>
                  <a:lnTo>
                    <a:pt x="275" y="2995"/>
                  </a:lnTo>
                  <a:lnTo>
                    <a:pt x="281" y="2970"/>
                  </a:lnTo>
                  <a:lnTo>
                    <a:pt x="290" y="2945"/>
                  </a:lnTo>
                  <a:lnTo>
                    <a:pt x="306" y="2926"/>
                  </a:lnTo>
                  <a:lnTo>
                    <a:pt x="309" y="2926"/>
                  </a:lnTo>
                  <a:lnTo>
                    <a:pt x="319" y="2926"/>
                  </a:lnTo>
                  <a:lnTo>
                    <a:pt x="325" y="2926"/>
                  </a:lnTo>
                  <a:lnTo>
                    <a:pt x="334" y="2929"/>
                  </a:lnTo>
                  <a:lnTo>
                    <a:pt x="340" y="2929"/>
                  </a:lnTo>
                  <a:lnTo>
                    <a:pt x="347" y="2929"/>
                  </a:lnTo>
                  <a:lnTo>
                    <a:pt x="369" y="2914"/>
                  </a:lnTo>
                  <a:lnTo>
                    <a:pt x="390" y="2892"/>
                  </a:lnTo>
                  <a:lnTo>
                    <a:pt x="406" y="2873"/>
                  </a:lnTo>
                  <a:lnTo>
                    <a:pt x="412" y="2864"/>
                  </a:lnTo>
                  <a:lnTo>
                    <a:pt x="422" y="2854"/>
                  </a:lnTo>
                  <a:lnTo>
                    <a:pt x="431" y="2845"/>
                  </a:lnTo>
                  <a:lnTo>
                    <a:pt x="437" y="2836"/>
                  </a:lnTo>
                  <a:lnTo>
                    <a:pt x="440" y="2826"/>
                  </a:lnTo>
                  <a:lnTo>
                    <a:pt x="447" y="2811"/>
                  </a:lnTo>
                  <a:lnTo>
                    <a:pt x="447" y="2789"/>
                  </a:lnTo>
                  <a:lnTo>
                    <a:pt x="443" y="2770"/>
                  </a:lnTo>
                  <a:lnTo>
                    <a:pt x="440" y="2764"/>
                  </a:lnTo>
                  <a:lnTo>
                    <a:pt x="431" y="2758"/>
                  </a:lnTo>
                  <a:lnTo>
                    <a:pt x="422" y="2751"/>
                  </a:lnTo>
                  <a:lnTo>
                    <a:pt x="412" y="2748"/>
                  </a:lnTo>
                  <a:lnTo>
                    <a:pt x="400" y="2748"/>
                  </a:lnTo>
                  <a:lnTo>
                    <a:pt x="381" y="2751"/>
                  </a:lnTo>
                  <a:lnTo>
                    <a:pt x="365" y="2751"/>
                  </a:lnTo>
                  <a:lnTo>
                    <a:pt x="350" y="2748"/>
                  </a:lnTo>
                  <a:lnTo>
                    <a:pt x="340" y="2736"/>
                  </a:lnTo>
                  <a:lnTo>
                    <a:pt x="331" y="2717"/>
                  </a:lnTo>
                  <a:lnTo>
                    <a:pt x="325" y="2698"/>
                  </a:lnTo>
                  <a:lnTo>
                    <a:pt x="328" y="2673"/>
                  </a:lnTo>
                  <a:lnTo>
                    <a:pt x="334" y="2645"/>
                  </a:lnTo>
                  <a:lnTo>
                    <a:pt x="344" y="2620"/>
                  </a:lnTo>
                  <a:lnTo>
                    <a:pt x="350" y="2617"/>
                  </a:lnTo>
                  <a:lnTo>
                    <a:pt x="356" y="2611"/>
                  </a:lnTo>
                  <a:lnTo>
                    <a:pt x="365" y="2605"/>
                  </a:lnTo>
                  <a:lnTo>
                    <a:pt x="372" y="2601"/>
                  </a:lnTo>
                  <a:lnTo>
                    <a:pt x="378" y="2595"/>
                  </a:lnTo>
                  <a:lnTo>
                    <a:pt x="384" y="2589"/>
                  </a:lnTo>
                  <a:lnTo>
                    <a:pt x="384" y="2573"/>
                  </a:lnTo>
                  <a:lnTo>
                    <a:pt x="378" y="2551"/>
                  </a:lnTo>
                  <a:lnTo>
                    <a:pt x="375" y="2533"/>
                  </a:lnTo>
                  <a:lnTo>
                    <a:pt x="378" y="2523"/>
                  </a:lnTo>
                  <a:lnTo>
                    <a:pt x="381" y="2514"/>
                  </a:lnTo>
                  <a:lnTo>
                    <a:pt x="387" y="2502"/>
                  </a:lnTo>
                  <a:lnTo>
                    <a:pt x="390" y="2492"/>
                  </a:lnTo>
                  <a:lnTo>
                    <a:pt x="397" y="2486"/>
                  </a:lnTo>
                  <a:lnTo>
                    <a:pt x="415" y="2480"/>
                  </a:lnTo>
                  <a:lnTo>
                    <a:pt x="437" y="2477"/>
                  </a:lnTo>
                  <a:lnTo>
                    <a:pt x="459" y="2477"/>
                  </a:lnTo>
                  <a:lnTo>
                    <a:pt x="478" y="2483"/>
                  </a:lnTo>
                  <a:lnTo>
                    <a:pt x="503" y="2489"/>
                  </a:lnTo>
                  <a:lnTo>
                    <a:pt x="522" y="2495"/>
                  </a:lnTo>
                  <a:lnTo>
                    <a:pt x="540" y="2492"/>
                  </a:lnTo>
                  <a:lnTo>
                    <a:pt x="559" y="2486"/>
                  </a:lnTo>
                  <a:lnTo>
                    <a:pt x="581" y="2477"/>
                  </a:lnTo>
                  <a:lnTo>
                    <a:pt x="590" y="2464"/>
                  </a:lnTo>
                  <a:lnTo>
                    <a:pt x="593" y="2448"/>
                  </a:lnTo>
                  <a:lnTo>
                    <a:pt x="587" y="2427"/>
                  </a:lnTo>
                  <a:lnTo>
                    <a:pt x="575" y="2405"/>
                  </a:lnTo>
                  <a:lnTo>
                    <a:pt x="565" y="2386"/>
                  </a:lnTo>
                  <a:lnTo>
                    <a:pt x="553" y="2370"/>
                  </a:lnTo>
                  <a:lnTo>
                    <a:pt x="534" y="2361"/>
                  </a:lnTo>
                  <a:lnTo>
                    <a:pt x="509" y="2348"/>
                  </a:lnTo>
                  <a:lnTo>
                    <a:pt x="484" y="2342"/>
                  </a:lnTo>
                  <a:lnTo>
                    <a:pt x="465" y="2333"/>
                  </a:lnTo>
                  <a:lnTo>
                    <a:pt x="459" y="2327"/>
                  </a:lnTo>
                  <a:lnTo>
                    <a:pt x="450" y="2320"/>
                  </a:lnTo>
                  <a:lnTo>
                    <a:pt x="440" y="2314"/>
                  </a:lnTo>
                  <a:lnTo>
                    <a:pt x="431" y="2305"/>
                  </a:lnTo>
                  <a:lnTo>
                    <a:pt x="428" y="2299"/>
                  </a:lnTo>
                  <a:lnTo>
                    <a:pt x="425" y="2277"/>
                  </a:lnTo>
                  <a:lnTo>
                    <a:pt x="428" y="2249"/>
                  </a:lnTo>
                  <a:lnTo>
                    <a:pt x="431" y="2220"/>
                  </a:lnTo>
                  <a:lnTo>
                    <a:pt x="434" y="2195"/>
                  </a:lnTo>
                  <a:lnTo>
                    <a:pt x="434" y="2171"/>
                  </a:lnTo>
                  <a:lnTo>
                    <a:pt x="431" y="2142"/>
                  </a:lnTo>
                  <a:lnTo>
                    <a:pt x="431" y="2114"/>
                  </a:lnTo>
                  <a:lnTo>
                    <a:pt x="434" y="2092"/>
                  </a:lnTo>
                  <a:lnTo>
                    <a:pt x="440" y="2083"/>
                  </a:lnTo>
                  <a:lnTo>
                    <a:pt x="447" y="2074"/>
                  </a:lnTo>
                  <a:lnTo>
                    <a:pt x="453" y="2064"/>
                  </a:lnTo>
                  <a:lnTo>
                    <a:pt x="462" y="2058"/>
                  </a:lnTo>
                  <a:lnTo>
                    <a:pt x="468" y="2052"/>
                  </a:lnTo>
                  <a:lnTo>
                    <a:pt x="478" y="2049"/>
                  </a:lnTo>
                  <a:lnTo>
                    <a:pt x="487" y="2049"/>
                  </a:lnTo>
                  <a:lnTo>
                    <a:pt x="497" y="2049"/>
                  </a:lnTo>
                  <a:lnTo>
                    <a:pt x="506" y="2049"/>
                  </a:lnTo>
                  <a:lnTo>
                    <a:pt x="512" y="2049"/>
                  </a:lnTo>
                  <a:lnTo>
                    <a:pt x="531" y="2039"/>
                  </a:lnTo>
                  <a:lnTo>
                    <a:pt x="550" y="2024"/>
                  </a:lnTo>
                  <a:lnTo>
                    <a:pt x="572" y="2011"/>
                  </a:lnTo>
                  <a:lnTo>
                    <a:pt x="587" y="2002"/>
                  </a:lnTo>
                  <a:lnTo>
                    <a:pt x="609" y="2002"/>
                  </a:lnTo>
                  <a:lnTo>
                    <a:pt x="637" y="2008"/>
                  </a:lnTo>
                  <a:lnTo>
                    <a:pt x="662" y="2011"/>
                  </a:lnTo>
                  <a:lnTo>
                    <a:pt x="684" y="2008"/>
                  </a:lnTo>
                  <a:lnTo>
                    <a:pt x="696" y="1996"/>
                  </a:lnTo>
                  <a:lnTo>
                    <a:pt x="709" y="1974"/>
                  </a:lnTo>
                  <a:lnTo>
                    <a:pt x="718" y="1958"/>
                  </a:lnTo>
                  <a:lnTo>
                    <a:pt x="725" y="1949"/>
                  </a:lnTo>
                  <a:lnTo>
                    <a:pt x="731" y="1939"/>
                  </a:lnTo>
                  <a:lnTo>
                    <a:pt x="740" y="1930"/>
                  </a:lnTo>
                  <a:lnTo>
                    <a:pt x="749" y="1921"/>
                  </a:lnTo>
                  <a:lnTo>
                    <a:pt x="756" y="1918"/>
                  </a:lnTo>
                  <a:lnTo>
                    <a:pt x="774" y="1918"/>
                  </a:lnTo>
                  <a:lnTo>
                    <a:pt x="799" y="1921"/>
                  </a:lnTo>
                  <a:lnTo>
                    <a:pt x="821" y="1930"/>
                  </a:lnTo>
                  <a:lnTo>
                    <a:pt x="837" y="1939"/>
                  </a:lnTo>
                  <a:lnTo>
                    <a:pt x="843" y="1943"/>
                  </a:lnTo>
                  <a:lnTo>
                    <a:pt x="846" y="1952"/>
                  </a:lnTo>
                  <a:lnTo>
                    <a:pt x="849" y="1958"/>
                  </a:lnTo>
                  <a:lnTo>
                    <a:pt x="856" y="1968"/>
                  </a:lnTo>
                  <a:lnTo>
                    <a:pt x="859" y="1971"/>
                  </a:lnTo>
                  <a:lnTo>
                    <a:pt x="868" y="1974"/>
                  </a:lnTo>
                  <a:lnTo>
                    <a:pt x="878" y="1977"/>
                  </a:lnTo>
                  <a:lnTo>
                    <a:pt x="890" y="1977"/>
                  </a:lnTo>
                  <a:lnTo>
                    <a:pt x="899" y="1977"/>
                  </a:lnTo>
                  <a:lnTo>
                    <a:pt x="909" y="1974"/>
                  </a:lnTo>
                  <a:lnTo>
                    <a:pt x="915" y="1971"/>
                  </a:lnTo>
                  <a:lnTo>
                    <a:pt x="921" y="1964"/>
                  </a:lnTo>
                  <a:lnTo>
                    <a:pt x="927" y="1955"/>
                  </a:lnTo>
                  <a:lnTo>
                    <a:pt x="934" y="1952"/>
                  </a:lnTo>
                  <a:lnTo>
                    <a:pt x="952" y="1955"/>
                  </a:lnTo>
                  <a:lnTo>
                    <a:pt x="974" y="1961"/>
                  </a:lnTo>
                  <a:lnTo>
                    <a:pt x="990" y="1964"/>
                  </a:lnTo>
                  <a:lnTo>
                    <a:pt x="1015" y="1961"/>
                  </a:lnTo>
                  <a:lnTo>
                    <a:pt x="1040" y="1949"/>
                  </a:lnTo>
                  <a:lnTo>
                    <a:pt x="1059" y="1933"/>
                  </a:lnTo>
                  <a:lnTo>
                    <a:pt x="1068" y="1914"/>
                  </a:lnTo>
                  <a:lnTo>
                    <a:pt x="1068" y="1886"/>
                  </a:lnTo>
                  <a:lnTo>
                    <a:pt x="1068" y="1864"/>
                  </a:lnTo>
                  <a:lnTo>
                    <a:pt x="1062" y="1840"/>
                  </a:lnTo>
                  <a:lnTo>
                    <a:pt x="1046" y="1808"/>
                  </a:lnTo>
                  <a:lnTo>
                    <a:pt x="1034" y="1777"/>
                  </a:lnTo>
                  <a:lnTo>
                    <a:pt x="1024" y="1752"/>
                  </a:lnTo>
                  <a:lnTo>
                    <a:pt x="1021" y="1727"/>
                  </a:lnTo>
                  <a:lnTo>
                    <a:pt x="1018" y="1696"/>
                  </a:lnTo>
                  <a:lnTo>
                    <a:pt x="1015" y="1665"/>
                  </a:lnTo>
                  <a:lnTo>
                    <a:pt x="1015" y="1640"/>
                  </a:lnTo>
                  <a:lnTo>
                    <a:pt x="1021" y="1621"/>
                  </a:lnTo>
                  <a:lnTo>
                    <a:pt x="1031" y="1599"/>
                  </a:lnTo>
                  <a:lnTo>
                    <a:pt x="1037" y="1583"/>
                  </a:lnTo>
                  <a:lnTo>
                    <a:pt x="1043" y="1558"/>
                  </a:lnTo>
                  <a:lnTo>
                    <a:pt x="1049" y="1530"/>
                  </a:lnTo>
                  <a:lnTo>
                    <a:pt x="1056" y="1502"/>
                  </a:lnTo>
                  <a:lnTo>
                    <a:pt x="1056" y="1477"/>
                  </a:lnTo>
                  <a:lnTo>
                    <a:pt x="1046" y="1462"/>
                  </a:lnTo>
                  <a:lnTo>
                    <a:pt x="1034" y="1440"/>
                  </a:lnTo>
                  <a:lnTo>
                    <a:pt x="1018" y="1421"/>
                  </a:lnTo>
                  <a:lnTo>
                    <a:pt x="1012" y="1402"/>
                  </a:lnTo>
                  <a:lnTo>
                    <a:pt x="1015" y="1380"/>
                  </a:lnTo>
                  <a:lnTo>
                    <a:pt x="1021" y="1356"/>
                  </a:lnTo>
                  <a:lnTo>
                    <a:pt x="1034" y="1334"/>
                  </a:lnTo>
                  <a:lnTo>
                    <a:pt x="1046" y="1321"/>
                  </a:lnTo>
                  <a:lnTo>
                    <a:pt x="1068" y="1309"/>
                  </a:lnTo>
                  <a:lnTo>
                    <a:pt x="1084" y="1302"/>
                  </a:lnTo>
                  <a:lnTo>
                    <a:pt x="1093" y="1302"/>
                  </a:lnTo>
                  <a:lnTo>
                    <a:pt x="1099" y="1306"/>
                  </a:lnTo>
                  <a:lnTo>
                    <a:pt x="1109" y="1309"/>
                  </a:lnTo>
                  <a:lnTo>
                    <a:pt x="1118" y="1312"/>
                  </a:lnTo>
                  <a:lnTo>
                    <a:pt x="1127" y="1312"/>
                  </a:lnTo>
                  <a:lnTo>
                    <a:pt x="1134" y="1312"/>
                  </a:lnTo>
                  <a:lnTo>
                    <a:pt x="1140" y="1306"/>
                  </a:lnTo>
                  <a:lnTo>
                    <a:pt x="1143" y="1299"/>
                  </a:lnTo>
                  <a:lnTo>
                    <a:pt x="1146" y="1290"/>
                  </a:lnTo>
                  <a:lnTo>
                    <a:pt x="1152" y="1281"/>
                  </a:lnTo>
                  <a:lnTo>
                    <a:pt x="1155" y="1268"/>
                  </a:lnTo>
                  <a:lnTo>
                    <a:pt x="1159" y="1262"/>
                  </a:lnTo>
                  <a:lnTo>
                    <a:pt x="1171" y="1237"/>
                  </a:lnTo>
                  <a:lnTo>
                    <a:pt x="1187" y="1209"/>
                  </a:lnTo>
                  <a:lnTo>
                    <a:pt x="1199" y="1187"/>
                  </a:lnTo>
                  <a:lnTo>
                    <a:pt x="1209" y="1178"/>
                  </a:lnTo>
                  <a:lnTo>
                    <a:pt x="1218" y="1168"/>
                  </a:lnTo>
                  <a:lnTo>
                    <a:pt x="1227" y="1159"/>
                  </a:lnTo>
                  <a:lnTo>
                    <a:pt x="1237" y="1149"/>
                  </a:lnTo>
                  <a:lnTo>
                    <a:pt x="1246" y="1143"/>
                  </a:lnTo>
                  <a:lnTo>
                    <a:pt x="1265" y="1124"/>
                  </a:lnTo>
                  <a:lnTo>
                    <a:pt x="1290" y="1103"/>
                  </a:lnTo>
                  <a:lnTo>
                    <a:pt x="1302" y="1081"/>
                  </a:lnTo>
                  <a:lnTo>
                    <a:pt x="1305" y="1062"/>
                  </a:lnTo>
                  <a:lnTo>
                    <a:pt x="1305" y="1034"/>
                  </a:lnTo>
                  <a:lnTo>
                    <a:pt x="1299" y="1012"/>
                  </a:lnTo>
                  <a:lnTo>
                    <a:pt x="1293" y="993"/>
                  </a:lnTo>
                  <a:lnTo>
                    <a:pt x="1280" y="975"/>
                  </a:lnTo>
                  <a:lnTo>
                    <a:pt x="1274" y="956"/>
                  </a:lnTo>
                  <a:lnTo>
                    <a:pt x="1271" y="928"/>
                  </a:lnTo>
                  <a:lnTo>
                    <a:pt x="1277" y="893"/>
                  </a:lnTo>
                  <a:lnTo>
                    <a:pt x="1287" y="865"/>
                  </a:lnTo>
                  <a:lnTo>
                    <a:pt x="1305" y="850"/>
                  </a:lnTo>
                  <a:lnTo>
                    <a:pt x="1327" y="837"/>
                  </a:lnTo>
                  <a:lnTo>
                    <a:pt x="1346" y="822"/>
                  </a:lnTo>
                  <a:lnTo>
                    <a:pt x="1352" y="797"/>
                  </a:lnTo>
                  <a:lnTo>
                    <a:pt x="1355" y="762"/>
                  </a:lnTo>
                  <a:lnTo>
                    <a:pt x="1352" y="734"/>
                  </a:lnTo>
                  <a:lnTo>
                    <a:pt x="1343" y="712"/>
                  </a:lnTo>
                  <a:lnTo>
                    <a:pt x="1327" y="687"/>
                  </a:lnTo>
                  <a:lnTo>
                    <a:pt x="1312" y="669"/>
                  </a:lnTo>
                  <a:lnTo>
                    <a:pt x="1305" y="665"/>
                  </a:lnTo>
                  <a:lnTo>
                    <a:pt x="1296" y="662"/>
                  </a:lnTo>
                  <a:lnTo>
                    <a:pt x="1283" y="656"/>
                  </a:lnTo>
                  <a:lnTo>
                    <a:pt x="1274" y="653"/>
                  </a:lnTo>
                  <a:lnTo>
                    <a:pt x="1268" y="647"/>
                  </a:lnTo>
                  <a:lnTo>
                    <a:pt x="1255" y="628"/>
                  </a:lnTo>
                  <a:lnTo>
                    <a:pt x="1243" y="600"/>
                  </a:lnTo>
                  <a:lnTo>
                    <a:pt x="1237" y="572"/>
                  </a:lnTo>
                  <a:lnTo>
                    <a:pt x="1237" y="550"/>
                  </a:lnTo>
                  <a:lnTo>
                    <a:pt x="1240" y="541"/>
                  </a:lnTo>
                  <a:lnTo>
                    <a:pt x="1243" y="534"/>
                  </a:lnTo>
                  <a:lnTo>
                    <a:pt x="1249" y="525"/>
                  </a:lnTo>
                  <a:lnTo>
                    <a:pt x="1255" y="516"/>
                  </a:lnTo>
                  <a:lnTo>
                    <a:pt x="1265" y="506"/>
                  </a:lnTo>
                  <a:lnTo>
                    <a:pt x="1280" y="506"/>
                  </a:lnTo>
                  <a:lnTo>
                    <a:pt x="1299" y="503"/>
                  </a:lnTo>
                  <a:lnTo>
                    <a:pt x="1312" y="500"/>
                  </a:lnTo>
                  <a:lnTo>
                    <a:pt x="1330" y="494"/>
                  </a:lnTo>
                  <a:lnTo>
                    <a:pt x="1352" y="484"/>
                  </a:lnTo>
                  <a:lnTo>
                    <a:pt x="1371" y="481"/>
                  </a:lnTo>
                  <a:lnTo>
                    <a:pt x="1390" y="484"/>
                  </a:lnTo>
                  <a:lnTo>
                    <a:pt x="1415" y="491"/>
                  </a:lnTo>
                  <a:lnTo>
                    <a:pt x="1433" y="500"/>
                  </a:lnTo>
                  <a:lnTo>
                    <a:pt x="1452" y="522"/>
                  </a:lnTo>
                  <a:lnTo>
                    <a:pt x="1474" y="550"/>
                  </a:lnTo>
                  <a:lnTo>
                    <a:pt x="1493" y="572"/>
                  </a:lnTo>
                  <a:lnTo>
                    <a:pt x="1518" y="581"/>
                  </a:lnTo>
                  <a:lnTo>
                    <a:pt x="1546" y="587"/>
                  </a:lnTo>
                  <a:lnTo>
                    <a:pt x="1577" y="594"/>
                  </a:lnTo>
                  <a:lnTo>
                    <a:pt x="1602" y="594"/>
                  </a:lnTo>
                  <a:lnTo>
                    <a:pt x="1627" y="587"/>
                  </a:lnTo>
                  <a:lnTo>
                    <a:pt x="1655" y="575"/>
                  </a:lnTo>
                  <a:lnTo>
                    <a:pt x="1683" y="562"/>
                  </a:lnTo>
                  <a:lnTo>
                    <a:pt x="1702" y="547"/>
                  </a:lnTo>
                  <a:lnTo>
                    <a:pt x="1714" y="531"/>
                  </a:lnTo>
                  <a:lnTo>
                    <a:pt x="1727" y="506"/>
                  </a:lnTo>
                  <a:lnTo>
                    <a:pt x="1739" y="484"/>
                  </a:lnTo>
                  <a:lnTo>
                    <a:pt x="1752" y="466"/>
                  </a:lnTo>
                  <a:lnTo>
                    <a:pt x="1774" y="459"/>
                  </a:lnTo>
                  <a:lnTo>
                    <a:pt x="1799" y="456"/>
                  </a:lnTo>
                  <a:lnTo>
                    <a:pt x="1824" y="453"/>
                  </a:lnTo>
                  <a:lnTo>
                    <a:pt x="1849" y="444"/>
                  </a:lnTo>
                  <a:lnTo>
                    <a:pt x="1880" y="431"/>
                  </a:lnTo>
                  <a:lnTo>
                    <a:pt x="1902" y="419"/>
                  </a:lnTo>
                  <a:lnTo>
                    <a:pt x="1924" y="406"/>
                  </a:lnTo>
                  <a:lnTo>
                    <a:pt x="1952" y="394"/>
                  </a:lnTo>
                  <a:lnTo>
                    <a:pt x="1974" y="378"/>
                  </a:lnTo>
                  <a:lnTo>
                    <a:pt x="1986" y="359"/>
                  </a:lnTo>
                  <a:lnTo>
                    <a:pt x="1986" y="344"/>
                  </a:lnTo>
                  <a:lnTo>
                    <a:pt x="1977" y="322"/>
                  </a:lnTo>
                  <a:lnTo>
                    <a:pt x="1964" y="300"/>
                  </a:lnTo>
                  <a:lnTo>
                    <a:pt x="1952" y="281"/>
                  </a:lnTo>
                  <a:lnTo>
                    <a:pt x="1945" y="263"/>
                  </a:lnTo>
                  <a:lnTo>
                    <a:pt x="1942" y="244"/>
                  </a:lnTo>
                  <a:lnTo>
                    <a:pt x="1939" y="219"/>
                  </a:lnTo>
                  <a:lnTo>
                    <a:pt x="1939" y="194"/>
                  </a:lnTo>
                  <a:lnTo>
                    <a:pt x="1945" y="175"/>
                  </a:lnTo>
                  <a:lnTo>
                    <a:pt x="1952" y="172"/>
                  </a:lnTo>
                  <a:lnTo>
                    <a:pt x="1958" y="166"/>
                  </a:lnTo>
                  <a:lnTo>
                    <a:pt x="1970" y="163"/>
                  </a:lnTo>
                  <a:lnTo>
                    <a:pt x="1980" y="160"/>
                  </a:lnTo>
                  <a:lnTo>
                    <a:pt x="1989" y="156"/>
                  </a:lnTo>
                  <a:lnTo>
                    <a:pt x="1995" y="153"/>
                  </a:lnTo>
                  <a:lnTo>
                    <a:pt x="2017" y="131"/>
                  </a:lnTo>
                  <a:lnTo>
                    <a:pt x="2042" y="103"/>
                  </a:lnTo>
                  <a:lnTo>
                    <a:pt x="2061" y="78"/>
                  </a:lnTo>
                  <a:lnTo>
                    <a:pt x="2074" y="57"/>
                  </a:lnTo>
                  <a:lnTo>
                    <a:pt x="2086" y="28"/>
                  </a:lnTo>
                  <a:lnTo>
                    <a:pt x="2102" y="10"/>
                  </a:lnTo>
                  <a:lnTo>
                    <a:pt x="2117" y="3"/>
                  </a:lnTo>
                  <a:lnTo>
                    <a:pt x="2136" y="0"/>
                  </a:lnTo>
                  <a:lnTo>
                    <a:pt x="2155" y="0"/>
                  </a:lnTo>
                  <a:lnTo>
                    <a:pt x="2177" y="0"/>
                  </a:lnTo>
                  <a:lnTo>
                    <a:pt x="2205" y="3"/>
                  </a:lnTo>
                  <a:lnTo>
                    <a:pt x="2233" y="13"/>
                  </a:lnTo>
                  <a:lnTo>
                    <a:pt x="2252" y="22"/>
                  </a:lnTo>
                  <a:lnTo>
                    <a:pt x="2261" y="38"/>
                  </a:lnTo>
                  <a:lnTo>
                    <a:pt x="2264" y="60"/>
                  </a:lnTo>
                  <a:lnTo>
                    <a:pt x="2267" y="85"/>
                  </a:lnTo>
                  <a:lnTo>
                    <a:pt x="2270" y="103"/>
                  </a:lnTo>
                  <a:lnTo>
                    <a:pt x="2267" y="122"/>
                  </a:lnTo>
                  <a:lnTo>
                    <a:pt x="2261" y="147"/>
                  </a:lnTo>
                  <a:lnTo>
                    <a:pt x="2255" y="166"/>
                  </a:lnTo>
                  <a:lnTo>
                    <a:pt x="2248" y="172"/>
                  </a:lnTo>
                  <a:lnTo>
                    <a:pt x="2239" y="175"/>
                  </a:lnTo>
                  <a:lnTo>
                    <a:pt x="2227" y="178"/>
                  </a:lnTo>
                  <a:lnTo>
                    <a:pt x="2217" y="185"/>
                  </a:lnTo>
                  <a:lnTo>
                    <a:pt x="2211" y="188"/>
                  </a:lnTo>
                  <a:lnTo>
                    <a:pt x="2202" y="206"/>
                  </a:lnTo>
                  <a:lnTo>
                    <a:pt x="2195" y="231"/>
                  </a:lnTo>
                  <a:lnTo>
                    <a:pt x="2192" y="253"/>
                  </a:lnTo>
                  <a:lnTo>
                    <a:pt x="2186" y="281"/>
                  </a:lnTo>
                  <a:lnTo>
                    <a:pt x="2180" y="313"/>
                  </a:lnTo>
                  <a:lnTo>
                    <a:pt x="2173" y="344"/>
                  </a:lnTo>
                  <a:lnTo>
                    <a:pt x="2161" y="366"/>
                  </a:lnTo>
                  <a:lnTo>
                    <a:pt x="2152" y="375"/>
                  </a:lnTo>
                  <a:lnTo>
                    <a:pt x="2136" y="381"/>
                  </a:lnTo>
                  <a:lnTo>
                    <a:pt x="2120" y="388"/>
                  </a:lnTo>
                  <a:lnTo>
                    <a:pt x="2108" y="394"/>
                  </a:lnTo>
                  <a:lnTo>
                    <a:pt x="2102" y="416"/>
                  </a:lnTo>
                  <a:lnTo>
                    <a:pt x="2099" y="444"/>
                  </a:lnTo>
                  <a:lnTo>
                    <a:pt x="2102" y="472"/>
                  </a:lnTo>
                  <a:lnTo>
                    <a:pt x="2108" y="497"/>
                  </a:lnTo>
                  <a:lnTo>
                    <a:pt x="2111" y="503"/>
                  </a:lnTo>
                  <a:lnTo>
                    <a:pt x="2120" y="516"/>
                  </a:lnTo>
                  <a:lnTo>
                    <a:pt x="2130" y="525"/>
                  </a:lnTo>
                  <a:lnTo>
                    <a:pt x="2142" y="531"/>
                  </a:lnTo>
                  <a:lnTo>
                    <a:pt x="2152" y="537"/>
                  </a:lnTo>
                  <a:lnTo>
                    <a:pt x="2167" y="544"/>
                  </a:lnTo>
                  <a:lnTo>
                    <a:pt x="2189" y="547"/>
                  </a:lnTo>
                  <a:lnTo>
                    <a:pt x="2205" y="556"/>
                  </a:lnTo>
                  <a:lnTo>
                    <a:pt x="2217" y="572"/>
                  </a:lnTo>
                  <a:lnTo>
                    <a:pt x="2230" y="590"/>
                  </a:lnTo>
                  <a:lnTo>
                    <a:pt x="2239" y="615"/>
                  </a:lnTo>
                  <a:lnTo>
                    <a:pt x="2242" y="634"/>
                  </a:lnTo>
                  <a:lnTo>
                    <a:pt x="2233" y="650"/>
                  </a:lnTo>
                  <a:lnTo>
                    <a:pt x="2214" y="669"/>
                  </a:lnTo>
                  <a:lnTo>
                    <a:pt x="2195" y="684"/>
                  </a:lnTo>
                  <a:lnTo>
                    <a:pt x="2186" y="703"/>
                  </a:lnTo>
                  <a:lnTo>
                    <a:pt x="2183" y="725"/>
                  </a:lnTo>
                  <a:lnTo>
                    <a:pt x="2189" y="753"/>
                  </a:lnTo>
                  <a:lnTo>
                    <a:pt x="2198" y="778"/>
                  </a:lnTo>
                  <a:lnTo>
                    <a:pt x="2211" y="800"/>
                  </a:lnTo>
                  <a:lnTo>
                    <a:pt x="2223" y="803"/>
                  </a:lnTo>
                  <a:lnTo>
                    <a:pt x="2239" y="806"/>
                  </a:lnTo>
                  <a:lnTo>
                    <a:pt x="2258" y="809"/>
                  </a:lnTo>
                  <a:lnTo>
                    <a:pt x="2270" y="812"/>
                  </a:lnTo>
                  <a:lnTo>
                    <a:pt x="2273" y="828"/>
                  </a:lnTo>
                  <a:lnTo>
                    <a:pt x="2270" y="843"/>
                  </a:lnTo>
                  <a:lnTo>
                    <a:pt x="2267" y="865"/>
                  </a:lnTo>
                  <a:lnTo>
                    <a:pt x="2267" y="881"/>
                  </a:lnTo>
                  <a:lnTo>
                    <a:pt x="2270" y="893"/>
                  </a:lnTo>
                  <a:lnTo>
                    <a:pt x="2286" y="903"/>
                  </a:lnTo>
                  <a:lnTo>
                    <a:pt x="2308" y="903"/>
                  </a:lnTo>
                  <a:lnTo>
                    <a:pt x="2326" y="903"/>
                  </a:lnTo>
                  <a:lnTo>
                    <a:pt x="2336" y="900"/>
                  </a:lnTo>
                  <a:lnTo>
                    <a:pt x="2342" y="893"/>
                  </a:lnTo>
                  <a:lnTo>
                    <a:pt x="2351" y="887"/>
                  </a:lnTo>
                  <a:lnTo>
                    <a:pt x="2361" y="884"/>
                  </a:lnTo>
                  <a:lnTo>
                    <a:pt x="2370" y="878"/>
                  </a:lnTo>
                  <a:lnTo>
                    <a:pt x="2376" y="875"/>
                  </a:lnTo>
                  <a:lnTo>
                    <a:pt x="2401" y="872"/>
                  </a:lnTo>
                  <a:lnTo>
                    <a:pt x="2433" y="872"/>
                  </a:lnTo>
                  <a:lnTo>
                    <a:pt x="2458" y="875"/>
                  </a:lnTo>
                  <a:lnTo>
                    <a:pt x="2464" y="881"/>
                  </a:lnTo>
                  <a:lnTo>
                    <a:pt x="2473" y="890"/>
                  </a:lnTo>
                  <a:lnTo>
                    <a:pt x="2479" y="900"/>
                  </a:lnTo>
                  <a:lnTo>
                    <a:pt x="2486" y="912"/>
                  </a:lnTo>
                  <a:lnTo>
                    <a:pt x="2495" y="918"/>
                  </a:lnTo>
                  <a:lnTo>
                    <a:pt x="2517" y="925"/>
                  </a:lnTo>
                  <a:lnTo>
                    <a:pt x="2545" y="925"/>
                  </a:lnTo>
                  <a:lnTo>
                    <a:pt x="2573" y="928"/>
                  </a:lnTo>
                  <a:lnTo>
                    <a:pt x="2595" y="934"/>
                  </a:lnTo>
                  <a:lnTo>
                    <a:pt x="2604" y="937"/>
                  </a:lnTo>
                  <a:lnTo>
                    <a:pt x="2611" y="943"/>
                  </a:lnTo>
                  <a:lnTo>
                    <a:pt x="2620" y="950"/>
                  </a:lnTo>
                  <a:lnTo>
                    <a:pt x="2629" y="959"/>
                  </a:lnTo>
                  <a:lnTo>
                    <a:pt x="2636" y="968"/>
                  </a:lnTo>
                  <a:lnTo>
                    <a:pt x="2642" y="975"/>
                  </a:lnTo>
                  <a:lnTo>
                    <a:pt x="2642" y="990"/>
                  </a:lnTo>
                  <a:lnTo>
                    <a:pt x="2639" y="1012"/>
                  </a:lnTo>
                  <a:lnTo>
                    <a:pt x="2642" y="1028"/>
                  </a:lnTo>
                  <a:lnTo>
                    <a:pt x="2657" y="1046"/>
                  </a:lnTo>
                  <a:lnTo>
                    <a:pt x="2679" y="1062"/>
                  </a:lnTo>
                  <a:lnTo>
                    <a:pt x="2704" y="1078"/>
                  </a:lnTo>
                  <a:lnTo>
                    <a:pt x="2726" y="1090"/>
                  </a:lnTo>
                  <a:lnTo>
                    <a:pt x="2732" y="1093"/>
                  </a:lnTo>
                  <a:lnTo>
                    <a:pt x="2739" y="1103"/>
                  </a:lnTo>
                  <a:lnTo>
                    <a:pt x="2745" y="1109"/>
                  </a:lnTo>
                  <a:lnTo>
                    <a:pt x="2754" y="1115"/>
                  </a:lnTo>
                  <a:lnTo>
                    <a:pt x="2761" y="1118"/>
                  </a:lnTo>
                  <a:lnTo>
                    <a:pt x="2779" y="1128"/>
                  </a:lnTo>
                  <a:lnTo>
                    <a:pt x="2801" y="1140"/>
                  </a:lnTo>
                  <a:lnTo>
                    <a:pt x="2823" y="1146"/>
                  </a:lnTo>
                  <a:lnTo>
                    <a:pt x="2842" y="1146"/>
                  </a:lnTo>
                  <a:lnTo>
                    <a:pt x="2848" y="1143"/>
                  </a:lnTo>
                  <a:lnTo>
                    <a:pt x="2851" y="1137"/>
                  </a:lnTo>
                  <a:lnTo>
                    <a:pt x="2857" y="1131"/>
                  </a:lnTo>
                  <a:lnTo>
                    <a:pt x="2860" y="1121"/>
                  </a:lnTo>
                  <a:lnTo>
                    <a:pt x="2864" y="1115"/>
                  </a:lnTo>
                  <a:lnTo>
                    <a:pt x="2870" y="1109"/>
                  </a:lnTo>
                  <a:lnTo>
                    <a:pt x="2876" y="1106"/>
                  </a:lnTo>
                  <a:lnTo>
                    <a:pt x="2889" y="1106"/>
                  </a:lnTo>
                  <a:lnTo>
                    <a:pt x="2907" y="1115"/>
                  </a:lnTo>
                  <a:lnTo>
                    <a:pt x="2923" y="1124"/>
                  </a:lnTo>
                  <a:lnTo>
                    <a:pt x="2935" y="1137"/>
                  </a:lnTo>
                  <a:lnTo>
                    <a:pt x="2939" y="1149"/>
                  </a:lnTo>
                  <a:lnTo>
                    <a:pt x="2935" y="1168"/>
                  </a:lnTo>
                  <a:lnTo>
                    <a:pt x="2935" y="1184"/>
                  </a:lnTo>
                  <a:lnTo>
                    <a:pt x="2935" y="1196"/>
                  </a:lnTo>
                  <a:lnTo>
                    <a:pt x="2942" y="1206"/>
                  </a:lnTo>
                  <a:lnTo>
                    <a:pt x="2948" y="1215"/>
                  </a:lnTo>
                  <a:lnTo>
                    <a:pt x="2954" y="1224"/>
                  </a:lnTo>
                  <a:lnTo>
                    <a:pt x="2960" y="1231"/>
                  </a:lnTo>
                  <a:lnTo>
                    <a:pt x="2970" y="1240"/>
                  </a:lnTo>
                  <a:lnTo>
                    <a:pt x="2976" y="1246"/>
                  </a:lnTo>
                  <a:lnTo>
                    <a:pt x="2985" y="1249"/>
                  </a:lnTo>
                  <a:lnTo>
                    <a:pt x="2998" y="1252"/>
                  </a:lnTo>
                  <a:lnTo>
                    <a:pt x="3013" y="1256"/>
                  </a:lnTo>
                  <a:lnTo>
                    <a:pt x="3023" y="1259"/>
                  </a:lnTo>
                  <a:lnTo>
                    <a:pt x="3042" y="1265"/>
                  </a:lnTo>
                  <a:lnTo>
                    <a:pt x="3063" y="1271"/>
                  </a:lnTo>
                  <a:lnTo>
                    <a:pt x="3085" y="1277"/>
                  </a:lnTo>
                  <a:lnTo>
                    <a:pt x="3101" y="1284"/>
                  </a:lnTo>
                  <a:lnTo>
                    <a:pt x="3113" y="1302"/>
                  </a:lnTo>
                  <a:lnTo>
                    <a:pt x="3123" y="1324"/>
                  </a:lnTo>
                  <a:lnTo>
                    <a:pt x="3132" y="1346"/>
                  </a:lnTo>
                  <a:lnTo>
                    <a:pt x="3110" y="1352"/>
                  </a:lnTo>
                  <a:lnTo>
                    <a:pt x="3095" y="1359"/>
                  </a:lnTo>
                  <a:lnTo>
                    <a:pt x="3079" y="1368"/>
                  </a:lnTo>
                  <a:lnTo>
                    <a:pt x="3073" y="1374"/>
                  </a:lnTo>
                  <a:lnTo>
                    <a:pt x="3070" y="1384"/>
                  </a:lnTo>
                  <a:lnTo>
                    <a:pt x="3063" y="1396"/>
                  </a:lnTo>
                  <a:lnTo>
                    <a:pt x="3057" y="1405"/>
                  </a:lnTo>
                  <a:lnTo>
                    <a:pt x="3051" y="1412"/>
                  </a:lnTo>
                  <a:lnTo>
                    <a:pt x="3045" y="1415"/>
                  </a:lnTo>
                  <a:lnTo>
                    <a:pt x="3035" y="1418"/>
                  </a:lnTo>
                  <a:lnTo>
                    <a:pt x="3026" y="1421"/>
                  </a:lnTo>
                  <a:lnTo>
                    <a:pt x="3017" y="1424"/>
                  </a:lnTo>
                  <a:lnTo>
                    <a:pt x="3010" y="1427"/>
                  </a:lnTo>
                  <a:lnTo>
                    <a:pt x="3004" y="1443"/>
                  </a:lnTo>
                  <a:lnTo>
                    <a:pt x="2998" y="1462"/>
                  </a:lnTo>
                  <a:lnTo>
                    <a:pt x="2995" y="1480"/>
                  </a:lnTo>
                  <a:lnTo>
                    <a:pt x="2985" y="1493"/>
                  </a:lnTo>
                  <a:lnTo>
                    <a:pt x="2970" y="1499"/>
                  </a:lnTo>
                  <a:lnTo>
                    <a:pt x="2948" y="1502"/>
                  </a:lnTo>
                  <a:lnTo>
                    <a:pt x="2923" y="1496"/>
                  </a:lnTo>
                  <a:lnTo>
                    <a:pt x="2907" y="1490"/>
                  </a:lnTo>
                  <a:lnTo>
                    <a:pt x="2904" y="1487"/>
                  </a:lnTo>
                  <a:lnTo>
                    <a:pt x="2901" y="1477"/>
                  </a:lnTo>
                  <a:lnTo>
                    <a:pt x="2901" y="1471"/>
                  </a:lnTo>
                  <a:lnTo>
                    <a:pt x="2901" y="1462"/>
                  </a:lnTo>
                  <a:lnTo>
                    <a:pt x="2901" y="1452"/>
                  </a:lnTo>
                  <a:lnTo>
                    <a:pt x="2898" y="1446"/>
                  </a:lnTo>
                  <a:lnTo>
                    <a:pt x="2895" y="1443"/>
                  </a:lnTo>
                  <a:lnTo>
                    <a:pt x="2879" y="1440"/>
                  </a:lnTo>
                  <a:lnTo>
                    <a:pt x="2864" y="1443"/>
                  </a:lnTo>
                  <a:lnTo>
                    <a:pt x="2842" y="1449"/>
                  </a:lnTo>
                  <a:lnTo>
                    <a:pt x="2823" y="1452"/>
                  </a:lnTo>
                  <a:lnTo>
                    <a:pt x="2810" y="1452"/>
                  </a:lnTo>
                  <a:lnTo>
                    <a:pt x="2804" y="1449"/>
                  </a:lnTo>
                  <a:lnTo>
                    <a:pt x="2801" y="1443"/>
                  </a:lnTo>
                  <a:lnTo>
                    <a:pt x="2798" y="1437"/>
                  </a:lnTo>
                  <a:lnTo>
                    <a:pt x="2792" y="1430"/>
                  </a:lnTo>
                  <a:lnTo>
                    <a:pt x="2789" y="1424"/>
                  </a:lnTo>
                  <a:lnTo>
                    <a:pt x="2782" y="1421"/>
                  </a:lnTo>
                  <a:lnTo>
                    <a:pt x="2773" y="1418"/>
                  </a:lnTo>
                  <a:lnTo>
                    <a:pt x="2767" y="1415"/>
                  </a:lnTo>
                  <a:lnTo>
                    <a:pt x="2757" y="1412"/>
                  </a:lnTo>
                  <a:lnTo>
                    <a:pt x="2751" y="1412"/>
                  </a:lnTo>
                  <a:lnTo>
                    <a:pt x="2739" y="1421"/>
                  </a:lnTo>
                  <a:lnTo>
                    <a:pt x="2726" y="1440"/>
                  </a:lnTo>
                  <a:lnTo>
                    <a:pt x="2714" y="1455"/>
                  </a:lnTo>
                  <a:lnTo>
                    <a:pt x="2701" y="1468"/>
                  </a:lnTo>
                  <a:lnTo>
                    <a:pt x="2689" y="1474"/>
                  </a:lnTo>
                  <a:lnTo>
                    <a:pt x="2667" y="1477"/>
                  </a:lnTo>
                  <a:lnTo>
                    <a:pt x="2648" y="1480"/>
                  </a:lnTo>
                  <a:lnTo>
                    <a:pt x="2636" y="1487"/>
                  </a:lnTo>
                  <a:lnTo>
                    <a:pt x="2626" y="1509"/>
                  </a:lnTo>
                  <a:lnTo>
                    <a:pt x="2620" y="1540"/>
                  </a:lnTo>
                  <a:lnTo>
                    <a:pt x="2620" y="1571"/>
                  </a:lnTo>
                  <a:lnTo>
                    <a:pt x="2623" y="1596"/>
                  </a:lnTo>
                  <a:lnTo>
                    <a:pt x="2629" y="1602"/>
                  </a:lnTo>
                  <a:lnTo>
                    <a:pt x="2636" y="1612"/>
                  </a:lnTo>
                  <a:lnTo>
                    <a:pt x="2642" y="1621"/>
                  </a:lnTo>
                  <a:lnTo>
                    <a:pt x="2651" y="1630"/>
                  </a:lnTo>
                  <a:lnTo>
                    <a:pt x="2654" y="1637"/>
                  </a:lnTo>
                  <a:lnTo>
                    <a:pt x="2657" y="1658"/>
                  </a:lnTo>
                  <a:lnTo>
                    <a:pt x="2657" y="1683"/>
                  </a:lnTo>
                  <a:lnTo>
                    <a:pt x="2657" y="1708"/>
                  </a:lnTo>
                  <a:lnTo>
                    <a:pt x="2654" y="1730"/>
                  </a:lnTo>
                  <a:lnTo>
                    <a:pt x="2654" y="1743"/>
                  </a:lnTo>
                  <a:lnTo>
                    <a:pt x="2657" y="1752"/>
                  </a:lnTo>
                  <a:lnTo>
                    <a:pt x="2667" y="1771"/>
                  </a:lnTo>
                  <a:lnTo>
                    <a:pt x="2676" y="1796"/>
                  </a:lnTo>
                  <a:lnTo>
                    <a:pt x="2686" y="1821"/>
                  </a:lnTo>
                  <a:lnTo>
                    <a:pt x="2689" y="1840"/>
                  </a:lnTo>
                  <a:lnTo>
                    <a:pt x="2682" y="1861"/>
                  </a:lnTo>
                  <a:lnTo>
                    <a:pt x="2670" y="1886"/>
                  </a:lnTo>
                  <a:lnTo>
                    <a:pt x="2654" y="1905"/>
                  </a:lnTo>
                  <a:lnTo>
                    <a:pt x="2639" y="1918"/>
                  </a:lnTo>
                  <a:lnTo>
                    <a:pt x="2620" y="1927"/>
                  </a:lnTo>
                  <a:lnTo>
                    <a:pt x="2604" y="1936"/>
                  </a:lnTo>
                  <a:lnTo>
                    <a:pt x="2589" y="1955"/>
                  </a:lnTo>
                  <a:lnTo>
                    <a:pt x="2573" y="1980"/>
                  </a:lnTo>
                  <a:lnTo>
                    <a:pt x="2564" y="2005"/>
                  </a:lnTo>
                  <a:lnTo>
                    <a:pt x="2558" y="2030"/>
                  </a:lnTo>
                  <a:lnTo>
                    <a:pt x="2561" y="2049"/>
                  </a:lnTo>
                  <a:lnTo>
                    <a:pt x="2570" y="2071"/>
                  </a:lnTo>
                  <a:lnTo>
                    <a:pt x="2579" y="2096"/>
                  </a:lnTo>
                  <a:lnTo>
                    <a:pt x="2583" y="2114"/>
                  </a:lnTo>
                  <a:lnTo>
                    <a:pt x="2576" y="2136"/>
                  </a:lnTo>
                  <a:lnTo>
                    <a:pt x="2564" y="2161"/>
                  </a:lnTo>
                  <a:lnTo>
                    <a:pt x="2551" y="2186"/>
                  </a:lnTo>
                  <a:lnTo>
                    <a:pt x="2536" y="2202"/>
                  </a:lnTo>
                  <a:lnTo>
                    <a:pt x="2529" y="2208"/>
                  </a:lnTo>
                  <a:lnTo>
                    <a:pt x="2517" y="2214"/>
                  </a:lnTo>
                  <a:lnTo>
                    <a:pt x="2508" y="2224"/>
                  </a:lnTo>
                  <a:lnTo>
                    <a:pt x="2498" y="2230"/>
                  </a:lnTo>
                  <a:lnTo>
                    <a:pt x="2489" y="2236"/>
                  </a:lnTo>
                  <a:lnTo>
                    <a:pt x="2483" y="2252"/>
                  </a:lnTo>
                  <a:lnTo>
                    <a:pt x="2479" y="2274"/>
                  </a:lnTo>
                  <a:lnTo>
                    <a:pt x="2476" y="2299"/>
                  </a:lnTo>
                  <a:lnTo>
                    <a:pt x="2470" y="2317"/>
                  </a:lnTo>
                  <a:lnTo>
                    <a:pt x="2461" y="2333"/>
                  </a:lnTo>
                  <a:lnTo>
                    <a:pt x="2448" y="2348"/>
                  </a:lnTo>
                  <a:lnTo>
                    <a:pt x="2436" y="2367"/>
                  </a:lnTo>
                  <a:lnTo>
                    <a:pt x="2430" y="2386"/>
                  </a:lnTo>
                  <a:lnTo>
                    <a:pt x="2433" y="2405"/>
                  </a:lnTo>
                  <a:lnTo>
                    <a:pt x="2445" y="2423"/>
                  </a:lnTo>
                  <a:lnTo>
                    <a:pt x="2458" y="2445"/>
                  </a:lnTo>
                  <a:lnTo>
                    <a:pt x="2467" y="2461"/>
                  </a:lnTo>
                  <a:lnTo>
                    <a:pt x="2476" y="2489"/>
                  </a:lnTo>
                  <a:lnTo>
                    <a:pt x="2486" y="2523"/>
                  </a:lnTo>
                  <a:lnTo>
                    <a:pt x="2489" y="2555"/>
                  </a:lnTo>
                  <a:lnTo>
                    <a:pt x="2489" y="2576"/>
                  </a:lnTo>
                  <a:lnTo>
                    <a:pt x="2483" y="2601"/>
                  </a:lnTo>
                  <a:lnTo>
                    <a:pt x="2479" y="2626"/>
                  </a:lnTo>
                  <a:lnTo>
                    <a:pt x="2479" y="2648"/>
                  </a:lnTo>
                  <a:lnTo>
                    <a:pt x="2483" y="2667"/>
                  </a:lnTo>
                  <a:lnTo>
                    <a:pt x="2489" y="2686"/>
                  </a:lnTo>
                  <a:lnTo>
                    <a:pt x="2498" y="2701"/>
                  </a:lnTo>
                  <a:lnTo>
                    <a:pt x="2514" y="2708"/>
                  </a:lnTo>
                  <a:lnTo>
                    <a:pt x="2533" y="2714"/>
                  </a:lnTo>
                  <a:lnTo>
                    <a:pt x="2548" y="2717"/>
                  </a:lnTo>
                  <a:lnTo>
                    <a:pt x="2561" y="2723"/>
                  </a:lnTo>
                  <a:lnTo>
                    <a:pt x="2570" y="2742"/>
                  </a:lnTo>
                  <a:lnTo>
                    <a:pt x="2576" y="2767"/>
                  </a:lnTo>
                  <a:lnTo>
                    <a:pt x="2579" y="2795"/>
                  </a:lnTo>
                  <a:lnTo>
                    <a:pt x="2579" y="2817"/>
                  </a:lnTo>
                  <a:lnTo>
                    <a:pt x="2579" y="2826"/>
                  </a:lnTo>
                  <a:lnTo>
                    <a:pt x="2579" y="2836"/>
                  </a:lnTo>
                  <a:lnTo>
                    <a:pt x="2573" y="2857"/>
                  </a:lnTo>
                  <a:lnTo>
                    <a:pt x="2567" y="2886"/>
                  </a:lnTo>
                  <a:lnTo>
                    <a:pt x="2558" y="2911"/>
                  </a:lnTo>
                  <a:lnTo>
                    <a:pt x="2548" y="2929"/>
                  </a:lnTo>
                  <a:lnTo>
                    <a:pt x="2536" y="2951"/>
                  </a:lnTo>
                  <a:lnTo>
                    <a:pt x="2514" y="2973"/>
                  </a:lnTo>
                  <a:lnTo>
                    <a:pt x="2495" y="2989"/>
                  </a:lnTo>
                  <a:lnTo>
                    <a:pt x="2489" y="2989"/>
                  </a:lnTo>
                  <a:lnTo>
                    <a:pt x="2479" y="2989"/>
                  </a:lnTo>
                  <a:lnTo>
                    <a:pt x="2470" y="2989"/>
                  </a:lnTo>
                  <a:lnTo>
                    <a:pt x="2461" y="2986"/>
                  </a:lnTo>
                  <a:lnTo>
                    <a:pt x="2451" y="2986"/>
                  </a:lnTo>
                  <a:lnTo>
                    <a:pt x="2445" y="2989"/>
                  </a:lnTo>
                  <a:lnTo>
                    <a:pt x="2433" y="3004"/>
                  </a:lnTo>
                  <a:lnTo>
                    <a:pt x="2423" y="3026"/>
                  </a:lnTo>
                  <a:lnTo>
                    <a:pt x="2417" y="3051"/>
                  </a:lnTo>
                  <a:lnTo>
                    <a:pt x="2414" y="3070"/>
                  </a:lnTo>
                  <a:lnTo>
                    <a:pt x="2411" y="3092"/>
                  </a:lnTo>
                  <a:lnTo>
                    <a:pt x="2411" y="3117"/>
                  </a:lnTo>
                  <a:lnTo>
                    <a:pt x="2414" y="3139"/>
                  </a:lnTo>
                  <a:lnTo>
                    <a:pt x="2417" y="3145"/>
                  </a:lnTo>
                  <a:lnTo>
                    <a:pt x="2420" y="3154"/>
                  </a:lnTo>
                  <a:lnTo>
                    <a:pt x="2426" y="3163"/>
                  </a:lnTo>
                  <a:lnTo>
                    <a:pt x="2433" y="3173"/>
                  </a:lnTo>
                  <a:lnTo>
                    <a:pt x="2436" y="3179"/>
                  </a:lnTo>
                  <a:lnTo>
                    <a:pt x="2439" y="3185"/>
                  </a:lnTo>
                  <a:lnTo>
                    <a:pt x="2439" y="3195"/>
                  </a:lnTo>
                  <a:lnTo>
                    <a:pt x="2439" y="3204"/>
                  </a:lnTo>
                  <a:lnTo>
                    <a:pt x="2439" y="3210"/>
                  </a:lnTo>
                  <a:lnTo>
                    <a:pt x="2436" y="3217"/>
                  </a:lnTo>
                  <a:lnTo>
                    <a:pt x="2433" y="3223"/>
                  </a:lnTo>
                  <a:lnTo>
                    <a:pt x="2426" y="3226"/>
                  </a:lnTo>
                  <a:lnTo>
                    <a:pt x="2417" y="3229"/>
                  </a:lnTo>
                  <a:lnTo>
                    <a:pt x="2411" y="3232"/>
                  </a:lnTo>
                  <a:lnTo>
                    <a:pt x="2405" y="3235"/>
                  </a:lnTo>
                  <a:lnTo>
                    <a:pt x="2398" y="3238"/>
                  </a:lnTo>
                  <a:lnTo>
                    <a:pt x="2392" y="3257"/>
                  </a:lnTo>
                  <a:lnTo>
                    <a:pt x="2389" y="3282"/>
                  </a:lnTo>
                  <a:lnTo>
                    <a:pt x="2392" y="3304"/>
                  </a:lnTo>
                  <a:lnTo>
                    <a:pt x="2408" y="3320"/>
                  </a:lnTo>
                  <a:lnTo>
                    <a:pt x="2436" y="3335"/>
                  </a:lnTo>
                  <a:lnTo>
                    <a:pt x="2461" y="3345"/>
                  </a:lnTo>
                  <a:lnTo>
                    <a:pt x="2479" y="3351"/>
                  </a:lnTo>
                  <a:lnTo>
                    <a:pt x="2501" y="3360"/>
                  </a:lnTo>
                  <a:lnTo>
                    <a:pt x="2523" y="3366"/>
                  </a:lnTo>
                  <a:lnTo>
                    <a:pt x="2533" y="3370"/>
                  </a:lnTo>
                  <a:lnTo>
                    <a:pt x="2539" y="3379"/>
                  </a:lnTo>
                  <a:lnTo>
                    <a:pt x="2545" y="3398"/>
                  </a:lnTo>
                  <a:lnTo>
                    <a:pt x="2551" y="3423"/>
                  </a:lnTo>
                  <a:lnTo>
                    <a:pt x="2554" y="3448"/>
                  </a:lnTo>
                  <a:lnTo>
                    <a:pt x="2558" y="3470"/>
                  </a:lnTo>
                  <a:lnTo>
                    <a:pt x="2551" y="3488"/>
                  </a:lnTo>
                  <a:lnTo>
                    <a:pt x="2545" y="3513"/>
                  </a:lnTo>
                  <a:lnTo>
                    <a:pt x="2536" y="3538"/>
                  </a:lnTo>
                  <a:lnTo>
                    <a:pt x="2533" y="3560"/>
                  </a:lnTo>
                  <a:lnTo>
                    <a:pt x="2539" y="3579"/>
                  </a:lnTo>
                  <a:lnTo>
                    <a:pt x="2548" y="3601"/>
                  </a:lnTo>
                  <a:lnTo>
                    <a:pt x="2561" y="3623"/>
                  </a:lnTo>
                  <a:lnTo>
                    <a:pt x="2570" y="3641"/>
                  </a:lnTo>
                  <a:lnTo>
                    <a:pt x="2576" y="3647"/>
                  </a:lnTo>
                  <a:lnTo>
                    <a:pt x="2583" y="3660"/>
                  </a:lnTo>
                  <a:lnTo>
                    <a:pt x="2589" y="3672"/>
                  </a:lnTo>
                  <a:lnTo>
                    <a:pt x="2598" y="3682"/>
                  </a:lnTo>
                  <a:lnTo>
                    <a:pt x="2604" y="3688"/>
                  </a:lnTo>
                  <a:lnTo>
                    <a:pt x="2626" y="3701"/>
                  </a:lnTo>
                  <a:lnTo>
                    <a:pt x="2651" y="3710"/>
                  </a:lnTo>
                  <a:lnTo>
                    <a:pt x="2673" y="3719"/>
                  </a:lnTo>
                  <a:lnTo>
                    <a:pt x="2682" y="3726"/>
                  </a:lnTo>
                  <a:lnTo>
                    <a:pt x="2692" y="3735"/>
                  </a:lnTo>
                  <a:lnTo>
                    <a:pt x="2701" y="3741"/>
                  </a:lnTo>
                  <a:lnTo>
                    <a:pt x="2711" y="3751"/>
                  </a:lnTo>
                  <a:lnTo>
                    <a:pt x="2717" y="3760"/>
                  </a:lnTo>
                  <a:lnTo>
                    <a:pt x="2729" y="3779"/>
                  </a:lnTo>
                  <a:lnTo>
                    <a:pt x="2745" y="3804"/>
                  </a:lnTo>
                  <a:lnTo>
                    <a:pt x="2757" y="3822"/>
                  </a:lnTo>
                  <a:lnTo>
                    <a:pt x="2782" y="3832"/>
                  </a:lnTo>
                  <a:lnTo>
                    <a:pt x="2817" y="3841"/>
                  </a:lnTo>
                  <a:lnTo>
                    <a:pt x="2842" y="3854"/>
                  </a:lnTo>
                  <a:lnTo>
                    <a:pt x="2857" y="3866"/>
                  </a:lnTo>
                  <a:lnTo>
                    <a:pt x="2873" y="3885"/>
                  </a:lnTo>
                  <a:lnTo>
                    <a:pt x="2892" y="3904"/>
                  </a:lnTo>
                  <a:lnTo>
                    <a:pt x="2907" y="3916"/>
                  </a:lnTo>
                  <a:lnTo>
                    <a:pt x="2926" y="3919"/>
                  </a:lnTo>
                  <a:lnTo>
                    <a:pt x="2948" y="3916"/>
                  </a:lnTo>
                  <a:lnTo>
                    <a:pt x="2967" y="3916"/>
                  </a:lnTo>
                  <a:lnTo>
                    <a:pt x="2985" y="3913"/>
                  </a:lnTo>
                  <a:lnTo>
                    <a:pt x="3010" y="3913"/>
                  </a:lnTo>
                  <a:lnTo>
                    <a:pt x="3029" y="3916"/>
                  </a:lnTo>
                  <a:lnTo>
                    <a:pt x="3051" y="3932"/>
                  </a:lnTo>
                  <a:lnTo>
                    <a:pt x="3073" y="3960"/>
                  </a:lnTo>
                  <a:lnTo>
                    <a:pt x="3092" y="3978"/>
                  </a:lnTo>
                  <a:lnTo>
                    <a:pt x="3107" y="3994"/>
                  </a:lnTo>
                  <a:lnTo>
                    <a:pt x="3129" y="4013"/>
                  </a:lnTo>
                  <a:lnTo>
                    <a:pt x="3148" y="4032"/>
                  </a:lnTo>
                  <a:lnTo>
                    <a:pt x="3166" y="4041"/>
                  </a:lnTo>
                  <a:lnTo>
                    <a:pt x="3185" y="4047"/>
                  </a:lnTo>
                  <a:lnTo>
                    <a:pt x="3207" y="4047"/>
                  </a:lnTo>
                  <a:lnTo>
                    <a:pt x="3229" y="4050"/>
                  </a:lnTo>
                  <a:lnTo>
                    <a:pt x="3245" y="4060"/>
                  </a:lnTo>
                  <a:lnTo>
                    <a:pt x="3254" y="4078"/>
                  </a:lnTo>
                  <a:lnTo>
                    <a:pt x="3260" y="4110"/>
                  </a:lnTo>
                  <a:lnTo>
                    <a:pt x="3263" y="4131"/>
                  </a:lnTo>
                  <a:lnTo>
                    <a:pt x="3257" y="4153"/>
                  </a:lnTo>
                  <a:lnTo>
                    <a:pt x="3248" y="4178"/>
                  </a:lnTo>
                  <a:lnTo>
                    <a:pt x="3238" y="4200"/>
                  </a:lnTo>
                  <a:lnTo>
                    <a:pt x="3235" y="4206"/>
                  </a:lnTo>
                  <a:lnTo>
                    <a:pt x="3229" y="4213"/>
                  </a:lnTo>
                  <a:lnTo>
                    <a:pt x="3226" y="4222"/>
                  </a:lnTo>
                  <a:lnTo>
                    <a:pt x="3220" y="4231"/>
                  </a:lnTo>
                  <a:lnTo>
                    <a:pt x="3216" y="4238"/>
                  </a:lnTo>
                  <a:lnTo>
                    <a:pt x="3213" y="4244"/>
                  </a:lnTo>
                  <a:lnTo>
                    <a:pt x="3216" y="4263"/>
                  </a:lnTo>
                  <a:lnTo>
                    <a:pt x="3229" y="4281"/>
                  </a:lnTo>
                  <a:lnTo>
                    <a:pt x="3241" y="4300"/>
                  </a:lnTo>
                  <a:lnTo>
                    <a:pt x="3251" y="4316"/>
                  </a:lnTo>
                  <a:lnTo>
                    <a:pt x="3254" y="4325"/>
                  </a:lnTo>
                  <a:lnTo>
                    <a:pt x="3260" y="4331"/>
                  </a:lnTo>
                  <a:lnTo>
                    <a:pt x="3276" y="4341"/>
                  </a:lnTo>
                  <a:lnTo>
                    <a:pt x="3291" y="4344"/>
                  </a:lnTo>
                  <a:lnTo>
                    <a:pt x="3307" y="4344"/>
                  </a:lnTo>
                  <a:lnTo>
                    <a:pt x="3307" y="4338"/>
                  </a:lnTo>
                  <a:lnTo>
                    <a:pt x="3310" y="4334"/>
                  </a:lnTo>
                  <a:lnTo>
                    <a:pt x="3313" y="4328"/>
                  </a:lnTo>
                  <a:lnTo>
                    <a:pt x="3313" y="4322"/>
                  </a:lnTo>
                  <a:lnTo>
                    <a:pt x="3316" y="4316"/>
                  </a:lnTo>
                  <a:lnTo>
                    <a:pt x="3323" y="4309"/>
                  </a:lnTo>
                  <a:lnTo>
                    <a:pt x="3329" y="4303"/>
                  </a:lnTo>
                  <a:lnTo>
                    <a:pt x="3338" y="4297"/>
                  </a:lnTo>
                  <a:lnTo>
                    <a:pt x="3348" y="4294"/>
                  </a:lnTo>
                  <a:lnTo>
                    <a:pt x="3357" y="4291"/>
                  </a:lnTo>
                  <a:lnTo>
                    <a:pt x="3373" y="4294"/>
                  </a:lnTo>
                  <a:lnTo>
                    <a:pt x="3394" y="4300"/>
                  </a:lnTo>
                  <a:lnTo>
                    <a:pt x="3413" y="4313"/>
                  </a:lnTo>
                  <a:lnTo>
                    <a:pt x="3426" y="4325"/>
                  </a:lnTo>
                  <a:lnTo>
                    <a:pt x="3429" y="4341"/>
                  </a:lnTo>
                  <a:lnTo>
                    <a:pt x="3426" y="4363"/>
                  </a:lnTo>
                  <a:lnTo>
                    <a:pt x="3423" y="4388"/>
                  </a:lnTo>
                  <a:lnTo>
                    <a:pt x="3426" y="4403"/>
                  </a:lnTo>
                  <a:lnTo>
                    <a:pt x="3441" y="4419"/>
                  </a:lnTo>
                  <a:lnTo>
                    <a:pt x="3466" y="4431"/>
                  </a:lnTo>
                  <a:lnTo>
                    <a:pt x="3494" y="4441"/>
                  </a:lnTo>
                  <a:lnTo>
                    <a:pt x="3516" y="4447"/>
                  </a:lnTo>
                  <a:lnTo>
                    <a:pt x="3535" y="4450"/>
                  </a:lnTo>
                  <a:lnTo>
                    <a:pt x="3563" y="4450"/>
                  </a:lnTo>
                  <a:lnTo>
                    <a:pt x="3588" y="4453"/>
                  </a:lnTo>
                  <a:lnTo>
                    <a:pt x="3607" y="4459"/>
                  </a:lnTo>
                  <a:lnTo>
                    <a:pt x="3613" y="4475"/>
                  </a:lnTo>
                  <a:lnTo>
                    <a:pt x="3616" y="4497"/>
                  </a:lnTo>
                  <a:lnTo>
                    <a:pt x="3616" y="4522"/>
                  </a:lnTo>
                  <a:lnTo>
                    <a:pt x="3619" y="4544"/>
                  </a:lnTo>
                  <a:lnTo>
                    <a:pt x="3629" y="4559"/>
                  </a:lnTo>
                  <a:lnTo>
                    <a:pt x="3632" y="4562"/>
                  </a:lnTo>
                  <a:lnTo>
                    <a:pt x="3641" y="4562"/>
                  </a:lnTo>
                  <a:lnTo>
                    <a:pt x="3647" y="4559"/>
                  </a:lnTo>
                  <a:lnTo>
                    <a:pt x="3657" y="4559"/>
                  </a:lnTo>
                  <a:lnTo>
                    <a:pt x="3663" y="4559"/>
                  </a:lnTo>
                  <a:lnTo>
                    <a:pt x="3669" y="4559"/>
                  </a:lnTo>
                  <a:lnTo>
                    <a:pt x="3679" y="4572"/>
                  </a:lnTo>
                  <a:lnTo>
                    <a:pt x="3685" y="4594"/>
                  </a:lnTo>
                  <a:lnTo>
                    <a:pt x="3691" y="4612"/>
                  </a:lnTo>
                  <a:lnTo>
                    <a:pt x="3694" y="4631"/>
                  </a:lnTo>
                  <a:lnTo>
                    <a:pt x="3697" y="4656"/>
                  </a:lnTo>
                  <a:lnTo>
                    <a:pt x="3704" y="4684"/>
                  </a:lnTo>
                  <a:lnTo>
                    <a:pt x="3704" y="4709"/>
                  </a:lnTo>
                  <a:lnTo>
                    <a:pt x="3704" y="4737"/>
                  </a:lnTo>
                  <a:lnTo>
                    <a:pt x="3700" y="4765"/>
                  </a:lnTo>
                  <a:lnTo>
                    <a:pt x="3694" y="4790"/>
                  </a:lnTo>
                  <a:lnTo>
                    <a:pt x="3688" y="4797"/>
                  </a:lnTo>
                  <a:lnTo>
                    <a:pt x="3679" y="4806"/>
                  </a:lnTo>
                  <a:lnTo>
                    <a:pt x="3669" y="4812"/>
                  </a:lnTo>
                  <a:lnTo>
                    <a:pt x="3660" y="4818"/>
                  </a:lnTo>
                  <a:lnTo>
                    <a:pt x="3654" y="4828"/>
                  </a:lnTo>
                  <a:lnTo>
                    <a:pt x="3647" y="4834"/>
                  </a:lnTo>
                  <a:lnTo>
                    <a:pt x="3647" y="4856"/>
                  </a:lnTo>
                  <a:lnTo>
                    <a:pt x="3650" y="4878"/>
                  </a:lnTo>
                  <a:lnTo>
                    <a:pt x="3657" y="4903"/>
                  </a:lnTo>
                  <a:lnTo>
                    <a:pt x="3666" y="4918"/>
                  </a:lnTo>
                  <a:lnTo>
                    <a:pt x="3672" y="4925"/>
                  </a:lnTo>
                  <a:lnTo>
                    <a:pt x="3682" y="4931"/>
                  </a:lnTo>
                  <a:lnTo>
                    <a:pt x="3691" y="4934"/>
                  </a:lnTo>
                  <a:lnTo>
                    <a:pt x="3700" y="4940"/>
                  </a:lnTo>
                  <a:lnTo>
                    <a:pt x="3710" y="4943"/>
                  </a:lnTo>
                  <a:lnTo>
                    <a:pt x="3729" y="4959"/>
                  </a:lnTo>
                  <a:lnTo>
                    <a:pt x="3750" y="4978"/>
                  </a:lnTo>
                  <a:lnTo>
                    <a:pt x="3769" y="4996"/>
                  </a:lnTo>
                  <a:lnTo>
                    <a:pt x="3785" y="5015"/>
                  </a:lnTo>
                  <a:lnTo>
                    <a:pt x="3803" y="5040"/>
                  </a:lnTo>
                  <a:lnTo>
                    <a:pt x="3819" y="5062"/>
                  </a:lnTo>
                  <a:lnTo>
                    <a:pt x="3835" y="5090"/>
                  </a:lnTo>
                  <a:lnTo>
                    <a:pt x="3850" y="5124"/>
                  </a:lnTo>
                  <a:lnTo>
                    <a:pt x="3866" y="5149"/>
                  </a:lnTo>
                  <a:lnTo>
                    <a:pt x="3885" y="5168"/>
                  </a:lnTo>
                  <a:lnTo>
                    <a:pt x="3910" y="5184"/>
                  </a:lnTo>
                  <a:lnTo>
                    <a:pt x="3928" y="5199"/>
                  </a:lnTo>
                  <a:lnTo>
                    <a:pt x="3944" y="5218"/>
                  </a:lnTo>
                  <a:lnTo>
                    <a:pt x="3960" y="5240"/>
                  </a:lnTo>
                  <a:lnTo>
                    <a:pt x="3978" y="5256"/>
                  </a:lnTo>
                  <a:lnTo>
                    <a:pt x="4000" y="5259"/>
                  </a:lnTo>
                  <a:lnTo>
                    <a:pt x="4031" y="5259"/>
                  </a:lnTo>
                  <a:lnTo>
                    <a:pt x="4028" y="5268"/>
                  </a:lnTo>
                  <a:lnTo>
                    <a:pt x="4022" y="5277"/>
                  </a:lnTo>
                  <a:lnTo>
                    <a:pt x="4016" y="5284"/>
                  </a:lnTo>
                  <a:lnTo>
                    <a:pt x="4006" y="5290"/>
                  </a:lnTo>
                  <a:lnTo>
                    <a:pt x="3997" y="5296"/>
                  </a:lnTo>
                  <a:lnTo>
                    <a:pt x="3991" y="5302"/>
                  </a:lnTo>
                  <a:lnTo>
                    <a:pt x="3985" y="5324"/>
                  </a:lnTo>
                  <a:lnTo>
                    <a:pt x="3981" y="5349"/>
                  </a:lnTo>
                  <a:lnTo>
                    <a:pt x="3975" y="5368"/>
                  </a:lnTo>
                  <a:lnTo>
                    <a:pt x="3953" y="5390"/>
                  </a:lnTo>
                  <a:lnTo>
                    <a:pt x="3925" y="5412"/>
                  </a:lnTo>
                  <a:lnTo>
                    <a:pt x="3897" y="5427"/>
                  </a:lnTo>
                  <a:lnTo>
                    <a:pt x="3891" y="5430"/>
                  </a:lnTo>
                  <a:lnTo>
                    <a:pt x="3882" y="5434"/>
                  </a:lnTo>
                  <a:lnTo>
                    <a:pt x="3872" y="5437"/>
                  </a:lnTo>
                  <a:lnTo>
                    <a:pt x="3863" y="5440"/>
                  </a:lnTo>
                  <a:lnTo>
                    <a:pt x="3853" y="5443"/>
                  </a:lnTo>
                  <a:lnTo>
                    <a:pt x="3841" y="5462"/>
                  </a:lnTo>
                  <a:lnTo>
                    <a:pt x="3828" y="5490"/>
                  </a:lnTo>
                  <a:lnTo>
                    <a:pt x="3819" y="5518"/>
                  </a:lnTo>
                  <a:lnTo>
                    <a:pt x="3803" y="5537"/>
                  </a:lnTo>
                  <a:lnTo>
                    <a:pt x="3791" y="5540"/>
                  </a:lnTo>
                  <a:lnTo>
                    <a:pt x="3772" y="5543"/>
                  </a:lnTo>
                  <a:lnTo>
                    <a:pt x="3750" y="5546"/>
                  </a:lnTo>
                  <a:lnTo>
                    <a:pt x="3738" y="5552"/>
                  </a:lnTo>
                  <a:lnTo>
                    <a:pt x="3735" y="5571"/>
                  </a:lnTo>
                  <a:lnTo>
                    <a:pt x="3735" y="5593"/>
                  </a:lnTo>
                  <a:lnTo>
                    <a:pt x="3738" y="5615"/>
                  </a:lnTo>
                  <a:lnTo>
                    <a:pt x="3741" y="5640"/>
                  </a:lnTo>
                  <a:lnTo>
                    <a:pt x="3741" y="5658"/>
                  </a:lnTo>
                  <a:lnTo>
                    <a:pt x="3741" y="5668"/>
                  </a:lnTo>
                  <a:lnTo>
                    <a:pt x="3738" y="5677"/>
                  </a:lnTo>
                  <a:lnTo>
                    <a:pt x="3735" y="5687"/>
                  </a:lnTo>
                  <a:lnTo>
                    <a:pt x="3735" y="5696"/>
                  </a:lnTo>
                  <a:lnTo>
                    <a:pt x="3735" y="5705"/>
                  </a:lnTo>
                  <a:lnTo>
                    <a:pt x="3738" y="5730"/>
                  </a:lnTo>
                  <a:lnTo>
                    <a:pt x="3744" y="5758"/>
                  </a:lnTo>
                  <a:lnTo>
                    <a:pt x="3747" y="5783"/>
                  </a:lnTo>
                  <a:lnTo>
                    <a:pt x="3741" y="5805"/>
                  </a:lnTo>
                  <a:lnTo>
                    <a:pt x="3732" y="5830"/>
                  </a:lnTo>
                  <a:lnTo>
                    <a:pt x="3722" y="5849"/>
                  </a:lnTo>
                  <a:lnTo>
                    <a:pt x="3713" y="5868"/>
                  </a:lnTo>
                  <a:lnTo>
                    <a:pt x="3700" y="5886"/>
                  </a:lnTo>
                  <a:lnTo>
                    <a:pt x="3685" y="5902"/>
                  </a:lnTo>
                  <a:lnTo>
                    <a:pt x="3666" y="5905"/>
                  </a:lnTo>
                  <a:lnTo>
                    <a:pt x="3641" y="5899"/>
                  </a:lnTo>
                  <a:lnTo>
                    <a:pt x="3616" y="5896"/>
                  </a:lnTo>
                  <a:lnTo>
                    <a:pt x="3597" y="5893"/>
                  </a:lnTo>
                  <a:lnTo>
                    <a:pt x="3582" y="5902"/>
                  </a:lnTo>
                  <a:lnTo>
                    <a:pt x="3563" y="5911"/>
                  </a:lnTo>
                  <a:lnTo>
                    <a:pt x="3544" y="5924"/>
                  </a:lnTo>
                  <a:lnTo>
                    <a:pt x="3529" y="5930"/>
                  </a:lnTo>
                  <a:lnTo>
                    <a:pt x="3507" y="5930"/>
                  </a:lnTo>
                  <a:lnTo>
                    <a:pt x="3482" y="5921"/>
                  </a:lnTo>
                  <a:lnTo>
                    <a:pt x="3460" y="5914"/>
                  </a:lnTo>
                  <a:lnTo>
                    <a:pt x="3451" y="5908"/>
                  </a:lnTo>
                  <a:lnTo>
                    <a:pt x="3444" y="5899"/>
                  </a:lnTo>
                  <a:lnTo>
                    <a:pt x="3435" y="5889"/>
                  </a:lnTo>
                  <a:lnTo>
                    <a:pt x="3429" y="5880"/>
                  </a:lnTo>
                  <a:lnTo>
                    <a:pt x="3419" y="5874"/>
                  </a:lnTo>
                  <a:lnTo>
                    <a:pt x="3413" y="5868"/>
                  </a:lnTo>
                  <a:lnTo>
                    <a:pt x="3391" y="5865"/>
                  </a:lnTo>
                  <a:lnTo>
                    <a:pt x="3369" y="5868"/>
                  </a:lnTo>
                  <a:lnTo>
                    <a:pt x="3348" y="5868"/>
                  </a:lnTo>
                  <a:lnTo>
                    <a:pt x="3329" y="5877"/>
                  </a:lnTo>
                  <a:lnTo>
                    <a:pt x="3307" y="5886"/>
                  </a:lnTo>
                  <a:lnTo>
                    <a:pt x="3291" y="5899"/>
                  </a:lnTo>
                  <a:lnTo>
                    <a:pt x="3288" y="5908"/>
                  </a:lnTo>
                  <a:lnTo>
                    <a:pt x="3285" y="5918"/>
                  </a:lnTo>
                  <a:lnTo>
                    <a:pt x="3282" y="5930"/>
                  </a:lnTo>
                  <a:lnTo>
                    <a:pt x="3279" y="5943"/>
                  </a:lnTo>
                  <a:lnTo>
                    <a:pt x="3276" y="5949"/>
                  </a:lnTo>
                  <a:lnTo>
                    <a:pt x="3270" y="5958"/>
                  </a:lnTo>
                  <a:lnTo>
                    <a:pt x="3260" y="5968"/>
                  </a:lnTo>
                  <a:lnTo>
                    <a:pt x="3251" y="5977"/>
                  </a:lnTo>
                  <a:lnTo>
                    <a:pt x="3241" y="5986"/>
                  </a:lnTo>
                  <a:lnTo>
                    <a:pt x="3238" y="5993"/>
                  </a:lnTo>
                  <a:lnTo>
                    <a:pt x="3232" y="6014"/>
                  </a:lnTo>
                  <a:lnTo>
                    <a:pt x="3232" y="6036"/>
                  </a:lnTo>
                  <a:lnTo>
                    <a:pt x="3235" y="6058"/>
                  </a:lnTo>
                  <a:lnTo>
                    <a:pt x="3238" y="6064"/>
                  </a:lnTo>
                  <a:lnTo>
                    <a:pt x="3241" y="6074"/>
                  </a:lnTo>
                  <a:lnTo>
                    <a:pt x="3245" y="6083"/>
                  </a:lnTo>
                  <a:lnTo>
                    <a:pt x="3232" y="6089"/>
                  </a:lnTo>
                  <a:lnTo>
                    <a:pt x="3223" y="6092"/>
                  </a:lnTo>
                  <a:lnTo>
                    <a:pt x="3213" y="6092"/>
                  </a:lnTo>
                  <a:lnTo>
                    <a:pt x="3207" y="6092"/>
                  </a:lnTo>
                  <a:lnTo>
                    <a:pt x="3201" y="6086"/>
                  </a:lnTo>
                  <a:lnTo>
                    <a:pt x="3195" y="6083"/>
                  </a:lnTo>
                  <a:lnTo>
                    <a:pt x="3185" y="6077"/>
                  </a:lnTo>
                  <a:lnTo>
                    <a:pt x="3179" y="6074"/>
                  </a:lnTo>
                  <a:lnTo>
                    <a:pt x="3173" y="6071"/>
                  </a:lnTo>
                  <a:lnTo>
                    <a:pt x="3154" y="6077"/>
                  </a:lnTo>
                  <a:lnTo>
                    <a:pt x="3135" y="6086"/>
                  </a:lnTo>
                  <a:lnTo>
                    <a:pt x="3120" y="6092"/>
                  </a:lnTo>
                  <a:lnTo>
                    <a:pt x="3101" y="6096"/>
                  </a:lnTo>
                  <a:lnTo>
                    <a:pt x="3079" y="6099"/>
                  </a:lnTo>
                  <a:lnTo>
                    <a:pt x="3060" y="6099"/>
                  </a:lnTo>
                  <a:lnTo>
                    <a:pt x="3042" y="6092"/>
                  </a:lnTo>
                  <a:lnTo>
                    <a:pt x="3029" y="6080"/>
                  </a:lnTo>
                  <a:lnTo>
                    <a:pt x="3020" y="6058"/>
                  </a:lnTo>
                  <a:lnTo>
                    <a:pt x="3010" y="6036"/>
                  </a:lnTo>
                  <a:lnTo>
                    <a:pt x="2998" y="6021"/>
                  </a:lnTo>
                  <a:lnTo>
                    <a:pt x="2992" y="6018"/>
                  </a:lnTo>
                  <a:lnTo>
                    <a:pt x="2982" y="6011"/>
                  </a:lnTo>
                  <a:lnTo>
                    <a:pt x="2970" y="6005"/>
                  </a:lnTo>
                  <a:lnTo>
                    <a:pt x="2960" y="6002"/>
                  </a:lnTo>
                  <a:lnTo>
                    <a:pt x="2954" y="5996"/>
                  </a:lnTo>
                  <a:lnTo>
                    <a:pt x="2948" y="5980"/>
                  </a:lnTo>
                  <a:lnTo>
                    <a:pt x="2948" y="5961"/>
                  </a:lnTo>
                  <a:lnTo>
                    <a:pt x="2945" y="5946"/>
                  </a:lnTo>
                  <a:lnTo>
                    <a:pt x="2942" y="5933"/>
                  </a:lnTo>
                  <a:lnTo>
                    <a:pt x="2923" y="5927"/>
                  </a:lnTo>
                  <a:lnTo>
                    <a:pt x="2901" y="5927"/>
                  </a:lnTo>
                  <a:lnTo>
                    <a:pt x="2885" y="5933"/>
                  </a:lnTo>
                  <a:lnTo>
                    <a:pt x="2879" y="5936"/>
                  </a:lnTo>
                  <a:lnTo>
                    <a:pt x="2879" y="5943"/>
                  </a:lnTo>
                  <a:lnTo>
                    <a:pt x="2876" y="5949"/>
                  </a:lnTo>
                  <a:lnTo>
                    <a:pt x="2873" y="5955"/>
                  </a:lnTo>
                  <a:lnTo>
                    <a:pt x="2870" y="5961"/>
                  </a:lnTo>
                  <a:lnTo>
                    <a:pt x="2848" y="5974"/>
                  </a:lnTo>
                  <a:lnTo>
                    <a:pt x="2814" y="5983"/>
                  </a:lnTo>
                  <a:lnTo>
                    <a:pt x="2782" y="5986"/>
                  </a:lnTo>
                  <a:lnTo>
                    <a:pt x="2754" y="5986"/>
                  </a:lnTo>
                  <a:lnTo>
                    <a:pt x="2745" y="5983"/>
                  </a:lnTo>
                  <a:lnTo>
                    <a:pt x="2736" y="5977"/>
                  </a:lnTo>
                  <a:lnTo>
                    <a:pt x="2726" y="5968"/>
                  </a:lnTo>
                  <a:lnTo>
                    <a:pt x="2720" y="5961"/>
                  </a:lnTo>
                  <a:lnTo>
                    <a:pt x="2714" y="5952"/>
                  </a:lnTo>
                  <a:lnTo>
                    <a:pt x="2707" y="5946"/>
                  </a:lnTo>
                  <a:lnTo>
                    <a:pt x="2704" y="5927"/>
                  </a:lnTo>
                  <a:lnTo>
                    <a:pt x="2707" y="5905"/>
                  </a:lnTo>
                  <a:lnTo>
                    <a:pt x="2711" y="5883"/>
                  </a:lnTo>
                  <a:lnTo>
                    <a:pt x="2707" y="5868"/>
                  </a:lnTo>
                  <a:lnTo>
                    <a:pt x="2704" y="5861"/>
                  </a:lnTo>
                  <a:lnTo>
                    <a:pt x="2695" y="5858"/>
                  </a:lnTo>
                  <a:lnTo>
                    <a:pt x="2689" y="5855"/>
                  </a:lnTo>
                  <a:lnTo>
                    <a:pt x="2679" y="5852"/>
                  </a:lnTo>
                  <a:lnTo>
                    <a:pt x="2673" y="5849"/>
                  </a:lnTo>
                  <a:lnTo>
                    <a:pt x="2667" y="5852"/>
                  </a:lnTo>
                  <a:lnTo>
                    <a:pt x="2657" y="5855"/>
                  </a:lnTo>
                  <a:lnTo>
                    <a:pt x="2651" y="5858"/>
                  </a:lnTo>
                  <a:lnTo>
                    <a:pt x="2645" y="5865"/>
                  </a:lnTo>
                  <a:lnTo>
                    <a:pt x="2639" y="5868"/>
                  </a:lnTo>
                  <a:lnTo>
                    <a:pt x="2636" y="5874"/>
                  </a:lnTo>
                  <a:lnTo>
                    <a:pt x="2632" y="5880"/>
                  </a:lnTo>
                  <a:lnTo>
                    <a:pt x="2629" y="5889"/>
                  </a:lnTo>
                  <a:lnTo>
                    <a:pt x="2626" y="5899"/>
                  </a:lnTo>
                  <a:lnTo>
                    <a:pt x="2623" y="5905"/>
                  </a:lnTo>
                  <a:lnTo>
                    <a:pt x="2617" y="5908"/>
                  </a:lnTo>
                  <a:lnTo>
                    <a:pt x="2598" y="5911"/>
                  </a:lnTo>
                  <a:lnTo>
                    <a:pt x="2576" y="5905"/>
                  </a:lnTo>
                  <a:lnTo>
                    <a:pt x="2554" y="5899"/>
                  </a:lnTo>
                  <a:lnTo>
                    <a:pt x="2539" y="5886"/>
                  </a:lnTo>
                  <a:lnTo>
                    <a:pt x="2536" y="5871"/>
                  </a:lnTo>
                  <a:lnTo>
                    <a:pt x="2536" y="5855"/>
                  </a:lnTo>
                  <a:lnTo>
                    <a:pt x="2536" y="5833"/>
                  </a:lnTo>
                  <a:lnTo>
                    <a:pt x="2539" y="5821"/>
                  </a:lnTo>
                  <a:lnTo>
                    <a:pt x="2542" y="5802"/>
                  </a:lnTo>
                  <a:lnTo>
                    <a:pt x="2548" y="5783"/>
                  </a:lnTo>
                  <a:lnTo>
                    <a:pt x="2551" y="5765"/>
                  </a:lnTo>
                  <a:lnTo>
                    <a:pt x="2545" y="5749"/>
                  </a:lnTo>
                  <a:lnTo>
                    <a:pt x="2533" y="5727"/>
                  </a:lnTo>
                  <a:lnTo>
                    <a:pt x="2523" y="5708"/>
                  </a:lnTo>
                  <a:lnTo>
                    <a:pt x="2526" y="5690"/>
                  </a:lnTo>
                  <a:lnTo>
                    <a:pt x="2533" y="5665"/>
                  </a:lnTo>
                  <a:lnTo>
                    <a:pt x="2542" y="5643"/>
                  </a:lnTo>
                  <a:lnTo>
                    <a:pt x="2548" y="5630"/>
                  </a:lnTo>
                  <a:lnTo>
                    <a:pt x="2554" y="5612"/>
                  </a:lnTo>
                  <a:lnTo>
                    <a:pt x="2561" y="5596"/>
                  </a:lnTo>
                  <a:lnTo>
                    <a:pt x="2564" y="5587"/>
                  </a:lnTo>
                  <a:lnTo>
                    <a:pt x="2564" y="5574"/>
                  </a:lnTo>
                  <a:lnTo>
                    <a:pt x="2567" y="5552"/>
                  </a:lnTo>
                  <a:lnTo>
                    <a:pt x="2564" y="5524"/>
                  </a:lnTo>
                  <a:lnTo>
                    <a:pt x="2561" y="5496"/>
                  </a:lnTo>
                  <a:lnTo>
                    <a:pt x="2554" y="5477"/>
                  </a:lnTo>
                  <a:lnTo>
                    <a:pt x="2539" y="5468"/>
                  </a:lnTo>
                  <a:lnTo>
                    <a:pt x="2517" y="5462"/>
                  </a:lnTo>
                  <a:lnTo>
                    <a:pt x="2495" y="5459"/>
                  </a:lnTo>
                  <a:lnTo>
                    <a:pt x="2476" y="5452"/>
                  </a:lnTo>
                  <a:lnTo>
                    <a:pt x="2473" y="5446"/>
                  </a:lnTo>
                  <a:lnTo>
                    <a:pt x="2470" y="5437"/>
                  </a:lnTo>
                  <a:lnTo>
                    <a:pt x="2467" y="5427"/>
                  </a:lnTo>
                  <a:lnTo>
                    <a:pt x="2464" y="5418"/>
                  </a:lnTo>
                  <a:lnTo>
                    <a:pt x="2461" y="5409"/>
                  </a:lnTo>
                  <a:lnTo>
                    <a:pt x="2454" y="5402"/>
                  </a:lnTo>
                  <a:lnTo>
                    <a:pt x="2448" y="5399"/>
                  </a:lnTo>
                  <a:lnTo>
                    <a:pt x="2442" y="5399"/>
                  </a:lnTo>
                  <a:lnTo>
                    <a:pt x="2433" y="5399"/>
                  </a:lnTo>
                  <a:lnTo>
                    <a:pt x="2426" y="5399"/>
                  </a:lnTo>
                  <a:lnTo>
                    <a:pt x="2420" y="5402"/>
                  </a:lnTo>
                  <a:lnTo>
                    <a:pt x="2420" y="5405"/>
                  </a:lnTo>
                  <a:lnTo>
                    <a:pt x="2420" y="5412"/>
                  </a:lnTo>
                  <a:lnTo>
                    <a:pt x="2423" y="5418"/>
                  </a:lnTo>
                  <a:lnTo>
                    <a:pt x="2423" y="5421"/>
                  </a:lnTo>
                  <a:lnTo>
                    <a:pt x="2420" y="5424"/>
                  </a:lnTo>
                  <a:lnTo>
                    <a:pt x="2408" y="5430"/>
                  </a:lnTo>
                  <a:lnTo>
                    <a:pt x="2389" y="5434"/>
                  </a:lnTo>
                  <a:lnTo>
                    <a:pt x="2370" y="5430"/>
                  </a:lnTo>
                  <a:lnTo>
                    <a:pt x="2358" y="5424"/>
                  </a:lnTo>
                  <a:lnTo>
                    <a:pt x="2355" y="5421"/>
                  </a:lnTo>
                  <a:lnTo>
                    <a:pt x="2348" y="5412"/>
                  </a:lnTo>
                  <a:lnTo>
                    <a:pt x="2348" y="5402"/>
                  </a:lnTo>
                  <a:lnTo>
                    <a:pt x="2345" y="5393"/>
                  </a:lnTo>
                  <a:lnTo>
                    <a:pt x="2348" y="5384"/>
                  </a:lnTo>
                  <a:lnTo>
                    <a:pt x="2351" y="5377"/>
                  </a:lnTo>
                  <a:lnTo>
                    <a:pt x="2358" y="5371"/>
                  </a:lnTo>
                  <a:lnTo>
                    <a:pt x="2367" y="5362"/>
                  </a:lnTo>
                  <a:lnTo>
                    <a:pt x="2373" y="5356"/>
                  </a:lnTo>
                  <a:lnTo>
                    <a:pt x="2376" y="5349"/>
                  </a:lnTo>
                  <a:lnTo>
                    <a:pt x="2380" y="5324"/>
                  </a:lnTo>
                  <a:lnTo>
                    <a:pt x="2373" y="5296"/>
                  </a:lnTo>
                  <a:lnTo>
                    <a:pt x="2364" y="5271"/>
                  </a:lnTo>
                  <a:lnTo>
                    <a:pt x="2345" y="5246"/>
                  </a:lnTo>
                  <a:lnTo>
                    <a:pt x="2314" y="5218"/>
                  </a:lnTo>
                  <a:lnTo>
                    <a:pt x="2283" y="5190"/>
                  </a:lnTo>
                  <a:lnTo>
                    <a:pt x="2252" y="5174"/>
                  </a:lnTo>
                  <a:lnTo>
                    <a:pt x="2227" y="5171"/>
                  </a:lnTo>
                  <a:lnTo>
                    <a:pt x="2192" y="5174"/>
                  </a:lnTo>
                  <a:lnTo>
                    <a:pt x="2161" y="5178"/>
                  </a:lnTo>
                  <a:lnTo>
                    <a:pt x="2133" y="5174"/>
                  </a:lnTo>
                  <a:lnTo>
                    <a:pt x="2111" y="5165"/>
                  </a:lnTo>
                  <a:lnTo>
                    <a:pt x="2086" y="5153"/>
                  </a:lnTo>
                  <a:lnTo>
                    <a:pt x="2061" y="5137"/>
                  </a:lnTo>
                  <a:lnTo>
                    <a:pt x="2039" y="5131"/>
                  </a:lnTo>
                  <a:lnTo>
                    <a:pt x="2014" y="5124"/>
                  </a:lnTo>
                  <a:lnTo>
                    <a:pt x="1986" y="5124"/>
                  </a:lnTo>
                  <a:lnTo>
                    <a:pt x="1961" y="5124"/>
                  </a:lnTo>
                  <a:lnTo>
                    <a:pt x="1939" y="5131"/>
                  </a:lnTo>
                  <a:lnTo>
                    <a:pt x="1930" y="5134"/>
                  </a:lnTo>
                  <a:lnTo>
                    <a:pt x="1921" y="5143"/>
                  </a:lnTo>
                  <a:lnTo>
                    <a:pt x="1914" y="5156"/>
                  </a:lnTo>
                  <a:lnTo>
                    <a:pt x="1908" y="5165"/>
                  </a:lnTo>
                  <a:lnTo>
                    <a:pt x="1902" y="5174"/>
                  </a:lnTo>
                  <a:lnTo>
                    <a:pt x="1902" y="5193"/>
                  </a:lnTo>
                  <a:lnTo>
                    <a:pt x="1905" y="5212"/>
                  </a:lnTo>
                  <a:lnTo>
                    <a:pt x="1905" y="5234"/>
                  </a:lnTo>
                  <a:lnTo>
                    <a:pt x="1902" y="5249"/>
                  </a:lnTo>
                  <a:lnTo>
                    <a:pt x="1899" y="5256"/>
                  </a:lnTo>
                  <a:lnTo>
                    <a:pt x="1889" y="5259"/>
                  </a:lnTo>
                  <a:lnTo>
                    <a:pt x="1880" y="5262"/>
                  </a:lnTo>
                  <a:lnTo>
                    <a:pt x="1871" y="5265"/>
                  </a:lnTo>
                  <a:lnTo>
                    <a:pt x="1861" y="5268"/>
                  </a:lnTo>
                  <a:lnTo>
                    <a:pt x="1842" y="5268"/>
                  </a:lnTo>
                  <a:lnTo>
                    <a:pt x="1817" y="5265"/>
                  </a:lnTo>
                  <a:lnTo>
                    <a:pt x="1796" y="5265"/>
                  </a:lnTo>
                  <a:lnTo>
                    <a:pt x="1777" y="5268"/>
                  </a:lnTo>
                  <a:lnTo>
                    <a:pt x="1774" y="5271"/>
                  </a:lnTo>
                  <a:lnTo>
                    <a:pt x="1771" y="5277"/>
                  </a:lnTo>
                  <a:lnTo>
                    <a:pt x="1764" y="5284"/>
                  </a:lnTo>
                  <a:lnTo>
                    <a:pt x="1761" y="5293"/>
                  </a:lnTo>
                  <a:lnTo>
                    <a:pt x="1758" y="5296"/>
                  </a:lnTo>
                  <a:lnTo>
                    <a:pt x="1739" y="5299"/>
                  </a:lnTo>
                  <a:lnTo>
                    <a:pt x="1718" y="5296"/>
                  </a:lnTo>
                  <a:lnTo>
                    <a:pt x="1696" y="5290"/>
                  </a:lnTo>
                  <a:lnTo>
                    <a:pt x="1677" y="5287"/>
                  </a:lnTo>
                  <a:lnTo>
                    <a:pt x="1661" y="5287"/>
                  </a:lnTo>
                  <a:lnTo>
                    <a:pt x="1639" y="5284"/>
                  </a:lnTo>
                  <a:lnTo>
                    <a:pt x="1618" y="5284"/>
                  </a:lnTo>
                  <a:lnTo>
                    <a:pt x="1602" y="5287"/>
                  </a:lnTo>
                  <a:lnTo>
                    <a:pt x="1596" y="5293"/>
                  </a:lnTo>
                  <a:lnTo>
                    <a:pt x="1590" y="5299"/>
                  </a:lnTo>
                  <a:lnTo>
                    <a:pt x="1586" y="5309"/>
                  </a:lnTo>
                  <a:lnTo>
                    <a:pt x="1580" y="5315"/>
                  </a:lnTo>
                  <a:lnTo>
                    <a:pt x="1577" y="5324"/>
                  </a:lnTo>
                  <a:lnTo>
                    <a:pt x="1571" y="5327"/>
                  </a:lnTo>
                  <a:lnTo>
                    <a:pt x="1549" y="5337"/>
                  </a:lnTo>
                  <a:lnTo>
                    <a:pt x="1524" y="5343"/>
                  </a:lnTo>
                  <a:lnTo>
                    <a:pt x="1496" y="5346"/>
                  </a:lnTo>
                  <a:lnTo>
                    <a:pt x="1474" y="5343"/>
                  </a:lnTo>
                  <a:lnTo>
                    <a:pt x="1455" y="5334"/>
                  </a:lnTo>
                  <a:lnTo>
                    <a:pt x="1433" y="5318"/>
                  </a:lnTo>
                  <a:lnTo>
                    <a:pt x="1412" y="5302"/>
                  </a:lnTo>
                  <a:lnTo>
                    <a:pt x="1393" y="5293"/>
                  </a:lnTo>
                  <a:lnTo>
                    <a:pt x="1377" y="5287"/>
                  </a:lnTo>
                  <a:lnTo>
                    <a:pt x="1358" y="5284"/>
                  </a:lnTo>
                  <a:lnTo>
                    <a:pt x="1337" y="5284"/>
                  </a:lnTo>
                  <a:lnTo>
                    <a:pt x="1324" y="5287"/>
                  </a:lnTo>
                  <a:lnTo>
                    <a:pt x="1321" y="5293"/>
                  </a:lnTo>
                  <a:lnTo>
                    <a:pt x="1321" y="5296"/>
                  </a:lnTo>
                  <a:lnTo>
                    <a:pt x="1321" y="5306"/>
                  </a:lnTo>
                  <a:lnTo>
                    <a:pt x="1324" y="5312"/>
                  </a:lnTo>
                  <a:lnTo>
                    <a:pt x="1324" y="5318"/>
                  </a:lnTo>
                  <a:lnTo>
                    <a:pt x="1324" y="5324"/>
                  </a:lnTo>
                  <a:lnTo>
                    <a:pt x="1324" y="5327"/>
                  </a:lnTo>
                  <a:lnTo>
                    <a:pt x="1308" y="5334"/>
                  </a:lnTo>
                  <a:lnTo>
                    <a:pt x="1290" y="5334"/>
                  </a:lnTo>
                  <a:lnTo>
                    <a:pt x="1271" y="5334"/>
                  </a:lnTo>
                  <a:lnTo>
                    <a:pt x="1252" y="5331"/>
                  </a:lnTo>
                  <a:lnTo>
                    <a:pt x="1224" y="5331"/>
                  </a:lnTo>
                  <a:lnTo>
                    <a:pt x="1190" y="5327"/>
                  </a:lnTo>
                  <a:lnTo>
                    <a:pt x="1162" y="5327"/>
                  </a:lnTo>
                  <a:lnTo>
                    <a:pt x="1143" y="5334"/>
                  </a:lnTo>
                  <a:lnTo>
                    <a:pt x="1121" y="5343"/>
                  </a:lnTo>
                  <a:lnTo>
                    <a:pt x="1102" y="5352"/>
                  </a:lnTo>
                  <a:lnTo>
                    <a:pt x="1068" y="5362"/>
                  </a:lnTo>
                  <a:lnTo>
                    <a:pt x="1027" y="5374"/>
                  </a:lnTo>
                  <a:lnTo>
                    <a:pt x="987" y="5384"/>
                  </a:lnTo>
                  <a:lnTo>
                    <a:pt x="952" y="5387"/>
                  </a:lnTo>
                  <a:lnTo>
                    <a:pt x="931" y="5384"/>
                  </a:lnTo>
                  <a:lnTo>
                    <a:pt x="906" y="5374"/>
                  </a:lnTo>
                  <a:lnTo>
                    <a:pt x="881" y="5365"/>
                  </a:lnTo>
                  <a:lnTo>
                    <a:pt x="862" y="5352"/>
                  </a:lnTo>
                  <a:lnTo>
                    <a:pt x="856" y="5346"/>
                  </a:lnTo>
                  <a:lnTo>
                    <a:pt x="853" y="5334"/>
                  </a:lnTo>
                  <a:lnTo>
                    <a:pt x="849" y="5312"/>
                  </a:lnTo>
                  <a:lnTo>
                    <a:pt x="846" y="5290"/>
                  </a:lnTo>
                  <a:lnTo>
                    <a:pt x="843" y="5268"/>
                  </a:lnTo>
                  <a:lnTo>
                    <a:pt x="837" y="5256"/>
                  </a:lnTo>
                  <a:lnTo>
                    <a:pt x="828" y="5252"/>
                  </a:lnTo>
                  <a:lnTo>
                    <a:pt x="809" y="5243"/>
                  </a:lnTo>
                  <a:lnTo>
                    <a:pt x="793" y="5234"/>
                  </a:lnTo>
                  <a:lnTo>
                    <a:pt x="781" y="5224"/>
                  </a:lnTo>
                  <a:lnTo>
                    <a:pt x="778" y="5206"/>
                  </a:lnTo>
                  <a:lnTo>
                    <a:pt x="781" y="5184"/>
                  </a:lnTo>
                  <a:lnTo>
                    <a:pt x="784" y="5162"/>
                  </a:lnTo>
                  <a:lnTo>
                    <a:pt x="781" y="5143"/>
                  </a:lnTo>
                  <a:lnTo>
                    <a:pt x="762" y="5118"/>
                  </a:lnTo>
                  <a:lnTo>
                    <a:pt x="737" y="5090"/>
                  </a:lnTo>
                  <a:lnTo>
                    <a:pt x="706" y="5065"/>
                  </a:lnTo>
                  <a:lnTo>
                    <a:pt x="687" y="5040"/>
                  </a:lnTo>
                  <a:lnTo>
                    <a:pt x="675" y="5015"/>
                  </a:lnTo>
                  <a:lnTo>
                    <a:pt x="665" y="4984"/>
                  </a:lnTo>
                  <a:lnTo>
                    <a:pt x="656" y="4953"/>
                  </a:lnTo>
                  <a:lnTo>
                    <a:pt x="650" y="4928"/>
                  </a:lnTo>
                  <a:lnTo>
                    <a:pt x="637" y="4906"/>
                  </a:lnTo>
                  <a:lnTo>
                    <a:pt x="625" y="4881"/>
                  </a:lnTo>
                  <a:lnTo>
                    <a:pt x="612" y="4856"/>
                  </a:lnTo>
                  <a:lnTo>
                    <a:pt x="593" y="4840"/>
                  </a:lnTo>
                  <a:lnTo>
                    <a:pt x="575" y="4834"/>
                  </a:lnTo>
                  <a:lnTo>
                    <a:pt x="550" y="4837"/>
                  </a:lnTo>
                  <a:lnTo>
                    <a:pt x="522" y="4840"/>
                  </a:lnTo>
                  <a:lnTo>
                    <a:pt x="493" y="4840"/>
                  </a:lnTo>
                  <a:lnTo>
                    <a:pt x="472" y="4840"/>
                  </a:lnTo>
                  <a:lnTo>
                    <a:pt x="453" y="4834"/>
                  </a:lnTo>
                  <a:lnTo>
                    <a:pt x="431" y="4825"/>
                  </a:lnTo>
                  <a:lnTo>
                    <a:pt x="415" y="4815"/>
                  </a:lnTo>
                  <a:lnTo>
                    <a:pt x="403" y="4797"/>
                  </a:lnTo>
                  <a:lnTo>
                    <a:pt x="390" y="4772"/>
                  </a:lnTo>
                  <a:lnTo>
                    <a:pt x="384" y="4747"/>
                  </a:lnTo>
                  <a:lnTo>
                    <a:pt x="381" y="4722"/>
                  </a:lnTo>
                  <a:lnTo>
                    <a:pt x="384" y="4703"/>
                  </a:lnTo>
                  <a:lnTo>
                    <a:pt x="394" y="4681"/>
                  </a:lnTo>
                  <a:lnTo>
                    <a:pt x="403" y="4659"/>
                  </a:lnTo>
                  <a:lnTo>
                    <a:pt x="409" y="4640"/>
                  </a:lnTo>
                  <a:lnTo>
                    <a:pt x="406" y="4615"/>
                  </a:lnTo>
                  <a:lnTo>
                    <a:pt x="400" y="4581"/>
                  </a:lnTo>
                  <a:lnTo>
                    <a:pt x="390" y="4550"/>
                  </a:lnTo>
                  <a:lnTo>
                    <a:pt x="381" y="4525"/>
                  </a:lnTo>
                  <a:lnTo>
                    <a:pt x="359" y="4509"/>
                  </a:lnTo>
                  <a:lnTo>
                    <a:pt x="328" y="4494"/>
                  </a:lnTo>
                  <a:lnTo>
                    <a:pt x="297" y="4478"/>
                  </a:lnTo>
                  <a:lnTo>
                    <a:pt x="272" y="4462"/>
                  </a:lnTo>
                  <a:lnTo>
                    <a:pt x="253" y="4441"/>
                  </a:lnTo>
                  <a:lnTo>
                    <a:pt x="231" y="4413"/>
                  </a:lnTo>
                  <a:lnTo>
                    <a:pt x="212" y="4391"/>
                  </a:lnTo>
                  <a:lnTo>
                    <a:pt x="194" y="4369"/>
                  </a:lnTo>
                  <a:lnTo>
                    <a:pt x="172" y="4347"/>
                  </a:lnTo>
                  <a:lnTo>
                    <a:pt x="153" y="4328"/>
                  </a:lnTo>
                  <a:lnTo>
                    <a:pt x="137" y="4328"/>
                  </a:lnTo>
                  <a:lnTo>
                    <a:pt x="116" y="4328"/>
                  </a:lnTo>
                  <a:lnTo>
                    <a:pt x="94" y="4331"/>
                  </a:lnTo>
                  <a:lnTo>
                    <a:pt x="78" y="4328"/>
                  </a:lnTo>
                  <a:lnTo>
                    <a:pt x="56" y="4322"/>
                  </a:lnTo>
                  <a:lnTo>
                    <a:pt x="28" y="4313"/>
                  </a:lnTo>
                  <a:lnTo>
                    <a:pt x="0" y="4300"/>
                  </a:lnTo>
                  <a:lnTo>
                    <a:pt x="6" y="4288"/>
                  </a:lnTo>
                  <a:lnTo>
                    <a:pt x="9" y="4275"/>
                  </a:lnTo>
                  <a:lnTo>
                    <a:pt x="13" y="4263"/>
                  </a:lnTo>
                  <a:lnTo>
                    <a:pt x="19" y="4250"/>
                  </a:lnTo>
                  <a:lnTo>
                    <a:pt x="28" y="4235"/>
                  </a:lnTo>
                  <a:lnTo>
                    <a:pt x="38" y="4216"/>
                  </a:lnTo>
                  <a:lnTo>
                    <a:pt x="44" y="4197"/>
                  </a:lnTo>
                  <a:lnTo>
                    <a:pt x="44" y="4175"/>
                  </a:lnTo>
                  <a:lnTo>
                    <a:pt x="41" y="4150"/>
                  </a:lnTo>
                  <a:lnTo>
                    <a:pt x="34" y="4122"/>
                  </a:lnTo>
                  <a:lnTo>
                    <a:pt x="38" y="4103"/>
                  </a:lnTo>
                  <a:lnTo>
                    <a:pt x="41" y="4097"/>
                  </a:lnTo>
                  <a:lnTo>
                    <a:pt x="44" y="4088"/>
                  </a:lnTo>
                  <a:lnTo>
                    <a:pt x="53" y="4082"/>
                  </a:lnTo>
                  <a:lnTo>
                    <a:pt x="59" y="4075"/>
                  </a:lnTo>
                  <a:lnTo>
                    <a:pt x="66" y="4069"/>
                  </a:lnTo>
                  <a:lnTo>
                    <a:pt x="72" y="4063"/>
                  </a:lnTo>
                  <a:lnTo>
                    <a:pt x="75" y="4057"/>
                  </a:lnTo>
                  <a:lnTo>
                    <a:pt x="78" y="4053"/>
                  </a:lnTo>
                  <a:lnTo>
                    <a:pt x="75" y="4044"/>
                  </a:lnTo>
                  <a:lnTo>
                    <a:pt x="66" y="4025"/>
                  </a:lnTo>
                  <a:lnTo>
                    <a:pt x="59" y="4003"/>
                  </a:lnTo>
                  <a:lnTo>
                    <a:pt x="53" y="3982"/>
                  </a:lnTo>
                  <a:lnTo>
                    <a:pt x="53" y="3963"/>
                  </a:lnTo>
                  <a:lnTo>
                    <a:pt x="56" y="3957"/>
                  </a:lnTo>
                  <a:lnTo>
                    <a:pt x="63" y="3947"/>
                  </a:lnTo>
                  <a:lnTo>
                    <a:pt x="69" y="3941"/>
                  </a:lnTo>
                  <a:lnTo>
                    <a:pt x="78" y="3935"/>
                  </a:lnTo>
                  <a:lnTo>
                    <a:pt x="84" y="3932"/>
                  </a:lnTo>
                  <a:lnTo>
                    <a:pt x="91" y="3932"/>
                  </a:lnTo>
                  <a:lnTo>
                    <a:pt x="100" y="3932"/>
                  </a:lnTo>
                  <a:lnTo>
                    <a:pt x="109" y="3932"/>
                  </a:lnTo>
                  <a:lnTo>
                    <a:pt x="116" y="3935"/>
                  </a:lnTo>
                  <a:lnTo>
                    <a:pt x="125" y="3935"/>
                  </a:lnTo>
                  <a:lnTo>
                    <a:pt x="131" y="3932"/>
                  </a:lnTo>
                  <a:lnTo>
                    <a:pt x="144" y="3913"/>
                  </a:lnTo>
                  <a:lnTo>
                    <a:pt x="150" y="3888"/>
                  </a:lnTo>
                  <a:lnTo>
                    <a:pt x="156" y="3866"/>
                  </a:lnTo>
                  <a:lnTo>
                    <a:pt x="156" y="3860"/>
                  </a:lnTo>
                  <a:lnTo>
                    <a:pt x="153" y="3850"/>
                  </a:lnTo>
                  <a:lnTo>
                    <a:pt x="153" y="3844"/>
                  </a:lnTo>
                  <a:lnTo>
                    <a:pt x="150" y="3835"/>
                  </a:lnTo>
                  <a:lnTo>
                    <a:pt x="147" y="3825"/>
                  </a:lnTo>
                  <a:lnTo>
                    <a:pt x="147" y="3819"/>
                  </a:lnTo>
                  <a:lnTo>
                    <a:pt x="150" y="3816"/>
                  </a:lnTo>
                  <a:lnTo>
                    <a:pt x="153" y="3813"/>
                  </a:lnTo>
                  <a:lnTo>
                    <a:pt x="159" y="3810"/>
                  </a:lnTo>
                  <a:lnTo>
                    <a:pt x="169" y="3807"/>
                  </a:lnTo>
                  <a:lnTo>
                    <a:pt x="175" y="3807"/>
                  </a:lnTo>
                  <a:lnTo>
                    <a:pt x="181" y="3804"/>
                  </a:lnTo>
                  <a:lnTo>
                    <a:pt x="187" y="3804"/>
                  </a:lnTo>
                  <a:lnTo>
                    <a:pt x="187" y="3800"/>
                  </a:lnTo>
                  <a:lnTo>
                    <a:pt x="191" y="3791"/>
                  </a:lnTo>
                  <a:lnTo>
                    <a:pt x="194" y="3769"/>
                  </a:lnTo>
                  <a:lnTo>
                    <a:pt x="197" y="3744"/>
                  </a:lnTo>
                  <a:lnTo>
                    <a:pt x="197" y="3719"/>
                  </a:lnTo>
                  <a:lnTo>
                    <a:pt x="194" y="3701"/>
                  </a:lnTo>
                  <a:lnTo>
                    <a:pt x="191" y="3694"/>
                  </a:lnTo>
                  <a:lnTo>
                    <a:pt x="184" y="3688"/>
                  </a:lnTo>
                  <a:lnTo>
                    <a:pt x="175" y="3682"/>
                  </a:lnTo>
                  <a:lnTo>
                    <a:pt x="169" y="3676"/>
                  </a:lnTo>
                  <a:lnTo>
                    <a:pt x="162" y="3672"/>
                  </a:lnTo>
                  <a:lnTo>
                    <a:pt x="156" y="3663"/>
                  </a:lnTo>
                  <a:lnTo>
                    <a:pt x="150" y="3654"/>
                  </a:lnTo>
                  <a:lnTo>
                    <a:pt x="144" y="3641"/>
                  </a:lnTo>
                  <a:lnTo>
                    <a:pt x="137" y="3632"/>
                  </a:lnTo>
                  <a:lnTo>
                    <a:pt x="134" y="3623"/>
                  </a:lnTo>
                  <a:lnTo>
                    <a:pt x="131" y="3601"/>
                  </a:lnTo>
                  <a:lnTo>
                    <a:pt x="134" y="3576"/>
                  </a:lnTo>
                  <a:lnTo>
                    <a:pt x="134" y="3551"/>
                  </a:lnTo>
                  <a:lnTo>
                    <a:pt x="134" y="3529"/>
                  </a:lnTo>
                  <a:lnTo>
                    <a:pt x="128" y="3501"/>
                  </a:lnTo>
                  <a:lnTo>
                    <a:pt x="119" y="3470"/>
                  </a:lnTo>
                  <a:lnTo>
                    <a:pt x="103" y="3448"/>
                  </a:lnTo>
                  <a:lnTo>
                    <a:pt x="87" y="3438"/>
                  </a:lnTo>
                  <a:lnTo>
                    <a:pt x="66" y="3429"/>
                  </a:lnTo>
                  <a:lnTo>
                    <a:pt x="53" y="3420"/>
                  </a:lnTo>
                  <a:lnTo>
                    <a:pt x="44" y="3401"/>
                  </a:lnTo>
                  <a:lnTo>
                    <a:pt x="38" y="3379"/>
                  </a:lnTo>
                  <a:lnTo>
                    <a:pt x="38" y="3357"/>
                  </a:lnTo>
                  <a:lnTo>
                    <a:pt x="47" y="3341"/>
                  </a:lnTo>
                  <a:lnTo>
                    <a:pt x="59" y="3320"/>
                  </a:lnTo>
                  <a:lnTo>
                    <a:pt x="75" y="3301"/>
                  </a:lnTo>
                  <a:lnTo>
                    <a:pt x="87" y="3285"/>
                  </a:lnTo>
                  <a:lnTo>
                    <a:pt x="103" y="3279"/>
                  </a:lnTo>
                  <a:lnTo>
                    <a:pt x="122" y="3273"/>
                  </a:lnTo>
                  <a:lnTo>
                    <a:pt x="144" y="3263"/>
                  </a:lnTo>
                  <a:lnTo>
                    <a:pt x="156" y="3254"/>
                  </a:lnTo>
                  <a:lnTo>
                    <a:pt x="159" y="3242"/>
                  </a:lnTo>
                  <a:lnTo>
                    <a:pt x="159" y="3223"/>
                  </a:lnTo>
                  <a:lnTo>
                    <a:pt x="159" y="3204"/>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62" name="Freeform 51">
              <a:extLst>
                <a:ext uri="{FF2B5EF4-FFF2-40B4-BE49-F238E27FC236}">
                  <a16:creationId xmlns:a16="http://schemas.microsoft.com/office/drawing/2014/main" id="{AF6BB4A2-F3A6-4120-B12B-6FBA195C7936}"/>
                </a:ext>
              </a:extLst>
            </p:cNvPr>
            <p:cNvSpPr>
              <a:spLocks/>
            </p:cNvSpPr>
            <p:nvPr/>
          </p:nvSpPr>
          <p:spPr bwMode="auto">
            <a:xfrm>
              <a:off x="32367538" y="-10572750"/>
              <a:ext cx="3073400" cy="6196013"/>
            </a:xfrm>
            <a:custGeom>
              <a:avLst/>
              <a:gdLst>
                <a:gd name="T0" fmla="*/ 1893 w 1936"/>
                <a:gd name="T1" fmla="*/ 237 h 3903"/>
                <a:gd name="T2" fmla="*/ 1811 w 1936"/>
                <a:gd name="T3" fmla="*/ 365 h 3903"/>
                <a:gd name="T4" fmla="*/ 1733 w 1936"/>
                <a:gd name="T5" fmla="*/ 577 h 3903"/>
                <a:gd name="T6" fmla="*/ 1596 w 1936"/>
                <a:gd name="T7" fmla="*/ 677 h 3903"/>
                <a:gd name="T8" fmla="*/ 1496 w 1936"/>
                <a:gd name="T9" fmla="*/ 852 h 3903"/>
                <a:gd name="T10" fmla="*/ 1409 w 1936"/>
                <a:gd name="T11" fmla="*/ 930 h 3903"/>
                <a:gd name="T12" fmla="*/ 1334 w 1936"/>
                <a:gd name="T13" fmla="*/ 1114 h 3903"/>
                <a:gd name="T14" fmla="*/ 1287 w 1936"/>
                <a:gd name="T15" fmla="*/ 1373 h 3903"/>
                <a:gd name="T16" fmla="*/ 1265 w 1936"/>
                <a:gd name="T17" fmla="*/ 1645 h 3903"/>
                <a:gd name="T18" fmla="*/ 1165 w 1936"/>
                <a:gd name="T19" fmla="*/ 1879 h 3903"/>
                <a:gd name="T20" fmla="*/ 1075 w 1936"/>
                <a:gd name="T21" fmla="*/ 2129 h 3903"/>
                <a:gd name="T22" fmla="*/ 1040 w 1936"/>
                <a:gd name="T23" fmla="*/ 2401 h 3903"/>
                <a:gd name="T24" fmla="*/ 1093 w 1936"/>
                <a:gd name="T25" fmla="*/ 2657 h 3903"/>
                <a:gd name="T26" fmla="*/ 1028 w 1936"/>
                <a:gd name="T27" fmla="*/ 2825 h 3903"/>
                <a:gd name="T28" fmla="*/ 1043 w 1936"/>
                <a:gd name="T29" fmla="*/ 3103 h 3903"/>
                <a:gd name="T30" fmla="*/ 1025 w 1936"/>
                <a:gd name="T31" fmla="*/ 3325 h 3903"/>
                <a:gd name="T32" fmla="*/ 1071 w 1936"/>
                <a:gd name="T33" fmla="*/ 3494 h 3903"/>
                <a:gd name="T34" fmla="*/ 1034 w 1936"/>
                <a:gd name="T35" fmla="*/ 3690 h 3903"/>
                <a:gd name="T36" fmla="*/ 853 w 1936"/>
                <a:gd name="T37" fmla="*/ 3734 h 3903"/>
                <a:gd name="T38" fmla="*/ 775 w 1936"/>
                <a:gd name="T39" fmla="*/ 3850 h 3903"/>
                <a:gd name="T40" fmla="*/ 550 w 1936"/>
                <a:gd name="T41" fmla="*/ 3875 h 3903"/>
                <a:gd name="T42" fmla="*/ 456 w 1936"/>
                <a:gd name="T43" fmla="*/ 3740 h 3903"/>
                <a:gd name="T44" fmla="*/ 409 w 1936"/>
                <a:gd name="T45" fmla="*/ 3547 h 3903"/>
                <a:gd name="T46" fmla="*/ 291 w 1936"/>
                <a:gd name="T47" fmla="*/ 3366 h 3903"/>
                <a:gd name="T48" fmla="*/ 191 w 1936"/>
                <a:gd name="T49" fmla="*/ 3156 h 3903"/>
                <a:gd name="T50" fmla="*/ 16 w 1936"/>
                <a:gd name="T51" fmla="*/ 3053 h 3903"/>
                <a:gd name="T52" fmla="*/ 19 w 1936"/>
                <a:gd name="T53" fmla="*/ 3000 h 3903"/>
                <a:gd name="T54" fmla="*/ 44 w 1936"/>
                <a:gd name="T55" fmla="*/ 2900 h 3903"/>
                <a:gd name="T56" fmla="*/ 94 w 1936"/>
                <a:gd name="T57" fmla="*/ 2760 h 3903"/>
                <a:gd name="T58" fmla="*/ 144 w 1936"/>
                <a:gd name="T59" fmla="*/ 2619 h 3903"/>
                <a:gd name="T60" fmla="*/ 241 w 1936"/>
                <a:gd name="T61" fmla="*/ 2376 h 3903"/>
                <a:gd name="T62" fmla="*/ 281 w 1936"/>
                <a:gd name="T63" fmla="*/ 2257 h 3903"/>
                <a:gd name="T64" fmla="*/ 338 w 1936"/>
                <a:gd name="T65" fmla="*/ 2098 h 3903"/>
                <a:gd name="T66" fmla="*/ 425 w 1936"/>
                <a:gd name="T67" fmla="*/ 1923 h 3903"/>
                <a:gd name="T68" fmla="*/ 391 w 1936"/>
                <a:gd name="T69" fmla="*/ 1776 h 3903"/>
                <a:gd name="T70" fmla="*/ 256 w 1936"/>
                <a:gd name="T71" fmla="*/ 1639 h 3903"/>
                <a:gd name="T72" fmla="*/ 284 w 1936"/>
                <a:gd name="T73" fmla="*/ 1473 h 3903"/>
                <a:gd name="T74" fmla="*/ 388 w 1936"/>
                <a:gd name="T75" fmla="*/ 1320 h 3903"/>
                <a:gd name="T76" fmla="*/ 469 w 1936"/>
                <a:gd name="T77" fmla="*/ 1214 h 3903"/>
                <a:gd name="T78" fmla="*/ 528 w 1936"/>
                <a:gd name="T79" fmla="*/ 1067 h 3903"/>
                <a:gd name="T80" fmla="*/ 484 w 1936"/>
                <a:gd name="T81" fmla="*/ 861 h 3903"/>
                <a:gd name="T82" fmla="*/ 472 w 1936"/>
                <a:gd name="T83" fmla="*/ 630 h 3903"/>
                <a:gd name="T84" fmla="*/ 372 w 1936"/>
                <a:gd name="T85" fmla="*/ 640 h 3903"/>
                <a:gd name="T86" fmla="*/ 206 w 1936"/>
                <a:gd name="T87" fmla="*/ 646 h 3903"/>
                <a:gd name="T88" fmla="*/ 188 w 1936"/>
                <a:gd name="T89" fmla="*/ 524 h 3903"/>
                <a:gd name="T90" fmla="*/ 50 w 1936"/>
                <a:gd name="T91" fmla="*/ 418 h 3903"/>
                <a:gd name="T92" fmla="*/ 110 w 1936"/>
                <a:gd name="T93" fmla="*/ 234 h 3903"/>
                <a:gd name="T94" fmla="*/ 147 w 1936"/>
                <a:gd name="T95" fmla="*/ 106 h 3903"/>
                <a:gd name="T96" fmla="*/ 244 w 1936"/>
                <a:gd name="T97" fmla="*/ 68 h 3903"/>
                <a:gd name="T98" fmla="*/ 272 w 1936"/>
                <a:gd name="T99" fmla="*/ 199 h 3903"/>
                <a:gd name="T100" fmla="*/ 416 w 1936"/>
                <a:gd name="T101" fmla="*/ 218 h 3903"/>
                <a:gd name="T102" fmla="*/ 566 w 1936"/>
                <a:gd name="T103" fmla="*/ 309 h 3903"/>
                <a:gd name="T104" fmla="*/ 750 w 1936"/>
                <a:gd name="T105" fmla="*/ 290 h 3903"/>
                <a:gd name="T106" fmla="*/ 981 w 1936"/>
                <a:gd name="T107" fmla="*/ 281 h 3903"/>
                <a:gd name="T108" fmla="*/ 1018 w 1936"/>
                <a:gd name="T109" fmla="*/ 118 h 3903"/>
                <a:gd name="T110" fmla="*/ 1081 w 1936"/>
                <a:gd name="T111" fmla="*/ 25 h 3903"/>
                <a:gd name="T112" fmla="*/ 1224 w 1936"/>
                <a:gd name="T113" fmla="*/ 18 h 3903"/>
                <a:gd name="T114" fmla="*/ 1306 w 1936"/>
                <a:gd name="T115" fmla="*/ 46 h 3903"/>
                <a:gd name="T116" fmla="*/ 1559 w 1936"/>
                <a:gd name="T117" fmla="*/ 25 h 3903"/>
                <a:gd name="T118" fmla="*/ 1718 w 1936"/>
                <a:gd name="T119" fmla="*/ 121 h 3903"/>
                <a:gd name="T120" fmla="*/ 1905 w 1936"/>
                <a:gd name="T121" fmla="*/ 131 h 3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36" h="3903">
                  <a:moveTo>
                    <a:pt x="1915" y="134"/>
                  </a:moveTo>
                  <a:lnTo>
                    <a:pt x="1921" y="137"/>
                  </a:lnTo>
                  <a:lnTo>
                    <a:pt x="1924" y="146"/>
                  </a:lnTo>
                  <a:lnTo>
                    <a:pt x="1930" y="156"/>
                  </a:lnTo>
                  <a:lnTo>
                    <a:pt x="1933" y="165"/>
                  </a:lnTo>
                  <a:lnTo>
                    <a:pt x="1936" y="174"/>
                  </a:lnTo>
                  <a:lnTo>
                    <a:pt x="1936" y="181"/>
                  </a:lnTo>
                  <a:lnTo>
                    <a:pt x="1927" y="203"/>
                  </a:lnTo>
                  <a:lnTo>
                    <a:pt x="1908" y="221"/>
                  </a:lnTo>
                  <a:lnTo>
                    <a:pt x="1893" y="237"/>
                  </a:lnTo>
                  <a:lnTo>
                    <a:pt x="1883" y="243"/>
                  </a:lnTo>
                  <a:lnTo>
                    <a:pt x="1874" y="249"/>
                  </a:lnTo>
                  <a:lnTo>
                    <a:pt x="1861" y="252"/>
                  </a:lnTo>
                  <a:lnTo>
                    <a:pt x="1852" y="259"/>
                  </a:lnTo>
                  <a:lnTo>
                    <a:pt x="1846" y="265"/>
                  </a:lnTo>
                  <a:lnTo>
                    <a:pt x="1836" y="281"/>
                  </a:lnTo>
                  <a:lnTo>
                    <a:pt x="1833" y="306"/>
                  </a:lnTo>
                  <a:lnTo>
                    <a:pt x="1830" y="327"/>
                  </a:lnTo>
                  <a:lnTo>
                    <a:pt x="1824" y="346"/>
                  </a:lnTo>
                  <a:lnTo>
                    <a:pt x="1811" y="365"/>
                  </a:lnTo>
                  <a:lnTo>
                    <a:pt x="1793" y="384"/>
                  </a:lnTo>
                  <a:lnTo>
                    <a:pt x="1780" y="402"/>
                  </a:lnTo>
                  <a:lnTo>
                    <a:pt x="1777" y="427"/>
                  </a:lnTo>
                  <a:lnTo>
                    <a:pt x="1780" y="459"/>
                  </a:lnTo>
                  <a:lnTo>
                    <a:pt x="1777" y="484"/>
                  </a:lnTo>
                  <a:lnTo>
                    <a:pt x="1774" y="502"/>
                  </a:lnTo>
                  <a:lnTo>
                    <a:pt x="1768" y="527"/>
                  </a:lnTo>
                  <a:lnTo>
                    <a:pt x="1758" y="552"/>
                  </a:lnTo>
                  <a:lnTo>
                    <a:pt x="1749" y="568"/>
                  </a:lnTo>
                  <a:lnTo>
                    <a:pt x="1733" y="577"/>
                  </a:lnTo>
                  <a:lnTo>
                    <a:pt x="1712" y="583"/>
                  </a:lnTo>
                  <a:lnTo>
                    <a:pt x="1687" y="587"/>
                  </a:lnTo>
                  <a:lnTo>
                    <a:pt x="1665" y="590"/>
                  </a:lnTo>
                  <a:lnTo>
                    <a:pt x="1649" y="599"/>
                  </a:lnTo>
                  <a:lnTo>
                    <a:pt x="1646" y="612"/>
                  </a:lnTo>
                  <a:lnTo>
                    <a:pt x="1643" y="627"/>
                  </a:lnTo>
                  <a:lnTo>
                    <a:pt x="1643" y="646"/>
                  </a:lnTo>
                  <a:lnTo>
                    <a:pt x="1640" y="658"/>
                  </a:lnTo>
                  <a:lnTo>
                    <a:pt x="1621" y="668"/>
                  </a:lnTo>
                  <a:lnTo>
                    <a:pt x="1596" y="677"/>
                  </a:lnTo>
                  <a:lnTo>
                    <a:pt x="1568" y="683"/>
                  </a:lnTo>
                  <a:lnTo>
                    <a:pt x="1543" y="693"/>
                  </a:lnTo>
                  <a:lnTo>
                    <a:pt x="1527" y="705"/>
                  </a:lnTo>
                  <a:lnTo>
                    <a:pt x="1524" y="721"/>
                  </a:lnTo>
                  <a:lnTo>
                    <a:pt x="1524" y="740"/>
                  </a:lnTo>
                  <a:lnTo>
                    <a:pt x="1527" y="761"/>
                  </a:lnTo>
                  <a:lnTo>
                    <a:pt x="1527" y="777"/>
                  </a:lnTo>
                  <a:lnTo>
                    <a:pt x="1521" y="802"/>
                  </a:lnTo>
                  <a:lnTo>
                    <a:pt x="1509" y="830"/>
                  </a:lnTo>
                  <a:lnTo>
                    <a:pt x="1496" y="852"/>
                  </a:lnTo>
                  <a:lnTo>
                    <a:pt x="1490" y="855"/>
                  </a:lnTo>
                  <a:lnTo>
                    <a:pt x="1480" y="858"/>
                  </a:lnTo>
                  <a:lnTo>
                    <a:pt x="1471" y="861"/>
                  </a:lnTo>
                  <a:lnTo>
                    <a:pt x="1462" y="868"/>
                  </a:lnTo>
                  <a:lnTo>
                    <a:pt x="1455" y="871"/>
                  </a:lnTo>
                  <a:lnTo>
                    <a:pt x="1443" y="883"/>
                  </a:lnTo>
                  <a:lnTo>
                    <a:pt x="1427" y="902"/>
                  </a:lnTo>
                  <a:lnTo>
                    <a:pt x="1415" y="918"/>
                  </a:lnTo>
                  <a:lnTo>
                    <a:pt x="1409" y="927"/>
                  </a:lnTo>
                  <a:lnTo>
                    <a:pt x="1409" y="930"/>
                  </a:lnTo>
                  <a:lnTo>
                    <a:pt x="1402" y="936"/>
                  </a:lnTo>
                  <a:lnTo>
                    <a:pt x="1396" y="946"/>
                  </a:lnTo>
                  <a:lnTo>
                    <a:pt x="1390" y="952"/>
                  </a:lnTo>
                  <a:lnTo>
                    <a:pt x="1384" y="961"/>
                  </a:lnTo>
                  <a:lnTo>
                    <a:pt x="1377" y="968"/>
                  </a:lnTo>
                  <a:lnTo>
                    <a:pt x="1374" y="977"/>
                  </a:lnTo>
                  <a:lnTo>
                    <a:pt x="1362" y="1005"/>
                  </a:lnTo>
                  <a:lnTo>
                    <a:pt x="1349" y="1042"/>
                  </a:lnTo>
                  <a:lnTo>
                    <a:pt x="1340" y="1080"/>
                  </a:lnTo>
                  <a:lnTo>
                    <a:pt x="1334" y="1114"/>
                  </a:lnTo>
                  <a:lnTo>
                    <a:pt x="1334" y="1146"/>
                  </a:lnTo>
                  <a:lnTo>
                    <a:pt x="1334" y="1183"/>
                  </a:lnTo>
                  <a:lnTo>
                    <a:pt x="1337" y="1220"/>
                  </a:lnTo>
                  <a:lnTo>
                    <a:pt x="1334" y="1252"/>
                  </a:lnTo>
                  <a:lnTo>
                    <a:pt x="1324" y="1270"/>
                  </a:lnTo>
                  <a:lnTo>
                    <a:pt x="1312" y="1289"/>
                  </a:lnTo>
                  <a:lnTo>
                    <a:pt x="1296" y="1311"/>
                  </a:lnTo>
                  <a:lnTo>
                    <a:pt x="1290" y="1330"/>
                  </a:lnTo>
                  <a:lnTo>
                    <a:pt x="1287" y="1348"/>
                  </a:lnTo>
                  <a:lnTo>
                    <a:pt x="1287" y="1373"/>
                  </a:lnTo>
                  <a:lnTo>
                    <a:pt x="1290" y="1398"/>
                  </a:lnTo>
                  <a:lnTo>
                    <a:pt x="1290" y="1417"/>
                  </a:lnTo>
                  <a:lnTo>
                    <a:pt x="1277" y="1448"/>
                  </a:lnTo>
                  <a:lnTo>
                    <a:pt x="1262" y="1483"/>
                  </a:lnTo>
                  <a:lnTo>
                    <a:pt x="1246" y="1514"/>
                  </a:lnTo>
                  <a:lnTo>
                    <a:pt x="1237" y="1545"/>
                  </a:lnTo>
                  <a:lnTo>
                    <a:pt x="1240" y="1567"/>
                  </a:lnTo>
                  <a:lnTo>
                    <a:pt x="1249" y="1595"/>
                  </a:lnTo>
                  <a:lnTo>
                    <a:pt x="1259" y="1623"/>
                  </a:lnTo>
                  <a:lnTo>
                    <a:pt x="1265" y="1645"/>
                  </a:lnTo>
                  <a:lnTo>
                    <a:pt x="1259" y="1676"/>
                  </a:lnTo>
                  <a:lnTo>
                    <a:pt x="1249" y="1708"/>
                  </a:lnTo>
                  <a:lnTo>
                    <a:pt x="1237" y="1742"/>
                  </a:lnTo>
                  <a:lnTo>
                    <a:pt x="1224" y="1767"/>
                  </a:lnTo>
                  <a:lnTo>
                    <a:pt x="1206" y="1783"/>
                  </a:lnTo>
                  <a:lnTo>
                    <a:pt x="1181" y="1801"/>
                  </a:lnTo>
                  <a:lnTo>
                    <a:pt x="1165" y="1817"/>
                  </a:lnTo>
                  <a:lnTo>
                    <a:pt x="1162" y="1836"/>
                  </a:lnTo>
                  <a:lnTo>
                    <a:pt x="1162" y="1857"/>
                  </a:lnTo>
                  <a:lnTo>
                    <a:pt x="1165" y="1879"/>
                  </a:lnTo>
                  <a:lnTo>
                    <a:pt x="1165" y="1898"/>
                  </a:lnTo>
                  <a:lnTo>
                    <a:pt x="1159" y="1932"/>
                  </a:lnTo>
                  <a:lnTo>
                    <a:pt x="1146" y="1967"/>
                  </a:lnTo>
                  <a:lnTo>
                    <a:pt x="1134" y="1998"/>
                  </a:lnTo>
                  <a:lnTo>
                    <a:pt x="1121" y="2014"/>
                  </a:lnTo>
                  <a:lnTo>
                    <a:pt x="1103" y="2032"/>
                  </a:lnTo>
                  <a:lnTo>
                    <a:pt x="1087" y="2051"/>
                  </a:lnTo>
                  <a:lnTo>
                    <a:pt x="1078" y="2070"/>
                  </a:lnTo>
                  <a:lnTo>
                    <a:pt x="1071" y="2095"/>
                  </a:lnTo>
                  <a:lnTo>
                    <a:pt x="1075" y="2129"/>
                  </a:lnTo>
                  <a:lnTo>
                    <a:pt x="1075" y="2160"/>
                  </a:lnTo>
                  <a:lnTo>
                    <a:pt x="1075" y="2188"/>
                  </a:lnTo>
                  <a:lnTo>
                    <a:pt x="1065" y="2213"/>
                  </a:lnTo>
                  <a:lnTo>
                    <a:pt x="1050" y="2245"/>
                  </a:lnTo>
                  <a:lnTo>
                    <a:pt x="1040" y="2270"/>
                  </a:lnTo>
                  <a:lnTo>
                    <a:pt x="1034" y="2295"/>
                  </a:lnTo>
                  <a:lnTo>
                    <a:pt x="1031" y="2323"/>
                  </a:lnTo>
                  <a:lnTo>
                    <a:pt x="1028" y="2354"/>
                  </a:lnTo>
                  <a:lnTo>
                    <a:pt x="1031" y="2379"/>
                  </a:lnTo>
                  <a:lnTo>
                    <a:pt x="1040" y="2401"/>
                  </a:lnTo>
                  <a:lnTo>
                    <a:pt x="1062" y="2426"/>
                  </a:lnTo>
                  <a:lnTo>
                    <a:pt x="1084" y="2451"/>
                  </a:lnTo>
                  <a:lnTo>
                    <a:pt x="1103" y="2476"/>
                  </a:lnTo>
                  <a:lnTo>
                    <a:pt x="1115" y="2498"/>
                  </a:lnTo>
                  <a:lnTo>
                    <a:pt x="1118" y="2519"/>
                  </a:lnTo>
                  <a:lnTo>
                    <a:pt x="1115" y="2544"/>
                  </a:lnTo>
                  <a:lnTo>
                    <a:pt x="1115" y="2566"/>
                  </a:lnTo>
                  <a:lnTo>
                    <a:pt x="1109" y="2594"/>
                  </a:lnTo>
                  <a:lnTo>
                    <a:pt x="1099" y="2629"/>
                  </a:lnTo>
                  <a:lnTo>
                    <a:pt x="1093" y="2657"/>
                  </a:lnTo>
                  <a:lnTo>
                    <a:pt x="1090" y="2685"/>
                  </a:lnTo>
                  <a:lnTo>
                    <a:pt x="1084" y="2719"/>
                  </a:lnTo>
                  <a:lnTo>
                    <a:pt x="1081" y="2757"/>
                  </a:lnTo>
                  <a:lnTo>
                    <a:pt x="1071" y="2782"/>
                  </a:lnTo>
                  <a:lnTo>
                    <a:pt x="1065" y="2791"/>
                  </a:lnTo>
                  <a:lnTo>
                    <a:pt x="1056" y="2797"/>
                  </a:lnTo>
                  <a:lnTo>
                    <a:pt x="1046" y="2804"/>
                  </a:lnTo>
                  <a:lnTo>
                    <a:pt x="1040" y="2813"/>
                  </a:lnTo>
                  <a:lnTo>
                    <a:pt x="1031" y="2819"/>
                  </a:lnTo>
                  <a:lnTo>
                    <a:pt x="1028" y="2825"/>
                  </a:lnTo>
                  <a:lnTo>
                    <a:pt x="1021" y="2854"/>
                  </a:lnTo>
                  <a:lnTo>
                    <a:pt x="1021" y="2888"/>
                  </a:lnTo>
                  <a:lnTo>
                    <a:pt x="1025" y="2925"/>
                  </a:lnTo>
                  <a:lnTo>
                    <a:pt x="1025" y="2953"/>
                  </a:lnTo>
                  <a:lnTo>
                    <a:pt x="1021" y="2978"/>
                  </a:lnTo>
                  <a:lnTo>
                    <a:pt x="1015" y="3007"/>
                  </a:lnTo>
                  <a:lnTo>
                    <a:pt x="1012" y="3032"/>
                  </a:lnTo>
                  <a:lnTo>
                    <a:pt x="1021" y="3053"/>
                  </a:lnTo>
                  <a:lnTo>
                    <a:pt x="1034" y="3078"/>
                  </a:lnTo>
                  <a:lnTo>
                    <a:pt x="1043" y="3103"/>
                  </a:lnTo>
                  <a:lnTo>
                    <a:pt x="1046" y="3125"/>
                  </a:lnTo>
                  <a:lnTo>
                    <a:pt x="1037" y="3147"/>
                  </a:lnTo>
                  <a:lnTo>
                    <a:pt x="1015" y="3169"/>
                  </a:lnTo>
                  <a:lnTo>
                    <a:pt x="996" y="3194"/>
                  </a:lnTo>
                  <a:lnTo>
                    <a:pt x="981" y="3213"/>
                  </a:lnTo>
                  <a:lnTo>
                    <a:pt x="978" y="3238"/>
                  </a:lnTo>
                  <a:lnTo>
                    <a:pt x="978" y="3266"/>
                  </a:lnTo>
                  <a:lnTo>
                    <a:pt x="981" y="3291"/>
                  </a:lnTo>
                  <a:lnTo>
                    <a:pt x="1000" y="3309"/>
                  </a:lnTo>
                  <a:lnTo>
                    <a:pt x="1025" y="3325"/>
                  </a:lnTo>
                  <a:lnTo>
                    <a:pt x="1053" y="3344"/>
                  </a:lnTo>
                  <a:lnTo>
                    <a:pt x="1078" y="3359"/>
                  </a:lnTo>
                  <a:lnTo>
                    <a:pt x="1096" y="3378"/>
                  </a:lnTo>
                  <a:lnTo>
                    <a:pt x="1103" y="3400"/>
                  </a:lnTo>
                  <a:lnTo>
                    <a:pt x="1103" y="3428"/>
                  </a:lnTo>
                  <a:lnTo>
                    <a:pt x="1103" y="3453"/>
                  </a:lnTo>
                  <a:lnTo>
                    <a:pt x="1096" y="3475"/>
                  </a:lnTo>
                  <a:lnTo>
                    <a:pt x="1090" y="3481"/>
                  </a:lnTo>
                  <a:lnTo>
                    <a:pt x="1081" y="3487"/>
                  </a:lnTo>
                  <a:lnTo>
                    <a:pt x="1071" y="3494"/>
                  </a:lnTo>
                  <a:lnTo>
                    <a:pt x="1059" y="3500"/>
                  </a:lnTo>
                  <a:lnTo>
                    <a:pt x="1053" y="3506"/>
                  </a:lnTo>
                  <a:lnTo>
                    <a:pt x="1046" y="3512"/>
                  </a:lnTo>
                  <a:lnTo>
                    <a:pt x="1040" y="3534"/>
                  </a:lnTo>
                  <a:lnTo>
                    <a:pt x="1040" y="3559"/>
                  </a:lnTo>
                  <a:lnTo>
                    <a:pt x="1040" y="3581"/>
                  </a:lnTo>
                  <a:lnTo>
                    <a:pt x="1040" y="3603"/>
                  </a:lnTo>
                  <a:lnTo>
                    <a:pt x="1040" y="3634"/>
                  </a:lnTo>
                  <a:lnTo>
                    <a:pt x="1040" y="3662"/>
                  </a:lnTo>
                  <a:lnTo>
                    <a:pt x="1034" y="3690"/>
                  </a:lnTo>
                  <a:lnTo>
                    <a:pt x="1021" y="3706"/>
                  </a:lnTo>
                  <a:lnTo>
                    <a:pt x="1009" y="3709"/>
                  </a:lnTo>
                  <a:lnTo>
                    <a:pt x="990" y="3706"/>
                  </a:lnTo>
                  <a:lnTo>
                    <a:pt x="971" y="3703"/>
                  </a:lnTo>
                  <a:lnTo>
                    <a:pt x="953" y="3697"/>
                  </a:lnTo>
                  <a:lnTo>
                    <a:pt x="937" y="3694"/>
                  </a:lnTo>
                  <a:lnTo>
                    <a:pt x="915" y="3700"/>
                  </a:lnTo>
                  <a:lnTo>
                    <a:pt x="887" y="3706"/>
                  </a:lnTo>
                  <a:lnTo>
                    <a:pt x="865" y="3719"/>
                  </a:lnTo>
                  <a:lnTo>
                    <a:pt x="853" y="3734"/>
                  </a:lnTo>
                  <a:lnTo>
                    <a:pt x="853" y="3747"/>
                  </a:lnTo>
                  <a:lnTo>
                    <a:pt x="862" y="3762"/>
                  </a:lnTo>
                  <a:lnTo>
                    <a:pt x="872" y="3775"/>
                  </a:lnTo>
                  <a:lnTo>
                    <a:pt x="878" y="3790"/>
                  </a:lnTo>
                  <a:lnTo>
                    <a:pt x="872" y="3806"/>
                  </a:lnTo>
                  <a:lnTo>
                    <a:pt x="859" y="3822"/>
                  </a:lnTo>
                  <a:lnTo>
                    <a:pt x="843" y="3837"/>
                  </a:lnTo>
                  <a:lnTo>
                    <a:pt x="828" y="3850"/>
                  </a:lnTo>
                  <a:lnTo>
                    <a:pt x="806" y="3853"/>
                  </a:lnTo>
                  <a:lnTo>
                    <a:pt x="775" y="3850"/>
                  </a:lnTo>
                  <a:lnTo>
                    <a:pt x="743" y="3847"/>
                  </a:lnTo>
                  <a:lnTo>
                    <a:pt x="719" y="3850"/>
                  </a:lnTo>
                  <a:lnTo>
                    <a:pt x="697" y="3859"/>
                  </a:lnTo>
                  <a:lnTo>
                    <a:pt x="672" y="3878"/>
                  </a:lnTo>
                  <a:lnTo>
                    <a:pt x="647" y="3897"/>
                  </a:lnTo>
                  <a:lnTo>
                    <a:pt x="625" y="3903"/>
                  </a:lnTo>
                  <a:lnTo>
                    <a:pt x="606" y="3903"/>
                  </a:lnTo>
                  <a:lnTo>
                    <a:pt x="584" y="3897"/>
                  </a:lnTo>
                  <a:lnTo>
                    <a:pt x="566" y="3887"/>
                  </a:lnTo>
                  <a:lnTo>
                    <a:pt x="550" y="3875"/>
                  </a:lnTo>
                  <a:lnTo>
                    <a:pt x="544" y="3856"/>
                  </a:lnTo>
                  <a:lnTo>
                    <a:pt x="541" y="3834"/>
                  </a:lnTo>
                  <a:lnTo>
                    <a:pt x="537" y="3806"/>
                  </a:lnTo>
                  <a:lnTo>
                    <a:pt x="531" y="3781"/>
                  </a:lnTo>
                  <a:lnTo>
                    <a:pt x="525" y="3765"/>
                  </a:lnTo>
                  <a:lnTo>
                    <a:pt x="512" y="3756"/>
                  </a:lnTo>
                  <a:lnTo>
                    <a:pt x="494" y="3750"/>
                  </a:lnTo>
                  <a:lnTo>
                    <a:pt x="475" y="3744"/>
                  </a:lnTo>
                  <a:lnTo>
                    <a:pt x="462" y="3740"/>
                  </a:lnTo>
                  <a:lnTo>
                    <a:pt x="456" y="3740"/>
                  </a:lnTo>
                  <a:lnTo>
                    <a:pt x="456" y="3731"/>
                  </a:lnTo>
                  <a:lnTo>
                    <a:pt x="456" y="3712"/>
                  </a:lnTo>
                  <a:lnTo>
                    <a:pt x="456" y="3684"/>
                  </a:lnTo>
                  <a:lnTo>
                    <a:pt x="456" y="3659"/>
                  </a:lnTo>
                  <a:lnTo>
                    <a:pt x="456" y="3640"/>
                  </a:lnTo>
                  <a:lnTo>
                    <a:pt x="450" y="3615"/>
                  </a:lnTo>
                  <a:lnTo>
                    <a:pt x="441" y="3584"/>
                  </a:lnTo>
                  <a:lnTo>
                    <a:pt x="428" y="3559"/>
                  </a:lnTo>
                  <a:lnTo>
                    <a:pt x="422" y="3553"/>
                  </a:lnTo>
                  <a:lnTo>
                    <a:pt x="409" y="3547"/>
                  </a:lnTo>
                  <a:lnTo>
                    <a:pt x="400" y="3537"/>
                  </a:lnTo>
                  <a:lnTo>
                    <a:pt x="391" y="3531"/>
                  </a:lnTo>
                  <a:lnTo>
                    <a:pt x="384" y="3525"/>
                  </a:lnTo>
                  <a:lnTo>
                    <a:pt x="372" y="3506"/>
                  </a:lnTo>
                  <a:lnTo>
                    <a:pt x="359" y="3481"/>
                  </a:lnTo>
                  <a:lnTo>
                    <a:pt x="350" y="3459"/>
                  </a:lnTo>
                  <a:lnTo>
                    <a:pt x="338" y="3437"/>
                  </a:lnTo>
                  <a:lnTo>
                    <a:pt x="319" y="3413"/>
                  </a:lnTo>
                  <a:lnTo>
                    <a:pt x="303" y="3388"/>
                  </a:lnTo>
                  <a:lnTo>
                    <a:pt x="291" y="3366"/>
                  </a:lnTo>
                  <a:lnTo>
                    <a:pt x="291" y="3338"/>
                  </a:lnTo>
                  <a:lnTo>
                    <a:pt x="291" y="3303"/>
                  </a:lnTo>
                  <a:lnTo>
                    <a:pt x="294" y="3269"/>
                  </a:lnTo>
                  <a:lnTo>
                    <a:pt x="291" y="3241"/>
                  </a:lnTo>
                  <a:lnTo>
                    <a:pt x="281" y="3225"/>
                  </a:lnTo>
                  <a:lnTo>
                    <a:pt x="269" y="3206"/>
                  </a:lnTo>
                  <a:lnTo>
                    <a:pt x="253" y="3191"/>
                  </a:lnTo>
                  <a:lnTo>
                    <a:pt x="234" y="3178"/>
                  </a:lnTo>
                  <a:lnTo>
                    <a:pt x="213" y="3163"/>
                  </a:lnTo>
                  <a:lnTo>
                    <a:pt x="191" y="3156"/>
                  </a:lnTo>
                  <a:lnTo>
                    <a:pt x="169" y="3153"/>
                  </a:lnTo>
                  <a:lnTo>
                    <a:pt x="138" y="3156"/>
                  </a:lnTo>
                  <a:lnTo>
                    <a:pt x="110" y="3160"/>
                  </a:lnTo>
                  <a:lnTo>
                    <a:pt x="88" y="3156"/>
                  </a:lnTo>
                  <a:lnTo>
                    <a:pt x="69" y="3138"/>
                  </a:lnTo>
                  <a:lnTo>
                    <a:pt x="57" y="3107"/>
                  </a:lnTo>
                  <a:lnTo>
                    <a:pt x="41" y="3078"/>
                  </a:lnTo>
                  <a:lnTo>
                    <a:pt x="25" y="3060"/>
                  </a:lnTo>
                  <a:lnTo>
                    <a:pt x="22" y="3057"/>
                  </a:lnTo>
                  <a:lnTo>
                    <a:pt x="16" y="3053"/>
                  </a:lnTo>
                  <a:lnTo>
                    <a:pt x="10" y="3053"/>
                  </a:lnTo>
                  <a:lnTo>
                    <a:pt x="3" y="3050"/>
                  </a:lnTo>
                  <a:lnTo>
                    <a:pt x="0" y="3050"/>
                  </a:lnTo>
                  <a:lnTo>
                    <a:pt x="0" y="3047"/>
                  </a:lnTo>
                  <a:lnTo>
                    <a:pt x="0" y="3041"/>
                  </a:lnTo>
                  <a:lnTo>
                    <a:pt x="0" y="3032"/>
                  </a:lnTo>
                  <a:lnTo>
                    <a:pt x="3" y="3022"/>
                  </a:lnTo>
                  <a:lnTo>
                    <a:pt x="3" y="3013"/>
                  </a:lnTo>
                  <a:lnTo>
                    <a:pt x="7" y="3007"/>
                  </a:lnTo>
                  <a:lnTo>
                    <a:pt x="19" y="3000"/>
                  </a:lnTo>
                  <a:lnTo>
                    <a:pt x="41" y="2997"/>
                  </a:lnTo>
                  <a:lnTo>
                    <a:pt x="60" y="2991"/>
                  </a:lnTo>
                  <a:lnTo>
                    <a:pt x="72" y="2985"/>
                  </a:lnTo>
                  <a:lnTo>
                    <a:pt x="75" y="2978"/>
                  </a:lnTo>
                  <a:lnTo>
                    <a:pt x="75" y="2969"/>
                  </a:lnTo>
                  <a:lnTo>
                    <a:pt x="75" y="2960"/>
                  </a:lnTo>
                  <a:lnTo>
                    <a:pt x="75" y="2950"/>
                  </a:lnTo>
                  <a:lnTo>
                    <a:pt x="72" y="2941"/>
                  </a:lnTo>
                  <a:lnTo>
                    <a:pt x="60" y="2922"/>
                  </a:lnTo>
                  <a:lnTo>
                    <a:pt x="44" y="2900"/>
                  </a:lnTo>
                  <a:lnTo>
                    <a:pt x="35" y="2882"/>
                  </a:lnTo>
                  <a:lnTo>
                    <a:pt x="38" y="2860"/>
                  </a:lnTo>
                  <a:lnTo>
                    <a:pt x="50" y="2838"/>
                  </a:lnTo>
                  <a:lnTo>
                    <a:pt x="60" y="2819"/>
                  </a:lnTo>
                  <a:lnTo>
                    <a:pt x="66" y="2816"/>
                  </a:lnTo>
                  <a:lnTo>
                    <a:pt x="72" y="2810"/>
                  </a:lnTo>
                  <a:lnTo>
                    <a:pt x="78" y="2807"/>
                  </a:lnTo>
                  <a:lnTo>
                    <a:pt x="81" y="2800"/>
                  </a:lnTo>
                  <a:lnTo>
                    <a:pt x="88" y="2785"/>
                  </a:lnTo>
                  <a:lnTo>
                    <a:pt x="94" y="2760"/>
                  </a:lnTo>
                  <a:lnTo>
                    <a:pt x="97" y="2741"/>
                  </a:lnTo>
                  <a:lnTo>
                    <a:pt x="97" y="2722"/>
                  </a:lnTo>
                  <a:lnTo>
                    <a:pt x="94" y="2701"/>
                  </a:lnTo>
                  <a:lnTo>
                    <a:pt x="94" y="2679"/>
                  </a:lnTo>
                  <a:lnTo>
                    <a:pt x="97" y="2663"/>
                  </a:lnTo>
                  <a:lnTo>
                    <a:pt x="103" y="2654"/>
                  </a:lnTo>
                  <a:lnTo>
                    <a:pt x="113" y="2644"/>
                  </a:lnTo>
                  <a:lnTo>
                    <a:pt x="125" y="2635"/>
                  </a:lnTo>
                  <a:lnTo>
                    <a:pt x="135" y="2629"/>
                  </a:lnTo>
                  <a:lnTo>
                    <a:pt x="144" y="2619"/>
                  </a:lnTo>
                  <a:lnTo>
                    <a:pt x="160" y="2591"/>
                  </a:lnTo>
                  <a:lnTo>
                    <a:pt x="175" y="2557"/>
                  </a:lnTo>
                  <a:lnTo>
                    <a:pt x="188" y="2526"/>
                  </a:lnTo>
                  <a:lnTo>
                    <a:pt x="197" y="2504"/>
                  </a:lnTo>
                  <a:lnTo>
                    <a:pt x="210" y="2476"/>
                  </a:lnTo>
                  <a:lnTo>
                    <a:pt x="219" y="2454"/>
                  </a:lnTo>
                  <a:lnTo>
                    <a:pt x="225" y="2429"/>
                  </a:lnTo>
                  <a:lnTo>
                    <a:pt x="228" y="2401"/>
                  </a:lnTo>
                  <a:lnTo>
                    <a:pt x="234" y="2379"/>
                  </a:lnTo>
                  <a:lnTo>
                    <a:pt x="241" y="2376"/>
                  </a:lnTo>
                  <a:lnTo>
                    <a:pt x="250" y="2370"/>
                  </a:lnTo>
                  <a:lnTo>
                    <a:pt x="259" y="2366"/>
                  </a:lnTo>
                  <a:lnTo>
                    <a:pt x="269" y="2360"/>
                  </a:lnTo>
                  <a:lnTo>
                    <a:pt x="278" y="2357"/>
                  </a:lnTo>
                  <a:lnTo>
                    <a:pt x="281" y="2351"/>
                  </a:lnTo>
                  <a:lnTo>
                    <a:pt x="291" y="2335"/>
                  </a:lnTo>
                  <a:lnTo>
                    <a:pt x="294" y="2316"/>
                  </a:lnTo>
                  <a:lnTo>
                    <a:pt x="297" y="2298"/>
                  </a:lnTo>
                  <a:lnTo>
                    <a:pt x="291" y="2279"/>
                  </a:lnTo>
                  <a:lnTo>
                    <a:pt x="281" y="2257"/>
                  </a:lnTo>
                  <a:lnTo>
                    <a:pt x="272" y="2235"/>
                  </a:lnTo>
                  <a:lnTo>
                    <a:pt x="269" y="2217"/>
                  </a:lnTo>
                  <a:lnTo>
                    <a:pt x="275" y="2192"/>
                  </a:lnTo>
                  <a:lnTo>
                    <a:pt x="284" y="2160"/>
                  </a:lnTo>
                  <a:lnTo>
                    <a:pt x="297" y="2139"/>
                  </a:lnTo>
                  <a:lnTo>
                    <a:pt x="303" y="2129"/>
                  </a:lnTo>
                  <a:lnTo>
                    <a:pt x="313" y="2120"/>
                  </a:lnTo>
                  <a:lnTo>
                    <a:pt x="322" y="2114"/>
                  </a:lnTo>
                  <a:lnTo>
                    <a:pt x="331" y="2104"/>
                  </a:lnTo>
                  <a:lnTo>
                    <a:pt x="338" y="2098"/>
                  </a:lnTo>
                  <a:lnTo>
                    <a:pt x="350" y="2067"/>
                  </a:lnTo>
                  <a:lnTo>
                    <a:pt x="363" y="2029"/>
                  </a:lnTo>
                  <a:lnTo>
                    <a:pt x="375" y="1998"/>
                  </a:lnTo>
                  <a:lnTo>
                    <a:pt x="378" y="1989"/>
                  </a:lnTo>
                  <a:lnTo>
                    <a:pt x="384" y="1982"/>
                  </a:lnTo>
                  <a:lnTo>
                    <a:pt x="391" y="1973"/>
                  </a:lnTo>
                  <a:lnTo>
                    <a:pt x="400" y="1967"/>
                  </a:lnTo>
                  <a:lnTo>
                    <a:pt x="403" y="1957"/>
                  </a:lnTo>
                  <a:lnTo>
                    <a:pt x="416" y="1942"/>
                  </a:lnTo>
                  <a:lnTo>
                    <a:pt x="425" y="1923"/>
                  </a:lnTo>
                  <a:lnTo>
                    <a:pt x="434" y="1904"/>
                  </a:lnTo>
                  <a:lnTo>
                    <a:pt x="437" y="1879"/>
                  </a:lnTo>
                  <a:lnTo>
                    <a:pt x="437" y="1848"/>
                  </a:lnTo>
                  <a:lnTo>
                    <a:pt x="434" y="1823"/>
                  </a:lnTo>
                  <a:lnTo>
                    <a:pt x="431" y="1814"/>
                  </a:lnTo>
                  <a:lnTo>
                    <a:pt x="425" y="1804"/>
                  </a:lnTo>
                  <a:lnTo>
                    <a:pt x="419" y="1792"/>
                  </a:lnTo>
                  <a:lnTo>
                    <a:pt x="409" y="1786"/>
                  </a:lnTo>
                  <a:lnTo>
                    <a:pt x="403" y="1779"/>
                  </a:lnTo>
                  <a:lnTo>
                    <a:pt x="391" y="1776"/>
                  </a:lnTo>
                  <a:lnTo>
                    <a:pt x="372" y="1776"/>
                  </a:lnTo>
                  <a:lnTo>
                    <a:pt x="353" y="1779"/>
                  </a:lnTo>
                  <a:lnTo>
                    <a:pt x="341" y="1779"/>
                  </a:lnTo>
                  <a:lnTo>
                    <a:pt x="319" y="1773"/>
                  </a:lnTo>
                  <a:lnTo>
                    <a:pt x="297" y="1761"/>
                  </a:lnTo>
                  <a:lnTo>
                    <a:pt x="278" y="1748"/>
                  </a:lnTo>
                  <a:lnTo>
                    <a:pt x="269" y="1723"/>
                  </a:lnTo>
                  <a:lnTo>
                    <a:pt x="263" y="1695"/>
                  </a:lnTo>
                  <a:lnTo>
                    <a:pt x="256" y="1667"/>
                  </a:lnTo>
                  <a:lnTo>
                    <a:pt x="256" y="1639"/>
                  </a:lnTo>
                  <a:lnTo>
                    <a:pt x="256" y="1601"/>
                  </a:lnTo>
                  <a:lnTo>
                    <a:pt x="256" y="1570"/>
                  </a:lnTo>
                  <a:lnTo>
                    <a:pt x="256" y="1551"/>
                  </a:lnTo>
                  <a:lnTo>
                    <a:pt x="253" y="1523"/>
                  </a:lnTo>
                  <a:lnTo>
                    <a:pt x="253" y="1498"/>
                  </a:lnTo>
                  <a:lnTo>
                    <a:pt x="256" y="1480"/>
                  </a:lnTo>
                  <a:lnTo>
                    <a:pt x="263" y="1477"/>
                  </a:lnTo>
                  <a:lnTo>
                    <a:pt x="269" y="1473"/>
                  </a:lnTo>
                  <a:lnTo>
                    <a:pt x="275" y="1473"/>
                  </a:lnTo>
                  <a:lnTo>
                    <a:pt x="284" y="1473"/>
                  </a:lnTo>
                  <a:lnTo>
                    <a:pt x="291" y="1470"/>
                  </a:lnTo>
                  <a:lnTo>
                    <a:pt x="294" y="1467"/>
                  </a:lnTo>
                  <a:lnTo>
                    <a:pt x="300" y="1452"/>
                  </a:lnTo>
                  <a:lnTo>
                    <a:pt x="306" y="1427"/>
                  </a:lnTo>
                  <a:lnTo>
                    <a:pt x="309" y="1408"/>
                  </a:lnTo>
                  <a:lnTo>
                    <a:pt x="322" y="1386"/>
                  </a:lnTo>
                  <a:lnTo>
                    <a:pt x="334" y="1364"/>
                  </a:lnTo>
                  <a:lnTo>
                    <a:pt x="350" y="1348"/>
                  </a:lnTo>
                  <a:lnTo>
                    <a:pt x="366" y="1333"/>
                  </a:lnTo>
                  <a:lnTo>
                    <a:pt x="388" y="1320"/>
                  </a:lnTo>
                  <a:lnTo>
                    <a:pt x="403" y="1305"/>
                  </a:lnTo>
                  <a:lnTo>
                    <a:pt x="412" y="1286"/>
                  </a:lnTo>
                  <a:lnTo>
                    <a:pt x="416" y="1258"/>
                  </a:lnTo>
                  <a:lnTo>
                    <a:pt x="422" y="1233"/>
                  </a:lnTo>
                  <a:lnTo>
                    <a:pt x="434" y="1214"/>
                  </a:lnTo>
                  <a:lnTo>
                    <a:pt x="441" y="1214"/>
                  </a:lnTo>
                  <a:lnTo>
                    <a:pt x="447" y="1214"/>
                  </a:lnTo>
                  <a:lnTo>
                    <a:pt x="456" y="1214"/>
                  </a:lnTo>
                  <a:lnTo>
                    <a:pt x="462" y="1214"/>
                  </a:lnTo>
                  <a:lnTo>
                    <a:pt x="469" y="1214"/>
                  </a:lnTo>
                  <a:lnTo>
                    <a:pt x="487" y="1205"/>
                  </a:lnTo>
                  <a:lnTo>
                    <a:pt x="509" y="1192"/>
                  </a:lnTo>
                  <a:lnTo>
                    <a:pt x="525" y="1177"/>
                  </a:lnTo>
                  <a:lnTo>
                    <a:pt x="537" y="1152"/>
                  </a:lnTo>
                  <a:lnTo>
                    <a:pt x="541" y="1121"/>
                  </a:lnTo>
                  <a:lnTo>
                    <a:pt x="541" y="1092"/>
                  </a:lnTo>
                  <a:lnTo>
                    <a:pt x="541" y="1086"/>
                  </a:lnTo>
                  <a:lnTo>
                    <a:pt x="534" y="1080"/>
                  </a:lnTo>
                  <a:lnTo>
                    <a:pt x="531" y="1074"/>
                  </a:lnTo>
                  <a:lnTo>
                    <a:pt x="528" y="1067"/>
                  </a:lnTo>
                  <a:lnTo>
                    <a:pt x="525" y="1061"/>
                  </a:lnTo>
                  <a:lnTo>
                    <a:pt x="522" y="1033"/>
                  </a:lnTo>
                  <a:lnTo>
                    <a:pt x="525" y="1002"/>
                  </a:lnTo>
                  <a:lnTo>
                    <a:pt x="525" y="974"/>
                  </a:lnTo>
                  <a:lnTo>
                    <a:pt x="528" y="955"/>
                  </a:lnTo>
                  <a:lnTo>
                    <a:pt x="528" y="933"/>
                  </a:lnTo>
                  <a:lnTo>
                    <a:pt x="528" y="914"/>
                  </a:lnTo>
                  <a:lnTo>
                    <a:pt x="516" y="899"/>
                  </a:lnTo>
                  <a:lnTo>
                    <a:pt x="500" y="880"/>
                  </a:lnTo>
                  <a:lnTo>
                    <a:pt x="484" y="861"/>
                  </a:lnTo>
                  <a:lnTo>
                    <a:pt x="472" y="846"/>
                  </a:lnTo>
                  <a:lnTo>
                    <a:pt x="469" y="818"/>
                  </a:lnTo>
                  <a:lnTo>
                    <a:pt x="472" y="786"/>
                  </a:lnTo>
                  <a:lnTo>
                    <a:pt x="472" y="761"/>
                  </a:lnTo>
                  <a:lnTo>
                    <a:pt x="478" y="743"/>
                  </a:lnTo>
                  <a:lnTo>
                    <a:pt x="487" y="718"/>
                  </a:lnTo>
                  <a:lnTo>
                    <a:pt x="494" y="696"/>
                  </a:lnTo>
                  <a:lnTo>
                    <a:pt x="497" y="677"/>
                  </a:lnTo>
                  <a:lnTo>
                    <a:pt x="487" y="655"/>
                  </a:lnTo>
                  <a:lnTo>
                    <a:pt x="472" y="630"/>
                  </a:lnTo>
                  <a:lnTo>
                    <a:pt x="456" y="612"/>
                  </a:lnTo>
                  <a:lnTo>
                    <a:pt x="437" y="602"/>
                  </a:lnTo>
                  <a:lnTo>
                    <a:pt x="419" y="593"/>
                  </a:lnTo>
                  <a:lnTo>
                    <a:pt x="400" y="593"/>
                  </a:lnTo>
                  <a:lnTo>
                    <a:pt x="394" y="596"/>
                  </a:lnTo>
                  <a:lnTo>
                    <a:pt x="391" y="602"/>
                  </a:lnTo>
                  <a:lnTo>
                    <a:pt x="384" y="608"/>
                  </a:lnTo>
                  <a:lnTo>
                    <a:pt x="381" y="618"/>
                  </a:lnTo>
                  <a:lnTo>
                    <a:pt x="378" y="624"/>
                  </a:lnTo>
                  <a:lnTo>
                    <a:pt x="372" y="640"/>
                  </a:lnTo>
                  <a:lnTo>
                    <a:pt x="369" y="662"/>
                  </a:lnTo>
                  <a:lnTo>
                    <a:pt x="363" y="680"/>
                  </a:lnTo>
                  <a:lnTo>
                    <a:pt x="353" y="696"/>
                  </a:lnTo>
                  <a:lnTo>
                    <a:pt x="334" y="699"/>
                  </a:lnTo>
                  <a:lnTo>
                    <a:pt x="313" y="699"/>
                  </a:lnTo>
                  <a:lnTo>
                    <a:pt x="291" y="696"/>
                  </a:lnTo>
                  <a:lnTo>
                    <a:pt x="266" y="683"/>
                  </a:lnTo>
                  <a:lnTo>
                    <a:pt x="238" y="668"/>
                  </a:lnTo>
                  <a:lnTo>
                    <a:pt x="213" y="652"/>
                  </a:lnTo>
                  <a:lnTo>
                    <a:pt x="206" y="646"/>
                  </a:lnTo>
                  <a:lnTo>
                    <a:pt x="197" y="643"/>
                  </a:lnTo>
                  <a:lnTo>
                    <a:pt x="188" y="637"/>
                  </a:lnTo>
                  <a:lnTo>
                    <a:pt x="181" y="630"/>
                  </a:lnTo>
                  <a:lnTo>
                    <a:pt x="178" y="624"/>
                  </a:lnTo>
                  <a:lnTo>
                    <a:pt x="185" y="612"/>
                  </a:lnTo>
                  <a:lnTo>
                    <a:pt x="200" y="596"/>
                  </a:lnTo>
                  <a:lnTo>
                    <a:pt x="216" y="580"/>
                  </a:lnTo>
                  <a:lnTo>
                    <a:pt x="219" y="568"/>
                  </a:lnTo>
                  <a:lnTo>
                    <a:pt x="210" y="546"/>
                  </a:lnTo>
                  <a:lnTo>
                    <a:pt x="188" y="524"/>
                  </a:lnTo>
                  <a:lnTo>
                    <a:pt x="160" y="509"/>
                  </a:lnTo>
                  <a:lnTo>
                    <a:pt x="135" y="499"/>
                  </a:lnTo>
                  <a:lnTo>
                    <a:pt x="122" y="496"/>
                  </a:lnTo>
                  <a:lnTo>
                    <a:pt x="103" y="499"/>
                  </a:lnTo>
                  <a:lnTo>
                    <a:pt x="88" y="502"/>
                  </a:lnTo>
                  <a:lnTo>
                    <a:pt x="75" y="499"/>
                  </a:lnTo>
                  <a:lnTo>
                    <a:pt x="63" y="484"/>
                  </a:lnTo>
                  <a:lnTo>
                    <a:pt x="57" y="462"/>
                  </a:lnTo>
                  <a:lnTo>
                    <a:pt x="53" y="437"/>
                  </a:lnTo>
                  <a:lnTo>
                    <a:pt x="50" y="418"/>
                  </a:lnTo>
                  <a:lnTo>
                    <a:pt x="44" y="393"/>
                  </a:lnTo>
                  <a:lnTo>
                    <a:pt x="41" y="362"/>
                  </a:lnTo>
                  <a:lnTo>
                    <a:pt x="44" y="331"/>
                  </a:lnTo>
                  <a:lnTo>
                    <a:pt x="50" y="306"/>
                  </a:lnTo>
                  <a:lnTo>
                    <a:pt x="60" y="296"/>
                  </a:lnTo>
                  <a:lnTo>
                    <a:pt x="78" y="287"/>
                  </a:lnTo>
                  <a:lnTo>
                    <a:pt x="97" y="277"/>
                  </a:lnTo>
                  <a:lnTo>
                    <a:pt x="106" y="268"/>
                  </a:lnTo>
                  <a:lnTo>
                    <a:pt x="110" y="252"/>
                  </a:lnTo>
                  <a:lnTo>
                    <a:pt x="110" y="234"/>
                  </a:lnTo>
                  <a:lnTo>
                    <a:pt x="110" y="215"/>
                  </a:lnTo>
                  <a:lnTo>
                    <a:pt x="113" y="199"/>
                  </a:lnTo>
                  <a:lnTo>
                    <a:pt x="119" y="193"/>
                  </a:lnTo>
                  <a:lnTo>
                    <a:pt x="125" y="187"/>
                  </a:lnTo>
                  <a:lnTo>
                    <a:pt x="135" y="178"/>
                  </a:lnTo>
                  <a:lnTo>
                    <a:pt x="144" y="171"/>
                  </a:lnTo>
                  <a:lnTo>
                    <a:pt x="147" y="165"/>
                  </a:lnTo>
                  <a:lnTo>
                    <a:pt x="150" y="149"/>
                  </a:lnTo>
                  <a:lnTo>
                    <a:pt x="147" y="128"/>
                  </a:lnTo>
                  <a:lnTo>
                    <a:pt x="147" y="106"/>
                  </a:lnTo>
                  <a:lnTo>
                    <a:pt x="147" y="90"/>
                  </a:lnTo>
                  <a:lnTo>
                    <a:pt x="156" y="74"/>
                  </a:lnTo>
                  <a:lnTo>
                    <a:pt x="172" y="62"/>
                  </a:lnTo>
                  <a:lnTo>
                    <a:pt x="188" y="50"/>
                  </a:lnTo>
                  <a:lnTo>
                    <a:pt x="203" y="46"/>
                  </a:lnTo>
                  <a:lnTo>
                    <a:pt x="210" y="46"/>
                  </a:lnTo>
                  <a:lnTo>
                    <a:pt x="219" y="50"/>
                  </a:lnTo>
                  <a:lnTo>
                    <a:pt x="228" y="56"/>
                  </a:lnTo>
                  <a:lnTo>
                    <a:pt x="238" y="62"/>
                  </a:lnTo>
                  <a:lnTo>
                    <a:pt x="244" y="68"/>
                  </a:lnTo>
                  <a:lnTo>
                    <a:pt x="247" y="78"/>
                  </a:lnTo>
                  <a:lnTo>
                    <a:pt x="250" y="90"/>
                  </a:lnTo>
                  <a:lnTo>
                    <a:pt x="250" y="112"/>
                  </a:lnTo>
                  <a:lnTo>
                    <a:pt x="247" y="128"/>
                  </a:lnTo>
                  <a:lnTo>
                    <a:pt x="247" y="143"/>
                  </a:lnTo>
                  <a:lnTo>
                    <a:pt x="244" y="162"/>
                  </a:lnTo>
                  <a:lnTo>
                    <a:pt x="241" y="178"/>
                  </a:lnTo>
                  <a:lnTo>
                    <a:pt x="247" y="190"/>
                  </a:lnTo>
                  <a:lnTo>
                    <a:pt x="256" y="196"/>
                  </a:lnTo>
                  <a:lnTo>
                    <a:pt x="272" y="199"/>
                  </a:lnTo>
                  <a:lnTo>
                    <a:pt x="288" y="199"/>
                  </a:lnTo>
                  <a:lnTo>
                    <a:pt x="303" y="199"/>
                  </a:lnTo>
                  <a:lnTo>
                    <a:pt x="322" y="199"/>
                  </a:lnTo>
                  <a:lnTo>
                    <a:pt x="347" y="199"/>
                  </a:lnTo>
                  <a:lnTo>
                    <a:pt x="369" y="203"/>
                  </a:lnTo>
                  <a:lnTo>
                    <a:pt x="378" y="203"/>
                  </a:lnTo>
                  <a:lnTo>
                    <a:pt x="388" y="206"/>
                  </a:lnTo>
                  <a:lnTo>
                    <a:pt x="400" y="209"/>
                  </a:lnTo>
                  <a:lnTo>
                    <a:pt x="409" y="215"/>
                  </a:lnTo>
                  <a:lnTo>
                    <a:pt x="416" y="218"/>
                  </a:lnTo>
                  <a:lnTo>
                    <a:pt x="428" y="234"/>
                  </a:lnTo>
                  <a:lnTo>
                    <a:pt x="434" y="252"/>
                  </a:lnTo>
                  <a:lnTo>
                    <a:pt x="444" y="268"/>
                  </a:lnTo>
                  <a:lnTo>
                    <a:pt x="456" y="281"/>
                  </a:lnTo>
                  <a:lnTo>
                    <a:pt x="472" y="284"/>
                  </a:lnTo>
                  <a:lnTo>
                    <a:pt x="491" y="281"/>
                  </a:lnTo>
                  <a:lnTo>
                    <a:pt x="509" y="281"/>
                  </a:lnTo>
                  <a:lnTo>
                    <a:pt x="528" y="281"/>
                  </a:lnTo>
                  <a:lnTo>
                    <a:pt x="544" y="293"/>
                  </a:lnTo>
                  <a:lnTo>
                    <a:pt x="566" y="309"/>
                  </a:lnTo>
                  <a:lnTo>
                    <a:pt x="584" y="318"/>
                  </a:lnTo>
                  <a:lnTo>
                    <a:pt x="615" y="324"/>
                  </a:lnTo>
                  <a:lnTo>
                    <a:pt x="653" y="324"/>
                  </a:lnTo>
                  <a:lnTo>
                    <a:pt x="684" y="321"/>
                  </a:lnTo>
                  <a:lnTo>
                    <a:pt x="694" y="318"/>
                  </a:lnTo>
                  <a:lnTo>
                    <a:pt x="703" y="312"/>
                  </a:lnTo>
                  <a:lnTo>
                    <a:pt x="712" y="302"/>
                  </a:lnTo>
                  <a:lnTo>
                    <a:pt x="722" y="296"/>
                  </a:lnTo>
                  <a:lnTo>
                    <a:pt x="728" y="293"/>
                  </a:lnTo>
                  <a:lnTo>
                    <a:pt x="750" y="290"/>
                  </a:lnTo>
                  <a:lnTo>
                    <a:pt x="775" y="290"/>
                  </a:lnTo>
                  <a:lnTo>
                    <a:pt x="797" y="290"/>
                  </a:lnTo>
                  <a:lnTo>
                    <a:pt x="818" y="299"/>
                  </a:lnTo>
                  <a:lnTo>
                    <a:pt x="840" y="312"/>
                  </a:lnTo>
                  <a:lnTo>
                    <a:pt x="862" y="321"/>
                  </a:lnTo>
                  <a:lnTo>
                    <a:pt x="887" y="324"/>
                  </a:lnTo>
                  <a:lnTo>
                    <a:pt x="921" y="321"/>
                  </a:lnTo>
                  <a:lnTo>
                    <a:pt x="946" y="315"/>
                  </a:lnTo>
                  <a:lnTo>
                    <a:pt x="965" y="299"/>
                  </a:lnTo>
                  <a:lnTo>
                    <a:pt x="981" y="281"/>
                  </a:lnTo>
                  <a:lnTo>
                    <a:pt x="993" y="259"/>
                  </a:lnTo>
                  <a:lnTo>
                    <a:pt x="990" y="243"/>
                  </a:lnTo>
                  <a:lnTo>
                    <a:pt x="984" y="224"/>
                  </a:lnTo>
                  <a:lnTo>
                    <a:pt x="978" y="206"/>
                  </a:lnTo>
                  <a:lnTo>
                    <a:pt x="978" y="190"/>
                  </a:lnTo>
                  <a:lnTo>
                    <a:pt x="981" y="168"/>
                  </a:lnTo>
                  <a:lnTo>
                    <a:pt x="990" y="146"/>
                  </a:lnTo>
                  <a:lnTo>
                    <a:pt x="1003" y="131"/>
                  </a:lnTo>
                  <a:lnTo>
                    <a:pt x="1009" y="124"/>
                  </a:lnTo>
                  <a:lnTo>
                    <a:pt x="1018" y="118"/>
                  </a:lnTo>
                  <a:lnTo>
                    <a:pt x="1028" y="112"/>
                  </a:lnTo>
                  <a:lnTo>
                    <a:pt x="1037" y="109"/>
                  </a:lnTo>
                  <a:lnTo>
                    <a:pt x="1043" y="103"/>
                  </a:lnTo>
                  <a:lnTo>
                    <a:pt x="1053" y="87"/>
                  </a:lnTo>
                  <a:lnTo>
                    <a:pt x="1059" y="68"/>
                  </a:lnTo>
                  <a:lnTo>
                    <a:pt x="1068" y="46"/>
                  </a:lnTo>
                  <a:lnTo>
                    <a:pt x="1075" y="31"/>
                  </a:lnTo>
                  <a:lnTo>
                    <a:pt x="1075" y="25"/>
                  </a:lnTo>
                  <a:lnTo>
                    <a:pt x="1078" y="25"/>
                  </a:lnTo>
                  <a:lnTo>
                    <a:pt x="1081" y="25"/>
                  </a:lnTo>
                  <a:lnTo>
                    <a:pt x="1084" y="28"/>
                  </a:lnTo>
                  <a:lnTo>
                    <a:pt x="1106" y="34"/>
                  </a:lnTo>
                  <a:lnTo>
                    <a:pt x="1134" y="43"/>
                  </a:lnTo>
                  <a:lnTo>
                    <a:pt x="1162" y="53"/>
                  </a:lnTo>
                  <a:lnTo>
                    <a:pt x="1184" y="53"/>
                  </a:lnTo>
                  <a:lnTo>
                    <a:pt x="1190" y="50"/>
                  </a:lnTo>
                  <a:lnTo>
                    <a:pt x="1199" y="40"/>
                  </a:lnTo>
                  <a:lnTo>
                    <a:pt x="1209" y="34"/>
                  </a:lnTo>
                  <a:lnTo>
                    <a:pt x="1215" y="25"/>
                  </a:lnTo>
                  <a:lnTo>
                    <a:pt x="1224" y="18"/>
                  </a:lnTo>
                  <a:lnTo>
                    <a:pt x="1231" y="12"/>
                  </a:lnTo>
                  <a:lnTo>
                    <a:pt x="1240" y="12"/>
                  </a:lnTo>
                  <a:lnTo>
                    <a:pt x="1249" y="15"/>
                  </a:lnTo>
                  <a:lnTo>
                    <a:pt x="1259" y="18"/>
                  </a:lnTo>
                  <a:lnTo>
                    <a:pt x="1265" y="21"/>
                  </a:lnTo>
                  <a:lnTo>
                    <a:pt x="1274" y="25"/>
                  </a:lnTo>
                  <a:lnTo>
                    <a:pt x="1281" y="28"/>
                  </a:lnTo>
                  <a:lnTo>
                    <a:pt x="1290" y="34"/>
                  </a:lnTo>
                  <a:lnTo>
                    <a:pt x="1296" y="40"/>
                  </a:lnTo>
                  <a:lnTo>
                    <a:pt x="1306" y="46"/>
                  </a:lnTo>
                  <a:lnTo>
                    <a:pt x="1315" y="50"/>
                  </a:lnTo>
                  <a:lnTo>
                    <a:pt x="1321" y="53"/>
                  </a:lnTo>
                  <a:lnTo>
                    <a:pt x="1346" y="46"/>
                  </a:lnTo>
                  <a:lnTo>
                    <a:pt x="1374" y="28"/>
                  </a:lnTo>
                  <a:lnTo>
                    <a:pt x="1402" y="12"/>
                  </a:lnTo>
                  <a:lnTo>
                    <a:pt x="1424" y="3"/>
                  </a:lnTo>
                  <a:lnTo>
                    <a:pt x="1455" y="0"/>
                  </a:lnTo>
                  <a:lnTo>
                    <a:pt x="1493" y="6"/>
                  </a:lnTo>
                  <a:lnTo>
                    <a:pt x="1530" y="12"/>
                  </a:lnTo>
                  <a:lnTo>
                    <a:pt x="1559" y="25"/>
                  </a:lnTo>
                  <a:lnTo>
                    <a:pt x="1565" y="28"/>
                  </a:lnTo>
                  <a:lnTo>
                    <a:pt x="1574" y="37"/>
                  </a:lnTo>
                  <a:lnTo>
                    <a:pt x="1580" y="46"/>
                  </a:lnTo>
                  <a:lnTo>
                    <a:pt x="1587" y="56"/>
                  </a:lnTo>
                  <a:lnTo>
                    <a:pt x="1593" y="62"/>
                  </a:lnTo>
                  <a:lnTo>
                    <a:pt x="1615" y="74"/>
                  </a:lnTo>
                  <a:lnTo>
                    <a:pt x="1643" y="90"/>
                  </a:lnTo>
                  <a:lnTo>
                    <a:pt x="1671" y="103"/>
                  </a:lnTo>
                  <a:lnTo>
                    <a:pt x="1696" y="112"/>
                  </a:lnTo>
                  <a:lnTo>
                    <a:pt x="1718" y="121"/>
                  </a:lnTo>
                  <a:lnTo>
                    <a:pt x="1743" y="128"/>
                  </a:lnTo>
                  <a:lnTo>
                    <a:pt x="1771" y="137"/>
                  </a:lnTo>
                  <a:lnTo>
                    <a:pt x="1793" y="140"/>
                  </a:lnTo>
                  <a:lnTo>
                    <a:pt x="1818" y="137"/>
                  </a:lnTo>
                  <a:lnTo>
                    <a:pt x="1843" y="131"/>
                  </a:lnTo>
                  <a:lnTo>
                    <a:pt x="1865" y="128"/>
                  </a:lnTo>
                  <a:lnTo>
                    <a:pt x="1874" y="128"/>
                  </a:lnTo>
                  <a:lnTo>
                    <a:pt x="1886" y="128"/>
                  </a:lnTo>
                  <a:lnTo>
                    <a:pt x="1896" y="128"/>
                  </a:lnTo>
                  <a:lnTo>
                    <a:pt x="1905" y="131"/>
                  </a:lnTo>
                  <a:lnTo>
                    <a:pt x="1915" y="134"/>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63" name="Freeform 53">
              <a:extLst>
                <a:ext uri="{FF2B5EF4-FFF2-40B4-BE49-F238E27FC236}">
                  <a16:creationId xmlns:a16="http://schemas.microsoft.com/office/drawing/2014/main" id="{994C62ED-0767-497A-9E3B-14A030253249}"/>
                </a:ext>
              </a:extLst>
            </p:cNvPr>
            <p:cNvSpPr>
              <a:spLocks/>
            </p:cNvSpPr>
            <p:nvPr/>
          </p:nvSpPr>
          <p:spPr bwMode="auto">
            <a:xfrm>
              <a:off x="13539788" y="4843463"/>
              <a:ext cx="10331450" cy="9274175"/>
            </a:xfrm>
            <a:custGeom>
              <a:avLst/>
              <a:gdLst>
                <a:gd name="T0" fmla="*/ 3470 w 6508"/>
                <a:gd name="T1" fmla="*/ 128 h 5842"/>
                <a:gd name="T2" fmla="*/ 3854 w 6508"/>
                <a:gd name="T3" fmla="*/ 206 h 5842"/>
                <a:gd name="T4" fmla="*/ 4185 w 6508"/>
                <a:gd name="T5" fmla="*/ 181 h 5842"/>
                <a:gd name="T6" fmla="*/ 4300 w 6508"/>
                <a:gd name="T7" fmla="*/ 549 h 5842"/>
                <a:gd name="T8" fmla="*/ 4350 w 6508"/>
                <a:gd name="T9" fmla="*/ 1005 h 5842"/>
                <a:gd name="T10" fmla="*/ 4756 w 6508"/>
                <a:gd name="T11" fmla="*/ 927 h 5842"/>
                <a:gd name="T12" fmla="*/ 5206 w 6508"/>
                <a:gd name="T13" fmla="*/ 303 h 5842"/>
                <a:gd name="T14" fmla="*/ 5493 w 6508"/>
                <a:gd name="T15" fmla="*/ 609 h 5842"/>
                <a:gd name="T16" fmla="*/ 5649 w 6508"/>
                <a:gd name="T17" fmla="*/ 912 h 5842"/>
                <a:gd name="T18" fmla="*/ 5890 w 6508"/>
                <a:gd name="T19" fmla="*/ 1386 h 5842"/>
                <a:gd name="T20" fmla="*/ 5962 w 6508"/>
                <a:gd name="T21" fmla="*/ 1892 h 5842"/>
                <a:gd name="T22" fmla="*/ 6324 w 6508"/>
                <a:gd name="T23" fmla="*/ 2054 h 5842"/>
                <a:gd name="T24" fmla="*/ 6299 w 6508"/>
                <a:gd name="T25" fmla="*/ 2335 h 5842"/>
                <a:gd name="T26" fmla="*/ 6361 w 6508"/>
                <a:gd name="T27" fmla="*/ 2592 h 5842"/>
                <a:gd name="T28" fmla="*/ 6124 w 6508"/>
                <a:gd name="T29" fmla="*/ 2873 h 5842"/>
                <a:gd name="T30" fmla="*/ 5824 w 6508"/>
                <a:gd name="T31" fmla="*/ 3041 h 5842"/>
                <a:gd name="T32" fmla="*/ 5474 w 6508"/>
                <a:gd name="T33" fmla="*/ 3319 h 5842"/>
                <a:gd name="T34" fmla="*/ 5053 w 6508"/>
                <a:gd name="T35" fmla="*/ 3338 h 5842"/>
                <a:gd name="T36" fmla="*/ 5034 w 6508"/>
                <a:gd name="T37" fmla="*/ 3828 h 5842"/>
                <a:gd name="T38" fmla="*/ 4435 w 6508"/>
                <a:gd name="T39" fmla="*/ 3797 h 5842"/>
                <a:gd name="T40" fmla="*/ 4344 w 6508"/>
                <a:gd name="T41" fmla="*/ 3887 h 5842"/>
                <a:gd name="T42" fmla="*/ 3938 w 6508"/>
                <a:gd name="T43" fmla="*/ 3856 h 5842"/>
                <a:gd name="T44" fmla="*/ 3707 w 6508"/>
                <a:gd name="T45" fmla="*/ 3903 h 5842"/>
                <a:gd name="T46" fmla="*/ 3516 w 6508"/>
                <a:gd name="T47" fmla="*/ 4356 h 5842"/>
                <a:gd name="T48" fmla="*/ 3866 w 6508"/>
                <a:gd name="T49" fmla="*/ 4559 h 5842"/>
                <a:gd name="T50" fmla="*/ 3988 w 6508"/>
                <a:gd name="T51" fmla="*/ 4899 h 5842"/>
                <a:gd name="T52" fmla="*/ 3972 w 6508"/>
                <a:gd name="T53" fmla="*/ 5143 h 5842"/>
                <a:gd name="T54" fmla="*/ 3804 w 6508"/>
                <a:gd name="T55" fmla="*/ 5230 h 5842"/>
                <a:gd name="T56" fmla="*/ 3979 w 6508"/>
                <a:gd name="T57" fmla="*/ 5480 h 5842"/>
                <a:gd name="T58" fmla="*/ 4263 w 6508"/>
                <a:gd name="T59" fmla="*/ 5567 h 5842"/>
                <a:gd name="T60" fmla="*/ 3985 w 6508"/>
                <a:gd name="T61" fmla="*/ 5661 h 5842"/>
                <a:gd name="T62" fmla="*/ 3738 w 6508"/>
                <a:gd name="T63" fmla="*/ 5808 h 5842"/>
                <a:gd name="T64" fmla="*/ 3520 w 6508"/>
                <a:gd name="T65" fmla="*/ 5698 h 5842"/>
                <a:gd name="T66" fmla="*/ 3142 w 6508"/>
                <a:gd name="T67" fmla="*/ 5630 h 5842"/>
                <a:gd name="T68" fmla="*/ 2973 w 6508"/>
                <a:gd name="T69" fmla="*/ 5639 h 5842"/>
                <a:gd name="T70" fmla="*/ 2505 w 6508"/>
                <a:gd name="T71" fmla="*/ 5442 h 5842"/>
                <a:gd name="T72" fmla="*/ 1971 w 6508"/>
                <a:gd name="T73" fmla="*/ 5193 h 5842"/>
                <a:gd name="T74" fmla="*/ 1677 w 6508"/>
                <a:gd name="T75" fmla="*/ 5433 h 5842"/>
                <a:gd name="T76" fmla="*/ 1493 w 6508"/>
                <a:gd name="T77" fmla="*/ 5508 h 5842"/>
                <a:gd name="T78" fmla="*/ 1252 w 6508"/>
                <a:gd name="T79" fmla="*/ 5464 h 5842"/>
                <a:gd name="T80" fmla="*/ 993 w 6508"/>
                <a:gd name="T81" fmla="*/ 5464 h 5842"/>
                <a:gd name="T82" fmla="*/ 453 w 6508"/>
                <a:gd name="T83" fmla="*/ 5486 h 5842"/>
                <a:gd name="T84" fmla="*/ 19 w 6508"/>
                <a:gd name="T85" fmla="*/ 5115 h 5842"/>
                <a:gd name="T86" fmla="*/ 141 w 6508"/>
                <a:gd name="T87" fmla="*/ 4687 h 5842"/>
                <a:gd name="T88" fmla="*/ 437 w 6508"/>
                <a:gd name="T89" fmla="*/ 4346 h 5842"/>
                <a:gd name="T90" fmla="*/ 584 w 6508"/>
                <a:gd name="T91" fmla="*/ 4000 h 5842"/>
                <a:gd name="T92" fmla="*/ 512 w 6508"/>
                <a:gd name="T93" fmla="*/ 3550 h 5842"/>
                <a:gd name="T94" fmla="*/ 138 w 6508"/>
                <a:gd name="T95" fmla="*/ 3175 h 5842"/>
                <a:gd name="T96" fmla="*/ 291 w 6508"/>
                <a:gd name="T97" fmla="*/ 2829 h 5842"/>
                <a:gd name="T98" fmla="*/ 475 w 6508"/>
                <a:gd name="T99" fmla="*/ 2601 h 5842"/>
                <a:gd name="T100" fmla="*/ 722 w 6508"/>
                <a:gd name="T101" fmla="*/ 2645 h 5842"/>
                <a:gd name="T102" fmla="*/ 859 w 6508"/>
                <a:gd name="T103" fmla="*/ 2476 h 5842"/>
                <a:gd name="T104" fmla="*/ 1146 w 6508"/>
                <a:gd name="T105" fmla="*/ 2463 h 5842"/>
                <a:gd name="T106" fmla="*/ 1702 w 6508"/>
                <a:gd name="T107" fmla="*/ 2320 h 5842"/>
                <a:gd name="T108" fmla="*/ 2083 w 6508"/>
                <a:gd name="T109" fmla="*/ 2092 h 5842"/>
                <a:gd name="T110" fmla="*/ 2221 w 6508"/>
                <a:gd name="T111" fmla="*/ 1773 h 5842"/>
                <a:gd name="T112" fmla="*/ 2333 w 6508"/>
                <a:gd name="T113" fmla="*/ 1633 h 5842"/>
                <a:gd name="T114" fmla="*/ 2361 w 6508"/>
                <a:gd name="T115" fmla="*/ 1274 h 5842"/>
                <a:gd name="T116" fmla="*/ 2561 w 6508"/>
                <a:gd name="T117" fmla="*/ 1018 h 5842"/>
                <a:gd name="T118" fmla="*/ 2783 w 6508"/>
                <a:gd name="T119" fmla="*/ 787 h 5842"/>
                <a:gd name="T120" fmla="*/ 2911 w 6508"/>
                <a:gd name="T121" fmla="*/ 571 h 5842"/>
                <a:gd name="T122" fmla="*/ 3095 w 6508"/>
                <a:gd name="T123" fmla="*/ 315 h 5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08" h="5842">
                  <a:moveTo>
                    <a:pt x="3154" y="59"/>
                  </a:moveTo>
                  <a:lnTo>
                    <a:pt x="3164" y="56"/>
                  </a:lnTo>
                  <a:lnTo>
                    <a:pt x="3173" y="53"/>
                  </a:lnTo>
                  <a:lnTo>
                    <a:pt x="3189" y="40"/>
                  </a:lnTo>
                  <a:lnTo>
                    <a:pt x="3204" y="22"/>
                  </a:lnTo>
                  <a:lnTo>
                    <a:pt x="3223" y="6"/>
                  </a:lnTo>
                  <a:lnTo>
                    <a:pt x="3239" y="0"/>
                  </a:lnTo>
                  <a:lnTo>
                    <a:pt x="3254" y="6"/>
                  </a:lnTo>
                  <a:lnTo>
                    <a:pt x="3270" y="22"/>
                  </a:lnTo>
                  <a:lnTo>
                    <a:pt x="3288" y="40"/>
                  </a:lnTo>
                  <a:lnTo>
                    <a:pt x="3304" y="50"/>
                  </a:lnTo>
                  <a:lnTo>
                    <a:pt x="3323" y="50"/>
                  </a:lnTo>
                  <a:lnTo>
                    <a:pt x="3345" y="43"/>
                  </a:lnTo>
                  <a:lnTo>
                    <a:pt x="3370" y="34"/>
                  </a:lnTo>
                  <a:lnTo>
                    <a:pt x="3388" y="31"/>
                  </a:lnTo>
                  <a:lnTo>
                    <a:pt x="3407" y="31"/>
                  </a:lnTo>
                  <a:lnTo>
                    <a:pt x="3432" y="34"/>
                  </a:lnTo>
                  <a:lnTo>
                    <a:pt x="3454" y="40"/>
                  </a:lnTo>
                  <a:lnTo>
                    <a:pt x="3470" y="50"/>
                  </a:lnTo>
                  <a:lnTo>
                    <a:pt x="3473" y="62"/>
                  </a:lnTo>
                  <a:lnTo>
                    <a:pt x="3470" y="78"/>
                  </a:lnTo>
                  <a:lnTo>
                    <a:pt x="3466" y="100"/>
                  </a:lnTo>
                  <a:lnTo>
                    <a:pt x="3466" y="115"/>
                  </a:lnTo>
                  <a:lnTo>
                    <a:pt x="3470" y="128"/>
                  </a:lnTo>
                  <a:lnTo>
                    <a:pt x="3482" y="140"/>
                  </a:lnTo>
                  <a:lnTo>
                    <a:pt x="3504" y="147"/>
                  </a:lnTo>
                  <a:lnTo>
                    <a:pt x="3526" y="153"/>
                  </a:lnTo>
                  <a:lnTo>
                    <a:pt x="3551" y="159"/>
                  </a:lnTo>
                  <a:lnTo>
                    <a:pt x="3566" y="168"/>
                  </a:lnTo>
                  <a:lnTo>
                    <a:pt x="3579" y="184"/>
                  </a:lnTo>
                  <a:lnTo>
                    <a:pt x="3591" y="209"/>
                  </a:lnTo>
                  <a:lnTo>
                    <a:pt x="3604" y="231"/>
                  </a:lnTo>
                  <a:lnTo>
                    <a:pt x="3616" y="250"/>
                  </a:lnTo>
                  <a:lnTo>
                    <a:pt x="3641" y="259"/>
                  </a:lnTo>
                  <a:lnTo>
                    <a:pt x="3669" y="262"/>
                  </a:lnTo>
                  <a:lnTo>
                    <a:pt x="3698" y="265"/>
                  </a:lnTo>
                  <a:lnTo>
                    <a:pt x="3713" y="271"/>
                  </a:lnTo>
                  <a:lnTo>
                    <a:pt x="3732" y="281"/>
                  </a:lnTo>
                  <a:lnTo>
                    <a:pt x="3754" y="287"/>
                  </a:lnTo>
                  <a:lnTo>
                    <a:pt x="3769" y="290"/>
                  </a:lnTo>
                  <a:lnTo>
                    <a:pt x="3788" y="281"/>
                  </a:lnTo>
                  <a:lnTo>
                    <a:pt x="3810" y="268"/>
                  </a:lnTo>
                  <a:lnTo>
                    <a:pt x="3829" y="250"/>
                  </a:lnTo>
                  <a:lnTo>
                    <a:pt x="3844" y="234"/>
                  </a:lnTo>
                  <a:lnTo>
                    <a:pt x="3847" y="228"/>
                  </a:lnTo>
                  <a:lnTo>
                    <a:pt x="3847" y="221"/>
                  </a:lnTo>
                  <a:lnTo>
                    <a:pt x="3851" y="212"/>
                  </a:lnTo>
                  <a:lnTo>
                    <a:pt x="3854" y="206"/>
                  </a:lnTo>
                  <a:lnTo>
                    <a:pt x="3857" y="200"/>
                  </a:lnTo>
                  <a:lnTo>
                    <a:pt x="3872" y="196"/>
                  </a:lnTo>
                  <a:lnTo>
                    <a:pt x="3888" y="196"/>
                  </a:lnTo>
                  <a:lnTo>
                    <a:pt x="3907" y="196"/>
                  </a:lnTo>
                  <a:lnTo>
                    <a:pt x="3922" y="200"/>
                  </a:lnTo>
                  <a:lnTo>
                    <a:pt x="3944" y="209"/>
                  </a:lnTo>
                  <a:lnTo>
                    <a:pt x="3966" y="225"/>
                  </a:lnTo>
                  <a:lnTo>
                    <a:pt x="3985" y="234"/>
                  </a:lnTo>
                  <a:lnTo>
                    <a:pt x="4004" y="231"/>
                  </a:lnTo>
                  <a:lnTo>
                    <a:pt x="4022" y="221"/>
                  </a:lnTo>
                  <a:lnTo>
                    <a:pt x="4038" y="212"/>
                  </a:lnTo>
                  <a:lnTo>
                    <a:pt x="4044" y="206"/>
                  </a:lnTo>
                  <a:lnTo>
                    <a:pt x="4047" y="200"/>
                  </a:lnTo>
                  <a:lnTo>
                    <a:pt x="4054" y="190"/>
                  </a:lnTo>
                  <a:lnTo>
                    <a:pt x="4057" y="181"/>
                  </a:lnTo>
                  <a:lnTo>
                    <a:pt x="4063" y="172"/>
                  </a:lnTo>
                  <a:lnTo>
                    <a:pt x="4069" y="168"/>
                  </a:lnTo>
                  <a:lnTo>
                    <a:pt x="4085" y="162"/>
                  </a:lnTo>
                  <a:lnTo>
                    <a:pt x="4107" y="162"/>
                  </a:lnTo>
                  <a:lnTo>
                    <a:pt x="4128" y="165"/>
                  </a:lnTo>
                  <a:lnTo>
                    <a:pt x="4147" y="168"/>
                  </a:lnTo>
                  <a:lnTo>
                    <a:pt x="4157" y="172"/>
                  </a:lnTo>
                  <a:lnTo>
                    <a:pt x="4169" y="175"/>
                  </a:lnTo>
                  <a:lnTo>
                    <a:pt x="4185" y="181"/>
                  </a:lnTo>
                  <a:lnTo>
                    <a:pt x="4185" y="190"/>
                  </a:lnTo>
                  <a:lnTo>
                    <a:pt x="4185" y="203"/>
                  </a:lnTo>
                  <a:lnTo>
                    <a:pt x="4188" y="215"/>
                  </a:lnTo>
                  <a:lnTo>
                    <a:pt x="4188" y="225"/>
                  </a:lnTo>
                  <a:lnTo>
                    <a:pt x="4188" y="250"/>
                  </a:lnTo>
                  <a:lnTo>
                    <a:pt x="4191" y="278"/>
                  </a:lnTo>
                  <a:lnTo>
                    <a:pt x="4191" y="309"/>
                  </a:lnTo>
                  <a:lnTo>
                    <a:pt x="4188" y="331"/>
                  </a:lnTo>
                  <a:lnTo>
                    <a:pt x="4182" y="337"/>
                  </a:lnTo>
                  <a:lnTo>
                    <a:pt x="4178" y="343"/>
                  </a:lnTo>
                  <a:lnTo>
                    <a:pt x="4169" y="349"/>
                  </a:lnTo>
                  <a:lnTo>
                    <a:pt x="4166" y="356"/>
                  </a:lnTo>
                  <a:lnTo>
                    <a:pt x="4160" y="362"/>
                  </a:lnTo>
                  <a:lnTo>
                    <a:pt x="4157" y="378"/>
                  </a:lnTo>
                  <a:lnTo>
                    <a:pt x="4160" y="399"/>
                  </a:lnTo>
                  <a:lnTo>
                    <a:pt x="4160" y="415"/>
                  </a:lnTo>
                  <a:lnTo>
                    <a:pt x="4172" y="434"/>
                  </a:lnTo>
                  <a:lnTo>
                    <a:pt x="4185" y="453"/>
                  </a:lnTo>
                  <a:lnTo>
                    <a:pt x="4203" y="471"/>
                  </a:lnTo>
                  <a:lnTo>
                    <a:pt x="4216" y="487"/>
                  </a:lnTo>
                  <a:lnTo>
                    <a:pt x="4238" y="502"/>
                  </a:lnTo>
                  <a:lnTo>
                    <a:pt x="4263" y="515"/>
                  </a:lnTo>
                  <a:lnTo>
                    <a:pt x="4285" y="534"/>
                  </a:lnTo>
                  <a:lnTo>
                    <a:pt x="4300" y="549"/>
                  </a:lnTo>
                  <a:lnTo>
                    <a:pt x="4310" y="574"/>
                  </a:lnTo>
                  <a:lnTo>
                    <a:pt x="4310" y="602"/>
                  </a:lnTo>
                  <a:lnTo>
                    <a:pt x="4310" y="631"/>
                  </a:lnTo>
                  <a:lnTo>
                    <a:pt x="4303" y="656"/>
                  </a:lnTo>
                  <a:lnTo>
                    <a:pt x="4300" y="665"/>
                  </a:lnTo>
                  <a:lnTo>
                    <a:pt x="4291" y="671"/>
                  </a:lnTo>
                  <a:lnTo>
                    <a:pt x="4282" y="680"/>
                  </a:lnTo>
                  <a:lnTo>
                    <a:pt x="4275" y="690"/>
                  </a:lnTo>
                  <a:lnTo>
                    <a:pt x="4269" y="699"/>
                  </a:lnTo>
                  <a:lnTo>
                    <a:pt x="4263" y="721"/>
                  </a:lnTo>
                  <a:lnTo>
                    <a:pt x="4263" y="749"/>
                  </a:lnTo>
                  <a:lnTo>
                    <a:pt x="4263" y="774"/>
                  </a:lnTo>
                  <a:lnTo>
                    <a:pt x="4272" y="796"/>
                  </a:lnTo>
                  <a:lnTo>
                    <a:pt x="4285" y="824"/>
                  </a:lnTo>
                  <a:lnTo>
                    <a:pt x="4297" y="852"/>
                  </a:lnTo>
                  <a:lnTo>
                    <a:pt x="4310" y="880"/>
                  </a:lnTo>
                  <a:lnTo>
                    <a:pt x="4316" y="905"/>
                  </a:lnTo>
                  <a:lnTo>
                    <a:pt x="4316" y="918"/>
                  </a:lnTo>
                  <a:lnTo>
                    <a:pt x="4310" y="937"/>
                  </a:lnTo>
                  <a:lnTo>
                    <a:pt x="4306" y="952"/>
                  </a:lnTo>
                  <a:lnTo>
                    <a:pt x="4306" y="965"/>
                  </a:lnTo>
                  <a:lnTo>
                    <a:pt x="4316" y="980"/>
                  </a:lnTo>
                  <a:lnTo>
                    <a:pt x="4331" y="993"/>
                  </a:lnTo>
                  <a:lnTo>
                    <a:pt x="4350" y="1005"/>
                  </a:lnTo>
                  <a:lnTo>
                    <a:pt x="4366" y="1011"/>
                  </a:lnTo>
                  <a:lnTo>
                    <a:pt x="4385" y="1011"/>
                  </a:lnTo>
                  <a:lnTo>
                    <a:pt x="4406" y="1002"/>
                  </a:lnTo>
                  <a:lnTo>
                    <a:pt x="4422" y="990"/>
                  </a:lnTo>
                  <a:lnTo>
                    <a:pt x="4431" y="977"/>
                  </a:lnTo>
                  <a:lnTo>
                    <a:pt x="4441" y="958"/>
                  </a:lnTo>
                  <a:lnTo>
                    <a:pt x="4450" y="940"/>
                  </a:lnTo>
                  <a:lnTo>
                    <a:pt x="4463" y="927"/>
                  </a:lnTo>
                  <a:lnTo>
                    <a:pt x="4488" y="918"/>
                  </a:lnTo>
                  <a:lnTo>
                    <a:pt x="4522" y="915"/>
                  </a:lnTo>
                  <a:lnTo>
                    <a:pt x="4550" y="915"/>
                  </a:lnTo>
                  <a:lnTo>
                    <a:pt x="4556" y="921"/>
                  </a:lnTo>
                  <a:lnTo>
                    <a:pt x="4566" y="927"/>
                  </a:lnTo>
                  <a:lnTo>
                    <a:pt x="4575" y="933"/>
                  </a:lnTo>
                  <a:lnTo>
                    <a:pt x="4581" y="943"/>
                  </a:lnTo>
                  <a:lnTo>
                    <a:pt x="4591" y="949"/>
                  </a:lnTo>
                  <a:lnTo>
                    <a:pt x="4597" y="952"/>
                  </a:lnTo>
                  <a:lnTo>
                    <a:pt x="4616" y="949"/>
                  </a:lnTo>
                  <a:lnTo>
                    <a:pt x="4634" y="943"/>
                  </a:lnTo>
                  <a:lnTo>
                    <a:pt x="4653" y="933"/>
                  </a:lnTo>
                  <a:lnTo>
                    <a:pt x="4669" y="927"/>
                  </a:lnTo>
                  <a:lnTo>
                    <a:pt x="4697" y="927"/>
                  </a:lnTo>
                  <a:lnTo>
                    <a:pt x="4728" y="930"/>
                  </a:lnTo>
                  <a:lnTo>
                    <a:pt x="4756" y="927"/>
                  </a:lnTo>
                  <a:lnTo>
                    <a:pt x="4784" y="921"/>
                  </a:lnTo>
                  <a:lnTo>
                    <a:pt x="4815" y="912"/>
                  </a:lnTo>
                  <a:lnTo>
                    <a:pt x="4837" y="899"/>
                  </a:lnTo>
                  <a:lnTo>
                    <a:pt x="4856" y="877"/>
                  </a:lnTo>
                  <a:lnTo>
                    <a:pt x="4872" y="849"/>
                  </a:lnTo>
                  <a:lnTo>
                    <a:pt x="4890" y="821"/>
                  </a:lnTo>
                  <a:lnTo>
                    <a:pt x="4906" y="799"/>
                  </a:lnTo>
                  <a:lnTo>
                    <a:pt x="4925" y="780"/>
                  </a:lnTo>
                  <a:lnTo>
                    <a:pt x="4950" y="762"/>
                  </a:lnTo>
                  <a:lnTo>
                    <a:pt x="4968" y="743"/>
                  </a:lnTo>
                  <a:lnTo>
                    <a:pt x="4984" y="709"/>
                  </a:lnTo>
                  <a:lnTo>
                    <a:pt x="4993" y="668"/>
                  </a:lnTo>
                  <a:lnTo>
                    <a:pt x="5000" y="624"/>
                  </a:lnTo>
                  <a:lnTo>
                    <a:pt x="5006" y="590"/>
                  </a:lnTo>
                  <a:lnTo>
                    <a:pt x="5015" y="559"/>
                  </a:lnTo>
                  <a:lnTo>
                    <a:pt x="5025" y="527"/>
                  </a:lnTo>
                  <a:lnTo>
                    <a:pt x="5037" y="499"/>
                  </a:lnTo>
                  <a:lnTo>
                    <a:pt x="5056" y="471"/>
                  </a:lnTo>
                  <a:lnTo>
                    <a:pt x="5081" y="437"/>
                  </a:lnTo>
                  <a:lnTo>
                    <a:pt x="5109" y="406"/>
                  </a:lnTo>
                  <a:lnTo>
                    <a:pt x="5131" y="378"/>
                  </a:lnTo>
                  <a:lnTo>
                    <a:pt x="5153" y="356"/>
                  </a:lnTo>
                  <a:lnTo>
                    <a:pt x="5178" y="328"/>
                  </a:lnTo>
                  <a:lnTo>
                    <a:pt x="5206" y="303"/>
                  </a:lnTo>
                  <a:lnTo>
                    <a:pt x="5231" y="287"/>
                  </a:lnTo>
                  <a:lnTo>
                    <a:pt x="5256" y="284"/>
                  </a:lnTo>
                  <a:lnTo>
                    <a:pt x="5284" y="287"/>
                  </a:lnTo>
                  <a:lnTo>
                    <a:pt x="5309" y="293"/>
                  </a:lnTo>
                  <a:lnTo>
                    <a:pt x="5328" y="306"/>
                  </a:lnTo>
                  <a:lnTo>
                    <a:pt x="5331" y="309"/>
                  </a:lnTo>
                  <a:lnTo>
                    <a:pt x="5331" y="315"/>
                  </a:lnTo>
                  <a:lnTo>
                    <a:pt x="5331" y="325"/>
                  </a:lnTo>
                  <a:lnTo>
                    <a:pt x="5331" y="331"/>
                  </a:lnTo>
                  <a:lnTo>
                    <a:pt x="5331" y="337"/>
                  </a:lnTo>
                  <a:lnTo>
                    <a:pt x="5334" y="343"/>
                  </a:lnTo>
                  <a:lnTo>
                    <a:pt x="5353" y="359"/>
                  </a:lnTo>
                  <a:lnTo>
                    <a:pt x="5378" y="371"/>
                  </a:lnTo>
                  <a:lnTo>
                    <a:pt x="5406" y="381"/>
                  </a:lnTo>
                  <a:lnTo>
                    <a:pt x="5434" y="393"/>
                  </a:lnTo>
                  <a:lnTo>
                    <a:pt x="5453" y="406"/>
                  </a:lnTo>
                  <a:lnTo>
                    <a:pt x="5462" y="431"/>
                  </a:lnTo>
                  <a:lnTo>
                    <a:pt x="5471" y="462"/>
                  </a:lnTo>
                  <a:lnTo>
                    <a:pt x="5477" y="496"/>
                  </a:lnTo>
                  <a:lnTo>
                    <a:pt x="5484" y="521"/>
                  </a:lnTo>
                  <a:lnTo>
                    <a:pt x="5484" y="543"/>
                  </a:lnTo>
                  <a:lnTo>
                    <a:pt x="5484" y="568"/>
                  </a:lnTo>
                  <a:lnTo>
                    <a:pt x="5484" y="593"/>
                  </a:lnTo>
                  <a:lnTo>
                    <a:pt x="5493" y="609"/>
                  </a:lnTo>
                  <a:lnTo>
                    <a:pt x="5506" y="612"/>
                  </a:lnTo>
                  <a:lnTo>
                    <a:pt x="5524" y="612"/>
                  </a:lnTo>
                  <a:lnTo>
                    <a:pt x="5543" y="609"/>
                  </a:lnTo>
                  <a:lnTo>
                    <a:pt x="5556" y="612"/>
                  </a:lnTo>
                  <a:lnTo>
                    <a:pt x="5562" y="618"/>
                  </a:lnTo>
                  <a:lnTo>
                    <a:pt x="5571" y="624"/>
                  </a:lnTo>
                  <a:lnTo>
                    <a:pt x="5577" y="634"/>
                  </a:lnTo>
                  <a:lnTo>
                    <a:pt x="5584" y="643"/>
                  </a:lnTo>
                  <a:lnTo>
                    <a:pt x="5590" y="652"/>
                  </a:lnTo>
                  <a:lnTo>
                    <a:pt x="5593" y="662"/>
                  </a:lnTo>
                  <a:lnTo>
                    <a:pt x="5593" y="684"/>
                  </a:lnTo>
                  <a:lnTo>
                    <a:pt x="5590" y="709"/>
                  </a:lnTo>
                  <a:lnTo>
                    <a:pt x="5587" y="730"/>
                  </a:lnTo>
                  <a:lnTo>
                    <a:pt x="5587" y="755"/>
                  </a:lnTo>
                  <a:lnTo>
                    <a:pt x="5584" y="780"/>
                  </a:lnTo>
                  <a:lnTo>
                    <a:pt x="5584" y="809"/>
                  </a:lnTo>
                  <a:lnTo>
                    <a:pt x="5587" y="830"/>
                  </a:lnTo>
                  <a:lnTo>
                    <a:pt x="5593" y="837"/>
                  </a:lnTo>
                  <a:lnTo>
                    <a:pt x="5599" y="846"/>
                  </a:lnTo>
                  <a:lnTo>
                    <a:pt x="5609" y="852"/>
                  </a:lnTo>
                  <a:lnTo>
                    <a:pt x="5618" y="862"/>
                  </a:lnTo>
                  <a:lnTo>
                    <a:pt x="5624" y="868"/>
                  </a:lnTo>
                  <a:lnTo>
                    <a:pt x="5634" y="887"/>
                  </a:lnTo>
                  <a:lnTo>
                    <a:pt x="5649" y="912"/>
                  </a:lnTo>
                  <a:lnTo>
                    <a:pt x="5662" y="930"/>
                  </a:lnTo>
                  <a:lnTo>
                    <a:pt x="5668" y="937"/>
                  </a:lnTo>
                  <a:lnTo>
                    <a:pt x="5677" y="946"/>
                  </a:lnTo>
                  <a:lnTo>
                    <a:pt x="5687" y="952"/>
                  </a:lnTo>
                  <a:lnTo>
                    <a:pt x="5718" y="971"/>
                  </a:lnTo>
                  <a:lnTo>
                    <a:pt x="5740" y="990"/>
                  </a:lnTo>
                  <a:lnTo>
                    <a:pt x="5749" y="1008"/>
                  </a:lnTo>
                  <a:lnTo>
                    <a:pt x="5759" y="1033"/>
                  </a:lnTo>
                  <a:lnTo>
                    <a:pt x="5768" y="1058"/>
                  </a:lnTo>
                  <a:lnTo>
                    <a:pt x="5777" y="1080"/>
                  </a:lnTo>
                  <a:lnTo>
                    <a:pt x="5796" y="1096"/>
                  </a:lnTo>
                  <a:lnTo>
                    <a:pt x="5821" y="1115"/>
                  </a:lnTo>
                  <a:lnTo>
                    <a:pt x="5840" y="1133"/>
                  </a:lnTo>
                  <a:lnTo>
                    <a:pt x="5849" y="1152"/>
                  </a:lnTo>
                  <a:lnTo>
                    <a:pt x="5858" y="1177"/>
                  </a:lnTo>
                  <a:lnTo>
                    <a:pt x="5865" y="1202"/>
                  </a:lnTo>
                  <a:lnTo>
                    <a:pt x="5868" y="1224"/>
                  </a:lnTo>
                  <a:lnTo>
                    <a:pt x="5862" y="1243"/>
                  </a:lnTo>
                  <a:lnTo>
                    <a:pt x="5852" y="1264"/>
                  </a:lnTo>
                  <a:lnTo>
                    <a:pt x="5846" y="1286"/>
                  </a:lnTo>
                  <a:lnTo>
                    <a:pt x="5849" y="1311"/>
                  </a:lnTo>
                  <a:lnTo>
                    <a:pt x="5862" y="1339"/>
                  </a:lnTo>
                  <a:lnTo>
                    <a:pt x="5877" y="1364"/>
                  </a:lnTo>
                  <a:lnTo>
                    <a:pt x="5890" y="1386"/>
                  </a:lnTo>
                  <a:lnTo>
                    <a:pt x="5912" y="1399"/>
                  </a:lnTo>
                  <a:lnTo>
                    <a:pt x="5940" y="1411"/>
                  </a:lnTo>
                  <a:lnTo>
                    <a:pt x="5965" y="1424"/>
                  </a:lnTo>
                  <a:lnTo>
                    <a:pt x="5983" y="1436"/>
                  </a:lnTo>
                  <a:lnTo>
                    <a:pt x="5990" y="1455"/>
                  </a:lnTo>
                  <a:lnTo>
                    <a:pt x="5990" y="1480"/>
                  </a:lnTo>
                  <a:lnTo>
                    <a:pt x="5986" y="1505"/>
                  </a:lnTo>
                  <a:lnTo>
                    <a:pt x="5983" y="1527"/>
                  </a:lnTo>
                  <a:lnTo>
                    <a:pt x="5971" y="1545"/>
                  </a:lnTo>
                  <a:lnTo>
                    <a:pt x="5955" y="1564"/>
                  </a:lnTo>
                  <a:lnTo>
                    <a:pt x="5946" y="1583"/>
                  </a:lnTo>
                  <a:lnTo>
                    <a:pt x="5946" y="1602"/>
                  </a:lnTo>
                  <a:lnTo>
                    <a:pt x="5952" y="1624"/>
                  </a:lnTo>
                  <a:lnTo>
                    <a:pt x="5955" y="1645"/>
                  </a:lnTo>
                  <a:lnTo>
                    <a:pt x="5958" y="1664"/>
                  </a:lnTo>
                  <a:lnTo>
                    <a:pt x="5949" y="1686"/>
                  </a:lnTo>
                  <a:lnTo>
                    <a:pt x="5933" y="1711"/>
                  </a:lnTo>
                  <a:lnTo>
                    <a:pt x="5918" y="1736"/>
                  </a:lnTo>
                  <a:lnTo>
                    <a:pt x="5908" y="1758"/>
                  </a:lnTo>
                  <a:lnTo>
                    <a:pt x="5912" y="1786"/>
                  </a:lnTo>
                  <a:lnTo>
                    <a:pt x="5918" y="1817"/>
                  </a:lnTo>
                  <a:lnTo>
                    <a:pt x="5927" y="1842"/>
                  </a:lnTo>
                  <a:lnTo>
                    <a:pt x="5943" y="1867"/>
                  </a:lnTo>
                  <a:lnTo>
                    <a:pt x="5962" y="1892"/>
                  </a:lnTo>
                  <a:lnTo>
                    <a:pt x="5983" y="1908"/>
                  </a:lnTo>
                  <a:lnTo>
                    <a:pt x="6002" y="1911"/>
                  </a:lnTo>
                  <a:lnTo>
                    <a:pt x="6027" y="1908"/>
                  </a:lnTo>
                  <a:lnTo>
                    <a:pt x="6052" y="1905"/>
                  </a:lnTo>
                  <a:lnTo>
                    <a:pt x="6074" y="1908"/>
                  </a:lnTo>
                  <a:lnTo>
                    <a:pt x="6093" y="1920"/>
                  </a:lnTo>
                  <a:lnTo>
                    <a:pt x="6111" y="1936"/>
                  </a:lnTo>
                  <a:lnTo>
                    <a:pt x="6130" y="1958"/>
                  </a:lnTo>
                  <a:lnTo>
                    <a:pt x="6143" y="1976"/>
                  </a:lnTo>
                  <a:lnTo>
                    <a:pt x="6140" y="1989"/>
                  </a:lnTo>
                  <a:lnTo>
                    <a:pt x="6133" y="2008"/>
                  </a:lnTo>
                  <a:lnTo>
                    <a:pt x="6127" y="2023"/>
                  </a:lnTo>
                  <a:lnTo>
                    <a:pt x="6130" y="2036"/>
                  </a:lnTo>
                  <a:lnTo>
                    <a:pt x="6143" y="2045"/>
                  </a:lnTo>
                  <a:lnTo>
                    <a:pt x="6161" y="2054"/>
                  </a:lnTo>
                  <a:lnTo>
                    <a:pt x="6183" y="2058"/>
                  </a:lnTo>
                  <a:lnTo>
                    <a:pt x="6199" y="2058"/>
                  </a:lnTo>
                  <a:lnTo>
                    <a:pt x="6221" y="2051"/>
                  </a:lnTo>
                  <a:lnTo>
                    <a:pt x="6243" y="2039"/>
                  </a:lnTo>
                  <a:lnTo>
                    <a:pt x="6264" y="2029"/>
                  </a:lnTo>
                  <a:lnTo>
                    <a:pt x="6283" y="2033"/>
                  </a:lnTo>
                  <a:lnTo>
                    <a:pt x="6305" y="2039"/>
                  </a:lnTo>
                  <a:lnTo>
                    <a:pt x="6321" y="2048"/>
                  </a:lnTo>
                  <a:lnTo>
                    <a:pt x="6324" y="2054"/>
                  </a:lnTo>
                  <a:lnTo>
                    <a:pt x="6324" y="2064"/>
                  </a:lnTo>
                  <a:lnTo>
                    <a:pt x="6327" y="2073"/>
                  </a:lnTo>
                  <a:lnTo>
                    <a:pt x="6324" y="2083"/>
                  </a:lnTo>
                  <a:lnTo>
                    <a:pt x="6324" y="2089"/>
                  </a:lnTo>
                  <a:lnTo>
                    <a:pt x="6321" y="2095"/>
                  </a:lnTo>
                  <a:lnTo>
                    <a:pt x="6314" y="2101"/>
                  </a:lnTo>
                  <a:lnTo>
                    <a:pt x="6308" y="2104"/>
                  </a:lnTo>
                  <a:lnTo>
                    <a:pt x="6299" y="2111"/>
                  </a:lnTo>
                  <a:lnTo>
                    <a:pt x="6289" y="2114"/>
                  </a:lnTo>
                  <a:lnTo>
                    <a:pt x="6283" y="2117"/>
                  </a:lnTo>
                  <a:lnTo>
                    <a:pt x="6277" y="2123"/>
                  </a:lnTo>
                  <a:lnTo>
                    <a:pt x="6274" y="2139"/>
                  </a:lnTo>
                  <a:lnTo>
                    <a:pt x="6277" y="2157"/>
                  </a:lnTo>
                  <a:lnTo>
                    <a:pt x="6274" y="2176"/>
                  </a:lnTo>
                  <a:lnTo>
                    <a:pt x="6264" y="2186"/>
                  </a:lnTo>
                  <a:lnTo>
                    <a:pt x="6246" y="2198"/>
                  </a:lnTo>
                  <a:lnTo>
                    <a:pt x="6230" y="2211"/>
                  </a:lnTo>
                  <a:lnTo>
                    <a:pt x="6221" y="2223"/>
                  </a:lnTo>
                  <a:lnTo>
                    <a:pt x="6224" y="2242"/>
                  </a:lnTo>
                  <a:lnTo>
                    <a:pt x="6233" y="2270"/>
                  </a:lnTo>
                  <a:lnTo>
                    <a:pt x="6246" y="2295"/>
                  </a:lnTo>
                  <a:lnTo>
                    <a:pt x="6264" y="2317"/>
                  </a:lnTo>
                  <a:lnTo>
                    <a:pt x="6283" y="2332"/>
                  </a:lnTo>
                  <a:lnTo>
                    <a:pt x="6299" y="2335"/>
                  </a:lnTo>
                  <a:lnTo>
                    <a:pt x="6321" y="2332"/>
                  </a:lnTo>
                  <a:lnTo>
                    <a:pt x="6346" y="2329"/>
                  </a:lnTo>
                  <a:lnTo>
                    <a:pt x="6364" y="2332"/>
                  </a:lnTo>
                  <a:lnTo>
                    <a:pt x="6386" y="2342"/>
                  </a:lnTo>
                  <a:lnTo>
                    <a:pt x="6408" y="2354"/>
                  </a:lnTo>
                  <a:lnTo>
                    <a:pt x="6427" y="2367"/>
                  </a:lnTo>
                  <a:lnTo>
                    <a:pt x="6449" y="2379"/>
                  </a:lnTo>
                  <a:lnTo>
                    <a:pt x="6474" y="2395"/>
                  </a:lnTo>
                  <a:lnTo>
                    <a:pt x="6495" y="2410"/>
                  </a:lnTo>
                  <a:lnTo>
                    <a:pt x="6508" y="2429"/>
                  </a:lnTo>
                  <a:lnTo>
                    <a:pt x="6508" y="2451"/>
                  </a:lnTo>
                  <a:lnTo>
                    <a:pt x="6502" y="2476"/>
                  </a:lnTo>
                  <a:lnTo>
                    <a:pt x="6489" y="2501"/>
                  </a:lnTo>
                  <a:lnTo>
                    <a:pt x="6477" y="2517"/>
                  </a:lnTo>
                  <a:lnTo>
                    <a:pt x="6458" y="2526"/>
                  </a:lnTo>
                  <a:lnTo>
                    <a:pt x="6433" y="2532"/>
                  </a:lnTo>
                  <a:lnTo>
                    <a:pt x="6408" y="2538"/>
                  </a:lnTo>
                  <a:lnTo>
                    <a:pt x="6383" y="2545"/>
                  </a:lnTo>
                  <a:lnTo>
                    <a:pt x="6367" y="2554"/>
                  </a:lnTo>
                  <a:lnTo>
                    <a:pt x="6364" y="2560"/>
                  </a:lnTo>
                  <a:lnTo>
                    <a:pt x="6361" y="2567"/>
                  </a:lnTo>
                  <a:lnTo>
                    <a:pt x="6361" y="2576"/>
                  </a:lnTo>
                  <a:lnTo>
                    <a:pt x="6361" y="2585"/>
                  </a:lnTo>
                  <a:lnTo>
                    <a:pt x="6361" y="2592"/>
                  </a:lnTo>
                  <a:lnTo>
                    <a:pt x="6352" y="2613"/>
                  </a:lnTo>
                  <a:lnTo>
                    <a:pt x="6339" y="2641"/>
                  </a:lnTo>
                  <a:lnTo>
                    <a:pt x="6327" y="2660"/>
                  </a:lnTo>
                  <a:lnTo>
                    <a:pt x="6324" y="2670"/>
                  </a:lnTo>
                  <a:lnTo>
                    <a:pt x="6314" y="2679"/>
                  </a:lnTo>
                  <a:lnTo>
                    <a:pt x="6305" y="2685"/>
                  </a:lnTo>
                  <a:lnTo>
                    <a:pt x="6299" y="2695"/>
                  </a:lnTo>
                  <a:lnTo>
                    <a:pt x="6289" y="2701"/>
                  </a:lnTo>
                  <a:lnTo>
                    <a:pt x="6264" y="2704"/>
                  </a:lnTo>
                  <a:lnTo>
                    <a:pt x="6233" y="2707"/>
                  </a:lnTo>
                  <a:lnTo>
                    <a:pt x="6202" y="2707"/>
                  </a:lnTo>
                  <a:lnTo>
                    <a:pt x="6177" y="2713"/>
                  </a:lnTo>
                  <a:lnTo>
                    <a:pt x="6171" y="2716"/>
                  </a:lnTo>
                  <a:lnTo>
                    <a:pt x="6161" y="2723"/>
                  </a:lnTo>
                  <a:lnTo>
                    <a:pt x="6155" y="2729"/>
                  </a:lnTo>
                  <a:lnTo>
                    <a:pt x="6149" y="2735"/>
                  </a:lnTo>
                  <a:lnTo>
                    <a:pt x="6146" y="2754"/>
                  </a:lnTo>
                  <a:lnTo>
                    <a:pt x="6149" y="2776"/>
                  </a:lnTo>
                  <a:lnTo>
                    <a:pt x="6152" y="2804"/>
                  </a:lnTo>
                  <a:lnTo>
                    <a:pt x="6152" y="2826"/>
                  </a:lnTo>
                  <a:lnTo>
                    <a:pt x="6149" y="2844"/>
                  </a:lnTo>
                  <a:lnTo>
                    <a:pt x="6143" y="2854"/>
                  </a:lnTo>
                  <a:lnTo>
                    <a:pt x="6133" y="2863"/>
                  </a:lnTo>
                  <a:lnTo>
                    <a:pt x="6124" y="2873"/>
                  </a:lnTo>
                  <a:lnTo>
                    <a:pt x="6111" y="2879"/>
                  </a:lnTo>
                  <a:lnTo>
                    <a:pt x="6102" y="2885"/>
                  </a:lnTo>
                  <a:lnTo>
                    <a:pt x="6083" y="2894"/>
                  </a:lnTo>
                  <a:lnTo>
                    <a:pt x="6061" y="2904"/>
                  </a:lnTo>
                  <a:lnTo>
                    <a:pt x="6036" y="2907"/>
                  </a:lnTo>
                  <a:lnTo>
                    <a:pt x="6018" y="2910"/>
                  </a:lnTo>
                  <a:lnTo>
                    <a:pt x="5990" y="2901"/>
                  </a:lnTo>
                  <a:lnTo>
                    <a:pt x="5962" y="2882"/>
                  </a:lnTo>
                  <a:lnTo>
                    <a:pt x="5933" y="2863"/>
                  </a:lnTo>
                  <a:lnTo>
                    <a:pt x="5905" y="2851"/>
                  </a:lnTo>
                  <a:lnTo>
                    <a:pt x="5887" y="2848"/>
                  </a:lnTo>
                  <a:lnTo>
                    <a:pt x="5865" y="2844"/>
                  </a:lnTo>
                  <a:lnTo>
                    <a:pt x="5843" y="2844"/>
                  </a:lnTo>
                  <a:lnTo>
                    <a:pt x="5827" y="2851"/>
                  </a:lnTo>
                  <a:lnTo>
                    <a:pt x="5821" y="2863"/>
                  </a:lnTo>
                  <a:lnTo>
                    <a:pt x="5821" y="2885"/>
                  </a:lnTo>
                  <a:lnTo>
                    <a:pt x="5821" y="2907"/>
                  </a:lnTo>
                  <a:lnTo>
                    <a:pt x="5821" y="2926"/>
                  </a:lnTo>
                  <a:lnTo>
                    <a:pt x="5809" y="2941"/>
                  </a:lnTo>
                  <a:lnTo>
                    <a:pt x="5793" y="2960"/>
                  </a:lnTo>
                  <a:lnTo>
                    <a:pt x="5787" y="2979"/>
                  </a:lnTo>
                  <a:lnTo>
                    <a:pt x="5793" y="2997"/>
                  </a:lnTo>
                  <a:lnTo>
                    <a:pt x="5805" y="3019"/>
                  </a:lnTo>
                  <a:lnTo>
                    <a:pt x="5824" y="3041"/>
                  </a:lnTo>
                  <a:lnTo>
                    <a:pt x="5833" y="3063"/>
                  </a:lnTo>
                  <a:lnTo>
                    <a:pt x="5837" y="3085"/>
                  </a:lnTo>
                  <a:lnTo>
                    <a:pt x="5833" y="3110"/>
                  </a:lnTo>
                  <a:lnTo>
                    <a:pt x="5833" y="3135"/>
                  </a:lnTo>
                  <a:lnTo>
                    <a:pt x="5830" y="3144"/>
                  </a:lnTo>
                  <a:lnTo>
                    <a:pt x="5827" y="3154"/>
                  </a:lnTo>
                  <a:lnTo>
                    <a:pt x="5824" y="3166"/>
                  </a:lnTo>
                  <a:lnTo>
                    <a:pt x="5818" y="3175"/>
                  </a:lnTo>
                  <a:lnTo>
                    <a:pt x="5812" y="3182"/>
                  </a:lnTo>
                  <a:lnTo>
                    <a:pt x="5796" y="3188"/>
                  </a:lnTo>
                  <a:lnTo>
                    <a:pt x="5777" y="3185"/>
                  </a:lnTo>
                  <a:lnTo>
                    <a:pt x="5755" y="3185"/>
                  </a:lnTo>
                  <a:lnTo>
                    <a:pt x="5737" y="3182"/>
                  </a:lnTo>
                  <a:lnTo>
                    <a:pt x="5718" y="3182"/>
                  </a:lnTo>
                  <a:lnTo>
                    <a:pt x="5690" y="3179"/>
                  </a:lnTo>
                  <a:lnTo>
                    <a:pt x="5665" y="3179"/>
                  </a:lnTo>
                  <a:lnTo>
                    <a:pt x="5646" y="3182"/>
                  </a:lnTo>
                  <a:lnTo>
                    <a:pt x="5624" y="3204"/>
                  </a:lnTo>
                  <a:lnTo>
                    <a:pt x="5602" y="3235"/>
                  </a:lnTo>
                  <a:lnTo>
                    <a:pt x="5581" y="3269"/>
                  </a:lnTo>
                  <a:lnTo>
                    <a:pt x="5559" y="3291"/>
                  </a:lnTo>
                  <a:lnTo>
                    <a:pt x="5534" y="3303"/>
                  </a:lnTo>
                  <a:lnTo>
                    <a:pt x="5502" y="3313"/>
                  </a:lnTo>
                  <a:lnTo>
                    <a:pt x="5474" y="3319"/>
                  </a:lnTo>
                  <a:lnTo>
                    <a:pt x="5453" y="3322"/>
                  </a:lnTo>
                  <a:lnTo>
                    <a:pt x="5428" y="3325"/>
                  </a:lnTo>
                  <a:lnTo>
                    <a:pt x="5406" y="3332"/>
                  </a:lnTo>
                  <a:lnTo>
                    <a:pt x="5393" y="3347"/>
                  </a:lnTo>
                  <a:lnTo>
                    <a:pt x="5381" y="3369"/>
                  </a:lnTo>
                  <a:lnTo>
                    <a:pt x="5368" y="3388"/>
                  </a:lnTo>
                  <a:lnTo>
                    <a:pt x="5356" y="3400"/>
                  </a:lnTo>
                  <a:lnTo>
                    <a:pt x="5334" y="3400"/>
                  </a:lnTo>
                  <a:lnTo>
                    <a:pt x="5309" y="3397"/>
                  </a:lnTo>
                  <a:lnTo>
                    <a:pt x="5284" y="3388"/>
                  </a:lnTo>
                  <a:lnTo>
                    <a:pt x="5259" y="3375"/>
                  </a:lnTo>
                  <a:lnTo>
                    <a:pt x="5243" y="3363"/>
                  </a:lnTo>
                  <a:lnTo>
                    <a:pt x="5237" y="3360"/>
                  </a:lnTo>
                  <a:lnTo>
                    <a:pt x="5234" y="3350"/>
                  </a:lnTo>
                  <a:lnTo>
                    <a:pt x="5231" y="3344"/>
                  </a:lnTo>
                  <a:lnTo>
                    <a:pt x="5231" y="3335"/>
                  </a:lnTo>
                  <a:lnTo>
                    <a:pt x="5225" y="3328"/>
                  </a:lnTo>
                  <a:lnTo>
                    <a:pt x="5221" y="3322"/>
                  </a:lnTo>
                  <a:lnTo>
                    <a:pt x="5193" y="3313"/>
                  </a:lnTo>
                  <a:lnTo>
                    <a:pt x="5159" y="3307"/>
                  </a:lnTo>
                  <a:lnTo>
                    <a:pt x="5118" y="3303"/>
                  </a:lnTo>
                  <a:lnTo>
                    <a:pt x="5084" y="3310"/>
                  </a:lnTo>
                  <a:lnTo>
                    <a:pt x="5059" y="3322"/>
                  </a:lnTo>
                  <a:lnTo>
                    <a:pt x="5053" y="3338"/>
                  </a:lnTo>
                  <a:lnTo>
                    <a:pt x="5053" y="3360"/>
                  </a:lnTo>
                  <a:lnTo>
                    <a:pt x="5056" y="3382"/>
                  </a:lnTo>
                  <a:lnTo>
                    <a:pt x="5059" y="3400"/>
                  </a:lnTo>
                  <a:lnTo>
                    <a:pt x="5062" y="3425"/>
                  </a:lnTo>
                  <a:lnTo>
                    <a:pt x="5068" y="3456"/>
                  </a:lnTo>
                  <a:lnTo>
                    <a:pt x="5075" y="3481"/>
                  </a:lnTo>
                  <a:lnTo>
                    <a:pt x="5072" y="3500"/>
                  </a:lnTo>
                  <a:lnTo>
                    <a:pt x="5072" y="3522"/>
                  </a:lnTo>
                  <a:lnTo>
                    <a:pt x="5075" y="3544"/>
                  </a:lnTo>
                  <a:lnTo>
                    <a:pt x="5084" y="3563"/>
                  </a:lnTo>
                  <a:lnTo>
                    <a:pt x="5100" y="3581"/>
                  </a:lnTo>
                  <a:lnTo>
                    <a:pt x="5112" y="3600"/>
                  </a:lnTo>
                  <a:lnTo>
                    <a:pt x="5125" y="3625"/>
                  </a:lnTo>
                  <a:lnTo>
                    <a:pt x="5140" y="3656"/>
                  </a:lnTo>
                  <a:lnTo>
                    <a:pt x="5156" y="3688"/>
                  </a:lnTo>
                  <a:lnTo>
                    <a:pt x="5162" y="3719"/>
                  </a:lnTo>
                  <a:lnTo>
                    <a:pt x="5159" y="3744"/>
                  </a:lnTo>
                  <a:lnTo>
                    <a:pt x="5150" y="3756"/>
                  </a:lnTo>
                  <a:lnTo>
                    <a:pt x="5128" y="3762"/>
                  </a:lnTo>
                  <a:lnTo>
                    <a:pt x="5106" y="3772"/>
                  </a:lnTo>
                  <a:lnTo>
                    <a:pt x="5090" y="3778"/>
                  </a:lnTo>
                  <a:lnTo>
                    <a:pt x="5072" y="3794"/>
                  </a:lnTo>
                  <a:lnTo>
                    <a:pt x="5053" y="3816"/>
                  </a:lnTo>
                  <a:lnTo>
                    <a:pt x="5034" y="3828"/>
                  </a:lnTo>
                  <a:lnTo>
                    <a:pt x="5028" y="3831"/>
                  </a:lnTo>
                  <a:lnTo>
                    <a:pt x="5018" y="3831"/>
                  </a:lnTo>
                  <a:lnTo>
                    <a:pt x="5006" y="3831"/>
                  </a:lnTo>
                  <a:lnTo>
                    <a:pt x="5000" y="3828"/>
                  </a:lnTo>
                  <a:lnTo>
                    <a:pt x="4975" y="3819"/>
                  </a:lnTo>
                  <a:lnTo>
                    <a:pt x="4947" y="3806"/>
                  </a:lnTo>
                  <a:lnTo>
                    <a:pt x="4922" y="3797"/>
                  </a:lnTo>
                  <a:lnTo>
                    <a:pt x="4887" y="3794"/>
                  </a:lnTo>
                  <a:lnTo>
                    <a:pt x="4847" y="3794"/>
                  </a:lnTo>
                  <a:lnTo>
                    <a:pt x="4812" y="3797"/>
                  </a:lnTo>
                  <a:lnTo>
                    <a:pt x="4784" y="3803"/>
                  </a:lnTo>
                  <a:lnTo>
                    <a:pt x="4747" y="3812"/>
                  </a:lnTo>
                  <a:lnTo>
                    <a:pt x="4712" y="3822"/>
                  </a:lnTo>
                  <a:lnTo>
                    <a:pt x="4681" y="3828"/>
                  </a:lnTo>
                  <a:lnTo>
                    <a:pt x="4647" y="3828"/>
                  </a:lnTo>
                  <a:lnTo>
                    <a:pt x="4603" y="3822"/>
                  </a:lnTo>
                  <a:lnTo>
                    <a:pt x="4559" y="3812"/>
                  </a:lnTo>
                  <a:lnTo>
                    <a:pt x="4525" y="3806"/>
                  </a:lnTo>
                  <a:lnTo>
                    <a:pt x="4503" y="3800"/>
                  </a:lnTo>
                  <a:lnTo>
                    <a:pt x="4478" y="3791"/>
                  </a:lnTo>
                  <a:lnTo>
                    <a:pt x="4456" y="3787"/>
                  </a:lnTo>
                  <a:lnTo>
                    <a:pt x="4450" y="3791"/>
                  </a:lnTo>
                  <a:lnTo>
                    <a:pt x="4441" y="3791"/>
                  </a:lnTo>
                  <a:lnTo>
                    <a:pt x="4435" y="3797"/>
                  </a:lnTo>
                  <a:lnTo>
                    <a:pt x="4425" y="3800"/>
                  </a:lnTo>
                  <a:lnTo>
                    <a:pt x="4422" y="3806"/>
                  </a:lnTo>
                  <a:lnTo>
                    <a:pt x="4422" y="3822"/>
                  </a:lnTo>
                  <a:lnTo>
                    <a:pt x="4428" y="3844"/>
                  </a:lnTo>
                  <a:lnTo>
                    <a:pt x="4438" y="3866"/>
                  </a:lnTo>
                  <a:lnTo>
                    <a:pt x="4441" y="3884"/>
                  </a:lnTo>
                  <a:lnTo>
                    <a:pt x="4438" y="3903"/>
                  </a:lnTo>
                  <a:lnTo>
                    <a:pt x="4435" y="3928"/>
                  </a:lnTo>
                  <a:lnTo>
                    <a:pt x="4428" y="3953"/>
                  </a:lnTo>
                  <a:lnTo>
                    <a:pt x="4419" y="3972"/>
                  </a:lnTo>
                  <a:lnTo>
                    <a:pt x="4406" y="3984"/>
                  </a:lnTo>
                  <a:lnTo>
                    <a:pt x="4400" y="3984"/>
                  </a:lnTo>
                  <a:lnTo>
                    <a:pt x="4394" y="3984"/>
                  </a:lnTo>
                  <a:lnTo>
                    <a:pt x="4388" y="3981"/>
                  </a:lnTo>
                  <a:lnTo>
                    <a:pt x="4381" y="3975"/>
                  </a:lnTo>
                  <a:lnTo>
                    <a:pt x="4375" y="3972"/>
                  </a:lnTo>
                  <a:lnTo>
                    <a:pt x="4372" y="3965"/>
                  </a:lnTo>
                  <a:lnTo>
                    <a:pt x="4369" y="3953"/>
                  </a:lnTo>
                  <a:lnTo>
                    <a:pt x="4369" y="3931"/>
                  </a:lnTo>
                  <a:lnTo>
                    <a:pt x="4372" y="3912"/>
                  </a:lnTo>
                  <a:lnTo>
                    <a:pt x="4369" y="3897"/>
                  </a:lnTo>
                  <a:lnTo>
                    <a:pt x="4363" y="3894"/>
                  </a:lnTo>
                  <a:lnTo>
                    <a:pt x="4353" y="3890"/>
                  </a:lnTo>
                  <a:lnTo>
                    <a:pt x="4344" y="3887"/>
                  </a:lnTo>
                  <a:lnTo>
                    <a:pt x="4331" y="3887"/>
                  </a:lnTo>
                  <a:lnTo>
                    <a:pt x="4325" y="3887"/>
                  </a:lnTo>
                  <a:lnTo>
                    <a:pt x="4303" y="3890"/>
                  </a:lnTo>
                  <a:lnTo>
                    <a:pt x="4282" y="3894"/>
                  </a:lnTo>
                  <a:lnTo>
                    <a:pt x="4260" y="3897"/>
                  </a:lnTo>
                  <a:lnTo>
                    <a:pt x="4244" y="3903"/>
                  </a:lnTo>
                  <a:lnTo>
                    <a:pt x="4225" y="3912"/>
                  </a:lnTo>
                  <a:lnTo>
                    <a:pt x="4207" y="3919"/>
                  </a:lnTo>
                  <a:lnTo>
                    <a:pt x="4191" y="3922"/>
                  </a:lnTo>
                  <a:lnTo>
                    <a:pt x="4185" y="3919"/>
                  </a:lnTo>
                  <a:lnTo>
                    <a:pt x="4175" y="3912"/>
                  </a:lnTo>
                  <a:lnTo>
                    <a:pt x="4166" y="3903"/>
                  </a:lnTo>
                  <a:lnTo>
                    <a:pt x="4157" y="3897"/>
                  </a:lnTo>
                  <a:lnTo>
                    <a:pt x="4147" y="3890"/>
                  </a:lnTo>
                  <a:lnTo>
                    <a:pt x="4125" y="3875"/>
                  </a:lnTo>
                  <a:lnTo>
                    <a:pt x="4097" y="3859"/>
                  </a:lnTo>
                  <a:lnTo>
                    <a:pt x="4075" y="3847"/>
                  </a:lnTo>
                  <a:lnTo>
                    <a:pt x="4050" y="3841"/>
                  </a:lnTo>
                  <a:lnTo>
                    <a:pt x="4022" y="3837"/>
                  </a:lnTo>
                  <a:lnTo>
                    <a:pt x="3991" y="3834"/>
                  </a:lnTo>
                  <a:lnTo>
                    <a:pt x="3966" y="3837"/>
                  </a:lnTo>
                  <a:lnTo>
                    <a:pt x="3944" y="3844"/>
                  </a:lnTo>
                  <a:lnTo>
                    <a:pt x="3941" y="3850"/>
                  </a:lnTo>
                  <a:lnTo>
                    <a:pt x="3938" y="3856"/>
                  </a:lnTo>
                  <a:lnTo>
                    <a:pt x="3938" y="3862"/>
                  </a:lnTo>
                  <a:lnTo>
                    <a:pt x="3935" y="3872"/>
                  </a:lnTo>
                  <a:lnTo>
                    <a:pt x="3935" y="3881"/>
                  </a:lnTo>
                  <a:lnTo>
                    <a:pt x="3932" y="3884"/>
                  </a:lnTo>
                  <a:lnTo>
                    <a:pt x="3916" y="3897"/>
                  </a:lnTo>
                  <a:lnTo>
                    <a:pt x="3897" y="3909"/>
                  </a:lnTo>
                  <a:lnTo>
                    <a:pt x="3876" y="3915"/>
                  </a:lnTo>
                  <a:lnTo>
                    <a:pt x="3857" y="3915"/>
                  </a:lnTo>
                  <a:lnTo>
                    <a:pt x="3847" y="3903"/>
                  </a:lnTo>
                  <a:lnTo>
                    <a:pt x="3841" y="3881"/>
                  </a:lnTo>
                  <a:lnTo>
                    <a:pt x="3835" y="3856"/>
                  </a:lnTo>
                  <a:lnTo>
                    <a:pt x="3826" y="3841"/>
                  </a:lnTo>
                  <a:lnTo>
                    <a:pt x="3810" y="3831"/>
                  </a:lnTo>
                  <a:lnTo>
                    <a:pt x="3791" y="3822"/>
                  </a:lnTo>
                  <a:lnTo>
                    <a:pt x="3766" y="3819"/>
                  </a:lnTo>
                  <a:lnTo>
                    <a:pt x="3751" y="3819"/>
                  </a:lnTo>
                  <a:lnTo>
                    <a:pt x="3741" y="3822"/>
                  </a:lnTo>
                  <a:lnTo>
                    <a:pt x="3732" y="3828"/>
                  </a:lnTo>
                  <a:lnTo>
                    <a:pt x="3726" y="3837"/>
                  </a:lnTo>
                  <a:lnTo>
                    <a:pt x="3716" y="3847"/>
                  </a:lnTo>
                  <a:lnTo>
                    <a:pt x="3710" y="3856"/>
                  </a:lnTo>
                  <a:lnTo>
                    <a:pt x="3707" y="3866"/>
                  </a:lnTo>
                  <a:lnTo>
                    <a:pt x="3704" y="3881"/>
                  </a:lnTo>
                  <a:lnTo>
                    <a:pt x="3707" y="3903"/>
                  </a:lnTo>
                  <a:lnTo>
                    <a:pt x="3707" y="3925"/>
                  </a:lnTo>
                  <a:lnTo>
                    <a:pt x="3707" y="3944"/>
                  </a:lnTo>
                  <a:lnTo>
                    <a:pt x="3698" y="3962"/>
                  </a:lnTo>
                  <a:lnTo>
                    <a:pt x="3682" y="3984"/>
                  </a:lnTo>
                  <a:lnTo>
                    <a:pt x="3669" y="4000"/>
                  </a:lnTo>
                  <a:lnTo>
                    <a:pt x="3654" y="4009"/>
                  </a:lnTo>
                  <a:lnTo>
                    <a:pt x="3632" y="4022"/>
                  </a:lnTo>
                  <a:lnTo>
                    <a:pt x="3616" y="4031"/>
                  </a:lnTo>
                  <a:lnTo>
                    <a:pt x="3598" y="4040"/>
                  </a:lnTo>
                  <a:lnTo>
                    <a:pt x="3573" y="4053"/>
                  </a:lnTo>
                  <a:lnTo>
                    <a:pt x="3548" y="4068"/>
                  </a:lnTo>
                  <a:lnTo>
                    <a:pt x="3532" y="4084"/>
                  </a:lnTo>
                  <a:lnTo>
                    <a:pt x="3529" y="4097"/>
                  </a:lnTo>
                  <a:lnTo>
                    <a:pt x="3532" y="4115"/>
                  </a:lnTo>
                  <a:lnTo>
                    <a:pt x="3532" y="4134"/>
                  </a:lnTo>
                  <a:lnTo>
                    <a:pt x="3532" y="4147"/>
                  </a:lnTo>
                  <a:lnTo>
                    <a:pt x="3526" y="4168"/>
                  </a:lnTo>
                  <a:lnTo>
                    <a:pt x="3516" y="4197"/>
                  </a:lnTo>
                  <a:lnTo>
                    <a:pt x="3504" y="4221"/>
                  </a:lnTo>
                  <a:lnTo>
                    <a:pt x="3501" y="4243"/>
                  </a:lnTo>
                  <a:lnTo>
                    <a:pt x="3501" y="4268"/>
                  </a:lnTo>
                  <a:lnTo>
                    <a:pt x="3504" y="4300"/>
                  </a:lnTo>
                  <a:lnTo>
                    <a:pt x="3510" y="4331"/>
                  </a:lnTo>
                  <a:lnTo>
                    <a:pt x="3516" y="4356"/>
                  </a:lnTo>
                  <a:lnTo>
                    <a:pt x="3529" y="4381"/>
                  </a:lnTo>
                  <a:lnTo>
                    <a:pt x="3541" y="4412"/>
                  </a:lnTo>
                  <a:lnTo>
                    <a:pt x="3557" y="4434"/>
                  </a:lnTo>
                  <a:lnTo>
                    <a:pt x="3576" y="4456"/>
                  </a:lnTo>
                  <a:lnTo>
                    <a:pt x="3601" y="4474"/>
                  </a:lnTo>
                  <a:lnTo>
                    <a:pt x="3623" y="4490"/>
                  </a:lnTo>
                  <a:lnTo>
                    <a:pt x="3648" y="4493"/>
                  </a:lnTo>
                  <a:lnTo>
                    <a:pt x="3679" y="4490"/>
                  </a:lnTo>
                  <a:lnTo>
                    <a:pt x="3710" y="4487"/>
                  </a:lnTo>
                  <a:lnTo>
                    <a:pt x="3735" y="4490"/>
                  </a:lnTo>
                  <a:lnTo>
                    <a:pt x="3744" y="4490"/>
                  </a:lnTo>
                  <a:lnTo>
                    <a:pt x="3754" y="4493"/>
                  </a:lnTo>
                  <a:lnTo>
                    <a:pt x="3766" y="4496"/>
                  </a:lnTo>
                  <a:lnTo>
                    <a:pt x="3776" y="4503"/>
                  </a:lnTo>
                  <a:lnTo>
                    <a:pt x="3782" y="4506"/>
                  </a:lnTo>
                  <a:lnTo>
                    <a:pt x="3785" y="4512"/>
                  </a:lnTo>
                  <a:lnTo>
                    <a:pt x="3788" y="4518"/>
                  </a:lnTo>
                  <a:lnTo>
                    <a:pt x="3791" y="4527"/>
                  </a:lnTo>
                  <a:lnTo>
                    <a:pt x="3791" y="4534"/>
                  </a:lnTo>
                  <a:lnTo>
                    <a:pt x="3794" y="4543"/>
                  </a:lnTo>
                  <a:lnTo>
                    <a:pt x="3797" y="4546"/>
                  </a:lnTo>
                  <a:lnTo>
                    <a:pt x="3816" y="4552"/>
                  </a:lnTo>
                  <a:lnTo>
                    <a:pt x="3841" y="4556"/>
                  </a:lnTo>
                  <a:lnTo>
                    <a:pt x="3866" y="4559"/>
                  </a:lnTo>
                  <a:lnTo>
                    <a:pt x="3885" y="4565"/>
                  </a:lnTo>
                  <a:lnTo>
                    <a:pt x="3894" y="4574"/>
                  </a:lnTo>
                  <a:lnTo>
                    <a:pt x="3897" y="4584"/>
                  </a:lnTo>
                  <a:lnTo>
                    <a:pt x="3904" y="4593"/>
                  </a:lnTo>
                  <a:lnTo>
                    <a:pt x="3907" y="4606"/>
                  </a:lnTo>
                  <a:lnTo>
                    <a:pt x="3910" y="4615"/>
                  </a:lnTo>
                  <a:lnTo>
                    <a:pt x="3910" y="4621"/>
                  </a:lnTo>
                  <a:lnTo>
                    <a:pt x="3910" y="4631"/>
                  </a:lnTo>
                  <a:lnTo>
                    <a:pt x="3910" y="4640"/>
                  </a:lnTo>
                  <a:lnTo>
                    <a:pt x="3907" y="4649"/>
                  </a:lnTo>
                  <a:lnTo>
                    <a:pt x="3907" y="4659"/>
                  </a:lnTo>
                  <a:lnTo>
                    <a:pt x="3916" y="4684"/>
                  </a:lnTo>
                  <a:lnTo>
                    <a:pt x="3929" y="4715"/>
                  </a:lnTo>
                  <a:lnTo>
                    <a:pt x="3938" y="4740"/>
                  </a:lnTo>
                  <a:lnTo>
                    <a:pt x="3947" y="4768"/>
                  </a:lnTo>
                  <a:lnTo>
                    <a:pt x="3954" y="4793"/>
                  </a:lnTo>
                  <a:lnTo>
                    <a:pt x="3966" y="4812"/>
                  </a:lnTo>
                  <a:lnTo>
                    <a:pt x="3979" y="4830"/>
                  </a:lnTo>
                  <a:lnTo>
                    <a:pt x="3988" y="4849"/>
                  </a:lnTo>
                  <a:lnTo>
                    <a:pt x="3991" y="4858"/>
                  </a:lnTo>
                  <a:lnTo>
                    <a:pt x="3991" y="4868"/>
                  </a:lnTo>
                  <a:lnTo>
                    <a:pt x="3991" y="4880"/>
                  </a:lnTo>
                  <a:lnTo>
                    <a:pt x="3991" y="4890"/>
                  </a:lnTo>
                  <a:lnTo>
                    <a:pt x="3988" y="4899"/>
                  </a:lnTo>
                  <a:lnTo>
                    <a:pt x="3985" y="4908"/>
                  </a:lnTo>
                  <a:lnTo>
                    <a:pt x="3982" y="4918"/>
                  </a:lnTo>
                  <a:lnTo>
                    <a:pt x="3979" y="4930"/>
                  </a:lnTo>
                  <a:lnTo>
                    <a:pt x="3972" y="4937"/>
                  </a:lnTo>
                  <a:lnTo>
                    <a:pt x="3963" y="4946"/>
                  </a:lnTo>
                  <a:lnTo>
                    <a:pt x="3954" y="4952"/>
                  </a:lnTo>
                  <a:lnTo>
                    <a:pt x="3941" y="4962"/>
                  </a:lnTo>
                  <a:lnTo>
                    <a:pt x="3932" y="4968"/>
                  </a:lnTo>
                  <a:lnTo>
                    <a:pt x="3926" y="4977"/>
                  </a:lnTo>
                  <a:lnTo>
                    <a:pt x="3922" y="4983"/>
                  </a:lnTo>
                  <a:lnTo>
                    <a:pt x="3919" y="4990"/>
                  </a:lnTo>
                  <a:lnTo>
                    <a:pt x="3916" y="4999"/>
                  </a:lnTo>
                  <a:lnTo>
                    <a:pt x="3916" y="5005"/>
                  </a:lnTo>
                  <a:lnTo>
                    <a:pt x="3916" y="5011"/>
                  </a:lnTo>
                  <a:lnTo>
                    <a:pt x="3926" y="5024"/>
                  </a:lnTo>
                  <a:lnTo>
                    <a:pt x="3944" y="5033"/>
                  </a:lnTo>
                  <a:lnTo>
                    <a:pt x="3963" y="5043"/>
                  </a:lnTo>
                  <a:lnTo>
                    <a:pt x="3972" y="5052"/>
                  </a:lnTo>
                  <a:lnTo>
                    <a:pt x="3979" y="5074"/>
                  </a:lnTo>
                  <a:lnTo>
                    <a:pt x="3975" y="5099"/>
                  </a:lnTo>
                  <a:lnTo>
                    <a:pt x="3975" y="5124"/>
                  </a:lnTo>
                  <a:lnTo>
                    <a:pt x="3975" y="5130"/>
                  </a:lnTo>
                  <a:lnTo>
                    <a:pt x="3972" y="5136"/>
                  </a:lnTo>
                  <a:lnTo>
                    <a:pt x="3972" y="5143"/>
                  </a:lnTo>
                  <a:lnTo>
                    <a:pt x="3969" y="5149"/>
                  </a:lnTo>
                  <a:lnTo>
                    <a:pt x="3963" y="5152"/>
                  </a:lnTo>
                  <a:lnTo>
                    <a:pt x="3957" y="5155"/>
                  </a:lnTo>
                  <a:lnTo>
                    <a:pt x="3947" y="5155"/>
                  </a:lnTo>
                  <a:lnTo>
                    <a:pt x="3941" y="5158"/>
                  </a:lnTo>
                  <a:lnTo>
                    <a:pt x="3922" y="5155"/>
                  </a:lnTo>
                  <a:lnTo>
                    <a:pt x="3901" y="5155"/>
                  </a:lnTo>
                  <a:lnTo>
                    <a:pt x="3882" y="5158"/>
                  </a:lnTo>
                  <a:lnTo>
                    <a:pt x="3879" y="5161"/>
                  </a:lnTo>
                  <a:lnTo>
                    <a:pt x="3876" y="5168"/>
                  </a:lnTo>
                  <a:lnTo>
                    <a:pt x="3876" y="5177"/>
                  </a:lnTo>
                  <a:lnTo>
                    <a:pt x="3872" y="5186"/>
                  </a:lnTo>
                  <a:lnTo>
                    <a:pt x="3869" y="5193"/>
                  </a:lnTo>
                  <a:lnTo>
                    <a:pt x="3866" y="5196"/>
                  </a:lnTo>
                  <a:lnTo>
                    <a:pt x="3860" y="5199"/>
                  </a:lnTo>
                  <a:lnTo>
                    <a:pt x="3854" y="5199"/>
                  </a:lnTo>
                  <a:lnTo>
                    <a:pt x="3847" y="5196"/>
                  </a:lnTo>
                  <a:lnTo>
                    <a:pt x="3838" y="5196"/>
                  </a:lnTo>
                  <a:lnTo>
                    <a:pt x="3835" y="5196"/>
                  </a:lnTo>
                  <a:lnTo>
                    <a:pt x="3829" y="5202"/>
                  </a:lnTo>
                  <a:lnTo>
                    <a:pt x="3822" y="5208"/>
                  </a:lnTo>
                  <a:lnTo>
                    <a:pt x="3816" y="5214"/>
                  </a:lnTo>
                  <a:lnTo>
                    <a:pt x="3810" y="5221"/>
                  </a:lnTo>
                  <a:lnTo>
                    <a:pt x="3804" y="5230"/>
                  </a:lnTo>
                  <a:lnTo>
                    <a:pt x="3804" y="5236"/>
                  </a:lnTo>
                  <a:lnTo>
                    <a:pt x="3807" y="5252"/>
                  </a:lnTo>
                  <a:lnTo>
                    <a:pt x="3819" y="5264"/>
                  </a:lnTo>
                  <a:lnTo>
                    <a:pt x="3832" y="5280"/>
                  </a:lnTo>
                  <a:lnTo>
                    <a:pt x="3838" y="5296"/>
                  </a:lnTo>
                  <a:lnTo>
                    <a:pt x="3841" y="5311"/>
                  </a:lnTo>
                  <a:lnTo>
                    <a:pt x="3838" y="5333"/>
                  </a:lnTo>
                  <a:lnTo>
                    <a:pt x="3838" y="5352"/>
                  </a:lnTo>
                  <a:lnTo>
                    <a:pt x="3838" y="5371"/>
                  </a:lnTo>
                  <a:lnTo>
                    <a:pt x="3844" y="5392"/>
                  </a:lnTo>
                  <a:lnTo>
                    <a:pt x="3854" y="5411"/>
                  </a:lnTo>
                  <a:lnTo>
                    <a:pt x="3860" y="5414"/>
                  </a:lnTo>
                  <a:lnTo>
                    <a:pt x="3866" y="5417"/>
                  </a:lnTo>
                  <a:lnTo>
                    <a:pt x="3879" y="5421"/>
                  </a:lnTo>
                  <a:lnTo>
                    <a:pt x="3888" y="5424"/>
                  </a:lnTo>
                  <a:lnTo>
                    <a:pt x="3897" y="5427"/>
                  </a:lnTo>
                  <a:lnTo>
                    <a:pt x="3904" y="5430"/>
                  </a:lnTo>
                  <a:lnTo>
                    <a:pt x="3910" y="5439"/>
                  </a:lnTo>
                  <a:lnTo>
                    <a:pt x="3919" y="5449"/>
                  </a:lnTo>
                  <a:lnTo>
                    <a:pt x="3926" y="5461"/>
                  </a:lnTo>
                  <a:lnTo>
                    <a:pt x="3935" y="5471"/>
                  </a:lnTo>
                  <a:lnTo>
                    <a:pt x="3941" y="5477"/>
                  </a:lnTo>
                  <a:lnTo>
                    <a:pt x="3960" y="5480"/>
                  </a:lnTo>
                  <a:lnTo>
                    <a:pt x="3979" y="5480"/>
                  </a:lnTo>
                  <a:lnTo>
                    <a:pt x="3997" y="5477"/>
                  </a:lnTo>
                  <a:lnTo>
                    <a:pt x="4004" y="5471"/>
                  </a:lnTo>
                  <a:lnTo>
                    <a:pt x="4010" y="5467"/>
                  </a:lnTo>
                  <a:lnTo>
                    <a:pt x="4016" y="5458"/>
                  </a:lnTo>
                  <a:lnTo>
                    <a:pt x="4022" y="5455"/>
                  </a:lnTo>
                  <a:lnTo>
                    <a:pt x="4029" y="5449"/>
                  </a:lnTo>
                  <a:lnTo>
                    <a:pt x="4050" y="5446"/>
                  </a:lnTo>
                  <a:lnTo>
                    <a:pt x="4072" y="5446"/>
                  </a:lnTo>
                  <a:lnTo>
                    <a:pt x="4094" y="5449"/>
                  </a:lnTo>
                  <a:lnTo>
                    <a:pt x="4113" y="5455"/>
                  </a:lnTo>
                  <a:lnTo>
                    <a:pt x="4138" y="5467"/>
                  </a:lnTo>
                  <a:lnTo>
                    <a:pt x="4153" y="5480"/>
                  </a:lnTo>
                  <a:lnTo>
                    <a:pt x="4160" y="5486"/>
                  </a:lnTo>
                  <a:lnTo>
                    <a:pt x="4163" y="5492"/>
                  </a:lnTo>
                  <a:lnTo>
                    <a:pt x="4166" y="5502"/>
                  </a:lnTo>
                  <a:lnTo>
                    <a:pt x="4169" y="5508"/>
                  </a:lnTo>
                  <a:lnTo>
                    <a:pt x="4172" y="5514"/>
                  </a:lnTo>
                  <a:lnTo>
                    <a:pt x="4191" y="5524"/>
                  </a:lnTo>
                  <a:lnTo>
                    <a:pt x="4219" y="5530"/>
                  </a:lnTo>
                  <a:lnTo>
                    <a:pt x="4238" y="5536"/>
                  </a:lnTo>
                  <a:lnTo>
                    <a:pt x="4244" y="5542"/>
                  </a:lnTo>
                  <a:lnTo>
                    <a:pt x="4250" y="5549"/>
                  </a:lnTo>
                  <a:lnTo>
                    <a:pt x="4257" y="5558"/>
                  </a:lnTo>
                  <a:lnTo>
                    <a:pt x="4263" y="5567"/>
                  </a:lnTo>
                  <a:lnTo>
                    <a:pt x="4266" y="5574"/>
                  </a:lnTo>
                  <a:lnTo>
                    <a:pt x="4266" y="5583"/>
                  </a:lnTo>
                  <a:lnTo>
                    <a:pt x="4266" y="5589"/>
                  </a:lnTo>
                  <a:lnTo>
                    <a:pt x="4260" y="5595"/>
                  </a:lnTo>
                  <a:lnTo>
                    <a:pt x="4250" y="5602"/>
                  </a:lnTo>
                  <a:lnTo>
                    <a:pt x="4244" y="5608"/>
                  </a:lnTo>
                  <a:lnTo>
                    <a:pt x="4235" y="5611"/>
                  </a:lnTo>
                  <a:lnTo>
                    <a:pt x="4228" y="5617"/>
                  </a:lnTo>
                  <a:lnTo>
                    <a:pt x="4213" y="5624"/>
                  </a:lnTo>
                  <a:lnTo>
                    <a:pt x="4194" y="5630"/>
                  </a:lnTo>
                  <a:lnTo>
                    <a:pt x="4175" y="5633"/>
                  </a:lnTo>
                  <a:lnTo>
                    <a:pt x="4157" y="5630"/>
                  </a:lnTo>
                  <a:lnTo>
                    <a:pt x="4132" y="5617"/>
                  </a:lnTo>
                  <a:lnTo>
                    <a:pt x="4110" y="5611"/>
                  </a:lnTo>
                  <a:lnTo>
                    <a:pt x="4091" y="5608"/>
                  </a:lnTo>
                  <a:lnTo>
                    <a:pt x="4066" y="5605"/>
                  </a:lnTo>
                  <a:lnTo>
                    <a:pt x="4044" y="5605"/>
                  </a:lnTo>
                  <a:lnTo>
                    <a:pt x="4025" y="5611"/>
                  </a:lnTo>
                  <a:lnTo>
                    <a:pt x="4019" y="5614"/>
                  </a:lnTo>
                  <a:lnTo>
                    <a:pt x="4016" y="5620"/>
                  </a:lnTo>
                  <a:lnTo>
                    <a:pt x="4013" y="5627"/>
                  </a:lnTo>
                  <a:lnTo>
                    <a:pt x="4010" y="5636"/>
                  </a:lnTo>
                  <a:lnTo>
                    <a:pt x="4007" y="5639"/>
                  </a:lnTo>
                  <a:lnTo>
                    <a:pt x="3985" y="5661"/>
                  </a:lnTo>
                  <a:lnTo>
                    <a:pt x="3957" y="5683"/>
                  </a:lnTo>
                  <a:lnTo>
                    <a:pt x="3935" y="5702"/>
                  </a:lnTo>
                  <a:lnTo>
                    <a:pt x="3935" y="5720"/>
                  </a:lnTo>
                  <a:lnTo>
                    <a:pt x="3935" y="5739"/>
                  </a:lnTo>
                  <a:lnTo>
                    <a:pt x="3935" y="5758"/>
                  </a:lnTo>
                  <a:lnTo>
                    <a:pt x="3932" y="5777"/>
                  </a:lnTo>
                  <a:lnTo>
                    <a:pt x="3929" y="5798"/>
                  </a:lnTo>
                  <a:lnTo>
                    <a:pt x="3919" y="5814"/>
                  </a:lnTo>
                  <a:lnTo>
                    <a:pt x="3913" y="5817"/>
                  </a:lnTo>
                  <a:lnTo>
                    <a:pt x="3907" y="5817"/>
                  </a:lnTo>
                  <a:lnTo>
                    <a:pt x="3901" y="5814"/>
                  </a:lnTo>
                  <a:lnTo>
                    <a:pt x="3891" y="5814"/>
                  </a:lnTo>
                  <a:lnTo>
                    <a:pt x="3885" y="5814"/>
                  </a:lnTo>
                  <a:lnTo>
                    <a:pt x="3879" y="5814"/>
                  </a:lnTo>
                  <a:lnTo>
                    <a:pt x="3869" y="5817"/>
                  </a:lnTo>
                  <a:lnTo>
                    <a:pt x="3863" y="5826"/>
                  </a:lnTo>
                  <a:lnTo>
                    <a:pt x="3854" y="5833"/>
                  </a:lnTo>
                  <a:lnTo>
                    <a:pt x="3844" y="5839"/>
                  </a:lnTo>
                  <a:lnTo>
                    <a:pt x="3838" y="5842"/>
                  </a:lnTo>
                  <a:lnTo>
                    <a:pt x="3819" y="5842"/>
                  </a:lnTo>
                  <a:lnTo>
                    <a:pt x="3797" y="5833"/>
                  </a:lnTo>
                  <a:lnTo>
                    <a:pt x="3782" y="5823"/>
                  </a:lnTo>
                  <a:lnTo>
                    <a:pt x="3760" y="5817"/>
                  </a:lnTo>
                  <a:lnTo>
                    <a:pt x="3738" y="5808"/>
                  </a:lnTo>
                  <a:lnTo>
                    <a:pt x="3716" y="5802"/>
                  </a:lnTo>
                  <a:lnTo>
                    <a:pt x="3698" y="5805"/>
                  </a:lnTo>
                  <a:lnTo>
                    <a:pt x="3676" y="5811"/>
                  </a:lnTo>
                  <a:lnTo>
                    <a:pt x="3654" y="5817"/>
                  </a:lnTo>
                  <a:lnTo>
                    <a:pt x="3632" y="5823"/>
                  </a:lnTo>
                  <a:lnTo>
                    <a:pt x="3626" y="5826"/>
                  </a:lnTo>
                  <a:lnTo>
                    <a:pt x="3613" y="5830"/>
                  </a:lnTo>
                  <a:lnTo>
                    <a:pt x="3604" y="5833"/>
                  </a:lnTo>
                  <a:lnTo>
                    <a:pt x="3591" y="5836"/>
                  </a:lnTo>
                  <a:lnTo>
                    <a:pt x="3585" y="5836"/>
                  </a:lnTo>
                  <a:lnTo>
                    <a:pt x="3576" y="5836"/>
                  </a:lnTo>
                  <a:lnTo>
                    <a:pt x="3563" y="5836"/>
                  </a:lnTo>
                  <a:lnTo>
                    <a:pt x="3551" y="5833"/>
                  </a:lnTo>
                  <a:lnTo>
                    <a:pt x="3557" y="5826"/>
                  </a:lnTo>
                  <a:lnTo>
                    <a:pt x="3557" y="5820"/>
                  </a:lnTo>
                  <a:lnTo>
                    <a:pt x="3554" y="5814"/>
                  </a:lnTo>
                  <a:lnTo>
                    <a:pt x="3554" y="5805"/>
                  </a:lnTo>
                  <a:lnTo>
                    <a:pt x="3551" y="5795"/>
                  </a:lnTo>
                  <a:lnTo>
                    <a:pt x="3548" y="5789"/>
                  </a:lnTo>
                  <a:lnTo>
                    <a:pt x="3545" y="5780"/>
                  </a:lnTo>
                  <a:lnTo>
                    <a:pt x="3541" y="5761"/>
                  </a:lnTo>
                  <a:lnTo>
                    <a:pt x="3535" y="5739"/>
                  </a:lnTo>
                  <a:lnTo>
                    <a:pt x="3529" y="5714"/>
                  </a:lnTo>
                  <a:lnTo>
                    <a:pt x="3520" y="5698"/>
                  </a:lnTo>
                  <a:lnTo>
                    <a:pt x="3501" y="5686"/>
                  </a:lnTo>
                  <a:lnTo>
                    <a:pt x="3473" y="5680"/>
                  </a:lnTo>
                  <a:lnTo>
                    <a:pt x="3445" y="5673"/>
                  </a:lnTo>
                  <a:lnTo>
                    <a:pt x="3423" y="5677"/>
                  </a:lnTo>
                  <a:lnTo>
                    <a:pt x="3417" y="5680"/>
                  </a:lnTo>
                  <a:lnTo>
                    <a:pt x="3413" y="5686"/>
                  </a:lnTo>
                  <a:lnTo>
                    <a:pt x="3410" y="5692"/>
                  </a:lnTo>
                  <a:lnTo>
                    <a:pt x="3404" y="5695"/>
                  </a:lnTo>
                  <a:lnTo>
                    <a:pt x="3382" y="5705"/>
                  </a:lnTo>
                  <a:lnTo>
                    <a:pt x="3351" y="5708"/>
                  </a:lnTo>
                  <a:lnTo>
                    <a:pt x="3320" y="5711"/>
                  </a:lnTo>
                  <a:lnTo>
                    <a:pt x="3292" y="5708"/>
                  </a:lnTo>
                  <a:lnTo>
                    <a:pt x="3270" y="5698"/>
                  </a:lnTo>
                  <a:lnTo>
                    <a:pt x="3260" y="5683"/>
                  </a:lnTo>
                  <a:lnTo>
                    <a:pt x="3254" y="5661"/>
                  </a:lnTo>
                  <a:lnTo>
                    <a:pt x="3248" y="5636"/>
                  </a:lnTo>
                  <a:lnTo>
                    <a:pt x="3239" y="5620"/>
                  </a:lnTo>
                  <a:lnTo>
                    <a:pt x="3232" y="5617"/>
                  </a:lnTo>
                  <a:lnTo>
                    <a:pt x="3223" y="5617"/>
                  </a:lnTo>
                  <a:lnTo>
                    <a:pt x="3214" y="5617"/>
                  </a:lnTo>
                  <a:lnTo>
                    <a:pt x="3204" y="5617"/>
                  </a:lnTo>
                  <a:lnTo>
                    <a:pt x="3195" y="5620"/>
                  </a:lnTo>
                  <a:lnTo>
                    <a:pt x="3173" y="5624"/>
                  </a:lnTo>
                  <a:lnTo>
                    <a:pt x="3142" y="5630"/>
                  </a:lnTo>
                  <a:lnTo>
                    <a:pt x="3117" y="5636"/>
                  </a:lnTo>
                  <a:lnTo>
                    <a:pt x="3095" y="5649"/>
                  </a:lnTo>
                  <a:lnTo>
                    <a:pt x="3092" y="5655"/>
                  </a:lnTo>
                  <a:lnTo>
                    <a:pt x="3089" y="5661"/>
                  </a:lnTo>
                  <a:lnTo>
                    <a:pt x="3086" y="5670"/>
                  </a:lnTo>
                  <a:lnTo>
                    <a:pt x="3082" y="5680"/>
                  </a:lnTo>
                  <a:lnTo>
                    <a:pt x="3082" y="5689"/>
                  </a:lnTo>
                  <a:lnTo>
                    <a:pt x="3076" y="5695"/>
                  </a:lnTo>
                  <a:lnTo>
                    <a:pt x="3073" y="5705"/>
                  </a:lnTo>
                  <a:lnTo>
                    <a:pt x="3064" y="5711"/>
                  </a:lnTo>
                  <a:lnTo>
                    <a:pt x="3057" y="5720"/>
                  </a:lnTo>
                  <a:lnTo>
                    <a:pt x="3048" y="5727"/>
                  </a:lnTo>
                  <a:lnTo>
                    <a:pt x="3039" y="5733"/>
                  </a:lnTo>
                  <a:lnTo>
                    <a:pt x="3032" y="5736"/>
                  </a:lnTo>
                  <a:lnTo>
                    <a:pt x="3026" y="5736"/>
                  </a:lnTo>
                  <a:lnTo>
                    <a:pt x="3017" y="5733"/>
                  </a:lnTo>
                  <a:lnTo>
                    <a:pt x="3007" y="5730"/>
                  </a:lnTo>
                  <a:lnTo>
                    <a:pt x="3001" y="5727"/>
                  </a:lnTo>
                  <a:lnTo>
                    <a:pt x="2995" y="5723"/>
                  </a:lnTo>
                  <a:lnTo>
                    <a:pt x="2992" y="5720"/>
                  </a:lnTo>
                  <a:lnTo>
                    <a:pt x="2992" y="5708"/>
                  </a:lnTo>
                  <a:lnTo>
                    <a:pt x="2986" y="5689"/>
                  </a:lnTo>
                  <a:lnTo>
                    <a:pt x="2979" y="5664"/>
                  </a:lnTo>
                  <a:lnTo>
                    <a:pt x="2973" y="5639"/>
                  </a:lnTo>
                  <a:lnTo>
                    <a:pt x="2964" y="5620"/>
                  </a:lnTo>
                  <a:lnTo>
                    <a:pt x="2951" y="5599"/>
                  </a:lnTo>
                  <a:lnTo>
                    <a:pt x="2936" y="5574"/>
                  </a:lnTo>
                  <a:lnTo>
                    <a:pt x="2917" y="5552"/>
                  </a:lnTo>
                  <a:lnTo>
                    <a:pt x="2898" y="5533"/>
                  </a:lnTo>
                  <a:lnTo>
                    <a:pt x="2879" y="5517"/>
                  </a:lnTo>
                  <a:lnTo>
                    <a:pt x="2851" y="5499"/>
                  </a:lnTo>
                  <a:lnTo>
                    <a:pt x="2826" y="5483"/>
                  </a:lnTo>
                  <a:lnTo>
                    <a:pt x="2801" y="5477"/>
                  </a:lnTo>
                  <a:lnTo>
                    <a:pt x="2786" y="5483"/>
                  </a:lnTo>
                  <a:lnTo>
                    <a:pt x="2764" y="5492"/>
                  </a:lnTo>
                  <a:lnTo>
                    <a:pt x="2748" y="5499"/>
                  </a:lnTo>
                  <a:lnTo>
                    <a:pt x="2726" y="5489"/>
                  </a:lnTo>
                  <a:lnTo>
                    <a:pt x="2701" y="5471"/>
                  </a:lnTo>
                  <a:lnTo>
                    <a:pt x="2676" y="5452"/>
                  </a:lnTo>
                  <a:lnTo>
                    <a:pt x="2655" y="5442"/>
                  </a:lnTo>
                  <a:lnTo>
                    <a:pt x="2642" y="5449"/>
                  </a:lnTo>
                  <a:lnTo>
                    <a:pt x="2623" y="5464"/>
                  </a:lnTo>
                  <a:lnTo>
                    <a:pt x="2608" y="5477"/>
                  </a:lnTo>
                  <a:lnTo>
                    <a:pt x="2592" y="5483"/>
                  </a:lnTo>
                  <a:lnTo>
                    <a:pt x="2570" y="5480"/>
                  </a:lnTo>
                  <a:lnTo>
                    <a:pt x="2542" y="5471"/>
                  </a:lnTo>
                  <a:lnTo>
                    <a:pt x="2523" y="5458"/>
                  </a:lnTo>
                  <a:lnTo>
                    <a:pt x="2505" y="5442"/>
                  </a:lnTo>
                  <a:lnTo>
                    <a:pt x="2489" y="5417"/>
                  </a:lnTo>
                  <a:lnTo>
                    <a:pt x="2470" y="5389"/>
                  </a:lnTo>
                  <a:lnTo>
                    <a:pt x="2458" y="5371"/>
                  </a:lnTo>
                  <a:lnTo>
                    <a:pt x="2452" y="5361"/>
                  </a:lnTo>
                  <a:lnTo>
                    <a:pt x="2442" y="5352"/>
                  </a:lnTo>
                  <a:lnTo>
                    <a:pt x="2436" y="5342"/>
                  </a:lnTo>
                  <a:lnTo>
                    <a:pt x="2430" y="5333"/>
                  </a:lnTo>
                  <a:lnTo>
                    <a:pt x="2420" y="5327"/>
                  </a:lnTo>
                  <a:lnTo>
                    <a:pt x="2399" y="5314"/>
                  </a:lnTo>
                  <a:lnTo>
                    <a:pt x="2367" y="5302"/>
                  </a:lnTo>
                  <a:lnTo>
                    <a:pt x="2342" y="5296"/>
                  </a:lnTo>
                  <a:lnTo>
                    <a:pt x="2311" y="5289"/>
                  </a:lnTo>
                  <a:lnTo>
                    <a:pt x="2277" y="5289"/>
                  </a:lnTo>
                  <a:lnTo>
                    <a:pt x="2246" y="5286"/>
                  </a:lnTo>
                  <a:lnTo>
                    <a:pt x="2217" y="5293"/>
                  </a:lnTo>
                  <a:lnTo>
                    <a:pt x="2183" y="5299"/>
                  </a:lnTo>
                  <a:lnTo>
                    <a:pt x="2152" y="5305"/>
                  </a:lnTo>
                  <a:lnTo>
                    <a:pt x="2124" y="5302"/>
                  </a:lnTo>
                  <a:lnTo>
                    <a:pt x="2096" y="5289"/>
                  </a:lnTo>
                  <a:lnTo>
                    <a:pt x="2064" y="5268"/>
                  </a:lnTo>
                  <a:lnTo>
                    <a:pt x="2033" y="5243"/>
                  </a:lnTo>
                  <a:lnTo>
                    <a:pt x="2008" y="5221"/>
                  </a:lnTo>
                  <a:lnTo>
                    <a:pt x="1989" y="5208"/>
                  </a:lnTo>
                  <a:lnTo>
                    <a:pt x="1971" y="5193"/>
                  </a:lnTo>
                  <a:lnTo>
                    <a:pt x="1952" y="5177"/>
                  </a:lnTo>
                  <a:lnTo>
                    <a:pt x="1933" y="5168"/>
                  </a:lnTo>
                  <a:lnTo>
                    <a:pt x="1914" y="5165"/>
                  </a:lnTo>
                  <a:lnTo>
                    <a:pt x="1893" y="5168"/>
                  </a:lnTo>
                  <a:lnTo>
                    <a:pt x="1871" y="5168"/>
                  </a:lnTo>
                  <a:lnTo>
                    <a:pt x="1855" y="5168"/>
                  </a:lnTo>
                  <a:lnTo>
                    <a:pt x="1833" y="5158"/>
                  </a:lnTo>
                  <a:lnTo>
                    <a:pt x="1815" y="5146"/>
                  </a:lnTo>
                  <a:lnTo>
                    <a:pt x="1796" y="5136"/>
                  </a:lnTo>
                  <a:lnTo>
                    <a:pt x="1771" y="5133"/>
                  </a:lnTo>
                  <a:lnTo>
                    <a:pt x="1743" y="5130"/>
                  </a:lnTo>
                  <a:lnTo>
                    <a:pt x="1715" y="5130"/>
                  </a:lnTo>
                  <a:lnTo>
                    <a:pt x="1693" y="5136"/>
                  </a:lnTo>
                  <a:lnTo>
                    <a:pt x="1674" y="5152"/>
                  </a:lnTo>
                  <a:lnTo>
                    <a:pt x="1658" y="5177"/>
                  </a:lnTo>
                  <a:lnTo>
                    <a:pt x="1646" y="5202"/>
                  </a:lnTo>
                  <a:lnTo>
                    <a:pt x="1640" y="5227"/>
                  </a:lnTo>
                  <a:lnTo>
                    <a:pt x="1643" y="5252"/>
                  </a:lnTo>
                  <a:lnTo>
                    <a:pt x="1655" y="5283"/>
                  </a:lnTo>
                  <a:lnTo>
                    <a:pt x="1668" y="5314"/>
                  </a:lnTo>
                  <a:lnTo>
                    <a:pt x="1674" y="5339"/>
                  </a:lnTo>
                  <a:lnTo>
                    <a:pt x="1677" y="5367"/>
                  </a:lnTo>
                  <a:lnTo>
                    <a:pt x="1677" y="5405"/>
                  </a:lnTo>
                  <a:lnTo>
                    <a:pt x="1677" y="5433"/>
                  </a:lnTo>
                  <a:lnTo>
                    <a:pt x="1677" y="5442"/>
                  </a:lnTo>
                  <a:lnTo>
                    <a:pt x="1677" y="5455"/>
                  </a:lnTo>
                  <a:lnTo>
                    <a:pt x="1677" y="5467"/>
                  </a:lnTo>
                  <a:lnTo>
                    <a:pt x="1677" y="5477"/>
                  </a:lnTo>
                  <a:lnTo>
                    <a:pt x="1677" y="5480"/>
                  </a:lnTo>
                  <a:lnTo>
                    <a:pt x="1677" y="5486"/>
                  </a:lnTo>
                  <a:lnTo>
                    <a:pt x="1674" y="5489"/>
                  </a:lnTo>
                  <a:lnTo>
                    <a:pt x="1674" y="5495"/>
                  </a:lnTo>
                  <a:lnTo>
                    <a:pt x="1668" y="5499"/>
                  </a:lnTo>
                  <a:lnTo>
                    <a:pt x="1662" y="5499"/>
                  </a:lnTo>
                  <a:lnTo>
                    <a:pt x="1652" y="5502"/>
                  </a:lnTo>
                  <a:lnTo>
                    <a:pt x="1640" y="5502"/>
                  </a:lnTo>
                  <a:lnTo>
                    <a:pt x="1605" y="5499"/>
                  </a:lnTo>
                  <a:lnTo>
                    <a:pt x="1574" y="5489"/>
                  </a:lnTo>
                  <a:lnTo>
                    <a:pt x="1552" y="5486"/>
                  </a:lnTo>
                  <a:lnTo>
                    <a:pt x="1546" y="5492"/>
                  </a:lnTo>
                  <a:lnTo>
                    <a:pt x="1540" y="5499"/>
                  </a:lnTo>
                  <a:lnTo>
                    <a:pt x="1534" y="5508"/>
                  </a:lnTo>
                  <a:lnTo>
                    <a:pt x="1527" y="5517"/>
                  </a:lnTo>
                  <a:lnTo>
                    <a:pt x="1521" y="5524"/>
                  </a:lnTo>
                  <a:lnTo>
                    <a:pt x="1515" y="5527"/>
                  </a:lnTo>
                  <a:lnTo>
                    <a:pt x="1505" y="5524"/>
                  </a:lnTo>
                  <a:lnTo>
                    <a:pt x="1499" y="5517"/>
                  </a:lnTo>
                  <a:lnTo>
                    <a:pt x="1493" y="5508"/>
                  </a:lnTo>
                  <a:lnTo>
                    <a:pt x="1487" y="5495"/>
                  </a:lnTo>
                  <a:lnTo>
                    <a:pt x="1480" y="5486"/>
                  </a:lnTo>
                  <a:lnTo>
                    <a:pt x="1474" y="5480"/>
                  </a:lnTo>
                  <a:lnTo>
                    <a:pt x="1468" y="5477"/>
                  </a:lnTo>
                  <a:lnTo>
                    <a:pt x="1462" y="5477"/>
                  </a:lnTo>
                  <a:lnTo>
                    <a:pt x="1455" y="5483"/>
                  </a:lnTo>
                  <a:lnTo>
                    <a:pt x="1449" y="5489"/>
                  </a:lnTo>
                  <a:lnTo>
                    <a:pt x="1443" y="5495"/>
                  </a:lnTo>
                  <a:lnTo>
                    <a:pt x="1437" y="5499"/>
                  </a:lnTo>
                  <a:lnTo>
                    <a:pt x="1430" y="5502"/>
                  </a:lnTo>
                  <a:lnTo>
                    <a:pt x="1409" y="5505"/>
                  </a:lnTo>
                  <a:lnTo>
                    <a:pt x="1381" y="5505"/>
                  </a:lnTo>
                  <a:lnTo>
                    <a:pt x="1359" y="5502"/>
                  </a:lnTo>
                  <a:lnTo>
                    <a:pt x="1349" y="5499"/>
                  </a:lnTo>
                  <a:lnTo>
                    <a:pt x="1343" y="5492"/>
                  </a:lnTo>
                  <a:lnTo>
                    <a:pt x="1334" y="5483"/>
                  </a:lnTo>
                  <a:lnTo>
                    <a:pt x="1324" y="5477"/>
                  </a:lnTo>
                  <a:lnTo>
                    <a:pt x="1318" y="5471"/>
                  </a:lnTo>
                  <a:lnTo>
                    <a:pt x="1306" y="5471"/>
                  </a:lnTo>
                  <a:lnTo>
                    <a:pt x="1290" y="5474"/>
                  </a:lnTo>
                  <a:lnTo>
                    <a:pt x="1274" y="5477"/>
                  </a:lnTo>
                  <a:lnTo>
                    <a:pt x="1262" y="5477"/>
                  </a:lnTo>
                  <a:lnTo>
                    <a:pt x="1256" y="5474"/>
                  </a:lnTo>
                  <a:lnTo>
                    <a:pt x="1252" y="5464"/>
                  </a:lnTo>
                  <a:lnTo>
                    <a:pt x="1246" y="5458"/>
                  </a:lnTo>
                  <a:lnTo>
                    <a:pt x="1243" y="5449"/>
                  </a:lnTo>
                  <a:lnTo>
                    <a:pt x="1237" y="5439"/>
                  </a:lnTo>
                  <a:lnTo>
                    <a:pt x="1234" y="5436"/>
                  </a:lnTo>
                  <a:lnTo>
                    <a:pt x="1218" y="5430"/>
                  </a:lnTo>
                  <a:lnTo>
                    <a:pt x="1196" y="5430"/>
                  </a:lnTo>
                  <a:lnTo>
                    <a:pt x="1178" y="5430"/>
                  </a:lnTo>
                  <a:lnTo>
                    <a:pt x="1171" y="5433"/>
                  </a:lnTo>
                  <a:lnTo>
                    <a:pt x="1162" y="5436"/>
                  </a:lnTo>
                  <a:lnTo>
                    <a:pt x="1153" y="5439"/>
                  </a:lnTo>
                  <a:lnTo>
                    <a:pt x="1143" y="5446"/>
                  </a:lnTo>
                  <a:lnTo>
                    <a:pt x="1137" y="5449"/>
                  </a:lnTo>
                  <a:lnTo>
                    <a:pt x="1124" y="5464"/>
                  </a:lnTo>
                  <a:lnTo>
                    <a:pt x="1118" y="5483"/>
                  </a:lnTo>
                  <a:lnTo>
                    <a:pt x="1109" y="5505"/>
                  </a:lnTo>
                  <a:lnTo>
                    <a:pt x="1096" y="5517"/>
                  </a:lnTo>
                  <a:lnTo>
                    <a:pt x="1084" y="5524"/>
                  </a:lnTo>
                  <a:lnTo>
                    <a:pt x="1065" y="5530"/>
                  </a:lnTo>
                  <a:lnTo>
                    <a:pt x="1046" y="5533"/>
                  </a:lnTo>
                  <a:lnTo>
                    <a:pt x="1031" y="5530"/>
                  </a:lnTo>
                  <a:lnTo>
                    <a:pt x="1018" y="5520"/>
                  </a:lnTo>
                  <a:lnTo>
                    <a:pt x="1009" y="5502"/>
                  </a:lnTo>
                  <a:lnTo>
                    <a:pt x="1000" y="5480"/>
                  </a:lnTo>
                  <a:lnTo>
                    <a:pt x="993" y="5464"/>
                  </a:lnTo>
                  <a:lnTo>
                    <a:pt x="987" y="5449"/>
                  </a:lnTo>
                  <a:lnTo>
                    <a:pt x="981" y="5427"/>
                  </a:lnTo>
                  <a:lnTo>
                    <a:pt x="971" y="5414"/>
                  </a:lnTo>
                  <a:lnTo>
                    <a:pt x="953" y="5405"/>
                  </a:lnTo>
                  <a:lnTo>
                    <a:pt x="928" y="5402"/>
                  </a:lnTo>
                  <a:lnTo>
                    <a:pt x="900" y="5402"/>
                  </a:lnTo>
                  <a:lnTo>
                    <a:pt x="875" y="5405"/>
                  </a:lnTo>
                  <a:lnTo>
                    <a:pt x="853" y="5405"/>
                  </a:lnTo>
                  <a:lnTo>
                    <a:pt x="828" y="5405"/>
                  </a:lnTo>
                  <a:lnTo>
                    <a:pt x="797" y="5405"/>
                  </a:lnTo>
                  <a:lnTo>
                    <a:pt x="765" y="5408"/>
                  </a:lnTo>
                  <a:lnTo>
                    <a:pt x="743" y="5414"/>
                  </a:lnTo>
                  <a:lnTo>
                    <a:pt x="722" y="5424"/>
                  </a:lnTo>
                  <a:lnTo>
                    <a:pt x="700" y="5439"/>
                  </a:lnTo>
                  <a:lnTo>
                    <a:pt x="681" y="5455"/>
                  </a:lnTo>
                  <a:lnTo>
                    <a:pt x="659" y="5464"/>
                  </a:lnTo>
                  <a:lnTo>
                    <a:pt x="637" y="5480"/>
                  </a:lnTo>
                  <a:lnTo>
                    <a:pt x="609" y="5492"/>
                  </a:lnTo>
                  <a:lnTo>
                    <a:pt x="587" y="5499"/>
                  </a:lnTo>
                  <a:lnTo>
                    <a:pt x="562" y="5505"/>
                  </a:lnTo>
                  <a:lnTo>
                    <a:pt x="528" y="5508"/>
                  </a:lnTo>
                  <a:lnTo>
                    <a:pt x="497" y="5505"/>
                  </a:lnTo>
                  <a:lnTo>
                    <a:pt x="472" y="5499"/>
                  </a:lnTo>
                  <a:lnTo>
                    <a:pt x="453" y="5486"/>
                  </a:lnTo>
                  <a:lnTo>
                    <a:pt x="434" y="5461"/>
                  </a:lnTo>
                  <a:lnTo>
                    <a:pt x="419" y="5436"/>
                  </a:lnTo>
                  <a:lnTo>
                    <a:pt x="403" y="5417"/>
                  </a:lnTo>
                  <a:lnTo>
                    <a:pt x="384" y="5408"/>
                  </a:lnTo>
                  <a:lnTo>
                    <a:pt x="359" y="5396"/>
                  </a:lnTo>
                  <a:lnTo>
                    <a:pt x="344" y="5383"/>
                  </a:lnTo>
                  <a:lnTo>
                    <a:pt x="334" y="5361"/>
                  </a:lnTo>
                  <a:lnTo>
                    <a:pt x="331" y="5333"/>
                  </a:lnTo>
                  <a:lnTo>
                    <a:pt x="328" y="5305"/>
                  </a:lnTo>
                  <a:lnTo>
                    <a:pt x="322" y="5286"/>
                  </a:lnTo>
                  <a:lnTo>
                    <a:pt x="303" y="5271"/>
                  </a:lnTo>
                  <a:lnTo>
                    <a:pt x="278" y="5258"/>
                  </a:lnTo>
                  <a:lnTo>
                    <a:pt x="253" y="5246"/>
                  </a:lnTo>
                  <a:lnTo>
                    <a:pt x="231" y="5236"/>
                  </a:lnTo>
                  <a:lnTo>
                    <a:pt x="206" y="5227"/>
                  </a:lnTo>
                  <a:lnTo>
                    <a:pt x="178" y="5218"/>
                  </a:lnTo>
                  <a:lnTo>
                    <a:pt x="156" y="5205"/>
                  </a:lnTo>
                  <a:lnTo>
                    <a:pt x="144" y="5189"/>
                  </a:lnTo>
                  <a:lnTo>
                    <a:pt x="135" y="5168"/>
                  </a:lnTo>
                  <a:lnTo>
                    <a:pt x="122" y="5146"/>
                  </a:lnTo>
                  <a:lnTo>
                    <a:pt x="110" y="5133"/>
                  </a:lnTo>
                  <a:lnTo>
                    <a:pt x="85" y="5121"/>
                  </a:lnTo>
                  <a:lnTo>
                    <a:pt x="53" y="5115"/>
                  </a:lnTo>
                  <a:lnTo>
                    <a:pt x="19" y="5115"/>
                  </a:lnTo>
                  <a:lnTo>
                    <a:pt x="10" y="5083"/>
                  </a:lnTo>
                  <a:lnTo>
                    <a:pt x="0" y="5055"/>
                  </a:lnTo>
                  <a:lnTo>
                    <a:pt x="3" y="5024"/>
                  </a:lnTo>
                  <a:lnTo>
                    <a:pt x="10" y="4983"/>
                  </a:lnTo>
                  <a:lnTo>
                    <a:pt x="19" y="4952"/>
                  </a:lnTo>
                  <a:lnTo>
                    <a:pt x="22" y="4949"/>
                  </a:lnTo>
                  <a:lnTo>
                    <a:pt x="28" y="4943"/>
                  </a:lnTo>
                  <a:lnTo>
                    <a:pt x="35" y="4937"/>
                  </a:lnTo>
                  <a:lnTo>
                    <a:pt x="41" y="4930"/>
                  </a:lnTo>
                  <a:lnTo>
                    <a:pt x="44" y="4924"/>
                  </a:lnTo>
                  <a:lnTo>
                    <a:pt x="41" y="4905"/>
                  </a:lnTo>
                  <a:lnTo>
                    <a:pt x="35" y="4883"/>
                  </a:lnTo>
                  <a:lnTo>
                    <a:pt x="28" y="4862"/>
                  </a:lnTo>
                  <a:lnTo>
                    <a:pt x="28" y="4843"/>
                  </a:lnTo>
                  <a:lnTo>
                    <a:pt x="38" y="4834"/>
                  </a:lnTo>
                  <a:lnTo>
                    <a:pt x="56" y="4824"/>
                  </a:lnTo>
                  <a:lnTo>
                    <a:pt x="72" y="4818"/>
                  </a:lnTo>
                  <a:lnTo>
                    <a:pt x="85" y="4809"/>
                  </a:lnTo>
                  <a:lnTo>
                    <a:pt x="91" y="4790"/>
                  </a:lnTo>
                  <a:lnTo>
                    <a:pt x="91" y="4765"/>
                  </a:lnTo>
                  <a:lnTo>
                    <a:pt x="94" y="4743"/>
                  </a:lnTo>
                  <a:lnTo>
                    <a:pt x="100" y="4724"/>
                  </a:lnTo>
                  <a:lnTo>
                    <a:pt x="116" y="4705"/>
                  </a:lnTo>
                  <a:lnTo>
                    <a:pt x="141" y="4687"/>
                  </a:lnTo>
                  <a:lnTo>
                    <a:pt x="166" y="4674"/>
                  </a:lnTo>
                  <a:lnTo>
                    <a:pt x="185" y="4671"/>
                  </a:lnTo>
                  <a:lnTo>
                    <a:pt x="206" y="4671"/>
                  </a:lnTo>
                  <a:lnTo>
                    <a:pt x="231" y="4671"/>
                  </a:lnTo>
                  <a:lnTo>
                    <a:pt x="244" y="4662"/>
                  </a:lnTo>
                  <a:lnTo>
                    <a:pt x="250" y="4646"/>
                  </a:lnTo>
                  <a:lnTo>
                    <a:pt x="244" y="4624"/>
                  </a:lnTo>
                  <a:lnTo>
                    <a:pt x="238" y="4602"/>
                  </a:lnTo>
                  <a:lnTo>
                    <a:pt x="231" y="4577"/>
                  </a:lnTo>
                  <a:lnTo>
                    <a:pt x="228" y="4562"/>
                  </a:lnTo>
                  <a:lnTo>
                    <a:pt x="241" y="4540"/>
                  </a:lnTo>
                  <a:lnTo>
                    <a:pt x="259" y="4515"/>
                  </a:lnTo>
                  <a:lnTo>
                    <a:pt x="284" y="4496"/>
                  </a:lnTo>
                  <a:lnTo>
                    <a:pt x="303" y="4481"/>
                  </a:lnTo>
                  <a:lnTo>
                    <a:pt x="319" y="4481"/>
                  </a:lnTo>
                  <a:lnTo>
                    <a:pt x="338" y="4484"/>
                  </a:lnTo>
                  <a:lnTo>
                    <a:pt x="356" y="4484"/>
                  </a:lnTo>
                  <a:lnTo>
                    <a:pt x="369" y="4481"/>
                  </a:lnTo>
                  <a:lnTo>
                    <a:pt x="384" y="4465"/>
                  </a:lnTo>
                  <a:lnTo>
                    <a:pt x="394" y="4440"/>
                  </a:lnTo>
                  <a:lnTo>
                    <a:pt x="403" y="4418"/>
                  </a:lnTo>
                  <a:lnTo>
                    <a:pt x="412" y="4393"/>
                  </a:lnTo>
                  <a:lnTo>
                    <a:pt x="425" y="4368"/>
                  </a:lnTo>
                  <a:lnTo>
                    <a:pt x="437" y="4346"/>
                  </a:lnTo>
                  <a:lnTo>
                    <a:pt x="447" y="4340"/>
                  </a:lnTo>
                  <a:lnTo>
                    <a:pt x="459" y="4334"/>
                  </a:lnTo>
                  <a:lnTo>
                    <a:pt x="469" y="4325"/>
                  </a:lnTo>
                  <a:lnTo>
                    <a:pt x="481" y="4318"/>
                  </a:lnTo>
                  <a:lnTo>
                    <a:pt x="487" y="4312"/>
                  </a:lnTo>
                  <a:lnTo>
                    <a:pt x="497" y="4290"/>
                  </a:lnTo>
                  <a:lnTo>
                    <a:pt x="500" y="4265"/>
                  </a:lnTo>
                  <a:lnTo>
                    <a:pt x="503" y="4240"/>
                  </a:lnTo>
                  <a:lnTo>
                    <a:pt x="506" y="4218"/>
                  </a:lnTo>
                  <a:lnTo>
                    <a:pt x="509" y="4212"/>
                  </a:lnTo>
                  <a:lnTo>
                    <a:pt x="516" y="4206"/>
                  </a:lnTo>
                  <a:lnTo>
                    <a:pt x="519" y="4200"/>
                  </a:lnTo>
                  <a:lnTo>
                    <a:pt x="522" y="4193"/>
                  </a:lnTo>
                  <a:lnTo>
                    <a:pt x="525" y="4175"/>
                  </a:lnTo>
                  <a:lnTo>
                    <a:pt x="522" y="4147"/>
                  </a:lnTo>
                  <a:lnTo>
                    <a:pt x="522" y="4125"/>
                  </a:lnTo>
                  <a:lnTo>
                    <a:pt x="525" y="4103"/>
                  </a:lnTo>
                  <a:lnTo>
                    <a:pt x="528" y="4078"/>
                  </a:lnTo>
                  <a:lnTo>
                    <a:pt x="531" y="4056"/>
                  </a:lnTo>
                  <a:lnTo>
                    <a:pt x="534" y="4037"/>
                  </a:lnTo>
                  <a:lnTo>
                    <a:pt x="537" y="4015"/>
                  </a:lnTo>
                  <a:lnTo>
                    <a:pt x="547" y="4000"/>
                  </a:lnTo>
                  <a:lnTo>
                    <a:pt x="562" y="3997"/>
                  </a:lnTo>
                  <a:lnTo>
                    <a:pt x="584" y="4000"/>
                  </a:lnTo>
                  <a:lnTo>
                    <a:pt x="606" y="4003"/>
                  </a:lnTo>
                  <a:lnTo>
                    <a:pt x="628" y="4006"/>
                  </a:lnTo>
                  <a:lnTo>
                    <a:pt x="640" y="4000"/>
                  </a:lnTo>
                  <a:lnTo>
                    <a:pt x="650" y="3984"/>
                  </a:lnTo>
                  <a:lnTo>
                    <a:pt x="653" y="3956"/>
                  </a:lnTo>
                  <a:lnTo>
                    <a:pt x="653" y="3931"/>
                  </a:lnTo>
                  <a:lnTo>
                    <a:pt x="647" y="3909"/>
                  </a:lnTo>
                  <a:lnTo>
                    <a:pt x="634" y="3894"/>
                  </a:lnTo>
                  <a:lnTo>
                    <a:pt x="615" y="3881"/>
                  </a:lnTo>
                  <a:lnTo>
                    <a:pt x="594" y="3866"/>
                  </a:lnTo>
                  <a:lnTo>
                    <a:pt x="581" y="3853"/>
                  </a:lnTo>
                  <a:lnTo>
                    <a:pt x="584" y="3831"/>
                  </a:lnTo>
                  <a:lnTo>
                    <a:pt x="590" y="3809"/>
                  </a:lnTo>
                  <a:lnTo>
                    <a:pt x="600" y="3784"/>
                  </a:lnTo>
                  <a:lnTo>
                    <a:pt x="606" y="3766"/>
                  </a:lnTo>
                  <a:lnTo>
                    <a:pt x="600" y="3737"/>
                  </a:lnTo>
                  <a:lnTo>
                    <a:pt x="590" y="3700"/>
                  </a:lnTo>
                  <a:lnTo>
                    <a:pt x="578" y="3669"/>
                  </a:lnTo>
                  <a:lnTo>
                    <a:pt x="565" y="3641"/>
                  </a:lnTo>
                  <a:lnTo>
                    <a:pt x="547" y="3625"/>
                  </a:lnTo>
                  <a:lnTo>
                    <a:pt x="522" y="3609"/>
                  </a:lnTo>
                  <a:lnTo>
                    <a:pt x="506" y="3591"/>
                  </a:lnTo>
                  <a:lnTo>
                    <a:pt x="506" y="3572"/>
                  </a:lnTo>
                  <a:lnTo>
                    <a:pt x="512" y="3550"/>
                  </a:lnTo>
                  <a:lnTo>
                    <a:pt x="519" y="3528"/>
                  </a:lnTo>
                  <a:lnTo>
                    <a:pt x="519" y="3510"/>
                  </a:lnTo>
                  <a:lnTo>
                    <a:pt x="503" y="3491"/>
                  </a:lnTo>
                  <a:lnTo>
                    <a:pt x="472" y="3475"/>
                  </a:lnTo>
                  <a:lnTo>
                    <a:pt x="444" y="3463"/>
                  </a:lnTo>
                  <a:lnTo>
                    <a:pt x="422" y="3444"/>
                  </a:lnTo>
                  <a:lnTo>
                    <a:pt x="412" y="3428"/>
                  </a:lnTo>
                  <a:lnTo>
                    <a:pt x="406" y="3406"/>
                  </a:lnTo>
                  <a:lnTo>
                    <a:pt x="397" y="3388"/>
                  </a:lnTo>
                  <a:lnTo>
                    <a:pt x="387" y="3372"/>
                  </a:lnTo>
                  <a:lnTo>
                    <a:pt x="369" y="3366"/>
                  </a:lnTo>
                  <a:lnTo>
                    <a:pt x="347" y="3369"/>
                  </a:lnTo>
                  <a:lnTo>
                    <a:pt x="319" y="3369"/>
                  </a:lnTo>
                  <a:lnTo>
                    <a:pt x="297" y="3372"/>
                  </a:lnTo>
                  <a:lnTo>
                    <a:pt x="275" y="3372"/>
                  </a:lnTo>
                  <a:lnTo>
                    <a:pt x="247" y="3366"/>
                  </a:lnTo>
                  <a:lnTo>
                    <a:pt x="216" y="3353"/>
                  </a:lnTo>
                  <a:lnTo>
                    <a:pt x="191" y="3341"/>
                  </a:lnTo>
                  <a:lnTo>
                    <a:pt x="172" y="3316"/>
                  </a:lnTo>
                  <a:lnTo>
                    <a:pt x="156" y="3285"/>
                  </a:lnTo>
                  <a:lnTo>
                    <a:pt x="144" y="3250"/>
                  </a:lnTo>
                  <a:lnTo>
                    <a:pt x="138" y="3222"/>
                  </a:lnTo>
                  <a:lnTo>
                    <a:pt x="138" y="3204"/>
                  </a:lnTo>
                  <a:lnTo>
                    <a:pt x="138" y="3175"/>
                  </a:lnTo>
                  <a:lnTo>
                    <a:pt x="141" y="3150"/>
                  </a:lnTo>
                  <a:lnTo>
                    <a:pt x="147" y="3129"/>
                  </a:lnTo>
                  <a:lnTo>
                    <a:pt x="156" y="3113"/>
                  </a:lnTo>
                  <a:lnTo>
                    <a:pt x="172" y="3110"/>
                  </a:lnTo>
                  <a:lnTo>
                    <a:pt x="191" y="3113"/>
                  </a:lnTo>
                  <a:lnTo>
                    <a:pt x="213" y="3119"/>
                  </a:lnTo>
                  <a:lnTo>
                    <a:pt x="234" y="3125"/>
                  </a:lnTo>
                  <a:lnTo>
                    <a:pt x="250" y="3125"/>
                  </a:lnTo>
                  <a:lnTo>
                    <a:pt x="259" y="3122"/>
                  </a:lnTo>
                  <a:lnTo>
                    <a:pt x="272" y="3116"/>
                  </a:lnTo>
                  <a:lnTo>
                    <a:pt x="281" y="3107"/>
                  </a:lnTo>
                  <a:lnTo>
                    <a:pt x="291" y="3100"/>
                  </a:lnTo>
                  <a:lnTo>
                    <a:pt x="294" y="3091"/>
                  </a:lnTo>
                  <a:lnTo>
                    <a:pt x="300" y="3066"/>
                  </a:lnTo>
                  <a:lnTo>
                    <a:pt x="300" y="3038"/>
                  </a:lnTo>
                  <a:lnTo>
                    <a:pt x="294" y="3013"/>
                  </a:lnTo>
                  <a:lnTo>
                    <a:pt x="284" y="2994"/>
                  </a:lnTo>
                  <a:lnTo>
                    <a:pt x="269" y="2969"/>
                  </a:lnTo>
                  <a:lnTo>
                    <a:pt x="256" y="2951"/>
                  </a:lnTo>
                  <a:lnTo>
                    <a:pt x="253" y="2922"/>
                  </a:lnTo>
                  <a:lnTo>
                    <a:pt x="253" y="2891"/>
                  </a:lnTo>
                  <a:lnTo>
                    <a:pt x="256" y="2866"/>
                  </a:lnTo>
                  <a:lnTo>
                    <a:pt x="272" y="2848"/>
                  </a:lnTo>
                  <a:lnTo>
                    <a:pt x="291" y="2829"/>
                  </a:lnTo>
                  <a:lnTo>
                    <a:pt x="303" y="2810"/>
                  </a:lnTo>
                  <a:lnTo>
                    <a:pt x="309" y="2788"/>
                  </a:lnTo>
                  <a:lnTo>
                    <a:pt x="313" y="2760"/>
                  </a:lnTo>
                  <a:lnTo>
                    <a:pt x="309" y="2732"/>
                  </a:lnTo>
                  <a:lnTo>
                    <a:pt x="303" y="2710"/>
                  </a:lnTo>
                  <a:lnTo>
                    <a:pt x="291" y="2704"/>
                  </a:lnTo>
                  <a:lnTo>
                    <a:pt x="269" y="2698"/>
                  </a:lnTo>
                  <a:lnTo>
                    <a:pt x="250" y="2691"/>
                  </a:lnTo>
                  <a:lnTo>
                    <a:pt x="238" y="2685"/>
                  </a:lnTo>
                  <a:lnTo>
                    <a:pt x="231" y="2670"/>
                  </a:lnTo>
                  <a:lnTo>
                    <a:pt x="228" y="2648"/>
                  </a:lnTo>
                  <a:lnTo>
                    <a:pt x="231" y="2626"/>
                  </a:lnTo>
                  <a:lnTo>
                    <a:pt x="238" y="2607"/>
                  </a:lnTo>
                  <a:lnTo>
                    <a:pt x="256" y="2588"/>
                  </a:lnTo>
                  <a:lnTo>
                    <a:pt x="288" y="2573"/>
                  </a:lnTo>
                  <a:lnTo>
                    <a:pt x="322" y="2560"/>
                  </a:lnTo>
                  <a:lnTo>
                    <a:pt x="350" y="2554"/>
                  </a:lnTo>
                  <a:lnTo>
                    <a:pt x="366" y="2554"/>
                  </a:lnTo>
                  <a:lnTo>
                    <a:pt x="387" y="2554"/>
                  </a:lnTo>
                  <a:lnTo>
                    <a:pt x="403" y="2557"/>
                  </a:lnTo>
                  <a:lnTo>
                    <a:pt x="419" y="2567"/>
                  </a:lnTo>
                  <a:lnTo>
                    <a:pt x="437" y="2582"/>
                  </a:lnTo>
                  <a:lnTo>
                    <a:pt x="459" y="2598"/>
                  </a:lnTo>
                  <a:lnTo>
                    <a:pt x="475" y="2601"/>
                  </a:lnTo>
                  <a:lnTo>
                    <a:pt x="491" y="2588"/>
                  </a:lnTo>
                  <a:lnTo>
                    <a:pt x="506" y="2567"/>
                  </a:lnTo>
                  <a:lnTo>
                    <a:pt x="516" y="2535"/>
                  </a:lnTo>
                  <a:lnTo>
                    <a:pt x="525" y="2507"/>
                  </a:lnTo>
                  <a:lnTo>
                    <a:pt x="537" y="2488"/>
                  </a:lnTo>
                  <a:lnTo>
                    <a:pt x="544" y="2482"/>
                  </a:lnTo>
                  <a:lnTo>
                    <a:pt x="550" y="2476"/>
                  </a:lnTo>
                  <a:lnTo>
                    <a:pt x="556" y="2473"/>
                  </a:lnTo>
                  <a:lnTo>
                    <a:pt x="562" y="2470"/>
                  </a:lnTo>
                  <a:lnTo>
                    <a:pt x="581" y="2470"/>
                  </a:lnTo>
                  <a:lnTo>
                    <a:pt x="603" y="2473"/>
                  </a:lnTo>
                  <a:lnTo>
                    <a:pt x="622" y="2479"/>
                  </a:lnTo>
                  <a:lnTo>
                    <a:pt x="634" y="2495"/>
                  </a:lnTo>
                  <a:lnTo>
                    <a:pt x="647" y="2517"/>
                  </a:lnTo>
                  <a:lnTo>
                    <a:pt x="653" y="2538"/>
                  </a:lnTo>
                  <a:lnTo>
                    <a:pt x="650" y="2551"/>
                  </a:lnTo>
                  <a:lnTo>
                    <a:pt x="640" y="2567"/>
                  </a:lnTo>
                  <a:lnTo>
                    <a:pt x="628" y="2582"/>
                  </a:lnTo>
                  <a:lnTo>
                    <a:pt x="622" y="2598"/>
                  </a:lnTo>
                  <a:lnTo>
                    <a:pt x="622" y="2610"/>
                  </a:lnTo>
                  <a:lnTo>
                    <a:pt x="637" y="2629"/>
                  </a:lnTo>
                  <a:lnTo>
                    <a:pt x="665" y="2638"/>
                  </a:lnTo>
                  <a:lnTo>
                    <a:pt x="697" y="2645"/>
                  </a:lnTo>
                  <a:lnTo>
                    <a:pt x="722" y="2645"/>
                  </a:lnTo>
                  <a:lnTo>
                    <a:pt x="728" y="2641"/>
                  </a:lnTo>
                  <a:lnTo>
                    <a:pt x="737" y="2635"/>
                  </a:lnTo>
                  <a:lnTo>
                    <a:pt x="743" y="2629"/>
                  </a:lnTo>
                  <a:lnTo>
                    <a:pt x="753" y="2620"/>
                  </a:lnTo>
                  <a:lnTo>
                    <a:pt x="759" y="2610"/>
                  </a:lnTo>
                  <a:lnTo>
                    <a:pt x="765" y="2604"/>
                  </a:lnTo>
                  <a:lnTo>
                    <a:pt x="775" y="2585"/>
                  </a:lnTo>
                  <a:lnTo>
                    <a:pt x="784" y="2557"/>
                  </a:lnTo>
                  <a:lnTo>
                    <a:pt x="790" y="2532"/>
                  </a:lnTo>
                  <a:lnTo>
                    <a:pt x="790" y="2510"/>
                  </a:lnTo>
                  <a:lnTo>
                    <a:pt x="784" y="2495"/>
                  </a:lnTo>
                  <a:lnTo>
                    <a:pt x="768" y="2479"/>
                  </a:lnTo>
                  <a:lnTo>
                    <a:pt x="756" y="2460"/>
                  </a:lnTo>
                  <a:lnTo>
                    <a:pt x="750" y="2445"/>
                  </a:lnTo>
                  <a:lnTo>
                    <a:pt x="753" y="2438"/>
                  </a:lnTo>
                  <a:lnTo>
                    <a:pt x="759" y="2432"/>
                  </a:lnTo>
                  <a:lnTo>
                    <a:pt x="765" y="2426"/>
                  </a:lnTo>
                  <a:lnTo>
                    <a:pt x="775" y="2420"/>
                  </a:lnTo>
                  <a:lnTo>
                    <a:pt x="781" y="2417"/>
                  </a:lnTo>
                  <a:lnTo>
                    <a:pt x="790" y="2414"/>
                  </a:lnTo>
                  <a:lnTo>
                    <a:pt x="806" y="2423"/>
                  </a:lnTo>
                  <a:lnTo>
                    <a:pt x="825" y="2442"/>
                  </a:lnTo>
                  <a:lnTo>
                    <a:pt x="843" y="2463"/>
                  </a:lnTo>
                  <a:lnTo>
                    <a:pt x="859" y="2476"/>
                  </a:lnTo>
                  <a:lnTo>
                    <a:pt x="868" y="2479"/>
                  </a:lnTo>
                  <a:lnTo>
                    <a:pt x="881" y="2479"/>
                  </a:lnTo>
                  <a:lnTo>
                    <a:pt x="890" y="2479"/>
                  </a:lnTo>
                  <a:lnTo>
                    <a:pt x="900" y="2476"/>
                  </a:lnTo>
                  <a:lnTo>
                    <a:pt x="909" y="2473"/>
                  </a:lnTo>
                  <a:lnTo>
                    <a:pt x="918" y="2467"/>
                  </a:lnTo>
                  <a:lnTo>
                    <a:pt x="928" y="2457"/>
                  </a:lnTo>
                  <a:lnTo>
                    <a:pt x="937" y="2448"/>
                  </a:lnTo>
                  <a:lnTo>
                    <a:pt x="943" y="2442"/>
                  </a:lnTo>
                  <a:lnTo>
                    <a:pt x="943" y="2426"/>
                  </a:lnTo>
                  <a:lnTo>
                    <a:pt x="940" y="2407"/>
                  </a:lnTo>
                  <a:lnTo>
                    <a:pt x="940" y="2389"/>
                  </a:lnTo>
                  <a:lnTo>
                    <a:pt x="943" y="2373"/>
                  </a:lnTo>
                  <a:lnTo>
                    <a:pt x="959" y="2364"/>
                  </a:lnTo>
                  <a:lnTo>
                    <a:pt x="981" y="2351"/>
                  </a:lnTo>
                  <a:lnTo>
                    <a:pt x="1006" y="2348"/>
                  </a:lnTo>
                  <a:lnTo>
                    <a:pt x="1025" y="2351"/>
                  </a:lnTo>
                  <a:lnTo>
                    <a:pt x="1031" y="2364"/>
                  </a:lnTo>
                  <a:lnTo>
                    <a:pt x="1034" y="2385"/>
                  </a:lnTo>
                  <a:lnTo>
                    <a:pt x="1037" y="2407"/>
                  </a:lnTo>
                  <a:lnTo>
                    <a:pt x="1043" y="2423"/>
                  </a:lnTo>
                  <a:lnTo>
                    <a:pt x="1071" y="2442"/>
                  </a:lnTo>
                  <a:lnTo>
                    <a:pt x="1106" y="2454"/>
                  </a:lnTo>
                  <a:lnTo>
                    <a:pt x="1146" y="2463"/>
                  </a:lnTo>
                  <a:lnTo>
                    <a:pt x="1178" y="2463"/>
                  </a:lnTo>
                  <a:lnTo>
                    <a:pt x="1196" y="2457"/>
                  </a:lnTo>
                  <a:lnTo>
                    <a:pt x="1215" y="2442"/>
                  </a:lnTo>
                  <a:lnTo>
                    <a:pt x="1234" y="2426"/>
                  </a:lnTo>
                  <a:lnTo>
                    <a:pt x="1252" y="2414"/>
                  </a:lnTo>
                  <a:lnTo>
                    <a:pt x="1277" y="2395"/>
                  </a:lnTo>
                  <a:lnTo>
                    <a:pt x="1312" y="2373"/>
                  </a:lnTo>
                  <a:lnTo>
                    <a:pt x="1340" y="2357"/>
                  </a:lnTo>
                  <a:lnTo>
                    <a:pt x="1365" y="2342"/>
                  </a:lnTo>
                  <a:lnTo>
                    <a:pt x="1396" y="2326"/>
                  </a:lnTo>
                  <a:lnTo>
                    <a:pt x="1430" y="2314"/>
                  </a:lnTo>
                  <a:lnTo>
                    <a:pt x="1459" y="2304"/>
                  </a:lnTo>
                  <a:lnTo>
                    <a:pt x="1477" y="2304"/>
                  </a:lnTo>
                  <a:lnTo>
                    <a:pt x="1502" y="2307"/>
                  </a:lnTo>
                  <a:lnTo>
                    <a:pt x="1527" y="2310"/>
                  </a:lnTo>
                  <a:lnTo>
                    <a:pt x="1549" y="2310"/>
                  </a:lnTo>
                  <a:lnTo>
                    <a:pt x="1571" y="2298"/>
                  </a:lnTo>
                  <a:lnTo>
                    <a:pt x="1593" y="2282"/>
                  </a:lnTo>
                  <a:lnTo>
                    <a:pt x="1615" y="2270"/>
                  </a:lnTo>
                  <a:lnTo>
                    <a:pt x="1637" y="2270"/>
                  </a:lnTo>
                  <a:lnTo>
                    <a:pt x="1662" y="2270"/>
                  </a:lnTo>
                  <a:lnTo>
                    <a:pt x="1683" y="2279"/>
                  </a:lnTo>
                  <a:lnTo>
                    <a:pt x="1693" y="2295"/>
                  </a:lnTo>
                  <a:lnTo>
                    <a:pt x="1702" y="2320"/>
                  </a:lnTo>
                  <a:lnTo>
                    <a:pt x="1708" y="2342"/>
                  </a:lnTo>
                  <a:lnTo>
                    <a:pt x="1721" y="2357"/>
                  </a:lnTo>
                  <a:lnTo>
                    <a:pt x="1740" y="2360"/>
                  </a:lnTo>
                  <a:lnTo>
                    <a:pt x="1765" y="2357"/>
                  </a:lnTo>
                  <a:lnTo>
                    <a:pt x="1786" y="2351"/>
                  </a:lnTo>
                  <a:lnTo>
                    <a:pt x="1808" y="2345"/>
                  </a:lnTo>
                  <a:lnTo>
                    <a:pt x="1827" y="2335"/>
                  </a:lnTo>
                  <a:lnTo>
                    <a:pt x="1852" y="2320"/>
                  </a:lnTo>
                  <a:lnTo>
                    <a:pt x="1874" y="2304"/>
                  </a:lnTo>
                  <a:lnTo>
                    <a:pt x="1890" y="2289"/>
                  </a:lnTo>
                  <a:lnTo>
                    <a:pt x="1899" y="2270"/>
                  </a:lnTo>
                  <a:lnTo>
                    <a:pt x="1905" y="2245"/>
                  </a:lnTo>
                  <a:lnTo>
                    <a:pt x="1914" y="2220"/>
                  </a:lnTo>
                  <a:lnTo>
                    <a:pt x="1924" y="2204"/>
                  </a:lnTo>
                  <a:lnTo>
                    <a:pt x="1939" y="2195"/>
                  </a:lnTo>
                  <a:lnTo>
                    <a:pt x="1961" y="2186"/>
                  </a:lnTo>
                  <a:lnTo>
                    <a:pt x="1977" y="2176"/>
                  </a:lnTo>
                  <a:lnTo>
                    <a:pt x="1993" y="2157"/>
                  </a:lnTo>
                  <a:lnTo>
                    <a:pt x="2005" y="2129"/>
                  </a:lnTo>
                  <a:lnTo>
                    <a:pt x="2021" y="2104"/>
                  </a:lnTo>
                  <a:lnTo>
                    <a:pt x="2036" y="2089"/>
                  </a:lnTo>
                  <a:lnTo>
                    <a:pt x="2049" y="2086"/>
                  </a:lnTo>
                  <a:lnTo>
                    <a:pt x="2064" y="2089"/>
                  </a:lnTo>
                  <a:lnTo>
                    <a:pt x="2083" y="2092"/>
                  </a:lnTo>
                  <a:lnTo>
                    <a:pt x="2096" y="2089"/>
                  </a:lnTo>
                  <a:lnTo>
                    <a:pt x="2102" y="2073"/>
                  </a:lnTo>
                  <a:lnTo>
                    <a:pt x="2105" y="2054"/>
                  </a:lnTo>
                  <a:lnTo>
                    <a:pt x="2111" y="2033"/>
                  </a:lnTo>
                  <a:lnTo>
                    <a:pt x="2117" y="2017"/>
                  </a:lnTo>
                  <a:lnTo>
                    <a:pt x="2130" y="2014"/>
                  </a:lnTo>
                  <a:lnTo>
                    <a:pt x="2149" y="2017"/>
                  </a:lnTo>
                  <a:lnTo>
                    <a:pt x="2164" y="2020"/>
                  </a:lnTo>
                  <a:lnTo>
                    <a:pt x="2177" y="2017"/>
                  </a:lnTo>
                  <a:lnTo>
                    <a:pt x="2189" y="1998"/>
                  </a:lnTo>
                  <a:lnTo>
                    <a:pt x="2199" y="1973"/>
                  </a:lnTo>
                  <a:lnTo>
                    <a:pt x="2202" y="1951"/>
                  </a:lnTo>
                  <a:lnTo>
                    <a:pt x="2202" y="1930"/>
                  </a:lnTo>
                  <a:lnTo>
                    <a:pt x="2202" y="1905"/>
                  </a:lnTo>
                  <a:lnTo>
                    <a:pt x="2202" y="1883"/>
                  </a:lnTo>
                  <a:lnTo>
                    <a:pt x="2211" y="1867"/>
                  </a:lnTo>
                  <a:lnTo>
                    <a:pt x="2224" y="1851"/>
                  </a:lnTo>
                  <a:lnTo>
                    <a:pt x="2236" y="1833"/>
                  </a:lnTo>
                  <a:lnTo>
                    <a:pt x="2239" y="1817"/>
                  </a:lnTo>
                  <a:lnTo>
                    <a:pt x="2239" y="1808"/>
                  </a:lnTo>
                  <a:lnTo>
                    <a:pt x="2236" y="1798"/>
                  </a:lnTo>
                  <a:lnTo>
                    <a:pt x="2230" y="1789"/>
                  </a:lnTo>
                  <a:lnTo>
                    <a:pt x="2227" y="1780"/>
                  </a:lnTo>
                  <a:lnTo>
                    <a:pt x="2221" y="1773"/>
                  </a:lnTo>
                  <a:lnTo>
                    <a:pt x="2214" y="1767"/>
                  </a:lnTo>
                  <a:lnTo>
                    <a:pt x="2199" y="1761"/>
                  </a:lnTo>
                  <a:lnTo>
                    <a:pt x="2183" y="1761"/>
                  </a:lnTo>
                  <a:lnTo>
                    <a:pt x="2164" y="1758"/>
                  </a:lnTo>
                  <a:lnTo>
                    <a:pt x="2155" y="1752"/>
                  </a:lnTo>
                  <a:lnTo>
                    <a:pt x="2152" y="1739"/>
                  </a:lnTo>
                  <a:lnTo>
                    <a:pt x="2158" y="1723"/>
                  </a:lnTo>
                  <a:lnTo>
                    <a:pt x="2164" y="1708"/>
                  </a:lnTo>
                  <a:lnTo>
                    <a:pt x="2164" y="1695"/>
                  </a:lnTo>
                  <a:lnTo>
                    <a:pt x="2161" y="1680"/>
                  </a:lnTo>
                  <a:lnTo>
                    <a:pt x="2152" y="1664"/>
                  </a:lnTo>
                  <a:lnTo>
                    <a:pt x="2146" y="1648"/>
                  </a:lnTo>
                  <a:lnTo>
                    <a:pt x="2142" y="1633"/>
                  </a:lnTo>
                  <a:lnTo>
                    <a:pt x="2152" y="1611"/>
                  </a:lnTo>
                  <a:lnTo>
                    <a:pt x="2174" y="1589"/>
                  </a:lnTo>
                  <a:lnTo>
                    <a:pt x="2196" y="1567"/>
                  </a:lnTo>
                  <a:lnTo>
                    <a:pt x="2217" y="1558"/>
                  </a:lnTo>
                  <a:lnTo>
                    <a:pt x="2233" y="1558"/>
                  </a:lnTo>
                  <a:lnTo>
                    <a:pt x="2252" y="1564"/>
                  </a:lnTo>
                  <a:lnTo>
                    <a:pt x="2270" y="1574"/>
                  </a:lnTo>
                  <a:lnTo>
                    <a:pt x="2286" y="1580"/>
                  </a:lnTo>
                  <a:lnTo>
                    <a:pt x="2302" y="1599"/>
                  </a:lnTo>
                  <a:lnTo>
                    <a:pt x="2317" y="1620"/>
                  </a:lnTo>
                  <a:lnTo>
                    <a:pt x="2333" y="1633"/>
                  </a:lnTo>
                  <a:lnTo>
                    <a:pt x="2358" y="1633"/>
                  </a:lnTo>
                  <a:lnTo>
                    <a:pt x="2386" y="1624"/>
                  </a:lnTo>
                  <a:lnTo>
                    <a:pt x="2414" y="1611"/>
                  </a:lnTo>
                  <a:lnTo>
                    <a:pt x="2433" y="1595"/>
                  </a:lnTo>
                  <a:lnTo>
                    <a:pt x="2436" y="1583"/>
                  </a:lnTo>
                  <a:lnTo>
                    <a:pt x="2433" y="1567"/>
                  </a:lnTo>
                  <a:lnTo>
                    <a:pt x="2433" y="1549"/>
                  </a:lnTo>
                  <a:lnTo>
                    <a:pt x="2433" y="1536"/>
                  </a:lnTo>
                  <a:lnTo>
                    <a:pt x="2436" y="1517"/>
                  </a:lnTo>
                  <a:lnTo>
                    <a:pt x="2445" y="1492"/>
                  </a:lnTo>
                  <a:lnTo>
                    <a:pt x="2455" y="1470"/>
                  </a:lnTo>
                  <a:lnTo>
                    <a:pt x="2458" y="1452"/>
                  </a:lnTo>
                  <a:lnTo>
                    <a:pt x="2458" y="1433"/>
                  </a:lnTo>
                  <a:lnTo>
                    <a:pt x="2455" y="1408"/>
                  </a:lnTo>
                  <a:lnTo>
                    <a:pt x="2448" y="1389"/>
                  </a:lnTo>
                  <a:lnTo>
                    <a:pt x="2430" y="1374"/>
                  </a:lnTo>
                  <a:lnTo>
                    <a:pt x="2405" y="1358"/>
                  </a:lnTo>
                  <a:lnTo>
                    <a:pt x="2389" y="1342"/>
                  </a:lnTo>
                  <a:lnTo>
                    <a:pt x="2383" y="1327"/>
                  </a:lnTo>
                  <a:lnTo>
                    <a:pt x="2383" y="1311"/>
                  </a:lnTo>
                  <a:lnTo>
                    <a:pt x="2380" y="1293"/>
                  </a:lnTo>
                  <a:lnTo>
                    <a:pt x="2374" y="1280"/>
                  </a:lnTo>
                  <a:lnTo>
                    <a:pt x="2370" y="1277"/>
                  </a:lnTo>
                  <a:lnTo>
                    <a:pt x="2361" y="1274"/>
                  </a:lnTo>
                  <a:lnTo>
                    <a:pt x="2355" y="1274"/>
                  </a:lnTo>
                  <a:lnTo>
                    <a:pt x="2345" y="1271"/>
                  </a:lnTo>
                  <a:lnTo>
                    <a:pt x="2342" y="1268"/>
                  </a:lnTo>
                  <a:lnTo>
                    <a:pt x="2333" y="1249"/>
                  </a:lnTo>
                  <a:lnTo>
                    <a:pt x="2330" y="1224"/>
                  </a:lnTo>
                  <a:lnTo>
                    <a:pt x="2327" y="1199"/>
                  </a:lnTo>
                  <a:lnTo>
                    <a:pt x="2333" y="1180"/>
                  </a:lnTo>
                  <a:lnTo>
                    <a:pt x="2345" y="1168"/>
                  </a:lnTo>
                  <a:lnTo>
                    <a:pt x="2364" y="1158"/>
                  </a:lnTo>
                  <a:lnTo>
                    <a:pt x="2383" y="1149"/>
                  </a:lnTo>
                  <a:lnTo>
                    <a:pt x="2402" y="1140"/>
                  </a:lnTo>
                  <a:lnTo>
                    <a:pt x="2420" y="1130"/>
                  </a:lnTo>
                  <a:lnTo>
                    <a:pt x="2442" y="1115"/>
                  </a:lnTo>
                  <a:lnTo>
                    <a:pt x="2464" y="1108"/>
                  </a:lnTo>
                  <a:lnTo>
                    <a:pt x="2470" y="1108"/>
                  </a:lnTo>
                  <a:lnTo>
                    <a:pt x="2480" y="1108"/>
                  </a:lnTo>
                  <a:lnTo>
                    <a:pt x="2489" y="1108"/>
                  </a:lnTo>
                  <a:lnTo>
                    <a:pt x="2495" y="1108"/>
                  </a:lnTo>
                  <a:lnTo>
                    <a:pt x="2505" y="1108"/>
                  </a:lnTo>
                  <a:lnTo>
                    <a:pt x="2511" y="1108"/>
                  </a:lnTo>
                  <a:lnTo>
                    <a:pt x="2527" y="1090"/>
                  </a:lnTo>
                  <a:lnTo>
                    <a:pt x="2539" y="1065"/>
                  </a:lnTo>
                  <a:lnTo>
                    <a:pt x="2548" y="1036"/>
                  </a:lnTo>
                  <a:lnTo>
                    <a:pt x="2561" y="1018"/>
                  </a:lnTo>
                  <a:lnTo>
                    <a:pt x="2570" y="1011"/>
                  </a:lnTo>
                  <a:lnTo>
                    <a:pt x="2583" y="1005"/>
                  </a:lnTo>
                  <a:lnTo>
                    <a:pt x="2592" y="999"/>
                  </a:lnTo>
                  <a:lnTo>
                    <a:pt x="2601" y="993"/>
                  </a:lnTo>
                  <a:lnTo>
                    <a:pt x="2608" y="986"/>
                  </a:lnTo>
                  <a:lnTo>
                    <a:pt x="2617" y="977"/>
                  </a:lnTo>
                  <a:lnTo>
                    <a:pt x="2623" y="968"/>
                  </a:lnTo>
                  <a:lnTo>
                    <a:pt x="2630" y="955"/>
                  </a:lnTo>
                  <a:lnTo>
                    <a:pt x="2633" y="949"/>
                  </a:lnTo>
                  <a:lnTo>
                    <a:pt x="2633" y="930"/>
                  </a:lnTo>
                  <a:lnTo>
                    <a:pt x="2630" y="912"/>
                  </a:lnTo>
                  <a:lnTo>
                    <a:pt x="2633" y="896"/>
                  </a:lnTo>
                  <a:lnTo>
                    <a:pt x="2648" y="877"/>
                  </a:lnTo>
                  <a:lnTo>
                    <a:pt x="2673" y="862"/>
                  </a:lnTo>
                  <a:lnTo>
                    <a:pt x="2695" y="849"/>
                  </a:lnTo>
                  <a:lnTo>
                    <a:pt x="2714" y="843"/>
                  </a:lnTo>
                  <a:lnTo>
                    <a:pt x="2736" y="837"/>
                  </a:lnTo>
                  <a:lnTo>
                    <a:pt x="2758" y="833"/>
                  </a:lnTo>
                  <a:lnTo>
                    <a:pt x="2776" y="824"/>
                  </a:lnTo>
                  <a:lnTo>
                    <a:pt x="2776" y="818"/>
                  </a:lnTo>
                  <a:lnTo>
                    <a:pt x="2779" y="812"/>
                  </a:lnTo>
                  <a:lnTo>
                    <a:pt x="2779" y="802"/>
                  </a:lnTo>
                  <a:lnTo>
                    <a:pt x="2779" y="793"/>
                  </a:lnTo>
                  <a:lnTo>
                    <a:pt x="2783" y="787"/>
                  </a:lnTo>
                  <a:lnTo>
                    <a:pt x="2783" y="777"/>
                  </a:lnTo>
                  <a:lnTo>
                    <a:pt x="2786" y="774"/>
                  </a:lnTo>
                  <a:lnTo>
                    <a:pt x="2798" y="771"/>
                  </a:lnTo>
                  <a:lnTo>
                    <a:pt x="2814" y="774"/>
                  </a:lnTo>
                  <a:lnTo>
                    <a:pt x="2833" y="774"/>
                  </a:lnTo>
                  <a:lnTo>
                    <a:pt x="2845" y="774"/>
                  </a:lnTo>
                  <a:lnTo>
                    <a:pt x="2861" y="762"/>
                  </a:lnTo>
                  <a:lnTo>
                    <a:pt x="2879" y="746"/>
                  </a:lnTo>
                  <a:lnTo>
                    <a:pt x="2895" y="727"/>
                  </a:lnTo>
                  <a:lnTo>
                    <a:pt x="2904" y="709"/>
                  </a:lnTo>
                  <a:lnTo>
                    <a:pt x="2904" y="696"/>
                  </a:lnTo>
                  <a:lnTo>
                    <a:pt x="2901" y="677"/>
                  </a:lnTo>
                  <a:lnTo>
                    <a:pt x="2895" y="662"/>
                  </a:lnTo>
                  <a:lnTo>
                    <a:pt x="2895" y="646"/>
                  </a:lnTo>
                  <a:lnTo>
                    <a:pt x="2898" y="637"/>
                  </a:lnTo>
                  <a:lnTo>
                    <a:pt x="2901" y="627"/>
                  </a:lnTo>
                  <a:lnTo>
                    <a:pt x="2908" y="618"/>
                  </a:lnTo>
                  <a:lnTo>
                    <a:pt x="2911" y="609"/>
                  </a:lnTo>
                  <a:lnTo>
                    <a:pt x="2914" y="602"/>
                  </a:lnTo>
                  <a:lnTo>
                    <a:pt x="2914" y="596"/>
                  </a:lnTo>
                  <a:lnTo>
                    <a:pt x="2914" y="590"/>
                  </a:lnTo>
                  <a:lnTo>
                    <a:pt x="2914" y="584"/>
                  </a:lnTo>
                  <a:lnTo>
                    <a:pt x="2911" y="574"/>
                  </a:lnTo>
                  <a:lnTo>
                    <a:pt x="2911" y="571"/>
                  </a:lnTo>
                  <a:lnTo>
                    <a:pt x="2914" y="565"/>
                  </a:lnTo>
                  <a:lnTo>
                    <a:pt x="2929" y="562"/>
                  </a:lnTo>
                  <a:lnTo>
                    <a:pt x="2948" y="562"/>
                  </a:lnTo>
                  <a:lnTo>
                    <a:pt x="2970" y="565"/>
                  </a:lnTo>
                  <a:lnTo>
                    <a:pt x="2986" y="565"/>
                  </a:lnTo>
                  <a:lnTo>
                    <a:pt x="3004" y="562"/>
                  </a:lnTo>
                  <a:lnTo>
                    <a:pt x="3029" y="556"/>
                  </a:lnTo>
                  <a:lnTo>
                    <a:pt x="3045" y="546"/>
                  </a:lnTo>
                  <a:lnTo>
                    <a:pt x="3048" y="531"/>
                  </a:lnTo>
                  <a:lnTo>
                    <a:pt x="3048" y="509"/>
                  </a:lnTo>
                  <a:lnTo>
                    <a:pt x="3045" y="487"/>
                  </a:lnTo>
                  <a:lnTo>
                    <a:pt x="3042" y="468"/>
                  </a:lnTo>
                  <a:lnTo>
                    <a:pt x="3045" y="449"/>
                  </a:lnTo>
                  <a:lnTo>
                    <a:pt x="3051" y="443"/>
                  </a:lnTo>
                  <a:lnTo>
                    <a:pt x="3057" y="434"/>
                  </a:lnTo>
                  <a:lnTo>
                    <a:pt x="3070" y="424"/>
                  </a:lnTo>
                  <a:lnTo>
                    <a:pt x="3076" y="415"/>
                  </a:lnTo>
                  <a:lnTo>
                    <a:pt x="3082" y="406"/>
                  </a:lnTo>
                  <a:lnTo>
                    <a:pt x="3086" y="390"/>
                  </a:lnTo>
                  <a:lnTo>
                    <a:pt x="3082" y="368"/>
                  </a:lnTo>
                  <a:lnTo>
                    <a:pt x="3079" y="346"/>
                  </a:lnTo>
                  <a:lnTo>
                    <a:pt x="3082" y="328"/>
                  </a:lnTo>
                  <a:lnTo>
                    <a:pt x="3089" y="321"/>
                  </a:lnTo>
                  <a:lnTo>
                    <a:pt x="3095" y="315"/>
                  </a:lnTo>
                  <a:lnTo>
                    <a:pt x="3104" y="309"/>
                  </a:lnTo>
                  <a:lnTo>
                    <a:pt x="3114" y="303"/>
                  </a:lnTo>
                  <a:lnTo>
                    <a:pt x="3120" y="296"/>
                  </a:lnTo>
                  <a:lnTo>
                    <a:pt x="3123" y="290"/>
                  </a:lnTo>
                  <a:lnTo>
                    <a:pt x="3123" y="268"/>
                  </a:lnTo>
                  <a:lnTo>
                    <a:pt x="3120" y="246"/>
                  </a:lnTo>
                  <a:lnTo>
                    <a:pt x="3110" y="221"/>
                  </a:lnTo>
                  <a:lnTo>
                    <a:pt x="3104" y="200"/>
                  </a:lnTo>
                  <a:lnTo>
                    <a:pt x="3095" y="184"/>
                  </a:lnTo>
                  <a:lnTo>
                    <a:pt x="3089" y="162"/>
                  </a:lnTo>
                  <a:lnTo>
                    <a:pt x="3082" y="143"/>
                  </a:lnTo>
                  <a:lnTo>
                    <a:pt x="3086" y="122"/>
                  </a:lnTo>
                  <a:lnTo>
                    <a:pt x="3092" y="97"/>
                  </a:lnTo>
                  <a:lnTo>
                    <a:pt x="3104" y="78"/>
                  </a:lnTo>
                  <a:lnTo>
                    <a:pt x="3110" y="72"/>
                  </a:lnTo>
                  <a:lnTo>
                    <a:pt x="3120" y="68"/>
                  </a:lnTo>
                  <a:lnTo>
                    <a:pt x="3129" y="65"/>
                  </a:lnTo>
                  <a:lnTo>
                    <a:pt x="3142" y="62"/>
                  </a:lnTo>
                  <a:lnTo>
                    <a:pt x="3154" y="59"/>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64" name="Freeform 55">
              <a:extLst>
                <a:ext uri="{FF2B5EF4-FFF2-40B4-BE49-F238E27FC236}">
                  <a16:creationId xmlns:a16="http://schemas.microsoft.com/office/drawing/2014/main" id="{8A993327-433D-4503-B3CC-C2EEA427F55B}"/>
                </a:ext>
              </a:extLst>
            </p:cNvPr>
            <p:cNvSpPr>
              <a:spLocks/>
            </p:cNvSpPr>
            <p:nvPr/>
          </p:nvSpPr>
          <p:spPr bwMode="auto">
            <a:xfrm>
              <a:off x="24361776" y="-738188"/>
              <a:ext cx="9191625" cy="8912225"/>
            </a:xfrm>
            <a:custGeom>
              <a:avLst/>
              <a:gdLst>
                <a:gd name="T0" fmla="*/ 593 w 5790"/>
                <a:gd name="T1" fmla="*/ 3937 h 5614"/>
                <a:gd name="T2" fmla="*/ 993 w 5790"/>
                <a:gd name="T3" fmla="*/ 3703 h 5614"/>
                <a:gd name="T4" fmla="*/ 1134 w 5790"/>
                <a:gd name="T5" fmla="*/ 3428 h 5614"/>
                <a:gd name="T6" fmla="*/ 1337 w 5790"/>
                <a:gd name="T7" fmla="*/ 3104 h 5614"/>
                <a:gd name="T8" fmla="*/ 1090 w 5790"/>
                <a:gd name="T9" fmla="*/ 2657 h 5614"/>
                <a:gd name="T10" fmla="*/ 837 w 5790"/>
                <a:gd name="T11" fmla="*/ 2713 h 5614"/>
                <a:gd name="T12" fmla="*/ 381 w 5790"/>
                <a:gd name="T13" fmla="*/ 2794 h 5614"/>
                <a:gd name="T14" fmla="*/ 400 w 5790"/>
                <a:gd name="T15" fmla="*/ 2389 h 5614"/>
                <a:gd name="T16" fmla="*/ 34 w 5790"/>
                <a:gd name="T17" fmla="*/ 1805 h 5614"/>
                <a:gd name="T18" fmla="*/ 103 w 5790"/>
                <a:gd name="T19" fmla="*/ 1333 h 5614"/>
                <a:gd name="T20" fmla="*/ 169 w 5790"/>
                <a:gd name="T21" fmla="*/ 837 h 5614"/>
                <a:gd name="T22" fmla="*/ 415 w 5790"/>
                <a:gd name="T23" fmla="*/ 802 h 5614"/>
                <a:gd name="T24" fmla="*/ 662 w 5790"/>
                <a:gd name="T25" fmla="*/ 815 h 5614"/>
                <a:gd name="T26" fmla="*/ 1134 w 5790"/>
                <a:gd name="T27" fmla="*/ 793 h 5614"/>
                <a:gd name="T28" fmla="*/ 1349 w 5790"/>
                <a:gd name="T29" fmla="*/ 618 h 5614"/>
                <a:gd name="T30" fmla="*/ 1546 w 5790"/>
                <a:gd name="T31" fmla="*/ 637 h 5614"/>
                <a:gd name="T32" fmla="*/ 1718 w 5790"/>
                <a:gd name="T33" fmla="*/ 830 h 5614"/>
                <a:gd name="T34" fmla="*/ 1933 w 5790"/>
                <a:gd name="T35" fmla="*/ 390 h 5614"/>
                <a:gd name="T36" fmla="*/ 2217 w 5790"/>
                <a:gd name="T37" fmla="*/ 75 h 5614"/>
                <a:gd name="T38" fmla="*/ 2633 w 5790"/>
                <a:gd name="T39" fmla="*/ 215 h 5614"/>
                <a:gd name="T40" fmla="*/ 2923 w 5790"/>
                <a:gd name="T41" fmla="*/ 453 h 5614"/>
                <a:gd name="T42" fmla="*/ 3273 w 5790"/>
                <a:gd name="T43" fmla="*/ 403 h 5614"/>
                <a:gd name="T44" fmla="*/ 3719 w 5790"/>
                <a:gd name="T45" fmla="*/ 356 h 5614"/>
                <a:gd name="T46" fmla="*/ 3944 w 5790"/>
                <a:gd name="T47" fmla="*/ 437 h 5614"/>
                <a:gd name="T48" fmla="*/ 3863 w 5790"/>
                <a:gd name="T49" fmla="*/ 777 h 5614"/>
                <a:gd name="T50" fmla="*/ 4138 w 5790"/>
                <a:gd name="T51" fmla="*/ 418 h 5614"/>
                <a:gd name="T52" fmla="*/ 4472 w 5790"/>
                <a:gd name="T53" fmla="*/ 65 h 5614"/>
                <a:gd name="T54" fmla="*/ 5053 w 5790"/>
                <a:gd name="T55" fmla="*/ 93 h 5614"/>
                <a:gd name="T56" fmla="*/ 5087 w 5790"/>
                <a:gd name="T57" fmla="*/ 543 h 5614"/>
                <a:gd name="T58" fmla="*/ 5196 w 5790"/>
                <a:gd name="T59" fmla="*/ 852 h 5614"/>
                <a:gd name="T60" fmla="*/ 5440 w 5790"/>
                <a:gd name="T61" fmla="*/ 1121 h 5614"/>
                <a:gd name="T62" fmla="*/ 5218 w 5790"/>
                <a:gd name="T63" fmla="*/ 1436 h 5614"/>
                <a:gd name="T64" fmla="*/ 5281 w 5790"/>
                <a:gd name="T65" fmla="*/ 1839 h 5614"/>
                <a:gd name="T66" fmla="*/ 5449 w 5790"/>
                <a:gd name="T67" fmla="*/ 2176 h 5614"/>
                <a:gd name="T68" fmla="*/ 5752 w 5790"/>
                <a:gd name="T69" fmla="*/ 2413 h 5614"/>
                <a:gd name="T70" fmla="*/ 5690 w 5790"/>
                <a:gd name="T71" fmla="*/ 2704 h 5614"/>
                <a:gd name="T72" fmla="*/ 5412 w 5790"/>
                <a:gd name="T73" fmla="*/ 3001 h 5614"/>
                <a:gd name="T74" fmla="*/ 4962 w 5790"/>
                <a:gd name="T75" fmla="*/ 3097 h 5614"/>
                <a:gd name="T76" fmla="*/ 4744 w 5790"/>
                <a:gd name="T77" fmla="*/ 3288 h 5614"/>
                <a:gd name="T78" fmla="*/ 4406 w 5790"/>
                <a:gd name="T79" fmla="*/ 3235 h 5614"/>
                <a:gd name="T80" fmla="*/ 4247 w 5790"/>
                <a:gd name="T81" fmla="*/ 3435 h 5614"/>
                <a:gd name="T82" fmla="*/ 4456 w 5790"/>
                <a:gd name="T83" fmla="*/ 3597 h 5614"/>
                <a:gd name="T84" fmla="*/ 4428 w 5790"/>
                <a:gd name="T85" fmla="*/ 3831 h 5614"/>
                <a:gd name="T86" fmla="*/ 4022 w 5790"/>
                <a:gd name="T87" fmla="*/ 3956 h 5614"/>
                <a:gd name="T88" fmla="*/ 3654 w 5790"/>
                <a:gd name="T89" fmla="*/ 4122 h 5614"/>
                <a:gd name="T90" fmla="*/ 3544 w 5790"/>
                <a:gd name="T91" fmla="*/ 4334 h 5614"/>
                <a:gd name="T92" fmla="*/ 3285 w 5790"/>
                <a:gd name="T93" fmla="*/ 4546 h 5614"/>
                <a:gd name="T94" fmla="*/ 3301 w 5790"/>
                <a:gd name="T95" fmla="*/ 4793 h 5614"/>
                <a:gd name="T96" fmla="*/ 3070 w 5790"/>
                <a:gd name="T97" fmla="*/ 4809 h 5614"/>
                <a:gd name="T98" fmla="*/ 2998 w 5790"/>
                <a:gd name="T99" fmla="*/ 4993 h 5614"/>
                <a:gd name="T100" fmla="*/ 3251 w 5790"/>
                <a:gd name="T101" fmla="*/ 5130 h 5614"/>
                <a:gd name="T102" fmla="*/ 3416 w 5790"/>
                <a:gd name="T103" fmla="*/ 5286 h 5614"/>
                <a:gd name="T104" fmla="*/ 3385 w 5790"/>
                <a:gd name="T105" fmla="*/ 5520 h 5614"/>
                <a:gd name="T106" fmla="*/ 3098 w 5790"/>
                <a:gd name="T107" fmla="*/ 5611 h 5614"/>
                <a:gd name="T108" fmla="*/ 2792 w 5790"/>
                <a:gd name="T109" fmla="*/ 5408 h 5614"/>
                <a:gd name="T110" fmla="*/ 2576 w 5790"/>
                <a:gd name="T111" fmla="*/ 5268 h 5614"/>
                <a:gd name="T112" fmla="*/ 2095 w 5790"/>
                <a:gd name="T113" fmla="*/ 5352 h 5614"/>
                <a:gd name="T114" fmla="*/ 1774 w 5790"/>
                <a:gd name="T115" fmla="*/ 5168 h 5614"/>
                <a:gd name="T116" fmla="*/ 1490 w 5790"/>
                <a:gd name="T117" fmla="*/ 5158 h 5614"/>
                <a:gd name="T118" fmla="*/ 1230 w 5790"/>
                <a:gd name="T119" fmla="*/ 5199 h 5614"/>
                <a:gd name="T120" fmla="*/ 903 w 5790"/>
                <a:gd name="T121" fmla="*/ 5261 h 5614"/>
                <a:gd name="T122" fmla="*/ 656 w 5790"/>
                <a:gd name="T123" fmla="*/ 4977 h 5614"/>
                <a:gd name="T124" fmla="*/ 390 w 5790"/>
                <a:gd name="T125" fmla="*/ 4499 h 5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90" h="5614">
                  <a:moveTo>
                    <a:pt x="359" y="4212"/>
                  </a:moveTo>
                  <a:lnTo>
                    <a:pt x="359" y="4200"/>
                  </a:lnTo>
                  <a:lnTo>
                    <a:pt x="362" y="4187"/>
                  </a:lnTo>
                  <a:lnTo>
                    <a:pt x="369" y="4178"/>
                  </a:lnTo>
                  <a:lnTo>
                    <a:pt x="381" y="4165"/>
                  </a:lnTo>
                  <a:lnTo>
                    <a:pt x="406" y="4156"/>
                  </a:lnTo>
                  <a:lnTo>
                    <a:pt x="428" y="4143"/>
                  </a:lnTo>
                  <a:lnTo>
                    <a:pt x="447" y="4134"/>
                  </a:lnTo>
                  <a:lnTo>
                    <a:pt x="456" y="4115"/>
                  </a:lnTo>
                  <a:lnTo>
                    <a:pt x="462" y="4093"/>
                  </a:lnTo>
                  <a:lnTo>
                    <a:pt x="469" y="4078"/>
                  </a:lnTo>
                  <a:lnTo>
                    <a:pt x="475" y="4068"/>
                  </a:lnTo>
                  <a:lnTo>
                    <a:pt x="481" y="4056"/>
                  </a:lnTo>
                  <a:lnTo>
                    <a:pt x="487" y="4043"/>
                  </a:lnTo>
                  <a:lnTo>
                    <a:pt x="494" y="4034"/>
                  </a:lnTo>
                  <a:lnTo>
                    <a:pt x="503" y="4028"/>
                  </a:lnTo>
                  <a:lnTo>
                    <a:pt x="519" y="4025"/>
                  </a:lnTo>
                  <a:lnTo>
                    <a:pt x="537" y="4025"/>
                  </a:lnTo>
                  <a:lnTo>
                    <a:pt x="556" y="4025"/>
                  </a:lnTo>
                  <a:lnTo>
                    <a:pt x="568" y="4022"/>
                  </a:lnTo>
                  <a:lnTo>
                    <a:pt x="575" y="4006"/>
                  </a:lnTo>
                  <a:lnTo>
                    <a:pt x="575" y="3984"/>
                  </a:lnTo>
                  <a:lnTo>
                    <a:pt x="575" y="3962"/>
                  </a:lnTo>
                  <a:lnTo>
                    <a:pt x="578" y="3947"/>
                  </a:lnTo>
                  <a:lnTo>
                    <a:pt x="584" y="3940"/>
                  </a:lnTo>
                  <a:lnTo>
                    <a:pt x="593" y="3937"/>
                  </a:lnTo>
                  <a:lnTo>
                    <a:pt x="603" y="3934"/>
                  </a:lnTo>
                  <a:lnTo>
                    <a:pt x="612" y="3934"/>
                  </a:lnTo>
                  <a:lnTo>
                    <a:pt x="634" y="3931"/>
                  </a:lnTo>
                  <a:lnTo>
                    <a:pt x="659" y="3934"/>
                  </a:lnTo>
                  <a:lnTo>
                    <a:pt x="687" y="3934"/>
                  </a:lnTo>
                  <a:lnTo>
                    <a:pt x="706" y="3934"/>
                  </a:lnTo>
                  <a:lnTo>
                    <a:pt x="734" y="3925"/>
                  </a:lnTo>
                  <a:lnTo>
                    <a:pt x="765" y="3912"/>
                  </a:lnTo>
                  <a:lnTo>
                    <a:pt x="790" y="3894"/>
                  </a:lnTo>
                  <a:lnTo>
                    <a:pt x="796" y="3881"/>
                  </a:lnTo>
                  <a:lnTo>
                    <a:pt x="800" y="3859"/>
                  </a:lnTo>
                  <a:lnTo>
                    <a:pt x="803" y="3837"/>
                  </a:lnTo>
                  <a:lnTo>
                    <a:pt x="809" y="3825"/>
                  </a:lnTo>
                  <a:lnTo>
                    <a:pt x="821" y="3819"/>
                  </a:lnTo>
                  <a:lnTo>
                    <a:pt x="840" y="3819"/>
                  </a:lnTo>
                  <a:lnTo>
                    <a:pt x="859" y="3819"/>
                  </a:lnTo>
                  <a:lnTo>
                    <a:pt x="874" y="3812"/>
                  </a:lnTo>
                  <a:lnTo>
                    <a:pt x="878" y="3800"/>
                  </a:lnTo>
                  <a:lnTo>
                    <a:pt x="878" y="3778"/>
                  </a:lnTo>
                  <a:lnTo>
                    <a:pt x="878" y="3759"/>
                  </a:lnTo>
                  <a:lnTo>
                    <a:pt x="881" y="3744"/>
                  </a:lnTo>
                  <a:lnTo>
                    <a:pt x="899" y="3731"/>
                  </a:lnTo>
                  <a:lnTo>
                    <a:pt x="928" y="3719"/>
                  </a:lnTo>
                  <a:lnTo>
                    <a:pt x="956" y="3709"/>
                  </a:lnTo>
                  <a:lnTo>
                    <a:pt x="981" y="3703"/>
                  </a:lnTo>
                  <a:lnTo>
                    <a:pt x="993" y="3703"/>
                  </a:lnTo>
                  <a:lnTo>
                    <a:pt x="1012" y="3703"/>
                  </a:lnTo>
                  <a:lnTo>
                    <a:pt x="1031" y="3703"/>
                  </a:lnTo>
                  <a:lnTo>
                    <a:pt x="1040" y="3697"/>
                  </a:lnTo>
                  <a:lnTo>
                    <a:pt x="1043" y="3684"/>
                  </a:lnTo>
                  <a:lnTo>
                    <a:pt x="1040" y="3666"/>
                  </a:lnTo>
                  <a:lnTo>
                    <a:pt x="1037" y="3647"/>
                  </a:lnTo>
                  <a:lnTo>
                    <a:pt x="1031" y="3628"/>
                  </a:lnTo>
                  <a:lnTo>
                    <a:pt x="1028" y="3613"/>
                  </a:lnTo>
                  <a:lnTo>
                    <a:pt x="1037" y="3588"/>
                  </a:lnTo>
                  <a:lnTo>
                    <a:pt x="1046" y="3563"/>
                  </a:lnTo>
                  <a:lnTo>
                    <a:pt x="1062" y="3544"/>
                  </a:lnTo>
                  <a:lnTo>
                    <a:pt x="1068" y="3544"/>
                  </a:lnTo>
                  <a:lnTo>
                    <a:pt x="1077" y="3544"/>
                  </a:lnTo>
                  <a:lnTo>
                    <a:pt x="1084" y="3544"/>
                  </a:lnTo>
                  <a:lnTo>
                    <a:pt x="1093" y="3544"/>
                  </a:lnTo>
                  <a:lnTo>
                    <a:pt x="1102" y="3547"/>
                  </a:lnTo>
                  <a:lnTo>
                    <a:pt x="1109" y="3544"/>
                  </a:lnTo>
                  <a:lnTo>
                    <a:pt x="1124" y="3541"/>
                  </a:lnTo>
                  <a:lnTo>
                    <a:pt x="1143" y="3534"/>
                  </a:lnTo>
                  <a:lnTo>
                    <a:pt x="1162" y="3525"/>
                  </a:lnTo>
                  <a:lnTo>
                    <a:pt x="1168" y="3516"/>
                  </a:lnTo>
                  <a:lnTo>
                    <a:pt x="1165" y="3500"/>
                  </a:lnTo>
                  <a:lnTo>
                    <a:pt x="1156" y="3485"/>
                  </a:lnTo>
                  <a:lnTo>
                    <a:pt x="1140" y="3469"/>
                  </a:lnTo>
                  <a:lnTo>
                    <a:pt x="1134" y="3456"/>
                  </a:lnTo>
                  <a:lnTo>
                    <a:pt x="1134" y="3428"/>
                  </a:lnTo>
                  <a:lnTo>
                    <a:pt x="1140" y="3397"/>
                  </a:lnTo>
                  <a:lnTo>
                    <a:pt x="1149" y="3372"/>
                  </a:lnTo>
                  <a:lnTo>
                    <a:pt x="1162" y="3357"/>
                  </a:lnTo>
                  <a:lnTo>
                    <a:pt x="1184" y="3344"/>
                  </a:lnTo>
                  <a:lnTo>
                    <a:pt x="1199" y="3332"/>
                  </a:lnTo>
                  <a:lnTo>
                    <a:pt x="1205" y="3332"/>
                  </a:lnTo>
                  <a:lnTo>
                    <a:pt x="1215" y="3332"/>
                  </a:lnTo>
                  <a:lnTo>
                    <a:pt x="1224" y="3332"/>
                  </a:lnTo>
                  <a:lnTo>
                    <a:pt x="1234" y="3332"/>
                  </a:lnTo>
                  <a:lnTo>
                    <a:pt x="1243" y="3332"/>
                  </a:lnTo>
                  <a:lnTo>
                    <a:pt x="1249" y="3328"/>
                  </a:lnTo>
                  <a:lnTo>
                    <a:pt x="1255" y="3322"/>
                  </a:lnTo>
                  <a:lnTo>
                    <a:pt x="1259" y="3313"/>
                  </a:lnTo>
                  <a:lnTo>
                    <a:pt x="1265" y="3303"/>
                  </a:lnTo>
                  <a:lnTo>
                    <a:pt x="1268" y="3294"/>
                  </a:lnTo>
                  <a:lnTo>
                    <a:pt x="1271" y="3288"/>
                  </a:lnTo>
                  <a:lnTo>
                    <a:pt x="1274" y="3272"/>
                  </a:lnTo>
                  <a:lnTo>
                    <a:pt x="1280" y="3250"/>
                  </a:lnTo>
                  <a:lnTo>
                    <a:pt x="1284" y="3235"/>
                  </a:lnTo>
                  <a:lnTo>
                    <a:pt x="1299" y="3222"/>
                  </a:lnTo>
                  <a:lnTo>
                    <a:pt x="1321" y="3207"/>
                  </a:lnTo>
                  <a:lnTo>
                    <a:pt x="1337" y="3191"/>
                  </a:lnTo>
                  <a:lnTo>
                    <a:pt x="1340" y="3172"/>
                  </a:lnTo>
                  <a:lnTo>
                    <a:pt x="1337" y="3147"/>
                  </a:lnTo>
                  <a:lnTo>
                    <a:pt x="1337" y="3129"/>
                  </a:lnTo>
                  <a:lnTo>
                    <a:pt x="1337" y="3104"/>
                  </a:lnTo>
                  <a:lnTo>
                    <a:pt x="1337" y="3075"/>
                  </a:lnTo>
                  <a:lnTo>
                    <a:pt x="1334" y="3047"/>
                  </a:lnTo>
                  <a:lnTo>
                    <a:pt x="1327" y="3022"/>
                  </a:lnTo>
                  <a:lnTo>
                    <a:pt x="1312" y="3001"/>
                  </a:lnTo>
                  <a:lnTo>
                    <a:pt x="1290" y="2979"/>
                  </a:lnTo>
                  <a:lnTo>
                    <a:pt x="1268" y="2966"/>
                  </a:lnTo>
                  <a:lnTo>
                    <a:pt x="1246" y="2963"/>
                  </a:lnTo>
                  <a:lnTo>
                    <a:pt x="1224" y="2963"/>
                  </a:lnTo>
                  <a:lnTo>
                    <a:pt x="1196" y="2966"/>
                  </a:lnTo>
                  <a:lnTo>
                    <a:pt x="1174" y="2969"/>
                  </a:lnTo>
                  <a:lnTo>
                    <a:pt x="1156" y="2966"/>
                  </a:lnTo>
                  <a:lnTo>
                    <a:pt x="1149" y="2960"/>
                  </a:lnTo>
                  <a:lnTo>
                    <a:pt x="1146" y="2954"/>
                  </a:lnTo>
                  <a:lnTo>
                    <a:pt x="1140" y="2947"/>
                  </a:lnTo>
                  <a:lnTo>
                    <a:pt x="1140" y="2941"/>
                  </a:lnTo>
                  <a:lnTo>
                    <a:pt x="1140" y="2919"/>
                  </a:lnTo>
                  <a:lnTo>
                    <a:pt x="1146" y="2891"/>
                  </a:lnTo>
                  <a:lnTo>
                    <a:pt x="1152" y="2860"/>
                  </a:lnTo>
                  <a:lnTo>
                    <a:pt x="1156" y="2838"/>
                  </a:lnTo>
                  <a:lnTo>
                    <a:pt x="1156" y="2810"/>
                  </a:lnTo>
                  <a:lnTo>
                    <a:pt x="1149" y="2779"/>
                  </a:lnTo>
                  <a:lnTo>
                    <a:pt x="1140" y="2751"/>
                  </a:lnTo>
                  <a:lnTo>
                    <a:pt x="1134" y="2726"/>
                  </a:lnTo>
                  <a:lnTo>
                    <a:pt x="1121" y="2698"/>
                  </a:lnTo>
                  <a:lnTo>
                    <a:pt x="1109" y="2670"/>
                  </a:lnTo>
                  <a:lnTo>
                    <a:pt x="1090" y="2657"/>
                  </a:lnTo>
                  <a:lnTo>
                    <a:pt x="1084" y="2657"/>
                  </a:lnTo>
                  <a:lnTo>
                    <a:pt x="1077" y="2657"/>
                  </a:lnTo>
                  <a:lnTo>
                    <a:pt x="1068" y="2660"/>
                  </a:lnTo>
                  <a:lnTo>
                    <a:pt x="1062" y="2666"/>
                  </a:lnTo>
                  <a:lnTo>
                    <a:pt x="1056" y="2673"/>
                  </a:lnTo>
                  <a:lnTo>
                    <a:pt x="1049" y="2676"/>
                  </a:lnTo>
                  <a:lnTo>
                    <a:pt x="1046" y="2682"/>
                  </a:lnTo>
                  <a:lnTo>
                    <a:pt x="1043" y="2688"/>
                  </a:lnTo>
                  <a:lnTo>
                    <a:pt x="1043" y="2698"/>
                  </a:lnTo>
                  <a:lnTo>
                    <a:pt x="1040" y="2707"/>
                  </a:lnTo>
                  <a:lnTo>
                    <a:pt x="1037" y="2713"/>
                  </a:lnTo>
                  <a:lnTo>
                    <a:pt x="1034" y="2720"/>
                  </a:lnTo>
                  <a:lnTo>
                    <a:pt x="1015" y="2729"/>
                  </a:lnTo>
                  <a:lnTo>
                    <a:pt x="990" y="2738"/>
                  </a:lnTo>
                  <a:lnTo>
                    <a:pt x="971" y="2738"/>
                  </a:lnTo>
                  <a:lnTo>
                    <a:pt x="962" y="2735"/>
                  </a:lnTo>
                  <a:lnTo>
                    <a:pt x="956" y="2729"/>
                  </a:lnTo>
                  <a:lnTo>
                    <a:pt x="949" y="2720"/>
                  </a:lnTo>
                  <a:lnTo>
                    <a:pt x="943" y="2713"/>
                  </a:lnTo>
                  <a:lnTo>
                    <a:pt x="937" y="2707"/>
                  </a:lnTo>
                  <a:lnTo>
                    <a:pt x="931" y="2701"/>
                  </a:lnTo>
                  <a:lnTo>
                    <a:pt x="906" y="2698"/>
                  </a:lnTo>
                  <a:lnTo>
                    <a:pt x="878" y="2698"/>
                  </a:lnTo>
                  <a:lnTo>
                    <a:pt x="853" y="2701"/>
                  </a:lnTo>
                  <a:lnTo>
                    <a:pt x="843" y="2707"/>
                  </a:lnTo>
                  <a:lnTo>
                    <a:pt x="837" y="2713"/>
                  </a:lnTo>
                  <a:lnTo>
                    <a:pt x="828" y="2723"/>
                  </a:lnTo>
                  <a:lnTo>
                    <a:pt x="818" y="2729"/>
                  </a:lnTo>
                  <a:lnTo>
                    <a:pt x="812" y="2735"/>
                  </a:lnTo>
                  <a:lnTo>
                    <a:pt x="787" y="2751"/>
                  </a:lnTo>
                  <a:lnTo>
                    <a:pt x="756" y="2769"/>
                  </a:lnTo>
                  <a:lnTo>
                    <a:pt x="731" y="2782"/>
                  </a:lnTo>
                  <a:lnTo>
                    <a:pt x="709" y="2782"/>
                  </a:lnTo>
                  <a:lnTo>
                    <a:pt x="684" y="2779"/>
                  </a:lnTo>
                  <a:lnTo>
                    <a:pt x="662" y="2779"/>
                  </a:lnTo>
                  <a:lnTo>
                    <a:pt x="643" y="2785"/>
                  </a:lnTo>
                  <a:lnTo>
                    <a:pt x="640" y="2788"/>
                  </a:lnTo>
                  <a:lnTo>
                    <a:pt x="640" y="2791"/>
                  </a:lnTo>
                  <a:lnTo>
                    <a:pt x="637" y="2794"/>
                  </a:lnTo>
                  <a:lnTo>
                    <a:pt x="634" y="2798"/>
                  </a:lnTo>
                  <a:lnTo>
                    <a:pt x="618" y="2804"/>
                  </a:lnTo>
                  <a:lnTo>
                    <a:pt x="593" y="2807"/>
                  </a:lnTo>
                  <a:lnTo>
                    <a:pt x="568" y="2807"/>
                  </a:lnTo>
                  <a:lnTo>
                    <a:pt x="550" y="2804"/>
                  </a:lnTo>
                  <a:lnTo>
                    <a:pt x="531" y="2798"/>
                  </a:lnTo>
                  <a:lnTo>
                    <a:pt x="512" y="2788"/>
                  </a:lnTo>
                  <a:lnTo>
                    <a:pt x="494" y="2782"/>
                  </a:lnTo>
                  <a:lnTo>
                    <a:pt x="475" y="2782"/>
                  </a:lnTo>
                  <a:lnTo>
                    <a:pt x="453" y="2785"/>
                  </a:lnTo>
                  <a:lnTo>
                    <a:pt x="428" y="2788"/>
                  </a:lnTo>
                  <a:lnTo>
                    <a:pt x="403" y="2794"/>
                  </a:lnTo>
                  <a:lnTo>
                    <a:pt x="381" y="2794"/>
                  </a:lnTo>
                  <a:lnTo>
                    <a:pt x="369" y="2785"/>
                  </a:lnTo>
                  <a:lnTo>
                    <a:pt x="362" y="2773"/>
                  </a:lnTo>
                  <a:lnTo>
                    <a:pt x="362" y="2754"/>
                  </a:lnTo>
                  <a:lnTo>
                    <a:pt x="365" y="2735"/>
                  </a:lnTo>
                  <a:lnTo>
                    <a:pt x="369" y="2720"/>
                  </a:lnTo>
                  <a:lnTo>
                    <a:pt x="375" y="2691"/>
                  </a:lnTo>
                  <a:lnTo>
                    <a:pt x="387" y="2660"/>
                  </a:lnTo>
                  <a:lnTo>
                    <a:pt x="403" y="2632"/>
                  </a:lnTo>
                  <a:lnTo>
                    <a:pt x="419" y="2607"/>
                  </a:lnTo>
                  <a:lnTo>
                    <a:pt x="425" y="2601"/>
                  </a:lnTo>
                  <a:lnTo>
                    <a:pt x="434" y="2595"/>
                  </a:lnTo>
                  <a:lnTo>
                    <a:pt x="444" y="2588"/>
                  </a:lnTo>
                  <a:lnTo>
                    <a:pt x="453" y="2579"/>
                  </a:lnTo>
                  <a:lnTo>
                    <a:pt x="462" y="2573"/>
                  </a:lnTo>
                  <a:lnTo>
                    <a:pt x="472" y="2560"/>
                  </a:lnTo>
                  <a:lnTo>
                    <a:pt x="484" y="2542"/>
                  </a:lnTo>
                  <a:lnTo>
                    <a:pt x="490" y="2523"/>
                  </a:lnTo>
                  <a:lnTo>
                    <a:pt x="494" y="2510"/>
                  </a:lnTo>
                  <a:lnTo>
                    <a:pt x="490" y="2495"/>
                  </a:lnTo>
                  <a:lnTo>
                    <a:pt x="484" y="2473"/>
                  </a:lnTo>
                  <a:lnTo>
                    <a:pt x="472" y="2448"/>
                  </a:lnTo>
                  <a:lnTo>
                    <a:pt x="462" y="2432"/>
                  </a:lnTo>
                  <a:lnTo>
                    <a:pt x="447" y="2420"/>
                  </a:lnTo>
                  <a:lnTo>
                    <a:pt x="428" y="2410"/>
                  </a:lnTo>
                  <a:lnTo>
                    <a:pt x="412" y="2401"/>
                  </a:lnTo>
                  <a:lnTo>
                    <a:pt x="400" y="2389"/>
                  </a:lnTo>
                  <a:lnTo>
                    <a:pt x="400" y="2370"/>
                  </a:lnTo>
                  <a:lnTo>
                    <a:pt x="403" y="2351"/>
                  </a:lnTo>
                  <a:lnTo>
                    <a:pt x="406" y="2329"/>
                  </a:lnTo>
                  <a:lnTo>
                    <a:pt x="409" y="2310"/>
                  </a:lnTo>
                  <a:lnTo>
                    <a:pt x="403" y="2289"/>
                  </a:lnTo>
                  <a:lnTo>
                    <a:pt x="397" y="2260"/>
                  </a:lnTo>
                  <a:lnTo>
                    <a:pt x="384" y="2242"/>
                  </a:lnTo>
                  <a:lnTo>
                    <a:pt x="365" y="2229"/>
                  </a:lnTo>
                  <a:lnTo>
                    <a:pt x="337" y="2217"/>
                  </a:lnTo>
                  <a:lnTo>
                    <a:pt x="309" y="2204"/>
                  </a:lnTo>
                  <a:lnTo>
                    <a:pt x="287" y="2192"/>
                  </a:lnTo>
                  <a:lnTo>
                    <a:pt x="272" y="2170"/>
                  </a:lnTo>
                  <a:lnTo>
                    <a:pt x="253" y="2139"/>
                  </a:lnTo>
                  <a:lnTo>
                    <a:pt x="241" y="2114"/>
                  </a:lnTo>
                  <a:lnTo>
                    <a:pt x="222" y="2082"/>
                  </a:lnTo>
                  <a:lnTo>
                    <a:pt x="203" y="2045"/>
                  </a:lnTo>
                  <a:lnTo>
                    <a:pt x="184" y="2004"/>
                  </a:lnTo>
                  <a:lnTo>
                    <a:pt x="169" y="1973"/>
                  </a:lnTo>
                  <a:lnTo>
                    <a:pt x="153" y="1951"/>
                  </a:lnTo>
                  <a:lnTo>
                    <a:pt x="138" y="1923"/>
                  </a:lnTo>
                  <a:lnTo>
                    <a:pt x="122" y="1901"/>
                  </a:lnTo>
                  <a:lnTo>
                    <a:pt x="103" y="1886"/>
                  </a:lnTo>
                  <a:lnTo>
                    <a:pt x="78" y="1870"/>
                  </a:lnTo>
                  <a:lnTo>
                    <a:pt x="59" y="1855"/>
                  </a:lnTo>
                  <a:lnTo>
                    <a:pt x="47" y="1833"/>
                  </a:lnTo>
                  <a:lnTo>
                    <a:pt x="34" y="1805"/>
                  </a:lnTo>
                  <a:lnTo>
                    <a:pt x="25" y="1773"/>
                  </a:lnTo>
                  <a:lnTo>
                    <a:pt x="22" y="1748"/>
                  </a:lnTo>
                  <a:lnTo>
                    <a:pt x="31" y="1733"/>
                  </a:lnTo>
                  <a:lnTo>
                    <a:pt x="44" y="1717"/>
                  </a:lnTo>
                  <a:lnTo>
                    <a:pt x="56" y="1702"/>
                  </a:lnTo>
                  <a:lnTo>
                    <a:pt x="63" y="1692"/>
                  </a:lnTo>
                  <a:lnTo>
                    <a:pt x="63" y="1680"/>
                  </a:lnTo>
                  <a:lnTo>
                    <a:pt x="56" y="1661"/>
                  </a:lnTo>
                  <a:lnTo>
                    <a:pt x="56" y="1639"/>
                  </a:lnTo>
                  <a:lnTo>
                    <a:pt x="56" y="1620"/>
                  </a:lnTo>
                  <a:lnTo>
                    <a:pt x="66" y="1605"/>
                  </a:lnTo>
                  <a:lnTo>
                    <a:pt x="78" y="1586"/>
                  </a:lnTo>
                  <a:lnTo>
                    <a:pt x="88" y="1570"/>
                  </a:lnTo>
                  <a:lnTo>
                    <a:pt x="81" y="1545"/>
                  </a:lnTo>
                  <a:lnTo>
                    <a:pt x="69" y="1520"/>
                  </a:lnTo>
                  <a:lnTo>
                    <a:pt x="50" y="1492"/>
                  </a:lnTo>
                  <a:lnTo>
                    <a:pt x="34" y="1467"/>
                  </a:lnTo>
                  <a:lnTo>
                    <a:pt x="22" y="1445"/>
                  </a:lnTo>
                  <a:lnTo>
                    <a:pt x="13" y="1430"/>
                  </a:lnTo>
                  <a:lnTo>
                    <a:pt x="3" y="1411"/>
                  </a:lnTo>
                  <a:lnTo>
                    <a:pt x="0" y="1392"/>
                  </a:lnTo>
                  <a:lnTo>
                    <a:pt x="13" y="1377"/>
                  </a:lnTo>
                  <a:lnTo>
                    <a:pt x="38" y="1358"/>
                  </a:lnTo>
                  <a:lnTo>
                    <a:pt x="63" y="1342"/>
                  </a:lnTo>
                  <a:lnTo>
                    <a:pt x="84" y="1336"/>
                  </a:lnTo>
                  <a:lnTo>
                    <a:pt x="103" y="1333"/>
                  </a:lnTo>
                  <a:lnTo>
                    <a:pt x="128" y="1336"/>
                  </a:lnTo>
                  <a:lnTo>
                    <a:pt x="153" y="1339"/>
                  </a:lnTo>
                  <a:lnTo>
                    <a:pt x="172" y="1336"/>
                  </a:lnTo>
                  <a:lnTo>
                    <a:pt x="187" y="1321"/>
                  </a:lnTo>
                  <a:lnTo>
                    <a:pt x="200" y="1296"/>
                  </a:lnTo>
                  <a:lnTo>
                    <a:pt x="209" y="1277"/>
                  </a:lnTo>
                  <a:lnTo>
                    <a:pt x="212" y="1258"/>
                  </a:lnTo>
                  <a:lnTo>
                    <a:pt x="216" y="1236"/>
                  </a:lnTo>
                  <a:lnTo>
                    <a:pt x="216" y="1221"/>
                  </a:lnTo>
                  <a:lnTo>
                    <a:pt x="209" y="1199"/>
                  </a:lnTo>
                  <a:lnTo>
                    <a:pt x="200" y="1174"/>
                  </a:lnTo>
                  <a:lnTo>
                    <a:pt x="187" y="1146"/>
                  </a:lnTo>
                  <a:lnTo>
                    <a:pt x="181" y="1124"/>
                  </a:lnTo>
                  <a:lnTo>
                    <a:pt x="178" y="1105"/>
                  </a:lnTo>
                  <a:lnTo>
                    <a:pt x="178" y="1077"/>
                  </a:lnTo>
                  <a:lnTo>
                    <a:pt x="178" y="1049"/>
                  </a:lnTo>
                  <a:lnTo>
                    <a:pt x="178" y="1024"/>
                  </a:lnTo>
                  <a:lnTo>
                    <a:pt x="178" y="1011"/>
                  </a:lnTo>
                  <a:lnTo>
                    <a:pt x="178" y="1002"/>
                  </a:lnTo>
                  <a:lnTo>
                    <a:pt x="178" y="980"/>
                  </a:lnTo>
                  <a:lnTo>
                    <a:pt x="181" y="924"/>
                  </a:lnTo>
                  <a:lnTo>
                    <a:pt x="181" y="902"/>
                  </a:lnTo>
                  <a:lnTo>
                    <a:pt x="184" y="890"/>
                  </a:lnTo>
                  <a:lnTo>
                    <a:pt x="181" y="880"/>
                  </a:lnTo>
                  <a:lnTo>
                    <a:pt x="175" y="862"/>
                  </a:lnTo>
                  <a:lnTo>
                    <a:pt x="169" y="837"/>
                  </a:lnTo>
                  <a:lnTo>
                    <a:pt x="163" y="818"/>
                  </a:lnTo>
                  <a:lnTo>
                    <a:pt x="163" y="805"/>
                  </a:lnTo>
                  <a:lnTo>
                    <a:pt x="166" y="793"/>
                  </a:lnTo>
                  <a:lnTo>
                    <a:pt x="169" y="765"/>
                  </a:lnTo>
                  <a:lnTo>
                    <a:pt x="175" y="734"/>
                  </a:lnTo>
                  <a:lnTo>
                    <a:pt x="184" y="705"/>
                  </a:lnTo>
                  <a:lnTo>
                    <a:pt x="197" y="684"/>
                  </a:lnTo>
                  <a:lnTo>
                    <a:pt x="209" y="674"/>
                  </a:lnTo>
                  <a:lnTo>
                    <a:pt x="228" y="671"/>
                  </a:lnTo>
                  <a:lnTo>
                    <a:pt x="247" y="665"/>
                  </a:lnTo>
                  <a:lnTo>
                    <a:pt x="262" y="662"/>
                  </a:lnTo>
                  <a:lnTo>
                    <a:pt x="272" y="652"/>
                  </a:lnTo>
                  <a:lnTo>
                    <a:pt x="284" y="646"/>
                  </a:lnTo>
                  <a:lnTo>
                    <a:pt x="297" y="637"/>
                  </a:lnTo>
                  <a:lnTo>
                    <a:pt x="306" y="646"/>
                  </a:lnTo>
                  <a:lnTo>
                    <a:pt x="316" y="659"/>
                  </a:lnTo>
                  <a:lnTo>
                    <a:pt x="325" y="668"/>
                  </a:lnTo>
                  <a:lnTo>
                    <a:pt x="331" y="680"/>
                  </a:lnTo>
                  <a:lnTo>
                    <a:pt x="334" y="696"/>
                  </a:lnTo>
                  <a:lnTo>
                    <a:pt x="337" y="718"/>
                  </a:lnTo>
                  <a:lnTo>
                    <a:pt x="341" y="734"/>
                  </a:lnTo>
                  <a:lnTo>
                    <a:pt x="350" y="752"/>
                  </a:lnTo>
                  <a:lnTo>
                    <a:pt x="359" y="771"/>
                  </a:lnTo>
                  <a:lnTo>
                    <a:pt x="372" y="787"/>
                  </a:lnTo>
                  <a:lnTo>
                    <a:pt x="390" y="796"/>
                  </a:lnTo>
                  <a:lnTo>
                    <a:pt x="415" y="802"/>
                  </a:lnTo>
                  <a:lnTo>
                    <a:pt x="437" y="805"/>
                  </a:lnTo>
                  <a:lnTo>
                    <a:pt x="456" y="812"/>
                  </a:lnTo>
                  <a:lnTo>
                    <a:pt x="478" y="821"/>
                  </a:lnTo>
                  <a:lnTo>
                    <a:pt x="497" y="830"/>
                  </a:lnTo>
                  <a:lnTo>
                    <a:pt x="500" y="837"/>
                  </a:lnTo>
                  <a:lnTo>
                    <a:pt x="500" y="843"/>
                  </a:lnTo>
                  <a:lnTo>
                    <a:pt x="503" y="852"/>
                  </a:lnTo>
                  <a:lnTo>
                    <a:pt x="503" y="862"/>
                  </a:lnTo>
                  <a:lnTo>
                    <a:pt x="506" y="868"/>
                  </a:lnTo>
                  <a:lnTo>
                    <a:pt x="509" y="874"/>
                  </a:lnTo>
                  <a:lnTo>
                    <a:pt x="512" y="877"/>
                  </a:lnTo>
                  <a:lnTo>
                    <a:pt x="525" y="880"/>
                  </a:lnTo>
                  <a:lnTo>
                    <a:pt x="547" y="877"/>
                  </a:lnTo>
                  <a:lnTo>
                    <a:pt x="565" y="871"/>
                  </a:lnTo>
                  <a:lnTo>
                    <a:pt x="578" y="865"/>
                  </a:lnTo>
                  <a:lnTo>
                    <a:pt x="584" y="858"/>
                  </a:lnTo>
                  <a:lnTo>
                    <a:pt x="590" y="849"/>
                  </a:lnTo>
                  <a:lnTo>
                    <a:pt x="597" y="837"/>
                  </a:lnTo>
                  <a:lnTo>
                    <a:pt x="600" y="827"/>
                  </a:lnTo>
                  <a:lnTo>
                    <a:pt x="606" y="818"/>
                  </a:lnTo>
                  <a:lnTo>
                    <a:pt x="612" y="815"/>
                  </a:lnTo>
                  <a:lnTo>
                    <a:pt x="622" y="812"/>
                  </a:lnTo>
                  <a:lnTo>
                    <a:pt x="631" y="808"/>
                  </a:lnTo>
                  <a:lnTo>
                    <a:pt x="643" y="808"/>
                  </a:lnTo>
                  <a:lnTo>
                    <a:pt x="653" y="812"/>
                  </a:lnTo>
                  <a:lnTo>
                    <a:pt x="662" y="815"/>
                  </a:lnTo>
                  <a:lnTo>
                    <a:pt x="668" y="818"/>
                  </a:lnTo>
                  <a:lnTo>
                    <a:pt x="675" y="824"/>
                  </a:lnTo>
                  <a:lnTo>
                    <a:pt x="681" y="830"/>
                  </a:lnTo>
                  <a:lnTo>
                    <a:pt x="687" y="837"/>
                  </a:lnTo>
                  <a:lnTo>
                    <a:pt x="693" y="840"/>
                  </a:lnTo>
                  <a:lnTo>
                    <a:pt x="712" y="846"/>
                  </a:lnTo>
                  <a:lnTo>
                    <a:pt x="734" y="849"/>
                  </a:lnTo>
                  <a:lnTo>
                    <a:pt x="756" y="849"/>
                  </a:lnTo>
                  <a:lnTo>
                    <a:pt x="762" y="849"/>
                  </a:lnTo>
                  <a:lnTo>
                    <a:pt x="771" y="846"/>
                  </a:lnTo>
                  <a:lnTo>
                    <a:pt x="781" y="840"/>
                  </a:lnTo>
                  <a:lnTo>
                    <a:pt x="790" y="837"/>
                  </a:lnTo>
                  <a:lnTo>
                    <a:pt x="796" y="833"/>
                  </a:lnTo>
                  <a:lnTo>
                    <a:pt x="825" y="830"/>
                  </a:lnTo>
                  <a:lnTo>
                    <a:pt x="850" y="830"/>
                  </a:lnTo>
                  <a:lnTo>
                    <a:pt x="881" y="837"/>
                  </a:lnTo>
                  <a:lnTo>
                    <a:pt x="915" y="843"/>
                  </a:lnTo>
                  <a:lnTo>
                    <a:pt x="946" y="849"/>
                  </a:lnTo>
                  <a:lnTo>
                    <a:pt x="971" y="849"/>
                  </a:lnTo>
                  <a:lnTo>
                    <a:pt x="1006" y="852"/>
                  </a:lnTo>
                  <a:lnTo>
                    <a:pt x="1037" y="852"/>
                  </a:lnTo>
                  <a:lnTo>
                    <a:pt x="1062" y="846"/>
                  </a:lnTo>
                  <a:lnTo>
                    <a:pt x="1081" y="837"/>
                  </a:lnTo>
                  <a:lnTo>
                    <a:pt x="1102" y="824"/>
                  </a:lnTo>
                  <a:lnTo>
                    <a:pt x="1121" y="808"/>
                  </a:lnTo>
                  <a:lnTo>
                    <a:pt x="1134" y="793"/>
                  </a:lnTo>
                  <a:lnTo>
                    <a:pt x="1137" y="774"/>
                  </a:lnTo>
                  <a:lnTo>
                    <a:pt x="1134" y="752"/>
                  </a:lnTo>
                  <a:lnTo>
                    <a:pt x="1131" y="730"/>
                  </a:lnTo>
                  <a:lnTo>
                    <a:pt x="1134" y="715"/>
                  </a:lnTo>
                  <a:lnTo>
                    <a:pt x="1140" y="696"/>
                  </a:lnTo>
                  <a:lnTo>
                    <a:pt x="1156" y="677"/>
                  </a:lnTo>
                  <a:lnTo>
                    <a:pt x="1162" y="662"/>
                  </a:lnTo>
                  <a:lnTo>
                    <a:pt x="1165" y="643"/>
                  </a:lnTo>
                  <a:lnTo>
                    <a:pt x="1162" y="621"/>
                  </a:lnTo>
                  <a:lnTo>
                    <a:pt x="1162" y="606"/>
                  </a:lnTo>
                  <a:lnTo>
                    <a:pt x="1168" y="596"/>
                  </a:lnTo>
                  <a:lnTo>
                    <a:pt x="1174" y="587"/>
                  </a:lnTo>
                  <a:lnTo>
                    <a:pt x="1184" y="577"/>
                  </a:lnTo>
                  <a:lnTo>
                    <a:pt x="1193" y="571"/>
                  </a:lnTo>
                  <a:lnTo>
                    <a:pt x="1202" y="568"/>
                  </a:lnTo>
                  <a:lnTo>
                    <a:pt x="1209" y="568"/>
                  </a:lnTo>
                  <a:lnTo>
                    <a:pt x="1218" y="571"/>
                  </a:lnTo>
                  <a:lnTo>
                    <a:pt x="1227" y="571"/>
                  </a:lnTo>
                  <a:lnTo>
                    <a:pt x="1237" y="577"/>
                  </a:lnTo>
                  <a:lnTo>
                    <a:pt x="1243" y="581"/>
                  </a:lnTo>
                  <a:lnTo>
                    <a:pt x="1252" y="584"/>
                  </a:lnTo>
                  <a:lnTo>
                    <a:pt x="1268" y="596"/>
                  </a:lnTo>
                  <a:lnTo>
                    <a:pt x="1290" y="612"/>
                  </a:lnTo>
                  <a:lnTo>
                    <a:pt x="1305" y="621"/>
                  </a:lnTo>
                  <a:lnTo>
                    <a:pt x="1327" y="621"/>
                  </a:lnTo>
                  <a:lnTo>
                    <a:pt x="1349" y="618"/>
                  </a:lnTo>
                  <a:lnTo>
                    <a:pt x="1368" y="612"/>
                  </a:lnTo>
                  <a:lnTo>
                    <a:pt x="1371" y="606"/>
                  </a:lnTo>
                  <a:lnTo>
                    <a:pt x="1374" y="596"/>
                  </a:lnTo>
                  <a:lnTo>
                    <a:pt x="1374" y="590"/>
                  </a:lnTo>
                  <a:lnTo>
                    <a:pt x="1377" y="581"/>
                  </a:lnTo>
                  <a:lnTo>
                    <a:pt x="1380" y="574"/>
                  </a:lnTo>
                  <a:lnTo>
                    <a:pt x="1383" y="568"/>
                  </a:lnTo>
                  <a:lnTo>
                    <a:pt x="1390" y="565"/>
                  </a:lnTo>
                  <a:lnTo>
                    <a:pt x="1396" y="565"/>
                  </a:lnTo>
                  <a:lnTo>
                    <a:pt x="1405" y="565"/>
                  </a:lnTo>
                  <a:lnTo>
                    <a:pt x="1415" y="568"/>
                  </a:lnTo>
                  <a:lnTo>
                    <a:pt x="1421" y="568"/>
                  </a:lnTo>
                  <a:lnTo>
                    <a:pt x="1427" y="571"/>
                  </a:lnTo>
                  <a:lnTo>
                    <a:pt x="1433" y="577"/>
                  </a:lnTo>
                  <a:lnTo>
                    <a:pt x="1440" y="584"/>
                  </a:lnTo>
                  <a:lnTo>
                    <a:pt x="1446" y="590"/>
                  </a:lnTo>
                  <a:lnTo>
                    <a:pt x="1449" y="596"/>
                  </a:lnTo>
                  <a:lnTo>
                    <a:pt x="1455" y="602"/>
                  </a:lnTo>
                  <a:lnTo>
                    <a:pt x="1455" y="609"/>
                  </a:lnTo>
                  <a:lnTo>
                    <a:pt x="1458" y="618"/>
                  </a:lnTo>
                  <a:lnTo>
                    <a:pt x="1465" y="627"/>
                  </a:lnTo>
                  <a:lnTo>
                    <a:pt x="1468" y="630"/>
                  </a:lnTo>
                  <a:lnTo>
                    <a:pt x="1483" y="640"/>
                  </a:lnTo>
                  <a:lnTo>
                    <a:pt x="1508" y="643"/>
                  </a:lnTo>
                  <a:lnTo>
                    <a:pt x="1530" y="643"/>
                  </a:lnTo>
                  <a:lnTo>
                    <a:pt x="1546" y="637"/>
                  </a:lnTo>
                  <a:lnTo>
                    <a:pt x="1546" y="627"/>
                  </a:lnTo>
                  <a:lnTo>
                    <a:pt x="1543" y="612"/>
                  </a:lnTo>
                  <a:lnTo>
                    <a:pt x="1537" y="593"/>
                  </a:lnTo>
                  <a:lnTo>
                    <a:pt x="1533" y="577"/>
                  </a:lnTo>
                  <a:lnTo>
                    <a:pt x="1533" y="568"/>
                  </a:lnTo>
                  <a:lnTo>
                    <a:pt x="1549" y="562"/>
                  </a:lnTo>
                  <a:lnTo>
                    <a:pt x="1565" y="565"/>
                  </a:lnTo>
                  <a:lnTo>
                    <a:pt x="1583" y="568"/>
                  </a:lnTo>
                  <a:lnTo>
                    <a:pt x="1602" y="577"/>
                  </a:lnTo>
                  <a:lnTo>
                    <a:pt x="1618" y="584"/>
                  </a:lnTo>
                  <a:lnTo>
                    <a:pt x="1624" y="590"/>
                  </a:lnTo>
                  <a:lnTo>
                    <a:pt x="1633" y="599"/>
                  </a:lnTo>
                  <a:lnTo>
                    <a:pt x="1640" y="609"/>
                  </a:lnTo>
                  <a:lnTo>
                    <a:pt x="1646" y="615"/>
                  </a:lnTo>
                  <a:lnTo>
                    <a:pt x="1661" y="630"/>
                  </a:lnTo>
                  <a:lnTo>
                    <a:pt x="1680" y="646"/>
                  </a:lnTo>
                  <a:lnTo>
                    <a:pt x="1696" y="662"/>
                  </a:lnTo>
                  <a:lnTo>
                    <a:pt x="1705" y="680"/>
                  </a:lnTo>
                  <a:lnTo>
                    <a:pt x="1702" y="696"/>
                  </a:lnTo>
                  <a:lnTo>
                    <a:pt x="1693" y="715"/>
                  </a:lnTo>
                  <a:lnTo>
                    <a:pt x="1686" y="734"/>
                  </a:lnTo>
                  <a:lnTo>
                    <a:pt x="1690" y="759"/>
                  </a:lnTo>
                  <a:lnTo>
                    <a:pt x="1696" y="787"/>
                  </a:lnTo>
                  <a:lnTo>
                    <a:pt x="1705" y="812"/>
                  </a:lnTo>
                  <a:lnTo>
                    <a:pt x="1711" y="821"/>
                  </a:lnTo>
                  <a:lnTo>
                    <a:pt x="1718" y="830"/>
                  </a:lnTo>
                  <a:lnTo>
                    <a:pt x="1724" y="840"/>
                  </a:lnTo>
                  <a:lnTo>
                    <a:pt x="1733" y="846"/>
                  </a:lnTo>
                  <a:lnTo>
                    <a:pt x="1743" y="849"/>
                  </a:lnTo>
                  <a:lnTo>
                    <a:pt x="1761" y="849"/>
                  </a:lnTo>
                  <a:lnTo>
                    <a:pt x="1783" y="843"/>
                  </a:lnTo>
                  <a:lnTo>
                    <a:pt x="1805" y="830"/>
                  </a:lnTo>
                  <a:lnTo>
                    <a:pt x="1821" y="818"/>
                  </a:lnTo>
                  <a:lnTo>
                    <a:pt x="1830" y="799"/>
                  </a:lnTo>
                  <a:lnTo>
                    <a:pt x="1836" y="771"/>
                  </a:lnTo>
                  <a:lnTo>
                    <a:pt x="1839" y="746"/>
                  </a:lnTo>
                  <a:lnTo>
                    <a:pt x="1839" y="724"/>
                  </a:lnTo>
                  <a:lnTo>
                    <a:pt x="1836" y="702"/>
                  </a:lnTo>
                  <a:lnTo>
                    <a:pt x="1830" y="680"/>
                  </a:lnTo>
                  <a:lnTo>
                    <a:pt x="1827" y="662"/>
                  </a:lnTo>
                  <a:lnTo>
                    <a:pt x="1830" y="652"/>
                  </a:lnTo>
                  <a:lnTo>
                    <a:pt x="1836" y="643"/>
                  </a:lnTo>
                  <a:lnTo>
                    <a:pt x="1843" y="634"/>
                  </a:lnTo>
                  <a:lnTo>
                    <a:pt x="1849" y="624"/>
                  </a:lnTo>
                  <a:lnTo>
                    <a:pt x="1855" y="615"/>
                  </a:lnTo>
                  <a:lnTo>
                    <a:pt x="1864" y="596"/>
                  </a:lnTo>
                  <a:lnTo>
                    <a:pt x="1871" y="571"/>
                  </a:lnTo>
                  <a:lnTo>
                    <a:pt x="1877" y="552"/>
                  </a:lnTo>
                  <a:lnTo>
                    <a:pt x="1889" y="515"/>
                  </a:lnTo>
                  <a:lnTo>
                    <a:pt x="1905" y="471"/>
                  </a:lnTo>
                  <a:lnTo>
                    <a:pt x="1917" y="424"/>
                  </a:lnTo>
                  <a:lnTo>
                    <a:pt x="1933" y="390"/>
                  </a:lnTo>
                  <a:lnTo>
                    <a:pt x="1946" y="371"/>
                  </a:lnTo>
                  <a:lnTo>
                    <a:pt x="1964" y="349"/>
                  </a:lnTo>
                  <a:lnTo>
                    <a:pt x="1980" y="328"/>
                  </a:lnTo>
                  <a:lnTo>
                    <a:pt x="1989" y="306"/>
                  </a:lnTo>
                  <a:lnTo>
                    <a:pt x="1989" y="284"/>
                  </a:lnTo>
                  <a:lnTo>
                    <a:pt x="1980" y="259"/>
                  </a:lnTo>
                  <a:lnTo>
                    <a:pt x="1974" y="234"/>
                  </a:lnTo>
                  <a:lnTo>
                    <a:pt x="1971" y="212"/>
                  </a:lnTo>
                  <a:lnTo>
                    <a:pt x="1974" y="181"/>
                  </a:lnTo>
                  <a:lnTo>
                    <a:pt x="1980" y="146"/>
                  </a:lnTo>
                  <a:lnTo>
                    <a:pt x="1989" y="118"/>
                  </a:lnTo>
                  <a:lnTo>
                    <a:pt x="2002" y="97"/>
                  </a:lnTo>
                  <a:lnTo>
                    <a:pt x="2017" y="72"/>
                  </a:lnTo>
                  <a:lnTo>
                    <a:pt x="2036" y="47"/>
                  </a:lnTo>
                  <a:lnTo>
                    <a:pt x="2052" y="31"/>
                  </a:lnTo>
                  <a:lnTo>
                    <a:pt x="2061" y="25"/>
                  </a:lnTo>
                  <a:lnTo>
                    <a:pt x="2070" y="22"/>
                  </a:lnTo>
                  <a:lnTo>
                    <a:pt x="2083" y="15"/>
                  </a:lnTo>
                  <a:lnTo>
                    <a:pt x="2092" y="12"/>
                  </a:lnTo>
                  <a:lnTo>
                    <a:pt x="2102" y="12"/>
                  </a:lnTo>
                  <a:lnTo>
                    <a:pt x="2120" y="15"/>
                  </a:lnTo>
                  <a:lnTo>
                    <a:pt x="2142" y="25"/>
                  </a:lnTo>
                  <a:lnTo>
                    <a:pt x="2161" y="37"/>
                  </a:lnTo>
                  <a:lnTo>
                    <a:pt x="2180" y="47"/>
                  </a:lnTo>
                  <a:lnTo>
                    <a:pt x="2195" y="59"/>
                  </a:lnTo>
                  <a:lnTo>
                    <a:pt x="2217" y="75"/>
                  </a:lnTo>
                  <a:lnTo>
                    <a:pt x="2233" y="84"/>
                  </a:lnTo>
                  <a:lnTo>
                    <a:pt x="2252" y="81"/>
                  </a:lnTo>
                  <a:lnTo>
                    <a:pt x="2273" y="72"/>
                  </a:lnTo>
                  <a:lnTo>
                    <a:pt x="2292" y="65"/>
                  </a:lnTo>
                  <a:lnTo>
                    <a:pt x="2298" y="59"/>
                  </a:lnTo>
                  <a:lnTo>
                    <a:pt x="2308" y="50"/>
                  </a:lnTo>
                  <a:lnTo>
                    <a:pt x="2317" y="37"/>
                  </a:lnTo>
                  <a:lnTo>
                    <a:pt x="2327" y="31"/>
                  </a:lnTo>
                  <a:lnTo>
                    <a:pt x="2333" y="25"/>
                  </a:lnTo>
                  <a:lnTo>
                    <a:pt x="2358" y="18"/>
                  </a:lnTo>
                  <a:lnTo>
                    <a:pt x="2386" y="22"/>
                  </a:lnTo>
                  <a:lnTo>
                    <a:pt x="2408" y="25"/>
                  </a:lnTo>
                  <a:lnTo>
                    <a:pt x="2426" y="31"/>
                  </a:lnTo>
                  <a:lnTo>
                    <a:pt x="2445" y="40"/>
                  </a:lnTo>
                  <a:lnTo>
                    <a:pt x="2461" y="50"/>
                  </a:lnTo>
                  <a:lnTo>
                    <a:pt x="2480" y="68"/>
                  </a:lnTo>
                  <a:lnTo>
                    <a:pt x="2498" y="93"/>
                  </a:lnTo>
                  <a:lnTo>
                    <a:pt x="2517" y="109"/>
                  </a:lnTo>
                  <a:lnTo>
                    <a:pt x="2536" y="118"/>
                  </a:lnTo>
                  <a:lnTo>
                    <a:pt x="2561" y="122"/>
                  </a:lnTo>
                  <a:lnTo>
                    <a:pt x="2579" y="128"/>
                  </a:lnTo>
                  <a:lnTo>
                    <a:pt x="2608" y="131"/>
                  </a:lnTo>
                  <a:lnTo>
                    <a:pt x="2642" y="137"/>
                  </a:lnTo>
                  <a:lnTo>
                    <a:pt x="2633" y="165"/>
                  </a:lnTo>
                  <a:lnTo>
                    <a:pt x="2629" y="193"/>
                  </a:lnTo>
                  <a:lnTo>
                    <a:pt x="2633" y="215"/>
                  </a:lnTo>
                  <a:lnTo>
                    <a:pt x="2648" y="234"/>
                  </a:lnTo>
                  <a:lnTo>
                    <a:pt x="2676" y="253"/>
                  </a:lnTo>
                  <a:lnTo>
                    <a:pt x="2698" y="268"/>
                  </a:lnTo>
                  <a:lnTo>
                    <a:pt x="2708" y="271"/>
                  </a:lnTo>
                  <a:lnTo>
                    <a:pt x="2717" y="278"/>
                  </a:lnTo>
                  <a:lnTo>
                    <a:pt x="2726" y="287"/>
                  </a:lnTo>
                  <a:lnTo>
                    <a:pt x="2736" y="293"/>
                  </a:lnTo>
                  <a:lnTo>
                    <a:pt x="2742" y="300"/>
                  </a:lnTo>
                  <a:lnTo>
                    <a:pt x="2745" y="318"/>
                  </a:lnTo>
                  <a:lnTo>
                    <a:pt x="2745" y="343"/>
                  </a:lnTo>
                  <a:lnTo>
                    <a:pt x="2745" y="365"/>
                  </a:lnTo>
                  <a:lnTo>
                    <a:pt x="2754" y="384"/>
                  </a:lnTo>
                  <a:lnTo>
                    <a:pt x="2770" y="387"/>
                  </a:lnTo>
                  <a:lnTo>
                    <a:pt x="2792" y="384"/>
                  </a:lnTo>
                  <a:lnTo>
                    <a:pt x="2814" y="381"/>
                  </a:lnTo>
                  <a:lnTo>
                    <a:pt x="2829" y="384"/>
                  </a:lnTo>
                  <a:lnTo>
                    <a:pt x="2845" y="399"/>
                  </a:lnTo>
                  <a:lnTo>
                    <a:pt x="2854" y="421"/>
                  </a:lnTo>
                  <a:lnTo>
                    <a:pt x="2870" y="437"/>
                  </a:lnTo>
                  <a:lnTo>
                    <a:pt x="2876" y="437"/>
                  </a:lnTo>
                  <a:lnTo>
                    <a:pt x="2882" y="437"/>
                  </a:lnTo>
                  <a:lnTo>
                    <a:pt x="2892" y="437"/>
                  </a:lnTo>
                  <a:lnTo>
                    <a:pt x="2901" y="434"/>
                  </a:lnTo>
                  <a:lnTo>
                    <a:pt x="2907" y="434"/>
                  </a:lnTo>
                  <a:lnTo>
                    <a:pt x="2914" y="437"/>
                  </a:lnTo>
                  <a:lnTo>
                    <a:pt x="2923" y="453"/>
                  </a:lnTo>
                  <a:lnTo>
                    <a:pt x="2929" y="481"/>
                  </a:lnTo>
                  <a:lnTo>
                    <a:pt x="2935" y="509"/>
                  </a:lnTo>
                  <a:lnTo>
                    <a:pt x="2939" y="531"/>
                  </a:lnTo>
                  <a:lnTo>
                    <a:pt x="2948" y="549"/>
                  </a:lnTo>
                  <a:lnTo>
                    <a:pt x="2957" y="571"/>
                  </a:lnTo>
                  <a:lnTo>
                    <a:pt x="2970" y="590"/>
                  </a:lnTo>
                  <a:lnTo>
                    <a:pt x="2982" y="599"/>
                  </a:lnTo>
                  <a:lnTo>
                    <a:pt x="2998" y="596"/>
                  </a:lnTo>
                  <a:lnTo>
                    <a:pt x="3010" y="584"/>
                  </a:lnTo>
                  <a:lnTo>
                    <a:pt x="3026" y="568"/>
                  </a:lnTo>
                  <a:lnTo>
                    <a:pt x="3039" y="559"/>
                  </a:lnTo>
                  <a:lnTo>
                    <a:pt x="3064" y="543"/>
                  </a:lnTo>
                  <a:lnTo>
                    <a:pt x="3092" y="524"/>
                  </a:lnTo>
                  <a:lnTo>
                    <a:pt x="3113" y="502"/>
                  </a:lnTo>
                  <a:lnTo>
                    <a:pt x="3113" y="487"/>
                  </a:lnTo>
                  <a:lnTo>
                    <a:pt x="3113" y="468"/>
                  </a:lnTo>
                  <a:lnTo>
                    <a:pt x="3110" y="449"/>
                  </a:lnTo>
                  <a:lnTo>
                    <a:pt x="3113" y="437"/>
                  </a:lnTo>
                  <a:lnTo>
                    <a:pt x="3126" y="421"/>
                  </a:lnTo>
                  <a:lnTo>
                    <a:pt x="3145" y="406"/>
                  </a:lnTo>
                  <a:lnTo>
                    <a:pt x="3167" y="396"/>
                  </a:lnTo>
                  <a:lnTo>
                    <a:pt x="3188" y="387"/>
                  </a:lnTo>
                  <a:lnTo>
                    <a:pt x="3207" y="384"/>
                  </a:lnTo>
                  <a:lnTo>
                    <a:pt x="3232" y="387"/>
                  </a:lnTo>
                  <a:lnTo>
                    <a:pt x="3251" y="390"/>
                  </a:lnTo>
                  <a:lnTo>
                    <a:pt x="3273" y="403"/>
                  </a:lnTo>
                  <a:lnTo>
                    <a:pt x="3295" y="424"/>
                  </a:lnTo>
                  <a:lnTo>
                    <a:pt x="3307" y="446"/>
                  </a:lnTo>
                  <a:lnTo>
                    <a:pt x="3310" y="462"/>
                  </a:lnTo>
                  <a:lnTo>
                    <a:pt x="3307" y="487"/>
                  </a:lnTo>
                  <a:lnTo>
                    <a:pt x="3304" y="512"/>
                  </a:lnTo>
                  <a:lnTo>
                    <a:pt x="3307" y="527"/>
                  </a:lnTo>
                  <a:lnTo>
                    <a:pt x="3326" y="540"/>
                  </a:lnTo>
                  <a:lnTo>
                    <a:pt x="3354" y="549"/>
                  </a:lnTo>
                  <a:lnTo>
                    <a:pt x="3382" y="556"/>
                  </a:lnTo>
                  <a:lnTo>
                    <a:pt x="3404" y="559"/>
                  </a:lnTo>
                  <a:lnTo>
                    <a:pt x="3435" y="559"/>
                  </a:lnTo>
                  <a:lnTo>
                    <a:pt x="3473" y="559"/>
                  </a:lnTo>
                  <a:lnTo>
                    <a:pt x="3507" y="552"/>
                  </a:lnTo>
                  <a:lnTo>
                    <a:pt x="3535" y="543"/>
                  </a:lnTo>
                  <a:lnTo>
                    <a:pt x="3544" y="537"/>
                  </a:lnTo>
                  <a:lnTo>
                    <a:pt x="3554" y="527"/>
                  </a:lnTo>
                  <a:lnTo>
                    <a:pt x="3563" y="515"/>
                  </a:lnTo>
                  <a:lnTo>
                    <a:pt x="3573" y="502"/>
                  </a:lnTo>
                  <a:lnTo>
                    <a:pt x="3579" y="496"/>
                  </a:lnTo>
                  <a:lnTo>
                    <a:pt x="3604" y="484"/>
                  </a:lnTo>
                  <a:lnTo>
                    <a:pt x="3638" y="471"/>
                  </a:lnTo>
                  <a:lnTo>
                    <a:pt x="3669" y="459"/>
                  </a:lnTo>
                  <a:lnTo>
                    <a:pt x="3691" y="443"/>
                  </a:lnTo>
                  <a:lnTo>
                    <a:pt x="3704" y="421"/>
                  </a:lnTo>
                  <a:lnTo>
                    <a:pt x="3713" y="387"/>
                  </a:lnTo>
                  <a:lnTo>
                    <a:pt x="3719" y="356"/>
                  </a:lnTo>
                  <a:lnTo>
                    <a:pt x="3729" y="328"/>
                  </a:lnTo>
                  <a:lnTo>
                    <a:pt x="3744" y="306"/>
                  </a:lnTo>
                  <a:lnTo>
                    <a:pt x="3766" y="278"/>
                  </a:lnTo>
                  <a:lnTo>
                    <a:pt x="3785" y="259"/>
                  </a:lnTo>
                  <a:lnTo>
                    <a:pt x="3800" y="253"/>
                  </a:lnTo>
                  <a:lnTo>
                    <a:pt x="3822" y="246"/>
                  </a:lnTo>
                  <a:lnTo>
                    <a:pt x="3841" y="240"/>
                  </a:lnTo>
                  <a:lnTo>
                    <a:pt x="3857" y="234"/>
                  </a:lnTo>
                  <a:lnTo>
                    <a:pt x="3863" y="215"/>
                  </a:lnTo>
                  <a:lnTo>
                    <a:pt x="3869" y="193"/>
                  </a:lnTo>
                  <a:lnTo>
                    <a:pt x="3875" y="168"/>
                  </a:lnTo>
                  <a:lnTo>
                    <a:pt x="3882" y="153"/>
                  </a:lnTo>
                  <a:lnTo>
                    <a:pt x="3894" y="159"/>
                  </a:lnTo>
                  <a:lnTo>
                    <a:pt x="3907" y="165"/>
                  </a:lnTo>
                  <a:lnTo>
                    <a:pt x="3916" y="171"/>
                  </a:lnTo>
                  <a:lnTo>
                    <a:pt x="3925" y="178"/>
                  </a:lnTo>
                  <a:lnTo>
                    <a:pt x="3938" y="203"/>
                  </a:lnTo>
                  <a:lnTo>
                    <a:pt x="3947" y="231"/>
                  </a:lnTo>
                  <a:lnTo>
                    <a:pt x="3950" y="259"/>
                  </a:lnTo>
                  <a:lnTo>
                    <a:pt x="3950" y="278"/>
                  </a:lnTo>
                  <a:lnTo>
                    <a:pt x="3944" y="303"/>
                  </a:lnTo>
                  <a:lnTo>
                    <a:pt x="3938" y="324"/>
                  </a:lnTo>
                  <a:lnTo>
                    <a:pt x="3935" y="346"/>
                  </a:lnTo>
                  <a:lnTo>
                    <a:pt x="3935" y="371"/>
                  </a:lnTo>
                  <a:lnTo>
                    <a:pt x="3938" y="406"/>
                  </a:lnTo>
                  <a:lnTo>
                    <a:pt x="3944" y="437"/>
                  </a:lnTo>
                  <a:lnTo>
                    <a:pt x="3944" y="462"/>
                  </a:lnTo>
                  <a:lnTo>
                    <a:pt x="3944" y="484"/>
                  </a:lnTo>
                  <a:lnTo>
                    <a:pt x="3944" y="509"/>
                  </a:lnTo>
                  <a:lnTo>
                    <a:pt x="3941" y="531"/>
                  </a:lnTo>
                  <a:lnTo>
                    <a:pt x="3932" y="546"/>
                  </a:lnTo>
                  <a:lnTo>
                    <a:pt x="3916" y="552"/>
                  </a:lnTo>
                  <a:lnTo>
                    <a:pt x="3891" y="552"/>
                  </a:lnTo>
                  <a:lnTo>
                    <a:pt x="3866" y="549"/>
                  </a:lnTo>
                  <a:lnTo>
                    <a:pt x="3847" y="552"/>
                  </a:lnTo>
                  <a:lnTo>
                    <a:pt x="3822" y="556"/>
                  </a:lnTo>
                  <a:lnTo>
                    <a:pt x="3794" y="568"/>
                  </a:lnTo>
                  <a:lnTo>
                    <a:pt x="3775" y="581"/>
                  </a:lnTo>
                  <a:lnTo>
                    <a:pt x="3769" y="599"/>
                  </a:lnTo>
                  <a:lnTo>
                    <a:pt x="3766" y="621"/>
                  </a:lnTo>
                  <a:lnTo>
                    <a:pt x="3763" y="643"/>
                  </a:lnTo>
                  <a:lnTo>
                    <a:pt x="3760" y="665"/>
                  </a:lnTo>
                  <a:lnTo>
                    <a:pt x="3754" y="690"/>
                  </a:lnTo>
                  <a:lnTo>
                    <a:pt x="3754" y="712"/>
                  </a:lnTo>
                  <a:lnTo>
                    <a:pt x="3757" y="721"/>
                  </a:lnTo>
                  <a:lnTo>
                    <a:pt x="3763" y="730"/>
                  </a:lnTo>
                  <a:lnTo>
                    <a:pt x="3772" y="740"/>
                  </a:lnTo>
                  <a:lnTo>
                    <a:pt x="3779" y="749"/>
                  </a:lnTo>
                  <a:lnTo>
                    <a:pt x="3788" y="755"/>
                  </a:lnTo>
                  <a:lnTo>
                    <a:pt x="3807" y="765"/>
                  </a:lnTo>
                  <a:lnTo>
                    <a:pt x="3835" y="771"/>
                  </a:lnTo>
                  <a:lnTo>
                    <a:pt x="3863" y="777"/>
                  </a:lnTo>
                  <a:lnTo>
                    <a:pt x="3888" y="780"/>
                  </a:lnTo>
                  <a:lnTo>
                    <a:pt x="3907" y="774"/>
                  </a:lnTo>
                  <a:lnTo>
                    <a:pt x="3928" y="765"/>
                  </a:lnTo>
                  <a:lnTo>
                    <a:pt x="3950" y="755"/>
                  </a:lnTo>
                  <a:lnTo>
                    <a:pt x="3969" y="749"/>
                  </a:lnTo>
                  <a:lnTo>
                    <a:pt x="3994" y="746"/>
                  </a:lnTo>
                  <a:lnTo>
                    <a:pt x="4022" y="749"/>
                  </a:lnTo>
                  <a:lnTo>
                    <a:pt x="4047" y="746"/>
                  </a:lnTo>
                  <a:lnTo>
                    <a:pt x="4066" y="734"/>
                  </a:lnTo>
                  <a:lnTo>
                    <a:pt x="4085" y="718"/>
                  </a:lnTo>
                  <a:lnTo>
                    <a:pt x="4100" y="699"/>
                  </a:lnTo>
                  <a:lnTo>
                    <a:pt x="4110" y="674"/>
                  </a:lnTo>
                  <a:lnTo>
                    <a:pt x="4119" y="643"/>
                  </a:lnTo>
                  <a:lnTo>
                    <a:pt x="4131" y="618"/>
                  </a:lnTo>
                  <a:lnTo>
                    <a:pt x="4138" y="612"/>
                  </a:lnTo>
                  <a:lnTo>
                    <a:pt x="4147" y="602"/>
                  </a:lnTo>
                  <a:lnTo>
                    <a:pt x="4156" y="596"/>
                  </a:lnTo>
                  <a:lnTo>
                    <a:pt x="4166" y="590"/>
                  </a:lnTo>
                  <a:lnTo>
                    <a:pt x="4178" y="568"/>
                  </a:lnTo>
                  <a:lnTo>
                    <a:pt x="4188" y="543"/>
                  </a:lnTo>
                  <a:lnTo>
                    <a:pt x="4194" y="521"/>
                  </a:lnTo>
                  <a:lnTo>
                    <a:pt x="4185" y="506"/>
                  </a:lnTo>
                  <a:lnTo>
                    <a:pt x="4172" y="484"/>
                  </a:lnTo>
                  <a:lnTo>
                    <a:pt x="4156" y="462"/>
                  </a:lnTo>
                  <a:lnTo>
                    <a:pt x="4144" y="446"/>
                  </a:lnTo>
                  <a:lnTo>
                    <a:pt x="4138" y="418"/>
                  </a:lnTo>
                  <a:lnTo>
                    <a:pt x="4128" y="384"/>
                  </a:lnTo>
                  <a:lnTo>
                    <a:pt x="4128" y="353"/>
                  </a:lnTo>
                  <a:lnTo>
                    <a:pt x="4131" y="328"/>
                  </a:lnTo>
                  <a:lnTo>
                    <a:pt x="4141" y="296"/>
                  </a:lnTo>
                  <a:lnTo>
                    <a:pt x="4153" y="271"/>
                  </a:lnTo>
                  <a:lnTo>
                    <a:pt x="4169" y="259"/>
                  </a:lnTo>
                  <a:lnTo>
                    <a:pt x="4191" y="250"/>
                  </a:lnTo>
                  <a:lnTo>
                    <a:pt x="4206" y="237"/>
                  </a:lnTo>
                  <a:lnTo>
                    <a:pt x="4216" y="218"/>
                  </a:lnTo>
                  <a:lnTo>
                    <a:pt x="4222" y="196"/>
                  </a:lnTo>
                  <a:lnTo>
                    <a:pt x="4228" y="178"/>
                  </a:lnTo>
                  <a:lnTo>
                    <a:pt x="4247" y="162"/>
                  </a:lnTo>
                  <a:lnTo>
                    <a:pt x="4266" y="150"/>
                  </a:lnTo>
                  <a:lnTo>
                    <a:pt x="4288" y="140"/>
                  </a:lnTo>
                  <a:lnTo>
                    <a:pt x="4309" y="140"/>
                  </a:lnTo>
                  <a:lnTo>
                    <a:pt x="4334" y="140"/>
                  </a:lnTo>
                  <a:lnTo>
                    <a:pt x="4359" y="140"/>
                  </a:lnTo>
                  <a:lnTo>
                    <a:pt x="4366" y="140"/>
                  </a:lnTo>
                  <a:lnTo>
                    <a:pt x="4378" y="140"/>
                  </a:lnTo>
                  <a:lnTo>
                    <a:pt x="4388" y="143"/>
                  </a:lnTo>
                  <a:lnTo>
                    <a:pt x="4400" y="140"/>
                  </a:lnTo>
                  <a:lnTo>
                    <a:pt x="4406" y="140"/>
                  </a:lnTo>
                  <a:lnTo>
                    <a:pt x="4425" y="125"/>
                  </a:lnTo>
                  <a:lnTo>
                    <a:pt x="4441" y="103"/>
                  </a:lnTo>
                  <a:lnTo>
                    <a:pt x="4456" y="81"/>
                  </a:lnTo>
                  <a:lnTo>
                    <a:pt x="4472" y="65"/>
                  </a:lnTo>
                  <a:lnTo>
                    <a:pt x="4494" y="50"/>
                  </a:lnTo>
                  <a:lnTo>
                    <a:pt x="4522" y="34"/>
                  </a:lnTo>
                  <a:lnTo>
                    <a:pt x="4550" y="22"/>
                  </a:lnTo>
                  <a:lnTo>
                    <a:pt x="4575" y="15"/>
                  </a:lnTo>
                  <a:lnTo>
                    <a:pt x="4597" y="12"/>
                  </a:lnTo>
                  <a:lnTo>
                    <a:pt x="4625" y="15"/>
                  </a:lnTo>
                  <a:lnTo>
                    <a:pt x="4647" y="15"/>
                  </a:lnTo>
                  <a:lnTo>
                    <a:pt x="4672" y="9"/>
                  </a:lnTo>
                  <a:lnTo>
                    <a:pt x="4706" y="6"/>
                  </a:lnTo>
                  <a:lnTo>
                    <a:pt x="4734" y="0"/>
                  </a:lnTo>
                  <a:lnTo>
                    <a:pt x="4750" y="0"/>
                  </a:lnTo>
                  <a:lnTo>
                    <a:pt x="4768" y="0"/>
                  </a:lnTo>
                  <a:lnTo>
                    <a:pt x="4784" y="0"/>
                  </a:lnTo>
                  <a:lnTo>
                    <a:pt x="4806" y="9"/>
                  </a:lnTo>
                  <a:lnTo>
                    <a:pt x="4828" y="18"/>
                  </a:lnTo>
                  <a:lnTo>
                    <a:pt x="4847" y="25"/>
                  </a:lnTo>
                  <a:lnTo>
                    <a:pt x="4872" y="28"/>
                  </a:lnTo>
                  <a:lnTo>
                    <a:pt x="4903" y="25"/>
                  </a:lnTo>
                  <a:lnTo>
                    <a:pt x="4934" y="25"/>
                  </a:lnTo>
                  <a:lnTo>
                    <a:pt x="4959" y="25"/>
                  </a:lnTo>
                  <a:lnTo>
                    <a:pt x="4981" y="28"/>
                  </a:lnTo>
                  <a:lnTo>
                    <a:pt x="5006" y="31"/>
                  </a:lnTo>
                  <a:lnTo>
                    <a:pt x="5028" y="40"/>
                  </a:lnTo>
                  <a:lnTo>
                    <a:pt x="5037" y="53"/>
                  </a:lnTo>
                  <a:lnTo>
                    <a:pt x="5046" y="75"/>
                  </a:lnTo>
                  <a:lnTo>
                    <a:pt x="5053" y="93"/>
                  </a:lnTo>
                  <a:lnTo>
                    <a:pt x="5056" y="115"/>
                  </a:lnTo>
                  <a:lnTo>
                    <a:pt x="5059" y="140"/>
                  </a:lnTo>
                  <a:lnTo>
                    <a:pt x="5059" y="168"/>
                  </a:lnTo>
                  <a:lnTo>
                    <a:pt x="5053" y="190"/>
                  </a:lnTo>
                  <a:lnTo>
                    <a:pt x="5050" y="196"/>
                  </a:lnTo>
                  <a:lnTo>
                    <a:pt x="5040" y="203"/>
                  </a:lnTo>
                  <a:lnTo>
                    <a:pt x="5034" y="212"/>
                  </a:lnTo>
                  <a:lnTo>
                    <a:pt x="5025" y="218"/>
                  </a:lnTo>
                  <a:lnTo>
                    <a:pt x="5021" y="228"/>
                  </a:lnTo>
                  <a:lnTo>
                    <a:pt x="5021" y="250"/>
                  </a:lnTo>
                  <a:lnTo>
                    <a:pt x="5028" y="278"/>
                  </a:lnTo>
                  <a:lnTo>
                    <a:pt x="5037" y="300"/>
                  </a:lnTo>
                  <a:lnTo>
                    <a:pt x="5053" y="318"/>
                  </a:lnTo>
                  <a:lnTo>
                    <a:pt x="5071" y="337"/>
                  </a:lnTo>
                  <a:lnTo>
                    <a:pt x="5087" y="353"/>
                  </a:lnTo>
                  <a:lnTo>
                    <a:pt x="5093" y="359"/>
                  </a:lnTo>
                  <a:lnTo>
                    <a:pt x="5103" y="368"/>
                  </a:lnTo>
                  <a:lnTo>
                    <a:pt x="5109" y="378"/>
                  </a:lnTo>
                  <a:lnTo>
                    <a:pt x="5115" y="390"/>
                  </a:lnTo>
                  <a:lnTo>
                    <a:pt x="5121" y="396"/>
                  </a:lnTo>
                  <a:lnTo>
                    <a:pt x="5124" y="421"/>
                  </a:lnTo>
                  <a:lnTo>
                    <a:pt x="5128" y="449"/>
                  </a:lnTo>
                  <a:lnTo>
                    <a:pt x="5124" y="477"/>
                  </a:lnTo>
                  <a:lnTo>
                    <a:pt x="5121" y="499"/>
                  </a:lnTo>
                  <a:lnTo>
                    <a:pt x="5106" y="521"/>
                  </a:lnTo>
                  <a:lnTo>
                    <a:pt x="5087" y="543"/>
                  </a:lnTo>
                  <a:lnTo>
                    <a:pt x="5071" y="565"/>
                  </a:lnTo>
                  <a:lnTo>
                    <a:pt x="5068" y="590"/>
                  </a:lnTo>
                  <a:lnTo>
                    <a:pt x="5065" y="621"/>
                  </a:lnTo>
                  <a:lnTo>
                    <a:pt x="5065" y="649"/>
                  </a:lnTo>
                  <a:lnTo>
                    <a:pt x="5059" y="668"/>
                  </a:lnTo>
                  <a:lnTo>
                    <a:pt x="5046" y="693"/>
                  </a:lnTo>
                  <a:lnTo>
                    <a:pt x="5043" y="715"/>
                  </a:lnTo>
                  <a:lnTo>
                    <a:pt x="5046" y="721"/>
                  </a:lnTo>
                  <a:lnTo>
                    <a:pt x="5053" y="730"/>
                  </a:lnTo>
                  <a:lnTo>
                    <a:pt x="5059" y="743"/>
                  </a:lnTo>
                  <a:lnTo>
                    <a:pt x="5065" y="749"/>
                  </a:lnTo>
                  <a:lnTo>
                    <a:pt x="5071" y="755"/>
                  </a:lnTo>
                  <a:lnTo>
                    <a:pt x="5078" y="759"/>
                  </a:lnTo>
                  <a:lnTo>
                    <a:pt x="5087" y="765"/>
                  </a:lnTo>
                  <a:lnTo>
                    <a:pt x="5096" y="768"/>
                  </a:lnTo>
                  <a:lnTo>
                    <a:pt x="5106" y="768"/>
                  </a:lnTo>
                  <a:lnTo>
                    <a:pt x="5115" y="768"/>
                  </a:lnTo>
                  <a:lnTo>
                    <a:pt x="5131" y="768"/>
                  </a:lnTo>
                  <a:lnTo>
                    <a:pt x="5149" y="762"/>
                  </a:lnTo>
                  <a:lnTo>
                    <a:pt x="5165" y="755"/>
                  </a:lnTo>
                  <a:lnTo>
                    <a:pt x="5181" y="755"/>
                  </a:lnTo>
                  <a:lnTo>
                    <a:pt x="5193" y="768"/>
                  </a:lnTo>
                  <a:lnTo>
                    <a:pt x="5203" y="790"/>
                  </a:lnTo>
                  <a:lnTo>
                    <a:pt x="5209" y="808"/>
                  </a:lnTo>
                  <a:lnTo>
                    <a:pt x="5206" y="827"/>
                  </a:lnTo>
                  <a:lnTo>
                    <a:pt x="5196" y="852"/>
                  </a:lnTo>
                  <a:lnTo>
                    <a:pt x="5190" y="874"/>
                  </a:lnTo>
                  <a:lnTo>
                    <a:pt x="5190" y="887"/>
                  </a:lnTo>
                  <a:lnTo>
                    <a:pt x="5187" y="905"/>
                  </a:lnTo>
                  <a:lnTo>
                    <a:pt x="5184" y="927"/>
                  </a:lnTo>
                  <a:lnTo>
                    <a:pt x="5184" y="943"/>
                  </a:lnTo>
                  <a:lnTo>
                    <a:pt x="5190" y="952"/>
                  </a:lnTo>
                  <a:lnTo>
                    <a:pt x="5196" y="955"/>
                  </a:lnTo>
                  <a:lnTo>
                    <a:pt x="5203" y="952"/>
                  </a:lnTo>
                  <a:lnTo>
                    <a:pt x="5212" y="949"/>
                  </a:lnTo>
                  <a:lnTo>
                    <a:pt x="5218" y="946"/>
                  </a:lnTo>
                  <a:lnTo>
                    <a:pt x="5228" y="943"/>
                  </a:lnTo>
                  <a:lnTo>
                    <a:pt x="5234" y="940"/>
                  </a:lnTo>
                  <a:lnTo>
                    <a:pt x="5240" y="940"/>
                  </a:lnTo>
                  <a:lnTo>
                    <a:pt x="5259" y="940"/>
                  </a:lnTo>
                  <a:lnTo>
                    <a:pt x="5277" y="946"/>
                  </a:lnTo>
                  <a:lnTo>
                    <a:pt x="5293" y="952"/>
                  </a:lnTo>
                  <a:lnTo>
                    <a:pt x="5302" y="974"/>
                  </a:lnTo>
                  <a:lnTo>
                    <a:pt x="5315" y="1027"/>
                  </a:lnTo>
                  <a:lnTo>
                    <a:pt x="5324" y="1046"/>
                  </a:lnTo>
                  <a:lnTo>
                    <a:pt x="5337" y="1055"/>
                  </a:lnTo>
                  <a:lnTo>
                    <a:pt x="5356" y="1058"/>
                  </a:lnTo>
                  <a:lnTo>
                    <a:pt x="5377" y="1061"/>
                  </a:lnTo>
                  <a:lnTo>
                    <a:pt x="5390" y="1068"/>
                  </a:lnTo>
                  <a:lnTo>
                    <a:pt x="5409" y="1080"/>
                  </a:lnTo>
                  <a:lnTo>
                    <a:pt x="5427" y="1102"/>
                  </a:lnTo>
                  <a:lnTo>
                    <a:pt x="5440" y="1121"/>
                  </a:lnTo>
                  <a:lnTo>
                    <a:pt x="5449" y="1143"/>
                  </a:lnTo>
                  <a:lnTo>
                    <a:pt x="5455" y="1171"/>
                  </a:lnTo>
                  <a:lnTo>
                    <a:pt x="5459" y="1199"/>
                  </a:lnTo>
                  <a:lnTo>
                    <a:pt x="5459" y="1221"/>
                  </a:lnTo>
                  <a:lnTo>
                    <a:pt x="5449" y="1243"/>
                  </a:lnTo>
                  <a:lnTo>
                    <a:pt x="5434" y="1264"/>
                  </a:lnTo>
                  <a:lnTo>
                    <a:pt x="5421" y="1286"/>
                  </a:lnTo>
                  <a:lnTo>
                    <a:pt x="5421" y="1305"/>
                  </a:lnTo>
                  <a:lnTo>
                    <a:pt x="5424" y="1324"/>
                  </a:lnTo>
                  <a:lnTo>
                    <a:pt x="5424" y="1346"/>
                  </a:lnTo>
                  <a:lnTo>
                    <a:pt x="5421" y="1361"/>
                  </a:lnTo>
                  <a:lnTo>
                    <a:pt x="5409" y="1374"/>
                  </a:lnTo>
                  <a:lnTo>
                    <a:pt x="5387" y="1389"/>
                  </a:lnTo>
                  <a:lnTo>
                    <a:pt x="5365" y="1399"/>
                  </a:lnTo>
                  <a:lnTo>
                    <a:pt x="5346" y="1405"/>
                  </a:lnTo>
                  <a:lnTo>
                    <a:pt x="5327" y="1405"/>
                  </a:lnTo>
                  <a:lnTo>
                    <a:pt x="5306" y="1402"/>
                  </a:lnTo>
                  <a:lnTo>
                    <a:pt x="5281" y="1399"/>
                  </a:lnTo>
                  <a:lnTo>
                    <a:pt x="5259" y="1396"/>
                  </a:lnTo>
                  <a:lnTo>
                    <a:pt x="5240" y="1399"/>
                  </a:lnTo>
                  <a:lnTo>
                    <a:pt x="5237" y="1402"/>
                  </a:lnTo>
                  <a:lnTo>
                    <a:pt x="5234" y="1408"/>
                  </a:lnTo>
                  <a:lnTo>
                    <a:pt x="5231" y="1417"/>
                  </a:lnTo>
                  <a:lnTo>
                    <a:pt x="5228" y="1424"/>
                  </a:lnTo>
                  <a:lnTo>
                    <a:pt x="5221" y="1433"/>
                  </a:lnTo>
                  <a:lnTo>
                    <a:pt x="5218" y="1436"/>
                  </a:lnTo>
                  <a:lnTo>
                    <a:pt x="5199" y="1442"/>
                  </a:lnTo>
                  <a:lnTo>
                    <a:pt x="5174" y="1442"/>
                  </a:lnTo>
                  <a:lnTo>
                    <a:pt x="5153" y="1445"/>
                  </a:lnTo>
                  <a:lnTo>
                    <a:pt x="5134" y="1452"/>
                  </a:lnTo>
                  <a:lnTo>
                    <a:pt x="5118" y="1474"/>
                  </a:lnTo>
                  <a:lnTo>
                    <a:pt x="5106" y="1505"/>
                  </a:lnTo>
                  <a:lnTo>
                    <a:pt x="5100" y="1539"/>
                  </a:lnTo>
                  <a:lnTo>
                    <a:pt x="5096" y="1567"/>
                  </a:lnTo>
                  <a:lnTo>
                    <a:pt x="5100" y="1586"/>
                  </a:lnTo>
                  <a:lnTo>
                    <a:pt x="5106" y="1611"/>
                  </a:lnTo>
                  <a:lnTo>
                    <a:pt x="5115" y="1636"/>
                  </a:lnTo>
                  <a:lnTo>
                    <a:pt x="5121" y="1655"/>
                  </a:lnTo>
                  <a:lnTo>
                    <a:pt x="5121" y="1677"/>
                  </a:lnTo>
                  <a:lnTo>
                    <a:pt x="5121" y="1702"/>
                  </a:lnTo>
                  <a:lnTo>
                    <a:pt x="5121" y="1723"/>
                  </a:lnTo>
                  <a:lnTo>
                    <a:pt x="5137" y="1748"/>
                  </a:lnTo>
                  <a:lnTo>
                    <a:pt x="5156" y="1773"/>
                  </a:lnTo>
                  <a:lnTo>
                    <a:pt x="5171" y="1792"/>
                  </a:lnTo>
                  <a:lnTo>
                    <a:pt x="5181" y="1801"/>
                  </a:lnTo>
                  <a:lnTo>
                    <a:pt x="5187" y="1814"/>
                  </a:lnTo>
                  <a:lnTo>
                    <a:pt x="5196" y="1823"/>
                  </a:lnTo>
                  <a:lnTo>
                    <a:pt x="5209" y="1833"/>
                  </a:lnTo>
                  <a:lnTo>
                    <a:pt x="5215" y="1839"/>
                  </a:lnTo>
                  <a:lnTo>
                    <a:pt x="5234" y="1842"/>
                  </a:lnTo>
                  <a:lnTo>
                    <a:pt x="5256" y="1842"/>
                  </a:lnTo>
                  <a:lnTo>
                    <a:pt x="5281" y="1839"/>
                  </a:lnTo>
                  <a:lnTo>
                    <a:pt x="5299" y="1842"/>
                  </a:lnTo>
                  <a:lnTo>
                    <a:pt x="5321" y="1848"/>
                  </a:lnTo>
                  <a:lnTo>
                    <a:pt x="5346" y="1858"/>
                  </a:lnTo>
                  <a:lnTo>
                    <a:pt x="5368" y="1867"/>
                  </a:lnTo>
                  <a:lnTo>
                    <a:pt x="5387" y="1870"/>
                  </a:lnTo>
                  <a:lnTo>
                    <a:pt x="5406" y="1873"/>
                  </a:lnTo>
                  <a:lnTo>
                    <a:pt x="5427" y="1883"/>
                  </a:lnTo>
                  <a:lnTo>
                    <a:pt x="5440" y="1892"/>
                  </a:lnTo>
                  <a:lnTo>
                    <a:pt x="5443" y="1895"/>
                  </a:lnTo>
                  <a:lnTo>
                    <a:pt x="5443" y="1905"/>
                  </a:lnTo>
                  <a:lnTo>
                    <a:pt x="5443" y="1911"/>
                  </a:lnTo>
                  <a:lnTo>
                    <a:pt x="5443" y="1920"/>
                  </a:lnTo>
                  <a:lnTo>
                    <a:pt x="5443" y="1926"/>
                  </a:lnTo>
                  <a:lnTo>
                    <a:pt x="5434" y="1939"/>
                  </a:lnTo>
                  <a:lnTo>
                    <a:pt x="5424" y="1954"/>
                  </a:lnTo>
                  <a:lnTo>
                    <a:pt x="5412" y="1970"/>
                  </a:lnTo>
                  <a:lnTo>
                    <a:pt x="5406" y="1983"/>
                  </a:lnTo>
                  <a:lnTo>
                    <a:pt x="5412" y="1998"/>
                  </a:lnTo>
                  <a:lnTo>
                    <a:pt x="5424" y="2017"/>
                  </a:lnTo>
                  <a:lnTo>
                    <a:pt x="5437" y="2036"/>
                  </a:lnTo>
                  <a:lnTo>
                    <a:pt x="5446" y="2051"/>
                  </a:lnTo>
                  <a:lnTo>
                    <a:pt x="5449" y="2073"/>
                  </a:lnTo>
                  <a:lnTo>
                    <a:pt x="5449" y="2104"/>
                  </a:lnTo>
                  <a:lnTo>
                    <a:pt x="5446" y="2132"/>
                  </a:lnTo>
                  <a:lnTo>
                    <a:pt x="5446" y="2154"/>
                  </a:lnTo>
                  <a:lnTo>
                    <a:pt x="5449" y="2176"/>
                  </a:lnTo>
                  <a:lnTo>
                    <a:pt x="5452" y="2198"/>
                  </a:lnTo>
                  <a:lnTo>
                    <a:pt x="5459" y="2217"/>
                  </a:lnTo>
                  <a:lnTo>
                    <a:pt x="5474" y="2220"/>
                  </a:lnTo>
                  <a:lnTo>
                    <a:pt x="5493" y="2223"/>
                  </a:lnTo>
                  <a:lnTo>
                    <a:pt x="5512" y="2220"/>
                  </a:lnTo>
                  <a:lnTo>
                    <a:pt x="5530" y="2223"/>
                  </a:lnTo>
                  <a:lnTo>
                    <a:pt x="5537" y="2229"/>
                  </a:lnTo>
                  <a:lnTo>
                    <a:pt x="5546" y="2239"/>
                  </a:lnTo>
                  <a:lnTo>
                    <a:pt x="5552" y="2245"/>
                  </a:lnTo>
                  <a:lnTo>
                    <a:pt x="5562" y="2254"/>
                  </a:lnTo>
                  <a:lnTo>
                    <a:pt x="5568" y="2260"/>
                  </a:lnTo>
                  <a:lnTo>
                    <a:pt x="5587" y="2270"/>
                  </a:lnTo>
                  <a:lnTo>
                    <a:pt x="5612" y="2276"/>
                  </a:lnTo>
                  <a:lnTo>
                    <a:pt x="5627" y="2285"/>
                  </a:lnTo>
                  <a:lnTo>
                    <a:pt x="5640" y="2301"/>
                  </a:lnTo>
                  <a:lnTo>
                    <a:pt x="5649" y="2320"/>
                  </a:lnTo>
                  <a:lnTo>
                    <a:pt x="5658" y="2339"/>
                  </a:lnTo>
                  <a:lnTo>
                    <a:pt x="5662" y="2348"/>
                  </a:lnTo>
                  <a:lnTo>
                    <a:pt x="5665" y="2357"/>
                  </a:lnTo>
                  <a:lnTo>
                    <a:pt x="5671" y="2370"/>
                  </a:lnTo>
                  <a:lnTo>
                    <a:pt x="5674" y="2376"/>
                  </a:lnTo>
                  <a:lnTo>
                    <a:pt x="5693" y="2392"/>
                  </a:lnTo>
                  <a:lnTo>
                    <a:pt x="5715" y="2404"/>
                  </a:lnTo>
                  <a:lnTo>
                    <a:pt x="5737" y="2410"/>
                  </a:lnTo>
                  <a:lnTo>
                    <a:pt x="5743" y="2413"/>
                  </a:lnTo>
                  <a:lnTo>
                    <a:pt x="5752" y="2413"/>
                  </a:lnTo>
                  <a:lnTo>
                    <a:pt x="5762" y="2417"/>
                  </a:lnTo>
                  <a:lnTo>
                    <a:pt x="5768" y="2417"/>
                  </a:lnTo>
                  <a:lnTo>
                    <a:pt x="5774" y="2423"/>
                  </a:lnTo>
                  <a:lnTo>
                    <a:pt x="5783" y="2435"/>
                  </a:lnTo>
                  <a:lnTo>
                    <a:pt x="5790" y="2457"/>
                  </a:lnTo>
                  <a:lnTo>
                    <a:pt x="5790" y="2476"/>
                  </a:lnTo>
                  <a:lnTo>
                    <a:pt x="5786" y="2482"/>
                  </a:lnTo>
                  <a:lnTo>
                    <a:pt x="5777" y="2485"/>
                  </a:lnTo>
                  <a:lnTo>
                    <a:pt x="5771" y="2492"/>
                  </a:lnTo>
                  <a:lnTo>
                    <a:pt x="5762" y="2495"/>
                  </a:lnTo>
                  <a:lnTo>
                    <a:pt x="5755" y="2501"/>
                  </a:lnTo>
                  <a:lnTo>
                    <a:pt x="5749" y="2507"/>
                  </a:lnTo>
                  <a:lnTo>
                    <a:pt x="5746" y="2526"/>
                  </a:lnTo>
                  <a:lnTo>
                    <a:pt x="5749" y="2548"/>
                  </a:lnTo>
                  <a:lnTo>
                    <a:pt x="5746" y="2566"/>
                  </a:lnTo>
                  <a:lnTo>
                    <a:pt x="5740" y="2573"/>
                  </a:lnTo>
                  <a:lnTo>
                    <a:pt x="5733" y="2579"/>
                  </a:lnTo>
                  <a:lnTo>
                    <a:pt x="5727" y="2588"/>
                  </a:lnTo>
                  <a:lnTo>
                    <a:pt x="5718" y="2595"/>
                  </a:lnTo>
                  <a:lnTo>
                    <a:pt x="5712" y="2601"/>
                  </a:lnTo>
                  <a:lnTo>
                    <a:pt x="5702" y="2613"/>
                  </a:lnTo>
                  <a:lnTo>
                    <a:pt x="5687" y="2632"/>
                  </a:lnTo>
                  <a:lnTo>
                    <a:pt x="5677" y="2648"/>
                  </a:lnTo>
                  <a:lnTo>
                    <a:pt x="5671" y="2663"/>
                  </a:lnTo>
                  <a:lnTo>
                    <a:pt x="5677" y="2682"/>
                  </a:lnTo>
                  <a:lnTo>
                    <a:pt x="5690" y="2704"/>
                  </a:lnTo>
                  <a:lnTo>
                    <a:pt x="5705" y="2726"/>
                  </a:lnTo>
                  <a:lnTo>
                    <a:pt x="5712" y="2744"/>
                  </a:lnTo>
                  <a:lnTo>
                    <a:pt x="5712" y="2766"/>
                  </a:lnTo>
                  <a:lnTo>
                    <a:pt x="5702" y="2794"/>
                  </a:lnTo>
                  <a:lnTo>
                    <a:pt x="5693" y="2813"/>
                  </a:lnTo>
                  <a:lnTo>
                    <a:pt x="5683" y="2832"/>
                  </a:lnTo>
                  <a:lnTo>
                    <a:pt x="5665" y="2851"/>
                  </a:lnTo>
                  <a:lnTo>
                    <a:pt x="5646" y="2866"/>
                  </a:lnTo>
                  <a:lnTo>
                    <a:pt x="5630" y="2876"/>
                  </a:lnTo>
                  <a:lnTo>
                    <a:pt x="5609" y="2879"/>
                  </a:lnTo>
                  <a:lnTo>
                    <a:pt x="5584" y="2873"/>
                  </a:lnTo>
                  <a:lnTo>
                    <a:pt x="5555" y="2869"/>
                  </a:lnTo>
                  <a:lnTo>
                    <a:pt x="5534" y="2873"/>
                  </a:lnTo>
                  <a:lnTo>
                    <a:pt x="5530" y="2876"/>
                  </a:lnTo>
                  <a:lnTo>
                    <a:pt x="5524" y="2882"/>
                  </a:lnTo>
                  <a:lnTo>
                    <a:pt x="5518" y="2891"/>
                  </a:lnTo>
                  <a:lnTo>
                    <a:pt x="5512" y="2897"/>
                  </a:lnTo>
                  <a:lnTo>
                    <a:pt x="5509" y="2904"/>
                  </a:lnTo>
                  <a:lnTo>
                    <a:pt x="5493" y="2910"/>
                  </a:lnTo>
                  <a:lnTo>
                    <a:pt x="5474" y="2916"/>
                  </a:lnTo>
                  <a:lnTo>
                    <a:pt x="5459" y="2922"/>
                  </a:lnTo>
                  <a:lnTo>
                    <a:pt x="5449" y="2926"/>
                  </a:lnTo>
                  <a:lnTo>
                    <a:pt x="5443" y="2932"/>
                  </a:lnTo>
                  <a:lnTo>
                    <a:pt x="5437" y="2951"/>
                  </a:lnTo>
                  <a:lnTo>
                    <a:pt x="5424" y="2972"/>
                  </a:lnTo>
                  <a:lnTo>
                    <a:pt x="5412" y="3001"/>
                  </a:lnTo>
                  <a:lnTo>
                    <a:pt x="5402" y="3022"/>
                  </a:lnTo>
                  <a:lnTo>
                    <a:pt x="5390" y="3038"/>
                  </a:lnTo>
                  <a:lnTo>
                    <a:pt x="5368" y="3050"/>
                  </a:lnTo>
                  <a:lnTo>
                    <a:pt x="5343" y="3057"/>
                  </a:lnTo>
                  <a:lnTo>
                    <a:pt x="5321" y="3066"/>
                  </a:lnTo>
                  <a:lnTo>
                    <a:pt x="5315" y="3072"/>
                  </a:lnTo>
                  <a:lnTo>
                    <a:pt x="5309" y="3082"/>
                  </a:lnTo>
                  <a:lnTo>
                    <a:pt x="5302" y="3091"/>
                  </a:lnTo>
                  <a:lnTo>
                    <a:pt x="5296" y="3097"/>
                  </a:lnTo>
                  <a:lnTo>
                    <a:pt x="5290" y="3100"/>
                  </a:lnTo>
                  <a:lnTo>
                    <a:pt x="5265" y="3100"/>
                  </a:lnTo>
                  <a:lnTo>
                    <a:pt x="5234" y="3094"/>
                  </a:lnTo>
                  <a:lnTo>
                    <a:pt x="5203" y="3082"/>
                  </a:lnTo>
                  <a:lnTo>
                    <a:pt x="5181" y="3069"/>
                  </a:lnTo>
                  <a:lnTo>
                    <a:pt x="5174" y="3063"/>
                  </a:lnTo>
                  <a:lnTo>
                    <a:pt x="5168" y="3057"/>
                  </a:lnTo>
                  <a:lnTo>
                    <a:pt x="5159" y="3050"/>
                  </a:lnTo>
                  <a:lnTo>
                    <a:pt x="5153" y="3044"/>
                  </a:lnTo>
                  <a:lnTo>
                    <a:pt x="5146" y="3041"/>
                  </a:lnTo>
                  <a:lnTo>
                    <a:pt x="5121" y="3038"/>
                  </a:lnTo>
                  <a:lnTo>
                    <a:pt x="5090" y="3038"/>
                  </a:lnTo>
                  <a:lnTo>
                    <a:pt x="5062" y="3044"/>
                  </a:lnTo>
                  <a:lnTo>
                    <a:pt x="5037" y="3050"/>
                  </a:lnTo>
                  <a:lnTo>
                    <a:pt x="5012" y="3060"/>
                  </a:lnTo>
                  <a:lnTo>
                    <a:pt x="4984" y="3079"/>
                  </a:lnTo>
                  <a:lnTo>
                    <a:pt x="4962" y="3097"/>
                  </a:lnTo>
                  <a:lnTo>
                    <a:pt x="4946" y="3122"/>
                  </a:lnTo>
                  <a:lnTo>
                    <a:pt x="4934" y="3157"/>
                  </a:lnTo>
                  <a:lnTo>
                    <a:pt x="4925" y="3188"/>
                  </a:lnTo>
                  <a:lnTo>
                    <a:pt x="4915" y="3188"/>
                  </a:lnTo>
                  <a:lnTo>
                    <a:pt x="4903" y="3188"/>
                  </a:lnTo>
                  <a:lnTo>
                    <a:pt x="4897" y="3191"/>
                  </a:lnTo>
                  <a:lnTo>
                    <a:pt x="4884" y="3200"/>
                  </a:lnTo>
                  <a:lnTo>
                    <a:pt x="4865" y="3238"/>
                  </a:lnTo>
                  <a:lnTo>
                    <a:pt x="4853" y="3250"/>
                  </a:lnTo>
                  <a:lnTo>
                    <a:pt x="4834" y="3253"/>
                  </a:lnTo>
                  <a:lnTo>
                    <a:pt x="4812" y="3253"/>
                  </a:lnTo>
                  <a:lnTo>
                    <a:pt x="4790" y="3250"/>
                  </a:lnTo>
                  <a:lnTo>
                    <a:pt x="4784" y="3250"/>
                  </a:lnTo>
                  <a:lnTo>
                    <a:pt x="4778" y="3247"/>
                  </a:lnTo>
                  <a:lnTo>
                    <a:pt x="4772" y="3244"/>
                  </a:lnTo>
                  <a:lnTo>
                    <a:pt x="4762" y="3241"/>
                  </a:lnTo>
                  <a:lnTo>
                    <a:pt x="4756" y="3238"/>
                  </a:lnTo>
                  <a:lnTo>
                    <a:pt x="4747" y="3238"/>
                  </a:lnTo>
                  <a:lnTo>
                    <a:pt x="4744" y="3241"/>
                  </a:lnTo>
                  <a:lnTo>
                    <a:pt x="4740" y="3244"/>
                  </a:lnTo>
                  <a:lnTo>
                    <a:pt x="4740" y="3250"/>
                  </a:lnTo>
                  <a:lnTo>
                    <a:pt x="4740" y="3257"/>
                  </a:lnTo>
                  <a:lnTo>
                    <a:pt x="4740" y="3266"/>
                  </a:lnTo>
                  <a:lnTo>
                    <a:pt x="4744" y="3275"/>
                  </a:lnTo>
                  <a:lnTo>
                    <a:pt x="4744" y="3282"/>
                  </a:lnTo>
                  <a:lnTo>
                    <a:pt x="4744" y="3288"/>
                  </a:lnTo>
                  <a:lnTo>
                    <a:pt x="4737" y="3310"/>
                  </a:lnTo>
                  <a:lnTo>
                    <a:pt x="4731" y="3338"/>
                  </a:lnTo>
                  <a:lnTo>
                    <a:pt x="4722" y="3357"/>
                  </a:lnTo>
                  <a:lnTo>
                    <a:pt x="4715" y="3363"/>
                  </a:lnTo>
                  <a:lnTo>
                    <a:pt x="4706" y="3369"/>
                  </a:lnTo>
                  <a:lnTo>
                    <a:pt x="4697" y="3372"/>
                  </a:lnTo>
                  <a:lnTo>
                    <a:pt x="4690" y="3375"/>
                  </a:lnTo>
                  <a:lnTo>
                    <a:pt x="4681" y="3378"/>
                  </a:lnTo>
                  <a:lnTo>
                    <a:pt x="4662" y="3372"/>
                  </a:lnTo>
                  <a:lnTo>
                    <a:pt x="4644" y="3360"/>
                  </a:lnTo>
                  <a:lnTo>
                    <a:pt x="4625" y="3350"/>
                  </a:lnTo>
                  <a:lnTo>
                    <a:pt x="4606" y="3350"/>
                  </a:lnTo>
                  <a:lnTo>
                    <a:pt x="4581" y="3353"/>
                  </a:lnTo>
                  <a:lnTo>
                    <a:pt x="4559" y="3353"/>
                  </a:lnTo>
                  <a:lnTo>
                    <a:pt x="4541" y="3347"/>
                  </a:lnTo>
                  <a:lnTo>
                    <a:pt x="4537" y="3338"/>
                  </a:lnTo>
                  <a:lnTo>
                    <a:pt x="4534" y="3322"/>
                  </a:lnTo>
                  <a:lnTo>
                    <a:pt x="4534" y="3307"/>
                  </a:lnTo>
                  <a:lnTo>
                    <a:pt x="4531" y="3294"/>
                  </a:lnTo>
                  <a:lnTo>
                    <a:pt x="4522" y="3272"/>
                  </a:lnTo>
                  <a:lnTo>
                    <a:pt x="4503" y="3247"/>
                  </a:lnTo>
                  <a:lnTo>
                    <a:pt x="4484" y="3232"/>
                  </a:lnTo>
                  <a:lnTo>
                    <a:pt x="4462" y="3225"/>
                  </a:lnTo>
                  <a:lnTo>
                    <a:pt x="4434" y="3225"/>
                  </a:lnTo>
                  <a:lnTo>
                    <a:pt x="4413" y="3232"/>
                  </a:lnTo>
                  <a:lnTo>
                    <a:pt x="4406" y="3235"/>
                  </a:lnTo>
                  <a:lnTo>
                    <a:pt x="4400" y="3241"/>
                  </a:lnTo>
                  <a:lnTo>
                    <a:pt x="4397" y="3247"/>
                  </a:lnTo>
                  <a:lnTo>
                    <a:pt x="4391" y="3250"/>
                  </a:lnTo>
                  <a:lnTo>
                    <a:pt x="4384" y="3257"/>
                  </a:lnTo>
                  <a:lnTo>
                    <a:pt x="4369" y="3253"/>
                  </a:lnTo>
                  <a:lnTo>
                    <a:pt x="4347" y="3247"/>
                  </a:lnTo>
                  <a:lnTo>
                    <a:pt x="4331" y="3244"/>
                  </a:lnTo>
                  <a:lnTo>
                    <a:pt x="4325" y="3247"/>
                  </a:lnTo>
                  <a:lnTo>
                    <a:pt x="4316" y="3250"/>
                  </a:lnTo>
                  <a:lnTo>
                    <a:pt x="4309" y="3253"/>
                  </a:lnTo>
                  <a:lnTo>
                    <a:pt x="4300" y="3260"/>
                  </a:lnTo>
                  <a:lnTo>
                    <a:pt x="4297" y="3266"/>
                  </a:lnTo>
                  <a:lnTo>
                    <a:pt x="4294" y="3282"/>
                  </a:lnTo>
                  <a:lnTo>
                    <a:pt x="4297" y="3303"/>
                  </a:lnTo>
                  <a:lnTo>
                    <a:pt x="4297" y="3319"/>
                  </a:lnTo>
                  <a:lnTo>
                    <a:pt x="4294" y="3328"/>
                  </a:lnTo>
                  <a:lnTo>
                    <a:pt x="4291" y="3338"/>
                  </a:lnTo>
                  <a:lnTo>
                    <a:pt x="4288" y="3347"/>
                  </a:lnTo>
                  <a:lnTo>
                    <a:pt x="4284" y="3353"/>
                  </a:lnTo>
                  <a:lnTo>
                    <a:pt x="4281" y="3363"/>
                  </a:lnTo>
                  <a:lnTo>
                    <a:pt x="4275" y="3369"/>
                  </a:lnTo>
                  <a:lnTo>
                    <a:pt x="4269" y="3378"/>
                  </a:lnTo>
                  <a:lnTo>
                    <a:pt x="4263" y="3385"/>
                  </a:lnTo>
                  <a:lnTo>
                    <a:pt x="4259" y="3394"/>
                  </a:lnTo>
                  <a:lnTo>
                    <a:pt x="4253" y="3413"/>
                  </a:lnTo>
                  <a:lnTo>
                    <a:pt x="4247" y="3435"/>
                  </a:lnTo>
                  <a:lnTo>
                    <a:pt x="4250" y="3453"/>
                  </a:lnTo>
                  <a:lnTo>
                    <a:pt x="4253" y="3460"/>
                  </a:lnTo>
                  <a:lnTo>
                    <a:pt x="4259" y="3466"/>
                  </a:lnTo>
                  <a:lnTo>
                    <a:pt x="4269" y="3469"/>
                  </a:lnTo>
                  <a:lnTo>
                    <a:pt x="4275" y="3475"/>
                  </a:lnTo>
                  <a:lnTo>
                    <a:pt x="4278" y="3481"/>
                  </a:lnTo>
                  <a:lnTo>
                    <a:pt x="4284" y="3488"/>
                  </a:lnTo>
                  <a:lnTo>
                    <a:pt x="4288" y="3494"/>
                  </a:lnTo>
                  <a:lnTo>
                    <a:pt x="4291" y="3500"/>
                  </a:lnTo>
                  <a:lnTo>
                    <a:pt x="4297" y="3503"/>
                  </a:lnTo>
                  <a:lnTo>
                    <a:pt x="4309" y="3503"/>
                  </a:lnTo>
                  <a:lnTo>
                    <a:pt x="4328" y="3500"/>
                  </a:lnTo>
                  <a:lnTo>
                    <a:pt x="4344" y="3494"/>
                  </a:lnTo>
                  <a:lnTo>
                    <a:pt x="4359" y="3488"/>
                  </a:lnTo>
                  <a:lnTo>
                    <a:pt x="4378" y="3485"/>
                  </a:lnTo>
                  <a:lnTo>
                    <a:pt x="4406" y="3478"/>
                  </a:lnTo>
                  <a:lnTo>
                    <a:pt x="4428" y="3478"/>
                  </a:lnTo>
                  <a:lnTo>
                    <a:pt x="4434" y="3485"/>
                  </a:lnTo>
                  <a:lnTo>
                    <a:pt x="4441" y="3491"/>
                  </a:lnTo>
                  <a:lnTo>
                    <a:pt x="4447" y="3497"/>
                  </a:lnTo>
                  <a:lnTo>
                    <a:pt x="4453" y="3503"/>
                  </a:lnTo>
                  <a:lnTo>
                    <a:pt x="4453" y="3519"/>
                  </a:lnTo>
                  <a:lnTo>
                    <a:pt x="4450" y="3541"/>
                  </a:lnTo>
                  <a:lnTo>
                    <a:pt x="4447" y="3556"/>
                  </a:lnTo>
                  <a:lnTo>
                    <a:pt x="4450" y="3575"/>
                  </a:lnTo>
                  <a:lnTo>
                    <a:pt x="4456" y="3597"/>
                  </a:lnTo>
                  <a:lnTo>
                    <a:pt x="4466" y="3616"/>
                  </a:lnTo>
                  <a:lnTo>
                    <a:pt x="4472" y="3619"/>
                  </a:lnTo>
                  <a:lnTo>
                    <a:pt x="4478" y="3625"/>
                  </a:lnTo>
                  <a:lnTo>
                    <a:pt x="4487" y="3628"/>
                  </a:lnTo>
                  <a:lnTo>
                    <a:pt x="4497" y="3634"/>
                  </a:lnTo>
                  <a:lnTo>
                    <a:pt x="4506" y="3638"/>
                  </a:lnTo>
                  <a:lnTo>
                    <a:pt x="4512" y="3641"/>
                  </a:lnTo>
                  <a:lnTo>
                    <a:pt x="4522" y="3663"/>
                  </a:lnTo>
                  <a:lnTo>
                    <a:pt x="4528" y="3684"/>
                  </a:lnTo>
                  <a:lnTo>
                    <a:pt x="4531" y="3706"/>
                  </a:lnTo>
                  <a:lnTo>
                    <a:pt x="4528" y="3716"/>
                  </a:lnTo>
                  <a:lnTo>
                    <a:pt x="4525" y="3725"/>
                  </a:lnTo>
                  <a:lnTo>
                    <a:pt x="4519" y="3731"/>
                  </a:lnTo>
                  <a:lnTo>
                    <a:pt x="4512" y="3741"/>
                  </a:lnTo>
                  <a:lnTo>
                    <a:pt x="4506" y="3750"/>
                  </a:lnTo>
                  <a:lnTo>
                    <a:pt x="4503" y="3756"/>
                  </a:lnTo>
                  <a:lnTo>
                    <a:pt x="4500" y="3775"/>
                  </a:lnTo>
                  <a:lnTo>
                    <a:pt x="4497" y="3794"/>
                  </a:lnTo>
                  <a:lnTo>
                    <a:pt x="4491" y="3809"/>
                  </a:lnTo>
                  <a:lnTo>
                    <a:pt x="4484" y="3816"/>
                  </a:lnTo>
                  <a:lnTo>
                    <a:pt x="4475" y="3822"/>
                  </a:lnTo>
                  <a:lnTo>
                    <a:pt x="4469" y="3828"/>
                  </a:lnTo>
                  <a:lnTo>
                    <a:pt x="4459" y="3831"/>
                  </a:lnTo>
                  <a:lnTo>
                    <a:pt x="4450" y="3834"/>
                  </a:lnTo>
                  <a:lnTo>
                    <a:pt x="4441" y="3834"/>
                  </a:lnTo>
                  <a:lnTo>
                    <a:pt x="4428" y="3831"/>
                  </a:lnTo>
                  <a:lnTo>
                    <a:pt x="4419" y="3831"/>
                  </a:lnTo>
                  <a:lnTo>
                    <a:pt x="4409" y="3831"/>
                  </a:lnTo>
                  <a:lnTo>
                    <a:pt x="4388" y="3834"/>
                  </a:lnTo>
                  <a:lnTo>
                    <a:pt x="4363" y="3837"/>
                  </a:lnTo>
                  <a:lnTo>
                    <a:pt x="4344" y="3844"/>
                  </a:lnTo>
                  <a:lnTo>
                    <a:pt x="4334" y="3847"/>
                  </a:lnTo>
                  <a:lnTo>
                    <a:pt x="4328" y="3853"/>
                  </a:lnTo>
                  <a:lnTo>
                    <a:pt x="4319" y="3862"/>
                  </a:lnTo>
                  <a:lnTo>
                    <a:pt x="4313" y="3869"/>
                  </a:lnTo>
                  <a:lnTo>
                    <a:pt x="4303" y="3875"/>
                  </a:lnTo>
                  <a:lnTo>
                    <a:pt x="4297" y="3878"/>
                  </a:lnTo>
                  <a:lnTo>
                    <a:pt x="4278" y="3878"/>
                  </a:lnTo>
                  <a:lnTo>
                    <a:pt x="4256" y="3875"/>
                  </a:lnTo>
                  <a:lnTo>
                    <a:pt x="4235" y="3869"/>
                  </a:lnTo>
                  <a:lnTo>
                    <a:pt x="4219" y="3865"/>
                  </a:lnTo>
                  <a:lnTo>
                    <a:pt x="4191" y="3859"/>
                  </a:lnTo>
                  <a:lnTo>
                    <a:pt x="4160" y="3856"/>
                  </a:lnTo>
                  <a:lnTo>
                    <a:pt x="4131" y="3856"/>
                  </a:lnTo>
                  <a:lnTo>
                    <a:pt x="4110" y="3859"/>
                  </a:lnTo>
                  <a:lnTo>
                    <a:pt x="4082" y="3865"/>
                  </a:lnTo>
                  <a:lnTo>
                    <a:pt x="4057" y="3878"/>
                  </a:lnTo>
                  <a:lnTo>
                    <a:pt x="4041" y="3890"/>
                  </a:lnTo>
                  <a:lnTo>
                    <a:pt x="4035" y="3903"/>
                  </a:lnTo>
                  <a:lnTo>
                    <a:pt x="4032" y="3922"/>
                  </a:lnTo>
                  <a:lnTo>
                    <a:pt x="4028" y="3944"/>
                  </a:lnTo>
                  <a:lnTo>
                    <a:pt x="4022" y="3956"/>
                  </a:lnTo>
                  <a:lnTo>
                    <a:pt x="4003" y="3956"/>
                  </a:lnTo>
                  <a:lnTo>
                    <a:pt x="3982" y="3953"/>
                  </a:lnTo>
                  <a:lnTo>
                    <a:pt x="3957" y="3947"/>
                  </a:lnTo>
                  <a:lnTo>
                    <a:pt x="3938" y="3944"/>
                  </a:lnTo>
                  <a:lnTo>
                    <a:pt x="3932" y="3944"/>
                  </a:lnTo>
                  <a:lnTo>
                    <a:pt x="3919" y="3944"/>
                  </a:lnTo>
                  <a:lnTo>
                    <a:pt x="3910" y="3947"/>
                  </a:lnTo>
                  <a:lnTo>
                    <a:pt x="3900" y="3950"/>
                  </a:lnTo>
                  <a:lnTo>
                    <a:pt x="3897" y="3956"/>
                  </a:lnTo>
                  <a:lnTo>
                    <a:pt x="3891" y="3969"/>
                  </a:lnTo>
                  <a:lnTo>
                    <a:pt x="3894" y="3984"/>
                  </a:lnTo>
                  <a:lnTo>
                    <a:pt x="3897" y="4003"/>
                  </a:lnTo>
                  <a:lnTo>
                    <a:pt x="3897" y="4018"/>
                  </a:lnTo>
                  <a:lnTo>
                    <a:pt x="3888" y="4040"/>
                  </a:lnTo>
                  <a:lnTo>
                    <a:pt x="3875" y="4062"/>
                  </a:lnTo>
                  <a:lnTo>
                    <a:pt x="3863" y="4078"/>
                  </a:lnTo>
                  <a:lnTo>
                    <a:pt x="3844" y="4084"/>
                  </a:lnTo>
                  <a:lnTo>
                    <a:pt x="3822" y="4087"/>
                  </a:lnTo>
                  <a:lnTo>
                    <a:pt x="3804" y="4087"/>
                  </a:lnTo>
                  <a:lnTo>
                    <a:pt x="3782" y="4097"/>
                  </a:lnTo>
                  <a:lnTo>
                    <a:pt x="3757" y="4106"/>
                  </a:lnTo>
                  <a:lnTo>
                    <a:pt x="3738" y="4112"/>
                  </a:lnTo>
                  <a:lnTo>
                    <a:pt x="3719" y="4112"/>
                  </a:lnTo>
                  <a:lnTo>
                    <a:pt x="3697" y="4109"/>
                  </a:lnTo>
                  <a:lnTo>
                    <a:pt x="3679" y="4112"/>
                  </a:lnTo>
                  <a:lnTo>
                    <a:pt x="3654" y="4122"/>
                  </a:lnTo>
                  <a:lnTo>
                    <a:pt x="3629" y="4140"/>
                  </a:lnTo>
                  <a:lnTo>
                    <a:pt x="3610" y="4159"/>
                  </a:lnTo>
                  <a:lnTo>
                    <a:pt x="3607" y="4165"/>
                  </a:lnTo>
                  <a:lnTo>
                    <a:pt x="3607" y="4175"/>
                  </a:lnTo>
                  <a:lnTo>
                    <a:pt x="3607" y="4187"/>
                  </a:lnTo>
                  <a:lnTo>
                    <a:pt x="3607" y="4196"/>
                  </a:lnTo>
                  <a:lnTo>
                    <a:pt x="3610" y="4203"/>
                  </a:lnTo>
                  <a:lnTo>
                    <a:pt x="3616" y="4209"/>
                  </a:lnTo>
                  <a:lnTo>
                    <a:pt x="3622" y="4212"/>
                  </a:lnTo>
                  <a:lnTo>
                    <a:pt x="3629" y="4218"/>
                  </a:lnTo>
                  <a:lnTo>
                    <a:pt x="3638" y="4221"/>
                  </a:lnTo>
                  <a:lnTo>
                    <a:pt x="3641" y="4228"/>
                  </a:lnTo>
                  <a:lnTo>
                    <a:pt x="3641" y="4240"/>
                  </a:lnTo>
                  <a:lnTo>
                    <a:pt x="3638" y="4259"/>
                  </a:lnTo>
                  <a:lnTo>
                    <a:pt x="3632" y="4278"/>
                  </a:lnTo>
                  <a:lnTo>
                    <a:pt x="3626" y="4293"/>
                  </a:lnTo>
                  <a:lnTo>
                    <a:pt x="3619" y="4300"/>
                  </a:lnTo>
                  <a:lnTo>
                    <a:pt x="3613" y="4312"/>
                  </a:lnTo>
                  <a:lnTo>
                    <a:pt x="3604" y="4321"/>
                  </a:lnTo>
                  <a:lnTo>
                    <a:pt x="3594" y="4328"/>
                  </a:lnTo>
                  <a:lnTo>
                    <a:pt x="3585" y="4334"/>
                  </a:lnTo>
                  <a:lnTo>
                    <a:pt x="3579" y="4334"/>
                  </a:lnTo>
                  <a:lnTo>
                    <a:pt x="3569" y="4334"/>
                  </a:lnTo>
                  <a:lnTo>
                    <a:pt x="3560" y="4334"/>
                  </a:lnTo>
                  <a:lnTo>
                    <a:pt x="3554" y="4334"/>
                  </a:lnTo>
                  <a:lnTo>
                    <a:pt x="3544" y="4334"/>
                  </a:lnTo>
                  <a:lnTo>
                    <a:pt x="3538" y="4334"/>
                  </a:lnTo>
                  <a:lnTo>
                    <a:pt x="3532" y="4340"/>
                  </a:lnTo>
                  <a:lnTo>
                    <a:pt x="3526" y="4349"/>
                  </a:lnTo>
                  <a:lnTo>
                    <a:pt x="3523" y="4359"/>
                  </a:lnTo>
                  <a:lnTo>
                    <a:pt x="3516" y="4368"/>
                  </a:lnTo>
                  <a:lnTo>
                    <a:pt x="3510" y="4378"/>
                  </a:lnTo>
                  <a:lnTo>
                    <a:pt x="3504" y="4384"/>
                  </a:lnTo>
                  <a:lnTo>
                    <a:pt x="3485" y="4387"/>
                  </a:lnTo>
                  <a:lnTo>
                    <a:pt x="3463" y="4387"/>
                  </a:lnTo>
                  <a:lnTo>
                    <a:pt x="3444" y="4384"/>
                  </a:lnTo>
                  <a:lnTo>
                    <a:pt x="3435" y="4381"/>
                  </a:lnTo>
                  <a:lnTo>
                    <a:pt x="3426" y="4378"/>
                  </a:lnTo>
                  <a:lnTo>
                    <a:pt x="3416" y="4374"/>
                  </a:lnTo>
                  <a:lnTo>
                    <a:pt x="3407" y="4371"/>
                  </a:lnTo>
                  <a:lnTo>
                    <a:pt x="3401" y="4371"/>
                  </a:lnTo>
                  <a:lnTo>
                    <a:pt x="3379" y="4381"/>
                  </a:lnTo>
                  <a:lnTo>
                    <a:pt x="3357" y="4396"/>
                  </a:lnTo>
                  <a:lnTo>
                    <a:pt x="3341" y="4415"/>
                  </a:lnTo>
                  <a:lnTo>
                    <a:pt x="3341" y="4428"/>
                  </a:lnTo>
                  <a:lnTo>
                    <a:pt x="3341" y="4446"/>
                  </a:lnTo>
                  <a:lnTo>
                    <a:pt x="3345" y="4462"/>
                  </a:lnTo>
                  <a:lnTo>
                    <a:pt x="3341" y="4474"/>
                  </a:lnTo>
                  <a:lnTo>
                    <a:pt x="3329" y="4493"/>
                  </a:lnTo>
                  <a:lnTo>
                    <a:pt x="3307" y="4512"/>
                  </a:lnTo>
                  <a:lnTo>
                    <a:pt x="3291" y="4527"/>
                  </a:lnTo>
                  <a:lnTo>
                    <a:pt x="3285" y="4546"/>
                  </a:lnTo>
                  <a:lnTo>
                    <a:pt x="3282" y="4568"/>
                  </a:lnTo>
                  <a:lnTo>
                    <a:pt x="3282" y="4584"/>
                  </a:lnTo>
                  <a:lnTo>
                    <a:pt x="3288" y="4602"/>
                  </a:lnTo>
                  <a:lnTo>
                    <a:pt x="3295" y="4621"/>
                  </a:lnTo>
                  <a:lnTo>
                    <a:pt x="3307" y="4637"/>
                  </a:lnTo>
                  <a:lnTo>
                    <a:pt x="3323" y="4643"/>
                  </a:lnTo>
                  <a:lnTo>
                    <a:pt x="3345" y="4649"/>
                  </a:lnTo>
                  <a:lnTo>
                    <a:pt x="3363" y="4656"/>
                  </a:lnTo>
                  <a:lnTo>
                    <a:pt x="3376" y="4671"/>
                  </a:lnTo>
                  <a:lnTo>
                    <a:pt x="3385" y="4693"/>
                  </a:lnTo>
                  <a:lnTo>
                    <a:pt x="3385" y="4712"/>
                  </a:lnTo>
                  <a:lnTo>
                    <a:pt x="3382" y="4718"/>
                  </a:lnTo>
                  <a:lnTo>
                    <a:pt x="3379" y="4724"/>
                  </a:lnTo>
                  <a:lnTo>
                    <a:pt x="3370" y="4730"/>
                  </a:lnTo>
                  <a:lnTo>
                    <a:pt x="3363" y="4737"/>
                  </a:lnTo>
                  <a:lnTo>
                    <a:pt x="3357" y="4740"/>
                  </a:lnTo>
                  <a:lnTo>
                    <a:pt x="3351" y="4740"/>
                  </a:lnTo>
                  <a:lnTo>
                    <a:pt x="3345" y="4740"/>
                  </a:lnTo>
                  <a:lnTo>
                    <a:pt x="3335" y="4740"/>
                  </a:lnTo>
                  <a:lnTo>
                    <a:pt x="3329" y="4737"/>
                  </a:lnTo>
                  <a:lnTo>
                    <a:pt x="3320" y="4737"/>
                  </a:lnTo>
                  <a:lnTo>
                    <a:pt x="3316" y="4740"/>
                  </a:lnTo>
                  <a:lnTo>
                    <a:pt x="3310" y="4752"/>
                  </a:lnTo>
                  <a:lnTo>
                    <a:pt x="3307" y="4771"/>
                  </a:lnTo>
                  <a:lnTo>
                    <a:pt x="3304" y="4787"/>
                  </a:lnTo>
                  <a:lnTo>
                    <a:pt x="3301" y="4793"/>
                  </a:lnTo>
                  <a:lnTo>
                    <a:pt x="3241" y="4793"/>
                  </a:lnTo>
                  <a:lnTo>
                    <a:pt x="3232" y="4793"/>
                  </a:lnTo>
                  <a:lnTo>
                    <a:pt x="3226" y="4796"/>
                  </a:lnTo>
                  <a:lnTo>
                    <a:pt x="3217" y="4796"/>
                  </a:lnTo>
                  <a:lnTo>
                    <a:pt x="3207" y="4796"/>
                  </a:lnTo>
                  <a:lnTo>
                    <a:pt x="3198" y="4796"/>
                  </a:lnTo>
                  <a:lnTo>
                    <a:pt x="3192" y="4793"/>
                  </a:lnTo>
                  <a:lnTo>
                    <a:pt x="3188" y="4790"/>
                  </a:lnTo>
                  <a:lnTo>
                    <a:pt x="3185" y="4784"/>
                  </a:lnTo>
                  <a:lnTo>
                    <a:pt x="3179" y="4774"/>
                  </a:lnTo>
                  <a:lnTo>
                    <a:pt x="3176" y="4768"/>
                  </a:lnTo>
                  <a:lnTo>
                    <a:pt x="3173" y="4759"/>
                  </a:lnTo>
                  <a:lnTo>
                    <a:pt x="3167" y="4755"/>
                  </a:lnTo>
                  <a:lnTo>
                    <a:pt x="3145" y="4749"/>
                  </a:lnTo>
                  <a:lnTo>
                    <a:pt x="3120" y="4749"/>
                  </a:lnTo>
                  <a:lnTo>
                    <a:pt x="3095" y="4752"/>
                  </a:lnTo>
                  <a:lnTo>
                    <a:pt x="3088" y="4755"/>
                  </a:lnTo>
                  <a:lnTo>
                    <a:pt x="3079" y="4759"/>
                  </a:lnTo>
                  <a:lnTo>
                    <a:pt x="3073" y="4762"/>
                  </a:lnTo>
                  <a:lnTo>
                    <a:pt x="3067" y="4768"/>
                  </a:lnTo>
                  <a:lnTo>
                    <a:pt x="3064" y="4774"/>
                  </a:lnTo>
                  <a:lnTo>
                    <a:pt x="3064" y="4780"/>
                  </a:lnTo>
                  <a:lnTo>
                    <a:pt x="3064" y="4787"/>
                  </a:lnTo>
                  <a:lnTo>
                    <a:pt x="3064" y="4796"/>
                  </a:lnTo>
                  <a:lnTo>
                    <a:pt x="3067" y="4802"/>
                  </a:lnTo>
                  <a:lnTo>
                    <a:pt x="3070" y="4809"/>
                  </a:lnTo>
                  <a:lnTo>
                    <a:pt x="3079" y="4815"/>
                  </a:lnTo>
                  <a:lnTo>
                    <a:pt x="3085" y="4821"/>
                  </a:lnTo>
                  <a:lnTo>
                    <a:pt x="3095" y="4827"/>
                  </a:lnTo>
                  <a:lnTo>
                    <a:pt x="3098" y="4833"/>
                  </a:lnTo>
                  <a:lnTo>
                    <a:pt x="3104" y="4840"/>
                  </a:lnTo>
                  <a:lnTo>
                    <a:pt x="3107" y="4849"/>
                  </a:lnTo>
                  <a:lnTo>
                    <a:pt x="3110" y="4858"/>
                  </a:lnTo>
                  <a:lnTo>
                    <a:pt x="3110" y="4868"/>
                  </a:lnTo>
                  <a:lnTo>
                    <a:pt x="3113" y="4877"/>
                  </a:lnTo>
                  <a:lnTo>
                    <a:pt x="3107" y="4899"/>
                  </a:lnTo>
                  <a:lnTo>
                    <a:pt x="3098" y="4921"/>
                  </a:lnTo>
                  <a:lnTo>
                    <a:pt x="3085" y="4937"/>
                  </a:lnTo>
                  <a:lnTo>
                    <a:pt x="3079" y="4940"/>
                  </a:lnTo>
                  <a:lnTo>
                    <a:pt x="3073" y="4937"/>
                  </a:lnTo>
                  <a:lnTo>
                    <a:pt x="3064" y="4933"/>
                  </a:lnTo>
                  <a:lnTo>
                    <a:pt x="3057" y="4930"/>
                  </a:lnTo>
                  <a:lnTo>
                    <a:pt x="3048" y="4924"/>
                  </a:lnTo>
                  <a:lnTo>
                    <a:pt x="3042" y="4924"/>
                  </a:lnTo>
                  <a:lnTo>
                    <a:pt x="3035" y="4921"/>
                  </a:lnTo>
                  <a:lnTo>
                    <a:pt x="3029" y="4924"/>
                  </a:lnTo>
                  <a:lnTo>
                    <a:pt x="3023" y="4927"/>
                  </a:lnTo>
                  <a:lnTo>
                    <a:pt x="3017" y="4933"/>
                  </a:lnTo>
                  <a:lnTo>
                    <a:pt x="3014" y="4937"/>
                  </a:lnTo>
                  <a:lnTo>
                    <a:pt x="3004" y="4955"/>
                  </a:lnTo>
                  <a:lnTo>
                    <a:pt x="2998" y="4974"/>
                  </a:lnTo>
                  <a:lnTo>
                    <a:pt x="2998" y="4993"/>
                  </a:lnTo>
                  <a:lnTo>
                    <a:pt x="3007" y="4999"/>
                  </a:lnTo>
                  <a:lnTo>
                    <a:pt x="3026" y="5005"/>
                  </a:lnTo>
                  <a:lnTo>
                    <a:pt x="3045" y="5008"/>
                  </a:lnTo>
                  <a:lnTo>
                    <a:pt x="3057" y="5015"/>
                  </a:lnTo>
                  <a:lnTo>
                    <a:pt x="3064" y="5030"/>
                  </a:lnTo>
                  <a:lnTo>
                    <a:pt x="3067" y="5049"/>
                  </a:lnTo>
                  <a:lnTo>
                    <a:pt x="3073" y="5065"/>
                  </a:lnTo>
                  <a:lnTo>
                    <a:pt x="3085" y="5077"/>
                  </a:lnTo>
                  <a:lnTo>
                    <a:pt x="3107" y="5083"/>
                  </a:lnTo>
                  <a:lnTo>
                    <a:pt x="3123" y="5086"/>
                  </a:lnTo>
                  <a:lnTo>
                    <a:pt x="3138" y="5086"/>
                  </a:lnTo>
                  <a:lnTo>
                    <a:pt x="3154" y="5083"/>
                  </a:lnTo>
                  <a:lnTo>
                    <a:pt x="3170" y="5083"/>
                  </a:lnTo>
                  <a:lnTo>
                    <a:pt x="3182" y="5086"/>
                  </a:lnTo>
                  <a:lnTo>
                    <a:pt x="3182" y="5093"/>
                  </a:lnTo>
                  <a:lnTo>
                    <a:pt x="3185" y="5096"/>
                  </a:lnTo>
                  <a:lnTo>
                    <a:pt x="3185" y="5105"/>
                  </a:lnTo>
                  <a:lnTo>
                    <a:pt x="3185" y="5111"/>
                  </a:lnTo>
                  <a:lnTo>
                    <a:pt x="3185" y="5118"/>
                  </a:lnTo>
                  <a:lnTo>
                    <a:pt x="3188" y="5121"/>
                  </a:lnTo>
                  <a:lnTo>
                    <a:pt x="3195" y="5127"/>
                  </a:lnTo>
                  <a:lnTo>
                    <a:pt x="3204" y="5127"/>
                  </a:lnTo>
                  <a:lnTo>
                    <a:pt x="3213" y="5130"/>
                  </a:lnTo>
                  <a:lnTo>
                    <a:pt x="3226" y="5130"/>
                  </a:lnTo>
                  <a:lnTo>
                    <a:pt x="3232" y="5130"/>
                  </a:lnTo>
                  <a:lnTo>
                    <a:pt x="3251" y="5130"/>
                  </a:lnTo>
                  <a:lnTo>
                    <a:pt x="3273" y="5124"/>
                  </a:lnTo>
                  <a:lnTo>
                    <a:pt x="3295" y="5121"/>
                  </a:lnTo>
                  <a:lnTo>
                    <a:pt x="3313" y="5121"/>
                  </a:lnTo>
                  <a:lnTo>
                    <a:pt x="3320" y="5124"/>
                  </a:lnTo>
                  <a:lnTo>
                    <a:pt x="3326" y="5130"/>
                  </a:lnTo>
                  <a:lnTo>
                    <a:pt x="3332" y="5136"/>
                  </a:lnTo>
                  <a:lnTo>
                    <a:pt x="3338" y="5140"/>
                  </a:lnTo>
                  <a:lnTo>
                    <a:pt x="3341" y="5146"/>
                  </a:lnTo>
                  <a:lnTo>
                    <a:pt x="3341" y="5152"/>
                  </a:lnTo>
                  <a:lnTo>
                    <a:pt x="3338" y="5161"/>
                  </a:lnTo>
                  <a:lnTo>
                    <a:pt x="3335" y="5168"/>
                  </a:lnTo>
                  <a:lnTo>
                    <a:pt x="3335" y="5177"/>
                  </a:lnTo>
                  <a:lnTo>
                    <a:pt x="3335" y="5183"/>
                  </a:lnTo>
                  <a:lnTo>
                    <a:pt x="3335" y="5189"/>
                  </a:lnTo>
                  <a:lnTo>
                    <a:pt x="3341" y="5199"/>
                  </a:lnTo>
                  <a:lnTo>
                    <a:pt x="3345" y="5208"/>
                  </a:lnTo>
                  <a:lnTo>
                    <a:pt x="3351" y="5218"/>
                  </a:lnTo>
                  <a:lnTo>
                    <a:pt x="3357" y="5224"/>
                  </a:lnTo>
                  <a:lnTo>
                    <a:pt x="3373" y="5230"/>
                  </a:lnTo>
                  <a:lnTo>
                    <a:pt x="3391" y="5236"/>
                  </a:lnTo>
                  <a:lnTo>
                    <a:pt x="3407" y="5246"/>
                  </a:lnTo>
                  <a:lnTo>
                    <a:pt x="3410" y="5252"/>
                  </a:lnTo>
                  <a:lnTo>
                    <a:pt x="3413" y="5258"/>
                  </a:lnTo>
                  <a:lnTo>
                    <a:pt x="3413" y="5271"/>
                  </a:lnTo>
                  <a:lnTo>
                    <a:pt x="3413" y="5280"/>
                  </a:lnTo>
                  <a:lnTo>
                    <a:pt x="3416" y="5286"/>
                  </a:lnTo>
                  <a:lnTo>
                    <a:pt x="3416" y="5299"/>
                  </a:lnTo>
                  <a:lnTo>
                    <a:pt x="3416" y="5311"/>
                  </a:lnTo>
                  <a:lnTo>
                    <a:pt x="3416" y="5324"/>
                  </a:lnTo>
                  <a:lnTo>
                    <a:pt x="3416" y="5333"/>
                  </a:lnTo>
                  <a:lnTo>
                    <a:pt x="3423" y="5352"/>
                  </a:lnTo>
                  <a:lnTo>
                    <a:pt x="3429" y="5377"/>
                  </a:lnTo>
                  <a:lnTo>
                    <a:pt x="3435" y="5392"/>
                  </a:lnTo>
                  <a:lnTo>
                    <a:pt x="3438" y="5402"/>
                  </a:lnTo>
                  <a:lnTo>
                    <a:pt x="3444" y="5411"/>
                  </a:lnTo>
                  <a:lnTo>
                    <a:pt x="3448" y="5421"/>
                  </a:lnTo>
                  <a:lnTo>
                    <a:pt x="3451" y="5427"/>
                  </a:lnTo>
                  <a:lnTo>
                    <a:pt x="3454" y="5436"/>
                  </a:lnTo>
                  <a:lnTo>
                    <a:pt x="3457" y="5455"/>
                  </a:lnTo>
                  <a:lnTo>
                    <a:pt x="3460" y="5477"/>
                  </a:lnTo>
                  <a:lnTo>
                    <a:pt x="3457" y="5499"/>
                  </a:lnTo>
                  <a:lnTo>
                    <a:pt x="3454" y="5514"/>
                  </a:lnTo>
                  <a:lnTo>
                    <a:pt x="3451" y="5520"/>
                  </a:lnTo>
                  <a:lnTo>
                    <a:pt x="3441" y="5527"/>
                  </a:lnTo>
                  <a:lnTo>
                    <a:pt x="3435" y="5533"/>
                  </a:lnTo>
                  <a:lnTo>
                    <a:pt x="3426" y="5539"/>
                  </a:lnTo>
                  <a:lnTo>
                    <a:pt x="3416" y="5542"/>
                  </a:lnTo>
                  <a:lnTo>
                    <a:pt x="3410" y="5542"/>
                  </a:lnTo>
                  <a:lnTo>
                    <a:pt x="3404" y="5542"/>
                  </a:lnTo>
                  <a:lnTo>
                    <a:pt x="3398" y="5536"/>
                  </a:lnTo>
                  <a:lnTo>
                    <a:pt x="3391" y="5527"/>
                  </a:lnTo>
                  <a:lnTo>
                    <a:pt x="3385" y="5520"/>
                  </a:lnTo>
                  <a:lnTo>
                    <a:pt x="3379" y="5514"/>
                  </a:lnTo>
                  <a:lnTo>
                    <a:pt x="3376" y="5508"/>
                  </a:lnTo>
                  <a:lnTo>
                    <a:pt x="3370" y="5499"/>
                  </a:lnTo>
                  <a:lnTo>
                    <a:pt x="3366" y="5489"/>
                  </a:lnTo>
                  <a:lnTo>
                    <a:pt x="3360" y="5480"/>
                  </a:lnTo>
                  <a:lnTo>
                    <a:pt x="3354" y="5474"/>
                  </a:lnTo>
                  <a:lnTo>
                    <a:pt x="3338" y="5467"/>
                  </a:lnTo>
                  <a:lnTo>
                    <a:pt x="3316" y="5464"/>
                  </a:lnTo>
                  <a:lnTo>
                    <a:pt x="3295" y="5464"/>
                  </a:lnTo>
                  <a:lnTo>
                    <a:pt x="3279" y="5470"/>
                  </a:lnTo>
                  <a:lnTo>
                    <a:pt x="3270" y="5480"/>
                  </a:lnTo>
                  <a:lnTo>
                    <a:pt x="3266" y="5499"/>
                  </a:lnTo>
                  <a:lnTo>
                    <a:pt x="3263" y="5517"/>
                  </a:lnTo>
                  <a:lnTo>
                    <a:pt x="3260" y="5530"/>
                  </a:lnTo>
                  <a:lnTo>
                    <a:pt x="3238" y="5549"/>
                  </a:lnTo>
                  <a:lnTo>
                    <a:pt x="3210" y="5564"/>
                  </a:lnTo>
                  <a:lnTo>
                    <a:pt x="3188" y="5583"/>
                  </a:lnTo>
                  <a:lnTo>
                    <a:pt x="3185" y="5586"/>
                  </a:lnTo>
                  <a:lnTo>
                    <a:pt x="3182" y="5592"/>
                  </a:lnTo>
                  <a:lnTo>
                    <a:pt x="3179" y="5599"/>
                  </a:lnTo>
                  <a:lnTo>
                    <a:pt x="3176" y="5605"/>
                  </a:lnTo>
                  <a:lnTo>
                    <a:pt x="3173" y="5611"/>
                  </a:lnTo>
                  <a:lnTo>
                    <a:pt x="3157" y="5614"/>
                  </a:lnTo>
                  <a:lnTo>
                    <a:pt x="3135" y="5614"/>
                  </a:lnTo>
                  <a:lnTo>
                    <a:pt x="3117" y="5614"/>
                  </a:lnTo>
                  <a:lnTo>
                    <a:pt x="3098" y="5611"/>
                  </a:lnTo>
                  <a:lnTo>
                    <a:pt x="3082" y="5602"/>
                  </a:lnTo>
                  <a:lnTo>
                    <a:pt x="3064" y="5586"/>
                  </a:lnTo>
                  <a:lnTo>
                    <a:pt x="3045" y="5577"/>
                  </a:lnTo>
                  <a:lnTo>
                    <a:pt x="3039" y="5577"/>
                  </a:lnTo>
                  <a:lnTo>
                    <a:pt x="3029" y="5577"/>
                  </a:lnTo>
                  <a:lnTo>
                    <a:pt x="3020" y="5577"/>
                  </a:lnTo>
                  <a:lnTo>
                    <a:pt x="3010" y="5577"/>
                  </a:lnTo>
                  <a:lnTo>
                    <a:pt x="3004" y="5577"/>
                  </a:lnTo>
                  <a:lnTo>
                    <a:pt x="2998" y="5574"/>
                  </a:lnTo>
                  <a:lnTo>
                    <a:pt x="2976" y="5558"/>
                  </a:lnTo>
                  <a:lnTo>
                    <a:pt x="2957" y="5533"/>
                  </a:lnTo>
                  <a:lnTo>
                    <a:pt x="2942" y="5511"/>
                  </a:lnTo>
                  <a:lnTo>
                    <a:pt x="2939" y="5492"/>
                  </a:lnTo>
                  <a:lnTo>
                    <a:pt x="2939" y="5474"/>
                  </a:lnTo>
                  <a:lnTo>
                    <a:pt x="2935" y="5452"/>
                  </a:lnTo>
                  <a:lnTo>
                    <a:pt x="2929" y="5439"/>
                  </a:lnTo>
                  <a:lnTo>
                    <a:pt x="2914" y="5427"/>
                  </a:lnTo>
                  <a:lnTo>
                    <a:pt x="2889" y="5421"/>
                  </a:lnTo>
                  <a:lnTo>
                    <a:pt x="2870" y="5414"/>
                  </a:lnTo>
                  <a:lnTo>
                    <a:pt x="2857" y="5414"/>
                  </a:lnTo>
                  <a:lnTo>
                    <a:pt x="2845" y="5414"/>
                  </a:lnTo>
                  <a:lnTo>
                    <a:pt x="2832" y="5414"/>
                  </a:lnTo>
                  <a:lnTo>
                    <a:pt x="2823" y="5414"/>
                  </a:lnTo>
                  <a:lnTo>
                    <a:pt x="2814" y="5411"/>
                  </a:lnTo>
                  <a:lnTo>
                    <a:pt x="2801" y="5411"/>
                  </a:lnTo>
                  <a:lnTo>
                    <a:pt x="2792" y="5408"/>
                  </a:lnTo>
                  <a:lnTo>
                    <a:pt x="2782" y="5405"/>
                  </a:lnTo>
                  <a:lnTo>
                    <a:pt x="2773" y="5402"/>
                  </a:lnTo>
                  <a:lnTo>
                    <a:pt x="2764" y="5399"/>
                  </a:lnTo>
                  <a:lnTo>
                    <a:pt x="2751" y="5392"/>
                  </a:lnTo>
                  <a:lnTo>
                    <a:pt x="2742" y="5389"/>
                  </a:lnTo>
                  <a:lnTo>
                    <a:pt x="2732" y="5386"/>
                  </a:lnTo>
                  <a:lnTo>
                    <a:pt x="2726" y="5386"/>
                  </a:lnTo>
                  <a:lnTo>
                    <a:pt x="2717" y="5389"/>
                  </a:lnTo>
                  <a:lnTo>
                    <a:pt x="2708" y="5392"/>
                  </a:lnTo>
                  <a:lnTo>
                    <a:pt x="2698" y="5392"/>
                  </a:lnTo>
                  <a:lnTo>
                    <a:pt x="2692" y="5396"/>
                  </a:lnTo>
                  <a:lnTo>
                    <a:pt x="2673" y="5402"/>
                  </a:lnTo>
                  <a:lnTo>
                    <a:pt x="2651" y="5408"/>
                  </a:lnTo>
                  <a:lnTo>
                    <a:pt x="2629" y="5414"/>
                  </a:lnTo>
                  <a:lnTo>
                    <a:pt x="2611" y="5414"/>
                  </a:lnTo>
                  <a:lnTo>
                    <a:pt x="2601" y="5414"/>
                  </a:lnTo>
                  <a:lnTo>
                    <a:pt x="2592" y="5411"/>
                  </a:lnTo>
                  <a:lnTo>
                    <a:pt x="2583" y="5408"/>
                  </a:lnTo>
                  <a:lnTo>
                    <a:pt x="2576" y="5402"/>
                  </a:lnTo>
                  <a:lnTo>
                    <a:pt x="2567" y="5383"/>
                  </a:lnTo>
                  <a:lnTo>
                    <a:pt x="2558" y="5358"/>
                  </a:lnTo>
                  <a:lnTo>
                    <a:pt x="2555" y="5333"/>
                  </a:lnTo>
                  <a:lnTo>
                    <a:pt x="2558" y="5317"/>
                  </a:lnTo>
                  <a:lnTo>
                    <a:pt x="2567" y="5302"/>
                  </a:lnTo>
                  <a:lnTo>
                    <a:pt x="2576" y="5283"/>
                  </a:lnTo>
                  <a:lnTo>
                    <a:pt x="2576" y="5268"/>
                  </a:lnTo>
                  <a:lnTo>
                    <a:pt x="2567" y="5249"/>
                  </a:lnTo>
                  <a:lnTo>
                    <a:pt x="2545" y="5227"/>
                  </a:lnTo>
                  <a:lnTo>
                    <a:pt x="2523" y="5218"/>
                  </a:lnTo>
                  <a:lnTo>
                    <a:pt x="2517" y="5214"/>
                  </a:lnTo>
                  <a:lnTo>
                    <a:pt x="2505" y="5214"/>
                  </a:lnTo>
                  <a:lnTo>
                    <a:pt x="2495" y="5218"/>
                  </a:lnTo>
                  <a:lnTo>
                    <a:pt x="2486" y="5218"/>
                  </a:lnTo>
                  <a:lnTo>
                    <a:pt x="2476" y="5221"/>
                  </a:lnTo>
                  <a:lnTo>
                    <a:pt x="2470" y="5227"/>
                  </a:lnTo>
                  <a:lnTo>
                    <a:pt x="2461" y="5233"/>
                  </a:lnTo>
                  <a:lnTo>
                    <a:pt x="2455" y="5239"/>
                  </a:lnTo>
                  <a:lnTo>
                    <a:pt x="2445" y="5246"/>
                  </a:lnTo>
                  <a:lnTo>
                    <a:pt x="2436" y="5252"/>
                  </a:lnTo>
                  <a:lnTo>
                    <a:pt x="2430" y="5258"/>
                  </a:lnTo>
                  <a:lnTo>
                    <a:pt x="2408" y="5258"/>
                  </a:lnTo>
                  <a:lnTo>
                    <a:pt x="2383" y="5258"/>
                  </a:lnTo>
                  <a:lnTo>
                    <a:pt x="2355" y="5255"/>
                  </a:lnTo>
                  <a:lnTo>
                    <a:pt x="2336" y="5258"/>
                  </a:lnTo>
                  <a:lnTo>
                    <a:pt x="2317" y="5264"/>
                  </a:lnTo>
                  <a:lnTo>
                    <a:pt x="2295" y="5277"/>
                  </a:lnTo>
                  <a:lnTo>
                    <a:pt x="2277" y="5286"/>
                  </a:lnTo>
                  <a:lnTo>
                    <a:pt x="2236" y="5302"/>
                  </a:lnTo>
                  <a:lnTo>
                    <a:pt x="2189" y="5314"/>
                  </a:lnTo>
                  <a:lnTo>
                    <a:pt x="2149" y="5327"/>
                  </a:lnTo>
                  <a:lnTo>
                    <a:pt x="2124" y="5336"/>
                  </a:lnTo>
                  <a:lnTo>
                    <a:pt x="2095" y="5352"/>
                  </a:lnTo>
                  <a:lnTo>
                    <a:pt x="2070" y="5364"/>
                  </a:lnTo>
                  <a:lnTo>
                    <a:pt x="2052" y="5377"/>
                  </a:lnTo>
                  <a:lnTo>
                    <a:pt x="2030" y="5389"/>
                  </a:lnTo>
                  <a:lnTo>
                    <a:pt x="2011" y="5396"/>
                  </a:lnTo>
                  <a:lnTo>
                    <a:pt x="1996" y="5392"/>
                  </a:lnTo>
                  <a:lnTo>
                    <a:pt x="1974" y="5383"/>
                  </a:lnTo>
                  <a:lnTo>
                    <a:pt x="1955" y="5374"/>
                  </a:lnTo>
                  <a:lnTo>
                    <a:pt x="1936" y="5361"/>
                  </a:lnTo>
                  <a:lnTo>
                    <a:pt x="1924" y="5352"/>
                  </a:lnTo>
                  <a:lnTo>
                    <a:pt x="1921" y="5342"/>
                  </a:lnTo>
                  <a:lnTo>
                    <a:pt x="1924" y="5330"/>
                  </a:lnTo>
                  <a:lnTo>
                    <a:pt x="1930" y="5308"/>
                  </a:lnTo>
                  <a:lnTo>
                    <a:pt x="1933" y="5283"/>
                  </a:lnTo>
                  <a:lnTo>
                    <a:pt x="1930" y="5261"/>
                  </a:lnTo>
                  <a:lnTo>
                    <a:pt x="1921" y="5243"/>
                  </a:lnTo>
                  <a:lnTo>
                    <a:pt x="1905" y="5218"/>
                  </a:lnTo>
                  <a:lnTo>
                    <a:pt x="1886" y="5199"/>
                  </a:lnTo>
                  <a:lnTo>
                    <a:pt x="1868" y="5186"/>
                  </a:lnTo>
                  <a:lnTo>
                    <a:pt x="1864" y="5186"/>
                  </a:lnTo>
                  <a:lnTo>
                    <a:pt x="1858" y="5186"/>
                  </a:lnTo>
                  <a:lnTo>
                    <a:pt x="1852" y="5186"/>
                  </a:lnTo>
                  <a:lnTo>
                    <a:pt x="1849" y="5186"/>
                  </a:lnTo>
                  <a:lnTo>
                    <a:pt x="1827" y="5180"/>
                  </a:lnTo>
                  <a:lnTo>
                    <a:pt x="1805" y="5171"/>
                  </a:lnTo>
                  <a:lnTo>
                    <a:pt x="1783" y="5168"/>
                  </a:lnTo>
                  <a:lnTo>
                    <a:pt x="1774" y="5168"/>
                  </a:lnTo>
                  <a:lnTo>
                    <a:pt x="1764" y="5171"/>
                  </a:lnTo>
                  <a:lnTo>
                    <a:pt x="1752" y="5174"/>
                  </a:lnTo>
                  <a:lnTo>
                    <a:pt x="1743" y="5177"/>
                  </a:lnTo>
                  <a:lnTo>
                    <a:pt x="1736" y="5183"/>
                  </a:lnTo>
                  <a:lnTo>
                    <a:pt x="1736" y="5189"/>
                  </a:lnTo>
                  <a:lnTo>
                    <a:pt x="1736" y="5196"/>
                  </a:lnTo>
                  <a:lnTo>
                    <a:pt x="1736" y="5205"/>
                  </a:lnTo>
                  <a:lnTo>
                    <a:pt x="1739" y="5214"/>
                  </a:lnTo>
                  <a:lnTo>
                    <a:pt x="1739" y="5221"/>
                  </a:lnTo>
                  <a:lnTo>
                    <a:pt x="1736" y="5227"/>
                  </a:lnTo>
                  <a:lnTo>
                    <a:pt x="1724" y="5236"/>
                  </a:lnTo>
                  <a:lnTo>
                    <a:pt x="1702" y="5243"/>
                  </a:lnTo>
                  <a:lnTo>
                    <a:pt x="1680" y="5249"/>
                  </a:lnTo>
                  <a:lnTo>
                    <a:pt x="1665" y="5252"/>
                  </a:lnTo>
                  <a:lnTo>
                    <a:pt x="1661" y="5252"/>
                  </a:lnTo>
                  <a:lnTo>
                    <a:pt x="1646" y="5255"/>
                  </a:lnTo>
                  <a:lnTo>
                    <a:pt x="1627" y="5255"/>
                  </a:lnTo>
                  <a:lnTo>
                    <a:pt x="1611" y="5255"/>
                  </a:lnTo>
                  <a:lnTo>
                    <a:pt x="1602" y="5252"/>
                  </a:lnTo>
                  <a:lnTo>
                    <a:pt x="1593" y="5243"/>
                  </a:lnTo>
                  <a:lnTo>
                    <a:pt x="1577" y="5227"/>
                  </a:lnTo>
                  <a:lnTo>
                    <a:pt x="1561" y="5211"/>
                  </a:lnTo>
                  <a:lnTo>
                    <a:pt x="1546" y="5199"/>
                  </a:lnTo>
                  <a:lnTo>
                    <a:pt x="1527" y="5183"/>
                  </a:lnTo>
                  <a:lnTo>
                    <a:pt x="1508" y="5168"/>
                  </a:lnTo>
                  <a:lnTo>
                    <a:pt x="1490" y="5158"/>
                  </a:lnTo>
                  <a:lnTo>
                    <a:pt x="1480" y="5155"/>
                  </a:lnTo>
                  <a:lnTo>
                    <a:pt x="1471" y="5155"/>
                  </a:lnTo>
                  <a:lnTo>
                    <a:pt x="1462" y="5152"/>
                  </a:lnTo>
                  <a:lnTo>
                    <a:pt x="1452" y="5152"/>
                  </a:lnTo>
                  <a:lnTo>
                    <a:pt x="1437" y="5149"/>
                  </a:lnTo>
                  <a:lnTo>
                    <a:pt x="1412" y="5146"/>
                  </a:lnTo>
                  <a:lnTo>
                    <a:pt x="1390" y="5143"/>
                  </a:lnTo>
                  <a:lnTo>
                    <a:pt x="1371" y="5146"/>
                  </a:lnTo>
                  <a:lnTo>
                    <a:pt x="1355" y="5152"/>
                  </a:lnTo>
                  <a:lnTo>
                    <a:pt x="1355" y="5164"/>
                  </a:lnTo>
                  <a:lnTo>
                    <a:pt x="1359" y="5180"/>
                  </a:lnTo>
                  <a:lnTo>
                    <a:pt x="1368" y="5199"/>
                  </a:lnTo>
                  <a:lnTo>
                    <a:pt x="1374" y="5214"/>
                  </a:lnTo>
                  <a:lnTo>
                    <a:pt x="1377" y="5230"/>
                  </a:lnTo>
                  <a:lnTo>
                    <a:pt x="1368" y="5246"/>
                  </a:lnTo>
                  <a:lnTo>
                    <a:pt x="1355" y="5264"/>
                  </a:lnTo>
                  <a:lnTo>
                    <a:pt x="1340" y="5280"/>
                  </a:lnTo>
                  <a:lnTo>
                    <a:pt x="1324" y="5289"/>
                  </a:lnTo>
                  <a:lnTo>
                    <a:pt x="1305" y="5293"/>
                  </a:lnTo>
                  <a:lnTo>
                    <a:pt x="1280" y="5293"/>
                  </a:lnTo>
                  <a:lnTo>
                    <a:pt x="1259" y="5289"/>
                  </a:lnTo>
                  <a:lnTo>
                    <a:pt x="1243" y="5283"/>
                  </a:lnTo>
                  <a:lnTo>
                    <a:pt x="1230" y="5264"/>
                  </a:lnTo>
                  <a:lnTo>
                    <a:pt x="1224" y="5236"/>
                  </a:lnTo>
                  <a:lnTo>
                    <a:pt x="1224" y="5211"/>
                  </a:lnTo>
                  <a:lnTo>
                    <a:pt x="1230" y="5199"/>
                  </a:lnTo>
                  <a:lnTo>
                    <a:pt x="1240" y="5183"/>
                  </a:lnTo>
                  <a:lnTo>
                    <a:pt x="1252" y="5168"/>
                  </a:lnTo>
                  <a:lnTo>
                    <a:pt x="1252" y="5155"/>
                  </a:lnTo>
                  <a:lnTo>
                    <a:pt x="1240" y="5149"/>
                  </a:lnTo>
                  <a:lnTo>
                    <a:pt x="1221" y="5155"/>
                  </a:lnTo>
                  <a:lnTo>
                    <a:pt x="1199" y="5161"/>
                  </a:lnTo>
                  <a:lnTo>
                    <a:pt x="1184" y="5168"/>
                  </a:lnTo>
                  <a:lnTo>
                    <a:pt x="1165" y="5180"/>
                  </a:lnTo>
                  <a:lnTo>
                    <a:pt x="1143" y="5193"/>
                  </a:lnTo>
                  <a:lnTo>
                    <a:pt x="1127" y="5205"/>
                  </a:lnTo>
                  <a:lnTo>
                    <a:pt x="1109" y="5211"/>
                  </a:lnTo>
                  <a:lnTo>
                    <a:pt x="1090" y="5218"/>
                  </a:lnTo>
                  <a:lnTo>
                    <a:pt x="1071" y="5227"/>
                  </a:lnTo>
                  <a:lnTo>
                    <a:pt x="1056" y="5236"/>
                  </a:lnTo>
                  <a:lnTo>
                    <a:pt x="1056" y="5243"/>
                  </a:lnTo>
                  <a:lnTo>
                    <a:pt x="1056" y="5249"/>
                  </a:lnTo>
                  <a:lnTo>
                    <a:pt x="1059" y="5258"/>
                  </a:lnTo>
                  <a:lnTo>
                    <a:pt x="1059" y="5264"/>
                  </a:lnTo>
                  <a:lnTo>
                    <a:pt x="1059" y="5274"/>
                  </a:lnTo>
                  <a:lnTo>
                    <a:pt x="1056" y="5277"/>
                  </a:lnTo>
                  <a:lnTo>
                    <a:pt x="1034" y="5293"/>
                  </a:lnTo>
                  <a:lnTo>
                    <a:pt x="999" y="5302"/>
                  </a:lnTo>
                  <a:lnTo>
                    <a:pt x="965" y="5305"/>
                  </a:lnTo>
                  <a:lnTo>
                    <a:pt x="937" y="5302"/>
                  </a:lnTo>
                  <a:lnTo>
                    <a:pt x="918" y="5286"/>
                  </a:lnTo>
                  <a:lnTo>
                    <a:pt x="903" y="5261"/>
                  </a:lnTo>
                  <a:lnTo>
                    <a:pt x="887" y="5243"/>
                  </a:lnTo>
                  <a:lnTo>
                    <a:pt x="865" y="5230"/>
                  </a:lnTo>
                  <a:lnTo>
                    <a:pt x="840" y="5218"/>
                  </a:lnTo>
                  <a:lnTo>
                    <a:pt x="815" y="5208"/>
                  </a:lnTo>
                  <a:lnTo>
                    <a:pt x="790" y="5202"/>
                  </a:lnTo>
                  <a:lnTo>
                    <a:pt x="775" y="5208"/>
                  </a:lnTo>
                  <a:lnTo>
                    <a:pt x="756" y="5214"/>
                  </a:lnTo>
                  <a:lnTo>
                    <a:pt x="737" y="5218"/>
                  </a:lnTo>
                  <a:lnTo>
                    <a:pt x="721" y="5218"/>
                  </a:lnTo>
                  <a:lnTo>
                    <a:pt x="700" y="5214"/>
                  </a:lnTo>
                  <a:lnTo>
                    <a:pt x="678" y="5211"/>
                  </a:lnTo>
                  <a:lnTo>
                    <a:pt x="662" y="5205"/>
                  </a:lnTo>
                  <a:lnTo>
                    <a:pt x="656" y="5202"/>
                  </a:lnTo>
                  <a:lnTo>
                    <a:pt x="656" y="5186"/>
                  </a:lnTo>
                  <a:lnTo>
                    <a:pt x="656" y="5161"/>
                  </a:lnTo>
                  <a:lnTo>
                    <a:pt x="656" y="5133"/>
                  </a:lnTo>
                  <a:lnTo>
                    <a:pt x="656" y="5111"/>
                  </a:lnTo>
                  <a:lnTo>
                    <a:pt x="662" y="5093"/>
                  </a:lnTo>
                  <a:lnTo>
                    <a:pt x="668" y="5071"/>
                  </a:lnTo>
                  <a:lnTo>
                    <a:pt x="678" y="5046"/>
                  </a:lnTo>
                  <a:lnTo>
                    <a:pt x="678" y="5027"/>
                  </a:lnTo>
                  <a:lnTo>
                    <a:pt x="678" y="5018"/>
                  </a:lnTo>
                  <a:lnTo>
                    <a:pt x="672" y="5008"/>
                  </a:lnTo>
                  <a:lnTo>
                    <a:pt x="668" y="4996"/>
                  </a:lnTo>
                  <a:lnTo>
                    <a:pt x="662" y="4986"/>
                  </a:lnTo>
                  <a:lnTo>
                    <a:pt x="656" y="4977"/>
                  </a:lnTo>
                  <a:lnTo>
                    <a:pt x="640" y="4965"/>
                  </a:lnTo>
                  <a:lnTo>
                    <a:pt x="618" y="4952"/>
                  </a:lnTo>
                  <a:lnTo>
                    <a:pt x="603" y="4937"/>
                  </a:lnTo>
                  <a:lnTo>
                    <a:pt x="587" y="4918"/>
                  </a:lnTo>
                  <a:lnTo>
                    <a:pt x="572" y="4893"/>
                  </a:lnTo>
                  <a:lnTo>
                    <a:pt x="562" y="4871"/>
                  </a:lnTo>
                  <a:lnTo>
                    <a:pt x="559" y="4849"/>
                  </a:lnTo>
                  <a:lnTo>
                    <a:pt x="562" y="4824"/>
                  </a:lnTo>
                  <a:lnTo>
                    <a:pt x="562" y="4802"/>
                  </a:lnTo>
                  <a:lnTo>
                    <a:pt x="553" y="4784"/>
                  </a:lnTo>
                  <a:lnTo>
                    <a:pt x="537" y="4762"/>
                  </a:lnTo>
                  <a:lnTo>
                    <a:pt x="525" y="4743"/>
                  </a:lnTo>
                  <a:lnTo>
                    <a:pt x="522" y="4721"/>
                  </a:lnTo>
                  <a:lnTo>
                    <a:pt x="519" y="4693"/>
                  </a:lnTo>
                  <a:lnTo>
                    <a:pt x="512" y="4665"/>
                  </a:lnTo>
                  <a:lnTo>
                    <a:pt x="503" y="4646"/>
                  </a:lnTo>
                  <a:lnTo>
                    <a:pt x="487" y="4640"/>
                  </a:lnTo>
                  <a:lnTo>
                    <a:pt x="469" y="4640"/>
                  </a:lnTo>
                  <a:lnTo>
                    <a:pt x="447" y="4640"/>
                  </a:lnTo>
                  <a:lnTo>
                    <a:pt x="428" y="4637"/>
                  </a:lnTo>
                  <a:lnTo>
                    <a:pt x="412" y="4631"/>
                  </a:lnTo>
                  <a:lnTo>
                    <a:pt x="403" y="4612"/>
                  </a:lnTo>
                  <a:lnTo>
                    <a:pt x="397" y="4584"/>
                  </a:lnTo>
                  <a:lnTo>
                    <a:pt x="394" y="4556"/>
                  </a:lnTo>
                  <a:lnTo>
                    <a:pt x="390" y="4524"/>
                  </a:lnTo>
                  <a:lnTo>
                    <a:pt x="390" y="4499"/>
                  </a:lnTo>
                  <a:lnTo>
                    <a:pt x="390" y="4471"/>
                  </a:lnTo>
                  <a:lnTo>
                    <a:pt x="390" y="4440"/>
                  </a:lnTo>
                  <a:lnTo>
                    <a:pt x="390" y="4412"/>
                  </a:lnTo>
                  <a:lnTo>
                    <a:pt x="384" y="4390"/>
                  </a:lnTo>
                  <a:lnTo>
                    <a:pt x="378" y="4362"/>
                  </a:lnTo>
                  <a:lnTo>
                    <a:pt x="372" y="4334"/>
                  </a:lnTo>
                  <a:lnTo>
                    <a:pt x="369" y="4312"/>
                  </a:lnTo>
                  <a:lnTo>
                    <a:pt x="362" y="4284"/>
                  </a:lnTo>
                  <a:lnTo>
                    <a:pt x="359" y="4246"/>
                  </a:lnTo>
                  <a:lnTo>
                    <a:pt x="359" y="4212"/>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65" name="Freeform 57">
              <a:extLst>
                <a:ext uri="{FF2B5EF4-FFF2-40B4-BE49-F238E27FC236}">
                  <a16:creationId xmlns:a16="http://schemas.microsoft.com/office/drawing/2014/main" id="{99978B11-41FD-4E05-88BF-6157AB0B0863}"/>
                </a:ext>
              </a:extLst>
            </p:cNvPr>
            <p:cNvSpPr>
              <a:spLocks/>
            </p:cNvSpPr>
            <p:nvPr/>
          </p:nvSpPr>
          <p:spPr bwMode="auto">
            <a:xfrm>
              <a:off x="20139026" y="-1704975"/>
              <a:ext cx="6350000" cy="8153400"/>
            </a:xfrm>
            <a:custGeom>
              <a:avLst/>
              <a:gdLst>
                <a:gd name="T0" fmla="*/ 84 w 4000"/>
                <a:gd name="T1" fmla="*/ 4087 h 5136"/>
                <a:gd name="T2" fmla="*/ 224 w 4000"/>
                <a:gd name="T3" fmla="*/ 3928 h 5136"/>
                <a:gd name="T4" fmla="*/ 209 w 4000"/>
                <a:gd name="T5" fmla="*/ 3741 h 5136"/>
                <a:gd name="T6" fmla="*/ 387 w 4000"/>
                <a:gd name="T7" fmla="*/ 3566 h 5136"/>
                <a:gd name="T8" fmla="*/ 490 w 4000"/>
                <a:gd name="T9" fmla="*/ 3338 h 5136"/>
                <a:gd name="T10" fmla="*/ 615 w 4000"/>
                <a:gd name="T11" fmla="*/ 3344 h 5136"/>
                <a:gd name="T12" fmla="*/ 721 w 4000"/>
                <a:gd name="T13" fmla="*/ 3013 h 5136"/>
                <a:gd name="T14" fmla="*/ 768 w 4000"/>
                <a:gd name="T15" fmla="*/ 2670 h 5136"/>
                <a:gd name="T16" fmla="*/ 540 w 4000"/>
                <a:gd name="T17" fmla="*/ 2364 h 5136"/>
                <a:gd name="T18" fmla="*/ 765 w 4000"/>
                <a:gd name="T19" fmla="*/ 2161 h 5136"/>
                <a:gd name="T20" fmla="*/ 849 w 4000"/>
                <a:gd name="T21" fmla="*/ 1752 h 5136"/>
                <a:gd name="T22" fmla="*/ 677 w 4000"/>
                <a:gd name="T23" fmla="*/ 1327 h 5136"/>
                <a:gd name="T24" fmla="*/ 509 w 4000"/>
                <a:gd name="T25" fmla="*/ 1108 h 5136"/>
                <a:gd name="T26" fmla="*/ 390 w 4000"/>
                <a:gd name="T27" fmla="*/ 840 h 5136"/>
                <a:gd name="T28" fmla="*/ 634 w 4000"/>
                <a:gd name="T29" fmla="*/ 618 h 5136"/>
                <a:gd name="T30" fmla="*/ 918 w 4000"/>
                <a:gd name="T31" fmla="*/ 565 h 5136"/>
                <a:gd name="T32" fmla="*/ 868 w 4000"/>
                <a:gd name="T33" fmla="*/ 396 h 5136"/>
                <a:gd name="T34" fmla="*/ 1005 w 4000"/>
                <a:gd name="T35" fmla="*/ 256 h 5136"/>
                <a:gd name="T36" fmla="*/ 1171 w 4000"/>
                <a:gd name="T37" fmla="*/ 190 h 5136"/>
                <a:gd name="T38" fmla="*/ 1361 w 4000"/>
                <a:gd name="T39" fmla="*/ 69 h 5136"/>
                <a:gd name="T40" fmla="*/ 1589 w 4000"/>
                <a:gd name="T41" fmla="*/ 62 h 5136"/>
                <a:gd name="T42" fmla="*/ 1817 w 4000"/>
                <a:gd name="T43" fmla="*/ 209 h 5136"/>
                <a:gd name="T44" fmla="*/ 2098 w 4000"/>
                <a:gd name="T45" fmla="*/ 284 h 5136"/>
                <a:gd name="T46" fmla="*/ 2304 w 4000"/>
                <a:gd name="T47" fmla="*/ 356 h 5136"/>
                <a:gd name="T48" fmla="*/ 2476 w 4000"/>
                <a:gd name="T49" fmla="*/ 256 h 5136"/>
                <a:gd name="T50" fmla="*/ 2620 w 4000"/>
                <a:gd name="T51" fmla="*/ 256 h 5136"/>
                <a:gd name="T52" fmla="*/ 2769 w 4000"/>
                <a:gd name="T53" fmla="*/ 556 h 5136"/>
                <a:gd name="T54" fmla="*/ 3104 w 4000"/>
                <a:gd name="T55" fmla="*/ 749 h 5136"/>
                <a:gd name="T56" fmla="*/ 3175 w 4000"/>
                <a:gd name="T57" fmla="*/ 1136 h 5136"/>
                <a:gd name="T58" fmla="*/ 2844 w 4000"/>
                <a:gd name="T59" fmla="*/ 1314 h 5136"/>
                <a:gd name="T60" fmla="*/ 2838 w 4000"/>
                <a:gd name="T61" fmla="*/ 1714 h 5136"/>
                <a:gd name="T62" fmla="*/ 2673 w 4000"/>
                <a:gd name="T63" fmla="*/ 1986 h 5136"/>
                <a:gd name="T64" fmla="*/ 2704 w 4000"/>
                <a:gd name="T65" fmla="*/ 2326 h 5136"/>
                <a:gd name="T66" fmla="*/ 2932 w 4000"/>
                <a:gd name="T67" fmla="*/ 2779 h 5136"/>
                <a:gd name="T68" fmla="*/ 3144 w 4000"/>
                <a:gd name="T69" fmla="*/ 3082 h 5136"/>
                <a:gd name="T70" fmla="*/ 3022 w 4000"/>
                <a:gd name="T71" fmla="*/ 3382 h 5136"/>
                <a:gd name="T72" fmla="*/ 3303 w 4000"/>
                <a:gd name="T73" fmla="*/ 3394 h 5136"/>
                <a:gd name="T74" fmla="*/ 3609 w 4000"/>
                <a:gd name="T75" fmla="*/ 3329 h 5136"/>
                <a:gd name="T76" fmla="*/ 3750 w 4000"/>
                <a:gd name="T77" fmla="*/ 3266 h 5136"/>
                <a:gd name="T78" fmla="*/ 3884 w 4000"/>
                <a:gd name="T79" fmla="*/ 3572 h 5136"/>
                <a:gd name="T80" fmla="*/ 3931 w 4000"/>
                <a:gd name="T81" fmla="*/ 3897 h 5136"/>
                <a:gd name="T82" fmla="*/ 3800 w 4000"/>
                <a:gd name="T83" fmla="*/ 4078 h 5136"/>
                <a:gd name="T84" fmla="*/ 3697 w 4000"/>
                <a:gd name="T85" fmla="*/ 4256 h 5136"/>
                <a:gd name="T86" fmla="*/ 3481 w 4000"/>
                <a:gd name="T87" fmla="*/ 4428 h 5136"/>
                <a:gd name="T88" fmla="*/ 3235 w 4000"/>
                <a:gd name="T89" fmla="*/ 4593 h 5136"/>
                <a:gd name="T90" fmla="*/ 3029 w 4000"/>
                <a:gd name="T91" fmla="*/ 4787 h 5136"/>
                <a:gd name="T92" fmla="*/ 2751 w 4000"/>
                <a:gd name="T93" fmla="*/ 4640 h 5136"/>
                <a:gd name="T94" fmla="*/ 2551 w 4000"/>
                <a:gd name="T95" fmla="*/ 4499 h 5136"/>
                <a:gd name="T96" fmla="*/ 2332 w 4000"/>
                <a:gd name="T97" fmla="*/ 4674 h 5136"/>
                <a:gd name="T98" fmla="*/ 2201 w 4000"/>
                <a:gd name="T99" fmla="*/ 4346 h 5136"/>
                <a:gd name="T100" fmla="*/ 1948 w 4000"/>
                <a:gd name="T101" fmla="*/ 4437 h 5136"/>
                <a:gd name="T102" fmla="*/ 1798 w 4000"/>
                <a:gd name="T103" fmla="*/ 4534 h 5136"/>
                <a:gd name="T104" fmla="*/ 1726 w 4000"/>
                <a:gd name="T105" fmla="*/ 4543 h 5136"/>
                <a:gd name="T106" fmla="*/ 1648 w 4000"/>
                <a:gd name="T107" fmla="*/ 4718 h 5136"/>
                <a:gd name="T108" fmla="*/ 1555 w 4000"/>
                <a:gd name="T109" fmla="*/ 4990 h 5136"/>
                <a:gd name="T110" fmla="*/ 1430 w 4000"/>
                <a:gd name="T111" fmla="*/ 4880 h 5136"/>
                <a:gd name="T112" fmla="*/ 1327 w 4000"/>
                <a:gd name="T113" fmla="*/ 4646 h 5136"/>
                <a:gd name="T114" fmla="*/ 1099 w 4000"/>
                <a:gd name="T115" fmla="*/ 4409 h 5136"/>
                <a:gd name="T116" fmla="*/ 768 w 4000"/>
                <a:gd name="T117" fmla="*/ 4905 h 5136"/>
                <a:gd name="T118" fmla="*/ 418 w 4000"/>
                <a:gd name="T119" fmla="*/ 5058 h 5136"/>
                <a:gd name="T120" fmla="*/ 149 w 4000"/>
                <a:gd name="T121" fmla="*/ 5077 h 5136"/>
                <a:gd name="T122" fmla="*/ 153 w 4000"/>
                <a:gd name="T123" fmla="*/ 4727 h 5136"/>
                <a:gd name="T124" fmla="*/ 31 w 4000"/>
                <a:gd name="T125" fmla="*/ 4456 h 5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00" h="5136">
                  <a:moveTo>
                    <a:pt x="28" y="4306"/>
                  </a:moveTo>
                  <a:lnTo>
                    <a:pt x="31" y="4297"/>
                  </a:lnTo>
                  <a:lnTo>
                    <a:pt x="40" y="4278"/>
                  </a:lnTo>
                  <a:lnTo>
                    <a:pt x="53" y="4256"/>
                  </a:lnTo>
                  <a:lnTo>
                    <a:pt x="68" y="4237"/>
                  </a:lnTo>
                  <a:lnTo>
                    <a:pt x="75" y="4231"/>
                  </a:lnTo>
                  <a:lnTo>
                    <a:pt x="84" y="4225"/>
                  </a:lnTo>
                  <a:lnTo>
                    <a:pt x="93" y="4218"/>
                  </a:lnTo>
                  <a:lnTo>
                    <a:pt x="103" y="4212"/>
                  </a:lnTo>
                  <a:lnTo>
                    <a:pt x="106" y="4206"/>
                  </a:lnTo>
                  <a:lnTo>
                    <a:pt x="109" y="4187"/>
                  </a:lnTo>
                  <a:lnTo>
                    <a:pt x="109" y="4168"/>
                  </a:lnTo>
                  <a:lnTo>
                    <a:pt x="106" y="4153"/>
                  </a:lnTo>
                  <a:lnTo>
                    <a:pt x="100" y="4137"/>
                  </a:lnTo>
                  <a:lnTo>
                    <a:pt x="90" y="4125"/>
                  </a:lnTo>
                  <a:lnTo>
                    <a:pt x="84" y="4109"/>
                  </a:lnTo>
                  <a:lnTo>
                    <a:pt x="81" y="4097"/>
                  </a:lnTo>
                  <a:lnTo>
                    <a:pt x="84" y="4087"/>
                  </a:lnTo>
                  <a:lnTo>
                    <a:pt x="93" y="4084"/>
                  </a:lnTo>
                  <a:lnTo>
                    <a:pt x="103" y="4078"/>
                  </a:lnTo>
                  <a:lnTo>
                    <a:pt x="112" y="4072"/>
                  </a:lnTo>
                  <a:lnTo>
                    <a:pt x="121" y="4069"/>
                  </a:lnTo>
                  <a:lnTo>
                    <a:pt x="131" y="4065"/>
                  </a:lnTo>
                  <a:lnTo>
                    <a:pt x="137" y="4062"/>
                  </a:lnTo>
                  <a:lnTo>
                    <a:pt x="146" y="4059"/>
                  </a:lnTo>
                  <a:lnTo>
                    <a:pt x="153" y="4053"/>
                  </a:lnTo>
                  <a:lnTo>
                    <a:pt x="174" y="4040"/>
                  </a:lnTo>
                  <a:lnTo>
                    <a:pt x="196" y="4022"/>
                  </a:lnTo>
                  <a:lnTo>
                    <a:pt x="212" y="4003"/>
                  </a:lnTo>
                  <a:lnTo>
                    <a:pt x="212" y="3987"/>
                  </a:lnTo>
                  <a:lnTo>
                    <a:pt x="209" y="3966"/>
                  </a:lnTo>
                  <a:lnTo>
                    <a:pt x="206" y="3944"/>
                  </a:lnTo>
                  <a:lnTo>
                    <a:pt x="212" y="3928"/>
                  </a:lnTo>
                  <a:lnTo>
                    <a:pt x="215" y="3928"/>
                  </a:lnTo>
                  <a:lnTo>
                    <a:pt x="218" y="3928"/>
                  </a:lnTo>
                  <a:lnTo>
                    <a:pt x="224" y="3928"/>
                  </a:lnTo>
                  <a:lnTo>
                    <a:pt x="231" y="3931"/>
                  </a:lnTo>
                  <a:lnTo>
                    <a:pt x="234" y="3928"/>
                  </a:lnTo>
                  <a:lnTo>
                    <a:pt x="246" y="3912"/>
                  </a:lnTo>
                  <a:lnTo>
                    <a:pt x="256" y="3887"/>
                  </a:lnTo>
                  <a:lnTo>
                    <a:pt x="262" y="3862"/>
                  </a:lnTo>
                  <a:lnTo>
                    <a:pt x="259" y="3841"/>
                  </a:lnTo>
                  <a:lnTo>
                    <a:pt x="256" y="3834"/>
                  </a:lnTo>
                  <a:lnTo>
                    <a:pt x="246" y="3825"/>
                  </a:lnTo>
                  <a:lnTo>
                    <a:pt x="237" y="3819"/>
                  </a:lnTo>
                  <a:lnTo>
                    <a:pt x="231" y="3813"/>
                  </a:lnTo>
                  <a:lnTo>
                    <a:pt x="224" y="3806"/>
                  </a:lnTo>
                  <a:lnTo>
                    <a:pt x="218" y="3797"/>
                  </a:lnTo>
                  <a:lnTo>
                    <a:pt x="215" y="3788"/>
                  </a:lnTo>
                  <a:lnTo>
                    <a:pt x="212" y="3775"/>
                  </a:lnTo>
                  <a:lnTo>
                    <a:pt x="212" y="3766"/>
                  </a:lnTo>
                  <a:lnTo>
                    <a:pt x="209" y="3759"/>
                  </a:lnTo>
                  <a:lnTo>
                    <a:pt x="209" y="3750"/>
                  </a:lnTo>
                  <a:lnTo>
                    <a:pt x="209" y="3741"/>
                  </a:lnTo>
                  <a:lnTo>
                    <a:pt x="209" y="3734"/>
                  </a:lnTo>
                  <a:lnTo>
                    <a:pt x="212" y="3728"/>
                  </a:lnTo>
                  <a:lnTo>
                    <a:pt x="215" y="3722"/>
                  </a:lnTo>
                  <a:lnTo>
                    <a:pt x="224" y="3716"/>
                  </a:lnTo>
                  <a:lnTo>
                    <a:pt x="234" y="3709"/>
                  </a:lnTo>
                  <a:lnTo>
                    <a:pt x="243" y="3706"/>
                  </a:lnTo>
                  <a:lnTo>
                    <a:pt x="249" y="3700"/>
                  </a:lnTo>
                  <a:lnTo>
                    <a:pt x="253" y="3694"/>
                  </a:lnTo>
                  <a:lnTo>
                    <a:pt x="256" y="3684"/>
                  </a:lnTo>
                  <a:lnTo>
                    <a:pt x="259" y="3675"/>
                  </a:lnTo>
                  <a:lnTo>
                    <a:pt x="262" y="3666"/>
                  </a:lnTo>
                  <a:lnTo>
                    <a:pt x="265" y="3659"/>
                  </a:lnTo>
                  <a:lnTo>
                    <a:pt x="281" y="3635"/>
                  </a:lnTo>
                  <a:lnTo>
                    <a:pt x="299" y="3610"/>
                  </a:lnTo>
                  <a:lnTo>
                    <a:pt x="321" y="3591"/>
                  </a:lnTo>
                  <a:lnTo>
                    <a:pt x="340" y="3581"/>
                  </a:lnTo>
                  <a:lnTo>
                    <a:pt x="368" y="3575"/>
                  </a:lnTo>
                  <a:lnTo>
                    <a:pt x="387" y="3566"/>
                  </a:lnTo>
                  <a:lnTo>
                    <a:pt x="396" y="3563"/>
                  </a:lnTo>
                  <a:lnTo>
                    <a:pt x="406" y="3556"/>
                  </a:lnTo>
                  <a:lnTo>
                    <a:pt x="415" y="3547"/>
                  </a:lnTo>
                  <a:lnTo>
                    <a:pt x="424" y="3541"/>
                  </a:lnTo>
                  <a:lnTo>
                    <a:pt x="431" y="3535"/>
                  </a:lnTo>
                  <a:lnTo>
                    <a:pt x="440" y="3513"/>
                  </a:lnTo>
                  <a:lnTo>
                    <a:pt x="446" y="3488"/>
                  </a:lnTo>
                  <a:lnTo>
                    <a:pt x="456" y="3469"/>
                  </a:lnTo>
                  <a:lnTo>
                    <a:pt x="462" y="3466"/>
                  </a:lnTo>
                  <a:lnTo>
                    <a:pt x="471" y="3463"/>
                  </a:lnTo>
                  <a:lnTo>
                    <a:pt x="480" y="3460"/>
                  </a:lnTo>
                  <a:lnTo>
                    <a:pt x="487" y="3457"/>
                  </a:lnTo>
                  <a:lnTo>
                    <a:pt x="493" y="3453"/>
                  </a:lnTo>
                  <a:lnTo>
                    <a:pt x="499" y="3435"/>
                  </a:lnTo>
                  <a:lnTo>
                    <a:pt x="499" y="3410"/>
                  </a:lnTo>
                  <a:lnTo>
                    <a:pt x="496" y="3385"/>
                  </a:lnTo>
                  <a:lnTo>
                    <a:pt x="496" y="3363"/>
                  </a:lnTo>
                  <a:lnTo>
                    <a:pt x="490" y="3338"/>
                  </a:lnTo>
                  <a:lnTo>
                    <a:pt x="484" y="3310"/>
                  </a:lnTo>
                  <a:lnTo>
                    <a:pt x="480" y="3288"/>
                  </a:lnTo>
                  <a:lnTo>
                    <a:pt x="480" y="3282"/>
                  </a:lnTo>
                  <a:lnTo>
                    <a:pt x="480" y="3272"/>
                  </a:lnTo>
                  <a:lnTo>
                    <a:pt x="484" y="3263"/>
                  </a:lnTo>
                  <a:lnTo>
                    <a:pt x="487" y="3254"/>
                  </a:lnTo>
                  <a:lnTo>
                    <a:pt x="490" y="3247"/>
                  </a:lnTo>
                  <a:lnTo>
                    <a:pt x="496" y="3241"/>
                  </a:lnTo>
                  <a:lnTo>
                    <a:pt x="509" y="3241"/>
                  </a:lnTo>
                  <a:lnTo>
                    <a:pt x="527" y="3244"/>
                  </a:lnTo>
                  <a:lnTo>
                    <a:pt x="543" y="3250"/>
                  </a:lnTo>
                  <a:lnTo>
                    <a:pt x="555" y="3260"/>
                  </a:lnTo>
                  <a:lnTo>
                    <a:pt x="559" y="3272"/>
                  </a:lnTo>
                  <a:lnTo>
                    <a:pt x="559" y="3288"/>
                  </a:lnTo>
                  <a:lnTo>
                    <a:pt x="559" y="3304"/>
                  </a:lnTo>
                  <a:lnTo>
                    <a:pt x="565" y="3316"/>
                  </a:lnTo>
                  <a:lnTo>
                    <a:pt x="587" y="3332"/>
                  </a:lnTo>
                  <a:lnTo>
                    <a:pt x="615" y="3344"/>
                  </a:lnTo>
                  <a:lnTo>
                    <a:pt x="649" y="3350"/>
                  </a:lnTo>
                  <a:lnTo>
                    <a:pt x="677" y="3350"/>
                  </a:lnTo>
                  <a:lnTo>
                    <a:pt x="696" y="3341"/>
                  </a:lnTo>
                  <a:lnTo>
                    <a:pt x="718" y="3325"/>
                  </a:lnTo>
                  <a:lnTo>
                    <a:pt x="733" y="3307"/>
                  </a:lnTo>
                  <a:lnTo>
                    <a:pt x="737" y="3288"/>
                  </a:lnTo>
                  <a:lnTo>
                    <a:pt x="737" y="3263"/>
                  </a:lnTo>
                  <a:lnTo>
                    <a:pt x="733" y="3238"/>
                  </a:lnTo>
                  <a:lnTo>
                    <a:pt x="730" y="3213"/>
                  </a:lnTo>
                  <a:lnTo>
                    <a:pt x="733" y="3194"/>
                  </a:lnTo>
                  <a:lnTo>
                    <a:pt x="743" y="3175"/>
                  </a:lnTo>
                  <a:lnTo>
                    <a:pt x="758" y="3160"/>
                  </a:lnTo>
                  <a:lnTo>
                    <a:pt x="765" y="3141"/>
                  </a:lnTo>
                  <a:lnTo>
                    <a:pt x="765" y="3116"/>
                  </a:lnTo>
                  <a:lnTo>
                    <a:pt x="755" y="3085"/>
                  </a:lnTo>
                  <a:lnTo>
                    <a:pt x="743" y="3057"/>
                  </a:lnTo>
                  <a:lnTo>
                    <a:pt x="733" y="3032"/>
                  </a:lnTo>
                  <a:lnTo>
                    <a:pt x="721" y="3013"/>
                  </a:lnTo>
                  <a:lnTo>
                    <a:pt x="702" y="2991"/>
                  </a:lnTo>
                  <a:lnTo>
                    <a:pt x="693" y="2973"/>
                  </a:lnTo>
                  <a:lnTo>
                    <a:pt x="683" y="2948"/>
                  </a:lnTo>
                  <a:lnTo>
                    <a:pt x="674" y="2916"/>
                  </a:lnTo>
                  <a:lnTo>
                    <a:pt x="668" y="2885"/>
                  </a:lnTo>
                  <a:lnTo>
                    <a:pt x="665" y="2860"/>
                  </a:lnTo>
                  <a:lnTo>
                    <a:pt x="671" y="2835"/>
                  </a:lnTo>
                  <a:lnTo>
                    <a:pt x="683" y="2807"/>
                  </a:lnTo>
                  <a:lnTo>
                    <a:pt x="696" y="2782"/>
                  </a:lnTo>
                  <a:lnTo>
                    <a:pt x="708" y="2760"/>
                  </a:lnTo>
                  <a:lnTo>
                    <a:pt x="715" y="2757"/>
                  </a:lnTo>
                  <a:lnTo>
                    <a:pt x="724" y="2751"/>
                  </a:lnTo>
                  <a:lnTo>
                    <a:pt x="733" y="2745"/>
                  </a:lnTo>
                  <a:lnTo>
                    <a:pt x="743" y="2738"/>
                  </a:lnTo>
                  <a:lnTo>
                    <a:pt x="752" y="2732"/>
                  </a:lnTo>
                  <a:lnTo>
                    <a:pt x="758" y="2726"/>
                  </a:lnTo>
                  <a:lnTo>
                    <a:pt x="765" y="2701"/>
                  </a:lnTo>
                  <a:lnTo>
                    <a:pt x="768" y="2670"/>
                  </a:lnTo>
                  <a:lnTo>
                    <a:pt x="768" y="2638"/>
                  </a:lnTo>
                  <a:lnTo>
                    <a:pt x="762" y="2613"/>
                  </a:lnTo>
                  <a:lnTo>
                    <a:pt x="755" y="2595"/>
                  </a:lnTo>
                  <a:lnTo>
                    <a:pt x="746" y="2573"/>
                  </a:lnTo>
                  <a:lnTo>
                    <a:pt x="737" y="2557"/>
                  </a:lnTo>
                  <a:lnTo>
                    <a:pt x="724" y="2529"/>
                  </a:lnTo>
                  <a:lnTo>
                    <a:pt x="708" y="2501"/>
                  </a:lnTo>
                  <a:lnTo>
                    <a:pt x="693" y="2476"/>
                  </a:lnTo>
                  <a:lnTo>
                    <a:pt x="677" y="2457"/>
                  </a:lnTo>
                  <a:lnTo>
                    <a:pt x="655" y="2439"/>
                  </a:lnTo>
                  <a:lnTo>
                    <a:pt x="634" y="2423"/>
                  </a:lnTo>
                  <a:lnTo>
                    <a:pt x="615" y="2410"/>
                  </a:lnTo>
                  <a:lnTo>
                    <a:pt x="599" y="2407"/>
                  </a:lnTo>
                  <a:lnTo>
                    <a:pt x="580" y="2407"/>
                  </a:lnTo>
                  <a:lnTo>
                    <a:pt x="565" y="2407"/>
                  </a:lnTo>
                  <a:lnTo>
                    <a:pt x="552" y="2401"/>
                  </a:lnTo>
                  <a:lnTo>
                    <a:pt x="543" y="2385"/>
                  </a:lnTo>
                  <a:lnTo>
                    <a:pt x="540" y="2364"/>
                  </a:lnTo>
                  <a:lnTo>
                    <a:pt x="540" y="2342"/>
                  </a:lnTo>
                  <a:lnTo>
                    <a:pt x="540" y="2323"/>
                  </a:lnTo>
                  <a:lnTo>
                    <a:pt x="546" y="2295"/>
                  </a:lnTo>
                  <a:lnTo>
                    <a:pt x="559" y="2261"/>
                  </a:lnTo>
                  <a:lnTo>
                    <a:pt x="574" y="2236"/>
                  </a:lnTo>
                  <a:lnTo>
                    <a:pt x="590" y="2220"/>
                  </a:lnTo>
                  <a:lnTo>
                    <a:pt x="609" y="2207"/>
                  </a:lnTo>
                  <a:lnTo>
                    <a:pt x="627" y="2198"/>
                  </a:lnTo>
                  <a:lnTo>
                    <a:pt x="637" y="2195"/>
                  </a:lnTo>
                  <a:lnTo>
                    <a:pt x="646" y="2195"/>
                  </a:lnTo>
                  <a:lnTo>
                    <a:pt x="655" y="2198"/>
                  </a:lnTo>
                  <a:lnTo>
                    <a:pt x="665" y="2198"/>
                  </a:lnTo>
                  <a:lnTo>
                    <a:pt x="674" y="2198"/>
                  </a:lnTo>
                  <a:lnTo>
                    <a:pt x="693" y="2189"/>
                  </a:lnTo>
                  <a:lnTo>
                    <a:pt x="715" y="2176"/>
                  </a:lnTo>
                  <a:lnTo>
                    <a:pt x="733" y="2167"/>
                  </a:lnTo>
                  <a:lnTo>
                    <a:pt x="746" y="2164"/>
                  </a:lnTo>
                  <a:lnTo>
                    <a:pt x="765" y="2161"/>
                  </a:lnTo>
                  <a:lnTo>
                    <a:pt x="783" y="2158"/>
                  </a:lnTo>
                  <a:lnTo>
                    <a:pt x="796" y="2154"/>
                  </a:lnTo>
                  <a:lnTo>
                    <a:pt x="811" y="2133"/>
                  </a:lnTo>
                  <a:lnTo>
                    <a:pt x="821" y="2101"/>
                  </a:lnTo>
                  <a:lnTo>
                    <a:pt x="827" y="2070"/>
                  </a:lnTo>
                  <a:lnTo>
                    <a:pt x="833" y="2042"/>
                  </a:lnTo>
                  <a:lnTo>
                    <a:pt x="843" y="2020"/>
                  </a:lnTo>
                  <a:lnTo>
                    <a:pt x="855" y="1989"/>
                  </a:lnTo>
                  <a:lnTo>
                    <a:pt x="861" y="1964"/>
                  </a:lnTo>
                  <a:lnTo>
                    <a:pt x="858" y="1942"/>
                  </a:lnTo>
                  <a:lnTo>
                    <a:pt x="852" y="1914"/>
                  </a:lnTo>
                  <a:lnTo>
                    <a:pt x="849" y="1889"/>
                  </a:lnTo>
                  <a:lnTo>
                    <a:pt x="852" y="1870"/>
                  </a:lnTo>
                  <a:lnTo>
                    <a:pt x="858" y="1845"/>
                  </a:lnTo>
                  <a:lnTo>
                    <a:pt x="865" y="1823"/>
                  </a:lnTo>
                  <a:lnTo>
                    <a:pt x="865" y="1805"/>
                  </a:lnTo>
                  <a:lnTo>
                    <a:pt x="858" y="1780"/>
                  </a:lnTo>
                  <a:lnTo>
                    <a:pt x="849" y="1752"/>
                  </a:lnTo>
                  <a:lnTo>
                    <a:pt x="840" y="1723"/>
                  </a:lnTo>
                  <a:lnTo>
                    <a:pt x="830" y="1699"/>
                  </a:lnTo>
                  <a:lnTo>
                    <a:pt x="821" y="1670"/>
                  </a:lnTo>
                  <a:lnTo>
                    <a:pt x="811" y="1636"/>
                  </a:lnTo>
                  <a:lnTo>
                    <a:pt x="805" y="1608"/>
                  </a:lnTo>
                  <a:lnTo>
                    <a:pt x="805" y="1586"/>
                  </a:lnTo>
                  <a:lnTo>
                    <a:pt x="808" y="1558"/>
                  </a:lnTo>
                  <a:lnTo>
                    <a:pt x="811" y="1533"/>
                  </a:lnTo>
                  <a:lnTo>
                    <a:pt x="808" y="1511"/>
                  </a:lnTo>
                  <a:lnTo>
                    <a:pt x="802" y="1486"/>
                  </a:lnTo>
                  <a:lnTo>
                    <a:pt x="790" y="1455"/>
                  </a:lnTo>
                  <a:lnTo>
                    <a:pt x="777" y="1427"/>
                  </a:lnTo>
                  <a:lnTo>
                    <a:pt x="762" y="1405"/>
                  </a:lnTo>
                  <a:lnTo>
                    <a:pt x="746" y="1389"/>
                  </a:lnTo>
                  <a:lnTo>
                    <a:pt x="721" y="1377"/>
                  </a:lnTo>
                  <a:lnTo>
                    <a:pt x="696" y="1361"/>
                  </a:lnTo>
                  <a:lnTo>
                    <a:pt x="680" y="1346"/>
                  </a:lnTo>
                  <a:lnTo>
                    <a:pt x="677" y="1327"/>
                  </a:lnTo>
                  <a:lnTo>
                    <a:pt x="680" y="1305"/>
                  </a:lnTo>
                  <a:lnTo>
                    <a:pt x="683" y="1280"/>
                  </a:lnTo>
                  <a:lnTo>
                    <a:pt x="680" y="1261"/>
                  </a:lnTo>
                  <a:lnTo>
                    <a:pt x="665" y="1243"/>
                  </a:lnTo>
                  <a:lnTo>
                    <a:pt x="640" y="1224"/>
                  </a:lnTo>
                  <a:lnTo>
                    <a:pt x="615" y="1215"/>
                  </a:lnTo>
                  <a:lnTo>
                    <a:pt x="609" y="1211"/>
                  </a:lnTo>
                  <a:lnTo>
                    <a:pt x="599" y="1211"/>
                  </a:lnTo>
                  <a:lnTo>
                    <a:pt x="590" y="1215"/>
                  </a:lnTo>
                  <a:lnTo>
                    <a:pt x="580" y="1215"/>
                  </a:lnTo>
                  <a:lnTo>
                    <a:pt x="571" y="1215"/>
                  </a:lnTo>
                  <a:lnTo>
                    <a:pt x="565" y="1215"/>
                  </a:lnTo>
                  <a:lnTo>
                    <a:pt x="559" y="1199"/>
                  </a:lnTo>
                  <a:lnTo>
                    <a:pt x="552" y="1180"/>
                  </a:lnTo>
                  <a:lnTo>
                    <a:pt x="546" y="1158"/>
                  </a:lnTo>
                  <a:lnTo>
                    <a:pt x="540" y="1143"/>
                  </a:lnTo>
                  <a:lnTo>
                    <a:pt x="527" y="1127"/>
                  </a:lnTo>
                  <a:lnTo>
                    <a:pt x="509" y="1108"/>
                  </a:lnTo>
                  <a:lnTo>
                    <a:pt x="490" y="1096"/>
                  </a:lnTo>
                  <a:lnTo>
                    <a:pt x="471" y="1090"/>
                  </a:lnTo>
                  <a:lnTo>
                    <a:pt x="449" y="1083"/>
                  </a:lnTo>
                  <a:lnTo>
                    <a:pt x="427" y="1077"/>
                  </a:lnTo>
                  <a:lnTo>
                    <a:pt x="412" y="1071"/>
                  </a:lnTo>
                  <a:lnTo>
                    <a:pt x="402" y="1055"/>
                  </a:lnTo>
                  <a:lnTo>
                    <a:pt x="393" y="1033"/>
                  </a:lnTo>
                  <a:lnTo>
                    <a:pt x="387" y="1015"/>
                  </a:lnTo>
                  <a:lnTo>
                    <a:pt x="377" y="993"/>
                  </a:lnTo>
                  <a:lnTo>
                    <a:pt x="362" y="968"/>
                  </a:lnTo>
                  <a:lnTo>
                    <a:pt x="349" y="943"/>
                  </a:lnTo>
                  <a:lnTo>
                    <a:pt x="340" y="918"/>
                  </a:lnTo>
                  <a:lnTo>
                    <a:pt x="343" y="899"/>
                  </a:lnTo>
                  <a:lnTo>
                    <a:pt x="349" y="877"/>
                  </a:lnTo>
                  <a:lnTo>
                    <a:pt x="356" y="859"/>
                  </a:lnTo>
                  <a:lnTo>
                    <a:pt x="359" y="855"/>
                  </a:lnTo>
                  <a:lnTo>
                    <a:pt x="371" y="846"/>
                  </a:lnTo>
                  <a:lnTo>
                    <a:pt x="390" y="840"/>
                  </a:lnTo>
                  <a:lnTo>
                    <a:pt x="409" y="830"/>
                  </a:lnTo>
                  <a:lnTo>
                    <a:pt x="421" y="821"/>
                  </a:lnTo>
                  <a:lnTo>
                    <a:pt x="424" y="809"/>
                  </a:lnTo>
                  <a:lnTo>
                    <a:pt x="421" y="790"/>
                  </a:lnTo>
                  <a:lnTo>
                    <a:pt x="418" y="771"/>
                  </a:lnTo>
                  <a:lnTo>
                    <a:pt x="421" y="755"/>
                  </a:lnTo>
                  <a:lnTo>
                    <a:pt x="440" y="737"/>
                  </a:lnTo>
                  <a:lnTo>
                    <a:pt x="468" y="718"/>
                  </a:lnTo>
                  <a:lnTo>
                    <a:pt x="499" y="702"/>
                  </a:lnTo>
                  <a:lnTo>
                    <a:pt x="530" y="687"/>
                  </a:lnTo>
                  <a:lnTo>
                    <a:pt x="555" y="674"/>
                  </a:lnTo>
                  <a:lnTo>
                    <a:pt x="565" y="668"/>
                  </a:lnTo>
                  <a:lnTo>
                    <a:pt x="571" y="662"/>
                  </a:lnTo>
                  <a:lnTo>
                    <a:pt x="580" y="656"/>
                  </a:lnTo>
                  <a:lnTo>
                    <a:pt x="590" y="649"/>
                  </a:lnTo>
                  <a:lnTo>
                    <a:pt x="596" y="646"/>
                  </a:lnTo>
                  <a:lnTo>
                    <a:pt x="615" y="634"/>
                  </a:lnTo>
                  <a:lnTo>
                    <a:pt x="634" y="618"/>
                  </a:lnTo>
                  <a:lnTo>
                    <a:pt x="652" y="612"/>
                  </a:lnTo>
                  <a:lnTo>
                    <a:pt x="668" y="618"/>
                  </a:lnTo>
                  <a:lnTo>
                    <a:pt x="683" y="627"/>
                  </a:lnTo>
                  <a:lnTo>
                    <a:pt x="699" y="640"/>
                  </a:lnTo>
                  <a:lnTo>
                    <a:pt x="715" y="646"/>
                  </a:lnTo>
                  <a:lnTo>
                    <a:pt x="746" y="649"/>
                  </a:lnTo>
                  <a:lnTo>
                    <a:pt x="780" y="646"/>
                  </a:lnTo>
                  <a:lnTo>
                    <a:pt x="818" y="640"/>
                  </a:lnTo>
                  <a:lnTo>
                    <a:pt x="846" y="631"/>
                  </a:lnTo>
                  <a:lnTo>
                    <a:pt x="858" y="615"/>
                  </a:lnTo>
                  <a:lnTo>
                    <a:pt x="874" y="593"/>
                  </a:lnTo>
                  <a:lnTo>
                    <a:pt x="890" y="578"/>
                  </a:lnTo>
                  <a:lnTo>
                    <a:pt x="893" y="578"/>
                  </a:lnTo>
                  <a:lnTo>
                    <a:pt x="899" y="578"/>
                  </a:lnTo>
                  <a:lnTo>
                    <a:pt x="905" y="578"/>
                  </a:lnTo>
                  <a:lnTo>
                    <a:pt x="911" y="578"/>
                  </a:lnTo>
                  <a:lnTo>
                    <a:pt x="915" y="578"/>
                  </a:lnTo>
                  <a:lnTo>
                    <a:pt x="918" y="565"/>
                  </a:lnTo>
                  <a:lnTo>
                    <a:pt x="915" y="546"/>
                  </a:lnTo>
                  <a:lnTo>
                    <a:pt x="908" y="528"/>
                  </a:lnTo>
                  <a:lnTo>
                    <a:pt x="899" y="509"/>
                  </a:lnTo>
                  <a:lnTo>
                    <a:pt x="893" y="496"/>
                  </a:lnTo>
                  <a:lnTo>
                    <a:pt x="890" y="487"/>
                  </a:lnTo>
                  <a:lnTo>
                    <a:pt x="883" y="481"/>
                  </a:lnTo>
                  <a:lnTo>
                    <a:pt x="877" y="471"/>
                  </a:lnTo>
                  <a:lnTo>
                    <a:pt x="871" y="465"/>
                  </a:lnTo>
                  <a:lnTo>
                    <a:pt x="868" y="456"/>
                  </a:lnTo>
                  <a:lnTo>
                    <a:pt x="865" y="449"/>
                  </a:lnTo>
                  <a:lnTo>
                    <a:pt x="868" y="443"/>
                  </a:lnTo>
                  <a:lnTo>
                    <a:pt x="871" y="434"/>
                  </a:lnTo>
                  <a:lnTo>
                    <a:pt x="874" y="428"/>
                  </a:lnTo>
                  <a:lnTo>
                    <a:pt x="880" y="418"/>
                  </a:lnTo>
                  <a:lnTo>
                    <a:pt x="880" y="412"/>
                  </a:lnTo>
                  <a:lnTo>
                    <a:pt x="877" y="409"/>
                  </a:lnTo>
                  <a:lnTo>
                    <a:pt x="874" y="403"/>
                  </a:lnTo>
                  <a:lnTo>
                    <a:pt x="868" y="396"/>
                  </a:lnTo>
                  <a:lnTo>
                    <a:pt x="865" y="390"/>
                  </a:lnTo>
                  <a:lnTo>
                    <a:pt x="865" y="381"/>
                  </a:lnTo>
                  <a:lnTo>
                    <a:pt x="868" y="371"/>
                  </a:lnTo>
                  <a:lnTo>
                    <a:pt x="871" y="362"/>
                  </a:lnTo>
                  <a:lnTo>
                    <a:pt x="877" y="353"/>
                  </a:lnTo>
                  <a:lnTo>
                    <a:pt x="880" y="343"/>
                  </a:lnTo>
                  <a:lnTo>
                    <a:pt x="899" y="331"/>
                  </a:lnTo>
                  <a:lnTo>
                    <a:pt x="927" y="321"/>
                  </a:lnTo>
                  <a:lnTo>
                    <a:pt x="946" y="315"/>
                  </a:lnTo>
                  <a:lnTo>
                    <a:pt x="952" y="309"/>
                  </a:lnTo>
                  <a:lnTo>
                    <a:pt x="949" y="296"/>
                  </a:lnTo>
                  <a:lnTo>
                    <a:pt x="946" y="281"/>
                  </a:lnTo>
                  <a:lnTo>
                    <a:pt x="946" y="265"/>
                  </a:lnTo>
                  <a:lnTo>
                    <a:pt x="946" y="256"/>
                  </a:lnTo>
                  <a:lnTo>
                    <a:pt x="958" y="250"/>
                  </a:lnTo>
                  <a:lnTo>
                    <a:pt x="974" y="253"/>
                  </a:lnTo>
                  <a:lnTo>
                    <a:pt x="993" y="256"/>
                  </a:lnTo>
                  <a:lnTo>
                    <a:pt x="1005" y="256"/>
                  </a:lnTo>
                  <a:lnTo>
                    <a:pt x="1024" y="243"/>
                  </a:lnTo>
                  <a:lnTo>
                    <a:pt x="1046" y="228"/>
                  </a:lnTo>
                  <a:lnTo>
                    <a:pt x="1064" y="218"/>
                  </a:lnTo>
                  <a:lnTo>
                    <a:pt x="1086" y="218"/>
                  </a:lnTo>
                  <a:lnTo>
                    <a:pt x="1114" y="218"/>
                  </a:lnTo>
                  <a:lnTo>
                    <a:pt x="1136" y="218"/>
                  </a:lnTo>
                  <a:lnTo>
                    <a:pt x="1143" y="218"/>
                  </a:lnTo>
                  <a:lnTo>
                    <a:pt x="1149" y="222"/>
                  </a:lnTo>
                  <a:lnTo>
                    <a:pt x="1158" y="222"/>
                  </a:lnTo>
                  <a:lnTo>
                    <a:pt x="1167" y="225"/>
                  </a:lnTo>
                  <a:lnTo>
                    <a:pt x="1174" y="225"/>
                  </a:lnTo>
                  <a:lnTo>
                    <a:pt x="1180" y="222"/>
                  </a:lnTo>
                  <a:lnTo>
                    <a:pt x="1186" y="218"/>
                  </a:lnTo>
                  <a:lnTo>
                    <a:pt x="1186" y="215"/>
                  </a:lnTo>
                  <a:lnTo>
                    <a:pt x="1183" y="209"/>
                  </a:lnTo>
                  <a:lnTo>
                    <a:pt x="1180" y="203"/>
                  </a:lnTo>
                  <a:lnTo>
                    <a:pt x="1177" y="197"/>
                  </a:lnTo>
                  <a:lnTo>
                    <a:pt x="1171" y="190"/>
                  </a:lnTo>
                  <a:lnTo>
                    <a:pt x="1167" y="184"/>
                  </a:lnTo>
                  <a:lnTo>
                    <a:pt x="1164" y="178"/>
                  </a:lnTo>
                  <a:lnTo>
                    <a:pt x="1167" y="172"/>
                  </a:lnTo>
                  <a:lnTo>
                    <a:pt x="1177" y="165"/>
                  </a:lnTo>
                  <a:lnTo>
                    <a:pt x="1196" y="165"/>
                  </a:lnTo>
                  <a:lnTo>
                    <a:pt x="1217" y="168"/>
                  </a:lnTo>
                  <a:lnTo>
                    <a:pt x="1239" y="172"/>
                  </a:lnTo>
                  <a:lnTo>
                    <a:pt x="1258" y="175"/>
                  </a:lnTo>
                  <a:lnTo>
                    <a:pt x="1274" y="172"/>
                  </a:lnTo>
                  <a:lnTo>
                    <a:pt x="1283" y="168"/>
                  </a:lnTo>
                  <a:lnTo>
                    <a:pt x="1296" y="162"/>
                  </a:lnTo>
                  <a:lnTo>
                    <a:pt x="1305" y="153"/>
                  </a:lnTo>
                  <a:lnTo>
                    <a:pt x="1314" y="147"/>
                  </a:lnTo>
                  <a:lnTo>
                    <a:pt x="1324" y="137"/>
                  </a:lnTo>
                  <a:lnTo>
                    <a:pt x="1330" y="118"/>
                  </a:lnTo>
                  <a:lnTo>
                    <a:pt x="1336" y="97"/>
                  </a:lnTo>
                  <a:lnTo>
                    <a:pt x="1342" y="78"/>
                  </a:lnTo>
                  <a:lnTo>
                    <a:pt x="1361" y="69"/>
                  </a:lnTo>
                  <a:lnTo>
                    <a:pt x="1386" y="59"/>
                  </a:lnTo>
                  <a:lnTo>
                    <a:pt x="1411" y="50"/>
                  </a:lnTo>
                  <a:lnTo>
                    <a:pt x="1430" y="40"/>
                  </a:lnTo>
                  <a:lnTo>
                    <a:pt x="1436" y="34"/>
                  </a:lnTo>
                  <a:lnTo>
                    <a:pt x="1442" y="28"/>
                  </a:lnTo>
                  <a:lnTo>
                    <a:pt x="1449" y="19"/>
                  </a:lnTo>
                  <a:lnTo>
                    <a:pt x="1458" y="9"/>
                  </a:lnTo>
                  <a:lnTo>
                    <a:pt x="1464" y="3"/>
                  </a:lnTo>
                  <a:lnTo>
                    <a:pt x="1470" y="0"/>
                  </a:lnTo>
                  <a:lnTo>
                    <a:pt x="1489" y="0"/>
                  </a:lnTo>
                  <a:lnTo>
                    <a:pt x="1508" y="9"/>
                  </a:lnTo>
                  <a:lnTo>
                    <a:pt x="1530" y="15"/>
                  </a:lnTo>
                  <a:lnTo>
                    <a:pt x="1548" y="22"/>
                  </a:lnTo>
                  <a:lnTo>
                    <a:pt x="1558" y="25"/>
                  </a:lnTo>
                  <a:lnTo>
                    <a:pt x="1570" y="28"/>
                  </a:lnTo>
                  <a:lnTo>
                    <a:pt x="1583" y="28"/>
                  </a:lnTo>
                  <a:lnTo>
                    <a:pt x="1586" y="47"/>
                  </a:lnTo>
                  <a:lnTo>
                    <a:pt x="1589" y="62"/>
                  </a:lnTo>
                  <a:lnTo>
                    <a:pt x="1592" y="75"/>
                  </a:lnTo>
                  <a:lnTo>
                    <a:pt x="1598" y="97"/>
                  </a:lnTo>
                  <a:lnTo>
                    <a:pt x="1602" y="118"/>
                  </a:lnTo>
                  <a:lnTo>
                    <a:pt x="1608" y="140"/>
                  </a:lnTo>
                  <a:lnTo>
                    <a:pt x="1620" y="156"/>
                  </a:lnTo>
                  <a:lnTo>
                    <a:pt x="1636" y="159"/>
                  </a:lnTo>
                  <a:lnTo>
                    <a:pt x="1661" y="159"/>
                  </a:lnTo>
                  <a:lnTo>
                    <a:pt x="1683" y="156"/>
                  </a:lnTo>
                  <a:lnTo>
                    <a:pt x="1705" y="156"/>
                  </a:lnTo>
                  <a:lnTo>
                    <a:pt x="1711" y="153"/>
                  </a:lnTo>
                  <a:lnTo>
                    <a:pt x="1720" y="153"/>
                  </a:lnTo>
                  <a:lnTo>
                    <a:pt x="1730" y="150"/>
                  </a:lnTo>
                  <a:lnTo>
                    <a:pt x="1736" y="150"/>
                  </a:lnTo>
                  <a:lnTo>
                    <a:pt x="1745" y="150"/>
                  </a:lnTo>
                  <a:lnTo>
                    <a:pt x="1764" y="159"/>
                  </a:lnTo>
                  <a:lnTo>
                    <a:pt x="1789" y="175"/>
                  </a:lnTo>
                  <a:lnTo>
                    <a:pt x="1805" y="187"/>
                  </a:lnTo>
                  <a:lnTo>
                    <a:pt x="1817" y="209"/>
                  </a:lnTo>
                  <a:lnTo>
                    <a:pt x="1823" y="234"/>
                  </a:lnTo>
                  <a:lnTo>
                    <a:pt x="1833" y="262"/>
                  </a:lnTo>
                  <a:lnTo>
                    <a:pt x="1845" y="278"/>
                  </a:lnTo>
                  <a:lnTo>
                    <a:pt x="1864" y="284"/>
                  </a:lnTo>
                  <a:lnTo>
                    <a:pt x="1889" y="287"/>
                  </a:lnTo>
                  <a:lnTo>
                    <a:pt x="1914" y="284"/>
                  </a:lnTo>
                  <a:lnTo>
                    <a:pt x="1933" y="278"/>
                  </a:lnTo>
                  <a:lnTo>
                    <a:pt x="1945" y="262"/>
                  </a:lnTo>
                  <a:lnTo>
                    <a:pt x="1954" y="240"/>
                  </a:lnTo>
                  <a:lnTo>
                    <a:pt x="1967" y="228"/>
                  </a:lnTo>
                  <a:lnTo>
                    <a:pt x="1986" y="222"/>
                  </a:lnTo>
                  <a:lnTo>
                    <a:pt x="2007" y="218"/>
                  </a:lnTo>
                  <a:lnTo>
                    <a:pt x="2029" y="222"/>
                  </a:lnTo>
                  <a:lnTo>
                    <a:pt x="2048" y="228"/>
                  </a:lnTo>
                  <a:lnTo>
                    <a:pt x="2061" y="240"/>
                  </a:lnTo>
                  <a:lnTo>
                    <a:pt x="2073" y="259"/>
                  </a:lnTo>
                  <a:lnTo>
                    <a:pt x="2086" y="278"/>
                  </a:lnTo>
                  <a:lnTo>
                    <a:pt x="2098" y="284"/>
                  </a:lnTo>
                  <a:lnTo>
                    <a:pt x="2107" y="284"/>
                  </a:lnTo>
                  <a:lnTo>
                    <a:pt x="2114" y="278"/>
                  </a:lnTo>
                  <a:lnTo>
                    <a:pt x="2120" y="268"/>
                  </a:lnTo>
                  <a:lnTo>
                    <a:pt x="2129" y="259"/>
                  </a:lnTo>
                  <a:lnTo>
                    <a:pt x="2136" y="250"/>
                  </a:lnTo>
                  <a:lnTo>
                    <a:pt x="2142" y="243"/>
                  </a:lnTo>
                  <a:lnTo>
                    <a:pt x="2148" y="237"/>
                  </a:lnTo>
                  <a:lnTo>
                    <a:pt x="2164" y="228"/>
                  </a:lnTo>
                  <a:lnTo>
                    <a:pt x="2185" y="222"/>
                  </a:lnTo>
                  <a:lnTo>
                    <a:pt x="2207" y="215"/>
                  </a:lnTo>
                  <a:lnTo>
                    <a:pt x="2226" y="215"/>
                  </a:lnTo>
                  <a:lnTo>
                    <a:pt x="2245" y="228"/>
                  </a:lnTo>
                  <a:lnTo>
                    <a:pt x="2267" y="250"/>
                  </a:lnTo>
                  <a:lnTo>
                    <a:pt x="2282" y="271"/>
                  </a:lnTo>
                  <a:lnTo>
                    <a:pt x="2285" y="290"/>
                  </a:lnTo>
                  <a:lnTo>
                    <a:pt x="2292" y="315"/>
                  </a:lnTo>
                  <a:lnTo>
                    <a:pt x="2295" y="337"/>
                  </a:lnTo>
                  <a:lnTo>
                    <a:pt x="2304" y="356"/>
                  </a:lnTo>
                  <a:lnTo>
                    <a:pt x="2320" y="362"/>
                  </a:lnTo>
                  <a:lnTo>
                    <a:pt x="2338" y="368"/>
                  </a:lnTo>
                  <a:lnTo>
                    <a:pt x="2357" y="368"/>
                  </a:lnTo>
                  <a:lnTo>
                    <a:pt x="2373" y="362"/>
                  </a:lnTo>
                  <a:lnTo>
                    <a:pt x="2376" y="350"/>
                  </a:lnTo>
                  <a:lnTo>
                    <a:pt x="2373" y="334"/>
                  </a:lnTo>
                  <a:lnTo>
                    <a:pt x="2370" y="318"/>
                  </a:lnTo>
                  <a:lnTo>
                    <a:pt x="2373" y="306"/>
                  </a:lnTo>
                  <a:lnTo>
                    <a:pt x="2385" y="303"/>
                  </a:lnTo>
                  <a:lnTo>
                    <a:pt x="2401" y="303"/>
                  </a:lnTo>
                  <a:lnTo>
                    <a:pt x="2417" y="306"/>
                  </a:lnTo>
                  <a:lnTo>
                    <a:pt x="2429" y="306"/>
                  </a:lnTo>
                  <a:lnTo>
                    <a:pt x="2438" y="303"/>
                  </a:lnTo>
                  <a:lnTo>
                    <a:pt x="2448" y="296"/>
                  </a:lnTo>
                  <a:lnTo>
                    <a:pt x="2457" y="290"/>
                  </a:lnTo>
                  <a:lnTo>
                    <a:pt x="2467" y="284"/>
                  </a:lnTo>
                  <a:lnTo>
                    <a:pt x="2473" y="275"/>
                  </a:lnTo>
                  <a:lnTo>
                    <a:pt x="2476" y="256"/>
                  </a:lnTo>
                  <a:lnTo>
                    <a:pt x="2476" y="231"/>
                  </a:lnTo>
                  <a:lnTo>
                    <a:pt x="2473" y="206"/>
                  </a:lnTo>
                  <a:lnTo>
                    <a:pt x="2473" y="187"/>
                  </a:lnTo>
                  <a:lnTo>
                    <a:pt x="2476" y="178"/>
                  </a:lnTo>
                  <a:lnTo>
                    <a:pt x="2479" y="165"/>
                  </a:lnTo>
                  <a:lnTo>
                    <a:pt x="2485" y="153"/>
                  </a:lnTo>
                  <a:lnTo>
                    <a:pt x="2492" y="143"/>
                  </a:lnTo>
                  <a:lnTo>
                    <a:pt x="2498" y="137"/>
                  </a:lnTo>
                  <a:lnTo>
                    <a:pt x="2507" y="134"/>
                  </a:lnTo>
                  <a:lnTo>
                    <a:pt x="2516" y="134"/>
                  </a:lnTo>
                  <a:lnTo>
                    <a:pt x="2529" y="134"/>
                  </a:lnTo>
                  <a:lnTo>
                    <a:pt x="2538" y="134"/>
                  </a:lnTo>
                  <a:lnTo>
                    <a:pt x="2548" y="137"/>
                  </a:lnTo>
                  <a:lnTo>
                    <a:pt x="2566" y="156"/>
                  </a:lnTo>
                  <a:lnTo>
                    <a:pt x="2585" y="181"/>
                  </a:lnTo>
                  <a:lnTo>
                    <a:pt x="2601" y="206"/>
                  </a:lnTo>
                  <a:lnTo>
                    <a:pt x="2610" y="228"/>
                  </a:lnTo>
                  <a:lnTo>
                    <a:pt x="2620" y="256"/>
                  </a:lnTo>
                  <a:lnTo>
                    <a:pt x="2632" y="284"/>
                  </a:lnTo>
                  <a:lnTo>
                    <a:pt x="2645" y="303"/>
                  </a:lnTo>
                  <a:lnTo>
                    <a:pt x="2660" y="312"/>
                  </a:lnTo>
                  <a:lnTo>
                    <a:pt x="2682" y="315"/>
                  </a:lnTo>
                  <a:lnTo>
                    <a:pt x="2698" y="325"/>
                  </a:lnTo>
                  <a:lnTo>
                    <a:pt x="2713" y="343"/>
                  </a:lnTo>
                  <a:lnTo>
                    <a:pt x="2732" y="368"/>
                  </a:lnTo>
                  <a:lnTo>
                    <a:pt x="2744" y="396"/>
                  </a:lnTo>
                  <a:lnTo>
                    <a:pt x="2754" y="421"/>
                  </a:lnTo>
                  <a:lnTo>
                    <a:pt x="2754" y="440"/>
                  </a:lnTo>
                  <a:lnTo>
                    <a:pt x="2748" y="465"/>
                  </a:lnTo>
                  <a:lnTo>
                    <a:pt x="2741" y="490"/>
                  </a:lnTo>
                  <a:lnTo>
                    <a:pt x="2735" y="515"/>
                  </a:lnTo>
                  <a:lnTo>
                    <a:pt x="2738" y="534"/>
                  </a:lnTo>
                  <a:lnTo>
                    <a:pt x="2744" y="540"/>
                  </a:lnTo>
                  <a:lnTo>
                    <a:pt x="2751" y="543"/>
                  </a:lnTo>
                  <a:lnTo>
                    <a:pt x="2760" y="549"/>
                  </a:lnTo>
                  <a:lnTo>
                    <a:pt x="2769" y="556"/>
                  </a:lnTo>
                  <a:lnTo>
                    <a:pt x="2779" y="559"/>
                  </a:lnTo>
                  <a:lnTo>
                    <a:pt x="2785" y="565"/>
                  </a:lnTo>
                  <a:lnTo>
                    <a:pt x="2798" y="587"/>
                  </a:lnTo>
                  <a:lnTo>
                    <a:pt x="2810" y="615"/>
                  </a:lnTo>
                  <a:lnTo>
                    <a:pt x="2826" y="637"/>
                  </a:lnTo>
                  <a:lnTo>
                    <a:pt x="2847" y="652"/>
                  </a:lnTo>
                  <a:lnTo>
                    <a:pt x="2876" y="668"/>
                  </a:lnTo>
                  <a:lnTo>
                    <a:pt x="2907" y="687"/>
                  </a:lnTo>
                  <a:lnTo>
                    <a:pt x="2935" y="702"/>
                  </a:lnTo>
                  <a:lnTo>
                    <a:pt x="2957" y="718"/>
                  </a:lnTo>
                  <a:lnTo>
                    <a:pt x="2969" y="727"/>
                  </a:lnTo>
                  <a:lnTo>
                    <a:pt x="2979" y="734"/>
                  </a:lnTo>
                  <a:lnTo>
                    <a:pt x="2997" y="734"/>
                  </a:lnTo>
                  <a:lnTo>
                    <a:pt x="3019" y="731"/>
                  </a:lnTo>
                  <a:lnTo>
                    <a:pt x="3041" y="727"/>
                  </a:lnTo>
                  <a:lnTo>
                    <a:pt x="3060" y="727"/>
                  </a:lnTo>
                  <a:lnTo>
                    <a:pt x="3082" y="737"/>
                  </a:lnTo>
                  <a:lnTo>
                    <a:pt x="3104" y="749"/>
                  </a:lnTo>
                  <a:lnTo>
                    <a:pt x="3122" y="768"/>
                  </a:lnTo>
                  <a:lnTo>
                    <a:pt x="3138" y="784"/>
                  </a:lnTo>
                  <a:lnTo>
                    <a:pt x="3144" y="809"/>
                  </a:lnTo>
                  <a:lnTo>
                    <a:pt x="3147" y="843"/>
                  </a:lnTo>
                  <a:lnTo>
                    <a:pt x="3150" y="877"/>
                  </a:lnTo>
                  <a:lnTo>
                    <a:pt x="3150" y="905"/>
                  </a:lnTo>
                  <a:lnTo>
                    <a:pt x="3150" y="927"/>
                  </a:lnTo>
                  <a:lnTo>
                    <a:pt x="3150" y="958"/>
                  </a:lnTo>
                  <a:lnTo>
                    <a:pt x="3147" y="987"/>
                  </a:lnTo>
                  <a:lnTo>
                    <a:pt x="3147" y="1008"/>
                  </a:lnTo>
                  <a:lnTo>
                    <a:pt x="3147" y="1021"/>
                  </a:lnTo>
                  <a:lnTo>
                    <a:pt x="3150" y="1030"/>
                  </a:lnTo>
                  <a:lnTo>
                    <a:pt x="3157" y="1049"/>
                  </a:lnTo>
                  <a:lnTo>
                    <a:pt x="3166" y="1071"/>
                  </a:lnTo>
                  <a:lnTo>
                    <a:pt x="3172" y="1096"/>
                  </a:lnTo>
                  <a:lnTo>
                    <a:pt x="3182" y="1115"/>
                  </a:lnTo>
                  <a:lnTo>
                    <a:pt x="3182" y="1127"/>
                  </a:lnTo>
                  <a:lnTo>
                    <a:pt x="3175" y="1136"/>
                  </a:lnTo>
                  <a:lnTo>
                    <a:pt x="3163" y="1149"/>
                  </a:lnTo>
                  <a:lnTo>
                    <a:pt x="3144" y="1161"/>
                  </a:lnTo>
                  <a:lnTo>
                    <a:pt x="3129" y="1171"/>
                  </a:lnTo>
                  <a:lnTo>
                    <a:pt x="3107" y="1174"/>
                  </a:lnTo>
                  <a:lnTo>
                    <a:pt x="3082" y="1177"/>
                  </a:lnTo>
                  <a:lnTo>
                    <a:pt x="3057" y="1180"/>
                  </a:lnTo>
                  <a:lnTo>
                    <a:pt x="3035" y="1186"/>
                  </a:lnTo>
                  <a:lnTo>
                    <a:pt x="3010" y="1199"/>
                  </a:lnTo>
                  <a:lnTo>
                    <a:pt x="2985" y="1221"/>
                  </a:lnTo>
                  <a:lnTo>
                    <a:pt x="2957" y="1246"/>
                  </a:lnTo>
                  <a:lnTo>
                    <a:pt x="2944" y="1255"/>
                  </a:lnTo>
                  <a:lnTo>
                    <a:pt x="2932" y="1261"/>
                  </a:lnTo>
                  <a:lnTo>
                    <a:pt x="2922" y="1271"/>
                  </a:lnTo>
                  <a:lnTo>
                    <a:pt x="2907" y="1274"/>
                  </a:lnTo>
                  <a:lnTo>
                    <a:pt x="2888" y="1280"/>
                  </a:lnTo>
                  <a:lnTo>
                    <a:pt x="2869" y="1283"/>
                  </a:lnTo>
                  <a:lnTo>
                    <a:pt x="2857" y="1293"/>
                  </a:lnTo>
                  <a:lnTo>
                    <a:pt x="2844" y="1314"/>
                  </a:lnTo>
                  <a:lnTo>
                    <a:pt x="2835" y="1343"/>
                  </a:lnTo>
                  <a:lnTo>
                    <a:pt x="2829" y="1374"/>
                  </a:lnTo>
                  <a:lnTo>
                    <a:pt x="2826" y="1402"/>
                  </a:lnTo>
                  <a:lnTo>
                    <a:pt x="2823" y="1414"/>
                  </a:lnTo>
                  <a:lnTo>
                    <a:pt x="2823" y="1427"/>
                  </a:lnTo>
                  <a:lnTo>
                    <a:pt x="2829" y="1446"/>
                  </a:lnTo>
                  <a:lnTo>
                    <a:pt x="2835" y="1471"/>
                  </a:lnTo>
                  <a:lnTo>
                    <a:pt x="2841" y="1489"/>
                  </a:lnTo>
                  <a:lnTo>
                    <a:pt x="2844" y="1499"/>
                  </a:lnTo>
                  <a:lnTo>
                    <a:pt x="2841" y="1511"/>
                  </a:lnTo>
                  <a:lnTo>
                    <a:pt x="2841" y="1533"/>
                  </a:lnTo>
                  <a:lnTo>
                    <a:pt x="2838" y="1589"/>
                  </a:lnTo>
                  <a:lnTo>
                    <a:pt x="2838" y="1611"/>
                  </a:lnTo>
                  <a:lnTo>
                    <a:pt x="2838" y="1620"/>
                  </a:lnTo>
                  <a:lnTo>
                    <a:pt x="2838" y="1633"/>
                  </a:lnTo>
                  <a:lnTo>
                    <a:pt x="2838" y="1658"/>
                  </a:lnTo>
                  <a:lnTo>
                    <a:pt x="2838" y="1686"/>
                  </a:lnTo>
                  <a:lnTo>
                    <a:pt x="2838" y="1714"/>
                  </a:lnTo>
                  <a:lnTo>
                    <a:pt x="2841" y="1733"/>
                  </a:lnTo>
                  <a:lnTo>
                    <a:pt x="2847" y="1755"/>
                  </a:lnTo>
                  <a:lnTo>
                    <a:pt x="2860" y="1783"/>
                  </a:lnTo>
                  <a:lnTo>
                    <a:pt x="2869" y="1808"/>
                  </a:lnTo>
                  <a:lnTo>
                    <a:pt x="2876" y="1830"/>
                  </a:lnTo>
                  <a:lnTo>
                    <a:pt x="2876" y="1845"/>
                  </a:lnTo>
                  <a:lnTo>
                    <a:pt x="2872" y="1867"/>
                  </a:lnTo>
                  <a:lnTo>
                    <a:pt x="2869" y="1886"/>
                  </a:lnTo>
                  <a:lnTo>
                    <a:pt x="2860" y="1905"/>
                  </a:lnTo>
                  <a:lnTo>
                    <a:pt x="2847" y="1930"/>
                  </a:lnTo>
                  <a:lnTo>
                    <a:pt x="2832" y="1945"/>
                  </a:lnTo>
                  <a:lnTo>
                    <a:pt x="2813" y="1948"/>
                  </a:lnTo>
                  <a:lnTo>
                    <a:pt x="2788" y="1945"/>
                  </a:lnTo>
                  <a:lnTo>
                    <a:pt x="2763" y="1942"/>
                  </a:lnTo>
                  <a:lnTo>
                    <a:pt x="2744" y="1945"/>
                  </a:lnTo>
                  <a:lnTo>
                    <a:pt x="2723" y="1951"/>
                  </a:lnTo>
                  <a:lnTo>
                    <a:pt x="2698" y="1967"/>
                  </a:lnTo>
                  <a:lnTo>
                    <a:pt x="2673" y="1986"/>
                  </a:lnTo>
                  <a:lnTo>
                    <a:pt x="2660" y="2001"/>
                  </a:lnTo>
                  <a:lnTo>
                    <a:pt x="2663" y="2020"/>
                  </a:lnTo>
                  <a:lnTo>
                    <a:pt x="2673" y="2039"/>
                  </a:lnTo>
                  <a:lnTo>
                    <a:pt x="2682" y="2054"/>
                  </a:lnTo>
                  <a:lnTo>
                    <a:pt x="2694" y="2076"/>
                  </a:lnTo>
                  <a:lnTo>
                    <a:pt x="2710" y="2101"/>
                  </a:lnTo>
                  <a:lnTo>
                    <a:pt x="2729" y="2129"/>
                  </a:lnTo>
                  <a:lnTo>
                    <a:pt x="2741" y="2154"/>
                  </a:lnTo>
                  <a:lnTo>
                    <a:pt x="2748" y="2179"/>
                  </a:lnTo>
                  <a:lnTo>
                    <a:pt x="2738" y="2195"/>
                  </a:lnTo>
                  <a:lnTo>
                    <a:pt x="2726" y="2214"/>
                  </a:lnTo>
                  <a:lnTo>
                    <a:pt x="2716" y="2229"/>
                  </a:lnTo>
                  <a:lnTo>
                    <a:pt x="2716" y="2248"/>
                  </a:lnTo>
                  <a:lnTo>
                    <a:pt x="2716" y="2270"/>
                  </a:lnTo>
                  <a:lnTo>
                    <a:pt x="2723" y="2289"/>
                  </a:lnTo>
                  <a:lnTo>
                    <a:pt x="2723" y="2301"/>
                  </a:lnTo>
                  <a:lnTo>
                    <a:pt x="2716" y="2311"/>
                  </a:lnTo>
                  <a:lnTo>
                    <a:pt x="2704" y="2326"/>
                  </a:lnTo>
                  <a:lnTo>
                    <a:pt x="2691" y="2342"/>
                  </a:lnTo>
                  <a:lnTo>
                    <a:pt x="2682" y="2357"/>
                  </a:lnTo>
                  <a:lnTo>
                    <a:pt x="2685" y="2382"/>
                  </a:lnTo>
                  <a:lnTo>
                    <a:pt x="2694" y="2414"/>
                  </a:lnTo>
                  <a:lnTo>
                    <a:pt x="2707" y="2442"/>
                  </a:lnTo>
                  <a:lnTo>
                    <a:pt x="2719" y="2464"/>
                  </a:lnTo>
                  <a:lnTo>
                    <a:pt x="2738" y="2479"/>
                  </a:lnTo>
                  <a:lnTo>
                    <a:pt x="2763" y="2495"/>
                  </a:lnTo>
                  <a:lnTo>
                    <a:pt x="2782" y="2510"/>
                  </a:lnTo>
                  <a:lnTo>
                    <a:pt x="2798" y="2532"/>
                  </a:lnTo>
                  <a:lnTo>
                    <a:pt x="2813" y="2560"/>
                  </a:lnTo>
                  <a:lnTo>
                    <a:pt x="2829" y="2582"/>
                  </a:lnTo>
                  <a:lnTo>
                    <a:pt x="2844" y="2613"/>
                  </a:lnTo>
                  <a:lnTo>
                    <a:pt x="2863" y="2654"/>
                  </a:lnTo>
                  <a:lnTo>
                    <a:pt x="2882" y="2691"/>
                  </a:lnTo>
                  <a:lnTo>
                    <a:pt x="2901" y="2723"/>
                  </a:lnTo>
                  <a:lnTo>
                    <a:pt x="2913" y="2748"/>
                  </a:lnTo>
                  <a:lnTo>
                    <a:pt x="2932" y="2779"/>
                  </a:lnTo>
                  <a:lnTo>
                    <a:pt x="2947" y="2801"/>
                  </a:lnTo>
                  <a:lnTo>
                    <a:pt x="2969" y="2813"/>
                  </a:lnTo>
                  <a:lnTo>
                    <a:pt x="2997" y="2826"/>
                  </a:lnTo>
                  <a:lnTo>
                    <a:pt x="3025" y="2838"/>
                  </a:lnTo>
                  <a:lnTo>
                    <a:pt x="3044" y="2851"/>
                  </a:lnTo>
                  <a:lnTo>
                    <a:pt x="3057" y="2869"/>
                  </a:lnTo>
                  <a:lnTo>
                    <a:pt x="3063" y="2898"/>
                  </a:lnTo>
                  <a:lnTo>
                    <a:pt x="3069" y="2919"/>
                  </a:lnTo>
                  <a:lnTo>
                    <a:pt x="3066" y="2938"/>
                  </a:lnTo>
                  <a:lnTo>
                    <a:pt x="3063" y="2960"/>
                  </a:lnTo>
                  <a:lnTo>
                    <a:pt x="3060" y="2979"/>
                  </a:lnTo>
                  <a:lnTo>
                    <a:pt x="3060" y="2998"/>
                  </a:lnTo>
                  <a:lnTo>
                    <a:pt x="3072" y="3010"/>
                  </a:lnTo>
                  <a:lnTo>
                    <a:pt x="3088" y="3019"/>
                  </a:lnTo>
                  <a:lnTo>
                    <a:pt x="3107" y="3029"/>
                  </a:lnTo>
                  <a:lnTo>
                    <a:pt x="3122" y="3041"/>
                  </a:lnTo>
                  <a:lnTo>
                    <a:pt x="3132" y="3057"/>
                  </a:lnTo>
                  <a:lnTo>
                    <a:pt x="3144" y="3082"/>
                  </a:lnTo>
                  <a:lnTo>
                    <a:pt x="3150" y="3104"/>
                  </a:lnTo>
                  <a:lnTo>
                    <a:pt x="3154" y="3119"/>
                  </a:lnTo>
                  <a:lnTo>
                    <a:pt x="3150" y="3132"/>
                  </a:lnTo>
                  <a:lnTo>
                    <a:pt x="3144" y="3151"/>
                  </a:lnTo>
                  <a:lnTo>
                    <a:pt x="3132" y="3169"/>
                  </a:lnTo>
                  <a:lnTo>
                    <a:pt x="3122" y="3182"/>
                  </a:lnTo>
                  <a:lnTo>
                    <a:pt x="3113" y="3188"/>
                  </a:lnTo>
                  <a:lnTo>
                    <a:pt x="3104" y="3197"/>
                  </a:lnTo>
                  <a:lnTo>
                    <a:pt x="3094" y="3204"/>
                  </a:lnTo>
                  <a:lnTo>
                    <a:pt x="3085" y="3210"/>
                  </a:lnTo>
                  <a:lnTo>
                    <a:pt x="3079" y="3216"/>
                  </a:lnTo>
                  <a:lnTo>
                    <a:pt x="3063" y="3241"/>
                  </a:lnTo>
                  <a:lnTo>
                    <a:pt x="3047" y="3269"/>
                  </a:lnTo>
                  <a:lnTo>
                    <a:pt x="3035" y="3300"/>
                  </a:lnTo>
                  <a:lnTo>
                    <a:pt x="3029" y="3329"/>
                  </a:lnTo>
                  <a:lnTo>
                    <a:pt x="3025" y="3344"/>
                  </a:lnTo>
                  <a:lnTo>
                    <a:pt x="3022" y="3363"/>
                  </a:lnTo>
                  <a:lnTo>
                    <a:pt x="3022" y="3382"/>
                  </a:lnTo>
                  <a:lnTo>
                    <a:pt x="3029" y="3394"/>
                  </a:lnTo>
                  <a:lnTo>
                    <a:pt x="3041" y="3403"/>
                  </a:lnTo>
                  <a:lnTo>
                    <a:pt x="3063" y="3403"/>
                  </a:lnTo>
                  <a:lnTo>
                    <a:pt x="3088" y="3397"/>
                  </a:lnTo>
                  <a:lnTo>
                    <a:pt x="3113" y="3394"/>
                  </a:lnTo>
                  <a:lnTo>
                    <a:pt x="3135" y="3391"/>
                  </a:lnTo>
                  <a:lnTo>
                    <a:pt x="3154" y="3391"/>
                  </a:lnTo>
                  <a:lnTo>
                    <a:pt x="3172" y="3397"/>
                  </a:lnTo>
                  <a:lnTo>
                    <a:pt x="3191" y="3407"/>
                  </a:lnTo>
                  <a:lnTo>
                    <a:pt x="3210" y="3413"/>
                  </a:lnTo>
                  <a:lnTo>
                    <a:pt x="3228" y="3416"/>
                  </a:lnTo>
                  <a:lnTo>
                    <a:pt x="3253" y="3416"/>
                  </a:lnTo>
                  <a:lnTo>
                    <a:pt x="3278" y="3413"/>
                  </a:lnTo>
                  <a:lnTo>
                    <a:pt x="3294" y="3407"/>
                  </a:lnTo>
                  <a:lnTo>
                    <a:pt x="3297" y="3403"/>
                  </a:lnTo>
                  <a:lnTo>
                    <a:pt x="3300" y="3400"/>
                  </a:lnTo>
                  <a:lnTo>
                    <a:pt x="3300" y="3397"/>
                  </a:lnTo>
                  <a:lnTo>
                    <a:pt x="3303" y="3394"/>
                  </a:lnTo>
                  <a:lnTo>
                    <a:pt x="3322" y="3388"/>
                  </a:lnTo>
                  <a:lnTo>
                    <a:pt x="3344" y="3388"/>
                  </a:lnTo>
                  <a:lnTo>
                    <a:pt x="3369" y="3391"/>
                  </a:lnTo>
                  <a:lnTo>
                    <a:pt x="3391" y="3391"/>
                  </a:lnTo>
                  <a:lnTo>
                    <a:pt x="3416" y="3378"/>
                  </a:lnTo>
                  <a:lnTo>
                    <a:pt x="3447" y="3360"/>
                  </a:lnTo>
                  <a:lnTo>
                    <a:pt x="3472" y="3344"/>
                  </a:lnTo>
                  <a:lnTo>
                    <a:pt x="3478" y="3338"/>
                  </a:lnTo>
                  <a:lnTo>
                    <a:pt x="3488" y="3332"/>
                  </a:lnTo>
                  <a:lnTo>
                    <a:pt x="3497" y="3322"/>
                  </a:lnTo>
                  <a:lnTo>
                    <a:pt x="3503" y="3316"/>
                  </a:lnTo>
                  <a:lnTo>
                    <a:pt x="3513" y="3310"/>
                  </a:lnTo>
                  <a:lnTo>
                    <a:pt x="3538" y="3307"/>
                  </a:lnTo>
                  <a:lnTo>
                    <a:pt x="3566" y="3307"/>
                  </a:lnTo>
                  <a:lnTo>
                    <a:pt x="3591" y="3310"/>
                  </a:lnTo>
                  <a:lnTo>
                    <a:pt x="3597" y="3316"/>
                  </a:lnTo>
                  <a:lnTo>
                    <a:pt x="3603" y="3322"/>
                  </a:lnTo>
                  <a:lnTo>
                    <a:pt x="3609" y="3329"/>
                  </a:lnTo>
                  <a:lnTo>
                    <a:pt x="3616" y="3338"/>
                  </a:lnTo>
                  <a:lnTo>
                    <a:pt x="3622" y="3344"/>
                  </a:lnTo>
                  <a:lnTo>
                    <a:pt x="3631" y="3347"/>
                  </a:lnTo>
                  <a:lnTo>
                    <a:pt x="3650" y="3347"/>
                  </a:lnTo>
                  <a:lnTo>
                    <a:pt x="3675" y="3338"/>
                  </a:lnTo>
                  <a:lnTo>
                    <a:pt x="3694" y="3329"/>
                  </a:lnTo>
                  <a:lnTo>
                    <a:pt x="3697" y="3322"/>
                  </a:lnTo>
                  <a:lnTo>
                    <a:pt x="3700" y="3316"/>
                  </a:lnTo>
                  <a:lnTo>
                    <a:pt x="3703" y="3307"/>
                  </a:lnTo>
                  <a:lnTo>
                    <a:pt x="3703" y="3297"/>
                  </a:lnTo>
                  <a:lnTo>
                    <a:pt x="3706" y="3291"/>
                  </a:lnTo>
                  <a:lnTo>
                    <a:pt x="3709" y="3285"/>
                  </a:lnTo>
                  <a:lnTo>
                    <a:pt x="3716" y="3282"/>
                  </a:lnTo>
                  <a:lnTo>
                    <a:pt x="3722" y="3275"/>
                  </a:lnTo>
                  <a:lnTo>
                    <a:pt x="3728" y="3269"/>
                  </a:lnTo>
                  <a:lnTo>
                    <a:pt x="3737" y="3266"/>
                  </a:lnTo>
                  <a:lnTo>
                    <a:pt x="3744" y="3266"/>
                  </a:lnTo>
                  <a:lnTo>
                    <a:pt x="3750" y="3266"/>
                  </a:lnTo>
                  <a:lnTo>
                    <a:pt x="3769" y="3279"/>
                  </a:lnTo>
                  <a:lnTo>
                    <a:pt x="3781" y="3307"/>
                  </a:lnTo>
                  <a:lnTo>
                    <a:pt x="3794" y="3335"/>
                  </a:lnTo>
                  <a:lnTo>
                    <a:pt x="3800" y="3360"/>
                  </a:lnTo>
                  <a:lnTo>
                    <a:pt x="3809" y="3388"/>
                  </a:lnTo>
                  <a:lnTo>
                    <a:pt x="3816" y="3419"/>
                  </a:lnTo>
                  <a:lnTo>
                    <a:pt x="3816" y="3447"/>
                  </a:lnTo>
                  <a:lnTo>
                    <a:pt x="3812" y="3469"/>
                  </a:lnTo>
                  <a:lnTo>
                    <a:pt x="3806" y="3500"/>
                  </a:lnTo>
                  <a:lnTo>
                    <a:pt x="3800" y="3528"/>
                  </a:lnTo>
                  <a:lnTo>
                    <a:pt x="3800" y="3550"/>
                  </a:lnTo>
                  <a:lnTo>
                    <a:pt x="3800" y="3556"/>
                  </a:lnTo>
                  <a:lnTo>
                    <a:pt x="3806" y="3563"/>
                  </a:lnTo>
                  <a:lnTo>
                    <a:pt x="3809" y="3569"/>
                  </a:lnTo>
                  <a:lnTo>
                    <a:pt x="3816" y="3575"/>
                  </a:lnTo>
                  <a:lnTo>
                    <a:pt x="3834" y="3578"/>
                  </a:lnTo>
                  <a:lnTo>
                    <a:pt x="3856" y="3575"/>
                  </a:lnTo>
                  <a:lnTo>
                    <a:pt x="3884" y="3572"/>
                  </a:lnTo>
                  <a:lnTo>
                    <a:pt x="3906" y="3572"/>
                  </a:lnTo>
                  <a:lnTo>
                    <a:pt x="3928" y="3575"/>
                  </a:lnTo>
                  <a:lnTo>
                    <a:pt x="3950" y="3588"/>
                  </a:lnTo>
                  <a:lnTo>
                    <a:pt x="3972" y="3610"/>
                  </a:lnTo>
                  <a:lnTo>
                    <a:pt x="3987" y="3631"/>
                  </a:lnTo>
                  <a:lnTo>
                    <a:pt x="3994" y="3656"/>
                  </a:lnTo>
                  <a:lnTo>
                    <a:pt x="3997" y="3684"/>
                  </a:lnTo>
                  <a:lnTo>
                    <a:pt x="3997" y="3713"/>
                  </a:lnTo>
                  <a:lnTo>
                    <a:pt x="3997" y="3738"/>
                  </a:lnTo>
                  <a:lnTo>
                    <a:pt x="3997" y="3756"/>
                  </a:lnTo>
                  <a:lnTo>
                    <a:pt x="4000" y="3781"/>
                  </a:lnTo>
                  <a:lnTo>
                    <a:pt x="3997" y="3800"/>
                  </a:lnTo>
                  <a:lnTo>
                    <a:pt x="3981" y="3816"/>
                  </a:lnTo>
                  <a:lnTo>
                    <a:pt x="3959" y="3831"/>
                  </a:lnTo>
                  <a:lnTo>
                    <a:pt x="3944" y="3844"/>
                  </a:lnTo>
                  <a:lnTo>
                    <a:pt x="3940" y="3859"/>
                  </a:lnTo>
                  <a:lnTo>
                    <a:pt x="3934" y="3881"/>
                  </a:lnTo>
                  <a:lnTo>
                    <a:pt x="3931" y="3897"/>
                  </a:lnTo>
                  <a:lnTo>
                    <a:pt x="3928" y="3903"/>
                  </a:lnTo>
                  <a:lnTo>
                    <a:pt x="3925" y="3912"/>
                  </a:lnTo>
                  <a:lnTo>
                    <a:pt x="3919" y="3922"/>
                  </a:lnTo>
                  <a:lnTo>
                    <a:pt x="3915" y="3931"/>
                  </a:lnTo>
                  <a:lnTo>
                    <a:pt x="3909" y="3937"/>
                  </a:lnTo>
                  <a:lnTo>
                    <a:pt x="3903" y="3941"/>
                  </a:lnTo>
                  <a:lnTo>
                    <a:pt x="3894" y="3941"/>
                  </a:lnTo>
                  <a:lnTo>
                    <a:pt x="3884" y="3941"/>
                  </a:lnTo>
                  <a:lnTo>
                    <a:pt x="3875" y="3941"/>
                  </a:lnTo>
                  <a:lnTo>
                    <a:pt x="3865" y="3941"/>
                  </a:lnTo>
                  <a:lnTo>
                    <a:pt x="3859" y="3941"/>
                  </a:lnTo>
                  <a:lnTo>
                    <a:pt x="3844" y="3953"/>
                  </a:lnTo>
                  <a:lnTo>
                    <a:pt x="3822" y="3966"/>
                  </a:lnTo>
                  <a:lnTo>
                    <a:pt x="3809" y="3981"/>
                  </a:lnTo>
                  <a:lnTo>
                    <a:pt x="3800" y="4006"/>
                  </a:lnTo>
                  <a:lnTo>
                    <a:pt x="3794" y="4037"/>
                  </a:lnTo>
                  <a:lnTo>
                    <a:pt x="3794" y="4065"/>
                  </a:lnTo>
                  <a:lnTo>
                    <a:pt x="3800" y="4078"/>
                  </a:lnTo>
                  <a:lnTo>
                    <a:pt x="3816" y="4094"/>
                  </a:lnTo>
                  <a:lnTo>
                    <a:pt x="3825" y="4109"/>
                  </a:lnTo>
                  <a:lnTo>
                    <a:pt x="3828" y="4125"/>
                  </a:lnTo>
                  <a:lnTo>
                    <a:pt x="3822" y="4134"/>
                  </a:lnTo>
                  <a:lnTo>
                    <a:pt x="3803" y="4143"/>
                  </a:lnTo>
                  <a:lnTo>
                    <a:pt x="3784" y="4150"/>
                  </a:lnTo>
                  <a:lnTo>
                    <a:pt x="3769" y="4153"/>
                  </a:lnTo>
                  <a:lnTo>
                    <a:pt x="3762" y="4156"/>
                  </a:lnTo>
                  <a:lnTo>
                    <a:pt x="3753" y="4153"/>
                  </a:lnTo>
                  <a:lnTo>
                    <a:pt x="3744" y="4153"/>
                  </a:lnTo>
                  <a:lnTo>
                    <a:pt x="3737" y="4153"/>
                  </a:lnTo>
                  <a:lnTo>
                    <a:pt x="3728" y="4153"/>
                  </a:lnTo>
                  <a:lnTo>
                    <a:pt x="3722" y="4153"/>
                  </a:lnTo>
                  <a:lnTo>
                    <a:pt x="3706" y="4172"/>
                  </a:lnTo>
                  <a:lnTo>
                    <a:pt x="3697" y="4197"/>
                  </a:lnTo>
                  <a:lnTo>
                    <a:pt x="3688" y="4222"/>
                  </a:lnTo>
                  <a:lnTo>
                    <a:pt x="3691" y="4237"/>
                  </a:lnTo>
                  <a:lnTo>
                    <a:pt x="3697" y="4256"/>
                  </a:lnTo>
                  <a:lnTo>
                    <a:pt x="3700" y="4275"/>
                  </a:lnTo>
                  <a:lnTo>
                    <a:pt x="3703" y="4293"/>
                  </a:lnTo>
                  <a:lnTo>
                    <a:pt x="3700" y="4306"/>
                  </a:lnTo>
                  <a:lnTo>
                    <a:pt x="3691" y="4312"/>
                  </a:lnTo>
                  <a:lnTo>
                    <a:pt x="3672" y="4312"/>
                  </a:lnTo>
                  <a:lnTo>
                    <a:pt x="3653" y="4312"/>
                  </a:lnTo>
                  <a:lnTo>
                    <a:pt x="3641" y="4312"/>
                  </a:lnTo>
                  <a:lnTo>
                    <a:pt x="3616" y="4318"/>
                  </a:lnTo>
                  <a:lnTo>
                    <a:pt x="3588" y="4328"/>
                  </a:lnTo>
                  <a:lnTo>
                    <a:pt x="3559" y="4340"/>
                  </a:lnTo>
                  <a:lnTo>
                    <a:pt x="3541" y="4353"/>
                  </a:lnTo>
                  <a:lnTo>
                    <a:pt x="3538" y="4368"/>
                  </a:lnTo>
                  <a:lnTo>
                    <a:pt x="3538" y="4387"/>
                  </a:lnTo>
                  <a:lnTo>
                    <a:pt x="3538" y="4409"/>
                  </a:lnTo>
                  <a:lnTo>
                    <a:pt x="3534" y="4421"/>
                  </a:lnTo>
                  <a:lnTo>
                    <a:pt x="3519" y="4428"/>
                  </a:lnTo>
                  <a:lnTo>
                    <a:pt x="3500" y="4428"/>
                  </a:lnTo>
                  <a:lnTo>
                    <a:pt x="3481" y="4428"/>
                  </a:lnTo>
                  <a:lnTo>
                    <a:pt x="3469" y="4434"/>
                  </a:lnTo>
                  <a:lnTo>
                    <a:pt x="3463" y="4446"/>
                  </a:lnTo>
                  <a:lnTo>
                    <a:pt x="3460" y="4468"/>
                  </a:lnTo>
                  <a:lnTo>
                    <a:pt x="3456" y="4490"/>
                  </a:lnTo>
                  <a:lnTo>
                    <a:pt x="3450" y="4503"/>
                  </a:lnTo>
                  <a:lnTo>
                    <a:pt x="3425" y="4521"/>
                  </a:lnTo>
                  <a:lnTo>
                    <a:pt x="3394" y="4534"/>
                  </a:lnTo>
                  <a:lnTo>
                    <a:pt x="3366" y="4543"/>
                  </a:lnTo>
                  <a:lnTo>
                    <a:pt x="3347" y="4543"/>
                  </a:lnTo>
                  <a:lnTo>
                    <a:pt x="3319" y="4543"/>
                  </a:lnTo>
                  <a:lnTo>
                    <a:pt x="3294" y="4540"/>
                  </a:lnTo>
                  <a:lnTo>
                    <a:pt x="3272" y="4543"/>
                  </a:lnTo>
                  <a:lnTo>
                    <a:pt x="3263" y="4543"/>
                  </a:lnTo>
                  <a:lnTo>
                    <a:pt x="3253" y="4546"/>
                  </a:lnTo>
                  <a:lnTo>
                    <a:pt x="3244" y="4549"/>
                  </a:lnTo>
                  <a:lnTo>
                    <a:pt x="3238" y="4556"/>
                  </a:lnTo>
                  <a:lnTo>
                    <a:pt x="3235" y="4571"/>
                  </a:lnTo>
                  <a:lnTo>
                    <a:pt x="3235" y="4593"/>
                  </a:lnTo>
                  <a:lnTo>
                    <a:pt x="3235" y="4615"/>
                  </a:lnTo>
                  <a:lnTo>
                    <a:pt x="3228" y="4631"/>
                  </a:lnTo>
                  <a:lnTo>
                    <a:pt x="3216" y="4634"/>
                  </a:lnTo>
                  <a:lnTo>
                    <a:pt x="3197" y="4634"/>
                  </a:lnTo>
                  <a:lnTo>
                    <a:pt x="3179" y="4634"/>
                  </a:lnTo>
                  <a:lnTo>
                    <a:pt x="3163" y="4637"/>
                  </a:lnTo>
                  <a:lnTo>
                    <a:pt x="3154" y="4643"/>
                  </a:lnTo>
                  <a:lnTo>
                    <a:pt x="3147" y="4652"/>
                  </a:lnTo>
                  <a:lnTo>
                    <a:pt x="3141" y="4665"/>
                  </a:lnTo>
                  <a:lnTo>
                    <a:pt x="3135" y="4677"/>
                  </a:lnTo>
                  <a:lnTo>
                    <a:pt x="3129" y="4687"/>
                  </a:lnTo>
                  <a:lnTo>
                    <a:pt x="3122" y="4702"/>
                  </a:lnTo>
                  <a:lnTo>
                    <a:pt x="3116" y="4724"/>
                  </a:lnTo>
                  <a:lnTo>
                    <a:pt x="3107" y="4743"/>
                  </a:lnTo>
                  <a:lnTo>
                    <a:pt x="3088" y="4752"/>
                  </a:lnTo>
                  <a:lnTo>
                    <a:pt x="3066" y="4765"/>
                  </a:lnTo>
                  <a:lnTo>
                    <a:pt x="3041" y="4774"/>
                  </a:lnTo>
                  <a:lnTo>
                    <a:pt x="3029" y="4787"/>
                  </a:lnTo>
                  <a:lnTo>
                    <a:pt x="3022" y="4796"/>
                  </a:lnTo>
                  <a:lnTo>
                    <a:pt x="3019" y="4809"/>
                  </a:lnTo>
                  <a:lnTo>
                    <a:pt x="3019" y="4821"/>
                  </a:lnTo>
                  <a:lnTo>
                    <a:pt x="2988" y="4821"/>
                  </a:lnTo>
                  <a:lnTo>
                    <a:pt x="2960" y="4821"/>
                  </a:lnTo>
                  <a:lnTo>
                    <a:pt x="2938" y="4818"/>
                  </a:lnTo>
                  <a:lnTo>
                    <a:pt x="2919" y="4805"/>
                  </a:lnTo>
                  <a:lnTo>
                    <a:pt x="2897" y="4787"/>
                  </a:lnTo>
                  <a:lnTo>
                    <a:pt x="2876" y="4768"/>
                  </a:lnTo>
                  <a:lnTo>
                    <a:pt x="2860" y="4752"/>
                  </a:lnTo>
                  <a:lnTo>
                    <a:pt x="2851" y="4727"/>
                  </a:lnTo>
                  <a:lnTo>
                    <a:pt x="2844" y="4699"/>
                  </a:lnTo>
                  <a:lnTo>
                    <a:pt x="2838" y="4671"/>
                  </a:lnTo>
                  <a:lnTo>
                    <a:pt x="2826" y="4649"/>
                  </a:lnTo>
                  <a:lnTo>
                    <a:pt x="2810" y="4643"/>
                  </a:lnTo>
                  <a:lnTo>
                    <a:pt x="2788" y="4640"/>
                  </a:lnTo>
                  <a:lnTo>
                    <a:pt x="2769" y="4640"/>
                  </a:lnTo>
                  <a:lnTo>
                    <a:pt x="2751" y="4640"/>
                  </a:lnTo>
                  <a:lnTo>
                    <a:pt x="2744" y="4640"/>
                  </a:lnTo>
                  <a:lnTo>
                    <a:pt x="2732" y="4643"/>
                  </a:lnTo>
                  <a:lnTo>
                    <a:pt x="2723" y="4646"/>
                  </a:lnTo>
                  <a:lnTo>
                    <a:pt x="2713" y="4649"/>
                  </a:lnTo>
                  <a:lnTo>
                    <a:pt x="2704" y="4649"/>
                  </a:lnTo>
                  <a:lnTo>
                    <a:pt x="2682" y="4646"/>
                  </a:lnTo>
                  <a:lnTo>
                    <a:pt x="2657" y="4637"/>
                  </a:lnTo>
                  <a:lnTo>
                    <a:pt x="2641" y="4624"/>
                  </a:lnTo>
                  <a:lnTo>
                    <a:pt x="2641" y="4606"/>
                  </a:lnTo>
                  <a:lnTo>
                    <a:pt x="2651" y="4587"/>
                  </a:lnTo>
                  <a:lnTo>
                    <a:pt x="2663" y="4565"/>
                  </a:lnTo>
                  <a:lnTo>
                    <a:pt x="2670" y="4546"/>
                  </a:lnTo>
                  <a:lnTo>
                    <a:pt x="2670" y="4528"/>
                  </a:lnTo>
                  <a:lnTo>
                    <a:pt x="2651" y="4515"/>
                  </a:lnTo>
                  <a:lnTo>
                    <a:pt x="2623" y="4506"/>
                  </a:lnTo>
                  <a:lnTo>
                    <a:pt x="2595" y="4499"/>
                  </a:lnTo>
                  <a:lnTo>
                    <a:pt x="2566" y="4499"/>
                  </a:lnTo>
                  <a:lnTo>
                    <a:pt x="2551" y="4499"/>
                  </a:lnTo>
                  <a:lnTo>
                    <a:pt x="2529" y="4506"/>
                  </a:lnTo>
                  <a:lnTo>
                    <a:pt x="2510" y="4515"/>
                  </a:lnTo>
                  <a:lnTo>
                    <a:pt x="2501" y="4524"/>
                  </a:lnTo>
                  <a:lnTo>
                    <a:pt x="2501" y="4537"/>
                  </a:lnTo>
                  <a:lnTo>
                    <a:pt x="2510" y="4553"/>
                  </a:lnTo>
                  <a:lnTo>
                    <a:pt x="2520" y="4568"/>
                  </a:lnTo>
                  <a:lnTo>
                    <a:pt x="2529" y="4581"/>
                  </a:lnTo>
                  <a:lnTo>
                    <a:pt x="2532" y="4599"/>
                  </a:lnTo>
                  <a:lnTo>
                    <a:pt x="2532" y="4618"/>
                  </a:lnTo>
                  <a:lnTo>
                    <a:pt x="2529" y="4634"/>
                  </a:lnTo>
                  <a:lnTo>
                    <a:pt x="2507" y="4649"/>
                  </a:lnTo>
                  <a:lnTo>
                    <a:pt x="2479" y="4659"/>
                  </a:lnTo>
                  <a:lnTo>
                    <a:pt x="2448" y="4665"/>
                  </a:lnTo>
                  <a:lnTo>
                    <a:pt x="2423" y="4668"/>
                  </a:lnTo>
                  <a:lnTo>
                    <a:pt x="2404" y="4671"/>
                  </a:lnTo>
                  <a:lnTo>
                    <a:pt x="2382" y="4674"/>
                  </a:lnTo>
                  <a:lnTo>
                    <a:pt x="2357" y="4677"/>
                  </a:lnTo>
                  <a:lnTo>
                    <a:pt x="2332" y="4674"/>
                  </a:lnTo>
                  <a:lnTo>
                    <a:pt x="2317" y="4668"/>
                  </a:lnTo>
                  <a:lnTo>
                    <a:pt x="2307" y="4652"/>
                  </a:lnTo>
                  <a:lnTo>
                    <a:pt x="2301" y="4627"/>
                  </a:lnTo>
                  <a:lnTo>
                    <a:pt x="2298" y="4599"/>
                  </a:lnTo>
                  <a:lnTo>
                    <a:pt x="2295" y="4578"/>
                  </a:lnTo>
                  <a:lnTo>
                    <a:pt x="2282" y="4559"/>
                  </a:lnTo>
                  <a:lnTo>
                    <a:pt x="2264" y="4540"/>
                  </a:lnTo>
                  <a:lnTo>
                    <a:pt x="2245" y="4518"/>
                  </a:lnTo>
                  <a:lnTo>
                    <a:pt x="2235" y="4499"/>
                  </a:lnTo>
                  <a:lnTo>
                    <a:pt x="2232" y="4481"/>
                  </a:lnTo>
                  <a:lnTo>
                    <a:pt x="2232" y="4459"/>
                  </a:lnTo>
                  <a:lnTo>
                    <a:pt x="2235" y="4440"/>
                  </a:lnTo>
                  <a:lnTo>
                    <a:pt x="2235" y="4425"/>
                  </a:lnTo>
                  <a:lnTo>
                    <a:pt x="2239" y="4403"/>
                  </a:lnTo>
                  <a:lnTo>
                    <a:pt x="2239" y="4384"/>
                  </a:lnTo>
                  <a:lnTo>
                    <a:pt x="2235" y="4371"/>
                  </a:lnTo>
                  <a:lnTo>
                    <a:pt x="2220" y="4359"/>
                  </a:lnTo>
                  <a:lnTo>
                    <a:pt x="2201" y="4346"/>
                  </a:lnTo>
                  <a:lnTo>
                    <a:pt x="2182" y="4340"/>
                  </a:lnTo>
                  <a:lnTo>
                    <a:pt x="2161" y="4337"/>
                  </a:lnTo>
                  <a:lnTo>
                    <a:pt x="2132" y="4331"/>
                  </a:lnTo>
                  <a:lnTo>
                    <a:pt x="2104" y="4331"/>
                  </a:lnTo>
                  <a:lnTo>
                    <a:pt x="2076" y="4334"/>
                  </a:lnTo>
                  <a:lnTo>
                    <a:pt x="2057" y="4340"/>
                  </a:lnTo>
                  <a:lnTo>
                    <a:pt x="2051" y="4353"/>
                  </a:lnTo>
                  <a:lnTo>
                    <a:pt x="2051" y="4368"/>
                  </a:lnTo>
                  <a:lnTo>
                    <a:pt x="2051" y="4387"/>
                  </a:lnTo>
                  <a:lnTo>
                    <a:pt x="2051" y="4403"/>
                  </a:lnTo>
                  <a:lnTo>
                    <a:pt x="2045" y="4415"/>
                  </a:lnTo>
                  <a:lnTo>
                    <a:pt x="2032" y="4418"/>
                  </a:lnTo>
                  <a:lnTo>
                    <a:pt x="2014" y="4418"/>
                  </a:lnTo>
                  <a:lnTo>
                    <a:pt x="1995" y="4415"/>
                  </a:lnTo>
                  <a:lnTo>
                    <a:pt x="1983" y="4418"/>
                  </a:lnTo>
                  <a:lnTo>
                    <a:pt x="1970" y="4421"/>
                  </a:lnTo>
                  <a:lnTo>
                    <a:pt x="1961" y="4428"/>
                  </a:lnTo>
                  <a:lnTo>
                    <a:pt x="1948" y="4437"/>
                  </a:lnTo>
                  <a:lnTo>
                    <a:pt x="1939" y="4446"/>
                  </a:lnTo>
                  <a:lnTo>
                    <a:pt x="1933" y="4456"/>
                  </a:lnTo>
                  <a:lnTo>
                    <a:pt x="1933" y="4459"/>
                  </a:lnTo>
                  <a:lnTo>
                    <a:pt x="1933" y="4468"/>
                  </a:lnTo>
                  <a:lnTo>
                    <a:pt x="1933" y="4478"/>
                  </a:lnTo>
                  <a:lnTo>
                    <a:pt x="1933" y="4484"/>
                  </a:lnTo>
                  <a:lnTo>
                    <a:pt x="1936" y="4493"/>
                  </a:lnTo>
                  <a:lnTo>
                    <a:pt x="1933" y="4499"/>
                  </a:lnTo>
                  <a:lnTo>
                    <a:pt x="1929" y="4506"/>
                  </a:lnTo>
                  <a:lnTo>
                    <a:pt x="1926" y="4515"/>
                  </a:lnTo>
                  <a:lnTo>
                    <a:pt x="1920" y="4521"/>
                  </a:lnTo>
                  <a:lnTo>
                    <a:pt x="1914" y="4531"/>
                  </a:lnTo>
                  <a:lnTo>
                    <a:pt x="1908" y="4534"/>
                  </a:lnTo>
                  <a:lnTo>
                    <a:pt x="1883" y="4543"/>
                  </a:lnTo>
                  <a:lnTo>
                    <a:pt x="1854" y="4546"/>
                  </a:lnTo>
                  <a:lnTo>
                    <a:pt x="1826" y="4546"/>
                  </a:lnTo>
                  <a:lnTo>
                    <a:pt x="1805" y="4540"/>
                  </a:lnTo>
                  <a:lnTo>
                    <a:pt x="1798" y="4534"/>
                  </a:lnTo>
                  <a:lnTo>
                    <a:pt x="1795" y="4528"/>
                  </a:lnTo>
                  <a:lnTo>
                    <a:pt x="1792" y="4518"/>
                  </a:lnTo>
                  <a:lnTo>
                    <a:pt x="1789" y="4509"/>
                  </a:lnTo>
                  <a:lnTo>
                    <a:pt x="1786" y="4503"/>
                  </a:lnTo>
                  <a:lnTo>
                    <a:pt x="1780" y="4496"/>
                  </a:lnTo>
                  <a:lnTo>
                    <a:pt x="1773" y="4493"/>
                  </a:lnTo>
                  <a:lnTo>
                    <a:pt x="1767" y="4493"/>
                  </a:lnTo>
                  <a:lnTo>
                    <a:pt x="1761" y="4493"/>
                  </a:lnTo>
                  <a:lnTo>
                    <a:pt x="1755" y="4493"/>
                  </a:lnTo>
                  <a:lnTo>
                    <a:pt x="1745" y="4493"/>
                  </a:lnTo>
                  <a:lnTo>
                    <a:pt x="1736" y="4496"/>
                  </a:lnTo>
                  <a:lnTo>
                    <a:pt x="1730" y="4503"/>
                  </a:lnTo>
                  <a:lnTo>
                    <a:pt x="1720" y="4506"/>
                  </a:lnTo>
                  <a:lnTo>
                    <a:pt x="1717" y="4512"/>
                  </a:lnTo>
                  <a:lnTo>
                    <a:pt x="1717" y="4518"/>
                  </a:lnTo>
                  <a:lnTo>
                    <a:pt x="1717" y="4528"/>
                  </a:lnTo>
                  <a:lnTo>
                    <a:pt x="1720" y="4537"/>
                  </a:lnTo>
                  <a:lnTo>
                    <a:pt x="1726" y="4543"/>
                  </a:lnTo>
                  <a:lnTo>
                    <a:pt x="1730" y="4553"/>
                  </a:lnTo>
                  <a:lnTo>
                    <a:pt x="1730" y="4559"/>
                  </a:lnTo>
                  <a:lnTo>
                    <a:pt x="1730" y="4584"/>
                  </a:lnTo>
                  <a:lnTo>
                    <a:pt x="1726" y="4609"/>
                  </a:lnTo>
                  <a:lnTo>
                    <a:pt x="1717" y="4627"/>
                  </a:lnTo>
                  <a:lnTo>
                    <a:pt x="1711" y="4631"/>
                  </a:lnTo>
                  <a:lnTo>
                    <a:pt x="1705" y="4634"/>
                  </a:lnTo>
                  <a:lnTo>
                    <a:pt x="1698" y="4637"/>
                  </a:lnTo>
                  <a:lnTo>
                    <a:pt x="1692" y="4637"/>
                  </a:lnTo>
                  <a:lnTo>
                    <a:pt x="1686" y="4640"/>
                  </a:lnTo>
                  <a:lnTo>
                    <a:pt x="1680" y="4643"/>
                  </a:lnTo>
                  <a:lnTo>
                    <a:pt x="1670" y="4646"/>
                  </a:lnTo>
                  <a:lnTo>
                    <a:pt x="1661" y="4652"/>
                  </a:lnTo>
                  <a:lnTo>
                    <a:pt x="1655" y="4656"/>
                  </a:lnTo>
                  <a:lnTo>
                    <a:pt x="1648" y="4662"/>
                  </a:lnTo>
                  <a:lnTo>
                    <a:pt x="1648" y="4677"/>
                  </a:lnTo>
                  <a:lnTo>
                    <a:pt x="1652" y="4699"/>
                  </a:lnTo>
                  <a:lnTo>
                    <a:pt x="1648" y="4718"/>
                  </a:lnTo>
                  <a:lnTo>
                    <a:pt x="1645" y="4724"/>
                  </a:lnTo>
                  <a:lnTo>
                    <a:pt x="1639" y="4737"/>
                  </a:lnTo>
                  <a:lnTo>
                    <a:pt x="1630" y="4746"/>
                  </a:lnTo>
                  <a:lnTo>
                    <a:pt x="1620" y="4756"/>
                  </a:lnTo>
                  <a:lnTo>
                    <a:pt x="1614" y="4762"/>
                  </a:lnTo>
                  <a:lnTo>
                    <a:pt x="1608" y="4784"/>
                  </a:lnTo>
                  <a:lnTo>
                    <a:pt x="1602" y="4805"/>
                  </a:lnTo>
                  <a:lnTo>
                    <a:pt x="1595" y="4827"/>
                  </a:lnTo>
                  <a:lnTo>
                    <a:pt x="1589" y="4846"/>
                  </a:lnTo>
                  <a:lnTo>
                    <a:pt x="1583" y="4871"/>
                  </a:lnTo>
                  <a:lnTo>
                    <a:pt x="1577" y="4890"/>
                  </a:lnTo>
                  <a:lnTo>
                    <a:pt x="1577" y="4915"/>
                  </a:lnTo>
                  <a:lnTo>
                    <a:pt x="1580" y="4940"/>
                  </a:lnTo>
                  <a:lnTo>
                    <a:pt x="1577" y="4962"/>
                  </a:lnTo>
                  <a:lnTo>
                    <a:pt x="1573" y="4968"/>
                  </a:lnTo>
                  <a:lnTo>
                    <a:pt x="1567" y="4974"/>
                  </a:lnTo>
                  <a:lnTo>
                    <a:pt x="1561" y="4983"/>
                  </a:lnTo>
                  <a:lnTo>
                    <a:pt x="1555" y="4990"/>
                  </a:lnTo>
                  <a:lnTo>
                    <a:pt x="1552" y="4996"/>
                  </a:lnTo>
                  <a:lnTo>
                    <a:pt x="1542" y="5018"/>
                  </a:lnTo>
                  <a:lnTo>
                    <a:pt x="1536" y="5046"/>
                  </a:lnTo>
                  <a:lnTo>
                    <a:pt x="1530" y="5077"/>
                  </a:lnTo>
                  <a:lnTo>
                    <a:pt x="1520" y="5071"/>
                  </a:lnTo>
                  <a:lnTo>
                    <a:pt x="1511" y="5062"/>
                  </a:lnTo>
                  <a:lnTo>
                    <a:pt x="1505" y="5055"/>
                  </a:lnTo>
                  <a:lnTo>
                    <a:pt x="1492" y="5037"/>
                  </a:lnTo>
                  <a:lnTo>
                    <a:pt x="1477" y="5012"/>
                  </a:lnTo>
                  <a:lnTo>
                    <a:pt x="1467" y="4993"/>
                  </a:lnTo>
                  <a:lnTo>
                    <a:pt x="1461" y="4987"/>
                  </a:lnTo>
                  <a:lnTo>
                    <a:pt x="1452" y="4977"/>
                  </a:lnTo>
                  <a:lnTo>
                    <a:pt x="1442" y="4971"/>
                  </a:lnTo>
                  <a:lnTo>
                    <a:pt x="1436" y="4962"/>
                  </a:lnTo>
                  <a:lnTo>
                    <a:pt x="1430" y="4955"/>
                  </a:lnTo>
                  <a:lnTo>
                    <a:pt x="1427" y="4934"/>
                  </a:lnTo>
                  <a:lnTo>
                    <a:pt x="1427" y="4905"/>
                  </a:lnTo>
                  <a:lnTo>
                    <a:pt x="1430" y="4880"/>
                  </a:lnTo>
                  <a:lnTo>
                    <a:pt x="1430" y="4855"/>
                  </a:lnTo>
                  <a:lnTo>
                    <a:pt x="1433" y="4834"/>
                  </a:lnTo>
                  <a:lnTo>
                    <a:pt x="1436" y="4809"/>
                  </a:lnTo>
                  <a:lnTo>
                    <a:pt x="1436" y="4787"/>
                  </a:lnTo>
                  <a:lnTo>
                    <a:pt x="1433" y="4777"/>
                  </a:lnTo>
                  <a:lnTo>
                    <a:pt x="1427" y="4768"/>
                  </a:lnTo>
                  <a:lnTo>
                    <a:pt x="1420" y="4759"/>
                  </a:lnTo>
                  <a:lnTo>
                    <a:pt x="1414" y="4749"/>
                  </a:lnTo>
                  <a:lnTo>
                    <a:pt x="1405" y="4743"/>
                  </a:lnTo>
                  <a:lnTo>
                    <a:pt x="1399" y="4737"/>
                  </a:lnTo>
                  <a:lnTo>
                    <a:pt x="1386" y="4734"/>
                  </a:lnTo>
                  <a:lnTo>
                    <a:pt x="1367" y="4737"/>
                  </a:lnTo>
                  <a:lnTo>
                    <a:pt x="1349" y="4737"/>
                  </a:lnTo>
                  <a:lnTo>
                    <a:pt x="1336" y="4734"/>
                  </a:lnTo>
                  <a:lnTo>
                    <a:pt x="1327" y="4718"/>
                  </a:lnTo>
                  <a:lnTo>
                    <a:pt x="1327" y="4693"/>
                  </a:lnTo>
                  <a:lnTo>
                    <a:pt x="1327" y="4668"/>
                  </a:lnTo>
                  <a:lnTo>
                    <a:pt x="1327" y="4646"/>
                  </a:lnTo>
                  <a:lnTo>
                    <a:pt x="1320" y="4621"/>
                  </a:lnTo>
                  <a:lnTo>
                    <a:pt x="1314" y="4587"/>
                  </a:lnTo>
                  <a:lnTo>
                    <a:pt x="1305" y="4556"/>
                  </a:lnTo>
                  <a:lnTo>
                    <a:pt x="1296" y="4531"/>
                  </a:lnTo>
                  <a:lnTo>
                    <a:pt x="1277" y="4518"/>
                  </a:lnTo>
                  <a:lnTo>
                    <a:pt x="1249" y="4506"/>
                  </a:lnTo>
                  <a:lnTo>
                    <a:pt x="1221" y="4496"/>
                  </a:lnTo>
                  <a:lnTo>
                    <a:pt x="1196" y="4484"/>
                  </a:lnTo>
                  <a:lnTo>
                    <a:pt x="1177" y="4468"/>
                  </a:lnTo>
                  <a:lnTo>
                    <a:pt x="1174" y="4462"/>
                  </a:lnTo>
                  <a:lnTo>
                    <a:pt x="1174" y="4456"/>
                  </a:lnTo>
                  <a:lnTo>
                    <a:pt x="1174" y="4450"/>
                  </a:lnTo>
                  <a:lnTo>
                    <a:pt x="1174" y="4440"/>
                  </a:lnTo>
                  <a:lnTo>
                    <a:pt x="1174" y="4434"/>
                  </a:lnTo>
                  <a:lnTo>
                    <a:pt x="1171" y="4431"/>
                  </a:lnTo>
                  <a:lnTo>
                    <a:pt x="1152" y="4418"/>
                  </a:lnTo>
                  <a:lnTo>
                    <a:pt x="1127" y="4412"/>
                  </a:lnTo>
                  <a:lnTo>
                    <a:pt x="1099" y="4409"/>
                  </a:lnTo>
                  <a:lnTo>
                    <a:pt x="1074" y="4412"/>
                  </a:lnTo>
                  <a:lnTo>
                    <a:pt x="1049" y="4428"/>
                  </a:lnTo>
                  <a:lnTo>
                    <a:pt x="1021" y="4453"/>
                  </a:lnTo>
                  <a:lnTo>
                    <a:pt x="996" y="4481"/>
                  </a:lnTo>
                  <a:lnTo>
                    <a:pt x="974" y="4503"/>
                  </a:lnTo>
                  <a:lnTo>
                    <a:pt x="952" y="4531"/>
                  </a:lnTo>
                  <a:lnTo>
                    <a:pt x="924" y="4562"/>
                  </a:lnTo>
                  <a:lnTo>
                    <a:pt x="899" y="4596"/>
                  </a:lnTo>
                  <a:lnTo>
                    <a:pt x="880" y="4624"/>
                  </a:lnTo>
                  <a:lnTo>
                    <a:pt x="868" y="4652"/>
                  </a:lnTo>
                  <a:lnTo>
                    <a:pt x="858" y="4684"/>
                  </a:lnTo>
                  <a:lnTo>
                    <a:pt x="849" y="4715"/>
                  </a:lnTo>
                  <a:lnTo>
                    <a:pt x="843" y="4749"/>
                  </a:lnTo>
                  <a:lnTo>
                    <a:pt x="836" y="4793"/>
                  </a:lnTo>
                  <a:lnTo>
                    <a:pt x="827" y="4834"/>
                  </a:lnTo>
                  <a:lnTo>
                    <a:pt x="811" y="4868"/>
                  </a:lnTo>
                  <a:lnTo>
                    <a:pt x="793" y="4887"/>
                  </a:lnTo>
                  <a:lnTo>
                    <a:pt x="768" y="4905"/>
                  </a:lnTo>
                  <a:lnTo>
                    <a:pt x="749" y="4924"/>
                  </a:lnTo>
                  <a:lnTo>
                    <a:pt x="733" y="4946"/>
                  </a:lnTo>
                  <a:lnTo>
                    <a:pt x="715" y="4974"/>
                  </a:lnTo>
                  <a:lnTo>
                    <a:pt x="699" y="5002"/>
                  </a:lnTo>
                  <a:lnTo>
                    <a:pt x="680" y="5024"/>
                  </a:lnTo>
                  <a:lnTo>
                    <a:pt x="658" y="5037"/>
                  </a:lnTo>
                  <a:lnTo>
                    <a:pt x="627" y="5046"/>
                  </a:lnTo>
                  <a:lnTo>
                    <a:pt x="599" y="5052"/>
                  </a:lnTo>
                  <a:lnTo>
                    <a:pt x="571" y="5055"/>
                  </a:lnTo>
                  <a:lnTo>
                    <a:pt x="540" y="5052"/>
                  </a:lnTo>
                  <a:lnTo>
                    <a:pt x="512" y="5052"/>
                  </a:lnTo>
                  <a:lnTo>
                    <a:pt x="496" y="5058"/>
                  </a:lnTo>
                  <a:lnTo>
                    <a:pt x="477" y="5068"/>
                  </a:lnTo>
                  <a:lnTo>
                    <a:pt x="459" y="5074"/>
                  </a:lnTo>
                  <a:lnTo>
                    <a:pt x="440" y="5077"/>
                  </a:lnTo>
                  <a:lnTo>
                    <a:pt x="434" y="5074"/>
                  </a:lnTo>
                  <a:lnTo>
                    <a:pt x="424" y="5068"/>
                  </a:lnTo>
                  <a:lnTo>
                    <a:pt x="418" y="5058"/>
                  </a:lnTo>
                  <a:lnTo>
                    <a:pt x="409" y="5052"/>
                  </a:lnTo>
                  <a:lnTo>
                    <a:pt x="399" y="5046"/>
                  </a:lnTo>
                  <a:lnTo>
                    <a:pt x="393" y="5040"/>
                  </a:lnTo>
                  <a:lnTo>
                    <a:pt x="365" y="5040"/>
                  </a:lnTo>
                  <a:lnTo>
                    <a:pt x="331" y="5043"/>
                  </a:lnTo>
                  <a:lnTo>
                    <a:pt x="306" y="5052"/>
                  </a:lnTo>
                  <a:lnTo>
                    <a:pt x="293" y="5065"/>
                  </a:lnTo>
                  <a:lnTo>
                    <a:pt x="284" y="5083"/>
                  </a:lnTo>
                  <a:lnTo>
                    <a:pt x="274" y="5102"/>
                  </a:lnTo>
                  <a:lnTo>
                    <a:pt x="265" y="5115"/>
                  </a:lnTo>
                  <a:lnTo>
                    <a:pt x="249" y="5127"/>
                  </a:lnTo>
                  <a:lnTo>
                    <a:pt x="228" y="5136"/>
                  </a:lnTo>
                  <a:lnTo>
                    <a:pt x="209" y="5136"/>
                  </a:lnTo>
                  <a:lnTo>
                    <a:pt x="193" y="5130"/>
                  </a:lnTo>
                  <a:lnTo>
                    <a:pt x="174" y="5118"/>
                  </a:lnTo>
                  <a:lnTo>
                    <a:pt x="159" y="5105"/>
                  </a:lnTo>
                  <a:lnTo>
                    <a:pt x="149" y="5090"/>
                  </a:lnTo>
                  <a:lnTo>
                    <a:pt x="149" y="5077"/>
                  </a:lnTo>
                  <a:lnTo>
                    <a:pt x="153" y="5062"/>
                  </a:lnTo>
                  <a:lnTo>
                    <a:pt x="159" y="5043"/>
                  </a:lnTo>
                  <a:lnTo>
                    <a:pt x="159" y="5030"/>
                  </a:lnTo>
                  <a:lnTo>
                    <a:pt x="153" y="5005"/>
                  </a:lnTo>
                  <a:lnTo>
                    <a:pt x="140" y="4977"/>
                  </a:lnTo>
                  <a:lnTo>
                    <a:pt x="128" y="4949"/>
                  </a:lnTo>
                  <a:lnTo>
                    <a:pt x="115" y="4921"/>
                  </a:lnTo>
                  <a:lnTo>
                    <a:pt x="106" y="4899"/>
                  </a:lnTo>
                  <a:lnTo>
                    <a:pt x="106" y="4874"/>
                  </a:lnTo>
                  <a:lnTo>
                    <a:pt x="106" y="4846"/>
                  </a:lnTo>
                  <a:lnTo>
                    <a:pt x="112" y="4824"/>
                  </a:lnTo>
                  <a:lnTo>
                    <a:pt x="118" y="4815"/>
                  </a:lnTo>
                  <a:lnTo>
                    <a:pt x="125" y="4805"/>
                  </a:lnTo>
                  <a:lnTo>
                    <a:pt x="134" y="4796"/>
                  </a:lnTo>
                  <a:lnTo>
                    <a:pt x="143" y="4790"/>
                  </a:lnTo>
                  <a:lnTo>
                    <a:pt x="146" y="4781"/>
                  </a:lnTo>
                  <a:lnTo>
                    <a:pt x="153" y="4756"/>
                  </a:lnTo>
                  <a:lnTo>
                    <a:pt x="153" y="4727"/>
                  </a:lnTo>
                  <a:lnTo>
                    <a:pt x="153" y="4699"/>
                  </a:lnTo>
                  <a:lnTo>
                    <a:pt x="143" y="4674"/>
                  </a:lnTo>
                  <a:lnTo>
                    <a:pt x="128" y="4659"/>
                  </a:lnTo>
                  <a:lnTo>
                    <a:pt x="106" y="4640"/>
                  </a:lnTo>
                  <a:lnTo>
                    <a:pt x="81" y="4627"/>
                  </a:lnTo>
                  <a:lnTo>
                    <a:pt x="59" y="4612"/>
                  </a:lnTo>
                  <a:lnTo>
                    <a:pt x="46" y="4596"/>
                  </a:lnTo>
                  <a:lnTo>
                    <a:pt x="28" y="4578"/>
                  </a:lnTo>
                  <a:lnTo>
                    <a:pt x="15" y="4559"/>
                  </a:lnTo>
                  <a:lnTo>
                    <a:pt x="3" y="4540"/>
                  </a:lnTo>
                  <a:lnTo>
                    <a:pt x="3" y="4524"/>
                  </a:lnTo>
                  <a:lnTo>
                    <a:pt x="0" y="4503"/>
                  </a:lnTo>
                  <a:lnTo>
                    <a:pt x="3" y="4487"/>
                  </a:lnTo>
                  <a:lnTo>
                    <a:pt x="9" y="4481"/>
                  </a:lnTo>
                  <a:lnTo>
                    <a:pt x="12" y="4474"/>
                  </a:lnTo>
                  <a:lnTo>
                    <a:pt x="21" y="4468"/>
                  </a:lnTo>
                  <a:lnTo>
                    <a:pt x="25" y="4462"/>
                  </a:lnTo>
                  <a:lnTo>
                    <a:pt x="31" y="4456"/>
                  </a:lnTo>
                  <a:lnTo>
                    <a:pt x="34" y="4434"/>
                  </a:lnTo>
                  <a:lnTo>
                    <a:pt x="34" y="4403"/>
                  </a:lnTo>
                  <a:lnTo>
                    <a:pt x="31" y="4375"/>
                  </a:lnTo>
                  <a:lnTo>
                    <a:pt x="31" y="4350"/>
                  </a:lnTo>
                  <a:lnTo>
                    <a:pt x="31" y="4340"/>
                  </a:lnTo>
                  <a:lnTo>
                    <a:pt x="28" y="4328"/>
                  </a:lnTo>
                  <a:lnTo>
                    <a:pt x="28" y="4315"/>
                  </a:lnTo>
                  <a:lnTo>
                    <a:pt x="28" y="4306"/>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66" name="Freeform 59">
              <a:extLst>
                <a:ext uri="{FF2B5EF4-FFF2-40B4-BE49-F238E27FC236}">
                  <a16:creationId xmlns:a16="http://schemas.microsoft.com/office/drawing/2014/main" id="{9DCEA27E-ECA0-476A-A022-7B1C86A7AFBE}"/>
                </a:ext>
              </a:extLst>
            </p:cNvPr>
            <p:cNvSpPr>
              <a:spLocks/>
            </p:cNvSpPr>
            <p:nvPr/>
          </p:nvSpPr>
          <p:spPr bwMode="auto">
            <a:xfrm>
              <a:off x="26012776" y="4322763"/>
              <a:ext cx="9245600" cy="8035925"/>
            </a:xfrm>
            <a:custGeom>
              <a:avLst/>
              <a:gdLst>
                <a:gd name="T0" fmla="*/ 5593 w 5824"/>
                <a:gd name="T1" fmla="*/ 2698 h 5062"/>
                <a:gd name="T2" fmla="*/ 5527 w 5824"/>
                <a:gd name="T3" fmla="*/ 2982 h 5062"/>
                <a:gd name="T4" fmla="*/ 5187 w 5824"/>
                <a:gd name="T5" fmla="*/ 3266 h 5062"/>
                <a:gd name="T6" fmla="*/ 4921 w 5824"/>
                <a:gd name="T7" fmla="*/ 3550 h 5062"/>
                <a:gd name="T8" fmla="*/ 4622 w 5824"/>
                <a:gd name="T9" fmla="*/ 3781 h 5062"/>
                <a:gd name="T10" fmla="*/ 4272 w 5824"/>
                <a:gd name="T11" fmla="*/ 4087 h 5062"/>
                <a:gd name="T12" fmla="*/ 4060 w 5824"/>
                <a:gd name="T13" fmla="*/ 4306 h 5062"/>
                <a:gd name="T14" fmla="*/ 4178 w 5824"/>
                <a:gd name="T15" fmla="*/ 4490 h 5062"/>
                <a:gd name="T16" fmla="*/ 4013 w 5824"/>
                <a:gd name="T17" fmla="*/ 4553 h 5062"/>
                <a:gd name="T18" fmla="*/ 3660 w 5824"/>
                <a:gd name="T19" fmla="*/ 4749 h 5062"/>
                <a:gd name="T20" fmla="*/ 3326 w 5824"/>
                <a:gd name="T21" fmla="*/ 4762 h 5062"/>
                <a:gd name="T22" fmla="*/ 3223 w 5824"/>
                <a:gd name="T23" fmla="*/ 5052 h 5062"/>
                <a:gd name="T24" fmla="*/ 3151 w 5824"/>
                <a:gd name="T25" fmla="*/ 4784 h 5062"/>
                <a:gd name="T26" fmla="*/ 2832 w 5824"/>
                <a:gd name="T27" fmla="*/ 4877 h 5062"/>
                <a:gd name="T28" fmla="*/ 2679 w 5824"/>
                <a:gd name="T29" fmla="*/ 4777 h 5062"/>
                <a:gd name="T30" fmla="*/ 2420 w 5824"/>
                <a:gd name="T31" fmla="*/ 4612 h 5062"/>
                <a:gd name="T32" fmla="*/ 1949 w 5824"/>
                <a:gd name="T33" fmla="*/ 4540 h 5062"/>
                <a:gd name="T34" fmla="*/ 1796 w 5824"/>
                <a:gd name="T35" fmla="*/ 4234 h 5062"/>
                <a:gd name="T36" fmla="*/ 1346 w 5824"/>
                <a:gd name="T37" fmla="*/ 4225 h 5062"/>
                <a:gd name="T38" fmla="*/ 1633 w 5824"/>
                <a:gd name="T39" fmla="*/ 4012 h 5062"/>
                <a:gd name="T40" fmla="*/ 1321 w 5824"/>
                <a:gd name="T41" fmla="*/ 3947 h 5062"/>
                <a:gd name="T42" fmla="*/ 871 w 5824"/>
                <a:gd name="T43" fmla="*/ 4106 h 5062"/>
                <a:gd name="T44" fmla="*/ 656 w 5824"/>
                <a:gd name="T45" fmla="*/ 4250 h 5062"/>
                <a:gd name="T46" fmla="*/ 431 w 5824"/>
                <a:gd name="T47" fmla="*/ 4019 h 5062"/>
                <a:gd name="T48" fmla="*/ 72 w 5824"/>
                <a:gd name="T49" fmla="*/ 3956 h 5062"/>
                <a:gd name="T50" fmla="*/ 272 w 5824"/>
                <a:gd name="T51" fmla="*/ 3819 h 5062"/>
                <a:gd name="T52" fmla="*/ 393 w 5824"/>
                <a:gd name="T53" fmla="*/ 3525 h 5062"/>
                <a:gd name="T54" fmla="*/ 596 w 5824"/>
                <a:gd name="T55" fmla="*/ 3475 h 5062"/>
                <a:gd name="T56" fmla="*/ 671 w 5824"/>
                <a:gd name="T57" fmla="*/ 3144 h 5062"/>
                <a:gd name="T58" fmla="*/ 874 w 5824"/>
                <a:gd name="T59" fmla="*/ 2910 h 5062"/>
                <a:gd name="T60" fmla="*/ 834 w 5824"/>
                <a:gd name="T61" fmla="*/ 2542 h 5062"/>
                <a:gd name="T62" fmla="*/ 687 w 5824"/>
                <a:gd name="T63" fmla="*/ 2192 h 5062"/>
                <a:gd name="T64" fmla="*/ 787 w 5824"/>
                <a:gd name="T65" fmla="*/ 1992 h 5062"/>
                <a:gd name="T66" fmla="*/ 1084 w 5824"/>
                <a:gd name="T67" fmla="*/ 2148 h 5062"/>
                <a:gd name="T68" fmla="*/ 1527 w 5824"/>
                <a:gd name="T69" fmla="*/ 2061 h 5062"/>
                <a:gd name="T70" fmla="*/ 1724 w 5824"/>
                <a:gd name="T71" fmla="*/ 2211 h 5062"/>
                <a:gd name="T72" fmla="*/ 1989 w 5824"/>
                <a:gd name="T73" fmla="*/ 2389 h 5062"/>
                <a:gd name="T74" fmla="*/ 2298 w 5824"/>
                <a:gd name="T75" fmla="*/ 2279 h 5062"/>
                <a:gd name="T76" fmla="*/ 2404 w 5824"/>
                <a:gd name="T77" fmla="*/ 2223 h 5062"/>
                <a:gd name="T78" fmla="*/ 2295 w 5824"/>
                <a:gd name="T79" fmla="*/ 1980 h 5062"/>
                <a:gd name="T80" fmla="*/ 2130 w 5824"/>
                <a:gd name="T81" fmla="*/ 1895 h 5062"/>
                <a:gd name="T82" fmla="*/ 2024 w 5824"/>
                <a:gd name="T83" fmla="*/ 1745 h 5062"/>
                <a:gd name="T84" fmla="*/ 2048 w 5824"/>
                <a:gd name="T85" fmla="*/ 1567 h 5062"/>
                <a:gd name="T86" fmla="*/ 2295 w 5824"/>
                <a:gd name="T87" fmla="*/ 1552 h 5062"/>
                <a:gd name="T88" fmla="*/ 2305 w 5824"/>
                <a:gd name="T89" fmla="*/ 1274 h 5062"/>
                <a:gd name="T90" fmla="*/ 2529 w 5824"/>
                <a:gd name="T91" fmla="*/ 1146 h 5062"/>
                <a:gd name="T92" fmla="*/ 2639 w 5824"/>
                <a:gd name="T93" fmla="*/ 924 h 5062"/>
                <a:gd name="T94" fmla="*/ 2963 w 5824"/>
                <a:gd name="T95" fmla="*/ 768 h 5062"/>
                <a:gd name="T96" fmla="*/ 3348 w 5824"/>
                <a:gd name="T97" fmla="*/ 646 h 5062"/>
                <a:gd name="T98" fmla="*/ 3457 w 5824"/>
                <a:gd name="T99" fmla="*/ 446 h 5062"/>
                <a:gd name="T100" fmla="*/ 3244 w 5824"/>
                <a:gd name="T101" fmla="*/ 300 h 5062"/>
                <a:gd name="T102" fmla="*/ 3276 w 5824"/>
                <a:gd name="T103" fmla="*/ 62 h 5062"/>
                <a:gd name="T104" fmla="*/ 3585 w 5824"/>
                <a:gd name="T105" fmla="*/ 162 h 5062"/>
                <a:gd name="T106" fmla="*/ 3744 w 5824"/>
                <a:gd name="T107" fmla="*/ 62 h 5062"/>
                <a:gd name="T108" fmla="*/ 4044 w 5824"/>
                <a:gd name="T109" fmla="*/ 206 h 5062"/>
                <a:gd name="T110" fmla="*/ 4259 w 5824"/>
                <a:gd name="T111" fmla="*/ 559 h 5062"/>
                <a:gd name="T112" fmla="*/ 4556 w 5824"/>
                <a:gd name="T113" fmla="*/ 802 h 5062"/>
                <a:gd name="T114" fmla="*/ 4478 w 5824"/>
                <a:gd name="T115" fmla="*/ 955 h 5062"/>
                <a:gd name="T116" fmla="*/ 4300 w 5824"/>
                <a:gd name="T117" fmla="*/ 1386 h 5062"/>
                <a:gd name="T118" fmla="*/ 4440 w 5824"/>
                <a:gd name="T119" fmla="*/ 1811 h 5062"/>
                <a:gd name="T120" fmla="*/ 4896 w 5824"/>
                <a:gd name="T121" fmla="*/ 2061 h 5062"/>
                <a:gd name="T122" fmla="*/ 5299 w 5824"/>
                <a:gd name="T123" fmla="*/ 2251 h 5062"/>
                <a:gd name="T124" fmla="*/ 5677 w 5824"/>
                <a:gd name="T125" fmla="*/ 2076 h 5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24" h="5062">
                  <a:moveTo>
                    <a:pt x="5818" y="2279"/>
                  </a:moveTo>
                  <a:lnTo>
                    <a:pt x="5821" y="2295"/>
                  </a:lnTo>
                  <a:lnTo>
                    <a:pt x="5824" y="2314"/>
                  </a:lnTo>
                  <a:lnTo>
                    <a:pt x="5821" y="2332"/>
                  </a:lnTo>
                  <a:lnTo>
                    <a:pt x="5818" y="2348"/>
                  </a:lnTo>
                  <a:lnTo>
                    <a:pt x="5814" y="2370"/>
                  </a:lnTo>
                  <a:lnTo>
                    <a:pt x="5808" y="2395"/>
                  </a:lnTo>
                  <a:lnTo>
                    <a:pt x="5799" y="2411"/>
                  </a:lnTo>
                  <a:lnTo>
                    <a:pt x="5783" y="2417"/>
                  </a:lnTo>
                  <a:lnTo>
                    <a:pt x="5764" y="2423"/>
                  </a:lnTo>
                  <a:lnTo>
                    <a:pt x="5749" y="2429"/>
                  </a:lnTo>
                  <a:lnTo>
                    <a:pt x="5736" y="2451"/>
                  </a:lnTo>
                  <a:lnTo>
                    <a:pt x="5727" y="2482"/>
                  </a:lnTo>
                  <a:lnTo>
                    <a:pt x="5721" y="2514"/>
                  </a:lnTo>
                  <a:lnTo>
                    <a:pt x="5711" y="2539"/>
                  </a:lnTo>
                  <a:lnTo>
                    <a:pt x="5702" y="2560"/>
                  </a:lnTo>
                  <a:lnTo>
                    <a:pt x="5690" y="2582"/>
                  </a:lnTo>
                  <a:lnTo>
                    <a:pt x="5677" y="2598"/>
                  </a:lnTo>
                  <a:lnTo>
                    <a:pt x="5661" y="2610"/>
                  </a:lnTo>
                  <a:lnTo>
                    <a:pt x="5640" y="2620"/>
                  </a:lnTo>
                  <a:lnTo>
                    <a:pt x="5621" y="2632"/>
                  </a:lnTo>
                  <a:lnTo>
                    <a:pt x="5608" y="2651"/>
                  </a:lnTo>
                  <a:lnTo>
                    <a:pt x="5599" y="2676"/>
                  </a:lnTo>
                  <a:lnTo>
                    <a:pt x="5593" y="2698"/>
                  </a:lnTo>
                  <a:lnTo>
                    <a:pt x="5593" y="2713"/>
                  </a:lnTo>
                  <a:lnTo>
                    <a:pt x="5593" y="2732"/>
                  </a:lnTo>
                  <a:lnTo>
                    <a:pt x="5593" y="2751"/>
                  </a:lnTo>
                  <a:lnTo>
                    <a:pt x="5590" y="2766"/>
                  </a:lnTo>
                  <a:lnTo>
                    <a:pt x="5574" y="2770"/>
                  </a:lnTo>
                  <a:lnTo>
                    <a:pt x="5555" y="2766"/>
                  </a:lnTo>
                  <a:lnTo>
                    <a:pt x="5533" y="2763"/>
                  </a:lnTo>
                  <a:lnTo>
                    <a:pt x="5518" y="2766"/>
                  </a:lnTo>
                  <a:lnTo>
                    <a:pt x="5502" y="2779"/>
                  </a:lnTo>
                  <a:lnTo>
                    <a:pt x="5490" y="2798"/>
                  </a:lnTo>
                  <a:lnTo>
                    <a:pt x="5483" y="2816"/>
                  </a:lnTo>
                  <a:lnTo>
                    <a:pt x="5483" y="2823"/>
                  </a:lnTo>
                  <a:lnTo>
                    <a:pt x="5487" y="2832"/>
                  </a:lnTo>
                  <a:lnTo>
                    <a:pt x="5490" y="2841"/>
                  </a:lnTo>
                  <a:lnTo>
                    <a:pt x="5493" y="2851"/>
                  </a:lnTo>
                  <a:lnTo>
                    <a:pt x="5493" y="2857"/>
                  </a:lnTo>
                  <a:lnTo>
                    <a:pt x="5493" y="2882"/>
                  </a:lnTo>
                  <a:lnTo>
                    <a:pt x="5490" y="2910"/>
                  </a:lnTo>
                  <a:lnTo>
                    <a:pt x="5493" y="2932"/>
                  </a:lnTo>
                  <a:lnTo>
                    <a:pt x="5496" y="2938"/>
                  </a:lnTo>
                  <a:lnTo>
                    <a:pt x="5505" y="2948"/>
                  </a:lnTo>
                  <a:lnTo>
                    <a:pt x="5512" y="2954"/>
                  </a:lnTo>
                  <a:lnTo>
                    <a:pt x="5515" y="2960"/>
                  </a:lnTo>
                  <a:lnTo>
                    <a:pt x="5527" y="2982"/>
                  </a:lnTo>
                  <a:lnTo>
                    <a:pt x="5537" y="3007"/>
                  </a:lnTo>
                  <a:lnTo>
                    <a:pt x="5540" y="3029"/>
                  </a:lnTo>
                  <a:lnTo>
                    <a:pt x="5540" y="3048"/>
                  </a:lnTo>
                  <a:lnTo>
                    <a:pt x="5537" y="3066"/>
                  </a:lnTo>
                  <a:lnTo>
                    <a:pt x="5527" y="3082"/>
                  </a:lnTo>
                  <a:lnTo>
                    <a:pt x="5521" y="3085"/>
                  </a:lnTo>
                  <a:lnTo>
                    <a:pt x="5512" y="3088"/>
                  </a:lnTo>
                  <a:lnTo>
                    <a:pt x="5502" y="3091"/>
                  </a:lnTo>
                  <a:lnTo>
                    <a:pt x="5493" y="3091"/>
                  </a:lnTo>
                  <a:lnTo>
                    <a:pt x="5487" y="3094"/>
                  </a:lnTo>
                  <a:lnTo>
                    <a:pt x="5471" y="3110"/>
                  </a:lnTo>
                  <a:lnTo>
                    <a:pt x="5452" y="3129"/>
                  </a:lnTo>
                  <a:lnTo>
                    <a:pt x="5437" y="3144"/>
                  </a:lnTo>
                  <a:lnTo>
                    <a:pt x="5409" y="3154"/>
                  </a:lnTo>
                  <a:lnTo>
                    <a:pt x="5377" y="3160"/>
                  </a:lnTo>
                  <a:lnTo>
                    <a:pt x="5343" y="3166"/>
                  </a:lnTo>
                  <a:lnTo>
                    <a:pt x="5318" y="3179"/>
                  </a:lnTo>
                  <a:lnTo>
                    <a:pt x="5302" y="3197"/>
                  </a:lnTo>
                  <a:lnTo>
                    <a:pt x="5284" y="3222"/>
                  </a:lnTo>
                  <a:lnTo>
                    <a:pt x="5268" y="3241"/>
                  </a:lnTo>
                  <a:lnTo>
                    <a:pt x="5249" y="3247"/>
                  </a:lnTo>
                  <a:lnTo>
                    <a:pt x="5224" y="3254"/>
                  </a:lnTo>
                  <a:lnTo>
                    <a:pt x="5202" y="3260"/>
                  </a:lnTo>
                  <a:lnTo>
                    <a:pt x="5187" y="3266"/>
                  </a:lnTo>
                  <a:lnTo>
                    <a:pt x="5181" y="3279"/>
                  </a:lnTo>
                  <a:lnTo>
                    <a:pt x="5177" y="3297"/>
                  </a:lnTo>
                  <a:lnTo>
                    <a:pt x="5174" y="3313"/>
                  </a:lnTo>
                  <a:lnTo>
                    <a:pt x="5168" y="3325"/>
                  </a:lnTo>
                  <a:lnTo>
                    <a:pt x="5149" y="3332"/>
                  </a:lnTo>
                  <a:lnTo>
                    <a:pt x="5127" y="3332"/>
                  </a:lnTo>
                  <a:lnTo>
                    <a:pt x="5109" y="3332"/>
                  </a:lnTo>
                  <a:lnTo>
                    <a:pt x="5093" y="3338"/>
                  </a:lnTo>
                  <a:lnTo>
                    <a:pt x="5071" y="3344"/>
                  </a:lnTo>
                  <a:lnTo>
                    <a:pt x="5056" y="3350"/>
                  </a:lnTo>
                  <a:lnTo>
                    <a:pt x="5031" y="3363"/>
                  </a:lnTo>
                  <a:lnTo>
                    <a:pt x="5003" y="3375"/>
                  </a:lnTo>
                  <a:lnTo>
                    <a:pt x="4981" y="3391"/>
                  </a:lnTo>
                  <a:lnTo>
                    <a:pt x="4971" y="3394"/>
                  </a:lnTo>
                  <a:lnTo>
                    <a:pt x="4959" y="3400"/>
                  </a:lnTo>
                  <a:lnTo>
                    <a:pt x="4949" y="3410"/>
                  </a:lnTo>
                  <a:lnTo>
                    <a:pt x="4940" y="3416"/>
                  </a:lnTo>
                  <a:lnTo>
                    <a:pt x="4934" y="3422"/>
                  </a:lnTo>
                  <a:lnTo>
                    <a:pt x="4928" y="3438"/>
                  </a:lnTo>
                  <a:lnTo>
                    <a:pt x="4924" y="3460"/>
                  </a:lnTo>
                  <a:lnTo>
                    <a:pt x="4921" y="3478"/>
                  </a:lnTo>
                  <a:lnTo>
                    <a:pt x="4921" y="3500"/>
                  </a:lnTo>
                  <a:lnTo>
                    <a:pt x="4921" y="3525"/>
                  </a:lnTo>
                  <a:lnTo>
                    <a:pt x="4921" y="3550"/>
                  </a:lnTo>
                  <a:lnTo>
                    <a:pt x="4915" y="3569"/>
                  </a:lnTo>
                  <a:lnTo>
                    <a:pt x="4909" y="3575"/>
                  </a:lnTo>
                  <a:lnTo>
                    <a:pt x="4900" y="3581"/>
                  </a:lnTo>
                  <a:lnTo>
                    <a:pt x="4890" y="3585"/>
                  </a:lnTo>
                  <a:lnTo>
                    <a:pt x="4881" y="3591"/>
                  </a:lnTo>
                  <a:lnTo>
                    <a:pt x="4859" y="3597"/>
                  </a:lnTo>
                  <a:lnTo>
                    <a:pt x="4831" y="3606"/>
                  </a:lnTo>
                  <a:lnTo>
                    <a:pt x="4809" y="3616"/>
                  </a:lnTo>
                  <a:lnTo>
                    <a:pt x="4784" y="3622"/>
                  </a:lnTo>
                  <a:lnTo>
                    <a:pt x="4756" y="3635"/>
                  </a:lnTo>
                  <a:lnTo>
                    <a:pt x="4731" y="3641"/>
                  </a:lnTo>
                  <a:lnTo>
                    <a:pt x="4712" y="3644"/>
                  </a:lnTo>
                  <a:lnTo>
                    <a:pt x="4693" y="3647"/>
                  </a:lnTo>
                  <a:lnTo>
                    <a:pt x="4678" y="3653"/>
                  </a:lnTo>
                  <a:lnTo>
                    <a:pt x="4672" y="3660"/>
                  </a:lnTo>
                  <a:lnTo>
                    <a:pt x="4668" y="3666"/>
                  </a:lnTo>
                  <a:lnTo>
                    <a:pt x="4665" y="3675"/>
                  </a:lnTo>
                  <a:lnTo>
                    <a:pt x="4662" y="3681"/>
                  </a:lnTo>
                  <a:lnTo>
                    <a:pt x="4659" y="3688"/>
                  </a:lnTo>
                  <a:lnTo>
                    <a:pt x="4647" y="3706"/>
                  </a:lnTo>
                  <a:lnTo>
                    <a:pt x="4631" y="3725"/>
                  </a:lnTo>
                  <a:lnTo>
                    <a:pt x="4622" y="3744"/>
                  </a:lnTo>
                  <a:lnTo>
                    <a:pt x="4622" y="3759"/>
                  </a:lnTo>
                  <a:lnTo>
                    <a:pt x="4622" y="3781"/>
                  </a:lnTo>
                  <a:lnTo>
                    <a:pt x="4625" y="3803"/>
                  </a:lnTo>
                  <a:lnTo>
                    <a:pt x="4622" y="3822"/>
                  </a:lnTo>
                  <a:lnTo>
                    <a:pt x="4606" y="3847"/>
                  </a:lnTo>
                  <a:lnTo>
                    <a:pt x="4581" y="3872"/>
                  </a:lnTo>
                  <a:lnTo>
                    <a:pt x="4556" y="3897"/>
                  </a:lnTo>
                  <a:lnTo>
                    <a:pt x="4534" y="3916"/>
                  </a:lnTo>
                  <a:lnTo>
                    <a:pt x="4519" y="3934"/>
                  </a:lnTo>
                  <a:lnTo>
                    <a:pt x="4497" y="3956"/>
                  </a:lnTo>
                  <a:lnTo>
                    <a:pt x="4475" y="3969"/>
                  </a:lnTo>
                  <a:lnTo>
                    <a:pt x="4453" y="3972"/>
                  </a:lnTo>
                  <a:lnTo>
                    <a:pt x="4425" y="3972"/>
                  </a:lnTo>
                  <a:lnTo>
                    <a:pt x="4403" y="3969"/>
                  </a:lnTo>
                  <a:lnTo>
                    <a:pt x="4384" y="3969"/>
                  </a:lnTo>
                  <a:lnTo>
                    <a:pt x="4359" y="3966"/>
                  </a:lnTo>
                  <a:lnTo>
                    <a:pt x="4337" y="3966"/>
                  </a:lnTo>
                  <a:lnTo>
                    <a:pt x="4319" y="3969"/>
                  </a:lnTo>
                  <a:lnTo>
                    <a:pt x="4312" y="3975"/>
                  </a:lnTo>
                  <a:lnTo>
                    <a:pt x="4306" y="3981"/>
                  </a:lnTo>
                  <a:lnTo>
                    <a:pt x="4300" y="3987"/>
                  </a:lnTo>
                  <a:lnTo>
                    <a:pt x="4294" y="3997"/>
                  </a:lnTo>
                  <a:lnTo>
                    <a:pt x="4291" y="4003"/>
                  </a:lnTo>
                  <a:lnTo>
                    <a:pt x="4281" y="4028"/>
                  </a:lnTo>
                  <a:lnTo>
                    <a:pt x="4275" y="4062"/>
                  </a:lnTo>
                  <a:lnTo>
                    <a:pt x="4272" y="4087"/>
                  </a:lnTo>
                  <a:lnTo>
                    <a:pt x="4269" y="4106"/>
                  </a:lnTo>
                  <a:lnTo>
                    <a:pt x="4266" y="4125"/>
                  </a:lnTo>
                  <a:lnTo>
                    <a:pt x="4259" y="4147"/>
                  </a:lnTo>
                  <a:lnTo>
                    <a:pt x="4250" y="4159"/>
                  </a:lnTo>
                  <a:lnTo>
                    <a:pt x="4241" y="4162"/>
                  </a:lnTo>
                  <a:lnTo>
                    <a:pt x="4225" y="4159"/>
                  </a:lnTo>
                  <a:lnTo>
                    <a:pt x="4209" y="4156"/>
                  </a:lnTo>
                  <a:lnTo>
                    <a:pt x="4200" y="4159"/>
                  </a:lnTo>
                  <a:lnTo>
                    <a:pt x="4197" y="4169"/>
                  </a:lnTo>
                  <a:lnTo>
                    <a:pt x="4197" y="4184"/>
                  </a:lnTo>
                  <a:lnTo>
                    <a:pt x="4203" y="4203"/>
                  </a:lnTo>
                  <a:lnTo>
                    <a:pt x="4203" y="4218"/>
                  </a:lnTo>
                  <a:lnTo>
                    <a:pt x="4200" y="4228"/>
                  </a:lnTo>
                  <a:lnTo>
                    <a:pt x="4188" y="4234"/>
                  </a:lnTo>
                  <a:lnTo>
                    <a:pt x="4169" y="4234"/>
                  </a:lnTo>
                  <a:lnTo>
                    <a:pt x="4147" y="4231"/>
                  </a:lnTo>
                  <a:lnTo>
                    <a:pt x="4128" y="4228"/>
                  </a:lnTo>
                  <a:lnTo>
                    <a:pt x="4113" y="4228"/>
                  </a:lnTo>
                  <a:lnTo>
                    <a:pt x="4091" y="4237"/>
                  </a:lnTo>
                  <a:lnTo>
                    <a:pt x="4066" y="4253"/>
                  </a:lnTo>
                  <a:lnTo>
                    <a:pt x="4044" y="4268"/>
                  </a:lnTo>
                  <a:lnTo>
                    <a:pt x="4038" y="4287"/>
                  </a:lnTo>
                  <a:lnTo>
                    <a:pt x="4044" y="4300"/>
                  </a:lnTo>
                  <a:lnTo>
                    <a:pt x="4060" y="4306"/>
                  </a:lnTo>
                  <a:lnTo>
                    <a:pt x="4078" y="4312"/>
                  </a:lnTo>
                  <a:lnTo>
                    <a:pt x="4094" y="4318"/>
                  </a:lnTo>
                  <a:lnTo>
                    <a:pt x="4113" y="4318"/>
                  </a:lnTo>
                  <a:lnTo>
                    <a:pt x="4131" y="4315"/>
                  </a:lnTo>
                  <a:lnTo>
                    <a:pt x="4147" y="4318"/>
                  </a:lnTo>
                  <a:lnTo>
                    <a:pt x="4156" y="4322"/>
                  </a:lnTo>
                  <a:lnTo>
                    <a:pt x="4166" y="4328"/>
                  </a:lnTo>
                  <a:lnTo>
                    <a:pt x="4178" y="4337"/>
                  </a:lnTo>
                  <a:lnTo>
                    <a:pt x="4188" y="4347"/>
                  </a:lnTo>
                  <a:lnTo>
                    <a:pt x="4194" y="4353"/>
                  </a:lnTo>
                  <a:lnTo>
                    <a:pt x="4194" y="4362"/>
                  </a:lnTo>
                  <a:lnTo>
                    <a:pt x="4194" y="4371"/>
                  </a:lnTo>
                  <a:lnTo>
                    <a:pt x="4194" y="4384"/>
                  </a:lnTo>
                  <a:lnTo>
                    <a:pt x="4191" y="4393"/>
                  </a:lnTo>
                  <a:lnTo>
                    <a:pt x="4188" y="4403"/>
                  </a:lnTo>
                  <a:lnTo>
                    <a:pt x="4184" y="4406"/>
                  </a:lnTo>
                  <a:lnTo>
                    <a:pt x="4178" y="4412"/>
                  </a:lnTo>
                  <a:lnTo>
                    <a:pt x="4172" y="4418"/>
                  </a:lnTo>
                  <a:lnTo>
                    <a:pt x="4166" y="4425"/>
                  </a:lnTo>
                  <a:lnTo>
                    <a:pt x="4166" y="4431"/>
                  </a:lnTo>
                  <a:lnTo>
                    <a:pt x="4166" y="4443"/>
                  </a:lnTo>
                  <a:lnTo>
                    <a:pt x="4172" y="4462"/>
                  </a:lnTo>
                  <a:lnTo>
                    <a:pt x="4181" y="4478"/>
                  </a:lnTo>
                  <a:lnTo>
                    <a:pt x="4178" y="4490"/>
                  </a:lnTo>
                  <a:lnTo>
                    <a:pt x="4175" y="4496"/>
                  </a:lnTo>
                  <a:lnTo>
                    <a:pt x="4169" y="4500"/>
                  </a:lnTo>
                  <a:lnTo>
                    <a:pt x="4159" y="4500"/>
                  </a:lnTo>
                  <a:lnTo>
                    <a:pt x="4150" y="4503"/>
                  </a:lnTo>
                  <a:lnTo>
                    <a:pt x="4144" y="4506"/>
                  </a:lnTo>
                  <a:lnTo>
                    <a:pt x="4138" y="4509"/>
                  </a:lnTo>
                  <a:lnTo>
                    <a:pt x="4134" y="4515"/>
                  </a:lnTo>
                  <a:lnTo>
                    <a:pt x="4134" y="4521"/>
                  </a:lnTo>
                  <a:lnTo>
                    <a:pt x="4134" y="4531"/>
                  </a:lnTo>
                  <a:lnTo>
                    <a:pt x="4134" y="4537"/>
                  </a:lnTo>
                  <a:lnTo>
                    <a:pt x="4131" y="4546"/>
                  </a:lnTo>
                  <a:lnTo>
                    <a:pt x="4131" y="4553"/>
                  </a:lnTo>
                  <a:lnTo>
                    <a:pt x="4116" y="4568"/>
                  </a:lnTo>
                  <a:lnTo>
                    <a:pt x="4097" y="4584"/>
                  </a:lnTo>
                  <a:lnTo>
                    <a:pt x="4078" y="4593"/>
                  </a:lnTo>
                  <a:lnTo>
                    <a:pt x="4072" y="4590"/>
                  </a:lnTo>
                  <a:lnTo>
                    <a:pt x="4066" y="4587"/>
                  </a:lnTo>
                  <a:lnTo>
                    <a:pt x="4056" y="4584"/>
                  </a:lnTo>
                  <a:lnTo>
                    <a:pt x="4050" y="4578"/>
                  </a:lnTo>
                  <a:lnTo>
                    <a:pt x="4044" y="4571"/>
                  </a:lnTo>
                  <a:lnTo>
                    <a:pt x="4038" y="4568"/>
                  </a:lnTo>
                  <a:lnTo>
                    <a:pt x="4028" y="4565"/>
                  </a:lnTo>
                  <a:lnTo>
                    <a:pt x="4022" y="4559"/>
                  </a:lnTo>
                  <a:lnTo>
                    <a:pt x="4013" y="4553"/>
                  </a:lnTo>
                  <a:lnTo>
                    <a:pt x="4003" y="4549"/>
                  </a:lnTo>
                  <a:lnTo>
                    <a:pt x="3981" y="4546"/>
                  </a:lnTo>
                  <a:lnTo>
                    <a:pt x="3950" y="4546"/>
                  </a:lnTo>
                  <a:lnTo>
                    <a:pt x="3928" y="4549"/>
                  </a:lnTo>
                  <a:lnTo>
                    <a:pt x="3910" y="4562"/>
                  </a:lnTo>
                  <a:lnTo>
                    <a:pt x="3888" y="4578"/>
                  </a:lnTo>
                  <a:lnTo>
                    <a:pt x="3869" y="4593"/>
                  </a:lnTo>
                  <a:lnTo>
                    <a:pt x="3847" y="4596"/>
                  </a:lnTo>
                  <a:lnTo>
                    <a:pt x="3822" y="4599"/>
                  </a:lnTo>
                  <a:lnTo>
                    <a:pt x="3794" y="4603"/>
                  </a:lnTo>
                  <a:lnTo>
                    <a:pt x="3772" y="4606"/>
                  </a:lnTo>
                  <a:lnTo>
                    <a:pt x="3747" y="4615"/>
                  </a:lnTo>
                  <a:lnTo>
                    <a:pt x="3722" y="4624"/>
                  </a:lnTo>
                  <a:lnTo>
                    <a:pt x="3700" y="4634"/>
                  </a:lnTo>
                  <a:lnTo>
                    <a:pt x="3691" y="4640"/>
                  </a:lnTo>
                  <a:lnTo>
                    <a:pt x="3685" y="4646"/>
                  </a:lnTo>
                  <a:lnTo>
                    <a:pt x="3675" y="4653"/>
                  </a:lnTo>
                  <a:lnTo>
                    <a:pt x="3666" y="4662"/>
                  </a:lnTo>
                  <a:lnTo>
                    <a:pt x="3663" y="4668"/>
                  </a:lnTo>
                  <a:lnTo>
                    <a:pt x="3660" y="4687"/>
                  </a:lnTo>
                  <a:lnTo>
                    <a:pt x="3663" y="4712"/>
                  </a:lnTo>
                  <a:lnTo>
                    <a:pt x="3663" y="4731"/>
                  </a:lnTo>
                  <a:lnTo>
                    <a:pt x="3663" y="4740"/>
                  </a:lnTo>
                  <a:lnTo>
                    <a:pt x="3660" y="4749"/>
                  </a:lnTo>
                  <a:lnTo>
                    <a:pt x="3660" y="4759"/>
                  </a:lnTo>
                  <a:lnTo>
                    <a:pt x="3657" y="4768"/>
                  </a:lnTo>
                  <a:lnTo>
                    <a:pt x="3654" y="4777"/>
                  </a:lnTo>
                  <a:lnTo>
                    <a:pt x="3647" y="4781"/>
                  </a:lnTo>
                  <a:lnTo>
                    <a:pt x="3629" y="4787"/>
                  </a:lnTo>
                  <a:lnTo>
                    <a:pt x="3607" y="4787"/>
                  </a:lnTo>
                  <a:lnTo>
                    <a:pt x="3588" y="4781"/>
                  </a:lnTo>
                  <a:lnTo>
                    <a:pt x="3569" y="4771"/>
                  </a:lnTo>
                  <a:lnTo>
                    <a:pt x="3551" y="4752"/>
                  </a:lnTo>
                  <a:lnTo>
                    <a:pt x="3532" y="4740"/>
                  </a:lnTo>
                  <a:lnTo>
                    <a:pt x="3522" y="4734"/>
                  </a:lnTo>
                  <a:lnTo>
                    <a:pt x="3513" y="4727"/>
                  </a:lnTo>
                  <a:lnTo>
                    <a:pt x="3501" y="4724"/>
                  </a:lnTo>
                  <a:lnTo>
                    <a:pt x="3491" y="4721"/>
                  </a:lnTo>
                  <a:lnTo>
                    <a:pt x="3466" y="4715"/>
                  </a:lnTo>
                  <a:lnTo>
                    <a:pt x="3438" y="4709"/>
                  </a:lnTo>
                  <a:lnTo>
                    <a:pt x="3413" y="4706"/>
                  </a:lnTo>
                  <a:lnTo>
                    <a:pt x="3391" y="4709"/>
                  </a:lnTo>
                  <a:lnTo>
                    <a:pt x="3366" y="4715"/>
                  </a:lnTo>
                  <a:lnTo>
                    <a:pt x="3348" y="4724"/>
                  </a:lnTo>
                  <a:lnTo>
                    <a:pt x="3341" y="4734"/>
                  </a:lnTo>
                  <a:lnTo>
                    <a:pt x="3335" y="4743"/>
                  </a:lnTo>
                  <a:lnTo>
                    <a:pt x="3329" y="4752"/>
                  </a:lnTo>
                  <a:lnTo>
                    <a:pt x="3326" y="4762"/>
                  </a:lnTo>
                  <a:lnTo>
                    <a:pt x="3323" y="4771"/>
                  </a:lnTo>
                  <a:lnTo>
                    <a:pt x="3319" y="4790"/>
                  </a:lnTo>
                  <a:lnTo>
                    <a:pt x="3319" y="4812"/>
                  </a:lnTo>
                  <a:lnTo>
                    <a:pt x="3323" y="4831"/>
                  </a:lnTo>
                  <a:lnTo>
                    <a:pt x="3332" y="4852"/>
                  </a:lnTo>
                  <a:lnTo>
                    <a:pt x="3344" y="4874"/>
                  </a:lnTo>
                  <a:lnTo>
                    <a:pt x="3354" y="4896"/>
                  </a:lnTo>
                  <a:lnTo>
                    <a:pt x="3348" y="4915"/>
                  </a:lnTo>
                  <a:lnTo>
                    <a:pt x="3341" y="4934"/>
                  </a:lnTo>
                  <a:lnTo>
                    <a:pt x="3332" y="4952"/>
                  </a:lnTo>
                  <a:lnTo>
                    <a:pt x="3329" y="4974"/>
                  </a:lnTo>
                  <a:lnTo>
                    <a:pt x="3329" y="5002"/>
                  </a:lnTo>
                  <a:lnTo>
                    <a:pt x="3323" y="5024"/>
                  </a:lnTo>
                  <a:lnTo>
                    <a:pt x="3316" y="5030"/>
                  </a:lnTo>
                  <a:lnTo>
                    <a:pt x="3310" y="5040"/>
                  </a:lnTo>
                  <a:lnTo>
                    <a:pt x="3304" y="5046"/>
                  </a:lnTo>
                  <a:lnTo>
                    <a:pt x="3298" y="5052"/>
                  </a:lnTo>
                  <a:lnTo>
                    <a:pt x="3288" y="5058"/>
                  </a:lnTo>
                  <a:lnTo>
                    <a:pt x="3282" y="5058"/>
                  </a:lnTo>
                  <a:lnTo>
                    <a:pt x="3273" y="5062"/>
                  </a:lnTo>
                  <a:lnTo>
                    <a:pt x="3260" y="5058"/>
                  </a:lnTo>
                  <a:lnTo>
                    <a:pt x="3251" y="5058"/>
                  </a:lnTo>
                  <a:lnTo>
                    <a:pt x="3244" y="5058"/>
                  </a:lnTo>
                  <a:lnTo>
                    <a:pt x="3223" y="5052"/>
                  </a:lnTo>
                  <a:lnTo>
                    <a:pt x="3198" y="5040"/>
                  </a:lnTo>
                  <a:lnTo>
                    <a:pt x="3176" y="5027"/>
                  </a:lnTo>
                  <a:lnTo>
                    <a:pt x="3160" y="5015"/>
                  </a:lnTo>
                  <a:lnTo>
                    <a:pt x="3157" y="4996"/>
                  </a:lnTo>
                  <a:lnTo>
                    <a:pt x="3157" y="4977"/>
                  </a:lnTo>
                  <a:lnTo>
                    <a:pt x="3160" y="4959"/>
                  </a:lnTo>
                  <a:lnTo>
                    <a:pt x="3166" y="4952"/>
                  </a:lnTo>
                  <a:lnTo>
                    <a:pt x="3176" y="4943"/>
                  </a:lnTo>
                  <a:lnTo>
                    <a:pt x="3185" y="4934"/>
                  </a:lnTo>
                  <a:lnTo>
                    <a:pt x="3195" y="4927"/>
                  </a:lnTo>
                  <a:lnTo>
                    <a:pt x="3201" y="4918"/>
                  </a:lnTo>
                  <a:lnTo>
                    <a:pt x="3207" y="4912"/>
                  </a:lnTo>
                  <a:lnTo>
                    <a:pt x="3216" y="4905"/>
                  </a:lnTo>
                  <a:lnTo>
                    <a:pt x="3226" y="4896"/>
                  </a:lnTo>
                  <a:lnTo>
                    <a:pt x="3232" y="4887"/>
                  </a:lnTo>
                  <a:lnTo>
                    <a:pt x="3238" y="4880"/>
                  </a:lnTo>
                  <a:lnTo>
                    <a:pt x="3241" y="4862"/>
                  </a:lnTo>
                  <a:lnTo>
                    <a:pt x="3244" y="4840"/>
                  </a:lnTo>
                  <a:lnTo>
                    <a:pt x="3244" y="4818"/>
                  </a:lnTo>
                  <a:lnTo>
                    <a:pt x="3238" y="4799"/>
                  </a:lnTo>
                  <a:lnTo>
                    <a:pt x="3219" y="4790"/>
                  </a:lnTo>
                  <a:lnTo>
                    <a:pt x="3195" y="4784"/>
                  </a:lnTo>
                  <a:lnTo>
                    <a:pt x="3170" y="4781"/>
                  </a:lnTo>
                  <a:lnTo>
                    <a:pt x="3151" y="4784"/>
                  </a:lnTo>
                  <a:lnTo>
                    <a:pt x="3126" y="4790"/>
                  </a:lnTo>
                  <a:lnTo>
                    <a:pt x="3101" y="4796"/>
                  </a:lnTo>
                  <a:lnTo>
                    <a:pt x="3079" y="4799"/>
                  </a:lnTo>
                  <a:lnTo>
                    <a:pt x="3070" y="4796"/>
                  </a:lnTo>
                  <a:lnTo>
                    <a:pt x="3060" y="4793"/>
                  </a:lnTo>
                  <a:lnTo>
                    <a:pt x="3048" y="4790"/>
                  </a:lnTo>
                  <a:lnTo>
                    <a:pt x="3038" y="4784"/>
                  </a:lnTo>
                  <a:lnTo>
                    <a:pt x="3029" y="4781"/>
                  </a:lnTo>
                  <a:lnTo>
                    <a:pt x="3013" y="4774"/>
                  </a:lnTo>
                  <a:lnTo>
                    <a:pt x="2992" y="4765"/>
                  </a:lnTo>
                  <a:lnTo>
                    <a:pt x="2970" y="4762"/>
                  </a:lnTo>
                  <a:lnTo>
                    <a:pt x="2963" y="4765"/>
                  </a:lnTo>
                  <a:lnTo>
                    <a:pt x="2951" y="4768"/>
                  </a:lnTo>
                  <a:lnTo>
                    <a:pt x="2942" y="4774"/>
                  </a:lnTo>
                  <a:lnTo>
                    <a:pt x="2932" y="4781"/>
                  </a:lnTo>
                  <a:lnTo>
                    <a:pt x="2923" y="4784"/>
                  </a:lnTo>
                  <a:lnTo>
                    <a:pt x="2913" y="4787"/>
                  </a:lnTo>
                  <a:lnTo>
                    <a:pt x="2901" y="4793"/>
                  </a:lnTo>
                  <a:lnTo>
                    <a:pt x="2888" y="4796"/>
                  </a:lnTo>
                  <a:lnTo>
                    <a:pt x="2882" y="4802"/>
                  </a:lnTo>
                  <a:lnTo>
                    <a:pt x="2867" y="4821"/>
                  </a:lnTo>
                  <a:lnTo>
                    <a:pt x="2851" y="4849"/>
                  </a:lnTo>
                  <a:lnTo>
                    <a:pt x="2839" y="4871"/>
                  </a:lnTo>
                  <a:lnTo>
                    <a:pt x="2832" y="4877"/>
                  </a:lnTo>
                  <a:lnTo>
                    <a:pt x="2826" y="4884"/>
                  </a:lnTo>
                  <a:lnTo>
                    <a:pt x="2817" y="4893"/>
                  </a:lnTo>
                  <a:lnTo>
                    <a:pt x="2807" y="4899"/>
                  </a:lnTo>
                  <a:lnTo>
                    <a:pt x="2798" y="4902"/>
                  </a:lnTo>
                  <a:lnTo>
                    <a:pt x="2782" y="4899"/>
                  </a:lnTo>
                  <a:lnTo>
                    <a:pt x="2764" y="4893"/>
                  </a:lnTo>
                  <a:lnTo>
                    <a:pt x="2745" y="4884"/>
                  </a:lnTo>
                  <a:lnTo>
                    <a:pt x="2726" y="4877"/>
                  </a:lnTo>
                  <a:lnTo>
                    <a:pt x="2720" y="4874"/>
                  </a:lnTo>
                  <a:lnTo>
                    <a:pt x="2710" y="4874"/>
                  </a:lnTo>
                  <a:lnTo>
                    <a:pt x="2701" y="4871"/>
                  </a:lnTo>
                  <a:lnTo>
                    <a:pt x="2692" y="4871"/>
                  </a:lnTo>
                  <a:lnTo>
                    <a:pt x="2682" y="4868"/>
                  </a:lnTo>
                  <a:lnTo>
                    <a:pt x="2679" y="4862"/>
                  </a:lnTo>
                  <a:lnTo>
                    <a:pt x="2676" y="4855"/>
                  </a:lnTo>
                  <a:lnTo>
                    <a:pt x="2676" y="4846"/>
                  </a:lnTo>
                  <a:lnTo>
                    <a:pt x="2676" y="4837"/>
                  </a:lnTo>
                  <a:lnTo>
                    <a:pt x="2676" y="4831"/>
                  </a:lnTo>
                  <a:lnTo>
                    <a:pt x="2679" y="4821"/>
                  </a:lnTo>
                  <a:lnTo>
                    <a:pt x="2679" y="4815"/>
                  </a:lnTo>
                  <a:lnTo>
                    <a:pt x="2679" y="4806"/>
                  </a:lnTo>
                  <a:lnTo>
                    <a:pt x="2679" y="4793"/>
                  </a:lnTo>
                  <a:lnTo>
                    <a:pt x="2679" y="4784"/>
                  </a:lnTo>
                  <a:lnTo>
                    <a:pt x="2679" y="4777"/>
                  </a:lnTo>
                  <a:lnTo>
                    <a:pt x="2673" y="4768"/>
                  </a:lnTo>
                  <a:lnTo>
                    <a:pt x="2667" y="4759"/>
                  </a:lnTo>
                  <a:lnTo>
                    <a:pt x="2657" y="4749"/>
                  </a:lnTo>
                  <a:lnTo>
                    <a:pt x="2648" y="4740"/>
                  </a:lnTo>
                  <a:lnTo>
                    <a:pt x="2642" y="4734"/>
                  </a:lnTo>
                  <a:lnTo>
                    <a:pt x="2636" y="4727"/>
                  </a:lnTo>
                  <a:lnTo>
                    <a:pt x="2626" y="4718"/>
                  </a:lnTo>
                  <a:lnTo>
                    <a:pt x="2617" y="4709"/>
                  </a:lnTo>
                  <a:lnTo>
                    <a:pt x="2611" y="4699"/>
                  </a:lnTo>
                  <a:lnTo>
                    <a:pt x="2601" y="4696"/>
                  </a:lnTo>
                  <a:lnTo>
                    <a:pt x="2582" y="4693"/>
                  </a:lnTo>
                  <a:lnTo>
                    <a:pt x="2554" y="4693"/>
                  </a:lnTo>
                  <a:lnTo>
                    <a:pt x="2529" y="4693"/>
                  </a:lnTo>
                  <a:lnTo>
                    <a:pt x="2511" y="4690"/>
                  </a:lnTo>
                  <a:lnTo>
                    <a:pt x="2504" y="4678"/>
                  </a:lnTo>
                  <a:lnTo>
                    <a:pt x="2498" y="4662"/>
                  </a:lnTo>
                  <a:lnTo>
                    <a:pt x="2492" y="4643"/>
                  </a:lnTo>
                  <a:lnTo>
                    <a:pt x="2486" y="4631"/>
                  </a:lnTo>
                  <a:lnTo>
                    <a:pt x="2479" y="4624"/>
                  </a:lnTo>
                  <a:lnTo>
                    <a:pt x="2470" y="4621"/>
                  </a:lnTo>
                  <a:lnTo>
                    <a:pt x="2458" y="4618"/>
                  </a:lnTo>
                  <a:lnTo>
                    <a:pt x="2448" y="4615"/>
                  </a:lnTo>
                  <a:lnTo>
                    <a:pt x="2439" y="4612"/>
                  </a:lnTo>
                  <a:lnTo>
                    <a:pt x="2420" y="4612"/>
                  </a:lnTo>
                  <a:lnTo>
                    <a:pt x="2398" y="4615"/>
                  </a:lnTo>
                  <a:lnTo>
                    <a:pt x="2376" y="4618"/>
                  </a:lnTo>
                  <a:lnTo>
                    <a:pt x="2361" y="4621"/>
                  </a:lnTo>
                  <a:lnTo>
                    <a:pt x="2339" y="4624"/>
                  </a:lnTo>
                  <a:lnTo>
                    <a:pt x="2317" y="4628"/>
                  </a:lnTo>
                  <a:lnTo>
                    <a:pt x="2301" y="4628"/>
                  </a:lnTo>
                  <a:lnTo>
                    <a:pt x="2295" y="4621"/>
                  </a:lnTo>
                  <a:lnTo>
                    <a:pt x="2286" y="4612"/>
                  </a:lnTo>
                  <a:lnTo>
                    <a:pt x="2280" y="4599"/>
                  </a:lnTo>
                  <a:lnTo>
                    <a:pt x="2270" y="4590"/>
                  </a:lnTo>
                  <a:lnTo>
                    <a:pt x="2264" y="4581"/>
                  </a:lnTo>
                  <a:lnTo>
                    <a:pt x="2245" y="4571"/>
                  </a:lnTo>
                  <a:lnTo>
                    <a:pt x="2223" y="4559"/>
                  </a:lnTo>
                  <a:lnTo>
                    <a:pt x="2198" y="4549"/>
                  </a:lnTo>
                  <a:lnTo>
                    <a:pt x="2177" y="4546"/>
                  </a:lnTo>
                  <a:lnTo>
                    <a:pt x="2158" y="4549"/>
                  </a:lnTo>
                  <a:lnTo>
                    <a:pt x="2136" y="4556"/>
                  </a:lnTo>
                  <a:lnTo>
                    <a:pt x="2111" y="4562"/>
                  </a:lnTo>
                  <a:lnTo>
                    <a:pt x="2092" y="4568"/>
                  </a:lnTo>
                  <a:lnTo>
                    <a:pt x="2061" y="4565"/>
                  </a:lnTo>
                  <a:lnTo>
                    <a:pt x="2024" y="4559"/>
                  </a:lnTo>
                  <a:lnTo>
                    <a:pt x="1992" y="4553"/>
                  </a:lnTo>
                  <a:lnTo>
                    <a:pt x="1974" y="4549"/>
                  </a:lnTo>
                  <a:lnTo>
                    <a:pt x="1949" y="4540"/>
                  </a:lnTo>
                  <a:lnTo>
                    <a:pt x="1930" y="4531"/>
                  </a:lnTo>
                  <a:lnTo>
                    <a:pt x="1914" y="4509"/>
                  </a:lnTo>
                  <a:lnTo>
                    <a:pt x="1902" y="4481"/>
                  </a:lnTo>
                  <a:lnTo>
                    <a:pt x="1895" y="4459"/>
                  </a:lnTo>
                  <a:lnTo>
                    <a:pt x="1892" y="4437"/>
                  </a:lnTo>
                  <a:lnTo>
                    <a:pt x="1892" y="4409"/>
                  </a:lnTo>
                  <a:lnTo>
                    <a:pt x="1895" y="4387"/>
                  </a:lnTo>
                  <a:lnTo>
                    <a:pt x="1899" y="4371"/>
                  </a:lnTo>
                  <a:lnTo>
                    <a:pt x="1908" y="4350"/>
                  </a:lnTo>
                  <a:lnTo>
                    <a:pt x="1914" y="4331"/>
                  </a:lnTo>
                  <a:lnTo>
                    <a:pt x="1917" y="4312"/>
                  </a:lnTo>
                  <a:lnTo>
                    <a:pt x="1914" y="4303"/>
                  </a:lnTo>
                  <a:lnTo>
                    <a:pt x="1911" y="4290"/>
                  </a:lnTo>
                  <a:lnTo>
                    <a:pt x="1905" y="4281"/>
                  </a:lnTo>
                  <a:lnTo>
                    <a:pt x="1899" y="4268"/>
                  </a:lnTo>
                  <a:lnTo>
                    <a:pt x="1895" y="4262"/>
                  </a:lnTo>
                  <a:lnTo>
                    <a:pt x="1886" y="4256"/>
                  </a:lnTo>
                  <a:lnTo>
                    <a:pt x="1877" y="4250"/>
                  </a:lnTo>
                  <a:lnTo>
                    <a:pt x="1867" y="4243"/>
                  </a:lnTo>
                  <a:lnTo>
                    <a:pt x="1858" y="4237"/>
                  </a:lnTo>
                  <a:lnTo>
                    <a:pt x="1849" y="4234"/>
                  </a:lnTo>
                  <a:lnTo>
                    <a:pt x="1833" y="4234"/>
                  </a:lnTo>
                  <a:lnTo>
                    <a:pt x="1814" y="4234"/>
                  </a:lnTo>
                  <a:lnTo>
                    <a:pt x="1796" y="4234"/>
                  </a:lnTo>
                  <a:lnTo>
                    <a:pt x="1777" y="4240"/>
                  </a:lnTo>
                  <a:lnTo>
                    <a:pt x="1755" y="4247"/>
                  </a:lnTo>
                  <a:lnTo>
                    <a:pt x="1739" y="4256"/>
                  </a:lnTo>
                  <a:lnTo>
                    <a:pt x="1730" y="4259"/>
                  </a:lnTo>
                  <a:lnTo>
                    <a:pt x="1724" y="4265"/>
                  </a:lnTo>
                  <a:lnTo>
                    <a:pt x="1714" y="4272"/>
                  </a:lnTo>
                  <a:lnTo>
                    <a:pt x="1705" y="4278"/>
                  </a:lnTo>
                  <a:lnTo>
                    <a:pt x="1696" y="4281"/>
                  </a:lnTo>
                  <a:lnTo>
                    <a:pt x="1674" y="4281"/>
                  </a:lnTo>
                  <a:lnTo>
                    <a:pt x="1646" y="4278"/>
                  </a:lnTo>
                  <a:lnTo>
                    <a:pt x="1624" y="4275"/>
                  </a:lnTo>
                  <a:lnTo>
                    <a:pt x="1608" y="4278"/>
                  </a:lnTo>
                  <a:lnTo>
                    <a:pt x="1586" y="4284"/>
                  </a:lnTo>
                  <a:lnTo>
                    <a:pt x="1571" y="4290"/>
                  </a:lnTo>
                  <a:lnTo>
                    <a:pt x="1543" y="4290"/>
                  </a:lnTo>
                  <a:lnTo>
                    <a:pt x="1511" y="4287"/>
                  </a:lnTo>
                  <a:lnTo>
                    <a:pt x="1483" y="4287"/>
                  </a:lnTo>
                  <a:lnTo>
                    <a:pt x="1468" y="4287"/>
                  </a:lnTo>
                  <a:lnTo>
                    <a:pt x="1446" y="4287"/>
                  </a:lnTo>
                  <a:lnTo>
                    <a:pt x="1427" y="4284"/>
                  </a:lnTo>
                  <a:lnTo>
                    <a:pt x="1405" y="4275"/>
                  </a:lnTo>
                  <a:lnTo>
                    <a:pt x="1380" y="4259"/>
                  </a:lnTo>
                  <a:lnTo>
                    <a:pt x="1361" y="4243"/>
                  </a:lnTo>
                  <a:lnTo>
                    <a:pt x="1346" y="4225"/>
                  </a:lnTo>
                  <a:lnTo>
                    <a:pt x="1333" y="4203"/>
                  </a:lnTo>
                  <a:lnTo>
                    <a:pt x="1324" y="4184"/>
                  </a:lnTo>
                  <a:lnTo>
                    <a:pt x="1321" y="4169"/>
                  </a:lnTo>
                  <a:lnTo>
                    <a:pt x="1321" y="4150"/>
                  </a:lnTo>
                  <a:lnTo>
                    <a:pt x="1321" y="4131"/>
                  </a:lnTo>
                  <a:lnTo>
                    <a:pt x="1324" y="4119"/>
                  </a:lnTo>
                  <a:lnTo>
                    <a:pt x="1343" y="4106"/>
                  </a:lnTo>
                  <a:lnTo>
                    <a:pt x="1368" y="4103"/>
                  </a:lnTo>
                  <a:lnTo>
                    <a:pt x="1386" y="4100"/>
                  </a:lnTo>
                  <a:lnTo>
                    <a:pt x="1408" y="4103"/>
                  </a:lnTo>
                  <a:lnTo>
                    <a:pt x="1433" y="4109"/>
                  </a:lnTo>
                  <a:lnTo>
                    <a:pt x="1458" y="4119"/>
                  </a:lnTo>
                  <a:lnTo>
                    <a:pt x="1480" y="4122"/>
                  </a:lnTo>
                  <a:lnTo>
                    <a:pt x="1499" y="4115"/>
                  </a:lnTo>
                  <a:lnTo>
                    <a:pt x="1518" y="4103"/>
                  </a:lnTo>
                  <a:lnTo>
                    <a:pt x="1536" y="4097"/>
                  </a:lnTo>
                  <a:lnTo>
                    <a:pt x="1561" y="4084"/>
                  </a:lnTo>
                  <a:lnTo>
                    <a:pt x="1589" y="4072"/>
                  </a:lnTo>
                  <a:lnTo>
                    <a:pt x="1611" y="4059"/>
                  </a:lnTo>
                  <a:lnTo>
                    <a:pt x="1618" y="4053"/>
                  </a:lnTo>
                  <a:lnTo>
                    <a:pt x="1621" y="4041"/>
                  </a:lnTo>
                  <a:lnTo>
                    <a:pt x="1627" y="4031"/>
                  </a:lnTo>
                  <a:lnTo>
                    <a:pt x="1630" y="4019"/>
                  </a:lnTo>
                  <a:lnTo>
                    <a:pt x="1633" y="4012"/>
                  </a:lnTo>
                  <a:lnTo>
                    <a:pt x="1636" y="3987"/>
                  </a:lnTo>
                  <a:lnTo>
                    <a:pt x="1633" y="3962"/>
                  </a:lnTo>
                  <a:lnTo>
                    <a:pt x="1630" y="3937"/>
                  </a:lnTo>
                  <a:lnTo>
                    <a:pt x="1618" y="3919"/>
                  </a:lnTo>
                  <a:lnTo>
                    <a:pt x="1605" y="3916"/>
                  </a:lnTo>
                  <a:lnTo>
                    <a:pt x="1586" y="3919"/>
                  </a:lnTo>
                  <a:lnTo>
                    <a:pt x="1571" y="3922"/>
                  </a:lnTo>
                  <a:lnTo>
                    <a:pt x="1555" y="3925"/>
                  </a:lnTo>
                  <a:lnTo>
                    <a:pt x="1533" y="3922"/>
                  </a:lnTo>
                  <a:lnTo>
                    <a:pt x="1505" y="3919"/>
                  </a:lnTo>
                  <a:lnTo>
                    <a:pt x="1480" y="3916"/>
                  </a:lnTo>
                  <a:lnTo>
                    <a:pt x="1458" y="3912"/>
                  </a:lnTo>
                  <a:lnTo>
                    <a:pt x="1449" y="3916"/>
                  </a:lnTo>
                  <a:lnTo>
                    <a:pt x="1436" y="3919"/>
                  </a:lnTo>
                  <a:lnTo>
                    <a:pt x="1427" y="3922"/>
                  </a:lnTo>
                  <a:lnTo>
                    <a:pt x="1415" y="3925"/>
                  </a:lnTo>
                  <a:lnTo>
                    <a:pt x="1408" y="3928"/>
                  </a:lnTo>
                  <a:lnTo>
                    <a:pt x="1399" y="3931"/>
                  </a:lnTo>
                  <a:lnTo>
                    <a:pt x="1390" y="3934"/>
                  </a:lnTo>
                  <a:lnTo>
                    <a:pt x="1377" y="3941"/>
                  </a:lnTo>
                  <a:lnTo>
                    <a:pt x="1368" y="3944"/>
                  </a:lnTo>
                  <a:lnTo>
                    <a:pt x="1358" y="3947"/>
                  </a:lnTo>
                  <a:lnTo>
                    <a:pt x="1343" y="3947"/>
                  </a:lnTo>
                  <a:lnTo>
                    <a:pt x="1321" y="3947"/>
                  </a:lnTo>
                  <a:lnTo>
                    <a:pt x="1302" y="3947"/>
                  </a:lnTo>
                  <a:lnTo>
                    <a:pt x="1274" y="3944"/>
                  </a:lnTo>
                  <a:lnTo>
                    <a:pt x="1240" y="3937"/>
                  </a:lnTo>
                  <a:lnTo>
                    <a:pt x="1205" y="3934"/>
                  </a:lnTo>
                  <a:lnTo>
                    <a:pt x="1174" y="3931"/>
                  </a:lnTo>
                  <a:lnTo>
                    <a:pt x="1152" y="3931"/>
                  </a:lnTo>
                  <a:lnTo>
                    <a:pt x="1127" y="3931"/>
                  </a:lnTo>
                  <a:lnTo>
                    <a:pt x="1105" y="3934"/>
                  </a:lnTo>
                  <a:lnTo>
                    <a:pt x="1096" y="3937"/>
                  </a:lnTo>
                  <a:lnTo>
                    <a:pt x="1087" y="3941"/>
                  </a:lnTo>
                  <a:lnTo>
                    <a:pt x="1074" y="3947"/>
                  </a:lnTo>
                  <a:lnTo>
                    <a:pt x="1065" y="3953"/>
                  </a:lnTo>
                  <a:lnTo>
                    <a:pt x="1055" y="3956"/>
                  </a:lnTo>
                  <a:lnTo>
                    <a:pt x="1037" y="3959"/>
                  </a:lnTo>
                  <a:lnTo>
                    <a:pt x="1015" y="3966"/>
                  </a:lnTo>
                  <a:lnTo>
                    <a:pt x="996" y="3972"/>
                  </a:lnTo>
                  <a:lnTo>
                    <a:pt x="968" y="3978"/>
                  </a:lnTo>
                  <a:lnTo>
                    <a:pt x="943" y="3987"/>
                  </a:lnTo>
                  <a:lnTo>
                    <a:pt x="921" y="4003"/>
                  </a:lnTo>
                  <a:lnTo>
                    <a:pt x="899" y="4025"/>
                  </a:lnTo>
                  <a:lnTo>
                    <a:pt x="884" y="4047"/>
                  </a:lnTo>
                  <a:lnTo>
                    <a:pt x="877" y="4065"/>
                  </a:lnTo>
                  <a:lnTo>
                    <a:pt x="871" y="4087"/>
                  </a:lnTo>
                  <a:lnTo>
                    <a:pt x="871" y="4106"/>
                  </a:lnTo>
                  <a:lnTo>
                    <a:pt x="877" y="4115"/>
                  </a:lnTo>
                  <a:lnTo>
                    <a:pt x="884" y="4122"/>
                  </a:lnTo>
                  <a:lnTo>
                    <a:pt x="896" y="4131"/>
                  </a:lnTo>
                  <a:lnTo>
                    <a:pt x="906" y="4137"/>
                  </a:lnTo>
                  <a:lnTo>
                    <a:pt x="915" y="4147"/>
                  </a:lnTo>
                  <a:lnTo>
                    <a:pt x="921" y="4153"/>
                  </a:lnTo>
                  <a:lnTo>
                    <a:pt x="934" y="4165"/>
                  </a:lnTo>
                  <a:lnTo>
                    <a:pt x="946" y="4181"/>
                  </a:lnTo>
                  <a:lnTo>
                    <a:pt x="959" y="4197"/>
                  </a:lnTo>
                  <a:lnTo>
                    <a:pt x="962" y="4212"/>
                  </a:lnTo>
                  <a:lnTo>
                    <a:pt x="962" y="4218"/>
                  </a:lnTo>
                  <a:lnTo>
                    <a:pt x="959" y="4228"/>
                  </a:lnTo>
                  <a:lnTo>
                    <a:pt x="952" y="4234"/>
                  </a:lnTo>
                  <a:lnTo>
                    <a:pt x="946" y="4243"/>
                  </a:lnTo>
                  <a:lnTo>
                    <a:pt x="940" y="4247"/>
                  </a:lnTo>
                  <a:lnTo>
                    <a:pt x="918" y="4256"/>
                  </a:lnTo>
                  <a:lnTo>
                    <a:pt x="887" y="4259"/>
                  </a:lnTo>
                  <a:lnTo>
                    <a:pt x="856" y="4262"/>
                  </a:lnTo>
                  <a:lnTo>
                    <a:pt x="831" y="4262"/>
                  </a:lnTo>
                  <a:lnTo>
                    <a:pt x="790" y="4262"/>
                  </a:lnTo>
                  <a:lnTo>
                    <a:pt x="743" y="4262"/>
                  </a:lnTo>
                  <a:lnTo>
                    <a:pt x="703" y="4259"/>
                  </a:lnTo>
                  <a:lnTo>
                    <a:pt x="681" y="4256"/>
                  </a:lnTo>
                  <a:lnTo>
                    <a:pt x="656" y="4250"/>
                  </a:lnTo>
                  <a:lnTo>
                    <a:pt x="634" y="4247"/>
                  </a:lnTo>
                  <a:lnTo>
                    <a:pt x="621" y="4250"/>
                  </a:lnTo>
                  <a:lnTo>
                    <a:pt x="603" y="4253"/>
                  </a:lnTo>
                  <a:lnTo>
                    <a:pt x="587" y="4253"/>
                  </a:lnTo>
                  <a:lnTo>
                    <a:pt x="575" y="4250"/>
                  </a:lnTo>
                  <a:lnTo>
                    <a:pt x="568" y="4240"/>
                  </a:lnTo>
                  <a:lnTo>
                    <a:pt x="568" y="4222"/>
                  </a:lnTo>
                  <a:lnTo>
                    <a:pt x="568" y="4206"/>
                  </a:lnTo>
                  <a:lnTo>
                    <a:pt x="575" y="4190"/>
                  </a:lnTo>
                  <a:lnTo>
                    <a:pt x="578" y="4184"/>
                  </a:lnTo>
                  <a:lnTo>
                    <a:pt x="587" y="4175"/>
                  </a:lnTo>
                  <a:lnTo>
                    <a:pt x="593" y="4169"/>
                  </a:lnTo>
                  <a:lnTo>
                    <a:pt x="603" y="4159"/>
                  </a:lnTo>
                  <a:lnTo>
                    <a:pt x="606" y="4153"/>
                  </a:lnTo>
                  <a:lnTo>
                    <a:pt x="606" y="4131"/>
                  </a:lnTo>
                  <a:lnTo>
                    <a:pt x="596" y="4103"/>
                  </a:lnTo>
                  <a:lnTo>
                    <a:pt x="587" y="4078"/>
                  </a:lnTo>
                  <a:lnTo>
                    <a:pt x="575" y="4059"/>
                  </a:lnTo>
                  <a:lnTo>
                    <a:pt x="556" y="4047"/>
                  </a:lnTo>
                  <a:lnTo>
                    <a:pt x="534" y="4041"/>
                  </a:lnTo>
                  <a:lnTo>
                    <a:pt x="512" y="4034"/>
                  </a:lnTo>
                  <a:lnTo>
                    <a:pt x="487" y="4028"/>
                  </a:lnTo>
                  <a:lnTo>
                    <a:pt x="456" y="4022"/>
                  </a:lnTo>
                  <a:lnTo>
                    <a:pt x="431" y="4019"/>
                  </a:lnTo>
                  <a:lnTo>
                    <a:pt x="406" y="4025"/>
                  </a:lnTo>
                  <a:lnTo>
                    <a:pt x="378" y="4034"/>
                  </a:lnTo>
                  <a:lnTo>
                    <a:pt x="353" y="4041"/>
                  </a:lnTo>
                  <a:lnTo>
                    <a:pt x="331" y="4050"/>
                  </a:lnTo>
                  <a:lnTo>
                    <a:pt x="306" y="4056"/>
                  </a:lnTo>
                  <a:lnTo>
                    <a:pt x="284" y="4062"/>
                  </a:lnTo>
                  <a:lnTo>
                    <a:pt x="244" y="4062"/>
                  </a:lnTo>
                  <a:lnTo>
                    <a:pt x="194" y="4059"/>
                  </a:lnTo>
                  <a:lnTo>
                    <a:pt x="144" y="4053"/>
                  </a:lnTo>
                  <a:lnTo>
                    <a:pt x="103" y="4047"/>
                  </a:lnTo>
                  <a:lnTo>
                    <a:pt x="78" y="4041"/>
                  </a:lnTo>
                  <a:lnTo>
                    <a:pt x="50" y="4028"/>
                  </a:lnTo>
                  <a:lnTo>
                    <a:pt x="25" y="4022"/>
                  </a:lnTo>
                  <a:lnTo>
                    <a:pt x="16" y="4022"/>
                  </a:lnTo>
                  <a:lnTo>
                    <a:pt x="6" y="4022"/>
                  </a:lnTo>
                  <a:lnTo>
                    <a:pt x="3" y="4012"/>
                  </a:lnTo>
                  <a:lnTo>
                    <a:pt x="0" y="4003"/>
                  </a:lnTo>
                  <a:lnTo>
                    <a:pt x="0" y="3997"/>
                  </a:lnTo>
                  <a:lnTo>
                    <a:pt x="0" y="3991"/>
                  </a:lnTo>
                  <a:lnTo>
                    <a:pt x="12" y="3981"/>
                  </a:lnTo>
                  <a:lnTo>
                    <a:pt x="31" y="3975"/>
                  </a:lnTo>
                  <a:lnTo>
                    <a:pt x="53" y="3969"/>
                  </a:lnTo>
                  <a:lnTo>
                    <a:pt x="69" y="3962"/>
                  </a:lnTo>
                  <a:lnTo>
                    <a:pt x="72" y="3956"/>
                  </a:lnTo>
                  <a:lnTo>
                    <a:pt x="72" y="3950"/>
                  </a:lnTo>
                  <a:lnTo>
                    <a:pt x="72" y="3941"/>
                  </a:lnTo>
                  <a:lnTo>
                    <a:pt x="75" y="3931"/>
                  </a:lnTo>
                  <a:lnTo>
                    <a:pt x="75" y="3922"/>
                  </a:lnTo>
                  <a:lnTo>
                    <a:pt x="78" y="3916"/>
                  </a:lnTo>
                  <a:lnTo>
                    <a:pt x="81" y="3912"/>
                  </a:lnTo>
                  <a:lnTo>
                    <a:pt x="84" y="3909"/>
                  </a:lnTo>
                  <a:lnTo>
                    <a:pt x="91" y="3909"/>
                  </a:lnTo>
                  <a:lnTo>
                    <a:pt x="97" y="3912"/>
                  </a:lnTo>
                  <a:lnTo>
                    <a:pt x="100" y="3912"/>
                  </a:lnTo>
                  <a:lnTo>
                    <a:pt x="116" y="3906"/>
                  </a:lnTo>
                  <a:lnTo>
                    <a:pt x="137" y="3900"/>
                  </a:lnTo>
                  <a:lnTo>
                    <a:pt x="153" y="3894"/>
                  </a:lnTo>
                  <a:lnTo>
                    <a:pt x="159" y="3884"/>
                  </a:lnTo>
                  <a:lnTo>
                    <a:pt x="165" y="3875"/>
                  </a:lnTo>
                  <a:lnTo>
                    <a:pt x="175" y="3866"/>
                  </a:lnTo>
                  <a:lnTo>
                    <a:pt x="181" y="3856"/>
                  </a:lnTo>
                  <a:lnTo>
                    <a:pt x="187" y="3850"/>
                  </a:lnTo>
                  <a:lnTo>
                    <a:pt x="197" y="3844"/>
                  </a:lnTo>
                  <a:lnTo>
                    <a:pt x="209" y="3841"/>
                  </a:lnTo>
                  <a:lnTo>
                    <a:pt x="225" y="3834"/>
                  </a:lnTo>
                  <a:lnTo>
                    <a:pt x="234" y="3831"/>
                  </a:lnTo>
                  <a:lnTo>
                    <a:pt x="253" y="3825"/>
                  </a:lnTo>
                  <a:lnTo>
                    <a:pt x="272" y="3819"/>
                  </a:lnTo>
                  <a:lnTo>
                    <a:pt x="287" y="3809"/>
                  </a:lnTo>
                  <a:lnTo>
                    <a:pt x="294" y="3803"/>
                  </a:lnTo>
                  <a:lnTo>
                    <a:pt x="303" y="3797"/>
                  </a:lnTo>
                  <a:lnTo>
                    <a:pt x="309" y="3788"/>
                  </a:lnTo>
                  <a:lnTo>
                    <a:pt x="319" y="3778"/>
                  </a:lnTo>
                  <a:lnTo>
                    <a:pt x="322" y="3772"/>
                  </a:lnTo>
                  <a:lnTo>
                    <a:pt x="331" y="3756"/>
                  </a:lnTo>
                  <a:lnTo>
                    <a:pt x="337" y="3734"/>
                  </a:lnTo>
                  <a:lnTo>
                    <a:pt x="337" y="3719"/>
                  </a:lnTo>
                  <a:lnTo>
                    <a:pt x="334" y="3710"/>
                  </a:lnTo>
                  <a:lnTo>
                    <a:pt x="328" y="3703"/>
                  </a:lnTo>
                  <a:lnTo>
                    <a:pt x="319" y="3694"/>
                  </a:lnTo>
                  <a:lnTo>
                    <a:pt x="312" y="3685"/>
                  </a:lnTo>
                  <a:lnTo>
                    <a:pt x="303" y="3678"/>
                  </a:lnTo>
                  <a:lnTo>
                    <a:pt x="300" y="3669"/>
                  </a:lnTo>
                  <a:lnTo>
                    <a:pt x="306" y="3653"/>
                  </a:lnTo>
                  <a:lnTo>
                    <a:pt x="319" y="3635"/>
                  </a:lnTo>
                  <a:lnTo>
                    <a:pt x="328" y="3616"/>
                  </a:lnTo>
                  <a:lnTo>
                    <a:pt x="331" y="3597"/>
                  </a:lnTo>
                  <a:lnTo>
                    <a:pt x="331" y="3572"/>
                  </a:lnTo>
                  <a:lnTo>
                    <a:pt x="337" y="3553"/>
                  </a:lnTo>
                  <a:lnTo>
                    <a:pt x="353" y="3541"/>
                  </a:lnTo>
                  <a:lnTo>
                    <a:pt x="372" y="3535"/>
                  </a:lnTo>
                  <a:lnTo>
                    <a:pt x="393" y="3525"/>
                  </a:lnTo>
                  <a:lnTo>
                    <a:pt x="406" y="3516"/>
                  </a:lnTo>
                  <a:lnTo>
                    <a:pt x="409" y="3507"/>
                  </a:lnTo>
                  <a:lnTo>
                    <a:pt x="412" y="3500"/>
                  </a:lnTo>
                  <a:lnTo>
                    <a:pt x="415" y="3488"/>
                  </a:lnTo>
                  <a:lnTo>
                    <a:pt x="418" y="3478"/>
                  </a:lnTo>
                  <a:lnTo>
                    <a:pt x="422" y="3469"/>
                  </a:lnTo>
                  <a:lnTo>
                    <a:pt x="425" y="3466"/>
                  </a:lnTo>
                  <a:lnTo>
                    <a:pt x="431" y="3463"/>
                  </a:lnTo>
                  <a:lnTo>
                    <a:pt x="437" y="3463"/>
                  </a:lnTo>
                  <a:lnTo>
                    <a:pt x="443" y="3463"/>
                  </a:lnTo>
                  <a:lnTo>
                    <a:pt x="450" y="3466"/>
                  </a:lnTo>
                  <a:lnTo>
                    <a:pt x="456" y="3466"/>
                  </a:lnTo>
                  <a:lnTo>
                    <a:pt x="472" y="3460"/>
                  </a:lnTo>
                  <a:lnTo>
                    <a:pt x="493" y="3453"/>
                  </a:lnTo>
                  <a:lnTo>
                    <a:pt x="512" y="3450"/>
                  </a:lnTo>
                  <a:lnTo>
                    <a:pt x="531" y="3450"/>
                  </a:lnTo>
                  <a:lnTo>
                    <a:pt x="537" y="3453"/>
                  </a:lnTo>
                  <a:lnTo>
                    <a:pt x="543" y="3457"/>
                  </a:lnTo>
                  <a:lnTo>
                    <a:pt x="553" y="3466"/>
                  </a:lnTo>
                  <a:lnTo>
                    <a:pt x="559" y="3472"/>
                  </a:lnTo>
                  <a:lnTo>
                    <a:pt x="568" y="3475"/>
                  </a:lnTo>
                  <a:lnTo>
                    <a:pt x="575" y="3475"/>
                  </a:lnTo>
                  <a:lnTo>
                    <a:pt x="587" y="3475"/>
                  </a:lnTo>
                  <a:lnTo>
                    <a:pt x="596" y="3475"/>
                  </a:lnTo>
                  <a:lnTo>
                    <a:pt x="606" y="3475"/>
                  </a:lnTo>
                  <a:lnTo>
                    <a:pt x="615" y="3469"/>
                  </a:lnTo>
                  <a:lnTo>
                    <a:pt x="625" y="3457"/>
                  </a:lnTo>
                  <a:lnTo>
                    <a:pt x="631" y="3438"/>
                  </a:lnTo>
                  <a:lnTo>
                    <a:pt x="637" y="3416"/>
                  </a:lnTo>
                  <a:lnTo>
                    <a:pt x="637" y="3397"/>
                  </a:lnTo>
                  <a:lnTo>
                    <a:pt x="634" y="3382"/>
                  </a:lnTo>
                  <a:lnTo>
                    <a:pt x="628" y="3363"/>
                  </a:lnTo>
                  <a:lnTo>
                    <a:pt x="625" y="3344"/>
                  </a:lnTo>
                  <a:lnTo>
                    <a:pt x="631" y="3325"/>
                  </a:lnTo>
                  <a:lnTo>
                    <a:pt x="640" y="3300"/>
                  </a:lnTo>
                  <a:lnTo>
                    <a:pt x="650" y="3275"/>
                  </a:lnTo>
                  <a:lnTo>
                    <a:pt x="659" y="3257"/>
                  </a:lnTo>
                  <a:lnTo>
                    <a:pt x="662" y="3247"/>
                  </a:lnTo>
                  <a:lnTo>
                    <a:pt x="665" y="3238"/>
                  </a:lnTo>
                  <a:lnTo>
                    <a:pt x="668" y="3222"/>
                  </a:lnTo>
                  <a:lnTo>
                    <a:pt x="674" y="3201"/>
                  </a:lnTo>
                  <a:lnTo>
                    <a:pt x="681" y="3182"/>
                  </a:lnTo>
                  <a:lnTo>
                    <a:pt x="681" y="3176"/>
                  </a:lnTo>
                  <a:lnTo>
                    <a:pt x="681" y="3172"/>
                  </a:lnTo>
                  <a:lnTo>
                    <a:pt x="678" y="3166"/>
                  </a:lnTo>
                  <a:lnTo>
                    <a:pt x="674" y="3160"/>
                  </a:lnTo>
                  <a:lnTo>
                    <a:pt x="671" y="3151"/>
                  </a:lnTo>
                  <a:lnTo>
                    <a:pt x="671" y="3144"/>
                  </a:lnTo>
                  <a:lnTo>
                    <a:pt x="668" y="3141"/>
                  </a:lnTo>
                  <a:lnTo>
                    <a:pt x="665" y="3116"/>
                  </a:lnTo>
                  <a:lnTo>
                    <a:pt x="665" y="3085"/>
                  </a:lnTo>
                  <a:lnTo>
                    <a:pt x="668" y="3063"/>
                  </a:lnTo>
                  <a:lnTo>
                    <a:pt x="674" y="3054"/>
                  </a:lnTo>
                  <a:lnTo>
                    <a:pt x="681" y="3044"/>
                  </a:lnTo>
                  <a:lnTo>
                    <a:pt x="687" y="3035"/>
                  </a:lnTo>
                  <a:lnTo>
                    <a:pt x="696" y="3026"/>
                  </a:lnTo>
                  <a:lnTo>
                    <a:pt x="706" y="3023"/>
                  </a:lnTo>
                  <a:lnTo>
                    <a:pt x="718" y="3023"/>
                  </a:lnTo>
                  <a:lnTo>
                    <a:pt x="737" y="3023"/>
                  </a:lnTo>
                  <a:lnTo>
                    <a:pt x="753" y="3026"/>
                  </a:lnTo>
                  <a:lnTo>
                    <a:pt x="762" y="3023"/>
                  </a:lnTo>
                  <a:lnTo>
                    <a:pt x="762" y="3007"/>
                  </a:lnTo>
                  <a:lnTo>
                    <a:pt x="765" y="2985"/>
                  </a:lnTo>
                  <a:lnTo>
                    <a:pt x="771" y="2966"/>
                  </a:lnTo>
                  <a:lnTo>
                    <a:pt x="778" y="2960"/>
                  </a:lnTo>
                  <a:lnTo>
                    <a:pt x="790" y="2957"/>
                  </a:lnTo>
                  <a:lnTo>
                    <a:pt x="799" y="2951"/>
                  </a:lnTo>
                  <a:lnTo>
                    <a:pt x="809" y="2948"/>
                  </a:lnTo>
                  <a:lnTo>
                    <a:pt x="818" y="2944"/>
                  </a:lnTo>
                  <a:lnTo>
                    <a:pt x="837" y="2935"/>
                  </a:lnTo>
                  <a:lnTo>
                    <a:pt x="859" y="2923"/>
                  </a:lnTo>
                  <a:lnTo>
                    <a:pt x="874" y="2910"/>
                  </a:lnTo>
                  <a:lnTo>
                    <a:pt x="884" y="2895"/>
                  </a:lnTo>
                  <a:lnTo>
                    <a:pt x="890" y="2873"/>
                  </a:lnTo>
                  <a:lnTo>
                    <a:pt x="896" y="2857"/>
                  </a:lnTo>
                  <a:lnTo>
                    <a:pt x="902" y="2848"/>
                  </a:lnTo>
                  <a:lnTo>
                    <a:pt x="915" y="2838"/>
                  </a:lnTo>
                  <a:lnTo>
                    <a:pt x="927" y="2829"/>
                  </a:lnTo>
                  <a:lnTo>
                    <a:pt x="937" y="2823"/>
                  </a:lnTo>
                  <a:lnTo>
                    <a:pt x="946" y="2816"/>
                  </a:lnTo>
                  <a:lnTo>
                    <a:pt x="962" y="2804"/>
                  </a:lnTo>
                  <a:lnTo>
                    <a:pt x="984" y="2788"/>
                  </a:lnTo>
                  <a:lnTo>
                    <a:pt x="999" y="2773"/>
                  </a:lnTo>
                  <a:lnTo>
                    <a:pt x="1012" y="2754"/>
                  </a:lnTo>
                  <a:lnTo>
                    <a:pt x="1012" y="2735"/>
                  </a:lnTo>
                  <a:lnTo>
                    <a:pt x="1006" y="2710"/>
                  </a:lnTo>
                  <a:lnTo>
                    <a:pt x="999" y="2692"/>
                  </a:lnTo>
                  <a:lnTo>
                    <a:pt x="981" y="2673"/>
                  </a:lnTo>
                  <a:lnTo>
                    <a:pt x="952" y="2651"/>
                  </a:lnTo>
                  <a:lnTo>
                    <a:pt x="924" y="2632"/>
                  </a:lnTo>
                  <a:lnTo>
                    <a:pt x="902" y="2613"/>
                  </a:lnTo>
                  <a:lnTo>
                    <a:pt x="893" y="2598"/>
                  </a:lnTo>
                  <a:lnTo>
                    <a:pt x="884" y="2576"/>
                  </a:lnTo>
                  <a:lnTo>
                    <a:pt x="871" y="2557"/>
                  </a:lnTo>
                  <a:lnTo>
                    <a:pt x="856" y="2548"/>
                  </a:lnTo>
                  <a:lnTo>
                    <a:pt x="834" y="2542"/>
                  </a:lnTo>
                  <a:lnTo>
                    <a:pt x="818" y="2539"/>
                  </a:lnTo>
                  <a:lnTo>
                    <a:pt x="812" y="2539"/>
                  </a:lnTo>
                  <a:lnTo>
                    <a:pt x="809" y="2539"/>
                  </a:lnTo>
                  <a:lnTo>
                    <a:pt x="803" y="2539"/>
                  </a:lnTo>
                  <a:lnTo>
                    <a:pt x="799" y="2539"/>
                  </a:lnTo>
                  <a:lnTo>
                    <a:pt x="793" y="2532"/>
                  </a:lnTo>
                  <a:lnTo>
                    <a:pt x="787" y="2526"/>
                  </a:lnTo>
                  <a:lnTo>
                    <a:pt x="781" y="2517"/>
                  </a:lnTo>
                  <a:lnTo>
                    <a:pt x="774" y="2510"/>
                  </a:lnTo>
                  <a:lnTo>
                    <a:pt x="771" y="2501"/>
                  </a:lnTo>
                  <a:lnTo>
                    <a:pt x="768" y="2492"/>
                  </a:lnTo>
                  <a:lnTo>
                    <a:pt x="771" y="2473"/>
                  </a:lnTo>
                  <a:lnTo>
                    <a:pt x="784" y="2451"/>
                  </a:lnTo>
                  <a:lnTo>
                    <a:pt x="790" y="2432"/>
                  </a:lnTo>
                  <a:lnTo>
                    <a:pt x="793" y="2407"/>
                  </a:lnTo>
                  <a:lnTo>
                    <a:pt x="799" y="2376"/>
                  </a:lnTo>
                  <a:lnTo>
                    <a:pt x="799" y="2345"/>
                  </a:lnTo>
                  <a:lnTo>
                    <a:pt x="793" y="2320"/>
                  </a:lnTo>
                  <a:lnTo>
                    <a:pt x="781" y="2304"/>
                  </a:lnTo>
                  <a:lnTo>
                    <a:pt x="762" y="2289"/>
                  </a:lnTo>
                  <a:lnTo>
                    <a:pt x="740" y="2273"/>
                  </a:lnTo>
                  <a:lnTo>
                    <a:pt x="724" y="2258"/>
                  </a:lnTo>
                  <a:lnTo>
                    <a:pt x="706" y="2226"/>
                  </a:lnTo>
                  <a:lnTo>
                    <a:pt x="687" y="2192"/>
                  </a:lnTo>
                  <a:lnTo>
                    <a:pt x="671" y="2161"/>
                  </a:lnTo>
                  <a:lnTo>
                    <a:pt x="656" y="2139"/>
                  </a:lnTo>
                  <a:lnTo>
                    <a:pt x="640" y="2114"/>
                  </a:lnTo>
                  <a:lnTo>
                    <a:pt x="628" y="2092"/>
                  </a:lnTo>
                  <a:lnTo>
                    <a:pt x="625" y="2080"/>
                  </a:lnTo>
                  <a:lnTo>
                    <a:pt x="621" y="2064"/>
                  </a:lnTo>
                  <a:lnTo>
                    <a:pt x="625" y="2064"/>
                  </a:lnTo>
                  <a:lnTo>
                    <a:pt x="640" y="2061"/>
                  </a:lnTo>
                  <a:lnTo>
                    <a:pt x="662" y="2055"/>
                  </a:lnTo>
                  <a:lnTo>
                    <a:pt x="684" y="2048"/>
                  </a:lnTo>
                  <a:lnTo>
                    <a:pt x="696" y="2039"/>
                  </a:lnTo>
                  <a:lnTo>
                    <a:pt x="699" y="2033"/>
                  </a:lnTo>
                  <a:lnTo>
                    <a:pt x="699" y="2026"/>
                  </a:lnTo>
                  <a:lnTo>
                    <a:pt x="696" y="2017"/>
                  </a:lnTo>
                  <a:lnTo>
                    <a:pt x="696" y="2008"/>
                  </a:lnTo>
                  <a:lnTo>
                    <a:pt x="696" y="2001"/>
                  </a:lnTo>
                  <a:lnTo>
                    <a:pt x="696" y="1995"/>
                  </a:lnTo>
                  <a:lnTo>
                    <a:pt x="703" y="1989"/>
                  </a:lnTo>
                  <a:lnTo>
                    <a:pt x="712" y="1986"/>
                  </a:lnTo>
                  <a:lnTo>
                    <a:pt x="724" y="1983"/>
                  </a:lnTo>
                  <a:lnTo>
                    <a:pt x="734" y="1980"/>
                  </a:lnTo>
                  <a:lnTo>
                    <a:pt x="743" y="1980"/>
                  </a:lnTo>
                  <a:lnTo>
                    <a:pt x="765" y="1983"/>
                  </a:lnTo>
                  <a:lnTo>
                    <a:pt x="787" y="1992"/>
                  </a:lnTo>
                  <a:lnTo>
                    <a:pt x="809" y="1998"/>
                  </a:lnTo>
                  <a:lnTo>
                    <a:pt x="812" y="1998"/>
                  </a:lnTo>
                  <a:lnTo>
                    <a:pt x="818" y="1998"/>
                  </a:lnTo>
                  <a:lnTo>
                    <a:pt x="824" y="1998"/>
                  </a:lnTo>
                  <a:lnTo>
                    <a:pt x="828" y="1998"/>
                  </a:lnTo>
                  <a:lnTo>
                    <a:pt x="846" y="2011"/>
                  </a:lnTo>
                  <a:lnTo>
                    <a:pt x="865" y="2030"/>
                  </a:lnTo>
                  <a:lnTo>
                    <a:pt x="881" y="2055"/>
                  </a:lnTo>
                  <a:lnTo>
                    <a:pt x="890" y="2073"/>
                  </a:lnTo>
                  <a:lnTo>
                    <a:pt x="893" y="2095"/>
                  </a:lnTo>
                  <a:lnTo>
                    <a:pt x="890" y="2120"/>
                  </a:lnTo>
                  <a:lnTo>
                    <a:pt x="884" y="2142"/>
                  </a:lnTo>
                  <a:lnTo>
                    <a:pt x="881" y="2154"/>
                  </a:lnTo>
                  <a:lnTo>
                    <a:pt x="884" y="2164"/>
                  </a:lnTo>
                  <a:lnTo>
                    <a:pt x="896" y="2173"/>
                  </a:lnTo>
                  <a:lnTo>
                    <a:pt x="915" y="2186"/>
                  </a:lnTo>
                  <a:lnTo>
                    <a:pt x="934" y="2195"/>
                  </a:lnTo>
                  <a:lnTo>
                    <a:pt x="956" y="2204"/>
                  </a:lnTo>
                  <a:lnTo>
                    <a:pt x="971" y="2208"/>
                  </a:lnTo>
                  <a:lnTo>
                    <a:pt x="990" y="2201"/>
                  </a:lnTo>
                  <a:lnTo>
                    <a:pt x="1012" y="2189"/>
                  </a:lnTo>
                  <a:lnTo>
                    <a:pt x="1030" y="2176"/>
                  </a:lnTo>
                  <a:lnTo>
                    <a:pt x="1055" y="2164"/>
                  </a:lnTo>
                  <a:lnTo>
                    <a:pt x="1084" y="2148"/>
                  </a:lnTo>
                  <a:lnTo>
                    <a:pt x="1109" y="2139"/>
                  </a:lnTo>
                  <a:lnTo>
                    <a:pt x="1149" y="2126"/>
                  </a:lnTo>
                  <a:lnTo>
                    <a:pt x="1196" y="2114"/>
                  </a:lnTo>
                  <a:lnTo>
                    <a:pt x="1237" y="2098"/>
                  </a:lnTo>
                  <a:lnTo>
                    <a:pt x="1255" y="2089"/>
                  </a:lnTo>
                  <a:lnTo>
                    <a:pt x="1277" y="2076"/>
                  </a:lnTo>
                  <a:lnTo>
                    <a:pt x="1296" y="2070"/>
                  </a:lnTo>
                  <a:lnTo>
                    <a:pt x="1315" y="2067"/>
                  </a:lnTo>
                  <a:lnTo>
                    <a:pt x="1343" y="2070"/>
                  </a:lnTo>
                  <a:lnTo>
                    <a:pt x="1368" y="2070"/>
                  </a:lnTo>
                  <a:lnTo>
                    <a:pt x="1390" y="2070"/>
                  </a:lnTo>
                  <a:lnTo>
                    <a:pt x="1396" y="2064"/>
                  </a:lnTo>
                  <a:lnTo>
                    <a:pt x="1405" y="2058"/>
                  </a:lnTo>
                  <a:lnTo>
                    <a:pt x="1415" y="2051"/>
                  </a:lnTo>
                  <a:lnTo>
                    <a:pt x="1421" y="2045"/>
                  </a:lnTo>
                  <a:lnTo>
                    <a:pt x="1430" y="2039"/>
                  </a:lnTo>
                  <a:lnTo>
                    <a:pt x="1436" y="2033"/>
                  </a:lnTo>
                  <a:lnTo>
                    <a:pt x="1446" y="2030"/>
                  </a:lnTo>
                  <a:lnTo>
                    <a:pt x="1455" y="2030"/>
                  </a:lnTo>
                  <a:lnTo>
                    <a:pt x="1465" y="2026"/>
                  </a:lnTo>
                  <a:lnTo>
                    <a:pt x="1477" y="2026"/>
                  </a:lnTo>
                  <a:lnTo>
                    <a:pt x="1483" y="2030"/>
                  </a:lnTo>
                  <a:lnTo>
                    <a:pt x="1505" y="2039"/>
                  </a:lnTo>
                  <a:lnTo>
                    <a:pt x="1527" y="2061"/>
                  </a:lnTo>
                  <a:lnTo>
                    <a:pt x="1536" y="2080"/>
                  </a:lnTo>
                  <a:lnTo>
                    <a:pt x="1536" y="2095"/>
                  </a:lnTo>
                  <a:lnTo>
                    <a:pt x="1527" y="2114"/>
                  </a:lnTo>
                  <a:lnTo>
                    <a:pt x="1518" y="2129"/>
                  </a:lnTo>
                  <a:lnTo>
                    <a:pt x="1515" y="2145"/>
                  </a:lnTo>
                  <a:lnTo>
                    <a:pt x="1518" y="2170"/>
                  </a:lnTo>
                  <a:lnTo>
                    <a:pt x="1527" y="2195"/>
                  </a:lnTo>
                  <a:lnTo>
                    <a:pt x="1536" y="2214"/>
                  </a:lnTo>
                  <a:lnTo>
                    <a:pt x="1543" y="2220"/>
                  </a:lnTo>
                  <a:lnTo>
                    <a:pt x="1552" y="2223"/>
                  </a:lnTo>
                  <a:lnTo>
                    <a:pt x="1561" y="2226"/>
                  </a:lnTo>
                  <a:lnTo>
                    <a:pt x="1571" y="2226"/>
                  </a:lnTo>
                  <a:lnTo>
                    <a:pt x="1589" y="2226"/>
                  </a:lnTo>
                  <a:lnTo>
                    <a:pt x="1611" y="2220"/>
                  </a:lnTo>
                  <a:lnTo>
                    <a:pt x="1633" y="2214"/>
                  </a:lnTo>
                  <a:lnTo>
                    <a:pt x="1652" y="2208"/>
                  </a:lnTo>
                  <a:lnTo>
                    <a:pt x="1658" y="2204"/>
                  </a:lnTo>
                  <a:lnTo>
                    <a:pt x="1668" y="2204"/>
                  </a:lnTo>
                  <a:lnTo>
                    <a:pt x="1677" y="2201"/>
                  </a:lnTo>
                  <a:lnTo>
                    <a:pt x="1686" y="2198"/>
                  </a:lnTo>
                  <a:lnTo>
                    <a:pt x="1692" y="2198"/>
                  </a:lnTo>
                  <a:lnTo>
                    <a:pt x="1702" y="2201"/>
                  </a:lnTo>
                  <a:lnTo>
                    <a:pt x="1711" y="2204"/>
                  </a:lnTo>
                  <a:lnTo>
                    <a:pt x="1724" y="2211"/>
                  </a:lnTo>
                  <a:lnTo>
                    <a:pt x="1733" y="2214"/>
                  </a:lnTo>
                  <a:lnTo>
                    <a:pt x="1742" y="2217"/>
                  </a:lnTo>
                  <a:lnTo>
                    <a:pt x="1752" y="2220"/>
                  </a:lnTo>
                  <a:lnTo>
                    <a:pt x="1761" y="2223"/>
                  </a:lnTo>
                  <a:lnTo>
                    <a:pt x="1774" y="2223"/>
                  </a:lnTo>
                  <a:lnTo>
                    <a:pt x="1783" y="2226"/>
                  </a:lnTo>
                  <a:lnTo>
                    <a:pt x="1792" y="2226"/>
                  </a:lnTo>
                  <a:lnTo>
                    <a:pt x="1805" y="2226"/>
                  </a:lnTo>
                  <a:lnTo>
                    <a:pt x="1817" y="2226"/>
                  </a:lnTo>
                  <a:lnTo>
                    <a:pt x="1830" y="2226"/>
                  </a:lnTo>
                  <a:lnTo>
                    <a:pt x="1849" y="2233"/>
                  </a:lnTo>
                  <a:lnTo>
                    <a:pt x="1874" y="2239"/>
                  </a:lnTo>
                  <a:lnTo>
                    <a:pt x="1889" y="2251"/>
                  </a:lnTo>
                  <a:lnTo>
                    <a:pt x="1895" y="2264"/>
                  </a:lnTo>
                  <a:lnTo>
                    <a:pt x="1899" y="2286"/>
                  </a:lnTo>
                  <a:lnTo>
                    <a:pt x="1899" y="2304"/>
                  </a:lnTo>
                  <a:lnTo>
                    <a:pt x="1902" y="2323"/>
                  </a:lnTo>
                  <a:lnTo>
                    <a:pt x="1917" y="2345"/>
                  </a:lnTo>
                  <a:lnTo>
                    <a:pt x="1936" y="2370"/>
                  </a:lnTo>
                  <a:lnTo>
                    <a:pt x="1958" y="2386"/>
                  </a:lnTo>
                  <a:lnTo>
                    <a:pt x="1964" y="2389"/>
                  </a:lnTo>
                  <a:lnTo>
                    <a:pt x="1970" y="2389"/>
                  </a:lnTo>
                  <a:lnTo>
                    <a:pt x="1980" y="2389"/>
                  </a:lnTo>
                  <a:lnTo>
                    <a:pt x="1989" y="2389"/>
                  </a:lnTo>
                  <a:lnTo>
                    <a:pt x="1999" y="2389"/>
                  </a:lnTo>
                  <a:lnTo>
                    <a:pt x="2005" y="2389"/>
                  </a:lnTo>
                  <a:lnTo>
                    <a:pt x="2024" y="2398"/>
                  </a:lnTo>
                  <a:lnTo>
                    <a:pt x="2042" y="2414"/>
                  </a:lnTo>
                  <a:lnTo>
                    <a:pt x="2058" y="2423"/>
                  </a:lnTo>
                  <a:lnTo>
                    <a:pt x="2077" y="2426"/>
                  </a:lnTo>
                  <a:lnTo>
                    <a:pt x="2095" y="2426"/>
                  </a:lnTo>
                  <a:lnTo>
                    <a:pt x="2117" y="2426"/>
                  </a:lnTo>
                  <a:lnTo>
                    <a:pt x="2133" y="2423"/>
                  </a:lnTo>
                  <a:lnTo>
                    <a:pt x="2136" y="2417"/>
                  </a:lnTo>
                  <a:lnTo>
                    <a:pt x="2139" y="2411"/>
                  </a:lnTo>
                  <a:lnTo>
                    <a:pt x="2142" y="2404"/>
                  </a:lnTo>
                  <a:lnTo>
                    <a:pt x="2145" y="2398"/>
                  </a:lnTo>
                  <a:lnTo>
                    <a:pt x="2148" y="2395"/>
                  </a:lnTo>
                  <a:lnTo>
                    <a:pt x="2170" y="2376"/>
                  </a:lnTo>
                  <a:lnTo>
                    <a:pt x="2198" y="2361"/>
                  </a:lnTo>
                  <a:lnTo>
                    <a:pt x="2220" y="2342"/>
                  </a:lnTo>
                  <a:lnTo>
                    <a:pt x="2223" y="2329"/>
                  </a:lnTo>
                  <a:lnTo>
                    <a:pt x="2226" y="2311"/>
                  </a:lnTo>
                  <a:lnTo>
                    <a:pt x="2230" y="2292"/>
                  </a:lnTo>
                  <a:lnTo>
                    <a:pt x="2239" y="2282"/>
                  </a:lnTo>
                  <a:lnTo>
                    <a:pt x="2255" y="2276"/>
                  </a:lnTo>
                  <a:lnTo>
                    <a:pt x="2276" y="2276"/>
                  </a:lnTo>
                  <a:lnTo>
                    <a:pt x="2298" y="2279"/>
                  </a:lnTo>
                  <a:lnTo>
                    <a:pt x="2314" y="2286"/>
                  </a:lnTo>
                  <a:lnTo>
                    <a:pt x="2320" y="2292"/>
                  </a:lnTo>
                  <a:lnTo>
                    <a:pt x="2326" y="2301"/>
                  </a:lnTo>
                  <a:lnTo>
                    <a:pt x="2330" y="2311"/>
                  </a:lnTo>
                  <a:lnTo>
                    <a:pt x="2336" y="2320"/>
                  </a:lnTo>
                  <a:lnTo>
                    <a:pt x="2339" y="2326"/>
                  </a:lnTo>
                  <a:lnTo>
                    <a:pt x="2345" y="2332"/>
                  </a:lnTo>
                  <a:lnTo>
                    <a:pt x="2351" y="2339"/>
                  </a:lnTo>
                  <a:lnTo>
                    <a:pt x="2358" y="2348"/>
                  </a:lnTo>
                  <a:lnTo>
                    <a:pt x="2364" y="2354"/>
                  </a:lnTo>
                  <a:lnTo>
                    <a:pt x="2370" y="2354"/>
                  </a:lnTo>
                  <a:lnTo>
                    <a:pt x="2376" y="2354"/>
                  </a:lnTo>
                  <a:lnTo>
                    <a:pt x="2386" y="2351"/>
                  </a:lnTo>
                  <a:lnTo>
                    <a:pt x="2395" y="2345"/>
                  </a:lnTo>
                  <a:lnTo>
                    <a:pt x="2401" y="2339"/>
                  </a:lnTo>
                  <a:lnTo>
                    <a:pt x="2411" y="2332"/>
                  </a:lnTo>
                  <a:lnTo>
                    <a:pt x="2414" y="2326"/>
                  </a:lnTo>
                  <a:lnTo>
                    <a:pt x="2417" y="2311"/>
                  </a:lnTo>
                  <a:lnTo>
                    <a:pt x="2420" y="2289"/>
                  </a:lnTo>
                  <a:lnTo>
                    <a:pt x="2417" y="2267"/>
                  </a:lnTo>
                  <a:lnTo>
                    <a:pt x="2414" y="2248"/>
                  </a:lnTo>
                  <a:lnTo>
                    <a:pt x="2411" y="2239"/>
                  </a:lnTo>
                  <a:lnTo>
                    <a:pt x="2408" y="2233"/>
                  </a:lnTo>
                  <a:lnTo>
                    <a:pt x="2404" y="2223"/>
                  </a:lnTo>
                  <a:lnTo>
                    <a:pt x="2398" y="2214"/>
                  </a:lnTo>
                  <a:lnTo>
                    <a:pt x="2395" y="2204"/>
                  </a:lnTo>
                  <a:lnTo>
                    <a:pt x="2389" y="2189"/>
                  </a:lnTo>
                  <a:lnTo>
                    <a:pt x="2383" y="2164"/>
                  </a:lnTo>
                  <a:lnTo>
                    <a:pt x="2376" y="2145"/>
                  </a:lnTo>
                  <a:lnTo>
                    <a:pt x="2376" y="2136"/>
                  </a:lnTo>
                  <a:lnTo>
                    <a:pt x="2376" y="2123"/>
                  </a:lnTo>
                  <a:lnTo>
                    <a:pt x="2376" y="2111"/>
                  </a:lnTo>
                  <a:lnTo>
                    <a:pt x="2376" y="2098"/>
                  </a:lnTo>
                  <a:lnTo>
                    <a:pt x="2373" y="2092"/>
                  </a:lnTo>
                  <a:lnTo>
                    <a:pt x="2373" y="2083"/>
                  </a:lnTo>
                  <a:lnTo>
                    <a:pt x="2373" y="2070"/>
                  </a:lnTo>
                  <a:lnTo>
                    <a:pt x="2370" y="2064"/>
                  </a:lnTo>
                  <a:lnTo>
                    <a:pt x="2367" y="2058"/>
                  </a:lnTo>
                  <a:lnTo>
                    <a:pt x="2351" y="2048"/>
                  </a:lnTo>
                  <a:lnTo>
                    <a:pt x="2333" y="2042"/>
                  </a:lnTo>
                  <a:lnTo>
                    <a:pt x="2317" y="2036"/>
                  </a:lnTo>
                  <a:lnTo>
                    <a:pt x="2311" y="2030"/>
                  </a:lnTo>
                  <a:lnTo>
                    <a:pt x="2305" y="2020"/>
                  </a:lnTo>
                  <a:lnTo>
                    <a:pt x="2301" y="2011"/>
                  </a:lnTo>
                  <a:lnTo>
                    <a:pt x="2295" y="2001"/>
                  </a:lnTo>
                  <a:lnTo>
                    <a:pt x="2295" y="1995"/>
                  </a:lnTo>
                  <a:lnTo>
                    <a:pt x="2295" y="1989"/>
                  </a:lnTo>
                  <a:lnTo>
                    <a:pt x="2295" y="1980"/>
                  </a:lnTo>
                  <a:lnTo>
                    <a:pt x="2298" y="1973"/>
                  </a:lnTo>
                  <a:lnTo>
                    <a:pt x="2301" y="1964"/>
                  </a:lnTo>
                  <a:lnTo>
                    <a:pt x="2301" y="1958"/>
                  </a:lnTo>
                  <a:lnTo>
                    <a:pt x="2298" y="1952"/>
                  </a:lnTo>
                  <a:lnTo>
                    <a:pt x="2292" y="1948"/>
                  </a:lnTo>
                  <a:lnTo>
                    <a:pt x="2286" y="1942"/>
                  </a:lnTo>
                  <a:lnTo>
                    <a:pt x="2280" y="1936"/>
                  </a:lnTo>
                  <a:lnTo>
                    <a:pt x="2273" y="1933"/>
                  </a:lnTo>
                  <a:lnTo>
                    <a:pt x="2255" y="1933"/>
                  </a:lnTo>
                  <a:lnTo>
                    <a:pt x="2233" y="1936"/>
                  </a:lnTo>
                  <a:lnTo>
                    <a:pt x="2211" y="1942"/>
                  </a:lnTo>
                  <a:lnTo>
                    <a:pt x="2192" y="1942"/>
                  </a:lnTo>
                  <a:lnTo>
                    <a:pt x="2186" y="1942"/>
                  </a:lnTo>
                  <a:lnTo>
                    <a:pt x="2173" y="1942"/>
                  </a:lnTo>
                  <a:lnTo>
                    <a:pt x="2164" y="1939"/>
                  </a:lnTo>
                  <a:lnTo>
                    <a:pt x="2155" y="1939"/>
                  </a:lnTo>
                  <a:lnTo>
                    <a:pt x="2148" y="1933"/>
                  </a:lnTo>
                  <a:lnTo>
                    <a:pt x="2145" y="1930"/>
                  </a:lnTo>
                  <a:lnTo>
                    <a:pt x="2145" y="1923"/>
                  </a:lnTo>
                  <a:lnTo>
                    <a:pt x="2145" y="1917"/>
                  </a:lnTo>
                  <a:lnTo>
                    <a:pt x="2145" y="1908"/>
                  </a:lnTo>
                  <a:lnTo>
                    <a:pt x="2142" y="1905"/>
                  </a:lnTo>
                  <a:lnTo>
                    <a:pt x="2142" y="1898"/>
                  </a:lnTo>
                  <a:lnTo>
                    <a:pt x="2130" y="1895"/>
                  </a:lnTo>
                  <a:lnTo>
                    <a:pt x="2114" y="1895"/>
                  </a:lnTo>
                  <a:lnTo>
                    <a:pt x="2098" y="1898"/>
                  </a:lnTo>
                  <a:lnTo>
                    <a:pt x="2083" y="1898"/>
                  </a:lnTo>
                  <a:lnTo>
                    <a:pt x="2067" y="1895"/>
                  </a:lnTo>
                  <a:lnTo>
                    <a:pt x="2045" y="1889"/>
                  </a:lnTo>
                  <a:lnTo>
                    <a:pt x="2033" y="1877"/>
                  </a:lnTo>
                  <a:lnTo>
                    <a:pt x="2027" y="1861"/>
                  </a:lnTo>
                  <a:lnTo>
                    <a:pt x="2024" y="1842"/>
                  </a:lnTo>
                  <a:lnTo>
                    <a:pt x="2017" y="1827"/>
                  </a:lnTo>
                  <a:lnTo>
                    <a:pt x="2005" y="1820"/>
                  </a:lnTo>
                  <a:lnTo>
                    <a:pt x="1986" y="1817"/>
                  </a:lnTo>
                  <a:lnTo>
                    <a:pt x="1967" y="1811"/>
                  </a:lnTo>
                  <a:lnTo>
                    <a:pt x="1958" y="1805"/>
                  </a:lnTo>
                  <a:lnTo>
                    <a:pt x="1958" y="1786"/>
                  </a:lnTo>
                  <a:lnTo>
                    <a:pt x="1964" y="1767"/>
                  </a:lnTo>
                  <a:lnTo>
                    <a:pt x="1974" y="1749"/>
                  </a:lnTo>
                  <a:lnTo>
                    <a:pt x="1977" y="1745"/>
                  </a:lnTo>
                  <a:lnTo>
                    <a:pt x="1983" y="1739"/>
                  </a:lnTo>
                  <a:lnTo>
                    <a:pt x="1989" y="1736"/>
                  </a:lnTo>
                  <a:lnTo>
                    <a:pt x="1995" y="1733"/>
                  </a:lnTo>
                  <a:lnTo>
                    <a:pt x="2002" y="1736"/>
                  </a:lnTo>
                  <a:lnTo>
                    <a:pt x="2008" y="1736"/>
                  </a:lnTo>
                  <a:lnTo>
                    <a:pt x="2017" y="1742"/>
                  </a:lnTo>
                  <a:lnTo>
                    <a:pt x="2024" y="1745"/>
                  </a:lnTo>
                  <a:lnTo>
                    <a:pt x="2033" y="1749"/>
                  </a:lnTo>
                  <a:lnTo>
                    <a:pt x="2039" y="1752"/>
                  </a:lnTo>
                  <a:lnTo>
                    <a:pt x="2045" y="1749"/>
                  </a:lnTo>
                  <a:lnTo>
                    <a:pt x="2058" y="1733"/>
                  </a:lnTo>
                  <a:lnTo>
                    <a:pt x="2067" y="1711"/>
                  </a:lnTo>
                  <a:lnTo>
                    <a:pt x="2073" y="1689"/>
                  </a:lnTo>
                  <a:lnTo>
                    <a:pt x="2070" y="1680"/>
                  </a:lnTo>
                  <a:lnTo>
                    <a:pt x="2070" y="1670"/>
                  </a:lnTo>
                  <a:lnTo>
                    <a:pt x="2067" y="1661"/>
                  </a:lnTo>
                  <a:lnTo>
                    <a:pt x="2064" y="1652"/>
                  </a:lnTo>
                  <a:lnTo>
                    <a:pt x="2058" y="1645"/>
                  </a:lnTo>
                  <a:lnTo>
                    <a:pt x="2055" y="1639"/>
                  </a:lnTo>
                  <a:lnTo>
                    <a:pt x="2045" y="1633"/>
                  </a:lnTo>
                  <a:lnTo>
                    <a:pt x="2039" y="1627"/>
                  </a:lnTo>
                  <a:lnTo>
                    <a:pt x="2030" y="1621"/>
                  </a:lnTo>
                  <a:lnTo>
                    <a:pt x="2027" y="1614"/>
                  </a:lnTo>
                  <a:lnTo>
                    <a:pt x="2024" y="1608"/>
                  </a:lnTo>
                  <a:lnTo>
                    <a:pt x="2024" y="1599"/>
                  </a:lnTo>
                  <a:lnTo>
                    <a:pt x="2024" y="1592"/>
                  </a:lnTo>
                  <a:lnTo>
                    <a:pt x="2024" y="1586"/>
                  </a:lnTo>
                  <a:lnTo>
                    <a:pt x="2027" y="1580"/>
                  </a:lnTo>
                  <a:lnTo>
                    <a:pt x="2033" y="1574"/>
                  </a:lnTo>
                  <a:lnTo>
                    <a:pt x="2039" y="1571"/>
                  </a:lnTo>
                  <a:lnTo>
                    <a:pt x="2048" y="1567"/>
                  </a:lnTo>
                  <a:lnTo>
                    <a:pt x="2055" y="1564"/>
                  </a:lnTo>
                  <a:lnTo>
                    <a:pt x="2080" y="1561"/>
                  </a:lnTo>
                  <a:lnTo>
                    <a:pt x="2105" y="1561"/>
                  </a:lnTo>
                  <a:lnTo>
                    <a:pt x="2127" y="1567"/>
                  </a:lnTo>
                  <a:lnTo>
                    <a:pt x="2133" y="1571"/>
                  </a:lnTo>
                  <a:lnTo>
                    <a:pt x="2136" y="1580"/>
                  </a:lnTo>
                  <a:lnTo>
                    <a:pt x="2139" y="1586"/>
                  </a:lnTo>
                  <a:lnTo>
                    <a:pt x="2145" y="1596"/>
                  </a:lnTo>
                  <a:lnTo>
                    <a:pt x="2148" y="1602"/>
                  </a:lnTo>
                  <a:lnTo>
                    <a:pt x="2152" y="1605"/>
                  </a:lnTo>
                  <a:lnTo>
                    <a:pt x="2158" y="1608"/>
                  </a:lnTo>
                  <a:lnTo>
                    <a:pt x="2167" y="1608"/>
                  </a:lnTo>
                  <a:lnTo>
                    <a:pt x="2177" y="1608"/>
                  </a:lnTo>
                  <a:lnTo>
                    <a:pt x="2186" y="1608"/>
                  </a:lnTo>
                  <a:lnTo>
                    <a:pt x="2192" y="1605"/>
                  </a:lnTo>
                  <a:lnTo>
                    <a:pt x="2201" y="1605"/>
                  </a:lnTo>
                  <a:lnTo>
                    <a:pt x="2261" y="1605"/>
                  </a:lnTo>
                  <a:lnTo>
                    <a:pt x="2264" y="1599"/>
                  </a:lnTo>
                  <a:lnTo>
                    <a:pt x="2267" y="1583"/>
                  </a:lnTo>
                  <a:lnTo>
                    <a:pt x="2270" y="1564"/>
                  </a:lnTo>
                  <a:lnTo>
                    <a:pt x="2276" y="1552"/>
                  </a:lnTo>
                  <a:lnTo>
                    <a:pt x="2280" y="1549"/>
                  </a:lnTo>
                  <a:lnTo>
                    <a:pt x="2289" y="1549"/>
                  </a:lnTo>
                  <a:lnTo>
                    <a:pt x="2295" y="1552"/>
                  </a:lnTo>
                  <a:lnTo>
                    <a:pt x="2305" y="1552"/>
                  </a:lnTo>
                  <a:lnTo>
                    <a:pt x="2311" y="1552"/>
                  </a:lnTo>
                  <a:lnTo>
                    <a:pt x="2317" y="1552"/>
                  </a:lnTo>
                  <a:lnTo>
                    <a:pt x="2323" y="1549"/>
                  </a:lnTo>
                  <a:lnTo>
                    <a:pt x="2330" y="1542"/>
                  </a:lnTo>
                  <a:lnTo>
                    <a:pt x="2339" y="1536"/>
                  </a:lnTo>
                  <a:lnTo>
                    <a:pt x="2342" y="1530"/>
                  </a:lnTo>
                  <a:lnTo>
                    <a:pt x="2345" y="1524"/>
                  </a:lnTo>
                  <a:lnTo>
                    <a:pt x="2345" y="1505"/>
                  </a:lnTo>
                  <a:lnTo>
                    <a:pt x="2336" y="1483"/>
                  </a:lnTo>
                  <a:lnTo>
                    <a:pt x="2323" y="1468"/>
                  </a:lnTo>
                  <a:lnTo>
                    <a:pt x="2305" y="1461"/>
                  </a:lnTo>
                  <a:lnTo>
                    <a:pt x="2283" y="1455"/>
                  </a:lnTo>
                  <a:lnTo>
                    <a:pt x="2267" y="1449"/>
                  </a:lnTo>
                  <a:lnTo>
                    <a:pt x="2255" y="1433"/>
                  </a:lnTo>
                  <a:lnTo>
                    <a:pt x="2248" y="1414"/>
                  </a:lnTo>
                  <a:lnTo>
                    <a:pt x="2242" y="1396"/>
                  </a:lnTo>
                  <a:lnTo>
                    <a:pt x="2242" y="1380"/>
                  </a:lnTo>
                  <a:lnTo>
                    <a:pt x="2245" y="1358"/>
                  </a:lnTo>
                  <a:lnTo>
                    <a:pt x="2251" y="1339"/>
                  </a:lnTo>
                  <a:lnTo>
                    <a:pt x="2267" y="1324"/>
                  </a:lnTo>
                  <a:lnTo>
                    <a:pt x="2289" y="1305"/>
                  </a:lnTo>
                  <a:lnTo>
                    <a:pt x="2301" y="1286"/>
                  </a:lnTo>
                  <a:lnTo>
                    <a:pt x="2305" y="1274"/>
                  </a:lnTo>
                  <a:lnTo>
                    <a:pt x="2301" y="1258"/>
                  </a:lnTo>
                  <a:lnTo>
                    <a:pt x="2301" y="1240"/>
                  </a:lnTo>
                  <a:lnTo>
                    <a:pt x="2301" y="1227"/>
                  </a:lnTo>
                  <a:lnTo>
                    <a:pt x="2317" y="1208"/>
                  </a:lnTo>
                  <a:lnTo>
                    <a:pt x="2339" y="1193"/>
                  </a:lnTo>
                  <a:lnTo>
                    <a:pt x="2361" y="1183"/>
                  </a:lnTo>
                  <a:lnTo>
                    <a:pt x="2367" y="1183"/>
                  </a:lnTo>
                  <a:lnTo>
                    <a:pt x="2376" y="1186"/>
                  </a:lnTo>
                  <a:lnTo>
                    <a:pt x="2386" y="1190"/>
                  </a:lnTo>
                  <a:lnTo>
                    <a:pt x="2395" y="1193"/>
                  </a:lnTo>
                  <a:lnTo>
                    <a:pt x="2404" y="1196"/>
                  </a:lnTo>
                  <a:lnTo>
                    <a:pt x="2423" y="1199"/>
                  </a:lnTo>
                  <a:lnTo>
                    <a:pt x="2445" y="1199"/>
                  </a:lnTo>
                  <a:lnTo>
                    <a:pt x="2464" y="1196"/>
                  </a:lnTo>
                  <a:lnTo>
                    <a:pt x="2470" y="1190"/>
                  </a:lnTo>
                  <a:lnTo>
                    <a:pt x="2476" y="1180"/>
                  </a:lnTo>
                  <a:lnTo>
                    <a:pt x="2483" y="1171"/>
                  </a:lnTo>
                  <a:lnTo>
                    <a:pt x="2486" y="1161"/>
                  </a:lnTo>
                  <a:lnTo>
                    <a:pt x="2492" y="1152"/>
                  </a:lnTo>
                  <a:lnTo>
                    <a:pt x="2498" y="1146"/>
                  </a:lnTo>
                  <a:lnTo>
                    <a:pt x="2504" y="1146"/>
                  </a:lnTo>
                  <a:lnTo>
                    <a:pt x="2514" y="1146"/>
                  </a:lnTo>
                  <a:lnTo>
                    <a:pt x="2520" y="1146"/>
                  </a:lnTo>
                  <a:lnTo>
                    <a:pt x="2529" y="1146"/>
                  </a:lnTo>
                  <a:lnTo>
                    <a:pt x="2539" y="1146"/>
                  </a:lnTo>
                  <a:lnTo>
                    <a:pt x="2545" y="1146"/>
                  </a:lnTo>
                  <a:lnTo>
                    <a:pt x="2554" y="1140"/>
                  </a:lnTo>
                  <a:lnTo>
                    <a:pt x="2564" y="1133"/>
                  </a:lnTo>
                  <a:lnTo>
                    <a:pt x="2573" y="1124"/>
                  </a:lnTo>
                  <a:lnTo>
                    <a:pt x="2579" y="1112"/>
                  </a:lnTo>
                  <a:lnTo>
                    <a:pt x="2586" y="1105"/>
                  </a:lnTo>
                  <a:lnTo>
                    <a:pt x="2592" y="1090"/>
                  </a:lnTo>
                  <a:lnTo>
                    <a:pt x="2598" y="1071"/>
                  </a:lnTo>
                  <a:lnTo>
                    <a:pt x="2601" y="1052"/>
                  </a:lnTo>
                  <a:lnTo>
                    <a:pt x="2601" y="1040"/>
                  </a:lnTo>
                  <a:lnTo>
                    <a:pt x="2598" y="1033"/>
                  </a:lnTo>
                  <a:lnTo>
                    <a:pt x="2589" y="1030"/>
                  </a:lnTo>
                  <a:lnTo>
                    <a:pt x="2582" y="1024"/>
                  </a:lnTo>
                  <a:lnTo>
                    <a:pt x="2576" y="1021"/>
                  </a:lnTo>
                  <a:lnTo>
                    <a:pt x="2570" y="1015"/>
                  </a:lnTo>
                  <a:lnTo>
                    <a:pt x="2567" y="1008"/>
                  </a:lnTo>
                  <a:lnTo>
                    <a:pt x="2567" y="999"/>
                  </a:lnTo>
                  <a:lnTo>
                    <a:pt x="2567" y="987"/>
                  </a:lnTo>
                  <a:lnTo>
                    <a:pt x="2567" y="977"/>
                  </a:lnTo>
                  <a:lnTo>
                    <a:pt x="2570" y="971"/>
                  </a:lnTo>
                  <a:lnTo>
                    <a:pt x="2589" y="952"/>
                  </a:lnTo>
                  <a:lnTo>
                    <a:pt x="2614" y="934"/>
                  </a:lnTo>
                  <a:lnTo>
                    <a:pt x="2639" y="924"/>
                  </a:lnTo>
                  <a:lnTo>
                    <a:pt x="2657" y="921"/>
                  </a:lnTo>
                  <a:lnTo>
                    <a:pt x="2679" y="924"/>
                  </a:lnTo>
                  <a:lnTo>
                    <a:pt x="2698" y="924"/>
                  </a:lnTo>
                  <a:lnTo>
                    <a:pt x="2717" y="918"/>
                  </a:lnTo>
                  <a:lnTo>
                    <a:pt x="2742" y="909"/>
                  </a:lnTo>
                  <a:lnTo>
                    <a:pt x="2764" y="899"/>
                  </a:lnTo>
                  <a:lnTo>
                    <a:pt x="2782" y="899"/>
                  </a:lnTo>
                  <a:lnTo>
                    <a:pt x="2804" y="896"/>
                  </a:lnTo>
                  <a:lnTo>
                    <a:pt x="2823" y="890"/>
                  </a:lnTo>
                  <a:lnTo>
                    <a:pt x="2835" y="874"/>
                  </a:lnTo>
                  <a:lnTo>
                    <a:pt x="2848" y="852"/>
                  </a:lnTo>
                  <a:lnTo>
                    <a:pt x="2857" y="830"/>
                  </a:lnTo>
                  <a:lnTo>
                    <a:pt x="2857" y="815"/>
                  </a:lnTo>
                  <a:lnTo>
                    <a:pt x="2854" y="796"/>
                  </a:lnTo>
                  <a:lnTo>
                    <a:pt x="2851" y="781"/>
                  </a:lnTo>
                  <a:lnTo>
                    <a:pt x="2857" y="768"/>
                  </a:lnTo>
                  <a:lnTo>
                    <a:pt x="2860" y="762"/>
                  </a:lnTo>
                  <a:lnTo>
                    <a:pt x="2870" y="759"/>
                  </a:lnTo>
                  <a:lnTo>
                    <a:pt x="2879" y="756"/>
                  </a:lnTo>
                  <a:lnTo>
                    <a:pt x="2892" y="756"/>
                  </a:lnTo>
                  <a:lnTo>
                    <a:pt x="2898" y="756"/>
                  </a:lnTo>
                  <a:lnTo>
                    <a:pt x="2917" y="759"/>
                  </a:lnTo>
                  <a:lnTo>
                    <a:pt x="2942" y="765"/>
                  </a:lnTo>
                  <a:lnTo>
                    <a:pt x="2963" y="768"/>
                  </a:lnTo>
                  <a:lnTo>
                    <a:pt x="2982" y="768"/>
                  </a:lnTo>
                  <a:lnTo>
                    <a:pt x="2988" y="756"/>
                  </a:lnTo>
                  <a:lnTo>
                    <a:pt x="2992" y="734"/>
                  </a:lnTo>
                  <a:lnTo>
                    <a:pt x="2995" y="715"/>
                  </a:lnTo>
                  <a:lnTo>
                    <a:pt x="3001" y="702"/>
                  </a:lnTo>
                  <a:lnTo>
                    <a:pt x="3017" y="690"/>
                  </a:lnTo>
                  <a:lnTo>
                    <a:pt x="3042" y="677"/>
                  </a:lnTo>
                  <a:lnTo>
                    <a:pt x="3070" y="671"/>
                  </a:lnTo>
                  <a:lnTo>
                    <a:pt x="3091" y="668"/>
                  </a:lnTo>
                  <a:lnTo>
                    <a:pt x="3120" y="668"/>
                  </a:lnTo>
                  <a:lnTo>
                    <a:pt x="3151" y="671"/>
                  </a:lnTo>
                  <a:lnTo>
                    <a:pt x="3179" y="677"/>
                  </a:lnTo>
                  <a:lnTo>
                    <a:pt x="3195" y="681"/>
                  </a:lnTo>
                  <a:lnTo>
                    <a:pt x="3216" y="687"/>
                  </a:lnTo>
                  <a:lnTo>
                    <a:pt x="3238" y="690"/>
                  </a:lnTo>
                  <a:lnTo>
                    <a:pt x="3257" y="690"/>
                  </a:lnTo>
                  <a:lnTo>
                    <a:pt x="3263" y="687"/>
                  </a:lnTo>
                  <a:lnTo>
                    <a:pt x="3273" y="681"/>
                  </a:lnTo>
                  <a:lnTo>
                    <a:pt x="3279" y="674"/>
                  </a:lnTo>
                  <a:lnTo>
                    <a:pt x="3288" y="665"/>
                  </a:lnTo>
                  <a:lnTo>
                    <a:pt x="3294" y="659"/>
                  </a:lnTo>
                  <a:lnTo>
                    <a:pt x="3304" y="656"/>
                  </a:lnTo>
                  <a:lnTo>
                    <a:pt x="3323" y="649"/>
                  </a:lnTo>
                  <a:lnTo>
                    <a:pt x="3348" y="646"/>
                  </a:lnTo>
                  <a:lnTo>
                    <a:pt x="3369" y="643"/>
                  </a:lnTo>
                  <a:lnTo>
                    <a:pt x="3379" y="643"/>
                  </a:lnTo>
                  <a:lnTo>
                    <a:pt x="3388" y="643"/>
                  </a:lnTo>
                  <a:lnTo>
                    <a:pt x="3401" y="646"/>
                  </a:lnTo>
                  <a:lnTo>
                    <a:pt x="3410" y="646"/>
                  </a:lnTo>
                  <a:lnTo>
                    <a:pt x="3419" y="643"/>
                  </a:lnTo>
                  <a:lnTo>
                    <a:pt x="3429" y="640"/>
                  </a:lnTo>
                  <a:lnTo>
                    <a:pt x="3435" y="634"/>
                  </a:lnTo>
                  <a:lnTo>
                    <a:pt x="3444" y="628"/>
                  </a:lnTo>
                  <a:lnTo>
                    <a:pt x="3451" y="621"/>
                  </a:lnTo>
                  <a:lnTo>
                    <a:pt x="3457" y="606"/>
                  </a:lnTo>
                  <a:lnTo>
                    <a:pt x="3460" y="587"/>
                  </a:lnTo>
                  <a:lnTo>
                    <a:pt x="3463" y="568"/>
                  </a:lnTo>
                  <a:lnTo>
                    <a:pt x="3466" y="562"/>
                  </a:lnTo>
                  <a:lnTo>
                    <a:pt x="3472" y="553"/>
                  </a:lnTo>
                  <a:lnTo>
                    <a:pt x="3479" y="543"/>
                  </a:lnTo>
                  <a:lnTo>
                    <a:pt x="3485" y="537"/>
                  </a:lnTo>
                  <a:lnTo>
                    <a:pt x="3488" y="528"/>
                  </a:lnTo>
                  <a:lnTo>
                    <a:pt x="3491" y="518"/>
                  </a:lnTo>
                  <a:lnTo>
                    <a:pt x="3488" y="496"/>
                  </a:lnTo>
                  <a:lnTo>
                    <a:pt x="3482" y="475"/>
                  </a:lnTo>
                  <a:lnTo>
                    <a:pt x="3472" y="453"/>
                  </a:lnTo>
                  <a:lnTo>
                    <a:pt x="3466" y="450"/>
                  </a:lnTo>
                  <a:lnTo>
                    <a:pt x="3457" y="446"/>
                  </a:lnTo>
                  <a:lnTo>
                    <a:pt x="3447" y="440"/>
                  </a:lnTo>
                  <a:lnTo>
                    <a:pt x="3438" y="437"/>
                  </a:lnTo>
                  <a:lnTo>
                    <a:pt x="3432" y="431"/>
                  </a:lnTo>
                  <a:lnTo>
                    <a:pt x="3426" y="428"/>
                  </a:lnTo>
                  <a:lnTo>
                    <a:pt x="3416" y="409"/>
                  </a:lnTo>
                  <a:lnTo>
                    <a:pt x="3410" y="387"/>
                  </a:lnTo>
                  <a:lnTo>
                    <a:pt x="3407" y="368"/>
                  </a:lnTo>
                  <a:lnTo>
                    <a:pt x="3410" y="353"/>
                  </a:lnTo>
                  <a:lnTo>
                    <a:pt x="3413" y="331"/>
                  </a:lnTo>
                  <a:lnTo>
                    <a:pt x="3413" y="315"/>
                  </a:lnTo>
                  <a:lnTo>
                    <a:pt x="3407" y="309"/>
                  </a:lnTo>
                  <a:lnTo>
                    <a:pt x="3401" y="303"/>
                  </a:lnTo>
                  <a:lnTo>
                    <a:pt x="3394" y="297"/>
                  </a:lnTo>
                  <a:lnTo>
                    <a:pt x="3388" y="290"/>
                  </a:lnTo>
                  <a:lnTo>
                    <a:pt x="3366" y="290"/>
                  </a:lnTo>
                  <a:lnTo>
                    <a:pt x="3338" y="297"/>
                  </a:lnTo>
                  <a:lnTo>
                    <a:pt x="3319" y="300"/>
                  </a:lnTo>
                  <a:lnTo>
                    <a:pt x="3304" y="306"/>
                  </a:lnTo>
                  <a:lnTo>
                    <a:pt x="3288" y="312"/>
                  </a:lnTo>
                  <a:lnTo>
                    <a:pt x="3269" y="315"/>
                  </a:lnTo>
                  <a:lnTo>
                    <a:pt x="3257" y="315"/>
                  </a:lnTo>
                  <a:lnTo>
                    <a:pt x="3251" y="312"/>
                  </a:lnTo>
                  <a:lnTo>
                    <a:pt x="3248" y="306"/>
                  </a:lnTo>
                  <a:lnTo>
                    <a:pt x="3244" y="300"/>
                  </a:lnTo>
                  <a:lnTo>
                    <a:pt x="3238" y="293"/>
                  </a:lnTo>
                  <a:lnTo>
                    <a:pt x="3235" y="287"/>
                  </a:lnTo>
                  <a:lnTo>
                    <a:pt x="3229" y="281"/>
                  </a:lnTo>
                  <a:lnTo>
                    <a:pt x="3219" y="278"/>
                  </a:lnTo>
                  <a:lnTo>
                    <a:pt x="3213" y="272"/>
                  </a:lnTo>
                  <a:lnTo>
                    <a:pt x="3210" y="265"/>
                  </a:lnTo>
                  <a:lnTo>
                    <a:pt x="3207" y="247"/>
                  </a:lnTo>
                  <a:lnTo>
                    <a:pt x="3213" y="225"/>
                  </a:lnTo>
                  <a:lnTo>
                    <a:pt x="3219" y="206"/>
                  </a:lnTo>
                  <a:lnTo>
                    <a:pt x="3223" y="197"/>
                  </a:lnTo>
                  <a:lnTo>
                    <a:pt x="3229" y="190"/>
                  </a:lnTo>
                  <a:lnTo>
                    <a:pt x="3235" y="181"/>
                  </a:lnTo>
                  <a:lnTo>
                    <a:pt x="3241" y="175"/>
                  </a:lnTo>
                  <a:lnTo>
                    <a:pt x="3244" y="165"/>
                  </a:lnTo>
                  <a:lnTo>
                    <a:pt x="3248" y="159"/>
                  </a:lnTo>
                  <a:lnTo>
                    <a:pt x="3251" y="150"/>
                  </a:lnTo>
                  <a:lnTo>
                    <a:pt x="3254" y="140"/>
                  </a:lnTo>
                  <a:lnTo>
                    <a:pt x="3257" y="131"/>
                  </a:lnTo>
                  <a:lnTo>
                    <a:pt x="3257" y="115"/>
                  </a:lnTo>
                  <a:lnTo>
                    <a:pt x="3254" y="94"/>
                  </a:lnTo>
                  <a:lnTo>
                    <a:pt x="3257" y="78"/>
                  </a:lnTo>
                  <a:lnTo>
                    <a:pt x="3260" y="72"/>
                  </a:lnTo>
                  <a:lnTo>
                    <a:pt x="3269" y="65"/>
                  </a:lnTo>
                  <a:lnTo>
                    <a:pt x="3276" y="62"/>
                  </a:lnTo>
                  <a:lnTo>
                    <a:pt x="3285" y="59"/>
                  </a:lnTo>
                  <a:lnTo>
                    <a:pt x="3291" y="56"/>
                  </a:lnTo>
                  <a:lnTo>
                    <a:pt x="3307" y="59"/>
                  </a:lnTo>
                  <a:lnTo>
                    <a:pt x="3329" y="65"/>
                  </a:lnTo>
                  <a:lnTo>
                    <a:pt x="3344" y="69"/>
                  </a:lnTo>
                  <a:lnTo>
                    <a:pt x="3351" y="62"/>
                  </a:lnTo>
                  <a:lnTo>
                    <a:pt x="3357" y="59"/>
                  </a:lnTo>
                  <a:lnTo>
                    <a:pt x="3360" y="53"/>
                  </a:lnTo>
                  <a:lnTo>
                    <a:pt x="3366" y="47"/>
                  </a:lnTo>
                  <a:lnTo>
                    <a:pt x="3373" y="44"/>
                  </a:lnTo>
                  <a:lnTo>
                    <a:pt x="3394" y="37"/>
                  </a:lnTo>
                  <a:lnTo>
                    <a:pt x="3422" y="37"/>
                  </a:lnTo>
                  <a:lnTo>
                    <a:pt x="3444" y="44"/>
                  </a:lnTo>
                  <a:lnTo>
                    <a:pt x="3463" y="59"/>
                  </a:lnTo>
                  <a:lnTo>
                    <a:pt x="3482" y="84"/>
                  </a:lnTo>
                  <a:lnTo>
                    <a:pt x="3491" y="106"/>
                  </a:lnTo>
                  <a:lnTo>
                    <a:pt x="3494" y="119"/>
                  </a:lnTo>
                  <a:lnTo>
                    <a:pt x="3494" y="134"/>
                  </a:lnTo>
                  <a:lnTo>
                    <a:pt x="3497" y="150"/>
                  </a:lnTo>
                  <a:lnTo>
                    <a:pt x="3501" y="159"/>
                  </a:lnTo>
                  <a:lnTo>
                    <a:pt x="3519" y="165"/>
                  </a:lnTo>
                  <a:lnTo>
                    <a:pt x="3541" y="165"/>
                  </a:lnTo>
                  <a:lnTo>
                    <a:pt x="3566" y="162"/>
                  </a:lnTo>
                  <a:lnTo>
                    <a:pt x="3585" y="162"/>
                  </a:lnTo>
                  <a:lnTo>
                    <a:pt x="3604" y="172"/>
                  </a:lnTo>
                  <a:lnTo>
                    <a:pt x="3622" y="184"/>
                  </a:lnTo>
                  <a:lnTo>
                    <a:pt x="3641" y="190"/>
                  </a:lnTo>
                  <a:lnTo>
                    <a:pt x="3650" y="187"/>
                  </a:lnTo>
                  <a:lnTo>
                    <a:pt x="3657" y="184"/>
                  </a:lnTo>
                  <a:lnTo>
                    <a:pt x="3666" y="181"/>
                  </a:lnTo>
                  <a:lnTo>
                    <a:pt x="3675" y="175"/>
                  </a:lnTo>
                  <a:lnTo>
                    <a:pt x="3682" y="169"/>
                  </a:lnTo>
                  <a:lnTo>
                    <a:pt x="3691" y="150"/>
                  </a:lnTo>
                  <a:lnTo>
                    <a:pt x="3697" y="122"/>
                  </a:lnTo>
                  <a:lnTo>
                    <a:pt x="3704" y="100"/>
                  </a:lnTo>
                  <a:lnTo>
                    <a:pt x="3704" y="94"/>
                  </a:lnTo>
                  <a:lnTo>
                    <a:pt x="3704" y="87"/>
                  </a:lnTo>
                  <a:lnTo>
                    <a:pt x="3700" y="78"/>
                  </a:lnTo>
                  <a:lnTo>
                    <a:pt x="3700" y="69"/>
                  </a:lnTo>
                  <a:lnTo>
                    <a:pt x="3700" y="62"/>
                  </a:lnTo>
                  <a:lnTo>
                    <a:pt x="3700" y="56"/>
                  </a:lnTo>
                  <a:lnTo>
                    <a:pt x="3704" y="53"/>
                  </a:lnTo>
                  <a:lnTo>
                    <a:pt x="3707" y="50"/>
                  </a:lnTo>
                  <a:lnTo>
                    <a:pt x="3716" y="50"/>
                  </a:lnTo>
                  <a:lnTo>
                    <a:pt x="3722" y="53"/>
                  </a:lnTo>
                  <a:lnTo>
                    <a:pt x="3732" y="56"/>
                  </a:lnTo>
                  <a:lnTo>
                    <a:pt x="3738" y="59"/>
                  </a:lnTo>
                  <a:lnTo>
                    <a:pt x="3744" y="62"/>
                  </a:lnTo>
                  <a:lnTo>
                    <a:pt x="3750" y="62"/>
                  </a:lnTo>
                  <a:lnTo>
                    <a:pt x="3772" y="65"/>
                  </a:lnTo>
                  <a:lnTo>
                    <a:pt x="3794" y="65"/>
                  </a:lnTo>
                  <a:lnTo>
                    <a:pt x="3813" y="62"/>
                  </a:lnTo>
                  <a:lnTo>
                    <a:pt x="3825" y="50"/>
                  </a:lnTo>
                  <a:lnTo>
                    <a:pt x="3844" y="12"/>
                  </a:lnTo>
                  <a:lnTo>
                    <a:pt x="3857" y="3"/>
                  </a:lnTo>
                  <a:lnTo>
                    <a:pt x="3863" y="0"/>
                  </a:lnTo>
                  <a:lnTo>
                    <a:pt x="3875" y="0"/>
                  </a:lnTo>
                  <a:lnTo>
                    <a:pt x="3885" y="0"/>
                  </a:lnTo>
                  <a:lnTo>
                    <a:pt x="3885" y="12"/>
                  </a:lnTo>
                  <a:lnTo>
                    <a:pt x="3878" y="34"/>
                  </a:lnTo>
                  <a:lnTo>
                    <a:pt x="3875" y="65"/>
                  </a:lnTo>
                  <a:lnTo>
                    <a:pt x="3875" y="94"/>
                  </a:lnTo>
                  <a:lnTo>
                    <a:pt x="3878" y="115"/>
                  </a:lnTo>
                  <a:lnTo>
                    <a:pt x="3891" y="137"/>
                  </a:lnTo>
                  <a:lnTo>
                    <a:pt x="3906" y="162"/>
                  </a:lnTo>
                  <a:lnTo>
                    <a:pt x="3925" y="181"/>
                  </a:lnTo>
                  <a:lnTo>
                    <a:pt x="3944" y="197"/>
                  </a:lnTo>
                  <a:lnTo>
                    <a:pt x="3966" y="200"/>
                  </a:lnTo>
                  <a:lnTo>
                    <a:pt x="3991" y="200"/>
                  </a:lnTo>
                  <a:lnTo>
                    <a:pt x="4016" y="197"/>
                  </a:lnTo>
                  <a:lnTo>
                    <a:pt x="4038" y="200"/>
                  </a:lnTo>
                  <a:lnTo>
                    <a:pt x="4044" y="206"/>
                  </a:lnTo>
                  <a:lnTo>
                    <a:pt x="4050" y="209"/>
                  </a:lnTo>
                  <a:lnTo>
                    <a:pt x="4056" y="218"/>
                  </a:lnTo>
                  <a:lnTo>
                    <a:pt x="4063" y="225"/>
                  </a:lnTo>
                  <a:lnTo>
                    <a:pt x="4066" y="231"/>
                  </a:lnTo>
                  <a:lnTo>
                    <a:pt x="4078" y="250"/>
                  </a:lnTo>
                  <a:lnTo>
                    <a:pt x="4084" y="272"/>
                  </a:lnTo>
                  <a:lnTo>
                    <a:pt x="4091" y="297"/>
                  </a:lnTo>
                  <a:lnTo>
                    <a:pt x="4094" y="318"/>
                  </a:lnTo>
                  <a:lnTo>
                    <a:pt x="4088" y="337"/>
                  </a:lnTo>
                  <a:lnTo>
                    <a:pt x="4072" y="362"/>
                  </a:lnTo>
                  <a:lnTo>
                    <a:pt x="4060" y="384"/>
                  </a:lnTo>
                  <a:lnTo>
                    <a:pt x="4053" y="406"/>
                  </a:lnTo>
                  <a:lnTo>
                    <a:pt x="4056" y="425"/>
                  </a:lnTo>
                  <a:lnTo>
                    <a:pt x="4066" y="446"/>
                  </a:lnTo>
                  <a:lnTo>
                    <a:pt x="4075" y="468"/>
                  </a:lnTo>
                  <a:lnTo>
                    <a:pt x="4088" y="484"/>
                  </a:lnTo>
                  <a:lnTo>
                    <a:pt x="4103" y="487"/>
                  </a:lnTo>
                  <a:lnTo>
                    <a:pt x="4125" y="490"/>
                  </a:lnTo>
                  <a:lnTo>
                    <a:pt x="4147" y="490"/>
                  </a:lnTo>
                  <a:lnTo>
                    <a:pt x="4166" y="493"/>
                  </a:lnTo>
                  <a:lnTo>
                    <a:pt x="4194" y="506"/>
                  </a:lnTo>
                  <a:lnTo>
                    <a:pt x="4222" y="524"/>
                  </a:lnTo>
                  <a:lnTo>
                    <a:pt x="4247" y="543"/>
                  </a:lnTo>
                  <a:lnTo>
                    <a:pt x="4259" y="559"/>
                  </a:lnTo>
                  <a:lnTo>
                    <a:pt x="4272" y="581"/>
                  </a:lnTo>
                  <a:lnTo>
                    <a:pt x="4287" y="599"/>
                  </a:lnTo>
                  <a:lnTo>
                    <a:pt x="4303" y="609"/>
                  </a:lnTo>
                  <a:lnTo>
                    <a:pt x="4319" y="606"/>
                  </a:lnTo>
                  <a:lnTo>
                    <a:pt x="4334" y="599"/>
                  </a:lnTo>
                  <a:lnTo>
                    <a:pt x="4353" y="587"/>
                  </a:lnTo>
                  <a:lnTo>
                    <a:pt x="4369" y="578"/>
                  </a:lnTo>
                  <a:lnTo>
                    <a:pt x="4387" y="571"/>
                  </a:lnTo>
                  <a:lnTo>
                    <a:pt x="4412" y="562"/>
                  </a:lnTo>
                  <a:lnTo>
                    <a:pt x="4437" y="553"/>
                  </a:lnTo>
                  <a:lnTo>
                    <a:pt x="4459" y="549"/>
                  </a:lnTo>
                  <a:lnTo>
                    <a:pt x="4487" y="553"/>
                  </a:lnTo>
                  <a:lnTo>
                    <a:pt x="4519" y="562"/>
                  </a:lnTo>
                  <a:lnTo>
                    <a:pt x="4544" y="578"/>
                  </a:lnTo>
                  <a:lnTo>
                    <a:pt x="4559" y="596"/>
                  </a:lnTo>
                  <a:lnTo>
                    <a:pt x="4569" y="628"/>
                  </a:lnTo>
                  <a:lnTo>
                    <a:pt x="4575" y="653"/>
                  </a:lnTo>
                  <a:lnTo>
                    <a:pt x="4569" y="671"/>
                  </a:lnTo>
                  <a:lnTo>
                    <a:pt x="4556" y="696"/>
                  </a:lnTo>
                  <a:lnTo>
                    <a:pt x="4544" y="718"/>
                  </a:lnTo>
                  <a:lnTo>
                    <a:pt x="4537" y="737"/>
                  </a:lnTo>
                  <a:lnTo>
                    <a:pt x="4540" y="759"/>
                  </a:lnTo>
                  <a:lnTo>
                    <a:pt x="4547" y="784"/>
                  </a:lnTo>
                  <a:lnTo>
                    <a:pt x="4556" y="802"/>
                  </a:lnTo>
                  <a:lnTo>
                    <a:pt x="4581" y="824"/>
                  </a:lnTo>
                  <a:lnTo>
                    <a:pt x="4612" y="843"/>
                  </a:lnTo>
                  <a:lnTo>
                    <a:pt x="4637" y="862"/>
                  </a:lnTo>
                  <a:lnTo>
                    <a:pt x="4643" y="865"/>
                  </a:lnTo>
                  <a:lnTo>
                    <a:pt x="4653" y="871"/>
                  </a:lnTo>
                  <a:lnTo>
                    <a:pt x="4659" y="880"/>
                  </a:lnTo>
                  <a:lnTo>
                    <a:pt x="4665" y="887"/>
                  </a:lnTo>
                  <a:lnTo>
                    <a:pt x="4672" y="896"/>
                  </a:lnTo>
                  <a:lnTo>
                    <a:pt x="4672" y="902"/>
                  </a:lnTo>
                  <a:lnTo>
                    <a:pt x="4672" y="909"/>
                  </a:lnTo>
                  <a:lnTo>
                    <a:pt x="4668" y="918"/>
                  </a:lnTo>
                  <a:lnTo>
                    <a:pt x="4665" y="924"/>
                  </a:lnTo>
                  <a:lnTo>
                    <a:pt x="4659" y="930"/>
                  </a:lnTo>
                  <a:lnTo>
                    <a:pt x="4653" y="937"/>
                  </a:lnTo>
                  <a:lnTo>
                    <a:pt x="4647" y="943"/>
                  </a:lnTo>
                  <a:lnTo>
                    <a:pt x="4631" y="955"/>
                  </a:lnTo>
                  <a:lnTo>
                    <a:pt x="4609" y="965"/>
                  </a:lnTo>
                  <a:lnTo>
                    <a:pt x="4587" y="971"/>
                  </a:lnTo>
                  <a:lnTo>
                    <a:pt x="4569" y="968"/>
                  </a:lnTo>
                  <a:lnTo>
                    <a:pt x="4547" y="962"/>
                  </a:lnTo>
                  <a:lnTo>
                    <a:pt x="4525" y="952"/>
                  </a:lnTo>
                  <a:lnTo>
                    <a:pt x="4503" y="946"/>
                  </a:lnTo>
                  <a:lnTo>
                    <a:pt x="4484" y="946"/>
                  </a:lnTo>
                  <a:lnTo>
                    <a:pt x="4478" y="955"/>
                  </a:lnTo>
                  <a:lnTo>
                    <a:pt x="4472" y="971"/>
                  </a:lnTo>
                  <a:lnTo>
                    <a:pt x="4469" y="990"/>
                  </a:lnTo>
                  <a:lnTo>
                    <a:pt x="4465" y="1002"/>
                  </a:lnTo>
                  <a:lnTo>
                    <a:pt x="4459" y="1024"/>
                  </a:lnTo>
                  <a:lnTo>
                    <a:pt x="4453" y="1049"/>
                  </a:lnTo>
                  <a:lnTo>
                    <a:pt x="4450" y="1068"/>
                  </a:lnTo>
                  <a:lnTo>
                    <a:pt x="4447" y="1099"/>
                  </a:lnTo>
                  <a:lnTo>
                    <a:pt x="4444" y="1137"/>
                  </a:lnTo>
                  <a:lnTo>
                    <a:pt x="4440" y="1165"/>
                  </a:lnTo>
                  <a:lnTo>
                    <a:pt x="4434" y="1193"/>
                  </a:lnTo>
                  <a:lnTo>
                    <a:pt x="4428" y="1227"/>
                  </a:lnTo>
                  <a:lnTo>
                    <a:pt x="4415" y="1252"/>
                  </a:lnTo>
                  <a:lnTo>
                    <a:pt x="4400" y="1261"/>
                  </a:lnTo>
                  <a:lnTo>
                    <a:pt x="4378" y="1271"/>
                  </a:lnTo>
                  <a:lnTo>
                    <a:pt x="4356" y="1277"/>
                  </a:lnTo>
                  <a:lnTo>
                    <a:pt x="4341" y="1286"/>
                  </a:lnTo>
                  <a:lnTo>
                    <a:pt x="4334" y="1296"/>
                  </a:lnTo>
                  <a:lnTo>
                    <a:pt x="4328" y="1305"/>
                  </a:lnTo>
                  <a:lnTo>
                    <a:pt x="4325" y="1318"/>
                  </a:lnTo>
                  <a:lnTo>
                    <a:pt x="4322" y="1327"/>
                  </a:lnTo>
                  <a:lnTo>
                    <a:pt x="4319" y="1336"/>
                  </a:lnTo>
                  <a:lnTo>
                    <a:pt x="4312" y="1352"/>
                  </a:lnTo>
                  <a:lnTo>
                    <a:pt x="4306" y="1371"/>
                  </a:lnTo>
                  <a:lnTo>
                    <a:pt x="4300" y="1386"/>
                  </a:lnTo>
                  <a:lnTo>
                    <a:pt x="4300" y="1402"/>
                  </a:lnTo>
                  <a:lnTo>
                    <a:pt x="4312" y="1414"/>
                  </a:lnTo>
                  <a:lnTo>
                    <a:pt x="4331" y="1430"/>
                  </a:lnTo>
                  <a:lnTo>
                    <a:pt x="4350" y="1443"/>
                  </a:lnTo>
                  <a:lnTo>
                    <a:pt x="4366" y="1455"/>
                  </a:lnTo>
                  <a:lnTo>
                    <a:pt x="4387" y="1471"/>
                  </a:lnTo>
                  <a:lnTo>
                    <a:pt x="4409" y="1492"/>
                  </a:lnTo>
                  <a:lnTo>
                    <a:pt x="4425" y="1514"/>
                  </a:lnTo>
                  <a:lnTo>
                    <a:pt x="4425" y="1521"/>
                  </a:lnTo>
                  <a:lnTo>
                    <a:pt x="4425" y="1530"/>
                  </a:lnTo>
                  <a:lnTo>
                    <a:pt x="4425" y="1539"/>
                  </a:lnTo>
                  <a:lnTo>
                    <a:pt x="4425" y="1549"/>
                  </a:lnTo>
                  <a:lnTo>
                    <a:pt x="4425" y="1555"/>
                  </a:lnTo>
                  <a:lnTo>
                    <a:pt x="4412" y="1574"/>
                  </a:lnTo>
                  <a:lnTo>
                    <a:pt x="4397" y="1592"/>
                  </a:lnTo>
                  <a:lnTo>
                    <a:pt x="4387" y="1611"/>
                  </a:lnTo>
                  <a:lnTo>
                    <a:pt x="4384" y="1636"/>
                  </a:lnTo>
                  <a:lnTo>
                    <a:pt x="4384" y="1664"/>
                  </a:lnTo>
                  <a:lnTo>
                    <a:pt x="4387" y="1686"/>
                  </a:lnTo>
                  <a:lnTo>
                    <a:pt x="4397" y="1711"/>
                  </a:lnTo>
                  <a:lnTo>
                    <a:pt x="4412" y="1739"/>
                  </a:lnTo>
                  <a:lnTo>
                    <a:pt x="4428" y="1767"/>
                  </a:lnTo>
                  <a:lnTo>
                    <a:pt x="4437" y="1792"/>
                  </a:lnTo>
                  <a:lnTo>
                    <a:pt x="4440" y="1811"/>
                  </a:lnTo>
                  <a:lnTo>
                    <a:pt x="4444" y="1839"/>
                  </a:lnTo>
                  <a:lnTo>
                    <a:pt x="4447" y="1864"/>
                  </a:lnTo>
                  <a:lnTo>
                    <a:pt x="4453" y="1883"/>
                  </a:lnTo>
                  <a:lnTo>
                    <a:pt x="4472" y="1902"/>
                  </a:lnTo>
                  <a:lnTo>
                    <a:pt x="4497" y="1917"/>
                  </a:lnTo>
                  <a:lnTo>
                    <a:pt x="4525" y="1936"/>
                  </a:lnTo>
                  <a:lnTo>
                    <a:pt x="4544" y="1952"/>
                  </a:lnTo>
                  <a:lnTo>
                    <a:pt x="4553" y="1967"/>
                  </a:lnTo>
                  <a:lnTo>
                    <a:pt x="4562" y="1989"/>
                  </a:lnTo>
                  <a:lnTo>
                    <a:pt x="4572" y="2008"/>
                  </a:lnTo>
                  <a:lnTo>
                    <a:pt x="4584" y="2020"/>
                  </a:lnTo>
                  <a:lnTo>
                    <a:pt x="4606" y="2026"/>
                  </a:lnTo>
                  <a:lnTo>
                    <a:pt x="4634" y="2026"/>
                  </a:lnTo>
                  <a:lnTo>
                    <a:pt x="4665" y="2026"/>
                  </a:lnTo>
                  <a:lnTo>
                    <a:pt x="4693" y="2023"/>
                  </a:lnTo>
                  <a:lnTo>
                    <a:pt x="4718" y="2026"/>
                  </a:lnTo>
                  <a:lnTo>
                    <a:pt x="4737" y="2033"/>
                  </a:lnTo>
                  <a:lnTo>
                    <a:pt x="4756" y="2042"/>
                  </a:lnTo>
                  <a:lnTo>
                    <a:pt x="4771" y="2051"/>
                  </a:lnTo>
                  <a:lnTo>
                    <a:pt x="4800" y="2051"/>
                  </a:lnTo>
                  <a:lnTo>
                    <a:pt x="4831" y="2051"/>
                  </a:lnTo>
                  <a:lnTo>
                    <a:pt x="4865" y="2051"/>
                  </a:lnTo>
                  <a:lnTo>
                    <a:pt x="4890" y="2058"/>
                  </a:lnTo>
                  <a:lnTo>
                    <a:pt x="4896" y="2061"/>
                  </a:lnTo>
                  <a:lnTo>
                    <a:pt x="4903" y="2070"/>
                  </a:lnTo>
                  <a:lnTo>
                    <a:pt x="4912" y="2080"/>
                  </a:lnTo>
                  <a:lnTo>
                    <a:pt x="4915" y="2086"/>
                  </a:lnTo>
                  <a:lnTo>
                    <a:pt x="4931" y="2108"/>
                  </a:lnTo>
                  <a:lnTo>
                    <a:pt x="4946" y="2136"/>
                  </a:lnTo>
                  <a:lnTo>
                    <a:pt x="4965" y="2161"/>
                  </a:lnTo>
                  <a:lnTo>
                    <a:pt x="4984" y="2176"/>
                  </a:lnTo>
                  <a:lnTo>
                    <a:pt x="5006" y="2183"/>
                  </a:lnTo>
                  <a:lnTo>
                    <a:pt x="5037" y="2186"/>
                  </a:lnTo>
                  <a:lnTo>
                    <a:pt x="5062" y="2186"/>
                  </a:lnTo>
                  <a:lnTo>
                    <a:pt x="5084" y="2189"/>
                  </a:lnTo>
                  <a:lnTo>
                    <a:pt x="5112" y="2189"/>
                  </a:lnTo>
                  <a:lnTo>
                    <a:pt x="5134" y="2192"/>
                  </a:lnTo>
                  <a:lnTo>
                    <a:pt x="5156" y="2192"/>
                  </a:lnTo>
                  <a:lnTo>
                    <a:pt x="5177" y="2195"/>
                  </a:lnTo>
                  <a:lnTo>
                    <a:pt x="5196" y="2201"/>
                  </a:lnTo>
                  <a:lnTo>
                    <a:pt x="5202" y="2208"/>
                  </a:lnTo>
                  <a:lnTo>
                    <a:pt x="5209" y="2217"/>
                  </a:lnTo>
                  <a:lnTo>
                    <a:pt x="5218" y="2226"/>
                  </a:lnTo>
                  <a:lnTo>
                    <a:pt x="5224" y="2236"/>
                  </a:lnTo>
                  <a:lnTo>
                    <a:pt x="5231" y="2242"/>
                  </a:lnTo>
                  <a:lnTo>
                    <a:pt x="5252" y="2248"/>
                  </a:lnTo>
                  <a:lnTo>
                    <a:pt x="5277" y="2251"/>
                  </a:lnTo>
                  <a:lnTo>
                    <a:pt x="5299" y="2251"/>
                  </a:lnTo>
                  <a:lnTo>
                    <a:pt x="5324" y="2245"/>
                  </a:lnTo>
                  <a:lnTo>
                    <a:pt x="5352" y="2233"/>
                  </a:lnTo>
                  <a:lnTo>
                    <a:pt x="5377" y="2220"/>
                  </a:lnTo>
                  <a:lnTo>
                    <a:pt x="5384" y="2217"/>
                  </a:lnTo>
                  <a:lnTo>
                    <a:pt x="5393" y="2208"/>
                  </a:lnTo>
                  <a:lnTo>
                    <a:pt x="5402" y="2201"/>
                  </a:lnTo>
                  <a:lnTo>
                    <a:pt x="5409" y="2192"/>
                  </a:lnTo>
                  <a:lnTo>
                    <a:pt x="5418" y="2186"/>
                  </a:lnTo>
                  <a:lnTo>
                    <a:pt x="5427" y="2183"/>
                  </a:lnTo>
                  <a:lnTo>
                    <a:pt x="5449" y="2179"/>
                  </a:lnTo>
                  <a:lnTo>
                    <a:pt x="5477" y="2179"/>
                  </a:lnTo>
                  <a:lnTo>
                    <a:pt x="5502" y="2179"/>
                  </a:lnTo>
                  <a:lnTo>
                    <a:pt x="5530" y="2173"/>
                  </a:lnTo>
                  <a:lnTo>
                    <a:pt x="5565" y="2161"/>
                  </a:lnTo>
                  <a:lnTo>
                    <a:pt x="5590" y="2148"/>
                  </a:lnTo>
                  <a:lnTo>
                    <a:pt x="5593" y="2142"/>
                  </a:lnTo>
                  <a:lnTo>
                    <a:pt x="5596" y="2133"/>
                  </a:lnTo>
                  <a:lnTo>
                    <a:pt x="5599" y="2123"/>
                  </a:lnTo>
                  <a:lnTo>
                    <a:pt x="5605" y="2114"/>
                  </a:lnTo>
                  <a:lnTo>
                    <a:pt x="5608" y="2108"/>
                  </a:lnTo>
                  <a:lnTo>
                    <a:pt x="5621" y="2095"/>
                  </a:lnTo>
                  <a:lnTo>
                    <a:pt x="5640" y="2086"/>
                  </a:lnTo>
                  <a:lnTo>
                    <a:pt x="5661" y="2076"/>
                  </a:lnTo>
                  <a:lnTo>
                    <a:pt x="5677" y="2076"/>
                  </a:lnTo>
                  <a:lnTo>
                    <a:pt x="5693" y="2080"/>
                  </a:lnTo>
                  <a:lnTo>
                    <a:pt x="5715" y="2092"/>
                  </a:lnTo>
                  <a:lnTo>
                    <a:pt x="5730" y="2105"/>
                  </a:lnTo>
                  <a:lnTo>
                    <a:pt x="5740" y="2120"/>
                  </a:lnTo>
                  <a:lnTo>
                    <a:pt x="5743" y="2136"/>
                  </a:lnTo>
                  <a:lnTo>
                    <a:pt x="5736" y="2154"/>
                  </a:lnTo>
                  <a:lnTo>
                    <a:pt x="5730" y="2176"/>
                  </a:lnTo>
                  <a:lnTo>
                    <a:pt x="5724" y="2195"/>
                  </a:lnTo>
                  <a:lnTo>
                    <a:pt x="5724" y="2211"/>
                  </a:lnTo>
                  <a:lnTo>
                    <a:pt x="5730" y="2220"/>
                  </a:lnTo>
                  <a:lnTo>
                    <a:pt x="5736" y="2229"/>
                  </a:lnTo>
                  <a:lnTo>
                    <a:pt x="5746" y="2239"/>
                  </a:lnTo>
                  <a:lnTo>
                    <a:pt x="5755" y="2245"/>
                  </a:lnTo>
                  <a:lnTo>
                    <a:pt x="5764" y="2254"/>
                  </a:lnTo>
                  <a:lnTo>
                    <a:pt x="5771" y="2261"/>
                  </a:lnTo>
                  <a:lnTo>
                    <a:pt x="5777" y="2264"/>
                  </a:lnTo>
                  <a:lnTo>
                    <a:pt x="5786" y="2267"/>
                  </a:lnTo>
                  <a:lnTo>
                    <a:pt x="5796" y="2270"/>
                  </a:lnTo>
                  <a:lnTo>
                    <a:pt x="5805" y="2273"/>
                  </a:lnTo>
                  <a:lnTo>
                    <a:pt x="5811" y="2276"/>
                  </a:lnTo>
                  <a:lnTo>
                    <a:pt x="5818" y="2279"/>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67" name="Freeform 61">
              <a:extLst>
                <a:ext uri="{FF2B5EF4-FFF2-40B4-BE49-F238E27FC236}">
                  <a16:creationId xmlns:a16="http://schemas.microsoft.com/office/drawing/2014/main" id="{9A0B0811-3BF9-42FD-BA46-72BD0A8BE970}"/>
                </a:ext>
              </a:extLst>
            </p:cNvPr>
            <p:cNvSpPr>
              <a:spLocks/>
            </p:cNvSpPr>
            <p:nvPr/>
          </p:nvSpPr>
          <p:spPr bwMode="auto">
            <a:xfrm>
              <a:off x="19097626" y="5170488"/>
              <a:ext cx="8521700" cy="9848850"/>
            </a:xfrm>
            <a:custGeom>
              <a:avLst/>
              <a:gdLst>
                <a:gd name="T0" fmla="*/ 5127 w 5368"/>
                <a:gd name="T1" fmla="*/ 2432 h 6204"/>
                <a:gd name="T2" fmla="*/ 5024 w 5368"/>
                <a:gd name="T3" fmla="*/ 2688 h 6204"/>
                <a:gd name="T4" fmla="*/ 4887 w 5368"/>
                <a:gd name="T5" fmla="*/ 2916 h 6204"/>
                <a:gd name="T6" fmla="*/ 4662 w 5368"/>
                <a:gd name="T7" fmla="*/ 3119 h 6204"/>
                <a:gd name="T8" fmla="*/ 4531 w 5368"/>
                <a:gd name="T9" fmla="*/ 3332 h 6204"/>
                <a:gd name="T10" fmla="*/ 4359 w 5368"/>
                <a:gd name="T11" fmla="*/ 3478 h 6204"/>
                <a:gd name="T12" fmla="*/ 3897 w 5368"/>
                <a:gd name="T13" fmla="*/ 3329 h 6204"/>
                <a:gd name="T14" fmla="*/ 3385 w 5368"/>
                <a:gd name="T15" fmla="*/ 3653 h 6204"/>
                <a:gd name="T16" fmla="*/ 2860 w 5368"/>
                <a:gd name="T17" fmla="*/ 3891 h 6204"/>
                <a:gd name="T18" fmla="*/ 2454 w 5368"/>
                <a:gd name="T19" fmla="*/ 4381 h 6204"/>
                <a:gd name="T20" fmla="*/ 2286 w 5368"/>
                <a:gd name="T21" fmla="*/ 4471 h 6204"/>
                <a:gd name="T22" fmla="*/ 2320 w 5368"/>
                <a:gd name="T23" fmla="*/ 4637 h 6204"/>
                <a:gd name="T24" fmla="*/ 2245 w 5368"/>
                <a:gd name="T25" fmla="*/ 4693 h 6204"/>
                <a:gd name="T26" fmla="*/ 2261 w 5368"/>
                <a:gd name="T27" fmla="*/ 4868 h 6204"/>
                <a:gd name="T28" fmla="*/ 2167 w 5368"/>
                <a:gd name="T29" fmla="*/ 5052 h 6204"/>
                <a:gd name="T30" fmla="*/ 2332 w 5368"/>
                <a:gd name="T31" fmla="*/ 5274 h 6204"/>
                <a:gd name="T32" fmla="*/ 2332 w 5368"/>
                <a:gd name="T33" fmla="*/ 5739 h 6204"/>
                <a:gd name="T34" fmla="*/ 2417 w 5368"/>
                <a:gd name="T35" fmla="*/ 5967 h 6204"/>
                <a:gd name="T36" fmla="*/ 2023 w 5368"/>
                <a:gd name="T37" fmla="*/ 5880 h 6204"/>
                <a:gd name="T38" fmla="*/ 1645 w 5368"/>
                <a:gd name="T39" fmla="*/ 6033 h 6204"/>
                <a:gd name="T40" fmla="*/ 1471 w 5368"/>
                <a:gd name="T41" fmla="*/ 6114 h 6204"/>
                <a:gd name="T42" fmla="*/ 1193 w 5368"/>
                <a:gd name="T43" fmla="*/ 6026 h 6204"/>
                <a:gd name="T44" fmla="*/ 802 w 5368"/>
                <a:gd name="T45" fmla="*/ 5992 h 6204"/>
                <a:gd name="T46" fmla="*/ 421 w 5368"/>
                <a:gd name="T47" fmla="*/ 6036 h 6204"/>
                <a:gd name="T48" fmla="*/ 428 w 5368"/>
                <a:gd name="T49" fmla="*/ 5752 h 6204"/>
                <a:gd name="T50" fmla="*/ 78 w 5368"/>
                <a:gd name="T51" fmla="*/ 5808 h 6204"/>
                <a:gd name="T52" fmla="*/ 215 w 5368"/>
                <a:gd name="T53" fmla="*/ 5596 h 6204"/>
                <a:gd name="T54" fmla="*/ 456 w 5368"/>
                <a:gd name="T55" fmla="*/ 5477 h 6204"/>
                <a:gd name="T56" fmla="*/ 765 w 5368"/>
                <a:gd name="T57" fmla="*/ 5368 h 6204"/>
                <a:gd name="T58" fmla="*/ 496 w 5368"/>
                <a:gd name="T59" fmla="*/ 5271 h 6204"/>
                <a:gd name="T60" fmla="*/ 303 w 5368"/>
                <a:gd name="T61" fmla="*/ 5030 h 6204"/>
                <a:gd name="T62" fmla="*/ 468 w 5368"/>
                <a:gd name="T63" fmla="*/ 4943 h 6204"/>
                <a:gd name="T64" fmla="*/ 484 w 5368"/>
                <a:gd name="T65" fmla="*/ 4702 h 6204"/>
                <a:gd name="T66" fmla="*/ 384 w 5368"/>
                <a:gd name="T67" fmla="*/ 4359 h 6204"/>
                <a:gd name="T68" fmla="*/ 28 w 5368"/>
                <a:gd name="T69" fmla="*/ 4175 h 6204"/>
                <a:gd name="T70" fmla="*/ 206 w 5368"/>
                <a:gd name="T71" fmla="*/ 3719 h 6204"/>
                <a:gd name="T72" fmla="*/ 437 w 5368"/>
                <a:gd name="T73" fmla="*/ 3656 h 6204"/>
                <a:gd name="T74" fmla="*/ 830 w 5368"/>
                <a:gd name="T75" fmla="*/ 3681 h 6204"/>
                <a:gd name="T76" fmla="*/ 924 w 5368"/>
                <a:gd name="T77" fmla="*/ 3594 h 6204"/>
                <a:gd name="T78" fmla="*/ 1527 w 5368"/>
                <a:gd name="T79" fmla="*/ 3625 h 6204"/>
                <a:gd name="T80" fmla="*/ 1552 w 5368"/>
                <a:gd name="T81" fmla="*/ 3154 h 6204"/>
                <a:gd name="T82" fmla="*/ 1952 w 5368"/>
                <a:gd name="T83" fmla="*/ 3116 h 6204"/>
                <a:gd name="T84" fmla="*/ 2332 w 5368"/>
                <a:gd name="T85" fmla="*/ 2857 h 6204"/>
                <a:gd name="T86" fmla="*/ 2610 w 5368"/>
                <a:gd name="T87" fmla="*/ 2673 h 6204"/>
                <a:gd name="T88" fmla="*/ 2851 w 5368"/>
                <a:gd name="T89" fmla="*/ 2407 h 6204"/>
                <a:gd name="T90" fmla="*/ 2820 w 5368"/>
                <a:gd name="T91" fmla="*/ 2126 h 6204"/>
                <a:gd name="T92" fmla="*/ 2823 w 5368"/>
                <a:gd name="T93" fmla="*/ 1858 h 6204"/>
                <a:gd name="T94" fmla="*/ 2482 w 5368"/>
                <a:gd name="T95" fmla="*/ 1702 h 6204"/>
                <a:gd name="T96" fmla="*/ 2411 w 5368"/>
                <a:gd name="T97" fmla="*/ 1193 h 6204"/>
                <a:gd name="T98" fmla="*/ 2208 w 5368"/>
                <a:gd name="T99" fmla="*/ 665 h 6204"/>
                <a:gd name="T100" fmla="*/ 2317 w 5368"/>
                <a:gd name="T101" fmla="*/ 321 h 6204"/>
                <a:gd name="T102" fmla="*/ 2423 w 5368"/>
                <a:gd name="T103" fmla="*/ 162 h 6204"/>
                <a:gd name="T104" fmla="*/ 2595 w 5368"/>
                <a:gd name="T105" fmla="*/ 115 h 6204"/>
                <a:gd name="T106" fmla="*/ 2891 w 5368"/>
                <a:gd name="T107" fmla="*/ 94 h 6204"/>
                <a:gd name="T108" fmla="*/ 3185 w 5368"/>
                <a:gd name="T109" fmla="*/ 250 h 6204"/>
                <a:gd name="T110" fmla="*/ 3400 w 5368"/>
                <a:gd name="T111" fmla="*/ 309 h 6204"/>
                <a:gd name="T112" fmla="*/ 3706 w 5368"/>
                <a:gd name="T113" fmla="*/ 718 h 6204"/>
                <a:gd name="T114" fmla="*/ 3903 w 5368"/>
                <a:gd name="T115" fmla="*/ 1196 h 6204"/>
                <a:gd name="T116" fmla="*/ 4091 w 5368"/>
                <a:gd name="T117" fmla="*/ 1486 h 6204"/>
                <a:gd name="T118" fmla="*/ 4481 w 5368"/>
                <a:gd name="T119" fmla="*/ 1458 h 6204"/>
                <a:gd name="T120" fmla="*/ 4671 w 5368"/>
                <a:gd name="T121" fmla="*/ 1442 h 6204"/>
                <a:gd name="T122" fmla="*/ 4996 w 5368"/>
                <a:gd name="T123" fmla="*/ 1580 h 6204"/>
                <a:gd name="T124" fmla="*/ 5165 w 5368"/>
                <a:gd name="T125" fmla="*/ 2005 h 6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68" h="6204">
                  <a:moveTo>
                    <a:pt x="5355" y="2158"/>
                  </a:moveTo>
                  <a:lnTo>
                    <a:pt x="5362" y="2176"/>
                  </a:lnTo>
                  <a:lnTo>
                    <a:pt x="5368" y="2201"/>
                  </a:lnTo>
                  <a:lnTo>
                    <a:pt x="5368" y="2220"/>
                  </a:lnTo>
                  <a:lnTo>
                    <a:pt x="5355" y="2239"/>
                  </a:lnTo>
                  <a:lnTo>
                    <a:pt x="5340" y="2254"/>
                  </a:lnTo>
                  <a:lnTo>
                    <a:pt x="5318" y="2270"/>
                  </a:lnTo>
                  <a:lnTo>
                    <a:pt x="5302" y="2282"/>
                  </a:lnTo>
                  <a:lnTo>
                    <a:pt x="5293" y="2289"/>
                  </a:lnTo>
                  <a:lnTo>
                    <a:pt x="5283" y="2295"/>
                  </a:lnTo>
                  <a:lnTo>
                    <a:pt x="5271" y="2304"/>
                  </a:lnTo>
                  <a:lnTo>
                    <a:pt x="5258" y="2314"/>
                  </a:lnTo>
                  <a:lnTo>
                    <a:pt x="5252" y="2323"/>
                  </a:lnTo>
                  <a:lnTo>
                    <a:pt x="5246" y="2339"/>
                  </a:lnTo>
                  <a:lnTo>
                    <a:pt x="5240" y="2361"/>
                  </a:lnTo>
                  <a:lnTo>
                    <a:pt x="5230" y="2376"/>
                  </a:lnTo>
                  <a:lnTo>
                    <a:pt x="5215" y="2389"/>
                  </a:lnTo>
                  <a:lnTo>
                    <a:pt x="5193" y="2401"/>
                  </a:lnTo>
                  <a:lnTo>
                    <a:pt x="5174" y="2410"/>
                  </a:lnTo>
                  <a:lnTo>
                    <a:pt x="5165" y="2414"/>
                  </a:lnTo>
                  <a:lnTo>
                    <a:pt x="5155" y="2417"/>
                  </a:lnTo>
                  <a:lnTo>
                    <a:pt x="5146" y="2423"/>
                  </a:lnTo>
                  <a:lnTo>
                    <a:pt x="5134" y="2426"/>
                  </a:lnTo>
                  <a:lnTo>
                    <a:pt x="5127" y="2432"/>
                  </a:lnTo>
                  <a:lnTo>
                    <a:pt x="5121" y="2451"/>
                  </a:lnTo>
                  <a:lnTo>
                    <a:pt x="5118" y="2473"/>
                  </a:lnTo>
                  <a:lnTo>
                    <a:pt x="5118" y="2489"/>
                  </a:lnTo>
                  <a:lnTo>
                    <a:pt x="5109" y="2492"/>
                  </a:lnTo>
                  <a:lnTo>
                    <a:pt x="5093" y="2489"/>
                  </a:lnTo>
                  <a:lnTo>
                    <a:pt x="5074" y="2489"/>
                  </a:lnTo>
                  <a:lnTo>
                    <a:pt x="5062" y="2489"/>
                  </a:lnTo>
                  <a:lnTo>
                    <a:pt x="5052" y="2492"/>
                  </a:lnTo>
                  <a:lnTo>
                    <a:pt x="5043" y="2501"/>
                  </a:lnTo>
                  <a:lnTo>
                    <a:pt x="5037" y="2510"/>
                  </a:lnTo>
                  <a:lnTo>
                    <a:pt x="5030" y="2520"/>
                  </a:lnTo>
                  <a:lnTo>
                    <a:pt x="5024" y="2529"/>
                  </a:lnTo>
                  <a:lnTo>
                    <a:pt x="5021" y="2551"/>
                  </a:lnTo>
                  <a:lnTo>
                    <a:pt x="5021" y="2582"/>
                  </a:lnTo>
                  <a:lnTo>
                    <a:pt x="5024" y="2607"/>
                  </a:lnTo>
                  <a:lnTo>
                    <a:pt x="5027" y="2610"/>
                  </a:lnTo>
                  <a:lnTo>
                    <a:pt x="5027" y="2617"/>
                  </a:lnTo>
                  <a:lnTo>
                    <a:pt x="5030" y="2626"/>
                  </a:lnTo>
                  <a:lnTo>
                    <a:pt x="5034" y="2632"/>
                  </a:lnTo>
                  <a:lnTo>
                    <a:pt x="5037" y="2638"/>
                  </a:lnTo>
                  <a:lnTo>
                    <a:pt x="5037" y="2642"/>
                  </a:lnTo>
                  <a:lnTo>
                    <a:pt x="5037" y="2648"/>
                  </a:lnTo>
                  <a:lnTo>
                    <a:pt x="5030" y="2667"/>
                  </a:lnTo>
                  <a:lnTo>
                    <a:pt x="5024" y="2688"/>
                  </a:lnTo>
                  <a:lnTo>
                    <a:pt x="5021" y="2704"/>
                  </a:lnTo>
                  <a:lnTo>
                    <a:pt x="5018" y="2713"/>
                  </a:lnTo>
                  <a:lnTo>
                    <a:pt x="5015" y="2723"/>
                  </a:lnTo>
                  <a:lnTo>
                    <a:pt x="5006" y="2741"/>
                  </a:lnTo>
                  <a:lnTo>
                    <a:pt x="4996" y="2766"/>
                  </a:lnTo>
                  <a:lnTo>
                    <a:pt x="4987" y="2791"/>
                  </a:lnTo>
                  <a:lnTo>
                    <a:pt x="4981" y="2810"/>
                  </a:lnTo>
                  <a:lnTo>
                    <a:pt x="4984" y="2829"/>
                  </a:lnTo>
                  <a:lnTo>
                    <a:pt x="4990" y="2848"/>
                  </a:lnTo>
                  <a:lnTo>
                    <a:pt x="4993" y="2863"/>
                  </a:lnTo>
                  <a:lnTo>
                    <a:pt x="4993" y="2882"/>
                  </a:lnTo>
                  <a:lnTo>
                    <a:pt x="4987" y="2904"/>
                  </a:lnTo>
                  <a:lnTo>
                    <a:pt x="4981" y="2923"/>
                  </a:lnTo>
                  <a:lnTo>
                    <a:pt x="4971" y="2935"/>
                  </a:lnTo>
                  <a:lnTo>
                    <a:pt x="4962" y="2941"/>
                  </a:lnTo>
                  <a:lnTo>
                    <a:pt x="4952" y="2941"/>
                  </a:lnTo>
                  <a:lnTo>
                    <a:pt x="4943" y="2941"/>
                  </a:lnTo>
                  <a:lnTo>
                    <a:pt x="4931" y="2941"/>
                  </a:lnTo>
                  <a:lnTo>
                    <a:pt x="4924" y="2941"/>
                  </a:lnTo>
                  <a:lnTo>
                    <a:pt x="4915" y="2938"/>
                  </a:lnTo>
                  <a:lnTo>
                    <a:pt x="4909" y="2932"/>
                  </a:lnTo>
                  <a:lnTo>
                    <a:pt x="4899" y="2923"/>
                  </a:lnTo>
                  <a:lnTo>
                    <a:pt x="4893" y="2919"/>
                  </a:lnTo>
                  <a:lnTo>
                    <a:pt x="4887" y="2916"/>
                  </a:lnTo>
                  <a:lnTo>
                    <a:pt x="4868" y="2916"/>
                  </a:lnTo>
                  <a:lnTo>
                    <a:pt x="4849" y="2919"/>
                  </a:lnTo>
                  <a:lnTo>
                    <a:pt x="4828" y="2926"/>
                  </a:lnTo>
                  <a:lnTo>
                    <a:pt x="4812" y="2932"/>
                  </a:lnTo>
                  <a:lnTo>
                    <a:pt x="4806" y="2932"/>
                  </a:lnTo>
                  <a:lnTo>
                    <a:pt x="4799" y="2929"/>
                  </a:lnTo>
                  <a:lnTo>
                    <a:pt x="4793" y="2929"/>
                  </a:lnTo>
                  <a:lnTo>
                    <a:pt x="4787" y="2929"/>
                  </a:lnTo>
                  <a:lnTo>
                    <a:pt x="4781" y="2932"/>
                  </a:lnTo>
                  <a:lnTo>
                    <a:pt x="4778" y="2935"/>
                  </a:lnTo>
                  <a:lnTo>
                    <a:pt x="4774" y="2944"/>
                  </a:lnTo>
                  <a:lnTo>
                    <a:pt x="4771" y="2954"/>
                  </a:lnTo>
                  <a:lnTo>
                    <a:pt x="4768" y="2966"/>
                  </a:lnTo>
                  <a:lnTo>
                    <a:pt x="4765" y="2973"/>
                  </a:lnTo>
                  <a:lnTo>
                    <a:pt x="4762" y="2982"/>
                  </a:lnTo>
                  <a:lnTo>
                    <a:pt x="4749" y="2991"/>
                  </a:lnTo>
                  <a:lnTo>
                    <a:pt x="4728" y="3001"/>
                  </a:lnTo>
                  <a:lnTo>
                    <a:pt x="4709" y="3007"/>
                  </a:lnTo>
                  <a:lnTo>
                    <a:pt x="4693" y="3019"/>
                  </a:lnTo>
                  <a:lnTo>
                    <a:pt x="4687" y="3038"/>
                  </a:lnTo>
                  <a:lnTo>
                    <a:pt x="4687" y="3063"/>
                  </a:lnTo>
                  <a:lnTo>
                    <a:pt x="4684" y="3082"/>
                  </a:lnTo>
                  <a:lnTo>
                    <a:pt x="4675" y="3101"/>
                  </a:lnTo>
                  <a:lnTo>
                    <a:pt x="4662" y="3119"/>
                  </a:lnTo>
                  <a:lnTo>
                    <a:pt x="4656" y="3135"/>
                  </a:lnTo>
                  <a:lnTo>
                    <a:pt x="4659" y="3144"/>
                  </a:lnTo>
                  <a:lnTo>
                    <a:pt x="4668" y="3151"/>
                  </a:lnTo>
                  <a:lnTo>
                    <a:pt x="4675" y="3160"/>
                  </a:lnTo>
                  <a:lnTo>
                    <a:pt x="4684" y="3169"/>
                  </a:lnTo>
                  <a:lnTo>
                    <a:pt x="4690" y="3176"/>
                  </a:lnTo>
                  <a:lnTo>
                    <a:pt x="4693" y="3185"/>
                  </a:lnTo>
                  <a:lnTo>
                    <a:pt x="4693" y="3200"/>
                  </a:lnTo>
                  <a:lnTo>
                    <a:pt x="4687" y="3222"/>
                  </a:lnTo>
                  <a:lnTo>
                    <a:pt x="4678" y="3238"/>
                  </a:lnTo>
                  <a:lnTo>
                    <a:pt x="4675" y="3244"/>
                  </a:lnTo>
                  <a:lnTo>
                    <a:pt x="4665" y="3254"/>
                  </a:lnTo>
                  <a:lnTo>
                    <a:pt x="4659" y="3263"/>
                  </a:lnTo>
                  <a:lnTo>
                    <a:pt x="4650" y="3269"/>
                  </a:lnTo>
                  <a:lnTo>
                    <a:pt x="4643" y="3275"/>
                  </a:lnTo>
                  <a:lnTo>
                    <a:pt x="4628" y="3285"/>
                  </a:lnTo>
                  <a:lnTo>
                    <a:pt x="4609" y="3291"/>
                  </a:lnTo>
                  <a:lnTo>
                    <a:pt x="4590" y="3297"/>
                  </a:lnTo>
                  <a:lnTo>
                    <a:pt x="4581" y="3300"/>
                  </a:lnTo>
                  <a:lnTo>
                    <a:pt x="4565" y="3307"/>
                  </a:lnTo>
                  <a:lnTo>
                    <a:pt x="4553" y="3310"/>
                  </a:lnTo>
                  <a:lnTo>
                    <a:pt x="4543" y="3316"/>
                  </a:lnTo>
                  <a:lnTo>
                    <a:pt x="4537" y="3322"/>
                  </a:lnTo>
                  <a:lnTo>
                    <a:pt x="4531" y="3332"/>
                  </a:lnTo>
                  <a:lnTo>
                    <a:pt x="4521" y="3341"/>
                  </a:lnTo>
                  <a:lnTo>
                    <a:pt x="4515" y="3350"/>
                  </a:lnTo>
                  <a:lnTo>
                    <a:pt x="4509" y="3360"/>
                  </a:lnTo>
                  <a:lnTo>
                    <a:pt x="4493" y="3366"/>
                  </a:lnTo>
                  <a:lnTo>
                    <a:pt x="4472" y="3372"/>
                  </a:lnTo>
                  <a:lnTo>
                    <a:pt x="4456" y="3378"/>
                  </a:lnTo>
                  <a:lnTo>
                    <a:pt x="4453" y="3378"/>
                  </a:lnTo>
                  <a:lnTo>
                    <a:pt x="4447" y="3375"/>
                  </a:lnTo>
                  <a:lnTo>
                    <a:pt x="4440" y="3375"/>
                  </a:lnTo>
                  <a:lnTo>
                    <a:pt x="4437" y="3378"/>
                  </a:lnTo>
                  <a:lnTo>
                    <a:pt x="4434" y="3382"/>
                  </a:lnTo>
                  <a:lnTo>
                    <a:pt x="4431" y="3388"/>
                  </a:lnTo>
                  <a:lnTo>
                    <a:pt x="4431" y="3397"/>
                  </a:lnTo>
                  <a:lnTo>
                    <a:pt x="4428" y="3407"/>
                  </a:lnTo>
                  <a:lnTo>
                    <a:pt x="4428" y="3416"/>
                  </a:lnTo>
                  <a:lnTo>
                    <a:pt x="4428" y="3422"/>
                  </a:lnTo>
                  <a:lnTo>
                    <a:pt x="4425" y="3428"/>
                  </a:lnTo>
                  <a:lnTo>
                    <a:pt x="4409" y="3435"/>
                  </a:lnTo>
                  <a:lnTo>
                    <a:pt x="4387" y="3441"/>
                  </a:lnTo>
                  <a:lnTo>
                    <a:pt x="4368" y="3447"/>
                  </a:lnTo>
                  <a:lnTo>
                    <a:pt x="4356" y="3457"/>
                  </a:lnTo>
                  <a:lnTo>
                    <a:pt x="4356" y="3463"/>
                  </a:lnTo>
                  <a:lnTo>
                    <a:pt x="4356" y="3469"/>
                  </a:lnTo>
                  <a:lnTo>
                    <a:pt x="4359" y="3478"/>
                  </a:lnTo>
                  <a:lnTo>
                    <a:pt x="4362" y="3488"/>
                  </a:lnTo>
                  <a:lnTo>
                    <a:pt x="4334" y="3488"/>
                  </a:lnTo>
                  <a:lnTo>
                    <a:pt x="4306" y="3488"/>
                  </a:lnTo>
                  <a:lnTo>
                    <a:pt x="4281" y="3488"/>
                  </a:lnTo>
                  <a:lnTo>
                    <a:pt x="4256" y="3485"/>
                  </a:lnTo>
                  <a:lnTo>
                    <a:pt x="4225" y="3478"/>
                  </a:lnTo>
                  <a:lnTo>
                    <a:pt x="4200" y="3472"/>
                  </a:lnTo>
                  <a:lnTo>
                    <a:pt x="4181" y="3466"/>
                  </a:lnTo>
                  <a:lnTo>
                    <a:pt x="4162" y="3457"/>
                  </a:lnTo>
                  <a:lnTo>
                    <a:pt x="4147" y="3444"/>
                  </a:lnTo>
                  <a:lnTo>
                    <a:pt x="4147" y="3425"/>
                  </a:lnTo>
                  <a:lnTo>
                    <a:pt x="4156" y="3403"/>
                  </a:lnTo>
                  <a:lnTo>
                    <a:pt x="4166" y="3382"/>
                  </a:lnTo>
                  <a:lnTo>
                    <a:pt x="4169" y="3363"/>
                  </a:lnTo>
                  <a:lnTo>
                    <a:pt x="4156" y="3341"/>
                  </a:lnTo>
                  <a:lnTo>
                    <a:pt x="4137" y="3316"/>
                  </a:lnTo>
                  <a:lnTo>
                    <a:pt x="4119" y="3300"/>
                  </a:lnTo>
                  <a:lnTo>
                    <a:pt x="4091" y="3291"/>
                  </a:lnTo>
                  <a:lnTo>
                    <a:pt x="4056" y="3285"/>
                  </a:lnTo>
                  <a:lnTo>
                    <a:pt x="4025" y="3285"/>
                  </a:lnTo>
                  <a:lnTo>
                    <a:pt x="3997" y="3288"/>
                  </a:lnTo>
                  <a:lnTo>
                    <a:pt x="3966" y="3300"/>
                  </a:lnTo>
                  <a:lnTo>
                    <a:pt x="3931" y="3313"/>
                  </a:lnTo>
                  <a:lnTo>
                    <a:pt x="3897" y="3329"/>
                  </a:lnTo>
                  <a:lnTo>
                    <a:pt x="3872" y="3338"/>
                  </a:lnTo>
                  <a:lnTo>
                    <a:pt x="3841" y="3350"/>
                  </a:lnTo>
                  <a:lnTo>
                    <a:pt x="3806" y="3363"/>
                  </a:lnTo>
                  <a:lnTo>
                    <a:pt x="3778" y="3378"/>
                  </a:lnTo>
                  <a:lnTo>
                    <a:pt x="3756" y="3394"/>
                  </a:lnTo>
                  <a:lnTo>
                    <a:pt x="3738" y="3419"/>
                  </a:lnTo>
                  <a:lnTo>
                    <a:pt x="3716" y="3444"/>
                  </a:lnTo>
                  <a:lnTo>
                    <a:pt x="3697" y="3466"/>
                  </a:lnTo>
                  <a:lnTo>
                    <a:pt x="3678" y="3482"/>
                  </a:lnTo>
                  <a:lnTo>
                    <a:pt x="3657" y="3503"/>
                  </a:lnTo>
                  <a:lnTo>
                    <a:pt x="3635" y="3516"/>
                  </a:lnTo>
                  <a:lnTo>
                    <a:pt x="3613" y="3531"/>
                  </a:lnTo>
                  <a:lnTo>
                    <a:pt x="3585" y="3547"/>
                  </a:lnTo>
                  <a:lnTo>
                    <a:pt x="3560" y="3560"/>
                  </a:lnTo>
                  <a:lnTo>
                    <a:pt x="3541" y="3563"/>
                  </a:lnTo>
                  <a:lnTo>
                    <a:pt x="3516" y="3563"/>
                  </a:lnTo>
                  <a:lnTo>
                    <a:pt x="3488" y="3566"/>
                  </a:lnTo>
                  <a:lnTo>
                    <a:pt x="3469" y="3572"/>
                  </a:lnTo>
                  <a:lnTo>
                    <a:pt x="3450" y="3588"/>
                  </a:lnTo>
                  <a:lnTo>
                    <a:pt x="3432" y="3610"/>
                  </a:lnTo>
                  <a:lnTo>
                    <a:pt x="3413" y="3625"/>
                  </a:lnTo>
                  <a:lnTo>
                    <a:pt x="3404" y="3635"/>
                  </a:lnTo>
                  <a:lnTo>
                    <a:pt x="3394" y="3644"/>
                  </a:lnTo>
                  <a:lnTo>
                    <a:pt x="3385" y="3653"/>
                  </a:lnTo>
                  <a:lnTo>
                    <a:pt x="3372" y="3663"/>
                  </a:lnTo>
                  <a:lnTo>
                    <a:pt x="3366" y="3672"/>
                  </a:lnTo>
                  <a:lnTo>
                    <a:pt x="3354" y="3691"/>
                  </a:lnTo>
                  <a:lnTo>
                    <a:pt x="3341" y="3719"/>
                  </a:lnTo>
                  <a:lnTo>
                    <a:pt x="3329" y="3744"/>
                  </a:lnTo>
                  <a:lnTo>
                    <a:pt x="3313" y="3766"/>
                  </a:lnTo>
                  <a:lnTo>
                    <a:pt x="3294" y="3775"/>
                  </a:lnTo>
                  <a:lnTo>
                    <a:pt x="3269" y="3784"/>
                  </a:lnTo>
                  <a:lnTo>
                    <a:pt x="3244" y="3791"/>
                  </a:lnTo>
                  <a:lnTo>
                    <a:pt x="3226" y="3800"/>
                  </a:lnTo>
                  <a:lnTo>
                    <a:pt x="3204" y="3816"/>
                  </a:lnTo>
                  <a:lnTo>
                    <a:pt x="3182" y="3837"/>
                  </a:lnTo>
                  <a:lnTo>
                    <a:pt x="3157" y="3856"/>
                  </a:lnTo>
                  <a:lnTo>
                    <a:pt x="3135" y="3872"/>
                  </a:lnTo>
                  <a:lnTo>
                    <a:pt x="3110" y="3881"/>
                  </a:lnTo>
                  <a:lnTo>
                    <a:pt x="3082" y="3891"/>
                  </a:lnTo>
                  <a:lnTo>
                    <a:pt x="3051" y="3897"/>
                  </a:lnTo>
                  <a:lnTo>
                    <a:pt x="3026" y="3900"/>
                  </a:lnTo>
                  <a:lnTo>
                    <a:pt x="3007" y="3900"/>
                  </a:lnTo>
                  <a:lnTo>
                    <a:pt x="2985" y="3897"/>
                  </a:lnTo>
                  <a:lnTo>
                    <a:pt x="2966" y="3894"/>
                  </a:lnTo>
                  <a:lnTo>
                    <a:pt x="2935" y="3894"/>
                  </a:lnTo>
                  <a:lnTo>
                    <a:pt x="2898" y="3891"/>
                  </a:lnTo>
                  <a:lnTo>
                    <a:pt x="2860" y="3891"/>
                  </a:lnTo>
                  <a:lnTo>
                    <a:pt x="2829" y="3894"/>
                  </a:lnTo>
                  <a:lnTo>
                    <a:pt x="2807" y="3906"/>
                  </a:lnTo>
                  <a:lnTo>
                    <a:pt x="2785" y="3922"/>
                  </a:lnTo>
                  <a:lnTo>
                    <a:pt x="2763" y="3937"/>
                  </a:lnTo>
                  <a:lnTo>
                    <a:pt x="2748" y="3953"/>
                  </a:lnTo>
                  <a:lnTo>
                    <a:pt x="2726" y="3981"/>
                  </a:lnTo>
                  <a:lnTo>
                    <a:pt x="2704" y="4019"/>
                  </a:lnTo>
                  <a:lnTo>
                    <a:pt x="2682" y="4056"/>
                  </a:lnTo>
                  <a:lnTo>
                    <a:pt x="2660" y="4084"/>
                  </a:lnTo>
                  <a:lnTo>
                    <a:pt x="2642" y="4097"/>
                  </a:lnTo>
                  <a:lnTo>
                    <a:pt x="2620" y="4112"/>
                  </a:lnTo>
                  <a:lnTo>
                    <a:pt x="2601" y="4125"/>
                  </a:lnTo>
                  <a:lnTo>
                    <a:pt x="2585" y="4147"/>
                  </a:lnTo>
                  <a:lnTo>
                    <a:pt x="2570" y="4178"/>
                  </a:lnTo>
                  <a:lnTo>
                    <a:pt x="2551" y="4206"/>
                  </a:lnTo>
                  <a:lnTo>
                    <a:pt x="2539" y="4231"/>
                  </a:lnTo>
                  <a:lnTo>
                    <a:pt x="2520" y="4247"/>
                  </a:lnTo>
                  <a:lnTo>
                    <a:pt x="2501" y="4265"/>
                  </a:lnTo>
                  <a:lnTo>
                    <a:pt x="2485" y="4284"/>
                  </a:lnTo>
                  <a:lnTo>
                    <a:pt x="2482" y="4300"/>
                  </a:lnTo>
                  <a:lnTo>
                    <a:pt x="2479" y="4321"/>
                  </a:lnTo>
                  <a:lnTo>
                    <a:pt x="2476" y="4340"/>
                  </a:lnTo>
                  <a:lnTo>
                    <a:pt x="2467" y="4359"/>
                  </a:lnTo>
                  <a:lnTo>
                    <a:pt x="2454" y="4381"/>
                  </a:lnTo>
                  <a:lnTo>
                    <a:pt x="2439" y="4396"/>
                  </a:lnTo>
                  <a:lnTo>
                    <a:pt x="2423" y="4412"/>
                  </a:lnTo>
                  <a:lnTo>
                    <a:pt x="2404" y="4428"/>
                  </a:lnTo>
                  <a:lnTo>
                    <a:pt x="2386" y="4434"/>
                  </a:lnTo>
                  <a:lnTo>
                    <a:pt x="2376" y="4434"/>
                  </a:lnTo>
                  <a:lnTo>
                    <a:pt x="2367" y="4431"/>
                  </a:lnTo>
                  <a:lnTo>
                    <a:pt x="2357" y="4428"/>
                  </a:lnTo>
                  <a:lnTo>
                    <a:pt x="2348" y="4425"/>
                  </a:lnTo>
                  <a:lnTo>
                    <a:pt x="2339" y="4418"/>
                  </a:lnTo>
                  <a:lnTo>
                    <a:pt x="2339" y="4415"/>
                  </a:lnTo>
                  <a:lnTo>
                    <a:pt x="2336" y="4409"/>
                  </a:lnTo>
                  <a:lnTo>
                    <a:pt x="2336" y="4400"/>
                  </a:lnTo>
                  <a:lnTo>
                    <a:pt x="2332" y="4393"/>
                  </a:lnTo>
                  <a:lnTo>
                    <a:pt x="2332" y="4390"/>
                  </a:lnTo>
                  <a:lnTo>
                    <a:pt x="2329" y="4384"/>
                  </a:lnTo>
                  <a:lnTo>
                    <a:pt x="2317" y="4384"/>
                  </a:lnTo>
                  <a:lnTo>
                    <a:pt x="2301" y="4387"/>
                  </a:lnTo>
                  <a:lnTo>
                    <a:pt x="2286" y="4393"/>
                  </a:lnTo>
                  <a:lnTo>
                    <a:pt x="2276" y="4400"/>
                  </a:lnTo>
                  <a:lnTo>
                    <a:pt x="2270" y="4418"/>
                  </a:lnTo>
                  <a:lnTo>
                    <a:pt x="2270" y="4440"/>
                  </a:lnTo>
                  <a:lnTo>
                    <a:pt x="2276" y="4459"/>
                  </a:lnTo>
                  <a:lnTo>
                    <a:pt x="2279" y="4465"/>
                  </a:lnTo>
                  <a:lnTo>
                    <a:pt x="2286" y="4471"/>
                  </a:lnTo>
                  <a:lnTo>
                    <a:pt x="2295" y="4478"/>
                  </a:lnTo>
                  <a:lnTo>
                    <a:pt x="2301" y="4484"/>
                  </a:lnTo>
                  <a:lnTo>
                    <a:pt x="2308" y="4487"/>
                  </a:lnTo>
                  <a:lnTo>
                    <a:pt x="2314" y="4490"/>
                  </a:lnTo>
                  <a:lnTo>
                    <a:pt x="2320" y="4490"/>
                  </a:lnTo>
                  <a:lnTo>
                    <a:pt x="2326" y="4493"/>
                  </a:lnTo>
                  <a:lnTo>
                    <a:pt x="2329" y="4493"/>
                  </a:lnTo>
                  <a:lnTo>
                    <a:pt x="2332" y="4499"/>
                  </a:lnTo>
                  <a:lnTo>
                    <a:pt x="2332" y="4509"/>
                  </a:lnTo>
                  <a:lnTo>
                    <a:pt x="2332" y="4518"/>
                  </a:lnTo>
                  <a:lnTo>
                    <a:pt x="2332" y="4528"/>
                  </a:lnTo>
                  <a:lnTo>
                    <a:pt x="2332" y="4534"/>
                  </a:lnTo>
                  <a:lnTo>
                    <a:pt x="2332" y="4543"/>
                  </a:lnTo>
                  <a:lnTo>
                    <a:pt x="2332" y="4556"/>
                  </a:lnTo>
                  <a:lnTo>
                    <a:pt x="2332" y="4565"/>
                  </a:lnTo>
                  <a:lnTo>
                    <a:pt x="2332" y="4574"/>
                  </a:lnTo>
                  <a:lnTo>
                    <a:pt x="2329" y="4581"/>
                  </a:lnTo>
                  <a:lnTo>
                    <a:pt x="2326" y="4584"/>
                  </a:lnTo>
                  <a:lnTo>
                    <a:pt x="2323" y="4590"/>
                  </a:lnTo>
                  <a:lnTo>
                    <a:pt x="2320" y="4593"/>
                  </a:lnTo>
                  <a:lnTo>
                    <a:pt x="2317" y="4603"/>
                  </a:lnTo>
                  <a:lnTo>
                    <a:pt x="2317" y="4612"/>
                  </a:lnTo>
                  <a:lnTo>
                    <a:pt x="2317" y="4624"/>
                  </a:lnTo>
                  <a:lnTo>
                    <a:pt x="2320" y="4637"/>
                  </a:lnTo>
                  <a:lnTo>
                    <a:pt x="2320" y="4643"/>
                  </a:lnTo>
                  <a:lnTo>
                    <a:pt x="2320" y="4652"/>
                  </a:lnTo>
                  <a:lnTo>
                    <a:pt x="2320" y="4665"/>
                  </a:lnTo>
                  <a:lnTo>
                    <a:pt x="2320" y="4677"/>
                  </a:lnTo>
                  <a:lnTo>
                    <a:pt x="2320" y="4687"/>
                  </a:lnTo>
                  <a:lnTo>
                    <a:pt x="2317" y="4693"/>
                  </a:lnTo>
                  <a:lnTo>
                    <a:pt x="2317" y="4699"/>
                  </a:lnTo>
                  <a:lnTo>
                    <a:pt x="2314" y="4709"/>
                  </a:lnTo>
                  <a:lnTo>
                    <a:pt x="2311" y="4715"/>
                  </a:lnTo>
                  <a:lnTo>
                    <a:pt x="2304" y="4718"/>
                  </a:lnTo>
                  <a:lnTo>
                    <a:pt x="2301" y="4721"/>
                  </a:lnTo>
                  <a:lnTo>
                    <a:pt x="2295" y="4718"/>
                  </a:lnTo>
                  <a:lnTo>
                    <a:pt x="2286" y="4718"/>
                  </a:lnTo>
                  <a:lnTo>
                    <a:pt x="2279" y="4715"/>
                  </a:lnTo>
                  <a:lnTo>
                    <a:pt x="2276" y="4712"/>
                  </a:lnTo>
                  <a:lnTo>
                    <a:pt x="2270" y="4706"/>
                  </a:lnTo>
                  <a:lnTo>
                    <a:pt x="2267" y="4699"/>
                  </a:lnTo>
                  <a:lnTo>
                    <a:pt x="2264" y="4693"/>
                  </a:lnTo>
                  <a:lnTo>
                    <a:pt x="2258" y="4684"/>
                  </a:lnTo>
                  <a:lnTo>
                    <a:pt x="2254" y="4681"/>
                  </a:lnTo>
                  <a:lnTo>
                    <a:pt x="2251" y="4677"/>
                  </a:lnTo>
                  <a:lnTo>
                    <a:pt x="2248" y="4681"/>
                  </a:lnTo>
                  <a:lnTo>
                    <a:pt x="2245" y="4687"/>
                  </a:lnTo>
                  <a:lnTo>
                    <a:pt x="2245" y="4693"/>
                  </a:lnTo>
                  <a:lnTo>
                    <a:pt x="2245" y="4699"/>
                  </a:lnTo>
                  <a:lnTo>
                    <a:pt x="2248" y="4709"/>
                  </a:lnTo>
                  <a:lnTo>
                    <a:pt x="2248" y="4715"/>
                  </a:lnTo>
                  <a:lnTo>
                    <a:pt x="2251" y="4718"/>
                  </a:lnTo>
                  <a:lnTo>
                    <a:pt x="2261" y="4743"/>
                  </a:lnTo>
                  <a:lnTo>
                    <a:pt x="2276" y="4774"/>
                  </a:lnTo>
                  <a:lnTo>
                    <a:pt x="2295" y="4796"/>
                  </a:lnTo>
                  <a:lnTo>
                    <a:pt x="2301" y="4802"/>
                  </a:lnTo>
                  <a:lnTo>
                    <a:pt x="2311" y="4809"/>
                  </a:lnTo>
                  <a:lnTo>
                    <a:pt x="2320" y="4815"/>
                  </a:lnTo>
                  <a:lnTo>
                    <a:pt x="2329" y="4821"/>
                  </a:lnTo>
                  <a:lnTo>
                    <a:pt x="2336" y="4827"/>
                  </a:lnTo>
                  <a:lnTo>
                    <a:pt x="2342" y="4834"/>
                  </a:lnTo>
                  <a:lnTo>
                    <a:pt x="2342" y="4840"/>
                  </a:lnTo>
                  <a:lnTo>
                    <a:pt x="2345" y="4849"/>
                  </a:lnTo>
                  <a:lnTo>
                    <a:pt x="2342" y="4855"/>
                  </a:lnTo>
                  <a:lnTo>
                    <a:pt x="2342" y="4865"/>
                  </a:lnTo>
                  <a:lnTo>
                    <a:pt x="2339" y="4871"/>
                  </a:lnTo>
                  <a:lnTo>
                    <a:pt x="2323" y="4880"/>
                  </a:lnTo>
                  <a:lnTo>
                    <a:pt x="2298" y="4887"/>
                  </a:lnTo>
                  <a:lnTo>
                    <a:pt x="2276" y="4887"/>
                  </a:lnTo>
                  <a:lnTo>
                    <a:pt x="2273" y="4884"/>
                  </a:lnTo>
                  <a:lnTo>
                    <a:pt x="2267" y="4877"/>
                  </a:lnTo>
                  <a:lnTo>
                    <a:pt x="2261" y="4868"/>
                  </a:lnTo>
                  <a:lnTo>
                    <a:pt x="2258" y="4859"/>
                  </a:lnTo>
                  <a:lnTo>
                    <a:pt x="2251" y="4849"/>
                  </a:lnTo>
                  <a:lnTo>
                    <a:pt x="2245" y="4843"/>
                  </a:lnTo>
                  <a:lnTo>
                    <a:pt x="2239" y="4840"/>
                  </a:lnTo>
                  <a:lnTo>
                    <a:pt x="2220" y="4843"/>
                  </a:lnTo>
                  <a:lnTo>
                    <a:pt x="2198" y="4855"/>
                  </a:lnTo>
                  <a:lnTo>
                    <a:pt x="2176" y="4871"/>
                  </a:lnTo>
                  <a:lnTo>
                    <a:pt x="2167" y="4887"/>
                  </a:lnTo>
                  <a:lnTo>
                    <a:pt x="2170" y="4893"/>
                  </a:lnTo>
                  <a:lnTo>
                    <a:pt x="2173" y="4899"/>
                  </a:lnTo>
                  <a:lnTo>
                    <a:pt x="2179" y="4905"/>
                  </a:lnTo>
                  <a:lnTo>
                    <a:pt x="2186" y="4915"/>
                  </a:lnTo>
                  <a:lnTo>
                    <a:pt x="2192" y="4921"/>
                  </a:lnTo>
                  <a:lnTo>
                    <a:pt x="2192" y="4927"/>
                  </a:lnTo>
                  <a:lnTo>
                    <a:pt x="2192" y="4934"/>
                  </a:lnTo>
                  <a:lnTo>
                    <a:pt x="2189" y="4943"/>
                  </a:lnTo>
                  <a:lnTo>
                    <a:pt x="2183" y="4949"/>
                  </a:lnTo>
                  <a:lnTo>
                    <a:pt x="2176" y="4959"/>
                  </a:lnTo>
                  <a:lnTo>
                    <a:pt x="2170" y="4968"/>
                  </a:lnTo>
                  <a:lnTo>
                    <a:pt x="2167" y="4974"/>
                  </a:lnTo>
                  <a:lnTo>
                    <a:pt x="2164" y="4993"/>
                  </a:lnTo>
                  <a:lnTo>
                    <a:pt x="2164" y="5015"/>
                  </a:lnTo>
                  <a:lnTo>
                    <a:pt x="2164" y="5037"/>
                  </a:lnTo>
                  <a:lnTo>
                    <a:pt x="2167" y="5052"/>
                  </a:lnTo>
                  <a:lnTo>
                    <a:pt x="2173" y="5062"/>
                  </a:lnTo>
                  <a:lnTo>
                    <a:pt x="2179" y="5068"/>
                  </a:lnTo>
                  <a:lnTo>
                    <a:pt x="2189" y="5074"/>
                  </a:lnTo>
                  <a:lnTo>
                    <a:pt x="2198" y="5080"/>
                  </a:lnTo>
                  <a:lnTo>
                    <a:pt x="2208" y="5087"/>
                  </a:lnTo>
                  <a:lnTo>
                    <a:pt x="2217" y="5090"/>
                  </a:lnTo>
                  <a:lnTo>
                    <a:pt x="2236" y="5090"/>
                  </a:lnTo>
                  <a:lnTo>
                    <a:pt x="2258" y="5083"/>
                  </a:lnTo>
                  <a:lnTo>
                    <a:pt x="2283" y="5077"/>
                  </a:lnTo>
                  <a:lnTo>
                    <a:pt x="2301" y="5077"/>
                  </a:lnTo>
                  <a:lnTo>
                    <a:pt x="2317" y="5087"/>
                  </a:lnTo>
                  <a:lnTo>
                    <a:pt x="2336" y="5102"/>
                  </a:lnTo>
                  <a:lnTo>
                    <a:pt x="2354" y="5121"/>
                  </a:lnTo>
                  <a:lnTo>
                    <a:pt x="2364" y="5136"/>
                  </a:lnTo>
                  <a:lnTo>
                    <a:pt x="2370" y="5146"/>
                  </a:lnTo>
                  <a:lnTo>
                    <a:pt x="2373" y="5158"/>
                  </a:lnTo>
                  <a:lnTo>
                    <a:pt x="2373" y="5171"/>
                  </a:lnTo>
                  <a:lnTo>
                    <a:pt x="2376" y="5180"/>
                  </a:lnTo>
                  <a:lnTo>
                    <a:pt x="2373" y="5205"/>
                  </a:lnTo>
                  <a:lnTo>
                    <a:pt x="2367" y="5230"/>
                  </a:lnTo>
                  <a:lnTo>
                    <a:pt x="2357" y="5252"/>
                  </a:lnTo>
                  <a:lnTo>
                    <a:pt x="2351" y="5258"/>
                  </a:lnTo>
                  <a:lnTo>
                    <a:pt x="2342" y="5265"/>
                  </a:lnTo>
                  <a:lnTo>
                    <a:pt x="2332" y="5274"/>
                  </a:lnTo>
                  <a:lnTo>
                    <a:pt x="2326" y="5280"/>
                  </a:lnTo>
                  <a:lnTo>
                    <a:pt x="2320" y="5286"/>
                  </a:lnTo>
                  <a:lnTo>
                    <a:pt x="2320" y="5308"/>
                  </a:lnTo>
                  <a:lnTo>
                    <a:pt x="2329" y="5333"/>
                  </a:lnTo>
                  <a:lnTo>
                    <a:pt x="2339" y="5358"/>
                  </a:lnTo>
                  <a:lnTo>
                    <a:pt x="2342" y="5377"/>
                  </a:lnTo>
                  <a:lnTo>
                    <a:pt x="2339" y="5386"/>
                  </a:lnTo>
                  <a:lnTo>
                    <a:pt x="2336" y="5396"/>
                  </a:lnTo>
                  <a:lnTo>
                    <a:pt x="2332" y="5408"/>
                  </a:lnTo>
                  <a:lnTo>
                    <a:pt x="2329" y="5418"/>
                  </a:lnTo>
                  <a:lnTo>
                    <a:pt x="2326" y="5427"/>
                  </a:lnTo>
                  <a:lnTo>
                    <a:pt x="2326" y="5436"/>
                  </a:lnTo>
                  <a:lnTo>
                    <a:pt x="2326" y="5446"/>
                  </a:lnTo>
                  <a:lnTo>
                    <a:pt x="2326" y="5455"/>
                  </a:lnTo>
                  <a:lnTo>
                    <a:pt x="2326" y="5464"/>
                  </a:lnTo>
                  <a:lnTo>
                    <a:pt x="2320" y="5496"/>
                  </a:lnTo>
                  <a:lnTo>
                    <a:pt x="2311" y="5530"/>
                  </a:lnTo>
                  <a:lnTo>
                    <a:pt x="2298" y="5564"/>
                  </a:lnTo>
                  <a:lnTo>
                    <a:pt x="2295" y="5592"/>
                  </a:lnTo>
                  <a:lnTo>
                    <a:pt x="2298" y="5620"/>
                  </a:lnTo>
                  <a:lnTo>
                    <a:pt x="2301" y="5655"/>
                  </a:lnTo>
                  <a:lnTo>
                    <a:pt x="2308" y="5689"/>
                  </a:lnTo>
                  <a:lnTo>
                    <a:pt x="2320" y="5717"/>
                  </a:lnTo>
                  <a:lnTo>
                    <a:pt x="2332" y="5739"/>
                  </a:lnTo>
                  <a:lnTo>
                    <a:pt x="2348" y="5742"/>
                  </a:lnTo>
                  <a:lnTo>
                    <a:pt x="2370" y="5742"/>
                  </a:lnTo>
                  <a:lnTo>
                    <a:pt x="2392" y="5739"/>
                  </a:lnTo>
                  <a:lnTo>
                    <a:pt x="2411" y="5739"/>
                  </a:lnTo>
                  <a:lnTo>
                    <a:pt x="2429" y="5742"/>
                  </a:lnTo>
                  <a:lnTo>
                    <a:pt x="2448" y="5745"/>
                  </a:lnTo>
                  <a:lnTo>
                    <a:pt x="2470" y="5752"/>
                  </a:lnTo>
                  <a:lnTo>
                    <a:pt x="2482" y="5761"/>
                  </a:lnTo>
                  <a:lnTo>
                    <a:pt x="2489" y="5777"/>
                  </a:lnTo>
                  <a:lnTo>
                    <a:pt x="2489" y="5798"/>
                  </a:lnTo>
                  <a:lnTo>
                    <a:pt x="2489" y="5820"/>
                  </a:lnTo>
                  <a:lnTo>
                    <a:pt x="2492" y="5836"/>
                  </a:lnTo>
                  <a:lnTo>
                    <a:pt x="2507" y="5848"/>
                  </a:lnTo>
                  <a:lnTo>
                    <a:pt x="2529" y="5861"/>
                  </a:lnTo>
                  <a:lnTo>
                    <a:pt x="2545" y="5873"/>
                  </a:lnTo>
                  <a:lnTo>
                    <a:pt x="2545" y="5889"/>
                  </a:lnTo>
                  <a:lnTo>
                    <a:pt x="2542" y="5911"/>
                  </a:lnTo>
                  <a:lnTo>
                    <a:pt x="2535" y="5930"/>
                  </a:lnTo>
                  <a:lnTo>
                    <a:pt x="2529" y="5942"/>
                  </a:lnTo>
                  <a:lnTo>
                    <a:pt x="2510" y="5955"/>
                  </a:lnTo>
                  <a:lnTo>
                    <a:pt x="2489" y="5964"/>
                  </a:lnTo>
                  <a:lnTo>
                    <a:pt x="2464" y="5970"/>
                  </a:lnTo>
                  <a:lnTo>
                    <a:pt x="2442" y="5970"/>
                  </a:lnTo>
                  <a:lnTo>
                    <a:pt x="2417" y="5967"/>
                  </a:lnTo>
                  <a:lnTo>
                    <a:pt x="2389" y="5955"/>
                  </a:lnTo>
                  <a:lnTo>
                    <a:pt x="2364" y="5942"/>
                  </a:lnTo>
                  <a:lnTo>
                    <a:pt x="2342" y="5927"/>
                  </a:lnTo>
                  <a:lnTo>
                    <a:pt x="2336" y="5920"/>
                  </a:lnTo>
                  <a:lnTo>
                    <a:pt x="2329" y="5911"/>
                  </a:lnTo>
                  <a:lnTo>
                    <a:pt x="2323" y="5898"/>
                  </a:lnTo>
                  <a:lnTo>
                    <a:pt x="2314" y="5889"/>
                  </a:lnTo>
                  <a:lnTo>
                    <a:pt x="2308" y="5883"/>
                  </a:lnTo>
                  <a:lnTo>
                    <a:pt x="2292" y="5873"/>
                  </a:lnTo>
                  <a:lnTo>
                    <a:pt x="2270" y="5864"/>
                  </a:lnTo>
                  <a:lnTo>
                    <a:pt x="2245" y="5858"/>
                  </a:lnTo>
                  <a:lnTo>
                    <a:pt x="2226" y="5855"/>
                  </a:lnTo>
                  <a:lnTo>
                    <a:pt x="2220" y="5858"/>
                  </a:lnTo>
                  <a:lnTo>
                    <a:pt x="2211" y="5864"/>
                  </a:lnTo>
                  <a:lnTo>
                    <a:pt x="2201" y="5870"/>
                  </a:lnTo>
                  <a:lnTo>
                    <a:pt x="2192" y="5877"/>
                  </a:lnTo>
                  <a:lnTo>
                    <a:pt x="2186" y="5880"/>
                  </a:lnTo>
                  <a:lnTo>
                    <a:pt x="2179" y="5883"/>
                  </a:lnTo>
                  <a:lnTo>
                    <a:pt x="2154" y="5886"/>
                  </a:lnTo>
                  <a:lnTo>
                    <a:pt x="2126" y="5886"/>
                  </a:lnTo>
                  <a:lnTo>
                    <a:pt x="2105" y="5886"/>
                  </a:lnTo>
                  <a:lnTo>
                    <a:pt x="2080" y="5883"/>
                  </a:lnTo>
                  <a:lnTo>
                    <a:pt x="2048" y="5880"/>
                  </a:lnTo>
                  <a:lnTo>
                    <a:pt x="2023" y="5880"/>
                  </a:lnTo>
                  <a:lnTo>
                    <a:pt x="2014" y="5883"/>
                  </a:lnTo>
                  <a:lnTo>
                    <a:pt x="2005" y="5886"/>
                  </a:lnTo>
                  <a:lnTo>
                    <a:pt x="1995" y="5892"/>
                  </a:lnTo>
                  <a:lnTo>
                    <a:pt x="1989" y="5898"/>
                  </a:lnTo>
                  <a:lnTo>
                    <a:pt x="1983" y="5902"/>
                  </a:lnTo>
                  <a:lnTo>
                    <a:pt x="1961" y="5923"/>
                  </a:lnTo>
                  <a:lnTo>
                    <a:pt x="1942" y="5951"/>
                  </a:lnTo>
                  <a:lnTo>
                    <a:pt x="1920" y="5970"/>
                  </a:lnTo>
                  <a:lnTo>
                    <a:pt x="1889" y="5983"/>
                  </a:lnTo>
                  <a:lnTo>
                    <a:pt x="1852" y="5986"/>
                  </a:lnTo>
                  <a:lnTo>
                    <a:pt x="1820" y="5989"/>
                  </a:lnTo>
                  <a:lnTo>
                    <a:pt x="1805" y="5986"/>
                  </a:lnTo>
                  <a:lnTo>
                    <a:pt x="1789" y="5980"/>
                  </a:lnTo>
                  <a:lnTo>
                    <a:pt x="1770" y="5973"/>
                  </a:lnTo>
                  <a:lnTo>
                    <a:pt x="1758" y="5973"/>
                  </a:lnTo>
                  <a:lnTo>
                    <a:pt x="1749" y="5986"/>
                  </a:lnTo>
                  <a:lnTo>
                    <a:pt x="1739" y="6001"/>
                  </a:lnTo>
                  <a:lnTo>
                    <a:pt x="1733" y="6020"/>
                  </a:lnTo>
                  <a:lnTo>
                    <a:pt x="1727" y="6033"/>
                  </a:lnTo>
                  <a:lnTo>
                    <a:pt x="1711" y="6036"/>
                  </a:lnTo>
                  <a:lnTo>
                    <a:pt x="1695" y="6033"/>
                  </a:lnTo>
                  <a:lnTo>
                    <a:pt x="1677" y="6030"/>
                  </a:lnTo>
                  <a:lnTo>
                    <a:pt x="1658" y="6026"/>
                  </a:lnTo>
                  <a:lnTo>
                    <a:pt x="1645" y="6033"/>
                  </a:lnTo>
                  <a:lnTo>
                    <a:pt x="1639" y="6045"/>
                  </a:lnTo>
                  <a:lnTo>
                    <a:pt x="1639" y="6067"/>
                  </a:lnTo>
                  <a:lnTo>
                    <a:pt x="1642" y="6086"/>
                  </a:lnTo>
                  <a:lnTo>
                    <a:pt x="1645" y="6104"/>
                  </a:lnTo>
                  <a:lnTo>
                    <a:pt x="1655" y="6120"/>
                  </a:lnTo>
                  <a:lnTo>
                    <a:pt x="1670" y="6139"/>
                  </a:lnTo>
                  <a:lnTo>
                    <a:pt x="1686" y="6161"/>
                  </a:lnTo>
                  <a:lnTo>
                    <a:pt x="1695" y="6179"/>
                  </a:lnTo>
                  <a:lnTo>
                    <a:pt x="1695" y="6192"/>
                  </a:lnTo>
                  <a:lnTo>
                    <a:pt x="1683" y="6201"/>
                  </a:lnTo>
                  <a:lnTo>
                    <a:pt x="1667" y="6204"/>
                  </a:lnTo>
                  <a:lnTo>
                    <a:pt x="1645" y="6201"/>
                  </a:lnTo>
                  <a:lnTo>
                    <a:pt x="1627" y="6198"/>
                  </a:lnTo>
                  <a:lnTo>
                    <a:pt x="1611" y="6192"/>
                  </a:lnTo>
                  <a:lnTo>
                    <a:pt x="1592" y="6179"/>
                  </a:lnTo>
                  <a:lnTo>
                    <a:pt x="1577" y="6158"/>
                  </a:lnTo>
                  <a:lnTo>
                    <a:pt x="1558" y="6139"/>
                  </a:lnTo>
                  <a:lnTo>
                    <a:pt x="1552" y="6136"/>
                  </a:lnTo>
                  <a:lnTo>
                    <a:pt x="1542" y="6129"/>
                  </a:lnTo>
                  <a:lnTo>
                    <a:pt x="1530" y="6126"/>
                  </a:lnTo>
                  <a:lnTo>
                    <a:pt x="1521" y="6123"/>
                  </a:lnTo>
                  <a:lnTo>
                    <a:pt x="1511" y="6123"/>
                  </a:lnTo>
                  <a:lnTo>
                    <a:pt x="1492" y="6117"/>
                  </a:lnTo>
                  <a:lnTo>
                    <a:pt x="1471" y="6114"/>
                  </a:lnTo>
                  <a:lnTo>
                    <a:pt x="1449" y="6117"/>
                  </a:lnTo>
                  <a:lnTo>
                    <a:pt x="1433" y="6123"/>
                  </a:lnTo>
                  <a:lnTo>
                    <a:pt x="1430" y="6133"/>
                  </a:lnTo>
                  <a:lnTo>
                    <a:pt x="1433" y="6151"/>
                  </a:lnTo>
                  <a:lnTo>
                    <a:pt x="1436" y="6167"/>
                  </a:lnTo>
                  <a:lnTo>
                    <a:pt x="1433" y="6179"/>
                  </a:lnTo>
                  <a:lnTo>
                    <a:pt x="1421" y="6189"/>
                  </a:lnTo>
                  <a:lnTo>
                    <a:pt x="1399" y="6195"/>
                  </a:lnTo>
                  <a:lnTo>
                    <a:pt x="1374" y="6198"/>
                  </a:lnTo>
                  <a:lnTo>
                    <a:pt x="1358" y="6192"/>
                  </a:lnTo>
                  <a:lnTo>
                    <a:pt x="1349" y="6179"/>
                  </a:lnTo>
                  <a:lnTo>
                    <a:pt x="1346" y="6158"/>
                  </a:lnTo>
                  <a:lnTo>
                    <a:pt x="1343" y="6136"/>
                  </a:lnTo>
                  <a:lnTo>
                    <a:pt x="1333" y="6120"/>
                  </a:lnTo>
                  <a:lnTo>
                    <a:pt x="1318" y="6111"/>
                  </a:lnTo>
                  <a:lnTo>
                    <a:pt x="1296" y="6104"/>
                  </a:lnTo>
                  <a:lnTo>
                    <a:pt x="1271" y="6101"/>
                  </a:lnTo>
                  <a:lnTo>
                    <a:pt x="1249" y="6098"/>
                  </a:lnTo>
                  <a:lnTo>
                    <a:pt x="1233" y="6089"/>
                  </a:lnTo>
                  <a:lnTo>
                    <a:pt x="1227" y="6076"/>
                  </a:lnTo>
                  <a:lnTo>
                    <a:pt x="1221" y="6061"/>
                  </a:lnTo>
                  <a:lnTo>
                    <a:pt x="1218" y="6042"/>
                  </a:lnTo>
                  <a:lnTo>
                    <a:pt x="1208" y="6033"/>
                  </a:lnTo>
                  <a:lnTo>
                    <a:pt x="1193" y="6026"/>
                  </a:lnTo>
                  <a:lnTo>
                    <a:pt x="1171" y="6023"/>
                  </a:lnTo>
                  <a:lnTo>
                    <a:pt x="1146" y="6023"/>
                  </a:lnTo>
                  <a:lnTo>
                    <a:pt x="1124" y="6023"/>
                  </a:lnTo>
                  <a:lnTo>
                    <a:pt x="1108" y="6020"/>
                  </a:lnTo>
                  <a:lnTo>
                    <a:pt x="1090" y="6005"/>
                  </a:lnTo>
                  <a:lnTo>
                    <a:pt x="1071" y="5980"/>
                  </a:lnTo>
                  <a:lnTo>
                    <a:pt x="1052" y="5964"/>
                  </a:lnTo>
                  <a:lnTo>
                    <a:pt x="1027" y="5955"/>
                  </a:lnTo>
                  <a:lnTo>
                    <a:pt x="996" y="5951"/>
                  </a:lnTo>
                  <a:lnTo>
                    <a:pt x="971" y="5948"/>
                  </a:lnTo>
                  <a:lnTo>
                    <a:pt x="949" y="5945"/>
                  </a:lnTo>
                  <a:lnTo>
                    <a:pt x="921" y="5945"/>
                  </a:lnTo>
                  <a:lnTo>
                    <a:pt x="899" y="5948"/>
                  </a:lnTo>
                  <a:lnTo>
                    <a:pt x="890" y="5955"/>
                  </a:lnTo>
                  <a:lnTo>
                    <a:pt x="884" y="5964"/>
                  </a:lnTo>
                  <a:lnTo>
                    <a:pt x="877" y="5973"/>
                  </a:lnTo>
                  <a:lnTo>
                    <a:pt x="871" y="5983"/>
                  </a:lnTo>
                  <a:lnTo>
                    <a:pt x="865" y="5989"/>
                  </a:lnTo>
                  <a:lnTo>
                    <a:pt x="859" y="5992"/>
                  </a:lnTo>
                  <a:lnTo>
                    <a:pt x="852" y="5992"/>
                  </a:lnTo>
                  <a:lnTo>
                    <a:pt x="843" y="5992"/>
                  </a:lnTo>
                  <a:lnTo>
                    <a:pt x="837" y="5992"/>
                  </a:lnTo>
                  <a:lnTo>
                    <a:pt x="827" y="5992"/>
                  </a:lnTo>
                  <a:lnTo>
                    <a:pt x="802" y="5992"/>
                  </a:lnTo>
                  <a:lnTo>
                    <a:pt x="768" y="5989"/>
                  </a:lnTo>
                  <a:lnTo>
                    <a:pt x="743" y="5992"/>
                  </a:lnTo>
                  <a:lnTo>
                    <a:pt x="724" y="5995"/>
                  </a:lnTo>
                  <a:lnTo>
                    <a:pt x="706" y="6001"/>
                  </a:lnTo>
                  <a:lnTo>
                    <a:pt x="690" y="6011"/>
                  </a:lnTo>
                  <a:lnTo>
                    <a:pt x="690" y="6017"/>
                  </a:lnTo>
                  <a:lnTo>
                    <a:pt x="690" y="6023"/>
                  </a:lnTo>
                  <a:lnTo>
                    <a:pt x="690" y="6033"/>
                  </a:lnTo>
                  <a:lnTo>
                    <a:pt x="693" y="6039"/>
                  </a:lnTo>
                  <a:lnTo>
                    <a:pt x="690" y="6045"/>
                  </a:lnTo>
                  <a:lnTo>
                    <a:pt x="677" y="6064"/>
                  </a:lnTo>
                  <a:lnTo>
                    <a:pt x="659" y="6086"/>
                  </a:lnTo>
                  <a:lnTo>
                    <a:pt x="637" y="6104"/>
                  </a:lnTo>
                  <a:lnTo>
                    <a:pt x="618" y="6120"/>
                  </a:lnTo>
                  <a:lnTo>
                    <a:pt x="603" y="6126"/>
                  </a:lnTo>
                  <a:lnTo>
                    <a:pt x="584" y="6133"/>
                  </a:lnTo>
                  <a:lnTo>
                    <a:pt x="565" y="6136"/>
                  </a:lnTo>
                  <a:lnTo>
                    <a:pt x="537" y="6129"/>
                  </a:lnTo>
                  <a:lnTo>
                    <a:pt x="506" y="6120"/>
                  </a:lnTo>
                  <a:lnTo>
                    <a:pt x="478" y="6108"/>
                  </a:lnTo>
                  <a:lnTo>
                    <a:pt x="462" y="6092"/>
                  </a:lnTo>
                  <a:lnTo>
                    <a:pt x="443" y="6070"/>
                  </a:lnTo>
                  <a:lnTo>
                    <a:pt x="431" y="6051"/>
                  </a:lnTo>
                  <a:lnTo>
                    <a:pt x="421" y="6036"/>
                  </a:lnTo>
                  <a:lnTo>
                    <a:pt x="409" y="6017"/>
                  </a:lnTo>
                  <a:lnTo>
                    <a:pt x="403" y="5998"/>
                  </a:lnTo>
                  <a:lnTo>
                    <a:pt x="403" y="5983"/>
                  </a:lnTo>
                  <a:lnTo>
                    <a:pt x="406" y="5976"/>
                  </a:lnTo>
                  <a:lnTo>
                    <a:pt x="412" y="5970"/>
                  </a:lnTo>
                  <a:lnTo>
                    <a:pt x="421" y="5964"/>
                  </a:lnTo>
                  <a:lnTo>
                    <a:pt x="428" y="5961"/>
                  </a:lnTo>
                  <a:lnTo>
                    <a:pt x="446" y="5955"/>
                  </a:lnTo>
                  <a:lnTo>
                    <a:pt x="465" y="5951"/>
                  </a:lnTo>
                  <a:lnTo>
                    <a:pt x="481" y="5945"/>
                  </a:lnTo>
                  <a:lnTo>
                    <a:pt x="490" y="5930"/>
                  </a:lnTo>
                  <a:lnTo>
                    <a:pt x="493" y="5905"/>
                  </a:lnTo>
                  <a:lnTo>
                    <a:pt x="496" y="5886"/>
                  </a:lnTo>
                  <a:lnTo>
                    <a:pt x="496" y="5867"/>
                  </a:lnTo>
                  <a:lnTo>
                    <a:pt x="493" y="5842"/>
                  </a:lnTo>
                  <a:lnTo>
                    <a:pt x="490" y="5823"/>
                  </a:lnTo>
                  <a:lnTo>
                    <a:pt x="487" y="5802"/>
                  </a:lnTo>
                  <a:lnTo>
                    <a:pt x="481" y="5777"/>
                  </a:lnTo>
                  <a:lnTo>
                    <a:pt x="474" y="5755"/>
                  </a:lnTo>
                  <a:lnTo>
                    <a:pt x="462" y="5742"/>
                  </a:lnTo>
                  <a:lnTo>
                    <a:pt x="453" y="5739"/>
                  </a:lnTo>
                  <a:lnTo>
                    <a:pt x="446" y="5742"/>
                  </a:lnTo>
                  <a:lnTo>
                    <a:pt x="437" y="5745"/>
                  </a:lnTo>
                  <a:lnTo>
                    <a:pt x="428" y="5752"/>
                  </a:lnTo>
                  <a:lnTo>
                    <a:pt x="421" y="5755"/>
                  </a:lnTo>
                  <a:lnTo>
                    <a:pt x="415" y="5761"/>
                  </a:lnTo>
                  <a:lnTo>
                    <a:pt x="409" y="5780"/>
                  </a:lnTo>
                  <a:lnTo>
                    <a:pt x="406" y="5802"/>
                  </a:lnTo>
                  <a:lnTo>
                    <a:pt x="406" y="5823"/>
                  </a:lnTo>
                  <a:lnTo>
                    <a:pt x="403" y="5842"/>
                  </a:lnTo>
                  <a:lnTo>
                    <a:pt x="400" y="5852"/>
                  </a:lnTo>
                  <a:lnTo>
                    <a:pt x="393" y="5861"/>
                  </a:lnTo>
                  <a:lnTo>
                    <a:pt x="387" y="5873"/>
                  </a:lnTo>
                  <a:lnTo>
                    <a:pt x="378" y="5880"/>
                  </a:lnTo>
                  <a:lnTo>
                    <a:pt x="371" y="5886"/>
                  </a:lnTo>
                  <a:lnTo>
                    <a:pt x="353" y="5889"/>
                  </a:lnTo>
                  <a:lnTo>
                    <a:pt x="328" y="5889"/>
                  </a:lnTo>
                  <a:lnTo>
                    <a:pt x="309" y="5886"/>
                  </a:lnTo>
                  <a:lnTo>
                    <a:pt x="284" y="5886"/>
                  </a:lnTo>
                  <a:lnTo>
                    <a:pt x="259" y="5880"/>
                  </a:lnTo>
                  <a:lnTo>
                    <a:pt x="234" y="5870"/>
                  </a:lnTo>
                  <a:lnTo>
                    <a:pt x="209" y="5852"/>
                  </a:lnTo>
                  <a:lnTo>
                    <a:pt x="181" y="5830"/>
                  </a:lnTo>
                  <a:lnTo>
                    <a:pt x="153" y="5814"/>
                  </a:lnTo>
                  <a:lnTo>
                    <a:pt x="137" y="5814"/>
                  </a:lnTo>
                  <a:lnTo>
                    <a:pt x="118" y="5814"/>
                  </a:lnTo>
                  <a:lnTo>
                    <a:pt x="103" y="5811"/>
                  </a:lnTo>
                  <a:lnTo>
                    <a:pt x="78" y="5808"/>
                  </a:lnTo>
                  <a:lnTo>
                    <a:pt x="47" y="5798"/>
                  </a:lnTo>
                  <a:lnTo>
                    <a:pt x="25" y="5786"/>
                  </a:lnTo>
                  <a:lnTo>
                    <a:pt x="15" y="5767"/>
                  </a:lnTo>
                  <a:lnTo>
                    <a:pt x="9" y="5742"/>
                  </a:lnTo>
                  <a:lnTo>
                    <a:pt x="6" y="5724"/>
                  </a:lnTo>
                  <a:lnTo>
                    <a:pt x="9" y="5699"/>
                  </a:lnTo>
                  <a:lnTo>
                    <a:pt x="15" y="5670"/>
                  </a:lnTo>
                  <a:lnTo>
                    <a:pt x="25" y="5645"/>
                  </a:lnTo>
                  <a:lnTo>
                    <a:pt x="28" y="5642"/>
                  </a:lnTo>
                  <a:lnTo>
                    <a:pt x="37" y="5636"/>
                  </a:lnTo>
                  <a:lnTo>
                    <a:pt x="44" y="5633"/>
                  </a:lnTo>
                  <a:lnTo>
                    <a:pt x="50" y="5627"/>
                  </a:lnTo>
                  <a:lnTo>
                    <a:pt x="62" y="5630"/>
                  </a:lnTo>
                  <a:lnTo>
                    <a:pt x="75" y="5630"/>
                  </a:lnTo>
                  <a:lnTo>
                    <a:pt x="84" y="5630"/>
                  </a:lnTo>
                  <a:lnTo>
                    <a:pt x="90" y="5630"/>
                  </a:lnTo>
                  <a:lnTo>
                    <a:pt x="103" y="5627"/>
                  </a:lnTo>
                  <a:lnTo>
                    <a:pt x="112" y="5624"/>
                  </a:lnTo>
                  <a:lnTo>
                    <a:pt x="125" y="5620"/>
                  </a:lnTo>
                  <a:lnTo>
                    <a:pt x="131" y="5617"/>
                  </a:lnTo>
                  <a:lnTo>
                    <a:pt x="153" y="5611"/>
                  </a:lnTo>
                  <a:lnTo>
                    <a:pt x="175" y="5605"/>
                  </a:lnTo>
                  <a:lnTo>
                    <a:pt x="197" y="5599"/>
                  </a:lnTo>
                  <a:lnTo>
                    <a:pt x="215" y="5596"/>
                  </a:lnTo>
                  <a:lnTo>
                    <a:pt x="237" y="5602"/>
                  </a:lnTo>
                  <a:lnTo>
                    <a:pt x="259" y="5611"/>
                  </a:lnTo>
                  <a:lnTo>
                    <a:pt x="281" y="5617"/>
                  </a:lnTo>
                  <a:lnTo>
                    <a:pt x="296" y="5627"/>
                  </a:lnTo>
                  <a:lnTo>
                    <a:pt x="318" y="5636"/>
                  </a:lnTo>
                  <a:lnTo>
                    <a:pt x="337" y="5636"/>
                  </a:lnTo>
                  <a:lnTo>
                    <a:pt x="343" y="5633"/>
                  </a:lnTo>
                  <a:lnTo>
                    <a:pt x="353" y="5627"/>
                  </a:lnTo>
                  <a:lnTo>
                    <a:pt x="362" y="5620"/>
                  </a:lnTo>
                  <a:lnTo>
                    <a:pt x="368" y="5611"/>
                  </a:lnTo>
                  <a:lnTo>
                    <a:pt x="378" y="5608"/>
                  </a:lnTo>
                  <a:lnTo>
                    <a:pt x="384" y="5608"/>
                  </a:lnTo>
                  <a:lnTo>
                    <a:pt x="390" y="5608"/>
                  </a:lnTo>
                  <a:lnTo>
                    <a:pt x="400" y="5608"/>
                  </a:lnTo>
                  <a:lnTo>
                    <a:pt x="406" y="5611"/>
                  </a:lnTo>
                  <a:lnTo>
                    <a:pt x="412" y="5611"/>
                  </a:lnTo>
                  <a:lnTo>
                    <a:pt x="418" y="5608"/>
                  </a:lnTo>
                  <a:lnTo>
                    <a:pt x="428" y="5592"/>
                  </a:lnTo>
                  <a:lnTo>
                    <a:pt x="431" y="5571"/>
                  </a:lnTo>
                  <a:lnTo>
                    <a:pt x="434" y="5552"/>
                  </a:lnTo>
                  <a:lnTo>
                    <a:pt x="434" y="5533"/>
                  </a:lnTo>
                  <a:lnTo>
                    <a:pt x="434" y="5514"/>
                  </a:lnTo>
                  <a:lnTo>
                    <a:pt x="434" y="5496"/>
                  </a:lnTo>
                  <a:lnTo>
                    <a:pt x="456" y="5477"/>
                  </a:lnTo>
                  <a:lnTo>
                    <a:pt x="484" y="5455"/>
                  </a:lnTo>
                  <a:lnTo>
                    <a:pt x="506" y="5433"/>
                  </a:lnTo>
                  <a:lnTo>
                    <a:pt x="509" y="5430"/>
                  </a:lnTo>
                  <a:lnTo>
                    <a:pt x="512" y="5421"/>
                  </a:lnTo>
                  <a:lnTo>
                    <a:pt x="515" y="5414"/>
                  </a:lnTo>
                  <a:lnTo>
                    <a:pt x="518" y="5408"/>
                  </a:lnTo>
                  <a:lnTo>
                    <a:pt x="524" y="5405"/>
                  </a:lnTo>
                  <a:lnTo>
                    <a:pt x="543" y="5399"/>
                  </a:lnTo>
                  <a:lnTo>
                    <a:pt x="565" y="5399"/>
                  </a:lnTo>
                  <a:lnTo>
                    <a:pt x="590" y="5402"/>
                  </a:lnTo>
                  <a:lnTo>
                    <a:pt x="609" y="5405"/>
                  </a:lnTo>
                  <a:lnTo>
                    <a:pt x="631" y="5411"/>
                  </a:lnTo>
                  <a:lnTo>
                    <a:pt x="656" y="5424"/>
                  </a:lnTo>
                  <a:lnTo>
                    <a:pt x="674" y="5427"/>
                  </a:lnTo>
                  <a:lnTo>
                    <a:pt x="693" y="5424"/>
                  </a:lnTo>
                  <a:lnTo>
                    <a:pt x="712" y="5418"/>
                  </a:lnTo>
                  <a:lnTo>
                    <a:pt x="727" y="5411"/>
                  </a:lnTo>
                  <a:lnTo>
                    <a:pt x="734" y="5405"/>
                  </a:lnTo>
                  <a:lnTo>
                    <a:pt x="743" y="5402"/>
                  </a:lnTo>
                  <a:lnTo>
                    <a:pt x="749" y="5396"/>
                  </a:lnTo>
                  <a:lnTo>
                    <a:pt x="759" y="5389"/>
                  </a:lnTo>
                  <a:lnTo>
                    <a:pt x="765" y="5383"/>
                  </a:lnTo>
                  <a:lnTo>
                    <a:pt x="765" y="5377"/>
                  </a:lnTo>
                  <a:lnTo>
                    <a:pt x="765" y="5368"/>
                  </a:lnTo>
                  <a:lnTo>
                    <a:pt x="762" y="5361"/>
                  </a:lnTo>
                  <a:lnTo>
                    <a:pt x="756" y="5352"/>
                  </a:lnTo>
                  <a:lnTo>
                    <a:pt x="749" y="5343"/>
                  </a:lnTo>
                  <a:lnTo>
                    <a:pt x="743" y="5336"/>
                  </a:lnTo>
                  <a:lnTo>
                    <a:pt x="737" y="5330"/>
                  </a:lnTo>
                  <a:lnTo>
                    <a:pt x="718" y="5324"/>
                  </a:lnTo>
                  <a:lnTo>
                    <a:pt x="690" y="5318"/>
                  </a:lnTo>
                  <a:lnTo>
                    <a:pt x="671" y="5308"/>
                  </a:lnTo>
                  <a:lnTo>
                    <a:pt x="668" y="5302"/>
                  </a:lnTo>
                  <a:lnTo>
                    <a:pt x="665" y="5296"/>
                  </a:lnTo>
                  <a:lnTo>
                    <a:pt x="662" y="5286"/>
                  </a:lnTo>
                  <a:lnTo>
                    <a:pt x="659" y="5280"/>
                  </a:lnTo>
                  <a:lnTo>
                    <a:pt x="652" y="5274"/>
                  </a:lnTo>
                  <a:lnTo>
                    <a:pt x="637" y="5261"/>
                  </a:lnTo>
                  <a:lnTo>
                    <a:pt x="612" y="5249"/>
                  </a:lnTo>
                  <a:lnTo>
                    <a:pt x="593" y="5243"/>
                  </a:lnTo>
                  <a:lnTo>
                    <a:pt x="571" y="5240"/>
                  </a:lnTo>
                  <a:lnTo>
                    <a:pt x="549" y="5240"/>
                  </a:lnTo>
                  <a:lnTo>
                    <a:pt x="528" y="5243"/>
                  </a:lnTo>
                  <a:lnTo>
                    <a:pt x="521" y="5249"/>
                  </a:lnTo>
                  <a:lnTo>
                    <a:pt x="515" y="5252"/>
                  </a:lnTo>
                  <a:lnTo>
                    <a:pt x="509" y="5261"/>
                  </a:lnTo>
                  <a:lnTo>
                    <a:pt x="503" y="5265"/>
                  </a:lnTo>
                  <a:lnTo>
                    <a:pt x="496" y="5271"/>
                  </a:lnTo>
                  <a:lnTo>
                    <a:pt x="478" y="5274"/>
                  </a:lnTo>
                  <a:lnTo>
                    <a:pt x="459" y="5274"/>
                  </a:lnTo>
                  <a:lnTo>
                    <a:pt x="440" y="5271"/>
                  </a:lnTo>
                  <a:lnTo>
                    <a:pt x="434" y="5265"/>
                  </a:lnTo>
                  <a:lnTo>
                    <a:pt x="425" y="5255"/>
                  </a:lnTo>
                  <a:lnTo>
                    <a:pt x="418" y="5243"/>
                  </a:lnTo>
                  <a:lnTo>
                    <a:pt x="409" y="5233"/>
                  </a:lnTo>
                  <a:lnTo>
                    <a:pt x="403" y="5224"/>
                  </a:lnTo>
                  <a:lnTo>
                    <a:pt x="396" y="5221"/>
                  </a:lnTo>
                  <a:lnTo>
                    <a:pt x="387" y="5218"/>
                  </a:lnTo>
                  <a:lnTo>
                    <a:pt x="378" y="5215"/>
                  </a:lnTo>
                  <a:lnTo>
                    <a:pt x="365" y="5211"/>
                  </a:lnTo>
                  <a:lnTo>
                    <a:pt x="359" y="5208"/>
                  </a:lnTo>
                  <a:lnTo>
                    <a:pt x="353" y="5205"/>
                  </a:lnTo>
                  <a:lnTo>
                    <a:pt x="343" y="5186"/>
                  </a:lnTo>
                  <a:lnTo>
                    <a:pt x="337" y="5165"/>
                  </a:lnTo>
                  <a:lnTo>
                    <a:pt x="337" y="5146"/>
                  </a:lnTo>
                  <a:lnTo>
                    <a:pt x="337" y="5127"/>
                  </a:lnTo>
                  <a:lnTo>
                    <a:pt x="340" y="5105"/>
                  </a:lnTo>
                  <a:lnTo>
                    <a:pt x="337" y="5090"/>
                  </a:lnTo>
                  <a:lnTo>
                    <a:pt x="331" y="5074"/>
                  </a:lnTo>
                  <a:lnTo>
                    <a:pt x="318" y="5058"/>
                  </a:lnTo>
                  <a:lnTo>
                    <a:pt x="306" y="5046"/>
                  </a:lnTo>
                  <a:lnTo>
                    <a:pt x="303" y="5030"/>
                  </a:lnTo>
                  <a:lnTo>
                    <a:pt x="303" y="5024"/>
                  </a:lnTo>
                  <a:lnTo>
                    <a:pt x="309" y="5015"/>
                  </a:lnTo>
                  <a:lnTo>
                    <a:pt x="315" y="5008"/>
                  </a:lnTo>
                  <a:lnTo>
                    <a:pt x="321" y="5002"/>
                  </a:lnTo>
                  <a:lnTo>
                    <a:pt x="328" y="4996"/>
                  </a:lnTo>
                  <a:lnTo>
                    <a:pt x="334" y="4990"/>
                  </a:lnTo>
                  <a:lnTo>
                    <a:pt x="337" y="4990"/>
                  </a:lnTo>
                  <a:lnTo>
                    <a:pt x="346" y="4990"/>
                  </a:lnTo>
                  <a:lnTo>
                    <a:pt x="353" y="4993"/>
                  </a:lnTo>
                  <a:lnTo>
                    <a:pt x="359" y="4993"/>
                  </a:lnTo>
                  <a:lnTo>
                    <a:pt x="365" y="4990"/>
                  </a:lnTo>
                  <a:lnTo>
                    <a:pt x="368" y="4987"/>
                  </a:lnTo>
                  <a:lnTo>
                    <a:pt x="371" y="4980"/>
                  </a:lnTo>
                  <a:lnTo>
                    <a:pt x="375" y="4971"/>
                  </a:lnTo>
                  <a:lnTo>
                    <a:pt x="375" y="4962"/>
                  </a:lnTo>
                  <a:lnTo>
                    <a:pt x="378" y="4955"/>
                  </a:lnTo>
                  <a:lnTo>
                    <a:pt x="381" y="4952"/>
                  </a:lnTo>
                  <a:lnTo>
                    <a:pt x="400" y="4949"/>
                  </a:lnTo>
                  <a:lnTo>
                    <a:pt x="421" y="4949"/>
                  </a:lnTo>
                  <a:lnTo>
                    <a:pt x="440" y="4952"/>
                  </a:lnTo>
                  <a:lnTo>
                    <a:pt x="446" y="4949"/>
                  </a:lnTo>
                  <a:lnTo>
                    <a:pt x="456" y="4949"/>
                  </a:lnTo>
                  <a:lnTo>
                    <a:pt x="462" y="4946"/>
                  </a:lnTo>
                  <a:lnTo>
                    <a:pt x="468" y="4943"/>
                  </a:lnTo>
                  <a:lnTo>
                    <a:pt x="471" y="4937"/>
                  </a:lnTo>
                  <a:lnTo>
                    <a:pt x="471" y="4930"/>
                  </a:lnTo>
                  <a:lnTo>
                    <a:pt x="474" y="4924"/>
                  </a:lnTo>
                  <a:lnTo>
                    <a:pt x="474" y="4918"/>
                  </a:lnTo>
                  <a:lnTo>
                    <a:pt x="474" y="4893"/>
                  </a:lnTo>
                  <a:lnTo>
                    <a:pt x="478" y="4868"/>
                  </a:lnTo>
                  <a:lnTo>
                    <a:pt x="471" y="4846"/>
                  </a:lnTo>
                  <a:lnTo>
                    <a:pt x="462" y="4837"/>
                  </a:lnTo>
                  <a:lnTo>
                    <a:pt x="443" y="4827"/>
                  </a:lnTo>
                  <a:lnTo>
                    <a:pt x="425" y="4818"/>
                  </a:lnTo>
                  <a:lnTo>
                    <a:pt x="415" y="4805"/>
                  </a:lnTo>
                  <a:lnTo>
                    <a:pt x="415" y="4799"/>
                  </a:lnTo>
                  <a:lnTo>
                    <a:pt x="415" y="4793"/>
                  </a:lnTo>
                  <a:lnTo>
                    <a:pt x="418" y="4784"/>
                  </a:lnTo>
                  <a:lnTo>
                    <a:pt x="421" y="4777"/>
                  </a:lnTo>
                  <a:lnTo>
                    <a:pt x="425" y="4771"/>
                  </a:lnTo>
                  <a:lnTo>
                    <a:pt x="431" y="4762"/>
                  </a:lnTo>
                  <a:lnTo>
                    <a:pt x="440" y="4756"/>
                  </a:lnTo>
                  <a:lnTo>
                    <a:pt x="453" y="4746"/>
                  </a:lnTo>
                  <a:lnTo>
                    <a:pt x="462" y="4740"/>
                  </a:lnTo>
                  <a:lnTo>
                    <a:pt x="471" y="4731"/>
                  </a:lnTo>
                  <a:lnTo>
                    <a:pt x="478" y="4724"/>
                  </a:lnTo>
                  <a:lnTo>
                    <a:pt x="481" y="4712"/>
                  </a:lnTo>
                  <a:lnTo>
                    <a:pt x="484" y="4702"/>
                  </a:lnTo>
                  <a:lnTo>
                    <a:pt x="487" y="4693"/>
                  </a:lnTo>
                  <a:lnTo>
                    <a:pt x="490" y="4684"/>
                  </a:lnTo>
                  <a:lnTo>
                    <a:pt x="490" y="4674"/>
                  </a:lnTo>
                  <a:lnTo>
                    <a:pt x="490" y="4662"/>
                  </a:lnTo>
                  <a:lnTo>
                    <a:pt x="490" y="4652"/>
                  </a:lnTo>
                  <a:lnTo>
                    <a:pt x="487" y="4643"/>
                  </a:lnTo>
                  <a:lnTo>
                    <a:pt x="478" y="4624"/>
                  </a:lnTo>
                  <a:lnTo>
                    <a:pt x="465" y="4606"/>
                  </a:lnTo>
                  <a:lnTo>
                    <a:pt x="453" y="4587"/>
                  </a:lnTo>
                  <a:lnTo>
                    <a:pt x="446" y="4562"/>
                  </a:lnTo>
                  <a:lnTo>
                    <a:pt x="437" y="4534"/>
                  </a:lnTo>
                  <a:lnTo>
                    <a:pt x="428" y="4509"/>
                  </a:lnTo>
                  <a:lnTo>
                    <a:pt x="415" y="4478"/>
                  </a:lnTo>
                  <a:lnTo>
                    <a:pt x="406" y="4453"/>
                  </a:lnTo>
                  <a:lnTo>
                    <a:pt x="406" y="4443"/>
                  </a:lnTo>
                  <a:lnTo>
                    <a:pt x="409" y="4434"/>
                  </a:lnTo>
                  <a:lnTo>
                    <a:pt x="409" y="4425"/>
                  </a:lnTo>
                  <a:lnTo>
                    <a:pt x="409" y="4415"/>
                  </a:lnTo>
                  <a:lnTo>
                    <a:pt x="409" y="4409"/>
                  </a:lnTo>
                  <a:lnTo>
                    <a:pt x="406" y="4400"/>
                  </a:lnTo>
                  <a:lnTo>
                    <a:pt x="403" y="4387"/>
                  </a:lnTo>
                  <a:lnTo>
                    <a:pt x="396" y="4378"/>
                  </a:lnTo>
                  <a:lnTo>
                    <a:pt x="393" y="4368"/>
                  </a:lnTo>
                  <a:lnTo>
                    <a:pt x="384" y="4359"/>
                  </a:lnTo>
                  <a:lnTo>
                    <a:pt x="365" y="4353"/>
                  </a:lnTo>
                  <a:lnTo>
                    <a:pt x="340" y="4350"/>
                  </a:lnTo>
                  <a:lnTo>
                    <a:pt x="315" y="4346"/>
                  </a:lnTo>
                  <a:lnTo>
                    <a:pt x="296" y="4340"/>
                  </a:lnTo>
                  <a:lnTo>
                    <a:pt x="293" y="4337"/>
                  </a:lnTo>
                  <a:lnTo>
                    <a:pt x="290" y="4328"/>
                  </a:lnTo>
                  <a:lnTo>
                    <a:pt x="290" y="4321"/>
                  </a:lnTo>
                  <a:lnTo>
                    <a:pt x="287" y="4312"/>
                  </a:lnTo>
                  <a:lnTo>
                    <a:pt x="284" y="4306"/>
                  </a:lnTo>
                  <a:lnTo>
                    <a:pt x="281" y="4300"/>
                  </a:lnTo>
                  <a:lnTo>
                    <a:pt x="275" y="4297"/>
                  </a:lnTo>
                  <a:lnTo>
                    <a:pt x="265" y="4290"/>
                  </a:lnTo>
                  <a:lnTo>
                    <a:pt x="253" y="4287"/>
                  </a:lnTo>
                  <a:lnTo>
                    <a:pt x="243" y="4284"/>
                  </a:lnTo>
                  <a:lnTo>
                    <a:pt x="234" y="4284"/>
                  </a:lnTo>
                  <a:lnTo>
                    <a:pt x="209" y="4281"/>
                  </a:lnTo>
                  <a:lnTo>
                    <a:pt x="178" y="4284"/>
                  </a:lnTo>
                  <a:lnTo>
                    <a:pt x="147" y="4287"/>
                  </a:lnTo>
                  <a:lnTo>
                    <a:pt x="122" y="4284"/>
                  </a:lnTo>
                  <a:lnTo>
                    <a:pt x="100" y="4268"/>
                  </a:lnTo>
                  <a:lnTo>
                    <a:pt x="75" y="4250"/>
                  </a:lnTo>
                  <a:lnTo>
                    <a:pt x="56" y="4228"/>
                  </a:lnTo>
                  <a:lnTo>
                    <a:pt x="40" y="4206"/>
                  </a:lnTo>
                  <a:lnTo>
                    <a:pt x="28" y="4175"/>
                  </a:lnTo>
                  <a:lnTo>
                    <a:pt x="15" y="4150"/>
                  </a:lnTo>
                  <a:lnTo>
                    <a:pt x="9" y="4125"/>
                  </a:lnTo>
                  <a:lnTo>
                    <a:pt x="3" y="4094"/>
                  </a:lnTo>
                  <a:lnTo>
                    <a:pt x="0" y="4062"/>
                  </a:lnTo>
                  <a:lnTo>
                    <a:pt x="0" y="4037"/>
                  </a:lnTo>
                  <a:lnTo>
                    <a:pt x="3" y="4015"/>
                  </a:lnTo>
                  <a:lnTo>
                    <a:pt x="15" y="3991"/>
                  </a:lnTo>
                  <a:lnTo>
                    <a:pt x="25" y="3962"/>
                  </a:lnTo>
                  <a:lnTo>
                    <a:pt x="31" y="3941"/>
                  </a:lnTo>
                  <a:lnTo>
                    <a:pt x="31" y="3928"/>
                  </a:lnTo>
                  <a:lnTo>
                    <a:pt x="31" y="3909"/>
                  </a:lnTo>
                  <a:lnTo>
                    <a:pt x="28" y="3891"/>
                  </a:lnTo>
                  <a:lnTo>
                    <a:pt x="31" y="3878"/>
                  </a:lnTo>
                  <a:lnTo>
                    <a:pt x="47" y="3862"/>
                  </a:lnTo>
                  <a:lnTo>
                    <a:pt x="72" y="3847"/>
                  </a:lnTo>
                  <a:lnTo>
                    <a:pt x="97" y="3834"/>
                  </a:lnTo>
                  <a:lnTo>
                    <a:pt x="115" y="3825"/>
                  </a:lnTo>
                  <a:lnTo>
                    <a:pt x="131" y="3816"/>
                  </a:lnTo>
                  <a:lnTo>
                    <a:pt x="153" y="3803"/>
                  </a:lnTo>
                  <a:lnTo>
                    <a:pt x="168" y="3794"/>
                  </a:lnTo>
                  <a:lnTo>
                    <a:pt x="181" y="3778"/>
                  </a:lnTo>
                  <a:lnTo>
                    <a:pt x="197" y="3756"/>
                  </a:lnTo>
                  <a:lnTo>
                    <a:pt x="206" y="3738"/>
                  </a:lnTo>
                  <a:lnTo>
                    <a:pt x="206" y="3719"/>
                  </a:lnTo>
                  <a:lnTo>
                    <a:pt x="206" y="3697"/>
                  </a:lnTo>
                  <a:lnTo>
                    <a:pt x="203" y="3675"/>
                  </a:lnTo>
                  <a:lnTo>
                    <a:pt x="206" y="3660"/>
                  </a:lnTo>
                  <a:lnTo>
                    <a:pt x="209" y="3650"/>
                  </a:lnTo>
                  <a:lnTo>
                    <a:pt x="215" y="3641"/>
                  </a:lnTo>
                  <a:lnTo>
                    <a:pt x="225" y="3631"/>
                  </a:lnTo>
                  <a:lnTo>
                    <a:pt x="231" y="3622"/>
                  </a:lnTo>
                  <a:lnTo>
                    <a:pt x="240" y="3616"/>
                  </a:lnTo>
                  <a:lnTo>
                    <a:pt x="250" y="3613"/>
                  </a:lnTo>
                  <a:lnTo>
                    <a:pt x="265" y="3613"/>
                  </a:lnTo>
                  <a:lnTo>
                    <a:pt x="290" y="3616"/>
                  </a:lnTo>
                  <a:lnTo>
                    <a:pt x="309" y="3625"/>
                  </a:lnTo>
                  <a:lnTo>
                    <a:pt x="325" y="3635"/>
                  </a:lnTo>
                  <a:lnTo>
                    <a:pt x="334" y="3650"/>
                  </a:lnTo>
                  <a:lnTo>
                    <a:pt x="340" y="3675"/>
                  </a:lnTo>
                  <a:lnTo>
                    <a:pt x="346" y="3697"/>
                  </a:lnTo>
                  <a:lnTo>
                    <a:pt x="356" y="3709"/>
                  </a:lnTo>
                  <a:lnTo>
                    <a:pt x="375" y="3709"/>
                  </a:lnTo>
                  <a:lnTo>
                    <a:pt x="396" y="3703"/>
                  </a:lnTo>
                  <a:lnTo>
                    <a:pt x="415" y="3691"/>
                  </a:lnTo>
                  <a:lnTo>
                    <a:pt x="431" y="3678"/>
                  </a:lnTo>
                  <a:lnTo>
                    <a:pt x="434" y="3675"/>
                  </a:lnTo>
                  <a:lnTo>
                    <a:pt x="434" y="3666"/>
                  </a:lnTo>
                  <a:lnTo>
                    <a:pt x="437" y="3656"/>
                  </a:lnTo>
                  <a:lnTo>
                    <a:pt x="437" y="3650"/>
                  </a:lnTo>
                  <a:lnTo>
                    <a:pt x="440" y="3644"/>
                  </a:lnTo>
                  <a:lnTo>
                    <a:pt x="443" y="3638"/>
                  </a:lnTo>
                  <a:lnTo>
                    <a:pt x="465" y="3631"/>
                  </a:lnTo>
                  <a:lnTo>
                    <a:pt x="490" y="3628"/>
                  </a:lnTo>
                  <a:lnTo>
                    <a:pt x="521" y="3631"/>
                  </a:lnTo>
                  <a:lnTo>
                    <a:pt x="549" y="3635"/>
                  </a:lnTo>
                  <a:lnTo>
                    <a:pt x="574" y="3641"/>
                  </a:lnTo>
                  <a:lnTo>
                    <a:pt x="596" y="3653"/>
                  </a:lnTo>
                  <a:lnTo>
                    <a:pt x="624" y="3669"/>
                  </a:lnTo>
                  <a:lnTo>
                    <a:pt x="646" y="3684"/>
                  </a:lnTo>
                  <a:lnTo>
                    <a:pt x="656" y="3691"/>
                  </a:lnTo>
                  <a:lnTo>
                    <a:pt x="665" y="3697"/>
                  </a:lnTo>
                  <a:lnTo>
                    <a:pt x="674" y="3706"/>
                  </a:lnTo>
                  <a:lnTo>
                    <a:pt x="684" y="3713"/>
                  </a:lnTo>
                  <a:lnTo>
                    <a:pt x="690" y="3716"/>
                  </a:lnTo>
                  <a:lnTo>
                    <a:pt x="706" y="3713"/>
                  </a:lnTo>
                  <a:lnTo>
                    <a:pt x="724" y="3706"/>
                  </a:lnTo>
                  <a:lnTo>
                    <a:pt x="743" y="3697"/>
                  </a:lnTo>
                  <a:lnTo>
                    <a:pt x="759" y="3691"/>
                  </a:lnTo>
                  <a:lnTo>
                    <a:pt x="781" y="3688"/>
                  </a:lnTo>
                  <a:lnTo>
                    <a:pt x="802" y="3684"/>
                  </a:lnTo>
                  <a:lnTo>
                    <a:pt x="824" y="3681"/>
                  </a:lnTo>
                  <a:lnTo>
                    <a:pt x="830" y="3681"/>
                  </a:lnTo>
                  <a:lnTo>
                    <a:pt x="843" y="3681"/>
                  </a:lnTo>
                  <a:lnTo>
                    <a:pt x="852" y="3684"/>
                  </a:lnTo>
                  <a:lnTo>
                    <a:pt x="862" y="3688"/>
                  </a:lnTo>
                  <a:lnTo>
                    <a:pt x="868" y="3691"/>
                  </a:lnTo>
                  <a:lnTo>
                    <a:pt x="871" y="3706"/>
                  </a:lnTo>
                  <a:lnTo>
                    <a:pt x="868" y="3725"/>
                  </a:lnTo>
                  <a:lnTo>
                    <a:pt x="868" y="3747"/>
                  </a:lnTo>
                  <a:lnTo>
                    <a:pt x="871" y="3759"/>
                  </a:lnTo>
                  <a:lnTo>
                    <a:pt x="874" y="3766"/>
                  </a:lnTo>
                  <a:lnTo>
                    <a:pt x="880" y="3769"/>
                  </a:lnTo>
                  <a:lnTo>
                    <a:pt x="887" y="3775"/>
                  </a:lnTo>
                  <a:lnTo>
                    <a:pt x="893" y="3778"/>
                  </a:lnTo>
                  <a:lnTo>
                    <a:pt x="899" y="3778"/>
                  </a:lnTo>
                  <a:lnTo>
                    <a:pt x="905" y="3778"/>
                  </a:lnTo>
                  <a:lnTo>
                    <a:pt x="918" y="3766"/>
                  </a:lnTo>
                  <a:lnTo>
                    <a:pt x="927" y="3747"/>
                  </a:lnTo>
                  <a:lnTo>
                    <a:pt x="934" y="3722"/>
                  </a:lnTo>
                  <a:lnTo>
                    <a:pt x="937" y="3697"/>
                  </a:lnTo>
                  <a:lnTo>
                    <a:pt x="940" y="3678"/>
                  </a:lnTo>
                  <a:lnTo>
                    <a:pt x="937" y="3660"/>
                  </a:lnTo>
                  <a:lnTo>
                    <a:pt x="927" y="3638"/>
                  </a:lnTo>
                  <a:lnTo>
                    <a:pt x="921" y="3616"/>
                  </a:lnTo>
                  <a:lnTo>
                    <a:pt x="921" y="3600"/>
                  </a:lnTo>
                  <a:lnTo>
                    <a:pt x="924" y="3594"/>
                  </a:lnTo>
                  <a:lnTo>
                    <a:pt x="934" y="3591"/>
                  </a:lnTo>
                  <a:lnTo>
                    <a:pt x="940" y="3585"/>
                  </a:lnTo>
                  <a:lnTo>
                    <a:pt x="949" y="3585"/>
                  </a:lnTo>
                  <a:lnTo>
                    <a:pt x="955" y="3581"/>
                  </a:lnTo>
                  <a:lnTo>
                    <a:pt x="977" y="3585"/>
                  </a:lnTo>
                  <a:lnTo>
                    <a:pt x="1002" y="3594"/>
                  </a:lnTo>
                  <a:lnTo>
                    <a:pt x="1024" y="3600"/>
                  </a:lnTo>
                  <a:lnTo>
                    <a:pt x="1058" y="3606"/>
                  </a:lnTo>
                  <a:lnTo>
                    <a:pt x="1102" y="3616"/>
                  </a:lnTo>
                  <a:lnTo>
                    <a:pt x="1146" y="3622"/>
                  </a:lnTo>
                  <a:lnTo>
                    <a:pt x="1180" y="3622"/>
                  </a:lnTo>
                  <a:lnTo>
                    <a:pt x="1211" y="3616"/>
                  </a:lnTo>
                  <a:lnTo>
                    <a:pt x="1246" y="3606"/>
                  </a:lnTo>
                  <a:lnTo>
                    <a:pt x="1283" y="3597"/>
                  </a:lnTo>
                  <a:lnTo>
                    <a:pt x="1311" y="3591"/>
                  </a:lnTo>
                  <a:lnTo>
                    <a:pt x="1346" y="3588"/>
                  </a:lnTo>
                  <a:lnTo>
                    <a:pt x="1386" y="3588"/>
                  </a:lnTo>
                  <a:lnTo>
                    <a:pt x="1421" y="3591"/>
                  </a:lnTo>
                  <a:lnTo>
                    <a:pt x="1446" y="3600"/>
                  </a:lnTo>
                  <a:lnTo>
                    <a:pt x="1474" y="3613"/>
                  </a:lnTo>
                  <a:lnTo>
                    <a:pt x="1499" y="3622"/>
                  </a:lnTo>
                  <a:lnTo>
                    <a:pt x="1505" y="3625"/>
                  </a:lnTo>
                  <a:lnTo>
                    <a:pt x="1517" y="3625"/>
                  </a:lnTo>
                  <a:lnTo>
                    <a:pt x="1527" y="3625"/>
                  </a:lnTo>
                  <a:lnTo>
                    <a:pt x="1533" y="3622"/>
                  </a:lnTo>
                  <a:lnTo>
                    <a:pt x="1552" y="3610"/>
                  </a:lnTo>
                  <a:lnTo>
                    <a:pt x="1571" y="3588"/>
                  </a:lnTo>
                  <a:lnTo>
                    <a:pt x="1589" y="3572"/>
                  </a:lnTo>
                  <a:lnTo>
                    <a:pt x="1605" y="3566"/>
                  </a:lnTo>
                  <a:lnTo>
                    <a:pt x="1627" y="3556"/>
                  </a:lnTo>
                  <a:lnTo>
                    <a:pt x="1649" y="3550"/>
                  </a:lnTo>
                  <a:lnTo>
                    <a:pt x="1658" y="3538"/>
                  </a:lnTo>
                  <a:lnTo>
                    <a:pt x="1661" y="3513"/>
                  </a:lnTo>
                  <a:lnTo>
                    <a:pt x="1655" y="3482"/>
                  </a:lnTo>
                  <a:lnTo>
                    <a:pt x="1639" y="3450"/>
                  </a:lnTo>
                  <a:lnTo>
                    <a:pt x="1624" y="3419"/>
                  </a:lnTo>
                  <a:lnTo>
                    <a:pt x="1611" y="3394"/>
                  </a:lnTo>
                  <a:lnTo>
                    <a:pt x="1599" y="3375"/>
                  </a:lnTo>
                  <a:lnTo>
                    <a:pt x="1583" y="3357"/>
                  </a:lnTo>
                  <a:lnTo>
                    <a:pt x="1574" y="3338"/>
                  </a:lnTo>
                  <a:lnTo>
                    <a:pt x="1571" y="3316"/>
                  </a:lnTo>
                  <a:lnTo>
                    <a:pt x="1571" y="3294"/>
                  </a:lnTo>
                  <a:lnTo>
                    <a:pt x="1574" y="3275"/>
                  </a:lnTo>
                  <a:lnTo>
                    <a:pt x="1567" y="3250"/>
                  </a:lnTo>
                  <a:lnTo>
                    <a:pt x="1561" y="3219"/>
                  </a:lnTo>
                  <a:lnTo>
                    <a:pt x="1558" y="3194"/>
                  </a:lnTo>
                  <a:lnTo>
                    <a:pt x="1555" y="3176"/>
                  </a:lnTo>
                  <a:lnTo>
                    <a:pt x="1552" y="3154"/>
                  </a:lnTo>
                  <a:lnTo>
                    <a:pt x="1552" y="3132"/>
                  </a:lnTo>
                  <a:lnTo>
                    <a:pt x="1558" y="3116"/>
                  </a:lnTo>
                  <a:lnTo>
                    <a:pt x="1583" y="3104"/>
                  </a:lnTo>
                  <a:lnTo>
                    <a:pt x="1617" y="3097"/>
                  </a:lnTo>
                  <a:lnTo>
                    <a:pt x="1658" y="3101"/>
                  </a:lnTo>
                  <a:lnTo>
                    <a:pt x="1692" y="3107"/>
                  </a:lnTo>
                  <a:lnTo>
                    <a:pt x="1720" y="3116"/>
                  </a:lnTo>
                  <a:lnTo>
                    <a:pt x="1724" y="3122"/>
                  </a:lnTo>
                  <a:lnTo>
                    <a:pt x="1730" y="3129"/>
                  </a:lnTo>
                  <a:lnTo>
                    <a:pt x="1730" y="3138"/>
                  </a:lnTo>
                  <a:lnTo>
                    <a:pt x="1733" y="3144"/>
                  </a:lnTo>
                  <a:lnTo>
                    <a:pt x="1736" y="3154"/>
                  </a:lnTo>
                  <a:lnTo>
                    <a:pt x="1742" y="3157"/>
                  </a:lnTo>
                  <a:lnTo>
                    <a:pt x="1758" y="3169"/>
                  </a:lnTo>
                  <a:lnTo>
                    <a:pt x="1783" y="3182"/>
                  </a:lnTo>
                  <a:lnTo>
                    <a:pt x="1808" y="3191"/>
                  </a:lnTo>
                  <a:lnTo>
                    <a:pt x="1833" y="3194"/>
                  </a:lnTo>
                  <a:lnTo>
                    <a:pt x="1855" y="3194"/>
                  </a:lnTo>
                  <a:lnTo>
                    <a:pt x="1867" y="3182"/>
                  </a:lnTo>
                  <a:lnTo>
                    <a:pt x="1880" y="3163"/>
                  </a:lnTo>
                  <a:lnTo>
                    <a:pt x="1892" y="3141"/>
                  </a:lnTo>
                  <a:lnTo>
                    <a:pt x="1905" y="3126"/>
                  </a:lnTo>
                  <a:lnTo>
                    <a:pt x="1927" y="3119"/>
                  </a:lnTo>
                  <a:lnTo>
                    <a:pt x="1952" y="3116"/>
                  </a:lnTo>
                  <a:lnTo>
                    <a:pt x="1973" y="3113"/>
                  </a:lnTo>
                  <a:lnTo>
                    <a:pt x="2001" y="3107"/>
                  </a:lnTo>
                  <a:lnTo>
                    <a:pt x="2033" y="3097"/>
                  </a:lnTo>
                  <a:lnTo>
                    <a:pt x="2058" y="3085"/>
                  </a:lnTo>
                  <a:lnTo>
                    <a:pt x="2080" y="3063"/>
                  </a:lnTo>
                  <a:lnTo>
                    <a:pt x="2101" y="3029"/>
                  </a:lnTo>
                  <a:lnTo>
                    <a:pt x="2123" y="2998"/>
                  </a:lnTo>
                  <a:lnTo>
                    <a:pt x="2145" y="2976"/>
                  </a:lnTo>
                  <a:lnTo>
                    <a:pt x="2164" y="2973"/>
                  </a:lnTo>
                  <a:lnTo>
                    <a:pt x="2189" y="2973"/>
                  </a:lnTo>
                  <a:lnTo>
                    <a:pt x="2217" y="2976"/>
                  </a:lnTo>
                  <a:lnTo>
                    <a:pt x="2236" y="2976"/>
                  </a:lnTo>
                  <a:lnTo>
                    <a:pt x="2254" y="2979"/>
                  </a:lnTo>
                  <a:lnTo>
                    <a:pt x="2276" y="2979"/>
                  </a:lnTo>
                  <a:lnTo>
                    <a:pt x="2295" y="2982"/>
                  </a:lnTo>
                  <a:lnTo>
                    <a:pt x="2311" y="2976"/>
                  </a:lnTo>
                  <a:lnTo>
                    <a:pt x="2317" y="2969"/>
                  </a:lnTo>
                  <a:lnTo>
                    <a:pt x="2323" y="2960"/>
                  </a:lnTo>
                  <a:lnTo>
                    <a:pt x="2326" y="2948"/>
                  </a:lnTo>
                  <a:lnTo>
                    <a:pt x="2329" y="2938"/>
                  </a:lnTo>
                  <a:lnTo>
                    <a:pt x="2332" y="2929"/>
                  </a:lnTo>
                  <a:lnTo>
                    <a:pt x="2332" y="2904"/>
                  </a:lnTo>
                  <a:lnTo>
                    <a:pt x="2336" y="2879"/>
                  </a:lnTo>
                  <a:lnTo>
                    <a:pt x="2332" y="2857"/>
                  </a:lnTo>
                  <a:lnTo>
                    <a:pt x="2323" y="2835"/>
                  </a:lnTo>
                  <a:lnTo>
                    <a:pt x="2304" y="2813"/>
                  </a:lnTo>
                  <a:lnTo>
                    <a:pt x="2292" y="2791"/>
                  </a:lnTo>
                  <a:lnTo>
                    <a:pt x="2286" y="2773"/>
                  </a:lnTo>
                  <a:lnTo>
                    <a:pt x="2292" y="2754"/>
                  </a:lnTo>
                  <a:lnTo>
                    <a:pt x="2308" y="2735"/>
                  </a:lnTo>
                  <a:lnTo>
                    <a:pt x="2320" y="2720"/>
                  </a:lnTo>
                  <a:lnTo>
                    <a:pt x="2320" y="2701"/>
                  </a:lnTo>
                  <a:lnTo>
                    <a:pt x="2320" y="2679"/>
                  </a:lnTo>
                  <a:lnTo>
                    <a:pt x="2320" y="2657"/>
                  </a:lnTo>
                  <a:lnTo>
                    <a:pt x="2326" y="2645"/>
                  </a:lnTo>
                  <a:lnTo>
                    <a:pt x="2342" y="2638"/>
                  </a:lnTo>
                  <a:lnTo>
                    <a:pt x="2364" y="2638"/>
                  </a:lnTo>
                  <a:lnTo>
                    <a:pt x="2386" y="2642"/>
                  </a:lnTo>
                  <a:lnTo>
                    <a:pt x="2404" y="2645"/>
                  </a:lnTo>
                  <a:lnTo>
                    <a:pt x="2432" y="2657"/>
                  </a:lnTo>
                  <a:lnTo>
                    <a:pt x="2461" y="2676"/>
                  </a:lnTo>
                  <a:lnTo>
                    <a:pt x="2489" y="2695"/>
                  </a:lnTo>
                  <a:lnTo>
                    <a:pt x="2517" y="2704"/>
                  </a:lnTo>
                  <a:lnTo>
                    <a:pt x="2535" y="2701"/>
                  </a:lnTo>
                  <a:lnTo>
                    <a:pt x="2560" y="2698"/>
                  </a:lnTo>
                  <a:lnTo>
                    <a:pt x="2582" y="2688"/>
                  </a:lnTo>
                  <a:lnTo>
                    <a:pt x="2601" y="2679"/>
                  </a:lnTo>
                  <a:lnTo>
                    <a:pt x="2610" y="2673"/>
                  </a:lnTo>
                  <a:lnTo>
                    <a:pt x="2623" y="2667"/>
                  </a:lnTo>
                  <a:lnTo>
                    <a:pt x="2632" y="2657"/>
                  </a:lnTo>
                  <a:lnTo>
                    <a:pt x="2642" y="2648"/>
                  </a:lnTo>
                  <a:lnTo>
                    <a:pt x="2648" y="2638"/>
                  </a:lnTo>
                  <a:lnTo>
                    <a:pt x="2651" y="2620"/>
                  </a:lnTo>
                  <a:lnTo>
                    <a:pt x="2651" y="2598"/>
                  </a:lnTo>
                  <a:lnTo>
                    <a:pt x="2648" y="2570"/>
                  </a:lnTo>
                  <a:lnTo>
                    <a:pt x="2645" y="2548"/>
                  </a:lnTo>
                  <a:lnTo>
                    <a:pt x="2648" y="2529"/>
                  </a:lnTo>
                  <a:lnTo>
                    <a:pt x="2654" y="2523"/>
                  </a:lnTo>
                  <a:lnTo>
                    <a:pt x="2660" y="2517"/>
                  </a:lnTo>
                  <a:lnTo>
                    <a:pt x="2670" y="2510"/>
                  </a:lnTo>
                  <a:lnTo>
                    <a:pt x="2676" y="2507"/>
                  </a:lnTo>
                  <a:lnTo>
                    <a:pt x="2701" y="2501"/>
                  </a:lnTo>
                  <a:lnTo>
                    <a:pt x="2732" y="2501"/>
                  </a:lnTo>
                  <a:lnTo>
                    <a:pt x="2763" y="2498"/>
                  </a:lnTo>
                  <a:lnTo>
                    <a:pt x="2788" y="2495"/>
                  </a:lnTo>
                  <a:lnTo>
                    <a:pt x="2798" y="2489"/>
                  </a:lnTo>
                  <a:lnTo>
                    <a:pt x="2804" y="2479"/>
                  </a:lnTo>
                  <a:lnTo>
                    <a:pt x="2813" y="2473"/>
                  </a:lnTo>
                  <a:lnTo>
                    <a:pt x="2823" y="2464"/>
                  </a:lnTo>
                  <a:lnTo>
                    <a:pt x="2826" y="2454"/>
                  </a:lnTo>
                  <a:lnTo>
                    <a:pt x="2838" y="2435"/>
                  </a:lnTo>
                  <a:lnTo>
                    <a:pt x="2851" y="2407"/>
                  </a:lnTo>
                  <a:lnTo>
                    <a:pt x="2860" y="2386"/>
                  </a:lnTo>
                  <a:lnTo>
                    <a:pt x="2860" y="2379"/>
                  </a:lnTo>
                  <a:lnTo>
                    <a:pt x="2860" y="2370"/>
                  </a:lnTo>
                  <a:lnTo>
                    <a:pt x="2860" y="2361"/>
                  </a:lnTo>
                  <a:lnTo>
                    <a:pt x="2863" y="2354"/>
                  </a:lnTo>
                  <a:lnTo>
                    <a:pt x="2866" y="2348"/>
                  </a:lnTo>
                  <a:lnTo>
                    <a:pt x="2882" y="2339"/>
                  </a:lnTo>
                  <a:lnTo>
                    <a:pt x="2907" y="2332"/>
                  </a:lnTo>
                  <a:lnTo>
                    <a:pt x="2932" y="2326"/>
                  </a:lnTo>
                  <a:lnTo>
                    <a:pt x="2957" y="2320"/>
                  </a:lnTo>
                  <a:lnTo>
                    <a:pt x="2976" y="2311"/>
                  </a:lnTo>
                  <a:lnTo>
                    <a:pt x="2988" y="2295"/>
                  </a:lnTo>
                  <a:lnTo>
                    <a:pt x="3001" y="2270"/>
                  </a:lnTo>
                  <a:lnTo>
                    <a:pt x="3007" y="2245"/>
                  </a:lnTo>
                  <a:lnTo>
                    <a:pt x="3007" y="2223"/>
                  </a:lnTo>
                  <a:lnTo>
                    <a:pt x="2994" y="2204"/>
                  </a:lnTo>
                  <a:lnTo>
                    <a:pt x="2973" y="2189"/>
                  </a:lnTo>
                  <a:lnTo>
                    <a:pt x="2948" y="2173"/>
                  </a:lnTo>
                  <a:lnTo>
                    <a:pt x="2926" y="2161"/>
                  </a:lnTo>
                  <a:lnTo>
                    <a:pt x="2907" y="2148"/>
                  </a:lnTo>
                  <a:lnTo>
                    <a:pt x="2885" y="2136"/>
                  </a:lnTo>
                  <a:lnTo>
                    <a:pt x="2863" y="2126"/>
                  </a:lnTo>
                  <a:lnTo>
                    <a:pt x="2845" y="2123"/>
                  </a:lnTo>
                  <a:lnTo>
                    <a:pt x="2820" y="2126"/>
                  </a:lnTo>
                  <a:lnTo>
                    <a:pt x="2798" y="2129"/>
                  </a:lnTo>
                  <a:lnTo>
                    <a:pt x="2782" y="2126"/>
                  </a:lnTo>
                  <a:lnTo>
                    <a:pt x="2763" y="2111"/>
                  </a:lnTo>
                  <a:lnTo>
                    <a:pt x="2745" y="2089"/>
                  </a:lnTo>
                  <a:lnTo>
                    <a:pt x="2732" y="2064"/>
                  </a:lnTo>
                  <a:lnTo>
                    <a:pt x="2723" y="2036"/>
                  </a:lnTo>
                  <a:lnTo>
                    <a:pt x="2720" y="2017"/>
                  </a:lnTo>
                  <a:lnTo>
                    <a:pt x="2729" y="2005"/>
                  </a:lnTo>
                  <a:lnTo>
                    <a:pt x="2745" y="1992"/>
                  </a:lnTo>
                  <a:lnTo>
                    <a:pt x="2763" y="1980"/>
                  </a:lnTo>
                  <a:lnTo>
                    <a:pt x="2773" y="1970"/>
                  </a:lnTo>
                  <a:lnTo>
                    <a:pt x="2776" y="1951"/>
                  </a:lnTo>
                  <a:lnTo>
                    <a:pt x="2773" y="1933"/>
                  </a:lnTo>
                  <a:lnTo>
                    <a:pt x="2776" y="1917"/>
                  </a:lnTo>
                  <a:lnTo>
                    <a:pt x="2782" y="1911"/>
                  </a:lnTo>
                  <a:lnTo>
                    <a:pt x="2788" y="1908"/>
                  </a:lnTo>
                  <a:lnTo>
                    <a:pt x="2798" y="1905"/>
                  </a:lnTo>
                  <a:lnTo>
                    <a:pt x="2807" y="1898"/>
                  </a:lnTo>
                  <a:lnTo>
                    <a:pt x="2813" y="1895"/>
                  </a:lnTo>
                  <a:lnTo>
                    <a:pt x="2820" y="1889"/>
                  </a:lnTo>
                  <a:lnTo>
                    <a:pt x="2823" y="1883"/>
                  </a:lnTo>
                  <a:lnTo>
                    <a:pt x="2823" y="1877"/>
                  </a:lnTo>
                  <a:lnTo>
                    <a:pt x="2826" y="1867"/>
                  </a:lnTo>
                  <a:lnTo>
                    <a:pt x="2823" y="1858"/>
                  </a:lnTo>
                  <a:lnTo>
                    <a:pt x="2823" y="1848"/>
                  </a:lnTo>
                  <a:lnTo>
                    <a:pt x="2820" y="1842"/>
                  </a:lnTo>
                  <a:lnTo>
                    <a:pt x="2804" y="1833"/>
                  </a:lnTo>
                  <a:lnTo>
                    <a:pt x="2782" y="1827"/>
                  </a:lnTo>
                  <a:lnTo>
                    <a:pt x="2763" y="1823"/>
                  </a:lnTo>
                  <a:lnTo>
                    <a:pt x="2742" y="1833"/>
                  </a:lnTo>
                  <a:lnTo>
                    <a:pt x="2720" y="1845"/>
                  </a:lnTo>
                  <a:lnTo>
                    <a:pt x="2698" y="1852"/>
                  </a:lnTo>
                  <a:lnTo>
                    <a:pt x="2682" y="1852"/>
                  </a:lnTo>
                  <a:lnTo>
                    <a:pt x="2660" y="1848"/>
                  </a:lnTo>
                  <a:lnTo>
                    <a:pt x="2642" y="1839"/>
                  </a:lnTo>
                  <a:lnTo>
                    <a:pt x="2629" y="1830"/>
                  </a:lnTo>
                  <a:lnTo>
                    <a:pt x="2626" y="1817"/>
                  </a:lnTo>
                  <a:lnTo>
                    <a:pt x="2632" y="1802"/>
                  </a:lnTo>
                  <a:lnTo>
                    <a:pt x="2639" y="1783"/>
                  </a:lnTo>
                  <a:lnTo>
                    <a:pt x="2642" y="1770"/>
                  </a:lnTo>
                  <a:lnTo>
                    <a:pt x="2629" y="1752"/>
                  </a:lnTo>
                  <a:lnTo>
                    <a:pt x="2610" y="1730"/>
                  </a:lnTo>
                  <a:lnTo>
                    <a:pt x="2592" y="1714"/>
                  </a:lnTo>
                  <a:lnTo>
                    <a:pt x="2573" y="1702"/>
                  </a:lnTo>
                  <a:lnTo>
                    <a:pt x="2551" y="1699"/>
                  </a:lnTo>
                  <a:lnTo>
                    <a:pt x="2526" y="1702"/>
                  </a:lnTo>
                  <a:lnTo>
                    <a:pt x="2501" y="1705"/>
                  </a:lnTo>
                  <a:lnTo>
                    <a:pt x="2482" y="1702"/>
                  </a:lnTo>
                  <a:lnTo>
                    <a:pt x="2461" y="1686"/>
                  </a:lnTo>
                  <a:lnTo>
                    <a:pt x="2442" y="1661"/>
                  </a:lnTo>
                  <a:lnTo>
                    <a:pt x="2426" y="1636"/>
                  </a:lnTo>
                  <a:lnTo>
                    <a:pt x="2417" y="1611"/>
                  </a:lnTo>
                  <a:lnTo>
                    <a:pt x="2411" y="1580"/>
                  </a:lnTo>
                  <a:lnTo>
                    <a:pt x="2407" y="1552"/>
                  </a:lnTo>
                  <a:lnTo>
                    <a:pt x="2417" y="1530"/>
                  </a:lnTo>
                  <a:lnTo>
                    <a:pt x="2432" y="1505"/>
                  </a:lnTo>
                  <a:lnTo>
                    <a:pt x="2448" y="1480"/>
                  </a:lnTo>
                  <a:lnTo>
                    <a:pt x="2457" y="1458"/>
                  </a:lnTo>
                  <a:lnTo>
                    <a:pt x="2454" y="1439"/>
                  </a:lnTo>
                  <a:lnTo>
                    <a:pt x="2451" y="1418"/>
                  </a:lnTo>
                  <a:lnTo>
                    <a:pt x="2445" y="1396"/>
                  </a:lnTo>
                  <a:lnTo>
                    <a:pt x="2445" y="1377"/>
                  </a:lnTo>
                  <a:lnTo>
                    <a:pt x="2454" y="1358"/>
                  </a:lnTo>
                  <a:lnTo>
                    <a:pt x="2470" y="1339"/>
                  </a:lnTo>
                  <a:lnTo>
                    <a:pt x="2482" y="1321"/>
                  </a:lnTo>
                  <a:lnTo>
                    <a:pt x="2485" y="1299"/>
                  </a:lnTo>
                  <a:lnTo>
                    <a:pt x="2489" y="1274"/>
                  </a:lnTo>
                  <a:lnTo>
                    <a:pt x="2489" y="1249"/>
                  </a:lnTo>
                  <a:lnTo>
                    <a:pt x="2482" y="1230"/>
                  </a:lnTo>
                  <a:lnTo>
                    <a:pt x="2464" y="1218"/>
                  </a:lnTo>
                  <a:lnTo>
                    <a:pt x="2439" y="1205"/>
                  </a:lnTo>
                  <a:lnTo>
                    <a:pt x="2411" y="1193"/>
                  </a:lnTo>
                  <a:lnTo>
                    <a:pt x="2389" y="1180"/>
                  </a:lnTo>
                  <a:lnTo>
                    <a:pt x="2376" y="1158"/>
                  </a:lnTo>
                  <a:lnTo>
                    <a:pt x="2361" y="1133"/>
                  </a:lnTo>
                  <a:lnTo>
                    <a:pt x="2348" y="1105"/>
                  </a:lnTo>
                  <a:lnTo>
                    <a:pt x="2345" y="1080"/>
                  </a:lnTo>
                  <a:lnTo>
                    <a:pt x="2351" y="1058"/>
                  </a:lnTo>
                  <a:lnTo>
                    <a:pt x="2361" y="1037"/>
                  </a:lnTo>
                  <a:lnTo>
                    <a:pt x="2367" y="1018"/>
                  </a:lnTo>
                  <a:lnTo>
                    <a:pt x="2364" y="996"/>
                  </a:lnTo>
                  <a:lnTo>
                    <a:pt x="2357" y="971"/>
                  </a:lnTo>
                  <a:lnTo>
                    <a:pt x="2348" y="946"/>
                  </a:lnTo>
                  <a:lnTo>
                    <a:pt x="2339" y="927"/>
                  </a:lnTo>
                  <a:lnTo>
                    <a:pt x="2320" y="909"/>
                  </a:lnTo>
                  <a:lnTo>
                    <a:pt x="2295" y="890"/>
                  </a:lnTo>
                  <a:lnTo>
                    <a:pt x="2276" y="874"/>
                  </a:lnTo>
                  <a:lnTo>
                    <a:pt x="2267" y="852"/>
                  </a:lnTo>
                  <a:lnTo>
                    <a:pt x="2258" y="827"/>
                  </a:lnTo>
                  <a:lnTo>
                    <a:pt x="2248" y="802"/>
                  </a:lnTo>
                  <a:lnTo>
                    <a:pt x="2239" y="784"/>
                  </a:lnTo>
                  <a:lnTo>
                    <a:pt x="2217" y="765"/>
                  </a:lnTo>
                  <a:lnTo>
                    <a:pt x="2186" y="746"/>
                  </a:lnTo>
                  <a:lnTo>
                    <a:pt x="2192" y="715"/>
                  </a:lnTo>
                  <a:lnTo>
                    <a:pt x="2198" y="687"/>
                  </a:lnTo>
                  <a:lnTo>
                    <a:pt x="2208" y="665"/>
                  </a:lnTo>
                  <a:lnTo>
                    <a:pt x="2211" y="659"/>
                  </a:lnTo>
                  <a:lnTo>
                    <a:pt x="2217" y="652"/>
                  </a:lnTo>
                  <a:lnTo>
                    <a:pt x="2223" y="643"/>
                  </a:lnTo>
                  <a:lnTo>
                    <a:pt x="2229" y="637"/>
                  </a:lnTo>
                  <a:lnTo>
                    <a:pt x="2233" y="631"/>
                  </a:lnTo>
                  <a:lnTo>
                    <a:pt x="2236" y="609"/>
                  </a:lnTo>
                  <a:lnTo>
                    <a:pt x="2233" y="584"/>
                  </a:lnTo>
                  <a:lnTo>
                    <a:pt x="2233" y="559"/>
                  </a:lnTo>
                  <a:lnTo>
                    <a:pt x="2239" y="540"/>
                  </a:lnTo>
                  <a:lnTo>
                    <a:pt x="2245" y="515"/>
                  </a:lnTo>
                  <a:lnTo>
                    <a:pt x="2251" y="496"/>
                  </a:lnTo>
                  <a:lnTo>
                    <a:pt x="2258" y="474"/>
                  </a:lnTo>
                  <a:lnTo>
                    <a:pt x="2264" y="453"/>
                  </a:lnTo>
                  <a:lnTo>
                    <a:pt x="2270" y="431"/>
                  </a:lnTo>
                  <a:lnTo>
                    <a:pt x="2276" y="425"/>
                  </a:lnTo>
                  <a:lnTo>
                    <a:pt x="2286" y="415"/>
                  </a:lnTo>
                  <a:lnTo>
                    <a:pt x="2295" y="406"/>
                  </a:lnTo>
                  <a:lnTo>
                    <a:pt x="2301" y="393"/>
                  </a:lnTo>
                  <a:lnTo>
                    <a:pt x="2304" y="387"/>
                  </a:lnTo>
                  <a:lnTo>
                    <a:pt x="2308" y="368"/>
                  </a:lnTo>
                  <a:lnTo>
                    <a:pt x="2304" y="346"/>
                  </a:lnTo>
                  <a:lnTo>
                    <a:pt x="2304" y="331"/>
                  </a:lnTo>
                  <a:lnTo>
                    <a:pt x="2311" y="325"/>
                  </a:lnTo>
                  <a:lnTo>
                    <a:pt x="2317" y="321"/>
                  </a:lnTo>
                  <a:lnTo>
                    <a:pt x="2326" y="315"/>
                  </a:lnTo>
                  <a:lnTo>
                    <a:pt x="2336" y="312"/>
                  </a:lnTo>
                  <a:lnTo>
                    <a:pt x="2342" y="309"/>
                  </a:lnTo>
                  <a:lnTo>
                    <a:pt x="2348" y="306"/>
                  </a:lnTo>
                  <a:lnTo>
                    <a:pt x="2354" y="306"/>
                  </a:lnTo>
                  <a:lnTo>
                    <a:pt x="2361" y="303"/>
                  </a:lnTo>
                  <a:lnTo>
                    <a:pt x="2367" y="300"/>
                  </a:lnTo>
                  <a:lnTo>
                    <a:pt x="2373" y="296"/>
                  </a:lnTo>
                  <a:lnTo>
                    <a:pt x="2382" y="278"/>
                  </a:lnTo>
                  <a:lnTo>
                    <a:pt x="2386" y="253"/>
                  </a:lnTo>
                  <a:lnTo>
                    <a:pt x="2386" y="228"/>
                  </a:lnTo>
                  <a:lnTo>
                    <a:pt x="2386" y="222"/>
                  </a:lnTo>
                  <a:lnTo>
                    <a:pt x="2382" y="212"/>
                  </a:lnTo>
                  <a:lnTo>
                    <a:pt x="2376" y="206"/>
                  </a:lnTo>
                  <a:lnTo>
                    <a:pt x="2373" y="197"/>
                  </a:lnTo>
                  <a:lnTo>
                    <a:pt x="2373" y="187"/>
                  </a:lnTo>
                  <a:lnTo>
                    <a:pt x="2373" y="181"/>
                  </a:lnTo>
                  <a:lnTo>
                    <a:pt x="2376" y="175"/>
                  </a:lnTo>
                  <a:lnTo>
                    <a:pt x="2386" y="172"/>
                  </a:lnTo>
                  <a:lnTo>
                    <a:pt x="2392" y="165"/>
                  </a:lnTo>
                  <a:lnTo>
                    <a:pt x="2401" y="162"/>
                  </a:lnTo>
                  <a:lnTo>
                    <a:pt x="2411" y="162"/>
                  </a:lnTo>
                  <a:lnTo>
                    <a:pt x="2417" y="162"/>
                  </a:lnTo>
                  <a:lnTo>
                    <a:pt x="2423" y="162"/>
                  </a:lnTo>
                  <a:lnTo>
                    <a:pt x="2429" y="162"/>
                  </a:lnTo>
                  <a:lnTo>
                    <a:pt x="2436" y="165"/>
                  </a:lnTo>
                  <a:lnTo>
                    <a:pt x="2442" y="172"/>
                  </a:lnTo>
                  <a:lnTo>
                    <a:pt x="2445" y="178"/>
                  </a:lnTo>
                  <a:lnTo>
                    <a:pt x="2448" y="187"/>
                  </a:lnTo>
                  <a:lnTo>
                    <a:pt x="2451" y="197"/>
                  </a:lnTo>
                  <a:lnTo>
                    <a:pt x="2454" y="203"/>
                  </a:lnTo>
                  <a:lnTo>
                    <a:pt x="2461" y="209"/>
                  </a:lnTo>
                  <a:lnTo>
                    <a:pt x="2482" y="215"/>
                  </a:lnTo>
                  <a:lnTo>
                    <a:pt x="2510" y="215"/>
                  </a:lnTo>
                  <a:lnTo>
                    <a:pt x="2539" y="212"/>
                  </a:lnTo>
                  <a:lnTo>
                    <a:pt x="2564" y="203"/>
                  </a:lnTo>
                  <a:lnTo>
                    <a:pt x="2570" y="200"/>
                  </a:lnTo>
                  <a:lnTo>
                    <a:pt x="2576" y="190"/>
                  </a:lnTo>
                  <a:lnTo>
                    <a:pt x="2582" y="184"/>
                  </a:lnTo>
                  <a:lnTo>
                    <a:pt x="2585" y="175"/>
                  </a:lnTo>
                  <a:lnTo>
                    <a:pt x="2589" y="168"/>
                  </a:lnTo>
                  <a:lnTo>
                    <a:pt x="2592" y="162"/>
                  </a:lnTo>
                  <a:lnTo>
                    <a:pt x="2589" y="153"/>
                  </a:lnTo>
                  <a:lnTo>
                    <a:pt x="2589" y="147"/>
                  </a:lnTo>
                  <a:lnTo>
                    <a:pt x="2589" y="137"/>
                  </a:lnTo>
                  <a:lnTo>
                    <a:pt x="2589" y="128"/>
                  </a:lnTo>
                  <a:lnTo>
                    <a:pt x="2589" y="125"/>
                  </a:lnTo>
                  <a:lnTo>
                    <a:pt x="2595" y="115"/>
                  </a:lnTo>
                  <a:lnTo>
                    <a:pt x="2604" y="106"/>
                  </a:lnTo>
                  <a:lnTo>
                    <a:pt x="2617" y="97"/>
                  </a:lnTo>
                  <a:lnTo>
                    <a:pt x="2626" y="90"/>
                  </a:lnTo>
                  <a:lnTo>
                    <a:pt x="2639" y="87"/>
                  </a:lnTo>
                  <a:lnTo>
                    <a:pt x="2651" y="84"/>
                  </a:lnTo>
                  <a:lnTo>
                    <a:pt x="2670" y="87"/>
                  </a:lnTo>
                  <a:lnTo>
                    <a:pt x="2688" y="87"/>
                  </a:lnTo>
                  <a:lnTo>
                    <a:pt x="2701" y="84"/>
                  </a:lnTo>
                  <a:lnTo>
                    <a:pt x="2707" y="72"/>
                  </a:lnTo>
                  <a:lnTo>
                    <a:pt x="2707" y="56"/>
                  </a:lnTo>
                  <a:lnTo>
                    <a:pt x="2707" y="37"/>
                  </a:lnTo>
                  <a:lnTo>
                    <a:pt x="2707" y="22"/>
                  </a:lnTo>
                  <a:lnTo>
                    <a:pt x="2713" y="9"/>
                  </a:lnTo>
                  <a:lnTo>
                    <a:pt x="2732" y="3"/>
                  </a:lnTo>
                  <a:lnTo>
                    <a:pt x="2760" y="0"/>
                  </a:lnTo>
                  <a:lnTo>
                    <a:pt x="2788" y="0"/>
                  </a:lnTo>
                  <a:lnTo>
                    <a:pt x="2817" y="6"/>
                  </a:lnTo>
                  <a:lnTo>
                    <a:pt x="2838" y="9"/>
                  </a:lnTo>
                  <a:lnTo>
                    <a:pt x="2857" y="15"/>
                  </a:lnTo>
                  <a:lnTo>
                    <a:pt x="2876" y="28"/>
                  </a:lnTo>
                  <a:lnTo>
                    <a:pt x="2891" y="40"/>
                  </a:lnTo>
                  <a:lnTo>
                    <a:pt x="2895" y="53"/>
                  </a:lnTo>
                  <a:lnTo>
                    <a:pt x="2895" y="72"/>
                  </a:lnTo>
                  <a:lnTo>
                    <a:pt x="2891" y="94"/>
                  </a:lnTo>
                  <a:lnTo>
                    <a:pt x="2891" y="109"/>
                  </a:lnTo>
                  <a:lnTo>
                    <a:pt x="2888" y="128"/>
                  </a:lnTo>
                  <a:lnTo>
                    <a:pt x="2888" y="150"/>
                  </a:lnTo>
                  <a:lnTo>
                    <a:pt x="2891" y="168"/>
                  </a:lnTo>
                  <a:lnTo>
                    <a:pt x="2901" y="187"/>
                  </a:lnTo>
                  <a:lnTo>
                    <a:pt x="2920" y="209"/>
                  </a:lnTo>
                  <a:lnTo>
                    <a:pt x="2938" y="228"/>
                  </a:lnTo>
                  <a:lnTo>
                    <a:pt x="2951" y="247"/>
                  </a:lnTo>
                  <a:lnTo>
                    <a:pt x="2954" y="268"/>
                  </a:lnTo>
                  <a:lnTo>
                    <a:pt x="2957" y="296"/>
                  </a:lnTo>
                  <a:lnTo>
                    <a:pt x="2963" y="321"/>
                  </a:lnTo>
                  <a:lnTo>
                    <a:pt x="2973" y="337"/>
                  </a:lnTo>
                  <a:lnTo>
                    <a:pt x="2988" y="343"/>
                  </a:lnTo>
                  <a:lnTo>
                    <a:pt x="3013" y="346"/>
                  </a:lnTo>
                  <a:lnTo>
                    <a:pt x="3038" y="343"/>
                  </a:lnTo>
                  <a:lnTo>
                    <a:pt x="3060" y="340"/>
                  </a:lnTo>
                  <a:lnTo>
                    <a:pt x="3079" y="337"/>
                  </a:lnTo>
                  <a:lnTo>
                    <a:pt x="3104" y="334"/>
                  </a:lnTo>
                  <a:lnTo>
                    <a:pt x="3135" y="328"/>
                  </a:lnTo>
                  <a:lnTo>
                    <a:pt x="3163" y="318"/>
                  </a:lnTo>
                  <a:lnTo>
                    <a:pt x="3185" y="303"/>
                  </a:lnTo>
                  <a:lnTo>
                    <a:pt x="3188" y="287"/>
                  </a:lnTo>
                  <a:lnTo>
                    <a:pt x="3188" y="268"/>
                  </a:lnTo>
                  <a:lnTo>
                    <a:pt x="3185" y="250"/>
                  </a:lnTo>
                  <a:lnTo>
                    <a:pt x="3176" y="237"/>
                  </a:lnTo>
                  <a:lnTo>
                    <a:pt x="3166" y="222"/>
                  </a:lnTo>
                  <a:lnTo>
                    <a:pt x="3157" y="206"/>
                  </a:lnTo>
                  <a:lnTo>
                    <a:pt x="3157" y="193"/>
                  </a:lnTo>
                  <a:lnTo>
                    <a:pt x="3166" y="184"/>
                  </a:lnTo>
                  <a:lnTo>
                    <a:pt x="3185" y="175"/>
                  </a:lnTo>
                  <a:lnTo>
                    <a:pt x="3207" y="168"/>
                  </a:lnTo>
                  <a:lnTo>
                    <a:pt x="3222" y="168"/>
                  </a:lnTo>
                  <a:lnTo>
                    <a:pt x="3251" y="168"/>
                  </a:lnTo>
                  <a:lnTo>
                    <a:pt x="3279" y="175"/>
                  </a:lnTo>
                  <a:lnTo>
                    <a:pt x="3307" y="184"/>
                  </a:lnTo>
                  <a:lnTo>
                    <a:pt x="3326" y="197"/>
                  </a:lnTo>
                  <a:lnTo>
                    <a:pt x="3326" y="215"/>
                  </a:lnTo>
                  <a:lnTo>
                    <a:pt x="3319" y="234"/>
                  </a:lnTo>
                  <a:lnTo>
                    <a:pt x="3307" y="256"/>
                  </a:lnTo>
                  <a:lnTo>
                    <a:pt x="3297" y="275"/>
                  </a:lnTo>
                  <a:lnTo>
                    <a:pt x="3297" y="293"/>
                  </a:lnTo>
                  <a:lnTo>
                    <a:pt x="3313" y="306"/>
                  </a:lnTo>
                  <a:lnTo>
                    <a:pt x="3338" y="315"/>
                  </a:lnTo>
                  <a:lnTo>
                    <a:pt x="3360" y="318"/>
                  </a:lnTo>
                  <a:lnTo>
                    <a:pt x="3369" y="318"/>
                  </a:lnTo>
                  <a:lnTo>
                    <a:pt x="3379" y="315"/>
                  </a:lnTo>
                  <a:lnTo>
                    <a:pt x="3388" y="312"/>
                  </a:lnTo>
                  <a:lnTo>
                    <a:pt x="3400" y="309"/>
                  </a:lnTo>
                  <a:lnTo>
                    <a:pt x="3407" y="309"/>
                  </a:lnTo>
                  <a:lnTo>
                    <a:pt x="3425" y="309"/>
                  </a:lnTo>
                  <a:lnTo>
                    <a:pt x="3444" y="309"/>
                  </a:lnTo>
                  <a:lnTo>
                    <a:pt x="3466" y="312"/>
                  </a:lnTo>
                  <a:lnTo>
                    <a:pt x="3482" y="318"/>
                  </a:lnTo>
                  <a:lnTo>
                    <a:pt x="3494" y="340"/>
                  </a:lnTo>
                  <a:lnTo>
                    <a:pt x="3500" y="368"/>
                  </a:lnTo>
                  <a:lnTo>
                    <a:pt x="3507" y="396"/>
                  </a:lnTo>
                  <a:lnTo>
                    <a:pt x="3516" y="421"/>
                  </a:lnTo>
                  <a:lnTo>
                    <a:pt x="3532" y="437"/>
                  </a:lnTo>
                  <a:lnTo>
                    <a:pt x="3553" y="456"/>
                  </a:lnTo>
                  <a:lnTo>
                    <a:pt x="3575" y="474"/>
                  </a:lnTo>
                  <a:lnTo>
                    <a:pt x="3594" y="487"/>
                  </a:lnTo>
                  <a:lnTo>
                    <a:pt x="3616" y="490"/>
                  </a:lnTo>
                  <a:lnTo>
                    <a:pt x="3644" y="490"/>
                  </a:lnTo>
                  <a:lnTo>
                    <a:pt x="3675" y="490"/>
                  </a:lnTo>
                  <a:lnTo>
                    <a:pt x="3675" y="524"/>
                  </a:lnTo>
                  <a:lnTo>
                    <a:pt x="3678" y="562"/>
                  </a:lnTo>
                  <a:lnTo>
                    <a:pt x="3685" y="590"/>
                  </a:lnTo>
                  <a:lnTo>
                    <a:pt x="3688" y="612"/>
                  </a:lnTo>
                  <a:lnTo>
                    <a:pt x="3694" y="640"/>
                  </a:lnTo>
                  <a:lnTo>
                    <a:pt x="3700" y="668"/>
                  </a:lnTo>
                  <a:lnTo>
                    <a:pt x="3706" y="690"/>
                  </a:lnTo>
                  <a:lnTo>
                    <a:pt x="3706" y="718"/>
                  </a:lnTo>
                  <a:lnTo>
                    <a:pt x="3706" y="749"/>
                  </a:lnTo>
                  <a:lnTo>
                    <a:pt x="3706" y="777"/>
                  </a:lnTo>
                  <a:lnTo>
                    <a:pt x="3706" y="802"/>
                  </a:lnTo>
                  <a:lnTo>
                    <a:pt x="3710" y="834"/>
                  </a:lnTo>
                  <a:lnTo>
                    <a:pt x="3713" y="862"/>
                  </a:lnTo>
                  <a:lnTo>
                    <a:pt x="3719" y="890"/>
                  </a:lnTo>
                  <a:lnTo>
                    <a:pt x="3728" y="909"/>
                  </a:lnTo>
                  <a:lnTo>
                    <a:pt x="3744" y="915"/>
                  </a:lnTo>
                  <a:lnTo>
                    <a:pt x="3763" y="918"/>
                  </a:lnTo>
                  <a:lnTo>
                    <a:pt x="3785" y="918"/>
                  </a:lnTo>
                  <a:lnTo>
                    <a:pt x="3803" y="918"/>
                  </a:lnTo>
                  <a:lnTo>
                    <a:pt x="3819" y="924"/>
                  </a:lnTo>
                  <a:lnTo>
                    <a:pt x="3828" y="943"/>
                  </a:lnTo>
                  <a:lnTo>
                    <a:pt x="3835" y="971"/>
                  </a:lnTo>
                  <a:lnTo>
                    <a:pt x="3838" y="999"/>
                  </a:lnTo>
                  <a:lnTo>
                    <a:pt x="3841" y="1021"/>
                  </a:lnTo>
                  <a:lnTo>
                    <a:pt x="3853" y="1040"/>
                  </a:lnTo>
                  <a:lnTo>
                    <a:pt x="3869" y="1062"/>
                  </a:lnTo>
                  <a:lnTo>
                    <a:pt x="3878" y="1080"/>
                  </a:lnTo>
                  <a:lnTo>
                    <a:pt x="3878" y="1102"/>
                  </a:lnTo>
                  <a:lnTo>
                    <a:pt x="3875" y="1127"/>
                  </a:lnTo>
                  <a:lnTo>
                    <a:pt x="3878" y="1149"/>
                  </a:lnTo>
                  <a:lnTo>
                    <a:pt x="3888" y="1171"/>
                  </a:lnTo>
                  <a:lnTo>
                    <a:pt x="3903" y="1196"/>
                  </a:lnTo>
                  <a:lnTo>
                    <a:pt x="3919" y="1215"/>
                  </a:lnTo>
                  <a:lnTo>
                    <a:pt x="3934" y="1230"/>
                  </a:lnTo>
                  <a:lnTo>
                    <a:pt x="3956" y="1243"/>
                  </a:lnTo>
                  <a:lnTo>
                    <a:pt x="3972" y="1255"/>
                  </a:lnTo>
                  <a:lnTo>
                    <a:pt x="3978" y="1264"/>
                  </a:lnTo>
                  <a:lnTo>
                    <a:pt x="3984" y="1274"/>
                  </a:lnTo>
                  <a:lnTo>
                    <a:pt x="3988" y="1286"/>
                  </a:lnTo>
                  <a:lnTo>
                    <a:pt x="3994" y="1296"/>
                  </a:lnTo>
                  <a:lnTo>
                    <a:pt x="3994" y="1305"/>
                  </a:lnTo>
                  <a:lnTo>
                    <a:pt x="3994" y="1324"/>
                  </a:lnTo>
                  <a:lnTo>
                    <a:pt x="3984" y="1349"/>
                  </a:lnTo>
                  <a:lnTo>
                    <a:pt x="3978" y="1371"/>
                  </a:lnTo>
                  <a:lnTo>
                    <a:pt x="3972" y="1389"/>
                  </a:lnTo>
                  <a:lnTo>
                    <a:pt x="3972" y="1411"/>
                  </a:lnTo>
                  <a:lnTo>
                    <a:pt x="3972" y="1439"/>
                  </a:lnTo>
                  <a:lnTo>
                    <a:pt x="3972" y="1464"/>
                  </a:lnTo>
                  <a:lnTo>
                    <a:pt x="3972" y="1480"/>
                  </a:lnTo>
                  <a:lnTo>
                    <a:pt x="3978" y="1483"/>
                  </a:lnTo>
                  <a:lnTo>
                    <a:pt x="3994" y="1489"/>
                  </a:lnTo>
                  <a:lnTo>
                    <a:pt x="4016" y="1492"/>
                  </a:lnTo>
                  <a:lnTo>
                    <a:pt x="4037" y="1496"/>
                  </a:lnTo>
                  <a:lnTo>
                    <a:pt x="4053" y="1496"/>
                  </a:lnTo>
                  <a:lnTo>
                    <a:pt x="4072" y="1492"/>
                  </a:lnTo>
                  <a:lnTo>
                    <a:pt x="4091" y="1486"/>
                  </a:lnTo>
                  <a:lnTo>
                    <a:pt x="4106" y="1480"/>
                  </a:lnTo>
                  <a:lnTo>
                    <a:pt x="4131" y="1486"/>
                  </a:lnTo>
                  <a:lnTo>
                    <a:pt x="4156" y="1496"/>
                  </a:lnTo>
                  <a:lnTo>
                    <a:pt x="4181" y="1508"/>
                  </a:lnTo>
                  <a:lnTo>
                    <a:pt x="4203" y="1521"/>
                  </a:lnTo>
                  <a:lnTo>
                    <a:pt x="4219" y="1539"/>
                  </a:lnTo>
                  <a:lnTo>
                    <a:pt x="4234" y="1564"/>
                  </a:lnTo>
                  <a:lnTo>
                    <a:pt x="4253" y="1580"/>
                  </a:lnTo>
                  <a:lnTo>
                    <a:pt x="4281" y="1583"/>
                  </a:lnTo>
                  <a:lnTo>
                    <a:pt x="4315" y="1580"/>
                  </a:lnTo>
                  <a:lnTo>
                    <a:pt x="4350" y="1571"/>
                  </a:lnTo>
                  <a:lnTo>
                    <a:pt x="4372" y="1555"/>
                  </a:lnTo>
                  <a:lnTo>
                    <a:pt x="4375" y="1552"/>
                  </a:lnTo>
                  <a:lnTo>
                    <a:pt x="4375" y="1542"/>
                  </a:lnTo>
                  <a:lnTo>
                    <a:pt x="4375" y="1536"/>
                  </a:lnTo>
                  <a:lnTo>
                    <a:pt x="4372" y="1527"/>
                  </a:lnTo>
                  <a:lnTo>
                    <a:pt x="4372" y="1521"/>
                  </a:lnTo>
                  <a:lnTo>
                    <a:pt x="4372" y="1514"/>
                  </a:lnTo>
                  <a:lnTo>
                    <a:pt x="4387" y="1505"/>
                  </a:lnTo>
                  <a:lnTo>
                    <a:pt x="4406" y="1496"/>
                  </a:lnTo>
                  <a:lnTo>
                    <a:pt x="4425" y="1489"/>
                  </a:lnTo>
                  <a:lnTo>
                    <a:pt x="4443" y="1483"/>
                  </a:lnTo>
                  <a:lnTo>
                    <a:pt x="4459" y="1471"/>
                  </a:lnTo>
                  <a:lnTo>
                    <a:pt x="4481" y="1458"/>
                  </a:lnTo>
                  <a:lnTo>
                    <a:pt x="4500" y="1446"/>
                  </a:lnTo>
                  <a:lnTo>
                    <a:pt x="4515" y="1439"/>
                  </a:lnTo>
                  <a:lnTo>
                    <a:pt x="4537" y="1433"/>
                  </a:lnTo>
                  <a:lnTo>
                    <a:pt x="4556" y="1427"/>
                  </a:lnTo>
                  <a:lnTo>
                    <a:pt x="4568" y="1433"/>
                  </a:lnTo>
                  <a:lnTo>
                    <a:pt x="4568" y="1446"/>
                  </a:lnTo>
                  <a:lnTo>
                    <a:pt x="4556" y="1461"/>
                  </a:lnTo>
                  <a:lnTo>
                    <a:pt x="4546" y="1477"/>
                  </a:lnTo>
                  <a:lnTo>
                    <a:pt x="4540" y="1489"/>
                  </a:lnTo>
                  <a:lnTo>
                    <a:pt x="4540" y="1514"/>
                  </a:lnTo>
                  <a:lnTo>
                    <a:pt x="4546" y="1542"/>
                  </a:lnTo>
                  <a:lnTo>
                    <a:pt x="4559" y="1561"/>
                  </a:lnTo>
                  <a:lnTo>
                    <a:pt x="4575" y="1567"/>
                  </a:lnTo>
                  <a:lnTo>
                    <a:pt x="4596" y="1571"/>
                  </a:lnTo>
                  <a:lnTo>
                    <a:pt x="4621" y="1571"/>
                  </a:lnTo>
                  <a:lnTo>
                    <a:pt x="4640" y="1567"/>
                  </a:lnTo>
                  <a:lnTo>
                    <a:pt x="4656" y="1558"/>
                  </a:lnTo>
                  <a:lnTo>
                    <a:pt x="4671" y="1542"/>
                  </a:lnTo>
                  <a:lnTo>
                    <a:pt x="4684" y="1524"/>
                  </a:lnTo>
                  <a:lnTo>
                    <a:pt x="4693" y="1508"/>
                  </a:lnTo>
                  <a:lnTo>
                    <a:pt x="4690" y="1492"/>
                  </a:lnTo>
                  <a:lnTo>
                    <a:pt x="4684" y="1477"/>
                  </a:lnTo>
                  <a:lnTo>
                    <a:pt x="4675" y="1458"/>
                  </a:lnTo>
                  <a:lnTo>
                    <a:pt x="4671" y="1442"/>
                  </a:lnTo>
                  <a:lnTo>
                    <a:pt x="4671" y="1430"/>
                  </a:lnTo>
                  <a:lnTo>
                    <a:pt x="4687" y="1424"/>
                  </a:lnTo>
                  <a:lnTo>
                    <a:pt x="4706" y="1421"/>
                  </a:lnTo>
                  <a:lnTo>
                    <a:pt x="4728" y="1424"/>
                  </a:lnTo>
                  <a:lnTo>
                    <a:pt x="4753" y="1427"/>
                  </a:lnTo>
                  <a:lnTo>
                    <a:pt x="4768" y="1430"/>
                  </a:lnTo>
                  <a:lnTo>
                    <a:pt x="4778" y="1430"/>
                  </a:lnTo>
                  <a:lnTo>
                    <a:pt x="4787" y="1433"/>
                  </a:lnTo>
                  <a:lnTo>
                    <a:pt x="4796" y="1433"/>
                  </a:lnTo>
                  <a:lnTo>
                    <a:pt x="4806" y="1436"/>
                  </a:lnTo>
                  <a:lnTo>
                    <a:pt x="4824" y="1446"/>
                  </a:lnTo>
                  <a:lnTo>
                    <a:pt x="4843" y="1461"/>
                  </a:lnTo>
                  <a:lnTo>
                    <a:pt x="4862" y="1477"/>
                  </a:lnTo>
                  <a:lnTo>
                    <a:pt x="4877" y="1489"/>
                  </a:lnTo>
                  <a:lnTo>
                    <a:pt x="4893" y="1505"/>
                  </a:lnTo>
                  <a:lnTo>
                    <a:pt x="4909" y="1521"/>
                  </a:lnTo>
                  <a:lnTo>
                    <a:pt x="4918" y="1530"/>
                  </a:lnTo>
                  <a:lnTo>
                    <a:pt x="4927" y="1533"/>
                  </a:lnTo>
                  <a:lnTo>
                    <a:pt x="4943" y="1533"/>
                  </a:lnTo>
                  <a:lnTo>
                    <a:pt x="4962" y="1533"/>
                  </a:lnTo>
                  <a:lnTo>
                    <a:pt x="4977" y="1530"/>
                  </a:lnTo>
                  <a:lnTo>
                    <a:pt x="4981" y="1546"/>
                  </a:lnTo>
                  <a:lnTo>
                    <a:pt x="4984" y="1558"/>
                  </a:lnTo>
                  <a:lnTo>
                    <a:pt x="4996" y="1580"/>
                  </a:lnTo>
                  <a:lnTo>
                    <a:pt x="5012" y="1605"/>
                  </a:lnTo>
                  <a:lnTo>
                    <a:pt x="5027" y="1627"/>
                  </a:lnTo>
                  <a:lnTo>
                    <a:pt x="5043" y="1658"/>
                  </a:lnTo>
                  <a:lnTo>
                    <a:pt x="5062" y="1692"/>
                  </a:lnTo>
                  <a:lnTo>
                    <a:pt x="5080" y="1724"/>
                  </a:lnTo>
                  <a:lnTo>
                    <a:pt x="5096" y="1739"/>
                  </a:lnTo>
                  <a:lnTo>
                    <a:pt x="5118" y="1755"/>
                  </a:lnTo>
                  <a:lnTo>
                    <a:pt x="5137" y="1770"/>
                  </a:lnTo>
                  <a:lnTo>
                    <a:pt x="5149" y="1786"/>
                  </a:lnTo>
                  <a:lnTo>
                    <a:pt x="5155" y="1811"/>
                  </a:lnTo>
                  <a:lnTo>
                    <a:pt x="5155" y="1842"/>
                  </a:lnTo>
                  <a:lnTo>
                    <a:pt x="5149" y="1873"/>
                  </a:lnTo>
                  <a:lnTo>
                    <a:pt x="5146" y="1898"/>
                  </a:lnTo>
                  <a:lnTo>
                    <a:pt x="5140" y="1917"/>
                  </a:lnTo>
                  <a:lnTo>
                    <a:pt x="5127" y="1939"/>
                  </a:lnTo>
                  <a:lnTo>
                    <a:pt x="5124" y="1958"/>
                  </a:lnTo>
                  <a:lnTo>
                    <a:pt x="5127" y="1967"/>
                  </a:lnTo>
                  <a:lnTo>
                    <a:pt x="5130" y="1976"/>
                  </a:lnTo>
                  <a:lnTo>
                    <a:pt x="5137" y="1983"/>
                  </a:lnTo>
                  <a:lnTo>
                    <a:pt x="5143" y="1992"/>
                  </a:lnTo>
                  <a:lnTo>
                    <a:pt x="5149" y="1998"/>
                  </a:lnTo>
                  <a:lnTo>
                    <a:pt x="5155" y="2005"/>
                  </a:lnTo>
                  <a:lnTo>
                    <a:pt x="5159" y="2005"/>
                  </a:lnTo>
                  <a:lnTo>
                    <a:pt x="5165" y="2005"/>
                  </a:lnTo>
                  <a:lnTo>
                    <a:pt x="5168" y="2005"/>
                  </a:lnTo>
                  <a:lnTo>
                    <a:pt x="5174" y="2005"/>
                  </a:lnTo>
                  <a:lnTo>
                    <a:pt x="5190" y="2008"/>
                  </a:lnTo>
                  <a:lnTo>
                    <a:pt x="5212" y="2014"/>
                  </a:lnTo>
                  <a:lnTo>
                    <a:pt x="5227" y="2023"/>
                  </a:lnTo>
                  <a:lnTo>
                    <a:pt x="5240" y="2042"/>
                  </a:lnTo>
                  <a:lnTo>
                    <a:pt x="5249" y="2064"/>
                  </a:lnTo>
                  <a:lnTo>
                    <a:pt x="5258" y="2079"/>
                  </a:lnTo>
                  <a:lnTo>
                    <a:pt x="5280" y="2098"/>
                  </a:lnTo>
                  <a:lnTo>
                    <a:pt x="5308" y="2117"/>
                  </a:lnTo>
                  <a:lnTo>
                    <a:pt x="5337" y="2139"/>
                  </a:lnTo>
                  <a:lnTo>
                    <a:pt x="5355" y="2158"/>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sp>
          <p:nvSpPr>
            <p:cNvPr id="68" name="Freeform 63">
              <a:extLst>
                <a:ext uri="{FF2B5EF4-FFF2-40B4-BE49-F238E27FC236}">
                  <a16:creationId xmlns:a16="http://schemas.microsoft.com/office/drawing/2014/main" id="{C4B537E4-9A47-4DBA-AB73-5DEA77467814}"/>
                </a:ext>
              </a:extLst>
            </p:cNvPr>
            <p:cNvSpPr>
              <a:spLocks/>
            </p:cNvSpPr>
            <p:nvPr/>
          </p:nvSpPr>
          <p:spPr bwMode="auto">
            <a:xfrm>
              <a:off x="37999988" y="11763375"/>
              <a:ext cx="2849563" cy="6142038"/>
            </a:xfrm>
            <a:custGeom>
              <a:avLst/>
              <a:gdLst>
                <a:gd name="T0" fmla="*/ 1683 w 1795"/>
                <a:gd name="T1" fmla="*/ 2242 h 3869"/>
                <a:gd name="T2" fmla="*/ 1542 w 1795"/>
                <a:gd name="T3" fmla="*/ 2623 h 3869"/>
                <a:gd name="T4" fmla="*/ 1545 w 1795"/>
                <a:gd name="T5" fmla="*/ 3057 h 3869"/>
                <a:gd name="T6" fmla="*/ 1486 w 1795"/>
                <a:gd name="T7" fmla="*/ 3222 h 3869"/>
                <a:gd name="T8" fmla="*/ 1386 w 1795"/>
                <a:gd name="T9" fmla="*/ 3332 h 3869"/>
                <a:gd name="T10" fmla="*/ 1489 w 1795"/>
                <a:gd name="T11" fmla="*/ 3304 h 3869"/>
                <a:gd name="T12" fmla="*/ 1452 w 1795"/>
                <a:gd name="T13" fmla="*/ 3447 h 3869"/>
                <a:gd name="T14" fmla="*/ 1377 w 1795"/>
                <a:gd name="T15" fmla="*/ 3616 h 3869"/>
                <a:gd name="T16" fmla="*/ 1349 w 1795"/>
                <a:gd name="T17" fmla="*/ 3753 h 3869"/>
                <a:gd name="T18" fmla="*/ 1202 w 1795"/>
                <a:gd name="T19" fmla="*/ 3838 h 3869"/>
                <a:gd name="T20" fmla="*/ 1061 w 1795"/>
                <a:gd name="T21" fmla="*/ 3666 h 3869"/>
                <a:gd name="T22" fmla="*/ 852 w 1795"/>
                <a:gd name="T23" fmla="*/ 3622 h 3869"/>
                <a:gd name="T24" fmla="*/ 574 w 1795"/>
                <a:gd name="T25" fmla="*/ 3478 h 3869"/>
                <a:gd name="T26" fmla="*/ 540 w 1795"/>
                <a:gd name="T27" fmla="*/ 3300 h 3869"/>
                <a:gd name="T28" fmla="*/ 637 w 1795"/>
                <a:gd name="T29" fmla="*/ 3254 h 3869"/>
                <a:gd name="T30" fmla="*/ 746 w 1795"/>
                <a:gd name="T31" fmla="*/ 3210 h 3869"/>
                <a:gd name="T32" fmla="*/ 684 w 1795"/>
                <a:gd name="T33" fmla="*/ 3122 h 3869"/>
                <a:gd name="T34" fmla="*/ 468 w 1795"/>
                <a:gd name="T35" fmla="*/ 3094 h 3869"/>
                <a:gd name="T36" fmla="*/ 415 w 1795"/>
                <a:gd name="T37" fmla="*/ 3051 h 3869"/>
                <a:gd name="T38" fmla="*/ 328 w 1795"/>
                <a:gd name="T39" fmla="*/ 3088 h 3869"/>
                <a:gd name="T40" fmla="*/ 368 w 1795"/>
                <a:gd name="T41" fmla="*/ 2988 h 3869"/>
                <a:gd name="T42" fmla="*/ 496 w 1795"/>
                <a:gd name="T43" fmla="*/ 2870 h 3869"/>
                <a:gd name="T44" fmla="*/ 477 w 1795"/>
                <a:gd name="T45" fmla="*/ 2779 h 3869"/>
                <a:gd name="T46" fmla="*/ 440 w 1795"/>
                <a:gd name="T47" fmla="*/ 2692 h 3869"/>
                <a:gd name="T48" fmla="*/ 303 w 1795"/>
                <a:gd name="T49" fmla="*/ 2676 h 3869"/>
                <a:gd name="T50" fmla="*/ 137 w 1795"/>
                <a:gd name="T51" fmla="*/ 2595 h 3869"/>
                <a:gd name="T52" fmla="*/ 156 w 1795"/>
                <a:gd name="T53" fmla="*/ 2523 h 3869"/>
                <a:gd name="T54" fmla="*/ 256 w 1795"/>
                <a:gd name="T55" fmla="*/ 2386 h 3869"/>
                <a:gd name="T56" fmla="*/ 321 w 1795"/>
                <a:gd name="T57" fmla="*/ 2251 h 3869"/>
                <a:gd name="T58" fmla="*/ 115 w 1795"/>
                <a:gd name="T59" fmla="*/ 2151 h 3869"/>
                <a:gd name="T60" fmla="*/ 15 w 1795"/>
                <a:gd name="T61" fmla="*/ 1936 h 3869"/>
                <a:gd name="T62" fmla="*/ 175 w 1795"/>
                <a:gd name="T63" fmla="*/ 1873 h 3869"/>
                <a:gd name="T64" fmla="*/ 215 w 1795"/>
                <a:gd name="T65" fmla="*/ 1764 h 3869"/>
                <a:gd name="T66" fmla="*/ 115 w 1795"/>
                <a:gd name="T67" fmla="*/ 1692 h 3869"/>
                <a:gd name="T68" fmla="*/ 75 w 1795"/>
                <a:gd name="T69" fmla="*/ 1630 h 3869"/>
                <a:gd name="T70" fmla="*/ 0 w 1795"/>
                <a:gd name="T71" fmla="*/ 1642 h 3869"/>
                <a:gd name="T72" fmla="*/ 15 w 1795"/>
                <a:gd name="T73" fmla="*/ 1571 h 3869"/>
                <a:gd name="T74" fmla="*/ 90 w 1795"/>
                <a:gd name="T75" fmla="*/ 1467 h 3869"/>
                <a:gd name="T76" fmla="*/ 175 w 1795"/>
                <a:gd name="T77" fmla="*/ 1393 h 3869"/>
                <a:gd name="T78" fmla="*/ 209 w 1795"/>
                <a:gd name="T79" fmla="*/ 1215 h 3869"/>
                <a:gd name="T80" fmla="*/ 221 w 1795"/>
                <a:gd name="T81" fmla="*/ 1080 h 3869"/>
                <a:gd name="T82" fmla="*/ 290 w 1795"/>
                <a:gd name="T83" fmla="*/ 1108 h 3869"/>
                <a:gd name="T84" fmla="*/ 390 w 1795"/>
                <a:gd name="T85" fmla="*/ 1024 h 3869"/>
                <a:gd name="T86" fmla="*/ 540 w 1795"/>
                <a:gd name="T87" fmla="*/ 949 h 3869"/>
                <a:gd name="T88" fmla="*/ 702 w 1795"/>
                <a:gd name="T89" fmla="*/ 921 h 3869"/>
                <a:gd name="T90" fmla="*/ 843 w 1795"/>
                <a:gd name="T91" fmla="*/ 721 h 3869"/>
                <a:gd name="T92" fmla="*/ 1002 w 1795"/>
                <a:gd name="T93" fmla="*/ 665 h 3869"/>
                <a:gd name="T94" fmla="*/ 1124 w 1795"/>
                <a:gd name="T95" fmla="*/ 690 h 3869"/>
                <a:gd name="T96" fmla="*/ 1252 w 1795"/>
                <a:gd name="T97" fmla="*/ 715 h 3869"/>
                <a:gd name="T98" fmla="*/ 1280 w 1795"/>
                <a:gd name="T99" fmla="*/ 606 h 3869"/>
                <a:gd name="T100" fmla="*/ 1246 w 1795"/>
                <a:gd name="T101" fmla="*/ 340 h 3869"/>
                <a:gd name="T102" fmla="*/ 1280 w 1795"/>
                <a:gd name="T103" fmla="*/ 200 h 3869"/>
                <a:gd name="T104" fmla="*/ 1249 w 1795"/>
                <a:gd name="T105" fmla="*/ 34 h 3869"/>
                <a:gd name="T106" fmla="*/ 1371 w 1795"/>
                <a:gd name="T107" fmla="*/ 3 h 3869"/>
                <a:gd name="T108" fmla="*/ 1489 w 1795"/>
                <a:gd name="T109" fmla="*/ 222 h 3869"/>
                <a:gd name="T110" fmla="*/ 1542 w 1795"/>
                <a:gd name="T111" fmla="*/ 481 h 3869"/>
                <a:gd name="T112" fmla="*/ 1542 w 1795"/>
                <a:gd name="T113" fmla="*/ 634 h 3869"/>
                <a:gd name="T114" fmla="*/ 1545 w 1795"/>
                <a:gd name="T115" fmla="*/ 918 h 3869"/>
                <a:gd name="T116" fmla="*/ 1664 w 1795"/>
                <a:gd name="T117" fmla="*/ 1124 h 3869"/>
                <a:gd name="T118" fmla="*/ 1680 w 1795"/>
                <a:gd name="T119" fmla="*/ 1396 h 3869"/>
                <a:gd name="T120" fmla="*/ 1748 w 1795"/>
                <a:gd name="T121" fmla="*/ 1714 h 3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95" h="3869">
                  <a:moveTo>
                    <a:pt x="1795" y="1992"/>
                  </a:moveTo>
                  <a:lnTo>
                    <a:pt x="1795" y="2020"/>
                  </a:lnTo>
                  <a:lnTo>
                    <a:pt x="1795" y="2058"/>
                  </a:lnTo>
                  <a:lnTo>
                    <a:pt x="1789" y="2086"/>
                  </a:lnTo>
                  <a:lnTo>
                    <a:pt x="1776" y="2108"/>
                  </a:lnTo>
                  <a:lnTo>
                    <a:pt x="1755" y="2133"/>
                  </a:lnTo>
                  <a:lnTo>
                    <a:pt x="1733" y="2158"/>
                  </a:lnTo>
                  <a:lnTo>
                    <a:pt x="1717" y="2176"/>
                  </a:lnTo>
                  <a:lnTo>
                    <a:pt x="1708" y="2198"/>
                  </a:lnTo>
                  <a:lnTo>
                    <a:pt x="1695" y="2223"/>
                  </a:lnTo>
                  <a:lnTo>
                    <a:pt x="1683" y="2242"/>
                  </a:lnTo>
                  <a:lnTo>
                    <a:pt x="1664" y="2273"/>
                  </a:lnTo>
                  <a:lnTo>
                    <a:pt x="1642" y="2307"/>
                  </a:lnTo>
                  <a:lnTo>
                    <a:pt x="1620" y="2342"/>
                  </a:lnTo>
                  <a:lnTo>
                    <a:pt x="1602" y="2373"/>
                  </a:lnTo>
                  <a:lnTo>
                    <a:pt x="1586" y="2398"/>
                  </a:lnTo>
                  <a:lnTo>
                    <a:pt x="1570" y="2426"/>
                  </a:lnTo>
                  <a:lnTo>
                    <a:pt x="1555" y="2457"/>
                  </a:lnTo>
                  <a:lnTo>
                    <a:pt x="1545" y="2485"/>
                  </a:lnTo>
                  <a:lnTo>
                    <a:pt x="1539" y="2526"/>
                  </a:lnTo>
                  <a:lnTo>
                    <a:pt x="1539" y="2573"/>
                  </a:lnTo>
                  <a:lnTo>
                    <a:pt x="1542" y="2623"/>
                  </a:lnTo>
                  <a:lnTo>
                    <a:pt x="1545" y="2663"/>
                  </a:lnTo>
                  <a:lnTo>
                    <a:pt x="1549" y="2710"/>
                  </a:lnTo>
                  <a:lnTo>
                    <a:pt x="1558" y="2766"/>
                  </a:lnTo>
                  <a:lnTo>
                    <a:pt x="1564" y="2823"/>
                  </a:lnTo>
                  <a:lnTo>
                    <a:pt x="1567" y="2870"/>
                  </a:lnTo>
                  <a:lnTo>
                    <a:pt x="1570" y="2901"/>
                  </a:lnTo>
                  <a:lnTo>
                    <a:pt x="1570" y="2941"/>
                  </a:lnTo>
                  <a:lnTo>
                    <a:pt x="1570" y="2982"/>
                  </a:lnTo>
                  <a:lnTo>
                    <a:pt x="1567" y="3013"/>
                  </a:lnTo>
                  <a:lnTo>
                    <a:pt x="1561" y="3035"/>
                  </a:lnTo>
                  <a:lnTo>
                    <a:pt x="1545" y="3057"/>
                  </a:lnTo>
                  <a:lnTo>
                    <a:pt x="1533" y="3082"/>
                  </a:lnTo>
                  <a:lnTo>
                    <a:pt x="1527" y="3101"/>
                  </a:lnTo>
                  <a:lnTo>
                    <a:pt x="1530" y="3119"/>
                  </a:lnTo>
                  <a:lnTo>
                    <a:pt x="1536" y="3138"/>
                  </a:lnTo>
                  <a:lnTo>
                    <a:pt x="1545" y="3160"/>
                  </a:lnTo>
                  <a:lnTo>
                    <a:pt x="1552" y="3182"/>
                  </a:lnTo>
                  <a:lnTo>
                    <a:pt x="1552" y="3197"/>
                  </a:lnTo>
                  <a:lnTo>
                    <a:pt x="1539" y="3207"/>
                  </a:lnTo>
                  <a:lnTo>
                    <a:pt x="1520" y="3213"/>
                  </a:lnTo>
                  <a:lnTo>
                    <a:pt x="1502" y="3219"/>
                  </a:lnTo>
                  <a:lnTo>
                    <a:pt x="1486" y="3222"/>
                  </a:lnTo>
                  <a:lnTo>
                    <a:pt x="1467" y="3222"/>
                  </a:lnTo>
                  <a:lnTo>
                    <a:pt x="1445" y="3219"/>
                  </a:lnTo>
                  <a:lnTo>
                    <a:pt x="1427" y="3222"/>
                  </a:lnTo>
                  <a:lnTo>
                    <a:pt x="1417" y="3229"/>
                  </a:lnTo>
                  <a:lnTo>
                    <a:pt x="1411" y="3238"/>
                  </a:lnTo>
                  <a:lnTo>
                    <a:pt x="1402" y="3250"/>
                  </a:lnTo>
                  <a:lnTo>
                    <a:pt x="1396" y="3263"/>
                  </a:lnTo>
                  <a:lnTo>
                    <a:pt x="1392" y="3272"/>
                  </a:lnTo>
                  <a:lnTo>
                    <a:pt x="1386" y="3288"/>
                  </a:lnTo>
                  <a:lnTo>
                    <a:pt x="1383" y="3313"/>
                  </a:lnTo>
                  <a:lnTo>
                    <a:pt x="1386" y="3332"/>
                  </a:lnTo>
                  <a:lnTo>
                    <a:pt x="1392" y="3347"/>
                  </a:lnTo>
                  <a:lnTo>
                    <a:pt x="1402" y="3350"/>
                  </a:lnTo>
                  <a:lnTo>
                    <a:pt x="1417" y="3344"/>
                  </a:lnTo>
                  <a:lnTo>
                    <a:pt x="1433" y="3338"/>
                  </a:lnTo>
                  <a:lnTo>
                    <a:pt x="1445" y="3332"/>
                  </a:lnTo>
                  <a:lnTo>
                    <a:pt x="1452" y="3329"/>
                  </a:lnTo>
                  <a:lnTo>
                    <a:pt x="1458" y="3322"/>
                  </a:lnTo>
                  <a:lnTo>
                    <a:pt x="1467" y="3316"/>
                  </a:lnTo>
                  <a:lnTo>
                    <a:pt x="1474" y="3310"/>
                  </a:lnTo>
                  <a:lnTo>
                    <a:pt x="1480" y="3307"/>
                  </a:lnTo>
                  <a:lnTo>
                    <a:pt x="1489" y="3304"/>
                  </a:lnTo>
                  <a:lnTo>
                    <a:pt x="1502" y="3316"/>
                  </a:lnTo>
                  <a:lnTo>
                    <a:pt x="1514" y="3338"/>
                  </a:lnTo>
                  <a:lnTo>
                    <a:pt x="1524" y="3357"/>
                  </a:lnTo>
                  <a:lnTo>
                    <a:pt x="1524" y="3366"/>
                  </a:lnTo>
                  <a:lnTo>
                    <a:pt x="1524" y="3379"/>
                  </a:lnTo>
                  <a:lnTo>
                    <a:pt x="1524" y="3388"/>
                  </a:lnTo>
                  <a:lnTo>
                    <a:pt x="1524" y="3400"/>
                  </a:lnTo>
                  <a:lnTo>
                    <a:pt x="1520" y="3407"/>
                  </a:lnTo>
                  <a:lnTo>
                    <a:pt x="1502" y="3422"/>
                  </a:lnTo>
                  <a:lnTo>
                    <a:pt x="1474" y="3438"/>
                  </a:lnTo>
                  <a:lnTo>
                    <a:pt x="1452" y="3447"/>
                  </a:lnTo>
                  <a:lnTo>
                    <a:pt x="1433" y="3450"/>
                  </a:lnTo>
                  <a:lnTo>
                    <a:pt x="1414" y="3457"/>
                  </a:lnTo>
                  <a:lnTo>
                    <a:pt x="1392" y="3463"/>
                  </a:lnTo>
                  <a:lnTo>
                    <a:pt x="1380" y="3472"/>
                  </a:lnTo>
                  <a:lnTo>
                    <a:pt x="1377" y="3491"/>
                  </a:lnTo>
                  <a:lnTo>
                    <a:pt x="1383" y="3510"/>
                  </a:lnTo>
                  <a:lnTo>
                    <a:pt x="1389" y="3535"/>
                  </a:lnTo>
                  <a:lnTo>
                    <a:pt x="1396" y="3556"/>
                  </a:lnTo>
                  <a:lnTo>
                    <a:pt x="1399" y="3575"/>
                  </a:lnTo>
                  <a:lnTo>
                    <a:pt x="1389" y="3594"/>
                  </a:lnTo>
                  <a:lnTo>
                    <a:pt x="1377" y="3616"/>
                  </a:lnTo>
                  <a:lnTo>
                    <a:pt x="1364" y="3631"/>
                  </a:lnTo>
                  <a:lnTo>
                    <a:pt x="1358" y="3638"/>
                  </a:lnTo>
                  <a:lnTo>
                    <a:pt x="1349" y="3647"/>
                  </a:lnTo>
                  <a:lnTo>
                    <a:pt x="1339" y="3653"/>
                  </a:lnTo>
                  <a:lnTo>
                    <a:pt x="1333" y="3660"/>
                  </a:lnTo>
                  <a:lnTo>
                    <a:pt x="1324" y="3669"/>
                  </a:lnTo>
                  <a:lnTo>
                    <a:pt x="1321" y="3675"/>
                  </a:lnTo>
                  <a:lnTo>
                    <a:pt x="1324" y="3694"/>
                  </a:lnTo>
                  <a:lnTo>
                    <a:pt x="1333" y="3716"/>
                  </a:lnTo>
                  <a:lnTo>
                    <a:pt x="1342" y="3734"/>
                  </a:lnTo>
                  <a:lnTo>
                    <a:pt x="1349" y="3753"/>
                  </a:lnTo>
                  <a:lnTo>
                    <a:pt x="1358" y="3775"/>
                  </a:lnTo>
                  <a:lnTo>
                    <a:pt x="1361" y="3794"/>
                  </a:lnTo>
                  <a:lnTo>
                    <a:pt x="1355" y="3813"/>
                  </a:lnTo>
                  <a:lnTo>
                    <a:pt x="1346" y="3834"/>
                  </a:lnTo>
                  <a:lnTo>
                    <a:pt x="1333" y="3850"/>
                  </a:lnTo>
                  <a:lnTo>
                    <a:pt x="1314" y="3859"/>
                  </a:lnTo>
                  <a:lnTo>
                    <a:pt x="1289" y="3866"/>
                  </a:lnTo>
                  <a:lnTo>
                    <a:pt x="1264" y="3869"/>
                  </a:lnTo>
                  <a:lnTo>
                    <a:pt x="1246" y="3866"/>
                  </a:lnTo>
                  <a:lnTo>
                    <a:pt x="1224" y="3856"/>
                  </a:lnTo>
                  <a:lnTo>
                    <a:pt x="1202" y="3838"/>
                  </a:lnTo>
                  <a:lnTo>
                    <a:pt x="1183" y="3822"/>
                  </a:lnTo>
                  <a:lnTo>
                    <a:pt x="1164" y="3816"/>
                  </a:lnTo>
                  <a:lnTo>
                    <a:pt x="1143" y="3809"/>
                  </a:lnTo>
                  <a:lnTo>
                    <a:pt x="1127" y="3800"/>
                  </a:lnTo>
                  <a:lnTo>
                    <a:pt x="1121" y="3781"/>
                  </a:lnTo>
                  <a:lnTo>
                    <a:pt x="1124" y="3759"/>
                  </a:lnTo>
                  <a:lnTo>
                    <a:pt x="1127" y="3738"/>
                  </a:lnTo>
                  <a:lnTo>
                    <a:pt x="1124" y="3719"/>
                  </a:lnTo>
                  <a:lnTo>
                    <a:pt x="1108" y="3700"/>
                  </a:lnTo>
                  <a:lnTo>
                    <a:pt x="1083" y="3681"/>
                  </a:lnTo>
                  <a:lnTo>
                    <a:pt x="1061" y="3666"/>
                  </a:lnTo>
                  <a:lnTo>
                    <a:pt x="1055" y="3666"/>
                  </a:lnTo>
                  <a:lnTo>
                    <a:pt x="1046" y="3663"/>
                  </a:lnTo>
                  <a:lnTo>
                    <a:pt x="1036" y="3663"/>
                  </a:lnTo>
                  <a:lnTo>
                    <a:pt x="1027" y="3660"/>
                  </a:lnTo>
                  <a:lnTo>
                    <a:pt x="1018" y="3660"/>
                  </a:lnTo>
                  <a:lnTo>
                    <a:pt x="996" y="3650"/>
                  </a:lnTo>
                  <a:lnTo>
                    <a:pt x="968" y="3641"/>
                  </a:lnTo>
                  <a:lnTo>
                    <a:pt x="943" y="3631"/>
                  </a:lnTo>
                  <a:lnTo>
                    <a:pt x="918" y="3625"/>
                  </a:lnTo>
                  <a:lnTo>
                    <a:pt x="890" y="3622"/>
                  </a:lnTo>
                  <a:lnTo>
                    <a:pt x="852" y="3622"/>
                  </a:lnTo>
                  <a:lnTo>
                    <a:pt x="824" y="3622"/>
                  </a:lnTo>
                  <a:lnTo>
                    <a:pt x="793" y="3613"/>
                  </a:lnTo>
                  <a:lnTo>
                    <a:pt x="758" y="3603"/>
                  </a:lnTo>
                  <a:lnTo>
                    <a:pt x="734" y="3591"/>
                  </a:lnTo>
                  <a:lnTo>
                    <a:pt x="712" y="3575"/>
                  </a:lnTo>
                  <a:lnTo>
                    <a:pt x="690" y="3550"/>
                  </a:lnTo>
                  <a:lnTo>
                    <a:pt x="671" y="3528"/>
                  </a:lnTo>
                  <a:lnTo>
                    <a:pt x="649" y="3513"/>
                  </a:lnTo>
                  <a:lnTo>
                    <a:pt x="627" y="3500"/>
                  </a:lnTo>
                  <a:lnTo>
                    <a:pt x="599" y="3491"/>
                  </a:lnTo>
                  <a:lnTo>
                    <a:pt x="574" y="3478"/>
                  </a:lnTo>
                  <a:lnTo>
                    <a:pt x="552" y="3466"/>
                  </a:lnTo>
                  <a:lnTo>
                    <a:pt x="537" y="3447"/>
                  </a:lnTo>
                  <a:lnTo>
                    <a:pt x="524" y="3425"/>
                  </a:lnTo>
                  <a:lnTo>
                    <a:pt x="515" y="3407"/>
                  </a:lnTo>
                  <a:lnTo>
                    <a:pt x="512" y="3385"/>
                  </a:lnTo>
                  <a:lnTo>
                    <a:pt x="512" y="3360"/>
                  </a:lnTo>
                  <a:lnTo>
                    <a:pt x="515" y="3341"/>
                  </a:lnTo>
                  <a:lnTo>
                    <a:pt x="518" y="3332"/>
                  </a:lnTo>
                  <a:lnTo>
                    <a:pt x="524" y="3319"/>
                  </a:lnTo>
                  <a:lnTo>
                    <a:pt x="531" y="3310"/>
                  </a:lnTo>
                  <a:lnTo>
                    <a:pt x="540" y="3300"/>
                  </a:lnTo>
                  <a:lnTo>
                    <a:pt x="549" y="3294"/>
                  </a:lnTo>
                  <a:lnTo>
                    <a:pt x="565" y="3291"/>
                  </a:lnTo>
                  <a:lnTo>
                    <a:pt x="584" y="3291"/>
                  </a:lnTo>
                  <a:lnTo>
                    <a:pt x="605" y="3294"/>
                  </a:lnTo>
                  <a:lnTo>
                    <a:pt x="624" y="3297"/>
                  </a:lnTo>
                  <a:lnTo>
                    <a:pt x="637" y="3291"/>
                  </a:lnTo>
                  <a:lnTo>
                    <a:pt x="640" y="3285"/>
                  </a:lnTo>
                  <a:lnTo>
                    <a:pt x="640" y="3279"/>
                  </a:lnTo>
                  <a:lnTo>
                    <a:pt x="640" y="3272"/>
                  </a:lnTo>
                  <a:lnTo>
                    <a:pt x="637" y="3263"/>
                  </a:lnTo>
                  <a:lnTo>
                    <a:pt x="637" y="3254"/>
                  </a:lnTo>
                  <a:lnTo>
                    <a:pt x="637" y="3247"/>
                  </a:lnTo>
                  <a:lnTo>
                    <a:pt x="640" y="3241"/>
                  </a:lnTo>
                  <a:lnTo>
                    <a:pt x="643" y="3238"/>
                  </a:lnTo>
                  <a:lnTo>
                    <a:pt x="649" y="3235"/>
                  </a:lnTo>
                  <a:lnTo>
                    <a:pt x="659" y="3235"/>
                  </a:lnTo>
                  <a:lnTo>
                    <a:pt x="668" y="3235"/>
                  </a:lnTo>
                  <a:lnTo>
                    <a:pt x="674" y="3232"/>
                  </a:lnTo>
                  <a:lnTo>
                    <a:pt x="680" y="3232"/>
                  </a:lnTo>
                  <a:lnTo>
                    <a:pt x="699" y="3226"/>
                  </a:lnTo>
                  <a:lnTo>
                    <a:pt x="724" y="3219"/>
                  </a:lnTo>
                  <a:lnTo>
                    <a:pt x="746" y="3210"/>
                  </a:lnTo>
                  <a:lnTo>
                    <a:pt x="758" y="3201"/>
                  </a:lnTo>
                  <a:lnTo>
                    <a:pt x="765" y="3185"/>
                  </a:lnTo>
                  <a:lnTo>
                    <a:pt x="762" y="3163"/>
                  </a:lnTo>
                  <a:lnTo>
                    <a:pt x="758" y="3144"/>
                  </a:lnTo>
                  <a:lnTo>
                    <a:pt x="752" y="3129"/>
                  </a:lnTo>
                  <a:lnTo>
                    <a:pt x="746" y="3126"/>
                  </a:lnTo>
                  <a:lnTo>
                    <a:pt x="734" y="3119"/>
                  </a:lnTo>
                  <a:lnTo>
                    <a:pt x="724" y="3116"/>
                  </a:lnTo>
                  <a:lnTo>
                    <a:pt x="712" y="3116"/>
                  </a:lnTo>
                  <a:lnTo>
                    <a:pt x="702" y="3116"/>
                  </a:lnTo>
                  <a:lnTo>
                    <a:pt x="684" y="3122"/>
                  </a:lnTo>
                  <a:lnTo>
                    <a:pt x="662" y="3132"/>
                  </a:lnTo>
                  <a:lnTo>
                    <a:pt x="643" y="3141"/>
                  </a:lnTo>
                  <a:lnTo>
                    <a:pt x="621" y="3138"/>
                  </a:lnTo>
                  <a:lnTo>
                    <a:pt x="596" y="3135"/>
                  </a:lnTo>
                  <a:lnTo>
                    <a:pt x="574" y="3129"/>
                  </a:lnTo>
                  <a:lnTo>
                    <a:pt x="556" y="3119"/>
                  </a:lnTo>
                  <a:lnTo>
                    <a:pt x="534" y="3107"/>
                  </a:lnTo>
                  <a:lnTo>
                    <a:pt x="515" y="3097"/>
                  </a:lnTo>
                  <a:lnTo>
                    <a:pt x="499" y="3097"/>
                  </a:lnTo>
                  <a:lnTo>
                    <a:pt x="484" y="3097"/>
                  </a:lnTo>
                  <a:lnTo>
                    <a:pt x="468" y="3094"/>
                  </a:lnTo>
                  <a:lnTo>
                    <a:pt x="456" y="3091"/>
                  </a:lnTo>
                  <a:lnTo>
                    <a:pt x="456" y="3085"/>
                  </a:lnTo>
                  <a:lnTo>
                    <a:pt x="456" y="3079"/>
                  </a:lnTo>
                  <a:lnTo>
                    <a:pt x="456" y="3072"/>
                  </a:lnTo>
                  <a:lnTo>
                    <a:pt x="459" y="3063"/>
                  </a:lnTo>
                  <a:lnTo>
                    <a:pt x="459" y="3057"/>
                  </a:lnTo>
                  <a:lnTo>
                    <a:pt x="459" y="3051"/>
                  </a:lnTo>
                  <a:lnTo>
                    <a:pt x="456" y="3048"/>
                  </a:lnTo>
                  <a:lnTo>
                    <a:pt x="446" y="3044"/>
                  </a:lnTo>
                  <a:lnTo>
                    <a:pt x="431" y="3044"/>
                  </a:lnTo>
                  <a:lnTo>
                    <a:pt x="415" y="3051"/>
                  </a:lnTo>
                  <a:lnTo>
                    <a:pt x="403" y="3057"/>
                  </a:lnTo>
                  <a:lnTo>
                    <a:pt x="403" y="3060"/>
                  </a:lnTo>
                  <a:lnTo>
                    <a:pt x="403" y="3066"/>
                  </a:lnTo>
                  <a:lnTo>
                    <a:pt x="403" y="3072"/>
                  </a:lnTo>
                  <a:lnTo>
                    <a:pt x="403" y="3079"/>
                  </a:lnTo>
                  <a:lnTo>
                    <a:pt x="403" y="3082"/>
                  </a:lnTo>
                  <a:lnTo>
                    <a:pt x="403" y="3085"/>
                  </a:lnTo>
                  <a:lnTo>
                    <a:pt x="387" y="3094"/>
                  </a:lnTo>
                  <a:lnTo>
                    <a:pt x="365" y="3097"/>
                  </a:lnTo>
                  <a:lnTo>
                    <a:pt x="343" y="3094"/>
                  </a:lnTo>
                  <a:lnTo>
                    <a:pt x="328" y="3088"/>
                  </a:lnTo>
                  <a:lnTo>
                    <a:pt x="318" y="3072"/>
                  </a:lnTo>
                  <a:lnTo>
                    <a:pt x="315" y="3048"/>
                  </a:lnTo>
                  <a:lnTo>
                    <a:pt x="318" y="3029"/>
                  </a:lnTo>
                  <a:lnTo>
                    <a:pt x="321" y="3026"/>
                  </a:lnTo>
                  <a:lnTo>
                    <a:pt x="331" y="3023"/>
                  </a:lnTo>
                  <a:lnTo>
                    <a:pt x="337" y="3019"/>
                  </a:lnTo>
                  <a:lnTo>
                    <a:pt x="346" y="3016"/>
                  </a:lnTo>
                  <a:lnTo>
                    <a:pt x="356" y="3013"/>
                  </a:lnTo>
                  <a:lnTo>
                    <a:pt x="362" y="3010"/>
                  </a:lnTo>
                  <a:lnTo>
                    <a:pt x="365" y="3007"/>
                  </a:lnTo>
                  <a:lnTo>
                    <a:pt x="368" y="2988"/>
                  </a:lnTo>
                  <a:lnTo>
                    <a:pt x="365" y="2966"/>
                  </a:lnTo>
                  <a:lnTo>
                    <a:pt x="362" y="2941"/>
                  </a:lnTo>
                  <a:lnTo>
                    <a:pt x="362" y="2923"/>
                  </a:lnTo>
                  <a:lnTo>
                    <a:pt x="378" y="2907"/>
                  </a:lnTo>
                  <a:lnTo>
                    <a:pt x="403" y="2891"/>
                  </a:lnTo>
                  <a:lnTo>
                    <a:pt x="424" y="2882"/>
                  </a:lnTo>
                  <a:lnTo>
                    <a:pt x="437" y="2879"/>
                  </a:lnTo>
                  <a:lnTo>
                    <a:pt x="456" y="2879"/>
                  </a:lnTo>
                  <a:lnTo>
                    <a:pt x="471" y="2879"/>
                  </a:lnTo>
                  <a:lnTo>
                    <a:pt x="487" y="2876"/>
                  </a:lnTo>
                  <a:lnTo>
                    <a:pt x="496" y="2870"/>
                  </a:lnTo>
                  <a:lnTo>
                    <a:pt x="496" y="2863"/>
                  </a:lnTo>
                  <a:lnTo>
                    <a:pt x="490" y="2857"/>
                  </a:lnTo>
                  <a:lnTo>
                    <a:pt x="484" y="2851"/>
                  </a:lnTo>
                  <a:lnTo>
                    <a:pt x="477" y="2845"/>
                  </a:lnTo>
                  <a:lnTo>
                    <a:pt x="468" y="2838"/>
                  </a:lnTo>
                  <a:lnTo>
                    <a:pt x="462" y="2832"/>
                  </a:lnTo>
                  <a:lnTo>
                    <a:pt x="456" y="2826"/>
                  </a:lnTo>
                  <a:lnTo>
                    <a:pt x="452" y="2820"/>
                  </a:lnTo>
                  <a:lnTo>
                    <a:pt x="456" y="2807"/>
                  </a:lnTo>
                  <a:lnTo>
                    <a:pt x="465" y="2791"/>
                  </a:lnTo>
                  <a:lnTo>
                    <a:pt x="477" y="2779"/>
                  </a:lnTo>
                  <a:lnTo>
                    <a:pt x="484" y="2766"/>
                  </a:lnTo>
                  <a:lnTo>
                    <a:pt x="487" y="2748"/>
                  </a:lnTo>
                  <a:lnTo>
                    <a:pt x="487" y="2729"/>
                  </a:lnTo>
                  <a:lnTo>
                    <a:pt x="484" y="2713"/>
                  </a:lnTo>
                  <a:lnTo>
                    <a:pt x="481" y="2707"/>
                  </a:lnTo>
                  <a:lnTo>
                    <a:pt x="474" y="2701"/>
                  </a:lnTo>
                  <a:lnTo>
                    <a:pt x="465" y="2695"/>
                  </a:lnTo>
                  <a:lnTo>
                    <a:pt x="459" y="2688"/>
                  </a:lnTo>
                  <a:lnTo>
                    <a:pt x="452" y="2688"/>
                  </a:lnTo>
                  <a:lnTo>
                    <a:pt x="446" y="2688"/>
                  </a:lnTo>
                  <a:lnTo>
                    <a:pt x="440" y="2692"/>
                  </a:lnTo>
                  <a:lnTo>
                    <a:pt x="434" y="2695"/>
                  </a:lnTo>
                  <a:lnTo>
                    <a:pt x="427" y="2698"/>
                  </a:lnTo>
                  <a:lnTo>
                    <a:pt x="421" y="2698"/>
                  </a:lnTo>
                  <a:lnTo>
                    <a:pt x="399" y="2701"/>
                  </a:lnTo>
                  <a:lnTo>
                    <a:pt x="371" y="2704"/>
                  </a:lnTo>
                  <a:lnTo>
                    <a:pt x="343" y="2704"/>
                  </a:lnTo>
                  <a:lnTo>
                    <a:pt x="321" y="2698"/>
                  </a:lnTo>
                  <a:lnTo>
                    <a:pt x="318" y="2695"/>
                  </a:lnTo>
                  <a:lnTo>
                    <a:pt x="312" y="2688"/>
                  </a:lnTo>
                  <a:lnTo>
                    <a:pt x="309" y="2679"/>
                  </a:lnTo>
                  <a:lnTo>
                    <a:pt x="303" y="2676"/>
                  </a:lnTo>
                  <a:lnTo>
                    <a:pt x="284" y="2673"/>
                  </a:lnTo>
                  <a:lnTo>
                    <a:pt x="262" y="2676"/>
                  </a:lnTo>
                  <a:lnTo>
                    <a:pt x="237" y="2679"/>
                  </a:lnTo>
                  <a:lnTo>
                    <a:pt x="218" y="2676"/>
                  </a:lnTo>
                  <a:lnTo>
                    <a:pt x="209" y="2670"/>
                  </a:lnTo>
                  <a:lnTo>
                    <a:pt x="200" y="2663"/>
                  </a:lnTo>
                  <a:lnTo>
                    <a:pt x="190" y="2654"/>
                  </a:lnTo>
                  <a:lnTo>
                    <a:pt x="181" y="2645"/>
                  </a:lnTo>
                  <a:lnTo>
                    <a:pt x="175" y="2638"/>
                  </a:lnTo>
                  <a:lnTo>
                    <a:pt x="156" y="2617"/>
                  </a:lnTo>
                  <a:lnTo>
                    <a:pt x="137" y="2595"/>
                  </a:lnTo>
                  <a:lnTo>
                    <a:pt x="125" y="2570"/>
                  </a:lnTo>
                  <a:lnTo>
                    <a:pt x="125" y="2564"/>
                  </a:lnTo>
                  <a:lnTo>
                    <a:pt x="121" y="2554"/>
                  </a:lnTo>
                  <a:lnTo>
                    <a:pt x="121" y="2548"/>
                  </a:lnTo>
                  <a:lnTo>
                    <a:pt x="121" y="2539"/>
                  </a:lnTo>
                  <a:lnTo>
                    <a:pt x="121" y="2529"/>
                  </a:lnTo>
                  <a:lnTo>
                    <a:pt x="125" y="2526"/>
                  </a:lnTo>
                  <a:lnTo>
                    <a:pt x="131" y="2523"/>
                  </a:lnTo>
                  <a:lnTo>
                    <a:pt x="137" y="2520"/>
                  </a:lnTo>
                  <a:lnTo>
                    <a:pt x="146" y="2523"/>
                  </a:lnTo>
                  <a:lnTo>
                    <a:pt x="156" y="2523"/>
                  </a:lnTo>
                  <a:lnTo>
                    <a:pt x="165" y="2526"/>
                  </a:lnTo>
                  <a:lnTo>
                    <a:pt x="171" y="2526"/>
                  </a:lnTo>
                  <a:lnTo>
                    <a:pt x="190" y="2520"/>
                  </a:lnTo>
                  <a:lnTo>
                    <a:pt x="212" y="2514"/>
                  </a:lnTo>
                  <a:lnTo>
                    <a:pt x="228" y="2504"/>
                  </a:lnTo>
                  <a:lnTo>
                    <a:pt x="234" y="2485"/>
                  </a:lnTo>
                  <a:lnTo>
                    <a:pt x="237" y="2464"/>
                  </a:lnTo>
                  <a:lnTo>
                    <a:pt x="240" y="2445"/>
                  </a:lnTo>
                  <a:lnTo>
                    <a:pt x="243" y="2426"/>
                  </a:lnTo>
                  <a:lnTo>
                    <a:pt x="249" y="2407"/>
                  </a:lnTo>
                  <a:lnTo>
                    <a:pt x="256" y="2386"/>
                  </a:lnTo>
                  <a:lnTo>
                    <a:pt x="265" y="2373"/>
                  </a:lnTo>
                  <a:lnTo>
                    <a:pt x="278" y="2370"/>
                  </a:lnTo>
                  <a:lnTo>
                    <a:pt x="293" y="2373"/>
                  </a:lnTo>
                  <a:lnTo>
                    <a:pt x="312" y="2376"/>
                  </a:lnTo>
                  <a:lnTo>
                    <a:pt x="324" y="2373"/>
                  </a:lnTo>
                  <a:lnTo>
                    <a:pt x="334" y="2357"/>
                  </a:lnTo>
                  <a:lnTo>
                    <a:pt x="340" y="2336"/>
                  </a:lnTo>
                  <a:lnTo>
                    <a:pt x="343" y="2317"/>
                  </a:lnTo>
                  <a:lnTo>
                    <a:pt x="340" y="2298"/>
                  </a:lnTo>
                  <a:lnTo>
                    <a:pt x="331" y="2276"/>
                  </a:lnTo>
                  <a:lnTo>
                    <a:pt x="321" y="2251"/>
                  </a:lnTo>
                  <a:lnTo>
                    <a:pt x="309" y="2236"/>
                  </a:lnTo>
                  <a:lnTo>
                    <a:pt x="296" y="2220"/>
                  </a:lnTo>
                  <a:lnTo>
                    <a:pt x="278" y="2201"/>
                  </a:lnTo>
                  <a:lnTo>
                    <a:pt x="259" y="2189"/>
                  </a:lnTo>
                  <a:lnTo>
                    <a:pt x="237" y="2179"/>
                  </a:lnTo>
                  <a:lnTo>
                    <a:pt x="212" y="2170"/>
                  </a:lnTo>
                  <a:lnTo>
                    <a:pt x="190" y="2164"/>
                  </a:lnTo>
                  <a:lnTo>
                    <a:pt x="175" y="2161"/>
                  </a:lnTo>
                  <a:lnTo>
                    <a:pt x="156" y="2164"/>
                  </a:lnTo>
                  <a:lnTo>
                    <a:pt x="137" y="2164"/>
                  </a:lnTo>
                  <a:lnTo>
                    <a:pt x="115" y="2151"/>
                  </a:lnTo>
                  <a:lnTo>
                    <a:pt x="90" y="2136"/>
                  </a:lnTo>
                  <a:lnTo>
                    <a:pt x="72" y="2117"/>
                  </a:lnTo>
                  <a:lnTo>
                    <a:pt x="68" y="2101"/>
                  </a:lnTo>
                  <a:lnTo>
                    <a:pt x="72" y="2080"/>
                  </a:lnTo>
                  <a:lnTo>
                    <a:pt x="72" y="2058"/>
                  </a:lnTo>
                  <a:lnTo>
                    <a:pt x="72" y="2042"/>
                  </a:lnTo>
                  <a:lnTo>
                    <a:pt x="59" y="2023"/>
                  </a:lnTo>
                  <a:lnTo>
                    <a:pt x="40" y="2005"/>
                  </a:lnTo>
                  <a:lnTo>
                    <a:pt x="25" y="1986"/>
                  </a:lnTo>
                  <a:lnTo>
                    <a:pt x="18" y="1964"/>
                  </a:lnTo>
                  <a:lnTo>
                    <a:pt x="15" y="1936"/>
                  </a:lnTo>
                  <a:lnTo>
                    <a:pt x="15" y="1911"/>
                  </a:lnTo>
                  <a:lnTo>
                    <a:pt x="18" y="1902"/>
                  </a:lnTo>
                  <a:lnTo>
                    <a:pt x="25" y="1895"/>
                  </a:lnTo>
                  <a:lnTo>
                    <a:pt x="28" y="1886"/>
                  </a:lnTo>
                  <a:lnTo>
                    <a:pt x="34" y="1880"/>
                  </a:lnTo>
                  <a:lnTo>
                    <a:pt x="59" y="1864"/>
                  </a:lnTo>
                  <a:lnTo>
                    <a:pt x="87" y="1852"/>
                  </a:lnTo>
                  <a:lnTo>
                    <a:pt x="112" y="1848"/>
                  </a:lnTo>
                  <a:lnTo>
                    <a:pt x="131" y="1852"/>
                  </a:lnTo>
                  <a:lnTo>
                    <a:pt x="153" y="1864"/>
                  </a:lnTo>
                  <a:lnTo>
                    <a:pt x="175" y="1873"/>
                  </a:lnTo>
                  <a:lnTo>
                    <a:pt x="193" y="1877"/>
                  </a:lnTo>
                  <a:lnTo>
                    <a:pt x="200" y="1873"/>
                  </a:lnTo>
                  <a:lnTo>
                    <a:pt x="209" y="1867"/>
                  </a:lnTo>
                  <a:lnTo>
                    <a:pt x="218" y="1861"/>
                  </a:lnTo>
                  <a:lnTo>
                    <a:pt x="225" y="1855"/>
                  </a:lnTo>
                  <a:lnTo>
                    <a:pt x="231" y="1845"/>
                  </a:lnTo>
                  <a:lnTo>
                    <a:pt x="234" y="1839"/>
                  </a:lnTo>
                  <a:lnTo>
                    <a:pt x="234" y="1820"/>
                  </a:lnTo>
                  <a:lnTo>
                    <a:pt x="231" y="1802"/>
                  </a:lnTo>
                  <a:lnTo>
                    <a:pt x="225" y="1780"/>
                  </a:lnTo>
                  <a:lnTo>
                    <a:pt x="215" y="1764"/>
                  </a:lnTo>
                  <a:lnTo>
                    <a:pt x="209" y="1755"/>
                  </a:lnTo>
                  <a:lnTo>
                    <a:pt x="200" y="1745"/>
                  </a:lnTo>
                  <a:lnTo>
                    <a:pt x="190" y="1736"/>
                  </a:lnTo>
                  <a:lnTo>
                    <a:pt x="181" y="1730"/>
                  </a:lnTo>
                  <a:lnTo>
                    <a:pt x="171" y="1727"/>
                  </a:lnTo>
                  <a:lnTo>
                    <a:pt x="159" y="1724"/>
                  </a:lnTo>
                  <a:lnTo>
                    <a:pt x="143" y="1727"/>
                  </a:lnTo>
                  <a:lnTo>
                    <a:pt x="131" y="1730"/>
                  </a:lnTo>
                  <a:lnTo>
                    <a:pt x="118" y="1727"/>
                  </a:lnTo>
                  <a:lnTo>
                    <a:pt x="115" y="1711"/>
                  </a:lnTo>
                  <a:lnTo>
                    <a:pt x="115" y="1692"/>
                  </a:lnTo>
                  <a:lnTo>
                    <a:pt x="118" y="1670"/>
                  </a:lnTo>
                  <a:lnTo>
                    <a:pt x="118" y="1655"/>
                  </a:lnTo>
                  <a:lnTo>
                    <a:pt x="118" y="1649"/>
                  </a:lnTo>
                  <a:lnTo>
                    <a:pt x="115" y="1639"/>
                  </a:lnTo>
                  <a:lnTo>
                    <a:pt x="109" y="1633"/>
                  </a:lnTo>
                  <a:lnTo>
                    <a:pt x="106" y="1630"/>
                  </a:lnTo>
                  <a:lnTo>
                    <a:pt x="100" y="1627"/>
                  </a:lnTo>
                  <a:lnTo>
                    <a:pt x="93" y="1627"/>
                  </a:lnTo>
                  <a:lnTo>
                    <a:pt x="87" y="1627"/>
                  </a:lnTo>
                  <a:lnTo>
                    <a:pt x="78" y="1627"/>
                  </a:lnTo>
                  <a:lnTo>
                    <a:pt x="75" y="1630"/>
                  </a:lnTo>
                  <a:lnTo>
                    <a:pt x="72" y="1633"/>
                  </a:lnTo>
                  <a:lnTo>
                    <a:pt x="68" y="1639"/>
                  </a:lnTo>
                  <a:lnTo>
                    <a:pt x="65" y="1645"/>
                  </a:lnTo>
                  <a:lnTo>
                    <a:pt x="65" y="1652"/>
                  </a:lnTo>
                  <a:lnTo>
                    <a:pt x="62" y="1655"/>
                  </a:lnTo>
                  <a:lnTo>
                    <a:pt x="50" y="1661"/>
                  </a:lnTo>
                  <a:lnTo>
                    <a:pt x="31" y="1664"/>
                  </a:lnTo>
                  <a:lnTo>
                    <a:pt x="15" y="1661"/>
                  </a:lnTo>
                  <a:lnTo>
                    <a:pt x="3" y="1655"/>
                  </a:lnTo>
                  <a:lnTo>
                    <a:pt x="3" y="1652"/>
                  </a:lnTo>
                  <a:lnTo>
                    <a:pt x="0" y="1642"/>
                  </a:lnTo>
                  <a:lnTo>
                    <a:pt x="3" y="1636"/>
                  </a:lnTo>
                  <a:lnTo>
                    <a:pt x="3" y="1627"/>
                  </a:lnTo>
                  <a:lnTo>
                    <a:pt x="3" y="1617"/>
                  </a:lnTo>
                  <a:lnTo>
                    <a:pt x="3" y="1611"/>
                  </a:lnTo>
                  <a:lnTo>
                    <a:pt x="3" y="1605"/>
                  </a:lnTo>
                  <a:lnTo>
                    <a:pt x="3" y="1599"/>
                  </a:lnTo>
                  <a:lnTo>
                    <a:pt x="3" y="1589"/>
                  </a:lnTo>
                  <a:lnTo>
                    <a:pt x="3" y="1583"/>
                  </a:lnTo>
                  <a:lnTo>
                    <a:pt x="3" y="1577"/>
                  </a:lnTo>
                  <a:lnTo>
                    <a:pt x="9" y="1574"/>
                  </a:lnTo>
                  <a:lnTo>
                    <a:pt x="15" y="1571"/>
                  </a:lnTo>
                  <a:lnTo>
                    <a:pt x="22" y="1567"/>
                  </a:lnTo>
                  <a:lnTo>
                    <a:pt x="31" y="1564"/>
                  </a:lnTo>
                  <a:lnTo>
                    <a:pt x="37" y="1561"/>
                  </a:lnTo>
                  <a:lnTo>
                    <a:pt x="40" y="1558"/>
                  </a:lnTo>
                  <a:lnTo>
                    <a:pt x="43" y="1552"/>
                  </a:lnTo>
                  <a:lnTo>
                    <a:pt x="47" y="1539"/>
                  </a:lnTo>
                  <a:lnTo>
                    <a:pt x="50" y="1530"/>
                  </a:lnTo>
                  <a:lnTo>
                    <a:pt x="53" y="1517"/>
                  </a:lnTo>
                  <a:lnTo>
                    <a:pt x="56" y="1511"/>
                  </a:lnTo>
                  <a:lnTo>
                    <a:pt x="72" y="1489"/>
                  </a:lnTo>
                  <a:lnTo>
                    <a:pt x="90" y="1467"/>
                  </a:lnTo>
                  <a:lnTo>
                    <a:pt x="112" y="1452"/>
                  </a:lnTo>
                  <a:lnTo>
                    <a:pt x="118" y="1449"/>
                  </a:lnTo>
                  <a:lnTo>
                    <a:pt x="125" y="1452"/>
                  </a:lnTo>
                  <a:lnTo>
                    <a:pt x="134" y="1452"/>
                  </a:lnTo>
                  <a:lnTo>
                    <a:pt x="140" y="1452"/>
                  </a:lnTo>
                  <a:lnTo>
                    <a:pt x="150" y="1455"/>
                  </a:lnTo>
                  <a:lnTo>
                    <a:pt x="156" y="1455"/>
                  </a:lnTo>
                  <a:lnTo>
                    <a:pt x="162" y="1452"/>
                  </a:lnTo>
                  <a:lnTo>
                    <a:pt x="171" y="1436"/>
                  </a:lnTo>
                  <a:lnTo>
                    <a:pt x="175" y="1414"/>
                  </a:lnTo>
                  <a:lnTo>
                    <a:pt x="175" y="1393"/>
                  </a:lnTo>
                  <a:lnTo>
                    <a:pt x="175" y="1374"/>
                  </a:lnTo>
                  <a:lnTo>
                    <a:pt x="171" y="1352"/>
                  </a:lnTo>
                  <a:lnTo>
                    <a:pt x="162" y="1327"/>
                  </a:lnTo>
                  <a:lnTo>
                    <a:pt x="159" y="1305"/>
                  </a:lnTo>
                  <a:lnTo>
                    <a:pt x="162" y="1283"/>
                  </a:lnTo>
                  <a:lnTo>
                    <a:pt x="165" y="1261"/>
                  </a:lnTo>
                  <a:lnTo>
                    <a:pt x="171" y="1240"/>
                  </a:lnTo>
                  <a:lnTo>
                    <a:pt x="181" y="1233"/>
                  </a:lnTo>
                  <a:lnTo>
                    <a:pt x="190" y="1227"/>
                  </a:lnTo>
                  <a:lnTo>
                    <a:pt x="200" y="1221"/>
                  </a:lnTo>
                  <a:lnTo>
                    <a:pt x="209" y="1215"/>
                  </a:lnTo>
                  <a:lnTo>
                    <a:pt x="215" y="1211"/>
                  </a:lnTo>
                  <a:lnTo>
                    <a:pt x="221" y="1202"/>
                  </a:lnTo>
                  <a:lnTo>
                    <a:pt x="231" y="1196"/>
                  </a:lnTo>
                  <a:lnTo>
                    <a:pt x="240" y="1190"/>
                  </a:lnTo>
                  <a:lnTo>
                    <a:pt x="246" y="1180"/>
                  </a:lnTo>
                  <a:lnTo>
                    <a:pt x="249" y="1174"/>
                  </a:lnTo>
                  <a:lnTo>
                    <a:pt x="246" y="1155"/>
                  </a:lnTo>
                  <a:lnTo>
                    <a:pt x="240" y="1136"/>
                  </a:lnTo>
                  <a:lnTo>
                    <a:pt x="228" y="1115"/>
                  </a:lnTo>
                  <a:lnTo>
                    <a:pt x="221" y="1096"/>
                  </a:lnTo>
                  <a:lnTo>
                    <a:pt x="221" y="1080"/>
                  </a:lnTo>
                  <a:lnTo>
                    <a:pt x="228" y="1077"/>
                  </a:lnTo>
                  <a:lnTo>
                    <a:pt x="234" y="1077"/>
                  </a:lnTo>
                  <a:lnTo>
                    <a:pt x="243" y="1074"/>
                  </a:lnTo>
                  <a:lnTo>
                    <a:pt x="249" y="1077"/>
                  </a:lnTo>
                  <a:lnTo>
                    <a:pt x="259" y="1077"/>
                  </a:lnTo>
                  <a:lnTo>
                    <a:pt x="268" y="1080"/>
                  </a:lnTo>
                  <a:lnTo>
                    <a:pt x="271" y="1080"/>
                  </a:lnTo>
                  <a:lnTo>
                    <a:pt x="278" y="1087"/>
                  </a:lnTo>
                  <a:lnTo>
                    <a:pt x="281" y="1093"/>
                  </a:lnTo>
                  <a:lnTo>
                    <a:pt x="287" y="1099"/>
                  </a:lnTo>
                  <a:lnTo>
                    <a:pt x="290" y="1108"/>
                  </a:lnTo>
                  <a:lnTo>
                    <a:pt x="296" y="1112"/>
                  </a:lnTo>
                  <a:lnTo>
                    <a:pt x="309" y="1118"/>
                  </a:lnTo>
                  <a:lnTo>
                    <a:pt x="328" y="1121"/>
                  </a:lnTo>
                  <a:lnTo>
                    <a:pt x="346" y="1124"/>
                  </a:lnTo>
                  <a:lnTo>
                    <a:pt x="359" y="1121"/>
                  </a:lnTo>
                  <a:lnTo>
                    <a:pt x="371" y="1105"/>
                  </a:lnTo>
                  <a:lnTo>
                    <a:pt x="378" y="1083"/>
                  </a:lnTo>
                  <a:lnTo>
                    <a:pt x="384" y="1062"/>
                  </a:lnTo>
                  <a:lnTo>
                    <a:pt x="387" y="1040"/>
                  </a:lnTo>
                  <a:lnTo>
                    <a:pt x="390" y="1033"/>
                  </a:lnTo>
                  <a:lnTo>
                    <a:pt x="390" y="1024"/>
                  </a:lnTo>
                  <a:lnTo>
                    <a:pt x="393" y="1015"/>
                  </a:lnTo>
                  <a:lnTo>
                    <a:pt x="396" y="1005"/>
                  </a:lnTo>
                  <a:lnTo>
                    <a:pt x="399" y="996"/>
                  </a:lnTo>
                  <a:lnTo>
                    <a:pt x="403" y="993"/>
                  </a:lnTo>
                  <a:lnTo>
                    <a:pt x="418" y="987"/>
                  </a:lnTo>
                  <a:lnTo>
                    <a:pt x="437" y="990"/>
                  </a:lnTo>
                  <a:lnTo>
                    <a:pt x="459" y="993"/>
                  </a:lnTo>
                  <a:lnTo>
                    <a:pt x="474" y="993"/>
                  </a:lnTo>
                  <a:lnTo>
                    <a:pt x="496" y="980"/>
                  </a:lnTo>
                  <a:lnTo>
                    <a:pt x="518" y="965"/>
                  </a:lnTo>
                  <a:lnTo>
                    <a:pt x="540" y="949"/>
                  </a:lnTo>
                  <a:lnTo>
                    <a:pt x="546" y="943"/>
                  </a:lnTo>
                  <a:lnTo>
                    <a:pt x="556" y="937"/>
                  </a:lnTo>
                  <a:lnTo>
                    <a:pt x="568" y="930"/>
                  </a:lnTo>
                  <a:lnTo>
                    <a:pt x="577" y="927"/>
                  </a:lnTo>
                  <a:lnTo>
                    <a:pt x="584" y="921"/>
                  </a:lnTo>
                  <a:lnTo>
                    <a:pt x="602" y="921"/>
                  </a:lnTo>
                  <a:lnTo>
                    <a:pt x="624" y="921"/>
                  </a:lnTo>
                  <a:lnTo>
                    <a:pt x="640" y="921"/>
                  </a:lnTo>
                  <a:lnTo>
                    <a:pt x="659" y="924"/>
                  </a:lnTo>
                  <a:lnTo>
                    <a:pt x="684" y="924"/>
                  </a:lnTo>
                  <a:lnTo>
                    <a:pt x="702" y="921"/>
                  </a:lnTo>
                  <a:lnTo>
                    <a:pt x="727" y="912"/>
                  </a:lnTo>
                  <a:lnTo>
                    <a:pt x="752" y="899"/>
                  </a:lnTo>
                  <a:lnTo>
                    <a:pt x="771" y="884"/>
                  </a:lnTo>
                  <a:lnTo>
                    <a:pt x="777" y="862"/>
                  </a:lnTo>
                  <a:lnTo>
                    <a:pt x="783" y="837"/>
                  </a:lnTo>
                  <a:lnTo>
                    <a:pt x="787" y="812"/>
                  </a:lnTo>
                  <a:lnTo>
                    <a:pt x="790" y="793"/>
                  </a:lnTo>
                  <a:lnTo>
                    <a:pt x="799" y="774"/>
                  </a:lnTo>
                  <a:lnTo>
                    <a:pt x="815" y="756"/>
                  </a:lnTo>
                  <a:lnTo>
                    <a:pt x="827" y="740"/>
                  </a:lnTo>
                  <a:lnTo>
                    <a:pt x="843" y="721"/>
                  </a:lnTo>
                  <a:lnTo>
                    <a:pt x="868" y="699"/>
                  </a:lnTo>
                  <a:lnTo>
                    <a:pt x="890" y="684"/>
                  </a:lnTo>
                  <a:lnTo>
                    <a:pt x="912" y="674"/>
                  </a:lnTo>
                  <a:lnTo>
                    <a:pt x="921" y="674"/>
                  </a:lnTo>
                  <a:lnTo>
                    <a:pt x="927" y="674"/>
                  </a:lnTo>
                  <a:lnTo>
                    <a:pt x="936" y="681"/>
                  </a:lnTo>
                  <a:lnTo>
                    <a:pt x="946" y="684"/>
                  </a:lnTo>
                  <a:lnTo>
                    <a:pt x="955" y="687"/>
                  </a:lnTo>
                  <a:lnTo>
                    <a:pt x="961" y="687"/>
                  </a:lnTo>
                  <a:lnTo>
                    <a:pt x="980" y="681"/>
                  </a:lnTo>
                  <a:lnTo>
                    <a:pt x="1002" y="665"/>
                  </a:lnTo>
                  <a:lnTo>
                    <a:pt x="1024" y="652"/>
                  </a:lnTo>
                  <a:lnTo>
                    <a:pt x="1043" y="646"/>
                  </a:lnTo>
                  <a:lnTo>
                    <a:pt x="1052" y="646"/>
                  </a:lnTo>
                  <a:lnTo>
                    <a:pt x="1061" y="649"/>
                  </a:lnTo>
                  <a:lnTo>
                    <a:pt x="1074" y="652"/>
                  </a:lnTo>
                  <a:lnTo>
                    <a:pt x="1083" y="659"/>
                  </a:lnTo>
                  <a:lnTo>
                    <a:pt x="1093" y="662"/>
                  </a:lnTo>
                  <a:lnTo>
                    <a:pt x="1099" y="668"/>
                  </a:lnTo>
                  <a:lnTo>
                    <a:pt x="1108" y="674"/>
                  </a:lnTo>
                  <a:lnTo>
                    <a:pt x="1114" y="681"/>
                  </a:lnTo>
                  <a:lnTo>
                    <a:pt x="1124" y="690"/>
                  </a:lnTo>
                  <a:lnTo>
                    <a:pt x="1130" y="696"/>
                  </a:lnTo>
                  <a:lnTo>
                    <a:pt x="1143" y="715"/>
                  </a:lnTo>
                  <a:lnTo>
                    <a:pt x="1161" y="737"/>
                  </a:lnTo>
                  <a:lnTo>
                    <a:pt x="1180" y="752"/>
                  </a:lnTo>
                  <a:lnTo>
                    <a:pt x="1199" y="756"/>
                  </a:lnTo>
                  <a:lnTo>
                    <a:pt x="1221" y="752"/>
                  </a:lnTo>
                  <a:lnTo>
                    <a:pt x="1236" y="746"/>
                  </a:lnTo>
                  <a:lnTo>
                    <a:pt x="1243" y="740"/>
                  </a:lnTo>
                  <a:lnTo>
                    <a:pt x="1246" y="734"/>
                  </a:lnTo>
                  <a:lnTo>
                    <a:pt x="1249" y="721"/>
                  </a:lnTo>
                  <a:lnTo>
                    <a:pt x="1252" y="715"/>
                  </a:lnTo>
                  <a:lnTo>
                    <a:pt x="1255" y="706"/>
                  </a:lnTo>
                  <a:lnTo>
                    <a:pt x="1255" y="696"/>
                  </a:lnTo>
                  <a:lnTo>
                    <a:pt x="1255" y="687"/>
                  </a:lnTo>
                  <a:lnTo>
                    <a:pt x="1252" y="674"/>
                  </a:lnTo>
                  <a:lnTo>
                    <a:pt x="1252" y="665"/>
                  </a:lnTo>
                  <a:lnTo>
                    <a:pt x="1255" y="656"/>
                  </a:lnTo>
                  <a:lnTo>
                    <a:pt x="1258" y="646"/>
                  </a:lnTo>
                  <a:lnTo>
                    <a:pt x="1264" y="637"/>
                  </a:lnTo>
                  <a:lnTo>
                    <a:pt x="1271" y="624"/>
                  </a:lnTo>
                  <a:lnTo>
                    <a:pt x="1274" y="615"/>
                  </a:lnTo>
                  <a:lnTo>
                    <a:pt x="1280" y="606"/>
                  </a:lnTo>
                  <a:lnTo>
                    <a:pt x="1280" y="590"/>
                  </a:lnTo>
                  <a:lnTo>
                    <a:pt x="1280" y="568"/>
                  </a:lnTo>
                  <a:lnTo>
                    <a:pt x="1280" y="553"/>
                  </a:lnTo>
                  <a:lnTo>
                    <a:pt x="1271" y="521"/>
                  </a:lnTo>
                  <a:lnTo>
                    <a:pt x="1261" y="487"/>
                  </a:lnTo>
                  <a:lnTo>
                    <a:pt x="1252" y="456"/>
                  </a:lnTo>
                  <a:lnTo>
                    <a:pt x="1246" y="434"/>
                  </a:lnTo>
                  <a:lnTo>
                    <a:pt x="1236" y="409"/>
                  </a:lnTo>
                  <a:lnTo>
                    <a:pt x="1230" y="387"/>
                  </a:lnTo>
                  <a:lnTo>
                    <a:pt x="1236" y="365"/>
                  </a:lnTo>
                  <a:lnTo>
                    <a:pt x="1246" y="340"/>
                  </a:lnTo>
                  <a:lnTo>
                    <a:pt x="1252" y="315"/>
                  </a:lnTo>
                  <a:lnTo>
                    <a:pt x="1249" y="297"/>
                  </a:lnTo>
                  <a:lnTo>
                    <a:pt x="1243" y="268"/>
                  </a:lnTo>
                  <a:lnTo>
                    <a:pt x="1236" y="243"/>
                  </a:lnTo>
                  <a:lnTo>
                    <a:pt x="1239" y="222"/>
                  </a:lnTo>
                  <a:lnTo>
                    <a:pt x="1243" y="218"/>
                  </a:lnTo>
                  <a:lnTo>
                    <a:pt x="1249" y="215"/>
                  </a:lnTo>
                  <a:lnTo>
                    <a:pt x="1258" y="212"/>
                  </a:lnTo>
                  <a:lnTo>
                    <a:pt x="1267" y="209"/>
                  </a:lnTo>
                  <a:lnTo>
                    <a:pt x="1274" y="203"/>
                  </a:lnTo>
                  <a:lnTo>
                    <a:pt x="1280" y="200"/>
                  </a:lnTo>
                  <a:lnTo>
                    <a:pt x="1283" y="181"/>
                  </a:lnTo>
                  <a:lnTo>
                    <a:pt x="1283" y="159"/>
                  </a:lnTo>
                  <a:lnTo>
                    <a:pt x="1280" y="140"/>
                  </a:lnTo>
                  <a:lnTo>
                    <a:pt x="1274" y="134"/>
                  </a:lnTo>
                  <a:lnTo>
                    <a:pt x="1267" y="125"/>
                  </a:lnTo>
                  <a:lnTo>
                    <a:pt x="1261" y="115"/>
                  </a:lnTo>
                  <a:lnTo>
                    <a:pt x="1255" y="106"/>
                  </a:lnTo>
                  <a:lnTo>
                    <a:pt x="1252" y="100"/>
                  </a:lnTo>
                  <a:lnTo>
                    <a:pt x="1249" y="78"/>
                  </a:lnTo>
                  <a:lnTo>
                    <a:pt x="1246" y="53"/>
                  </a:lnTo>
                  <a:lnTo>
                    <a:pt x="1249" y="34"/>
                  </a:lnTo>
                  <a:lnTo>
                    <a:pt x="1255" y="25"/>
                  </a:lnTo>
                  <a:lnTo>
                    <a:pt x="1267" y="19"/>
                  </a:lnTo>
                  <a:lnTo>
                    <a:pt x="1277" y="9"/>
                  </a:lnTo>
                  <a:lnTo>
                    <a:pt x="1289" y="3"/>
                  </a:lnTo>
                  <a:lnTo>
                    <a:pt x="1299" y="0"/>
                  </a:lnTo>
                  <a:lnTo>
                    <a:pt x="1308" y="0"/>
                  </a:lnTo>
                  <a:lnTo>
                    <a:pt x="1317" y="0"/>
                  </a:lnTo>
                  <a:lnTo>
                    <a:pt x="1330" y="0"/>
                  </a:lnTo>
                  <a:lnTo>
                    <a:pt x="1339" y="0"/>
                  </a:lnTo>
                  <a:lnTo>
                    <a:pt x="1349" y="0"/>
                  </a:lnTo>
                  <a:lnTo>
                    <a:pt x="1371" y="3"/>
                  </a:lnTo>
                  <a:lnTo>
                    <a:pt x="1392" y="6"/>
                  </a:lnTo>
                  <a:lnTo>
                    <a:pt x="1411" y="15"/>
                  </a:lnTo>
                  <a:lnTo>
                    <a:pt x="1421" y="31"/>
                  </a:lnTo>
                  <a:lnTo>
                    <a:pt x="1427" y="53"/>
                  </a:lnTo>
                  <a:lnTo>
                    <a:pt x="1433" y="72"/>
                  </a:lnTo>
                  <a:lnTo>
                    <a:pt x="1445" y="94"/>
                  </a:lnTo>
                  <a:lnTo>
                    <a:pt x="1461" y="115"/>
                  </a:lnTo>
                  <a:lnTo>
                    <a:pt x="1480" y="140"/>
                  </a:lnTo>
                  <a:lnTo>
                    <a:pt x="1489" y="162"/>
                  </a:lnTo>
                  <a:lnTo>
                    <a:pt x="1492" y="190"/>
                  </a:lnTo>
                  <a:lnTo>
                    <a:pt x="1489" y="222"/>
                  </a:lnTo>
                  <a:lnTo>
                    <a:pt x="1489" y="250"/>
                  </a:lnTo>
                  <a:lnTo>
                    <a:pt x="1492" y="275"/>
                  </a:lnTo>
                  <a:lnTo>
                    <a:pt x="1495" y="303"/>
                  </a:lnTo>
                  <a:lnTo>
                    <a:pt x="1502" y="328"/>
                  </a:lnTo>
                  <a:lnTo>
                    <a:pt x="1511" y="350"/>
                  </a:lnTo>
                  <a:lnTo>
                    <a:pt x="1520" y="375"/>
                  </a:lnTo>
                  <a:lnTo>
                    <a:pt x="1533" y="400"/>
                  </a:lnTo>
                  <a:lnTo>
                    <a:pt x="1542" y="421"/>
                  </a:lnTo>
                  <a:lnTo>
                    <a:pt x="1542" y="440"/>
                  </a:lnTo>
                  <a:lnTo>
                    <a:pt x="1542" y="462"/>
                  </a:lnTo>
                  <a:lnTo>
                    <a:pt x="1542" y="481"/>
                  </a:lnTo>
                  <a:lnTo>
                    <a:pt x="1539" y="490"/>
                  </a:lnTo>
                  <a:lnTo>
                    <a:pt x="1533" y="496"/>
                  </a:lnTo>
                  <a:lnTo>
                    <a:pt x="1527" y="506"/>
                  </a:lnTo>
                  <a:lnTo>
                    <a:pt x="1524" y="515"/>
                  </a:lnTo>
                  <a:lnTo>
                    <a:pt x="1517" y="524"/>
                  </a:lnTo>
                  <a:lnTo>
                    <a:pt x="1517" y="531"/>
                  </a:lnTo>
                  <a:lnTo>
                    <a:pt x="1520" y="549"/>
                  </a:lnTo>
                  <a:lnTo>
                    <a:pt x="1527" y="568"/>
                  </a:lnTo>
                  <a:lnTo>
                    <a:pt x="1536" y="590"/>
                  </a:lnTo>
                  <a:lnTo>
                    <a:pt x="1542" y="606"/>
                  </a:lnTo>
                  <a:lnTo>
                    <a:pt x="1542" y="634"/>
                  </a:lnTo>
                  <a:lnTo>
                    <a:pt x="1542" y="668"/>
                  </a:lnTo>
                  <a:lnTo>
                    <a:pt x="1542" y="693"/>
                  </a:lnTo>
                  <a:lnTo>
                    <a:pt x="1536" y="718"/>
                  </a:lnTo>
                  <a:lnTo>
                    <a:pt x="1527" y="743"/>
                  </a:lnTo>
                  <a:lnTo>
                    <a:pt x="1520" y="765"/>
                  </a:lnTo>
                  <a:lnTo>
                    <a:pt x="1517" y="790"/>
                  </a:lnTo>
                  <a:lnTo>
                    <a:pt x="1514" y="821"/>
                  </a:lnTo>
                  <a:lnTo>
                    <a:pt x="1517" y="852"/>
                  </a:lnTo>
                  <a:lnTo>
                    <a:pt x="1520" y="877"/>
                  </a:lnTo>
                  <a:lnTo>
                    <a:pt x="1530" y="896"/>
                  </a:lnTo>
                  <a:lnTo>
                    <a:pt x="1545" y="918"/>
                  </a:lnTo>
                  <a:lnTo>
                    <a:pt x="1561" y="940"/>
                  </a:lnTo>
                  <a:lnTo>
                    <a:pt x="1577" y="955"/>
                  </a:lnTo>
                  <a:lnTo>
                    <a:pt x="1595" y="968"/>
                  </a:lnTo>
                  <a:lnTo>
                    <a:pt x="1620" y="983"/>
                  </a:lnTo>
                  <a:lnTo>
                    <a:pt x="1642" y="999"/>
                  </a:lnTo>
                  <a:lnTo>
                    <a:pt x="1655" y="1018"/>
                  </a:lnTo>
                  <a:lnTo>
                    <a:pt x="1664" y="1043"/>
                  </a:lnTo>
                  <a:lnTo>
                    <a:pt x="1673" y="1068"/>
                  </a:lnTo>
                  <a:lnTo>
                    <a:pt x="1677" y="1090"/>
                  </a:lnTo>
                  <a:lnTo>
                    <a:pt x="1673" y="1108"/>
                  </a:lnTo>
                  <a:lnTo>
                    <a:pt x="1664" y="1124"/>
                  </a:lnTo>
                  <a:lnTo>
                    <a:pt x="1655" y="1143"/>
                  </a:lnTo>
                  <a:lnTo>
                    <a:pt x="1652" y="1161"/>
                  </a:lnTo>
                  <a:lnTo>
                    <a:pt x="1655" y="1177"/>
                  </a:lnTo>
                  <a:lnTo>
                    <a:pt x="1664" y="1199"/>
                  </a:lnTo>
                  <a:lnTo>
                    <a:pt x="1673" y="1221"/>
                  </a:lnTo>
                  <a:lnTo>
                    <a:pt x="1680" y="1240"/>
                  </a:lnTo>
                  <a:lnTo>
                    <a:pt x="1683" y="1271"/>
                  </a:lnTo>
                  <a:lnTo>
                    <a:pt x="1683" y="1308"/>
                  </a:lnTo>
                  <a:lnTo>
                    <a:pt x="1680" y="1339"/>
                  </a:lnTo>
                  <a:lnTo>
                    <a:pt x="1680" y="1364"/>
                  </a:lnTo>
                  <a:lnTo>
                    <a:pt x="1680" y="1396"/>
                  </a:lnTo>
                  <a:lnTo>
                    <a:pt x="1680" y="1427"/>
                  </a:lnTo>
                  <a:lnTo>
                    <a:pt x="1680" y="1452"/>
                  </a:lnTo>
                  <a:lnTo>
                    <a:pt x="1689" y="1477"/>
                  </a:lnTo>
                  <a:lnTo>
                    <a:pt x="1698" y="1505"/>
                  </a:lnTo>
                  <a:lnTo>
                    <a:pt x="1705" y="1527"/>
                  </a:lnTo>
                  <a:lnTo>
                    <a:pt x="1717" y="1558"/>
                  </a:lnTo>
                  <a:lnTo>
                    <a:pt x="1727" y="1592"/>
                  </a:lnTo>
                  <a:lnTo>
                    <a:pt x="1736" y="1620"/>
                  </a:lnTo>
                  <a:lnTo>
                    <a:pt x="1739" y="1652"/>
                  </a:lnTo>
                  <a:lnTo>
                    <a:pt x="1745" y="1686"/>
                  </a:lnTo>
                  <a:lnTo>
                    <a:pt x="1748" y="1714"/>
                  </a:lnTo>
                  <a:lnTo>
                    <a:pt x="1748" y="1742"/>
                  </a:lnTo>
                  <a:lnTo>
                    <a:pt x="1745" y="1777"/>
                  </a:lnTo>
                  <a:lnTo>
                    <a:pt x="1742" y="1814"/>
                  </a:lnTo>
                  <a:lnTo>
                    <a:pt x="1742" y="1842"/>
                  </a:lnTo>
                  <a:lnTo>
                    <a:pt x="1748" y="1870"/>
                  </a:lnTo>
                  <a:lnTo>
                    <a:pt x="1761" y="1902"/>
                  </a:lnTo>
                  <a:lnTo>
                    <a:pt x="1776" y="1933"/>
                  </a:lnTo>
                  <a:lnTo>
                    <a:pt x="1786" y="1964"/>
                  </a:lnTo>
                  <a:lnTo>
                    <a:pt x="1795" y="1992"/>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a:ea typeface="+mn-ea"/>
                <a:cs typeface="+mn-cs"/>
              </a:endParaRPr>
            </a:p>
          </p:txBody>
        </p:sp>
      </p:grpSp>
      <p:sp>
        <p:nvSpPr>
          <p:cNvPr id="5" name="Footer Placeholder 4">
            <a:extLst>
              <a:ext uri="{FF2B5EF4-FFF2-40B4-BE49-F238E27FC236}">
                <a16:creationId xmlns:a16="http://schemas.microsoft.com/office/drawing/2014/main" id="{BDC51953-DDB5-4A21-B532-A2CC57905D9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0BAC26D1-89E9-4C6F-A071-148FFE6500F1}"/>
              </a:ext>
            </a:extLst>
          </p:cNvPr>
          <p:cNvSpPr>
            <a:spLocks noGrp="1"/>
          </p:cNvSpPr>
          <p:nvPr>
            <p:ph type="sldNum" sz="quarter" idx="10"/>
          </p:nvPr>
        </p:nvSpPr>
        <p:spPr/>
        <p:txBody>
          <a:bodyPr/>
          <a:lstStyle/>
          <a:p>
            <a:fld id="{1F90F471-3972-4120-B8B3-0237DE626C35}" type="slidenum">
              <a:rPr lang="en-US" smtClean="0"/>
              <a:pPr/>
              <a:t>363</a:t>
            </a:fld>
            <a:endParaRPr lang="en-US" dirty="0"/>
          </a:p>
        </p:txBody>
      </p:sp>
    </p:spTree>
    <p:extLst>
      <p:ext uri="{BB962C8B-B14F-4D97-AF65-F5344CB8AC3E}">
        <p14:creationId xmlns:p14="http://schemas.microsoft.com/office/powerpoint/2010/main" val="2574255626"/>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United Kingdom</a:t>
            </a:r>
            <a:endParaRPr lang="de-DE" dirty="0"/>
          </a:p>
        </p:txBody>
      </p:sp>
      <p:sp>
        <p:nvSpPr>
          <p:cNvPr id="3" name="TextBox 2">
            <a:extLst>
              <a:ext uri="{FF2B5EF4-FFF2-40B4-BE49-F238E27FC236}">
                <a16:creationId xmlns:a16="http://schemas.microsoft.com/office/drawing/2014/main" id="{EAD83992-2067-4D9F-B805-85EB24B340A0}"/>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shade one or more countries</a:t>
            </a:r>
          </a:p>
        </p:txBody>
      </p:sp>
      <p:grpSp>
        <p:nvGrpSpPr>
          <p:cNvPr id="6" name="Group 5" descr="Describe the map here">
            <a:extLst>
              <a:ext uri="{FF2B5EF4-FFF2-40B4-BE49-F238E27FC236}">
                <a16:creationId xmlns:a16="http://schemas.microsoft.com/office/drawing/2014/main" id="{FB39C892-9785-4191-9374-0C91B6D00CF4}"/>
              </a:ext>
            </a:extLst>
          </p:cNvPr>
          <p:cNvGrpSpPr/>
          <p:nvPr/>
        </p:nvGrpSpPr>
        <p:grpSpPr bwMode="auto">
          <a:xfrm>
            <a:off x="4679950" y="208756"/>
            <a:ext cx="3370262" cy="6530975"/>
            <a:chOff x="4679950" y="208756"/>
            <a:chExt cx="3370262" cy="6530975"/>
          </a:xfrm>
          <a:solidFill>
            <a:srgbClr val="96968C">
              <a:lumMod val="40000"/>
              <a:lumOff val="60000"/>
            </a:srgbClr>
          </a:solidFill>
        </p:grpSpPr>
        <p:sp>
          <p:nvSpPr>
            <p:cNvPr id="7" name="Freeform 47">
              <a:extLst>
                <a:ext uri="{FF2B5EF4-FFF2-40B4-BE49-F238E27FC236}">
                  <a16:creationId xmlns:a16="http://schemas.microsoft.com/office/drawing/2014/main" id="{CA431401-309E-4193-9463-0F488E28CCB5}"/>
                </a:ext>
              </a:extLst>
            </p:cNvPr>
            <p:cNvSpPr/>
            <p:nvPr/>
          </p:nvSpPr>
          <p:spPr bwMode="auto">
            <a:xfrm>
              <a:off x="4679950" y="3491706"/>
              <a:ext cx="900112" cy="744537"/>
            </a:xfrm>
            <a:custGeom>
              <a:avLst/>
              <a:gdLst>
                <a:gd name="connsiteX0" fmla="*/ 841248 w 901100"/>
                <a:gd name="connsiteY0" fmla="*/ 428937 h 744820"/>
                <a:gd name="connsiteX1" fmla="*/ 834598 w 901100"/>
                <a:gd name="connsiteY1" fmla="*/ 502089 h 744820"/>
                <a:gd name="connsiteX2" fmla="*/ 824622 w 901100"/>
                <a:gd name="connsiteY2" fmla="*/ 551965 h 744820"/>
                <a:gd name="connsiteX3" fmla="*/ 861198 w 901100"/>
                <a:gd name="connsiteY3" fmla="*/ 488788 h 744820"/>
                <a:gd name="connsiteX4" fmla="*/ 841248 w 901100"/>
                <a:gd name="connsiteY4" fmla="*/ 428937 h 744820"/>
                <a:gd name="connsiteX5" fmla="*/ 545315 w 901100"/>
                <a:gd name="connsiteY5" fmla="*/ 322534 h 744820"/>
                <a:gd name="connsiteX6" fmla="*/ 548640 w 901100"/>
                <a:gd name="connsiteY6" fmla="*/ 389035 h 744820"/>
                <a:gd name="connsiteX7" fmla="*/ 512064 w 901100"/>
                <a:gd name="connsiteY7" fmla="*/ 432262 h 744820"/>
                <a:gd name="connsiteX8" fmla="*/ 568590 w 901100"/>
                <a:gd name="connsiteY8" fmla="*/ 458862 h 744820"/>
                <a:gd name="connsiteX9" fmla="*/ 588541 w 901100"/>
                <a:gd name="connsiteY9" fmla="*/ 422286 h 744820"/>
                <a:gd name="connsiteX10" fmla="*/ 608492 w 901100"/>
                <a:gd name="connsiteY10" fmla="*/ 392361 h 744820"/>
                <a:gd name="connsiteX11" fmla="*/ 611817 w 901100"/>
                <a:gd name="connsiteY11" fmla="*/ 335834 h 744820"/>
                <a:gd name="connsiteX12" fmla="*/ 545315 w 901100"/>
                <a:gd name="connsiteY12" fmla="*/ 322534 h 744820"/>
                <a:gd name="connsiteX13" fmla="*/ 615142 w 901100"/>
                <a:gd name="connsiteY13" fmla="*/ 0 h 744820"/>
                <a:gd name="connsiteX14" fmla="*/ 668343 w 901100"/>
                <a:gd name="connsiteY14" fmla="*/ 19950 h 744820"/>
                <a:gd name="connsiteX15" fmla="*/ 714894 w 901100"/>
                <a:gd name="connsiteY15" fmla="*/ 33251 h 744820"/>
                <a:gd name="connsiteX16" fmla="*/ 708244 w 901100"/>
                <a:gd name="connsiteY16" fmla="*/ 113053 h 744820"/>
                <a:gd name="connsiteX17" fmla="*/ 758121 w 901100"/>
                <a:gd name="connsiteY17" fmla="*/ 136329 h 744820"/>
                <a:gd name="connsiteX18" fmla="*/ 748145 w 901100"/>
                <a:gd name="connsiteY18" fmla="*/ 159604 h 744820"/>
                <a:gd name="connsiteX19" fmla="*/ 804672 w 901100"/>
                <a:gd name="connsiteY19" fmla="*/ 232756 h 744820"/>
                <a:gd name="connsiteX20" fmla="*/ 824622 w 901100"/>
                <a:gd name="connsiteY20" fmla="*/ 309233 h 744820"/>
                <a:gd name="connsiteX21" fmla="*/ 761446 w 901100"/>
                <a:gd name="connsiteY21" fmla="*/ 379060 h 744820"/>
                <a:gd name="connsiteX22" fmla="*/ 874499 w 901100"/>
                <a:gd name="connsiteY22" fmla="*/ 349134 h 744820"/>
                <a:gd name="connsiteX23" fmla="*/ 901100 w 901100"/>
                <a:gd name="connsiteY23" fmla="*/ 462187 h 744820"/>
                <a:gd name="connsiteX24" fmla="*/ 894449 w 901100"/>
                <a:gd name="connsiteY24" fmla="*/ 568590 h 744820"/>
                <a:gd name="connsiteX25" fmla="*/ 841248 w 901100"/>
                <a:gd name="connsiteY25" fmla="*/ 645067 h 744820"/>
                <a:gd name="connsiteX26" fmla="*/ 814647 w 901100"/>
                <a:gd name="connsiteY26" fmla="*/ 628442 h 744820"/>
                <a:gd name="connsiteX27" fmla="*/ 764771 w 901100"/>
                <a:gd name="connsiteY27" fmla="*/ 635092 h 744820"/>
                <a:gd name="connsiteX28" fmla="*/ 724870 w 901100"/>
                <a:gd name="connsiteY28" fmla="*/ 744820 h 744820"/>
                <a:gd name="connsiteX29" fmla="*/ 645068 w 901100"/>
                <a:gd name="connsiteY29" fmla="*/ 741495 h 744820"/>
                <a:gd name="connsiteX30" fmla="*/ 631767 w 901100"/>
                <a:gd name="connsiteY30" fmla="*/ 701594 h 744820"/>
                <a:gd name="connsiteX31" fmla="*/ 498764 w 901100"/>
                <a:gd name="connsiteY31" fmla="*/ 728195 h 744820"/>
                <a:gd name="connsiteX32" fmla="*/ 512064 w 901100"/>
                <a:gd name="connsiteY32" fmla="*/ 684969 h 744820"/>
                <a:gd name="connsiteX33" fmla="*/ 472163 w 901100"/>
                <a:gd name="connsiteY33" fmla="*/ 655043 h 744820"/>
                <a:gd name="connsiteX34" fmla="*/ 428937 w 901100"/>
                <a:gd name="connsiteY34" fmla="*/ 631767 h 744820"/>
                <a:gd name="connsiteX35" fmla="*/ 428937 w 901100"/>
                <a:gd name="connsiteY35" fmla="*/ 565265 h 744820"/>
                <a:gd name="connsiteX36" fmla="*/ 385710 w 901100"/>
                <a:gd name="connsiteY36" fmla="*/ 508739 h 744820"/>
                <a:gd name="connsiteX37" fmla="*/ 305908 w 901100"/>
                <a:gd name="connsiteY37" fmla="*/ 548640 h 744820"/>
                <a:gd name="connsiteX38" fmla="*/ 329184 w 901100"/>
                <a:gd name="connsiteY38" fmla="*/ 598516 h 744820"/>
                <a:gd name="connsiteX39" fmla="*/ 302583 w 901100"/>
                <a:gd name="connsiteY39" fmla="*/ 645067 h 744820"/>
                <a:gd name="connsiteX40" fmla="*/ 262682 w 901100"/>
                <a:gd name="connsiteY40" fmla="*/ 698269 h 744820"/>
                <a:gd name="connsiteX41" fmla="*/ 239406 w 901100"/>
                <a:gd name="connsiteY41" fmla="*/ 681643 h 744820"/>
                <a:gd name="connsiteX42" fmla="*/ 182880 w 901100"/>
                <a:gd name="connsiteY42" fmla="*/ 681643 h 744820"/>
                <a:gd name="connsiteX43" fmla="*/ 152954 w 901100"/>
                <a:gd name="connsiteY43" fmla="*/ 638417 h 744820"/>
                <a:gd name="connsiteX44" fmla="*/ 103078 w 901100"/>
                <a:gd name="connsiteY44" fmla="*/ 645067 h 744820"/>
                <a:gd name="connsiteX45" fmla="*/ 96428 w 901100"/>
                <a:gd name="connsiteY45" fmla="*/ 591866 h 744820"/>
                <a:gd name="connsiteX46" fmla="*/ 0 w 901100"/>
                <a:gd name="connsiteY46" fmla="*/ 478813 h 744820"/>
                <a:gd name="connsiteX47" fmla="*/ 53201 w 901100"/>
                <a:gd name="connsiteY47" fmla="*/ 418961 h 744820"/>
                <a:gd name="connsiteX48" fmla="*/ 101640 w 901100"/>
                <a:gd name="connsiteY48" fmla="*/ 413705 h 744820"/>
                <a:gd name="connsiteX49" fmla="*/ 162929 w 901100"/>
                <a:gd name="connsiteY49" fmla="*/ 379060 h 744820"/>
                <a:gd name="connsiteX50" fmla="*/ 96428 w 901100"/>
                <a:gd name="connsiteY50" fmla="*/ 309233 h 744820"/>
                <a:gd name="connsiteX51" fmla="*/ 202830 w 901100"/>
                <a:gd name="connsiteY51" fmla="*/ 289283 h 744820"/>
                <a:gd name="connsiteX52" fmla="*/ 259357 w 901100"/>
                <a:gd name="connsiteY52" fmla="*/ 152954 h 744820"/>
                <a:gd name="connsiteX53" fmla="*/ 325859 w 901100"/>
                <a:gd name="connsiteY53" fmla="*/ 103078 h 744820"/>
                <a:gd name="connsiteX54" fmla="*/ 379060 w 901100"/>
                <a:gd name="connsiteY54" fmla="*/ 96427 h 744820"/>
                <a:gd name="connsiteX55" fmla="*/ 428937 w 901100"/>
                <a:gd name="connsiteY55" fmla="*/ 39901 h 744820"/>
                <a:gd name="connsiteX56" fmla="*/ 522039 w 901100"/>
                <a:gd name="connsiteY56" fmla="*/ 19950 h 744820"/>
                <a:gd name="connsiteX57" fmla="*/ 615142 w 901100"/>
                <a:gd name="connsiteY57" fmla="*/ 0 h 744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01100" h="744820">
                  <a:moveTo>
                    <a:pt x="841248" y="428937"/>
                  </a:moveTo>
                  <a:lnTo>
                    <a:pt x="834598" y="502089"/>
                  </a:lnTo>
                  <a:lnTo>
                    <a:pt x="824622" y="551965"/>
                  </a:lnTo>
                  <a:lnTo>
                    <a:pt x="861198" y="488788"/>
                  </a:lnTo>
                  <a:lnTo>
                    <a:pt x="841248" y="428937"/>
                  </a:lnTo>
                  <a:close/>
                  <a:moveTo>
                    <a:pt x="545315" y="322534"/>
                  </a:moveTo>
                  <a:lnTo>
                    <a:pt x="548640" y="389035"/>
                  </a:lnTo>
                  <a:lnTo>
                    <a:pt x="512064" y="432262"/>
                  </a:lnTo>
                  <a:lnTo>
                    <a:pt x="568590" y="458862"/>
                  </a:lnTo>
                  <a:lnTo>
                    <a:pt x="588541" y="422286"/>
                  </a:lnTo>
                  <a:lnTo>
                    <a:pt x="608492" y="392361"/>
                  </a:lnTo>
                  <a:lnTo>
                    <a:pt x="611817" y="335834"/>
                  </a:lnTo>
                  <a:lnTo>
                    <a:pt x="545315" y="322534"/>
                  </a:lnTo>
                  <a:close/>
                  <a:moveTo>
                    <a:pt x="615142" y="0"/>
                  </a:moveTo>
                  <a:lnTo>
                    <a:pt x="668343" y="19950"/>
                  </a:lnTo>
                  <a:lnTo>
                    <a:pt x="714894" y="33251"/>
                  </a:lnTo>
                  <a:lnTo>
                    <a:pt x="708244" y="113053"/>
                  </a:lnTo>
                  <a:lnTo>
                    <a:pt x="758121" y="136329"/>
                  </a:lnTo>
                  <a:lnTo>
                    <a:pt x="748145" y="159604"/>
                  </a:lnTo>
                  <a:lnTo>
                    <a:pt x="804672" y="232756"/>
                  </a:lnTo>
                  <a:lnTo>
                    <a:pt x="824622" y="309233"/>
                  </a:lnTo>
                  <a:lnTo>
                    <a:pt x="761446" y="379060"/>
                  </a:lnTo>
                  <a:lnTo>
                    <a:pt x="874499" y="349134"/>
                  </a:lnTo>
                  <a:lnTo>
                    <a:pt x="901100" y="462187"/>
                  </a:lnTo>
                  <a:lnTo>
                    <a:pt x="894449" y="568590"/>
                  </a:lnTo>
                  <a:lnTo>
                    <a:pt x="841248" y="645067"/>
                  </a:lnTo>
                  <a:lnTo>
                    <a:pt x="814647" y="628442"/>
                  </a:lnTo>
                  <a:lnTo>
                    <a:pt x="764771" y="635092"/>
                  </a:lnTo>
                  <a:lnTo>
                    <a:pt x="724870" y="744820"/>
                  </a:lnTo>
                  <a:lnTo>
                    <a:pt x="645068" y="741495"/>
                  </a:lnTo>
                  <a:lnTo>
                    <a:pt x="631767" y="701594"/>
                  </a:lnTo>
                  <a:lnTo>
                    <a:pt x="498764" y="728195"/>
                  </a:lnTo>
                  <a:lnTo>
                    <a:pt x="512064" y="684969"/>
                  </a:lnTo>
                  <a:lnTo>
                    <a:pt x="472163" y="655043"/>
                  </a:lnTo>
                  <a:lnTo>
                    <a:pt x="428937" y="631767"/>
                  </a:lnTo>
                  <a:lnTo>
                    <a:pt x="428937" y="565265"/>
                  </a:lnTo>
                  <a:lnTo>
                    <a:pt x="385710" y="508739"/>
                  </a:lnTo>
                  <a:lnTo>
                    <a:pt x="305908" y="548640"/>
                  </a:lnTo>
                  <a:lnTo>
                    <a:pt x="329184" y="598516"/>
                  </a:lnTo>
                  <a:lnTo>
                    <a:pt x="302583" y="645067"/>
                  </a:lnTo>
                  <a:lnTo>
                    <a:pt x="262682" y="698269"/>
                  </a:lnTo>
                  <a:lnTo>
                    <a:pt x="239406" y="681643"/>
                  </a:lnTo>
                  <a:lnTo>
                    <a:pt x="182880" y="681643"/>
                  </a:lnTo>
                  <a:lnTo>
                    <a:pt x="152954" y="638417"/>
                  </a:lnTo>
                  <a:lnTo>
                    <a:pt x="103078" y="645067"/>
                  </a:lnTo>
                  <a:lnTo>
                    <a:pt x="96428" y="591866"/>
                  </a:lnTo>
                  <a:lnTo>
                    <a:pt x="0" y="478813"/>
                  </a:lnTo>
                  <a:lnTo>
                    <a:pt x="53201" y="418961"/>
                  </a:lnTo>
                  <a:lnTo>
                    <a:pt x="101640" y="413705"/>
                  </a:lnTo>
                  <a:lnTo>
                    <a:pt x="162929" y="379060"/>
                  </a:lnTo>
                  <a:lnTo>
                    <a:pt x="96428" y="309233"/>
                  </a:lnTo>
                  <a:lnTo>
                    <a:pt x="202830" y="289283"/>
                  </a:lnTo>
                  <a:lnTo>
                    <a:pt x="259357" y="152954"/>
                  </a:lnTo>
                  <a:lnTo>
                    <a:pt x="325859" y="103078"/>
                  </a:lnTo>
                  <a:lnTo>
                    <a:pt x="379060" y="96427"/>
                  </a:lnTo>
                  <a:lnTo>
                    <a:pt x="428937" y="39901"/>
                  </a:lnTo>
                  <a:lnTo>
                    <a:pt x="522039" y="19950"/>
                  </a:lnTo>
                  <a:lnTo>
                    <a:pt x="615142" y="0"/>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8" name="Freeform 48">
              <a:extLst>
                <a:ext uri="{FF2B5EF4-FFF2-40B4-BE49-F238E27FC236}">
                  <a16:creationId xmlns:a16="http://schemas.microsoft.com/office/drawing/2014/main" id="{46B5F4BC-0172-447F-9516-1C8D8436F113}"/>
                </a:ext>
              </a:extLst>
            </p:cNvPr>
            <p:cNvSpPr/>
            <p:nvPr/>
          </p:nvSpPr>
          <p:spPr bwMode="auto">
            <a:xfrm>
              <a:off x="5524500" y="4622006"/>
              <a:ext cx="957262" cy="1289050"/>
            </a:xfrm>
            <a:custGeom>
              <a:avLst/>
              <a:gdLst>
                <a:gd name="connsiteX0" fmla="*/ 927700 w 957626"/>
                <a:gd name="connsiteY0" fmla="*/ 282632 h 1290135"/>
                <a:gd name="connsiteX1" fmla="*/ 854548 w 957626"/>
                <a:gd name="connsiteY1" fmla="*/ 182880 h 1290135"/>
                <a:gd name="connsiteX2" fmla="*/ 881149 w 957626"/>
                <a:gd name="connsiteY2" fmla="*/ 149629 h 1290135"/>
                <a:gd name="connsiteX3" fmla="*/ 837923 w 957626"/>
                <a:gd name="connsiteY3" fmla="*/ 113053 h 1290135"/>
                <a:gd name="connsiteX4" fmla="*/ 771421 w 957626"/>
                <a:gd name="connsiteY4" fmla="*/ 116378 h 1290135"/>
                <a:gd name="connsiteX5" fmla="*/ 751471 w 957626"/>
                <a:gd name="connsiteY5" fmla="*/ 89777 h 1290135"/>
                <a:gd name="connsiteX6" fmla="*/ 764771 w 957626"/>
                <a:gd name="connsiteY6" fmla="*/ 59851 h 1290135"/>
                <a:gd name="connsiteX7" fmla="*/ 694944 w 957626"/>
                <a:gd name="connsiteY7" fmla="*/ 59851 h 1290135"/>
                <a:gd name="connsiteX8" fmla="*/ 691619 w 957626"/>
                <a:gd name="connsiteY8" fmla="*/ 106403 h 1290135"/>
                <a:gd name="connsiteX9" fmla="*/ 625117 w 957626"/>
                <a:gd name="connsiteY9" fmla="*/ 99752 h 1290135"/>
                <a:gd name="connsiteX10" fmla="*/ 591866 w 957626"/>
                <a:gd name="connsiteY10" fmla="*/ 73152 h 1290135"/>
                <a:gd name="connsiteX11" fmla="*/ 535340 w 957626"/>
                <a:gd name="connsiteY11" fmla="*/ 69827 h 1290135"/>
                <a:gd name="connsiteX12" fmla="*/ 545315 w 957626"/>
                <a:gd name="connsiteY12" fmla="*/ 96427 h 1290135"/>
                <a:gd name="connsiteX13" fmla="*/ 472163 w 957626"/>
                <a:gd name="connsiteY13" fmla="*/ 126353 h 1290135"/>
                <a:gd name="connsiteX14" fmla="*/ 485463 w 957626"/>
                <a:gd name="connsiteY14" fmla="*/ 86452 h 1290135"/>
                <a:gd name="connsiteX15" fmla="*/ 485463 w 957626"/>
                <a:gd name="connsiteY15" fmla="*/ 63176 h 1290135"/>
                <a:gd name="connsiteX16" fmla="*/ 435587 w 957626"/>
                <a:gd name="connsiteY16" fmla="*/ 83127 h 1290135"/>
                <a:gd name="connsiteX17" fmla="*/ 435587 w 957626"/>
                <a:gd name="connsiteY17" fmla="*/ 29926 h 1290135"/>
                <a:gd name="connsiteX18" fmla="*/ 365760 w 957626"/>
                <a:gd name="connsiteY18" fmla="*/ 0 h 1290135"/>
                <a:gd name="connsiteX19" fmla="*/ 319209 w 957626"/>
                <a:gd name="connsiteY19" fmla="*/ 9975 h 1290135"/>
                <a:gd name="connsiteX20" fmla="*/ 305908 w 957626"/>
                <a:gd name="connsiteY20" fmla="*/ 63176 h 1290135"/>
                <a:gd name="connsiteX21" fmla="*/ 249382 w 957626"/>
                <a:gd name="connsiteY21" fmla="*/ 69827 h 1290135"/>
                <a:gd name="connsiteX22" fmla="*/ 285958 w 957626"/>
                <a:gd name="connsiteY22" fmla="*/ 116378 h 1290135"/>
                <a:gd name="connsiteX23" fmla="*/ 375735 w 957626"/>
                <a:gd name="connsiteY23" fmla="*/ 209480 h 1290135"/>
                <a:gd name="connsiteX24" fmla="*/ 349135 w 957626"/>
                <a:gd name="connsiteY24" fmla="*/ 262682 h 1290135"/>
                <a:gd name="connsiteX25" fmla="*/ 229431 w 957626"/>
                <a:gd name="connsiteY25" fmla="*/ 355784 h 1290135"/>
                <a:gd name="connsiteX26" fmla="*/ 229431 w 957626"/>
                <a:gd name="connsiteY26" fmla="*/ 412311 h 1290135"/>
                <a:gd name="connsiteX27" fmla="*/ 272657 w 957626"/>
                <a:gd name="connsiteY27" fmla="*/ 428936 h 1290135"/>
                <a:gd name="connsiteX28" fmla="*/ 295933 w 957626"/>
                <a:gd name="connsiteY28" fmla="*/ 375735 h 1290135"/>
                <a:gd name="connsiteX29" fmla="*/ 305908 w 957626"/>
                <a:gd name="connsiteY29" fmla="*/ 415636 h 1290135"/>
                <a:gd name="connsiteX30" fmla="*/ 349135 w 957626"/>
                <a:gd name="connsiteY30" fmla="*/ 422286 h 1290135"/>
                <a:gd name="connsiteX31" fmla="*/ 352460 w 957626"/>
                <a:gd name="connsiteY31" fmla="*/ 359110 h 1290135"/>
                <a:gd name="connsiteX32" fmla="*/ 418961 w 957626"/>
                <a:gd name="connsiteY32" fmla="*/ 319208 h 1290135"/>
                <a:gd name="connsiteX33" fmla="*/ 452212 w 957626"/>
                <a:gd name="connsiteY33" fmla="*/ 369085 h 1290135"/>
                <a:gd name="connsiteX34" fmla="*/ 445562 w 957626"/>
                <a:gd name="connsiteY34" fmla="*/ 412311 h 1290135"/>
                <a:gd name="connsiteX35" fmla="*/ 468838 w 957626"/>
                <a:gd name="connsiteY35" fmla="*/ 462187 h 1290135"/>
                <a:gd name="connsiteX36" fmla="*/ 455537 w 957626"/>
                <a:gd name="connsiteY36" fmla="*/ 505414 h 1290135"/>
                <a:gd name="connsiteX37" fmla="*/ 485463 w 957626"/>
                <a:gd name="connsiteY37" fmla="*/ 575240 h 1290135"/>
                <a:gd name="connsiteX38" fmla="*/ 455537 w 957626"/>
                <a:gd name="connsiteY38" fmla="*/ 671668 h 1290135"/>
                <a:gd name="connsiteX39" fmla="*/ 405661 w 957626"/>
                <a:gd name="connsiteY39" fmla="*/ 738170 h 1290135"/>
                <a:gd name="connsiteX40" fmla="*/ 342484 w 957626"/>
                <a:gd name="connsiteY40" fmla="*/ 751470 h 1290135"/>
                <a:gd name="connsiteX41" fmla="*/ 295933 w 957626"/>
                <a:gd name="connsiteY41" fmla="*/ 794696 h 1290135"/>
                <a:gd name="connsiteX42" fmla="*/ 262682 w 957626"/>
                <a:gd name="connsiteY42" fmla="*/ 778071 h 1290135"/>
                <a:gd name="connsiteX43" fmla="*/ 176230 w 957626"/>
                <a:gd name="connsiteY43" fmla="*/ 837923 h 1290135"/>
                <a:gd name="connsiteX44" fmla="*/ 179555 w 957626"/>
                <a:gd name="connsiteY44" fmla="*/ 854548 h 1290135"/>
                <a:gd name="connsiteX45" fmla="*/ 99753 w 957626"/>
                <a:gd name="connsiteY45" fmla="*/ 854548 h 1290135"/>
                <a:gd name="connsiteX46" fmla="*/ 39901 w 957626"/>
                <a:gd name="connsiteY46" fmla="*/ 907750 h 1290135"/>
                <a:gd name="connsiteX47" fmla="*/ 0 w 957626"/>
                <a:gd name="connsiteY47" fmla="*/ 917725 h 1290135"/>
                <a:gd name="connsiteX48" fmla="*/ 13300 w 957626"/>
                <a:gd name="connsiteY48" fmla="*/ 964276 h 1290135"/>
                <a:gd name="connsiteX49" fmla="*/ 63177 w 957626"/>
                <a:gd name="connsiteY49" fmla="*/ 974251 h 1290135"/>
                <a:gd name="connsiteX50" fmla="*/ 83127 w 957626"/>
                <a:gd name="connsiteY50" fmla="*/ 990877 h 1290135"/>
                <a:gd name="connsiteX51" fmla="*/ 53201 w 957626"/>
                <a:gd name="connsiteY51" fmla="*/ 1034103 h 1290135"/>
                <a:gd name="connsiteX52" fmla="*/ 49876 w 957626"/>
                <a:gd name="connsiteY52" fmla="*/ 1064029 h 1290135"/>
                <a:gd name="connsiteX53" fmla="*/ 109728 w 957626"/>
                <a:gd name="connsiteY53" fmla="*/ 1083979 h 1290135"/>
                <a:gd name="connsiteX54" fmla="*/ 126353 w 957626"/>
                <a:gd name="connsiteY54" fmla="*/ 1133856 h 1290135"/>
                <a:gd name="connsiteX55" fmla="*/ 189530 w 957626"/>
                <a:gd name="connsiteY55" fmla="*/ 1107255 h 1290135"/>
                <a:gd name="connsiteX56" fmla="*/ 262682 w 957626"/>
                <a:gd name="connsiteY56" fmla="*/ 1087304 h 1290135"/>
                <a:gd name="connsiteX57" fmla="*/ 246057 w 957626"/>
                <a:gd name="connsiteY57" fmla="*/ 1047403 h 1290135"/>
                <a:gd name="connsiteX58" fmla="*/ 299258 w 957626"/>
                <a:gd name="connsiteY58" fmla="*/ 1044078 h 1290135"/>
                <a:gd name="connsiteX59" fmla="*/ 332509 w 957626"/>
                <a:gd name="connsiteY59" fmla="*/ 1054054 h 1290135"/>
                <a:gd name="connsiteX60" fmla="*/ 352460 w 957626"/>
                <a:gd name="connsiteY60" fmla="*/ 1087304 h 1290135"/>
                <a:gd name="connsiteX61" fmla="*/ 422287 w 957626"/>
                <a:gd name="connsiteY61" fmla="*/ 1097280 h 1290135"/>
                <a:gd name="connsiteX62" fmla="*/ 372410 w 957626"/>
                <a:gd name="connsiteY62" fmla="*/ 1120555 h 1290135"/>
                <a:gd name="connsiteX63" fmla="*/ 365760 w 957626"/>
                <a:gd name="connsiteY63" fmla="*/ 1180407 h 1290135"/>
                <a:gd name="connsiteX64" fmla="*/ 432262 w 957626"/>
                <a:gd name="connsiteY64" fmla="*/ 1167107 h 1290135"/>
                <a:gd name="connsiteX65" fmla="*/ 538665 w 957626"/>
                <a:gd name="connsiteY65" fmla="*/ 1117230 h 1290135"/>
                <a:gd name="connsiteX66" fmla="*/ 535340 w 957626"/>
                <a:gd name="connsiteY66" fmla="*/ 1173757 h 1290135"/>
                <a:gd name="connsiteX67" fmla="*/ 558615 w 957626"/>
                <a:gd name="connsiteY67" fmla="*/ 1173757 h 1290135"/>
                <a:gd name="connsiteX68" fmla="*/ 558615 w 957626"/>
                <a:gd name="connsiteY68" fmla="*/ 1216983 h 1290135"/>
                <a:gd name="connsiteX69" fmla="*/ 621792 w 957626"/>
                <a:gd name="connsiteY69" fmla="*/ 1250234 h 1290135"/>
                <a:gd name="connsiteX70" fmla="*/ 688294 w 957626"/>
                <a:gd name="connsiteY70" fmla="*/ 1290135 h 1290135"/>
                <a:gd name="connsiteX71" fmla="*/ 774746 w 957626"/>
                <a:gd name="connsiteY71" fmla="*/ 1266859 h 1290135"/>
                <a:gd name="connsiteX72" fmla="*/ 814647 w 957626"/>
                <a:gd name="connsiteY72" fmla="*/ 1210333 h 1290135"/>
                <a:gd name="connsiteX73" fmla="*/ 877824 w 957626"/>
                <a:gd name="connsiteY73" fmla="*/ 1190382 h 1290135"/>
                <a:gd name="connsiteX74" fmla="*/ 911075 w 957626"/>
                <a:gd name="connsiteY74" fmla="*/ 1200358 h 1290135"/>
                <a:gd name="connsiteX75" fmla="*/ 957626 w 957626"/>
                <a:gd name="connsiteY75" fmla="*/ 1143831 h 1290135"/>
                <a:gd name="connsiteX76" fmla="*/ 957626 w 957626"/>
                <a:gd name="connsiteY76" fmla="*/ 1097280 h 1290135"/>
                <a:gd name="connsiteX77" fmla="*/ 957626 w 957626"/>
                <a:gd name="connsiteY77" fmla="*/ 1000852 h 1290135"/>
                <a:gd name="connsiteX78" fmla="*/ 871174 w 957626"/>
                <a:gd name="connsiteY78" fmla="*/ 934350 h 1290135"/>
                <a:gd name="connsiteX79" fmla="*/ 837923 w 957626"/>
                <a:gd name="connsiteY79" fmla="*/ 947651 h 1290135"/>
                <a:gd name="connsiteX80" fmla="*/ 798022 w 957626"/>
                <a:gd name="connsiteY80" fmla="*/ 874499 h 1290135"/>
                <a:gd name="connsiteX81" fmla="*/ 798022 w 957626"/>
                <a:gd name="connsiteY81" fmla="*/ 804672 h 1290135"/>
                <a:gd name="connsiteX82" fmla="*/ 814647 w 957626"/>
                <a:gd name="connsiteY82" fmla="*/ 744820 h 1290135"/>
                <a:gd name="connsiteX83" fmla="*/ 824623 w 957626"/>
                <a:gd name="connsiteY83" fmla="*/ 718219 h 1290135"/>
                <a:gd name="connsiteX84" fmla="*/ 831273 w 957626"/>
                <a:gd name="connsiteY84" fmla="*/ 674993 h 1290135"/>
                <a:gd name="connsiteX85" fmla="*/ 794697 w 957626"/>
                <a:gd name="connsiteY85" fmla="*/ 665018 h 1290135"/>
                <a:gd name="connsiteX86" fmla="*/ 754796 w 957626"/>
                <a:gd name="connsiteY86" fmla="*/ 625117 h 1290135"/>
                <a:gd name="connsiteX87" fmla="*/ 768096 w 957626"/>
                <a:gd name="connsiteY87" fmla="*/ 591866 h 1290135"/>
                <a:gd name="connsiteX88" fmla="*/ 814647 w 957626"/>
                <a:gd name="connsiteY88" fmla="*/ 585216 h 1290135"/>
                <a:gd name="connsiteX89" fmla="*/ 844573 w 957626"/>
                <a:gd name="connsiteY89" fmla="*/ 555290 h 1290135"/>
                <a:gd name="connsiteX90" fmla="*/ 807997 w 957626"/>
                <a:gd name="connsiteY90" fmla="*/ 528689 h 1290135"/>
                <a:gd name="connsiteX91" fmla="*/ 844573 w 957626"/>
                <a:gd name="connsiteY91" fmla="*/ 438912 h 1290135"/>
                <a:gd name="connsiteX92" fmla="*/ 854548 w 957626"/>
                <a:gd name="connsiteY92" fmla="*/ 428936 h 1290135"/>
                <a:gd name="connsiteX93" fmla="*/ 814647 w 957626"/>
                <a:gd name="connsiteY93" fmla="*/ 399011 h 1290135"/>
                <a:gd name="connsiteX94" fmla="*/ 791372 w 957626"/>
                <a:gd name="connsiteY94" fmla="*/ 385710 h 1290135"/>
                <a:gd name="connsiteX95" fmla="*/ 811322 w 957626"/>
                <a:gd name="connsiteY95" fmla="*/ 302583 h 1290135"/>
                <a:gd name="connsiteX96" fmla="*/ 877824 w 957626"/>
                <a:gd name="connsiteY96" fmla="*/ 305908 h 1290135"/>
                <a:gd name="connsiteX97" fmla="*/ 927700 w 957626"/>
                <a:gd name="connsiteY97" fmla="*/ 282632 h 1290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57626" h="1290135">
                  <a:moveTo>
                    <a:pt x="927700" y="282632"/>
                  </a:moveTo>
                  <a:lnTo>
                    <a:pt x="854548" y="182880"/>
                  </a:lnTo>
                  <a:lnTo>
                    <a:pt x="881149" y="149629"/>
                  </a:lnTo>
                  <a:lnTo>
                    <a:pt x="837923" y="113053"/>
                  </a:lnTo>
                  <a:lnTo>
                    <a:pt x="771421" y="116378"/>
                  </a:lnTo>
                  <a:lnTo>
                    <a:pt x="751471" y="89777"/>
                  </a:lnTo>
                  <a:lnTo>
                    <a:pt x="764771" y="59851"/>
                  </a:lnTo>
                  <a:lnTo>
                    <a:pt x="694944" y="59851"/>
                  </a:lnTo>
                  <a:lnTo>
                    <a:pt x="691619" y="106403"/>
                  </a:lnTo>
                  <a:lnTo>
                    <a:pt x="625117" y="99752"/>
                  </a:lnTo>
                  <a:lnTo>
                    <a:pt x="591866" y="73152"/>
                  </a:lnTo>
                  <a:lnTo>
                    <a:pt x="535340" y="69827"/>
                  </a:lnTo>
                  <a:lnTo>
                    <a:pt x="545315" y="96427"/>
                  </a:lnTo>
                  <a:lnTo>
                    <a:pt x="472163" y="126353"/>
                  </a:lnTo>
                  <a:lnTo>
                    <a:pt x="485463" y="86452"/>
                  </a:lnTo>
                  <a:lnTo>
                    <a:pt x="485463" y="63176"/>
                  </a:lnTo>
                  <a:lnTo>
                    <a:pt x="435587" y="83127"/>
                  </a:lnTo>
                  <a:lnTo>
                    <a:pt x="435587" y="29926"/>
                  </a:lnTo>
                  <a:lnTo>
                    <a:pt x="365760" y="0"/>
                  </a:lnTo>
                  <a:lnTo>
                    <a:pt x="319209" y="9975"/>
                  </a:lnTo>
                  <a:lnTo>
                    <a:pt x="305908" y="63176"/>
                  </a:lnTo>
                  <a:lnTo>
                    <a:pt x="249382" y="69827"/>
                  </a:lnTo>
                  <a:lnTo>
                    <a:pt x="285958" y="116378"/>
                  </a:lnTo>
                  <a:lnTo>
                    <a:pt x="375735" y="209480"/>
                  </a:lnTo>
                  <a:lnTo>
                    <a:pt x="349135" y="262682"/>
                  </a:lnTo>
                  <a:lnTo>
                    <a:pt x="229431" y="355784"/>
                  </a:lnTo>
                  <a:lnTo>
                    <a:pt x="229431" y="412311"/>
                  </a:lnTo>
                  <a:lnTo>
                    <a:pt x="272657" y="428936"/>
                  </a:lnTo>
                  <a:lnTo>
                    <a:pt x="295933" y="375735"/>
                  </a:lnTo>
                  <a:lnTo>
                    <a:pt x="305908" y="415636"/>
                  </a:lnTo>
                  <a:lnTo>
                    <a:pt x="349135" y="422286"/>
                  </a:lnTo>
                  <a:lnTo>
                    <a:pt x="352460" y="359110"/>
                  </a:lnTo>
                  <a:lnTo>
                    <a:pt x="418961" y="319208"/>
                  </a:lnTo>
                  <a:lnTo>
                    <a:pt x="452212" y="369085"/>
                  </a:lnTo>
                  <a:lnTo>
                    <a:pt x="445562" y="412311"/>
                  </a:lnTo>
                  <a:lnTo>
                    <a:pt x="468838" y="462187"/>
                  </a:lnTo>
                  <a:lnTo>
                    <a:pt x="455537" y="505414"/>
                  </a:lnTo>
                  <a:lnTo>
                    <a:pt x="485463" y="575240"/>
                  </a:lnTo>
                  <a:lnTo>
                    <a:pt x="455537" y="671668"/>
                  </a:lnTo>
                  <a:lnTo>
                    <a:pt x="405661" y="738170"/>
                  </a:lnTo>
                  <a:lnTo>
                    <a:pt x="342484" y="751470"/>
                  </a:lnTo>
                  <a:lnTo>
                    <a:pt x="295933" y="794696"/>
                  </a:lnTo>
                  <a:lnTo>
                    <a:pt x="262682" y="778071"/>
                  </a:lnTo>
                  <a:lnTo>
                    <a:pt x="176230" y="837923"/>
                  </a:lnTo>
                  <a:lnTo>
                    <a:pt x="179555" y="854548"/>
                  </a:lnTo>
                  <a:lnTo>
                    <a:pt x="99753" y="854548"/>
                  </a:lnTo>
                  <a:lnTo>
                    <a:pt x="39901" y="907750"/>
                  </a:lnTo>
                  <a:lnTo>
                    <a:pt x="0" y="917725"/>
                  </a:lnTo>
                  <a:lnTo>
                    <a:pt x="13300" y="964276"/>
                  </a:lnTo>
                  <a:lnTo>
                    <a:pt x="63177" y="974251"/>
                  </a:lnTo>
                  <a:lnTo>
                    <a:pt x="83127" y="990877"/>
                  </a:lnTo>
                  <a:lnTo>
                    <a:pt x="53201" y="1034103"/>
                  </a:lnTo>
                  <a:lnTo>
                    <a:pt x="49876" y="1064029"/>
                  </a:lnTo>
                  <a:lnTo>
                    <a:pt x="109728" y="1083979"/>
                  </a:lnTo>
                  <a:lnTo>
                    <a:pt x="126353" y="1133856"/>
                  </a:lnTo>
                  <a:lnTo>
                    <a:pt x="189530" y="1107255"/>
                  </a:lnTo>
                  <a:lnTo>
                    <a:pt x="262682" y="1087304"/>
                  </a:lnTo>
                  <a:lnTo>
                    <a:pt x="246057" y="1047403"/>
                  </a:lnTo>
                  <a:lnTo>
                    <a:pt x="299258" y="1044078"/>
                  </a:lnTo>
                  <a:lnTo>
                    <a:pt x="332509" y="1054054"/>
                  </a:lnTo>
                  <a:lnTo>
                    <a:pt x="352460" y="1087304"/>
                  </a:lnTo>
                  <a:lnTo>
                    <a:pt x="422287" y="1097280"/>
                  </a:lnTo>
                  <a:lnTo>
                    <a:pt x="372410" y="1120555"/>
                  </a:lnTo>
                  <a:lnTo>
                    <a:pt x="365760" y="1180407"/>
                  </a:lnTo>
                  <a:lnTo>
                    <a:pt x="432262" y="1167107"/>
                  </a:lnTo>
                  <a:lnTo>
                    <a:pt x="538665" y="1117230"/>
                  </a:lnTo>
                  <a:lnTo>
                    <a:pt x="535340" y="1173757"/>
                  </a:lnTo>
                  <a:lnTo>
                    <a:pt x="558615" y="1173757"/>
                  </a:lnTo>
                  <a:lnTo>
                    <a:pt x="558615" y="1216983"/>
                  </a:lnTo>
                  <a:lnTo>
                    <a:pt x="621792" y="1250234"/>
                  </a:lnTo>
                  <a:lnTo>
                    <a:pt x="688294" y="1290135"/>
                  </a:lnTo>
                  <a:lnTo>
                    <a:pt x="774746" y="1266859"/>
                  </a:lnTo>
                  <a:lnTo>
                    <a:pt x="814647" y="1210333"/>
                  </a:lnTo>
                  <a:lnTo>
                    <a:pt x="877824" y="1190382"/>
                  </a:lnTo>
                  <a:lnTo>
                    <a:pt x="911075" y="1200358"/>
                  </a:lnTo>
                  <a:lnTo>
                    <a:pt x="957626" y="1143831"/>
                  </a:lnTo>
                  <a:lnTo>
                    <a:pt x="957626" y="1097280"/>
                  </a:lnTo>
                  <a:lnTo>
                    <a:pt x="957626" y="1000852"/>
                  </a:lnTo>
                  <a:lnTo>
                    <a:pt x="871174" y="934350"/>
                  </a:lnTo>
                  <a:lnTo>
                    <a:pt x="837923" y="947651"/>
                  </a:lnTo>
                  <a:lnTo>
                    <a:pt x="798022" y="874499"/>
                  </a:lnTo>
                  <a:lnTo>
                    <a:pt x="798022" y="804672"/>
                  </a:lnTo>
                  <a:lnTo>
                    <a:pt x="814647" y="744820"/>
                  </a:lnTo>
                  <a:lnTo>
                    <a:pt x="824623" y="718219"/>
                  </a:lnTo>
                  <a:lnTo>
                    <a:pt x="831273" y="674993"/>
                  </a:lnTo>
                  <a:lnTo>
                    <a:pt x="794697" y="665018"/>
                  </a:lnTo>
                  <a:lnTo>
                    <a:pt x="754796" y="625117"/>
                  </a:lnTo>
                  <a:lnTo>
                    <a:pt x="768096" y="591866"/>
                  </a:lnTo>
                  <a:lnTo>
                    <a:pt x="814647" y="585216"/>
                  </a:lnTo>
                  <a:lnTo>
                    <a:pt x="844573" y="555290"/>
                  </a:lnTo>
                  <a:lnTo>
                    <a:pt x="807997" y="528689"/>
                  </a:lnTo>
                  <a:lnTo>
                    <a:pt x="844573" y="438912"/>
                  </a:lnTo>
                  <a:lnTo>
                    <a:pt x="854548" y="428936"/>
                  </a:lnTo>
                  <a:lnTo>
                    <a:pt x="814647" y="399011"/>
                  </a:lnTo>
                  <a:lnTo>
                    <a:pt x="791372" y="385710"/>
                  </a:lnTo>
                  <a:lnTo>
                    <a:pt x="811322" y="302583"/>
                  </a:lnTo>
                  <a:lnTo>
                    <a:pt x="877824" y="305908"/>
                  </a:lnTo>
                  <a:lnTo>
                    <a:pt x="927700" y="282632"/>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9" name="Freeform 49">
              <a:extLst>
                <a:ext uri="{FF2B5EF4-FFF2-40B4-BE49-F238E27FC236}">
                  <a16:creationId xmlns:a16="http://schemas.microsoft.com/office/drawing/2014/main" id="{F81A882C-53DE-434F-94EA-873CF497681D}"/>
                </a:ext>
              </a:extLst>
            </p:cNvPr>
            <p:cNvSpPr/>
            <p:nvPr/>
          </p:nvSpPr>
          <p:spPr bwMode="auto">
            <a:xfrm>
              <a:off x="5348287" y="3104356"/>
              <a:ext cx="2701925" cy="3635375"/>
            </a:xfrm>
            <a:custGeom>
              <a:avLst/>
              <a:gdLst>
                <a:gd name="connsiteX0" fmla="*/ 927041 w 2701062"/>
                <a:gd name="connsiteY0" fmla="*/ 0 h 3004457"/>
                <a:gd name="connsiteX1" fmla="*/ 876475 w 2701062"/>
                <a:gd name="connsiteY1" fmla="*/ 80062 h 3004457"/>
                <a:gd name="connsiteX2" fmla="*/ 804840 w 2701062"/>
                <a:gd name="connsiteY2" fmla="*/ 151697 h 3004457"/>
                <a:gd name="connsiteX3" fmla="*/ 813268 w 2701062"/>
                <a:gd name="connsiteY3" fmla="*/ 282326 h 3004457"/>
                <a:gd name="connsiteX4" fmla="*/ 897545 w 2701062"/>
                <a:gd name="connsiteY4" fmla="*/ 450879 h 3004457"/>
                <a:gd name="connsiteX5" fmla="*/ 943897 w 2701062"/>
                <a:gd name="connsiteY5" fmla="*/ 535155 h 3004457"/>
                <a:gd name="connsiteX6" fmla="*/ 964966 w 2701062"/>
                <a:gd name="connsiteY6" fmla="*/ 564652 h 3004457"/>
                <a:gd name="connsiteX7" fmla="*/ 994463 w 2701062"/>
                <a:gd name="connsiteY7" fmla="*/ 539369 h 3004457"/>
                <a:gd name="connsiteX8" fmla="*/ 1011318 w 2701062"/>
                <a:gd name="connsiteY8" fmla="*/ 484590 h 3004457"/>
                <a:gd name="connsiteX9" fmla="*/ 1057670 w 2701062"/>
                <a:gd name="connsiteY9" fmla="*/ 476162 h 3004457"/>
                <a:gd name="connsiteX10" fmla="*/ 1053456 w 2701062"/>
                <a:gd name="connsiteY10" fmla="*/ 539369 h 3004457"/>
                <a:gd name="connsiteX11" fmla="*/ 1040815 w 2701062"/>
                <a:gd name="connsiteY11" fmla="*/ 573080 h 3004457"/>
                <a:gd name="connsiteX12" fmla="*/ 1049242 w 2701062"/>
                <a:gd name="connsiteY12" fmla="*/ 598363 h 3004457"/>
                <a:gd name="connsiteX13" fmla="*/ 986035 w 2701062"/>
                <a:gd name="connsiteY13" fmla="*/ 615218 h 3004457"/>
                <a:gd name="connsiteX14" fmla="*/ 1011318 w 2701062"/>
                <a:gd name="connsiteY14" fmla="*/ 750061 h 3004457"/>
                <a:gd name="connsiteX15" fmla="*/ 1049242 w 2701062"/>
                <a:gd name="connsiteY15" fmla="*/ 745847 h 3004457"/>
                <a:gd name="connsiteX16" fmla="*/ 1040815 w 2701062"/>
                <a:gd name="connsiteY16" fmla="*/ 809054 h 3004457"/>
                <a:gd name="connsiteX17" fmla="*/ 981821 w 2701062"/>
                <a:gd name="connsiteY17" fmla="*/ 842765 h 3004457"/>
                <a:gd name="connsiteX18" fmla="*/ 931255 w 2701062"/>
                <a:gd name="connsiteY18" fmla="*/ 842765 h 3004457"/>
                <a:gd name="connsiteX19" fmla="*/ 897545 w 2701062"/>
                <a:gd name="connsiteY19" fmla="*/ 905972 h 3004457"/>
                <a:gd name="connsiteX20" fmla="*/ 901758 w 2701062"/>
                <a:gd name="connsiteY20" fmla="*/ 935469 h 3004457"/>
                <a:gd name="connsiteX21" fmla="*/ 948110 w 2701062"/>
                <a:gd name="connsiteY21" fmla="*/ 943896 h 3004457"/>
                <a:gd name="connsiteX22" fmla="*/ 931255 w 2701062"/>
                <a:gd name="connsiteY22" fmla="*/ 981821 h 3004457"/>
                <a:gd name="connsiteX23" fmla="*/ 952324 w 2701062"/>
                <a:gd name="connsiteY23" fmla="*/ 990249 h 3004457"/>
                <a:gd name="connsiteX24" fmla="*/ 1015532 w 2701062"/>
                <a:gd name="connsiteY24" fmla="*/ 994462 h 3004457"/>
                <a:gd name="connsiteX25" fmla="*/ 1040815 w 2701062"/>
                <a:gd name="connsiteY25" fmla="*/ 1032387 h 3004457"/>
                <a:gd name="connsiteX26" fmla="*/ 1036601 w 2701062"/>
                <a:gd name="connsiteY26" fmla="*/ 1070311 h 3004457"/>
                <a:gd name="connsiteX27" fmla="*/ 1104022 w 2701062"/>
                <a:gd name="connsiteY27" fmla="*/ 1171443 h 3004457"/>
                <a:gd name="connsiteX28" fmla="*/ 1053456 w 2701062"/>
                <a:gd name="connsiteY28" fmla="*/ 1196726 h 3004457"/>
                <a:gd name="connsiteX29" fmla="*/ 998676 w 2701062"/>
                <a:gd name="connsiteY29" fmla="*/ 1192512 h 3004457"/>
                <a:gd name="connsiteX30" fmla="*/ 964966 w 2701062"/>
                <a:gd name="connsiteY30" fmla="*/ 1272575 h 3004457"/>
                <a:gd name="connsiteX31" fmla="*/ 1015532 w 2701062"/>
                <a:gd name="connsiteY31" fmla="*/ 1314713 h 3004457"/>
                <a:gd name="connsiteX32" fmla="*/ 994463 w 2701062"/>
                <a:gd name="connsiteY32" fmla="*/ 1411631 h 3004457"/>
                <a:gd name="connsiteX33" fmla="*/ 1019746 w 2701062"/>
                <a:gd name="connsiteY33" fmla="*/ 1445342 h 3004457"/>
                <a:gd name="connsiteX34" fmla="*/ 990249 w 2701062"/>
                <a:gd name="connsiteY34" fmla="*/ 1479052 h 3004457"/>
                <a:gd name="connsiteX35" fmla="*/ 948110 w 2701062"/>
                <a:gd name="connsiteY35" fmla="*/ 1479052 h 3004457"/>
                <a:gd name="connsiteX36" fmla="*/ 939683 w 2701062"/>
                <a:gd name="connsiteY36" fmla="*/ 1516977 h 3004457"/>
                <a:gd name="connsiteX37" fmla="*/ 994463 w 2701062"/>
                <a:gd name="connsiteY37" fmla="*/ 1563329 h 3004457"/>
                <a:gd name="connsiteX38" fmla="*/ 981821 w 2701062"/>
                <a:gd name="connsiteY38" fmla="*/ 1744523 h 3004457"/>
                <a:gd name="connsiteX39" fmla="*/ 1015532 w 2701062"/>
                <a:gd name="connsiteY39" fmla="*/ 1824586 h 3004457"/>
                <a:gd name="connsiteX40" fmla="*/ 1049242 w 2701062"/>
                <a:gd name="connsiteY40" fmla="*/ 1824586 h 3004457"/>
                <a:gd name="connsiteX41" fmla="*/ 1129305 w 2701062"/>
                <a:gd name="connsiteY41" fmla="*/ 1892007 h 3004457"/>
                <a:gd name="connsiteX42" fmla="*/ 1125091 w 2701062"/>
                <a:gd name="connsiteY42" fmla="*/ 2022636 h 3004457"/>
                <a:gd name="connsiteX43" fmla="*/ 1087167 w 2701062"/>
                <a:gd name="connsiteY43" fmla="*/ 2085843 h 3004457"/>
                <a:gd name="connsiteX44" fmla="*/ 1015532 w 2701062"/>
                <a:gd name="connsiteY44" fmla="*/ 2153264 h 3004457"/>
                <a:gd name="connsiteX45" fmla="*/ 1007104 w 2701062"/>
                <a:gd name="connsiteY45" fmla="*/ 2241755 h 3004457"/>
                <a:gd name="connsiteX46" fmla="*/ 922828 w 2701062"/>
                <a:gd name="connsiteY46" fmla="*/ 2254396 h 3004457"/>
                <a:gd name="connsiteX47" fmla="*/ 868048 w 2701062"/>
                <a:gd name="connsiteY47" fmla="*/ 2258610 h 3004457"/>
                <a:gd name="connsiteX48" fmla="*/ 830123 w 2701062"/>
                <a:gd name="connsiteY48" fmla="*/ 2220685 h 3004457"/>
                <a:gd name="connsiteX49" fmla="*/ 577294 w 2701062"/>
                <a:gd name="connsiteY49" fmla="*/ 2241755 h 3004457"/>
                <a:gd name="connsiteX50" fmla="*/ 568866 w 2701062"/>
                <a:gd name="connsiteY50" fmla="*/ 2347100 h 3004457"/>
                <a:gd name="connsiteX51" fmla="*/ 514087 w 2701062"/>
                <a:gd name="connsiteY51" fmla="*/ 2380811 h 3004457"/>
                <a:gd name="connsiteX52" fmla="*/ 484590 w 2701062"/>
                <a:gd name="connsiteY52" fmla="*/ 2347100 h 3004457"/>
                <a:gd name="connsiteX53" fmla="*/ 446665 w 2701062"/>
                <a:gd name="connsiteY53" fmla="*/ 2372383 h 3004457"/>
                <a:gd name="connsiteX54" fmla="*/ 434024 w 2701062"/>
                <a:gd name="connsiteY54" fmla="*/ 2490370 h 3004457"/>
                <a:gd name="connsiteX55" fmla="*/ 328678 w 2701062"/>
                <a:gd name="connsiteY55" fmla="*/ 2616785 h 3004457"/>
                <a:gd name="connsiteX56" fmla="*/ 273899 w 2701062"/>
                <a:gd name="connsiteY56" fmla="*/ 2629426 h 3004457"/>
                <a:gd name="connsiteX57" fmla="*/ 252829 w 2701062"/>
                <a:gd name="connsiteY57" fmla="*/ 2679992 h 3004457"/>
                <a:gd name="connsiteX58" fmla="*/ 202263 w 2701062"/>
                <a:gd name="connsiteY58" fmla="*/ 2760055 h 3004457"/>
                <a:gd name="connsiteX59" fmla="*/ 164339 w 2701062"/>
                <a:gd name="connsiteY59" fmla="*/ 2789552 h 3004457"/>
                <a:gd name="connsiteX60" fmla="*/ 75849 w 2701062"/>
                <a:gd name="connsiteY60" fmla="*/ 2819049 h 3004457"/>
                <a:gd name="connsiteX61" fmla="*/ 12641 w 2701062"/>
                <a:gd name="connsiteY61" fmla="*/ 2852759 h 3004457"/>
                <a:gd name="connsiteX62" fmla="*/ 0 w 2701062"/>
                <a:gd name="connsiteY62" fmla="*/ 2932822 h 3004457"/>
                <a:gd name="connsiteX63" fmla="*/ 63207 w 2701062"/>
                <a:gd name="connsiteY63" fmla="*/ 2928608 h 3004457"/>
                <a:gd name="connsiteX64" fmla="*/ 96918 w 2701062"/>
                <a:gd name="connsiteY64" fmla="*/ 2882256 h 3004457"/>
                <a:gd name="connsiteX65" fmla="*/ 155911 w 2701062"/>
                <a:gd name="connsiteY65" fmla="*/ 2924394 h 3004457"/>
                <a:gd name="connsiteX66" fmla="*/ 164339 w 2701062"/>
                <a:gd name="connsiteY66" fmla="*/ 3004457 h 3004457"/>
                <a:gd name="connsiteX67" fmla="*/ 265471 w 2701062"/>
                <a:gd name="connsiteY67" fmla="*/ 2953891 h 3004457"/>
                <a:gd name="connsiteX68" fmla="*/ 252829 w 2701062"/>
                <a:gd name="connsiteY68" fmla="*/ 2894897 h 3004457"/>
                <a:gd name="connsiteX69" fmla="*/ 307609 w 2701062"/>
                <a:gd name="connsiteY69" fmla="*/ 2852759 h 3004457"/>
                <a:gd name="connsiteX70" fmla="*/ 345534 w 2701062"/>
                <a:gd name="connsiteY70" fmla="*/ 2814835 h 3004457"/>
                <a:gd name="connsiteX71" fmla="*/ 375030 w 2701062"/>
                <a:gd name="connsiteY71" fmla="*/ 2772696 h 3004457"/>
                <a:gd name="connsiteX72" fmla="*/ 497231 w 2701062"/>
                <a:gd name="connsiteY72" fmla="*/ 2781124 h 3004457"/>
                <a:gd name="connsiteX73" fmla="*/ 497231 w 2701062"/>
                <a:gd name="connsiteY73" fmla="*/ 2781124 h 3004457"/>
                <a:gd name="connsiteX74" fmla="*/ 568866 w 2701062"/>
                <a:gd name="connsiteY74" fmla="*/ 2814835 h 3004457"/>
                <a:gd name="connsiteX75" fmla="*/ 589935 w 2701062"/>
                <a:gd name="connsiteY75" fmla="*/ 2793766 h 3004457"/>
                <a:gd name="connsiteX76" fmla="*/ 648929 w 2701062"/>
                <a:gd name="connsiteY76" fmla="*/ 2823262 h 3004457"/>
                <a:gd name="connsiteX77" fmla="*/ 674212 w 2701062"/>
                <a:gd name="connsiteY77" fmla="*/ 2819049 h 3004457"/>
                <a:gd name="connsiteX78" fmla="*/ 720564 w 2701062"/>
                <a:gd name="connsiteY78" fmla="*/ 2882256 h 3004457"/>
                <a:gd name="connsiteX79" fmla="*/ 754275 w 2701062"/>
                <a:gd name="connsiteY79" fmla="*/ 2873828 h 3004457"/>
                <a:gd name="connsiteX80" fmla="*/ 804840 w 2701062"/>
                <a:gd name="connsiteY80" fmla="*/ 2797979 h 3004457"/>
                <a:gd name="connsiteX81" fmla="*/ 842765 w 2701062"/>
                <a:gd name="connsiteY81" fmla="*/ 2764269 h 3004457"/>
                <a:gd name="connsiteX82" fmla="*/ 830123 w 2701062"/>
                <a:gd name="connsiteY82" fmla="*/ 2709489 h 3004457"/>
                <a:gd name="connsiteX83" fmla="*/ 859620 w 2701062"/>
                <a:gd name="connsiteY83" fmla="*/ 2654709 h 3004457"/>
                <a:gd name="connsiteX84" fmla="*/ 918614 w 2701062"/>
                <a:gd name="connsiteY84" fmla="*/ 2604144 h 3004457"/>
                <a:gd name="connsiteX85" fmla="*/ 1011318 w 2701062"/>
                <a:gd name="connsiteY85" fmla="*/ 2587288 h 3004457"/>
                <a:gd name="connsiteX86" fmla="*/ 1078739 w 2701062"/>
                <a:gd name="connsiteY86" fmla="*/ 2574647 h 3004457"/>
                <a:gd name="connsiteX87" fmla="*/ 1163016 w 2701062"/>
                <a:gd name="connsiteY87" fmla="*/ 2646282 h 3004457"/>
                <a:gd name="connsiteX88" fmla="*/ 1222009 w 2701062"/>
                <a:gd name="connsiteY88" fmla="*/ 2679992 h 3004457"/>
                <a:gd name="connsiteX89" fmla="*/ 1226223 w 2701062"/>
                <a:gd name="connsiteY89" fmla="*/ 2633640 h 3004457"/>
                <a:gd name="connsiteX90" fmla="*/ 1243078 w 2701062"/>
                <a:gd name="connsiteY90" fmla="*/ 2625213 h 3004457"/>
                <a:gd name="connsiteX91" fmla="*/ 1344210 w 2701062"/>
                <a:gd name="connsiteY91" fmla="*/ 2646282 h 3004457"/>
                <a:gd name="connsiteX92" fmla="*/ 1398990 w 2701062"/>
                <a:gd name="connsiteY92" fmla="*/ 2654709 h 3004457"/>
                <a:gd name="connsiteX93" fmla="*/ 1436914 w 2701062"/>
                <a:gd name="connsiteY93" fmla="*/ 2583074 h 3004457"/>
                <a:gd name="connsiteX94" fmla="*/ 1495908 w 2701062"/>
                <a:gd name="connsiteY94" fmla="*/ 2574647 h 3004457"/>
                <a:gd name="connsiteX95" fmla="*/ 1597040 w 2701062"/>
                <a:gd name="connsiteY95" fmla="*/ 2629426 h 3004457"/>
                <a:gd name="connsiteX96" fmla="*/ 1656033 w 2701062"/>
                <a:gd name="connsiteY96" fmla="*/ 2650496 h 3004457"/>
                <a:gd name="connsiteX97" fmla="*/ 1719240 w 2701062"/>
                <a:gd name="connsiteY97" fmla="*/ 2591502 h 3004457"/>
                <a:gd name="connsiteX98" fmla="*/ 1715027 w 2701062"/>
                <a:gd name="connsiteY98" fmla="*/ 2519867 h 3004457"/>
                <a:gd name="connsiteX99" fmla="*/ 1833014 w 2701062"/>
                <a:gd name="connsiteY99" fmla="*/ 2570433 h 3004457"/>
                <a:gd name="connsiteX100" fmla="*/ 1862510 w 2701062"/>
                <a:gd name="connsiteY100" fmla="*/ 2519867 h 3004457"/>
                <a:gd name="connsiteX101" fmla="*/ 2018422 w 2701062"/>
                <a:gd name="connsiteY101" fmla="*/ 2498798 h 3004457"/>
                <a:gd name="connsiteX102" fmla="*/ 2186975 w 2701062"/>
                <a:gd name="connsiteY102" fmla="*/ 2557791 h 3004457"/>
                <a:gd name="connsiteX103" fmla="*/ 2254396 w 2701062"/>
                <a:gd name="connsiteY103" fmla="*/ 2473515 h 3004457"/>
                <a:gd name="connsiteX104" fmla="*/ 2338673 w 2701062"/>
                <a:gd name="connsiteY104" fmla="*/ 2473515 h 3004457"/>
                <a:gd name="connsiteX105" fmla="*/ 2380811 w 2701062"/>
                <a:gd name="connsiteY105" fmla="*/ 2418735 h 3004457"/>
                <a:gd name="connsiteX106" fmla="*/ 2456660 w 2701062"/>
                <a:gd name="connsiteY106" fmla="*/ 2422949 h 3004457"/>
                <a:gd name="connsiteX107" fmla="*/ 2469301 w 2701062"/>
                <a:gd name="connsiteY107" fmla="*/ 2342886 h 3004457"/>
                <a:gd name="connsiteX108" fmla="*/ 2595716 w 2701062"/>
                <a:gd name="connsiteY108" fmla="*/ 2275465 h 3004457"/>
                <a:gd name="connsiteX109" fmla="*/ 2595716 w 2701062"/>
                <a:gd name="connsiteY109" fmla="*/ 2174333 h 3004457"/>
                <a:gd name="connsiteX110" fmla="*/ 2616785 w 2701062"/>
                <a:gd name="connsiteY110" fmla="*/ 2136409 h 3004457"/>
                <a:gd name="connsiteX111" fmla="*/ 2591502 w 2701062"/>
                <a:gd name="connsiteY111" fmla="*/ 2111126 h 3004457"/>
                <a:gd name="connsiteX112" fmla="*/ 2515653 w 2701062"/>
                <a:gd name="connsiteY112" fmla="*/ 2111126 h 3004457"/>
                <a:gd name="connsiteX113" fmla="*/ 2460874 w 2701062"/>
                <a:gd name="connsiteY113" fmla="*/ 2123767 h 3004457"/>
                <a:gd name="connsiteX114" fmla="*/ 2435591 w 2701062"/>
                <a:gd name="connsiteY114" fmla="*/ 2136409 h 3004457"/>
                <a:gd name="connsiteX115" fmla="*/ 2397666 w 2701062"/>
                <a:gd name="connsiteY115" fmla="*/ 2085843 h 3004457"/>
                <a:gd name="connsiteX116" fmla="*/ 2347100 w 2701062"/>
                <a:gd name="connsiteY116" fmla="*/ 2060560 h 3004457"/>
                <a:gd name="connsiteX117" fmla="*/ 2410308 w 2701062"/>
                <a:gd name="connsiteY117" fmla="*/ 2022636 h 3004457"/>
                <a:gd name="connsiteX118" fmla="*/ 2439804 w 2701062"/>
                <a:gd name="connsiteY118" fmla="*/ 1875152 h 3004457"/>
                <a:gd name="connsiteX119" fmla="*/ 2481943 w 2701062"/>
                <a:gd name="connsiteY119" fmla="*/ 1908862 h 3004457"/>
                <a:gd name="connsiteX120" fmla="*/ 2532509 w 2701062"/>
                <a:gd name="connsiteY120" fmla="*/ 1837227 h 3004457"/>
                <a:gd name="connsiteX121" fmla="*/ 2545150 w 2701062"/>
                <a:gd name="connsiteY121" fmla="*/ 1799303 h 3004457"/>
                <a:gd name="connsiteX122" fmla="*/ 2633640 w 2701062"/>
                <a:gd name="connsiteY122" fmla="*/ 1685530 h 3004457"/>
                <a:gd name="connsiteX123" fmla="*/ 2650496 w 2701062"/>
                <a:gd name="connsiteY123" fmla="*/ 1592826 h 3004457"/>
                <a:gd name="connsiteX124" fmla="*/ 2696848 w 2701062"/>
                <a:gd name="connsiteY124" fmla="*/ 1516977 h 3004457"/>
                <a:gd name="connsiteX125" fmla="*/ 2701062 w 2701062"/>
                <a:gd name="connsiteY125" fmla="*/ 1310499 h 3004457"/>
                <a:gd name="connsiteX126" fmla="*/ 2503012 w 2701062"/>
                <a:gd name="connsiteY126" fmla="*/ 1175657 h 3004457"/>
                <a:gd name="connsiteX127" fmla="*/ 2237541 w 2701062"/>
                <a:gd name="connsiteY127" fmla="*/ 1146160 h 3004457"/>
                <a:gd name="connsiteX128" fmla="*/ 2161692 w 2701062"/>
                <a:gd name="connsiteY128" fmla="*/ 1234650 h 3004457"/>
                <a:gd name="connsiteX129" fmla="*/ 2123768 w 2701062"/>
                <a:gd name="connsiteY129" fmla="*/ 1226223 h 3004457"/>
                <a:gd name="connsiteX130" fmla="*/ 2111126 w 2701062"/>
                <a:gd name="connsiteY130" fmla="*/ 1175657 h 3004457"/>
                <a:gd name="connsiteX131" fmla="*/ 2203830 w 2701062"/>
                <a:gd name="connsiteY131" fmla="*/ 1078739 h 3004457"/>
                <a:gd name="connsiteX132" fmla="*/ 2178547 w 2701062"/>
                <a:gd name="connsiteY132" fmla="*/ 939683 h 3004457"/>
                <a:gd name="connsiteX133" fmla="*/ 2090057 w 2701062"/>
                <a:gd name="connsiteY133" fmla="*/ 846979 h 3004457"/>
                <a:gd name="connsiteX134" fmla="*/ 2056346 w 2701062"/>
                <a:gd name="connsiteY134" fmla="*/ 817482 h 3004457"/>
                <a:gd name="connsiteX135" fmla="*/ 2127981 w 2701062"/>
                <a:gd name="connsiteY135" fmla="*/ 804840 h 3004457"/>
                <a:gd name="connsiteX136" fmla="*/ 2127981 w 2701062"/>
                <a:gd name="connsiteY136" fmla="*/ 771130 h 3004457"/>
                <a:gd name="connsiteX137" fmla="*/ 2031063 w 2701062"/>
                <a:gd name="connsiteY137" fmla="*/ 644715 h 3004457"/>
                <a:gd name="connsiteX138" fmla="*/ 2022636 w 2701062"/>
                <a:gd name="connsiteY138" fmla="*/ 560438 h 3004457"/>
                <a:gd name="connsiteX139" fmla="*/ 2056346 w 2701062"/>
                <a:gd name="connsiteY139" fmla="*/ 497231 h 3004457"/>
                <a:gd name="connsiteX140" fmla="*/ 2039491 w 2701062"/>
                <a:gd name="connsiteY140" fmla="*/ 463520 h 3004457"/>
                <a:gd name="connsiteX141" fmla="*/ 1967856 w 2701062"/>
                <a:gd name="connsiteY141" fmla="*/ 442451 h 3004457"/>
                <a:gd name="connsiteX142" fmla="*/ 1929932 w 2701062"/>
                <a:gd name="connsiteY142" fmla="*/ 383458 h 3004457"/>
                <a:gd name="connsiteX143" fmla="*/ 1934146 w 2701062"/>
                <a:gd name="connsiteY143" fmla="*/ 324464 h 3004457"/>
                <a:gd name="connsiteX144" fmla="*/ 1727668 w 2701062"/>
                <a:gd name="connsiteY144" fmla="*/ 206477 h 3004457"/>
                <a:gd name="connsiteX145" fmla="*/ 1664461 w 2701062"/>
                <a:gd name="connsiteY145" fmla="*/ 147484 h 3004457"/>
                <a:gd name="connsiteX146" fmla="*/ 1630750 w 2701062"/>
                <a:gd name="connsiteY146" fmla="*/ 117987 h 3004457"/>
                <a:gd name="connsiteX0" fmla="*/ 927041 w 2701062"/>
                <a:gd name="connsiteY0" fmla="*/ 172767 h 3177224"/>
                <a:gd name="connsiteX1" fmla="*/ 876475 w 2701062"/>
                <a:gd name="connsiteY1" fmla="*/ 252829 h 3177224"/>
                <a:gd name="connsiteX2" fmla="*/ 804840 w 2701062"/>
                <a:gd name="connsiteY2" fmla="*/ 324464 h 3177224"/>
                <a:gd name="connsiteX3" fmla="*/ 813268 w 2701062"/>
                <a:gd name="connsiteY3" fmla="*/ 455093 h 3177224"/>
                <a:gd name="connsiteX4" fmla="*/ 897545 w 2701062"/>
                <a:gd name="connsiteY4" fmla="*/ 623646 h 3177224"/>
                <a:gd name="connsiteX5" fmla="*/ 943897 w 2701062"/>
                <a:gd name="connsiteY5" fmla="*/ 707922 h 3177224"/>
                <a:gd name="connsiteX6" fmla="*/ 964966 w 2701062"/>
                <a:gd name="connsiteY6" fmla="*/ 737419 h 3177224"/>
                <a:gd name="connsiteX7" fmla="*/ 994463 w 2701062"/>
                <a:gd name="connsiteY7" fmla="*/ 712136 h 3177224"/>
                <a:gd name="connsiteX8" fmla="*/ 1011318 w 2701062"/>
                <a:gd name="connsiteY8" fmla="*/ 657357 h 3177224"/>
                <a:gd name="connsiteX9" fmla="*/ 1057670 w 2701062"/>
                <a:gd name="connsiteY9" fmla="*/ 648929 h 3177224"/>
                <a:gd name="connsiteX10" fmla="*/ 1053456 w 2701062"/>
                <a:gd name="connsiteY10" fmla="*/ 712136 h 3177224"/>
                <a:gd name="connsiteX11" fmla="*/ 1040815 w 2701062"/>
                <a:gd name="connsiteY11" fmla="*/ 745847 h 3177224"/>
                <a:gd name="connsiteX12" fmla="*/ 1049242 w 2701062"/>
                <a:gd name="connsiteY12" fmla="*/ 771130 h 3177224"/>
                <a:gd name="connsiteX13" fmla="*/ 986035 w 2701062"/>
                <a:gd name="connsiteY13" fmla="*/ 787985 h 3177224"/>
                <a:gd name="connsiteX14" fmla="*/ 1011318 w 2701062"/>
                <a:gd name="connsiteY14" fmla="*/ 922828 h 3177224"/>
                <a:gd name="connsiteX15" fmla="*/ 1049242 w 2701062"/>
                <a:gd name="connsiteY15" fmla="*/ 918614 h 3177224"/>
                <a:gd name="connsiteX16" fmla="*/ 1040815 w 2701062"/>
                <a:gd name="connsiteY16" fmla="*/ 981821 h 3177224"/>
                <a:gd name="connsiteX17" fmla="*/ 981821 w 2701062"/>
                <a:gd name="connsiteY17" fmla="*/ 1015532 h 3177224"/>
                <a:gd name="connsiteX18" fmla="*/ 931255 w 2701062"/>
                <a:gd name="connsiteY18" fmla="*/ 1015532 h 3177224"/>
                <a:gd name="connsiteX19" fmla="*/ 897545 w 2701062"/>
                <a:gd name="connsiteY19" fmla="*/ 1078739 h 3177224"/>
                <a:gd name="connsiteX20" fmla="*/ 901758 w 2701062"/>
                <a:gd name="connsiteY20" fmla="*/ 1108236 h 3177224"/>
                <a:gd name="connsiteX21" fmla="*/ 948110 w 2701062"/>
                <a:gd name="connsiteY21" fmla="*/ 1116663 h 3177224"/>
                <a:gd name="connsiteX22" fmla="*/ 931255 w 2701062"/>
                <a:gd name="connsiteY22" fmla="*/ 1154588 h 3177224"/>
                <a:gd name="connsiteX23" fmla="*/ 952324 w 2701062"/>
                <a:gd name="connsiteY23" fmla="*/ 1163016 h 3177224"/>
                <a:gd name="connsiteX24" fmla="*/ 1015532 w 2701062"/>
                <a:gd name="connsiteY24" fmla="*/ 1167229 h 3177224"/>
                <a:gd name="connsiteX25" fmla="*/ 1040815 w 2701062"/>
                <a:gd name="connsiteY25" fmla="*/ 1205154 h 3177224"/>
                <a:gd name="connsiteX26" fmla="*/ 1036601 w 2701062"/>
                <a:gd name="connsiteY26" fmla="*/ 1243078 h 3177224"/>
                <a:gd name="connsiteX27" fmla="*/ 1104022 w 2701062"/>
                <a:gd name="connsiteY27" fmla="*/ 1344210 h 3177224"/>
                <a:gd name="connsiteX28" fmla="*/ 1053456 w 2701062"/>
                <a:gd name="connsiteY28" fmla="*/ 1369493 h 3177224"/>
                <a:gd name="connsiteX29" fmla="*/ 998676 w 2701062"/>
                <a:gd name="connsiteY29" fmla="*/ 1365279 h 3177224"/>
                <a:gd name="connsiteX30" fmla="*/ 964966 w 2701062"/>
                <a:gd name="connsiteY30" fmla="*/ 1445342 h 3177224"/>
                <a:gd name="connsiteX31" fmla="*/ 1015532 w 2701062"/>
                <a:gd name="connsiteY31" fmla="*/ 1487480 h 3177224"/>
                <a:gd name="connsiteX32" fmla="*/ 994463 w 2701062"/>
                <a:gd name="connsiteY32" fmla="*/ 1584398 h 3177224"/>
                <a:gd name="connsiteX33" fmla="*/ 1019746 w 2701062"/>
                <a:gd name="connsiteY33" fmla="*/ 1618109 h 3177224"/>
                <a:gd name="connsiteX34" fmla="*/ 990249 w 2701062"/>
                <a:gd name="connsiteY34" fmla="*/ 1651819 h 3177224"/>
                <a:gd name="connsiteX35" fmla="*/ 948110 w 2701062"/>
                <a:gd name="connsiteY35" fmla="*/ 1651819 h 3177224"/>
                <a:gd name="connsiteX36" fmla="*/ 939683 w 2701062"/>
                <a:gd name="connsiteY36" fmla="*/ 1689744 h 3177224"/>
                <a:gd name="connsiteX37" fmla="*/ 994463 w 2701062"/>
                <a:gd name="connsiteY37" fmla="*/ 1736096 h 3177224"/>
                <a:gd name="connsiteX38" fmla="*/ 981821 w 2701062"/>
                <a:gd name="connsiteY38" fmla="*/ 1917290 h 3177224"/>
                <a:gd name="connsiteX39" fmla="*/ 1015532 w 2701062"/>
                <a:gd name="connsiteY39" fmla="*/ 1997353 h 3177224"/>
                <a:gd name="connsiteX40" fmla="*/ 1049242 w 2701062"/>
                <a:gd name="connsiteY40" fmla="*/ 1997353 h 3177224"/>
                <a:gd name="connsiteX41" fmla="*/ 1129305 w 2701062"/>
                <a:gd name="connsiteY41" fmla="*/ 2064774 h 3177224"/>
                <a:gd name="connsiteX42" fmla="*/ 1125091 w 2701062"/>
                <a:gd name="connsiteY42" fmla="*/ 2195403 h 3177224"/>
                <a:gd name="connsiteX43" fmla="*/ 1087167 w 2701062"/>
                <a:gd name="connsiteY43" fmla="*/ 2258610 h 3177224"/>
                <a:gd name="connsiteX44" fmla="*/ 1015532 w 2701062"/>
                <a:gd name="connsiteY44" fmla="*/ 2326031 h 3177224"/>
                <a:gd name="connsiteX45" fmla="*/ 1007104 w 2701062"/>
                <a:gd name="connsiteY45" fmla="*/ 2414522 h 3177224"/>
                <a:gd name="connsiteX46" fmla="*/ 922828 w 2701062"/>
                <a:gd name="connsiteY46" fmla="*/ 2427163 h 3177224"/>
                <a:gd name="connsiteX47" fmla="*/ 868048 w 2701062"/>
                <a:gd name="connsiteY47" fmla="*/ 2431377 h 3177224"/>
                <a:gd name="connsiteX48" fmla="*/ 830123 w 2701062"/>
                <a:gd name="connsiteY48" fmla="*/ 2393452 h 3177224"/>
                <a:gd name="connsiteX49" fmla="*/ 577294 w 2701062"/>
                <a:gd name="connsiteY49" fmla="*/ 2414522 h 3177224"/>
                <a:gd name="connsiteX50" fmla="*/ 568866 w 2701062"/>
                <a:gd name="connsiteY50" fmla="*/ 2519867 h 3177224"/>
                <a:gd name="connsiteX51" fmla="*/ 514087 w 2701062"/>
                <a:gd name="connsiteY51" fmla="*/ 2553578 h 3177224"/>
                <a:gd name="connsiteX52" fmla="*/ 484590 w 2701062"/>
                <a:gd name="connsiteY52" fmla="*/ 2519867 h 3177224"/>
                <a:gd name="connsiteX53" fmla="*/ 446665 w 2701062"/>
                <a:gd name="connsiteY53" fmla="*/ 2545150 h 3177224"/>
                <a:gd name="connsiteX54" fmla="*/ 434024 w 2701062"/>
                <a:gd name="connsiteY54" fmla="*/ 2663137 h 3177224"/>
                <a:gd name="connsiteX55" fmla="*/ 328678 w 2701062"/>
                <a:gd name="connsiteY55" fmla="*/ 2789552 h 3177224"/>
                <a:gd name="connsiteX56" fmla="*/ 273899 w 2701062"/>
                <a:gd name="connsiteY56" fmla="*/ 2802193 h 3177224"/>
                <a:gd name="connsiteX57" fmla="*/ 252829 w 2701062"/>
                <a:gd name="connsiteY57" fmla="*/ 2852759 h 3177224"/>
                <a:gd name="connsiteX58" fmla="*/ 202263 w 2701062"/>
                <a:gd name="connsiteY58" fmla="*/ 2932822 h 3177224"/>
                <a:gd name="connsiteX59" fmla="*/ 164339 w 2701062"/>
                <a:gd name="connsiteY59" fmla="*/ 2962319 h 3177224"/>
                <a:gd name="connsiteX60" fmla="*/ 75849 w 2701062"/>
                <a:gd name="connsiteY60" fmla="*/ 2991816 h 3177224"/>
                <a:gd name="connsiteX61" fmla="*/ 12641 w 2701062"/>
                <a:gd name="connsiteY61" fmla="*/ 3025526 h 3177224"/>
                <a:gd name="connsiteX62" fmla="*/ 0 w 2701062"/>
                <a:gd name="connsiteY62" fmla="*/ 3105589 h 3177224"/>
                <a:gd name="connsiteX63" fmla="*/ 63207 w 2701062"/>
                <a:gd name="connsiteY63" fmla="*/ 3101375 h 3177224"/>
                <a:gd name="connsiteX64" fmla="*/ 96918 w 2701062"/>
                <a:gd name="connsiteY64" fmla="*/ 3055023 h 3177224"/>
                <a:gd name="connsiteX65" fmla="*/ 155911 w 2701062"/>
                <a:gd name="connsiteY65" fmla="*/ 3097161 h 3177224"/>
                <a:gd name="connsiteX66" fmla="*/ 164339 w 2701062"/>
                <a:gd name="connsiteY66" fmla="*/ 3177224 h 3177224"/>
                <a:gd name="connsiteX67" fmla="*/ 265471 w 2701062"/>
                <a:gd name="connsiteY67" fmla="*/ 3126658 h 3177224"/>
                <a:gd name="connsiteX68" fmla="*/ 252829 w 2701062"/>
                <a:gd name="connsiteY68" fmla="*/ 3067664 h 3177224"/>
                <a:gd name="connsiteX69" fmla="*/ 307609 w 2701062"/>
                <a:gd name="connsiteY69" fmla="*/ 3025526 h 3177224"/>
                <a:gd name="connsiteX70" fmla="*/ 345534 w 2701062"/>
                <a:gd name="connsiteY70" fmla="*/ 2987602 h 3177224"/>
                <a:gd name="connsiteX71" fmla="*/ 375030 w 2701062"/>
                <a:gd name="connsiteY71" fmla="*/ 2945463 h 3177224"/>
                <a:gd name="connsiteX72" fmla="*/ 497231 w 2701062"/>
                <a:gd name="connsiteY72" fmla="*/ 2953891 h 3177224"/>
                <a:gd name="connsiteX73" fmla="*/ 497231 w 2701062"/>
                <a:gd name="connsiteY73" fmla="*/ 2953891 h 3177224"/>
                <a:gd name="connsiteX74" fmla="*/ 568866 w 2701062"/>
                <a:gd name="connsiteY74" fmla="*/ 2987602 h 3177224"/>
                <a:gd name="connsiteX75" fmla="*/ 589935 w 2701062"/>
                <a:gd name="connsiteY75" fmla="*/ 2966533 h 3177224"/>
                <a:gd name="connsiteX76" fmla="*/ 648929 w 2701062"/>
                <a:gd name="connsiteY76" fmla="*/ 2996029 h 3177224"/>
                <a:gd name="connsiteX77" fmla="*/ 674212 w 2701062"/>
                <a:gd name="connsiteY77" fmla="*/ 2991816 h 3177224"/>
                <a:gd name="connsiteX78" fmla="*/ 720564 w 2701062"/>
                <a:gd name="connsiteY78" fmla="*/ 3055023 h 3177224"/>
                <a:gd name="connsiteX79" fmla="*/ 754275 w 2701062"/>
                <a:gd name="connsiteY79" fmla="*/ 3046595 h 3177224"/>
                <a:gd name="connsiteX80" fmla="*/ 804840 w 2701062"/>
                <a:gd name="connsiteY80" fmla="*/ 2970746 h 3177224"/>
                <a:gd name="connsiteX81" fmla="*/ 842765 w 2701062"/>
                <a:gd name="connsiteY81" fmla="*/ 2937036 h 3177224"/>
                <a:gd name="connsiteX82" fmla="*/ 830123 w 2701062"/>
                <a:gd name="connsiteY82" fmla="*/ 2882256 h 3177224"/>
                <a:gd name="connsiteX83" fmla="*/ 859620 w 2701062"/>
                <a:gd name="connsiteY83" fmla="*/ 2827476 h 3177224"/>
                <a:gd name="connsiteX84" fmla="*/ 918614 w 2701062"/>
                <a:gd name="connsiteY84" fmla="*/ 2776911 h 3177224"/>
                <a:gd name="connsiteX85" fmla="*/ 1011318 w 2701062"/>
                <a:gd name="connsiteY85" fmla="*/ 2760055 h 3177224"/>
                <a:gd name="connsiteX86" fmla="*/ 1078739 w 2701062"/>
                <a:gd name="connsiteY86" fmla="*/ 2747414 h 3177224"/>
                <a:gd name="connsiteX87" fmla="*/ 1163016 w 2701062"/>
                <a:gd name="connsiteY87" fmla="*/ 2819049 h 3177224"/>
                <a:gd name="connsiteX88" fmla="*/ 1222009 w 2701062"/>
                <a:gd name="connsiteY88" fmla="*/ 2852759 h 3177224"/>
                <a:gd name="connsiteX89" fmla="*/ 1226223 w 2701062"/>
                <a:gd name="connsiteY89" fmla="*/ 2806407 h 3177224"/>
                <a:gd name="connsiteX90" fmla="*/ 1243078 w 2701062"/>
                <a:gd name="connsiteY90" fmla="*/ 2797980 h 3177224"/>
                <a:gd name="connsiteX91" fmla="*/ 1344210 w 2701062"/>
                <a:gd name="connsiteY91" fmla="*/ 2819049 h 3177224"/>
                <a:gd name="connsiteX92" fmla="*/ 1398990 w 2701062"/>
                <a:gd name="connsiteY92" fmla="*/ 2827476 h 3177224"/>
                <a:gd name="connsiteX93" fmla="*/ 1436914 w 2701062"/>
                <a:gd name="connsiteY93" fmla="*/ 2755841 h 3177224"/>
                <a:gd name="connsiteX94" fmla="*/ 1495908 w 2701062"/>
                <a:gd name="connsiteY94" fmla="*/ 2747414 h 3177224"/>
                <a:gd name="connsiteX95" fmla="*/ 1597040 w 2701062"/>
                <a:gd name="connsiteY95" fmla="*/ 2802193 h 3177224"/>
                <a:gd name="connsiteX96" fmla="*/ 1656033 w 2701062"/>
                <a:gd name="connsiteY96" fmla="*/ 2823263 h 3177224"/>
                <a:gd name="connsiteX97" fmla="*/ 1719240 w 2701062"/>
                <a:gd name="connsiteY97" fmla="*/ 2764269 h 3177224"/>
                <a:gd name="connsiteX98" fmla="*/ 1715027 w 2701062"/>
                <a:gd name="connsiteY98" fmla="*/ 2692634 h 3177224"/>
                <a:gd name="connsiteX99" fmla="*/ 1833014 w 2701062"/>
                <a:gd name="connsiteY99" fmla="*/ 2743200 h 3177224"/>
                <a:gd name="connsiteX100" fmla="*/ 1862510 w 2701062"/>
                <a:gd name="connsiteY100" fmla="*/ 2692634 h 3177224"/>
                <a:gd name="connsiteX101" fmla="*/ 2018422 w 2701062"/>
                <a:gd name="connsiteY101" fmla="*/ 2671565 h 3177224"/>
                <a:gd name="connsiteX102" fmla="*/ 2186975 w 2701062"/>
                <a:gd name="connsiteY102" fmla="*/ 2730558 h 3177224"/>
                <a:gd name="connsiteX103" fmla="*/ 2254396 w 2701062"/>
                <a:gd name="connsiteY103" fmla="*/ 2646282 h 3177224"/>
                <a:gd name="connsiteX104" fmla="*/ 2338673 w 2701062"/>
                <a:gd name="connsiteY104" fmla="*/ 2646282 h 3177224"/>
                <a:gd name="connsiteX105" fmla="*/ 2380811 w 2701062"/>
                <a:gd name="connsiteY105" fmla="*/ 2591502 h 3177224"/>
                <a:gd name="connsiteX106" fmla="*/ 2456660 w 2701062"/>
                <a:gd name="connsiteY106" fmla="*/ 2595716 h 3177224"/>
                <a:gd name="connsiteX107" fmla="*/ 2469301 w 2701062"/>
                <a:gd name="connsiteY107" fmla="*/ 2515653 h 3177224"/>
                <a:gd name="connsiteX108" fmla="*/ 2595716 w 2701062"/>
                <a:gd name="connsiteY108" fmla="*/ 2448232 h 3177224"/>
                <a:gd name="connsiteX109" fmla="*/ 2595716 w 2701062"/>
                <a:gd name="connsiteY109" fmla="*/ 2347100 h 3177224"/>
                <a:gd name="connsiteX110" fmla="*/ 2616785 w 2701062"/>
                <a:gd name="connsiteY110" fmla="*/ 2309176 h 3177224"/>
                <a:gd name="connsiteX111" fmla="*/ 2591502 w 2701062"/>
                <a:gd name="connsiteY111" fmla="*/ 2283893 h 3177224"/>
                <a:gd name="connsiteX112" fmla="*/ 2515653 w 2701062"/>
                <a:gd name="connsiteY112" fmla="*/ 2283893 h 3177224"/>
                <a:gd name="connsiteX113" fmla="*/ 2460874 w 2701062"/>
                <a:gd name="connsiteY113" fmla="*/ 2296534 h 3177224"/>
                <a:gd name="connsiteX114" fmla="*/ 2435591 w 2701062"/>
                <a:gd name="connsiteY114" fmla="*/ 2309176 h 3177224"/>
                <a:gd name="connsiteX115" fmla="*/ 2397666 w 2701062"/>
                <a:gd name="connsiteY115" fmla="*/ 2258610 h 3177224"/>
                <a:gd name="connsiteX116" fmla="*/ 2347100 w 2701062"/>
                <a:gd name="connsiteY116" fmla="*/ 2233327 h 3177224"/>
                <a:gd name="connsiteX117" fmla="*/ 2410308 w 2701062"/>
                <a:gd name="connsiteY117" fmla="*/ 2195403 h 3177224"/>
                <a:gd name="connsiteX118" fmla="*/ 2439804 w 2701062"/>
                <a:gd name="connsiteY118" fmla="*/ 2047919 h 3177224"/>
                <a:gd name="connsiteX119" fmla="*/ 2481943 w 2701062"/>
                <a:gd name="connsiteY119" fmla="*/ 2081629 h 3177224"/>
                <a:gd name="connsiteX120" fmla="*/ 2532509 w 2701062"/>
                <a:gd name="connsiteY120" fmla="*/ 2009994 h 3177224"/>
                <a:gd name="connsiteX121" fmla="*/ 2545150 w 2701062"/>
                <a:gd name="connsiteY121" fmla="*/ 1972070 h 3177224"/>
                <a:gd name="connsiteX122" fmla="*/ 2633640 w 2701062"/>
                <a:gd name="connsiteY122" fmla="*/ 1858297 h 3177224"/>
                <a:gd name="connsiteX123" fmla="*/ 2650496 w 2701062"/>
                <a:gd name="connsiteY123" fmla="*/ 1765593 h 3177224"/>
                <a:gd name="connsiteX124" fmla="*/ 2696848 w 2701062"/>
                <a:gd name="connsiteY124" fmla="*/ 1689744 h 3177224"/>
                <a:gd name="connsiteX125" fmla="*/ 2701062 w 2701062"/>
                <a:gd name="connsiteY125" fmla="*/ 1483266 h 3177224"/>
                <a:gd name="connsiteX126" fmla="*/ 2503012 w 2701062"/>
                <a:gd name="connsiteY126" fmla="*/ 1348424 h 3177224"/>
                <a:gd name="connsiteX127" fmla="*/ 2237541 w 2701062"/>
                <a:gd name="connsiteY127" fmla="*/ 1318927 h 3177224"/>
                <a:gd name="connsiteX128" fmla="*/ 2161692 w 2701062"/>
                <a:gd name="connsiteY128" fmla="*/ 1407417 h 3177224"/>
                <a:gd name="connsiteX129" fmla="*/ 2123768 w 2701062"/>
                <a:gd name="connsiteY129" fmla="*/ 1398990 h 3177224"/>
                <a:gd name="connsiteX130" fmla="*/ 2111126 w 2701062"/>
                <a:gd name="connsiteY130" fmla="*/ 1348424 h 3177224"/>
                <a:gd name="connsiteX131" fmla="*/ 2203830 w 2701062"/>
                <a:gd name="connsiteY131" fmla="*/ 1251506 h 3177224"/>
                <a:gd name="connsiteX132" fmla="*/ 2178547 w 2701062"/>
                <a:gd name="connsiteY132" fmla="*/ 1112450 h 3177224"/>
                <a:gd name="connsiteX133" fmla="*/ 2090057 w 2701062"/>
                <a:gd name="connsiteY133" fmla="*/ 1019746 h 3177224"/>
                <a:gd name="connsiteX134" fmla="*/ 2056346 w 2701062"/>
                <a:gd name="connsiteY134" fmla="*/ 990249 h 3177224"/>
                <a:gd name="connsiteX135" fmla="*/ 2127981 w 2701062"/>
                <a:gd name="connsiteY135" fmla="*/ 977607 h 3177224"/>
                <a:gd name="connsiteX136" fmla="*/ 2127981 w 2701062"/>
                <a:gd name="connsiteY136" fmla="*/ 943897 h 3177224"/>
                <a:gd name="connsiteX137" fmla="*/ 2031063 w 2701062"/>
                <a:gd name="connsiteY137" fmla="*/ 817482 h 3177224"/>
                <a:gd name="connsiteX138" fmla="*/ 2022636 w 2701062"/>
                <a:gd name="connsiteY138" fmla="*/ 733205 h 3177224"/>
                <a:gd name="connsiteX139" fmla="*/ 2056346 w 2701062"/>
                <a:gd name="connsiteY139" fmla="*/ 669998 h 3177224"/>
                <a:gd name="connsiteX140" fmla="*/ 2039491 w 2701062"/>
                <a:gd name="connsiteY140" fmla="*/ 636287 h 3177224"/>
                <a:gd name="connsiteX141" fmla="*/ 1967856 w 2701062"/>
                <a:gd name="connsiteY141" fmla="*/ 615218 h 3177224"/>
                <a:gd name="connsiteX142" fmla="*/ 1929932 w 2701062"/>
                <a:gd name="connsiteY142" fmla="*/ 556225 h 3177224"/>
                <a:gd name="connsiteX143" fmla="*/ 1934146 w 2701062"/>
                <a:gd name="connsiteY143" fmla="*/ 497231 h 3177224"/>
                <a:gd name="connsiteX144" fmla="*/ 1727668 w 2701062"/>
                <a:gd name="connsiteY144" fmla="*/ 379244 h 3177224"/>
                <a:gd name="connsiteX145" fmla="*/ 1664461 w 2701062"/>
                <a:gd name="connsiteY145" fmla="*/ 320251 h 3177224"/>
                <a:gd name="connsiteX146" fmla="*/ 1563329 w 2701062"/>
                <a:gd name="connsiteY146" fmla="*/ 0 h 3177224"/>
                <a:gd name="connsiteX0" fmla="*/ 1356851 w 2701062"/>
                <a:gd name="connsiteY0" fmla="*/ 0 h 3564895"/>
                <a:gd name="connsiteX1" fmla="*/ 876475 w 2701062"/>
                <a:gd name="connsiteY1" fmla="*/ 640500 h 3564895"/>
                <a:gd name="connsiteX2" fmla="*/ 804840 w 2701062"/>
                <a:gd name="connsiteY2" fmla="*/ 712135 h 3564895"/>
                <a:gd name="connsiteX3" fmla="*/ 813268 w 2701062"/>
                <a:gd name="connsiteY3" fmla="*/ 842764 h 3564895"/>
                <a:gd name="connsiteX4" fmla="*/ 897545 w 2701062"/>
                <a:gd name="connsiteY4" fmla="*/ 1011317 h 3564895"/>
                <a:gd name="connsiteX5" fmla="*/ 943897 w 2701062"/>
                <a:gd name="connsiteY5" fmla="*/ 1095593 h 3564895"/>
                <a:gd name="connsiteX6" fmla="*/ 964966 w 2701062"/>
                <a:gd name="connsiteY6" fmla="*/ 1125090 h 3564895"/>
                <a:gd name="connsiteX7" fmla="*/ 994463 w 2701062"/>
                <a:gd name="connsiteY7" fmla="*/ 1099807 h 3564895"/>
                <a:gd name="connsiteX8" fmla="*/ 1011318 w 2701062"/>
                <a:gd name="connsiteY8" fmla="*/ 1045028 h 3564895"/>
                <a:gd name="connsiteX9" fmla="*/ 1057670 w 2701062"/>
                <a:gd name="connsiteY9" fmla="*/ 1036600 h 3564895"/>
                <a:gd name="connsiteX10" fmla="*/ 1053456 w 2701062"/>
                <a:gd name="connsiteY10" fmla="*/ 1099807 h 3564895"/>
                <a:gd name="connsiteX11" fmla="*/ 1040815 w 2701062"/>
                <a:gd name="connsiteY11" fmla="*/ 1133518 h 3564895"/>
                <a:gd name="connsiteX12" fmla="*/ 1049242 w 2701062"/>
                <a:gd name="connsiteY12" fmla="*/ 1158801 h 3564895"/>
                <a:gd name="connsiteX13" fmla="*/ 986035 w 2701062"/>
                <a:gd name="connsiteY13" fmla="*/ 1175656 h 3564895"/>
                <a:gd name="connsiteX14" fmla="*/ 1011318 w 2701062"/>
                <a:gd name="connsiteY14" fmla="*/ 1310499 h 3564895"/>
                <a:gd name="connsiteX15" fmla="*/ 1049242 w 2701062"/>
                <a:gd name="connsiteY15" fmla="*/ 1306285 h 3564895"/>
                <a:gd name="connsiteX16" fmla="*/ 1040815 w 2701062"/>
                <a:gd name="connsiteY16" fmla="*/ 1369492 h 3564895"/>
                <a:gd name="connsiteX17" fmla="*/ 981821 w 2701062"/>
                <a:gd name="connsiteY17" fmla="*/ 1403203 h 3564895"/>
                <a:gd name="connsiteX18" fmla="*/ 931255 w 2701062"/>
                <a:gd name="connsiteY18" fmla="*/ 1403203 h 3564895"/>
                <a:gd name="connsiteX19" fmla="*/ 897545 w 2701062"/>
                <a:gd name="connsiteY19" fmla="*/ 1466410 h 3564895"/>
                <a:gd name="connsiteX20" fmla="*/ 901758 w 2701062"/>
                <a:gd name="connsiteY20" fmla="*/ 1495907 h 3564895"/>
                <a:gd name="connsiteX21" fmla="*/ 948110 w 2701062"/>
                <a:gd name="connsiteY21" fmla="*/ 1504334 h 3564895"/>
                <a:gd name="connsiteX22" fmla="*/ 931255 w 2701062"/>
                <a:gd name="connsiteY22" fmla="*/ 1542259 h 3564895"/>
                <a:gd name="connsiteX23" fmla="*/ 952324 w 2701062"/>
                <a:gd name="connsiteY23" fmla="*/ 1550687 h 3564895"/>
                <a:gd name="connsiteX24" fmla="*/ 1015532 w 2701062"/>
                <a:gd name="connsiteY24" fmla="*/ 1554900 h 3564895"/>
                <a:gd name="connsiteX25" fmla="*/ 1040815 w 2701062"/>
                <a:gd name="connsiteY25" fmla="*/ 1592825 h 3564895"/>
                <a:gd name="connsiteX26" fmla="*/ 1036601 w 2701062"/>
                <a:gd name="connsiteY26" fmla="*/ 1630749 h 3564895"/>
                <a:gd name="connsiteX27" fmla="*/ 1104022 w 2701062"/>
                <a:gd name="connsiteY27" fmla="*/ 1731881 h 3564895"/>
                <a:gd name="connsiteX28" fmla="*/ 1053456 w 2701062"/>
                <a:gd name="connsiteY28" fmla="*/ 1757164 h 3564895"/>
                <a:gd name="connsiteX29" fmla="*/ 998676 w 2701062"/>
                <a:gd name="connsiteY29" fmla="*/ 1752950 h 3564895"/>
                <a:gd name="connsiteX30" fmla="*/ 964966 w 2701062"/>
                <a:gd name="connsiteY30" fmla="*/ 1833013 h 3564895"/>
                <a:gd name="connsiteX31" fmla="*/ 1015532 w 2701062"/>
                <a:gd name="connsiteY31" fmla="*/ 1875151 h 3564895"/>
                <a:gd name="connsiteX32" fmla="*/ 994463 w 2701062"/>
                <a:gd name="connsiteY32" fmla="*/ 1972069 h 3564895"/>
                <a:gd name="connsiteX33" fmla="*/ 1019746 w 2701062"/>
                <a:gd name="connsiteY33" fmla="*/ 2005780 h 3564895"/>
                <a:gd name="connsiteX34" fmla="*/ 990249 w 2701062"/>
                <a:gd name="connsiteY34" fmla="*/ 2039490 h 3564895"/>
                <a:gd name="connsiteX35" fmla="*/ 948110 w 2701062"/>
                <a:gd name="connsiteY35" fmla="*/ 2039490 h 3564895"/>
                <a:gd name="connsiteX36" fmla="*/ 939683 w 2701062"/>
                <a:gd name="connsiteY36" fmla="*/ 2077415 h 3564895"/>
                <a:gd name="connsiteX37" fmla="*/ 994463 w 2701062"/>
                <a:gd name="connsiteY37" fmla="*/ 2123767 h 3564895"/>
                <a:gd name="connsiteX38" fmla="*/ 981821 w 2701062"/>
                <a:gd name="connsiteY38" fmla="*/ 2304961 h 3564895"/>
                <a:gd name="connsiteX39" fmla="*/ 1015532 w 2701062"/>
                <a:gd name="connsiteY39" fmla="*/ 2385024 h 3564895"/>
                <a:gd name="connsiteX40" fmla="*/ 1049242 w 2701062"/>
                <a:gd name="connsiteY40" fmla="*/ 2385024 h 3564895"/>
                <a:gd name="connsiteX41" fmla="*/ 1129305 w 2701062"/>
                <a:gd name="connsiteY41" fmla="*/ 2452445 h 3564895"/>
                <a:gd name="connsiteX42" fmla="*/ 1125091 w 2701062"/>
                <a:gd name="connsiteY42" fmla="*/ 2583074 h 3564895"/>
                <a:gd name="connsiteX43" fmla="*/ 1087167 w 2701062"/>
                <a:gd name="connsiteY43" fmla="*/ 2646281 h 3564895"/>
                <a:gd name="connsiteX44" fmla="*/ 1015532 w 2701062"/>
                <a:gd name="connsiteY44" fmla="*/ 2713702 h 3564895"/>
                <a:gd name="connsiteX45" fmla="*/ 1007104 w 2701062"/>
                <a:gd name="connsiteY45" fmla="*/ 2802193 h 3564895"/>
                <a:gd name="connsiteX46" fmla="*/ 922828 w 2701062"/>
                <a:gd name="connsiteY46" fmla="*/ 2814834 h 3564895"/>
                <a:gd name="connsiteX47" fmla="*/ 868048 w 2701062"/>
                <a:gd name="connsiteY47" fmla="*/ 2819048 h 3564895"/>
                <a:gd name="connsiteX48" fmla="*/ 830123 w 2701062"/>
                <a:gd name="connsiteY48" fmla="*/ 2781123 h 3564895"/>
                <a:gd name="connsiteX49" fmla="*/ 577294 w 2701062"/>
                <a:gd name="connsiteY49" fmla="*/ 2802193 h 3564895"/>
                <a:gd name="connsiteX50" fmla="*/ 568866 w 2701062"/>
                <a:gd name="connsiteY50" fmla="*/ 2907538 h 3564895"/>
                <a:gd name="connsiteX51" fmla="*/ 514087 w 2701062"/>
                <a:gd name="connsiteY51" fmla="*/ 2941249 h 3564895"/>
                <a:gd name="connsiteX52" fmla="*/ 484590 w 2701062"/>
                <a:gd name="connsiteY52" fmla="*/ 2907538 h 3564895"/>
                <a:gd name="connsiteX53" fmla="*/ 446665 w 2701062"/>
                <a:gd name="connsiteY53" fmla="*/ 2932821 h 3564895"/>
                <a:gd name="connsiteX54" fmla="*/ 434024 w 2701062"/>
                <a:gd name="connsiteY54" fmla="*/ 3050808 h 3564895"/>
                <a:gd name="connsiteX55" fmla="*/ 328678 w 2701062"/>
                <a:gd name="connsiteY55" fmla="*/ 3177223 h 3564895"/>
                <a:gd name="connsiteX56" fmla="*/ 273899 w 2701062"/>
                <a:gd name="connsiteY56" fmla="*/ 3189864 h 3564895"/>
                <a:gd name="connsiteX57" fmla="*/ 252829 w 2701062"/>
                <a:gd name="connsiteY57" fmla="*/ 3240430 h 3564895"/>
                <a:gd name="connsiteX58" fmla="*/ 202263 w 2701062"/>
                <a:gd name="connsiteY58" fmla="*/ 3320493 h 3564895"/>
                <a:gd name="connsiteX59" fmla="*/ 164339 w 2701062"/>
                <a:gd name="connsiteY59" fmla="*/ 3349990 h 3564895"/>
                <a:gd name="connsiteX60" fmla="*/ 75849 w 2701062"/>
                <a:gd name="connsiteY60" fmla="*/ 3379487 h 3564895"/>
                <a:gd name="connsiteX61" fmla="*/ 12641 w 2701062"/>
                <a:gd name="connsiteY61" fmla="*/ 3413197 h 3564895"/>
                <a:gd name="connsiteX62" fmla="*/ 0 w 2701062"/>
                <a:gd name="connsiteY62" fmla="*/ 3493260 h 3564895"/>
                <a:gd name="connsiteX63" fmla="*/ 63207 w 2701062"/>
                <a:gd name="connsiteY63" fmla="*/ 3489046 h 3564895"/>
                <a:gd name="connsiteX64" fmla="*/ 96918 w 2701062"/>
                <a:gd name="connsiteY64" fmla="*/ 3442694 h 3564895"/>
                <a:gd name="connsiteX65" fmla="*/ 155911 w 2701062"/>
                <a:gd name="connsiteY65" fmla="*/ 3484832 h 3564895"/>
                <a:gd name="connsiteX66" fmla="*/ 164339 w 2701062"/>
                <a:gd name="connsiteY66" fmla="*/ 3564895 h 3564895"/>
                <a:gd name="connsiteX67" fmla="*/ 265471 w 2701062"/>
                <a:gd name="connsiteY67" fmla="*/ 3514329 h 3564895"/>
                <a:gd name="connsiteX68" fmla="*/ 252829 w 2701062"/>
                <a:gd name="connsiteY68" fmla="*/ 3455335 h 3564895"/>
                <a:gd name="connsiteX69" fmla="*/ 307609 w 2701062"/>
                <a:gd name="connsiteY69" fmla="*/ 3413197 h 3564895"/>
                <a:gd name="connsiteX70" fmla="*/ 345534 w 2701062"/>
                <a:gd name="connsiteY70" fmla="*/ 3375273 h 3564895"/>
                <a:gd name="connsiteX71" fmla="*/ 375030 w 2701062"/>
                <a:gd name="connsiteY71" fmla="*/ 3333134 h 3564895"/>
                <a:gd name="connsiteX72" fmla="*/ 497231 w 2701062"/>
                <a:gd name="connsiteY72" fmla="*/ 3341562 h 3564895"/>
                <a:gd name="connsiteX73" fmla="*/ 497231 w 2701062"/>
                <a:gd name="connsiteY73" fmla="*/ 3341562 h 3564895"/>
                <a:gd name="connsiteX74" fmla="*/ 568866 w 2701062"/>
                <a:gd name="connsiteY74" fmla="*/ 3375273 h 3564895"/>
                <a:gd name="connsiteX75" fmla="*/ 589935 w 2701062"/>
                <a:gd name="connsiteY75" fmla="*/ 3354204 h 3564895"/>
                <a:gd name="connsiteX76" fmla="*/ 648929 w 2701062"/>
                <a:gd name="connsiteY76" fmla="*/ 3383700 h 3564895"/>
                <a:gd name="connsiteX77" fmla="*/ 674212 w 2701062"/>
                <a:gd name="connsiteY77" fmla="*/ 3379487 h 3564895"/>
                <a:gd name="connsiteX78" fmla="*/ 720564 w 2701062"/>
                <a:gd name="connsiteY78" fmla="*/ 3442694 h 3564895"/>
                <a:gd name="connsiteX79" fmla="*/ 754275 w 2701062"/>
                <a:gd name="connsiteY79" fmla="*/ 3434266 h 3564895"/>
                <a:gd name="connsiteX80" fmla="*/ 804840 w 2701062"/>
                <a:gd name="connsiteY80" fmla="*/ 3358417 h 3564895"/>
                <a:gd name="connsiteX81" fmla="*/ 842765 w 2701062"/>
                <a:gd name="connsiteY81" fmla="*/ 3324707 h 3564895"/>
                <a:gd name="connsiteX82" fmla="*/ 830123 w 2701062"/>
                <a:gd name="connsiteY82" fmla="*/ 3269927 h 3564895"/>
                <a:gd name="connsiteX83" fmla="*/ 859620 w 2701062"/>
                <a:gd name="connsiteY83" fmla="*/ 3215147 h 3564895"/>
                <a:gd name="connsiteX84" fmla="*/ 918614 w 2701062"/>
                <a:gd name="connsiteY84" fmla="*/ 3164582 h 3564895"/>
                <a:gd name="connsiteX85" fmla="*/ 1011318 w 2701062"/>
                <a:gd name="connsiteY85" fmla="*/ 3147726 h 3564895"/>
                <a:gd name="connsiteX86" fmla="*/ 1078739 w 2701062"/>
                <a:gd name="connsiteY86" fmla="*/ 3135085 h 3564895"/>
                <a:gd name="connsiteX87" fmla="*/ 1163016 w 2701062"/>
                <a:gd name="connsiteY87" fmla="*/ 3206720 h 3564895"/>
                <a:gd name="connsiteX88" fmla="*/ 1222009 w 2701062"/>
                <a:gd name="connsiteY88" fmla="*/ 3240430 h 3564895"/>
                <a:gd name="connsiteX89" fmla="*/ 1226223 w 2701062"/>
                <a:gd name="connsiteY89" fmla="*/ 3194078 h 3564895"/>
                <a:gd name="connsiteX90" fmla="*/ 1243078 w 2701062"/>
                <a:gd name="connsiteY90" fmla="*/ 3185651 h 3564895"/>
                <a:gd name="connsiteX91" fmla="*/ 1344210 w 2701062"/>
                <a:gd name="connsiteY91" fmla="*/ 3206720 h 3564895"/>
                <a:gd name="connsiteX92" fmla="*/ 1398990 w 2701062"/>
                <a:gd name="connsiteY92" fmla="*/ 3215147 h 3564895"/>
                <a:gd name="connsiteX93" fmla="*/ 1436914 w 2701062"/>
                <a:gd name="connsiteY93" fmla="*/ 3143512 h 3564895"/>
                <a:gd name="connsiteX94" fmla="*/ 1495908 w 2701062"/>
                <a:gd name="connsiteY94" fmla="*/ 3135085 h 3564895"/>
                <a:gd name="connsiteX95" fmla="*/ 1597040 w 2701062"/>
                <a:gd name="connsiteY95" fmla="*/ 3189864 h 3564895"/>
                <a:gd name="connsiteX96" fmla="*/ 1656033 w 2701062"/>
                <a:gd name="connsiteY96" fmla="*/ 3210934 h 3564895"/>
                <a:gd name="connsiteX97" fmla="*/ 1719240 w 2701062"/>
                <a:gd name="connsiteY97" fmla="*/ 3151940 h 3564895"/>
                <a:gd name="connsiteX98" fmla="*/ 1715027 w 2701062"/>
                <a:gd name="connsiteY98" fmla="*/ 3080305 h 3564895"/>
                <a:gd name="connsiteX99" fmla="*/ 1833014 w 2701062"/>
                <a:gd name="connsiteY99" fmla="*/ 3130871 h 3564895"/>
                <a:gd name="connsiteX100" fmla="*/ 1862510 w 2701062"/>
                <a:gd name="connsiteY100" fmla="*/ 3080305 h 3564895"/>
                <a:gd name="connsiteX101" fmla="*/ 2018422 w 2701062"/>
                <a:gd name="connsiteY101" fmla="*/ 3059236 h 3564895"/>
                <a:gd name="connsiteX102" fmla="*/ 2186975 w 2701062"/>
                <a:gd name="connsiteY102" fmla="*/ 3118229 h 3564895"/>
                <a:gd name="connsiteX103" fmla="*/ 2254396 w 2701062"/>
                <a:gd name="connsiteY103" fmla="*/ 3033953 h 3564895"/>
                <a:gd name="connsiteX104" fmla="*/ 2338673 w 2701062"/>
                <a:gd name="connsiteY104" fmla="*/ 3033953 h 3564895"/>
                <a:gd name="connsiteX105" fmla="*/ 2380811 w 2701062"/>
                <a:gd name="connsiteY105" fmla="*/ 2979173 h 3564895"/>
                <a:gd name="connsiteX106" fmla="*/ 2456660 w 2701062"/>
                <a:gd name="connsiteY106" fmla="*/ 2983387 h 3564895"/>
                <a:gd name="connsiteX107" fmla="*/ 2469301 w 2701062"/>
                <a:gd name="connsiteY107" fmla="*/ 2903324 h 3564895"/>
                <a:gd name="connsiteX108" fmla="*/ 2595716 w 2701062"/>
                <a:gd name="connsiteY108" fmla="*/ 2835903 h 3564895"/>
                <a:gd name="connsiteX109" fmla="*/ 2595716 w 2701062"/>
                <a:gd name="connsiteY109" fmla="*/ 2734771 h 3564895"/>
                <a:gd name="connsiteX110" fmla="*/ 2616785 w 2701062"/>
                <a:gd name="connsiteY110" fmla="*/ 2696847 h 3564895"/>
                <a:gd name="connsiteX111" fmla="*/ 2591502 w 2701062"/>
                <a:gd name="connsiteY111" fmla="*/ 2671564 h 3564895"/>
                <a:gd name="connsiteX112" fmla="*/ 2515653 w 2701062"/>
                <a:gd name="connsiteY112" fmla="*/ 2671564 h 3564895"/>
                <a:gd name="connsiteX113" fmla="*/ 2460874 w 2701062"/>
                <a:gd name="connsiteY113" fmla="*/ 2684205 h 3564895"/>
                <a:gd name="connsiteX114" fmla="*/ 2435591 w 2701062"/>
                <a:gd name="connsiteY114" fmla="*/ 2696847 h 3564895"/>
                <a:gd name="connsiteX115" fmla="*/ 2397666 w 2701062"/>
                <a:gd name="connsiteY115" fmla="*/ 2646281 h 3564895"/>
                <a:gd name="connsiteX116" fmla="*/ 2347100 w 2701062"/>
                <a:gd name="connsiteY116" fmla="*/ 2620998 h 3564895"/>
                <a:gd name="connsiteX117" fmla="*/ 2410308 w 2701062"/>
                <a:gd name="connsiteY117" fmla="*/ 2583074 h 3564895"/>
                <a:gd name="connsiteX118" fmla="*/ 2439804 w 2701062"/>
                <a:gd name="connsiteY118" fmla="*/ 2435590 h 3564895"/>
                <a:gd name="connsiteX119" fmla="*/ 2481943 w 2701062"/>
                <a:gd name="connsiteY119" fmla="*/ 2469300 h 3564895"/>
                <a:gd name="connsiteX120" fmla="*/ 2532509 w 2701062"/>
                <a:gd name="connsiteY120" fmla="*/ 2397665 h 3564895"/>
                <a:gd name="connsiteX121" fmla="*/ 2545150 w 2701062"/>
                <a:gd name="connsiteY121" fmla="*/ 2359741 h 3564895"/>
                <a:gd name="connsiteX122" fmla="*/ 2633640 w 2701062"/>
                <a:gd name="connsiteY122" fmla="*/ 2245968 h 3564895"/>
                <a:gd name="connsiteX123" fmla="*/ 2650496 w 2701062"/>
                <a:gd name="connsiteY123" fmla="*/ 2153264 h 3564895"/>
                <a:gd name="connsiteX124" fmla="*/ 2696848 w 2701062"/>
                <a:gd name="connsiteY124" fmla="*/ 2077415 h 3564895"/>
                <a:gd name="connsiteX125" fmla="*/ 2701062 w 2701062"/>
                <a:gd name="connsiteY125" fmla="*/ 1870937 h 3564895"/>
                <a:gd name="connsiteX126" fmla="*/ 2503012 w 2701062"/>
                <a:gd name="connsiteY126" fmla="*/ 1736095 h 3564895"/>
                <a:gd name="connsiteX127" fmla="*/ 2237541 w 2701062"/>
                <a:gd name="connsiteY127" fmla="*/ 1706598 h 3564895"/>
                <a:gd name="connsiteX128" fmla="*/ 2161692 w 2701062"/>
                <a:gd name="connsiteY128" fmla="*/ 1795088 h 3564895"/>
                <a:gd name="connsiteX129" fmla="*/ 2123768 w 2701062"/>
                <a:gd name="connsiteY129" fmla="*/ 1786661 h 3564895"/>
                <a:gd name="connsiteX130" fmla="*/ 2111126 w 2701062"/>
                <a:gd name="connsiteY130" fmla="*/ 1736095 h 3564895"/>
                <a:gd name="connsiteX131" fmla="*/ 2203830 w 2701062"/>
                <a:gd name="connsiteY131" fmla="*/ 1639177 h 3564895"/>
                <a:gd name="connsiteX132" fmla="*/ 2178547 w 2701062"/>
                <a:gd name="connsiteY132" fmla="*/ 1500121 h 3564895"/>
                <a:gd name="connsiteX133" fmla="*/ 2090057 w 2701062"/>
                <a:gd name="connsiteY133" fmla="*/ 1407417 h 3564895"/>
                <a:gd name="connsiteX134" fmla="*/ 2056346 w 2701062"/>
                <a:gd name="connsiteY134" fmla="*/ 1377920 h 3564895"/>
                <a:gd name="connsiteX135" fmla="*/ 2127981 w 2701062"/>
                <a:gd name="connsiteY135" fmla="*/ 1365278 h 3564895"/>
                <a:gd name="connsiteX136" fmla="*/ 2127981 w 2701062"/>
                <a:gd name="connsiteY136" fmla="*/ 1331568 h 3564895"/>
                <a:gd name="connsiteX137" fmla="*/ 2031063 w 2701062"/>
                <a:gd name="connsiteY137" fmla="*/ 1205153 h 3564895"/>
                <a:gd name="connsiteX138" fmla="*/ 2022636 w 2701062"/>
                <a:gd name="connsiteY138" fmla="*/ 1120876 h 3564895"/>
                <a:gd name="connsiteX139" fmla="*/ 2056346 w 2701062"/>
                <a:gd name="connsiteY139" fmla="*/ 1057669 h 3564895"/>
                <a:gd name="connsiteX140" fmla="*/ 2039491 w 2701062"/>
                <a:gd name="connsiteY140" fmla="*/ 1023958 h 3564895"/>
                <a:gd name="connsiteX141" fmla="*/ 1967856 w 2701062"/>
                <a:gd name="connsiteY141" fmla="*/ 1002889 h 3564895"/>
                <a:gd name="connsiteX142" fmla="*/ 1929932 w 2701062"/>
                <a:gd name="connsiteY142" fmla="*/ 943896 h 3564895"/>
                <a:gd name="connsiteX143" fmla="*/ 1934146 w 2701062"/>
                <a:gd name="connsiteY143" fmla="*/ 884902 h 3564895"/>
                <a:gd name="connsiteX144" fmla="*/ 1727668 w 2701062"/>
                <a:gd name="connsiteY144" fmla="*/ 766915 h 3564895"/>
                <a:gd name="connsiteX145" fmla="*/ 1664461 w 2701062"/>
                <a:gd name="connsiteY145" fmla="*/ 707922 h 3564895"/>
                <a:gd name="connsiteX146" fmla="*/ 1563329 w 2701062"/>
                <a:gd name="connsiteY146" fmla="*/ 387671 h 3564895"/>
                <a:gd name="connsiteX0" fmla="*/ 1356851 w 2701062"/>
                <a:gd name="connsiteY0" fmla="*/ 8428 h 3573323"/>
                <a:gd name="connsiteX1" fmla="*/ 876475 w 2701062"/>
                <a:gd name="connsiteY1" fmla="*/ 648928 h 3573323"/>
                <a:gd name="connsiteX2" fmla="*/ 804840 w 2701062"/>
                <a:gd name="connsiteY2" fmla="*/ 720563 h 3573323"/>
                <a:gd name="connsiteX3" fmla="*/ 813268 w 2701062"/>
                <a:gd name="connsiteY3" fmla="*/ 851192 h 3573323"/>
                <a:gd name="connsiteX4" fmla="*/ 897545 w 2701062"/>
                <a:gd name="connsiteY4" fmla="*/ 1019745 h 3573323"/>
                <a:gd name="connsiteX5" fmla="*/ 943897 w 2701062"/>
                <a:gd name="connsiteY5" fmla="*/ 1104021 h 3573323"/>
                <a:gd name="connsiteX6" fmla="*/ 964966 w 2701062"/>
                <a:gd name="connsiteY6" fmla="*/ 1133518 h 3573323"/>
                <a:gd name="connsiteX7" fmla="*/ 994463 w 2701062"/>
                <a:gd name="connsiteY7" fmla="*/ 1108235 h 3573323"/>
                <a:gd name="connsiteX8" fmla="*/ 1011318 w 2701062"/>
                <a:gd name="connsiteY8" fmla="*/ 1053456 h 3573323"/>
                <a:gd name="connsiteX9" fmla="*/ 1057670 w 2701062"/>
                <a:gd name="connsiteY9" fmla="*/ 1045028 h 3573323"/>
                <a:gd name="connsiteX10" fmla="*/ 1053456 w 2701062"/>
                <a:gd name="connsiteY10" fmla="*/ 1108235 h 3573323"/>
                <a:gd name="connsiteX11" fmla="*/ 1040815 w 2701062"/>
                <a:gd name="connsiteY11" fmla="*/ 1141946 h 3573323"/>
                <a:gd name="connsiteX12" fmla="*/ 1049242 w 2701062"/>
                <a:gd name="connsiteY12" fmla="*/ 1167229 h 3573323"/>
                <a:gd name="connsiteX13" fmla="*/ 986035 w 2701062"/>
                <a:gd name="connsiteY13" fmla="*/ 1184084 h 3573323"/>
                <a:gd name="connsiteX14" fmla="*/ 1011318 w 2701062"/>
                <a:gd name="connsiteY14" fmla="*/ 1318927 h 3573323"/>
                <a:gd name="connsiteX15" fmla="*/ 1049242 w 2701062"/>
                <a:gd name="connsiteY15" fmla="*/ 1314713 h 3573323"/>
                <a:gd name="connsiteX16" fmla="*/ 1040815 w 2701062"/>
                <a:gd name="connsiteY16" fmla="*/ 1377920 h 3573323"/>
                <a:gd name="connsiteX17" fmla="*/ 981821 w 2701062"/>
                <a:gd name="connsiteY17" fmla="*/ 1411631 h 3573323"/>
                <a:gd name="connsiteX18" fmla="*/ 931255 w 2701062"/>
                <a:gd name="connsiteY18" fmla="*/ 1411631 h 3573323"/>
                <a:gd name="connsiteX19" fmla="*/ 897545 w 2701062"/>
                <a:gd name="connsiteY19" fmla="*/ 1474838 h 3573323"/>
                <a:gd name="connsiteX20" fmla="*/ 901758 w 2701062"/>
                <a:gd name="connsiteY20" fmla="*/ 1504335 h 3573323"/>
                <a:gd name="connsiteX21" fmla="*/ 948110 w 2701062"/>
                <a:gd name="connsiteY21" fmla="*/ 1512762 h 3573323"/>
                <a:gd name="connsiteX22" fmla="*/ 931255 w 2701062"/>
                <a:gd name="connsiteY22" fmla="*/ 1550687 h 3573323"/>
                <a:gd name="connsiteX23" fmla="*/ 952324 w 2701062"/>
                <a:gd name="connsiteY23" fmla="*/ 1559115 h 3573323"/>
                <a:gd name="connsiteX24" fmla="*/ 1015532 w 2701062"/>
                <a:gd name="connsiteY24" fmla="*/ 1563328 h 3573323"/>
                <a:gd name="connsiteX25" fmla="*/ 1040815 w 2701062"/>
                <a:gd name="connsiteY25" fmla="*/ 1601253 h 3573323"/>
                <a:gd name="connsiteX26" fmla="*/ 1036601 w 2701062"/>
                <a:gd name="connsiteY26" fmla="*/ 1639177 h 3573323"/>
                <a:gd name="connsiteX27" fmla="*/ 1104022 w 2701062"/>
                <a:gd name="connsiteY27" fmla="*/ 1740309 h 3573323"/>
                <a:gd name="connsiteX28" fmla="*/ 1053456 w 2701062"/>
                <a:gd name="connsiteY28" fmla="*/ 1765592 h 3573323"/>
                <a:gd name="connsiteX29" fmla="*/ 998676 w 2701062"/>
                <a:gd name="connsiteY29" fmla="*/ 1761378 h 3573323"/>
                <a:gd name="connsiteX30" fmla="*/ 964966 w 2701062"/>
                <a:gd name="connsiteY30" fmla="*/ 1841441 h 3573323"/>
                <a:gd name="connsiteX31" fmla="*/ 1015532 w 2701062"/>
                <a:gd name="connsiteY31" fmla="*/ 1883579 h 3573323"/>
                <a:gd name="connsiteX32" fmla="*/ 994463 w 2701062"/>
                <a:gd name="connsiteY32" fmla="*/ 1980497 h 3573323"/>
                <a:gd name="connsiteX33" fmla="*/ 1019746 w 2701062"/>
                <a:gd name="connsiteY33" fmla="*/ 2014208 h 3573323"/>
                <a:gd name="connsiteX34" fmla="*/ 990249 w 2701062"/>
                <a:gd name="connsiteY34" fmla="*/ 2047918 h 3573323"/>
                <a:gd name="connsiteX35" fmla="*/ 948110 w 2701062"/>
                <a:gd name="connsiteY35" fmla="*/ 2047918 h 3573323"/>
                <a:gd name="connsiteX36" fmla="*/ 939683 w 2701062"/>
                <a:gd name="connsiteY36" fmla="*/ 2085843 h 3573323"/>
                <a:gd name="connsiteX37" fmla="*/ 994463 w 2701062"/>
                <a:gd name="connsiteY37" fmla="*/ 2132195 h 3573323"/>
                <a:gd name="connsiteX38" fmla="*/ 981821 w 2701062"/>
                <a:gd name="connsiteY38" fmla="*/ 2313389 h 3573323"/>
                <a:gd name="connsiteX39" fmla="*/ 1015532 w 2701062"/>
                <a:gd name="connsiteY39" fmla="*/ 2393452 h 3573323"/>
                <a:gd name="connsiteX40" fmla="*/ 1049242 w 2701062"/>
                <a:gd name="connsiteY40" fmla="*/ 2393452 h 3573323"/>
                <a:gd name="connsiteX41" fmla="*/ 1129305 w 2701062"/>
                <a:gd name="connsiteY41" fmla="*/ 2460873 h 3573323"/>
                <a:gd name="connsiteX42" fmla="*/ 1125091 w 2701062"/>
                <a:gd name="connsiteY42" fmla="*/ 2591502 h 3573323"/>
                <a:gd name="connsiteX43" fmla="*/ 1087167 w 2701062"/>
                <a:gd name="connsiteY43" fmla="*/ 2654709 h 3573323"/>
                <a:gd name="connsiteX44" fmla="*/ 1015532 w 2701062"/>
                <a:gd name="connsiteY44" fmla="*/ 2722130 h 3573323"/>
                <a:gd name="connsiteX45" fmla="*/ 1007104 w 2701062"/>
                <a:gd name="connsiteY45" fmla="*/ 2810621 h 3573323"/>
                <a:gd name="connsiteX46" fmla="*/ 922828 w 2701062"/>
                <a:gd name="connsiteY46" fmla="*/ 2823262 h 3573323"/>
                <a:gd name="connsiteX47" fmla="*/ 868048 w 2701062"/>
                <a:gd name="connsiteY47" fmla="*/ 2827476 h 3573323"/>
                <a:gd name="connsiteX48" fmla="*/ 830123 w 2701062"/>
                <a:gd name="connsiteY48" fmla="*/ 2789551 h 3573323"/>
                <a:gd name="connsiteX49" fmla="*/ 577294 w 2701062"/>
                <a:gd name="connsiteY49" fmla="*/ 2810621 h 3573323"/>
                <a:gd name="connsiteX50" fmla="*/ 568866 w 2701062"/>
                <a:gd name="connsiteY50" fmla="*/ 2915966 h 3573323"/>
                <a:gd name="connsiteX51" fmla="*/ 514087 w 2701062"/>
                <a:gd name="connsiteY51" fmla="*/ 2949677 h 3573323"/>
                <a:gd name="connsiteX52" fmla="*/ 484590 w 2701062"/>
                <a:gd name="connsiteY52" fmla="*/ 2915966 h 3573323"/>
                <a:gd name="connsiteX53" fmla="*/ 446665 w 2701062"/>
                <a:gd name="connsiteY53" fmla="*/ 2941249 h 3573323"/>
                <a:gd name="connsiteX54" fmla="*/ 434024 w 2701062"/>
                <a:gd name="connsiteY54" fmla="*/ 3059236 h 3573323"/>
                <a:gd name="connsiteX55" fmla="*/ 328678 w 2701062"/>
                <a:gd name="connsiteY55" fmla="*/ 3185651 h 3573323"/>
                <a:gd name="connsiteX56" fmla="*/ 273899 w 2701062"/>
                <a:gd name="connsiteY56" fmla="*/ 3198292 h 3573323"/>
                <a:gd name="connsiteX57" fmla="*/ 252829 w 2701062"/>
                <a:gd name="connsiteY57" fmla="*/ 3248858 h 3573323"/>
                <a:gd name="connsiteX58" fmla="*/ 202263 w 2701062"/>
                <a:gd name="connsiteY58" fmla="*/ 3328921 h 3573323"/>
                <a:gd name="connsiteX59" fmla="*/ 164339 w 2701062"/>
                <a:gd name="connsiteY59" fmla="*/ 3358418 h 3573323"/>
                <a:gd name="connsiteX60" fmla="*/ 75849 w 2701062"/>
                <a:gd name="connsiteY60" fmla="*/ 3387915 h 3573323"/>
                <a:gd name="connsiteX61" fmla="*/ 12641 w 2701062"/>
                <a:gd name="connsiteY61" fmla="*/ 3421625 h 3573323"/>
                <a:gd name="connsiteX62" fmla="*/ 0 w 2701062"/>
                <a:gd name="connsiteY62" fmla="*/ 3501688 h 3573323"/>
                <a:gd name="connsiteX63" fmla="*/ 63207 w 2701062"/>
                <a:gd name="connsiteY63" fmla="*/ 3497474 h 3573323"/>
                <a:gd name="connsiteX64" fmla="*/ 96918 w 2701062"/>
                <a:gd name="connsiteY64" fmla="*/ 3451122 h 3573323"/>
                <a:gd name="connsiteX65" fmla="*/ 155911 w 2701062"/>
                <a:gd name="connsiteY65" fmla="*/ 3493260 h 3573323"/>
                <a:gd name="connsiteX66" fmla="*/ 164339 w 2701062"/>
                <a:gd name="connsiteY66" fmla="*/ 3573323 h 3573323"/>
                <a:gd name="connsiteX67" fmla="*/ 265471 w 2701062"/>
                <a:gd name="connsiteY67" fmla="*/ 3522757 h 3573323"/>
                <a:gd name="connsiteX68" fmla="*/ 252829 w 2701062"/>
                <a:gd name="connsiteY68" fmla="*/ 3463763 h 3573323"/>
                <a:gd name="connsiteX69" fmla="*/ 307609 w 2701062"/>
                <a:gd name="connsiteY69" fmla="*/ 3421625 h 3573323"/>
                <a:gd name="connsiteX70" fmla="*/ 345534 w 2701062"/>
                <a:gd name="connsiteY70" fmla="*/ 3383701 h 3573323"/>
                <a:gd name="connsiteX71" fmla="*/ 375030 w 2701062"/>
                <a:gd name="connsiteY71" fmla="*/ 3341562 h 3573323"/>
                <a:gd name="connsiteX72" fmla="*/ 497231 w 2701062"/>
                <a:gd name="connsiteY72" fmla="*/ 3349990 h 3573323"/>
                <a:gd name="connsiteX73" fmla="*/ 497231 w 2701062"/>
                <a:gd name="connsiteY73" fmla="*/ 3349990 h 3573323"/>
                <a:gd name="connsiteX74" fmla="*/ 568866 w 2701062"/>
                <a:gd name="connsiteY74" fmla="*/ 3383701 h 3573323"/>
                <a:gd name="connsiteX75" fmla="*/ 589935 w 2701062"/>
                <a:gd name="connsiteY75" fmla="*/ 3362632 h 3573323"/>
                <a:gd name="connsiteX76" fmla="*/ 648929 w 2701062"/>
                <a:gd name="connsiteY76" fmla="*/ 3392128 h 3573323"/>
                <a:gd name="connsiteX77" fmla="*/ 674212 w 2701062"/>
                <a:gd name="connsiteY77" fmla="*/ 3387915 h 3573323"/>
                <a:gd name="connsiteX78" fmla="*/ 720564 w 2701062"/>
                <a:gd name="connsiteY78" fmla="*/ 3451122 h 3573323"/>
                <a:gd name="connsiteX79" fmla="*/ 754275 w 2701062"/>
                <a:gd name="connsiteY79" fmla="*/ 3442694 h 3573323"/>
                <a:gd name="connsiteX80" fmla="*/ 804840 w 2701062"/>
                <a:gd name="connsiteY80" fmla="*/ 3366845 h 3573323"/>
                <a:gd name="connsiteX81" fmla="*/ 842765 w 2701062"/>
                <a:gd name="connsiteY81" fmla="*/ 3333135 h 3573323"/>
                <a:gd name="connsiteX82" fmla="*/ 830123 w 2701062"/>
                <a:gd name="connsiteY82" fmla="*/ 3278355 h 3573323"/>
                <a:gd name="connsiteX83" fmla="*/ 859620 w 2701062"/>
                <a:gd name="connsiteY83" fmla="*/ 3223575 h 3573323"/>
                <a:gd name="connsiteX84" fmla="*/ 918614 w 2701062"/>
                <a:gd name="connsiteY84" fmla="*/ 3173010 h 3573323"/>
                <a:gd name="connsiteX85" fmla="*/ 1011318 w 2701062"/>
                <a:gd name="connsiteY85" fmla="*/ 3156154 h 3573323"/>
                <a:gd name="connsiteX86" fmla="*/ 1078739 w 2701062"/>
                <a:gd name="connsiteY86" fmla="*/ 3143513 h 3573323"/>
                <a:gd name="connsiteX87" fmla="*/ 1163016 w 2701062"/>
                <a:gd name="connsiteY87" fmla="*/ 3215148 h 3573323"/>
                <a:gd name="connsiteX88" fmla="*/ 1222009 w 2701062"/>
                <a:gd name="connsiteY88" fmla="*/ 3248858 h 3573323"/>
                <a:gd name="connsiteX89" fmla="*/ 1226223 w 2701062"/>
                <a:gd name="connsiteY89" fmla="*/ 3202506 h 3573323"/>
                <a:gd name="connsiteX90" fmla="*/ 1243078 w 2701062"/>
                <a:gd name="connsiteY90" fmla="*/ 3194079 h 3573323"/>
                <a:gd name="connsiteX91" fmla="*/ 1344210 w 2701062"/>
                <a:gd name="connsiteY91" fmla="*/ 3215148 h 3573323"/>
                <a:gd name="connsiteX92" fmla="*/ 1398990 w 2701062"/>
                <a:gd name="connsiteY92" fmla="*/ 3223575 h 3573323"/>
                <a:gd name="connsiteX93" fmla="*/ 1436914 w 2701062"/>
                <a:gd name="connsiteY93" fmla="*/ 3151940 h 3573323"/>
                <a:gd name="connsiteX94" fmla="*/ 1495908 w 2701062"/>
                <a:gd name="connsiteY94" fmla="*/ 3143513 h 3573323"/>
                <a:gd name="connsiteX95" fmla="*/ 1597040 w 2701062"/>
                <a:gd name="connsiteY95" fmla="*/ 3198292 h 3573323"/>
                <a:gd name="connsiteX96" fmla="*/ 1656033 w 2701062"/>
                <a:gd name="connsiteY96" fmla="*/ 3219362 h 3573323"/>
                <a:gd name="connsiteX97" fmla="*/ 1719240 w 2701062"/>
                <a:gd name="connsiteY97" fmla="*/ 3160368 h 3573323"/>
                <a:gd name="connsiteX98" fmla="*/ 1715027 w 2701062"/>
                <a:gd name="connsiteY98" fmla="*/ 3088733 h 3573323"/>
                <a:gd name="connsiteX99" fmla="*/ 1833014 w 2701062"/>
                <a:gd name="connsiteY99" fmla="*/ 3139299 h 3573323"/>
                <a:gd name="connsiteX100" fmla="*/ 1862510 w 2701062"/>
                <a:gd name="connsiteY100" fmla="*/ 3088733 h 3573323"/>
                <a:gd name="connsiteX101" fmla="*/ 2018422 w 2701062"/>
                <a:gd name="connsiteY101" fmla="*/ 3067664 h 3573323"/>
                <a:gd name="connsiteX102" fmla="*/ 2186975 w 2701062"/>
                <a:gd name="connsiteY102" fmla="*/ 3126657 h 3573323"/>
                <a:gd name="connsiteX103" fmla="*/ 2254396 w 2701062"/>
                <a:gd name="connsiteY103" fmla="*/ 3042381 h 3573323"/>
                <a:gd name="connsiteX104" fmla="*/ 2338673 w 2701062"/>
                <a:gd name="connsiteY104" fmla="*/ 3042381 h 3573323"/>
                <a:gd name="connsiteX105" fmla="*/ 2380811 w 2701062"/>
                <a:gd name="connsiteY105" fmla="*/ 2987601 h 3573323"/>
                <a:gd name="connsiteX106" fmla="*/ 2456660 w 2701062"/>
                <a:gd name="connsiteY106" fmla="*/ 2991815 h 3573323"/>
                <a:gd name="connsiteX107" fmla="*/ 2469301 w 2701062"/>
                <a:gd name="connsiteY107" fmla="*/ 2911752 h 3573323"/>
                <a:gd name="connsiteX108" fmla="*/ 2595716 w 2701062"/>
                <a:gd name="connsiteY108" fmla="*/ 2844331 h 3573323"/>
                <a:gd name="connsiteX109" fmla="*/ 2595716 w 2701062"/>
                <a:gd name="connsiteY109" fmla="*/ 2743199 h 3573323"/>
                <a:gd name="connsiteX110" fmla="*/ 2616785 w 2701062"/>
                <a:gd name="connsiteY110" fmla="*/ 2705275 h 3573323"/>
                <a:gd name="connsiteX111" fmla="*/ 2591502 w 2701062"/>
                <a:gd name="connsiteY111" fmla="*/ 2679992 h 3573323"/>
                <a:gd name="connsiteX112" fmla="*/ 2515653 w 2701062"/>
                <a:gd name="connsiteY112" fmla="*/ 2679992 h 3573323"/>
                <a:gd name="connsiteX113" fmla="*/ 2460874 w 2701062"/>
                <a:gd name="connsiteY113" fmla="*/ 2692633 h 3573323"/>
                <a:gd name="connsiteX114" fmla="*/ 2435591 w 2701062"/>
                <a:gd name="connsiteY114" fmla="*/ 2705275 h 3573323"/>
                <a:gd name="connsiteX115" fmla="*/ 2397666 w 2701062"/>
                <a:gd name="connsiteY115" fmla="*/ 2654709 h 3573323"/>
                <a:gd name="connsiteX116" fmla="*/ 2347100 w 2701062"/>
                <a:gd name="connsiteY116" fmla="*/ 2629426 h 3573323"/>
                <a:gd name="connsiteX117" fmla="*/ 2410308 w 2701062"/>
                <a:gd name="connsiteY117" fmla="*/ 2591502 h 3573323"/>
                <a:gd name="connsiteX118" fmla="*/ 2439804 w 2701062"/>
                <a:gd name="connsiteY118" fmla="*/ 2444018 h 3573323"/>
                <a:gd name="connsiteX119" fmla="*/ 2481943 w 2701062"/>
                <a:gd name="connsiteY119" fmla="*/ 2477728 h 3573323"/>
                <a:gd name="connsiteX120" fmla="*/ 2532509 w 2701062"/>
                <a:gd name="connsiteY120" fmla="*/ 2406093 h 3573323"/>
                <a:gd name="connsiteX121" fmla="*/ 2545150 w 2701062"/>
                <a:gd name="connsiteY121" fmla="*/ 2368169 h 3573323"/>
                <a:gd name="connsiteX122" fmla="*/ 2633640 w 2701062"/>
                <a:gd name="connsiteY122" fmla="*/ 2254396 h 3573323"/>
                <a:gd name="connsiteX123" fmla="*/ 2650496 w 2701062"/>
                <a:gd name="connsiteY123" fmla="*/ 2161692 h 3573323"/>
                <a:gd name="connsiteX124" fmla="*/ 2696848 w 2701062"/>
                <a:gd name="connsiteY124" fmla="*/ 2085843 h 3573323"/>
                <a:gd name="connsiteX125" fmla="*/ 2701062 w 2701062"/>
                <a:gd name="connsiteY125" fmla="*/ 1879365 h 3573323"/>
                <a:gd name="connsiteX126" fmla="*/ 2503012 w 2701062"/>
                <a:gd name="connsiteY126" fmla="*/ 1744523 h 3573323"/>
                <a:gd name="connsiteX127" fmla="*/ 2237541 w 2701062"/>
                <a:gd name="connsiteY127" fmla="*/ 1715026 h 3573323"/>
                <a:gd name="connsiteX128" fmla="*/ 2161692 w 2701062"/>
                <a:gd name="connsiteY128" fmla="*/ 1803516 h 3573323"/>
                <a:gd name="connsiteX129" fmla="*/ 2123768 w 2701062"/>
                <a:gd name="connsiteY129" fmla="*/ 1795089 h 3573323"/>
                <a:gd name="connsiteX130" fmla="*/ 2111126 w 2701062"/>
                <a:gd name="connsiteY130" fmla="*/ 1744523 h 3573323"/>
                <a:gd name="connsiteX131" fmla="*/ 2203830 w 2701062"/>
                <a:gd name="connsiteY131" fmla="*/ 1647605 h 3573323"/>
                <a:gd name="connsiteX132" fmla="*/ 2178547 w 2701062"/>
                <a:gd name="connsiteY132" fmla="*/ 1508549 h 3573323"/>
                <a:gd name="connsiteX133" fmla="*/ 2090057 w 2701062"/>
                <a:gd name="connsiteY133" fmla="*/ 1415845 h 3573323"/>
                <a:gd name="connsiteX134" fmla="*/ 2056346 w 2701062"/>
                <a:gd name="connsiteY134" fmla="*/ 1386348 h 3573323"/>
                <a:gd name="connsiteX135" fmla="*/ 2127981 w 2701062"/>
                <a:gd name="connsiteY135" fmla="*/ 1373706 h 3573323"/>
                <a:gd name="connsiteX136" fmla="*/ 2127981 w 2701062"/>
                <a:gd name="connsiteY136" fmla="*/ 1339996 h 3573323"/>
                <a:gd name="connsiteX137" fmla="*/ 2031063 w 2701062"/>
                <a:gd name="connsiteY137" fmla="*/ 1213581 h 3573323"/>
                <a:gd name="connsiteX138" fmla="*/ 2022636 w 2701062"/>
                <a:gd name="connsiteY138" fmla="*/ 1129304 h 3573323"/>
                <a:gd name="connsiteX139" fmla="*/ 2056346 w 2701062"/>
                <a:gd name="connsiteY139" fmla="*/ 1066097 h 3573323"/>
                <a:gd name="connsiteX140" fmla="*/ 2039491 w 2701062"/>
                <a:gd name="connsiteY140" fmla="*/ 1032386 h 3573323"/>
                <a:gd name="connsiteX141" fmla="*/ 1967856 w 2701062"/>
                <a:gd name="connsiteY141" fmla="*/ 1011317 h 3573323"/>
                <a:gd name="connsiteX142" fmla="*/ 1929932 w 2701062"/>
                <a:gd name="connsiteY142" fmla="*/ 952324 h 3573323"/>
                <a:gd name="connsiteX143" fmla="*/ 1934146 w 2701062"/>
                <a:gd name="connsiteY143" fmla="*/ 893330 h 3573323"/>
                <a:gd name="connsiteX144" fmla="*/ 1727668 w 2701062"/>
                <a:gd name="connsiteY144" fmla="*/ 775343 h 3573323"/>
                <a:gd name="connsiteX145" fmla="*/ 1664461 w 2701062"/>
                <a:gd name="connsiteY145" fmla="*/ 716350 h 3573323"/>
                <a:gd name="connsiteX146" fmla="*/ 1356851 w 2701062"/>
                <a:gd name="connsiteY146" fmla="*/ 0 h 3573323"/>
                <a:gd name="connsiteX0" fmla="*/ 1356851 w 2701062"/>
                <a:gd name="connsiteY0" fmla="*/ 8428 h 3573323"/>
                <a:gd name="connsiteX1" fmla="*/ 876475 w 2701062"/>
                <a:gd name="connsiteY1" fmla="*/ 648928 h 3573323"/>
                <a:gd name="connsiteX2" fmla="*/ 804840 w 2701062"/>
                <a:gd name="connsiteY2" fmla="*/ 720563 h 3573323"/>
                <a:gd name="connsiteX3" fmla="*/ 813268 w 2701062"/>
                <a:gd name="connsiteY3" fmla="*/ 851192 h 3573323"/>
                <a:gd name="connsiteX4" fmla="*/ 897545 w 2701062"/>
                <a:gd name="connsiteY4" fmla="*/ 1019745 h 3573323"/>
                <a:gd name="connsiteX5" fmla="*/ 943897 w 2701062"/>
                <a:gd name="connsiteY5" fmla="*/ 1104021 h 3573323"/>
                <a:gd name="connsiteX6" fmla="*/ 964966 w 2701062"/>
                <a:gd name="connsiteY6" fmla="*/ 1133518 h 3573323"/>
                <a:gd name="connsiteX7" fmla="*/ 994463 w 2701062"/>
                <a:gd name="connsiteY7" fmla="*/ 1108235 h 3573323"/>
                <a:gd name="connsiteX8" fmla="*/ 1011318 w 2701062"/>
                <a:gd name="connsiteY8" fmla="*/ 1053456 h 3573323"/>
                <a:gd name="connsiteX9" fmla="*/ 1057670 w 2701062"/>
                <a:gd name="connsiteY9" fmla="*/ 1045028 h 3573323"/>
                <a:gd name="connsiteX10" fmla="*/ 1053456 w 2701062"/>
                <a:gd name="connsiteY10" fmla="*/ 1108235 h 3573323"/>
                <a:gd name="connsiteX11" fmla="*/ 1040815 w 2701062"/>
                <a:gd name="connsiteY11" fmla="*/ 1141946 h 3573323"/>
                <a:gd name="connsiteX12" fmla="*/ 1049242 w 2701062"/>
                <a:gd name="connsiteY12" fmla="*/ 1167229 h 3573323"/>
                <a:gd name="connsiteX13" fmla="*/ 986035 w 2701062"/>
                <a:gd name="connsiteY13" fmla="*/ 1184084 h 3573323"/>
                <a:gd name="connsiteX14" fmla="*/ 1011318 w 2701062"/>
                <a:gd name="connsiteY14" fmla="*/ 1318927 h 3573323"/>
                <a:gd name="connsiteX15" fmla="*/ 1049242 w 2701062"/>
                <a:gd name="connsiteY15" fmla="*/ 1314713 h 3573323"/>
                <a:gd name="connsiteX16" fmla="*/ 1040815 w 2701062"/>
                <a:gd name="connsiteY16" fmla="*/ 1377920 h 3573323"/>
                <a:gd name="connsiteX17" fmla="*/ 981821 w 2701062"/>
                <a:gd name="connsiteY17" fmla="*/ 1411631 h 3573323"/>
                <a:gd name="connsiteX18" fmla="*/ 931255 w 2701062"/>
                <a:gd name="connsiteY18" fmla="*/ 1411631 h 3573323"/>
                <a:gd name="connsiteX19" fmla="*/ 897545 w 2701062"/>
                <a:gd name="connsiteY19" fmla="*/ 1474838 h 3573323"/>
                <a:gd name="connsiteX20" fmla="*/ 901758 w 2701062"/>
                <a:gd name="connsiteY20" fmla="*/ 1504335 h 3573323"/>
                <a:gd name="connsiteX21" fmla="*/ 948110 w 2701062"/>
                <a:gd name="connsiteY21" fmla="*/ 1512762 h 3573323"/>
                <a:gd name="connsiteX22" fmla="*/ 931255 w 2701062"/>
                <a:gd name="connsiteY22" fmla="*/ 1550687 h 3573323"/>
                <a:gd name="connsiteX23" fmla="*/ 952324 w 2701062"/>
                <a:gd name="connsiteY23" fmla="*/ 1559115 h 3573323"/>
                <a:gd name="connsiteX24" fmla="*/ 1015532 w 2701062"/>
                <a:gd name="connsiteY24" fmla="*/ 1563328 h 3573323"/>
                <a:gd name="connsiteX25" fmla="*/ 1040815 w 2701062"/>
                <a:gd name="connsiteY25" fmla="*/ 1601253 h 3573323"/>
                <a:gd name="connsiteX26" fmla="*/ 1036601 w 2701062"/>
                <a:gd name="connsiteY26" fmla="*/ 1639177 h 3573323"/>
                <a:gd name="connsiteX27" fmla="*/ 1104022 w 2701062"/>
                <a:gd name="connsiteY27" fmla="*/ 1740309 h 3573323"/>
                <a:gd name="connsiteX28" fmla="*/ 1053456 w 2701062"/>
                <a:gd name="connsiteY28" fmla="*/ 1765592 h 3573323"/>
                <a:gd name="connsiteX29" fmla="*/ 998676 w 2701062"/>
                <a:gd name="connsiteY29" fmla="*/ 1761378 h 3573323"/>
                <a:gd name="connsiteX30" fmla="*/ 964966 w 2701062"/>
                <a:gd name="connsiteY30" fmla="*/ 1841441 h 3573323"/>
                <a:gd name="connsiteX31" fmla="*/ 1015532 w 2701062"/>
                <a:gd name="connsiteY31" fmla="*/ 1883579 h 3573323"/>
                <a:gd name="connsiteX32" fmla="*/ 994463 w 2701062"/>
                <a:gd name="connsiteY32" fmla="*/ 1980497 h 3573323"/>
                <a:gd name="connsiteX33" fmla="*/ 1019746 w 2701062"/>
                <a:gd name="connsiteY33" fmla="*/ 2014208 h 3573323"/>
                <a:gd name="connsiteX34" fmla="*/ 990249 w 2701062"/>
                <a:gd name="connsiteY34" fmla="*/ 2047918 h 3573323"/>
                <a:gd name="connsiteX35" fmla="*/ 948110 w 2701062"/>
                <a:gd name="connsiteY35" fmla="*/ 2047918 h 3573323"/>
                <a:gd name="connsiteX36" fmla="*/ 939683 w 2701062"/>
                <a:gd name="connsiteY36" fmla="*/ 2085843 h 3573323"/>
                <a:gd name="connsiteX37" fmla="*/ 994463 w 2701062"/>
                <a:gd name="connsiteY37" fmla="*/ 2132195 h 3573323"/>
                <a:gd name="connsiteX38" fmla="*/ 981821 w 2701062"/>
                <a:gd name="connsiteY38" fmla="*/ 2313389 h 3573323"/>
                <a:gd name="connsiteX39" fmla="*/ 1015532 w 2701062"/>
                <a:gd name="connsiteY39" fmla="*/ 2393452 h 3573323"/>
                <a:gd name="connsiteX40" fmla="*/ 1049242 w 2701062"/>
                <a:gd name="connsiteY40" fmla="*/ 2393452 h 3573323"/>
                <a:gd name="connsiteX41" fmla="*/ 1129305 w 2701062"/>
                <a:gd name="connsiteY41" fmla="*/ 2460873 h 3573323"/>
                <a:gd name="connsiteX42" fmla="*/ 1125091 w 2701062"/>
                <a:gd name="connsiteY42" fmla="*/ 2591502 h 3573323"/>
                <a:gd name="connsiteX43" fmla="*/ 1087167 w 2701062"/>
                <a:gd name="connsiteY43" fmla="*/ 2654709 h 3573323"/>
                <a:gd name="connsiteX44" fmla="*/ 1015532 w 2701062"/>
                <a:gd name="connsiteY44" fmla="*/ 2722130 h 3573323"/>
                <a:gd name="connsiteX45" fmla="*/ 1007104 w 2701062"/>
                <a:gd name="connsiteY45" fmla="*/ 2810621 h 3573323"/>
                <a:gd name="connsiteX46" fmla="*/ 922828 w 2701062"/>
                <a:gd name="connsiteY46" fmla="*/ 2823262 h 3573323"/>
                <a:gd name="connsiteX47" fmla="*/ 868048 w 2701062"/>
                <a:gd name="connsiteY47" fmla="*/ 2827476 h 3573323"/>
                <a:gd name="connsiteX48" fmla="*/ 830123 w 2701062"/>
                <a:gd name="connsiteY48" fmla="*/ 2789551 h 3573323"/>
                <a:gd name="connsiteX49" fmla="*/ 577294 w 2701062"/>
                <a:gd name="connsiteY49" fmla="*/ 2810621 h 3573323"/>
                <a:gd name="connsiteX50" fmla="*/ 568866 w 2701062"/>
                <a:gd name="connsiteY50" fmla="*/ 2915966 h 3573323"/>
                <a:gd name="connsiteX51" fmla="*/ 514087 w 2701062"/>
                <a:gd name="connsiteY51" fmla="*/ 2949677 h 3573323"/>
                <a:gd name="connsiteX52" fmla="*/ 484590 w 2701062"/>
                <a:gd name="connsiteY52" fmla="*/ 2915966 h 3573323"/>
                <a:gd name="connsiteX53" fmla="*/ 446665 w 2701062"/>
                <a:gd name="connsiteY53" fmla="*/ 2941249 h 3573323"/>
                <a:gd name="connsiteX54" fmla="*/ 434024 w 2701062"/>
                <a:gd name="connsiteY54" fmla="*/ 3059236 h 3573323"/>
                <a:gd name="connsiteX55" fmla="*/ 328678 w 2701062"/>
                <a:gd name="connsiteY55" fmla="*/ 3185651 h 3573323"/>
                <a:gd name="connsiteX56" fmla="*/ 273899 w 2701062"/>
                <a:gd name="connsiteY56" fmla="*/ 3198292 h 3573323"/>
                <a:gd name="connsiteX57" fmla="*/ 252829 w 2701062"/>
                <a:gd name="connsiteY57" fmla="*/ 3248858 h 3573323"/>
                <a:gd name="connsiteX58" fmla="*/ 202263 w 2701062"/>
                <a:gd name="connsiteY58" fmla="*/ 3328921 h 3573323"/>
                <a:gd name="connsiteX59" fmla="*/ 164339 w 2701062"/>
                <a:gd name="connsiteY59" fmla="*/ 3358418 h 3573323"/>
                <a:gd name="connsiteX60" fmla="*/ 75849 w 2701062"/>
                <a:gd name="connsiteY60" fmla="*/ 3387915 h 3573323"/>
                <a:gd name="connsiteX61" fmla="*/ 12641 w 2701062"/>
                <a:gd name="connsiteY61" fmla="*/ 3421625 h 3573323"/>
                <a:gd name="connsiteX62" fmla="*/ 0 w 2701062"/>
                <a:gd name="connsiteY62" fmla="*/ 3501688 h 3573323"/>
                <a:gd name="connsiteX63" fmla="*/ 63207 w 2701062"/>
                <a:gd name="connsiteY63" fmla="*/ 3497474 h 3573323"/>
                <a:gd name="connsiteX64" fmla="*/ 96918 w 2701062"/>
                <a:gd name="connsiteY64" fmla="*/ 3451122 h 3573323"/>
                <a:gd name="connsiteX65" fmla="*/ 155911 w 2701062"/>
                <a:gd name="connsiteY65" fmla="*/ 3493260 h 3573323"/>
                <a:gd name="connsiteX66" fmla="*/ 164339 w 2701062"/>
                <a:gd name="connsiteY66" fmla="*/ 3573323 h 3573323"/>
                <a:gd name="connsiteX67" fmla="*/ 265471 w 2701062"/>
                <a:gd name="connsiteY67" fmla="*/ 3522757 h 3573323"/>
                <a:gd name="connsiteX68" fmla="*/ 252829 w 2701062"/>
                <a:gd name="connsiteY68" fmla="*/ 3463763 h 3573323"/>
                <a:gd name="connsiteX69" fmla="*/ 307609 w 2701062"/>
                <a:gd name="connsiteY69" fmla="*/ 3421625 h 3573323"/>
                <a:gd name="connsiteX70" fmla="*/ 345534 w 2701062"/>
                <a:gd name="connsiteY70" fmla="*/ 3383701 h 3573323"/>
                <a:gd name="connsiteX71" fmla="*/ 375030 w 2701062"/>
                <a:gd name="connsiteY71" fmla="*/ 3341562 h 3573323"/>
                <a:gd name="connsiteX72" fmla="*/ 497231 w 2701062"/>
                <a:gd name="connsiteY72" fmla="*/ 3349990 h 3573323"/>
                <a:gd name="connsiteX73" fmla="*/ 497231 w 2701062"/>
                <a:gd name="connsiteY73" fmla="*/ 3349990 h 3573323"/>
                <a:gd name="connsiteX74" fmla="*/ 568866 w 2701062"/>
                <a:gd name="connsiteY74" fmla="*/ 3383701 h 3573323"/>
                <a:gd name="connsiteX75" fmla="*/ 589935 w 2701062"/>
                <a:gd name="connsiteY75" fmla="*/ 3362632 h 3573323"/>
                <a:gd name="connsiteX76" fmla="*/ 648929 w 2701062"/>
                <a:gd name="connsiteY76" fmla="*/ 3392128 h 3573323"/>
                <a:gd name="connsiteX77" fmla="*/ 674212 w 2701062"/>
                <a:gd name="connsiteY77" fmla="*/ 3387915 h 3573323"/>
                <a:gd name="connsiteX78" fmla="*/ 720564 w 2701062"/>
                <a:gd name="connsiteY78" fmla="*/ 3451122 h 3573323"/>
                <a:gd name="connsiteX79" fmla="*/ 754275 w 2701062"/>
                <a:gd name="connsiteY79" fmla="*/ 3442694 h 3573323"/>
                <a:gd name="connsiteX80" fmla="*/ 804840 w 2701062"/>
                <a:gd name="connsiteY80" fmla="*/ 3366845 h 3573323"/>
                <a:gd name="connsiteX81" fmla="*/ 842765 w 2701062"/>
                <a:gd name="connsiteY81" fmla="*/ 3333135 h 3573323"/>
                <a:gd name="connsiteX82" fmla="*/ 830123 w 2701062"/>
                <a:gd name="connsiteY82" fmla="*/ 3278355 h 3573323"/>
                <a:gd name="connsiteX83" fmla="*/ 859620 w 2701062"/>
                <a:gd name="connsiteY83" fmla="*/ 3223575 h 3573323"/>
                <a:gd name="connsiteX84" fmla="*/ 918614 w 2701062"/>
                <a:gd name="connsiteY84" fmla="*/ 3173010 h 3573323"/>
                <a:gd name="connsiteX85" fmla="*/ 1011318 w 2701062"/>
                <a:gd name="connsiteY85" fmla="*/ 3156154 h 3573323"/>
                <a:gd name="connsiteX86" fmla="*/ 1078739 w 2701062"/>
                <a:gd name="connsiteY86" fmla="*/ 3143513 h 3573323"/>
                <a:gd name="connsiteX87" fmla="*/ 1163016 w 2701062"/>
                <a:gd name="connsiteY87" fmla="*/ 3215148 h 3573323"/>
                <a:gd name="connsiteX88" fmla="*/ 1222009 w 2701062"/>
                <a:gd name="connsiteY88" fmla="*/ 3248858 h 3573323"/>
                <a:gd name="connsiteX89" fmla="*/ 1226223 w 2701062"/>
                <a:gd name="connsiteY89" fmla="*/ 3202506 h 3573323"/>
                <a:gd name="connsiteX90" fmla="*/ 1243078 w 2701062"/>
                <a:gd name="connsiteY90" fmla="*/ 3194079 h 3573323"/>
                <a:gd name="connsiteX91" fmla="*/ 1344210 w 2701062"/>
                <a:gd name="connsiteY91" fmla="*/ 3215148 h 3573323"/>
                <a:gd name="connsiteX92" fmla="*/ 1398990 w 2701062"/>
                <a:gd name="connsiteY92" fmla="*/ 3223575 h 3573323"/>
                <a:gd name="connsiteX93" fmla="*/ 1436914 w 2701062"/>
                <a:gd name="connsiteY93" fmla="*/ 3151940 h 3573323"/>
                <a:gd name="connsiteX94" fmla="*/ 1495908 w 2701062"/>
                <a:gd name="connsiteY94" fmla="*/ 3143513 h 3573323"/>
                <a:gd name="connsiteX95" fmla="*/ 1597040 w 2701062"/>
                <a:gd name="connsiteY95" fmla="*/ 3198292 h 3573323"/>
                <a:gd name="connsiteX96" fmla="*/ 1656033 w 2701062"/>
                <a:gd name="connsiteY96" fmla="*/ 3219362 h 3573323"/>
                <a:gd name="connsiteX97" fmla="*/ 1719240 w 2701062"/>
                <a:gd name="connsiteY97" fmla="*/ 3160368 h 3573323"/>
                <a:gd name="connsiteX98" fmla="*/ 1715027 w 2701062"/>
                <a:gd name="connsiteY98" fmla="*/ 3088733 h 3573323"/>
                <a:gd name="connsiteX99" fmla="*/ 1833014 w 2701062"/>
                <a:gd name="connsiteY99" fmla="*/ 3139299 h 3573323"/>
                <a:gd name="connsiteX100" fmla="*/ 1862510 w 2701062"/>
                <a:gd name="connsiteY100" fmla="*/ 3088733 h 3573323"/>
                <a:gd name="connsiteX101" fmla="*/ 2018422 w 2701062"/>
                <a:gd name="connsiteY101" fmla="*/ 3067664 h 3573323"/>
                <a:gd name="connsiteX102" fmla="*/ 2186975 w 2701062"/>
                <a:gd name="connsiteY102" fmla="*/ 3126657 h 3573323"/>
                <a:gd name="connsiteX103" fmla="*/ 2254396 w 2701062"/>
                <a:gd name="connsiteY103" fmla="*/ 3042381 h 3573323"/>
                <a:gd name="connsiteX104" fmla="*/ 2338673 w 2701062"/>
                <a:gd name="connsiteY104" fmla="*/ 3042381 h 3573323"/>
                <a:gd name="connsiteX105" fmla="*/ 2380811 w 2701062"/>
                <a:gd name="connsiteY105" fmla="*/ 2987601 h 3573323"/>
                <a:gd name="connsiteX106" fmla="*/ 2456660 w 2701062"/>
                <a:gd name="connsiteY106" fmla="*/ 2991815 h 3573323"/>
                <a:gd name="connsiteX107" fmla="*/ 2469301 w 2701062"/>
                <a:gd name="connsiteY107" fmla="*/ 2911752 h 3573323"/>
                <a:gd name="connsiteX108" fmla="*/ 2595716 w 2701062"/>
                <a:gd name="connsiteY108" fmla="*/ 2844331 h 3573323"/>
                <a:gd name="connsiteX109" fmla="*/ 2595716 w 2701062"/>
                <a:gd name="connsiteY109" fmla="*/ 2743199 h 3573323"/>
                <a:gd name="connsiteX110" fmla="*/ 2616785 w 2701062"/>
                <a:gd name="connsiteY110" fmla="*/ 2705275 h 3573323"/>
                <a:gd name="connsiteX111" fmla="*/ 2591502 w 2701062"/>
                <a:gd name="connsiteY111" fmla="*/ 2679992 h 3573323"/>
                <a:gd name="connsiteX112" fmla="*/ 2515653 w 2701062"/>
                <a:gd name="connsiteY112" fmla="*/ 2679992 h 3573323"/>
                <a:gd name="connsiteX113" fmla="*/ 2460874 w 2701062"/>
                <a:gd name="connsiteY113" fmla="*/ 2692633 h 3573323"/>
                <a:gd name="connsiteX114" fmla="*/ 2435591 w 2701062"/>
                <a:gd name="connsiteY114" fmla="*/ 2705275 h 3573323"/>
                <a:gd name="connsiteX115" fmla="*/ 2397666 w 2701062"/>
                <a:gd name="connsiteY115" fmla="*/ 2654709 h 3573323"/>
                <a:gd name="connsiteX116" fmla="*/ 2347100 w 2701062"/>
                <a:gd name="connsiteY116" fmla="*/ 2629426 h 3573323"/>
                <a:gd name="connsiteX117" fmla="*/ 2410308 w 2701062"/>
                <a:gd name="connsiteY117" fmla="*/ 2591502 h 3573323"/>
                <a:gd name="connsiteX118" fmla="*/ 2439804 w 2701062"/>
                <a:gd name="connsiteY118" fmla="*/ 2444018 h 3573323"/>
                <a:gd name="connsiteX119" fmla="*/ 2481943 w 2701062"/>
                <a:gd name="connsiteY119" fmla="*/ 2477728 h 3573323"/>
                <a:gd name="connsiteX120" fmla="*/ 2532509 w 2701062"/>
                <a:gd name="connsiteY120" fmla="*/ 2406093 h 3573323"/>
                <a:gd name="connsiteX121" fmla="*/ 2545150 w 2701062"/>
                <a:gd name="connsiteY121" fmla="*/ 2368169 h 3573323"/>
                <a:gd name="connsiteX122" fmla="*/ 2633640 w 2701062"/>
                <a:gd name="connsiteY122" fmla="*/ 2254396 h 3573323"/>
                <a:gd name="connsiteX123" fmla="*/ 2650496 w 2701062"/>
                <a:gd name="connsiteY123" fmla="*/ 2161692 h 3573323"/>
                <a:gd name="connsiteX124" fmla="*/ 2696848 w 2701062"/>
                <a:gd name="connsiteY124" fmla="*/ 2085843 h 3573323"/>
                <a:gd name="connsiteX125" fmla="*/ 2701062 w 2701062"/>
                <a:gd name="connsiteY125" fmla="*/ 1879365 h 3573323"/>
                <a:gd name="connsiteX126" fmla="*/ 2503012 w 2701062"/>
                <a:gd name="connsiteY126" fmla="*/ 1744523 h 3573323"/>
                <a:gd name="connsiteX127" fmla="*/ 2237541 w 2701062"/>
                <a:gd name="connsiteY127" fmla="*/ 1715026 h 3573323"/>
                <a:gd name="connsiteX128" fmla="*/ 2161692 w 2701062"/>
                <a:gd name="connsiteY128" fmla="*/ 1803516 h 3573323"/>
                <a:gd name="connsiteX129" fmla="*/ 2123768 w 2701062"/>
                <a:gd name="connsiteY129" fmla="*/ 1795089 h 3573323"/>
                <a:gd name="connsiteX130" fmla="*/ 2111126 w 2701062"/>
                <a:gd name="connsiteY130" fmla="*/ 1744523 h 3573323"/>
                <a:gd name="connsiteX131" fmla="*/ 2203830 w 2701062"/>
                <a:gd name="connsiteY131" fmla="*/ 1647605 h 3573323"/>
                <a:gd name="connsiteX132" fmla="*/ 2178547 w 2701062"/>
                <a:gd name="connsiteY132" fmla="*/ 1508549 h 3573323"/>
                <a:gd name="connsiteX133" fmla="*/ 2090057 w 2701062"/>
                <a:gd name="connsiteY133" fmla="*/ 1415845 h 3573323"/>
                <a:gd name="connsiteX134" fmla="*/ 2056346 w 2701062"/>
                <a:gd name="connsiteY134" fmla="*/ 1386348 h 3573323"/>
                <a:gd name="connsiteX135" fmla="*/ 2127981 w 2701062"/>
                <a:gd name="connsiteY135" fmla="*/ 1373706 h 3573323"/>
                <a:gd name="connsiteX136" fmla="*/ 2127981 w 2701062"/>
                <a:gd name="connsiteY136" fmla="*/ 1339996 h 3573323"/>
                <a:gd name="connsiteX137" fmla="*/ 2031063 w 2701062"/>
                <a:gd name="connsiteY137" fmla="*/ 1213581 h 3573323"/>
                <a:gd name="connsiteX138" fmla="*/ 2022636 w 2701062"/>
                <a:gd name="connsiteY138" fmla="*/ 1129304 h 3573323"/>
                <a:gd name="connsiteX139" fmla="*/ 2056346 w 2701062"/>
                <a:gd name="connsiteY139" fmla="*/ 1066097 h 3573323"/>
                <a:gd name="connsiteX140" fmla="*/ 2039491 w 2701062"/>
                <a:gd name="connsiteY140" fmla="*/ 1032386 h 3573323"/>
                <a:gd name="connsiteX141" fmla="*/ 1967856 w 2701062"/>
                <a:gd name="connsiteY141" fmla="*/ 1011317 h 3573323"/>
                <a:gd name="connsiteX142" fmla="*/ 1929932 w 2701062"/>
                <a:gd name="connsiteY142" fmla="*/ 952324 h 3573323"/>
                <a:gd name="connsiteX143" fmla="*/ 1934146 w 2701062"/>
                <a:gd name="connsiteY143" fmla="*/ 893330 h 3573323"/>
                <a:gd name="connsiteX144" fmla="*/ 1727668 w 2701062"/>
                <a:gd name="connsiteY144" fmla="*/ 775343 h 3573323"/>
                <a:gd name="connsiteX145" fmla="*/ 1664461 w 2701062"/>
                <a:gd name="connsiteY145" fmla="*/ 716350 h 3573323"/>
                <a:gd name="connsiteX146" fmla="*/ 1500122 w 2701062"/>
                <a:gd name="connsiteY146" fmla="*/ 307610 h 3573323"/>
                <a:gd name="connsiteX147" fmla="*/ 1356851 w 2701062"/>
                <a:gd name="connsiteY147" fmla="*/ 0 h 3573323"/>
                <a:gd name="connsiteX0" fmla="*/ 1356851 w 2701062"/>
                <a:gd name="connsiteY0" fmla="*/ 8428 h 3573323"/>
                <a:gd name="connsiteX1" fmla="*/ 876475 w 2701062"/>
                <a:gd name="connsiteY1" fmla="*/ 648928 h 3573323"/>
                <a:gd name="connsiteX2" fmla="*/ 804840 w 2701062"/>
                <a:gd name="connsiteY2" fmla="*/ 720563 h 3573323"/>
                <a:gd name="connsiteX3" fmla="*/ 813268 w 2701062"/>
                <a:gd name="connsiteY3" fmla="*/ 851192 h 3573323"/>
                <a:gd name="connsiteX4" fmla="*/ 897545 w 2701062"/>
                <a:gd name="connsiteY4" fmla="*/ 1019745 h 3573323"/>
                <a:gd name="connsiteX5" fmla="*/ 943897 w 2701062"/>
                <a:gd name="connsiteY5" fmla="*/ 1104021 h 3573323"/>
                <a:gd name="connsiteX6" fmla="*/ 964966 w 2701062"/>
                <a:gd name="connsiteY6" fmla="*/ 1133518 h 3573323"/>
                <a:gd name="connsiteX7" fmla="*/ 994463 w 2701062"/>
                <a:gd name="connsiteY7" fmla="*/ 1108235 h 3573323"/>
                <a:gd name="connsiteX8" fmla="*/ 1011318 w 2701062"/>
                <a:gd name="connsiteY8" fmla="*/ 1053456 h 3573323"/>
                <a:gd name="connsiteX9" fmla="*/ 1057670 w 2701062"/>
                <a:gd name="connsiteY9" fmla="*/ 1045028 h 3573323"/>
                <a:gd name="connsiteX10" fmla="*/ 1053456 w 2701062"/>
                <a:gd name="connsiteY10" fmla="*/ 1108235 h 3573323"/>
                <a:gd name="connsiteX11" fmla="*/ 1040815 w 2701062"/>
                <a:gd name="connsiteY11" fmla="*/ 1141946 h 3573323"/>
                <a:gd name="connsiteX12" fmla="*/ 1049242 w 2701062"/>
                <a:gd name="connsiteY12" fmla="*/ 1167229 h 3573323"/>
                <a:gd name="connsiteX13" fmla="*/ 986035 w 2701062"/>
                <a:gd name="connsiteY13" fmla="*/ 1184084 h 3573323"/>
                <a:gd name="connsiteX14" fmla="*/ 1011318 w 2701062"/>
                <a:gd name="connsiteY14" fmla="*/ 1318927 h 3573323"/>
                <a:gd name="connsiteX15" fmla="*/ 1049242 w 2701062"/>
                <a:gd name="connsiteY15" fmla="*/ 1314713 h 3573323"/>
                <a:gd name="connsiteX16" fmla="*/ 1040815 w 2701062"/>
                <a:gd name="connsiteY16" fmla="*/ 1377920 h 3573323"/>
                <a:gd name="connsiteX17" fmla="*/ 981821 w 2701062"/>
                <a:gd name="connsiteY17" fmla="*/ 1411631 h 3573323"/>
                <a:gd name="connsiteX18" fmla="*/ 931255 w 2701062"/>
                <a:gd name="connsiteY18" fmla="*/ 1411631 h 3573323"/>
                <a:gd name="connsiteX19" fmla="*/ 897545 w 2701062"/>
                <a:gd name="connsiteY19" fmla="*/ 1474838 h 3573323"/>
                <a:gd name="connsiteX20" fmla="*/ 901758 w 2701062"/>
                <a:gd name="connsiteY20" fmla="*/ 1504335 h 3573323"/>
                <a:gd name="connsiteX21" fmla="*/ 948110 w 2701062"/>
                <a:gd name="connsiteY21" fmla="*/ 1512762 h 3573323"/>
                <a:gd name="connsiteX22" fmla="*/ 931255 w 2701062"/>
                <a:gd name="connsiteY22" fmla="*/ 1550687 h 3573323"/>
                <a:gd name="connsiteX23" fmla="*/ 952324 w 2701062"/>
                <a:gd name="connsiteY23" fmla="*/ 1559115 h 3573323"/>
                <a:gd name="connsiteX24" fmla="*/ 1015532 w 2701062"/>
                <a:gd name="connsiteY24" fmla="*/ 1563328 h 3573323"/>
                <a:gd name="connsiteX25" fmla="*/ 1040815 w 2701062"/>
                <a:gd name="connsiteY25" fmla="*/ 1601253 h 3573323"/>
                <a:gd name="connsiteX26" fmla="*/ 1036601 w 2701062"/>
                <a:gd name="connsiteY26" fmla="*/ 1639177 h 3573323"/>
                <a:gd name="connsiteX27" fmla="*/ 1104022 w 2701062"/>
                <a:gd name="connsiteY27" fmla="*/ 1740309 h 3573323"/>
                <a:gd name="connsiteX28" fmla="*/ 1053456 w 2701062"/>
                <a:gd name="connsiteY28" fmla="*/ 1765592 h 3573323"/>
                <a:gd name="connsiteX29" fmla="*/ 998676 w 2701062"/>
                <a:gd name="connsiteY29" fmla="*/ 1761378 h 3573323"/>
                <a:gd name="connsiteX30" fmla="*/ 964966 w 2701062"/>
                <a:gd name="connsiteY30" fmla="*/ 1841441 h 3573323"/>
                <a:gd name="connsiteX31" fmla="*/ 1015532 w 2701062"/>
                <a:gd name="connsiteY31" fmla="*/ 1883579 h 3573323"/>
                <a:gd name="connsiteX32" fmla="*/ 994463 w 2701062"/>
                <a:gd name="connsiteY32" fmla="*/ 1980497 h 3573323"/>
                <a:gd name="connsiteX33" fmla="*/ 1019746 w 2701062"/>
                <a:gd name="connsiteY33" fmla="*/ 2014208 h 3573323"/>
                <a:gd name="connsiteX34" fmla="*/ 990249 w 2701062"/>
                <a:gd name="connsiteY34" fmla="*/ 2047918 h 3573323"/>
                <a:gd name="connsiteX35" fmla="*/ 948110 w 2701062"/>
                <a:gd name="connsiteY35" fmla="*/ 2047918 h 3573323"/>
                <a:gd name="connsiteX36" fmla="*/ 939683 w 2701062"/>
                <a:gd name="connsiteY36" fmla="*/ 2085843 h 3573323"/>
                <a:gd name="connsiteX37" fmla="*/ 994463 w 2701062"/>
                <a:gd name="connsiteY37" fmla="*/ 2132195 h 3573323"/>
                <a:gd name="connsiteX38" fmla="*/ 981821 w 2701062"/>
                <a:gd name="connsiteY38" fmla="*/ 2313389 h 3573323"/>
                <a:gd name="connsiteX39" fmla="*/ 1015532 w 2701062"/>
                <a:gd name="connsiteY39" fmla="*/ 2393452 h 3573323"/>
                <a:gd name="connsiteX40" fmla="*/ 1049242 w 2701062"/>
                <a:gd name="connsiteY40" fmla="*/ 2393452 h 3573323"/>
                <a:gd name="connsiteX41" fmla="*/ 1129305 w 2701062"/>
                <a:gd name="connsiteY41" fmla="*/ 2460873 h 3573323"/>
                <a:gd name="connsiteX42" fmla="*/ 1125091 w 2701062"/>
                <a:gd name="connsiteY42" fmla="*/ 2591502 h 3573323"/>
                <a:gd name="connsiteX43" fmla="*/ 1087167 w 2701062"/>
                <a:gd name="connsiteY43" fmla="*/ 2654709 h 3573323"/>
                <a:gd name="connsiteX44" fmla="*/ 1015532 w 2701062"/>
                <a:gd name="connsiteY44" fmla="*/ 2722130 h 3573323"/>
                <a:gd name="connsiteX45" fmla="*/ 1007104 w 2701062"/>
                <a:gd name="connsiteY45" fmla="*/ 2810621 h 3573323"/>
                <a:gd name="connsiteX46" fmla="*/ 922828 w 2701062"/>
                <a:gd name="connsiteY46" fmla="*/ 2823262 h 3573323"/>
                <a:gd name="connsiteX47" fmla="*/ 868048 w 2701062"/>
                <a:gd name="connsiteY47" fmla="*/ 2827476 h 3573323"/>
                <a:gd name="connsiteX48" fmla="*/ 830123 w 2701062"/>
                <a:gd name="connsiteY48" fmla="*/ 2789551 h 3573323"/>
                <a:gd name="connsiteX49" fmla="*/ 577294 w 2701062"/>
                <a:gd name="connsiteY49" fmla="*/ 2810621 h 3573323"/>
                <a:gd name="connsiteX50" fmla="*/ 568866 w 2701062"/>
                <a:gd name="connsiteY50" fmla="*/ 2915966 h 3573323"/>
                <a:gd name="connsiteX51" fmla="*/ 514087 w 2701062"/>
                <a:gd name="connsiteY51" fmla="*/ 2949677 h 3573323"/>
                <a:gd name="connsiteX52" fmla="*/ 484590 w 2701062"/>
                <a:gd name="connsiteY52" fmla="*/ 2915966 h 3573323"/>
                <a:gd name="connsiteX53" fmla="*/ 446665 w 2701062"/>
                <a:gd name="connsiteY53" fmla="*/ 2941249 h 3573323"/>
                <a:gd name="connsiteX54" fmla="*/ 434024 w 2701062"/>
                <a:gd name="connsiteY54" fmla="*/ 3059236 h 3573323"/>
                <a:gd name="connsiteX55" fmla="*/ 328678 w 2701062"/>
                <a:gd name="connsiteY55" fmla="*/ 3185651 h 3573323"/>
                <a:gd name="connsiteX56" fmla="*/ 273899 w 2701062"/>
                <a:gd name="connsiteY56" fmla="*/ 3198292 h 3573323"/>
                <a:gd name="connsiteX57" fmla="*/ 252829 w 2701062"/>
                <a:gd name="connsiteY57" fmla="*/ 3248858 h 3573323"/>
                <a:gd name="connsiteX58" fmla="*/ 202263 w 2701062"/>
                <a:gd name="connsiteY58" fmla="*/ 3328921 h 3573323"/>
                <a:gd name="connsiteX59" fmla="*/ 164339 w 2701062"/>
                <a:gd name="connsiteY59" fmla="*/ 3358418 h 3573323"/>
                <a:gd name="connsiteX60" fmla="*/ 75849 w 2701062"/>
                <a:gd name="connsiteY60" fmla="*/ 3387915 h 3573323"/>
                <a:gd name="connsiteX61" fmla="*/ 12641 w 2701062"/>
                <a:gd name="connsiteY61" fmla="*/ 3421625 h 3573323"/>
                <a:gd name="connsiteX62" fmla="*/ 0 w 2701062"/>
                <a:gd name="connsiteY62" fmla="*/ 3501688 h 3573323"/>
                <a:gd name="connsiteX63" fmla="*/ 63207 w 2701062"/>
                <a:gd name="connsiteY63" fmla="*/ 3497474 h 3573323"/>
                <a:gd name="connsiteX64" fmla="*/ 96918 w 2701062"/>
                <a:gd name="connsiteY64" fmla="*/ 3451122 h 3573323"/>
                <a:gd name="connsiteX65" fmla="*/ 155911 w 2701062"/>
                <a:gd name="connsiteY65" fmla="*/ 3493260 h 3573323"/>
                <a:gd name="connsiteX66" fmla="*/ 164339 w 2701062"/>
                <a:gd name="connsiteY66" fmla="*/ 3573323 h 3573323"/>
                <a:gd name="connsiteX67" fmla="*/ 265471 w 2701062"/>
                <a:gd name="connsiteY67" fmla="*/ 3522757 h 3573323"/>
                <a:gd name="connsiteX68" fmla="*/ 252829 w 2701062"/>
                <a:gd name="connsiteY68" fmla="*/ 3463763 h 3573323"/>
                <a:gd name="connsiteX69" fmla="*/ 307609 w 2701062"/>
                <a:gd name="connsiteY69" fmla="*/ 3421625 h 3573323"/>
                <a:gd name="connsiteX70" fmla="*/ 345534 w 2701062"/>
                <a:gd name="connsiteY70" fmla="*/ 3383701 h 3573323"/>
                <a:gd name="connsiteX71" fmla="*/ 375030 w 2701062"/>
                <a:gd name="connsiteY71" fmla="*/ 3341562 h 3573323"/>
                <a:gd name="connsiteX72" fmla="*/ 497231 w 2701062"/>
                <a:gd name="connsiteY72" fmla="*/ 3349990 h 3573323"/>
                <a:gd name="connsiteX73" fmla="*/ 497231 w 2701062"/>
                <a:gd name="connsiteY73" fmla="*/ 3349990 h 3573323"/>
                <a:gd name="connsiteX74" fmla="*/ 568866 w 2701062"/>
                <a:gd name="connsiteY74" fmla="*/ 3383701 h 3573323"/>
                <a:gd name="connsiteX75" fmla="*/ 589935 w 2701062"/>
                <a:gd name="connsiteY75" fmla="*/ 3362632 h 3573323"/>
                <a:gd name="connsiteX76" fmla="*/ 648929 w 2701062"/>
                <a:gd name="connsiteY76" fmla="*/ 3392128 h 3573323"/>
                <a:gd name="connsiteX77" fmla="*/ 674212 w 2701062"/>
                <a:gd name="connsiteY77" fmla="*/ 3387915 h 3573323"/>
                <a:gd name="connsiteX78" fmla="*/ 720564 w 2701062"/>
                <a:gd name="connsiteY78" fmla="*/ 3451122 h 3573323"/>
                <a:gd name="connsiteX79" fmla="*/ 754275 w 2701062"/>
                <a:gd name="connsiteY79" fmla="*/ 3442694 h 3573323"/>
                <a:gd name="connsiteX80" fmla="*/ 804840 w 2701062"/>
                <a:gd name="connsiteY80" fmla="*/ 3366845 h 3573323"/>
                <a:gd name="connsiteX81" fmla="*/ 842765 w 2701062"/>
                <a:gd name="connsiteY81" fmla="*/ 3333135 h 3573323"/>
                <a:gd name="connsiteX82" fmla="*/ 830123 w 2701062"/>
                <a:gd name="connsiteY82" fmla="*/ 3278355 h 3573323"/>
                <a:gd name="connsiteX83" fmla="*/ 859620 w 2701062"/>
                <a:gd name="connsiteY83" fmla="*/ 3223575 h 3573323"/>
                <a:gd name="connsiteX84" fmla="*/ 918614 w 2701062"/>
                <a:gd name="connsiteY84" fmla="*/ 3173010 h 3573323"/>
                <a:gd name="connsiteX85" fmla="*/ 1011318 w 2701062"/>
                <a:gd name="connsiteY85" fmla="*/ 3156154 h 3573323"/>
                <a:gd name="connsiteX86" fmla="*/ 1078739 w 2701062"/>
                <a:gd name="connsiteY86" fmla="*/ 3143513 h 3573323"/>
                <a:gd name="connsiteX87" fmla="*/ 1163016 w 2701062"/>
                <a:gd name="connsiteY87" fmla="*/ 3215148 h 3573323"/>
                <a:gd name="connsiteX88" fmla="*/ 1222009 w 2701062"/>
                <a:gd name="connsiteY88" fmla="*/ 3248858 h 3573323"/>
                <a:gd name="connsiteX89" fmla="*/ 1226223 w 2701062"/>
                <a:gd name="connsiteY89" fmla="*/ 3202506 h 3573323"/>
                <a:gd name="connsiteX90" fmla="*/ 1243078 w 2701062"/>
                <a:gd name="connsiteY90" fmla="*/ 3194079 h 3573323"/>
                <a:gd name="connsiteX91" fmla="*/ 1344210 w 2701062"/>
                <a:gd name="connsiteY91" fmla="*/ 3215148 h 3573323"/>
                <a:gd name="connsiteX92" fmla="*/ 1398990 w 2701062"/>
                <a:gd name="connsiteY92" fmla="*/ 3223575 h 3573323"/>
                <a:gd name="connsiteX93" fmla="*/ 1436914 w 2701062"/>
                <a:gd name="connsiteY93" fmla="*/ 3151940 h 3573323"/>
                <a:gd name="connsiteX94" fmla="*/ 1495908 w 2701062"/>
                <a:gd name="connsiteY94" fmla="*/ 3143513 h 3573323"/>
                <a:gd name="connsiteX95" fmla="*/ 1597040 w 2701062"/>
                <a:gd name="connsiteY95" fmla="*/ 3198292 h 3573323"/>
                <a:gd name="connsiteX96" fmla="*/ 1656033 w 2701062"/>
                <a:gd name="connsiteY96" fmla="*/ 3219362 h 3573323"/>
                <a:gd name="connsiteX97" fmla="*/ 1719240 w 2701062"/>
                <a:gd name="connsiteY97" fmla="*/ 3160368 h 3573323"/>
                <a:gd name="connsiteX98" fmla="*/ 1715027 w 2701062"/>
                <a:gd name="connsiteY98" fmla="*/ 3088733 h 3573323"/>
                <a:gd name="connsiteX99" fmla="*/ 1833014 w 2701062"/>
                <a:gd name="connsiteY99" fmla="*/ 3139299 h 3573323"/>
                <a:gd name="connsiteX100" fmla="*/ 1862510 w 2701062"/>
                <a:gd name="connsiteY100" fmla="*/ 3088733 h 3573323"/>
                <a:gd name="connsiteX101" fmla="*/ 2018422 w 2701062"/>
                <a:gd name="connsiteY101" fmla="*/ 3067664 h 3573323"/>
                <a:gd name="connsiteX102" fmla="*/ 2186975 w 2701062"/>
                <a:gd name="connsiteY102" fmla="*/ 3126657 h 3573323"/>
                <a:gd name="connsiteX103" fmla="*/ 2254396 w 2701062"/>
                <a:gd name="connsiteY103" fmla="*/ 3042381 h 3573323"/>
                <a:gd name="connsiteX104" fmla="*/ 2338673 w 2701062"/>
                <a:gd name="connsiteY104" fmla="*/ 3042381 h 3573323"/>
                <a:gd name="connsiteX105" fmla="*/ 2380811 w 2701062"/>
                <a:gd name="connsiteY105" fmla="*/ 2987601 h 3573323"/>
                <a:gd name="connsiteX106" fmla="*/ 2456660 w 2701062"/>
                <a:gd name="connsiteY106" fmla="*/ 2991815 h 3573323"/>
                <a:gd name="connsiteX107" fmla="*/ 2469301 w 2701062"/>
                <a:gd name="connsiteY107" fmla="*/ 2911752 h 3573323"/>
                <a:gd name="connsiteX108" fmla="*/ 2595716 w 2701062"/>
                <a:gd name="connsiteY108" fmla="*/ 2844331 h 3573323"/>
                <a:gd name="connsiteX109" fmla="*/ 2595716 w 2701062"/>
                <a:gd name="connsiteY109" fmla="*/ 2743199 h 3573323"/>
                <a:gd name="connsiteX110" fmla="*/ 2616785 w 2701062"/>
                <a:gd name="connsiteY110" fmla="*/ 2705275 h 3573323"/>
                <a:gd name="connsiteX111" fmla="*/ 2591502 w 2701062"/>
                <a:gd name="connsiteY111" fmla="*/ 2679992 h 3573323"/>
                <a:gd name="connsiteX112" fmla="*/ 2515653 w 2701062"/>
                <a:gd name="connsiteY112" fmla="*/ 2679992 h 3573323"/>
                <a:gd name="connsiteX113" fmla="*/ 2460874 w 2701062"/>
                <a:gd name="connsiteY113" fmla="*/ 2692633 h 3573323"/>
                <a:gd name="connsiteX114" fmla="*/ 2435591 w 2701062"/>
                <a:gd name="connsiteY114" fmla="*/ 2705275 h 3573323"/>
                <a:gd name="connsiteX115" fmla="*/ 2397666 w 2701062"/>
                <a:gd name="connsiteY115" fmla="*/ 2654709 h 3573323"/>
                <a:gd name="connsiteX116" fmla="*/ 2347100 w 2701062"/>
                <a:gd name="connsiteY116" fmla="*/ 2629426 h 3573323"/>
                <a:gd name="connsiteX117" fmla="*/ 2410308 w 2701062"/>
                <a:gd name="connsiteY117" fmla="*/ 2591502 h 3573323"/>
                <a:gd name="connsiteX118" fmla="*/ 2439804 w 2701062"/>
                <a:gd name="connsiteY118" fmla="*/ 2444018 h 3573323"/>
                <a:gd name="connsiteX119" fmla="*/ 2481943 w 2701062"/>
                <a:gd name="connsiteY119" fmla="*/ 2477728 h 3573323"/>
                <a:gd name="connsiteX120" fmla="*/ 2532509 w 2701062"/>
                <a:gd name="connsiteY120" fmla="*/ 2406093 h 3573323"/>
                <a:gd name="connsiteX121" fmla="*/ 2545150 w 2701062"/>
                <a:gd name="connsiteY121" fmla="*/ 2368169 h 3573323"/>
                <a:gd name="connsiteX122" fmla="*/ 2633640 w 2701062"/>
                <a:gd name="connsiteY122" fmla="*/ 2254396 h 3573323"/>
                <a:gd name="connsiteX123" fmla="*/ 2650496 w 2701062"/>
                <a:gd name="connsiteY123" fmla="*/ 2161692 h 3573323"/>
                <a:gd name="connsiteX124" fmla="*/ 2696848 w 2701062"/>
                <a:gd name="connsiteY124" fmla="*/ 2085843 h 3573323"/>
                <a:gd name="connsiteX125" fmla="*/ 2701062 w 2701062"/>
                <a:gd name="connsiteY125" fmla="*/ 1879365 h 3573323"/>
                <a:gd name="connsiteX126" fmla="*/ 2503012 w 2701062"/>
                <a:gd name="connsiteY126" fmla="*/ 1744523 h 3573323"/>
                <a:gd name="connsiteX127" fmla="*/ 2237541 w 2701062"/>
                <a:gd name="connsiteY127" fmla="*/ 1715026 h 3573323"/>
                <a:gd name="connsiteX128" fmla="*/ 2161692 w 2701062"/>
                <a:gd name="connsiteY128" fmla="*/ 1803516 h 3573323"/>
                <a:gd name="connsiteX129" fmla="*/ 2123768 w 2701062"/>
                <a:gd name="connsiteY129" fmla="*/ 1795089 h 3573323"/>
                <a:gd name="connsiteX130" fmla="*/ 2111126 w 2701062"/>
                <a:gd name="connsiteY130" fmla="*/ 1744523 h 3573323"/>
                <a:gd name="connsiteX131" fmla="*/ 2203830 w 2701062"/>
                <a:gd name="connsiteY131" fmla="*/ 1647605 h 3573323"/>
                <a:gd name="connsiteX132" fmla="*/ 2178547 w 2701062"/>
                <a:gd name="connsiteY132" fmla="*/ 1508549 h 3573323"/>
                <a:gd name="connsiteX133" fmla="*/ 2090057 w 2701062"/>
                <a:gd name="connsiteY133" fmla="*/ 1415845 h 3573323"/>
                <a:gd name="connsiteX134" fmla="*/ 2056346 w 2701062"/>
                <a:gd name="connsiteY134" fmla="*/ 1386348 h 3573323"/>
                <a:gd name="connsiteX135" fmla="*/ 2127981 w 2701062"/>
                <a:gd name="connsiteY135" fmla="*/ 1373706 h 3573323"/>
                <a:gd name="connsiteX136" fmla="*/ 2127981 w 2701062"/>
                <a:gd name="connsiteY136" fmla="*/ 1339996 h 3573323"/>
                <a:gd name="connsiteX137" fmla="*/ 2031063 w 2701062"/>
                <a:gd name="connsiteY137" fmla="*/ 1213581 h 3573323"/>
                <a:gd name="connsiteX138" fmla="*/ 2022636 w 2701062"/>
                <a:gd name="connsiteY138" fmla="*/ 1129304 h 3573323"/>
                <a:gd name="connsiteX139" fmla="*/ 2056346 w 2701062"/>
                <a:gd name="connsiteY139" fmla="*/ 1066097 h 3573323"/>
                <a:gd name="connsiteX140" fmla="*/ 2039491 w 2701062"/>
                <a:gd name="connsiteY140" fmla="*/ 1032386 h 3573323"/>
                <a:gd name="connsiteX141" fmla="*/ 1967856 w 2701062"/>
                <a:gd name="connsiteY141" fmla="*/ 1011317 h 3573323"/>
                <a:gd name="connsiteX142" fmla="*/ 1929932 w 2701062"/>
                <a:gd name="connsiteY142" fmla="*/ 952324 h 3573323"/>
                <a:gd name="connsiteX143" fmla="*/ 1934146 w 2701062"/>
                <a:gd name="connsiteY143" fmla="*/ 893330 h 3573323"/>
                <a:gd name="connsiteX144" fmla="*/ 1727668 w 2701062"/>
                <a:gd name="connsiteY144" fmla="*/ 775343 h 3573323"/>
                <a:gd name="connsiteX145" fmla="*/ 1664461 w 2701062"/>
                <a:gd name="connsiteY145" fmla="*/ 716350 h 3573323"/>
                <a:gd name="connsiteX146" fmla="*/ 1516977 w 2701062"/>
                <a:gd name="connsiteY146" fmla="*/ 176981 h 3573323"/>
                <a:gd name="connsiteX147" fmla="*/ 1356851 w 2701062"/>
                <a:gd name="connsiteY147" fmla="*/ 0 h 3573323"/>
                <a:gd name="connsiteX0" fmla="*/ 1356851 w 2701062"/>
                <a:gd name="connsiteY0" fmla="*/ 8428 h 3573323"/>
                <a:gd name="connsiteX1" fmla="*/ 1082953 w 2701062"/>
                <a:gd name="connsiteY1" fmla="*/ 370817 h 3573323"/>
                <a:gd name="connsiteX2" fmla="*/ 876475 w 2701062"/>
                <a:gd name="connsiteY2" fmla="*/ 648928 h 3573323"/>
                <a:gd name="connsiteX3" fmla="*/ 804840 w 2701062"/>
                <a:gd name="connsiteY3" fmla="*/ 720563 h 3573323"/>
                <a:gd name="connsiteX4" fmla="*/ 813268 w 2701062"/>
                <a:gd name="connsiteY4" fmla="*/ 851192 h 3573323"/>
                <a:gd name="connsiteX5" fmla="*/ 897545 w 2701062"/>
                <a:gd name="connsiteY5" fmla="*/ 1019745 h 3573323"/>
                <a:gd name="connsiteX6" fmla="*/ 943897 w 2701062"/>
                <a:gd name="connsiteY6" fmla="*/ 1104021 h 3573323"/>
                <a:gd name="connsiteX7" fmla="*/ 964966 w 2701062"/>
                <a:gd name="connsiteY7" fmla="*/ 1133518 h 3573323"/>
                <a:gd name="connsiteX8" fmla="*/ 994463 w 2701062"/>
                <a:gd name="connsiteY8" fmla="*/ 1108235 h 3573323"/>
                <a:gd name="connsiteX9" fmla="*/ 1011318 w 2701062"/>
                <a:gd name="connsiteY9" fmla="*/ 1053456 h 3573323"/>
                <a:gd name="connsiteX10" fmla="*/ 1057670 w 2701062"/>
                <a:gd name="connsiteY10" fmla="*/ 1045028 h 3573323"/>
                <a:gd name="connsiteX11" fmla="*/ 1053456 w 2701062"/>
                <a:gd name="connsiteY11" fmla="*/ 1108235 h 3573323"/>
                <a:gd name="connsiteX12" fmla="*/ 1040815 w 2701062"/>
                <a:gd name="connsiteY12" fmla="*/ 1141946 h 3573323"/>
                <a:gd name="connsiteX13" fmla="*/ 1049242 w 2701062"/>
                <a:gd name="connsiteY13" fmla="*/ 1167229 h 3573323"/>
                <a:gd name="connsiteX14" fmla="*/ 986035 w 2701062"/>
                <a:gd name="connsiteY14" fmla="*/ 1184084 h 3573323"/>
                <a:gd name="connsiteX15" fmla="*/ 1011318 w 2701062"/>
                <a:gd name="connsiteY15" fmla="*/ 1318927 h 3573323"/>
                <a:gd name="connsiteX16" fmla="*/ 1049242 w 2701062"/>
                <a:gd name="connsiteY16" fmla="*/ 1314713 h 3573323"/>
                <a:gd name="connsiteX17" fmla="*/ 1040815 w 2701062"/>
                <a:gd name="connsiteY17" fmla="*/ 1377920 h 3573323"/>
                <a:gd name="connsiteX18" fmla="*/ 981821 w 2701062"/>
                <a:gd name="connsiteY18" fmla="*/ 1411631 h 3573323"/>
                <a:gd name="connsiteX19" fmla="*/ 931255 w 2701062"/>
                <a:gd name="connsiteY19" fmla="*/ 1411631 h 3573323"/>
                <a:gd name="connsiteX20" fmla="*/ 897545 w 2701062"/>
                <a:gd name="connsiteY20" fmla="*/ 1474838 h 3573323"/>
                <a:gd name="connsiteX21" fmla="*/ 901758 w 2701062"/>
                <a:gd name="connsiteY21" fmla="*/ 1504335 h 3573323"/>
                <a:gd name="connsiteX22" fmla="*/ 948110 w 2701062"/>
                <a:gd name="connsiteY22" fmla="*/ 1512762 h 3573323"/>
                <a:gd name="connsiteX23" fmla="*/ 931255 w 2701062"/>
                <a:gd name="connsiteY23" fmla="*/ 1550687 h 3573323"/>
                <a:gd name="connsiteX24" fmla="*/ 952324 w 2701062"/>
                <a:gd name="connsiteY24" fmla="*/ 1559115 h 3573323"/>
                <a:gd name="connsiteX25" fmla="*/ 1015532 w 2701062"/>
                <a:gd name="connsiteY25" fmla="*/ 1563328 h 3573323"/>
                <a:gd name="connsiteX26" fmla="*/ 1040815 w 2701062"/>
                <a:gd name="connsiteY26" fmla="*/ 1601253 h 3573323"/>
                <a:gd name="connsiteX27" fmla="*/ 1036601 w 2701062"/>
                <a:gd name="connsiteY27" fmla="*/ 1639177 h 3573323"/>
                <a:gd name="connsiteX28" fmla="*/ 1104022 w 2701062"/>
                <a:gd name="connsiteY28" fmla="*/ 1740309 h 3573323"/>
                <a:gd name="connsiteX29" fmla="*/ 1053456 w 2701062"/>
                <a:gd name="connsiteY29" fmla="*/ 1765592 h 3573323"/>
                <a:gd name="connsiteX30" fmla="*/ 998676 w 2701062"/>
                <a:gd name="connsiteY30" fmla="*/ 1761378 h 3573323"/>
                <a:gd name="connsiteX31" fmla="*/ 964966 w 2701062"/>
                <a:gd name="connsiteY31" fmla="*/ 1841441 h 3573323"/>
                <a:gd name="connsiteX32" fmla="*/ 1015532 w 2701062"/>
                <a:gd name="connsiteY32" fmla="*/ 1883579 h 3573323"/>
                <a:gd name="connsiteX33" fmla="*/ 994463 w 2701062"/>
                <a:gd name="connsiteY33" fmla="*/ 1980497 h 3573323"/>
                <a:gd name="connsiteX34" fmla="*/ 1019746 w 2701062"/>
                <a:gd name="connsiteY34" fmla="*/ 2014208 h 3573323"/>
                <a:gd name="connsiteX35" fmla="*/ 990249 w 2701062"/>
                <a:gd name="connsiteY35" fmla="*/ 2047918 h 3573323"/>
                <a:gd name="connsiteX36" fmla="*/ 948110 w 2701062"/>
                <a:gd name="connsiteY36" fmla="*/ 2047918 h 3573323"/>
                <a:gd name="connsiteX37" fmla="*/ 939683 w 2701062"/>
                <a:gd name="connsiteY37" fmla="*/ 2085843 h 3573323"/>
                <a:gd name="connsiteX38" fmla="*/ 994463 w 2701062"/>
                <a:gd name="connsiteY38" fmla="*/ 2132195 h 3573323"/>
                <a:gd name="connsiteX39" fmla="*/ 981821 w 2701062"/>
                <a:gd name="connsiteY39" fmla="*/ 2313389 h 3573323"/>
                <a:gd name="connsiteX40" fmla="*/ 1015532 w 2701062"/>
                <a:gd name="connsiteY40" fmla="*/ 2393452 h 3573323"/>
                <a:gd name="connsiteX41" fmla="*/ 1049242 w 2701062"/>
                <a:gd name="connsiteY41" fmla="*/ 2393452 h 3573323"/>
                <a:gd name="connsiteX42" fmla="*/ 1129305 w 2701062"/>
                <a:gd name="connsiteY42" fmla="*/ 2460873 h 3573323"/>
                <a:gd name="connsiteX43" fmla="*/ 1125091 w 2701062"/>
                <a:gd name="connsiteY43" fmla="*/ 2591502 h 3573323"/>
                <a:gd name="connsiteX44" fmla="*/ 1087167 w 2701062"/>
                <a:gd name="connsiteY44" fmla="*/ 2654709 h 3573323"/>
                <a:gd name="connsiteX45" fmla="*/ 1015532 w 2701062"/>
                <a:gd name="connsiteY45" fmla="*/ 2722130 h 3573323"/>
                <a:gd name="connsiteX46" fmla="*/ 1007104 w 2701062"/>
                <a:gd name="connsiteY46" fmla="*/ 2810621 h 3573323"/>
                <a:gd name="connsiteX47" fmla="*/ 922828 w 2701062"/>
                <a:gd name="connsiteY47" fmla="*/ 2823262 h 3573323"/>
                <a:gd name="connsiteX48" fmla="*/ 868048 w 2701062"/>
                <a:gd name="connsiteY48" fmla="*/ 2827476 h 3573323"/>
                <a:gd name="connsiteX49" fmla="*/ 830123 w 2701062"/>
                <a:gd name="connsiteY49" fmla="*/ 2789551 h 3573323"/>
                <a:gd name="connsiteX50" fmla="*/ 577294 w 2701062"/>
                <a:gd name="connsiteY50" fmla="*/ 2810621 h 3573323"/>
                <a:gd name="connsiteX51" fmla="*/ 568866 w 2701062"/>
                <a:gd name="connsiteY51" fmla="*/ 2915966 h 3573323"/>
                <a:gd name="connsiteX52" fmla="*/ 514087 w 2701062"/>
                <a:gd name="connsiteY52" fmla="*/ 2949677 h 3573323"/>
                <a:gd name="connsiteX53" fmla="*/ 484590 w 2701062"/>
                <a:gd name="connsiteY53" fmla="*/ 2915966 h 3573323"/>
                <a:gd name="connsiteX54" fmla="*/ 446665 w 2701062"/>
                <a:gd name="connsiteY54" fmla="*/ 2941249 h 3573323"/>
                <a:gd name="connsiteX55" fmla="*/ 434024 w 2701062"/>
                <a:gd name="connsiteY55" fmla="*/ 3059236 h 3573323"/>
                <a:gd name="connsiteX56" fmla="*/ 328678 w 2701062"/>
                <a:gd name="connsiteY56" fmla="*/ 3185651 h 3573323"/>
                <a:gd name="connsiteX57" fmla="*/ 273899 w 2701062"/>
                <a:gd name="connsiteY57" fmla="*/ 3198292 h 3573323"/>
                <a:gd name="connsiteX58" fmla="*/ 252829 w 2701062"/>
                <a:gd name="connsiteY58" fmla="*/ 3248858 h 3573323"/>
                <a:gd name="connsiteX59" fmla="*/ 202263 w 2701062"/>
                <a:gd name="connsiteY59" fmla="*/ 3328921 h 3573323"/>
                <a:gd name="connsiteX60" fmla="*/ 164339 w 2701062"/>
                <a:gd name="connsiteY60" fmla="*/ 3358418 h 3573323"/>
                <a:gd name="connsiteX61" fmla="*/ 75849 w 2701062"/>
                <a:gd name="connsiteY61" fmla="*/ 3387915 h 3573323"/>
                <a:gd name="connsiteX62" fmla="*/ 12641 w 2701062"/>
                <a:gd name="connsiteY62" fmla="*/ 3421625 h 3573323"/>
                <a:gd name="connsiteX63" fmla="*/ 0 w 2701062"/>
                <a:gd name="connsiteY63" fmla="*/ 3501688 h 3573323"/>
                <a:gd name="connsiteX64" fmla="*/ 63207 w 2701062"/>
                <a:gd name="connsiteY64" fmla="*/ 3497474 h 3573323"/>
                <a:gd name="connsiteX65" fmla="*/ 96918 w 2701062"/>
                <a:gd name="connsiteY65" fmla="*/ 3451122 h 3573323"/>
                <a:gd name="connsiteX66" fmla="*/ 155911 w 2701062"/>
                <a:gd name="connsiteY66" fmla="*/ 3493260 h 3573323"/>
                <a:gd name="connsiteX67" fmla="*/ 164339 w 2701062"/>
                <a:gd name="connsiteY67" fmla="*/ 3573323 h 3573323"/>
                <a:gd name="connsiteX68" fmla="*/ 265471 w 2701062"/>
                <a:gd name="connsiteY68" fmla="*/ 3522757 h 3573323"/>
                <a:gd name="connsiteX69" fmla="*/ 252829 w 2701062"/>
                <a:gd name="connsiteY69" fmla="*/ 3463763 h 3573323"/>
                <a:gd name="connsiteX70" fmla="*/ 307609 w 2701062"/>
                <a:gd name="connsiteY70" fmla="*/ 3421625 h 3573323"/>
                <a:gd name="connsiteX71" fmla="*/ 345534 w 2701062"/>
                <a:gd name="connsiteY71" fmla="*/ 3383701 h 3573323"/>
                <a:gd name="connsiteX72" fmla="*/ 375030 w 2701062"/>
                <a:gd name="connsiteY72" fmla="*/ 3341562 h 3573323"/>
                <a:gd name="connsiteX73" fmla="*/ 497231 w 2701062"/>
                <a:gd name="connsiteY73" fmla="*/ 3349990 h 3573323"/>
                <a:gd name="connsiteX74" fmla="*/ 497231 w 2701062"/>
                <a:gd name="connsiteY74" fmla="*/ 3349990 h 3573323"/>
                <a:gd name="connsiteX75" fmla="*/ 568866 w 2701062"/>
                <a:gd name="connsiteY75" fmla="*/ 3383701 h 3573323"/>
                <a:gd name="connsiteX76" fmla="*/ 589935 w 2701062"/>
                <a:gd name="connsiteY76" fmla="*/ 3362632 h 3573323"/>
                <a:gd name="connsiteX77" fmla="*/ 648929 w 2701062"/>
                <a:gd name="connsiteY77" fmla="*/ 3392128 h 3573323"/>
                <a:gd name="connsiteX78" fmla="*/ 674212 w 2701062"/>
                <a:gd name="connsiteY78" fmla="*/ 3387915 h 3573323"/>
                <a:gd name="connsiteX79" fmla="*/ 720564 w 2701062"/>
                <a:gd name="connsiteY79" fmla="*/ 3451122 h 3573323"/>
                <a:gd name="connsiteX80" fmla="*/ 754275 w 2701062"/>
                <a:gd name="connsiteY80" fmla="*/ 3442694 h 3573323"/>
                <a:gd name="connsiteX81" fmla="*/ 804840 w 2701062"/>
                <a:gd name="connsiteY81" fmla="*/ 3366845 h 3573323"/>
                <a:gd name="connsiteX82" fmla="*/ 842765 w 2701062"/>
                <a:gd name="connsiteY82" fmla="*/ 3333135 h 3573323"/>
                <a:gd name="connsiteX83" fmla="*/ 830123 w 2701062"/>
                <a:gd name="connsiteY83" fmla="*/ 3278355 h 3573323"/>
                <a:gd name="connsiteX84" fmla="*/ 859620 w 2701062"/>
                <a:gd name="connsiteY84" fmla="*/ 3223575 h 3573323"/>
                <a:gd name="connsiteX85" fmla="*/ 918614 w 2701062"/>
                <a:gd name="connsiteY85" fmla="*/ 3173010 h 3573323"/>
                <a:gd name="connsiteX86" fmla="*/ 1011318 w 2701062"/>
                <a:gd name="connsiteY86" fmla="*/ 3156154 h 3573323"/>
                <a:gd name="connsiteX87" fmla="*/ 1078739 w 2701062"/>
                <a:gd name="connsiteY87" fmla="*/ 3143513 h 3573323"/>
                <a:gd name="connsiteX88" fmla="*/ 1163016 w 2701062"/>
                <a:gd name="connsiteY88" fmla="*/ 3215148 h 3573323"/>
                <a:gd name="connsiteX89" fmla="*/ 1222009 w 2701062"/>
                <a:gd name="connsiteY89" fmla="*/ 3248858 h 3573323"/>
                <a:gd name="connsiteX90" fmla="*/ 1226223 w 2701062"/>
                <a:gd name="connsiteY90" fmla="*/ 3202506 h 3573323"/>
                <a:gd name="connsiteX91" fmla="*/ 1243078 w 2701062"/>
                <a:gd name="connsiteY91" fmla="*/ 3194079 h 3573323"/>
                <a:gd name="connsiteX92" fmla="*/ 1344210 w 2701062"/>
                <a:gd name="connsiteY92" fmla="*/ 3215148 h 3573323"/>
                <a:gd name="connsiteX93" fmla="*/ 1398990 w 2701062"/>
                <a:gd name="connsiteY93" fmla="*/ 3223575 h 3573323"/>
                <a:gd name="connsiteX94" fmla="*/ 1436914 w 2701062"/>
                <a:gd name="connsiteY94" fmla="*/ 3151940 h 3573323"/>
                <a:gd name="connsiteX95" fmla="*/ 1495908 w 2701062"/>
                <a:gd name="connsiteY95" fmla="*/ 3143513 h 3573323"/>
                <a:gd name="connsiteX96" fmla="*/ 1597040 w 2701062"/>
                <a:gd name="connsiteY96" fmla="*/ 3198292 h 3573323"/>
                <a:gd name="connsiteX97" fmla="*/ 1656033 w 2701062"/>
                <a:gd name="connsiteY97" fmla="*/ 3219362 h 3573323"/>
                <a:gd name="connsiteX98" fmla="*/ 1719240 w 2701062"/>
                <a:gd name="connsiteY98" fmla="*/ 3160368 h 3573323"/>
                <a:gd name="connsiteX99" fmla="*/ 1715027 w 2701062"/>
                <a:gd name="connsiteY99" fmla="*/ 3088733 h 3573323"/>
                <a:gd name="connsiteX100" fmla="*/ 1833014 w 2701062"/>
                <a:gd name="connsiteY100" fmla="*/ 3139299 h 3573323"/>
                <a:gd name="connsiteX101" fmla="*/ 1862510 w 2701062"/>
                <a:gd name="connsiteY101" fmla="*/ 3088733 h 3573323"/>
                <a:gd name="connsiteX102" fmla="*/ 2018422 w 2701062"/>
                <a:gd name="connsiteY102" fmla="*/ 3067664 h 3573323"/>
                <a:gd name="connsiteX103" fmla="*/ 2186975 w 2701062"/>
                <a:gd name="connsiteY103" fmla="*/ 3126657 h 3573323"/>
                <a:gd name="connsiteX104" fmla="*/ 2254396 w 2701062"/>
                <a:gd name="connsiteY104" fmla="*/ 3042381 h 3573323"/>
                <a:gd name="connsiteX105" fmla="*/ 2338673 w 2701062"/>
                <a:gd name="connsiteY105" fmla="*/ 3042381 h 3573323"/>
                <a:gd name="connsiteX106" fmla="*/ 2380811 w 2701062"/>
                <a:gd name="connsiteY106" fmla="*/ 2987601 h 3573323"/>
                <a:gd name="connsiteX107" fmla="*/ 2456660 w 2701062"/>
                <a:gd name="connsiteY107" fmla="*/ 2991815 h 3573323"/>
                <a:gd name="connsiteX108" fmla="*/ 2469301 w 2701062"/>
                <a:gd name="connsiteY108" fmla="*/ 2911752 h 3573323"/>
                <a:gd name="connsiteX109" fmla="*/ 2595716 w 2701062"/>
                <a:gd name="connsiteY109" fmla="*/ 2844331 h 3573323"/>
                <a:gd name="connsiteX110" fmla="*/ 2595716 w 2701062"/>
                <a:gd name="connsiteY110" fmla="*/ 2743199 h 3573323"/>
                <a:gd name="connsiteX111" fmla="*/ 2616785 w 2701062"/>
                <a:gd name="connsiteY111" fmla="*/ 2705275 h 3573323"/>
                <a:gd name="connsiteX112" fmla="*/ 2591502 w 2701062"/>
                <a:gd name="connsiteY112" fmla="*/ 2679992 h 3573323"/>
                <a:gd name="connsiteX113" fmla="*/ 2515653 w 2701062"/>
                <a:gd name="connsiteY113" fmla="*/ 2679992 h 3573323"/>
                <a:gd name="connsiteX114" fmla="*/ 2460874 w 2701062"/>
                <a:gd name="connsiteY114" fmla="*/ 2692633 h 3573323"/>
                <a:gd name="connsiteX115" fmla="*/ 2435591 w 2701062"/>
                <a:gd name="connsiteY115" fmla="*/ 2705275 h 3573323"/>
                <a:gd name="connsiteX116" fmla="*/ 2397666 w 2701062"/>
                <a:gd name="connsiteY116" fmla="*/ 2654709 h 3573323"/>
                <a:gd name="connsiteX117" fmla="*/ 2347100 w 2701062"/>
                <a:gd name="connsiteY117" fmla="*/ 2629426 h 3573323"/>
                <a:gd name="connsiteX118" fmla="*/ 2410308 w 2701062"/>
                <a:gd name="connsiteY118" fmla="*/ 2591502 h 3573323"/>
                <a:gd name="connsiteX119" fmla="*/ 2439804 w 2701062"/>
                <a:gd name="connsiteY119" fmla="*/ 2444018 h 3573323"/>
                <a:gd name="connsiteX120" fmla="*/ 2481943 w 2701062"/>
                <a:gd name="connsiteY120" fmla="*/ 2477728 h 3573323"/>
                <a:gd name="connsiteX121" fmla="*/ 2532509 w 2701062"/>
                <a:gd name="connsiteY121" fmla="*/ 2406093 h 3573323"/>
                <a:gd name="connsiteX122" fmla="*/ 2545150 w 2701062"/>
                <a:gd name="connsiteY122" fmla="*/ 2368169 h 3573323"/>
                <a:gd name="connsiteX123" fmla="*/ 2633640 w 2701062"/>
                <a:gd name="connsiteY123" fmla="*/ 2254396 h 3573323"/>
                <a:gd name="connsiteX124" fmla="*/ 2650496 w 2701062"/>
                <a:gd name="connsiteY124" fmla="*/ 2161692 h 3573323"/>
                <a:gd name="connsiteX125" fmla="*/ 2696848 w 2701062"/>
                <a:gd name="connsiteY125" fmla="*/ 2085843 h 3573323"/>
                <a:gd name="connsiteX126" fmla="*/ 2701062 w 2701062"/>
                <a:gd name="connsiteY126" fmla="*/ 1879365 h 3573323"/>
                <a:gd name="connsiteX127" fmla="*/ 2503012 w 2701062"/>
                <a:gd name="connsiteY127" fmla="*/ 1744523 h 3573323"/>
                <a:gd name="connsiteX128" fmla="*/ 2237541 w 2701062"/>
                <a:gd name="connsiteY128" fmla="*/ 1715026 h 3573323"/>
                <a:gd name="connsiteX129" fmla="*/ 2161692 w 2701062"/>
                <a:gd name="connsiteY129" fmla="*/ 1803516 h 3573323"/>
                <a:gd name="connsiteX130" fmla="*/ 2123768 w 2701062"/>
                <a:gd name="connsiteY130" fmla="*/ 1795089 h 3573323"/>
                <a:gd name="connsiteX131" fmla="*/ 2111126 w 2701062"/>
                <a:gd name="connsiteY131" fmla="*/ 1744523 h 3573323"/>
                <a:gd name="connsiteX132" fmla="*/ 2203830 w 2701062"/>
                <a:gd name="connsiteY132" fmla="*/ 1647605 h 3573323"/>
                <a:gd name="connsiteX133" fmla="*/ 2178547 w 2701062"/>
                <a:gd name="connsiteY133" fmla="*/ 1508549 h 3573323"/>
                <a:gd name="connsiteX134" fmla="*/ 2090057 w 2701062"/>
                <a:gd name="connsiteY134" fmla="*/ 1415845 h 3573323"/>
                <a:gd name="connsiteX135" fmla="*/ 2056346 w 2701062"/>
                <a:gd name="connsiteY135" fmla="*/ 1386348 h 3573323"/>
                <a:gd name="connsiteX136" fmla="*/ 2127981 w 2701062"/>
                <a:gd name="connsiteY136" fmla="*/ 1373706 h 3573323"/>
                <a:gd name="connsiteX137" fmla="*/ 2127981 w 2701062"/>
                <a:gd name="connsiteY137" fmla="*/ 1339996 h 3573323"/>
                <a:gd name="connsiteX138" fmla="*/ 2031063 w 2701062"/>
                <a:gd name="connsiteY138" fmla="*/ 1213581 h 3573323"/>
                <a:gd name="connsiteX139" fmla="*/ 2022636 w 2701062"/>
                <a:gd name="connsiteY139" fmla="*/ 1129304 h 3573323"/>
                <a:gd name="connsiteX140" fmla="*/ 2056346 w 2701062"/>
                <a:gd name="connsiteY140" fmla="*/ 1066097 h 3573323"/>
                <a:gd name="connsiteX141" fmla="*/ 2039491 w 2701062"/>
                <a:gd name="connsiteY141" fmla="*/ 1032386 h 3573323"/>
                <a:gd name="connsiteX142" fmla="*/ 1967856 w 2701062"/>
                <a:gd name="connsiteY142" fmla="*/ 1011317 h 3573323"/>
                <a:gd name="connsiteX143" fmla="*/ 1929932 w 2701062"/>
                <a:gd name="connsiteY143" fmla="*/ 952324 h 3573323"/>
                <a:gd name="connsiteX144" fmla="*/ 1934146 w 2701062"/>
                <a:gd name="connsiteY144" fmla="*/ 893330 h 3573323"/>
                <a:gd name="connsiteX145" fmla="*/ 1727668 w 2701062"/>
                <a:gd name="connsiteY145" fmla="*/ 775343 h 3573323"/>
                <a:gd name="connsiteX146" fmla="*/ 1664461 w 2701062"/>
                <a:gd name="connsiteY146" fmla="*/ 716350 h 3573323"/>
                <a:gd name="connsiteX147" fmla="*/ 1516977 w 2701062"/>
                <a:gd name="connsiteY147" fmla="*/ 176981 h 3573323"/>
                <a:gd name="connsiteX148" fmla="*/ 1356851 w 2701062"/>
                <a:gd name="connsiteY148" fmla="*/ 0 h 3573323"/>
                <a:gd name="connsiteX0" fmla="*/ 1356851 w 2701062"/>
                <a:gd name="connsiteY0" fmla="*/ 8428 h 3573323"/>
                <a:gd name="connsiteX1" fmla="*/ 1141946 w 2701062"/>
                <a:gd name="connsiteY1" fmla="*/ 391886 h 3573323"/>
                <a:gd name="connsiteX2" fmla="*/ 876475 w 2701062"/>
                <a:gd name="connsiteY2" fmla="*/ 648928 h 3573323"/>
                <a:gd name="connsiteX3" fmla="*/ 804840 w 2701062"/>
                <a:gd name="connsiteY3" fmla="*/ 720563 h 3573323"/>
                <a:gd name="connsiteX4" fmla="*/ 813268 w 2701062"/>
                <a:gd name="connsiteY4" fmla="*/ 851192 h 3573323"/>
                <a:gd name="connsiteX5" fmla="*/ 897545 w 2701062"/>
                <a:gd name="connsiteY5" fmla="*/ 1019745 h 3573323"/>
                <a:gd name="connsiteX6" fmla="*/ 943897 w 2701062"/>
                <a:gd name="connsiteY6" fmla="*/ 1104021 h 3573323"/>
                <a:gd name="connsiteX7" fmla="*/ 964966 w 2701062"/>
                <a:gd name="connsiteY7" fmla="*/ 1133518 h 3573323"/>
                <a:gd name="connsiteX8" fmla="*/ 994463 w 2701062"/>
                <a:gd name="connsiteY8" fmla="*/ 1108235 h 3573323"/>
                <a:gd name="connsiteX9" fmla="*/ 1011318 w 2701062"/>
                <a:gd name="connsiteY9" fmla="*/ 1053456 h 3573323"/>
                <a:gd name="connsiteX10" fmla="*/ 1057670 w 2701062"/>
                <a:gd name="connsiteY10" fmla="*/ 1045028 h 3573323"/>
                <a:gd name="connsiteX11" fmla="*/ 1053456 w 2701062"/>
                <a:gd name="connsiteY11" fmla="*/ 1108235 h 3573323"/>
                <a:gd name="connsiteX12" fmla="*/ 1040815 w 2701062"/>
                <a:gd name="connsiteY12" fmla="*/ 1141946 h 3573323"/>
                <a:gd name="connsiteX13" fmla="*/ 1049242 w 2701062"/>
                <a:gd name="connsiteY13" fmla="*/ 1167229 h 3573323"/>
                <a:gd name="connsiteX14" fmla="*/ 986035 w 2701062"/>
                <a:gd name="connsiteY14" fmla="*/ 1184084 h 3573323"/>
                <a:gd name="connsiteX15" fmla="*/ 1011318 w 2701062"/>
                <a:gd name="connsiteY15" fmla="*/ 1318927 h 3573323"/>
                <a:gd name="connsiteX16" fmla="*/ 1049242 w 2701062"/>
                <a:gd name="connsiteY16" fmla="*/ 1314713 h 3573323"/>
                <a:gd name="connsiteX17" fmla="*/ 1040815 w 2701062"/>
                <a:gd name="connsiteY17" fmla="*/ 1377920 h 3573323"/>
                <a:gd name="connsiteX18" fmla="*/ 981821 w 2701062"/>
                <a:gd name="connsiteY18" fmla="*/ 1411631 h 3573323"/>
                <a:gd name="connsiteX19" fmla="*/ 931255 w 2701062"/>
                <a:gd name="connsiteY19" fmla="*/ 1411631 h 3573323"/>
                <a:gd name="connsiteX20" fmla="*/ 897545 w 2701062"/>
                <a:gd name="connsiteY20" fmla="*/ 1474838 h 3573323"/>
                <a:gd name="connsiteX21" fmla="*/ 901758 w 2701062"/>
                <a:gd name="connsiteY21" fmla="*/ 1504335 h 3573323"/>
                <a:gd name="connsiteX22" fmla="*/ 948110 w 2701062"/>
                <a:gd name="connsiteY22" fmla="*/ 1512762 h 3573323"/>
                <a:gd name="connsiteX23" fmla="*/ 931255 w 2701062"/>
                <a:gd name="connsiteY23" fmla="*/ 1550687 h 3573323"/>
                <a:gd name="connsiteX24" fmla="*/ 952324 w 2701062"/>
                <a:gd name="connsiteY24" fmla="*/ 1559115 h 3573323"/>
                <a:gd name="connsiteX25" fmla="*/ 1015532 w 2701062"/>
                <a:gd name="connsiteY25" fmla="*/ 1563328 h 3573323"/>
                <a:gd name="connsiteX26" fmla="*/ 1040815 w 2701062"/>
                <a:gd name="connsiteY26" fmla="*/ 1601253 h 3573323"/>
                <a:gd name="connsiteX27" fmla="*/ 1036601 w 2701062"/>
                <a:gd name="connsiteY27" fmla="*/ 1639177 h 3573323"/>
                <a:gd name="connsiteX28" fmla="*/ 1104022 w 2701062"/>
                <a:gd name="connsiteY28" fmla="*/ 1740309 h 3573323"/>
                <a:gd name="connsiteX29" fmla="*/ 1053456 w 2701062"/>
                <a:gd name="connsiteY29" fmla="*/ 1765592 h 3573323"/>
                <a:gd name="connsiteX30" fmla="*/ 998676 w 2701062"/>
                <a:gd name="connsiteY30" fmla="*/ 1761378 h 3573323"/>
                <a:gd name="connsiteX31" fmla="*/ 964966 w 2701062"/>
                <a:gd name="connsiteY31" fmla="*/ 1841441 h 3573323"/>
                <a:gd name="connsiteX32" fmla="*/ 1015532 w 2701062"/>
                <a:gd name="connsiteY32" fmla="*/ 1883579 h 3573323"/>
                <a:gd name="connsiteX33" fmla="*/ 994463 w 2701062"/>
                <a:gd name="connsiteY33" fmla="*/ 1980497 h 3573323"/>
                <a:gd name="connsiteX34" fmla="*/ 1019746 w 2701062"/>
                <a:gd name="connsiteY34" fmla="*/ 2014208 h 3573323"/>
                <a:gd name="connsiteX35" fmla="*/ 990249 w 2701062"/>
                <a:gd name="connsiteY35" fmla="*/ 2047918 h 3573323"/>
                <a:gd name="connsiteX36" fmla="*/ 948110 w 2701062"/>
                <a:gd name="connsiteY36" fmla="*/ 2047918 h 3573323"/>
                <a:gd name="connsiteX37" fmla="*/ 939683 w 2701062"/>
                <a:gd name="connsiteY37" fmla="*/ 2085843 h 3573323"/>
                <a:gd name="connsiteX38" fmla="*/ 994463 w 2701062"/>
                <a:gd name="connsiteY38" fmla="*/ 2132195 h 3573323"/>
                <a:gd name="connsiteX39" fmla="*/ 981821 w 2701062"/>
                <a:gd name="connsiteY39" fmla="*/ 2313389 h 3573323"/>
                <a:gd name="connsiteX40" fmla="*/ 1015532 w 2701062"/>
                <a:gd name="connsiteY40" fmla="*/ 2393452 h 3573323"/>
                <a:gd name="connsiteX41" fmla="*/ 1049242 w 2701062"/>
                <a:gd name="connsiteY41" fmla="*/ 2393452 h 3573323"/>
                <a:gd name="connsiteX42" fmla="*/ 1129305 w 2701062"/>
                <a:gd name="connsiteY42" fmla="*/ 2460873 h 3573323"/>
                <a:gd name="connsiteX43" fmla="*/ 1125091 w 2701062"/>
                <a:gd name="connsiteY43" fmla="*/ 2591502 h 3573323"/>
                <a:gd name="connsiteX44" fmla="*/ 1087167 w 2701062"/>
                <a:gd name="connsiteY44" fmla="*/ 2654709 h 3573323"/>
                <a:gd name="connsiteX45" fmla="*/ 1015532 w 2701062"/>
                <a:gd name="connsiteY45" fmla="*/ 2722130 h 3573323"/>
                <a:gd name="connsiteX46" fmla="*/ 1007104 w 2701062"/>
                <a:gd name="connsiteY46" fmla="*/ 2810621 h 3573323"/>
                <a:gd name="connsiteX47" fmla="*/ 922828 w 2701062"/>
                <a:gd name="connsiteY47" fmla="*/ 2823262 h 3573323"/>
                <a:gd name="connsiteX48" fmla="*/ 868048 w 2701062"/>
                <a:gd name="connsiteY48" fmla="*/ 2827476 h 3573323"/>
                <a:gd name="connsiteX49" fmla="*/ 830123 w 2701062"/>
                <a:gd name="connsiteY49" fmla="*/ 2789551 h 3573323"/>
                <a:gd name="connsiteX50" fmla="*/ 577294 w 2701062"/>
                <a:gd name="connsiteY50" fmla="*/ 2810621 h 3573323"/>
                <a:gd name="connsiteX51" fmla="*/ 568866 w 2701062"/>
                <a:gd name="connsiteY51" fmla="*/ 2915966 h 3573323"/>
                <a:gd name="connsiteX52" fmla="*/ 514087 w 2701062"/>
                <a:gd name="connsiteY52" fmla="*/ 2949677 h 3573323"/>
                <a:gd name="connsiteX53" fmla="*/ 484590 w 2701062"/>
                <a:gd name="connsiteY53" fmla="*/ 2915966 h 3573323"/>
                <a:gd name="connsiteX54" fmla="*/ 446665 w 2701062"/>
                <a:gd name="connsiteY54" fmla="*/ 2941249 h 3573323"/>
                <a:gd name="connsiteX55" fmla="*/ 434024 w 2701062"/>
                <a:gd name="connsiteY55" fmla="*/ 3059236 h 3573323"/>
                <a:gd name="connsiteX56" fmla="*/ 328678 w 2701062"/>
                <a:gd name="connsiteY56" fmla="*/ 3185651 h 3573323"/>
                <a:gd name="connsiteX57" fmla="*/ 273899 w 2701062"/>
                <a:gd name="connsiteY57" fmla="*/ 3198292 h 3573323"/>
                <a:gd name="connsiteX58" fmla="*/ 252829 w 2701062"/>
                <a:gd name="connsiteY58" fmla="*/ 3248858 h 3573323"/>
                <a:gd name="connsiteX59" fmla="*/ 202263 w 2701062"/>
                <a:gd name="connsiteY59" fmla="*/ 3328921 h 3573323"/>
                <a:gd name="connsiteX60" fmla="*/ 164339 w 2701062"/>
                <a:gd name="connsiteY60" fmla="*/ 3358418 h 3573323"/>
                <a:gd name="connsiteX61" fmla="*/ 75849 w 2701062"/>
                <a:gd name="connsiteY61" fmla="*/ 3387915 h 3573323"/>
                <a:gd name="connsiteX62" fmla="*/ 12641 w 2701062"/>
                <a:gd name="connsiteY62" fmla="*/ 3421625 h 3573323"/>
                <a:gd name="connsiteX63" fmla="*/ 0 w 2701062"/>
                <a:gd name="connsiteY63" fmla="*/ 3501688 h 3573323"/>
                <a:gd name="connsiteX64" fmla="*/ 63207 w 2701062"/>
                <a:gd name="connsiteY64" fmla="*/ 3497474 h 3573323"/>
                <a:gd name="connsiteX65" fmla="*/ 96918 w 2701062"/>
                <a:gd name="connsiteY65" fmla="*/ 3451122 h 3573323"/>
                <a:gd name="connsiteX66" fmla="*/ 155911 w 2701062"/>
                <a:gd name="connsiteY66" fmla="*/ 3493260 h 3573323"/>
                <a:gd name="connsiteX67" fmla="*/ 164339 w 2701062"/>
                <a:gd name="connsiteY67" fmla="*/ 3573323 h 3573323"/>
                <a:gd name="connsiteX68" fmla="*/ 265471 w 2701062"/>
                <a:gd name="connsiteY68" fmla="*/ 3522757 h 3573323"/>
                <a:gd name="connsiteX69" fmla="*/ 252829 w 2701062"/>
                <a:gd name="connsiteY69" fmla="*/ 3463763 h 3573323"/>
                <a:gd name="connsiteX70" fmla="*/ 307609 w 2701062"/>
                <a:gd name="connsiteY70" fmla="*/ 3421625 h 3573323"/>
                <a:gd name="connsiteX71" fmla="*/ 345534 w 2701062"/>
                <a:gd name="connsiteY71" fmla="*/ 3383701 h 3573323"/>
                <a:gd name="connsiteX72" fmla="*/ 375030 w 2701062"/>
                <a:gd name="connsiteY72" fmla="*/ 3341562 h 3573323"/>
                <a:gd name="connsiteX73" fmla="*/ 497231 w 2701062"/>
                <a:gd name="connsiteY73" fmla="*/ 3349990 h 3573323"/>
                <a:gd name="connsiteX74" fmla="*/ 497231 w 2701062"/>
                <a:gd name="connsiteY74" fmla="*/ 3349990 h 3573323"/>
                <a:gd name="connsiteX75" fmla="*/ 568866 w 2701062"/>
                <a:gd name="connsiteY75" fmla="*/ 3383701 h 3573323"/>
                <a:gd name="connsiteX76" fmla="*/ 589935 w 2701062"/>
                <a:gd name="connsiteY76" fmla="*/ 3362632 h 3573323"/>
                <a:gd name="connsiteX77" fmla="*/ 648929 w 2701062"/>
                <a:gd name="connsiteY77" fmla="*/ 3392128 h 3573323"/>
                <a:gd name="connsiteX78" fmla="*/ 674212 w 2701062"/>
                <a:gd name="connsiteY78" fmla="*/ 3387915 h 3573323"/>
                <a:gd name="connsiteX79" fmla="*/ 720564 w 2701062"/>
                <a:gd name="connsiteY79" fmla="*/ 3451122 h 3573323"/>
                <a:gd name="connsiteX80" fmla="*/ 754275 w 2701062"/>
                <a:gd name="connsiteY80" fmla="*/ 3442694 h 3573323"/>
                <a:gd name="connsiteX81" fmla="*/ 804840 w 2701062"/>
                <a:gd name="connsiteY81" fmla="*/ 3366845 h 3573323"/>
                <a:gd name="connsiteX82" fmla="*/ 842765 w 2701062"/>
                <a:gd name="connsiteY82" fmla="*/ 3333135 h 3573323"/>
                <a:gd name="connsiteX83" fmla="*/ 830123 w 2701062"/>
                <a:gd name="connsiteY83" fmla="*/ 3278355 h 3573323"/>
                <a:gd name="connsiteX84" fmla="*/ 859620 w 2701062"/>
                <a:gd name="connsiteY84" fmla="*/ 3223575 h 3573323"/>
                <a:gd name="connsiteX85" fmla="*/ 918614 w 2701062"/>
                <a:gd name="connsiteY85" fmla="*/ 3173010 h 3573323"/>
                <a:gd name="connsiteX86" fmla="*/ 1011318 w 2701062"/>
                <a:gd name="connsiteY86" fmla="*/ 3156154 h 3573323"/>
                <a:gd name="connsiteX87" fmla="*/ 1078739 w 2701062"/>
                <a:gd name="connsiteY87" fmla="*/ 3143513 h 3573323"/>
                <a:gd name="connsiteX88" fmla="*/ 1163016 w 2701062"/>
                <a:gd name="connsiteY88" fmla="*/ 3215148 h 3573323"/>
                <a:gd name="connsiteX89" fmla="*/ 1222009 w 2701062"/>
                <a:gd name="connsiteY89" fmla="*/ 3248858 h 3573323"/>
                <a:gd name="connsiteX90" fmla="*/ 1226223 w 2701062"/>
                <a:gd name="connsiteY90" fmla="*/ 3202506 h 3573323"/>
                <a:gd name="connsiteX91" fmla="*/ 1243078 w 2701062"/>
                <a:gd name="connsiteY91" fmla="*/ 3194079 h 3573323"/>
                <a:gd name="connsiteX92" fmla="*/ 1344210 w 2701062"/>
                <a:gd name="connsiteY92" fmla="*/ 3215148 h 3573323"/>
                <a:gd name="connsiteX93" fmla="*/ 1398990 w 2701062"/>
                <a:gd name="connsiteY93" fmla="*/ 3223575 h 3573323"/>
                <a:gd name="connsiteX94" fmla="*/ 1436914 w 2701062"/>
                <a:gd name="connsiteY94" fmla="*/ 3151940 h 3573323"/>
                <a:gd name="connsiteX95" fmla="*/ 1495908 w 2701062"/>
                <a:gd name="connsiteY95" fmla="*/ 3143513 h 3573323"/>
                <a:gd name="connsiteX96" fmla="*/ 1597040 w 2701062"/>
                <a:gd name="connsiteY96" fmla="*/ 3198292 h 3573323"/>
                <a:gd name="connsiteX97" fmla="*/ 1656033 w 2701062"/>
                <a:gd name="connsiteY97" fmla="*/ 3219362 h 3573323"/>
                <a:gd name="connsiteX98" fmla="*/ 1719240 w 2701062"/>
                <a:gd name="connsiteY98" fmla="*/ 3160368 h 3573323"/>
                <a:gd name="connsiteX99" fmla="*/ 1715027 w 2701062"/>
                <a:gd name="connsiteY99" fmla="*/ 3088733 h 3573323"/>
                <a:gd name="connsiteX100" fmla="*/ 1833014 w 2701062"/>
                <a:gd name="connsiteY100" fmla="*/ 3139299 h 3573323"/>
                <a:gd name="connsiteX101" fmla="*/ 1862510 w 2701062"/>
                <a:gd name="connsiteY101" fmla="*/ 3088733 h 3573323"/>
                <a:gd name="connsiteX102" fmla="*/ 2018422 w 2701062"/>
                <a:gd name="connsiteY102" fmla="*/ 3067664 h 3573323"/>
                <a:gd name="connsiteX103" fmla="*/ 2186975 w 2701062"/>
                <a:gd name="connsiteY103" fmla="*/ 3126657 h 3573323"/>
                <a:gd name="connsiteX104" fmla="*/ 2254396 w 2701062"/>
                <a:gd name="connsiteY104" fmla="*/ 3042381 h 3573323"/>
                <a:gd name="connsiteX105" fmla="*/ 2338673 w 2701062"/>
                <a:gd name="connsiteY105" fmla="*/ 3042381 h 3573323"/>
                <a:gd name="connsiteX106" fmla="*/ 2380811 w 2701062"/>
                <a:gd name="connsiteY106" fmla="*/ 2987601 h 3573323"/>
                <a:gd name="connsiteX107" fmla="*/ 2456660 w 2701062"/>
                <a:gd name="connsiteY107" fmla="*/ 2991815 h 3573323"/>
                <a:gd name="connsiteX108" fmla="*/ 2469301 w 2701062"/>
                <a:gd name="connsiteY108" fmla="*/ 2911752 h 3573323"/>
                <a:gd name="connsiteX109" fmla="*/ 2595716 w 2701062"/>
                <a:gd name="connsiteY109" fmla="*/ 2844331 h 3573323"/>
                <a:gd name="connsiteX110" fmla="*/ 2595716 w 2701062"/>
                <a:gd name="connsiteY110" fmla="*/ 2743199 h 3573323"/>
                <a:gd name="connsiteX111" fmla="*/ 2616785 w 2701062"/>
                <a:gd name="connsiteY111" fmla="*/ 2705275 h 3573323"/>
                <a:gd name="connsiteX112" fmla="*/ 2591502 w 2701062"/>
                <a:gd name="connsiteY112" fmla="*/ 2679992 h 3573323"/>
                <a:gd name="connsiteX113" fmla="*/ 2515653 w 2701062"/>
                <a:gd name="connsiteY113" fmla="*/ 2679992 h 3573323"/>
                <a:gd name="connsiteX114" fmla="*/ 2460874 w 2701062"/>
                <a:gd name="connsiteY114" fmla="*/ 2692633 h 3573323"/>
                <a:gd name="connsiteX115" fmla="*/ 2435591 w 2701062"/>
                <a:gd name="connsiteY115" fmla="*/ 2705275 h 3573323"/>
                <a:gd name="connsiteX116" fmla="*/ 2397666 w 2701062"/>
                <a:gd name="connsiteY116" fmla="*/ 2654709 h 3573323"/>
                <a:gd name="connsiteX117" fmla="*/ 2347100 w 2701062"/>
                <a:gd name="connsiteY117" fmla="*/ 2629426 h 3573323"/>
                <a:gd name="connsiteX118" fmla="*/ 2410308 w 2701062"/>
                <a:gd name="connsiteY118" fmla="*/ 2591502 h 3573323"/>
                <a:gd name="connsiteX119" fmla="*/ 2439804 w 2701062"/>
                <a:gd name="connsiteY119" fmla="*/ 2444018 h 3573323"/>
                <a:gd name="connsiteX120" fmla="*/ 2481943 w 2701062"/>
                <a:gd name="connsiteY120" fmla="*/ 2477728 h 3573323"/>
                <a:gd name="connsiteX121" fmla="*/ 2532509 w 2701062"/>
                <a:gd name="connsiteY121" fmla="*/ 2406093 h 3573323"/>
                <a:gd name="connsiteX122" fmla="*/ 2545150 w 2701062"/>
                <a:gd name="connsiteY122" fmla="*/ 2368169 h 3573323"/>
                <a:gd name="connsiteX123" fmla="*/ 2633640 w 2701062"/>
                <a:gd name="connsiteY123" fmla="*/ 2254396 h 3573323"/>
                <a:gd name="connsiteX124" fmla="*/ 2650496 w 2701062"/>
                <a:gd name="connsiteY124" fmla="*/ 2161692 h 3573323"/>
                <a:gd name="connsiteX125" fmla="*/ 2696848 w 2701062"/>
                <a:gd name="connsiteY125" fmla="*/ 2085843 h 3573323"/>
                <a:gd name="connsiteX126" fmla="*/ 2701062 w 2701062"/>
                <a:gd name="connsiteY126" fmla="*/ 1879365 h 3573323"/>
                <a:gd name="connsiteX127" fmla="*/ 2503012 w 2701062"/>
                <a:gd name="connsiteY127" fmla="*/ 1744523 h 3573323"/>
                <a:gd name="connsiteX128" fmla="*/ 2237541 w 2701062"/>
                <a:gd name="connsiteY128" fmla="*/ 1715026 h 3573323"/>
                <a:gd name="connsiteX129" fmla="*/ 2161692 w 2701062"/>
                <a:gd name="connsiteY129" fmla="*/ 1803516 h 3573323"/>
                <a:gd name="connsiteX130" fmla="*/ 2123768 w 2701062"/>
                <a:gd name="connsiteY130" fmla="*/ 1795089 h 3573323"/>
                <a:gd name="connsiteX131" fmla="*/ 2111126 w 2701062"/>
                <a:gd name="connsiteY131" fmla="*/ 1744523 h 3573323"/>
                <a:gd name="connsiteX132" fmla="*/ 2203830 w 2701062"/>
                <a:gd name="connsiteY132" fmla="*/ 1647605 h 3573323"/>
                <a:gd name="connsiteX133" fmla="*/ 2178547 w 2701062"/>
                <a:gd name="connsiteY133" fmla="*/ 1508549 h 3573323"/>
                <a:gd name="connsiteX134" fmla="*/ 2090057 w 2701062"/>
                <a:gd name="connsiteY134" fmla="*/ 1415845 h 3573323"/>
                <a:gd name="connsiteX135" fmla="*/ 2056346 w 2701062"/>
                <a:gd name="connsiteY135" fmla="*/ 1386348 h 3573323"/>
                <a:gd name="connsiteX136" fmla="*/ 2127981 w 2701062"/>
                <a:gd name="connsiteY136" fmla="*/ 1373706 h 3573323"/>
                <a:gd name="connsiteX137" fmla="*/ 2127981 w 2701062"/>
                <a:gd name="connsiteY137" fmla="*/ 1339996 h 3573323"/>
                <a:gd name="connsiteX138" fmla="*/ 2031063 w 2701062"/>
                <a:gd name="connsiteY138" fmla="*/ 1213581 h 3573323"/>
                <a:gd name="connsiteX139" fmla="*/ 2022636 w 2701062"/>
                <a:gd name="connsiteY139" fmla="*/ 1129304 h 3573323"/>
                <a:gd name="connsiteX140" fmla="*/ 2056346 w 2701062"/>
                <a:gd name="connsiteY140" fmla="*/ 1066097 h 3573323"/>
                <a:gd name="connsiteX141" fmla="*/ 2039491 w 2701062"/>
                <a:gd name="connsiteY141" fmla="*/ 1032386 h 3573323"/>
                <a:gd name="connsiteX142" fmla="*/ 1967856 w 2701062"/>
                <a:gd name="connsiteY142" fmla="*/ 1011317 h 3573323"/>
                <a:gd name="connsiteX143" fmla="*/ 1929932 w 2701062"/>
                <a:gd name="connsiteY143" fmla="*/ 952324 h 3573323"/>
                <a:gd name="connsiteX144" fmla="*/ 1934146 w 2701062"/>
                <a:gd name="connsiteY144" fmla="*/ 893330 h 3573323"/>
                <a:gd name="connsiteX145" fmla="*/ 1727668 w 2701062"/>
                <a:gd name="connsiteY145" fmla="*/ 775343 h 3573323"/>
                <a:gd name="connsiteX146" fmla="*/ 1664461 w 2701062"/>
                <a:gd name="connsiteY146" fmla="*/ 716350 h 3573323"/>
                <a:gd name="connsiteX147" fmla="*/ 1516977 w 2701062"/>
                <a:gd name="connsiteY147" fmla="*/ 176981 h 3573323"/>
                <a:gd name="connsiteX148" fmla="*/ 1356851 w 2701062"/>
                <a:gd name="connsiteY148" fmla="*/ 0 h 3573323"/>
                <a:gd name="connsiteX0" fmla="*/ 1356851 w 2701062"/>
                <a:gd name="connsiteY0" fmla="*/ 8428 h 3573323"/>
                <a:gd name="connsiteX1" fmla="*/ 1230437 w 2701062"/>
                <a:gd name="connsiteY1" fmla="*/ 210692 h 3573323"/>
                <a:gd name="connsiteX2" fmla="*/ 1141946 w 2701062"/>
                <a:gd name="connsiteY2" fmla="*/ 391886 h 3573323"/>
                <a:gd name="connsiteX3" fmla="*/ 876475 w 2701062"/>
                <a:gd name="connsiteY3" fmla="*/ 648928 h 3573323"/>
                <a:gd name="connsiteX4" fmla="*/ 804840 w 2701062"/>
                <a:gd name="connsiteY4" fmla="*/ 720563 h 3573323"/>
                <a:gd name="connsiteX5" fmla="*/ 813268 w 2701062"/>
                <a:gd name="connsiteY5" fmla="*/ 851192 h 3573323"/>
                <a:gd name="connsiteX6" fmla="*/ 897545 w 2701062"/>
                <a:gd name="connsiteY6" fmla="*/ 1019745 h 3573323"/>
                <a:gd name="connsiteX7" fmla="*/ 943897 w 2701062"/>
                <a:gd name="connsiteY7" fmla="*/ 1104021 h 3573323"/>
                <a:gd name="connsiteX8" fmla="*/ 964966 w 2701062"/>
                <a:gd name="connsiteY8" fmla="*/ 1133518 h 3573323"/>
                <a:gd name="connsiteX9" fmla="*/ 994463 w 2701062"/>
                <a:gd name="connsiteY9" fmla="*/ 1108235 h 3573323"/>
                <a:gd name="connsiteX10" fmla="*/ 1011318 w 2701062"/>
                <a:gd name="connsiteY10" fmla="*/ 1053456 h 3573323"/>
                <a:gd name="connsiteX11" fmla="*/ 1057670 w 2701062"/>
                <a:gd name="connsiteY11" fmla="*/ 1045028 h 3573323"/>
                <a:gd name="connsiteX12" fmla="*/ 1053456 w 2701062"/>
                <a:gd name="connsiteY12" fmla="*/ 1108235 h 3573323"/>
                <a:gd name="connsiteX13" fmla="*/ 1040815 w 2701062"/>
                <a:gd name="connsiteY13" fmla="*/ 1141946 h 3573323"/>
                <a:gd name="connsiteX14" fmla="*/ 1049242 w 2701062"/>
                <a:gd name="connsiteY14" fmla="*/ 1167229 h 3573323"/>
                <a:gd name="connsiteX15" fmla="*/ 986035 w 2701062"/>
                <a:gd name="connsiteY15" fmla="*/ 1184084 h 3573323"/>
                <a:gd name="connsiteX16" fmla="*/ 1011318 w 2701062"/>
                <a:gd name="connsiteY16" fmla="*/ 1318927 h 3573323"/>
                <a:gd name="connsiteX17" fmla="*/ 1049242 w 2701062"/>
                <a:gd name="connsiteY17" fmla="*/ 1314713 h 3573323"/>
                <a:gd name="connsiteX18" fmla="*/ 1040815 w 2701062"/>
                <a:gd name="connsiteY18" fmla="*/ 1377920 h 3573323"/>
                <a:gd name="connsiteX19" fmla="*/ 981821 w 2701062"/>
                <a:gd name="connsiteY19" fmla="*/ 1411631 h 3573323"/>
                <a:gd name="connsiteX20" fmla="*/ 931255 w 2701062"/>
                <a:gd name="connsiteY20" fmla="*/ 1411631 h 3573323"/>
                <a:gd name="connsiteX21" fmla="*/ 897545 w 2701062"/>
                <a:gd name="connsiteY21" fmla="*/ 1474838 h 3573323"/>
                <a:gd name="connsiteX22" fmla="*/ 901758 w 2701062"/>
                <a:gd name="connsiteY22" fmla="*/ 1504335 h 3573323"/>
                <a:gd name="connsiteX23" fmla="*/ 948110 w 2701062"/>
                <a:gd name="connsiteY23" fmla="*/ 1512762 h 3573323"/>
                <a:gd name="connsiteX24" fmla="*/ 931255 w 2701062"/>
                <a:gd name="connsiteY24" fmla="*/ 1550687 h 3573323"/>
                <a:gd name="connsiteX25" fmla="*/ 952324 w 2701062"/>
                <a:gd name="connsiteY25" fmla="*/ 1559115 h 3573323"/>
                <a:gd name="connsiteX26" fmla="*/ 1015532 w 2701062"/>
                <a:gd name="connsiteY26" fmla="*/ 1563328 h 3573323"/>
                <a:gd name="connsiteX27" fmla="*/ 1040815 w 2701062"/>
                <a:gd name="connsiteY27" fmla="*/ 1601253 h 3573323"/>
                <a:gd name="connsiteX28" fmla="*/ 1036601 w 2701062"/>
                <a:gd name="connsiteY28" fmla="*/ 1639177 h 3573323"/>
                <a:gd name="connsiteX29" fmla="*/ 1104022 w 2701062"/>
                <a:gd name="connsiteY29" fmla="*/ 1740309 h 3573323"/>
                <a:gd name="connsiteX30" fmla="*/ 1053456 w 2701062"/>
                <a:gd name="connsiteY30" fmla="*/ 1765592 h 3573323"/>
                <a:gd name="connsiteX31" fmla="*/ 998676 w 2701062"/>
                <a:gd name="connsiteY31" fmla="*/ 1761378 h 3573323"/>
                <a:gd name="connsiteX32" fmla="*/ 964966 w 2701062"/>
                <a:gd name="connsiteY32" fmla="*/ 1841441 h 3573323"/>
                <a:gd name="connsiteX33" fmla="*/ 1015532 w 2701062"/>
                <a:gd name="connsiteY33" fmla="*/ 1883579 h 3573323"/>
                <a:gd name="connsiteX34" fmla="*/ 994463 w 2701062"/>
                <a:gd name="connsiteY34" fmla="*/ 1980497 h 3573323"/>
                <a:gd name="connsiteX35" fmla="*/ 1019746 w 2701062"/>
                <a:gd name="connsiteY35" fmla="*/ 2014208 h 3573323"/>
                <a:gd name="connsiteX36" fmla="*/ 990249 w 2701062"/>
                <a:gd name="connsiteY36" fmla="*/ 2047918 h 3573323"/>
                <a:gd name="connsiteX37" fmla="*/ 948110 w 2701062"/>
                <a:gd name="connsiteY37" fmla="*/ 2047918 h 3573323"/>
                <a:gd name="connsiteX38" fmla="*/ 939683 w 2701062"/>
                <a:gd name="connsiteY38" fmla="*/ 2085843 h 3573323"/>
                <a:gd name="connsiteX39" fmla="*/ 994463 w 2701062"/>
                <a:gd name="connsiteY39" fmla="*/ 2132195 h 3573323"/>
                <a:gd name="connsiteX40" fmla="*/ 981821 w 2701062"/>
                <a:gd name="connsiteY40" fmla="*/ 2313389 h 3573323"/>
                <a:gd name="connsiteX41" fmla="*/ 1015532 w 2701062"/>
                <a:gd name="connsiteY41" fmla="*/ 2393452 h 3573323"/>
                <a:gd name="connsiteX42" fmla="*/ 1049242 w 2701062"/>
                <a:gd name="connsiteY42" fmla="*/ 2393452 h 3573323"/>
                <a:gd name="connsiteX43" fmla="*/ 1129305 w 2701062"/>
                <a:gd name="connsiteY43" fmla="*/ 2460873 h 3573323"/>
                <a:gd name="connsiteX44" fmla="*/ 1125091 w 2701062"/>
                <a:gd name="connsiteY44" fmla="*/ 2591502 h 3573323"/>
                <a:gd name="connsiteX45" fmla="*/ 1087167 w 2701062"/>
                <a:gd name="connsiteY45" fmla="*/ 2654709 h 3573323"/>
                <a:gd name="connsiteX46" fmla="*/ 1015532 w 2701062"/>
                <a:gd name="connsiteY46" fmla="*/ 2722130 h 3573323"/>
                <a:gd name="connsiteX47" fmla="*/ 1007104 w 2701062"/>
                <a:gd name="connsiteY47" fmla="*/ 2810621 h 3573323"/>
                <a:gd name="connsiteX48" fmla="*/ 922828 w 2701062"/>
                <a:gd name="connsiteY48" fmla="*/ 2823262 h 3573323"/>
                <a:gd name="connsiteX49" fmla="*/ 868048 w 2701062"/>
                <a:gd name="connsiteY49" fmla="*/ 2827476 h 3573323"/>
                <a:gd name="connsiteX50" fmla="*/ 830123 w 2701062"/>
                <a:gd name="connsiteY50" fmla="*/ 2789551 h 3573323"/>
                <a:gd name="connsiteX51" fmla="*/ 577294 w 2701062"/>
                <a:gd name="connsiteY51" fmla="*/ 2810621 h 3573323"/>
                <a:gd name="connsiteX52" fmla="*/ 568866 w 2701062"/>
                <a:gd name="connsiteY52" fmla="*/ 2915966 h 3573323"/>
                <a:gd name="connsiteX53" fmla="*/ 514087 w 2701062"/>
                <a:gd name="connsiteY53" fmla="*/ 2949677 h 3573323"/>
                <a:gd name="connsiteX54" fmla="*/ 484590 w 2701062"/>
                <a:gd name="connsiteY54" fmla="*/ 2915966 h 3573323"/>
                <a:gd name="connsiteX55" fmla="*/ 446665 w 2701062"/>
                <a:gd name="connsiteY55" fmla="*/ 2941249 h 3573323"/>
                <a:gd name="connsiteX56" fmla="*/ 434024 w 2701062"/>
                <a:gd name="connsiteY56" fmla="*/ 3059236 h 3573323"/>
                <a:gd name="connsiteX57" fmla="*/ 328678 w 2701062"/>
                <a:gd name="connsiteY57" fmla="*/ 3185651 h 3573323"/>
                <a:gd name="connsiteX58" fmla="*/ 273899 w 2701062"/>
                <a:gd name="connsiteY58" fmla="*/ 3198292 h 3573323"/>
                <a:gd name="connsiteX59" fmla="*/ 252829 w 2701062"/>
                <a:gd name="connsiteY59" fmla="*/ 3248858 h 3573323"/>
                <a:gd name="connsiteX60" fmla="*/ 202263 w 2701062"/>
                <a:gd name="connsiteY60" fmla="*/ 3328921 h 3573323"/>
                <a:gd name="connsiteX61" fmla="*/ 164339 w 2701062"/>
                <a:gd name="connsiteY61" fmla="*/ 3358418 h 3573323"/>
                <a:gd name="connsiteX62" fmla="*/ 75849 w 2701062"/>
                <a:gd name="connsiteY62" fmla="*/ 3387915 h 3573323"/>
                <a:gd name="connsiteX63" fmla="*/ 12641 w 2701062"/>
                <a:gd name="connsiteY63" fmla="*/ 3421625 h 3573323"/>
                <a:gd name="connsiteX64" fmla="*/ 0 w 2701062"/>
                <a:gd name="connsiteY64" fmla="*/ 3501688 h 3573323"/>
                <a:gd name="connsiteX65" fmla="*/ 63207 w 2701062"/>
                <a:gd name="connsiteY65" fmla="*/ 3497474 h 3573323"/>
                <a:gd name="connsiteX66" fmla="*/ 96918 w 2701062"/>
                <a:gd name="connsiteY66" fmla="*/ 3451122 h 3573323"/>
                <a:gd name="connsiteX67" fmla="*/ 155911 w 2701062"/>
                <a:gd name="connsiteY67" fmla="*/ 3493260 h 3573323"/>
                <a:gd name="connsiteX68" fmla="*/ 164339 w 2701062"/>
                <a:gd name="connsiteY68" fmla="*/ 3573323 h 3573323"/>
                <a:gd name="connsiteX69" fmla="*/ 265471 w 2701062"/>
                <a:gd name="connsiteY69" fmla="*/ 3522757 h 3573323"/>
                <a:gd name="connsiteX70" fmla="*/ 252829 w 2701062"/>
                <a:gd name="connsiteY70" fmla="*/ 3463763 h 3573323"/>
                <a:gd name="connsiteX71" fmla="*/ 307609 w 2701062"/>
                <a:gd name="connsiteY71" fmla="*/ 3421625 h 3573323"/>
                <a:gd name="connsiteX72" fmla="*/ 345534 w 2701062"/>
                <a:gd name="connsiteY72" fmla="*/ 3383701 h 3573323"/>
                <a:gd name="connsiteX73" fmla="*/ 375030 w 2701062"/>
                <a:gd name="connsiteY73" fmla="*/ 3341562 h 3573323"/>
                <a:gd name="connsiteX74" fmla="*/ 497231 w 2701062"/>
                <a:gd name="connsiteY74" fmla="*/ 3349990 h 3573323"/>
                <a:gd name="connsiteX75" fmla="*/ 497231 w 2701062"/>
                <a:gd name="connsiteY75" fmla="*/ 3349990 h 3573323"/>
                <a:gd name="connsiteX76" fmla="*/ 568866 w 2701062"/>
                <a:gd name="connsiteY76" fmla="*/ 3383701 h 3573323"/>
                <a:gd name="connsiteX77" fmla="*/ 589935 w 2701062"/>
                <a:gd name="connsiteY77" fmla="*/ 3362632 h 3573323"/>
                <a:gd name="connsiteX78" fmla="*/ 648929 w 2701062"/>
                <a:gd name="connsiteY78" fmla="*/ 3392128 h 3573323"/>
                <a:gd name="connsiteX79" fmla="*/ 674212 w 2701062"/>
                <a:gd name="connsiteY79" fmla="*/ 3387915 h 3573323"/>
                <a:gd name="connsiteX80" fmla="*/ 720564 w 2701062"/>
                <a:gd name="connsiteY80" fmla="*/ 3451122 h 3573323"/>
                <a:gd name="connsiteX81" fmla="*/ 754275 w 2701062"/>
                <a:gd name="connsiteY81" fmla="*/ 3442694 h 3573323"/>
                <a:gd name="connsiteX82" fmla="*/ 804840 w 2701062"/>
                <a:gd name="connsiteY82" fmla="*/ 3366845 h 3573323"/>
                <a:gd name="connsiteX83" fmla="*/ 842765 w 2701062"/>
                <a:gd name="connsiteY83" fmla="*/ 3333135 h 3573323"/>
                <a:gd name="connsiteX84" fmla="*/ 830123 w 2701062"/>
                <a:gd name="connsiteY84" fmla="*/ 3278355 h 3573323"/>
                <a:gd name="connsiteX85" fmla="*/ 859620 w 2701062"/>
                <a:gd name="connsiteY85" fmla="*/ 3223575 h 3573323"/>
                <a:gd name="connsiteX86" fmla="*/ 918614 w 2701062"/>
                <a:gd name="connsiteY86" fmla="*/ 3173010 h 3573323"/>
                <a:gd name="connsiteX87" fmla="*/ 1011318 w 2701062"/>
                <a:gd name="connsiteY87" fmla="*/ 3156154 h 3573323"/>
                <a:gd name="connsiteX88" fmla="*/ 1078739 w 2701062"/>
                <a:gd name="connsiteY88" fmla="*/ 3143513 h 3573323"/>
                <a:gd name="connsiteX89" fmla="*/ 1163016 w 2701062"/>
                <a:gd name="connsiteY89" fmla="*/ 3215148 h 3573323"/>
                <a:gd name="connsiteX90" fmla="*/ 1222009 w 2701062"/>
                <a:gd name="connsiteY90" fmla="*/ 3248858 h 3573323"/>
                <a:gd name="connsiteX91" fmla="*/ 1226223 w 2701062"/>
                <a:gd name="connsiteY91" fmla="*/ 3202506 h 3573323"/>
                <a:gd name="connsiteX92" fmla="*/ 1243078 w 2701062"/>
                <a:gd name="connsiteY92" fmla="*/ 3194079 h 3573323"/>
                <a:gd name="connsiteX93" fmla="*/ 1344210 w 2701062"/>
                <a:gd name="connsiteY93" fmla="*/ 3215148 h 3573323"/>
                <a:gd name="connsiteX94" fmla="*/ 1398990 w 2701062"/>
                <a:gd name="connsiteY94" fmla="*/ 3223575 h 3573323"/>
                <a:gd name="connsiteX95" fmla="*/ 1436914 w 2701062"/>
                <a:gd name="connsiteY95" fmla="*/ 3151940 h 3573323"/>
                <a:gd name="connsiteX96" fmla="*/ 1495908 w 2701062"/>
                <a:gd name="connsiteY96" fmla="*/ 3143513 h 3573323"/>
                <a:gd name="connsiteX97" fmla="*/ 1597040 w 2701062"/>
                <a:gd name="connsiteY97" fmla="*/ 3198292 h 3573323"/>
                <a:gd name="connsiteX98" fmla="*/ 1656033 w 2701062"/>
                <a:gd name="connsiteY98" fmla="*/ 3219362 h 3573323"/>
                <a:gd name="connsiteX99" fmla="*/ 1719240 w 2701062"/>
                <a:gd name="connsiteY99" fmla="*/ 3160368 h 3573323"/>
                <a:gd name="connsiteX100" fmla="*/ 1715027 w 2701062"/>
                <a:gd name="connsiteY100" fmla="*/ 3088733 h 3573323"/>
                <a:gd name="connsiteX101" fmla="*/ 1833014 w 2701062"/>
                <a:gd name="connsiteY101" fmla="*/ 3139299 h 3573323"/>
                <a:gd name="connsiteX102" fmla="*/ 1862510 w 2701062"/>
                <a:gd name="connsiteY102" fmla="*/ 3088733 h 3573323"/>
                <a:gd name="connsiteX103" fmla="*/ 2018422 w 2701062"/>
                <a:gd name="connsiteY103" fmla="*/ 3067664 h 3573323"/>
                <a:gd name="connsiteX104" fmla="*/ 2186975 w 2701062"/>
                <a:gd name="connsiteY104" fmla="*/ 3126657 h 3573323"/>
                <a:gd name="connsiteX105" fmla="*/ 2254396 w 2701062"/>
                <a:gd name="connsiteY105" fmla="*/ 3042381 h 3573323"/>
                <a:gd name="connsiteX106" fmla="*/ 2338673 w 2701062"/>
                <a:gd name="connsiteY106" fmla="*/ 3042381 h 3573323"/>
                <a:gd name="connsiteX107" fmla="*/ 2380811 w 2701062"/>
                <a:gd name="connsiteY107" fmla="*/ 2987601 h 3573323"/>
                <a:gd name="connsiteX108" fmla="*/ 2456660 w 2701062"/>
                <a:gd name="connsiteY108" fmla="*/ 2991815 h 3573323"/>
                <a:gd name="connsiteX109" fmla="*/ 2469301 w 2701062"/>
                <a:gd name="connsiteY109" fmla="*/ 2911752 h 3573323"/>
                <a:gd name="connsiteX110" fmla="*/ 2595716 w 2701062"/>
                <a:gd name="connsiteY110" fmla="*/ 2844331 h 3573323"/>
                <a:gd name="connsiteX111" fmla="*/ 2595716 w 2701062"/>
                <a:gd name="connsiteY111" fmla="*/ 2743199 h 3573323"/>
                <a:gd name="connsiteX112" fmla="*/ 2616785 w 2701062"/>
                <a:gd name="connsiteY112" fmla="*/ 2705275 h 3573323"/>
                <a:gd name="connsiteX113" fmla="*/ 2591502 w 2701062"/>
                <a:gd name="connsiteY113" fmla="*/ 2679992 h 3573323"/>
                <a:gd name="connsiteX114" fmla="*/ 2515653 w 2701062"/>
                <a:gd name="connsiteY114" fmla="*/ 2679992 h 3573323"/>
                <a:gd name="connsiteX115" fmla="*/ 2460874 w 2701062"/>
                <a:gd name="connsiteY115" fmla="*/ 2692633 h 3573323"/>
                <a:gd name="connsiteX116" fmla="*/ 2435591 w 2701062"/>
                <a:gd name="connsiteY116" fmla="*/ 2705275 h 3573323"/>
                <a:gd name="connsiteX117" fmla="*/ 2397666 w 2701062"/>
                <a:gd name="connsiteY117" fmla="*/ 2654709 h 3573323"/>
                <a:gd name="connsiteX118" fmla="*/ 2347100 w 2701062"/>
                <a:gd name="connsiteY118" fmla="*/ 2629426 h 3573323"/>
                <a:gd name="connsiteX119" fmla="*/ 2410308 w 2701062"/>
                <a:gd name="connsiteY119" fmla="*/ 2591502 h 3573323"/>
                <a:gd name="connsiteX120" fmla="*/ 2439804 w 2701062"/>
                <a:gd name="connsiteY120" fmla="*/ 2444018 h 3573323"/>
                <a:gd name="connsiteX121" fmla="*/ 2481943 w 2701062"/>
                <a:gd name="connsiteY121" fmla="*/ 2477728 h 3573323"/>
                <a:gd name="connsiteX122" fmla="*/ 2532509 w 2701062"/>
                <a:gd name="connsiteY122" fmla="*/ 2406093 h 3573323"/>
                <a:gd name="connsiteX123" fmla="*/ 2545150 w 2701062"/>
                <a:gd name="connsiteY123" fmla="*/ 2368169 h 3573323"/>
                <a:gd name="connsiteX124" fmla="*/ 2633640 w 2701062"/>
                <a:gd name="connsiteY124" fmla="*/ 2254396 h 3573323"/>
                <a:gd name="connsiteX125" fmla="*/ 2650496 w 2701062"/>
                <a:gd name="connsiteY125" fmla="*/ 2161692 h 3573323"/>
                <a:gd name="connsiteX126" fmla="*/ 2696848 w 2701062"/>
                <a:gd name="connsiteY126" fmla="*/ 2085843 h 3573323"/>
                <a:gd name="connsiteX127" fmla="*/ 2701062 w 2701062"/>
                <a:gd name="connsiteY127" fmla="*/ 1879365 h 3573323"/>
                <a:gd name="connsiteX128" fmla="*/ 2503012 w 2701062"/>
                <a:gd name="connsiteY128" fmla="*/ 1744523 h 3573323"/>
                <a:gd name="connsiteX129" fmla="*/ 2237541 w 2701062"/>
                <a:gd name="connsiteY129" fmla="*/ 1715026 h 3573323"/>
                <a:gd name="connsiteX130" fmla="*/ 2161692 w 2701062"/>
                <a:gd name="connsiteY130" fmla="*/ 1803516 h 3573323"/>
                <a:gd name="connsiteX131" fmla="*/ 2123768 w 2701062"/>
                <a:gd name="connsiteY131" fmla="*/ 1795089 h 3573323"/>
                <a:gd name="connsiteX132" fmla="*/ 2111126 w 2701062"/>
                <a:gd name="connsiteY132" fmla="*/ 1744523 h 3573323"/>
                <a:gd name="connsiteX133" fmla="*/ 2203830 w 2701062"/>
                <a:gd name="connsiteY133" fmla="*/ 1647605 h 3573323"/>
                <a:gd name="connsiteX134" fmla="*/ 2178547 w 2701062"/>
                <a:gd name="connsiteY134" fmla="*/ 1508549 h 3573323"/>
                <a:gd name="connsiteX135" fmla="*/ 2090057 w 2701062"/>
                <a:gd name="connsiteY135" fmla="*/ 1415845 h 3573323"/>
                <a:gd name="connsiteX136" fmla="*/ 2056346 w 2701062"/>
                <a:gd name="connsiteY136" fmla="*/ 1386348 h 3573323"/>
                <a:gd name="connsiteX137" fmla="*/ 2127981 w 2701062"/>
                <a:gd name="connsiteY137" fmla="*/ 1373706 h 3573323"/>
                <a:gd name="connsiteX138" fmla="*/ 2127981 w 2701062"/>
                <a:gd name="connsiteY138" fmla="*/ 1339996 h 3573323"/>
                <a:gd name="connsiteX139" fmla="*/ 2031063 w 2701062"/>
                <a:gd name="connsiteY139" fmla="*/ 1213581 h 3573323"/>
                <a:gd name="connsiteX140" fmla="*/ 2022636 w 2701062"/>
                <a:gd name="connsiteY140" fmla="*/ 1129304 h 3573323"/>
                <a:gd name="connsiteX141" fmla="*/ 2056346 w 2701062"/>
                <a:gd name="connsiteY141" fmla="*/ 1066097 h 3573323"/>
                <a:gd name="connsiteX142" fmla="*/ 2039491 w 2701062"/>
                <a:gd name="connsiteY142" fmla="*/ 1032386 h 3573323"/>
                <a:gd name="connsiteX143" fmla="*/ 1967856 w 2701062"/>
                <a:gd name="connsiteY143" fmla="*/ 1011317 h 3573323"/>
                <a:gd name="connsiteX144" fmla="*/ 1929932 w 2701062"/>
                <a:gd name="connsiteY144" fmla="*/ 952324 h 3573323"/>
                <a:gd name="connsiteX145" fmla="*/ 1934146 w 2701062"/>
                <a:gd name="connsiteY145" fmla="*/ 893330 h 3573323"/>
                <a:gd name="connsiteX146" fmla="*/ 1727668 w 2701062"/>
                <a:gd name="connsiteY146" fmla="*/ 775343 h 3573323"/>
                <a:gd name="connsiteX147" fmla="*/ 1664461 w 2701062"/>
                <a:gd name="connsiteY147" fmla="*/ 716350 h 3573323"/>
                <a:gd name="connsiteX148" fmla="*/ 1516977 w 2701062"/>
                <a:gd name="connsiteY148" fmla="*/ 176981 h 3573323"/>
                <a:gd name="connsiteX149" fmla="*/ 1356851 w 2701062"/>
                <a:gd name="connsiteY149" fmla="*/ 0 h 3573323"/>
                <a:gd name="connsiteX0" fmla="*/ 1356851 w 2701062"/>
                <a:gd name="connsiteY0" fmla="*/ 8428 h 3573323"/>
                <a:gd name="connsiteX1" fmla="*/ 1281002 w 2701062"/>
                <a:gd name="connsiteY1" fmla="*/ 257044 h 3573323"/>
                <a:gd name="connsiteX2" fmla="*/ 1141946 w 2701062"/>
                <a:gd name="connsiteY2" fmla="*/ 391886 h 3573323"/>
                <a:gd name="connsiteX3" fmla="*/ 876475 w 2701062"/>
                <a:gd name="connsiteY3" fmla="*/ 648928 h 3573323"/>
                <a:gd name="connsiteX4" fmla="*/ 804840 w 2701062"/>
                <a:gd name="connsiteY4" fmla="*/ 720563 h 3573323"/>
                <a:gd name="connsiteX5" fmla="*/ 813268 w 2701062"/>
                <a:gd name="connsiteY5" fmla="*/ 851192 h 3573323"/>
                <a:gd name="connsiteX6" fmla="*/ 897545 w 2701062"/>
                <a:gd name="connsiteY6" fmla="*/ 1019745 h 3573323"/>
                <a:gd name="connsiteX7" fmla="*/ 943897 w 2701062"/>
                <a:gd name="connsiteY7" fmla="*/ 1104021 h 3573323"/>
                <a:gd name="connsiteX8" fmla="*/ 964966 w 2701062"/>
                <a:gd name="connsiteY8" fmla="*/ 1133518 h 3573323"/>
                <a:gd name="connsiteX9" fmla="*/ 994463 w 2701062"/>
                <a:gd name="connsiteY9" fmla="*/ 1108235 h 3573323"/>
                <a:gd name="connsiteX10" fmla="*/ 1011318 w 2701062"/>
                <a:gd name="connsiteY10" fmla="*/ 1053456 h 3573323"/>
                <a:gd name="connsiteX11" fmla="*/ 1057670 w 2701062"/>
                <a:gd name="connsiteY11" fmla="*/ 1045028 h 3573323"/>
                <a:gd name="connsiteX12" fmla="*/ 1053456 w 2701062"/>
                <a:gd name="connsiteY12" fmla="*/ 1108235 h 3573323"/>
                <a:gd name="connsiteX13" fmla="*/ 1040815 w 2701062"/>
                <a:gd name="connsiteY13" fmla="*/ 1141946 h 3573323"/>
                <a:gd name="connsiteX14" fmla="*/ 1049242 w 2701062"/>
                <a:gd name="connsiteY14" fmla="*/ 1167229 h 3573323"/>
                <a:gd name="connsiteX15" fmla="*/ 986035 w 2701062"/>
                <a:gd name="connsiteY15" fmla="*/ 1184084 h 3573323"/>
                <a:gd name="connsiteX16" fmla="*/ 1011318 w 2701062"/>
                <a:gd name="connsiteY16" fmla="*/ 1318927 h 3573323"/>
                <a:gd name="connsiteX17" fmla="*/ 1049242 w 2701062"/>
                <a:gd name="connsiteY17" fmla="*/ 1314713 h 3573323"/>
                <a:gd name="connsiteX18" fmla="*/ 1040815 w 2701062"/>
                <a:gd name="connsiteY18" fmla="*/ 1377920 h 3573323"/>
                <a:gd name="connsiteX19" fmla="*/ 981821 w 2701062"/>
                <a:gd name="connsiteY19" fmla="*/ 1411631 h 3573323"/>
                <a:gd name="connsiteX20" fmla="*/ 931255 w 2701062"/>
                <a:gd name="connsiteY20" fmla="*/ 1411631 h 3573323"/>
                <a:gd name="connsiteX21" fmla="*/ 897545 w 2701062"/>
                <a:gd name="connsiteY21" fmla="*/ 1474838 h 3573323"/>
                <a:gd name="connsiteX22" fmla="*/ 901758 w 2701062"/>
                <a:gd name="connsiteY22" fmla="*/ 1504335 h 3573323"/>
                <a:gd name="connsiteX23" fmla="*/ 948110 w 2701062"/>
                <a:gd name="connsiteY23" fmla="*/ 1512762 h 3573323"/>
                <a:gd name="connsiteX24" fmla="*/ 931255 w 2701062"/>
                <a:gd name="connsiteY24" fmla="*/ 1550687 h 3573323"/>
                <a:gd name="connsiteX25" fmla="*/ 952324 w 2701062"/>
                <a:gd name="connsiteY25" fmla="*/ 1559115 h 3573323"/>
                <a:gd name="connsiteX26" fmla="*/ 1015532 w 2701062"/>
                <a:gd name="connsiteY26" fmla="*/ 1563328 h 3573323"/>
                <a:gd name="connsiteX27" fmla="*/ 1040815 w 2701062"/>
                <a:gd name="connsiteY27" fmla="*/ 1601253 h 3573323"/>
                <a:gd name="connsiteX28" fmla="*/ 1036601 w 2701062"/>
                <a:gd name="connsiteY28" fmla="*/ 1639177 h 3573323"/>
                <a:gd name="connsiteX29" fmla="*/ 1104022 w 2701062"/>
                <a:gd name="connsiteY29" fmla="*/ 1740309 h 3573323"/>
                <a:gd name="connsiteX30" fmla="*/ 1053456 w 2701062"/>
                <a:gd name="connsiteY30" fmla="*/ 1765592 h 3573323"/>
                <a:gd name="connsiteX31" fmla="*/ 998676 w 2701062"/>
                <a:gd name="connsiteY31" fmla="*/ 1761378 h 3573323"/>
                <a:gd name="connsiteX32" fmla="*/ 964966 w 2701062"/>
                <a:gd name="connsiteY32" fmla="*/ 1841441 h 3573323"/>
                <a:gd name="connsiteX33" fmla="*/ 1015532 w 2701062"/>
                <a:gd name="connsiteY33" fmla="*/ 1883579 h 3573323"/>
                <a:gd name="connsiteX34" fmla="*/ 994463 w 2701062"/>
                <a:gd name="connsiteY34" fmla="*/ 1980497 h 3573323"/>
                <a:gd name="connsiteX35" fmla="*/ 1019746 w 2701062"/>
                <a:gd name="connsiteY35" fmla="*/ 2014208 h 3573323"/>
                <a:gd name="connsiteX36" fmla="*/ 990249 w 2701062"/>
                <a:gd name="connsiteY36" fmla="*/ 2047918 h 3573323"/>
                <a:gd name="connsiteX37" fmla="*/ 948110 w 2701062"/>
                <a:gd name="connsiteY37" fmla="*/ 2047918 h 3573323"/>
                <a:gd name="connsiteX38" fmla="*/ 939683 w 2701062"/>
                <a:gd name="connsiteY38" fmla="*/ 2085843 h 3573323"/>
                <a:gd name="connsiteX39" fmla="*/ 994463 w 2701062"/>
                <a:gd name="connsiteY39" fmla="*/ 2132195 h 3573323"/>
                <a:gd name="connsiteX40" fmla="*/ 981821 w 2701062"/>
                <a:gd name="connsiteY40" fmla="*/ 2313389 h 3573323"/>
                <a:gd name="connsiteX41" fmla="*/ 1015532 w 2701062"/>
                <a:gd name="connsiteY41" fmla="*/ 2393452 h 3573323"/>
                <a:gd name="connsiteX42" fmla="*/ 1049242 w 2701062"/>
                <a:gd name="connsiteY42" fmla="*/ 2393452 h 3573323"/>
                <a:gd name="connsiteX43" fmla="*/ 1129305 w 2701062"/>
                <a:gd name="connsiteY43" fmla="*/ 2460873 h 3573323"/>
                <a:gd name="connsiteX44" fmla="*/ 1125091 w 2701062"/>
                <a:gd name="connsiteY44" fmla="*/ 2591502 h 3573323"/>
                <a:gd name="connsiteX45" fmla="*/ 1087167 w 2701062"/>
                <a:gd name="connsiteY45" fmla="*/ 2654709 h 3573323"/>
                <a:gd name="connsiteX46" fmla="*/ 1015532 w 2701062"/>
                <a:gd name="connsiteY46" fmla="*/ 2722130 h 3573323"/>
                <a:gd name="connsiteX47" fmla="*/ 1007104 w 2701062"/>
                <a:gd name="connsiteY47" fmla="*/ 2810621 h 3573323"/>
                <a:gd name="connsiteX48" fmla="*/ 922828 w 2701062"/>
                <a:gd name="connsiteY48" fmla="*/ 2823262 h 3573323"/>
                <a:gd name="connsiteX49" fmla="*/ 868048 w 2701062"/>
                <a:gd name="connsiteY49" fmla="*/ 2827476 h 3573323"/>
                <a:gd name="connsiteX50" fmla="*/ 830123 w 2701062"/>
                <a:gd name="connsiteY50" fmla="*/ 2789551 h 3573323"/>
                <a:gd name="connsiteX51" fmla="*/ 577294 w 2701062"/>
                <a:gd name="connsiteY51" fmla="*/ 2810621 h 3573323"/>
                <a:gd name="connsiteX52" fmla="*/ 568866 w 2701062"/>
                <a:gd name="connsiteY52" fmla="*/ 2915966 h 3573323"/>
                <a:gd name="connsiteX53" fmla="*/ 514087 w 2701062"/>
                <a:gd name="connsiteY53" fmla="*/ 2949677 h 3573323"/>
                <a:gd name="connsiteX54" fmla="*/ 484590 w 2701062"/>
                <a:gd name="connsiteY54" fmla="*/ 2915966 h 3573323"/>
                <a:gd name="connsiteX55" fmla="*/ 446665 w 2701062"/>
                <a:gd name="connsiteY55" fmla="*/ 2941249 h 3573323"/>
                <a:gd name="connsiteX56" fmla="*/ 434024 w 2701062"/>
                <a:gd name="connsiteY56" fmla="*/ 3059236 h 3573323"/>
                <a:gd name="connsiteX57" fmla="*/ 328678 w 2701062"/>
                <a:gd name="connsiteY57" fmla="*/ 3185651 h 3573323"/>
                <a:gd name="connsiteX58" fmla="*/ 273899 w 2701062"/>
                <a:gd name="connsiteY58" fmla="*/ 3198292 h 3573323"/>
                <a:gd name="connsiteX59" fmla="*/ 252829 w 2701062"/>
                <a:gd name="connsiteY59" fmla="*/ 3248858 h 3573323"/>
                <a:gd name="connsiteX60" fmla="*/ 202263 w 2701062"/>
                <a:gd name="connsiteY60" fmla="*/ 3328921 h 3573323"/>
                <a:gd name="connsiteX61" fmla="*/ 164339 w 2701062"/>
                <a:gd name="connsiteY61" fmla="*/ 3358418 h 3573323"/>
                <a:gd name="connsiteX62" fmla="*/ 75849 w 2701062"/>
                <a:gd name="connsiteY62" fmla="*/ 3387915 h 3573323"/>
                <a:gd name="connsiteX63" fmla="*/ 12641 w 2701062"/>
                <a:gd name="connsiteY63" fmla="*/ 3421625 h 3573323"/>
                <a:gd name="connsiteX64" fmla="*/ 0 w 2701062"/>
                <a:gd name="connsiteY64" fmla="*/ 3501688 h 3573323"/>
                <a:gd name="connsiteX65" fmla="*/ 63207 w 2701062"/>
                <a:gd name="connsiteY65" fmla="*/ 3497474 h 3573323"/>
                <a:gd name="connsiteX66" fmla="*/ 96918 w 2701062"/>
                <a:gd name="connsiteY66" fmla="*/ 3451122 h 3573323"/>
                <a:gd name="connsiteX67" fmla="*/ 155911 w 2701062"/>
                <a:gd name="connsiteY67" fmla="*/ 3493260 h 3573323"/>
                <a:gd name="connsiteX68" fmla="*/ 164339 w 2701062"/>
                <a:gd name="connsiteY68" fmla="*/ 3573323 h 3573323"/>
                <a:gd name="connsiteX69" fmla="*/ 265471 w 2701062"/>
                <a:gd name="connsiteY69" fmla="*/ 3522757 h 3573323"/>
                <a:gd name="connsiteX70" fmla="*/ 252829 w 2701062"/>
                <a:gd name="connsiteY70" fmla="*/ 3463763 h 3573323"/>
                <a:gd name="connsiteX71" fmla="*/ 307609 w 2701062"/>
                <a:gd name="connsiteY71" fmla="*/ 3421625 h 3573323"/>
                <a:gd name="connsiteX72" fmla="*/ 345534 w 2701062"/>
                <a:gd name="connsiteY72" fmla="*/ 3383701 h 3573323"/>
                <a:gd name="connsiteX73" fmla="*/ 375030 w 2701062"/>
                <a:gd name="connsiteY73" fmla="*/ 3341562 h 3573323"/>
                <a:gd name="connsiteX74" fmla="*/ 497231 w 2701062"/>
                <a:gd name="connsiteY74" fmla="*/ 3349990 h 3573323"/>
                <a:gd name="connsiteX75" fmla="*/ 497231 w 2701062"/>
                <a:gd name="connsiteY75" fmla="*/ 3349990 h 3573323"/>
                <a:gd name="connsiteX76" fmla="*/ 568866 w 2701062"/>
                <a:gd name="connsiteY76" fmla="*/ 3383701 h 3573323"/>
                <a:gd name="connsiteX77" fmla="*/ 589935 w 2701062"/>
                <a:gd name="connsiteY77" fmla="*/ 3362632 h 3573323"/>
                <a:gd name="connsiteX78" fmla="*/ 648929 w 2701062"/>
                <a:gd name="connsiteY78" fmla="*/ 3392128 h 3573323"/>
                <a:gd name="connsiteX79" fmla="*/ 674212 w 2701062"/>
                <a:gd name="connsiteY79" fmla="*/ 3387915 h 3573323"/>
                <a:gd name="connsiteX80" fmla="*/ 720564 w 2701062"/>
                <a:gd name="connsiteY80" fmla="*/ 3451122 h 3573323"/>
                <a:gd name="connsiteX81" fmla="*/ 754275 w 2701062"/>
                <a:gd name="connsiteY81" fmla="*/ 3442694 h 3573323"/>
                <a:gd name="connsiteX82" fmla="*/ 804840 w 2701062"/>
                <a:gd name="connsiteY82" fmla="*/ 3366845 h 3573323"/>
                <a:gd name="connsiteX83" fmla="*/ 842765 w 2701062"/>
                <a:gd name="connsiteY83" fmla="*/ 3333135 h 3573323"/>
                <a:gd name="connsiteX84" fmla="*/ 830123 w 2701062"/>
                <a:gd name="connsiteY84" fmla="*/ 3278355 h 3573323"/>
                <a:gd name="connsiteX85" fmla="*/ 859620 w 2701062"/>
                <a:gd name="connsiteY85" fmla="*/ 3223575 h 3573323"/>
                <a:gd name="connsiteX86" fmla="*/ 918614 w 2701062"/>
                <a:gd name="connsiteY86" fmla="*/ 3173010 h 3573323"/>
                <a:gd name="connsiteX87" fmla="*/ 1011318 w 2701062"/>
                <a:gd name="connsiteY87" fmla="*/ 3156154 h 3573323"/>
                <a:gd name="connsiteX88" fmla="*/ 1078739 w 2701062"/>
                <a:gd name="connsiteY88" fmla="*/ 3143513 h 3573323"/>
                <a:gd name="connsiteX89" fmla="*/ 1163016 w 2701062"/>
                <a:gd name="connsiteY89" fmla="*/ 3215148 h 3573323"/>
                <a:gd name="connsiteX90" fmla="*/ 1222009 w 2701062"/>
                <a:gd name="connsiteY90" fmla="*/ 3248858 h 3573323"/>
                <a:gd name="connsiteX91" fmla="*/ 1226223 w 2701062"/>
                <a:gd name="connsiteY91" fmla="*/ 3202506 h 3573323"/>
                <a:gd name="connsiteX92" fmla="*/ 1243078 w 2701062"/>
                <a:gd name="connsiteY92" fmla="*/ 3194079 h 3573323"/>
                <a:gd name="connsiteX93" fmla="*/ 1344210 w 2701062"/>
                <a:gd name="connsiteY93" fmla="*/ 3215148 h 3573323"/>
                <a:gd name="connsiteX94" fmla="*/ 1398990 w 2701062"/>
                <a:gd name="connsiteY94" fmla="*/ 3223575 h 3573323"/>
                <a:gd name="connsiteX95" fmla="*/ 1436914 w 2701062"/>
                <a:gd name="connsiteY95" fmla="*/ 3151940 h 3573323"/>
                <a:gd name="connsiteX96" fmla="*/ 1495908 w 2701062"/>
                <a:gd name="connsiteY96" fmla="*/ 3143513 h 3573323"/>
                <a:gd name="connsiteX97" fmla="*/ 1597040 w 2701062"/>
                <a:gd name="connsiteY97" fmla="*/ 3198292 h 3573323"/>
                <a:gd name="connsiteX98" fmla="*/ 1656033 w 2701062"/>
                <a:gd name="connsiteY98" fmla="*/ 3219362 h 3573323"/>
                <a:gd name="connsiteX99" fmla="*/ 1719240 w 2701062"/>
                <a:gd name="connsiteY99" fmla="*/ 3160368 h 3573323"/>
                <a:gd name="connsiteX100" fmla="*/ 1715027 w 2701062"/>
                <a:gd name="connsiteY100" fmla="*/ 3088733 h 3573323"/>
                <a:gd name="connsiteX101" fmla="*/ 1833014 w 2701062"/>
                <a:gd name="connsiteY101" fmla="*/ 3139299 h 3573323"/>
                <a:gd name="connsiteX102" fmla="*/ 1862510 w 2701062"/>
                <a:gd name="connsiteY102" fmla="*/ 3088733 h 3573323"/>
                <a:gd name="connsiteX103" fmla="*/ 2018422 w 2701062"/>
                <a:gd name="connsiteY103" fmla="*/ 3067664 h 3573323"/>
                <a:gd name="connsiteX104" fmla="*/ 2186975 w 2701062"/>
                <a:gd name="connsiteY104" fmla="*/ 3126657 h 3573323"/>
                <a:gd name="connsiteX105" fmla="*/ 2254396 w 2701062"/>
                <a:gd name="connsiteY105" fmla="*/ 3042381 h 3573323"/>
                <a:gd name="connsiteX106" fmla="*/ 2338673 w 2701062"/>
                <a:gd name="connsiteY106" fmla="*/ 3042381 h 3573323"/>
                <a:gd name="connsiteX107" fmla="*/ 2380811 w 2701062"/>
                <a:gd name="connsiteY107" fmla="*/ 2987601 h 3573323"/>
                <a:gd name="connsiteX108" fmla="*/ 2456660 w 2701062"/>
                <a:gd name="connsiteY108" fmla="*/ 2991815 h 3573323"/>
                <a:gd name="connsiteX109" fmla="*/ 2469301 w 2701062"/>
                <a:gd name="connsiteY109" fmla="*/ 2911752 h 3573323"/>
                <a:gd name="connsiteX110" fmla="*/ 2595716 w 2701062"/>
                <a:gd name="connsiteY110" fmla="*/ 2844331 h 3573323"/>
                <a:gd name="connsiteX111" fmla="*/ 2595716 w 2701062"/>
                <a:gd name="connsiteY111" fmla="*/ 2743199 h 3573323"/>
                <a:gd name="connsiteX112" fmla="*/ 2616785 w 2701062"/>
                <a:gd name="connsiteY112" fmla="*/ 2705275 h 3573323"/>
                <a:gd name="connsiteX113" fmla="*/ 2591502 w 2701062"/>
                <a:gd name="connsiteY113" fmla="*/ 2679992 h 3573323"/>
                <a:gd name="connsiteX114" fmla="*/ 2515653 w 2701062"/>
                <a:gd name="connsiteY114" fmla="*/ 2679992 h 3573323"/>
                <a:gd name="connsiteX115" fmla="*/ 2460874 w 2701062"/>
                <a:gd name="connsiteY115" fmla="*/ 2692633 h 3573323"/>
                <a:gd name="connsiteX116" fmla="*/ 2435591 w 2701062"/>
                <a:gd name="connsiteY116" fmla="*/ 2705275 h 3573323"/>
                <a:gd name="connsiteX117" fmla="*/ 2397666 w 2701062"/>
                <a:gd name="connsiteY117" fmla="*/ 2654709 h 3573323"/>
                <a:gd name="connsiteX118" fmla="*/ 2347100 w 2701062"/>
                <a:gd name="connsiteY118" fmla="*/ 2629426 h 3573323"/>
                <a:gd name="connsiteX119" fmla="*/ 2410308 w 2701062"/>
                <a:gd name="connsiteY119" fmla="*/ 2591502 h 3573323"/>
                <a:gd name="connsiteX120" fmla="*/ 2439804 w 2701062"/>
                <a:gd name="connsiteY120" fmla="*/ 2444018 h 3573323"/>
                <a:gd name="connsiteX121" fmla="*/ 2481943 w 2701062"/>
                <a:gd name="connsiteY121" fmla="*/ 2477728 h 3573323"/>
                <a:gd name="connsiteX122" fmla="*/ 2532509 w 2701062"/>
                <a:gd name="connsiteY122" fmla="*/ 2406093 h 3573323"/>
                <a:gd name="connsiteX123" fmla="*/ 2545150 w 2701062"/>
                <a:gd name="connsiteY123" fmla="*/ 2368169 h 3573323"/>
                <a:gd name="connsiteX124" fmla="*/ 2633640 w 2701062"/>
                <a:gd name="connsiteY124" fmla="*/ 2254396 h 3573323"/>
                <a:gd name="connsiteX125" fmla="*/ 2650496 w 2701062"/>
                <a:gd name="connsiteY125" fmla="*/ 2161692 h 3573323"/>
                <a:gd name="connsiteX126" fmla="*/ 2696848 w 2701062"/>
                <a:gd name="connsiteY126" fmla="*/ 2085843 h 3573323"/>
                <a:gd name="connsiteX127" fmla="*/ 2701062 w 2701062"/>
                <a:gd name="connsiteY127" fmla="*/ 1879365 h 3573323"/>
                <a:gd name="connsiteX128" fmla="*/ 2503012 w 2701062"/>
                <a:gd name="connsiteY128" fmla="*/ 1744523 h 3573323"/>
                <a:gd name="connsiteX129" fmla="*/ 2237541 w 2701062"/>
                <a:gd name="connsiteY129" fmla="*/ 1715026 h 3573323"/>
                <a:gd name="connsiteX130" fmla="*/ 2161692 w 2701062"/>
                <a:gd name="connsiteY130" fmla="*/ 1803516 h 3573323"/>
                <a:gd name="connsiteX131" fmla="*/ 2123768 w 2701062"/>
                <a:gd name="connsiteY131" fmla="*/ 1795089 h 3573323"/>
                <a:gd name="connsiteX132" fmla="*/ 2111126 w 2701062"/>
                <a:gd name="connsiteY132" fmla="*/ 1744523 h 3573323"/>
                <a:gd name="connsiteX133" fmla="*/ 2203830 w 2701062"/>
                <a:gd name="connsiteY133" fmla="*/ 1647605 h 3573323"/>
                <a:gd name="connsiteX134" fmla="*/ 2178547 w 2701062"/>
                <a:gd name="connsiteY134" fmla="*/ 1508549 h 3573323"/>
                <a:gd name="connsiteX135" fmla="*/ 2090057 w 2701062"/>
                <a:gd name="connsiteY135" fmla="*/ 1415845 h 3573323"/>
                <a:gd name="connsiteX136" fmla="*/ 2056346 w 2701062"/>
                <a:gd name="connsiteY136" fmla="*/ 1386348 h 3573323"/>
                <a:gd name="connsiteX137" fmla="*/ 2127981 w 2701062"/>
                <a:gd name="connsiteY137" fmla="*/ 1373706 h 3573323"/>
                <a:gd name="connsiteX138" fmla="*/ 2127981 w 2701062"/>
                <a:gd name="connsiteY138" fmla="*/ 1339996 h 3573323"/>
                <a:gd name="connsiteX139" fmla="*/ 2031063 w 2701062"/>
                <a:gd name="connsiteY139" fmla="*/ 1213581 h 3573323"/>
                <a:gd name="connsiteX140" fmla="*/ 2022636 w 2701062"/>
                <a:gd name="connsiteY140" fmla="*/ 1129304 h 3573323"/>
                <a:gd name="connsiteX141" fmla="*/ 2056346 w 2701062"/>
                <a:gd name="connsiteY141" fmla="*/ 1066097 h 3573323"/>
                <a:gd name="connsiteX142" fmla="*/ 2039491 w 2701062"/>
                <a:gd name="connsiteY142" fmla="*/ 1032386 h 3573323"/>
                <a:gd name="connsiteX143" fmla="*/ 1967856 w 2701062"/>
                <a:gd name="connsiteY143" fmla="*/ 1011317 h 3573323"/>
                <a:gd name="connsiteX144" fmla="*/ 1929932 w 2701062"/>
                <a:gd name="connsiteY144" fmla="*/ 952324 h 3573323"/>
                <a:gd name="connsiteX145" fmla="*/ 1934146 w 2701062"/>
                <a:gd name="connsiteY145" fmla="*/ 893330 h 3573323"/>
                <a:gd name="connsiteX146" fmla="*/ 1727668 w 2701062"/>
                <a:gd name="connsiteY146" fmla="*/ 775343 h 3573323"/>
                <a:gd name="connsiteX147" fmla="*/ 1664461 w 2701062"/>
                <a:gd name="connsiteY147" fmla="*/ 716350 h 3573323"/>
                <a:gd name="connsiteX148" fmla="*/ 1516977 w 2701062"/>
                <a:gd name="connsiteY148" fmla="*/ 176981 h 3573323"/>
                <a:gd name="connsiteX149" fmla="*/ 1356851 w 2701062"/>
                <a:gd name="connsiteY149" fmla="*/ 0 h 3573323"/>
                <a:gd name="connsiteX0" fmla="*/ 1356851 w 2701062"/>
                <a:gd name="connsiteY0" fmla="*/ 8428 h 3573323"/>
                <a:gd name="connsiteX1" fmla="*/ 1323141 w 2701062"/>
                <a:gd name="connsiteY1" fmla="*/ 101132 h 3573323"/>
                <a:gd name="connsiteX2" fmla="*/ 1281002 w 2701062"/>
                <a:gd name="connsiteY2" fmla="*/ 257044 h 3573323"/>
                <a:gd name="connsiteX3" fmla="*/ 1141946 w 2701062"/>
                <a:gd name="connsiteY3" fmla="*/ 391886 h 3573323"/>
                <a:gd name="connsiteX4" fmla="*/ 876475 w 2701062"/>
                <a:gd name="connsiteY4" fmla="*/ 648928 h 3573323"/>
                <a:gd name="connsiteX5" fmla="*/ 804840 w 2701062"/>
                <a:gd name="connsiteY5" fmla="*/ 720563 h 3573323"/>
                <a:gd name="connsiteX6" fmla="*/ 813268 w 2701062"/>
                <a:gd name="connsiteY6" fmla="*/ 851192 h 3573323"/>
                <a:gd name="connsiteX7" fmla="*/ 897545 w 2701062"/>
                <a:gd name="connsiteY7" fmla="*/ 1019745 h 3573323"/>
                <a:gd name="connsiteX8" fmla="*/ 943897 w 2701062"/>
                <a:gd name="connsiteY8" fmla="*/ 1104021 h 3573323"/>
                <a:gd name="connsiteX9" fmla="*/ 964966 w 2701062"/>
                <a:gd name="connsiteY9" fmla="*/ 1133518 h 3573323"/>
                <a:gd name="connsiteX10" fmla="*/ 994463 w 2701062"/>
                <a:gd name="connsiteY10" fmla="*/ 1108235 h 3573323"/>
                <a:gd name="connsiteX11" fmla="*/ 1011318 w 2701062"/>
                <a:gd name="connsiteY11" fmla="*/ 1053456 h 3573323"/>
                <a:gd name="connsiteX12" fmla="*/ 1057670 w 2701062"/>
                <a:gd name="connsiteY12" fmla="*/ 1045028 h 3573323"/>
                <a:gd name="connsiteX13" fmla="*/ 1053456 w 2701062"/>
                <a:gd name="connsiteY13" fmla="*/ 1108235 h 3573323"/>
                <a:gd name="connsiteX14" fmla="*/ 1040815 w 2701062"/>
                <a:gd name="connsiteY14" fmla="*/ 1141946 h 3573323"/>
                <a:gd name="connsiteX15" fmla="*/ 1049242 w 2701062"/>
                <a:gd name="connsiteY15" fmla="*/ 1167229 h 3573323"/>
                <a:gd name="connsiteX16" fmla="*/ 986035 w 2701062"/>
                <a:gd name="connsiteY16" fmla="*/ 1184084 h 3573323"/>
                <a:gd name="connsiteX17" fmla="*/ 1011318 w 2701062"/>
                <a:gd name="connsiteY17" fmla="*/ 1318927 h 3573323"/>
                <a:gd name="connsiteX18" fmla="*/ 1049242 w 2701062"/>
                <a:gd name="connsiteY18" fmla="*/ 1314713 h 3573323"/>
                <a:gd name="connsiteX19" fmla="*/ 1040815 w 2701062"/>
                <a:gd name="connsiteY19" fmla="*/ 1377920 h 3573323"/>
                <a:gd name="connsiteX20" fmla="*/ 981821 w 2701062"/>
                <a:gd name="connsiteY20" fmla="*/ 1411631 h 3573323"/>
                <a:gd name="connsiteX21" fmla="*/ 931255 w 2701062"/>
                <a:gd name="connsiteY21" fmla="*/ 1411631 h 3573323"/>
                <a:gd name="connsiteX22" fmla="*/ 897545 w 2701062"/>
                <a:gd name="connsiteY22" fmla="*/ 1474838 h 3573323"/>
                <a:gd name="connsiteX23" fmla="*/ 901758 w 2701062"/>
                <a:gd name="connsiteY23" fmla="*/ 1504335 h 3573323"/>
                <a:gd name="connsiteX24" fmla="*/ 948110 w 2701062"/>
                <a:gd name="connsiteY24" fmla="*/ 1512762 h 3573323"/>
                <a:gd name="connsiteX25" fmla="*/ 931255 w 2701062"/>
                <a:gd name="connsiteY25" fmla="*/ 1550687 h 3573323"/>
                <a:gd name="connsiteX26" fmla="*/ 952324 w 2701062"/>
                <a:gd name="connsiteY26" fmla="*/ 1559115 h 3573323"/>
                <a:gd name="connsiteX27" fmla="*/ 1015532 w 2701062"/>
                <a:gd name="connsiteY27" fmla="*/ 1563328 h 3573323"/>
                <a:gd name="connsiteX28" fmla="*/ 1040815 w 2701062"/>
                <a:gd name="connsiteY28" fmla="*/ 1601253 h 3573323"/>
                <a:gd name="connsiteX29" fmla="*/ 1036601 w 2701062"/>
                <a:gd name="connsiteY29" fmla="*/ 1639177 h 3573323"/>
                <a:gd name="connsiteX30" fmla="*/ 1104022 w 2701062"/>
                <a:gd name="connsiteY30" fmla="*/ 1740309 h 3573323"/>
                <a:gd name="connsiteX31" fmla="*/ 1053456 w 2701062"/>
                <a:gd name="connsiteY31" fmla="*/ 1765592 h 3573323"/>
                <a:gd name="connsiteX32" fmla="*/ 998676 w 2701062"/>
                <a:gd name="connsiteY32" fmla="*/ 1761378 h 3573323"/>
                <a:gd name="connsiteX33" fmla="*/ 964966 w 2701062"/>
                <a:gd name="connsiteY33" fmla="*/ 1841441 h 3573323"/>
                <a:gd name="connsiteX34" fmla="*/ 1015532 w 2701062"/>
                <a:gd name="connsiteY34" fmla="*/ 1883579 h 3573323"/>
                <a:gd name="connsiteX35" fmla="*/ 994463 w 2701062"/>
                <a:gd name="connsiteY35" fmla="*/ 1980497 h 3573323"/>
                <a:gd name="connsiteX36" fmla="*/ 1019746 w 2701062"/>
                <a:gd name="connsiteY36" fmla="*/ 2014208 h 3573323"/>
                <a:gd name="connsiteX37" fmla="*/ 990249 w 2701062"/>
                <a:gd name="connsiteY37" fmla="*/ 2047918 h 3573323"/>
                <a:gd name="connsiteX38" fmla="*/ 948110 w 2701062"/>
                <a:gd name="connsiteY38" fmla="*/ 2047918 h 3573323"/>
                <a:gd name="connsiteX39" fmla="*/ 939683 w 2701062"/>
                <a:gd name="connsiteY39" fmla="*/ 2085843 h 3573323"/>
                <a:gd name="connsiteX40" fmla="*/ 994463 w 2701062"/>
                <a:gd name="connsiteY40" fmla="*/ 2132195 h 3573323"/>
                <a:gd name="connsiteX41" fmla="*/ 981821 w 2701062"/>
                <a:gd name="connsiteY41" fmla="*/ 2313389 h 3573323"/>
                <a:gd name="connsiteX42" fmla="*/ 1015532 w 2701062"/>
                <a:gd name="connsiteY42" fmla="*/ 2393452 h 3573323"/>
                <a:gd name="connsiteX43" fmla="*/ 1049242 w 2701062"/>
                <a:gd name="connsiteY43" fmla="*/ 2393452 h 3573323"/>
                <a:gd name="connsiteX44" fmla="*/ 1129305 w 2701062"/>
                <a:gd name="connsiteY44" fmla="*/ 2460873 h 3573323"/>
                <a:gd name="connsiteX45" fmla="*/ 1125091 w 2701062"/>
                <a:gd name="connsiteY45" fmla="*/ 2591502 h 3573323"/>
                <a:gd name="connsiteX46" fmla="*/ 1087167 w 2701062"/>
                <a:gd name="connsiteY46" fmla="*/ 2654709 h 3573323"/>
                <a:gd name="connsiteX47" fmla="*/ 1015532 w 2701062"/>
                <a:gd name="connsiteY47" fmla="*/ 2722130 h 3573323"/>
                <a:gd name="connsiteX48" fmla="*/ 1007104 w 2701062"/>
                <a:gd name="connsiteY48" fmla="*/ 2810621 h 3573323"/>
                <a:gd name="connsiteX49" fmla="*/ 922828 w 2701062"/>
                <a:gd name="connsiteY49" fmla="*/ 2823262 h 3573323"/>
                <a:gd name="connsiteX50" fmla="*/ 868048 w 2701062"/>
                <a:gd name="connsiteY50" fmla="*/ 2827476 h 3573323"/>
                <a:gd name="connsiteX51" fmla="*/ 830123 w 2701062"/>
                <a:gd name="connsiteY51" fmla="*/ 2789551 h 3573323"/>
                <a:gd name="connsiteX52" fmla="*/ 577294 w 2701062"/>
                <a:gd name="connsiteY52" fmla="*/ 2810621 h 3573323"/>
                <a:gd name="connsiteX53" fmla="*/ 568866 w 2701062"/>
                <a:gd name="connsiteY53" fmla="*/ 2915966 h 3573323"/>
                <a:gd name="connsiteX54" fmla="*/ 514087 w 2701062"/>
                <a:gd name="connsiteY54" fmla="*/ 2949677 h 3573323"/>
                <a:gd name="connsiteX55" fmla="*/ 484590 w 2701062"/>
                <a:gd name="connsiteY55" fmla="*/ 2915966 h 3573323"/>
                <a:gd name="connsiteX56" fmla="*/ 446665 w 2701062"/>
                <a:gd name="connsiteY56" fmla="*/ 2941249 h 3573323"/>
                <a:gd name="connsiteX57" fmla="*/ 434024 w 2701062"/>
                <a:gd name="connsiteY57" fmla="*/ 3059236 h 3573323"/>
                <a:gd name="connsiteX58" fmla="*/ 328678 w 2701062"/>
                <a:gd name="connsiteY58" fmla="*/ 3185651 h 3573323"/>
                <a:gd name="connsiteX59" fmla="*/ 273899 w 2701062"/>
                <a:gd name="connsiteY59" fmla="*/ 3198292 h 3573323"/>
                <a:gd name="connsiteX60" fmla="*/ 252829 w 2701062"/>
                <a:gd name="connsiteY60" fmla="*/ 3248858 h 3573323"/>
                <a:gd name="connsiteX61" fmla="*/ 202263 w 2701062"/>
                <a:gd name="connsiteY61" fmla="*/ 3328921 h 3573323"/>
                <a:gd name="connsiteX62" fmla="*/ 164339 w 2701062"/>
                <a:gd name="connsiteY62" fmla="*/ 3358418 h 3573323"/>
                <a:gd name="connsiteX63" fmla="*/ 75849 w 2701062"/>
                <a:gd name="connsiteY63" fmla="*/ 3387915 h 3573323"/>
                <a:gd name="connsiteX64" fmla="*/ 12641 w 2701062"/>
                <a:gd name="connsiteY64" fmla="*/ 3421625 h 3573323"/>
                <a:gd name="connsiteX65" fmla="*/ 0 w 2701062"/>
                <a:gd name="connsiteY65" fmla="*/ 3501688 h 3573323"/>
                <a:gd name="connsiteX66" fmla="*/ 63207 w 2701062"/>
                <a:gd name="connsiteY66" fmla="*/ 3497474 h 3573323"/>
                <a:gd name="connsiteX67" fmla="*/ 96918 w 2701062"/>
                <a:gd name="connsiteY67" fmla="*/ 3451122 h 3573323"/>
                <a:gd name="connsiteX68" fmla="*/ 155911 w 2701062"/>
                <a:gd name="connsiteY68" fmla="*/ 3493260 h 3573323"/>
                <a:gd name="connsiteX69" fmla="*/ 164339 w 2701062"/>
                <a:gd name="connsiteY69" fmla="*/ 3573323 h 3573323"/>
                <a:gd name="connsiteX70" fmla="*/ 265471 w 2701062"/>
                <a:gd name="connsiteY70" fmla="*/ 3522757 h 3573323"/>
                <a:gd name="connsiteX71" fmla="*/ 252829 w 2701062"/>
                <a:gd name="connsiteY71" fmla="*/ 3463763 h 3573323"/>
                <a:gd name="connsiteX72" fmla="*/ 307609 w 2701062"/>
                <a:gd name="connsiteY72" fmla="*/ 3421625 h 3573323"/>
                <a:gd name="connsiteX73" fmla="*/ 345534 w 2701062"/>
                <a:gd name="connsiteY73" fmla="*/ 3383701 h 3573323"/>
                <a:gd name="connsiteX74" fmla="*/ 375030 w 2701062"/>
                <a:gd name="connsiteY74" fmla="*/ 3341562 h 3573323"/>
                <a:gd name="connsiteX75" fmla="*/ 497231 w 2701062"/>
                <a:gd name="connsiteY75" fmla="*/ 3349990 h 3573323"/>
                <a:gd name="connsiteX76" fmla="*/ 497231 w 2701062"/>
                <a:gd name="connsiteY76" fmla="*/ 3349990 h 3573323"/>
                <a:gd name="connsiteX77" fmla="*/ 568866 w 2701062"/>
                <a:gd name="connsiteY77" fmla="*/ 3383701 h 3573323"/>
                <a:gd name="connsiteX78" fmla="*/ 589935 w 2701062"/>
                <a:gd name="connsiteY78" fmla="*/ 3362632 h 3573323"/>
                <a:gd name="connsiteX79" fmla="*/ 648929 w 2701062"/>
                <a:gd name="connsiteY79" fmla="*/ 3392128 h 3573323"/>
                <a:gd name="connsiteX80" fmla="*/ 674212 w 2701062"/>
                <a:gd name="connsiteY80" fmla="*/ 3387915 h 3573323"/>
                <a:gd name="connsiteX81" fmla="*/ 720564 w 2701062"/>
                <a:gd name="connsiteY81" fmla="*/ 3451122 h 3573323"/>
                <a:gd name="connsiteX82" fmla="*/ 754275 w 2701062"/>
                <a:gd name="connsiteY82" fmla="*/ 3442694 h 3573323"/>
                <a:gd name="connsiteX83" fmla="*/ 804840 w 2701062"/>
                <a:gd name="connsiteY83" fmla="*/ 3366845 h 3573323"/>
                <a:gd name="connsiteX84" fmla="*/ 842765 w 2701062"/>
                <a:gd name="connsiteY84" fmla="*/ 3333135 h 3573323"/>
                <a:gd name="connsiteX85" fmla="*/ 830123 w 2701062"/>
                <a:gd name="connsiteY85" fmla="*/ 3278355 h 3573323"/>
                <a:gd name="connsiteX86" fmla="*/ 859620 w 2701062"/>
                <a:gd name="connsiteY86" fmla="*/ 3223575 h 3573323"/>
                <a:gd name="connsiteX87" fmla="*/ 918614 w 2701062"/>
                <a:gd name="connsiteY87" fmla="*/ 3173010 h 3573323"/>
                <a:gd name="connsiteX88" fmla="*/ 1011318 w 2701062"/>
                <a:gd name="connsiteY88" fmla="*/ 3156154 h 3573323"/>
                <a:gd name="connsiteX89" fmla="*/ 1078739 w 2701062"/>
                <a:gd name="connsiteY89" fmla="*/ 3143513 h 3573323"/>
                <a:gd name="connsiteX90" fmla="*/ 1163016 w 2701062"/>
                <a:gd name="connsiteY90" fmla="*/ 3215148 h 3573323"/>
                <a:gd name="connsiteX91" fmla="*/ 1222009 w 2701062"/>
                <a:gd name="connsiteY91" fmla="*/ 3248858 h 3573323"/>
                <a:gd name="connsiteX92" fmla="*/ 1226223 w 2701062"/>
                <a:gd name="connsiteY92" fmla="*/ 3202506 h 3573323"/>
                <a:gd name="connsiteX93" fmla="*/ 1243078 w 2701062"/>
                <a:gd name="connsiteY93" fmla="*/ 3194079 h 3573323"/>
                <a:gd name="connsiteX94" fmla="*/ 1344210 w 2701062"/>
                <a:gd name="connsiteY94" fmla="*/ 3215148 h 3573323"/>
                <a:gd name="connsiteX95" fmla="*/ 1398990 w 2701062"/>
                <a:gd name="connsiteY95" fmla="*/ 3223575 h 3573323"/>
                <a:gd name="connsiteX96" fmla="*/ 1436914 w 2701062"/>
                <a:gd name="connsiteY96" fmla="*/ 3151940 h 3573323"/>
                <a:gd name="connsiteX97" fmla="*/ 1495908 w 2701062"/>
                <a:gd name="connsiteY97" fmla="*/ 3143513 h 3573323"/>
                <a:gd name="connsiteX98" fmla="*/ 1597040 w 2701062"/>
                <a:gd name="connsiteY98" fmla="*/ 3198292 h 3573323"/>
                <a:gd name="connsiteX99" fmla="*/ 1656033 w 2701062"/>
                <a:gd name="connsiteY99" fmla="*/ 3219362 h 3573323"/>
                <a:gd name="connsiteX100" fmla="*/ 1719240 w 2701062"/>
                <a:gd name="connsiteY100" fmla="*/ 3160368 h 3573323"/>
                <a:gd name="connsiteX101" fmla="*/ 1715027 w 2701062"/>
                <a:gd name="connsiteY101" fmla="*/ 3088733 h 3573323"/>
                <a:gd name="connsiteX102" fmla="*/ 1833014 w 2701062"/>
                <a:gd name="connsiteY102" fmla="*/ 3139299 h 3573323"/>
                <a:gd name="connsiteX103" fmla="*/ 1862510 w 2701062"/>
                <a:gd name="connsiteY103" fmla="*/ 3088733 h 3573323"/>
                <a:gd name="connsiteX104" fmla="*/ 2018422 w 2701062"/>
                <a:gd name="connsiteY104" fmla="*/ 3067664 h 3573323"/>
                <a:gd name="connsiteX105" fmla="*/ 2186975 w 2701062"/>
                <a:gd name="connsiteY105" fmla="*/ 3126657 h 3573323"/>
                <a:gd name="connsiteX106" fmla="*/ 2254396 w 2701062"/>
                <a:gd name="connsiteY106" fmla="*/ 3042381 h 3573323"/>
                <a:gd name="connsiteX107" fmla="*/ 2338673 w 2701062"/>
                <a:gd name="connsiteY107" fmla="*/ 3042381 h 3573323"/>
                <a:gd name="connsiteX108" fmla="*/ 2380811 w 2701062"/>
                <a:gd name="connsiteY108" fmla="*/ 2987601 h 3573323"/>
                <a:gd name="connsiteX109" fmla="*/ 2456660 w 2701062"/>
                <a:gd name="connsiteY109" fmla="*/ 2991815 h 3573323"/>
                <a:gd name="connsiteX110" fmla="*/ 2469301 w 2701062"/>
                <a:gd name="connsiteY110" fmla="*/ 2911752 h 3573323"/>
                <a:gd name="connsiteX111" fmla="*/ 2595716 w 2701062"/>
                <a:gd name="connsiteY111" fmla="*/ 2844331 h 3573323"/>
                <a:gd name="connsiteX112" fmla="*/ 2595716 w 2701062"/>
                <a:gd name="connsiteY112" fmla="*/ 2743199 h 3573323"/>
                <a:gd name="connsiteX113" fmla="*/ 2616785 w 2701062"/>
                <a:gd name="connsiteY113" fmla="*/ 2705275 h 3573323"/>
                <a:gd name="connsiteX114" fmla="*/ 2591502 w 2701062"/>
                <a:gd name="connsiteY114" fmla="*/ 2679992 h 3573323"/>
                <a:gd name="connsiteX115" fmla="*/ 2515653 w 2701062"/>
                <a:gd name="connsiteY115" fmla="*/ 2679992 h 3573323"/>
                <a:gd name="connsiteX116" fmla="*/ 2460874 w 2701062"/>
                <a:gd name="connsiteY116" fmla="*/ 2692633 h 3573323"/>
                <a:gd name="connsiteX117" fmla="*/ 2435591 w 2701062"/>
                <a:gd name="connsiteY117" fmla="*/ 2705275 h 3573323"/>
                <a:gd name="connsiteX118" fmla="*/ 2397666 w 2701062"/>
                <a:gd name="connsiteY118" fmla="*/ 2654709 h 3573323"/>
                <a:gd name="connsiteX119" fmla="*/ 2347100 w 2701062"/>
                <a:gd name="connsiteY119" fmla="*/ 2629426 h 3573323"/>
                <a:gd name="connsiteX120" fmla="*/ 2410308 w 2701062"/>
                <a:gd name="connsiteY120" fmla="*/ 2591502 h 3573323"/>
                <a:gd name="connsiteX121" fmla="*/ 2439804 w 2701062"/>
                <a:gd name="connsiteY121" fmla="*/ 2444018 h 3573323"/>
                <a:gd name="connsiteX122" fmla="*/ 2481943 w 2701062"/>
                <a:gd name="connsiteY122" fmla="*/ 2477728 h 3573323"/>
                <a:gd name="connsiteX123" fmla="*/ 2532509 w 2701062"/>
                <a:gd name="connsiteY123" fmla="*/ 2406093 h 3573323"/>
                <a:gd name="connsiteX124" fmla="*/ 2545150 w 2701062"/>
                <a:gd name="connsiteY124" fmla="*/ 2368169 h 3573323"/>
                <a:gd name="connsiteX125" fmla="*/ 2633640 w 2701062"/>
                <a:gd name="connsiteY125" fmla="*/ 2254396 h 3573323"/>
                <a:gd name="connsiteX126" fmla="*/ 2650496 w 2701062"/>
                <a:gd name="connsiteY126" fmla="*/ 2161692 h 3573323"/>
                <a:gd name="connsiteX127" fmla="*/ 2696848 w 2701062"/>
                <a:gd name="connsiteY127" fmla="*/ 2085843 h 3573323"/>
                <a:gd name="connsiteX128" fmla="*/ 2701062 w 2701062"/>
                <a:gd name="connsiteY128" fmla="*/ 1879365 h 3573323"/>
                <a:gd name="connsiteX129" fmla="*/ 2503012 w 2701062"/>
                <a:gd name="connsiteY129" fmla="*/ 1744523 h 3573323"/>
                <a:gd name="connsiteX130" fmla="*/ 2237541 w 2701062"/>
                <a:gd name="connsiteY130" fmla="*/ 1715026 h 3573323"/>
                <a:gd name="connsiteX131" fmla="*/ 2161692 w 2701062"/>
                <a:gd name="connsiteY131" fmla="*/ 1803516 h 3573323"/>
                <a:gd name="connsiteX132" fmla="*/ 2123768 w 2701062"/>
                <a:gd name="connsiteY132" fmla="*/ 1795089 h 3573323"/>
                <a:gd name="connsiteX133" fmla="*/ 2111126 w 2701062"/>
                <a:gd name="connsiteY133" fmla="*/ 1744523 h 3573323"/>
                <a:gd name="connsiteX134" fmla="*/ 2203830 w 2701062"/>
                <a:gd name="connsiteY134" fmla="*/ 1647605 h 3573323"/>
                <a:gd name="connsiteX135" fmla="*/ 2178547 w 2701062"/>
                <a:gd name="connsiteY135" fmla="*/ 1508549 h 3573323"/>
                <a:gd name="connsiteX136" fmla="*/ 2090057 w 2701062"/>
                <a:gd name="connsiteY136" fmla="*/ 1415845 h 3573323"/>
                <a:gd name="connsiteX137" fmla="*/ 2056346 w 2701062"/>
                <a:gd name="connsiteY137" fmla="*/ 1386348 h 3573323"/>
                <a:gd name="connsiteX138" fmla="*/ 2127981 w 2701062"/>
                <a:gd name="connsiteY138" fmla="*/ 1373706 h 3573323"/>
                <a:gd name="connsiteX139" fmla="*/ 2127981 w 2701062"/>
                <a:gd name="connsiteY139" fmla="*/ 1339996 h 3573323"/>
                <a:gd name="connsiteX140" fmla="*/ 2031063 w 2701062"/>
                <a:gd name="connsiteY140" fmla="*/ 1213581 h 3573323"/>
                <a:gd name="connsiteX141" fmla="*/ 2022636 w 2701062"/>
                <a:gd name="connsiteY141" fmla="*/ 1129304 h 3573323"/>
                <a:gd name="connsiteX142" fmla="*/ 2056346 w 2701062"/>
                <a:gd name="connsiteY142" fmla="*/ 1066097 h 3573323"/>
                <a:gd name="connsiteX143" fmla="*/ 2039491 w 2701062"/>
                <a:gd name="connsiteY143" fmla="*/ 1032386 h 3573323"/>
                <a:gd name="connsiteX144" fmla="*/ 1967856 w 2701062"/>
                <a:gd name="connsiteY144" fmla="*/ 1011317 h 3573323"/>
                <a:gd name="connsiteX145" fmla="*/ 1929932 w 2701062"/>
                <a:gd name="connsiteY145" fmla="*/ 952324 h 3573323"/>
                <a:gd name="connsiteX146" fmla="*/ 1934146 w 2701062"/>
                <a:gd name="connsiteY146" fmla="*/ 893330 h 3573323"/>
                <a:gd name="connsiteX147" fmla="*/ 1727668 w 2701062"/>
                <a:gd name="connsiteY147" fmla="*/ 775343 h 3573323"/>
                <a:gd name="connsiteX148" fmla="*/ 1664461 w 2701062"/>
                <a:gd name="connsiteY148" fmla="*/ 716350 h 3573323"/>
                <a:gd name="connsiteX149" fmla="*/ 1516977 w 2701062"/>
                <a:gd name="connsiteY149" fmla="*/ 176981 h 3573323"/>
                <a:gd name="connsiteX150" fmla="*/ 1356851 w 2701062"/>
                <a:gd name="connsiteY150" fmla="*/ 0 h 3573323"/>
                <a:gd name="connsiteX0" fmla="*/ 1356851 w 2701062"/>
                <a:gd name="connsiteY0" fmla="*/ 8428 h 3573323"/>
                <a:gd name="connsiteX1" fmla="*/ 1264148 w 2701062"/>
                <a:gd name="connsiteY1" fmla="*/ 117987 h 3573323"/>
                <a:gd name="connsiteX2" fmla="*/ 1281002 w 2701062"/>
                <a:gd name="connsiteY2" fmla="*/ 257044 h 3573323"/>
                <a:gd name="connsiteX3" fmla="*/ 1141946 w 2701062"/>
                <a:gd name="connsiteY3" fmla="*/ 391886 h 3573323"/>
                <a:gd name="connsiteX4" fmla="*/ 876475 w 2701062"/>
                <a:gd name="connsiteY4" fmla="*/ 648928 h 3573323"/>
                <a:gd name="connsiteX5" fmla="*/ 804840 w 2701062"/>
                <a:gd name="connsiteY5" fmla="*/ 720563 h 3573323"/>
                <a:gd name="connsiteX6" fmla="*/ 813268 w 2701062"/>
                <a:gd name="connsiteY6" fmla="*/ 851192 h 3573323"/>
                <a:gd name="connsiteX7" fmla="*/ 897545 w 2701062"/>
                <a:gd name="connsiteY7" fmla="*/ 1019745 h 3573323"/>
                <a:gd name="connsiteX8" fmla="*/ 943897 w 2701062"/>
                <a:gd name="connsiteY8" fmla="*/ 1104021 h 3573323"/>
                <a:gd name="connsiteX9" fmla="*/ 964966 w 2701062"/>
                <a:gd name="connsiteY9" fmla="*/ 1133518 h 3573323"/>
                <a:gd name="connsiteX10" fmla="*/ 994463 w 2701062"/>
                <a:gd name="connsiteY10" fmla="*/ 1108235 h 3573323"/>
                <a:gd name="connsiteX11" fmla="*/ 1011318 w 2701062"/>
                <a:gd name="connsiteY11" fmla="*/ 1053456 h 3573323"/>
                <a:gd name="connsiteX12" fmla="*/ 1057670 w 2701062"/>
                <a:gd name="connsiteY12" fmla="*/ 1045028 h 3573323"/>
                <a:gd name="connsiteX13" fmla="*/ 1053456 w 2701062"/>
                <a:gd name="connsiteY13" fmla="*/ 1108235 h 3573323"/>
                <a:gd name="connsiteX14" fmla="*/ 1040815 w 2701062"/>
                <a:gd name="connsiteY14" fmla="*/ 1141946 h 3573323"/>
                <a:gd name="connsiteX15" fmla="*/ 1049242 w 2701062"/>
                <a:gd name="connsiteY15" fmla="*/ 1167229 h 3573323"/>
                <a:gd name="connsiteX16" fmla="*/ 986035 w 2701062"/>
                <a:gd name="connsiteY16" fmla="*/ 1184084 h 3573323"/>
                <a:gd name="connsiteX17" fmla="*/ 1011318 w 2701062"/>
                <a:gd name="connsiteY17" fmla="*/ 1318927 h 3573323"/>
                <a:gd name="connsiteX18" fmla="*/ 1049242 w 2701062"/>
                <a:gd name="connsiteY18" fmla="*/ 1314713 h 3573323"/>
                <a:gd name="connsiteX19" fmla="*/ 1040815 w 2701062"/>
                <a:gd name="connsiteY19" fmla="*/ 1377920 h 3573323"/>
                <a:gd name="connsiteX20" fmla="*/ 981821 w 2701062"/>
                <a:gd name="connsiteY20" fmla="*/ 1411631 h 3573323"/>
                <a:gd name="connsiteX21" fmla="*/ 931255 w 2701062"/>
                <a:gd name="connsiteY21" fmla="*/ 1411631 h 3573323"/>
                <a:gd name="connsiteX22" fmla="*/ 897545 w 2701062"/>
                <a:gd name="connsiteY22" fmla="*/ 1474838 h 3573323"/>
                <a:gd name="connsiteX23" fmla="*/ 901758 w 2701062"/>
                <a:gd name="connsiteY23" fmla="*/ 1504335 h 3573323"/>
                <a:gd name="connsiteX24" fmla="*/ 948110 w 2701062"/>
                <a:gd name="connsiteY24" fmla="*/ 1512762 h 3573323"/>
                <a:gd name="connsiteX25" fmla="*/ 931255 w 2701062"/>
                <a:gd name="connsiteY25" fmla="*/ 1550687 h 3573323"/>
                <a:gd name="connsiteX26" fmla="*/ 952324 w 2701062"/>
                <a:gd name="connsiteY26" fmla="*/ 1559115 h 3573323"/>
                <a:gd name="connsiteX27" fmla="*/ 1015532 w 2701062"/>
                <a:gd name="connsiteY27" fmla="*/ 1563328 h 3573323"/>
                <a:gd name="connsiteX28" fmla="*/ 1040815 w 2701062"/>
                <a:gd name="connsiteY28" fmla="*/ 1601253 h 3573323"/>
                <a:gd name="connsiteX29" fmla="*/ 1036601 w 2701062"/>
                <a:gd name="connsiteY29" fmla="*/ 1639177 h 3573323"/>
                <a:gd name="connsiteX30" fmla="*/ 1104022 w 2701062"/>
                <a:gd name="connsiteY30" fmla="*/ 1740309 h 3573323"/>
                <a:gd name="connsiteX31" fmla="*/ 1053456 w 2701062"/>
                <a:gd name="connsiteY31" fmla="*/ 1765592 h 3573323"/>
                <a:gd name="connsiteX32" fmla="*/ 998676 w 2701062"/>
                <a:gd name="connsiteY32" fmla="*/ 1761378 h 3573323"/>
                <a:gd name="connsiteX33" fmla="*/ 964966 w 2701062"/>
                <a:gd name="connsiteY33" fmla="*/ 1841441 h 3573323"/>
                <a:gd name="connsiteX34" fmla="*/ 1015532 w 2701062"/>
                <a:gd name="connsiteY34" fmla="*/ 1883579 h 3573323"/>
                <a:gd name="connsiteX35" fmla="*/ 994463 w 2701062"/>
                <a:gd name="connsiteY35" fmla="*/ 1980497 h 3573323"/>
                <a:gd name="connsiteX36" fmla="*/ 1019746 w 2701062"/>
                <a:gd name="connsiteY36" fmla="*/ 2014208 h 3573323"/>
                <a:gd name="connsiteX37" fmla="*/ 990249 w 2701062"/>
                <a:gd name="connsiteY37" fmla="*/ 2047918 h 3573323"/>
                <a:gd name="connsiteX38" fmla="*/ 948110 w 2701062"/>
                <a:gd name="connsiteY38" fmla="*/ 2047918 h 3573323"/>
                <a:gd name="connsiteX39" fmla="*/ 939683 w 2701062"/>
                <a:gd name="connsiteY39" fmla="*/ 2085843 h 3573323"/>
                <a:gd name="connsiteX40" fmla="*/ 994463 w 2701062"/>
                <a:gd name="connsiteY40" fmla="*/ 2132195 h 3573323"/>
                <a:gd name="connsiteX41" fmla="*/ 981821 w 2701062"/>
                <a:gd name="connsiteY41" fmla="*/ 2313389 h 3573323"/>
                <a:gd name="connsiteX42" fmla="*/ 1015532 w 2701062"/>
                <a:gd name="connsiteY42" fmla="*/ 2393452 h 3573323"/>
                <a:gd name="connsiteX43" fmla="*/ 1049242 w 2701062"/>
                <a:gd name="connsiteY43" fmla="*/ 2393452 h 3573323"/>
                <a:gd name="connsiteX44" fmla="*/ 1129305 w 2701062"/>
                <a:gd name="connsiteY44" fmla="*/ 2460873 h 3573323"/>
                <a:gd name="connsiteX45" fmla="*/ 1125091 w 2701062"/>
                <a:gd name="connsiteY45" fmla="*/ 2591502 h 3573323"/>
                <a:gd name="connsiteX46" fmla="*/ 1087167 w 2701062"/>
                <a:gd name="connsiteY46" fmla="*/ 2654709 h 3573323"/>
                <a:gd name="connsiteX47" fmla="*/ 1015532 w 2701062"/>
                <a:gd name="connsiteY47" fmla="*/ 2722130 h 3573323"/>
                <a:gd name="connsiteX48" fmla="*/ 1007104 w 2701062"/>
                <a:gd name="connsiteY48" fmla="*/ 2810621 h 3573323"/>
                <a:gd name="connsiteX49" fmla="*/ 922828 w 2701062"/>
                <a:gd name="connsiteY49" fmla="*/ 2823262 h 3573323"/>
                <a:gd name="connsiteX50" fmla="*/ 868048 w 2701062"/>
                <a:gd name="connsiteY50" fmla="*/ 2827476 h 3573323"/>
                <a:gd name="connsiteX51" fmla="*/ 830123 w 2701062"/>
                <a:gd name="connsiteY51" fmla="*/ 2789551 h 3573323"/>
                <a:gd name="connsiteX52" fmla="*/ 577294 w 2701062"/>
                <a:gd name="connsiteY52" fmla="*/ 2810621 h 3573323"/>
                <a:gd name="connsiteX53" fmla="*/ 568866 w 2701062"/>
                <a:gd name="connsiteY53" fmla="*/ 2915966 h 3573323"/>
                <a:gd name="connsiteX54" fmla="*/ 514087 w 2701062"/>
                <a:gd name="connsiteY54" fmla="*/ 2949677 h 3573323"/>
                <a:gd name="connsiteX55" fmla="*/ 484590 w 2701062"/>
                <a:gd name="connsiteY55" fmla="*/ 2915966 h 3573323"/>
                <a:gd name="connsiteX56" fmla="*/ 446665 w 2701062"/>
                <a:gd name="connsiteY56" fmla="*/ 2941249 h 3573323"/>
                <a:gd name="connsiteX57" fmla="*/ 434024 w 2701062"/>
                <a:gd name="connsiteY57" fmla="*/ 3059236 h 3573323"/>
                <a:gd name="connsiteX58" fmla="*/ 328678 w 2701062"/>
                <a:gd name="connsiteY58" fmla="*/ 3185651 h 3573323"/>
                <a:gd name="connsiteX59" fmla="*/ 273899 w 2701062"/>
                <a:gd name="connsiteY59" fmla="*/ 3198292 h 3573323"/>
                <a:gd name="connsiteX60" fmla="*/ 252829 w 2701062"/>
                <a:gd name="connsiteY60" fmla="*/ 3248858 h 3573323"/>
                <a:gd name="connsiteX61" fmla="*/ 202263 w 2701062"/>
                <a:gd name="connsiteY61" fmla="*/ 3328921 h 3573323"/>
                <a:gd name="connsiteX62" fmla="*/ 164339 w 2701062"/>
                <a:gd name="connsiteY62" fmla="*/ 3358418 h 3573323"/>
                <a:gd name="connsiteX63" fmla="*/ 75849 w 2701062"/>
                <a:gd name="connsiteY63" fmla="*/ 3387915 h 3573323"/>
                <a:gd name="connsiteX64" fmla="*/ 12641 w 2701062"/>
                <a:gd name="connsiteY64" fmla="*/ 3421625 h 3573323"/>
                <a:gd name="connsiteX65" fmla="*/ 0 w 2701062"/>
                <a:gd name="connsiteY65" fmla="*/ 3501688 h 3573323"/>
                <a:gd name="connsiteX66" fmla="*/ 63207 w 2701062"/>
                <a:gd name="connsiteY66" fmla="*/ 3497474 h 3573323"/>
                <a:gd name="connsiteX67" fmla="*/ 96918 w 2701062"/>
                <a:gd name="connsiteY67" fmla="*/ 3451122 h 3573323"/>
                <a:gd name="connsiteX68" fmla="*/ 155911 w 2701062"/>
                <a:gd name="connsiteY68" fmla="*/ 3493260 h 3573323"/>
                <a:gd name="connsiteX69" fmla="*/ 164339 w 2701062"/>
                <a:gd name="connsiteY69" fmla="*/ 3573323 h 3573323"/>
                <a:gd name="connsiteX70" fmla="*/ 265471 w 2701062"/>
                <a:gd name="connsiteY70" fmla="*/ 3522757 h 3573323"/>
                <a:gd name="connsiteX71" fmla="*/ 252829 w 2701062"/>
                <a:gd name="connsiteY71" fmla="*/ 3463763 h 3573323"/>
                <a:gd name="connsiteX72" fmla="*/ 307609 w 2701062"/>
                <a:gd name="connsiteY72" fmla="*/ 3421625 h 3573323"/>
                <a:gd name="connsiteX73" fmla="*/ 345534 w 2701062"/>
                <a:gd name="connsiteY73" fmla="*/ 3383701 h 3573323"/>
                <a:gd name="connsiteX74" fmla="*/ 375030 w 2701062"/>
                <a:gd name="connsiteY74" fmla="*/ 3341562 h 3573323"/>
                <a:gd name="connsiteX75" fmla="*/ 497231 w 2701062"/>
                <a:gd name="connsiteY75" fmla="*/ 3349990 h 3573323"/>
                <a:gd name="connsiteX76" fmla="*/ 497231 w 2701062"/>
                <a:gd name="connsiteY76" fmla="*/ 3349990 h 3573323"/>
                <a:gd name="connsiteX77" fmla="*/ 568866 w 2701062"/>
                <a:gd name="connsiteY77" fmla="*/ 3383701 h 3573323"/>
                <a:gd name="connsiteX78" fmla="*/ 589935 w 2701062"/>
                <a:gd name="connsiteY78" fmla="*/ 3362632 h 3573323"/>
                <a:gd name="connsiteX79" fmla="*/ 648929 w 2701062"/>
                <a:gd name="connsiteY79" fmla="*/ 3392128 h 3573323"/>
                <a:gd name="connsiteX80" fmla="*/ 674212 w 2701062"/>
                <a:gd name="connsiteY80" fmla="*/ 3387915 h 3573323"/>
                <a:gd name="connsiteX81" fmla="*/ 720564 w 2701062"/>
                <a:gd name="connsiteY81" fmla="*/ 3451122 h 3573323"/>
                <a:gd name="connsiteX82" fmla="*/ 754275 w 2701062"/>
                <a:gd name="connsiteY82" fmla="*/ 3442694 h 3573323"/>
                <a:gd name="connsiteX83" fmla="*/ 804840 w 2701062"/>
                <a:gd name="connsiteY83" fmla="*/ 3366845 h 3573323"/>
                <a:gd name="connsiteX84" fmla="*/ 842765 w 2701062"/>
                <a:gd name="connsiteY84" fmla="*/ 3333135 h 3573323"/>
                <a:gd name="connsiteX85" fmla="*/ 830123 w 2701062"/>
                <a:gd name="connsiteY85" fmla="*/ 3278355 h 3573323"/>
                <a:gd name="connsiteX86" fmla="*/ 859620 w 2701062"/>
                <a:gd name="connsiteY86" fmla="*/ 3223575 h 3573323"/>
                <a:gd name="connsiteX87" fmla="*/ 918614 w 2701062"/>
                <a:gd name="connsiteY87" fmla="*/ 3173010 h 3573323"/>
                <a:gd name="connsiteX88" fmla="*/ 1011318 w 2701062"/>
                <a:gd name="connsiteY88" fmla="*/ 3156154 h 3573323"/>
                <a:gd name="connsiteX89" fmla="*/ 1078739 w 2701062"/>
                <a:gd name="connsiteY89" fmla="*/ 3143513 h 3573323"/>
                <a:gd name="connsiteX90" fmla="*/ 1163016 w 2701062"/>
                <a:gd name="connsiteY90" fmla="*/ 3215148 h 3573323"/>
                <a:gd name="connsiteX91" fmla="*/ 1222009 w 2701062"/>
                <a:gd name="connsiteY91" fmla="*/ 3248858 h 3573323"/>
                <a:gd name="connsiteX92" fmla="*/ 1226223 w 2701062"/>
                <a:gd name="connsiteY92" fmla="*/ 3202506 h 3573323"/>
                <a:gd name="connsiteX93" fmla="*/ 1243078 w 2701062"/>
                <a:gd name="connsiteY93" fmla="*/ 3194079 h 3573323"/>
                <a:gd name="connsiteX94" fmla="*/ 1344210 w 2701062"/>
                <a:gd name="connsiteY94" fmla="*/ 3215148 h 3573323"/>
                <a:gd name="connsiteX95" fmla="*/ 1398990 w 2701062"/>
                <a:gd name="connsiteY95" fmla="*/ 3223575 h 3573323"/>
                <a:gd name="connsiteX96" fmla="*/ 1436914 w 2701062"/>
                <a:gd name="connsiteY96" fmla="*/ 3151940 h 3573323"/>
                <a:gd name="connsiteX97" fmla="*/ 1495908 w 2701062"/>
                <a:gd name="connsiteY97" fmla="*/ 3143513 h 3573323"/>
                <a:gd name="connsiteX98" fmla="*/ 1597040 w 2701062"/>
                <a:gd name="connsiteY98" fmla="*/ 3198292 h 3573323"/>
                <a:gd name="connsiteX99" fmla="*/ 1656033 w 2701062"/>
                <a:gd name="connsiteY99" fmla="*/ 3219362 h 3573323"/>
                <a:gd name="connsiteX100" fmla="*/ 1719240 w 2701062"/>
                <a:gd name="connsiteY100" fmla="*/ 3160368 h 3573323"/>
                <a:gd name="connsiteX101" fmla="*/ 1715027 w 2701062"/>
                <a:gd name="connsiteY101" fmla="*/ 3088733 h 3573323"/>
                <a:gd name="connsiteX102" fmla="*/ 1833014 w 2701062"/>
                <a:gd name="connsiteY102" fmla="*/ 3139299 h 3573323"/>
                <a:gd name="connsiteX103" fmla="*/ 1862510 w 2701062"/>
                <a:gd name="connsiteY103" fmla="*/ 3088733 h 3573323"/>
                <a:gd name="connsiteX104" fmla="*/ 2018422 w 2701062"/>
                <a:gd name="connsiteY104" fmla="*/ 3067664 h 3573323"/>
                <a:gd name="connsiteX105" fmla="*/ 2186975 w 2701062"/>
                <a:gd name="connsiteY105" fmla="*/ 3126657 h 3573323"/>
                <a:gd name="connsiteX106" fmla="*/ 2254396 w 2701062"/>
                <a:gd name="connsiteY106" fmla="*/ 3042381 h 3573323"/>
                <a:gd name="connsiteX107" fmla="*/ 2338673 w 2701062"/>
                <a:gd name="connsiteY107" fmla="*/ 3042381 h 3573323"/>
                <a:gd name="connsiteX108" fmla="*/ 2380811 w 2701062"/>
                <a:gd name="connsiteY108" fmla="*/ 2987601 h 3573323"/>
                <a:gd name="connsiteX109" fmla="*/ 2456660 w 2701062"/>
                <a:gd name="connsiteY109" fmla="*/ 2991815 h 3573323"/>
                <a:gd name="connsiteX110" fmla="*/ 2469301 w 2701062"/>
                <a:gd name="connsiteY110" fmla="*/ 2911752 h 3573323"/>
                <a:gd name="connsiteX111" fmla="*/ 2595716 w 2701062"/>
                <a:gd name="connsiteY111" fmla="*/ 2844331 h 3573323"/>
                <a:gd name="connsiteX112" fmla="*/ 2595716 w 2701062"/>
                <a:gd name="connsiteY112" fmla="*/ 2743199 h 3573323"/>
                <a:gd name="connsiteX113" fmla="*/ 2616785 w 2701062"/>
                <a:gd name="connsiteY113" fmla="*/ 2705275 h 3573323"/>
                <a:gd name="connsiteX114" fmla="*/ 2591502 w 2701062"/>
                <a:gd name="connsiteY114" fmla="*/ 2679992 h 3573323"/>
                <a:gd name="connsiteX115" fmla="*/ 2515653 w 2701062"/>
                <a:gd name="connsiteY115" fmla="*/ 2679992 h 3573323"/>
                <a:gd name="connsiteX116" fmla="*/ 2460874 w 2701062"/>
                <a:gd name="connsiteY116" fmla="*/ 2692633 h 3573323"/>
                <a:gd name="connsiteX117" fmla="*/ 2435591 w 2701062"/>
                <a:gd name="connsiteY117" fmla="*/ 2705275 h 3573323"/>
                <a:gd name="connsiteX118" fmla="*/ 2397666 w 2701062"/>
                <a:gd name="connsiteY118" fmla="*/ 2654709 h 3573323"/>
                <a:gd name="connsiteX119" fmla="*/ 2347100 w 2701062"/>
                <a:gd name="connsiteY119" fmla="*/ 2629426 h 3573323"/>
                <a:gd name="connsiteX120" fmla="*/ 2410308 w 2701062"/>
                <a:gd name="connsiteY120" fmla="*/ 2591502 h 3573323"/>
                <a:gd name="connsiteX121" fmla="*/ 2439804 w 2701062"/>
                <a:gd name="connsiteY121" fmla="*/ 2444018 h 3573323"/>
                <a:gd name="connsiteX122" fmla="*/ 2481943 w 2701062"/>
                <a:gd name="connsiteY122" fmla="*/ 2477728 h 3573323"/>
                <a:gd name="connsiteX123" fmla="*/ 2532509 w 2701062"/>
                <a:gd name="connsiteY123" fmla="*/ 2406093 h 3573323"/>
                <a:gd name="connsiteX124" fmla="*/ 2545150 w 2701062"/>
                <a:gd name="connsiteY124" fmla="*/ 2368169 h 3573323"/>
                <a:gd name="connsiteX125" fmla="*/ 2633640 w 2701062"/>
                <a:gd name="connsiteY125" fmla="*/ 2254396 h 3573323"/>
                <a:gd name="connsiteX126" fmla="*/ 2650496 w 2701062"/>
                <a:gd name="connsiteY126" fmla="*/ 2161692 h 3573323"/>
                <a:gd name="connsiteX127" fmla="*/ 2696848 w 2701062"/>
                <a:gd name="connsiteY127" fmla="*/ 2085843 h 3573323"/>
                <a:gd name="connsiteX128" fmla="*/ 2701062 w 2701062"/>
                <a:gd name="connsiteY128" fmla="*/ 1879365 h 3573323"/>
                <a:gd name="connsiteX129" fmla="*/ 2503012 w 2701062"/>
                <a:gd name="connsiteY129" fmla="*/ 1744523 h 3573323"/>
                <a:gd name="connsiteX130" fmla="*/ 2237541 w 2701062"/>
                <a:gd name="connsiteY130" fmla="*/ 1715026 h 3573323"/>
                <a:gd name="connsiteX131" fmla="*/ 2161692 w 2701062"/>
                <a:gd name="connsiteY131" fmla="*/ 1803516 h 3573323"/>
                <a:gd name="connsiteX132" fmla="*/ 2123768 w 2701062"/>
                <a:gd name="connsiteY132" fmla="*/ 1795089 h 3573323"/>
                <a:gd name="connsiteX133" fmla="*/ 2111126 w 2701062"/>
                <a:gd name="connsiteY133" fmla="*/ 1744523 h 3573323"/>
                <a:gd name="connsiteX134" fmla="*/ 2203830 w 2701062"/>
                <a:gd name="connsiteY134" fmla="*/ 1647605 h 3573323"/>
                <a:gd name="connsiteX135" fmla="*/ 2178547 w 2701062"/>
                <a:gd name="connsiteY135" fmla="*/ 1508549 h 3573323"/>
                <a:gd name="connsiteX136" fmla="*/ 2090057 w 2701062"/>
                <a:gd name="connsiteY136" fmla="*/ 1415845 h 3573323"/>
                <a:gd name="connsiteX137" fmla="*/ 2056346 w 2701062"/>
                <a:gd name="connsiteY137" fmla="*/ 1386348 h 3573323"/>
                <a:gd name="connsiteX138" fmla="*/ 2127981 w 2701062"/>
                <a:gd name="connsiteY138" fmla="*/ 1373706 h 3573323"/>
                <a:gd name="connsiteX139" fmla="*/ 2127981 w 2701062"/>
                <a:gd name="connsiteY139" fmla="*/ 1339996 h 3573323"/>
                <a:gd name="connsiteX140" fmla="*/ 2031063 w 2701062"/>
                <a:gd name="connsiteY140" fmla="*/ 1213581 h 3573323"/>
                <a:gd name="connsiteX141" fmla="*/ 2022636 w 2701062"/>
                <a:gd name="connsiteY141" fmla="*/ 1129304 h 3573323"/>
                <a:gd name="connsiteX142" fmla="*/ 2056346 w 2701062"/>
                <a:gd name="connsiteY142" fmla="*/ 1066097 h 3573323"/>
                <a:gd name="connsiteX143" fmla="*/ 2039491 w 2701062"/>
                <a:gd name="connsiteY143" fmla="*/ 1032386 h 3573323"/>
                <a:gd name="connsiteX144" fmla="*/ 1967856 w 2701062"/>
                <a:gd name="connsiteY144" fmla="*/ 1011317 h 3573323"/>
                <a:gd name="connsiteX145" fmla="*/ 1929932 w 2701062"/>
                <a:gd name="connsiteY145" fmla="*/ 952324 h 3573323"/>
                <a:gd name="connsiteX146" fmla="*/ 1934146 w 2701062"/>
                <a:gd name="connsiteY146" fmla="*/ 893330 h 3573323"/>
                <a:gd name="connsiteX147" fmla="*/ 1727668 w 2701062"/>
                <a:gd name="connsiteY147" fmla="*/ 775343 h 3573323"/>
                <a:gd name="connsiteX148" fmla="*/ 1664461 w 2701062"/>
                <a:gd name="connsiteY148" fmla="*/ 716350 h 3573323"/>
                <a:gd name="connsiteX149" fmla="*/ 1516977 w 2701062"/>
                <a:gd name="connsiteY149" fmla="*/ 176981 h 3573323"/>
                <a:gd name="connsiteX150" fmla="*/ 1356851 w 2701062"/>
                <a:gd name="connsiteY150" fmla="*/ 0 h 3573323"/>
                <a:gd name="connsiteX0" fmla="*/ 1356851 w 2701062"/>
                <a:gd name="connsiteY0" fmla="*/ 63207 h 3628102"/>
                <a:gd name="connsiteX1" fmla="*/ 1264148 w 2701062"/>
                <a:gd name="connsiteY1" fmla="*/ 172766 h 3628102"/>
                <a:gd name="connsiteX2" fmla="*/ 1281002 w 2701062"/>
                <a:gd name="connsiteY2" fmla="*/ 311823 h 3628102"/>
                <a:gd name="connsiteX3" fmla="*/ 1141946 w 2701062"/>
                <a:gd name="connsiteY3" fmla="*/ 446665 h 3628102"/>
                <a:gd name="connsiteX4" fmla="*/ 876475 w 2701062"/>
                <a:gd name="connsiteY4" fmla="*/ 703707 h 3628102"/>
                <a:gd name="connsiteX5" fmla="*/ 804840 w 2701062"/>
                <a:gd name="connsiteY5" fmla="*/ 775342 h 3628102"/>
                <a:gd name="connsiteX6" fmla="*/ 813268 w 2701062"/>
                <a:gd name="connsiteY6" fmla="*/ 905971 h 3628102"/>
                <a:gd name="connsiteX7" fmla="*/ 897545 w 2701062"/>
                <a:gd name="connsiteY7" fmla="*/ 1074524 h 3628102"/>
                <a:gd name="connsiteX8" fmla="*/ 943897 w 2701062"/>
                <a:gd name="connsiteY8" fmla="*/ 1158800 h 3628102"/>
                <a:gd name="connsiteX9" fmla="*/ 964966 w 2701062"/>
                <a:gd name="connsiteY9" fmla="*/ 1188297 h 3628102"/>
                <a:gd name="connsiteX10" fmla="*/ 994463 w 2701062"/>
                <a:gd name="connsiteY10" fmla="*/ 1163014 h 3628102"/>
                <a:gd name="connsiteX11" fmla="*/ 1011318 w 2701062"/>
                <a:gd name="connsiteY11" fmla="*/ 1108235 h 3628102"/>
                <a:gd name="connsiteX12" fmla="*/ 1057670 w 2701062"/>
                <a:gd name="connsiteY12" fmla="*/ 1099807 h 3628102"/>
                <a:gd name="connsiteX13" fmla="*/ 1053456 w 2701062"/>
                <a:gd name="connsiteY13" fmla="*/ 1163014 h 3628102"/>
                <a:gd name="connsiteX14" fmla="*/ 1040815 w 2701062"/>
                <a:gd name="connsiteY14" fmla="*/ 1196725 h 3628102"/>
                <a:gd name="connsiteX15" fmla="*/ 1049242 w 2701062"/>
                <a:gd name="connsiteY15" fmla="*/ 1222008 h 3628102"/>
                <a:gd name="connsiteX16" fmla="*/ 986035 w 2701062"/>
                <a:gd name="connsiteY16" fmla="*/ 1238863 h 3628102"/>
                <a:gd name="connsiteX17" fmla="*/ 1011318 w 2701062"/>
                <a:gd name="connsiteY17" fmla="*/ 1373706 h 3628102"/>
                <a:gd name="connsiteX18" fmla="*/ 1049242 w 2701062"/>
                <a:gd name="connsiteY18" fmla="*/ 1369492 h 3628102"/>
                <a:gd name="connsiteX19" fmla="*/ 1040815 w 2701062"/>
                <a:gd name="connsiteY19" fmla="*/ 1432699 h 3628102"/>
                <a:gd name="connsiteX20" fmla="*/ 981821 w 2701062"/>
                <a:gd name="connsiteY20" fmla="*/ 1466410 h 3628102"/>
                <a:gd name="connsiteX21" fmla="*/ 931255 w 2701062"/>
                <a:gd name="connsiteY21" fmla="*/ 1466410 h 3628102"/>
                <a:gd name="connsiteX22" fmla="*/ 897545 w 2701062"/>
                <a:gd name="connsiteY22" fmla="*/ 1529617 h 3628102"/>
                <a:gd name="connsiteX23" fmla="*/ 901758 w 2701062"/>
                <a:gd name="connsiteY23" fmla="*/ 1559114 h 3628102"/>
                <a:gd name="connsiteX24" fmla="*/ 948110 w 2701062"/>
                <a:gd name="connsiteY24" fmla="*/ 1567541 h 3628102"/>
                <a:gd name="connsiteX25" fmla="*/ 931255 w 2701062"/>
                <a:gd name="connsiteY25" fmla="*/ 1605466 h 3628102"/>
                <a:gd name="connsiteX26" fmla="*/ 952324 w 2701062"/>
                <a:gd name="connsiteY26" fmla="*/ 1613894 h 3628102"/>
                <a:gd name="connsiteX27" fmla="*/ 1015532 w 2701062"/>
                <a:gd name="connsiteY27" fmla="*/ 1618107 h 3628102"/>
                <a:gd name="connsiteX28" fmla="*/ 1040815 w 2701062"/>
                <a:gd name="connsiteY28" fmla="*/ 1656032 h 3628102"/>
                <a:gd name="connsiteX29" fmla="*/ 1036601 w 2701062"/>
                <a:gd name="connsiteY29" fmla="*/ 1693956 h 3628102"/>
                <a:gd name="connsiteX30" fmla="*/ 1104022 w 2701062"/>
                <a:gd name="connsiteY30" fmla="*/ 1795088 h 3628102"/>
                <a:gd name="connsiteX31" fmla="*/ 1053456 w 2701062"/>
                <a:gd name="connsiteY31" fmla="*/ 1820371 h 3628102"/>
                <a:gd name="connsiteX32" fmla="*/ 998676 w 2701062"/>
                <a:gd name="connsiteY32" fmla="*/ 1816157 h 3628102"/>
                <a:gd name="connsiteX33" fmla="*/ 964966 w 2701062"/>
                <a:gd name="connsiteY33" fmla="*/ 1896220 h 3628102"/>
                <a:gd name="connsiteX34" fmla="*/ 1015532 w 2701062"/>
                <a:gd name="connsiteY34" fmla="*/ 1938358 h 3628102"/>
                <a:gd name="connsiteX35" fmla="*/ 994463 w 2701062"/>
                <a:gd name="connsiteY35" fmla="*/ 2035276 h 3628102"/>
                <a:gd name="connsiteX36" fmla="*/ 1019746 w 2701062"/>
                <a:gd name="connsiteY36" fmla="*/ 2068987 h 3628102"/>
                <a:gd name="connsiteX37" fmla="*/ 990249 w 2701062"/>
                <a:gd name="connsiteY37" fmla="*/ 2102697 h 3628102"/>
                <a:gd name="connsiteX38" fmla="*/ 948110 w 2701062"/>
                <a:gd name="connsiteY38" fmla="*/ 2102697 h 3628102"/>
                <a:gd name="connsiteX39" fmla="*/ 939683 w 2701062"/>
                <a:gd name="connsiteY39" fmla="*/ 2140622 h 3628102"/>
                <a:gd name="connsiteX40" fmla="*/ 994463 w 2701062"/>
                <a:gd name="connsiteY40" fmla="*/ 2186974 h 3628102"/>
                <a:gd name="connsiteX41" fmla="*/ 981821 w 2701062"/>
                <a:gd name="connsiteY41" fmla="*/ 2368168 h 3628102"/>
                <a:gd name="connsiteX42" fmla="*/ 1015532 w 2701062"/>
                <a:gd name="connsiteY42" fmla="*/ 2448231 h 3628102"/>
                <a:gd name="connsiteX43" fmla="*/ 1049242 w 2701062"/>
                <a:gd name="connsiteY43" fmla="*/ 2448231 h 3628102"/>
                <a:gd name="connsiteX44" fmla="*/ 1129305 w 2701062"/>
                <a:gd name="connsiteY44" fmla="*/ 2515652 h 3628102"/>
                <a:gd name="connsiteX45" fmla="*/ 1125091 w 2701062"/>
                <a:gd name="connsiteY45" fmla="*/ 2646281 h 3628102"/>
                <a:gd name="connsiteX46" fmla="*/ 1087167 w 2701062"/>
                <a:gd name="connsiteY46" fmla="*/ 2709488 h 3628102"/>
                <a:gd name="connsiteX47" fmla="*/ 1015532 w 2701062"/>
                <a:gd name="connsiteY47" fmla="*/ 2776909 h 3628102"/>
                <a:gd name="connsiteX48" fmla="*/ 1007104 w 2701062"/>
                <a:gd name="connsiteY48" fmla="*/ 2865400 h 3628102"/>
                <a:gd name="connsiteX49" fmla="*/ 922828 w 2701062"/>
                <a:gd name="connsiteY49" fmla="*/ 2878041 h 3628102"/>
                <a:gd name="connsiteX50" fmla="*/ 868048 w 2701062"/>
                <a:gd name="connsiteY50" fmla="*/ 2882255 h 3628102"/>
                <a:gd name="connsiteX51" fmla="*/ 830123 w 2701062"/>
                <a:gd name="connsiteY51" fmla="*/ 2844330 h 3628102"/>
                <a:gd name="connsiteX52" fmla="*/ 577294 w 2701062"/>
                <a:gd name="connsiteY52" fmla="*/ 2865400 h 3628102"/>
                <a:gd name="connsiteX53" fmla="*/ 568866 w 2701062"/>
                <a:gd name="connsiteY53" fmla="*/ 2970745 h 3628102"/>
                <a:gd name="connsiteX54" fmla="*/ 514087 w 2701062"/>
                <a:gd name="connsiteY54" fmla="*/ 3004456 h 3628102"/>
                <a:gd name="connsiteX55" fmla="*/ 484590 w 2701062"/>
                <a:gd name="connsiteY55" fmla="*/ 2970745 h 3628102"/>
                <a:gd name="connsiteX56" fmla="*/ 446665 w 2701062"/>
                <a:gd name="connsiteY56" fmla="*/ 2996028 h 3628102"/>
                <a:gd name="connsiteX57" fmla="*/ 434024 w 2701062"/>
                <a:gd name="connsiteY57" fmla="*/ 3114015 h 3628102"/>
                <a:gd name="connsiteX58" fmla="*/ 328678 w 2701062"/>
                <a:gd name="connsiteY58" fmla="*/ 3240430 h 3628102"/>
                <a:gd name="connsiteX59" fmla="*/ 273899 w 2701062"/>
                <a:gd name="connsiteY59" fmla="*/ 3253071 h 3628102"/>
                <a:gd name="connsiteX60" fmla="*/ 252829 w 2701062"/>
                <a:gd name="connsiteY60" fmla="*/ 3303637 h 3628102"/>
                <a:gd name="connsiteX61" fmla="*/ 202263 w 2701062"/>
                <a:gd name="connsiteY61" fmla="*/ 3383700 h 3628102"/>
                <a:gd name="connsiteX62" fmla="*/ 164339 w 2701062"/>
                <a:gd name="connsiteY62" fmla="*/ 3413197 h 3628102"/>
                <a:gd name="connsiteX63" fmla="*/ 75849 w 2701062"/>
                <a:gd name="connsiteY63" fmla="*/ 3442694 h 3628102"/>
                <a:gd name="connsiteX64" fmla="*/ 12641 w 2701062"/>
                <a:gd name="connsiteY64" fmla="*/ 3476404 h 3628102"/>
                <a:gd name="connsiteX65" fmla="*/ 0 w 2701062"/>
                <a:gd name="connsiteY65" fmla="*/ 3556467 h 3628102"/>
                <a:gd name="connsiteX66" fmla="*/ 63207 w 2701062"/>
                <a:gd name="connsiteY66" fmla="*/ 3552253 h 3628102"/>
                <a:gd name="connsiteX67" fmla="*/ 96918 w 2701062"/>
                <a:gd name="connsiteY67" fmla="*/ 3505901 h 3628102"/>
                <a:gd name="connsiteX68" fmla="*/ 155911 w 2701062"/>
                <a:gd name="connsiteY68" fmla="*/ 3548039 h 3628102"/>
                <a:gd name="connsiteX69" fmla="*/ 164339 w 2701062"/>
                <a:gd name="connsiteY69" fmla="*/ 3628102 h 3628102"/>
                <a:gd name="connsiteX70" fmla="*/ 265471 w 2701062"/>
                <a:gd name="connsiteY70" fmla="*/ 3577536 h 3628102"/>
                <a:gd name="connsiteX71" fmla="*/ 252829 w 2701062"/>
                <a:gd name="connsiteY71" fmla="*/ 3518542 h 3628102"/>
                <a:gd name="connsiteX72" fmla="*/ 307609 w 2701062"/>
                <a:gd name="connsiteY72" fmla="*/ 3476404 h 3628102"/>
                <a:gd name="connsiteX73" fmla="*/ 345534 w 2701062"/>
                <a:gd name="connsiteY73" fmla="*/ 3438480 h 3628102"/>
                <a:gd name="connsiteX74" fmla="*/ 375030 w 2701062"/>
                <a:gd name="connsiteY74" fmla="*/ 3396341 h 3628102"/>
                <a:gd name="connsiteX75" fmla="*/ 497231 w 2701062"/>
                <a:gd name="connsiteY75" fmla="*/ 3404769 h 3628102"/>
                <a:gd name="connsiteX76" fmla="*/ 497231 w 2701062"/>
                <a:gd name="connsiteY76" fmla="*/ 3404769 h 3628102"/>
                <a:gd name="connsiteX77" fmla="*/ 568866 w 2701062"/>
                <a:gd name="connsiteY77" fmla="*/ 3438480 h 3628102"/>
                <a:gd name="connsiteX78" fmla="*/ 589935 w 2701062"/>
                <a:gd name="connsiteY78" fmla="*/ 3417411 h 3628102"/>
                <a:gd name="connsiteX79" fmla="*/ 648929 w 2701062"/>
                <a:gd name="connsiteY79" fmla="*/ 3446907 h 3628102"/>
                <a:gd name="connsiteX80" fmla="*/ 674212 w 2701062"/>
                <a:gd name="connsiteY80" fmla="*/ 3442694 h 3628102"/>
                <a:gd name="connsiteX81" fmla="*/ 720564 w 2701062"/>
                <a:gd name="connsiteY81" fmla="*/ 3505901 h 3628102"/>
                <a:gd name="connsiteX82" fmla="*/ 754275 w 2701062"/>
                <a:gd name="connsiteY82" fmla="*/ 3497473 h 3628102"/>
                <a:gd name="connsiteX83" fmla="*/ 804840 w 2701062"/>
                <a:gd name="connsiteY83" fmla="*/ 3421624 h 3628102"/>
                <a:gd name="connsiteX84" fmla="*/ 842765 w 2701062"/>
                <a:gd name="connsiteY84" fmla="*/ 3387914 h 3628102"/>
                <a:gd name="connsiteX85" fmla="*/ 830123 w 2701062"/>
                <a:gd name="connsiteY85" fmla="*/ 3333134 h 3628102"/>
                <a:gd name="connsiteX86" fmla="*/ 859620 w 2701062"/>
                <a:gd name="connsiteY86" fmla="*/ 3278354 h 3628102"/>
                <a:gd name="connsiteX87" fmla="*/ 918614 w 2701062"/>
                <a:gd name="connsiteY87" fmla="*/ 3227789 h 3628102"/>
                <a:gd name="connsiteX88" fmla="*/ 1011318 w 2701062"/>
                <a:gd name="connsiteY88" fmla="*/ 3210933 h 3628102"/>
                <a:gd name="connsiteX89" fmla="*/ 1078739 w 2701062"/>
                <a:gd name="connsiteY89" fmla="*/ 3198292 h 3628102"/>
                <a:gd name="connsiteX90" fmla="*/ 1163016 w 2701062"/>
                <a:gd name="connsiteY90" fmla="*/ 3269927 h 3628102"/>
                <a:gd name="connsiteX91" fmla="*/ 1222009 w 2701062"/>
                <a:gd name="connsiteY91" fmla="*/ 3303637 h 3628102"/>
                <a:gd name="connsiteX92" fmla="*/ 1226223 w 2701062"/>
                <a:gd name="connsiteY92" fmla="*/ 3257285 h 3628102"/>
                <a:gd name="connsiteX93" fmla="*/ 1243078 w 2701062"/>
                <a:gd name="connsiteY93" fmla="*/ 3248858 h 3628102"/>
                <a:gd name="connsiteX94" fmla="*/ 1344210 w 2701062"/>
                <a:gd name="connsiteY94" fmla="*/ 3269927 h 3628102"/>
                <a:gd name="connsiteX95" fmla="*/ 1398990 w 2701062"/>
                <a:gd name="connsiteY95" fmla="*/ 3278354 h 3628102"/>
                <a:gd name="connsiteX96" fmla="*/ 1436914 w 2701062"/>
                <a:gd name="connsiteY96" fmla="*/ 3206719 h 3628102"/>
                <a:gd name="connsiteX97" fmla="*/ 1495908 w 2701062"/>
                <a:gd name="connsiteY97" fmla="*/ 3198292 h 3628102"/>
                <a:gd name="connsiteX98" fmla="*/ 1597040 w 2701062"/>
                <a:gd name="connsiteY98" fmla="*/ 3253071 h 3628102"/>
                <a:gd name="connsiteX99" fmla="*/ 1656033 w 2701062"/>
                <a:gd name="connsiteY99" fmla="*/ 3274141 h 3628102"/>
                <a:gd name="connsiteX100" fmla="*/ 1719240 w 2701062"/>
                <a:gd name="connsiteY100" fmla="*/ 3215147 h 3628102"/>
                <a:gd name="connsiteX101" fmla="*/ 1715027 w 2701062"/>
                <a:gd name="connsiteY101" fmla="*/ 3143512 h 3628102"/>
                <a:gd name="connsiteX102" fmla="*/ 1833014 w 2701062"/>
                <a:gd name="connsiteY102" fmla="*/ 3194078 h 3628102"/>
                <a:gd name="connsiteX103" fmla="*/ 1862510 w 2701062"/>
                <a:gd name="connsiteY103" fmla="*/ 3143512 h 3628102"/>
                <a:gd name="connsiteX104" fmla="*/ 2018422 w 2701062"/>
                <a:gd name="connsiteY104" fmla="*/ 3122443 h 3628102"/>
                <a:gd name="connsiteX105" fmla="*/ 2186975 w 2701062"/>
                <a:gd name="connsiteY105" fmla="*/ 3181436 h 3628102"/>
                <a:gd name="connsiteX106" fmla="*/ 2254396 w 2701062"/>
                <a:gd name="connsiteY106" fmla="*/ 3097160 h 3628102"/>
                <a:gd name="connsiteX107" fmla="*/ 2338673 w 2701062"/>
                <a:gd name="connsiteY107" fmla="*/ 3097160 h 3628102"/>
                <a:gd name="connsiteX108" fmla="*/ 2380811 w 2701062"/>
                <a:gd name="connsiteY108" fmla="*/ 3042380 h 3628102"/>
                <a:gd name="connsiteX109" fmla="*/ 2456660 w 2701062"/>
                <a:gd name="connsiteY109" fmla="*/ 3046594 h 3628102"/>
                <a:gd name="connsiteX110" fmla="*/ 2469301 w 2701062"/>
                <a:gd name="connsiteY110" fmla="*/ 2966531 h 3628102"/>
                <a:gd name="connsiteX111" fmla="*/ 2595716 w 2701062"/>
                <a:gd name="connsiteY111" fmla="*/ 2899110 h 3628102"/>
                <a:gd name="connsiteX112" fmla="*/ 2595716 w 2701062"/>
                <a:gd name="connsiteY112" fmla="*/ 2797978 h 3628102"/>
                <a:gd name="connsiteX113" fmla="*/ 2616785 w 2701062"/>
                <a:gd name="connsiteY113" fmla="*/ 2760054 h 3628102"/>
                <a:gd name="connsiteX114" fmla="*/ 2591502 w 2701062"/>
                <a:gd name="connsiteY114" fmla="*/ 2734771 h 3628102"/>
                <a:gd name="connsiteX115" fmla="*/ 2515653 w 2701062"/>
                <a:gd name="connsiteY115" fmla="*/ 2734771 h 3628102"/>
                <a:gd name="connsiteX116" fmla="*/ 2460874 w 2701062"/>
                <a:gd name="connsiteY116" fmla="*/ 2747412 h 3628102"/>
                <a:gd name="connsiteX117" fmla="*/ 2435591 w 2701062"/>
                <a:gd name="connsiteY117" fmla="*/ 2760054 h 3628102"/>
                <a:gd name="connsiteX118" fmla="*/ 2397666 w 2701062"/>
                <a:gd name="connsiteY118" fmla="*/ 2709488 h 3628102"/>
                <a:gd name="connsiteX119" fmla="*/ 2347100 w 2701062"/>
                <a:gd name="connsiteY119" fmla="*/ 2684205 h 3628102"/>
                <a:gd name="connsiteX120" fmla="*/ 2410308 w 2701062"/>
                <a:gd name="connsiteY120" fmla="*/ 2646281 h 3628102"/>
                <a:gd name="connsiteX121" fmla="*/ 2439804 w 2701062"/>
                <a:gd name="connsiteY121" fmla="*/ 2498797 h 3628102"/>
                <a:gd name="connsiteX122" fmla="*/ 2481943 w 2701062"/>
                <a:gd name="connsiteY122" fmla="*/ 2532507 h 3628102"/>
                <a:gd name="connsiteX123" fmla="*/ 2532509 w 2701062"/>
                <a:gd name="connsiteY123" fmla="*/ 2460872 h 3628102"/>
                <a:gd name="connsiteX124" fmla="*/ 2545150 w 2701062"/>
                <a:gd name="connsiteY124" fmla="*/ 2422948 h 3628102"/>
                <a:gd name="connsiteX125" fmla="*/ 2633640 w 2701062"/>
                <a:gd name="connsiteY125" fmla="*/ 2309175 h 3628102"/>
                <a:gd name="connsiteX126" fmla="*/ 2650496 w 2701062"/>
                <a:gd name="connsiteY126" fmla="*/ 2216471 h 3628102"/>
                <a:gd name="connsiteX127" fmla="*/ 2696848 w 2701062"/>
                <a:gd name="connsiteY127" fmla="*/ 2140622 h 3628102"/>
                <a:gd name="connsiteX128" fmla="*/ 2701062 w 2701062"/>
                <a:gd name="connsiteY128" fmla="*/ 1934144 h 3628102"/>
                <a:gd name="connsiteX129" fmla="*/ 2503012 w 2701062"/>
                <a:gd name="connsiteY129" fmla="*/ 1799302 h 3628102"/>
                <a:gd name="connsiteX130" fmla="*/ 2237541 w 2701062"/>
                <a:gd name="connsiteY130" fmla="*/ 1769805 h 3628102"/>
                <a:gd name="connsiteX131" fmla="*/ 2161692 w 2701062"/>
                <a:gd name="connsiteY131" fmla="*/ 1858295 h 3628102"/>
                <a:gd name="connsiteX132" fmla="*/ 2123768 w 2701062"/>
                <a:gd name="connsiteY132" fmla="*/ 1849868 h 3628102"/>
                <a:gd name="connsiteX133" fmla="*/ 2111126 w 2701062"/>
                <a:gd name="connsiteY133" fmla="*/ 1799302 h 3628102"/>
                <a:gd name="connsiteX134" fmla="*/ 2203830 w 2701062"/>
                <a:gd name="connsiteY134" fmla="*/ 1702384 h 3628102"/>
                <a:gd name="connsiteX135" fmla="*/ 2178547 w 2701062"/>
                <a:gd name="connsiteY135" fmla="*/ 1563328 h 3628102"/>
                <a:gd name="connsiteX136" fmla="*/ 2090057 w 2701062"/>
                <a:gd name="connsiteY136" fmla="*/ 1470624 h 3628102"/>
                <a:gd name="connsiteX137" fmla="*/ 2056346 w 2701062"/>
                <a:gd name="connsiteY137" fmla="*/ 1441127 h 3628102"/>
                <a:gd name="connsiteX138" fmla="*/ 2127981 w 2701062"/>
                <a:gd name="connsiteY138" fmla="*/ 1428485 h 3628102"/>
                <a:gd name="connsiteX139" fmla="*/ 2127981 w 2701062"/>
                <a:gd name="connsiteY139" fmla="*/ 1394775 h 3628102"/>
                <a:gd name="connsiteX140" fmla="*/ 2031063 w 2701062"/>
                <a:gd name="connsiteY140" fmla="*/ 1268360 h 3628102"/>
                <a:gd name="connsiteX141" fmla="*/ 2022636 w 2701062"/>
                <a:gd name="connsiteY141" fmla="*/ 1184083 h 3628102"/>
                <a:gd name="connsiteX142" fmla="*/ 2056346 w 2701062"/>
                <a:gd name="connsiteY142" fmla="*/ 1120876 h 3628102"/>
                <a:gd name="connsiteX143" fmla="*/ 2039491 w 2701062"/>
                <a:gd name="connsiteY143" fmla="*/ 1087165 h 3628102"/>
                <a:gd name="connsiteX144" fmla="*/ 1967856 w 2701062"/>
                <a:gd name="connsiteY144" fmla="*/ 1066096 h 3628102"/>
                <a:gd name="connsiteX145" fmla="*/ 1929932 w 2701062"/>
                <a:gd name="connsiteY145" fmla="*/ 1007103 h 3628102"/>
                <a:gd name="connsiteX146" fmla="*/ 1934146 w 2701062"/>
                <a:gd name="connsiteY146" fmla="*/ 948109 h 3628102"/>
                <a:gd name="connsiteX147" fmla="*/ 1727668 w 2701062"/>
                <a:gd name="connsiteY147" fmla="*/ 830122 h 3628102"/>
                <a:gd name="connsiteX148" fmla="*/ 1664461 w 2701062"/>
                <a:gd name="connsiteY148" fmla="*/ 771129 h 3628102"/>
                <a:gd name="connsiteX149" fmla="*/ 1516977 w 2701062"/>
                <a:gd name="connsiteY149" fmla="*/ 231760 h 3628102"/>
                <a:gd name="connsiteX150" fmla="*/ 1285216 w 2701062"/>
                <a:gd name="connsiteY150" fmla="*/ 0 h 3628102"/>
                <a:gd name="connsiteX0" fmla="*/ 1382134 w 2701062"/>
                <a:gd name="connsiteY0" fmla="*/ 25282 h 3628102"/>
                <a:gd name="connsiteX1" fmla="*/ 1264148 w 2701062"/>
                <a:gd name="connsiteY1" fmla="*/ 172766 h 3628102"/>
                <a:gd name="connsiteX2" fmla="*/ 1281002 w 2701062"/>
                <a:gd name="connsiteY2" fmla="*/ 311823 h 3628102"/>
                <a:gd name="connsiteX3" fmla="*/ 1141946 w 2701062"/>
                <a:gd name="connsiteY3" fmla="*/ 446665 h 3628102"/>
                <a:gd name="connsiteX4" fmla="*/ 876475 w 2701062"/>
                <a:gd name="connsiteY4" fmla="*/ 703707 h 3628102"/>
                <a:gd name="connsiteX5" fmla="*/ 804840 w 2701062"/>
                <a:gd name="connsiteY5" fmla="*/ 775342 h 3628102"/>
                <a:gd name="connsiteX6" fmla="*/ 813268 w 2701062"/>
                <a:gd name="connsiteY6" fmla="*/ 905971 h 3628102"/>
                <a:gd name="connsiteX7" fmla="*/ 897545 w 2701062"/>
                <a:gd name="connsiteY7" fmla="*/ 1074524 h 3628102"/>
                <a:gd name="connsiteX8" fmla="*/ 943897 w 2701062"/>
                <a:gd name="connsiteY8" fmla="*/ 1158800 h 3628102"/>
                <a:gd name="connsiteX9" fmla="*/ 964966 w 2701062"/>
                <a:gd name="connsiteY9" fmla="*/ 1188297 h 3628102"/>
                <a:gd name="connsiteX10" fmla="*/ 994463 w 2701062"/>
                <a:gd name="connsiteY10" fmla="*/ 1163014 h 3628102"/>
                <a:gd name="connsiteX11" fmla="*/ 1011318 w 2701062"/>
                <a:gd name="connsiteY11" fmla="*/ 1108235 h 3628102"/>
                <a:gd name="connsiteX12" fmla="*/ 1057670 w 2701062"/>
                <a:gd name="connsiteY12" fmla="*/ 1099807 h 3628102"/>
                <a:gd name="connsiteX13" fmla="*/ 1053456 w 2701062"/>
                <a:gd name="connsiteY13" fmla="*/ 1163014 h 3628102"/>
                <a:gd name="connsiteX14" fmla="*/ 1040815 w 2701062"/>
                <a:gd name="connsiteY14" fmla="*/ 1196725 h 3628102"/>
                <a:gd name="connsiteX15" fmla="*/ 1049242 w 2701062"/>
                <a:gd name="connsiteY15" fmla="*/ 1222008 h 3628102"/>
                <a:gd name="connsiteX16" fmla="*/ 986035 w 2701062"/>
                <a:gd name="connsiteY16" fmla="*/ 1238863 h 3628102"/>
                <a:gd name="connsiteX17" fmla="*/ 1011318 w 2701062"/>
                <a:gd name="connsiteY17" fmla="*/ 1373706 h 3628102"/>
                <a:gd name="connsiteX18" fmla="*/ 1049242 w 2701062"/>
                <a:gd name="connsiteY18" fmla="*/ 1369492 h 3628102"/>
                <a:gd name="connsiteX19" fmla="*/ 1040815 w 2701062"/>
                <a:gd name="connsiteY19" fmla="*/ 1432699 h 3628102"/>
                <a:gd name="connsiteX20" fmla="*/ 981821 w 2701062"/>
                <a:gd name="connsiteY20" fmla="*/ 1466410 h 3628102"/>
                <a:gd name="connsiteX21" fmla="*/ 931255 w 2701062"/>
                <a:gd name="connsiteY21" fmla="*/ 1466410 h 3628102"/>
                <a:gd name="connsiteX22" fmla="*/ 897545 w 2701062"/>
                <a:gd name="connsiteY22" fmla="*/ 1529617 h 3628102"/>
                <a:gd name="connsiteX23" fmla="*/ 901758 w 2701062"/>
                <a:gd name="connsiteY23" fmla="*/ 1559114 h 3628102"/>
                <a:gd name="connsiteX24" fmla="*/ 948110 w 2701062"/>
                <a:gd name="connsiteY24" fmla="*/ 1567541 h 3628102"/>
                <a:gd name="connsiteX25" fmla="*/ 931255 w 2701062"/>
                <a:gd name="connsiteY25" fmla="*/ 1605466 h 3628102"/>
                <a:gd name="connsiteX26" fmla="*/ 952324 w 2701062"/>
                <a:gd name="connsiteY26" fmla="*/ 1613894 h 3628102"/>
                <a:gd name="connsiteX27" fmla="*/ 1015532 w 2701062"/>
                <a:gd name="connsiteY27" fmla="*/ 1618107 h 3628102"/>
                <a:gd name="connsiteX28" fmla="*/ 1040815 w 2701062"/>
                <a:gd name="connsiteY28" fmla="*/ 1656032 h 3628102"/>
                <a:gd name="connsiteX29" fmla="*/ 1036601 w 2701062"/>
                <a:gd name="connsiteY29" fmla="*/ 1693956 h 3628102"/>
                <a:gd name="connsiteX30" fmla="*/ 1104022 w 2701062"/>
                <a:gd name="connsiteY30" fmla="*/ 1795088 h 3628102"/>
                <a:gd name="connsiteX31" fmla="*/ 1053456 w 2701062"/>
                <a:gd name="connsiteY31" fmla="*/ 1820371 h 3628102"/>
                <a:gd name="connsiteX32" fmla="*/ 998676 w 2701062"/>
                <a:gd name="connsiteY32" fmla="*/ 1816157 h 3628102"/>
                <a:gd name="connsiteX33" fmla="*/ 964966 w 2701062"/>
                <a:gd name="connsiteY33" fmla="*/ 1896220 h 3628102"/>
                <a:gd name="connsiteX34" fmla="*/ 1015532 w 2701062"/>
                <a:gd name="connsiteY34" fmla="*/ 1938358 h 3628102"/>
                <a:gd name="connsiteX35" fmla="*/ 994463 w 2701062"/>
                <a:gd name="connsiteY35" fmla="*/ 2035276 h 3628102"/>
                <a:gd name="connsiteX36" fmla="*/ 1019746 w 2701062"/>
                <a:gd name="connsiteY36" fmla="*/ 2068987 h 3628102"/>
                <a:gd name="connsiteX37" fmla="*/ 990249 w 2701062"/>
                <a:gd name="connsiteY37" fmla="*/ 2102697 h 3628102"/>
                <a:gd name="connsiteX38" fmla="*/ 948110 w 2701062"/>
                <a:gd name="connsiteY38" fmla="*/ 2102697 h 3628102"/>
                <a:gd name="connsiteX39" fmla="*/ 939683 w 2701062"/>
                <a:gd name="connsiteY39" fmla="*/ 2140622 h 3628102"/>
                <a:gd name="connsiteX40" fmla="*/ 994463 w 2701062"/>
                <a:gd name="connsiteY40" fmla="*/ 2186974 h 3628102"/>
                <a:gd name="connsiteX41" fmla="*/ 981821 w 2701062"/>
                <a:gd name="connsiteY41" fmla="*/ 2368168 h 3628102"/>
                <a:gd name="connsiteX42" fmla="*/ 1015532 w 2701062"/>
                <a:gd name="connsiteY42" fmla="*/ 2448231 h 3628102"/>
                <a:gd name="connsiteX43" fmla="*/ 1049242 w 2701062"/>
                <a:gd name="connsiteY43" fmla="*/ 2448231 h 3628102"/>
                <a:gd name="connsiteX44" fmla="*/ 1129305 w 2701062"/>
                <a:gd name="connsiteY44" fmla="*/ 2515652 h 3628102"/>
                <a:gd name="connsiteX45" fmla="*/ 1125091 w 2701062"/>
                <a:gd name="connsiteY45" fmla="*/ 2646281 h 3628102"/>
                <a:gd name="connsiteX46" fmla="*/ 1087167 w 2701062"/>
                <a:gd name="connsiteY46" fmla="*/ 2709488 h 3628102"/>
                <a:gd name="connsiteX47" fmla="*/ 1015532 w 2701062"/>
                <a:gd name="connsiteY47" fmla="*/ 2776909 h 3628102"/>
                <a:gd name="connsiteX48" fmla="*/ 1007104 w 2701062"/>
                <a:gd name="connsiteY48" fmla="*/ 2865400 h 3628102"/>
                <a:gd name="connsiteX49" fmla="*/ 922828 w 2701062"/>
                <a:gd name="connsiteY49" fmla="*/ 2878041 h 3628102"/>
                <a:gd name="connsiteX50" fmla="*/ 868048 w 2701062"/>
                <a:gd name="connsiteY50" fmla="*/ 2882255 h 3628102"/>
                <a:gd name="connsiteX51" fmla="*/ 830123 w 2701062"/>
                <a:gd name="connsiteY51" fmla="*/ 2844330 h 3628102"/>
                <a:gd name="connsiteX52" fmla="*/ 577294 w 2701062"/>
                <a:gd name="connsiteY52" fmla="*/ 2865400 h 3628102"/>
                <a:gd name="connsiteX53" fmla="*/ 568866 w 2701062"/>
                <a:gd name="connsiteY53" fmla="*/ 2970745 h 3628102"/>
                <a:gd name="connsiteX54" fmla="*/ 514087 w 2701062"/>
                <a:gd name="connsiteY54" fmla="*/ 3004456 h 3628102"/>
                <a:gd name="connsiteX55" fmla="*/ 484590 w 2701062"/>
                <a:gd name="connsiteY55" fmla="*/ 2970745 h 3628102"/>
                <a:gd name="connsiteX56" fmla="*/ 446665 w 2701062"/>
                <a:gd name="connsiteY56" fmla="*/ 2996028 h 3628102"/>
                <a:gd name="connsiteX57" fmla="*/ 434024 w 2701062"/>
                <a:gd name="connsiteY57" fmla="*/ 3114015 h 3628102"/>
                <a:gd name="connsiteX58" fmla="*/ 328678 w 2701062"/>
                <a:gd name="connsiteY58" fmla="*/ 3240430 h 3628102"/>
                <a:gd name="connsiteX59" fmla="*/ 273899 w 2701062"/>
                <a:gd name="connsiteY59" fmla="*/ 3253071 h 3628102"/>
                <a:gd name="connsiteX60" fmla="*/ 252829 w 2701062"/>
                <a:gd name="connsiteY60" fmla="*/ 3303637 h 3628102"/>
                <a:gd name="connsiteX61" fmla="*/ 202263 w 2701062"/>
                <a:gd name="connsiteY61" fmla="*/ 3383700 h 3628102"/>
                <a:gd name="connsiteX62" fmla="*/ 164339 w 2701062"/>
                <a:gd name="connsiteY62" fmla="*/ 3413197 h 3628102"/>
                <a:gd name="connsiteX63" fmla="*/ 75849 w 2701062"/>
                <a:gd name="connsiteY63" fmla="*/ 3442694 h 3628102"/>
                <a:gd name="connsiteX64" fmla="*/ 12641 w 2701062"/>
                <a:gd name="connsiteY64" fmla="*/ 3476404 h 3628102"/>
                <a:gd name="connsiteX65" fmla="*/ 0 w 2701062"/>
                <a:gd name="connsiteY65" fmla="*/ 3556467 h 3628102"/>
                <a:gd name="connsiteX66" fmla="*/ 63207 w 2701062"/>
                <a:gd name="connsiteY66" fmla="*/ 3552253 h 3628102"/>
                <a:gd name="connsiteX67" fmla="*/ 96918 w 2701062"/>
                <a:gd name="connsiteY67" fmla="*/ 3505901 h 3628102"/>
                <a:gd name="connsiteX68" fmla="*/ 155911 w 2701062"/>
                <a:gd name="connsiteY68" fmla="*/ 3548039 h 3628102"/>
                <a:gd name="connsiteX69" fmla="*/ 164339 w 2701062"/>
                <a:gd name="connsiteY69" fmla="*/ 3628102 h 3628102"/>
                <a:gd name="connsiteX70" fmla="*/ 265471 w 2701062"/>
                <a:gd name="connsiteY70" fmla="*/ 3577536 h 3628102"/>
                <a:gd name="connsiteX71" fmla="*/ 252829 w 2701062"/>
                <a:gd name="connsiteY71" fmla="*/ 3518542 h 3628102"/>
                <a:gd name="connsiteX72" fmla="*/ 307609 w 2701062"/>
                <a:gd name="connsiteY72" fmla="*/ 3476404 h 3628102"/>
                <a:gd name="connsiteX73" fmla="*/ 345534 w 2701062"/>
                <a:gd name="connsiteY73" fmla="*/ 3438480 h 3628102"/>
                <a:gd name="connsiteX74" fmla="*/ 375030 w 2701062"/>
                <a:gd name="connsiteY74" fmla="*/ 3396341 h 3628102"/>
                <a:gd name="connsiteX75" fmla="*/ 497231 w 2701062"/>
                <a:gd name="connsiteY75" fmla="*/ 3404769 h 3628102"/>
                <a:gd name="connsiteX76" fmla="*/ 497231 w 2701062"/>
                <a:gd name="connsiteY76" fmla="*/ 3404769 h 3628102"/>
                <a:gd name="connsiteX77" fmla="*/ 568866 w 2701062"/>
                <a:gd name="connsiteY77" fmla="*/ 3438480 h 3628102"/>
                <a:gd name="connsiteX78" fmla="*/ 589935 w 2701062"/>
                <a:gd name="connsiteY78" fmla="*/ 3417411 h 3628102"/>
                <a:gd name="connsiteX79" fmla="*/ 648929 w 2701062"/>
                <a:gd name="connsiteY79" fmla="*/ 3446907 h 3628102"/>
                <a:gd name="connsiteX80" fmla="*/ 674212 w 2701062"/>
                <a:gd name="connsiteY80" fmla="*/ 3442694 h 3628102"/>
                <a:gd name="connsiteX81" fmla="*/ 720564 w 2701062"/>
                <a:gd name="connsiteY81" fmla="*/ 3505901 h 3628102"/>
                <a:gd name="connsiteX82" fmla="*/ 754275 w 2701062"/>
                <a:gd name="connsiteY82" fmla="*/ 3497473 h 3628102"/>
                <a:gd name="connsiteX83" fmla="*/ 804840 w 2701062"/>
                <a:gd name="connsiteY83" fmla="*/ 3421624 h 3628102"/>
                <a:gd name="connsiteX84" fmla="*/ 842765 w 2701062"/>
                <a:gd name="connsiteY84" fmla="*/ 3387914 h 3628102"/>
                <a:gd name="connsiteX85" fmla="*/ 830123 w 2701062"/>
                <a:gd name="connsiteY85" fmla="*/ 3333134 h 3628102"/>
                <a:gd name="connsiteX86" fmla="*/ 859620 w 2701062"/>
                <a:gd name="connsiteY86" fmla="*/ 3278354 h 3628102"/>
                <a:gd name="connsiteX87" fmla="*/ 918614 w 2701062"/>
                <a:gd name="connsiteY87" fmla="*/ 3227789 h 3628102"/>
                <a:gd name="connsiteX88" fmla="*/ 1011318 w 2701062"/>
                <a:gd name="connsiteY88" fmla="*/ 3210933 h 3628102"/>
                <a:gd name="connsiteX89" fmla="*/ 1078739 w 2701062"/>
                <a:gd name="connsiteY89" fmla="*/ 3198292 h 3628102"/>
                <a:gd name="connsiteX90" fmla="*/ 1163016 w 2701062"/>
                <a:gd name="connsiteY90" fmla="*/ 3269927 h 3628102"/>
                <a:gd name="connsiteX91" fmla="*/ 1222009 w 2701062"/>
                <a:gd name="connsiteY91" fmla="*/ 3303637 h 3628102"/>
                <a:gd name="connsiteX92" fmla="*/ 1226223 w 2701062"/>
                <a:gd name="connsiteY92" fmla="*/ 3257285 h 3628102"/>
                <a:gd name="connsiteX93" fmla="*/ 1243078 w 2701062"/>
                <a:gd name="connsiteY93" fmla="*/ 3248858 h 3628102"/>
                <a:gd name="connsiteX94" fmla="*/ 1344210 w 2701062"/>
                <a:gd name="connsiteY94" fmla="*/ 3269927 h 3628102"/>
                <a:gd name="connsiteX95" fmla="*/ 1398990 w 2701062"/>
                <a:gd name="connsiteY95" fmla="*/ 3278354 h 3628102"/>
                <a:gd name="connsiteX96" fmla="*/ 1436914 w 2701062"/>
                <a:gd name="connsiteY96" fmla="*/ 3206719 h 3628102"/>
                <a:gd name="connsiteX97" fmla="*/ 1495908 w 2701062"/>
                <a:gd name="connsiteY97" fmla="*/ 3198292 h 3628102"/>
                <a:gd name="connsiteX98" fmla="*/ 1597040 w 2701062"/>
                <a:gd name="connsiteY98" fmla="*/ 3253071 h 3628102"/>
                <a:gd name="connsiteX99" fmla="*/ 1656033 w 2701062"/>
                <a:gd name="connsiteY99" fmla="*/ 3274141 h 3628102"/>
                <a:gd name="connsiteX100" fmla="*/ 1719240 w 2701062"/>
                <a:gd name="connsiteY100" fmla="*/ 3215147 h 3628102"/>
                <a:gd name="connsiteX101" fmla="*/ 1715027 w 2701062"/>
                <a:gd name="connsiteY101" fmla="*/ 3143512 h 3628102"/>
                <a:gd name="connsiteX102" fmla="*/ 1833014 w 2701062"/>
                <a:gd name="connsiteY102" fmla="*/ 3194078 h 3628102"/>
                <a:gd name="connsiteX103" fmla="*/ 1862510 w 2701062"/>
                <a:gd name="connsiteY103" fmla="*/ 3143512 h 3628102"/>
                <a:gd name="connsiteX104" fmla="*/ 2018422 w 2701062"/>
                <a:gd name="connsiteY104" fmla="*/ 3122443 h 3628102"/>
                <a:gd name="connsiteX105" fmla="*/ 2186975 w 2701062"/>
                <a:gd name="connsiteY105" fmla="*/ 3181436 h 3628102"/>
                <a:gd name="connsiteX106" fmla="*/ 2254396 w 2701062"/>
                <a:gd name="connsiteY106" fmla="*/ 3097160 h 3628102"/>
                <a:gd name="connsiteX107" fmla="*/ 2338673 w 2701062"/>
                <a:gd name="connsiteY107" fmla="*/ 3097160 h 3628102"/>
                <a:gd name="connsiteX108" fmla="*/ 2380811 w 2701062"/>
                <a:gd name="connsiteY108" fmla="*/ 3042380 h 3628102"/>
                <a:gd name="connsiteX109" fmla="*/ 2456660 w 2701062"/>
                <a:gd name="connsiteY109" fmla="*/ 3046594 h 3628102"/>
                <a:gd name="connsiteX110" fmla="*/ 2469301 w 2701062"/>
                <a:gd name="connsiteY110" fmla="*/ 2966531 h 3628102"/>
                <a:gd name="connsiteX111" fmla="*/ 2595716 w 2701062"/>
                <a:gd name="connsiteY111" fmla="*/ 2899110 h 3628102"/>
                <a:gd name="connsiteX112" fmla="*/ 2595716 w 2701062"/>
                <a:gd name="connsiteY112" fmla="*/ 2797978 h 3628102"/>
                <a:gd name="connsiteX113" fmla="*/ 2616785 w 2701062"/>
                <a:gd name="connsiteY113" fmla="*/ 2760054 h 3628102"/>
                <a:gd name="connsiteX114" fmla="*/ 2591502 w 2701062"/>
                <a:gd name="connsiteY114" fmla="*/ 2734771 h 3628102"/>
                <a:gd name="connsiteX115" fmla="*/ 2515653 w 2701062"/>
                <a:gd name="connsiteY115" fmla="*/ 2734771 h 3628102"/>
                <a:gd name="connsiteX116" fmla="*/ 2460874 w 2701062"/>
                <a:gd name="connsiteY116" fmla="*/ 2747412 h 3628102"/>
                <a:gd name="connsiteX117" fmla="*/ 2435591 w 2701062"/>
                <a:gd name="connsiteY117" fmla="*/ 2760054 h 3628102"/>
                <a:gd name="connsiteX118" fmla="*/ 2397666 w 2701062"/>
                <a:gd name="connsiteY118" fmla="*/ 2709488 h 3628102"/>
                <a:gd name="connsiteX119" fmla="*/ 2347100 w 2701062"/>
                <a:gd name="connsiteY119" fmla="*/ 2684205 h 3628102"/>
                <a:gd name="connsiteX120" fmla="*/ 2410308 w 2701062"/>
                <a:gd name="connsiteY120" fmla="*/ 2646281 h 3628102"/>
                <a:gd name="connsiteX121" fmla="*/ 2439804 w 2701062"/>
                <a:gd name="connsiteY121" fmla="*/ 2498797 h 3628102"/>
                <a:gd name="connsiteX122" fmla="*/ 2481943 w 2701062"/>
                <a:gd name="connsiteY122" fmla="*/ 2532507 h 3628102"/>
                <a:gd name="connsiteX123" fmla="*/ 2532509 w 2701062"/>
                <a:gd name="connsiteY123" fmla="*/ 2460872 h 3628102"/>
                <a:gd name="connsiteX124" fmla="*/ 2545150 w 2701062"/>
                <a:gd name="connsiteY124" fmla="*/ 2422948 h 3628102"/>
                <a:gd name="connsiteX125" fmla="*/ 2633640 w 2701062"/>
                <a:gd name="connsiteY125" fmla="*/ 2309175 h 3628102"/>
                <a:gd name="connsiteX126" fmla="*/ 2650496 w 2701062"/>
                <a:gd name="connsiteY126" fmla="*/ 2216471 h 3628102"/>
                <a:gd name="connsiteX127" fmla="*/ 2696848 w 2701062"/>
                <a:gd name="connsiteY127" fmla="*/ 2140622 h 3628102"/>
                <a:gd name="connsiteX128" fmla="*/ 2701062 w 2701062"/>
                <a:gd name="connsiteY128" fmla="*/ 1934144 h 3628102"/>
                <a:gd name="connsiteX129" fmla="*/ 2503012 w 2701062"/>
                <a:gd name="connsiteY129" fmla="*/ 1799302 h 3628102"/>
                <a:gd name="connsiteX130" fmla="*/ 2237541 w 2701062"/>
                <a:gd name="connsiteY130" fmla="*/ 1769805 h 3628102"/>
                <a:gd name="connsiteX131" fmla="*/ 2161692 w 2701062"/>
                <a:gd name="connsiteY131" fmla="*/ 1858295 h 3628102"/>
                <a:gd name="connsiteX132" fmla="*/ 2123768 w 2701062"/>
                <a:gd name="connsiteY132" fmla="*/ 1849868 h 3628102"/>
                <a:gd name="connsiteX133" fmla="*/ 2111126 w 2701062"/>
                <a:gd name="connsiteY133" fmla="*/ 1799302 h 3628102"/>
                <a:gd name="connsiteX134" fmla="*/ 2203830 w 2701062"/>
                <a:gd name="connsiteY134" fmla="*/ 1702384 h 3628102"/>
                <a:gd name="connsiteX135" fmla="*/ 2178547 w 2701062"/>
                <a:gd name="connsiteY135" fmla="*/ 1563328 h 3628102"/>
                <a:gd name="connsiteX136" fmla="*/ 2090057 w 2701062"/>
                <a:gd name="connsiteY136" fmla="*/ 1470624 h 3628102"/>
                <a:gd name="connsiteX137" fmla="*/ 2056346 w 2701062"/>
                <a:gd name="connsiteY137" fmla="*/ 1441127 h 3628102"/>
                <a:gd name="connsiteX138" fmla="*/ 2127981 w 2701062"/>
                <a:gd name="connsiteY138" fmla="*/ 1428485 h 3628102"/>
                <a:gd name="connsiteX139" fmla="*/ 2127981 w 2701062"/>
                <a:gd name="connsiteY139" fmla="*/ 1394775 h 3628102"/>
                <a:gd name="connsiteX140" fmla="*/ 2031063 w 2701062"/>
                <a:gd name="connsiteY140" fmla="*/ 1268360 h 3628102"/>
                <a:gd name="connsiteX141" fmla="*/ 2022636 w 2701062"/>
                <a:gd name="connsiteY141" fmla="*/ 1184083 h 3628102"/>
                <a:gd name="connsiteX142" fmla="*/ 2056346 w 2701062"/>
                <a:gd name="connsiteY142" fmla="*/ 1120876 h 3628102"/>
                <a:gd name="connsiteX143" fmla="*/ 2039491 w 2701062"/>
                <a:gd name="connsiteY143" fmla="*/ 1087165 h 3628102"/>
                <a:gd name="connsiteX144" fmla="*/ 1967856 w 2701062"/>
                <a:gd name="connsiteY144" fmla="*/ 1066096 h 3628102"/>
                <a:gd name="connsiteX145" fmla="*/ 1929932 w 2701062"/>
                <a:gd name="connsiteY145" fmla="*/ 1007103 h 3628102"/>
                <a:gd name="connsiteX146" fmla="*/ 1934146 w 2701062"/>
                <a:gd name="connsiteY146" fmla="*/ 948109 h 3628102"/>
                <a:gd name="connsiteX147" fmla="*/ 1727668 w 2701062"/>
                <a:gd name="connsiteY147" fmla="*/ 830122 h 3628102"/>
                <a:gd name="connsiteX148" fmla="*/ 1664461 w 2701062"/>
                <a:gd name="connsiteY148" fmla="*/ 771129 h 3628102"/>
                <a:gd name="connsiteX149" fmla="*/ 1516977 w 2701062"/>
                <a:gd name="connsiteY149" fmla="*/ 231760 h 3628102"/>
                <a:gd name="connsiteX150" fmla="*/ 1285216 w 2701062"/>
                <a:gd name="connsiteY150" fmla="*/ 0 h 3628102"/>
                <a:gd name="connsiteX0" fmla="*/ 1382134 w 2701062"/>
                <a:gd name="connsiteY0" fmla="*/ 25282 h 3628102"/>
                <a:gd name="connsiteX1" fmla="*/ 1264148 w 2701062"/>
                <a:gd name="connsiteY1" fmla="*/ 172766 h 3628102"/>
                <a:gd name="connsiteX2" fmla="*/ 1281002 w 2701062"/>
                <a:gd name="connsiteY2" fmla="*/ 311823 h 3628102"/>
                <a:gd name="connsiteX3" fmla="*/ 1141946 w 2701062"/>
                <a:gd name="connsiteY3" fmla="*/ 446665 h 3628102"/>
                <a:gd name="connsiteX4" fmla="*/ 876475 w 2701062"/>
                <a:gd name="connsiteY4" fmla="*/ 703707 h 3628102"/>
                <a:gd name="connsiteX5" fmla="*/ 804840 w 2701062"/>
                <a:gd name="connsiteY5" fmla="*/ 775342 h 3628102"/>
                <a:gd name="connsiteX6" fmla="*/ 813268 w 2701062"/>
                <a:gd name="connsiteY6" fmla="*/ 905971 h 3628102"/>
                <a:gd name="connsiteX7" fmla="*/ 897545 w 2701062"/>
                <a:gd name="connsiteY7" fmla="*/ 1074524 h 3628102"/>
                <a:gd name="connsiteX8" fmla="*/ 943897 w 2701062"/>
                <a:gd name="connsiteY8" fmla="*/ 1158800 h 3628102"/>
                <a:gd name="connsiteX9" fmla="*/ 964966 w 2701062"/>
                <a:gd name="connsiteY9" fmla="*/ 1188297 h 3628102"/>
                <a:gd name="connsiteX10" fmla="*/ 994463 w 2701062"/>
                <a:gd name="connsiteY10" fmla="*/ 1163014 h 3628102"/>
                <a:gd name="connsiteX11" fmla="*/ 1011318 w 2701062"/>
                <a:gd name="connsiteY11" fmla="*/ 1108235 h 3628102"/>
                <a:gd name="connsiteX12" fmla="*/ 1057670 w 2701062"/>
                <a:gd name="connsiteY12" fmla="*/ 1099807 h 3628102"/>
                <a:gd name="connsiteX13" fmla="*/ 1053456 w 2701062"/>
                <a:gd name="connsiteY13" fmla="*/ 1163014 h 3628102"/>
                <a:gd name="connsiteX14" fmla="*/ 1040815 w 2701062"/>
                <a:gd name="connsiteY14" fmla="*/ 1196725 h 3628102"/>
                <a:gd name="connsiteX15" fmla="*/ 1049242 w 2701062"/>
                <a:gd name="connsiteY15" fmla="*/ 1222008 h 3628102"/>
                <a:gd name="connsiteX16" fmla="*/ 986035 w 2701062"/>
                <a:gd name="connsiteY16" fmla="*/ 1238863 h 3628102"/>
                <a:gd name="connsiteX17" fmla="*/ 1011318 w 2701062"/>
                <a:gd name="connsiteY17" fmla="*/ 1373706 h 3628102"/>
                <a:gd name="connsiteX18" fmla="*/ 1049242 w 2701062"/>
                <a:gd name="connsiteY18" fmla="*/ 1369492 h 3628102"/>
                <a:gd name="connsiteX19" fmla="*/ 1040815 w 2701062"/>
                <a:gd name="connsiteY19" fmla="*/ 1432699 h 3628102"/>
                <a:gd name="connsiteX20" fmla="*/ 981821 w 2701062"/>
                <a:gd name="connsiteY20" fmla="*/ 1466410 h 3628102"/>
                <a:gd name="connsiteX21" fmla="*/ 931255 w 2701062"/>
                <a:gd name="connsiteY21" fmla="*/ 1466410 h 3628102"/>
                <a:gd name="connsiteX22" fmla="*/ 897545 w 2701062"/>
                <a:gd name="connsiteY22" fmla="*/ 1529617 h 3628102"/>
                <a:gd name="connsiteX23" fmla="*/ 901758 w 2701062"/>
                <a:gd name="connsiteY23" fmla="*/ 1559114 h 3628102"/>
                <a:gd name="connsiteX24" fmla="*/ 948110 w 2701062"/>
                <a:gd name="connsiteY24" fmla="*/ 1567541 h 3628102"/>
                <a:gd name="connsiteX25" fmla="*/ 931255 w 2701062"/>
                <a:gd name="connsiteY25" fmla="*/ 1605466 h 3628102"/>
                <a:gd name="connsiteX26" fmla="*/ 952324 w 2701062"/>
                <a:gd name="connsiteY26" fmla="*/ 1613894 h 3628102"/>
                <a:gd name="connsiteX27" fmla="*/ 1015532 w 2701062"/>
                <a:gd name="connsiteY27" fmla="*/ 1618107 h 3628102"/>
                <a:gd name="connsiteX28" fmla="*/ 1040815 w 2701062"/>
                <a:gd name="connsiteY28" fmla="*/ 1656032 h 3628102"/>
                <a:gd name="connsiteX29" fmla="*/ 1036601 w 2701062"/>
                <a:gd name="connsiteY29" fmla="*/ 1693956 h 3628102"/>
                <a:gd name="connsiteX30" fmla="*/ 1104022 w 2701062"/>
                <a:gd name="connsiteY30" fmla="*/ 1795088 h 3628102"/>
                <a:gd name="connsiteX31" fmla="*/ 1053456 w 2701062"/>
                <a:gd name="connsiteY31" fmla="*/ 1820371 h 3628102"/>
                <a:gd name="connsiteX32" fmla="*/ 998676 w 2701062"/>
                <a:gd name="connsiteY32" fmla="*/ 1816157 h 3628102"/>
                <a:gd name="connsiteX33" fmla="*/ 964966 w 2701062"/>
                <a:gd name="connsiteY33" fmla="*/ 1896220 h 3628102"/>
                <a:gd name="connsiteX34" fmla="*/ 1015532 w 2701062"/>
                <a:gd name="connsiteY34" fmla="*/ 1938358 h 3628102"/>
                <a:gd name="connsiteX35" fmla="*/ 994463 w 2701062"/>
                <a:gd name="connsiteY35" fmla="*/ 2035276 h 3628102"/>
                <a:gd name="connsiteX36" fmla="*/ 1019746 w 2701062"/>
                <a:gd name="connsiteY36" fmla="*/ 2068987 h 3628102"/>
                <a:gd name="connsiteX37" fmla="*/ 990249 w 2701062"/>
                <a:gd name="connsiteY37" fmla="*/ 2102697 h 3628102"/>
                <a:gd name="connsiteX38" fmla="*/ 948110 w 2701062"/>
                <a:gd name="connsiteY38" fmla="*/ 2102697 h 3628102"/>
                <a:gd name="connsiteX39" fmla="*/ 939683 w 2701062"/>
                <a:gd name="connsiteY39" fmla="*/ 2140622 h 3628102"/>
                <a:gd name="connsiteX40" fmla="*/ 994463 w 2701062"/>
                <a:gd name="connsiteY40" fmla="*/ 2186974 h 3628102"/>
                <a:gd name="connsiteX41" fmla="*/ 981821 w 2701062"/>
                <a:gd name="connsiteY41" fmla="*/ 2368168 h 3628102"/>
                <a:gd name="connsiteX42" fmla="*/ 1015532 w 2701062"/>
                <a:gd name="connsiteY42" fmla="*/ 2448231 h 3628102"/>
                <a:gd name="connsiteX43" fmla="*/ 1049242 w 2701062"/>
                <a:gd name="connsiteY43" fmla="*/ 2448231 h 3628102"/>
                <a:gd name="connsiteX44" fmla="*/ 1129305 w 2701062"/>
                <a:gd name="connsiteY44" fmla="*/ 2515652 h 3628102"/>
                <a:gd name="connsiteX45" fmla="*/ 1125091 w 2701062"/>
                <a:gd name="connsiteY45" fmla="*/ 2646281 h 3628102"/>
                <a:gd name="connsiteX46" fmla="*/ 1087167 w 2701062"/>
                <a:gd name="connsiteY46" fmla="*/ 2709488 h 3628102"/>
                <a:gd name="connsiteX47" fmla="*/ 1015532 w 2701062"/>
                <a:gd name="connsiteY47" fmla="*/ 2776909 h 3628102"/>
                <a:gd name="connsiteX48" fmla="*/ 1007104 w 2701062"/>
                <a:gd name="connsiteY48" fmla="*/ 2865400 h 3628102"/>
                <a:gd name="connsiteX49" fmla="*/ 922828 w 2701062"/>
                <a:gd name="connsiteY49" fmla="*/ 2878041 h 3628102"/>
                <a:gd name="connsiteX50" fmla="*/ 868048 w 2701062"/>
                <a:gd name="connsiteY50" fmla="*/ 2882255 h 3628102"/>
                <a:gd name="connsiteX51" fmla="*/ 830123 w 2701062"/>
                <a:gd name="connsiteY51" fmla="*/ 2844330 h 3628102"/>
                <a:gd name="connsiteX52" fmla="*/ 577294 w 2701062"/>
                <a:gd name="connsiteY52" fmla="*/ 2865400 h 3628102"/>
                <a:gd name="connsiteX53" fmla="*/ 568866 w 2701062"/>
                <a:gd name="connsiteY53" fmla="*/ 2970745 h 3628102"/>
                <a:gd name="connsiteX54" fmla="*/ 514087 w 2701062"/>
                <a:gd name="connsiteY54" fmla="*/ 3004456 h 3628102"/>
                <a:gd name="connsiteX55" fmla="*/ 484590 w 2701062"/>
                <a:gd name="connsiteY55" fmla="*/ 2970745 h 3628102"/>
                <a:gd name="connsiteX56" fmla="*/ 446665 w 2701062"/>
                <a:gd name="connsiteY56" fmla="*/ 2996028 h 3628102"/>
                <a:gd name="connsiteX57" fmla="*/ 434024 w 2701062"/>
                <a:gd name="connsiteY57" fmla="*/ 3114015 h 3628102"/>
                <a:gd name="connsiteX58" fmla="*/ 328678 w 2701062"/>
                <a:gd name="connsiteY58" fmla="*/ 3240430 h 3628102"/>
                <a:gd name="connsiteX59" fmla="*/ 273899 w 2701062"/>
                <a:gd name="connsiteY59" fmla="*/ 3253071 h 3628102"/>
                <a:gd name="connsiteX60" fmla="*/ 252829 w 2701062"/>
                <a:gd name="connsiteY60" fmla="*/ 3303637 h 3628102"/>
                <a:gd name="connsiteX61" fmla="*/ 202263 w 2701062"/>
                <a:gd name="connsiteY61" fmla="*/ 3383700 h 3628102"/>
                <a:gd name="connsiteX62" fmla="*/ 164339 w 2701062"/>
                <a:gd name="connsiteY62" fmla="*/ 3413197 h 3628102"/>
                <a:gd name="connsiteX63" fmla="*/ 75849 w 2701062"/>
                <a:gd name="connsiteY63" fmla="*/ 3442694 h 3628102"/>
                <a:gd name="connsiteX64" fmla="*/ 12641 w 2701062"/>
                <a:gd name="connsiteY64" fmla="*/ 3476404 h 3628102"/>
                <a:gd name="connsiteX65" fmla="*/ 0 w 2701062"/>
                <a:gd name="connsiteY65" fmla="*/ 3556467 h 3628102"/>
                <a:gd name="connsiteX66" fmla="*/ 63207 w 2701062"/>
                <a:gd name="connsiteY66" fmla="*/ 3552253 h 3628102"/>
                <a:gd name="connsiteX67" fmla="*/ 96918 w 2701062"/>
                <a:gd name="connsiteY67" fmla="*/ 3505901 h 3628102"/>
                <a:gd name="connsiteX68" fmla="*/ 155911 w 2701062"/>
                <a:gd name="connsiteY68" fmla="*/ 3548039 h 3628102"/>
                <a:gd name="connsiteX69" fmla="*/ 164339 w 2701062"/>
                <a:gd name="connsiteY69" fmla="*/ 3628102 h 3628102"/>
                <a:gd name="connsiteX70" fmla="*/ 265471 w 2701062"/>
                <a:gd name="connsiteY70" fmla="*/ 3577536 h 3628102"/>
                <a:gd name="connsiteX71" fmla="*/ 252829 w 2701062"/>
                <a:gd name="connsiteY71" fmla="*/ 3518542 h 3628102"/>
                <a:gd name="connsiteX72" fmla="*/ 307609 w 2701062"/>
                <a:gd name="connsiteY72" fmla="*/ 3476404 h 3628102"/>
                <a:gd name="connsiteX73" fmla="*/ 345534 w 2701062"/>
                <a:gd name="connsiteY73" fmla="*/ 3438480 h 3628102"/>
                <a:gd name="connsiteX74" fmla="*/ 375030 w 2701062"/>
                <a:gd name="connsiteY74" fmla="*/ 3396341 h 3628102"/>
                <a:gd name="connsiteX75" fmla="*/ 497231 w 2701062"/>
                <a:gd name="connsiteY75" fmla="*/ 3404769 h 3628102"/>
                <a:gd name="connsiteX76" fmla="*/ 497231 w 2701062"/>
                <a:gd name="connsiteY76" fmla="*/ 3404769 h 3628102"/>
                <a:gd name="connsiteX77" fmla="*/ 568866 w 2701062"/>
                <a:gd name="connsiteY77" fmla="*/ 3438480 h 3628102"/>
                <a:gd name="connsiteX78" fmla="*/ 589935 w 2701062"/>
                <a:gd name="connsiteY78" fmla="*/ 3417411 h 3628102"/>
                <a:gd name="connsiteX79" fmla="*/ 648929 w 2701062"/>
                <a:gd name="connsiteY79" fmla="*/ 3446907 h 3628102"/>
                <a:gd name="connsiteX80" fmla="*/ 674212 w 2701062"/>
                <a:gd name="connsiteY80" fmla="*/ 3442694 h 3628102"/>
                <a:gd name="connsiteX81" fmla="*/ 720564 w 2701062"/>
                <a:gd name="connsiteY81" fmla="*/ 3505901 h 3628102"/>
                <a:gd name="connsiteX82" fmla="*/ 754275 w 2701062"/>
                <a:gd name="connsiteY82" fmla="*/ 3497473 h 3628102"/>
                <a:gd name="connsiteX83" fmla="*/ 804840 w 2701062"/>
                <a:gd name="connsiteY83" fmla="*/ 3421624 h 3628102"/>
                <a:gd name="connsiteX84" fmla="*/ 842765 w 2701062"/>
                <a:gd name="connsiteY84" fmla="*/ 3387914 h 3628102"/>
                <a:gd name="connsiteX85" fmla="*/ 830123 w 2701062"/>
                <a:gd name="connsiteY85" fmla="*/ 3333134 h 3628102"/>
                <a:gd name="connsiteX86" fmla="*/ 859620 w 2701062"/>
                <a:gd name="connsiteY86" fmla="*/ 3278354 h 3628102"/>
                <a:gd name="connsiteX87" fmla="*/ 918614 w 2701062"/>
                <a:gd name="connsiteY87" fmla="*/ 3227789 h 3628102"/>
                <a:gd name="connsiteX88" fmla="*/ 1011318 w 2701062"/>
                <a:gd name="connsiteY88" fmla="*/ 3210933 h 3628102"/>
                <a:gd name="connsiteX89" fmla="*/ 1078739 w 2701062"/>
                <a:gd name="connsiteY89" fmla="*/ 3198292 h 3628102"/>
                <a:gd name="connsiteX90" fmla="*/ 1163016 w 2701062"/>
                <a:gd name="connsiteY90" fmla="*/ 3269927 h 3628102"/>
                <a:gd name="connsiteX91" fmla="*/ 1222009 w 2701062"/>
                <a:gd name="connsiteY91" fmla="*/ 3303637 h 3628102"/>
                <a:gd name="connsiteX92" fmla="*/ 1226223 w 2701062"/>
                <a:gd name="connsiteY92" fmla="*/ 3257285 h 3628102"/>
                <a:gd name="connsiteX93" fmla="*/ 1243078 w 2701062"/>
                <a:gd name="connsiteY93" fmla="*/ 3248858 h 3628102"/>
                <a:gd name="connsiteX94" fmla="*/ 1344210 w 2701062"/>
                <a:gd name="connsiteY94" fmla="*/ 3269927 h 3628102"/>
                <a:gd name="connsiteX95" fmla="*/ 1398990 w 2701062"/>
                <a:gd name="connsiteY95" fmla="*/ 3278354 h 3628102"/>
                <a:gd name="connsiteX96" fmla="*/ 1436914 w 2701062"/>
                <a:gd name="connsiteY96" fmla="*/ 3206719 h 3628102"/>
                <a:gd name="connsiteX97" fmla="*/ 1495908 w 2701062"/>
                <a:gd name="connsiteY97" fmla="*/ 3198292 h 3628102"/>
                <a:gd name="connsiteX98" fmla="*/ 1597040 w 2701062"/>
                <a:gd name="connsiteY98" fmla="*/ 3253071 h 3628102"/>
                <a:gd name="connsiteX99" fmla="*/ 1656033 w 2701062"/>
                <a:gd name="connsiteY99" fmla="*/ 3274141 h 3628102"/>
                <a:gd name="connsiteX100" fmla="*/ 1719240 w 2701062"/>
                <a:gd name="connsiteY100" fmla="*/ 3215147 h 3628102"/>
                <a:gd name="connsiteX101" fmla="*/ 1715027 w 2701062"/>
                <a:gd name="connsiteY101" fmla="*/ 3143512 h 3628102"/>
                <a:gd name="connsiteX102" fmla="*/ 1833014 w 2701062"/>
                <a:gd name="connsiteY102" fmla="*/ 3194078 h 3628102"/>
                <a:gd name="connsiteX103" fmla="*/ 1862510 w 2701062"/>
                <a:gd name="connsiteY103" fmla="*/ 3143512 h 3628102"/>
                <a:gd name="connsiteX104" fmla="*/ 2018422 w 2701062"/>
                <a:gd name="connsiteY104" fmla="*/ 3122443 h 3628102"/>
                <a:gd name="connsiteX105" fmla="*/ 2186975 w 2701062"/>
                <a:gd name="connsiteY105" fmla="*/ 3181436 h 3628102"/>
                <a:gd name="connsiteX106" fmla="*/ 2254396 w 2701062"/>
                <a:gd name="connsiteY106" fmla="*/ 3097160 h 3628102"/>
                <a:gd name="connsiteX107" fmla="*/ 2338673 w 2701062"/>
                <a:gd name="connsiteY107" fmla="*/ 3097160 h 3628102"/>
                <a:gd name="connsiteX108" fmla="*/ 2380811 w 2701062"/>
                <a:gd name="connsiteY108" fmla="*/ 3042380 h 3628102"/>
                <a:gd name="connsiteX109" fmla="*/ 2456660 w 2701062"/>
                <a:gd name="connsiteY109" fmla="*/ 3046594 h 3628102"/>
                <a:gd name="connsiteX110" fmla="*/ 2469301 w 2701062"/>
                <a:gd name="connsiteY110" fmla="*/ 2966531 h 3628102"/>
                <a:gd name="connsiteX111" fmla="*/ 2595716 w 2701062"/>
                <a:gd name="connsiteY111" fmla="*/ 2899110 h 3628102"/>
                <a:gd name="connsiteX112" fmla="*/ 2595716 w 2701062"/>
                <a:gd name="connsiteY112" fmla="*/ 2797978 h 3628102"/>
                <a:gd name="connsiteX113" fmla="*/ 2616785 w 2701062"/>
                <a:gd name="connsiteY113" fmla="*/ 2760054 h 3628102"/>
                <a:gd name="connsiteX114" fmla="*/ 2591502 w 2701062"/>
                <a:gd name="connsiteY114" fmla="*/ 2734771 h 3628102"/>
                <a:gd name="connsiteX115" fmla="*/ 2515653 w 2701062"/>
                <a:gd name="connsiteY115" fmla="*/ 2734771 h 3628102"/>
                <a:gd name="connsiteX116" fmla="*/ 2460874 w 2701062"/>
                <a:gd name="connsiteY116" fmla="*/ 2747412 h 3628102"/>
                <a:gd name="connsiteX117" fmla="*/ 2435591 w 2701062"/>
                <a:gd name="connsiteY117" fmla="*/ 2760054 h 3628102"/>
                <a:gd name="connsiteX118" fmla="*/ 2397666 w 2701062"/>
                <a:gd name="connsiteY118" fmla="*/ 2709488 h 3628102"/>
                <a:gd name="connsiteX119" fmla="*/ 2347100 w 2701062"/>
                <a:gd name="connsiteY119" fmla="*/ 2684205 h 3628102"/>
                <a:gd name="connsiteX120" fmla="*/ 2410308 w 2701062"/>
                <a:gd name="connsiteY120" fmla="*/ 2646281 h 3628102"/>
                <a:gd name="connsiteX121" fmla="*/ 2439804 w 2701062"/>
                <a:gd name="connsiteY121" fmla="*/ 2498797 h 3628102"/>
                <a:gd name="connsiteX122" fmla="*/ 2481943 w 2701062"/>
                <a:gd name="connsiteY122" fmla="*/ 2532507 h 3628102"/>
                <a:gd name="connsiteX123" fmla="*/ 2532509 w 2701062"/>
                <a:gd name="connsiteY123" fmla="*/ 2460872 h 3628102"/>
                <a:gd name="connsiteX124" fmla="*/ 2545150 w 2701062"/>
                <a:gd name="connsiteY124" fmla="*/ 2422948 h 3628102"/>
                <a:gd name="connsiteX125" fmla="*/ 2633640 w 2701062"/>
                <a:gd name="connsiteY125" fmla="*/ 2309175 h 3628102"/>
                <a:gd name="connsiteX126" fmla="*/ 2650496 w 2701062"/>
                <a:gd name="connsiteY126" fmla="*/ 2216471 h 3628102"/>
                <a:gd name="connsiteX127" fmla="*/ 2696848 w 2701062"/>
                <a:gd name="connsiteY127" fmla="*/ 2140622 h 3628102"/>
                <a:gd name="connsiteX128" fmla="*/ 2701062 w 2701062"/>
                <a:gd name="connsiteY128" fmla="*/ 1934144 h 3628102"/>
                <a:gd name="connsiteX129" fmla="*/ 2503012 w 2701062"/>
                <a:gd name="connsiteY129" fmla="*/ 1799302 h 3628102"/>
                <a:gd name="connsiteX130" fmla="*/ 2237541 w 2701062"/>
                <a:gd name="connsiteY130" fmla="*/ 1769805 h 3628102"/>
                <a:gd name="connsiteX131" fmla="*/ 2161692 w 2701062"/>
                <a:gd name="connsiteY131" fmla="*/ 1858295 h 3628102"/>
                <a:gd name="connsiteX132" fmla="*/ 2123768 w 2701062"/>
                <a:gd name="connsiteY132" fmla="*/ 1849868 h 3628102"/>
                <a:gd name="connsiteX133" fmla="*/ 2111126 w 2701062"/>
                <a:gd name="connsiteY133" fmla="*/ 1799302 h 3628102"/>
                <a:gd name="connsiteX134" fmla="*/ 2203830 w 2701062"/>
                <a:gd name="connsiteY134" fmla="*/ 1702384 h 3628102"/>
                <a:gd name="connsiteX135" fmla="*/ 2178547 w 2701062"/>
                <a:gd name="connsiteY135" fmla="*/ 1563328 h 3628102"/>
                <a:gd name="connsiteX136" fmla="*/ 2090057 w 2701062"/>
                <a:gd name="connsiteY136" fmla="*/ 1470624 h 3628102"/>
                <a:gd name="connsiteX137" fmla="*/ 2056346 w 2701062"/>
                <a:gd name="connsiteY137" fmla="*/ 1441127 h 3628102"/>
                <a:gd name="connsiteX138" fmla="*/ 2127981 w 2701062"/>
                <a:gd name="connsiteY138" fmla="*/ 1428485 h 3628102"/>
                <a:gd name="connsiteX139" fmla="*/ 2127981 w 2701062"/>
                <a:gd name="connsiteY139" fmla="*/ 1394775 h 3628102"/>
                <a:gd name="connsiteX140" fmla="*/ 2031063 w 2701062"/>
                <a:gd name="connsiteY140" fmla="*/ 1268360 h 3628102"/>
                <a:gd name="connsiteX141" fmla="*/ 2022636 w 2701062"/>
                <a:gd name="connsiteY141" fmla="*/ 1184083 h 3628102"/>
                <a:gd name="connsiteX142" fmla="*/ 2056346 w 2701062"/>
                <a:gd name="connsiteY142" fmla="*/ 1120876 h 3628102"/>
                <a:gd name="connsiteX143" fmla="*/ 2039491 w 2701062"/>
                <a:gd name="connsiteY143" fmla="*/ 1087165 h 3628102"/>
                <a:gd name="connsiteX144" fmla="*/ 1967856 w 2701062"/>
                <a:gd name="connsiteY144" fmla="*/ 1066096 h 3628102"/>
                <a:gd name="connsiteX145" fmla="*/ 1929932 w 2701062"/>
                <a:gd name="connsiteY145" fmla="*/ 1007103 h 3628102"/>
                <a:gd name="connsiteX146" fmla="*/ 1934146 w 2701062"/>
                <a:gd name="connsiteY146" fmla="*/ 948109 h 3628102"/>
                <a:gd name="connsiteX147" fmla="*/ 1727668 w 2701062"/>
                <a:gd name="connsiteY147" fmla="*/ 830122 h 3628102"/>
                <a:gd name="connsiteX148" fmla="*/ 1664461 w 2701062"/>
                <a:gd name="connsiteY148" fmla="*/ 771129 h 3628102"/>
                <a:gd name="connsiteX149" fmla="*/ 1516977 w 2701062"/>
                <a:gd name="connsiteY149" fmla="*/ 231760 h 3628102"/>
                <a:gd name="connsiteX150" fmla="*/ 1285216 w 2701062"/>
                <a:gd name="connsiteY150" fmla="*/ 0 h 3628102"/>
                <a:gd name="connsiteX151" fmla="*/ 1382134 w 2701062"/>
                <a:gd name="connsiteY151" fmla="*/ 25282 h 3628102"/>
                <a:gd name="connsiteX0" fmla="*/ 1382134 w 2701062"/>
                <a:gd name="connsiteY0" fmla="*/ 12640 h 3615460"/>
                <a:gd name="connsiteX1" fmla="*/ 1264148 w 2701062"/>
                <a:gd name="connsiteY1" fmla="*/ 160124 h 3615460"/>
                <a:gd name="connsiteX2" fmla="*/ 1281002 w 2701062"/>
                <a:gd name="connsiteY2" fmla="*/ 299181 h 3615460"/>
                <a:gd name="connsiteX3" fmla="*/ 1141946 w 2701062"/>
                <a:gd name="connsiteY3" fmla="*/ 434023 h 3615460"/>
                <a:gd name="connsiteX4" fmla="*/ 876475 w 2701062"/>
                <a:gd name="connsiteY4" fmla="*/ 691065 h 3615460"/>
                <a:gd name="connsiteX5" fmla="*/ 804840 w 2701062"/>
                <a:gd name="connsiteY5" fmla="*/ 762700 h 3615460"/>
                <a:gd name="connsiteX6" fmla="*/ 813268 w 2701062"/>
                <a:gd name="connsiteY6" fmla="*/ 893329 h 3615460"/>
                <a:gd name="connsiteX7" fmla="*/ 897545 w 2701062"/>
                <a:gd name="connsiteY7" fmla="*/ 1061882 h 3615460"/>
                <a:gd name="connsiteX8" fmla="*/ 943897 w 2701062"/>
                <a:gd name="connsiteY8" fmla="*/ 1146158 h 3615460"/>
                <a:gd name="connsiteX9" fmla="*/ 964966 w 2701062"/>
                <a:gd name="connsiteY9" fmla="*/ 1175655 h 3615460"/>
                <a:gd name="connsiteX10" fmla="*/ 994463 w 2701062"/>
                <a:gd name="connsiteY10" fmla="*/ 1150372 h 3615460"/>
                <a:gd name="connsiteX11" fmla="*/ 1011318 w 2701062"/>
                <a:gd name="connsiteY11" fmla="*/ 1095593 h 3615460"/>
                <a:gd name="connsiteX12" fmla="*/ 1057670 w 2701062"/>
                <a:gd name="connsiteY12" fmla="*/ 1087165 h 3615460"/>
                <a:gd name="connsiteX13" fmla="*/ 1053456 w 2701062"/>
                <a:gd name="connsiteY13" fmla="*/ 1150372 h 3615460"/>
                <a:gd name="connsiteX14" fmla="*/ 1040815 w 2701062"/>
                <a:gd name="connsiteY14" fmla="*/ 1184083 h 3615460"/>
                <a:gd name="connsiteX15" fmla="*/ 1049242 w 2701062"/>
                <a:gd name="connsiteY15" fmla="*/ 1209366 h 3615460"/>
                <a:gd name="connsiteX16" fmla="*/ 986035 w 2701062"/>
                <a:gd name="connsiteY16" fmla="*/ 1226221 h 3615460"/>
                <a:gd name="connsiteX17" fmla="*/ 1011318 w 2701062"/>
                <a:gd name="connsiteY17" fmla="*/ 1361064 h 3615460"/>
                <a:gd name="connsiteX18" fmla="*/ 1049242 w 2701062"/>
                <a:gd name="connsiteY18" fmla="*/ 1356850 h 3615460"/>
                <a:gd name="connsiteX19" fmla="*/ 1040815 w 2701062"/>
                <a:gd name="connsiteY19" fmla="*/ 1420057 h 3615460"/>
                <a:gd name="connsiteX20" fmla="*/ 981821 w 2701062"/>
                <a:gd name="connsiteY20" fmla="*/ 1453768 h 3615460"/>
                <a:gd name="connsiteX21" fmla="*/ 931255 w 2701062"/>
                <a:gd name="connsiteY21" fmla="*/ 1453768 h 3615460"/>
                <a:gd name="connsiteX22" fmla="*/ 897545 w 2701062"/>
                <a:gd name="connsiteY22" fmla="*/ 1516975 h 3615460"/>
                <a:gd name="connsiteX23" fmla="*/ 901758 w 2701062"/>
                <a:gd name="connsiteY23" fmla="*/ 1546472 h 3615460"/>
                <a:gd name="connsiteX24" fmla="*/ 948110 w 2701062"/>
                <a:gd name="connsiteY24" fmla="*/ 1554899 h 3615460"/>
                <a:gd name="connsiteX25" fmla="*/ 931255 w 2701062"/>
                <a:gd name="connsiteY25" fmla="*/ 1592824 h 3615460"/>
                <a:gd name="connsiteX26" fmla="*/ 952324 w 2701062"/>
                <a:gd name="connsiteY26" fmla="*/ 1601252 h 3615460"/>
                <a:gd name="connsiteX27" fmla="*/ 1015532 w 2701062"/>
                <a:gd name="connsiteY27" fmla="*/ 1605465 h 3615460"/>
                <a:gd name="connsiteX28" fmla="*/ 1040815 w 2701062"/>
                <a:gd name="connsiteY28" fmla="*/ 1643390 h 3615460"/>
                <a:gd name="connsiteX29" fmla="*/ 1036601 w 2701062"/>
                <a:gd name="connsiteY29" fmla="*/ 1681314 h 3615460"/>
                <a:gd name="connsiteX30" fmla="*/ 1104022 w 2701062"/>
                <a:gd name="connsiteY30" fmla="*/ 1782446 h 3615460"/>
                <a:gd name="connsiteX31" fmla="*/ 1053456 w 2701062"/>
                <a:gd name="connsiteY31" fmla="*/ 1807729 h 3615460"/>
                <a:gd name="connsiteX32" fmla="*/ 998676 w 2701062"/>
                <a:gd name="connsiteY32" fmla="*/ 1803515 h 3615460"/>
                <a:gd name="connsiteX33" fmla="*/ 964966 w 2701062"/>
                <a:gd name="connsiteY33" fmla="*/ 1883578 h 3615460"/>
                <a:gd name="connsiteX34" fmla="*/ 1015532 w 2701062"/>
                <a:gd name="connsiteY34" fmla="*/ 1925716 h 3615460"/>
                <a:gd name="connsiteX35" fmla="*/ 994463 w 2701062"/>
                <a:gd name="connsiteY35" fmla="*/ 2022634 h 3615460"/>
                <a:gd name="connsiteX36" fmla="*/ 1019746 w 2701062"/>
                <a:gd name="connsiteY36" fmla="*/ 2056345 h 3615460"/>
                <a:gd name="connsiteX37" fmla="*/ 990249 w 2701062"/>
                <a:gd name="connsiteY37" fmla="*/ 2090055 h 3615460"/>
                <a:gd name="connsiteX38" fmla="*/ 948110 w 2701062"/>
                <a:gd name="connsiteY38" fmla="*/ 2090055 h 3615460"/>
                <a:gd name="connsiteX39" fmla="*/ 939683 w 2701062"/>
                <a:gd name="connsiteY39" fmla="*/ 2127980 h 3615460"/>
                <a:gd name="connsiteX40" fmla="*/ 994463 w 2701062"/>
                <a:gd name="connsiteY40" fmla="*/ 2174332 h 3615460"/>
                <a:gd name="connsiteX41" fmla="*/ 981821 w 2701062"/>
                <a:gd name="connsiteY41" fmla="*/ 2355526 h 3615460"/>
                <a:gd name="connsiteX42" fmla="*/ 1015532 w 2701062"/>
                <a:gd name="connsiteY42" fmla="*/ 2435589 h 3615460"/>
                <a:gd name="connsiteX43" fmla="*/ 1049242 w 2701062"/>
                <a:gd name="connsiteY43" fmla="*/ 2435589 h 3615460"/>
                <a:gd name="connsiteX44" fmla="*/ 1129305 w 2701062"/>
                <a:gd name="connsiteY44" fmla="*/ 2503010 h 3615460"/>
                <a:gd name="connsiteX45" fmla="*/ 1125091 w 2701062"/>
                <a:gd name="connsiteY45" fmla="*/ 2633639 h 3615460"/>
                <a:gd name="connsiteX46" fmla="*/ 1087167 w 2701062"/>
                <a:gd name="connsiteY46" fmla="*/ 2696846 h 3615460"/>
                <a:gd name="connsiteX47" fmla="*/ 1015532 w 2701062"/>
                <a:gd name="connsiteY47" fmla="*/ 2764267 h 3615460"/>
                <a:gd name="connsiteX48" fmla="*/ 1007104 w 2701062"/>
                <a:gd name="connsiteY48" fmla="*/ 2852758 h 3615460"/>
                <a:gd name="connsiteX49" fmla="*/ 922828 w 2701062"/>
                <a:gd name="connsiteY49" fmla="*/ 2865399 h 3615460"/>
                <a:gd name="connsiteX50" fmla="*/ 868048 w 2701062"/>
                <a:gd name="connsiteY50" fmla="*/ 2869613 h 3615460"/>
                <a:gd name="connsiteX51" fmla="*/ 830123 w 2701062"/>
                <a:gd name="connsiteY51" fmla="*/ 2831688 h 3615460"/>
                <a:gd name="connsiteX52" fmla="*/ 577294 w 2701062"/>
                <a:gd name="connsiteY52" fmla="*/ 2852758 h 3615460"/>
                <a:gd name="connsiteX53" fmla="*/ 568866 w 2701062"/>
                <a:gd name="connsiteY53" fmla="*/ 2958103 h 3615460"/>
                <a:gd name="connsiteX54" fmla="*/ 514087 w 2701062"/>
                <a:gd name="connsiteY54" fmla="*/ 2991814 h 3615460"/>
                <a:gd name="connsiteX55" fmla="*/ 484590 w 2701062"/>
                <a:gd name="connsiteY55" fmla="*/ 2958103 h 3615460"/>
                <a:gd name="connsiteX56" fmla="*/ 446665 w 2701062"/>
                <a:gd name="connsiteY56" fmla="*/ 2983386 h 3615460"/>
                <a:gd name="connsiteX57" fmla="*/ 434024 w 2701062"/>
                <a:gd name="connsiteY57" fmla="*/ 3101373 h 3615460"/>
                <a:gd name="connsiteX58" fmla="*/ 328678 w 2701062"/>
                <a:gd name="connsiteY58" fmla="*/ 3227788 h 3615460"/>
                <a:gd name="connsiteX59" fmla="*/ 273899 w 2701062"/>
                <a:gd name="connsiteY59" fmla="*/ 3240429 h 3615460"/>
                <a:gd name="connsiteX60" fmla="*/ 252829 w 2701062"/>
                <a:gd name="connsiteY60" fmla="*/ 3290995 h 3615460"/>
                <a:gd name="connsiteX61" fmla="*/ 202263 w 2701062"/>
                <a:gd name="connsiteY61" fmla="*/ 3371058 h 3615460"/>
                <a:gd name="connsiteX62" fmla="*/ 164339 w 2701062"/>
                <a:gd name="connsiteY62" fmla="*/ 3400555 h 3615460"/>
                <a:gd name="connsiteX63" fmla="*/ 75849 w 2701062"/>
                <a:gd name="connsiteY63" fmla="*/ 3430052 h 3615460"/>
                <a:gd name="connsiteX64" fmla="*/ 12641 w 2701062"/>
                <a:gd name="connsiteY64" fmla="*/ 3463762 h 3615460"/>
                <a:gd name="connsiteX65" fmla="*/ 0 w 2701062"/>
                <a:gd name="connsiteY65" fmla="*/ 3543825 h 3615460"/>
                <a:gd name="connsiteX66" fmla="*/ 63207 w 2701062"/>
                <a:gd name="connsiteY66" fmla="*/ 3539611 h 3615460"/>
                <a:gd name="connsiteX67" fmla="*/ 96918 w 2701062"/>
                <a:gd name="connsiteY67" fmla="*/ 3493259 h 3615460"/>
                <a:gd name="connsiteX68" fmla="*/ 155911 w 2701062"/>
                <a:gd name="connsiteY68" fmla="*/ 3535397 h 3615460"/>
                <a:gd name="connsiteX69" fmla="*/ 164339 w 2701062"/>
                <a:gd name="connsiteY69" fmla="*/ 3615460 h 3615460"/>
                <a:gd name="connsiteX70" fmla="*/ 265471 w 2701062"/>
                <a:gd name="connsiteY70" fmla="*/ 3564894 h 3615460"/>
                <a:gd name="connsiteX71" fmla="*/ 252829 w 2701062"/>
                <a:gd name="connsiteY71" fmla="*/ 3505900 h 3615460"/>
                <a:gd name="connsiteX72" fmla="*/ 307609 w 2701062"/>
                <a:gd name="connsiteY72" fmla="*/ 3463762 h 3615460"/>
                <a:gd name="connsiteX73" fmla="*/ 345534 w 2701062"/>
                <a:gd name="connsiteY73" fmla="*/ 3425838 h 3615460"/>
                <a:gd name="connsiteX74" fmla="*/ 375030 w 2701062"/>
                <a:gd name="connsiteY74" fmla="*/ 3383699 h 3615460"/>
                <a:gd name="connsiteX75" fmla="*/ 497231 w 2701062"/>
                <a:gd name="connsiteY75" fmla="*/ 3392127 h 3615460"/>
                <a:gd name="connsiteX76" fmla="*/ 497231 w 2701062"/>
                <a:gd name="connsiteY76" fmla="*/ 3392127 h 3615460"/>
                <a:gd name="connsiteX77" fmla="*/ 568866 w 2701062"/>
                <a:gd name="connsiteY77" fmla="*/ 3425838 h 3615460"/>
                <a:gd name="connsiteX78" fmla="*/ 589935 w 2701062"/>
                <a:gd name="connsiteY78" fmla="*/ 3404769 h 3615460"/>
                <a:gd name="connsiteX79" fmla="*/ 648929 w 2701062"/>
                <a:gd name="connsiteY79" fmla="*/ 3434265 h 3615460"/>
                <a:gd name="connsiteX80" fmla="*/ 674212 w 2701062"/>
                <a:gd name="connsiteY80" fmla="*/ 3430052 h 3615460"/>
                <a:gd name="connsiteX81" fmla="*/ 720564 w 2701062"/>
                <a:gd name="connsiteY81" fmla="*/ 3493259 h 3615460"/>
                <a:gd name="connsiteX82" fmla="*/ 754275 w 2701062"/>
                <a:gd name="connsiteY82" fmla="*/ 3484831 h 3615460"/>
                <a:gd name="connsiteX83" fmla="*/ 804840 w 2701062"/>
                <a:gd name="connsiteY83" fmla="*/ 3408982 h 3615460"/>
                <a:gd name="connsiteX84" fmla="*/ 842765 w 2701062"/>
                <a:gd name="connsiteY84" fmla="*/ 3375272 h 3615460"/>
                <a:gd name="connsiteX85" fmla="*/ 830123 w 2701062"/>
                <a:gd name="connsiteY85" fmla="*/ 3320492 h 3615460"/>
                <a:gd name="connsiteX86" fmla="*/ 859620 w 2701062"/>
                <a:gd name="connsiteY86" fmla="*/ 3265712 h 3615460"/>
                <a:gd name="connsiteX87" fmla="*/ 918614 w 2701062"/>
                <a:gd name="connsiteY87" fmla="*/ 3215147 h 3615460"/>
                <a:gd name="connsiteX88" fmla="*/ 1011318 w 2701062"/>
                <a:gd name="connsiteY88" fmla="*/ 3198291 h 3615460"/>
                <a:gd name="connsiteX89" fmla="*/ 1078739 w 2701062"/>
                <a:gd name="connsiteY89" fmla="*/ 3185650 h 3615460"/>
                <a:gd name="connsiteX90" fmla="*/ 1163016 w 2701062"/>
                <a:gd name="connsiteY90" fmla="*/ 3257285 h 3615460"/>
                <a:gd name="connsiteX91" fmla="*/ 1222009 w 2701062"/>
                <a:gd name="connsiteY91" fmla="*/ 3290995 h 3615460"/>
                <a:gd name="connsiteX92" fmla="*/ 1226223 w 2701062"/>
                <a:gd name="connsiteY92" fmla="*/ 3244643 h 3615460"/>
                <a:gd name="connsiteX93" fmla="*/ 1243078 w 2701062"/>
                <a:gd name="connsiteY93" fmla="*/ 3236216 h 3615460"/>
                <a:gd name="connsiteX94" fmla="*/ 1344210 w 2701062"/>
                <a:gd name="connsiteY94" fmla="*/ 3257285 h 3615460"/>
                <a:gd name="connsiteX95" fmla="*/ 1398990 w 2701062"/>
                <a:gd name="connsiteY95" fmla="*/ 3265712 h 3615460"/>
                <a:gd name="connsiteX96" fmla="*/ 1436914 w 2701062"/>
                <a:gd name="connsiteY96" fmla="*/ 3194077 h 3615460"/>
                <a:gd name="connsiteX97" fmla="*/ 1495908 w 2701062"/>
                <a:gd name="connsiteY97" fmla="*/ 3185650 h 3615460"/>
                <a:gd name="connsiteX98" fmla="*/ 1597040 w 2701062"/>
                <a:gd name="connsiteY98" fmla="*/ 3240429 h 3615460"/>
                <a:gd name="connsiteX99" fmla="*/ 1656033 w 2701062"/>
                <a:gd name="connsiteY99" fmla="*/ 3261499 h 3615460"/>
                <a:gd name="connsiteX100" fmla="*/ 1719240 w 2701062"/>
                <a:gd name="connsiteY100" fmla="*/ 3202505 h 3615460"/>
                <a:gd name="connsiteX101" fmla="*/ 1715027 w 2701062"/>
                <a:gd name="connsiteY101" fmla="*/ 3130870 h 3615460"/>
                <a:gd name="connsiteX102" fmla="*/ 1833014 w 2701062"/>
                <a:gd name="connsiteY102" fmla="*/ 3181436 h 3615460"/>
                <a:gd name="connsiteX103" fmla="*/ 1862510 w 2701062"/>
                <a:gd name="connsiteY103" fmla="*/ 3130870 h 3615460"/>
                <a:gd name="connsiteX104" fmla="*/ 2018422 w 2701062"/>
                <a:gd name="connsiteY104" fmla="*/ 3109801 h 3615460"/>
                <a:gd name="connsiteX105" fmla="*/ 2186975 w 2701062"/>
                <a:gd name="connsiteY105" fmla="*/ 3168794 h 3615460"/>
                <a:gd name="connsiteX106" fmla="*/ 2254396 w 2701062"/>
                <a:gd name="connsiteY106" fmla="*/ 3084518 h 3615460"/>
                <a:gd name="connsiteX107" fmla="*/ 2338673 w 2701062"/>
                <a:gd name="connsiteY107" fmla="*/ 3084518 h 3615460"/>
                <a:gd name="connsiteX108" fmla="*/ 2380811 w 2701062"/>
                <a:gd name="connsiteY108" fmla="*/ 3029738 h 3615460"/>
                <a:gd name="connsiteX109" fmla="*/ 2456660 w 2701062"/>
                <a:gd name="connsiteY109" fmla="*/ 3033952 h 3615460"/>
                <a:gd name="connsiteX110" fmla="*/ 2469301 w 2701062"/>
                <a:gd name="connsiteY110" fmla="*/ 2953889 h 3615460"/>
                <a:gd name="connsiteX111" fmla="*/ 2595716 w 2701062"/>
                <a:gd name="connsiteY111" fmla="*/ 2886468 h 3615460"/>
                <a:gd name="connsiteX112" fmla="*/ 2595716 w 2701062"/>
                <a:gd name="connsiteY112" fmla="*/ 2785336 h 3615460"/>
                <a:gd name="connsiteX113" fmla="*/ 2616785 w 2701062"/>
                <a:gd name="connsiteY113" fmla="*/ 2747412 h 3615460"/>
                <a:gd name="connsiteX114" fmla="*/ 2591502 w 2701062"/>
                <a:gd name="connsiteY114" fmla="*/ 2722129 h 3615460"/>
                <a:gd name="connsiteX115" fmla="*/ 2515653 w 2701062"/>
                <a:gd name="connsiteY115" fmla="*/ 2722129 h 3615460"/>
                <a:gd name="connsiteX116" fmla="*/ 2460874 w 2701062"/>
                <a:gd name="connsiteY116" fmla="*/ 2734770 h 3615460"/>
                <a:gd name="connsiteX117" fmla="*/ 2435591 w 2701062"/>
                <a:gd name="connsiteY117" fmla="*/ 2747412 h 3615460"/>
                <a:gd name="connsiteX118" fmla="*/ 2397666 w 2701062"/>
                <a:gd name="connsiteY118" fmla="*/ 2696846 h 3615460"/>
                <a:gd name="connsiteX119" fmla="*/ 2347100 w 2701062"/>
                <a:gd name="connsiteY119" fmla="*/ 2671563 h 3615460"/>
                <a:gd name="connsiteX120" fmla="*/ 2410308 w 2701062"/>
                <a:gd name="connsiteY120" fmla="*/ 2633639 h 3615460"/>
                <a:gd name="connsiteX121" fmla="*/ 2439804 w 2701062"/>
                <a:gd name="connsiteY121" fmla="*/ 2486155 h 3615460"/>
                <a:gd name="connsiteX122" fmla="*/ 2481943 w 2701062"/>
                <a:gd name="connsiteY122" fmla="*/ 2519865 h 3615460"/>
                <a:gd name="connsiteX123" fmla="*/ 2532509 w 2701062"/>
                <a:gd name="connsiteY123" fmla="*/ 2448230 h 3615460"/>
                <a:gd name="connsiteX124" fmla="*/ 2545150 w 2701062"/>
                <a:gd name="connsiteY124" fmla="*/ 2410306 h 3615460"/>
                <a:gd name="connsiteX125" fmla="*/ 2633640 w 2701062"/>
                <a:gd name="connsiteY125" fmla="*/ 2296533 h 3615460"/>
                <a:gd name="connsiteX126" fmla="*/ 2650496 w 2701062"/>
                <a:gd name="connsiteY126" fmla="*/ 2203829 h 3615460"/>
                <a:gd name="connsiteX127" fmla="*/ 2696848 w 2701062"/>
                <a:gd name="connsiteY127" fmla="*/ 2127980 h 3615460"/>
                <a:gd name="connsiteX128" fmla="*/ 2701062 w 2701062"/>
                <a:gd name="connsiteY128" fmla="*/ 1921502 h 3615460"/>
                <a:gd name="connsiteX129" fmla="*/ 2503012 w 2701062"/>
                <a:gd name="connsiteY129" fmla="*/ 1786660 h 3615460"/>
                <a:gd name="connsiteX130" fmla="*/ 2237541 w 2701062"/>
                <a:gd name="connsiteY130" fmla="*/ 1757163 h 3615460"/>
                <a:gd name="connsiteX131" fmla="*/ 2161692 w 2701062"/>
                <a:gd name="connsiteY131" fmla="*/ 1845653 h 3615460"/>
                <a:gd name="connsiteX132" fmla="*/ 2123768 w 2701062"/>
                <a:gd name="connsiteY132" fmla="*/ 1837226 h 3615460"/>
                <a:gd name="connsiteX133" fmla="*/ 2111126 w 2701062"/>
                <a:gd name="connsiteY133" fmla="*/ 1786660 h 3615460"/>
                <a:gd name="connsiteX134" fmla="*/ 2203830 w 2701062"/>
                <a:gd name="connsiteY134" fmla="*/ 1689742 h 3615460"/>
                <a:gd name="connsiteX135" fmla="*/ 2178547 w 2701062"/>
                <a:gd name="connsiteY135" fmla="*/ 1550686 h 3615460"/>
                <a:gd name="connsiteX136" fmla="*/ 2090057 w 2701062"/>
                <a:gd name="connsiteY136" fmla="*/ 1457982 h 3615460"/>
                <a:gd name="connsiteX137" fmla="*/ 2056346 w 2701062"/>
                <a:gd name="connsiteY137" fmla="*/ 1428485 h 3615460"/>
                <a:gd name="connsiteX138" fmla="*/ 2127981 w 2701062"/>
                <a:gd name="connsiteY138" fmla="*/ 1415843 h 3615460"/>
                <a:gd name="connsiteX139" fmla="*/ 2127981 w 2701062"/>
                <a:gd name="connsiteY139" fmla="*/ 1382133 h 3615460"/>
                <a:gd name="connsiteX140" fmla="*/ 2031063 w 2701062"/>
                <a:gd name="connsiteY140" fmla="*/ 1255718 h 3615460"/>
                <a:gd name="connsiteX141" fmla="*/ 2022636 w 2701062"/>
                <a:gd name="connsiteY141" fmla="*/ 1171441 h 3615460"/>
                <a:gd name="connsiteX142" fmla="*/ 2056346 w 2701062"/>
                <a:gd name="connsiteY142" fmla="*/ 1108234 h 3615460"/>
                <a:gd name="connsiteX143" fmla="*/ 2039491 w 2701062"/>
                <a:gd name="connsiteY143" fmla="*/ 1074523 h 3615460"/>
                <a:gd name="connsiteX144" fmla="*/ 1967856 w 2701062"/>
                <a:gd name="connsiteY144" fmla="*/ 1053454 h 3615460"/>
                <a:gd name="connsiteX145" fmla="*/ 1929932 w 2701062"/>
                <a:gd name="connsiteY145" fmla="*/ 994461 h 3615460"/>
                <a:gd name="connsiteX146" fmla="*/ 1934146 w 2701062"/>
                <a:gd name="connsiteY146" fmla="*/ 935467 h 3615460"/>
                <a:gd name="connsiteX147" fmla="*/ 1727668 w 2701062"/>
                <a:gd name="connsiteY147" fmla="*/ 817480 h 3615460"/>
                <a:gd name="connsiteX148" fmla="*/ 1664461 w 2701062"/>
                <a:gd name="connsiteY148" fmla="*/ 758487 h 3615460"/>
                <a:gd name="connsiteX149" fmla="*/ 1516977 w 2701062"/>
                <a:gd name="connsiteY149" fmla="*/ 219118 h 3615460"/>
                <a:gd name="connsiteX150" fmla="*/ 1436914 w 2701062"/>
                <a:gd name="connsiteY150" fmla="*/ 0 h 3615460"/>
                <a:gd name="connsiteX151" fmla="*/ 1382134 w 2701062"/>
                <a:gd name="connsiteY151" fmla="*/ 12640 h 3615460"/>
                <a:gd name="connsiteX0" fmla="*/ 1327354 w 2701062"/>
                <a:gd name="connsiteY0" fmla="*/ 75848 h 3615460"/>
                <a:gd name="connsiteX1" fmla="*/ 1264148 w 2701062"/>
                <a:gd name="connsiteY1" fmla="*/ 160124 h 3615460"/>
                <a:gd name="connsiteX2" fmla="*/ 1281002 w 2701062"/>
                <a:gd name="connsiteY2" fmla="*/ 299181 h 3615460"/>
                <a:gd name="connsiteX3" fmla="*/ 1141946 w 2701062"/>
                <a:gd name="connsiteY3" fmla="*/ 434023 h 3615460"/>
                <a:gd name="connsiteX4" fmla="*/ 876475 w 2701062"/>
                <a:gd name="connsiteY4" fmla="*/ 691065 h 3615460"/>
                <a:gd name="connsiteX5" fmla="*/ 804840 w 2701062"/>
                <a:gd name="connsiteY5" fmla="*/ 762700 h 3615460"/>
                <a:gd name="connsiteX6" fmla="*/ 813268 w 2701062"/>
                <a:gd name="connsiteY6" fmla="*/ 893329 h 3615460"/>
                <a:gd name="connsiteX7" fmla="*/ 897545 w 2701062"/>
                <a:gd name="connsiteY7" fmla="*/ 1061882 h 3615460"/>
                <a:gd name="connsiteX8" fmla="*/ 943897 w 2701062"/>
                <a:gd name="connsiteY8" fmla="*/ 1146158 h 3615460"/>
                <a:gd name="connsiteX9" fmla="*/ 964966 w 2701062"/>
                <a:gd name="connsiteY9" fmla="*/ 1175655 h 3615460"/>
                <a:gd name="connsiteX10" fmla="*/ 994463 w 2701062"/>
                <a:gd name="connsiteY10" fmla="*/ 1150372 h 3615460"/>
                <a:gd name="connsiteX11" fmla="*/ 1011318 w 2701062"/>
                <a:gd name="connsiteY11" fmla="*/ 1095593 h 3615460"/>
                <a:gd name="connsiteX12" fmla="*/ 1057670 w 2701062"/>
                <a:gd name="connsiteY12" fmla="*/ 1087165 h 3615460"/>
                <a:gd name="connsiteX13" fmla="*/ 1053456 w 2701062"/>
                <a:gd name="connsiteY13" fmla="*/ 1150372 h 3615460"/>
                <a:gd name="connsiteX14" fmla="*/ 1040815 w 2701062"/>
                <a:gd name="connsiteY14" fmla="*/ 1184083 h 3615460"/>
                <a:gd name="connsiteX15" fmla="*/ 1049242 w 2701062"/>
                <a:gd name="connsiteY15" fmla="*/ 1209366 h 3615460"/>
                <a:gd name="connsiteX16" fmla="*/ 986035 w 2701062"/>
                <a:gd name="connsiteY16" fmla="*/ 1226221 h 3615460"/>
                <a:gd name="connsiteX17" fmla="*/ 1011318 w 2701062"/>
                <a:gd name="connsiteY17" fmla="*/ 1361064 h 3615460"/>
                <a:gd name="connsiteX18" fmla="*/ 1049242 w 2701062"/>
                <a:gd name="connsiteY18" fmla="*/ 1356850 h 3615460"/>
                <a:gd name="connsiteX19" fmla="*/ 1040815 w 2701062"/>
                <a:gd name="connsiteY19" fmla="*/ 1420057 h 3615460"/>
                <a:gd name="connsiteX20" fmla="*/ 981821 w 2701062"/>
                <a:gd name="connsiteY20" fmla="*/ 1453768 h 3615460"/>
                <a:gd name="connsiteX21" fmla="*/ 931255 w 2701062"/>
                <a:gd name="connsiteY21" fmla="*/ 1453768 h 3615460"/>
                <a:gd name="connsiteX22" fmla="*/ 897545 w 2701062"/>
                <a:gd name="connsiteY22" fmla="*/ 1516975 h 3615460"/>
                <a:gd name="connsiteX23" fmla="*/ 901758 w 2701062"/>
                <a:gd name="connsiteY23" fmla="*/ 1546472 h 3615460"/>
                <a:gd name="connsiteX24" fmla="*/ 948110 w 2701062"/>
                <a:gd name="connsiteY24" fmla="*/ 1554899 h 3615460"/>
                <a:gd name="connsiteX25" fmla="*/ 931255 w 2701062"/>
                <a:gd name="connsiteY25" fmla="*/ 1592824 h 3615460"/>
                <a:gd name="connsiteX26" fmla="*/ 952324 w 2701062"/>
                <a:gd name="connsiteY26" fmla="*/ 1601252 h 3615460"/>
                <a:gd name="connsiteX27" fmla="*/ 1015532 w 2701062"/>
                <a:gd name="connsiteY27" fmla="*/ 1605465 h 3615460"/>
                <a:gd name="connsiteX28" fmla="*/ 1040815 w 2701062"/>
                <a:gd name="connsiteY28" fmla="*/ 1643390 h 3615460"/>
                <a:gd name="connsiteX29" fmla="*/ 1036601 w 2701062"/>
                <a:gd name="connsiteY29" fmla="*/ 1681314 h 3615460"/>
                <a:gd name="connsiteX30" fmla="*/ 1104022 w 2701062"/>
                <a:gd name="connsiteY30" fmla="*/ 1782446 h 3615460"/>
                <a:gd name="connsiteX31" fmla="*/ 1053456 w 2701062"/>
                <a:gd name="connsiteY31" fmla="*/ 1807729 h 3615460"/>
                <a:gd name="connsiteX32" fmla="*/ 998676 w 2701062"/>
                <a:gd name="connsiteY32" fmla="*/ 1803515 h 3615460"/>
                <a:gd name="connsiteX33" fmla="*/ 964966 w 2701062"/>
                <a:gd name="connsiteY33" fmla="*/ 1883578 h 3615460"/>
                <a:gd name="connsiteX34" fmla="*/ 1015532 w 2701062"/>
                <a:gd name="connsiteY34" fmla="*/ 1925716 h 3615460"/>
                <a:gd name="connsiteX35" fmla="*/ 994463 w 2701062"/>
                <a:gd name="connsiteY35" fmla="*/ 2022634 h 3615460"/>
                <a:gd name="connsiteX36" fmla="*/ 1019746 w 2701062"/>
                <a:gd name="connsiteY36" fmla="*/ 2056345 h 3615460"/>
                <a:gd name="connsiteX37" fmla="*/ 990249 w 2701062"/>
                <a:gd name="connsiteY37" fmla="*/ 2090055 h 3615460"/>
                <a:gd name="connsiteX38" fmla="*/ 948110 w 2701062"/>
                <a:gd name="connsiteY38" fmla="*/ 2090055 h 3615460"/>
                <a:gd name="connsiteX39" fmla="*/ 939683 w 2701062"/>
                <a:gd name="connsiteY39" fmla="*/ 2127980 h 3615460"/>
                <a:gd name="connsiteX40" fmla="*/ 994463 w 2701062"/>
                <a:gd name="connsiteY40" fmla="*/ 2174332 h 3615460"/>
                <a:gd name="connsiteX41" fmla="*/ 981821 w 2701062"/>
                <a:gd name="connsiteY41" fmla="*/ 2355526 h 3615460"/>
                <a:gd name="connsiteX42" fmla="*/ 1015532 w 2701062"/>
                <a:gd name="connsiteY42" fmla="*/ 2435589 h 3615460"/>
                <a:gd name="connsiteX43" fmla="*/ 1049242 w 2701062"/>
                <a:gd name="connsiteY43" fmla="*/ 2435589 h 3615460"/>
                <a:gd name="connsiteX44" fmla="*/ 1129305 w 2701062"/>
                <a:gd name="connsiteY44" fmla="*/ 2503010 h 3615460"/>
                <a:gd name="connsiteX45" fmla="*/ 1125091 w 2701062"/>
                <a:gd name="connsiteY45" fmla="*/ 2633639 h 3615460"/>
                <a:gd name="connsiteX46" fmla="*/ 1087167 w 2701062"/>
                <a:gd name="connsiteY46" fmla="*/ 2696846 h 3615460"/>
                <a:gd name="connsiteX47" fmla="*/ 1015532 w 2701062"/>
                <a:gd name="connsiteY47" fmla="*/ 2764267 h 3615460"/>
                <a:gd name="connsiteX48" fmla="*/ 1007104 w 2701062"/>
                <a:gd name="connsiteY48" fmla="*/ 2852758 h 3615460"/>
                <a:gd name="connsiteX49" fmla="*/ 922828 w 2701062"/>
                <a:gd name="connsiteY49" fmla="*/ 2865399 h 3615460"/>
                <a:gd name="connsiteX50" fmla="*/ 868048 w 2701062"/>
                <a:gd name="connsiteY50" fmla="*/ 2869613 h 3615460"/>
                <a:gd name="connsiteX51" fmla="*/ 830123 w 2701062"/>
                <a:gd name="connsiteY51" fmla="*/ 2831688 h 3615460"/>
                <a:gd name="connsiteX52" fmla="*/ 577294 w 2701062"/>
                <a:gd name="connsiteY52" fmla="*/ 2852758 h 3615460"/>
                <a:gd name="connsiteX53" fmla="*/ 568866 w 2701062"/>
                <a:gd name="connsiteY53" fmla="*/ 2958103 h 3615460"/>
                <a:gd name="connsiteX54" fmla="*/ 514087 w 2701062"/>
                <a:gd name="connsiteY54" fmla="*/ 2991814 h 3615460"/>
                <a:gd name="connsiteX55" fmla="*/ 484590 w 2701062"/>
                <a:gd name="connsiteY55" fmla="*/ 2958103 h 3615460"/>
                <a:gd name="connsiteX56" fmla="*/ 446665 w 2701062"/>
                <a:gd name="connsiteY56" fmla="*/ 2983386 h 3615460"/>
                <a:gd name="connsiteX57" fmla="*/ 434024 w 2701062"/>
                <a:gd name="connsiteY57" fmla="*/ 3101373 h 3615460"/>
                <a:gd name="connsiteX58" fmla="*/ 328678 w 2701062"/>
                <a:gd name="connsiteY58" fmla="*/ 3227788 h 3615460"/>
                <a:gd name="connsiteX59" fmla="*/ 273899 w 2701062"/>
                <a:gd name="connsiteY59" fmla="*/ 3240429 h 3615460"/>
                <a:gd name="connsiteX60" fmla="*/ 252829 w 2701062"/>
                <a:gd name="connsiteY60" fmla="*/ 3290995 h 3615460"/>
                <a:gd name="connsiteX61" fmla="*/ 202263 w 2701062"/>
                <a:gd name="connsiteY61" fmla="*/ 3371058 h 3615460"/>
                <a:gd name="connsiteX62" fmla="*/ 164339 w 2701062"/>
                <a:gd name="connsiteY62" fmla="*/ 3400555 h 3615460"/>
                <a:gd name="connsiteX63" fmla="*/ 75849 w 2701062"/>
                <a:gd name="connsiteY63" fmla="*/ 3430052 h 3615460"/>
                <a:gd name="connsiteX64" fmla="*/ 12641 w 2701062"/>
                <a:gd name="connsiteY64" fmla="*/ 3463762 h 3615460"/>
                <a:gd name="connsiteX65" fmla="*/ 0 w 2701062"/>
                <a:gd name="connsiteY65" fmla="*/ 3543825 h 3615460"/>
                <a:gd name="connsiteX66" fmla="*/ 63207 w 2701062"/>
                <a:gd name="connsiteY66" fmla="*/ 3539611 h 3615460"/>
                <a:gd name="connsiteX67" fmla="*/ 96918 w 2701062"/>
                <a:gd name="connsiteY67" fmla="*/ 3493259 h 3615460"/>
                <a:gd name="connsiteX68" fmla="*/ 155911 w 2701062"/>
                <a:gd name="connsiteY68" fmla="*/ 3535397 h 3615460"/>
                <a:gd name="connsiteX69" fmla="*/ 164339 w 2701062"/>
                <a:gd name="connsiteY69" fmla="*/ 3615460 h 3615460"/>
                <a:gd name="connsiteX70" fmla="*/ 265471 w 2701062"/>
                <a:gd name="connsiteY70" fmla="*/ 3564894 h 3615460"/>
                <a:gd name="connsiteX71" fmla="*/ 252829 w 2701062"/>
                <a:gd name="connsiteY71" fmla="*/ 3505900 h 3615460"/>
                <a:gd name="connsiteX72" fmla="*/ 307609 w 2701062"/>
                <a:gd name="connsiteY72" fmla="*/ 3463762 h 3615460"/>
                <a:gd name="connsiteX73" fmla="*/ 345534 w 2701062"/>
                <a:gd name="connsiteY73" fmla="*/ 3425838 h 3615460"/>
                <a:gd name="connsiteX74" fmla="*/ 375030 w 2701062"/>
                <a:gd name="connsiteY74" fmla="*/ 3383699 h 3615460"/>
                <a:gd name="connsiteX75" fmla="*/ 497231 w 2701062"/>
                <a:gd name="connsiteY75" fmla="*/ 3392127 h 3615460"/>
                <a:gd name="connsiteX76" fmla="*/ 497231 w 2701062"/>
                <a:gd name="connsiteY76" fmla="*/ 3392127 h 3615460"/>
                <a:gd name="connsiteX77" fmla="*/ 568866 w 2701062"/>
                <a:gd name="connsiteY77" fmla="*/ 3425838 h 3615460"/>
                <a:gd name="connsiteX78" fmla="*/ 589935 w 2701062"/>
                <a:gd name="connsiteY78" fmla="*/ 3404769 h 3615460"/>
                <a:gd name="connsiteX79" fmla="*/ 648929 w 2701062"/>
                <a:gd name="connsiteY79" fmla="*/ 3434265 h 3615460"/>
                <a:gd name="connsiteX80" fmla="*/ 674212 w 2701062"/>
                <a:gd name="connsiteY80" fmla="*/ 3430052 h 3615460"/>
                <a:gd name="connsiteX81" fmla="*/ 720564 w 2701062"/>
                <a:gd name="connsiteY81" fmla="*/ 3493259 h 3615460"/>
                <a:gd name="connsiteX82" fmla="*/ 754275 w 2701062"/>
                <a:gd name="connsiteY82" fmla="*/ 3484831 h 3615460"/>
                <a:gd name="connsiteX83" fmla="*/ 804840 w 2701062"/>
                <a:gd name="connsiteY83" fmla="*/ 3408982 h 3615460"/>
                <a:gd name="connsiteX84" fmla="*/ 842765 w 2701062"/>
                <a:gd name="connsiteY84" fmla="*/ 3375272 h 3615460"/>
                <a:gd name="connsiteX85" fmla="*/ 830123 w 2701062"/>
                <a:gd name="connsiteY85" fmla="*/ 3320492 h 3615460"/>
                <a:gd name="connsiteX86" fmla="*/ 859620 w 2701062"/>
                <a:gd name="connsiteY86" fmla="*/ 3265712 h 3615460"/>
                <a:gd name="connsiteX87" fmla="*/ 918614 w 2701062"/>
                <a:gd name="connsiteY87" fmla="*/ 3215147 h 3615460"/>
                <a:gd name="connsiteX88" fmla="*/ 1011318 w 2701062"/>
                <a:gd name="connsiteY88" fmla="*/ 3198291 h 3615460"/>
                <a:gd name="connsiteX89" fmla="*/ 1078739 w 2701062"/>
                <a:gd name="connsiteY89" fmla="*/ 3185650 h 3615460"/>
                <a:gd name="connsiteX90" fmla="*/ 1163016 w 2701062"/>
                <a:gd name="connsiteY90" fmla="*/ 3257285 h 3615460"/>
                <a:gd name="connsiteX91" fmla="*/ 1222009 w 2701062"/>
                <a:gd name="connsiteY91" fmla="*/ 3290995 h 3615460"/>
                <a:gd name="connsiteX92" fmla="*/ 1226223 w 2701062"/>
                <a:gd name="connsiteY92" fmla="*/ 3244643 h 3615460"/>
                <a:gd name="connsiteX93" fmla="*/ 1243078 w 2701062"/>
                <a:gd name="connsiteY93" fmla="*/ 3236216 h 3615460"/>
                <a:gd name="connsiteX94" fmla="*/ 1344210 w 2701062"/>
                <a:gd name="connsiteY94" fmla="*/ 3257285 h 3615460"/>
                <a:gd name="connsiteX95" fmla="*/ 1398990 w 2701062"/>
                <a:gd name="connsiteY95" fmla="*/ 3265712 h 3615460"/>
                <a:gd name="connsiteX96" fmla="*/ 1436914 w 2701062"/>
                <a:gd name="connsiteY96" fmla="*/ 3194077 h 3615460"/>
                <a:gd name="connsiteX97" fmla="*/ 1495908 w 2701062"/>
                <a:gd name="connsiteY97" fmla="*/ 3185650 h 3615460"/>
                <a:gd name="connsiteX98" fmla="*/ 1597040 w 2701062"/>
                <a:gd name="connsiteY98" fmla="*/ 3240429 h 3615460"/>
                <a:gd name="connsiteX99" fmla="*/ 1656033 w 2701062"/>
                <a:gd name="connsiteY99" fmla="*/ 3261499 h 3615460"/>
                <a:gd name="connsiteX100" fmla="*/ 1719240 w 2701062"/>
                <a:gd name="connsiteY100" fmla="*/ 3202505 h 3615460"/>
                <a:gd name="connsiteX101" fmla="*/ 1715027 w 2701062"/>
                <a:gd name="connsiteY101" fmla="*/ 3130870 h 3615460"/>
                <a:gd name="connsiteX102" fmla="*/ 1833014 w 2701062"/>
                <a:gd name="connsiteY102" fmla="*/ 3181436 h 3615460"/>
                <a:gd name="connsiteX103" fmla="*/ 1862510 w 2701062"/>
                <a:gd name="connsiteY103" fmla="*/ 3130870 h 3615460"/>
                <a:gd name="connsiteX104" fmla="*/ 2018422 w 2701062"/>
                <a:gd name="connsiteY104" fmla="*/ 3109801 h 3615460"/>
                <a:gd name="connsiteX105" fmla="*/ 2186975 w 2701062"/>
                <a:gd name="connsiteY105" fmla="*/ 3168794 h 3615460"/>
                <a:gd name="connsiteX106" fmla="*/ 2254396 w 2701062"/>
                <a:gd name="connsiteY106" fmla="*/ 3084518 h 3615460"/>
                <a:gd name="connsiteX107" fmla="*/ 2338673 w 2701062"/>
                <a:gd name="connsiteY107" fmla="*/ 3084518 h 3615460"/>
                <a:gd name="connsiteX108" fmla="*/ 2380811 w 2701062"/>
                <a:gd name="connsiteY108" fmla="*/ 3029738 h 3615460"/>
                <a:gd name="connsiteX109" fmla="*/ 2456660 w 2701062"/>
                <a:gd name="connsiteY109" fmla="*/ 3033952 h 3615460"/>
                <a:gd name="connsiteX110" fmla="*/ 2469301 w 2701062"/>
                <a:gd name="connsiteY110" fmla="*/ 2953889 h 3615460"/>
                <a:gd name="connsiteX111" fmla="*/ 2595716 w 2701062"/>
                <a:gd name="connsiteY111" fmla="*/ 2886468 h 3615460"/>
                <a:gd name="connsiteX112" fmla="*/ 2595716 w 2701062"/>
                <a:gd name="connsiteY112" fmla="*/ 2785336 h 3615460"/>
                <a:gd name="connsiteX113" fmla="*/ 2616785 w 2701062"/>
                <a:gd name="connsiteY113" fmla="*/ 2747412 h 3615460"/>
                <a:gd name="connsiteX114" fmla="*/ 2591502 w 2701062"/>
                <a:gd name="connsiteY114" fmla="*/ 2722129 h 3615460"/>
                <a:gd name="connsiteX115" fmla="*/ 2515653 w 2701062"/>
                <a:gd name="connsiteY115" fmla="*/ 2722129 h 3615460"/>
                <a:gd name="connsiteX116" fmla="*/ 2460874 w 2701062"/>
                <a:gd name="connsiteY116" fmla="*/ 2734770 h 3615460"/>
                <a:gd name="connsiteX117" fmla="*/ 2435591 w 2701062"/>
                <a:gd name="connsiteY117" fmla="*/ 2747412 h 3615460"/>
                <a:gd name="connsiteX118" fmla="*/ 2397666 w 2701062"/>
                <a:gd name="connsiteY118" fmla="*/ 2696846 h 3615460"/>
                <a:gd name="connsiteX119" fmla="*/ 2347100 w 2701062"/>
                <a:gd name="connsiteY119" fmla="*/ 2671563 h 3615460"/>
                <a:gd name="connsiteX120" fmla="*/ 2410308 w 2701062"/>
                <a:gd name="connsiteY120" fmla="*/ 2633639 h 3615460"/>
                <a:gd name="connsiteX121" fmla="*/ 2439804 w 2701062"/>
                <a:gd name="connsiteY121" fmla="*/ 2486155 h 3615460"/>
                <a:gd name="connsiteX122" fmla="*/ 2481943 w 2701062"/>
                <a:gd name="connsiteY122" fmla="*/ 2519865 h 3615460"/>
                <a:gd name="connsiteX123" fmla="*/ 2532509 w 2701062"/>
                <a:gd name="connsiteY123" fmla="*/ 2448230 h 3615460"/>
                <a:gd name="connsiteX124" fmla="*/ 2545150 w 2701062"/>
                <a:gd name="connsiteY124" fmla="*/ 2410306 h 3615460"/>
                <a:gd name="connsiteX125" fmla="*/ 2633640 w 2701062"/>
                <a:gd name="connsiteY125" fmla="*/ 2296533 h 3615460"/>
                <a:gd name="connsiteX126" fmla="*/ 2650496 w 2701062"/>
                <a:gd name="connsiteY126" fmla="*/ 2203829 h 3615460"/>
                <a:gd name="connsiteX127" fmla="*/ 2696848 w 2701062"/>
                <a:gd name="connsiteY127" fmla="*/ 2127980 h 3615460"/>
                <a:gd name="connsiteX128" fmla="*/ 2701062 w 2701062"/>
                <a:gd name="connsiteY128" fmla="*/ 1921502 h 3615460"/>
                <a:gd name="connsiteX129" fmla="*/ 2503012 w 2701062"/>
                <a:gd name="connsiteY129" fmla="*/ 1786660 h 3615460"/>
                <a:gd name="connsiteX130" fmla="*/ 2237541 w 2701062"/>
                <a:gd name="connsiteY130" fmla="*/ 1757163 h 3615460"/>
                <a:gd name="connsiteX131" fmla="*/ 2161692 w 2701062"/>
                <a:gd name="connsiteY131" fmla="*/ 1845653 h 3615460"/>
                <a:gd name="connsiteX132" fmla="*/ 2123768 w 2701062"/>
                <a:gd name="connsiteY132" fmla="*/ 1837226 h 3615460"/>
                <a:gd name="connsiteX133" fmla="*/ 2111126 w 2701062"/>
                <a:gd name="connsiteY133" fmla="*/ 1786660 h 3615460"/>
                <a:gd name="connsiteX134" fmla="*/ 2203830 w 2701062"/>
                <a:gd name="connsiteY134" fmla="*/ 1689742 h 3615460"/>
                <a:gd name="connsiteX135" fmla="*/ 2178547 w 2701062"/>
                <a:gd name="connsiteY135" fmla="*/ 1550686 h 3615460"/>
                <a:gd name="connsiteX136" fmla="*/ 2090057 w 2701062"/>
                <a:gd name="connsiteY136" fmla="*/ 1457982 h 3615460"/>
                <a:gd name="connsiteX137" fmla="*/ 2056346 w 2701062"/>
                <a:gd name="connsiteY137" fmla="*/ 1428485 h 3615460"/>
                <a:gd name="connsiteX138" fmla="*/ 2127981 w 2701062"/>
                <a:gd name="connsiteY138" fmla="*/ 1415843 h 3615460"/>
                <a:gd name="connsiteX139" fmla="*/ 2127981 w 2701062"/>
                <a:gd name="connsiteY139" fmla="*/ 1382133 h 3615460"/>
                <a:gd name="connsiteX140" fmla="*/ 2031063 w 2701062"/>
                <a:gd name="connsiteY140" fmla="*/ 1255718 h 3615460"/>
                <a:gd name="connsiteX141" fmla="*/ 2022636 w 2701062"/>
                <a:gd name="connsiteY141" fmla="*/ 1171441 h 3615460"/>
                <a:gd name="connsiteX142" fmla="*/ 2056346 w 2701062"/>
                <a:gd name="connsiteY142" fmla="*/ 1108234 h 3615460"/>
                <a:gd name="connsiteX143" fmla="*/ 2039491 w 2701062"/>
                <a:gd name="connsiteY143" fmla="*/ 1074523 h 3615460"/>
                <a:gd name="connsiteX144" fmla="*/ 1967856 w 2701062"/>
                <a:gd name="connsiteY144" fmla="*/ 1053454 h 3615460"/>
                <a:gd name="connsiteX145" fmla="*/ 1929932 w 2701062"/>
                <a:gd name="connsiteY145" fmla="*/ 994461 h 3615460"/>
                <a:gd name="connsiteX146" fmla="*/ 1934146 w 2701062"/>
                <a:gd name="connsiteY146" fmla="*/ 935467 h 3615460"/>
                <a:gd name="connsiteX147" fmla="*/ 1727668 w 2701062"/>
                <a:gd name="connsiteY147" fmla="*/ 817480 h 3615460"/>
                <a:gd name="connsiteX148" fmla="*/ 1664461 w 2701062"/>
                <a:gd name="connsiteY148" fmla="*/ 758487 h 3615460"/>
                <a:gd name="connsiteX149" fmla="*/ 1516977 w 2701062"/>
                <a:gd name="connsiteY149" fmla="*/ 219118 h 3615460"/>
                <a:gd name="connsiteX150" fmla="*/ 1436914 w 2701062"/>
                <a:gd name="connsiteY150" fmla="*/ 0 h 3615460"/>
                <a:gd name="connsiteX151" fmla="*/ 1327354 w 2701062"/>
                <a:gd name="connsiteY151" fmla="*/ 75848 h 3615460"/>
                <a:gd name="connsiteX0" fmla="*/ 1327354 w 2701062"/>
                <a:gd name="connsiteY0" fmla="*/ 0 h 3539612"/>
                <a:gd name="connsiteX1" fmla="*/ 1264148 w 2701062"/>
                <a:gd name="connsiteY1" fmla="*/ 84276 h 3539612"/>
                <a:gd name="connsiteX2" fmla="*/ 1281002 w 2701062"/>
                <a:gd name="connsiteY2" fmla="*/ 223333 h 3539612"/>
                <a:gd name="connsiteX3" fmla="*/ 1141946 w 2701062"/>
                <a:gd name="connsiteY3" fmla="*/ 358175 h 3539612"/>
                <a:gd name="connsiteX4" fmla="*/ 876475 w 2701062"/>
                <a:gd name="connsiteY4" fmla="*/ 615217 h 3539612"/>
                <a:gd name="connsiteX5" fmla="*/ 804840 w 2701062"/>
                <a:gd name="connsiteY5" fmla="*/ 686852 h 3539612"/>
                <a:gd name="connsiteX6" fmla="*/ 813268 w 2701062"/>
                <a:gd name="connsiteY6" fmla="*/ 817481 h 3539612"/>
                <a:gd name="connsiteX7" fmla="*/ 897545 w 2701062"/>
                <a:gd name="connsiteY7" fmla="*/ 986034 h 3539612"/>
                <a:gd name="connsiteX8" fmla="*/ 943897 w 2701062"/>
                <a:gd name="connsiteY8" fmla="*/ 1070310 h 3539612"/>
                <a:gd name="connsiteX9" fmla="*/ 964966 w 2701062"/>
                <a:gd name="connsiteY9" fmla="*/ 1099807 h 3539612"/>
                <a:gd name="connsiteX10" fmla="*/ 994463 w 2701062"/>
                <a:gd name="connsiteY10" fmla="*/ 1074524 h 3539612"/>
                <a:gd name="connsiteX11" fmla="*/ 1011318 w 2701062"/>
                <a:gd name="connsiteY11" fmla="*/ 1019745 h 3539612"/>
                <a:gd name="connsiteX12" fmla="*/ 1057670 w 2701062"/>
                <a:gd name="connsiteY12" fmla="*/ 1011317 h 3539612"/>
                <a:gd name="connsiteX13" fmla="*/ 1053456 w 2701062"/>
                <a:gd name="connsiteY13" fmla="*/ 1074524 h 3539612"/>
                <a:gd name="connsiteX14" fmla="*/ 1040815 w 2701062"/>
                <a:gd name="connsiteY14" fmla="*/ 1108235 h 3539612"/>
                <a:gd name="connsiteX15" fmla="*/ 1049242 w 2701062"/>
                <a:gd name="connsiteY15" fmla="*/ 1133518 h 3539612"/>
                <a:gd name="connsiteX16" fmla="*/ 986035 w 2701062"/>
                <a:gd name="connsiteY16" fmla="*/ 1150373 h 3539612"/>
                <a:gd name="connsiteX17" fmla="*/ 1011318 w 2701062"/>
                <a:gd name="connsiteY17" fmla="*/ 1285216 h 3539612"/>
                <a:gd name="connsiteX18" fmla="*/ 1049242 w 2701062"/>
                <a:gd name="connsiteY18" fmla="*/ 1281002 h 3539612"/>
                <a:gd name="connsiteX19" fmla="*/ 1040815 w 2701062"/>
                <a:gd name="connsiteY19" fmla="*/ 1344209 h 3539612"/>
                <a:gd name="connsiteX20" fmla="*/ 981821 w 2701062"/>
                <a:gd name="connsiteY20" fmla="*/ 1377920 h 3539612"/>
                <a:gd name="connsiteX21" fmla="*/ 931255 w 2701062"/>
                <a:gd name="connsiteY21" fmla="*/ 1377920 h 3539612"/>
                <a:gd name="connsiteX22" fmla="*/ 897545 w 2701062"/>
                <a:gd name="connsiteY22" fmla="*/ 1441127 h 3539612"/>
                <a:gd name="connsiteX23" fmla="*/ 901758 w 2701062"/>
                <a:gd name="connsiteY23" fmla="*/ 1470624 h 3539612"/>
                <a:gd name="connsiteX24" fmla="*/ 948110 w 2701062"/>
                <a:gd name="connsiteY24" fmla="*/ 1479051 h 3539612"/>
                <a:gd name="connsiteX25" fmla="*/ 931255 w 2701062"/>
                <a:gd name="connsiteY25" fmla="*/ 1516976 h 3539612"/>
                <a:gd name="connsiteX26" fmla="*/ 952324 w 2701062"/>
                <a:gd name="connsiteY26" fmla="*/ 1525404 h 3539612"/>
                <a:gd name="connsiteX27" fmla="*/ 1015532 w 2701062"/>
                <a:gd name="connsiteY27" fmla="*/ 1529617 h 3539612"/>
                <a:gd name="connsiteX28" fmla="*/ 1040815 w 2701062"/>
                <a:gd name="connsiteY28" fmla="*/ 1567542 h 3539612"/>
                <a:gd name="connsiteX29" fmla="*/ 1036601 w 2701062"/>
                <a:gd name="connsiteY29" fmla="*/ 1605466 h 3539612"/>
                <a:gd name="connsiteX30" fmla="*/ 1104022 w 2701062"/>
                <a:gd name="connsiteY30" fmla="*/ 1706598 h 3539612"/>
                <a:gd name="connsiteX31" fmla="*/ 1053456 w 2701062"/>
                <a:gd name="connsiteY31" fmla="*/ 1731881 h 3539612"/>
                <a:gd name="connsiteX32" fmla="*/ 998676 w 2701062"/>
                <a:gd name="connsiteY32" fmla="*/ 1727667 h 3539612"/>
                <a:gd name="connsiteX33" fmla="*/ 964966 w 2701062"/>
                <a:gd name="connsiteY33" fmla="*/ 1807730 h 3539612"/>
                <a:gd name="connsiteX34" fmla="*/ 1015532 w 2701062"/>
                <a:gd name="connsiteY34" fmla="*/ 1849868 h 3539612"/>
                <a:gd name="connsiteX35" fmla="*/ 994463 w 2701062"/>
                <a:gd name="connsiteY35" fmla="*/ 1946786 h 3539612"/>
                <a:gd name="connsiteX36" fmla="*/ 1019746 w 2701062"/>
                <a:gd name="connsiteY36" fmla="*/ 1980497 h 3539612"/>
                <a:gd name="connsiteX37" fmla="*/ 990249 w 2701062"/>
                <a:gd name="connsiteY37" fmla="*/ 2014207 h 3539612"/>
                <a:gd name="connsiteX38" fmla="*/ 948110 w 2701062"/>
                <a:gd name="connsiteY38" fmla="*/ 2014207 h 3539612"/>
                <a:gd name="connsiteX39" fmla="*/ 939683 w 2701062"/>
                <a:gd name="connsiteY39" fmla="*/ 2052132 h 3539612"/>
                <a:gd name="connsiteX40" fmla="*/ 994463 w 2701062"/>
                <a:gd name="connsiteY40" fmla="*/ 2098484 h 3539612"/>
                <a:gd name="connsiteX41" fmla="*/ 981821 w 2701062"/>
                <a:gd name="connsiteY41" fmla="*/ 2279678 h 3539612"/>
                <a:gd name="connsiteX42" fmla="*/ 1015532 w 2701062"/>
                <a:gd name="connsiteY42" fmla="*/ 2359741 h 3539612"/>
                <a:gd name="connsiteX43" fmla="*/ 1049242 w 2701062"/>
                <a:gd name="connsiteY43" fmla="*/ 2359741 h 3539612"/>
                <a:gd name="connsiteX44" fmla="*/ 1129305 w 2701062"/>
                <a:gd name="connsiteY44" fmla="*/ 2427162 h 3539612"/>
                <a:gd name="connsiteX45" fmla="*/ 1125091 w 2701062"/>
                <a:gd name="connsiteY45" fmla="*/ 2557791 h 3539612"/>
                <a:gd name="connsiteX46" fmla="*/ 1087167 w 2701062"/>
                <a:gd name="connsiteY46" fmla="*/ 2620998 h 3539612"/>
                <a:gd name="connsiteX47" fmla="*/ 1015532 w 2701062"/>
                <a:gd name="connsiteY47" fmla="*/ 2688419 h 3539612"/>
                <a:gd name="connsiteX48" fmla="*/ 1007104 w 2701062"/>
                <a:gd name="connsiteY48" fmla="*/ 2776910 h 3539612"/>
                <a:gd name="connsiteX49" fmla="*/ 922828 w 2701062"/>
                <a:gd name="connsiteY49" fmla="*/ 2789551 h 3539612"/>
                <a:gd name="connsiteX50" fmla="*/ 868048 w 2701062"/>
                <a:gd name="connsiteY50" fmla="*/ 2793765 h 3539612"/>
                <a:gd name="connsiteX51" fmla="*/ 830123 w 2701062"/>
                <a:gd name="connsiteY51" fmla="*/ 2755840 h 3539612"/>
                <a:gd name="connsiteX52" fmla="*/ 577294 w 2701062"/>
                <a:gd name="connsiteY52" fmla="*/ 2776910 h 3539612"/>
                <a:gd name="connsiteX53" fmla="*/ 568866 w 2701062"/>
                <a:gd name="connsiteY53" fmla="*/ 2882255 h 3539612"/>
                <a:gd name="connsiteX54" fmla="*/ 514087 w 2701062"/>
                <a:gd name="connsiteY54" fmla="*/ 2915966 h 3539612"/>
                <a:gd name="connsiteX55" fmla="*/ 484590 w 2701062"/>
                <a:gd name="connsiteY55" fmla="*/ 2882255 h 3539612"/>
                <a:gd name="connsiteX56" fmla="*/ 446665 w 2701062"/>
                <a:gd name="connsiteY56" fmla="*/ 2907538 h 3539612"/>
                <a:gd name="connsiteX57" fmla="*/ 434024 w 2701062"/>
                <a:gd name="connsiteY57" fmla="*/ 3025525 h 3539612"/>
                <a:gd name="connsiteX58" fmla="*/ 328678 w 2701062"/>
                <a:gd name="connsiteY58" fmla="*/ 3151940 h 3539612"/>
                <a:gd name="connsiteX59" fmla="*/ 273899 w 2701062"/>
                <a:gd name="connsiteY59" fmla="*/ 3164581 h 3539612"/>
                <a:gd name="connsiteX60" fmla="*/ 252829 w 2701062"/>
                <a:gd name="connsiteY60" fmla="*/ 3215147 h 3539612"/>
                <a:gd name="connsiteX61" fmla="*/ 202263 w 2701062"/>
                <a:gd name="connsiteY61" fmla="*/ 3295210 h 3539612"/>
                <a:gd name="connsiteX62" fmla="*/ 164339 w 2701062"/>
                <a:gd name="connsiteY62" fmla="*/ 3324707 h 3539612"/>
                <a:gd name="connsiteX63" fmla="*/ 75849 w 2701062"/>
                <a:gd name="connsiteY63" fmla="*/ 3354204 h 3539612"/>
                <a:gd name="connsiteX64" fmla="*/ 12641 w 2701062"/>
                <a:gd name="connsiteY64" fmla="*/ 3387914 h 3539612"/>
                <a:gd name="connsiteX65" fmla="*/ 0 w 2701062"/>
                <a:gd name="connsiteY65" fmla="*/ 3467977 h 3539612"/>
                <a:gd name="connsiteX66" fmla="*/ 63207 w 2701062"/>
                <a:gd name="connsiteY66" fmla="*/ 3463763 h 3539612"/>
                <a:gd name="connsiteX67" fmla="*/ 96918 w 2701062"/>
                <a:gd name="connsiteY67" fmla="*/ 3417411 h 3539612"/>
                <a:gd name="connsiteX68" fmla="*/ 155911 w 2701062"/>
                <a:gd name="connsiteY68" fmla="*/ 3459549 h 3539612"/>
                <a:gd name="connsiteX69" fmla="*/ 164339 w 2701062"/>
                <a:gd name="connsiteY69" fmla="*/ 3539612 h 3539612"/>
                <a:gd name="connsiteX70" fmla="*/ 265471 w 2701062"/>
                <a:gd name="connsiteY70" fmla="*/ 3489046 h 3539612"/>
                <a:gd name="connsiteX71" fmla="*/ 252829 w 2701062"/>
                <a:gd name="connsiteY71" fmla="*/ 3430052 h 3539612"/>
                <a:gd name="connsiteX72" fmla="*/ 307609 w 2701062"/>
                <a:gd name="connsiteY72" fmla="*/ 3387914 h 3539612"/>
                <a:gd name="connsiteX73" fmla="*/ 345534 w 2701062"/>
                <a:gd name="connsiteY73" fmla="*/ 3349990 h 3539612"/>
                <a:gd name="connsiteX74" fmla="*/ 375030 w 2701062"/>
                <a:gd name="connsiteY74" fmla="*/ 3307851 h 3539612"/>
                <a:gd name="connsiteX75" fmla="*/ 497231 w 2701062"/>
                <a:gd name="connsiteY75" fmla="*/ 3316279 h 3539612"/>
                <a:gd name="connsiteX76" fmla="*/ 497231 w 2701062"/>
                <a:gd name="connsiteY76" fmla="*/ 3316279 h 3539612"/>
                <a:gd name="connsiteX77" fmla="*/ 568866 w 2701062"/>
                <a:gd name="connsiteY77" fmla="*/ 3349990 h 3539612"/>
                <a:gd name="connsiteX78" fmla="*/ 589935 w 2701062"/>
                <a:gd name="connsiteY78" fmla="*/ 3328921 h 3539612"/>
                <a:gd name="connsiteX79" fmla="*/ 648929 w 2701062"/>
                <a:gd name="connsiteY79" fmla="*/ 3358417 h 3539612"/>
                <a:gd name="connsiteX80" fmla="*/ 674212 w 2701062"/>
                <a:gd name="connsiteY80" fmla="*/ 3354204 h 3539612"/>
                <a:gd name="connsiteX81" fmla="*/ 720564 w 2701062"/>
                <a:gd name="connsiteY81" fmla="*/ 3417411 h 3539612"/>
                <a:gd name="connsiteX82" fmla="*/ 754275 w 2701062"/>
                <a:gd name="connsiteY82" fmla="*/ 3408983 h 3539612"/>
                <a:gd name="connsiteX83" fmla="*/ 804840 w 2701062"/>
                <a:gd name="connsiteY83" fmla="*/ 3333134 h 3539612"/>
                <a:gd name="connsiteX84" fmla="*/ 842765 w 2701062"/>
                <a:gd name="connsiteY84" fmla="*/ 3299424 h 3539612"/>
                <a:gd name="connsiteX85" fmla="*/ 830123 w 2701062"/>
                <a:gd name="connsiteY85" fmla="*/ 3244644 h 3539612"/>
                <a:gd name="connsiteX86" fmla="*/ 859620 w 2701062"/>
                <a:gd name="connsiteY86" fmla="*/ 3189864 h 3539612"/>
                <a:gd name="connsiteX87" fmla="*/ 918614 w 2701062"/>
                <a:gd name="connsiteY87" fmla="*/ 3139299 h 3539612"/>
                <a:gd name="connsiteX88" fmla="*/ 1011318 w 2701062"/>
                <a:gd name="connsiteY88" fmla="*/ 3122443 h 3539612"/>
                <a:gd name="connsiteX89" fmla="*/ 1078739 w 2701062"/>
                <a:gd name="connsiteY89" fmla="*/ 3109802 h 3539612"/>
                <a:gd name="connsiteX90" fmla="*/ 1163016 w 2701062"/>
                <a:gd name="connsiteY90" fmla="*/ 3181437 h 3539612"/>
                <a:gd name="connsiteX91" fmla="*/ 1222009 w 2701062"/>
                <a:gd name="connsiteY91" fmla="*/ 3215147 h 3539612"/>
                <a:gd name="connsiteX92" fmla="*/ 1226223 w 2701062"/>
                <a:gd name="connsiteY92" fmla="*/ 3168795 h 3539612"/>
                <a:gd name="connsiteX93" fmla="*/ 1243078 w 2701062"/>
                <a:gd name="connsiteY93" fmla="*/ 3160368 h 3539612"/>
                <a:gd name="connsiteX94" fmla="*/ 1344210 w 2701062"/>
                <a:gd name="connsiteY94" fmla="*/ 3181437 h 3539612"/>
                <a:gd name="connsiteX95" fmla="*/ 1398990 w 2701062"/>
                <a:gd name="connsiteY95" fmla="*/ 3189864 h 3539612"/>
                <a:gd name="connsiteX96" fmla="*/ 1436914 w 2701062"/>
                <a:gd name="connsiteY96" fmla="*/ 3118229 h 3539612"/>
                <a:gd name="connsiteX97" fmla="*/ 1495908 w 2701062"/>
                <a:gd name="connsiteY97" fmla="*/ 3109802 h 3539612"/>
                <a:gd name="connsiteX98" fmla="*/ 1597040 w 2701062"/>
                <a:gd name="connsiteY98" fmla="*/ 3164581 h 3539612"/>
                <a:gd name="connsiteX99" fmla="*/ 1656033 w 2701062"/>
                <a:gd name="connsiteY99" fmla="*/ 3185651 h 3539612"/>
                <a:gd name="connsiteX100" fmla="*/ 1719240 w 2701062"/>
                <a:gd name="connsiteY100" fmla="*/ 3126657 h 3539612"/>
                <a:gd name="connsiteX101" fmla="*/ 1715027 w 2701062"/>
                <a:gd name="connsiteY101" fmla="*/ 3055022 h 3539612"/>
                <a:gd name="connsiteX102" fmla="*/ 1833014 w 2701062"/>
                <a:gd name="connsiteY102" fmla="*/ 3105588 h 3539612"/>
                <a:gd name="connsiteX103" fmla="*/ 1862510 w 2701062"/>
                <a:gd name="connsiteY103" fmla="*/ 3055022 h 3539612"/>
                <a:gd name="connsiteX104" fmla="*/ 2018422 w 2701062"/>
                <a:gd name="connsiteY104" fmla="*/ 3033953 h 3539612"/>
                <a:gd name="connsiteX105" fmla="*/ 2186975 w 2701062"/>
                <a:gd name="connsiteY105" fmla="*/ 3092946 h 3539612"/>
                <a:gd name="connsiteX106" fmla="*/ 2254396 w 2701062"/>
                <a:gd name="connsiteY106" fmla="*/ 3008670 h 3539612"/>
                <a:gd name="connsiteX107" fmla="*/ 2338673 w 2701062"/>
                <a:gd name="connsiteY107" fmla="*/ 3008670 h 3539612"/>
                <a:gd name="connsiteX108" fmla="*/ 2380811 w 2701062"/>
                <a:gd name="connsiteY108" fmla="*/ 2953890 h 3539612"/>
                <a:gd name="connsiteX109" fmla="*/ 2456660 w 2701062"/>
                <a:gd name="connsiteY109" fmla="*/ 2958104 h 3539612"/>
                <a:gd name="connsiteX110" fmla="*/ 2469301 w 2701062"/>
                <a:gd name="connsiteY110" fmla="*/ 2878041 h 3539612"/>
                <a:gd name="connsiteX111" fmla="*/ 2595716 w 2701062"/>
                <a:gd name="connsiteY111" fmla="*/ 2810620 h 3539612"/>
                <a:gd name="connsiteX112" fmla="*/ 2595716 w 2701062"/>
                <a:gd name="connsiteY112" fmla="*/ 2709488 h 3539612"/>
                <a:gd name="connsiteX113" fmla="*/ 2616785 w 2701062"/>
                <a:gd name="connsiteY113" fmla="*/ 2671564 h 3539612"/>
                <a:gd name="connsiteX114" fmla="*/ 2591502 w 2701062"/>
                <a:gd name="connsiteY114" fmla="*/ 2646281 h 3539612"/>
                <a:gd name="connsiteX115" fmla="*/ 2515653 w 2701062"/>
                <a:gd name="connsiteY115" fmla="*/ 2646281 h 3539612"/>
                <a:gd name="connsiteX116" fmla="*/ 2460874 w 2701062"/>
                <a:gd name="connsiteY116" fmla="*/ 2658922 h 3539612"/>
                <a:gd name="connsiteX117" fmla="*/ 2435591 w 2701062"/>
                <a:gd name="connsiteY117" fmla="*/ 2671564 h 3539612"/>
                <a:gd name="connsiteX118" fmla="*/ 2397666 w 2701062"/>
                <a:gd name="connsiteY118" fmla="*/ 2620998 h 3539612"/>
                <a:gd name="connsiteX119" fmla="*/ 2347100 w 2701062"/>
                <a:gd name="connsiteY119" fmla="*/ 2595715 h 3539612"/>
                <a:gd name="connsiteX120" fmla="*/ 2410308 w 2701062"/>
                <a:gd name="connsiteY120" fmla="*/ 2557791 h 3539612"/>
                <a:gd name="connsiteX121" fmla="*/ 2439804 w 2701062"/>
                <a:gd name="connsiteY121" fmla="*/ 2410307 h 3539612"/>
                <a:gd name="connsiteX122" fmla="*/ 2481943 w 2701062"/>
                <a:gd name="connsiteY122" fmla="*/ 2444017 h 3539612"/>
                <a:gd name="connsiteX123" fmla="*/ 2532509 w 2701062"/>
                <a:gd name="connsiteY123" fmla="*/ 2372382 h 3539612"/>
                <a:gd name="connsiteX124" fmla="*/ 2545150 w 2701062"/>
                <a:gd name="connsiteY124" fmla="*/ 2334458 h 3539612"/>
                <a:gd name="connsiteX125" fmla="*/ 2633640 w 2701062"/>
                <a:gd name="connsiteY125" fmla="*/ 2220685 h 3539612"/>
                <a:gd name="connsiteX126" fmla="*/ 2650496 w 2701062"/>
                <a:gd name="connsiteY126" fmla="*/ 2127981 h 3539612"/>
                <a:gd name="connsiteX127" fmla="*/ 2696848 w 2701062"/>
                <a:gd name="connsiteY127" fmla="*/ 2052132 h 3539612"/>
                <a:gd name="connsiteX128" fmla="*/ 2701062 w 2701062"/>
                <a:gd name="connsiteY128" fmla="*/ 1845654 h 3539612"/>
                <a:gd name="connsiteX129" fmla="*/ 2503012 w 2701062"/>
                <a:gd name="connsiteY129" fmla="*/ 1710812 h 3539612"/>
                <a:gd name="connsiteX130" fmla="*/ 2237541 w 2701062"/>
                <a:gd name="connsiteY130" fmla="*/ 1681315 h 3539612"/>
                <a:gd name="connsiteX131" fmla="*/ 2161692 w 2701062"/>
                <a:gd name="connsiteY131" fmla="*/ 1769805 h 3539612"/>
                <a:gd name="connsiteX132" fmla="*/ 2123768 w 2701062"/>
                <a:gd name="connsiteY132" fmla="*/ 1761378 h 3539612"/>
                <a:gd name="connsiteX133" fmla="*/ 2111126 w 2701062"/>
                <a:gd name="connsiteY133" fmla="*/ 1710812 h 3539612"/>
                <a:gd name="connsiteX134" fmla="*/ 2203830 w 2701062"/>
                <a:gd name="connsiteY134" fmla="*/ 1613894 h 3539612"/>
                <a:gd name="connsiteX135" fmla="*/ 2178547 w 2701062"/>
                <a:gd name="connsiteY135" fmla="*/ 1474838 h 3539612"/>
                <a:gd name="connsiteX136" fmla="*/ 2090057 w 2701062"/>
                <a:gd name="connsiteY136" fmla="*/ 1382134 h 3539612"/>
                <a:gd name="connsiteX137" fmla="*/ 2056346 w 2701062"/>
                <a:gd name="connsiteY137" fmla="*/ 1352637 h 3539612"/>
                <a:gd name="connsiteX138" fmla="*/ 2127981 w 2701062"/>
                <a:gd name="connsiteY138" fmla="*/ 1339995 h 3539612"/>
                <a:gd name="connsiteX139" fmla="*/ 2127981 w 2701062"/>
                <a:gd name="connsiteY139" fmla="*/ 1306285 h 3539612"/>
                <a:gd name="connsiteX140" fmla="*/ 2031063 w 2701062"/>
                <a:gd name="connsiteY140" fmla="*/ 1179870 h 3539612"/>
                <a:gd name="connsiteX141" fmla="*/ 2022636 w 2701062"/>
                <a:gd name="connsiteY141" fmla="*/ 1095593 h 3539612"/>
                <a:gd name="connsiteX142" fmla="*/ 2056346 w 2701062"/>
                <a:gd name="connsiteY142" fmla="*/ 1032386 h 3539612"/>
                <a:gd name="connsiteX143" fmla="*/ 2039491 w 2701062"/>
                <a:gd name="connsiteY143" fmla="*/ 998675 h 3539612"/>
                <a:gd name="connsiteX144" fmla="*/ 1967856 w 2701062"/>
                <a:gd name="connsiteY144" fmla="*/ 977606 h 3539612"/>
                <a:gd name="connsiteX145" fmla="*/ 1929932 w 2701062"/>
                <a:gd name="connsiteY145" fmla="*/ 918613 h 3539612"/>
                <a:gd name="connsiteX146" fmla="*/ 1934146 w 2701062"/>
                <a:gd name="connsiteY146" fmla="*/ 859619 h 3539612"/>
                <a:gd name="connsiteX147" fmla="*/ 1727668 w 2701062"/>
                <a:gd name="connsiteY147" fmla="*/ 741632 h 3539612"/>
                <a:gd name="connsiteX148" fmla="*/ 1664461 w 2701062"/>
                <a:gd name="connsiteY148" fmla="*/ 682639 h 3539612"/>
                <a:gd name="connsiteX149" fmla="*/ 1516977 w 2701062"/>
                <a:gd name="connsiteY149" fmla="*/ 143270 h 3539612"/>
                <a:gd name="connsiteX150" fmla="*/ 1407417 w 2701062"/>
                <a:gd name="connsiteY150" fmla="*/ 25284 h 3539612"/>
                <a:gd name="connsiteX151" fmla="*/ 1327354 w 2701062"/>
                <a:gd name="connsiteY151" fmla="*/ 0 h 3539612"/>
                <a:gd name="connsiteX0" fmla="*/ 1327354 w 2701062"/>
                <a:gd name="connsiteY0" fmla="*/ 0 h 3539612"/>
                <a:gd name="connsiteX1" fmla="*/ 1365279 w 2701062"/>
                <a:gd name="connsiteY1" fmla="*/ 8428 h 3539612"/>
                <a:gd name="connsiteX2" fmla="*/ 1264148 w 2701062"/>
                <a:gd name="connsiteY2" fmla="*/ 84276 h 3539612"/>
                <a:gd name="connsiteX3" fmla="*/ 1281002 w 2701062"/>
                <a:gd name="connsiteY3" fmla="*/ 223333 h 3539612"/>
                <a:gd name="connsiteX4" fmla="*/ 1141946 w 2701062"/>
                <a:gd name="connsiteY4" fmla="*/ 358175 h 3539612"/>
                <a:gd name="connsiteX5" fmla="*/ 876475 w 2701062"/>
                <a:gd name="connsiteY5" fmla="*/ 615217 h 3539612"/>
                <a:gd name="connsiteX6" fmla="*/ 804840 w 2701062"/>
                <a:gd name="connsiteY6" fmla="*/ 686852 h 3539612"/>
                <a:gd name="connsiteX7" fmla="*/ 813268 w 2701062"/>
                <a:gd name="connsiteY7" fmla="*/ 817481 h 3539612"/>
                <a:gd name="connsiteX8" fmla="*/ 897545 w 2701062"/>
                <a:gd name="connsiteY8" fmla="*/ 986034 h 3539612"/>
                <a:gd name="connsiteX9" fmla="*/ 943897 w 2701062"/>
                <a:gd name="connsiteY9" fmla="*/ 1070310 h 3539612"/>
                <a:gd name="connsiteX10" fmla="*/ 964966 w 2701062"/>
                <a:gd name="connsiteY10" fmla="*/ 1099807 h 3539612"/>
                <a:gd name="connsiteX11" fmla="*/ 994463 w 2701062"/>
                <a:gd name="connsiteY11" fmla="*/ 1074524 h 3539612"/>
                <a:gd name="connsiteX12" fmla="*/ 1011318 w 2701062"/>
                <a:gd name="connsiteY12" fmla="*/ 1019745 h 3539612"/>
                <a:gd name="connsiteX13" fmla="*/ 1057670 w 2701062"/>
                <a:gd name="connsiteY13" fmla="*/ 1011317 h 3539612"/>
                <a:gd name="connsiteX14" fmla="*/ 1053456 w 2701062"/>
                <a:gd name="connsiteY14" fmla="*/ 1074524 h 3539612"/>
                <a:gd name="connsiteX15" fmla="*/ 1040815 w 2701062"/>
                <a:gd name="connsiteY15" fmla="*/ 1108235 h 3539612"/>
                <a:gd name="connsiteX16" fmla="*/ 1049242 w 2701062"/>
                <a:gd name="connsiteY16" fmla="*/ 1133518 h 3539612"/>
                <a:gd name="connsiteX17" fmla="*/ 986035 w 2701062"/>
                <a:gd name="connsiteY17" fmla="*/ 1150373 h 3539612"/>
                <a:gd name="connsiteX18" fmla="*/ 1011318 w 2701062"/>
                <a:gd name="connsiteY18" fmla="*/ 1285216 h 3539612"/>
                <a:gd name="connsiteX19" fmla="*/ 1049242 w 2701062"/>
                <a:gd name="connsiteY19" fmla="*/ 1281002 h 3539612"/>
                <a:gd name="connsiteX20" fmla="*/ 1040815 w 2701062"/>
                <a:gd name="connsiteY20" fmla="*/ 1344209 h 3539612"/>
                <a:gd name="connsiteX21" fmla="*/ 981821 w 2701062"/>
                <a:gd name="connsiteY21" fmla="*/ 1377920 h 3539612"/>
                <a:gd name="connsiteX22" fmla="*/ 931255 w 2701062"/>
                <a:gd name="connsiteY22" fmla="*/ 1377920 h 3539612"/>
                <a:gd name="connsiteX23" fmla="*/ 897545 w 2701062"/>
                <a:gd name="connsiteY23" fmla="*/ 1441127 h 3539612"/>
                <a:gd name="connsiteX24" fmla="*/ 901758 w 2701062"/>
                <a:gd name="connsiteY24" fmla="*/ 1470624 h 3539612"/>
                <a:gd name="connsiteX25" fmla="*/ 948110 w 2701062"/>
                <a:gd name="connsiteY25" fmla="*/ 1479051 h 3539612"/>
                <a:gd name="connsiteX26" fmla="*/ 931255 w 2701062"/>
                <a:gd name="connsiteY26" fmla="*/ 1516976 h 3539612"/>
                <a:gd name="connsiteX27" fmla="*/ 952324 w 2701062"/>
                <a:gd name="connsiteY27" fmla="*/ 1525404 h 3539612"/>
                <a:gd name="connsiteX28" fmla="*/ 1015532 w 2701062"/>
                <a:gd name="connsiteY28" fmla="*/ 1529617 h 3539612"/>
                <a:gd name="connsiteX29" fmla="*/ 1040815 w 2701062"/>
                <a:gd name="connsiteY29" fmla="*/ 1567542 h 3539612"/>
                <a:gd name="connsiteX30" fmla="*/ 1036601 w 2701062"/>
                <a:gd name="connsiteY30" fmla="*/ 1605466 h 3539612"/>
                <a:gd name="connsiteX31" fmla="*/ 1104022 w 2701062"/>
                <a:gd name="connsiteY31" fmla="*/ 1706598 h 3539612"/>
                <a:gd name="connsiteX32" fmla="*/ 1053456 w 2701062"/>
                <a:gd name="connsiteY32" fmla="*/ 1731881 h 3539612"/>
                <a:gd name="connsiteX33" fmla="*/ 998676 w 2701062"/>
                <a:gd name="connsiteY33" fmla="*/ 1727667 h 3539612"/>
                <a:gd name="connsiteX34" fmla="*/ 964966 w 2701062"/>
                <a:gd name="connsiteY34" fmla="*/ 1807730 h 3539612"/>
                <a:gd name="connsiteX35" fmla="*/ 1015532 w 2701062"/>
                <a:gd name="connsiteY35" fmla="*/ 1849868 h 3539612"/>
                <a:gd name="connsiteX36" fmla="*/ 994463 w 2701062"/>
                <a:gd name="connsiteY36" fmla="*/ 1946786 h 3539612"/>
                <a:gd name="connsiteX37" fmla="*/ 1019746 w 2701062"/>
                <a:gd name="connsiteY37" fmla="*/ 1980497 h 3539612"/>
                <a:gd name="connsiteX38" fmla="*/ 990249 w 2701062"/>
                <a:gd name="connsiteY38" fmla="*/ 2014207 h 3539612"/>
                <a:gd name="connsiteX39" fmla="*/ 948110 w 2701062"/>
                <a:gd name="connsiteY39" fmla="*/ 2014207 h 3539612"/>
                <a:gd name="connsiteX40" fmla="*/ 939683 w 2701062"/>
                <a:gd name="connsiteY40" fmla="*/ 2052132 h 3539612"/>
                <a:gd name="connsiteX41" fmla="*/ 994463 w 2701062"/>
                <a:gd name="connsiteY41" fmla="*/ 2098484 h 3539612"/>
                <a:gd name="connsiteX42" fmla="*/ 981821 w 2701062"/>
                <a:gd name="connsiteY42" fmla="*/ 2279678 h 3539612"/>
                <a:gd name="connsiteX43" fmla="*/ 1015532 w 2701062"/>
                <a:gd name="connsiteY43" fmla="*/ 2359741 h 3539612"/>
                <a:gd name="connsiteX44" fmla="*/ 1049242 w 2701062"/>
                <a:gd name="connsiteY44" fmla="*/ 2359741 h 3539612"/>
                <a:gd name="connsiteX45" fmla="*/ 1129305 w 2701062"/>
                <a:gd name="connsiteY45" fmla="*/ 2427162 h 3539612"/>
                <a:gd name="connsiteX46" fmla="*/ 1125091 w 2701062"/>
                <a:gd name="connsiteY46" fmla="*/ 2557791 h 3539612"/>
                <a:gd name="connsiteX47" fmla="*/ 1087167 w 2701062"/>
                <a:gd name="connsiteY47" fmla="*/ 2620998 h 3539612"/>
                <a:gd name="connsiteX48" fmla="*/ 1015532 w 2701062"/>
                <a:gd name="connsiteY48" fmla="*/ 2688419 h 3539612"/>
                <a:gd name="connsiteX49" fmla="*/ 1007104 w 2701062"/>
                <a:gd name="connsiteY49" fmla="*/ 2776910 h 3539612"/>
                <a:gd name="connsiteX50" fmla="*/ 922828 w 2701062"/>
                <a:gd name="connsiteY50" fmla="*/ 2789551 h 3539612"/>
                <a:gd name="connsiteX51" fmla="*/ 868048 w 2701062"/>
                <a:gd name="connsiteY51" fmla="*/ 2793765 h 3539612"/>
                <a:gd name="connsiteX52" fmla="*/ 830123 w 2701062"/>
                <a:gd name="connsiteY52" fmla="*/ 2755840 h 3539612"/>
                <a:gd name="connsiteX53" fmla="*/ 577294 w 2701062"/>
                <a:gd name="connsiteY53" fmla="*/ 2776910 h 3539612"/>
                <a:gd name="connsiteX54" fmla="*/ 568866 w 2701062"/>
                <a:gd name="connsiteY54" fmla="*/ 2882255 h 3539612"/>
                <a:gd name="connsiteX55" fmla="*/ 514087 w 2701062"/>
                <a:gd name="connsiteY55" fmla="*/ 2915966 h 3539612"/>
                <a:gd name="connsiteX56" fmla="*/ 484590 w 2701062"/>
                <a:gd name="connsiteY56" fmla="*/ 2882255 h 3539612"/>
                <a:gd name="connsiteX57" fmla="*/ 446665 w 2701062"/>
                <a:gd name="connsiteY57" fmla="*/ 2907538 h 3539612"/>
                <a:gd name="connsiteX58" fmla="*/ 434024 w 2701062"/>
                <a:gd name="connsiteY58" fmla="*/ 3025525 h 3539612"/>
                <a:gd name="connsiteX59" fmla="*/ 328678 w 2701062"/>
                <a:gd name="connsiteY59" fmla="*/ 3151940 h 3539612"/>
                <a:gd name="connsiteX60" fmla="*/ 273899 w 2701062"/>
                <a:gd name="connsiteY60" fmla="*/ 3164581 h 3539612"/>
                <a:gd name="connsiteX61" fmla="*/ 252829 w 2701062"/>
                <a:gd name="connsiteY61" fmla="*/ 3215147 h 3539612"/>
                <a:gd name="connsiteX62" fmla="*/ 202263 w 2701062"/>
                <a:gd name="connsiteY62" fmla="*/ 3295210 h 3539612"/>
                <a:gd name="connsiteX63" fmla="*/ 164339 w 2701062"/>
                <a:gd name="connsiteY63" fmla="*/ 3324707 h 3539612"/>
                <a:gd name="connsiteX64" fmla="*/ 75849 w 2701062"/>
                <a:gd name="connsiteY64" fmla="*/ 3354204 h 3539612"/>
                <a:gd name="connsiteX65" fmla="*/ 12641 w 2701062"/>
                <a:gd name="connsiteY65" fmla="*/ 3387914 h 3539612"/>
                <a:gd name="connsiteX66" fmla="*/ 0 w 2701062"/>
                <a:gd name="connsiteY66" fmla="*/ 3467977 h 3539612"/>
                <a:gd name="connsiteX67" fmla="*/ 63207 w 2701062"/>
                <a:gd name="connsiteY67" fmla="*/ 3463763 h 3539612"/>
                <a:gd name="connsiteX68" fmla="*/ 96918 w 2701062"/>
                <a:gd name="connsiteY68" fmla="*/ 3417411 h 3539612"/>
                <a:gd name="connsiteX69" fmla="*/ 155911 w 2701062"/>
                <a:gd name="connsiteY69" fmla="*/ 3459549 h 3539612"/>
                <a:gd name="connsiteX70" fmla="*/ 164339 w 2701062"/>
                <a:gd name="connsiteY70" fmla="*/ 3539612 h 3539612"/>
                <a:gd name="connsiteX71" fmla="*/ 265471 w 2701062"/>
                <a:gd name="connsiteY71" fmla="*/ 3489046 h 3539612"/>
                <a:gd name="connsiteX72" fmla="*/ 252829 w 2701062"/>
                <a:gd name="connsiteY72" fmla="*/ 3430052 h 3539612"/>
                <a:gd name="connsiteX73" fmla="*/ 307609 w 2701062"/>
                <a:gd name="connsiteY73" fmla="*/ 3387914 h 3539612"/>
                <a:gd name="connsiteX74" fmla="*/ 345534 w 2701062"/>
                <a:gd name="connsiteY74" fmla="*/ 3349990 h 3539612"/>
                <a:gd name="connsiteX75" fmla="*/ 375030 w 2701062"/>
                <a:gd name="connsiteY75" fmla="*/ 3307851 h 3539612"/>
                <a:gd name="connsiteX76" fmla="*/ 497231 w 2701062"/>
                <a:gd name="connsiteY76" fmla="*/ 3316279 h 3539612"/>
                <a:gd name="connsiteX77" fmla="*/ 497231 w 2701062"/>
                <a:gd name="connsiteY77" fmla="*/ 3316279 h 3539612"/>
                <a:gd name="connsiteX78" fmla="*/ 568866 w 2701062"/>
                <a:gd name="connsiteY78" fmla="*/ 3349990 h 3539612"/>
                <a:gd name="connsiteX79" fmla="*/ 589935 w 2701062"/>
                <a:gd name="connsiteY79" fmla="*/ 3328921 h 3539612"/>
                <a:gd name="connsiteX80" fmla="*/ 648929 w 2701062"/>
                <a:gd name="connsiteY80" fmla="*/ 3358417 h 3539612"/>
                <a:gd name="connsiteX81" fmla="*/ 674212 w 2701062"/>
                <a:gd name="connsiteY81" fmla="*/ 3354204 h 3539612"/>
                <a:gd name="connsiteX82" fmla="*/ 720564 w 2701062"/>
                <a:gd name="connsiteY82" fmla="*/ 3417411 h 3539612"/>
                <a:gd name="connsiteX83" fmla="*/ 754275 w 2701062"/>
                <a:gd name="connsiteY83" fmla="*/ 3408983 h 3539612"/>
                <a:gd name="connsiteX84" fmla="*/ 804840 w 2701062"/>
                <a:gd name="connsiteY84" fmla="*/ 3333134 h 3539612"/>
                <a:gd name="connsiteX85" fmla="*/ 842765 w 2701062"/>
                <a:gd name="connsiteY85" fmla="*/ 3299424 h 3539612"/>
                <a:gd name="connsiteX86" fmla="*/ 830123 w 2701062"/>
                <a:gd name="connsiteY86" fmla="*/ 3244644 h 3539612"/>
                <a:gd name="connsiteX87" fmla="*/ 859620 w 2701062"/>
                <a:gd name="connsiteY87" fmla="*/ 3189864 h 3539612"/>
                <a:gd name="connsiteX88" fmla="*/ 918614 w 2701062"/>
                <a:gd name="connsiteY88" fmla="*/ 3139299 h 3539612"/>
                <a:gd name="connsiteX89" fmla="*/ 1011318 w 2701062"/>
                <a:gd name="connsiteY89" fmla="*/ 3122443 h 3539612"/>
                <a:gd name="connsiteX90" fmla="*/ 1078739 w 2701062"/>
                <a:gd name="connsiteY90" fmla="*/ 3109802 h 3539612"/>
                <a:gd name="connsiteX91" fmla="*/ 1163016 w 2701062"/>
                <a:gd name="connsiteY91" fmla="*/ 3181437 h 3539612"/>
                <a:gd name="connsiteX92" fmla="*/ 1222009 w 2701062"/>
                <a:gd name="connsiteY92" fmla="*/ 3215147 h 3539612"/>
                <a:gd name="connsiteX93" fmla="*/ 1226223 w 2701062"/>
                <a:gd name="connsiteY93" fmla="*/ 3168795 h 3539612"/>
                <a:gd name="connsiteX94" fmla="*/ 1243078 w 2701062"/>
                <a:gd name="connsiteY94" fmla="*/ 3160368 h 3539612"/>
                <a:gd name="connsiteX95" fmla="*/ 1344210 w 2701062"/>
                <a:gd name="connsiteY95" fmla="*/ 3181437 h 3539612"/>
                <a:gd name="connsiteX96" fmla="*/ 1398990 w 2701062"/>
                <a:gd name="connsiteY96" fmla="*/ 3189864 h 3539612"/>
                <a:gd name="connsiteX97" fmla="*/ 1436914 w 2701062"/>
                <a:gd name="connsiteY97" fmla="*/ 3118229 h 3539612"/>
                <a:gd name="connsiteX98" fmla="*/ 1495908 w 2701062"/>
                <a:gd name="connsiteY98" fmla="*/ 3109802 h 3539612"/>
                <a:gd name="connsiteX99" fmla="*/ 1597040 w 2701062"/>
                <a:gd name="connsiteY99" fmla="*/ 3164581 h 3539612"/>
                <a:gd name="connsiteX100" fmla="*/ 1656033 w 2701062"/>
                <a:gd name="connsiteY100" fmla="*/ 3185651 h 3539612"/>
                <a:gd name="connsiteX101" fmla="*/ 1719240 w 2701062"/>
                <a:gd name="connsiteY101" fmla="*/ 3126657 h 3539612"/>
                <a:gd name="connsiteX102" fmla="*/ 1715027 w 2701062"/>
                <a:gd name="connsiteY102" fmla="*/ 3055022 h 3539612"/>
                <a:gd name="connsiteX103" fmla="*/ 1833014 w 2701062"/>
                <a:gd name="connsiteY103" fmla="*/ 3105588 h 3539612"/>
                <a:gd name="connsiteX104" fmla="*/ 1862510 w 2701062"/>
                <a:gd name="connsiteY104" fmla="*/ 3055022 h 3539612"/>
                <a:gd name="connsiteX105" fmla="*/ 2018422 w 2701062"/>
                <a:gd name="connsiteY105" fmla="*/ 3033953 h 3539612"/>
                <a:gd name="connsiteX106" fmla="*/ 2186975 w 2701062"/>
                <a:gd name="connsiteY106" fmla="*/ 3092946 h 3539612"/>
                <a:gd name="connsiteX107" fmla="*/ 2254396 w 2701062"/>
                <a:gd name="connsiteY107" fmla="*/ 3008670 h 3539612"/>
                <a:gd name="connsiteX108" fmla="*/ 2338673 w 2701062"/>
                <a:gd name="connsiteY108" fmla="*/ 3008670 h 3539612"/>
                <a:gd name="connsiteX109" fmla="*/ 2380811 w 2701062"/>
                <a:gd name="connsiteY109" fmla="*/ 2953890 h 3539612"/>
                <a:gd name="connsiteX110" fmla="*/ 2456660 w 2701062"/>
                <a:gd name="connsiteY110" fmla="*/ 2958104 h 3539612"/>
                <a:gd name="connsiteX111" fmla="*/ 2469301 w 2701062"/>
                <a:gd name="connsiteY111" fmla="*/ 2878041 h 3539612"/>
                <a:gd name="connsiteX112" fmla="*/ 2595716 w 2701062"/>
                <a:gd name="connsiteY112" fmla="*/ 2810620 h 3539612"/>
                <a:gd name="connsiteX113" fmla="*/ 2595716 w 2701062"/>
                <a:gd name="connsiteY113" fmla="*/ 2709488 h 3539612"/>
                <a:gd name="connsiteX114" fmla="*/ 2616785 w 2701062"/>
                <a:gd name="connsiteY114" fmla="*/ 2671564 h 3539612"/>
                <a:gd name="connsiteX115" fmla="*/ 2591502 w 2701062"/>
                <a:gd name="connsiteY115" fmla="*/ 2646281 h 3539612"/>
                <a:gd name="connsiteX116" fmla="*/ 2515653 w 2701062"/>
                <a:gd name="connsiteY116" fmla="*/ 2646281 h 3539612"/>
                <a:gd name="connsiteX117" fmla="*/ 2460874 w 2701062"/>
                <a:gd name="connsiteY117" fmla="*/ 2658922 h 3539612"/>
                <a:gd name="connsiteX118" fmla="*/ 2435591 w 2701062"/>
                <a:gd name="connsiteY118" fmla="*/ 2671564 h 3539612"/>
                <a:gd name="connsiteX119" fmla="*/ 2397666 w 2701062"/>
                <a:gd name="connsiteY119" fmla="*/ 2620998 h 3539612"/>
                <a:gd name="connsiteX120" fmla="*/ 2347100 w 2701062"/>
                <a:gd name="connsiteY120" fmla="*/ 2595715 h 3539612"/>
                <a:gd name="connsiteX121" fmla="*/ 2410308 w 2701062"/>
                <a:gd name="connsiteY121" fmla="*/ 2557791 h 3539612"/>
                <a:gd name="connsiteX122" fmla="*/ 2439804 w 2701062"/>
                <a:gd name="connsiteY122" fmla="*/ 2410307 h 3539612"/>
                <a:gd name="connsiteX123" fmla="*/ 2481943 w 2701062"/>
                <a:gd name="connsiteY123" fmla="*/ 2444017 h 3539612"/>
                <a:gd name="connsiteX124" fmla="*/ 2532509 w 2701062"/>
                <a:gd name="connsiteY124" fmla="*/ 2372382 h 3539612"/>
                <a:gd name="connsiteX125" fmla="*/ 2545150 w 2701062"/>
                <a:gd name="connsiteY125" fmla="*/ 2334458 h 3539612"/>
                <a:gd name="connsiteX126" fmla="*/ 2633640 w 2701062"/>
                <a:gd name="connsiteY126" fmla="*/ 2220685 h 3539612"/>
                <a:gd name="connsiteX127" fmla="*/ 2650496 w 2701062"/>
                <a:gd name="connsiteY127" fmla="*/ 2127981 h 3539612"/>
                <a:gd name="connsiteX128" fmla="*/ 2696848 w 2701062"/>
                <a:gd name="connsiteY128" fmla="*/ 2052132 h 3539612"/>
                <a:gd name="connsiteX129" fmla="*/ 2701062 w 2701062"/>
                <a:gd name="connsiteY129" fmla="*/ 1845654 h 3539612"/>
                <a:gd name="connsiteX130" fmla="*/ 2503012 w 2701062"/>
                <a:gd name="connsiteY130" fmla="*/ 1710812 h 3539612"/>
                <a:gd name="connsiteX131" fmla="*/ 2237541 w 2701062"/>
                <a:gd name="connsiteY131" fmla="*/ 1681315 h 3539612"/>
                <a:gd name="connsiteX132" fmla="*/ 2161692 w 2701062"/>
                <a:gd name="connsiteY132" fmla="*/ 1769805 h 3539612"/>
                <a:gd name="connsiteX133" fmla="*/ 2123768 w 2701062"/>
                <a:gd name="connsiteY133" fmla="*/ 1761378 h 3539612"/>
                <a:gd name="connsiteX134" fmla="*/ 2111126 w 2701062"/>
                <a:gd name="connsiteY134" fmla="*/ 1710812 h 3539612"/>
                <a:gd name="connsiteX135" fmla="*/ 2203830 w 2701062"/>
                <a:gd name="connsiteY135" fmla="*/ 1613894 h 3539612"/>
                <a:gd name="connsiteX136" fmla="*/ 2178547 w 2701062"/>
                <a:gd name="connsiteY136" fmla="*/ 1474838 h 3539612"/>
                <a:gd name="connsiteX137" fmla="*/ 2090057 w 2701062"/>
                <a:gd name="connsiteY137" fmla="*/ 1382134 h 3539612"/>
                <a:gd name="connsiteX138" fmla="*/ 2056346 w 2701062"/>
                <a:gd name="connsiteY138" fmla="*/ 1352637 h 3539612"/>
                <a:gd name="connsiteX139" fmla="*/ 2127981 w 2701062"/>
                <a:gd name="connsiteY139" fmla="*/ 1339995 h 3539612"/>
                <a:gd name="connsiteX140" fmla="*/ 2127981 w 2701062"/>
                <a:gd name="connsiteY140" fmla="*/ 1306285 h 3539612"/>
                <a:gd name="connsiteX141" fmla="*/ 2031063 w 2701062"/>
                <a:gd name="connsiteY141" fmla="*/ 1179870 h 3539612"/>
                <a:gd name="connsiteX142" fmla="*/ 2022636 w 2701062"/>
                <a:gd name="connsiteY142" fmla="*/ 1095593 h 3539612"/>
                <a:gd name="connsiteX143" fmla="*/ 2056346 w 2701062"/>
                <a:gd name="connsiteY143" fmla="*/ 1032386 h 3539612"/>
                <a:gd name="connsiteX144" fmla="*/ 2039491 w 2701062"/>
                <a:gd name="connsiteY144" fmla="*/ 998675 h 3539612"/>
                <a:gd name="connsiteX145" fmla="*/ 1967856 w 2701062"/>
                <a:gd name="connsiteY145" fmla="*/ 977606 h 3539612"/>
                <a:gd name="connsiteX146" fmla="*/ 1929932 w 2701062"/>
                <a:gd name="connsiteY146" fmla="*/ 918613 h 3539612"/>
                <a:gd name="connsiteX147" fmla="*/ 1934146 w 2701062"/>
                <a:gd name="connsiteY147" fmla="*/ 859619 h 3539612"/>
                <a:gd name="connsiteX148" fmla="*/ 1727668 w 2701062"/>
                <a:gd name="connsiteY148" fmla="*/ 741632 h 3539612"/>
                <a:gd name="connsiteX149" fmla="*/ 1664461 w 2701062"/>
                <a:gd name="connsiteY149" fmla="*/ 682639 h 3539612"/>
                <a:gd name="connsiteX150" fmla="*/ 1516977 w 2701062"/>
                <a:gd name="connsiteY150" fmla="*/ 143270 h 3539612"/>
                <a:gd name="connsiteX151" fmla="*/ 1407417 w 2701062"/>
                <a:gd name="connsiteY151" fmla="*/ 25284 h 3539612"/>
                <a:gd name="connsiteX152" fmla="*/ 1327354 w 2701062"/>
                <a:gd name="connsiteY152" fmla="*/ 0 h 3539612"/>
                <a:gd name="connsiteX0" fmla="*/ 1327354 w 2701062"/>
                <a:gd name="connsiteY0" fmla="*/ 23107 h 3562719"/>
                <a:gd name="connsiteX1" fmla="*/ 1365279 w 2701062"/>
                <a:gd name="connsiteY1" fmla="*/ 31535 h 3562719"/>
                <a:gd name="connsiteX2" fmla="*/ 1264148 w 2701062"/>
                <a:gd name="connsiteY2" fmla="*/ 107383 h 3562719"/>
                <a:gd name="connsiteX3" fmla="*/ 1281002 w 2701062"/>
                <a:gd name="connsiteY3" fmla="*/ 246440 h 3562719"/>
                <a:gd name="connsiteX4" fmla="*/ 1141946 w 2701062"/>
                <a:gd name="connsiteY4" fmla="*/ 381282 h 3562719"/>
                <a:gd name="connsiteX5" fmla="*/ 876475 w 2701062"/>
                <a:gd name="connsiteY5" fmla="*/ 638324 h 3562719"/>
                <a:gd name="connsiteX6" fmla="*/ 804840 w 2701062"/>
                <a:gd name="connsiteY6" fmla="*/ 709959 h 3562719"/>
                <a:gd name="connsiteX7" fmla="*/ 813268 w 2701062"/>
                <a:gd name="connsiteY7" fmla="*/ 840588 h 3562719"/>
                <a:gd name="connsiteX8" fmla="*/ 897545 w 2701062"/>
                <a:gd name="connsiteY8" fmla="*/ 1009141 h 3562719"/>
                <a:gd name="connsiteX9" fmla="*/ 943897 w 2701062"/>
                <a:gd name="connsiteY9" fmla="*/ 1093417 h 3562719"/>
                <a:gd name="connsiteX10" fmla="*/ 964966 w 2701062"/>
                <a:gd name="connsiteY10" fmla="*/ 1122914 h 3562719"/>
                <a:gd name="connsiteX11" fmla="*/ 994463 w 2701062"/>
                <a:gd name="connsiteY11" fmla="*/ 1097631 h 3562719"/>
                <a:gd name="connsiteX12" fmla="*/ 1011318 w 2701062"/>
                <a:gd name="connsiteY12" fmla="*/ 1042852 h 3562719"/>
                <a:gd name="connsiteX13" fmla="*/ 1057670 w 2701062"/>
                <a:gd name="connsiteY13" fmla="*/ 1034424 h 3562719"/>
                <a:gd name="connsiteX14" fmla="*/ 1053456 w 2701062"/>
                <a:gd name="connsiteY14" fmla="*/ 1097631 h 3562719"/>
                <a:gd name="connsiteX15" fmla="*/ 1040815 w 2701062"/>
                <a:gd name="connsiteY15" fmla="*/ 1131342 h 3562719"/>
                <a:gd name="connsiteX16" fmla="*/ 1049242 w 2701062"/>
                <a:gd name="connsiteY16" fmla="*/ 1156625 h 3562719"/>
                <a:gd name="connsiteX17" fmla="*/ 986035 w 2701062"/>
                <a:gd name="connsiteY17" fmla="*/ 1173480 h 3562719"/>
                <a:gd name="connsiteX18" fmla="*/ 1011318 w 2701062"/>
                <a:gd name="connsiteY18" fmla="*/ 1308323 h 3562719"/>
                <a:gd name="connsiteX19" fmla="*/ 1049242 w 2701062"/>
                <a:gd name="connsiteY19" fmla="*/ 1304109 h 3562719"/>
                <a:gd name="connsiteX20" fmla="*/ 1040815 w 2701062"/>
                <a:gd name="connsiteY20" fmla="*/ 1367316 h 3562719"/>
                <a:gd name="connsiteX21" fmla="*/ 981821 w 2701062"/>
                <a:gd name="connsiteY21" fmla="*/ 1401027 h 3562719"/>
                <a:gd name="connsiteX22" fmla="*/ 931255 w 2701062"/>
                <a:gd name="connsiteY22" fmla="*/ 1401027 h 3562719"/>
                <a:gd name="connsiteX23" fmla="*/ 897545 w 2701062"/>
                <a:gd name="connsiteY23" fmla="*/ 1464234 h 3562719"/>
                <a:gd name="connsiteX24" fmla="*/ 901758 w 2701062"/>
                <a:gd name="connsiteY24" fmla="*/ 1493731 h 3562719"/>
                <a:gd name="connsiteX25" fmla="*/ 948110 w 2701062"/>
                <a:gd name="connsiteY25" fmla="*/ 1502158 h 3562719"/>
                <a:gd name="connsiteX26" fmla="*/ 931255 w 2701062"/>
                <a:gd name="connsiteY26" fmla="*/ 1540083 h 3562719"/>
                <a:gd name="connsiteX27" fmla="*/ 952324 w 2701062"/>
                <a:gd name="connsiteY27" fmla="*/ 1548511 h 3562719"/>
                <a:gd name="connsiteX28" fmla="*/ 1015532 w 2701062"/>
                <a:gd name="connsiteY28" fmla="*/ 1552724 h 3562719"/>
                <a:gd name="connsiteX29" fmla="*/ 1040815 w 2701062"/>
                <a:gd name="connsiteY29" fmla="*/ 1590649 h 3562719"/>
                <a:gd name="connsiteX30" fmla="*/ 1036601 w 2701062"/>
                <a:gd name="connsiteY30" fmla="*/ 1628573 h 3562719"/>
                <a:gd name="connsiteX31" fmla="*/ 1104022 w 2701062"/>
                <a:gd name="connsiteY31" fmla="*/ 1729705 h 3562719"/>
                <a:gd name="connsiteX32" fmla="*/ 1053456 w 2701062"/>
                <a:gd name="connsiteY32" fmla="*/ 1754988 h 3562719"/>
                <a:gd name="connsiteX33" fmla="*/ 998676 w 2701062"/>
                <a:gd name="connsiteY33" fmla="*/ 1750774 h 3562719"/>
                <a:gd name="connsiteX34" fmla="*/ 964966 w 2701062"/>
                <a:gd name="connsiteY34" fmla="*/ 1830837 h 3562719"/>
                <a:gd name="connsiteX35" fmla="*/ 1015532 w 2701062"/>
                <a:gd name="connsiteY35" fmla="*/ 1872975 h 3562719"/>
                <a:gd name="connsiteX36" fmla="*/ 994463 w 2701062"/>
                <a:gd name="connsiteY36" fmla="*/ 1969893 h 3562719"/>
                <a:gd name="connsiteX37" fmla="*/ 1019746 w 2701062"/>
                <a:gd name="connsiteY37" fmla="*/ 2003604 h 3562719"/>
                <a:gd name="connsiteX38" fmla="*/ 990249 w 2701062"/>
                <a:gd name="connsiteY38" fmla="*/ 2037314 h 3562719"/>
                <a:gd name="connsiteX39" fmla="*/ 948110 w 2701062"/>
                <a:gd name="connsiteY39" fmla="*/ 2037314 h 3562719"/>
                <a:gd name="connsiteX40" fmla="*/ 939683 w 2701062"/>
                <a:gd name="connsiteY40" fmla="*/ 2075239 h 3562719"/>
                <a:gd name="connsiteX41" fmla="*/ 994463 w 2701062"/>
                <a:gd name="connsiteY41" fmla="*/ 2121591 h 3562719"/>
                <a:gd name="connsiteX42" fmla="*/ 981821 w 2701062"/>
                <a:gd name="connsiteY42" fmla="*/ 2302785 h 3562719"/>
                <a:gd name="connsiteX43" fmla="*/ 1015532 w 2701062"/>
                <a:gd name="connsiteY43" fmla="*/ 2382848 h 3562719"/>
                <a:gd name="connsiteX44" fmla="*/ 1049242 w 2701062"/>
                <a:gd name="connsiteY44" fmla="*/ 2382848 h 3562719"/>
                <a:gd name="connsiteX45" fmla="*/ 1129305 w 2701062"/>
                <a:gd name="connsiteY45" fmla="*/ 2450269 h 3562719"/>
                <a:gd name="connsiteX46" fmla="*/ 1125091 w 2701062"/>
                <a:gd name="connsiteY46" fmla="*/ 2580898 h 3562719"/>
                <a:gd name="connsiteX47" fmla="*/ 1087167 w 2701062"/>
                <a:gd name="connsiteY47" fmla="*/ 2644105 h 3562719"/>
                <a:gd name="connsiteX48" fmla="*/ 1015532 w 2701062"/>
                <a:gd name="connsiteY48" fmla="*/ 2711526 h 3562719"/>
                <a:gd name="connsiteX49" fmla="*/ 1007104 w 2701062"/>
                <a:gd name="connsiteY49" fmla="*/ 2800017 h 3562719"/>
                <a:gd name="connsiteX50" fmla="*/ 922828 w 2701062"/>
                <a:gd name="connsiteY50" fmla="*/ 2812658 h 3562719"/>
                <a:gd name="connsiteX51" fmla="*/ 868048 w 2701062"/>
                <a:gd name="connsiteY51" fmla="*/ 2816872 h 3562719"/>
                <a:gd name="connsiteX52" fmla="*/ 830123 w 2701062"/>
                <a:gd name="connsiteY52" fmla="*/ 2778947 h 3562719"/>
                <a:gd name="connsiteX53" fmla="*/ 577294 w 2701062"/>
                <a:gd name="connsiteY53" fmla="*/ 2800017 h 3562719"/>
                <a:gd name="connsiteX54" fmla="*/ 568866 w 2701062"/>
                <a:gd name="connsiteY54" fmla="*/ 2905362 h 3562719"/>
                <a:gd name="connsiteX55" fmla="*/ 514087 w 2701062"/>
                <a:gd name="connsiteY55" fmla="*/ 2939073 h 3562719"/>
                <a:gd name="connsiteX56" fmla="*/ 484590 w 2701062"/>
                <a:gd name="connsiteY56" fmla="*/ 2905362 h 3562719"/>
                <a:gd name="connsiteX57" fmla="*/ 446665 w 2701062"/>
                <a:gd name="connsiteY57" fmla="*/ 2930645 h 3562719"/>
                <a:gd name="connsiteX58" fmla="*/ 434024 w 2701062"/>
                <a:gd name="connsiteY58" fmla="*/ 3048632 h 3562719"/>
                <a:gd name="connsiteX59" fmla="*/ 328678 w 2701062"/>
                <a:gd name="connsiteY59" fmla="*/ 3175047 h 3562719"/>
                <a:gd name="connsiteX60" fmla="*/ 273899 w 2701062"/>
                <a:gd name="connsiteY60" fmla="*/ 3187688 h 3562719"/>
                <a:gd name="connsiteX61" fmla="*/ 252829 w 2701062"/>
                <a:gd name="connsiteY61" fmla="*/ 3238254 h 3562719"/>
                <a:gd name="connsiteX62" fmla="*/ 202263 w 2701062"/>
                <a:gd name="connsiteY62" fmla="*/ 3318317 h 3562719"/>
                <a:gd name="connsiteX63" fmla="*/ 164339 w 2701062"/>
                <a:gd name="connsiteY63" fmla="*/ 3347814 h 3562719"/>
                <a:gd name="connsiteX64" fmla="*/ 75849 w 2701062"/>
                <a:gd name="connsiteY64" fmla="*/ 3377311 h 3562719"/>
                <a:gd name="connsiteX65" fmla="*/ 12641 w 2701062"/>
                <a:gd name="connsiteY65" fmla="*/ 3411021 h 3562719"/>
                <a:gd name="connsiteX66" fmla="*/ 0 w 2701062"/>
                <a:gd name="connsiteY66" fmla="*/ 3491084 h 3562719"/>
                <a:gd name="connsiteX67" fmla="*/ 63207 w 2701062"/>
                <a:gd name="connsiteY67" fmla="*/ 3486870 h 3562719"/>
                <a:gd name="connsiteX68" fmla="*/ 96918 w 2701062"/>
                <a:gd name="connsiteY68" fmla="*/ 3440518 h 3562719"/>
                <a:gd name="connsiteX69" fmla="*/ 155911 w 2701062"/>
                <a:gd name="connsiteY69" fmla="*/ 3482656 h 3562719"/>
                <a:gd name="connsiteX70" fmla="*/ 164339 w 2701062"/>
                <a:gd name="connsiteY70" fmla="*/ 3562719 h 3562719"/>
                <a:gd name="connsiteX71" fmla="*/ 265471 w 2701062"/>
                <a:gd name="connsiteY71" fmla="*/ 3512153 h 3562719"/>
                <a:gd name="connsiteX72" fmla="*/ 252829 w 2701062"/>
                <a:gd name="connsiteY72" fmla="*/ 3453159 h 3562719"/>
                <a:gd name="connsiteX73" fmla="*/ 307609 w 2701062"/>
                <a:gd name="connsiteY73" fmla="*/ 3411021 h 3562719"/>
                <a:gd name="connsiteX74" fmla="*/ 345534 w 2701062"/>
                <a:gd name="connsiteY74" fmla="*/ 3373097 h 3562719"/>
                <a:gd name="connsiteX75" fmla="*/ 375030 w 2701062"/>
                <a:gd name="connsiteY75" fmla="*/ 3330958 h 3562719"/>
                <a:gd name="connsiteX76" fmla="*/ 497231 w 2701062"/>
                <a:gd name="connsiteY76" fmla="*/ 3339386 h 3562719"/>
                <a:gd name="connsiteX77" fmla="*/ 497231 w 2701062"/>
                <a:gd name="connsiteY77" fmla="*/ 3339386 h 3562719"/>
                <a:gd name="connsiteX78" fmla="*/ 568866 w 2701062"/>
                <a:gd name="connsiteY78" fmla="*/ 3373097 h 3562719"/>
                <a:gd name="connsiteX79" fmla="*/ 589935 w 2701062"/>
                <a:gd name="connsiteY79" fmla="*/ 3352028 h 3562719"/>
                <a:gd name="connsiteX80" fmla="*/ 648929 w 2701062"/>
                <a:gd name="connsiteY80" fmla="*/ 3381524 h 3562719"/>
                <a:gd name="connsiteX81" fmla="*/ 674212 w 2701062"/>
                <a:gd name="connsiteY81" fmla="*/ 3377311 h 3562719"/>
                <a:gd name="connsiteX82" fmla="*/ 720564 w 2701062"/>
                <a:gd name="connsiteY82" fmla="*/ 3440518 h 3562719"/>
                <a:gd name="connsiteX83" fmla="*/ 754275 w 2701062"/>
                <a:gd name="connsiteY83" fmla="*/ 3432090 h 3562719"/>
                <a:gd name="connsiteX84" fmla="*/ 804840 w 2701062"/>
                <a:gd name="connsiteY84" fmla="*/ 3356241 h 3562719"/>
                <a:gd name="connsiteX85" fmla="*/ 842765 w 2701062"/>
                <a:gd name="connsiteY85" fmla="*/ 3322531 h 3562719"/>
                <a:gd name="connsiteX86" fmla="*/ 830123 w 2701062"/>
                <a:gd name="connsiteY86" fmla="*/ 3267751 h 3562719"/>
                <a:gd name="connsiteX87" fmla="*/ 859620 w 2701062"/>
                <a:gd name="connsiteY87" fmla="*/ 3212971 h 3562719"/>
                <a:gd name="connsiteX88" fmla="*/ 918614 w 2701062"/>
                <a:gd name="connsiteY88" fmla="*/ 3162406 h 3562719"/>
                <a:gd name="connsiteX89" fmla="*/ 1011318 w 2701062"/>
                <a:gd name="connsiteY89" fmla="*/ 3145550 h 3562719"/>
                <a:gd name="connsiteX90" fmla="*/ 1078739 w 2701062"/>
                <a:gd name="connsiteY90" fmla="*/ 3132909 h 3562719"/>
                <a:gd name="connsiteX91" fmla="*/ 1163016 w 2701062"/>
                <a:gd name="connsiteY91" fmla="*/ 3204544 h 3562719"/>
                <a:gd name="connsiteX92" fmla="*/ 1222009 w 2701062"/>
                <a:gd name="connsiteY92" fmla="*/ 3238254 h 3562719"/>
                <a:gd name="connsiteX93" fmla="*/ 1226223 w 2701062"/>
                <a:gd name="connsiteY93" fmla="*/ 3191902 h 3562719"/>
                <a:gd name="connsiteX94" fmla="*/ 1243078 w 2701062"/>
                <a:gd name="connsiteY94" fmla="*/ 3183475 h 3562719"/>
                <a:gd name="connsiteX95" fmla="*/ 1344210 w 2701062"/>
                <a:gd name="connsiteY95" fmla="*/ 3204544 h 3562719"/>
                <a:gd name="connsiteX96" fmla="*/ 1398990 w 2701062"/>
                <a:gd name="connsiteY96" fmla="*/ 3212971 h 3562719"/>
                <a:gd name="connsiteX97" fmla="*/ 1436914 w 2701062"/>
                <a:gd name="connsiteY97" fmla="*/ 3141336 h 3562719"/>
                <a:gd name="connsiteX98" fmla="*/ 1495908 w 2701062"/>
                <a:gd name="connsiteY98" fmla="*/ 3132909 h 3562719"/>
                <a:gd name="connsiteX99" fmla="*/ 1597040 w 2701062"/>
                <a:gd name="connsiteY99" fmla="*/ 3187688 h 3562719"/>
                <a:gd name="connsiteX100" fmla="*/ 1656033 w 2701062"/>
                <a:gd name="connsiteY100" fmla="*/ 3208758 h 3562719"/>
                <a:gd name="connsiteX101" fmla="*/ 1719240 w 2701062"/>
                <a:gd name="connsiteY101" fmla="*/ 3149764 h 3562719"/>
                <a:gd name="connsiteX102" fmla="*/ 1715027 w 2701062"/>
                <a:gd name="connsiteY102" fmla="*/ 3078129 h 3562719"/>
                <a:gd name="connsiteX103" fmla="*/ 1833014 w 2701062"/>
                <a:gd name="connsiteY103" fmla="*/ 3128695 h 3562719"/>
                <a:gd name="connsiteX104" fmla="*/ 1862510 w 2701062"/>
                <a:gd name="connsiteY104" fmla="*/ 3078129 h 3562719"/>
                <a:gd name="connsiteX105" fmla="*/ 2018422 w 2701062"/>
                <a:gd name="connsiteY105" fmla="*/ 3057060 h 3562719"/>
                <a:gd name="connsiteX106" fmla="*/ 2186975 w 2701062"/>
                <a:gd name="connsiteY106" fmla="*/ 3116053 h 3562719"/>
                <a:gd name="connsiteX107" fmla="*/ 2254396 w 2701062"/>
                <a:gd name="connsiteY107" fmla="*/ 3031777 h 3562719"/>
                <a:gd name="connsiteX108" fmla="*/ 2338673 w 2701062"/>
                <a:gd name="connsiteY108" fmla="*/ 3031777 h 3562719"/>
                <a:gd name="connsiteX109" fmla="*/ 2380811 w 2701062"/>
                <a:gd name="connsiteY109" fmla="*/ 2976997 h 3562719"/>
                <a:gd name="connsiteX110" fmla="*/ 2456660 w 2701062"/>
                <a:gd name="connsiteY110" fmla="*/ 2981211 h 3562719"/>
                <a:gd name="connsiteX111" fmla="*/ 2469301 w 2701062"/>
                <a:gd name="connsiteY111" fmla="*/ 2901148 h 3562719"/>
                <a:gd name="connsiteX112" fmla="*/ 2595716 w 2701062"/>
                <a:gd name="connsiteY112" fmla="*/ 2833727 h 3562719"/>
                <a:gd name="connsiteX113" fmla="*/ 2595716 w 2701062"/>
                <a:gd name="connsiteY113" fmla="*/ 2732595 h 3562719"/>
                <a:gd name="connsiteX114" fmla="*/ 2616785 w 2701062"/>
                <a:gd name="connsiteY114" fmla="*/ 2694671 h 3562719"/>
                <a:gd name="connsiteX115" fmla="*/ 2591502 w 2701062"/>
                <a:gd name="connsiteY115" fmla="*/ 2669388 h 3562719"/>
                <a:gd name="connsiteX116" fmla="*/ 2515653 w 2701062"/>
                <a:gd name="connsiteY116" fmla="*/ 2669388 h 3562719"/>
                <a:gd name="connsiteX117" fmla="*/ 2460874 w 2701062"/>
                <a:gd name="connsiteY117" fmla="*/ 2682029 h 3562719"/>
                <a:gd name="connsiteX118" fmla="*/ 2435591 w 2701062"/>
                <a:gd name="connsiteY118" fmla="*/ 2694671 h 3562719"/>
                <a:gd name="connsiteX119" fmla="*/ 2397666 w 2701062"/>
                <a:gd name="connsiteY119" fmla="*/ 2644105 h 3562719"/>
                <a:gd name="connsiteX120" fmla="*/ 2347100 w 2701062"/>
                <a:gd name="connsiteY120" fmla="*/ 2618822 h 3562719"/>
                <a:gd name="connsiteX121" fmla="*/ 2410308 w 2701062"/>
                <a:gd name="connsiteY121" fmla="*/ 2580898 h 3562719"/>
                <a:gd name="connsiteX122" fmla="*/ 2439804 w 2701062"/>
                <a:gd name="connsiteY122" fmla="*/ 2433414 h 3562719"/>
                <a:gd name="connsiteX123" fmla="*/ 2481943 w 2701062"/>
                <a:gd name="connsiteY123" fmla="*/ 2467124 h 3562719"/>
                <a:gd name="connsiteX124" fmla="*/ 2532509 w 2701062"/>
                <a:gd name="connsiteY124" fmla="*/ 2395489 h 3562719"/>
                <a:gd name="connsiteX125" fmla="*/ 2545150 w 2701062"/>
                <a:gd name="connsiteY125" fmla="*/ 2357565 h 3562719"/>
                <a:gd name="connsiteX126" fmla="*/ 2633640 w 2701062"/>
                <a:gd name="connsiteY126" fmla="*/ 2243792 h 3562719"/>
                <a:gd name="connsiteX127" fmla="*/ 2650496 w 2701062"/>
                <a:gd name="connsiteY127" fmla="*/ 2151088 h 3562719"/>
                <a:gd name="connsiteX128" fmla="*/ 2696848 w 2701062"/>
                <a:gd name="connsiteY128" fmla="*/ 2075239 h 3562719"/>
                <a:gd name="connsiteX129" fmla="*/ 2701062 w 2701062"/>
                <a:gd name="connsiteY129" fmla="*/ 1868761 h 3562719"/>
                <a:gd name="connsiteX130" fmla="*/ 2503012 w 2701062"/>
                <a:gd name="connsiteY130" fmla="*/ 1733919 h 3562719"/>
                <a:gd name="connsiteX131" fmla="*/ 2237541 w 2701062"/>
                <a:gd name="connsiteY131" fmla="*/ 1704422 h 3562719"/>
                <a:gd name="connsiteX132" fmla="*/ 2161692 w 2701062"/>
                <a:gd name="connsiteY132" fmla="*/ 1792912 h 3562719"/>
                <a:gd name="connsiteX133" fmla="*/ 2123768 w 2701062"/>
                <a:gd name="connsiteY133" fmla="*/ 1784485 h 3562719"/>
                <a:gd name="connsiteX134" fmla="*/ 2111126 w 2701062"/>
                <a:gd name="connsiteY134" fmla="*/ 1733919 h 3562719"/>
                <a:gd name="connsiteX135" fmla="*/ 2203830 w 2701062"/>
                <a:gd name="connsiteY135" fmla="*/ 1637001 h 3562719"/>
                <a:gd name="connsiteX136" fmla="*/ 2178547 w 2701062"/>
                <a:gd name="connsiteY136" fmla="*/ 1497945 h 3562719"/>
                <a:gd name="connsiteX137" fmla="*/ 2090057 w 2701062"/>
                <a:gd name="connsiteY137" fmla="*/ 1405241 h 3562719"/>
                <a:gd name="connsiteX138" fmla="*/ 2056346 w 2701062"/>
                <a:gd name="connsiteY138" fmla="*/ 1375744 h 3562719"/>
                <a:gd name="connsiteX139" fmla="*/ 2127981 w 2701062"/>
                <a:gd name="connsiteY139" fmla="*/ 1363102 h 3562719"/>
                <a:gd name="connsiteX140" fmla="*/ 2127981 w 2701062"/>
                <a:gd name="connsiteY140" fmla="*/ 1329392 h 3562719"/>
                <a:gd name="connsiteX141" fmla="*/ 2031063 w 2701062"/>
                <a:gd name="connsiteY141" fmla="*/ 1202977 h 3562719"/>
                <a:gd name="connsiteX142" fmla="*/ 2022636 w 2701062"/>
                <a:gd name="connsiteY142" fmla="*/ 1118700 h 3562719"/>
                <a:gd name="connsiteX143" fmla="*/ 2056346 w 2701062"/>
                <a:gd name="connsiteY143" fmla="*/ 1055493 h 3562719"/>
                <a:gd name="connsiteX144" fmla="*/ 2039491 w 2701062"/>
                <a:gd name="connsiteY144" fmla="*/ 1021782 h 3562719"/>
                <a:gd name="connsiteX145" fmla="*/ 1967856 w 2701062"/>
                <a:gd name="connsiteY145" fmla="*/ 1000713 h 3562719"/>
                <a:gd name="connsiteX146" fmla="*/ 1929932 w 2701062"/>
                <a:gd name="connsiteY146" fmla="*/ 941720 h 3562719"/>
                <a:gd name="connsiteX147" fmla="*/ 1934146 w 2701062"/>
                <a:gd name="connsiteY147" fmla="*/ 882726 h 3562719"/>
                <a:gd name="connsiteX148" fmla="*/ 1727668 w 2701062"/>
                <a:gd name="connsiteY148" fmla="*/ 764739 h 3562719"/>
                <a:gd name="connsiteX149" fmla="*/ 1664461 w 2701062"/>
                <a:gd name="connsiteY149" fmla="*/ 705746 h 3562719"/>
                <a:gd name="connsiteX150" fmla="*/ 1516977 w 2701062"/>
                <a:gd name="connsiteY150" fmla="*/ 166377 h 3562719"/>
                <a:gd name="connsiteX151" fmla="*/ 1407417 w 2701062"/>
                <a:gd name="connsiteY151" fmla="*/ 48391 h 3562719"/>
                <a:gd name="connsiteX152" fmla="*/ 1327354 w 2701062"/>
                <a:gd name="connsiteY152" fmla="*/ 23107 h 3562719"/>
                <a:gd name="connsiteX0" fmla="*/ 1327354 w 2701062"/>
                <a:gd name="connsiteY0" fmla="*/ 80063 h 3619675"/>
                <a:gd name="connsiteX1" fmla="*/ 1344210 w 2701062"/>
                <a:gd name="connsiteY1" fmla="*/ 0 h 3619675"/>
                <a:gd name="connsiteX2" fmla="*/ 1264148 w 2701062"/>
                <a:gd name="connsiteY2" fmla="*/ 164339 h 3619675"/>
                <a:gd name="connsiteX3" fmla="*/ 1281002 w 2701062"/>
                <a:gd name="connsiteY3" fmla="*/ 303396 h 3619675"/>
                <a:gd name="connsiteX4" fmla="*/ 1141946 w 2701062"/>
                <a:gd name="connsiteY4" fmla="*/ 438238 h 3619675"/>
                <a:gd name="connsiteX5" fmla="*/ 876475 w 2701062"/>
                <a:gd name="connsiteY5" fmla="*/ 695280 h 3619675"/>
                <a:gd name="connsiteX6" fmla="*/ 804840 w 2701062"/>
                <a:gd name="connsiteY6" fmla="*/ 766915 h 3619675"/>
                <a:gd name="connsiteX7" fmla="*/ 813268 w 2701062"/>
                <a:gd name="connsiteY7" fmla="*/ 897544 h 3619675"/>
                <a:gd name="connsiteX8" fmla="*/ 897545 w 2701062"/>
                <a:gd name="connsiteY8" fmla="*/ 1066097 h 3619675"/>
                <a:gd name="connsiteX9" fmla="*/ 943897 w 2701062"/>
                <a:gd name="connsiteY9" fmla="*/ 1150373 h 3619675"/>
                <a:gd name="connsiteX10" fmla="*/ 964966 w 2701062"/>
                <a:gd name="connsiteY10" fmla="*/ 1179870 h 3619675"/>
                <a:gd name="connsiteX11" fmla="*/ 994463 w 2701062"/>
                <a:gd name="connsiteY11" fmla="*/ 1154587 h 3619675"/>
                <a:gd name="connsiteX12" fmla="*/ 1011318 w 2701062"/>
                <a:gd name="connsiteY12" fmla="*/ 1099808 h 3619675"/>
                <a:gd name="connsiteX13" fmla="*/ 1057670 w 2701062"/>
                <a:gd name="connsiteY13" fmla="*/ 1091380 h 3619675"/>
                <a:gd name="connsiteX14" fmla="*/ 1053456 w 2701062"/>
                <a:gd name="connsiteY14" fmla="*/ 1154587 h 3619675"/>
                <a:gd name="connsiteX15" fmla="*/ 1040815 w 2701062"/>
                <a:gd name="connsiteY15" fmla="*/ 1188298 h 3619675"/>
                <a:gd name="connsiteX16" fmla="*/ 1049242 w 2701062"/>
                <a:gd name="connsiteY16" fmla="*/ 1213581 h 3619675"/>
                <a:gd name="connsiteX17" fmla="*/ 986035 w 2701062"/>
                <a:gd name="connsiteY17" fmla="*/ 1230436 h 3619675"/>
                <a:gd name="connsiteX18" fmla="*/ 1011318 w 2701062"/>
                <a:gd name="connsiteY18" fmla="*/ 1365279 h 3619675"/>
                <a:gd name="connsiteX19" fmla="*/ 1049242 w 2701062"/>
                <a:gd name="connsiteY19" fmla="*/ 1361065 h 3619675"/>
                <a:gd name="connsiteX20" fmla="*/ 1040815 w 2701062"/>
                <a:gd name="connsiteY20" fmla="*/ 1424272 h 3619675"/>
                <a:gd name="connsiteX21" fmla="*/ 981821 w 2701062"/>
                <a:gd name="connsiteY21" fmla="*/ 1457983 h 3619675"/>
                <a:gd name="connsiteX22" fmla="*/ 931255 w 2701062"/>
                <a:gd name="connsiteY22" fmla="*/ 1457983 h 3619675"/>
                <a:gd name="connsiteX23" fmla="*/ 897545 w 2701062"/>
                <a:gd name="connsiteY23" fmla="*/ 1521190 h 3619675"/>
                <a:gd name="connsiteX24" fmla="*/ 901758 w 2701062"/>
                <a:gd name="connsiteY24" fmla="*/ 1550687 h 3619675"/>
                <a:gd name="connsiteX25" fmla="*/ 948110 w 2701062"/>
                <a:gd name="connsiteY25" fmla="*/ 1559114 h 3619675"/>
                <a:gd name="connsiteX26" fmla="*/ 931255 w 2701062"/>
                <a:gd name="connsiteY26" fmla="*/ 1597039 h 3619675"/>
                <a:gd name="connsiteX27" fmla="*/ 952324 w 2701062"/>
                <a:gd name="connsiteY27" fmla="*/ 1605467 h 3619675"/>
                <a:gd name="connsiteX28" fmla="*/ 1015532 w 2701062"/>
                <a:gd name="connsiteY28" fmla="*/ 1609680 h 3619675"/>
                <a:gd name="connsiteX29" fmla="*/ 1040815 w 2701062"/>
                <a:gd name="connsiteY29" fmla="*/ 1647605 h 3619675"/>
                <a:gd name="connsiteX30" fmla="*/ 1036601 w 2701062"/>
                <a:gd name="connsiteY30" fmla="*/ 1685529 h 3619675"/>
                <a:gd name="connsiteX31" fmla="*/ 1104022 w 2701062"/>
                <a:gd name="connsiteY31" fmla="*/ 1786661 h 3619675"/>
                <a:gd name="connsiteX32" fmla="*/ 1053456 w 2701062"/>
                <a:gd name="connsiteY32" fmla="*/ 1811944 h 3619675"/>
                <a:gd name="connsiteX33" fmla="*/ 998676 w 2701062"/>
                <a:gd name="connsiteY33" fmla="*/ 1807730 h 3619675"/>
                <a:gd name="connsiteX34" fmla="*/ 964966 w 2701062"/>
                <a:gd name="connsiteY34" fmla="*/ 1887793 h 3619675"/>
                <a:gd name="connsiteX35" fmla="*/ 1015532 w 2701062"/>
                <a:gd name="connsiteY35" fmla="*/ 1929931 h 3619675"/>
                <a:gd name="connsiteX36" fmla="*/ 994463 w 2701062"/>
                <a:gd name="connsiteY36" fmla="*/ 2026849 h 3619675"/>
                <a:gd name="connsiteX37" fmla="*/ 1019746 w 2701062"/>
                <a:gd name="connsiteY37" fmla="*/ 2060560 h 3619675"/>
                <a:gd name="connsiteX38" fmla="*/ 990249 w 2701062"/>
                <a:gd name="connsiteY38" fmla="*/ 2094270 h 3619675"/>
                <a:gd name="connsiteX39" fmla="*/ 948110 w 2701062"/>
                <a:gd name="connsiteY39" fmla="*/ 2094270 h 3619675"/>
                <a:gd name="connsiteX40" fmla="*/ 939683 w 2701062"/>
                <a:gd name="connsiteY40" fmla="*/ 2132195 h 3619675"/>
                <a:gd name="connsiteX41" fmla="*/ 994463 w 2701062"/>
                <a:gd name="connsiteY41" fmla="*/ 2178547 h 3619675"/>
                <a:gd name="connsiteX42" fmla="*/ 981821 w 2701062"/>
                <a:gd name="connsiteY42" fmla="*/ 2359741 h 3619675"/>
                <a:gd name="connsiteX43" fmla="*/ 1015532 w 2701062"/>
                <a:gd name="connsiteY43" fmla="*/ 2439804 h 3619675"/>
                <a:gd name="connsiteX44" fmla="*/ 1049242 w 2701062"/>
                <a:gd name="connsiteY44" fmla="*/ 2439804 h 3619675"/>
                <a:gd name="connsiteX45" fmla="*/ 1129305 w 2701062"/>
                <a:gd name="connsiteY45" fmla="*/ 2507225 h 3619675"/>
                <a:gd name="connsiteX46" fmla="*/ 1125091 w 2701062"/>
                <a:gd name="connsiteY46" fmla="*/ 2637854 h 3619675"/>
                <a:gd name="connsiteX47" fmla="*/ 1087167 w 2701062"/>
                <a:gd name="connsiteY47" fmla="*/ 2701061 h 3619675"/>
                <a:gd name="connsiteX48" fmla="*/ 1015532 w 2701062"/>
                <a:gd name="connsiteY48" fmla="*/ 2768482 h 3619675"/>
                <a:gd name="connsiteX49" fmla="*/ 1007104 w 2701062"/>
                <a:gd name="connsiteY49" fmla="*/ 2856973 h 3619675"/>
                <a:gd name="connsiteX50" fmla="*/ 922828 w 2701062"/>
                <a:gd name="connsiteY50" fmla="*/ 2869614 h 3619675"/>
                <a:gd name="connsiteX51" fmla="*/ 868048 w 2701062"/>
                <a:gd name="connsiteY51" fmla="*/ 2873828 h 3619675"/>
                <a:gd name="connsiteX52" fmla="*/ 830123 w 2701062"/>
                <a:gd name="connsiteY52" fmla="*/ 2835903 h 3619675"/>
                <a:gd name="connsiteX53" fmla="*/ 577294 w 2701062"/>
                <a:gd name="connsiteY53" fmla="*/ 2856973 h 3619675"/>
                <a:gd name="connsiteX54" fmla="*/ 568866 w 2701062"/>
                <a:gd name="connsiteY54" fmla="*/ 2962318 h 3619675"/>
                <a:gd name="connsiteX55" fmla="*/ 514087 w 2701062"/>
                <a:gd name="connsiteY55" fmla="*/ 2996029 h 3619675"/>
                <a:gd name="connsiteX56" fmla="*/ 484590 w 2701062"/>
                <a:gd name="connsiteY56" fmla="*/ 2962318 h 3619675"/>
                <a:gd name="connsiteX57" fmla="*/ 446665 w 2701062"/>
                <a:gd name="connsiteY57" fmla="*/ 2987601 h 3619675"/>
                <a:gd name="connsiteX58" fmla="*/ 434024 w 2701062"/>
                <a:gd name="connsiteY58" fmla="*/ 3105588 h 3619675"/>
                <a:gd name="connsiteX59" fmla="*/ 328678 w 2701062"/>
                <a:gd name="connsiteY59" fmla="*/ 3232003 h 3619675"/>
                <a:gd name="connsiteX60" fmla="*/ 273899 w 2701062"/>
                <a:gd name="connsiteY60" fmla="*/ 3244644 h 3619675"/>
                <a:gd name="connsiteX61" fmla="*/ 252829 w 2701062"/>
                <a:gd name="connsiteY61" fmla="*/ 3295210 h 3619675"/>
                <a:gd name="connsiteX62" fmla="*/ 202263 w 2701062"/>
                <a:gd name="connsiteY62" fmla="*/ 3375273 h 3619675"/>
                <a:gd name="connsiteX63" fmla="*/ 164339 w 2701062"/>
                <a:gd name="connsiteY63" fmla="*/ 3404770 h 3619675"/>
                <a:gd name="connsiteX64" fmla="*/ 75849 w 2701062"/>
                <a:gd name="connsiteY64" fmla="*/ 3434267 h 3619675"/>
                <a:gd name="connsiteX65" fmla="*/ 12641 w 2701062"/>
                <a:gd name="connsiteY65" fmla="*/ 3467977 h 3619675"/>
                <a:gd name="connsiteX66" fmla="*/ 0 w 2701062"/>
                <a:gd name="connsiteY66" fmla="*/ 3548040 h 3619675"/>
                <a:gd name="connsiteX67" fmla="*/ 63207 w 2701062"/>
                <a:gd name="connsiteY67" fmla="*/ 3543826 h 3619675"/>
                <a:gd name="connsiteX68" fmla="*/ 96918 w 2701062"/>
                <a:gd name="connsiteY68" fmla="*/ 3497474 h 3619675"/>
                <a:gd name="connsiteX69" fmla="*/ 155911 w 2701062"/>
                <a:gd name="connsiteY69" fmla="*/ 3539612 h 3619675"/>
                <a:gd name="connsiteX70" fmla="*/ 164339 w 2701062"/>
                <a:gd name="connsiteY70" fmla="*/ 3619675 h 3619675"/>
                <a:gd name="connsiteX71" fmla="*/ 265471 w 2701062"/>
                <a:gd name="connsiteY71" fmla="*/ 3569109 h 3619675"/>
                <a:gd name="connsiteX72" fmla="*/ 252829 w 2701062"/>
                <a:gd name="connsiteY72" fmla="*/ 3510115 h 3619675"/>
                <a:gd name="connsiteX73" fmla="*/ 307609 w 2701062"/>
                <a:gd name="connsiteY73" fmla="*/ 3467977 h 3619675"/>
                <a:gd name="connsiteX74" fmla="*/ 345534 w 2701062"/>
                <a:gd name="connsiteY74" fmla="*/ 3430053 h 3619675"/>
                <a:gd name="connsiteX75" fmla="*/ 375030 w 2701062"/>
                <a:gd name="connsiteY75" fmla="*/ 3387914 h 3619675"/>
                <a:gd name="connsiteX76" fmla="*/ 497231 w 2701062"/>
                <a:gd name="connsiteY76" fmla="*/ 3396342 h 3619675"/>
                <a:gd name="connsiteX77" fmla="*/ 497231 w 2701062"/>
                <a:gd name="connsiteY77" fmla="*/ 3396342 h 3619675"/>
                <a:gd name="connsiteX78" fmla="*/ 568866 w 2701062"/>
                <a:gd name="connsiteY78" fmla="*/ 3430053 h 3619675"/>
                <a:gd name="connsiteX79" fmla="*/ 589935 w 2701062"/>
                <a:gd name="connsiteY79" fmla="*/ 3408984 h 3619675"/>
                <a:gd name="connsiteX80" fmla="*/ 648929 w 2701062"/>
                <a:gd name="connsiteY80" fmla="*/ 3438480 h 3619675"/>
                <a:gd name="connsiteX81" fmla="*/ 674212 w 2701062"/>
                <a:gd name="connsiteY81" fmla="*/ 3434267 h 3619675"/>
                <a:gd name="connsiteX82" fmla="*/ 720564 w 2701062"/>
                <a:gd name="connsiteY82" fmla="*/ 3497474 h 3619675"/>
                <a:gd name="connsiteX83" fmla="*/ 754275 w 2701062"/>
                <a:gd name="connsiteY83" fmla="*/ 3489046 h 3619675"/>
                <a:gd name="connsiteX84" fmla="*/ 804840 w 2701062"/>
                <a:gd name="connsiteY84" fmla="*/ 3413197 h 3619675"/>
                <a:gd name="connsiteX85" fmla="*/ 842765 w 2701062"/>
                <a:gd name="connsiteY85" fmla="*/ 3379487 h 3619675"/>
                <a:gd name="connsiteX86" fmla="*/ 830123 w 2701062"/>
                <a:gd name="connsiteY86" fmla="*/ 3324707 h 3619675"/>
                <a:gd name="connsiteX87" fmla="*/ 859620 w 2701062"/>
                <a:gd name="connsiteY87" fmla="*/ 3269927 h 3619675"/>
                <a:gd name="connsiteX88" fmla="*/ 918614 w 2701062"/>
                <a:gd name="connsiteY88" fmla="*/ 3219362 h 3619675"/>
                <a:gd name="connsiteX89" fmla="*/ 1011318 w 2701062"/>
                <a:gd name="connsiteY89" fmla="*/ 3202506 h 3619675"/>
                <a:gd name="connsiteX90" fmla="*/ 1078739 w 2701062"/>
                <a:gd name="connsiteY90" fmla="*/ 3189865 h 3619675"/>
                <a:gd name="connsiteX91" fmla="*/ 1163016 w 2701062"/>
                <a:gd name="connsiteY91" fmla="*/ 3261500 h 3619675"/>
                <a:gd name="connsiteX92" fmla="*/ 1222009 w 2701062"/>
                <a:gd name="connsiteY92" fmla="*/ 3295210 h 3619675"/>
                <a:gd name="connsiteX93" fmla="*/ 1226223 w 2701062"/>
                <a:gd name="connsiteY93" fmla="*/ 3248858 h 3619675"/>
                <a:gd name="connsiteX94" fmla="*/ 1243078 w 2701062"/>
                <a:gd name="connsiteY94" fmla="*/ 3240431 h 3619675"/>
                <a:gd name="connsiteX95" fmla="*/ 1344210 w 2701062"/>
                <a:gd name="connsiteY95" fmla="*/ 3261500 h 3619675"/>
                <a:gd name="connsiteX96" fmla="*/ 1398990 w 2701062"/>
                <a:gd name="connsiteY96" fmla="*/ 3269927 h 3619675"/>
                <a:gd name="connsiteX97" fmla="*/ 1436914 w 2701062"/>
                <a:gd name="connsiteY97" fmla="*/ 3198292 h 3619675"/>
                <a:gd name="connsiteX98" fmla="*/ 1495908 w 2701062"/>
                <a:gd name="connsiteY98" fmla="*/ 3189865 h 3619675"/>
                <a:gd name="connsiteX99" fmla="*/ 1597040 w 2701062"/>
                <a:gd name="connsiteY99" fmla="*/ 3244644 h 3619675"/>
                <a:gd name="connsiteX100" fmla="*/ 1656033 w 2701062"/>
                <a:gd name="connsiteY100" fmla="*/ 3265714 h 3619675"/>
                <a:gd name="connsiteX101" fmla="*/ 1719240 w 2701062"/>
                <a:gd name="connsiteY101" fmla="*/ 3206720 h 3619675"/>
                <a:gd name="connsiteX102" fmla="*/ 1715027 w 2701062"/>
                <a:gd name="connsiteY102" fmla="*/ 3135085 h 3619675"/>
                <a:gd name="connsiteX103" fmla="*/ 1833014 w 2701062"/>
                <a:gd name="connsiteY103" fmla="*/ 3185651 h 3619675"/>
                <a:gd name="connsiteX104" fmla="*/ 1862510 w 2701062"/>
                <a:gd name="connsiteY104" fmla="*/ 3135085 h 3619675"/>
                <a:gd name="connsiteX105" fmla="*/ 2018422 w 2701062"/>
                <a:gd name="connsiteY105" fmla="*/ 3114016 h 3619675"/>
                <a:gd name="connsiteX106" fmla="*/ 2186975 w 2701062"/>
                <a:gd name="connsiteY106" fmla="*/ 3173009 h 3619675"/>
                <a:gd name="connsiteX107" fmla="*/ 2254396 w 2701062"/>
                <a:gd name="connsiteY107" fmla="*/ 3088733 h 3619675"/>
                <a:gd name="connsiteX108" fmla="*/ 2338673 w 2701062"/>
                <a:gd name="connsiteY108" fmla="*/ 3088733 h 3619675"/>
                <a:gd name="connsiteX109" fmla="*/ 2380811 w 2701062"/>
                <a:gd name="connsiteY109" fmla="*/ 3033953 h 3619675"/>
                <a:gd name="connsiteX110" fmla="*/ 2456660 w 2701062"/>
                <a:gd name="connsiteY110" fmla="*/ 3038167 h 3619675"/>
                <a:gd name="connsiteX111" fmla="*/ 2469301 w 2701062"/>
                <a:gd name="connsiteY111" fmla="*/ 2958104 h 3619675"/>
                <a:gd name="connsiteX112" fmla="*/ 2595716 w 2701062"/>
                <a:gd name="connsiteY112" fmla="*/ 2890683 h 3619675"/>
                <a:gd name="connsiteX113" fmla="*/ 2595716 w 2701062"/>
                <a:gd name="connsiteY113" fmla="*/ 2789551 h 3619675"/>
                <a:gd name="connsiteX114" fmla="*/ 2616785 w 2701062"/>
                <a:gd name="connsiteY114" fmla="*/ 2751627 h 3619675"/>
                <a:gd name="connsiteX115" fmla="*/ 2591502 w 2701062"/>
                <a:gd name="connsiteY115" fmla="*/ 2726344 h 3619675"/>
                <a:gd name="connsiteX116" fmla="*/ 2515653 w 2701062"/>
                <a:gd name="connsiteY116" fmla="*/ 2726344 h 3619675"/>
                <a:gd name="connsiteX117" fmla="*/ 2460874 w 2701062"/>
                <a:gd name="connsiteY117" fmla="*/ 2738985 h 3619675"/>
                <a:gd name="connsiteX118" fmla="*/ 2435591 w 2701062"/>
                <a:gd name="connsiteY118" fmla="*/ 2751627 h 3619675"/>
                <a:gd name="connsiteX119" fmla="*/ 2397666 w 2701062"/>
                <a:gd name="connsiteY119" fmla="*/ 2701061 h 3619675"/>
                <a:gd name="connsiteX120" fmla="*/ 2347100 w 2701062"/>
                <a:gd name="connsiteY120" fmla="*/ 2675778 h 3619675"/>
                <a:gd name="connsiteX121" fmla="*/ 2410308 w 2701062"/>
                <a:gd name="connsiteY121" fmla="*/ 2637854 h 3619675"/>
                <a:gd name="connsiteX122" fmla="*/ 2439804 w 2701062"/>
                <a:gd name="connsiteY122" fmla="*/ 2490370 h 3619675"/>
                <a:gd name="connsiteX123" fmla="*/ 2481943 w 2701062"/>
                <a:gd name="connsiteY123" fmla="*/ 2524080 h 3619675"/>
                <a:gd name="connsiteX124" fmla="*/ 2532509 w 2701062"/>
                <a:gd name="connsiteY124" fmla="*/ 2452445 h 3619675"/>
                <a:gd name="connsiteX125" fmla="*/ 2545150 w 2701062"/>
                <a:gd name="connsiteY125" fmla="*/ 2414521 h 3619675"/>
                <a:gd name="connsiteX126" fmla="*/ 2633640 w 2701062"/>
                <a:gd name="connsiteY126" fmla="*/ 2300748 h 3619675"/>
                <a:gd name="connsiteX127" fmla="*/ 2650496 w 2701062"/>
                <a:gd name="connsiteY127" fmla="*/ 2208044 h 3619675"/>
                <a:gd name="connsiteX128" fmla="*/ 2696848 w 2701062"/>
                <a:gd name="connsiteY128" fmla="*/ 2132195 h 3619675"/>
                <a:gd name="connsiteX129" fmla="*/ 2701062 w 2701062"/>
                <a:gd name="connsiteY129" fmla="*/ 1925717 h 3619675"/>
                <a:gd name="connsiteX130" fmla="*/ 2503012 w 2701062"/>
                <a:gd name="connsiteY130" fmla="*/ 1790875 h 3619675"/>
                <a:gd name="connsiteX131" fmla="*/ 2237541 w 2701062"/>
                <a:gd name="connsiteY131" fmla="*/ 1761378 h 3619675"/>
                <a:gd name="connsiteX132" fmla="*/ 2161692 w 2701062"/>
                <a:gd name="connsiteY132" fmla="*/ 1849868 h 3619675"/>
                <a:gd name="connsiteX133" fmla="*/ 2123768 w 2701062"/>
                <a:gd name="connsiteY133" fmla="*/ 1841441 h 3619675"/>
                <a:gd name="connsiteX134" fmla="*/ 2111126 w 2701062"/>
                <a:gd name="connsiteY134" fmla="*/ 1790875 h 3619675"/>
                <a:gd name="connsiteX135" fmla="*/ 2203830 w 2701062"/>
                <a:gd name="connsiteY135" fmla="*/ 1693957 h 3619675"/>
                <a:gd name="connsiteX136" fmla="*/ 2178547 w 2701062"/>
                <a:gd name="connsiteY136" fmla="*/ 1554901 h 3619675"/>
                <a:gd name="connsiteX137" fmla="*/ 2090057 w 2701062"/>
                <a:gd name="connsiteY137" fmla="*/ 1462197 h 3619675"/>
                <a:gd name="connsiteX138" fmla="*/ 2056346 w 2701062"/>
                <a:gd name="connsiteY138" fmla="*/ 1432700 h 3619675"/>
                <a:gd name="connsiteX139" fmla="*/ 2127981 w 2701062"/>
                <a:gd name="connsiteY139" fmla="*/ 1420058 h 3619675"/>
                <a:gd name="connsiteX140" fmla="*/ 2127981 w 2701062"/>
                <a:gd name="connsiteY140" fmla="*/ 1386348 h 3619675"/>
                <a:gd name="connsiteX141" fmla="*/ 2031063 w 2701062"/>
                <a:gd name="connsiteY141" fmla="*/ 1259933 h 3619675"/>
                <a:gd name="connsiteX142" fmla="*/ 2022636 w 2701062"/>
                <a:gd name="connsiteY142" fmla="*/ 1175656 h 3619675"/>
                <a:gd name="connsiteX143" fmla="*/ 2056346 w 2701062"/>
                <a:gd name="connsiteY143" fmla="*/ 1112449 h 3619675"/>
                <a:gd name="connsiteX144" fmla="*/ 2039491 w 2701062"/>
                <a:gd name="connsiteY144" fmla="*/ 1078738 h 3619675"/>
                <a:gd name="connsiteX145" fmla="*/ 1967856 w 2701062"/>
                <a:gd name="connsiteY145" fmla="*/ 1057669 h 3619675"/>
                <a:gd name="connsiteX146" fmla="*/ 1929932 w 2701062"/>
                <a:gd name="connsiteY146" fmla="*/ 998676 h 3619675"/>
                <a:gd name="connsiteX147" fmla="*/ 1934146 w 2701062"/>
                <a:gd name="connsiteY147" fmla="*/ 939682 h 3619675"/>
                <a:gd name="connsiteX148" fmla="*/ 1727668 w 2701062"/>
                <a:gd name="connsiteY148" fmla="*/ 821695 h 3619675"/>
                <a:gd name="connsiteX149" fmla="*/ 1664461 w 2701062"/>
                <a:gd name="connsiteY149" fmla="*/ 762702 h 3619675"/>
                <a:gd name="connsiteX150" fmla="*/ 1516977 w 2701062"/>
                <a:gd name="connsiteY150" fmla="*/ 223333 h 3619675"/>
                <a:gd name="connsiteX151" fmla="*/ 1407417 w 2701062"/>
                <a:gd name="connsiteY151" fmla="*/ 105347 h 3619675"/>
                <a:gd name="connsiteX152" fmla="*/ 1327354 w 2701062"/>
                <a:gd name="connsiteY152" fmla="*/ 80063 h 3619675"/>
                <a:gd name="connsiteX0" fmla="*/ 1382133 w 2701062"/>
                <a:gd name="connsiteY0" fmla="*/ 12642 h 3619675"/>
                <a:gd name="connsiteX1" fmla="*/ 1344210 w 2701062"/>
                <a:gd name="connsiteY1" fmla="*/ 0 h 3619675"/>
                <a:gd name="connsiteX2" fmla="*/ 1264148 w 2701062"/>
                <a:gd name="connsiteY2" fmla="*/ 164339 h 3619675"/>
                <a:gd name="connsiteX3" fmla="*/ 1281002 w 2701062"/>
                <a:gd name="connsiteY3" fmla="*/ 303396 h 3619675"/>
                <a:gd name="connsiteX4" fmla="*/ 1141946 w 2701062"/>
                <a:gd name="connsiteY4" fmla="*/ 438238 h 3619675"/>
                <a:gd name="connsiteX5" fmla="*/ 876475 w 2701062"/>
                <a:gd name="connsiteY5" fmla="*/ 695280 h 3619675"/>
                <a:gd name="connsiteX6" fmla="*/ 804840 w 2701062"/>
                <a:gd name="connsiteY6" fmla="*/ 766915 h 3619675"/>
                <a:gd name="connsiteX7" fmla="*/ 813268 w 2701062"/>
                <a:gd name="connsiteY7" fmla="*/ 897544 h 3619675"/>
                <a:gd name="connsiteX8" fmla="*/ 897545 w 2701062"/>
                <a:gd name="connsiteY8" fmla="*/ 1066097 h 3619675"/>
                <a:gd name="connsiteX9" fmla="*/ 943897 w 2701062"/>
                <a:gd name="connsiteY9" fmla="*/ 1150373 h 3619675"/>
                <a:gd name="connsiteX10" fmla="*/ 964966 w 2701062"/>
                <a:gd name="connsiteY10" fmla="*/ 1179870 h 3619675"/>
                <a:gd name="connsiteX11" fmla="*/ 994463 w 2701062"/>
                <a:gd name="connsiteY11" fmla="*/ 1154587 h 3619675"/>
                <a:gd name="connsiteX12" fmla="*/ 1011318 w 2701062"/>
                <a:gd name="connsiteY12" fmla="*/ 1099808 h 3619675"/>
                <a:gd name="connsiteX13" fmla="*/ 1057670 w 2701062"/>
                <a:gd name="connsiteY13" fmla="*/ 1091380 h 3619675"/>
                <a:gd name="connsiteX14" fmla="*/ 1053456 w 2701062"/>
                <a:gd name="connsiteY14" fmla="*/ 1154587 h 3619675"/>
                <a:gd name="connsiteX15" fmla="*/ 1040815 w 2701062"/>
                <a:gd name="connsiteY15" fmla="*/ 1188298 h 3619675"/>
                <a:gd name="connsiteX16" fmla="*/ 1049242 w 2701062"/>
                <a:gd name="connsiteY16" fmla="*/ 1213581 h 3619675"/>
                <a:gd name="connsiteX17" fmla="*/ 986035 w 2701062"/>
                <a:gd name="connsiteY17" fmla="*/ 1230436 h 3619675"/>
                <a:gd name="connsiteX18" fmla="*/ 1011318 w 2701062"/>
                <a:gd name="connsiteY18" fmla="*/ 1365279 h 3619675"/>
                <a:gd name="connsiteX19" fmla="*/ 1049242 w 2701062"/>
                <a:gd name="connsiteY19" fmla="*/ 1361065 h 3619675"/>
                <a:gd name="connsiteX20" fmla="*/ 1040815 w 2701062"/>
                <a:gd name="connsiteY20" fmla="*/ 1424272 h 3619675"/>
                <a:gd name="connsiteX21" fmla="*/ 981821 w 2701062"/>
                <a:gd name="connsiteY21" fmla="*/ 1457983 h 3619675"/>
                <a:gd name="connsiteX22" fmla="*/ 931255 w 2701062"/>
                <a:gd name="connsiteY22" fmla="*/ 1457983 h 3619675"/>
                <a:gd name="connsiteX23" fmla="*/ 897545 w 2701062"/>
                <a:gd name="connsiteY23" fmla="*/ 1521190 h 3619675"/>
                <a:gd name="connsiteX24" fmla="*/ 901758 w 2701062"/>
                <a:gd name="connsiteY24" fmla="*/ 1550687 h 3619675"/>
                <a:gd name="connsiteX25" fmla="*/ 948110 w 2701062"/>
                <a:gd name="connsiteY25" fmla="*/ 1559114 h 3619675"/>
                <a:gd name="connsiteX26" fmla="*/ 931255 w 2701062"/>
                <a:gd name="connsiteY26" fmla="*/ 1597039 h 3619675"/>
                <a:gd name="connsiteX27" fmla="*/ 952324 w 2701062"/>
                <a:gd name="connsiteY27" fmla="*/ 1605467 h 3619675"/>
                <a:gd name="connsiteX28" fmla="*/ 1015532 w 2701062"/>
                <a:gd name="connsiteY28" fmla="*/ 1609680 h 3619675"/>
                <a:gd name="connsiteX29" fmla="*/ 1040815 w 2701062"/>
                <a:gd name="connsiteY29" fmla="*/ 1647605 h 3619675"/>
                <a:gd name="connsiteX30" fmla="*/ 1036601 w 2701062"/>
                <a:gd name="connsiteY30" fmla="*/ 1685529 h 3619675"/>
                <a:gd name="connsiteX31" fmla="*/ 1104022 w 2701062"/>
                <a:gd name="connsiteY31" fmla="*/ 1786661 h 3619675"/>
                <a:gd name="connsiteX32" fmla="*/ 1053456 w 2701062"/>
                <a:gd name="connsiteY32" fmla="*/ 1811944 h 3619675"/>
                <a:gd name="connsiteX33" fmla="*/ 998676 w 2701062"/>
                <a:gd name="connsiteY33" fmla="*/ 1807730 h 3619675"/>
                <a:gd name="connsiteX34" fmla="*/ 964966 w 2701062"/>
                <a:gd name="connsiteY34" fmla="*/ 1887793 h 3619675"/>
                <a:gd name="connsiteX35" fmla="*/ 1015532 w 2701062"/>
                <a:gd name="connsiteY35" fmla="*/ 1929931 h 3619675"/>
                <a:gd name="connsiteX36" fmla="*/ 994463 w 2701062"/>
                <a:gd name="connsiteY36" fmla="*/ 2026849 h 3619675"/>
                <a:gd name="connsiteX37" fmla="*/ 1019746 w 2701062"/>
                <a:gd name="connsiteY37" fmla="*/ 2060560 h 3619675"/>
                <a:gd name="connsiteX38" fmla="*/ 990249 w 2701062"/>
                <a:gd name="connsiteY38" fmla="*/ 2094270 h 3619675"/>
                <a:gd name="connsiteX39" fmla="*/ 948110 w 2701062"/>
                <a:gd name="connsiteY39" fmla="*/ 2094270 h 3619675"/>
                <a:gd name="connsiteX40" fmla="*/ 939683 w 2701062"/>
                <a:gd name="connsiteY40" fmla="*/ 2132195 h 3619675"/>
                <a:gd name="connsiteX41" fmla="*/ 994463 w 2701062"/>
                <a:gd name="connsiteY41" fmla="*/ 2178547 h 3619675"/>
                <a:gd name="connsiteX42" fmla="*/ 981821 w 2701062"/>
                <a:gd name="connsiteY42" fmla="*/ 2359741 h 3619675"/>
                <a:gd name="connsiteX43" fmla="*/ 1015532 w 2701062"/>
                <a:gd name="connsiteY43" fmla="*/ 2439804 h 3619675"/>
                <a:gd name="connsiteX44" fmla="*/ 1049242 w 2701062"/>
                <a:gd name="connsiteY44" fmla="*/ 2439804 h 3619675"/>
                <a:gd name="connsiteX45" fmla="*/ 1129305 w 2701062"/>
                <a:gd name="connsiteY45" fmla="*/ 2507225 h 3619675"/>
                <a:gd name="connsiteX46" fmla="*/ 1125091 w 2701062"/>
                <a:gd name="connsiteY46" fmla="*/ 2637854 h 3619675"/>
                <a:gd name="connsiteX47" fmla="*/ 1087167 w 2701062"/>
                <a:gd name="connsiteY47" fmla="*/ 2701061 h 3619675"/>
                <a:gd name="connsiteX48" fmla="*/ 1015532 w 2701062"/>
                <a:gd name="connsiteY48" fmla="*/ 2768482 h 3619675"/>
                <a:gd name="connsiteX49" fmla="*/ 1007104 w 2701062"/>
                <a:gd name="connsiteY49" fmla="*/ 2856973 h 3619675"/>
                <a:gd name="connsiteX50" fmla="*/ 922828 w 2701062"/>
                <a:gd name="connsiteY50" fmla="*/ 2869614 h 3619675"/>
                <a:gd name="connsiteX51" fmla="*/ 868048 w 2701062"/>
                <a:gd name="connsiteY51" fmla="*/ 2873828 h 3619675"/>
                <a:gd name="connsiteX52" fmla="*/ 830123 w 2701062"/>
                <a:gd name="connsiteY52" fmla="*/ 2835903 h 3619675"/>
                <a:gd name="connsiteX53" fmla="*/ 577294 w 2701062"/>
                <a:gd name="connsiteY53" fmla="*/ 2856973 h 3619675"/>
                <a:gd name="connsiteX54" fmla="*/ 568866 w 2701062"/>
                <a:gd name="connsiteY54" fmla="*/ 2962318 h 3619675"/>
                <a:gd name="connsiteX55" fmla="*/ 514087 w 2701062"/>
                <a:gd name="connsiteY55" fmla="*/ 2996029 h 3619675"/>
                <a:gd name="connsiteX56" fmla="*/ 484590 w 2701062"/>
                <a:gd name="connsiteY56" fmla="*/ 2962318 h 3619675"/>
                <a:gd name="connsiteX57" fmla="*/ 446665 w 2701062"/>
                <a:gd name="connsiteY57" fmla="*/ 2987601 h 3619675"/>
                <a:gd name="connsiteX58" fmla="*/ 434024 w 2701062"/>
                <a:gd name="connsiteY58" fmla="*/ 3105588 h 3619675"/>
                <a:gd name="connsiteX59" fmla="*/ 328678 w 2701062"/>
                <a:gd name="connsiteY59" fmla="*/ 3232003 h 3619675"/>
                <a:gd name="connsiteX60" fmla="*/ 273899 w 2701062"/>
                <a:gd name="connsiteY60" fmla="*/ 3244644 h 3619675"/>
                <a:gd name="connsiteX61" fmla="*/ 252829 w 2701062"/>
                <a:gd name="connsiteY61" fmla="*/ 3295210 h 3619675"/>
                <a:gd name="connsiteX62" fmla="*/ 202263 w 2701062"/>
                <a:gd name="connsiteY62" fmla="*/ 3375273 h 3619675"/>
                <a:gd name="connsiteX63" fmla="*/ 164339 w 2701062"/>
                <a:gd name="connsiteY63" fmla="*/ 3404770 h 3619675"/>
                <a:gd name="connsiteX64" fmla="*/ 75849 w 2701062"/>
                <a:gd name="connsiteY64" fmla="*/ 3434267 h 3619675"/>
                <a:gd name="connsiteX65" fmla="*/ 12641 w 2701062"/>
                <a:gd name="connsiteY65" fmla="*/ 3467977 h 3619675"/>
                <a:gd name="connsiteX66" fmla="*/ 0 w 2701062"/>
                <a:gd name="connsiteY66" fmla="*/ 3548040 h 3619675"/>
                <a:gd name="connsiteX67" fmla="*/ 63207 w 2701062"/>
                <a:gd name="connsiteY67" fmla="*/ 3543826 h 3619675"/>
                <a:gd name="connsiteX68" fmla="*/ 96918 w 2701062"/>
                <a:gd name="connsiteY68" fmla="*/ 3497474 h 3619675"/>
                <a:gd name="connsiteX69" fmla="*/ 155911 w 2701062"/>
                <a:gd name="connsiteY69" fmla="*/ 3539612 h 3619675"/>
                <a:gd name="connsiteX70" fmla="*/ 164339 w 2701062"/>
                <a:gd name="connsiteY70" fmla="*/ 3619675 h 3619675"/>
                <a:gd name="connsiteX71" fmla="*/ 265471 w 2701062"/>
                <a:gd name="connsiteY71" fmla="*/ 3569109 h 3619675"/>
                <a:gd name="connsiteX72" fmla="*/ 252829 w 2701062"/>
                <a:gd name="connsiteY72" fmla="*/ 3510115 h 3619675"/>
                <a:gd name="connsiteX73" fmla="*/ 307609 w 2701062"/>
                <a:gd name="connsiteY73" fmla="*/ 3467977 h 3619675"/>
                <a:gd name="connsiteX74" fmla="*/ 345534 w 2701062"/>
                <a:gd name="connsiteY74" fmla="*/ 3430053 h 3619675"/>
                <a:gd name="connsiteX75" fmla="*/ 375030 w 2701062"/>
                <a:gd name="connsiteY75" fmla="*/ 3387914 h 3619675"/>
                <a:gd name="connsiteX76" fmla="*/ 497231 w 2701062"/>
                <a:gd name="connsiteY76" fmla="*/ 3396342 h 3619675"/>
                <a:gd name="connsiteX77" fmla="*/ 497231 w 2701062"/>
                <a:gd name="connsiteY77" fmla="*/ 3396342 h 3619675"/>
                <a:gd name="connsiteX78" fmla="*/ 568866 w 2701062"/>
                <a:gd name="connsiteY78" fmla="*/ 3430053 h 3619675"/>
                <a:gd name="connsiteX79" fmla="*/ 589935 w 2701062"/>
                <a:gd name="connsiteY79" fmla="*/ 3408984 h 3619675"/>
                <a:gd name="connsiteX80" fmla="*/ 648929 w 2701062"/>
                <a:gd name="connsiteY80" fmla="*/ 3438480 h 3619675"/>
                <a:gd name="connsiteX81" fmla="*/ 674212 w 2701062"/>
                <a:gd name="connsiteY81" fmla="*/ 3434267 h 3619675"/>
                <a:gd name="connsiteX82" fmla="*/ 720564 w 2701062"/>
                <a:gd name="connsiteY82" fmla="*/ 3497474 h 3619675"/>
                <a:gd name="connsiteX83" fmla="*/ 754275 w 2701062"/>
                <a:gd name="connsiteY83" fmla="*/ 3489046 h 3619675"/>
                <a:gd name="connsiteX84" fmla="*/ 804840 w 2701062"/>
                <a:gd name="connsiteY84" fmla="*/ 3413197 h 3619675"/>
                <a:gd name="connsiteX85" fmla="*/ 842765 w 2701062"/>
                <a:gd name="connsiteY85" fmla="*/ 3379487 h 3619675"/>
                <a:gd name="connsiteX86" fmla="*/ 830123 w 2701062"/>
                <a:gd name="connsiteY86" fmla="*/ 3324707 h 3619675"/>
                <a:gd name="connsiteX87" fmla="*/ 859620 w 2701062"/>
                <a:gd name="connsiteY87" fmla="*/ 3269927 h 3619675"/>
                <a:gd name="connsiteX88" fmla="*/ 918614 w 2701062"/>
                <a:gd name="connsiteY88" fmla="*/ 3219362 h 3619675"/>
                <a:gd name="connsiteX89" fmla="*/ 1011318 w 2701062"/>
                <a:gd name="connsiteY89" fmla="*/ 3202506 h 3619675"/>
                <a:gd name="connsiteX90" fmla="*/ 1078739 w 2701062"/>
                <a:gd name="connsiteY90" fmla="*/ 3189865 h 3619675"/>
                <a:gd name="connsiteX91" fmla="*/ 1163016 w 2701062"/>
                <a:gd name="connsiteY91" fmla="*/ 3261500 h 3619675"/>
                <a:gd name="connsiteX92" fmla="*/ 1222009 w 2701062"/>
                <a:gd name="connsiteY92" fmla="*/ 3295210 h 3619675"/>
                <a:gd name="connsiteX93" fmla="*/ 1226223 w 2701062"/>
                <a:gd name="connsiteY93" fmla="*/ 3248858 h 3619675"/>
                <a:gd name="connsiteX94" fmla="*/ 1243078 w 2701062"/>
                <a:gd name="connsiteY94" fmla="*/ 3240431 h 3619675"/>
                <a:gd name="connsiteX95" fmla="*/ 1344210 w 2701062"/>
                <a:gd name="connsiteY95" fmla="*/ 3261500 h 3619675"/>
                <a:gd name="connsiteX96" fmla="*/ 1398990 w 2701062"/>
                <a:gd name="connsiteY96" fmla="*/ 3269927 h 3619675"/>
                <a:gd name="connsiteX97" fmla="*/ 1436914 w 2701062"/>
                <a:gd name="connsiteY97" fmla="*/ 3198292 h 3619675"/>
                <a:gd name="connsiteX98" fmla="*/ 1495908 w 2701062"/>
                <a:gd name="connsiteY98" fmla="*/ 3189865 h 3619675"/>
                <a:gd name="connsiteX99" fmla="*/ 1597040 w 2701062"/>
                <a:gd name="connsiteY99" fmla="*/ 3244644 h 3619675"/>
                <a:gd name="connsiteX100" fmla="*/ 1656033 w 2701062"/>
                <a:gd name="connsiteY100" fmla="*/ 3265714 h 3619675"/>
                <a:gd name="connsiteX101" fmla="*/ 1719240 w 2701062"/>
                <a:gd name="connsiteY101" fmla="*/ 3206720 h 3619675"/>
                <a:gd name="connsiteX102" fmla="*/ 1715027 w 2701062"/>
                <a:gd name="connsiteY102" fmla="*/ 3135085 h 3619675"/>
                <a:gd name="connsiteX103" fmla="*/ 1833014 w 2701062"/>
                <a:gd name="connsiteY103" fmla="*/ 3185651 h 3619675"/>
                <a:gd name="connsiteX104" fmla="*/ 1862510 w 2701062"/>
                <a:gd name="connsiteY104" fmla="*/ 3135085 h 3619675"/>
                <a:gd name="connsiteX105" fmla="*/ 2018422 w 2701062"/>
                <a:gd name="connsiteY105" fmla="*/ 3114016 h 3619675"/>
                <a:gd name="connsiteX106" fmla="*/ 2186975 w 2701062"/>
                <a:gd name="connsiteY106" fmla="*/ 3173009 h 3619675"/>
                <a:gd name="connsiteX107" fmla="*/ 2254396 w 2701062"/>
                <a:gd name="connsiteY107" fmla="*/ 3088733 h 3619675"/>
                <a:gd name="connsiteX108" fmla="*/ 2338673 w 2701062"/>
                <a:gd name="connsiteY108" fmla="*/ 3088733 h 3619675"/>
                <a:gd name="connsiteX109" fmla="*/ 2380811 w 2701062"/>
                <a:gd name="connsiteY109" fmla="*/ 3033953 h 3619675"/>
                <a:gd name="connsiteX110" fmla="*/ 2456660 w 2701062"/>
                <a:gd name="connsiteY110" fmla="*/ 3038167 h 3619675"/>
                <a:gd name="connsiteX111" fmla="*/ 2469301 w 2701062"/>
                <a:gd name="connsiteY111" fmla="*/ 2958104 h 3619675"/>
                <a:gd name="connsiteX112" fmla="*/ 2595716 w 2701062"/>
                <a:gd name="connsiteY112" fmla="*/ 2890683 h 3619675"/>
                <a:gd name="connsiteX113" fmla="*/ 2595716 w 2701062"/>
                <a:gd name="connsiteY113" fmla="*/ 2789551 h 3619675"/>
                <a:gd name="connsiteX114" fmla="*/ 2616785 w 2701062"/>
                <a:gd name="connsiteY114" fmla="*/ 2751627 h 3619675"/>
                <a:gd name="connsiteX115" fmla="*/ 2591502 w 2701062"/>
                <a:gd name="connsiteY115" fmla="*/ 2726344 h 3619675"/>
                <a:gd name="connsiteX116" fmla="*/ 2515653 w 2701062"/>
                <a:gd name="connsiteY116" fmla="*/ 2726344 h 3619675"/>
                <a:gd name="connsiteX117" fmla="*/ 2460874 w 2701062"/>
                <a:gd name="connsiteY117" fmla="*/ 2738985 h 3619675"/>
                <a:gd name="connsiteX118" fmla="*/ 2435591 w 2701062"/>
                <a:gd name="connsiteY118" fmla="*/ 2751627 h 3619675"/>
                <a:gd name="connsiteX119" fmla="*/ 2397666 w 2701062"/>
                <a:gd name="connsiteY119" fmla="*/ 2701061 h 3619675"/>
                <a:gd name="connsiteX120" fmla="*/ 2347100 w 2701062"/>
                <a:gd name="connsiteY120" fmla="*/ 2675778 h 3619675"/>
                <a:gd name="connsiteX121" fmla="*/ 2410308 w 2701062"/>
                <a:gd name="connsiteY121" fmla="*/ 2637854 h 3619675"/>
                <a:gd name="connsiteX122" fmla="*/ 2439804 w 2701062"/>
                <a:gd name="connsiteY122" fmla="*/ 2490370 h 3619675"/>
                <a:gd name="connsiteX123" fmla="*/ 2481943 w 2701062"/>
                <a:gd name="connsiteY123" fmla="*/ 2524080 h 3619675"/>
                <a:gd name="connsiteX124" fmla="*/ 2532509 w 2701062"/>
                <a:gd name="connsiteY124" fmla="*/ 2452445 h 3619675"/>
                <a:gd name="connsiteX125" fmla="*/ 2545150 w 2701062"/>
                <a:gd name="connsiteY125" fmla="*/ 2414521 h 3619675"/>
                <a:gd name="connsiteX126" fmla="*/ 2633640 w 2701062"/>
                <a:gd name="connsiteY126" fmla="*/ 2300748 h 3619675"/>
                <a:gd name="connsiteX127" fmla="*/ 2650496 w 2701062"/>
                <a:gd name="connsiteY127" fmla="*/ 2208044 h 3619675"/>
                <a:gd name="connsiteX128" fmla="*/ 2696848 w 2701062"/>
                <a:gd name="connsiteY128" fmla="*/ 2132195 h 3619675"/>
                <a:gd name="connsiteX129" fmla="*/ 2701062 w 2701062"/>
                <a:gd name="connsiteY129" fmla="*/ 1925717 h 3619675"/>
                <a:gd name="connsiteX130" fmla="*/ 2503012 w 2701062"/>
                <a:gd name="connsiteY130" fmla="*/ 1790875 h 3619675"/>
                <a:gd name="connsiteX131" fmla="*/ 2237541 w 2701062"/>
                <a:gd name="connsiteY131" fmla="*/ 1761378 h 3619675"/>
                <a:gd name="connsiteX132" fmla="*/ 2161692 w 2701062"/>
                <a:gd name="connsiteY132" fmla="*/ 1849868 h 3619675"/>
                <a:gd name="connsiteX133" fmla="*/ 2123768 w 2701062"/>
                <a:gd name="connsiteY133" fmla="*/ 1841441 h 3619675"/>
                <a:gd name="connsiteX134" fmla="*/ 2111126 w 2701062"/>
                <a:gd name="connsiteY134" fmla="*/ 1790875 h 3619675"/>
                <a:gd name="connsiteX135" fmla="*/ 2203830 w 2701062"/>
                <a:gd name="connsiteY135" fmla="*/ 1693957 h 3619675"/>
                <a:gd name="connsiteX136" fmla="*/ 2178547 w 2701062"/>
                <a:gd name="connsiteY136" fmla="*/ 1554901 h 3619675"/>
                <a:gd name="connsiteX137" fmla="*/ 2090057 w 2701062"/>
                <a:gd name="connsiteY137" fmla="*/ 1462197 h 3619675"/>
                <a:gd name="connsiteX138" fmla="*/ 2056346 w 2701062"/>
                <a:gd name="connsiteY138" fmla="*/ 1432700 h 3619675"/>
                <a:gd name="connsiteX139" fmla="*/ 2127981 w 2701062"/>
                <a:gd name="connsiteY139" fmla="*/ 1420058 h 3619675"/>
                <a:gd name="connsiteX140" fmla="*/ 2127981 w 2701062"/>
                <a:gd name="connsiteY140" fmla="*/ 1386348 h 3619675"/>
                <a:gd name="connsiteX141" fmla="*/ 2031063 w 2701062"/>
                <a:gd name="connsiteY141" fmla="*/ 1259933 h 3619675"/>
                <a:gd name="connsiteX142" fmla="*/ 2022636 w 2701062"/>
                <a:gd name="connsiteY142" fmla="*/ 1175656 h 3619675"/>
                <a:gd name="connsiteX143" fmla="*/ 2056346 w 2701062"/>
                <a:gd name="connsiteY143" fmla="*/ 1112449 h 3619675"/>
                <a:gd name="connsiteX144" fmla="*/ 2039491 w 2701062"/>
                <a:gd name="connsiteY144" fmla="*/ 1078738 h 3619675"/>
                <a:gd name="connsiteX145" fmla="*/ 1967856 w 2701062"/>
                <a:gd name="connsiteY145" fmla="*/ 1057669 h 3619675"/>
                <a:gd name="connsiteX146" fmla="*/ 1929932 w 2701062"/>
                <a:gd name="connsiteY146" fmla="*/ 998676 h 3619675"/>
                <a:gd name="connsiteX147" fmla="*/ 1934146 w 2701062"/>
                <a:gd name="connsiteY147" fmla="*/ 939682 h 3619675"/>
                <a:gd name="connsiteX148" fmla="*/ 1727668 w 2701062"/>
                <a:gd name="connsiteY148" fmla="*/ 821695 h 3619675"/>
                <a:gd name="connsiteX149" fmla="*/ 1664461 w 2701062"/>
                <a:gd name="connsiteY149" fmla="*/ 762702 h 3619675"/>
                <a:gd name="connsiteX150" fmla="*/ 1516977 w 2701062"/>
                <a:gd name="connsiteY150" fmla="*/ 223333 h 3619675"/>
                <a:gd name="connsiteX151" fmla="*/ 1407417 w 2701062"/>
                <a:gd name="connsiteY151" fmla="*/ 105347 h 3619675"/>
                <a:gd name="connsiteX152" fmla="*/ 1382133 w 2701062"/>
                <a:gd name="connsiteY152" fmla="*/ 12642 h 3619675"/>
                <a:gd name="connsiteX0" fmla="*/ 1382133 w 2701062"/>
                <a:gd name="connsiteY0" fmla="*/ 0 h 3607033"/>
                <a:gd name="connsiteX1" fmla="*/ 1335782 w 2701062"/>
                <a:gd name="connsiteY1" fmla="*/ 63207 h 3607033"/>
                <a:gd name="connsiteX2" fmla="*/ 1264148 w 2701062"/>
                <a:gd name="connsiteY2" fmla="*/ 151697 h 3607033"/>
                <a:gd name="connsiteX3" fmla="*/ 1281002 w 2701062"/>
                <a:gd name="connsiteY3" fmla="*/ 290754 h 3607033"/>
                <a:gd name="connsiteX4" fmla="*/ 1141946 w 2701062"/>
                <a:gd name="connsiteY4" fmla="*/ 425596 h 3607033"/>
                <a:gd name="connsiteX5" fmla="*/ 876475 w 2701062"/>
                <a:gd name="connsiteY5" fmla="*/ 682638 h 3607033"/>
                <a:gd name="connsiteX6" fmla="*/ 804840 w 2701062"/>
                <a:gd name="connsiteY6" fmla="*/ 754273 h 3607033"/>
                <a:gd name="connsiteX7" fmla="*/ 813268 w 2701062"/>
                <a:gd name="connsiteY7" fmla="*/ 884902 h 3607033"/>
                <a:gd name="connsiteX8" fmla="*/ 897545 w 2701062"/>
                <a:gd name="connsiteY8" fmla="*/ 1053455 h 3607033"/>
                <a:gd name="connsiteX9" fmla="*/ 943897 w 2701062"/>
                <a:gd name="connsiteY9" fmla="*/ 1137731 h 3607033"/>
                <a:gd name="connsiteX10" fmla="*/ 964966 w 2701062"/>
                <a:gd name="connsiteY10" fmla="*/ 1167228 h 3607033"/>
                <a:gd name="connsiteX11" fmla="*/ 994463 w 2701062"/>
                <a:gd name="connsiteY11" fmla="*/ 1141945 h 3607033"/>
                <a:gd name="connsiteX12" fmla="*/ 1011318 w 2701062"/>
                <a:gd name="connsiteY12" fmla="*/ 1087166 h 3607033"/>
                <a:gd name="connsiteX13" fmla="*/ 1057670 w 2701062"/>
                <a:gd name="connsiteY13" fmla="*/ 1078738 h 3607033"/>
                <a:gd name="connsiteX14" fmla="*/ 1053456 w 2701062"/>
                <a:gd name="connsiteY14" fmla="*/ 1141945 h 3607033"/>
                <a:gd name="connsiteX15" fmla="*/ 1040815 w 2701062"/>
                <a:gd name="connsiteY15" fmla="*/ 1175656 h 3607033"/>
                <a:gd name="connsiteX16" fmla="*/ 1049242 w 2701062"/>
                <a:gd name="connsiteY16" fmla="*/ 1200939 h 3607033"/>
                <a:gd name="connsiteX17" fmla="*/ 986035 w 2701062"/>
                <a:gd name="connsiteY17" fmla="*/ 1217794 h 3607033"/>
                <a:gd name="connsiteX18" fmla="*/ 1011318 w 2701062"/>
                <a:gd name="connsiteY18" fmla="*/ 1352637 h 3607033"/>
                <a:gd name="connsiteX19" fmla="*/ 1049242 w 2701062"/>
                <a:gd name="connsiteY19" fmla="*/ 1348423 h 3607033"/>
                <a:gd name="connsiteX20" fmla="*/ 1040815 w 2701062"/>
                <a:gd name="connsiteY20" fmla="*/ 1411630 h 3607033"/>
                <a:gd name="connsiteX21" fmla="*/ 981821 w 2701062"/>
                <a:gd name="connsiteY21" fmla="*/ 1445341 h 3607033"/>
                <a:gd name="connsiteX22" fmla="*/ 931255 w 2701062"/>
                <a:gd name="connsiteY22" fmla="*/ 1445341 h 3607033"/>
                <a:gd name="connsiteX23" fmla="*/ 897545 w 2701062"/>
                <a:gd name="connsiteY23" fmla="*/ 1508548 h 3607033"/>
                <a:gd name="connsiteX24" fmla="*/ 901758 w 2701062"/>
                <a:gd name="connsiteY24" fmla="*/ 1538045 h 3607033"/>
                <a:gd name="connsiteX25" fmla="*/ 948110 w 2701062"/>
                <a:gd name="connsiteY25" fmla="*/ 1546472 h 3607033"/>
                <a:gd name="connsiteX26" fmla="*/ 931255 w 2701062"/>
                <a:gd name="connsiteY26" fmla="*/ 1584397 h 3607033"/>
                <a:gd name="connsiteX27" fmla="*/ 952324 w 2701062"/>
                <a:gd name="connsiteY27" fmla="*/ 1592825 h 3607033"/>
                <a:gd name="connsiteX28" fmla="*/ 1015532 w 2701062"/>
                <a:gd name="connsiteY28" fmla="*/ 1597038 h 3607033"/>
                <a:gd name="connsiteX29" fmla="*/ 1040815 w 2701062"/>
                <a:gd name="connsiteY29" fmla="*/ 1634963 h 3607033"/>
                <a:gd name="connsiteX30" fmla="*/ 1036601 w 2701062"/>
                <a:gd name="connsiteY30" fmla="*/ 1672887 h 3607033"/>
                <a:gd name="connsiteX31" fmla="*/ 1104022 w 2701062"/>
                <a:gd name="connsiteY31" fmla="*/ 1774019 h 3607033"/>
                <a:gd name="connsiteX32" fmla="*/ 1053456 w 2701062"/>
                <a:gd name="connsiteY32" fmla="*/ 1799302 h 3607033"/>
                <a:gd name="connsiteX33" fmla="*/ 998676 w 2701062"/>
                <a:gd name="connsiteY33" fmla="*/ 1795088 h 3607033"/>
                <a:gd name="connsiteX34" fmla="*/ 964966 w 2701062"/>
                <a:gd name="connsiteY34" fmla="*/ 1875151 h 3607033"/>
                <a:gd name="connsiteX35" fmla="*/ 1015532 w 2701062"/>
                <a:gd name="connsiteY35" fmla="*/ 1917289 h 3607033"/>
                <a:gd name="connsiteX36" fmla="*/ 994463 w 2701062"/>
                <a:gd name="connsiteY36" fmla="*/ 2014207 h 3607033"/>
                <a:gd name="connsiteX37" fmla="*/ 1019746 w 2701062"/>
                <a:gd name="connsiteY37" fmla="*/ 2047918 h 3607033"/>
                <a:gd name="connsiteX38" fmla="*/ 990249 w 2701062"/>
                <a:gd name="connsiteY38" fmla="*/ 2081628 h 3607033"/>
                <a:gd name="connsiteX39" fmla="*/ 948110 w 2701062"/>
                <a:gd name="connsiteY39" fmla="*/ 2081628 h 3607033"/>
                <a:gd name="connsiteX40" fmla="*/ 939683 w 2701062"/>
                <a:gd name="connsiteY40" fmla="*/ 2119553 h 3607033"/>
                <a:gd name="connsiteX41" fmla="*/ 994463 w 2701062"/>
                <a:gd name="connsiteY41" fmla="*/ 2165905 h 3607033"/>
                <a:gd name="connsiteX42" fmla="*/ 981821 w 2701062"/>
                <a:gd name="connsiteY42" fmla="*/ 2347099 h 3607033"/>
                <a:gd name="connsiteX43" fmla="*/ 1015532 w 2701062"/>
                <a:gd name="connsiteY43" fmla="*/ 2427162 h 3607033"/>
                <a:gd name="connsiteX44" fmla="*/ 1049242 w 2701062"/>
                <a:gd name="connsiteY44" fmla="*/ 2427162 h 3607033"/>
                <a:gd name="connsiteX45" fmla="*/ 1129305 w 2701062"/>
                <a:gd name="connsiteY45" fmla="*/ 2494583 h 3607033"/>
                <a:gd name="connsiteX46" fmla="*/ 1125091 w 2701062"/>
                <a:gd name="connsiteY46" fmla="*/ 2625212 h 3607033"/>
                <a:gd name="connsiteX47" fmla="*/ 1087167 w 2701062"/>
                <a:gd name="connsiteY47" fmla="*/ 2688419 h 3607033"/>
                <a:gd name="connsiteX48" fmla="*/ 1015532 w 2701062"/>
                <a:gd name="connsiteY48" fmla="*/ 2755840 h 3607033"/>
                <a:gd name="connsiteX49" fmla="*/ 1007104 w 2701062"/>
                <a:gd name="connsiteY49" fmla="*/ 2844331 h 3607033"/>
                <a:gd name="connsiteX50" fmla="*/ 922828 w 2701062"/>
                <a:gd name="connsiteY50" fmla="*/ 2856972 h 3607033"/>
                <a:gd name="connsiteX51" fmla="*/ 868048 w 2701062"/>
                <a:gd name="connsiteY51" fmla="*/ 2861186 h 3607033"/>
                <a:gd name="connsiteX52" fmla="*/ 830123 w 2701062"/>
                <a:gd name="connsiteY52" fmla="*/ 2823261 h 3607033"/>
                <a:gd name="connsiteX53" fmla="*/ 577294 w 2701062"/>
                <a:gd name="connsiteY53" fmla="*/ 2844331 h 3607033"/>
                <a:gd name="connsiteX54" fmla="*/ 568866 w 2701062"/>
                <a:gd name="connsiteY54" fmla="*/ 2949676 h 3607033"/>
                <a:gd name="connsiteX55" fmla="*/ 514087 w 2701062"/>
                <a:gd name="connsiteY55" fmla="*/ 2983387 h 3607033"/>
                <a:gd name="connsiteX56" fmla="*/ 484590 w 2701062"/>
                <a:gd name="connsiteY56" fmla="*/ 2949676 h 3607033"/>
                <a:gd name="connsiteX57" fmla="*/ 446665 w 2701062"/>
                <a:gd name="connsiteY57" fmla="*/ 2974959 h 3607033"/>
                <a:gd name="connsiteX58" fmla="*/ 434024 w 2701062"/>
                <a:gd name="connsiteY58" fmla="*/ 3092946 h 3607033"/>
                <a:gd name="connsiteX59" fmla="*/ 328678 w 2701062"/>
                <a:gd name="connsiteY59" fmla="*/ 3219361 h 3607033"/>
                <a:gd name="connsiteX60" fmla="*/ 273899 w 2701062"/>
                <a:gd name="connsiteY60" fmla="*/ 3232002 h 3607033"/>
                <a:gd name="connsiteX61" fmla="*/ 252829 w 2701062"/>
                <a:gd name="connsiteY61" fmla="*/ 3282568 h 3607033"/>
                <a:gd name="connsiteX62" fmla="*/ 202263 w 2701062"/>
                <a:gd name="connsiteY62" fmla="*/ 3362631 h 3607033"/>
                <a:gd name="connsiteX63" fmla="*/ 164339 w 2701062"/>
                <a:gd name="connsiteY63" fmla="*/ 3392128 h 3607033"/>
                <a:gd name="connsiteX64" fmla="*/ 75849 w 2701062"/>
                <a:gd name="connsiteY64" fmla="*/ 3421625 h 3607033"/>
                <a:gd name="connsiteX65" fmla="*/ 12641 w 2701062"/>
                <a:gd name="connsiteY65" fmla="*/ 3455335 h 3607033"/>
                <a:gd name="connsiteX66" fmla="*/ 0 w 2701062"/>
                <a:gd name="connsiteY66" fmla="*/ 3535398 h 3607033"/>
                <a:gd name="connsiteX67" fmla="*/ 63207 w 2701062"/>
                <a:gd name="connsiteY67" fmla="*/ 3531184 h 3607033"/>
                <a:gd name="connsiteX68" fmla="*/ 96918 w 2701062"/>
                <a:gd name="connsiteY68" fmla="*/ 3484832 h 3607033"/>
                <a:gd name="connsiteX69" fmla="*/ 155911 w 2701062"/>
                <a:gd name="connsiteY69" fmla="*/ 3526970 h 3607033"/>
                <a:gd name="connsiteX70" fmla="*/ 164339 w 2701062"/>
                <a:gd name="connsiteY70" fmla="*/ 3607033 h 3607033"/>
                <a:gd name="connsiteX71" fmla="*/ 265471 w 2701062"/>
                <a:gd name="connsiteY71" fmla="*/ 3556467 h 3607033"/>
                <a:gd name="connsiteX72" fmla="*/ 252829 w 2701062"/>
                <a:gd name="connsiteY72" fmla="*/ 3497473 h 3607033"/>
                <a:gd name="connsiteX73" fmla="*/ 307609 w 2701062"/>
                <a:gd name="connsiteY73" fmla="*/ 3455335 h 3607033"/>
                <a:gd name="connsiteX74" fmla="*/ 345534 w 2701062"/>
                <a:gd name="connsiteY74" fmla="*/ 3417411 h 3607033"/>
                <a:gd name="connsiteX75" fmla="*/ 375030 w 2701062"/>
                <a:gd name="connsiteY75" fmla="*/ 3375272 h 3607033"/>
                <a:gd name="connsiteX76" fmla="*/ 497231 w 2701062"/>
                <a:gd name="connsiteY76" fmla="*/ 3383700 h 3607033"/>
                <a:gd name="connsiteX77" fmla="*/ 497231 w 2701062"/>
                <a:gd name="connsiteY77" fmla="*/ 3383700 h 3607033"/>
                <a:gd name="connsiteX78" fmla="*/ 568866 w 2701062"/>
                <a:gd name="connsiteY78" fmla="*/ 3417411 h 3607033"/>
                <a:gd name="connsiteX79" fmla="*/ 589935 w 2701062"/>
                <a:gd name="connsiteY79" fmla="*/ 3396342 h 3607033"/>
                <a:gd name="connsiteX80" fmla="*/ 648929 w 2701062"/>
                <a:gd name="connsiteY80" fmla="*/ 3425838 h 3607033"/>
                <a:gd name="connsiteX81" fmla="*/ 674212 w 2701062"/>
                <a:gd name="connsiteY81" fmla="*/ 3421625 h 3607033"/>
                <a:gd name="connsiteX82" fmla="*/ 720564 w 2701062"/>
                <a:gd name="connsiteY82" fmla="*/ 3484832 h 3607033"/>
                <a:gd name="connsiteX83" fmla="*/ 754275 w 2701062"/>
                <a:gd name="connsiteY83" fmla="*/ 3476404 h 3607033"/>
                <a:gd name="connsiteX84" fmla="*/ 804840 w 2701062"/>
                <a:gd name="connsiteY84" fmla="*/ 3400555 h 3607033"/>
                <a:gd name="connsiteX85" fmla="*/ 842765 w 2701062"/>
                <a:gd name="connsiteY85" fmla="*/ 3366845 h 3607033"/>
                <a:gd name="connsiteX86" fmla="*/ 830123 w 2701062"/>
                <a:gd name="connsiteY86" fmla="*/ 3312065 h 3607033"/>
                <a:gd name="connsiteX87" fmla="*/ 859620 w 2701062"/>
                <a:gd name="connsiteY87" fmla="*/ 3257285 h 3607033"/>
                <a:gd name="connsiteX88" fmla="*/ 918614 w 2701062"/>
                <a:gd name="connsiteY88" fmla="*/ 3206720 h 3607033"/>
                <a:gd name="connsiteX89" fmla="*/ 1011318 w 2701062"/>
                <a:gd name="connsiteY89" fmla="*/ 3189864 h 3607033"/>
                <a:gd name="connsiteX90" fmla="*/ 1078739 w 2701062"/>
                <a:gd name="connsiteY90" fmla="*/ 3177223 h 3607033"/>
                <a:gd name="connsiteX91" fmla="*/ 1163016 w 2701062"/>
                <a:gd name="connsiteY91" fmla="*/ 3248858 h 3607033"/>
                <a:gd name="connsiteX92" fmla="*/ 1222009 w 2701062"/>
                <a:gd name="connsiteY92" fmla="*/ 3282568 h 3607033"/>
                <a:gd name="connsiteX93" fmla="*/ 1226223 w 2701062"/>
                <a:gd name="connsiteY93" fmla="*/ 3236216 h 3607033"/>
                <a:gd name="connsiteX94" fmla="*/ 1243078 w 2701062"/>
                <a:gd name="connsiteY94" fmla="*/ 3227789 h 3607033"/>
                <a:gd name="connsiteX95" fmla="*/ 1344210 w 2701062"/>
                <a:gd name="connsiteY95" fmla="*/ 3248858 h 3607033"/>
                <a:gd name="connsiteX96" fmla="*/ 1398990 w 2701062"/>
                <a:gd name="connsiteY96" fmla="*/ 3257285 h 3607033"/>
                <a:gd name="connsiteX97" fmla="*/ 1436914 w 2701062"/>
                <a:gd name="connsiteY97" fmla="*/ 3185650 h 3607033"/>
                <a:gd name="connsiteX98" fmla="*/ 1495908 w 2701062"/>
                <a:gd name="connsiteY98" fmla="*/ 3177223 h 3607033"/>
                <a:gd name="connsiteX99" fmla="*/ 1597040 w 2701062"/>
                <a:gd name="connsiteY99" fmla="*/ 3232002 h 3607033"/>
                <a:gd name="connsiteX100" fmla="*/ 1656033 w 2701062"/>
                <a:gd name="connsiteY100" fmla="*/ 3253072 h 3607033"/>
                <a:gd name="connsiteX101" fmla="*/ 1719240 w 2701062"/>
                <a:gd name="connsiteY101" fmla="*/ 3194078 h 3607033"/>
                <a:gd name="connsiteX102" fmla="*/ 1715027 w 2701062"/>
                <a:gd name="connsiteY102" fmla="*/ 3122443 h 3607033"/>
                <a:gd name="connsiteX103" fmla="*/ 1833014 w 2701062"/>
                <a:gd name="connsiteY103" fmla="*/ 3173009 h 3607033"/>
                <a:gd name="connsiteX104" fmla="*/ 1862510 w 2701062"/>
                <a:gd name="connsiteY104" fmla="*/ 3122443 h 3607033"/>
                <a:gd name="connsiteX105" fmla="*/ 2018422 w 2701062"/>
                <a:gd name="connsiteY105" fmla="*/ 3101374 h 3607033"/>
                <a:gd name="connsiteX106" fmla="*/ 2186975 w 2701062"/>
                <a:gd name="connsiteY106" fmla="*/ 3160367 h 3607033"/>
                <a:gd name="connsiteX107" fmla="*/ 2254396 w 2701062"/>
                <a:gd name="connsiteY107" fmla="*/ 3076091 h 3607033"/>
                <a:gd name="connsiteX108" fmla="*/ 2338673 w 2701062"/>
                <a:gd name="connsiteY108" fmla="*/ 3076091 h 3607033"/>
                <a:gd name="connsiteX109" fmla="*/ 2380811 w 2701062"/>
                <a:gd name="connsiteY109" fmla="*/ 3021311 h 3607033"/>
                <a:gd name="connsiteX110" fmla="*/ 2456660 w 2701062"/>
                <a:gd name="connsiteY110" fmla="*/ 3025525 h 3607033"/>
                <a:gd name="connsiteX111" fmla="*/ 2469301 w 2701062"/>
                <a:gd name="connsiteY111" fmla="*/ 2945462 h 3607033"/>
                <a:gd name="connsiteX112" fmla="*/ 2595716 w 2701062"/>
                <a:gd name="connsiteY112" fmla="*/ 2878041 h 3607033"/>
                <a:gd name="connsiteX113" fmla="*/ 2595716 w 2701062"/>
                <a:gd name="connsiteY113" fmla="*/ 2776909 h 3607033"/>
                <a:gd name="connsiteX114" fmla="*/ 2616785 w 2701062"/>
                <a:gd name="connsiteY114" fmla="*/ 2738985 h 3607033"/>
                <a:gd name="connsiteX115" fmla="*/ 2591502 w 2701062"/>
                <a:gd name="connsiteY115" fmla="*/ 2713702 h 3607033"/>
                <a:gd name="connsiteX116" fmla="*/ 2515653 w 2701062"/>
                <a:gd name="connsiteY116" fmla="*/ 2713702 h 3607033"/>
                <a:gd name="connsiteX117" fmla="*/ 2460874 w 2701062"/>
                <a:gd name="connsiteY117" fmla="*/ 2726343 h 3607033"/>
                <a:gd name="connsiteX118" fmla="*/ 2435591 w 2701062"/>
                <a:gd name="connsiteY118" fmla="*/ 2738985 h 3607033"/>
                <a:gd name="connsiteX119" fmla="*/ 2397666 w 2701062"/>
                <a:gd name="connsiteY119" fmla="*/ 2688419 h 3607033"/>
                <a:gd name="connsiteX120" fmla="*/ 2347100 w 2701062"/>
                <a:gd name="connsiteY120" fmla="*/ 2663136 h 3607033"/>
                <a:gd name="connsiteX121" fmla="*/ 2410308 w 2701062"/>
                <a:gd name="connsiteY121" fmla="*/ 2625212 h 3607033"/>
                <a:gd name="connsiteX122" fmla="*/ 2439804 w 2701062"/>
                <a:gd name="connsiteY122" fmla="*/ 2477728 h 3607033"/>
                <a:gd name="connsiteX123" fmla="*/ 2481943 w 2701062"/>
                <a:gd name="connsiteY123" fmla="*/ 2511438 h 3607033"/>
                <a:gd name="connsiteX124" fmla="*/ 2532509 w 2701062"/>
                <a:gd name="connsiteY124" fmla="*/ 2439803 h 3607033"/>
                <a:gd name="connsiteX125" fmla="*/ 2545150 w 2701062"/>
                <a:gd name="connsiteY125" fmla="*/ 2401879 h 3607033"/>
                <a:gd name="connsiteX126" fmla="*/ 2633640 w 2701062"/>
                <a:gd name="connsiteY126" fmla="*/ 2288106 h 3607033"/>
                <a:gd name="connsiteX127" fmla="*/ 2650496 w 2701062"/>
                <a:gd name="connsiteY127" fmla="*/ 2195402 h 3607033"/>
                <a:gd name="connsiteX128" fmla="*/ 2696848 w 2701062"/>
                <a:gd name="connsiteY128" fmla="*/ 2119553 h 3607033"/>
                <a:gd name="connsiteX129" fmla="*/ 2701062 w 2701062"/>
                <a:gd name="connsiteY129" fmla="*/ 1913075 h 3607033"/>
                <a:gd name="connsiteX130" fmla="*/ 2503012 w 2701062"/>
                <a:gd name="connsiteY130" fmla="*/ 1778233 h 3607033"/>
                <a:gd name="connsiteX131" fmla="*/ 2237541 w 2701062"/>
                <a:gd name="connsiteY131" fmla="*/ 1748736 h 3607033"/>
                <a:gd name="connsiteX132" fmla="*/ 2161692 w 2701062"/>
                <a:gd name="connsiteY132" fmla="*/ 1837226 h 3607033"/>
                <a:gd name="connsiteX133" fmla="*/ 2123768 w 2701062"/>
                <a:gd name="connsiteY133" fmla="*/ 1828799 h 3607033"/>
                <a:gd name="connsiteX134" fmla="*/ 2111126 w 2701062"/>
                <a:gd name="connsiteY134" fmla="*/ 1778233 h 3607033"/>
                <a:gd name="connsiteX135" fmla="*/ 2203830 w 2701062"/>
                <a:gd name="connsiteY135" fmla="*/ 1681315 h 3607033"/>
                <a:gd name="connsiteX136" fmla="*/ 2178547 w 2701062"/>
                <a:gd name="connsiteY136" fmla="*/ 1542259 h 3607033"/>
                <a:gd name="connsiteX137" fmla="*/ 2090057 w 2701062"/>
                <a:gd name="connsiteY137" fmla="*/ 1449555 h 3607033"/>
                <a:gd name="connsiteX138" fmla="*/ 2056346 w 2701062"/>
                <a:gd name="connsiteY138" fmla="*/ 1420058 h 3607033"/>
                <a:gd name="connsiteX139" fmla="*/ 2127981 w 2701062"/>
                <a:gd name="connsiteY139" fmla="*/ 1407416 h 3607033"/>
                <a:gd name="connsiteX140" fmla="*/ 2127981 w 2701062"/>
                <a:gd name="connsiteY140" fmla="*/ 1373706 h 3607033"/>
                <a:gd name="connsiteX141" fmla="*/ 2031063 w 2701062"/>
                <a:gd name="connsiteY141" fmla="*/ 1247291 h 3607033"/>
                <a:gd name="connsiteX142" fmla="*/ 2022636 w 2701062"/>
                <a:gd name="connsiteY142" fmla="*/ 1163014 h 3607033"/>
                <a:gd name="connsiteX143" fmla="*/ 2056346 w 2701062"/>
                <a:gd name="connsiteY143" fmla="*/ 1099807 h 3607033"/>
                <a:gd name="connsiteX144" fmla="*/ 2039491 w 2701062"/>
                <a:gd name="connsiteY144" fmla="*/ 1066096 h 3607033"/>
                <a:gd name="connsiteX145" fmla="*/ 1967856 w 2701062"/>
                <a:gd name="connsiteY145" fmla="*/ 1045027 h 3607033"/>
                <a:gd name="connsiteX146" fmla="*/ 1929932 w 2701062"/>
                <a:gd name="connsiteY146" fmla="*/ 986034 h 3607033"/>
                <a:gd name="connsiteX147" fmla="*/ 1934146 w 2701062"/>
                <a:gd name="connsiteY147" fmla="*/ 927040 h 3607033"/>
                <a:gd name="connsiteX148" fmla="*/ 1727668 w 2701062"/>
                <a:gd name="connsiteY148" fmla="*/ 809053 h 3607033"/>
                <a:gd name="connsiteX149" fmla="*/ 1664461 w 2701062"/>
                <a:gd name="connsiteY149" fmla="*/ 750060 h 3607033"/>
                <a:gd name="connsiteX150" fmla="*/ 1516977 w 2701062"/>
                <a:gd name="connsiteY150" fmla="*/ 210691 h 3607033"/>
                <a:gd name="connsiteX151" fmla="*/ 1407417 w 2701062"/>
                <a:gd name="connsiteY151" fmla="*/ 92705 h 3607033"/>
                <a:gd name="connsiteX152" fmla="*/ 1382133 w 2701062"/>
                <a:gd name="connsiteY152" fmla="*/ 0 h 3607033"/>
                <a:gd name="connsiteX0" fmla="*/ 1382133 w 2701062"/>
                <a:gd name="connsiteY0" fmla="*/ 0 h 3607033"/>
                <a:gd name="connsiteX1" fmla="*/ 1358300 w 2701062"/>
                <a:gd name="connsiteY1" fmla="*/ 33448 h 3607033"/>
                <a:gd name="connsiteX2" fmla="*/ 1335782 w 2701062"/>
                <a:gd name="connsiteY2" fmla="*/ 63207 h 3607033"/>
                <a:gd name="connsiteX3" fmla="*/ 1264148 w 2701062"/>
                <a:gd name="connsiteY3" fmla="*/ 151697 h 3607033"/>
                <a:gd name="connsiteX4" fmla="*/ 1281002 w 2701062"/>
                <a:gd name="connsiteY4" fmla="*/ 290754 h 3607033"/>
                <a:gd name="connsiteX5" fmla="*/ 1141946 w 2701062"/>
                <a:gd name="connsiteY5" fmla="*/ 425596 h 3607033"/>
                <a:gd name="connsiteX6" fmla="*/ 876475 w 2701062"/>
                <a:gd name="connsiteY6" fmla="*/ 682638 h 3607033"/>
                <a:gd name="connsiteX7" fmla="*/ 804840 w 2701062"/>
                <a:gd name="connsiteY7" fmla="*/ 754273 h 3607033"/>
                <a:gd name="connsiteX8" fmla="*/ 813268 w 2701062"/>
                <a:gd name="connsiteY8" fmla="*/ 884902 h 3607033"/>
                <a:gd name="connsiteX9" fmla="*/ 897545 w 2701062"/>
                <a:gd name="connsiteY9" fmla="*/ 1053455 h 3607033"/>
                <a:gd name="connsiteX10" fmla="*/ 943897 w 2701062"/>
                <a:gd name="connsiteY10" fmla="*/ 1137731 h 3607033"/>
                <a:gd name="connsiteX11" fmla="*/ 964966 w 2701062"/>
                <a:gd name="connsiteY11" fmla="*/ 1167228 h 3607033"/>
                <a:gd name="connsiteX12" fmla="*/ 994463 w 2701062"/>
                <a:gd name="connsiteY12" fmla="*/ 1141945 h 3607033"/>
                <a:gd name="connsiteX13" fmla="*/ 1011318 w 2701062"/>
                <a:gd name="connsiteY13" fmla="*/ 1087166 h 3607033"/>
                <a:gd name="connsiteX14" fmla="*/ 1057670 w 2701062"/>
                <a:gd name="connsiteY14" fmla="*/ 1078738 h 3607033"/>
                <a:gd name="connsiteX15" fmla="*/ 1053456 w 2701062"/>
                <a:gd name="connsiteY15" fmla="*/ 1141945 h 3607033"/>
                <a:gd name="connsiteX16" fmla="*/ 1040815 w 2701062"/>
                <a:gd name="connsiteY16" fmla="*/ 1175656 h 3607033"/>
                <a:gd name="connsiteX17" fmla="*/ 1049242 w 2701062"/>
                <a:gd name="connsiteY17" fmla="*/ 1200939 h 3607033"/>
                <a:gd name="connsiteX18" fmla="*/ 986035 w 2701062"/>
                <a:gd name="connsiteY18" fmla="*/ 1217794 h 3607033"/>
                <a:gd name="connsiteX19" fmla="*/ 1011318 w 2701062"/>
                <a:gd name="connsiteY19" fmla="*/ 1352637 h 3607033"/>
                <a:gd name="connsiteX20" fmla="*/ 1049242 w 2701062"/>
                <a:gd name="connsiteY20" fmla="*/ 1348423 h 3607033"/>
                <a:gd name="connsiteX21" fmla="*/ 1040815 w 2701062"/>
                <a:gd name="connsiteY21" fmla="*/ 1411630 h 3607033"/>
                <a:gd name="connsiteX22" fmla="*/ 981821 w 2701062"/>
                <a:gd name="connsiteY22" fmla="*/ 1445341 h 3607033"/>
                <a:gd name="connsiteX23" fmla="*/ 931255 w 2701062"/>
                <a:gd name="connsiteY23" fmla="*/ 1445341 h 3607033"/>
                <a:gd name="connsiteX24" fmla="*/ 897545 w 2701062"/>
                <a:gd name="connsiteY24" fmla="*/ 1508548 h 3607033"/>
                <a:gd name="connsiteX25" fmla="*/ 901758 w 2701062"/>
                <a:gd name="connsiteY25" fmla="*/ 1538045 h 3607033"/>
                <a:gd name="connsiteX26" fmla="*/ 948110 w 2701062"/>
                <a:gd name="connsiteY26" fmla="*/ 1546472 h 3607033"/>
                <a:gd name="connsiteX27" fmla="*/ 931255 w 2701062"/>
                <a:gd name="connsiteY27" fmla="*/ 1584397 h 3607033"/>
                <a:gd name="connsiteX28" fmla="*/ 952324 w 2701062"/>
                <a:gd name="connsiteY28" fmla="*/ 1592825 h 3607033"/>
                <a:gd name="connsiteX29" fmla="*/ 1015532 w 2701062"/>
                <a:gd name="connsiteY29" fmla="*/ 1597038 h 3607033"/>
                <a:gd name="connsiteX30" fmla="*/ 1040815 w 2701062"/>
                <a:gd name="connsiteY30" fmla="*/ 1634963 h 3607033"/>
                <a:gd name="connsiteX31" fmla="*/ 1036601 w 2701062"/>
                <a:gd name="connsiteY31" fmla="*/ 1672887 h 3607033"/>
                <a:gd name="connsiteX32" fmla="*/ 1104022 w 2701062"/>
                <a:gd name="connsiteY32" fmla="*/ 1774019 h 3607033"/>
                <a:gd name="connsiteX33" fmla="*/ 1053456 w 2701062"/>
                <a:gd name="connsiteY33" fmla="*/ 1799302 h 3607033"/>
                <a:gd name="connsiteX34" fmla="*/ 998676 w 2701062"/>
                <a:gd name="connsiteY34" fmla="*/ 1795088 h 3607033"/>
                <a:gd name="connsiteX35" fmla="*/ 964966 w 2701062"/>
                <a:gd name="connsiteY35" fmla="*/ 1875151 h 3607033"/>
                <a:gd name="connsiteX36" fmla="*/ 1015532 w 2701062"/>
                <a:gd name="connsiteY36" fmla="*/ 1917289 h 3607033"/>
                <a:gd name="connsiteX37" fmla="*/ 994463 w 2701062"/>
                <a:gd name="connsiteY37" fmla="*/ 2014207 h 3607033"/>
                <a:gd name="connsiteX38" fmla="*/ 1019746 w 2701062"/>
                <a:gd name="connsiteY38" fmla="*/ 2047918 h 3607033"/>
                <a:gd name="connsiteX39" fmla="*/ 990249 w 2701062"/>
                <a:gd name="connsiteY39" fmla="*/ 2081628 h 3607033"/>
                <a:gd name="connsiteX40" fmla="*/ 948110 w 2701062"/>
                <a:gd name="connsiteY40" fmla="*/ 2081628 h 3607033"/>
                <a:gd name="connsiteX41" fmla="*/ 939683 w 2701062"/>
                <a:gd name="connsiteY41" fmla="*/ 2119553 h 3607033"/>
                <a:gd name="connsiteX42" fmla="*/ 994463 w 2701062"/>
                <a:gd name="connsiteY42" fmla="*/ 2165905 h 3607033"/>
                <a:gd name="connsiteX43" fmla="*/ 981821 w 2701062"/>
                <a:gd name="connsiteY43" fmla="*/ 2347099 h 3607033"/>
                <a:gd name="connsiteX44" fmla="*/ 1015532 w 2701062"/>
                <a:gd name="connsiteY44" fmla="*/ 2427162 h 3607033"/>
                <a:gd name="connsiteX45" fmla="*/ 1049242 w 2701062"/>
                <a:gd name="connsiteY45" fmla="*/ 2427162 h 3607033"/>
                <a:gd name="connsiteX46" fmla="*/ 1129305 w 2701062"/>
                <a:gd name="connsiteY46" fmla="*/ 2494583 h 3607033"/>
                <a:gd name="connsiteX47" fmla="*/ 1125091 w 2701062"/>
                <a:gd name="connsiteY47" fmla="*/ 2625212 h 3607033"/>
                <a:gd name="connsiteX48" fmla="*/ 1087167 w 2701062"/>
                <a:gd name="connsiteY48" fmla="*/ 2688419 h 3607033"/>
                <a:gd name="connsiteX49" fmla="*/ 1015532 w 2701062"/>
                <a:gd name="connsiteY49" fmla="*/ 2755840 h 3607033"/>
                <a:gd name="connsiteX50" fmla="*/ 1007104 w 2701062"/>
                <a:gd name="connsiteY50" fmla="*/ 2844331 h 3607033"/>
                <a:gd name="connsiteX51" fmla="*/ 922828 w 2701062"/>
                <a:gd name="connsiteY51" fmla="*/ 2856972 h 3607033"/>
                <a:gd name="connsiteX52" fmla="*/ 868048 w 2701062"/>
                <a:gd name="connsiteY52" fmla="*/ 2861186 h 3607033"/>
                <a:gd name="connsiteX53" fmla="*/ 830123 w 2701062"/>
                <a:gd name="connsiteY53" fmla="*/ 2823261 h 3607033"/>
                <a:gd name="connsiteX54" fmla="*/ 577294 w 2701062"/>
                <a:gd name="connsiteY54" fmla="*/ 2844331 h 3607033"/>
                <a:gd name="connsiteX55" fmla="*/ 568866 w 2701062"/>
                <a:gd name="connsiteY55" fmla="*/ 2949676 h 3607033"/>
                <a:gd name="connsiteX56" fmla="*/ 514087 w 2701062"/>
                <a:gd name="connsiteY56" fmla="*/ 2983387 h 3607033"/>
                <a:gd name="connsiteX57" fmla="*/ 484590 w 2701062"/>
                <a:gd name="connsiteY57" fmla="*/ 2949676 h 3607033"/>
                <a:gd name="connsiteX58" fmla="*/ 446665 w 2701062"/>
                <a:gd name="connsiteY58" fmla="*/ 2974959 h 3607033"/>
                <a:gd name="connsiteX59" fmla="*/ 434024 w 2701062"/>
                <a:gd name="connsiteY59" fmla="*/ 3092946 h 3607033"/>
                <a:gd name="connsiteX60" fmla="*/ 328678 w 2701062"/>
                <a:gd name="connsiteY60" fmla="*/ 3219361 h 3607033"/>
                <a:gd name="connsiteX61" fmla="*/ 273899 w 2701062"/>
                <a:gd name="connsiteY61" fmla="*/ 3232002 h 3607033"/>
                <a:gd name="connsiteX62" fmla="*/ 252829 w 2701062"/>
                <a:gd name="connsiteY62" fmla="*/ 3282568 h 3607033"/>
                <a:gd name="connsiteX63" fmla="*/ 202263 w 2701062"/>
                <a:gd name="connsiteY63" fmla="*/ 3362631 h 3607033"/>
                <a:gd name="connsiteX64" fmla="*/ 164339 w 2701062"/>
                <a:gd name="connsiteY64" fmla="*/ 3392128 h 3607033"/>
                <a:gd name="connsiteX65" fmla="*/ 75849 w 2701062"/>
                <a:gd name="connsiteY65" fmla="*/ 3421625 h 3607033"/>
                <a:gd name="connsiteX66" fmla="*/ 12641 w 2701062"/>
                <a:gd name="connsiteY66" fmla="*/ 3455335 h 3607033"/>
                <a:gd name="connsiteX67" fmla="*/ 0 w 2701062"/>
                <a:gd name="connsiteY67" fmla="*/ 3535398 h 3607033"/>
                <a:gd name="connsiteX68" fmla="*/ 63207 w 2701062"/>
                <a:gd name="connsiteY68" fmla="*/ 3531184 h 3607033"/>
                <a:gd name="connsiteX69" fmla="*/ 96918 w 2701062"/>
                <a:gd name="connsiteY69" fmla="*/ 3484832 h 3607033"/>
                <a:gd name="connsiteX70" fmla="*/ 155911 w 2701062"/>
                <a:gd name="connsiteY70" fmla="*/ 3526970 h 3607033"/>
                <a:gd name="connsiteX71" fmla="*/ 164339 w 2701062"/>
                <a:gd name="connsiteY71" fmla="*/ 3607033 h 3607033"/>
                <a:gd name="connsiteX72" fmla="*/ 265471 w 2701062"/>
                <a:gd name="connsiteY72" fmla="*/ 3556467 h 3607033"/>
                <a:gd name="connsiteX73" fmla="*/ 252829 w 2701062"/>
                <a:gd name="connsiteY73" fmla="*/ 3497473 h 3607033"/>
                <a:gd name="connsiteX74" fmla="*/ 307609 w 2701062"/>
                <a:gd name="connsiteY74" fmla="*/ 3455335 h 3607033"/>
                <a:gd name="connsiteX75" fmla="*/ 345534 w 2701062"/>
                <a:gd name="connsiteY75" fmla="*/ 3417411 h 3607033"/>
                <a:gd name="connsiteX76" fmla="*/ 375030 w 2701062"/>
                <a:gd name="connsiteY76" fmla="*/ 3375272 h 3607033"/>
                <a:gd name="connsiteX77" fmla="*/ 497231 w 2701062"/>
                <a:gd name="connsiteY77" fmla="*/ 3383700 h 3607033"/>
                <a:gd name="connsiteX78" fmla="*/ 497231 w 2701062"/>
                <a:gd name="connsiteY78" fmla="*/ 3383700 h 3607033"/>
                <a:gd name="connsiteX79" fmla="*/ 568866 w 2701062"/>
                <a:gd name="connsiteY79" fmla="*/ 3417411 h 3607033"/>
                <a:gd name="connsiteX80" fmla="*/ 589935 w 2701062"/>
                <a:gd name="connsiteY80" fmla="*/ 3396342 h 3607033"/>
                <a:gd name="connsiteX81" fmla="*/ 648929 w 2701062"/>
                <a:gd name="connsiteY81" fmla="*/ 3425838 h 3607033"/>
                <a:gd name="connsiteX82" fmla="*/ 674212 w 2701062"/>
                <a:gd name="connsiteY82" fmla="*/ 3421625 h 3607033"/>
                <a:gd name="connsiteX83" fmla="*/ 720564 w 2701062"/>
                <a:gd name="connsiteY83" fmla="*/ 3484832 h 3607033"/>
                <a:gd name="connsiteX84" fmla="*/ 754275 w 2701062"/>
                <a:gd name="connsiteY84" fmla="*/ 3476404 h 3607033"/>
                <a:gd name="connsiteX85" fmla="*/ 804840 w 2701062"/>
                <a:gd name="connsiteY85" fmla="*/ 3400555 h 3607033"/>
                <a:gd name="connsiteX86" fmla="*/ 842765 w 2701062"/>
                <a:gd name="connsiteY86" fmla="*/ 3366845 h 3607033"/>
                <a:gd name="connsiteX87" fmla="*/ 830123 w 2701062"/>
                <a:gd name="connsiteY87" fmla="*/ 3312065 h 3607033"/>
                <a:gd name="connsiteX88" fmla="*/ 859620 w 2701062"/>
                <a:gd name="connsiteY88" fmla="*/ 3257285 h 3607033"/>
                <a:gd name="connsiteX89" fmla="*/ 918614 w 2701062"/>
                <a:gd name="connsiteY89" fmla="*/ 3206720 h 3607033"/>
                <a:gd name="connsiteX90" fmla="*/ 1011318 w 2701062"/>
                <a:gd name="connsiteY90" fmla="*/ 3189864 h 3607033"/>
                <a:gd name="connsiteX91" fmla="*/ 1078739 w 2701062"/>
                <a:gd name="connsiteY91" fmla="*/ 3177223 h 3607033"/>
                <a:gd name="connsiteX92" fmla="*/ 1163016 w 2701062"/>
                <a:gd name="connsiteY92" fmla="*/ 3248858 h 3607033"/>
                <a:gd name="connsiteX93" fmla="*/ 1222009 w 2701062"/>
                <a:gd name="connsiteY93" fmla="*/ 3282568 h 3607033"/>
                <a:gd name="connsiteX94" fmla="*/ 1226223 w 2701062"/>
                <a:gd name="connsiteY94" fmla="*/ 3236216 h 3607033"/>
                <a:gd name="connsiteX95" fmla="*/ 1243078 w 2701062"/>
                <a:gd name="connsiteY95" fmla="*/ 3227789 h 3607033"/>
                <a:gd name="connsiteX96" fmla="*/ 1344210 w 2701062"/>
                <a:gd name="connsiteY96" fmla="*/ 3248858 h 3607033"/>
                <a:gd name="connsiteX97" fmla="*/ 1398990 w 2701062"/>
                <a:gd name="connsiteY97" fmla="*/ 3257285 h 3607033"/>
                <a:gd name="connsiteX98" fmla="*/ 1436914 w 2701062"/>
                <a:gd name="connsiteY98" fmla="*/ 3185650 h 3607033"/>
                <a:gd name="connsiteX99" fmla="*/ 1495908 w 2701062"/>
                <a:gd name="connsiteY99" fmla="*/ 3177223 h 3607033"/>
                <a:gd name="connsiteX100" fmla="*/ 1597040 w 2701062"/>
                <a:gd name="connsiteY100" fmla="*/ 3232002 h 3607033"/>
                <a:gd name="connsiteX101" fmla="*/ 1656033 w 2701062"/>
                <a:gd name="connsiteY101" fmla="*/ 3253072 h 3607033"/>
                <a:gd name="connsiteX102" fmla="*/ 1719240 w 2701062"/>
                <a:gd name="connsiteY102" fmla="*/ 3194078 h 3607033"/>
                <a:gd name="connsiteX103" fmla="*/ 1715027 w 2701062"/>
                <a:gd name="connsiteY103" fmla="*/ 3122443 h 3607033"/>
                <a:gd name="connsiteX104" fmla="*/ 1833014 w 2701062"/>
                <a:gd name="connsiteY104" fmla="*/ 3173009 h 3607033"/>
                <a:gd name="connsiteX105" fmla="*/ 1862510 w 2701062"/>
                <a:gd name="connsiteY105" fmla="*/ 3122443 h 3607033"/>
                <a:gd name="connsiteX106" fmla="*/ 2018422 w 2701062"/>
                <a:gd name="connsiteY106" fmla="*/ 3101374 h 3607033"/>
                <a:gd name="connsiteX107" fmla="*/ 2186975 w 2701062"/>
                <a:gd name="connsiteY107" fmla="*/ 3160367 h 3607033"/>
                <a:gd name="connsiteX108" fmla="*/ 2254396 w 2701062"/>
                <a:gd name="connsiteY108" fmla="*/ 3076091 h 3607033"/>
                <a:gd name="connsiteX109" fmla="*/ 2338673 w 2701062"/>
                <a:gd name="connsiteY109" fmla="*/ 3076091 h 3607033"/>
                <a:gd name="connsiteX110" fmla="*/ 2380811 w 2701062"/>
                <a:gd name="connsiteY110" fmla="*/ 3021311 h 3607033"/>
                <a:gd name="connsiteX111" fmla="*/ 2456660 w 2701062"/>
                <a:gd name="connsiteY111" fmla="*/ 3025525 h 3607033"/>
                <a:gd name="connsiteX112" fmla="*/ 2469301 w 2701062"/>
                <a:gd name="connsiteY112" fmla="*/ 2945462 h 3607033"/>
                <a:gd name="connsiteX113" fmla="*/ 2595716 w 2701062"/>
                <a:gd name="connsiteY113" fmla="*/ 2878041 h 3607033"/>
                <a:gd name="connsiteX114" fmla="*/ 2595716 w 2701062"/>
                <a:gd name="connsiteY114" fmla="*/ 2776909 h 3607033"/>
                <a:gd name="connsiteX115" fmla="*/ 2616785 w 2701062"/>
                <a:gd name="connsiteY115" fmla="*/ 2738985 h 3607033"/>
                <a:gd name="connsiteX116" fmla="*/ 2591502 w 2701062"/>
                <a:gd name="connsiteY116" fmla="*/ 2713702 h 3607033"/>
                <a:gd name="connsiteX117" fmla="*/ 2515653 w 2701062"/>
                <a:gd name="connsiteY117" fmla="*/ 2713702 h 3607033"/>
                <a:gd name="connsiteX118" fmla="*/ 2460874 w 2701062"/>
                <a:gd name="connsiteY118" fmla="*/ 2726343 h 3607033"/>
                <a:gd name="connsiteX119" fmla="*/ 2435591 w 2701062"/>
                <a:gd name="connsiteY119" fmla="*/ 2738985 h 3607033"/>
                <a:gd name="connsiteX120" fmla="*/ 2397666 w 2701062"/>
                <a:gd name="connsiteY120" fmla="*/ 2688419 h 3607033"/>
                <a:gd name="connsiteX121" fmla="*/ 2347100 w 2701062"/>
                <a:gd name="connsiteY121" fmla="*/ 2663136 h 3607033"/>
                <a:gd name="connsiteX122" fmla="*/ 2410308 w 2701062"/>
                <a:gd name="connsiteY122" fmla="*/ 2625212 h 3607033"/>
                <a:gd name="connsiteX123" fmla="*/ 2439804 w 2701062"/>
                <a:gd name="connsiteY123" fmla="*/ 2477728 h 3607033"/>
                <a:gd name="connsiteX124" fmla="*/ 2481943 w 2701062"/>
                <a:gd name="connsiteY124" fmla="*/ 2511438 h 3607033"/>
                <a:gd name="connsiteX125" fmla="*/ 2532509 w 2701062"/>
                <a:gd name="connsiteY125" fmla="*/ 2439803 h 3607033"/>
                <a:gd name="connsiteX126" fmla="*/ 2545150 w 2701062"/>
                <a:gd name="connsiteY126" fmla="*/ 2401879 h 3607033"/>
                <a:gd name="connsiteX127" fmla="*/ 2633640 w 2701062"/>
                <a:gd name="connsiteY127" fmla="*/ 2288106 h 3607033"/>
                <a:gd name="connsiteX128" fmla="*/ 2650496 w 2701062"/>
                <a:gd name="connsiteY128" fmla="*/ 2195402 h 3607033"/>
                <a:gd name="connsiteX129" fmla="*/ 2696848 w 2701062"/>
                <a:gd name="connsiteY129" fmla="*/ 2119553 h 3607033"/>
                <a:gd name="connsiteX130" fmla="*/ 2701062 w 2701062"/>
                <a:gd name="connsiteY130" fmla="*/ 1913075 h 3607033"/>
                <a:gd name="connsiteX131" fmla="*/ 2503012 w 2701062"/>
                <a:gd name="connsiteY131" fmla="*/ 1778233 h 3607033"/>
                <a:gd name="connsiteX132" fmla="*/ 2237541 w 2701062"/>
                <a:gd name="connsiteY132" fmla="*/ 1748736 h 3607033"/>
                <a:gd name="connsiteX133" fmla="*/ 2161692 w 2701062"/>
                <a:gd name="connsiteY133" fmla="*/ 1837226 h 3607033"/>
                <a:gd name="connsiteX134" fmla="*/ 2123768 w 2701062"/>
                <a:gd name="connsiteY134" fmla="*/ 1828799 h 3607033"/>
                <a:gd name="connsiteX135" fmla="*/ 2111126 w 2701062"/>
                <a:gd name="connsiteY135" fmla="*/ 1778233 h 3607033"/>
                <a:gd name="connsiteX136" fmla="*/ 2203830 w 2701062"/>
                <a:gd name="connsiteY136" fmla="*/ 1681315 h 3607033"/>
                <a:gd name="connsiteX137" fmla="*/ 2178547 w 2701062"/>
                <a:gd name="connsiteY137" fmla="*/ 1542259 h 3607033"/>
                <a:gd name="connsiteX138" fmla="*/ 2090057 w 2701062"/>
                <a:gd name="connsiteY138" fmla="*/ 1449555 h 3607033"/>
                <a:gd name="connsiteX139" fmla="*/ 2056346 w 2701062"/>
                <a:gd name="connsiteY139" fmla="*/ 1420058 h 3607033"/>
                <a:gd name="connsiteX140" fmla="*/ 2127981 w 2701062"/>
                <a:gd name="connsiteY140" fmla="*/ 1407416 h 3607033"/>
                <a:gd name="connsiteX141" fmla="*/ 2127981 w 2701062"/>
                <a:gd name="connsiteY141" fmla="*/ 1373706 h 3607033"/>
                <a:gd name="connsiteX142" fmla="*/ 2031063 w 2701062"/>
                <a:gd name="connsiteY142" fmla="*/ 1247291 h 3607033"/>
                <a:gd name="connsiteX143" fmla="*/ 2022636 w 2701062"/>
                <a:gd name="connsiteY143" fmla="*/ 1163014 h 3607033"/>
                <a:gd name="connsiteX144" fmla="*/ 2056346 w 2701062"/>
                <a:gd name="connsiteY144" fmla="*/ 1099807 h 3607033"/>
                <a:gd name="connsiteX145" fmla="*/ 2039491 w 2701062"/>
                <a:gd name="connsiteY145" fmla="*/ 1066096 h 3607033"/>
                <a:gd name="connsiteX146" fmla="*/ 1967856 w 2701062"/>
                <a:gd name="connsiteY146" fmla="*/ 1045027 h 3607033"/>
                <a:gd name="connsiteX147" fmla="*/ 1929932 w 2701062"/>
                <a:gd name="connsiteY147" fmla="*/ 986034 h 3607033"/>
                <a:gd name="connsiteX148" fmla="*/ 1934146 w 2701062"/>
                <a:gd name="connsiteY148" fmla="*/ 927040 h 3607033"/>
                <a:gd name="connsiteX149" fmla="*/ 1727668 w 2701062"/>
                <a:gd name="connsiteY149" fmla="*/ 809053 h 3607033"/>
                <a:gd name="connsiteX150" fmla="*/ 1664461 w 2701062"/>
                <a:gd name="connsiteY150" fmla="*/ 750060 h 3607033"/>
                <a:gd name="connsiteX151" fmla="*/ 1516977 w 2701062"/>
                <a:gd name="connsiteY151" fmla="*/ 210691 h 3607033"/>
                <a:gd name="connsiteX152" fmla="*/ 1407417 w 2701062"/>
                <a:gd name="connsiteY152" fmla="*/ 92705 h 3607033"/>
                <a:gd name="connsiteX153" fmla="*/ 1382133 w 2701062"/>
                <a:gd name="connsiteY153" fmla="*/ 0 h 3607033"/>
                <a:gd name="connsiteX0" fmla="*/ 1382133 w 2701062"/>
                <a:gd name="connsiteY0" fmla="*/ 28464 h 3635497"/>
                <a:gd name="connsiteX1" fmla="*/ 1253525 w 2701062"/>
                <a:gd name="connsiteY1" fmla="*/ 0 h 3635497"/>
                <a:gd name="connsiteX2" fmla="*/ 1335782 w 2701062"/>
                <a:gd name="connsiteY2" fmla="*/ 91671 h 3635497"/>
                <a:gd name="connsiteX3" fmla="*/ 1264148 w 2701062"/>
                <a:gd name="connsiteY3" fmla="*/ 180161 h 3635497"/>
                <a:gd name="connsiteX4" fmla="*/ 1281002 w 2701062"/>
                <a:gd name="connsiteY4" fmla="*/ 319218 h 3635497"/>
                <a:gd name="connsiteX5" fmla="*/ 1141946 w 2701062"/>
                <a:gd name="connsiteY5" fmla="*/ 454060 h 3635497"/>
                <a:gd name="connsiteX6" fmla="*/ 876475 w 2701062"/>
                <a:gd name="connsiteY6" fmla="*/ 711102 h 3635497"/>
                <a:gd name="connsiteX7" fmla="*/ 804840 w 2701062"/>
                <a:gd name="connsiteY7" fmla="*/ 782737 h 3635497"/>
                <a:gd name="connsiteX8" fmla="*/ 813268 w 2701062"/>
                <a:gd name="connsiteY8" fmla="*/ 913366 h 3635497"/>
                <a:gd name="connsiteX9" fmla="*/ 897545 w 2701062"/>
                <a:gd name="connsiteY9" fmla="*/ 1081919 h 3635497"/>
                <a:gd name="connsiteX10" fmla="*/ 943897 w 2701062"/>
                <a:gd name="connsiteY10" fmla="*/ 1166195 h 3635497"/>
                <a:gd name="connsiteX11" fmla="*/ 964966 w 2701062"/>
                <a:gd name="connsiteY11" fmla="*/ 1195692 h 3635497"/>
                <a:gd name="connsiteX12" fmla="*/ 994463 w 2701062"/>
                <a:gd name="connsiteY12" fmla="*/ 1170409 h 3635497"/>
                <a:gd name="connsiteX13" fmla="*/ 1011318 w 2701062"/>
                <a:gd name="connsiteY13" fmla="*/ 1115630 h 3635497"/>
                <a:gd name="connsiteX14" fmla="*/ 1057670 w 2701062"/>
                <a:gd name="connsiteY14" fmla="*/ 1107202 h 3635497"/>
                <a:gd name="connsiteX15" fmla="*/ 1053456 w 2701062"/>
                <a:gd name="connsiteY15" fmla="*/ 1170409 h 3635497"/>
                <a:gd name="connsiteX16" fmla="*/ 1040815 w 2701062"/>
                <a:gd name="connsiteY16" fmla="*/ 1204120 h 3635497"/>
                <a:gd name="connsiteX17" fmla="*/ 1049242 w 2701062"/>
                <a:gd name="connsiteY17" fmla="*/ 1229403 h 3635497"/>
                <a:gd name="connsiteX18" fmla="*/ 986035 w 2701062"/>
                <a:gd name="connsiteY18" fmla="*/ 1246258 h 3635497"/>
                <a:gd name="connsiteX19" fmla="*/ 1011318 w 2701062"/>
                <a:gd name="connsiteY19" fmla="*/ 1381101 h 3635497"/>
                <a:gd name="connsiteX20" fmla="*/ 1049242 w 2701062"/>
                <a:gd name="connsiteY20" fmla="*/ 1376887 h 3635497"/>
                <a:gd name="connsiteX21" fmla="*/ 1040815 w 2701062"/>
                <a:gd name="connsiteY21" fmla="*/ 1440094 h 3635497"/>
                <a:gd name="connsiteX22" fmla="*/ 981821 w 2701062"/>
                <a:gd name="connsiteY22" fmla="*/ 1473805 h 3635497"/>
                <a:gd name="connsiteX23" fmla="*/ 931255 w 2701062"/>
                <a:gd name="connsiteY23" fmla="*/ 1473805 h 3635497"/>
                <a:gd name="connsiteX24" fmla="*/ 897545 w 2701062"/>
                <a:gd name="connsiteY24" fmla="*/ 1537012 h 3635497"/>
                <a:gd name="connsiteX25" fmla="*/ 901758 w 2701062"/>
                <a:gd name="connsiteY25" fmla="*/ 1566509 h 3635497"/>
                <a:gd name="connsiteX26" fmla="*/ 948110 w 2701062"/>
                <a:gd name="connsiteY26" fmla="*/ 1574936 h 3635497"/>
                <a:gd name="connsiteX27" fmla="*/ 931255 w 2701062"/>
                <a:gd name="connsiteY27" fmla="*/ 1612861 h 3635497"/>
                <a:gd name="connsiteX28" fmla="*/ 952324 w 2701062"/>
                <a:gd name="connsiteY28" fmla="*/ 1621289 h 3635497"/>
                <a:gd name="connsiteX29" fmla="*/ 1015532 w 2701062"/>
                <a:gd name="connsiteY29" fmla="*/ 1625502 h 3635497"/>
                <a:gd name="connsiteX30" fmla="*/ 1040815 w 2701062"/>
                <a:gd name="connsiteY30" fmla="*/ 1663427 h 3635497"/>
                <a:gd name="connsiteX31" fmla="*/ 1036601 w 2701062"/>
                <a:gd name="connsiteY31" fmla="*/ 1701351 h 3635497"/>
                <a:gd name="connsiteX32" fmla="*/ 1104022 w 2701062"/>
                <a:gd name="connsiteY32" fmla="*/ 1802483 h 3635497"/>
                <a:gd name="connsiteX33" fmla="*/ 1053456 w 2701062"/>
                <a:gd name="connsiteY33" fmla="*/ 1827766 h 3635497"/>
                <a:gd name="connsiteX34" fmla="*/ 998676 w 2701062"/>
                <a:gd name="connsiteY34" fmla="*/ 1823552 h 3635497"/>
                <a:gd name="connsiteX35" fmla="*/ 964966 w 2701062"/>
                <a:gd name="connsiteY35" fmla="*/ 1903615 h 3635497"/>
                <a:gd name="connsiteX36" fmla="*/ 1015532 w 2701062"/>
                <a:gd name="connsiteY36" fmla="*/ 1945753 h 3635497"/>
                <a:gd name="connsiteX37" fmla="*/ 994463 w 2701062"/>
                <a:gd name="connsiteY37" fmla="*/ 2042671 h 3635497"/>
                <a:gd name="connsiteX38" fmla="*/ 1019746 w 2701062"/>
                <a:gd name="connsiteY38" fmla="*/ 2076382 h 3635497"/>
                <a:gd name="connsiteX39" fmla="*/ 990249 w 2701062"/>
                <a:gd name="connsiteY39" fmla="*/ 2110092 h 3635497"/>
                <a:gd name="connsiteX40" fmla="*/ 948110 w 2701062"/>
                <a:gd name="connsiteY40" fmla="*/ 2110092 h 3635497"/>
                <a:gd name="connsiteX41" fmla="*/ 939683 w 2701062"/>
                <a:gd name="connsiteY41" fmla="*/ 2148017 h 3635497"/>
                <a:gd name="connsiteX42" fmla="*/ 994463 w 2701062"/>
                <a:gd name="connsiteY42" fmla="*/ 2194369 h 3635497"/>
                <a:gd name="connsiteX43" fmla="*/ 981821 w 2701062"/>
                <a:gd name="connsiteY43" fmla="*/ 2375563 h 3635497"/>
                <a:gd name="connsiteX44" fmla="*/ 1015532 w 2701062"/>
                <a:gd name="connsiteY44" fmla="*/ 2455626 h 3635497"/>
                <a:gd name="connsiteX45" fmla="*/ 1049242 w 2701062"/>
                <a:gd name="connsiteY45" fmla="*/ 2455626 h 3635497"/>
                <a:gd name="connsiteX46" fmla="*/ 1129305 w 2701062"/>
                <a:gd name="connsiteY46" fmla="*/ 2523047 h 3635497"/>
                <a:gd name="connsiteX47" fmla="*/ 1125091 w 2701062"/>
                <a:gd name="connsiteY47" fmla="*/ 2653676 h 3635497"/>
                <a:gd name="connsiteX48" fmla="*/ 1087167 w 2701062"/>
                <a:gd name="connsiteY48" fmla="*/ 2716883 h 3635497"/>
                <a:gd name="connsiteX49" fmla="*/ 1015532 w 2701062"/>
                <a:gd name="connsiteY49" fmla="*/ 2784304 h 3635497"/>
                <a:gd name="connsiteX50" fmla="*/ 1007104 w 2701062"/>
                <a:gd name="connsiteY50" fmla="*/ 2872795 h 3635497"/>
                <a:gd name="connsiteX51" fmla="*/ 922828 w 2701062"/>
                <a:gd name="connsiteY51" fmla="*/ 2885436 h 3635497"/>
                <a:gd name="connsiteX52" fmla="*/ 868048 w 2701062"/>
                <a:gd name="connsiteY52" fmla="*/ 2889650 h 3635497"/>
                <a:gd name="connsiteX53" fmla="*/ 830123 w 2701062"/>
                <a:gd name="connsiteY53" fmla="*/ 2851725 h 3635497"/>
                <a:gd name="connsiteX54" fmla="*/ 577294 w 2701062"/>
                <a:gd name="connsiteY54" fmla="*/ 2872795 h 3635497"/>
                <a:gd name="connsiteX55" fmla="*/ 568866 w 2701062"/>
                <a:gd name="connsiteY55" fmla="*/ 2978140 h 3635497"/>
                <a:gd name="connsiteX56" fmla="*/ 514087 w 2701062"/>
                <a:gd name="connsiteY56" fmla="*/ 3011851 h 3635497"/>
                <a:gd name="connsiteX57" fmla="*/ 484590 w 2701062"/>
                <a:gd name="connsiteY57" fmla="*/ 2978140 h 3635497"/>
                <a:gd name="connsiteX58" fmla="*/ 446665 w 2701062"/>
                <a:gd name="connsiteY58" fmla="*/ 3003423 h 3635497"/>
                <a:gd name="connsiteX59" fmla="*/ 434024 w 2701062"/>
                <a:gd name="connsiteY59" fmla="*/ 3121410 h 3635497"/>
                <a:gd name="connsiteX60" fmla="*/ 328678 w 2701062"/>
                <a:gd name="connsiteY60" fmla="*/ 3247825 h 3635497"/>
                <a:gd name="connsiteX61" fmla="*/ 273899 w 2701062"/>
                <a:gd name="connsiteY61" fmla="*/ 3260466 h 3635497"/>
                <a:gd name="connsiteX62" fmla="*/ 252829 w 2701062"/>
                <a:gd name="connsiteY62" fmla="*/ 3311032 h 3635497"/>
                <a:gd name="connsiteX63" fmla="*/ 202263 w 2701062"/>
                <a:gd name="connsiteY63" fmla="*/ 3391095 h 3635497"/>
                <a:gd name="connsiteX64" fmla="*/ 164339 w 2701062"/>
                <a:gd name="connsiteY64" fmla="*/ 3420592 h 3635497"/>
                <a:gd name="connsiteX65" fmla="*/ 75849 w 2701062"/>
                <a:gd name="connsiteY65" fmla="*/ 3450089 h 3635497"/>
                <a:gd name="connsiteX66" fmla="*/ 12641 w 2701062"/>
                <a:gd name="connsiteY66" fmla="*/ 3483799 h 3635497"/>
                <a:gd name="connsiteX67" fmla="*/ 0 w 2701062"/>
                <a:gd name="connsiteY67" fmla="*/ 3563862 h 3635497"/>
                <a:gd name="connsiteX68" fmla="*/ 63207 w 2701062"/>
                <a:gd name="connsiteY68" fmla="*/ 3559648 h 3635497"/>
                <a:gd name="connsiteX69" fmla="*/ 96918 w 2701062"/>
                <a:gd name="connsiteY69" fmla="*/ 3513296 h 3635497"/>
                <a:gd name="connsiteX70" fmla="*/ 155911 w 2701062"/>
                <a:gd name="connsiteY70" fmla="*/ 3555434 h 3635497"/>
                <a:gd name="connsiteX71" fmla="*/ 164339 w 2701062"/>
                <a:gd name="connsiteY71" fmla="*/ 3635497 h 3635497"/>
                <a:gd name="connsiteX72" fmla="*/ 265471 w 2701062"/>
                <a:gd name="connsiteY72" fmla="*/ 3584931 h 3635497"/>
                <a:gd name="connsiteX73" fmla="*/ 252829 w 2701062"/>
                <a:gd name="connsiteY73" fmla="*/ 3525937 h 3635497"/>
                <a:gd name="connsiteX74" fmla="*/ 307609 w 2701062"/>
                <a:gd name="connsiteY74" fmla="*/ 3483799 h 3635497"/>
                <a:gd name="connsiteX75" fmla="*/ 345534 w 2701062"/>
                <a:gd name="connsiteY75" fmla="*/ 3445875 h 3635497"/>
                <a:gd name="connsiteX76" fmla="*/ 375030 w 2701062"/>
                <a:gd name="connsiteY76" fmla="*/ 3403736 h 3635497"/>
                <a:gd name="connsiteX77" fmla="*/ 497231 w 2701062"/>
                <a:gd name="connsiteY77" fmla="*/ 3412164 h 3635497"/>
                <a:gd name="connsiteX78" fmla="*/ 497231 w 2701062"/>
                <a:gd name="connsiteY78" fmla="*/ 3412164 h 3635497"/>
                <a:gd name="connsiteX79" fmla="*/ 568866 w 2701062"/>
                <a:gd name="connsiteY79" fmla="*/ 3445875 h 3635497"/>
                <a:gd name="connsiteX80" fmla="*/ 589935 w 2701062"/>
                <a:gd name="connsiteY80" fmla="*/ 3424806 h 3635497"/>
                <a:gd name="connsiteX81" fmla="*/ 648929 w 2701062"/>
                <a:gd name="connsiteY81" fmla="*/ 3454302 h 3635497"/>
                <a:gd name="connsiteX82" fmla="*/ 674212 w 2701062"/>
                <a:gd name="connsiteY82" fmla="*/ 3450089 h 3635497"/>
                <a:gd name="connsiteX83" fmla="*/ 720564 w 2701062"/>
                <a:gd name="connsiteY83" fmla="*/ 3513296 h 3635497"/>
                <a:gd name="connsiteX84" fmla="*/ 754275 w 2701062"/>
                <a:gd name="connsiteY84" fmla="*/ 3504868 h 3635497"/>
                <a:gd name="connsiteX85" fmla="*/ 804840 w 2701062"/>
                <a:gd name="connsiteY85" fmla="*/ 3429019 h 3635497"/>
                <a:gd name="connsiteX86" fmla="*/ 842765 w 2701062"/>
                <a:gd name="connsiteY86" fmla="*/ 3395309 h 3635497"/>
                <a:gd name="connsiteX87" fmla="*/ 830123 w 2701062"/>
                <a:gd name="connsiteY87" fmla="*/ 3340529 h 3635497"/>
                <a:gd name="connsiteX88" fmla="*/ 859620 w 2701062"/>
                <a:gd name="connsiteY88" fmla="*/ 3285749 h 3635497"/>
                <a:gd name="connsiteX89" fmla="*/ 918614 w 2701062"/>
                <a:gd name="connsiteY89" fmla="*/ 3235184 h 3635497"/>
                <a:gd name="connsiteX90" fmla="*/ 1011318 w 2701062"/>
                <a:gd name="connsiteY90" fmla="*/ 3218328 h 3635497"/>
                <a:gd name="connsiteX91" fmla="*/ 1078739 w 2701062"/>
                <a:gd name="connsiteY91" fmla="*/ 3205687 h 3635497"/>
                <a:gd name="connsiteX92" fmla="*/ 1163016 w 2701062"/>
                <a:gd name="connsiteY92" fmla="*/ 3277322 h 3635497"/>
                <a:gd name="connsiteX93" fmla="*/ 1222009 w 2701062"/>
                <a:gd name="connsiteY93" fmla="*/ 3311032 h 3635497"/>
                <a:gd name="connsiteX94" fmla="*/ 1226223 w 2701062"/>
                <a:gd name="connsiteY94" fmla="*/ 3264680 h 3635497"/>
                <a:gd name="connsiteX95" fmla="*/ 1243078 w 2701062"/>
                <a:gd name="connsiteY95" fmla="*/ 3256253 h 3635497"/>
                <a:gd name="connsiteX96" fmla="*/ 1344210 w 2701062"/>
                <a:gd name="connsiteY96" fmla="*/ 3277322 h 3635497"/>
                <a:gd name="connsiteX97" fmla="*/ 1398990 w 2701062"/>
                <a:gd name="connsiteY97" fmla="*/ 3285749 h 3635497"/>
                <a:gd name="connsiteX98" fmla="*/ 1436914 w 2701062"/>
                <a:gd name="connsiteY98" fmla="*/ 3214114 h 3635497"/>
                <a:gd name="connsiteX99" fmla="*/ 1495908 w 2701062"/>
                <a:gd name="connsiteY99" fmla="*/ 3205687 h 3635497"/>
                <a:gd name="connsiteX100" fmla="*/ 1597040 w 2701062"/>
                <a:gd name="connsiteY100" fmla="*/ 3260466 h 3635497"/>
                <a:gd name="connsiteX101" fmla="*/ 1656033 w 2701062"/>
                <a:gd name="connsiteY101" fmla="*/ 3281536 h 3635497"/>
                <a:gd name="connsiteX102" fmla="*/ 1719240 w 2701062"/>
                <a:gd name="connsiteY102" fmla="*/ 3222542 h 3635497"/>
                <a:gd name="connsiteX103" fmla="*/ 1715027 w 2701062"/>
                <a:gd name="connsiteY103" fmla="*/ 3150907 h 3635497"/>
                <a:gd name="connsiteX104" fmla="*/ 1833014 w 2701062"/>
                <a:gd name="connsiteY104" fmla="*/ 3201473 h 3635497"/>
                <a:gd name="connsiteX105" fmla="*/ 1862510 w 2701062"/>
                <a:gd name="connsiteY105" fmla="*/ 3150907 h 3635497"/>
                <a:gd name="connsiteX106" fmla="*/ 2018422 w 2701062"/>
                <a:gd name="connsiteY106" fmla="*/ 3129838 h 3635497"/>
                <a:gd name="connsiteX107" fmla="*/ 2186975 w 2701062"/>
                <a:gd name="connsiteY107" fmla="*/ 3188831 h 3635497"/>
                <a:gd name="connsiteX108" fmla="*/ 2254396 w 2701062"/>
                <a:gd name="connsiteY108" fmla="*/ 3104555 h 3635497"/>
                <a:gd name="connsiteX109" fmla="*/ 2338673 w 2701062"/>
                <a:gd name="connsiteY109" fmla="*/ 3104555 h 3635497"/>
                <a:gd name="connsiteX110" fmla="*/ 2380811 w 2701062"/>
                <a:gd name="connsiteY110" fmla="*/ 3049775 h 3635497"/>
                <a:gd name="connsiteX111" fmla="*/ 2456660 w 2701062"/>
                <a:gd name="connsiteY111" fmla="*/ 3053989 h 3635497"/>
                <a:gd name="connsiteX112" fmla="*/ 2469301 w 2701062"/>
                <a:gd name="connsiteY112" fmla="*/ 2973926 h 3635497"/>
                <a:gd name="connsiteX113" fmla="*/ 2595716 w 2701062"/>
                <a:gd name="connsiteY113" fmla="*/ 2906505 h 3635497"/>
                <a:gd name="connsiteX114" fmla="*/ 2595716 w 2701062"/>
                <a:gd name="connsiteY114" fmla="*/ 2805373 h 3635497"/>
                <a:gd name="connsiteX115" fmla="*/ 2616785 w 2701062"/>
                <a:gd name="connsiteY115" fmla="*/ 2767449 h 3635497"/>
                <a:gd name="connsiteX116" fmla="*/ 2591502 w 2701062"/>
                <a:gd name="connsiteY116" fmla="*/ 2742166 h 3635497"/>
                <a:gd name="connsiteX117" fmla="*/ 2515653 w 2701062"/>
                <a:gd name="connsiteY117" fmla="*/ 2742166 h 3635497"/>
                <a:gd name="connsiteX118" fmla="*/ 2460874 w 2701062"/>
                <a:gd name="connsiteY118" fmla="*/ 2754807 h 3635497"/>
                <a:gd name="connsiteX119" fmla="*/ 2435591 w 2701062"/>
                <a:gd name="connsiteY119" fmla="*/ 2767449 h 3635497"/>
                <a:gd name="connsiteX120" fmla="*/ 2397666 w 2701062"/>
                <a:gd name="connsiteY120" fmla="*/ 2716883 h 3635497"/>
                <a:gd name="connsiteX121" fmla="*/ 2347100 w 2701062"/>
                <a:gd name="connsiteY121" fmla="*/ 2691600 h 3635497"/>
                <a:gd name="connsiteX122" fmla="*/ 2410308 w 2701062"/>
                <a:gd name="connsiteY122" fmla="*/ 2653676 h 3635497"/>
                <a:gd name="connsiteX123" fmla="*/ 2439804 w 2701062"/>
                <a:gd name="connsiteY123" fmla="*/ 2506192 h 3635497"/>
                <a:gd name="connsiteX124" fmla="*/ 2481943 w 2701062"/>
                <a:gd name="connsiteY124" fmla="*/ 2539902 h 3635497"/>
                <a:gd name="connsiteX125" fmla="*/ 2532509 w 2701062"/>
                <a:gd name="connsiteY125" fmla="*/ 2468267 h 3635497"/>
                <a:gd name="connsiteX126" fmla="*/ 2545150 w 2701062"/>
                <a:gd name="connsiteY126" fmla="*/ 2430343 h 3635497"/>
                <a:gd name="connsiteX127" fmla="*/ 2633640 w 2701062"/>
                <a:gd name="connsiteY127" fmla="*/ 2316570 h 3635497"/>
                <a:gd name="connsiteX128" fmla="*/ 2650496 w 2701062"/>
                <a:gd name="connsiteY128" fmla="*/ 2223866 h 3635497"/>
                <a:gd name="connsiteX129" fmla="*/ 2696848 w 2701062"/>
                <a:gd name="connsiteY129" fmla="*/ 2148017 h 3635497"/>
                <a:gd name="connsiteX130" fmla="*/ 2701062 w 2701062"/>
                <a:gd name="connsiteY130" fmla="*/ 1941539 h 3635497"/>
                <a:gd name="connsiteX131" fmla="*/ 2503012 w 2701062"/>
                <a:gd name="connsiteY131" fmla="*/ 1806697 h 3635497"/>
                <a:gd name="connsiteX132" fmla="*/ 2237541 w 2701062"/>
                <a:gd name="connsiteY132" fmla="*/ 1777200 h 3635497"/>
                <a:gd name="connsiteX133" fmla="*/ 2161692 w 2701062"/>
                <a:gd name="connsiteY133" fmla="*/ 1865690 h 3635497"/>
                <a:gd name="connsiteX134" fmla="*/ 2123768 w 2701062"/>
                <a:gd name="connsiteY134" fmla="*/ 1857263 h 3635497"/>
                <a:gd name="connsiteX135" fmla="*/ 2111126 w 2701062"/>
                <a:gd name="connsiteY135" fmla="*/ 1806697 h 3635497"/>
                <a:gd name="connsiteX136" fmla="*/ 2203830 w 2701062"/>
                <a:gd name="connsiteY136" fmla="*/ 1709779 h 3635497"/>
                <a:gd name="connsiteX137" fmla="*/ 2178547 w 2701062"/>
                <a:gd name="connsiteY137" fmla="*/ 1570723 h 3635497"/>
                <a:gd name="connsiteX138" fmla="*/ 2090057 w 2701062"/>
                <a:gd name="connsiteY138" fmla="*/ 1478019 h 3635497"/>
                <a:gd name="connsiteX139" fmla="*/ 2056346 w 2701062"/>
                <a:gd name="connsiteY139" fmla="*/ 1448522 h 3635497"/>
                <a:gd name="connsiteX140" fmla="*/ 2127981 w 2701062"/>
                <a:gd name="connsiteY140" fmla="*/ 1435880 h 3635497"/>
                <a:gd name="connsiteX141" fmla="*/ 2127981 w 2701062"/>
                <a:gd name="connsiteY141" fmla="*/ 1402170 h 3635497"/>
                <a:gd name="connsiteX142" fmla="*/ 2031063 w 2701062"/>
                <a:gd name="connsiteY142" fmla="*/ 1275755 h 3635497"/>
                <a:gd name="connsiteX143" fmla="*/ 2022636 w 2701062"/>
                <a:gd name="connsiteY143" fmla="*/ 1191478 h 3635497"/>
                <a:gd name="connsiteX144" fmla="*/ 2056346 w 2701062"/>
                <a:gd name="connsiteY144" fmla="*/ 1128271 h 3635497"/>
                <a:gd name="connsiteX145" fmla="*/ 2039491 w 2701062"/>
                <a:gd name="connsiteY145" fmla="*/ 1094560 h 3635497"/>
                <a:gd name="connsiteX146" fmla="*/ 1967856 w 2701062"/>
                <a:gd name="connsiteY146" fmla="*/ 1073491 h 3635497"/>
                <a:gd name="connsiteX147" fmla="*/ 1929932 w 2701062"/>
                <a:gd name="connsiteY147" fmla="*/ 1014498 h 3635497"/>
                <a:gd name="connsiteX148" fmla="*/ 1934146 w 2701062"/>
                <a:gd name="connsiteY148" fmla="*/ 955504 h 3635497"/>
                <a:gd name="connsiteX149" fmla="*/ 1727668 w 2701062"/>
                <a:gd name="connsiteY149" fmla="*/ 837517 h 3635497"/>
                <a:gd name="connsiteX150" fmla="*/ 1664461 w 2701062"/>
                <a:gd name="connsiteY150" fmla="*/ 778524 h 3635497"/>
                <a:gd name="connsiteX151" fmla="*/ 1516977 w 2701062"/>
                <a:gd name="connsiteY151" fmla="*/ 239155 h 3635497"/>
                <a:gd name="connsiteX152" fmla="*/ 1407417 w 2701062"/>
                <a:gd name="connsiteY152" fmla="*/ 121169 h 3635497"/>
                <a:gd name="connsiteX153" fmla="*/ 1382133 w 2701062"/>
                <a:gd name="connsiteY153" fmla="*/ 28464 h 3635497"/>
                <a:gd name="connsiteX0" fmla="*/ 1365464 w 2701062"/>
                <a:gd name="connsiteY0" fmla="*/ 33227 h 3635497"/>
                <a:gd name="connsiteX1" fmla="*/ 1253525 w 2701062"/>
                <a:gd name="connsiteY1" fmla="*/ 0 h 3635497"/>
                <a:gd name="connsiteX2" fmla="*/ 1335782 w 2701062"/>
                <a:gd name="connsiteY2" fmla="*/ 91671 h 3635497"/>
                <a:gd name="connsiteX3" fmla="*/ 1264148 w 2701062"/>
                <a:gd name="connsiteY3" fmla="*/ 180161 h 3635497"/>
                <a:gd name="connsiteX4" fmla="*/ 1281002 w 2701062"/>
                <a:gd name="connsiteY4" fmla="*/ 319218 h 3635497"/>
                <a:gd name="connsiteX5" fmla="*/ 1141946 w 2701062"/>
                <a:gd name="connsiteY5" fmla="*/ 454060 h 3635497"/>
                <a:gd name="connsiteX6" fmla="*/ 876475 w 2701062"/>
                <a:gd name="connsiteY6" fmla="*/ 711102 h 3635497"/>
                <a:gd name="connsiteX7" fmla="*/ 804840 w 2701062"/>
                <a:gd name="connsiteY7" fmla="*/ 782737 h 3635497"/>
                <a:gd name="connsiteX8" fmla="*/ 813268 w 2701062"/>
                <a:gd name="connsiteY8" fmla="*/ 913366 h 3635497"/>
                <a:gd name="connsiteX9" fmla="*/ 897545 w 2701062"/>
                <a:gd name="connsiteY9" fmla="*/ 1081919 h 3635497"/>
                <a:gd name="connsiteX10" fmla="*/ 943897 w 2701062"/>
                <a:gd name="connsiteY10" fmla="*/ 1166195 h 3635497"/>
                <a:gd name="connsiteX11" fmla="*/ 964966 w 2701062"/>
                <a:gd name="connsiteY11" fmla="*/ 1195692 h 3635497"/>
                <a:gd name="connsiteX12" fmla="*/ 994463 w 2701062"/>
                <a:gd name="connsiteY12" fmla="*/ 1170409 h 3635497"/>
                <a:gd name="connsiteX13" fmla="*/ 1011318 w 2701062"/>
                <a:gd name="connsiteY13" fmla="*/ 1115630 h 3635497"/>
                <a:gd name="connsiteX14" fmla="*/ 1057670 w 2701062"/>
                <a:gd name="connsiteY14" fmla="*/ 1107202 h 3635497"/>
                <a:gd name="connsiteX15" fmla="*/ 1053456 w 2701062"/>
                <a:gd name="connsiteY15" fmla="*/ 1170409 h 3635497"/>
                <a:gd name="connsiteX16" fmla="*/ 1040815 w 2701062"/>
                <a:gd name="connsiteY16" fmla="*/ 1204120 h 3635497"/>
                <a:gd name="connsiteX17" fmla="*/ 1049242 w 2701062"/>
                <a:gd name="connsiteY17" fmla="*/ 1229403 h 3635497"/>
                <a:gd name="connsiteX18" fmla="*/ 986035 w 2701062"/>
                <a:gd name="connsiteY18" fmla="*/ 1246258 h 3635497"/>
                <a:gd name="connsiteX19" fmla="*/ 1011318 w 2701062"/>
                <a:gd name="connsiteY19" fmla="*/ 1381101 h 3635497"/>
                <a:gd name="connsiteX20" fmla="*/ 1049242 w 2701062"/>
                <a:gd name="connsiteY20" fmla="*/ 1376887 h 3635497"/>
                <a:gd name="connsiteX21" fmla="*/ 1040815 w 2701062"/>
                <a:gd name="connsiteY21" fmla="*/ 1440094 h 3635497"/>
                <a:gd name="connsiteX22" fmla="*/ 981821 w 2701062"/>
                <a:gd name="connsiteY22" fmla="*/ 1473805 h 3635497"/>
                <a:gd name="connsiteX23" fmla="*/ 931255 w 2701062"/>
                <a:gd name="connsiteY23" fmla="*/ 1473805 h 3635497"/>
                <a:gd name="connsiteX24" fmla="*/ 897545 w 2701062"/>
                <a:gd name="connsiteY24" fmla="*/ 1537012 h 3635497"/>
                <a:gd name="connsiteX25" fmla="*/ 901758 w 2701062"/>
                <a:gd name="connsiteY25" fmla="*/ 1566509 h 3635497"/>
                <a:gd name="connsiteX26" fmla="*/ 948110 w 2701062"/>
                <a:gd name="connsiteY26" fmla="*/ 1574936 h 3635497"/>
                <a:gd name="connsiteX27" fmla="*/ 931255 w 2701062"/>
                <a:gd name="connsiteY27" fmla="*/ 1612861 h 3635497"/>
                <a:gd name="connsiteX28" fmla="*/ 952324 w 2701062"/>
                <a:gd name="connsiteY28" fmla="*/ 1621289 h 3635497"/>
                <a:gd name="connsiteX29" fmla="*/ 1015532 w 2701062"/>
                <a:gd name="connsiteY29" fmla="*/ 1625502 h 3635497"/>
                <a:gd name="connsiteX30" fmla="*/ 1040815 w 2701062"/>
                <a:gd name="connsiteY30" fmla="*/ 1663427 h 3635497"/>
                <a:gd name="connsiteX31" fmla="*/ 1036601 w 2701062"/>
                <a:gd name="connsiteY31" fmla="*/ 1701351 h 3635497"/>
                <a:gd name="connsiteX32" fmla="*/ 1104022 w 2701062"/>
                <a:gd name="connsiteY32" fmla="*/ 1802483 h 3635497"/>
                <a:gd name="connsiteX33" fmla="*/ 1053456 w 2701062"/>
                <a:gd name="connsiteY33" fmla="*/ 1827766 h 3635497"/>
                <a:gd name="connsiteX34" fmla="*/ 998676 w 2701062"/>
                <a:gd name="connsiteY34" fmla="*/ 1823552 h 3635497"/>
                <a:gd name="connsiteX35" fmla="*/ 964966 w 2701062"/>
                <a:gd name="connsiteY35" fmla="*/ 1903615 h 3635497"/>
                <a:gd name="connsiteX36" fmla="*/ 1015532 w 2701062"/>
                <a:gd name="connsiteY36" fmla="*/ 1945753 h 3635497"/>
                <a:gd name="connsiteX37" fmla="*/ 994463 w 2701062"/>
                <a:gd name="connsiteY37" fmla="*/ 2042671 h 3635497"/>
                <a:gd name="connsiteX38" fmla="*/ 1019746 w 2701062"/>
                <a:gd name="connsiteY38" fmla="*/ 2076382 h 3635497"/>
                <a:gd name="connsiteX39" fmla="*/ 990249 w 2701062"/>
                <a:gd name="connsiteY39" fmla="*/ 2110092 h 3635497"/>
                <a:gd name="connsiteX40" fmla="*/ 948110 w 2701062"/>
                <a:gd name="connsiteY40" fmla="*/ 2110092 h 3635497"/>
                <a:gd name="connsiteX41" fmla="*/ 939683 w 2701062"/>
                <a:gd name="connsiteY41" fmla="*/ 2148017 h 3635497"/>
                <a:gd name="connsiteX42" fmla="*/ 994463 w 2701062"/>
                <a:gd name="connsiteY42" fmla="*/ 2194369 h 3635497"/>
                <a:gd name="connsiteX43" fmla="*/ 981821 w 2701062"/>
                <a:gd name="connsiteY43" fmla="*/ 2375563 h 3635497"/>
                <a:gd name="connsiteX44" fmla="*/ 1015532 w 2701062"/>
                <a:gd name="connsiteY44" fmla="*/ 2455626 h 3635497"/>
                <a:gd name="connsiteX45" fmla="*/ 1049242 w 2701062"/>
                <a:gd name="connsiteY45" fmla="*/ 2455626 h 3635497"/>
                <a:gd name="connsiteX46" fmla="*/ 1129305 w 2701062"/>
                <a:gd name="connsiteY46" fmla="*/ 2523047 h 3635497"/>
                <a:gd name="connsiteX47" fmla="*/ 1125091 w 2701062"/>
                <a:gd name="connsiteY47" fmla="*/ 2653676 h 3635497"/>
                <a:gd name="connsiteX48" fmla="*/ 1087167 w 2701062"/>
                <a:gd name="connsiteY48" fmla="*/ 2716883 h 3635497"/>
                <a:gd name="connsiteX49" fmla="*/ 1015532 w 2701062"/>
                <a:gd name="connsiteY49" fmla="*/ 2784304 h 3635497"/>
                <a:gd name="connsiteX50" fmla="*/ 1007104 w 2701062"/>
                <a:gd name="connsiteY50" fmla="*/ 2872795 h 3635497"/>
                <a:gd name="connsiteX51" fmla="*/ 922828 w 2701062"/>
                <a:gd name="connsiteY51" fmla="*/ 2885436 h 3635497"/>
                <a:gd name="connsiteX52" fmla="*/ 868048 w 2701062"/>
                <a:gd name="connsiteY52" fmla="*/ 2889650 h 3635497"/>
                <a:gd name="connsiteX53" fmla="*/ 830123 w 2701062"/>
                <a:gd name="connsiteY53" fmla="*/ 2851725 h 3635497"/>
                <a:gd name="connsiteX54" fmla="*/ 577294 w 2701062"/>
                <a:gd name="connsiteY54" fmla="*/ 2872795 h 3635497"/>
                <a:gd name="connsiteX55" fmla="*/ 568866 w 2701062"/>
                <a:gd name="connsiteY55" fmla="*/ 2978140 h 3635497"/>
                <a:gd name="connsiteX56" fmla="*/ 514087 w 2701062"/>
                <a:gd name="connsiteY56" fmla="*/ 3011851 h 3635497"/>
                <a:gd name="connsiteX57" fmla="*/ 484590 w 2701062"/>
                <a:gd name="connsiteY57" fmla="*/ 2978140 h 3635497"/>
                <a:gd name="connsiteX58" fmla="*/ 446665 w 2701062"/>
                <a:gd name="connsiteY58" fmla="*/ 3003423 h 3635497"/>
                <a:gd name="connsiteX59" fmla="*/ 434024 w 2701062"/>
                <a:gd name="connsiteY59" fmla="*/ 3121410 h 3635497"/>
                <a:gd name="connsiteX60" fmla="*/ 328678 w 2701062"/>
                <a:gd name="connsiteY60" fmla="*/ 3247825 h 3635497"/>
                <a:gd name="connsiteX61" fmla="*/ 273899 w 2701062"/>
                <a:gd name="connsiteY61" fmla="*/ 3260466 h 3635497"/>
                <a:gd name="connsiteX62" fmla="*/ 252829 w 2701062"/>
                <a:gd name="connsiteY62" fmla="*/ 3311032 h 3635497"/>
                <a:gd name="connsiteX63" fmla="*/ 202263 w 2701062"/>
                <a:gd name="connsiteY63" fmla="*/ 3391095 h 3635497"/>
                <a:gd name="connsiteX64" fmla="*/ 164339 w 2701062"/>
                <a:gd name="connsiteY64" fmla="*/ 3420592 h 3635497"/>
                <a:gd name="connsiteX65" fmla="*/ 75849 w 2701062"/>
                <a:gd name="connsiteY65" fmla="*/ 3450089 h 3635497"/>
                <a:gd name="connsiteX66" fmla="*/ 12641 w 2701062"/>
                <a:gd name="connsiteY66" fmla="*/ 3483799 h 3635497"/>
                <a:gd name="connsiteX67" fmla="*/ 0 w 2701062"/>
                <a:gd name="connsiteY67" fmla="*/ 3563862 h 3635497"/>
                <a:gd name="connsiteX68" fmla="*/ 63207 w 2701062"/>
                <a:gd name="connsiteY68" fmla="*/ 3559648 h 3635497"/>
                <a:gd name="connsiteX69" fmla="*/ 96918 w 2701062"/>
                <a:gd name="connsiteY69" fmla="*/ 3513296 h 3635497"/>
                <a:gd name="connsiteX70" fmla="*/ 155911 w 2701062"/>
                <a:gd name="connsiteY70" fmla="*/ 3555434 h 3635497"/>
                <a:gd name="connsiteX71" fmla="*/ 164339 w 2701062"/>
                <a:gd name="connsiteY71" fmla="*/ 3635497 h 3635497"/>
                <a:gd name="connsiteX72" fmla="*/ 265471 w 2701062"/>
                <a:gd name="connsiteY72" fmla="*/ 3584931 h 3635497"/>
                <a:gd name="connsiteX73" fmla="*/ 252829 w 2701062"/>
                <a:gd name="connsiteY73" fmla="*/ 3525937 h 3635497"/>
                <a:gd name="connsiteX74" fmla="*/ 307609 w 2701062"/>
                <a:gd name="connsiteY74" fmla="*/ 3483799 h 3635497"/>
                <a:gd name="connsiteX75" fmla="*/ 345534 w 2701062"/>
                <a:gd name="connsiteY75" fmla="*/ 3445875 h 3635497"/>
                <a:gd name="connsiteX76" fmla="*/ 375030 w 2701062"/>
                <a:gd name="connsiteY76" fmla="*/ 3403736 h 3635497"/>
                <a:gd name="connsiteX77" fmla="*/ 497231 w 2701062"/>
                <a:gd name="connsiteY77" fmla="*/ 3412164 h 3635497"/>
                <a:gd name="connsiteX78" fmla="*/ 497231 w 2701062"/>
                <a:gd name="connsiteY78" fmla="*/ 3412164 h 3635497"/>
                <a:gd name="connsiteX79" fmla="*/ 568866 w 2701062"/>
                <a:gd name="connsiteY79" fmla="*/ 3445875 h 3635497"/>
                <a:gd name="connsiteX80" fmla="*/ 589935 w 2701062"/>
                <a:gd name="connsiteY80" fmla="*/ 3424806 h 3635497"/>
                <a:gd name="connsiteX81" fmla="*/ 648929 w 2701062"/>
                <a:gd name="connsiteY81" fmla="*/ 3454302 h 3635497"/>
                <a:gd name="connsiteX82" fmla="*/ 674212 w 2701062"/>
                <a:gd name="connsiteY82" fmla="*/ 3450089 h 3635497"/>
                <a:gd name="connsiteX83" fmla="*/ 720564 w 2701062"/>
                <a:gd name="connsiteY83" fmla="*/ 3513296 h 3635497"/>
                <a:gd name="connsiteX84" fmla="*/ 754275 w 2701062"/>
                <a:gd name="connsiteY84" fmla="*/ 3504868 h 3635497"/>
                <a:gd name="connsiteX85" fmla="*/ 804840 w 2701062"/>
                <a:gd name="connsiteY85" fmla="*/ 3429019 h 3635497"/>
                <a:gd name="connsiteX86" fmla="*/ 842765 w 2701062"/>
                <a:gd name="connsiteY86" fmla="*/ 3395309 h 3635497"/>
                <a:gd name="connsiteX87" fmla="*/ 830123 w 2701062"/>
                <a:gd name="connsiteY87" fmla="*/ 3340529 h 3635497"/>
                <a:gd name="connsiteX88" fmla="*/ 859620 w 2701062"/>
                <a:gd name="connsiteY88" fmla="*/ 3285749 h 3635497"/>
                <a:gd name="connsiteX89" fmla="*/ 918614 w 2701062"/>
                <a:gd name="connsiteY89" fmla="*/ 3235184 h 3635497"/>
                <a:gd name="connsiteX90" fmla="*/ 1011318 w 2701062"/>
                <a:gd name="connsiteY90" fmla="*/ 3218328 h 3635497"/>
                <a:gd name="connsiteX91" fmla="*/ 1078739 w 2701062"/>
                <a:gd name="connsiteY91" fmla="*/ 3205687 h 3635497"/>
                <a:gd name="connsiteX92" fmla="*/ 1163016 w 2701062"/>
                <a:gd name="connsiteY92" fmla="*/ 3277322 h 3635497"/>
                <a:gd name="connsiteX93" fmla="*/ 1222009 w 2701062"/>
                <a:gd name="connsiteY93" fmla="*/ 3311032 h 3635497"/>
                <a:gd name="connsiteX94" fmla="*/ 1226223 w 2701062"/>
                <a:gd name="connsiteY94" fmla="*/ 3264680 h 3635497"/>
                <a:gd name="connsiteX95" fmla="*/ 1243078 w 2701062"/>
                <a:gd name="connsiteY95" fmla="*/ 3256253 h 3635497"/>
                <a:gd name="connsiteX96" fmla="*/ 1344210 w 2701062"/>
                <a:gd name="connsiteY96" fmla="*/ 3277322 h 3635497"/>
                <a:gd name="connsiteX97" fmla="*/ 1398990 w 2701062"/>
                <a:gd name="connsiteY97" fmla="*/ 3285749 h 3635497"/>
                <a:gd name="connsiteX98" fmla="*/ 1436914 w 2701062"/>
                <a:gd name="connsiteY98" fmla="*/ 3214114 h 3635497"/>
                <a:gd name="connsiteX99" fmla="*/ 1495908 w 2701062"/>
                <a:gd name="connsiteY99" fmla="*/ 3205687 h 3635497"/>
                <a:gd name="connsiteX100" fmla="*/ 1597040 w 2701062"/>
                <a:gd name="connsiteY100" fmla="*/ 3260466 h 3635497"/>
                <a:gd name="connsiteX101" fmla="*/ 1656033 w 2701062"/>
                <a:gd name="connsiteY101" fmla="*/ 3281536 h 3635497"/>
                <a:gd name="connsiteX102" fmla="*/ 1719240 w 2701062"/>
                <a:gd name="connsiteY102" fmla="*/ 3222542 h 3635497"/>
                <a:gd name="connsiteX103" fmla="*/ 1715027 w 2701062"/>
                <a:gd name="connsiteY103" fmla="*/ 3150907 h 3635497"/>
                <a:gd name="connsiteX104" fmla="*/ 1833014 w 2701062"/>
                <a:gd name="connsiteY104" fmla="*/ 3201473 h 3635497"/>
                <a:gd name="connsiteX105" fmla="*/ 1862510 w 2701062"/>
                <a:gd name="connsiteY105" fmla="*/ 3150907 h 3635497"/>
                <a:gd name="connsiteX106" fmla="*/ 2018422 w 2701062"/>
                <a:gd name="connsiteY106" fmla="*/ 3129838 h 3635497"/>
                <a:gd name="connsiteX107" fmla="*/ 2186975 w 2701062"/>
                <a:gd name="connsiteY107" fmla="*/ 3188831 h 3635497"/>
                <a:gd name="connsiteX108" fmla="*/ 2254396 w 2701062"/>
                <a:gd name="connsiteY108" fmla="*/ 3104555 h 3635497"/>
                <a:gd name="connsiteX109" fmla="*/ 2338673 w 2701062"/>
                <a:gd name="connsiteY109" fmla="*/ 3104555 h 3635497"/>
                <a:gd name="connsiteX110" fmla="*/ 2380811 w 2701062"/>
                <a:gd name="connsiteY110" fmla="*/ 3049775 h 3635497"/>
                <a:gd name="connsiteX111" fmla="*/ 2456660 w 2701062"/>
                <a:gd name="connsiteY111" fmla="*/ 3053989 h 3635497"/>
                <a:gd name="connsiteX112" fmla="*/ 2469301 w 2701062"/>
                <a:gd name="connsiteY112" fmla="*/ 2973926 h 3635497"/>
                <a:gd name="connsiteX113" fmla="*/ 2595716 w 2701062"/>
                <a:gd name="connsiteY113" fmla="*/ 2906505 h 3635497"/>
                <a:gd name="connsiteX114" fmla="*/ 2595716 w 2701062"/>
                <a:gd name="connsiteY114" fmla="*/ 2805373 h 3635497"/>
                <a:gd name="connsiteX115" fmla="*/ 2616785 w 2701062"/>
                <a:gd name="connsiteY115" fmla="*/ 2767449 h 3635497"/>
                <a:gd name="connsiteX116" fmla="*/ 2591502 w 2701062"/>
                <a:gd name="connsiteY116" fmla="*/ 2742166 h 3635497"/>
                <a:gd name="connsiteX117" fmla="*/ 2515653 w 2701062"/>
                <a:gd name="connsiteY117" fmla="*/ 2742166 h 3635497"/>
                <a:gd name="connsiteX118" fmla="*/ 2460874 w 2701062"/>
                <a:gd name="connsiteY118" fmla="*/ 2754807 h 3635497"/>
                <a:gd name="connsiteX119" fmla="*/ 2435591 w 2701062"/>
                <a:gd name="connsiteY119" fmla="*/ 2767449 h 3635497"/>
                <a:gd name="connsiteX120" fmla="*/ 2397666 w 2701062"/>
                <a:gd name="connsiteY120" fmla="*/ 2716883 h 3635497"/>
                <a:gd name="connsiteX121" fmla="*/ 2347100 w 2701062"/>
                <a:gd name="connsiteY121" fmla="*/ 2691600 h 3635497"/>
                <a:gd name="connsiteX122" fmla="*/ 2410308 w 2701062"/>
                <a:gd name="connsiteY122" fmla="*/ 2653676 h 3635497"/>
                <a:gd name="connsiteX123" fmla="*/ 2439804 w 2701062"/>
                <a:gd name="connsiteY123" fmla="*/ 2506192 h 3635497"/>
                <a:gd name="connsiteX124" fmla="*/ 2481943 w 2701062"/>
                <a:gd name="connsiteY124" fmla="*/ 2539902 h 3635497"/>
                <a:gd name="connsiteX125" fmla="*/ 2532509 w 2701062"/>
                <a:gd name="connsiteY125" fmla="*/ 2468267 h 3635497"/>
                <a:gd name="connsiteX126" fmla="*/ 2545150 w 2701062"/>
                <a:gd name="connsiteY126" fmla="*/ 2430343 h 3635497"/>
                <a:gd name="connsiteX127" fmla="*/ 2633640 w 2701062"/>
                <a:gd name="connsiteY127" fmla="*/ 2316570 h 3635497"/>
                <a:gd name="connsiteX128" fmla="*/ 2650496 w 2701062"/>
                <a:gd name="connsiteY128" fmla="*/ 2223866 h 3635497"/>
                <a:gd name="connsiteX129" fmla="*/ 2696848 w 2701062"/>
                <a:gd name="connsiteY129" fmla="*/ 2148017 h 3635497"/>
                <a:gd name="connsiteX130" fmla="*/ 2701062 w 2701062"/>
                <a:gd name="connsiteY130" fmla="*/ 1941539 h 3635497"/>
                <a:gd name="connsiteX131" fmla="*/ 2503012 w 2701062"/>
                <a:gd name="connsiteY131" fmla="*/ 1806697 h 3635497"/>
                <a:gd name="connsiteX132" fmla="*/ 2237541 w 2701062"/>
                <a:gd name="connsiteY132" fmla="*/ 1777200 h 3635497"/>
                <a:gd name="connsiteX133" fmla="*/ 2161692 w 2701062"/>
                <a:gd name="connsiteY133" fmla="*/ 1865690 h 3635497"/>
                <a:gd name="connsiteX134" fmla="*/ 2123768 w 2701062"/>
                <a:gd name="connsiteY134" fmla="*/ 1857263 h 3635497"/>
                <a:gd name="connsiteX135" fmla="*/ 2111126 w 2701062"/>
                <a:gd name="connsiteY135" fmla="*/ 1806697 h 3635497"/>
                <a:gd name="connsiteX136" fmla="*/ 2203830 w 2701062"/>
                <a:gd name="connsiteY136" fmla="*/ 1709779 h 3635497"/>
                <a:gd name="connsiteX137" fmla="*/ 2178547 w 2701062"/>
                <a:gd name="connsiteY137" fmla="*/ 1570723 h 3635497"/>
                <a:gd name="connsiteX138" fmla="*/ 2090057 w 2701062"/>
                <a:gd name="connsiteY138" fmla="*/ 1478019 h 3635497"/>
                <a:gd name="connsiteX139" fmla="*/ 2056346 w 2701062"/>
                <a:gd name="connsiteY139" fmla="*/ 1448522 h 3635497"/>
                <a:gd name="connsiteX140" fmla="*/ 2127981 w 2701062"/>
                <a:gd name="connsiteY140" fmla="*/ 1435880 h 3635497"/>
                <a:gd name="connsiteX141" fmla="*/ 2127981 w 2701062"/>
                <a:gd name="connsiteY141" fmla="*/ 1402170 h 3635497"/>
                <a:gd name="connsiteX142" fmla="*/ 2031063 w 2701062"/>
                <a:gd name="connsiteY142" fmla="*/ 1275755 h 3635497"/>
                <a:gd name="connsiteX143" fmla="*/ 2022636 w 2701062"/>
                <a:gd name="connsiteY143" fmla="*/ 1191478 h 3635497"/>
                <a:gd name="connsiteX144" fmla="*/ 2056346 w 2701062"/>
                <a:gd name="connsiteY144" fmla="*/ 1128271 h 3635497"/>
                <a:gd name="connsiteX145" fmla="*/ 2039491 w 2701062"/>
                <a:gd name="connsiteY145" fmla="*/ 1094560 h 3635497"/>
                <a:gd name="connsiteX146" fmla="*/ 1967856 w 2701062"/>
                <a:gd name="connsiteY146" fmla="*/ 1073491 h 3635497"/>
                <a:gd name="connsiteX147" fmla="*/ 1929932 w 2701062"/>
                <a:gd name="connsiteY147" fmla="*/ 1014498 h 3635497"/>
                <a:gd name="connsiteX148" fmla="*/ 1934146 w 2701062"/>
                <a:gd name="connsiteY148" fmla="*/ 955504 h 3635497"/>
                <a:gd name="connsiteX149" fmla="*/ 1727668 w 2701062"/>
                <a:gd name="connsiteY149" fmla="*/ 837517 h 3635497"/>
                <a:gd name="connsiteX150" fmla="*/ 1664461 w 2701062"/>
                <a:gd name="connsiteY150" fmla="*/ 778524 h 3635497"/>
                <a:gd name="connsiteX151" fmla="*/ 1516977 w 2701062"/>
                <a:gd name="connsiteY151" fmla="*/ 239155 h 3635497"/>
                <a:gd name="connsiteX152" fmla="*/ 1407417 w 2701062"/>
                <a:gd name="connsiteY152" fmla="*/ 121169 h 3635497"/>
                <a:gd name="connsiteX153" fmla="*/ 1365464 w 2701062"/>
                <a:gd name="connsiteY153" fmla="*/ 33227 h 363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2701062" h="3635497">
                  <a:moveTo>
                    <a:pt x="1365464" y="33227"/>
                  </a:moveTo>
                  <a:lnTo>
                    <a:pt x="1253525" y="0"/>
                  </a:lnTo>
                  <a:lnTo>
                    <a:pt x="1335782" y="91671"/>
                  </a:lnTo>
                  <a:lnTo>
                    <a:pt x="1264148" y="180161"/>
                  </a:lnTo>
                  <a:lnTo>
                    <a:pt x="1281002" y="319218"/>
                  </a:lnTo>
                  <a:lnTo>
                    <a:pt x="1141946" y="454060"/>
                  </a:lnTo>
                  <a:lnTo>
                    <a:pt x="876475" y="711102"/>
                  </a:lnTo>
                  <a:lnTo>
                    <a:pt x="804840" y="782737"/>
                  </a:lnTo>
                  <a:lnTo>
                    <a:pt x="813268" y="913366"/>
                  </a:lnTo>
                  <a:lnTo>
                    <a:pt x="897545" y="1081919"/>
                  </a:lnTo>
                  <a:lnTo>
                    <a:pt x="943897" y="1166195"/>
                  </a:lnTo>
                  <a:lnTo>
                    <a:pt x="964966" y="1195692"/>
                  </a:lnTo>
                  <a:lnTo>
                    <a:pt x="994463" y="1170409"/>
                  </a:lnTo>
                  <a:lnTo>
                    <a:pt x="1011318" y="1115630"/>
                  </a:lnTo>
                  <a:lnTo>
                    <a:pt x="1057670" y="1107202"/>
                  </a:lnTo>
                  <a:lnTo>
                    <a:pt x="1053456" y="1170409"/>
                  </a:lnTo>
                  <a:lnTo>
                    <a:pt x="1040815" y="1204120"/>
                  </a:lnTo>
                  <a:lnTo>
                    <a:pt x="1049242" y="1229403"/>
                  </a:lnTo>
                  <a:lnTo>
                    <a:pt x="986035" y="1246258"/>
                  </a:lnTo>
                  <a:lnTo>
                    <a:pt x="1011318" y="1381101"/>
                  </a:lnTo>
                  <a:lnTo>
                    <a:pt x="1049242" y="1376887"/>
                  </a:lnTo>
                  <a:lnTo>
                    <a:pt x="1040815" y="1440094"/>
                  </a:lnTo>
                  <a:lnTo>
                    <a:pt x="981821" y="1473805"/>
                  </a:lnTo>
                  <a:lnTo>
                    <a:pt x="931255" y="1473805"/>
                  </a:lnTo>
                  <a:lnTo>
                    <a:pt x="897545" y="1537012"/>
                  </a:lnTo>
                  <a:lnTo>
                    <a:pt x="901758" y="1566509"/>
                  </a:lnTo>
                  <a:lnTo>
                    <a:pt x="948110" y="1574936"/>
                  </a:lnTo>
                  <a:lnTo>
                    <a:pt x="931255" y="1612861"/>
                  </a:lnTo>
                  <a:lnTo>
                    <a:pt x="952324" y="1621289"/>
                  </a:lnTo>
                  <a:lnTo>
                    <a:pt x="1015532" y="1625502"/>
                  </a:lnTo>
                  <a:lnTo>
                    <a:pt x="1040815" y="1663427"/>
                  </a:lnTo>
                  <a:lnTo>
                    <a:pt x="1036601" y="1701351"/>
                  </a:lnTo>
                  <a:lnTo>
                    <a:pt x="1104022" y="1802483"/>
                  </a:lnTo>
                  <a:lnTo>
                    <a:pt x="1053456" y="1827766"/>
                  </a:lnTo>
                  <a:lnTo>
                    <a:pt x="998676" y="1823552"/>
                  </a:lnTo>
                  <a:lnTo>
                    <a:pt x="964966" y="1903615"/>
                  </a:lnTo>
                  <a:lnTo>
                    <a:pt x="1015532" y="1945753"/>
                  </a:lnTo>
                  <a:lnTo>
                    <a:pt x="994463" y="2042671"/>
                  </a:lnTo>
                  <a:lnTo>
                    <a:pt x="1019746" y="2076382"/>
                  </a:lnTo>
                  <a:lnTo>
                    <a:pt x="990249" y="2110092"/>
                  </a:lnTo>
                  <a:lnTo>
                    <a:pt x="948110" y="2110092"/>
                  </a:lnTo>
                  <a:lnTo>
                    <a:pt x="939683" y="2148017"/>
                  </a:lnTo>
                  <a:lnTo>
                    <a:pt x="994463" y="2194369"/>
                  </a:lnTo>
                  <a:lnTo>
                    <a:pt x="981821" y="2375563"/>
                  </a:lnTo>
                  <a:lnTo>
                    <a:pt x="1015532" y="2455626"/>
                  </a:lnTo>
                  <a:lnTo>
                    <a:pt x="1049242" y="2455626"/>
                  </a:lnTo>
                  <a:lnTo>
                    <a:pt x="1129305" y="2523047"/>
                  </a:lnTo>
                  <a:lnTo>
                    <a:pt x="1125091" y="2653676"/>
                  </a:lnTo>
                  <a:lnTo>
                    <a:pt x="1087167" y="2716883"/>
                  </a:lnTo>
                  <a:lnTo>
                    <a:pt x="1015532" y="2784304"/>
                  </a:lnTo>
                  <a:lnTo>
                    <a:pt x="1007104" y="2872795"/>
                  </a:lnTo>
                  <a:lnTo>
                    <a:pt x="922828" y="2885436"/>
                  </a:lnTo>
                  <a:lnTo>
                    <a:pt x="868048" y="2889650"/>
                  </a:lnTo>
                  <a:lnTo>
                    <a:pt x="830123" y="2851725"/>
                  </a:lnTo>
                  <a:lnTo>
                    <a:pt x="577294" y="2872795"/>
                  </a:lnTo>
                  <a:lnTo>
                    <a:pt x="568866" y="2978140"/>
                  </a:lnTo>
                  <a:lnTo>
                    <a:pt x="514087" y="3011851"/>
                  </a:lnTo>
                  <a:lnTo>
                    <a:pt x="484590" y="2978140"/>
                  </a:lnTo>
                  <a:lnTo>
                    <a:pt x="446665" y="3003423"/>
                  </a:lnTo>
                  <a:lnTo>
                    <a:pt x="434024" y="3121410"/>
                  </a:lnTo>
                  <a:lnTo>
                    <a:pt x="328678" y="3247825"/>
                  </a:lnTo>
                  <a:lnTo>
                    <a:pt x="273899" y="3260466"/>
                  </a:lnTo>
                  <a:lnTo>
                    <a:pt x="252829" y="3311032"/>
                  </a:lnTo>
                  <a:lnTo>
                    <a:pt x="202263" y="3391095"/>
                  </a:lnTo>
                  <a:lnTo>
                    <a:pt x="164339" y="3420592"/>
                  </a:lnTo>
                  <a:lnTo>
                    <a:pt x="75849" y="3450089"/>
                  </a:lnTo>
                  <a:lnTo>
                    <a:pt x="12641" y="3483799"/>
                  </a:lnTo>
                  <a:lnTo>
                    <a:pt x="0" y="3563862"/>
                  </a:lnTo>
                  <a:lnTo>
                    <a:pt x="63207" y="3559648"/>
                  </a:lnTo>
                  <a:lnTo>
                    <a:pt x="96918" y="3513296"/>
                  </a:lnTo>
                  <a:lnTo>
                    <a:pt x="155911" y="3555434"/>
                  </a:lnTo>
                  <a:lnTo>
                    <a:pt x="164339" y="3635497"/>
                  </a:lnTo>
                  <a:lnTo>
                    <a:pt x="265471" y="3584931"/>
                  </a:lnTo>
                  <a:lnTo>
                    <a:pt x="252829" y="3525937"/>
                  </a:lnTo>
                  <a:lnTo>
                    <a:pt x="307609" y="3483799"/>
                  </a:lnTo>
                  <a:lnTo>
                    <a:pt x="345534" y="3445875"/>
                  </a:lnTo>
                  <a:lnTo>
                    <a:pt x="375030" y="3403736"/>
                  </a:lnTo>
                  <a:lnTo>
                    <a:pt x="497231" y="3412164"/>
                  </a:lnTo>
                  <a:lnTo>
                    <a:pt x="497231" y="3412164"/>
                  </a:lnTo>
                  <a:lnTo>
                    <a:pt x="568866" y="3445875"/>
                  </a:lnTo>
                  <a:lnTo>
                    <a:pt x="589935" y="3424806"/>
                  </a:lnTo>
                  <a:lnTo>
                    <a:pt x="648929" y="3454302"/>
                  </a:lnTo>
                  <a:lnTo>
                    <a:pt x="674212" y="3450089"/>
                  </a:lnTo>
                  <a:lnTo>
                    <a:pt x="720564" y="3513296"/>
                  </a:lnTo>
                  <a:lnTo>
                    <a:pt x="754275" y="3504868"/>
                  </a:lnTo>
                  <a:lnTo>
                    <a:pt x="804840" y="3429019"/>
                  </a:lnTo>
                  <a:lnTo>
                    <a:pt x="842765" y="3395309"/>
                  </a:lnTo>
                  <a:lnTo>
                    <a:pt x="830123" y="3340529"/>
                  </a:lnTo>
                  <a:lnTo>
                    <a:pt x="859620" y="3285749"/>
                  </a:lnTo>
                  <a:lnTo>
                    <a:pt x="918614" y="3235184"/>
                  </a:lnTo>
                  <a:lnTo>
                    <a:pt x="1011318" y="3218328"/>
                  </a:lnTo>
                  <a:lnTo>
                    <a:pt x="1078739" y="3205687"/>
                  </a:lnTo>
                  <a:lnTo>
                    <a:pt x="1163016" y="3277322"/>
                  </a:lnTo>
                  <a:lnTo>
                    <a:pt x="1222009" y="3311032"/>
                  </a:lnTo>
                  <a:lnTo>
                    <a:pt x="1226223" y="3264680"/>
                  </a:lnTo>
                  <a:lnTo>
                    <a:pt x="1243078" y="3256253"/>
                  </a:lnTo>
                  <a:lnTo>
                    <a:pt x="1344210" y="3277322"/>
                  </a:lnTo>
                  <a:lnTo>
                    <a:pt x="1398990" y="3285749"/>
                  </a:lnTo>
                  <a:lnTo>
                    <a:pt x="1436914" y="3214114"/>
                  </a:lnTo>
                  <a:lnTo>
                    <a:pt x="1495908" y="3205687"/>
                  </a:lnTo>
                  <a:lnTo>
                    <a:pt x="1597040" y="3260466"/>
                  </a:lnTo>
                  <a:lnTo>
                    <a:pt x="1656033" y="3281536"/>
                  </a:lnTo>
                  <a:lnTo>
                    <a:pt x="1719240" y="3222542"/>
                  </a:lnTo>
                  <a:lnTo>
                    <a:pt x="1715027" y="3150907"/>
                  </a:lnTo>
                  <a:lnTo>
                    <a:pt x="1833014" y="3201473"/>
                  </a:lnTo>
                  <a:lnTo>
                    <a:pt x="1862510" y="3150907"/>
                  </a:lnTo>
                  <a:lnTo>
                    <a:pt x="2018422" y="3129838"/>
                  </a:lnTo>
                  <a:lnTo>
                    <a:pt x="2186975" y="3188831"/>
                  </a:lnTo>
                  <a:lnTo>
                    <a:pt x="2254396" y="3104555"/>
                  </a:lnTo>
                  <a:lnTo>
                    <a:pt x="2338673" y="3104555"/>
                  </a:lnTo>
                  <a:lnTo>
                    <a:pt x="2380811" y="3049775"/>
                  </a:lnTo>
                  <a:lnTo>
                    <a:pt x="2456660" y="3053989"/>
                  </a:lnTo>
                  <a:lnTo>
                    <a:pt x="2469301" y="2973926"/>
                  </a:lnTo>
                  <a:lnTo>
                    <a:pt x="2595716" y="2906505"/>
                  </a:lnTo>
                  <a:lnTo>
                    <a:pt x="2595716" y="2805373"/>
                  </a:lnTo>
                  <a:lnTo>
                    <a:pt x="2616785" y="2767449"/>
                  </a:lnTo>
                  <a:lnTo>
                    <a:pt x="2591502" y="2742166"/>
                  </a:lnTo>
                  <a:lnTo>
                    <a:pt x="2515653" y="2742166"/>
                  </a:lnTo>
                  <a:lnTo>
                    <a:pt x="2460874" y="2754807"/>
                  </a:lnTo>
                  <a:lnTo>
                    <a:pt x="2435591" y="2767449"/>
                  </a:lnTo>
                  <a:lnTo>
                    <a:pt x="2397666" y="2716883"/>
                  </a:lnTo>
                  <a:lnTo>
                    <a:pt x="2347100" y="2691600"/>
                  </a:lnTo>
                  <a:lnTo>
                    <a:pt x="2410308" y="2653676"/>
                  </a:lnTo>
                  <a:lnTo>
                    <a:pt x="2439804" y="2506192"/>
                  </a:lnTo>
                  <a:lnTo>
                    <a:pt x="2481943" y="2539902"/>
                  </a:lnTo>
                  <a:lnTo>
                    <a:pt x="2532509" y="2468267"/>
                  </a:lnTo>
                  <a:lnTo>
                    <a:pt x="2545150" y="2430343"/>
                  </a:lnTo>
                  <a:lnTo>
                    <a:pt x="2633640" y="2316570"/>
                  </a:lnTo>
                  <a:lnTo>
                    <a:pt x="2650496" y="2223866"/>
                  </a:lnTo>
                  <a:lnTo>
                    <a:pt x="2696848" y="2148017"/>
                  </a:lnTo>
                  <a:cubicBezTo>
                    <a:pt x="2698253" y="2079191"/>
                    <a:pt x="2699657" y="2010365"/>
                    <a:pt x="2701062" y="1941539"/>
                  </a:cubicBezTo>
                  <a:lnTo>
                    <a:pt x="2503012" y="1806697"/>
                  </a:lnTo>
                  <a:lnTo>
                    <a:pt x="2237541" y="1777200"/>
                  </a:lnTo>
                  <a:lnTo>
                    <a:pt x="2161692" y="1865690"/>
                  </a:lnTo>
                  <a:lnTo>
                    <a:pt x="2123768" y="1857263"/>
                  </a:lnTo>
                  <a:lnTo>
                    <a:pt x="2111126" y="1806697"/>
                  </a:lnTo>
                  <a:lnTo>
                    <a:pt x="2203830" y="1709779"/>
                  </a:lnTo>
                  <a:lnTo>
                    <a:pt x="2178547" y="1570723"/>
                  </a:lnTo>
                  <a:lnTo>
                    <a:pt x="2090057" y="1478019"/>
                  </a:lnTo>
                  <a:lnTo>
                    <a:pt x="2056346" y="1448522"/>
                  </a:lnTo>
                  <a:lnTo>
                    <a:pt x="2127981" y="1435880"/>
                  </a:lnTo>
                  <a:lnTo>
                    <a:pt x="2127981" y="1402170"/>
                  </a:lnTo>
                  <a:lnTo>
                    <a:pt x="2031063" y="1275755"/>
                  </a:lnTo>
                  <a:lnTo>
                    <a:pt x="2022636" y="1191478"/>
                  </a:lnTo>
                  <a:lnTo>
                    <a:pt x="2056346" y="1128271"/>
                  </a:lnTo>
                  <a:lnTo>
                    <a:pt x="2039491" y="1094560"/>
                  </a:lnTo>
                  <a:lnTo>
                    <a:pt x="1967856" y="1073491"/>
                  </a:lnTo>
                  <a:lnTo>
                    <a:pt x="1929932" y="1014498"/>
                  </a:lnTo>
                  <a:lnTo>
                    <a:pt x="1934146" y="955504"/>
                  </a:lnTo>
                  <a:lnTo>
                    <a:pt x="1727668" y="837517"/>
                  </a:lnTo>
                  <a:lnTo>
                    <a:pt x="1664461" y="778524"/>
                  </a:lnTo>
                  <a:lnTo>
                    <a:pt x="1516977" y="239155"/>
                  </a:lnTo>
                  <a:lnTo>
                    <a:pt x="1407417" y="121169"/>
                  </a:lnTo>
                  <a:cubicBezTo>
                    <a:pt x="1368087" y="24250"/>
                    <a:pt x="1392152" y="41655"/>
                    <a:pt x="1365464" y="33227"/>
                  </a:cubicBez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charset="0"/>
                <a:ea typeface="+mn-ea"/>
                <a:cs typeface="Arial" charset="0"/>
              </a:endParaRPr>
            </a:p>
          </p:txBody>
        </p:sp>
        <p:grpSp>
          <p:nvGrpSpPr>
            <p:cNvPr id="10" name="Group 9">
              <a:extLst>
                <a:ext uri="{FF2B5EF4-FFF2-40B4-BE49-F238E27FC236}">
                  <a16:creationId xmlns:a16="http://schemas.microsoft.com/office/drawing/2014/main" id="{2BF0ED08-F385-4A97-BA7D-5B059D8843D5}"/>
                </a:ext>
              </a:extLst>
            </p:cNvPr>
            <p:cNvGrpSpPr/>
            <p:nvPr/>
          </p:nvGrpSpPr>
          <p:grpSpPr bwMode="auto">
            <a:xfrm>
              <a:off x="4937125" y="208756"/>
              <a:ext cx="2141537" cy="3687762"/>
              <a:chOff x="4937125" y="208756"/>
              <a:chExt cx="2141537" cy="3687762"/>
            </a:xfrm>
            <a:grpFill/>
          </p:grpSpPr>
          <p:sp>
            <p:nvSpPr>
              <p:cNvPr id="11" name="Freeform 51">
                <a:extLst>
                  <a:ext uri="{FF2B5EF4-FFF2-40B4-BE49-F238E27FC236}">
                    <a16:creationId xmlns:a16="http://schemas.microsoft.com/office/drawing/2014/main" id="{E6C8E542-64C5-46BC-BFF7-163A3732A18D}"/>
                  </a:ext>
                </a:extLst>
              </p:cNvPr>
              <p:cNvSpPr/>
              <p:nvPr/>
            </p:nvSpPr>
            <p:spPr bwMode="auto">
              <a:xfrm>
                <a:off x="5233987" y="1437481"/>
                <a:ext cx="1568450" cy="2459037"/>
              </a:xfrm>
              <a:custGeom>
                <a:avLst/>
                <a:gdLst>
                  <a:gd name="connsiteX0" fmla="*/ 1192545 w 1568040"/>
                  <a:gd name="connsiteY0" fmla="*/ 41722 h 2458102"/>
                  <a:gd name="connsiteX1" fmla="*/ 1161254 w 1568040"/>
                  <a:gd name="connsiteY1" fmla="*/ 139072 h 2458102"/>
                  <a:gd name="connsiteX2" fmla="*/ 1189068 w 1568040"/>
                  <a:gd name="connsiteY2" fmla="*/ 170364 h 2458102"/>
                  <a:gd name="connsiteX3" fmla="*/ 1074333 w 1568040"/>
                  <a:gd name="connsiteY3" fmla="*/ 267714 h 2458102"/>
                  <a:gd name="connsiteX4" fmla="*/ 872679 w 1568040"/>
                  <a:gd name="connsiteY4" fmla="*/ 448508 h 2458102"/>
                  <a:gd name="connsiteX5" fmla="*/ 872679 w 1568040"/>
                  <a:gd name="connsiteY5" fmla="*/ 490230 h 2458102"/>
                  <a:gd name="connsiteX6" fmla="*/ 792712 w 1568040"/>
                  <a:gd name="connsiteY6" fmla="*/ 500660 h 2458102"/>
                  <a:gd name="connsiteX7" fmla="*/ 862248 w 1568040"/>
                  <a:gd name="connsiteY7" fmla="*/ 521521 h 2458102"/>
                  <a:gd name="connsiteX8" fmla="*/ 952645 w 1568040"/>
                  <a:gd name="connsiteY8" fmla="*/ 518044 h 2458102"/>
                  <a:gd name="connsiteX9" fmla="*/ 792712 w 1568040"/>
                  <a:gd name="connsiteY9" fmla="*/ 702315 h 2458102"/>
                  <a:gd name="connsiteX10" fmla="*/ 1015228 w 1568040"/>
                  <a:gd name="connsiteY10" fmla="*/ 618872 h 2458102"/>
                  <a:gd name="connsiteX11" fmla="*/ 1088241 w 1568040"/>
                  <a:gd name="connsiteY11" fmla="*/ 584103 h 2458102"/>
                  <a:gd name="connsiteX12" fmla="*/ 1147346 w 1568040"/>
                  <a:gd name="connsiteY12" fmla="*/ 625825 h 2458102"/>
                  <a:gd name="connsiteX13" fmla="*/ 1216883 w 1568040"/>
                  <a:gd name="connsiteY13" fmla="*/ 615395 h 2458102"/>
                  <a:gd name="connsiteX14" fmla="*/ 1477643 w 1568040"/>
                  <a:gd name="connsiteY14" fmla="*/ 604964 h 2458102"/>
                  <a:gd name="connsiteX15" fmla="*/ 1568040 w 1568040"/>
                  <a:gd name="connsiteY15" fmla="*/ 726653 h 2458102"/>
                  <a:gd name="connsiteX16" fmla="*/ 1477643 w 1568040"/>
                  <a:gd name="connsiteY16" fmla="*/ 883109 h 2458102"/>
                  <a:gd name="connsiteX17" fmla="*/ 1470689 w 1568040"/>
                  <a:gd name="connsiteY17" fmla="*/ 976983 h 2458102"/>
                  <a:gd name="connsiteX18" fmla="*/ 1415060 w 1568040"/>
                  <a:gd name="connsiteY18" fmla="*/ 1102148 h 2458102"/>
                  <a:gd name="connsiteX19" fmla="*/ 1335094 w 1568040"/>
                  <a:gd name="connsiteY19" fmla="*/ 1241220 h 2458102"/>
                  <a:gd name="connsiteX20" fmla="*/ 1324663 w 1568040"/>
                  <a:gd name="connsiteY20" fmla="*/ 1303802 h 2458102"/>
                  <a:gd name="connsiteX21" fmla="*/ 1237743 w 1568040"/>
                  <a:gd name="connsiteY21" fmla="*/ 1373338 h 2458102"/>
                  <a:gd name="connsiteX22" fmla="*/ 1282942 w 1568040"/>
                  <a:gd name="connsiteY22" fmla="*/ 1442875 h 2458102"/>
                  <a:gd name="connsiteX23" fmla="*/ 1289895 w 1568040"/>
                  <a:gd name="connsiteY23" fmla="*/ 1512411 h 2458102"/>
                  <a:gd name="connsiteX24" fmla="*/ 1227313 w 1568040"/>
                  <a:gd name="connsiteY24" fmla="*/ 1533272 h 2458102"/>
                  <a:gd name="connsiteX25" fmla="*/ 1178638 w 1568040"/>
                  <a:gd name="connsiteY25" fmla="*/ 1519364 h 2458102"/>
                  <a:gd name="connsiteX26" fmla="*/ 1109102 w 1568040"/>
                  <a:gd name="connsiteY26" fmla="*/ 1606284 h 2458102"/>
                  <a:gd name="connsiteX27" fmla="*/ 931784 w 1568040"/>
                  <a:gd name="connsiteY27" fmla="*/ 1616715 h 2458102"/>
                  <a:gd name="connsiteX28" fmla="*/ 1164730 w 1568040"/>
                  <a:gd name="connsiteY28" fmla="*/ 1668867 h 2458102"/>
                  <a:gd name="connsiteX29" fmla="*/ 1223836 w 1568040"/>
                  <a:gd name="connsiteY29" fmla="*/ 1609761 h 2458102"/>
                  <a:gd name="connsiteX30" fmla="*/ 1383769 w 1568040"/>
                  <a:gd name="connsiteY30" fmla="*/ 1675821 h 2458102"/>
                  <a:gd name="connsiteX31" fmla="*/ 1442875 w 1568040"/>
                  <a:gd name="connsiteY31" fmla="*/ 1759264 h 2458102"/>
                  <a:gd name="connsiteX32" fmla="*/ 1376816 w 1568040"/>
                  <a:gd name="connsiteY32" fmla="*/ 1846184 h 2458102"/>
                  <a:gd name="connsiteX33" fmla="*/ 1394200 w 1568040"/>
                  <a:gd name="connsiteY33" fmla="*/ 2006117 h 2458102"/>
                  <a:gd name="connsiteX34" fmla="*/ 1046519 w 1568040"/>
                  <a:gd name="connsiteY34" fmla="*/ 2287738 h 2458102"/>
                  <a:gd name="connsiteX35" fmla="*/ 973506 w 1568040"/>
                  <a:gd name="connsiteY35" fmla="*/ 2280785 h 2458102"/>
                  <a:gd name="connsiteX36" fmla="*/ 970029 w 1568040"/>
                  <a:gd name="connsiteY36" fmla="*/ 2332937 h 2458102"/>
                  <a:gd name="connsiteX37" fmla="*/ 897016 w 1568040"/>
                  <a:gd name="connsiteY37" fmla="*/ 2343367 h 2458102"/>
                  <a:gd name="connsiteX38" fmla="*/ 820527 w 1568040"/>
                  <a:gd name="connsiteY38" fmla="*/ 2392043 h 2458102"/>
                  <a:gd name="connsiteX39" fmla="*/ 726653 w 1568040"/>
                  <a:gd name="connsiteY39" fmla="*/ 2353798 h 2458102"/>
                  <a:gd name="connsiteX40" fmla="*/ 719699 w 1568040"/>
                  <a:gd name="connsiteY40" fmla="*/ 2437241 h 2458102"/>
                  <a:gd name="connsiteX41" fmla="*/ 681454 w 1568040"/>
                  <a:gd name="connsiteY41" fmla="*/ 2447672 h 2458102"/>
                  <a:gd name="connsiteX42" fmla="*/ 604965 w 1568040"/>
                  <a:gd name="connsiteY42" fmla="*/ 2402473 h 2458102"/>
                  <a:gd name="connsiteX43" fmla="*/ 566720 w 1568040"/>
                  <a:gd name="connsiteY43" fmla="*/ 2332937 h 2458102"/>
                  <a:gd name="connsiteX44" fmla="*/ 524998 w 1568040"/>
                  <a:gd name="connsiteY44" fmla="*/ 2353798 h 2458102"/>
                  <a:gd name="connsiteX45" fmla="*/ 556289 w 1568040"/>
                  <a:gd name="connsiteY45" fmla="*/ 2426811 h 2458102"/>
                  <a:gd name="connsiteX46" fmla="*/ 535429 w 1568040"/>
                  <a:gd name="connsiteY46" fmla="*/ 2458102 h 2458102"/>
                  <a:gd name="connsiteX47" fmla="*/ 500660 w 1568040"/>
                  <a:gd name="connsiteY47" fmla="*/ 2458102 h 2458102"/>
                  <a:gd name="connsiteX48" fmla="*/ 493707 w 1568040"/>
                  <a:gd name="connsiteY48" fmla="*/ 2392043 h 2458102"/>
                  <a:gd name="connsiteX49" fmla="*/ 455462 w 1568040"/>
                  <a:gd name="connsiteY49" fmla="*/ 2315553 h 2458102"/>
                  <a:gd name="connsiteX50" fmla="*/ 445032 w 1568040"/>
                  <a:gd name="connsiteY50" fmla="*/ 2235586 h 2458102"/>
                  <a:gd name="connsiteX51" fmla="*/ 486753 w 1568040"/>
                  <a:gd name="connsiteY51" fmla="*/ 2263401 h 2458102"/>
                  <a:gd name="connsiteX52" fmla="*/ 476323 w 1568040"/>
                  <a:gd name="connsiteY52" fmla="*/ 2186911 h 2458102"/>
                  <a:gd name="connsiteX53" fmla="*/ 556289 w 1568040"/>
                  <a:gd name="connsiteY53" fmla="*/ 2099991 h 2458102"/>
                  <a:gd name="connsiteX54" fmla="*/ 570197 w 1568040"/>
                  <a:gd name="connsiteY54" fmla="*/ 2030455 h 2458102"/>
                  <a:gd name="connsiteX55" fmla="*/ 646686 w 1568040"/>
                  <a:gd name="connsiteY55" fmla="*/ 1919197 h 2458102"/>
                  <a:gd name="connsiteX56" fmla="*/ 601488 w 1568040"/>
                  <a:gd name="connsiteY56" fmla="*/ 1849661 h 2458102"/>
                  <a:gd name="connsiteX57" fmla="*/ 566720 w 1568040"/>
                  <a:gd name="connsiteY57" fmla="*/ 1794032 h 2458102"/>
                  <a:gd name="connsiteX58" fmla="*/ 538905 w 1568040"/>
                  <a:gd name="connsiteY58" fmla="*/ 1693205 h 2458102"/>
                  <a:gd name="connsiteX59" fmla="*/ 524998 w 1568040"/>
                  <a:gd name="connsiteY59" fmla="*/ 1807939 h 2458102"/>
                  <a:gd name="connsiteX60" fmla="*/ 434601 w 1568040"/>
                  <a:gd name="connsiteY60" fmla="*/ 1721019 h 2458102"/>
                  <a:gd name="connsiteX61" fmla="*/ 372019 w 1568040"/>
                  <a:gd name="connsiteY61" fmla="*/ 1787078 h 2458102"/>
                  <a:gd name="connsiteX62" fmla="*/ 368542 w 1568040"/>
                  <a:gd name="connsiteY62" fmla="*/ 1926151 h 2458102"/>
                  <a:gd name="connsiteX63" fmla="*/ 333774 w 1568040"/>
                  <a:gd name="connsiteY63" fmla="*/ 1964396 h 2458102"/>
                  <a:gd name="connsiteX64" fmla="*/ 361588 w 1568040"/>
                  <a:gd name="connsiteY64" fmla="*/ 2006117 h 2458102"/>
                  <a:gd name="connsiteX65" fmla="*/ 292052 w 1568040"/>
                  <a:gd name="connsiteY65" fmla="*/ 2051316 h 2458102"/>
                  <a:gd name="connsiteX66" fmla="*/ 222516 w 1568040"/>
                  <a:gd name="connsiteY66" fmla="*/ 2023501 h 2458102"/>
                  <a:gd name="connsiteX67" fmla="*/ 267714 w 1568040"/>
                  <a:gd name="connsiteY67" fmla="*/ 1929627 h 2458102"/>
                  <a:gd name="connsiteX68" fmla="*/ 295529 w 1568040"/>
                  <a:gd name="connsiteY68" fmla="*/ 1842707 h 2458102"/>
                  <a:gd name="connsiteX69" fmla="*/ 316390 w 1568040"/>
                  <a:gd name="connsiteY69" fmla="*/ 1762741 h 2458102"/>
                  <a:gd name="connsiteX70" fmla="*/ 299006 w 1568040"/>
                  <a:gd name="connsiteY70" fmla="*/ 1689728 h 2458102"/>
                  <a:gd name="connsiteX71" fmla="*/ 267714 w 1568040"/>
                  <a:gd name="connsiteY71" fmla="*/ 1592377 h 2458102"/>
                  <a:gd name="connsiteX72" fmla="*/ 205132 w 1568040"/>
                  <a:gd name="connsiteY72" fmla="*/ 1741880 h 2458102"/>
                  <a:gd name="connsiteX73" fmla="*/ 184271 w 1568040"/>
                  <a:gd name="connsiteY73" fmla="*/ 1738403 h 2458102"/>
                  <a:gd name="connsiteX74" fmla="*/ 205132 w 1568040"/>
                  <a:gd name="connsiteY74" fmla="*/ 1807939 h 2458102"/>
                  <a:gd name="connsiteX75" fmla="*/ 104305 w 1568040"/>
                  <a:gd name="connsiteY75" fmla="*/ 1853138 h 2458102"/>
                  <a:gd name="connsiteX76" fmla="*/ 79967 w 1568040"/>
                  <a:gd name="connsiteY76" fmla="*/ 1839230 h 2458102"/>
                  <a:gd name="connsiteX77" fmla="*/ 93874 w 1568040"/>
                  <a:gd name="connsiteY77" fmla="*/ 1748834 h 2458102"/>
                  <a:gd name="connsiteX78" fmla="*/ 34768 w 1568040"/>
                  <a:gd name="connsiteY78" fmla="*/ 1794032 h 2458102"/>
                  <a:gd name="connsiteX79" fmla="*/ 41722 w 1568040"/>
                  <a:gd name="connsiteY79" fmla="*/ 1700158 h 2458102"/>
                  <a:gd name="connsiteX80" fmla="*/ 83444 w 1568040"/>
                  <a:gd name="connsiteY80" fmla="*/ 1651483 h 2458102"/>
                  <a:gd name="connsiteX81" fmla="*/ 152980 w 1568040"/>
                  <a:gd name="connsiteY81" fmla="*/ 1627145 h 2458102"/>
                  <a:gd name="connsiteX82" fmla="*/ 156457 w 1568040"/>
                  <a:gd name="connsiteY82" fmla="*/ 1672344 h 2458102"/>
                  <a:gd name="connsiteX83" fmla="*/ 212086 w 1568040"/>
                  <a:gd name="connsiteY83" fmla="*/ 1630622 h 2458102"/>
                  <a:gd name="connsiteX84" fmla="*/ 225993 w 1568040"/>
                  <a:gd name="connsiteY84" fmla="*/ 1578470 h 2458102"/>
                  <a:gd name="connsiteX85" fmla="*/ 271191 w 1568040"/>
                  <a:gd name="connsiteY85" fmla="*/ 1540225 h 2458102"/>
                  <a:gd name="connsiteX86" fmla="*/ 299006 w 1568040"/>
                  <a:gd name="connsiteY86" fmla="*/ 1470689 h 2458102"/>
                  <a:gd name="connsiteX87" fmla="*/ 472846 w 1568040"/>
                  <a:gd name="connsiteY87" fmla="*/ 1209929 h 2458102"/>
                  <a:gd name="connsiteX88" fmla="*/ 458939 w 1568040"/>
                  <a:gd name="connsiteY88" fmla="*/ 1182114 h 2458102"/>
                  <a:gd name="connsiteX89" fmla="*/ 344204 w 1568040"/>
                  <a:gd name="connsiteY89" fmla="*/ 1321186 h 2458102"/>
                  <a:gd name="connsiteX90" fmla="*/ 333774 w 1568040"/>
                  <a:gd name="connsiteY90" fmla="*/ 1362908 h 2458102"/>
                  <a:gd name="connsiteX91" fmla="*/ 264238 w 1568040"/>
                  <a:gd name="connsiteY91" fmla="*/ 1415060 h 2458102"/>
                  <a:gd name="connsiteX92" fmla="*/ 142549 w 1568040"/>
                  <a:gd name="connsiteY92" fmla="*/ 1418537 h 2458102"/>
                  <a:gd name="connsiteX93" fmla="*/ 121689 w 1568040"/>
                  <a:gd name="connsiteY93" fmla="*/ 1432444 h 2458102"/>
                  <a:gd name="connsiteX94" fmla="*/ 76490 w 1568040"/>
                  <a:gd name="connsiteY94" fmla="*/ 1373338 h 2458102"/>
                  <a:gd name="connsiteX95" fmla="*/ 163410 w 1568040"/>
                  <a:gd name="connsiteY95" fmla="*/ 1380292 h 2458102"/>
                  <a:gd name="connsiteX96" fmla="*/ 163410 w 1568040"/>
                  <a:gd name="connsiteY96" fmla="*/ 1345524 h 2458102"/>
                  <a:gd name="connsiteX97" fmla="*/ 191225 w 1568040"/>
                  <a:gd name="connsiteY97" fmla="*/ 1317710 h 2458102"/>
                  <a:gd name="connsiteX98" fmla="*/ 135596 w 1568040"/>
                  <a:gd name="connsiteY98" fmla="*/ 1317710 h 2458102"/>
                  <a:gd name="connsiteX99" fmla="*/ 111258 w 1568040"/>
                  <a:gd name="connsiteY99" fmla="*/ 1251650 h 2458102"/>
                  <a:gd name="connsiteX100" fmla="*/ 187748 w 1568040"/>
                  <a:gd name="connsiteY100" fmla="*/ 1196021 h 2458102"/>
                  <a:gd name="connsiteX101" fmla="*/ 219039 w 1568040"/>
                  <a:gd name="connsiteY101" fmla="*/ 1234266 h 2458102"/>
                  <a:gd name="connsiteX102" fmla="*/ 222516 w 1568040"/>
                  <a:gd name="connsiteY102" fmla="*/ 1178637 h 2458102"/>
                  <a:gd name="connsiteX103" fmla="*/ 156457 w 1568040"/>
                  <a:gd name="connsiteY103" fmla="*/ 1171684 h 2458102"/>
                  <a:gd name="connsiteX104" fmla="*/ 180794 w 1568040"/>
                  <a:gd name="connsiteY104" fmla="*/ 1136916 h 2458102"/>
                  <a:gd name="connsiteX105" fmla="*/ 229470 w 1568040"/>
                  <a:gd name="connsiteY105" fmla="*/ 1140392 h 2458102"/>
                  <a:gd name="connsiteX106" fmla="*/ 232946 w 1568040"/>
                  <a:gd name="connsiteY106" fmla="*/ 1112578 h 2458102"/>
                  <a:gd name="connsiteX107" fmla="*/ 264238 w 1568040"/>
                  <a:gd name="connsiteY107" fmla="*/ 1102148 h 2458102"/>
                  <a:gd name="connsiteX108" fmla="*/ 246854 w 1568040"/>
                  <a:gd name="connsiteY108" fmla="*/ 1036088 h 2458102"/>
                  <a:gd name="connsiteX109" fmla="*/ 292052 w 1568040"/>
                  <a:gd name="connsiteY109" fmla="*/ 1043042 h 2458102"/>
                  <a:gd name="connsiteX110" fmla="*/ 295529 w 1568040"/>
                  <a:gd name="connsiteY110" fmla="*/ 994367 h 2458102"/>
                  <a:gd name="connsiteX111" fmla="*/ 292052 w 1568040"/>
                  <a:gd name="connsiteY111" fmla="*/ 983936 h 2458102"/>
                  <a:gd name="connsiteX112" fmla="*/ 337251 w 1568040"/>
                  <a:gd name="connsiteY112" fmla="*/ 924830 h 2458102"/>
                  <a:gd name="connsiteX113" fmla="*/ 406787 w 1568040"/>
                  <a:gd name="connsiteY113" fmla="*/ 949168 h 2458102"/>
                  <a:gd name="connsiteX114" fmla="*/ 333774 w 1568040"/>
                  <a:gd name="connsiteY114" fmla="*/ 879632 h 2458102"/>
                  <a:gd name="connsiteX115" fmla="*/ 239900 w 1568040"/>
                  <a:gd name="connsiteY115" fmla="*/ 987413 h 2458102"/>
                  <a:gd name="connsiteX116" fmla="*/ 215562 w 1568040"/>
                  <a:gd name="connsiteY116" fmla="*/ 938738 h 2458102"/>
                  <a:gd name="connsiteX117" fmla="*/ 250330 w 1568040"/>
                  <a:gd name="connsiteY117" fmla="*/ 893539 h 2458102"/>
                  <a:gd name="connsiteX118" fmla="*/ 187748 w 1568040"/>
                  <a:gd name="connsiteY118" fmla="*/ 917877 h 2458102"/>
                  <a:gd name="connsiteX119" fmla="*/ 118212 w 1568040"/>
                  <a:gd name="connsiteY119" fmla="*/ 848341 h 2458102"/>
                  <a:gd name="connsiteX120" fmla="*/ 83444 w 1568040"/>
                  <a:gd name="connsiteY120" fmla="*/ 757944 h 2458102"/>
                  <a:gd name="connsiteX121" fmla="*/ 34768 w 1568040"/>
                  <a:gd name="connsiteY121" fmla="*/ 778805 h 2458102"/>
                  <a:gd name="connsiteX122" fmla="*/ 0 w 1568040"/>
                  <a:gd name="connsiteY122" fmla="*/ 719699 h 2458102"/>
                  <a:gd name="connsiteX123" fmla="*/ 20861 w 1568040"/>
                  <a:gd name="connsiteY123" fmla="*/ 660593 h 2458102"/>
                  <a:gd name="connsiteX124" fmla="*/ 48676 w 1568040"/>
                  <a:gd name="connsiteY124" fmla="*/ 688408 h 2458102"/>
                  <a:gd name="connsiteX125" fmla="*/ 62583 w 1568040"/>
                  <a:gd name="connsiteY125" fmla="*/ 622348 h 2458102"/>
                  <a:gd name="connsiteX126" fmla="*/ 125165 w 1568040"/>
                  <a:gd name="connsiteY126" fmla="*/ 667547 h 2458102"/>
                  <a:gd name="connsiteX127" fmla="*/ 135596 w 1568040"/>
                  <a:gd name="connsiteY127" fmla="*/ 573673 h 2458102"/>
                  <a:gd name="connsiteX128" fmla="*/ 184271 w 1568040"/>
                  <a:gd name="connsiteY128" fmla="*/ 570196 h 2458102"/>
                  <a:gd name="connsiteX129" fmla="*/ 225993 w 1568040"/>
                  <a:gd name="connsiteY129" fmla="*/ 622348 h 2458102"/>
                  <a:gd name="connsiteX130" fmla="*/ 222516 w 1568040"/>
                  <a:gd name="connsiteY130" fmla="*/ 671024 h 2458102"/>
                  <a:gd name="connsiteX131" fmla="*/ 264238 w 1568040"/>
                  <a:gd name="connsiteY131" fmla="*/ 691884 h 2458102"/>
                  <a:gd name="connsiteX132" fmla="*/ 267714 w 1568040"/>
                  <a:gd name="connsiteY132" fmla="*/ 775328 h 2458102"/>
                  <a:gd name="connsiteX133" fmla="*/ 264238 w 1568040"/>
                  <a:gd name="connsiteY133" fmla="*/ 841387 h 2458102"/>
                  <a:gd name="connsiteX134" fmla="*/ 309436 w 1568040"/>
                  <a:gd name="connsiteY134" fmla="*/ 813573 h 2458102"/>
                  <a:gd name="connsiteX135" fmla="*/ 340727 w 1568040"/>
                  <a:gd name="connsiteY135" fmla="*/ 782281 h 2458102"/>
                  <a:gd name="connsiteX136" fmla="*/ 295529 w 1568040"/>
                  <a:gd name="connsiteY136" fmla="*/ 764897 h 2458102"/>
                  <a:gd name="connsiteX137" fmla="*/ 305959 w 1568040"/>
                  <a:gd name="connsiteY137" fmla="*/ 636256 h 2458102"/>
                  <a:gd name="connsiteX138" fmla="*/ 385926 w 1568040"/>
                  <a:gd name="connsiteY138" fmla="*/ 671024 h 2458102"/>
                  <a:gd name="connsiteX139" fmla="*/ 316390 w 1568040"/>
                  <a:gd name="connsiteY139" fmla="*/ 587580 h 2458102"/>
                  <a:gd name="connsiteX140" fmla="*/ 365065 w 1568040"/>
                  <a:gd name="connsiteY140" fmla="*/ 563243 h 2458102"/>
                  <a:gd name="connsiteX141" fmla="*/ 316390 w 1568040"/>
                  <a:gd name="connsiteY141" fmla="*/ 472846 h 2458102"/>
                  <a:gd name="connsiteX142" fmla="*/ 347681 w 1568040"/>
                  <a:gd name="connsiteY142" fmla="*/ 479799 h 2458102"/>
                  <a:gd name="connsiteX143" fmla="*/ 420694 w 1568040"/>
                  <a:gd name="connsiteY143" fmla="*/ 528475 h 2458102"/>
                  <a:gd name="connsiteX144" fmla="*/ 389403 w 1568040"/>
                  <a:gd name="connsiteY144" fmla="*/ 420694 h 2458102"/>
                  <a:gd name="connsiteX145" fmla="*/ 424171 w 1568040"/>
                  <a:gd name="connsiteY145" fmla="*/ 451985 h 2458102"/>
                  <a:gd name="connsiteX146" fmla="*/ 462416 w 1568040"/>
                  <a:gd name="connsiteY146" fmla="*/ 424170 h 2458102"/>
                  <a:gd name="connsiteX147" fmla="*/ 504137 w 1568040"/>
                  <a:gd name="connsiteY147" fmla="*/ 438078 h 2458102"/>
                  <a:gd name="connsiteX148" fmla="*/ 500660 w 1568040"/>
                  <a:gd name="connsiteY148" fmla="*/ 403310 h 2458102"/>
                  <a:gd name="connsiteX149" fmla="*/ 434601 w 1568040"/>
                  <a:gd name="connsiteY149" fmla="*/ 382449 h 2458102"/>
                  <a:gd name="connsiteX150" fmla="*/ 434601 w 1568040"/>
                  <a:gd name="connsiteY150" fmla="*/ 323343 h 2458102"/>
                  <a:gd name="connsiteX151" fmla="*/ 493707 w 1568040"/>
                  <a:gd name="connsiteY151" fmla="*/ 337250 h 2458102"/>
                  <a:gd name="connsiteX152" fmla="*/ 497184 w 1568040"/>
                  <a:gd name="connsiteY152" fmla="*/ 305959 h 2458102"/>
                  <a:gd name="connsiteX153" fmla="*/ 458939 w 1568040"/>
                  <a:gd name="connsiteY153" fmla="*/ 236423 h 2458102"/>
                  <a:gd name="connsiteX154" fmla="*/ 514568 w 1568040"/>
                  <a:gd name="connsiteY154" fmla="*/ 232946 h 2458102"/>
                  <a:gd name="connsiteX155" fmla="*/ 538905 w 1568040"/>
                  <a:gd name="connsiteY155" fmla="*/ 243377 h 2458102"/>
                  <a:gd name="connsiteX156" fmla="*/ 552813 w 1568040"/>
                  <a:gd name="connsiteY156" fmla="*/ 225992 h 2458102"/>
                  <a:gd name="connsiteX157" fmla="*/ 524998 w 1568040"/>
                  <a:gd name="connsiteY157" fmla="*/ 177317 h 2458102"/>
                  <a:gd name="connsiteX158" fmla="*/ 556289 w 1568040"/>
                  <a:gd name="connsiteY158" fmla="*/ 135596 h 2458102"/>
                  <a:gd name="connsiteX159" fmla="*/ 570197 w 1568040"/>
                  <a:gd name="connsiteY159" fmla="*/ 55629 h 2458102"/>
                  <a:gd name="connsiteX160" fmla="*/ 643209 w 1568040"/>
                  <a:gd name="connsiteY160" fmla="*/ 31291 h 2458102"/>
                  <a:gd name="connsiteX161" fmla="*/ 691885 w 1568040"/>
                  <a:gd name="connsiteY161" fmla="*/ 66059 h 2458102"/>
                  <a:gd name="connsiteX162" fmla="*/ 740560 w 1568040"/>
                  <a:gd name="connsiteY162" fmla="*/ 62583 h 2458102"/>
                  <a:gd name="connsiteX163" fmla="*/ 778805 w 1568040"/>
                  <a:gd name="connsiteY163" fmla="*/ 79967 h 2458102"/>
                  <a:gd name="connsiteX164" fmla="*/ 848341 w 1568040"/>
                  <a:gd name="connsiteY164" fmla="*/ 66059 h 2458102"/>
                  <a:gd name="connsiteX165" fmla="*/ 883109 w 1568040"/>
                  <a:gd name="connsiteY165" fmla="*/ 41722 h 2458102"/>
                  <a:gd name="connsiteX166" fmla="*/ 886586 w 1568040"/>
                  <a:gd name="connsiteY166" fmla="*/ 59106 h 2458102"/>
                  <a:gd name="connsiteX167" fmla="*/ 956122 w 1568040"/>
                  <a:gd name="connsiteY167" fmla="*/ 59106 h 2458102"/>
                  <a:gd name="connsiteX168" fmla="*/ 983936 w 1568040"/>
                  <a:gd name="connsiteY168" fmla="*/ 34768 h 2458102"/>
                  <a:gd name="connsiteX169" fmla="*/ 1046519 w 1568040"/>
                  <a:gd name="connsiteY169" fmla="*/ 45199 h 2458102"/>
                  <a:gd name="connsiteX170" fmla="*/ 1081287 w 1568040"/>
                  <a:gd name="connsiteY170" fmla="*/ 62583 h 2458102"/>
                  <a:gd name="connsiteX171" fmla="*/ 1056949 w 1568040"/>
                  <a:gd name="connsiteY171" fmla="*/ 0 h 2458102"/>
                  <a:gd name="connsiteX172" fmla="*/ 1102148 w 1568040"/>
                  <a:gd name="connsiteY172" fmla="*/ 13907 h 2458102"/>
                  <a:gd name="connsiteX173" fmla="*/ 1119532 w 1568040"/>
                  <a:gd name="connsiteY173" fmla="*/ 6954 h 2458102"/>
                  <a:gd name="connsiteX174" fmla="*/ 1129962 w 1568040"/>
                  <a:gd name="connsiteY174" fmla="*/ 24338 h 2458102"/>
                  <a:gd name="connsiteX175" fmla="*/ 1192545 w 1568040"/>
                  <a:gd name="connsiteY175" fmla="*/ 41722 h 2458102"/>
                  <a:gd name="connsiteX0" fmla="*/ 1192545 w 1568040"/>
                  <a:gd name="connsiteY0" fmla="*/ 41722 h 2458102"/>
                  <a:gd name="connsiteX1" fmla="*/ 1161254 w 1568040"/>
                  <a:gd name="connsiteY1" fmla="*/ 139072 h 2458102"/>
                  <a:gd name="connsiteX2" fmla="*/ 1189068 w 1568040"/>
                  <a:gd name="connsiteY2" fmla="*/ 170364 h 2458102"/>
                  <a:gd name="connsiteX3" fmla="*/ 1074333 w 1568040"/>
                  <a:gd name="connsiteY3" fmla="*/ 267714 h 2458102"/>
                  <a:gd name="connsiteX4" fmla="*/ 872679 w 1568040"/>
                  <a:gd name="connsiteY4" fmla="*/ 448508 h 2458102"/>
                  <a:gd name="connsiteX5" fmla="*/ 872679 w 1568040"/>
                  <a:gd name="connsiteY5" fmla="*/ 490230 h 2458102"/>
                  <a:gd name="connsiteX6" fmla="*/ 792712 w 1568040"/>
                  <a:gd name="connsiteY6" fmla="*/ 500660 h 2458102"/>
                  <a:gd name="connsiteX7" fmla="*/ 862248 w 1568040"/>
                  <a:gd name="connsiteY7" fmla="*/ 521521 h 2458102"/>
                  <a:gd name="connsiteX8" fmla="*/ 952645 w 1568040"/>
                  <a:gd name="connsiteY8" fmla="*/ 518044 h 2458102"/>
                  <a:gd name="connsiteX9" fmla="*/ 792712 w 1568040"/>
                  <a:gd name="connsiteY9" fmla="*/ 702315 h 2458102"/>
                  <a:gd name="connsiteX10" fmla="*/ 1015228 w 1568040"/>
                  <a:gd name="connsiteY10" fmla="*/ 618872 h 2458102"/>
                  <a:gd name="connsiteX11" fmla="*/ 1088241 w 1568040"/>
                  <a:gd name="connsiteY11" fmla="*/ 584103 h 2458102"/>
                  <a:gd name="connsiteX12" fmla="*/ 1147346 w 1568040"/>
                  <a:gd name="connsiteY12" fmla="*/ 625825 h 2458102"/>
                  <a:gd name="connsiteX13" fmla="*/ 1216883 w 1568040"/>
                  <a:gd name="connsiteY13" fmla="*/ 615395 h 2458102"/>
                  <a:gd name="connsiteX14" fmla="*/ 1477643 w 1568040"/>
                  <a:gd name="connsiteY14" fmla="*/ 604964 h 2458102"/>
                  <a:gd name="connsiteX15" fmla="*/ 1568040 w 1568040"/>
                  <a:gd name="connsiteY15" fmla="*/ 726653 h 2458102"/>
                  <a:gd name="connsiteX16" fmla="*/ 1477643 w 1568040"/>
                  <a:gd name="connsiteY16" fmla="*/ 883109 h 2458102"/>
                  <a:gd name="connsiteX17" fmla="*/ 1470689 w 1568040"/>
                  <a:gd name="connsiteY17" fmla="*/ 976983 h 2458102"/>
                  <a:gd name="connsiteX18" fmla="*/ 1415060 w 1568040"/>
                  <a:gd name="connsiteY18" fmla="*/ 1102148 h 2458102"/>
                  <a:gd name="connsiteX19" fmla="*/ 1335094 w 1568040"/>
                  <a:gd name="connsiteY19" fmla="*/ 1241220 h 2458102"/>
                  <a:gd name="connsiteX20" fmla="*/ 1324663 w 1568040"/>
                  <a:gd name="connsiteY20" fmla="*/ 1303802 h 2458102"/>
                  <a:gd name="connsiteX21" fmla="*/ 1237743 w 1568040"/>
                  <a:gd name="connsiteY21" fmla="*/ 1373338 h 2458102"/>
                  <a:gd name="connsiteX22" fmla="*/ 1282942 w 1568040"/>
                  <a:gd name="connsiteY22" fmla="*/ 1442875 h 2458102"/>
                  <a:gd name="connsiteX23" fmla="*/ 1289895 w 1568040"/>
                  <a:gd name="connsiteY23" fmla="*/ 1512411 h 2458102"/>
                  <a:gd name="connsiteX24" fmla="*/ 1227313 w 1568040"/>
                  <a:gd name="connsiteY24" fmla="*/ 1533272 h 2458102"/>
                  <a:gd name="connsiteX25" fmla="*/ 1178638 w 1568040"/>
                  <a:gd name="connsiteY25" fmla="*/ 1519364 h 2458102"/>
                  <a:gd name="connsiteX26" fmla="*/ 1109102 w 1568040"/>
                  <a:gd name="connsiteY26" fmla="*/ 1606284 h 2458102"/>
                  <a:gd name="connsiteX27" fmla="*/ 931784 w 1568040"/>
                  <a:gd name="connsiteY27" fmla="*/ 1616715 h 2458102"/>
                  <a:gd name="connsiteX28" fmla="*/ 1164730 w 1568040"/>
                  <a:gd name="connsiteY28" fmla="*/ 1668867 h 2458102"/>
                  <a:gd name="connsiteX29" fmla="*/ 1223836 w 1568040"/>
                  <a:gd name="connsiteY29" fmla="*/ 1609761 h 2458102"/>
                  <a:gd name="connsiteX30" fmla="*/ 1383769 w 1568040"/>
                  <a:gd name="connsiteY30" fmla="*/ 1675821 h 2458102"/>
                  <a:gd name="connsiteX31" fmla="*/ 1442875 w 1568040"/>
                  <a:gd name="connsiteY31" fmla="*/ 1759264 h 2458102"/>
                  <a:gd name="connsiteX32" fmla="*/ 1376816 w 1568040"/>
                  <a:gd name="connsiteY32" fmla="*/ 1846184 h 2458102"/>
                  <a:gd name="connsiteX33" fmla="*/ 1394200 w 1568040"/>
                  <a:gd name="connsiteY33" fmla="*/ 2006117 h 2458102"/>
                  <a:gd name="connsiteX34" fmla="*/ 1075548 w 1568040"/>
                  <a:gd name="connsiteY34" fmla="*/ 2280481 h 2458102"/>
                  <a:gd name="connsiteX35" fmla="*/ 973506 w 1568040"/>
                  <a:gd name="connsiteY35" fmla="*/ 2280785 h 2458102"/>
                  <a:gd name="connsiteX36" fmla="*/ 970029 w 1568040"/>
                  <a:gd name="connsiteY36" fmla="*/ 2332937 h 2458102"/>
                  <a:gd name="connsiteX37" fmla="*/ 897016 w 1568040"/>
                  <a:gd name="connsiteY37" fmla="*/ 2343367 h 2458102"/>
                  <a:gd name="connsiteX38" fmla="*/ 820527 w 1568040"/>
                  <a:gd name="connsiteY38" fmla="*/ 2392043 h 2458102"/>
                  <a:gd name="connsiteX39" fmla="*/ 726653 w 1568040"/>
                  <a:gd name="connsiteY39" fmla="*/ 2353798 h 2458102"/>
                  <a:gd name="connsiteX40" fmla="*/ 719699 w 1568040"/>
                  <a:gd name="connsiteY40" fmla="*/ 2437241 h 2458102"/>
                  <a:gd name="connsiteX41" fmla="*/ 681454 w 1568040"/>
                  <a:gd name="connsiteY41" fmla="*/ 2447672 h 2458102"/>
                  <a:gd name="connsiteX42" fmla="*/ 604965 w 1568040"/>
                  <a:gd name="connsiteY42" fmla="*/ 2402473 h 2458102"/>
                  <a:gd name="connsiteX43" fmla="*/ 566720 w 1568040"/>
                  <a:gd name="connsiteY43" fmla="*/ 2332937 h 2458102"/>
                  <a:gd name="connsiteX44" fmla="*/ 524998 w 1568040"/>
                  <a:gd name="connsiteY44" fmla="*/ 2353798 h 2458102"/>
                  <a:gd name="connsiteX45" fmla="*/ 556289 w 1568040"/>
                  <a:gd name="connsiteY45" fmla="*/ 2426811 h 2458102"/>
                  <a:gd name="connsiteX46" fmla="*/ 535429 w 1568040"/>
                  <a:gd name="connsiteY46" fmla="*/ 2458102 h 2458102"/>
                  <a:gd name="connsiteX47" fmla="*/ 500660 w 1568040"/>
                  <a:gd name="connsiteY47" fmla="*/ 2458102 h 2458102"/>
                  <a:gd name="connsiteX48" fmla="*/ 493707 w 1568040"/>
                  <a:gd name="connsiteY48" fmla="*/ 2392043 h 2458102"/>
                  <a:gd name="connsiteX49" fmla="*/ 455462 w 1568040"/>
                  <a:gd name="connsiteY49" fmla="*/ 2315553 h 2458102"/>
                  <a:gd name="connsiteX50" fmla="*/ 445032 w 1568040"/>
                  <a:gd name="connsiteY50" fmla="*/ 2235586 h 2458102"/>
                  <a:gd name="connsiteX51" fmla="*/ 486753 w 1568040"/>
                  <a:gd name="connsiteY51" fmla="*/ 2263401 h 2458102"/>
                  <a:gd name="connsiteX52" fmla="*/ 476323 w 1568040"/>
                  <a:gd name="connsiteY52" fmla="*/ 2186911 h 2458102"/>
                  <a:gd name="connsiteX53" fmla="*/ 556289 w 1568040"/>
                  <a:gd name="connsiteY53" fmla="*/ 2099991 h 2458102"/>
                  <a:gd name="connsiteX54" fmla="*/ 570197 w 1568040"/>
                  <a:gd name="connsiteY54" fmla="*/ 2030455 h 2458102"/>
                  <a:gd name="connsiteX55" fmla="*/ 646686 w 1568040"/>
                  <a:gd name="connsiteY55" fmla="*/ 1919197 h 2458102"/>
                  <a:gd name="connsiteX56" fmla="*/ 601488 w 1568040"/>
                  <a:gd name="connsiteY56" fmla="*/ 1849661 h 2458102"/>
                  <a:gd name="connsiteX57" fmla="*/ 566720 w 1568040"/>
                  <a:gd name="connsiteY57" fmla="*/ 1794032 h 2458102"/>
                  <a:gd name="connsiteX58" fmla="*/ 538905 w 1568040"/>
                  <a:gd name="connsiteY58" fmla="*/ 1693205 h 2458102"/>
                  <a:gd name="connsiteX59" fmla="*/ 524998 w 1568040"/>
                  <a:gd name="connsiteY59" fmla="*/ 1807939 h 2458102"/>
                  <a:gd name="connsiteX60" fmla="*/ 434601 w 1568040"/>
                  <a:gd name="connsiteY60" fmla="*/ 1721019 h 2458102"/>
                  <a:gd name="connsiteX61" fmla="*/ 372019 w 1568040"/>
                  <a:gd name="connsiteY61" fmla="*/ 1787078 h 2458102"/>
                  <a:gd name="connsiteX62" fmla="*/ 368542 w 1568040"/>
                  <a:gd name="connsiteY62" fmla="*/ 1926151 h 2458102"/>
                  <a:gd name="connsiteX63" fmla="*/ 333774 w 1568040"/>
                  <a:gd name="connsiteY63" fmla="*/ 1964396 h 2458102"/>
                  <a:gd name="connsiteX64" fmla="*/ 361588 w 1568040"/>
                  <a:gd name="connsiteY64" fmla="*/ 2006117 h 2458102"/>
                  <a:gd name="connsiteX65" fmla="*/ 292052 w 1568040"/>
                  <a:gd name="connsiteY65" fmla="*/ 2051316 h 2458102"/>
                  <a:gd name="connsiteX66" fmla="*/ 222516 w 1568040"/>
                  <a:gd name="connsiteY66" fmla="*/ 2023501 h 2458102"/>
                  <a:gd name="connsiteX67" fmla="*/ 267714 w 1568040"/>
                  <a:gd name="connsiteY67" fmla="*/ 1929627 h 2458102"/>
                  <a:gd name="connsiteX68" fmla="*/ 295529 w 1568040"/>
                  <a:gd name="connsiteY68" fmla="*/ 1842707 h 2458102"/>
                  <a:gd name="connsiteX69" fmla="*/ 316390 w 1568040"/>
                  <a:gd name="connsiteY69" fmla="*/ 1762741 h 2458102"/>
                  <a:gd name="connsiteX70" fmla="*/ 299006 w 1568040"/>
                  <a:gd name="connsiteY70" fmla="*/ 1689728 h 2458102"/>
                  <a:gd name="connsiteX71" fmla="*/ 267714 w 1568040"/>
                  <a:gd name="connsiteY71" fmla="*/ 1592377 h 2458102"/>
                  <a:gd name="connsiteX72" fmla="*/ 205132 w 1568040"/>
                  <a:gd name="connsiteY72" fmla="*/ 1741880 h 2458102"/>
                  <a:gd name="connsiteX73" fmla="*/ 184271 w 1568040"/>
                  <a:gd name="connsiteY73" fmla="*/ 1738403 h 2458102"/>
                  <a:gd name="connsiteX74" fmla="*/ 205132 w 1568040"/>
                  <a:gd name="connsiteY74" fmla="*/ 1807939 h 2458102"/>
                  <a:gd name="connsiteX75" fmla="*/ 104305 w 1568040"/>
                  <a:gd name="connsiteY75" fmla="*/ 1853138 h 2458102"/>
                  <a:gd name="connsiteX76" fmla="*/ 79967 w 1568040"/>
                  <a:gd name="connsiteY76" fmla="*/ 1839230 h 2458102"/>
                  <a:gd name="connsiteX77" fmla="*/ 93874 w 1568040"/>
                  <a:gd name="connsiteY77" fmla="*/ 1748834 h 2458102"/>
                  <a:gd name="connsiteX78" fmla="*/ 34768 w 1568040"/>
                  <a:gd name="connsiteY78" fmla="*/ 1794032 h 2458102"/>
                  <a:gd name="connsiteX79" fmla="*/ 41722 w 1568040"/>
                  <a:gd name="connsiteY79" fmla="*/ 1700158 h 2458102"/>
                  <a:gd name="connsiteX80" fmla="*/ 83444 w 1568040"/>
                  <a:gd name="connsiteY80" fmla="*/ 1651483 h 2458102"/>
                  <a:gd name="connsiteX81" fmla="*/ 152980 w 1568040"/>
                  <a:gd name="connsiteY81" fmla="*/ 1627145 h 2458102"/>
                  <a:gd name="connsiteX82" fmla="*/ 156457 w 1568040"/>
                  <a:gd name="connsiteY82" fmla="*/ 1672344 h 2458102"/>
                  <a:gd name="connsiteX83" fmla="*/ 212086 w 1568040"/>
                  <a:gd name="connsiteY83" fmla="*/ 1630622 h 2458102"/>
                  <a:gd name="connsiteX84" fmla="*/ 225993 w 1568040"/>
                  <a:gd name="connsiteY84" fmla="*/ 1578470 h 2458102"/>
                  <a:gd name="connsiteX85" fmla="*/ 271191 w 1568040"/>
                  <a:gd name="connsiteY85" fmla="*/ 1540225 h 2458102"/>
                  <a:gd name="connsiteX86" fmla="*/ 299006 w 1568040"/>
                  <a:gd name="connsiteY86" fmla="*/ 1470689 h 2458102"/>
                  <a:gd name="connsiteX87" fmla="*/ 472846 w 1568040"/>
                  <a:gd name="connsiteY87" fmla="*/ 1209929 h 2458102"/>
                  <a:gd name="connsiteX88" fmla="*/ 458939 w 1568040"/>
                  <a:gd name="connsiteY88" fmla="*/ 1182114 h 2458102"/>
                  <a:gd name="connsiteX89" fmla="*/ 344204 w 1568040"/>
                  <a:gd name="connsiteY89" fmla="*/ 1321186 h 2458102"/>
                  <a:gd name="connsiteX90" fmla="*/ 333774 w 1568040"/>
                  <a:gd name="connsiteY90" fmla="*/ 1362908 h 2458102"/>
                  <a:gd name="connsiteX91" fmla="*/ 264238 w 1568040"/>
                  <a:gd name="connsiteY91" fmla="*/ 1415060 h 2458102"/>
                  <a:gd name="connsiteX92" fmla="*/ 142549 w 1568040"/>
                  <a:gd name="connsiteY92" fmla="*/ 1418537 h 2458102"/>
                  <a:gd name="connsiteX93" fmla="*/ 121689 w 1568040"/>
                  <a:gd name="connsiteY93" fmla="*/ 1432444 h 2458102"/>
                  <a:gd name="connsiteX94" fmla="*/ 76490 w 1568040"/>
                  <a:gd name="connsiteY94" fmla="*/ 1373338 h 2458102"/>
                  <a:gd name="connsiteX95" fmla="*/ 163410 w 1568040"/>
                  <a:gd name="connsiteY95" fmla="*/ 1380292 h 2458102"/>
                  <a:gd name="connsiteX96" fmla="*/ 163410 w 1568040"/>
                  <a:gd name="connsiteY96" fmla="*/ 1345524 h 2458102"/>
                  <a:gd name="connsiteX97" fmla="*/ 191225 w 1568040"/>
                  <a:gd name="connsiteY97" fmla="*/ 1317710 h 2458102"/>
                  <a:gd name="connsiteX98" fmla="*/ 135596 w 1568040"/>
                  <a:gd name="connsiteY98" fmla="*/ 1317710 h 2458102"/>
                  <a:gd name="connsiteX99" fmla="*/ 111258 w 1568040"/>
                  <a:gd name="connsiteY99" fmla="*/ 1251650 h 2458102"/>
                  <a:gd name="connsiteX100" fmla="*/ 187748 w 1568040"/>
                  <a:gd name="connsiteY100" fmla="*/ 1196021 h 2458102"/>
                  <a:gd name="connsiteX101" fmla="*/ 219039 w 1568040"/>
                  <a:gd name="connsiteY101" fmla="*/ 1234266 h 2458102"/>
                  <a:gd name="connsiteX102" fmla="*/ 222516 w 1568040"/>
                  <a:gd name="connsiteY102" fmla="*/ 1178637 h 2458102"/>
                  <a:gd name="connsiteX103" fmla="*/ 156457 w 1568040"/>
                  <a:gd name="connsiteY103" fmla="*/ 1171684 h 2458102"/>
                  <a:gd name="connsiteX104" fmla="*/ 180794 w 1568040"/>
                  <a:gd name="connsiteY104" fmla="*/ 1136916 h 2458102"/>
                  <a:gd name="connsiteX105" fmla="*/ 229470 w 1568040"/>
                  <a:gd name="connsiteY105" fmla="*/ 1140392 h 2458102"/>
                  <a:gd name="connsiteX106" fmla="*/ 232946 w 1568040"/>
                  <a:gd name="connsiteY106" fmla="*/ 1112578 h 2458102"/>
                  <a:gd name="connsiteX107" fmla="*/ 264238 w 1568040"/>
                  <a:gd name="connsiteY107" fmla="*/ 1102148 h 2458102"/>
                  <a:gd name="connsiteX108" fmla="*/ 246854 w 1568040"/>
                  <a:gd name="connsiteY108" fmla="*/ 1036088 h 2458102"/>
                  <a:gd name="connsiteX109" fmla="*/ 292052 w 1568040"/>
                  <a:gd name="connsiteY109" fmla="*/ 1043042 h 2458102"/>
                  <a:gd name="connsiteX110" fmla="*/ 295529 w 1568040"/>
                  <a:gd name="connsiteY110" fmla="*/ 994367 h 2458102"/>
                  <a:gd name="connsiteX111" fmla="*/ 292052 w 1568040"/>
                  <a:gd name="connsiteY111" fmla="*/ 983936 h 2458102"/>
                  <a:gd name="connsiteX112" fmla="*/ 337251 w 1568040"/>
                  <a:gd name="connsiteY112" fmla="*/ 924830 h 2458102"/>
                  <a:gd name="connsiteX113" fmla="*/ 406787 w 1568040"/>
                  <a:gd name="connsiteY113" fmla="*/ 949168 h 2458102"/>
                  <a:gd name="connsiteX114" fmla="*/ 333774 w 1568040"/>
                  <a:gd name="connsiteY114" fmla="*/ 879632 h 2458102"/>
                  <a:gd name="connsiteX115" fmla="*/ 239900 w 1568040"/>
                  <a:gd name="connsiteY115" fmla="*/ 987413 h 2458102"/>
                  <a:gd name="connsiteX116" fmla="*/ 215562 w 1568040"/>
                  <a:gd name="connsiteY116" fmla="*/ 938738 h 2458102"/>
                  <a:gd name="connsiteX117" fmla="*/ 250330 w 1568040"/>
                  <a:gd name="connsiteY117" fmla="*/ 893539 h 2458102"/>
                  <a:gd name="connsiteX118" fmla="*/ 187748 w 1568040"/>
                  <a:gd name="connsiteY118" fmla="*/ 917877 h 2458102"/>
                  <a:gd name="connsiteX119" fmla="*/ 118212 w 1568040"/>
                  <a:gd name="connsiteY119" fmla="*/ 848341 h 2458102"/>
                  <a:gd name="connsiteX120" fmla="*/ 83444 w 1568040"/>
                  <a:gd name="connsiteY120" fmla="*/ 757944 h 2458102"/>
                  <a:gd name="connsiteX121" fmla="*/ 34768 w 1568040"/>
                  <a:gd name="connsiteY121" fmla="*/ 778805 h 2458102"/>
                  <a:gd name="connsiteX122" fmla="*/ 0 w 1568040"/>
                  <a:gd name="connsiteY122" fmla="*/ 719699 h 2458102"/>
                  <a:gd name="connsiteX123" fmla="*/ 20861 w 1568040"/>
                  <a:gd name="connsiteY123" fmla="*/ 660593 h 2458102"/>
                  <a:gd name="connsiteX124" fmla="*/ 48676 w 1568040"/>
                  <a:gd name="connsiteY124" fmla="*/ 688408 h 2458102"/>
                  <a:gd name="connsiteX125" fmla="*/ 62583 w 1568040"/>
                  <a:gd name="connsiteY125" fmla="*/ 622348 h 2458102"/>
                  <a:gd name="connsiteX126" fmla="*/ 125165 w 1568040"/>
                  <a:gd name="connsiteY126" fmla="*/ 667547 h 2458102"/>
                  <a:gd name="connsiteX127" fmla="*/ 135596 w 1568040"/>
                  <a:gd name="connsiteY127" fmla="*/ 573673 h 2458102"/>
                  <a:gd name="connsiteX128" fmla="*/ 184271 w 1568040"/>
                  <a:gd name="connsiteY128" fmla="*/ 570196 h 2458102"/>
                  <a:gd name="connsiteX129" fmla="*/ 225993 w 1568040"/>
                  <a:gd name="connsiteY129" fmla="*/ 622348 h 2458102"/>
                  <a:gd name="connsiteX130" fmla="*/ 222516 w 1568040"/>
                  <a:gd name="connsiteY130" fmla="*/ 671024 h 2458102"/>
                  <a:gd name="connsiteX131" fmla="*/ 264238 w 1568040"/>
                  <a:gd name="connsiteY131" fmla="*/ 691884 h 2458102"/>
                  <a:gd name="connsiteX132" fmla="*/ 267714 w 1568040"/>
                  <a:gd name="connsiteY132" fmla="*/ 775328 h 2458102"/>
                  <a:gd name="connsiteX133" fmla="*/ 264238 w 1568040"/>
                  <a:gd name="connsiteY133" fmla="*/ 841387 h 2458102"/>
                  <a:gd name="connsiteX134" fmla="*/ 309436 w 1568040"/>
                  <a:gd name="connsiteY134" fmla="*/ 813573 h 2458102"/>
                  <a:gd name="connsiteX135" fmla="*/ 340727 w 1568040"/>
                  <a:gd name="connsiteY135" fmla="*/ 782281 h 2458102"/>
                  <a:gd name="connsiteX136" fmla="*/ 295529 w 1568040"/>
                  <a:gd name="connsiteY136" fmla="*/ 764897 h 2458102"/>
                  <a:gd name="connsiteX137" fmla="*/ 305959 w 1568040"/>
                  <a:gd name="connsiteY137" fmla="*/ 636256 h 2458102"/>
                  <a:gd name="connsiteX138" fmla="*/ 385926 w 1568040"/>
                  <a:gd name="connsiteY138" fmla="*/ 671024 h 2458102"/>
                  <a:gd name="connsiteX139" fmla="*/ 316390 w 1568040"/>
                  <a:gd name="connsiteY139" fmla="*/ 587580 h 2458102"/>
                  <a:gd name="connsiteX140" fmla="*/ 365065 w 1568040"/>
                  <a:gd name="connsiteY140" fmla="*/ 563243 h 2458102"/>
                  <a:gd name="connsiteX141" fmla="*/ 316390 w 1568040"/>
                  <a:gd name="connsiteY141" fmla="*/ 472846 h 2458102"/>
                  <a:gd name="connsiteX142" fmla="*/ 347681 w 1568040"/>
                  <a:gd name="connsiteY142" fmla="*/ 479799 h 2458102"/>
                  <a:gd name="connsiteX143" fmla="*/ 420694 w 1568040"/>
                  <a:gd name="connsiteY143" fmla="*/ 528475 h 2458102"/>
                  <a:gd name="connsiteX144" fmla="*/ 389403 w 1568040"/>
                  <a:gd name="connsiteY144" fmla="*/ 420694 h 2458102"/>
                  <a:gd name="connsiteX145" fmla="*/ 424171 w 1568040"/>
                  <a:gd name="connsiteY145" fmla="*/ 451985 h 2458102"/>
                  <a:gd name="connsiteX146" fmla="*/ 462416 w 1568040"/>
                  <a:gd name="connsiteY146" fmla="*/ 424170 h 2458102"/>
                  <a:gd name="connsiteX147" fmla="*/ 504137 w 1568040"/>
                  <a:gd name="connsiteY147" fmla="*/ 438078 h 2458102"/>
                  <a:gd name="connsiteX148" fmla="*/ 500660 w 1568040"/>
                  <a:gd name="connsiteY148" fmla="*/ 403310 h 2458102"/>
                  <a:gd name="connsiteX149" fmla="*/ 434601 w 1568040"/>
                  <a:gd name="connsiteY149" fmla="*/ 382449 h 2458102"/>
                  <a:gd name="connsiteX150" fmla="*/ 434601 w 1568040"/>
                  <a:gd name="connsiteY150" fmla="*/ 323343 h 2458102"/>
                  <a:gd name="connsiteX151" fmla="*/ 493707 w 1568040"/>
                  <a:gd name="connsiteY151" fmla="*/ 337250 h 2458102"/>
                  <a:gd name="connsiteX152" fmla="*/ 497184 w 1568040"/>
                  <a:gd name="connsiteY152" fmla="*/ 305959 h 2458102"/>
                  <a:gd name="connsiteX153" fmla="*/ 458939 w 1568040"/>
                  <a:gd name="connsiteY153" fmla="*/ 236423 h 2458102"/>
                  <a:gd name="connsiteX154" fmla="*/ 514568 w 1568040"/>
                  <a:gd name="connsiteY154" fmla="*/ 232946 h 2458102"/>
                  <a:gd name="connsiteX155" fmla="*/ 538905 w 1568040"/>
                  <a:gd name="connsiteY155" fmla="*/ 243377 h 2458102"/>
                  <a:gd name="connsiteX156" fmla="*/ 552813 w 1568040"/>
                  <a:gd name="connsiteY156" fmla="*/ 225992 h 2458102"/>
                  <a:gd name="connsiteX157" fmla="*/ 524998 w 1568040"/>
                  <a:gd name="connsiteY157" fmla="*/ 177317 h 2458102"/>
                  <a:gd name="connsiteX158" fmla="*/ 556289 w 1568040"/>
                  <a:gd name="connsiteY158" fmla="*/ 135596 h 2458102"/>
                  <a:gd name="connsiteX159" fmla="*/ 570197 w 1568040"/>
                  <a:gd name="connsiteY159" fmla="*/ 55629 h 2458102"/>
                  <a:gd name="connsiteX160" fmla="*/ 643209 w 1568040"/>
                  <a:gd name="connsiteY160" fmla="*/ 31291 h 2458102"/>
                  <a:gd name="connsiteX161" fmla="*/ 691885 w 1568040"/>
                  <a:gd name="connsiteY161" fmla="*/ 66059 h 2458102"/>
                  <a:gd name="connsiteX162" fmla="*/ 740560 w 1568040"/>
                  <a:gd name="connsiteY162" fmla="*/ 62583 h 2458102"/>
                  <a:gd name="connsiteX163" fmla="*/ 778805 w 1568040"/>
                  <a:gd name="connsiteY163" fmla="*/ 79967 h 2458102"/>
                  <a:gd name="connsiteX164" fmla="*/ 848341 w 1568040"/>
                  <a:gd name="connsiteY164" fmla="*/ 66059 h 2458102"/>
                  <a:gd name="connsiteX165" fmla="*/ 883109 w 1568040"/>
                  <a:gd name="connsiteY165" fmla="*/ 41722 h 2458102"/>
                  <a:gd name="connsiteX166" fmla="*/ 886586 w 1568040"/>
                  <a:gd name="connsiteY166" fmla="*/ 59106 h 2458102"/>
                  <a:gd name="connsiteX167" fmla="*/ 956122 w 1568040"/>
                  <a:gd name="connsiteY167" fmla="*/ 59106 h 2458102"/>
                  <a:gd name="connsiteX168" fmla="*/ 983936 w 1568040"/>
                  <a:gd name="connsiteY168" fmla="*/ 34768 h 2458102"/>
                  <a:gd name="connsiteX169" fmla="*/ 1046519 w 1568040"/>
                  <a:gd name="connsiteY169" fmla="*/ 45199 h 2458102"/>
                  <a:gd name="connsiteX170" fmla="*/ 1081287 w 1568040"/>
                  <a:gd name="connsiteY170" fmla="*/ 62583 h 2458102"/>
                  <a:gd name="connsiteX171" fmla="*/ 1056949 w 1568040"/>
                  <a:gd name="connsiteY171" fmla="*/ 0 h 2458102"/>
                  <a:gd name="connsiteX172" fmla="*/ 1102148 w 1568040"/>
                  <a:gd name="connsiteY172" fmla="*/ 13907 h 2458102"/>
                  <a:gd name="connsiteX173" fmla="*/ 1119532 w 1568040"/>
                  <a:gd name="connsiteY173" fmla="*/ 6954 h 2458102"/>
                  <a:gd name="connsiteX174" fmla="*/ 1129962 w 1568040"/>
                  <a:gd name="connsiteY174" fmla="*/ 24338 h 2458102"/>
                  <a:gd name="connsiteX175" fmla="*/ 1192545 w 1568040"/>
                  <a:gd name="connsiteY175" fmla="*/ 41722 h 2458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1568040" h="2458102">
                    <a:moveTo>
                      <a:pt x="1192545" y="41722"/>
                    </a:moveTo>
                    <a:lnTo>
                      <a:pt x="1161254" y="139072"/>
                    </a:lnTo>
                    <a:lnTo>
                      <a:pt x="1189068" y="170364"/>
                    </a:lnTo>
                    <a:lnTo>
                      <a:pt x="1074333" y="267714"/>
                    </a:lnTo>
                    <a:lnTo>
                      <a:pt x="872679" y="448508"/>
                    </a:lnTo>
                    <a:lnTo>
                      <a:pt x="872679" y="490230"/>
                    </a:lnTo>
                    <a:lnTo>
                      <a:pt x="792712" y="500660"/>
                    </a:lnTo>
                    <a:lnTo>
                      <a:pt x="862248" y="521521"/>
                    </a:lnTo>
                    <a:lnTo>
                      <a:pt x="952645" y="518044"/>
                    </a:lnTo>
                    <a:lnTo>
                      <a:pt x="792712" y="702315"/>
                    </a:lnTo>
                    <a:lnTo>
                      <a:pt x="1015228" y="618872"/>
                    </a:lnTo>
                    <a:lnTo>
                      <a:pt x="1088241" y="584103"/>
                    </a:lnTo>
                    <a:lnTo>
                      <a:pt x="1147346" y="625825"/>
                    </a:lnTo>
                    <a:lnTo>
                      <a:pt x="1216883" y="615395"/>
                    </a:lnTo>
                    <a:lnTo>
                      <a:pt x="1477643" y="604964"/>
                    </a:lnTo>
                    <a:lnTo>
                      <a:pt x="1568040" y="726653"/>
                    </a:lnTo>
                    <a:lnTo>
                      <a:pt x="1477643" y="883109"/>
                    </a:lnTo>
                    <a:lnTo>
                      <a:pt x="1470689" y="976983"/>
                    </a:lnTo>
                    <a:lnTo>
                      <a:pt x="1415060" y="1102148"/>
                    </a:lnTo>
                    <a:lnTo>
                      <a:pt x="1335094" y="1241220"/>
                    </a:lnTo>
                    <a:lnTo>
                      <a:pt x="1324663" y="1303802"/>
                    </a:lnTo>
                    <a:lnTo>
                      <a:pt x="1237743" y="1373338"/>
                    </a:lnTo>
                    <a:lnTo>
                      <a:pt x="1282942" y="1442875"/>
                    </a:lnTo>
                    <a:lnTo>
                      <a:pt x="1289895" y="1512411"/>
                    </a:lnTo>
                    <a:lnTo>
                      <a:pt x="1227313" y="1533272"/>
                    </a:lnTo>
                    <a:lnTo>
                      <a:pt x="1178638" y="1519364"/>
                    </a:lnTo>
                    <a:lnTo>
                      <a:pt x="1109102" y="1606284"/>
                    </a:lnTo>
                    <a:lnTo>
                      <a:pt x="931784" y="1616715"/>
                    </a:lnTo>
                    <a:lnTo>
                      <a:pt x="1164730" y="1668867"/>
                    </a:lnTo>
                    <a:lnTo>
                      <a:pt x="1223836" y="1609761"/>
                    </a:lnTo>
                    <a:lnTo>
                      <a:pt x="1383769" y="1675821"/>
                    </a:lnTo>
                    <a:lnTo>
                      <a:pt x="1442875" y="1759264"/>
                    </a:lnTo>
                    <a:lnTo>
                      <a:pt x="1376816" y="1846184"/>
                    </a:lnTo>
                    <a:lnTo>
                      <a:pt x="1394200" y="2006117"/>
                    </a:lnTo>
                    <a:lnTo>
                      <a:pt x="1075548" y="2280481"/>
                    </a:lnTo>
                    <a:lnTo>
                      <a:pt x="973506" y="2280785"/>
                    </a:lnTo>
                    <a:lnTo>
                      <a:pt x="970029" y="2332937"/>
                    </a:lnTo>
                    <a:lnTo>
                      <a:pt x="897016" y="2343367"/>
                    </a:lnTo>
                    <a:lnTo>
                      <a:pt x="820527" y="2392043"/>
                    </a:lnTo>
                    <a:lnTo>
                      <a:pt x="726653" y="2353798"/>
                    </a:lnTo>
                    <a:lnTo>
                      <a:pt x="719699" y="2437241"/>
                    </a:lnTo>
                    <a:lnTo>
                      <a:pt x="681454" y="2447672"/>
                    </a:lnTo>
                    <a:lnTo>
                      <a:pt x="604965" y="2402473"/>
                    </a:lnTo>
                    <a:lnTo>
                      <a:pt x="566720" y="2332937"/>
                    </a:lnTo>
                    <a:lnTo>
                      <a:pt x="524998" y="2353798"/>
                    </a:lnTo>
                    <a:lnTo>
                      <a:pt x="556289" y="2426811"/>
                    </a:lnTo>
                    <a:lnTo>
                      <a:pt x="535429" y="2458102"/>
                    </a:lnTo>
                    <a:lnTo>
                      <a:pt x="500660" y="2458102"/>
                    </a:lnTo>
                    <a:lnTo>
                      <a:pt x="493707" y="2392043"/>
                    </a:lnTo>
                    <a:lnTo>
                      <a:pt x="455462" y="2315553"/>
                    </a:lnTo>
                    <a:lnTo>
                      <a:pt x="445032" y="2235586"/>
                    </a:lnTo>
                    <a:lnTo>
                      <a:pt x="486753" y="2263401"/>
                    </a:lnTo>
                    <a:lnTo>
                      <a:pt x="476323" y="2186911"/>
                    </a:lnTo>
                    <a:lnTo>
                      <a:pt x="556289" y="2099991"/>
                    </a:lnTo>
                    <a:lnTo>
                      <a:pt x="570197" y="2030455"/>
                    </a:lnTo>
                    <a:lnTo>
                      <a:pt x="646686" y="1919197"/>
                    </a:lnTo>
                    <a:lnTo>
                      <a:pt x="601488" y="1849661"/>
                    </a:lnTo>
                    <a:lnTo>
                      <a:pt x="566720" y="1794032"/>
                    </a:lnTo>
                    <a:lnTo>
                      <a:pt x="538905" y="1693205"/>
                    </a:lnTo>
                    <a:lnTo>
                      <a:pt x="524998" y="1807939"/>
                    </a:lnTo>
                    <a:lnTo>
                      <a:pt x="434601" y="1721019"/>
                    </a:lnTo>
                    <a:lnTo>
                      <a:pt x="372019" y="1787078"/>
                    </a:lnTo>
                    <a:lnTo>
                      <a:pt x="368542" y="1926151"/>
                    </a:lnTo>
                    <a:lnTo>
                      <a:pt x="333774" y="1964396"/>
                    </a:lnTo>
                    <a:lnTo>
                      <a:pt x="361588" y="2006117"/>
                    </a:lnTo>
                    <a:lnTo>
                      <a:pt x="292052" y="2051316"/>
                    </a:lnTo>
                    <a:lnTo>
                      <a:pt x="222516" y="2023501"/>
                    </a:lnTo>
                    <a:lnTo>
                      <a:pt x="267714" y="1929627"/>
                    </a:lnTo>
                    <a:lnTo>
                      <a:pt x="295529" y="1842707"/>
                    </a:lnTo>
                    <a:lnTo>
                      <a:pt x="316390" y="1762741"/>
                    </a:lnTo>
                    <a:lnTo>
                      <a:pt x="299006" y="1689728"/>
                    </a:lnTo>
                    <a:lnTo>
                      <a:pt x="267714" y="1592377"/>
                    </a:lnTo>
                    <a:lnTo>
                      <a:pt x="205132" y="1741880"/>
                    </a:lnTo>
                    <a:lnTo>
                      <a:pt x="184271" y="1738403"/>
                    </a:lnTo>
                    <a:lnTo>
                      <a:pt x="205132" y="1807939"/>
                    </a:lnTo>
                    <a:lnTo>
                      <a:pt x="104305" y="1853138"/>
                    </a:lnTo>
                    <a:lnTo>
                      <a:pt x="79967" y="1839230"/>
                    </a:lnTo>
                    <a:lnTo>
                      <a:pt x="93874" y="1748834"/>
                    </a:lnTo>
                    <a:lnTo>
                      <a:pt x="34768" y="1794032"/>
                    </a:lnTo>
                    <a:lnTo>
                      <a:pt x="41722" y="1700158"/>
                    </a:lnTo>
                    <a:lnTo>
                      <a:pt x="83444" y="1651483"/>
                    </a:lnTo>
                    <a:lnTo>
                      <a:pt x="152980" y="1627145"/>
                    </a:lnTo>
                    <a:lnTo>
                      <a:pt x="156457" y="1672344"/>
                    </a:lnTo>
                    <a:lnTo>
                      <a:pt x="212086" y="1630622"/>
                    </a:lnTo>
                    <a:lnTo>
                      <a:pt x="225993" y="1578470"/>
                    </a:lnTo>
                    <a:lnTo>
                      <a:pt x="271191" y="1540225"/>
                    </a:lnTo>
                    <a:lnTo>
                      <a:pt x="299006" y="1470689"/>
                    </a:lnTo>
                    <a:lnTo>
                      <a:pt x="472846" y="1209929"/>
                    </a:lnTo>
                    <a:lnTo>
                      <a:pt x="458939" y="1182114"/>
                    </a:lnTo>
                    <a:lnTo>
                      <a:pt x="344204" y="1321186"/>
                    </a:lnTo>
                    <a:lnTo>
                      <a:pt x="333774" y="1362908"/>
                    </a:lnTo>
                    <a:lnTo>
                      <a:pt x="264238" y="1415060"/>
                    </a:lnTo>
                    <a:lnTo>
                      <a:pt x="142549" y="1418537"/>
                    </a:lnTo>
                    <a:lnTo>
                      <a:pt x="121689" y="1432444"/>
                    </a:lnTo>
                    <a:lnTo>
                      <a:pt x="76490" y="1373338"/>
                    </a:lnTo>
                    <a:lnTo>
                      <a:pt x="163410" y="1380292"/>
                    </a:lnTo>
                    <a:lnTo>
                      <a:pt x="163410" y="1345524"/>
                    </a:lnTo>
                    <a:lnTo>
                      <a:pt x="191225" y="1317710"/>
                    </a:lnTo>
                    <a:lnTo>
                      <a:pt x="135596" y="1317710"/>
                    </a:lnTo>
                    <a:lnTo>
                      <a:pt x="111258" y="1251650"/>
                    </a:lnTo>
                    <a:lnTo>
                      <a:pt x="187748" y="1196021"/>
                    </a:lnTo>
                    <a:lnTo>
                      <a:pt x="219039" y="1234266"/>
                    </a:lnTo>
                    <a:lnTo>
                      <a:pt x="222516" y="1178637"/>
                    </a:lnTo>
                    <a:lnTo>
                      <a:pt x="156457" y="1171684"/>
                    </a:lnTo>
                    <a:lnTo>
                      <a:pt x="180794" y="1136916"/>
                    </a:lnTo>
                    <a:lnTo>
                      <a:pt x="229470" y="1140392"/>
                    </a:lnTo>
                    <a:lnTo>
                      <a:pt x="232946" y="1112578"/>
                    </a:lnTo>
                    <a:lnTo>
                      <a:pt x="264238" y="1102148"/>
                    </a:lnTo>
                    <a:lnTo>
                      <a:pt x="246854" y="1036088"/>
                    </a:lnTo>
                    <a:lnTo>
                      <a:pt x="292052" y="1043042"/>
                    </a:lnTo>
                    <a:lnTo>
                      <a:pt x="295529" y="994367"/>
                    </a:lnTo>
                    <a:lnTo>
                      <a:pt x="292052" y="983936"/>
                    </a:lnTo>
                    <a:lnTo>
                      <a:pt x="337251" y="924830"/>
                    </a:lnTo>
                    <a:lnTo>
                      <a:pt x="406787" y="949168"/>
                    </a:lnTo>
                    <a:lnTo>
                      <a:pt x="333774" y="879632"/>
                    </a:lnTo>
                    <a:lnTo>
                      <a:pt x="239900" y="987413"/>
                    </a:lnTo>
                    <a:lnTo>
                      <a:pt x="215562" y="938738"/>
                    </a:lnTo>
                    <a:lnTo>
                      <a:pt x="250330" y="893539"/>
                    </a:lnTo>
                    <a:lnTo>
                      <a:pt x="187748" y="917877"/>
                    </a:lnTo>
                    <a:lnTo>
                      <a:pt x="118212" y="848341"/>
                    </a:lnTo>
                    <a:lnTo>
                      <a:pt x="83444" y="757944"/>
                    </a:lnTo>
                    <a:lnTo>
                      <a:pt x="34768" y="778805"/>
                    </a:lnTo>
                    <a:lnTo>
                      <a:pt x="0" y="719699"/>
                    </a:lnTo>
                    <a:lnTo>
                      <a:pt x="20861" y="660593"/>
                    </a:lnTo>
                    <a:lnTo>
                      <a:pt x="48676" y="688408"/>
                    </a:lnTo>
                    <a:lnTo>
                      <a:pt x="62583" y="622348"/>
                    </a:lnTo>
                    <a:lnTo>
                      <a:pt x="125165" y="667547"/>
                    </a:lnTo>
                    <a:lnTo>
                      <a:pt x="135596" y="573673"/>
                    </a:lnTo>
                    <a:lnTo>
                      <a:pt x="184271" y="570196"/>
                    </a:lnTo>
                    <a:lnTo>
                      <a:pt x="225993" y="622348"/>
                    </a:lnTo>
                    <a:lnTo>
                      <a:pt x="222516" y="671024"/>
                    </a:lnTo>
                    <a:lnTo>
                      <a:pt x="264238" y="691884"/>
                    </a:lnTo>
                    <a:lnTo>
                      <a:pt x="267714" y="775328"/>
                    </a:lnTo>
                    <a:lnTo>
                      <a:pt x="264238" y="841387"/>
                    </a:lnTo>
                    <a:lnTo>
                      <a:pt x="309436" y="813573"/>
                    </a:lnTo>
                    <a:lnTo>
                      <a:pt x="340727" y="782281"/>
                    </a:lnTo>
                    <a:lnTo>
                      <a:pt x="295529" y="764897"/>
                    </a:lnTo>
                    <a:lnTo>
                      <a:pt x="305959" y="636256"/>
                    </a:lnTo>
                    <a:lnTo>
                      <a:pt x="385926" y="671024"/>
                    </a:lnTo>
                    <a:lnTo>
                      <a:pt x="316390" y="587580"/>
                    </a:lnTo>
                    <a:lnTo>
                      <a:pt x="365065" y="563243"/>
                    </a:lnTo>
                    <a:lnTo>
                      <a:pt x="316390" y="472846"/>
                    </a:lnTo>
                    <a:lnTo>
                      <a:pt x="347681" y="479799"/>
                    </a:lnTo>
                    <a:lnTo>
                      <a:pt x="420694" y="528475"/>
                    </a:lnTo>
                    <a:lnTo>
                      <a:pt x="389403" y="420694"/>
                    </a:lnTo>
                    <a:lnTo>
                      <a:pt x="424171" y="451985"/>
                    </a:lnTo>
                    <a:lnTo>
                      <a:pt x="462416" y="424170"/>
                    </a:lnTo>
                    <a:lnTo>
                      <a:pt x="504137" y="438078"/>
                    </a:lnTo>
                    <a:lnTo>
                      <a:pt x="500660" y="403310"/>
                    </a:lnTo>
                    <a:lnTo>
                      <a:pt x="434601" y="382449"/>
                    </a:lnTo>
                    <a:lnTo>
                      <a:pt x="434601" y="323343"/>
                    </a:lnTo>
                    <a:lnTo>
                      <a:pt x="493707" y="337250"/>
                    </a:lnTo>
                    <a:lnTo>
                      <a:pt x="497184" y="305959"/>
                    </a:lnTo>
                    <a:lnTo>
                      <a:pt x="458939" y="236423"/>
                    </a:lnTo>
                    <a:lnTo>
                      <a:pt x="514568" y="232946"/>
                    </a:lnTo>
                    <a:lnTo>
                      <a:pt x="538905" y="243377"/>
                    </a:lnTo>
                    <a:lnTo>
                      <a:pt x="552813" y="225992"/>
                    </a:lnTo>
                    <a:lnTo>
                      <a:pt x="524998" y="177317"/>
                    </a:lnTo>
                    <a:lnTo>
                      <a:pt x="556289" y="135596"/>
                    </a:lnTo>
                    <a:lnTo>
                      <a:pt x="570197" y="55629"/>
                    </a:lnTo>
                    <a:lnTo>
                      <a:pt x="643209" y="31291"/>
                    </a:lnTo>
                    <a:lnTo>
                      <a:pt x="691885" y="66059"/>
                    </a:lnTo>
                    <a:lnTo>
                      <a:pt x="740560" y="62583"/>
                    </a:lnTo>
                    <a:lnTo>
                      <a:pt x="778805" y="79967"/>
                    </a:lnTo>
                    <a:lnTo>
                      <a:pt x="848341" y="66059"/>
                    </a:lnTo>
                    <a:lnTo>
                      <a:pt x="883109" y="41722"/>
                    </a:lnTo>
                    <a:lnTo>
                      <a:pt x="886586" y="59106"/>
                    </a:lnTo>
                    <a:lnTo>
                      <a:pt x="956122" y="59106"/>
                    </a:lnTo>
                    <a:lnTo>
                      <a:pt x="983936" y="34768"/>
                    </a:lnTo>
                    <a:lnTo>
                      <a:pt x="1046519" y="45199"/>
                    </a:lnTo>
                    <a:lnTo>
                      <a:pt x="1081287" y="62583"/>
                    </a:lnTo>
                    <a:lnTo>
                      <a:pt x="1056949" y="0"/>
                    </a:lnTo>
                    <a:lnTo>
                      <a:pt x="1102148" y="13907"/>
                    </a:lnTo>
                    <a:lnTo>
                      <a:pt x="1119532" y="6954"/>
                    </a:lnTo>
                    <a:lnTo>
                      <a:pt x="1129962" y="24338"/>
                    </a:lnTo>
                    <a:lnTo>
                      <a:pt x="1192545" y="41722"/>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12" name="Freeform 52">
                <a:extLst>
                  <a:ext uri="{FF2B5EF4-FFF2-40B4-BE49-F238E27FC236}">
                    <a16:creationId xmlns:a16="http://schemas.microsoft.com/office/drawing/2014/main" id="{732F0ECB-ABC1-4C63-9DA0-DA415EBA6AD8}"/>
                  </a:ext>
                </a:extLst>
              </p:cNvPr>
              <p:cNvSpPr/>
              <p:nvPr/>
            </p:nvSpPr>
            <p:spPr bwMode="auto">
              <a:xfrm>
                <a:off x="5159375" y="1521618"/>
                <a:ext cx="327025" cy="431800"/>
              </a:xfrm>
              <a:custGeom>
                <a:avLst/>
                <a:gdLst>
                  <a:gd name="connsiteX0" fmla="*/ 326571 w 326571"/>
                  <a:gd name="connsiteY0" fmla="*/ 3629 h 431800"/>
                  <a:gd name="connsiteX1" fmla="*/ 243114 w 326571"/>
                  <a:gd name="connsiteY1" fmla="*/ 0 h 431800"/>
                  <a:gd name="connsiteX2" fmla="*/ 163285 w 326571"/>
                  <a:gd name="connsiteY2" fmla="*/ 76200 h 431800"/>
                  <a:gd name="connsiteX3" fmla="*/ 137885 w 326571"/>
                  <a:gd name="connsiteY3" fmla="*/ 72571 h 431800"/>
                  <a:gd name="connsiteX4" fmla="*/ 105228 w 326571"/>
                  <a:gd name="connsiteY4" fmla="*/ 134257 h 431800"/>
                  <a:gd name="connsiteX5" fmla="*/ 29028 w 326571"/>
                  <a:gd name="connsiteY5" fmla="*/ 123371 h 431800"/>
                  <a:gd name="connsiteX6" fmla="*/ 32657 w 326571"/>
                  <a:gd name="connsiteY6" fmla="*/ 177800 h 431800"/>
                  <a:gd name="connsiteX7" fmla="*/ 0 w 326571"/>
                  <a:gd name="connsiteY7" fmla="*/ 206829 h 431800"/>
                  <a:gd name="connsiteX8" fmla="*/ 32657 w 326571"/>
                  <a:gd name="connsiteY8" fmla="*/ 290286 h 431800"/>
                  <a:gd name="connsiteX9" fmla="*/ 7257 w 326571"/>
                  <a:gd name="connsiteY9" fmla="*/ 333829 h 431800"/>
                  <a:gd name="connsiteX10" fmla="*/ 76200 w 326571"/>
                  <a:gd name="connsiteY10" fmla="*/ 337457 h 431800"/>
                  <a:gd name="connsiteX11" fmla="*/ 0 w 326571"/>
                  <a:gd name="connsiteY11" fmla="*/ 410029 h 431800"/>
                  <a:gd name="connsiteX12" fmla="*/ 36285 w 326571"/>
                  <a:gd name="connsiteY12" fmla="*/ 431800 h 431800"/>
                  <a:gd name="connsiteX13" fmla="*/ 112485 w 326571"/>
                  <a:gd name="connsiteY13" fmla="*/ 399143 h 431800"/>
                  <a:gd name="connsiteX14" fmla="*/ 123371 w 326571"/>
                  <a:gd name="connsiteY14" fmla="*/ 333829 h 431800"/>
                  <a:gd name="connsiteX15" fmla="*/ 170543 w 326571"/>
                  <a:gd name="connsiteY15" fmla="*/ 337457 h 431800"/>
                  <a:gd name="connsiteX16" fmla="*/ 224971 w 326571"/>
                  <a:gd name="connsiteY16" fmla="*/ 283029 h 431800"/>
                  <a:gd name="connsiteX17" fmla="*/ 217714 w 326571"/>
                  <a:gd name="connsiteY17" fmla="*/ 214086 h 431800"/>
                  <a:gd name="connsiteX18" fmla="*/ 254000 w 326571"/>
                  <a:gd name="connsiteY18" fmla="*/ 199571 h 431800"/>
                  <a:gd name="connsiteX19" fmla="*/ 261257 w 326571"/>
                  <a:gd name="connsiteY19" fmla="*/ 177800 h 431800"/>
                  <a:gd name="connsiteX20" fmla="*/ 301171 w 326571"/>
                  <a:gd name="connsiteY20" fmla="*/ 185057 h 431800"/>
                  <a:gd name="connsiteX21" fmla="*/ 322943 w 326571"/>
                  <a:gd name="connsiteY21" fmla="*/ 141514 h 431800"/>
                  <a:gd name="connsiteX22" fmla="*/ 283028 w 326571"/>
                  <a:gd name="connsiteY22" fmla="*/ 127000 h 431800"/>
                  <a:gd name="connsiteX23" fmla="*/ 301171 w 326571"/>
                  <a:gd name="connsiteY23" fmla="*/ 72571 h 431800"/>
                  <a:gd name="connsiteX24" fmla="*/ 326571 w 326571"/>
                  <a:gd name="connsiteY24" fmla="*/ 3629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26571" h="431800">
                    <a:moveTo>
                      <a:pt x="326571" y="3629"/>
                    </a:moveTo>
                    <a:lnTo>
                      <a:pt x="243114" y="0"/>
                    </a:lnTo>
                    <a:lnTo>
                      <a:pt x="163285" y="76200"/>
                    </a:lnTo>
                    <a:lnTo>
                      <a:pt x="137885" y="72571"/>
                    </a:lnTo>
                    <a:lnTo>
                      <a:pt x="105228" y="134257"/>
                    </a:lnTo>
                    <a:lnTo>
                      <a:pt x="29028" y="123371"/>
                    </a:lnTo>
                    <a:lnTo>
                      <a:pt x="32657" y="177800"/>
                    </a:lnTo>
                    <a:lnTo>
                      <a:pt x="0" y="206829"/>
                    </a:lnTo>
                    <a:lnTo>
                      <a:pt x="32657" y="290286"/>
                    </a:lnTo>
                    <a:lnTo>
                      <a:pt x="7257" y="333829"/>
                    </a:lnTo>
                    <a:lnTo>
                      <a:pt x="76200" y="337457"/>
                    </a:lnTo>
                    <a:lnTo>
                      <a:pt x="0" y="410029"/>
                    </a:lnTo>
                    <a:lnTo>
                      <a:pt x="36285" y="431800"/>
                    </a:lnTo>
                    <a:lnTo>
                      <a:pt x="112485" y="399143"/>
                    </a:lnTo>
                    <a:lnTo>
                      <a:pt x="123371" y="333829"/>
                    </a:lnTo>
                    <a:lnTo>
                      <a:pt x="170543" y="337457"/>
                    </a:lnTo>
                    <a:lnTo>
                      <a:pt x="224971" y="283029"/>
                    </a:lnTo>
                    <a:lnTo>
                      <a:pt x="217714" y="214086"/>
                    </a:lnTo>
                    <a:lnTo>
                      <a:pt x="254000" y="199571"/>
                    </a:lnTo>
                    <a:lnTo>
                      <a:pt x="261257" y="177800"/>
                    </a:lnTo>
                    <a:lnTo>
                      <a:pt x="301171" y="185057"/>
                    </a:lnTo>
                    <a:lnTo>
                      <a:pt x="322943" y="141514"/>
                    </a:lnTo>
                    <a:lnTo>
                      <a:pt x="283028" y="127000"/>
                    </a:lnTo>
                    <a:lnTo>
                      <a:pt x="301171" y="72571"/>
                    </a:lnTo>
                    <a:lnTo>
                      <a:pt x="326571" y="3629"/>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13" name="Freeform 53">
                <a:extLst>
                  <a:ext uri="{FF2B5EF4-FFF2-40B4-BE49-F238E27FC236}">
                    <a16:creationId xmlns:a16="http://schemas.microsoft.com/office/drawing/2014/main" id="{F67BB95C-B5F2-4D02-9EB6-CA59F10ED723}"/>
                  </a:ext>
                </a:extLst>
              </p:cNvPr>
              <p:cNvSpPr/>
              <p:nvPr/>
            </p:nvSpPr>
            <p:spPr bwMode="auto">
              <a:xfrm>
                <a:off x="5032375" y="1975643"/>
                <a:ext cx="141287" cy="401638"/>
              </a:xfrm>
              <a:custGeom>
                <a:avLst/>
                <a:gdLst>
                  <a:gd name="connsiteX0" fmla="*/ 0 w 141514"/>
                  <a:gd name="connsiteY0" fmla="*/ 0 h 402772"/>
                  <a:gd name="connsiteX1" fmla="*/ 141514 w 141514"/>
                  <a:gd name="connsiteY1" fmla="*/ 25400 h 402772"/>
                  <a:gd name="connsiteX2" fmla="*/ 123371 w 141514"/>
                  <a:gd name="connsiteY2" fmla="*/ 97972 h 402772"/>
                  <a:gd name="connsiteX3" fmla="*/ 130628 w 141514"/>
                  <a:gd name="connsiteY3" fmla="*/ 148772 h 402772"/>
                  <a:gd name="connsiteX4" fmla="*/ 87085 w 141514"/>
                  <a:gd name="connsiteY4" fmla="*/ 177800 h 402772"/>
                  <a:gd name="connsiteX5" fmla="*/ 68943 w 141514"/>
                  <a:gd name="connsiteY5" fmla="*/ 224972 h 402772"/>
                  <a:gd name="connsiteX6" fmla="*/ 90714 w 141514"/>
                  <a:gd name="connsiteY6" fmla="*/ 254000 h 402772"/>
                  <a:gd name="connsiteX7" fmla="*/ 61685 w 141514"/>
                  <a:gd name="connsiteY7" fmla="*/ 304800 h 402772"/>
                  <a:gd name="connsiteX8" fmla="*/ 61685 w 141514"/>
                  <a:gd name="connsiteY8" fmla="*/ 373743 h 402772"/>
                  <a:gd name="connsiteX9" fmla="*/ 29028 w 141514"/>
                  <a:gd name="connsiteY9" fmla="*/ 402772 h 402772"/>
                  <a:gd name="connsiteX10" fmla="*/ 7257 w 141514"/>
                  <a:gd name="connsiteY10" fmla="*/ 359229 h 402772"/>
                  <a:gd name="connsiteX11" fmla="*/ 0 w 141514"/>
                  <a:gd name="connsiteY11" fmla="*/ 250372 h 402772"/>
                  <a:gd name="connsiteX12" fmla="*/ 14514 w 141514"/>
                  <a:gd name="connsiteY12" fmla="*/ 170543 h 402772"/>
                  <a:gd name="connsiteX13" fmla="*/ 36285 w 141514"/>
                  <a:gd name="connsiteY13" fmla="*/ 112486 h 402772"/>
                  <a:gd name="connsiteX14" fmla="*/ 3628 w 141514"/>
                  <a:gd name="connsiteY14" fmla="*/ 50800 h 402772"/>
                  <a:gd name="connsiteX15" fmla="*/ 0 w 141514"/>
                  <a:gd name="connsiteY15" fmla="*/ 0 h 402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1514" h="402772">
                    <a:moveTo>
                      <a:pt x="0" y="0"/>
                    </a:moveTo>
                    <a:lnTo>
                      <a:pt x="141514" y="25400"/>
                    </a:lnTo>
                    <a:lnTo>
                      <a:pt x="123371" y="97972"/>
                    </a:lnTo>
                    <a:lnTo>
                      <a:pt x="130628" y="148772"/>
                    </a:lnTo>
                    <a:lnTo>
                      <a:pt x="87085" y="177800"/>
                    </a:lnTo>
                    <a:lnTo>
                      <a:pt x="68943" y="224972"/>
                    </a:lnTo>
                    <a:lnTo>
                      <a:pt x="90714" y="254000"/>
                    </a:lnTo>
                    <a:lnTo>
                      <a:pt x="61685" y="304800"/>
                    </a:lnTo>
                    <a:lnTo>
                      <a:pt x="61685" y="373743"/>
                    </a:lnTo>
                    <a:lnTo>
                      <a:pt x="29028" y="402772"/>
                    </a:lnTo>
                    <a:lnTo>
                      <a:pt x="7257" y="359229"/>
                    </a:lnTo>
                    <a:lnTo>
                      <a:pt x="0" y="250372"/>
                    </a:lnTo>
                    <a:lnTo>
                      <a:pt x="14514" y="170543"/>
                    </a:lnTo>
                    <a:lnTo>
                      <a:pt x="36285" y="112486"/>
                    </a:lnTo>
                    <a:lnTo>
                      <a:pt x="3628" y="50800"/>
                    </a:lnTo>
                    <a:lnTo>
                      <a:pt x="0" y="0"/>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14" name="Freeform 54">
                <a:extLst>
                  <a:ext uri="{FF2B5EF4-FFF2-40B4-BE49-F238E27FC236}">
                    <a16:creationId xmlns:a16="http://schemas.microsoft.com/office/drawing/2014/main" id="{A443DBA1-3BF7-4361-AF22-F58461FFC650}"/>
                  </a:ext>
                </a:extLst>
              </p:cNvPr>
              <p:cNvSpPr/>
              <p:nvPr/>
            </p:nvSpPr>
            <p:spPr bwMode="auto">
              <a:xfrm>
                <a:off x="4967287" y="2385218"/>
                <a:ext cx="93663" cy="68263"/>
              </a:xfrm>
              <a:custGeom>
                <a:avLst/>
                <a:gdLst>
                  <a:gd name="connsiteX0" fmla="*/ 0 w 94343"/>
                  <a:gd name="connsiteY0" fmla="*/ 43543 h 68943"/>
                  <a:gd name="connsiteX1" fmla="*/ 36286 w 94343"/>
                  <a:gd name="connsiteY1" fmla="*/ 68943 h 68943"/>
                  <a:gd name="connsiteX2" fmla="*/ 94343 w 94343"/>
                  <a:gd name="connsiteY2" fmla="*/ 21771 h 68943"/>
                  <a:gd name="connsiteX3" fmla="*/ 50800 w 94343"/>
                  <a:gd name="connsiteY3" fmla="*/ 0 h 68943"/>
                  <a:gd name="connsiteX4" fmla="*/ 0 w 94343"/>
                  <a:gd name="connsiteY4" fmla="*/ 43543 h 68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43" h="68943">
                    <a:moveTo>
                      <a:pt x="0" y="43543"/>
                    </a:moveTo>
                    <a:lnTo>
                      <a:pt x="36286" y="68943"/>
                    </a:lnTo>
                    <a:lnTo>
                      <a:pt x="94343" y="21771"/>
                    </a:lnTo>
                    <a:lnTo>
                      <a:pt x="50800" y="0"/>
                    </a:lnTo>
                    <a:lnTo>
                      <a:pt x="0" y="43543"/>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15" name="Freeform 55">
                <a:extLst>
                  <a:ext uri="{FF2B5EF4-FFF2-40B4-BE49-F238E27FC236}">
                    <a16:creationId xmlns:a16="http://schemas.microsoft.com/office/drawing/2014/main" id="{6584F5EB-D62F-4898-BF16-85A63F454F96}"/>
                  </a:ext>
                </a:extLst>
              </p:cNvPr>
              <p:cNvSpPr/>
              <p:nvPr/>
            </p:nvSpPr>
            <p:spPr bwMode="auto">
              <a:xfrm>
                <a:off x="4937125" y="2486818"/>
                <a:ext cx="33337" cy="73025"/>
              </a:xfrm>
              <a:custGeom>
                <a:avLst/>
                <a:gdLst>
                  <a:gd name="connsiteX0" fmla="*/ 32657 w 32657"/>
                  <a:gd name="connsiteY0" fmla="*/ 0 h 72571"/>
                  <a:gd name="connsiteX1" fmla="*/ 0 w 32657"/>
                  <a:gd name="connsiteY1" fmla="*/ 25400 h 72571"/>
                  <a:gd name="connsiteX2" fmla="*/ 10886 w 32657"/>
                  <a:gd name="connsiteY2" fmla="*/ 54429 h 72571"/>
                  <a:gd name="connsiteX3" fmla="*/ 29028 w 32657"/>
                  <a:gd name="connsiteY3" fmla="*/ 72571 h 72571"/>
                  <a:gd name="connsiteX4" fmla="*/ 32657 w 32657"/>
                  <a:gd name="connsiteY4" fmla="*/ 0 h 7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7" h="72571">
                    <a:moveTo>
                      <a:pt x="32657" y="0"/>
                    </a:moveTo>
                    <a:lnTo>
                      <a:pt x="0" y="25400"/>
                    </a:lnTo>
                    <a:lnTo>
                      <a:pt x="10886" y="54429"/>
                    </a:lnTo>
                    <a:lnTo>
                      <a:pt x="29028" y="72571"/>
                    </a:lnTo>
                    <a:lnTo>
                      <a:pt x="32657" y="0"/>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16" name="Freeform 56">
                <a:extLst>
                  <a:ext uri="{FF2B5EF4-FFF2-40B4-BE49-F238E27FC236}">
                    <a16:creationId xmlns:a16="http://schemas.microsoft.com/office/drawing/2014/main" id="{987BE0CF-724D-499D-8A4D-F42B3EB571CF}"/>
                  </a:ext>
                </a:extLst>
              </p:cNvPr>
              <p:cNvSpPr/>
              <p:nvPr/>
            </p:nvSpPr>
            <p:spPr bwMode="auto">
              <a:xfrm>
                <a:off x="5283200" y="2367756"/>
                <a:ext cx="50800" cy="53975"/>
              </a:xfrm>
              <a:custGeom>
                <a:avLst/>
                <a:gdLst>
                  <a:gd name="connsiteX0" fmla="*/ 0 w 50800"/>
                  <a:gd name="connsiteY0" fmla="*/ 0 h 54429"/>
                  <a:gd name="connsiteX1" fmla="*/ 21772 w 50800"/>
                  <a:gd name="connsiteY1" fmla="*/ 54429 h 54429"/>
                  <a:gd name="connsiteX2" fmla="*/ 50800 w 50800"/>
                  <a:gd name="connsiteY2" fmla="*/ 21772 h 54429"/>
                  <a:gd name="connsiteX3" fmla="*/ 0 w 50800"/>
                  <a:gd name="connsiteY3" fmla="*/ 0 h 54429"/>
                </a:gdLst>
                <a:ahLst/>
                <a:cxnLst>
                  <a:cxn ang="0">
                    <a:pos x="connsiteX0" y="connsiteY0"/>
                  </a:cxn>
                  <a:cxn ang="0">
                    <a:pos x="connsiteX1" y="connsiteY1"/>
                  </a:cxn>
                  <a:cxn ang="0">
                    <a:pos x="connsiteX2" y="connsiteY2"/>
                  </a:cxn>
                  <a:cxn ang="0">
                    <a:pos x="connsiteX3" y="connsiteY3"/>
                  </a:cxn>
                </a:cxnLst>
                <a:rect l="l" t="t" r="r" b="b"/>
                <a:pathLst>
                  <a:path w="50800" h="54429">
                    <a:moveTo>
                      <a:pt x="0" y="0"/>
                    </a:moveTo>
                    <a:lnTo>
                      <a:pt x="21772" y="54429"/>
                    </a:lnTo>
                    <a:lnTo>
                      <a:pt x="50800" y="21772"/>
                    </a:lnTo>
                    <a:lnTo>
                      <a:pt x="0" y="0"/>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17" name="Freeform 57">
                <a:extLst>
                  <a:ext uri="{FF2B5EF4-FFF2-40B4-BE49-F238E27FC236}">
                    <a16:creationId xmlns:a16="http://schemas.microsoft.com/office/drawing/2014/main" id="{8FD27A3F-49B8-496D-BA64-03075CA8A756}"/>
                  </a:ext>
                </a:extLst>
              </p:cNvPr>
              <p:cNvSpPr/>
              <p:nvPr/>
            </p:nvSpPr>
            <p:spPr bwMode="auto">
              <a:xfrm>
                <a:off x="5340350" y="2385218"/>
                <a:ext cx="58737" cy="98425"/>
              </a:xfrm>
              <a:custGeom>
                <a:avLst/>
                <a:gdLst>
                  <a:gd name="connsiteX0" fmla="*/ 58057 w 58057"/>
                  <a:gd name="connsiteY0" fmla="*/ 0 h 97971"/>
                  <a:gd name="connsiteX1" fmla="*/ 0 w 58057"/>
                  <a:gd name="connsiteY1" fmla="*/ 7257 h 97971"/>
                  <a:gd name="connsiteX2" fmla="*/ 0 w 58057"/>
                  <a:gd name="connsiteY2" fmla="*/ 65314 h 97971"/>
                  <a:gd name="connsiteX3" fmla="*/ 21772 w 58057"/>
                  <a:gd name="connsiteY3" fmla="*/ 97971 h 97971"/>
                  <a:gd name="connsiteX4" fmla="*/ 47172 w 58057"/>
                  <a:gd name="connsiteY4" fmla="*/ 61686 h 97971"/>
                  <a:gd name="connsiteX5" fmla="*/ 58057 w 58057"/>
                  <a:gd name="connsiteY5" fmla="*/ 0 h 97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057" h="97971">
                    <a:moveTo>
                      <a:pt x="58057" y="0"/>
                    </a:moveTo>
                    <a:lnTo>
                      <a:pt x="0" y="7257"/>
                    </a:lnTo>
                    <a:lnTo>
                      <a:pt x="0" y="65314"/>
                    </a:lnTo>
                    <a:lnTo>
                      <a:pt x="21772" y="97971"/>
                    </a:lnTo>
                    <a:lnTo>
                      <a:pt x="47172" y="61686"/>
                    </a:lnTo>
                    <a:lnTo>
                      <a:pt x="58057" y="0"/>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18" name="Freeform 58">
                <a:extLst>
                  <a:ext uri="{FF2B5EF4-FFF2-40B4-BE49-F238E27FC236}">
                    <a16:creationId xmlns:a16="http://schemas.microsoft.com/office/drawing/2014/main" id="{BA34DFB4-EDC2-4710-9B1A-E942E36086CE}"/>
                  </a:ext>
                </a:extLst>
              </p:cNvPr>
              <p:cNvSpPr/>
              <p:nvPr/>
            </p:nvSpPr>
            <p:spPr bwMode="auto">
              <a:xfrm>
                <a:off x="5405437" y="2461418"/>
                <a:ext cx="30163" cy="65088"/>
              </a:xfrm>
              <a:custGeom>
                <a:avLst/>
                <a:gdLst>
                  <a:gd name="connsiteX0" fmla="*/ 29028 w 29028"/>
                  <a:gd name="connsiteY0" fmla="*/ 0 h 65314"/>
                  <a:gd name="connsiteX1" fmla="*/ 0 w 29028"/>
                  <a:gd name="connsiteY1" fmla="*/ 65314 h 65314"/>
                  <a:gd name="connsiteX2" fmla="*/ 29028 w 29028"/>
                  <a:gd name="connsiteY2" fmla="*/ 58057 h 65314"/>
                  <a:gd name="connsiteX3" fmla="*/ 29028 w 29028"/>
                  <a:gd name="connsiteY3" fmla="*/ 0 h 65314"/>
                </a:gdLst>
                <a:ahLst/>
                <a:cxnLst>
                  <a:cxn ang="0">
                    <a:pos x="connsiteX0" y="connsiteY0"/>
                  </a:cxn>
                  <a:cxn ang="0">
                    <a:pos x="connsiteX1" y="connsiteY1"/>
                  </a:cxn>
                  <a:cxn ang="0">
                    <a:pos x="connsiteX2" y="connsiteY2"/>
                  </a:cxn>
                  <a:cxn ang="0">
                    <a:pos x="connsiteX3" y="connsiteY3"/>
                  </a:cxn>
                </a:cxnLst>
                <a:rect l="l" t="t" r="r" b="b"/>
                <a:pathLst>
                  <a:path w="29028" h="65314">
                    <a:moveTo>
                      <a:pt x="29028" y="0"/>
                    </a:moveTo>
                    <a:lnTo>
                      <a:pt x="0" y="65314"/>
                    </a:lnTo>
                    <a:lnTo>
                      <a:pt x="29028" y="58057"/>
                    </a:lnTo>
                    <a:lnTo>
                      <a:pt x="29028" y="0"/>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19" name="Freeform 59">
                <a:extLst>
                  <a:ext uri="{FF2B5EF4-FFF2-40B4-BE49-F238E27FC236}">
                    <a16:creationId xmlns:a16="http://schemas.microsoft.com/office/drawing/2014/main" id="{9144492F-E562-4BCA-91A5-16BDD4B8518E}"/>
                  </a:ext>
                </a:extLst>
              </p:cNvPr>
              <p:cNvSpPr/>
              <p:nvPr/>
            </p:nvSpPr>
            <p:spPr bwMode="auto">
              <a:xfrm>
                <a:off x="5264150" y="2605881"/>
                <a:ext cx="50800" cy="84137"/>
              </a:xfrm>
              <a:custGeom>
                <a:avLst/>
                <a:gdLst>
                  <a:gd name="connsiteX0" fmla="*/ 50800 w 50800"/>
                  <a:gd name="connsiteY0" fmla="*/ 0 h 83457"/>
                  <a:gd name="connsiteX1" fmla="*/ 0 w 50800"/>
                  <a:gd name="connsiteY1" fmla="*/ 47171 h 83457"/>
                  <a:gd name="connsiteX2" fmla="*/ 7257 w 50800"/>
                  <a:gd name="connsiteY2" fmla="*/ 83457 h 83457"/>
                  <a:gd name="connsiteX3" fmla="*/ 32657 w 50800"/>
                  <a:gd name="connsiteY3" fmla="*/ 54428 h 83457"/>
                  <a:gd name="connsiteX4" fmla="*/ 50800 w 50800"/>
                  <a:gd name="connsiteY4" fmla="*/ 0 h 83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83457">
                    <a:moveTo>
                      <a:pt x="50800" y="0"/>
                    </a:moveTo>
                    <a:lnTo>
                      <a:pt x="0" y="47171"/>
                    </a:lnTo>
                    <a:lnTo>
                      <a:pt x="7257" y="83457"/>
                    </a:lnTo>
                    <a:lnTo>
                      <a:pt x="32657" y="54428"/>
                    </a:lnTo>
                    <a:lnTo>
                      <a:pt x="50800" y="0"/>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20" name="Freeform 60">
                <a:extLst>
                  <a:ext uri="{FF2B5EF4-FFF2-40B4-BE49-F238E27FC236}">
                    <a16:creationId xmlns:a16="http://schemas.microsoft.com/office/drawing/2014/main" id="{F67F3B42-835E-4539-BC17-C74270D09D32}"/>
                  </a:ext>
                </a:extLst>
              </p:cNvPr>
              <p:cNvSpPr/>
              <p:nvPr/>
            </p:nvSpPr>
            <p:spPr bwMode="auto">
              <a:xfrm>
                <a:off x="5126037" y="2701131"/>
                <a:ext cx="76200" cy="50800"/>
              </a:xfrm>
              <a:custGeom>
                <a:avLst/>
                <a:gdLst>
                  <a:gd name="connsiteX0" fmla="*/ 76200 w 76200"/>
                  <a:gd name="connsiteY0" fmla="*/ 0 h 50800"/>
                  <a:gd name="connsiteX1" fmla="*/ 0 w 76200"/>
                  <a:gd name="connsiteY1" fmla="*/ 7257 h 50800"/>
                  <a:gd name="connsiteX2" fmla="*/ 25400 w 76200"/>
                  <a:gd name="connsiteY2" fmla="*/ 50800 h 50800"/>
                  <a:gd name="connsiteX3" fmla="*/ 68942 w 76200"/>
                  <a:gd name="connsiteY3" fmla="*/ 50800 h 50800"/>
                  <a:gd name="connsiteX4" fmla="*/ 76200 w 76200"/>
                  <a:gd name="connsiteY4" fmla="*/ 0 h 5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50800">
                    <a:moveTo>
                      <a:pt x="76200" y="0"/>
                    </a:moveTo>
                    <a:lnTo>
                      <a:pt x="0" y="7257"/>
                    </a:lnTo>
                    <a:lnTo>
                      <a:pt x="25400" y="50800"/>
                    </a:lnTo>
                    <a:lnTo>
                      <a:pt x="68942" y="50800"/>
                    </a:lnTo>
                    <a:lnTo>
                      <a:pt x="76200" y="0"/>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22" name="Freeform 61">
                <a:extLst>
                  <a:ext uri="{FF2B5EF4-FFF2-40B4-BE49-F238E27FC236}">
                    <a16:creationId xmlns:a16="http://schemas.microsoft.com/office/drawing/2014/main" id="{ADB9BD9C-F04F-418F-9E94-E7EAEFD9F4DA}"/>
                  </a:ext>
                </a:extLst>
              </p:cNvPr>
              <p:cNvSpPr/>
              <p:nvPr/>
            </p:nvSpPr>
            <p:spPr bwMode="auto">
              <a:xfrm>
                <a:off x="5638800" y="3205956"/>
                <a:ext cx="82550" cy="195262"/>
              </a:xfrm>
              <a:custGeom>
                <a:avLst/>
                <a:gdLst>
                  <a:gd name="connsiteX0" fmla="*/ 65314 w 83457"/>
                  <a:gd name="connsiteY0" fmla="*/ 39914 h 195943"/>
                  <a:gd name="connsiteX1" fmla="*/ 18143 w 83457"/>
                  <a:gd name="connsiteY1" fmla="*/ 0 h 195943"/>
                  <a:gd name="connsiteX2" fmla="*/ 0 w 83457"/>
                  <a:gd name="connsiteY2" fmla="*/ 47172 h 195943"/>
                  <a:gd name="connsiteX3" fmla="*/ 0 w 83457"/>
                  <a:gd name="connsiteY3" fmla="*/ 159657 h 195943"/>
                  <a:gd name="connsiteX4" fmla="*/ 43543 w 83457"/>
                  <a:gd name="connsiteY4" fmla="*/ 195943 h 195943"/>
                  <a:gd name="connsiteX5" fmla="*/ 83457 w 83457"/>
                  <a:gd name="connsiteY5" fmla="*/ 174172 h 195943"/>
                  <a:gd name="connsiteX6" fmla="*/ 79829 w 83457"/>
                  <a:gd name="connsiteY6" fmla="*/ 130629 h 195943"/>
                  <a:gd name="connsiteX7" fmla="*/ 65314 w 83457"/>
                  <a:gd name="connsiteY7" fmla="*/ 39914 h 195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457" h="195943">
                    <a:moveTo>
                      <a:pt x="65314" y="39914"/>
                    </a:moveTo>
                    <a:lnTo>
                      <a:pt x="18143" y="0"/>
                    </a:lnTo>
                    <a:lnTo>
                      <a:pt x="0" y="47172"/>
                    </a:lnTo>
                    <a:lnTo>
                      <a:pt x="0" y="159657"/>
                    </a:lnTo>
                    <a:lnTo>
                      <a:pt x="43543" y="195943"/>
                    </a:lnTo>
                    <a:lnTo>
                      <a:pt x="83457" y="174172"/>
                    </a:lnTo>
                    <a:lnTo>
                      <a:pt x="79829" y="130629"/>
                    </a:lnTo>
                    <a:lnTo>
                      <a:pt x="65314" y="39914"/>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23" name="Freeform 62">
                <a:extLst>
                  <a:ext uri="{FF2B5EF4-FFF2-40B4-BE49-F238E27FC236}">
                    <a16:creationId xmlns:a16="http://schemas.microsoft.com/office/drawing/2014/main" id="{F7143D71-F759-43C3-92FD-4BD919D3B793}"/>
                  </a:ext>
                </a:extLst>
              </p:cNvPr>
              <p:cNvSpPr/>
              <p:nvPr/>
            </p:nvSpPr>
            <p:spPr bwMode="auto">
              <a:xfrm>
                <a:off x="5359400" y="2955131"/>
                <a:ext cx="34925" cy="93662"/>
              </a:xfrm>
              <a:custGeom>
                <a:avLst/>
                <a:gdLst>
                  <a:gd name="connsiteX0" fmla="*/ 32657 w 36286"/>
                  <a:gd name="connsiteY0" fmla="*/ 0 h 94343"/>
                  <a:gd name="connsiteX1" fmla="*/ 7257 w 36286"/>
                  <a:gd name="connsiteY1" fmla="*/ 36285 h 94343"/>
                  <a:gd name="connsiteX2" fmla="*/ 0 w 36286"/>
                  <a:gd name="connsiteY2" fmla="*/ 94343 h 94343"/>
                  <a:gd name="connsiteX3" fmla="*/ 36286 w 36286"/>
                  <a:gd name="connsiteY3" fmla="*/ 90714 h 94343"/>
                  <a:gd name="connsiteX4" fmla="*/ 32657 w 36286"/>
                  <a:gd name="connsiteY4" fmla="*/ 0 h 94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86" h="94343">
                    <a:moveTo>
                      <a:pt x="32657" y="0"/>
                    </a:moveTo>
                    <a:lnTo>
                      <a:pt x="7257" y="36285"/>
                    </a:lnTo>
                    <a:lnTo>
                      <a:pt x="0" y="94343"/>
                    </a:lnTo>
                    <a:lnTo>
                      <a:pt x="36286" y="90714"/>
                    </a:lnTo>
                    <a:lnTo>
                      <a:pt x="32657" y="0"/>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24" name="Freeform 63">
                <a:extLst>
                  <a:ext uri="{FF2B5EF4-FFF2-40B4-BE49-F238E27FC236}">
                    <a16:creationId xmlns:a16="http://schemas.microsoft.com/office/drawing/2014/main" id="{CB4423DD-1B8C-4D81-8C4C-5526858175E1}"/>
                  </a:ext>
                </a:extLst>
              </p:cNvPr>
              <p:cNvSpPr/>
              <p:nvPr/>
            </p:nvSpPr>
            <p:spPr bwMode="auto">
              <a:xfrm>
                <a:off x="6784975" y="208756"/>
                <a:ext cx="293687" cy="554037"/>
              </a:xfrm>
              <a:custGeom>
                <a:avLst/>
                <a:gdLst>
                  <a:gd name="connsiteX0" fmla="*/ 177800 w 293914"/>
                  <a:gd name="connsiteY0" fmla="*/ 3629 h 555172"/>
                  <a:gd name="connsiteX1" fmla="*/ 163285 w 293914"/>
                  <a:gd name="connsiteY1" fmla="*/ 90714 h 555172"/>
                  <a:gd name="connsiteX2" fmla="*/ 130628 w 293914"/>
                  <a:gd name="connsiteY2" fmla="*/ 148772 h 555172"/>
                  <a:gd name="connsiteX3" fmla="*/ 127000 w 293914"/>
                  <a:gd name="connsiteY3" fmla="*/ 108857 h 555172"/>
                  <a:gd name="connsiteX4" fmla="*/ 101600 w 293914"/>
                  <a:gd name="connsiteY4" fmla="*/ 54429 h 555172"/>
                  <a:gd name="connsiteX5" fmla="*/ 50800 w 293914"/>
                  <a:gd name="connsiteY5" fmla="*/ 105229 h 555172"/>
                  <a:gd name="connsiteX6" fmla="*/ 36285 w 293914"/>
                  <a:gd name="connsiteY6" fmla="*/ 145143 h 555172"/>
                  <a:gd name="connsiteX7" fmla="*/ 83457 w 293914"/>
                  <a:gd name="connsiteY7" fmla="*/ 166914 h 555172"/>
                  <a:gd name="connsiteX8" fmla="*/ 50800 w 293914"/>
                  <a:gd name="connsiteY8" fmla="*/ 250372 h 555172"/>
                  <a:gd name="connsiteX9" fmla="*/ 21771 w 293914"/>
                  <a:gd name="connsiteY9" fmla="*/ 221343 h 555172"/>
                  <a:gd name="connsiteX10" fmla="*/ 0 w 293914"/>
                  <a:gd name="connsiteY10" fmla="*/ 239486 h 555172"/>
                  <a:gd name="connsiteX11" fmla="*/ 29028 w 293914"/>
                  <a:gd name="connsiteY11" fmla="*/ 286657 h 555172"/>
                  <a:gd name="connsiteX12" fmla="*/ 32657 w 293914"/>
                  <a:gd name="connsiteY12" fmla="*/ 330200 h 555172"/>
                  <a:gd name="connsiteX13" fmla="*/ 79828 w 293914"/>
                  <a:gd name="connsiteY13" fmla="*/ 351972 h 555172"/>
                  <a:gd name="connsiteX14" fmla="*/ 116114 w 293914"/>
                  <a:gd name="connsiteY14" fmla="*/ 315686 h 555172"/>
                  <a:gd name="connsiteX15" fmla="*/ 134257 w 293914"/>
                  <a:gd name="connsiteY15" fmla="*/ 381000 h 555172"/>
                  <a:gd name="connsiteX16" fmla="*/ 101600 w 293914"/>
                  <a:gd name="connsiteY16" fmla="*/ 420914 h 555172"/>
                  <a:gd name="connsiteX17" fmla="*/ 127000 w 293914"/>
                  <a:gd name="connsiteY17" fmla="*/ 486229 h 555172"/>
                  <a:gd name="connsiteX18" fmla="*/ 123371 w 293914"/>
                  <a:gd name="connsiteY18" fmla="*/ 555172 h 555172"/>
                  <a:gd name="connsiteX19" fmla="*/ 170543 w 293914"/>
                  <a:gd name="connsiteY19" fmla="*/ 493486 h 555172"/>
                  <a:gd name="connsiteX20" fmla="*/ 185057 w 293914"/>
                  <a:gd name="connsiteY20" fmla="*/ 388257 h 555172"/>
                  <a:gd name="connsiteX21" fmla="*/ 177800 w 293914"/>
                  <a:gd name="connsiteY21" fmla="*/ 326572 h 555172"/>
                  <a:gd name="connsiteX22" fmla="*/ 203200 w 293914"/>
                  <a:gd name="connsiteY22" fmla="*/ 351972 h 555172"/>
                  <a:gd name="connsiteX23" fmla="*/ 214085 w 293914"/>
                  <a:gd name="connsiteY23" fmla="*/ 370114 h 555172"/>
                  <a:gd name="connsiteX24" fmla="*/ 177800 w 293914"/>
                  <a:gd name="connsiteY24" fmla="*/ 290286 h 555172"/>
                  <a:gd name="connsiteX25" fmla="*/ 206828 w 293914"/>
                  <a:gd name="connsiteY25" fmla="*/ 250372 h 555172"/>
                  <a:gd name="connsiteX26" fmla="*/ 250371 w 293914"/>
                  <a:gd name="connsiteY26" fmla="*/ 214086 h 555172"/>
                  <a:gd name="connsiteX27" fmla="*/ 177800 w 293914"/>
                  <a:gd name="connsiteY27" fmla="*/ 177800 h 555172"/>
                  <a:gd name="connsiteX28" fmla="*/ 232228 w 293914"/>
                  <a:gd name="connsiteY28" fmla="*/ 116114 h 555172"/>
                  <a:gd name="connsiteX29" fmla="*/ 293914 w 293914"/>
                  <a:gd name="connsiteY29" fmla="*/ 76200 h 555172"/>
                  <a:gd name="connsiteX30" fmla="*/ 232228 w 293914"/>
                  <a:gd name="connsiteY30" fmla="*/ 47172 h 555172"/>
                  <a:gd name="connsiteX31" fmla="*/ 243114 w 293914"/>
                  <a:gd name="connsiteY31" fmla="*/ 0 h 555172"/>
                  <a:gd name="connsiteX32" fmla="*/ 177800 w 293914"/>
                  <a:gd name="connsiteY32" fmla="*/ 3629 h 55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3914" h="555172">
                    <a:moveTo>
                      <a:pt x="177800" y="3629"/>
                    </a:moveTo>
                    <a:lnTo>
                      <a:pt x="163285" y="90714"/>
                    </a:lnTo>
                    <a:lnTo>
                      <a:pt x="130628" y="148772"/>
                    </a:lnTo>
                    <a:lnTo>
                      <a:pt x="127000" y="108857"/>
                    </a:lnTo>
                    <a:lnTo>
                      <a:pt x="101600" y="54429"/>
                    </a:lnTo>
                    <a:lnTo>
                      <a:pt x="50800" y="105229"/>
                    </a:lnTo>
                    <a:lnTo>
                      <a:pt x="36285" y="145143"/>
                    </a:lnTo>
                    <a:lnTo>
                      <a:pt x="83457" y="166914"/>
                    </a:lnTo>
                    <a:lnTo>
                      <a:pt x="50800" y="250372"/>
                    </a:lnTo>
                    <a:lnTo>
                      <a:pt x="21771" y="221343"/>
                    </a:lnTo>
                    <a:lnTo>
                      <a:pt x="0" y="239486"/>
                    </a:lnTo>
                    <a:lnTo>
                      <a:pt x="29028" y="286657"/>
                    </a:lnTo>
                    <a:lnTo>
                      <a:pt x="32657" y="330200"/>
                    </a:lnTo>
                    <a:lnTo>
                      <a:pt x="79828" y="351972"/>
                    </a:lnTo>
                    <a:lnTo>
                      <a:pt x="116114" y="315686"/>
                    </a:lnTo>
                    <a:lnTo>
                      <a:pt x="134257" y="381000"/>
                    </a:lnTo>
                    <a:lnTo>
                      <a:pt x="101600" y="420914"/>
                    </a:lnTo>
                    <a:lnTo>
                      <a:pt x="127000" y="486229"/>
                    </a:lnTo>
                    <a:lnTo>
                      <a:pt x="123371" y="555172"/>
                    </a:lnTo>
                    <a:lnTo>
                      <a:pt x="170543" y="493486"/>
                    </a:lnTo>
                    <a:lnTo>
                      <a:pt x="185057" y="388257"/>
                    </a:lnTo>
                    <a:lnTo>
                      <a:pt x="177800" y="326572"/>
                    </a:lnTo>
                    <a:cubicBezTo>
                      <a:pt x="197349" y="353940"/>
                      <a:pt x="185538" y="351972"/>
                      <a:pt x="203200" y="351972"/>
                    </a:cubicBezTo>
                    <a:lnTo>
                      <a:pt x="214085" y="370114"/>
                    </a:lnTo>
                    <a:lnTo>
                      <a:pt x="177800" y="290286"/>
                    </a:lnTo>
                    <a:lnTo>
                      <a:pt x="206828" y="250372"/>
                    </a:lnTo>
                    <a:lnTo>
                      <a:pt x="250371" y="214086"/>
                    </a:lnTo>
                    <a:lnTo>
                      <a:pt x="177800" y="177800"/>
                    </a:lnTo>
                    <a:lnTo>
                      <a:pt x="232228" y="116114"/>
                    </a:lnTo>
                    <a:lnTo>
                      <a:pt x="293914" y="76200"/>
                    </a:lnTo>
                    <a:lnTo>
                      <a:pt x="232228" y="47172"/>
                    </a:lnTo>
                    <a:lnTo>
                      <a:pt x="243114" y="0"/>
                    </a:lnTo>
                    <a:lnTo>
                      <a:pt x="177800" y="3629"/>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25" name="Freeform 64">
                <a:extLst>
                  <a:ext uri="{FF2B5EF4-FFF2-40B4-BE49-F238E27FC236}">
                    <a16:creationId xmlns:a16="http://schemas.microsoft.com/office/drawing/2014/main" id="{F7126254-FD46-4829-A92C-A2C244375B8D}"/>
                  </a:ext>
                </a:extLst>
              </p:cNvPr>
              <p:cNvSpPr/>
              <p:nvPr/>
            </p:nvSpPr>
            <p:spPr bwMode="auto">
              <a:xfrm>
                <a:off x="6288087" y="1021556"/>
                <a:ext cx="293688" cy="395287"/>
              </a:xfrm>
              <a:custGeom>
                <a:avLst/>
                <a:gdLst>
                  <a:gd name="connsiteX0" fmla="*/ 203200 w 293915"/>
                  <a:gd name="connsiteY0" fmla="*/ 0 h 395514"/>
                  <a:gd name="connsiteX1" fmla="*/ 116115 w 293915"/>
                  <a:gd name="connsiteY1" fmla="*/ 32657 h 395514"/>
                  <a:gd name="connsiteX2" fmla="*/ 145143 w 293915"/>
                  <a:gd name="connsiteY2" fmla="*/ 79829 h 395514"/>
                  <a:gd name="connsiteX3" fmla="*/ 174172 w 293915"/>
                  <a:gd name="connsiteY3" fmla="*/ 101600 h 395514"/>
                  <a:gd name="connsiteX4" fmla="*/ 148772 w 293915"/>
                  <a:gd name="connsiteY4" fmla="*/ 137886 h 395514"/>
                  <a:gd name="connsiteX5" fmla="*/ 123372 w 293915"/>
                  <a:gd name="connsiteY5" fmla="*/ 112486 h 395514"/>
                  <a:gd name="connsiteX6" fmla="*/ 94343 w 293915"/>
                  <a:gd name="connsiteY6" fmla="*/ 123372 h 395514"/>
                  <a:gd name="connsiteX7" fmla="*/ 97972 w 293915"/>
                  <a:gd name="connsiteY7" fmla="*/ 148772 h 395514"/>
                  <a:gd name="connsiteX8" fmla="*/ 50800 w 293915"/>
                  <a:gd name="connsiteY8" fmla="*/ 130629 h 395514"/>
                  <a:gd name="connsiteX9" fmla="*/ 14515 w 293915"/>
                  <a:gd name="connsiteY9" fmla="*/ 192314 h 395514"/>
                  <a:gd name="connsiteX10" fmla="*/ 21772 w 293915"/>
                  <a:gd name="connsiteY10" fmla="*/ 246743 h 395514"/>
                  <a:gd name="connsiteX11" fmla="*/ 58058 w 293915"/>
                  <a:gd name="connsiteY11" fmla="*/ 283029 h 395514"/>
                  <a:gd name="connsiteX12" fmla="*/ 0 w 293915"/>
                  <a:gd name="connsiteY12" fmla="*/ 286657 h 395514"/>
                  <a:gd name="connsiteX13" fmla="*/ 43543 w 293915"/>
                  <a:gd name="connsiteY13" fmla="*/ 362857 h 395514"/>
                  <a:gd name="connsiteX14" fmla="*/ 90715 w 293915"/>
                  <a:gd name="connsiteY14" fmla="*/ 373743 h 395514"/>
                  <a:gd name="connsiteX15" fmla="*/ 108858 w 293915"/>
                  <a:gd name="connsiteY15" fmla="*/ 337457 h 395514"/>
                  <a:gd name="connsiteX16" fmla="*/ 94343 w 293915"/>
                  <a:gd name="connsiteY16" fmla="*/ 290286 h 395514"/>
                  <a:gd name="connsiteX17" fmla="*/ 134258 w 293915"/>
                  <a:gd name="connsiteY17" fmla="*/ 261257 h 395514"/>
                  <a:gd name="connsiteX18" fmla="*/ 159658 w 293915"/>
                  <a:gd name="connsiteY18" fmla="*/ 304800 h 395514"/>
                  <a:gd name="connsiteX19" fmla="*/ 141515 w 293915"/>
                  <a:gd name="connsiteY19" fmla="*/ 362857 h 395514"/>
                  <a:gd name="connsiteX20" fmla="*/ 137886 w 293915"/>
                  <a:gd name="connsiteY20" fmla="*/ 395514 h 395514"/>
                  <a:gd name="connsiteX21" fmla="*/ 210458 w 293915"/>
                  <a:gd name="connsiteY21" fmla="*/ 290286 h 395514"/>
                  <a:gd name="connsiteX22" fmla="*/ 246743 w 293915"/>
                  <a:gd name="connsiteY22" fmla="*/ 250372 h 395514"/>
                  <a:gd name="connsiteX23" fmla="*/ 134258 w 293915"/>
                  <a:gd name="connsiteY23" fmla="*/ 217714 h 395514"/>
                  <a:gd name="connsiteX24" fmla="*/ 195943 w 293915"/>
                  <a:gd name="connsiteY24" fmla="*/ 224972 h 395514"/>
                  <a:gd name="connsiteX25" fmla="*/ 199572 w 293915"/>
                  <a:gd name="connsiteY25" fmla="*/ 192314 h 395514"/>
                  <a:gd name="connsiteX26" fmla="*/ 170543 w 293915"/>
                  <a:gd name="connsiteY26" fmla="*/ 181429 h 395514"/>
                  <a:gd name="connsiteX27" fmla="*/ 228600 w 293915"/>
                  <a:gd name="connsiteY27" fmla="*/ 97972 h 395514"/>
                  <a:gd name="connsiteX28" fmla="*/ 275772 w 293915"/>
                  <a:gd name="connsiteY28" fmla="*/ 83457 h 395514"/>
                  <a:gd name="connsiteX29" fmla="*/ 293915 w 293915"/>
                  <a:gd name="connsiteY29" fmla="*/ 47172 h 395514"/>
                  <a:gd name="connsiteX30" fmla="*/ 246743 w 293915"/>
                  <a:gd name="connsiteY30" fmla="*/ 47172 h 395514"/>
                  <a:gd name="connsiteX31" fmla="*/ 214086 w 293915"/>
                  <a:gd name="connsiteY31" fmla="*/ 68943 h 395514"/>
                  <a:gd name="connsiteX32" fmla="*/ 170543 w 293915"/>
                  <a:gd name="connsiteY32" fmla="*/ 61686 h 395514"/>
                  <a:gd name="connsiteX33" fmla="*/ 203200 w 293915"/>
                  <a:gd name="connsiteY33" fmla="*/ 0 h 39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93915" h="395514">
                    <a:moveTo>
                      <a:pt x="203200" y="0"/>
                    </a:moveTo>
                    <a:lnTo>
                      <a:pt x="116115" y="32657"/>
                    </a:lnTo>
                    <a:lnTo>
                      <a:pt x="145143" y="79829"/>
                    </a:lnTo>
                    <a:lnTo>
                      <a:pt x="174172" y="101600"/>
                    </a:lnTo>
                    <a:lnTo>
                      <a:pt x="148772" y="137886"/>
                    </a:lnTo>
                    <a:lnTo>
                      <a:pt x="123372" y="112486"/>
                    </a:lnTo>
                    <a:lnTo>
                      <a:pt x="94343" y="123372"/>
                    </a:lnTo>
                    <a:lnTo>
                      <a:pt x="97972" y="148772"/>
                    </a:lnTo>
                    <a:lnTo>
                      <a:pt x="50800" y="130629"/>
                    </a:lnTo>
                    <a:lnTo>
                      <a:pt x="14515" y="192314"/>
                    </a:lnTo>
                    <a:lnTo>
                      <a:pt x="21772" y="246743"/>
                    </a:lnTo>
                    <a:lnTo>
                      <a:pt x="58058" y="283029"/>
                    </a:lnTo>
                    <a:lnTo>
                      <a:pt x="0" y="286657"/>
                    </a:lnTo>
                    <a:lnTo>
                      <a:pt x="43543" y="362857"/>
                    </a:lnTo>
                    <a:lnTo>
                      <a:pt x="90715" y="373743"/>
                    </a:lnTo>
                    <a:lnTo>
                      <a:pt x="108858" y="337457"/>
                    </a:lnTo>
                    <a:lnTo>
                      <a:pt x="94343" y="290286"/>
                    </a:lnTo>
                    <a:lnTo>
                      <a:pt x="134258" y="261257"/>
                    </a:lnTo>
                    <a:lnTo>
                      <a:pt x="159658" y="304800"/>
                    </a:lnTo>
                    <a:lnTo>
                      <a:pt x="141515" y="362857"/>
                    </a:lnTo>
                    <a:lnTo>
                      <a:pt x="137886" y="395514"/>
                    </a:lnTo>
                    <a:lnTo>
                      <a:pt x="210458" y="290286"/>
                    </a:lnTo>
                    <a:lnTo>
                      <a:pt x="246743" y="250372"/>
                    </a:lnTo>
                    <a:lnTo>
                      <a:pt x="134258" y="217714"/>
                    </a:lnTo>
                    <a:lnTo>
                      <a:pt x="195943" y="224972"/>
                    </a:lnTo>
                    <a:lnTo>
                      <a:pt x="199572" y="192314"/>
                    </a:lnTo>
                    <a:lnTo>
                      <a:pt x="170543" y="181429"/>
                    </a:lnTo>
                    <a:lnTo>
                      <a:pt x="228600" y="97972"/>
                    </a:lnTo>
                    <a:lnTo>
                      <a:pt x="275772" y="83457"/>
                    </a:lnTo>
                    <a:lnTo>
                      <a:pt x="293915" y="47172"/>
                    </a:lnTo>
                    <a:lnTo>
                      <a:pt x="246743" y="47172"/>
                    </a:lnTo>
                    <a:lnTo>
                      <a:pt x="214086" y="68943"/>
                    </a:lnTo>
                    <a:lnTo>
                      <a:pt x="170543" y="61686"/>
                    </a:lnTo>
                    <a:lnTo>
                      <a:pt x="203200" y="0"/>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26" name="Freeform 65">
                <a:extLst>
                  <a:ext uri="{FF2B5EF4-FFF2-40B4-BE49-F238E27FC236}">
                    <a16:creationId xmlns:a16="http://schemas.microsoft.com/office/drawing/2014/main" id="{990B3B64-AB83-41AD-92EB-A7BABDB989BB}"/>
                  </a:ext>
                </a:extLst>
              </p:cNvPr>
              <p:cNvSpPr/>
              <p:nvPr/>
            </p:nvSpPr>
            <p:spPr bwMode="auto">
              <a:xfrm>
                <a:off x="6584950" y="991393"/>
                <a:ext cx="53975" cy="61913"/>
              </a:xfrm>
              <a:custGeom>
                <a:avLst/>
                <a:gdLst>
                  <a:gd name="connsiteX0" fmla="*/ 21772 w 54429"/>
                  <a:gd name="connsiteY0" fmla="*/ 0 h 61685"/>
                  <a:gd name="connsiteX1" fmla="*/ 0 w 54429"/>
                  <a:gd name="connsiteY1" fmla="*/ 32657 h 61685"/>
                  <a:gd name="connsiteX2" fmla="*/ 54429 w 54429"/>
                  <a:gd name="connsiteY2" fmla="*/ 61685 h 61685"/>
                  <a:gd name="connsiteX3" fmla="*/ 21772 w 54429"/>
                  <a:gd name="connsiteY3" fmla="*/ 0 h 61685"/>
                </a:gdLst>
                <a:ahLst/>
                <a:cxnLst>
                  <a:cxn ang="0">
                    <a:pos x="connsiteX0" y="connsiteY0"/>
                  </a:cxn>
                  <a:cxn ang="0">
                    <a:pos x="connsiteX1" y="connsiteY1"/>
                  </a:cxn>
                  <a:cxn ang="0">
                    <a:pos x="connsiteX2" y="connsiteY2"/>
                  </a:cxn>
                  <a:cxn ang="0">
                    <a:pos x="connsiteX3" y="connsiteY3"/>
                  </a:cxn>
                </a:cxnLst>
                <a:rect l="l" t="t" r="r" b="b"/>
                <a:pathLst>
                  <a:path w="54429" h="61685">
                    <a:moveTo>
                      <a:pt x="21772" y="0"/>
                    </a:moveTo>
                    <a:lnTo>
                      <a:pt x="0" y="32657"/>
                    </a:lnTo>
                    <a:lnTo>
                      <a:pt x="54429" y="61685"/>
                    </a:lnTo>
                    <a:lnTo>
                      <a:pt x="21772" y="0"/>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27" name="Freeform 66">
                <a:extLst>
                  <a:ext uri="{FF2B5EF4-FFF2-40B4-BE49-F238E27FC236}">
                    <a16:creationId xmlns:a16="http://schemas.microsoft.com/office/drawing/2014/main" id="{619BF596-75DE-435D-9F7C-ACF695BCBF86}"/>
                  </a:ext>
                </a:extLst>
              </p:cNvPr>
              <p:cNvSpPr/>
              <p:nvPr/>
            </p:nvSpPr>
            <p:spPr bwMode="auto">
              <a:xfrm>
                <a:off x="6511925" y="1154906"/>
                <a:ext cx="47625" cy="53975"/>
              </a:xfrm>
              <a:custGeom>
                <a:avLst/>
                <a:gdLst>
                  <a:gd name="connsiteX0" fmla="*/ 39914 w 47171"/>
                  <a:gd name="connsiteY0" fmla="*/ 0 h 54429"/>
                  <a:gd name="connsiteX1" fmla="*/ 0 w 47171"/>
                  <a:gd name="connsiteY1" fmla="*/ 21772 h 54429"/>
                  <a:gd name="connsiteX2" fmla="*/ 7257 w 47171"/>
                  <a:gd name="connsiteY2" fmla="*/ 54429 h 54429"/>
                  <a:gd name="connsiteX3" fmla="*/ 47171 w 47171"/>
                  <a:gd name="connsiteY3" fmla="*/ 54429 h 54429"/>
                  <a:gd name="connsiteX4" fmla="*/ 39914 w 47171"/>
                  <a:gd name="connsiteY4" fmla="*/ 0 h 54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171" h="54429">
                    <a:moveTo>
                      <a:pt x="39914" y="0"/>
                    </a:moveTo>
                    <a:lnTo>
                      <a:pt x="0" y="21772"/>
                    </a:lnTo>
                    <a:lnTo>
                      <a:pt x="7257" y="54429"/>
                    </a:lnTo>
                    <a:lnTo>
                      <a:pt x="47171" y="54429"/>
                    </a:lnTo>
                    <a:lnTo>
                      <a:pt x="39914" y="0"/>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grpSp>
      </p:grpSp>
      <p:sp>
        <p:nvSpPr>
          <p:cNvPr id="5" name="Footer Placeholder 4">
            <a:extLst>
              <a:ext uri="{FF2B5EF4-FFF2-40B4-BE49-F238E27FC236}">
                <a16:creationId xmlns:a16="http://schemas.microsoft.com/office/drawing/2014/main" id="{3E86F4C9-7FED-44C3-BF3B-1A72B53EAD3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9" name="Slide Number Placeholder 28">
            <a:extLst>
              <a:ext uri="{FF2B5EF4-FFF2-40B4-BE49-F238E27FC236}">
                <a16:creationId xmlns:a16="http://schemas.microsoft.com/office/drawing/2014/main" id="{4358BE62-CD48-4F7E-A518-01D9D6C1BC17}"/>
              </a:ext>
            </a:extLst>
          </p:cNvPr>
          <p:cNvSpPr>
            <a:spLocks noGrp="1"/>
          </p:cNvSpPr>
          <p:nvPr>
            <p:ph type="sldNum" sz="quarter" idx="10"/>
          </p:nvPr>
        </p:nvSpPr>
        <p:spPr/>
        <p:txBody>
          <a:bodyPr/>
          <a:lstStyle/>
          <a:p>
            <a:fld id="{1F90F471-3972-4120-B8B3-0237DE626C35}" type="slidenum">
              <a:rPr lang="en-US" smtClean="0"/>
              <a:pPr/>
              <a:t>364</a:t>
            </a:fld>
            <a:endParaRPr lang="en-US" dirty="0"/>
          </a:p>
        </p:txBody>
      </p:sp>
    </p:spTree>
    <p:extLst>
      <p:ext uri="{BB962C8B-B14F-4D97-AF65-F5344CB8AC3E}">
        <p14:creationId xmlns:p14="http://schemas.microsoft.com/office/powerpoint/2010/main" val="602325083"/>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a:extLst>
              <a:ext uri="{FF2B5EF4-FFF2-40B4-BE49-F238E27FC236}">
                <a16:creationId xmlns:a16="http://schemas.microsoft.com/office/drawing/2014/main" id="{AC9F1115-D370-4ECF-9651-9A4CF8236FC5}"/>
              </a:ext>
            </a:extLst>
          </p:cNvPr>
          <p:cNvGrpSpPr>
            <a:grpSpLocks noChangeAspect="1"/>
          </p:cNvGrpSpPr>
          <p:nvPr/>
        </p:nvGrpSpPr>
        <p:grpSpPr>
          <a:xfrm>
            <a:off x="0" y="0"/>
            <a:ext cx="9279216" cy="6858000"/>
            <a:chOff x="0" y="0"/>
            <a:chExt cx="9279216" cy="6858000"/>
          </a:xfrm>
        </p:grpSpPr>
        <p:grpSp>
          <p:nvGrpSpPr>
            <p:cNvPr id="62" name="East_Asia_Map">
              <a:extLst>
                <a:ext uri="{FF2B5EF4-FFF2-40B4-BE49-F238E27FC236}">
                  <a16:creationId xmlns:a16="http://schemas.microsoft.com/office/drawing/2014/main" id="{773D3385-3558-4A75-A094-9092F74F4E87}"/>
                </a:ext>
              </a:extLst>
            </p:cNvPr>
            <p:cNvGrpSpPr>
              <a:grpSpLocks noChangeAspect="1"/>
            </p:cNvGrpSpPr>
            <p:nvPr/>
          </p:nvGrpSpPr>
          <p:grpSpPr>
            <a:xfrm>
              <a:off x="0" y="0"/>
              <a:ext cx="9279216" cy="6858000"/>
              <a:chOff x="0" y="0"/>
              <a:chExt cx="9279216" cy="6858000"/>
            </a:xfrm>
          </p:grpSpPr>
          <p:grpSp>
            <p:nvGrpSpPr>
              <p:cNvPr id="64" name="Graphic 4">
                <a:extLst>
                  <a:ext uri="{FF2B5EF4-FFF2-40B4-BE49-F238E27FC236}">
                    <a16:creationId xmlns:a16="http://schemas.microsoft.com/office/drawing/2014/main" id="{6C715B10-B9CC-4040-8CEC-780159DC1D59}"/>
                  </a:ext>
                </a:extLst>
              </p:cNvPr>
              <p:cNvGrpSpPr/>
              <p:nvPr/>
            </p:nvGrpSpPr>
            <p:grpSpPr>
              <a:xfrm>
                <a:off x="6215" y="342699"/>
                <a:ext cx="9278958" cy="6508835"/>
                <a:chOff x="6215" y="342699"/>
                <a:chExt cx="9278958" cy="6508835"/>
              </a:xfrm>
              <a:solidFill>
                <a:srgbClr val="D6D6D2"/>
              </a:solidFill>
            </p:grpSpPr>
            <p:sp>
              <p:nvSpPr>
                <p:cNvPr id="68" name="Freeform: Shape 67">
                  <a:extLst>
                    <a:ext uri="{FF2B5EF4-FFF2-40B4-BE49-F238E27FC236}">
                      <a16:creationId xmlns:a16="http://schemas.microsoft.com/office/drawing/2014/main" id="{0EBC83EF-3E79-4A25-91B9-FCAA4382D1B2}"/>
                    </a:ext>
                  </a:extLst>
                </p:cNvPr>
                <p:cNvSpPr/>
                <p:nvPr/>
              </p:nvSpPr>
              <p:spPr>
                <a:xfrm>
                  <a:off x="3473780" y="3152119"/>
                  <a:ext cx="541597" cy="1115877"/>
                </a:xfrm>
                <a:custGeom>
                  <a:avLst/>
                  <a:gdLst>
                    <a:gd name="connsiteX0" fmla="*/ 240504 w 541597"/>
                    <a:gd name="connsiteY0" fmla="*/ 4944 h 1115877"/>
                    <a:gd name="connsiteX1" fmla="*/ 250760 w 541597"/>
                    <a:gd name="connsiteY1" fmla="*/ 14235 h 1115877"/>
                    <a:gd name="connsiteX2" fmla="*/ 252471 w 541597"/>
                    <a:gd name="connsiteY2" fmla="*/ 21676 h 1115877"/>
                    <a:gd name="connsiteX3" fmla="*/ 262726 w 541597"/>
                    <a:gd name="connsiteY3" fmla="*/ 22894 h 1115877"/>
                    <a:gd name="connsiteX4" fmla="*/ 273476 w 541597"/>
                    <a:gd name="connsiteY4" fmla="*/ 32718 h 1115877"/>
                    <a:gd name="connsiteX5" fmla="*/ 284302 w 541597"/>
                    <a:gd name="connsiteY5" fmla="*/ 29764 h 1115877"/>
                    <a:gd name="connsiteX6" fmla="*/ 296801 w 541597"/>
                    <a:gd name="connsiteY6" fmla="*/ 28573 h 1115877"/>
                    <a:gd name="connsiteX7" fmla="*/ 302404 w 541597"/>
                    <a:gd name="connsiteY7" fmla="*/ 35938 h 1115877"/>
                    <a:gd name="connsiteX8" fmla="*/ 320962 w 541597"/>
                    <a:gd name="connsiteY8" fmla="*/ 32528 h 1115877"/>
                    <a:gd name="connsiteX9" fmla="*/ 344680 w 541597"/>
                    <a:gd name="connsiteY9" fmla="*/ 42998 h 1115877"/>
                    <a:gd name="connsiteX10" fmla="*/ 333423 w 541597"/>
                    <a:gd name="connsiteY10" fmla="*/ 59643 h 1115877"/>
                    <a:gd name="connsiteX11" fmla="*/ 327262 w 541597"/>
                    <a:gd name="connsiteY11" fmla="*/ 61240 h 1115877"/>
                    <a:gd name="connsiteX12" fmla="*/ 325107 w 541597"/>
                    <a:gd name="connsiteY12" fmla="*/ 72687 h 1115877"/>
                    <a:gd name="connsiteX13" fmla="*/ 330558 w 541597"/>
                    <a:gd name="connsiteY13" fmla="*/ 78607 h 1115877"/>
                    <a:gd name="connsiteX14" fmla="*/ 332992 w 541597"/>
                    <a:gd name="connsiteY14" fmla="*/ 89496 h 1115877"/>
                    <a:gd name="connsiteX15" fmla="*/ 333588 w 541597"/>
                    <a:gd name="connsiteY15" fmla="*/ 104568 h 1115877"/>
                    <a:gd name="connsiteX16" fmla="*/ 347735 w 541597"/>
                    <a:gd name="connsiteY16" fmla="*/ 105620 h 1115877"/>
                    <a:gd name="connsiteX17" fmla="*/ 360792 w 541597"/>
                    <a:gd name="connsiteY17" fmla="*/ 112567 h 1115877"/>
                    <a:gd name="connsiteX18" fmla="*/ 360893 w 541597"/>
                    <a:gd name="connsiteY18" fmla="*/ 118601 h 1115877"/>
                    <a:gd name="connsiteX19" fmla="*/ 373785 w 541597"/>
                    <a:gd name="connsiteY19" fmla="*/ 125979 h 1115877"/>
                    <a:gd name="connsiteX20" fmla="*/ 378640 w 541597"/>
                    <a:gd name="connsiteY20" fmla="*/ 125459 h 1115877"/>
                    <a:gd name="connsiteX21" fmla="*/ 382938 w 541597"/>
                    <a:gd name="connsiteY21" fmla="*/ 130416 h 1115877"/>
                    <a:gd name="connsiteX22" fmla="*/ 387235 w 541597"/>
                    <a:gd name="connsiteY22" fmla="*/ 133369 h 1115877"/>
                    <a:gd name="connsiteX23" fmla="*/ 392585 w 541597"/>
                    <a:gd name="connsiteY23" fmla="*/ 130847 h 1115877"/>
                    <a:gd name="connsiteX24" fmla="*/ 395880 w 541597"/>
                    <a:gd name="connsiteY24" fmla="*/ 135689 h 1115877"/>
                    <a:gd name="connsiteX25" fmla="*/ 398733 w 541597"/>
                    <a:gd name="connsiteY25" fmla="*/ 133965 h 1115877"/>
                    <a:gd name="connsiteX26" fmla="*/ 413475 w 541597"/>
                    <a:gd name="connsiteY26" fmla="*/ 130479 h 1115877"/>
                    <a:gd name="connsiteX27" fmla="*/ 432858 w 541597"/>
                    <a:gd name="connsiteY27" fmla="*/ 143257 h 1115877"/>
                    <a:gd name="connsiteX28" fmla="*/ 428294 w 541597"/>
                    <a:gd name="connsiteY28" fmla="*/ 146553 h 1115877"/>
                    <a:gd name="connsiteX29" fmla="*/ 423338 w 541597"/>
                    <a:gd name="connsiteY29" fmla="*/ 139822 h 1115877"/>
                    <a:gd name="connsiteX30" fmla="*/ 421385 w 541597"/>
                    <a:gd name="connsiteY30" fmla="*/ 143041 h 1115877"/>
                    <a:gd name="connsiteX31" fmla="*/ 420650 w 541597"/>
                    <a:gd name="connsiteY31" fmla="*/ 140100 h 1115877"/>
                    <a:gd name="connsiteX32" fmla="*/ 420194 w 541597"/>
                    <a:gd name="connsiteY32" fmla="*/ 142674 h 1115877"/>
                    <a:gd name="connsiteX33" fmla="*/ 415174 w 541597"/>
                    <a:gd name="connsiteY33" fmla="*/ 141089 h 1115877"/>
                    <a:gd name="connsiteX34" fmla="*/ 406491 w 541597"/>
                    <a:gd name="connsiteY34" fmla="*/ 151129 h 1115877"/>
                    <a:gd name="connsiteX35" fmla="*/ 406047 w 541597"/>
                    <a:gd name="connsiteY35" fmla="*/ 155325 h 1115877"/>
                    <a:gd name="connsiteX36" fmla="*/ 398162 w 541597"/>
                    <a:gd name="connsiteY36" fmla="*/ 153791 h 1115877"/>
                    <a:gd name="connsiteX37" fmla="*/ 399290 w 541597"/>
                    <a:gd name="connsiteY37" fmla="*/ 157391 h 1115877"/>
                    <a:gd name="connsiteX38" fmla="*/ 389796 w 541597"/>
                    <a:gd name="connsiteY38" fmla="*/ 156377 h 1115877"/>
                    <a:gd name="connsiteX39" fmla="*/ 392293 w 541597"/>
                    <a:gd name="connsiteY39" fmla="*/ 158469 h 1115877"/>
                    <a:gd name="connsiteX40" fmla="*/ 388262 w 541597"/>
                    <a:gd name="connsiteY40" fmla="*/ 166392 h 1115877"/>
                    <a:gd name="connsiteX41" fmla="*/ 375180 w 541597"/>
                    <a:gd name="connsiteY41" fmla="*/ 181160 h 1115877"/>
                    <a:gd name="connsiteX42" fmla="*/ 376637 w 541597"/>
                    <a:gd name="connsiteY42" fmla="*/ 182199 h 1115877"/>
                    <a:gd name="connsiteX43" fmla="*/ 364455 w 541597"/>
                    <a:gd name="connsiteY43" fmla="*/ 183758 h 1115877"/>
                    <a:gd name="connsiteX44" fmla="*/ 370566 w 541597"/>
                    <a:gd name="connsiteY44" fmla="*/ 177471 h 1115877"/>
                    <a:gd name="connsiteX45" fmla="*/ 365748 w 541597"/>
                    <a:gd name="connsiteY45" fmla="*/ 180146 h 1115877"/>
                    <a:gd name="connsiteX46" fmla="*/ 365520 w 541597"/>
                    <a:gd name="connsiteY46" fmla="*/ 178004 h 1115877"/>
                    <a:gd name="connsiteX47" fmla="*/ 364227 w 541597"/>
                    <a:gd name="connsiteY47" fmla="*/ 179879 h 1115877"/>
                    <a:gd name="connsiteX48" fmla="*/ 363961 w 541597"/>
                    <a:gd name="connsiteY48" fmla="*/ 178004 h 1115877"/>
                    <a:gd name="connsiteX49" fmla="*/ 362960 w 541597"/>
                    <a:gd name="connsiteY49" fmla="*/ 180640 h 1115877"/>
                    <a:gd name="connsiteX50" fmla="*/ 361451 w 541597"/>
                    <a:gd name="connsiteY50" fmla="*/ 178004 h 1115877"/>
                    <a:gd name="connsiteX51" fmla="*/ 362452 w 541597"/>
                    <a:gd name="connsiteY51" fmla="*/ 180640 h 1115877"/>
                    <a:gd name="connsiteX52" fmla="*/ 359372 w 541597"/>
                    <a:gd name="connsiteY52" fmla="*/ 179055 h 1115877"/>
                    <a:gd name="connsiteX53" fmla="*/ 348736 w 541597"/>
                    <a:gd name="connsiteY53" fmla="*/ 181185 h 1115877"/>
                    <a:gd name="connsiteX54" fmla="*/ 355316 w 541597"/>
                    <a:gd name="connsiteY54" fmla="*/ 188018 h 1115877"/>
                    <a:gd name="connsiteX55" fmla="*/ 350245 w 541597"/>
                    <a:gd name="connsiteY55" fmla="*/ 185406 h 1115877"/>
                    <a:gd name="connsiteX56" fmla="*/ 349789 w 541597"/>
                    <a:gd name="connsiteY56" fmla="*/ 189628 h 1115877"/>
                    <a:gd name="connsiteX57" fmla="*/ 342753 w 541597"/>
                    <a:gd name="connsiteY57" fmla="*/ 183873 h 1115877"/>
                    <a:gd name="connsiteX58" fmla="*/ 343171 w 541597"/>
                    <a:gd name="connsiteY58" fmla="*/ 178498 h 1115877"/>
                    <a:gd name="connsiteX59" fmla="*/ 343666 w 541597"/>
                    <a:gd name="connsiteY59" fmla="*/ 179575 h 1115877"/>
                    <a:gd name="connsiteX60" fmla="*/ 338684 w 541597"/>
                    <a:gd name="connsiteY60" fmla="*/ 180158 h 1115877"/>
                    <a:gd name="connsiteX61" fmla="*/ 333068 w 541597"/>
                    <a:gd name="connsiteY61" fmla="*/ 179055 h 1115877"/>
                    <a:gd name="connsiteX62" fmla="*/ 336111 w 541597"/>
                    <a:gd name="connsiteY62" fmla="*/ 180640 h 1115877"/>
                    <a:gd name="connsiteX63" fmla="*/ 334095 w 541597"/>
                    <a:gd name="connsiteY63" fmla="*/ 180158 h 1115877"/>
                    <a:gd name="connsiteX64" fmla="*/ 340662 w 541597"/>
                    <a:gd name="connsiteY64" fmla="*/ 189602 h 1115877"/>
                    <a:gd name="connsiteX65" fmla="*/ 338697 w 541597"/>
                    <a:gd name="connsiteY65" fmla="*/ 188018 h 1115877"/>
                    <a:gd name="connsiteX66" fmla="*/ 337378 w 541597"/>
                    <a:gd name="connsiteY66" fmla="*/ 189602 h 1115877"/>
                    <a:gd name="connsiteX67" fmla="*/ 338697 w 541597"/>
                    <a:gd name="connsiteY67" fmla="*/ 195370 h 1115877"/>
                    <a:gd name="connsiteX68" fmla="*/ 345200 w 541597"/>
                    <a:gd name="connsiteY68" fmla="*/ 205359 h 1115877"/>
                    <a:gd name="connsiteX69" fmla="*/ 334615 w 541597"/>
                    <a:gd name="connsiteY69" fmla="*/ 203800 h 1115877"/>
                    <a:gd name="connsiteX70" fmla="*/ 328986 w 541597"/>
                    <a:gd name="connsiteY70" fmla="*/ 206475 h 1115877"/>
                    <a:gd name="connsiteX71" fmla="*/ 323979 w 541597"/>
                    <a:gd name="connsiteY71" fmla="*/ 215843 h 1115877"/>
                    <a:gd name="connsiteX72" fmla="*/ 328479 w 541597"/>
                    <a:gd name="connsiteY72" fmla="*/ 215374 h 1115877"/>
                    <a:gd name="connsiteX73" fmla="*/ 323979 w 541597"/>
                    <a:gd name="connsiteY73" fmla="*/ 223778 h 1115877"/>
                    <a:gd name="connsiteX74" fmla="*/ 328010 w 541597"/>
                    <a:gd name="connsiteY74" fmla="*/ 229052 h 1115877"/>
                    <a:gd name="connsiteX75" fmla="*/ 327529 w 541597"/>
                    <a:gd name="connsiteY75" fmla="*/ 227961 h 1115877"/>
                    <a:gd name="connsiteX76" fmla="*/ 326996 w 541597"/>
                    <a:gd name="connsiteY76" fmla="*/ 228494 h 1115877"/>
                    <a:gd name="connsiteX77" fmla="*/ 328657 w 541597"/>
                    <a:gd name="connsiteY77" fmla="*/ 237038 h 1115877"/>
                    <a:gd name="connsiteX78" fmla="*/ 322483 w 541597"/>
                    <a:gd name="connsiteY78" fmla="*/ 233653 h 1115877"/>
                    <a:gd name="connsiteX79" fmla="*/ 322940 w 541597"/>
                    <a:gd name="connsiteY79" fmla="*/ 234490 h 1115877"/>
                    <a:gd name="connsiteX80" fmla="*/ 314814 w 541597"/>
                    <a:gd name="connsiteY80" fmla="*/ 241602 h 1115877"/>
                    <a:gd name="connsiteX81" fmla="*/ 315334 w 541597"/>
                    <a:gd name="connsiteY81" fmla="*/ 240549 h 1115877"/>
                    <a:gd name="connsiteX82" fmla="*/ 300198 w 541597"/>
                    <a:gd name="connsiteY82" fmla="*/ 256281 h 1115877"/>
                    <a:gd name="connsiteX83" fmla="*/ 300680 w 541597"/>
                    <a:gd name="connsiteY83" fmla="*/ 253619 h 1115877"/>
                    <a:gd name="connsiteX84" fmla="*/ 293556 w 541597"/>
                    <a:gd name="connsiteY84" fmla="*/ 259944 h 1115877"/>
                    <a:gd name="connsiteX85" fmla="*/ 294113 w 541597"/>
                    <a:gd name="connsiteY85" fmla="*/ 254709 h 1115877"/>
                    <a:gd name="connsiteX86" fmla="*/ 285442 w 541597"/>
                    <a:gd name="connsiteY86" fmla="*/ 260033 h 1115877"/>
                    <a:gd name="connsiteX87" fmla="*/ 280347 w 541597"/>
                    <a:gd name="connsiteY87" fmla="*/ 273039 h 1115877"/>
                    <a:gd name="connsiteX88" fmla="*/ 275834 w 541597"/>
                    <a:gd name="connsiteY88" fmla="*/ 274599 h 1115877"/>
                    <a:gd name="connsiteX89" fmla="*/ 280347 w 541597"/>
                    <a:gd name="connsiteY89" fmla="*/ 274091 h 1115877"/>
                    <a:gd name="connsiteX90" fmla="*/ 272259 w 541597"/>
                    <a:gd name="connsiteY90" fmla="*/ 288771 h 1115877"/>
                    <a:gd name="connsiteX91" fmla="*/ 270244 w 541597"/>
                    <a:gd name="connsiteY91" fmla="*/ 288771 h 1115877"/>
                    <a:gd name="connsiteX92" fmla="*/ 271232 w 541597"/>
                    <a:gd name="connsiteY92" fmla="*/ 287148 h 1115877"/>
                    <a:gd name="connsiteX93" fmla="*/ 268748 w 541597"/>
                    <a:gd name="connsiteY93" fmla="*/ 302385 h 1115877"/>
                    <a:gd name="connsiteX94" fmla="*/ 271777 w 541597"/>
                    <a:gd name="connsiteY94" fmla="*/ 310194 h 1115877"/>
                    <a:gd name="connsiteX95" fmla="*/ 270244 w 541597"/>
                    <a:gd name="connsiteY95" fmla="*/ 309155 h 1115877"/>
                    <a:gd name="connsiteX96" fmla="*/ 263132 w 541597"/>
                    <a:gd name="connsiteY96" fmla="*/ 327422 h 1115877"/>
                    <a:gd name="connsiteX97" fmla="*/ 257681 w 541597"/>
                    <a:gd name="connsiteY97" fmla="*/ 337068 h 1115877"/>
                    <a:gd name="connsiteX98" fmla="*/ 263639 w 541597"/>
                    <a:gd name="connsiteY98" fmla="*/ 346221 h 1115877"/>
                    <a:gd name="connsiteX99" fmla="*/ 261598 w 541597"/>
                    <a:gd name="connsiteY99" fmla="*/ 344662 h 1115877"/>
                    <a:gd name="connsiteX100" fmla="*/ 267201 w 541597"/>
                    <a:gd name="connsiteY100" fmla="*/ 359265 h 1115877"/>
                    <a:gd name="connsiteX101" fmla="*/ 268228 w 541597"/>
                    <a:gd name="connsiteY101" fmla="*/ 351963 h 1115877"/>
                    <a:gd name="connsiteX102" fmla="*/ 280613 w 541597"/>
                    <a:gd name="connsiteY102" fmla="*/ 373780 h 1115877"/>
                    <a:gd name="connsiteX103" fmla="*/ 292516 w 541597"/>
                    <a:gd name="connsiteY103" fmla="*/ 390006 h 1115877"/>
                    <a:gd name="connsiteX104" fmla="*/ 311784 w 541597"/>
                    <a:gd name="connsiteY104" fmla="*/ 400945 h 1115877"/>
                    <a:gd name="connsiteX105" fmla="*/ 308273 w 541597"/>
                    <a:gd name="connsiteY105" fmla="*/ 402010 h 1115877"/>
                    <a:gd name="connsiteX106" fmla="*/ 310758 w 541597"/>
                    <a:gd name="connsiteY106" fmla="*/ 402010 h 1115877"/>
                    <a:gd name="connsiteX107" fmla="*/ 311239 w 541597"/>
                    <a:gd name="connsiteY107" fmla="*/ 405142 h 1115877"/>
                    <a:gd name="connsiteX108" fmla="*/ 317781 w 541597"/>
                    <a:gd name="connsiteY108" fmla="*/ 400286 h 1115877"/>
                    <a:gd name="connsiteX109" fmla="*/ 317856 w 541597"/>
                    <a:gd name="connsiteY109" fmla="*/ 418617 h 1115877"/>
                    <a:gd name="connsiteX110" fmla="*/ 322471 w 541597"/>
                    <a:gd name="connsiteY110" fmla="*/ 431597 h 1115877"/>
                    <a:gd name="connsiteX111" fmla="*/ 306714 w 541597"/>
                    <a:gd name="connsiteY111" fmla="*/ 426945 h 1115877"/>
                    <a:gd name="connsiteX112" fmla="*/ 317375 w 541597"/>
                    <a:gd name="connsiteY112" fmla="*/ 430609 h 1115877"/>
                    <a:gd name="connsiteX113" fmla="*/ 315841 w 541597"/>
                    <a:gd name="connsiteY113" fmla="*/ 433714 h 1115877"/>
                    <a:gd name="connsiteX114" fmla="*/ 314814 w 541597"/>
                    <a:gd name="connsiteY114" fmla="*/ 432168 h 1115877"/>
                    <a:gd name="connsiteX115" fmla="*/ 342106 w 541597"/>
                    <a:gd name="connsiteY115" fmla="*/ 460031 h 1115877"/>
                    <a:gd name="connsiteX116" fmla="*/ 370020 w 541597"/>
                    <a:gd name="connsiteY116" fmla="*/ 495436 h 1115877"/>
                    <a:gd name="connsiteX117" fmla="*/ 406516 w 541597"/>
                    <a:gd name="connsiteY117" fmla="*/ 517189 h 1115877"/>
                    <a:gd name="connsiteX118" fmla="*/ 392318 w 541597"/>
                    <a:gd name="connsiteY118" fmla="*/ 512030 h 1115877"/>
                    <a:gd name="connsiteX119" fmla="*/ 406516 w 541597"/>
                    <a:gd name="connsiteY119" fmla="*/ 519306 h 1115877"/>
                    <a:gd name="connsiteX120" fmla="*/ 404513 w 541597"/>
                    <a:gd name="connsiteY120" fmla="*/ 519838 h 1115877"/>
                    <a:gd name="connsiteX121" fmla="*/ 408582 w 541597"/>
                    <a:gd name="connsiteY121" fmla="*/ 519306 h 1115877"/>
                    <a:gd name="connsiteX122" fmla="*/ 408582 w 541597"/>
                    <a:gd name="connsiteY122" fmla="*/ 523439 h 1115877"/>
                    <a:gd name="connsiteX123" fmla="*/ 411117 w 541597"/>
                    <a:gd name="connsiteY123" fmla="*/ 521702 h 1115877"/>
                    <a:gd name="connsiteX124" fmla="*/ 421741 w 541597"/>
                    <a:gd name="connsiteY124" fmla="*/ 532299 h 1115877"/>
                    <a:gd name="connsiteX125" fmla="*/ 418419 w 541597"/>
                    <a:gd name="connsiteY125" fmla="*/ 531716 h 1115877"/>
                    <a:gd name="connsiteX126" fmla="*/ 428294 w 541597"/>
                    <a:gd name="connsiteY126" fmla="*/ 534303 h 1115877"/>
                    <a:gd name="connsiteX127" fmla="*/ 436648 w 541597"/>
                    <a:gd name="connsiteY127" fmla="*/ 534809 h 1115877"/>
                    <a:gd name="connsiteX128" fmla="*/ 440451 w 541597"/>
                    <a:gd name="connsiteY128" fmla="*/ 543100 h 1115877"/>
                    <a:gd name="connsiteX129" fmla="*/ 437320 w 541597"/>
                    <a:gd name="connsiteY129" fmla="*/ 541173 h 1115877"/>
                    <a:gd name="connsiteX130" fmla="*/ 448564 w 541597"/>
                    <a:gd name="connsiteY130" fmla="*/ 544596 h 1115877"/>
                    <a:gd name="connsiteX131" fmla="*/ 448082 w 541597"/>
                    <a:gd name="connsiteY131" fmla="*/ 560670 h 1115877"/>
                    <a:gd name="connsiteX132" fmla="*/ 452608 w 541597"/>
                    <a:gd name="connsiteY132" fmla="*/ 560162 h 1115877"/>
                    <a:gd name="connsiteX133" fmla="*/ 457983 w 541597"/>
                    <a:gd name="connsiteY133" fmla="*/ 549248 h 1115877"/>
                    <a:gd name="connsiteX134" fmla="*/ 459225 w 541597"/>
                    <a:gd name="connsiteY134" fmla="*/ 550795 h 1115877"/>
                    <a:gd name="connsiteX135" fmla="*/ 462737 w 541597"/>
                    <a:gd name="connsiteY135" fmla="*/ 569949 h 1115877"/>
                    <a:gd name="connsiteX136" fmla="*/ 461190 w 541597"/>
                    <a:gd name="connsiteY136" fmla="*/ 570798 h 1115877"/>
                    <a:gd name="connsiteX137" fmla="*/ 484007 w 541597"/>
                    <a:gd name="connsiteY137" fmla="*/ 597292 h 1115877"/>
                    <a:gd name="connsiteX138" fmla="*/ 485009 w 541597"/>
                    <a:gd name="connsiteY138" fmla="*/ 599333 h 1115877"/>
                    <a:gd name="connsiteX139" fmla="*/ 490587 w 541597"/>
                    <a:gd name="connsiteY139" fmla="*/ 611769 h 1115877"/>
                    <a:gd name="connsiteX140" fmla="*/ 494174 w 541597"/>
                    <a:gd name="connsiteY140" fmla="*/ 609715 h 1115877"/>
                    <a:gd name="connsiteX141" fmla="*/ 492615 w 541597"/>
                    <a:gd name="connsiteY141" fmla="*/ 603960 h 1115877"/>
                    <a:gd name="connsiteX142" fmla="*/ 494643 w 541597"/>
                    <a:gd name="connsiteY142" fmla="*/ 603960 h 1115877"/>
                    <a:gd name="connsiteX143" fmla="*/ 503821 w 541597"/>
                    <a:gd name="connsiteY143" fmla="*/ 617423 h 1115877"/>
                    <a:gd name="connsiteX144" fmla="*/ 500259 w 541597"/>
                    <a:gd name="connsiteY144" fmla="*/ 619463 h 1115877"/>
                    <a:gd name="connsiteX145" fmla="*/ 501844 w 541597"/>
                    <a:gd name="connsiteY145" fmla="*/ 621061 h 1115877"/>
                    <a:gd name="connsiteX146" fmla="*/ 497255 w 541597"/>
                    <a:gd name="connsiteY146" fmla="*/ 624762 h 1115877"/>
                    <a:gd name="connsiteX147" fmla="*/ 500259 w 541597"/>
                    <a:gd name="connsiteY147" fmla="*/ 627209 h 1115877"/>
                    <a:gd name="connsiteX148" fmla="*/ 500741 w 541597"/>
                    <a:gd name="connsiteY148" fmla="*/ 625193 h 1115877"/>
                    <a:gd name="connsiteX149" fmla="*/ 506331 w 541597"/>
                    <a:gd name="connsiteY149" fmla="*/ 648518 h 1115877"/>
                    <a:gd name="connsiteX150" fmla="*/ 514406 w 541597"/>
                    <a:gd name="connsiteY150" fmla="*/ 661220 h 1115877"/>
                    <a:gd name="connsiteX151" fmla="*/ 513024 w 541597"/>
                    <a:gd name="connsiteY151" fmla="*/ 659838 h 1115877"/>
                    <a:gd name="connsiteX152" fmla="*/ 512365 w 541597"/>
                    <a:gd name="connsiteY152" fmla="*/ 669979 h 1115877"/>
                    <a:gd name="connsiteX153" fmla="*/ 512898 w 541597"/>
                    <a:gd name="connsiteY153" fmla="*/ 667901 h 1115877"/>
                    <a:gd name="connsiteX154" fmla="*/ 525080 w 541597"/>
                    <a:gd name="connsiteY154" fmla="*/ 701303 h 1115877"/>
                    <a:gd name="connsiteX155" fmla="*/ 520300 w 541597"/>
                    <a:gd name="connsiteY155" fmla="*/ 698400 h 1115877"/>
                    <a:gd name="connsiteX156" fmla="*/ 527349 w 541597"/>
                    <a:gd name="connsiteY156" fmla="*/ 729610 h 1115877"/>
                    <a:gd name="connsiteX157" fmla="*/ 525992 w 541597"/>
                    <a:gd name="connsiteY157" fmla="*/ 719469 h 1115877"/>
                    <a:gd name="connsiteX158" fmla="*/ 526550 w 541597"/>
                    <a:gd name="connsiteY158" fmla="*/ 727974 h 1115877"/>
                    <a:gd name="connsiteX159" fmla="*/ 529161 w 541597"/>
                    <a:gd name="connsiteY159" fmla="*/ 746457 h 1115877"/>
                    <a:gd name="connsiteX160" fmla="*/ 523039 w 541597"/>
                    <a:gd name="connsiteY160" fmla="*/ 737736 h 1115877"/>
                    <a:gd name="connsiteX161" fmla="*/ 530645 w 541597"/>
                    <a:gd name="connsiteY161" fmla="*/ 747027 h 1115877"/>
                    <a:gd name="connsiteX162" fmla="*/ 527615 w 541597"/>
                    <a:gd name="connsiteY162" fmla="*/ 753898 h 1115877"/>
                    <a:gd name="connsiteX163" fmla="*/ 529542 w 541597"/>
                    <a:gd name="connsiteY163" fmla="*/ 758867 h 1115877"/>
                    <a:gd name="connsiteX164" fmla="*/ 529174 w 541597"/>
                    <a:gd name="connsiteY164" fmla="*/ 763887 h 1115877"/>
                    <a:gd name="connsiteX165" fmla="*/ 529174 w 541597"/>
                    <a:gd name="connsiteY165" fmla="*/ 768539 h 1115877"/>
                    <a:gd name="connsiteX166" fmla="*/ 529884 w 541597"/>
                    <a:gd name="connsiteY166" fmla="*/ 763469 h 1115877"/>
                    <a:gd name="connsiteX167" fmla="*/ 531938 w 541597"/>
                    <a:gd name="connsiteY167" fmla="*/ 779150 h 1115877"/>
                    <a:gd name="connsiteX168" fmla="*/ 539265 w 541597"/>
                    <a:gd name="connsiteY168" fmla="*/ 797721 h 1115877"/>
                    <a:gd name="connsiteX169" fmla="*/ 540621 w 541597"/>
                    <a:gd name="connsiteY169" fmla="*/ 795363 h 1115877"/>
                    <a:gd name="connsiteX170" fmla="*/ 539974 w 541597"/>
                    <a:gd name="connsiteY170" fmla="*/ 818675 h 1115877"/>
                    <a:gd name="connsiteX171" fmla="*/ 537249 w 541597"/>
                    <a:gd name="connsiteY171" fmla="*/ 809485 h 1115877"/>
                    <a:gd name="connsiteX172" fmla="*/ 535234 w 541597"/>
                    <a:gd name="connsiteY172" fmla="*/ 810537 h 1115877"/>
                    <a:gd name="connsiteX173" fmla="*/ 535234 w 541597"/>
                    <a:gd name="connsiteY173" fmla="*/ 813110 h 1115877"/>
                    <a:gd name="connsiteX174" fmla="*/ 532711 w 541597"/>
                    <a:gd name="connsiteY174" fmla="*/ 811538 h 1115877"/>
                    <a:gd name="connsiteX175" fmla="*/ 533966 w 541597"/>
                    <a:gd name="connsiteY175" fmla="*/ 801283 h 1115877"/>
                    <a:gd name="connsiteX176" fmla="*/ 523051 w 541597"/>
                    <a:gd name="connsiteY176" fmla="*/ 820272 h 1115877"/>
                    <a:gd name="connsiteX177" fmla="*/ 524585 w 541597"/>
                    <a:gd name="connsiteY177" fmla="*/ 816672 h 1115877"/>
                    <a:gd name="connsiteX178" fmla="*/ 532724 w 541597"/>
                    <a:gd name="connsiteY178" fmla="*/ 832531 h 1115877"/>
                    <a:gd name="connsiteX179" fmla="*/ 519008 w 541597"/>
                    <a:gd name="connsiteY179" fmla="*/ 826877 h 1115877"/>
                    <a:gd name="connsiteX180" fmla="*/ 520034 w 541597"/>
                    <a:gd name="connsiteY180" fmla="*/ 828448 h 1115877"/>
                    <a:gd name="connsiteX181" fmla="*/ 518500 w 541597"/>
                    <a:gd name="connsiteY181" fmla="*/ 827942 h 1115877"/>
                    <a:gd name="connsiteX182" fmla="*/ 525333 w 541597"/>
                    <a:gd name="connsiteY182" fmla="*/ 838666 h 1115877"/>
                    <a:gd name="connsiteX183" fmla="*/ 520541 w 541597"/>
                    <a:gd name="connsiteY183" fmla="*/ 840174 h 1115877"/>
                    <a:gd name="connsiteX184" fmla="*/ 524027 w 541597"/>
                    <a:gd name="connsiteY184" fmla="*/ 845816 h 1115877"/>
                    <a:gd name="connsiteX185" fmla="*/ 521061 w 541597"/>
                    <a:gd name="connsiteY185" fmla="*/ 846335 h 1115877"/>
                    <a:gd name="connsiteX186" fmla="*/ 521518 w 541597"/>
                    <a:gd name="connsiteY186" fmla="*/ 845816 h 1115877"/>
                    <a:gd name="connsiteX187" fmla="*/ 529174 w 541597"/>
                    <a:gd name="connsiteY187" fmla="*/ 870395 h 1115877"/>
                    <a:gd name="connsiteX188" fmla="*/ 520491 w 541597"/>
                    <a:gd name="connsiteY188" fmla="*/ 851140 h 1115877"/>
                    <a:gd name="connsiteX189" fmla="*/ 519502 w 541597"/>
                    <a:gd name="connsiteY189" fmla="*/ 852433 h 1115877"/>
                    <a:gd name="connsiteX190" fmla="*/ 521188 w 541597"/>
                    <a:gd name="connsiteY190" fmla="*/ 866136 h 1115877"/>
                    <a:gd name="connsiteX191" fmla="*/ 522557 w 541597"/>
                    <a:gd name="connsiteY191" fmla="*/ 870624 h 1115877"/>
                    <a:gd name="connsiteX192" fmla="*/ 521454 w 541597"/>
                    <a:gd name="connsiteY192" fmla="*/ 885569 h 1115877"/>
                    <a:gd name="connsiteX193" fmla="*/ 510641 w 541597"/>
                    <a:gd name="connsiteY193" fmla="*/ 887737 h 1115877"/>
                    <a:gd name="connsiteX194" fmla="*/ 508930 w 541597"/>
                    <a:gd name="connsiteY194" fmla="*/ 888155 h 1115877"/>
                    <a:gd name="connsiteX195" fmla="*/ 510413 w 541597"/>
                    <a:gd name="connsiteY195" fmla="*/ 894861 h 1115877"/>
                    <a:gd name="connsiteX196" fmla="*/ 508321 w 541597"/>
                    <a:gd name="connsiteY196" fmla="*/ 894861 h 1115877"/>
                    <a:gd name="connsiteX197" fmla="*/ 508752 w 541597"/>
                    <a:gd name="connsiteY197" fmla="*/ 908767 h 1115877"/>
                    <a:gd name="connsiteX198" fmla="*/ 498649 w 541597"/>
                    <a:gd name="connsiteY198" fmla="*/ 910555 h 1115877"/>
                    <a:gd name="connsiteX199" fmla="*/ 489294 w 541597"/>
                    <a:gd name="connsiteY199" fmla="*/ 917032 h 1115877"/>
                    <a:gd name="connsiteX200" fmla="*/ 486517 w 541597"/>
                    <a:gd name="connsiteY200" fmla="*/ 921951 h 1115877"/>
                    <a:gd name="connsiteX201" fmla="*/ 482461 w 541597"/>
                    <a:gd name="connsiteY201" fmla="*/ 920987 h 1115877"/>
                    <a:gd name="connsiteX202" fmla="*/ 474830 w 541597"/>
                    <a:gd name="connsiteY202" fmla="*/ 923193 h 1115877"/>
                    <a:gd name="connsiteX203" fmla="*/ 469113 w 541597"/>
                    <a:gd name="connsiteY203" fmla="*/ 930520 h 1115877"/>
                    <a:gd name="connsiteX204" fmla="*/ 461000 w 541597"/>
                    <a:gd name="connsiteY204" fmla="*/ 933461 h 1115877"/>
                    <a:gd name="connsiteX205" fmla="*/ 455194 w 541597"/>
                    <a:gd name="connsiteY205" fmla="*/ 941777 h 1115877"/>
                    <a:gd name="connsiteX206" fmla="*/ 436914 w 541597"/>
                    <a:gd name="connsiteY206" fmla="*/ 948609 h 1115877"/>
                    <a:gd name="connsiteX207" fmla="*/ 433340 w 541597"/>
                    <a:gd name="connsiteY207" fmla="*/ 957635 h 1115877"/>
                    <a:gd name="connsiteX208" fmla="*/ 428142 w 541597"/>
                    <a:gd name="connsiteY208" fmla="*/ 956114 h 1115877"/>
                    <a:gd name="connsiteX209" fmla="*/ 415681 w 541597"/>
                    <a:gd name="connsiteY209" fmla="*/ 961514 h 1115877"/>
                    <a:gd name="connsiteX210" fmla="*/ 373633 w 541597"/>
                    <a:gd name="connsiteY210" fmla="*/ 979502 h 1115877"/>
                    <a:gd name="connsiteX211" fmla="*/ 363974 w 541597"/>
                    <a:gd name="connsiteY211" fmla="*/ 973874 h 1115877"/>
                    <a:gd name="connsiteX212" fmla="*/ 363974 w 541597"/>
                    <a:gd name="connsiteY212" fmla="*/ 971845 h 1115877"/>
                    <a:gd name="connsiteX213" fmla="*/ 361920 w 541597"/>
                    <a:gd name="connsiteY213" fmla="*/ 974368 h 1115877"/>
                    <a:gd name="connsiteX214" fmla="*/ 361464 w 541597"/>
                    <a:gd name="connsiteY214" fmla="*/ 972340 h 1115877"/>
                    <a:gd name="connsiteX215" fmla="*/ 358954 w 541597"/>
                    <a:gd name="connsiteY215" fmla="*/ 973874 h 1115877"/>
                    <a:gd name="connsiteX216" fmla="*/ 360399 w 541597"/>
                    <a:gd name="connsiteY216" fmla="*/ 962199 h 1115877"/>
                    <a:gd name="connsiteX217" fmla="*/ 358383 w 541597"/>
                    <a:gd name="connsiteY217" fmla="*/ 957622 h 1115877"/>
                    <a:gd name="connsiteX218" fmla="*/ 361464 w 541597"/>
                    <a:gd name="connsiteY218" fmla="*/ 969817 h 1115877"/>
                    <a:gd name="connsiteX219" fmla="*/ 359385 w 541597"/>
                    <a:gd name="connsiteY219" fmla="*/ 963175 h 1115877"/>
                    <a:gd name="connsiteX220" fmla="*/ 360399 w 541597"/>
                    <a:gd name="connsiteY220" fmla="*/ 970831 h 1115877"/>
                    <a:gd name="connsiteX221" fmla="*/ 356850 w 541597"/>
                    <a:gd name="connsiteY221" fmla="*/ 974938 h 1115877"/>
                    <a:gd name="connsiteX222" fmla="*/ 353414 w 541597"/>
                    <a:gd name="connsiteY222" fmla="*/ 963340 h 1115877"/>
                    <a:gd name="connsiteX223" fmla="*/ 342601 w 541597"/>
                    <a:gd name="connsiteY223" fmla="*/ 958687 h 1115877"/>
                    <a:gd name="connsiteX224" fmla="*/ 334108 w 541597"/>
                    <a:gd name="connsiteY224" fmla="*/ 970831 h 1115877"/>
                    <a:gd name="connsiteX225" fmla="*/ 335046 w 541597"/>
                    <a:gd name="connsiteY225" fmla="*/ 972885 h 1115877"/>
                    <a:gd name="connsiteX226" fmla="*/ 329557 w 541597"/>
                    <a:gd name="connsiteY226" fmla="*/ 976967 h 1115877"/>
                    <a:gd name="connsiteX227" fmla="*/ 328479 w 541597"/>
                    <a:gd name="connsiteY227" fmla="*/ 973367 h 1115877"/>
                    <a:gd name="connsiteX228" fmla="*/ 334095 w 541597"/>
                    <a:gd name="connsiteY228" fmla="*/ 974381 h 1115877"/>
                    <a:gd name="connsiteX229" fmla="*/ 339749 w 541597"/>
                    <a:gd name="connsiteY229" fmla="*/ 974609 h 1115877"/>
                    <a:gd name="connsiteX230" fmla="*/ 344414 w 541597"/>
                    <a:gd name="connsiteY230" fmla="*/ 986816 h 1115877"/>
                    <a:gd name="connsiteX231" fmla="*/ 316830 w 541597"/>
                    <a:gd name="connsiteY231" fmla="*/ 986056 h 1115877"/>
                    <a:gd name="connsiteX232" fmla="*/ 337670 w 541597"/>
                    <a:gd name="connsiteY232" fmla="*/ 1005971 h 1115877"/>
                    <a:gd name="connsiteX233" fmla="*/ 337670 w 541597"/>
                    <a:gd name="connsiteY233" fmla="*/ 1003385 h 1115877"/>
                    <a:gd name="connsiteX234" fmla="*/ 331230 w 541597"/>
                    <a:gd name="connsiteY234" fmla="*/ 1011510 h 1115877"/>
                    <a:gd name="connsiteX235" fmla="*/ 307234 w 541597"/>
                    <a:gd name="connsiteY235" fmla="*/ 990176 h 1115877"/>
                    <a:gd name="connsiteX236" fmla="*/ 320176 w 541597"/>
                    <a:gd name="connsiteY236" fmla="*/ 1007340 h 1115877"/>
                    <a:gd name="connsiteX237" fmla="*/ 335033 w 541597"/>
                    <a:gd name="connsiteY237" fmla="*/ 1021259 h 1115877"/>
                    <a:gd name="connsiteX238" fmla="*/ 334602 w 541597"/>
                    <a:gd name="connsiteY238" fmla="*/ 1018242 h 1115877"/>
                    <a:gd name="connsiteX239" fmla="*/ 294595 w 541597"/>
                    <a:gd name="connsiteY239" fmla="*/ 991722 h 1115877"/>
                    <a:gd name="connsiteX240" fmla="*/ 294012 w 541597"/>
                    <a:gd name="connsiteY240" fmla="*/ 992217 h 1115877"/>
                    <a:gd name="connsiteX241" fmla="*/ 328251 w 541597"/>
                    <a:gd name="connsiteY241" fmla="*/ 1034734 h 1115877"/>
                    <a:gd name="connsiteX242" fmla="*/ 272259 w 541597"/>
                    <a:gd name="connsiteY242" fmla="*/ 1009000 h 1115877"/>
                    <a:gd name="connsiteX243" fmla="*/ 298132 w 541597"/>
                    <a:gd name="connsiteY243" fmla="*/ 1052772 h 1115877"/>
                    <a:gd name="connsiteX244" fmla="*/ 267886 w 541597"/>
                    <a:gd name="connsiteY244" fmla="*/ 1068149 h 1115877"/>
                    <a:gd name="connsiteX245" fmla="*/ 241899 w 541597"/>
                    <a:gd name="connsiteY245" fmla="*/ 1085085 h 1115877"/>
                    <a:gd name="connsiteX246" fmla="*/ 191003 w 541597"/>
                    <a:gd name="connsiteY246" fmla="*/ 1112415 h 1115877"/>
                    <a:gd name="connsiteX247" fmla="*/ 198342 w 541597"/>
                    <a:gd name="connsiteY247" fmla="*/ 1106698 h 1115877"/>
                    <a:gd name="connsiteX248" fmla="*/ 208978 w 541597"/>
                    <a:gd name="connsiteY248" fmla="*/ 1104581 h 1115877"/>
                    <a:gd name="connsiteX249" fmla="*/ 200484 w 541597"/>
                    <a:gd name="connsiteY249" fmla="*/ 1104277 h 1115877"/>
                    <a:gd name="connsiteX250" fmla="*/ 205859 w 541597"/>
                    <a:gd name="connsiteY250" fmla="*/ 1097926 h 1115877"/>
                    <a:gd name="connsiteX251" fmla="*/ 197645 w 541597"/>
                    <a:gd name="connsiteY251" fmla="*/ 1087037 h 1115877"/>
                    <a:gd name="connsiteX252" fmla="*/ 198836 w 541597"/>
                    <a:gd name="connsiteY252" fmla="*/ 1054053 h 1115877"/>
                    <a:gd name="connsiteX253" fmla="*/ 203768 w 541597"/>
                    <a:gd name="connsiteY253" fmla="*/ 1020675 h 1115877"/>
                    <a:gd name="connsiteX254" fmla="*/ 211222 w 541597"/>
                    <a:gd name="connsiteY254" fmla="*/ 1017925 h 1115877"/>
                    <a:gd name="connsiteX255" fmla="*/ 220057 w 541597"/>
                    <a:gd name="connsiteY255" fmla="*/ 1020206 h 1115877"/>
                    <a:gd name="connsiteX256" fmla="*/ 201118 w 541597"/>
                    <a:gd name="connsiteY256" fmla="*/ 999835 h 1115877"/>
                    <a:gd name="connsiteX257" fmla="*/ 190102 w 541597"/>
                    <a:gd name="connsiteY257" fmla="*/ 993117 h 1115877"/>
                    <a:gd name="connsiteX258" fmla="*/ 183080 w 541597"/>
                    <a:gd name="connsiteY258" fmla="*/ 998884 h 1115877"/>
                    <a:gd name="connsiteX259" fmla="*/ 177515 w 541597"/>
                    <a:gd name="connsiteY259" fmla="*/ 988654 h 1115877"/>
                    <a:gd name="connsiteX260" fmla="*/ 176589 w 541597"/>
                    <a:gd name="connsiteY260" fmla="*/ 978475 h 1115877"/>
                    <a:gd name="connsiteX261" fmla="*/ 171316 w 541597"/>
                    <a:gd name="connsiteY261" fmla="*/ 981391 h 1115877"/>
                    <a:gd name="connsiteX262" fmla="*/ 171126 w 541597"/>
                    <a:gd name="connsiteY262" fmla="*/ 978412 h 1115877"/>
                    <a:gd name="connsiteX263" fmla="*/ 178757 w 541597"/>
                    <a:gd name="connsiteY263" fmla="*/ 971098 h 1115877"/>
                    <a:gd name="connsiteX264" fmla="*/ 190457 w 541597"/>
                    <a:gd name="connsiteY264" fmla="*/ 970768 h 1115877"/>
                    <a:gd name="connsiteX265" fmla="*/ 207571 w 541597"/>
                    <a:gd name="connsiteY265" fmla="*/ 961920 h 1115877"/>
                    <a:gd name="connsiteX266" fmla="*/ 216584 w 541597"/>
                    <a:gd name="connsiteY266" fmla="*/ 954149 h 1115877"/>
                    <a:gd name="connsiteX267" fmla="*/ 213022 w 541597"/>
                    <a:gd name="connsiteY267" fmla="*/ 942740 h 1115877"/>
                    <a:gd name="connsiteX268" fmla="*/ 227993 w 541597"/>
                    <a:gd name="connsiteY268" fmla="*/ 943488 h 1115877"/>
                    <a:gd name="connsiteX269" fmla="*/ 235915 w 541597"/>
                    <a:gd name="connsiteY269" fmla="*/ 946569 h 1115877"/>
                    <a:gd name="connsiteX270" fmla="*/ 243445 w 541597"/>
                    <a:gd name="connsiteY270" fmla="*/ 938455 h 1115877"/>
                    <a:gd name="connsiteX271" fmla="*/ 261179 w 541597"/>
                    <a:gd name="connsiteY271" fmla="*/ 935768 h 1115877"/>
                    <a:gd name="connsiteX272" fmla="*/ 272462 w 541597"/>
                    <a:gd name="connsiteY272" fmla="*/ 941244 h 1115877"/>
                    <a:gd name="connsiteX273" fmla="*/ 280549 w 541597"/>
                    <a:gd name="connsiteY273" fmla="*/ 942981 h 1115877"/>
                    <a:gd name="connsiteX274" fmla="*/ 298766 w 541597"/>
                    <a:gd name="connsiteY274" fmla="*/ 952628 h 1115877"/>
                    <a:gd name="connsiteX275" fmla="*/ 299551 w 541597"/>
                    <a:gd name="connsiteY275" fmla="*/ 937023 h 1115877"/>
                    <a:gd name="connsiteX276" fmla="*/ 292072 w 541597"/>
                    <a:gd name="connsiteY276" fmla="*/ 931090 h 1115877"/>
                    <a:gd name="connsiteX277" fmla="*/ 279028 w 541597"/>
                    <a:gd name="connsiteY277" fmla="*/ 919568 h 1115877"/>
                    <a:gd name="connsiteX278" fmla="*/ 276125 w 541597"/>
                    <a:gd name="connsiteY278" fmla="*/ 904495 h 1115877"/>
                    <a:gd name="connsiteX279" fmla="*/ 270142 w 541597"/>
                    <a:gd name="connsiteY279" fmla="*/ 891527 h 1115877"/>
                    <a:gd name="connsiteX280" fmla="*/ 281855 w 541597"/>
                    <a:gd name="connsiteY280" fmla="*/ 885949 h 1115877"/>
                    <a:gd name="connsiteX281" fmla="*/ 295571 w 541597"/>
                    <a:gd name="connsiteY281" fmla="*/ 879662 h 1115877"/>
                    <a:gd name="connsiteX282" fmla="*/ 312570 w 541597"/>
                    <a:gd name="connsiteY282" fmla="*/ 883997 h 1115877"/>
                    <a:gd name="connsiteX283" fmla="*/ 316044 w 541597"/>
                    <a:gd name="connsiteY283" fmla="*/ 876518 h 1115877"/>
                    <a:gd name="connsiteX284" fmla="*/ 314776 w 541597"/>
                    <a:gd name="connsiteY284" fmla="*/ 863043 h 1115877"/>
                    <a:gd name="connsiteX285" fmla="*/ 332257 w 541597"/>
                    <a:gd name="connsiteY285" fmla="*/ 862561 h 1115877"/>
                    <a:gd name="connsiteX286" fmla="*/ 340776 w 541597"/>
                    <a:gd name="connsiteY286" fmla="*/ 857288 h 1115877"/>
                    <a:gd name="connsiteX287" fmla="*/ 355468 w 541597"/>
                    <a:gd name="connsiteY287" fmla="*/ 855031 h 1115877"/>
                    <a:gd name="connsiteX288" fmla="*/ 381619 w 541597"/>
                    <a:gd name="connsiteY288" fmla="*/ 836384 h 1115877"/>
                    <a:gd name="connsiteX289" fmla="*/ 390315 w 541597"/>
                    <a:gd name="connsiteY289" fmla="*/ 841784 h 1115877"/>
                    <a:gd name="connsiteX290" fmla="*/ 398200 w 541597"/>
                    <a:gd name="connsiteY290" fmla="*/ 833380 h 1115877"/>
                    <a:gd name="connsiteX291" fmla="*/ 399962 w 541597"/>
                    <a:gd name="connsiteY291" fmla="*/ 809383 h 1115877"/>
                    <a:gd name="connsiteX292" fmla="*/ 394385 w 541597"/>
                    <a:gd name="connsiteY292" fmla="*/ 788505 h 1115877"/>
                    <a:gd name="connsiteX293" fmla="*/ 404589 w 541597"/>
                    <a:gd name="connsiteY293" fmla="*/ 757346 h 1115877"/>
                    <a:gd name="connsiteX294" fmla="*/ 392318 w 541597"/>
                    <a:gd name="connsiteY294" fmla="*/ 727417 h 1115877"/>
                    <a:gd name="connsiteX295" fmla="*/ 389821 w 541597"/>
                    <a:gd name="connsiteY295" fmla="*/ 711280 h 1115877"/>
                    <a:gd name="connsiteX296" fmla="*/ 384649 w 541597"/>
                    <a:gd name="connsiteY296" fmla="*/ 704460 h 1115877"/>
                    <a:gd name="connsiteX297" fmla="*/ 386500 w 541597"/>
                    <a:gd name="connsiteY297" fmla="*/ 690300 h 1115877"/>
                    <a:gd name="connsiteX298" fmla="*/ 387856 w 541597"/>
                    <a:gd name="connsiteY298" fmla="*/ 680894 h 1115877"/>
                    <a:gd name="connsiteX299" fmla="*/ 393928 w 541597"/>
                    <a:gd name="connsiteY299" fmla="*/ 677585 h 1115877"/>
                    <a:gd name="connsiteX300" fmla="*/ 398175 w 541597"/>
                    <a:gd name="connsiteY300" fmla="*/ 657328 h 1115877"/>
                    <a:gd name="connsiteX301" fmla="*/ 398010 w 541597"/>
                    <a:gd name="connsiteY301" fmla="*/ 648341 h 1115877"/>
                    <a:gd name="connsiteX302" fmla="*/ 400152 w 541597"/>
                    <a:gd name="connsiteY302" fmla="*/ 643980 h 1115877"/>
                    <a:gd name="connsiteX303" fmla="*/ 393142 w 541597"/>
                    <a:gd name="connsiteY303" fmla="*/ 638618 h 1115877"/>
                    <a:gd name="connsiteX304" fmla="*/ 398542 w 541597"/>
                    <a:gd name="connsiteY304" fmla="*/ 632469 h 1115877"/>
                    <a:gd name="connsiteX305" fmla="*/ 404108 w 541597"/>
                    <a:gd name="connsiteY305" fmla="*/ 627298 h 1115877"/>
                    <a:gd name="connsiteX306" fmla="*/ 402928 w 541597"/>
                    <a:gd name="connsiteY306" fmla="*/ 610323 h 1115877"/>
                    <a:gd name="connsiteX307" fmla="*/ 393091 w 541597"/>
                    <a:gd name="connsiteY307" fmla="*/ 598839 h 1115877"/>
                    <a:gd name="connsiteX308" fmla="*/ 387780 w 541597"/>
                    <a:gd name="connsiteY308" fmla="*/ 599422 h 1115877"/>
                    <a:gd name="connsiteX309" fmla="*/ 376891 w 541597"/>
                    <a:gd name="connsiteY309" fmla="*/ 586428 h 1115877"/>
                    <a:gd name="connsiteX310" fmla="*/ 386234 w 541597"/>
                    <a:gd name="connsiteY310" fmla="*/ 567490 h 1115877"/>
                    <a:gd name="connsiteX311" fmla="*/ 391558 w 541597"/>
                    <a:gd name="connsiteY311" fmla="*/ 557323 h 1115877"/>
                    <a:gd name="connsiteX312" fmla="*/ 381645 w 541597"/>
                    <a:gd name="connsiteY312" fmla="*/ 556005 h 1115877"/>
                    <a:gd name="connsiteX313" fmla="*/ 363454 w 541597"/>
                    <a:gd name="connsiteY313" fmla="*/ 538625 h 1115877"/>
                    <a:gd name="connsiteX314" fmla="*/ 355062 w 541597"/>
                    <a:gd name="connsiteY314" fmla="*/ 534353 h 1115877"/>
                    <a:gd name="connsiteX315" fmla="*/ 348901 w 541597"/>
                    <a:gd name="connsiteY315" fmla="*/ 529612 h 1115877"/>
                    <a:gd name="connsiteX316" fmla="*/ 335616 w 541597"/>
                    <a:gd name="connsiteY316" fmla="*/ 527685 h 1115877"/>
                    <a:gd name="connsiteX317" fmla="*/ 333258 w 541597"/>
                    <a:gd name="connsiteY317" fmla="*/ 517493 h 1115877"/>
                    <a:gd name="connsiteX318" fmla="*/ 327529 w 541597"/>
                    <a:gd name="connsiteY318" fmla="*/ 514134 h 1115877"/>
                    <a:gd name="connsiteX319" fmla="*/ 324410 w 541597"/>
                    <a:gd name="connsiteY319" fmla="*/ 486170 h 1115877"/>
                    <a:gd name="connsiteX320" fmla="*/ 308324 w 541597"/>
                    <a:gd name="connsiteY320" fmla="*/ 467725 h 1115877"/>
                    <a:gd name="connsiteX321" fmla="*/ 302023 w 541597"/>
                    <a:gd name="connsiteY321" fmla="*/ 466825 h 1115877"/>
                    <a:gd name="connsiteX322" fmla="*/ 280626 w 541597"/>
                    <a:gd name="connsiteY322" fmla="*/ 447823 h 1115877"/>
                    <a:gd name="connsiteX323" fmla="*/ 255602 w 541597"/>
                    <a:gd name="connsiteY323" fmla="*/ 418071 h 1115877"/>
                    <a:gd name="connsiteX324" fmla="*/ 246957 w 541597"/>
                    <a:gd name="connsiteY324" fmla="*/ 397536 h 1115877"/>
                    <a:gd name="connsiteX325" fmla="*/ 239617 w 541597"/>
                    <a:gd name="connsiteY325" fmla="*/ 397725 h 1115877"/>
                    <a:gd name="connsiteX326" fmla="*/ 233329 w 541597"/>
                    <a:gd name="connsiteY326" fmla="*/ 390373 h 1115877"/>
                    <a:gd name="connsiteX327" fmla="*/ 217813 w 541597"/>
                    <a:gd name="connsiteY327" fmla="*/ 373450 h 1115877"/>
                    <a:gd name="connsiteX328" fmla="*/ 224240 w 541597"/>
                    <a:gd name="connsiteY328" fmla="*/ 362548 h 1115877"/>
                    <a:gd name="connsiteX329" fmla="*/ 212831 w 541597"/>
                    <a:gd name="connsiteY329" fmla="*/ 354930 h 1115877"/>
                    <a:gd name="connsiteX330" fmla="*/ 184474 w 541597"/>
                    <a:gd name="connsiteY330" fmla="*/ 345498 h 1115877"/>
                    <a:gd name="connsiteX331" fmla="*/ 126580 w 541597"/>
                    <a:gd name="connsiteY331" fmla="*/ 310638 h 1115877"/>
                    <a:gd name="connsiteX332" fmla="*/ 144746 w 541597"/>
                    <a:gd name="connsiteY332" fmla="*/ 295718 h 1115877"/>
                    <a:gd name="connsiteX333" fmla="*/ 137837 w 541597"/>
                    <a:gd name="connsiteY333" fmla="*/ 281583 h 1115877"/>
                    <a:gd name="connsiteX334" fmla="*/ 151832 w 541597"/>
                    <a:gd name="connsiteY334" fmla="*/ 280405 h 1115877"/>
                    <a:gd name="connsiteX335" fmla="*/ 167475 w 541597"/>
                    <a:gd name="connsiteY335" fmla="*/ 282813 h 1115877"/>
                    <a:gd name="connsiteX336" fmla="*/ 181241 w 541597"/>
                    <a:gd name="connsiteY336" fmla="*/ 286515 h 1115877"/>
                    <a:gd name="connsiteX337" fmla="*/ 193652 w 541597"/>
                    <a:gd name="connsiteY337" fmla="*/ 267335 h 1115877"/>
                    <a:gd name="connsiteX338" fmla="*/ 208040 w 541597"/>
                    <a:gd name="connsiteY338" fmla="*/ 255052 h 1115877"/>
                    <a:gd name="connsiteX339" fmla="*/ 198342 w 541597"/>
                    <a:gd name="connsiteY339" fmla="*/ 240245 h 1115877"/>
                    <a:gd name="connsiteX340" fmla="*/ 186071 w 541597"/>
                    <a:gd name="connsiteY340" fmla="*/ 239865 h 1115877"/>
                    <a:gd name="connsiteX341" fmla="*/ 188695 w 541597"/>
                    <a:gd name="connsiteY341" fmla="*/ 234110 h 1115877"/>
                    <a:gd name="connsiteX342" fmla="*/ 164369 w 541597"/>
                    <a:gd name="connsiteY342" fmla="*/ 223487 h 1115877"/>
                    <a:gd name="connsiteX343" fmla="*/ 170669 w 541597"/>
                    <a:gd name="connsiteY343" fmla="*/ 216210 h 1115877"/>
                    <a:gd name="connsiteX344" fmla="*/ 179137 w 541597"/>
                    <a:gd name="connsiteY344" fmla="*/ 214474 h 1115877"/>
                    <a:gd name="connsiteX345" fmla="*/ 175131 w 541597"/>
                    <a:gd name="connsiteY345" fmla="*/ 203825 h 1115877"/>
                    <a:gd name="connsiteX346" fmla="*/ 161124 w 541597"/>
                    <a:gd name="connsiteY346" fmla="*/ 192087 h 1115877"/>
                    <a:gd name="connsiteX347" fmla="*/ 126707 w 541597"/>
                    <a:gd name="connsiteY347" fmla="*/ 190883 h 1115877"/>
                    <a:gd name="connsiteX348" fmla="*/ 117263 w 541597"/>
                    <a:gd name="connsiteY348" fmla="*/ 201480 h 1115877"/>
                    <a:gd name="connsiteX349" fmla="*/ 107667 w 541597"/>
                    <a:gd name="connsiteY349" fmla="*/ 201607 h 1115877"/>
                    <a:gd name="connsiteX350" fmla="*/ 99047 w 541597"/>
                    <a:gd name="connsiteY350" fmla="*/ 198603 h 1115877"/>
                    <a:gd name="connsiteX351" fmla="*/ 95371 w 541597"/>
                    <a:gd name="connsiteY351" fmla="*/ 194280 h 1115877"/>
                    <a:gd name="connsiteX352" fmla="*/ 92772 w 541597"/>
                    <a:gd name="connsiteY352" fmla="*/ 196270 h 1115877"/>
                    <a:gd name="connsiteX353" fmla="*/ 76077 w 541597"/>
                    <a:gd name="connsiteY353" fmla="*/ 192505 h 1115877"/>
                    <a:gd name="connsiteX354" fmla="*/ 49165 w 541597"/>
                    <a:gd name="connsiteY354" fmla="*/ 160915 h 1115877"/>
                    <a:gd name="connsiteX355" fmla="*/ 57810 w 541597"/>
                    <a:gd name="connsiteY355" fmla="*/ 145906 h 1115877"/>
                    <a:gd name="connsiteX356" fmla="*/ 52765 w 541597"/>
                    <a:gd name="connsiteY356" fmla="*/ 147795 h 1115877"/>
                    <a:gd name="connsiteX357" fmla="*/ 61005 w 541597"/>
                    <a:gd name="connsiteY357" fmla="*/ 130505 h 1115877"/>
                    <a:gd name="connsiteX358" fmla="*/ 53868 w 541597"/>
                    <a:gd name="connsiteY358" fmla="*/ 126220 h 1115877"/>
                    <a:gd name="connsiteX359" fmla="*/ 49558 w 541597"/>
                    <a:gd name="connsiteY359" fmla="*/ 116167 h 1115877"/>
                    <a:gd name="connsiteX360" fmla="*/ 39505 w 541597"/>
                    <a:gd name="connsiteY360" fmla="*/ 129820 h 1115877"/>
                    <a:gd name="connsiteX361" fmla="*/ 35550 w 541597"/>
                    <a:gd name="connsiteY361" fmla="*/ 115343 h 1115877"/>
                    <a:gd name="connsiteX362" fmla="*/ 24978 w 541597"/>
                    <a:gd name="connsiteY362" fmla="*/ 102819 h 1115877"/>
                    <a:gd name="connsiteX363" fmla="*/ 16358 w 541597"/>
                    <a:gd name="connsiteY363" fmla="*/ 93071 h 1115877"/>
                    <a:gd name="connsiteX364" fmla="*/ 778 w 541597"/>
                    <a:gd name="connsiteY364" fmla="*/ 71026 h 1115877"/>
                    <a:gd name="connsiteX365" fmla="*/ 6584 w 541597"/>
                    <a:gd name="connsiteY365" fmla="*/ 71178 h 1115877"/>
                    <a:gd name="connsiteX366" fmla="*/ 9690 w 541597"/>
                    <a:gd name="connsiteY366" fmla="*/ 64181 h 1115877"/>
                    <a:gd name="connsiteX367" fmla="*/ 17905 w 541597"/>
                    <a:gd name="connsiteY367" fmla="*/ 51162 h 1115877"/>
                    <a:gd name="connsiteX368" fmla="*/ 27222 w 541597"/>
                    <a:gd name="connsiteY368" fmla="*/ 45356 h 1115877"/>
                    <a:gd name="connsiteX369" fmla="*/ 34206 w 541597"/>
                    <a:gd name="connsiteY369" fmla="*/ 49108 h 1115877"/>
                    <a:gd name="connsiteX370" fmla="*/ 51954 w 541597"/>
                    <a:gd name="connsiteY370" fmla="*/ 57741 h 1115877"/>
                    <a:gd name="connsiteX371" fmla="*/ 65213 w 541597"/>
                    <a:gd name="connsiteY371" fmla="*/ 70342 h 1115877"/>
                    <a:gd name="connsiteX372" fmla="*/ 73453 w 541597"/>
                    <a:gd name="connsiteY372" fmla="*/ 58882 h 1115877"/>
                    <a:gd name="connsiteX373" fmla="*/ 87245 w 541597"/>
                    <a:gd name="connsiteY373" fmla="*/ 42390 h 1115877"/>
                    <a:gd name="connsiteX374" fmla="*/ 96245 w 541597"/>
                    <a:gd name="connsiteY374" fmla="*/ 54673 h 1115877"/>
                    <a:gd name="connsiteX375" fmla="*/ 105056 w 541597"/>
                    <a:gd name="connsiteY375" fmla="*/ 48487 h 1115877"/>
                    <a:gd name="connsiteX376" fmla="*/ 132792 w 541597"/>
                    <a:gd name="connsiteY376" fmla="*/ 62837 h 1115877"/>
                    <a:gd name="connsiteX377" fmla="*/ 139346 w 541597"/>
                    <a:gd name="connsiteY377" fmla="*/ 48487 h 1115877"/>
                    <a:gd name="connsiteX378" fmla="*/ 155622 w 541597"/>
                    <a:gd name="connsiteY378" fmla="*/ 39817 h 1115877"/>
                    <a:gd name="connsiteX379" fmla="*/ 161808 w 541597"/>
                    <a:gd name="connsiteY379" fmla="*/ 50021 h 1115877"/>
                    <a:gd name="connsiteX380" fmla="*/ 178693 w 541597"/>
                    <a:gd name="connsiteY380" fmla="*/ 38904 h 1115877"/>
                    <a:gd name="connsiteX381" fmla="*/ 195008 w 541597"/>
                    <a:gd name="connsiteY381" fmla="*/ 34239 h 1115877"/>
                    <a:gd name="connsiteX382" fmla="*/ 197746 w 541597"/>
                    <a:gd name="connsiteY382" fmla="*/ 18748 h 1115877"/>
                    <a:gd name="connsiteX383" fmla="*/ 205365 w 541597"/>
                    <a:gd name="connsiteY383" fmla="*/ 13842 h 1115877"/>
                    <a:gd name="connsiteX384" fmla="*/ 224747 w 541597"/>
                    <a:gd name="connsiteY384" fmla="*/ 6211 h 1115877"/>
                    <a:gd name="connsiteX385" fmla="*/ 240504 w 541597"/>
                    <a:gd name="connsiteY385" fmla="*/ 4944 h 1115877"/>
                    <a:gd name="connsiteX386" fmla="*/ 240504 w 541597"/>
                    <a:gd name="connsiteY386" fmla="*/ 4944 h 1115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Lst>
                  <a:rect l="l" t="t" r="r" b="b"/>
                  <a:pathLst>
                    <a:path w="541597" h="1115877">
                      <a:moveTo>
                        <a:pt x="240504" y="4944"/>
                      </a:moveTo>
                      <a:cubicBezTo>
                        <a:pt x="244256" y="5996"/>
                        <a:pt x="248034" y="10648"/>
                        <a:pt x="250760" y="14235"/>
                      </a:cubicBezTo>
                      <a:cubicBezTo>
                        <a:pt x="252268" y="16238"/>
                        <a:pt x="250024" y="20041"/>
                        <a:pt x="252471" y="21676"/>
                      </a:cubicBezTo>
                      <a:cubicBezTo>
                        <a:pt x="255209" y="23502"/>
                        <a:pt x="259950" y="21474"/>
                        <a:pt x="262726" y="22894"/>
                      </a:cubicBezTo>
                      <a:cubicBezTo>
                        <a:pt x="266415" y="24731"/>
                        <a:pt x="270256" y="31678"/>
                        <a:pt x="273476" y="32718"/>
                      </a:cubicBezTo>
                      <a:cubicBezTo>
                        <a:pt x="276747" y="33757"/>
                        <a:pt x="280790" y="30715"/>
                        <a:pt x="284302" y="29764"/>
                      </a:cubicBezTo>
                      <a:cubicBezTo>
                        <a:pt x="287623" y="28864"/>
                        <a:pt x="292237" y="26303"/>
                        <a:pt x="296801" y="28573"/>
                      </a:cubicBezTo>
                      <a:cubicBezTo>
                        <a:pt x="299653" y="30005"/>
                        <a:pt x="301453" y="35494"/>
                        <a:pt x="302404" y="35938"/>
                      </a:cubicBezTo>
                      <a:cubicBezTo>
                        <a:pt x="309693" y="39322"/>
                        <a:pt x="316069" y="32388"/>
                        <a:pt x="320962" y="32528"/>
                      </a:cubicBezTo>
                      <a:cubicBezTo>
                        <a:pt x="331306" y="32832"/>
                        <a:pt x="335464" y="41756"/>
                        <a:pt x="344680" y="42998"/>
                      </a:cubicBezTo>
                      <a:cubicBezTo>
                        <a:pt x="339242" y="46751"/>
                        <a:pt x="337670" y="55548"/>
                        <a:pt x="333423" y="59643"/>
                      </a:cubicBezTo>
                      <a:cubicBezTo>
                        <a:pt x="333068" y="59972"/>
                        <a:pt x="330647" y="56702"/>
                        <a:pt x="327262" y="61240"/>
                      </a:cubicBezTo>
                      <a:cubicBezTo>
                        <a:pt x="325741" y="63332"/>
                        <a:pt x="324309" y="69987"/>
                        <a:pt x="325107" y="72687"/>
                      </a:cubicBezTo>
                      <a:cubicBezTo>
                        <a:pt x="326426" y="77047"/>
                        <a:pt x="329709" y="76832"/>
                        <a:pt x="330558" y="78607"/>
                      </a:cubicBezTo>
                      <a:cubicBezTo>
                        <a:pt x="332523" y="82739"/>
                        <a:pt x="332434" y="85769"/>
                        <a:pt x="332992" y="89496"/>
                      </a:cubicBezTo>
                      <a:cubicBezTo>
                        <a:pt x="333182" y="90510"/>
                        <a:pt x="334222" y="105481"/>
                        <a:pt x="333588" y="104568"/>
                      </a:cubicBezTo>
                      <a:cubicBezTo>
                        <a:pt x="334070" y="105316"/>
                        <a:pt x="343273" y="104682"/>
                        <a:pt x="347735" y="105620"/>
                      </a:cubicBezTo>
                      <a:cubicBezTo>
                        <a:pt x="352717" y="106673"/>
                        <a:pt x="358789" y="110868"/>
                        <a:pt x="360792" y="112567"/>
                      </a:cubicBezTo>
                      <a:cubicBezTo>
                        <a:pt x="359182" y="111224"/>
                        <a:pt x="360386" y="117853"/>
                        <a:pt x="360893" y="118601"/>
                      </a:cubicBezTo>
                      <a:cubicBezTo>
                        <a:pt x="361971" y="120122"/>
                        <a:pt x="371934" y="124901"/>
                        <a:pt x="373785" y="125979"/>
                      </a:cubicBezTo>
                      <a:cubicBezTo>
                        <a:pt x="375307" y="126892"/>
                        <a:pt x="377588" y="124673"/>
                        <a:pt x="378640" y="125459"/>
                      </a:cubicBezTo>
                      <a:cubicBezTo>
                        <a:pt x="378957" y="125687"/>
                        <a:pt x="383521" y="130555"/>
                        <a:pt x="382938" y="130416"/>
                      </a:cubicBezTo>
                      <a:cubicBezTo>
                        <a:pt x="378615" y="129338"/>
                        <a:pt x="390823" y="135638"/>
                        <a:pt x="387235" y="133369"/>
                      </a:cubicBezTo>
                      <a:cubicBezTo>
                        <a:pt x="386842" y="133116"/>
                        <a:pt x="391482" y="130669"/>
                        <a:pt x="392585" y="130847"/>
                      </a:cubicBezTo>
                      <a:cubicBezTo>
                        <a:pt x="394587" y="131164"/>
                        <a:pt x="392382" y="135588"/>
                        <a:pt x="395880" y="135689"/>
                      </a:cubicBezTo>
                      <a:cubicBezTo>
                        <a:pt x="396882" y="135715"/>
                        <a:pt x="398923" y="134003"/>
                        <a:pt x="398733" y="133965"/>
                      </a:cubicBezTo>
                      <a:cubicBezTo>
                        <a:pt x="403930" y="134662"/>
                        <a:pt x="409571" y="130238"/>
                        <a:pt x="413475" y="130479"/>
                      </a:cubicBezTo>
                      <a:cubicBezTo>
                        <a:pt x="422121" y="130986"/>
                        <a:pt x="426355" y="136995"/>
                        <a:pt x="432858" y="143257"/>
                      </a:cubicBezTo>
                      <a:cubicBezTo>
                        <a:pt x="431679" y="144296"/>
                        <a:pt x="429714" y="145830"/>
                        <a:pt x="428294" y="146553"/>
                      </a:cubicBezTo>
                      <a:cubicBezTo>
                        <a:pt x="428421" y="142040"/>
                        <a:pt x="426177" y="139403"/>
                        <a:pt x="423338" y="139822"/>
                      </a:cubicBezTo>
                      <a:cubicBezTo>
                        <a:pt x="423122" y="139911"/>
                        <a:pt x="421411" y="142966"/>
                        <a:pt x="421385" y="143041"/>
                      </a:cubicBezTo>
                      <a:cubicBezTo>
                        <a:pt x="420739" y="141875"/>
                        <a:pt x="421145" y="141330"/>
                        <a:pt x="420650" y="140100"/>
                      </a:cubicBezTo>
                      <a:cubicBezTo>
                        <a:pt x="420169" y="141419"/>
                        <a:pt x="420093" y="140582"/>
                        <a:pt x="420194" y="142674"/>
                      </a:cubicBezTo>
                      <a:cubicBezTo>
                        <a:pt x="417874" y="141089"/>
                        <a:pt x="418850" y="141292"/>
                        <a:pt x="415174" y="141089"/>
                      </a:cubicBezTo>
                      <a:cubicBezTo>
                        <a:pt x="424174" y="145539"/>
                        <a:pt x="408367" y="149798"/>
                        <a:pt x="406491" y="151129"/>
                      </a:cubicBezTo>
                      <a:cubicBezTo>
                        <a:pt x="406820" y="153500"/>
                        <a:pt x="406199" y="154045"/>
                        <a:pt x="406047" y="155325"/>
                      </a:cubicBezTo>
                      <a:cubicBezTo>
                        <a:pt x="403702" y="158330"/>
                        <a:pt x="400786" y="158139"/>
                        <a:pt x="398162" y="153791"/>
                      </a:cubicBezTo>
                      <a:cubicBezTo>
                        <a:pt x="398530" y="155515"/>
                        <a:pt x="398669" y="156212"/>
                        <a:pt x="399290" y="157391"/>
                      </a:cubicBezTo>
                      <a:cubicBezTo>
                        <a:pt x="396045" y="156834"/>
                        <a:pt x="391761" y="156694"/>
                        <a:pt x="389796" y="156377"/>
                      </a:cubicBezTo>
                      <a:cubicBezTo>
                        <a:pt x="390594" y="157189"/>
                        <a:pt x="391697" y="157759"/>
                        <a:pt x="392293" y="158469"/>
                      </a:cubicBezTo>
                      <a:cubicBezTo>
                        <a:pt x="385942" y="158203"/>
                        <a:pt x="384446" y="163907"/>
                        <a:pt x="388262" y="166392"/>
                      </a:cubicBezTo>
                      <a:cubicBezTo>
                        <a:pt x="384928" y="177864"/>
                        <a:pt x="388845" y="178954"/>
                        <a:pt x="375180" y="181160"/>
                      </a:cubicBezTo>
                      <a:cubicBezTo>
                        <a:pt x="375319" y="181679"/>
                        <a:pt x="376447" y="181578"/>
                        <a:pt x="376637" y="182199"/>
                      </a:cubicBezTo>
                      <a:cubicBezTo>
                        <a:pt x="373684" y="186497"/>
                        <a:pt x="369577" y="186421"/>
                        <a:pt x="364455" y="183758"/>
                      </a:cubicBezTo>
                      <a:cubicBezTo>
                        <a:pt x="366382" y="181844"/>
                        <a:pt x="368119" y="178828"/>
                        <a:pt x="370566" y="177471"/>
                      </a:cubicBezTo>
                      <a:cubicBezTo>
                        <a:pt x="368144" y="178346"/>
                        <a:pt x="367561" y="178878"/>
                        <a:pt x="365748" y="180146"/>
                      </a:cubicBezTo>
                      <a:cubicBezTo>
                        <a:pt x="365444" y="179575"/>
                        <a:pt x="366357" y="178257"/>
                        <a:pt x="365520" y="178004"/>
                      </a:cubicBezTo>
                      <a:cubicBezTo>
                        <a:pt x="365330" y="178802"/>
                        <a:pt x="364886" y="179436"/>
                        <a:pt x="364227" y="179879"/>
                      </a:cubicBezTo>
                      <a:cubicBezTo>
                        <a:pt x="363505" y="179512"/>
                        <a:pt x="363441" y="178865"/>
                        <a:pt x="363961" y="178004"/>
                      </a:cubicBezTo>
                      <a:cubicBezTo>
                        <a:pt x="363391" y="178194"/>
                        <a:pt x="363314" y="179740"/>
                        <a:pt x="362960" y="180640"/>
                      </a:cubicBezTo>
                      <a:cubicBezTo>
                        <a:pt x="362681" y="178308"/>
                        <a:pt x="362529" y="179334"/>
                        <a:pt x="361451" y="178004"/>
                      </a:cubicBezTo>
                      <a:cubicBezTo>
                        <a:pt x="361248" y="178422"/>
                        <a:pt x="362706" y="181033"/>
                        <a:pt x="362452" y="180640"/>
                      </a:cubicBezTo>
                      <a:cubicBezTo>
                        <a:pt x="362681" y="180767"/>
                        <a:pt x="358840" y="179144"/>
                        <a:pt x="359372" y="179055"/>
                      </a:cubicBezTo>
                      <a:cubicBezTo>
                        <a:pt x="365698" y="188043"/>
                        <a:pt x="351158" y="181984"/>
                        <a:pt x="348736" y="181185"/>
                      </a:cubicBezTo>
                      <a:cubicBezTo>
                        <a:pt x="351487" y="183087"/>
                        <a:pt x="353490" y="185863"/>
                        <a:pt x="355316" y="188018"/>
                      </a:cubicBezTo>
                      <a:cubicBezTo>
                        <a:pt x="354301" y="187232"/>
                        <a:pt x="351437" y="186193"/>
                        <a:pt x="350245" y="185406"/>
                      </a:cubicBezTo>
                      <a:cubicBezTo>
                        <a:pt x="350524" y="187637"/>
                        <a:pt x="349763" y="187625"/>
                        <a:pt x="349789" y="189628"/>
                      </a:cubicBezTo>
                      <a:cubicBezTo>
                        <a:pt x="346594" y="185800"/>
                        <a:pt x="347038" y="186193"/>
                        <a:pt x="342753" y="183873"/>
                      </a:cubicBezTo>
                      <a:cubicBezTo>
                        <a:pt x="346987" y="181883"/>
                        <a:pt x="346518" y="180640"/>
                        <a:pt x="343171" y="178498"/>
                      </a:cubicBezTo>
                      <a:cubicBezTo>
                        <a:pt x="343298" y="178435"/>
                        <a:pt x="343501" y="179575"/>
                        <a:pt x="343666" y="179575"/>
                      </a:cubicBezTo>
                      <a:cubicBezTo>
                        <a:pt x="339457" y="179284"/>
                        <a:pt x="339901" y="178941"/>
                        <a:pt x="338684" y="180158"/>
                      </a:cubicBezTo>
                      <a:cubicBezTo>
                        <a:pt x="336352" y="179411"/>
                        <a:pt x="335261" y="179246"/>
                        <a:pt x="333068" y="179055"/>
                      </a:cubicBezTo>
                      <a:cubicBezTo>
                        <a:pt x="334095" y="179639"/>
                        <a:pt x="335413" y="180133"/>
                        <a:pt x="336111" y="180640"/>
                      </a:cubicBezTo>
                      <a:cubicBezTo>
                        <a:pt x="335477" y="180399"/>
                        <a:pt x="334805" y="180235"/>
                        <a:pt x="334095" y="180158"/>
                      </a:cubicBezTo>
                      <a:cubicBezTo>
                        <a:pt x="336795" y="184722"/>
                        <a:pt x="342385" y="184063"/>
                        <a:pt x="340662" y="189602"/>
                      </a:cubicBezTo>
                      <a:cubicBezTo>
                        <a:pt x="340243" y="189450"/>
                        <a:pt x="338899" y="188031"/>
                        <a:pt x="338697" y="188018"/>
                      </a:cubicBezTo>
                      <a:cubicBezTo>
                        <a:pt x="338266" y="188550"/>
                        <a:pt x="337835" y="189070"/>
                        <a:pt x="337378" y="189602"/>
                      </a:cubicBezTo>
                      <a:cubicBezTo>
                        <a:pt x="340940" y="192645"/>
                        <a:pt x="342525" y="194280"/>
                        <a:pt x="338697" y="195370"/>
                      </a:cubicBezTo>
                      <a:cubicBezTo>
                        <a:pt x="341701" y="199021"/>
                        <a:pt x="343907" y="201189"/>
                        <a:pt x="345200" y="205359"/>
                      </a:cubicBezTo>
                      <a:cubicBezTo>
                        <a:pt x="342119" y="202989"/>
                        <a:pt x="339064" y="203052"/>
                        <a:pt x="334615" y="203800"/>
                      </a:cubicBezTo>
                      <a:cubicBezTo>
                        <a:pt x="340243" y="208313"/>
                        <a:pt x="332853" y="210645"/>
                        <a:pt x="328986" y="206475"/>
                      </a:cubicBezTo>
                      <a:cubicBezTo>
                        <a:pt x="334032" y="211026"/>
                        <a:pt x="330622" y="214575"/>
                        <a:pt x="323979" y="215843"/>
                      </a:cubicBezTo>
                      <a:cubicBezTo>
                        <a:pt x="325488" y="215577"/>
                        <a:pt x="326578" y="215957"/>
                        <a:pt x="328479" y="215374"/>
                      </a:cubicBezTo>
                      <a:cubicBezTo>
                        <a:pt x="328948" y="219152"/>
                        <a:pt x="327579" y="221408"/>
                        <a:pt x="323979" y="223778"/>
                      </a:cubicBezTo>
                      <a:cubicBezTo>
                        <a:pt x="329608" y="220673"/>
                        <a:pt x="330495" y="224095"/>
                        <a:pt x="328010" y="229052"/>
                      </a:cubicBezTo>
                      <a:cubicBezTo>
                        <a:pt x="327770" y="228722"/>
                        <a:pt x="327605" y="228342"/>
                        <a:pt x="327529" y="227961"/>
                      </a:cubicBezTo>
                      <a:cubicBezTo>
                        <a:pt x="327795" y="228532"/>
                        <a:pt x="327199" y="228392"/>
                        <a:pt x="326996" y="228494"/>
                      </a:cubicBezTo>
                      <a:cubicBezTo>
                        <a:pt x="329025" y="231752"/>
                        <a:pt x="328631" y="233717"/>
                        <a:pt x="328657" y="237038"/>
                      </a:cubicBezTo>
                      <a:cubicBezTo>
                        <a:pt x="326426" y="235669"/>
                        <a:pt x="324182" y="234642"/>
                        <a:pt x="322483" y="233653"/>
                      </a:cubicBezTo>
                      <a:cubicBezTo>
                        <a:pt x="322636" y="233932"/>
                        <a:pt x="322775" y="234211"/>
                        <a:pt x="322940" y="234490"/>
                      </a:cubicBezTo>
                      <a:cubicBezTo>
                        <a:pt x="334298" y="235491"/>
                        <a:pt x="321304" y="240904"/>
                        <a:pt x="314814" y="241602"/>
                      </a:cubicBezTo>
                      <a:cubicBezTo>
                        <a:pt x="314396" y="241031"/>
                        <a:pt x="315841" y="240816"/>
                        <a:pt x="315334" y="240549"/>
                      </a:cubicBezTo>
                      <a:cubicBezTo>
                        <a:pt x="311252" y="243845"/>
                        <a:pt x="305801" y="251629"/>
                        <a:pt x="300198" y="256281"/>
                      </a:cubicBezTo>
                      <a:cubicBezTo>
                        <a:pt x="301047" y="255052"/>
                        <a:pt x="300756" y="254506"/>
                        <a:pt x="300680" y="253619"/>
                      </a:cubicBezTo>
                      <a:cubicBezTo>
                        <a:pt x="299171" y="257891"/>
                        <a:pt x="297409" y="258170"/>
                        <a:pt x="293556" y="259944"/>
                      </a:cubicBezTo>
                      <a:cubicBezTo>
                        <a:pt x="293745" y="258221"/>
                        <a:pt x="293581" y="256648"/>
                        <a:pt x="294113" y="254709"/>
                      </a:cubicBezTo>
                      <a:cubicBezTo>
                        <a:pt x="292617" y="262328"/>
                        <a:pt x="289321" y="256243"/>
                        <a:pt x="285442" y="260033"/>
                      </a:cubicBezTo>
                      <a:cubicBezTo>
                        <a:pt x="281513" y="263811"/>
                        <a:pt x="281361" y="267779"/>
                        <a:pt x="280347" y="273039"/>
                      </a:cubicBezTo>
                      <a:cubicBezTo>
                        <a:pt x="279472" y="273204"/>
                        <a:pt x="277900" y="274054"/>
                        <a:pt x="275834" y="274599"/>
                      </a:cubicBezTo>
                      <a:cubicBezTo>
                        <a:pt x="276785" y="274510"/>
                        <a:pt x="278864" y="274332"/>
                        <a:pt x="280347" y="274091"/>
                      </a:cubicBezTo>
                      <a:cubicBezTo>
                        <a:pt x="276974" y="278947"/>
                        <a:pt x="272614" y="281761"/>
                        <a:pt x="272259" y="288771"/>
                      </a:cubicBezTo>
                      <a:cubicBezTo>
                        <a:pt x="269939" y="285513"/>
                        <a:pt x="272284" y="288416"/>
                        <a:pt x="270244" y="288771"/>
                      </a:cubicBezTo>
                      <a:cubicBezTo>
                        <a:pt x="270345" y="288758"/>
                        <a:pt x="271232" y="287339"/>
                        <a:pt x="271232" y="287148"/>
                      </a:cubicBezTo>
                      <a:cubicBezTo>
                        <a:pt x="273172" y="292409"/>
                        <a:pt x="272817" y="301549"/>
                        <a:pt x="268748" y="302385"/>
                      </a:cubicBezTo>
                      <a:cubicBezTo>
                        <a:pt x="269952" y="304616"/>
                        <a:pt x="270345" y="307900"/>
                        <a:pt x="271777" y="310194"/>
                      </a:cubicBezTo>
                      <a:cubicBezTo>
                        <a:pt x="271258" y="309852"/>
                        <a:pt x="270750" y="309510"/>
                        <a:pt x="270244" y="309155"/>
                      </a:cubicBezTo>
                      <a:cubicBezTo>
                        <a:pt x="272056" y="312603"/>
                        <a:pt x="265578" y="322934"/>
                        <a:pt x="263132" y="327422"/>
                      </a:cubicBezTo>
                      <a:cubicBezTo>
                        <a:pt x="261674" y="330008"/>
                        <a:pt x="256350" y="330261"/>
                        <a:pt x="257681" y="337068"/>
                      </a:cubicBezTo>
                      <a:cubicBezTo>
                        <a:pt x="258480" y="340986"/>
                        <a:pt x="262954" y="345080"/>
                        <a:pt x="263639" y="346221"/>
                      </a:cubicBezTo>
                      <a:cubicBezTo>
                        <a:pt x="262739" y="345689"/>
                        <a:pt x="262840" y="345080"/>
                        <a:pt x="261598" y="344662"/>
                      </a:cubicBezTo>
                      <a:cubicBezTo>
                        <a:pt x="267011" y="347907"/>
                        <a:pt x="267886" y="352851"/>
                        <a:pt x="267201" y="359265"/>
                      </a:cubicBezTo>
                      <a:cubicBezTo>
                        <a:pt x="267556" y="357212"/>
                        <a:pt x="268304" y="355475"/>
                        <a:pt x="268228" y="351963"/>
                      </a:cubicBezTo>
                      <a:cubicBezTo>
                        <a:pt x="272107" y="359290"/>
                        <a:pt x="275137" y="367099"/>
                        <a:pt x="280613" y="373780"/>
                      </a:cubicBezTo>
                      <a:cubicBezTo>
                        <a:pt x="283516" y="377279"/>
                        <a:pt x="292934" y="387470"/>
                        <a:pt x="292516" y="390006"/>
                      </a:cubicBezTo>
                      <a:cubicBezTo>
                        <a:pt x="299729" y="388244"/>
                        <a:pt x="307639" y="395152"/>
                        <a:pt x="311784" y="400945"/>
                      </a:cubicBezTo>
                      <a:cubicBezTo>
                        <a:pt x="310073" y="401212"/>
                        <a:pt x="309819" y="401503"/>
                        <a:pt x="308273" y="402010"/>
                      </a:cubicBezTo>
                      <a:cubicBezTo>
                        <a:pt x="309515" y="403658"/>
                        <a:pt x="309540" y="401123"/>
                        <a:pt x="310758" y="402010"/>
                      </a:cubicBezTo>
                      <a:cubicBezTo>
                        <a:pt x="310555" y="403265"/>
                        <a:pt x="310276" y="403950"/>
                        <a:pt x="311239" y="405142"/>
                      </a:cubicBezTo>
                      <a:cubicBezTo>
                        <a:pt x="313052" y="401402"/>
                        <a:pt x="314256" y="401782"/>
                        <a:pt x="317781" y="400286"/>
                      </a:cubicBezTo>
                      <a:cubicBezTo>
                        <a:pt x="315765" y="408551"/>
                        <a:pt x="330888" y="414243"/>
                        <a:pt x="317856" y="418617"/>
                      </a:cubicBezTo>
                      <a:cubicBezTo>
                        <a:pt x="319162" y="421976"/>
                        <a:pt x="320037" y="427515"/>
                        <a:pt x="322471" y="431597"/>
                      </a:cubicBezTo>
                      <a:cubicBezTo>
                        <a:pt x="318123" y="430064"/>
                        <a:pt x="312393" y="426717"/>
                        <a:pt x="306714" y="426945"/>
                      </a:cubicBezTo>
                      <a:cubicBezTo>
                        <a:pt x="309959" y="428530"/>
                        <a:pt x="314510" y="429810"/>
                        <a:pt x="317375" y="430609"/>
                      </a:cubicBezTo>
                      <a:cubicBezTo>
                        <a:pt x="312152" y="432814"/>
                        <a:pt x="316145" y="429987"/>
                        <a:pt x="315841" y="433714"/>
                      </a:cubicBezTo>
                      <a:cubicBezTo>
                        <a:pt x="315866" y="433664"/>
                        <a:pt x="315232" y="432181"/>
                        <a:pt x="314814" y="432168"/>
                      </a:cubicBezTo>
                      <a:cubicBezTo>
                        <a:pt x="325513" y="428999"/>
                        <a:pt x="334704" y="453224"/>
                        <a:pt x="342106" y="460031"/>
                      </a:cubicBezTo>
                      <a:cubicBezTo>
                        <a:pt x="347710" y="465203"/>
                        <a:pt x="385219" y="488249"/>
                        <a:pt x="370020" y="495436"/>
                      </a:cubicBezTo>
                      <a:cubicBezTo>
                        <a:pt x="379388" y="488021"/>
                        <a:pt x="397389" y="511624"/>
                        <a:pt x="406516" y="517189"/>
                      </a:cubicBezTo>
                      <a:cubicBezTo>
                        <a:pt x="401471" y="515719"/>
                        <a:pt x="397389" y="512144"/>
                        <a:pt x="392318" y="512030"/>
                      </a:cubicBezTo>
                      <a:cubicBezTo>
                        <a:pt x="397782" y="514743"/>
                        <a:pt x="402548" y="516708"/>
                        <a:pt x="406516" y="519306"/>
                      </a:cubicBezTo>
                      <a:cubicBezTo>
                        <a:pt x="405198" y="517886"/>
                        <a:pt x="405172" y="519306"/>
                        <a:pt x="404513" y="519838"/>
                      </a:cubicBezTo>
                      <a:cubicBezTo>
                        <a:pt x="405705" y="520206"/>
                        <a:pt x="407442" y="519611"/>
                        <a:pt x="408582" y="519306"/>
                      </a:cubicBezTo>
                      <a:cubicBezTo>
                        <a:pt x="407974" y="521740"/>
                        <a:pt x="407708" y="520916"/>
                        <a:pt x="408582" y="523439"/>
                      </a:cubicBezTo>
                      <a:cubicBezTo>
                        <a:pt x="409178" y="523071"/>
                        <a:pt x="410345" y="521956"/>
                        <a:pt x="411117" y="521702"/>
                      </a:cubicBezTo>
                      <a:cubicBezTo>
                        <a:pt x="414477" y="525290"/>
                        <a:pt x="417887" y="529219"/>
                        <a:pt x="421741" y="532299"/>
                      </a:cubicBezTo>
                      <a:cubicBezTo>
                        <a:pt x="420422" y="532236"/>
                        <a:pt x="420055" y="532325"/>
                        <a:pt x="418419" y="531716"/>
                      </a:cubicBezTo>
                      <a:cubicBezTo>
                        <a:pt x="418166" y="539424"/>
                        <a:pt x="428712" y="543290"/>
                        <a:pt x="428294" y="534303"/>
                      </a:cubicBezTo>
                      <a:cubicBezTo>
                        <a:pt x="433162" y="536496"/>
                        <a:pt x="432769" y="535773"/>
                        <a:pt x="436648" y="534809"/>
                      </a:cubicBezTo>
                      <a:cubicBezTo>
                        <a:pt x="437700" y="537573"/>
                        <a:pt x="439462" y="540375"/>
                        <a:pt x="440451" y="543100"/>
                      </a:cubicBezTo>
                      <a:cubicBezTo>
                        <a:pt x="440020" y="542973"/>
                        <a:pt x="437751" y="541477"/>
                        <a:pt x="437320" y="541173"/>
                      </a:cubicBezTo>
                      <a:cubicBezTo>
                        <a:pt x="439184" y="544279"/>
                        <a:pt x="443722" y="544558"/>
                        <a:pt x="448564" y="544596"/>
                      </a:cubicBezTo>
                      <a:cubicBezTo>
                        <a:pt x="435900" y="552569"/>
                        <a:pt x="455473" y="552519"/>
                        <a:pt x="448082" y="560670"/>
                      </a:cubicBezTo>
                      <a:cubicBezTo>
                        <a:pt x="448856" y="560594"/>
                        <a:pt x="452811" y="560112"/>
                        <a:pt x="452608" y="560162"/>
                      </a:cubicBezTo>
                      <a:cubicBezTo>
                        <a:pt x="451175" y="551530"/>
                        <a:pt x="449071" y="547245"/>
                        <a:pt x="457983" y="549248"/>
                      </a:cubicBezTo>
                      <a:cubicBezTo>
                        <a:pt x="457932" y="549451"/>
                        <a:pt x="459770" y="551074"/>
                        <a:pt x="459225" y="550795"/>
                      </a:cubicBezTo>
                      <a:cubicBezTo>
                        <a:pt x="447119" y="554382"/>
                        <a:pt x="455739" y="563332"/>
                        <a:pt x="462737" y="569949"/>
                      </a:cubicBezTo>
                      <a:cubicBezTo>
                        <a:pt x="462483" y="569404"/>
                        <a:pt x="461304" y="570633"/>
                        <a:pt x="461190" y="570798"/>
                      </a:cubicBezTo>
                      <a:cubicBezTo>
                        <a:pt x="466362" y="569188"/>
                        <a:pt x="472459" y="597672"/>
                        <a:pt x="484007" y="597292"/>
                      </a:cubicBezTo>
                      <a:cubicBezTo>
                        <a:pt x="479660" y="598965"/>
                        <a:pt x="478303" y="605798"/>
                        <a:pt x="485009" y="599333"/>
                      </a:cubicBezTo>
                      <a:cubicBezTo>
                        <a:pt x="486327" y="604670"/>
                        <a:pt x="491525" y="606229"/>
                        <a:pt x="490587" y="611769"/>
                      </a:cubicBezTo>
                      <a:cubicBezTo>
                        <a:pt x="490967" y="611579"/>
                        <a:pt x="493984" y="609893"/>
                        <a:pt x="494174" y="609715"/>
                      </a:cubicBezTo>
                      <a:cubicBezTo>
                        <a:pt x="492171" y="606952"/>
                        <a:pt x="493109" y="607066"/>
                        <a:pt x="492615" y="603960"/>
                      </a:cubicBezTo>
                      <a:cubicBezTo>
                        <a:pt x="493414" y="604606"/>
                        <a:pt x="493908" y="604302"/>
                        <a:pt x="494643" y="603960"/>
                      </a:cubicBezTo>
                      <a:cubicBezTo>
                        <a:pt x="496836" y="609068"/>
                        <a:pt x="497939" y="615597"/>
                        <a:pt x="503821" y="617423"/>
                      </a:cubicBezTo>
                      <a:cubicBezTo>
                        <a:pt x="502160" y="618399"/>
                        <a:pt x="502300" y="618931"/>
                        <a:pt x="500259" y="619463"/>
                      </a:cubicBezTo>
                      <a:cubicBezTo>
                        <a:pt x="500233" y="619438"/>
                        <a:pt x="502300" y="620287"/>
                        <a:pt x="501844" y="621061"/>
                      </a:cubicBezTo>
                      <a:cubicBezTo>
                        <a:pt x="500107" y="622151"/>
                        <a:pt x="499955" y="623583"/>
                        <a:pt x="497255" y="624762"/>
                      </a:cubicBezTo>
                      <a:cubicBezTo>
                        <a:pt x="498826" y="625041"/>
                        <a:pt x="499232" y="626626"/>
                        <a:pt x="500259" y="627209"/>
                      </a:cubicBezTo>
                      <a:cubicBezTo>
                        <a:pt x="500512" y="626752"/>
                        <a:pt x="500132" y="625510"/>
                        <a:pt x="500741" y="625193"/>
                      </a:cubicBezTo>
                      <a:cubicBezTo>
                        <a:pt x="500969" y="631139"/>
                        <a:pt x="507954" y="646363"/>
                        <a:pt x="506331" y="648518"/>
                      </a:cubicBezTo>
                      <a:cubicBezTo>
                        <a:pt x="510172" y="651586"/>
                        <a:pt x="513797" y="655947"/>
                        <a:pt x="514406" y="661220"/>
                      </a:cubicBezTo>
                      <a:cubicBezTo>
                        <a:pt x="514076" y="661626"/>
                        <a:pt x="512999" y="659838"/>
                        <a:pt x="513024" y="659838"/>
                      </a:cubicBezTo>
                      <a:cubicBezTo>
                        <a:pt x="514000" y="664148"/>
                        <a:pt x="513785" y="667305"/>
                        <a:pt x="512365" y="669979"/>
                      </a:cubicBezTo>
                      <a:cubicBezTo>
                        <a:pt x="512631" y="669662"/>
                        <a:pt x="512973" y="668331"/>
                        <a:pt x="512898" y="667901"/>
                      </a:cubicBezTo>
                      <a:cubicBezTo>
                        <a:pt x="517347" y="678283"/>
                        <a:pt x="518424" y="692962"/>
                        <a:pt x="525080" y="701303"/>
                      </a:cubicBezTo>
                      <a:cubicBezTo>
                        <a:pt x="523571" y="700403"/>
                        <a:pt x="521733" y="699503"/>
                        <a:pt x="520300" y="698400"/>
                      </a:cubicBezTo>
                      <a:cubicBezTo>
                        <a:pt x="523203" y="703331"/>
                        <a:pt x="535271" y="727201"/>
                        <a:pt x="527349" y="729610"/>
                      </a:cubicBezTo>
                      <a:cubicBezTo>
                        <a:pt x="527919" y="725857"/>
                        <a:pt x="526778" y="723031"/>
                        <a:pt x="525992" y="719469"/>
                      </a:cubicBezTo>
                      <a:cubicBezTo>
                        <a:pt x="523343" y="723170"/>
                        <a:pt x="523343" y="726124"/>
                        <a:pt x="526550" y="727974"/>
                      </a:cubicBezTo>
                      <a:cubicBezTo>
                        <a:pt x="520516" y="734845"/>
                        <a:pt x="529985" y="741652"/>
                        <a:pt x="529161" y="746457"/>
                      </a:cubicBezTo>
                      <a:cubicBezTo>
                        <a:pt x="527577" y="743262"/>
                        <a:pt x="524927" y="740245"/>
                        <a:pt x="523039" y="737736"/>
                      </a:cubicBezTo>
                      <a:cubicBezTo>
                        <a:pt x="525219" y="742020"/>
                        <a:pt x="526284" y="747674"/>
                        <a:pt x="530645" y="747027"/>
                      </a:cubicBezTo>
                      <a:cubicBezTo>
                        <a:pt x="531874" y="751185"/>
                        <a:pt x="533687" y="755381"/>
                        <a:pt x="527615" y="753898"/>
                      </a:cubicBezTo>
                      <a:cubicBezTo>
                        <a:pt x="530353" y="743681"/>
                        <a:pt x="518374" y="758753"/>
                        <a:pt x="529542" y="758867"/>
                      </a:cubicBezTo>
                      <a:cubicBezTo>
                        <a:pt x="529440" y="760971"/>
                        <a:pt x="529960" y="761922"/>
                        <a:pt x="529174" y="763887"/>
                      </a:cubicBezTo>
                      <a:cubicBezTo>
                        <a:pt x="527133" y="765231"/>
                        <a:pt x="526030" y="762987"/>
                        <a:pt x="529174" y="768539"/>
                      </a:cubicBezTo>
                      <a:cubicBezTo>
                        <a:pt x="529542" y="766473"/>
                        <a:pt x="529757" y="765091"/>
                        <a:pt x="529884" y="763469"/>
                      </a:cubicBezTo>
                      <a:cubicBezTo>
                        <a:pt x="531798" y="768108"/>
                        <a:pt x="529783" y="773673"/>
                        <a:pt x="531938" y="779150"/>
                      </a:cubicBezTo>
                      <a:cubicBezTo>
                        <a:pt x="533991" y="784499"/>
                        <a:pt x="546756" y="792916"/>
                        <a:pt x="539265" y="797721"/>
                      </a:cubicBezTo>
                      <a:cubicBezTo>
                        <a:pt x="539455" y="797188"/>
                        <a:pt x="540748" y="796111"/>
                        <a:pt x="540621" y="795363"/>
                      </a:cubicBezTo>
                      <a:cubicBezTo>
                        <a:pt x="527678" y="799521"/>
                        <a:pt x="544868" y="810385"/>
                        <a:pt x="539974" y="818675"/>
                      </a:cubicBezTo>
                      <a:cubicBezTo>
                        <a:pt x="537781" y="815100"/>
                        <a:pt x="537224" y="813059"/>
                        <a:pt x="537249" y="809485"/>
                      </a:cubicBezTo>
                      <a:cubicBezTo>
                        <a:pt x="536425" y="810638"/>
                        <a:pt x="536869" y="810537"/>
                        <a:pt x="535234" y="810537"/>
                      </a:cubicBezTo>
                      <a:cubicBezTo>
                        <a:pt x="535284" y="810486"/>
                        <a:pt x="535474" y="812654"/>
                        <a:pt x="535234" y="813110"/>
                      </a:cubicBezTo>
                      <a:cubicBezTo>
                        <a:pt x="534929" y="812121"/>
                        <a:pt x="533788" y="811221"/>
                        <a:pt x="532711" y="811538"/>
                      </a:cubicBezTo>
                      <a:cubicBezTo>
                        <a:pt x="536222" y="808572"/>
                        <a:pt x="536463" y="805174"/>
                        <a:pt x="533966" y="801283"/>
                      </a:cubicBezTo>
                      <a:cubicBezTo>
                        <a:pt x="528489" y="806442"/>
                        <a:pt x="519781" y="811893"/>
                        <a:pt x="523051" y="820272"/>
                      </a:cubicBezTo>
                      <a:cubicBezTo>
                        <a:pt x="523698" y="818954"/>
                        <a:pt x="524357" y="817344"/>
                        <a:pt x="524585" y="816672"/>
                      </a:cubicBezTo>
                      <a:cubicBezTo>
                        <a:pt x="524002" y="820894"/>
                        <a:pt x="530429" y="829184"/>
                        <a:pt x="532724" y="832531"/>
                      </a:cubicBezTo>
                      <a:cubicBezTo>
                        <a:pt x="527184" y="837550"/>
                        <a:pt x="526398" y="826750"/>
                        <a:pt x="519008" y="826877"/>
                      </a:cubicBezTo>
                      <a:cubicBezTo>
                        <a:pt x="518982" y="827219"/>
                        <a:pt x="520085" y="828056"/>
                        <a:pt x="520034" y="828448"/>
                      </a:cubicBezTo>
                      <a:cubicBezTo>
                        <a:pt x="519971" y="828639"/>
                        <a:pt x="518767" y="827625"/>
                        <a:pt x="518500" y="827942"/>
                      </a:cubicBezTo>
                      <a:cubicBezTo>
                        <a:pt x="521771" y="830477"/>
                        <a:pt x="523723" y="834597"/>
                        <a:pt x="525333" y="838666"/>
                      </a:cubicBezTo>
                      <a:cubicBezTo>
                        <a:pt x="522620" y="839313"/>
                        <a:pt x="523457" y="840403"/>
                        <a:pt x="520541" y="840174"/>
                      </a:cubicBezTo>
                      <a:cubicBezTo>
                        <a:pt x="522887" y="842304"/>
                        <a:pt x="522012" y="843534"/>
                        <a:pt x="524027" y="845816"/>
                      </a:cubicBezTo>
                      <a:cubicBezTo>
                        <a:pt x="521860" y="845321"/>
                        <a:pt x="522316" y="845980"/>
                        <a:pt x="521061" y="846335"/>
                      </a:cubicBezTo>
                      <a:cubicBezTo>
                        <a:pt x="521441" y="846221"/>
                        <a:pt x="521606" y="846069"/>
                        <a:pt x="521518" y="845816"/>
                      </a:cubicBezTo>
                      <a:cubicBezTo>
                        <a:pt x="525625" y="850772"/>
                        <a:pt x="528147" y="865084"/>
                        <a:pt x="529174" y="870395"/>
                      </a:cubicBezTo>
                      <a:cubicBezTo>
                        <a:pt x="520833" y="871625"/>
                        <a:pt x="523355" y="857693"/>
                        <a:pt x="520491" y="851140"/>
                      </a:cubicBezTo>
                      <a:cubicBezTo>
                        <a:pt x="520174" y="851570"/>
                        <a:pt x="519793" y="851989"/>
                        <a:pt x="519502" y="852433"/>
                      </a:cubicBezTo>
                      <a:cubicBezTo>
                        <a:pt x="522202" y="858086"/>
                        <a:pt x="521568" y="860254"/>
                        <a:pt x="521188" y="866136"/>
                      </a:cubicBezTo>
                      <a:cubicBezTo>
                        <a:pt x="521074" y="867809"/>
                        <a:pt x="514051" y="879269"/>
                        <a:pt x="522557" y="870624"/>
                      </a:cubicBezTo>
                      <a:cubicBezTo>
                        <a:pt x="520123" y="878014"/>
                        <a:pt x="525143" y="878635"/>
                        <a:pt x="521454" y="885569"/>
                      </a:cubicBezTo>
                      <a:cubicBezTo>
                        <a:pt x="518830" y="890525"/>
                        <a:pt x="513696" y="897371"/>
                        <a:pt x="510641" y="887737"/>
                      </a:cubicBezTo>
                      <a:cubicBezTo>
                        <a:pt x="510058" y="887876"/>
                        <a:pt x="509462" y="888003"/>
                        <a:pt x="508930" y="888155"/>
                      </a:cubicBezTo>
                      <a:cubicBezTo>
                        <a:pt x="509830" y="890792"/>
                        <a:pt x="509779" y="891971"/>
                        <a:pt x="510413" y="894861"/>
                      </a:cubicBezTo>
                      <a:cubicBezTo>
                        <a:pt x="510172" y="895000"/>
                        <a:pt x="508423" y="894658"/>
                        <a:pt x="508321" y="894861"/>
                      </a:cubicBezTo>
                      <a:cubicBezTo>
                        <a:pt x="509386" y="897396"/>
                        <a:pt x="510730" y="906435"/>
                        <a:pt x="508752" y="908767"/>
                      </a:cubicBezTo>
                      <a:cubicBezTo>
                        <a:pt x="504658" y="913610"/>
                        <a:pt x="502376" y="909122"/>
                        <a:pt x="498649" y="910555"/>
                      </a:cubicBezTo>
                      <a:cubicBezTo>
                        <a:pt x="493908" y="912355"/>
                        <a:pt x="492970" y="914687"/>
                        <a:pt x="489294" y="917032"/>
                      </a:cubicBezTo>
                      <a:cubicBezTo>
                        <a:pt x="487950" y="917856"/>
                        <a:pt x="488521" y="920822"/>
                        <a:pt x="486517" y="921951"/>
                      </a:cubicBezTo>
                      <a:cubicBezTo>
                        <a:pt x="485199" y="922673"/>
                        <a:pt x="483475" y="920506"/>
                        <a:pt x="482461" y="920987"/>
                      </a:cubicBezTo>
                      <a:cubicBezTo>
                        <a:pt x="479989" y="922192"/>
                        <a:pt x="477150" y="921963"/>
                        <a:pt x="474830" y="923193"/>
                      </a:cubicBezTo>
                      <a:cubicBezTo>
                        <a:pt x="470672" y="925411"/>
                        <a:pt x="472016" y="928061"/>
                        <a:pt x="469113" y="930520"/>
                      </a:cubicBezTo>
                      <a:cubicBezTo>
                        <a:pt x="467211" y="932092"/>
                        <a:pt x="462584" y="931902"/>
                        <a:pt x="461000" y="933461"/>
                      </a:cubicBezTo>
                      <a:cubicBezTo>
                        <a:pt x="458401" y="936034"/>
                        <a:pt x="458249" y="939470"/>
                        <a:pt x="455194" y="941777"/>
                      </a:cubicBezTo>
                      <a:cubicBezTo>
                        <a:pt x="450072" y="932548"/>
                        <a:pt x="440426" y="943856"/>
                        <a:pt x="436914" y="948609"/>
                      </a:cubicBezTo>
                      <a:cubicBezTo>
                        <a:pt x="435279" y="950777"/>
                        <a:pt x="436052" y="955898"/>
                        <a:pt x="433340" y="957635"/>
                      </a:cubicBezTo>
                      <a:cubicBezTo>
                        <a:pt x="432325" y="958332"/>
                        <a:pt x="429473" y="955518"/>
                        <a:pt x="428142" y="956114"/>
                      </a:cubicBezTo>
                      <a:cubicBezTo>
                        <a:pt x="424352" y="957851"/>
                        <a:pt x="419700" y="959625"/>
                        <a:pt x="415681" y="961514"/>
                      </a:cubicBezTo>
                      <a:cubicBezTo>
                        <a:pt x="405958" y="966027"/>
                        <a:pt x="381036" y="984383"/>
                        <a:pt x="373633" y="979502"/>
                      </a:cubicBezTo>
                      <a:cubicBezTo>
                        <a:pt x="376612" y="973683"/>
                        <a:pt x="368955" y="973291"/>
                        <a:pt x="363974" y="973874"/>
                      </a:cubicBezTo>
                      <a:cubicBezTo>
                        <a:pt x="364608" y="974254"/>
                        <a:pt x="363606" y="971452"/>
                        <a:pt x="363974" y="971845"/>
                      </a:cubicBezTo>
                      <a:cubicBezTo>
                        <a:pt x="363733" y="971997"/>
                        <a:pt x="362123" y="974140"/>
                        <a:pt x="361920" y="974368"/>
                      </a:cubicBezTo>
                      <a:cubicBezTo>
                        <a:pt x="361628" y="973722"/>
                        <a:pt x="361464" y="973062"/>
                        <a:pt x="361464" y="972340"/>
                      </a:cubicBezTo>
                      <a:cubicBezTo>
                        <a:pt x="360906" y="972872"/>
                        <a:pt x="359562" y="973620"/>
                        <a:pt x="358954" y="973874"/>
                      </a:cubicBezTo>
                      <a:cubicBezTo>
                        <a:pt x="362351" y="971098"/>
                        <a:pt x="363454" y="966306"/>
                        <a:pt x="360399" y="962199"/>
                      </a:cubicBezTo>
                      <a:cubicBezTo>
                        <a:pt x="360538" y="962744"/>
                        <a:pt x="360678" y="960132"/>
                        <a:pt x="358383" y="957622"/>
                      </a:cubicBezTo>
                      <a:cubicBezTo>
                        <a:pt x="360424" y="961704"/>
                        <a:pt x="360589" y="965393"/>
                        <a:pt x="361464" y="969817"/>
                      </a:cubicBezTo>
                      <a:cubicBezTo>
                        <a:pt x="359943" y="967016"/>
                        <a:pt x="359613" y="967713"/>
                        <a:pt x="359385" y="963175"/>
                      </a:cubicBezTo>
                      <a:cubicBezTo>
                        <a:pt x="359004" y="966597"/>
                        <a:pt x="359144" y="967345"/>
                        <a:pt x="360399" y="970831"/>
                      </a:cubicBezTo>
                      <a:cubicBezTo>
                        <a:pt x="359778" y="971858"/>
                        <a:pt x="357851" y="974001"/>
                        <a:pt x="356850" y="974938"/>
                      </a:cubicBezTo>
                      <a:cubicBezTo>
                        <a:pt x="356457" y="971757"/>
                        <a:pt x="355556" y="965723"/>
                        <a:pt x="353414" y="963340"/>
                      </a:cubicBezTo>
                      <a:cubicBezTo>
                        <a:pt x="353161" y="963048"/>
                        <a:pt x="342119" y="958903"/>
                        <a:pt x="342601" y="958687"/>
                      </a:cubicBezTo>
                      <a:cubicBezTo>
                        <a:pt x="339888" y="959980"/>
                        <a:pt x="344110" y="975991"/>
                        <a:pt x="334108" y="970831"/>
                      </a:cubicBezTo>
                      <a:cubicBezTo>
                        <a:pt x="334184" y="970362"/>
                        <a:pt x="334564" y="973329"/>
                        <a:pt x="335046" y="972885"/>
                      </a:cubicBezTo>
                      <a:cubicBezTo>
                        <a:pt x="333778" y="974419"/>
                        <a:pt x="331141" y="975471"/>
                        <a:pt x="329557" y="976967"/>
                      </a:cubicBezTo>
                      <a:cubicBezTo>
                        <a:pt x="329772" y="977170"/>
                        <a:pt x="328543" y="973531"/>
                        <a:pt x="328479" y="973367"/>
                      </a:cubicBezTo>
                      <a:cubicBezTo>
                        <a:pt x="329912" y="978399"/>
                        <a:pt x="330558" y="977398"/>
                        <a:pt x="334095" y="974381"/>
                      </a:cubicBezTo>
                      <a:cubicBezTo>
                        <a:pt x="337923" y="979819"/>
                        <a:pt x="337442" y="972746"/>
                        <a:pt x="339749" y="974609"/>
                      </a:cubicBezTo>
                      <a:cubicBezTo>
                        <a:pt x="342284" y="976612"/>
                        <a:pt x="346264" y="983406"/>
                        <a:pt x="344414" y="986816"/>
                      </a:cubicBezTo>
                      <a:cubicBezTo>
                        <a:pt x="341612" y="992039"/>
                        <a:pt x="322711" y="987032"/>
                        <a:pt x="316830" y="986056"/>
                      </a:cubicBezTo>
                      <a:cubicBezTo>
                        <a:pt x="317184" y="986322"/>
                        <a:pt x="362034" y="1002295"/>
                        <a:pt x="337670" y="1005971"/>
                      </a:cubicBezTo>
                      <a:cubicBezTo>
                        <a:pt x="337670" y="1005933"/>
                        <a:pt x="337746" y="1003803"/>
                        <a:pt x="337670" y="1003385"/>
                      </a:cubicBezTo>
                      <a:cubicBezTo>
                        <a:pt x="335882" y="1006757"/>
                        <a:pt x="335844" y="1011143"/>
                        <a:pt x="331230" y="1011510"/>
                      </a:cubicBezTo>
                      <a:cubicBezTo>
                        <a:pt x="319783" y="1012372"/>
                        <a:pt x="316069" y="993078"/>
                        <a:pt x="307234" y="990176"/>
                      </a:cubicBezTo>
                      <a:cubicBezTo>
                        <a:pt x="313153" y="994410"/>
                        <a:pt x="314421" y="1002117"/>
                        <a:pt x="320176" y="1007340"/>
                      </a:cubicBezTo>
                      <a:cubicBezTo>
                        <a:pt x="324537" y="1011282"/>
                        <a:pt x="340421" y="1014743"/>
                        <a:pt x="335033" y="1021259"/>
                      </a:cubicBezTo>
                      <a:cubicBezTo>
                        <a:pt x="335603" y="1019649"/>
                        <a:pt x="335730" y="1019332"/>
                        <a:pt x="334602" y="1018242"/>
                      </a:cubicBezTo>
                      <a:cubicBezTo>
                        <a:pt x="330673" y="1032351"/>
                        <a:pt x="299539" y="994980"/>
                        <a:pt x="294595" y="991722"/>
                      </a:cubicBezTo>
                      <a:cubicBezTo>
                        <a:pt x="294392" y="991912"/>
                        <a:pt x="294215" y="992052"/>
                        <a:pt x="294012" y="992217"/>
                      </a:cubicBezTo>
                      <a:cubicBezTo>
                        <a:pt x="302733" y="999721"/>
                        <a:pt x="329861" y="1024364"/>
                        <a:pt x="328251" y="1034734"/>
                      </a:cubicBezTo>
                      <a:cubicBezTo>
                        <a:pt x="323675" y="1064105"/>
                        <a:pt x="281145" y="1011371"/>
                        <a:pt x="272259" y="1009000"/>
                      </a:cubicBezTo>
                      <a:cubicBezTo>
                        <a:pt x="277837" y="1016086"/>
                        <a:pt x="310098" y="1042656"/>
                        <a:pt x="298132" y="1052772"/>
                      </a:cubicBezTo>
                      <a:cubicBezTo>
                        <a:pt x="302619" y="1058642"/>
                        <a:pt x="274579" y="1065550"/>
                        <a:pt x="267886" y="1068149"/>
                      </a:cubicBezTo>
                      <a:cubicBezTo>
                        <a:pt x="256274" y="1072649"/>
                        <a:pt x="248135" y="1075653"/>
                        <a:pt x="241899" y="1085085"/>
                      </a:cubicBezTo>
                      <a:cubicBezTo>
                        <a:pt x="232214" y="1099815"/>
                        <a:pt x="211209" y="1125130"/>
                        <a:pt x="191003" y="1112415"/>
                      </a:cubicBezTo>
                      <a:cubicBezTo>
                        <a:pt x="195502" y="1112175"/>
                        <a:pt x="199901" y="1110146"/>
                        <a:pt x="198342" y="1106698"/>
                      </a:cubicBezTo>
                      <a:cubicBezTo>
                        <a:pt x="202094" y="1107586"/>
                        <a:pt x="205999" y="1107066"/>
                        <a:pt x="208978" y="1104581"/>
                      </a:cubicBezTo>
                      <a:cubicBezTo>
                        <a:pt x="204490" y="1106001"/>
                        <a:pt x="203970" y="1105152"/>
                        <a:pt x="200484" y="1104277"/>
                      </a:cubicBezTo>
                      <a:cubicBezTo>
                        <a:pt x="205048" y="1104340"/>
                        <a:pt x="207064" y="1102452"/>
                        <a:pt x="205859" y="1097926"/>
                      </a:cubicBezTo>
                      <a:cubicBezTo>
                        <a:pt x="193145" y="1107890"/>
                        <a:pt x="197024" y="1093046"/>
                        <a:pt x="197645" y="1087037"/>
                      </a:cubicBezTo>
                      <a:cubicBezTo>
                        <a:pt x="198761" y="1076300"/>
                        <a:pt x="198330" y="1064917"/>
                        <a:pt x="198836" y="1054053"/>
                      </a:cubicBezTo>
                      <a:cubicBezTo>
                        <a:pt x="199255" y="1044926"/>
                        <a:pt x="197746" y="1028041"/>
                        <a:pt x="203768" y="1020675"/>
                      </a:cubicBezTo>
                      <a:cubicBezTo>
                        <a:pt x="202906" y="1021753"/>
                        <a:pt x="211678" y="1017773"/>
                        <a:pt x="211222" y="1017925"/>
                      </a:cubicBezTo>
                      <a:cubicBezTo>
                        <a:pt x="216267" y="1016251"/>
                        <a:pt x="219081" y="1010243"/>
                        <a:pt x="220057" y="1020206"/>
                      </a:cubicBezTo>
                      <a:cubicBezTo>
                        <a:pt x="221464" y="1005540"/>
                        <a:pt x="210068" y="1004374"/>
                        <a:pt x="201118" y="999835"/>
                      </a:cubicBezTo>
                      <a:cubicBezTo>
                        <a:pt x="195376" y="996907"/>
                        <a:pt x="198215" y="992648"/>
                        <a:pt x="190102" y="993117"/>
                      </a:cubicBezTo>
                      <a:cubicBezTo>
                        <a:pt x="188214" y="993218"/>
                        <a:pt x="185590" y="998200"/>
                        <a:pt x="183080" y="998884"/>
                      </a:cubicBezTo>
                      <a:cubicBezTo>
                        <a:pt x="182573" y="994359"/>
                        <a:pt x="181559" y="988591"/>
                        <a:pt x="177515" y="988654"/>
                      </a:cubicBezTo>
                      <a:cubicBezTo>
                        <a:pt x="175170" y="985130"/>
                        <a:pt x="174903" y="981391"/>
                        <a:pt x="176589" y="978475"/>
                      </a:cubicBezTo>
                      <a:cubicBezTo>
                        <a:pt x="174954" y="979451"/>
                        <a:pt x="173103" y="980440"/>
                        <a:pt x="171316" y="981391"/>
                      </a:cubicBezTo>
                      <a:cubicBezTo>
                        <a:pt x="171569" y="980732"/>
                        <a:pt x="171518" y="979008"/>
                        <a:pt x="171126" y="978412"/>
                      </a:cubicBezTo>
                      <a:cubicBezTo>
                        <a:pt x="175981" y="977677"/>
                        <a:pt x="175119" y="972581"/>
                        <a:pt x="178757" y="971098"/>
                      </a:cubicBezTo>
                      <a:cubicBezTo>
                        <a:pt x="182966" y="969373"/>
                        <a:pt x="185919" y="971072"/>
                        <a:pt x="190457" y="970768"/>
                      </a:cubicBezTo>
                      <a:cubicBezTo>
                        <a:pt x="201765" y="970045"/>
                        <a:pt x="199191" y="969120"/>
                        <a:pt x="207571" y="961920"/>
                      </a:cubicBezTo>
                      <a:cubicBezTo>
                        <a:pt x="211767" y="958345"/>
                        <a:pt x="215684" y="959562"/>
                        <a:pt x="216584" y="954149"/>
                      </a:cubicBezTo>
                      <a:cubicBezTo>
                        <a:pt x="217217" y="950448"/>
                        <a:pt x="210638" y="947228"/>
                        <a:pt x="213022" y="942740"/>
                      </a:cubicBezTo>
                      <a:cubicBezTo>
                        <a:pt x="216102" y="936934"/>
                        <a:pt x="222859" y="942233"/>
                        <a:pt x="227993" y="943488"/>
                      </a:cubicBezTo>
                      <a:cubicBezTo>
                        <a:pt x="231124" y="944249"/>
                        <a:pt x="233405" y="947190"/>
                        <a:pt x="235915" y="946569"/>
                      </a:cubicBezTo>
                      <a:cubicBezTo>
                        <a:pt x="236841" y="946328"/>
                        <a:pt x="241480" y="939381"/>
                        <a:pt x="243445" y="938455"/>
                      </a:cubicBezTo>
                      <a:cubicBezTo>
                        <a:pt x="245385" y="937594"/>
                        <a:pt x="258188" y="935920"/>
                        <a:pt x="261179" y="935768"/>
                      </a:cubicBezTo>
                      <a:cubicBezTo>
                        <a:pt x="269622" y="935312"/>
                        <a:pt x="265578" y="935210"/>
                        <a:pt x="272462" y="941244"/>
                      </a:cubicBezTo>
                      <a:cubicBezTo>
                        <a:pt x="275415" y="943818"/>
                        <a:pt x="278407" y="953312"/>
                        <a:pt x="280549" y="942981"/>
                      </a:cubicBezTo>
                      <a:cubicBezTo>
                        <a:pt x="286152" y="949066"/>
                        <a:pt x="291971" y="949332"/>
                        <a:pt x="298766" y="952628"/>
                      </a:cubicBezTo>
                      <a:cubicBezTo>
                        <a:pt x="297789" y="946885"/>
                        <a:pt x="290120" y="937074"/>
                        <a:pt x="299551" y="937023"/>
                      </a:cubicBezTo>
                      <a:cubicBezTo>
                        <a:pt x="298931" y="931610"/>
                        <a:pt x="296180" y="927275"/>
                        <a:pt x="292072" y="931090"/>
                      </a:cubicBezTo>
                      <a:cubicBezTo>
                        <a:pt x="288384" y="926616"/>
                        <a:pt x="281982" y="923193"/>
                        <a:pt x="279028" y="919568"/>
                      </a:cubicBezTo>
                      <a:cubicBezTo>
                        <a:pt x="273932" y="913381"/>
                        <a:pt x="277013" y="912126"/>
                        <a:pt x="276125" y="904495"/>
                      </a:cubicBezTo>
                      <a:cubicBezTo>
                        <a:pt x="275897" y="902530"/>
                        <a:pt x="270535" y="889980"/>
                        <a:pt x="270142" y="891527"/>
                      </a:cubicBezTo>
                      <a:cubicBezTo>
                        <a:pt x="271955" y="883947"/>
                        <a:pt x="277482" y="888446"/>
                        <a:pt x="281855" y="885949"/>
                      </a:cubicBezTo>
                      <a:cubicBezTo>
                        <a:pt x="289246" y="881703"/>
                        <a:pt x="283516" y="876822"/>
                        <a:pt x="295571" y="879662"/>
                      </a:cubicBezTo>
                      <a:cubicBezTo>
                        <a:pt x="303393" y="881512"/>
                        <a:pt x="304952" y="884694"/>
                        <a:pt x="312570" y="883997"/>
                      </a:cubicBezTo>
                      <a:cubicBezTo>
                        <a:pt x="319517" y="883351"/>
                        <a:pt x="316247" y="885582"/>
                        <a:pt x="316044" y="876518"/>
                      </a:cubicBezTo>
                      <a:cubicBezTo>
                        <a:pt x="315904" y="870915"/>
                        <a:pt x="319885" y="869077"/>
                        <a:pt x="314776" y="863043"/>
                      </a:cubicBezTo>
                      <a:cubicBezTo>
                        <a:pt x="319390" y="863917"/>
                        <a:pt x="329849" y="863867"/>
                        <a:pt x="332257" y="862561"/>
                      </a:cubicBezTo>
                      <a:cubicBezTo>
                        <a:pt x="340104" y="865388"/>
                        <a:pt x="336161" y="858847"/>
                        <a:pt x="340776" y="857288"/>
                      </a:cubicBezTo>
                      <a:cubicBezTo>
                        <a:pt x="345339" y="855766"/>
                        <a:pt x="350727" y="857022"/>
                        <a:pt x="355468" y="855031"/>
                      </a:cubicBezTo>
                      <a:cubicBezTo>
                        <a:pt x="364988" y="851000"/>
                        <a:pt x="369234" y="835193"/>
                        <a:pt x="381619" y="836384"/>
                      </a:cubicBezTo>
                      <a:cubicBezTo>
                        <a:pt x="385777" y="836777"/>
                        <a:pt x="386310" y="842329"/>
                        <a:pt x="390315" y="841784"/>
                      </a:cubicBezTo>
                      <a:cubicBezTo>
                        <a:pt x="391976" y="841544"/>
                        <a:pt x="397300" y="835180"/>
                        <a:pt x="398200" y="833380"/>
                      </a:cubicBezTo>
                      <a:cubicBezTo>
                        <a:pt x="402130" y="825584"/>
                        <a:pt x="401154" y="817699"/>
                        <a:pt x="399962" y="809383"/>
                      </a:cubicBezTo>
                      <a:cubicBezTo>
                        <a:pt x="398860" y="801714"/>
                        <a:pt x="395031" y="795781"/>
                        <a:pt x="394385" y="788505"/>
                      </a:cubicBezTo>
                      <a:cubicBezTo>
                        <a:pt x="393434" y="778731"/>
                        <a:pt x="403157" y="768210"/>
                        <a:pt x="404589" y="757346"/>
                      </a:cubicBezTo>
                      <a:cubicBezTo>
                        <a:pt x="406377" y="743985"/>
                        <a:pt x="395399" y="738154"/>
                        <a:pt x="392318" y="727417"/>
                      </a:cubicBezTo>
                      <a:cubicBezTo>
                        <a:pt x="390696" y="721725"/>
                        <a:pt x="392153" y="716591"/>
                        <a:pt x="389821" y="711280"/>
                      </a:cubicBezTo>
                      <a:cubicBezTo>
                        <a:pt x="389137" y="709708"/>
                        <a:pt x="385828" y="709289"/>
                        <a:pt x="384649" y="704460"/>
                      </a:cubicBezTo>
                      <a:cubicBezTo>
                        <a:pt x="383496" y="699643"/>
                        <a:pt x="385308" y="695687"/>
                        <a:pt x="386500" y="690300"/>
                      </a:cubicBezTo>
                      <a:cubicBezTo>
                        <a:pt x="387210" y="687055"/>
                        <a:pt x="385891" y="684760"/>
                        <a:pt x="387856" y="680894"/>
                      </a:cubicBezTo>
                      <a:cubicBezTo>
                        <a:pt x="389707" y="677142"/>
                        <a:pt x="391494" y="681667"/>
                        <a:pt x="393928" y="677585"/>
                      </a:cubicBezTo>
                      <a:cubicBezTo>
                        <a:pt x="397668" y="671374"/>
                        <a:pt x="397376" y="663818"/>
                        <a:pt x="398175" y="657328"/>
                      </a:cubicBezTo>
                      <a:cubicBezTo>
                        <a:pt x="398200" y="657024"/>
                        <a:pt x="398010" y="648416"/>
                        <a:pt x="398010" y="648341"/>
                      </a:cubicBezTo>
                      <a:cubicBezTo>
                        <a:pt x="397782" y="646718"/>
                        <a:pt x="400723" y="646300"/>
                        <a:pt x="400152" y="643980"/>
                      </a:cubicBezTo>
                      <a:cubicBezTo>
                        <a:pt x="399595" y="641686"/>
                        <a:pt x="393421" y="641077"/>
                        <a:pt x="393142" y="638618"/>
                      </a:cubicBezTo>
                      <a:cubicBezTo>
                        <a:pt x="392306" y="631417"/>
                        <a:pt x="395095" y="636311"/>
                        <a:pt x="398542" y="632469"/>
                      </a:cubicBezTo>
                      <a:cubicBezTo>
                        <a:pt x="400304" y="630479"/>
                        <a:pt x="401686" y="630378"/>
                        <a:pt x="404108" y="627298"/>
                      </a:cubicBezTo>
                      <a:cubicBezTo>
                        <a:pt x="409647" y="620212"/>
                        <a:pt x="408684" y="617182"/>
                        <a:pt x="402928" y="610323"/>
                      </a:cubicBezTo>
                      <a:cubicBezTo>
                        <a:pt x="399607" y="606381"/>
                        <a:pt x="397135" y="601615"/>
                        <a:pt x="393091" y="598839"/>
                      </a:cubicBezTo>
                      <a:cubicBezTo>
                        <a:pt x="391710" y="597875"/>
                        <a:pt x="387603" y="599333"/>
                        <a:pt x="387780" y="599422"/>
                      </a:cubicBezTo>
                      <a:cubicBezTo>
                        <a:pt x="384167" y="596836"/>
                        <a:pt x="379769" y="589952"/>
                        <a:pt x="376891" y="586428"/>
                      </a:cubicBezTo>
                      <a:cubicBezTo>
                        <a:pt x="364633" y="571508"/>
                        <a:pt x="376447" y="575501"/>
                        <a:pt x="386234" y="567490"/>
                      </a:cubicBezTo>
                      <a:cubicBezTo>
                        <a:pt x="389098" y="565157"/>
                        <a:pt x="393358" y="560936"/>
                        <a:pt x="391558" y="557323"/>
                      </a:cubicBezTo>
                      <a:cubicBezTo>
                        <a:pt x="389682" y="553558"/>
                        <a:pt x="386056" y="557767"/>
                        <a:pt x="381645" y="556005"/>
                      </a:cubicBezTo>
                      <a:cubicBezTo>
                        <a:pt x="373468" y="552785"/>
                        <a:pt x="369057" y="543468"/>
                        <a:pt x="363454" y="538625"/>
                      </a:cubicBezTo>
                      <a:cubicBezTo>
                        <a:pt x="361312" y="536800"/>
                        <a:pt x="357508" y="536369"/>
                        <a:pt x="355062" y="534353"/>
                      </a:cubicBezTo>
                      <a:cubicBezTo>
                        <a:pt x="352767" y="532464"/>
                        <a:pt x="350600" y="530424"/>
                        <a:pt x="348901" y="529612"/>
                      </a:cubicBezTo>
                      <a:cubicBezTo>
                        <a:pt x="353731" y="512981"/>
                        <a:pt x="340940" y="531805"/>
                        <a:pt x="335616" y="527685"/>
                      </a:cubicBezTo>
                      <a:cubicBezTo>
                        <a:pt x="331915" y="524808"/>
                        <a:pt x="334919" y="520282"/>
                        <a:pt x="333258" y="517493"/>
                      </a:cubicBezTo>
                      <a:cubicBezTo>
                        <a:pt x="332168" y="515655"/>
                        <a:pt x="328378" y="516238"/>
                        <a:pt x="327529" y="514134"/>
                      </a:cubicBezTo>
                      <a:cubicBezTo>
                        <a:pt x="324017" y="505286"/>
                        <a:pt x="326324" y="495550"/>
                        <a:pt x="324410" y="486170"/>
                      </a:cubicBezTo>
                      <a:cubicBezTo>
                        <a:pt x="314522" y="493687"/>
                        <a:pt x="311480" y="470894"/>
                        <a:pt x="308324" y="467725"/>
                      </a:cubicBezTo>
                      <a:cubicBezTo>
                        <a:pt x="302987" y="462401"/>
                        <a:pt x="305002" y="468397"/>
                        <a:pt x="302023" y="466825"/>
                      </a:cubicBezTo>
                      <a:cubicBezTo>
                        <a:pt x="293530" y="462287"/>
                        <a:pt x="286964" y="455188"/>
                        <a:pt x="280626" y="447823"/>
                      </a:cubicBezTo>
                      <a:cubicBezTo>
                        <a:pt x="271549" y="437264"/>
                        <a:pt x="261509" y="430900"/>
                        <a:pt x="255602" y="418071"/>
                      </a:cubicBezTo>
                      <a:cubicBezTo>
                        <a:pt x="253282" y="412988"/>
                        <a:pt x="252572" y="401009"/>
                        <a:pt x="246957" y="397536"/>
                      </a:cubicBezTo>
                      <a:cubicBezTo>
                        <a:pt x="244497" y="396014"/>
                        <a:pt x="237551" y="396509"/>
                        <a:pt x="239617" y="397725"/>
                      </a:cubicBezTo>
                      <a:cubicBezTo>
                        <a:pt x="236283" y="395761"/>
                        <a:pt x="235459" y="392097"/>
                        <a:pt x="233329" y="390373"/>
                      </a:cubicBezTo>
                      <a:cubicBezTo>
                        <a:pt x="228474" y="386482"/>
                        <a:pt x="218270" y="382945"/>
                        <a:pt x="217813" y="373450"/>
                      </a:cubicBezTo>
                      <a:cubicBezTo>
                        <a:pt x="217598" y="369153"/>
                        <a:pt x="224291" y="362853"/>
                        <a:pt x="224240" y="362548"/>
                      </a:cubicBezTo>
                      <a:cubicBezTo>
                        <a:pt x="223074" y="356552"/>
                        <a:pt x="217192" y="357059"/>
                        <a:pt x="212831" y="354930"/>
                      </a:cubicBezTo>
                      <a:cubicBezTo>
                        <a:pt x="204047" y="350645"/>
                        <a:pt x="193259" y="351329"/>
                        <a:pt x="184474" y="345498"/>
                      </a:cubicBezTo>
                      <a:cubicBezTo>
                        <a:pt x="164052" y="332036"/>
                        <a:pt x="148536" y="319119"/>
                        <a:pt x="126580" y="310638"/>
                      </a:cubicBezTo>
                      <a:cubicBezTo>
                        <a:pt x="130928" y="306962"/>
                        <a:pt x="144163" y="301130"/>
                        <a:pt x="144746" y="295718"/>
                      </a:cubicBezTo>
                      <a:cubicBezTo>
                        <a:pt x="145354" y="290469"/>
                        <a:pt x="134909" y="287275"/>
                        <a:pt x="137837" y="281583"/>
                      </a:cubicBezTo>
                      <a:cubicBezTo>
                        <a:pt x="136303" y="284575"/>
                        <a:pt x="150995" y="280442"/>
                        <a:pt x="151832" y="280405"/>
                      </a:cubicBezTo>
                      <a:cubicBezTo>
                        <a:pt x="157359" y="280278"/>
                        <a:pt x="162759" y="281203"/>
                        <a:pt x="167475" y="282813"/>
                      </a:cubicBezTo>
                      <a:cubicBezTo>
                        <a:pt x="173052" y="284702"/>
                        <a:pt x="175043" y="288784"/>
                        <a:pt x="181241" y="286515"/>
                      </a:cubicBezTo>
                      <a:cubicBezTo>
                        <a:pt x="182953" y="285893"/>
                        <a:pt x="205137" y="268907"/>
                        <a:pt x="193652" y="267335"/>
                      </a:cubicBezTo>
                      <a:cubicBezTo>
                        <a:pt x="197467" y="261871"/>
                        <a:pt x="206835" y="259437"/>
                        <a:pt x="208040" y="255052"/>
                      </a:cubicBezTo>
                      <a:cubicBezTo>
                        <a:pt x="209345" y="250158"/>
                        <a:pt x="204427" y="242235"/>
                        <a:pt x="198342" y="240245"/>
                      </a:cubicBezTo>
                      <a:cubicBezTo>
                        <a:pt x="193335" y="238597"/>
                        <a:pt x="190331" y="244276"/>
                        <a:pt x="186071" y="239865"/>
                      </a:cubicBezTo>
                      <a:cubicBezTo>
                        <a:pt x="183739" y="237469"/>
                        <a:pt x="188961" y="234668"/>
                        <a:pt x="188695" y="234110"/>
                      </a:cubicBezTo>
                      <a:cubicBezTo>
                        <a:pt x="183599" y="222790"/>
                        <a:pt x="173395" y="229356"/>
                        <a:pt x="164369" y="223487"/>
                      </a:cubicBezTo>
                      <a:cubicBezTo>
                        <a:pt x="166195" y="221319"/>
                        <a:pt x="168603" y="218289"/>
                        <a:pt x="170669" y="216210"/>
                      </a:cubicBezTo>
                      <a:cubicBezTo>
                        <a:pt x="174548" y="218492"/>
                        <a:pt x="176184" y="217960"/>
                        <a:pt x="179137" y="214474"/>
                      </a:cubicBezTo>
                      <a:cubicBezTo>
                        <a:pt x="186185" y="206145"/>
                        <a:pt x="181457" y="208402"/>
                        <a:pt x="175131" y="203825"/>
                      </a:cubicBezTo>
                      <a:cubicBezTo>
                        <a:pt x="170086" y="200137"/>
                        <a:pt x="166486" y="195966"/>
                        <a:pt x="161124" y="192087"/>
                      </a:cubicBezTo>
                      <a:cubicBezTo>
                        <a:pt x="149588" y="183809"/>
                        <a:pt x="141057" y="182757"/>
                        <a:pt x="126707" y="190883"/>
                      </a:cubicBezTo>
                      <a:cubicBezTo>
                        <a:pt x="120648" y="194356"/>
                        <a:pt x="121104" y="196803"/>
                        <a:pt x="117263" y="201480"/>
                      </a:cubicBezTo>
                      <a:cubicBezTo>
                        <a:pt x="111901" y="207996"/>
                        <a:pt x="117073" y="206094"/>
                        <a:pt x="107667" y="201607"/>
                      </a:cubicBezTo>
                      <a:cubicBezTo>
                        <a:pt x="105284" y="200479"/>
                        <a:pt x="101519" y="199427"/>
                        <a:pt x="99047" y="198603"/>
                      </a:cubicBezTo>
                      <a:cubicBezTo>
                        <a:pt x="97412" y="198032"/>
                        <a:pt x="97665" y="194927"/>
                        <a:pt x="95371" y="194280"/>
                      </a:cubicBezTo>
                      <a:cubicBezTo>
                        <a:pt x="94876" y="194128"/>
                        <a:pt x="93659" y="196575"/>
                        <a:pt x="92772" y="196270"/>
                      </a:cubicBezTo>
                      <a:cubicBezTo>
                        <a:pt x="88019" y="194648"/>
                        <a:pt x="80602" y="195345"/>
                        <a:pt x="76077" y="192505"/>
                      </a:cubicBezTo>
                      <a:cubicBezTo>
                        <a:pt x="67153" y="186953"/>
                        <a:pt x="57937" y="160282"/>
                        <a:pt x="49165" y="160915"/>
                      </a:cubicBezTo>
                      <a:cubicBezTo>
                        <a:pt x="55921" y="157848"/>
                        <a:pt x="53994" y="151674"/>
                        <a:pt x="57810" y="145906"/>
                      </a:cubicBezTo>
                      <a:cubicBezTo>
                        <a:pt x="56289" y="146553"/>
                        <a:pt x="54476" y="146730"/>
                        <a:pt x="52765" y="147795"/>
                      </a:cubicBezTo>
                      <a:cubicBezTo>
                        <a:pt x="57062" y="140189"/>
                        <a:pt x="62336" y="138922"/>
                        <a:pt x="61005" y="130505"/>
                      </a:cubicBezTo>
                      <a:cubicBezTo>
                        <a:pt x="59027" y="117802"/>
                        <a:pt x="58077" y="131354"/>
                        <a:pt x="53868" y="126220"/>
                      </a:cubicBezTo>
                      <a:cubicBezTo>
                        <a:pt x="51840" y="123710"/>
                        <a:pt x="51485" y="119806"/>
                        <a:pt x="49558" y="116167"/>
                      </a:cubicBezTo>
                      <a:cubicBezTo>
                        <a:pt x="48442" y="119932"/>
                        <a:pt x="47707" y="132444"/>
                        <a:pt x="39505" y="129820"/>
                      </a:cubicBezTo>
                      <a:cubicBezTo>
                        <a:pt x="34359" y="128172"/>
                        <a:pt x="37794" y="119945"/>
                        <a:pt x="35550" y="115343"/>
                      </a:cubicBezTo>
                      <a:cubicBezTo>
                        <a:pt x="33421" y="110983"/>
                        <a:pt x="27196" y="105392"/>
                        <a:pt x="24978" y="102819"/>
                      </a:cubicBezTo>
                      <a:cubicBezTo>
                        <a:pt x="23013" y="100588"/>
                        <a:pt x="19667" y="95936"/>
                        <a:pt x="16358" y="93071"/>
                      </a:cubicBezTo>
                      <a:cubicBezTo>
                        <a:pt x="9424" y="87125"/>
                        <a:pt x="-3265" y="80065"/>
                        <a:pt x="778" y="71026"/>
                      </a:cubicBezTo>
                      <a:cubicBezTo>
                        <a:pt x="1450" y="69480"/>
                        <a:pt x="5431" y="72357"/>
                        <a:pt x="6584" y="71178"/>
                      </a:cubicBezTo>
                      <a:cubicBezTo>
                        <a:pt x="8346" y="69328"/>
                        <a:pt x="7751" y="66260"/>
                        <a:pt x="9690" y="64181"/>
                      </a:cubicBezTo>
                      <a:cubicBezTo>
                        <a:pt x="15711" y="57741"/>
                        <a:pt x="16003" y="53875"/>
                        <a:pt x="17905" y="51162"/>
                      </a:cubicBezTo>
                      <a:cubicBezTo>
                        <a:pt x="21720" y="45863"/>
                        <a:pt x="21416" y="45559"/>
                        <a:pt x="27222" y="45356"/>
                      </a:cubicBezTo>
                      <a:cubicBezTo>
                        <a:pt x="25891" y="45394"/>
                        <a:pt x="34612" y="49337"/>
                        <a:pt x="34206" y="49108"/>
                      </a:cubicBezTo>
                      <a:cubicBezTo>
                        <a:pt x="39379" y="51872"/>
                        <a:pt x="47656" y="53723"/>
                        <a:pt x="51954" y="57741"/>
                      </a:cubicBezTo>
                      <a:cubicBezTo>
                        <a:pt x="55947" y="61494"/>
                        <a:pt x="57278" y="70963"/>
                        <a:pt x="65213" y="70342"/>
                      </a:cubicBezTo>
                      <a:cubicBezTo>
                        <a:pt x="67330" y="70164"/>
                        <a:pt x="73085" y="59250"/>
                        <a:pt x="73453" y="58882"/>
                      </a:cubicBezTo>
                      <a:cubicBezTo>
                        <a:pt x="74644" y="57754"/>
                        <a:pt x="87144" y="42415"/>
                        <a:pt x="87245" y="42390"/>
                      </a:cubicBezTo>
                      <a:cubicBezTo>
                        <a:pt x="93812" y="41173"/>
                        <a:pt x="92949" y="52126"/>
                        <a:pt x="96245" y="54673"/>
                      </a:cubicBezTo>
                      <a:cubicBezTo>
                        <a:pt x="105436" y="61798"/>
                        <a:pt x="101088" y="53875"/>
                        <a:pt x="105056" y="48487"/>
                      </a:cubicBezTo>
                      <a:cubicBezTo>
                        <a:pt x="117656" y="31463"/>
                        <a:pt x="120977" y="61886"/>
                        <a:pt x="132792" y="62837"/>
                      </a:cubicBezTo>
                      <a:cubicBezTo>
                        <a:pt x="140207" y="63433"/>
                        <a:pt x="135555" y="54661"/>
                        <a:pt x="139346" y="48487"/>
                      </a:cubicBezTo>
                      <a:cubicBezTo>
                        <a:pt x="143427" y="41832"/>
                        <a:pt x="147902" y="41110"/>
                        <a:pt x="155622" y="39817"/>
                      </a:cubicBezTo>
                      <a:cubicBezTo>
                        <a:pt x="153290" y="44748"/>
                        <a:pt x="156421" y="49121"/>
                        <a:pt x="161808" y="50021"/>
                      </a:cubicBezTo>
                      <a:cubicBezTo>
                        <a:pt x="167475" y="50959"/>
                        <a:pt x="174840" y="42644"/>
                        <a:pt x="178693" y="38904"/>
                      </a:cubicBezTo>
                      <a:cubicBezTo>
                        <a:pt x="183308" y="43163"/>
                        <a:pt x="190609" y="40172"/>
                        <a:pt x="195008" y="34239"/>
                      </a:cubicBezTo>
                      <a:cubicBezTo>
                        <a:pt x="199622" y="27977"/>
                        <a:pt x="194856" y="25619"/>
                        <a:pt x="197746" y="18748"/>
                      </a:cubicBezTo>
                      <a:cubicBezTo>
                        <a:pt x="198862" y="16188"/>
                        <a:pt x="204427" y="14400"/>
                        <a:pt x="205365" y="13842"/>
                      </a:cubicBezTo>
                      <a:cubicBezTo>
                        <a:pt x="210144" y="11066"/>
                        <a:pt x="220691" y="8594"/>
                        <a:pt x="224747" y="6211"/>
                      </a:cubicBezTo>
                      <a:cubicBezTo>
                        <a:pt x="233063" y="1407"/>
                        <a:pt x="230984" y="-4323"/>
                        <a:pt x="240504" y="4944"/>
                      </a:cubicBezTo>
                      <a:lnTo>
                        <a:pt x="240504" y="4944"/>
                      </a:lnTo>
                      <a:close/>
                    </a:path>
                  </a:pathLst>
                </a:custGeom>
                <a:solidFill>
                  <a:srgbClr val="D6D6D2"/>
                </a:solidFill>
                <a:ln w="12413" cap="rnd">
                  <a:solidFill>
                    <a:srgbClr val="FFFFFF"/>
                  </a:solidFill>
                  <a:prstDash val="solid"/>
                  <a:round/>
                </a:ln>
              </p:spPr>
              <p:txBody>
                <a:bodyPr rtlCol="0" anchor="ctr"/>
                <a:lstStyle/>
                <a:p>
                  <a:endParaRPr lang="en-US"/>
                </a:p>
              </p:txBody>
            </p:sp>
            <p:sp>
              <p:nvSpPr>
                <p:cNvPr id="69" name="Freeform: Shape 68">
                  <a:extLst>
                    <a:ext uri="{FF2B5EF4-FFF2-40B4-BE49-F238E27FC236}">
                      <a16:creationId xmlns:a16="http://schemas.microsoft.com/office/drawing/2014/main" id="{C313B33A-C636-4E69-AAA1-7E13756CA7A8}"/>
                    </a:ext>
                  </a:extLst>
                </p:cNvPr>
                <p:cNvSpPr/>
                <p:nvPr/>
              </p:nvSpPr>
              <p:spPr>
                <a:xfrm>
                  <a:off x="60726" y="1297611"/>
                  <a:ext cx="1267882" cy="735411"/>
                </a:xfrm>
                <a:custGeom>
                  <a:avLst/>
                  <a:gdLst>
                    <a:gd name="connsiteX0" fmla="*/ 172699 w 1267882"/>
                    <a:gd name="connsiteY0" fmla="*/ 102764 h 735411"/>
                    <a:gd name="connsiteX1" fmla="*/ 197684 w 1267882"/>
                    <a:gd name="connsiteY1" fmla="*/ 76841 h 735411"/>
                    <a:gd name="connsiteX2" fmla="*/ 198812 w 1267882"/>
                    <a:gd name="connsiteY2" fmla="*/ 78983 h 735411"/>
                    <a:gd name="connsiteX3" fmla="*/ 198609 w 1267882"/>
                    <a:gd name="connsiteY3" fmla="*/ 71225 h 735411"/>
                    <a:gd name="connsiteX4" fmla="*/ 207508 w 1267882"/>
                    <a:gd name="connsiteY4" fmla="*/ 74141 h 735411"/>
                    <a:gd name="connsiteX5" fmla="*/ 206051 w 1267882"/>
                    <a:gd name="connsiteY5" fmla="*/ 65242 h 735411"/>
                    <a:gd name="connsiteX6" fmla="*/ 204669 w 1267882"/>
                    <a:gd name="connsiteY6" fmla="*/ 58143 h 735411"/>
                    <a:gd name="connsiteX7" fmla="*/ 208142 w 1267882"/>
                    <a:gd name="connsiteY7" fmla="*/ 55658 h 735411"/>
                    <a:gd name="connsiteX8" fmla="*/ 200169 w 1267882"/>
                    <a:gd name="connsiteY8" fmla="*/ 52160 h 735411"/>
                    <a:gd name="connsiteX9" fmla="*/ 209980 w 1267882"/>
                    <a:gd name="connsiteY9" fmla="*/ 33766 h 735411"/>
                    <a:gd name="connsiteX10" fmla="*/ 205087 w 1267882"/>
                    <a:gd name="connsiteY10" fmla="*/ 7855 h 735411"/>
                    <a:gd name="connsiteX11" fmla="*/ 239288 w 1267882"/>
                    <a:gd name="connsiteY11" fmla="*/ 27922 h 735411"/>
                    <a:gd name="connsiteX12" fmla="*/ 251965 w 1267882"/>
                    <a:gd name="connsiteY12" fmla="*/ 47976 h 735411"/>
                    <a:gd name="connsiteX13" fmla="*/ 251166 w 1267882"/>
                    <a:gd name="connsiteY13" fmla="*/ 93041 h 735411"/>
                    <a:gd name="connsiteX14" fmla="*/ 270942 w 1267882"/>
                    <a:gd name="connsiteY14" fmla="*/ 114946 h 735411"/>
                    <a:gd name="connsiteX15" fmla="*/ 272590 w 1267882"/>
                    <a:gd name="connsiteY15" fmla="*/ 127851 h 735411"/>
                    <a:gd name="connsiteX16" fmla="*/ 293709 w 1267882"/>
                    <a:gd name="connsiteY16" fmla="*/ 118230 h 735411"/>
                    <a:gd name="connsiteX17" fmla="*/ 289602 w 1267882"/>
                    <a:gd name="connsiteY17" fmla="*/ 113007 h 735411"/>
                    <a:gd name="connsiteX18" fmla="*/ 296916 w 1267882"/>
                    <a:gd name="connsiteY18" fmla="*/ 111055 h 735411"/>
                    <a:gd name="connsiteX19" fmla="*/ 296713 w 1267882"/>
                    <a:gd name="connsiteY19" fmla="*/ 85385 h 735411"/>
                    <a:gd name="connsiteX20" fmla="*/ 302278 w 1267882"/>
                    <a:gd name="connsiteY20" fmla="*/ 64735 h 735411"/>
                    <a:gd name="connsiteX21" fmla="*/ 352287 w 1267882"/>
                    <a:gd name="connsiteY21" fmla="*/ 93840 h 735411"/>
                    <a:gd name="connsiteX22" fmla="*/ 374623 w 1267882"/>
                    <a:gd name="connsiteY22" fmla="*/ 106821 h 735411"/>
                    <a:gd name="connsiteX23" fmla="*/ 381773 w 1267882"/>
                    <a:gd name="connsiteY23" fmla="*/ 123161 h 735411"/>
                    <a:gd name="connsiteX24" fmla="*/ 426838 w 1267882"/>
                    <a:gd name="connsiteY24" fmla="*/ 168606 h 735411"/>
                    <a:gd name="connsiteX25" fmla="*/ 461876 w 1267882"/>
                    <a:gd name="connsiteY25" fmla="*/ 185656 h 735411"/>
                    <a:gd name="connsiteX26" fmla="*/ 563402 w 1267882"/>
                    <a:gd name="connsiteY26" fmla="*/ 177074 h 735411"/>
                    <a:gd name="connsiteX27" fmla="*/ 621219 w 1267882"/>
                    <a:gd name="connsiteY27" fmla="*/ 181688 h 735411"/>
                    <a:gd name="connsiteX28" fmla="*/ 663191 w 1267882"/>
                    <a:gd name="connsiteY28" fmla="*/ 167516 h 735411"/>
                    <a:gd name="connsiteX29" fmla="*/ 684057 w 1267882"/>
                    <a:gd name="connsiteY29" fmla="*/ 190194 h 735411"/>
                    <a:gd name="connsiteX30" fmla="*/ 706558 w 1267882"/>
                    <a:gd name="connsiteY30" fmla="*/ 205533 h 735411"/>
                    <a:gd name="connsiteX31" fmla="*/ 722454 w 1267882"/>
                    <a:gd name="connsiteY31" fmla="*/ 234537 h 735411"/>
                    <a:gd name="connsiteX32" fmla="*/ 749062 w 1267882"/>
                    <a:gd name="connsiteY32" fmla="*/ 231761 h 735411"/>
                    <a:gd name="connsiteX33" fmla="*/ 742547 w 1267882"/>
                    <a:gd name="connsiteY33" fmla="*/ 285889 h 735411"/>
                    <a:gd name="connsiteX34" fmla="*/ 742217 w 1267882"/>
                    <a:gd name="connsiteY34" fmla="*/ 319292 h 735411"/>
                    <a:gd name="connsiteX35" fmla="*/ 776849 w 1267882"/>
                    <a:gd name="connsiteY35" fmla="*/ 319875 h 735411"/>
                    <a:gd name="connsiteX36" fmla="*/ 788600 w 1267882"/>
                    <a:gd name="connsiteY36" fmla="*/ 374169 h 735411"/>
                    <a:gd name="connsiteX37" fmla="*/ 798843 w 1267882"/>
                    <a:gd name="connsiteY37" fmla="*/ 394362 h 735411"/>
                    <a:gd name="connsiteX38" fmla="*/ 834274 w 1267882"/>
                    <a:gd name="connsiteY38" fmla="*/ 393323 h 735411"/>
                    <a:gd name="connsiteX39" fmla="*/ 870858 w 1267882"/>
                    <a:gd name="connsiteY39" fmla="*/ 391345 h 735411"/>
                    <a:gd name="connsiteX40" fmla="*/ 884828 w 1267882"/>
                    <a:gd name="connsiteY40" fmla="*/ 389926 h 735411"/>
                    <a:gd name="connsiteX41" fmla="*/ 891965 w 1267882"/>
                    <a:gd name="connsiteY41" fmla="*/ 403730 h 735411"/>
                    <a:gd name="connsiteX42" fmla="*/ 895501 w 1267882"/>
                    <a:gd name="connsiteY42" fmla="*/ 403730 h 735411"/>
                    <a:gd name="connsiteX43" fmla="*/ 898125 w 1267882"/>
                    <a:gd name="connsiteY43" fmla="*/ 401626 h 735411"/>
                    <a:gd name="connsiteX44" fmla="*/ 899152 w 1267882"/>
                    <a:gd name="connsiteY44" fmla="*/ 404884 h 735411"/>
                    <a:gd name="connsiteX45" fmla="*/ 896820 w 1267882"/>
                    <a:gd name="connsiteY45" fmla="*/ 406278 h 735411"/>
                    <a:gd name="connsiteX46" fmla="*/ 888758 w 1267882"/>
                    <a:gd name="connsiteY46" fmla="*/ 423975 h 735411"/>
                    <a:gd name="connsiteX47" fmla="*/ 922198 w 1267882"/>
                    <a:gd name="connsiteY47" fmla="*/ 443066 h 735411"/>
                    <a:gd name="connsiteX48" fmla="*/ 934444 w 1267882"/>
                    <a:gd name="connsiteY48" fmla="*/ 441811 h 735411"/>
                    <a:gd name="connsiteX49" fmla="*/ 932137 w 1267882"/>
                    <a:gd name="connsiteY49" fmla="*/ 431631 h 735411"/>
                    <a:gd name="connsiteX50" fmla="*/ 931642 w 1267882"/>
                    <a:gd name="connsiteY50" fmla="*/ 415013 h 735411"/>
                    <a:gd name="connsiteX51" fmla="*/ 947944 w 1267882"/>
                    <a:gd name="connsiteY51" fmla="*/ 399294 h 735411"/>
                    <a:gd name="connsiteX52" fmla="*/ 966553 w 1267882"/>
                    <a:gd name="connsiteY52" fmla="*/ 386072 h 735411"/>
                    <a:gd name="connsiteX53" fmla="*/ 970775 w 1267882"/>
                    <a:gd name="connsiteY53" fmla="*/ 372533 h 735411"/>
                    <a:gd name="connsiteX54" fmla="*/ 988965 w 1267882"/>
                    <a:gd name="connsiteY54" fmla="*/ 365739 h 735411"/>
                    <a:gd name="connsiteX55" fmla="*/ 1007245 w 1267882"/>
                    <a:gd name="connsiteY55" fmla="*/ 350793 h 735411"/>
                    <a:gd name="connsiteX56" fmla="*/ 1036262 w 1267882"/>
                    <a:gd name="connsiteY56" fmla="*/ 340018 h 735411"/>
                    <a:gd name="connsiteX57" fmla="*/ 1058471 w 1267882"/>
                    <a:gd name="connsiteY57" fmla="*/ 320902 h 735411"/>
                    <a:gd name="connsiteX58" fmla="*/ 1067370 w 1267882"/>
                    <a:gd name="connsiteY58" fmla="*/ 312688 h 735411"/>
                    <a:gd name="connsiteX59" fmla="*/ 1076269 w 1267882"/>
                    <a:gd name="connsiteY59" fmla="*/ 316858 h 735411"/>
                    <a:gd name="connsiteX60" fmla="*/ 1093395 w 1267882"/>
                    <a:gd name="connsiteY60" fmla="*/ 302077 h 735411"/>
                    <a:gd name="connsiteX61" fmla="*/ 1108214 w 1267882"/>
                    <a:gd name="connsiteY61" fmla="*/ 296956 h 735411"/>
                    <a:gd name="connsiteX62" fmla="*/ 1129966 w 1267882"/>
                    <a:gd name="connsiteY62" fmla="*/ 302115 h 735411"/>
                    <a:gd name="connsiteX63" fmla="*/ 1102864 w 1267882"/>
                    <a:gd name="connsiteY63" fmla="*/ 316212 h 735411"/>
                    <a:gd name="connsiteX64" fmla="*/ 1097540 w 1267882"/>
                    <a:gd name="connsiteY64" fmla="*/ 326632 h 735411"/>
                    <a:gd name="connsiteX65" fmla="*/ 1083355 w 1267882"/>
                    <a:gd name="connsiteY65" fmla="*/ 330967 h 735411"/>
                    <a:gd name="connsiteX66" fmla="*/ 1070881 w 1267882"/>
                    <a:gd name="connsiteY66" fmla="*/ 344962 h 735411"/>
                    <a:gd name="connsiteX67" fmla="*/ 1057634 w 1267882"/>
                    <a:gd name="connsiteY67" fmla="*/ 352593 h 735411"/>
                    <a:gd name="connsiteX68" fmla="*/ 1062895 w 1267882"/>
                    <a:gd name="connsiteY68" fmla="*/ 364218 h 735411"/>
                    <a:gd name="connsiteX69" fmla="*/ 1069715 w 1267882"/>
                    <a:gd name="connsiteY69" fmla="*/ 371012 h 735411"/>
                    <a:gd name="connsiteX70" fmla="*/ 1082759 w 1267882"/>
                    <a:gd name="connsiteY70" fmla="*/ 367197 h 735411"/>
                    <a:gd name="connsiteX71" fmla="*/ 1093217 w 1267882"/>
                    <a:gd name="connsiteY71" fmla="*/ 383854 h 735411"/>
                    <a:gd name="connsiteX72" fmla="*/ 1124592 w 1267882"/>
                    <a:gd name="connsiteY72" fmla="*/ 397988 h 735411"/>
                    <a:gd name="connsiteX73" fmla="*/ 1132692 w 1267882"/>
                    <a:gd name="connsiteY73" fmla="*/ 397493 h 735411"/>
                    <a:gd name="connsiteX74" fmla="*/ 1141198 w 1267882"/>
                    <a:gd name="connsiteY74" fmla="*/ 396961 h 735411"/>
                    <a:gd name="connsiteX75" fmla="*/ 1142237 w 1267882"/>
                    <a:gd name="connsiteY75" fmla="*/ 377021 h 735411"/>
                    <a:gd name="connsiteX76" fmla="*/ 1155193 w 1267882"/>
                    <a:gd name="connsiteY76" fmla="*/ 377934 h 735411"/>
                    <a:gd name="connsiteX77" fmla="*/ 1156055 w 1267882"/>
                    <a:gd name="connsiteY77" fmla="*/ 365650 h 735411"/>
                    <a:gd name="connsiteX78" fmla="*/ 1160948 w 1267882"/>
                    <a:gd name="connsiteY78" fmla="*/ 370163 h 735411"/>
                    <a:gd name="connsiteX79" fmla="*/ 1162735 w 1267882"/>
                    <a:gd name="connsiteY79" fmla="*/ 368236 h 735411"/>
                    <a:gd name="connsiteX80" fmla="*/ 1164624 w 1267882"/>
                    <a:gd name="connsiteY80" fmla="*/ 370226 h 735411"/>
                    <a:gd name="connsiteX81" fmla="*/ 1165765 w 1267882"/>
                    <a:gd name="connsiteY81" fmla="*/ 367526 h 735411"/>
                    <a:gd name="connsiteX82" fmla="*/ 1175310 w 1267882"/>
                    <a:gd name="connsiteY82" fmla="*/ 386718 h 735411"/>
                    <a:gd name="connsiteX83" fmla="*/ 1188266 w 1267882"/>
                    <a:gd name="connsiteY83" fmla="*/ 393437 h 735411"/>
                    <a:gd name="connsiteX84" fmla="*/ 1197748 w 1267882"/>
                    <a:gd name="connsiteY84" fmla="*/ 392676 h 735411"/>
                    <a:gd name="connsiteX85" fmla="*/ 1197418 w 1267882"/>
                    <a:gd name="connsiteY85" fmla="*/ 407495 h 735411"/>
                    <a:gd name="connsiteX86" fmla="*/ 1209753 w 1267882"/>
                    <a:gd name="connsiteY86" fmla="*/ 401056 h 735411"/>
                    <a:gd name="connsiteX87" fmla="*/ 1221073 w 1267882"/>
                    <a:gd name="connsiteY87" fmla="*/ 407470 h 735411"/>
                    <a:gd name="connsiteX88" fmla="*/ 1232443 w 1267882"/>
                    <a:gd name="connsiteY88" fmla="*/ 418486 h 735411"/>
                    <a:gd name="connsiteX89" fmla="*/ 1249544 w 1267882"/>
                    <a:gd name="connsiteY89" fmla="*/ 423316 h 735411"/>
                    <a:gd name="connsiteX90" fmla="*/ 1259216 w 1267882"/>
                    <a:gd name="connsiteY90" fmla="*/ 429895 h 735411"/>
                    <a:gd name="connsiteX91" fmla="*/ 1245728 w 1267882"/>
                    <a:gd name="connsiteY91" fmla="*/ 435282 h 735411"/>
                    <a:gd name="connsiteX92" fmla="*/ 1240759 w 1267882"/>
                    <a:gd name="connsiteY92" fmla="*/ 443078 h 735411"/>
                    <a:gd name="connsiteX93" fmla="*/ 1231429 w 1267882"/>
                    <a:gd name="connsiteY93" fmla="*/ 450164 h 735411"/>
                    <a:gd name="connsiteX94" fmla="*/ 1212072 w 1267882"/>
                    <a:gd name="connsiteY94" fmla="*/ 450000 h 735411"/>
                    <a:gd name="connsiteX95" fmla="*/ 1215837 w 1267882"/>
                    <a:gd name="connsiteY95" fmla="*/ 458848 h 735411"/>
                    <a:gd name="connsiteX96" fmla="*/ 1200854 w 1267882"/>
                    <a:gd name="connsiteY96" fmla="*/ 457542 h 735411"/>
                    <a:gd name="connsiteX97" fmla="*/ 1204695 w 1267882"/>
                    <a:gd name="connsiteY97" fmla="*/ 455197 h 735411"/>
                    <a:gd name="connsiteX98" fmla="*/ 1187074 w 1267882"/>
                    <a:gd name="connsiteY98" fmla="*/ 472741 h 735411"/>
                    <a:gd name="connsiteX99" fmla="*/ 1179443 w 1267882"/>
                    <a:gd name="connsiteY99" fmla="*/ 473426 h 735411"/>
                    <a:gd name="connsiteX100" fmla="*/ 1173764 w 1267882"/>
                    <a:gd name="connsiteY100" fmla="*/ 472855 h 735411"/>
                    <a:gd name="connsiteX101" fmla="*/ 1169416 w 1267882"/>
                    <a:gd name="connsiteY101" fmla="*/ 477711 h 735411"/>
                    <a:gd name="connsiteX102" fmla="*/ 1157728 w 1267882"/>
                    <a:gd name="connsiteY102" fmla="*/ 472044 h 735411"/>
                    <a:gd name="connsiteX103" fmla="*/ 1133237 w 1267882"/>
                    <a:gd name="connsiteY103" fmla="*/ 469014 h 735411"/>
                    <a:gd name="connsiteX104" fmla="*/ 1128420 w 1267882"/>
                    <a:gd name="connsiteY104" fmla="*/ 467443 h 735411"/>
                    <a:gd name="connsiteX105" fmla="*/ 1123768 w 1267882"/>
                    <a:gd name="connsiteY105" fmla="*/ 471803 h 735411"/>
                    <a:gd name="connsiteX106" fmla="*/ 1094979 w 1267882"/>
                    <a:gd name="connsiteY106" fmla="*/ 475657 h 735411"/>
                    <a:gd name="connsiteX107" fmla="*/ 1083342 w 1267882"/>
                    <a:gd name="connsiteY107" fmla="*/ 477191 h 735411"/>
                    <a:gd name="connsiteX108" fmla="*/ 1077549 w 1267882"/>
                    <a:gd name="connsiteY108" fmla="*/ 466885 h 735411"/>
                    <a:gd name="connsiteX109" fmla="*/ 1065519 w 1267882"/>
                    <a:gd name="connsiteY109" fmla="*/ 460559 h 735411"/>
                    <a:gd name="connsiteX110" fmla="*/ 1080997 w 1267882"/>
                    <a:gd name="connsiteY110" fmla="*/ 443497 h 735411"/>
                    <a:gd name="connsiteX111" fmla="*/ 1093686 w 1267882"/>
                    <a:gd name="connsiteY111" fmla="*/ 431834 h 735411"/>
                    <a:gd name="connsiteX112" fmla="*/ 1089313 w 1267882"/>
                    <a:gd name="connsiteY112" fmla="*/ 425876 h 735411"/>
                    <a:gd name="connsiteX113" fmla="*/ 1072593 w 1267882"/>
                    <a:gd name="connsiteY113" fmla="*/ 407470 h 735411"/>
                    <a:gd name="connsiteX114" fmla="*/ 1055352 w 1267882"/>
                    <a:gd name="connsiteY114" fmla="*/ 419589 h 735411"/>
                    <a:gd name="connsiteX115" fmla="*/ 1022748 w 1267882"/>
                    <a:gd name="connsiteY115" fmla="*/ 433178 h 735411"/>
                    <a:gd name="connsiteX116" fmla="*/ 1009147 w 1267882"/>
                    <a:gd name="connsiteY116" fmla="*/ 435269 h 735411"/>
                    <a:gd name="connsiteX117" fmla="*/ 994277 w 1267882"/>
                    <a:gd name="connsiteY117" fmla="*/ 424558 h 735411"/>
                    <a:gd name="connsiteX118" fmla="*/ 986557 w 1267882"/>
                    <a:gd name="connsiteY118" fmla="*/ 441570 h 735411"/>
                    <a:gd name="connsiteX119" fmla="*/ 978038 w 1267882"/>
                    <a:gd name="connsiteY119" fmla="*/ 446197 h 735411"/>
                    <a:gd name="connsiteX120" fmla="*/ 983324 w 1267882"/>
                    <a:gd name="connsiteY120" fmla="*/ 458087 h 735411"/>
                    <a:gd name="connsiteX121" fmla="*/ 978786 w 1267882"/>
                    <a:gd name="connsiteY121" fmla="*/ 468647 h 735411"/>
                    <a:gd name="connsiteX122" fmla="*/ 964791 w 1267882"/>
                    <a:gd name="connsiteY122" fmla="*/ 474415 h 735411"/>
                    <a:gd name="connsiteX123" fmla="*/ 932415 w 1267882"/>
                    <a:gd name="connsiteY123" fmla="*/ 480309 h 735411"/>
                    <a:gd name="connsiteX124" fmla="*/ 961952 w 1267882"/>
                    <a:gd name="connsiteY124" fmla="*/ 484657 h 735411"/>
                    <a:gd name="connsiteX125" fmla="*/ 946740 w 1267882"/>
                    <a:gd name="connsiteY125" fmla="*/ 487624 h 735411"/>
                    <a:gd name="connsiteX126" fmla="*/ 953306 w 1267882"/>
                    <a:gd name="connsiteY126" fmla="*/ 501897 h 735411"/>
                    <a:gd name="connsiteX127" fmla="*/ 945586 w 1267882"/>
                    <a:gd name="connsiteY127" fmla="*/ 496231 h 735411"/>
                    <a:gd name="connsiteX128" fmla="*/ 944306 w 1267882"/>
                    <a:gd name="connsiteY128" fmla="*/ 510188 h 735411"/>
                    <a:gd name="connsiteX129" fmla="*/ 927142 w 1267882"/>
                    <a:gd name="connsiteY129" fmla="*/ 532486 h 735411"/>
                    <a:gd name="connsiteX130" fmla="*/ 872468 w 1267882"/>
                    <a:gd name="connsiteY130" fmla="*/ 527314 h 735411"/>
                    <a:gd name="connsiteX131" fmla="*/ 845733 w 1267882"/>
                    <a:gd name="connsiteY131" fmla="*/ 546645 h 735411"/>
                    <a:gd name="connsiteX132" fmla="*/ 840878 w 1267882"/>
                    <a:gd name="connsiteY132" fmla="*/ 558561 h 735411"/>
                    <a:gd name="connsiteX133" fmla="*/ 861338 w 1267882"/>
                    <a:gd name="connsiteY133" fmla="*/ 567866 h 735411"/>
                    <a:gd name="connsiteX134" fmla="*/ 865052 w 1267882"/>
                    <a:gd name="connsiteY134" fmla="*/ 579402 h 735411"/>
                    <a:gd name="connsiteX135" fmla="*/ 882254 w 1267882"/>
                    <a:gd name="connsiteY135" fmla="*/ 581861 h 735411"/>
                    <a:gd name="connsiteX136" fmla="*/ 901751 w 1267882"/>
                    <a:gd name="connsiteY136" fmla="*/ 590950 h 735411"/>
                    <a:gd name="connsiteX137" fmla="*/ 894297 w 1267882"/>
                    <a:gd name="connsiteY137" fmla="*/ 599595 h 735411"/>
                    <a:gd name="connsiteX138" fmla="*/ 892953 w 1267882"/>
                    <a:gd name="connsiteY138" fmla="*/ 610497 h 735411"/>
                    <a:gd name="connsiteX139" fmla="*/ 896503 w 1267882"/>
                    <a:gd name="connsiteY139" fmla="*/ 628308 h 735411"/>
                    <a:gd name="connsiteX140" fmla="*/ 914009 w 1267882"/>
                    <a:gd name="connsiteY140" fmla="*/ 645751 h 735411"/>
                    <a:gd name="connsiteX141" fmla="*/ 898100 w 1267882"/>
                    <a:gd name="connsiteY141" fmla="*/ 675363 h 735411"/>
                    <a:gd name="connsiteX142" fmla="*/ 887794 w 1267882"/>
                    <a:gd name="connsiteY142" fmla="*/ 693744 h 735411"/>
                    <a:gd name="connsiteX143" fmla="*/ 875827 w 1267882"/>
                    <a:gd name="connsiteY143" fmla="*/ 709235 h 735411"/>
                    <a:gd name="connsiteX144" fmla="*/ 873229 w 1267882"/>
                    <a:gd name="connsiteY144" fmla="*/ 735412 h 735411"/>
                    <a:gd name="connsiteX145" fmla="*/ 857066 w 1267882"/>
                    <a:gd name="connsiteY145" fmla="*/ 732750 h 735411"/>
                    <a:gd name="connsiteX146" fmla="*/ 850170 w 1267882"/>
                    <a:gd name="connsiteY146" fmla="*/ 728592 h 735411"/>
                    <a:gd name="connsiteX147" fmla="*/ 841043 w 1267882"/>
                    <a:gd name="connsiteY147" fmla="*/ 733345 h 735411"/>
                    <a:gd name="connsiteX148" fmla="*/ 825020 w 1267882"/>
                    <a:gd name="connsiteY148" fmla="*/ 727768 h 735411"/>
                    <a:gd name="connsiteX149" fmla="*/ 795230 w 1267882"/>
                    <a:gd name="connsiteY149" fmla="*/ 720922 h 735411"/>
                    <a:gd name="connsiteX150" fmla="*/ 783378 w 1267882"/>
                    <a:gd name="connsiteY150" fmla="*/ 719997 h 735411"/>
                    <a:gd name="connsiteX151" fmla="*/ 780132 w 1267882"/>
                    <a:gd name="connsiteY151" fmla="*/ 715586 h 735411"/>
                    <a:gd name="connsiteX152" fmla="*/ 779841 w 1267882"/>
                    <a:gd name="connsiteY152" fmla="*/ 686708 h 735411"/>
                    <a:gd name="connsiteX153" fmla="*/ 780500 w 1267882"/>
                    <a:gd name="connsiteY153" fmla="*/ 663713 h 735411"/>
                    <a:gd name="connsiteX154" fmla="*/ 760902 w 1267882"/>
                    <a:gd name="connsiteY154" fmla="*/ 655651 h 735411"/>
                    <a:gd name="connsiteX155" fmla="*/ 744740 w 1267882"/>
                    <a:gd name="connsiteY155" fmla="*/ 647145 h 735411"/>
                    <a:gd name="connsiteX156" fmla="*/ 704403 w 1267882"/>
                    <a:gd name="connsiteY156" fmla="*/ 641326 h 735411"/>
                    <a:gd name="connsiteX157" fmla="*/ 659300 w 1267882"/>
                    <a:gd name="connsiteY157" fmla="*/ 610738 h 735411"/>
                    <a:gd name="connsiteX158" fmla="*/ 637648 w 1267882"/>
                    <a:gd name="connsiteY158" fmla="*/ 600546 h 735411"/>
                    <a:gd name="connsiteX159" fmla="*/ 618228 w 1267882"/>
                    <a:gd name="connsiteY159" fmla="*/ 583154 h 735411"/>
                    <a:gd name="connsiteX160" fmla="*/ 605995 w 1267882"/>
                    <a:gd name="connsiteY160" fmla="*/ 585461 h 735411"/>
                    <a:gd name="connsiteX161" fmla="*/ 585675 w 1267882"/>
                    <a:gd name="connsiteY161" fmla="*/ 573177 h 735411"/>
                    <a:gd name="connsiteX162" fmla="*/ 544907 w 1267882"/>
                    <a:gd name="connsiteY162" fmla="*/ 539635 h 735411"/>
                    <a:gd name="connsiteX163" fmla="*/ 497028 w 1267882"/>
                    <a:gd name="connsiteY163" fmla="*/ 508743 h 735411"/>
                    <a:gd name="connsiteX164" fmla="*/ 478000 w 1267882"/>
                    <a:gd name="connsiteY164" fmla="*/ 481133 h 735411"/>
                    <a:gd name="connsiteX165" fmla="*/ 471979 w 1267882"/>
                    <a:gd name="connsiteY165" fmla="*/ 457162 h 735411"/>
                    <a:gd name="connsiteX166" fmla="*/ 459302 w 1267882"/>
                    <a:gd name="connsiteY166" fmla="*/ 449455 h 735411"/>
                    <a:gd name="connsiteX167" fmla="*/ 450010 w 1267882"/>
                    <a:gd name="connsiteY167" fmla="*/ 433533 h 735411"/>
                    <a:gd name="connsiteX168" fmla="*/ 439210 w 1267882"/>
                    <a:gd name="connsiteY168" fmla="*/ 399230 h 735411"/>
                    <a:gd name="connsiteX169" fmla="*/ 401168 w 1267882"/>
                    <a:gd name="connsiteY169" fmla="*/ 384437 h 735411"/>
                    <a:gd name="connsiteX170" fmla="*/ 390633 w 1267882"/>
                    <a:gd name="connsiteY170" fmla="*/ 393741 h 735411"/>
                    <a:gd name="connsiteX171" fmla="*/ 372747 w 1267882"/>
                    <a:gd name="connsiteY171" fmla="*/ 386668 h 735411"/>
                    <a:gd name="connsiteX172" fmla="*/ 345290 w 1267882"/>
                    <a:gd name="connsiteY172" fmla="*/ 386528 h 735411"/>
                    <a:gd name="connsiteX173" fmla="*/ 314967 w 1267882"/>
                    <a:gd name="connsiteY173" fmla="*/ 377858 h 735411"/>
                    <a:gd name="connsiteX174" fmla="*/ 304661 w 1267882"/>
                    <a:gd name="connsiteY174" fmla="*/ 359908 h 735411"/>
                    <a:gd name="connsiteX175" fmla="*/ 309618 w 1267882"/>
                    <a:gd name="connsiteY175" fmla="*/ 354495 h 735411"/>
                    <a:gd name="connsiteX176" fmla="*/ 302202 w 1267882"/>
                    <a:gd name="connsiteY176" fmla="*/ 340703 h 735411"/>
                    <a:gd name="connsiteX177" fmla="*/ 316248 w 1267882"/>
                    <a:gd name="connsiteY177" fmla="*/ 337065 h 735411"/>
                    <a:gd name="connsiteX178" fmla="*/ 294951 w 1267882"/>
                    <a:gd name="connsiteY178" fmla="*/ 324172 h 735411"/>
                    <a:gd name="connsiteX179" fmla="*/ 293341 w 1267882"/>
                    <a:gd name="connsiteY179" fmla="*/ 320167 h 735411"/>
                    <a:gd name="connsiteX180" fmla="*/ 297753 w 1267882"/>
                    <a:gd name="connsiteY180" fmla="*/ 318620 h 735411"/>
                    <a:gd name="connsiteX181" fmla="*/ 296181 w 1267882"/>
                    <a:gd name="connsiteY181" fmla="*/ 310773 h 735411"/>
                    <a:gd name="connsiteX182" fmla="*/ 291566 w 1267882"/>
                    <a:gd name="connsiteY182" fmla="*/ 296335 h 735411"/>
                    <a:gd name="connsiteX183" fmla="*/ 242255 w 1267882"/>
                    <a:gd name="connsiteY183" fmla="*/ 287220 h 735411"/>
                    <a:gd name="connsiteX184" fmla="*/ 230757 w 1267882"/>
                    <a:gd name="connsiteY184" fmla="*/ 272351 h 735411"/>
                    <a:gd name="connsiteX185" fmla="*/ 207699 w 1267882"/>
                    <a:gd name="connsiteY185" fmla="*/ 263110 h 735411"/>
                    <a:gd name="connsiteX186" fmla="*/ 194173 w 1267882"/>
                    <a:gd name="connsiteY186" fmla="*/ 249749 h 735411"/>
                    <a:gd name="connsiteX187" fmla="*/ 189013 w 1267882"/>
                    <a:gd name="connsiteY187" fmla="*/ 261766 h 735411"/>
                    <a:gd name="connsiteX188" fmla="*/ 162684 w 1267882"/>
                    <a:gd name="connsiteY188" fmla="*/ 261525 h 735411"/>
                    <a:gd name="connsiteX189" fmla="*/ 174030 w 1267882"/>
                    <a:gd name="connsiteY189" fmla="*/ 274341 h 735411"/>
                    <a:gd name="connsiteX190" fmla="*/ 182574 w 1267882"/>
                    <a:gd name="connsiteY190" fmla="*/ 287905 h 735411"/>
                    <a:gd name="connsiteX191" fmla="*/ 180900 w 1267882"/>
                    <a:gd name="connsiteY191" fmla="*/ 294357 h 735411"/>
                    <a:gd name="connsiteX192" fmla="*/ 166398 w 1267882"/>
                    <a:gd name="connsiteY192" fmla="*/ 278195 h 735411"/>
                    <a:gd name="connsiteX193" fmla="*/ 149285 w 1267882"/>
                    <a:gd name="connsiteY193" fmla="*/ 276800 h 735411"/>
                    <a:gd name="connsiteX194" fmla="*/ 141882 w 1267882"/>
                    <a:gd name="connsiteY194" fmla="*/ 296386 h 735411"/>
                    <a:gd name="connsiteX195" fmla="*/ 123919 w 1267882"/>
                    <a:gd name="connsiteY195" fmla="*/ 306159 h 735411"/>
                    <a:gd name="connsiteX196" fmla="*/ 105741 w 1267882"/>
                    <a:gd name="connsiteY196" fmla="*/ 289008 h 735411"/>
                    <a:gd name="connsiteX197" fmla="*/ 81656 w 1267882"/>
                    <a:gd name="connsiteY197" fmla="*/ 324261 h 735411"/>
                    <a:gd name="connsiteX198" fmla="*/ 73036 w 1267882"/>
                    <a:gd name="connsiteY198" fmla="*/ 336570 h 735411"/>
                    <a:gd name="connsiteX199" fmla="*/ 74696 w 1267882"/>
                    <a:gd name="connsiteY199" fmla="*/ 353797 h 735411"/>
                    <a:gd name="connsiteX200" fmla="*/ 88248 w 1267882"/>
                    <a:gd name="connsiteY200" fmla="*/ 375195 h 735411"/>
                    <a:gd name="connsiteX201" fmla="*/ 80249 w 1267882"/>
                    <a:gd name="connsiteY201" fmla="*/ 381559 h 735411"/>
                    <a:gd name="connsiteX202" fmla="*/ 61703 w 1267882"/>
                    <a:gd name="connsiteY202" fmla="*/ 382358 h 735411"/>
                    <a:gd name="connsiteX203" fmla="*/ 14470 w 1267882"/>
                    <a:gd name="connsiteY203" fmla="*/ 379898 h 735411"/>
                    <a:gd name="connsiteX204" fmla="*/ 818 w 1267882"/>
                    <a:gd name="connsiteY204" fmla="*/ 371050 h 735411"/>
                    <a:gd name="connsiteX205" fmla="*/ 767 w 1267882"/>
                    <a:gd name="connsiteY205" fmla="*/ 342845 h 735411"/>
                    <a:gd name="connsiteX206" fmla="*/ 716 w 1267882"/>
                    <a:gd name="connsiteY206" fmla="*/ 295878 h 735411"/>
                    <a:gd name="connsiteX207" fmla="*/ 577 w 1267882"/>
                    <a:gd name="connsiteY207" fmla="*/ 91710 h 735411"/>
                    <a:gd name="connsiteX208" fmla="*/ 742 w 1267882"/>
                    <a:gd name="connsiteY208" fmla="*/ 51298 h 735411"/>
                    <a:gd name="connsiteX209" fmla="*/ 56873 w 1267882"/>
                    <a:gd name="connsiteY209" fmla="*/ 35541 h 735411"/>
                    <a:gd name="connsiteX210" fmla="*/ 137864 w 1267882"/>
                    <a:gd name="connsiteY210" fmla="*/ 13179 h 735411"/>
                    <a:gd name="connsiteX211" fmla="*/ 175716 w 1267882"/>
                    <a:gd name="connsiteY211" fmla="*/ 3380 h 735411"/>
                    <a:gd name="connsiteX212" fmla="*/ 191536 w 1267882"/>
                    <a:gd name="connsiteY212" fmla="*/ 7678 h 735411"/>
                    <a:gd name="connsiteX213" fmla="*/ 180824 w 1267882"/>
                    <a:gd name="connsiteY213" fmla="*/ 25019 h 735411"/>
                    <a:gd name="connsiteX214" fmla="*/ 173142 w 1267882"/>
                    <a:gd name="connsiteY214" fmla="*/ 46290 h 735411"/>
                    <a:gd name="connsiteX215" fmla="*/ 167083 w 1267882"/>
                    <a:gd name="connsiteY215" fmla="*/ 65990 h 735411"/>
                    <a:gd name="connsiteX216" fmla="*/ 173535 w 1267882"/>
                    <a:gd name="connsiteY216" fmla="*/ 81975 h 735411"/>
                    <a:gd name="connsiteX217" fmla="*/ 172699 w 1267882"/>
                    <a:gd name="connsiteY217" fmla="*/ 102764 h 735411"/>
                    <a:gd name="connsiteX218" fmla="*/ 172699 w 1267882"/>
                    <a:gd name="connsiteY218" fmla="*/ 102764 h 735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Lst>
                  <a:rect l="l" t="t" r="r" b="b"/>
                  <a:pathLst>
                    <a:path w="1267882" h="735411">
                      <a:moveTo>
                        <a:pt x="172699" y="102764"/>
                      </a:moveTo>
                      <a:cubicBezTo>
                        <a:pt x="182891" y="105097"/>
                        <a:pt x="208472" y="80238"/>
                        <a:pt x="197684" y="76841"/>
                      </a:cubicBezTo>
                      <a:cubicBezTo>
                        <a:pt x="198052" y="77551"/>
                        <a:pt x="198445" y="78261"/>
                        <a:pt x="198812" y="78983"/>
                      </a:cubicBezTo>
                      <a:cubicBezTo>
                        <a:pt x="193539" y="78654"/>
                        <a:pt x="194553" y="73342"/>
                        <a:pt x="198609" y="71225"/>
                      </a:cubicBezTo>
                      <a:cubicBezTo>
                        <a:pt x="202019" y="69425"/>
                        <a:pt x="202400" y="78882"/>
                        <a:pt x="207508" y="74141"/>
                      </a:cubicBezTo>
                      <a:cubicBezTo>
                        <a:pt x="208079" y="73621"/>
                        <a:pt x="206076" y="67080"/>
                        <a:pt x="206051" y="65242"/>
                      </a:cubicBezTo>
                      <a:cubicBezTo>
                        <a:pt x="206038" y="63264"/>
                        <a:pt x="204200" y="60082"/>
                        <a:pt x="204669" y="58143"/>
                      </a:cubicBezTo>
                      <a:cubicBezTo>
                        <a:pt x="205087" y="56558"/>
                        <a:pt x="208142" y="55658"/>
                        <a:pt x="208142" y="55658"/>
                      </a:cubicBezTo>
                      <a:cubicBezTo>
                        <a:pt x="210563" y="38989"/>
                        <a:pt x="208852" y="54365"/>
                        <a:pt x="200169" y="52160"/>
                      </a:cubicBezTo>
                      <a:cubicBezTo>
                        <a:pt x="191523" y="49967"/>
                        <a:pt x="206038" y="36073"/>
                        <a:pt x="209980" y="33766"/>
                      </a:cubicBezTo>
                      <a:cubicBezTo>
                        <a:pt x="200701" y="29583"/>
                        <a:pt x="200511" y="15588"/>
                        <a:pt x="205087" y="7855"/>
                      </a:cubicBezTo>
                      <a:cubicBezTo>
                        <a:pt x="216496" y="14523"/>
                        <a:pt x="227892" y="21254"/>
                        <a:pt x="239288" y="27922"/>
                      </a:cubicBezTo>
                      <a:cubicBezTo>
                        <a:pt x="251559" y="35097"/>
                        <a:pt x="258760" y="34691"/>
                        <a:pt x="251965" y="47976"/>
                      </a:cubicBezTo>
                      <a:cubicBezTo>
                        <a:pt x="242432" y="66649"/>
                        <a:pt x="232646" y="75903"/>
                        <a:pt x="251166" y="93041"/>
                      </a:cubicBezTo>
                      <a:cubicBezTo>
                        <a:pt x="258291" y="99646"/>
                        <a:pt x="272463" y="105857"/>
                        <a:pt x="270942" y="114946"/>
                      </a:cubicBezTo>
                      <a:cubicBezTo>
                        <a:pt x="269661" y="122565"/>
                        <a:pt x="255109" y="127674"/>
                        <a:pt x="272590" y="127851"/>
                      </a:cubicBezTo>
                      <a:cubicBezTo>
                        <a:pt x="278269" y="127927"/>
                        <a:pt x="290907" y="124099"/>
                        <a:pt x="293709" y="118230"/>
                      </a:cubicBezTo>
                      <a:cubicBezTo>
                        <a:pt x="294685" y="116227"/>
                        <a:pt x="286965" y="116658"/>
                        <a:pt x="289602" y="113007"/>
                      </a:cubicBezTo>
                      <a:cubicBezTo>
                        <a:pt x="291516" y="110370"/>
                        <a:pt x="296206" y="112044"/>
                        <a:pt x="296916" y="111055"/>
                      </a:cubicBezTo>
                      <a:cubicBezTo>
                        <a:pt x="304408" y="100711"/>
                        <a:pt x="295978" y="96553"/>
                        <a:pt x="296713" y="85385"/>
                      </a:cubicBezTo>
                      <a:cubicBezTo>
                        <a:pt x="297157" y="78628"/>
                        <a:pt x="302380" y="73621"/>
                        <a:pt x="302278" y="64735"/>
                      </a:cubicBezTo>
                      <a:cubicBezTo>
                        <a:pt x="318935" y="74432"/>
                        <a:pt x="335605" y="84142"/>
                        <a:pt x="352287" y="93840"/>
                      </a:cubicBezTo>
                      <a:cubicBezTo>
                        <a:pt x="358321" y="97351"/>
                        <a:pt x="370047" y="101471"/>
                        <a:pt x="374623" y="106821"/>
                      </a:cubicBezTo>
                      <a:cubicBezTo>
                        <a:pt x="378908" y="111841"/>
                        <a:pt x="378515" y="117532"/>
                        <a:pt x="381773" y="123161"/>
                      </a:cubicBezTo>
                      <a:cubicBezTo>
                        <a:pt x="391318" y="139615"/>
                        <a:pt x="413388" y="154941"/>
                        <a:pt x="426838" y="168606"/>
                      </a:cubicBezTo>
                      <a:cubicBezTo>
                        <a:pt x="440592" y="182576"/>
                        <a:pt x="442937" y="188711"/>
                        <a:pt x="461876" y="185656"/>
                      </a:cubicBezTo>
                      <a:cubicBezTo>
                        <a:pt x="496064" y="180129"/>
                        <a:pt x="528808" y="174349"/>
                        <a:pt x="563402" y="177074"/>
                      </a:cubicBezTo>
                      <a:cubicBezTo>
                        <a:pt x="581922" y="178532"/>
                        <a:pt x="602699" y="183032"/>
                        <a:pt x="621219" y="181688"/>
                      </a:cubicBezTo>
                      <a:cubicBezTo>
                        <a:pt x="633972" y="180776"/>
                        <a:pt x="651694" y="163269"/>
                        <a:pt x="663191" y="167516"/>
                      </a:cubicBezTo>
                      <a:cubicBezTo>
                        <a:pt x="670759" y="170343"/>
                        <a:pt x="677807" y="184921"/>
                        <a:pt x="684057" y="190194"/>
                      </a:cubicBezTo>
                      <a:cubicBezTo>
                        <a:pt x="690953" y="196026"/>
                        <a:pt x="700613" y="198827"/>
                        <a:pt x="706558" y="205533"/>
                      </a:cubicBezTo>
                      <a:cubicBezTo>
                        <a:pt x="713669" y="213557"/>
                        <a:pt x="716027" y="225929"/>
                        <a:pt x="722454" y="234537"/>
                      </a:cubicBezTo>
                      <a:cubicBezTo>
                        <a:pt x="731024" y="246022"/>
                        <a:pt x="736005" y="238010"/>
                        <a:pt x="749062" y="231761"/>
                      </a:cubicBezTo>
                      <a:cubicBezTo>
                        <a:pt x="747757" y="249799"/>
                        <a:pt x="745158" y="270107"/>
                        <a:pt x="742547" y="285889"/>
                      </a:cubicBezTo>
                      <a:cubicBezTo>
                        <a:pt x="741887" y="289921"/>
                        <a:pt x="739808" y="316706"/>
                        <a:pt x="742217" y="319292"/>
                      </a:cubicBezTo>
                      <a:cubicBezTo>
                        <a:pt x="748111" y="325656"/>
                        <a:pt x="769662" y="315071"/>
                        <a:pt x="776849" y="319875"/>
                      </a:cubicBezTo>
                      <a:cubicBezTo>
                        <a:pt x="783276" y="324198"/>
                        <a:pt x="785875" y="363039"/>
                        <a:pt x="788600" y="374169"/>
                      </a:cubicBezTo>
                      <a:cubicBezTo>
                        <a:pt x="790705" y="382801"/>
                        <a:pt x="790426" y="390775"/>
                        <a:pt x="798843" y="394362"/>
                      </a:cubicBezTo>
                      <a:cubicBezTo>
                        <a:pt x="807577" y="398064"/>
                        <a:pt x="824804" y="393830"/>
                        <a:pt x="834274" y="393323"/>
                      </a:cubicBezTo>
                      <a:cubicBezTo>
                        <a:pt x="846431" y="392689"/>
                        <a:pt x="858651" y="391561"/>
                        <a:pt x="870858" y="391345"/>
                      </a:cubicBezTo>
                      <a:cubicBezTo>
                        <a:pt x="876854" y="391231"/>
                        <a:pt x="878819" y="395782"/>
                        <a:pt x="884828" y="389926"/>
                      </a:cubicBezTo>
                      <a:cubicBezTo>
                        <a:pt x="887046" y="394730"/>
                        <a:pt x="890710" y="398508"/>
                        <a:pt x="891965" y="403730"/>
                      </a:cubicBezTo>
                      <a:cubicBezTo>
                        <a:pt x="894246" y="402349"/>
                        <a:pt x="893803" y="403756"/>
                        <a:pt x="895501" y="403730"/>
                      </a:cubicBezTo>
                      <a:cubicBezTo>
                        <a:pt x="895527" y="403718"/>
                        <a:pt x="897910" y="401778"/>
                        <a:pt x="898125" y="401626"/>
                      </a:cubicBezTo>
                      <a:cubicBezTo>
                        <a:pt x="898062" y="403553"/>
                        <a:pt x="898810" y="403870"/>
                        <a:pt x="899152" y="404884"/>
                      </a:cubicBezTo>
                      <a:cubicBezTo>
                        <a:pt x="898569" y="405530"/>
                        <a:pt x="897352" y="405682"/>
                        <a:pt x="896820" y="406278"/>
                      </a:cubicBezTo>
                      <a:cubicBezTo>
                        <a:pt x="901155" y="412553"/>
                        <a:pt x="894614" y="421059"/>
                        <a:pt x="888758" y="423975"/>
                      </a:cubicBezTo>
                      <a:cubicBezTo>
                        <a:pt x="900775" y="426307"/>
                        <a:pt x="909179" y="440403"/>
                        <a:pt x="922198" y="443066"/>
                      </a:cubicBezTo>
                      <a:cubicBezTo>
                        <a:pt x="921894" y="443002"/>
                        <a:pt x="934849" y="441418"/>
                        <a:pt x="934444" y="441811"/>
                      </a:cubicBezTo>
                      <a:cubicBezTo>
                        <a:pt x="938019" y="438261"/>
                        <a:pt x="932694" y="434445"/>
                        <a:pt x="932137" y="431631"/>
                      </a:cubicBezTo>
                      <a:cubicBezTo>
                        <a:pt x="930907" y="425445"/>
                        <a:pt x="930666" y="421072"/>
                        <a:pt x="931642" y="415013"/>
                      </a:cubicBezTo>
                      <a:cubicBezTo>
                        <a:pt x="938576" y="411742"/>
                        <a:pt x="941936" y="405467"/>
                        <a:pt x="947944" y="399294"/>
                      </a:cubicBezTo>
                      <a:cubicBezTo>
                        <a:pt x="953408" y="393691"/>
                        <a:pt x="963524" y="393716"/>
                        <a:pt x="966553" y="386072"/>
                      </a:cubicBezTo>
                      <a:cubicBezTo>
                        <a:pt x="971028" y="374853"/>
                        <a:pt x="963828" y="379772"/>
                        <a:pt x="970775" y="372533"/>
                      </a:cubicBezTo>
                      <a:cubicBezTo>
                        <a:pt x="975364" y="367742"/>
                        <a:pt x="983007" y="368857"/>
                        <a:pt x="988965" y="365739"/>
                      </a:cubicBezTo>
                      <a:cubicBezTo>
                        <a:pt x="993314" y="363470"/>
                        <a:pt x="997471" y="355965"/>
                        <a:pt x="1007245" y="350793"/>
                      </a:cubicBezTo>
                      <a:cubicBezTo>
                        <a:pt x="1017057" y="345608"/>
                        <a:pt x="1026906" y="345545"/>
                        <a:pt x="1036262" y="340018"/>
                      </a:cubicBezTo>
                      <a:cubicBezTo>
                        <a:pt x="1045059" y="334821"/>
                        <a:pt x="1051537" y="327582"/>
                        <a:pt x="1058471" y="320902"/>
                      </a:cubicBezTo>
                      <a:cubicBezTo>
                        <a:pt x="1061817" y="317695"/>
                        <a:pt x="1061526" y="313765"/>
                        <a:pt x="1067370" y="312688"/>
                      </a:cubicBezTo>
                      <a:cubicBezTo>
                        <a:pt x="1074152" y="311407"/>
                        <a:pt x="1073150" y="316858"/>
                        <a:pt x="1076269" y="316858"/>
                      </a:cubicBezTo>
                      <a:cubicBezTo>
                        <a:pt x="1086258" y="316845"/>
                        <a:pt x="1085307" y="306831"/>
                        <a:pt x="1093395" y="302077"/>
                      </a:cubicBezTo>
                      <a:cubicBezTo>
                        <a:pt x="1095119" y="301063"/>
                        <a:pt x="1105450" y="297907"/>
                        <a:pt x="1108214" y="296956"/>
                      </a:cubicBezTo>
                      <a:cubicBezTo>
                        <a:pt x="1118722" y="293343"/>
                        <a:pt x="1118875" y="298135"/>
                        <a:pt x="1129966" y="302115"/>
                      </a:cubicBezTo>
                      <a:cubicBezTo>
                        <a:pt x="1127406" y="311534"/>
                        <a:pt x="1108835" y="311572"/>
                        <a:pt x="1102864" y="316212"/>
                      </a:cubicBezTo>
                      <a:cubicBezTo>
                        <a:pt x="1099137" y="319115"/>
                        <a:pt x="1100506" y="324236"/>
                        <a:pt x="1097540" y="326632"/>
                      </a:cubicBezTo>
                      <a:cubicBezTo>
                        <a:pt x="1094206" y="329344"/>
                        <a:pt x="1087538" y="328597"/>
                        <a:pt x="1083355" y="330967"/>
                      </a:cubicBezTo>
                      <a:cubicBezTo>
                        <a:pt x="1076953" y="334618"/>
                        <a:pt x="1075762" y="340474"/>
                        <a:pt x="1070881" y="344962"/>
                      </a:cubicBezTo>
                      <a:cubicBezTo>
                        <a:pt x="1067357" y="348182"/>
                        <a:pt x="1061665" y="350033"/>
                        <a:pt x="1057634" y="352593"/>
                      </a:cubicBezTo>
                      <a:cubicBezTo>
                        <a:pt x="1041383" y="362925"/>
                        <a:pt x="1053147" y="359337"/>
                        <a:pt x="1062895" y="364218"/>
                      </a:cubicBezTo>
                      <a:cubicBezTo>
                        <a:pt x="1064530" y="365042"/>
                        <a:pt x="1069068" y="370873"/>
                        <a:pt x="1069715" y="371012"/>
                      </a:cubicBezTo>
                      <a:cubicBezTo>
                        <a:pt x="1075369" y="372369"/>
                        <a:pt x="1077131" y="367450"/>
                        <a:pt x="1082759" y="367197"/>
                      </a:cubicBezTo>
                      <a:cubicBezTo>
                        <a:pt x="1095981" y="366613"/>
                        <a:pt x="1089161" y="377667"/>
                        <a:pt x="1093217" y="383854"/>
                      </a:cubicBezTo>
                      <a:cubicBezTo>
                        <a:pt x="1098212" y="391497"/>
                        <a:pt x="1117303" y="388620"/>
                        <a:pt x="1124592" y="397988"/>
                      </a:cubicBezTo>
                      <a:cubicBezTo>
                        <a:pt x="1123527" y="385159"/>
                        <a:pt x="1129079" y="396137"/>
                        <a:pt x="1132692" y="397493"/>
                      </a:cubicBezTo>
                      <a:cubicBezTo>
                        <a:pt x="1129459" y="396276"/>
                        <a:pt x="1143771" y="394033"/>
                        <a:pt x="1141198" y="396961"/>
                      </a:cubicBezTo>
                      <a:cubicBezTo>
                        <a:pt x="1144798" y="392879"/>
                        <a:pt x="1141642" y="382231"/>
                        <a:pt x="1142237" y="377021"/>
                      </a:cubicBezTo>
                      <a:cubicBezTo>
                        <a:pt x="1147004" y="381800"/>
                        <a:pt x="1150870" y="382307"/>
                        <a:pt x="1155193" y="377934"/>
                      </a:cubicBezTo>
                      <a:cubicBezTo>
                        <a:pt x="1160606" y="372407"/>
                        <a:pt x="1154812" y="368667"/>
                        <a:pt x="1156055" y="365650"/>
                      </a:cubicBezTo>
                      <a:cubicBezTo>
                        <a:pt x="1159756" y="356548"/>
                        <a:pt x="1165233" y="360668"/>
                        <a:pt x="1160948" y="370163"/>
                      </a:cubicBezTo>
                      <a:cubicBezTo>
                        <a:pt x="1161823" y="369631"/>
                        <a:pt x="1161759" y="369352"/>
                        <a:pt x="1162735" y="368236"/>
                      </a:cubicBezTo>
                      <a:cubicBezTo>
                        <a:pt x="1164180" y="367792"/>
                        <a:pt x="1163268" y="370328"/>
                        <a:pt x="1164624" y="370226"/>
                      </a:cubicBezTo>
                      <a:cubicBezTo>
                        <a:pt x="1165042" y="369364"/>
                        <a:pt x="1165157" y="368300"/>
                        <a:pt x="1165765" y="367526"/>
                      </a:cubicBezTo>
                      <a:cubicBezTo>
                        <a:pt x="1172902" y="373763"/>
                        <a:pt x="1171355" y="381217"/>
                        <a:pt x="1175310" y="386718"/>
                      </a:cubicBezTo>
                      <a:cubicBezTo>
                        <a:pt x="1177846" y="390217"/>
                        <a:pt x="1182942" y="393057"/>
                        <a:pt x="1188266" y="393437"/>
                      </a:cubicBezTo>
                      <a:cubicBezTo>
                        <a:pt x="1193463" y="393805"/>
                        <a:pt x="1192576" y="387251"/>
                        <a:pt x="1197748" y="392676"/>
                      </a:cubicBezTo>
                      <a:cubicBezTo>
                        <a:pt x="1200296" y="395351"/>
                        <a:pt x="1199054" y="404364"/>
                        <a:pt x="1197418" y="407495"/>
                      </a:cubicBezTo>
                      <a:cubicBezTo>
                        <a:pt x="1202172" y="407026"/>
                        <a:pt x="1207560" y="401157"/>
                        <a:pt x="1209753" y="401056"/>
                      </a:cubicBezTo>
                      <a:cubicBezTo>
                        <a:pt x="1208967" y="401094"/>
                        <a:pt x="1221402" y="407736"/>
                        <a:pt x="1221073" y="407470"/>
                      </a:cubicBezTo>
                      <a:cubicBezTo>
                        <a:pt x="1223684" y="409422"/>
                        <a:pt x="1227462" y="416420"/>
                        <a:pt x="1232443" y="418486"/>
                      </a:cubicBezTo>
                      <a:cubicBezTo>
                        <a:pt x="1238300" y="420920"/>
                        <a:pt x="1250039" y="414619"/>
                        <a:pt x="1249544" y="423316"/>
                      </a:cubicBezTo>
                      <a:cubicBezTo>
                        <a:pt x="1258887" y="417028"/>
                        <a:pt x="1279588" y="419766"/>
                        <a:pt x="1259216" y="429895"/>
                      </a:cubicBezTo>
                      <a:cubicBezTo>
                        <a:pt x="1255819" y="431581"/>
                        <a:pt x="1248238" y="433127"/>
                        <a:pt x="1245728" y="435282"/>
                      </a:cubicBezTo>
                      <a:cubicBezTo>
                        <a:pt x="1243130" y="437501"/>
                        <a:pt x="1242597" y="441392"/>
                        <a:pt x="1240759" y="443078"/>
                      </a:cubicBezTo>
                      <a:cubicBezTo>
                        <a:pt x="1241279" y="442597"/>
                        <a:pt x="1230504" y="450240"/>
                        <a:pt x="1231429" y="450164"/>
                      </a:cubicBezTo>
                      <a:cubicBezTo>
                        <a:pt x="1220743" y="451039"/>
                        <a:pt x="1210462" y="433393"/>
                        <a:pt x="1212072" y="450000"/>
                      </a:cubicBezTo>
                      <a:cubicBezTo>
                        <a:pt x="1212453" y="453638"/>
                        <a:pt x="1219944" y="453105"/>
                        <a:pt x="1215837" y="458848"/>
                      </a:cubicBezTo>
                      <a:cubicBezTo>
                        <a:pt x="1212427" y="463640"/>
                        <a:pt x="1205772" y="457504"/>
                        <a:pt x="1200854" y="457542"/>
                      </a:cubicBezTo>
                      <a:cubicBezTo>
                        <a:pt x="1201830" y="457061"/>
                        <a:pt x="1203782" y="455577"/>
                        <a:pt x="1204695" y="455197"/>
                      </a:cubicBezTo>
                      <a:cubicBezTo>
                        <a:pt x="1196632" y="452801"/>
                        <a:pt x="1175779" y="467734"/>
                        <a:pt x="1187074" y="472741"/>
                      </a:cubicBezTo>
                      <a:cubicBezTo>
                        <a:pt x="1185059" y="473515"/>
                        <a:pt x="1181649" y="472450"/>
                        <a:pt x="1179443" y="473426"/>
                      </a:cubicBezTo>
                      <a:cubicBezTo>
                        <a:pt x="1177985" y="474085"/>
                        <a:pt x="1175513" y="472247"/>
                        <a:pt x="1173764" y="472855"/>
                      </a:cubicBezTo>
                      <a:cubicBezTo>
                        <a:pt x="1171533" y="473616"/>
                        <a:pt x="1170912" y="477140"/>
                        <a:pt x="1169416" y="477711"/>
                      </a:cubicBezTo>
                      <a:cubicBezTo>
                        <a:pt x="1157982" y="482097"/>
                        <a:pt x="1164649" y="481133"/>
                        <a:pt x="1157728" y="472044"/>
                      </a:cubicBezTo>
                      <a:cubicBezTo>
                        <a:pt x="1154204" y="484467"/>
                        <a:pt x="1140703" y="469014"/>
                        <a:pt x="1133237" y="469014"/>
                      </a:cubicBezTo>
                      <a:cubicBezTo>
                        <a:pt x="1130803" y="469014"/>
                        <a:pt x="1130867" y="467151"/>
                        <a:pt x="1128420" y="467443"/>
                      </a:cubicBezTo>
                      <a:cubicBezTo>
                        <a:pt x="1127254" y="467569"/>
                        <a:pt x="1126316" y="471347"/>
                        <a:pt x="1123768" y="471803"/>
                      </a:cubicBezTo>
                      <a:cubicBezTo>
                        <a:pt x="1114311" y="473540"/>
                        <a:pt x="1104994" y="474174"/>
                        <a:pt x="1094979" y="475657"/>
                      </a:cubicBezTo>
                      <a:cubicBezTo>
                        <a:pt x="1091835" y="476139"/>
                        <a:pt x="1086651" y="478801"/>
                        <a:pt x="1083342" y="477191"/>
                      </a:cubicBezTo>
                      <a:cubicBezTo>
                        <a:pt x="1078386" y="474770"/>
                        <a:pt x="1080896" y="469686"/>
                        <a:pt x="1077549" y="466885"/>
                      </a:cubicBezTo>
                      <a:cubicBezTo>
                        <a:pt x="1072618" y="462714"/>
                        <a:pt x="1068257" y="465871"/>
                        <a:pt x="1065519" y="460559"/>
                      </a:cubicBezTo>
                      <a:cubicBezTo>
                        <a:pt x="1060740" y="451318"/>
                        <a:pt x="1074202" y="449188"/>
                        <a:pt x="1080997" y="443497"/>
                      </a:cubicBezTo>
                      <a:cubicBezTo>
                        <a:pt x="1083304" y="441570"/>
                        <a:pt x="1094257" y="435460"/>
                        <a:pt x="1093686" y="431834"/>
                      </a:cubicBezTo>
                      <a:cubicBezTo>
                        <a:pt x="1093674" y="431733"/>
                        <a:pt x="1074900" y="418245"/>
                        <a:pt x="1089313" y="425876"/>
                      </a:cubicBezTo>
                      <a:cubicBezTo>
                        <a:pt x="1087842" y="420539"/>
                        <a:pt x="1078081" y="410233"/>
                        <a:pt x="1072593" y="407470"/>
                      </a:cubicBezTo>
                      <a:cubicBezTo>
                        <a:pt x="1060334" y="401296"/>
                        <a:pt x="1065392" y="412528"/>
                        <a:pt x="1055352" y="419589"/>
                      </a:cubicBezTo>
                      <a:cubicBezTo>
                        <a:pt x="1045706" y="426371"/>
                        <a:pt x="1033206" y="428272"/>
                        <a:pt x="1022748" y="433178"/>
                      </a:cubicBezTo>
                      <a:cubicBezTo>
                        <a:pt x="1013583" y="437450"/>
                        <a:pt x="1018058" y="440771"/>
                        <a:pt x="1009147" y="435269"/>
                      </a:cubicBezTo>
                      <a:cubicBezTo>
                        <a:pt x="1004811" y="432595"/>
                        <a:pt x="1000210" y="423810"/>
                        <a:pt x="994277" y="424558"/>
                      </a:cubicBezTo>
                      <a:cubicBezTo>
                        <a:pt x="982893" y="425990"/>
                        <a:pt x="989701" y="436043"/>
                        <a:pt x="986557" y="441570"/>
                      </a:cubicBezTo>
                      <a:cubicBezTo>
                        <a:pt x="984808" y="444625"/>
                        <a:pt x="978583" y="442280"/>
                        <a:pt x="978038" y="446197"/>
                      </a:cubicBezTo>
                      <a:cubicBezTo>
                        <a:pt x="977709" y="448795"/>
                        <a:pt x="982272" y="455108"/>
                        <a:pt x="983324" y="458087"/>
                      </a:cubicBezTo>
                      <a:cubicBezTo>
                        <a:pt x="985251" y="463551"/>
                        <a:pt x="989473" y="472564"/>
                        <a:pt x="978786" y="468647"/>
                      </a:cubicBezTo>
                      <a:cubicBezTo>
                        <a:pt x="988471" y="485050"/>
                        <a:pt x="976999" y="475429"/>
                        <a:pt x="964791" y="474415"/>
                      </a:cubicBezTo>
                      <a:cubicBezTo>
                        <a:pt x="957857" y="473832"/>
                        <a:pt x="938652" y="476963"/>
                        <a:pt x="932415" y="480309"/>
                      </a:cubicBezTo>
                      <a:cubicBezTo>
                        <a:pt x="939971" y="489386"/>
                        <a:pt x="958516" y="476582"/>
                        <a:pt x="961952" y="484657"/>
                      </a:cubicBezTo>
                      <a:cubicBezTo>
                        <a:pt x="964880" y="491541"/>
                        <a:pt x="948857" y="489931"/>
                        <a:pt x="946740" y="487624"/>
                      </a:cubicBezTo>
                      <a:cubicBezTo>
                        <a:pt x="945827" y="493835"/>
                        <a:pt x="952001" y="495534"/>
                        <a:pt x="953306" y="501897"/>
                      </a:cubicBezTo>
                      <a:cubicBezTo>
                        <a:pt x="955461" y="512292"/>
                        <a:pt x="947792" y="498728"/>
                        <a:pt x="945586" y="496231"/>
                      </a:cubicBezTo>
                      <a:cubicBezTo>
                        <a:pt x="946816" y="501365"/>
                        <a:pt x="948071" y="505916"/>
                        <a:pt x="944306" y="510188"/>
                      </a:cubicBezTo>
                      <a:cubicBezTo>
                        <a:pt x="935458" y="496852"/>
                        <a:pt x="934482" y="527339"/>
                        <a:pt x="927142" y="532486"/>
                      </a:cubicBezTo>
                      <a:cubicBezTo>
                        <a:pt x="913718" y="541866"/>
                        <a:pt x="888998" y="526693"/>
                        <a:pt x="872468" y="527314"/>
                      </a:cubicBezTo>
                      <a:cubicBezTo>
                        <a:pt x="856876" y="527910"/>
                        <a:pt x="851020" y="536682"/>
                        <a:pt x="845733" y="546645"/>
                      </a:cubicBezTo>
                      <a:cubicBezTo>
                        <a:pt x="845226" y="547622"/>
                        <a:pt x="840840" y="558397"/>
                        <a:pt x="840878" y="558561"/>
                      </a:cubicBezTo>
                      <a:cubicBezTo>
                        <a:pt x="842590" y="568880"/>
                        <a:pt x="854924" y="563340"/>
                        <a:pt x="861338" y="567866"/>
                      </a:cubicBezTo>
                      <a:cubicBezTo>
                        <a:pt x="867436" y="572151"/>
                        <a:pt x="860730" y="574154"/>
                        <a:pt x="865052" y="579402"/>
                      </a:cubicBezTo>
                      <a:cubicBezTo>
                        <a:pt x="869426" y="584713"/>
                        <a:pt x="876030" y="582038"/>
                        <a:pt x="882254" y="581861"/>
                      </a:cubicBezTo>
                      <a:cubicBezTo>
                        <a:pt x="889087" y="581633"/>
                        <a:pt x="901409" y="578603"/>
                        <a:pt x="901751" y="590950"/>
                      </a:cubicBezTo>
                      <a:cubicBezTo>
                        <a:pt x="901954" y="598480"/>
                        <a:pt x="896769" y="595361"/>
                        <a:pt x="894297" y="599595"/>
                      </a:cubicBezTo>
                      <a:cubicBezTo>
                        <a:pt x="893308" y="601307"/>
                        <a:pt x="892953" y="608317"/>
                        <a:pt x="892953" y="610497"/>
                      </a:cubicBezTo>
                      <a:cubicBezTo>
                        <a:pt x="892941" y="616557"/>
                        <a:pt x="894018" y="622920"/>
                        <a:pt x="896503" y="628308"/>
                      </a:cubicBezTo>
                      <a:cubicBezTo>
                        <a:pt x="900344" y="636623"/>
                        <a:pt x="909826" y="638652"/>
                        <a:pt x="914009" y="645751"/>
                      </a:cubicBezTo>
                      <a:cubicBezTo>
                        <a:pt x="923225" y="661343"/>
                        <a:pt x="904629" y="668429"/>
                        <a:pt x="898100" y="675363"/>
                      </a:cubicBezTo>
                      <a:cubicBezTo>
                        <a:pt x="893993" y="679724"/>
                        <a:pt x="892117" y="688572"/>
                        <a:pt x="887794" y="693744"/>
                      </a:cubicBezTo>
                      <a:cubicBezTo>
                        <a:pt x="883509" y="698852"/>
                        <a:pt x="877868" y="702440"/>
                        <a:pt x="875827" y="709235"/>
                      </a:cubicBezTo>
                      <a:cubicBezTo>
                        <a:pt x="873127" y="718248"/>
                        <a:pt x="878160" y="726538"/>
                        <a:pt x="873229" y="735412"/>
                      </a:cubicBezTo>
                      <a:cubicBezTo>
                        <a:pt x="868551" y="727539"/>
                        <a:pt x="862099" y="733269"/>
                        <a:pt x="857066" y="732750"/>
                      </a:cubicBezTo>
                      <a:cubicBezTo>
                        <a:pt x="853428" y="732369"/>
                        <a:pt x="855152" y="728211"/>
                        <a:pt x="850170" y="728592"/>
                      </a:cubicBezTo>
                      <a:cubicBezTo>
                        <a:pt x="848472" y="728718"/>
                        <a:pt x="843705" y="732750"/>
                        <a:pt x="841043" y="733345"/>
                      </a:cubicBezTo>
                      <a:cubicBezTo>
                        <a:pt x="833475" y="735044"/>
                        <a:pt x="831029" y="733789"/>
                        <a:pt x="825020" y="727768"/>
                      </a:cubicBezTo>
                      <a:cubicBezTo>
                        <a:pt x="814334" y="717056"/>
                        <a:pt x="811519" y="720846"/>
                        <a:pt x="795230" y="720922"/>
                      </a:cubicBezTo>
                      <a:cubicBezTo>
                        <a:pt x="791110" y="720935"/>
                        <a:pt x="788397" y="722697"/>
                        <a:pt x="783378" y="719997"/>
                      </a:cubicBezTo>
                      <a:cubicBezTo>
                        <a:pt x="776456" y="716295"/>
                        <a:pt x="782325" y="720035"/>
                        <a:pt x="780132" y="715586"/>
                      </a:cubicBezTo>
                      <a:cubicBezTo>
                        <a:pt x="778003" y="711212"/>
                        <a:pt x="777914" y="693744"/>
                        <a:pt x="779841" y="686708"/>
                      </a:cubicBezTo>
                      <a:cubicBezTo>
                        <a:pt x="783340" y="674032"/>
                        <a:pt x="795522" y="671104"/>
                        <a:pt x="780500" y="663713"/>
                      </a:cubicBezTo>
                      <a:cubicBezTo>
                        <a:pt x="774111" y="660570"/>
                        <a:pt x="767532" y="659631"/>
                        <a:pt x="760902" y="655651"/>
                      </a:cubicBezTo>
                      <a:cubicBezTo>
                        <a:pt x="755908" y="652659"/>
                        <a:pt x="750152" y="649351"/>
                        <a:pt x="744740" y="647145"/>
                      </a:cubicBezTo>
                      <a:cubicBezTo>
                        <a:pt x="728577" y="640553"/>
                        <a:pt x="720274" y="650530"/>
                        <a:pt x="704403" y="641326"/>
                      </a:cubicBezTo>
                      <a:cubicBezTo>
                        <a:pt x="688823" y="632301"/>
                        <a:pt x="675310" y="618255"/>
                        <a:pt x="659300" y="610738"/>
                      </a:cubicBezTo>
                      <a:cubicBezTo>
                        <a:pt x="651783" y="607227"/>
                        <a:pt x="644646" y="605300"/>
                        <a:pt x="637648" y="600546"/>
                      </a:cubicBezTo>
                      <a:cubicBezTo>
                        <a:pt x="632502" y="597035"/>
                        <a:pt x="623666" y="585030"/>
                        <a:pt x="618228" y="583154"/>
                      </a:cubicBezTo>
                      <a:cubicBezTo>
                        <a:pt x="613690" y="581582"/>
                        <a:pt x="610609" y="585955"/>
                        <a:pt x="605995" y="585461"/>
                      </a:cubicBezTo>
                      <a:cubicBezTo>
                        <a:pt x="599213" y="584701"/>
                        <a:pt x="591366" y="576866"/>
                        <a:pt x="585675" y="573177"/>
                      </a:cubicBezTo>
                      <a:cubicBezTo>
                        <a:pt x="570361" y="563239"/>
                        <a:pt x="560195" y="549472"/>
                        <a:pt x="544907" y="539635"/>
                      </a:cubicBezTo>
                      <a:cubicBezTo>
                        <a:pt x="528960" y="529367"/>
                        <a:pt x="512734" y="519378"/>
                        <a:pt x="497028" y="508743"/>
                      </a:cubicBezTo>
                      <a:cubicBezTo>
                        <a:pt x="484047" y="499945"/>
                        <a:pt x="480231" y="495268"/>
                        <a:pt x="478000" y="481133"/>
                      </a:cubicBezTo>
                      <a:cubicBezTo>
                        <a:pt x="477214" y="476303"/>
                        <a:pt x="475427" y="461130"/>
                        <a:pt x="471979" y="457162"/>
                      </a:cubicBezTo>
                      <a:cubicBezTo>
                        <a:pt x="468632" y="453295"/>
                        <a:pt x="462636" y="453055"/>
                        <a:pt x="459302" y="449455"/>
                      </a:cubicBezTo>
                      <a:cubicBezTo>
                        <a:pt x="455842" y="445702"/>
                        <a:pt x="451861" y="437906"/>
                        <a:pt x="450010" y="433533"/>
                      </a:cubicBezTo>
                      <a:cubicBezTo>
                        <a:pt x="445193" y="422124"/>
                        <a:pt x="447285" y="408890"/>
                        <a:pt x="439210" y="399230"/>
                      </a:cubicBezTo>
                      <a:cubicBezTo>
                        <a:pt x="430983" y="389406"/>
                        <a:pt x="411676" y="377870"/>
                        <a:pt x="401168" y="384437"/>
                      </a:cubicBezTo>
                      <a:cubicBezTo>
                        <a:pt x="396972" y="387073"/>
                        <a:pt x="397732" y="393145"/>
                        <a:pt x="390633" y="393741"/>
                      </a:cubicBezTo>
                      <a:cubicBezTo>
                        <a:pt x="386133" y="394134"/>
                        <a:pt x="376195" y="387618"/>
                        <a:pt x="372747" y="386668"/>
                      </a:cubicBezTo>
                      <a:cubicBezTo>
                        <a:pt x="371048" y="389418"/>
                        <a:pt x="352173" y="385552"/>
                        <a:pt x="345290" y="386528"/>
                      </a:cubicBezTo>
                      <a:cubicBezTo>
                        <a:pt x="329926" y="388721"/>
                        <a:pt x="328747" y="385172"/>
                        <a:pt x="314967" y="377858"/>
                      </a:cubicBezTo>
                      <a:cubicBezTo>
                        <a:pt x="303229" y="371659"/>
                        <a:pt x="301885" y="372521"/>
                        <a:pt x="304661" y="359908"/>
                      </a:cubicBezTo>
                      <a:cubicBezTo>
                        <a:pt x="305333" y="356853"/>
                        <a:pt x="309719" y="358437"/>
                        <a:pt x="309618" y="354495"/>
                      </a:cubicBezTo>
                      <a:cubicBezTo>
                        <a:pt x="309504" y="350311"/>
                        <a:pt x="299401" y="345989"/>
                        <a:pt x="302202" y="340703"/>
                      </a:cubicBezTo>
                      <a:cubicBezTo>
                        <a:pt x="306157" y="333173"/>
                        <a:pt x="316615" y="344087"/>
                        <a:pt x="316248" y="337065"/>
                      </a:cubicBezTo>
                      <a:cubicBezTo>
                        <a:pt x="315880" y="330105"/>
                        <a:pt x="298070" y="326682"/>
                        <a:pt x="294951" y="324172"/>
                      </a:cubicBezTo>
                      <a:cubicBezTo>
                        <a:pt x="290438" y="320522"/>
                        <a:pt x="293747" y="323171"/>
                        <a:pt x="293341" y="320167"/>
                      </a:cubicBezTo>
                      <a:cubicBezTo>
                        <a:pt x="293303" y="319824"/>
                        <a:pt x="297550" y="319444"/>
                        <a:pt x="297753" y="318620"/>
                      </a:cubicBezTo>
                      <a:cubicBezTo>
                        <a:pt x="298386" y="316186"/>
                        <a:pt x="295509" y="312662"/>
                        <a:pt x="296181" y="310773"/>
                      </a:cubicBezTo>
                      <a:cubicBezTo>
                        <a:pt x="299134" y="302496"/>
                        <a:pt x="302380" y="302014"/>
                        <a:pt x="291566" y="296335"/>
                      </a:cubicBezTo>
                      <a:cubicBezTo>
                        <a:pt x="277673" y="289058"/>
                        <a:pt x="253372" y="300594"/>
                        <a:pt x="242255" y="287220"/>
                      </a:cubicBezTo>
                      <a:cubicBezTo>
                        <a:pt x="236601" y="280426"/>
                        <a:pt x="241786" y="275558"/>
                        <a:pt x="230757" y="272351"/>
                      </a:cubicBezTo>
                      <a:cubicBezTo>
                        <a:pt x="221351" y="269613"/>
                        <a:pt x="216623" y="271831"/>
                        <a:pt x="207699" y="263110"/>
                      </a:cubicBezTo>
                      <a:cubicBezTo>
                        <a:pt x="205860" y="261322"/>
                        <a:pt x="197050" y="249026"/>
                        <a:pt x="194173" y="249749"/>
                      </a:cubicBezTo>
                      <a:cubicBezTo>
                        <a:pt x="190357" y="250699"/>
                        <a:pt x="192854" y="259180"/>
                        <a:pt x="189013" y="261766"/>
                      </a:cubicBezTo>
                      <a:cubicBezTo>
                        <a:pt x="180913" y="267230"/>
                        <a:pt x="171139" y="253298"/>
                        <a:pt x="162684" y="261525"/>
                      </a:cubicBezTo>
                      <a:cubicBezTo>
                        <a:pt x="155218" y="268776"/>
                        <a:pt x="168477" y="268713"/>
                        <a:pt x="174030" y="274341"/>
                      </a:cubicBezTo>
                      <a:cubicBezTo>
                        <a:pt x="176540" y="276864"/>
                        <a:pt x="181445" y="284736"/>
                        <a:pt x="182574" y="287905"/>
                      </a:cubicBezTo>
                      <a:cubicBezTo>
                        <a:pt x="182029" y="286358"/>
                        <a:pt x="189216" y="302762"/>
                        <a:pt x="180900" y="294357"/>
                      </a:cubicBezTo>
                      <a:cubicBezTo>
                        <a:pt x="174778" y="288158"/>
                        <a:pt x="179569" y="282796"/>
                        <a:pt x="166398" y="278195"/>
                      </a:cubicBezTo>
                      <a:cubicBezTo>
                        <a:pt x="162190" y="276712"/>
                        <a:pt x="153494" y="274848"/>
                        <a:pt x="149285" y="276800"/>
                      </a:cubicBezTo>
                      <a:cubicBezTo>
                        <a:pt x="141755" y="280299"/>
                        <a:pt x="145038" y="289058"/>
                        <a:pt x="141882" y="296386"/>
                      </a:cubicBezTo>
                      <a:cubicBezTo>
                        <a:pt x="138092" y="305234"/>
                        <a:pt x="134048" y="301215"/>
                        <a:pt x="123919" y="306159"/>
                      </a:cubicBezTo>
                      <a:cubicBezTo>
                        <a:pt x="124072" y="298312"/>
                        <a:pt x="112270" y="289528"/>
                        <a:pt x="105741" y="289008"/>
                      </a:cubicBezTo>
                      <a:cubicBezTo>
                        <a:pt x="86803" y="287525"/>
                        <a:pt x="88958" y="313752"/>
                        <a:pt x="81656" y="324261"/>
                      </a:cubicBezTo>
                      <a:cubicBezTo>
                        <a:pt x="77447" y="330321"/>
                        <a:pt x="74696" y="328559"/>
                        <a:pt x="73036" y="336570"/>
                      </a:cubicBezTo>
                      <a:cubicBezTo>
                        <a:pt x="72085" y="341146"/>
                        <a:pt x="74025" y="349183"/>
                        <a:pt x="74696" y="353797"/>
                      </a:cubicBezTo>
                      <a:cubicBezTo>
                        <a:pt x="75888" y="361796"/>
                        <a:pt x="78246" y="374004"/>
                        <a:pt x="88248" y="375195"/>
                      </a:cubicBezTo>
                      <a:cubicBezTo>
                        <a:pt x="85763" y="376831"/>
                        <a:pt x="82885" y="380114"/>
                        <a:pt x="80249" y="381559"/>
                      </a:cubicBezTo>
                      <a:cubicBezTo>
                        <a:pt x="73682" y="385172"/>
                        <a:pt x="70437" y="383423"/>
                        <a:pt x="61703" y="382358"/>
                      </a:cubicBezTo>
                      <a:cubicBezTo>
                        <a:pt x="46212" y="380469"/>
                        <a:pt x="30050" y="380532"/>
                        <a:pt x="14470" y="379898"/>
                      </a:cubicBezTo>
                      <a:cubicBezTo>
                        <a:pt x="2149" y="379379"/>
                        <a:pt x="2884" y="381597"/>
                        <a:pt x="818" y="371050"/>
                      </a:cubicBezTo>
                      <a:cubicBezTo>
                        <a:pt x="-868" y="362468"/>
                        <a:pt x="767" y="351579"/>
                        <a:pt x="767" y="342845"/>
                      </a:cubicBezTo>
                      <a:cubicBezTo>
                        <a:pt x="742" y="327253"/>
                        <a:pt x="742" y="311521"/>
                        <a:pt x="716" y="295878"/>
                      </a:cubicBezTo>
                      <a:cubicBezTo>
                        <a:pt x="678" y="227920"/>
                        <a:pt x="716" y="158909"/>
                        <a:pt x="577" y="91710"/>
                      </a:cubicBezTo>
                      <a:cubicBezTo>
                        <a:pt x="564" y="83318"/>
                        <a:pt x="-818" y="53148"/>
                        <a:pt x="742" y="51298"/>
                      </a:cubicBezTo>
                      <a:cubicBezTo>
                        <a:pt x="6801" y="44021"/>
                        <a:pt x="44780" y="38900"/>
                        <a:pt x="56873" y="35541"/>
                      </a:cubicBezTo>
                      <a:cubicBezTo>
                        <a:pt x="83862" y="28036"/>
                        <a:pt x="110799" y="20456"/>
                        <a:pt x="137864" y="13179"/>
                      </a:cubicBezTo>
                      <a:cubicBezTo>
                        <a:pt x="150439" y="9795"/>
                        <a:pt x="163064" y="6511"/>
                        <a:pt x="175716" y="3380"/>
                      </a:cubicBezTo>
                      <a:cubicBezTo>
                        <a:pt x="187568" y="439"/>
                        <a:pt x="193628" y="-4124"/>
                        <a:pt x="191536" y="7678"/>
                      </a:cubicBezTo>
                      <a:cubicBezTo>
                        <a:pt x="190192" y="15208"/>
                        <a:pt x="184323" y="18263"/>
                        <a:pt x="180824" y="25019"/>
                      </a:cubicBezTo>
                      <a:cubicBezTo>
                        <a:pt x="177490" y="31484"/>
                        <a:pt x="176033" y="39762"/>
                        <a:pt x="173142" y="46290"/>
                      </a:cubicBezTo>
                      <a:cubicBezTo>
                        <a:pt x="170430" y="52375"/>
                        <a:pt x="166170" y="59030"/>
                        <a:pt x="167083" y="65990"/>
                      </a:cubicBezTo>
                      <a:cubicBezTo>
                        <a:pt x="167856" y="71643"/>
                        <a:pt x="173992" y="76283"/>
                        <a:pt x="173535" y="81975"/>
                      </a:cubicBezTo>
                      <a:cubicBezTo>
                        <a:pt x="172889" y="89961"/>
                        <a:pt x="161581" y="94613"/>
                        <a:pt x="172699" y="102764"/>
                      </a:cubicBezTo>
                      <a:lnTo>
                        <a:pt x="172699" y="102764"/>
                      </a:lnTo>
                      <a:close/>
                    </a:path>
                  </a:pathLst>
                </a:custGeom>
                <a:solidFill>
                  <a:srgbClr val="D6D6D2"/>
                </a:solidFill>
                <a:ln w="12413" cap="rnd">
                  <a:solidFill>
                    <a:srgbClr val="FFFFFF"/>
                  </a:solidFill>
                  <a:prstDash val="solid"/>
                  <a:round/>
                </a:ln>
              </p:spPr>
              <p:txBody>
                <a:bodyPr rtlCol="0" anchor="ctr"/>
                <a:lstStyle/>
                <a:p>
                  <a:endParaRPr lang="en-US"/>
                </a:p>
              </p:txBody>
            </p:sp>
            <p:sp>
              <p:nvSpPr>
                <p:cNvPr id="70" name="Freeform: Shape 69">
                  <a:extLst>
                    <a:ext uri="{FF2B5EF4-FFF2-40B4-BE49-F238E27FC236}">
                      <a16:creationId xmlns:a16="http://schemas.microsoft.com/office/drawing/2014/main" id="{4EF38884-2E2E-4253-9A65-26E58E6CAA88}"/>
                    </a:ext>
                  </a:extLst>
                </p:cNvPr>
                <p:cNvSpPr/>
                <p:nvPr/>
              </p:nvSpPr>
              <p:spPr>
                <a:xfrm>
                  <a:off x="4798736" y="3000543"/>
                  <a:ext cx="143916" cy="262571"/>
                </a:xfrm>
                <a:custGeom>
                  <a:avLst/>
                  <a:gdLst>
                    <a:gd name="connsiteX0" fmla="*/ 116586 w 143916"/>
                    <a:gd name="connsiteY0" fmla="*/ 4706 h 262571"/>
                    <a:gd name="connsiteX1" fmla="*/ 120148 w 143916"/>
                    <a:gd name="connsiteY1" fmla="*/ 6455 h 262571"/>
                    <a:gd name="connsiteX2" fmla="*/ 135575 w 143916"/>
                    <a:gd name="connsiteY2" fmla="*/ 13250 h 262571"/>
                    <a:gd name="connsiteX3" fmla="*/ 143917 w 143916"/>
                    <a:gd name="connsiteY3" fmla="*/ 21997 h 262571"/>
                    <a:gd name="connsiteX4" fmla="*/ 134752 w 143916"/>
                    <a:gd name="connsiteY4" fmla="*/ 53599 h 262571"/>
                    <a:gd name="connsiteX5" fmla="*/ 131722 w 143916"/>
                    <a:gd name="connsiteY5" fmla="*/ 54183 h 262571"/>
                    <a:gd name="connsiteX6" fmla="*/ 126702 w 143916"/>
                    <a:gd name="connsiteY6" fmla="*/ 76113 h 262571"/>
                    <a:gd name="connsiteX7" fmla="*/ 116979 w 143916"/>
                    <a:gd name="connsiteY7" fmla="*/ 90082 h 262571"/>
                    <a:gd name="connsiteX8" fmla="*/ 113937 w 143916"/>
                    <a:gd name="connsiteY8" fmla="*/ 106448 h 262571"/>
                    <a:gd name="connsiteX9" fmla="*/ 96849 w 143916"/>
                    <a:gd name="connsiteY9" fmla="*/ 170135 h 262571"/>
                    <a:gd name="connsiteX10" fmla="*/ 71407 w 143916"/>
                    <a:gd name="connsiteY10" fmla="*/ 204792 h 262571"/>
                    <a:gd name="connsiteX11" fmla="*/ 60302 w 143916"/>
                    <a:gd name="connsiteY11" fmla="*/ 232884 h 262571"/>
                    <a:gd name="connsiteX12" fmla="*/ 60175 w 143916"/>
                    <a:gd name="connsiteY12" fmla="*/ 252900 h 262571"/>
                    <a:gd name="connsiteX13" fmla="*/ 57767 w 143916"/>
                    <a:gd name="connsiteY13" fmla="*/ 262572 h 262571"/>
                    <a:gd name="connsiteX14" fmla="*/ 47537 w 143916"/>
                    <a:gd name="connsiteY14" fmla="*/ 257603 h 262571"/>
                    <a:gd name="connsiteX15" fmla="*/ 42112 w 143916"/>
                    <a:gd name="connsiteY15" fmla="*/ 233885 h 262571"/>
                    <a:gd name="connsiteX16" fmla="*/ 16721 w 143916"/>
                    <a:gd name="connsiteY16" fmla="*/ 210395 h 262571"/>
                    <a:gd name="connsiteX17" fmla="*/ 20283 w 143916"/>
                    <a:gd name="connsiteY17" fmla="*/ 214566 h 262571"/>
                    <a:gd name="connsiteX18" fmla="*/ 7910 w 143916"/>
                    <a:gd name="connsiteY18" fmla="*/ 175433 h 262571"/>
                    <a:gd name="connsiteX19" fmla="*/ 4031 w 143916"/>
                    <a:gd name="connsiteY19" fmla="*/ 177297 h 262571"/>
                    <a:gd name="connsiteX20" fmla="*/ 3042 w 143916"/>
                    <a:gd name="connsiteY20" fmla="*/ 170363 h 262571"/>
                    <a:gd name="connsiteX21" fmla="*/ 0 w 143916"/>
                    <a:gd name="connsiteY21" fmla="*/ 169298 h 262571"/>
                    <a:gd name="connsiteX22" fmla="*/ 2218 w 143916"/>
                    <a:gd name="connsiteY22" fmla="*/ 168766 h 262571"/>
                    <a:gd name="connsiteX23" fmla="*/ 6617 w 143916"/>
                    <a:gd name="connsiteY23" fmla="*/ 152895 h 262571"/>
                    <a:gd name="connsiteX24" fmla="*/ 4551 w 143916"/>
                    <a:gd name="connsiteY24" fmla="*/ 152324 h 262571"/>
                    <a:gd name="connsiteX25" fmla="*/ 7796 w 143916"/>
                    <a:gd name="connsiteY25" fmla="*/ 149852 h 262571"/>
                    <a:gd name="connsiteX26" fmla="*/ 7251 w 143916"/>
                    <a:gd name="connsiteY26" fmla="*/ 139774 h 262571"/>
                    <a:gd name="connsiteX27" fmla="*/ 65753 w 143916"/>
                    <a:gd name="connsiteY27" fmla="*/ 29691 h 262571"/>
                    <a:gd name="connsiteX28" fmla="*/ 102300 w 143916"/>
                    <a:gd name="connsiteY28" fmla="*/ 11501 h 262571"/>
                    <a:gd name="connsiteX29" fmla="*/ 116586 w 143916"/>
                    <a:gd name="connsiteY29" fmla="*/ 4706 h 262571"/>
                    <a:gd name="connsiteX30" fmla="*/ 116586 w 143916"/>
                    <a:gd name="connsiteY30" fmla="*/ 4706 h 262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3916" h="262571">
                      <a:moveTo>
                        <a:pt x="116586" y="4706"/>
                      </a:moveTo>
                      <a:cubicBezTo>
                        <a:pt x="117854" y="6177"/>
                        <a:pt x="117702" y="7216"/>
                        <a:pt x="120148" y="6455"/>
                      </a:cubicBezTo>
                      <a:cubicBezTo>
                        <a:pt x="121416" y="12844"/>
                        <a:pt x="129808" y="9891"/>
                        <a:pt x="135575" y="13250"/>
                      </a:cubicBezTo>
                      <a:cubicBezTo>
                        <a:pt x="139062" y="15291"/>
                        <a:pt x="135626" y="21731"/>
                        <a:pt x="143917" y="21997"/>
                      </a:cubicBezTo>
                      <a:cubicBezTo>
                        <a:pt x="134245" y="25204"/>
                        <a:pt x="119705" y="49987"/>
                        <a:pt x="134752" y="53599"/>
                      </a:cubicBezTo>
                      <a:cubicBezTo>
                        <a:pt x="134574" y="53688"/>
                        <a:pt x="132001" y="54170"/>
                        <a:pt x="131722" y="54183"/>
                      </a:cubicBezTo>
                      <a:cubicBezTo>
                        <a:pt x="132787" y="58505"/>
                        <a:pt x="128819" y="71613"/>
                        <a:pt x="126702" y="76113"/>
                      </a:cubicBezTo>
                      <a:cubicBezTo>
                        <a:pt x="123964" y="81881"/>
                        <a:pt x="119160" y="83795"/>
                        <a:pt x="116979" y="90082"/>
                      </a:cubicBezTo>
                      <a:cubicBezTo>
                        <a:pt x="115014" y="95673"/>
                        <a:pt x="115065" y="100059"/>
                        <a:pt x="113937" y="106448"/>
                      </a:cubicBezTo>
                      <a:cubicBezTo>
                        <a:pt x="110349" y="127706"/>
                        <a:pt x="103998" y="150625"/>
                        <a:pt x="96849" y="170135"/>
                      </a:cubicBezTo>
                      <a:cubicBezTo>
                        <a:pt x="91474" y="184827"/>
                        <a:pt x="81193" y="193460"/>
                        <a:pt x="71407" y="204792"/>
                      </a:cubicBezTo>
                      <a:cubicBezTo>
                        <a:pt x="65398" y="211726"/>
                        <a:pt x="61786" y="224162"/>
                        <a:pt x="60302" y="232884"/>
                      </a:cubicBezTo>
                      <a:cubicBezTo>
                        <a:pt x="59225" y="239387"/>
                        <a:pt x="61253" y="246333"/>
                        <a:pt x="60175" y="252900"/>
                      </a:cubicBezTo>
                      <a:cubicBezTo>
                        <a:pt x="59567" y="256728"/>
                        <a:pt x="56753" y="257628"/>
                        <a:pt x="57767" y="262572"/>
                      </a:cubicBezTo>
                      <a:cubicBezTo>
                        <a:pt x="52810" y="255676"/>
                        <a:pt x="50009" y="261609"/>
                        <a:pt x="47537" y="257603"/>
                      </a:cubicBezTo>
                      <a:cubicBezTo>
                        <a:pt x="43455" y="251049"/>
                        <a:pt x="46586" y="241973"/>
                        <a:pt x="42112" y="233885"/>
                      </a:cubicBezTo>
                      <a:cubicBezTo>
                        <a:pt x="36002" y="222755"/>
                        <a:pt x="21614" y="220549"/>
                        <a:pt x="16721" y="210395"/>
                      </a:cubicBezTo>
                      <a:cubicBezTo>
                        <a:pt x="17899" y="211777"/>
                        <a:pt x="19091" y="213197"/>
                        <a:pt x="20283" y="214566"/>
                      </a:cubicBezTo>
                      <a:cubicBezTo>
                        <a:pt x="16961" y="202929"/>
                        <a:pt x="3879" y="187755"/>
                        <a:pt x="7910" y="175433"/>
                      </a:cubicBezTo>
                      <a:cubicBezTo>
                        <a:pt x="5933" y="176004"/>
                        <a:pt x="5717" y="176080"/>
                        <a:pt x="4031" y="177297"/>
                      </a:cubicBezTo>
                      <a:cubicBezTo>
                        <a:pt x="951" y="174762"/>
                        <a:pt x="-1813" y="173862"/>
                        <a:pt x="3042" y="170363"/>
                      </a:cubicBezTo>
                      <a:cubicBezTo>
                        <a:pt x="2713" y="170249"/>
                        <a:pt x="140" y="169425"/>
                        <a:pt x="0" y="169298"/>
                      </a:cubicBezTo>
                      <a:cubicBezTo>
                        <a:pt x="-25" y="169361"/>
                        <a:pt x="1889" y="167752"/>
                        <a:pt x="2218" y="168766"/>
                      </a:cubicBezTo>
                      <a:cubicBezTo>
                        <a:pt x="-608" y="164684"/>
                        <a:pt x="2916" y="154226"/>
                        <a:pt x="6617" y="152895"/>
                      </a:cubicBezTo>
                      <a:cubicBezTo>
                        <a:pt x="5882" y="152121"/>
                        <a:pt x="6060" y="152324"/>
                        <a:pt x="4551" y="152324"/>
                      </a:cubicBezTo>
                      <a:cubicBezTo>
                        <a:pt x="6516" y="150499"/>
                        <a:pt x="5084" y="151310"/>
                        <a:pt x="7796" y="149852"/>
                      </a:cubicBezTo>
                      <a:cubicBezTo>
                        <a:pt x="5299" y="146163"/>
                        <a:pt x="4957" y="142867"/>
                        <a:pt x="7251" y="139774"/>
                      </a:cubicBezTo>
                      <a:cubicBezTo>
                        <a:pt x="-7225" y="134526"/>
                        <a:pt x="60683" y="39034"/>
                        <a:pt x="65753" y="29691"/>
                      </a:cubicBezTo>
                      <a:cubicBezTo>
                        <a:pt x="70849" y="20374"/>
                        <a:pt x="92171" y="4427"/>
                        <a:pt x="102300" y="11501"/>
                      </a:cubicBezTo>
                      <a:cubicBezTo>
                        <a:pt x="93680" y="4985"/>
                        <a:pt x="111351" y="-6500"/>
                        <a:pt x="116586" y="4706"/>
                      </a:cubicBezTo>
                      <a:lnTo>
                        <a:pt x="116586" y="4706"/>
                      </a:lnTo>
                      <a:close/>
                    </a:path>
                  </a:pathLst>
                </a:custGeom>
                <a:solidFill>
                  <a:srgbClr val="D6D6D2"/>
                </a:solidFill>
                <a:ln w="12413" cap="rnd">
                  <a:solidFill>
                    <a:srgbClr val="FFFFFF"/>
                  </a:solidFill>
                  <a:prstDash val="solid"/>
                  <a:round/>
                </a:ln>
              </p:spPr>
              <p:txBody>
                <a:bodyPr rtlCol="0" anchor="ctr"/>
                <a:lstStyle/>
                <a:p>
                  <a:endParaRPr lang="en-US"/>
                </a:p>
              </p:txBody>
            </p:sp>
            <p:sp>
              <p:nvSpPr>
                <p:cNvPr id="71" name="Freeform: Shape 70">
                  <a:extLst>
                    <a:ext uri="{FF2B5EF4-FFF2-40B4-BE49-F238E27FC236}">
                      <a16:creationId xmlns:a16="http://schemas.microsoft.com/office/drawing/2014/main" id="{8EAC09C0-CD92-418E-B55B-108013C0CDC1}"/>
                    </a:ext>
                  </a:extLst>
                </p:cNvPr>
                <p:cNvSpPr/>
                <p:nvPr/>
              </p:nvSpPr>
              <p:spPr>
                <a:xfrm>
                  <a:off x="5156809" y="5513162"/>
                  <a:ext cx="176579" cy="85918"/>
                </a:xfrm>
                <a:custGeom>
                  <a:avLst/>
                  <a:gdLst>
                    <a:gd name="connsiteX0" fmla="*/ 161613 w 176579"/>
                    <a:gd name="connsiteY0" fmla="*/ 2697 h 85918"/>
                    <a:gd name="connsiteX1" fmla="*/ 176242 w 176579"/>
                    <a:gd name="connsiteY1" fmla="*/ 4143 h 85918"/>
                    <a:gd name="connsiteX2" fmla="*/ 158330 w 176579"/>
                    <a:gd name="connsiteY2" fmla="*/ 23892 h 85918"/>
                    <a:gd name="connsiteX3" fmla="*/ 129947 w 176579"/>
                    <a:gd name="connsiteY3" fmla="*/ 33146 h 85918"/>
                    <a:gd name="connsiteX4" fmla="*/ 112416 w 176579"/>
                    <a:gd name="connsiteY4" fmla="*/ 46609 h 85918"/>
                    <a:gd name="connsiteX5" fmla="*/ 92374 w 176579"/>
                    <a:gd name="connsiteY5" fmla="*/ 49461 h 85918"/>
                    <a:gd name="connsiteX6" fmla="*/ 77226 w 176579"/>
                    <a:gd name="connsiteY6" fmla="*/ 59222 h 85918"/>
                    <a:gd name="connsiteX7" fmla="*/ 55042 w 176579"/>
                    <a:gd name="connsiteY7" fmla="*/ 64128 h 85918"/>
                    <a:gd name="connsiteX8" fmla="*/ 28687 w 176579"/>
                    <a:gd name="connsiteY8" fmla="*/ 75512 h 85918"/>
                    <a:gd name="connsiteX9" fmla="*/ 11739 w 176579"/>
                    <a:gd name="connsiteY9" fmla="*/ 85919 h 85918"/>
                    <a:gd name="connsiteX10" fmla="*/ 4703 w 176579"/>
                    <a:gd name="connsiteY10" fmla="*/ 64863 h 85918"/>
                    <a:gd name="connsiteX11" fmla="*/ 18242 w 176579"/>
                    <a:gd name="connsiteY11" fmla="*/ 61719 h 85918"/>
                    <a:gd name="connsiteX12" fmla="*/ 12221 w 176579"/>
                    <a:gd name="connsiteY12" fmla="*/ 51071 h 85918"/>
                    <a:gd name="connsiteX13" fmla="*/ 1382 w 176579"/>
                    <a:gd name="connsiteY13" fmla="*/ 54760 h 85918"/>
                    <a:gd name="connsiteX14" fmla="*/ 4577 w 176579"/>
                    <a:gd name="connsiteY14" fmla="*/ 44936 h 85918"/>
                    <a:gd name="connsiteX15" fmla="*/ 14274 w 176579"/>
                    <a:gd name="connsiteY15" fmla="*/ 34693 h 85918"/>
                    <a:gd name="connsiteX16" fmla="*/ 18229 w 176579"/>
                    <a:gd name="connsiteY16" fmla="*/ 22485 h 85918"/>
                    <a:gd name="connsiteX17" fmla="*/ 47195 w 176579"/>
                    <a:gd name="connsiteY17" fmla="*/ 16160 h 85918"/>
                    <a:gd name="connsiteX18" fmla="*/ 81358 w 176579"/>
                    <a:gd name="connsiteY18" fmla="*/ 12864 h 85918"/>
                    <a:gd name="connsiteX19" fmla="*/ 105482 w 176579"/>
                    <a:gd name="connsiteY19" fmla="*/ 8858 h 85918"/>
                    <a:gd name="connsiteX20" fmla="*/ 115712 w 176579"/>
                    <a:gd name="connsiteY20" fmla="*/ 8732 h 85918"/>
                    <a:gd name="connsiteX21" fmla="*/ 130848 w 176579"/>
                    <a:gd name="connsiteY21" fmla="*/ 8072 h 85918"/>
                    <a:gd name="connsiteX22" fmla="*/ 161613 w 176579"/>
                    <a:gd name="connsiteY22" fmla="*/ 2697 h 85918"/>
                    <a:gd name="connsiteX23" fmla="*/ 161613 w 176579"/>
                    <a:gd name="connsiteY23" fmla="*/ 2697 h 85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6579" h="85918">
                      <a:moveTo>
                        <a:pt x="161613" y="2697"/>
                      </a:moveTo>
                      <a:cubicBezTo>
                        <a:pt x="165137" y="1227"/>
                        <a:pt x="173859" y="-497"/>
                        <a:pt x="176242" y="4143"/>
                      </a:cubicBezTo>
                      <a:cubicBezTo>
                        <a:pt x="179005" y="9467"/>
                        <a:pt x="164060" y="20128"/>
                        <a:pt x="158330" y="23892"/>
                      </a:cubicBezTo>
                      <a:cubicBezTo>
                        <a:pt x="149038" y="29977"/>
                        <a:pt x="139962" y="29191"/>
                        <a:pt x="129947" y="33146"/>
                      </a:cubicBezTo>
                      <a:cubicBezTo>
                        <a:pt x="122354" y="36151"/>
                        <a:pt x="119895" y="43478"/>
                        <a:pt x="112416" y="46609"/>
                      </a:cubicBezTo>
                      <a:cubicBezTo>
                        <a:pt x="106394" y="49131"/>
                        <a:pt x="98548" y="47103"/>
                        <a:pt x="92374" y="49461"/>
                      </a:cubicBezTo>
                      <a:cubicBezTo>
                        <a:pt x="86720" y="51629"/>
                        <a:pt x="82740" y="56928"/>
                        <a:pt x="77226" y="59222"/>
                      </a:cubicBezTo>
                      <a:cubicBezTo>
                        <a:pt x="71547" y="61605"/>
                        <a:pt x="61406" y="62353"/>
                        <a:pt x="55042" y="64128"/>
                      </a:cubicBezTo>
                      <a:cubicBezTo>
                        <a:pt x="45915" y="66625"/>
                        <a:pt x="37422" y="70567"/>
                        <a:pt x="28687" y="75512"/>
                      </a:cubicBezTo>
                      <a:cubicBezTo>
                        <a:pt x="23794" y="78338"/>
                        <a:pt x="15681" y="81710"/>
                        <a:pt x="11739" y="85919"/>
                      </a:cubicBezTo>
                      <a:cubicBezTo>
                        <a:pt x="10573" y="80367"/>
                        <a:pt x="1864" y="69503"/>
                        <a:pt x="4703" y="64863"/>
                      </a:cubicBezTo>
                      <a:cubicBezTo>
                        <a:pt x="7099" y="61035"/>
                        <a:pt x="15263" y="67183"/>
                        <a:pt x="18242" y="61719"/>
                      </a:cubicBezTo>
                      <a:cubicBezTo>
                        <a:pt x="23135" y="52681"/>
                        <a:pt x="15098" y="50995"/>
                        <a:pt x="12221" y="51071"/>
                      </a:cubicBezTo>
                      <a:cubicBezTo>
                        <a:pt x="9089" y="51147"/>
                        <a:pt x="5514" y="58284"/>
                        <a:pt x="1382" y="54760"/>
                      </a:cubicBezTo>
                      <a:cubicBezTo>
                        <a:pt x="-2687" y="51236"/>
                        <a:pt x="3410" y="46964"/>
                        <a:pt x="4577" y="44936"/>
                      </a:cubicBezTo>
                      <a:cubicBezTo>
                        <a:pt x="6960" y="40854"/>
                        <a:pt x="12614" y="37837"/>
                        <a:pt x="14274" y="34693"/>
                      </a:cubicBezTo>
                      <a:cubicBezTo>
                        <a:pt x="16809" y="30003"/>
                        <a:pt x="13843" y="26187"/>
                        <a:pt x="18229" y="22485"/>
                      </a:cubicBezTo>
                      <a:cubicBezTo>
                        <a:pt x="23148" y="18277"/>
                        <a:pt x="41275" y="16997"/>
                        <a:pt x="47195" y="16160"/>
                      </a:cubicBezTo>
                      <a:cubicBezTo>
                        <a:pt x="57970" y="14639"/>
                        <a:pt x="69328" y="12192"/>
                        <a:pt x="81358" y="12864"/>
                      </a:cubicBezTo>
                      <a:cubicBezTo>
                        <a:pt x="90688" y="13422"/>
                        <a:pt x="96532" y="10443"/>
                        <a:pt x="105482" y="8858"/>
                      </a:cubicBezTo>
                      <a:cubicBezTo>
                        <a:pt x="110527" y="7996"/>
                        <a:pt x="110996" y="8503"/>
                        <a:pt x="115712" y="8732"/>
                      </a:cubicBezTo>
                      <a:cubicBezTo>
                        <a:pt x="123292" y="9150"/>
                        <a:pt x="122316" y="10101"/>
                        <a:pt x="130848" y="8072"/>
                      </a:cubicBezTo>
                      <a:cubicBezTo>
                        <a:pt x="141280" y="5562"/>
                        <a:pt x="151485" y="-4845"/>
                        <a:pt x="161613" y="2697"/>
                      </a:cubicBezTo>
                      <a:lnTo>
                        <a:pt x="161613" y="2697"/>
                      </a:lnTo>
                      <a:close/>
                    </a:path>
                  </a:pathLst>
                </a:custGeom>
                <a:solidFill>
                  <a:srgbClr val="D6D6D2"/>
                </a:solidFill>
                <a:ln w="12674"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F09F7220-1421-4B41-9154-EF64C1C20FF7}"/>
                    </a:ext>
                  </a:extLst>
                </p:cNvPr>
                <p:cNvSpPr/>
                <p:nvPr/>
              </p:nvSpPr>
              <p:spPr>
                <a:xfrm>
                  <a:off x="8024" y="1549461"/>
                  <a:ext cx="841379" cy="655076"/>
                </a:xfrm>
                <a:custGeom>
                  <a:avLst/>
                  <a:gdLst>
                    <a:gd name="connsiteX0" fmla="*/ 0 w 841379"/>
                    <a:gd name="connsiteY0" fmla="*/ 116348 h 655076"/>
                    <a:gd name="connsiteX1" fmla="*/ 18229 w 841379"/>
                    <a:gd name="connsiteY1" fmla="*/ 132790 h 655076"/>
                    <a:gd name="connsiteX2" fmla="*/ 61545 w 841379"/>
                    <a:gd name="connsiteY2" fmla="*/ 127833 h 655076"/>
                    <a:gd name="connsiteX3" fmla="*/ 112504 w 841379"/>
                    <a:gd name="connsiteY3" fmla="*/ 130318 h 655076"/>
                    <a:gd name="connsiteX4" fmla="*/ 131202 w 841379"/>
                    <a:gd name="connsiteY4" fmla="*/ 132637 h 655076"/>
                    <a:gd name="connsiteX5" fmla="*/ 140963 w 841379"/>
                    <a:gd name="connsiteY5" fmla="*/ 123396 h 655076"/>
                    <a:gd name="connsiteX6" fmla="*/ 134029 w 841379"/>
                    <a:gd name="connsiteY6" fmla="*/ 74237 h 655076"/>
                    <a:gd name="connsiteX7" fmla="*/ 134004 w 841379"/>
                    <a:gd name="connsiteY7" fmla="*/ 97270 h 655076"/>
                    <a:gd name="connsiteX8" fmla="*/ 138428 w 841379"/>
                    <a:gd name="connsiteY8" fmla="*/ 85379 h 655076"/>
                    <a:gd name="connsiteX9" fmla="*/ 146046 w 841379"/>
                    <a:gd name="connsiteY9" fmla="*/ 97054 h 655076"/>
                    <a:gd name="connsiteX10" fmla="*/ 156302 w 841379"/>
                    <a:gd name="connsiteY10" fmla="*/ 108032 h 655076"/>
                    <a:gd name="connsiteX11" fmla="*/ 161258 w 841379"/>
                    <a:gd name="connsiteY11" fmla="*/ 103025 h 655076"/>
                    <a:gd name="connsiteX12" fmla="*/ 167001 w 841379"/>
                    <a:gd name="connsiteY12" fmla="*/ 104635 h 655076"/>
                    <a:gd name="connsiteX13" fmla="*/ 178105 w 841379"/>
                    <a:gd name="connsiteY13" fmla="*/ 101631 h 655076"/>
                    <a:gd name="connsiteX14" fmla="*/ 193951 w 841379"/>
                    <a:gd name="connsiteY14" fmla="*/ 85531 h 655076"/>
                    <a:gd name="connsiteX15" fmla="*/ 185420 w 841379"/>
                    <a:gd name="connsiteY15" fmla="*/ 77520 h 655076"/>
                    <a:gd name="connsiteX16" fmla="*/ 179094 w 841379"/>
                    <a:gd name="connsiteY16" fmla="*/ 75580 h 655076"/>
                    <a:gd name="connsiteX17" fmla="*/ 181617 w 841379"/>
                    <a:gd name="connsiteY17" fmla="*/ 69660 h 655076"/>
                    <a:gd name="connsiteX18" fmla="*/ 176749 w 841379"/>
                    <a:gd name="connsiteY18" fmla="*/ 56528 h 655076"/>
                    <a:gd name="connsiteX19" fmla="*/ 194610 w 841379"/>
                    <a:gd name="connsiteY19" fmla="*/ 44650 h 655076"/>
                    <a:gd name="connsiteX20" fmla="*/ 204967 w 841379"/>
                    <a:gd name="connsiteY20" fmla="*/ 23353 h 655076"/>
                    <a:gd name="connsiteX21" fmla="*/ 215361 w 841379"/>
                    <a:gd name="connsiteY21" fmla="*/ 26915 h 655076"/>
                    <a:gd name="connsiteX22" fmla="*/ 230485 w 841379"/>
                    <a:gd name="connsiteY22" fmla="*/ 32252 h 655076"/>
                    <a:gd name="connsiteX23" fmla="*/ 232957 w 841379"/>
                    <a:gd name="connsiteY23" fmla="*/ 42482 h 655076"/>
                    <a:gd name="connsiteX24" fmla="*/ 239447 w 841379"/>
                    <a:gd name="connsiteY24" fmla="*/ 40644 h 655076"/>
                    <a:gd name="connsiteX25" fmla="*/ 232690 w 841379"/>
                    <a:gd name="connsiteY25" fmla="*/ 32252 h 655076"/>
                    <a:gd name="connsiteX26" fmla="*/ 221497 w 841379"/>
                    <a:gd name="connsiteY26" fmla="*/ 18523 h 655076"/>
                    <a:gd name="connsiteX27" fmla="*/ 215323 w 841379"/>
                    <a:gd name="connsiteY27" fmla="*/ 9701 h 655076"/>
                    <a:gd name="connsiteX28" fmla="*/ 231866 w 841379"/>
                    <a:gd name="connsiteY28" fmla="*/ 9548 h 655076"/>
                    <a:gd name="connsiteX29" fmla="*/ 240968 w 841379"/>
                    <a:gd name="connsiteY29" fmla="*/ 10208 h 655076"/>
                    <a:gd name="connsiteX30" fmla="*/ 244885 w 841379"/>
                    <a:gd name="connsiteY30" fmla="*/ 434 h 655076"/>
                    <a:gd name="connsiteX31" fmla="*/ 277553 w 841379"/>
                    <a:gd name="connsiteY31" fmla="*/ 21832 h 655076"/>
                    <a:gd name="connsiteX32" fmla="*/ 287656 w 841379"/>
                    <a:gd name="connsiteY32" fmla="*/ 21135 h 655076"/>
                    <a:gd name="connsiteX33" fmla="*/ 295033 w 841379"/>
                    <a:gd name="connsiteY33" fmla="*/ 35421 h 655076"/>
                    <a:gd name="connsiteX34" fmla="*/ 327904 w 841379"/>
                    <a:gd name="connsiteY34" fmla="*/ 40352 h 655076"/>
                    <a:gd name="connsiteX35" fmla="*/ 352395 w 841379"/>
                    <a:gd name="connsiteY35" fmla="*/ 53574 h 655076"/>
                    <a:gd name="connsiteX36" fmla="*/ 350519 w 841379"/>
                    <a:gd name="connsiteY36" fmla="*/ 66732 h 655076"/>
                    <a:gd name="connsiteX37" fmla="*/ 347616 w 841379"/>
                    <a:gd name="connsiteY37" fmla="*/ 72259 h 655076"/>
                    <a:gd name="connsiteX38" fmla="*/ 364919 w 841379"/>
                    <a:gd name="connsiteY38" fmla="*/ 81906 h 655076"/>
                    <a:gd name="connsiteX39" fmla="*/ 363436 w 841379"/>
                    <a:gd name="connsiteY39" fmla="*/ 86355 h 655076"/>
                    <a:gd name="connsiteX40" fmla="*/ 356198 w 841379"/>
                    <a:gd name="connsiteY40" fmla="*/ 94481 h 655076"/>
                    <a:gd name="connsiteX41" fmla="*/ 362891 w 841379"/>
                    <a:gd name="connsiteY41" fmla="*/ 103925 h 655076"/>
                    <a:gd name="connsiteX42" fmla="*/ 357617 w 841379"/>
                    <a:gd name="connsiteY42" fmla="*/ 107804 h 655076"/>
                    <a:gd name="connsiteX43" fmla="*/ 357592 w 841379"/>
                    <a:gd name="connsiteY43" fmla="*/ 121444 h 655076"/>
                    <a:gd name="connsiteX44" fmla="*/ 382438 w 841379"/>
                    <a:gd name="connsiteY44" fmla="*/ 135705 h 655076"/>
                    <a:gd name="connsiteX45" fmla="*/ 404774 w 841379"/>
                    <a:gd name="connsiteY45" fmla="*/ 133968 h 655076"/>
                    <a:gd name="connsiteX46" fmla="*/ 425475 w 841379"/>
                    <a:gd name="connsiteY46" fmla="*/ 134818 h 655076"/>
                    <a:gd name="connsiteX47" fmla="*/ 448610 w 841379"/>
                    <a:gd name="connsiteY47" fmla="*/ 140167 h 655076"/>
                    <a:gd name="connsiteX48" fmla="*/ 463073 w 841379"/>
                    <a:gd name="connsiteY48" fmla="*/ 130419 h 655076"/>
                    <a:gd name="connsiteX49" fmla="*/ 493738 w 841379"/>
                    <a:gd name="connsiteY49" fmla="*/ 150156 h 655076"/>
                    <a:gd name="connsiteX50" fmla="*/ 499911 w 841379"/>
                    <a:gd name="connsiteY50" fmla="*/ 172721 h 655076"/>
                    <a:gd name="connsiteX51" fmla="*/ 511536 w 841379"/>
                    <a:gd name="connsiteY51" fmla="*/ 196197 h 655076"/>
                    <a:gd name="connsiteX52" fmla="*/ 525036 w 841379"/>
                    <a:gd name="connsiteY52" fmla="*/ 209368 h 655076"/>
                    <a:gd name="connsiteX53" fmla="*/ 537358 w 841379"/>
                    <a:gd name="connsiteY53" fmla="*/ 247880 h 655076"/>
                    <a:gd name="connsiteX54" fmla="*/ 608486 w 841379"/>
                    <a:gd name="connsiteY54" fmla="*/ 294859 h 655076"/>
                    <a:gd name="connsiteX55" fmla="*/ 638276 w 841379"/>
                    <a:gd name="connsiteY55" fmla="*/ 321239 h 655076"/>
                    <a:gd name="connsiteX56" fmla="*/ 655364 w 841379"/>
                    <a:gd name="connsiteY56" fmla="*/ 332306 h 655076"/>
                    <a:gd name="connsiteX57" fmla="*/ 665961 w 841379"/>
                    <a:gd name="connsiteY57" fmla="*/ 331443 h 655076"/>
                    <a:gd name="connsiteX58" fmla="*/ 691441 w 841379"/>
                    <a:gd name="connsiteY58" fmla="*/ 349508 h 655076"/>
                    <a:gd name="connsiteX59" fmla="*/ 726403 w 841379"/>
                    <a:gd name="connsiteY59" fmla="*/ 368611 h 655076"/>
                    <a:gd name="connsiteX60" fmla="*/ 763773 w 841379"/>
                    <a:gd name="connsiteY60" fmla="*/ 393546 h 655076"/>
                    <a:gd name="connsiteX61" fmla="*/ 790749 w 841379"/>
                    <a:gd name="connsiteY61" fmla="*/ 393787 h 655076"/>
                    <a:gd name="connsiteX62" fmla="*/ 822554 w 841379"/>
                    <a:gd name="connsiteY62" fmla="*/ 410152 h 655076"/>
                    <a:gd name="connsiteX63" fmla="*/ 841379 w 841379"/>
                    <a:gd name="connsiteY63" fmla="*/ 420458 h 655076"/>
                    <a:gd name="connsiteX64" fmla="*/ 832404 w 841379"/>
                    <a:gd name="connsiteY64" fmla="*/ 436481 h 655076"/>
                    <a:gd name="connsiteX65" fmla="*/ 830883 w 841379"/>
                    <a:gd name="connsiteY65" fmla="*/ 454533 h 655076"/>
                    <a:gd name="connsiteX66" fmla="*/ 834179 w 841379"/>
                    <a:gd name="connsiteY66" fmla="*/ 462227 h 655076"/>
                    <a:gd name="connsiteX67" fmla="*/ 832772 w 841379"/>
                    <a:gd name="connsiteY67" fmla="*/ 468692 h 655076"/>
                    <a:gd name="connsiteX68" fmla="*/ 776703 w 841379"/>
                    <a:gd name="connsiteY68" fmla="*/ 450514 h 655076"/>
                    <a:gd name="connsiteX69" fmla="*/ 767437 w 841379"/>
                    <a:gd name="connsiteY69" fmla="*/ 459375 h 655076"/>
                    <a:gd name="connsiteX70" fmla="*/ 758804 w 841379"/>
                    <a:gd name="connsiteY70" fmla="*/ 478415 h 655076"/>
                    <a:gd name="connsiteX71" fmla="*/ 718227 w 841379"/>
                    <a:gd name="connsiteY71" fmla="*/ 482142 h 655076"/>
                    <a:gd name="connsiteX72" fmla="*/ 703813 w 841379"/>
                    <a:gd name="connsiteY72" fmla="*/ 505454 h 655076"/>
                    <a:gd name="connsiteX73" fmla="*/ 690009 w 841379"/>
                    <a:gd name="connsiteY73" fmla="*/ 533266 h 655076"/>
                    <a:gd name="connsiteX74" fmla="*/ 686206 w 841379"/>
                    <a:gd name="connsiteY74" fmla="*/ 555159 h 655076"/>
                    <a:gd name="connsiteX75" fmla="*/ 676863 w 841379"/>
                    <a:gd name="connsiteY75" fmla="*/ 563627 h 655076"/>
                    <a:gd name="connsiteX76" fmla="*/ 666164 w 841379"/>
                    <a:gd name="connsiteY76" fmla="*/ 570979 h 655076"/>
                    <a:gd name="connsiteX77" fmla="*/ 649824 w 841379"/>
                    <a:gd name="connsiteY77" fmla="*/ 583884 h 655076"/>
                    <a:gd name="connsiteX78" fmla="*/ 613265 w 841379"/>
                    <a:gd name="connsiteY78" fmla="*/ 588866 h 655076"/>
                    <a:gd name="connsiteX79" fmla="*/ 596760 w 841379"/>
                    <a:gd name="connsiteY79" fmla="*/ 595774 h 655076"/>
                    <a:gd name="connsiteX80" fmla="*/ 579064 w 841379"/>
                    <a:gd name="connsiteY80" fmla="*/ 598944 h 655076"/>
                    <a:gd name="connsiteX81" fmla="*/ 587570 w 841379"/>
                    <a:gd name="connsiteY81" fmla="*/ 608413 h 655076"/>
                    <a:gd name="connsiteX82" fmla="*/ 578062 w 841379"/>
                    <a:gd name="connsiteY82" fmla="*/ 616475 h 655076"/>
                    <a:gd name="connsiteX83" fmla="*/ 578658 w 841379"/>
                    <a:gd name="connsiteY83" fmla="*/ 630166 h 655076"/>
                    <a:gd name="connsiteX84" fmla="*/ 561583 w 841379"/>
                    <a:gd name="connsiteY84" fmla="*/ 638621 h 655076"/>
                    <a:gd name="connsiteX85" fmla="*/ 547258 w 841379"/>
                    <a:gd name="connsiteY85" fmla="*/ 647710 h 655076"/>
                    <a:gd name="connsiteX86" fmla="*/ 534962 w 841379"/>
                    <a:gd name="connsiteY86" fmla="*/ 645973 h 655076"/>
                    <a:gd name="connsiteX87" fmla="*/ 529334 w 841379"/>
                    <a:gd name="connsiteY87" fmla="*/ 645010 h 655076"/>
                    <a:gd name="connsiteX88" fmla="*/ 520942 w 841379"/>
                    <a:gd name="connsiteY88" fmla="*/ 655075 h 655076"/>
                    <a:gd name="connsiteX89" fmla="*/ 515935 w 841379"/>
                    <a:gd name="connsiteY89" fmla="*/ 642931 h 655076"/>
                    <a:gd name="connsiteX90" fmla="*/ 479337 w 841379"/>
                    <a:gd name="connsiteY90" fmla="*/ 632866 h 655076"/>
                    <a:gd name="connsiteX91" fmla="*/ 453008 w 841379"/>
                    <a:gd name="connsiteY91" fmla="*/ 618427 h 655076"/>
                    <a:gd name="connsiteX92" fmla="*/ 443159 w 841379"/>
                    <a:gd name="connsiteY92" fmla="*/ 605117 h 655076"/>
                    <a:gd name="connsiteX93" fmla="*/ 434285 w 841379"/>
                    <a:gd name="connsiteY93" fmla="*/ 586280 h 655076"/>
                    <a:gd name="connsiteX94" fmla="*/ 436301 w 841379"/>
                    <a:gd name="connsiteY94" fmla="*/ 556655 h 655076"/>
                    <a:gd name="connsiteX95" fmla="*/ 438126 w 841379"/>
                    <a:gd name="connsiteY95" fmla="*/ 534445 h 655076"/>
                    <a:gd name="connsiteX96" fmla="*/ 400832 w 841379"/>
                    <a:gd name="connsiteY96" fmla="*/ 529793 h 655076"/>
                    <a:gd name="connsiteX97" fmla="*/ 377963 w 841379"/>
                    <a:gd name="connsiteY97" fmla="*/ 530173 h 655076"/>
                    <a:gd name="connsiteX98" fmla="*/ 368405 w 841379"/>
                    <a:gd name="connsiteY98" fmla="*/ 519005 h 655076"/>
                    <a:gd name="connsiteX99" fmla="*/ 335788 w 841379"/>
                    <a:gd name="connsiteY99" fmla="*/ 490078 h 655076"/>
                    <a:gd name="connsiteX100" fmla="*/ 322288 w 841379"/>
                    <a:gd name="connsiteY100" fmla="*/ 488962 h 655076"/>
                    <a:gd name="connsiteX101" fmla="*/ 316241 w 841379"/>
                    <a:gd name="connsiteY101" fmla="*/ 482839 h 655076"/>
                    <a:gd name="connsiteX102" fmla="*/ 305124 w 841379"/>
                    <a:gd name="connsiteY102" fmla="*/ 473687 h 655076"/>
                    <a:gd name="connsiteX103" fmla="*/ 296200 w 841379"/>
                    <a:gd name="connsiteY103" fmla="*/ 455078 h 655076"/>
                    <a:gd name="connsiteX104" fmla="*/ 262163 w 841379"/>
                    <a:gd name="connsiteY104" fmla="*/ 440652 h 655076"/>
                    <a:gd name="connsiteX105" fmla="*/ 242109 w 841379"/>
                    <a:gd name="connsiteY105" fmla="*/ 440157 h 655076"/>
                    <a:gd name="connsiteX106" fmla="*/ 230409 w 841379"/>
                    <a:gd name="connsiteY106" fmla="*/ 446115 h 655076"/>
                    <a:gd name="connsiteX107" fmla="*/ 217846 w 841379"/>
                    <a:gd name="connsiteY107" fmla="*/ 439840 h 655076"/>
                    <a:gd name="connsiteX108" fmla="*/ 214525 w 841379"/>
                    <a:gd name="connsiteY108" fmla="*/ 432691 h 655076"/>
                    <a:gd name="connsiteX109" fmla="*/ 193723 w 841379"/>
                    <a:gd name="connsiteY109" fmla="*/ 425960 h 655076"/>
                    <a:gd name="connsiteX110" fmla="*/ 172363 w 841379"/>
                    <a:gd name="connsiteY110" fmla="*/ 421231 h 655076"/>
                    <a:gd name="connsiteX111" fmla="*/ 154134 w 841379"/>
                    <a:gd name="connsiteY111" fmla="*/ 416275 h 655076"/>
                    <a:gd name="connsiteX112" fmla="*/ 149621 w 841379"/>
                    <a:gd name="connsiteY112" fmla="*/ 400733 h 655076"/>
                    <a:gd name="connsiteX113" fmla="*/ 134219 w 841379"/>
                    <a:gd name="connsiteY113" fmla="*/ 397146 h 655076"/>
                    <a:gd name="connsiteX114" fmla="*/ 115128 w 841379"/>
                    <a:gd name="connsiteY114" fmla="*/ 395092 h 655076"/>
                    <a:gd name="connsiteX115" fmla="*/ 99574 w 841379"/>
                    <a:gd name="connsiteY115" fmla="*/ 394420 h 655076"/>
                    <a:gd name="connsiteX116" fmla="*/ 84692 w 841379"/>
                    <a:gd name="connsiteY116" fmla="*/ 393825 h 655076"/>
                    <a:gd name="connsiteX117" fmla="*/ 78392 w 841379"/>
                    <a:gd name="connsiteY117" fmla="*/ 406996 h 655076"/>
                    <a:gd name="connsiteX118" fmla="*/ 41769 w 841379"/>
                    <a:gd name="connsiteY118" fmla="*/ 406210 h 655076"/>
                    <a:gd name="connsiteX119" fmla="*/ 13 w 841379"/>
                    <a:gd name="connsiteY119" fmla="*/ 414931 h 655076"/>
                    <a:gd name="connsiteX120" fmla="*/ 0 w 841379"/>
                    <a:gd name="connsiteY120" fmla="*/ 116348 h 655076"/>
                    <a:gd name="connsiteX121" fmla="*/ 0 w 841379"/>
                    <a:gd name="connsiteY121" fmla="*/ 116348 h 655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841379" h="655076">
                      <a:moveTo>
                        <a:pt x="0" y="116348"/>
                      </a:moveTo>
                      <a:cubicBezTo>
                        <a:pt x="6833" y="121152"/>
                        <a:pt x="10661" y="130216"/>
                        <a:pt x="18229" y="132790"/>
                      </a:cubicBezTo>
                      <a:cubicBezTo>
                        <a:pt x="29650" y="136707"/>
                        <a:pt x="48754" y="127123"/>
                        <a:pt x="61545" y="127833"/>
                      </a:cubicBezTo>
                      <a:cubicBezTo>
                        <a:pt x="78430" y="128758"/>
                        <a:pt x="95670" y="128518"/>
                        <a:pt x="112504" y="130318"/>
                      </a:cubicBezTo>
                      <a:cubicBezTo>
                        <a:pt x="118158" y="130926"/>
                        <a:pt x="125954" y="134387"/>
                        <a:pt x="131202" y="132637"/>
                      </a:cubicBezTo>
                      <a:cubicBezTo>
                        <a:pt x="133205" y="131966"/>
                        <a:pt x="138618" y="124968"/>
                        <a:pt x="140963" y="123396"/>
                      </a:cubicBezTo>
                      <a:cubicBezTo>
                        <a:pt x="125815" y="121584"/>
                        <a:pt x="118602" y="76683"/>
                        <a:pt x="134029" y="74237"/>
                      </a:cubicBezTo>
                      <a:cubicBezTo>
                        <a:pt x="133649" y="80524"/>
                        <a:pt x="129668" y="91883"/>
                        <a:pt x="134004" y="97270"/>
                      </a:cubicBezTo>
                      <a:cubicBezTo>
                        <a:pt x="134815" y="93644"/>
                        <a:pt x="135842" y="88713"/>
                        <a:pt x="138428" y="85379"/>
                      </a:cubicBezTo>
                      <a:cubicBezTo>
                        <a:pt x="140177" y="89106"/>
                        <a:pt x="144234" y="94380"/>
                        <a:pt x="146046" y="97054"/>
                      </a:cubicBezTo>
                      <a:cubicBezTo>
                        <a:pt x="148962" y="101377"/>
                        <a:pt x="148873" y="106638"/>
                        <a:pt x="156302" y="108032"/>
                      </a:cubicBezTo>
                      <a:cubicBezTo>
                        <a:pt x="157899" y="108324"/>
                        <a:pt x="159724" y="103317"/>
                        <a:pt x="161258" y="103025"/>
                      </a:cubicBezTo>
                      <a:cubicBezTo>
                        <a:pt x="163692" y="102556"/>
                        <a:pt x="164275" y="105281"/>
                        <a:pt x="167001" y="104635"/>
                      </a:cubicBezTo>
                      <a:cubicBezTo>
                        <a:pt x="170765" y="103773"/>
                        <a:pt x="174150" y="103000"/>
                        <a:pt x="178105" y="101631"/>
                      </a:cubicBezTo>
                      <a:cubicBezTo>
                        <a:pt x="184481" y="99425"/>
                        <a:pt x="196486" y="94519"/>
                        <a:pt x="193951" y="85531"/>
                      </a:cubicBezTo>
                      <a:cubicBezTo>
                        <a:pt x="192987" y="82071"/>
                        <a:pt x="188944" y="80778"/>
                        <a:pt x="185420" y="77520"/>
                      </a:cubicBezTo>
                      <a:cubicBezTo>
                        <a:pt x="183543" y="75770"/>
                        <a:pt x="180729" y="77964"/>
                        <a:pt x="179094" y="75580"/>
                      </a:cubicBezTo>
                      <a:cubicBezTo>
                        <a:pt x="177953" y="73920"/>
                        <a:pt x="181021" y="68773"/>
                        <a:pt x="181617" y="69660"/>
                      </a:cubicBezTo>
                      <a:cubicBezTo>
                        <a:pt x="178245" y="64641"/>
                        <a:pt x="171894" y="62638"/>
                        <a:pt x="176749" y="56528"/>
                      </a:cubicBezTo>
                      <a:cubicBezTo>
                        <a:pt x="182466" y="49302"/>
                        <a:pt x="191149" y="53359"/>
                        <a:pt x="194610" y="44650"/>
                      </a:cubicBezTo>
                      <a:cubicBezTo>
                        <a:pt x="197551" y="37285"/>
                        <a:pt x="194699" y="25242"/>
                        <a:pt x="204967" y="23353"/>
                      </a:cubicBezTo>
                      <a:cubicBezTo>
                        <a:pt x="208187" y="22757"/>
                        <a:pt x="212737" y="26129"/>
                        <a:pt x="215361" y="26915"/>
                      </a:cubicBezTo>
                      <a:cubicBezTo>
                        <a:pt x="220090" y="28335"/>
                        <a:pt x="226365" y="27029"/>
                        <a:pt x="230485" y="32252"/>
                      </a:cubicBezTo>
                      <a:cubicBezTo>
                        <a:pt x="233197" y="35713"/>
                        <a:pt x="230256" y="39782"/>
                        <a:pt x="232957" y="42482"/>
                      </a:cubicBezTo>
                      <a:cubicBezTo>
                        <a:pt x="233806" y="43357"/>
                        <a:pt x="239143" y="42343"/>
                        <a:pt x="239447" y="40644"/>
                      </a:cubicBezTo>
                      <a:cubicBezTo>
                        <a:pt x="239586" y="39921"/>
                        <a:pt x="233273" y="33127"/>
                        <a:pt x="232690" y="32252"/>
                      </a:cubicBezTo>
                      <a:cubicBezTo>
                        <a:pt x="228837" y="26598"/>
                        <a:pt x="226530" y="22833"/>
                        <a:pt x="221497" y="18523"/>
                      </a:cubicBezTo>
                      <a:cubicBezTo>
                        <a:pt x="216135" y="13947"/>
                        <a:pt x="208643" y="16039"/>
                        <a:pt x="215323" y="9701"/>
                      </a:cubicBezTo>
                      <a:cubicBezTo>
                        <a:pt x="221446" y="3895"/>
                        <a:pt x="225376" y="8927"/>
                        <a:pt x="231866" y="9548"/>
                      </a:cubicBezTo>
                      <a:cubicBezTo>
                        <a:pt x="234389" y="9789"/>
                        <a:pt x="238445" y="11589"/>
                        <a:pt x="240968" y="10208"/>
                      </a:cubicBezTo>
                      <a:cubicBezTo>
                        <a:pt x="244771" y="8091"/>
                        <a:pt x="242692" y="1803"/>
                        <a:pt x="244885" y="434"/>
                      </a:cubicBezTo>
                      <a:cubicBezTo>
                        <a:pt x="250983" y="-3382"/>
                        <a:pt x="266283" y="19145"/>
                        <a:pt x="277553" y="21832"/>
                      </a:cubicBezTo>
                      <a:cubicBezTo>
                        <a:pt x="281482" y="22783"/>
                        <a:pt x="283789" y="19297"/>
                        <a:pt x="287656" y="21135"/>
                      </a:cubicBezTo>
                      <a:cubicBezTo>
                        <a:pt x="295363" y="24786"/>
                        <a:pt x="291002" y="30883"/>
                        <a:pt x="295033" y="35421"/>
                      </a:cubicBezTo>
                      <a:cubicBezTo>
                        <a:pt x="303261" y="44675"/>
                        <a:pt x="316736" y="40948"/>
                        <a:pt x="327904" y="40352"/>
                      </a:cubicBezTo>
                      <a:cubicBezTo>
                        <a:pt x="338970" y="39757"/>
                        <a:pt x="350328" y="45524"/>
                        <a:pt x="352395" y="53574"/>
                      </a:cubicBezTo>
                      <a:cubicBezTo>
                        <a:pt x="351647" y="50709"/>
                        <a:pt x="350481" y="66998"/>
                        <a:pt x="350519" y="66732"/>
                      </a:cubicBezTo>
                      <a:cubicBezTo>
                        <a:pt x="349276" y="72323"/>
                        <a:pt x="339389" y="65034"/>
                        <a:pt x="347616" y="72259"/>
                      </a:cubicBezTo>
                      <a:cubicBezTo>
                        <a:pt x="352433" y="76493"/>
                        <a:pt x="360292" y="75492"/>
                        <a:pt x="364919" y="81906"/>
                      </a:cubicBezTo>
                      <a:cubicBezTo>
                        <a:pt x="371460" y="90932"/>
                        <a:pt x="367809" y="84124"/>
                        <a:pt x="363436" y="86355"/>
                      </a:cubicBezTo>
                      <a:cubicBezTo>
                        <a:pt x="357478" y="89360"/>
                        <a:pt x="354157" y="84302"/>
                        <a:pt x="356198" y="94481"/>
                      </a:cubicBezTo>
                      <a:cubicBezTo>
                        <a:pt x="356920" y="97993"/>
                        <a:pt x="362916" y="100465"/>
                        <a:pt x="362891" y="103925"/>
                      </a:cubicBezTo>
                      <a:cubicBezTo>
                        <a:pt x="362878" y="106625"/>
                        <a:pt x="358036" y="105700"/>
                        <a:pt x="357617" y="107804"/>
                      </a:cubicBezTo>
                      <a:cubicBezTo>
                        <a:pt x="356565" y="113078"/>
                        <a:pt x="353713" y="116602"/>
                        <a:pt x="357592" y="121444"/>
                      </a:cubicBezTo>
                      <a:cubicBezTo>
                        <a:pt x="359849" y="124258"/>
                        <a:pt x="378787" y="134399"/>
                        <a:pt x="382438" y="135705"/>
                      </a:cubicBezTo>
                      <a:cubicBezTo>
                        <a:pt x="389968" y="138367"/>
                        <a:pt x="397054" y="134678"/>
                        <a:pt x="404774" y="133968"/>
                      </a:cubicBezTo>
                      <a:cubicBezTo>
                        <a:pt x="411379" y="133360"/>
                        <a:pt x="423434" y="138671"/>
                        <a:pt x="425475" y="134818"/>
                      </a:cubicBezTo>
                      <a:cubicBezTo>
                        <a:pt x="431420" y="136402"/>
                        <a:pt x="441130" y="144148"/>
                        <a:pt x="448610" y="140167"/>
                      </a:cubicBezTo>
                      <a:cubicBezTo>
                        <a:pt x="457547" y="135414"/>
                        <a:pt x="450853" y="129671"/>
                        <a:pt x="463073" y="130419"/>
                      </a:cubicBezTo>
                      <a:cubicBezTo>
                        <a:pt x="473684" y="131078"/>
                        <a:pt x="488350" y="141321"/>
                        <a:pt x="493738" y="150156"/>
                      </a:cubicBezTo>
                      <a:cubicBezTo>
                        <a:pt x="498251" y="157547"/>
                        <a:pt x="497401" y="164697"/>
                        <a:pt x="499911" y="172721"/>
                      </a:cubicBezTo>
                      <a:cubicBezTo>
                        <a:pt x="502485" y="180973"/>
                        <a:pt x="505958" y="189428"/>
                        <a:pt x="511536" y="196197"/>
                      </a:cubicBezTo>
                      <a:cubicBezTo>
                        <a:pt x="516049" y="201674"/>
                        <a:pt x="521677" y="203094"/>
                        <a:pt x="525036" y="209368"/>
                      </a:cubicBezTo>
                      <a:cubicBezTo>
                        <a:pt x="532008" y="222375"/>
                        <a:pt x="526874" y="236800"/>
                        <a:pt x="537358" y="247880"/>
                      </a:cubicBezTo>
                      <a:cubicBezTo>
                        <a:pt x="556449" y="268010"/>
                        <a:pt x="587265" y="277074"/>
                        <a:pt x="608486" y="294859"/>
                      </a:cubicBezTo>
                      <a:cubicBezTo>
                        <a:pt x="619096" y="303771"/>
                        <a:pt x="626322" y="313481"/>
                        <a:pt x="638276" y="321239"/>
                      </a:cubicBezTo>
                      <a:cubicBezTo>
                        <a:pt x="643131" y="324383"/>
                        <a:pt x="649963" y="330987"/>
                        <a:pt x="655364" y="332306"/>
                      </a:cubicBezTo>
                      <a:cubicBezTo>
                        <a:pt x="659471" y="333294"/>
                        <a:pt x="662754" y="330873"/>
                        <a:pt x="665961" y="331443"/>
                      </a:cubicBezTo>
                      <a:cubicBezTo>
                        <a:pt x="675469" y="333167"/>
                        <a:pt x="682162" y="343309"/>
                        <a:pt x="691441" y="349508"/>
                      </a:cubicBezTo>
                      <a:cubicBezTo>
                        <a:pt x="702951" y="357190"/>
                        <a:pt x="715476" y="359801"/>
                        <a:pt x="726403" y="368611"/>
                      </a:cubicBezTo>
                      <a:cubicBezTo>
                        <a:pt x="737165" y="377307"/>
                        <a:pt x="750691" y="388526"/>
                        <a:pt x="763773" y="393546"/>
                      </a:cubicBezTo>
                      <a:cubicBezTo>
                        <a:pt x="774396" y="397628"/>
                        <a:pt x="780177" y="391226"/>
                        <a:pt x="790749" y="393787"/>
                      </a:cubicBezTo>
                      <a:cubicBezTo>
                        <a:pt x="803464" y="396867"/>
                        <a:pt x="811247" y="405487"/>
                        <a:pt x="822554" y="410152"/>
                      </a:cubicBezTo>
                      <a:cubicBezTo>
                        <a:pt x="830173" y="413283"/>
                        <a:pt x="841417" y="410038"/>
                        <a:pt x="841379" y="420458"/>
                      </a:cubicBezTo>
                      <a:cubicBezTo>
                        <a:pt x="841366" y="424996"/>
                        <a:pt x="833621" y="431398"/>
                        <a:pt x="832404" y="436481"/>
                      </a:cubicBezTo>
                      <a:cubicBezTo>
                        <a:pt x="831428" y="440614"/>
                        <a:pt x="830908" y="450210"/>
                        <a:pt x="830883" y="454533"/>
                      </a:cubicBezTo>
                      <a:cubicBezTo>
                        <a:pt x="830883" y="458133"/>
                        <a:pt x="834318" y="458906"/>
                        <a:pt x="834179" y="462227"/>
                      </a:cubicBezTo>
                      <a:cubicBezTo>
                        <a:pt x="833951" y="466841"/>
                        <a:pt x="830503" y="463723"/>
                        <a:pt x="832772" y="468692"/>
                      </a:cubicBezTo>
                      <a:cubicBezTo>
                        <a:pt x="822377" y="479556"/>
                        <a:pt x="784968" y="458602"/>
                        <a:pt x="776703" y="450514"/>
                      </a:cubicBezTo>
                      <a:cubicBezTo>
                        <a:pt x="775360" y="455927"/>
                        <a:pt x="770378" y="454279"/>
                        <a:pt x="767437" y="459375"/>
                      </a:cubicBezTo>
                      <a:cubicBezTo>
                        <a:pt x="763330" y="466499"/>
                        <a:pt x="769389" y="473357"/>
                        <a:pt x="758804" y="478415"/>
                      </a:cubicBezTo>
                      <a:cubicBezTo>
                        <a:pt x="747395" y="483879"/>
                        <a:pt x="730789" y="477781"/>
                        <a:pt x="718227" y="482142"/>
                      </a:cubicBezTo>
                      <a:cubicBezTo>
                        <a:pt x="699402" y="488696"/>
                        <a:pt x="706767" y="491117"/>
                        <a:pt x="703813" y="505454"/>
                      </a:cubicBezTo>
                      <a:cubicBezTo>
                        <a:pt x="701722" y="515545"/>
                        <a:pt x="691428" y="522618"/>
                        <a:pt x="690009" y="533266"/>
                      </a:cubicBezTo>
                      <a:cubicBezTo>
                        <a:pt x="688792" y="542355"/>
                        <a:pt x="692645" y="546234"/>
                        <a:pt x="686206" y="555159"/>
                      </a:cubicBezTo>
                      <a:cubicBezTo>
                        <a:pt x="682999" y="559608"/>
                        <a:pt x="681034" y="560698"/>
                        <a:pt x="676863" y="563627"/>
                      </a:cubicBezTo>
                      <a:cubicBezTo>
                        <a:pt x="675507" y="564590"/>
                        <a:pt x="667077" y="570561"/>
                        <a:pt x="666164" y="570979"/>
                      </a:cubicBezTo>
                      <a:cubicBezTo>
                        <a:pt x="660472" y="573540"/>
                        <a:pt x="644525" y="569737"/>
                        <a:pt x="649824" y="583884"/>
                      </a:cubicBezTo>
                      <a:cubicBezTo>
                        <a:pt x="639822" y="578078"/>
                        <a:pt x="622557" y="585189"/>
                        <a:pt x="613265" y="588866"/>
                      </a:cubicBezTo>
                      <a:cubicBezTo>
                        <a:pt x="607472" y="591173"/>
                        <a:pt x="603986" y="594887"/>
                        <a:pt x="596760" y="595774"/>
                      </a:cubicBezTo>
                      <a:cubicBezTo>
                        <a:pt x="591398" y="596434"/>
                        <a:pt x="579926" y="592047"/>
                        <a:pt x="579064" y="598944"/>
                      </a:cubicBezTo>
                      <a:cubicBezTo>
                        <a:pt x="578519" y="603368"/>
                        <a:pt x="587544" y="606182"/>
                        <a:pt x="587570" y="608413"/>
                      </a:cubicBezTo>
                      <a:cubicBezTo>
                        <a:pt x="587633" y="612989"/>
                        <a:pt x="580395" y="611785"/>
                        <a:pt x="578062" y="616475"/>
                      </a:cubicBezTo>
                      <a:cubicBezTo>
                        <a:pt x="575983" y="620684"/>
                        <a:pt x="581814" y="625121"/>
                        <a:pt x="578658" y="630166"/>
                      </a:cubicBezTo>
                      <a:cubicBezTo>
                        <a:pt x="576947" y="632917"/>
                        <a:pt x="564955" y="636479"/>
                        <a:pt x="561583" y="638621"/>
                      </a:cubicBezTo>
                      <a:cubicBezTo>
                        <a:pt x="557311" y="641321"/>
                        <a:pt x="552088" y="646392"/>
                        <a:pt x="547258" y="647710"/>
                      </a:cubicBezTo>
                      <a:cubicBezTo>
                        <a:pt x="541313" y="649333"/>
                        <a:pt x="539437" y="645733"/>
                        <a:pt x="534962" y="645973"/>
                      </a:cubicBezTo>
                      <a:cubicBezTo>
                        <a:pt x="532401" y="646113"/>
                        <a:pt x="532541" y="643971"/>
                        <a:pt x="529334" y="645010"/>
                      </a:cubicBezTo>
                      <a:cubicBezTo>
                        <a:pt x="526101" y="646087"/>
                        <a:pt x="523870" y="655012"/>
                        <a:pt x="520942" y="655075"/>
                      </a:cubicBezTo>
                      <a:cubicBezTo>
                        <a:pt x="515681" y="655189"/>
                        <a:pt x="518406" y="646442"/>
                        <a:pt x="515935" y="642931"/>
                      </a:cubicBezTo>
                      <a:cubicBezTo>
                        <a:pt x="505755" y="628328"/>
                        <a:pt x="493421" y="632524"/>
                        <a:pt x="479337" y="632866"/>
                      </a:cubicBezTo>
                      <a:cubicBezTo>
                        <a:pt x="465824" y="633183"/>
                        <a:pt x="460944" y="623295"/>
                        <a:pt x="453008" y="618427"/>
                      </a:cubicBezTo>
                      <a:cubicBezTo>
                        <a:pt x="445846" y="614029"/>
                        <a:pt x="443831" y="614941"/>
                        <a:pt x="443159" y="605117"/>
                      </a:cubicBezTo>
                      <a:cubicBezTo>
                        <a:pt x="442652" y="597853"/>
                        <a:pt x="444629" y="587864"/>
                        <a:pt x="434285" y="586280"/>
                      </a:cubicBezTo>
                      <a:cubicBezTo>
                        <a:pt x="443539" y="575593"/>
                        <a:pt x="437961" y="568494"/>
                        <a:pt x="436301" y="556655"/>
                      </a:cubicBezTo>
                      <a:cubicBezTo>
                        <a:pt x="435477" y="550773"/>
                        <a:pt x="440547" y="539655"/>
                        <a:pt x="438126" y="534445"/>
                      </a:cubicBezTo>
                      <a:cubicBezTo>
                        <a:pt x="433677" y="524887"/>
                        <a:pt x="410910" y="529628"/>
                        <a:pt x="400832" y="529793"/>
                      </a:cubicBezTo>
                      <a:cubicBezTo>
                        <a:pt x="394760" y="529894"/>
                        <a:pt x="383452" y="532252"/>
                        <a:pt x="377963" y="530173"/>
                      </a:cubicBezTo>
                      <a:cubicBezTo>
                        <a:pt x="371904" y="527879"/>
                        <a:pt x="372195" y="524456"/>
                        <a:pt x="368405" y="519005"/>
                      </a:cubicBezTo>
                      <a:cubicBezTo>
                        <a:pt x="358898" y="505315"/>
                        <a:pt x="350861" y="496162"/>
                        <a:pt x="335788" y="490078"/>
                      </a:cubicBezTo>
                      <a:cubicBezTo>
                        <a:pt x="331402" y="488315"/>
                        <a:pt x="323644" y="489406"/>
                        <a:pt x="322288" y="488962"/>
                      </a:cubicBezTo>
                      <a:cubicBezTo>
                        <a:pt x="320539" y="488404"/>
                        <a:pt x="317902" y="484056"/>
                        <a:pt x="316241" y="482839"/>
                      </a:cubicBezTo>
                      <a:cubicBezTo>
                        <a:pt x="313351" y="480697"/>
                        <a:pt x="307545" y="479670"/>
                        <a:pt x="305124" y="473687"/>
                      </a:cubicBezTo>
                      <a:cubicBezTo>
                        <a:pt x="300598" y="462493"/>
                        <a:pt x="305517" y="460250"/>
                        <a:pt x="296200" y="455078"/>
                      </a:cubicBezTo>
                      <a:cubicBezTo>
                        <a:pt x="286920" y="449931"/>
                        <a:pt x="272710" y="446191"/>
                        <a:pt x="262163" y="440652"/>
                      </a:cubicBezTo>
                      <a:cubicBezTo>
                        <a:pt x="255926" y="449817"/>
                        <a:pt x="249968" y="440018"/>
                        <a:pt x="242109" y="440157"/>
                      </a:cubicBezTo>
                      <a:cubicBezTo>
                        <a:pt x="239333" y="440208"/>
                        <a:pt x="235821" y="445887"/>
                        <a:pt x="230409" y="446115"/>
                      </a:cubicBezTo>
                      <a:cubicBezTo>
                        <a:pt x="225439" y="446343"/>
                        <a:pt x="220521" y="441818"/>
                        <a:pt x="217846" y="439840"/>
                      </a:cubicBezTo>
                      <a:cubicBezTo>
                        <a:pt x="216211" y="438623"/>
                        <a:pt x="216262" y="434174"/>
                        <a:pt x="214525" y="432691"/>
                      </a:cubicBezTo>
                      <a:cubicBezTo>
                        <a:pt x="211787" y="430346"/>
                        <a:pt x="197310" y="427177"/>
                        <a:pt x="193723" y="425960"/>
                      </a:cubicBezTo>
                      <a:cubicBezTo>
                        <a:pt x="186586" y="423500"/>
                        <a:pt x="180387" y="422664"/>
                        <a:pt x="172363" y="421231"/>
                      </a:cubicBezTo>
                      <a:cubicBezTo>
                        <a:pt x="166658" y="420230"/>
                        <a:pt x="158203" y="421624"/>
                        <a:pt x="154134" y="416275"/>
                      </a:cubicBezTo>
                      <a:cubicBezTo>
                        <a:pt x="152828" y="414576"/>
                        <a:pt x="151890" y="404714"/>
                        <a:pt x="149621" y="400733"/>
                      </a:cubicBezTo>
                      <a:cubicBezTo>
                        <a:pt x="141673" y="386903"/>
                        <a:pt x="144994" y="394332"/>
                        <a:pt x="134219" y="397146"/>
                      </a:cubicBezTo>
                      <a:cubicBezTo>
                        <a:pt x="128401" y="398667"/>
                        <a:pt x="121669" y="396423"/>
                        <a:pt x="115128" y="395092"/>
                      </a:cubicBezTo>
                      <a:cubicBezTo>
                        <a:pt x="107560" y="393546"/>
                        <a:pt x="107674" y="394357"/>
                        <a:pt x="99574" y="394420"/>
                      </a:cubicBezTo>
                      <a:cubicBezTo>
                        <a:pt x="94491" y="394459"/>
                        <a:pt x="90599" y="391163"/>
                        <a:pt x="84692" y="393825"/>
                      </a:cubicBezTo>
                      <a:cubicBezTo>
                        <a:pt x="73663" y="398769"/>
                        <a:pt x="82943" y="403345"/>
                        <a:pt x="78392" y="406996"/>
                      </a:cubicBezTo>
                      <a:cubicBezTo>
                        <a:pt x="71229" y="412751"/>
                        <a:pt x="50123" y="407490"/>
                        <a:pt x="41769" y="406210"/>
                      </a:cubicBezTo>
                      <a:cubicBezTo>
                        <a:pt x="24643" y="403573"/>
                        <a:pt x="15123" y="410862"/>
                        <a:pt x="13" y="414931"/>
                      </a:cubicBezTo>
                      <a:cubicBezTo>
                        <a:pt x="0" y="315420"/>
                        <a:pt x="0" y="215884"/>
                        <a:pt x="0" y="116348"/>
                      </a:cubicBezTo>
                      <a:lnTo>
                        <a:pt x="0" y="116348"/>
                      </a:lnTo>
                      <a:close/>
                    </a:path>
                  </a:pathLst>
                </a:custGeom>
                <a:solidFill>
                  <a:srgbClr val="D6D6D2"/>
                </a:solidFill>
                <a:ln w="12413" cap="rnd">
                  <a:solidFill>
                    <a:srgbClr val="FFFFFF"/>
                  </a:solidFill>
                  <a:prstDash val="solid"/>
                  <a:round/>
                </a:ln>
              </p:spPr>
              <p:txBody>
                <a:bodyPr rtlCol="0" anchor="ctr"/>
                <a:lstStyle/>
                <a:p>
                  <a:endParaRPr lang="en-US"/>
                </a:p>
              </p:txBody>
            </p:sp>
            <p:sp>
              <p:nvSpPr>
                <p:cNvPr id="73" name="Freeform: Shape 72">
                  <a:extLst>
                    <a:ext uri="{FF2B5EF4-FFF2-40B4-BE49-F238E27FC236}">
                      <a16:creationId xmlns:a16="http://schemas.microsoft.com/office/drawing/2014/main" id="{FB6985AC-FDCB-4653-A45B-04F7ED436DE6}"/>
                    </a:ext>
                  </a:extLst>
                </p:cNvPr>
                <p:cNvSpPr/>
                <p:nvPr/>
              </p:nvSpPr>
              <p:spPr>
                <a:xfrm>
                  <a:off x="902074" y="1701892"/>
                  <a:ext cx="577757" cy="374325"/>
                </a:xfrm>
                <a:custGeom>
                  <a:avLst/>
                  <a:gdLst>
                    <a:gd name="connsiteX0" fmla="*/ 234009 w 577757"/>
                    <a:gd name="connsiteY0" fmla="*/ 5598 h 374325"/>
                    <a:gd name="connsiteX1" fmla="*/ 247978 w 577757"/>
                    <a:gd name="connsiteY1" fmla="*/ 21646 h 374325"/>
                    <a:gd name="connsiteX2" fmla="*/ 250792 w 577757"/>
                    <a:gd name="connsiteY2" fmla="*/ 30469 h 374325"/>
                    <a:gd name="connsiteX3" fmla="*/ 231651 w 577757"/>
                    <a:gd name="connsiteY3" fmla="*/ 45934 h 374325"/>
                    <a:gd name="connsiteX4" fmla="*/ 223918 w 577757"/>
                    <a:gd name="connsiteY4" fmla="*/ 57128 h 374325"/>
                    <a:gd name="connsiteX5" fmla="*/ 233083 w 577757"/>
                    <a:gd name="connsiteY5" fmla="*/ 59853 h 374325"/>
                    <a:gd name="connsiteX6" fmla="*/ 242007 w 577757"/>
                    <a:gd name="connsiteY6" fmla="*/ 72961 h 374325"/>
                    <a:gd name="connsiteX7" fmla="*/ 263507 w 577757"/>
                    <a:gd name="connsiteY7" fmla="*/ 75813 h 374325"/>
                    <a:gd name="connsiteX8" fmla="*/ 244226 w 577757"/>
                    <a:gd name="connsiteY8" fmla="*/ 82088 h 374325"/>
                    <a:gd name="connsiteX9" fmla="*/ 232538 w 577757"/>
                    <a:gd name="connsiteY9" fmla="*/ 96197 h 374325"/>
                    <a:gd name="connsiteX10" fmla="*/ 233134 w 577757"/>
                    <a:gd name="connsiteY10" fmla="*/ 86322 h 374325"/>
                    <a:gd name="connsiteX11" fmla="*/ 207287 w 577757"/>
                    <a:gd name="connsiteY11" fmla="*/ 78500 h 374325"/>
                    <a:gd name="connsiteX12" fmla="*/ 183429 w 577757"/>
                    <a:gd name="connsiteY12" fmla="*/ 75217 h 374325"/>
                    <a:gd name="connsiteX13" fmla="*/ 160371 w 577757"/>
                    <a:gd name="connsiteY13" fmla="*/ 79426 h 374325"/>
                    <a:gd name="connsiteX14" fmla="*/ 157404 w 577757"/>
                    <a:gd name="connsiteY14" fmla="*/ 92723 h 374325"/>
                    <a:gd name="connsiteX15" fmla="*/ 151155 w 577757"/>
                    <a:gd name="connsiteY15" fmla="*/ 97832 h 374325"/>
                    <a:gd name="connsiteX16" fmla="*/ 144994 w 577757"/>
                    <a:gd name="connsiteY16" fmla="*/ 92140 h 374325"/>
                    <a:gd name="connsiteX17" fmla="*/ 139860 w 577757"/>
                    <a:gd name="connsiteY17" fmla="*/ 114058 h 374325"/>
                    <a:gd name="connsiteX18" fmla="*/ 143752 w 577757"/>
                    <a:gd name="connsiteY18" fmla="*/ 131197 h 374325"/>
                    <a:gd name="connsiteX19" fmla="*/ 176052 w 577757"/>
                    <a:gd name="connsiteY19" fmla="*/ 127597 h 374325"/>
                    <a:gd name="connsiteX20" fmla="*/ 210836 w 577757"/>
                    <a:gd name="connsiteY20" fmla="*/ 123236 h 374325"/>
                    <a:gd name="connsiteX21" fmla="*/ 228786 w 577757"/>
                    <a:gd name="connsiteY21" fmla="*/ 125353 h 374325"/>
                    <a:gd name="connsiteX22" fmla="*/ 248130 w 577757"/>
                    <a:gd name="connsiteY22" fmla="*/ 137079 h 374325"/>
                    <a:gd name="connsiteX23" fmla="*/ 254988 w 577757"/>
                    <a:gd name="connsiteY23" fmla="*/ 143430 h 374325"/>
                    <a:gd name="connsiteX24" fmla="*/ 265763 w 577757"/>
                    <a:gd name="connsiteY24" fmla="*/ 141883 h 374325"/>
                    <a:gd name="connsiteX25" fmla="*/ 274599 w 577757"/>
                    <a:gd name="connsiteY25" fmla="*/ 133948 h 374325"/>
                    <a:gd name="connsiteX26" fmla="*/ 291573 w 577757"/>
                    <a:gd name="connsiteY26" fmla="*/ 129282 h 374325"/>
                    <a:gd name="connsiteX27" fmla="*/ 302576 w 577757"/>
                    <a:gd name="connsiteY27" fmla="*/ 123958 h 374325"/>
                    <a:gd name="connsiteX28" fmla="*/ 306873 w 577757"/>
                    <a:gd name="connsiteY28" fmla="*/ 132730 h 374325"/>
                    <a:gd name="connsiteX29" fmla="*/ 323429 w 577757"/>
                    <a:gd name="connsiteY29" fmla="*/ 137040 h 374325"/>
                    <a:gd name="connsiteX30" fmla="*/ 322580 w 577757"/>
                    <a:gd name="connsiteY30" fmla="*/ 148069 h 374325"/>
                    <a:gd name="connsiteX31" fmla="*/ 348795 w 577757"/>
                    <a:gd name="connsiteY31" fmla="*/ 145775 h 374325"/>
                    <a:gd name="connsiteX32" fmla="*/ 361547 w 577757"/>
                    <a:gd name="connsiteY32" fmla="*/ 160251 h 374325"/>
                    <a:gd name="connsiteX33" fmla="*/ 371574 w 577757"/>
                    <a:gd name="connsiteY33" fmla="*/ 147042 h 374325"/>
                    <a:gd name="connsiteX34" fmla="*/ 385240 w 577757"/>
                    <a:gd name="connsiteY34" fmla="*/ 145635 h 374325"/>
                    <a:gd name="connsiteX35" fmla="*/ 422585 w 577757"/>
                    <a:gd name="connsiteY35" fmla="*/ 144773 h 374325"/>
                    <a:gd name="connsiteX36" fmla="*/ 439901 w 577757"/>
                    <a:gd name="connsiteY36" fmla="*/ 143353 h 374325"/>
                    <a:gd name="connsiteX37" fmla="*/ 457508 w 577757"/>
                    <a:gd name="connsiteY37" fmla="*/ 136572 h 374325"/>
                    <a:gd name="connsiteX38" fmla="*/ 465203 w 577757"/>
                    <a:gd name="connsiteY38" fmla="*/ 147740 h 374325"/>
                    <a:gd name="connsiteX39" fmla="*/ 468309 w 577757"/>
                    <a:gd name="connsiteY39" fmla="*/ 165550 h 374325"/>
                    <a:gd name="connsiteX40" fmla="*/ 478856 w 577757"/>
                    <a:gd name="connsiteY40" fmla="*/ 178683 h 374325"/>
                    <a:gd name="connsiteX41" fmla="*/ 468702 w 577757"/>
                    <a:gd name="connsiteY41" fmla="*/ 185985 h 374325"/>
                    <a:gd name="connsiteX42" fmla="*/ 478133 w 577757"/>
                    <a:gd name="connsiteY42" fmla="*/ 212136 h 374325"/>
                    <a:gd name="connsiteX43" fmla="*/ 495006 w 577757"/>
                    <a:gd name="connsiteY43" fmla="*/ 216890 h 374325"/>
                    <a:gd name="connsiteX44" fmla="*/ 498618 w 577757"/>
                    <a:gd name="connsiteY44" fmla="*/ 208460 h 374325"/>
                    <a:gd name="connsiteX45" fmla="*/ 538118 w 577757"/>
                    <a:gd name="connsiteY45" fmla="*/ 213797 h 374325"/>
                    <a:gd name="connsiteX46" fmla="*/ 554078 w 577757"/>
                    <a:gd name="connsiteY46" fmla="*/ 226600 h 374325"/>
                    <a:gd name="connsiteX47" fmla="*/ 548665 w 577757"/>
                    <a:gd name="connsiteY47" fmla="*/ 239454 h 374325"/>
                    <a:gd name="connsiteX48" fmla="*/ 557577 w 577757"/>
                    <a:gd name="connsiteY48" fmla="*/ 265352 h 374325"/>
                    <a:gd name="connsiteX49" fmla="*/ 556981 w 577757"/>
                    <a:gd name="connsiteY49" fmla="*/ 275570 h 374325"/>
                    <a:gd name="connsiteX50" fmla="*/ 562939 w 577757"/>
                    <a:gd name="connsiteY50" fmla="*/ 281261 h 374325"/>
                    <a:gd name="connsiteX51" fmla="*/ 560594 w 577757"/>
                    <a:gd name="connsiteY51" fmla="*/ 285952 h 374325"/>
                    <a:gd name="connsiteX52" fmla="*/ 559428 w 577757"/>
                    <a:gd name="connsiteY52" fmla="*/ 298793 h 374325"/>
                    <a:gd name="connsiteX53" fmla="*/ 577758 w 577757"/>
                    <a:gd name="connsiteY53" fmla="*/ 313219 h 374325"/>
                    <a:gd name="connsiteX54" fmla="*/ 562039 w 577757"/>
                    <a:gd name="connsiteY54" fmla="*/ 323335 h 374325"/>
                    <a:gd name="connsiteX55" fmla="*/ 551048 w 577757"/>
                    <a:gd name="connsiteY55" fmla="*/ 320140 h 374325"/>
                    <a:gd name="connsiteX56" fmla="*/ 515035 w 577757"/>
                    <a:gd name="connsiteY56" fmla="*/ 310988 h 374325"/>
                    <a:gd name="connsiteX57" fmla="*/ 473747 w 577757"/>
                    <a:gd name="connsiteY57" fmla="*/ 327708 h 374325"/>
                    <a:gd name="connsiteX58" fmla="*/ 473481 w 577757"/>
                    <a:gd name="connsiteY58" fmla="*/ 310861 h 374325"/>
                    <a:gd name="connsiteX59" fmla="*/ 443247 w 577757"/>
                    <a:gd name="connsiteY59" fmla="*/ 307869 h 374325"/>
                    <a:gd name="connsiteX60" fmla="*/ 426971 w 577757"/>
                    <a:gd name="connsiteY60" fmla="*/ 315234 h 374325"/>
                    <a:gd name="connsiteX61" fmla="*/ 418858 w 577757"/>
                    <a:gd name="connsiteY61" fmla="*/ 320787 h 374325"/>
                    <a:gd name="connsiteX62" fmla="*/ 405256 w 577757"/>
                    <a:gd name="connsiteY62" fmla="*/ 326859 h 374325"/>
                    <a:gd name="connsiteX63" fmla="*/ 381487 w 577757"/>
                    <a:gd name="connsiteY63" fmla="*/ 346241 h 374325"/>
                    <a:gd name="connsiteX64" fmla="*/ 356400 w 577757"/>
                    <a:gd name="connsiteY64" fmla="*/ 355330 h 374325"/>
                    <a:gd name="connsiteX65" fmla="*/ 325254 w 577757"/>
                    <a:gd name="connsiteY65" fmla="*/ 374294 h 374325"/>
                    <a:gd name="connsiteX66" fmla="*/ 301841 w 577757"/>
                    <a:gd name="connsiteY66" fmla="*/ 342058 h 374325"/>
                    <a:gd name="connsiteX67" fmla="*/ 306556 w 577757"/>
                    <a:gd name="connsiteY67" fmla="*/ 318442 h 374325"/>
                    <a:gd name="connsiteX68" fmla="*/ 308382 w 577757"/>
                    <a:gd name="connsiteY68" fmla="*/ 293444 h 374325"/>
                    <a:gd name="connsiteX69" fmla="*/ 304046 w 577757"/>
                    <a:gd name="connsiteY69" fmla="*/ 267799 h 374325"/>
                    <a:gd name="connsiteX70" fmla="*/ 288873 w 577757"/>
                    <a:gd name="connsiteY70" fmla="*/ 266493 h 374325"/>
                    <a:gd name="connsiteX71" fmla="*/ 296821 w 577757"/>
                    <a:gd name="connsiteY71" fmla="*/ 244614 h 374325"/>
                    <a:gd name="connsiteX72" fmla="*/ 265751 w 577757"/>
                    <a:gd name="connsiteY72" fmla="*/ 222518 h 374325"/>
                    <a:gd name="connsiteX73" fmla="*/ 251806 w 577757"/>
                    <a:gd name="connsiteY73" fmla="*/ 225003 h 374325"/>
                    <a:gd name="connsiteX74" fmla="*/ 240017 w 577757"/>
                    <a:gd name="connsiteY74" fmla="*/ 234282 h 374325"/>
                    <a:gd name="connsiteX75" fmla="*/ 228089 w 577757"/>
                    <a:gd name="connsiteY75" fmla="*/ 253436 h 374325"/>
                    <a:gd name="connsiteX76" fmla="*/ 215323 w 577757"/>
                    <a:gd name="connsiteY76" fmla="*/ 267431 h 374325"/>
                    <a:gd name="connsiteX77" fmla="*/ 208719 w 577757"/>
                    <a:gd name="connsiteY77" fmla="*/ 266861 h 374325"/>
                    <a:gd name="connsiteX78" fmla="*/ 214005 w 577757"/>
                    <a:gd name="connsiteY78" fmla="*/ 294686 h 374325"/>
                    <a:gd name="connsiteX79" fmla="*/ 189146 w 577757"/>
                    <a:gd name="connsiteY79" fmla="*/ 294800 h 374325"/>
                    <a:gd name="connsiteX80" fmla="*/ 172908 w 577757"/>
                    <a:gd name="connsiteY80" fmla="*/ 298070 h 374325"/>
                    <a:gd name="connsiteX81" fmla="*/ 152651 w 577757"/>
                    <a:gd name="connsiteY81" fmla="*/ 306919 h 374325"/>
                    <a:gd name="connsiteX82" fmla="*/ 149494 w 577757"/>
                    <a:gd name="connsiteY82" fmla="*/ 334123 h 374325"/>
                    <a:gd name="connsiteX83" fmla="*/ 113772 w 577757"/>
                    <a:gd name="connsiteY83" fmla="*/ 318543 h 374325"/>
                    <a:gd name="connsiteX84" fmla="*/ 115876 w 577757"/>
                    <a:gd name="connsiteY84" fmla="*/ 323563 h 374325"/>
                    <a:gd name="connsiteX85" fmla="*/ 108790 w 577757"/>
                    <a:gd name="connsiteY85" fmla="*/ 325959 h 374325"/>
                    <a:gd name="connsiteX86" fmla="*/ 96747 w 577757"/>
                    <a:gd name="connsiteY86" fmla="*/ 324539 h 374325"/>
                    <a:gd name="connsiteX87" fmla="*/ 97761 w 577757"/>
                    <a:gd name="connsiteY87" fmla="*/ 326276 h 374325"/>
                    <a:gd name="connsiteX88" fmla="*/ 77999 w 577757"/>
                    <a:gd name="connsiteY88" fmla="*/ 334363 h 374325"/>
                    <a:gd name="connsiteX89" fmla="*/ 73765 w 577757"/>
                    <a:gd name="connsiteY89" fmla="*/ 338166 h 374325"/>
                    <a:gd name="connsiteX90" fmla="*/ 69835 w 577757"/>
                    <a:gd name="connsiteY90" fmla="*/ 338192 h 374325"/>
                    <a:gd name="connsiteX91" fmla="*/ 69176 w 577757"/>
                    <a:gd name="connsiteY91" fmla="*/ 343389 h 374325"/>
                    <a:gd name="connsiteX92" fmla="*/ 53495 w 577757"/>
                    <a:gd name="connsiteY92" fmla="*/ 351667 h 374325"/>
                    <a:gd name="connsiteX93" fmla="*/ 41554 w 577757"/>
                    <a:gd name="connsiteY93" fmla="*/ 345151 h 374325"/>
                    <a:gd name="connsiteX94" fmla="*/ 32959 w 577757"/>
                    <a:gd name="connsiteY94" fmla="*/ 328646 h 374325"/>
                    <a:gd name="connsiteX95" fmla="*/ 37915 w 577757"/>
                    <a:gd name="connsiteY95" fmla="*/ 298692 h 374325"/>
                    <a:gd name="connsiteX96" fmla="*/ 60188 w 577757"/>
                    <a:gd name="connsiteY96" fmla="*/ 268319 h 374325"/>
                    <a:gd name="connsiteX97" fmla="*/ 71077 w 577757"/>
                    <a:gd name="connsiteY97" fmla="*/ 258127 h 374325"/>
                    <a:gd name="connsiteX98" fmla="*/ 61785 w 577757"/>
                    <a:gd name="connsiteY98" fmla="*/ 233598 h 374325"/>
                    <a:gd name="connsiteX99" fmla="*/ 53127 w 577757"/>
                    <a:gd name="connsiteY99" fmla="*/ 194909 h 374325"/>
                    <a:gd name="connsiteX100" fmla="*/ 58122 w 577757"/>
                    <a:gd name="connsiteY100" fmla="*/ 183386 h 374325"/>
                    <a:gd name="connsiteX101" fmla="*/ 46624 w 577757"/>
                    <a:gd name="connsiteY101" fmla="*/ 176908 h 374325"/>
                    <a:gd name="connsiteX102" fmla="*/ 24326 w 577757"/>
                    <a:gd name="connsiteY102" fmla="*/ 176680 h 374325"/>
                    <a:gd name="connsiteX103" fmla="*/ 20206 w 577757"/>
                    <a:gd name="connsiteY103" fmla="*/ 163801 h 374325"/>
                    <a:gd name="connsiteX104" fmla="*/ 0 w 577757"/>
                    <a:gd name="connsiteY104" fmla="*/ 152354 h 374325"/>
                    <a:gd name="connsiteX105" fmla="*/ 7086 w 577757"/>
                    <a:gd name="connsiteY105" fmla="*/ 134759 h 374325"/>
                    <a:gd name="connsiteX106" fmla="*/ 27369 w 577757"/>
                    <a:gd name="connsiteY106" fmla="*/ 122868 h 374325"/>
                    <a:gd name="connsiteX107" fmla="*/ 73093 w 577757"/>
                    <a:gd name="connsiteY107" fmla="*/ 131121 h 374325"/>
                    <a:gd name="connsiteX108" fmla="*/ 92019 w 577757"/>
                    <a:gd name="connsiteY108" fmla="*/ 122069 h 374325"/>
                    <a:gd name="connsiteX109" fmla="*/ 102984 w 577757"/>
                    <a:gd name="connsiteY109" fmla="*/ 105958 h 374325"/>
                    <a:gd name="connsiteX110" fmla="*/ 104264 w 577757"/>
                    <a:gd name="connsiteY110" fmla="*/ 92001 h 374325"/>
                    <a:gd name="connsiteX111" fmla="*/ 111984 w 577757"/>
                    <a:gd name="connsiteY111" fmla="*/ 97667 h 374325"/>
                    <a:gd name="connsiteX112" fmla="*/ 105418 w 577757"/>
                    <a:gd name="connsiteY112" fmla="*/ 83393 h 374325"/>
                    <a:gd name="connsiteX113" fmla="*/ 120630 w 577757"/>
                    <a:gd name="connsiteY113" fmla="*/ 80427 h 374325"/>
                    <a:gd name="connsiteX114" fmla="*/ 91093 w 577757"/>
                    <a:gd name="connsiteY114" fmla="*/ 76079 h 374325"/>
                    <a:gd name="connsiteX115" fmla="*/ 123469 w 577757"/>
                    <a:gd name="connsiteY115" fmla="*/ 70185 h 374325"/>
                    <a:gd name="connsiteX116" fmla="*/ 137464 w 577757"/>
                    <a:gd name="connsiteY116" fmla="*/ 64417 h 374325"/>
                    <a:gd name="connsiteX117" fmla="*/ 142953 w 577757"/>
                    <a:gd name="connsiteY117" fmla="*/ 55429 h 374325"/>
                    <a:gd name="connsiteX118" fmla="*/ 138187 w 577757"/>
                    <a:gd name="connsiteY118" fmla="*/ 45148 h 374325"/>
                    <a:gd name="connsiteX119" fmla="*/ 142763 w 577757"/>
                    <a:gd name="connsiteY119" fmla="*/ 39203 h 374325"/>
                    <a:gd name="connsiteX120" fmla="*/ 162830 w 577757"/>
                    <a:gd name="connsiteY120" fmla="*/ 26349 h 374325"/>
                    <a:gd name="connsiteX121" fmla="*/ 174632 w 577757"/>
                    <a:gd name="connsiteY121" fmla="*/ 35159 h 374325"/>
                    <a:gd name="connsiteX122" fmla="*/ 195269 w 577757"/>
                    <a:gd name="connsiteY122" fmla="*/ 24803 h 374325"/>
                    <a:gd name="connsiteX123" fmla="*/ 210354 w 577757"/>
                    <a:gd name="connsiteY123" fmla="*/ 17184 h 374325"/>
                    <a:gd name="connsiteX124" fmla="*/ 221852 w 577757"/>
                    <a:gd name="connsiteY124" fmla="*/ 5015 h 374325"/>
                    <a:gd name="connsiteX125" fmla="*/ 228951 w 577757"/>
                    <a:gd name="connsiteY125" fmla="*/ 971 h 374325"/>
                    <a:gd name="connsiteX126" fmla="*/ 234009 w 577757"/>
                    <a:gd name="connsiteY126" fmla="*/ 5598 h 374325"/>
                    <a:gd name="connsiteX127" fmla="*/ 234009 w 577757"/>
                    <a:gd name="connsiteY127" fmla="*/ 5598 h 37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577757" h="374325">
                      <a:moveTo>
                        <a:pt x="234009" y="5598"/>
                      </a:moveTo>
                      <a:cubicBezTo>
                        <a:pt x="238648" y="10288"/>
                        <a:pt x="246343" y="15574"/>
                        <a:pt x="247978" y="21646"/>
                      </a:cubicBezTo>
                      <a:cubicBezTo>
                        <a:pt x="234858" y="16360"/>
                        <a:pt x="252897" y="25348"/>
                        <a:pt x="250792" y="30469"/>
                      </a:cubicBezTo>
                      <a:cubicBezTo>
                        <a:pt x="249132" y="34487"/>
                        <a:pt x="235821" y="42930"/>
                        <a:pt x="231651" y="45934"/>
                      </a:cubicBezTo>
                      <a:cubicBezTo>
                        <a:pt x="226631" y="49547"/>
                        <a:pt x="219025" y="49915"/>
                        <a:pt x="223918" y="57128"/>
                      </a:cubicBezTo>
                      <a:cubicBezTo>
                        <a:pt x="226973" y="61615"/>
                        <a:pt x="230142" y="57369"/>
                        <a:pt x="233083" y="59853"/>
                      </a:cubicBezTo>
                      <a:cubicBezTo>
                        <a:pt x="237304" y="63415"/>
                        <a:pt x="236835" y="70438"/>
                        <a:pt x="242007" y="72961"/>
                      </a:cubicBezTo>
                      <a:cubicBezTo>
                        <a:pt x="246191" y="75014"/>
                        <a:pt x="278617" y="64265"/>
                        <a:pt x="263507" y="75813"/>
                      </a:cubicBezTo>
                      <a:cubicBezTo>
                        <a:pt x="258829" y="79388"/>
                        <a:pt x="249740" y="75217"/>
                        <a:pt x="244226" y="82088"/>
                      </a:cubicBezTo>
                      <a:cubicBezTo>
                        <a:pt x="239105" y="88451"/>
                        <a:pt x="243668" y="94891"/>
                        <a:pt x="232538" y="96197"/>
                      </a:cubicBezTo>
                      <a:cubicBezTo>
                        <a:pt x="223715" y="97224"/>
                        <a:pt x="237926" y="92482"/>
                        <a:pt x="233134" y="86322"/>
                      </a:cubicBezTo>
                      <a:cubicBezTo>
                        <a:pt x="230155" y="82455"/>
                        <a:pt x="212028" y="80655"/>
                        <a:pt x="207287" y="78500"/>
                      </a:cubicBezTo>
                      <a:cubicBezTo>
                        <a:pt x="195472" y="73189"/>
                        <a:pt x="195928" y="71363"/>
                        <a:pt x="183429" y="75217"/>
                      </a:cubicBezTo>
                      <a:cubicBezTo>
                        <a:pt x="176977" y="77195"/>
                        <a:pt x="165771" y="84268"/>
                        <a:pt x="160371" y="79426"/>
                      </a:cubicBezTo>
                      <a:cubicBezTo>
                        <a:pt x="156771" y="84357"/>
                        <a:pt x="159154" y="88616"/>
                        <a:pt x="157404" y="92723"/>
                      </a:cubicBezTo>
                      <a:cubicBezTo>
                        <a:pt x="155478" y="97350"/>
                        <a:pt x="159521" y="97794"/>
                        <a:pt x="151155" y="97832"/>
                      </a:cubicBezTo>
                      <a:cubicBezTo>
                        <a:pt x="148810" y="97845"/>
                        <a:pt x="148277" y="91253"/>
                        <a:pt x="144994" y="92140"/>
                      </a:cubicBezTo>
                      <a:cubicBezTo>
                        <a:pt x="139746" y="93535"/>
                        <a:pt x="139442" y="109976"/>
                        <a:pt x="139860" y="114058"/>
                      </a:cubicBezTo>
                      <a:cubicBezTo>
                        <a:pt x="139911" y="114489"/>
                        <a:pt x="144829" y="132604"/>
                        <a:pt x="143752" y="131197"/>
                      </a:cubicBezTo>
                      <a:cubicBezTo>
                        <a:pt x="145780" y="133846"/>
                        <a:pt x="169929" y="127203"/>
                        <a:pt x="176052" y="127597"/>
                      </a:cubicBezTo>
                      <a:cubicBezTo>
                        <a:pt x="184380" y="128129"/>
                        <a:pt x="207401" y="133161"/>
                        <a:pt x="210836" y="123236"/>
                      </a:cubicBezTo>
                      <a:cubicBezTo>
                        <a:pt x="210392" y="138207"/>
                        <a:pt x="219646" y="126126"/>
                        <a:pt x="228786" y="125353"/>
                      </a:cubicBezTo>
                      <a:cubicBezTo>
                        <a:pt x="238623" y="124529"/>
                        <a:pt x="242730" y="130588"/>
                        <a:pt x="248130" y="137079"/>
                      </a:cubicBezTo>
                      <a:cubicBezTo>
                        <a:pt x="251616" y="141274"/>
                        <a:pt x="247015" y="141604"/>
                        <a:pt x="254988" y="143430"/>
                      </a:cubicBezTo>
                      <a:cubicBezTo>
                        <a:pt x="255343" y="143506"/>
                        <a:pt x="266410" y="141604"/>
                        <a:pt x="265763" y="141883"/>
                      </a:cubicBezTo>
                      <a:cubicBezTo>
                        <a:pt x="270454" y="139867"/>
                        <a:pt x="270289" y="136648"/>
                        <a:pt x="274599" y="133948"/>
                      </a:cubicBezTo>
                      <a:cubicBezTo>
                        <a:pt x="279581" y="130842"/>
                        <a:pt x="286654" y="131006"/>
                        <a:pt x="291573" y="129282"/>
                      </a:cubicBezTo>
                      <a:cubicBezTo>
                        <a:pt x="294729" y="128167"/>
                        <a:pt x="298811" y="123426"/>
                        <a:pt x="302576" y="123958"/>
                      </a:cubicBezTo>
                      <a:cubicBezTo>
                        <a:pt x="312134" y="125353"/>
                        <a:pt x="304668" y="129714"/>
                        <a:pt x="306873" y="132730"/>
                      </a:cubicBezTo>
                      <a:cubicBezTo>
                        <a:pt x="312666" y="140679"/>
                        <a:pt x="317813" y="132122"/>
                        <a:pt x="323429" y="137040"/>
                      </a:cubicBezTo>
                      <a:cubicBezTo>
                        <a:pt x="328816" y="141731"/>
                        <a:pt x="321223" y="144672"/>
                        <a:pt x="322580" y="148069"/>
                      </a:cubicBezTo>
                      <a:cubicBezTo>
                        <a:pt x="327752" y="161278"/>
                        <a:pt x="339731" y="143100"/>
                        <a:pt x="348795" y="145775"/>
                      </a:cubicBezTo>
                      <a:cubicBezTo>
                        <a:pt x="349593" y="146016"/>
                        <a:pt x="358733" y="161164"/>
                        <a:pt x="361547" y="160251"/>
                      </a:cubicBezTo>
                      <a:cubicBezTo>
                        <a:pt x="363981" y="159453"/>
                        <a:pt x="367594" y="149387"/>
                        <a:pt x="371574" y="147042"/>
                      </a:cubicBezTo>
                      <a:cubicBezTo>
                        <a:pt x="374858" y="145103"/>
                        <a:pt x="382387" y="146041"/>
                        <a:pt x="385240" y="145635"/>
                      </a:cubicBezTo>
                      <a:cubicBezTo>
                        <a:pt x="396281" y="144076"/>
                        <a:pt x="410453" y="145192"/>
                        <a:pt x="422585" y="144773"/>
                      </a:cubicBezTo>
                      <a:cubicBezTo>
                        <a:pt x="428834" y="144570"/>
                        <a:pt x="433119" y="146066"/>
                        <a:pt x="439901" y="143353"/>
                      </a:cubicBezTo>
                      <a:cubicBezTo>
                        <a:pt x="445123" y="141274"/>
                        <a:pt x="449053" y="134581"/>
                        <a:pt x="457508" y="136572"/>
                      </a:cubicBezTo>
                      <a:cubicBezTo>
                        <a:pt x="465419" y="138435"/>
                        <a:pt x="465190" y="139360"/>
                        <a:pt x="465203" y="147740"/>
                      </a:cubicBezTo>
                      <a:cubicBezTo>
                        <a:pt x="465216" y="158895"/>
                        <a:pt x="461235" y="155422"/>
                        <a:pt x="468309" y="165550"/>
                      </a:cubicBezTo>
                      <a:cubicBezTo>
                        <a:pt x="469665" y="167502"/>
                        <a:pt x="478830" y="177187"/>
                        <a:pt x="478856" y="178683"/>
                      </a:cubicBezTo>
                      <a:cubicBezTo>
                        <a:pt x="478868" y="185642"/>
                        <a:pt x="471453" y="180546"/>
                        <a:pt x="468702" y="185985"/>
                      </a:cubicBezTo>
                      <a:cubicBezTo>
                        <a:pt x="467181" y="189052"/>
                        <a:pt x="475534" y="209677"/>
                        <a:pt x="478133" y="212136"/>
                      </a:cubicBezTo>
                      <a:cubicBezTo>
                        <a:pt x="481568" y="215369"/>
                        <a:pt x="490404" y="218918"/>
                        <a:pt x="495006" y="216890"/>
                      </a:cubicBezTo>
                      <a:cubicBezTo>
                        <a:pt x="494587" y="217067"/>
                        <a:pt x="496653" y="210019"/>
                        <a:pt x="498618" y="208460"/>
                      </a:cubicBezTo>
                      <a:cubicBezTo>
                        <a:pt x="508379" y="200677"/>
                        <a:pt x="525784" y="209056"/>
                        <a:pt x="538118" y="213797"/>
                      </a:cubicBezTo>
                      <a:cubicBezTo>
                        <a:pt x="543912" y="216015"/>
                        <a:pt x="553647" y="219438"/>
                        <a:pt x="554078" y="226600"/>
                      </a:cubicBezTo>
                      <a:cubicBezTo>
                        <a:pt x="554332" y="231252"/>
                        <a:pt x="549667" y="234777"/>
                        <a:pt x="548665" y="239454"/>
                      </a:cubicBezTo>
                      <a:cubicBezTo>
                        <a:pt x="545914" y="252194"/>
                        <a:pt x="554839" y="256377"/>
                        <a:pt x="557577" y="265352"/>
                      </a:cubicBezTo>
                      <a:cubicBezTo>
                        <a:pt x="558718" y="269028"/>
                        <a:pt x="556537" y="273922"/>
                        <a:pt x="556981" y="275570"/>
                      </a:cubicBezTo>
                      <a:cubicBezTo>
                        <a:pt x="557716" y="278384"/>
                        <a:pt x="563193" y="278891"/>
                        <a:pt x="562939" y="281261"/>
                      </a:cubicBezTo>
                      <a:cubicBezTo>
                        <a:pt x="562774" y="283049"/>
                        <a:pt x="560619" y="284507"/>
                        <a:pt x="560594" y="285952"/>
                      </a:cubicBezTo>
                      <a:cubicBezTo>
                        <a:pt x="560429" y="292239"/>
                        <a:pt x="555016" y="291517"/>
                        <a:pt x="559428" y="298793"/>
                      </a:cubicBezTo>
                      <a:cubicBezTo>
                        <a:pt x="561747" y="302621"/>
                        <a:pt x="573714" y="310772"/>
                        <a:pt x="577758" y="313219"/>
                      </a:cubicBezTo>
                      <a:cubicBezTo>
                        <a:pt x="570431" y="314005"/>
                        <a:pt x="569797" y="320939"/>
                        <a:pt x="562039" y="323335"/>
                      </a:cubicBezTo>
                      <a:cubicBezTo>
                        <a:pt x="553318" y="326035"/>
                        <a:pt x="560771" y="327011"/>
                        <a:pt x="551048" y="320140"/>
                      </a:cubicBezTo>
                      <a:cubicBezTo>
                        <a:pt x="540540" y="312737"/>
                        <a:pt x="523021" y="318467"/>
                        <a:pt x="515035" y="310988"/>
                      </a:cubicBezTo>
                      <a:cubicBezTo>
                        <a:pt x="504640" y="315957"/>
                        <a:pt x="489162" y="325642"/>
                        <a:pt x="473747" y="327708"/>
                      </a:cubicBezTo>
                      <a:cubicBezTo>
                        <a:pt x="451550" y="330675"/>
                        <a:pt x="474318" y="320660"/>
                        <a:pt x="473481" y="310861"/>
                      </a:cubicBezTo>
                      <a:cubicBezTo>
                        <a:pt x="462604" y="310874"/>
                        <a:pt x="453262" y="305068"/>
                        <a:pt x="443247" y="307869"/>
                      </a:cubicBezTo>
                      <a:cubicBezTo>
                        <a:pt x="437201" y="309555"/>
                        <a:pt x="432422" y="311939"/>
                        <a:pt x="426971" y="315234"/>
                      </a:cubicBezTo>
                      <a:cubicBezTo>
                        <a:pt x="424448" y="316756"/>
                        <a:pt x="421418" y="319202"/>
                        <a:pt x="418858" y="320787"/>
                      </a:cubicBezTo>
                      <a:cubicBezTo>
                        <a:pt x="415397" y="322954"/>
                        <a:pt x="408298" y="324450"/>
                        <a:pt x="405256" y="326859"/>
                      </a:cubicBezTo>
                      <a:cubicBezTo>
                        <a:pt x="394164" y="335606"/>
                        <a:pt x="396927" y="344276"/>
                        <a:pt x="381487" y="346241"/>
                      </a:cubicBezTo>
                      <a:cubicBezTo>
                        <a:pt x="371169" y="347560"/>
                        <a:pt x="365097" y="349448"/>
                        <a:pt x="356400" y="355330"/>
                      </a:cubicBezTo>
                      <a:cubicBezTo>
                        <a:pt x="347299" y="361504"/>
                        <a:pt x="336841" y="373496"/>
                        <a:pt x="325254" y="374294"/>
                      </a:cubicBezTo>
                      <a:cubicBezTo>
                        <a:pt x="311310" y="375258"/>
                        <a:pt x="302513" y="353556"/>
                        <a:pt x="301841" y="342058"/>
                      </a:cubicBezTo>
                      <a:cubicBezTo>
                        <a:pt x="301346" y="333413"/>
                        <a:pt x="304959" y="326365"/>
                        <a:pt x="306556" y="318442"/>
                      </a:cubicBezTo>
                      <a:cubicBezTo>
                        <a:pt x="308103" y="310861"/>
                        <a:pt x="307799" y="300834"/>
                        <a:pt x="308382" y="293444"/>
                      </a:cubicBezTo>
                      <a:cubicBezTo>
                        <a:pt x="309244" y="282478"/>
                        <a:pt x="321350" y="267837"/>
                        <a:pt x="304046" y="267799"/>
                      </a:cubicBezTo>
                      <a:cubicBezTo>
                        <a:pt x="298190" y="267774"/>
                        <a:pt x="291573" y="274834"/>
                        <a:pt x="288873" y="266493"/>
                      </a:cubicBezTo>
                      <a:cubicBezTo>
                        <a:pt x="287022" y="260839"/>
                        <a:pt x="297708" y="251193"/>
                        <a:pt x="296821" y="244614"/>
                      </a:cubicBezTo>
                      <a:cubicBezTo>
                        <a:pt x="295617" y="235562"/>
                        <a:pt x="273090" y="223710"/>
                        <a:pt x="265751" y="222518"/>
                      </a:cubicBezTo>
                      <a:cubicBezTo>
                        <a:pt x="267348" y="222785"/>
                        <a:pt x="253911" y="224255"/>
                        <a:pt x="251806" y="225003"/>
                      </a:cubicBezTo>
                      <a:cubicBezTo>
                        <a:pt x="246698" y="226841"/>
                        <a:pt x="242806" y="230035"/>
                        <a:pt x="240017" y="234282"/>
                      </a:cubicBezTo>
                      <a:cubicBezTo>
                        <a:pt x="236290" y="239999"/>
                        <a:pt x="232994" y="247694"/>
                        <a:pt x="228089" y="253436"/>
                      </a:cubicBezTo>
                      <a:cubicBezTo>
                        <a:pt x="223855" y="258431"/>
                        <a:pt x="215399" y="262246"/>
                        <a:pt x="215323" y="267431"/>
                      </a:cubicBezTo>
                      <a:cubicBezTo>
                        <a:pt x="212497" y="266975"/>
                        <a:pt x="211711" y="268458"/>
                        <a:pt x="208719" y="266861"/>
                      </a:cubicBezTo>
                      <a:cubicBezTo>
                        <a:pt x="205017" y="277040"/>
                        <a:pt x="221307" y="281642"/>
                        <a:pt x="214005" y="294686"/>
                      </a:cubicBezTo>
                      <a:cubicBezTo>
                        <a:pt x="205803" y="309391"/>
                        <a:pt x="198083" y="296587"/>
                        <a:pt x="189146" y="294800"/>
                      </a:cubicBezTo>
                      <a:cubicBezTo>
                        <a:pt x="185204" y="294014"/>
                        <a:pt x="177370" y="297906"/>
                        <a:pt x="172908" y="298070"/>
                      </a:cubicBezTo>
                      <a:cubicBezTo>
                        <a:pt x="163578" y="298413"/>
                        <a:pt x="157189" y="297348"/>
                        <a:pt x="152651" y="306919"/>
                      </a:cubicBezTo>
                      <a:cubicBezTo>
                        <a:pt x="147808" y="317161"/>
                        <a:pt x="157759" y="327150"/>
                        <a:pt x="149494" y="334123"/>
                      </a:cubicBezTo>
                      <a:cubicBezTo>
                        <a:pt x="132787" y="348168"/>
                        <a:pt x="128400" y="317415"/>
                        <a:pt x="113772" y="318543"/>
                      </a:cubicBezTo>
                      <a:cubicBezTo>
                        <a:pt x="114380" y="319620"/>
                        <a:pt x="115369" y="322840"/>
                        <a:pt x="115876" y="323563"/>
                      </a:cubicBezTo>
                      <a:cubicBezTo>
                        <a:pt x="111300" y="318480"/>
                        <a:pt x="107548" y="317973"/>
                        <a:pt x="108790" y="325959"/>
                      </a:cubicBezTo>
                      <a:cubicBezTo>
                        <a:pt x="105012" y="323931"/>
                        <a:pt x="100601" y="322929"/>
                        <a:pt x="96747" y="324539"/>
                      </a:cubicBezTo>
                      <a:cubicBezTo>
                        <a:pt x="96836" y="325363"/>
                        <a:pt x="97825" y="324945"/>
                        <a:pt x="97761" y="326276"/>
                      </a:cubicBezTo>
                      <a:cubicBezTo>
                        <a:pt x="94275" y="330320"/>
                        <a:pt x="84527" y="335137"/>
                        <a:pt x="77999" y="334363"/>
                      </a:cubicBezTo>
                      <a:cubicBezTo>
                        <a:pt x="79127" y="340448"/>
                        <a:pt x="76427" y="335669"/>
                        <a:pt x="73765" y="338166"/>
                      </a:cubicBezTo>
                      <a:cubicBezTo>
                        <a:pt x="73410" y="338496"/>
                        <a:pt x="70951" y="337203"/>
                        <a:pt x="69835" y="338192"/>
                      </a:cubicBezTo>
                      <a:cubicBezTo>
                        <a:pt x="68872" y="339028"/>
                        <a:pt x="69341" y="343288"/>
                        <a:pt x="69176" y="343389"/>
                      </a:cubicBezTo>
                      <a:cubicBezTo>
                        <a:pt x="68339" y="343871"/>
                        <a:pt x="57273" y="351096"/>
                        <a:pt x="53495" y="351667"/>
                      </a:cubicBezTo>
                      <a:cubicBezTo>
                        <a:pt x="47169" y="352618"/>
                        <a:pt x="47436" y="350082"/>
                        <a:pt x="41554" y="345151"/>
                      </a:cubicBezTo>
                      <a:cubicBezTo>
                        <a:pt x="33314" y="338255"/>
                        <a:pt x="32160" y="340397"/>
                        <a:pt x="32959" y="328646"/>
                      </a:cubicBezTo>
                      <a:cubicBezTo>
                        <a:pt x="33618" y="318784"/>
                        <a:pt x="32186" y="307438"/>
                        <a:pt x="37915" y="298692"/>
                      </a:cubicBezTo>
                      <a:cubicBezTo>
                        <a:pt x="44216" y="289096"/>
                        <a:pt x="53267" y="276241"/>
                        <a:pt x="60188" y="268319"/>
                      </a:cubicBezTo>
                      <a:cubicBezTo>
                        <a:pt x="63712" y="264300"/>
                        <a:pt x="67933" y="264757"/>
                        <a:pt x="71077" y="258127"/>
                      </a:cubicBezTo>
                      <a:cubicBezTo>
                        <a:pt x="78315" y="242915"/>
                        <a:pt x="71267" y="243143"/>
                        <a:pt x="61785" y="233598"/>
                      </a:cubicBezTo>
                      <a:cubicBezTo>
                        <a:pt x="53406" y="225180"/>
                        <a:pt x="47550" y="204480"/>
                        <a:pt x="53127" y="194909"/>
                      </a:cubicBezTo>
                      <a:cubicBezTo>
                        <a:pt x="56753" y="188672"/>
                        <a:pt x="63446" y="193793"/>
                        <a:pt x="58122" y="183386"/>
                      </a:cubicBezTo>
                      <a:cubicBezTo>
                        <a:pt x="54357" y="176034"/>
                        <a:pt x="53710" y="177212"/>
                        <a:pt x="46624" y="176908"/>
                      </a:cubicBezTo>
                      <a:cubicBezTo>
                        <a:pt x="40869" y="176655"/>
                        <a:pt x="29752" y="182549"/>
                        <a:pt x="24326" y="176680"/>
                      </a:cubicBezTo>
                      <a:cubicBezTo>
                        <a:pt x="20320" y="172357"/>
                        <a:pt x="25416" y="168009"/>
                        <a:pt x="20206" y="163801"/>
                      </a:cubicBezTo>
                      <a:cubicBezTo>
                        <a:pt x="12474" y="157564"/>
                        <a:pt x="621" y="165398"/>
                        <a:pt x="0" y="152354"/>
                      </a:cubicBezTo>
                      <a:cubicBezTo>
                        <a:pt x="0" y="152252"/>
                        <a:pt x="6059" y="136508"/>
                        <a:pt x="7086" y="134759"/>
                      </a:cubicBezTo>
                      <a:cubicBezTo>
                        <a:pt x="8937" y="131552"/>
                        <a:pt x="20244" y="123958"/>
                        <a:pt x="27369" y="122868"/>
                      </a:cubicBezTo>
                      <a:cubicBezTo>
                        <a:pt x="41161" y="120764"/>
                        <a:pt x="58895" y="130550"/>
                        <a:pt x="73093" y="131121"/>
                      </a:cubicBezTo>
                      <a:cubicBezTo>
                        <a:pt x="81054" y="131437"/>
                        <a:pt x="88875" y="129688"/>
                        <a:pt x="92019" y="122069"/>
                      </a:cubicBezTo>
                      <a:cubicBezTo>
                        <a:pt x="93768" y="117848"/>
                        <a:pt x="93286" y="91709"/>
                        <a:pt x="102984" y="105958"/>
                      </a:cubicBezTo>
                      <a:cubicBezTo>
                        <a:pt x="106749" y="101711"/>
                        <a:pt x="105570" y="97122"/>
                        <a:pt x="104264" y="92001"/>
                      </a:cubicBezTo>
                      <a:cubicBezTo>
                        <a:pt x="106546" y="94764"/>
                        <a:pt x="114101" y="107821"/>
                        <a:pt x="111984" y="97667"/>
                      </a:cubicBezTo>
                      <a:cubicBezTo>
                        <a:pt x="110729" y="91545"/>
                        <a:pt x="104442" y="89440"/>
                        <a:pt x="105418" y="83393"/>
                      </a:cubicBezTo>
                      <a:cubicBezTo>
                        <a:pt x="107535" y="85701"/>
                        <a:pt x="123558" y="87311"/>
                        <a:pt x="120630" y="80427"/>
                      </a:cubicBezTo>
                      <a:cubicBezTo>
                        <a:pt x="117194" y="72340"/>
                        <a:pt x="98661" y="85156"/>
                        <a:pt x="91093" y="76079"/>
                      </a:cubicBezTo>
                      <a:cubicBezTo>
                        <a:pt x="97191" y="72720"/>
                        <a:pt x="116637" y="69563"/>
                        <a:pt x="123469" y="70185"/>
                      </a:cubicBezTo>
                      <a:cubicBezTo>
                        <a:pt x="135804" y="71287"/>
                        <a:pt x="146946" y="80769"/>
                        <a:pt x="137464" y="64417"/>
                      </a:cubicBezTo>
                      <a:cubicBezTo>
                        <a:pt x="146655" y="67738"/>
                        <a:pt x="144386" y="60994"/>
                        <a:pt x="142953" y="55429"/>
                      </a:cubicBezTo>
                      <a:cubicBezTo>
                        <a:pt x="142155" y="52285"/>
                        <a:pt x="138136" y="48102"/>
                        <a:pt x="138187" y="45148"/>
                      </a:cubicBezTo>
                      <a:cubicBezTo>
                        <a:pt x="138326" y="37124"/>
                        <a:pt x="140900" y="44553"/>
                        <a:pt x="142763" y="39203"/>
                      </a:cubicBezTo>
                      <a:cubicBezTo>
                        <a:pt x="146490" y="28415"/>
                        <a:pt x="147922" y="14066"/>
                        <a:pt x="162830" y="26349"/>
                      </a:cubicBezTo>
                      <a:cubicBezTo>
                        <a:pt x="166785" y="29594"/>
                        <a:pt x="169168" y="35400"/>
                        <a:pt x="174632" y="35159"/>
                      </a:cubicBezTo>
                      <a:cubicBezTo>
                        <a:pt x="175557" y="35109"/>
                        <a:pt x="194128" y="25272"/>
                        <a:pt x="195269" y="24803"/>
                      </a:cubicBezTo>
                      <a:cubicBezTo>
                        <a:pt x="200023" y="22838"/>
                        <a:pt x="205943" y="19719"/>
                        <a:pt x="210354" y="17184"/>
                      </a:cubicBezTo>
                      <a:cubicBezTo>
                        <a:pt x="216756" y="13521"/>
                        <a:pt x="217745" y="8272"/>
                        <a:pt x="221852" y="5015"/>
                      </a:cubicBezTo>
                      <a:cubicBezTo>
                        <a:pt x="225376" y="2226"/>
                        <a:pt x="221915" y="-1894"/>
                        <a:pt x="228951" y="971"/>
                      </a:cubicBezTo>
                      <a:cubicBezTo>
                        <a:pt x="229851" y="1313"/>
                        <a:pt x="233438" y="4900"/>
                        <a:pt x="234009" y="5598"/>
                      </a:cubicBezTo>
                      <a:lnTo>
                        <a:pt x="234009" y="5598"/>
                      </a:lnTo>
                      <a:close/>
                    </a:path>
                  </a:pathLst>
                </a:custGeom>
                <a:solidFill>
                  <a:srgbClr val="D6D6D2"/>
                </a:solidFill>
                <a:ln w="12413" cap="rnd">
                  <a:solidFill>
                    <a:srgbClr val="FFFFFF"/>
                  </a:solidFill>
                  <a:prstDash val="solid"/>
                  <a:round/>
                </a:ln>
              </p:spPr>
              <p:txBody>
                <a:bodyPr rtlCol="0" anchor="ctr"/>
                <a:lstStyle/>
                <a:p>
                  <a:endParaRPr lang="en-US"/>
                </a:p>
              </p:txBody>
            </p:sp>
            <p:sp>
              <p:nvSpPr>
                <p:cNvPr id="74" name="Freeform: Shape 73">
                  <a:extLst>
                    <a:ext uri="{FF2B5EF4-FFF2-40B4-BE49-F238E27FC236}">
                      <a16:creationId xmlns:a16="http://schemas.microsoft.com/office/drawing/2014/main" id="{4C75FEDF-56A8-4F40-8A86-A279A9F7C5BC}"/>
                    </a:ext>
                  </a:extLst>
                </p:cNvPr>
                <p:cNvSpPr/>
                <p:nvPr/>
              </p:nvSpPr>
              <p:spPr>
                <a:xfrm>
                  <a:off x="3120060" y="3375068"/>
                  <a:ext cx="613338" cy="1109807"/>
                </a:xfrm>
                <a:custGeom>
                  <a:avLst/>
                  <a:gdLst>
                    <a:gd name="connsiteX0" fmla="*/ 194762 w 613338"/>
                    <a:gd name="connsiteY0" fmla="*/ 4671 h 1109807"/>
                    <a:gd name="connsiteX1" fmla="*/ 203927 w 613338"/>
                    <a:gd name="connsiteY1" fmla="*/ 14723 h 1109807"/>
                    <a:gd name="connsiteX2" fmla="*/ 211901 w 613338"/>
                    <a:gd name="connsiteY2" fmla="*/ 8283 h 1109807"/>
                    <a:gd name="connsiteX3" fmla="*/ 236214 w 613338"/>
                    <a:gd name="connsiteY3" fmla="*/ 21454 h 1109807"/>
                    <a:gd name="connsiteX4" fmla="*/ 226061 w 613338"/>
                    <a:gd name="connsiteY4" fmla="*/ 57824 h 1109807"/>
                    <a:gd name="connsiteX5" fmla="*/ 234262 w 613338"/>
                    <a:gd name="connsiteY5" fmla="*/ 72338 h 1109807"/>
                    <a:gd name="connsiteX6" fmla="*/ 240309 w 613338"/>
                    <a:gd name="connsiteY6" fmla="*/ 69676 h 1109807"/>
                    <a:gd name="connsiteX7" fmla="*/ 250349 w 613338"/>
                    <a:gd name="connsiteY7" fmla="*/ 72934 h 1109807"/>
                    <a:gd name="connsiteX8" fmla="*/ 264508 w 613338"/>
                    <a:gd name="connsiteY8" fmla="*/ 63883 h 1109807"/>
                    <a:gd name="connsiteX9" fmla="*/ 282357 w 613338"/>
                    <a:gd name="connsiteY9" fmla="*/ 66951 h 1109807"/>
                    <a:gd name="connsiteX10" fmla="*/ 287339 w 613338"/>
                    <a:gd name="connsiteY10" fmla="*/ 74620 h 1109807"/>
                    <a:gd name="connsiteX11" fmla="*/ 282674 w 613338"/>
                    <a:gd name="connsiteY11" fmla="*/ 80400 h 1109807"/>
                    <a:gd name="connsiteX12" fmla="*/ 285323 w 613338"/>
                    <a:gd name="connsiteY12" fmla="*/ 86206 h 1109807"/>
                    <a:gd name="connsiteX13" fmla="*/ 286502 w 613338"/>
                    <a:gd name="connsiteY13" fmla="*/ 97907 h 1109807"/>
                    <a:gd name="connsiteX14" fmla="*/ 292752 w 613338"/>
                    <a:gd name="connsiteY14" fmla="*/ 106286 h 1109807"/>
                    <a:gd name="connsiteX15" fmla="*/ 286654 w 613338"/>
                    <a:gd name="connsiteY15" fmla="*/ 126226 h 1109807"/>
                    <a:gd name="connsiteX16" fmla="*/ 282141 w 613338"/>
                    <a:gd name="connsiteY16" fmla="*/ 140652 h 1109807"/>
                    <a:gd name="connsiteX17" fmla="*/ 272254 w 613338"/>
                    <a:gd name="connsiteY17" fmla="*/ 153100 h 1109807"/>
                    <a:gd name="connsiteX18" fmla="*/ 275816 w 613338"/>
                    <a:gd name="connsiteY18" fmla="*/ 159058 h 1109807"/>
                    <a:gd name="connsiteX19" fmla="*/ 281241 w 613338"/>
                    <a:gd name="connsiteY19" fmla="*/ 162202 h 1109807"/>
                    <a:gd name="connsiteX20" fmla="*/ 279302 w 613338"/>
                    <a:gd name="connsiteY20" fmla="*/ 164978 h 1109807"/>
                    <a:gd name="connsiteX21" fmla="*/ 280532 w 613338"/>
                    <a:gd name="connsiteY21" fmla="*/ 178770 h 1109807"/>
                    <a:gd name="connsiteX22" fmla="*/ 267906 w 613338"/>
                    <a:gd name="connsiteY22" fmla="*/ 203211 h 1109807"/>
                    <a:gd name="connsiteX23" fmla="*/ 261289 w 613338"/>
                    <a:gd name="connsiteY23" fmla="*/ 217383 h 1109807"/>
                    <a:gd name="connsiteX24" fmla="*/ 275207 w 613338"/>
                    <a:gd name="connsiteY24" fmla="*/ 225559 h 1109807"/>
                    <a:gd name="connsiteX25" fmla="*/ 285868 w 613338"/>
                    <a:gd name="connsiteY25" fmla="*/ 220882 h 1109807"/>
                    <a:gd name="connsiteX26" fmla="*/ 298012 w 613338"/>
                    <a:gd name="connsiteY26" fmla="*/ 207914 h 1109807"/>
                    <a:gd name="connsiteX27" fmla="*/ 304401 w 613338"/>
                    <a:gd name="connsiteY27" fmla="*/ 207939 h 1109807"/>
                    <a:gd name="connsiteX28" fmla="*/ 310892 w 613338"/>
                    <a:gd name="connsiteY28" fmla="*/ 202488 h 1109807"/>
                    <a:gd name="connsiteX29" fmla="*/ 309231 w 613338"/>
                    <a:gd name="connsiteY29" fmla="*/ 201182 h 1109807"/>
                    <a:gd name="connsiteX30" fmla="*/ 312476 w 613338"/>
                    <a:gd name="connsiteY30" fmla="*/ 196733 h 1109807"/>
                    <a:gd name="connsiteX31" fmla="*/ 323949 w 613338"/>
                    <a:gd name="connsiteY31" fmla="*/ 191903 h 1109807"/>
                    <a:gd name="connsiteX32" fmla="*/ 330084 w 613338"/>
                    <a:gd name="connsiteY32" fmla="*/ 182193 h 1109807"/>
                    <a:gd name="connsiteX33" fmla="*/ 335839 w 613338"/>
                    <a:gd name="connsiteY33" fmla="*/ 184158 h 1109807"/>
                    <a:gd name="connsiteX34" fmla="*/ 344903 w 613338"/>
                    <a:gd name="connsiteY34" fmla="*/ 175183 h 1109807"/>
                    <a:gd name="connsiteX35" fmla="*/ 355690 w 613338"/>
                    <a:gd name="connsiteY35" fmla="*/ 171126 h 1109807"/>
                    <a:gd name="connsiteX36" fmla="*/ 373159 w 613338"/>
                    <a:gd name="connsiteY36" fmla="*/ 186325 h 1109807"/>
                    <a:gd name="connsiteX37" fmla="*/ 388029 w 613338"/>
                    <a:gd name="connsiteY37" fmla="*/ 190128 h 1109807"/>
                    <a:gd name="connsiteX38" fmla="*/ 394177 w 613338"/>
                    <a:gd name="connsiteY38" fmla="*/ 201132 h 1109807"/>
                    <a:gd name="connsiteX39" fmla="*/ 413686 w 613338"/>
                    <a:gd name="connsiteY39" fmla="*/ 185920 h 1109807"/>
                    <a:gd name="connsiteX40" fmla="*/ 422661 w 613338"/>
                    <a:gd name="connsiteY40" fmla="*/ 184766 h 1109807"/>
                    <a:gd name="connsiteX41" fmla="*/ 424474 w 613338"/>
                    <a:gd name="connsiteY41" fmla="*/ 175994 h 1109807"/>
                    <a:gd name="connsiteX42" fmla="*/ 424220 w 613338"/>
                    <a:gd name="connsiteY42" fmla="*/ 176488 h 1109807"/>
                    <a:gd name="connsiteX43" fmla="*/ 428809 w 613338"/>
                    <a:gd name="connsiteY43" fmla="*/ 169871 h 1109807"/>
                    <a:gd name="connsiteX44" fmla="*/ 435793 w 613338"/>
                    <a:gd name="connsiteY44" fmla="*/ 166068 h 1109807"/>
                    <a:gd name="connsiteX45" fmla="*/ 439457 w 613338"/>
                    <a:gd name="connsiteY45" fmla="*/ 164851 h 1109807"/>
                    <a:gd name="connsiteX46" fmla="*/ 435997 w 613338"/>
                    <a:gd name="connsiteY46" fmla="*/ 161454 h 1109807"/>
                    <a:gd name="connsiteX47" fmla="*/ 436554 w 613338"/>
                    <a:gd name="connsiteY47" fmla="*/ 156688 h 1109807"/>
                    <a:gd name="connsiteX48" fmla="*/ 479882 w 613338"/>
                    <a:gd name="connsiteY48" fmla="*/ 163254 h 1109807"/>
                    <a:gd name="connsiteX49" fmla="*/ 490670 w 613338"/>
                    <a:gd name="connsiteY49" fmla="*/ 162100 h 1109807"/>
                    <a:gd name="connsiteX50" fmla="*/ 507479 w 613338"/>
                    <a:gd name="connsiteY50" fmla="*/ 186908 h 1109807"/>
                    <a:gd name="connsiteX51" fmla="*/ 521550 w 613338"/>
                    <a:gd name="connsiteY51" fmla="*/ 206481 h 1109807"/>
                    <a:gd name="connsiteX52" fmla="*/ 541732 w 613338"/>
                    <a:gd name="connsiteY52" fmla="*/ 221503 h 1109807"/>
                    <a:gd name="connsiteX53" fmla="*/ 546929 w 613338"/>
                    <a:gd name="connsiteY53" fmla="*/ 268571 h 1109807"/>
                    <a:gd name="connsiteX54" fmla="*/ 549071 w 613338"/>
                    <a:gd name="connsiteY54" fmla="*/ 285228 h 1109807"/>
                    <a:gd name="connsiteX55" fmla="*/ 554167 w 613338"/>
                    <a:gd name="connsiteY55" fmla="*/ 303266 h 1109807"/>
                    <a:gd name="connsiteX56" fmla="*/ 564562 w 613338"/>
                    <a:gd name="connsiteY56" fmla="*/ 315842 h 1109807"/>
                    <a:gd name="connsiteX57" fmla="*/ 570938 w 613338"/>
                    <a:gd name="connsiteY57" fmla="*/ 329811 h 1109807"/>
                    <a:gd name="connsiteX58" fmla="*/ 596773 w 613338"/>
                    <a:gd name="connsiteY58" fmla="*/ 337759 h 1109807"/>
                    <a:gd name="connsiteX59" fmla="*/ 592133 w 613338"/>
                    <a:gd name="connsiteY59" fmla="*/ 343464 h 1109807"/>
                    <a:gd name="connsiteX60" fmla="*/ 598598 w 613338"/>
                    <a:gd name="connsiteY60" fmla="*/ 355709 h 1109807"/>
                    <a:gd name="connsiteX61" fmla="*/ 610780 w 613338"/>
                    <a:gd name="connsiteY61" fmla="*/ 359005 h 1109807"/>
                    <a:gd name="connsiteX62" fmla="*/ 610882 w 613338"/>
                    <a:gd name="connsiteY62" fmla="*/ 374901 h 1109807"/>
                    <a:gd name="connsiteX63" fmla="*/ 604632 w 613338"/>
                    <a:gd name="connsiteY63" fmla="*/ 383623 h 1109807"/>
                    <a:gd name="connsiteX64" fmla="*/ 600918 w 613338"/>
                    <a:gd name="connsiteY64" fmla="*/ 386361 h 1109807"/>
                    <a:gd name="connsiteX65" fmla="*/ 605304 w 613338"/>
                    <a:gd name="connsiteY65" fmla="*/ 389124 h 1109807"/>
                    <a:gd name="connsiteX66" fmla="*/ 604785 w 613338"/>
                    <a:gd name="connsiteY66" fmla="*/ 394309 h 1109807"/>
                    <a:gd name="connsiteX67" fmla="*/ 598294 w 613338"/>
                    <a:gd name="connsiteY67" fmla="*/ 403664 h 1109807"/>
                    <a:gd name="connsiteX68" fmla="*/ 609323 w 613338"/>
                    <a:gd name="connsiteY68" fmla="*/ 414021 h 1109807"/>
                    <a:gd name="connsiteX69" fmla="*/ 602490 w 613338"/>
                    <a:gd name="connsiteY69" fmla="*/ 434887 h 1109807"/>
                    <a:gd name="connsiteX70" fmla="*/ 588647 w 613338"/>
                    <a:gd name="connsiteY70" fmla="*/ 458972 h 1109807"/>
                    <a:gd name="connsiteX71" fmla="*/ 575235 w 613338"/>
                    <a:gd name="connsiteY71" fmla="*/ 467376 h 1109807"/>
                    <a:gd name="connsiteX72" fmla="*/ 566692 w 613338"/>
                    <a:gd name="connsiteY72" fmla="*/ 470875 h 1109807"/>
                    <a:gd name="connsiteX73" fmla="*/ 563903 w 613338"/>
                    <a:gd name="connsiteY73" fmla="*/ 460772 h 1109807"/>
                    <a:gd name="connsiteX74" fmla="*/ 537840 w 613338"/>
                    <a:gd name="connsiteY74" fmla="*/ 456957 h 1109807"/>
                    <a:gd name="connsiteX75" fmla="*/ 524922 w 613338"/>
                    <a:gd name="connsiteY75" fmla="*/ 461647 h 1109807"/>
                    <a:gd name="connsiteX76" fmla="*/ 505261 w 613338"/>
                    <a:gd name="connsiteY76" fmla="*/ 458123 h 1109807"/>
                    <a:gd name="connsiteX77" fmla="*/ 482469 w 613338"/>
                    <a:gd name="connsiteY77" fmla="*/ 462800 h 1109807"/>
                    <a:gd name="connsiteX78" fmla="*/ 467523 w 613338"/>
                    <a:gd name="connsiteY78" fmla="*/ 459441 h 1109807"/>
                    <a:gd name="connsiteX79" fmla="*/ 465812 w 613338"/>
                    <a:gd name="connsiteY79" fmla="*/ 455233 h 1109807"/>
                    <a:gd name="connsiteX80" fmla="*/ 462072 w 613338"/>
                    <a:gd name="connsiteY80" fmla="*/ 457933 h 1109807"/>
                    <a:gd name="connsiteX81" fmla="*/ 430051 w 613338"/>
                    <a:gd name="connsiteY81" fmla="*/ 464144 h 1109807"/>
                    <a:gd name="connsiteX82" fmla="*/ 412405 w 613338"/>
                    <a:gd name="connsiteY82" fmla="*/ 473664 h 1109807"/>
                    <a:gd name="connsiteX83" fmla="*/ 408057 w 613338"/>
                    <a:gd name="connsiteY83" fmla="*/ 486417 h 1109807"/>
                    <a:gd name="connsiteX84" fmla="*/ 395799 w 613338"/>
                    <a:gd name="connsiteY84" fmla="*/ 503682 h 1109807"/>
                    <a:gd name="connsiteX85" fmla="*/ 387838 w 613338"/>
                    <a:gd name="connsiteY85" fmla="*/ 517994 h 1109807"/>
                    <a:gd name="connsiteX86" fmla="*/ 368063 w 613338"/>
                    <a:gd name="connsiteY86" fmla="*/ 526170 h 1109807"/>
                    <a:gd name="connsiteX87" fmla="*/ 375023 w 613338"/>
                    <a:gd name="connsiteY87" fmla="*/ 557557 h 1109807"/>
                    <a:gd name="connsiteX88" fmla="*/ 380613 w 613338"/>
                    <a:gd name="connsiteY88" fmla="*/ 581085 h 1109807"/>
                    <a:gd name="connsiteX89" fmla="*/ 379586 w 613338"/>
                    <a:gd name="connsiteY89" fmla="*/ 588590 h 1109807"/>
                    <a:gd name="connsiteX90" fmla="*/ 391324 w 613338"/>
                    <a:gd name="connsiteY90" fmla="*/ 596627 h 1109807"/>
                    <a:gd name="connsiteX91" fmla="*/ 397675 w 613338"/>
                    <a:gd name="connsiteY91" fmla="*/ 609607 h 1109807"/>
                    <a:gd name="connsiteX92" fmla="*/ 395127 w 613338"/>
                    <a:gd name="connsiteY92" fmla="*/ 626150 h 1109807"/>
                    <a:gd name="connsiteX93" fmla="*/ 401237 w 613338"/>
                    <a:gd name="connsiteY93" fmla="*/ 636494 h 1109807"/>
                    <a:gd name="connsiteX94" fmla="*/ 411214 w 613338"/>
                    <a:gd name="connsiteY94" fmla="*/ 664345 h 1109807"/>
                    <a:gd name="connsiteX95" fmla="*/ 402340 w 613338"/>
                    <a:gd name="connsiteY95" fmla="*/ 646636 h 1109807"/>
                    <a:gd name="connsiteX96" fmla="*/ 390260 w 613338"/>
                    <a:gd name="connsiteY96" fmla="*/ 625922 h 1109807"/>
                    <a:gd name="connsiteX97" fmla="*/ 391971 w 613338"/>
                    <a:gd name="connsiteY97" fmla="*/ 626087 h 1109807"/>
                    <a:gd name="connsiteX98" fmla="*/ 388421 w 613338"/>
                    <a:gd name="connsiteY98" fmla="*/ 621460 h 1109807"/>
                    <a:gd name="connsiteX99" fmla="*/ 386710 w 613338"/>
                    <a:gd name="connsiteY99" fmla="*/ 634289 h 1109807"/>
                    <a:gd name="connsiteX100" fmla="*/ 363094 w 613338"/>
                    <a:gd name="connsiteY100" fmla="*/ 616351 h 1109807"/>
                    <a:gd name="connsiteX101" fmla="*/ 367632 w 613338"/>
                    <a:gd name="connsiteY101" fmla="*/ 610710 h 1109807"/>
                    <a:gd name="connsiteX102" fmla="*/ 366136 w 613338"/>
                    <a:gd name="connsiteY102" fmla="*/ 606070 h 1109807"/>
                    <a:gd name="connsiteX103" fmla="*/ 363613 w 613338"/>
                    <a:gd name="connsiteY103" fmla="*/ 608682 h 1109807"/>
                    <a:gd name="connsiteX104" fmla="*/ 363613 w 613338"/>
                    <a:gd name="connsiteY104" fmla="*/ 605094 h 1109807"/>
                    <a:gd name="connsiteX105" fmla="*/ 358518 w 613338"/>
                    <a:gd name="connsiteY105" fmla="*/ 605602 h 1109807"/>
                    <a:gd name="connsiteX106" fmla="*/ 359050 w 613338"/>
                    <a:gd name="connsiteY106" fmla="*/ 608149 h 1109807"/>
                    <a:gd name="connsiteX107" fmla="*/ 361091 w 613338"/>
                    <a:gd name="connsiteY107" fmla="*/ 607097 h 1109807"/>
                    <a:gd name="connsiteX108" fmla="*/ 363246 w 613338"/>
                    <a:gd name="connsiteY108" fmla="*/ 615121 h 1109807"/>
                    <a:gd name="connsiteX109" fmla="*/ 349428 w 613338"/>
                    <a:gd name="connsiteY109" fmla="*/ 599948 h 1109807"/>
                    <a:gd name="connsiteX110" fmla="*/ 350937 w 613338"/>
                    <a:gd name="connsiteY110" fmla="*/ 600987 h 1109807"/>
                    <a:gd name="connsiteX111" fmla="*/ 351964 w 613338"/>
                    <a:gd name="connsiteY111" fmla="*/ 597856 h 1109807"/>
                    <a:gd name="connsiteX112" fmla="*/ 349428 w 613338"/>
                    <a:gd name="connsiteY112" fmla="*/ 598427 h 1109807"/>
                    <a:gd name="connsiteX113" fmla="*/ 350937 w 613338"/>
                    <a:gd name="connsiteY113" fmla="*/ 597425 h 1109807"/>
                    <a:gd name="connsiteX114" fmla="*/ 347210 w 613338"/>
                    <a:gd name="connsiteY114" fmla="*/ 597463 h 1109807"/>
                    <a:gd name="connsiteX115" fmla="*/ 348427 w 613338"/>
                    <a:gd name="connsiteY115" fmla="*/ 595346 h 1109807"/>
                    <a:gd name="connsiteX116" fmla="*/ 344371 w 613338"/>
                    <a:gd name="connsiteY116" fmla="*/ 595815 h 1109807"/>
                    <a:gd name="connsiteX117" fmla="*/ 348427 w 613338"/>
                    <a:gd name="connsiteY117" fmla="*/ 598921 h 1109807"/>
                    <a:gd name="connsiteX118" fmla="*/ 347882 w 613338"/>
                    <a:gd name="connsiteY118" fmla="*/ 603015 h 1109807"/>
                    <a:gd name="connsiteX119" fmla="*/ 340758 w 613338"/>
                    <a:gd name="connsiteY119" fmla="*/ 597844 h 1109807"/>
                    <a:gd name="connsiteX120" fmla="*/ 339959 w 613338"/>
                    <a:gd name="connsiteY120" fmla="*/ 592684 h 1109807"/>
                    <a:gd name="connsiteX121" fmla="*/ 339807 w 613338"/>
                    <a:gd name="connsiteY121" fmla="*/ 598414 h 1109807"/>
                    <a:gd name="connsiteX122" fmla="*/ 335738 w 613338"/>
                    <a:gd name="connsiteY122" fmla="*/ 594383 h 1109807"/>
                    <a:gd name="connsiteX123" fmla="*/ 337246 w 613338"/>
                    <a:gd name="connsiteY123" fmla="*/ 594852 h 1109807"/>
                    <a:gd name="connsiteX124" fmla="*/ 311602 w 613338"/>
                    <a:gd name="connsiteY124" fmla="*/ 590833 h 1109807"/>
                    <a:gd name="connsiteX125" fmla="*/ 290863 w 613338"/>
                    <a:gd name="connsiteY125" fmla="*/ 589350 h 1109807"/>
                    <a:gd name="connsiteX126" fmla="*/ 267868 w 613338"/>
                    <a:gd name="connsiteY126" fmla="*/ 593318 h 1109807"/>
                    <a:gd name="connsiteX127" fmla="*/ 259222 w 613338"/>
                    <a:gd name="connsiteY127" fmla="*/ 589249 h 1109807"/>
                    <a:gd name="connsiteX128" fmla="*/ 257714 w 613338"/>
                    <a:gd name="connsiteY128" fmla="*/ 585116 h 1109807"/>
                    <a:gd name="connsiteX129" fmla="*/ 263824 w 613338"/>
                    <a:gd name="connsiteY129" fmla="*/ 577421 h 1109807"/>
                    <a:gd name="connsiteX130" fmla="*/ 261758 w 613338"/>
                    <a:gd name="connsiteY130" fmla="*/ 567166 h 1109807"/>
                    <a:gd name="connsiteX131" fmla="*/ 264065 w 613338"/>
                    <a:gd name="connsiteY131" fmla="*/ 560093 h 1109807"/>
                    <a:gd name="connsiteX132" fmla="*/ 261060 w 613338"/>
                    <a:gd name="connsiteY132" fmla="*/ 556708 h 1109807"/>
                    <a:gd name="connsiteX133" fmla="*/ 263507 w 613338"/>
                    <a:gd name="connsiteY133" fmla="*/ 551688 h 1109807"/>
                    <a:gd name="connsiteX134" fmla="*/ 263393 w 613338"/>
                    <a:gd name="connsiteY134" fmla="*/ 541547 h 1109807"/>
                    <a:gd name="connsiteX135" fmla="*/ 269427 w 613338"/>
                    <a:gd name="connsiteY135" fmla="*/ 526158 h 1109807"/>
                    <a:gd name="connsiteX136" fmla="*/ 240017 w 613338"/>
                    <a:gd name="connsiteY136" fmla="*/ 517474 h 1109807"/>
                    <a:gd name="connsiteX137" fmla="*/ 216122 w 613338"/>
                    <a:gd name="connsiteY137" fmla="*/ 524611 h 1109807"/>
                    <a:gd name="connsiteX138" fmla="*/ 195903 w 613338"/>
                    <a:gd name="connsiteY138" fmla="*/ 535437 h 1109807"/>
                    <a:gd name="connsiteX139" fmla="*/ 197830 w 613338"/>
                    <a:gd name="connsiteY139" fmla="*/ 548734 h 1109807"/>
                    <a:gd name="connsiteX140" fmla="*/ 202064 w 613338"/>
                    <a:gd name="connsiteY140" fmla="*/ 562286 h 1109807"/>
                    <a:gd name="connsiteX141" fmla="*/ 193380 w 613338"/>
                    <a:gd name="connsiteY141" fmla="*/ 584153 h 1109807"/>
                    <a:gd name="connsiteX142" fmla="*/ 194306 w 613338"/>
                    <a:gd name="connsiteY142" fmla="*/ 603573 h 1109807"/>
                    <a:gd name="connsiteX143" fmla="*/ 191352 w 613338"/>
                    <a:gd name="connsiteY143" fmla="*/ 633718 h 1109807"/>
                    <a:gd name="connsiteX144" fmla="*/ 181731 w 613338"/>
                    <a:gd name="connsiteY144" fmla="*/ 650983 h 1109807"/>
                    <a:gd name="connsiteX145" fmla="*/ 175494 w 613338"/>
                    <a:gd name="connsiteY145" fmla="*/ 662785 h 1109807"/>
                    <a:gd name="connsiteX146" fmla="*/ 163971 w 613338"/>
                    <a:gd name="connsiteY146" fmla="*/ 699091 h 1109807"/>
                    <a:gd name="connsiteX147" fmla="*/ 159674 w 613338"/>
                    <a:gd name="connsiteY147" fmla="*/ 722352 h 1109807"/>
                    <a:gd name="connsiteX148" fmla="*/ 141736 w 613338"/>
                    <a:gd name="connsiteY148" fmla="*/ 748985 h 1109807"/>
                    <a:gd name="connsiteX149" fmla="*/ 143283 w 613338"/>
                    <a:gd name="connsiteY149" fmla="*/ 756630 h 1109807"/>
                    <a:gd name="connsiteX150" fmla="*/ 138922 w 613338"/>
                    <a:gd name="connsiteY150" fmla="*/ 760268 h 1109807"/>
                    <a:gd name="connsiteX151" fmla="*/ 133078 w 613338"/>
                    <a:gd name="connsiteY151" fmla="*/ 761003 h 1109807"/>
                    <a:gd name="connsiteX152" fmla="*/ 140684 w 613338"/>
                    <a:gd name="connsiteY152" fmla="*/ 769331 h 1109807"/>
                    <a:gd name="connsiteX153" fmla="*/ 134308 w 613338"/>
                    <a:gd name="connsiteY153" fmla="*/ 798272 h 1109807"/>
                    <a:gd name="connsiteX154" fmla="*/ 145780 w 613338"/>
                    <a:gd name="connsiteY154" fmla="*/ 831903 h 1109807"/>
                    <a:gd name="connsiteX155" fmla="*/ 139176 w 613338"/>
                    <a:gd name="connsiteY155" fmla="*/ 840282 h 1109807"/>
                    <a:gd name="connsiteX156" fmla="*/ 157962 w 613338"/>
                    <a:gd name="connsiteY156" fmla="*/ 845302 h 1109807"/>
                    <a:gd name="connsiteX157" fmla="*/ 165746 w 613338"/>
                    <a:gd name="connsiteY157" fmla="*/ 840548 h 1109807"/>
                    <a:gd name="connsiteX158" fmla="*/ 172857 w 613338"/>
                    <a:gd name="connsiteY158" fmla="*/ 837493 h 1109807"/>
                    <a:gd name="connsiteX159" fmla="*/ 185153 w 613338"/>
                    <a:gd name="connsiteY159" fmla="*/ 841207 h 1109807"/>
                    <a:gd name="connsiteX160" fmla="*/ 192708 w 613338"/>
                    <a:gd name="connsiteY160" fmla="*/ 887033 h 1109807"/>
                    <a:gd name="connsiteX161" fmla="*/ 203522 w 613338"/>
                    <a:gd name="connsiteY161" fmla="*/ 904045 h 1109807"/>
                    <a:gd name="connsiteX162" fmla="*/ 205486 w 613338"/>
                    <a:gd name="connsiteY162" fmla="*/ 896895 h 1109807"/>
                    <a:gd name="connsiteX163" fmla="*/ 221598 w 613338"/>
                    <a:gd name="connsiteY163" fmla="*/ 941669 h 1109807"/>
                    <a:gd name="connsiteX164" fmla="*/ 228355 w 613338"/>
                    <a:gd name="connsiteY164" fmla="*/ 973652 h 1109807"/>
                    <a:gd name="connsiteX165" fmla="*/ 238243 w 613338"/>
                    <a:gd name="connsiteY165" fmla="*/ 994505 h 1109807"/>
                    <a:gd name="connsiteX166" fmla="*/ 227265 w 613338"/>
                    <a:gd name="connsiteY166" fmla="*/ 989155 h 1109807"/>
                    <a:gd name="connsiteX167" fmla="*/ 217238 w 613338"/>
                    <a:gd name="connsiteY167" fmla="*/ 970622 h 1109807"/>
                    <a:gd name="connsiteX168" fmla="*/ 218455 w 613338"/>
                    <a:gd name="connsiteY168" fmla="*/ 952913 h 1109807"/>
                    <a:gd name="connsiteX169" fmla="*/ 208681 w 613338"/>
                    <a:gd name="connsiteY169" fmla="*/ 967656 h 1109807"/>
                    <a:gd name="connsiteX170" fmla="*/ 227366 w 613338"/>
                    <a:gd name="connsiteY170" fmla="*/ 990803 h 1109807"/>
                    <a:gd name="connsiteX171" fmla="*/ 239105 w 613338"/>
                    <a:gd name="connsiteY171" fmla="*/ 992337 h 1109807"/>
                    <a:gd name="connsiteX172" fmla="*/ 264927 w 613338"/>
                    <a:gd name="connsiteY172" fmla="*/ 1017044 h 1109807"/>
                    <a:gd name="connsiteX173" fmla="*/ 295705 w 613338"/>
                    <a:gd name="connsiteY173" fmla="*/ 1018121 h 1109807"/>
                    <a:gd name="connsiteX174" fmla="*/ 289152 w 613338"/>
                    <a:gd name="connsiteY174" fmla="*/ 1013012 h 1109807"/>
                    <a:gd name="connsiteX175" fmla="*/ 314264 w 613338"/>
                    <a:gd name="connsiteY175" fmla="*/ 1025879 h 1109807"/>
                    <a:gd name="connsiteX176" fmla="*/ 329425 w 613338"/>
                    <a:gd name="connsiteY176" fmla="*/ 1048443 h 1109807"/>
                    <a:gd name="connsiteX177" fmla="*/ 348782 w 613338"/>
                    <a:gd name="connsiteY177" fmla="*/ 1065823 h 1109807"/>
                    <a:gd name="connsiteX178" fmla="*/ 339756 w 613338"/>
                    <a:gd name="connsiteY178" fmla="*/ 1082961 h 1109807"/>
                    <a:gd name="connsiteX179" fmla="*/ 333646 w 613338"/>
                    <a:gd name="connsiteY179" fmla="*/ 1096424 h 1109807"/>
                    <a:gd name="connsiteX180" fmla="*/ 326116 w 613338"/>
                    <a:gd name="connsiteY180" fmla="*/ 1101279 h 1109807"/>
                    <a:gd name="connsiteX181" fmla="*/ 318954 w 613338"/>
                    <a:gd name="connsiteY181" fmla="*/ 1100087 h 1109807"/>
                    <a:gd name="connsiteX182" fmla="*/ 300941 w 613338"/>
                    <a:gd name="connsiteY182" fmla="*/ 1092900 h 1109807"/>
                    <a:gd name="connsiteX183" fmla="*/ 287199 w 613338"/>
                    <a:gd name="connsiteY183" fmla="*/ 1101888 h 1109807"/>
                    <a:gd name="connsiteX184" fmla="*/ 279784 w 613338"/>
                    <a:gd name="connsiteY184" fmla="*/ 1109798 h 1109807"/>
                    <a:gd name="connsiteX185" fmla="*/ 268666 w 613338"/>
                    <a:gd name="connsiteY185" fmla="*/ 1094763 h 1109807"/>
                    <a:gd name="connsiteX186" fmla="*/ 276196 w 613338"/>
                    <a:gd name="connsiteY186" fmla="*/ 1081478 h 1109807"/>
                    <a:gd name="connsiteX187" fmla="*/ 274168 w 613338"/>
                    <a:gd name="connsiteY187" fmla="*/ 1070513 h 1109807"/>
                    <a:gd name="connsiteX188" fmla="*/ 267830 w 613338"/>
                    <a:gd name="connsiteY188" fmla="*/ 1062717 h 1109807"/>
                    <a:gd name="connsiteX189" fmla="*/ 256548 w 613338"/>
                    <a:gd name="connsiteY189" fmla="*/ 1063579 h 1109807"/>
                    <a:gd name="connsiteX190" fmla="*/ 249778 w 613338"/>
                    <a:gd name="connsiteY190" fmla="*/ 1046364 h 1109807"/>
                    <a:gd name="connsiteX191" fmla="*/ 227328 w 613338"/>
                    <a:gd name="connsiteY191" fmla="*/ 1044868 h 1109807"/>
                    <a:gd name="connsiteX192" fmla="*/ 214804 w 613338"/>
                    <a:gd name="connsiteY192" fmla="*/ 1031076 h 1109807"/>
                    <a:gd name="connsiteX193" fmla="*/ 205207 w 613338"/>
                    <a:gd name="connsiteY193" fmla="*/ 1050142 h 1109807"/>
                    <a:gd name="connsiteX194" fmla="*/ 203446 w 613338"/>
                    <a:gd name="connsiteY194" fmla="*/ 1043423 h 1109807"/>
                    <a:gd name="connsiteX195" fmla="*/ 200505 w 613338"/>
                    <a:gd name="connsiteY195" fmla="*/ 1045388 h 1109807"/>
                    <a:gd name="connsiteX196" fmla="*/ 193152 w 613338"/>
                    <a:gd name="connsiteY196" fmla="*/ 1038961 h 1109807"/>
                    <a:gd name="connsiteX197" fmla="*/ 179969 w 613338"/>
                    <a:gd name="connsiteY197" fmla="*/ 1021822 h 1109807"/>
                    <a:gd name="connsiteX198" fmla="*/ 173757 w 613338"/>
                    <a:gd name="connsiteY198" fmla="*/ 1011669 h 1109807"/>
                    <a:gd name="connsiteX199" fmla="*/ 176609 w 613338"/>
                    <a:gd name="connsiteY199" fmla="*/ 998802 h 1109807"/>
                    <a:gd name="connsiteX200" fmla="*/ 171590 w 613338"/>
                    <a:gd name="connsiteY200" fmla="*/ 996317 h 1109807"/>
                    <a:gd name="connsiteX201" fmla="*/ 162462 w 613338"/>
                    <a:gd name="connsiteY201" fmla="*/ 992628 h 1109807"/>
                    <a:gd name="connsiteX202" fmla="*/ 166481 w 613338"/>
                    <a:gd name="connsiteY202" fmla="*/ 981131 h 1109807"/>
                    <a:gd name="connsiteX203" fmla="*/ 160421 w 613338"/>
                    <a:gd name="connsiteY203" fmla="*/ 980586 h 1109807"/>
                    <a:gd name="connsiteX204" fmla="*/ 143714 w 613338"/>
                    <a:gd name="connsiteY204" fmla="*/ 971459 h 1109807"/>
                    <a:gd name="connsiteX205" fmla="*/ 131062 w 613338"/>
                    <a:gd name="connsiteY205" fmla="*/ 952241 h 1109807"/>
                    <a:gd name="connsiteX206" fmla="*/ 124230 w 613338"/>
                    <a:gd name="connsiteY206" fmla="*/ 954269 h 1109807"/>
                    <a:gd name="connsiteX207" fmla="*/ 127044 w 613338"/>
                    <a:gd name="connsiteY207" fmla="*/ 940553 h 1109807"/>
                    <a:gd name="connsiteX208" fmla="*/ 117828 w 613338"/>
                    <a:gd name="connsiteY208" fmla="*/ 933518 h 1109807"/>
                    <a:gd name="connsiteX209" fmla="*/ 107117 w 613338"/>
                    <a:gd name="connsiteY209" fmla="*/ 931122 h 1109807"/>
                    <a:gd name="connsiteX210" fmla="*/ 104898 w 613338"/>
                    <a:gd name="connsiteY210" fmla="*/ 933239 h 1109807"/>
                    <a:gd name="connsiteX211" fmla="*/ 101691 w 613338"/>
                    <a:gd name="connsiteY211" fmla="*/ 916214 h 1109807"/>
                    <a:gd name="connsiteX212" fmla="*/ 100183 w 613338"/>
                    <a:gd name="connsiteY212" fmla="*/ 918293 h 1109807"/>
                    <a:gd name="connsiteX213" fmla="*/ 94060 w 613338"/>
                    <a:gd name="connsiteY213" fmla="*/ 914199 h 1109807"/>
                    <a:gd name="connsiteX214" fmla="*/ 96418 w 613338"/>
                    <a:gd name="connsiteY214" fmla="*/ 906910 h 1109807"/>
                    <a:gd name="connsiteX215" fmla="*/ 92564 w 613338"/>
                    <a:gd name="connsiteY215" fmla="*/ 905617 h 1109807"/>
                    <a:gd name="connsiteX216" fmla="*/ 79165 w 613338"/>
                    <a:gd name="connsiteY216" fmla="*/ 912323 h 1109807"/>
                    <a:gd name="connsiteX217" fmla="*/ 76870 w 613338"/>
                    <a:gd name="connsiteY217" fmla="*/ 924911 h 1109807"/>
                    <a:gd name="connsiteX218" fmla="*/ 63446 w 613338"/>
                    <a:gd name="connsiteY218" fmla="*/ 891952 h 1109807"/>
                    <a:gd name="connsiteX219" fmla="*/ 66210 w 613338"/>
                    <a:gd name="connsiteY219" fmla="*/ 896921 h 1109807"/>
                    <a:gd name="connsiteX220" fmla="*/ 74855 w 613338"/>
                    <a:gd name="connsiteY220" fmla="*/ 862884 h 1109807"/>
                    <a:gd name="connsiteX221" fmla="*/ 76870 w 613338"/>
                    <a:gd name="connsiteY221" fmla="*/ 858320 h 1109807"/>
                    <a:gd name="connsiteX222" fmla="*/ 76173 w 613338"/>
                    <a:gd name="connsiteY222" fmla="*/ 855621 h 1109807"/>
                    <a:gd name="connsiteX223" fmla="*/ 71762 w 613338"/>
                    <a:gd name="connsiteY223" fmla="*/ 845416 h 1109807"/>
                    <a:gd name="connsiteX224" fmla="*/ 81764 w 613338"/>
                    <a:gd name="connsiteY224" fmla="*/ 820279 h 1109807"/>
                    <a:gd name="connsiteX225" fmla="*/ 87012 w 613338"/>
                    <a:gd name="connsiteY225" fmla="*/ 818225 h 1109807"/>
                    <a:gd name="connsiteX226" fmla="*/ 82220 w 613338"/>
                    <a:gd name="connsiteY226" fmla="*/ 816121 h 1109807"/>
                    <a:gd name="connsiteX227" fmla="*/ 84945 w 613338"/>
                    <a:gd name="connsiteY227" fmla="*/ 807564 h 1109807"/>
                    <a:gd name="connsiteX228" fmla="*/ 89775 w 613338"/>
                    <a:gd name="connsiteY228" fmla="*/ 805865 h 1109807"/>
                    <a:gd name="connsiteX229" fmla="*/ 85478 w 613338"/>
                    <a:gd name="connsiteY229" fmla="*/ 806043 h 1109807"/>
                    <a:gd name="connsiteX230" fmla="*/ 91018 w 613338"/>
                    <a:gd name="connsiteY230" fmla="*/ 798424 h 1109807"/>
                    <a:gd name="connsiteX231" fmla="*/ 94757 w 613338"/>
                    <a:gd name="connsiteY231" fmla="*/ 789513 h 1109807"/>
                    <a:gd name="connsiteX232" fmla="*/ 101197 w 613338"/>
                    <a:gd name="connsiteY232" fmla="*/ 769826 h 1109807"/>
                    <a:gd name="connsiteX233" fmla="*/ 105671 w 613338"/>
                    <a:gd name="connsiteY233" fmla="*/ 744574 h 1109807"/>
                    <a:gd name="connsiteX234" fmla="*/ 112365 w 613338"/>
                    <a:gd name="connsiteY234" fmla="*/ 729236 h 1109807"/>
                    <a:gd name="connsiteX235" fmla="*/ 117676 w 613338"/>
                    <a:gd name="connsiteY235" fmla="*/ 726460 h 1109807"/>
                    <a:gd name="connsiteX236" fmla="*/ 120516 w 613338"/>
                    <a:gd name="connsiteY236" fmla="*/ 720210 h 1109807"/>
                    <a:gd name="connsiteX237" fmla="*/ 140101 w 613338"/>
                    <a:gd name="connsiteY237" fmla="*/ 697303 h 1109807"/>
                    <a:gd name="connsiteX238" fmla="*/ 151560 w 613338"/>
                    <a:gd name="connsiteY238" fmla="*/ 677769 h 1109807"/>
                    <a:gd name="connsiteX239" fmla="*/ 154400 w 613338"/>
                    <a:gd name="connsiteY239" fmla="*/ 668832 h 1109807"/>
                    <a:gd name="connsiteX240" fmla="*/ 163223 w 613338"/>
                    <a:gd name="connsiteY240" fmla="*/ 663102 h 1109807"/>
                    <a:gd name="connsiteX241" fmla="*/ 165974 w 613338"/>
                    <a:gd name="connsiteY241" fmla="*/ 649919 h 1109807"/>
                    <a:gd name="connsiteX242" fmla="*/ 164212 w 613338"/>
                    <a:gd name="connsiteY242" fmla="*/ 641223 h 1109807"/>
                    <a:gd name="connsiteX243" fmla="*/ 161004 w 613338"/>
                    <a:gd name="connsiteY243" fmla="*/ 632171 h 1109807"/>
                    <a:gd name="connsiteX244" fmla="*/ 155325 w 613338"/>
                    <a:gd name="connsiteY244" fmla="*/ 628292 h 1109807"/>
                    <a:gd name="connsiteX245" fmla="*/ 150787 w 613338"/>
                    <a:gd name="connsiteY245" fmla="*/ 604701 h 1109807"/>
                    <a:gd name="connsiteX246" fmla="*/ 151814 w 613338"/>
                    <a:gd name="connsiteY246" fmla="*/ 595638 h 1109807"/>
                    <a:gd name="connsiteX247" fmla="*/ 142079 w 613338"/>
                    <a:gd name="connsiteY247" fmla="*/ 587664 h 1109807"/>
                    <a:gd name="connsiteX248" fmla="*/ 131734 w 613338"/>
                    <a:gd name="connsiteY248" fmla="*/ 548684 h 1109807"/>
                    <a:gd name="connsiteX249" fmla="*/ 135969 w 613338"/>
                    <a:gd name="connsiteY249" fmla="*/ 546123 h 1109807"/>
                    <a:gd name="connsiteX250" fmla="*/ 134941 w 613338"/>
                    <a:gd name="connsiteY250" fmla="*/ 540077 h 1109807"/>
                    <a:gd name="connsiteX251" fmla="*/ 133091 w 613338"/>
                    <a:gd name="connsiteY251" fmla="*/ 518095 h 1109807"/>
                    <a:gd name="connsiteX252" fmla="*/ 125726 w 613338"/>
                    <a:gd name="connsiteY252" fmla="*/ 495252 h 1109807"/>
                    <a:gd name="connsiteX253" fmla="*/ 105050 w 613338"/>
                    <a:gd name="connsiteY253" fmla="*/ 474425 h 1109807"/>
                    <a:gd name="connsiteX254" fmla="*/ 83310 w 613338"/>
                    <a:gd name="connsiteY254" fmla="*/ 449655 h 1109807"/>
                    <a:gd name="connsiteX255" fmla="*/ 64283 w 613338"/>
                    <a:gd name="connsiteY255" fmla="*/ 420600 h 1109807"/>
                    <a:gd name="connsiteX256" fmla="*/ 61037 w 613338"/>
                    <a:gd name="connsiteY256" fmla="*/ 396743 h 1109807"/>
                    <a:gd name="connsiteX257" fmla="*/ 76934 w 613338"/>
                    <a:gd name="connsiteY257" fmla="*/ 393916 h 1109807"/>
                    <a:gd name="connsiteX258" fmla="*/ 87379 w 613338"/>
                    <a:gd name="connsiteY258" fmla="*/ 388795 h 1109807"/>
                    <a:gd name="connsiteX259" fmla="*/ 88064 w 613338"/>
                    <a:gd name="connsiteY259" fmla="*/ 358435 h 1109807"/>
                    <a:gd name="connsiteX260" fmla="*/ 88406 w 613338"/>
                    <a:gd name="connsiteY260" fmla="*/ 334463 h 1109807"/>
                    <a:gd name="connsiteX261" fmla="*/ 96342 w 613338"/>
                    <a:gd name="connsiteY261" fmla="*/ 329900 h 1109807"/>
                    <a:gd name="connsiteX262" fmla="*/ 109360 w 613338"/>
                    <a:gd name="connsiteY262" fmla="*/ 327808 h 1109807"/>
                    <a:gd name="connsiteX263" fmla="*/ 110007 w 613338"/>
                    <a:gd name="connsiteY263" fmla="*/ 302379 h 1109807"/>
                    <a:gd name="connsiteX264" fmla="*/ 96519 w 613338"/>
                    <a:gd name="connsiteY264" fmla="*/ 315284 h 1109807"/>
                    <a:gd name="connsiteX265" fmla="*/ 89902 w 613338"/>
                    <a:gd name="connsiteY265" fmla="*/ 294748 h 1109807"/>
                    <a:gd name="connsiteX266" fmla="*/ 81561 w 613338"/>
                    <a:gd name="connsiteY266" fmla="*/ 282096 h 1109807"/>
                    <a:gd name="connsiteX267" fmla="*/ 86733 w 613338"/>
                    <a:gd name="connsiteY267" fmla="*/ 273806 h 1109807"/>
                    <a:gd name="connsiteX268" fmla="*/ 81612 w 613338"/>
                    <a:gd name="connsiteY268" fmla="*/ 264007 h 1109807"/>
                    <a:gd name="connsiteX269" fmla="*/ 70621 w 613338"/>
                    <a:gd name="connsiteY269" fmla="*/ 258087 h 1109807"/>
                    <a:gd name="connsiteX270" fmla="*/ 55396 w 613338"/>
                    <a:gd name="connsiteY270" fmla="*/ 239592 h 1109807"/>
                    <a:gd name="connsiteX271" fmla="*/ 44152 w 613338"/>
                    <a:gd name="connsiteY271" fmla="*/ 222948 h 1109807"/>
                    <a:gd name="connsiteX272" fmla="*/ 23997 w 613338"/>
                    <a:gd name="connsiteY272" fmla="*/ 199598 h 1109807"/>
                    <a:gd name="connsiteX273" fmla="*/ 27267 w 613338"/>
                    <a:gd name="connsiteY273" fmla="*/ 182687 h 1109807"/>
                    <a:gd name="connsiteX274" fmla="*/ 19928 w 613338"/>
                    <a:gd name="connsiteY274" fmla="*/ 168781 h 1109807"/>
                    <a:gd name="connsiteX275" fmla="*/ 15605 w 613338"/>
                    <a:gd name="connsiteY275" fmla="*/ 161619 h 1109807"/>
                    <a:gd name="connsiteX276" fmla="*/ 9622 w 613338"/>
                    <a:gd name="connsiteY276" fmla="*/ 164179 h 1109807"/>
                    <a:gd name="connsiteX277" fmla="*/ 0 w 613338"/>
                    <a:gd name="connsiteY277" fmla="*/ 144848 h 1109807"/>
                    <a:gd name="connsiteX278" fmla="*/ 8240 w 613338"/>
                    <a:gd name="connsiteY278" fmla="*/ 149310 h 1109807"/>
                    <a:gd name="connsiteX279" fmla="*/ 28941 w 613338"/>
                    <a:gd name="connsiteY279" fmla="*/ 143454 h 1109807"/>
                    <a:gd name="connsiteX280" fmla="*/ 28433 w 613338"/>
                    <a:gd name="connsiteY280" fmla="*/ 128761 h 1109807"/>
                    <a:gd name="connsiteX281" fmla="*/ 22983 w 613338"/>
                    <a:gd name="connsiteY281" fmla="*/ 117213 h 1109807"/>
                    <a:gd name="connsiteX282" fmla="*/ 30107 w 613338"/>
                    <a:gd name="connsiteY282" fmla="*/ 106096 h 1109807"/>
                    <a:gd name="connsiteX283" fmla="*/ 30512 w 613338"/>
                    <a:gd name="connsiteY283" fmla="*/ 90390 h 1109807"/>
                    <a:gd name="connsiteX284" fmla="*/ 31450 w 613338"/>
                    <a:gd name="connsiteY284" fmla="*/ 83164 h 1109807"/>
                    <a:gd name="connsiteX285" fmla="*/ 36432 w 613338"/>
                    <a:gd name="connsiteY285" fmla="*/ 72211 h 1109807"/>
                    <a:gd name="connsiteX286" fmla="*/ 39513 w 613338"/>
                    <a:gd name="connsiteY286" fmla="*/ 66989 h 1109807"/>
                    <a:gd name="connsiteX287" fmla="*/ 46434 w 613338"/>
                    <a:gd name="connsiteY287" fmla="*/ 62374 h 1109807"/>
                    <a:gd name="connsiteX288" fmla="*/ 50503 w 613338"/>
                    <a:gd name="connsiteY288" fmla="*/ 49216 h 1109807"/>
                    <a:gd name="connsiteX289" fmla="*/ 61278 w 613338"/>
                    <a:gd name="connsiteY289" fmla="*/ 55060 h 1109807"/>
                    <a:gd name="connsiteX290" fmla="*/ 70672 w 613338"/>
                    <a:gd name="connsiteY290" fmla="*/ 58064 h 1109807"/>
                    <a:gd name="connsiteX291" fmla="*/ 93426 w 613338"/>
                    <a:gd name="connsiteY291" fmla="*/ 55009 h 1109807"/>
                    <a:gd name="connsiteX292" fmla="*/ 110945 w 613338"/>
                    <a:gd name="connsiteY292" fmla="*/ 50851 h 1109807"/>
                    <a:gd name="connsiteX293" fmla="*/ 122227 w 613338"/>
                    <a:gd name="connsiteY293" fmla="*/ 47074 h 1109807"/>
                    <a:gd name="connsiteX294" fmla="*/ 123102 w 613338"/>
                    <a:gd name="connsiteY294" fmla="*/ 31216 h 1109807"/>
                    <a:gd name="connsiteX295" fmla="*/ 140798 w 613338"/>
                    <a:gd name="connsiteY295" fmla="*/ 27653 h 1109807"/>
                    <a:gd name="connsiteX296" fmla="*/ 152968 w 613338"/>
                    <a:gd name="connsiteY296" fmla="*/ 5584 h 1109807"/>
                    <a:gd name="connsiteX297" fmla="*/ 180070 w 613338"/>
                    <a:gd name="connsiteY297" fmla="*/ 8753 h 1109807"/>
                    <a:gd name="connsiteX298" fmla="*/ 194762 w 613338"/>
                    <a:gd name="connsiteY298" fmla="*/ 4671 h 1109807"/>
                    <a:gd name="connsiteX299" fmla="*/ 194762 w 613338"/>
                    <a:gd name="connsiteY299" fmla="*/ 4671 h 1109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Lst>
                  <a:rect l="l" t="t" r="r" b="b"/>
                  <a:pathLst>
                    <a:path w="613338" h="1109807">
                      <a:moveTo>
                        <a:pt x="194762" y="4671"/>
                      </a:moveTo>
                      <a:cubicBezTo>
                        <a:pt x="200314" y="6204"/>
                        <a:pt x="201113" y="13658"/>
                        <a:pt x="203927" y="14723"/>
                      </a:cubicBezTo>
                      <a:cubicBezTo>
                        <a:pt x="209365" y="16790"/>
                        <a:pt x="208047" y="11136"/>
                        <a:pt x="211901" y="8283"/>
                      </a:cubicBezTo>
                      <a:cubicBezTo>
                        <a:pt x="228304" y="-3785"/>
                        <a:pt x="223690" y="25600"/>
                        <a:pt x="236214" y="21454"/>
                      </a:cubicBezTo>
                      <a:cubicBezTo>
                        <a:pt x="238534" y="36590"/>
                        <a:pt x="224628" y="45831"/>
                        <a:pt x="226061" y="57824"/>
                      </a:cubicBezTo>
                      <a:cubicBezTo>
                        <a:pt x="226669" y="62907"/>
                        <a:pt x="229432" y="70449"/>
                        <a:pt x="234262" y="72338"/>
                      </a:cubicBezTo>
                      <a:cubicBezTo>
                        <a:pt x="238395" y="73948"/>
                        <a:pt x="237862" y="69346"/>
                        <a:pt x="240309" y="69676"/>
                      </a:cubicBezTo>
                      <a:cubicBezTo>
                        <a:pt x="242261" y="69942"/>
                        <a:pt x="249208" y="73137"/>
                        <a:pt x="250349" y="72934"/>
                      </a:cubicBezTo>
                      <a:cubicBezTo>
                        <a:pt x="255305" y="72021"/>
                        <a:pt x="257891" y="64770"/>
                        <a:pt x="264508" y="63883"/>
                      </a:cubicBezTo>
                      <a:cubicBezTo>
                        <a:pt x="268312" y="63376"/>
                        <a:pt x="279277" y="65619"/>
                        <a:pt x="282357" y="66951"/>
                      </a:cubicBezTo>
                      <a:cubicBezTo>
                        <a:pt x="288023" y="69422"/>
                        <a:pt x="288378" y="65734"/>
                        <a:pt x="287339" y="74620"/>
                      </a:cubicBezTo>
                      <a:cubicBezTo>
                        <a:pt x="287275" y="75051"/>
                        <a:pt x="283029" y="77852"/>
                        <a:pt x="282674" y="80400"/>
                      </a:cubicBezTo>
                      <a:cubicBezTo>
                        <a:pt x="282028" y="84495"/>
                        <a:pt x="285019" y="83506"/>
                        <a:pt x="285323" y="86206"/>
                      </a:cubicBezTo>
                      <a:cubicBezTo>
                        <a:pt x="285666" y="89084"/>
                        <a:pt x="285501" y="95359"/>
                        <a:pt x="286502" y="97907"/>
                      </a:cubicBezTo>
                      <a:cubicBezTo>
                        <a:pt x="287491" y="100467"/>
                        <a:pt x="292485" y="104334"/>
                        <a:pt x="292752" y="106286"/>
                      </a:cubicBezTo>
                      <a:cubicBezTo>
                        <a:pt x="293411" y="111382"/>
                        <a:pt x="287415" y="119558"/>
                        <a:pt x="286654" y="126226"/>
                      </a:cubicBezTo>
                      <a:cubicBezTo>
                        <a:pt x="285653" y="134833"/>
                        <a:pt x="286477" y="134022"/>
                        <a:pt x="282141" y="140652"/>
                      </a:cubicBezTo>
                      <a:cubicBezTo>
                        <a:pt x="280303" y="143479"/>
                        <a:pt x="272368" y="149386"/>
                        <a:pt x="272254" y="153100"/>
                      </a:cubicBezTo>
                      <a:cubicBezTo>
                        <a:pt x="272178" y="156498"/>
                        <a:pt x="275144" y="156447"/>
                        <a:pt x="275816" y="159058"/>
                      </a:cubicBezTo>
                      <a:cubicBezTo>
                        <a:pt x="276133" y="160186"/>
                        <a:pt x="280329" y="160706"/>
                        <a:pt x="281241" y="162202"/>
                      </a:cubicBezTo>
                      <a:cubicBezTo>
                        <a:pt x="281609" y="162886"/>
                        <a:pt x="279010" y="164116"/>
                        <a:pt x="279302" y="164978"/>
                      </a:cubicBezTo>
                      <a:cubicBezTo>
                        <a:pt x="281064" y="170011"/>
                        <a:pt x="281216" y="173484"/>
                        <a:pt x="280532" y="178770"/>
                      </a:cubicBezTo>
                      <a:cubicBezTo>
                        <a:pt x="279467" y="186756"/>
                        <a:pt x="270606" y="195960"/>
                        <a:pt x="267906" y="203211"/>
                      </a:cubicBezTo>
                      <a:cubicBezTo>
                        <a:pt x="267259" y="204833"/>
                        <a:pt x="261099" y="216711"/>
                        <a:pt x="261289" y="217383"/>
                      </a:cubicBezTo>
                      <a:cubicBezTo>
                        <a:pt x="261555" y="218423"/>
                        <a:pt x="272685" y="225192"/>
                        <a:pt x="275207" y="225559"/>
                      </a:cubicBezTo>
                      <a:cubicBezTo>
                        <a:pt x="282268" y="226586"/>
                        <a:pt x="280329" y="225686"/>
                        <a:pt x="285868" y="220882"/>
                      </a:cubicBezTo>
                      <a:cubicBezTo>
                        <a:pt x="289874" y="217446"/>
                        <a:pt x="299648" y="210423"/>
                        <a:pt x="298012" y="207914"/>
                      </a:cubicBezTo>
                      <a:cubicBezTo>
                        <a:pt x="303032" y="206975"/>
                        <a:pt x="301232" y="205252"/>
                        <a:pt x="304401" y="207939"/>
                      </a:cubicBezTo>
                      <a:cubicBezTo>
                        <a:pt x="306430" y="206088"/>
                        <a:pt x="308914" y="204389"/>
                        <a:pt x="310892" y="202488"/>
                      </a:cubicBezTo>
                      <a:cubicBezTo>
                        <a:pt x="310334" y="202044"/>
                        <a:pt x="309776" y="201613"/>
                        <a:pt x="309231" y="201182"/>
                      </a:cubicBezTo>
                      <a:cubicBezTo>
                        <a:pt x="311881" y="199281"/>
                        <a:pt x="311728" y="200092"/>
                        <a:pt x="312476" y="196733"/>
                      </a:cubicBezTo>
                      <a:cubicBezTo>
                        <a:pt x="314834" y="196352"/>
                        <a:pt x="321857" y="194426"/>
                        <a:pt x="323949" y="191903"/>
                      </a:cubicBezTo>
                      <a:cubicBezTo>
                        <a:pt x="328043" y="186972"/>
                        <a:pt x="326446" y="184297"/>
                        <a:pt x="330084" y="182193"/>
                      </a:cubicBezTo>
                      <a:cubicBezTo>
                        <a:pt x="331719" y="181255"/>
                        <a:pt x="334115" y="184893"/>
                        <a:pt x="335839" y="184158"/>
                      </a:cubicBezTo>
                      <a:cubicBezTo>
                        <a:pt x="339617" y="182523"/>
                        <a:pt x="341620" y="177591"/>
                        <a:pt x="344903" y="175183"/>
                      </a:cubicBezTo>
                      <a:cubicBezTo>
                        <a:pt x="349264" y="171963"/>
                        <a:pt x="349428" y="169047"/>
                        <a:pt x="355690" y="171126"/>
                      </a:cubicBezTo>
                      <a:cubicBezTo>
                        <a:pt x="360711" y="172774"/>
                        <a:pt x="367023" y="183803"/>
                        <a:pt x="373159" y="186325"/>
                      </a:cubicBezTo>
                      <a:cubicBezTo>
                        <a:pt x="377342" y="188037"/>
                        <a:pt x="384860" y="187618"/>
                        <a:pt x="388029" y="190128"/>
                      </a:cubicBezTo>
                      <a:cubicBezTo>
                        <a:pt x="392909" y="194007"/>
                        <a:pt x="383262" y="200371"/>
                        <a:pt x="394177" y="201132"/>
                      </a:cubicBezTo>
                      <a:cubicBezTo>
                        <a:pt x="392085" y="194844"/>
                        <a:pt x="407512" y="188113"/>
                        <a:pt x="413686" y="185920"/>
                      </a:cubicBezTo>
                      <a:cubicBezTo>
                        <a:pt x="418186" y="184323"/>
                        <a:pt x="417615" y="189064"/>
                        <a:pt x="422661" y="184766"/>
                      </a:cubicBezTo>
                      <a:cubicBezTo>
                        <a:pt x="422990" y="184500"/>
                        <a:pt x="423814" y="177312"/>
                        <a:pt x="424474" y="175994"/>
                      </a:cubicBezTo>
                      <a:cubicBezTo>
                        <a:pt x="424499" y="175994"/>
                        <a:pt x="424271" y="176412"/>
                        <a:pt x="424220" y="176488"/>
                      </a:cubicBezTo>
                      <a:cubicBezTo>
                        <a:pt x="427617" y="174625"/>
                        <a:pt x="426780" y="171392"/>
                        <a:pt x="428809" y="169871"/>
                      </a:cubicBezTo>
                      <a:cubicBezTo>
                        <a:pt x="429100" y="169656"/>
                        <a:pt x="435920" y="165853"/>
                        <a:pt x="435793" y="166068"/>
                      </a:cubicBezTo>
                      <a:cubicBezTo>
                        <a:pt x="436085" y="165460"/>
                        <a:pt x="438760" y="165891"/>
                        <a:pt x="439457" y="164851"/>
                      </a:cubicBezTo>
                      <a:cubicBezTo>
                        <a:pt x="440370" y="163394"/>
                        <a:pt x="435844" y="161695"/>
                        <a:pt x="435997" y="161454"/>
                      </a:cubicBezTo>
                      <a:cubicBezTo>
                        <a:pt x="435654" y="161986"/>
                        <a:pt x="435768" y="157829"/>
                        <a:pt x="436554" y="156688"/>
                      </a:cubicBezTo>
                      <a:cubicBezTo>
                        <a:pt x="444731" y="144632"/>
                        <a:pt x="471313" y="162645"/>
                        <a:pt x="479882" y="163254"/>
                      </a:cubicBezTo>
                      <a:cubicBezTo>
                        <a:pt x="482494" y="163457"/>
                        <a:pt x="487172" y="160858"/>
                        <a:pt x="490670" y="162100"/>
                      </a:cubicBezTo>
                      <a:cubicBezTo>
                        <a:pt x="495018" y="163685"/>
                        <a:pt x="504348" y="182193"/>
                        <a:pt x="507479" y="186908"/>
                      </a:cubicBezTo>
                      <a:cubicBezTo>
                        <a:pt x="512550" y="194527"/>
                        <a:pt x="515174" y="199762"/>
                        <a:pt x="521550" y="206481"/>
                      </a:cubicBezTo>
                      <a:cubicBezTo>
                        <a:pt x="527711" y="213035"/>
                        <a:pt x="534201" y="215836"/>
                        <a:pt x="541732" y="221503"/>
                      </a:cubicBezTo>
                      <a:cubicBezTo>
                        <a:pt x="559440" y="234788"/>
                        <a:pt x="547309" y="251001"/>
                        <a:pt x="546929" y="268571"/>
                      </a:cubicBezTo>
                      <a:cubicBezTo>
                        <a:pt x="546802" y="273870"/>
                        <a:pt x="549363" y="279777"/>
                        <a:pt x="549071" y="285228"/>
                      </a:cubicBezTo>
                      <a:cubicBezTo>
                        <a:pt x="548361" y="298196"/>
                        <a:pt x="546650" y="293873"/>
                        <a:pt x="554167" y="303266"/>
                      </a:cubicBezTo>
                      <a:cubicBezTo>
                        <a:pt x="557032" y="306816"/>
                        <a:pt x="562419" y="312153"/>
                        <a:pt x="564562" y="315842"/>
                      </a:cubicBezTo>
                      <a:cubicBezTo>
                        <a:pt x="567059" y="320063"/>
                        <a:pt x="567135" y="326021"/>
                        <a:pt x="570938" y="329811"/>
                      </a:cubicBezTo>
                      <a:cubicBezTo>
                        <a:pt x="576237" y="335072"/>
                        <a:pt x="593464" y="331991"/>
                        <a:pt x="596773" y="337759"/>
                      </a:cubicBezTo>
                      <a:cubicBezTo>
                        <a:pt x="596773" y="337772"/>
                        <a:pt x="591715" y="341296"/>
                        <a:pt x="592133" y="343464"/>
                      </a:cubicBezTo>
                      <a:cubicBezTo>
                        <a:pt x="593021" y="347938"/>
                        <a:pt x="594948" y="352920"/>
                        <a:pt x="598598" y="355709"/>
                      </a:cubicBezTo>
                      <a:cubicBezTo>
                        <a:pt x="601603" y="358041"/>
                        <a:pt x="607079" y="354949"/>
                        <a:pt x="610780" y="359005"/>
                      </a:cubicBezTo>
                      <a:cubicBezTo>
                        <a:pt x="615154" y="363784"/>
                        <a:pt x="613049" y="369590"/>
                        <a:pt x="610882" y="374901"/>
                      </a:cubicBezTo>
                      <a:cubicBezTo>
                        <a:pt x="609513" y="378324"/>
                        <a:pt x="605507" y="381506"/>
                        <a:pt x="604632" y="383623"/>
                      </a:cubicBezTo>
                      <a:cubicBezTo>
                        <a:pt x="604049" y="385043"/>
                        <a:pt x="601451" y="384092"/>
                        <a:pt x="600918" y="386361"/>
                      </a:cubicBezTo>
                      <a:cubicBezTo>
                        <a:pt x="600335" y="389023"/>
                        <a:pt x="605203" y="389682"/>
                        <a:pt x="605304" y="389124"/>
                      </a:cubicBezTo>
                      <a:cubicBezTo>
                        <a:pt x="605520" y="388098"/>
                        <a:pt x="605127" y="393067"/>
                        <a:pt x="604785" y="394309"/>
                      </a:cubicBezTo>
                      <a:cubicBezTo>
                        <a:pt x="603859" y="397770"/>
                        <a:pt x="598180" y="398860"/>
                        <a:pt x="598294" y="403664"/>
                      </a:cubicBezTo>
                      <a:cubicBezTo>
                        <a:pt x="598345" y="406491"/>
                        <a:pt x="606990" y="412208"/>
                        <a:pt x="609323" y="414021"/>
                      </a:cubicBezTo>
                      <a:cubicBezTo>
                        <a:pt x="602820" y="418192"/>
                        <a:pt x="602946" y="427560"/>
                        <a:pt x="602490" y="434887"/>
                      </a:cubicBezTo>
                      <a:cubicBezTo>
                        <a:pt x="601691" y="448666"/>
                        <a:pt x="600107" y="453635"/>
                        <a:pt x="588647" y="458972"/>
                      </a:cubicBezTo>
                      <a:cubicBezTo>
                        <a:pt x="584705" y="460810"/>
                        <a:pt x="579026" y="465348"/>
                        <a:pt x="575235" y="467376"/>
                      </a:cubicBezTo>
                      <a:cubicBezTo>
                        <a:pt x="571369" y="469455"/>
                        <a:pt x="571800" y="473880"/>
                        <a:pt x="566692" y="470875"/>
                      </a:cubicBezTo>
                      <a:cubicBezTo>
                        <a:pt x="562597" y="468492"/>
                        <a:pt x="565715" y="462559"/>
                        <a:pt x="563903" y="460772"/>
                      </a:cubicBezTo>
                      <a:cubicBezTo>
                        <a:pt x="557831" y="454814"/>
                        <a:pt x="542872" y="455917"/>
                        <a:pt x="537840" y="456957"/>
                      </a:cubicBezTo>
                      <a:cubicBezTo>
                        <a:pt x="532934" y="457996"/>
                        <a:pt x="530563" y="461482"/>
                        <a:pt x="524922" y="461647"/>
                      </a:cubicBezTo>
                      <a:cubicBezTo>
                        <a:pt x="519953" y="461799"/>
                        <a:pt x="507239" y="459124"/>
                        <a:pt x="505261" y="458123"/>
                      </a:cubicBezTo>
                      <a:cubicBezTo>
                        <a:pt x="500811" y="461875"/>
                        <a:pt x="487793" y="463409"/>
                        <a:pt x="482469" y="462800"/>
                      </a:cubicBezTo>
                      <a:cubicBezTo>
                        <a:pt x="477930" y="462281"/>
                        <a:pt x="472391" y="460240"/>
                        <a:pt x="467523" y="459441"/>
                      </a:cubicBezTo>
                      <a:cubicBezTo>
                        <a:pt x="466763" y="459327"/>
                        <a:pt x="468055" y="455600"/>
                        <a:pt x="465812" y="455233"/>
                      </a:cubicBezTo>
                      <a:cubicBezTo>
                        <a:pt x="463200" y="454801"/>
                        <a:pt x="464202" y="457882"/>
                        <a:pt x="462072" y="457933"/>
                      </a:cubicBezTo>
                      <a:cubicBezTo>
                        <a:pt x="453097" y="458097"/>
                        <a:pt x="439787" y="460772"/>
                        <a:pt x="430051" y="464144"/>
                      </a:cubicBezTo>
                      <a:cubicBezTo>
                        <a:pt x="425221" y="465805"/>
                        <a:pt x="415651" y="469811"/>
                        <a:pt x="412405" y="473664"/>
                      </a:cubicBezTo>
                      <a:cubicBezTo>
                        <a:pt x="409718" y="476897"/>
                        <a:pt x="410174" y="482918"/>
                        <a:pt x="408057" y="486417"/>
                      </a:cubicBezTo>
                      <a:cubicBezTo>
                        <a:pt x="405028" y="491487"/>
                        <a:pt x="399463" y="498840"/>
                        <a:pt x="395799" y="503682"/>
                      </a:cubicBezTo>
                      <a:cubicBezTo>
                        <a:pt x="392313" y="508284"/>
                        <a:pt x="378217" y="512923"/>
                        <a:pt x="387838" y="517994"/>
                      </a:cubicBezTo>
                      <a:cubicBezTo>
                        <a:pt x="378242" y="523977"/>
                        <a:pt x="371194" y="517462"/>
                        <a:pt x="368063" y="526170"/>
                      </a:cubicBezTo>
                      <a:cubicBezTo>
                        <a:pt x="364095" y="537288"/>
                        <a:pt x="370776" y="548228"/>
                        <a:pt x="375023" y="557557"/>
                      </a:cubicBezTo>
                      <a:cubicBezTo>
                        <a:pt x="378965" y="566177"/>
                        <a:pt x="378508" y="570399"/>
                        <a:pt x="380613" y="581085"/>
                      </a:cubicBezTo>
                      <a:cubicBezTo>
                        <a:pt x="381094" y="583494"/>
                        <a:pt x="378090" y="585205"/>
                        <a:pt x="379586" y="588590"/>
                      </a:cubicBezTo>
                      <a:cubicBezTo>
                        <a:pt x="379966" y="589477"/>
                        <a:pt x="389993" y="595498"/>
                        <a:pt x="391324" y="596627"/>
                      </a:cubicBezTo>
                      <a:cubicBezTo>
                        <a:pt x="397752" y="601976"/>
                        <a:pt x="397523" y="604169"/>
                        <a:pt x="397675" y="609607"/>
                      </a:cubicBezTo>
                      <a:cubicBezTo>
                        <a:pt x="397827" y="614665"/>
                        <a:pt x="393898" y="620598"/>
                        <a:pt x="395127" y="626150"/>
                      </a:cubicBezTo>
                      <a:cubicBezTo>
                        <a:pt x="395989" y="630118"/>
                        <a:pt x="399463" y="632945"/>
                        <a:pt x="401237" y="636494"/>
                      </a:cubicBezTo>
                      <a:cubicBezTo>
                        <a:pt x="404660" y="643314"/>
                        <a:pt x="414750" y="656853"/>
                        <a:pt x="411214" y="664345"/>
                      </a:cubicBezTo>
                      <a:cubicBezTo>
                        <a:pt x="411886" y="655471"/>
                        <a:pt x="406093" y="653772"/>
                        <a:pt x="402340" y="646636"/>
                      </a:cubicBezTo>
                      <a:cubicBezTo>
                        <a:pt x="397979" y="638294"/>
                        <a:pt x="397067" y="634238"/>
                        <a:pt x="390260" y="625922"/>
                      </a:cubicBezTo>
                      <a:cubicBezTo>
                        <a:pt x="390817" y="625973"/>
                        <a:pt x="391400" y="626049"/>
                        <a:pt x="391971" y="626087"/>
                      </a:cubicBezTo>
                      <a:cubicBezTo>
                        <a:pt x="390843" y="624109"/>
                        <a:pt x="389233" y="623260"/>
                        <a:pt x="388421" y="621460"/>
                      </a:cubicBezTo>
                      <a:cubicBezTo>
                        <a:pt x="382869" y="623716"/>
                        <a:pt x="385455" y="629573"/>
                        <a:pt x="386710" y="634289"/>
                      </a:cubicBezTo>
                      <a:cubicBezTo>
                        <a:pt x="379726" y="626454"/>
                        <a:pt x="364260" y="627595"/>
                        <a:pt x="363094" y="616351"/>
                      </a:cubicBezTo>
                      <a:cubicBezTo>
                        <a:pt x="368443" y="616972"/>
                        <a:pt x="372031" y="612662"/>
                        <a:pt x="367632" y="610710"/>
                      </a:cubicBezTo>
                      <a:cubicBezTo>
                        <a:pt x="367847" y="616960"/>
                        <a:pt x="362815" y="612218"/>
                        <a:pt x="366136" y="606070"/>
                      </a:cubicBezTo>
                      <a:cubicBezTo>
                        <a:pt x="365553" y="606666"/>
                        <a:pt x="364044" y="608035"/>
                        <a:pt x="363613" y="608682"/>
                      </a:cubicBezTo>
                      <a:cubicBezTo>
                        <a:pt x="363487" y="608365"/>
                        <a:pt x="363296" y="604778"/>
                        <a:pt x="363613" y="605094"/>
                      </a:cubicBezTo>
                      <a:cubicBezTo>
                        <a:pt x="361218" y="605576"/>
                        <a:pt x="360685" y="605690"/>
                        <a:pt x="358518" y="605602"/>
                      </a:cubicBezTo>
                      <a:cubicBezTo>
                        <a:pt x="359709" y="606641"/>
                        <a:pt x="359455" y="606679"/>
                        <a:pt x="359050" y="608149"/>
                      </a:cubicBezTo>
                      <a:cubicBezTo>
                        <a:pt x="359734" y="608124"/>
                        <a:pt x="360584" y="607047"/>
                        <a:pt x="361091" y="607097"/>
                      </a:cubicBezTo>
                      <a:cubicBezTo>
                        <a:pt x="362650" y="609595"/>
                        <a:pt x="363449" y="612295"/>
                        <a:pt x="363246" y="615121"/>
                      </a:cubicBezTo>
                      <a:cubicBezTo>
                        <a:pt x="357630" y="611585"/>
                        <a:pt x="350290" y="606362"/>
                        <a:pt x="349428" y="599948"/>
                      </a:cubicBezTo>
                      <a:cubicBezTo>
                        <a:pt x="349479" y="599948"/>
                        <a:pt x="350252" y="601203"/>
                        <a:pt x="350937" y="600987"/>
                      </a:cubicBezTo>
                      <a:cubicBezTo>
                        <a:pt x="351039" y="600620"/>
                        <a:pt x="349999" y="598959"/>
                        <a:pt x="351964" y="597856"/>
                      </a:cubicBezTo>
                      <a:cubicBezTo>
                        <a:pt x="350303" y="598464"/>
                        <a:pt x="351114" y="598642"/>
                        <a:pt x="349428" y="598427"/>
                      </a:cubicBezTo>
                      <a:cubicBezTo>
                        <a:pt x="349428" y="598667"/>
                        <a:pt x="350886" y="597121"/>
                        <a:pt x="350937" y="597425"/>
                      </a:cubicBezTo>
                      <a:cubicBezTo>
                        <a:pt x="349682" y="597438"/>
                        <a:pt x="348452" y="597451"/>
                        <a:pt x="347210" y="597463"/>
                      </a:cubicBezTo>
                      <a:cubicBezTo>
                        <a:pt x="346272" y="596056"/>
                        <a:pt x="348313" y="596614"/>
                        <a:pt x="348427" y="595346"/>
                      </a:cubicBezTo>
                      <a:cubicBezTo>
                        <a:pt x="347400" y="595460"/>
                        <a:pt x="345359" y="595866"/>
                        <a:pt x="344371" y="595815"/>
                      </a:cubicBezTo>
                      <a:cubicBezTo>
                        <a:pt x="345676" y="597172"/>
                        <a:pt x="347045" y="597907"/>
                        <a:pt x="348427" y="598921"/>
                      </a:cubicBezTo>
                      <a:cubicBezTo>
                        <a:pt x="348363" y="600201"/>
                        <a:pt x="347400" y="601646"/>
                        <a:pt x="347882" y="603015"/>
                      </a:cubicBezTo>
                      <a:cubicBezTo>
                        <a:pt x="344903" y="598807"/>
                        <a:pt x="344751" y="599289"/>
                        <a:pt x="340758" y="597844"/>
                      </a:cubicBezTo>
                      <a:cubicBezTo>
                        <a:pt x="340492" y="596208"/>
                        <a:pt x="340149" y="594205"/>
                        <a:pt x="339959" y="592684"/>
                      </a:cubicBezTo>
                      <a:cubicBezTo>
                        <a:pt x="339959" y="594370"/>
                        <a:pt x="339668" y="596069"/>
                        <a:pt x="339807" y="598414"/>
                      </a:cubicBezTo>
                      <a:cubicBezTo>
                        <a:pt x="338514" y="596867"/>
                        <a:pt x="336891" y="596094"/>
                        <a:pt x="335738" y="594383"/>
                      </a:cubicBezTo>
                      <a:cubicBezTo>
                        <a:pt x="336220" y="594548"/>
                        <a:pt x="336739" y="594687"/>
                        <a:pt x="337246" y="594852"/>
                      </a:cubicBezTo>
                      <a:cubicBezTo>
                        <a:pt x="328119" y="584165"/>
                        <a:pt x="323049" y="586130"/>
                        <a:pt x="311602" y="590833"/>
                      </a:cubicBezTo>
                      <a:cubicBezTo>
                        <a:pt x="303869" y="594002"/>
                        <a:pt x="298494" y="591404"/>
                        <a:pt x="290863" y="589350"/>
                      </a:cubicBezTo>
                      <a:cubicBezTo>
                        <a:pt x="284943" y="587740"/>
                        <a:pt x="268654" y="584191"/>
                        <a:pt x="267868" y="593318"/>
                      </a:cubicBezTo>
                      <a:cubicBezTo>
                        <a:pt x="265180" y="590174"/>
                        <a:pt x="264192" y="588057"/>
                        <a:pt x="259222" y="589249"/>
                      </a:cubicBezTo>
                      <a:cubicBezTo>
                        <a:pt x="259184" y="588387"/>
                        <a:pt x="257714" y="585116"/>
                        <a:pt x="257714" y="585116"/>
                      </a:cubicBezTo>
                      <a:cubicBezTo>
                        <a:pt x="258297" y="579285"/>
                        <a:pt x="262810" y="582555"/>
                        <a:pt x="263824" y="577421"/>
                      </a:cubicBezTo>
                      <a:cubicBezTo>
                        <a:pt x="264293" y="575115"/>
                        <a:pt x="261846" y="568675"/>
                        <a:pt x="261758" y="567166"/>
                      </a:cubicBezTo>
                      <a:cubicBezTo>
                        <a:pt x="261682" y="565353"/>
                        <a:pt x="263583" y="562298"/>
                        <a:pt x="264065" y="560093"/>
                      </a:cubicBezTo>
                      <a:cubicBezTo>
                        <a:pt x="264242" y="559218"/>
                        <a:pt x="261086" y="556556"/>
                        <a:pt x="261060" y="556708"/>
                      </a:cubicBezTo>
                      <a:cubicBezTo>
                        <a:pt x="261301" y="555390"/>
                        <a:pt x="263609" y="553159"/>
                        <a:pt x="263507" y="551688"/>
                      </a:cubicBezTo>
                      <a:cubicBezTo>
                        <a:pt x="263482" y="551536"/>
                        <a:pt x="263368" y="541648"/>
                        <a:pt x="263393" y="541547"/>
                      </a:cubicBezTo>
                      <a:cubicBezTo>
                        <a:pt x="265130" y="535411"/>
                        <a:pt x="268375" y="533358"/>
                        <a:pt x="269427" y="526158"/>
                      </a:cubicBezTo>
                      <a:cubicBezTo>
                        <a:pt x="263482" y="530747"/>
                        <a:pt x="237621" y="526868"/>
                        <a:pt x="240017" y="517474"/>
                      </a:cubicBezTo>
                      <a:cubicBezTo>
                        <a:pt x="240322" y="528541"/>
                        <a:pt x="223196" y="529035"/>
                        <a:pt x="216122" y="524611"/>
                      </a:cubicBezTo>
                      <a:cubicBezTo>
                        <a:pt x="212040" y="530113"/>
                        <a:pt x="200479" y="531926"/>
                        <a:pt x="195903" y="535437"/>
                      </a:cubicBezTo>
                      <a:cubicBezTo>
                        <a:pt x="193621" y="542067"/>
                        <a:pt x="193837" y="540482"/>
                        <a:pt x="197830" y="548734"/>
                      </a:cubicBezTo>
                      <a:cubicBezTo>
                        <a:pt x="200644" y="554477"/>
                        <a:pt x="203040" y="555123"/>
                        <a:pt x="202064" y="562286"/>
                      </a:cubicBezTo>
                      <a:cubicBezTo>
                        <a:pt x="201126" y="569423"/>
                        <a:pt x="194724" y="576724"/>
                        <a:pt x="193380" y="584153"/>
                      </a:cubicBezTo>
                      <a:cubicBezTo>
                        <a:pt x="192240" y="590440"/>
                        <a:pt x="193748" y="597324"/>
                        <a:pt x="194306" y="603573"/>
                      </a:cubicBezTo>
                      <a:cubicBezTo>
                        <a:pt x="195459" y="615717"/>
                        <a:pt x="199072" y="622994"/>
                        <a:pt x="191352" y="633718"/>
                      </a:cubicBezTo>
                      <a:cubicBezTo>
                        <a:pt x="186446" y="640500"/>
                        <a:pt x="183937" y="645254"/>
                        <a:pt x="181731" y="650983"/>
                      </a:cubicBezTo>
                      <a:cubicBezTo>
                        <a:pt x="179348" y="657322"/>
                        <a:pt x="180197" y="656003"/>
                        <a:pt x="175494" y="662785"/>
                      </a:cubicBezTo>
                      <a:cubicBezTo>
                        <a:pt x="167292" y="674499"/>
                        <a:pt x="166456" y="687314"/>
                        <a:pt x="163971" y="699091"/>
                      </a:cubicBezTo>
                      <a:cubicBezTo>
                        <a:pt x="157062" y="695554"/>
                        <a:pt x="158013" y="717206"/>
                        <a:pt x="159674" y="722352"/>
                      </a:cubicBezTo>
                      <a:cubicBezTo>
                        <a:pt x="154501" y="720172"/>
                        <a:pt x="139962" y="747616"/>
                        <a:pt x="141736" y="748985"/>
                      </a:cubicBezTo>
                      <a:cubicBezTo>
                        <a:pt x="139099" y="753587"/>
                        <a:pt x="144056" y="754639"/>
                        <a:pt x="143283" y="756630"/>
                      </a:cubicBezTo>
                      <a:cubicBezTo>
                        <a:pt x="141977" y="759964"/>
                        <a:pt x="139214" y="759837"/>
                        <a:pt x="138922" y="760268"/>
                      </a:cubicBezTo>
                      <a:cubicBezTo>
                        <a:pt x="139176" y="759887"/>
                        <a:pt x="133902" y="757580"/>
                        <a:pt x="133078" y="761003"/>
                      </a:cubicBezTo>
                      <a:cubicBezTo>
                        <a:pt x="132064" y="765250"/>
                        <a:pt x="137692" y="769040"/>
                        <a:pt x="140684" y="769331"/>
                      </a:cubicBezTo>
                      <a:cubicBezTo>
                        <a:pt x="130074" y="773680"/>
                        <a:pt x="134080" y="789043"/>
                        <a:pt x="134308" y="798272"/>
                      </a:cubicBezTo>
                      <a:cubicBezTo>
                        <a:pt x="134599" y="810086"/>
                        <a:pt x="136475" y="821343"/>
                        <a:pt x="145780" y="831903"/>
                      </a:cubicBezTo>
                      <a:cubicBezTo>
                        <a:pt x="142142" y="832245"/>
                        <a:pt x="137971" y="835604"/>
                        <a:pt x="139176" y="840282"/>
                      </a:cubicBezTo>
                      <a:cubicBezTo>
                        <a:pt x="140862" y="846950"/>
                        <a:pt x="152714" y="846405"/>
                        <a:pt x="157962" y="845302"/>
                      </a:cubicBezTo>
                      <a:cubicBezTo>
                        <a:pt x="158723" y="845137"/>
                        <a:pt x="164275" y="841131"/>
                        <a:pt x="165746" y="840548"/>
                      </a:cubicBezTo>
                      <a:cubicBezTo>
                        <a:pt x="167457" y="839838"/>
                        <a:pt x="171260" y="837633"/>
                        <a:pt x="172857" y="837493"/>
                      </a:cubicBezTo>
                      <a:cubicBezTo>
                        <a:pt x="178891" y="837062"/>
                        <a:pt x="181858" y="837024"/>
                        <a:pt x="185153" y="841207"/>
                      </a:cubicBezTo>
                      <a:cubicBezTo>
                        <a:pt x="194319" y="852743"/>
                        <a:pt x="186890" y="872506"/>
                        <a:pt x="192708" y="887033"/>
                      </a:cubicBezTo>
                      <a:cubicBezTo>
                        <a:pt x="194002" y="890139"/>
                        <a:pt x="200429" y="902410"/>
                        <a:pt x="203522" y="904045"/>
                      </a:cubicBezTo>
                      <a:cubicBezTo>
                        <a:pt x="211254" y="908165"/>
                        <a:pt x="210849" y="900318"/>
                        <a:pt x="205486" y="896895"/>
                      </a:cubicBezTo>
                      <a:cubicBezTo>
                        <a:pt x="218391" y="898214"/>
                        <a:pt x="219367" y="931414"/>
                        <a:pt x="221598" y="941669"/>
                      </a:cubicBezTo>
                      <a:cubicBezTo>
                        <a:pt x="223880" y="952190"/>
                        <a:pt x="225059" y="963447"/>
                        <a:pt x="228355" y="973652"/>
                      </a:cubicBezTo>
                      <a:cubicBezTo>
                        <a:pt x="230738" y="981030"/>
                        <a:pt x="236493" y="987279"/>
                        <a:pt x="238243" y="994505"/>
                      </a:cubicBezTo>
                      <a:cubicBezTo>
                        <a:pt x="235314" y="992350"/>
                        <a:pt x="231093" y="989839"/>
                        <a:pt x="227265" y="989155"/>
                      </a:cubicBezTo>
                      <a:cubicBezTo>
                        <a:pt x="228063" y="983933"/>
                        <a:pt x="223918" y="955550"/>
                        <a:pt x="217238" y="970622"/>
                      </a:cubicBezTo>
                      <a:cubicBezTo>
                        <a:pt x="214233" y="965589"/>
                        <a:pt x="224818" y="959923"/>
                        <a:pt x="218455" y="952913"/>
                      </a:cubicBezTo>
                      <a:cubicBezTo>
                        <a:pt x="209543" y="943000"/>
                        <a:pt x="206196" y="960582"/>
                        <a:pt x="208681" y="967656"/>
                      </a:cubicBezTo>
                      <a:cubicBezTo>
                        <a:pt x="212573" y="978570"/>
                        <a:pt x="221320" y="983818"/>
                        <a:pt x="227366" y="990803"/>
                      </a:cubicBezTo>
                      <a:cubicBezTo>
                        <a:pt x="220584" y="996368"/>
                        <a:pt x="240245" y="1004570"/>
                        <a:pt x="239105" y="992337"/>
                      </a:cubicBezTo>
                      <a:cubicBezTo>
                        <a:pt x="247395" y="1002668"/>
                        <a:pt x="253137" y="1012683"/>
                        <a:pt x="264927" y="1017044"/>
                      </a:cubicBezTo>
                      <a:cubicBezTo>
                        <a:pt x="276158" y="1021150"/>
                        <a:pt x="286401" y="1014166"/>
                        <a:pt x="295705" y="1018121"/>
                      </a:cubicBezTo>
                      <a:cubicBezTo>
                        <a:pt x="293195" y="1015700"/>
                        <a:pt x="293563" y="1014597"/>
                        <a:pt x="289152" y="1013012"/>
                      </a:cubicBezTo>
                      <a:cubicBezTo>
                        <a:pt x="297734" y="1011910"/>
                        <a:pt x="309142" y="1019528"/>
                        <a:pt x="314264" y="1025879"/>
                      </a:cubicBezTo>
                      <a:cubicBezTo>
                        <a:pt x="319981" y="1033003"/>
                        <a:pt x="322909" y="1041915"/>
                        <a:pt x="329425" y="1048443"/>
                      </a:cubicBezTo>
                      <a:cubicBezTo>
                        <a:pt x="335205" y="1054249"/>
                        <a:pt x="346728" y="1058014"/>
                        <a:pt x="348782" y="1065823"/>
                      </a:cubicBezTo>
                      <a:cubicBezTo>
                        <a:pt x="351672" y="1076724"/>
                        <a:pt x="344269" y="1075888"/>
                        <a:pt x="339756" y="1082961"/>
                      </a:cubicBezTo>
                      <a:cubicBezTo>
                        <a:pt x="336600" y="1087867"/>
                        <a:pt x="337665" y="1091949"/>
                        <a:pt x="333646" y="1096424"/>
                      </a:cubicBezTo>
                      <a:cubicBezTo>
                        <a:pt x="330426" y="1099961"/>
                        <a:pt x="329970" y="1100759"/>
                        <a:pt x="326116" y="1101279"/>
                      </a:cubicBezTo>
                      <a:cubicBezTo>
                        <a:pt x="327840" y="1101038"/>
                        <a:pt x="318269" y="1099618"/>
                        <a:pt x="318954" y="1100087"/>
                      </a:cubicBezTo>
                      <a:cubicBezTo>
                        <a:pt x="309802" y="1093394"/>
                        <a:pt x="317141" y="1086942"/>
                        <a:pt x="300941" y="1092900"/>
                      </a:cubicBezTo>
                      <a:cubicBezTo>
                        <a:pt x="294400" y="1095321"/>
                        <a:pt x="291357" y="1098224"/>
                        <a:pt x="287199" y="1101888"/>
                      </a:cubicBezTo>
                      <a:cubicBezTo>
                        <a:pt x="284715" y="1104106"/>
                        <a:pt x="285361" y="1109430"/>
                        <a:pt x="279784" y="1109798"/>
                      </a:cubicBezTo>
                      <a:cubicBezTo>
                        <a:pt x="274143" y="1110191"/>
                        <a:pt x="267880" y="1099365"/>
                        <a:pt x="268666" y="1094763"/>
                      </a:cubicBezTo>
                      <a:cubicBezTo>
                        <a:pt x="269769" y="1088298"/>
                        <a:pt x="275246" y="1089021"/>
                        <a:pt x="276196" y="1081478"/>
                      </a:cubicBezTo>
                      <a:cubicBezTo>
                        <a:pt x="276754" y="1076991"/>
                        <a:pt x="275195" y="1073733"/>
                        <a:pt x="274168" y="1070513"/>
                      </a:cubicBezTo>
                      <a:cubicBezTo>
                        <a:pt x="272976" y="1066609"/>
                        <a:pt x="278313" y="1063706"/>
                        <a:pt x="267830" y="1062717"/>
                      </a:cubicBezTo>
                      <a:cubicBezTo>
                        <a:pt x="263723" y="1062324"/>
                        <a:pt x="260008" y="1067116"/>
                        <a:pt x="256548" y="1063579"/>
                      </a:cubicBezTo>
                      <a:cubicBezTo>
                        <a:pt x="253467" y="1060384"/>
                        <a:pt x="253733" y="1050231"/>
                        <a:pt x="249778" y="1046364"/>
                      </a:cubicBezTo>
                      <a:cubicBezTo>
                        <a:pt x="243630" y="1051777"/>
                        <a:pt x="233667" y="1048215"/>
                        <a:pt x="227328" y="1044868"/>
                      </a:cubicBezTo>
                      <a:cubicBezTo>
                        <a:pt x="221002" y="1041534"/>
                        <a:pt x="219316" y="1033244"/>
                        <a:pt x="214804" y="1031076"/>
                      </a:cubicBezTo>
                      <a:cubicBezTo>
                        <a:pt x="205829" y="1026728"/>
                        <a:pt x="207046" y="1044006"/>
                        <a:pt x="205207" y="1050142"/>
                      </a:cubicBezTo>
                      <a:cubicBezTo>
                        <a:pt x="204181" y="1045997"/>
                        <a:pt x="203053" y="1047974"/>
                        <a:pt x="203446" y="1043423"/>
                      </a:cubicBezTo>
                      <a:cubicBezTo>
                        <a:pt x="202102" y="1044311"/>
                        <a:pt x="201899" y="1043334"/>
                        <a:pt x="200505" y="1045388"/>
                      </a:cubicBezTo>
                      <a:cubicBezTo>
                        <a:pt x="198147" y="1042257"/>
                        <a:pt x="195003" y="1040064"/>
                        <a:pt x="193152" y="1038961"/>
                      </a:cubicBezTo>
                      <a:cubicBezTo>
                        <a:pt x="194306" y="1031964"/>
                        <a:pt x="184418" y="1025993"/>
                        <a:pt x="179969" y="1021822"/>
                      </a:cubicBezTo>
                      <a:cubicBezTo>
                        <a:pt x="172984" y="1015244"/>
                        <a:pt x="173922" y="1018539"/>
                        <a:pt x="173757" y="1011669"/>
                      </a:cubicBezTo>
                      <a:cubicBezTo>
                        <a:pt x="173605" y="1006902"/>
                        <a:pt x="173656" y="1003898"/>
                        <a:pt x="176609" y="998802"/>
                      </a:cubicBezTo>
                      <a:cubicBezTo>
                        <a:pt x="171209" y="999537"/>
                        <a:pt x="174201" y="1000589"/>
                        <a:pt x="171590" y="996317"/>
                      </a:cubicBezTo>
                      <a:cubicBezTo>
                        <a:pt x="167622" y="999930"/>
                        <a:pt x="163882" y="998092"/>
                        <a:pt x="162462" y="992628"/>
                      </a:cubicBezTo>
                      <a:cubicBezTo>
                        <a:pt x="161499" y="988838"/>
                        <a:pt x="165657" y="985593"/>
                        <a:pt x="166481" y="981131"/>
                      </a:cubicBezTo>
                      <a:cubicBezTo>
                        <a:pt x="163578" y="987038"/>
                        <a:pt x="160219" y="988192"/>
                        <a:pt x="160421" y="980586"/>
                      </a:cubicBezTo>
                      <a:cubicBezTo>
                        <a:pt x="154654" y="1001172"/>
                        <a:pt x="148087" y="972752"/>
                        <a:pt x="143714" y="971459"/>
                      </a:cubicBezTo>
                      <a:cubicBezTo>
                        <a:pt x="147415" y="962180"/>
                        <a:pt x="136184" y="959150"/>
                        <a:pt x="131062" y="952241"/>
                      </a:cubicBezTo>
                      <a:cubicBezTo>
                        <a:pt x="130771" y="957730"/>
                        <a:pt x="126867" y="959758"/>
                        <a:pt x="124230" y="954269"/>
                      </a:cubicBezTo>
                      <a:cubicBezTo>
                        <a:pt x="121847" y="949313"/>
                        <a:pt x="125916" y="945624"/>
                        <a:pt x="127044" y="940553"/>
                      </a:cubicBezTo>
                      <a:cubicBezTo>
                        <a:pt x="120389" y="944166"/>
                        <a:pt x="121745" y="935521"/>
                        <a:pt x="117828" y="933518"/>
                      </a:cubicBezTo>
                      <a:cubicBezTo>
                        <a:pt x="113569" y="931363"/>
                        <a:pt x="110463" y="937016"/>
                        <a:pt x="107117" y="931122"/>
                      </a:cubicBezTo>
                      <a:cubicBezTo>
                        <a:pt x="106153" y="931832"/>
                        <a:pt x="106255" y="932859"/>
                        <a:pt x="104898" y="933239"/>
                      </a:cubicBezTo>
                      <a:cubicBezTo>
                        <a:pt x="101970" y="927978"/>
                        <a:pt x="103846" y="921919"/>
                        <a:pt x="101691" y="916214"/>
                      </a:cubicBezTo>
                      <a:cubicBezTo>
                        <a:pt x="102211" y="916518"/>
                        <a:pt x="100259" y="918255"/>
                        <a:pt x="100183" y="918293"/>
                      </a:cubicBezTo>
                      <a:cubicBezTo>
                        <a:pt x="101197" y="911588"/>
                        <a:pt x="97597" y="911752"/>
                        <a:pt x="94060" y="914199"/>
                      </a:cubicBezTo>
                      <a:cubicBezTo>
                        <a:pt x="95315" y="911232"/>
                        <a:pt x="94212" y="909724"/>
                        <a:pt x="96418" y="906910"/>
                      </a:cubicBezTo>
                      <a:cubicBezTo>
                        <a:pt x="95163" y="906492"/>
                        <a:pt x="93844" y="905921"/>
                        <a:pt x="92564" y="905617"/>
                      </a:cubicBezTo>
                      <a:cubicBezTo>
                        <a:pt x="88431" y="910878"/>
                        <a:pt x="83462" y="909711"/>
                        <a:pt x="79165" y="912323"/>
                      </a:cubicBezTo>
                      <a:cubicBezTo>
                        <a:pt x="85415" y="916417"/>
                        <a:pt x="80369" y="923440"/>
                        <a:pt x="76870" y="924911"/>
                      </a:cubicBezTo>
                      <a:cubicBezTo>
                        <a:pt x="71103" y="916240"/>
                        <a:pt x="59187" y="905668"/>
                        <a:pt x="63446" y="891952"/>
                      </a:cubicBezTo>
                      <a:cubicBezTo>
                        <a:pt x="64333" y="893498"/>
                        <a:pt x="65335" y="895323"/>
                        <a:pt x="66210" y="896921"/>
                      </a:cubicBezTo>
                      <a:cubicBezTo>
                        <a:pt x="62381" y="891039"/>
                        <a:pt x="65347" y="862757"/>
                        <a:pt x="74855" y="862884"/>
                      </a:cubicBezTo>
                      <a:cubicBezTo>
                        <a:pt x="75578" y="861477"/>
                        <a:pt x="75501" y="860159"/>
                        <a:pt x="76870" y="858320"/>
                      </a:cubicBezTo>
                      <a:cubicBezTo>
                        <a:pt x="70976" y="859233"/>
                        <a:pt x="71952" y="858054"/>
                        <a:pt x="76173" y="855621"/>
                      </a:cubicBezTo>
                      <a:cubicBezTo>
                        <a:pt x="73930" y="852578"/>
                        <a:pt x="72421" y="849092"/>
                        <a:pt x="71762" y="845416"/>
                      </a:cubicBezTo>
                      <a:cubicBezTo>
                        <a:pt x="75590" y="845568"/>
                        <a:pt x="79647" y="826984"/>
                        <a:pt x="81764" y="820279"/>
                      </a:cubicBezTo>
                      <a:cubicBezTo>
                        <a:pt x="85909" y="820824"/>
                        <a:pt x="83944" y="820329"/>
                        <a:pt x="87012" y="818225"/>
                      </a:cubicBezTo>
                      <a:cubicBezTo>
                        <a:pt x="84033" y="817730"/>
                        <a:pt x="84743" y="817097"/>
                        <a:pt x="82220" y="816121"/>
                      </a:cubicBezTo>
                      <a:cubicBezTo>
                        <a:pt x="85807" y="813243"/>
                        <a:pt x="86631" y="810061"/>
                        <a:pt x="84945" y="807564"/>
                      </a:cubicBezTo>
                      <a:cubicBezTo>
                        <a:pt x="89281" y="807437"/>
                        <a:pt x="86479" y="808198"/>
                        <a:pt x="89775" y="805865"/>
                      </a:cubicBezTo>
                      <a:cubicBezTo>
                        <a:pt x="88292" y="805840"/>
                        <a:pt x="86086" y="806119"/>
                        <a:pt x="85478" y="806043"/>
                      </a:cubicBezTo>
                      <a:cubicBezTo>
                        <a:pt x="86771" y="803140"/>
                        <a:pt x="88064" y="800998"/>
                        <a:pt x="91018" y="798424"/>
                      </a:cubicBezTo>
                      <a:cubicBezTo>
                        <a:pt x="82930" y="803558"/>
                        <a:pt x="91322" y="791515"/>
                        <a:pt x="94757" y="789513"/>
                      </a:cubicBezTo>
                      <a:cubicBezTo>
                        <a:pt x="89737" y="788219"/>
                        <a:pt x="99561" y="774909"/>
                        <a:pt x="101197" y="769826"/>
                      </a:cubicBezTo>
                      <a:cubicBezTo>
                        <a:pt x="103846" y="761573"/>
                        <a:pt x="105114" y="752877"/>
                        <a:pt x="105671" y="744574"/>
                      </a:cubicBezTo>
                      <a:cubicBezTo>
                        <a:pt x="106255" y="736208"/>
                        <a:pt x="104341" y="735815"/>
                        <a:pt x="112365" y="729236"/>
                      </a:cubicBezTo>
                      <a:cubicBezTo>
                        <a:pt x="113632" y="728234"/>
                        <a:pt x="117194" y="726992"/>
                        <a:pt x="117676" y="726460"/>
                      </a:cubicBezTo>
                      <a:cubicBezTo>
                        <a:pt x="118906" y="725103"/>
                        <a:pt x="120376" y="720350"/>
                        <a:pt x="120516" y="720210"/>
                      </a:cubicBezTo>
                      <a:cubicBezTo>
                        <a:pt x="126398" y="714442"/>
                        <a:pt x="134118" y="707077"/>
                        <a:pt x="140101" y="697303"/>
                      </a:cubicBezTo>
                      <a:cubicBezTo>
                        <a:pt x="144094" y="690724"/>
                        <a:pt x="148569" y="684589"/>
                        <a:pt x="151560" y="677769"/>
                      </a:cubicBezTo>
                      <a:cubicBezTo>
                        <a:pt x="152131" y="676438"/>
                        <a:pt x="154020" y="669314"/>
                        <a:pt x="154400" y="668832"/>
                      </a:cubicBezTo>
                      <a:cubicBezTo>
                        <a:pt x="157087" y="665486"/>
                        <a:pt x="160409" y="666398"/>
                        <a:pt x="163223" y="663102"/>
                      </a:cubicBezTo>
                      <a:cubicBezTo>
                        <a:pt x="168509" y="656954"/>
                        <a:pt x="166405" y="654609"/>
                        <a:pt x="165974" y="649919"/>
                      </a:cubicBezTo>
                      <a:cubicBezTo>
                        <a:pt x="165974" y="650134"/>
                        <a:pt x="164212" y="641146"/>
                        <a:pt x="164212" y="641223"/>
                      </a:cubicBezTo>
                      <a:cubicBezTo>
                        <a:pt x="163705" y="639562"/>
                        <a:pt x="161588" y="633059"/>
                        <a:pt x="161004" y="632171"/>
                      </a:cubicBezTo>
                      <a:cubicBezTo>
                        <a:pt x="159090" y="629218"/>
                        <a:pt x="164998" y="624375"/>
                        <a:pt x="155325" y="628292"/>
                      </a:cubicBezTo>
                      <a:cubicBezTo>
                        <a:pt x="158292" y="620496"/>
                        <a:pt x="151865" y="613055"/>
                        <a:pt x="150787" y="604701"/>
                      </a:cubicBezTo>
                      <a:cubicBezTo>
                        <a:pt x="150432" y="601811"/>
                        <a:pt x="153158" y="598591"/>
                        <a:pt x="151814" y="595638"/>
                      </a:cubicBezTo>
                      <a:cubicBezTo>
                        <a:pt x="150103" y="591987"/>
                        <a:pt x="144614" y="590453"/>
                        <a:pt x="142079" y="587664"/>
                      </a:cubicBezTo>
                      <a:cubicBezTo>
                        <a:pt x="133750" y="578410"/>
                        <a:pt x="128084" y="559459"/>
                        <a:pt x="131734" y="548684"/>
                      </a:cubicBezTo>
                      <a:cubicBezTo>
                        <a:pt x="131975" y="548050"/>
                        <a:pt x="135246" y="548253"/>
                        <a:pt x="135969" y="546123"/>
                      </a:cubicBezTo>
                      <a:cubicBezTo>
                        <a:pt x="136475" y="544424"/>
                        <a:pt x="134587" y="542016"/>
                        <a:pt x="134941" y="540077"/>
                      </a:cubicBezTo>
                      <a:cubicBezTo>
                        <a:pt x="136260" y="532673"/>
                        <a:pt x="134511" y="525701"/>
                        <a:pt x="133091" y="518095"/>
                      </a:cubicBezTo>
                      <a:cubicBezTo>
                        <a:pt x="131405" y="509311"/>
                        <a:pt x="129871" y="502402"/>
                        <a:pt x="125726" y="495252"/>
                      </a:cubicBezTo>
                      <a:cubicBezTo>
                        <a:pt x="120237" y="485783"/>
                        <a:pt x="113937" y="480877"/>
                        <a:pt x="105050" y="474425"/>
                      </a:cubicBezTo>
                      <a:cubicBezTo>
                        <a:pt x="95530" y="467478"/>
                        <a:pt x="90333" y="460912"/>
                        <a:pt x="83310" y="449655"/>
                      </a:cubicBezTo>
                      <a:cubicBezTo>
                        <a:pt x="77238" y="439944"/>
                        <a:pt x="67198" y="432199"/>
                        <a:pt x="64283" y="420600"/>
                      </a:cubicBezTo>
                      <a:cubicBezTo>
                        <a:pt x="62039" y="411524"/>
                        <a:pt x="61874" y="405490"/>
                        <a:pt x="61037" y="396743"/>
                      </a:cubicBezTo>
                      <a:cubicBezTo>
                        <a:pt x="68390" y="396794"/>
                        <a:pt x="68821" y="387616"/>
                        <a:pt x="76934" y="393916"/>
                      </a:cubicBezTo>
                      <a:cubicBezTo>
                        <a:pt x="74360" y="387413"/>
                        <a:pt x="83868" y="380187"/>
                        <a:pt x="87379" y="388795"/>
                      </a:cubicBezTo>
                      <a:cubicBezTo>
                        <a:pt x="93895" y="381392"/>
                        <a:pt x="87252" y="367663"/>
                        <a:pt x="88064" y="358435"/>
                      </a:cubicBezTo>
                      <a:cubicBezTo>
                        <a:pt x="88698" y="350917"/>
                        <a:pt x="93844" y="341182"/>
                        <a:pt x="88406" y="334463"/>
                      </a:cubicBezTo>
                      <a:cubicBezTo>
                        <a:pt x="93958" y="335668"/>
                        <a:pt x="93160" y="330800"/>
                        <a:pt x="96342" y="329900"/>
                      </a:cubicBezTo>
                      <a:cubicBezTo>
                        <a:pt x="101488" y="328455"/>
                        <a:pt x="105165" y="331040"/>
                        <a:pt x="109360" y="327808"/>
                      </a:cubicBezTo>
                      <a:cubicBezTo>
                        <a:pt x="116142" y="322611"/>
                        <a:pt x="113924" y="307855"/>
                        <a:pt x="110007" y="302379"/>
                      </a:cubicBezTo>
                      <a:cubicBezTo>
                        <a:pt x="107611" y="307285"/>
                        <a:pt x="101438" y="319125"/>
                        <a:pt x="96519" y="315284"/>
                      </a:cubicBezTo>
                      <a:cubicBezTo>
                        <a:pt x="94795" y="313927"/>
                        <a:pt x="91271" y="297106"/>
                        <a:pt x="89902" y="294748"/>
                      </a:cubicBezTo>
                      <a:cubicBezTo>
                        <a:pt x="87696" y="291021"/>
                        <a:pt x="82448" y="286267"/>
                        <a:pt x="81561" y="282096"/>
                      </a:cubicBezTo>
                      <a:cubicBezTo>
                        <a:pt x="81041" y="279701"/>
                        <a:pt x="87823" y="273083"/>
                        <a:pt x="86733" y="273806"/>
                      </a:cubicBezTo>
                      <a:cubicBezTo>
                        <a:pt x="85186" y="270726"/>
                        <a:pt x="84083" y="266542"/>
                        <a:pt x="81612" y="264007"/>
                      </a:cubicBezTo>
                      <a:cubicBezTo>
                        <a:pt x="77733" y="260052"/>
                        <a:pt x="74323" y="261092"/>
                        <a:pt x="70621" y="258087"/>
                      </a:cubicBezTo>
                      <a:cubicBezTo>
                        <a:pt x="67160" y="255273"/>
                        <a:pt x="60759" y="245778"/>
                        <a:pt x="55396" y="239592"/>
                      </a:cubicBezTo>
                      <a:cubicBezTo>
                        <a:pt x="51758" y="235333"/>
                        <a:pt x="48703" y="228018"/>
                        <a:pt x="44152" y="222948"/>
                      </a:cubicBezTo>
                      <a:cubicBezTo>
                        <a:pt x="37180" y="215177"/>
                        <a:pt x="30918" y="206608"/>
                        <a:pt x="23997" y="199598"/>
                      </a:cubicBezTo>
                      <a:cubicBezTo>
                        <a:pt x="25454" y="192727"/>
                        <a:pt x="28877" y="191155"/>
                        <a:pt x="27267" y="182687"/>
                      </a:cubicBezTo>
                      <a:cubicBezTo>
                        <a:pt x="26684" y="179556"/>
                        <a:pt x="22070" y="172926"/>
                        <a:pt x="19928" y="168781"/>
                      </a:cubicBezTo>
                      <a:cubicBezTo>
                        <a:pt x="17760" y="164585"/>
                        <a:pt x="23832" y="165029"/>
                        <a:pt x="15605" y="161619"/>
                      </a:cubicBezTo>
                      <a:cubicBezTo>
                        <a:pt x="15009" y="161378"/>
                        <a:pt x="14755" y="167425"/>
                        <a:pt x="9622" y="164179"/>
                      </a:cubicBezTo>
                      <a:cubicBezTo>
                        <a:pt x="5223" y="161378"/>
                        <a:pt x="3727" y="149475"/>
                        <a:pt x="0" y="144848"/>
                      </a:cubicBezTo>
                      <a:cubicBezTo>
                        <a:pt x="1838" y="146737"/>
                        <a:pt x="5413" y="149361"/>
                        <a:pt x="8240" y="149310"/>
                      </a:cubicBezTo>
                      <a:cubicBezTo>
                        <a:pt x="10192" y="149272"/>
                        <a:pt x="28028" y="144683"/>
                        <a:pt x="28941" y="143454"/>
                      </a:cubicBezTo>
                      <a:cubicBezTo>
                        <a:pt x="31412" y="140195"/>
                        <a:pt x="29384" y="132514"/>
                        <a:pt x="28433" y="128761"/>
                      </a:cubicBezTo>
                      <a:cubicBezTo>
                        <a:pt x="27749" y="125985"/>
                        <a:pt x="22944" y="118290"/>
                        <a:pt x="22983" y="117213"/>
                      </a:cubicBezTo>
                      <a:cubicBezTo>
                        <a:pt x="22983" y="114272"/>
                        <a:pt x="28535" y="109036"/>
                        <a:pt x="30107" y="106096"/>
                      </a:cubicBezTo>
                      <a:cubicBezTo>
                        <a:pt x="34531" y="97843"/>
                        <a:pt x="31590" y="97678"/>
                        <a:pt x="30512" y="90390"/>
                      </a:cubicBezTo>
                      <a:cubicBezTo>
                        <a:pt x="30779" y="92152"/>
                        <a:pt x="31501" y="83037"/>
                        <a:pt x="31450" y="83164"/>
                      </a:cubicBezTo>
                      <a:cubicBezTo>
                        <a:pt x="32363" y="79627"/>
                        <a:pt x="34189" y="75215"/>
                        <a:pt x="36432" y="72211"/>
                      </a:cubicBezTo>
                      <a:cubicBezTo>
                        <a:pt x="38017" y="70094"/>
                        <a:pt x="37294" y="69207"/>
                        <a:pt x="39513" y="66989"/>
                      </a:cubicBezTo>
                      <a:cubicBezTo>
                        <a:pt x="41478" y="65036"/>
                        <a:pt x="44495" y="64669"/>
                        <a:pt x="46434" y="62374"/>
                      </a:cubicBezTo>
                      <a:cubicBezTo>
                        <a:pt x="48513" y="59915"/>
                        <a:pt x="47461" y="50953"/>
                        <a:pt x="50503" y="49216"/>
                      </a:cubicBezTo>
                      <a:cubicBezTo>
                        <a:pt x="51707" y="48544"/>
                        <a:pt x="59808" y="54261"/>
                        <a:pt x="61278" y="55060"/>
                      </a:cubicBezTo>
                      <a:cubicBezTo>
                        <a:pt x="67490" y="58432"/>
                        <a:pt x="62939" y="57380"/>
                        <a:pt x="70672" y="58064"/>
                      </a:cubicBezTo>
                      <a:cubicBezTo>
                        <a:pt x="81257" y="58977"/>
                        <a:pt x="85465" y="57088"/>
                        <a:pt x="93426" y="55009"/>
                      </a:cubicBezTo>
                      <a:cubicBezTo>
                        <a:pt x="99612" y="53387"/>
                        <a:pt x="105989" y="51498"/>
                        <a:pt x="110945" y="50851"/>
                      </a:cubicBezTo>
                      <a:cubicBezTo>
                        <a:pt x="114342" y="50420"/>
                        <a:pt x="118665" y="54299"/>
                        <a:pt x="122227" y="47074"/>
                      </a:cubicBezTo>
                      <a:cubicBezTo>
                        <a:pt x="124395" y="42662"/>
                        <a:pt x="120364" y="35842"/>
                        <a:pt x="123102" y="31216"/>
                      </a:cubicBezTo>
                      <a:cubicBezTo>
                        <a:pt x="128502" y="22203"/>
                        <a:pt x="133598" y="27260"/>
                        <a:pt x="140798" y="27653"/>
                      </a:cubicBezTo>
                      <a:cubicBezTo>
                        <a:pt x="155718" y="28439"/>
                        <a:pt x="168078" y="19528"/>
                        <a:pt x="152968" y="5584"/>
                      </a:cubicBezTo>
                      <a:cubicBezTo>
                        <a:pt x="162057" y="6788"/>
                        <a:pt x="170182" y="13304"/>
                        <a:pt x="180070" y="8753"/>
                      </a:cubicBezTo>
                      <a:cubicBezTo>
                        <a:pt x="183898" y="6965"/>
                        <a:pt x="189996" y="-7144"/>
                        <a:pt x="194762" y="4671"/>
                      </a:cubicBezTo>
                      <a:lnTo>
                        <a:pt x="194762" y="4671"/>
                      </a:lnTo>
                      <a:close/>
                    </a:path>
                  </a:pathLst>
                </a:custGeom>
                <a:solidFill>
                  <a:srgbClr val="D6D6D2"/>
                </a:solidFill>
                <a:ln w="12413" cap="rnd">
                  <a:solidFill>
                    <a:srgbClr val="FFFFFF"/>
                  </a:solidFill>
                  <a:prstDash val="solid"/>
                  <a:round/>
                </a:ln>
              </p:spPr>
              <p:txBody>
                <a:bodyPr rtlCol="0" anchor="ctr"/>
                <a:lstStyle/>
                <a:p>
                  <a:endParaRPr lang="en-US"/>
                </a:p>
              </p:txBody>
            </p:sp>
            <p:sp>
              <p:nvSpPr>
                <p:cNvPr id="75" name="Freeform: Shape 74">
                  <a:extLst>
                    <a:ext uri="{FF2B5EF4-FFF2-40B4-BE49-F238E27FC236}">
                      <a16:creationId xmlns:a16="http://schemas.microsoft.com/office/drawing/2014/main" id="{FDA9F2AC-F5DE-487E-A5FD-DB263633C8B0}"/>
                    </a:ext>
                  </a:extLst>
                </p:cNvPr>
                <p:cNvSpPr/>
                <p:nvPr/>
              </p:nvSpPr>
              <p:spPr>
                <a:xfrm>
                  <a:off x="7546112" y="5486437"/>
                  <a:ext cx="49525" cy="48298"/>
                </a:xfrm>
                <a:custGeom>
                  <a:avLst/>
                  <a:gdLst>
                    <a:gd name="connsiteX0" fmla="*/ 30558 w 49525"/>
                    <a:gd name="connsiteY0" fmla="*/ 16581 h 48298"/>
                    <a:gd name="connsiteX1" fmla="*/ 30824 w 49525"/>
                    <a:gd name="connsiteY1" fmla="*/ 20410 h 48298"/>
                    <a:gd name="connsiteX2" fmla="*/ 49040 w 49525"/>
                    <a:gd name="connsiteY2" fmla="*/ 45712 h 48298"/>
                    <a:gd name="connsiteX3" fmla="*/ 42486 w 49525"/>
                    <a:gd name="connsiteY3" fmla="*/ 43773 h 48298"/>
                    <a:gd name="connsiteX4" fmla="*/ 43982 w 49525"/>
                    <a:gd name="connsiteY4" fmla="*/ 48298 h 48298"/>
                    <a:gd name="connsiteX5" fmla="*/ 25259 w 49525"/>
                    <a:gd name="connsiteY5" fmla="*/ 26494 h 48298"/>
                    <a:gd name="connsiteX6" fmla="*/ 29519 w 49525"/>
                    <a:gd name="connsiteY6" fmla="*/ 32947 h 48298"/>
                    <a:gd name="connsiteX7" fmla="*/ 16119 w 49525"/>
                    <a:gd name="connsiteY7" fmla="*/ 22438 h 48298"/>
                    <a:gd name="connsiteX8" fmla="*/ 1199 w 49525"/>
                    <a:gd name="connsiteY8" fmla="*/ 17165 h 48298"/>
                    <a:gd name="connsiteX9" fmla="*/ 7182 w 49525"/>
                    <a:gd name="connsiteY9" fmla="*/ 14021 h 48298"/>
                    <a:gd name="connsiteX10" fmla="*/ 16119 w 49525"/>
                    <a:gd name="connsiteY10" fmla="*/ 1065 h 48298"/>
                    <a:gd name="connsiteX11" fmla="*/ 30558 w 49525"/>
                    <a:gd name="connsiteY11" fmla="*/ 16581 h 48298"/>
                    <a:gd name="connsiteX12" fmla="*/ 30558 w 49525"/>
                    <a:gd name="connsiteY12" fmla="*/ 16581 h 48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525" h="48298">
                      <a:moveTo>
                        <a:pt x="30558" y="16581"/>
                      </a:moveTo>
                      <a:cubicBezTo>
                        <a:pt x="30494" y="17748"/>
                        <a:pt x="31141" y="19028"/>
                        <a:pt x="30824" y="20410"/>
                      </a:cubicBezTo>
                      <a:cubicBezTo>
                        <a:pt x="43209" y="14743"/>
                        <a:pt x="51689" y="36800"/>
                        <a:pt x="49040" y="45712"/>
                      </a:cubicBezTo>
                      <a:cubicBezTo>
                        <a:pt x="47164" y="44584"/>
                        <a:pt x="44058" y="44774"/>
                        <a:pt x="42486" y="43773"/>
                      </a:cubicBezTo>
                      <a:cubicBezTo>
                        <a:pt x="43158" y="45154"/>
                        <a:pt x="43450" y="47018"/>
                        <a:pt x="43982" y="48298"/>
                      </a:cubicBezTo>
                      <a:cubicBezTo>
                        <a:pt x="40192" y="38005"/>
                        <a:pt x="22977" y="41022"/>
                        <a:pt x="25259" y="26494"/>
                      </a:cubicBezTo>
                      <a:cubicBezTo>
                        <a:pt x="26197" y="30158"/>
                        <a:pt x="27706" y="30817"/>
                        <a:pt x="29519" y="32947"/>
                      </a:cubicBezTo>
                      <a:cubicBezTo>
                        <a:pt x="28935" y="24048"/>
                        <a:pt x="23306" y="21246"/>
                        <a:pt x="16119" y="22438"/>
                      </a:cubicBezTo>
                      <a:cubicBezTo>
                        <a:pt x="9084" y="23591"/>
                        <a:pt x="-4024" y="32567"/>
                        <a:pt x="1199" y="17165"/>
                      </a:cubicBezTo>
                      <a:cubicBezTo>
                        <a:pt x="1148" y="17291"/>
                        <a:pt x="6434" y="14870"/>
                        <a:pt x="7182" y="14021"/>
                      </a:cubicBezTo>
                      <a:cubicBezTo>
                        <a:pt x="10135" y="10573"/>
                        <a:pt x="10465" y="3195"/>
                        <a:pt x="16119" y="1065"/>
                      </a:cubicBezTo>
                      <a:cubicBezTo>
                        <a:pt x="29378" y="-3955"/>
                        <a:pt x="26400" y="10040"/>
                        <a:pt x="30558" y="16581"/>
                      </a:cubicBezTo>
                      <a:lnTo>
                        <a:pt x="30558" y="16581"/>
                      </a:lnTo>
                      <a:close/>
                    </a:path>
                  </a:pathLst>
                </a:custGeom>
                <a:solidFill>
                  <a:srgbClr val="D6D6D2"/>
                </a:solidFill>
                <a:ln w="12674"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77FBE2EC-B01D-4E5F-A42F-9D37F6E5A2F1}"/>
                    </a:ext>
                  </a:extLst>
                </p:cNvPr>
                <p:cNvSpPr/>
                <p:nvPr/>
              </p:nvSpPr>
              <p:spPr>
                <a:xfrm>
                  <a:off x="7488537" y="5385749"/>
                  <a:ext cx="80007" cy="61276"/>
                </a:xfrm>
                <a:custGeom>
                  <a:avLst/>
                  <a:gdLst>
                    <a:gd name="connsiteX0" fmla="*/ 10172 w 80007"/>
                    <a:gd name="connsiteY0" fmla="*/ 3421 h 61276"/>
                    <a:gd name="connsiteX1" fmla="*/ 40088 w 80007"/>
                    <a:gd name="connsiteY1" fmla="*/ 19482 h 61276"/>
                    <a:gd name="connsiteX2" fmla="*/ 53893 w 80007"/>
                    <a:gd name="connsiteY2" fmla="*/ 40234 h 61276"/>
                    <a:gd name="connsiteX3" fmla="*/ 70106 w 80007"/>
                    <a:gd name="connsiteY3" fmla="*/ 53176 h 61276"/>
                    <a:gd name="connsiteX4" fmla="*/ 74213 w 80007"/>
                    <a:gd name="connsiteY4" fmla="*/ 61277 h 61276"/>
                    <a:gd name="connsiteX5" fmla="*/ 64516 w 80007"/>
                    <a:gd name="connsiteY5" fmla="*/ 54178 h 61276"/>
                    <a:gd name="connsiteX6" fmla="*/ 42180 w 80007"/>
                    <a:gd name="connsiteY6" fmla="*/ 50198 h 61276"/>
                    <a:gd name="connsiteX7" fmla="*/ 16751 w 80007"/>
                    <a:gd name="connsiteY7" fmla="*/ 20889 h 61276"/>
                    <a:gd name="connsiteX8" fmla="*/ 170 w 80007"/>
                    <a:gd name="connsiteY8" fmla="*/ 4575 h 61276"/>
                    <a:gd name="connsiteX9" fmla="*/ 10172 w 80007"/>
                    <a:gd name="connsiteY9" fmla="*/ 3421 h 61276"/>
                    <a:gd name="connsiteX10" fmla="*/ 10172 w 80007"/>
                    <a:gd name="connsiteY10" fmla="*/ 3421 h 61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007" h="61276">
                      <a:moveTo>
                        <a:pt x="10172" y="3421"/>
                      </a:moveTo>
                      <a:cubicBezTo>
                        <a:pt x="16028" y="2978"/>
                        <a:pt x="34168" y="15718"/>
                        <a:pt x="40088" y="19482"/>
                      </a:cubicBezTo>
                      <a:cubicBezTo>
                        <a:pt x="49076" y="25073"/>
                        <a:pt x="47707" y="32222"/>
                        <a:pt x="53893" y="40234"/>
                      </a:cubicBezTo>
                      <a:cubicBezTo>
                        <a:pt x="55566" y="42452"/>
                        <a:pt x="65416" y="51503"/>
                        <a:pt x="70106" y="53176"/>
                      </a:cubicBezTo>
                      <a:cubicBezTo>
                        <a:pt x="74581" y="54761"/>
                        <a:pt x="87397" y="51668"/>
                        <a:pt x="74213" y="61277"/>
                      </a:cubicBezTo>
                      <a:cubicBezTo>
                        <a:pt x="70968" y="59134"/>
                        <a:pt x="64008" y="59692"/>
                        <a:pt x="64516" y="54178"/>
                      </a:cubicBezTo>
                      <a:cubicBezTo>
                        <a:pt x="57340" y="60288"/>
                        <a:pt x="48746" y="49006"/>
                        <a:pt x="42180" y="50198"/>
                      </a:cubicBezTo>
                      <a:cubicBezTo>
                        <a:pt x="39898" y="44405"/>
                        <a:pt x="23254" y="26708"/>
                        <a:pt x="16751" y="20889"/>
                      </a:cubicBezTo>
                      <a:cubicBezTo>
                        <a:pt x="12289" y="16884"/>
                        <a:pt x="-1694" y="12878"/>
                        <a:pt x="170" y="4575"/>
                      </a:cubicBezTo>
                      <a:cubicBezTo>
                        <a:pt x="1526" y="-1370"/>
                        <a:pt x="7345" y="-1269"/>
                        <a:pt x="10172" y="3421"/>
                      </a:cubicBezTo>
                      <a:lnTo>
                        <a:pt x="10172" y="3421"/>
                      </a:lnTo>
                      <a:close/>
                    </a:path>
                  </a:pathLst>
                </a:custGeom>
                <a:solidFill>
                  <a:srgbClr val="D6D6D2"/>
                </a:solidFill>
                <a:ln w="12674"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E3D9AF8A-4FBC-41C2-A173-CED56FAADE06}"/>
                    </a:ext>
                  </a:extLst>
                </p:cNvPr>
                <p:cNvSpPr/>
                <p:nvPr/>
              </p:nvSpPr>
              <p:spPr>
                <a:xfrm>
                  <a:off x="8024" y="3209531"/>
                  <a:ext cx="27083" cy="136399"/>
                </a:xfrm>
                <a:custGeom>
                  <a:avLst/>
                  <a:gdLst>
                    <a:gd name="connsiteX0" fmla="*/ 0 w 27083"/>
                    <a:gd name="connsiteY0" fmla="*/ 0 h 136399"/>
                    <a:gd name="connsiteX1" fmla="*/ 22602 w 27083"/>
                    <a:gd name="connsiteY1" fmla="*/ 36547 h 136399"/>
                    <a:gd name="connsiteX2" fmla="*/ 23959 w 27083"/>
                    <a:gd name="connsiteY2" fmla="*/ 61380 h 136399"/>
                    <a:gd name="connsiteX3" fmla="*/ 0 w 27083"/>
                    <a:gd name="connsiteY3" fmla="*/ 136399 h 136399"/>
                    <a:gd name="connsiteX4" fmla="*/ 0 w 27083"/>
                    <a:gd name="connsiteY4" fmla="*/ 0 h 136399"/>
                    <a:gd name="connsiteX5" fmla="*/ 0 w 27083"/>
                    <a:gd name="connsiteY5" fmla="*/ 0 h 136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083" h="136399">
                      <a:moveTo>
                        <a:pt x="0" y="0"/>
                      </a:moveTo>
                      <a:cubicBezTo>
                        <a:pt x="7479" y="12195"/>
                        <a:pt x="15402" y="24187"/>
                        <a:pt x="22602" y="36547"/>
                      </a:cubicBezTo>
                      <a:cubicBezTo>
                        <a:pt x="28915" y="47385"/>
                        <a:pt x="27787" y="49350"/>
                        <a:pt x="23959" y="61380"/>
                      </a:cubicBezTo>
                      <a:cubicBezTo>
                        <a:pt x="16023" y="86403"/>
                        <a:pt x="8024" y="111401"/>
                        <a:pt x="0" y="136399"/>
                      </a:cubicBezTo>
                      <a:cubicBezTo>
                        <a:pt x="0" y="90916"/>
                        <a:pt x="0" y="45471"/>
                        <a:pt x="0" y="0"/>
                      </a:cubicBezTo>
                      <a:lnTo>
                        <a:pt x="0" y="0"/>
                      </a:lnTo>
                      <a:close/>
                    </a:path>
                  </a:pathLst>
                </a:custGeom>
                <a:solidFill>
                  <a:srgbClr val="D6D6D2"/>
                </a:solidFill>
                <a:ln w="12674"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F963ADA8-333E-4133-B75C-E160008E4322}"/>
                    </a:ext>
                  </a:extLst>
                </p:cNvPr>
                <p:cNvSpPr/>
                <p:nvPr/>
              </p:nvSpPr>
              <p:spPr>
                <a:xfrm>
                  <a:off x="5113773" y="1528107"/>
                  <a:ext cx="471629" cy="463666"/>
                </a:xfrm>
                <a:custGeom>
                  <a:avLst/>
                  <a:gdLst>
                    <a:gd name="connsiteX0" fmla="*/ 419542 w 471629"/>
                    <a:gd name="connsiteY0" fmla="*/ 3813 h 463666"/>
                    <a:gd name="connsiteX1" fmla="*/ 427174 w 471629"/>
                    <a:gd name="connsiteY1" fmla="*/ 7400 h 463666"/>
                    <a:gd name="connsiteX2" fmla="*/ 442309 w 471629"/>
                    <a:gd name="connsiteY2" fmla="*/ 29090 h 463666"/>
                    <a:gd name="connsiteX3" fmla="*/ 454466 w 471629"/>
                    <a:gd name="connsiteY3" fmla="*/ 40004 h 463666"/>
                    <a:gd name="connsiteX4" fmla="*/ 461007 w 471629"/>
                    <a:gd name="connsiteY4" fmla="*/ 46190 h 463666"/>
                    <a:gd name="connsiteX5" fmla="*/ 471630 w 471629"/>
                    <a:gd name="connsiteY5" fmla="*/ 63012 h 463666"/>
                    <a:gd name="connsiteX6" fmla="*/ 464024 w 471629"/>
                    <a:gd name="connsiteY6" fmla="*/ 65890 h 463666"/>
                    <a:gd name="connsiteX7" fmla="*/ 449979 w 471629"/>
                    <a:gd name="connsiteY7" fmla="*/ 60413 h 463666"/>
                    <a:gd name="connsiteX8" fmla="*/ 449497 w 471629"/>
                    <a:gd name="connsiteY8" fmla="*/ 67690 h 463666"/>
                    <a:gd name="connsiteX9" fmla="*/ 447101 w 471629"/>
                    <a:gd name="connsiteY9" fmla="*/ 66511 h 463666"/>
                    <a:gd name="connsiteX10" fmla="*/ 442588 w 471629"/>
                    <a:gd name="connsiteY10" fmla="*/ 72925 h 463666"/>
                    <a:gd name="connsiteX11" fmla="*/ 431826 w 471629"/>
                    <a:gd name="connsiteY11" fmla="*/ 81659 h 463666"/>
                    <a:gd name="connsiteX12" fmla="*/ 421850 w 471629"/>
                    <a:gd name="connsiteY12" fmla="*/ 89747 h 463666"/>
                    <a:gd name="connsiteX13" fmla="*/ 421000 w 471629"/>
                    <a:gd name="connsiteY13" fmla="*/ 87833 h 463666"/>
                    <a:gd name="connsiteX14" fmla="*/ 418579 w 471629"/>
                    <a:gd name="connsiteY14" fmla="*/ 90647 h 463666"/>
                    <a:gd name="connsiteX15" fmla="*/ 420075 w 471629"/>
                    <a:gd name="connsiteY15" fmla="*/ 92447 h 463666"/>
                    <a:gd name="connsiteX16" fmla="*/ 414408 w 471629"/>
                    <a:gd name="connsiteY16" fmla="*/ 97277 h 463666"/>
                    <a:gd name="connsiteX17" fmla="*/ 408235 w 471629"/>
                    <a:gd name="connsiteY17" fmla="*/ 110397 h 463666"/>
                    <a:gd name="connsiteX18" fmla="*/ 395964 w 471629"/>
                    <a:gd name="connsiteY18" fmla="*/ 124658 h 463666"/>
                    <a:gd name="connsiteX19" fmla="*/ 401237 w 471629"/>
                    <a:gd name="connsiteY19" fmla="*/ 141657 h 463666"/>
                    <a:gd name="connsiteX20" fmla="*/ 401846 w 471629"/>
                    <a:gd name="connsiteY20" fmla="*/ 152217 h 463666"/>
                    <a:gd name="connsiteX21" fmla="*/ 402530 w 471629"/>
                    <a:gd name="connsiteY21" fmla="*/ 181867 h 463666"/>
                    <a:gd name="connsiteX22" fmla="*/ 388713 w 471629"/>
                    <a:gd name="connsiteY22" fmla="*/ 191045 h 463666"/>
                    <a:gd name="connsiteX23" fmla="*/ 368393 w 471629"/>
                    <a:gd name="connsiteY23" fmla="*/ 205522 h 463666"/>
                    <a:gd name="connsiteX24" fmla="*/ 357465 w 471629"/>
                    <a:gd name="connsiteY24" fmla="*/ 215714 h 463666"/>
                    <a:gd name="connsiteX25" fmla="*/ 325964 w 471629"/>
                    <a:gd name="connsiteY25" fmla="*/ 234754 h 463666"/>
                    <a:gd name="connsiteX26" fmla="*/ 318523 w 471629"/>
                    <a:gd name="connsiteY26" fmla="*/ 248457 h 463666"/>
                    <a:gd name="connsiteX27" fmla="*/ 296301 w 471629"/>
                    <a:gd name="connsiteY27" fmla="*/ 261653 h 463666"/>
                    <a:gd name="connsiteX28" fmla="*/ 289393 w 471629"/>
                    <a:gd name="connsiteY28" fmla="*/ 261552 h 463666"/>
                    <a:gd name="connsiteX29" fmla="*/ 273281 w 471629"/>
                    <a:gd name="connsiteY29" fmla="*/ 260309 h 463666"/>
                    <a:gd name="connsiteX30" fmla="*/ 265117 w 471629"/>
                    <a:gd name="connsiteY30" fmla="*/ 265481 h 463666"/>
                    <a:gd name="connsiteX31" fmla="*/ 255888 w 471629"/>
                    <a:gd name="connsiteY31" fmla="*/ 274038 h 463666"/>
                    <a:gd name="connsiteX32" fmla="*/ 241919 w 471629"/>
                    <a:gd name="connsiteY32" fmla="*/ 280883 h 463666"/>
                    <a:gd name="connsiteX33" fmla="*/ 238496 w 471629"/>
                    <a:gd name="connsiteY33" fmla="*/ 295347 h 463666"/>
                    <a:gd name="connsiteX34" fmla="*/ 237837 w 471629"/>
                    <a:gd name="connsiteY34" fmla="*/ 324313 h 463666"/>
                    <a:gd name="connsiteX35" fmla="*/ 226073 w 471629"/>
                    <a:gd name="connsiteY35" fmla="*/ 317810 h 463666"/>
                    <a:gd name="connsiteX36" fmla="*/ 233058 w 471629"/>
                    <a:gd name="connsiteY36" fmla="*/ 320510 h 463666"/>
                    <a:gd name="connsiteX37" fmla="*/ 227062 w 471629"/>
                    <a:gd name="connsiteY37" fmla="*/ 321017 h 463666"/>
                    <a:gd name="connsiteX38" fmla="*/ 234376 w 471629"/>
                    <a:gd name="connsiteY38" fmla="*/ 333681 h 463666"/>
                    <a:gd name="connsiteX39" fmla="*/ 246229 w 471629"/>
                    <a:gd name="connsiteY39" fmla="*/ 339322 h 463666"/>
                    <a:gd name="connsiteX40" fmla="*/ 259260 w 471629"/>
                    <a:gd name="connsiteY40" fmla="*/ 347182 h 463666"/>
                    <a:gd name="connsiteX41" fmla="*/ 272723 w 471629"/>
                    <a:gd name="connsiteY41" fmla="*/ 362279 h 463666"/>
                    <a:gd name="connsiteX42" fmla="*/ 290356 w 471629"/>
                    <a:gd name="connsiteY42" fmla="*/ 372623 h 463666"/>
                    <a:gd name="connsiteX43" fmla="*/ 298684 w 471629"/>
                    <a:gd name="connsiteY43" fmla="*/ 379507 h 463666"/>
                    <a:gd name="connsiteX44" fmla="*/ 292764 w 471629"/>
                    <a:gd name="connsiteY44" fmla="*/ 386099 h 463666"/>
                    <a:gd name="connsiteX45" fmla="*/ 289519 w 471629"/>
                    <a:gd name="connsiteY45" fmla="*/ 400753 h 463666"/>
                    <a:gd name="connsiteX46" fmla="*/ 252313 w 471629"/>
                    <a:gd name="connsiteY46" fmla="*/ 408371 h 463666"/>
                    <a:gd name="connsiteX47" fmla="*/ 227886 w 471629"/>
                    <a:gd name="connsiteY47" fmla="*/ 409385 h 463666"/>
                    <a:gd name="connsiteX48" fmla="*/ 204764 w 471629"/>
                    <a:gd name="connsiteY48" fmla="*/ 411680 h 463666"/>
                    <a:gd name="connsiteX49" fmla="*/ 180451 w 471629"/>
                    <a:gd name="connsiteY49" fmla="*/ 437794 h 463666"/>
                    <a:gd name="connsiteX50" fmla="*/ 174289 w 471629"/>
                    <a:gd name="connsiteY50" fmla="*/ 440734 h 463666"/>
                    <a:gd name="connsiteX51" fmla="*/ 173390 w 471629"/>
                    <a:gd name="connsiteY51" fmla="*/ 448822 h 463666"/>
                    <a:gd name="connsiteX52" fmla="*/ 166747 w 471629"/>
                    <a:gd name="connsiteY52" fmla="*/ 454958 h 463666"/>
                    <a:gd name="connsiteX53" fmla="*/ 149127 w 471629"/>
                    <a:gd name="connsiteY53" fmla="*/ 446642 h 463666"/>
                    <a:gd name="connsiteX54" fmla="*/ 136577 w 471629"/>
                    <a:gd name="connsiteY54" fmla="*/ 450077 h 463666"/>
                    <a:gd name="connsiteX55" fmla="*/ 135816 w 471629"/>
                    <a:gd name="connsiteY55" fmla="*/ 458646 h 463666"/>
                    <a:gd name="connsiteX56" fmla="*/ 128248 w 471629"/>
                    <a:gd name="connsiteY56" fmla="*/ 447060 h 463666"/>
                    <a:gd name="connsiteX57" fmla="*/ 119996 w 471629"/>
                    <a:gd name="connsiteY57" fmla="*/ 444398 h 463666"/>
                    <a:gd name="connsiteX58" fmla="*/ 123127 w 471629"/>
                    <a:gd name="connsiteY58" fmla="*/ 451142 h 463666"/>
                    <a:gd name="connsiteX59" fmla="*/ 108156 w 471629"/>
                    <a:gd name="connsiteY59" fmla="*/ 436564 h 463666"/>
                    <a:gd name="connsiteX60" fmla="*/ 94339 w 471629"/>
                    <a:gd name="connsiteY60" fmla="*/ 433319 h 463666"/>
                    <a:gd name="connsiteX61" fmla="*/ 100385 w 471629"/>
                    <a:gd name="connsiteY61" fmla="*/ 440101 h 463666"/>
                    <a:gd name="connsiteX62" fmla="*/ 103390 w 471629"/>
                    <a:gd name="connsiteY62" fmla="*/ 440101 h 463666"/>
                    <a:gd name="connsiteX63" fmla="*/ 101894 w 471629"/>
                    <a:gd name="connsiteY63" fmla="*/ 442433 h 463666"/>
                    <a:gd name="connsiteX64" fmla="*/ 104860 w 471629"/>
                    <a:gd name="connsiteY64" fmla="*/ 442433 h 463666"/>
                    <a:gd name="connsiteX65" fmla="*/ 96836 w 471629"/>
                    <a:gd name="connsiteY65" fmla="*/ 442433 h 463666"/>
                    <a:gd name="connsiteX66" fmla="*/ 93287 w 471629"/>
                    <a:gd name="connsiteY66" fmla="*/ 454628 h 463666"/>
                    <a:gd name="connsiteX67" fmla="*/ 89217 w 471629"/>
                    <a:gd name="connsiteY67" fmla="*/ 453436 h 463666"/>
                    <a:gd name="connsiteX68" fmla="*/ 75907 w 471629"/>
                    <a:gd name="connsiteY68" fmla="*/ 463666 h 463666"/>
                    <a:gd name="connsiteX69" fmla="*/ 83082 w 471629"/>
                    <a:gd name="connsiteY69" fmla="*/ 455262 h 463666"/>
                    <a:gd name="connsiteX70" fmla="*/ 78075 w 471629"/>
                    <a:gd name="connsiteY70" fmla="*/ 454628 h 463666"/>
                    <a:gd name="connsiteX71" fmla="*/ 89205 w 471629"/>
                    <a:gd name="connsiteY71" fmla="*/ 449405 h 463666"/>
                    <a:gd name="connsiteX72" fmla="*/ 87887 w 471629"/>
                    <a:gd name="connsiteY72" fmla="*/ 445057 h 463666"/>
                    <a:gd name="connsiteX73" fmla="*/ 82131 w 471629"/>
                    <a:gd name="connsiteY73" fmla="*/ 444715 h 463666"/>
                    <a:gd name="connsiteX74" fmla="*/ 78569 w 471629"/>
                    <a:gd name="connsiteY74" fmla="*/ 445273 h 463666"/>
                    <a:gd name="connsiteX75" fmla="*/ 83069 w 471629"/>
                    <a:gd name="connsiteY75" fmla="*/ 449405 h 463666"/>
                    <a:gd name="connsiteX76" fmla="*/ 76008 w 471629"/>
                    <a:gd name="connsiteY76" fmla="*/ 447605 h 463666"/>
                    <a:gd name="connsiteX77" fmla="*/ 78062 w 471629"/>
                    <a:gd name="connsiteY77" fmla="*/ 449405 h 463666"/>
                    <a:gd name="connsiteX78" fmla="*/ 72991 w 471629"/>
                    <a:gd name="connsiteY78" fmla="*/ 452321 h 463666"/>
                    <a:gd name="connsiteX79" fmla="*/ 67870 w 471629"/>
                    <a:gd name="connsiteY79" fmla="*/ 451155 h 463666"/>
                    <a:gd name="connsiteX80" fmla="*/ 69404 w 471629"/>
                    <a:gd name="connsiteY80" fmla="*/ 441799 h 463666"/>
                    <a:gd name="connsiteX81" fmla="*/ 51175 w 471629"/>
                    <a:gd name="connsiteY81" fmla="*/ 441216 h 463666"/>
                    <a:gd name="connsiteX82" fmla="*/ 48691 w 471629"/>
                    <a:gd name="connsiteY82" fmla="*/ 442433 h 463666"/>
                    <a:gd name="connsiteX83" fmla="*/ 63877 w 471629"/>
                    <a:gd name="connsiteY83" fmla="*/ 437730 h 463666"/>
                    <a:gd name="connsiteX84" fmla="*/ 68415 w 471629"/>
                    <a:gd name="connsiteY84" fmla="*/ 434345 h 463666"/>
                    <a:gd name="connsiteX85" fmla="*/ 70431 w 471629"/>
                    <a:gd name="connsiteY85" fmla="*/ 430733 h 463666"/>
                    <a:gd name="connsiteX86" fmla="*/ 47043 w 471629"/>
                    <a:gd name="connsiteY86" fmla="*/ 428502 h 463666"/>
                    <a:gd name="connsiteX87" fmla="*/ 40235 w 471629"/>
                    <a:gd name="connsiteY87" fmla="*/ 426917 h 463666"/>
                    <a:gd name="connsiteX88" fmla="*/ 25594 w 471629"/>
                    <a:gd name="connsiteY88" fmla="*/ 425332 h 463666"/>
                    <a:gd name="connsiteX89" fmla="*/ 37016 w 471629"/>
                    <a:gd name="connsiteY89" fmla="*/ 420186 h 463666"/>
                    <a:gd name="connsiteX90" fmla="*/ 41249 w 471629"/>
                    <a:gd name="connsiteY90" fmla="*/ 416383 h 463666"/>
                    <a:gd name="connsiteX91" fmla="*/ 49667 w 471629"/>
                    <a:gd name="connsiteY91" fmla="*/ 416687 h 463666"/>
                    <a:gd name="connsiteX92" fmla="*/ 48196 w 471629"/>
                    <a:gd name="connsiteY92" fmla="*/ 398446 h 463666"/>
                    <a:gd name="connsiteX93" fmla="*/ 49020 w 471629"/>
                    <a:gd name="connsiteY93" fmla="*/ 385465 h 463666"/>
                    <a:gd name="connsiteX94" fmla="*/ 59631 w 471629"/>
                    <a:gd name="connsiteY94" fmla="*/ 386466 h 463666"/>
                    <a:gd name="connsiteX95" fmla="*/ 59301 w 471629"/>
                    <a:gd name="connsiteY95" fmla="*/ 379089 h 463666"/>
                    <a:gd name="connsiteX96" fmla="*/ 63497 w 471629"/>
                    <a:gd name="connsiteY96" fmla="*/ 378772 h 463666"/>
                    <a:gd name="connsiteX97" fmla="*/ 88685 w 471629"/>
                    <a:gd name="connsiteY97" fmla="*/ 380268 h 463666"/>
                    <a:gd name="connsiteX98" fmla="*/ 90498 w 471629"/>
                    <a:gd name="connsiteY98" fmla="*/ 377986 h 463666"/>
                    <a:gd name="connsiteX99" fmla="*/ 98814 w 471629"/>
                    <a:gd name="connsiteY99" fmla="*/ 382118 h 463666"/>
                    <a:gd name="connsiteX100" fmla="*/ 83285 w 471629"/>
                    <a:gd name="connsiteY100" fmla="*/ 369581 h 463666"/>
                    <a:gd name="connsiteX101" fmla="*/ 80547 w 471629"/>
                    <a:gd name="connsiteY101" fmla="*/ 371483 h 463666"/>
                    <a:gd name="connsiteX102" fmla="*/ 82258 w 471629"/>
                    <a:gd name="connsiteY102" fmla="*/ 373055 h 463666"/>
                    <a:gd name="connsiteX103" fmla="*/ 72434 w 471629"/>
                    <a:gd name="connsiteY103" fmla="*/ 373245 h 463666"/>
                    <a:gd name="connsiteX104" fmla="*/ 72991 w 471629"/>
                    <a:gd name="connsiteY104" fmla="*/ 375577 h 463666"/>
                    <a:gd name="connsiteX105" fmla="*/ 66869 w 471629"/>
                    <a:gd name="connsiteY105" fmla="*/ 367946 h 463666"/>
                    <a:gd name="connsiteX106" fmla="*/ 62470 w 471629"/>
                    <a:gd name="connsiteY106" fmla="*/ 357196 h 463666"/>
                    <a:gd name="connsiteX107" fmla="*/ 74931 w 471629"/>
                    <a:gd name="connsiteY107" fmla="*/ 343265 h 463666"/>
                    <a:gd name="connsiteX108" fmla="*/ 71179 w 471629"/>
                    <a:gd name="connsiteY108" fmla="*/ 342732 h 463666"/>
                    <a:gd name="connsiteX109" fmla="*/ 75578 w 471629"/>
                    <a:gd name="connsiteY109" fmla="*/ 335912 h 463666"/>
                    <a:gd name="connsiteX110" fmla="*/ 80559 w 471629"/>
                    <a:gd name="connsiteY110" fmla="*/ 332046 h 463666"/>
                    <a:gd name="connsiteX111" fmla="*/ 83069 w 471629"/>
                    <a:gd name="connsiteY111" fmla="*/ 323705 h 463666"/>
                    <a:gd name="connsiteX112" fmla="*/ 80128 w 471629"/>
                    <a:gd name="connsiteY112" fmla="*/ 319040 h 463666"/>
                    <a:gd name="connsiteX113" fmla="*/ 84147 w 471629"/>
                    <a:gd name="connsiteY113" fmla="*/ 317278 h 463666"/>
                    <a:gd name="connsiteX114" fmla="*/ 76566 w 471629"/>
                    <a:gd name="connsiteY114" fmla="*/ 316099 h 463666"/>
                    <a:gd name="connsiteX115" fmla="*/ 78556 w 471629"/>
                    <a:gd name="connsiteY115" fmla="*/ 312511 h 463666"/>
                    <a:gd name="connsiteX116" fmla="*/ 75501 w 471629"/>
                    <a:gd name="connsiteY116" fmla="*/ 313094 h 463666"/>
                    <a:gd name="connsiteX117" fmla="*/ 83069 w 471629"/>
                    <a:gd name="connsiteY117" fmla="*/ 300076 h 463666"/>
                    <a:gd name="connsiteX118" fmla="*/ 66869 w 471629"/>
                    <a:gd name="connsiteY118" fmla="*/ 299480 h 463666"/>
                    <a:gd name="connsiteX119" fmla="*/ 61862 w 471629"/>
                    <a:gd name="connsiteY119" fmla="*/ 299480 h 463666"/>
                    <a:gd name="connsiteX120" fmla="*/ 62850 w 471629"/>
                    <a:gd name="connsiteY120" fmla="*/ 301838 h 463666"/>
                    <a:gd name="connsiteX121" fmla="*/ 31438 w 471629"/>
                    <a:gd name="connsiteY121" fmla="*/ 282899 h 463666"/>
                    <a:gd name="connsiteX122" fmla="*/ 31273 w 471629"/>
                    <a:gd name="connsiteY122" fmla="*/ 294878 h 463666"/>
                    <a:gd name="connsiteX123" fmla="*/ 23363 w 471629"/>
                    <a:gd name="connsiteY123" fmla="*/ 299531 h 463666"/>
                    <a:gd name="connsiteX124" fmla="*/ 24073 w 471629"/>
                    <a:gd name="connsiteY124" fmla="*/ 290289 h 463666"/>
                    <a:gd name="connsiteX125" fmla="*/ 13855 w 471629"/>
                    <a:gd name="connsiteY125" fmla="*/ 279704 h 463666"/>
                    <a:gd name="connsiteX126" fmla="*/ 6021 w 471629"/>
                    <a:gd name="connsiteY126" fmla="*/ 277436 h 463666"/>
                    <a:gd name="connsiteX127" fmla="*/ 0 w 471629"/>
                    <a:gd name="connsiteY127" fmla="*/ 271655 h 463666"/>
                    <a:gd name="connsiteX128" fmla="*/ 13196 w 471629"/>
                    <a:gd name="connsiteY128" fmla="*/ 262135 h 463666"/>
                    <a:gd name="connsiteX129" fmla="*/ 17848 w 471629"/>
                    <a:gd name="connsiteY129" fmla="*/ 242664 h 463666"/>
                    <a:gd name="connsiteX130" fmla="*/ 42454 w 471629"/>
                    <a:gd name="connsiteY130" fmla="*/ 222064 h 463666"/>
                    <a:gd name="connsiteX131" fmla="*/ 50655 w 471629"/>
                    <a:gd name="connsiteY131" fmla="*/ 224460 h 463666"/>
                    <a:gd name="connsiteX132" fmla="*/ 53850 w 471629"/>
                    <a:gd name="connsiteY132" fmla="*/ 217006 h 463666"/>
                    <a:gd name="connsiteX133" fmla="*/ 71229 w 471629"/>
                    <a:gd name="connsiteY133" fmla="*/ 207917 h 463666"/>
                    <a:gd name="connsiteX134" fmla="*/ 79875 w 471629"/>
                    <a:gd name="connsiteY134" fmla="*/ 209134 h 463666"/>
                    <a:gd name="connsiteX135" fmla="*/ 83944 w 471629"/>
                    <a:gd name="connsiteY135" fmla="*/ 203772 h 463666"/>
                    <a:gd name="connsiteX136" fmla="*/ 100639 w 471629"/>
                    <a:gd name="connsiteY136" fmla="*/ 197206 h 463666"/>
                    <a:gd name="connsiteX137" fmla="*/ 125206 w 471629"/>
                    <a:gd name="connsiteY137" fmla="*/ 184948 h 463666"/>
                    <a:gd name="connsiteX138" fmla="*/ 122645 w 471629"/>
                    <a:gd name="connsiteY138" fmla="*/ 184567 h 463666"/>
                    <a:gd name="connsiteX139" fmla="*/ 135613 w 471629"/>
                    <a:gd name="connsiteY139" fmla="*/ 168595 h 463666"/>
                    <a:gd name="connsiteX140" fmla="*/ 149177 w 471629"/>
                    <a:gd name="connsiteY140" fmla="*/ 156603 h 463666"/>
                    <a:gd name="connsiteX141" fmla="*/ 161131 w 471629"/>
                    <a:gd name="connsiteY141" fmla="*/ 144928 h 463666"/>
                    <a:gd name="connsiteX142" fmla="*/ 160105 w 471629"/>
                    <a:gd name="connsiteY142" fmla="*/ 146829 h 463666"/>
                    <a:gd name="connsiteX143" fmla="*/ 166735 w 471629"/>
                    <a:gd name="connsiteY143" fmla="*/ 127738 h 463666"/>
                    <a:gd name="connsiteX144" fmla="*/ 177852 w 471629"/>
                    <a:gd name="connsiteY144" fmla="*/ 115480 h 463666"/>
                    <a:gd name="connsiteX145" fmla="*/ 174289 w 471629"/>
                    <a:gd name="connsiteY145" fmla="*/ 112412 h 463666"/>
                    <a:gd name="connsiteX146" fmla="*/ 182364 w 471629"/>
                    <a:gd name="connsiteY146" fmla="*/ 115949 h 463666"/>
                    <a:gd name="connsiteX147" fmla="*/ 203674 w 471629"/>
                    <a:gd name="connsiteY147" fmla="*/ 117268 h 463666"/>
                    <a:gd name="connsiteX148" fmla="*/ 211280 w 471629"/>
                    <a:gd name="connsiteY148" fmla="*/ 125685 h 463666"/>
                    <a:gd name="connsiteX149" fmla="*/ 205727 w 471629"/>
                    <a:gd name="connsiteY149" fmla="*/ 129868 h 463666"/>
                    <a:gd name="connsiteX150" fmla="*/ 219380 w 471629"/>
                    <a:gd name="connsiteY150" fmla="*/ 130920 h 463666"/>
                    <a:gd name="connsiteX151" fmla="*/ 217909 w 471629"/>
                    <a:gd name="connsiteY151" fmla="*/ 132733 h 463666"/>
                    <a:gd name="connsiteX152" fmla="*/ 229610 w 471629"/>
                    <a:gd name="connsiteY152" fmla="*/ 134647 h 463666"/>
                    <a:gd name="connsiteX153" fmla="*/ 238129 w 471629"/>
                    <a:gd name="connsiteY153" fmla="*/ 133924 h 463666"/>
                    <a:gd name="connsiteX154" fmla="*/ 244023 w 471629"/>
                    <a:gd name="connsiteY154" fmla="*/ 138678 h 463666"/>
                    <a:gd name="connsiteX155" fmla="*/ 272051 w 471629"/>
                    <a:gd name="connsiteY155" fmla="*/ 135737 h 463666"/>
                    <a:gd name="connsiteX156" fmla="*/ 275664 w 471629"/>
                    <a:gd name="connsiteY156" fmla="*/ 140123 h 463666"/>
                    <a:gd name="connsiteX157" fmla="*/ 280671 w 471629"/>
                    <a:gd name="connsiteY157" fmla="*/ 142519 h 463666"/>
                    <a:gd name="connsiteX158" fmla="*/ 279619 w 471629"/>
                    <a:gd name="connsiteY158" fmla="*/ 143774 h 463666"/>
                    <a:gd name="connsiteX159" fmla="*/ 292853 w 471629"/>
                    <a:gd name="connsiteY159" fmla="*/ 123935 h 463666"/>
                    <a:gd name="connsiteX160" fmla="*/ 283675 w 471629"/>
                    <a:gd name="connsiteY160" fmla="*/ 114517 h 463666"/>
                    <a:gd name="connsiteX161" fmla="*/ 289430 w 471629"/>
                    <a:gd name="connsiteY161" fmla="*/ 86679 h 463666"/>
                    <a:gd name="connsiteX162" fmla="*/ 323403 w 471629"/>
                    <a:gd name="connsiteY162" fmla="*/ 86654 h 463666"/>
                    <a:gd name="connsiteX163" fmla="*/ 350645 w 471629"/>
                    <a:gd name="connsiteY163" fmla="*/ 75549 h 463666"/>
                    <a:gd name="connsiteX164" fmla="*/ 362701 w 471629"/>
                    <a:gd name="connsiteY164" fmla="*/ 62822 h 463666"/>
                    <a:gd name="connsiteX165" fmla="*/ 360191 w 471629"/>
                    <a:gd name="connsiteY165" fmla="*/ 60996 h 463666"/>
                    <a:gd name="connsiteX166" fmla="*/ 371904 w 471629"/>
                    <a:gd name="connsiteY166" fmla="*/ 51933 h 463666"/>
                    <a:gd name="connsiteX167" fmla="*/ 371004 w 471629"/>
                    <a:gd name="connsiteY167" fmla="*/ 49727 h 463666"/>
                    <a:gd name="connsiteX168" fmla="*/ 389613 w 471629"/>
                    <a:gd name="connsiteY168" fmla="*/ 49499 h 463666"/>
                    <a:gd name="connsiteX169" fmla="*/ 412925 w 471629"/>
                    <a:gd name="connsiteY169" fmla="*/ 2558 h 463666"/>
                    <a:gd name="connsiteX170" fmla="*/ 410922 w 471629"/>
                    <a:gd name="connsiteY170" fmla="*/ 796 h 463666"/>
                    <a:gd name="connsiteX171" fmla="*/ 419542 w 471629"/>
                    <a:gd name="connsiteY171" fmla="*/ 3813 h 463666"/>
                    <a:gd name="connsiteX172" fmla="*/ 419542 w 471629"/>
                    <a:gd name="connsiteY172" fmla="*/ 3813 h 463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Lst>
                  <a:rect l="l" t="t" r="r" b="b"/>
                  <a:pathLst>
                    <a:path w="471629" h="463666">
                      <a:moveTo>
                        <a:pt x="419542" y="3813"/>
                      </a:moveTo>
                      <a:cubicBezTo>
                        <a:pt x="425145" y="2038"/>
                        <a:pt x="432270" y="504"/>
                        <a:pt x="427174" y="7400"/>
                      </a:cubicBezTo>
                      <a:cubicBezTo>
                        <a:pt x="443818" y="10645"/>
                        <a:pt x="433296" y="17833"/>
                        <a:pt x="442309" y="29090"/>
                      </a:cubicBezTo>
                      <a:cubicBezTo>
                        <a:pt x="446150" y="33894"/>
                        <a:pt x="451652" y="37203"/>
                        <a:pt x="454466" y="40004"/>
                      </a:cubicBezTo>
                      <a:cubicBezTo>
                        <a:pt x="454212" y="28747"/>
                        <a:pt x="458687" y="42070"/>
                        <a:pt x="461007" y="46190"/>
                      </a:cubicBezTo>
                      <a:cubicBezTo>
                        <a:pt x="463910" y="51362"/>
                        <a:pt x="467967" y="59032"/>
                        <a:pt x="471630" y="63012"/>
                      </a:cubicBezTo>
                      <a:cubicBezTo>
                        <a:pt x="470045" y="64128"/>
                        <a:pt x="465939" y="65636"/>
                        <a:pt x="464024" y="65890"/>
                      </a:cubicBezTo>
                      <a:cubicBezTo>
                        <a:pt x="463010" y="57929"/>
                        <a:pt x="453617" y="60020"/>
                        <a:pt x="449979" y="60413"/>
                      </a:cubicBezTo>
                      <a:cubicBezTo>
                        <a:pt x="449573" y="63975"/>
                        <a:pt x="448293" y="64673"/>
                        <a:pt x="449497" y="67690"/>
                      </a:cubicBezTo>
                      <a:cubicBezTo>
                        <a:pt x="448724" y="67411"/>
                        <a:pt x="447634" y="66777"/>
                        <a:pt x="447101" y="66511"/>
                      </a:cubicBezTo>
                      <a:cubicBezTo>
                        <a:pt x="446239" y="69515"/>
                        <a:pt x="444832" y="70440"/>
                        <a:pt x="442588" y="72925"/>
                      </a:cubicBezTo>
                      <a:cubicBezTo>
                        <a:pt x="444604" y="60502"/>
                        <a:pt x="432384" y="81127"/>
                        <a:pt x="431826" y="81659"/>
                      </a:cubicBezTo>
                      <a:cubicBezTo>
                        <a:pt x="429138" y="84258"/>
                        <a:pt x="424017" y="81025"/>
                        <a:pt x="421850" y="89747"/>
                      </a:cubicBezTo>
                      <a:cubicBezTo>
                        <a:pt x="421558" y="89100"/>
                        <a:pt x="421305" y="88467"/>
                        <a:pt x="421000" y="87833"/>
                      </a:cubicBezTo>
                      <a:cubicBezTo>
                        <a:pt x="420404" y="88809"/>
                        <a:pt x="419973" y="90051"/>
                        <a:pt x="418579" y="90647"/>
                      </a:cubicBezTo>
                      <a:cubicBezTo>
                        <a:pt x="418782" y="91306"/>
                        <a:pt x="419885" y="91585"/>
                        <a:pt x="420075" y="92447"/>
                      </a:cubicBezTo>
                      <a:cubicBezTo>
                        <a:pt x="419339" y="94678"/>
                        <a:pt x="413914" y="98101"/>
                        <a:pt x="414408" y="97277"/>
                      </a:cubicBezTo>
                      <a:cubicBezTo>
                        <a:pt x="412875" y="99875"/>
                        <a:pt x="410884" y="106936"/>
                        <a:pt x="408235" y="110397"/>
                      </a:cubicBezTo>
                      <a:cubicBezTo>
                        <a:pt x="403227" y="107139"/>
                        <a:pt x="397726" y="119537"/>
                        <a:pt x="395964" y="124658"/>
                      </a:cubicBezTo>
                      <a:cubicBezTo>
                        <a:pt x="392377" y="135040"/>
                        <a:pt x="397473" y="134799"/>
                        <a:pt x="401237" y="141657"/>
                      </a:cubicBezTo>
                      <a:cubicBezTo>
                        <a:pt x="404787" y="148148"/>
                        <a:pt x="404077" y="142963"/>
                        <a:pt x="401846" y="152217"/>
                      </a:cubicBezTo>
                      <a:cubicBezTo>
                        <a:pt x="400008" y="159911"/>
                        <a:pt x="395229" y="175694"/>
                        <a:pt x="402530" y="181867"/>
                      </a:cubicBezTo>
                      <a:cubicBezTo>
                        <a:pt x="398765" y="192553"/>
                        <a:pt x="398791" y="188383"/>
                        <a:pt x="388713" y="191045"/>
                      </a:cubicBezTo>
                      <a:cubicBezTo>
                        <a:pt x="383490" y="192414"/>
                        <a:pt x="370383" y="198233"/>
                        <a:pt x="368393" y="205522"/>
                      </a:cubicBezTo>
                      <a:cubicBezTo>
                        <a:pt x="361484" y="196940"/>
                        <a:pt x="360077" y="211733"/>
                        <a:pt x="357465" y="215714"/>
                      </a:cubicBezTo>
                      <a:cubicBezTo>
                        <a:pt x="351076" y="225398"/>
                        <a:pt x="336080" y="230101"/>
                        <a:pt x="325964" y="234754"/>
                      </a:cubicBezTo>
                      <a:cubicBezTo>
                        <a:pt x="313212" y="240572"/>
                        <a:pt x="325077" y="239723"/>
                        <a:pt x="318523" y="248457"/>
                      </a:cubicBezTo>
                      <a:cubicBezTo>
                        <a:pt x="314631" y="253629"/>
                        <a:pt x="297112" y="252006"/>
                        <a:pt x="296301" y="261653"/>
                      </a:cubicBezTo>
                      <a:cubicBezTo>
                        <a:pt x="293335" y="257914"/>
                        <a:pt x="290013" y="255771"/>
                        <a:pt x="289393" y="261552"/>
                      </a:cubicBezTo>
                      <a:cubicBezTo>
                        <a:pt x="283320" y="262946"/>
                        <a:pt x="279505" y="259422"/>
                        <a:pt x="273281" y="260309"/>
                      </a:cubicBezTo>
                      <a:cubicBezTo>
                        <a:pt x="270112" y="260766"/>
                        <a:pt x="269756" y="266090"/>
                        <a:pt x="265117" y="265481"/>
                      </a:cubicBezTo>
                      <a:cubicBezTo>
                        <a:pt x="265053" y="271046"/>
                        <a:pt x="262328" y="275293"/>
                        <a:pt x="255888" y="274038"/>
                      </a:cubicBezTo>
                      <a:cubicBezTo>
                        <a:pt x="254633" y="278792"/>
                        <a:pt x="245443" y="277904"/>
                        <a:pt x="241919" y="280883"/>
                      </a:cubicBezTo>
                      <a:cubicBezTo>
                        <a:pt x="233628" y="287932"/>
                        <a:pt x="238243" y="289428"/>
                        <a:pt x="238496" y="295347"/>
                      </a:cubicBezTo>
                      <a:cubicBezTo>
                        <a:pt x="238623" y="297971"/>
                        <a:pt x="239346" y="324060"/>
                        <a:pt x="237837" y="324313"/>
                      </a:cubicBezTo>
                      <a:cubicBezTo>
                        <a:pt x="235581" y="324681"/>
                        <a:pt x="239028" y="308493"/>
                        <a:pt x="226073" y="317810"/>
                      </a:cubicBezTo>
                      <a:cubicBezTo>
                        <a:pt x="227759" y="318152"/>
                        <a:pt x="231854" y="320295"/>
                        <a:pt x="233058" y="320510"/>
                      </a:cubicBezTo>
                      <a:cubicBezTo>
                        <a:pt x="231499" y="320346"/>
                        <a:pt x="229078" y="321182"/>
                        <a:pt x="227062" y="321017"/>
                      </a:cubicBezTo>
                      <a:cubicBezTo>
                        <a:pt x="225794" y="326329"/>
                        <a:pt x="228533" y="341883"/>
                        <a:pt x="234376" y="333681"/>
                      </a:cubicBezTo>
                      <a:cubicBezTo>
                        <a:pt x="236202" y="339056"/>
                        <a:pt x="241856" y="337953"/>
                        <a:pt x="246229" y="339322"/>
                      </a:cubicBezTo>
                      <a:cubicBezTo>
                        <a:pt x="254380" y="341845"/>
                        <a:pt x="253100" y="341579"/>
                        <a:pt x="259260" y="347182"/>
                      </a:cubicBezTo>
                      <a:cubicBezTo>
                        <a:pt x="265028" y="352404"/>
                        <a:pt x="266359" y="356588"/>
                        <a:pt x="272723" y="362279"/>
                      </a:cubicBezTo>
                      <a:cubicBezTo>
                        <a:pt x="276830" y="365968"/>
                        <a:pt x="287110" y="370570"/>
                        <a:pt x="290356" y="372623"/>
                      </a:cubicBezTo>
                      <a:cubicBezTo>
                        <a:pt x="292118" y="373739"/>
                        <a:pt x="298469" y="374170"/>
                        <a:pt x="298684" y="379507"/>
                      </a:cubicBezTo>
                      <a:cubicBezTo>
                        <a:pt x="298963" y="385072"/>
                        <a:pt x="294349" y="381700"/>
                        <a:pt x="292764" y="386099"/>
                      </a:cubicBezTo>
                      <a:cubicBezTo>
                        <a:pt x="290888" y="391359"/>
                        <a:pt x="293183" y="395276"/>
                        <a:pt x="289519" y="400753"/>
                      </a:cubicBezTo>
                      <a:cubicBezTo>
                        <a:pt x="280126" y="414748"/>
                        <a:pt x="263913" y="408739"/>
                        <a:pt x="252313" y="408371"/>
                      </a:cubicBezTo>
                      <a:cubicBezTo>
                        <a:pt x="244175" y="408105"/>
                        <a:pt x="235682" y="409373"/>
                        <a:pt x="227886" y="409385"/>
                      </a:cubicBezTo>
                      <a:cubicBezTo>
                        <a:pt x="220140" y="409398"/>
                        <a:pt x="212066" y="408574"/>
                        <a:pt x="204764" y="411680"/>
                      </a:cubicBezTo>
                      <a:cubicBezTo>
                        <a:pt x="194040" y="416180"/>
                        <a:pt x="187752" y="429262"/>
                        <a:pt x="180451" y="437794"/>
                      </a:cubicBezTo>
                      <a:cubicBezTo>
                        <a:pt x="179512" y="438896"/>
                        <a:pt x="174619" y="440151"/>
                        <a:pt x="174289" y="440734"/>
                      </a:cubicBezTo>
                      <a:cubicBezTo>
                        <a:pt x="173313" y="442332"/>
                        <a:pt x="173795" y="448315"/>
                        <a:pt x="173390" y="448822"/>
                      </a:cubicBezTo>
                      <a:cubicBezTo>
                        <a:pt x="171019" y="451624"/>
                        <a:pt x="172489" y="454704"/>
                        <a:pt x="166747" y="454958"/>
                      </a:cubicBezTo>
                      <a:cubicBezTo>
                        <a:pt x="159990" y="455249"/>
                        <a:pt x="155439" y="446781"/>
                        <a:pt x="149127" y="446642"/>
                      </a:cubicBezTo>
                      <a:cubicBezTo>
                        <a:pt x="148582" y="446629"/>
                        <a:pt x="137135" y="449595"/>
                        <a:pt x="136577" y="450077"/>
                      </a:cubicBezTo>
                      <a:cubicBezTo>
                        <a:pt x="134612" y="451738"/>
                        <a:pt x="137224" y="458253"/>
                        <a:pt x="135816" y="458646"/>
                      </a:cubicBezTo>
                      <a:cubicBezTo>
                        <a:pt x="131278" y="459952"/>
                        <a:pt x="128337" y="450292"/>
                        <a:pt x="128248" y="447060"/>
                      </a:cubicBezTo>
                      <a:cubicBezTo>
                        <a:pt x="125447" y="447098"/>
                        <a:pt x="122798" y="446122"/>
                        <a:pt x="119996" y="444398"/>
                      </a:cubicBezTo>
                      <a:cubicBezTo>
                        <a:pt x="121999" y="446908"/>
                        <a:pt x="121758" y="448302"/>
                        <a:pt x="123127" y="451142"/>
                      </a:cubicBezTo>
                      <a:cubicBezTo>
                        <a:pt x="115192" y="448835"/>
                        <a:pt x="112707" y="439416"/>
                        <a:pt x="108156" y="436564"/>
                      </a:cubicBezTo>
                      <a:cubicBezTo>
                        <a:pt x="106318" y="435410"/>
                        <a:pt x="96342" y="432229"/>
                        <a:pt x="94339" y="433319"/>
                      </a:cubicBezTo>
                      <a:cubicBezTo>
                        <a:pt x="90155" y="435550"/>
                        <a:pt x="100715" y="440278"/>
                        <a:pt x="100385" y="440101"/>
                      </a:cubicBezTo>
                      <a:cubicBezTo>
                        <a:pt x="101640" y="440253"/>
                        <a:pt x="101970" y="439543"/>
                        <a:pt x="103390" y="440101"/>
                      </a:cubicBezTo>
                      <a:cubicBezTo>
                        <a:pt x="102718" y="440773"/>
                        <a:pt x="102223" y="441546"/>
                        <a:pt x="101894" y="442433"/>
                      </a:cubicBezTo>
                      <a:cubicBezTo>
                        <a:pt x="103060" y="442940"/>
                        <a:pt x="104036" y="442167"/>
                        <a:pt x="104860" y="442433"/>
                      </a:cubicBezTo>
                      <a:cubicBezTo>
                        <a:pt x="100183" y="444246"/>
                        <a:pt x="101438" y="444563"/>
                        <a:pt x="96836" y="442433"/>
                      </a:cubicBezTo>
                      <a:cubicBezTo>
                        <a:pt x="97318" y="447631"/>
                        <a:pt x="96557" y="458849"/>
                        <a:pt x="93287" y="454628"/>
                      </a:cubicBezTo>
                      <a:cubicBezTo>
                        <a:pt x="89116" y="453614"/>
                        <a:pt x="91880" y="455946"/>
                        <a:pt x="89217" y="453436"/>
                      </a:cubicBezTo>
                      <a:cubicBezTo>
                        <a:pt x="86124" y="460117"/>
                        <a:pt x="79545" y="458811"/>
                        <a:pt x="75907" y="463666"/>
                      </a:cubicBezTo>
                      <a:cubicBezTo>
                        <a:pt x="74297" y="458545"/>
                        <a:pt x="77656" y="455363"/>
                        <a:pt x="83082" y="455262"/>
                      </a:cubicBezTo>
                      <a:cubicBezTo>
                        <a:pt x="81472" y="455110"/>
                        <a:pt x="79761" y="454831"/>
                        <a:pt x="78075" y="454628"/>
                      </a:cubicBezTo>
                      <a:cubicBezTo>
                        <a:pt x="81510" y="450445"/>
                        <a:pt x="86467" y="451548"/>
                        <a:pt x="89205" y="449405"/>
                      </a:cubicBezTo>
                      <a:cubicBezTo>
                        <a:pt x="85503" y="447504"/>
                        <a:pt x="85630" y="450204"/>
                        <a:pt x="87887" y="445057"/>
                      </a:cubicBezTo>
                      <a:cubicBezTo>
                        <a:pt x="83906" y="442991"/>
                        <a:pt x="83298" y="444005"/>
                        <a:pt x="82131" y="444715"/>
                      </a:cubicBezTo>
                      <a:cubicBezTo>
                        <a:pt x="80876" y="445006"/>
                        <a:pt x="79685" y="444360"/>
                        <a:pt x="78569" y="445273"/>
                      </a:cubicBezTo>
                      <a:cubicBezTo>
                        <a:pt x="81421" y="446819"/>
                        <a:pt x="81396" y="447732"/>
                        <a:pt x="83069" y="449405"/>
                      </a:cubicBezTo>
                      <a:cubicBezTo>
                        <a:pt x="80268" y="447833"/>
                        <a:pt x="78785" y="448226"/>
                        <a:pt x="76008" y="447605"/>
                      </a:cubicBezTo>
                      <a:cubicBezTo>
                        <a:pt x="76351" y="448657"/>
                        <a:pt x="77771" y="448746"/>
                        <a:pt x="78062" y="449405"/>
                      </a:cubicBezTo>
                      <a:cubicBezTo>
                        <a:pt x="76402" y="450901"/>
                        <a:pt x="74665" y="451231"/>
                        <a:pt x="72991" y="452321"/>
                      </a:cubicBezTo>
                      <a:cubicBezTo>
                        <a:pt x="73105" y="452346"/>
                        <a:pt x="68365" y="451332"/>
                        <a:pt x="67870" y="451155"/>
                      </a:cubicBezTo>
                      <a:cubicBezTo>
                        <a:pt x="73486" y="448366"/>
                        <a:pt x="73372" y="444728"/>
                        <a:pt x="69404" y="441799"/>
                      </a:cubicBezTo>
                      <a:cubicBezTo>
                        <a:pt x="65500" y="448074"/>
                        <a:pt x="52316" y="449139"/>
                        <a:pt x="51175" y="441216"/>
                      </a:cubicBezTo>
                      <a:cubicBezTo>
                        <a:pt x="50326" y="441254"/>
                        <a:pt x="49641" y="442522"/>
                        <a:pt x="48691" y="442433"/>
                      </a:cubicBezTo>
                      <a:cubicBezTo>
                        <a:pt x="52202" y="435943"/>
                        <a:pt x="58528" y="440113"/>
                        <a:pt x="63877" y="437730"/>
                      </a:cubicBezTo>
                      <a:cubicBezTo>
                        <a:pt x="53330" y="436361"/>
                        <a:pt x="62090" y="428818"/>
                        <a:pt x="68415" y="434345"/>
                      </a:cubicBezTo>
                      <a:cubicBezTo>
                        <a:pt x="69112" y="433217"/>
                        <a:pt x="69886" y="431709"/>
                        <a:pt x="70431" y="430733"/>
                      </a:cubicBezTo>
                      <a:cubicBezTo>
                        <a:pt x="64130" y="426575"/>
                        <a:pt x="53901" y="428945"/>
                        <a:pt x="47043" y="428502"/>
                      </a:cubicBezTo>
                      <a:cubicBezTo>
                        <a:pt x="45280" y="428387"/>
                        <a:pt x="40742" y="426993"/>
                        <a:pt x="40235" y="426917"/>
                      </a:cubicBezTo>
                      <a:cubicBezTo>
                        <a:pt x="35165" y="426156"/>
                        <a:pt x="30690" y="428096"/>
                        <a:pt x="25594" y="425332"/>
                      </a:cubicBezTo>
                      <a:cubicBezTo>
                        <a:pt x="29498" y="424014"/>
                        <a:pt x="32972" y="421187"/>
                        <a:pt x="37016" y="420186"/>
                      </a:cubicBezTo>
                      <a:cubicBezTo>
                        <a:pt x="38067" y="419932"/>
                        <a:pt x="39589" y="417029"/>
                        <a:pt x="41249" y="416383"/>
                      </a:cubicBezTo>
                      <a:cubicBezTo>
                        <a:pt x="44431" y="415128"/>
                        <a:pt x="42961" y="423152"/>
                        <a:pt x="49667" y="416687"/>
                      </a:cubicBezTo>
                      <a:cubicBezTo>
                        <a:pt x="32351" y="419362"/>
                        <a:pt x="45484" y="395720"/>
                        <a:pt x="48196" y="398446"/>
                      </a:cubicBezTo>
                      <a:cubicBezTo>
                        <a:pt x="52341" y="394364"/>
                        <a:pt x="51188" y="389420"/>
                        <a:pt x="49020" y="385465"/>
                      </a:cubicBezTo>
                      <a:cubicBezTo>
                        <a:pt x="52975" y="386783"/>
                        <a:pt x="55751" y="386834"/>
                        <a:pt x="59631" y="386466"/>
                      </a:cubicBezTo>
                      <a:cubicBezTo>
                        <a:pt x="59301" y="384134"/>
                        <a:pt x="60074" y="381180"/>
                        <a:pt x="59301" y="379089"/>
                      </a:cubicBezTo>
                      <a:cubicBezTo>
                        <a:pt x="63890" y="382714"/>
                        <a:pt x="61126" y="381649"/>
                        <a:pt x="63497" y="378772"/>
                      </a:cubicBezTo>
                      <a:cubicBezTo>
                        <a:pt x="70722" y="381028"/>
                        <a:pt x="85123" y="371647"/>
                        <a:pt x="88685" y="380268"/>
                      </a:cubicBezTo>
                      <a:cubicBezTo>
                        <a:pt x="89319" y="379672"/>
                        <a:pt x="89775" y="378632"/>
                        <a:pt x="90498" y="377986"/>
                      </a:cubicBezTo>
                      <a:cubicBezTo>
                        <a:pt x="93274" y="381231"/>
                        <a:pt x="95213" y="380990"/>
                        <a:pt x="98814" y="382118"/>
                      </a:cubicBezTo>
                      <a:cubicBezTo>
                        <a:pt x="93527" y="378138"/>
                        <a:pt x="86555" y="375171"/>
                        <a:pt x="83285" y="369581"/>
                      </a:cubicBezTo>
                      <a:cubicBezTo>
                        <a:pt x="82993" y="370380"/>
                        <a:pt x="81180" y="371077"/>
                        <a:pt x="80547" y="371483"/>
                      </a:cubicBezTo>
                      <a:cubicBezTo>
                        <a:pt x="80699" y="372028"/>
                        <a:pt x="82118" y="372256"/>
                        <a:pt x="82258" y="373055"/>
                      </a:cubicBezTo>
                      <a:cubicBezTo>
                        <a:pt x="78252" y="374702"/>
                        <a:pt x="75666" y="374855"/>
                        <a:pt x="72434" y="373245"/>
                      </a:cubicBezTo>
                      <a:cubicBezTo>
                        <a:pt x="71774" y="374373"/>
                        <a:pt x="72839" y="374550"/>
                        <a:pt x="72991" y="375577"/>
                      </a:cubicBezTo>
                      <a:cubicBezTo>
                        <a:pt x="67566" y="375260"/>
                        <a:pt x="69176" y="371698"/>
                        <a:pt x="66869" y="367946"/>
                      </a:cubicBezTo>
                      <a:cubicBezTo>
                        <a:pt x="66793" y="377935"/>
                        <a:pt x="59352" y="366184"/>
                        <a:pt x="62470" y="357196"/>
                      </a:cubicBezTo>
                      <a:cubicBezTo>
                        <a:pt x="64422" y="351492"/>
                        <a:pt x="68415" y="342973"/>
                        <a:pt x="74931" y="343265"/>
                      </a:cubicBezTo>
                      <a:cubicBezTo>
                        <a:pt x="73688" y="343087"/>
                        <a:pt x="72434" y="342922"/>
                        <a:pt x="71179" y="342732"/>
                      </a:cubicBezTo>
                      <a:cubicBezTo>
                        <a:pt x="70887" y="338131"/>
                        <a:pt x="71635" y="337129"/>
                        <a:pt x="75578" y="335912"/>
                      </a:cubicBezTo>
                      <a:cubicBezTo>
                        <a:pt x="75844" y="331843"/>
                        <a:pt x="75362" y="331450"/>
                        <a:pt x="80559" y="332046"/>
                      </a:cubicBezTo>
                      <a:cubicBezTo>
                        <a:pt x="80610" y="327863"/>
                        <a:pt x="80395" y="328497"/>
                        <a:pt x="83069" y="323705"/>
                      </a:cubicBezTo>
                      <a:cubicBezTo>
                        <a:pt x="80217" y="321753"/>
                        <a:pt x="81827" y="321423"/>
                        <a:pt x="80128" y="319040"/>
                      </a:cubicBezTo>
                      <a:cubicBezTo>
                        <a:pt x="82588" y="318799"/>
                        <a:pt x="81865" y="318317"/>
                        <a:pt x="84147" y="317278"/>
                      </a:cubicBezTo>
                      <a:cubicBezTo>
                        <a:pt x="81510" y="317544"/>
                        <a:pt x="79076" y="316162"/>
                        <a:pt x="76566" y="316099"/>
                      </a:cubicBezTo>
                      <a:cubicBezTo>
                        <a:pt x="76782" y="314514"/>
                        <a:pt x="77669" y="313792"/>
                        <a:pt x="78556" y="312511"/>
                      </a:cubicBezTo>
                      <a:cubicBezTo>
                        <a:pt x="77745" y="312461"/>
                        <a:pt x="76059" y="313221"/>
                        <a:pt x="75501" y="313094"/>
                      </a:cubicBezTo>
                      <a:cubicBezTo>
                        <a:pt x="77530" y="308176"/>
                        <a:pt x="82309" y="304525"/>
                        <a:pt x="83069" y="300076"/>
                      </a:cubicBezTo>
                      <a:cubicBezTo>
                        <a:pt x="77314" y="303600"/>
                        <a:pt x="66818" y="308138"/>
                        <a:pt x="66869" y="299480"/>
                      </a:cubicBezTo>
                      <a:cubicBezTo>
                        <a:pt x="65183" y="299480"/>
                        <a:pt x="63547" y="299480"/>
                        <a:pt x="61862" y="299480"/>
                      </a:cubicBezTo>
                      <a:cubicBezTo>
                        <a:pt x="61709" y="300139"/>
                        <a:pt x="62926" y="301166"/>
                        <a:pt x="62850" y="301838"/>
                      </a:cubicBezTo>
                      <a:cubicBezTo>
                        <a:pt x="54192" y="298453"/>
                        <a:pt x="35063" y="291937"/>
                        <a:pt x="31438" y="282899"/>
                      </a:cubicBezTo>
                      <a:cubicBezTo>
                        <a:pt x="31932" y="287881"/>
                        <a:pt x="31438" y="291874"/>
                        <a:pt x="31273" y="294878"/>
                      </a:cubicBezTo>
                      <a:cubicBezTo>
                        <a:pt x="27458" y="295816"/>
                        <a:pt x="26164" y="296640"/>
                        <a:pt x="23363" y="299531"/>
                      </a:cubicBezTo>
                      <a:cubicBezTo>
                        <a:pt x="21436" y="296945"/>
                        <a:pt x="21918" y="293738"/>
                        <a:pt x="24073" y="290289"/>
                      </a:cubicBezTo>
                      <a:cubicBezTo>
                        <a:pt x="19256" y="288933"/>
                        <a:pt x="17696" y="282646"/>
                        <a:pt x="13855" y="279704"/>
                      </a:cubicBezTo>
                      <a:cubicBezTo>
                        <a:pt x="11523" y="277930"/>
                        <a:pt x="8088" y="278830"/>
                        <a:pt x="6021" y="277436"/>
                      </a:cubicBezTo>
                      <a:cubicBezTo>
                        <a:pt x="4145" y="276155"/>
                        <a:pt x="2535" y="273265"/>
                        <a:pt x="0" y="271655"/>
                      </a:cubicBezTo>
                      <a:cubicBezTo>
                        <a:pt x="6364" y="267941"/>
                        <a:pt x="3321" y="259346"/>
                        <a:pt x="13196" y="262135"/>
                      </a:cubicBezTo>
                      <a:cubicBezTo>
                        <a:pt x="-5666" y="263276"/>
                        <a:pt x="12195" y="246593"/>
                        <a:pt x="17848" y="242664"/>
                      </a:cubicBezTo>
                      <a:cubicBezTo>
                        <a:pt x="26671" y="236516"/>
                        <a:pt x="36496" y="231990"/>
                        <a:pt x="42454" y="222064"/>
                      </a:cubicBezTo>
                      <a:cubicBezTo>
                        <a:pt x="44190" y="223839"/>
                        <a:pt x="47904" y="226260"/>
                        <a:pt x="50655" y="224460"/>
                      </a:cubicBezTo>
                      <a:cubicBezTo>
                        <a:pt x="55219" y="221494"/>
                        <a:pt x="49641" y="221038"/>
                        <a:pt x="53850" y="217006"/>
                      </a:cubicBezTo>
                      <a:cubicBezTo>
                        <a:pt x="56411" y="214547"/>
                        <a:pt x="68669" y="208602"/>
                        <a:pt x="71229" y="207917"/>
                      </a:cubicBezTo>
                      <a:cubicBezTo>
                        <a:pt x="73359" y="207334"/>
                        <a:pt x="78658" y="209768"/>
                        <a:pt x="79875" y="209134"/>
                      </a:cubicBezTo>
                      <a:cubicBezTo>
                        <a:pt x="81358" y="208374"/>
                        <a:pt x="82410" y="204900"/>
                        <a:pt x="83944" y="203772"/>
                      </a:cubicBezTo>
                      <a:cubicBezTo>
                        <a:pt x="90878" y="198613"/>
                        <a:pt x="91715" y="196217"/>
                        <a:pt x="100639" y="197206"/>
                      </a:cubicBezTo>
                      <a:cubicBezTo>
                        <a:pt x="91220" y="186177"/>
                        <a:pt x="122138" y="187432"/>
                        <a:pt x="125206" y="184948"/>
                      </a:cubicBezTo>
                      <a:cubicBezTo>
                        <a:pt x="125104" y="184909"/>
                        <a:pt x="122405" y="184402"/>
                        <a:pt x="122645" y="184567"/>
                      </a:cubicBezTo>
                      <a:cubicBezTo>
                        <a:pt x="130416" y="181284"/>
                        <a:pt x="131126" y="172841"/>
                        <a:pt x="135613" y="168595"/>
                      </a:cubicBezTo>
                      <a:cubicBezTo>
                        <a:pt x="140798" y="163752"/>
                        <a:pt x="144690" y="162307"/>
                        <a:pt x="149177" y="156603"/>
                      </a:cubicBezTo>
                      <a:cubicBezTo>
                        <a:pt x="152828" y="152014"/>
                        <a:pt x="154666" y="145739"/>
                        <a:pt x="161131" y="144928"/>
                      </a:cubicBezTo>
                      <a:cubicBezTo>
                        <a:pt x="161258" y="145372"/>
                        <a:pt x="160105" y="146360"/>
                        <a:pt x="160105" y="146829"/>
                      </a:cubicBezTo>
                      <a:cubicBezTo>
                        <a:pt x="162310" y="145448"/>
                        <a:pt x="164351" y="132758"/>
                        <a:pt x="166735" y="127738"/>
                      </a:cubicBezTo>
                      <a:cubicBezTo>
                        <a:pt x="170081" y="120677"/>
                        <a:pt x="168915" y="119816"/>
                        <a:pt x="177852" y="115480"/>
                      </a:cubicBezTo>
                      <a:cubicBezTo>
                        <a:pt x="176964" y="114567"/>
                        <a:pt x="175253" y="113110"/>
                        <a:pt x="174289" y="112412"/>
                      </a:cubicBezTo>
                      <a:cubicBezTo>
                        <a:pt x="177966" y="113414"/>
                        <a:pt x="178891" y="112780"/>
                        <a:pt x="182364" y="115949"/>
                      </a:cubicBezTo>
                      <a:cubicBezTo>
                        <a:pt x="190021" y="108977"/>
                        <a:pt x="197323" y="103197"/>
                        <a:pt x="203674" y="117268"/>
                      </a:cubicBezTo>
                      <a:cubicBezTo>
                        <a:pt x="199896" y="121096"/>
                        <a:pt x="206729" y="123403"/>
                        <a:pt x="211280" y="125685"/>
                      </a:cubicBezTo>
                      <a:cubicBezTo>
                        <a:pt x="208757" y="126775"/>
                        <a:pt x="207768" y="128613"/>
                        <a:pt x="205727" y="129868"/>
                      </a:cubicBezTo>
                      <a:cubicBezTo>
                        <a:pt x="211051" y="132517"/>
                        <a:pt x="213384" y="129196"/>
                        <a:pt x="219380" y="130920"/>
                      </a:cubicBezTo>
                      <a:cubicBezTo>
                        <a:pt x="219190" y="131782"/>
                        <a:pt x="217986" y="132277"/>
                        <a:pt x="217909" y="132733"/>
                      </a:cubicBezTo>
                      <a:cubicBezTo>
                        <a:pt x="222131" y="133265"/>
                        <a:pt x="225718" y="134013"/>
                        <a:pt x="229610" y="134647"/>
                      </a:cubicBezTo>
                      <a:cubicBezTo>
                        <a:pt x="231879" y="135002"/>
                        <a:pt x="235631" y="133468"/>
                        <a:pt x="238129" y="133924"/>
                      </a:cubicBezTo>
                      <a:cubicBezTo>
                        <a:pt x="237977" y="133887"/>
                        <a:pt x="242058" y="138209"/>
                        <a:pt x="244023" y="138678"/>
                      </a:cubicBezTo>
                      <a:cubicBezTo>
                        <a:pt x="252567" y="140719"/>
                        <a:pt x="264838" y="136853"/>
                        <a:pt x="272051" y="135737"/>
                      </a:cubicBezTo>
                      <a:cubicBezTo>
                        <a:pt x="272926" y="140453"/>
                        <a:pt x="273572" y="138691"/>
                        <a:pt x="275664" y="140123"/>
                      </a:cubicBezTo>
                      <a:cubicBezTo>
                        <a:pt x="277603" y="143153"/>
                        <a:pt x="276222" y="142671"/>
                        <a:pt x="280671" y="142519"/>
                      </a:cubicBezTo>
                      <a:cubicBezTo>
                        <a:pt x="280341" y="142925"/>
                        <a:pt x="279986" y="143356"/>
                        <a:pt x="279619" y="143774"/>
                      </a:cubicBezTo>
                      <a:cubicBezTo>
                        <a:pt x="287478" y="144269"/>
                        <a:pt x="294679" y="130033"/>
                        <a:pt x="292853" y="123935"/>
                      </a:cubicBezTo>
                      <a:cubicBezTo>
                        <a:pt x="291230" y="118485"/>
                        <a:pt x="287022" y="118801"/>
                        <a:pt x="283675" y="114517"/>
                      </a:cubicBezTo>
                      <a:cubicBezTo>
                        <a:pt x="273572" y="101485"/>
                        <a:pt x="267830" y="88340"/>
                        <a:pt x="289430" y="86679"/>
                      </a:cubicBezTo>
                      <a:cubicBezTo>
                        <a:pt x="302056" y="85716"/>
                        <a:pt x="311462" y="88175"/>
                        <a:pt x="323403" y="86654"/>
                      </a:cubicBezTo>
                      <a:cubicBezTo>
                        <a:pt x="332620" y="85475"/>
                        <a:pt x="346830" y="87161"/>
                        <a:pt x="350645" y="75549"/>
                      </a:cubicBezTo>
                      <a:cubicBezTo>
                        <a:pt x="360685" y="78642"/>
                        <a:pt x="359848" y="65877"/>
                        <a:pt x="362701" y="62822"/>
                      </a:cubicBezTo>
                      <a:cubicBezTo>
                        <a:pt x="361699" y="61973"/>
                        <a:pt x="360774" y="61630"/>
                        <a:pt x="360191" y="60996"/>
                      </a:cubicBezTo>
                      <a:cubicBezTo>
                        <a:pt x="362802" y="57663"/>
                        <a:pt x="367657" y="53872"/>
                        <a:pt x="371904" y="51933"/>
                      </a:cubicBezTo>
                      <a:cubicBezTo>
                        <a:pt x="371929" y="51692"/>
                        <a:pt x="371055" y="50259"/>
                        <a:pt x="371004" y="49727"/>
                      </a:cubicBezTo>
                      <a:cubicBezTo>
                        <a:pt x="378597" y="50462"/>
                        <a:pt x="387800" y="61263"/>
                        <a:pt x="389613" y="49499"/>
                      </a:cubicBezTo>
                      <a:cubicBezTo>
                        <a:pt x="409452" y="57270"/>
                        <a:pt x="395837" y="6158"/>
                        <a:pt x="412925" y="2558"/>
                      </a:cubicBezTo>
                      <a:cubicBezTo>
                        <a:pt x="412748" y="2025"/>
                        <a:pt x="411189" y="1835"/>
                        <a:pt x="410922" y="796"/>
                      </a:cubicBezTo>
                      <a:cubicBezTo>
                        <a:pt x="414687" y="-1093"/>
                        <a:pt x="417070" y="568"/>
                        <a:pt x="419542" y="3813"/>
                      </a:cubicBezTo>
                      <a:lnTo>
                        <a:pt x="419542" y="3813"/>
                      </a:lnTo>
                      <a:close/>
                    </a:path>
                  </a:pathLst>
                </a:custGeom>
                <a:solidFill>
                  <a:srgbClr val="D6D6D2"/>
                </a:solidFill>
                <a:ln w="12413" cap="rnd">
                  <a:solidFill>
                    <a:srgbClr val="FFFFFF"/>
                  </a:solidFill>
                  <a:prstDash val="solid"/>
                  <a:round/>
                </a:ln>
              </p:spPr>
              <p:txBody>
                <a:bodyPr rtlCol="0" anchor="ctr"/>
                <a:lstStyle/>
                <a:p>
                  <a:endParaRPr lang="en-US"/>
                </a:p>
              </p:txBody>
            </p:sp>
            <p:sp>
              <p:nvSpPr>
                <p:cNvPr id="79" name="Freeform: Shape 78">
                  <a:extLst>
                    <a:ext uri="{FF2B5EF4-FFF2-40B4-BE49-F238E27FC236}">
                      <a16:creationId xmlns:a16="http://schemas.microsoft.com/office/drawing/2014/main" id="{FDDC9BE0-0CCF-4960-B30C-F33C39A341D1}"/>
                    </a:ext>
                  </a:extLst>
                </p:cNvPr>
                <p:cNvSpPr/>
                <p:nvPr/>
              </p:nvSpPr>
              <p:spPr>
                <a:xfrm>
                  <a:off x="6336675" y="5043089"/>
                  <a:ext cx="1117381" cy="645413"/>
                </a:xfrm>
                <a:custGeom>
                  <a:avLst/>
                  <a:gdLst>
                    <a:gd name="connsiteX0" fmla="*/ 723984 w 1117381"/>
                    <a:gd name="connsiteY0" fmla="*/ 551936 h 645413"/>
                    <a:gd name="connsiteX1" fmla="*/ 739335 w 1117381"/>
                    <a:gd name="connsiteY1" fmla="*/ 562533 h 645413"/>
                    <a:gd name="connsiteX2" fmla="*/ 737675 w 1117381"/>
                    <a:gd name="connsiteY2" fmla="*/ 572915 h 645413"/>
                    <a:gd name="connsiteX3" fmla="*/ 707264 w 1117381"/>
                    <a:gd name="connsiteY3" fmla="*/ 566260 h 645413"/>
                    <a:gd name="connsiteX4" fmla="*/ 706794 w 1117381"/>
                    <a:gd name="connsiteY4" fmla="*/ 548805 h 645413"/>
                    <a:gd name="connsiteX5" fmla="*/ 723984 w 1117381"/>
                    <a:gd name="connsiteY5" fmla="*/ 551936 h 645413"/>
                    <a:gd name="connsiteX6" fmla="*/ 723984 w 1117381"/>
                    <a:gd name="connsiteY6" fmla="*/ 551936 h 645413"/>
                    <a:gd name="connsiteX7" fmla="*/ 1031136 w 1117381"/>
                    <a:gd name="connsiteY7" fmla="*/ 260034 h 645413"/>
                    <a:gd name="connsiteX8" fmla="*/ 1037132 w 1117381"/>
                    <a:gd name="connsiteY8" fmla="*/ 265282 h 645413"/>
                    <a:gd name="connsiteX9" fmla="*/ 1047527 w 1117381"/>
                    <a:gd name="connsiteY9" fmla="*/ 266207 h 645413"/>
                    <a:gd name="connsiteX10" fmla="*/ 1049910 w 1117381"/>
                    <a:gd name="connsiteY10" fmla="*/ 264749 h 645413"/>
                    <a:gd name="connsiteX11" fmla="*/ 1056565 w 1117381"/>
                    <a:gd name="connsiteY11" fmla="*/ 277324 h 645413"/>
                    <a:gd name="connsiteX12" fmla="*/ 1066655 w 1117381"/>
                    <a:gd name="connsiteY12" fmla="*/ 290533 h 645413"/>
                    <a:gd name="connsiteX13" fmla="*/ 1092338 w 1117381"/>
                    <a:gd name="connsiteY13" fmla="*/ 311285 h 645413"/>
                    <a:gd name="connsiteX14" fmla="*/ 1112557 w 1117381"/>
                    <a:gd name="connsiteY14" fmla="*/ 357846 h 645413"/>
                    <a:gd name="connsiteX15" fmla="*/ 1112810 w 1117381"/>
                    <a:gd name="connsiteY15" fmla="*/ 351799 h 645413"/>
                    <a:gd name="connsiteX16" fmla="*/ 1110072 w 1117381"/>
                    <a:gd name="connsiteY16" fmla="*/ 357326 h 645413"/>
                    <a:gd name="connsiteX17" fmla="*/ 1098638 w 1117381"/>
                    <a:gd name="connsiteY17" fmla="*/ 362194 h 645413"/>
                    <a:gd name="connsiteX18" fmla="*/ 1085455 w 1117381"/>
                    <a:gd name="connsiteY18" fmla="*/ 360622 h 645413"/>
                    <a:gd name="connsiteX19" fmla="*/ 1057896 w 1117381"/>
                    <a:gd name="connsiteY19" fmla="*/ 337107 h 645413"/>
                    <a:gd name="connsiteX20" fmla="*/ 1062574 w 1117381"/>
                    <a:gd name="connsiteY20" fmla="*/ 326509 h 645413"/>
                    <a:gd name="connsiteX21" fmla="*/ 1048516 w 1117381"/>
                    <a:gd name="connsiteY21" fmla="*/ 316013 h 645413"/>
                    <a:gd name="connsiteX22" fmla="*/ 1034064 w 1117381"/>
                    <a:gd name="connsiteY22" fmla="*/ 301042 h 645413"/>
                    <a:gd name="connsiteX23" fmla="*/ 1025470 w 1117381"/>
                    <a:gd name="connsiteY23" fmla="*/ 265788 h 645413"/>
                    <a:gd name="connsiteX24" fmla="*/ 1027409 w 1117381"/>
                    <a:gd name="connsiteY24" fmla="*/ 267272 h 645413"/>
                    <a:gd name="connsiteX25" fmla="*/ 1022947 w 1117381"/>
                    <a:gd name="connsiteY25" fmla="*/ 256167 h 645413"/>
                    <a:gd name="connsiteX26" fmla="*/ 1031136 w 1117381"/>
                    <a:gd name="connsiteY26" fmla="*/ 260034 h 645413"/>
                    <a:gd name="connsiteX27" fmla="*/ 1031136 w 1117381"/>
                    <a:gd name="connsiteY27" fmla="*/ 260034 h 645413"/>
                    <a:gd name="connsiteX28" fmla="*/ 840570 w 1117381"/>
                    <a:gd name="connsiteY28" fmla="*/ 164744 h 645413"/>
                    <a:gd name="connsiteX29" fmla="*/ 837299 w 1117381"/>
                    <a:gd name="connsiteY29" fmla="*/ 166189 h 645413"/>
                    <a:gd name="connsiteX30" fmla="*/ 853829 w 1117381"/>
                    <a:gd name="connsiteY30" fmla="*/ 174961 h 645413"/>
                    <a:gd name="connsiteX31" fmla="*/ 850635 w 1117381"/>
                    <a:gd name="connsiteY31" fmla="*/ 190515 h 645413"/>
                    <a:gd name="connsiteX32" fmla="*/ 851903 w 1117381"/>
                    <a:gd name="connsiteY32" fmla="*/ 208972 h 645413"/>
                    <a:gd name="connsiteX33" fmla="*/ 829744 w 1117381"/>
                    <a:gd name="connsiteY33" fmla="*/ 223500 h 645413"/>
                    <a:gd name="connsiteX34" fmla="*/ 823368 w 1117381"/>
                    <a:gd name="connsiteY34" fmla="*/ 237178 h 645413"/>
                    <a:gd name="connsiteX35" fmla="*/ 831049 w 1117381"/>
                    <a:gd name="connsiteY35" fmla="*/ 256902 h 645413"/>
                    <a:gd name="connsiteX36" fmla="*/ 812580 w 1117381"/>
                    <a:gd name="connsiteY36" fmla="*/ 267031 h 645413"/>
                    <a:gd name="connsiteX37" fmla="*/ 804745 w 1117381"/>
                    <a:gd name="connsiteY37" fmla="*/ 264305 h 645413"/>
                    <a:gd name="connsiteX38" fmla="*/ 795200 w 1117381"/>
                    <a:gd name="connsiteY38" fmla="*/ 266777 h 645413"/>
                    <a:gd name="connsiteX39" fmla="*/ 784831 w 1117381"/>
                    <a:gd name="connsiteY39" fmla="*/ 263431 h 645413"/>
                    <a:gd name="connsiteX40" fmla="*/ 785921 w 1117381"/>
                    <a:gd name="connsiteY40" fmla="*/ 269921 h 645413"/>
                    <a:gd name="connsiteX41" fmla="*/ 788786 w 1117381"/>
                    <a:gd name="connsiteY41" fmla="*/ 273394 h 645413"/>
                    <a:gd name="connsiteX42" fmla="*/ 784717 w 1117381"/>
                    <a:gd name="connsiteY42" fmla="*/ 275080 h 645413"/>
                    <a:gd name="connsiteX43" fmla="*/ 778975 w 1117381"/>
                    <a:gd name="connsiteY43" fmla="*/ 282129 h 645413"/>
                    <a:gd name="connsiteX44" fmla="*/ 736204 w 1117381"/>
                    <a:gd name="connsiteY44" fmla="*/ 299166 h 645413"/>
                    <a:gd name="connsiteX45" fmla="*/ 704741 w 1117381"/>
                    <a:gd name="connsiteY45" fmla="*/ 319461 h 645413"/>
                    <a:gd name="connsiteX46" fmla="*/ 688654 w 1117381"/>
                    <a:gd name="connsiteY46" fmla="*/ 317192 h 645413"/>
                    <a:gd name="connsiteX47" fmla="*/ 676409 w 1117381"/>
                    <a:gd name="connsiteY47" fmla="*/ 321832 h 645413"/>
                    <a:gd name="connsiteX48" fmla="*/ 646721 w 1117381"/>
                    <a:gd name="connsiteY48" fmla="*/ 319169 h 645413"/>
                    <a:gd name="connsiteX49" fmla="*/ 628111 w 1117381"/>
                    <a:gd name="connsiteY49" fmla="*/ 303273 h 645413"/>
                    <a:gd name="connsiteX50" fmla="*/ 613610 w 1117381"/>
                    <a:gd name="connsiteY50" fmla="*/ 304186 h 645413"/>
                    <a:gd name="connsiteX51" fmla="*/ 605471 w 1117381"/>
                    <a:gd name="connsiteY51" fmla="*/ 310068 h 645413"/>
                    <a:gd name="connsiteX52" fmla="*/ 604013 w 1117381"/>
                    <a:gd name="connsiteY52" fmla="*/ 303184 h 645413"/>
                    <a:gd name="connsiteX53" fmla="*/ 605471 w 1117381"/>
                    <a:gd name="connsiteY53" fmla="*/ 298608 h 645413"/>
                    <a:gd name="connsiteX54" fmla="*/ 590779 w 1117381"/>
                    <a:gd name="connsiteY54" fmla="*/ 296631 h 645413"/>
                    <a:gd name="connsiteX55" fmla="*/ 592820 w 1117381"/>
                    <a:gd name="connsiteY55" fmla="*/ 294577 h 645413"/>
                    <a:gd name="connsiteX56" fmla="*/ 585227 w 1117381"/>
                    <a:gd name="connsiteY56" fmla="*/ 293056 h 645413"/>
                    <a:gd name="connsiteX57" fmla="*/ 559949 w 1117381"/>
                    <a:gd name="connsiteY57" fmla="*/ 282902 h 645413"/>
                    <a:gd name="connsiteX58" fmla="*/ 563752 w 1117381"/>
                    <a:gd name="connsiteY58" fmla="*/ 259780 h 645413"/>
                    <a:gd name="connsiteX59" fmla="*/ 568772 w 1117381"/>
                    <a:gd name="connsiteY59" fmla="*/ 264192 h 645413"/>
                    <a:gd name="connsiteX60" fmla="*/ 576327 w 1117381"/>
                    <a:gd name="connsiteY60" fmla="*/ 259881 h 645413"/>
                    <a:gd name="connsiteX61" fmla="*/ 590880 w 1117381"/>
                    <a:gd name="connsiteY61" fmla="*/ 262885 h 645413"/>
                    <a:gd name="connsiteX62" fmla="*/ 598005 w 1117381"/>
                    <a:gd name="connsiteY62" fmla="*/ 259805 h 645413"/>
                    <a:gd name="connsiteX63" fmla="*/ 612025 w 1117381"/>
                    <a:gd name="connsiteY63" fmla="*/ 264027 h 645413"/>
                    <a:gd name="connsiteX64" fmla="*/ 627401 w 1117381"/>
                    <a:gd name="connsiteY64" fmla="*/ 267551 h 645413"/>
                    <a:gd name="connsiteX65" fmla="*/ 651461 w 1117381"/>
                    <a:gd name="connsiteY65" fmla="*/ 259666 h 645413"/>
                    <a:gd name="connsiteX66" fmla="*/ 660182 w 1117381"/>
                    <a:gd name="connsiteY66" fmla="*/ 261757 h 645413"/>
                    <a:gd name="connsiteX67" fmla="*/ 673062 w 1117381"/>
                    <a:gd name="connsiteY67" fmla="*/ 258284 h 645413"/>
                    <a:gd name="connsiteX68" fmla="*/ 669766 w 1117381"/>
                    <a:gd name="connsiteY68" fmla="*/ 249373 h 645413"/>
                    <a:gd name="connsiteX69" fmla="*/ 675813 w 1117381"/>
                    <a:gd name="connsiteY69" fmla="*/ 243148 h 645413"/>
                    <a:gd name="connsiteX70" fmla="*/ 676536 w 1117381"/>
                    <a:gd name="connsiteY70" fmla="*/ 234870 h 645413"/>
                    <a:gd name="connsiteX71" fmla="*/ 678057 w 1117381"/>
                    <a:gd name="connsiteY71" fmla="*/ 226973 h 645413"/>
                    <a:gd name="connsiteX72" fmla="*/ 690442 w 1117381"/>
                    <a:gd name="connsiteY72" fmla="*/ 228963 h 645413"/>
                    <a:gd name="connsiteX73" fmla="*/ 682303 w 1117381"/>
                    <a:gd name="connsiteY73" fmla="*/ 234845 h 645413"/>
                    <a:gd name="connsiteX74" fmla="*/ 681251 w 1117381"/>
                    <a:gd name="connsiteY74" fmla="*/ 244289 h 645413"/>
                    <a:gd name="connsiteX75" fmla="*/ 680718 w 1117381"/>
                    <a:gd name="connsiteY75" fmla="*/ 251173 h 645413"/>
                    <a:gd name="connsiteX76" fmla="*/ 685992 w 1117381"/>
                    <a:gd name="connsiteY76" fmla="*/ 263798 h 645413"/>
                    <a:gd name="connsiteX77" fmla="*/ 706782 w 1117381"/>
                    <a:gd name="connsiteY77" fmla="*/ 258043 h 645413"/>
                    <a:gd name="connsiteX78" fmla="*/ 720320 w 1117381"/>
                    <a:gd name="connsiteY78" fmla="*/ 262873 h 645413"/>
                    <a:gd name="connsiteX79" fmla="*/ 731070 w 1117381"/>
                    <a:gd name="connsiteY79" fmla="*/ 261605 h 645413"/>
                    <a:gd name="connsiteX80" fmla="*/ 733098 w 1117381"/>
                    <a:gd name="connsiteY80" fmla="*/ 258246 h 645413"/>
                    <a:gd name="connsiteX81" fmla="*/ 738169 w 1117381"/>
                    <a:gd name="connsiteY81" fmla="*/ 258563 h 645413"/>
                    <a:gd name="connsiteX82" fmla="*/ 747309 w 1117381"/>
                    <a:gd name="connsiteY82" fmla="*/ 257371 h 645413"/>
                    <a:gd name="connsiteX83" fmla="*/ 751479 w 1117381"/>
                    <a:gd name="connsiteY83" fmla="*/ 245113 h 645413"/>
                    <a:gd name="connsiteX84" fmla="*/ 761531 w 1117381"/>
                    <a:gd name="connsiteY84" fmla="*/ 231435 h 645413"/>
                    <a:gd name="connsiteX85" fmla="*/ 776705 w 1117381"/>
                    <a:gd name="connsiteY85" fmla="*/ 217275 h 645413"/>
                    <a:gd name="connsiteX86" fmla="*/ 800144 w 1117381"/>
                    <a:gd name="connsiteY86" fmla="*/ 210633 h 645413"/>
                    <a:gd name="connsiteX87" fmla="*/ 789636 w 1117381"/>
                    <a:gd name="connsiteY87" fmla="*/ 176229 h 645413"/>
                    <a:gd name="connsiteX88" fmla="*/ 804328 w 1117381"/>
                    <a:gd name="connsiteY88" fmla="*/ 166024 h 645413"/>
                    <a:gd name="connsiteX89" fmla="*/ 823988 w 1117381"/>
                    <a:gd name="connsiteY89" fmla="*/ 164807 h 645413"/>
                    <a:gd name="connsiteX90" fmla="*/ 840570 w 1117381"/>
                    <a:gd name="connsiteY90" fmla="*/ 164744 h 645413"/>
                    <a:gd name="connsiteX91" fmla="*/ 840570 w 1117381"/>
                    <a:gd name="connsiteY91" fmla="*/ 164744 h 645413"/>
                    <a:gd name="connsiteX92" fmla="*/ 19131 w 1117381"/>
                    <a:gd name="connsiteY92" fmla="*/ 48183 h 645413"/>
                    <a:gd name="connsiteX93" fmla="*/ 65058 w 1117381"/>
                    <a:gd name="connsiteY93" fmla="*/ 67693 h 645413"/>
                    <a:gd name="connsiteX94" fmla="*/ 87889 w 1117381"/>
                    <a:gd name="connsiteY94" fmla="*/ 76845 h 645413"/>
                    <a:gd name="connsiteX95" fmla="*/ 90665 w 1117381"/>
                    <a:gd name="connsiteY95" fmla="*/ 81776 h 645413"/>
                    <a:gd name="connsiteX96" fmla="*/ 98334 w 1117381"/>
                    <a:gd name="connsiteY96" fmla="*/ 83247 h 645413"/>
                    <a:gd name="connsiteX97" fmla="*/ 160182 w 1117381"/>
                    <a:gd name="connsiteY97" fmla="*/ 103288 h 645413"/>
                    <a:gd name="connsiteX98" fmla="*/ 178716 w 1117381"/>
                    <a:gd name="connsiteY98" fmla="*/ 105468 h 645413"/>
                    <a:gd name="connsiteX99" fmla="*/ 206097 w 1117381"/>
                    <a:gd name="connsiteY99" fmla="*/ 118373 h 645413"/>
                    <a:gd name="connsiteX100" fmla="*/ 221220 w 1117381"/>
                    <a:gd name="connsiteY100" fmla="*/ 127146 h 645413"/>
                    <a:gd name="connsiteX101" fmla="*/ 244266 w 1117381"/>
                    <a:gd name="connsiteY101" fmla="*/ 135994 h 645413"/>
                    <a:gd name="connsiteX102" fmla="*/ 241237 w 1117381"/>
                    <a:gd name="connsiteY102" fmla="*/ 136995 h 645413"/>
                    <a:gd name="connsiteX103" fmla="*/ 272674 w 1117381"/>
                    <a:gd name="connsiteY103" fmla="*/ 142104 h 645413"/>
                    <a:gd name="connsiteX104" fmla="*/ 276693 w 1117381"/>
                    <a:gd name="connsiteY104" fmla="*/ 151205 h 645413"/>
                    <a:gd name="connsiteX105" fmla="*/ 291410 w 1117381"/>
                    <a:gd name="connsiteY105" fmla="*/ 155845 h 645413"/>
                    <a:gd name="connsiteX106" fmla="*/ 299244 w 1117381"/>
                    <a:gd name="connsiteY106" fmla="*/ 163806 h 645413"/>
                    <a:gd name="connsiteX107" fmla="*/ 319260 w 1117381"/>
                    <a:gd name="connsiteY107" fmla="*/ 179461 h 645413"/>
                    <a:gd name="connsiteX108" fmla="*/ 331392 w 1117381"/>
                    <a:gd name="connsiteY108" fmla="*/ 179461 h 645413"/>
                    <a:gd name="connsiteX109" fmla="*/ 343802 w 1117381"/>
                    <a:gd name="connsiteY109" fmla="*/ 193279 h 645413"/>
                    <a:gd name="connsiteX110" fmla="*/ 362690 w 1117381"/>
                    <a:gd name="connsiteY110" fmla="*/ 210519 h 645413"/>
                    <a:gd name="connsiteX111" fmla="*/ 364972 w 1117381"/>
                    <a:gd name="connsiteY111" fmla="*/ 226998 h 645413"/>
                    <a:gd name="connsiteX112" fmla="*/ 360840 w 1117381"/>
                    <a:gd name="connsiteY112" fmla="*/ 247332 h 645413"/>
                    <a:gd name="connsiteX113" fmla="*/ 371398 w 1117381"/>
                    <a:gd name="connsiteY113" fmla="*/ 262252 h 645413"/>
                    <a:gd name="connsiteX114" fmla="*/ 407958 w 1117381"/>
                    <a:gd name="connsiteY114" fmla="*/ 268691 h 645413"/>
                    <a:gd name="connsiteX115" fmla="*/ 437393 w 1117381"/>
                    <a:gd name="connsiteY115" fmla="*/ 282813 h 645413"/>
                    <a:gd name="connsiteX116" fmla="*/ 459754 w 1117381"/>
                    <a:gd name="connsiteY116" fmla="*/ 292701 h 645413"/>
                    <a:gd name="connsiteX117" fmla="*/ 479909 w 1117381"/>
                    <a:gd name="connsiteY117" fmla="*/ 293563 h 645413"/>
                    <a:gd name="connsiteX118" fmla="*/ 503983 w 1117381"/>
                    <a:gd name="connsiteY118" fmla="*/ 311830 h 645413"/>
                    <a:gd name="connsiteX119" fmla="*/ 516951 w 1117381"/>
                    <a:gd name="connsiteY119" fmla="*/ 335104 h 645413"/>
                    <a:gd name="connsiteX120" fmla="*/ 516849 w 1117381"/>
                    <a:gd name="connsiteY120" fmla="*/ 343496 h 645413"/>
                    <a:gd name="connsiteX121" fmla="*/ 509662 w 1117381"/>
                    <a:gd name="connsiteY121" fmla="*/ 351241 h 645413"/>
                    <a:gd name="connsiteX122" fmla="*/ 496098 w 1117381"/>
                    <a:gd name="connsiteY122" fmla="*/ 353396 h 645413"/>
                    <a:gd name="connsiteX123" fmla="*/ 457916 w 1117381"/>
                    <a:gd name="connsiteY123" fmla="*/ 351735 h 645413"/>
                    <a:gd name="connsiteX124" fmla="*/ 459044 w 1117381"/>
                    <a:gd name="connsiteY124" fmla="*/ 373019 h 645413"/>
                    <a:gd name="connsiteX125" fmla="*/ 464698 w 1117381"/>
                    <a:gd name="connsiteY125" fmla="*/ 394899 h 645413"/>
                    <a:gd name="connsiteX126" fmla="*/ 469579 w 1117381"/>
                    <a:gd name="connsiteY126" fmla="*/ 407588 h 645413"/>
                    <a:gd name="connsiteX127" fmla="*/ 485995 w 1117381"/>
                    <a:gd name="connsiteY127" fmla="*/ 414687 h 645413"/>
                    <a:gd name="connsiteX128" fmla="*/ 498544 w 1117381"/>
                    <a:gd name="connsiteY128" fmla="*/ 432320 h 645413"/>
                    <a:gd name="connsiteX129" fmla="*/ 502119 w 1117381"/>
                    <a:gd name="connsiteY129" fmla="*/ 431826 h 645413"/>
                    <a:gd name="connsiteX130" fmla="*/ 500636 w 1117381"/>
                    <a:gd name="connsiteY130" fmla="*/ 428771 h 645413"/>
                    <a:gd name="connsiteX131" fmla="*/ 509358 w 1117381"/>
                    <a:gd name="connsiteY131" fmla="*/ 441473 h 645413"/>
                    <a:gd name="connsiteX132" fmla="*/ 518459 w 1117381"/>
                    <a:gd name="connsiteY132" fmla="*/ 441257 h 645413"/>
                    <a:gd name="connsiteX133" fmla="*/ 538437 w 1117381"/>
                    <a:gd name="connsiteY133" fmla="*/ 449281 h 645413"/>
                    <a:gd name="connsiteX134" fmla="*/ 543178 w 1117381"/>
                    <a:gd name="connsiteY134" fmla="*/ 468549 h 645413"/>
                    <a:gd name="connsiteX135" fmla="*/ 544205 w 1117381"/>
                    <a:gd name="connsiteY135" fmla="*/ 485536 h 645413"/>
                    <a:gd name="connsiteX136" fmla="*/ 556667 w 1117381"/>
                    <a:gd name="connsiteY136" fmla="*/ 493282 h 645413"/>
                    <a:gd name="connsiteX137" fmla="*/ 564044 w 1117381"/>
                    <a:gd name="connsiteY137" fmla="*/ 510078 h 645413"/>
                    <a:gd name="connsiteX138" fmla="*/ 587470 w 1117381"/>
                    <a:gd name="connsiteY138" fmla="*/ 526608 h 645413"/>
                    <a:gd name="connsiteX139" fmla="*/ 612012 w 1117381"/>
                    <a:gd name="connsiteY139" fmla="*/ 518064 h 645413"/>
                    <a:gd name="connsiteX140" fmla="*/ 625703 w 1117381"/>
                    <a:gd name="connsiteY140" fmla="*/ 527217 h 645413"/>
                    <a:gd name="connsiteX141" fmla="*/ 623180 w 1117381"/>
                    <a:gd name="connsiteY141" fmla="*/ 527660 h 645413"/>
                    <a:gd name="connsiteX142" fmla="*/ 622318 w 1117381"/>
                    <a:gd name="connsiteY142" fmla="*/ 557526 h 645413"/>
                    <a:gd name="connsiteX143" fmla="*/ 657305 w 1117381"/>
                    <a:gd name="connsiteY143" fmla="*/ 564511 h 645413"/>
                    <a:gd name="connsiteX144" fmla="*/ 678260 w 1117381"/>
                    <a:gd name="connsiteY144" fmla="*/ 570342 h 645413"/>
                    <a:gd name="connsiteX145" fmla="*/ 662275 w 1117381"/>
                    <a:gd name="connsiteY145" fmla="*/ 577936 h 645413"/>
                    <a:gd name="connsiteX146" fmla="*/ 683685 w 1117381"/>
                    <a:gd name="connsiteY146" fmla="*/ 601133 h 645413"/>
                    <a:gd name="connsiteX147" fmla="*/ 719915 w 1117381"/>
                    <a:gd name="connsiteY147" fmla="*/ 609513 h 645413"/>
                    <a:gd name="connsiteX148" fmla="*/ 740058 w 1117381"/>
                    <a:gd name="connsiteY148" fmla="*/ 610831 h 645413"/>
                    <a:gd name="connsiteX149" fmla="*/ 720967 w 1117381"/>
                    <a:gd name="connsiteY149" fmla="*/ 619742 h 645413"/>
                    <a:gd name="connsiteX150" fmla="*/ 706021 w 1117381"/>
                    <a:gd name="connsiteY150" fmla="*/ 616434 h 645413"/>
                    <a:gd name="connsiteX151" fmla="*/ 725036 w 1117381"/>
                    <a:gd name="connsiteY151" fmla="*/ 631012 h 645413"/>
                    <a:gd name="connsiteX152" fmla="*/ 689592 w 1117381"/>
                    <a:gd name="connsiteY152" fmla="*/ 642421 h 645413"/>
                    <a:gd name="connsiteX153" fmla="*/ 676358 w 1117381"/>
                    <a:gd name="connsiteY153" fmla="*/ 639594 h 645413"/>
                    <a:gd name="connsiteX154" fmla="*/ 676092 w 1117381"/>
                    <a:gd name="connsiteY154" fmla="*/ 636019 h 645413"/>
                    <a:gd name="connsiteX155" fmla="*/ 672796 w 1117381"/>
                    <a:gd name="connsiteY155" fmla="*/ 635512 h 645413"/>
                    <a:gd name="connsiteX156" fmla="*/ 667751 w 1117381"/>
                    <a:gd name="connsiteY156" fmla="*/ 634511 h 645413"/>
                    <a:gd name="connsiteX157" fmla="*/ 667751 w 1117381"/>
                    <a:gd name="connsiteY157" fmla="*/ 636045 h 645413"/>
                    <a:gd name="connsiteX158" fmla="*/ 664696 w 1117381"/>
                    <a:gd name="connsiteY158" fmla="*/ 635043 h 645413"/>
                    <a:gd name="connsiteX159" fmla="*/ 667751 w 1117381"/>
                    <a:gd name="connsiteY159" fmla="*/ 631937 h 645413"/>
                    <a:gd name="connsiteX160" fmla="*/ 666280 w 1117381"/>
                    <a:gd name="connsiteY160" fmla="*/ 632432 h 645413"/>
                    <a:gd name="connsiteX161" fmla="*/ 681467 w 1117381"/>
                    <a:gd name="connsiteY161" fmla="*/ 628401 h 645413"/>
                    <a:gd name="connsiteX162" fmla="*/ 669766 w 1117381"/>
                    <a:gd name="connsiteY162" fmla="*/ 630429 h 645413"/>
                    <a:gd name="connsiteX163" fmla="*/ 641409 w 1117381"/>
                    <a:gd name="connsiteY163" fmla="*/ 621226 h 645413"/>
                    <a:gd name="connsiteX164" fmla="*/ 634297 w 1117381"/>
                    <a:gd name="connsiteY164" fmla="*/ 619730 h 645413"/>
                    <a:gd name="connsiteX165" fmla="*/ 606942 w 1117381"/>
                    <a:gd name="connsiteY165" fmla="*/ 611794 h 645413"/>
                    <a:gd name="connsiteX166" fmla="*/ 581132 w 1117381"/>
                    <a:gd name="connsiteY166" fmla="*/ 607991 h 645413"/>
                    <a:gd name="connsiteX167" fmla="*/ 584314 w 1117381"/>
                    <a:gd name="connsiteY167" fmla="*/ 605862 h 645413"/>
                    <a:gd name="connsiteX168" fmla="*/ 582653 w 1117381"/>
                    <a:gd name="connsiteY168" fmla="*/ 604214 h 645413"/>
                    <a:gd name="connsiteX169" fmla="*/ 578102 w 1117381"/>
                    <a:gd name="connsiteY169" fmla="*/ 601919 h 645413"/>
                    <a:gd name="connsiteX170" fmla="*/ 539058 w 1117381"/>
                    <a:gd name="connsiteY170" fmla="*/ 599397 h 645413"/>
                    <a:gd name="connsiteX171" fmla="*/ 516824 w 1117381"/>
                    <a:gd name="connsiteY171" fmla="*/ 601425 h 645413"/>
                    <a:gd name="connsiteX172" fmla="*/ 517787 w 1117381"/>
                    <a:gd name="connsiteY172" fmla="*/ 597343 h 645413"/>
                    <a:gd name="connsiteX173" fmla="*/ 516127 w 1117381"/>
                    <a:gd name="connsiteY173" fmla="*/ 599955 h 645413"/>
                    <a:gd name="connsiteX174" fmla="*/ 506670 w 1117381"/>
                    <a:gd name="connsiteY174" fmla="*/ 601425 h 645413"/>
                    <a:gd name="connsiteX175" fmla="*/ 499115 w 1117381"/>
                    <a:gd name="connsiteY175" fmla="*/ 592957 h 645413"/>
                    <a:gd name="connsiteX176" fmla="*/ 490913 w 1117381"/>
                    <a:gd name="connsiteY176" fmla="*/ 579748 h 645413"/>
                    <a:gd name="connsiteX177" fmla="*/ 472127 w 1117381"/>
                    <a:gd name="connsiteY177" fmla="*/ 557602 h 645413"/>
                    <a:gd name="connsiteX178" fmla="*/ 472709 w 1117381"/>
                    <a:gd name="connsiteY178" fmla="*/ 559694 h 645413"/>
                    <a:gd name="connsiteX179" fmla="*/ 459552 w 1117381"/>
                    <a:gd name="connsiteY179" fmla="*/ 552063 h 645413"/>
                    <a:gd name="connsiteX180" fmla="*/ 456623 w 1117381"/>
                    <a:gd name="connsiteY180" fmla="*/ 551758 h 645413"/>
                    <a:gd name="connsiteX181" fmla="*/ 445912 w 1117381"/>
                    <a:gd name="connsiteY181" fmla="*/ 539817 h 645413"/>
                    <a:gd name="connsiteX182" fmla="*/ 445404 w 1117381"/>
                    <a:gd name="connsiteY182" fmla="*/ 529689 h 645413"/>
                    <a:gd name="connsiteX183" fmla="*/ 451451 w 1117381"/>
                    <a:gd name="connsiteY183" fmla="*/ 522095 h 645413"/>
                    <a:gd name="connsiteX184" fmla="*/ 424602 w 1117381"/>
                    <a:gd name="connsiteY184" fmla="*/ 505273 h 645413"/>
                    <a:gd name="connsiteX185" fmla="*/ 421598 w 1117381"/>
                    <a:gd name="connsiteY185" fmla="*/ 506465 h 645413"/>
                    <a:gd name="connsiteX186" fmla="*/ 402342 w 1117381"/>
                    <a:gd name="connsiteY186" fmla="*/ 481150 h 645413"/>
                    <a:gd name="connsiteX187" fmla="*/ 396194 w 1117381"/>
                    <a:gd name="connsiteY187" fmla="*/ 465178 h 645413"/>
                    <a:gd name="connsiteX188" fmla="*/ 386091 w 1117381"/>
                    <a:gd name="connsiteY188" fmla="*/ 454048 h 645413"/>
                    <a:gd name="connsiteX189" fmla="*/ 387143 w 1117381"/>
                    <a:gd name="connsiteY189" fmla="*/ 452019 h 645413"/>
                    <a:gd name="connsiteX190" fmla="*/ 364338 w 1117381"/>
                    <a:gd name="connsiteY190" fmla="*/ 439368 h 645413"/>
                    <a:gd name="connsiteX191" fmla="*/ 359242 w 1117381"/>
                    <a:gd name="connsiteY191" fmla="*/ 440902 h 645413"/>
                    <a:gd name="connsiteX192" fmla="*/ 360320 w 1117381"/>
                    <a:gd name="connsiteY192" fmla="*/ 442373 h 645413"/>
                    <a:gd name="connsiteX193" fmla="*/ 319437 w 1117381"/>
                    <a:gd name="connsiteY193" fmla="*/ 431509 h 645413"/>
                    <a:gd name="connsiteX194" fmla="*/ 311375 w 1117381"/>
                    <a:gd name="connsiteY194" fmla="*/ 429328 h 645413"/>
                    <a:gd name="connsiteX195" fmla="*/ 297380 w 1117381"/>
                    <a:gd name="connsiteY195" fmla="*/ 429747 h 645413"/>
                    <a:gd name="connsiteX196" fmla="*/ 294908 w 1117381"/>
                    <a:gd name="connsiteY196" fmla="*/ 414028 h 645413"/>
                    <a:gd name="connsiteX197" fmla="*/ 280216 w 1117381"/>
                    <a:gd name="connsiteY197" fmla="*/ 413458 h 645413"/>
                    <a:gd name="connsiteX198" fmla="*/ 273637 w 1117381"/>
                    <a:gd name="connsiteY198" fmla="*/ 418173 h 645413"/>
                    <a:gd name="connsiteX199" fmla="*/ 270494 w 1117381"/>
                    <a:gd name="connsiteY199" fmla="*/ 408628 h 645413"/>
                    <a:gd name="connsiteX200" fmla="*/ 271647 w 1117381"/>
                    <a:gd name="connsiteY200" fmla="*/ 420151 h 645413"/>
                    <a:gd name="connsiteX201" fmla="*/ 262026 w 1117381"/>
                    <a:gd name="connsiteY201" fmla="*/ 409933 h 645413"/>
                    <a:gd name="connsiteX202" fmla="*/ 269454 w 1117381"/>
                    <a:gd name="connsiteY202" fmla="*/ 430951 h 645413"/>
                    <a:gd name="connsiteX203" fmla="*/ 262494 w 1117381"/>
                    <a:gd name="connsiteY203" fmla="*/ 425170 h 645413"/>
                    <a:gd name="connsiteX204" fmla="*/ 254889 w 1117381"/>
                    <a:gd name="connsiteY204" fmla="*/ 417020 h 645413"/>
                    <a:gd name="connsiteX205" fmla="*/ 255890 w 1117381"/>
                    <a:gd name="connsiteY205" fmla="*/ 423713 h 645413"/>
                    <a:gd name="connsiteX206" fmla="*/ 251821 w 1117381"/>
                    <a:gd name="connsiteY206" fmla="*/ 418553 h 645413"/>
                    <a:gd name="connsiteX207" fmla="*/ 248804 w 1117381"/>
                    <a:gd name="connsiteY207" fmla="*/ 421127 h 645413"/>
                    <a:gd name="connsiteX208" fmla="*/ 237015 w 1117381"/>
                    <a:gd name="connsiteY208" fmla="*/ 426907 h 645413"/>
                    <a:gd name="connsiteX209" fmla="*/ 205755 w 1117381"/>
                    <a:gd name="connsiteY209" fmla="*/ 404343 h 645413"/>
                    <a:gd name="connsiteX210" fmla="*/ 212981 w 1117381"/>
                    <a:gd name="connsiteY210" fmla="*/ 411505 h 645413"/>
                    <a:gd name="connsiteX211" fmla="*/ 220890 w 1117381"/>
                    <a:gd name="connsiteY211" fmla="*/ 429062 h 645413"/>
                    <a:gd name="connsiteX212" fmla="*/ 228699 w 1117381"/>
                    <a:gd name="connsiteY212" fmla="*/ 443805 h 645413"/>
                    <a:gd name="connsiteX213" fmla="*/ 217392 w 1117381"/>
                    <a:gd name="connsiteY213" fmla="*/ 440890 h 645413"/>
                    <a:gd name="connsiteX214" fmla="*/ 208227 w 1117381"/>
                    <a:gd name="connsiteY214" fmla="*/ 445630 h 645413"/>
                    <a:gd name="connsiteX215" fmla="*/ 193293 w 1117381"/>
                    <a:gd name="connsiteY215" fmla="*/ 444122 h 645413"/>
                    <a:gd name="connsiteX216" fmla="*/ 184483 w 1117381"/>
                    <a:gd name="connsiteY216" fmla="*/ 438607 h 645413"/>
                    <a:gd name="connsiteX217" fmla="*/ 204449 w 1117381"/>
                    <a:gd name="connsiteY217" fmla="*/ 462921 h 645413"/>
                    <a:gd name="connsiteX218" fmla="*/ 154161 w 1117381"/>
                    <a:gd name="connsiteY218" fmla="*/ 470667 h 645413"/>
                    <a:gd name="connsiteX219" fmla="*/ 132725 w 1117381"/>
                    <a:gd name="connsiteY219" fmla="*/ 466179 h 645413"/>
                    <a:gd name="connsiteX220" fmla="*/ 116537 w 1117381"/>
                    <a:gd name="connsiteY220" fmla="*/ 470058 h 645413"/>
                    <a:gd name="connsiteX221" fmla="*/ 103278 w 1117381"/>
                    <a:gd name="connsiteY221" fmla="*/ 458485 h 645413"/>
                    <a:gd name="connsiteX222" fmla="*/ 94708 w 1117381"/>
                    <a:gd name="connsiteY222" fmla="*/ 463200 h 645413"/>
                    <a:gd name="connsiteX223" fmla="*/ 110453 w 1117381"/>
                    <a:gd name="connsiteY223" fmla="*/ 460208 h 645413"/>
                    <a:gd name="connsiteX224" fmla="*/ 114205 w 1117381"/>
                    <a:gd name="connsiteY224" fmla="*/ 471136 h 645413"/>
                    <a:gd name="connsiteX225" fmla="*/ 127008 w 1117381"/>
                    <a:gd name="connsiteY225" fmla="*/ 470299 h 645413"/>
                    <a:gd name="connsiteX226" fmla="*/ 181479 w 1117381"/>
                    <a:gd name="connsiteY226" fmla="*/ 494714 h 645413"/>
                    <a:gd name="connsiteX227" fmla="*/ 185510 w 1117381"/>
                    <a:gd name="connsiteY227" fmla="*/ 519915 h 645413"/>
                    <a:gd name="connsiteX228" fmla="*/ 170615 w 1117381"/>
                    <a:gd name="connsiteY228" fmla="*/ 523388 h 645413"/>
                    <a:gd name="connsiteX229" fmla="*/ 128593 w 1117381"/>
                    <a:gd name="connsiteY229" fmla="*/ 544558 h 645413"/>
                    <a:gd name="connsiteX230" fmla="*/ 108678 w 1117381"/>
                    <a:gd name="connsiteY230" fmla="*/ 535203 h 645413"/>
                    <a:gd name="connsiteX231" fmla="*/ 83566 w 1117381"/>
                    <a:gd name="connsiteY231" fmla="*/ 533960 h 645413"/>
                    <a:gd name="connsiteX232" fmla="*/ 60824 w 1117381"/>
                    <a:gd name="connsiteY232" fmla="*/ 535760 h 645413"/>
                    <a:gd name="connsiteX233" fmla="*/ 43660 w 1117381"/>
                    <a:gd name="connsiteY233" fmla="*/ 532199 h 645413"/>
                    <a:gd name="connsiteX234" fmla="*/ 19334 w 1117381"/>
                    <a:gd name="connsiteY234" fmla="*/ 536369 h 645413"/>
                    <a:gd name="connsiteX235" fmla="*/ 8495 w 1117381"/>
                    <a:gd name="connsiteY235" fmla="*/ 501939 h 645413"/>
                    <a:gd name="connsiteX236" fmla="*/ 8419 w 1117381"/>
                    <a:gd name="connsiteY236" fmla="*/ 415384 h 645413"/>
                    <a:gd name="connsiteX237" fmla="*/ 8444 w 1117381"/>
                    <a:gd name="connsiteY237" fmla="*/ 369939 h 645413"/>
                    <a:gd name="connsiteX238" fmla="*/ 877 w 1117381"/>
                    <a:gd name="connsiteY238" fmla="*/ 355171 h 645413"/>
                    <a:gd name="connsiteX239" fmla="*/ 2689 w 1117381"/>
                    <a:gd name="connsiteY239" fmla="*/ 340745 h 645413"/>
                    <a:gd name="connsiteX240" fmla="*/ 3691 w 1117381"/>
                    <a:gd name="connsiteY240" fmla="*/ 330452 h 645413"/>
                    <a:gd name="connsiteX241" fmla="*/ 8419 w 1117381"/>
                    <a:gd name="connsiteY241" fmla="*/ 283865 h 645413"/>
                    <a:gd name="connsiteX242" fmla="*/ 8394 w 1117381"/>
                    <a:gd name="connsiteY242" fmla="*/ 210278 h 645413"/>
                    <a:gd name="connsiteX243" fmla="*/ 8217 w 1117381"/>
                    <a:gd name="connsiteY243" fmla="*/ 47638 h 645413"/>
                    <a:gd name="connsiteX244" fmla="*/ 19131 w 1117381"/>
                    <a:gd name="connsiteY244" fmla="*/ 48183 h 645413"/>
                    <a:gd name="connsiteX245" fmla="*/ 19131 w 1117381"/>
                    <a:gd name="connsiteY245" fmla="*/ 48183 h 645413"/>
                    <a:gd name="connsiteX246" fmla="*/ 752620 w 1117381"/>
                    <a:gd name="connsiteY246" fmla="*/ 55777 h 645413"/>
                    <a:gd name="connsiteX247" fmla="*/ 782410 w 1117381"/>
                    <a:gd name="connsiteY247" fmla="*/ 70836 h 645413"/>
                    <a:gd name="connsiteX248" fmla="*/ 812022 w 1117381"/>
                    <a:gd name="connsiteY248" fmla="*/ 91030 h 645413"/>
                    <a:gd name="connsiteX249" fmla="*/ 831557 w 1117381"/>
                    <a:gd name="connsiteY249" fmla="*/ 101387 h 645413"/>
                    <a:gd name="connsiteX250" fmla="*/ 859787 w 1117381"/>
                    <a:gd name="connsiteY250" fmla="*/ 124395 h 645413"/>
                    <a:gd name="connsiteX251" fmla="*/ 884241 w 1117381"/>
                    <a:gd name="connsiteY251" fmla="*/ 141216 h 645413"/>
                    <a:gd name="connsiteX252" fmla="*/ 893292 w 1117381"/>
                    <a:gd name="connsiteY252" fmla="*/ 149621 h 645413"/>
                    <a:gd name="connsiteX253" fmla="*/ 904789 w 1117381"/>
                    <a:gd name="connsiteY253" fmla="*/ 166861 h 645413"/>
                    <a:gd name="connsiteX254" fmla="*/ 900301 w 1117381"/>
                    <a:gd name="connsiteY254" fmla="*/ 186484 h 645413"/>
                    <a:gd name="connsiteX255" fmla="*/ 902824 w 1117381"/>
                    <a:gd name="connsiteY255" fmla="*/ 195054 h 645413"/>
                    <a:gd name="connsiteX256" fmla="*/ 899402 w 1117381"/>
                    <a:gd name="connsiteY256" fmla="*/ 200745 h 645413"/>
                    <a:gd name="connsiteX257" fmla="*/ 889704 w 1117381"/>
                    <a:gd name="connsiteY257" fmla="*/ 213181 h 645413"/>
                    <a:gd name="connsiteX258" fmla="*/ 876710 w 1117381"/>
                    <a:gd name="connsiteY258" fmla="*/ 192784 h 645413"/>
                    <a:gd name="connsiteX259" fmla="*/ 874898 w 1117381"/>
                    <a:gd name="connsiteY259" fmla="*/ 168446 h 645413"/>
                    <a:gd name="connsiteX260" fmla="*/ 849976 w 1117381"/>
                    <a:gd name="connsiteY260" fmla="*/ 128185 h 645413"/>
                    <a:gd name="connsiteX261" fmla="*/ 838643 w 1117381"/>
                    <a:gd name="connsiteY261" fmla="*/ 114976 h 645413"/>
                    <a:gd name="connsiteX262" fmla="*/ 822163 w 1117381"/>
                    <a:gd name="connsiteY262" fmla="*/ 110894 h 645413"/>
                    <a:gd name="connsiteX263" fmla="*/ 798991 w 1117381"/>
                    <a:gd name="connsiteY263" fmla="*/ 93527 h 645413"/>
                    <a:gd name="connsiteX264" fmla="*/ 758312 w 1117381"/>
                    <a:gd name="connsiteY264" fmla="*/ 66691 h 645413"/>
                    <a:gd name="connsiteX265" fmla="*/ 735811 w 1117381"/>
                    <a:gd name="connsiteY265" fmla="*/ 60834 h 645413"/>
                    <a:gd name="connsiteX266" fmla="*/ 739627 w 1117381"/>
                    <a:gd name="connsiteY266" fmla="*/ 52709 h 645413"/>
                    <a:gd name="connsiteX267" fmla="*/ 734150 w 1117381"/>
                    <a:gd name="connsiteY267" fmla="*/ 48754 h 645413"/>
                    <a:gd name="connsiteX268" fmla="*/ 735570 w 1117381"/>
                    <a:gd name="connsiteY268" fmla="*/ 44368 h 645413"/>
                    <a:gd name="connsiteX269" fmla="*/ 752620 w 1117381"/>
                    <a:gd name="connsiteY269" fmla="*/ 55777 h 645413"/>
                    <a:gd name="connsiteX270" fmla="*/ 752620 w 1117381"/>
                    <a:gd name="connsiteY270" fmla="*/ 55777 h 645413"/>
                    <a:gd name="connsiteX271" fmla="*/ 445772 w 1117381"/>
                    <a:gd name="connsiteY271" fmla="*/ 0 h 645413"/>
                    <a:gd name="connsiteX272" fmla="*/ 465142 w 1117381"/>
                    <a:gd name="connsiteY272" fmla="*/ 3879 h 645413"/>
                    <a:gd name="connsiteX273" fmla="*/ 484955 w 1117381"/>
                    <a:gd name="connsiteY273" fmla="*/ 6908 h 645413"/>
                    <a:gd name="connsiteX274" fmla="*/ 481837 w 1117381"/>
                    <a:gd name="connsiteY274" fmla="*/ 684 h 645413"/>
                    <a:gd name="connsiteX275" fmla="*/ 478350 w 1117381"/>
                    <a:gd name="connsiteY275" fmla="*/ 8430 h 645413"/>
                    <a:gd name="connsiteX276" fmla="*/ 479403 w 1117381"/>
                    <a:gd name="connsiteY276" fmla="*/ 6908 h 645413"/>
                    <a:gd name="connsiteX277" fmla="*/ 475258 w 1117381"/>
                    <a:gd name="connsiteY277" fmla="*/ 8240 h 645413"/>
                    <a:gd name="connsiteX278" fmla="*/ 457548 w 1117381"/>
                    <a:gd name="connsiteY278" fmla="*/ 16467 h 645413"/>
                    <a:gd name="connsiteX279" fmla="*/ 431282 w 1117381"/>
                    <a:gd name="connsiteY279" fmla="*/ 11967 h 645413"/>
                    <a:gd name="connsiteX280" fmla="*/ 419354 w 1117381"/>
                    <a:gd name="connsiteY280" fmla="*/ 17975 h 645413"/>
                    <a:gd name="connsiteX281" fmla="*/ 422700 w 1117381"/>
                    <a:gd name="connsiteY281" fmla="*/ 3156 h 645413"/>
                    <a:gd name="connsiteX282" fmla="*/ 445772 w 1117381"/>
                    <a:gd name="connsiteY282" fmla="*/ 0 h 645413"/>
                    <a:gd name="connsiteX283" fmla="*/ 445772 w 1117381"/>
                    <a:gd name="connsiteY283" fmla="*/ 0 h 64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Lst>
                  <a:rect l="l" t="t" r="r" b="b"/>
                  <a:pathLst>
                    <a:path w="1117381" h="645413">
                      <a:moveTo>
                        <a:pt x="723984" y="551936"/>
                      </a:moveTo>
                      <a:cubicBezTo>
                        <a:pt x="730689" y="550174"/>
                        <a:pt x="744355" y="554446"/>
                        <a:pt x="739335" y="562533"/>
                      </a:cubicBezTo>
                      <a:cubicBezTo>
                        <a:pt x="746066" y="565943"/>
                        <a:pt x="743924" y="570583"/>
                        <a:pt x="737675" y="572915"/>
                      </a:cubicBezTo>
                      <a:cubicBezTo>
                        <a:pt x="738815" y="567071"/>
                        <a:pt x="716226" y="566095"/>
                        <a:pt x="707264" y="566260"/>
                      </a:cubicBezTo>
                      <a:cubicBezTo>
                        <a:pt x="721486" y="559897"/>
                        <a:pt x="704044" y="557019"/>
                        <a:pt x="706794" y="548805"/>
                      </a:cubicBezTo>
                      <a:cubicBezTo>
                        <a:pt x="709596" y="540514"/>
                        <a:pt x="720333" y="548221"/>
                        <a:pt x="723984" y="551936"/>
                      </a:cubicBezTo>
                      <a:lnTo>
                        <a:pt x="723984" y="551936"/>
                      </a:lnTo>
                      <a:close/>
                      <a:moveTo>
                        <a:pt x="1031136" y="260034"/>
                      </a:moveTo>
                      <a:cubicBezTo>
                        <a:pt x="1032923" y="262302"/>
                        <a:pt x="1034939" y="262835"/>
                        <a:pt x="1037132" y="265282"/>
                      </a:cubicBezTo>
                      <a:cubicBezTo>
                        <a:pt x="1040744" y="263304"/>
                        <a:pt x="1045460" y="263760"/>
                        <a:pt x="1047527" y="266207"/>
                      </a:cubicBezTo>
                      <a:cubicBezTo>
                        <a:pt x="1048706" y="265561"/>
                        <a:pt x="1048389" y="265256"/>
                        <a:pt x="1049910" y="264749"/>
                      </a:cubicBezTo>
                      <a:cubicBezTo>
                        <a:pt x="1050645" y="268806"/>
                        <a:pt x="1054080" y="272304"/>
                        <a:pt x="1056565" y="277324"/>
                      </a:cubicBezTo>
                      <a:cubicBezTo>
                        <a:pt x="1059874" y="284106"/>
                        <a:pt x="1061382" y="285653"/>
                        <a:pt x="1066655" y="290533"/>
                      </a:cubicBezTo>
                      <a:cubicBezTo>
                        <a:pt x="1073438" y="296808"/>
                        <a:pt x="1085252" y="321692"/>
                        <a:pt x="1092338" y="311285"/>
                      </a:cubicBezTo>
                      <a:cubicBezTo>
                        <a:pt x="1093136" y="320526"/>
                        <a:pt x="1130381" y="345030"/>
                        <a:pt x="1112557" y="357846"/>
                      </a:cubicBezTo>
                      <a:cubicBezTo>
                        <a:pt x="1113014" y="355576"/>
                        <a:pt x="1112684" y="353574"/>
                        <a:pt x="1112810" y="351799"/>
                      </a:cubicBezTo>
                      <a:cubicBezTo>
                        <a:pt x="1112393" y="353358"/>
                        <a:pt x="1110731" y="355855"/>
                        <a:pt x="1110072" y="357326"/>
                      </a:cubicBezTo>
                      <a:cubicBezTo>
                        <a:pt x="1103950" y="352103"/>
                        <a:pt x="1103531" y="360850"/>
                        <a:pt x="1098638" y="362194"/>
                      </a:cubicBezTo>
                      <a:cubicBezTo>
                        <a:pt x="1095177" y="363144"/>
                        <a:pt x="1089105" y="361978"/>
                        <a:pt x="1085455" y="360622"/>
                      </a:cubicBezTo>
                      <a:cubicBezTo>
                        <a:pt x="1073907" y="356400"/>
                        <a:pt x="1064538" y="347299"/>
                        <a:pt x="1057896" y="337107"/>
                      </a:cubicBezTo>
                      <a:cubicBezTo>
                        <a:pt x="1062358" y="337005"/>
                        <a:pt x="1063841" y="331339"/>
                        <a:pt x="1062574" y="326509"/>
                      </a:cubicBezTo>
                      <a:cubicBezTo>
                        <a:pt x="1060305" y="317826"/>
                        <a:pt x="1054715" y="320792"/>
                        <a:pt x="1048516" y="316013"/>
                      </a:cubicBezTo>
                      <a:cubicBezTo>
                        <a:pt x="1043001" y="311779"/>
                        <a:pt x="1039147" y="306163"/>
                        <a:pt x="1034064" y="301042"/>
                      </a:cubicBezTo>
                      <a:cubicBezTo>
                        <a:pt x="1022110" y="288860"/>
                        <a:pt x="1026572" y="280671"/>
                        <a:pt x="1025470" y="265788"/>
                      </a:cubicBezTo>
                      <a:cubicBezTo>
                        <a:pt x="1025621" y="265827"/>
                        <a:pt x="1027156" y="267107"/>
                        <a:pt x="1027409" y="267272"/>
                      </a:cubicBezTo>
                      <a:cubicBezTo>
                        <a:pt x="1028157" y="263215"/>
                        <a:pt x="1025026" y="259336"/>
                        <a:pt x="1022947" y="256167"/>
                      </a:cubicBezTo>
                      <a:cubicBezTo>
                        <a:pt x="1026318" y="255787"/>
                        <a:pt x="1028955" y="257295"/>
                        <a:pt x="1031136" y="260034"/>
                      </a:cubicBezTo>
                      <a:lnTo>
                        <a:pt x="1031136" y="260034"/>
                      </a:lnTo>
                      <a:close/>
                      <a:moveTo>
                        <a:pt x="840570" y="164744"/>
                      </a:moveTo>
                      <a:cubicBezTo>
                        <a:pt x="841128" y="169764"/>
                        <a:pt x="839898" y="169751"/>
                        <a:pt x="837299" y="166189"/>
                      </a:cubicBezTo>
                      <a:cubicBezTo>
                        <a:pt x="832659" y="174429"/>
                        <a:pt x="846541" y="177091"/>
                        <a:pt x="853829" y="174961"/>
                      </a:cubicBezTo>
                      <a:cubicBezTo>
                        <a:pt x="853829" y="180374"/>
                        <a:pt x="850407" y="184786"/>
                        <a:pt x="850635" y="190515"/>
                      </a:cubicBezTo>
                      <a:cubicBezTo>
                        <a:pt x="850990" y="197766"/>
                        <a:pt x="855122" y="200758"/>
                        <a:pt x="851903" y="208972"/>
                      </a:cubicBezTo>
                      <a:cubicBezTo>
                        <a:pt x="846946" y="221522"/>
                        <a:pt x="840570" y="221712"/>
                        <a:pt x="829744" y="223500"/>
                      </a:cubicBezTo>
                      <a:cubicBezTo>
                        <a:pt x="821530" y="224818"/>
                        <a:pt x="816497" y="224628"/>
                        <a:pt x="823368" y="237178"/>
                      </a:cubicBezTo>
                      <a:cubicBezTo>
                        <a:pt x="827880" y="245481"/>
                        <a:pt x="838072" y="245772"/>
                        <a:pt x="831049" y="256902"/>
                      </a:cubicBezTo>
                      <a:cubicBezTo>
                        <a:pt x="829262" y="259755"/>
                        <a:pt x="816649" y="266701"/>
                        <a:pt x="812580" y="267031"/>
                      </a:cubicBezTo>
                      <a:cubicBezTo>
                        <a:pt x="809170" y="267297"/>
                        <a:pt x="806698" y="264229"/>
                        <a:pt x="804745" y="264305"/>
                      </a:cubicBezTo>
                      <a:cubicBezTo>
                        <a:pt x="801957" y="264394"/>
                        <a:pt x="796570" y="266841"/>
                        <a:pt x="795200" y="266777"/>
                      </a:cubicBezTo>
                      <a:cubicBezTo>
                        <a:pt x="793210" y="266727"/>
                        <a:pt x="789179" y="261200"/>
                        <a:pt x="784831" y="263431"/>
                      </a:cubicBezTo>
                      <a:cubicBezTo>
                        <a:pt x="779063" y="266410"/>
                        <a:pt x="786010" y="269655"/>
                        <a:pt x="785921" y="269921"/>
                      </a:cubicBezTo>
                      <a:cubicBezTo>
                        <a:pt x="785871" y="270086"/>
                        <a:pt x="789128" y="271861"/>
                        <a:pt x="788786" y="273394"/>
                      </a:cubicBezTo>
                      <a:cubicBezTo>
                        <a:pt x="788381" y="275055"/>
                        <a:pt x="784831" y="274764"/>
                        <a:pt x="784717" y="275080"/>
                      </a:cubicBezTo>
                      <a:cubicBezTo>
                        <a:pt x="785541" y="273052"/>
                        <a:pt x="777416" y="283383"/>
                        <a:pt x="778975" y="282129"/>
                      </a:cubicBezTo>
                      <a:cubicBezTo>
                        <a:pt x="769847" y="289506"/>
                        <a:pt x="747359" y="309738"/>
                        <a:pt x="736204" y="299166"/>
                      </a:cubicBezTo>
                      <a:cubicBezTo>
                        <a:pt x="736686" y="307152"/>
                        <a:pt x="713209" y="317306"/>
                        <a:pt x="704741" y="319461"/>
                      </a:cubicBezTo>
                      <a:cubicBezTo>
                        <a:pt x="699315" y="320830"/>
                        <a:pt x="694118" y="317750"/>
                        <a:pt x="688654" y="317192"/>
                      </a:cubicBezTo>
                      <a:cubicBezTo>
                        <a:pt x="683774" y="316672"/>
                        <a:pt x="677562" y="319043"/>
                        <a:pt x="676409" y="321832"/>
                      </a:cubicBezTo>
                      <a:cubicBezTo>
                        <a:pt x="673835" y="315531"/>
                        <a:pt x="653895" y="322833"/>
                        <a:pt x="646721" y="319169"/>
                      </a:cubicBezTo>
                      <a:cubicBezTo>
                        <a:pt x="638518" y="314948"/>
                        <a:pt x="639799" y="304718"/>
                        <a:pt x="628111" y="303273"/>
                      </a:cubicBezTo>
                      <a:cubicBezTo>
                        <a:pt x="623231" y="302664"/>
                        <a:pt x="618667" y="306455"/>
                        <a:pt x="613610" y="304186"/>
                      </a:cubicBezTo>
                      <a:cubicBezTo>
                        <a:pt x="613076" y="308572"/>
                        <a:pt x="609996" y="310296"/>
                        <a:pt x="605471" y="310068"/>
                      </a:cubicBezTo>
                      <a:cubicBezTo>
                        <a:pt x="607879" y="307013"/>
                        <a:pt x="607790" y="306112"/>
                        <a:pt x="604013" y="303184"/>
                      </a:cubicBezTo>
                      <a:cubicBezTo>
                        <a:pt x="605788" y="301295"/>
                        <a:pt x="605167" y="300522"/>
                        <a:pt x="605471" y="298608"/>
                      </a:cubicBezTo>
                      <a:cubicBezTo>
                        <a:pt x="602048" y="301524"/>
                        <a:pt x="595102" y="297467"/>
                        <a:pt x="590779" y="296631"/>
                      </a:cubicBezTo>
                      <a:cubicBezTo>
                        <a:pt x="591299" y="295528"/>
                        <a:pt x="592211" y="295388"/>
                        <a:pt x="592820" y="294577"/>
                      </a:cubicBezTo>
                      <a:cubicBezTo>
                        <a:pt x="589587" y="292600"/>
                        <a:pt x="589524" y="291801"/>
                        <a:pt x="585227" y="293056"/>
                      </a:cubicBezTo>
                      <a:cubicBezTo>
                        <a:pt x="585771" y="282484"/>
                        <a:pt x="566681" y="286984"/>
                        <a:pt x="559949" y="282902"/>
                      </a:cubicBezTo>
                      <a:cubicBezTo>
                        <a:pt x="547400" y="275232"/>
                        <a:pt x="550227" y="258195"/>
                        <a:pt x="563752" y="259780"/>
                      </a:cubicBezTo>
                      <a:cubicBezTo>
                        <a:pt x="566833" y="260122"/>
                        <a:pt x="565755" y="263709"/>
                        <a:pt x="568772" y="264192"/>
                      </a:cubicBezTo>
                      <a:cubicBezTo>
                        <a:pt x="572258" y="264762"/>
                        <a:pt x="573488" y="259830"/>
                        <a:pt x="576327" y="259881"/>
                      </a:cubicBezTo>
                      <a:cubicBezTo>
                        <a:pt x="581791" y="259919"/>
                        <a:pt x="587014" y="263050"/>
                        <a:pt x="590880" y="262885"/>
                      </a:cubicBezTo>
                      <a:cubicBezTo>
                        <a:pt x="593098" y="262759"/>
                        <a:pt x="595672" y="259945"/>
                        <a:pt x="598005" y="259805"/>
                      </a:cubicBezTo>
                      <a:cubicBezTo>
                        <a:pt x="602872" y="259501"/>
                        <a:pt x="607004" y="261884"/>
                        <a:pt x="612025" y="264027"/>
                      </a:cubicBezTo>
                      <a:cubicBezTo>
                        <a:pt x="619250" y="267031"/>
                        <a:pt x="617590" y="267931"/>
                        <a:pt x="627401" y="267551"/>
                      </a:cubicBezTo>
                      <a:cubicBezTo>
                        <a:pt x="633588" y="267335"/>
                        <a:pt x="649205" y="265966"/>
                        <a:pt x="651461" y="259666"/>
                      </a:cubicBezTo>
                      <a:cubicBezTo>
                        <a:pt x="651334" y="266106"/>
                        <a:pt x="656989" y="268527"/>
                        <a:pt x="660182" y="261757"/>
                      </a:cubicBezTo>
                      <a:cubicBezTo>
                        <a:pt x="664569" y="264331"/>
                        <a:pt x="670603" y="263329"/>
                        <a:pt x="673062" y="258284"/>
                      </a:cubicBezTo>
                      <a:cubicBezTo>
                        <a:pt x="675813" y="252554"/>
                        <a:pt x="668397" y="254392"/>
                        <a:pt x="669766" y="249373"/>
                      </a:cubicBezTo>
                      <a:cubicBezTo>
                        <a:pt x="670666" y="246127"/>
                        <a:pt x="675015" y="245468"/>
                        <a:pt x="675813" y="243148"/>
                      </a:cubicBezTo>
                      <a:cubicBezTo>
                        <a:pt x="677055" y="239700"/>
                        <a:pt x="675521" y="238014"/>
                        <a:pt x="676536" y="234870"/>
                      </a:cubicBezTo>
                      <a:cubicBezTo>
                        <a:pt x="677283" y="232576"/>
                        <a:pt x="675572" y="229027"/>
                        <a:pt x="678057" y="226973"/>
                      </a:cubicBezTo>
                      <a:cubicBezTo>
                        <a:pt x="680694" y="224805"/>
                        <a:pt x="689795" y="223855"/>
                        <a:pt x="690442" y="228963"/>
                      </a:cubicBezTo>
                      <a:cubicBezTo>
                        <a:pt x="690974" y="233451"/>
                        <a:pt x="683685" y="232209"/>
                        <a:pt x="682303" y="234845"/>
                      </a:cubicBezTo>
                      <a:cubicBezTo>
                        <a:pt x="680364" y="238483"/>
                        <a:pt x="681530" y="239865"/>
                        <a:pt x="681251" y="244289"/>
                      </a:cubicBezTo>
                      <a:cubicBezTo>
                        <a:pt x="681074" y="247294"/>
                        <a:pt x="679781" y="245506"/>
                        <a:pt x="680718" y="251173"/>
                      </a:cubicBezTo>
                      <a:cubicBezTo>
                        <a:pt x="681074" y="253302"/>
                        <a:pt x="683964" y="262125"/>
                        <a:pt x="685992" y="263798"/>
                      </a:cubicBezTo>
                      <a:cubicBezTo>
                        <a:pt x="695588" y="271785"/>
                        <a:pt x="699506" y="260287"/>
                        <a:pt x="706782" y="258043"/>
                      </a:cubicBezTo>
                      <a:cubicBezTo>
                        <a:pt x="714438" y="255698"/>
                        <a:pt x="715871" y="261656"/>
                        <a:pt x="720320" y="262873"/>
                      </a:cubicBezTo>
                      <a:cubicBezTo>
                        <a:pt x="725581" y="264318"/>
                        <a:pt x="724732" y="263798"/>
                        <a:pt x="731070" y="261605"/>
                      </a:cubicBezTo>
                      <a:cubicBezTo>
                        <a:pt x="733275" y="260832"/>
                        <a:pt x="731070" y="258779"/>
                        <a:pt x="733098" y="258246"/>
                      </a:cubicBezTo>
                      <a:cubicBezTo>
                        <a:pt x="734911" y="257777"/>
                        <a:pt x="737395" y="258779"/>
                        <a:pt x="738169" y="258563"/>
                      </a:cubicBezTo>
                      <a:cubicBezTo>
                        <a:pt x="741414" y="257726"/>
                        <a:pt x="742568" y="261364"/>
                        <a:pt x="747309" y="257371"/>
                      </a:cubicBezTo>
                      <a:cubicBezTo>
                        <a:pt x="752138" y="253264"/>
                        <a:pt x="749628" y="250412"/>
                        <a:pt x="751479" y="245113"/>
                      </a:cubicBezTo>
                      <a:cubicBezTo>
                        <a:pt x="753900" y="238129"/>
                        <a:pt x="757019" y="236151"/>
                        <a:pt x="761531" y="231435"/>
                      </a:cubicBezTo>
                      <a:cubicBezTo>
                        <a:pt x="765309" y="227493"/>
                        <a:pt x="775172" y="221471"/>
                        <a:pt x="776705" y="217275"/>
                      </a:cubicBezTo>
                      <a:cubicBezTo>
                        <a:pt x="787253" y="223411"/>
                        <a:pt x="799155" y="222130"/>
                        <a:pt x="800144" y="210633"/>
                      </a:cubicBezTo>
                      <a:cubicBezTo>
                        <a:pt x="801247" y="198590"/>
                        <a:pt x="793578" y="186636"/>
                        <a:pt x="789636" y="176229"/>
                      </a:cubicBezTo>
                      <a:cubicBezTo>
                        <a:pt x="784463" y="162627"/>
                        <a:pt x="794389" y="163286"/>
                        <a:pt x="804328" y="166024"/>
                      </a:cubicBezTo>
                      <a:cubicBezTo>
                        <a:pt x="808371" y="167165"/>
                        <a:pt x="833877" y="182428"/>
                        <a:pt x="823988" y="164807"/>
                      </a:cubicBezTo>
                      <a:cubicBezTo>
                        <a:pt x="832381" y="168294"/>
                        <a:pt x="835816" y="158304"/>
                        <a:pt x="840570" y="164744"/>
                      </a:cubicBezTo>
                      <a:lnTo>
                        <a:pt x="840570" y="164744"/>
                      </a:lnTo>
                      <a:close/>
                      <a:moveTo>
                        <a:pt x="19131" y="48183"/>
                      </a:moveTo>
                      <a:cubicBezTo>
                        <a:pt x="33785" y="50503"/>
                        <a:pt x="51152" y="59998"/>
                        <a:pt x="65058" y="67693"/>
                      </a:cubicBezTo>
                      <a:cubicBezTo>
                        <a:pt x="73285" y="72244"/>
                        <a:pt x="79522" y="73460"/>
                        <a:pt x="87889" y="76845"/>
                      </a:cubicBezTo>
                      <a:cubicBezTo>
                        <a:pt x="90272" y="77809"/>
                        <a:pt x="88256" y="80318"/>
                        <a:pt x="90665" y="81776"/>
                      </a:cubicBezTo>
                      <a:cubicBezTo>
                        <a:pt x="91679" y="82410"/>
                        <a:pt x="96483" y="82689"/>
                        <a:pt x="98334" y="83247"/>
                      </a:cubicBezTo>
                      <a:cubicBezTo>
                        <a:pt x="118528" y="89319"/>
                        <a:pt x="139330" y="100195"/>
                        <a:pt x="160182" y="103288"/>
                      </a:cubicBezTo>
                      <a:cubicBezTo>
                        <a:pt x="166635" y="104201"/>
                        <a:pt x="172187" y="104099"/>
                        <a:pt x="178716" y="105468"/>
                      </a:cubicBezTo>
                      <a:cubicBezTo>
                        <a:pt x="192672" y="108397"/>
                        <a:pt x="195803" y="111084"/>
                        <a:pt x="206097" y="118373"/>
                      </a:cubicBezTo>
                      <a:cubicBezTo>
                        <a:pt x="210204" y="121276"/>
                        <a:pt x="215237" y="123089"/>
                        <a:pt x="221220" y="127146"/>
                      </a:cubicBezTo>
                      <a:cubicBezTo>
                        <a:pt x="229688" y="132888"/>
                        <a:pt x="233352" y="136691"/>
                        <a:pt x="244266" y="135994"/>
                      </a:cubicBezTo>
                      <a:cubicBezTo>
                        <a:pt x="243011" y="136919"/>
                        <a:pt x="242529" y="136552"/>
                        <a:pt x="241237" y="136995"/>
                      </a:cubicBezTo>
                      <a:cubicBezTo>
                        <a:pt x="252202" y="143713"/>
                        <a:pt x="261328" y="129250"/>
                        <a:pt x="272674" y="142104"/>
                      </a:cubicBezTo>
                      <a:cubicBezTo>
                        <a:pt x="275298" y="145108"/>
                        <a:pt x="272623" y="147986"/>
                        <a:pt x="276693" y="151205"/>
                      </a:cubicBezTo>
                      <a:cubicBezTo>
                        <a:pt x="280128" y="153931"/>
                        <a:pt x="287138" y="152676"/>
                        <a:pt x="291410" y="155845"/>
                      </a:cubicBezTo>
                      <a:cubicBezTo>
                        <a:pt x="297165" y="160092"/>
                        <a:pt x="295581" y="159483"/>
                        <a:pt x="299244" y="163806"/>
                      </a:cubicBezTo>
                      <a:cubicBezTo>
                        <a:pt x="304302" y="169916"/>
                        <a:pt x="310323" y="177573"/>
                        <a:pt x="319260" y="179461"/>
                      </a:cubicBezTo>
                      <a:cubicBezTo>
                        <a:pt x="323659" y="180412"/>
                        <a:pt x="326905" y="177611"/>
                        <a:pt x="331392" y="179461"/>
                      </a:cubicBezTo>
                      <a:cubicBezTo>
                        <a:pt x="336133" y="181414"/>
                        <a:pt x="340291" y="189539"/>
                        <a:pt x="343802" y="193279"/>
                      </a:cubicBezTo>
                      <a:cubicBezTo>
                        <a:pt x="347681" y="197386"/>
                        <a:pt x="359724" y="205347"/>
                        <a:pt x="362690" y="210519"/>
                      </a:cubicBezTo>
                      <a:cubicBezTo>
                        <a:pt x="365326" y="215070"/>
                        <a:pt x="365086" y="220394"/>
                        <a:pt x="364972" y="226998"/>
                      </a:cubicBezTo>
                      <a:cubicBezTo>
                        <a:pt x="364871" y="233907"/>
                        <a:pt x="361993" y="240448"/>
                        <a:pt x="360840" y="247332"/>
                      </a:cubicBezTo>
                      <a:cubicBezTo>
                        <a:pt x="358291" y="262227"/>
                        <a:pt x="365707" y="254430"/>
                        <a:pt x="371398" y="262252"/>
                      </a:cubicBezTo>
                      <a:cubicBezTo>
                        <a:pt x="375886" y="255394"/>
                        <a:pt x="400124" y="266423"/>
                        <a:pt x="407958" y="268691"/>
                      </a:cubicBezTo>
                      <a:cubicBezTo>
                        <a:pt x="417275" y="271379"/>
                        <a:pt x="426377" y="278706"/>
                        <a:pt x="437393" y="282813"/>
                      </a:cubicBezTo>
                      <a:cubicBezTo>
                        <a:pt x="443668" y="285120"/>
                        <a:pt x="452618" y="290229"/>
                        <a:pt x="459754" y="292701"/>
                      </a:cubicBezTo>
                      <a:cubicBezTo>
                        <a:pt x="466980" y="295147"/>
                        <a:pt x="473102" y="292942"/>
                        <a:pt x="479909" y="293563"/>
                      </a:cubicBezTo>
                      <a:cubicBezTo>
                        <a:pt x="490926" y="294564"/>
                        <a:pt x="497226" y="304376"/>
                        <a:pt x="503983" y="311830"/>
                      </a:cubicBezTo>
                      <a:cubicBezTo>
                        <a:pt x="511398" y="320006"/>
                        <a:pt x="515746" y="324646"/>
                        <a:pt x="516951" y="335104"/>
                      </a:cubicBezTo>
                      <a:cubicBezTo>
                        <a:pt x="517204" y="337297"/>
                        <a:pt x="516951" y="343077"/>
                        <a:pt x="516849" y="343496"/>
                      </a:cubicBezTo>
                      <a:cubicBezTo>
                        <a:pt x="515049" y="348946"/>
                        <a:pt x="517077" y="348427"/>
                        <a:pt x="509662" y="351241"/>
                      </a:cubicBezTo>
                      <a:cubicBezTo>
                        <a:pt x="507342" y="352103"/>
                        <a:pt x="498430" y="353345"/>
                        <a:pt x="496098" y="353396"/>
                      </a:cubicBezTo>
                      <a:cubicBezTo>
                        <a:pt x="484397" y="353662"/>
                        <a:pt x="468818" y="349073"/>
                        <a:pt x="457916" y="351735"/>
                      </a:cubicBezTo>
                      <a:cubicBezTo>
                        <a:pt x="444099" y="355120"/>
                        <a:pt x="450576" y="377519"/>
                        <a:pt x="459044" y="373019"/>
                      </a:cubicBezTo>
                      <a:cubicBezTo>
                        <a:pt x="456712" y="380638"/>
                        <a:pt x="462264" y="387990"/>
                        <a:pt x="464698" y="394899"/>
                      </a:cubicBezTo>
                      <a:cubicBezTo>
                        <a:pt x="466333" y="399412"/>
                        <a:pt x="466599" y="405319"/>
                        <a:pt x="469579" y="407588"/>
                      </a:cubicBezTo>
                      <a:cubicBezTo>
                        <a:pt x="471784" y="409350"/>
                        <a:pt x="481228" y="410301"/>
                        <a:pt x="485995" y="414687"/>
                      </a:cubicBezTo>
                      <a:cubicBezTo>
                        <a:pt x="490076" y="418401"/>
                        <a:pt x="498595" y="424702"/>
                        <a:pt x="498544" y="432320"/>
                      </a:cubicBezTo>
                      <a:cubicBezTo>
                        <a:pt x="499748" y="432155"/>
                        <a:pt x="500941" y="431991"/>
                        <a:pt x="502119" y="431826"/>
                      </a:cubicBezTo>
                      <a:cubicBezTo>
                        <a:pt x="501777" y="430685"/>
                        <a:pt x="500965" y="430241"/>
                        <a:pt x="500636" y="428771"/>
                      </a:cubicBezTo>
                      <a:cubicBezTo>
                        <a:pt x="506176" y="432244"/>
                        <a:pt x="504541" y="438253"/>
                        <a:pt x="509358" y="441473"/>
                      </a:cubicBezTo>
                      <a:cubicBezTo>
                        <a:pt x="511221" y="442715"/>
                        <a:pt x="516380" y="440420"/>
                        <a:pt x="518459" y="441257"/>
                      </a:cubicBezTo>
                      <a:cubicBezTo>
                        <a:pt x="528220" y="445200"/>
                        <a:pt x="526978" y="451994"/>
                        <a:pt x="538437" y="449281"/>
                      </a:cubicBezTo>
                      <a:cubicBezTo>
                        <a:pt x="536828" y="455442"/>
                        <a:pt x="541543" y="462490"/>
                        <a:pt x="543178" y="468549"/>
                      </a:cubicBezTo>
                      <a:cubicBezTo>
                        <a:pt x="544231" y="472505"/>
                        <a:pt x="542354" y="482177"/>
                        <a:pt x="544205" y="485536"/>
                      </a:cubicBezTo>
                      <a:cubicBezTo>
                        <a:pt x="547349" y="491228"/>
                        <a:pt x="551849" y="489834"/>
                        <a:pt x="556667" y="493282"/>
                      </a:cubicBezTo>
                      <a:cubicBezTo>
                        <a:pt x="563601" y="498301"/>
                        <a:pt x="561800" y="501635"/>
                        <a:pt x="564044" y="510078"/>
                      </a:cubicBezTo>
                      <a:cubicBezTo>
                        <a:pt x="567036" y="521068"/>
                        <a:pt x="573387" y="529055"/>
                        <a:pt x="587470" y="526608"/>
                      </a:cubicBezTo>
                      <a:cubicBezTo>
                        <a:pt x="594734" y="525340"/>
                        <a:pt x="606573" y="524162"/>
                        <a:pt x="612012" y="518064"/>
                      </a:cubicBezTo>
                      <a:cubicBezTo>
                        <a:pt x="618084" y="522589"/>
                        <a:pt x="626476" y="518483"/>
                        <a:pt x="625703" y="527217"/>
                      </a:cubicBezTo>
                      <a:cubicBezTo>
                        <a:pt x="625753" y="527876"/>
                        <a:pt x="623484" y="527521"/>
                        <a:pt x="623180" y="527660"/>
                      </a:cubicBezTo>
                      <a:cubicBezTo>
                        <a:pt x="628517" y="531134"/>
                        <a:pt x="607613" y="546852"/>
                        <a:pt x="622318" y="557526"/>
                      </a:cubicBezTo>
                      <a:cubicBezTo>
                        <a:pt x="633308" y="565487"/>
                        <a:pt x="644337" y="563345"/>
                        <a:pt x="657305" y="564511"/>
                      </a:cubicBezTo>
                      <a:cubicBezTo>
                        <a:pt x="662097" y="564955"/>
                        <a:pt x="676624" y="566260"/>
                        <a:pt x="678260" y="570342"/>
                      </a:cubicBezTo>
                      <a:cubicBezTo>
                        <a:pt x="680972" y="577061"/>
                        <a:pt x="667358" y="575590"/>
                        <a:pt x="662275" y="577936"/>
                      </a:cubicBezTo>
                      <a:cubicBezTo>
                        <a:pt x="645073" y="585820"/>
                        <a:pt x="672936" y="598839"/>
                        <a:pt x="683685" y="601133"/>
                      </a:cubicBezTo>
                      <a:cubicBezTo>
                        <a:pt x="695373" y="603643"/>
                        <a:pt x="705983" y="611655"/>
                        <a:pt x="719915" y="609513"/>
                      </a:cubicBezTo>
                      <a:cubicBezTo>
                        <a:pt x="716746" y="618906"/>
                        <a:pt x="735088" y="612339"/>
                        <a:pt x="740058" y="610831"/>
                      </a:cubicBezTo>
                      <a:cubicBezTo>
                        <a:pt x="735709" y="614406"/>
                        <a:pt x="727343" y="619210"/>
                        <a:pt x="720967" y="619742"/>
                      </a:cubicBezTo>
                      <a:cubicBezTo>
                        <a:pt x="716669" y="620098"/>
                        <a:pt x="710128" y="615128"/>
                        <a:pt x="706021" y="616434"/>
                      </a:cubicBezTo>
                      <a:cubicBezTo>
                        <a:pt x="688452" y="622050"/>
                        <a:pt x="723376" y="628097"/>
                        <a:pt x="725036" y="631012"/>
                      </a:cubicBezTo>
                      <a:cubicBezTo>
                        <a:pt x="729219" y="638314"/>
                        <a:pt x="690581" y="651294"/>
                        <a:pt x="689592" y="642421"/>
                      </a:cubicBezTo>
                      <a:cubicBezTo>
                        <a:pt x="684256" y="643257"/>
                        <a:pt x="681327" y="641838"/>
                        <a:pt x="676358" y="639594"/>
                      </a:cubicBezTo>
                      <a:cubicBezTo>
                        <a:pt x="676764" y="637515"/>
                        <a:pt x="676383" y="638567"/>
                        <a:pt x="676092" y="636019"/>
                      </a:cubicBezTo>
                      <a:cubicBezTo>
                        <a:pt x="672505" y="639366"/>
                        <a:pt x="674634" y="636095"/>
                        <a:pt x="672796" y="635512"/>
                      </a:cubicBezTo>
                      <a:cubicBezTo>
                        <a:pt x="670577" y="635804"/>
                        <a:pt x="670819" y="636184"/>
                        <a:pt x="667751" y="634511"/>
                      </a:cubicBezTo>
                      <a:cubicBezTo>
                        <a:pt x="667725" y="634574"/>
                        <a:pt x="668258" y="635766"/>
                        <a:pt x="667751" y="636045"/>
                      </a:cubicBezTo>
                      <a:cubicBezTo>
                        <a:pt x="666876" y="635322"/>
                        <a:pt x="665773" y="635271"/>
                        <a:pt x="664696" y="635043"/>
                      </a:cubicBezTo>
                      <a:cubicBezTo>
                        <a:pt x="664962" y="634181"/>
                        <a:pt x="667257" y="632799"/>
                        <a:pt x="667751" y="631937"/>
                      </a:cubicBezTo>
                      <a:cubicBezTo>
                        <a:pt x="667332" y="632216"/>
                        <a:pt x="666850" y="632381"/>
                        <a:pt x="666280" y="632432"/>
                      </a:cubicBezTo>
                      <a:cubicBezTo>
                        <a:pt x="670843" y="630517"/>
                        <a:pt x="677398" y="632990"/>
                        <a:pt x="681467" y="628401"/>
                      </a:cubicBezTo>
                      <a:cubicBezTo>
                        <a:pt x="676472" y="626638"/>
                        <a:pt x="671123" y="623875"/>
                        <a:pt x="669766" y="630429"/>
                      </a:cubicBezTo>
                      <a:cubicBezTo>
                        <a:pt x="666775" y="620579"/>
                        <a:pt x="643133" y="614368"/>
                        <a:pt x="641409" y="621226"/>
                      </a:cubicBezTo>
                      <a:cubicBezTo>
                        <a:pt x="638113" y="620452"/>
                        <a:pt x="637390" y="620516"/>
                        <a:pt x="634297" y="619730"/>
                      </a:cubicBezTo>
                      <a:cubicBezTo>
                        <a:pt x="633739" y="616092"/>
                        <a:pt x="614585" y="612238"/>
                        <a:pt x="606942" y="611794"/>
                      </a:cubicBezTo>
                      <a:cubicBezTo>
                        <a:pt x="600261" y="611427"/>
                        <a:pt x="582602" y="616371"/>
                        <a:pt x="581132" y="607991"/>
                      </a:cubicBezTo>
                      <a:cubicBezTo>
                        <a:pt x="582197" y="607307"/>
                        <a:pt x="583198" y="606432"/>
                        <a:pt x="584314" y="605862"/>
                      </a:cubicBezTo>
                      <a:cubicBezTo>
                        <a:pt x="584060" y="605038"/>
                        <a:pt x="583515" y="604493"/>
                        <a:pt x="582653" y="604214"/>
                      </a:cubicBezTo>
                      <a:cubicBezTo>
                        <a:pt x="579979" y="603618"/>
                        <a:pt x="581182" y="605557"/>
                        <a:pt x="578102" y="601919"/>
                      </a:cubicBezTo>
                      <a:cubicBezTo>
                        <a:pt x="577126" y="616928"/>
                        <a:pt x="544877" y="603529"/>
                        <a:pt x="539058" y="599397"/>
                      </a:cubicBezTo>
                      <a:cubicBezTo>
                        <a:pt x="533912" y="612656"/>
                        <a:pt x="522820" y="599764"/>
                        <a:pt x="516824" y="601425"/>
                      </a:cubicBezTo>
                      <a:cubicBezTo>
                        <a:pt x="518345" y="599206"/>
                        <a:pt x="517267" y="598738"/>
                        <a:pt x="517787" y="597343"/>
                      </a:cubicBezTo>
                      <a:cubicBezTo>
                        <a:pt x="516583" y="598421"/>
                        <a:pt x="516976" y="598586"/>
                        <a:pt x="516127" y="599955"/>
                      </a:cubicBezTo>
                      <a:cubicBezTo>
                        <a:pt x="512641" y="597470"/>
                        <a:pt x="509345" y="598104"/>
                        <a:pt x="506670" y="601425"/>
                      </a:cubicBezTo>
                      <a:cubicBezTo>
                        <a:pt x="506721" y="593147"/>
                        <a:pt x="502563" y="596570"/>
                        <a:pt x="499115" y="592957"/>
                      </a:cubicBezTo>
                      <a:cubicBezTo>
                        <a:pt x="494704" y="588292"/>
                        <a:pt x="493715" y="584654"/>
                        <a:pt x="490913" y="579748"/>
                      </a:cubicBezTo>
                      <a:cubicBezTo>
                        <a:pt x="485893" y="570950"/>
                        <a:pt x="479758" y="561798"/>
                        <a:pt x="472127" y="557602"/>
                      </a:cubicBezTo>
                      <a:cubicBezTo>
                        <a:pt x="471987" y="558084"/>
                        <a:pt x="472760" y="559605"/>
                        <a:pt x="472709" y="559694"/>
                      </a:cubicBezTo>
                      <a:cubicBezTo>
                        <a:pt x="465015" y="560112"/>
                        <a:pt x="465256" y="553115"/>
                        <a:pt x="459552" y="552063"/>
                      </a:cubicBezTo>
                      <a:cubicBezTo>
                        <a:pt x="462455" y="557577"/>
                        <a:pt x="459450" y="555625"/>
                        <a:pt x="456623" y="551758"/>
                      </a:cubicBezTo>
                      <a:cubicBezTo>
                        <a:pt x="452769" y="546485"/>
                        <a:pt x="453479" y="539094"/>
                        <a:pt x="445912" y="539817"/>
                      </a:cubicBezTo>
                      <a:cubicBezTo>
                        <a:pt x="446913" y="537345"/>
                        <a:pt x="446469" y="533276"/>
                        <a:pt x="445404" y="529689"/>
                      </a:cubicBezTo>
                      <a:cubicBezTo>
                        <a:pt x="449765" y="528662"/>
                        <a:pt x="452541" y="525949"/>
                        <a:pt x="451451" y="522095"/>
                      </a:cubicBezTo>
                      <a:cubicBezTo>
                        <a:pt x="447167" y="533136"/>
                        <a:pt x="410861" y="521221"/>
                        <a:pt x="424602" y="505273"/>
                      </a:cubicBezTo>
                      <a:cubicBezTo>
                        <a:pt x="423018" y="505641"/>
                        <a:pt x="423284" y="506389"/>
                        <a:pt x="421598" y="506465"/>
                      </a:cubicBezTo>
                      <a:cubicBezTo>
                        <a:pt x="417567" y="498897"/>
                        <a:pt x="408059" y="490594"/>
                        <a:pt x="402342" y="481150"/>
                      </a:cubicBezTo>
                      <a:cubicBezTo>
                        <a:pt x="399122" y="475851"/>
                        <a:pt x="399477" y="470109"/>
                        <a:pt x="396194" y="465178"/>
                      </a:cubicBezTo>
                      <a:cubicBezTo>
                        <a:pt x="392467" y="459638"/>
                        <a:pt x="386991" y="461679"/>
                        <a:pt x="386091" y="454048"/>
                      </a:cubicBezTo>
                      <a:cubicBezTo>
                        <a:pt x="386864" y="452717"/>
                        <a:pt x="386864" y="453578"/>
                        <a:pt x="387143" y="452019"/>
                      </a:cubicBezTo>
                      <a:cubicBezTo>
                        <a:pt x="379803" y="450688"/>
                        <a:pt x="358785" y="448800"/>
                        <a:pt x="364338" y="439368"/>
                      </a:cubicBezTo>
                      <a:cubicBezTo>
                        <a:pt x="362487" y="440395"/>
                        <a:pt x="361422" y="440141"/>
                        <a:pt x="359242" y="440902"/>
                      </a:cubicBezTo>
                      <a:cubicBezTo>
                        <a:pt x="359635" y="441396"/>
                        <a:pt x="359990" y="441891"/>
                        <a:pt x="360320" y="442373"/>
                      </a:cubicBezTo>
                      <a:cubicBezTo>
                        <a:pt x="349975" y="443843"/>
                        <a:pt x="325662" y="441130"/>
                        <a:pt x="319437" y="431509"/>
                      </a:cubicBezTo>
                      <a:cubicBezTo>
                        <a:pt x="316484" y="435071"/>
                        <a:pt x="313594" y="433385"/>
                        <a:pt x="311375" y="429328"/>
                      </a:cubicBezTo>
                      <a:cubicBezTo>
                        <a:pt x="310070" y="433043"/>
                        <a:pt x="299371" y="431927"/>
                        <a:pt x="297380" y="429747"/>
                      </a:cubicBezTo>
                      <a:cubicBezTo>
                        <a:pt x="293071" y="424993"/>
                        <a:pt x="298053" y="420911"/>
                        <a:pt x="294908" y="414028"/>
                      </a:cubicBezTo>
                      <a:cubicBezTo>
                        <a:pt x="295238" y="428771"/>
                        <a:pt x="285857" y="419225"/>
                        <a:pt x="280216" y="413458"/>
                      </a:cubicBezTo>
                      <a:cubicBezTo>
                        <a:pt x="282130" y="420252"/>
                        <a:pt x="278480" y="421494"/>
                        <a:pt x="273637" y="418173"/>
                      </a:cubicBezTo>
                      <a:cubicBezTo>
                        <a:pt x="272319" y="417248"/>
                        <a:pt x="270963" y="410022"/>
                        <a:pt x="270494" y="408628"/>
                      </a:cubicBezTo>
                      <a:cubicBezTo>
                        <a:pt x="269175" y="412823"/>
                        <a:pt x="269011" y="417032"/>
                        <a:pt x="271647" y="420151"/>
                      </a:cubicBezTo>
                      <a:cubicBezTo>
                        <a:pt x="267476" y="421596"/>
                        <a:pt x="264472" y="414003"/>
                        <a:pt x="262026" y="409933"/>
                      </a:cubicBezTo>
                      <a:cubicBezTo>
                        <a:pt x="263585" y="417843"/>
                        <a:pt x="265068" y="424169"/>
                        <a:pt x="269454" y="430951"/>
                      </a:cubicBezTo>
                      <a:cubicBezTo>
                        <a:pt x="267401" y="429557"/>
                        <a:pt x="264561" y="428124"/>
                        <a:pt x="262494" y="425170"/>
                      </a:cubicBezTo>
                      <a:cubicBezTo>
                        <a:pt x="258362" y="429075"/>
                        <a:pt x="257272" y="421621"/>
                        <a:pt x="254889" y="417020"/>
                      </a:cubicBezTo>
                      <a:cubicBezTo>
                        <a:pt x="255675" y="419403"/>
                        <a:pt x="255586" y="421900"/>
                        <a:pt x="255890" y="423713"/>
                      </a:cubicBezTo>
                      <a:cubicBezTo>
                        <a:pt x="255206" y="422268"/>
                        <a:pt x="252924" y="420163"/>
                        <a:pt x="251821" y="418553"/>
                      </a:cubicBezTo>
                      <a:cubicBezTo>
                        <a:pt x="250896" y="419339"/>
                        <a:pt x="249412" y="420467"/>
                        <a:pt x="248804" y="421127"/>
                      </a:cubicBezTo>
                      <a:cubicBezTo>
                        <a:pt x="257728" y="429835"/>
                        <a:pt x="245876" y="429835"/>
                        <a:pt x="237015" y="426907"/>
                      </a:cubicBezTo>
                      <a:cubicBezTo>
                        <a:pt x="221790" y="421887"/>
                        <a:pt x="216707" y="412887"/>
                        <a:pt x="205755" y="404343"/>
                      </a:cubicBezTo>
                      <a:cubicBezTo>
                        <a:pt x="206604" y="408957"/>
                        <a:pt x="211130" y="408957"/>
                        <a:pt x="212981" y="411505"/>
                      </a:cubicBezTo>
                      <a:cubicBezTo>
                        <a:pt x="216441" y="416386"/>
                        <a:pt x="218241" y="423801"/>
                        <a:pt x="220890" y="429062"/>
                      </a:cubicBezTo>
                      <a:cubicBezTo>
                        <a:pt x="222209" y="431699"/>
                        <a:pt x="229536" y="441777"/>
                        <a:pt x="228699" y="443805"/>
                      </a:cubicBezTo>
                      <a:cubicBezTo>
                        <a:pt x="227571" y="446518"/>
                        <a:pt x="220763" y="440661"/>
                        <a:pt x="217392" y="440890"/>
                      </a:cubicBezTo>
                      <a:cubicBezTo>
                        <a:pt x="234404" y="448102"/>
                        <a:pt x="216213" y="446733"/>
                        <a:pt x="208227" y="445630"/>
                      </a:cubicBezTo>
                      <a:cubicBezTo>
                        <a:pt x="203270" y="444971"/>
                        <a:pt x="198098" y="445707"/>
                        <a:pt x="193293" y="444122"/>
                      </a:cubicBezTo>
                      <a:cubicBezTo>
                        <a:pt x="189947" y="443044"/>
                        <a:pt x="190124" y="437720"/>
                        <a:pt x="184483" y="438607"/>
                      </a:cubicBezTo>
                      <a:cubicBezTo>
                        <a:pt x="189529" y="440509"/>
                        <a:pt x="208619" y="455087"/>
                        <a:pt x="204449" y="462921"/>
                      </a:cubicBezTo>
                      <a:cubicBezTo>
                        <a:pt x="204399" y="463023"/>
                        <a:pt x="156177" y="470831"/>
                        <a:pt x="154161" y="470667"/>
                      </a:cubicBezTo>
                      <a:cubicBezTo>
                        <a:pt x="146669" y="470109"/>
                        <a:pt x="140673" y="464785"/>
                        <a:pt x="132725" y="466179"/>
                      </a:cubicBezTo>
                      <a:cubicBezTo>
                        <a:pt x="127705" y="467041"/>
                        <a:pt x="121658" y="472746"/>
                        <a:pt x="116537" y="470058"/>
                      </a:cubicBezTo>
                      <a:cubicBezTo>
                        <a:pt x="107993" y="465621"/>
                        <a:pt x="116233" y="457356"/>
                        <a:pt x="103278" y="458485"/>
                      </a:cubicBezTo>
                      <a:cubicBezTo>
                        <a:pt x="99576" y="458801"/>
                        <a:pt x="96419" y="460842"/>
                        <a:pt x="94708" y="463200"/>
                      </a:cubicBezTo>
                      <a:cubicBezTo>
                        <a:pt x="97662" y="461628"/>
                        <a:pt x="106687" y="457711"/>
                        <a:pt x="110453" y="460208"/>
                      </a:cubicBezTo>
                      <a:cubicBezTo>
                        <a:pt x="112912" y="461806"/>
                        <a:pt x="111581" y="468905"/>
                        <a:pt x="114205" y="471136"/>
                      </a:cubicBezTo>
                      <a:cubicBezTo>
                        <a:pt x="120213" y="476219"/>
                        <a:pt x="120987" y="471225"/>
                        <a:pt x="127008" y="470299"/>
                      </a:cubicBezTo>
                      <a:cubicBezTo>
                        <a:pt x="143817" y="467586"/>
                        <a:pt x="170527" y="480846"/>
                        <a:pt x="181479" y="494714"/>
                      </a:cubicBezTo>
                      <a:cubicBezTo>
                        <a:pt x="186411" y="500938"/>
                        <a:pt x="192178" y="513222"/>
                        <a:pt x="185510" y="519915"/>
                      </a:cubicBezTo>
                      <a:cubicBezTo>
                        <a:pt x="182050" y="523413"/>
                        <a:pt x="174418" y="522273"/>
                        <a:pt x="170615" y="523388"/>
                      </a:cubicBezTo>
                      <a:cubicBezTo>
                        <a:pt x="157774" y="527242"/>
                        <a:pt x="142156" y="545800"/>
                        <a:pt x="128593" y="544558"/>
                      </a:cubicBezTo>
                      <a:cubicBezTo>
                        <a:pt x="123015" y="544063"/>
                        <a:pt x="114927" y="536965"/>
                        <a:pt x="108678" y="535203"/>
                      </a:cubicBezTo>
                      <a:cubicBezTo>
                        <a:pt x="99133" y="532515"/>
                        <a:pt x="94239" y="532541"/>
                        <a:pt x="83566" y="533960"/>
                      </a:cubicBezTo>
                      <a:cubicBezTo>
                        <a:pt x="75427" y="535013"/>
                        <a:pt x="69089" y="535621"/>
                        <a:pt x="60824" y="535760"/>
                      </a:cubicBezTo>
                      <a:cubicBezTo>
                        <a:pt x="53396" y="535875"/>
                        <a:pt x="50416" y="533441"/>
                        <a:pt x="43660" y="532199"/>
                      </a:cubicBezTo>
                      <a:cubicBezTo>
                        <a:pt x="33722" y="530347"/>
                        <a:pt x="28131" y="538613"/>
                        <a:pt x="19334" y="536369"/>
                      </a:cubicBezTo>
                      <a:cubicBezTo>
                        <a:pt x="4198" y="532515"/>
                        <a:pt x="8470" y="513171"/>
                        <a:pt x="8495" y="501939"/>
                      </a:cubicBezTo>
                      <a:cubicBezTo>
                        <a:pt x="8495" y="473100"/>
                        <a:pt x="8419" y="444249"/>
                        <a:pt x="8419" y="415384"/>
                      </a:cubicBezTo>
                      <a:cubicBezTo>
                        <a:pt x="8394" y="401630"/>
                        <a:pt x="11259" y="383389"/>
                        <a:pt x="8444" y="369939"/>
                      </a:cubicBezTo>
                      <a:cubicBezTo>
                        <a:pt x="6962" y="362637"/>
                        <a:pt x="2892" y="361838"/>
                        <a:pt x="877" y="355171"/>
                      </a:cubicBezTo>
                      <a:cubicBezTo>
                        <a:pt x="-1190" y="348427"/>
                        <a:pt x="800" y="345651"/>
                        <a:pt x="2689" y="340745"/>
                      </a:cubicBezTo>
                      <a:cubicBezTo>
                        <a:pt x="4046" y="337221"/>
                        <a:pt x="8647" y="333621"/>
                        <a:pt x="3691" y="330452"/>
                      </a:cubicBezTo>
                      <a:cubicBezTo>
                        <a:pt x="13122" y="326395"/>
                        <a:pt x="8419" y="295325"/>
                        <a:pt x="8419" y="283865"/>
                      </a:cubicBezTo>
                      <a:cubicBezTo>
                        <a:pt x="8419" y="259311"/>
                        <a:pt x="8470" y="234795"/>
                        <a:pt x="8394" y="210278"/>
                      </a:cubicBezTo>
                      <a:cubicBezTo>
                        <a:pt x="8191" y="156073"/>
                        <a:pt x="8166" y="101843"/>
                        <a:pt x="8217" y="47638"/>
                      </a:cubicBezTo>
                      <a:cubicBezTo>
                        <a:pt x="11855" y="46979"/>
                        <a:pt x="15252" y="47093"/>
                        <a:pt x="19131" y="48183"/>
                      </a:cubicBezTo>
                      <a:lnTo>
                        <a:pt x="19131" y="48183"/>
                      </a:lnTo>
                      <a:close/>
                      <a:moveTo>
                        <a:pt x="752620" y="55777"/>
                      </a:moveTo>
                      <a:cubicBezTo>
                        <a:pt x="760087" y="66513"/>
                        <a:pt x="771939" y="66070"/>
                        <a:pt x="782410" y="70836"/>
                      </a:cubicBezTo>
                      <a:cubicBezTo>
                        <a:pt x="793223" y="75767"/>
                        <a:pt x="802426" y="86897"/>
                        <a:pt x="812022" y="91030"/>
                      </a:cubicBezTo>
                      <a:cubicBezTo>
                        <a:pt x="821188" y="94985"/>
                        <a:pt x="824850" y="94110"/>
                        <a:pt x="831557" y="101387"/>
                      </a:cubicBezTo>
                      <a:cubicBezTo>
                        <a:pt x="836158" y="106381"/>
                        <a:pt x="855693" y="127614"/>
                        <a:pt x="859787" y="124395"/>
                      </a:cubicBezTo>
                      <a:cubicBezTo>
                        <a:pt x="864629" y="130036"/>
                        <a:pt x="871932" y="150204"/>
                        <a:pt x="884241" y="141216"/>
                      </a:cubicBezTo>
                      <a:cubicBezTo>
                        <a:pt x="885115" y="146414"/>
                        <a:pt x="887637" y="152422"/>
                        <a:pt x="893292" y="149621"/>
                      </a:cubicBezTo>
                      <a:cubicBezTo>
                        <a:pt x="894800" y="156314"/>
                        <a:pt x="902355" y="161283"/>
                        <a:pt x="904789" y="166861"/>
                      </a:cubicBezTo>
                      <a:cubicBezTo>
                        <a:pt x="909695" y="178067"/>
                        <a:pt x="903445" y="176635"/>
                        <a:pt x="900301" y="186484"/>
                      </a:cubicBezTo>
                      <a:cubicBezTo>
                        <a:pt x="899630" y="188563"/>
                        <a:pt x="903597" y="191618"/>
                        <a:pt x="902824" y="195054"/>
                      </a:cubicBezTo>
                      <a:cubicBezTo>
                        <a:pt x="902672" y="195789"/>
                        <a:pt x="900035" y="199630"/>
                        <a:pt x="899402" y="200745"/>
                      </a:cubicBezTo>
                      <a:cubicBezTo>
                        <a:pt x="896397" y="206298"/>
                        <a:pt x="892543" y="208782"/>
                        <a:pt x="889704" y="213181"/>
                      </a:cubicBezTo>
                      <a:cubicBezTo>
                        <a:pt x="886358" y="205005"/>
                        <a:pt x="880146" y="200809"/>
                        <a:pt x="876710" y="192784"/>
                      </a:cubicBezTo>
                      <a:cubicBezTo>
                        <a:pt x="873085" y="184393"/>
                        <a:pt x="876343" y="177852"/>
                        <a:pt x="874898" y="168446"/>
                      </a:cubicBezTo>
                      <a:cubicBezTo>
                        <a:pt x="872160" y="150774"/>
                        <a:pt x="859724" y="141723"/>
                        <a:pt x="849976" y="128185"/>
                      </a:cubicBezTo>
                      <a:cubicBezTo>
                        <a:pt x="846730" y="123660"/>
                        <a:pt x="844335" y="118170"/>
                        <a:pt x="838643" y="114976"/>
                      </a:cubicBezTo>
                      <a:cubicBezTo>
                        <a:pt x="833496" y="112098"/>
                        <a:pt x="827868" y="112897"/>
                        <a:pt x="822163" y="110894"/>
                      </a:cubicBezTo>
                      <a:cubicBezTo>
                        <a:pt x="812022" y="107345"/>
                        <a:pt x="807104" y="99764"/>
                        <a:pt x="798991" y="93527"/>
                      </a:cubicBezTo>
                      <a:cubicBezTo>
                        <a:pt x="786340" y="83893"/>
                        <a:pt x="771128" y="74779"/>
                        <a:pt x="758312" y="66691"/>
                      </a:cubicBezTo>
                      <a:cubicBezTo>
                        <a:pt x="749984" y="61392"/>
                        <a:pt x="744595" y="63598"/>
                        <a:pt x="735811" y="60834"/>
                      </a:cubicBezTo>
                      <a:cubicBezTo>
                        <a:pt x="719699" y="55751"/>
                        <a:pt x="745939" y="57856"/>
                        <a:pt x="739627" y="52709"/>
                      </a:cubicBezTo>
                      <a:cubicBezTo>
                        <a:pt x="738967" y="51986"/>
                        <a:pt x="738499" y="49907"/>
                        <a:pt x="734150" y="48754"/>
                      </a:cubicBezTo>
                      <a:cubicBezTo>
                        <a:pt x="734404" y="47448"/>
                        <a:pt x="735114" y="45470"/>
                        <a:pt x="735570" y="44368"/>
                      </a:cubicBezTo>
                      <a:cubicBezTo>
                        <a:pt x="740628" y="48703"/>
                        <a:pt x="746066" y="54217"/>
                        <a:pt x="752620" y="55777"/>
                      </a:cubicBezTo>
                      <a:lnTo>
                        <a:pt x="752620" y="55777"/>
                      </a:lnTo>
                      <a:close/>
                      <a:moveTo>
                        <a:pt x="445772" y="0"/>
                      </a:moveTo>
                      <a:cubicBezTo>
                        <a:pt x="451996" y="773"/>
                        <a:pt x="460718" y="-1534"/>
                        <a:pt x="465142" y="3879"/>
                      </a:cubicBezTo>
                      <a:cubicBezTo>
                        <a:pt x="468070" y="1521"/>
                        <a:pt x="479720" y="5324"/>
                        <a:pt x="484955" y="6908"/>
                      </a:cubicBezTo>
                      <a:cubicBezTo>
                        <a:pt x="483751" y="4272"/>
                        <a:pt x="484119" y="3055"/>
                        <a:pt x="481837" y="684"/>
                      </a:cubicBezTo>
                      <a:cubicBezTo>
                        <a:pt x="489595" y="2130"/>
                        <a:pt x="486350" y="10344"/>
                        <a:pt x="478350" y="8430"/>
                      </a:cubicBezTo>
                      <a:cubicBezTo>
                        <a:pt x="478845" y="8011"/>
                        <a:pt x="479162" y="7517"/>
                        <a:pt x="479403" y="6908"/>
                      </a:cubicBezTo>
                      <a:cubicBezTo>
                        <a:pt x="477742" y="7276"/>
                        <a:pt x="475004" y="8354"/>
                        <a:pt x="475258" y="8240"/>
                      </a:cubicBezTo>
                      <a:cubicBezTo>
                        <a:pt x="472570" y="20004"/>
                        <a:pt x="462834" y="15148"/>
                        <a:pt x="457548" y="16467"/>
                      </a:cubicBezTo>
                      <a:cubicBezTo>
                        <a:pt x="447534" y="20181"/>
                        <a:pt x="439396" y="14996"/>
                        <a:pt x="431282" y="11967"/>
                      </a:cubicBezTo>
                      <a:cubicBezTo>
                        <a:pt x="436619" y="18533"/>
                        <a:pt x="420964" y="20054"/>
                        <a:pt x="419354" y="17975"/>
                      </a:cubicBezTo>
                      <a:cubicBezTo>
                        <a:pt x="414537" y="11726"/>
                        <a:pt x="429280" y="13728"/>
                        <a:pt x="422700" y="3156"/>
                      </a:cubicBezTo>
                      <a:cubicBezTo>
                        <a:pt x="427873" y="2282"/>
                        <a:pt x="436987" y="89"/>
                        <a:pt x="445772" y="0"/>
                      </a:cubicBezTo>
                      <a:lnTo>
                        <a:pt x="445772" y="0"/>
                      </a:lnTo>
                      <a:close/>
                    </a:path>
                  </a:pathLst>
                </a:custGeom>
                <a:solidFill>
                  <a:srgbClr val="D6D6D2"/>
                </a:solidFill>
                <a:ln w="12413" cap="rnd">
                  <a:solidFill>
                    <a:srgbClr val="FFFFFF"/>
                  </a:solidFill>
                  <a:prstDash val="solid"/>
                  <a:round/>
                </a:ln>
              </p:spPr>
              <p:txBody>
                <a:bodyPr rtlCol="0" anchor="ctr"/>
                <a:lstStyle/>
                <a:p>
                  <a:endParaRPr lang="en-US"/>
                </a:p>
              </p:txBody>
            </p:sp>
            <p:sp>
              <p:nvSpPr>
                <p:cNvPr id="80" name="Freeform: Shape 79">
                  <a:extLst>
                    <a:ext uri="{FF2B5EF4-FFF2-40B4-BE49-F238E27FC236}">
                      <a16:creationId xmlns:a16="http://schemas.microsoft.com/office/drawing/2014/main" id="{DB41F194-C560-4046-9CB9-7140EA5DF231}"/>
                    </a:ext>
                  </a:extLst>
                </p:cNvPr>
                <p:cNvSpPr/>
                <p:nvPr/>
              </p:nvSpPr>
              <p:spPr>
                <a:xfrm>
                  <a:off x="4587228" y="3512867"/>
                  <a:ext cx="696346" cy="975248"/>
                </a:xfrm>
                <a:custGeom>
                  <a:avLst/>
                  <a:gdLst>
                    <a:gd name="connsiteX0" fmla="*/ 359253 w 696346"/>
                    <a:gd name="connsiteY0" fmla="*/ 914396 h 975248"/>
                    <a:gd name="connsiteX1" fmla="*/ 345765 w 696346"/>
                    <a:gd name="connsiteY1" fmla="*/ 902506 h 975248"/>
                    <a:gd name="connsiteX2" fmla="*/ 340884 w 696346"/>
                    <a:gd name="connsiteY2" fmla="*/ 898285 h 975248"/>
                    <a:gd name="connsiteX3" fmla="*/ 352648 w 696346"/>
                    <a:gd name="connsiteY3" fmla="*/ 893265 h 975248"/>
                    <a:gd name="connsiteX4" fmla="*/ 379814 w 696346"/>
                    <a:gd name="connsiteY4" fmla="*/ 900389 h 975248"/>
                    <a:gd name="connsiteX5" fmla="*/ 359253 w 696346"/>
                    <a:gd name="connsiteY5" fmla="*/ 914396 h 975248"/>
                    <a:gd name="connsiteX6" fmla="*/ 359253 w 696346"/>
                    <a:gd name="connsiteY6" fmla="*/ 914396 h 975248"/>
                    <a:gd name="connsiteX7" fmla="*/ 624357 w 696346"/>
                    <a:gd name="connsiteY7" fmla="*/ 677789 h 975248"/>
                    <a:gd name="connsiteX8" fmla="*/ 627995 w 696346"/>
                    <a:gd name="connsiteY8" fmla="*/ 678334 h 975248"/>
                    <a:gd name="connsiteX9" fmla="*/ 647187 w 696346"/>
                    <a:gd name="connsiteY9" fmla="*/ 689515 h 975248"/>
                    <a:gd name="connsiteX10" fmla="*/ 648721 w 696346"/>
                    <a:gd name="connsiteY10" fmla="*/ 687487 h 975248"/>
                    <a:gd name="connsiteX11" fmla="*/ 650255 w 696346"/>
                    <a:gd name="connsiteY11" fmla="*/ 693597 h 975248"/>
                    <a:gd name="connsiteX12" fmla="*/ 666962 w 696346"/>
                    <a:gd name="connsiteY12" fmla="*/ 700442 h 975248"/>
                    <a:gd name="connsiteX13" fmla="*/ 664110 w 696346"/>
                    <a:gd name="connsiteY13" fmla="*/ 716630 h 975248"/>
                    <a:gd name="connsiteX14" fmla="*/ 674505 w 696346"/>
                    <a:gd name="connsiteY14" fmla="*/ 727899 h 975248"/>
                    <a:gd name="connsiteX15" fmla="*/ 670030 w 696346"/>
                    <a:gd name="connsiteY15" fmla="*/ 745875 h 975248"/>
                    <a:gd name="connsiteX16" fmla="*/ 668446 w 696346"/>
                    <a:gd name="connsiteY16" fmla="*/ 758095 h 975248"/>
                    <a:gd name="connsiteX17" fmla="*/ 666544 w 696346"/>
                    <a:gd name="connsiteY17" fmla="*/ 756586 h 975248"/>
                    <a:gd name="connsiteX18" fmla="*/ 681135 w 696346"/>
                    <a:gd name="connsiteY18" fmla="*/ 762658 h 975248"/>
                    <a:gd name="connsiteX19" fmla="*/ 675278 w 696346"/>
                    <a:gd name="connsiteY19" fmla="*/ 771469 h 975248"/>
                    <a:gd name="connsiteX20" fmla="*/ 684672 w 696346"/>
                    <a:gd name="connsiteY20" fmla="*/ 779379 h 975248"/>
                    <a:gd name="connsiteX21" fmla="*/ 681376 w 696346"/>
                    <a:gd name="connsiteY21" fmla="*/ 801030 h 975248"/>
                    <a:gd name="connsiteX22" fmla="*/ 688462 w 696346"/>
                    <a:gd name="connsiteY22" fmla="*/ 816927 h 975248"/>
                    <a:gd name="connsiteX23" fmla="*/ 693621 w 696346"/>
                    <a:gd name="connsiteY23" fmla="*/ 818346 h 975248"/>
                    <a:gd name="connsiteX24" fmla="*/ 692848 w 696346"/>
                    <a:gd name="connsiteY24" fmla="*/ 823012 h 975248"/>
                    <a:gd name="connsiteX25" fmla="*/ 695637 w 696346"/>
                    <a:gd name="connsiteY25" fmla="*/ 835954 h 975248"/>
                    <a:gd name="connsiteX26" fmla="*/ 696347 w 696346"/>
                    <a:gd name="connsiteY26" fmla="*/ 850608 h 975248"/>
                    <a:gd name="connsiteX27" fmla="*/ 686459 w 696346"/>
                    <a:gd name="connsiteY27" fmla="*/ 865376 h 975248"/>
                    <a:gd name="connsiteX28" fmla="*/ 684076 w 696346"/>
                    <a:gd name="connsiteY28" fmla="*/ 872310 h 975248"/>
                    <a:gd name="connsiteX29" fmla="*/ 675114 w 696346"/>
                    <a:gd name="connsiteY29" fmla="*/ 872285 h 975248"/>
                    <a:gd name="connsiteX30" fmla="*/ 676369 w 696346"/>
                    <a:gd name="connsiteY30" fmla="*/ 886280 h 975248"/>
                    <a:gd name="connsiteX31" fmla="*/ 664922 w 696346"/>
                    <a:gd name="connsiteY31" fmla="*/ 879714 h 975248"/>
                    <a:gd name="connsiteX32" fmla="*/ 663413 w 696346"/>
                    <a:gd name="connsiteY32" fmla="*/ 878180 h 975248"/>
                    <a:gd name="connsiteX33" fmla="*/ 669726 w 696346"/>
                    <a:gd name="connsiteY33" fmla="*/ 889944 h 975248"/>
                    <a:gd name="connsiteX34" fmla="*/ 665518 w 696346"/>
                    <a:gd name="connsiteY34" fmla="*/ 924031 h 975248"/>
                    <a:gd name="connsiteX35" fmla="*/ 657886 w 696346"/>
                    <a:gd name="connsiteY35" fmla="*/ 907678 h 975248"/>
                    <a:gd name="connsiteX36" fmla="*/ 656885 w 696346"/>
                    <a:gd name="connsiteY36" fmla="*/ 886293 h 975248"/>
                    <a:gd name="connsiteX37" fmla="*/ 653792 w 696346"/>
                    <a:gd name="connsiteY37" fmla="*/ 881767 h 975248"/>
                    <a:gd name="connsiteX38" fmla="*/ 649723 w 696346"/>
                    <a:gd name="connsiteY38" fmla="*/ 870637 h 975248"/>
                    <a:gd name="connsiteX39" fmla="*/ 642915 w 696346"/>
                    <a:gd name="connsiteY39" fmla="*/ 861016 h 975248"/>
                    <a:gd name="connsiteX40" fmla="*/ 639734 w 696346"/>
                    <a:gd name="connsiteY40" fmla="*/ 848542 h 975248"/>
                    <a:gd name="connsiteX41" fmla="*/ 625777 w 696346"/>
                    <a:gd name="connsiteY41" fmla="*/ 852763 h 975248"/>
                    <a:gd name="connsiteX42" fmla="*/ 624864 w 696346"/>
                    <a:gd name="connsiteY42" fmla="*/ 862676 h 975248"/>
                    <a:gd name="connsiteX43" fmla="*/ 618107 w 696346"/>
                    <a:gd name="connsiteY43" fmla="*/ 868520 h 975248"/>
                    <a:gd name="connsiteX44" fmla="*/ 606673 w 696346"/>
                    <a:gd name="connsiteY44" fmla="*/ 884936 h 975248"/>
                    <a:gd name="connsiteX45" fmla="*/ 608752 w 696346"/>
                    <a:gd name="connsiteY45" fmla="*/ 899464 h 975248"/>
                    <a:gd name="connsiteX46" fmla="*/ 620414 w 696346"/>
                    <a:gd name="connsiteY46" fmla="*/ 908147 h 975248"/>
                    <a:gd name="connsiteX47" fmla="*/ 624509 w 696346"/>
                    <a:gd name="connsiteY47" fmla="*/ 922712 h 975248"/>
                    <a:gd name="connsiteX48" fmla="*/ 620719 w 696346"/>
                    <a:gd name="connsiteY48" fmla="*/ 955177 h 975248"/>
                    <a:gd name="connsiteX49" fmla="*/ 595518 w 696346"/>
                    <a:gd name="connsiteY49" fmla="*/ 965293 h 975248"/>
                    <a:gd name="connsiteX50" fmla="*/ 590219 w 696346"/>
                    <a:gd name="connsiteY50" fmla="*/ 959779 h 975248"/>
                    <a:gd name="connsiteX51" fmla="*/ 597483 w 696346"/>
                    <a:gd name="connsiteY51" fmla="*/ 943514 h 975248"/>
                    <a:gd name="connsiteX52" fmla="*/ 581916 w 696346"/>
                    <a:gd name="connsiteY52" fmla="*/ 955037 h 975248"/>
                    <a:gd name="connsiteX53" fmla="*/ 548691 w 696346"/>
                    <a:gd name="connsiteY53" fmla="*/ 945885 h 975248"/>
                    <a:gd name="connsiteX54" fmla="*/ 515833 w 696346"/>
                    <a:gd name="connsiteY54" fmla="*/ 924322 h 975248"/>
                    <a:gd name="connsiteX55" fmla="*/ 506681 w 696346"/>
                    <a:gd name="connsiteY55" fmla="*/ 895458 h 975248"/>
                    <a:gd name="connsiteX56" fmla="*/ 501990 w 696346"/>
                    <a:gd name="connsiteY56" fmla="*/ 869940 h 975248"/>
                    <a:gd name="connsiteX57" fmla="*/ 515833 w 696346"/>
                    <a:gd name="connsiteY57" fmla="*/ 855020 h 975248"/>
                    <a:gd name="connsiteX58" fmla="*/ 521107 w 696346"/>
                    <a:gd name="connsiteY58" fmla="*/ 841202 h 975248"/>
                    <a:gd name="connsiteX59" fmla="*/ 501825 w 696346"/>
                    <a:gd name="connsiteY59" fmla="*/ 822695 h 975248"/>
                    <a:gd name="connsiteX60" fmla="*/ 491012 w 696346"/>
                    <a:gd name="connsiteY60" fmla="*/ 818980 h 975248"/>
                    <a:gd name="connsiteX61" fmla="*/ 481340 w 696346"/>
                    <a:gd name="connsiteY61" fmla="*/ 811463 h 975248"/>
                    <a:gd name="connsiteX62" fmla="*/ 461856 w 696346"/>
                    <a:gd name="connsiteY62" fmla="*/ 812465 h 975248"/>
                    <a:gd name="connsiteX63" fmla="*/ 463783 w 696346"/>
                    <a:gd name="connsiteY63" fmla="*/ 823138 h 975248"/>
                    <a:gd name="connsiteX64" fmla="*/ 458231 w 696346"/>
                    <a:gd name="connsiteY64" fmla="*/ 828310 h 975248"/>
                    <a:gd name="connsiteX65" fmla="*/ 455696 w 696346"/>
                    <a:gd name="connsiteY65" fmla="*/ 827524 h 975248"/>
                    <a:gd name="connsiteX66" fmla="*/ 462807 w 696346"/>
                    <a:gd name="connsiteY66" fmla="*/ 840442 h 975248"/>
                    <a:gd name="connsiteX67" fmla="*/ 450105 w 696346"/>
                    <a:gd name="connsiteY67" fmla="*/ 834598 h 975248"/>
                    <a:gd name="connsiteX68" fmla="*/ 437948 w 696346"/>
                    <a:gd name="connsiteY68" fmla="*/ 830377 h 975248"/>
                    <a:gd name="connsiteX69" fmla="*/ 441485 w 696346"/>
                    <a:gd name="connsiteY69" fmla="*/ 823366 h 975248"/>
                    <a:gd name="connsiteX70" fmla="*/ 437657 w 696346"/>
                    <a:gd name="connsiteY70" fmla="*/ 816280 h 975248"/>
                    <a:gd name="connsiteX71" fmla="*/ 427794 w 696346"/>
                    <a:gd name="connsiteY71" fmla="*/ 835891 h 975248"/>
                    <a:gd name="connsiteX72" fmla="*/ 423523 w 696346"/>
                    <a:gd name="connsiteY72" fmla="*/ 831276 h 975248"/>
                    <a:gd name="connsiteX73" fmla="*/ 419910 w 696346"/>
                    <a:gd name="connsiteY73" fmla="*/ 835308 h 975248"/>
                    <a:gd name="connsiteX74" fmla="*/ 413153 w 696346"/>
                    <a:gd name="connsiteY74" fmla="*/ 835168 h 975248"/>
                    <a:gd name="connsiteX75" fmla="*/ 416246 w 696346"/>
                    <a:gd name="connsiteY75" fmla="*/ 832088 h 975248"/>
                    <a:gd name="connsiteX76" fmla="*/ 408716 w 696346"/>
                    <a:gd name="connsiteY76" fmla="*/ 814480 h 975248"/>
                    <a:gd name="connsiteX77" fmla="*/ 387065 w 696346"/>
                    <a:gd name="connsiteY77" fmla="*/ 828323 h 975248"/>
                    <a:gd name="connsiteX78" fmla="*/ 390893 w 696346"/>
                    <a:gd name="connsiteY78" fmla="*/ 828323 h 975248"/>
                    <a:gd name="connsiteX79" fmla="*/ 387788 w 696346"/>
                    <a:gd name="connsiteY79" fmla="*/ 834141 h 975248"/>
                    <a:gd name="connsiteX80" fmla="*/ 388358 w 696346"/>
                    <a:gd name="connsiteY80" fmla="*/ 831112 h 975248"/>
                    <a:gd name="connsiteX81" fmla="*/ 381753 w 696346"/>
                    <a:gd name="connsiteY81" fmla="*/ 840023 h 975248"/>
                    <a:gd name="connsiteX82" fmla="*/ 377215 w 696346"/>
                    <a:gd name="connsiteY82" fmla="*/ 847350 h 975248"/>
                    <a:gd name="connsiteX83" fmla="*/ 361763 w 696346"/>
                    <a:gd name="connsiteY83" fmla="*/ 878611 h 975248"/>
                    <a:gd name="connsiteX84" fmla="*/ 347502 w 696346"/>
                    <a:gd name="connsiteY84" fmla="*/ 863817 h 975248"/>
                    <a:gd name="connsiteX85" fmla="*/ 358872 w 696346"/>
                    <a:gd name="connsiteY85" fmla="*/ 847997 h 975248"/>
                    <a:gd name="connsiteX86" fmla="*/ 365781 w 696346"/>
                    <a:gd name="connsiteY86" fmla="*/ 827537 h 975248"/>
                    <a:gd name="connsiteX87" fmla="*/ 375022 w 696346"/>
                    <a:gd name="connsiteY87" fmla="*/ 797481 h 975248"/>
                    <a:gd name="connsiteX88" fmla="*/ 405243 w 696346"/>
                    <a:gd name="connsiteY88" fmla="*/ 784982 h 975248"/>
                    <a:gd name="connsiteX89" fmla="*/ 427021 w 696346"/>
                    <a:gd name="connsiteY89" fmla="*/ 783385 h 975248"/>
                    <a:gd name="connsiteX90" fmla="*/ 428416 w 696346"/>
                    <a:gd name="connsiteY90" fmla="*/ 768984 h 975248"/>
                    <a:gd name="connsiteX91" fmla="*/ 435007 w 696346"/>
                    <a:gd name="connsiteY91" fmla="*/ 758691 h 975248"/>
                    <a:gd name="connsiteX92" fmla="*/ 450092 w 696346"/>
                    <a:gd name="connsiteY92" fmla="*/ 758425 h 975248"/>
                    <a:gd name="connsiteX93" fmla="*/ 457800 w 696346"/>
                    <a:gd name="connsiteY93" fmla="*/ 743872 h 975248"/>
                    <a:gd name="connsiteX94" fmla="*/ 466876 w 696346"/>
                    <a:gd name="connsiteY94" fmla="*/ 745406 h 975248"/>
                    <a:gd name="connsiteX95" fmla="*/ 471909 w 696346"/>
                    <a:gd name="connsiteY95" fmla="*/ 753988 h 975248"/>
                    <a:gd name="connsiteX96" fmla="*/ 473544 w 696346"/>
                    <a:gd name="connsiteY96" fmla="*/ 748055 h 975248"/>
                    <a:gd name="connsiteX97" fmla="*/ 493003 w 696346"/>
                    <a:gd name="connsiteY97" fmla="*/ 772508 h 975248"/>
                    <a:gd name="connsiteX98" fmla="*/ 484078 w 696346"/>
                    <a:gd name="connsiteY98" fmla="*/ 793551 h 975248"/>
                    <a:gd name="connsiteX99" fmla="*/ 478983 w 696346"/>
                    <a:gd name="connsiteY99" fmla="*/ 799852 h 975248"/>
                    <a:gd name="connsiteX100" fmla="*/ 495614 w 696346"/>
                    <a:gd name="connsiteY100" fmla="*/ 788848 h 975248"/>
                    <a:gd name="connsiteX101" fmla="*/ 515174 w 696346"/>
                    <a:gd name="connsiteY101" fmla="*/ 782954 h 975248"/>
                    <a:gd name="connsiteX102" fmla="*/ 525277 w 696346"/>
                    <a:gd name="connsiteY102" fmla="*/ 763242 h 975248"/>
                    <a:gd name="connsiteX103" fmla="*/ 551492 w 696346"/>
                    <a:gd name="connsiteY103" fmla="*/ 759046 h 975248"/>
                    <a:gd name="connsiteX104" fmla="*/ 549933 w 696346"/>
                    <a:gd name="connsiteY104" fmla="*/ 765156 h 975248"/>
                    <a:gd name="connsiteX105" fmla="*/ 558375 w 696346"/>
                    <a:gd name="connsiteY105" fmla="*/ 759198 h 975248"/>
                    <a:gd name="connsiteX106" fmla="*/ 558401 w 696346"/>
                    <a:gd name="connsiteY106" fmla="*/ 745837 h 975248"/>
                    <a:gd name="connsiteX107" fmla="*/ 572548 w 696346"/>
                    <a:gd name="connsiteY107" fmla="*/ 725580 h 975248"/>
                    <a:gd name="connsiteX108" fmla="*/ 589217 w 696346"/>
                    <a:gd name="connsiteY108" fmla="*/ 733731 h 975248"/>
                    <a:gd name="connsiteX109" fmla="*/ 591132 w 696346"/>
                    <a:gd name="connsiteY109" fmla="*/ 717682 h 975248"/>
                    <a:gd name="connsiteX110" fmla="*/ 607826 w 696346"/>
                    <a:gd name="connsiteY110" fmla="*/ 724452 h 975248"/>
                    <a:gd name="connsiteX111" fmla="*/ 616193 w 696346"/>
                    <a:gd name="connsiteY111" fmla="*/ 706932 h 975248"/>
                    <a:gd name="connsiteX112" fmla="*/ 610729 w 696346"/>
                    <a:gd name="connsiteY112" fmla="*/ 662020 h 975248"/>
                    <a:gd name="connsiteX113" fmla="*/ 620250 w 696346"/>
                    <a:gd name="connsiteY113" fmla="*/ 667547 h 975248"/>
                    <a:gd name="connsiteX114" fmla="*/ 624357 w 696346"/>
                    <a:gd name="connsiteY114" fmla="*/ 677789 h 975248"/>
                    <a:gd name="connsiteX115" fmla="*/ 624357 w 696346"/>
                    <a:gd name="connsiteY115" fmla="*/ 677789 h 975248"/>
                    <a:gd name="connsiteX116" fmla="*/ 528700 w 696346"/>
                    <a:gd name="connsiteY116" fmla="*/ 637681 h 975248"/>
                    <a:gd name="connsiteX117" fmla="*/ 529181 w 696346"/>
                    <a:gd name="connsiteY117" fmla="*/ 640723 h 975248"/>
                    <a:gd name="connsiteX118" fmla="*/ 532211 w 696346"/>
                    <a:gd name="connsiteY118" fmla="*/ 637630 h 975248"/>
                    <a:gd name="connsiteX119" fmla="*/ 544862 w 696346"/>
                    <a:gd name="connsiteY119" fmla="*/ 649825 h 975248"/>
                    <a:gd name="connsiteX120" fmla="*/ 543493 w 696346"/>
                    <a:gd name="connsiteY120" fmla="*/ 659193 h 975248"/>
                    <a:gd name="connsiteX121" fmla="*/ 541047 w 696346"/>
                    <a:gd name="connsiteY121" fmla="*/ 667572 h 975248"/>
                    <a:gd name="connsiteX122" fmla="*/ 533732 w 696346"/>
                    <a:gd name="connsiteY122" fmla="*/ 673492 h 975248"/>
                    <a:gd name="connsiteX123" fmla="*/ 509457 w 696346"/>
                    <a:gd name="connsiteY123" fmla="*/ 678816 h 975248"/>
                    <a:gd name="connsiteX124" fmla="*/ 493294 w 696346"/>
                    <a:gd name="connsiteY124" fmla="*/ 671299 h 975248"/>
                    <a:gd name="connsiteX125" fmla="*/ 502802 w 696346"/>
                    <a:gd name="connsiteY125" fmla="*/ 651980 h 975248"/>
                    <a:gd name="connsiteX126" fmla="*/ 528700 w 696346"/>
                    <a:gd name="connsiteY126" fmla="*/ 637681 h 975248"/>
                    <a:gd name="connsiteX127" fmla="*/ 528700 w 696346"/>
                    <a:gd name="connsiteY127" fmla="*/ 637681 h 975248"/>
                    <a:gd name="connsiteX128" fmla="*/ 448888 w 696346"/>
                    <a:gd name="connsiteY128" fmla="*/ 576263 h 975248"/>
                    <a:gd name="connsiteX129" fmla="*/ 458763 w 696346"/>
                    <a:gd name="connsiteY129" fmla="*/ 578075 h 975248"/>
                    <a:gd name="connsiteX130" fmla="*/ 458916 w 696346"/>
                    <a:gd name="connsiteY130" fmla="*/ 580573 h 975248"/>
                    <a:gd name="connsiteX131" fmla="*/ 471123 w 696346"/>
                    <a:gd name="connsiteY131" fmla="*/ 591019 h 975248"/>
                    <a:gd name="connsiteX132" fmla="*/ 454187 w 696346"/>
                    <a:gd name="connsiteY132" fmla="*/ 624675 h 975248"/>
                    <a:gd name="connsiteX133" fmla="*/ 450371 w 696346"/>
                    <a:gd name="connsiteY133" fmla="*/ 641965 h 975248"/>
                    <a:gd name="connsiteX134" fmla="*/ 441941 w 696346"/>
                    <a:gd name="connsiteY134" fmla="*/ 655745 h 975248"/>
                    <a:gd name="connsiteX135" fmla="*/ 441510 w 696346"/>
                    <a:gd name="connsiteY135" fmla="*/ 681364 h 975248"/>
                    <a:gd name="connsiteX136" fmla="*/ 438963 w 696346"/>
                    <a:gd name="connsiteY136" fmla="*/ 682124 h 975248"/>
                    <a:gd name="connsiteX137" fmla="*/ 452869 w 696346"/>
                    <a:gd name="connsiteY137" fmla="*/ 702381 h 975248"/>
                    <a:gd name="connsiteX138" fmla="*/ 425804 w 696346"/>
                    <a:gd name="connsiteY138" fmla="*/ 717150 h 975248"/>
                    <a:gd name="connsiteX139" fmla="*/ 416221 w 696346"/>
                    <a:gd name="connsiteY139" fmla="*/ 696550 h 975248"/>
                    <a:gd name="connsiteX140" fmla="*/ 402023 w 696346"/>
                    <a:gd name="connsiteY140" fmla="*/ 691568 h 975248"/>
                    <a:gd name="connsiteX141" fmla="*/ 386304 w 696346"/>
                    <a:gd name="connsiteY141" fmla="*/ 674291 h 975248"/>
                    <a:gd name="connsiteX142" fmla="*/ 386824 w 696346"/>
                    <a:gd name="connsiteY142" fmla="*/ 670196 h 975248"/>
                    <a:gd name="connsiteX143" fmla="*/ 384771 w 696346"/>
                    <a:gd name="connsiteY143" fmla="*/ 671235 h 975248"/>
                    <a:gd name="connsiteX144" fmla="*/ 387838 w 696346"/>
                    <a:gd name="connsiteY144" fmla="*/ 654756 h 975248"/>
                    <a:gd name="connsiteX145" fmla="*/ 402518 w 696346"/>
                    <a:gd name="connsiteY145" fmla="*/ 651384 h 975248"/>
                    <a:gd name="connsiteX146" fmla="*/ 419276 w 696346"/>
                    <a:gd name="connsiteY146" fmla="*/ 622900 h 975248"/>
                    <a:gd name="connsiteX147" fmla="*/ 415473 w 696346"/>
                    <a:gd name="connsiteY147" fmla="*/ 612252 h 975248"/>
                    <a:gd name="connsiteX148" fmla="*/ 419707 w 696346"/>
                    <a:gd name="connsiteY148" fmla="*/ 607206 h 975248"/>
                    <a:gd name="connsiteX149" fmla="*/ 426616 w 696346"/>
                    <a:gd name="connsiteY149" fmla="*/ 588673 h 975248"/>
                    <a:gd name="connsiteX150" fmla="*/ 433220 w 696346"/>
                    <a:gd name="connsiteY150" fmla="*/ 580801 h 975248"/>
                    <a:gd name="connsiteX151" fmla="*/ 448888 w 696346"/>
                    <a:gd name="connsiteY151" fmla="*/ 576263 h 975248"/>
                    <a:gd name="connsiteX152" fmla="*/ 448888 w 696346"/>
                    <a:gd name="connsiteY152" fmla="*/ 576263 h 975248"/>
                    <a:gd name="connsiteX153" fmla="*/ 502789 w 696346"/>
                    <a:gd name="connsiteY153" fmla="*/ 568822 h 975248"/>
                    <a:gd name="connsiteX154" fmla="*/ 506921 w 696346"/>
                    <a:gd name="connsiteY154" fmla="*/ 569849 h 975248"/>
                    <a:gd name="connsiteX155" fmla="*/ 504513 w 696346"/>
                    <a:gd name="connsiteY155" fmla="*/ 594821 h 975248"/>
                    <a:gd name="connsiteX156" fmla="*/ 502332 w 696346"/>
                    <a:gd name="connsiteY156" fmla="*/ 622367 h 975248"/>
                    <a:gd name="connsiteX157" fmla="*/ 501369 w 696346"/>
                    <a:gd name="connsiteY157" fmla="*/ 620884 h 975248"/>
                    <a:gd name="connsiteX158" fmla="*/ 476827 w 696346"/>
                    <a:gd name="connsiteY158" fmla="*/ 644729 h 975248"/>
                    <a:gd name="connsiteX159" fmla="*/ 455493 w 696346"/>
                    <a:gd name="connsiteY159" fmla="*/ 692228 h 975248"/>
                    <a:gd name="connsiteX160" fmla="*/ 459105 w 696346"/>
                    <a:gd name="connsiteY160" fmla="*/ 650649 h 975248"/>
                    <a:gd name="connsiteX161" fmla="*/ 481999 w 696346"/>
                    <a:gd name="connsiteY161" fmla="*/ 612683 h 975248"/>
                    <a:gd name="connsiteX162" fmla="*/ 498783 w 696346"/>
                    <a:gd name="connsiteY162" fmla="*/ 567275 h 975248"/>
                    <a:gd name="connsiteX163" fmla="*/ 500849 w 696346"/>
                    <a:gd name="connsiteY163" fmla="*/ 568809 h 975248"/>
                    <a:gd name="connsiteX164" fmla="*/ 508367 w 696346"/>
                    <a:gd name="connsiteY164" fmla="*/ 554548 h 975248"/>
                    <a:gd name="connsiteX165" fmla="*/ 502789 w 696346"/>
                    <a:gd name="connsiteY165" fmla="*/ 568822 h 975248"/>
                    <a:gd name="connsiteX166" fmla="*/ 502789 w 696346"/>
                    <a:gd name="connsiteY166" fmla="*/ 568822 h 975248"/>
                    <a:gd name="connsiteX167" fmla="*/ 171855 w 696346"/>
                    <a:gd name="connsiteY167" fmla="*/ 549287 h 975248"/>
                    <a:gd name="connsiteX168" fmla="*/ 174061 w 696346"/>
                    <a:gd name="connsiteY168" fmla="*/ 549477 h 975248"/>
                    <a:gd name="connsiteX169" fmla="*/ 171399 w 696346"/>
                    <a:gd name="connsiteY169" fmla="*/ 565843 h 975248"/>
                    <a:gd name="connsiteX170" fmla="*/ 175151 w 696346"/>
                    <a:gd name="connsiteY170" fmla="*/ 571826 h 975248"/>
                    <a:gd name="connsiteX171" fmla="*/ 171729 w 696346"/>
                    <a:gd name="connsiteY171" fmla="*/ 573499 h 975248"/>
                    <a:gd name="connsiteX172" fmla="*/ 177066 w 696346"/>
                    <a:gd name="connsiteY172" fmla="*/ 586708 h 975248"/>
                    <a:gd name="connsiteX173" fmla="*/ 182618 w 696346"/>
                    <a:gd name="connsiteY173" fmla="*/ 600475 h 975248"/>
                    <a:gd name="connsiteX174" fmla="*/ 180108 w 696346"/>
                    <a:gd name="connsiteY174" fmla="*/ 600475 h 975248"/>
                    <a:gd name="connsiteX175" fmla="*/ 185698 w 696346"/>
                    <a:gd name="connsiteY175" fmla="*/ 612201 h 975248"/>
                    <a:gd name="connsiteX176" fmla="*/ 174074 w 696346"/>
                    <a:gd name="connsiteY176" fmla="*/ 621277 h 975248"/>
                    <a:gd name="connsiteX177" fmla="*/ 160358 w 696346"/>
                    <a:gd name="connsiteY177" fmla="*/ 623927 h 975248"/>
                    <a:gd name="connsiteX178" fmla="*/ 148150 w 696346"/>
                    <a:gd name="connsiteY178" fmla="*/ 644247 h 975248"/>
                    <a:gd name="connsiteX179" fmla="*/ 122012 w 696346"/>
                    <a:gd name="connsiteY179" fmla="*/ 651967 h 975248"/>
                    <a:gd name="connsiteX180" fmla="*/ 115813 w 696346"/>
                    <a:gd name="connsiteY180" fmla="*/ 661183 h 975248"/>
                    <a:gd name="connsiteX181" fmla="*/ 111097 w 696346"/>
                    <a:gd name="connsiteY181" fmla="*/ 665594 h 975248"/>
                    <a:gd name="connsiteX182" fmla="*/ 112225 w 696346"/>
                    <a:gd name="connsiteY182" fmla="*/ 671742 h 975248"/>
                    <a:gd name="connsiteX183" fmla="*/ 115369 w 696346"/>
                    <a:gd name="connsiteY183" fmla="*/ 672427 h 975248"/>
                    <a:gd name="connsiteX184" fmla="*/ 89268 w 696346"/>
                    <a:gd name="connsiteY184" fmla="*/ 704803 h 975248"/>
                    <a:gd name="connsiteX185" fmla="*/ 70380 w 696346"/>
                    <a:gd name="connsiteY185" fmla="*/ 712967 h 975248"/>
                    <a:gd name="connsiteX186" fmla="*/ 65373 w 696346"/>
                    <a:gd name="connsiteY186" fmla="*/ 722981 h 975248"/>
                    <a:gd name="connsiteX187" fmla="*/ 41870 w 696346"/>
                    <a:gd name="connsiteY187" fmla="*/ 745596 h 975248"/>
                    <a:gd name="connsiteX188" fmla="*/ 26570 w 696346"/>
                    <a:gd name="connsiteY188" fmla="*/ 750679 h 975248"/>
                    <a:gd name="connsiteX189" fmla="*/ 23591 w 696346"/>
                    <a:gd name="connsiteY189" fmla="*/ 758856 h 975248"/>
                    <a:gd name="connsiteX190" fmla="*/ 15174 w 696346"/>
                    <a:gd name="connsiteY190" fmla="*/ 760643 h 975248"/>
                    <a:gd name="connsiteX191" fmla="*/ 0 w 696346"/>
                    <a:gd name="connsiteY191" fmla="*/ 772394 h 975248"/>
                    <a:gd name="connsiteX192" fmla="*/ 18356 w 696346"/>
                    <a:gd name="connsiteY192" fmla="*/ 738928 h 975248"/>
                    <a:gd name="connsiteX193" fmla="*/ 32680 w 696346"/>
                    <a:gd name="connsiteY193" fmla="*/ 721574 h 975248"/>
                    <a:gd name="connsiteX194" fmla="*/ 40109 w 696346"/>
                    <a:gd name="connsiteY194" fmla="*/ 718227 h 975248"/>
                    <a:gd name="connsiteX195" fmla="*/ 58502 w 696346"/>
                    <a:gd name="connsiteY195" fmla="*/ 703307 h 975248"/>
                    <a:gd name="connsiteX196" fmla="*/ 59529 w 696346"/>
                    <a:gd name="connsiteY196" fmla="*/ 705830 h 975248"/>
                    <a:gd name="connsiteX197" fmla="*/ 86745 w 696346"/>
                    <a:gd name="connsiteY197" fmla="*/ 674582 h 975248"/>
                    <a:gd name="connsiteX198" fmla="*/ 100702 w 696346"/>
                    <a:gd name="connsiteY198" fmla="*/ 662020 h 975248"/>
                    <a:gd name="connsiteX199" fmla="*/ 116320 w 696346"/>
                    <a:gd name="connsiteY199" fmla="*/ 639227 h 975248"/>
                    <a:gd name="connsiteX200" fmla="*/ 120439 w 696346"/>
                    <a:gd name="connsiteY200" fmla="*/ 640051 h 975248"/>
                    <a:gd name="connsiteX201" fmla="*/ 119565 w 696346"/>
                    <a:gd name="connsiteY201" fmla="*/ 634904 h 975248"/>
                    <a:gd name="connsiteX202" fmla="*/ 123621 w 696346"/>
                    <a:gd name="connsiteY202" fmla="*/ 633586 h 975248"/>
                    <a:gd name="connsiteX203" fmla="*/ 129478 w 696346"/>
                    <a:gd name="connsiteY203" fmla="*/ 627970 h 975248"/>
                    <a:gd name="connsiteX204" fmla="*/ 135702 w 696346"/>
                    <a:gd name="connsiteY204" fmla="*/ 622976 h 975248"/>
                    <a:gd name="connsiteX205" fmla="*/ 132038 w 696346"/>
                    <a:gd name="connsiteY205" fmla="*/ 623369 h 975248"/>
                    <a:gd name="connsiteX206" fmla="*/ 141115 w 696346"/>
                    <a:gd name="connsiteY206" fmla="*/ 617297 h 975248"/>
                    <a:gd name="connsiteX207" fmla="*/ 142091 w 696346"/>
                    <a:gd name="connsiteY207" fmla="*/ 612683 h 975248"/>
                    <a:gd name="connsiteX208" fmla="*/ 143219 w 696346"/>
                    <a:gd name="connsiteY208" fmla="*/ 620086 h 975248"/>
                    <a:gd name="connsiteX209" fmla="*/ 153766 w 696346"/>
                    <a:gd name="connsiteY209" fmla="*/ 611161 h 975248"/>
                    <a:gd name="connsiteX210" fmla="*/ 151750 w 696346"/>
                    <a:gd name="connsiteY210" fmla="*/ 607599 h 975248"/>
                    <a:gd name="connsiteX211" fmla="*/ 157138 w 696346"/>
                    <a:gd name="connsiteY211" fmla="*/ 592311 h 975248"/>
                    <a:gd name="connsiteX212" fmla="*/ 149735 w 696346"/>
                    <a:gd name="connsiteY212" fmla="*/ 585681 h 975248"/>
                    <a:gd name="connsiteX213" fmla="*/ 150381 w 696346"/>
                    <a:gd name="connsiteY213" fmla="*/ 578228 h 975248"/>
                    <a:gd name="connsiteX214" fmla="*/ 151750 w 696346"/>
                    <a:gd name="connsiteY214" fmla="*/ 580091 h 975248"/>
                    <a:gd name="connsiteX215" fmla="*/ 154755 w 696346"/>
                    <a:gd name="connsiteY215" fmla="*/ 579559 h 975248"/>
                    <a:gd name="connsiteX216" fmla="*/ 153272 w 696346"/>
                    <a:gd name="connsiteY216" fmla="*/ 583121 h 975248"/>
                    <a:gd name="connsiteX217" fmla="*/ 156301 w 696346"/>
                    <a:gd name="connsiteY217" fmla="*/ 583653 h 975248"/>
                    <a:gd name="connsiteX218" fmla="*/ 167748 w 696346"/>
                    <a:gd name="connsiteY218" fmla="*/ 594466 h 975248"/>
                    <a:gd name="connsiteX219" fmla="*/ 159851 w 696346"/>
                    <a:gd name="connsiteY219" fmla="*/ 579571 h 975248"/>
                    <a:gd name="connsiteX220" fmla="*/ 157303 w 696346"/>
                    <a:gd name="connsiteY220" fmla="*/ 572878 h 975248"/>
                    <a:gd name="connsiteX221" fmla="*/ 159851 w 696346"/>
                    <a:gd name="connsiteY221" fmla="*/ 574526 h 975248"/>
                    <a:gd name="connsiteX222" fmla="*/ 157937 w 696346"/>
                    <a:gd name="connsiteY222" fmla="*/ 566933 h 975248"/>
                    <a:gd name="connsiteX223" fmla="*/ 161892 w 696346"/>
                    <a:gd name="connsiteY223" fmla="*/ 560696 h 975248"/>
                    <a:gd name="connsiteX224" fmla="*/ 170309 w 696346"/>
                    <a:gd name="connsiteY224" fmla="*/ 543063 h 975248"/>
                    <a:gd name="connsiteX225" fmla="*/ 171855 w 696346"/>
                    <a:gd name="connsiteY225" fmla="*/ 549287 h 975248"/>
                    <a:gd name="connsiteX226" fmla="*/ 171855 w 696346"/>
                    <a:gd name="connsiteY226" fmla="*/ 549287 h 975248"/>
                    <a:gd name="connsiteX227" fmla="*/ 535634 w 696346"/>
                    <a:gd name="connsiteY227" fmla="*/ 541326 h 975248"/>
                    <a:gd name="connsiteX228" fmla="*/ 538347 w 696346"/>
                    <a:gd name="connsiteY228" fmla="*/ 545928 h 975248"/>
                    <a:gd name="connsiteX229" fmla="*/ 539056 w 696346"/>
                    <a:gd name="connsiteY229" fmla="*/ 541339 h 975248"/>
                    <a:gd name="connsiteX230" fmla="*/ 556753 w 696346"/>
                    <a:gd name="connsiteY230" fmla="*/ 550770 h 975248"/>
                    <a:gd name="connsiteX231" fmla="*/ 569645 w 696346"/>
                    <a:gd name="connsiteY231" fmla="*/ 542848 h 975248"/>
                    <a:gd name="connsiteX232" fmla="*/ 578531 w 696346"/>
                    <a:gd name="connsiteY232" fmla="*/ 557641 h 975248"/>
                    <a:gd name="connsiteX233" fmla="*/ 579849 w 696346"/>
                    <a:gd name="connsiteY233" fmla="*/ 556133 h 975248"/>
                    <a:gd name="connsiteX234" fmla="*/ 578721 w 696346"/>
                    <a:gd name="connsiteY234" fmla="*/ 583146 h 975248"/>
                    <a:gd name="connsiteX235" fmla="*/ 591132 w 696346"/>
                    <a:gd name="connsiteY235" fmla="*/ 604113 h 975248"/>
                    <a:gd name="connsiteX236" fmla="*/ 591385 w 696346"/>
                    <a:gd name="connsiteY236" fmla="*/ 616245 h 975248"/>
                    <a:gd name="connsiteX237" fmla="*/ 596836 w 696346"/>
                    <a:gd name="connsiteY237" fmla="*/ 622938 h 975248"/>
                    <a:gd name="connsiteX238" fmla="*/ 587950 w 696346"/>
                    <a:gd name="connsiteY238" fmla="*/ 635158 h 975248"/>
                    <a:gd name="connsiteX239" fmla="*/ 577897 w 696346"/>
                    <a:gd name="connsiteY239" fmla="*/ 620605 h 975248"/>
                    <a:gd name="connsiteX240" fmla="*/ 579152 w 696346"/>
                    <a:gd name="connsiteY240" fmla="*/ 647404 h 975248"/>
                    <a:gd name="connsiteX241" fmla="*/ 563117 w 696346"/>
                    <a:gd name="connsiteY241" fmla="*/ 638568 h 975248"/>
                    <a:gd name="connsiteX242" fmla="*/ 559858 w 696346"/>
                    <a:gd name="connsiteY242" fmla="*/ 621036 h 975248"/>
                    <a:gd name="connsiteX243" fmla="*/ 555460 w 696346"/>
                    <a:gd name="connsiteY243" fmla="*/ 580978 h 975248"/>
                    <a:gd name="connsiteX244" fmla="*/ 533352 w 696346"/>
                    <a:gd name="connsiteY244" fmla="*/ 579635 h 975248"/>
                    <a:gd name="connsiteX245" fmla="*/ 530246 w 696346"/>
                    <a:gd name="connsiteY245" fmla="*/ 546663 h 975248"/>
                    <a:gd name="connsiteX246" fmla="*/ 535634 w 696346"/>
                    <a:gd name="connsiteY246" fmla="*/ 541326 h 975248"/>
                    <a:gd name="connsiteX247" fmla="*/ 535634 w 696346"/>
                    <a:gd name="connsiteY247" fmla="*/ 541326 h 975248"/>
                    <a:gd name="connsiteX248" fmla="*/ 377177 w 696346"/>
                    <a:gd name="connsiteY248" fmla="*/ 517850 h 975248"/>
                    <a:gd name="connsiteX249" fmla="*/ 403836 w 696346"/>
                    <a:gd name="connsiteY249" fmla="*/ 532250 h 975248"/>
                    <a:gd name="connsiteX250" fmla="*/ 407069 w 696346"/>
                    <a:gd name="connsiteY250" fmla="*/ 534177 h 975248"/>
                    <a:gd name="connsiteX251" fmla="*/ 408577 w 696346"/>
                    <a:gd name="connsiteY251" fmla="*/ 529030 h 975248"/>
                    <a:gd name="connsiteX252" fmla="*/ 424841 w 696346"/>
                    <a:gd name="connsiteY252" fmla="*/ 535711 h 975248"/>
                    <a:gd name="connsiteX253" fmla="*/ 441029 w 696346"/>
                    <a:gd name="connsiteY253" fmla="*/ 530057 h 975248"/>
                    <a:gd name="connsiteX254" fmla="*/ 437948 w 696346"/>
                    <a:gd name="connsiteY254" fmla="*/ 536700 h 975248"/>
                    <a:gd name="connsiteX255" fmla="*/ 437492 w 696346"/>
                    <a:gd name="connsiteY255" fmla="*/ 553597 h 975248"/>
                    <a:gd name="connsiteX256" fmla="*/ 439026 w 696346"/>
                    <a:gd name="connsiteY256" fmla="*/ 559961 h 975248"/>
                    <a:gd name="connsiteX257" fmla="*/ 434348 w 696346"/>
                    <a:gd name="connsiteY257" fmla="*/ 562217 h 975248"/>
                    <a:gd name="connsiteX258" fmla="*/ 425272 w 696346"/>
                    <a:gd name="connsiteY258" fmla="*/ 571928 h 975248"/>
                    <a:gd name="connsiteX259" fmla="*/ 424359 w 696346"/>
                    <a:gd name="connsiteY259" fmla="*/ 569849 h 975248"/>
                    <a:gd name="connsiteX260" fmla="*/ 414611 w 696346"/>
                    <a:gd name="connsiteY260" fmla="*/ 575109 h 975248"/>
                    <a:gd name="connsiteX261" fmla="*/ 409490 w 696346"/>
                    <a:gd name="connsiteY261" fmla="*/ 590030 h 975248"/>
                    <a:gd name="connsiteX262" fmla="*/ 399006 w 696346"/>
                    <a:gd name="connsiteY262" fmla="*/ 595316 h 975248"/>
                    <a:gd name="connsiteX263" fmla="*/ 376746 w 696346"/>
                    <a:gd name="connsiteY263" fmla="*/ 599943 h 975248"/>
                    <a:gd name="connsiteX264" fmla="*/ 360241 w 696346"/>
                    <a:gd name="connsiteY264" fmla="*/ 610426 h 975248"/>
                    <a:gd name="connsiteX265" fmla="*/ 353181 w 696346"/>
                    <a:gd name="connsiteY265" fmla="*/ 604924 h 975248"/>
                    <a:gd name="connsiteX266" fmla="*/ 352661 w 696346"/>
                    <a:gd name="connsiteY266" fmla="*/ 583615 h 975248"/>
                    <a:gd name="connsiteX267" fmla="*/ 358277 w 696346"/>
                    <a:gd name="connsiteY267" fmla="*/ 553889 h 975248"/>
                    <a:gd name="connsiteX268" fmla="*/ 362903 w 696346"/>
                    <a:gd name="connsiteY268" fmla="*/ 525658 h 975248"/>
                    <a:gd name="connsiteX269" fmla="*/ 344180 w 696346"/>
                    <a:gd name="connsiteY269" fmla="*/ 517279 h 975248"/>
                    <a:gd name="connsiteX270" fmla="*/ 352598 w 696346"/>
                    <a:gd name="connsiteY270" fmla="*/ 505173 h 975248"/>
                    <a:gd name="connsiteX271" fmla="*/ 360343 w 696346"/>
                    <a:gd name="connsiteY271" fmla="*/ 511321 h 975248"/>
                    <a:gd name="connsiteX272" fmla="*/ 377177 w 696346"/>
                    <a:gd name="connsiteY272" fmla="*/ 517850 h 975248"/>
                    <a:gd name="connsiteX273" fmla="*/ 377177 w 696346"/>
                    <a:gd name="connsiteY273" fmla="*/ 517850 h 975248"/>
                    <a:gd name="connsiteX274" fmla="*/ 570773 w 696346"/>
                    <a:gd name="connsiteY274" fmla="*/ 458143 h 975248"/>
                    <a:gd name="connsiteX275" fmla="*/ 579076 w 696346"/>
                    <a:gd name="connsiteY275" fmla="*/ 459994 h 975248"/>
                    <a:gd name="connsiteX276" fmla="*/ 584489 w 696346"/>
                    <a:gd name="connsiteY276" fmla="*/ 457015 h 975248"/>
                    <a:gd name="connsiteX277" fmla="*/ 602629 w 696346"/>
                    <a:gd name="connsiteY277" fmla="*/ 470287 h 975248"/>
                    <a:gd name="connsiteX278" fmla="*/ 600056 w 696346"/>
                    <a:gd name="connsiteY278" fmla="*/ 477982 h 975248"/>
                    <a:gd name="connsiteX279" fmla="*/ 603136 w 696346"/>
                    <a:gd name="connsiteY279" fmla="*/ 476397 h 975248"/>
                    <a:gd name="connsiteX280" fmla="*/ 602629 w 696346"/>
                    <a:gd name="connsiteY280" fmla="*/ 478489 h 975248"/>
                    <a:gd name="connsiteX281" fmla="*/ 605659 w 696346"/>
                    <a:gd name="connsiteY281" fmla="*/ 477424 h 975248"/>
                    <a:gd name="connsiteX282" fmla="*/ 616510 w 696346"/>
                    <a:gd name="connsiteY282" fmla="*/ 487236 h 975248"/>
                    <a:gd name="connsiteX283" fmla="*/ 612200 w 696346"/>
                    <a:gd name="connsiteY283" fmla="*/ 487667 h 975248"/>
                    <a:gd name="connsiteX284" fmla="*/ 614266 w 696346"/>
                    <a:gd name="connsiteY284" fmla="*/ 489188 h 975248"/>
                    <a:gd name="connsiteX285" fmla="*/ 610603 w 696346"/>
                    <a:gd name="connsiteY285" fmla="*/ 492103 h 975248"/>
                    <a:gd name="connsiteX286" fmla="*/ 613784 w 696346"/>
                    <a:gd name="connsiteY286" fmla="*/ 492293 h 975248"/>
                    <a:gd name="connsiteX287" fmla="*/ 609627 w 696346"/>
                    <a:gd name="connsiteY287" fmla="*/ 506301 h 975248"/>
                    <a:gd name="connsiteX288" fmla="*/ 610070 w 696346"/>
                    <a:gd name="connsiteY288" fmla="*/ 518699 h 975248"/>
                    <a:gd name="connsiteX289" fmla="*/ 615293 w 696346"/>
                    <a:gd name="connsiteY289" fmla="*/ 540338 h 975248"/>
                    <a:gd name="connsiteX290" fmla="*/ 623913 w 696346"/>
                    <a:gd name="connsiteY290" fmla="*/ 547170 h 975248"/>
                    <a:gd name="connsiteX291" fmla="*/ 623406 w 696346"/>
                    <a:gd name="connsiteY291" fmla="*/ 559695 h 975248"/>
                    <a:gd name="connsiteX292" fmla="*/ 622278 w 696346"/>
                    <a:gd name="connsiteY292" fmla="*/ 557198 h 975248"/>
                    <a:gd name="connsiteX293" fmla="*/ 632989 w 696346"/>
                    <a:gd name="connsiteY293" fmla="*/ 572904 h 975248"/>
                    <a:gd name="connsiteX294" fmla="*/ 615813 w 696346"/>
                    <a:gd name="connsiteY294" fmla="*/ 567871 h 975248"/>
                    <a:gd name="connsiteX295" fmla="*/ 608156 w 696346"/>
                    <a:gd name="connsiteY295" fmla="*/ 567871 h 975248"/>
                    <a:gd name="connsiteX296" fmla="*/ 597178 w 696346"/>
                    <a:gd name="connsiteY296" fmla="*/ 564512 h 975248"/>
                    <a:gd name="connsiteX297" fmla="*/ 593984 w 696346"/>
                    <a:gd name="connsiteY297" fmla="*/ 567313 h 975248"/>
                    <a:gd name="connsiteX298" fmla="*/ 591487 w 696346"/>
                    <a:gd name="connsiteY298" fmla="*/ 557679 h 975248"/>
                    <a:gd name="connsiteX299" fmla="*/ 581561 w 696346"/>
                    <a:gd name="connsiteY299" fmla="*/ 553483 h 975248"/>
                    <a:gd name="connsiteX300" fmla="*/ 576858 w 696346"/>
                    <a:gd name="connsiteY300" fmla="*/ 553040 h 975248"/>
                    <a:gd name="connsiteX301" fmla="*/ 576833 w 696346"/>
                    <a:gd name="connsiteY301" fmla="*/ 544901 h 975248"/>
                    <a:gd name="connsiteX302" fmla="*/ 570253 w 696346"/>
                    <a:gd name="connsiteY302" fmla="*/ 537219 h 975248"/>
                    <a:gd name="connsiteX303" fmla="*/ 568694 w 696346"/>
                    <a:gd name="connsiteY303" fmla="*/ 532136 h 975248"/>
                    <a:gd name="connsiteX304" fmla="*/ 580889 w 696346"/>
                    <a:gd name="connsiteY304" fmla="*/ 521424 h 975248"/>
                    <a:gd name="connsiteX305" fmla="*/ 575045 w 696346"/>
                    <a:gd name="connsiteY305" fmla="*/ 517685 h 975248"/>
                    <a:gd name="connsiteX306" fmla="*/ 568821 w 696346"/>
                    <a:gd name="connsiteY306" fmla="*/ 517900 h 975248"/>
                    <a:gd name="connsiteX307" fmla="*/ 561595 w 696346"/>
                    <a:gd name="connsiteY307" fmla="*/ 510687 h 975248"/>
                    <a:gd name="connsiteX308" fmla="*/ 562609 w 696346"/>
                    <a:gd name="connsiteY308" fmla="*/ 510206 h 975248"/>
                    <a:gd name="connsiteX309" fmla="*/ 562609 w 696346"/>
                    <a:gd name="connsiteY309" fmla="*/ 507645 h 975248"/>
                    <a:gd name="connsiteX310" fmla="*/ 564080 w 696346"/>
                    <a:gd name="connsiteY310" fmla="*/ 508659 h 975248"/>
                    <a:gd name="connsiteX311" fmla="*/ 559123 w 696346"/>
                    <a:gd name="connsiteY311" fmla="*/ 507480 h 975248"/>
                    <a:gd name="connsiteX312" fmla="*/ 540210 w 696346"/>
                    <a:gd name="connsiteY312" fmla="*/ 493422 h 975248"/>
                    <a:gd name="connsiteX313" fmla="*/ 523147 w 696346"/>
                    <a:gd name="connsiteY313" fmla="*/ 459309 h 975248"/>
                    <a:gd name="connsiteX314" fmla="*/ 567642 w 696346"/>
                    <a:gd name="connsiteY314" fmla="*/ 456001 h 975248"/>
                    <a:gd name="connsiteX315" fmla="*/ 570773 w 696346"/>
                    <a:gd name="connsiteY315" fmla="*/ 458143 h 975248"/>
                    <a:gd name="connsiteX316" fmla="*/ 570773 w 696346"/>
                    <a:gd name="connsiteY316" fmla="*/ 458143 h 975248"/>
                    <a:gd name="connsiteX317" fmla="*/ 455176 w 696346"/>
                    <a:gd name="connsiteY317" fmla="*/ 459208 h 975248"/>
                    <a:gd name="connsiteX318" fmla="*/ 453059 w 696346"/>
                    <a:gd name="connsiteY318" fmla="*/ 467410 h 975248"/>
                    <a:gd name="connsiteX319" fmla="*/ 473937 w 696346"/>
                    <a:gd name="connsiteY319" fmla="*/ 471821 h 975248"/>
                    <a:gd name="connsiteX320" fmla="*/ 472416 w 696346"/>
                    <a:gd name="connsiteY320" fmla="*/ 473900 h 975248"/>
                    <a:gd name="connsiteX321" fmla="*/ 487590 w 696346"/>
                    <a:gd name="connsiteY321" fmla="*/ 486120 h 975248"/>
                    <a:gd name="connsiteX322" fmla="*/ 487717 w 696346"/>
                    <a:gd name="connsiteY322" fmla="*/ 481658 h 975248"/>
                    <a:gd name="connsiteX323" fmla="*/ 506921 w 696346"/>
                    <a:gd name="connsiteY323" fmla="*/ 503474 h 975248"/>
                    <a:gd name="connsiteX324" fmla="*/ 502789 w 696346"/>
                    <a:gd name="connsiteY324" fmla="*/ 499456 h 975248"/>
                    <a:gd name="connsiteX325" fmla="*/ 507948 w 696346"/>
                    <a:gd name="connsiteY325" fmla="*/ 520385 h 975248"/>
                    <a:gd name="connsiteX326" fmla="*/ 492888 w 696346"/>
                    <a:gd name="connsiteY326" fmla="*/ 507620 h 975248"/>
                    <a:gd name="connsiteX327" fmla="*/ 484065 w 696346"/>
                    <a:gd name="connsiteY327" fmla="*/ 501522 h 975248"/>
                    <a:gd name="connsiteX328" fmla="*/ 483102 w 696346"/>
                    <a:gd name="connsiteY328" fmla="*/ 499456 h 975248"/>
                    <a:gd name="connsiteX329" fmla="*/ 478513 w 696346"/>
                    <a:gd name="connsiteY329" fmla="*/ 494791 h 975248"/>
                    <a:gd name="connsiteX330" fmla="*/ 461755 w 696346"/>
                    <a:gd name="connsiteY330" fmla="*/ 484396 h 975248"/>
                    <a:gd name="connsiteX331" fmla="*/ 440763 w 696346"/>
                    <a:gd name="connsiteY331" fmla="*/ 506225 h 975248"/>
                    <a:gd name="connsiteX332" fmla="*/ 450676 w 696346"/>
                    <a:gd name="connsiteY332" fmla="*/ 482520 h 975248"/>
                    <a:gd name="connsiteX333" fmla="*/ 445060 w 696346"/>
                    <a:gd name="connsiteY333" fmla="*/ 483065 h 975248"/>
                    <a:gd name="connsiteX334" fmla="*/ 447849 w 696346"/>
                    <a:gd name="connsiteY334" fmla="*/ 466230 h 975248"/>
                    <a:gd name="connsiteX335" fmla="*/ 455176 w 696346"/>
                    <a:gd name="connsiteY335" fmla="*/ 459208 h 975248"/>
                    <a:gd name="connsiteX336" fmla="*/ 455176 w 696346"/>
                    <a:gd name="connsiteY336" fmla="*/ 459208 h 975248"/>
                    <a:gd name="connsiteX337" fmla="*/ 279504 w 696346"/>
                    <a:gd name="connsiteY337" fmla="*/ 386039 h 975248"/>
                    <a:gd name="connsiteX338" fmla="*/ 277895 w 696346"/>
                    <a:gd name="connsiteY338" fmla="*/ 387788 h 975248"/>
                    <a:gd name="connsiteX339" fmla="*/ 290077 w 696346"/>
                    <a:gd name="connsiteY339" fmla="*/ 397600 h 975248"/>
                    <a:gd name="connsiteX340" fmla="*/ 313871 w 696346"/>
                    <a:gd name="connsiteY340" fmla="*/ 411392 h 975248"/>
                    <a:gd name="connsiteX341" fmla="*/ 315024 w 696346"/>
                    <a:gd name="connsiteY341" fmla="*/ 414992 h 975248"/>
                    <a:gd name="connsiteX342" fmla="*/ 321299 w 696346"/>
                    <a:gd name="connsiteY342" fmla="*/ 415677 h 975248"/>
                    <a:gd name="connsiteX343" fmla="*/ 316685 w 696346"/>
                    <a:gd name="connsiteY343" fmla="*/ 426097 h 975248"/>
                    <a:gd name="connsiteX344" fmla="*/ 320424 w 696346"/>
                    <a:gd name="connsiteY344" fmla="*/ 454885 h 975248"/>
                    <a:gd name="connsiteX345" fmla="*/ 313871 w 696346"/>
                    <a:gd name="connsiteY345" fmla="*/ 473329 h 975248"/>
                    <a:gd name="connsiteX346" fmla="*/ 309485 w 696346"/>
                    <a:gd name="connsiteY346" fmla="*/ 472582 h 975248"/>
                    <a:gd name="connsiteX347" fmla="*/ 310321 w 696346"/>
                    <a:gd name="connsiteY347" fmla="*/ 478476 h 975248"/>
                    <a:gd name="connsiteX348" fmla="*/ 299191 w 696346"/>
                    <a:gd name="connsiteY348" fmla="*/ 484067 h 975248"/>
                    <a:gd name="connsiteX349" fmla="*/ 288505 w 696346"/>
                    <a:gd name="connsiteY349" fmla="*/ 475408 h 975248"/>
                    <a:gd name="connsiteX350" fmla="*/ 291598 w 696346"/>
                    <a:gd name="connsiteY350" fmla="*/ 476930 h 975248"/>
                    <a:gd name="connsiteX351" fmla="*/ 287516 w 696346"/>
                    <a:gd name="connsiteY351" fmla="*/ 475915 h 975248"/>
                    <a:gd name="connsiteX352" fmla="*/ 274954 w 696346"/>
                    <a:gd name="connsiteY352" fmla="*/ 460932 h 975248"/>
                    <a:gd name="connsiteX353" fmla="*/ 272317 w 696346"/>
                    <a:gd name="connsiteY353" fmla="*/ 449789 h 975248"/>
                    <a:gd name="connsiteX354" fmla="*/ 265953 w 696346"/>
                    <a:gd name="connsiteY354" fmla="*/ 444769 h 975248"/>
                    <a:gd name="connsiteX355" fmla="*/ 245177 w 696346"/>
                    <a:gd name="connsiteY355" fmla="*/ 408159 h 975248"/>
                    <a:gd name="connsiteX356" fmla="*/ 241259 w 696346"/>
                    <a:gd name="connsiteY356" fmla="*/ 396522 h 975248"/>
                    <a:gd name="connsiteX357" fmla="*/ 235771 w 696346"/>
                    <a:gd name="connsiteY357" fmla="*/ 395546 h 975248"/>
                    <a:gd name="connsiteX358" fmla="*/ 230003 w 696346"/>
                    <a:gd name="connsiteY358" fmla="*/ 390907 h 975248"/>
                    <a:gd name="connsiteX359" fmla="*/ 236088 w 696346"/>
                    <a:gd name="connsiteY359" fmla="*/ 386013 h 975248"/>
                    <a:gd name="connsiteX360" fmla="*/ 259805 w 696346"/>
                    <a:gd name="connsiteY360" fmla="*/ 388916 h 975248"/>
                    <a:gd name="connsiteX361" fmla="*/ 279504 w 696346"/>
                    <a:gd name="connsiteY361" fmla="*/ 386039 h 975248"/>
                    <a:gd name="connsiteX362" fmla="*/ 279504 w 696346"/>
                    <a:gd name="connsiteY362" fmla="*/ 386039 h 975248"/>
                    <a:gd name="connsiteX363" fmla="*/ 520283 w 696346"/>
                    <a:gd name="connsiteY363" fmla="*/ 345474 h 975248"/>
                    <a:gd name="connsiteX364" fmla="*/ 525607 w 696346"/>
                    <a:gd name="connsiteY364" fmla="*/ 357593 h 975248"/>
                    <a:gd name="connsiteX365" fmla="*/ 531679 w 696346"/>
                    <a:gd name="connsiteY365" fmla="*/ 362156 h 975248"/>
                    <a:gd name="connsiteX366" fmla="*/ 531704 w 696346"/>
                    <a:gd name="connsiteY366" fmla="*/ 371816 h 975248"/>
                    <a:gd name="connsiteX367" fmla="*/ 530652 w 696346"/>
                    <a:gd name="connsiteY367" fmla="*/ 376037 h 975248"/>
                    <a:gd name="connsiteX368" fmla="*/ 527597 w 696346"/>
                    <a:gd name="connsiteY368" fmla="*/ 383732 h 975248"/>
                    <a:gd name="connsiteX369" fmla="*/ 516746 w 696346"/>
                    <a:gd name="connsiteY369" fmla="*/ 386343 h 975248"/>
                    <a:gd name="connsiteX370" fmla="*/ 505147 w 696346"/>
                    <a:gd name="connsiteY370" fmla="*/ 374909 h 975248"/>
                    <a:gd name="connsiteX371" fmla="*/ 510788 w 696346"/>
                    <a:gd name="connsiteY371" fmla="*/ 369699 h 975248"/>
                    <a:gd name="connsiteX372" fmla="*/ 512169 w 696346"/>
                    <a:gd name="connsiteY372" fmla="*/ 358810 h 975248"/>
                    <a:gd name="connsiteX373" fmla="*/ 512956 w 696346"/>
                    <a:gd name="connsiteY373" fmla="*/ 344713 h 975248"/>
                    <a:gd name="connsiteX374" fmla="*/ 520283 w 696346"/>
                    <a:gd name="connsiteY374" fmla="*/ 345474 h 975248"/>
                    <a:gd name="connsiteX375" fmla="*/ 520283 w 696346"/>
                    <a:gd name="connsiteY375" fmla="*/ 345474 h 975248"/>
                    <a:gd name="connsiteX376" fmla="*/ 274358 w 696346"/>
                    <a:gd name="connsiteY376" fmla="*/ 5794 h 975248"/>
                    <a:gd name="connsiteX377" fmla="*/ 297886 w 696346"/>
                    <a:gd name="connsiteY377" fmla="*/ 4552 h 975248"/>
                    <a:gd name="connsiteX378" fmla="*/ 329095 w 696346"/>
                    <a:gd name="connsiteY378" fmla="*/ 25075 h 975248"/>
                    <a:gd name="connsiteX379" fmla="*/ 348034 w 696346"/>
                    <a:gd name="connsiteY379" fmla="*/ 27750 h 975248"/>
                    <a:gd name="connsiteX380" fmla="*/ 364919 w 696346"/>
                    <a:gd name="connsiteY380" fmla="*/ 13057 h 975248"/>
                    <a:gd name="connsiteX381" fmla="*/ 378432 w 696346"/>
                    <a:gd name="connsiteY381" fmla="*/ 20258 h 975248"/>
                    <a:gd name="connsiteX382" fmla="*/ 369533 w 696346"/>
                    <a:gd name="connsiteY382" fmla="*/ 38664 h 975248"/>
                    <a:gd name="connsiteX383" fmla="*/ 367011 w 696346"/>
                    <a:gd name="connsiteY383" fmla="*/ 79800 h 975248"/>
                    <a:gd name="connsiteX384" fmla="*/ 373577 w 696346"/>
                    <a:gd name="connsiteY384" fmla="*/ 97433 h 975248"/>
                    <a:gd name="connsiteX385" fmla="*/ 384758 w 696346"/>
                    <a:gd name="connsiteY385" fmla="*/ 101540 h 975248"/>
                    <a:gd name="connsiteX386" fmla="*/ 384415 w 696346"/>
                    <a:gd name="connsiteY386" fmla="*/ 99778 h 975248"/>
                    <a:gd name="connsiteX387" fmla="*/ 387788 w 696346"/>
                    <a:gd name="connsiteY387" fmla="*/ 104608 h 975248"/>
                    <a:gd name="connsiteX388" fmla="*/ 385620 w 696346"/>
                    <a:gd name="connsiteY388" fmla="*/ 103226 h 975248"/>
                    <a:gd name="connsiteX389" fmla="*/ 389917 w 696346"/>
                    <a:gd name="connsiteY389" fmla="*/ 115192 h 975248"/>
                    <a:gd name="connsiteX390" fmla="*/ 393555 w 696346"/>
                    <a:gd name="connsiteY390" fmla="*/ 119249 h 975248"/>
                    <a:gd name="connsiteX391" fmla="*/ 389714 w 696346"/>
                    <a:gd name="connsiteY391" fmla="*/ 126931 h 975248"/>
                    <a:gd name="connsiteX392" fmla="*/ 378115 w 696346"/>
                    <a:gd name="connsiteY392" fmla="*/ 155618 h 975248"/>
                    <a:gd name="connsiteX393" fmla="*/ 371092 w 696346"/>
                    <a:gd name="connsiteY393" fmla="*/ 170437 h 975248"/>
                    <a:gd name="connsiteX394" fmla="*/ 372145 w 696346"/>
                    <a:gd name="connsiteY394" fmla="*/ 168890 h 975248"/>
                    <a:gd name="connsiteX395" fmla="*/ 369571 w 696346"/>
                    <a:gd name="connsiteY395" fmla="*/ 178195 h 975248"/>
                    <a:gd name="connsiteX396" fmla="*/ 372145 w 696346"/>
                    <a:gd name="connsiteY396" fmla="*/ 176141 h 975248"/>
                    <a:gd name="connsiteX397" fmla="*/ 354829 w 696346"/>
                    <a:gd name="connsiteY397" fmla="*/ 197869 h 975248"/>
                    <a:gd name="connsiteX398" fmla="*/ 364526 w 696346"/>
                    <a:gd name="connsiteY398" fmla="*/ 180464 h 975248"/>
                    <a:gd name="connsiteX399" fmla="*/ 343952 w 696346"/>
                    <a:gd name="connsiteY399" fmla="*/ 192253 h 975248"/>
                    <a:gd name="connsiteX400" fmla="*/ 323048 w 696346"/>
                    <a:gd name="connsiteY400" fmla="*/ 206552 h 975248"/>
                    <a:gd name="connsiteX401" fmla="*/ 325026 w 696346"/>
                    <a:gd name="connsiteY401" fmla="*/ 224717 h 975248"/>
                    <a:gd name="connsiteX402" fmla="*/ 327574 w 696346"/>
                    <a:gd name="connsiteY402" fmla="*/ 225744 h 975248"/>
                    <a:gd name="connsiteX403" fmla="*/ 314010 w 696346"/>
                    <a:gd name="connsiteY403" fmla="*/ 245596 h 975248"/>
                    <a:gd name="connsiteX404" fmla="*/ 309079 w 696346"/>
                    <a:gd name="connsiteY404" fmla="*/ 252314 h 975248"/>
                    <a:gd name="connsiteX405" fmla="*/ 314809 w 696346"/>
                    <a:gd name="connsiteY405" fmla="*/ 260262 h 975248"/>
                    <a:gd name="connsiteX406" fmla="*/ 334749 w 696346"/>
                    <a:gd name="connsiteY406" fmla="*/ 296530 h 975248"/>
                    <a:gd name="connsiteX407" fmla="*/ 335243 w 696346"/>
                    <a:gd name="connsiteY407" fmla="*/ 328906 h 975248"/>
                    <a:gd name="connsiteX408" fmla="*/ 341239 w 696346"/>
                    <a:gd name="connsiteY408" fmla="*/ 342913 h 975248"/>
                    <a:gd name="connsiteX409" fmla="*/ 372145 w 696346"/>
                    <a:gd name="connsiteY409" fmla="*/ 357580 h 975248"/>
                    <a:gd name="connsiteX410" fmla="*/ 368557 w 696346"/>
                    <a:gd name="connsiteY410" fmla="*/ 351407 h 975248"/>
                    <a:gd name="connsiteX411" fmla="*/ 378191 w 696346"/>
                    <a:gd name="connsiteY411" fmla="*/ 349353 h 975248"/>
                    <a:gd name="connsiteX412" fmla="*/ 367049 w 696346"/>
                    <a:gd name="connsiteY412" fmla="*/ 337995 h 975248"/>
                    <a:gd name="connsiteX413" fmla="*/ 368557 w 696346"/>
                    <a:gd name="connsiteY413" fmla="*/ 339554 h 975248"/>
                    <a:gd name="connsiteX414" fmla="*/ 373602 w 696346"/>
                    <a:gd name="connsiteY414" fmla="*/ 331796 h 975248"/>
                    <a:gd name="connsiteX415" fmla="*/ 376683 w 696346"/>
                    <a:gd name="connsiteY415" fmla="*/ 340036 h 975248"/>
                    <a:gd name="connsiteX416" fmla="*/ 377165 w 696346"/>
                    <a:gd name="connsiteY416" fmla="*/ 343661 h 975248"/>
                    <a:gd name="connsiteX417" fmla="*/ 381259 w 696346"/>
                    <a:gd name="connsiteY417" fmla="*/ 335941 h 975248"/>
                    <a:gd name="connsiteX418" fmla="*/ 380727 w 696346"/>
                    <a:gd name="connsiteY418" fmla="*/ 333888 h 975248"/>
                    <a:gd name="connsiteX419" fmla="*/ 383718 w 696346"/>
                    <a:gd name="connsiteY419" fmla="*/ 327714 h 975248"/>
                    <a:gd name="connsiteX420" fmla="*/ 393365 w 696346"/>
                    <a:gd name="connsiteY420" fmla="*/ 326206 h 975248"/>
                    <a:gd name="connsiteX421" fmla="*/ 392338 w 696346"/>
                    <a:gd name="connsiteY421" fmla="*/ 324621 h 975248"/>
                    <a:gd name="connsiteX422" fmla="*/ 406054 w 696346"/>
                    <a:gd name="connsiteY422" fmla="*/ 328728 h 975248"/>
                    <a:gd name="connsiteX423" fmla="*/ 405269 w 696346"/>
                    <a:gd name="connsiteY423" fmla="*/ 324279 h 975248"/>
                    <a:gd name="connsiteX424" fmla="*/ 421862 w 696346"/>
                    <a:gd name="connsiteY424" fmla="*/ 333774 h 975248"/>
                    <a:gd name="connsiteX425" fmla="*/ 435058 w 696346"/>
                    <a:gd name="connsiteY425" fmla="*/ 351965 h 975248"/>
                    <a:gd name="connsiteX426" fmla="*/ 439926 w 696346"/>
                    <a:gd name="connsiteY426" fmla="*/ 370536 h 975248"/>
                    <a:gd name="connsiteX427" fmla="*/ 453743 w 696346"/>
                    <a:gd name="connsiteY427" fmla="*/ 351914 h 975248"/>
                    <a:gd name="connsiteX428" fmla="*/ 445237 w 696346"/>
                    <a:gd name="connsiteY428" fmla="*/ 351749 h 975248"/>
                    <a:gd name="connsiteX429" fmla="*/ 447595 w 696346"/>
                    <a:gd name="connsiteY429" fmla="*/ 345474 h 975248"/>
                    <a:gd name="connsiteX430" fmla="*/ 452159 w 696346"/>
                    <a:gd name="connsiteY430" fmla="*/ 346754 h 975248"/>
                    <a:gd name="connsiteX431" fmla="*/ 451157 w 696346"/>
                    <a:gd name="connsiteY431" fmla="*/ 345221 h 975248"/>
                    <a:gd name="connsiteX432" fmla="*/ 453477 w 696346"/>
                    <a:gd name="connsiteY432" fmla="*/ 343116 h 975248"/>
                    <a:gd name="connsiteX433" fmla="*/ 454986 w 696346"/>
                    <a:gd name="connsiteY433" fmla="*/ 349594 h 975248"/>
                    <a:gd name="connsiteX434" fmla="*/ 457800 w 696346"/>
                    <a:gd name="connsiteY434" fmla="*/ 347768 h 975248"/>
                    <a:gd name="connsiteX435" fmla="*/ 456722 w 696346"/>
                    <a:gd name="connsiteY435" fmla="*/ 349809 h 975248"/>
                    <a:gd name="connsiteX436" fmla="*/ 459803 w 696346"/>
                    <a:gd name="connsiteY436" fmla="*/ 357580 h 975248"/>
                    <a:gd name="connsiteX437" fmla="*/ 461818 w 696346"/>
                    <a:gd name="connsiteY437" fmla="*/ 353447 h 975248"/>
                    <a:gd name="connsiteX438" fmla="*/ 481556 w 696346"/>
                    <a:gd name="connsiteY438" fmla="*/ 355476 h 975248"/>
                    <a:gd name="connsiteX439" fmla="*/ 500317 w 696346"/>
                    <a:gd name="connsiteY439" fmla="*/ 371968 h 975248"/>
                    <a:gd name="connsiteX440" fmla="*/ 487209 w 696346"/>
                    <a:gd name="connsiteY440" fmla="*/ 373806 h 975248"/>
                    <a:gd name="connsiteX441" fmla="*/ 467928 w 696346"/>
                    <a:gd name="connsiteY441" fmla="*/ 378902 h 975248"/>
                    <a:gd name="connsiteX442" fmla="*/ 479210 w 696346"/>
                    <a:gd name="connsiteY442" fmla="*/ 390248 h 975248"/>
                    <a:gd name="connsiteX443" fmla="*/ 489669 w 696346"/>
                    <a:gd name="connsiteY443" fmla="*/ 407272 h 975248"/>
                    <a:gd name="connsiteX444" fmla="*/ 492153 w 696346"/>
                    <a:gd name="connsiteY444" fmla="*/ 408324 h 975248"/>
                    <a:gd name="connsiteX445" fmla="*/ 484015 w 696346"/>
                    <a:gd name="connsiteY445" fmla="*/ 419099 h 975248"/>
                    <a:gd name="connsiteX446" fmla="*/ 493269 w 696346"/>
                    <a:gd name="connsiteY446" fmla="*/ 414751 h 975248"/>
                    <a:gd name="connsiteX447" fmla="*/ 504817 w 696346"/>
                    <a:gd name="connsiteY447" fmla="*/ 421407 h 975248"/>
                    <a:gd name="connsiteX448" fmla="*/ 509558 w 696346"/>
                    <a:gd name="connsiteY448" fmla="*/ 424043 h 975248"/>
                    <a:gd name="connsiteX449" fmla="*/ 512182 w 696346"/>
                    <a:gd name="connsiteY449" fmla="*/ 419568 h 975248"/>
                    <a:gd name="connsiteX450" fmla="*/ 516264 w 696346"/>
                    <a:gd name="connsiteY450" fmla="*/ 424297 h 975248"/>
                    <a:gd name="connsiteX451" fmla="*/ 511624 w 696346"/>
                    <a:gd name="connsiteY451" fmla="*/ 431028 h 975248"/>
                    <a:gd name="connsiteX452" fmla="*/ 513133 w 696346"/>
                    <a:gd name="connsiteY452" fmla="*/ 442919 h 975248"/>
                    <a:gd name="connsiteX453" fmla="*/ 507771 w 696346"/>
                    <a:gd name="connsiteY453" fmla="*/ 459690 h 975248"/>
                    <a:gd name="connsiteX454" fmla="*/ 487577 w 696346"/>
                    <a:gd name="connsiteY454" fmla="*/ 438026 h 975248"/>
                    <a:gd name="connsiteX455" fmla="*/ 492698 w 696346"/>
                    <a:gd name="connsiteY455" fmla="*/ 434970 h 975248"/>
                    <a:gd name="connsiteX456" fmla="*/ 501483 w 696346"/>
                    <a:gd name="connsiteY456" fmla="*/ 428569 h 975248"/>
                    <a:gd name="connsiteX457" fmla="*/ 482544 w 696346"/>
                    <a:gd name="connsiteY457" fmla="*/ 436998 h 975248"/>
                    <a:gd name="connsiteX458" fmla="*/ 483077 w 696346"/>
                    <a:gd name="connsiteY458" fmla="*/ 433639 h 975248"/>
                    <a:gd name="connsiteX459" fmla="*/ 479908 w 696346"/>
                    <a:gd name="connsiteY459" fmla="*/ 433728 h 975248"/>
                    <a:gd name="connsiteX460" fmla="*/ 480491 w 696346"/>
                    <a:gd name="connsiteY460" fmla="*/ 435515 h 975248"/>
                    <a:gd name="connsiteX461" fmla="*/ 480884 w 696346"/>
                    <a:gd name="connsiteY461" fmla="*/ 430863 h 975248"/>
                    <a:gd name="connsiteX462" fmla="*/ 466445 w 696346"/>
                    <a:gd name="connsiteY462" fmla="*/ 428341 h 975248"/>
                    <a:gd name="connsiteX463" fmla="*/ 457344 w 696346"/>
                    <a:gd name="connsiteY463" fmla="*/ 422116 h 975248"/>
                    <a:gd name="connsiteX464" fmla="*/ 450638 w 696346"/>
                    <a:gd name="connsiteY464" fmla="*/ 419061 h 975248"/>
                    <a:gd name="connsiteX465" fmla="*/ 451195 w 696346"/>
                    <a:gd name="connsiteY465" fmla="*/ 408489 h 975248"/>
                    <a:gd name="connsiteX466" fmla="*/ 446606 w 696346"/>
                    <a:gd name="connsiteY466" fmla="*/ 403849 h 975248"/>
                    <a:gd name="connsiteX467" fmla="*/ 442106 w 696346"/>
                    <a:gd name="connsiteY467" fmla="*/ 392884 h 975248"/>
                    <a:gd name="connsiteX468" fmla="*/ 415194 w 696346"/>
                    <a:gd name="connsiteY468" fmla="*/ 376481 h 975248"/>
                    <a:gd name="connsiteX469" fmla="*/ 418769 w 696346"/>
                    <a:gd name="connsiteY469" fmla="*/ 373413 h 975248"/>
                    <a:gd name="connsiteX470" fmla="*/ 411074 w 696346"/>
                    <a:gd name="connsiteY470" fmla="*/ 367240 h 975248"/>
                    <a:gd name="connsiteX471" fmla="*/ 412012 w 696346"/>
                    <a:gd name="connsiteY471" fmla="*/ 366213 h 975248"/>
                    <a:gd name="connsiteX472" fmla="*/ 394671 w 696346"/>
                    <a:gd name="connsiteY472" fmla="*/ 353473 h 975248"/>
                    <a:gd name="connsiteX473" fmla="*/ 385747 w 696346"/>
                    <a:gd name="connsiteY473" fmla="*/ 353447 h 975248"/>
                    <a:gd name="connsiteX474" fmla="*/ 392871 w 696346"/>
                    <a:gd name="connsiteY474" fmla="*/ 370358 h 975248"/>
                    <a:gd name="connsiteX475" fmla="*/ 401731 w 696346"/>
                    <a:gd name="connsiteY475" fmla="*/ 386470 h 975248"/>
                    <a:gd name="connsiteX476" fmla="*/ 396927 w 696346"/>
                    <a:gd name="connsiteY476" fmla="*/ 383250 h 975248"/>
                    <a:gd name="connsiteX477" fmla="*/ 403646 w 696346"/>
                    <a:gd name="connsiteY477" fmla="*/ 409959 h 975248"/>
                    <a:gd name="connsiteX478" fmla="*/ 381221 w 696346"/>
                    <a:gd name="connsiteY478" fmla="*/ 383859 h 975248"/>
                    <a:gd name="connsiteX479" fmla="*/ 368760 w 696346"/>
                    <a:gd name="connsiteY479" fmla="*/ 376937 h 975248"/>
                    <a:gd name="connsiteX480" fmla="*/ 356109 w 696346"/>
                    <a:gd name="connsiteY480" fmla="*/ 365009 h 975248"/>
                    <a:gd name="connsiteX481" fmla="*/ 344028 w 696346"/>
                    <a:gd name="connsiteY481" fmla="*/ 358582 h 975248"/>
                    <a:gd name="connsiteX482" fmla="*/ 332606 w 696346"/>
                    <a:gd name="connsiteY482" fmla="*/ 355679 h 975248"/>
                    <a:gd name="connsiteX483" fmla="*/ 315379 w 696346"/>
                    <a:gd name="connsiteY483" fmla="*/ 373413 h 975248"/>
                    <a:gd name="connsiteX484" fmla="*/ 288632 w 696346"/>
                    <a:gd name="connsiteY484" fmla="*/ 378268 h 975248"/>
                    <a:gd name="connsiteX485" fmla="*/ 284981 w 696346"/>
                    <a:gd name="connsiteY485" fmla="*/ 372589 h 975248"/>
                    <a:gd name="connsiteX486" fmla="*/ 273331 w 696346"/>
                    <a:gd name="connsiteY486" fmla="*/ 373933 h 975248"/>
                    <a:gd name="connsiteX487" fmla="*/ 274801 w 696346"/>
                    <a:gd name="connsiteY487" fmla="*/ 361903 h 975248"/>
                    <a:gd name="connsiteX488" fmla="*/ 260566 w 696346"/>
                    <a:gd name="connsiteY488" fmla="*/ 361370 h 975248"/>
                    <a:gd name="connsiteX489" fmla="*/ 256192 w 696346"/>
                    <a:gd name="connsiteY489" fmla="*/ 367379 h 975248"/>
                    <a:gd name="connsiteX490" fmla="*/ 251629 w 696346"/>
                    <a:gd name="connsiteY490" fmla="*/ 352864 h 975248"/>
                    <a:gd name="connsiteX491" fmla="*/ 250044 w 696346"/>
                    <a:gd name="connsiteY491" fmla="*/ 340555 h 975248"/>
                    <a:gd name="connsiteX492" fmla="*/ 249537 w 696346"/>
                    <a:gd name="connsiteY492" fmla="*/ 337437 h 975248"/>
                    <a:gd name="connsiteX493" fmla="*/ 261326 w 696346"/>
                    <a:gd name="connsiteY493" fmla="*/ 326218 h 975248"/>
                    <a:gd name="connsiteX494" fmla="*/ 278896 w 696346"/>
                    <a:gd name="connsiteY494" fmla="*/ 312883 h 975248"/>
                    <a:gd name="connsiteX495" fmla="*/ 253087 w 696346"/>
                    <a:gd name="connsiteY495" fmla="*/ 285020 h 975248"/>
                    <a:gd name="connsiteX496" fmla="*/ 252060 w 696346"/>
                    <a:gd name="connsiteY496" fmla="*/ 289127 h 975248"/>
                    <a:gd name="connsiteX497" fmla="*/ 251058 w 696346"/>
                    <a:gd name="connsiteY497" fmla="*/ 289127 h 975248"/>
                    <a:gd name="connsiteX498" fmla="*/ 250437 w 696346"/>
                    <a:gd name="connsiteY498" fmla="*/ 282763 h 975248"/>
                    <a:gd name="connsiteX499" fmla="*/ 249550 w 696346"/>
                    <a:gd name="connsiteY499" fmla="*/ 287593 h 975248"/>
                    <a:gd name="connsiteX500" fmla="*/ 242958 w 696346"/>
                    <a:gd name="connsiteY500" fmla="*/ 318498 h 975248"/>
                    <a:gd name="connsiteX501" fmla="*/ 235086 w 696346"/>
                    <a:gd name="connsiteY501" fmla="*/ 305391 h 975248"/>
                    <a:gd name="connsiteX502" fmla="*/ 227315 w 696346"/>
                    <a:gd name="connsiteY502" fmla="*/ 294477 h 975248"/>
                    <a:gd name="connsiteX503" fmla="*/ 228760 w 696346"/>
                    <a:gd name="connsiteY503" fmla="*/ 288569 h 975248"/>
                    <a:gd name="connsiteX504" fmla="*/ 222625 w 696346"/>
                    <a:gd name="connsiteY504" fmla="*/ 284487 h 975248"/>
                    <a:gd name="connsiteX505" fmla="*/ 213054 w 696346"/>
                    <a:gd name="connsiteY505" fmla="*/ 290204 h 975248"/>
                    <a:gd name="connsiteX506" fmla="*/ 214588 w 696346"/>
                    <a:gd name="connsiteY506" fmla="*/ 288569 h 975248"/>
                    <a:gd name="connsiteX507" fmla="*/ 207324 w 696346"/>
                    <a:gd name="connsiteY507" fmla="*/ 258196 h 975248"/>
                    <a:gd name="connsiteX508" fmla="*/ 199896 w 696346"/>
                    <a:gd name="connsiteY508" fmla="*/ 239131 h 975248"/>
                    <a:gd name="connsiteX509" fmla="*/ 201899 w 696346"/>
                    <a:gd name="connsiteY509" fmla="*/ 232362 h 975248"/>
                    <a:gd name="connsiteX510" fmla="*/ 201430 w 696346"/>
                    <a:gd name="connsiteY510" fmla="*/ 233439 h 975248"/>
                    <a:gd name="connsiteX511" fmla="*/ 197348 w 696346"/>
                    <a:gd name="connsiteY511" fmla="*/ 219533 h 975248"/>
                    <a:gd name="connsiteX512" fmla="*/ 190224 w 696346"/>
                    <a:gd name="connsiteY512" fmla="*/ 206590 h 975248"/>
                    <a:gd name="connsiteX513" fmla="*/ 190819 w 696346"/>
                    <a:gd name="connsiteY513" fmla="*/ 177421 h 975248"/>
                    <a:gd name="connsiteX514" fmla="*/ 196220 w 696346"/>
                    <a:gd name="connsiteY514" fmla="*/ 171489 h 975248"/>
                    <a:gd name="connsiteX515" fmla="*/ 200390 w 696346"/>
                    <a:gd name="connsiteY515" fmla="*/ 179412 h 975248"/>
                    <a:gd name="connsiteX516" fmla="*/ 214423 w 696346"/>
                    <a:gd name="connsiteY516" fmla="*/ 192190 h 975248"/>
                    <a:gd name="connsiteX517" fmla="*/ 229242 w 696346"/>
                    <a:gd name="connsiteY517" fmla="*/ 198857 h 975248"/>
                    <a:gd name="connsiteX518" fmla="*/ 234287 w 696346"/>
                    <a:gd name="connsiteY518" fmla="*/ 195207 h 975248"/>
                    <a:gd name="connsiteX519" fmla="*/ 231308 w 696346"/>
                    <a:gd name="connsiteY519" fmla="*/ 195207 h 975248"/>
                    <a:gd name="connsiteX520" fmla="*/ 233299 w 696346"/>
                    <a:gd name="connsiteY520" fmla="*/ 178157 h 975248"/>
                    <a:gd name="connsiteX521" fmla="*/ 233299 w 696346"/>
                    <a:gd name="connsiteY521" fmla="*/ 179703 h 975248"/>
                    <a:gd name="connsiteX522" fmla="*/ 228253 w 696346"/>
                    <a:gd name="connsiteY522" fmla="*/ 153311 h 975248"/>
                    <a:gd name="connsiteX523" fmla="*/ 229838 w 696346"/>
                    <a:gd name="connsiteY523" fmla="*/ 153818 h 975248"/>
                    <a:gd name="connsiteX524" fmla="*/ 230256 w 696346"/>
                    <a:gd name="connsiteY524" fmla="*/ 141027 h 975248"/>
                    <a:gd name="connsiteX525" fmla="*/ 239295 w 696346"/>
                    <a:gd name="connsiteY525" fmla="*/ 125029 h 975248"/>
                    <a:gd name="connsiteX526" fmla="*/ 237558 w 696346"/>
                    <a:gd name="connsiteY526" fmla="*/ 99765 h 975248"/>
                    <a:gd name="connsiteX527" fmla="*/ 239650 w 696346"/>
                    <a:gd name="connsiteY527" fmla="*/ 93908 h 975248"/>
                    <a:gd name="connsiteX528" fmla="*/ 232969 w 696346"/>
                    <a:gd name="connsiteY528" fmla="*/ 84173 h 975248"/>
                    <a:gd name="connsiteX529" fmla="*/ 236506 w 696346"/>
                    <a:gd name="connsiteY529" fmla="*/ 66223 h 975248"/>
                    <a:gd name="connsiteX530" fmla="*/ 242235 w 696346"/>
                    <a:gd name="connsiteY530" fmla="*/ 48970 h 975248"/>
                    <a:gd name="connsiteX531" fmla="*/ 249943 w 696346"/>
                    <a:gd name="connsiteY531" fmla="*/ 16607 h 975248"/>
                    <a:gd name="connsiteX532" fmla="*/ 251553 w 696346"/>
                    <a:gd name="connsiteY532" fmla="*/ 8545 h 975248"/>
                    <a:gd name="connsiteX533" fmla="*/ 262911 w 696346"/>
                    <a:gd name="connsiteY533" fmla="*/ 6821 h 975248"/>
                    <a:gd name="connsiteX534" fmla="*/ 274358 w 696346"/>
                    <a:gd name="connsiteY534" fmla="*/ 5794 h 975248"/>
                    <a:gd name="connsiteX535" fmla="*/ 274358 w 696346"/>
                    <a:gd name="connsiteY535" fmla="*/ 5794 h 975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Lst>
                  <a:rect l="l" t="t" r="r" b="b"/>
                  <a:pathLst>
                    <a:path w="696346" h="975248">
                      <a:moveTo>
                        <a:pt x="359253" y="914396"/>
                      </a:moveTo>
                      <a:cubicBezTo>
                        <a:pt x="350176" y="917807"/>
                        <a:pt x="348667" y="908540"/>
                        <a:pt x="345765" y="902506"/>
                      </a:cubicBezTo>
                      <a:cubicBezTo>
                        <a:pt x="344966" y="900731"/>
                        <a:pt x="339008" y="902417"/>
                        <a:pt x="340884" y="898285"/>
                      </a:cubicBezTo>
                      <a:cubicBezTo>
                        <a:pt x="342418" y="894989"/>
                        <a:pt x="349377" y="893962"/>
                        <a:pt x="352648" y="893265"/>
                      </a:cubicBezTo>
                      <a:cubicBezTo>
                        <a:pt x="362536" y="891236"/>
                        <a:pt x="370573" y="893074"/>
                        <a:pt x="379814" y="900389"/>
                      </a:cubicBezTo>
                      <a:cubicBezTo>
                        <a:pt x="368988" y="902341"/>
                        <a:pt x="370826" y="911772"/>
                        <a:pt x="359253" y="914396"/>
                      </a:cubicBezTo>
                      <a:lnTo>
                        <a:pt x="359253" y="914396"/>
                      </a:lnTo>
                      <a:close/>
                      <a:moveTo>
                        <a:pt x="624357" y="677789"/>
                      </a:moveTo>
                      <a:cubicBezTo>
                        <a:pt x="625751" y="678283"/>
                        <a:pt x="626499" y="678778"/>
                        <a:pt x="627995" y="678334"/>
                      </a:cubicBezTo>
                      <a:cubicBezTo>
                        <a:pt x="631481" y="682036"/>
                        <a:pt x="643194" y="683202"/>
                        <a:pt x="647187" y="689515"/>
                      </a:cubicBezTo>
                      <a:cubicBezTo>
                        <a:pt x="647923" y="688792"/>
                        <a:pt x="648011" y="687943"/>
                        <a:pt x="648721" y="687487"/>
                      </a:cubicBezTo>
                      <a:cubicBezTo>
                        <a:pt x="644664" y="691100"/>
                        <a:pt x="642421" y="694941"/>
                        <a:pt x="650255" y="693597"/>
                      </a:cubicBezTo>
                      <a:cubicBezTo>
                        <a:pt x="647593" y="708999"/>
                        <a:pt x="660257" y="702914"/>
                        <a:pt x="666962" y="700442"/>
                      </a:cubicBezTo>
                      <a:cubicBezTo>
                        <a:pt x="665822" y="704385"/>
                        <a:pt x="662678" y="712193"/>
                        <a:pt x="664110" y="716630"/>
                      </a:cubicBezTo>
                      <a:cubicBezTo>
                        <a:pt x="665087" y="719660"/>
                        <a:pt x="672946" y="723666"/>
                        <a:pt x="674505" y="727899"/>
                      </a:cubicBezTo>
                      <a:cubicBezTo>
                        <a:pt x="677509" y="735962"/>
                        <a:pt x="667546" y="742972"/>
                        <a:pt x="670030" y="745875"/>
                      </a:cubicBezTo>
                      <a:cubicBezTo>
                        <a:pt x="657924" y="745254"/>
                        <a:pt x="656720" y="761366"/>
                        <a:pt x="668446" y="758095"/>
                      </a:cubicBezTo>
                      <a:cubicBezTo>
                        <a:pt x="668103" y="757563"/>
                        <a:pt x="666608" y="757334"/>
                        <a:pt x="666544" y="756586"/>
                      </a:cubicBezTo>
                      <a:cubicBezTo>
                        <a:pt x="672540" y="755724"/>
                        <a:pt x="679728" y="756117"/>
                        <a:pt x="681135" y="762658"/>
                      </a:cubicBezTo>
                      <a:cubicBezTo>
                        <a:pt x="675367" y="764851"/>
                        <a:pt x="681629" y="766930"/>
                        <a:pt x="675278" y="771469"/>
                      </a:cubicBezTo>
                      <a:cubicBezTo>
                        <a:pt x="680412" y="774777"/>
                        <a:pt x="674302" y="790598"/>
                        <a:pt x="684672" y="779379"/>
                      </a:cubicBezTo>
                      <a:cubicBezTo>
                        <a:pt x="684215" y="787783"/>
                        <a:pt x="681832" y="794958"/>
                        <a:pt x="681376" y="801030"/>
                      </a:cubicBezTo>
                      <a:cubicBezTo>
                        <a:pt x="680716" y="809802"/>
                        <a:pt x="682187" y="809042"/>
                        <a:pt x="688462" y="816927"/>
                      </a:cubicBezTo>
                      <a:cubicBezTo>
                        <a:pt x="689362" y="818118"/>
                        <a:pt x="692759" y="816737"/>
                        <a:pt x="693621" y="818346"/>
                      </a:cubicBezTo>
                      <a:cubicBezTo>
                        <a:pt x="694128" y="819158"/>
                        <a:pt x="692341" y="821795"/>
                        <a:pt x="692848" y="823012"/>
                      </a:cubicBezTo>
                      <a:cubicBezTo>
                        <a:pt x="694217" y="826117"/>
                        <a:pt x="695447" y="832367"/>
                        <a:pt x="695637" y="835954"/>
                      </a:cubicBezTo>
                      <a:cubicBezTo>
                        <a:pt x="695840" y="840150"/>
                        <a:pt x="688741" y="847363"/>
                        <a:pt x="696347" y="850608"/>
                      </a:cubicBezTo>
                      <a:cubicBezTo>
                        <a:pt x="693456" y="855882"/>
                        <a:pt x="690351" y="860521"/>
                        <a:pt x="686459" y="865376"/>
                      </a:cubicBezTo>
                      <a:cubicBezTo>
                        <a:pt x="684824" y="867354"/>
                        <a:pt x="686180" y="870751"/>
                        <a:pt x="684076" y="872310"/>
                      </a:cubicBezTo>
                      <a:cubicBezTo>
                        <a:pt x="681173" y="874440"/>
                        <a:pt x="677421" y="869547"/>
                        <a:pt x="675114" y="872285"/>
                      </a:cubicBezTo>
                      <a:cubicBezTo>
                        <a:pt x="671184" y="877052"/>
                        <a:pt x="678485" y="884543"/>
                        <a:pt x="676369" y="886280"/>
                      </a:cubicBezTo>
                      <a:cubicBezTo>
                        <a:pt x="671805" y="889918"/>
                        <a:pt x="668142" y="867646"/>
                        <a:pt x="664922" y="879714"/>
                      </a:cubicBezTo>
                      <a:cubicBezTo>
                        <a:pt x="664668" y="879625"/>
                        <a:pt x="663020" y="878813"/>
                        <a:pt x="663413" y="878180"/>
                      </a:cubicBezTo>
                      <a:cubicBezTo>
                        <a:pt x="663692" y="883288"/>
                        <a:pt x="668915" y="885697"/>
                        <a:pt x="669726" y="889944"/>
                      </a:cubicBezTo>
                      <a:cubicBezTo>
                        <a:pt x="671450" y="899096"/>
                        <a:pt x="666329" y="914536"/>
                        <a:pt x="665518" y="924031"/>
                      </a:cubicBezTo>
                      <a:cubicBezTo>
                        <a:pt x="663603" y="918973"/>
                        <a:pt x="659521" y="913788"/>
                        <a:pt x="657886" y="907678"/>
                      </a:cubicBezTo>
                      <a:cubicBezTo>
                        <a:pt x="655947" y="900401"/>
                        <a:pt x="659015" y="893201"/>
                        <a:pt x="656885" y="886293"/>
                      </a:cubicBezTo>
                      <a:cubicBezTo>
                        <a:pt x="656124" y="883681"/>
                        <a:pt x="654400" y="883212"/>
                        <a:pt x="653792" y="881767"/>
                      </a:cubicBezTo>
                      <a:cubicBezTo>
                        <a:pt x="652473" y="878712"/>
                        <a:pt x="650978" y="873350"/>
                        <a:pt x="649723" y="870637"/>
                      </a:cubicBezTo>
                      <a:cubicBezTo>
                        <a:pt x="648011" y="867024"/>
                        <a:pt x="644690" y="864565"/>
                        <a:pt x="642915" y="861016"/>
                      </a:cubicBezTo>
                      <a:cubicBezTo>
                        <a:pt x="641660" y="858430"/>
                        <a:pt x="641102" y="850051"/>
                        <a:pt x="639734" y="848542"/>
                      </a:cubicBezTo>
                      <a:cubicBezTo>
                        <a:pt x="636438" y="844954"/>
                        <a:pt x="630074" y="845195"/>
                        <a:pt x="625777" y="852763"/>
                      </a:cubicBezTo>
                      <a:cubicBezTo>
                        <a:pt x="624014" y="855856"/>
                        <a:pt x="626664" y="859647"/>
                        <a:pt x="624864" y="862676"/>
                      </a:cubicBezTo>
                      <a:cubicBezTo>
                        <a:pt x="623152" y="865529"/>
                        <a:pt x="619742" y="866416"/>
                        <a:pt x="618107" y="868520"/>
                      </a:cubicBezTo>
                      <a:cubicBezTo>
                        <a:pt x="614596" y="873033"/>
                        <a:pt x="609183" y="878408"/>
                        <a:pt x="606673" y="884936"/>
                      </a:cubicBezTo>
                      <a:cubicBezTo>
                        <a:pt x="605114" y="888942"/>
                        <a:pt x="605291" y="906372"/>
                        <a:pt x="608752" y="899464"/>
                      </a:cubicBezTo>
                      <a:cubicBezTo>
                        <a:pt x="612276" y="903127"/>
                        <a:pt x="618373" y="905206"/>
                        <a:pt x="620414" y="908147"/>
                      </a:cubicBezTo>
                      <a:cubicBezTo>
                        <a:pt x="622899" y="911747"/>
                        <a:pt x="622975" y="918605"/>
                        <a:pt x="624509" y="922712"/>
                      </a:cubicBezTo>
                      <a:cubicBezTo>
                        <a:pt x="630175" y="937874"/>
                        <a:pt x="629972" y="942006"/>
                        <a:pt x="620719" y="955177"/>
                      </a:cubicBezTo>
                      <a:cubicBezTo>
                        <a:pt x="610565" y="969577"/>
                        <a:pt x="604176" y="986387"/>
                        <a:pt x="595518" y="965293"/>
                      </a:cubicBezTo>
                      <a:cubicBezTo>
                        <a:pt x="594795" y="963531"/>
                        <a:pt x="590624" y="961972"/>
                        <a:pt x="590219" y="959779"/>
                      </a:cubicBezTo>
                      <a:cubicBezTo>
                        <a:pt x="589015" y="953770"/>
                        <a:pt x="598446" y="949688"/>
                        <a:pt x="597483" y="943514"/>
                      </a:cubicBezTo>
                      <a:cubicBezTo>
                        <a:pt x="594161" y="922066"/>
                        <a:pt x="583234" y="954277"/>
                        <a:pt x="581916" y="955037"/>
                      </a:cubicBezTo>
                      <a:cubicBezTo>
                        <a:pt x="575387" y="958967"/>
                        <a:pt x="554965" y="948902"/>
                        <a:pt x="548691" y="945885"/>
                      </a:cubicBezTo>
                      <a:cubicBezTo>
                        <a:pt x="537700" y="940561"/>
                        <a:pt x="524085" y="933120"/>
                        <a:pt x="515833" y="924322"/>
                      </a:cubicBezTo>
                      <a:cubicBezTo>
                        <a:pt x="504906" y="912584"/>
                        <a:pt x="507517" y="908210"/>
                        <a:pt x="506681" y="895458"/>
                      </a:cubicBezTo>
                      <a:cubicBezTo>
                        <a:pt x="505920" y="883047"/>
                        <a:pt x="496260" y="886889"/>
                        <a:pt x="501990" y="869940"/>
                      </a:cubicBezTo>
                      <a:cubicBezTo>
                        <a:pt x="505387" y="860002"/>
                        <a:pt x="510255" y="862271"/>
                        <a:pt x="515833" y="855020"/>
                      </a:cubicBezTo>
                      <a:cubicBezTo>
                        <a:pt x="519129" y="850748"/>
                        <a:pt x="519319" y="846273"/>
                        <a:pt x="521107" y="841202"/>
                      </a:cubicBezTo>
                      <a:cubicBezTo>
                        <a:pt x="511840" y="841202"/>
                        <a:pt x="509850" y="827550"/>
                        <a:pt x="501825" y="822695"/>
                      </a:cubicBezTo>
                      <a:cubicBezTo>
                        <a:pt x="497858" y="820299"/>
                        <a:pt x="494486" y="820894"/>
                        <a:pt x="491012" y="818980"/>
                      </a:cubicBezTo>
                      <a:cubicBezTo>
                        <a:pt x="487577" y="817117"/>
                        <a:pt x="484814" y="813263"/>
                        <a:pt x="481340" y="811463"/>
                      </a:cubicBezTo>
                      <a:cubicBezTo>
                        <a:pt x="476409" y="808966"/>
                        <a:pt x="464962" y="806976"/>
                        <a:pt x="461856" y="812465"/>
                      </a:cubicBezTo>
                      <a:cubicBezTo>
                        <a:pt x="460791" y="814366"/>
                        <a:pt x="465596" y="818904"/>
                        <a:pt x="463783" y="823138"/>
                      </a:cubicBezTo>
                      <a:cubicBezTo>
                        <a:pt x="463073" y="824799"/>
                        <a:pt x="459372" y="826333"/>
                        <a:pt x="458231" y="828310"/>
                      </a:cubicBezTo>
                      <a:cubicBezTo>
                        <a:pt x="457673" y="828260"/>
                        <a:pt x="456393" y="827309"/>
                        <a:pt x="455696" y="827524"/>
                      </a:cubicBezTo>
                      <a:cubicBezTo>
                        <a:pt x="456088" y="831163"/>
                        <a:pt x="463821" y="837019"/>
                        <a:pt x="462807" y="840442"/>
                      </a:cubicBezTo>
                      <a:cubicBezTo>
                        <a:pt x="460132" y="849594"/>
                        <a:pt x="452869" y="835726"/>
                        <a:pt x="450105" y="834598"/>
                      </a:cubicBezTo>
                      <a:cubicBezTo>
                        <a:pt x="446061" y="832963"/>
                        <a:pt x="441384" y="837653"/>
                        <a:pt x="437948" y="830377"/>
                      </a:cubicBezTo>
                      <a:cubicBezTo>
                        <a:pt x="437644" y="829717"/>
                        <a:pt x="441878" y="826054"/>
                        <a:pt x="441485" y="823366"/>
                      </a:cubicBezTo>
                      <a:cubicBezTo>
                        <a:pt x="441384" y="822682"/>
                        <a:pt x="438062" y="817941"/>
                        <a:pt x="437657" y="816280"/>
                      </a:cubicBezTo>
                      <a:cubicBezTo>
                        <a:pt x="432649" y="821364"/>
                        <a:pt x="431838" y="834015"/>
                        <a:pt x="427794" y="835891"/>
                      </a:cubicBezTo>
                      <a:cubicBezTo>
                        <a:pt x="425627" y="836892"/>
                        <a:pt x="423345" y="831365"/>
                        <a:pt x="423523" y="831276"/>
                      </a:cubicBezTo>
                      <a:cubicBezTo>
                        <a:pt x="423700" y="831251"/>
                        <a:pt x="417210" y="835067"/>
                        <a:pt x="419910" y="835308"/>
                      </a:cubicBezTo>
                      <a:cubicBezTo>
                        <a:pt x="417311" y="835092"/>
                        <a:pt x="415587" y="837133"/>
                        <a:pt x="413153" y="835168"/>
                      </a:cubicBezTo>
                      <a:cubicBezTo>
                        <a:pt x="415270" y="832823"/>
                        <a:pt x="412773" y="832988"/>
                        <a:pt x="416246" y="832088"/>
                      </a:cubicBezTo>
                      <a:cubicBezTo>
                        <a:pt x="413698" y="822225"/>
                        <a:pt x="417565" y="817218"/>
                        <a:pt x="408716" y="814480"/>
                      </a:cubicBezTo>
                      <a:cubicBezTo>
                        <a:pt x="399843" y="811716"/>
                        <a:pt x="390538" y="818828"/>
                        <a:pt x="387065" y="828323"/>
                      </a:cubicBezTo>
                      <a:cubicBezTo>
                        <a:pt x="388358" y="828716"/>
                        <a:pt x="389562" y="828374"/>
                        <a:pt x="390893" y="828323"/>
                      </a:cubicBezTo>
                      <a:cubicBezTo>
                        <a:pt x="390361" y="831036"/>
                        <a:pt x="389968" y="832088"/>
                        <a:pt x="387788" y="834141"/>
                      </a:cubicBezTo>
                      <a:cubicBezTo>
                        <a:pt x="387813" y="833850"/>
                        <a:pt x="388700" y="831479"/>
                        <a:pt x="388358" y="831112"/>
                      </a:cubicBezTo>
                      <a:cubicBezTo>
                        <a:pt x="383959" y="833457"/>
                        <a:pt x="383249" y="837513"/>
                        <a:pt x="381753" y="840023"/>
                      </a:cubicBezTo>
                      <a:cubicBezTo>
                        <a:pt x="381931" y="839732"/>
                        <a:pt x="377063" y="847667"/>
                        <a:pt x="377215" y="847350"/>
                      </a:cubicBezTo>
                      <a:cubicBezTo>
                        <a:pt x="373729" y="855425"/>
                        <a:pt x="372398" y="877166"/>
                        <a:pt x="361763" y="878611"/>
                      </a:cubicBezTo>
                      <a:cubicBezTo>
                        <a:pt x="354309" y="879612"/>
                        <a:pt x="347552" y="869889"/>
                        <a:pt x="347502" y="863817"/>
                      </a:cubicBezTo>
                      <a:cubicBezTo>
                        <a:pt x="347375" y="854119"/>
                        <a:pt x="355779" y="854373"/>
                        <a:pt x="358872" y="847997"/>
                      </a:cubicBezTo>
                      <a:cubicBezTo>
                        <a:pt x="362092" y="841329"/>
                        <a:pt x="356857" y="834395"/>
                        <a:pt x="365781" y="827537"/>
                      </a:cubicBezTo>
                      <a:cubicBezTo>
                        <a:pt x="357693" y="820146"/>
                        <a:pt x="366934" y="803781"/>
                        <a:pt x="375022" y="797481"/>
                      </a:cubicBezTo>
                      <a:cubicBezTo>
                        <a:pt x="383224" y="791054"/>
                        <a:pt x="400781" y="794844"/>
                        <a:pt x="405243" y="784982"/>
                      </a:cubicBezTo>
                      <a:cubicBezTo>
                        <a:pt x="408425" y="790800"/>
                        <a:pt x="423142" y="788873"/>
                        <a:pt x="427021" y="783385"/>
                      </a:cubicBezTo>
                      <a:cubicBezTo>
                        <a:pt x="430152" y="778961"/>
                        <a:pt x="426666" y="775234"/>
                        <a:pt x="428416" y="768984"/>
                      </a:cubicBezTo>
                      <a:cubicBezTo>
                        <a:pt x="429569" y="765105"/>
                        <a:pt x="431179" y="760757"/>
                        <a:pt x="435007" y="758691"/>
                      </a:cubicBezTo>
                      <a:cubicBezTo>
                        <a:pt x="440902" y="755560"/>
                        <a:pt x="445745" y="760529"/>
                        <a:pt x="450092" y="758425"/>
                      </a:cubicBezTo>
                      <a:cubicBezTo>
                        <a:pt x="456418" y="755382"/>
                        <a:pt x="462046" y="748600"/>
                        <a:pt x="457800" y="743872"/>
                      </a:cubicBezTo>
                      <a:cubicBezTo>
                        <a:pt x="460513" y="743720"/>
                        <a:pt x="464607" y="744417"/>
                        <a:pt x="466876" y="745406"/>
                      </a:cubicBezTo>
                      <a:cubicBezTo>
                        <a:pt x="467028" y="749614"/>
                        <a:pt x="468549" y="751782"/>
                        <a:pt x="471909" y="753988"/>
                      </a:cubicBezTo>
                      <a:cubicBezTo>
                        <a:pt x="472315" y="751681"/>
                        <a:pt x="473671" y="749893"/>
                        <a:pt x="473544" y="748055"/>
                      </a:cubicBezTo>
                      <a:cubicBezTo>
                        <a:pt x="484902" y="748867"/>
                        <a:pt x="490683" y="759324"/>
                        <a:pt x="493003" y="772508"/>
                      </a:cubicBezTo>
                      <a:cubicBezTo>
                        <a:pt x="495322" y="785780"/>
                        <a:pt x="492876" y="784640"/>
                        <a:pt x="484078" y="793551"/>
                      </a:cubicBezTo>
                      <a:cubicBezTo>
                        <a:pt x="485549" y="792030"/>
                        <a:pt x="473798" y="799243"/>
                        <a:pt x="478983" y="799852"/>
                      </a:cubicBezTo>
                      <a:cubicBezTo>
                        <a:pt x="483064" y="800333"/>
                        <a:pt x="492394" y="790864"/>
                        <a:pt x="495614" y="788848"/>
                      </a:cubicBezTo>
                      <a:cubicBezTo>
                        <a:pt x="503042" y="784221"/>
                        <a:pt x="507264" y="786009"/>
                        <a:pt x="515174" y="782954"/>
                      </a:cubicBezTo>
                      <a:cubicBezTo>
                        <a:pt x="525201" y="779100"/>
                        <a:pt x="521588" y="771697"/>
                        <a:pt x="525277" y="763242"/>
                      </a:cubicBezTo>
                      <a:cubicBezTo>
                        <a:pt x="535139" y="740639"/>
                        <a:pt x="537231" y="760618"/>
                        <a:pt x="551492" y="759046"/>
                      </a:cubicBezTo>
                      <a:cubicBezTo>
                        <a:pt x="550567" y="761099"/>
                        <a:pt x="550668" y="763242"/>
                        <a:pt x="549933" y="765156"/>
                      </a:cubicBezTo>
                      <a:cubicBezTo>
                        <a:pt x="552304" y="761898"/>
                        <a:pt x="556842" y="762379"/>
                        <a:pt x="558375" y="759198"/>
                      </a:cubicBezTo>
                      <a:cubicBezTo>
                        <a:pt x="560619" y="754609"/>
                        <a:pt x="557805" y="750426"/>
                        <a:pt x="558401" y="745837"/>
                      </a:cubicBezTo>
                      <a:cubicBezTo>
                        <a:pt x="559935" y="734314"/>
                        <a:pt x="557501" y="717834"/>
                        <a:pt x="572548" y="725580"/>
                      </a:cubicBezTo>
                      <a:cubicBezTo>
                        <a:pt x="577872" y="728305"/>
                        <a:pt x="583779" y="738218"/>
                        <a:pt x="589217" y="733731"/>
                      </a:cubicBezTo>
                      <a:cubicBezTo>
                        <a:pt x="593565" y="730131"/>
                        <a:pt x="587126" y="720218"/>
                        <a:pt x="591132" y="717682"/>
                      </a:cubicBezTo>
                      <a:cubicBezTo>
                        <a:pt x="593033" y="716478"/>
                        <a:pt x="601425" y="725567"/>
                        <a:pt x="607826" y="724452"/>
                      </a:cubicBezTo>
                      <a:cubicBezTo>
                        <a:pt x="617663" y="722753"/>
                        <a:pt x="617816" y="715958"/>
                        <a:pt x="616193" y="706932"/>
                      </a:cubicBezTo>
                      <a:cubicBezTo>
                        <a:pt x="613721" y="693102"/>
                        <a:pt x="600284" y="675127"/>
                        <a:pt x="610729" y="662020"/>
                      </a:cubicBezTo>
                      <a:cubicBezTo>
                        <a:pt x="613328" y="665011"/>
                        <a:pt x="618437" y="665430"/>
                        <a:pt x="620250" y="667547"/>
                      </a:cubicBezTo>
                      <a:cubicBezTo>
                        <a:pt x="622240" y="669867"/>
                        <a:pt x="621416" y="674924"/>
                        <a:pt x="624357" y="677789"/>
                      </a:cubicBezTo>
                      <a:lnTo>
                        <a:pt x="624357" y="677789"/>
                      </a:lnTo>
                      <a:close/>
                      <a:moveTo>
                        <a:pt x="528700" y="637681"/>
                      </a:moveTo>
                      <a:cubicBezTo>
                        <a:pt x="528852" y="638708"/>
                        <a:pt x="529017" y="639696"/>
                        <a:pt x="529181" y="640723"/>
                      </a:cubicBezTo>
                      <a:cubicBezTo>
                        <a:pt x="529967" y="639646"/>
                        <a:pt x="531514" y="638631"/>
                        <a:pt x="532211" y="637630"/>
                      </a:cubicBezTo>
                      <a:cubicBezTo>
                        <a:pt x="534176" y="642409"/>
                        <a:pt x="549958" y="646934"/>
                        <a:pt x="544862" y="649825"/>
                      </a:cubicBezTo>
                      <a:cubicBezTo>
                        <a:pt x="545775" y="653945"/>
                        <a:pt x="545851" y="656987"/>
                        <a:pt x="543493" y="659193"/>
                      </a:cubicBezTo>
                      <a:cubicBezTo>
                        <a:pt x="557234" y="665366"/>
                        <a:pt x="542365" y="666773"/>
                        <a:pt x="541047" y="667572"/>
                      </a:cubicBezTo>
                      <a:cubicBezTo>
                        <a:pt x="541668" y="667191"/>
                        <a:pt x="535203" y="672465"/>
                        <a:pt x="533732" y="673492"/>
                      </a:cubicBezTo>
                      <a:cubicBezTo>
                        <a:pt x="526494" y="678486"/>
                        <a:pt x="518533" y="679196"/>
                        <a:pt x="509457" y="678816"/>
                      </a:cubicBezTo>
                      <a:cubicBezTo>
                        <a:pt x="499100" y="678398"/>
                        <a:pt x="497566" y="676078"/>
                        <a:pt x="493294" y="671299"/>
                      </a:cubicBezTo>
                      <a:cubicBezTo>
                        <a:pt x="484319" y="661259"/>
                        <a:pt x="493636" y="658775"/>
                        <a:pt x="502802" y="651980"/>
                      </a:cubicBezTo>
                      <a:cubicBezTo>
                        <a:pt x="512017" y="645096"/>
                        <a:pt x="513424" y="635348"/>
                        <a:pt x="528700" y="637681"/>
                      </a:cubicBezTo>
                      <a:lnTo>
                        <a:pt x="528700" y="637681"/>
                      </a:lnTo>
                      <a:close/>
                      <a:moveTo>
                        <a:pt x="448888" y="576263"/>
                      </a:moveTo>
                      <a:cubicBezTo>
                        <a:pt x="452552" y="577518"/>
                        <a:pt x="454948" y="578431"/>
                        <a:pt x="458763" y="578075"/>
                      </a:cubicBezTo>
                      <a:cubicBezTo>
                        <a:pt x="459105" y="579356"/>
                        <a:pt x="458104" y="579140"/>
                        <a:pt x="458916" y="580573"/>
                      </a:cubicBezTo>
                      <a:cubicBezTo>
                        <a:pt x="466039" y="575756"/>
                        <a:pt x="471503" y="585048"/>
                        <a:pt x="471123" y="591019"/>
                      </a:cubicBezTo>
                      <a:cubicBezTo>
                        <a:pt x="470337" y="603226"/>
                        <a:pt x="458332" y="613760"/>
                        <a:pt x="454187" y="624675"/>
                      </a:cubicBezTo>
                      <a:cubicBezTo>
                        <a:pt x="452260" y="629847"/>
                        <a:pt x="452742" y="636730"/>
                        <a:pt x="450371" y="641965"/>
                      </a:cubicBezTo>
                      <a:cubicBezTo>
                        <a:pt x="448318" y="646643"/>
                        <a:pt x="443336" y="651042"/>
                        <a:pt x="441941" y="655745"/>
                      </a:cubicBezTo>
                      <a:cubicBezTo>
                        <a:pt x="439875" y="662603"/>
                        <a:pt x="438811" y="677852"/>
                        <a:pt x="441510" y="681364"/>
                      </a:cubicBezTo>
                      <a:cubicBezTo>
                        <a:pt x="438684" y="680451"/>
                        <a:pt x="441485" y="681237"/>
                        <a:pt x="438963" y="682124"/>
                      </a:cubicBezTo>
                      <a:cubicBezTo>
                        <a:pt x="444249" y="685243"/>
                        <a:pt x="453059" y="695333"/>
                        <a:pt x="452869" y="702381"/>
                      </a:cubicBezTo>
                      <a:cubicBezTo>
                        <a:pt x="452438" y="714412"/>
                        <a:pt x="434805" y="724515"/>
                        <a:pt x="425804" y="717150"/>
                      </a:cubicBezTo>
                      <a:cubicBezTo>
                        <a:pt x="419428" y="711952"/>
                        <a:pt x="422825" y="701722"/>
                        <a:pt x="416221" y="696550"/>
                      </a:cubicBezTo>
                      <a:cubicBezTo>
                        <a:pt x="413318" y="694281"/>
                        <a:pt x="405889" y="694192"/>
                        <a:pt x="402023" y="691568"/>
                      </a:cubicBezTo>
                      <a:cubicBezTo>
                        <a:pt x="397041" y="688133"/>
                        <a:pt x="389182" y="673834"/>
                        <a:pt x="386304" y="674291"/>
                      </a:cubicBezTo>
                      <a:cubicBezTo>
                        <a:pt x="386013" y="673023"/>
                        <a:pt x="386951" y="671540"/>
                        <a:pt x="386824" y="670196"/>
                      </a:cubicBezTo>
                      <a:cubicBezTo>
                        <a:pt x="386279" y="670133"/>
                        <a:pt x="385290" y="671349"/>
                        <a:pt x="384771" y="671235"/>
                      </a:cubicBezTo>
                      <a:cubicBezTo>
                        <a:pt x="385113" y="664593"/>
                        <a:pt x="383553" y="660245"/>
                        <a:pt x="387838" y="654756"/>
                      </a:cubicBezTo>
                      <a:cubicBezTo>
                        <a:pt x="393555" y="647480"/>
                        <a:pt x="394671" y="653222"/>
                        <a:pt x="402518" y="651384"/>
                      </a:cubicBezTo>
                      <a:cubicBezTo>
                        <a:pt x="418084" y="647721"/>
                        <a:pt x="421469" y="638048"/>
                        <a:pt x="419276" y="622900"/>
                      </a:cubicBezTo>
                      <a:cubicBezTo>
                        <a:pt x="418820" y="619667"/>
                        <a:pt x="414979" y="615294"/>
                        <a:pt x="415473" y="612252"/>
                      </a:cubicBezTo>
                      <a:cubicBezTo>
                        <a:pt x="416082" y="608614"/>
                        <a:pt x="418414" y="609919"/>
                        <a:pt x="419707" y="607206"/>
                      </a:cubicBezTo>
                      <a:cubicBezTo>
                        <a:pt x="422610" y="600868"/>
                        <a:pt x="424423" y="594631"/>
                        <a:pt x="426616" y="588673"/>
                      </a:cubicBezTo>
                      <a:cubicBezTo>
                        <a:pt x="428707" y="582982"/>
                        <a:pt x="426565" y="585149"/>
                        <a:pt x="433220" y="580801"/>
                      </a:cubicBezTo>
                      <a:cubicBezTo>
                        <a:pt x="437948" y="577695"/>
                        <a:pt x="444198" y="573664"/>
                        <a:pt x="448888" y="576263"/>
                      </a:cubicBezTo>
                      <a:lnTo>
                        <a:pt x="448888" y="576263"/>
                      </a:lnTo>
                      <a:close/>
                      <a:moveTo>
                        <a:pt x="502789" y="568822"/>
                      </a:moveTo>
                      <a:cubicBezTo>
                        <a:pt x="504652" y="569139"/>
                        <a:pt x="503778" y="571433"/>
                        <a:pt x="506921" y="569849"/>
                      </a:cubicBezTo>
                      <a:cubicBezTo>
                        <a:pt x="507974" y="579622"/>
                        <a:pt x="505033" y="585631"/>
                        <a:pt x="504513" y="594821"/>
                      </a:cubicBezTo>
                      <a:cubicBezTo>
                        <a:pt x="503968" y="604823"/>
                        <a:pt x="508810" y="612873"/>
                        <a:pt x="502332" y="622367"/>
                      </a:cubicBezTo>
                      <a:cubicBezTo>
                        <a:pt x="502878" y="622469"/>
                        <a:pt x="501471" y="620948"/>
                        <a:pt x="501369" y="620884"/>
                      </a:cubicBezTo>
                      <a:cubicBezTo>
                        <a:pt x="499379" y="630544"/>
                        <a:pt x="481087" y="634258"/>
                        <a:pt x="476827" y="644729"/>
                      </a:cubicBezTo>
                      <a:cubicBezTo>
                        <a:pt x="473772" y="652385"/>
                        <a:pt x="468131" y="692012"/>
                        <a:pt x="455493" y="692228"/>
                      </a:cubicBezTo>
                      <a:cubicBezTo>
                        <a:pt x="447684" y="692367"/>
                        <a:pt x="458180" y="653171"/>
                        <a:pt x="459105" y="650649"/>
                      </a:cubicBezTo>
                      <a:cubicBezTo>
                        <a:pt x="463517" y="638162"/>
                        <a:pt x="475674" y="625651"/>
                        <a:pt x="481999" y="612683"/>
                      </a:cubicBezTo>
                      <a:cubicBezTo>
                        <a:pt x="488731" y="598903"/>
                        <a:pt x="493865" y="581473"/>
                        <a:pt x="498783" y="567275"/>
                      </a:cubicBezTo>
                      <a:cubicBezTo>
                        <a:pt x="499429" y="567630"/>
                        <a:pt x="499937" y="568492"/>
                        <a:pt x="500849" y="568809"/>
                      </a:cubicBezTo>
                      <a:cubicBezTo>
                        <a:pt x="497959" y="563067"/>
                        <a:pt x="501382" y="553737"/>
                        <a:pt x="508367" y="554548"/>
                      </a:cubicBezTo>
                      <a:cubicBezTo>
                        <a:pt x="507188" y="559682"/>
                        <a:pt x="506516" y="564917"/>
                        <a:pt x="502789" y="568822"/>
                      </a:cubicBezTo>
                      <a:lnTo>
                        <a:pt x="502789" y="568822"/>
                      </a:lnTo>
                      <a:close/>
                      <a:moveTo>
                        <a:pt x="171855" y="549287"/>
                      </a:moveTo>
                      <a:cubicBezTo>
                        <a:pt x="172984" y="549592"/>
                        <a:pt x="172882" y="551125"/>
                        <a:pt x="174061" y="549477"/>
                      </a:cubicBezTo>
                      <a:cubicBezTo>
                        <a:pt x="177116" y="556462"/>
                        <a:pt x="171855" y="559568"/>
                        <a:pt x="171399" y="565843"/>
                      </a:cubicBezTo>
                      <a:cubicBezTo>
                        <a:pt x="171184" y="568238"/>
                        <a:pt x="175507" y="569075"/>
                        <a:pt x="175151" y="571826"/>
                      </a:cubicBezTo>
                      <a:cubicBezTo>
                        <a:pt x="174720" y="574856"/>
                        <a:pt x="171653" y="574184"/>
                        <a:pt x="171729" y="573499"/>
                      </a:cubicBezTo>
                      <a:cubicBezTo>
                        <a:pt x="171374" y="578088"/>
                        <a:pt x="168179" y="591564"/>
                        <a:pt x="177066" y="586708"/>
                      </a:cubicBezTo>
                      <a:cubicBezTo>
                        <a:pt x="178156" y="593250"/>
                        <a:pt x="174860" y="600196"/>
                        <a:pt x="182618" y="600475"/>
                      </a:cubicBezTo>
                      <a:cubicBezTo>
                        <a:pt x="182314" y="600589"/>
                        <a:pt x="180678" y="600374"/>
                        <a:pt x="180108" y="600475"/>
                      </a:cubicBezTo>
                      <a:cubicBezTo>
                        <a:pt x="180843" y="605267"/>
                        <a:pt x="186738" y="608943"/>
                        <a:pt x="185698" y="612201"/>
                      </a:cubicBezTo>
                      <a:cubicBezTo>
                        <a:pt x="185267" y="613469"/>
                        <a:pt x="175696" y="620517"/>
                        <a:pt x="174074" y="621277"/>
                      </a:cubicBezTo>
                      <a:cubicBezTo>
                        <a:pt x="169979" y="623204"/>
                        <a:pt x="165061" y="621188"/>
                        <a:pt x="160358" y="623927"/>
                      </a:cubicBezTo>
                      <a:cubicBezTo>
                        <a:pt x="151117" y="629302"/>
                        <a:pt x="154045" y="638289"/>
                        <a:pt x="148150" y="644247"/>
                      </a:cubicBezTo>
                      <a:cubicBezTo>
                        <a:pt x="142091" y="650357"/>
                        <a:pt x="129364" y="648354"/>
                        <a:pt x="122012" y="651967"/>
                      </a:cubicBezTo>
                      <a:cubicBezTo>
                        <a:pt x="114406" y="655694"/>
                        <a:pt x="118525" y="654819"/>
                        <a:pt x="115813" y="661183"/>
                      </a:cubicBezTo>
                      <a:cubicBezTo>
                        <a:pt x="114076" y="665328"/>
                        <a:pt x="117131" y="672313"/>
                        <a:pt x="111097" y="665594"/>
                      </a:cubicBezTo>
                      <a:cubicBezTo>
                        <a:pt x="111338" y="668219"/>
                        <a:pt x="111769" y="669676"/>
                        <a:pt x="112225" y="671742"/>
                      </a:cubicBezTo>
                      <a:cubicBezTo>
                        <a:pt x="114215" y="671983"/>
                        <a:pt x="113328" y="671819"/>
                        <a:pt x="115369" y="672427"/>
                      </a:cubicBezTo>
                      <a:cubicBezTo>
                        <a:pt x="110666" y="681960"/>
                        <a:pt x="99688" y="697412"/>
                        <a:pt x="89268" y="704803"/>
                      </a:cubicBezTo>
                      <a:cubicBezTo>
                        <a:pt x="83715" y="708771"/>
                        <a:pt x="75438" y="708935"/>
                        <a:pt x="70380" y="712967"/>
                      </a:cubicBezTo>
                      <a:cubicBezTo>
                        <a:pt x="67731" y="715084"/>
                        <a:pt x="66919" y="720091"/>
                        <a:pt x="65373" y="722981"/>
                      </a:cubicBezTo>
                      <a:cubicBezTo>
                        <a:pt x="61202" y="730739"/>
                        <a:pt x="49996" y="741565"/>
                        <a:pt x="41870" y="745596"/>
                      </a:cubicBezTo>
                      <a:cubicBezTo>
                        <a:pt x="36115" y="748474"/>
                        <a:pt x="30499" y="747142"/>
                        <a:pt x="26570" y="750679"/>
                      </a:cubicBezTo>
                      <a:cubicBezTo>
                        <a:pt x="25492" y="751668"/>
                        <a:pt x="25239" y="757271"/>
                        <a:pt x="23591" y="758856"/>
                      </a:cubicBezTo>
                      <a:cubicBezTo>
                        <a:pt x="21449" y="760909"/>
                        <a:pt x="19103" y="758691"/>
                        <a:pt x="15174" y="760643"/>
                      </a:cubicBezTo>
                      <a:cubicBezTo>
                        <a:pt x="9102" y="763634"/>
                        <a:pt x="4323" y="767019"/>
                        <a:pt x="0" y="772394"/>
                      </a:cubicBezTo>
                      <a:cubicBezTo>
                        <a:pt x="76" y="755876"/>
                        <a:pt x="9520" y="749526"/>
                        <a:pt x="18356" y="738928"/>
                      </a:cubicBezTo>
                      <a:cubicBezTo>
                        <a:pt x="23134" y="733224"/>
                        <a:pt x="26507" y="725985"/>
                        <a:pt x="32680" y="721574"/>
                      </a:cubicBezTo>
                      <a:cubicBezTo>
                        <a:pt x="34531" y="720243"/>
                        <a:pt x="39931" y="718405"/>
                        <a:pt x="40109" y="718227"/>
                      </a:cubicBezTo>
                      <a:cubicBezTo>
                        <a:pt x="46117" y="713005"/>
                        <a:pt x="48044" y="702546"/>
                        <a:pt x="58502" y="703307"/>
                      </a:cubicBezTo>
                      <a:cubicBezTo>
                        <a:pt x="58705" y="703548"/>
                        <a:pt x="59034" y="705259"/>
                        <a:pt x="59529" y="705830"/>
                      </a:cubicBezTo>
                      <a:cubicBezTo>
                        <a:pt x="67287" y="695574"/>
                        <a:pt x="78544" y="682898"/>
                        <a:pt x="86745" y="674582"/>
                      </a:cubicBezTo>
                      <a:cubicBezTo>
                        <a:pt x="91005" y="670272"/>
                        <a:pt x="96506" y="667116"/>
                        <a:pt x="100702" y="662020"/>
                      </a:cubicBezTo>
                      <a:cubicBezTo>
                        <a:pt x="105418" y="656366"/>
                        <a:pt x="114646" y="645908"/>
                        <a:pt x="116320" y="639227"/>
                      </a:cubicBezTo>
                      <a:cubicBezTo>
                        <a:pt x="114659" y="649584"/>
                        <a:pt x="119058" y="641636"/>
                        <a:pt x="120439" y="640051"/>
                      </a:cubicBezTo>
                      <a:cubicBezTo>
                        <a:pt x="120668" y="639772"/>
                        <a:pt x="118576" y="636198"/>
                        <a:pt x="119565" y="634904"/>
                      </a:cubicBezTo>
                      <a:cubicBezTo>
                        <a:pt x="120439" y="633865"/>
                        <a:pt x="122645" y="635107"/>
                        <a:pt x="123621" y="633586"/>
                      </a:cubicBezTo>
                      <a:cubicBezTo>
                        <a:pt x="125573" y="630455"/>
                        <a:pt x="131417" y="635817"/>
                        <a:pt x="129478" y="627970"/>
                      </a:cubicBezTo>
                      <a:cubicBezTo>
                        <a:pt x="133370" y="627032"/>
                        <a:pt x="133344" y="625372"/>
                        <a:pt x="135702" y="622976"/>
                      </a:cubicBezTo>
                      <a:cubicBezTo>
                        <a:pt x="133864" y="622684"/>
                        <a:pt x="133864" y="623356"/>
                        <a:pt x="132038" y="623369"/>
                      </a:cubicBezTo>
                      <a:cubicBezTo>
                        <a:pt x="132774" y="618019"/>
                        <a:pt x="137489" y="619059"/>
                        <a:pt x="141115" y="617297"/>
                      </a:cubicBezTo>
                      <a:cubicBezTo>
                        <a:pt x="140532" y="612999"/>
                        <a:pt x="139797" y="616333"/>
                        <a:pt x="142091" y="612683"/>
                      </a:cubicBezTo>
                      <a:cubicBezTo>
                        <a:pt x="141736" y="615307"/>
                        <a:pt x="143042" y="617690"/>
                        <a:pt x="143219" y="620086"/>
                      </a:cubicBezTo>
                      <a:cubicBezTo>
                        <a:pt x="146566" y="616638"/>
                        <a:pt x="149659" y="613215"/>
                        <a:pt x="153766" y="611161"/>
                      </a:cubicBezTo>
                      <a:cubicBezTo>
                        <a:pt x="152790" y="609894"/>
                        <a:pt x="152321" y="608550"/>
                        <a:pt x="151750" y="607599"/>
                      </a:cubicBezTo>
                      <a:cubicBezTo>
                        <a:pt x="158989" y="607942"/>
                        <a:pt x="158963" y="597281"/>
                        <a:pt x="157138" y="592311"/>
                      </a:cubicBezTo>
                      <a:cubicBezTo>
                        <a:pt x="156910" y="591741"/>
                        <a:pt x="151446" y="588039"/>
                        <a:pt x="149735" y="585681"/>
                      </a:cubicBezTo>
                      <a:cubicBezTo>
                        <a:pt x="151079" y="581663"/>
                        <a:pt x="151396" y="581524"/>
                        <a:pt x="150381" y="578228"/>
                      </a:cubicBezTo>
                      <a:cubicBezTo>
                        <a:pt x="152651" y="578595"/>
                        <a:pt x="150787" y="578633"/>
                        <a:pt x="151750" y="580091"/>
                      </a:cubicBezTo>
                      <a:cubicBezTo>
                        <a:pt x="152714" y="579939"/>
                        <a:pt x="153348" y="579077"/>
                        <a:pt x="154755" y="579559"/>
                      </a:cubicBezTo>
                      <a:cubicBezTo>
                        <a:pt x="153918" y="581777"/>
                        <a:pt x="153982" y="582069"/>
                        <a:pt x="153272" y="583121"/>
                      </a:cubicBezTo>
                      <a:cubicBezTo>
                        <a:pt x="154400" y="583780"/>
                        <a:pt x="155554" y="583273"/>
                        <a:pt x="156301" y="583653"/>
                      </a:cubicBezTo>
                      <a:cubicBezTo>
                        <a:pt x="156986" y="588293"/>
                        <a:pt x="163743" y="592755"/>
                        <a:pt x="167748" y="594466"/>
                      </a:cubicBezTo>
                      <a:cubicBezTo>
                        <a:pt x="166633" y="587494"/>
                        <a:pt x="158571" y="584274"/>
                        <a:pt x="159851" y="579571"/>
                      </a:cubicBezTo>
                      <a:cubicBezTo>
                        <a:pt x="156605" y="577277"/>
                        <a:pt x="156770" y="578595"/>
                        <a:pt x="157303" y="572878"/>
                      </a:cubicBezTo>
                      <a:cubicBezTo>
                        <a:pt x="158241" y="573842"/>
                        <a:pt x="158507" y="573842"/>
                        <a:pt x="159851" y="574526"/>
                      </a:cubicBezTo>
                      <a:cubicBezTo>
                        <a:pt x="158139" y="571433"/>
                        <a:pt x="158482" y="569557"/>
                        <a:pt x="157937" y="566933"/>
                      </a:cubicBezTo>
                      <a:cubicBezTo>
                        <a:pt x="164059" y="575490"/>
                        <a:pt x="166354" y="565589"/>
                        <a:pt x="161892" y="560696"/>
                      </a:cubicBezTo>
                      <a:cubicBezTo>
                        <a:pt x="164161" y="559264"/>
                        <a:pt x="168965" y="546321"/>
                        <a:pt x="170309" y="543063"/>
                      </a:cubicBezTo>
                      <a:cubicBezTo>
                        <a:pt x="170943" y="545028"/>
                        <a:pt x="171577" y="547196"/>
                        <a:pt x="171855" y="549287"/>
                      </a:cubicBezTo>
                      <a:lnTo>
                        <a:pt x="171855" y="549287"/>
                      </a:lnTo>
                      <a:close/>
                      <a:moveTo>
                        <a:pt x="535634" y="541326"/>
                      </a:moveTo>
                      <a:cubicBezTo>
                        <a:pt x="536534" y="542848"/>
                        <a:pt x="537421" y="544381"/>
                        <a:pt x="538347" y="545928"/>
                      </a:cubicBezTo>
                      <a:cubicBezTo>
                        <a:pt x="538549" y="544559"/>
                        <a:pt x="538955" y="542695"/>
                        <a:pt x="539056" y="541339"/>
                      </a:cubicBezTo>
                      <a:cubicBezTo>
                        <a:pt x="547043" y="545129"/>
                        <a:pt x="545433" y="554878"/>
                        <a:pt x="556753" y="550770"/>
                      </a:cubicBezTo>
                      <a:cubicBezTo>
                        <a:pt x="563028" y="548489"/>
                        <a:pt x="564118" y="541618"/>
                        <a:pt x="569645" y="542848"/>
                      </a:cubicBezTo>
                      <a:cubicBezTo>
                        <a:pt x="578594" y="544825"/>
                        <a:pt x="571699" y="553382"/>
                        <a:pt x="578531" y="557641"/>
                      </a:cubicBezTo>
                      <a:cubicBezTo>
                        <a:pt x="579444" y="557286"/>
                        <a:pt x="579013" y="556488"/>
                        <a:pt x="579849" y="556133"/>
                      </a:cubicBezTo>
                      <a:cubicBezTo>
                        <a:pt x="578417" y="564613"/>
                        <a:pt x="579406" y="574247"/>
                        <a:pt x="578721" y="583146"/>
                      </a:cubicBezTo>
                      <a:cubicBezTo>
                        <a:pt x="577618" y="597255"/>
                        <a:pt x="586910" y="592945"/>
                        <a:pt x="591132" y="604113"/>
                      </a:cubicBezTo>
                      <a:cubicBezTo>
                        <a:pt x="592387" y="607409"/>
                        <a:pt x="590295" y="612568"/>
                        <a:pt x="591385" y="616245"/>
                      </a:cubicBezTo>
                      <a:cubicBezTo>
                        <a:pt x="592640" y="620276"/>
                        <a:pt x="596975" y="618653"/>
                        <a:pt x="596836" y="622938"/>
                      </a:cubicBezTo>
                      <a:cubicBezTo>
                        <a:pt x="596418" y="634385"/>
                        <a:pt x="582841" y="624256"/>
                        <a:pt x="587950" y="635158"/>
                      </a:cubicBezTo>
                      <a:cubicBezTo>
                        <a:pt x="582702" y="633244"/>
                        <a:pt x="581066" y="620973"/>
                        <a:pt x="577897" y="620605"/>
                      </a:cubicBezTo>
                      <a:cubicBezTo>
                        <a:pt x="572827" y="619972"/>
                        <a:pt x="580002" y="643246"/>
                        <a:pt x="579152" y="647404"/>
                      </a:cubicBezTo>
                      <a:cubicBezTo>
                        <a:pt x="575616" y="644627"/>
                        <a:pt x="565310" y="640913"/>
                        <a:pt x="563117" y="638568"/>
                      </a:cubicBezTo>
                      <a:cubicBezTo>
                        <a:pt x="559263" y="634435"/>
                        <a:pt x="560302" y="627476"/>
                        <a:pt x="559858" y="621036"/>
                      </a:cubicBezTo>
                      <a:cubicBezTo>
                        <a:pt x="559034" y="609767"/>
                        <a:pt x="565449" y="592058"/>
                        <a:pt x="555460" y="580978"/>
                      </a:cubicBezTo>
                      <a:cubicBezTo>
                        <a:pt x="541871" y="565932"/>
                        <a:pt x="543430" y="592337"/>
                        <a:pt x="533352" y="579635"/>
                      </a:cubicBezTo>
                      <a:cubicBezTo>
                        <a:pt x="531514" y="577277"/>
                        <a:pt x="529955" y="548843"/>
                        <a:pt x="530246" y="546663"/>
                      </a:cubicBezTo>
                      <a:cubicBezTo>
                        <a:pt x="523984" y="542391"/>
                        <a:pt x="520739" y="527598"/>
                        <a:pt x="535634" y="541326"/>
                      </a:cubicBezTo>
                      <a:lnTo>
                        <a:pt x="535634" y="541326"/>
                      </a:lnTo>
                      <a:close/>
                      <a:moveTo>
                        <a:pt x="377177" y="517850"/>
                      </a:moveTo>
                      <a:cubicBezTo>
                        <a:pt x="385011" y="519966"/>
                        <a:pt x="401263" y="542315"/>
                        <a:pt x="403836" y="532250"/>
                      </a:cubicBezTo>
                      <a:cubicBezTo>
                        <a:pt x="405230" y="533087"/>
                        <a:pt x="405623" y="533746"/>
                        <a:pt x="407069" y="534177"/>
                      </a:cubicBezTo>
                      <a:cubicBezTo>
                        <a:pt x="407094" y="532491"/>
                        <a:pt x="408412" y="530982"/>
                        <a:pt x="408577" y="529030"/>
                      </a:cubicBezTo>
                      <a:cubicBezTo>
                        <a:pt x="416969" y="527167"/>
                        <a:pt x="418262" y="533594"/>
                        <a:pt x="424841" y="535711"/>
                      </a:cubicBezTo>
                      <a:cubicBezTo>
                        <a:pt x="411150" y="545028"/>
                        <a:pt x="436643" y="536725"/>
                        <a:pt x="441029" y="530057"/>
                      </a:cubicBezTo>
                      <a:cubicBezTo>
                        <a:pt x="439191" y="535014"/>
                        <a:pt x="441257" y="533847"/>
                        <a:pt x="437948" y="536700"/>
                      </a:cubicBezTo>
                      <a:cubicBezTo>
                        <a:pt x="444502" y="539374"/>
                        <a:pt x="438811" y="546803"/>
                        <a:pt x="437492" y="553597"/>
                      </a:cubicBezTo>
                      <a:cubicBezTo>
                        <a:pt x="437188" y="555258"/>
                        <a:pt x="439254" y="559403"/>
                        <a:pt x="439026" y="559961"/>
                      </a:cubicBezTo>
                      <a:cubicBezTo>
                        <a:pt x="437695" y="562915"/>
                        <a:pt x="434754" y="561697"/>
                        <a:pt x="434348" y="562217"/>
                      </a:cubicBezTo>
                      <a:cubicBezTo>
                        <a:pt x="432637" y="564436"/>
                        <a:pt x="428187" y="570064"/>
                        <a:pt x="425272" y="571928"/>
                      </a:cubicBezTo>
                      <a:cubicBezTo>
                        <a:pt x="426210" y="572321"/>
                        <a:pt x="424169" y="569646"/>
                        <a:pt x="424359" y="569849"/>
                      </a:cubicBezTo>
                      <a:cubicBezTo>
                        <a:pt x="421241" y="573715"/>
                        <a:pt x="418084" y="570723"/>
                        <a:pt x="414611" y="575109"/>
                      </a:cubicBezTo>
                      <a:cubicBezTo>
                        <a:pt x="410707" y="580129"/>
                        <a:pt x="415219" y="584553"/>
                        <a:pt x="409490" y="590030"/>
                      </a:cubicBezTo>
                      <a:cubicBezTo>
                        <a:pt x="410225" y="589294"/>
                        <a:pt x="398562" y="595531"/>
                        <a:pt x="399006" y="595316"/>
                      </a:cubicBezTo>
                      <a:cubicBezTo>
                        <a:pt x="393188" y="597876"/>
                        <a:pt x="383769" y="597648"/>
                        <a:pt x="376746" y="599943"/>
                      </a:cubicBezTo>
                      <a:cubicBezTo>
                        <a:pt x="369533" y="602300"/>
                        <a:pt x="366022" y="606027"/>
                        <a:pt x="360241" y="610426"/>
                      </a:cubicBezTo>
                      <a:cubicBezTo>
                        <a:pt x="349416" y="618666"/>
                        <a:pt x="352420" y="616955"/>
                        <a:pt x="353181" y="604924"/>
                      </a:cubicBezTo>
                      <a:cubicBezTo>
                        <a:pt x="353713" y="596203"/>
                        <a:pt x="350037" y="592185"/>
                        <a:pt x="352661" y="583615"/>
                      </a:cubicBezTo>
                      <a:cubicBezTo>
                        <a:pt x="356248" y="571788"/>
                        <a:pt x="357643" y="566578"/>
                        <a:pt x="358277" y="553889"/>
                      </a:cubicBezTo>
                      <a:cubicBezTo>
                        <a:pt x="358657" y="546346"/>
                        <a:pt x="365401" y="532922"/>
                        <a:pt x="362903" y="525658"/>
                      </a:cubicBezTo>
                      <a:cubicBezTo>
                        <a:pt x="360444" y="518407"/>
                        <a:pt x="351735" y="517773"/>
                        <a:pt x="344180" y="517279"/>
                      </a:cubicBezTo>
                      <a:cubicBezTo>
                        <a:pt x="346145" y="513286"/>
                        <a:pt x="347197" y="505363"/>
                        <a:pt x="352598" y="505173"/>
                      </a:cubicBezTo>
                      <a:cubicBezTo>
                        <a:pt x="355234" y="505072"/>
                        <a:pt x="358150" y="510218"/>
                        <a:pt x="360343" y="511321"/>
                      </a:cubicBezTo>
                      <a:cubicBezTo>
                        <a:pt x="365819" y="514059"/>
                        <a:pt x="372119" y="514249"/>
                        <a:pt x="377177" y="517850"/>
                      </a:cubicBezTo>
                      <a:lnTo>
                        <a:pt x="377177" y="517850"/>
                      </a:lnTo>
                      <a:close/>
                      <a:moveTo>
                        <a:pt x="570773" y="458143"/>
                      </a:moveTo>
                      <a:cubicBezTo>
                        <a:pt x="575058" y="456787"/>
                        <a:pt x="575590" y="460095"/>
                        <a:pt x="579076" y="459994"/>
                      </a:cubicBezTo>
                      <a:cubicBezTo>
                        <a:pt x="580407" y="459943"/>
                        <a:pt x="585465" y="457180"/>
                        <a:pt x="584489" y="457015"/>
                      </a:cubicBezTo>
                      <a:cubicBezTo>
                        <a:pt x="593134" y="458346"/>
                        <a:pt x="597039" y="463632"/>
                        <a:pt x="602629" y="470287"/>
                      </a:cubicBezTo>
                      <a:cubicBezTo>
                        <a:pt x="599536" y="473710"/>
                        <a:pt x="600182" y="474280"/>
                        <a:pt x="600056" y="477982"/>
                      </a:cubicBezTo>
                      <a:cubicBezTo>
                        <a:pt x="601095" y="477640"/>
                        <a:pt x="602072" y="476790"/>
                        <a:pt x="603136" y="476397"/>
                      </a:cubicBezTo>
                      <a:cubicBezTo>
                        <a:pt x="603136" y="476498"/>
                        <a:pt x="602997" y="478590"/>
                        <a:pt x="602629" y="478489"/>
                      </a:cubicBezTo>
                      <a:cubicBezTo>
                        <a:pt x="603441" y="478261"/>
                        <a:pt x="604683" y="477652"/>
                        <a:pt x="605659" y="477424"/>
                      </a:cubicBezTo>
                      <a:cubicBezTo>
                        <a:pt x="608346" y="479807"/>
                        <a:pt x="615204" y="480758"/>
                        <a:pt x="616510" y="487236"/>
                      </a:cubicBezTo>
                      <a:cubicBezTo>
                        <a:pt x="615078" y="487210"/>
                        <a:pt x="613835" y="487616"/>
                        <a:pt x="612200" y="487667"/>
                      </a:cubicBezTo>
                      <a:cubicBezTo>
                        <a:pt x="612238" y="487590"/>
                        <a:pt x="614368" y="488693"/>
                        <a:pt x="614266" y="489188"/>
                      </a:cubicBezTo>
                      <a:cubicBezTo>
                        <a:pt x="611363" y="490151"/>
                        <a:pt x="611896" y="489708"/>
                        <a:pt x="610603" y="492103"/>
                      </a:cubicBezTo>
                      <a:cubicBezTo>
                        <a:pt x="610945" y="492141"/>
                        <a:pt x="613607" y="492218"/>
                        <a:pt x="613784" y="492293"/>
                      </a:cubicBezTo>
                      <a:cubicBezTo>
                        <a:pt x="616928" y="497427"/>
                        <a:pt x="610349" y="500014"/>
                        <a:pt x="609627" y="506301"/>
                      </a:cubicBezTo>
                      <a:cubicBezTo>
                        <a:pt x="608891" y="512956"/>
                        <a:pt x="615686" y="515669"/>
                        <a:pt x="610070" y="518699"/>
                      </a:cubicBezTo>
                      <a:cubicBezTo>
                        <a:pt x="611946" y="519180"/>
                        <a:pt x="615242" y="534380"/>
                        <a:pt x="615293" y="540338"/>
                      </a:cubicBezTo>
                      <a:cubicBezTo>
                        <a:pt x="616054" y="540819"/>
                        <a:pt x="623710" y="545396"/>
                        <a:pt x="623913" y="547170"/>
                      </a:cubicBezTo>
                      <a:cubicBezTo>
                        <a:pt x="624522" y="552355"/>
                        <a:pt x="610704" y="560873"/>
                        <a:pt x="623406" y="559695"/>
                      </a:cubicBezTo>
                      <a:cubicBezTo>
                        <a:pt x="623076" y="558376"/>
                        <a:pt x="621986" y="558909"/>
                        <a:pt x="622278" y="557198"/>
                      </a:cubicBezTo>
                      <a:cubicBezTo>
                        <a:pt x="627932" y="558478"/>
                        <a:pt x="634599" y="568023"/>
                        <a:pt x="632989" y="572904"/>
                      </a:cubicBezTo>
                      <a:cubicBezTo>
                        <a:pt x="628895" y="567693"/>
                        <a:pt x="617410" y="557147"/>
                        <a:pt x="615813" y="567871"/>
                      </a:cubicBezTo>
                      <a:cubicBezTo>
                        <a:pt x="610983" y="565044"/>
                        <a:pt x="612973" y="565488"/>
                        <a:pt x="608156" y="567871"/>
                      </a:cubicBezTo>
                      <a:cubicBezTo>
                        <a:pt x="605253" y="564753"/>
                        <a:pt x="601552" y="565944"/>
                        <a:pt x="597178" y="564512"/>
                      </a:cubicBezTo>
                      <a:cubicBezTo>
                        <a:pt x="596228" y="564207"/>
                        <a:pt x="596228" y="568822"/>
                        <a:pt x="593984" y="567313"/>
                      </a:cubicBezTo>
                      <a:cubicBezTo>
                        <a:pt x="591030" y="565323"/>
                        <a:pt x="593642" y="559999"/>
                        <a:pt x="591487" y="557679"/>
                      </a:cubicBezTo>
                      <a:cubicBezTo>
                        <a:pt x="588064" y="553965"/>
                        <a:pt x="584451" y="555816"/>
                        <a:pt x="581561" y="553483"/>
                      </a:cubicBezTo>
                      <a:cubicBezTo>
                        <a:pt x="580762" y="552837"/>
                        <a:pt x="577872" y="554003"/>
                        <a:pt x="576858" y="553040"/>
                      </a:cubicBezTo>
                      <a:cubicBezTo>
                        <a:pt x="574728" y="551024"/>
                        <a:pt x="577973" y="546904"/>
                        <a:pt x="576833" y="544901"/>
                      </a:cubicBezTo>
                      <a:cubicBezTo>
                        <a:pt x="575387" y="542429"/>
                        <a:pt x="573625" y="539539"/>
                        <a:pt x="570253" y="537219"/>
                      </a:cubicBezTo>
                      <a:cubicBezTo>
                        <a:pt x="562850" y="543646"/>
                        <a:pt x="566425" y="533898"/>
                        <a:pt x="568694" y="532136"/>
                      </a:cubicBezTo>
                      <a:cubicBezTo>
                        <a:pt x="579748" y="533543"/>
                        <a:pt x="573410" y="521209"/>
                        <a:pt x="580889" y="521424"/>
                      </a:cubicBezTo>
                      <a:cubicBezTo>
                        <a:pt x="579824" y="515682"/>
                        <a:pt x="578088" y="519421"/>
                        <a:pt x="575045" y="517685"/>
                      </a:cubicBezTo>
                      <a:cubicBezTo>
                        <a:pt x="574754" y="517520"/>
                        <a:pt x="570583" y="518686"/>
                        <a:pt x="568821" y="517900"/>
                      </a:cubicBezTo>
                      <a:cubicBezTo>
                        <a:pt x="566045" y="516683"/>
                        <a:pt x="564904" y="512259"/>
                        <a:pt x="561595" y="510687"/>
                      </a:cubicBezTo>
                      <a:cubicBezTo>
                        <a:pt x="561544" y="510725"/>
                        <a:pt x="562039" y="509496"/>
                        <a:pt x="562609" y="510206"/>
                      </a:cubicBezTo>
                      <a:cubicBezTo>
                        <a:pt x="562039" y="511042"/>
                        <a:pt x="562229" y="508279"/>
                        <a:pt x="562609" y="507645"/>
                      </a:cubicBezTo>
                      <a:cubicBezTo>
                        <a:pt x="562965" y="507505"/>
                        <a:pt x="563890" y="508672"/>
                        <a:pt x="564080" y="508659"/>
                      </a:cubicBezTo>
                      <a:cubicBezTo>
                        <a:pt x="561126" y="507087"/>
                        <a:pt x="563281" y="506491"/>
                        <a:pt x="559123" y="507480"/>
                      </a:cubicBezTo>
                      <a:cubicBezTo>
                        <a:pt x="557957" y="499836"/>
                        <a:pt x="548298" y="498594"/>
                        <a:pt x="540210" y="493422"/>
                      </a:cubicBezTo>
                      <a:cubicBezTo>
                        <a:pt x="533758" y="489302"/>
                        <a:pt x="520650" y="465685"/>
                        <a:pt x="523147" y="459309"/>
                      </a:cubicBezTo>
                      <a:cubicBezTo>
                        <a:pt x="525163" y="454226"/>
                        <a:pt x="571762" y="470249"/>
                        <a:pt x="567642" y="456001"/>
                      </a:cubicBezTo>
                      <a:cubicBezTo>
                        <a:pt x="569138" y="456343"/>
                        <a:pt x="569759" y="457053"/>
                        <a:pt x="570773" y="458143"/>
                      </a:cubicBezTo>
                      <a:lnTo>
                        <a:pt x="570773" y="458143"/>
                      </a:lnTo>
                      <a:close/>
                      <a:moveTo>
                        <a:pt x="455176" y="459208"/>
                      </a:moveTo>
                      <a:cubicBezTo>
                        <a:pt x="454910" y="460311"/>
                        <a:pt x="453845" y="464621"/>
                        <a:pt x="453059" y="467410"/>
                      </a:cubicBezTo>
                      <a:cubicBezTo>
                        <a:pt x="458789" y="459360"/>
                        <a:pt x="469640" y="462162"/>
                        <a:pt x="473937" y="471821"/>
                      </a:cubicBezTo>
                      <a:cubicBezTo>
                        <a:pt x="472365" y="472911"/>
                        <a:pt x="473202" y="472138"/>
                        <a:pt x="472416" y="473900"/>
                      </a:cubicBezTo>
                      <a:cubicBezTo>
                        <a:pt x="480161" y="470832"/>
                        <a:pt x="482544" y="480568"/>
                        <a:pt x="487590" y="486120"/>
                      </a:cubicBezTo>
                      <a:cubicBezTo>
                        <a:pt x="487349" y="484256"/>
                        <a:pt x="487590" y="483369"/>
                        <a:pt x="487717" y="481658"/>
                      </a:cubicBezTo>
                      <a:cubicBezTo>
                        <a:pt x="496983" y="486779"/>
                        <a:pt x="499645" y="493333"/>
                        <a:pt x="506921" y="503474"/>
                      </a:cubicBezTo>
                      <a:cubicBezTo>
                        <a:pt x="505692" y="502067"/>
                        <a:pt x="504145" y="500825"/>
                        <a:pt x="502789" y="499456"/>
                      </a:cubicBezTo>
                      <a:cubicBezTo>
                        <a:pt x="504881" y="505984"/>
                        <a:pt x="506769" y="512703"/>
                        <a:pt x="507948" y="520385"/>
                      </a:cubicBezTo>
                      <a:cubicBezTo>
                        <a:pt x="504272" y="516480"/>
                        <a:pt x="498378" y="510281"/>
                        <a:pt x="492888" y="507620"/>
                      </a:cubicBezTo>
                      <a:cubicBezTo>
                        <a:pt x="489250" y="505832"/>
                        <a:pt x="479172" y="506643"/>
                        <a:pt x="484065" y="501522"/>
                      </a:cubicBezTo>
                      <a:cubicBezTo>
                        <a:pt x="483736" y="500825"/>
                        <a:pt x="483419" y="500166"/>
                        <a:pt x="483102" y="499456"/>
                      </a:cubicBezTo>
                      <a:cubicBezTo>
                        <a:pt x="480047" y="498949"/>
                        <a:pt x="478386" y="497111"/>
                        <a:pt x="478513" y="494791"/>
                      </a:cubicBezTo>
                      <a:cubicBezTo>
                        <a:pt x="472137" y="493574"/>
                        <a:pt x="470401" y="481861"/>
                        <a:pt x="461755" y="484396"/>
                      </a:cubicBezTo>
                      <a:cubicBezTo>
                        <a:pt x="455746" y="486183"/>
                        <a:pt x="446492" y="502194"/>
                        <a:pt x="440763" y="506225"/>
                      </a:cubicBezTo>
                      <a:cubicBezTo>
                        <a:pt x="440268" y="496046"/>
                        <a:pt x="448685" y="489429"/>
                        <a:pt x="450676" y="482520"/>
                      </a:cubicBezTo>
                      <a:cubicBezTo>
                        <a:pt x="448736" y="482862"/>
                        <a:pt x="447050" y="482533"/>
                        <a:pt x="445060" y="483065"/>
                      </a:cubicBezTo>
                      <a:cubicBezTo>
                        <a:pt x="446467" y="477082"/>
                        <a:pt x="448090" y="471922"/>
                        <a:pt x="447849" y="466230"/>
                      </a:cubicBezTo>
                      <a:cubicBezTo>
                        <a:pt x="447507" y="458587"/>
                        <a:pt x="445491" y="451665"/>
                        <a:pt x="455176" y="459208"/>
                      </a:cubicBezTo>
                      <a:lnTo>
                        <a:pt x="455176" y="459208"/>
                      </a:lnTo>
                      <a:close/>
                      <a:moveTo>
                        <a:pt x="279504" y="386039"/>
                      </a:moveTo>
                      <a:cubicBezTo>
                        <a:pt x="279137" y="386673"/>
                        <a:pt x="279656" y="387586"/>
                        <a:pt x="277895" y="387788"/>
                      </a:cubicBezTo>
                      <a:cubicBezTo>
                        <a:pt x="281583" y="393619"/>
                        <a:pt x="288391" y="393315"/>
                        <a:pt x="290077" y="397600"/>
                      </a:cubicBezTo>
                      <a:cubicBezTo>
                        <a:pt x="295971" y="385291"/>
                        <a:pt x="308141" y="406715"/>
                        <a:pt x="313871" y="411392"/>
                      </a:cubicBezTo>
                      <a:cubicBezTo>
                        <a:pt x="313490" y="411088"/>
                        <a:pt x="314542" y="414498"/>
                        <a:pt x="315024" y="414992"/>
                      </a:cubicBezTo>
                      <a:cubicBezTo>
                        <a:pt x="315556" y="415613"/>
                        <a:pt x="320652" y="413167"/>
                        <a:pt x="321299" y="415677"/>
                      </a:cubicBezTo>
                      <a:cubicBezTo>
                        <a:pt x="322237" y="419391"/>
                        <a:pt x="317813" y="422078"/>
                        <a:pt x="316685" y="426097"/>
                      </a:cubicBezTo>
                      <a:cubicBezTo>
                        <a:pt x="313871" y="436149"/>
                        <a:pt x="322491" y="446734"/>
                        <a:pt x="320424" y="454885"/>
                      </a:cubicBezTo>
                      <a:cubicBezTo>
                        <a:pt x="318079" y="464215"/>
                        <a:pt x="306949" y="462504"/>
                        <a:pt x="313871" y="473329"/>
                      </a:cubicBezTo>
                      <a:cubicBezTo>
                        <a:pt x="312666" y="473063"/>
                        <a:pt x="310549" y="472924"/>
                        <a:pt x="309485" y="472582"/>
                      </a:cubicBezTo>
                      <a:cubicBezTo>
                        <a:pt x="310068" y="474863"/>
                        <a:pt x="309345" y="476321"/>
                        <a:pt x="310321" y="478476"/>
                      </a:cubicBezTo>
                      <a:cubicBezTo>
                        <a:pt x="303083" y="471948"/>
                        <a:pt x="304021" y="482862"/>
                        <a:pt x="299191" y="484067"/>
                      </a:cubicBezTo>
                      <a:cubicBezTo>
                        <a:pt x="294488" y="485245"/>
                        <a:pt x="287377" y="480948"/>
                        <a:pt x="288505" y="475408"/>
                      </a:cubicBezTo>
                      <a:cubicBezTo>
                        <a:pt x="289557" y="475726"/>
                        <a:pt x="290064" y="476625"/>
                        <a:pt x="291598" y="476930"/>
                      </a:cubicBezTo>
                      <a:cubicBezTo>
                        <a:pt x="289075" y="475624"/>
                        <a:pt x="288112" y="476004"/>
                        <a:pt x="287516" y="475915"/>
                      </a:cubicBezTo>
                      <a:cubicBezTo>
                        <a:pt x="282509" y="471935"/>
                        <a:pt x="277413" y="466472"/>
                        <a:pt x="274954" y="460932"/>
                      </a:cubicBezTo>
                      <a:cubicBezTo>
                        <a:pt x="273496" y="457712"/>
                        <a:pt x="274548" y="453896"/>
                        <a:pt x="272317" y="449789"/>
                      </a:cubicBezTo>
                      <a:cubicBezTo>
                        <a:pt x="270631" y="446645"/>
                        <a:pt x="266993" y="446835"/>
                        <a:pt x="265953" y="444769"/>
                      </a:cubicBezTo>
                      <a:cubicBezTo>
                        <a:pt x="259678" y="432651"/>
                        <a:pt x="265611" y="410340"/>
                        <a:pt x="245177" y="408159"/>
                      </a:cubicBezTo>
                      <a:cubicBezTo>
                        <a:pt x="244948" y="407614"/>
                        <a:pt x="242045" y="397080"/>
                        <a:pt x="241259" y="396522"/>
                      </a:cubicBezTo>
                      <a:cubicBezTo>
                        <a:pt x="240727" y="396117"/>
                        <a:pt x="234376" y="394241"/>
                        <a:pt x="235771" y="395546"/>
                      </a:cubicBezTo>
                      <a:cubicBezTo>
                        <a:pt x="235251" y="395039"/>
                        <a:pt x="227911" y="397575"/>
                        <a:pt x="230003" y="390907"/>
                      </a:cubicBezTo>
                      <a:cubicBezTo>
                        <a:pt x="231131" y="387522"/>
                        <a:pt x="233222" y="387129"/>
                        <a:pt x="236088" y="386013"/>
                      </a:cubicBezTo>
                      <a:cubicBezTo>
                        <a:pt x="241196" y="384036"/>
                        <a:pt x="254633" y="388600"/>
                        <a:pt x="259805" y="388916"/>
                      </a:cubicBezTo>
                      <a:cubicBezTo>
                        <a:pt x="266397" y="389335"/>
                        <a:pt x="274535" y="387421"/>
                        <a:pt x="279504" y="386039"/>
                      </a:cubicBezTo>
                      <a:lnTo>
                        <a:pt x="279504" y="386039"/>
                      </a:lnTo>
                      <a:close/>
                      <a:moveTo>
                        <a:pt x="520283" y="345474"/>
                      </a:moveTo>
                      <a:cubicBezTo>
                        <a:pt x="522526" y="349809"/>
                        <a:pt x="524136" y="354069"/>
                        <a:pt x="525607" y="357593"/>
                      </a:cubicBezTo>
                      <a:cubicBezTo>
                        <a:pt x="528928" y="354614"/>
                        <a:pt x="534315" y="358201"/>
                        <a:pt x="531679" y="362156"/>
                      </a:cubicBezTo>
                      <a:cubicBezTo>
                        <a:pt x="533517" y="365325"/>
                        <a:pt x="532832" y="367126"/>
                        <a:pt x="531704" y="371816"/>
                      </a:cubicBezTo>
                      <a:cubicBezTo>
                        <a:pt x="531032" y="374630"/>
                        <a:pt x="531412" y="374161"/>
                        <a:pt x="530652" y="376037"/>
                      </a:cubicBezTo>
                      <a:cubicBezTo>
                        <a:pt x="529993" y="377672"/>
                        <a:pt x="527014" y="379472"/>
                        <a:pt x="527597" y="383732"/>
                      </a:cubicBezTo>
                      <a:cubicBezTo>
                        <a:pt x="521487" y="374630"/>
                        <a:pt x="520447" y="386685"/>
                        <a:pt x="516746" y="386343"/>
                      </a:cubicBezTo>
                      <a:cubicBezTo>
                        <a:pt x="512182" y="385912"/>
                        <a:pt x="505121" y="378446"/>
                        <a:pt x="505147" y="374909"/>
                      </a:cubicBezTo>
                      <a:cubicBezTo>
                        <a:pt x="505172" y="373844"/>
                        <a:pt x="510217" y="371651"/>
                        <a:pt x="510788" y="369699"/>
                      </a:cubicBezTo>
                      <a:cubicBezTo>
                        <a:pt x="512005" y="365681"/>
                        <a:pt x="511891" y="362816"/>
                        <a:pt x="512169" y="358810"/>
                      </a:cubicBezTo>
                      <a:cubicBezTo>
                        <a:pt x="512499" y="353625"/>
                        <a:pt x="511688" y="349683"/>
                        <a:pt x="512956" y="344713"/>
                      </a:cubicBezTo>
                      <a:cubicBezTo>
                        <a:pt x="514908" y="344016"/>
                        <a:pt x="517620" y="344080"/>
                        <a:pt x="520283" y="345474"/>
                      </a:cubicBezTo>
                      <a:lnTo>
                        <a:pt x="520283" y="345474"/>
                      </a:lnTo>
                      <a:close/>
                      <a:moveTo>
                        <a:pt x="274358" y="5794"/>
                      </a:moveTo>
                      <a:cubicBezTo>
                        <a:pt x="284879" y="1788"/>
                        <a:pt x="287833" y="-430"/>
                        <a:pt x="297886" y="4552"/>
                      </a:cubicBezTo>
                      <a:cubicBezTo>
                        <a:pt x="307152" y="9166"/>
                        <a:pt x="323632" y="16163"/>
                        <a:pt x="329095" y="25075"/>
                      </a:cubicBezTo>
                      <a:cubicBezTo>
                        <a:pt x="325825" y="16037"/>
                        <a:pt x="342228" y="28079"/>
                        <a:pt x="348034" y="27750"/>
                      </a:cubicBezTo>
                      <a:cubicBezTo>
                        <a:pt x="360482" y="27027"/>
                        <a:pt x="358783" y="18077"/>
                        <a:pt x="364919" y="13057"/>
                      </a:cubicBezTo>
                      <a:cubicBezTo>
                        <a:pt x="370129" y="8785"/>
                        <a:pt x="376683" y="11257"/>
                        <a:pt x="378432" y="20258"/>
                      </a:cubicBezTo>
                      <a:cubicBezTo>
                        <a:pt x="380498" y="30716"/>
                        <a:pt x="372766" y="31439"/>
                        <a:pt x="369533" y="38664"/>
                      </a:cubicBezTo>
                      <a:cubicBezTo>
                        <a:pt x="365122" y="48526"/>
                        <a:pt x="363638" y="68657"/>
                        <a:pt x="367011" y="79800"/>
                      </a:cubicBezTo>
                      <a:cubicBezTo>
                        <a:pt x="367923" y="82804"/>
                        <a:pt x="371422" y="95430"/>
                        <a:pt x="373577" y="97433"/>
                      </a:cubicBezTo>
                      <a:cubicBezTo>
                        <a:pt x="377038" y="100614"/>
                        <a:pt x="381170" y="96900"/>
                        <a:pt x="384758" y="101540"/>
                      </a:cubicBezTo>
                      <a:cubicBezTo>
                        <a:pt x="384631" y="100956"/>
                        <a:pt x="384504" y="100361"/>
                        <a:pt x="384415" y="99778"/>
                      </a:cubicBezTo>
                      <a:cubicBezTo>
                        <a:pt x="386419" y="101426"/>
                        <a:pt x="386545" y="102592"/>
                        <a:pt x="387788" y="104608"/>
                      </a:cubicBezTo>
                      <a:cubicBezTo>
                        <a:pt x="387331" y="104417"/>
                        <a:pt x="386254" y="102997"/>
                        <a:pt x="385620" y="103226"/>
                      </a:cubicBezTo>
                      <a:cubicBezTo>
                        <a:pt x="385595" y="110210"/>
                        <a:pt x="388941" y="112885"/>
                        <a:pt x="389917" y="115192"/>
                      </a:cubicBezTo>
                      <a:cubicBezTo>
                        <a:pt x="390386" y="116270"/>
                        <a:pt x="392960" y="114026"/>
                        <a:pt x="393555" y="119249"/>
                      </a:cubicBezTo>
                      <a:cubicBezTo>
                        <a:pt x="393682" y="120478"/>
                        <a:pt x="390183" y="125536"/>
                        <a:pt x="389714" y="126931"/>
                      </a:cubicBezTo>
                      <a:cubicBezTo>
                        <a:pt x="386520" y="136831"/>
                        <a:pt x="383427" y="146148"/>
                        <a:pt x="378115" y="155618"/>
                      </a:cubicBezTo>
                      <a:cubicBezTo>
                        <a:pt x="375009" y="161183"/>
                        <a:pt x="369596" y="164048"/>
                        <a:pt x="371092" y="170437"/>
                      </a:cubicBezTo>
                      <a:cubicBezTo>
                        <a:pt x="371993" y="169486"/>
                        <a:pt x="371042" y="169030"/>
                        <a:pt x="372145" y="168890"/>
                      </a:cubicBezTo>
                      <a:cubicBezTo>
                        <a:pt x="370725" y="171793"/>
                        <a:pt x="370332" y="175431"/>
                        <a:pt x="369571" y="178195"/>
                      </a:cubicBezTo>
                      <a:cubicBezTo>
                        <a:pt x="370433" y="177890"/>
                        <a:pt x="371333" y="176635"/>
                        <a:pt x="372145" y="176141"/>
                      </a:cubicBezTo>
                      <a:cubicBezTo>
                        <a:pt x="370776" y="183050"/>
                        <a:pt x="360495" y="193241"/>
                        <a:pt x="354829" y="197869"/>
                      </a:cubicBezTo>
                      <a:cubicBezTo>
                        <a:pt x="355272" y="195232"/>
                        <a:pt x="366136" y="181224"/>
                        <a:pt x="364526" y="180464"/>
                      </a:cubicBezTo>
                      <a:cubicBezTo>
                        <a:pt x="364932" y="180667"/>
                        <a:pt x="347349" y="190757"/>
                        <a:pt x="343952" y="192253"/>
                      </a:cubicBezTo>
                      <a:cubicBezTo>
                        <a:pt x="337563" y="195054"/>
                        <a:pt x="326065" y="199377"/>
                        <a:pt x="323048" y="206552"/>
                      </a:cubicBezTo>
                      <a:cubicBezTo>
                        <a:pt x="318738" y="216744"/>
                        <a:pt x="332708" y="217948"/>
                        <a:pt x="325026" y="224717"/>
                      </a:cubicBezTo>
                      <a:cubicBezTo>
                        <a:pt x="325140" y="224768"/>
                        <a:pt x="327549" y="225174"/>
                        <a:pt x="327574" y="225744"/>
                      </a:cubicBezTo>
                      <a:cubicBezTo>
                        <a:pt x="319892" y="230510"/>
                        <a:pt x="317965" y="238015"/>
                        <a:pt x="314010" y="245596"/>
                      </a:cubicBezTo>
                      <a:cubicBezTo>
                        <a:pt x="312083" y="249247"/>
                        <a:pt x="308306" y="245342"/>
                        <a:pt x="309079" y="252314"/>
                      </a:cubicBezTo>
                      <a:cubicBezTo>
                        <a:pt x="309611" y="256675"/>
                        <a:pt x="313427" y="257309"/>
                        <a:pt x="314809" y="260262"/>
                      </a:cubicBezTo>
                      <a:cubicBezTo>
                        <a:pt x="321337" y="274156"/>
                        <a:pt x="324722" y="286262"/>
                        <a:pt x="334749" y="296530"/>
                      </a:cubicBezTo>
                      <a:cubicBezTo>
                        <a:pt x="316203" y="294324"/>
                        <a:pt x="332987" y="322568"/>
                        <a:pt x="335243" y="328906"/>
                      </a:cubicBezTo>
                      <a:cubicBezTo>
                        <a:pt x="337665" y="335827"/>
                        <a:pt x="335522" y="335929"/>
                        <a:pt x="341239" y="342913"/>
                      </a:cubicBezTo>
                      <a:cubicBezTo>
                        <a:pt x="348820" y="352142"/>
                        <a:pt x="360748" y="355552"/>
                        <a:pt x="372145" y="357580"/>
                      </a:cubicBezTo>
                      <a:cubicBezTo>
                        <a:pt x="370699" y="355083"/>
                        <a:pt x="371561" y="354094"/>
                        <a:pt x="368557" y="351407"/>
                      </a:cubicBezTo>
                      <a:cubicBezTo>
                        <a:pt x="373184" y="353156"/>
                        <a:pt x="377291" y="353220"/>
                        <a:pt x="378191" y="349353"/>
                      </a:cubicBezTo>
                      <a:cubicBezTo>
                        <a:pt x="373590" y="346184"/>
                        <a:pt x="368925" y="343661"/>
                        <a:pt x="367049" y="337995"/>
                      </a:cubicBezTo>
                      <a:cubicBezTo>
                        <a:pt x="368088" y="338350"/>
                        <a:pt x="367721" y="339605"/>
                        <a:pt x="368557" y="339554"/>
                      </a:cubicBezTo>
                      <a:cubicBezTo>
                        <a:pt x="371232" y="337032"/>
                        <a:pt x="372411" y="335320"/>
                        <a:pt x="373602" y="331796"/>
                      </a:cubicBezTo>
                      <a:cubicBezTo>
                        <a:pt x="373869" y="335092"/>
                        <a:pt x="374477" y="339998"/>
                        <a:pt x="376683" y="340036"/>
                      </a:cubicBezTo>
                      <a:cubicBezTo>
                        <a:pt x="377291" y="341164"/>
                        <a:pt x="376657" y="342711"/>
                        <a:pt x="377165" y="343661"/>
                      </a:cubicBezTo>
                      <a:cubicBezTo>
                        <a:pt x="381475" y="340074"/>
                        <a:pt x="379484" y="337108"/>
                        <a:pt x="381259" y="335941"/>
                      </a:cubicBezTo>
                      <a:cubicBezTo>
                        <a:pt x="381259" y="335840"/>
                        <a:pt x="380917" y="333571"/>
                        <a:pt x="380727" y="333888"/>
                      </a:cubicBezTo>
                      <a:cubicBezTo>
                        <a:pt x="381475" y="332443"/>
                        <a:pt x="382742" y="331048"/>
                        <a:pt x="383718" y="327714"/>
                      </a:cubicBezTo>
                      <a:cubicBezTo>
                        <a:pt x="384910" y="326814"/>
                        <a:pt x="389575" y="324228"/>
                        <a:pt x="393365" y="326206"/>
                      </a:cubicBezTo>
                      <a:cubicBezTo>
                        <a:pt x="392972" y="325724"/>
                        <a:pt x="392604" y="325179"/>
                        <a:pt x="392338" y="324621"/>
                      </a:cubicBezTo>
                      <a:cubicBezTo>
                        <a:pt x="399703" y="325965"/>
                        <a:pt x="399957" y="329540"/>
                        <a:pt x="406054" y="328728"/>
                      </a:cubicBezTo>
                      <a:cubicBezTo>
                        <a:pt x="405104" y="326472"/>
                        <a:pt x="405471" y="326130"/>
                        <a:pt x="405269" y="324279"/>
                      </a:cubicBezTo>
                      <a:cubicBezTo>
                        <a:pt x="410440" y="326916"/>
                        <a:pt x="415422" y="328145"/>
                        <a:pt x="421862" y="333774"/>
                      </a:cubicBezTo>
                      <a:cubicBezTo>
                        <a:pt x="426666" y="337944"/>
                        <a:pt x="434678" y="346171"/>
                        <a:pt x="435058" y="351965"/>
                      </a:cubicBezTo>
                      <a:cubicBezTo>
                        <a:pt x="435654" y="360585"/>
                        <a:pt x="428086" y="368786"/>
                        <a:pt x="439926" y="370536"/>
                      </a:cubicBezTo>
                      <a:cubicBezTo>
                        <a:pt x="455822" y="372919"/>
                        <a:pt x="448318" y="358632"/>
                        <a:pt x="453743" y="351914"/>
                      </a:cubicBezTo>
                      <a:cubicBezTo>
                        <a:pt x="451740" y="356439"/>
                        <a:pt x="447912" y="356275"/>
                        <a:pt x="445237" y="351749"/>
                      </a:cubicBezTo>
                      <a:cubicBezTo>
                        <a:pt x="445668" y="352471"/>
                        <a:pt x="447354" y="346513"/>
                        <a:pt x="447595" y="345474"/>
                      </a:cubicBezTo>
                      <a:cubicBezTo>
                        <a:pt x="448685" y="345867"/>
                        <a:pt x="450701" y="346171"/>
                        <a:pt x="452159" y="346754"/>
                      </a:cubicBezTo>
                      <a:cubicBezTo>
                        <a:pt x="452260" y="346311"/>
                        <a:pt x="451499" y="345347"/>
                        <a:pt x="451157" y="345221"/>
                      </a:cubicBezTo>
                      <a:cubicBezTo>
                        <a:pt x="453667" y="343814"/>
                        <a:pt x="453566" y="346818"/>
                        <a:pt x="453477" y="343116"/>
                      </a:cubicBezTo>
                      <a:cubicBezTo>
                        <a:pt x="453743" y="345537"/>
                        <a:pt x="455087" y="347325"/>
                        <a:pt x="454986" y="349594"/>
                      </a:cubicBezTo>
                      <a:cubicBezTo>
                        <a:pt x="455924" y="348592"/>
                        <a:pt x="456799" y="348440"/>
                        <a:pt x="457800" y="347768"/>
                      </a:cubicBezTo>
                      <a:cubicBezTo>
                        <a:pt x="457800" y="347857"/>
                        <a:pt x="456481" y="349746"/>
                        <a:pt x="456722" y="349809"/>
                      </a:cubicBezTo>
                      <a:cubicBezTo>
                        <a:pt x="457559" y="351204"/>
                        <a:pt x="459321" y="353942"/>
                        <a:pt x="459803" y="357580"/>
                      </a:cubicBezTo>
                      <a:cubicBezTo>
                        <a:pt x="460411" y="356262"/>
                        <a:pt x="461311" y="355286"/>
                        <a:pt x="461818" y="353447"/>
                      </a:cubicBezTo>
                      <a:cubicBezTo>
                        <a:pt x="466128" y="356604"/>
                        <a:pt x="478298" y="362220"/>
                        <a:pt x="481556" y="355476"/>
                      </a:cubicBezTo>
                      <a:cubicBezTo>
                        <a:pt x="485764" y="363792"/>
                        <a:pt x="499721" y="363728"/>
                        <a:pt x="500317" y="371968"/>
                      </a:cubicBezTo>
                      <a:cubicBezTo>
                        <a:pt x="495069" y="366936"/>
                        <a:pt x="492698" y="373198"/>
                        <a:pt x="487209" y="373806"/>
                      </a:cubicBezTo>
                      <a:cubicBezTo>
                        <a:pt x="479844" y="374592"/>
                        <a:pt x="468879" y="365503"/>
                        <a:pt x="467928" y="378902"/>
                      </a:cubicBezTo>
                      <a:cubicBezTo>
                        <a:pt x="467561" y="384987"/>
                        <a:pt x="475002" y="384784"/>
                        <a:pt x="479210" y="390248"/>
                      </a:cubicBezTo>
                      <a:cubicBezTo>
                        <a:pt x="482912" y="395077"/>
                        <a:pt x="487438" y="401872"/>
                        <a:pt x="489669" y="407272"/>
                      </a:cubicBezTo>
                      <a:cubicBezTo>
                        <a:pt x="491317" y="407196"/>
                        <a:pt x="489529" y="405840"/>
                        <a:pt x="492153" y="408324"/>
                      </a:cubicBezTo>
                      <a:cubicBezTo>
                        <a:pt x="484636" y="406258"/>
                        <a:pt x="482367" y="416919"/>
                        <a:pt x="484015" y="419099"/>
                      </a:cubicBezTo>
                      <a:cubicBezTo>
                        <a:pt x="488959" y="425577"/>
                        <a:pt x="488350" y="415385"/>
                        <a:pt x="493269" y="414751"/>
                      </a:cubicBezTo>
                      <a:cubicBezTo>
                        <a:pt x="497579" y="414219"/>
                        <a:pt x="501128" y="420494"/>
                        <a:pt x="504817" y="421407"/>
                      </a:cubicBezTo>
                      <a:cubicBezTo>
                        <a:pt x="506249" y="421723"/>
                        <a:pt x="508696" y="423790"/>
                        <a:pt x="509558" y="424043"/>
                      </a:cubicBezTo>
                      <a:cubicBezTo>
                        <a:pt x="510306" y="424259"/>
                        <a:pt x="511041" y="418960"/>
                        <a:pt x="512182" y="419568"/>
                      </a:cubicBezTo>
                      <a:cubicBezTo>
                        <a:pt x="516099" y="421609"/>
                        <a:pt x="515453" y="420152"/>
                        <a:pt x="516264" y="424297"/>
                      </a:cubicBezTo>
                      <a:cubicBezTo>
                        <a:pt x="516011" y="422966"/>
                        <a:pt x="511789" y="429811"/>
                        <a:pt x="511624" y="431028"/>
                      </a:cubicBezTo>
                      <a:cubicBezTo>
                        <a:pt x="511117" y="434514"/>
                        <a:pt x="513526" y="438824"/>
                        <a:pt x="513133" y="442919"/>
                      </a:cubicBezTo>
                      <a:cubicBezTo>
                        <a:pt x="512829" y="446202"/>
                        <a:pt x="509710" y="459170"/>
                        <a:pt x="507771" y="459690"/>
                      </a:cubicBezTo>
                      <a:cubicBezTo>
                        <a:pt x="494435" y="463416"/>
                        <a:pt x="494384" y="441866"/>
                        <a:pt x="487577" y="438026"/>
                      </a:cubicBezTo>
                      <a:cubicBezTo>
                        <a:pt x="488693" y="437366"/>
                        <a:pt x="491646" y="435515"/>
                        <a:pt x="492698" y="434970"/>
                      </a:cubicBezTo>
                      <a:cubicBezTo>
                        <a:pt x="497921" y="438900"/>
                        <a:pt x="509520" y="432232"/>
                        <a:pt x="501483" y="428569"/>
                      </a:cubicBezTo>
                      <a:cubicBezTo>
                        <a:pt x="495259" y="425754"/>
                        <a:pt x="487970" y="434641"/>
                        <a:pt x="482544" y="436998"/>
                      </a:cubicBezTo>
                      <a:cubicBezTo>
                        <a:pt x="482443" y="434374"/>
                        <a:pt x="482050" y="435832"/>
                        <a:pt x="483077" y="433639"/>
                      </a:cubicBezTo>
                      <a:cubicBezTo>
                        <a:pt x="483153" y="433614"/>
                        <a:pt x="479680" y="433424"/>
                        <a:pt x="479908" y="433728"/>
                      </a:cubicBezTo>
                      <a:cubicBezTo>
                        <a:pt x="480313" y="433462"/>
                        <a:pt x="480465" y="435566"/>
                        <a:pt x="480491" y="435515"/>
                      </a:cubicBezTo>
                      <a:cubicBezTo>
                        <a:pt x="480554" y="432980"/>
                        <a:pt x="478754" y="434197"/>
                        <a:pt x="480884" y="430863"/>
                      </a:cubicBezTo>
                      <a:cubicBezTo>
                        <a:pt x="475991" y="435706"/>
                        <a:pt x="472302" y="431915"/>
                        <a:pt x="466445" y="428341"/>
                      </a:cubicBezTo>
                      <a:cubicBezTo>
                        <a:pt x="463010" y="426236"/>
                        <a:pt x="460741" y="424056"/>
                        <a:pt x="457344" y="422116"/>
                      </a:cubicBezTo>
                      <a:cubicBezTo>
                        <a:pt x="451893" y="418985"/>
                        <a:pt x="453883" y="427948"/>
                        <a:pt x="450638" y="419061"/>
                      </a:cubicBezTo>
                      <a:cubicBezTo>
                        <a:pt x="449180" y="415106"/>
                        <a:pt x="452425" y="412279"/>
                        <a:pt x="451195" y="408489"/>
                      </a:cubicBezTo>
                      <a:cubicBezTo>
                        <a:pt x="450486" y="406220"/>
                        <a:pt x="447418" y="405878"/>
                        <a:pt x="446606" y="403849"/>
                      </a:cubicBezTo>
                      <a:cubicBezTo>
                        <a:pt x="445415" y="400832"/>
                        <a:pt x="443957" y="395001"/>
                        <a:pt x="442106" y="392884"/>
                      </a:cubicBezTo>
                      <a:cubicBezTo>
                        <a:pt x="435540" y="385430"/>
                        <a:pt x="422699" y="384632"/>
                        <a:pt x="415194" y="376481"/>
                      </a:cubicBezTo>
                      <a:cubicBezTo>
                        <a:pt x="416373" y="375467"/>
                        <a:pt x="417577" y="374440"/>
                        <a:pt x="418769" y="373413"/>
                      </a:cubicBezTo>
                      <a:cubicBezTo>
                        <a:pt x="416538" y="370396"/>
                        <a:pt x="413559" y="367873"/>
                        <a:pt x="411074" y="367240"/>
                      </a:cubicBezTo>
                      <a:cubicBezTo>
                        <a:pt x="411125" y="365972"/>
                        <a:pt x="411873" y="366973"/>
                        <a:pt x="412012" y="366213"/>
                      </a:cubicBezTo>
                      <a:cubicBezTo>
                        <a:pt x="404166" y="361649"/>
                        <a:pt x="401047" y="360356"/>
                        <a:pt x="394671" y="353473"/>
                      </a:cubicBezTo>
                      <a:cubicBezTo>
                        <a:pt x="391134" y="355311"/>
                        <a:pt x="389651" y="355869"/>
                        <a:pt x="385747" y="353447"/>
                      </a:cubicBezTo>
                      <a:cubicBezTo>
                        <a:pt x="388333" y="359101"/>
                        <a:pt x="393264" y="363069"/>
                        <a:pt x="392871" y="370358"/>
                      </a:cubicBezTo>
                      <a:cubicBezTo>
                        <a:pt x="385709" y="374947"/>
                        <a:pt x="399678" y="382426"/>
                        <a:pt x="401731" y="386470"/>
                      </a:cubicBezTo>
                      <a:cubicBezTo>
                        <a:pt x="400299" y="385393"/>
                        <a:pt x="398512" y="384125"/>
                        <a:pt x="396927" y="383250"/>
                      </a:cubicBezTo>
                      <a:cubicBezTo>
                        <a:pt x="400071" y="389588"/>
                        <a:pt x="411429" y="403799"/>
                        <a:pt x="403646" y="409959"/>
                      </a:cubicBezTo>
                      <a:cubicBezTo>
                        <a:pt x="393530" y="418060"/>
                        <a:pt x="388535" y="389804"/>
                        <a:pt x="381221" y="383859"/>
                      </a:cubicBezTo>
                      <a:cubicBezTo>
                        <a:pt x="376924" y="380322"/>
                        <a:pt x="372703" y="380448"/>
                        <a:pt x="368760" y="376937"/>
                      </a:cubicBezTo>
                      <a:cubicBezTo>
                        <a:pt x="362460" y="371220"/>
                        <a:pt x="361446" y="368064"/>
                        <a:pt x="356109" y="365009"/>
                      </a:cubicBezTo>
                      <a:cubicBezTo>
                        <a:pt x="352420" y="362904"/>
                        <a:pt x="347920" y="360927"/>
                        <a:pt x="344028" y="358582"/>
                      </a:cubicBezTo>
                      <a:cubicBezTo>
                        <a:pt x="337398" y="354563"/>
                        <a:pt x="338729" y="354791"/>
                        <a:pt x="332606" y="355679"/>
                      </a:cubicBezTo>
                      <a:cubicBezTo>
                        <a:pt x="326877" y="356515"/>
                        <a:pt x="304122" y="366466"/>
                        <a:pt x="315379" y="373413"/>
                      </a:cubicBezTo>
                      <a:cubicBezTo>
                        <a:pt x="308699" y="377165"/>
                        <a:pt x="297214" y="382794"/>
                        <a:pt x="288632" y="378268"/>
                      </a:cubicBezTo>
                      <a:cubicBezTo>
                        <a:pt x="283244" y="375429"/>
                        <a:pt x="287909" y="375074"/>
                        <a:pt x="284981" y="372589"/>
                      </a:cubicBezTo>
                      <a:cubicBezTo>
                        <a:pt x="280392" y="368710"/>
                        <a:pt x="280747" y="361611"/>
                        <a:pt x="273331" y="373933"/>
                      </a:cubicBezTo>
                      <a:cubicBezTo>
                        <a:pt x="273914" y="370611"/>
                        <a:pt x="276576" y="366086"/>
                        <a:pt x="274801" y="361903"/>
                      </a:cubicBezTo>
                      <a:cubicBezTo>
                        <a:pt x="272254" y="355805"/>
                        <a:pt x="255191" y="351724"/>
                        <a:pt x="260566" y="361370"/>
                      </a:cubicBezTo>
                      <a:cubicBezTo>
                        <a:pt x="255647" y="360699"/>
                        <a:pt x="254811" y="363132"/>
                        <a:pt x="256192" y="367379"/>
                      </a:cubicBezTo>
                      <a:cubicBezTo>
                        <a:pt x="251794" y="363640"/>
                        <a:pt x="253264" y="357973"/>
                        <a:pt x="251629" y="352864"/>
                      </a:cubicBezTo>
                      <a:cubicBezTo>
                        <a:pt x="254735" y="350684"/>
                        <a:pt x="254418" y="342977"/>
                        <a:pt x="250044" y="340555"/>
                      </a:cubicBezTo>
                      <a:cubicBezTo>
                        <a:pt x="250602" y="337741"/>
                        <a:pt x="251946" y="340061"/>
                        <a:pt x="249537" y="337437"/>
                      </a:cubicBezTo>
                      <a:cubicBezTo>
                        <a:pt x="252212" y="333850"/>
                        <a:pt x="256053" y="330452"/>
                        <a:pt x="261326" y="326218"/>
                      </a:cubicBezTo>
                      <a:cubicBezTo>
                        <a:pt x="264863" y="323379"/>
                        <a:pt x="277261" y="316686"/>
                        <a:pt x="278896" y="312883"/>
                      </a:cubicBezTo>
                      <a:cubicBezTo>
                        <a:pt x="287846" y="292055"/>
                        <a:pt x="251756" y="297189"/>
                        <a:pt x="253087" y="285020"/>
                      </a:cubicBezTo>
                      <a:cubicBezTo>
                        <a:pt x="252795" y="286604"/>
                        <a:pt x="252377" y="287923"/>
                        <a:pt x="252060" y="289127"/>
                      </a:cubicBezTo>
                      <a:cubicBezTo>
                        <a:pt x="252035" y="288075"/>
                        <a:pt x="251261" y="288797"/>
                        <a:pt x="251058" y="289127"/>
                      </a:cubicBezTo>
                      <a:cubicBezTo>
                        <a:pt x="251211" y="286718"/>
                        <a:pt x="250488" y="283410"/>
                        <a:pt x="250437" y="282763"/>
                      </a:cubicBezTo>
                      <a:cubicBezTo>
                        <a:pt x="249550" y="284310"/>
                        <a:pt x="249930" y="285932"/>
                        <a:pt x="249550" y="287593"/>
                      </a:cubicBezTo>
                      <a:cubicBezTo>
                        <a:pt x="239878" y="289228"/>
                        <a:pt x="261960" y="319500"/>
                        <a:pt x="242958" y="318498"/>
                      </a:cubicBezTo>
                      <a:cubicBezTo>
                        <a:pt x="233273" y="317991"/>
                        <a:pt x="238458" y="311374"/>
                        <a:pt x="235086" y="305391"/>
                      </a:cubicBezTo>
                      <a:cubicBezTo>
                        <a:pt x="233121" y="301918"/>
                        <a:pt x="221015" y="300117"/>
                        <a:pt x="227315" y="294477"/>
                      </a:cubicBezTo>
                      <a:cubicBezTo>
                        <a:pt x="227024" y="291066"/>
                        <a:pt x="225857" y="292359"/>
                        <a:pt x="228760" y="288569"/>
                      </a:cubicBezTo>
                      <a:cubicBezTo>
                        <a:pt x="227315" y="287327"/>
                        <a:pt x="224704" y="285501"/>
                        <a:pt x="222625" y="284487"/>
                      </a:cubicBezTo>
                      <a:cubicBezTo>
                        <a:pt x="222726" y="291168"/>
                        <a:pt x="219050" y="296822"/>
                        <a:pt x="213054" y="290204"/>
                      </a:cubicBezTo>
                      <a:cubicBezTo>
                        <a:pt x="213663" y="289520"/>
                        <a:pt x="214284" y="289685"/>
                        <a:pt x="214588" y="288569"/>
                      </a:cubicBezTo>
                      <a:cubicBezTo>
                        <a:pt x="209606" y="285970"/>
                        <a:pt x="209860" y="264966"/>
                        <a:pt x="207324" y="258196"/>
                      </a:cubicBezTo>
                      <a:cubicBezTo>
                        <a:pt x="205068" y="252302"/>
                        <a:pt x="198236" y="244315"/>
                        <a:pt x="199896" y="239131"/>
                      </a:cubicBezTo>
                      <a:cubicBezTo>
                        <a:pt x="205144" y="239422"/>
                        <a:pt x="205093" y="236088"/>
                        <a:pt x="201899" y="232362"/>
                      </a:cubicBezTo>
                      <a:cubicBezTo>
                        <a:pt x="201797" y="232716"/>
                        <a:pt x="201645" y="233109"/>
                        <a:pt x="201430" y="233439"/>
                      </a:cubicBezTo>
                      <a:cubicBezTo>
                        <a:pt x="200365" y="228178"/>
                        <a:pt x="202634" y="223120"/>
                        <a:pt x="197348" y="219533"/>
                      </a:cubicBezTo>
                      <a:cubicBezTo>
                        <a:pt x="201316" y="214855"/>
                        <a:pt x="198463" y="197488"/>
                        <a:pt x="190224" y="206590"/>
                      </a:cubicBezTo>
                      <a:cubicBezTo>
                        <a:pt x="188234" y="201443"/>
                        <a:pt x="188031" y="183024"/>
                        <a:pt x="190819" y="177421"/>
                      </a:cubicBezTo>
                      <a:cubicBezTo>
                        <a:pt x="192353" y="174341"/>
                        <a:pt x="192430" y="172300"/>
                        <a:pt x="196220" y="171489"/>
                      </a:cubicBezTo>
                      <a:cubicBezTo>
                        <a:pt x="205017" y="169613"/>
                        <a:pt x="197994" y="175875"/>
                        <a:pt x="200390" y="179412"/>
                      </a:cubicBezTo>
                      <a:cubicBezTo>
                        <a:pt x="202229" y="182099"/>
                        <a:pt x="211609" y="189997"/>
                        <a:pt x="214423" y="192190"/>
                      </a:cubicBezTo>
                      <a:cubicBezTo>
                        <a:pt x="217719" y="194788"/>
                        <a:pt x="229039" y="198008"/>
                        <a:pt x="229242" y="198857"/>
                      </a:cubicBezTo>
                      <a:cubicBezTo>
                        <a:pt x="230954" y="197830"/>
                        <a:pt x="233299" y="196170"/>
                        <a:pt x="234287" y="195207"/>
                      </a:cubicBezTo>
                      <a:cubicBezTo>
                        <a:pt x="233590" y="195118"/>
                        <a:pt x="232272" y="195346"/>
                        <a:pt x="231308" y="195207"/>
                      </a:cubicBezTo>
                      <a:cubicBezTo>
                        <a:pt x="236316" y="190504"/>
                        <a:pt x="239447" y="183874"/>
                        <a:pt x="233299" y="178157"/>
                      </a:cubicBezTo>
                      <a:cubicBezTo>
                        <a:pt x="233299" y="178689"/>
                        <a:pt x="233299" y="179196"/>
                        <a:pt x="233299" y="179703"/>
                      </a:cubicBezTo>
                      <a:cubicBezTo>
                        <a:pt x="228989" y="172579"/>
                        <a:pt x="229927" y="160460"/>
                        <a:pt x="228253" y="153311"/>
                      </a:cubicBezTo>
                      <a:cubicBezTo>
                        <a:pt x="227620" y="153754"/>
                        <a:pt x="229914" y="153792"/>
                        <a:pt x="229838" y="153818"/>
                      </a:cubicBezTo>
                      <a:cubicBezTo>
                        <a:pt x="230180" y="150255"/>
                        <a:pt x="229242" y="144171"/>
                        <a:pt x="230256" y="141027"/>
                      </a:cubicBezTo>
                      <a:cubicBezTo>
                        <a:pt x="232120" y="135259"/>
                        <a:pt x="237913" y="131241"/>
                        <a:pt x="239295" y="125029"/>
                      </a:cubicBezTo>
                      <a:cubicBezTo>
                        <a:pt x="240803" y="118399"/>
                        <a:pt x="237634" y="106851"/>
                        <a:pt x="237558" y="99765"/>
                      </a:cubicBezTo>
                      <a:cubicBezTo>
                        <a:pt x="237532" y="97724"/>
                        <a:pt x="240131" y="96887"/>
                        <a:pt x="239650" y="93908"/>
                      </a:cubicBezTo>
                      <a:cubicBezTo>
                        <a:pt x="238724" y="88622"/>
                        <a:pt x="233615" y="86303"/>
                        <a:pt x="232969" y="84173"/>
                      </a:cubicBezTo>
                      <a:cubicBezTo>
                        <a:pt x="231156" y="78152"/>
                        <a:pt x="235340" y="70305"/>
                        <a:pt x="236506" y="66223"/>
                      </a:cubicBezTo>
                      <a:cubicBezTo>
                        <a:pt x="238065" y="60937"/>
                        <a:pt x="240905" y="54801"/>
                        <a:pt x="242235" y="48970"/>
                      </a:cubicBezTo>
                      <a:cubicBezTo>
                        <a:pt x="244822" y="37954"/>
                        <a:pt x="246774" y="27851"/>
                        <a:pt x="249943" y="16607"/>
                      </a:cubicBezTo>
                      <a:cubicBezTo>
                        <a:pt x="251071" y="12664"/>
                        <a:pt x="247420" y="12398"/>
                        <a:pt x="251553" y="8545"/>
                      </a:cubicBezTo>
                      <a:cubicBezTo>
                        <a:pt x="253530" y="6719"/>
                        <a:pt x="259856" y="8253"/>
                        <a:pt x="262911" y="6821"/>
                      </a:cubicBezTo>
                      <a:cubicBezTo>
                        <a:pt x="266727" y="5110"/>
                        <a:pt x="268641" y="-6984"/>
                        <a:pt x="274358" y="5794"/>
                      </a:cubicBezTo>
                      <a:lnTo>
                        <a:pt x="274358" y="5794"/>
                      </a:lnTo>
                      <a:close/>
                    </a:path>
                  </a:pathLst>
                </a:custGeom>
                <a:solidFill>
                  <a:srgbClr val="D6D6D2"/>
                </a:solidFill>
                <a:ln w="12413" cap="rnd">
                  <a:solidFill>
                    <a:srgbClr val="FFFFFF"/>
                  </a:solidFill>
                  <a:prstDash val="solid"/>
                  <a:round/>
                </a:ln>
              </p:spPr>
              <p:txBody>
                <a:bodyPr rtlCol="0" anchor="ctr"/>
                <a:lstStyle/>
                <a:p>
                  <a:endParaRPr lang="en-US"/>
                </a:p>
              </p:txBody>
            </p:sp>
            <p:sp>
              <p:nvSpPr>
                <p:cNvPr id="81" name="Freeform: Shape 80">
                  <a:extLst>
                    <a:ext uri="{FF2B5EF4-FFF2-40B4-BE49-F238E27FC236}">
                      <a16:creationId xmlns:a16="http://schemas.microsoft.com/office/drawing/2014/main" id="{3603373F-63AD-43BD-95C3-88FEA4970C0B}"/>
                    </a:ext>
                  </a:extLst>
                </p:cNvPr>
                <p:cNvSpPr/>
                <p:nvPr/>
              </p:nvSpPr>
              <p:spPr>
                <a:xfrm>
                  <a:off x="421177" y="2044818"/>
                  <a:ext cx="1197650" cy="1079551"/>
                </a:xfrm>
                <a:custGeom>
                  <a:avLst/>
                  <a:gdLst>
                    <a:gd name="connsiteX0" fmla="*/ 1031172 w 1197650"/>
                    <a:gd name="connsiteY0" fmla="*/ 2935 h 1079551"/>
                    <a:gd name="connsiteX1" fmla="*/ 1037079 w 1197650"/>
                    <a:gd name="connsiteY1" fmla="*/ 12087 h 1079551"/>
                    <a:gd name="connsiteX2" fmla="*/ 1075122 w 1197650"/>
                    <a:gd name="connsiteY2" fmla="*/ 14483 h 1079551"/>
                    <a:gd name="connsiteX3" fmla="*/ 1076909 w 1197650"/>
                    <a:gd name="connsiteY3" fmla="*/ 25524 h 1079551"/>
                    <a:gd name="connsiteX4" fmla="*/ 1085174 w 1197650"/>
                    <a:gd name="connsiteY4" fmla="*/ 25093 h 1079551"/>
                    <a:gd name="connsiteX5" fmla="*/ 1112923 w 1197650"/>
                    <a:gd name="connsiteY5" fmla="*/ 39342 h 1079551"/>
                    <a:gd name="connsiteX6" fmla="*/ 1119122 w 1197650"/>
                    <a:gd name="connsiteY6" fmla="*/ 64872 h 1079551"/>
                    <a:gd name="connsiteX7" fmla="*/ 1118146 w 1197650"/>
                    <a:gd name="connsiteY7" fmla="*/ 71984 h 1079551"/>
                    <a:gd name="connsiteX8" fmla="*/ 1115027 w 1197650"/>
                    <a:gd name="connsiteY8" fmla="*/ 77485 h 1079551"/>
                    <a:gd name="connsiteX9" fmla="*/ 1127019 w 1197650"/>
                    <a:gd name="connsiteY9" fmla="*/ 90263 h 1079551"/>
                    <a:gd name="connsiteX10" fmla="*/ 1137858 w 1197650"/>
                    <a:gd name="connsiteY10" fmla="*/ 103941 h 1079551"/>
                    <a:gd name="connsiteX11" fmla="*/ 1152372 w 1197650"/>
                    <a:gd name="connsiteY11" fmla="*/ 100202 h 1079551"/>
                    <a:gd name="connsiteX12" fmla="*/ 1158001 w 1197650"/>
                    <a:gd name="connsiteY12" fmla="*/ 98642 h 1079551"/>
                    <a:gd name="connsiteX13" fmla="*/ 1161195 w 1197650"/>
                    <a:gd name="connsiteY13" fmla="*/ 106641 h 1079551"/>
                    <a:gd name="connsiteX14" fmla="*/ 1178346 w 1197650"/>
                    <a:gd name="connsiteY14" fmla="*/ 119254 h 1079551"/>
                    <a:gd name="connsiteX15" fmla="*/ 1197501 w 1197650"/>
                    <a:gd name="connsiteY15" fmla="*/ 161924 h 1079551"/>
                    <a:gd name="connsiteX16" fmla="*/ 1190389 w 1197650"/>
                    <a:gd name="connsiteY16" fmla="*/ 176983 h 1079551"/>
                    <a:gd name="connsiteX17" fmla="*/ 1176255 w 1197650"/>
                    <a:gd name="connsiteY17" fmla="*/ 179557 h 1079551"/>
                    <a:gd name="connsiteX18" fmla="*/ 1173441 w 1197650"/>
                    <a:gd name="connsiteY18" fmla="*/ 188798 h 1079551"/>
                    <a:gd name="connsiteX19" fmla="*/ 1159420 w 1197650"/>
                    <a:gd name="connsiteY19" fmla="*/ 194731 h 1079551"/>
                    <a:gd name="connsiteX20" fmla="*/ 1149089 w 1197650"/>
                    <a:gd name="connsiteY20" fmla="*/ 193235 h 1079551"/>
                    <a:gd name="connsiteX21" fmla="*/ 1131266 w 1197650"/>
                    <a:gd name="connsiteY21" fmla="*/ 200181 h 1079551"/>
                    <a:gd name="connsiteX22" fmla="*/ 1120542 w 1197650"/>
                    <a:gd name="connsiteY22" fmla="*/ 200549 h 1079551"/>
                    <a:gd name="connsiteX23" fmla="*/ 1111250 w 1197650"/>
                    <a:gd name="connsiteY23" fmla="*/ 207572 h 1079551"/>
                    <a:gd name="connsiteX24" fmla="*/ 1090612 w 1197650"/>
                    <a:gd name="connsiteY24" fmla="*/ 213428 h 1079551"/>
                    <a:gd name="connsiteX25" fmla="*/ 1063966 w 1197650"/>
                    <a:gd name="connsiteY25" fmla="*/ 202666 h 1079551"/>
                    <a:gd name="connsiteX26" fmla="*/ 1032630 w 1197650"/>
                    <a:gd name="connsiteY26" fmla="*/ 199991 h 1079551"/>
                    <a:gd name="connsiteX27" fmla="*/ 995944 w 1197650"/>
                    <a:gd name="connsiteY27" fmla="*/ 191130 h 1079551"/>
                    <a:gd name="connsiteX28" fmla="*/ 967650 w 1197650"/>
                    <a:gd name="connsiteY28" fmla="*/ 200955 h 1079551"/>
                    <a:gd name="connsiteX29" fmla="*/ 967067 w 1197650"/>
                    <a:gd name="connsiteY29" fmla="*/ 208180 h 1079551"/>
                    <a:gd name="connsiteX30" fmla="*/ 961198 w 1197650"/>
                    <a:gd name="connsiteY30" fmla="*/ 214836 h 1079551"/>
                    <a:gd name="connsiteX31" fmla="*/ 957686 w 1197650"/>
                    <a:gd name="connsiteY31" fmla="*/ 227512 h 1079551"/>
                    <a:gd name="connsiteX32" fmla="*/ 970439 w 1197650"/>
                    <a:gd name="connsiteY32" fmla="*/ 234294 h 1079551"/>
                    <a:gd name="connsiteX33" fmla="*/ 964164 w 1197650"/>
                    <a:gd name="connsiteY33" fmla="*/ 247363 h 1079551"/>
                    <a:gd name="connsiteX34" fmla="*/ 989276 w 1197650"/>
                    <a:gd name="connsiteY34" fmla="*/ 264058 h 1079551"/>
                    <a:gd name="connsiteX35" fmla="*/ 970084 w 1197650"/>
                    <a:gd name="connsiteY35" fmla="*/ 276912 h 1079551"/>
                    <a:gd name="connsiteX36" fmla="*/ 984155 w 1197650"/>
                    <a:gd name="connsiteY36" fmla="*/ 296713 h 1079551"/>
                    <a:gd name="connsiteX37" fmla="*/ 972378 w 1197650"/>
                    <a:gd name="connsiteY37" fmla="*/ 315943 h 1079551"/>
                    <a:gd name="connsiteX38" fmla="*/ 983990 w 1197650"/>
                    <a:gd name="connsiteY38" fmla="*/ 334096 h 1079551"/>
                    <a:gd name="connsiteX39" fmla="*/ 997300 w 1197650"/>
                    <a:gd name="connsiteY39" fmla="*/ 349333 h 1079551"/>
                    <a:gd name="connsiteX40" fmla="*/ 1002992 w 1197650"/>
                    <a:gd name="connsiteY40" fmla="*/ 355355 h 1079551"/>
                    <a:gd name="connsiteX41" fmla="*/ 1011181 w 1197650"/>
                    <a:gd name="connsiteY41" fmla="*/ 358245 h 1079551"/>
                    <a:gd name="connsiteX42" fmla="*/ 1019091 w 1197650"/>
                    <a:gd name="connsiteY42" fmla="*/ 353111 h 1079551"/>
                    <a:gd name="connsiteX43" fmla="*/ 1020587 w 1197650"/>
                    <a:gd name="connsiteY43" fmla="*/ 360489 h 1079551"/>
                    <a:gd name="connsiteX44" fmla="*/ 1020942 w 1197650"/>
                    <a:gd name="connsiteY44" fmla="*/ 377019 h 1079551"/>
                    <a:gd name="connsiteX45" fmla="*/ 1042657 w 1197650"/>
                    <a:gd name="connsiteY45" fmla="*/ 382558 h 1079551"/>
                    <a:gd name="connsiteX46" fmla="*/ 1069328 w 1197650"/>
                    <a:gd name="connsiteY46" fmla="*/ 403361 h 1079551"/>
                    <a:gd name="connsiteX47" fmla="*/ 1059365 w 1197650"/>
                    <a:gd name="connsiteY47" fmla="*/ 412108 h 1079551"/>
                    <a:gd name="connsiteX48" fmla="*/ 1048159 w 1197650"/>
                    <a:gd name="connsiteY48" fmla="*/ 411474 h 1079551"/>
                    <a:gd name="connsiteX49" fmla="*/ 1048729 w 1197650"/>
                    <a:gd name="connsiteY49" fmla="*/ 413781 h 1079551"/>
                    <a:gd name="connsiteX50" fmla="*/ 1039779 w 1197650"/>
                    <a:gd name="connsiteY50" fmla="*/ 416595 h 1079551"/>
                    <a:gd name="connsiteX51" fmla="*/ 1033200 w 1197650"/>
                    <a:gd name="connsiteY51" fmla="*/ 418015 h 1079551"/>
                    <a:gd name="connsiteX52" fmla="*/ 1030132 w 1197650"/>
                    <a:gd name="connsiteY52" fmla="*/ 423935 h 1079551"/>
                    <a:gd name="connsiteX53" fmla="*/ 1025391 w 1197650"/>
                    <a:gd name="connsiteY53" fmla="*/ 423478 h 1079551"/>
                    <a:gd name="connsiteX54" fmla="*/ 1021627 w 1197650"/>
                    <a:gd name="connsiteY54" fmla="*/ 427357 h 1079551"/>
                    <a:gd name="connsiteX55" fmla="*/ 1013843 w 1197650"/>
                    <a:gd name="connsiteY55" fmla="*/ 432732 h 1079551"/>
                    <a:gd name="connsiteX56" fmla="*/ 1010535 w 1197650"/>
                    <a:gd name="connsiteY56" fmla="*/ 440756 h 1079551"/>
                    <a:gd name="connsiteX57" fmla="*/ 1016340 w 1197650"/>
                    <a:gd name="connsiteY57" fmla="*/ 459277 h 1079551"/>
                    <a:gd name="connsiteX58" fmla="*/ 1014819 w 1197650"/>
                    <a:gd name="connsiteY58" fmla="*/ 468873 h 1079551"/>
                    <a:gd name="connsiteX59" fmla="*/ 1010116 w 1197650"/>
                    <a:gd name="connsiteY59" fmla="*/ 487026 h 1079551"/>
                    <a:gd name="connsiteX60" fmla="*/ 1021272 w 1197650"/>
                    <a:gd name="connsiteY60" fmla="*/ 493681 h 1079551"/>
                    <a:gd name="connsiteX61" fmla="*/ 1003524 w 1197650"/>
                    <a:gd name="connsiteY61" fmla="*/ 506649 h 1079551"/>
                    <a:gd name="connsiteX62" fmla="*/ 991887 w 1197650"/>
                    <a:gd name="connsiteY62" fmla="*/ 516233 h 1079551"/>
                    <a:gd name="connsiteX63" fmla="*/ 980212 w 1197650"/>
                    <a:gd name="connsiteY63" fmla="*/ 529454 h 1079551"/>
                    <a:gd name="connsiteX64" fmla="*/ 965178 w 1197650"/>
                    <a:gd name="connsiteY64" fmla="*/ 547176 h 1079551"/>
                    <a:gd name="connsiteX65" fmla="*/ 965634 w 1197650"/>
                    <a:gd name="connsiteY65" fmla="*/ 549382 h 1079551"/>
                    <a:gd name="connsiteX66" fmla="*/ 960906 w 1197650"/>
                    <a:gd name="connsiteY66" fmla="*/ 552766 h 1079551"/>
                    <a:gd name="connsiteX67" fmla="*/ 953249 w 1197650"/>
                    <a:gd name="connsiteY67" fmla="*/ 577245 h 1079551"/>
                    <a:gd name="connsiteX68" fmla="*/ 922217 w 1197650"/>
                    <a:gd name="connsiteY68" fmla="*/ 598605 h 1079551"/>
                    <a:gd name="connsiteX69" fmla="*/ 902328 w 1197650"/>
                    <a:gd name="connsiteY69" fmla="*/ 643340 h 1079551"/>
                    <a:gd name="connsiteX70" fmla="*/ 873539 w 1197650"/>
                    <a:gd name="connsiteY70" fmla="*/ 668516 h 1079551"/>
                    <a:gd name="connsiteX71" fmla="*/ 841544 w 1197650"/>
                    <a:gd name="connsiteY71" fmla="*/ 697760 h 1079551"/>
                    <a:gd name="connsiteX72" fmla="*/ 834420 w 1197650"/>
                    <a:gd name="connsiteY72" fmla="*/ 714405 h 1079551"/>
                    <a:gd name="connsiteX73" fmla="*/ 818067 w 1197650"/>
                    <a:gd name="connsiteY73" fmla="*/ 730339 h 1079551"/>
                    <a:gd name="connsiteX74" fmla="*/ 814923 w 1197650"/>
                    <a:gd name="connsiteY74" fmla="*/ 744816 h 1079551"/>
                    <a:gd name="connsiteX75" fmla="*/ 789253 w 1197650"/>
                    <a:gd name="connsiteY75" fmla="*/ 751889 h 1079551"/>
                    <a:gd name="connsiteX76" fmla="*/ 748447 w 1197650"/>
                    <a:gd name="connsiteY76" fmla="*/ 761739 h 1079551"/>
                    <a:gd name="connsiteX77" fmla="*/ 706323 w 1197650"/>
                    <a:gd name="connsiteY77" fmla="*/ 739504 h 1079551"/>
                    <a:gd name="connsiteX78" fmla="*/ 681465 w 1197650"/>
                    <a:gd name="connsiteY78" fmla="*/ 763526 h 1079551"/>
                    <a:gd name="connsiteX79" fmla="*/ 652359 w 1197650"/>
                    <a:gd name="connsiteY79" fmla="*/ 799033 h 1079551"/>
                    <a:gd name="connsiteX80" fmla="*/ 637439 w 1197650"/>
                    <a:gd name="connsiteY80" fmla="*/ 836467 h 1079551"/>
                    <a:gd name="connsiteX81" fmla="*/ 672185 w 1197650"/>
                    <a:gd name="connsiteY81" fmla="*/ 853276 h 1079551"/>
                    <a:gd name="connsiteX82" fmla="*/ 681870 w 1197650"/>
                    <a:gd name="connsiteY82" fmla="*/ 897720 h 1079551"/>
                    <a:gd name="connsiteX83" fmla="*/ 701379 w 1197650"/>
                    <a:gd name="connsiteY83" fmla="*/ 924607 h 1079551"/>
                    <a:gd name="connsiteX84" fmla="*/ 725148 w 1197650"/>
                    <a:gd name="connsiteY84" fmla="*/ 934799 h 1079551"/>
                    <a:gd name="connsiteX85" fmla="*/ 739067 w 1197650"/>
                    <a:gd name="connsiteY85" fmla="*/ 964322 h 1079551"/>
                    <a:gd name="connsiteX86" fmla="*/ 755546 w 1197650"/>
                    <a:gd name="connsiteY86" fmla="*/ 1002681 h 1079551"/>
                    <a:gd name="connsiteX87" fmla="*/ 750818 w 1197650"/>
                    <a:gd name="connsiteY87" fmla="*/ 1020619 h 1079551"/>
                    <a:gd name="connsiteX88" fmla="*/ 750552 w 1197650"/>
                    <a:gd name="connsiteY88" fmla="*/ 1028123 h 1079551"/>
                    <a:gd name="connsiteX89" fmla="*/ 740271 w 1197650"/>
                    <a:gd name="connsiteY89" fmla="*/ 1034740 h 1079551"/>
                    <a:gd name="connsiteX90" fmla="*/ 720787 w 1197650"/>
                    <a:gd name="connsiteY90" fmla="*/ 1036135 h 1079551"/>
                    <a:gd name="connsiteX91" fmla="*/ 718505 w 1197650"/>
                    <a:gd name="connsiteY91" fmla="*/ 1022837 h 1079551"/>
                    <a:gd name="connsiteX92" fmla="*/ 696131 w 1197650"/>
                    <a:gd name="connsiteY92" fmla="*/ 1029175 h 1079551"/>
                    <a:gd name="connsiteX93" fmla="*/ 686244 w 1197650"/>
                    <a:gd name="connsiteY93" fmla="*/ 1032015 h 1079551"/>
                    <a:gd name="connsiteX94" fmla="*/ 680717 w 1197650"/>
                    <a:gd name="connsiteY94" fmla="*/ 1040166 h 1079551"/>
                    <a:gd name="connsiteX95" fmla="*/ 652511 w 1197650"/>
                    <a:gd name="connsiteY95" fmla="*/ 1041205 h 1079551"/>
                    <a:gd name="connsiteX96" fmla="*/ 640418 w 1197650"/>
                    <a:gd name="connsiteY96" fmla="*/ 1034233 h 1079551"/>
                    <a:gd name="connsiteX97" fmla="*/ 620934 w 1197650"/>
                    <a:gd name="connsiteY97" fmla="*/ 1034778 h 1079551"/>
                    <a:gd name="connsiteX98" fmla="*/ 601514 w 1197650"/>
                    <a:gd name="connsiteY98" fmla="*/ 1036008 h 1079551"/>
                    <a:gd name="connsiteX99" fmla="*/ 591018 w 1197650"/>
                    <a:gd name="connsiteY99" fmla="*/ 1037491 h 1079551"/>
                    <a:gd name="connsiteX100" fmla="*/ 582664 w 1197650"/>
                    <a:gd name="connsiteY100" fmla="*/ 1033371 h 1079551"/>
                    <a:gd name="connsiteX101" fmla="*/ 582550 w 1197650"/>
                    <a:gd name="connsiteY101" fmla="*/ 1058610 h 1079551"/>
                    <a:gd name="connsiteX102" fmla="*/ 555143 w 1197650"/>
                    <a:gd name="connsiteY102" fmla="*/ 1060626 h 1079551"/>
                    <a:gd name="connsiteX103" fmla="*/ 553432 w 1197650"/>
                    <a:gd name="connsiteY103" fmla="*/ 1058509 h 1079551"/>
                    <a:gd name="connsiteX104" fmla="*/ 548247 w 1197650"/>
                    <a:gd name="connsiteY104" fmla="*/ 1064049 h 1079551"/>
                    <a:gd name="connsiteX105" fmla="*/ 542530 w 1197650"/>
                    <a:gd name="connsiteY105" fmla="*/ 1068207 h 1079551"/>
                    <a:gd name="connsiteX106" fmla="*/ 540654 w 1197650"/>
                    <a:gd name="connsiteY106" fmla="*/ 1063313 h 1079551"/>
                    <a:gd name="connsiteX107" fmla="*/ 540654 w 1197650"/>
                    <a:gd name="connsiteY107" fmla="*/ 1079552 h 1079551"/>
                    <a:gd name="connsiteX108" fmla="*/ 536572 w 1197650"/>
                    <a:gd name="connsiteY108" fmla="*/ 1076624 h 1079551"/>
                    <a:gd name="connsiteX109" fmla="*/ 536572 w 1197650"/>
                    <a:gd name="connsiteY109" fmla="*/ 1070754 h 1079551"/>
                    <a:gd name="connsiteX110" fmla="*/ 533720 w 1197650"/>
                    <a:gd name="connsiteY110" fmla="*/ 1061906 h 1079551"/>
                    <a:gd name="connsiteX111" fmla="*/ 530006 w 1197650"/>
                    <a:gd name="connsiteY111" fmla="*/ 1060639 h 1079551"/>
                    <a:gd name="connsiteX112" fmla="*/ 530006 w 1197650"/>
                    <a:gd name="connsiteY112" fmla="*/ 1073924 h 1079551"/>
                    <a:gd name="connsiteX113" fmla="*/ 519319 w 1197650"/>
                    <a:gd name="connsiteY113" fmla="*/ 1067573 h 1079551"/>
                    <a:gd name="connsiteX114" fmla="*/ 518292 w 1197650"/>
                    <a:gd name="connsiteY114" fmla="*/ 1062768 h 1079551"/>
                    <a:gd name="connsiteX115" fmla="*/ 508202 w 1197650"/>
                    <a:gd name="connsiteY115" fmla="*/ 1068092 h 1079551"/>
                    <a:gd name="connsiteX116" fmla="*/ 503626 w 1197650"/>
                    <a:gd name="connsiteY116" fmla="*/ 1061716 h 1079551"/>
                    <a:gd name="connsiteX117" fmla="*/ 503157 w 1197650"/>
                    <a:gd name="connsiteY117" fmla="*/ 1061133 h 1079551"/>
                    <a:gd name="connsiteX118" fmla="*/ 498606 w 1197650"/>
                    <a:gd name="connsiteY118" fmla="*/ 1064898 h 1079551"/>
                    <a:gd name="connsiteX119" fmla="*/ 494448 w 1197650"/>
                    <a:gd name="connsiteY119" fmla="*/ 1063770 h 1079551"/>
                    <a:gd name="connsiteX120" fmla="*/ 495487 w 1197650"/>
                    <a:gd name="connsiteY120" fmla="*/ 1065950 h 1079551"/>
                    <a:gd name="connsiteX121" fmla="*/ 490467 w 1197650"/>
                    <a:gd name="connsiteY121" fmla="*/ 1064365 h 1079551"/>
                    <a:gd name="connsiteX122" fmla="*/ 495031 w 1197650"/>
                    <a:gd name="connsiteY122" fmla="*/ 1060639 h 1079551"/>
                    <a:gd name="connsiteX123" fmla="*/ 491963 w 1197650"/>
                    <a:gd name="connsiteY123" fmla="*/ 1061716 h 1079551"/>
                    <a:gd name="connsiteX124" fmla="*/ 492534 w 1197650"/>
                    <a:gd name="connsiteY124" fmla="*/ 1057939 h 1079551"/>
                    <a:gd name="connsiteX125" fmla="*/ 488465 w 1197650"/>
                    <a:gd name="connsiteY125" fmla="*/ 1056874 h 1079551"/>
                    <a:gd name="connsiteX126" fmla="*/ 494511 w 1197650"/>
                    <a:gd name="connsiteY126" fmla="*/ 1050434 h 1079551"/>
                    <a:gd name="connsiteX127" fmla="*/ 477804 w 1197650"/>
                    <a:gd name="connsiteY127" fmla="*/ 1042220 h 1079551"/>
                    <a:gd name="connsiteX128" fmla="*/ 481911 w 1197650"/>
                    <a:gd name="connsiteY128" fmla="*/ 1029112 h 1079551"/>
                    <a:gd name="connsiteX129" fmla="*/ 476295 w 1197650"/>
                    <a:gd name="connsiteY129" fmla="*/ 1021671 h 1079551"/>
                    <a:gd name="connsiteX130" fmla="*/ 474242 w 1197650"/>
                    <a:gd name="connsiteY130" fmla="*/ 1023255 h 1079551"/>
                    <a:gd name="connsiteX131" fmla="*/ 472175 w 1197650"/>
                    <a:gd name="connsiteY131" fmla="*/ 1014965 h 1079551"/>
                    <a:gd name="connsiteX132" fmla="*/ 468702 w 1197650"/>
                    <a:gd name="connsiteY132" fmla="*/ 1009869 h 1079551"/>
                    <a:gd name="connsiteX133" fmla="*/ 473785 w 1197650"/>
                    <a:gd name="connsiteY133" fmla="*/ 1009869 h 1079551"/>
                    <a:gd name="connsiteX134" fmla="*/ 474013 w 1197650"/>
                    <a:gd name="connsiteY134" fmla="*/ 997547 h 1079551"/>
                    <a:gd name="connsiteX135" fmla="*/ 461197 w 1197650"/>
                    <a:gd name="connsiteY135" fmla="*/ 995519 h 1079551"/>
                    <a:gd name="connsiteX136" fmla="*/ 451994 w 1197650"/>
                    <a:gd name="connsiteY136" fmla="*/ 990106 h 1079551"/>
                    <a:gd name="connsiteX137" fmla="*/ 452527 w 1197650"/>
                    <a:gd name="connsiteY137" fmla="*/ 992718 h 1079551"/>
                    <a:gd name="connsiteX138" fmla="*/ 429531 w 1197650"/>
                    <a:gd name="connsiteY138" fmla="*/ 990423 h 1079551"/>
                    <a:gd name="connsiteX139" fmla="*/ 433246 w 1197650"/>
                    <a:gd name="connsiteY139" fmla="*/ 986291 h 1079551"/>
                    <a:gd name="connsiteX140" fmla="*/ 435654 w 1197650"/>
                    <a:gd name="connsiteY140" fmla="*/ 963663 h 1079551"/>
                    <a:gd name="connsiteX141" fmla="*/ 422116 w 1197650"/>
                    <a:gd name="connsiteY141" fmla="*/ 947653 h 1079551"/>
                    <a:gd name="connsiteX142" fmla="*/ 408932 w 1197650"/>
                    <a:gd name="connsiteY142" fmla="*/ 928790 h 1079551"/>
                    <a:gd name="connsiteX143" fmla="*/ 388155 w 1197650"/>
                    <a:gd name="connsiteY143" fmla="*/ 940655 h 1079551"/>
                    <a:gd name="connsiteX144" fmla="*/ 401428 w 1197650"/>
                    <a:gd name="connsiteY144" fmla="*/ 934888 h 1079551"/>
                    <a:gd name="connsiteX145" fmla="*/ 417552 w 1197650"/>
                    <a:gd name="connsiteY145" fmla="*/ 940161 h 1079551"/>
                    <a:gd name="connsiteX146" fmla="*/ 414979 w 1197650"/>
                    <a:gd name="connsiteY146" fmla="*/ 942303 h 1079551"/>
                    <a:gd name="connsiteX147" fmla="*/ 418959 w 1197650"/>
                    <a:gd name="connsiteY147" fmla="*/ 945396 h 1079551"/>
                    <a:gd name="connsiteX148" fmla="*/ 400768 w 1197650"/>
                    <a:gd name="connsiteY148" fmla="*/ 941010 h 1079551"/>
                    <a:gd name="connsiteX149" fmla="*/ 375567 w 1197650"/>
                    <a:gd name="connsiteY149" fmla="*/ 945054 h 1079551"/>
                    <a:gd name="connsiteX150" fmla="*/ 356882 w 1197650"/>
                    <a:gd name="connsiteY150" fmla="*/ 950644 h 1079551"/>
                    <a:gd name="connsiteX151" fmla="*/ 335497 w 1197650"/>
                    <a:gd name="connsiteY151" fmla="*/ 948781 h 1079551"/>
                    <a:gd name="connsiteX152" fmla="*/ 336473 w 1197650"/>
                    <a:gd name="connsiteY152" fmla="*/ 947133 h 1079551"/>
                    <a:gd name="connsiteX153" fmla="*/ 306937 w 1197650"/>
                    <a:gd name="connsiteY153" fmla="*/ 953053 h 1079551"/>
                    <a:gd name="connsiteX154" fmla="*/ 285805 w 1197650"/>
                    <a:gd name="connsiteY154" fmla="*/ 963815 h 1079551"/>
                    <a:gd name="connsiteX155" fmla="*/ 277679 w 1197650"/>
                    <a:gd name="connsiteY155" fmla="*/ 964310 h 1079551"/>
                    <a:gd name="connsiteX156" fmla="*/ 270226 w 1197650"/>
                    <a:gd name="connsiteY156" fmla="*/ 957794 h 1079551"/>
                    <a:gd name="connsiteX157" fmla="*/ 256814 w 1197650"/>
                    <a:gd name="connsiteY157" fmla="*/ 954967 h 1079551"/>
                    <a:gd name="connsiteX158" fmla="*/ 240968 w 1197650"/>
                    <a:gd name="connsiteY158" fmla="*/ 949034 h 1079551"/>
                    <a:gd name="connsiteX159" fmla="*/ 244758 w 1197650"/>
                    <a:gd name="connsiteY159" fmla="*/ 942836 h 1079551"/>
                    <a:gd name="connsiteX160" fmla="*/ 231549 w 1197650"/>
                    <a:gd name="connsiteY160" fmla="*/ 945523 h 1079551"/>
                    <a:gd name="connsiteX161" fmla="*/ 229154 w 1197650"/>
                    <a:gd name="connsiteY161" fmla="*/ 951608 h 1079551"/>
                    <a:gd name="connsiteX162" fmla="*/ 194052 w 1197650"/>
                    <a:gd name="connsiteY162" fmla="*/ 955183 h 1079551"/>
                    <a:gd name="connsiteX163" fmla="*/ 169434 w 1197650"/>
                    <a:gd name="connsiteY163" fmla="*/ 957528 h 1079551"/>
                    <a:gd name="connsiteX164" fmla="*/ 159788 w 1197650"/>
                    <a:gd name="connsiteY164" fmla="*/ 960443 h 1079551"/>
                    <a:gd name="connsiteX165" fmla="*/ 143067 w 1197650"/>
                    <a:gd name="connsiteY165" fmla="*/ 957490 h 1079551"/>
                    <a:gd name="connsiteX166" fmla="*/ 121631 w 1197650"/>
                    <a:gd name="connsiteY166" fmla="*/ 961090 h 1079551"/>
                    <a:gd name="connsiteX167" fmla="*/ 114063 w 1197650"/>
                    <a:gd name="connsiteY167" fmla="*/ 969900 h 1079551"/>
                    <a:gd name="connsiteX168" fmla="*/ 104391 w 1197650"/>
                    <a:gd name="connsiteY168" fmla="*/ 970154 h 1079551"/>
                    <a:gd name="connsiteX169" fmla="*/ 92627 w 1197650"/>
                    <a:gd name="connsiteY169" fmla="*/ 969482 h 1079551"/>
                    <a:gd name="connsiteX170" fmla="*/ 76439 w 1197650"/>
                    <a:gd name="connsiteY170" fmla="*/ 970179 h 1079551"/>
                    <a:gd name="connsiteX171" fmla="*/ 69949 w 1197650"/>
                    <a:gd name="connsiteY171" fmla="*/ 976479 h 1079551"/>
                    <a:gd name="connsiteX172" fmla="*/ 69150 w 1197650"/>
                    <a:gd name="connsiteY172" fmla="*/ 962903 h 1079551"/>
                    <a:gd name="connsiteX173" fmla="*/ 54991 w 1197650"/>
                    <a:gd name="connsiteY173" fmla="*/ 962041 h 1079551"/>
                    <a:gd name="connsiteX174" fmla="*/ 60835 w 1197650"/>
                    <a:gd name="connsiteY174" fmla="*/ 926888 h 1079551"/>
                    <a:gd name="connsiteX175" fmla="*/ 61126 w 1197650"/>
                    <a:gd name="connsiteY175" fmla="*/ 916532 h 1079551"/>
                    <a:gd name="connsiteX176" fmla="*/ 68111 w 1197650"/>
                    <a:gd name="connsiteY176" fmla="*/ 909433 h 1079551"/>
                    <a:gd name="connsiteX177" fmla="*/ 76008 w 1197650"/>
                    <a:gd name="connsiteY177" fmla="*/ 880011 h 1079551"/>
                    <a:gd name="connsiteX178" fmla="*/ 98218 w 1197650"/>
                    <a:gd name="connsiteY178" fmla="*/ 870592 h 1079551"/>
                    <a:gd name="connsiteX179" fmla="*/ 104429 w 1197650"/>
                    <a:gd name="connsiteY179" fmla="*/ 868779 h 1079551"/>
                    <a:gd name="connsiteX180" fmla="*/ 107383 w 1197650"/>
                    <a:gd name="connsiteY180" fmla="*/ 861579 h 1079551"/>
                    <a:gd name="connsiteX181" fmla="*/ 117055 w 1197650"/>
                    <a:gd name="connsiteY181" fmla="*/ 854911 h 1079551"/>
                    <a:gd name="connsiteX182" fmla="*/ 138516 w 1197650"/>
                    <a:gd name="connsiteY182" fmla="*/ 851298 h 1079551"/>
                    <a:gd name="connsiteX183" fmla="*/ 165543 w 1197650"/>
                    <a:gd name="connsiteY183" fmla="*/ 849372 h 1079551"/>
                    <a:gd name="connsiteX184" fmla="*/ 171856 w 1197650"/>
                    <a:gd name="connsiteY184" fmla="*/ 847027 h 1079551"/>
                    <a:gd name="connsiteX185" fmla="*/ 172832 w 1197650"/>
                    <a:gd name="connsiteY185" fmla="*/ 833919 h 1079551"/>
                    <a:gd name="connsiteX186" fmla="*/ 178156 w 1197650"/>
                    <a:gd name="connsiteY186" fmla="*/ 831181 h 1079551"/>
                    <a:gd name="connsiteX187" fmla="*/ 182998 w 1197650"/>
                    <a:gd name="connsiteY187" fmla="*/ 811241 h 1079551"/>
                    <a:gd name="connsiteX188" fmla="*/ 140304 w 1197650"/>
                    <a:gd name="connsiteY188" fmla="*/ 799413 h 1079551"/>
                    <a:gd name="connsiteX189" fmla="*/ 145096 w 1197650"/>
                    <a:gd name="connsiteY189" fmla="*/ 775303 h 1079551"/>
                    <a:gd name="connsiteX190" fmla="*/ 140684 w 1197650"/>
                    <a:gd name="connsiteY190" fmla="*/ 734915 h 1079551"/>
                    <a:gd name="connsiteX191" fmla="*/ 140469 w 1197650"/>
                    <a:gd name="connsiteY191" fmla="*/ 720882 h 1079551"/>
                    <a:gd name="connsiteX192" fmla="*/ 129833 w 1197650"/>
                    <a:gd name="connsiteY192" fmla="*/ 722619 h 1079551"/>
                    <a:gd name="connsiteX193" fmla="*/ 123038 w 1197650"/>
                    <a:gd name="connsiteY193" fmla="*/ 718524 h 1079551"/>
                    <a:gd name="connsiteX194" fmla="*/ 105672 w 1197650"/>
                    <a:gd name="connsiteY194" fmla="*/ 706596 h 1079551"/>
                    <a:gd name="connsiteX195" fmla="*/ 54420 w 1197650"/>
                    <a:gd name="connsiteY195" fmla="*/ 672889 h 1079551"/>
                    <a:gd name="connsiteX196" fmla="*/ 39627 w 1197650"/>
                    <a:gd name="connsiteY196" fmla="*/ 644215 h 1079551"/>
                    <a:gd name="connsiteX197" fmla="*/ 32870 w 1197650"/>
                    <a:gd name="connsiteY197" fmla="*/ 629434 h 1079551"/>
                    <a:gd name="connsiteX198" fmla="*/ 0 w 1197650"/>
                    <a:gd name="connsiteY198" fmla="*/ 592596 h 1079551"/>
                    <a:gd name="connsiteX199" fmla="*/ 76921 w 1197650"/>
                    <a:gd name="connsiteY199" fmla="*/ 616377 h 1079551"/>
                    <a:gd name="connsiteX200" fmla="*/ 118728 w 1197650"/>
                    <a:gd name="connsiteY200" fmla="*/ 628407 h 1079551"/>
                    <a:gd name="connsiteX201" fmla="*/ 155680 w 1197650"/>
                    <a:gd name="connsiteY201" fmla="*/ 625669 h 1079551"/>
                    <a:gd name="connsiteX202" fmla="*/ 190085 w 1197650"/>
                    <a:gd name="connsiteY202" fmla="*/ 622576 h 1079551"/>
                    <a:gd name="connsiteX203" fmla="*/ 216401 w 1197650"/>
                    <a:gd name="connsiteY203" fmla="*/ 624300 h 1079551"/>
                    <a:gd name="connsiteX204" fmla="*/ 240689 w 1197650"/>
                    <a:gd name="connsiteY204" fmla="*/ 630106 h 1079551"/>
                    <a:gd name="connsiteX205" fmla="*/ 252618 w 1197650"/>
                    <a:gd name="connsiteY205" fmla="*/ 620269 h 1079551"/>
                    <a:gd name="connsiteX206" fmla="*/ 279048 w 1197650"/>
                    <a:gd name="connsiteY206" fmla="*/ 615807 h 1079551"/>
                    <a:gd name="connsiteX207" fmla="*/ 324963 w 1197650"/>
                    <a:gd name="connsiteY207" fmla="*/ 614019 h 1079551"/>
                    <a:gd name="connsiteX208" fmla="*/ 406321 w 1197650"/>
                    <a:gd name="connsiteY208" fmla="*/ 584686 h 1079551"/>
                    <a:gd name="connsiteX209" fmla="*/ 403735 w 1197650"/>
                    <a:gd name="connsiteY209" fmla="*/ 554896 h 1079551"/>
                    <a:gd name="connsiteX210" fmla="*/ 406295 w 1197650"/>
                    <a:gd name="connsiteY210" fmla="*/ 513456 h 1079551"/>
                    <a:gd name="connsiteX211" fmla="*/ 420949 w 1197650"/>
                    <a:gd name="connsiteY211" fmla="*/ 502669 h 1079551"/>
                    <a:gd name="connsiteX212" fmla="*/ 432422 w 1197650"/>
                    <a:gd name="connsiteY212" fmla="*/ 485264 h 1079551"/>
                    <a:gd name="connsiteX213" fmla="*/ 441980 w 1197650"/>
                    <a:gd name="connsiteY213" fmla="*/ 478875 h 1079551"/>
                    <a:gd name="connsiteX214" fmla="*/ 456951 w 1197650"/>
                    <a:gd name="connsiteY214" fmla="*/ 477848 h 1079551"/>
                    <a:gd name="connsiteX215" fmla="*/ 460842 w 1197650"/>
                    <a:gd name="connsiteY215" fmla="*/ 481626 h 1079551"/>
                    <a:gd name="connsiteX216" fmla="*/ 474989 w 1197650"/>
                    <a:gd name="connsiteY216" fmla="*/ 483223 h 1079551"/>
                    <a:gd name="connsiteX217" fmla="*/ 511029 w 1197650"/>
                    <a:gd name="connsiteY217" fmla="*/ 473639 h 1079551"/>
                    <a:gd name="connsiteX218" fmla="*/ 496438 w 1197650"/>
                    <a:gd name="connsiteY218" fmla="*/ 459480 h 1079551"/>
                    <a:gd name="connsiteX219" fmla="*/ 520473 w 1197650"/>
                    <a:gd name="connsiteY219" fmla="*/ 448806 h 1079551"/>
                    <a:gd name="connsiteX220" fmla="*/ 532883 w 1197650"/>
                    <a:gd name="connsiteY220" fmla="*/ 443964 h 1079551"/>
                    <a:gd name="connsiteX221" fmla="*/ 540743 w 1197650"/>
                    <a:gd name="connsiteY221" fmla="*/ 433328 h 1079551"/>
                    <a:gd name="connsiteX222" fmla="*/ 550909 w 1197650"/>
                    <a:gd name="connsiteY222" fmla="*/ 438310 h 1079551"/>
                    <a:gd name="connsiteX223" fmla="*/ 569658 w 1197650"/>
                    <a:gd name="connsiteY223" fmla="*/ 439235 h 1079551"/>
                    <a:gd name="connsiteX224" fmla="*/ 559960 w 1197650"/>
                    <a:gd name="connsiteY224" fmla="*/ 436839 h 1079551"/>
                    <a:gd name="connsiteX225" fmla="*/ 589940 w 1197650"/>
                    <a:gd name="connsiteY225" fmla="*/ 451341 h 1079551"/>
                    <a:gd name="connsiteX226" fmla="*/ 624167 w 1197650"/>
                    <a:gd name="connsiteY226" fmla="*/ 424873 h 1079551"/>
                    <a:gd name="connsiteX227" fmla="*/ 619869 w 1197650"/>
                    <a:gd name="connsiteY227" fmla="*/ 383928 h 1079551"/>
                    <a:gd name="connsiteX228" fmla="*/ 631582 w 1197650"/>
                    <a:gd name="connsiteY228" fmla="*/ 370009 h 1079551"/>
                    <a:gd name="connsiteX229" fmla="*/ 631050 w 1197650"/>
                    <a:gd name="connsiteY229" fmla="*/ 358004 h 1079551"/>
                    <a:gd name="connsiteX230" fmla="*/ 638783 w 1197650"/>
                    <a:gd name="connsiteY230" fmla="*/ 345606 h 1079551"/>
                    <a:gd name="connsiteX231" fmla="*/ 647897 w 1197650"/>
                    <a:gd name="connsiteY231" fmla="*/ 330851 h 1079551"/>
                    <a:gd name="connsiteX232" fmla="*/ 666456 w 1197650"/>
                    <a:gd name="connsiteY232" fmla="*/ 330078 h 1079551"/>
                    <a:gd name="connsiteX233" fmla="*/ 682187 w 1197650"/>
                    <a:gd name="connsiteY233" fmla="*/ 321356 h 1079551"/>
                    <a:gd name="connsiteX234" fmla="*/ 699098 w 1197650"/>
                    <a:gd name="connsiteY234" fmla="*/ 308439 h 1079551"/>
                    <a:gd name="connsiteX235" fmla="*/ 688627 w 1197650"/>
                    <a:gd name="connsiteY235" fmla="*/ 296409 h 1079551"/>
                    <a:gd name="connsiteX236" fmla="*/ 686992 w 1197650"/>
                    <a:gd name="connsiteY236" fmla="*/ 283327 h 1079551"/>
                    <a:gd name="connsiteX237" fmla="*/ 673719 w 1197650"/>
                    <a:gd name="connsiteY237" fmla="*/ 275379 h 1079551"/>
                    <a:gd name="connsiteX238" fmla="*/ 675215 w 1197650"/>
                    <a:gd name="connsiteY238" fmla="*/ 251217 h 1079551"/>
                    <a:gd name="connsiteX239" fmla="*/ 702634 w 1197650"/>
                    <a:gd name="connsiteY239" fmla="*/ 258557 h 1079551"/>
                    <a:gd name="connsiteX240" fmla="*/ 732158 w 1197650"/>
                    <a:gd name="connsiteY240" fmla="*/ 258772 h 1079551"/>
                    <a:gd name="connsiteX241" fmla="*/ 756776 w 1197650"/>
                    <a:gd name="connsiteY241" fmla="*/ 244055 h 1079551"/>
                    <a:gd name="connsiteX242" fmla="*/ 760034 w 1197650"/>
                    <a:gd name="connsiteY242" fmla="*/ 226954 h 1079551"/>
                    <a:gd name="connsiteX243" fmla="*/ 747497 w 1197650"/>
                    <a:gd name="connsiteY243" fmla="*/ 212718 h 1079551"/>
                    <a:gd name="connsiteX244" fmla="*/ 756421 w 1197650"/>
                    <a:gd name="connsiteY244" fmla="*/ 207027 h 1079551"/>
                    <a:gd name="connsiteX245" fmla="*/ 755888 w 1197650"/>
                    <a:gd name="connsiteY245" fmla="*/ 201424 h 1079551"/>
                    <a:gd name="connsiteX246" fmla="*/ 764762 w 1197650"/>
                    <a:gd name="connsiteY246" fmla="*/ 193868 h 1079551"/>
                    <a:gd name="connsiteX247" fmla="*/ 770821 w 1197650"/>
                    <a:gd name="connsiteY247" fmla="*/ 184931 h 1079551"/>
                    <a:gd name="connsiteX248" fmla="*/ 782306 w 1197650"/>
                    <a:gd name="connsiteY248" fmla="*/ 177706 h 1079551"/>
                    <a:gd name="connsiteX249" fmla="*/ 788404 w 1197650"/>
                    <a:gd name="connsiteY249" fmla="*/ 167806 h 1079551"/>
                    <a:gd name="connsiteX250" fmla="*/ 796897 w 1197650"/>
                    <a:gd name="connsiteY250" fmla="*/ 158476 h 1079551"/>
                    <a:gd name="connsiteX251" fmla="*/ 793284 w 1197650"/>
                    <a:gd name="connsiteY251" fmla="*/ 151199 h 1079551"/>
                    <a:gd name="connsiteX252" fmla="*/ 791814 w 1197650"/>
                    <a:gd name="connsiteY252" fmla="*/ 142605 h 1079551"/>
                    <a:gd name="connsiteX253" fmla="*/ 796162 w 1197650"/>
                    <a:gd name="connsiteY253" fmla="*/ 135024 h 1079551"/>
                    <a:gd name="connsiteX254" fmla="*/ 791712 w 1197650"/>
                    <a:gd name="connsiteY254" fmla="*/ 123615 h 1079551"/>
                    <a:gd name="connsiteX255" fmla="*/ 786731 w 1197650"/>
                    <a:gd name="connsiteY255" fmla="*/ 119280 h 1079551"/>
                    <a:gd name="connsiteX256" fmla="*/ 788632 w 1197650"/>
                    <a:gd name="connsiteY256" fmla="*/ 113056 h 1079551"/>
                    <a:gd name="connsiteX257" fmla="*/ 770314 w 1197650"/>
                    <a:gd name="connsiteY257" fmla="*/ 90986 h 1079551"/>
                    <a:gd name="connsiteX258" fmla="*/ 766537 w 1197650"/>
                    <a:gd name="connsiteY258" fmla="*/ 79856 h 1079551"/>
                    <a:gd name="connsiteX259" fmla="*/ 777882 w 1197650"/>
                    <a:gd name="connsiteY259" fmla="*/ 70437 h 1079551"/>
                    <a:gd name="connsiteX260" fmla="*/ 791256 w 1197650"/>
                    <a:gd name="connsiteY260" fmla="*/ 59142 h 1079551"/>
                    <a:gd name="connsiteX261" fmla="*/ 794755 w 1197650"/>
                    <a:gd name="connsiteY261" fmla="*/ 51993 h 1079551"/>
                    <a:gd name="connsiteX262" fmla="*/ 803007 w 1197650"/>
                    <a:gd name="connsiteY262" fmla="*/ 52956 h 1079551"/>
                    <a:gd name="connsiteX263" fmla="*/ 809460 w 1197650"/>
                    <a:gd name="connsiteY263" fmla="*/ 54135 h 1079551"/>
                    <a:gd name="connsiteX264" fmla="*/ 809434 w 1197650"/>
                    <a:gd name="connsiteY264" fmla="*/ 47176 h 1079551"/>
                    <a:gd name="connsiteX265" fmla="*/ 826053 w 1197650"/>
                    <a:gd name="connsiteY265" fmla="*/ 39937 h 1079551"/>
                    <a:gd name="connsiteX266" fmla="*/ 837386 w 1197650"/>
                    <a:gd name="connsiteY266" fmla="*/ 33434 h 1079551"/>
                    <a:gd name="connsiteX267" fmla="*/ 852572 w 1197650"/>
                    <a:gd name="connsiteY267" fmla="*/ 25043 h 1079551"/>
                    <a:gd name="connsiteX268" fmla="*/ 877735 w 1197650"/>
                    <a:gd name="connsiteY268" fmla="*/ 18197 h 1079551"/>
                    <a:gd name="connsiteX269" fmla="*/ 918402 w 1197650"/>
                    <a:gd name="connsiteY269" fmla="*/ 15459 h 1079551"/>
                    <a:gd name="connsiteX270" fmla="*/ 965609 w 1197650"/>
                    <a:gd name="connsiteY270" fmla="*/ 16701 h 1079551"/>
                    <a:gd name="connsiteX271" fmla="*/ 1002422 w 1197650"/>
                    <a:gd name="connsiteY271" fmla="*/ 4481 h 1079551"/>
                    <a:gd name="connsiteX272" fmla="*/ 1008950 w 1197650"/>
                    <a:gd name="connsiteY272" fmla="*/ 5597 h 1079551"/>
                    <a:gd name="connsiteX273" fmla="*/ 1011675 w 1197650"/>
                    <a:gd name="connsiteY273" fmla="*/ 7536 h 1079551"/>
                    <a:gd name="connsiteX274" fmla="*/ 1013095 w 1197650"/>
                    <a:gd name="connsiteY274" fmla="*/ 3733 h 1079551"/>
                    <a:gd name="connsiteX275" fmla="*/ 1020169 w 1197650"/>
                    <a:gd name="connsiteY275" fmla="*/ 70 h 1079551"/>
                    <a:gd name="connsiteX276" fmla="*/ 1031172 w 1197650"/>
                    <a:gd name="connsiteY276" fmla="*/ 2935 h 1079551"/>
                    <a:gd name="connsiteX277" fmla="*/ 1031172 w 1197650"/>
                    <a:gd name="connsiteY277" fmla="*/ 2935 h 1079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Lst>
                  <a:rect l="l" t="t" r="r" b="b"/>
                  <a:pathLst>
                    <a:path w="1197650" h="1079551">
                      <a:moveTo>
                        <a:pt x="1031172" y="2935"/>
                      </a:moveTo>
                      <a:cubicBezTo>
                        <a:pt x="1034392" y="5115"/>
                        <a:pt x="1036458" y="8309"/>
                        <a:pt x="1037079" y="12087"/>
                      </a:cubicBezTo>
                      <a:cubicBezTo>
                        <a:pt x="1041846" y="-361"/>
                        <a:pt x="1069113" y="5914"/>
                        <a:pt x="1075122" y="14483"/>
                      </a:cubicBezTo>
                      <a:cubicBezTo>
                        <a:pt x="1077124" y="17373"/>
                        <a:pt x="1074652" y="23204"/>
                        <a:pt x="1076909" y="25524"/>
                      </a:cubicBezTo>
                      <a:cubicBezTo>
                        <a:pt x="1081701" y="30455"/>
                        <a:pt x="1081954" y="24979"/>
                        <a:pt x="1085174" y="25093"/>
                      </a:cubicBezTo>
                      <a:cubicBezTo>
                        <a:pt x="1097394" y="25550"/>
                        <a:pt x="1105279" y="28757"/>
                        <a:pt x="1112923" y="39342"/>
                      </a:cubicBezTo>
                      <a:cubicBezTo>
                        <a:pt x="1119160" y="48012"/>
                        <a:pt x="1119515" y="55149"/>
                        <a:pt x="1119122" y="64872"/>
                      </a:cubicBezTo>
                      <a:cubicBezTo>
                        <a:pt x="1118906" y="69715"/>
                        <a:pt x="1119730" y="67103"/>
                        <a:pt x="1118146" y="71984"/>
                      </a:cubicBezTo>
                      <a:cubicBezTo>
                        <a:pt x="1117601" y="73670"/>
                        <a:pt x="1115395" y="76281"/>
                        <a:pt x="1115027" y="77485"/>
                      </a:cubicBezTo>
                      <a:cubicBezTo>
                        <a:pt x="1111161" y="90618"/>
                        <a:pt x="1120060" y="83329"/>
                        <a:pt x="1127019" y="90263"/>
                      </a:cubicBezTo>
                      <a:cubicBezTo>
                        <a:pt x="1134600" y="97818"/>
                        <a:pt x="1126411" y="101913"/>
                        <a:pt x="1137858" y="103941"/>
                      </a:cubicBezTo>
                      <a:cubicBezTo>
                        <a:pt x="1144158" y="105057"/>
                        <a:pt x="1147479" y="101672"/>
                        <a:pt x="1152372" y="100202"/>
                      </a:cubicBezTo>
                      <a:cubicBezTo>
                        <a:pt x="1153348" y="99897"/>
                        <a:pt x="1157291" y="98592"/>
                        <a:pt x="1158001" y="98642"/>
                      </a:cubicBezTo>
                      <a:cubicBezTo>
                        <a:pt x="1166785" y="99441"/>
                        <a:pt x="1156454" y="99327"/>
                        <a:pt x="1161195" y="106641"/>
                      </a:cubicBezTo>
                      <a:cubicBezTo>
                        <a:pt x="1164998" y="112511"/>
                        <a:pt x="1174024" y="113765"/>
                        <a:pt x="1178346" y="119254"/>
                      </a:cubicBezTo>
                      <a:cubicBezTo>
                        <a:pt x="1184583" y="127152"/>
                        <a:pt x="1195903" y="152023"/>
                        <a:pt x="1197501" y="161924"/>
                      </a:cubicBezTo>
                      <a:cubicBezTo>
                        <a:pt x="1198287" y="166703"/>
                        <a:pt x="1195992" y="174118"/>
                        <a:pt x="1190389" y="176983"/>
                      </a:cubicBezTo>
                      <a:cubicBezTo>
                        <a:pt x="1185876" y="179303"/>
                        <a:pt x="1181693" y="175779"/>
                        <a:pt x="1176255" y="179557"/>
                      </a:cubicBezTo>
                      <a:cubicBezTo>
                        <a:pt x="1175139" y="180330"/>
                        <a:pt x="1175203" y="186694"/>
                        <a:pt x="1173441" y="188798"/>
                      </a:cubicBezTo>
                      <a:cubicBezTo>
                        <a:pt x="1169346" y="193767"/>
                        <a:pt x="1165353" y="194261"/>
                        <a:pt x="1159420" y="194731"/>
                      </a:cubicBezTo>
                      <a:cubicBezTo>
                        <a:pt x="1156061" y="194984"/>
                        <a:pt x="1153488" y="192563"/>
                        <a:pt x="1149089" y="193235"/>
                      </a:cubicBezTo>
                      <a:cubicBezTo>
                        <a:pt x="1143296" y="194122"/>
                        <a:pt x="1137566" y="199066"/>
                        <a:pt x="1131266" y="200181"/>
                      </a:cubicBezTo>
                      <a:cubicBezTo>
                        <a:pt x="1126550" y="201018"/>
                        <a:pt x="1125067" y="198926"/>
                        <a:pt x="1120542" y="200549"/>
                      </a:cubicBezTo>
                      <a:cubicBezTo>
                        <a:pt x="1118615" y="201246"/>
                        <a:pt x="1113189" y="206329"/>
                        <a:pt x="1111250" y="207572"/>
                      </a:cubicBezTo>
                      <a:cubicBezTo>
                        <a:pt x="1103885" y="212351"/>
                        <a:pt x="1100196" y="214481"/>
                        <a:pt x="1090612" y="213428"/>
                      </a:cubicBezTo>
                      <a:cubicBezTo>
                        <a:pt x="1079558" y="212224"/>
                        <a:pt x="1072599" y="205379"/>
                        <a:pt x="1063966" y="202666"/>
                      </a:cubicBezTo>
                      <a:cubicBezTo>
                        <a:pt x="1055257" y="199953"/>
                        <a:pt x="1042543" y="201880"/>
                        <a:pt x="1032630" y="199991"/>
                      </a:cubicBezTo>
                      <a:cubicBezTo>
                        <a:pt x="1021018" y="197773"/>
                        <a:pt x="1007518" y="189926"/>
                        <a:pt x="995944" y="191130"/>
                      </a:cubicBezTo>
                      <a:cubicBezTo>
                        <a:pt x="991672" y="191574"/>
                        <a:pt x="970287" y="198647"/>
                        <a:pt x="967650" y="200955"/>
                      </a:cubicBezTo>
                      <a:cubicBezTo>
                        <a:pt x="964962" y="203300"/>
                        <a:pt x="968512" y="205493"/>
                        <a:pt x="967067" y="208180"/>
                      </a:cubicBezTo>
                      <a:cubicBezTo>
                        <a:pt x="965698" y="210804"/>
                        <a:pt x="962719" y="212338"/>
                        <a:pt x="961198" y="214836"/>
                      </a:cubicBezTo>
                      <a:cubicBezTo>
                        <a:pt x="958903" y="218524"/>
                        <a:pt x="954428" y="223012"/>
                        <a:pt x="957686" y="227512"/>
                      </a:cubicBezTo>
                      <a:cubicBezTo>
                        <a:pt x="961578" y="232937"/>
                        <a:pt x="966940" y="227081"/>
                        <a:pt x="970439" y="234294"/>
                      </a:cubicBezTo>
                      <a:cubicBezTo>
                        <a:pt x="975116" y="243928"/>
                        <a:pt x="964709" y="239491"/>
                        <a:pt x="964164" y="247363"/>
                      </a:cubicBezTo>
                      <a:cubicBezTo>
                        <a:pt x="963137" y="261650"/>
                        <a:pt x="1003639" y="246730"/>
                        <a:pt x="989276" y="264058"/>
                      </a:cubicBezTo>
                      <a:cubicBezTo>
                        <a:pt x="983572" y="270967"/>
                        <a:pt x="972074" y="265846"/>
                        <a:pt x="970084" y="276912"/>
                      </a:cubicBezTo>
                      <a:cubicBezTo>
                        <a:pt x="968068" y="288182"/>
                        <a:pt x="982481" y="286965"/>
                        <a:pt x="984155" y="296713"/>
                      </a:cubicBezTo>
                      <a:cubicBezTo>
                        <a:pt x="985967" y="307336"/>
                        <a:pt x="973811" y="310087"/>
                        <a:pt x="972378" y="315943"/>
                      </a:cubicBezTo>
                      <a:cubicBezTo>
                        <a:pt x="970895" y="322016"/>
                        <a:pt x="978767" y="330788"/>
                        <a:pt x="983990" y="334096"/>
                      </a:cubicBezTo>
                      <a:cubicBezTo>
                        <a:pt x="995399" y="341296"/>
                        <a:pt x="993776" y="335389"/>
                        <a:pt x="997300" y="349333"/>
                      </a:cubicBezTo>
                      <a:cubicBezTo>
                        <a:pt x="999176" y="356787"/>
                        <a:pt x="995145" y="352540"/>
                        <a:pt x="1002992" y="355355"/>
                      </a:cubicBezTo>
                      <a:cubicBezTo>
                        <a:pt x="1004361" y="355837"/>
                        <a:pt x="1009457" y="358625"/>
                        <a:pt x="1011181" y="358245"/>
                      </a:cubicBezTo>
                      <a:cubicBezTo>
                        <a:pt x="1013450" y="357738"/>
                        <a:pt x="1019104" y="353111"/>
                        <a:pt x="1019091" y="353111"/>
                      </a:cubicBezTo>
                      <a:cubicBezTo>
                        <a:pt x="1026076" y="352148"/>
                        <a:pt x="1021829" y="352110"/>
                        <a:pt x="1020587" y="360489"/>
                      </a:cubicBezTo>
                      <a:cubicBezTo>
                        <a:pt x="1019915" y="364926"/>
                        <a:pt x="1018470" y="373013"/>
                        <a:pt x="1020942" y="377019"/>
                      </a:cubicBezTo>
                      <a:cubicBezTo>
                        <a:pt x="1024872" y="383357"/>
                        <a:pt x="1035900" y="381456"/>
                        <a:pt x="1042657" y="382558"/>
                      </a:cubicBezTo>
                      <a:cubicBezTo>
                        <a:pt x="1052202" y="384118"/>
                        <a:pt x="1079153" y="388415"/>
                        <a:pt x="1069328" y="403361"/>
                      </a:cubicBezTo>
                      <a:cubicBezTo>
                        <a:pt x="1066755" y="407290"/>
                        <a:pt x="1060721" y="406961"/>
                        <a:pt x="1059365" y="412108"/>
                      </a:cubicBezTo>
                      <a:cubicBezTo>
                        <a:pt x="1055448" y="412526"/>
                        <a:pt x="1052278" y="412450"/>
                        <a:pt x="1048159" y="411474"/>
                      </a:cubicBezTo>
                      <a:cubicBezTo>
                        <a:pt x="1048361" y="412247"/>
                        <a:pt x="1048539" y="413020"/>
                        <a:pt x="1048729" y="413781"/>
                      </a:cubicBezTo>
                      <a:cubicBezTo>
                        <a:pt x="1046054" y="415036"/>
                        <a:pt x="1042403" y="415239"/>
                        <a:pt x="1039779" y="416595"/>
                      </a:cubicBezTo>
                      <a:cubicBezTo>
                        <a:pt x="1037130" y="417951"/>
                        <a:pt x="1035419" y="417140"/>
                        <a:pt x="1033200" y="418015"/>
                      </a:cubicBezTo>
                      <a:cubicBezTo>
                        <a:pt x="1031679" y="418573"/>
                        <a:pt x="1031907" y="422870"/>
                        <a:pt x="1030132" y="423935"/>
                      </a:cubicBezTo>
                      <a:cubicBezTo>
                        <a:pt x="1028776" y="424733"/>
                        <a:pt x="1026241" y="422832"/>
                        <a:pt x="1025391" y="423478"/>
                      </a:cubicBezTo>
                      <a:cubicBezTo>
                        <a:pt x="1024631" y="424061"/>
                        <a:pt x="1022843" y="426648"/>
                        <a:pt x="1021627" y="427357"/>
                      </a:cubicBezTo>
                      <a:cubicBezTo>
                        <a:pt x="1019066" y="428840"/>
                        <a:pt x="1015745" y="430336"/>
                        <a:pt x="1013843" y="432732"/>
                      </a:cubicBezTo>
                      <a:cubicBezTo>
                        <a:pt x="1012702" y="434152"/>
                        <a:pt x="1010775" y="438906"/>
                        <a:pt x="1010535" y="440756"/>
                      </a:cubicBezTo>
                      <a:cubicBezTo>
                        <a:pt x="1009787" y="446283"/>
                        <a:pt x="1015542" y="452127"/>
                        <a:pt x="1016340" y="459277"/>
                      </a:cubicBezTo>
                      <a:cubicBezTo>
                        <a:pt x="1017038" y="465438"/>
                        <a:pt x="1016214" y="463054"/>
                        <a:pt x="1014819" y="468873"/>
                      </a:cubicBezTo>
                      <a:cubicBezTo>
                        <a:pt x="1013805" y="473107"/>
                        <a:pt x="1008126" y="482526"/>
                        <a:pt x="1010116" y="487026"/>
                      </a:cubicBezTo>
                      <a:cubicBezTo>
                        <a:pt x="1012601" y="492616"/>
                        <a:pt x="1016543" y="490562"/>
                        <a:pt x="1021272" y="493681"/>
                      </a:cubicBezTo>
                      <a:cubicBezTo>
                        <a:pt x="1014439" y="496026"/>
                        <a:pt x="1009875" y="503150"/>
                        <a:pt x="1003524" y="506649"/>
                      </a:cubicBezTo>
                      <a:cubicBezTo>
                        <a:pt x="998162" y="509603"/>
                        <a:pt x="995538" y="510870"/>
                        <a:pt x="991887" y="516233"/>
                      </a:cubicBezTo>
                      <a:cubicBezTo>
                        <a:pt x="988959" y="520517"/>
                        <a:pt x="983039" y="525486"/>
                        <a:pt x="980212" y="529454"/>
                      </a:cubicBezTo>
                      <a:cubicBezTo>
                        <a:pt x="976245" y="535070"/>
                        <a:pt x="973342" y="546238"/>
                        <a:pt x="965178" y="547176"/>
                      </a:cubicBezTo>
                      <a:cubicBezTo>
                        <a:pt x="964937" y="547379"/>
                        <a:pt x="965786" y="549128"/>
                        <a:pt x="965634" y="549382"/>
                      </a:cubicBezTo>
                      <a:cubicBezTo>
                        <a:pt x="962516" y="550091"/>
                        <a:pt x="962769" y="550104"/>
                        <a:pt x="960906" y="552766"/>
                      </a:cubicBezTo>
                      <a:cubicBezTo>
                        <a:pt x="977284" y="559345"/>
                        <a:pt x="962769" y="572947"/>
                        <a:pt x="953249" y="577245"/>
                      </a:cubicBezTo>
                      <a:cubicBezTo>
                        <a:pt x="937150" y="584521"/>
                        <a:pt x="928163" y="580059"/>
                        <a:pt x="922217" y="598605"/>
                      </a:cubicBezTo>
                      <a:cubicBezTo>
                        <a:pt x="917109" y="614526"/>
                        <a:pt x="910998" y="628939"/>
                        <a:pt x="902328" y="643340"/>
                      </a:cubicBezTo>
                      <a:cubicBezTo>
                        <a:pt x="894177" y="656802"/>
                        <a:pt x="887686" y="661455"/>
                        <a:pt x="873539" y="668516"/>
                      </a:cubicBezTo>
                      <a:cubicBezTo>
                        <a:pt x="857415" y="676540"/>
                        <a:pt x="847210" y="680191"/>
                        <a:pt x="841544" y="697760"/>
                      </a:cubicBezTo>
                      <a:cubicBezTo>
                        <a:pt x="839528" y="704035"/>
                        <a:pt x="838628" y="709207"/>
                        <a:pt x="834420" y="714405"/>
                      </a:cubicBezTo>
                      <a:cubicBezTo>
                        <a:pt x="829628" y="720325"/>
                        <a:pt x="821604" y="723126"/>
                        <a:pt x="818067" y="730339"/>
                      </a:cubicBezTo>
                      <a:cubicBezTo>
                        <a:pt x="815963" y="734649"/>
                        <a:pt x="817801" y="741355"/>
                        <a:pt x="814923" y="744816"/>
                      </a:cubicBezTo>
                      <a:cubicBezTo>
                        <a:pt x="811767" y="748593"/>
                        <a:pt x="794184" y="751281"/>
                        <a:pt x="789253" y="751889"/>
                      </a:cubicBezTo>
                      <a:cubicBezTo>
                        <a:pt x="773484" y="753816"/>
                        <a:pt x="763545" y="756529"/>
                        <a:pt x="748447" y="761739"/>
                      </a:cubicBezTo>
                      <a:cubicBezTo>
                        <a:pt x="719748" y="771652"/>
                        <a:pt x="730320" y="733889"/>
                        <a:pt x="706323" y="739504"/>
                      </a:cubicBezTo>
                      <a:cubicBezTo>
                        <a:pt x="695092" y="742128"/>
                        <a:pt x="686244" y="753626"/>
                        <a:pt x="681465" y="763526"/>
                      </a:cubicBezTo>
                      <a:cubicBezTo>
                        <a:pt x="674163" y="778700"/>
                        <a:pt x="664858" y="787574"/>
                        <a:pt x="652359" y="799033"/>
                      </a:cubicBezTo>
                      <a:cubicBezTo>
                        <a:pt x="644436" y="806297"/>
                        <a:pt x="633345" y="824728"/>
                        <a:pt x="637439" y="836467"/>
                      </a:cubicBezTo>
                      <a:cubicBezTo>
                        <a:pt x="640938" y="846570"/>
                        <a:pt x="662488" y="852807"/>
                        <a:pt x="672185" y="853276"/>
                      </a:cubicBezTo>
                      <a:cubicBezTo>
                        <a:pt x="702875" y="854759"/>
                        <a:pt x="682098" y="879516"/>
                        <a:pt x="681870" y="897720"/>
                      </a:cubicBezTo>
                      <a:cubicBezTo>
                        <a:pt x="681782" y="906961"/>
                        <a:pt x="693076" y="921704"/>
                        <a:pt x="701379" y="924607"/>
                      </a:cubicBezTo>
                      <a:cubicBezTo>
                        <a:pt x="715894" y="929703"/>
                        <a:pt x="724527" y="913642"/>
                        <a:pt x="725148" y="934799"/>
                      </a:cubicBezTo>
                      <a:cubicBezTo>
                        <a:pt x="725642" y="951113"/>
                        <a:pt x="731347" y="951646"/>
                        <a:pt x="739067" y="964322"/>
                      </a:cubicBezTo>
                      <a:cubicBezTo>
                        <a:pt x="745925" y="975604"/>
                        <a:pt x="748663" y="990715"/>
                        <a:pt x="755546" y="1002681"/>
                      </a:cubicBezTo>
                      <a:cubicBezTo>
                        <a:pt x="744175" y="1005914"/>
                        <a:pt x="748676" y="1014281"/>
                        <a:pt x="750818" y="1020619"/>
                      </a:cubicBezTo>
                      <a:cubicBezTo>
                        <a:pt x="752314" y="1025005"/>
                        <a:pt x="761314" y="1021430"/>
                        <a:pt x="750552" y="1028123"/>
                      </a:cubicBezTo>
                      <a:cubicBezTo>
                        <a:pt x="747573" y="1029961"/>
                        <a:pt x="736874" y="1026488"/>
                        <a:pt x="740271" y="1034740"/>
                      </a:cubicBezTo>
                      <a:cubicBezTo>
                        <a:pt x="735568" y="1037796"/>
                        <a:pt x="725554" y="1040052"/>
                        <a:pt x="720787" y="1036135"/>
                      </a:cubicBezTo>
                      <a:cubicBezTo>
                        <a:pt x="716173" y="1032344"/>
                        <a:pt x="720077" y="1024117"/>
                        <a:pt x="718505" y="1022837"/>
                      </a:cubicBezTo>
                      <a:cubicBezTo>
                        <a:pt x="714766" y="1019807"/>
                        <a:pt x="700213" y="1027857"/>
                        <a:pt x="696131" y="1029175"/>
                      </a:cubicBezTo>
                      <a:cubicBezTo>
                        <a:pt x="693558" y="1030025"/>
                        <a:pt x="688361" y="1030519"/>
                        <a:pt x="686244" y="1032015"/>
                      </a:cubicBezTo>
                      <a:cubicBezTo>
                        <a:pt x="683556" y="1033942"/>
                        <a:pt x="683277" y="1038455"/>
                        <a:pt x="680717" y="1040166"/>
                      </a:cubicBezTo>
                      <a:cubicBezTo>
                        <a:pt x="673402" y="1045046"/>
                        <a:pt x="660574" y="1044691"/>
                        <a:pt x="652511" y="1041205"/>
                      </a:cubicBezTo>
                      <a:cubicBezTo>
                        <a:pt x="646668" y="1038670"/>
                        <a:pt x="646832" y="1035818"/>
                        <a:pt x="640418" y="1034233"/>
                      </a:cubicBezTo>
                      <a:cubicBezTo>
                        <a:pt x="634054" y="1032662"/>
                        <a:pt x="626994" y="1034956"/>
                        <a:pt x="620934" y="1034778"/>
                      </a:cubicBezTo>
                      <a:cubicBezTo>
                        <a:pt x="614457" y="1034601"/>
                        <a:pt x="607472" y="1036312"/>
                        <a:pt x="601514" y="1036008"/>
                      </a:cubicBezTo>
                      <a:cubicBezTo>
                        <a:pt x="596190" y="1035742"/>
                        <a:pt x="594846" y="1024878"/>
                        <a:pt x="591018" y="1037491"/>
                      </a:cubicBezTo>
                      <a:cubicBezTo>
                        <a:pt x="590333" y="1032066"/>
                        <a:pt x="586733" y="1027122"/>
                        <a:pt x="582664" y="1033371"/>
                      </a:cubicBezTo>
                      <a:cubicBezTo>
                        <a:pt x="579926" y="1037567"/>
                        <a:pt x="582588" y="1053616"/>
                        <a:pt x="582550" y="1058610"/>
                      </a:cubicBezTo>
                      <a:cubicBezTo>
                        <a:pt x="574310" y="1058560"/>
                        <a:pt x="562255" y="1056138"/>
                        <a:pt x="555143" y="1060626"/>
                      </a:cubicBezTo>
                      <a:cubicBezTo>
                        <a:pt x="553939" y="1058801"/>
                        <a:pt x="555054" y="1059612"/>
                        <a:pt x="553432" y="1058509"/>
                      </a:cubicBezTo>
                      <a:cubicBezTo>
                        <a:pt x="551277" y="1064847"/>
                        <a:pt x="547994" y="1058623"/>
                        <a:pt x="548247" y="1064049"/>
                      </a:cubicBezTo>
                      <a:cubicBezTo>
                        <a:pt x="547398" y="1064835"/>
                        <a:pt x="543595" y="1067522"/>
                        <a:pt x="542530" y="1068207"/>
                      </a:cubicBezTo>
                      <a:cubicBezTo>
                        <a:pt x="541985" y="1066875"/>
                        <a:pt x="540857" y="1064644"/>
                        <a:pt x="540654" y="1063313"/>
                      </a:cubicBezTo>
                      <a:cubicBezTo>
                        <a:pt x="542162" y="1069132"/>
                        <a:pt x="538651" y="1073746"/>
                        <a:pt x="540654" y="1079552"/>
                      </a:cubicBezTo>
                      <a:cubicBezTo>
                        <a:pt x="539120" y="1078918"/>
                        <a:pt x="537916" y="1078107"/>
                        <a:pt x="536572" y="1076624"/>
                      </a:cubicBezTo>
                      <a:cubicBezTo>
                        <a:pt x="531641" y="1079362"/>
                        <a:pt x="533200" y="1073265"/>
                        <a:pt x="536572" y="1070754"/>
                      </a:cubicBezTo>
                      <a:cubicBezTo>
                        <a:pt x="533682" y="1067243"/>
                        <a:pt x="533555" y="1066432"/>
                        <a:pt x="533720" y="1061906"/>
                      </a:cubicBezTo>
                      <a:cubicBezTo>
                        <a:pt x="532642" y="1061450"/>
                        <a:pt x="531273" y="1061349"/>
                        <a:pt x="530006" y="1060639"/>
                      </a:cubicBezTo>
                      <a:cubicBezTo>
                        <a:pt x="532630" y="1065468"/>
                        <a:pt x="533682" y="1070083"/>
                        <a:pt x="530006" y="1073924"/>
                      </a:cubicBezTo>
                      <a:cubicBezTo>
                        <a:pt x="528041" y="1070704"/>
                        <a:pt x="521905" y="1066913"/>
                        <a:pt x="519319" y="1067573"/>
                      </a:cubicBezTo>
                      <a:cubicBezTo>
                        <a:pt x="519066" y="1065874"/>
                        <a:pt x="518787" y="1064264"/>
                        <a:pt x="518292" y="1062768"/>
                      </a:cubicBezTo>
                      <a:cubicBezTo>
                        <a:pt x="519002" y="1070564"/>
                        <a:pt x="514350" y="1072580"/>
                        <a:pt x="508202" y="1068092"/>
                      </a:cubicBezTo>
                      <a:cubicBezTo>
                        <a:pt x="510725" y="1072567"/>
                        <a:pt x="497845" y="1074266"/>
                        <a:pt x="503626" y="1061716"/>
                      </a:cubicBezTo>
                      <a:cubicBezTo>
                        <a:pt x="503499" y="1062185"/>
                        <a:pt x="503131" y="1061222"/>
                        <a:pt x="503157" y="1061133"/>
                      </a:cubicBezTo>
                      <a:cubicBezTo>
                        <a:pt x="502523" y="1065304"/>
                        <a:pt x="501509" y="1069652"/>
                        <a:pt x="498606" y="1064898"/>
                      </a:cubicBezTo>
                      <a:cubicBezTo>
                        <a:pt x="497401" y="1064758"/>
                        <a:pt x="496159" y="1065253"/>
                        <a:pt x="494448" y="1063770"/>
                      </a:cubicBezTo>
                      <a:cubicBezTo>
                        <a:pt x="493510" y="1064581"/>
                        <a:pt x="495449" y="1065557"/>
                        <a:pt x="495487" y="1065950"/>
                      </a:cubicBezTo>
                      <a:cubicBezTo>
                        <a:pt x="493877" y="1065912"/>
                        <a:pt x="491824" y="1064404"/>
                        <a:pt x="490467" y="1064365"/>
                      </a:cubicBezTo>
                      <a:cubicBezTo>
                        <a:pt x="493231" y="1063389"/>
                        <a:pt x="492787" y="1062299"/>
                        <a:pt x="495031" y="1060639"/>
                      </a:cubicBezTo>
                      <a:cubicBezTo>
                        <a:pt x="493738" y="1060765"/>
                        <a:pt x="493358" y="1061830"/>
                        <a:pt x="491963" y="1061716"/>
                      </a:cubicBezTo>
                      <a:cubicBezTo>
                        <a:pt x="491279" y="1060474"/>
                        <a:pt x="492952" y="1058927"/>
                        <a:pt x="492534" y="1057939"/>
                      </a:cubicBezTo>
                      <a:cubicBezTo>
                        <a:pt x="491570" y="1057660"/>
                        <a:pt x="489212" y="1057698"/>
                        <a:pt x="488465" y="1056874"/>
                      </a:cubicBezTo>
                      <a:cubicBezTo>
                        <a:pt x="490543" y="1054693"/>
                        <a:pt x="492052" y="1052082"/>
                        <a:pt x="494511" y="1050434"/>
                      </a:cubicBezTo>
                      <a:cubicBezTo>
                        <a:pt x="486221" y="1052386"/>
                        <a:pt x="480922" y="1050903"/>
                        <a:pt x="477804" y="1042220"/>
                      </a:cubicBezTo>
                      <a:cubicBezTo>
                        <a:pt x="475737" y="1036541"/>
                        <a:pt x="473963" y="1028453"/>
                        <a:pt x="481911" y="1029112"/>
                      </a:cubicBezTo>
                      <a:cubicBezTo>
                        <a:pt x="476751" y="1029137"/>
                        <a:pt x="473734" y="1026995"/>
                        <a:pt x="476295" y="1021671"/>
                      </a:cubicBezTo>
                      <a:cubicBezTo>
                        <a:pt x="476206" y="1021684"/>
                        <a:pt x="474406" y="1023839"/>
                        <a:pt x="474242" y="1023255"/>
                      </a:cubicBezTo>
                      <a:cubicBezTo>
                        <a:pt x="473075" y="1019782"/>
                        <a:pt x="471960" y="1017120"/>
                        <a:pt x="472175" y="1014965"/>
                      </a:cubicBezTo>
                      <a:cubicBezTo>
                        <a:pt x="469526" y="1013216"/>
                        <a:pt x="470046" y="1013114"/>
                        <a:pt x="468702" y="1009869"/>
                      </a:cubicBezTo>
                      <a:cubicBezTo>
                        <a:pt x="470388" y="1009869"/>
                        <a:pt x="472087" y="1009958"/>
                        <a:pt x="473785" y="1009869"/>
                      </a:cubicBezTo>
                      <a:cubicBezTo>
                        <a:pt x="457268" y="1007930"/>
                        <a:pt x="474267" y="1002187"/>
                        <a:pt x="474013" y="997547"/>
                      </a:cubicBezTo>
                      <a:cubicBezTo>
                        <a:pt x="473887" y="994898"/>
                        <a:pt x="462161" y="993415"/>
                        <a:pt x="461197" y="995519"/>
                      </a:cubicBezTo>
                      <a:cubicBezTo>
                        <a:pt x="458371" y="993390"/>
                        <a:pt x="454682" y="992033"/>
                        <a:pt x="451994" y="990106"/>
                      </a:cubicBezTo>
                      <a:cubicBezTo>
                        <a:pt x="451753" y="991894"/>
                        <a:pt x="452501" y="991425"/>
                        <a:pt x="452527" y="992718"/>
                      </a:cubicBezTo>
                      <a:cubicBezTo>
                        <a:pt x="445694" y="988129"/>
                        <a:pt x="437213" y="990068"/>
                        <a:pt x="429531" y="990423"/>
                      </a:cubicBezTo>
                      <a:cubicBezTo>
                        <a:pt x="430862" y="989092"/>
                        <a:pt x="431408" y="987685"/>
                        <a:pt x="433246" y="986291"/>
                      </a:cubicBezTo>
                      <a:cubicBezTo>
                        <a:pt x="427554" y="979547"/>
                        <a:pt x="437239" y="970382"/>
                        <a:pt x="435654" y="963663"/>
                      </a:cubicBezTo>
                      <a:cubicBezTo>
                        <a:pt x="433892" y="956095"/>
                        <a:pt x="423434" y="954244"/>
                        <a:pt x="422116" y="947653"/>
                      </a:cubicBezTo>
                      <a:cubicBezTo>
                        <a:pt x="430305" y="945155"/>
                        <a:pt x="410732" y="930691"/>
                        <a:pt x="408932" y="928790"/>
                      </a:cubicBezTo>
                      <a:cubicBezTo>
                        <a:pt x="398525" y="931541"/>
                        <a:pt x="395419" y="931870"/>
                        <a:pt x="388155" y="940655"/>
                      </a:cubicBezTo>
                      <a:cubicBezTo>
                        <a:pt x="395343" y="941505"/>
                        <a:pt x="398284" y="934976"/>
                        <a:pt x="401428" y="934888"/>
                      </a:cubicBezTo>
                      <a:cubicBezTo>
                        <a:pt x="408666" y="934647"/>
                        <a:pt x="411163" y="939971"/>
                        <a:pt x="417552" y="940161"/>
                      </a:cubicBezTo>
                      <a:cubicBezTo>
                        <a:pt x="416690" y="940883"/>
                        <a:pt x="415853" y="941593"/>
                        <a:pt x="414979" y="942303"/>
                      </a:cubicBezTo>
                      <a:cubicBezTo>
                        <a:pt x="416322" y="943520"/>
                        <a:pt x="417856" y="943901"/>
                        <a:pt x="418959" y="945396"/>
                      </a:cubicBezTo>
                      <a:cubicBezTo>
                        <a:pt x="414472" y="946284"/>
                        <a:pt x="407043" y="941226"/>
                        <a:pt x="400768" y="941010"/>
                      </a:cubicBezTo>
                      <a:cubicBezTo>
                        <a:pt x="393302" y="940769"/>
                        <a:pt x="382996" y="943393"/>
                        <a:pt x="375567" y="945054"/>
                      </a:cubicBezTo>
                      <a:cubicBezTo>
                        <a:pt x="369838" y="946347"/>
                        <a:pt x="362549" y="950074"/>
                        <a:pt x="356882" y="950644"/>
                      </a:cubicBezTo>
                      <a:cubicBezTo>
                        <a:pt x="349428" y="951354"/>
                        <a:pt x="342951" y="946816"/>
                        <a:pt x="335497" y="948781"/>
                      </a:cubicBezTo>
                      <a:cubicBezTo>
                        <a:pt x="335941" y="948312"/>
                        <a:pt x="336258" y="947767"/>
                        <a:pt x="336473" y="947133"/>
                      </a:cubicBezTo>
                      <a:cubicBezTo>
                        <a:pt x="324658" y="950353"/>
                        <a:pt x="319829" y="954333"/>
                        <a:pt x="306937" y="953053"/>
                      </a:cubicBezTo>
                      <a:cubicBezTo>
                        <a:pt x="301879" y="952559"/>
                        <a:pt x="270238" y="954904"/>
                        <a:pt x="285805" y="963815"/>
                      </a:cubicBezTo>
                      <a:cubicBezTo>
                        <a:pt x="282750" y="964880"/>
                        <a:pt x="280722" y="964766"/>
                        <a:pt x="277679" y="964310"/>
                      </a:cubicBezTo>
                      <a:cubicBezTo>
                        <a:pt x="284005" y="955449"/>
                        <a:pt x="273027" y="958364"/>
                        <a:pt x="270226" y="957794"/>
                      </a:cubicBezTo>
                      <a:cubicBezTo>
                        <a:pt x="266359" y="957008"/>
                        <a:pt x="262036" y="956463"/>
                        <a:pt x="256814" y="954967"/>
                      </a:cubicBezTo>
                      <a:cubicBezTo>
                        <a:pt x="250653" y="953205"/>
                        <a:pt x="242971" y="953306"/>
                        <a:pt x="240968" y="949034"/>
                      </a:cubicBezTo>
                      <a:cubicBezTo>
                        <a:pt x="239029" y="944877"/>
                        <a:pt x="240398" y="943343"/>
                        <a:pt x="244758" y="942836"/>
                      </a:cubicBezTo>
                      <a:cubicBezTo>
                        <a:pt x="240005" y="942227"/>
                        <a:pt x="235505" y="942874"/>
                        <a:pt x="231549" y="945523"/>
                      </a:cubicBezTo>
                      <a:cubicBezTo>
                        <a:pt x="238940" y="943710"/>
                        <a:pt x="241323" y="951735"/>
                        <a:pt x="229154" y="951608"/>
                      </a:cubicBezTo>
                      <a:cubicBezTo>
                        <a:pt x="213574" y="951443"/>
                        <a:pt x="206792" y="945802"/>
                        <a:pt x="194052" y="955183"/>
                      </a:cubicBezTo>
                      <a:cubicBezTo>
                        <a:pt x="206754" y="968620"/>
                        <a:pt x="175050" y="957680"/>
                        <a:pt x="169434" y="957528"/>
                      </a:cubicBezTo>
                      <a:cubicBezTo>
                        <a:pt x="166202" y="957439"/>
                        <a:pt x="163286" y="960291"/>
                        <a:pt x="159788" y="960443"/>
                      </a:cubicBezTo>
                      <a:cubicBezTo>
                        <a:pt x="154134" y="960709"/>
                        <a:pt x="148569" y="958162"/>
                        <a:pt x="143067" y="957490"/>
                      </a:cubicBezTo>
                      <a:cubicBezTo>
                        <a:pt x="139087" y="957008"/>
                        <a:pt x="116409" y="954384"/>
                        <a:pt x="121631" y="961090"/>
                      </a:cubicBezTo>
                      <a:cubicBezTo>
                        <a:pt x="116548" y="960684"/>
                        <a:pt x="105291" y="965983"/>
                        <a:pt x="114063" y="969900"/>
                      </a:cubicBezTo>
                      <a:cubicBezTo>
                        <a:pt x="111287" y="971104"/>
                        <a:pt x="108093" y="971244"/>
                        <a:pt x="104391" y="970154"/>
                      </a:cubicBezTo>
                      <a:cubicBezTo>
                        <a:pt x="122557" y="962649"/>
                        <a:pt x="78734" y="954866"/>
                        <a:pt x="92627" y="969482"/>
                      </a:cubicBezTo>
                      <a:cubicBezTo>
                        <a:pt x="87392" y="969963"/>
                        <a:pt x="81307" y="968391"/>
                        <a:pt x="76439" y="970179"/>
                      </a:cubicBezTo>
                      <a:cubicBezTo>
                        <a:pt x="73638" y="971218"/>
                        <a:pt x="74652" y="976454"/>
                        <a:pt x="69949" y="976479"/>
                      </a:cubicBezTo>
                      <a:cubicBezTo>
                        <a:pt x="60695" y="976530"/>
                        <a:pt x="67984" y="968176"/>
                        <a:pt x="69150" y="962903"/>
                      </a:cubicBezTo>
                      <a:cubicBezTo>
                        <a:pt x="64714" y="963803"/>
                        <a:pt x="60429" y="961166"/>
                        <a:pt x="54991" y="962041"/>
                      </a:cubicBezTo>
                      <a:cubicBezTo>
                        <a:pt x="59630" y="952330"/>
                        <a:pt x="59352" y="936941"/>
                        <a:pt x="60835" y="926888"/>
                      </a:cubicBezTo>
                      <a:cubicBezTo>
                        <a:pt x="61291" y="923719"/>
                        <a:pt x="59795" y="919346"/>
                        <a:pt x="61126" y="916532"/>
                      </a:cubicBezTo>
                      <a:cubicBezTo>
                        <a:pt x="62445" y="913654"/>
                        <a:pt x="66045" y="913819"/>
                        <a:pt x="68111" y="909433"/>
                      </a:cubicBezTo>
                      <a:cubicBezTo>
                        <a:pt x="72675" y="899748"/>
                        <a:pt x="67224" y="887274"/>
                        <a:pt x="76008" y="880011"/>
                      </a:cubicBezTo>
                      <a:cubicBezTo>
                        <a:pt x="81371" y="875612"/>
                        <a:pt x="93895" y="873039"/>
                        <a:pt x="98218" y="870592"/>
                      </a:cubicBezTo>
                      <a:cubicBezTo>
                        <a:pt x="101843" y="868538"/>
                        <a:pt x="101932" y="871277"/>
                        <a:pt x="104429" y="868779"/>
                      </a:cubicBezTo>
                      <a:cubicBezTo>
                        <a:pt x="104822" y="868374"/>
                        <a:pt x="106343" y="862974"/>
                        <a:pt x="107383" y="861579"/>
                      </a:cubicBezTo>
                      <a:cubicBezTo>
                        <a:pt x="109234" y="859120"/>
                        <a:pt x="112973" y="856052"/>
                        <a:pt x="117055" y="854911"/>
                      </a:cubicBezTo>
                      <a:cubicBezTo>
                        <a:pt x="124306" y="852858"/>
                        <a:pt x="131696" y="852934"/>
                        <a:pt x="138516" y="851298"/>
                      </a:cubicBezTo>
                      <a:cubicBezTo>
                        <a:pt x="145780" y="849549"/>
                        <a:pt x="157506" y="851666"/>
                        <a:pt x="165543" y="849372"/>
                      </a:cubicBezTo>
                      <a:cubicBezTo>
                        <a:pt x="169625" y="848205"/>
                        <a:pt x="168750" y="851387"/>
                        <a:pt x="171856" y="847027"/>
                      </a:cubicBezTo>
                      <a:cubicBezTo>
                        <a:pt x="174163" y="843832"/>
                        <a:pt x="171830" y="837595"/>
                        <a:pt x="172832" y="833919"/>
                      </a:cubicBezTo>
                      <a:cubicBezTo>
                        <a:pt x="173478" y="831523"/>
                        <a:pt x="177877" y="832563"/>
                        <a:pt x="178156" y="831181"/>
                      </a:cubicBezTo>
                      <a:cubicBezTo>
                        <a:pt x="179132" y="826465"/>
                        <a:pt x="171361" y="809098"/>
                        <a:pt x="182998" y="811241"/>
                      </a:cubicBezTo>
                      <a:cubicBezTo>
                        <a:pt x="178549" y="790755"/>
                        <a:pt x="152194" y="808769"/>
                        <a:pt x="140304" y="799413"/>
                      </a:cubicBezTo>
                      <a:cubicBezTo>
                        <a:pt x="144335" y="794913"/>
                        <a:pt x="145184" y="783352"/>
                        <a:pt x="145096" y="775303"/>
                      </a:cubicBezTo>
                      <a:cubicBezTo>
                        <a:pt x="144905" y="761549"/>
                        <a:pt x="140266" y="748378"/>
                        <a:pt x="140684" y="734915"/>
                      </a:cubicBezTo>
                      <a:cubicBezTo>
                        <a:pt x="140798" y="730947"/>
                        <a:pt x="144081" y="723646"/>
                        <a:pt x="140469" y="720882"/>
                      </a:cubicBezTo>
                      <a:cubicBezTo>
                        <a:pt x="138339" y="719247"/>
                        <a:pt x="132432" y="723253"/>
                        <a:pt x="129833" y="722619"/>
                      </a:cubicBezTo>
                      <a:cubicBezTo>
                        <a:pt x="125815" y="721656"/>
                        <a:pt x="127095" y="721174"/>
                        <a:pt x="123038" y="718524"/>
                      </a:cubicBezTo>
                      <a:cubicBezTo>
                        <a:pt x="115914" y="713847"/>
                        <a:pt x="114761" y="710006"/>
                        <a:pt x="105672" y="706596"/>
                      </a:cubicBezTo>
                      <a:cubicBezTo>
                        <a:pt x="84350" y="698622"/>
                        <a:pt x="66755" y="694883"/>
                        <a:pt x="54420" y="672889"/>
                      </a:cubicBezTo>
                      <a:cubicBezTo>
                        <a:pt x="48222" y="661848"/>
                        <a:pt x="44013" y="654533"/>
                        <a:pt x="39627" y="644215"/>
                      </a:cubicBezTo>
                      <a:cubicBezTo>
                        <a:pt x="37053" y="638130"/>
                        <a:pt x="35849" y="634390"/>
                        <a:pt x="32870" y="629434"/>
                      </a:cubicBezTo>
                      <a:cubicBezTo>
                        <a:pt x="24947" y="616326"/>
                        <a:pt x="10268" y="604131"/>
                        <a:pt x="0" y="592596"/>
                      </a:cubicBezTo>
                      <a:cubicBezTo>
                        <a:pt x="24516" y="602636"/>
                        <a:pt x="51555" y="608657"/>
                        <a:pt x="76921" y="616377"/>
                      </a:cubicBezTo>
                      <a:cubicBezTo>
                        <a:pt x="90219" y="620434"/>
                        <a:pt x="104873" y="627089"/>
                        <a:pt x="118728" y="628407"/>
                      </a:cubicBezTo>
                      <a:cubicBezTo>
                        <a:pt x="130492" y="629523"/>
                        <a:pt x="143841" y="626721"/>
                        <a:pt x="155680" y="625669"/>
                      </a:cubicBezTo>
                      <a:cubicBezTo>
                        <a:pt x="167153" y="624617"/>
                        <a:pt x="178612" y="623603"/>
                        <a:pt x="190085" y="622576"/>
                      </a:cubicBezTo>
                      <a:cubicBezTo>
                        <a:pt x="199693" y="621714"/>
                        <a:pt x="206830" y="622551"/>
                        <a:pt x="216401" y="624300"/>
                      </a:cubicBezTo>
                      <a:cubicBezTo>
                        <a:pt x="221839" y="625301"/>
                        <a:pt x="236088" y="631285"/>
                        <a:pt x="240689" y="630106"/>
                      </a:cubicBezTo>
                      <a:cubicBezTo>
                        <a:pt x="242819" y="629561"/>
                        <a:pt x="248878" y="622056"/>
                        <a:pt x="252618" y="620269"/>
                      </a:cubicBezTo>
                      <a:cubicBezTo>
                        <a:pt x="261162" y="616200"/>
                        <a:pt x="269921" y="615870"/>
                        <a:pt x="279048" y="615807"/>
                      </a:cubicBezTo>
                      <a:cubicBezTo>
                        <a:pt x="295731" y="615718"/>
                        <a:pt x="308635" y="618519"/>
                        <a:pt x="324963" y="614019"/>
                      </a:cubicBezTo>
                      <a:cubicBezTo>
                        <a:pt x="347971" y="607643"/>
                        <a:pt x="391540" y="603929"/>
                        <a:pt x="406321" y="584686"/>
                      </a:cubicBezTo>
                      <a:cubicBezTo>
                        <a:pt x="393860" y="573607"/>
                        <a:pt x="401820" y="570082"/>
                        <a:pt x="403735" y="554896"/>
                      </a:cubicBezTo>
                      <a:cubicBezTo>
                        <a:pt x="405776" y="538860"/>
                        <a:pt x="398588" y="530709"/>
                        <a:pt x="406295" y="513456"/>
                      </a:cubicBezTo>
                      <a:cubicBezTo>
                        <a:pt x="411214" y="502517"/>
                        <a:pt x="410795" y="508221"/>
                        <a:pt x="420949" y="502669"/>
                      </a:cubicBezTo>
                      <a:cubicBezTo>
                        <a:pt x="429810" y="497814"/>
                        <a:pt x="427275" y="491501"/>
                        <a:pt x="432422" y="485264"/>
                      </a:cubicBezTo>
                      <a:cubicBezTo>
                        <a:pt x="433740" y="483654"/>
                        <a:pt x="439723" y="479952"/>
                        <a:pt x="441980" y="478875"/>
                      </a:cubicBezTo>
                      <a:cubicBezTo>
                        <a:pt x="450270" y="474894"/>
                        <a:pt x="451246" y="476314"/>
                        <a:pt x="456951" y="477848"/>
                      </a:cubicBezTo>
                      <a:cubicBezTo>
                        <a:pt x="454276" y="477125"/>
                        <a:pt x="460285" y="481334"/>
                        <a:pt x="460842" y="481626"/>
                      </a:cubicBezTo>
                      <a:cubicBezTo>
                        <a:pt x="462934" y="482703"/>
                        <a:pt x="471934" y="483147"/>
                        <a:pt x="474989" y="483223"/>
                      </a:cubicBezTo>
                      <a:cubicBezTo>
                        <a:pt x="480884" y="483375"/>
                        <a:pt x="508240" y="479179"/>
                        <a:pt x="511029" y="473639"/>
                      </a:cubicBezTo>
                      <a:cubicBezTo>
                        <a:pt x="516201" y="463321"/>
                        <a:pt x="491963" y="470977"/>
                        <a:pt x="496438" y="459480"/>
                      </a:cubicBezTo>
                      <a:cubicBezTo>
                        <a:pt x="495678" y="461381"/>
                        <a:pt x="518318" y="449922"/>
                        <a:pt x="520473" y="448806"/>
                      </a:cubicBezTo>
                      <a:cubicBezTo>
                        <a:pt x="524580" y="446676"/>
                        <a:pt x="528484" y="448198"/>
                        <a:pt x="532883" y="443964"/>
                      </a:cubicBezTo>
                      <a:cubicBezTo>
                        <a:pt x="535431" y="441517"/>
                        <a:pt x="536686" y="433987"/>
                        <a:pt x="540743" y="433328"/>
                      </a:cubicBezTo>
                      <a:cubicBezTo>
                        <a:pt x="543189" y="432922"/>
                        <a:pt x="548741" y="437537"/>
                        <a:pt x="550909" y="438310"/>
                      </a:cubicBezTo>
                      <a:cubicBezTo>
                        <a:pt x="556284" y="440224"/>
                        <a:pt x="564929" y="443026"/>
                        <a:pt x="569658" y="439235"/>
                      </a:cubicBezTo>
                      <a:cubicBezTo>
                        <a:pt x="566742" y="439185"/>
                        <a:pt x="562407" y="437372"/>
                        <a:pt x="559960" y="436839"/>
                      </a:cubicBezTo>
                      <a:cubicBezTo>
                        <a:pt x="574323" y="423428"/>
                        <a:pt x="580813" y="449491"/>
                        <a:pt x="589940" y="451341"/>
                      </a:cubicBezTo>
                      <a:cubicBezTo>
                        <a:pt x="601349" y="453636"/>
                        <a:pt x="621188" y="433607"/>
                        <a:pt x="624167" y="424873"/>
                      </a:cubicBezTo>
                      <a:cubicBezTo>
                        <a:pt x="627653" y="414579"/>
                        <a:pt x="618399" y="395552"/>
                        <a:pt x="619869" y="383928"/>
                      </a:cubicBezTo>
                      <a:cubicBezTo>
                        <a:pt x="620960" y="375244"/>
                        <a:pt x="627792" y="376195"/>
                        <a:pt x="631582" y="370009"/>
                      </a:cubicBezTo>
                      <a:cubicBezTo>
                        <a:pt x="635347" y="363911"/>
                        <a:pt x="630328" y="360831"/>
                        <a:pt x="631050" y="358004"/>
                      </a:cubicBezTo>
                      <a:cubicBezTo>
                        <a:pt x="632216" y="353466"/>
                        <a:pt x="637059" y="350360"/>
                        <a:pt x="638783" y="345606"/>
                      </a:cubicBezTo>
                      <a:cubicBezTo>
                        <a:pt x="642751" y="334654"/>
                        <a:pt x="635221" y="335719"/>
                        <a:pt x="647897" y="330851"/>
                      </a:cubicBezTo>
                      <a:cubicBezTo>
                        <a:pt x="654248" y="328417"/>
                        <a:pt x="660485" y="330876"/>
                        <a:pt x="666456" y="330078"/>
                      </a:cubicBezTo>
                      <a:cubicBezTo>
                        <a:pt x="673884" y="329089"/>
                        <a:pt x="677155" y="324272"/>
                        <a:pt x="682187" y="321356"/>
                      </a:cubicBezTo>
                      <a:cubicBezTo>
                        <a:pt x="686548" y="318808"/>
                        <a:pt x="699199" y="316058"/>
                        <a:pt x="699098" y="308439"/>
                      </a:cubicBezTo>
                      <a:cubicBezTo>
                        <a:pt x="699047" y="302367"/>
                        <a:pt x="690148" y="300896"/>
                        <a:pt x="688627" y="296409"/>
                      </a:cubicBezTo>
                      <a:cubicBezTo>
                        <a:pt x="686814" y="290996"/>
                        <a:pt x="689388" y="287878"/>
                        <a:pt x="686992" y="283327"/>
                      </a:cubicBezTo>
                      <a:cubicBezTo>
                        <a:pt x="682859" y="275455"/>
                        <a:pt x="680184" y="280386"/>
                        <a:pt x="673719" y="275379"/>
                      </a:cubicBezTo>
                      <a:cubicBezTo>
                        <a:pt x="664643" y="268356"/>
                        <a:pt x="662830" y="252916"/>
                        <a:pt x="675215" y="251217"/>
                      </a:cubicBezTo>
                      <a:cubicBezTo>
                        <a:pt x="683011" y="250127"/>
                        <a:pt x="694610" y="257124"/>
                        <a:pt x="702634" y="258557"/>
                      </a:cubicBezTo>
                      <a:cubicBezTo>
                        <a:pt x="711888" y="260217"/>
                        <a:pt x="722917" y="260522"/>
                        <a:pt x="732158" y="258772"/>
                      </a:cubicBezTo>
                      <a:cubicBezTo>
                        <a:pt x="742451" y="256807"/>
                        <a:pt x="753201" y="254183"/>
                        <a:pt x="756776" y="244055"/>
                      </a:cubicBezTo>
                      <a:cubicBezTo>
                        <a:pt x="757853" y="241000"/>
                        <a:pt x="761187" y="229870"/>
                        <a:pt x="760034" y="226954"/>
                      </a:cubicBezTo>
                      <a:cubicBezTo>
                        <a:pt x="758449" y="222847"/>
                        <a:pt x="746394" y="219564"/>
                        <a:pt x="747497" y="212718"/>
                      </a:cubicBezTo>
                      <a:cubicBezTo>
                        <a:pt x="748473" y="206583"/>
                        <a:pt x="753265" y="210779"/>
                        <a:pt x="756421" y="207027"/>
                      </a:cubicBezTo>
                      <a:cubicBezTo>
                        <a:pt x="757575" y="205645"/>
                        <a:pt x="755217" y="202235"/>
                        <a:pt x="755888" y="201424"/>
                      </a:cubicBezTo>
                      <a:cubicBezTo>
                        <a:pt x="758208" y="198597"/>
                        <a:pt x="762214" y="196607"/>
                        <a:pt x="764762" y="193868"/>
                      </a:cubicBezTo>
                      <a:cubicBezTo>
                        <a:pt x="767120" y="191333"/>
                        <a:pt x="768565" y="187125"/>
                        <a:pt x="770821" y="184931"/>
                      </a:cubicBezTo>
                      <a:cubicBezTo>
                        <a:pt x="774536" y="181281"/>
                        <a:pt x="778301" y="180862"/>
                        <a:pt x="782306" y="177706"/>
                      </a:cubicBezTo>
                      <a:cubicBezTo>
                        <a:pt x="786857" y="174106"/>
                        <a:pt x="785881" y="171393"/>
                        <a:pt x="788404" y="167806"/>
                      </a:cubicBezTo>
                      <a:cubicBezTo>
                        <a:pt x="789950" y="165612"/>
                        <a:pt x="796365" y="160643"/>
                        <a:pt x="796897" y="158476"/>
                      </a:cubicBezTo>
                      <a:cubicBezTo>
                        <a:pt x="798165" y="153278"/>
                        <a:pt x="794197" y="155763"/>
                        <a:pt x="793284" y="151199"/>
                      </a:cubicBezTo>
                      <a:cubicBezTo>
                        <a:pt x="792270" y="146230"/>
                        <a:pt x="791522" y="147371"/>
                        <a:pt x="791814" y="142605"/>
                      </a:cubicBezTo>
                      <a:cubicBezTo>
                        <a:pt x="791915" y="141071"/>
                        <a:pt x="795769" y="137458"/>
                        <a:pt x="796162" y="135024"/>
                      </a:cubicBezTo>
                      <a:cubicBezTo>
                        <a:pt x="796580" y="132311"/>
                        <a:pt x="792333" y="125504"/>
                        <a:pt x="791712" y="123615"/>
                      </a:cubicBezTo>
                      <a:cubicBezTo>
                        <a:pt x="791586" y="123235"/>
                        <a:pt x="787352" y="120421"/>
                        <a:pt x="786731" y="119280"/>
                      </a:cubicBezTo>
                      <a:cubicBezTo>
                        <a:pt x="786477" y="118785"/>
                        <a:pt x="789240" y="114957"/>
                        <a:pt x="788632" y="113056"/>
                      </a:cubicBezTo>
                      <a:cubicBezTo>
                        <a:pt x="785336" y="102636"/>
                        <a:pt x="776830" y="97514"/>
                        <a:pt x="770314" y="90986"/>
                      </a:cubicBezTo>
                      <a:cubicBezTo>
                        <a:pt x="764002" y="84673"/>
                        <a:pt x="762899" y="87943"/>
                        <a:pt x="766537" y="79856"/>
                      </a:cubicBezTo>
                      <a:cubicBezTo>
                        <a:pt x="768362" y="75850"/>
                        <a:pt x="774726" y="72960"/>
                        <a:pt x="777882" y="70437"/>
                      </a:cubicBezTo>
                      <a:cubicBezTo>
                        <a:pt x="782458" y="66774"/>
                        <a:pt x="789177" y="61728"/>
                        <a:pt x="791256" y="59142"/>
                      </a:cubicBezTo>
                      <a:cubicBezTo>
                        <a:pt x="791928" y="58280"/>
                        <a:pt x="793196" y="52943"/>
                        <a:pt x="794755" y="51993"/>
                      </a:cubicBezTo>
                      <a:cubicBezTo>
                        <a:pt x="799775" y="48912"/>
                        <a:pt x="797429" y="54008"/>
                        <a:pt x="803007" y="52956"/>
                      </a:cubicBezTo>
                      <a:cubicBezTo>
                        <a:pt x="804693" y="52639"/>
                        <a:pt x="806379" y="55086"/>
                        <a:pt x="809460" y="54135"/>
                      </a:cubicBezTo>
                      <a:cubicBezTo>
                        <a:pt x="808281" y="54490"/>
                        <a:pt x="808331" y="48279"/>
                        <a:pt x="809434" y="47176"/>
                      </a:cubicBezTo>
                      <a:cubicBezTo>
                        <a:pt x="811906" y="44793"/>
                        <a:pt x="822174" y="42435"/>
                        <a:pt x="826053" y="39937"/>
                      </a:cubicBezTo>
                      <a:cubicBezTo>
                        <a:pt x="830084" y="37339"/>
                        <a:pt x="830160" y="33384"/>
                        <a:pt x="837386" y="33434"/>
                      </a:cubicBezTo>
                      <a:cubicBezTo>
                        <a:pt x="833063" y="25651"/>
                        <a:pt x="847388" y="26500"/>
                        <a:pt x="852572" y="25043"/>
                      </a:cubicBezTo>
                      <a:cubicBezTo>
                        <a:pt x="861154" y="22647"/>
                        <a:pt x="868076" y="18552"/>
                        <a:pt x="877735" y="18197"/>
                      </a:cubicBezTo>
                      <a:cubicBezTo>
                        <a:pt x="891819" y="17677"/>
                        <a:pt x="904293" y="16143"/>
                        <a:pt x="918402" y="15459"/>
                      </a:cubicBezTo>
                      <a:cubicBezTo>
                        <a:pt x="935033" y="14648"/>
                        <a:pt x="949358" y="12087"/>
                        <a:pt x="965609" y="16701"/>
                      </a:cubicBezTo>
                      <a:cubicBezTo>
                        <a:pt x="982938" y="21633"/>
                        <a:pt x="984953" y="7257"/>
                        <a:pt x="1002422" y="4481"/>
                      </a:cubicBezTo>
                      <a:cubicBezTo>
                        <a:pt x="1003702" y="4291"/>
                        <a:pt x="1009267" y="5495"/>
                        <a:pt x="1008950" y="5597"/>
                      </a:cubicBezTo>
                      <a:cubicBezTo>
                        <a:pt x="1009178" y="5533"/>
                        <a:pt x="1010674" y="7777"/>
                        <a:pt x="1011675" y="7536"/>
                      </a:cubicBezTo>
                      <a:cubicBezTo>
                        <a:pt x="1013133" y="7207"/>
                        <a:pt x="1012132" y="3987"/>
                        <a:pt x="1013095" y="3733"/>
                      </a:cubicBezTo>
                      <a:cubicBezTo>
                        <a:pt x="1012842" y="3797"/>
                        <a:pt x="1017684" y="539"/>
                        <a:pt x="1020169" y="70"/>
                      </a:cubicBezTo>
                      <a:cubicBezTo>
                        <a:pt x="1023477" y="-513"/>
                        <a:pt x="1026913" y="2745"/>
                        <a:pt x="1031172" y="2935"/>
                      </a:cubicBezTo>
                      <a:lnTo>
                        <a:pt x="1031172" y="2935"/>
                      </a:lnTo>
                      <a:close/>
                    </a:path>
                  </a:pathLst>
                </a:custGeom>
                <a:solidFill>
                  <a:srgbClr val="D6D6D2"/>
                </a:solidFill>
                <a:ln w="12413" cap="rnd">
                  <a:solidFill>
                    <a:srgbClr val="FFFFFF"/>
                  </a:solidFill>
                  <a:prstDash val="solid"/>
                  <a:round/>
                </a:ln>
              </p:spPr>
              <p:txBody>
                <a:bodyPr rtlCol="0" anchor="ctr"/>
                <a:lstStyle/>
                <a:p>
                  <a:endParaRPr lang="en-US"/>
                </a:p>
              </p:txBody>
            </p:sp>
            <p:sp>
              <p:nvSpPr>
                <p:cNvPr id="82" name="Freeform: Shape 81">
                  <a:extLst>
                    <a:ext uri="{FF2B5EF4-FFF2-40B4-BE49-F238E27FC236}">
                      <a16:creationId xmlns:a16="http://schemas.microsoft.com/office/drawing/2014/main" id="{1E66A2AF-50FB-47B3-96BE-F7734BEACC25}"/>
                    </a:ext>
                  </a:extLst>
                </p:cNvPr>
                <p:cNvSpPr/>
                <p:nvPr/>
              </p:nvSpPr>
              <p:spPr>
                <a:xfrm>
                  <a:off x="6215" y="2913851"/>
                  <a:ext cx="341851" cy="678802"/>
                </a:xfrm>
                <a:custGeom>
                  <a:avLst/>
                  <a:gdLst>
                    <a:gd name="connsiteX0" fmla="*/ 1809 w 341851"/>
                    <a:gd name="connsiteY0" fmla="*/ 432079 h 678802"/>
                    <a:gd name="connsiteX1" fmla="*/ 18593 w 341851"/>
                    <a:gd name="connsiteY1" fmla="*/ 379649 h 678802"/>
                    <a:gd name="connsiteX2" fmla="*/ 28810 w 341851"/>
                    <a:gd name="connsiteY2" fmla="*/ 339211 h 678802"/>
                    <a:gd name="connsiteX3" fmla="*/ 1784 w 341851"/>
                    <a:gd name="connsiteY3" fmla="*/ 293525 h 678802"/>
                    <a:gd name="connsiteX4" fmla="*/ 9428 w 341851"/>
                    <a:gd name="connsiteY4" fmla="*/ 232893 h 678802"/>
                    <a:gd name="connsiteX5" fmla="*/ 22383 w 341851"/>
                    <a:gd name="connsiteY5" fmla="*/ 198400 h 678802"/>
                    <a:gd name="connsiteX6" fmla="*/ 16742 w 341851"/>
                    <a:gd name="connsiteY6" fmla="*/ 189780 h 678802"/>
                    <a:gd name="connsiteX7" fmla="*/ 29735 w 341851"/>
                    <a:gd name="connsiteY7" fmla="*/ 185141 h 678802"/>
                    <a:gd name="connsiteX8" fmla="*/ 53111 w 341851"/>
                    <a:gd name="connsiteY8" fmla="*/ 172464 h 678802"/>
                    <a:gd name="connsiteX9" fmla="*/ 39293 w 341851"/>
                    <a:gd name="connsiteY9" fmla="*/ 169143 h 678802"/>
                    <a:gd name="connsiteX10" fmla="*/ 41461 w 341851"/>
                    <a:gd name="connsiteY10" fmla="*/ 154768 h 678802"/>
                    <a:gd name="connsiteX11" fmla="*/ 41905 w 341851"/>
                    <a:gd name="connsiteY11" fmla="*/ 126157 h 678802"/>
                    <a:gd name="connsiteX12" fmla="*/ 59069 w 341851"/>
                    <a:gd name="connsiteY12" fmla="*/ 119692 h 678802"/>
                    <a:gd name="connsiteX13" fmla="*/ 53986 w 341851"/>
                    <a:gd name="connsiteY13" fmla="*/ 118133 h 678802"/>
                    <a:gd name="connsiteX14" fmla="*/ 68335 w 341851"/>
                    <a:gd name="connsiteY14" fmla="*/ 125523 h 678802"/>
                    <a:gd name="connsiteX15" fmla="*/ 80441 w 341851"/>
                    <a:gd name="connsiteY15" fmla="*/ 112403 h 678802"/>
                    <a:gd name="connsiteX16" fmla="*/ 93359 w 341851"/>
                    <a:gd name="connsiteY16" fmla="*/ 132292 h 678802"/>
                    <a:gd name="connsiteX17" fmla="*/ 117774 w 341851"/>
                    <a:gd name="connsiteY17" fmla="*/ 165771 h 678802"/>
                    <a:gd name="connsiteX18" fmla="*/ 181613 w 341851"/>
                    <a:gd name="connsiteY18" fmla="*/ 203750 h 678802"/>
                    <a:gd name="connsiteX19" fmla="*/ 204798 w 341851"/>
                    <a:gd name="connsiteY19" fmla="*/ 208503 h 678802"/>
                    <a:gd name="connsiteX20" fmla="*/ 229898 w 341851"/>
                    <a:gd name="connsiteY20" fmla="*/ 216591 h 678802"/>
                    <a:gd name="connsiteX21" fmla="*/ 250801 w 341851"/>
                    <a:gd name="connsiteY21" fmla="*/ 217631 h 678802"/>
                    <a:gd name="connsiteX22" fmla="*/ 258559 w 341851"/>
                    <a:gd name="connsiteY22" fmla="*/ 223589 h 678802"/>
                    <a:gd name="connsiteX23" fmla="*/ 271033 w 341851"/>
                    <a:gd name="connsiteY23" fmla="*/ 237938 h 678802"/>
                    <a:gd name="connsiteX24" fmla="*/ 284825 w 341851"/>
                    <a:gd name="connsiteY24" fmla="*/ 260300 h 678802"/>
                    <a:gd name="connsiteX25" fmla="*/ 318316 w 341851"/>
                    <a:gd name="connsiteY25" fmla="*/ 297683 h 678802"/>
                    <a:gd name="connsiteX26" fmla="*/ 316757 w 341851"/>
                    <a:gd name="connsiteY26" fmla="*/ 297442 h 678802"/>
                    <a:gd name="connsiteX27" fmla="*/ 331551 w 341851"/>
                    <a:gd name="connsiteY27" fmla="*/ 299977 h 678802"/>
                    <a:gd name="connsiteX28" fmla="*/ 334745 w 341851"/>
                    <a:gd name="connsiteY28" fmla="*/ 303780 h 678802"/>
                    <a:gd name="connsiteX29" fmla="*/ 333782 w 341851"/>
                    <a:gd name="connsiteY29" fmla="*/ 300345 h 678802"/>
                    <a:gd name="connsiteX30" fmla="*/ 328977 w 341851"/>
                    <a:gd name="connsiteY30" fmla="*/ 336879 h 678802"/>
                    <a:gd name="connsiteX31" fmla="*/ 305247 w 341851"/>
                    <a:gd name="connsiteY31" fmla="*/ 381006 h 678802"/>
                    <a:gd name="connsiteX32" fmla="*/ 265012 w 341851"/>
                    <a:gd name="connsiteY32" fmla="*/ 418566 h 678802"/>
                    <a:gd name="connsiteX33" fmla="*/ 258623 w 341851"/>
                    <a:gd name="connsiteY33" fmla="*/ 435261 h 678802"/>
                    <a:gd name="connsiteX34" fmla="*/ 244260 w 341851"/>
                    <a:gd name="connsiteY34" fmla="*/ 458016 h 678802"/>
                    <a:gd name="connsiteX35" fmla="*/ 225106 w 341851"/>
                    <a:gd name="connsiteY35" fmla="*/ 467333 h 678802"/>
                    <a:gd name="connsiteX36" fmla="*/ 220492 w 341851"/>
                    <a:gd name="connsiteY36" fmla="*/ 459917 h 678802"/>
                    <a:gd name="connsiteX37" fmla="*/ 222064 w 341851"/>
                    <a:gd name="connsiteY37" fmla="*/ 463124 h 678802"/>
                    <a:gd name="connsiteX38" fmla="*/ 210312 w 341851"/>
                    <a:gd name="connsiteY38" fmla="*/ 454606 h 678802"/>
                    <a:gd name="connsiteX39" fmla="*/ 208360 w 341851"/>
                    <a:gd name="connsiteY39" fmla="*/ 459892 h 678802"/>
                    <a:gd name="connsiteX40" fmla="*/ 202529 w 341851"/>
                    <a:gd name="connsiteY40" fmla="*/ 463314 h 678802"/>
                    <a:gd name="connsiteX41" fmla="*/ 202668 w 341851"/>
                    <a:gd name="connsiteY41" fmla="*/ 468220 h 678802"/>
                    <a:gd name="connsiteX42" fmla="*/ 197091 w 341851"/>
                    <a:gd name="connsiteY42" fmla="*/ 472936 h 678802"/>
                    <a:gd name="connsiteX43" fmla="*/ 187343 w 341851"/>
                    <a:gd name="connsiteY43" fmla="*/ 507099 h 678802"/>
                    <a:gd name="connsiteX44" fmla="*/ 188014 w 341851"/>
                    <a:gd name="connsiteY44" fmla="*/ 540654 h 678802"/>
                    <a:gd name="connsiteX45" fmla="*/ 188927 w 341851"/>
                    <a:gd name="connsiteY45" fmla="*/ 557095 h 678802"/>
                    <a:gd name="connsiteX46" fmla="*/ 189700 w 341851"/>
                    <a:gd name="connsiteY46" fmla="*/ 573474 h 678802"/>
                    <a:gd name="connsiteX47" fmla="*/ 164778 w 341851"/>
                    <a:gd name="connsiteY47" fmla="*/ 575882 h 678802"/>
                    <a:gd name="connsiteX48" fmla="*/ 128967 w 341851"/>
                    <a:gd name="connsiteY48" fmla="*/ 584578 h 678802"/>
                    <a:gd name="connsiteX49" fmla="*/ 102638 w 341851"/>
                    <a:gd name="connsiteY49" fmla="*/ 616472 h 678802"/>
                    <a:gd name="connsiteX50" fmla="*/ 87021 w 341851"/>
                    <a:gd name="connsiteY50" fmla="*/ 646364 h 678802"/>
                    <a:gd name="connsiteX51" fmla="*/ 80530 w 341851"/>
                    <a:gd name="connsiteY51" fmla="*/ 652435 h 678802"/>
                    <a:gd name="connsiteX52" fmla="*/ 65939 w 341851"/>
                    <a:gd name="connsiteY52" fmla="*/ 652702 h 678802"/>
                    <a:gd name="connsiteX53" fmla="*/ 31700 w 341851"/>
                    <a:gd name="connsiteY53" fmla="*/ 655883 h 678802"/>
                    <a:gd name="connsiteX54" fmla="*/ 1809 w 341851"/>
                    <a:gd name="connsiteY54" fmla="*/ 678803 h 678802"/>
                    <a:gd name="connsiteX55" fmla="*/ 1809 w 341851"/>
                    <a:gd name="connsiteY55" fmla="*/ 432079 h 678802"/>
                    <a:gd name="connsiteX56" fmla="*/ 1809 w 341851"/>
                    <a:gd name="connsiteY56" fmla="*/ 432079 h 678802"/>
                    <a:gd name="connsiteX57" fmla="*/ 84232 w 341851"/>
                    <a:gd name="connsiteY57" fmla="*/ 0 h 678802"/>
                    <a:gd name="connsiteX58" fmla="*/ 86742 w 341851"/>
                    <a:gd name="connsiteY58" fmla="*/ 1078 h 678802"/>
                    <a:gd name="connsiteX59" fmla="*/ 92902 w 341851"/>
                    <a:gd name="connsiteY59" fmla="*/ 4297 h 678802"/>
                    <a:gd name="connsiteX60" fmla="*/ 92345 w 341851"/>
                    <a:gd name="connsiteY60" fmla="*/ 2700 h 678802"/>
                    <a:gd name="connsiteX61" fmla="*/ 93917 w 341851"/>
                    <a:gd name="connsiteY61" fmla="*/ 2155 h 678802"/>
                    <a:gd name="connsiteX62" fmla="*/ 94500 w 341851"/>
                    <a:gd name="connsiteY62" fmla="*/ 4906 h 678802"/>
                    <a:gd name="connsiteX63" fmla="*/ 92091 w 341851"/>
                    <a:gd name="connsiteY63" fmla="*/ 10775 h 678802"/>
                    <a:gd name="connsiteX64" fmla="*/ 90849 w 341851"/>
                    <a:gd name="connsiteY64" fmla="*/ 14489 h 678802"/>
                    <a:gd name="connsiteX65" fmla="*/ 88795 w 341851"/>
                    <a:gd name="connsiteY65" fmla="*/ 12955 h 678802"/>
                    <a:gd name="connsiteX66" fmla="*/ 92345 w 341851"/>
                    <a:gd name="connsiteY66" fmla="*/ 18901 h 678802"/>
                    <a:gd name="connsiteX67" fmla="*/ 86742 w 341851"/>
                    <a:gd name="connsiteY67" fmla="*/ 15694 h 678802"/>
                    <a:gd name="connsiteX68" fmla="*/ 84789 w 341851"/>
                    <a:gd name="connsiteY68" fmla="*/ 16720 h 678802"/>
                    <a:gd name="connsiteX69" fmla="*/ 85816 w 341851"/>
                    <a:gd name="connsiteY69" fmla="*/ 14565 h 678802"/>
                    <a:gd name="connsiteX70" fmla="*/ 81722 w 341851"/>
                    <a:gd name="connsiteY70" fmla="*/ 21601 h 678802"/>
                    <a:gd name="connsiteX71" fmla="*/ 83775 w 341851"/>
                    <a:gd name="connsiteY71" fmla="*/ 18913 h 678802"/>
                    <a:gd name="connsiteX72" fmla="*/ 91838 w 341851"/>
                    <a:gd name="connsiteY72" fmla="*/ 22628 h 678802"/>
                    <a:gd name="connsiteX73" fmla="*/ 85233 w 341851"/>
                    <a:gd name="connsiteY73" fmla="*/ 28636 h 678802"/>
                    <a:gd name="connsiteX74" fmla="*/ 88136 w 341851"/>
                    <a:gd name="connsiteY74" fmla="*/ 28573 h 678802"/>
                    <a:gd name="connsiteX75" fmla="*/ 90405 w 341851"/>
                    <a:gd name="connsiteY75" fmla="*/ 34556 h 678802"/>
                    <a:gd name="connsiteX76" fmla="*/ 89328 w 341851"/>
                    <a:gd name="connsiteY76" fmla="*/ 36191 h 678802"/>
                    <a:gd name="connsiteX77" fmla="*/ 79199 w 341851"/>
                    <a:gd name="connsiteY77" fmla="*/ 50693 h 678802"/>
                    <a:gd name="connsiteX78" fmla="*/ 79199 w 341851"/>
                    <a:gd name="connsiteY78" fmla="*/ 49033 h 678802"/>
                    <a:gd name="connsiteX79" fmla="*/ 77513 w 341851"/>
                    <a:gd name="connsiteY79" fmla="*/ 59668 h 678802"/>
                    <a:gd name="connsiteX80" fmla="*/ 62606 w 341851"/>
                    <a:gd name="connsiteY80" fmla="*/ 25594 h 678802"/>
                    <a:gd name="connsiteX81" fmla="*/ 72252 w 341851"/>
                    <a:gd name="connsiteY81" fmla="*/ 9672 h 678802"/>
                    <a:gd name="connsiteX82" fmla="*/ 72582 w 341851"/>
                    <a:gd name="connsiteY82" fmla="*/ 14046 h 678802"/>
                    <a:gd name="connsiteX83" fmla="*/ 78692 w 341851"/>
                    <a:gd name="connsiteY83" fmla="*/ 15098 h 678802"/>
                    <a:gd name="connsiteX84" fmla="*/ 86742 w 341851"/>
                    <a:gd name="connsiteY84" fmla="*/ 13475 h 678802"/>
                    <a:gd name="connsiteX85" fmla="*/ 79668 w 341851"/>
                    <a:gd name="connsiteY85" fmla="*/ 12955 h 678802"/>
                    <a:gd name="connsiteX86" fmla="*/ 80226 w 341851"/>
                    <a:gd name="connsiteY86" fmla="*/ 7530 h 678802"/>
                    <a:gd name="connsiteX87" fmla="*/ 83370 w 341851"/>
                    <a:gd name="connsiteY87" fmla="*/ 9533 h 678802"/>
                    <a:gd name="connsiteX88" fmla="*/ 80695 w 341851"/>
                    <a:gd name="connsiteY88" fmla="*/ 6009 h 678802"/>
                    <a:gd name="connsiteX89" fmla="*/ 84232 w 341851"/>
                    <a:gd name="connsiteY89" fmla="*/ 0 h 678802"/>
                    <a:gd name="connsiteX90" fmla="*/ 84232 w 341851"/>
                    <a:gd name="connsiteY90" fmla="*/ 0 h 678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341851" h="678802">
                      <a:moveTo>
                        <a:pt x="1809" y="432079"/>
                      </a:moveTo>
                      <a:cubicBezTo>
                        <a:pt x="7437" y="414611"/>
                        <a:pt x="13028" y="397130"/>
                        <a:pt x="18593" y="379649"/>
                      </a:cubicBezTo>
                      <a:cubicBezTo>
                        <a:pt x="22129" y="368507"/>
                        <a:pt x="31599" y="350455"/>
                        <a:pt x="28810" y="339211"/>
                      </a:cubicBezTo>
                      <a:cubicBezTo>
                        <a:pt x="24728" y="322770"/>
                        <a:pt x="5574" y="310156"/>
                        <a:pt x="1784" y="293525"/>
                      </a:cubicBezTo>
                      <a:cubicBezTo>
                        <a:pt x="-2691" y="273851"/>
                        <a:pt x="1771" y="250742"/>
                        <a:pt x="9428" y="232893"/>
                      </a:cubicBezTo>
                      <a:cubicBezTo>
                        <a:pt x="13763" y="222815"/>
                        <a:pt x="24437" y="209467"/>
                        <a:pt x="22383" y="198400"/>
                      </a:cubicBezTo>
                      <a:cubicBezTo>
                        <a:pt x="21774" y="195104"/>
                        <a:pt x="15563" y="192810"/>
                        <a:pt x="16742" y="189780"/>
                      </a:cubicBezTo>
                      <a:cubicBezTo>
                        <a:pt x="16818" y="189628"/>
                        <a:pt x="28341" y="185331"/>
                        <a:pt x="29735" y="185141"/>
                      </a:cubicBezTo>
                      <a:cubicBezTo>
                        <a:pt x="37354" y="184076"/>
                        <a:pt x="65965" y="187422"/>
                        <a:pt x="53111" y="172464"/>
                      </a:cubicBezTo>
                      <a:cubicBezTo>
                        <a:pt x="49042" y="167748"/>
                        <a:pt x="42627" y="173567"/>
                        <a:pt x="39293" y="169143"/>
                      </a:cubicBezTo>
                      <a:cubicBezTo>
                        <a:pt x="39484" y="169409"/>
                        <a:pt x="41499" y="156416"/>
                        <a:pt x="41461" y="154768"/>
                      </a:cubicBezTo>
                      <a:cubicBezTo>
                        <a:pt x="41068" y="144398"/>
                        <a:pt x="41055" y="136792"/>
                        <a:pt x="41905" y="126157"/>
                      </a:cubicBezTo>
                      <a:cubicBezTo>
                        <a:pt x="42830" y="114684"/>
                        <a:pt x="60324" y="102578"/>
                        <a:pt x="59069" y="119692"/>
                      </a:cubicBezTo>
                      <a:cubicBezTo>
                        <a:pt x="57243" y="118830"/>
                        <a:pt x="55431" y="118716"/>
                        <a:pt x="53986" y="118133"/>
                      </a:cubicBezTo>
                      <a:cubicBezTo>
                        <a:pt x="60032" y="129453"/>
                        <a:pt x="59310" y="130201"/>
                        <a:pt x="68335" y="125523"/>
                      </a:cubicBezTo>
                      <a:cubicBezTo>
                        <a:pt x="71771" y="123761"/>
                        <a:pt x="78527" y="113265"/>
                        <a:pt x="80441" y="112403"/>
                      </a:cubicBezTo>
                      <a:cubicBezTo>
                        <a:pt x="88250" y="108917"/>
                        <a:pt x="89911" y="124864"/>
                        <a:pt x="93359" y="132292"/>
                      </a:cubicBezTo>
                      <a:cubicBezTo>
                        <a:pt x="99672" y="145843"/>
                        <a:pt x="109192" y="153982"/>
                        <a:pt x="117774" y="165771"/>
                      </a:cubicBezTo>
                      <a:cubicBezTo>
                        <a:pt x="134950" y="189337"/>
                        <a:pt x="154219" y="195611"/>
                        <a:pt x="181613" y="203750"/>
                      </a:cubicBezTo>
                      <a:cubicBezTo>
                        <a:pt x="189637" y="206158"/>
                        <a:pt x="195925" y="207451"/>
                        <a:pt x="204798" y="208503"/>
                      </a:cubicBezTo>
                      <a:cubicBezTo>
                        <a:pt x="214458" y="209644"/>
                        <a:pt x="221214" y="215285"/>
                        <a:pt x="229898" y="216591"/>
                      </a:cubicBezTo>
                      <a:cubicBezTo>
                        <a:pt x="240394" y="218188"/>
                        <a:pt x="241687" y="212801"/>
                        <a:pt x="250801" y="217631"/>
                      </a:cubicBezTo>
                      <a:cubicBezTo>
                        <a:pt x="253768" y="219177"/>
                        <a:pt x="257152" y="222929"/>
                        <a:pt x="258559" y="223589"/>
                      </a:cubicBezTo>
                      <a:cubicBezTo>
                        <a:pt x="261475" y="222549"/>
                        <a:pt x="267737" y="233654"/>
                        <a:pt x="271033" y="237938"/>
                      </a:cubicBezTo>
                      <a:cubicBezTo>
                        <a:pt x="276218" y="244594"/>
                        <a:pt x="279387" y="254380"/>
                        <a:pt x="284825" y="260300"/>
                      </a:cubicBezTo>
                      <a:cubicBezTo>
                        <a:pt x="296386" y="272850"/>
                        <a:pt x="306400" y="285551"/>
                        <a:pt x="318316" y="297683"/>
                      </a:cubicBezTo>
                      <a:cubicBezTo>
                        <a:pt x="317974" y="298038"/>
                        <a:pt x="316732" y="297505"/>
                        <a:pt x="316757" y="297442"/>
                      </a:cubicBezTo>
                      <a:cubicBezTo>
                        <a:pt x="318380" y="298925"/>
                        <a:pt x="327836" y="299584"/>
                        <a:pt x="331551" y="299977"/>
                      </a:cubicBezTo>
                      <a:cubicBezTo>
                        <a:pt x="330790" y="299901"/>
                        <a:pt x="334847" y="303882"/>
                        <a:pt x="334745" y="303780"/>
                      </a:cubicBezTo>
                      <a:cubicBezTo>
                        <a:pt x="334656" y="302944"/>
                        <a:pt x="334010" y="301220"/>
                        <a:pt x="333782" y="300345"/>
                      </a:cubicBezTo>
                      <a:cubicBezTo>
                        <a:pt x="353367" y="298659"/>
                        <a:pt x="331462" y="331833"/>
                        <a:pt x="328977" y="336879"/>
                      </a:cubicBezTo>
                      <a:cubicBezTo>
                        <a:pt x="322310" y="350379"/>
                        <a:pt x="316073" y="368494"/>
                        <a:pt x="305247" y="381006"/>
                      </a:cubicBezTo>
                      <a:cubicBezTo>
                        <a:pt x="294016" y="393974"/>
                        <a:pt x="276104" y="402366"/>
                        <a:pt x="265012" y="418566"/>
                      </a:cubicBezTo>
                      <a:cubicBezTo>
                        <a:pt x="261842" y="423180"/>
                        <a:pt x="248342" y="438836"/>
                        <a:pt x="258623" y="435261"/>
                      </a:cubicBezTo>
                      <a:cubicBezTo>
                        <a:pt x="252335" y="441308"/>
                        <a:pt x="248811" y="447583"/>
                        <a:pt x="244260" y="458016"/>
                      </a:cubicBezTo>
                      <a:cubicBezTo>
                        <a:pt x="238682" y="470794"/>
                        <a:pt x="236502" y="463441"/>
                        <a:pt x="225106" y="467333"/>
                      </a:cubicBezTo>
                      <a:cubicBezTo>
                        <a:pt x="223078" y="466788"/>
                        <a:pt x="219047" y="464493"/>
                        <a:pt x="220492" y="459917"/>
                      </a:cubicBezTo>
                      <a:cubicBezTo>
                        <a:pt x="220935" y="461147"/>
                        <a:pt x="220555" y="462351"/>
                        <a:pt x="222064" y="463124"/>
                      </a:cubicBezTo>
                      <a:cubicBezTo>
                        <a:pt x="221138" y="451918"/>
                        <a:pt x="224941" y="442221"/>
                        <a:pt x="210312" y="454606"/>
                      </a:cubicBezTo>
                      <a:cubicBezTo>
                        <a:pt x="209501" y="455290"/>
                        <a:pt x="208981" y="458953"/>
                        <a:pt x="208360" y="459892"/>
                      </a:cubicBezTo>
                      <a:cubicBezTo>
                        <a:pt x="207448" y="461197"/>
                        <a:pt x="203797" y="461476"/>
                        <a:pt x="202529" y="463314"/>
                      </a:cubicBezTo>
                      <a:cubicBezTo>
                        <a:pt x="201540" y="464759"/>
                        <a:pt x="202529" y="468372"/>
                        <a:pt x="202668" y="468220"/>
                      </a:cubicBezTo>
                      <a:cubicBezTo>
                        <a:pt x="201781" y="469260"/>
                        <a:pt x="197611" y="472036"/>
                        <a:pt x="197091" y="472936"/>
                      </a:cubicBezTo>
                      <a:cubicBezTo>
                        <a:pt x="190943" y="483394"/>
                        <a:pt x="192920" y="494613"/>
                        <a:pt x="187343" y="507099"/>
                      </a:cubicBezTo>
                      <a:cubicBezTo>
                        <a:pt x="180586" y="522273"/>
                        <a:pt x="185150" y="525100"/>
                        <a:pt x="188014" y="540654"/>
                      </a:cubicBezTo>
                      <a:cubicBezTo>
                        <a:pt x="189067" y="546358"/>
                        <a:pt x="187609" y="551074"/>
                        <a:pt x="188927" y="557095"/>
                      </a:cubicBezTo>
                      <a:cubicBezTo>
                        <a:pt x="190207" y="562952"/>
                        <a:pt x="193934" y="568783"/>
                        <a:pt x="189700" y="573474"/>
                      </a:cubicBezTo>
                      <a:cubicBezTo>
                        <a:pt x="184921" y="578785"/>
                        <a:pt x="170964" y="575413"/>
                        <a:pt x="164778" y="575882"/>
                      </a:cubicBezTo>
                      <a:cubicBezTo>
                        <a:pt x="152698" y="576782"/>
                        <a:pt x="140008" y="579495"/>
                        <a:pt x="128967" y="584578"/>
                      </a:cubicBezTo>
                      <a:cubicBezTo>
                        <a:pt x="113781" y="591575"/>
                        <a:pt x="105642" y="600956"/>
                        <a:pt x="102638" y="616472"/>
                      </a:cubicBezTo>
                      <a:cubicBezTo>
                        <a:pt x="99798" y="630987"/>
                        <a:pt x="98404" y="637782"/>
                        <a:pt x="87021" y="646364"/>
                      </a:cubicBezTo>
                      <a:cubicBezTo>
                        <a:pt x="82939" y="649444"/>
                        <a:pt x="84308" y="651345"/>
                        <a:pt x="80530" y="652435"/>
                      </a:cubicBezTo>
                      <a:cubicBezTo>
                        <a:pt x="77488" y="653335"/>
                        <a:pt x="69666" y="652423"/>
                        <a:pt x="65939" y="652702"/>
                      </a:cubicBezTo>
                      <a:cubicBezTo>
                        <a:pt x="54962" y="653525"/>
                        <a:pt x="42805" y="654109"/>
                        <a:pt x="31700" y="655883"/>
                      </a:cubicBezTo>
                      <a:cubicBezTo>
                        <a:pt x="14714" y="658584"/>
                        <a:pt x="13154" y="667039"/>
                        <a:pt x="1809" y="678803"/>
                      </a:cubicBezTo>
                      <a:cubicBezTo>
                        <a:pt x="1809" y="596532"/>
                        <a:pt x="1809" y="514299"/>
                        <a:pt x="1809" y="432079"/>
                      </a:cubicBezTo>
                      <a:lnTo>
                        <a:pt x="1809" y="432079"/>
                      </a:lnTo>
                      <a:close/>
                      <a:moveTo>
                        <a:pt x="84232" y="0"/>
                      </a:moveTo>
                      <a:cubicBezTo>
                        <a:pt x="85309" y="1306"/>
                        <a:pt x="84815" y="3169"/>
                        <a:pt x="86742" y="1078"/>
                      </a:cubicBezTo>
                      <a:cubicBezTo>
                        <a:pt x="88098" y="3524"/>
                        <a:pt x="88859" y="3359"/>
                        <a:pt x="92902" y="4297"/>
                      </a:cubicBezTo>
                      <a:cubicBezTo>
                        <a:pt x="92826" y="4335"/>
                        <a:pt x="92395" y="2675"/>
                        <a:pt x="92345" y="2700"/>
                      </a:cubicBezTo>
                      <a:cubicBezTo>
                        <a:pt x="92877" y="2510"/>
                        <a:pt x="93397" y="2320"/>
                        <a:pt x="93917" y="2155"/>
                      </a:cubicBezTo>
                      <a:cubicBezTo>
                        <a:pt x="93929" y="2041"/>
                        <a:pt x="94525" y="4995"/>
                        <a:pt x="94500" y="4906"/>
                      </a:cubicBezTo>
                      <a:cubicBezTo>
                        <a:pt x="87553" y="4893"/>
                        <a:pt x="83534" y="11941"/>
                        <a:pt x="92091" y="10775"/>
                      </a:cubicBezTo>
                      <a:cubicBezTo>
                        <a:pt x="92598" y="10255"/>
                        <a:pt x="91407" y="13855"/>
                        <a:pt x="90849" y="14489"/>
                      </a:cubicBezTo>
                      <a:cubicBezTo>
                        <a:pt x="89581" y="13792"/>
                        <a:pt x="91014" y="12968"/>
                        <a:pt x="88795" y="12955"/>
                      </a:cubicBezTo>
                      <a:cubicBezTo>
                        <a:pt x="90126" y="14705"/>
                        <a:pt x="90532" y="16822"/>
                        <a:pt x="92345" y="18901"/>
                      </a:cubicBezTo>
                      <a:cubicBezTo>
                        <a:pt x="88643" y="18178"/>
                        <a:pt x="88859" y="17709"/>
                        <a:pt x="86742" y="15694"/>
                      </a:cubicBezTo>
                      <a:cubicBezTo>
                        <a:pt x="86590" y="15567"/>
                        <a:pt x="84992" y="16809"/>
                        <a:pt x="84789" y="16720"/>
                      </a:cubicBezTo>
                      <a:cubicBezTo>
                        <a:pt x="84371" y="15225"/>
                        <a:pt x="85411" y="15389"/>
                        <a:pt x="85816" y="14565"/>
                      </a:cubicBezTo>
                      <a:cubicBezTo>
                        <a:pt x="81354" y="15706"/>
                        <a:pt x="80834" y="16720"/>
                        <a:pt x="81722" y="21601"/>
                      </a:cubicBezTo>
                      <a:cubicBezTo>
                        <a:pt x="82558" y="20346"/>
                        <a:pt x="82406" y="19737"/>
                        <a:pt x="83775" y="18913"/>
                      </a:cubicBezTo>
                      <a:cubicBezTo>
                        <a:pt x="83801" y="23097"/>
                        <a:pt x="86856" y="24047"/>
                        <a:pt x="91838" y="22628"/>
                      </a:cubicBezTo>
                      <a:cubicBezTo>
                        <a:pt x="89442" y="24199"/>
                        <a:pt x="86577" y="27457"/>
                        <a:pt x="85233" y="28636"/>
                      </a:cubicBezTo>
                      <a:cubicBezTo>
                        <a:pt x="85499" y="28700"/>
                        <a:pt x="87743" y="28484"/>
                        <a:pt x="88136" y="28573"/>
                      </a:cubicBezTo>
                      <a:cubicBezTo>
                        <a:pt x="87033" y="32883"/>
                        <a:pt x="86678" y="31704"/>
                        <a:pt x="90405" y="34556"/>
                      </a:cubicBezTo>
                      <a:cubicBezTo>
                        <a:pt x="89898" y="34556"/>
                        <a:pt x="89036" y="35799"/>
                        <a:pt x="89328" y="36191"/>
                      </a:cubicBezTo>
                      <a:cubicBezTo>
                        <a:pt x="84523" y="34759"/>
                        <a:pt x="84282" y="46307"/>
                        <a:pt x="79199" y="50693"/>
                      </a:cubicBezTo>
                      <a:cubicBezTo>
                        <a:pt x="79199" y="50136"/>
                        <a:pt x="79199" y="49578"/>
                        <a:pt x="79199" y="49033"/>
                      </a:cubicBezTo>
                      <a:cubicBezTo>
                        <a:pt x="76803" y="52240"/>
                        <a:pt x="76169" y="56005"/>
                        <a:pt x="77513" y="59668"/>
                      </a:cubicBezTo>
                      <a:cubicBezTo>
                        <a:pt x="55748" y="66374"/>
                        <a:pt x="79617" y="17684"/>
                        <a:pt x="62606" y="25594"/>
                      </a:cubicBezTo>
                      <a:cubicBezTo>
                        <a:pt x="64215" y="19813"/>
                        <a:pt x="68259" y="13868"/>
                        <a:pt x="72252" y="9672"/>
                      </a:cubicBezTo>
                      <a:cubicBezTo>
                        <a:pt x="72278" y="11396"/>
                        <a:pt x="72569" y="12410"/>
                        <a:pt x="72582" y="14046"/>
                      </a:cubicBezTo>
                      <a:cubicBezTo>
                        <a:pt x="77310" y="12207"/>
                        <a:pt x="75447" y="13703"/>
                        <a:pt x="78692" y="15098"/>
                      </a:cubicBezTo>
                      <a:cubicBezTo>
                        <a:pt x="80682" y="14717"/>
                        <a:pt x="84257" y="14020"/>
                        <a:pt x="86742" y="13475"/>
                      </a:cubicBezTo>
                      <a:cubicBezTo>
                        <a:pt x="83547" y="12182"/>
                        <a:pt x="84219" y="11827"/>
                        <a:pt x="79668" y="12955"/>
                      </a:cubicBezTo>
                      <a:cubicBezTo>
                        <a:pt x="79934" y="11257"/>
                        <a:pt x="79770" y="9165"/>
                        <a:pt x="80226" y="7530"/>
                      </a:cubicBezTo>
                      <a:cubicBezTo>
                        <a:pt x="81278" y="8138"/>
                        <a:pt x="82077" y="9343"/>
                        <a:pt x="83370" y="9533"/>
                      </a:cubicBezTo>
                      <a:cubicBezTo>
                        <a:pt x="82406" y="8404"/>
                        <a:pt x="82787" y="7378"/>
                        <a:pt x="80695" y="6009"/>
                      </a:cubicBezTo>
                      <a:cubicBezTo>
                        <a:pt x="82939" y="4297"/>
                        <a:pt x="82863" y="1673"/>
                        <a:pt x="84232" y="0"/>
                      </a:cubicBezTo>
                      <a:lnTo>
                        <a:pt x="84232" y="0"/>
                      </a:lnTo>
                      <a:close/>
                    </a:path>
                  </a:pathLst>
                </a:custGeom>
                <a:solidFill>
                  <a:srgbClr val="D6D6D2"/>
                </a:solidFill>
                <a:ln w="12413" cap="rnd">
                  <a:solidFill>
                    <a:srgbClr val="FFFFFF"/>
                  </a:solidFill>
                  <a:prstDash val="solid"/>
                  <a:round/>
                </a:ln>
              </p:spPr>
              <p:txBody>
                <a:bodyPr rtlCol="0" anchor="ctr"/>
                <a:lstStyle/>
                <a:p>
                  <a:endParaRPr lang="en-US"/>
                </a:p>
              </p:txBody>
            </p:sp>
            <p:sp>
              <p:nvSpPr>
                <p:cNvPr id="83" name="Freeform: Shape 82">
                  <a:extLst>
                    <a:ext uri="{FF2B5EF4-FFF2-40B4-BE49-F238E27FC236}">
                      <a16:creationId xmlns:a16="http://schemas.microsoft.com/office/drawing/2014/main" id="{A44F1903-AD8D-4EF1-A4EC-AD280E98B7BE}"/>
                    </a:ext>
                  </a:extLst>
                </p:cNvPr>
                <p:cNvSpPr/>
                <p:nvPr/>
              </p:nvSpPr>
              <p:spPr>
                <a:xfrm>
                  <a:off x="1839788" y="2592454"/>
                  <a:ext cx="600442" cy="324658"/>
                </a:xfrm>
                <a:custGeom>
                  <a:avLst/>
                  <a:gdLst>
                    <a:gd name="connsiteX0" fmla="*/ 597692 w 600442"/>
                    <a:gd name="connsiteY0" fmla="*/ 204684 h 324658"/>
                    <a:gd name="connsiteX1" fmla="*/ 590542 w 600442"/>
                    <a:gd name="connsiteY1" fmla="*/ 241205 h 324658"/>
                    <a:gd name="connsiteX2" fmla="*/ 586815 w 600442"/>
                    <a:gd name="connsiteY2" fmla="*/ 263542 h 324658"/>
                    <a:gd name="connsiteX3" fmla="*/ 597185 w 600442"/>
                    <a:gd name="connsiteY3" fmla="*/ 278893 h 324658"/>
                    <a:gd name="connsiteX4" fmla="*/ 585484 w 600442"/>
                    <a:gd name="connsiteY4" fmla="*/ 321600 h 324658"/>
                    <a:gd name="connsiteX5" fmla="*/ 570957 w 600442"/>
                    <a:gd name="connsiteY5" fmla="*/ 316529 h 324658"/>
                    <a:gd name="connsiteX6" fmla="*/ 554591 w 600442"/>
                    <a:gd name="connsiteY6" fmla="*/ 320649 h 324658"/>
                    <a:gd name="connsiteX7" fmla="*/ 541370 w 600442"/>
                    <a:gd name="connsiteY7" fmla="*/ 320016 h 324658"/>
                    <a:gd name="connsiteX8" fmla="*/ 537757 w 600442"/>
                    <a:gd name="connsiteY8" fmla="*/ 324642 h 324658"/>
                    <a:gd name="connsiteX9" fmla="*/ 532458 w 600442"/>
                    <a:gd name="connsiteY9" fmla="*/ 321600 h 324658"/>
                    <a:gd name="connsiteX10" fmla="*/ 518096 w 600442"/>
                    <a:gd name="connsiteY10" fmla="*/ 306084 h 324658"/>
                    <a:gd name="connsiteX11" fmla="*/ 495671 w 600442"/>
                    <a:gd name="connsiteY11" fmla="*/ 316834 h 324658"/>
                    <a:gd name="connsiteX12" fmla="*/ 464981 w 600442"/>
                    <a:gd name="connsiteY12" fmla="*/ 306084 h 324658"/>
                    <a:gd name="connsiteX13" fmla="*/ 449288 w 600442"/>
                    <a:gd name="connsiteY13" fmla="*/ 303992 h 324658"/>
                    <a:gd name="connsiteX14" fmla="*/ 439311 w 600442"/>
                    <a:gd name="connsiteY14" fmla="*/ 301026 h 324658"/>
                    <a:gd name="connsiteX15" fmla="*/ 432555 w 600442"/>
                    <a:gd name="connsiteY15" fmla="*/ 305019 h 324658"/>
                    <a:gd name="connsiteX16" fmla="*/ 424911 w 600442"/>
                    <a:gd name="connsiteY16" fmla="*/ 304576 h 324658"/>
                    <a:gd name="connsiteX17" fmla="*/ 418534 w 600442"/>
                    <a:gd name="connsiteY17" fmla="*/ 288388 h 324658"/>
                    <a:gd name="connsiteX18" fmla="*/ 399697 w 600442"/>
                    <a:gd name="connsiteY18" fmla="*/ 289681 h 324658"/>
                    <a:gd name="connsiteX19" fmla="*/ 389518 w 600442"/>
                    <a:gd name="connsiteY19" fmla="*/ 293674 h 324658"/>
                    <a:gd name="connsiteX20" fmla="*/ 376258 w 600442"/>
                    <a:gd name="connsiteY20" fmla="*/ 283520 h 324658"/>
                    <a:gd name="connsiteX21" fmla="*/ 365394 w 600442"/>
                    <a:gd name="connsiteY21" fmla="*/ 281847 h 324658"/>
                    <a:gd name="connsiteX22" fmla="*/ 356204 w 600442"/>
                    <a:gd name="connsiteY22" fmla="*/ 274329 h 324658"/>
                    <a:gd name="connsiteX23" fmla="*/ 340548 w 600442"/>
                    <a:gd name="connsiteY23" fmla="*/ 270678 h 324658"/>
                    <a:gd name="connsiteX24" fmla="*/ 341994 w 600442"/>
                    <a:gd name="connsiteY24" fmla="*/ 258344 h 324658"/>
                    <a:gd name="connsiteX25" fmla="*/ 306968 w 600442"/>
                    <a:gd name="connsiteY25" fmla="*/ 238176 h 324658"/>
                    <a:gd name="connsiteX26" fmla="*/ 302912 w 600442"/>
                    <a:gd name="connsiteY26" fmla="*/ 234411 h 324658"/>
                    <a:gd name="connsiteX27" fmla="*/ 295407 w 600442"/>
                    <a:gd name="connsiteY27" fmla="*/ 236997 h 324658"/>
                    <a:gd name="connsiteX28" fmla="*/ 280981 w 600442"/>
                    <a:gd name="connsiteY28" fmla="*/ 238556 h 324658"/>
                    <a:gd name="connsiteX29" fmla="*/ 253055 w 600442"/>
                    <a:gd name="connsiteY29" fmla="*/ 235704 h 324658"/>
                    <a:gd name="connsiteX30" fmla="*/ 246603 w 600442"/>
                    <a:gd name="connsiteY30" fmla="*/ 241370 h 324658"/>
                    <a:gd name="connsiteX31" fmla="*/ 237755 w 600442"/>
                    <a:gd name="connsiteY31" fmla="*/ 245351 h 324658"/>
                    <a:gd name="connsiteX32" fmla="*/ 233685 w 600442"/>
                    <a:gd name="connsiteY32" fmla="*/ 240268 h 324658"/>
                    <a:gd name="connsiteX33" fmla="*/ 222441 w 600442"/>
                    <a:gd name="connsiteY33" fmla="*/ 237796 h 324658"/>
                    <a:gd name="connsiteX34" fmla="*/ 199319 w 600442"/>
                    <a:gd name="connsiteY34" fmla="*/ 231863 h 324658"/>
                    <a:gd name="connsiteX35" fmla="*/ 193589 w 600442"/>
                    <a:gd name="connsiteY35" fmla="*/ 217107 h 324658"/>
                    <a:gd name="connsiteX36" fmla="*/ 182612 w 600442"/>
                    <a:gd name="connsiteY36" fmla="*/ 219579 h 324658"/>
                    <a:gd name="connsiteX37" fmla="*/ 171139 w 600442"/>
                    <a:gd name="connsiteY37" fmla="*/ 215371 h 324658"/>
                    <a:gd name="connsiteX38" fmla="*/ 151402 w 600442"/>
                    <a:gd name="connsiteY38" fmla="*/ 203049 h 324658"/>
                    <a:gd name="connsiteX39" fmla="*/ 139942 w 600442"/>
                    <a:gd name="connsiteY39" fmla="*/ 202796 h 324658"/>
                    <a:gd name="connsiteX40" fmla="*/ 126936 w 600442"/>
                    <a:gd name="connsiteY40" fmla="*/ 200780 h 324658"/>
                    <a:gd name="connsiteX41" fmla="*/ 115223 w 600442"/>
                    <a:gd name="connsiteY41" fmla="*/ 193631 h 324658"/>
                    <a:gd name="connsiteX42" fmla="*/ 104613 w 600442"/>
                    <a:gd name="connsiteY42" fmla="*/ 184732 h 324658"/>
                    <a:gd name="connsiteX43" fmla="*/ 101533 w 600442"/>
                    <a:gd name="connsiteY43" fmla="*/ 181334 h 324658"/>
                    <a:gd name="connsiteX44" fmla="*/ 96475 w 600442"/>
                    <a:gd name="connsiteY44" fmla="*/ 183033 h 324658"/>
                    <a:gd name="connsiteX45" fmla="*/ 80363 w 600442"/>
                    <a:gd name="connsiteY45" fmla="*/ 163587 h 324658"/>
                    <a:gd name="connsiteX46" fmla="*/ 64454 w 600442"/>
                    <a:gd name="connsiteY46" fmla="*/ 158478 h 324658"/>
                    <a:gd name="connsiteX47" fmla="*/ 51283 w 600442"/>
                    <a:gd name="connsiteY47" fmla="*/ 148996 h 324658"/>
                    <a:gd name="connsiteX48" fmla="*/ 33650 w 600442"/>
                    <a:gd name="connsiteY48" fmla="*/ 148794 h 324658"/>
                    <a:gd name="connsiteX49" fmla="*/ 1223 w 600442"/>
                    <a:gd name="connsiteY49" fmla="*/ 127611 h 324658"/>
                    <a:gd name="connsiteX50" fmla="*/ 5444 w 600442"/>
                    <a:gd name="connsiteY50" fmla="*/ 113578 h 324658"/>
                    <a:gd name="connsiteX51" fmla="*/ 9602 w 600442"/>
                    <a:gd name="connsiteY51" fmla="*/ 103944 h 324658"/>
                    <a:gd name="connsiteX52" fmla="*/ 13709 w 600442"/>
                    <a:gd name="connsiteY52" fmla="*/ 96921 h 324658"/>
                    <a:gd name="connsiteX53" fmla="*/ 16600 w 600442"/>
                    <a:gd name="connsiteY53" fmla="*/ 97619 h 324658"/>
                    <a:gd name="connsiteX54" fmla="*/ 15434 w 600442"/>
                    <a:gd name="connsiteY54" fmla="*/ 84397 h 324658"/>
                    <a:gd name="connsiteX55" fmla="*/ 18362 w 600442"/>
                    <a:gd name="connsiteY55" fmla="*/ 75004 h 324658"/>
                    <a:gd name="connsiteX56" fmla="*/ 25182 w 600442"/>
                    <a:gd name="connsiteY56" fmla="*/ 60945 h 324658"/>
                    <a:gd name="connsiteX57" fmla="*/ 28934 w 600442"/>
                    <a:gd name="connsiteY57" fmla="*/ 50982 h 324658"/>
                    <a:gd name="connsiteX58" fmla="*/ 40850 w 600442"/>
                    <a:gd name="connsiteY58" fmla="*/ 37253 h 324658"/>
                    <a:gd name="connsiteX59" fmla="*/ 62856 w 600442"/>
                    <a:gd name="connsiteY59" fmla="*/ 16628 h 324658"/>
                    <a:gd name="connsiteX60" fmla="*/ 73695 w 600442"/>
                    <a:gd name="connsiteY60" fmla="*/ 21243 h 324658"/>
                    <a:gd name="connsiteX61" fmla="*/ 81542 w 600442"/>
                    <a:gd name="connsiteY61" fmla="*/ 31764 h 324658"/>
                    <a:gd name="connsiteX62" fmla="*/ 91214 w 600442"/>
                    <a:gd name="connsiteY62" fmla="*/ 27847 h 324658"/>
                    <a:gd name="connsiteX63" fmla="*/ 91163 w 600442"/>
                    <a:gd name="connsiteY63" fmla="*/ 23486 h 324658"/>
                    <a:gd name="connsiteX64" fmla="*/ 97869 w 600442"/>
                    <a:gd name="connsiteY64" fmla="*/ 19645 h 324658"/>
                    <a:gd name="connsiteX65" fmla="*/ 98921 w 600442"/>
                    <a:gd name="connsiteY65" fmla="*/ 8059 h 324658"/>
                    <a:gd name="connsiteX66" fmla="*/ 109481 w 600442"/>
                    <a:gd name="connsiteY66" fmla="*/ 6994 h 324658"/>
                    <a:gd name="connsiteX67" fmla="*/ 116808 w 600442"/>
                    <a:gd name="connsiteY67" fmla="*/ 22 h 324658"/>
                    <a:gd name="connsiteX68" fmla="*/ 132273 w 600442"/>
                    <a:gd name="connsiteY68" fmla="*/ 3926 h 324658"/>
                    <a:gd name="connsiteX69" fmla="*/ 144531 w 600442"/>
                    <a:gd name="connsiteY69" fmla="*/ 7032 h 324658"/>
                    <a:gd name="connsiteX70" fmla="*/ 151630 w 600442"/>
                    <a:gd name="connsiteY70" fmla="*/ 14980 h 324658"/>
                    <a:gd name="connsiteX71" fmla="*/ 155737 w 600442"/>
                    <a:gd name="connsiteY71" fmla="*/ 17934 h 324658"/>
                    <a:gd name="connsiteX72" fmla="*/ 154799 w 600442"/>
                    <a:gd name="connsiteY72" fmla="*/ 23575 h 324658"/>
                    <a:gd name="connsiteX73" fmla="*/ 167248 w 600442"/>
                    <a:gd name="connsiteY73" fmla="*/ 30623 h 324658"/>
                    <a:gd name="connsiteX74" fmla="*/ 191079 w 600442"/>
                    <a:gd name="connsiteY74" fmla="*/ 46494 h 324658"/>
                    <a:gd name="connsiteX75" fmla="*/ 198685 w 600442"/>
                    <a:gd name="connsiteY75" fmla="*/ 52896 h 324658"/>
                    <a:gd name="connsiteX76" fmla="*/ 208738 w 600442"/>
                    <a:gd name="connsiteY76" fmla="*/ 60413 h 324658"/>
                    <a:gd name="connsiteX77" fmla="*/ 216648 w 600442"/>
                    <a:gd name="connsiteY77" fmla="*/ 60426 h 324658"/>
                    <a:gd name="connsiteX78" fmla="*/ 223303 w 600442"/>
                    <a:gd name="connsiteY78" fmla="*/ 66840 h 324658"/>
                    <a:gd name="connsiteX79" fmla="*/ 227664 w 600442"/>
                    <a:gd name="connsiteY79" fmla="*/ 64102 h 324658"/>
                    <a:gd name="connsiteX80" fmla="*/ 241114 w 600442"/>
                    <a:gd name="connsiteY80" fmla="*/ 75460 h 324658"/>
                    <a:gd name="connsiteX81" fmla="*/ 257175 w 600442"/>
                    <a:gd name="connsiteY81" fmla="*/ 95945 h 324658"/>
                    <a:gd name="connsiteX82" fmla="*/ 275315 w 600442"/>
                    <a:gd name="connsiteY82" fmla="*/ 95172 h 324658"/>
                    <a:gd name="connsiteX83" fmla="*/ 295826 w 600442"/>
                    <a:gd name="connsiteY83" fmla="*/ 93993 h 324658"/>
                    <a:gd name="connsiteX84" fmla="*/ 307006 w 600442"/>
                    <a:gd name="connsiteY84" fmla="*/ 109725 h 324658"/>
                    <a:gd name="connsiteX85" fmla="*/ 312483 w 600442"/>
                    <a:gd name="connsiteY85" fmla="*/ 122883 h 324658"/>
                    <a:gd name="connsiteX86" fmla="*/ 321673 w 600442"/>
                    <a:gd name="connsiteY86" fmla="*/ 126901 h 324658"/>
                    <a:gd name="connsiteX87" fmla="*/ 326097 w 600442"/>
                    <a:gd name="connsiteY87" fmla="*/ 134342 h 324658"/>
                    <a:gd name="connsiteX88" fmla="*/ 338140 w 600442"/>
                    <a:gd name="connsiteY88" fmla="*/ 137968 h 324658"/>
                    <a:gd name="connsiteX89" fmla="*/ 347673 w 600442"/>
                    <a:gd name="connsiteY89" fmla="*/ 146271 h 324658"/>
                    <a:gd name="connsiteX90" fmla="*/ 361858 w 600442"/>
                    <a:gd name="connsiteY90" fmla="*/ 150720 h 324658"/>
                    <a:gd name="connsiteX91" fmla="*/ 369552 w 600442"/>
                    <a:gd name="connsiteY91" fmla="*/ 143102 h 324658"/>
                    <a:gd name="connsiteX92" fmla="*/ 373507 w 600442"/>
                    <a:gd name="connsiteY92" fmla="*/ 164804 h 324658"/>
                    <a:gd name="connsiteX93" fmla="*/ 396845 w 600442"/>
                    <a:gd name="connsiteY93" fmla="*/ 170623 h 324658"/>
                    <a:gd name="connsiteX94" fmla="*/ 418382 w 600442"/>
                    <a:gd name="connsiteY94" fmla="*/ 166921 h 324658"/>
                    <a:gd name="connsiteX95" fmla="*/ 430983 w 600442"/>
                    <a:gd name="connsiteY95" fmla="*/ 182209 h 324658"/>
                    <a:gd name="connsiteX96" fmla="*/ 437537 w 600442"/>
                    <a:gd name="connsiteY96" fmla="*/ 198650 h 324658"/>
                    <a:gd name="connsiteX97" fmla="*/ 452634 w 600442"/>
                    <a:gd name="connsiteY97" fmla="*/ 181195 h 324658"/>
                    <a:gd name="connsiteX98" fmla="*/ 457933 w 600442"/>
                    <a:gd name="connsiteY98" fmla="*/ 194239 h 324658"/>
                    <a:gd name="connsiteX99" fmla="*/ 474920 w 600442"/>
                    <a:gd name="connsiteY99" fmla="*/ 200057 h 324658"/>
                    <a:gd name="connsiteX100" fmla="*/ 483147 w 600442"/>
                    <a:gd name="connsiteY100" fmla="*/ 185150 h 324658"/>
                    <a:gd name="connsiteX101" fmla="*/ 492793 w 600442"/>
                    <a:gd name="connsiteY101" fmla="*/ 185771 h 324658"/>
                    <a:gd name="connsiteX102" fmla="*/ 498016 w 600442"/>
                    <a:gd name="connsiteY102" fmla="*/ 192667 h 324658"/>
                    <a:gd name="connsiteX103" fmla="*/ 517259 w 600442"/>
                    <a:gd name="connsiteY103" fmla="*/ 198536 h 324658"/>
                    <a:gd name="connsiteX104" fmla="*/ 531254 w 600442"/>
                    <a:gd name="connsiteY104" fmla="*/ 207270 h 324658"/>
                    <a:gd name="connsiteX105" fmla="*/ 543487 w 600442"/>
                    <a:gd name="connsiteY105" fmla="*/ 205610 h 324658"/>
                    <a:gd name="connsiteX106" fmla="*/ 542283 w 600442"/>
                    <a:gd name="connsiteY106" fmla="*/ 209210 h 324658"/>
                    <a:gd name="connsiteX107" fmla="*/ 571362 w 600442"/>
                    <a:gd name="connsiteY107" fmla="*/ 207524 h 324658"/>
                    <a:gd name="connsiteX108" fmla="*/ 584901 w 600442"/>
                    <a:gd name="connsiteY108" fmla="*/ 202200 h 324658"/>
                    <a:gd name="connsiteX109" fmla="*/ 597692 w 600442"/>
                    <a:gd name="connsiteY109" fmla="*/ 204684 h 324658"/>
                    <a:gd name="connsiteX110" fmla="*/ 597692 w 600442"/>
                    <a:gd name="connsiteY110" fmla="*/ 204684 h 324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600442" h="324658">
                      <a:moveTo>
                        <a:pt x="597692" y="204684"/>
                      </a:moveTo>
                      <a:cubicBezTo>
                        <a:pt x="606502" y="207423"/>
                        <a:pt x="591404" y="234018"/>
                        <a:pt x="590542" y="241205"/>
                      </a:cubicBezTo>
                      <a:cubicBezTo>
                        <a:pt x="589883" y="246492"/>
                        <a:pt x="585788" y="258750"/>
                        <a:pt x="586815" y="263542"/>
                      </a:cubicBezTo>
                      <a:cubicBezTo>
                        <a:pt x="587994" y="268929"/>
                        <a:pt x="594358" y="273518"/>
                        <a:pt x="597185" y="278893"/>
                      </a:cubicBezTo>
                      <a:cubicBezTo>
                        <a:pt x="602952" y="289807"/>
                        <a:pt x="598947" y="322551"/>
                        <a:pt x="585484" y="321600"/>
                      </a:cubicBezTo>
                      <a:cubicBezTo>
                        <a:pt x="578753" y="321118"/>
                        <a:pt x="580502" y="314805"/>
                        <a:pt x="570957" y="316529"/>
                      </a:cubicBezTo>
                      <a:cubicBezTo>
                        <a:pt x="566951" y="317239"/>
                        <a:pt x="561183" y="320535"/>
                        <a:pt x="554591" y="320649"/>
                      </a:cubicBezTo>
                      <a:cubicBezTo>
                        <a:pt x="549457" y="320751"/>
                        <a:pt x="546948" y="319166"/>
                        <a:pt x="541370" y="320016"/>
                      </a:cubicBezTo>
                      <a:cubicBezTo>
                        <a:pt x="539583" y="320282"/>
                        <a:pt x="540026" y="324376"/>
                        <a:pt x="537757" y="324642"/>
                      </a:cubicBezTo>
                      <a:cubicBezTo>
                        <a:pt x="535501" y="324909"/>
                        <a:pt x="533840" y="321689"/>
                        <a:pt x="532458" y="321600"/>
                      </a:cubicBezTo>
                      <a:cubicBezTo>
                        <a:pt x="523724" y="321004"/>
                        <a:pt x="518641" y="316897"/>
                        <a:pt x="518096" y="306084"/>
                      </a:cubicBezTo>
                      <a:cubicBezTo>
                        <a:pt x="511466" y="311738"/>
                        <a:pt x="503328" y="316111"/>
                        <a:pt x="495671" y="316834"/>
                      </a:cubicBezTo>
                      <a:cubicBezTo>
                        <a:pt x="486417" y="317708"/>
                        <a:pt x="476086" y="308074"/>
                        <a:pt x="464981" y="306084"/>
                      </a:cubicBezTo>
                      <a:cubicBezTo>
                        <a:pt x="460861" y="305336"/>
                        <a:pt x="455056" y="304715"/>
                        <a:pt x="449288" y="303992"/>
                      </a:cubicBezTo>
                      <a:cubicBezTo>
                        <a:pt x="444749" y="303409"/>
                        <a:pt x="444141" y="300392"/>
                        <a:pt x="439311" y="301026"/>
                      </a:cubicBezTo>
                      <a:cubicBezTo>
                        <a:pt x="436408" y="301394"/>
                        <a:pt x="434963" y="304690"/>
                        <a:pt x="432555" y="305019"/>
                      </a:cubicBezTo>
                      <a:cubicBezTo>
                        <a:pt x="428257" y="305653"/>
                        <a:pt x="428460" y="306768"/>
                        <a:pt x="424911" y="304576"/>
                      </a:cubicBezTo>
                      <a:cubicBezTo>
                        <a:pt x="416709" y="299492"/>
                        <a:pt x="423275" y="293953"/>
                        <a:pt x="418534" y="288388"/>
                      </a:cubicBezTo>
                      <a:cubicBezTo>
                        <a:pt x="412462" y="281276"/>
                        <a:pt x="406111" y="286968"/>
                        <a:pt x="399697" y="289681"/>
                      </a:cubicBezTo>
                      <a:cubicBezTo>
                        <a:pt x="398265" y="290289"/>
                        <a:pt x="391457" y="293686"/>
                        <a:pt x="389518" y="293674"/>
                      </a:cubicBezTo>
                      <a:cubicBezTo>
                        <a:pt x="379060" y="293610"/>
                        <a:pt x="381785" y="287361"/>
                        <a:pt x="376258" y="283520"/>
                      </a:cubicBezTo>
                      <a:cubicBezTo>
                        <a:pt x="374788" y="282493"/>
                        <a:pt x="368234" y="283228"/>
                        <a:pt x="365394" y="281847"/>
                      </a:cubicBezTo>
                      <a:cubicBezTo>
                        <a:pt x="362111" y="280224"/>
                        <a:pt x="360197" y="276522"/>
                        <a:pt x="356204" y="274329"/>
                      </a:cubicBezTo>
                      <a:cubicBezTo>
                        <a:pt x="352692" y="272415"/>
                        <a:pt x="343375" y="274076"/>
                        <a:pt x="340548" y="270678"/>
                      </a:cubicBezTo>
                      <a:cubicBezTo>
                        <a:pt x="337848" y="267433"/>
                        <a:pt x="342374" y="262654"/>
                        <a:pt x="341994" y="258344"/>
                      </a:cubicBezTo>
                      <a:cubicBezTo>
                        <a:pt x="340460" y="241307"/>
                        <a:pt x="317426" y="244907"/>
                        <a:pt x="306968" y="238176"/>
                      </a:cubicBezTo>
                      <a:cubicBezTo>
                        <a:pt x="305257" y="237073"/>
                        <a:pt x="305675" y="234893"/>
                        <a:pt x="302912" y="234411"/>
                      </a:cubicBezTo>
                      <a:cubicBezTo>
                        <a:pt x="296966" y="233371"/>
                        <a:pt x="302481" y="235894"/>
                        <a:pt x="295407" y="236997"/>
                      </a:cubicBezTo>
                      <a:cubicBezTo>
                        <a:pt x="290844" y="237694"/>
                        <a:pt x="285760" y="237086"/>
                        <a:pt x="280981" y="238556"/>
                      </a:cubicBezTo>
                      <a:cubicBezTo>
                        <a:pt x="292707" y="252564"/>
                        <a:pt x="259216" y="234550"/>
                        <a:pt x="253055" y="235704"/>
                      </a:cubicBezTo>
                      <a:cubicBezTo>
                        <a:pt x="244181" y="237339"/>
                        <a:pt x="249100" y="239824"/>
                        <a:pt x="246603" y="241370"/>
                      </a:cubicBezTo>
                      <a:cubicBezTo>
                        <a:pt x="241152" y="244806"/>
                        <a:pt x="244676" y="246745"/>
                        <a:pt x="237755" y="245351"/>
                      </a:cubicBezTo>
                      <a:cubicBezTo>
                        <a:pt x="237260" y="245249"/>
                        <a:pt x="234636" y="240711"/>
                        <a:pt x="233685" y="240268"/>
                      </a:cubicBezTo>
                      <a:cubicBezTo>
                        <a:pt x="229413" y="238252"/>
                        <a:pt x="226929" y="238924"/>
                        <a:pt x="222441" y="237796"/>
                      </a:cubicBezTo>
                      <a:cubicBezTo>
                        <a:pt x="217333" y="236515"/>
                        <a:pt x="202539" y="235171"/>
                        <a:pt x="199319" y="231863"/>
                      </a:cubicBezTo>
                      <a:cubicBezTo>
                        <a:pt x="195364" y="227807"/>
                        <a:pt x="200346" y="219757"/>
                        <a:pt x="193589" y="217107"/>
                      </a:cubicBezTo>
                      <a:cubicBezTo>
                        <a:pt x="190991" y="216081"/>
                        <a:pt x="185717" y="219668"/>
                        <a:pt x="182612" y="219579"/>
                      </a:cubicBezTo>
                      <a:cubicBezTo>
                        <a:pt x="175361" y="219415"/>
                        <a:pt x="177554" y="218629"/>
                        <a:pt x="171139" y="215371"/>
                      </a:cubicBezTo>
                      <a:cubicBezTo>
                        <a:pt x="164307" y="211936"/>
                        <a:pt x="158463" y="205559"/>
                        <a:pt x="151402" y="203049"/>
                      </a:cubicBezTo>
                      <a:cubicBezTo>
                        <a:pt x="146065" y="201160"/>
                        <a:pt x="144633" y="202542"/>
                        <a:pt x="139942" y="202796"/>
                      </a:cubicBezTo>
                      <a:cubicBezTo>
                        <a:pt x="133097" y="203176"/>
                        <a:pt x="135113" y="205141"/>
                        <a:pt x="126936" y="200780"/>
                      </a:cubicBezTo>
                      <a:cubicBezTo>
                        <a:pt x="123209" y="198790"/>
                        <a:pt x="118836" y="195760"/>
                        <a:pt x="115223" y="193631"/>
                      </a:cubicBezTo>
                      <a:cubicBezTo>
                        <a:pt x="111788" y="191628"/>
                        <a:pt x="107034" y="185974"/>
                        <a:pt x="104613" y="184732"/>
                      </a:cubicBezTo>
                      <a:cubicBezTo>
                        <a:pt x="103396" y="184110"/>
                        <a:pt x="103028" y="181930"/>
                        <a:pt x="101533" y="181334"/>
                      </a:cubicBezTo>
                      <a:cubicBezTo>
                        <a:pt x="99707" y="180624"/>
                        <a:pt x="95232" y="182349"/>
                        <a:pt x="96475" y="183033"/>
                      </a:cubicBezTo>
                      <a:cubicBezTo>
                        <a:pt x="91759" y="180434"/>
                        <a:pt x="88070" y="169406"/>
                        <a:pt x="80363" y="163587"/>
                      </a:cubicBezTo>
                      <a:cubicBezTo>
                        <a:pt x="75761" y="160139"/>
                        <a:pt x="69093" y="160938"/>
                        <a:pt x="64454" y="158478"/>
                      </a:cubicBezTo>
                      <a:cubicBezTo>
                        <a:pt x="60372" y="156323"/>
                        <a:pt x="56480" y="151912"/>
                        <a:pt x="51283" y="148996"/>
                      </a:cubicBezTo>
                      <a:cubicBezTo>
                        <a:pt x="46871" y="146525"/>
                        <a:pt x="28021" y="130578"/>
                        <a:pt x="33650" y="148794"/>
                      </a:cubicBezTo>
                      <a:cubicBezTo>
                        <a:pt x="27856" y="140338"/>
                        <a:pt x="6142" y="137524"/>
                        <a:pt x="1223" y="127611"/>
                      </a:cubicBezTo>
                      <a:cubicBezTo>
                        <a:pt x="-2301" y="120487"/>
                        <a:pt x="2630" y="118991"/>
                        <a:pt x="5444" y="113578"/>
                      </a:cubicBezTo>
                      <a:cubicBezTo>
                        <a:pt x="6750" y="111094"/>
                        <a:pt x="8449" y="106251"/>
                        <a:pt x="9602" y="103944"/>
                      </a:cubicBezTo>
                      <a:cubicBezTo>
                        <a:pt x="10933" y="101295"/>
                        <a:pt x="16828" y="104553"/>
                        <a:pt x="13709" y="96921"/>
                      </a:cubicBezTo>
                      <a:cubicBezTo>
                        <a:pt x="14724" y="96934"/>
                        <a:pt x="15725" y="97707"/>
                        <a:pt x="16600" y="97619"/>
                      </a:cubicBezTo>
                      <a:cubicBezTo>
                        <a:pt x="20872" y="90127"/>
                        <a:pt x="15319" y="90165"/>
                        <a:pt x="15434" y="84397"/>
                      </a:cubicBezTo>
                      <a:cubicBezTo>
                        <a:pt x="15586" y="77475"/>
                        <a:pt x="14749" y="80848"/>
                        <a:pt x="18362" y="75004"/>
                      </a:cubicBezTo>
                      <a:cubicBezTo>
                        <a:pt x="21835" y="69388"/>
                        <a:pt x="23204" y="66891"/>
                        <a:pt x="25182" y="60945"/>
                      </a:cubicBezTo>
                      <a:cubicBezTo>
                        <a:pt x="27071" y="55304"/>
                        <a:pt x="24510" y="56521"/>
                        <a:pt x="28934" y="50982"/>
                      </a:cubicBezTo>
                      <a:cubicBezTo>
                        <a:pt x="31685" y="47584"/>
                        <a:pt x="37503" y="40359"/>
                        <a:pt x="40850" y="37253"/>
                      </a:cubicBezTo>
                      <a:cubicBezTo>
                        <a:pt x="48684" y="30040"/>
                        <a:pt x="57089" y="25274"/>
                        <a:pt x="62856" y="16628"/>
                      </a:cubicBezTo>
                      <a:cubicBezTo>
                        <a:pt x="67167" y="20089"/>
                        <a:pt x="69398" y="17135"/>
                        <a:pt x="73695" y="21243"/>
                      </a:cubicBezTo>
                      <a:cubicBezTo>
                        <a:pt x="78702" y="26034"/>
                        <a:pt x="75001" y="30141"/>
                        <a:pt x="81542" y="31764"/>
                      </a:cubicBezTo>
                      <a:cubicBezTo>
                        <a:pt x="88742" y="33551"/>
                        <a:pt x="86346" y="31472"/>
                        <a:pt x="91214" y="27847"/>
                      </a:cubicBezTo>
                      <a:cubicBezTo>
                        <a:pt x="93027" y="26516"/>
                        <a:pt x="90441" y="24538"/>
                        <a:pt x="91163" y="23486"/>
                      </a:cubicBezTo>
                      <a:cubicBezTo>
                        <a:pt x="92748" y="21116"/>
                        <a:pt x="96259" y="23867"/>
                        <a:pt x="97869" y="19645"/>
                      </a:cubicBezTo>
                      <a:cubicBezTo>
                        <a:pt x="99124" y="16349"/>
                        <a:pt x="97375" y="10632"/>
                        <a:pt x="98921" y="8059"/>
                      </a:cubicBezTo>
                      <a:cubicBezTo>
                        <a:pt x="104220" y="-827"/>
                        <a:pt x="101849" y="9111"/>
                        <a:pt x="109481" y="6994"/>
                      </a:cubicBezTo>
                      <a:cubicBezTo>
                        <a:pt x="111471" y="6436"/>
                        <a:pt x="113068" y="567"/>
                        <a:pt x="116808" y="22"/>
                      </a:cubicBezTo>
                      <a:cubicBezTo>
                        <a:pt x="119039" y="-308"/>
                        <a:pt x="129231" y="3178"/>
                        <a:pt x="132273" y="3926"/>
                      </a:cubicBezTo>
                      <a:cubicBezTo>
                        <a:pt x="136608" y="4979"/>
                        <a:pt x="140741" y="5549"/>
                        <a:pt x="144531" y="7032"/>
                      </a:cubicBezTo>
                      <a:cubicBezTo>
                        <a:pt x="153532" y="10569"/>
                        <a:pt x="147891" y="4142"/>
                        <a:pt x="151630" y="14980"/>
                      </a:cubicBezTo>
                      <a:cubicBezTo>
                        <a:pt x="152099" y="16375"/>
                        <a:pt x="155661" y="17554"/>
                        <a:pt x="155737" y="17934"/>
                      </a:cubicBezTo>
                      <a:cubicBezTo>
                        <a:pt x="155737" y="17972"/>
                        <a:pt x="155737" y="24805"/>
                        <a:pt x="154799" y="23575"/>
                      </a:cubicBezTo>
                      <a:cubicBezTo>
                        <a:pt x="159173" y="29330"/>
                        <a:pt x="159173" y="28062"/>
                        <a:pt x="167248" y="30623"/>
                      </a:cubicBezTo>
                      <a:cubicBezTo>
                        <a:pt x="176210" y="33463"/>
                        <a:pt x="183778" y="39915"/>
                        <a:pt x="191079" y="46494"/>
                      </a:cubicBezTo>
                      <a:cubicBezTo>
                        <a:pt x="194211" y="49270"/>
                        <a:pt x="194946" y="49536"/>
                        <a:pt x="198685" y="52896"/>
                      </a:cubicBezTo>
                      <a:cubicBezTo>
                        <a:pt x="202146" y="56014"/>
                        <a:pt x="205493" y="58993"/>
                        <a:pt x="208738" y="60413"/>
                      </a:cubicBezTo>
                      <a:cubicBezTo>
                        <a:pt x="209600" y="60768"/>
                        <a:pt x="214442" y="59576"/>
                        <a:pt x="216648" y="60426"/>
                      </a:cubicBezTo>
                      <a:cubicBezTo>
                        <a:pt x="218752" y="61237"/>
                        <a:pt x="222048" y="66599"/>
                        <a:pt x="223303" y="66840"/>
                      </a:cubicBezTo>
                      <a:cubicBezTo>
                        <a:pt x="226206" y="67423"/>
                        <a:pt x="225509" y="63341"/>
                        <a:pt x="227664" y="64102"/>
                      </a:cubicBezTo>
                      <a:cubicBezTo>
                        <a:pt x="235295" y="66840"/>
                        <a:pt x="237716" y="71239"/>
                        <a:pt x="241114" y="75460"/>
                      </a:cubicBezTo>
                      <a:cubicBezTo>
                        <a:pt x="244879" y="80125"/>
                        <a:pt x="251407" y="90367"/>
                        <a:pt x="257175" y="95945"/>
                      </a:cubicBezTo>
                      <a:cubicBezTo>
                        <a:pt x="264578" y="103158"/>
                        <a:pt x="266784" y="99761"/>
                        <a:pt x="275315" y="95172"/>
                      </a:cubicBezTo>
                      <a:cubicBezTo>
                        <a:pt x="284138" y="90431"/>
                        <a:pt x="288676" y="91356"/>
                        <a:pt x="295826" y="93993"/>
                      </a:cubicBezTo>
                      <a:cubicBezTo>
                        <a:pt x="304002" y="96985"/>
                        <a:pt x="304408" y="99926"/>
                        <a:pt x="307006" y="109725"/>
                      </a:cubicBezTo>
                      <a:cubicBezTo>
                        <a:pt x="307982" y="113338"/>
                        <a:pt x="309034" y="118814"/>
                        <a:pt x="312483" y="122883"/>
                      </a:cubicBezTo>
                      <a:cubicBezTo>
                        <a:pt x="314384" y="125139"/>
                        <a:pt x="319176" y="124936"/>
                        <a:pt x="321673" y="126901"/>
                      </a:cubicBezTo>
                      <a:cubicBezTo>
                        <a:pt x="323942" y="128739"/>
                        <a:pt x="324170" y="132973"/>
                        <a:pt x="326097" y="134342"/>
                      </a:cubicBezTo>
                      <a:cubicBezTo>
                        <a:pt x="329266" y="136650"/>
                        <a:pt x="334755" y="135864"/>
                        <a:pt x="338140" y="137968"/>
                      </a:cubicBezTo>
                      <a:cubicBezTo>
                        <a:pt x="343236" y="141124"/>
                        <a:pt x="343185" y="143825"/>
                        <a:pt x="347673" y="146271"/>
                      </a:cubicBezTo>
                      <a:cubicBezTo>
                        <a:pt x="352173" y="148730"/>
                        <a:pt x="355849" y="152673"/>
                        <a:pt x="361858" y="150720"/>
                      </a:cubicBezTo>
                      <a:cubicBezTo>
                        <a:pt x="364165" y="149973"/>
                        <a:pt x="367220" y="143596"/>
                        <a:pt x="369552" y="143102"/>
                      </a:cubicBezTo>
                      <a:cubicBezTo>
                        <a:pt x="387173" y="139464"/>
                        <a:pt x="371859" y="159290"/>
                        <a:pt x="373507" y="164804"/>
                      </a:cubicBezTo>
                      <a:cubicBezTo>
                        <a:pt x="376448" y="174679"/>
                        <a:pt x="388719" y="170914"/>
                        <a:pt x="396845" y="170623"/>
                      </a:cubicBezTo>
                      <a:cubicBezTo>
                        <a:pt x="406162" y="170293"/>
                        <a:pt x="413045" y="175516"/>
                        <a:pt x="418382" y="166921"/>
                      </a:cubicBezTo>
                      <a:cubicBezTo>
                        <a:pt x="417875" y="177088"/>
                        <a:pt x="425861" y="176251"/>
                        <a:pt x="430983" y="182209"/>
                      </a:cubicBezTo>
                      <a:cubicBezTo>
                        <a:pt x="434266" y="186025"/>
                        <a:pt x="434545" y="195545"/>
                        <a:pt x="437537" y="198650"/>
                      </a:cubicBezTo>
                      <a:cubicBezTo>
                        <a:pt x="454675" y="216562"/>
                        <a:pt x="441707" y="180371"/>
                        <a:pt x="452634" y="181195"/>
                      </a:cubicBezTo>
                      <a:cubicBezTo>
                        <a:pt x="454637" y="181334"/>
                        <a:pt x="455524" y="191754"/>
                        <a:pt x="457933" y="194239"/>
                      </a:cubicBezTo>
                      <a:cubicBezTo>
                        <a:pt x="460189" y="196521"/>
                        <a:pt x="471864" y="201401"/>
                        <a:pt x="474920" y="200057"/>
                      </a:cubicBezTo>
                      <a:cubicBezTo>
                        <a:pt x="481727" y="197078"/>
                        <a:pt x="477949" y="188471"/>
                        <a:pt x="483147" y="185150"/>
                      </a:cubicBezTo>
                      <a:cubicBezTo>
                        <a:pt x="482082" y="185847"/>
                        <a:pt x="492591" y="185695"/>
                        <a:pt x="492793" y="185771"/>
                      </a:cubicBezTo>
                      <a:cubicBezTo>
                        <a:pt x="496089" y="187064"/>
                        <a:pt x="495430" y="190677"/>
                        <a:pt x="498016" y="192667"/>
                      </a:cubicBezTo>
                      <a:cubicBezTo>
                        <a:pt x="503188" y="196635"/>
                        <a:pt x="511479" y="195393"/>
                        <a:pt x="517259" y="198536"/>
                      </a:cubicBezTo>
                      <a:cubicBezTo>
                        <a:pt x="524016" y="202238"/>
                        <a:pt x="523040" y="206472"/>
                        <a:pt x="531254" y="207270"/>
                      </a:cubicBezTo>
                      <a:cubicBezTo>
                        <a:pt x="535792" y="207702"/>
                        <a:pt x="539532" y="207055"/>
                        <a:pt x="543487" y="205610"/>
                      </a:cubicBezTo>
                      <a:cubicBezTo>
                        <a:pt x="542904" y="206928"/>
                        <a:pt x="542574" y="207828"/>
                        <a:pt x="542283" y="209210"/>
                      </a:cubicBezTo>
                      <a:cubicBezTo>
                        <a:pt x="553324" y="206903"/>
                        <a:pt x="561475" y="210807"/>
                        <a:pt x="571362" y="207524"/>
                      </a:cubicBezTo>
                      <a:cubicBezTo>
                        <a:pt x="579501" y="204824"/>
                        <a:pt x="573556" y="201718"/>
                        <a:pt x="584901" y="202200"/>
                      </a:cubicBezTo>
                      <a:cubicBezTo>
                        <a:pt x="589173" y="202352"/>
                        <a:pt x="593585" y="202175"/>
                        <a:pt x="597692" y="204684"/>
                      </a:cubicBezTo>
                      <a:lnTo>
                        <a:pt x="597692" y="204684"/>
                      </a:lnTo>
                      <a:close/>
                    </a:path>
                  </a:pathLst>
                </a:custGeom>
                <a:solidFill>
                  <a:srgbClr val="D6D6D2"/>
                </a:solidFill>
                <a:ln w="12413" cap="rnd">
                  <a:solidFill>
                    <a:srgbClr val="FFFFFF"/>
                  </a:solidFill>
                  <a:prstDash val="solid"/>
                  <a:round/>
                </a:ln>
              </p:spPr>
              <p:txBody>
                <a:bodyPr rtlCol="0" anchor="ctr"/>
                <a:lstStyle/>
                <a:p>
                  <a:endParaRPr lang="en-US"/>
                </a:p>
              </p:txBody>
            </p:sp>
            <p:sp>
              <p:nvSpPr>
                <p:cNvPr id="84" name="Freeform: Shape 83">
                  <a:extLst>
                    <a:ext uri="{FF2B5EF4-FFF2-40B4-BE49-F238E27FC236}">
                      <a16:creationId xmlns:a16="http://schemas.microsoft.com/office/drawing/2014/main" id="{9231659A-2EE1-4E07-A583-E020AB71F269}"/>
                    </a:ext>
                  </a:extLst>
                </p:cNvPr>
                <p:cNvSpPr/>
                <p:nvPr/>
              </p:nvSpPr>
              <p:spPr>
                <a:xfrm>
                  <a:off x="3326180" y="4383077"/>
                  <a:ext cx="1415782" cy="453721"/>
                </a:xfrm>
                <a:custGeom>
                  <a:avLst/>
                  <a:gdLst>
                    <a:gd name="connsiteX0" fmla="*/ 5363 w 1415782"/>
                    <a:gd name="connsiteY0" fmla="*/ 23853 h 453721"/>
                    <a:gd name="connsiteX1" fmla="*/ 18711 w 1415782"/>
                    <a:gd name="connsiteY1" fmla="*/ 36314 h 453721"/>
                    <a:gd name="connsiteX2" fmla="*/ 43659 w 1415782"/>
                    <a:gd name="connsiteY2" fmla="*/ 38292 h 453721"/>
                    <a:gd name="connsiteX3" fmla="*/ 50808 w 1415782"/>
                    <a:gd name="connsiteY3" fmla="*/ 50753 h 453721"/>
                    <a:gd name="connsiteX4" fmla="*/ 60303 w 1415782"/>
                    <a:gd name="connsiteY4" fmla="*/ 54898 h 453721"/>
                    <a:gd name="connsiteX5" fmla="*/ 67795 w 1415782"/>
                    <a:gd name="connsiteY5" fmla="*/ 65027 h 453721"/>
                    <a:gd name="connsiteX6" fmla="*/ 70051 w 1415782"/>
                    <a:gd name="connsiteY6" fmla="*/ 75460 h 453721"/>
                    <a:gd name="connsiteX7" fmla="*/ 63218 w 1415782"/>
                    <a:gd name="connsiteY7" fmla="*/ 85220 h 453721"/>
                    <a:gd name="connsiteX8" fmla="*/ 70051 w 1415782"/>
                    <a:gd name="connsiteY8" fmla="*/ 98670 h 453721"/>
                    <a:gd name="connsiteX9" fmla="*/ 82005 w 1415782"/>
                    <a:gd name="connsiteY9" fmla="*/ 90481 h 453721"/>
                    <a:gd name="connsiteX10" fmla="*/ 107028 w 1415782"/>
                    <a:gd name="connsiteY10" fmla="*/ 82381 h 453721"/>
                    <a:gd name="connsiteX11" fmla="*/ 115496 w 1415782"/>
                    <a:gd name="connsiteY11" fmla="*/ 91609 h 453721"/>
                    <a:gd name="connsiteX12" fmla="*/ 129289 w 1415782"/>
                    <a:gd name="connsiteY12" fmla="*/ 86678 h 453721"/>
                    <a:gd name="connsiteX13" fmla="*/ 142928 w 1415782"/>
                    <a:gd name="connsiteY13" fmla="*/ 55709 h 453721"/>
                    <a:gd name="connsiteX14" fmla="*/ 151688 w 1415782"/>
                    <a:gd name="connsiteY14" fmla="*/ 58841 h 453721"/>
                    <a:gd name="connsiteX15" fmla="*/ 149850 w 1415782"/>
                    <a:gd name="connsiteY15" fmla="*/ 58651 h 453721"/>
                    <a:gd name="connsiteX16" fmla="*/ 187004 w 1415782"/>
                    <a:gd name="connsiteY16" fmla="*/ 95007 h 453721"/>
                    <a:gd name="connsiteX17" fmla="*/ 213511 w 1415782"/>
                    <a:gd name="connsiteY17" fmla="*/ 112678 h 453721"/>
                    <a:gd name="connsiteX18" fmla="*/ 236152 w 1415782"/>
                    <a:gd name="connsiteY18" fmla="*/ 147868 h 453721"/>
                    <a:gd name="connsiteX19" fmla="*/ 246204 w 1415782"/>
                    <a:gd name="connsiteY19" fmla="*/ 192350 h 453721"/>
                    <a:gd name="connsiteX20" fmla="*/ 245076 w 1415782"/>
                    <a:gd name="connsiteY20" fmla="*/ 208690 h 453721"/>
                    <a:gd name="connsiteX21" fmla="*/ 243542 w 1415782"/>
                    <a:gd name="connsiteY21" fmla="*/ 225829 h 453721"/>
                    <a:gd name="connsiteX22" fmla="*/ 244569 w 1415782"/>
                    <a:gd name="connsiteY22" fmla="*/ 258623 h 453721"/>
                    <a:gd name="connsiteX23" fmla="*/ 247091 w 1415782"/>
                    <a:gd name="connsiteY23" fmla="*/ 258103 h 453721"/>
                    <a:gd name="connsiteX24" fmla="*/ 244353 w 1415782"/>
                    <a:gd name="connsiteY24" fmla="*/ 289706 h 453721"/>
                    <a:gd name="connsiteX25" fmla="*/ 259223 w 1415782"/>
                    <a:gd name="connsiteY25" fmla="*/ 320155 h 453721"/>
                    <a:gd name="connsiteX26" fmla="*/ 270061 w 1415782"/>
                    <a:gd name="connsiteY26" fmla="*/ 324946 h 453721"/>
                    <a:gd name="connsiteX27" fmla="*/ 273065 w 1415782"/>
                    <a:gd name="connsiteY27" fmla="*/ 334530 h 453721"/>
                    <a:gd name="connsiteX28" fmla="*/ 281635 w 1415782"/>
                    <a:gd name="connsiteY28" fmla="*/ 344354 h 453721"/>
                    <a:gd name="connsiteX29" fmla="*/ 294387 w 1415782"/>
                    <a:gd name="connsiteY29" fmla="*/ 374144 h 453721"/>
                    <a:gd name="connsiteX30" fmla="*/ 306912 w 1415782"/>
                    <a:gd name="connsiteY30" fmla="*/ 407394 h 453721"/>
                    <a:gd name="connsiteX31" fmla="*/ 296289 w 1415782"/>
                    <a:gd name="connsiteY31" fmla="*/ 402780 h 453721"/>
                    <a:gd name="connsiteX32" fmla="*/ 289304 w 1415782"/>
                    <a:gd name="connsiteY32" fmla="*/ 405683 h 453721"/>
                    <a:gd name="connsiteX33" fmla="*/ 282839 w 1415782"/>
                    <a:gd name="connsiteY33" fmla="*/ 395276 h 453721"/>
                    <a:gd name="connsiteX34" fmla="*/ 285932 w 1415782"/>
                    <a:gd name="connsiteY34" fmla="*/ 407141 h 453721"/>
                    <a:gd name="connsiteX35" fmla="*/ 273496 w 1415782"/>
                    <a:gd name="connsiteY35" fmla="*/ 407889 h 453721"/>
                    <a:gd name="connsiteX36" fmla="*/ 251921 w 1415782"/>
                    <a:gd name="connsiteY36" fmla="*/ 414823 h 453721"/>
                    <a:gd name="connsiteX37" fmla="*/ 249601 w 1415782"/>
                    <a:gd name="connsiteY37" fmla="*/ 423050 h 453721"/>
                    <a:gd name="connsiteX38" fmla="*/ 240664 w 1415782"/>
                    <a:gd name="connsiteY38" fmla="*/ 405671 h 453721"/>
                    <a:gd name="connsiteX39" fmla="*/ 214817 w 1415782"/>
                    <a:gd name="connsiteY39" fmla="*/ 390700 h 453721"/>
                    <a:gd name="connsiteX40" fmla="*/ 203142 w 1415782"/>
                    <a:gd name="connsiteY40" fmla="*/ 383550 h 453721"/>
                    <a:gd name="connsiteX41" fmla="*/ 188716 w 1415782"/>
                    <a:gd name="connsiteY41" fmla="*/ 378974 h 453721"/>
                    <a:gd name="connsiteX42" fmla="*/ 178853 w 1415782"/>
                    <a:gd name="connsiteY42" fmla="*/ 366538 h 453721"/>
                    <a:gd name="connsiteX43" fmla="*/ 159091 w 1415782"/>
                    <a:gd name="connsiteY43" fmla="*/ 356625 h 453721"/>
                    <a:gd name="connsiteX44" fmla="*/ 127552 w 1415782"/>
                    <a:gd name="connsiteY44" fmla="*/ 340361 h 453721"/>
                    <a:gd name="connsiteX45" fmla="*/ 103682 w 1415782"/>
                    <a:gd name="connsiteY45" fmla="*/ 320750 h 453721"/>
                    <a:gd name="connsiteX46" fmla="*/ 95366 w 1415782"/>
                    <a:gd name="connsiteY46" fmla="*/ 311065 h 453721"/>
                    <a:gd name="connsiteX47" fmla="*/ 85643 w 1415782"/>
                    <a:gd name="connsiteY47" fmla="*/ 307453 h 453721"/>
                    <a:gd name="connsiteX48" fmla="*/ 90714 w 1415782"/>
                    <a:gd name="connsiteY48" fmla="*/ 291087 h 453721"/>
                    <a:gd name="connsiteX49" fmla="*/ 81663 w 1415782"/>
                    <a:gd name="connsiteY49" fmla="*/ 271717 h 453721"/>
                    <a:gd name="connsiteX50" fmla="*/ 70520 w 1415782"/>
                    <a:gd name="connsiteY50" fmla="*/ 258584 h 453721"/>
                    <a:gd name="connsiteX51" fmla="*/ 52126 w 1415782"/>
                    <a:gd name="connsiteY51" fmla="*/ 233143 h 453721"/>
                    <a:gd name="connsiteX52" fmla="*/ 41630 w 1415782"/>
                    <a:gd name="connsiteY52" fmla="*/ 229644 h 453721"/>
                    <a:gd name="connsiteX53" fmla="*/ 54066 w 1415782"/>
                    <a:gd name="connsiteY53" fmla="*/ 220809 h 453721"/>
                    <a:gd name="connsiteX54" fmla="*/ 47056 w 1415782"/>
                    <a:gd name="connsiteY54" fmla="*/ 217259 h 453721"/>
                    <a:gd name="connsiteX55" fmla="*/ 36420 w 1415782"/>
                    <a:gd name="connsiteY55" fmla="*/ 210743 h 453721"/>
                    <a:gd name="connsiteX56" fmla="*/ 37345 w 1415782"/>
                    <a:gd name="connsiteY56" fmla="*/ 180941 h 453721"/>
                    <a:gd name="connsiteX57" fmla="*/ 38854 w 1415782"/>
                    <a:gd name="connsiteY57" fmla="*/ 172841 h 453721"/>
                    <a:gd name="connsiteX58" fmla="*/ 36420 w 1415782"/>
                    <a:gd name="connsiteY58" fmla="*/ 165805 h 453721"/>
                    <a:gd name="connsiteX59" fmla="*/ 26190 w 1415782"/>
                    <a:gd name="connsiteY59" fmla="*/ 157895 h 453721"/>
                    <a:gd name="connsiteX60" fmla="*/ 20270 w 1415782"/>
                    <a:gd name="connsiteY60" fmla="*/ 150124 h 453721"/>
                    <a:gd name="connsiteX61" fmla="*/ 19991 w 1415782"/>
                    <a:gd name="connsiteY61" fmla="*/ 138576 h 453721"/>
                    <a:gd name="connsiteX62" fmla="*/ 15060 w 1415782"/>
                    <a:gd name="connsiteY62" fmla="*/ 99165 h 453721"/>
                    <a:gd name="connsiteX63" fmla="*/ 18077 w 1415782"/>
                    <a:gd name="connsiteY63" fmla="*/ 99165 h 453721"/>
                    <a:gd name="connsiteX64" fmla="*/ 13247 w 1415782"/>
                    <a:gd name="connsiteY64" fmla="*/ 70364 h 453721"/>
                    <a:gd name="connsiteX65" fmla="*/ 926 w 1415782"/>
                    <a:gd name="connsiteY65" fmla="*/ 50132 h 453721"/>
                    <a:gd name="connsiteX66" fmla="*/ 5363 w 1415782"/>
                    <a:gd name="connsiteY66" fmla="*/ 23853 h 453721"/>
                    <a:gd name="connsiteX67" fmla="*/ 5363 w 1415782"/>
                    <a:gd name="connsiteY67" fmla="*/ 23853 h 453721"/>
                    <a:gd name="connsiteX68" fmla="*/ 1234428 w 1415782"/>
                    <a:gd name="connsiteY68" fmla="*/ 3685 h 453721"/>
                    <a:gd name="connsiteX69" fmla="*/ 1235455 w 1415782"/>
                    <a:gd name="connsiteY69" fmla="*/ 9009 h 453721"/>
                    <a:gd name="connsiteX70" fmla="*/ 1235277 w 1415782"/>
                    <a:gd name="connsiteY70" fmla="*/ 18213 h 453721"/>
                    <a:gd name="connsiteX71" fmla="*/ 1236101 w 1415782"/>
                    <a:gd name="connsiteY71" fmla="*/ 29659 h 453721"/>
                    <a:gd name="connsiteX72" fmla="*/ 1251452 w 1415782"/>
                    <a:gd name="connsiteY72" fmla="*/ 5447 h 453721"/>
                    <a:gd name="connsiteX73" fmla="*/ 1257512 w 1415782"/>
                    <a:gd name="connsiteY73" fmla="*/ 630 h 453721"/>
                    <a:gd name="connsiteX74" fmla="*/ 1263634 w 1415782"/>
                    <a:gd name="connsiteY74" fmla="*/ 11570 h 453721"/>
                    <a:gd name="connsiteX75" fmla="*/ 1267120 w 1415782"/>
                    <a:gd name="connsiteY75" fmla="*/ 24994 h 453721"/>
                    <a:gd name="connsiteX76" fmla="*/ 1273396 w 1415782"/>
                    <a:gd name="connsiteY76" fmla="*/ 28569 h 453721"/>
                    <a:gd name="connsiteX77" fmla="*/ 1285857 w 1415782"/>
                    <a:gd name="connsiteY77" fmla="*/ 28886 h 453721"/>
                    <a:gd name="connsiteX78" fmla="*/ 1300878 w 1415782"/>
                    <a:gd name="connsiteY78" fmla="*/ 51159 h 453721"/>
                    <a:gd name="connsiteX79" fmla="*/ 1291979 w 1415782"/>
                    <a:gd name="connsiteY79" fmla="*/ 58384 h 453721"/>
                    <a:gd name="connsiteX80" fmla="*/ 1295580 w 1415782"/>
                    <a:gd name="connsiteY80" fmla="*/ 68183 h 453721"/>
                    <a:gd name="connsiteX81" fmla="*/ 1296061 w 1415782"/>
                    <a:gd name="connsiteY81" fmla="*/ 74623 h 453721"/>
                    <a:gd name="connsiteX82" fmla="*/ 1281052 w 1415782"/>
                    <a:gd name="connsiteY82" fmla="*/ 84396 h 453721"/>
                    <a:gd name="connsiteX83" fmla="*/ 1303413 w 1415782"/>
                    <a:gd name="connsiteY83" fmla="*/ 78844 h 453721"/>
                    <a:gd name="connsiteX84" fmla="*/ 1327575 w 1415782"/>
                    <a:gd name="connsiteY84" fmla="*/ 81811 h 453721"/>
                    <a:gd name="connsiteX85" fmla="*/ 1315735 w 1415782"/>
                    <a:gd name="connsiteY85" fmla="*/ 88377 h 453721"/>
                    <a:gd name="connsiteX86" fmla="*/ 1316775 w 1415782"/>
                    <a:gd name="connsiteY86" fmla="*/ 97263 h 453721"/>
                    <a:gd name="connsiteX87" fmla="*/ 1323721 w 1415782"/>
                    <a:gd name="connsiteY87" fmla="*/ 95628 h 453721"/>
                    <a:gd name="connsiteX88" fmla="*/ 1331695 w 1415782"/>
                    <a:gd name="connsiteY88" fmla="*/ 93739 h 453721"/>
                    <a:gd name="connsiteX89" fmla="*/ 1334991 w 1415782"/>
                    <a:gd name="connsiteY89" fmla="*/ 88935 h 453721"/>
                    <a:gd name="connsiteX90" fmla="*/ 1345170 w 1415782"/>
                    <a:gd name="connsiteY90" fmla="*/ 89771 h 453721"/>
                    <a:gd name="connsiteX91" fmla="*/ 1361840 w 1415782"/>
                    <a:gd name="connsiteY91" fmla="*/ 96870 h 453721"/>
                    <a:gd name="connsiteX92" fmla="*/ 1362118 w 1415782"/>
                    <a:gd name="connsiteY92" fmla="*/ 109712 h 453721"/>
                    <a:gd name="connsiteX93" fmla="*/ 1380880 w 1415782"/>
                    <a:gd name="connsiteY93" fmla="*/ 113223 h 453721"/>
                    <a:gd name="connsiteX94" fmla="*/ 1381843 w 1415782"/>
                    <a:gd name="connsiteY94" fmla="*/ 111195 h 453721"/>
                    <a:gd name="connsiteX95" fmla="*/ 1388435 w 1415782"/>
                    <a:gd name="connsiteY95" fmla="*/ 118762 h 453721"/>
                    <a:gd name="connsiteX96" fmla="*/ 1411798 w 1415782"/>
                    <a:gd name="connsiteY96" fmla="*/ 118699 h 453721"/>
                    <a:gd name="connsiteX97" fmla="*/ 1393632 w 1415782"/>
                    <a:gd name="connsiteY97" fmla="*/ 144990 h 453721"/>
                    <a:gd name="connsiteX98" fmla="*/ 1360623 w 1415782"/>
                    <a:gd name="connsiteY98" fmla="*/ 151709 h 453721"/>
                    <a:gd name="connsiteX99" fmla="*/ 1355831 w 1415782"/>
                    <a:gd name="connsiteY99" fmla="*/ 152317 h 453721"/>
                    <a:gd name="connsiteX100" fmla="*/ 1349645 w 1415782"/>
                    <a:gd name="connsiteY100" fmla="*/ 145903 h 453721"/>
                    <a:gd name="connsiteX101" fmla="*/ 1341836 w 1415782"/>
                    <a:gd name="connsiteY101" fmla="*/ 150099 h 453721"/>
                    <a:gd name="connsiteX102" fmla="*/ 1333888 w 1415782"/>
                    <a:gd name="connsiteY102" fmla="*/ 161584 h 453721"/>
                    <a:gd name="connsiteX103" fmla="*/ 1348770 w 1415782"/>
                    <a:gd name="connsiteY103" fmla="*/ 175249 h 453721"/>
                    <a:gd name="connsiteX104" fmla="*/ 1355020 w 1415782"/>
                    <a:gd name="connsiteY104" fmla="*/ 177544 h 453721"/>
                    <a:gd name="connsiteX105" fmla="*/ 1357339 w 1415782"/>
                    <a:gd name="connsiteY105" fmla="*/ 184922 h 453721"/>
                    <a:gd name="connsiteX106" fmla="*/ 1364451 w 1415782"/>
                    <a:gd name="connsiteY106" fmla="*/ 185238 h 453721"/>
                    <a:gd name="connsiteX107" fmla="*/ 1364121 w 1415782"/>
                    <a:gd name="connsiteY107" fmla="*/ 190537 h 453721"/>
                    <a:gd name="connsiteX108" fmla="*/ 1341583 w 1415782"/>
                    <a:gd name="connsiteY108" fmla="*/ 198105 h 453721"/>
                    <a:gd name="connsiteX109" fmla="*/ 1306925 w 1415782"/>
                    <a:gd name="connsiteY109" fmla="*/ 199271 h 453721"/>
                    <a:gd name="connsiteX110" fmla="*/ 1291853 w 1415782"/>
                    <a:gd name="connsiteY110" fmla="*/ 193186 h 453721"/>
                    <a:gd name="connsiteX111" fmla="*/ 1292778 w 1415782"/>
                    <a:gd name="connsiteY111" fmla="*/ 209133 h 453721"/>
                    <a:gd name="connsiteX112" fmla="*/ 1264053 w 1415782"/>
                    <a:gd name="connsiteY112" fmla="*/ 198092 h 453721"/>
                    <a:gd name="connsiteX113" fmla="*/ 1228394 w 1415782"/>
                    <a:gd name="connsiteY113" fmla="*/ 196749 h 453721"/>
                    <a:gd name="connsiteX114" fmla="*/ 1216136 w 1415782"/>
                    <a:gd name="connsiteY114" fmla="*/ 197864 h 453721"/>
                    <a:gd name="connsiteX115" fmla="*/ 1210583 w 1415782"/>
                    <a:gd name="connsiteY115" fmla="*/ 193922 h 453721"/>
                    <a:gd name="connsiteX116" fmla="*/ 1209049 w 1415782"/>
                    <a:gd name="connsiteY116" fmla="*/ 198257 h 453721"/>
                    <a:gd name="connsiteX117" fmla="*/ 1199948 w 1415782"/>
                    <a:gd name="connsiteY117" fmla="*/ 198003 h 453721"/>
                    <a:gd name="connsiteX118" fmla="*/ 1191480 w 1415782"/>
                    <a:gd name="connsiteY118" fmla="*/ 195367 h 453721"/>
                    <a:gd name="connsiteX119" fmla="*/ 1171565 w 1415782"/>
                    <a:gd name="connsiteY119" fmla="*/ 199677 h 453721"/>
                    <a:gd name="connsiteX120" fmla="*/ 1161791 w 1415782"/>
                    <a:gd name="connsiteY120" fmla="*/ 193339 h 453721"/>
                    <a:gd name="connsiteX121" fmla="*/ 1155909 w 1415782"/>
                    <a:gd name="connsiteY121" fmla="*/ 204785 h 453721"/>
                    <a:gd name="connsiteX122" fmla="*/ 1142510 w 1415782"/>
                    <a:gd name="connsiteY122" fmla="*/ 224586 h 453721"/>
                    <a:gd name="connsiteX123" fmla="*/ 1138352 w 1415782"/>
                    <a:gd name="connsiteY123" fmla="*/ 228833 h 453721"/>
                    <a:gd name="connsiteX124" fmla="*/ 1141040 w 1415782"/>
                    <a:gd name="connsiteY124" fmla="*/ 231546 h 453721"/>
                    <a:gd name="connsiteX125" fmla="*/ 1138935 w 1415782"/>
                    <a:gd name="connsiteY125" fmla="*/ 250345 h 453721"/>
                    <a:gd name="connsiteX126" fmla="*/ 1142967 w 1415782"/>
                    <a:gd name="connsiteY126" fmla="*/ 264099 h 453721"/>
                    <a:gd name="connsiteX127" fmla="*/ 1138935 w 1415782"/>
                    <a:gd name="connsiteY127" fmla="*/ 265291 h 453721"/>
                    <a:gd name="connsiteX128" fmla="*/ 1134702 w 1415782"/>
                    <a:gd name="connsiteY128" fmla="*/ 278753 h 453721"/>
                    <a:gd name="connsiteX129" fmla="*/ 1133180 w 1415782"/>
                    <a:gd name="connsiteY129" fmla="*/ 292748 h 453721"/>
                    <a:gd name="connsiteX130" fmla="*/ 1116447 w 1415782"/>
                    <a:gd name="connsiteY130" fmla="*/ 292697 h 453721"/>
                    <a:gd name="connsiteX131" fmla="*/ 1106699 w 1415782"/>
                    <a:gd name="connsiteY131" fmla="*/ 303688 h 453721"/>
                    <a:gd name="connsiteX132" fmla="*/ 1106268 w 1415782"/>
                    <a:gd name="connsiteY132" fmla="*/ 313259 h 453721"/>
                    <a:gd name="connsiteX133" fmla="*/ 1103695 w 1415782"/>
                    <a:gd name="connsiteY133" fmla="*/ 320661 h 453721"/>
                    <a:gd name="connsiteX134" fmla="*/ 1108867 w 1415782"/>
                    <a:gd name="connsiteY134" fmla="*/ 324997 h 453721"/>
                    <a:gd name="connsiteX135" fmla="*/ 1099549 w 1415782"/>
                    <a:gd name="connsiteY135" fmla="*/ 340843 h 453721"/>
                    <a:gd name="connsiteX136" fmla="*/ 1080294 w 1415782"/>
                    <a:gd name="connsiteY136" fmla="*/ 359426 h 453721"/>
                    <a:gd name="connsiteX137" fmla="*/ 1086252 w 1415782"/>
                    <a:gd name="connsiteY137" fmla="*/ 375107 h 453721"/>
                    <a:gd name="connsiteX138" fmla="*/ 1074222 w 1415782"/>
                    <a:gd name="connsiteY138" fmla="*/ 382523 h 453721"/>
                    <a:gd name="connsiteX139" fmla="*/ 1070787 w 1415782"/>
                    <a:gd name="connsiteY139" fmla="*/ 398863 h 453721"/>
                    <a:gd name="connsiteX140" fmla="*/ 1066629 w 1415782"/>
                    <a:gd name="connsiteY140" fmla="*/ 408408 h 453721"/>
                    <a:gd name="connsiteX141" fmla="*/ 1054915 w 1415782"/>
                    <a:gd name="connsiteY141" fmla="*/ 406241 h 453721"/>
                    <a:gd name="connsiteX142" fmla="*/ 1038195 w 1415782"/>
                    <a:gd name="connsiteY142" fmla="*/ 411730 h 453721"/>
                    <a:gd name="connsiteX143" fmla="*/ 1023313 w 1415782"/>
                    <a:gd name="connsiteY143" fmla="*/ 409486 h 453721"/>
                    <a:gd name="connsiteX144" fmla="*/ 998733 w 1415782"/>
                    <a:gd name="connsiteY144" fmla="*/ 425750 h 453721"/>
                    <a:gd name="connsiteX145" fmla="*/ 986285 w 1415782"/>
                    <a:gd name="connsiteY145" fmla="*/ 420210 h 453721"/>
                    <a:gd name="connsiteX146" fmla="*/ 976131 w 1415782"/>
                    <a:gd name="connsiteY146" fmla="*/ 418157 h 453721"/>
                    <a:gd name="connsiteX147" fmla="*/ 965102 w 1415782"/>
                    <a:gd name="connsiteY147" fmla="*/ 414747 h 453721"/>
                    <a:gd name="connsiteX148" fmla="*/ 947621 w 1415782"/>
                    <a:gd name="connsiteY148" fmla="*/ 412300 h 453721"/>
                    <a:gd name="connsiteX149" fmla="*/ 937911 w 1415782"/>
                    <a:gd name="connsiteY149" fmla="*/ 401145 h 453721"/>
                    <a:gd name="connsiteX150" fmla="*/ 899083 w 1415782"/>
                    <a:gd name="connsiteY150" fmla="*/ 405645 h 453721"/>
                    <a:gd name="connsiteX151" fmla="*/ 889081 w 1415782"/>
                    <a:gd name="connsiteY151" fmla="*/ 410640 h 453721"/>
                    <a:gd name="connsiteX152" fmla="*/ 890450 w 1415782"/>
                    <a:gd name="connsiteY152" fmla="*/ 413771 h 453721"/>
                    <a:gd name="connsiteX153" fmla="*/ 881247 w 1415782"/>
                    <a:gd name="connsiteY153" fmla="*/ 432976 h 453721"/>
                    <a:gd name="connsiteX154" fmla="*/ 868026 w 1415782"/>
                    <a:gd name="connsiteY154" fmla="*/ 437032 h 453721"/>
                    <a:gd name="connsiteX155" fmla="*/ 857682 w 1415782"/>
                    <a:gd name="connsiteY155" fmla="*/ 442901 h 453721"/>
                    <a:gd name="connsiteX156" fmla="*/ 840049 w 1415782"/>
                    <a:gd name="connsiteY156" fmla="*/ 445931 h 453721"/>
                    <a:gd name="connsiteX157" fmla="*/ 791967 w 1415782"/>
                    <a:gd name="connsiteY157" fmla="*/ 443079 h 453721"/>
                    <a:gd name="connsiteX158" fmla="*/ 781191 w 1415782"/>
                    <a:gd name="connsiteY158" fmla="*/ 450101 h 453721"/>
                    <a:gd name="connsiteX159" fmla="*/ 768971 w 1415782"/>
                    <a:gd name="connsiteY159" fmla="*/ 453689 h 453721"/>
                    <a:gd name="connsiteX160" fmla="*/ 757854 w 1415782"/>
                    <a:gd name="connsiteY160" fmla="*/ 446349 h 453721"/>
                    <a:gd name="connsiteX161" fmla="*/ 748752 w 1415782"/>
                    <a:gd name="connsiteY161" fmla="*/ 443434 h 453721"/>
                    <a:gd name="connsiteX162" fmla="*/ 743428 w 1415782"/>
                    <a:gd name="connsiteY162" fmla="*/ 433128 h 453721"/>
                    <a:gd name="connsiteX163" fmla="*/ 733984 w 1415782"/>
                    <a:gd name="connsiteY163" fmla="*/ 427968 h 453721"/>
                    <a:gd name="connsiteX164" fmla="*/ 720927 w 1415782"/>
                    <a:gd name="connsiteY164" fmla="*/ 413175 h 453721"/>
                    <a:gd name="connsiteX165" fmla="*/ 706805 w 1415782"/>
                    <a:gd name="connsiteY165" fmla="*/ 402235 h 453721"/>
                    <a:gd name="connsiteX166" fmla="*/ 702394 w 1415782"/>
                    <a:gd name="connsiteY166" fmla="*/ 392664 h 453721"/>
                    <a:gd name="connsiteX167" fmla="*/ 700277 w 1415782"/>
                    <a:gd name="connsiteY167" fmla="*/ 384944 h 453721"/>
                    <a:gd name="connsiteX168" fmla="*/ 695764 w 1415782"/>
                    <a:gd name="connsiteY168" fmla="*/ 383448 h 453721"/>
                    <a:gd name="connsiteX169" fmla="*/ 702686 w 1415782"/>
                    <a:gd name="connsiteY169" fmla="*/ 363229 h 453721"/>
                    <a:gd name="connsiteX170" fmla="*/ 721434 w 1415782"/>
                    <a:gd name="connsiteY170" fmla="*/ 388228 h 453721"/>
                    <a:gd name="connsiteX171" fmla="*/ 739841 w 1415782"/>
                    <a:gd name="connsiteY171" fmla="*/ 391283 h 453721"/>
                    <a:gd name="connsiteX172" fmla="*/ 750425 w 1415782"/>
                    <a:gd name="connsiteY172" fmla="*/ 393336 h 453721"/>
                    <a:gd name="connsiteX173" fmla="*/ 752694 w 1415782"/>
                    <a:gd name="connsiteY173" fmla="*/ 384234 h 453721"/>
                    <a:gd name="connsiteX174" fmla="*/ 756751 w 1415782"/>
                    <a:gd name="connsiteY174" fmla="*/ 390978 h 453721"/>
                    <a:gd name="connsiteX175" fmla="*/ 763355 w 1415782"/>
                    <a:gd name="connsiteY175" fmla="*/ 397253 h 453721"/>
                    <a:gd name="connsiteX176" fmla="*/ 779023 w 1415782"/>
                    <a:gd name="connsiteY176" fmla="*/ 409904 h 453721"/>
                    <a:gd name="connsiteX177" fmla="*/ 785628 w 1415782"/>
                    <a:gd name="connsiteY177" fmla="*/ 403439 h 453721"/>
                    <a:gd name="connsiteX178" fmla="*/ 801207 w 1415782"/>
                    <a:gd name="connsiteY178" fmla="*/ 406583 h 453721"/>
                    <a:gd name="connsiteX179" fmla="*/ 831200 w 1415782"/>
                    <a:gd name="connsiteY179" fmla="*/ 416864 h 453721"/>
                    <a:gd name="connsiteX180" fmla="*/ 804719 w 1415782"/>
                    <a:gd name="connsiteY180" fmla="*/ 403972 h 453721"/>
                    <a:gd name="connsiteX181" fmla="*/ 822606 w 1415782"/>
                    <a:gd name="connsiteY181" fmla="*/ 396759 h 453721"/>
                    <a:gd name="connsiteX182" fmla="*/ 812477 w 1415782"/>
                    <a:gd name="connsiteY182" fmla="*/ 384653 h 453721"/>
                    <a:gd name="connsiteX183" fmla="*/ 822631 w 1415782"/>
                    <a:gd name="connsiteY183" fmla="*/ 364345 h 453721"/>
                    <a:gd name="connsiteX184" fmla="*/ 830097 w 1415782"/>
                    <a:gd name="connsiteY184" fmla="*/ 356828 h 453721"/>
                    <a:gd name="connsiteX185" fmla="*/ 820590 w 1415782"/>
                    <a:gd name="connsiteY185" fmla="*/ 353392 h 453721"/>
                    <a:gd name="connsiteX186" fmla="*/ 821046 w 1415782"/>
                    <a:gd name="connsiteY186" fmla="*/ 337243 h 453721"/>
                    <a:gd name="connsiteX187" fmla="*/ 829831 w 1415782"/>
                    <a:gd name="connsiteY187" fmla="*/ 344265 h 453721"/>
                    <a:gd name="connsiteX188" fmla="*/ 839300 w 1415782"/>
                    <a:gd name="connsiteY188" fmla="*/ 343872 h 453721"/>
                    <a:gd name="connsiteX189" fmla="*/ 832734 w 1415782"/>
                    <a:gd name="connsiteY189" fmla="*/ 333718 h 453721"/>
                    <a:gd name="connsiteX190" fmla="*/ 841367 w 1415782"/>
                    <a:gd name="connsiteY190" fmla="*/ 333237 h 453721"/>
                    <a:gd name="connsiteX191" fmla="*/ 846057 w 1415782"/>
                    <a:gd name="connsiteY191" fmla="*/ 310913 h 453721"/>
                    <a:gd name="connsiteX192" fmla="*/ 898411 w 1415782"/>
                    <a:gd name="connsiteY192" fmla="*/ 298731 h 453721"/>
                    <a:gd name="connsiteX193" fmla="*/ 950043 w 1415782"/>
                    <a:gd name="connsiteY193" fmla="*/ 284521 h 453721"/>
                    <a:gd name="connsiteX194" fmla="*/ 958333 w 1415782"/>
                    <a:gd name="connsiteY194" fmla="*/ 273251 h 453721"/>
                    <a:gd name="connsiteX195" fmla="*/ 972581 w 1415782"/>
                    <a:gd name="connsiteY195" fmla="*/ 258103 h 453721"/>
                    <a:gd name="connsiteX196" fmla="*/ 984941 w 1415782"/>
                    <a:gd name="connsiteY196" fmla="*/ 238733 h 453721"/>
                    <a:gd name="connsiteX197" fmla="*/ 1022210 w 1415782"/>
                    <a:gd name="connsiteY197" fmla="*/ 198447 h 453721"/>
                    <a:gd name="connsiteX198" fmla="*/ 1036192 w 1415782"/>
                    <a:gd name="connsiteY198" fmla="*/ 182462 h 453721"/>
                    <a:gd name="connsiteX199" fmla="*/ 1046054 w 1415782"/>
                    <a:gd name="connsiteY199" fmla="*/ 195531 h 453721"/>
                    <a:gd name="connsiteX200" fmla="*/ 1045142 w 1415782"/>
                    <a:gd name="connsiteY200" fmla="*/ 201946 h 453721"/>
                    <a:gd name="connsiteX201" fmla="*/ 1052799 w 1415782"/>
                    <a:gd name="connsiteY201" fmla="*/ 203163 h 453721"/>
                    <a:gd name="connsiteX202" fmla="*/ 1063320 w 1415782"/>
                    <a:gd name="connsiteY202" fmla="*/ 214622 h 453721"/>
                    <a:gd name="connsiteX203" fmla="*/ 1084769 w 1415782"/>
                    <a:gd name="connsiteY203" fmla="*/ 201705 h 453721"/>
                    <a:gd name="connsiteX204" fmla="*/ 1082474 w 1415782"/>
                    <a:gd name="connsiteY204" fmla="*/ 202643 h 453721"/>
                    <a:gd name="connsiteX205" fmla="*/ 1085631 w 1415782"/>
                    <a:gd name="connsiteY205" fmla="*/ 190740 h 453721"/>
                    <a:gd name="connsiteX206" fmla="*/ 1080306 w 1415782"/>
                    <a:gd name="connsiteY206" fmla="*/ 171649 h 453721"/>
                    <a:gd name="connsiteX207" fmla="*/ 1099702 w 1415782"/>
                    <a:gd name="connsiteY207" fmla="*/ 154612 h 453721"/>
                    <a:gd name="connsiteX208" fmla="*/ 1104367 w 1415782"/>
                    <a:gd name="connsiteY208" fmla="*/ 184985 h 453721"/>
                    <a:gd name="connsiteX209" fmla="*/ 1112606 w 1415782"/>
                    <a:gd name="connsiteY209" fmla="*/ 195823 h 453721"/>
                    <a:gd name="connsiteX210" fmla="*/ 1121227 w 1415782"/>
                    <a:gd name="connsiteY210" fmla="*/ 198434 h 453721"/>
                    <a:gd name="connsiteX211" fmla="*/ 1118247 w 1415782"/>
                    <a:gd name="connsiteY211" fmla="*/ 183324 h 453721"/>
                    <a:gd name="connsiteX212" fmla="*/ 1109349 w 1415782"/>
                    <a:gd name="connsiteY212" fmla="*/ 155195 h 453721"/>
                    <a:gd name="connsiteX213" fmla="*/ 1128363 w 1415782"/>
                    <a:gd name="connsiteY213" fmla="*/ 152558 h 453721"/>
                    <a:gd name="connsiteX214" fmla="*/ 1142789 w 1415782"/>
                    <a:gd name="connsiteY214" fmla="*/ 131832 h 453721"/>
                    <a:gd name="connsiteX215" fmla="*/ 1125537 w 1415782"/>
                    <a:gd name="connsiteY215" fmla="*/ 125760 h 453721"/>
                    <a:gd name="connsiteX216" fmla="*/ 1143220 w 1415782"/>
                    <a:gd name="connsiteY216" fmla="*/ 101535 h 453721"/>
                    <a:gd name="connsiteX217" fmla="*/ 1143220 w 1415782"/>
                    <a:gd name="connsiteY217" fmla="*/ 110130 h 453721"/>
                    <a:gd name="connsiteX218" fmla="*/ 1144323 w 1415782"/>
                    <a:gd name="connsiteY218" fmla="*/ 106555 h 453721"/>
                    <a:gd name="connsiteX219" fmla="*/ 1166558 w 1415782"/>
                    <a:gd name="connsiteY219" fmla="*/ 93371 h 453721"/>
                    <a:gd name="connsiteX220" fmla="*/ 1179564 w 1415782"/>
                    <a:gd name="connsiteY220" fmla="*/ 66738 h 453721"/>
                    <a:gd name="connsiteX221" fmla="*/ 1194015 w 1415782"/>
                    <a:gd name="connsiteY221" fmla="*/ 57535 h 453721"/>
                    <a:gd name="connsiteX222" fmla="*/ 1189920 w 1415782"/>
                    <a:gd name="connsiteY222" fmla="*/ 55038 h 453721"/>
                    <a:gd name="connsiteX223" fmla="*/ 1217251 w 1415782"/>
                    <a:gd name="connsiteY223" fmla="*/ 25932 h 453721"/>
                    <a:gd name="connsiteX224" fmla="*/ 1234428 w 1415782"/>
                    <a:gd name="connsiteY224" fmla="*/ 3685 h 453721"/>
                    <a:gd name="connsiteX225" fmla="*/ 1234428 w 1415782"/>
                    <a:gd name="connsiteY225" fmla="*/ 3685 h 453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Lst>
                  <a:rect l="l" t="t" r="r" b="b"/>
                  <a:pathLst>
                    <a:path w="1415782" h="453721">
                      <a:moveTo>
                        <a:pt x="5363" y="23853"/>
                      </a:moveTo>
                      <a:cubicBezTo>
                        <a:pt x="12069" y="21166"/>
                        <a:pt x="12905" y="32512"/>
                        <a:pt x="18711" y="36314"/>
                      </a:cubicBezTo>
                      <a:cubicBezTo>
                        <a:pt x="24707" y="40206"/>
                        <a:pt x="37979" y="43122"/>
                        <a:pt x="43659" y="38292"/>
                      </a:cubicBezTo>
                      <a:cubicBezTo>
                        <a:pt x="46612" y="42222"/>
                        <a:pt x="47613" y="45619"/>
                        <a:pt x="50808" y="50753"/>
                      </a:cubicBezTo>
                      <a:cubicBezTo>
                        <a:pt x="55764" y="58803"/>
                        <a:pt x="49223" y="54112"/>
                        <a:pt x="60303" y="54898"/>
                      </a:cubicBezTo>
                      <a:cubicBezTo>
                        <a:pt x="72662" y="55760"/>
                        <a:pt x="67021" y="58270"/>
                        <a:pt x="67795" y="65027"/>
                      </a:cubicBezTo>
                      <a:cubicBezTo>
                        <a:pt x="68175" y="68475"/>
                        <a:pt x="71141" y="70034"/>
                        <a:pt x="70051" y="75460"/>
                      </a:cubicBezTo>
                      <a:cubicBezTo>
                        <a:pt x="68847" y="81291"/>
                        <a:pt x="64816" y="80125"/>
                        <a:pt x="63218" y="85220"/>
                      </a:cubicBezTo>
                      <a:cubicBezTo>
                        <a:pt x="61114" y="92015"/>
                        <a:pt x="62952" y="95818"/>
                        <a:pt x="70051" y="98670"/>
                      </a:cubicBezTo>
                      <a:cubicBezTo>
                        <a:pt x="80813" y="103056"/>
                        <a:pt x="75590" y="96249"/>
                        <a:pt x="82005" y="90481"/>
                      </a:cubicBezTo>
                      <a:cubicBezTo>
                        <a:pt x="86226" y="86653"/>
                        <a:pt x="102249" y="80061"/>
                        <a:pt x="107028" y="82381"/>
                      </a:cubicBezTo>
                      <a:cubicBezTo>
                        <a:pt x="111326" y="84510"/>
                        <a:pt x="111326" y="89733"/>
                        <a:pt x="115496" y="91609"/>
                      </a:cubicBezTo>
                      <a:cubicBezTo>
                        <a:pt x="120554" y="93917"/>
                        <a:pt x="125118" y="93245"/>
                        <a:pt x="129289" y="86678"/>
                      </a:cubicBezTo>
                      <a:cubicBezTo>
                        <a:pt x="135145" y="77323"/>
                        <a:pt x="142320" y="67283"/>
                        <a:pt x="142928" y="55709"/>
                      </a:cubicBezTo>
                      <a:cubicBezTo>
                        <a:pt x="146465" y="59145"/>
                        <a:pt x="149102" y="58562"/>
                        <a:pt x="151688" y="58841"/>
                      </a:cubicBezTo>
                      <a:cubicBezTo>
                        <a:pt x="151231" y="58067"/>
                        <a:pt x="150623" y="58004"/>
                        <a:pt x="149850" y="58651"/>
                      </a:cubicBezTo>
                      <a:cubicBezTo>
                        <a:pt x="163490" y="51881"/>
                        <a:pt x="177472" y="86818"/>
                        <a:pt x="187004" y="95007"/>
                      </a:cubicBezTo>
                      <a:cubicBezTo>
                        <a:pt x="195181" y="102055"/>
                        <a:pt x="205500" y="106074"/>
                        <a:pt x="213511" y="112678"/>
                      </a:cubicBezTo>
                      <a:cubicBezTo>
                        <a:pt x="224084" y="121450"/>
                        <a:pt x="229559" y="136243"/>
                        <a:pt x="236152" y="147868"/>
                      </a:cubicBezTo>
                      <a:cubicBezTo>
                        <a:pt x="244746" y="163016"/>
                        <a:pt x="245583" y="175579"/>
                        <a:pt x="246204" y="192350"/>
                      </a:cubicBezTo>
                      <a:cubicBezTo>
                        <a:pt x="246483" y="198954"/>
                        <a:pt x="246939" y="202694"/>
                        <a:pt x="245076" y="208690"/>
                      </a:cubicBezTo>
                      <a:cubicBezTo>
                        <a:pt x="242629" y="216511"/>
                        <a:pt x="242236" y="215649"/>
                        <a:pt x="243542" y="225829"/>
                      </a:cubicBezTo>
                      <a:cubicBezTo>
                        <a:pt x="229053" y="226906"/>
                        <a:pt x="244746" y="253489"/>
                        <a:pt x="244569" y="258623"/>
                      </a:cubicBezTo>
                      <a:cubicBezTo>
                        <a:pt x="245405" y="258432"/>
                        <a:pt x="246255" y="258293"/>
                        <a:pt x="247091" y="258103"/>
                      </a:cubicBezTo>
                      <a:cubicBezTo>
                        <a:pt x="240994" y="267433"/>
                        <a:pt x="244594" y="279159"/>
                        <a:pt x="244353" y="289706"/>
                      </a:cubicBezTo>
                      <a:cubicBezTo>
                        <a:pt x="244087" y="302674"/>
                        <a:pt x="247053" y="312574"/>
                        <a:pt x="259223" y="320155"/>
                      </a:cubicBezTo>
                      <a:cubicBezTo>
                        <a:pt x="264369" y="323349"/>
                        <a:pt x="266296" y="320319"/>
                        <a:pt x="270061" y="324946"/>
                      </a:cubicBezTo>
                      <a:cubicBezTo>
                        <a:pt x="272990" y="328559"/>
                        <a:pt x="271367" y="331589"/>
                        <a:pt x="273065" y="334530"/>
                      </a:cubicBezTo>
                      <a:cubicBezTo>
                        <a:pt x="275132" y="338104"/>
                        <a:pt x="279898" y="340982"/>
                        <a:pt x="281635" y="344354"/>
                      </a:cubicBezTo>
                      <a:cubicBezTo>
                        <a:pt x="286211" y="353367"/>
                        <a:pt x="289076" y="364193"/>
                        <a:pt x="294387" y="374144"/>
                      </a:cubicBezTo>
                      <a:cubicBezTo>
                        <a:pt x="298393" y="381534"/>
                        <a:pt x="307115" y="396239"/>
                        <a:pt x="306912" y="407394"/>
                      </a:cubicBezTo>
                      <a:cubicBezTo>
                        <a:pt x="306493" y="428374"/>
                        <a:pt x="280456" y="409397"/>
                        <a:pt x="296289" y="402780"/>
                      </a:cubicBezTo>
                      <a:cubicBezTo>
                        <a:pt x="294755" y="403705"/>
                        <a:pt x="291358" y="404365"/>
                        <a:pt x="289304" y="405683"/>
                      </a:cubicBezTo>
                      <a:cubicBezTo>
                        <a:pt x="288075" y="401690"/>
                        <a:pt x="286008" y="397887"/>
                        <a:pt x="282839" y="395276"/>
                      </a:cubicBezTo>
                      <a:cubicBezTo>
                        <a:pt x="283942" y="398052"/>
                        <a:pt x="287060" y="403604"/>
                        <a:pt x="285932" y="407141"/>
                      </a:cubicBezTo>
                      <a:cubicBezTo>
                        <a:pt x="283131" y="416027"/>
                        <a:pt x="280469" y="408282"/>
                        <a:pt x="273496" y="407889"/>
                      </a:cubicBezTo>
                      <a:cubicBezTo>
                        <a:pt x="265333" y="407420"/>
                        <a:pt x="257017" y="419348"/>
                        <a:pt x="251921" y="414823"/>
                      </a:cubicBezTo>
                      <a:cubicBezTo>
                        <a:pt x="252048" y="418258"/>
                        <a:pt x="250336" y="419653"/>
                        <a:pt x="249601" y="423050"/>
                      </a:cubicBezTo>
                      <a:cubicBezTo>
                        <a:pt x="243833" y="418106"/>
                        <a:pt x="245063" y="411172"/>
                        <a:pt x="240664" y="405671"/>
                      </a:cubicBezTo>
                      <a:cubicBezTo>
                        <a:pt x="235416" y="399079"/>
                        <a:pt x="222157" y="394908"/>
                        <a:pt x="214817" y="390700"/>
                      </a:cubicBezTo>
                      <a:cubicBezTo>
                        <a:pt x="211331" y="388696"/>
                        <a:pt x="206172" y="384919"/>
                        <a:pt x="203142" y="383550"/>
                      </a:cubicBezTo>
                      <a:cubicBezTo>
                        <a:pt x="198185" y="381395"/>
                        <a:pt x="192810" y="381306"/>
                        <a:pt x="188716" y="378974"/>
                      </a:cubicBezTo>
                      <a:cubicBezTo>
                        <a:pt x="185813" y="377338"/>
                        <a:pt x="180070" y="367539"/>
                        <a:pt x="178853" y="366538"/>
                      </a:cubicBezTo>
                      <a:cubicBezTo>
                        <a:pt x="173048" y="361924"/>
                        <a:pt x="166101" y="359629"/>
                        <a:pt x="159091" y="356625"/>
                      </a:cubicBezTo>
                      <a:cubicBezTo>
                        <a:pt x="150027" y="352746"/>
                        <a:pt x="135462" y="335138"/>
                        <a:pt x="127552" y="340361"/>
                      </a:cubicBezTo>
                      <a:cubicBezTo>
                        <a:pt x="125257" y="324934"/>
                        <a:pt x="114343" y="327621"/>
                        <a:pt x="103682" y="320750"/>
                      </a:cubicBezTo>
                      <a:cubicBezTo>
                        <a:pt x="99765" y="318215"/>
                        <a:pt x="98776" y="313499"/>
                        <a:pt x="95366" y="311065"/>
                      </a:cubicBezTo>
                      <a:cubicBezTo>
                        <a:pt x="93743" y="309899"/>
                        <a:pt x="86353" y="308670"/>
                        <a:pt x="85643" y="307453"/>
                      </a:cubicBezTo>
                      <a:cubicBezTo>
                        <a:pt x="82360" y="301989"/>
                        <a:pt x="90181" y="298161"/>
                        <a:pt x="90714" y="291087"/>
                      </a:cubicBezTo>
                      <a:cubicBezTo>
                        <a:pt x="91043" y="286093"/>
                        <a:pt x="84794" y="276218"/>
                        <a:pt x="81663" y="271717"/>
                      </a:cubicBezTo>
                      <a:cubicBezTo>
                        <a:pt x="78849" y="267623"/>
                        <a:pt x="73651" y="263389"/>
                        <a:pt x="70520" y="258584"/>
                      </a:cubicBezTo>
                      <a:cubicBezTo>
                        <a:pt x="66349" y="252208"/>
                        <a:pt x="48311" y="237339"/>
                        <a:pt x="52126" y="233143"/>
                      </a:cubicBezTo>
                      <a:cubicBezTo>
                        <a:pt x="48311" y="234385"/>
                        <a:pt x="43481" y="233853"/>
                        <a:pt x="41630" y="229644"/>
                      </a:cubicBezTo>
                      <a:cubicBezTo>
                        <a:pt x="38017" y="221442"/>
                        <a:pt x="49604" y="222545"/>
                        <a:pt x="54066" y="220809"/>
                      </a:cubicBezTo>
                      <a:cubicBezTo>
                        <a:pt x="49971" y="220948"/>
                        <a:pt x="49135" y="218844"/>
                        <a:pt x="47056" y="217259"/>
                      </a:cubicBezTo>
                      <a:cubicBezTo>
                        <a:pt x="43228" y="214407"/>
                        <a:pt x="42226" y="209210"/>
                        <a:pt x="36420" y="210743"/>
                      </a:cubicBezTo>
                      <a:cubicBezTo>
                        <a:pt x="32047" y="197560"/>
                        <a:pt x="33073" y="195240"/>
                        <a:pt x="37345" y="180941"/>
                      </a:cubicBezTo>
                      <a:cubicBezTo>
                        <a:pt x="31616" y="178887"/>
                        <a:pt x="33885" y="174831"/>
                        <a:pt x="38854" y="172841"/>
                      </a:cubicBezTo>
                      <a:cubicBezTo>
                        <a:pt x="32478" y="173880"/>
                        <a:pt x="32579" y="168467"/>
                        <a:pt x="36420" y="165805"/>
                      </a:cubicBezTo>
                      <a:cubicBezTo>
                        <a:pt x="31831" y="163802"/>
                        <a:pt x="33365" y="156894"/>
                        <a:pt x="26190" y="157895"/>
                      </a:cubicBezTo>
                      <a:cubicBezTo>
                        <a:pt x="27610" y="153623"/>
                        <a:pt x="23325" y="155043"/>
                        <a:pt x="20270" y="150124"/>
                      </a:cubicBezTo>
                      <a:cubicBezTo>
                        <a:pt x="15440" y="142455"/>
                        <a:pt x="19244" y="144192"/>
                        <a:pt x="19991" y="138576"/>
                      </a:cubicBezTo>
                      <a:cubicBezTo>
                        <a:pt x="21829" y="124898"/>
                        <a:pt x="13894" y="113324"/>
                        <a:pt x="15060" y="99165"/>
                      </a:cubicBezTo>
                      <a:cubicBezTo>
                        <a:pt x="16302" y="99304"/>
                        <a:pt x="16924" y="99279"/>
                        <a:pt x="18077" y="99165"/>
                      </a:cubicBezTo>
                      <a:cubicBezTo>
                        <a:pt x="14211" y="93308"/>
                        <a:pt x="16341" y="78527"/>
                        <a:pt x="13247" y="70364"/>
                      </a:cubicBezTo>
                      <a:cubicBezTo>
                        <a:pt x="10319" y="62504"/>
                        <a:pt x="3499" y="57395"/>
                        <a:pt x="926" y="50132"/>
                      </a:cubicBezTo>
                      <a:cubicBezTo>
                        <a:pt x="-1064" y="44364"/>
                        <a:pt x="38" y="22117"/>
                        <a:pt x="5363" y="23853"/>
                      </a:cubicBezTo>
                      <a:lnTo>
                        <a:pt x="5363" y="23853"/>
                      </a:lnTo>
                      <a:close/>
                      <a:moveTo>
                        <a:pt x="1234428" y="3685"/>
                      </a:moveTo>
                      <a:cubicBezTo>
                        <a:pt x="1234757" y="5447"/>
                        <a:pt x="1235138" y="7222"/>
                        <a:pt x="1235455" y="9009"/>
                      </a:cubicBezTo>
                      <a:cubicBezTo>
                        <a:pt x="1230054" y="8844"/>
                        <a:pt x="1236114" y="12888"/>
                        <a:pt x="1235277" y="18213"/>
                      </a:cubicBezTo>
                      <a:cubicBezTo>
                        <a:pt x="1234352" y="24234"/>
                        <a:pt x="1224363" y="33221"/>
                        <a:pt x="1236101" y="29659"/>
                      </a:cubicBezTo>
                      <a:cubicBezTo>
                        <a:pt x="1246382" y="26579"/>
                        <a:pt x="1249424" y="8933"/>
                        <a:pt x="1251452" y="5447"/>
                      </a:cubicBezTo>
                      <a:cubicBezTo>
                        <a:pt x="1252695" y="3368"/>
                        <a:pt x="1252657" y="-295"/>
                        <a:pt x="1257512" y="630"/>
                      </a:cubicBezTo>
                      <a:cubicBezTo>
                        <a:pt x="1267032" y="2481"/>
                        <a:pt x="1262379" y="7463"/>
                        <a:pt x="1263634" y="11570"/>
                      </a:cubicBezTo>
                      <a:cubicBezTo>
                        <a:pt x="1264535" y="14625"/>
                        <a:pt x="1265295" y="22421"/>
                        <a:pt x="1267120" y="24994"/>
                      </a:cubicBezTo>
                      <a:cubicBezTo>
                        <a:pt x="1269529" y="28341"/>
                        <a:pt x="1270442" y="26351"/>
                        <a:pt x="1273396" y="28569"/>
                      </a:cubicBezTo>
                      <a:cubicBezTo>
                        <a:pt x="1278491" y="32448"/>
                        <a:pt x="1281635" y="37290"/>
                        <a:pt x="1285857" y="28886"/>
                      </a:cubicBezTo>
                      <a:cubicBezTo>
                        <a:pt x="1286389" y="39902"/>
                        <a:pt x="1306025" y="36796"/>
                        <a:pt x="1300878" y="51159"/>
                      </a:cubicBezTo>
                      <a:cubicBezTo>
                        <a:pt x="1298635" y="57357"/>
                        <a:pt x="1293843" y="53403"/>
                        <a:pt x="1291979" y="58384"/>
                      </a:cubicBezTo>
                      <a:cubicBezTo>
                        <a:pt x="1290357" y="62732"/>
                        <a:pt x="1294578" y="64127"/>
                        <a:pt x="1295580" y="68183"/>
                      </a:cubicBezTo>
                      <a:cubicBezTo>
                        <a:pt x="1295212" y="66662"/>
                        <a:pt x="1294629" y="77678"/>
                        <a:pt x="1296061" y="74623"/>
                      </a:cubicBezTo>
                      <a:cubicBezTo>
                        <a:pt x="1293184" y="80784"/>
                        <a:pt x="1286084" y="79782"/>
                        <a:pt x="1281052" y="84396"/>
                      </a:cubicBezTo>
                      <a:cubicBezTo>
                        <a:pt x="1286833" y="81570"/>
                        <a:pt x="1303211" y="83345"/>
                        <a:pt x="1303413" y="78844"/>
                      </a:cubicBezTo>
                      <a:cubicBezTo>
                        <a:pt x="1312731" y="80391"/>
                        <a:pt x="1327474" y="60907"/>
                        <a:pt x="1327575" y="81811"/>
                      </a:cubicBezTo>
                      <a:cubicBezTo>
                        <a:pt x="1327651" y="94310"/>
                        <a:pt x="1321401" y="82419"/>
                        <a:pt x="1315735" y="88377"/>
                      </a:cubicBezTo>
                      <a:cubicBezTo>
                        <a:pt x="1314290" y="89911"/>
                        <a:pt x="1313022" y="94994"/>
                        <a:pt x="1316775" y="97263"/>
                      </a:cubicBezTo>
                      <a:cubicBezTo>
                        <a:pt x="1319221" y="98734"/>
                        <a:pt x="1321224" y="95488"/>
                        <a:pt x="1323721" y="95628"/>
                      </a:cubicBezTo>
                      <a:cubicBezTo>
                        <a:pt x="1330706" y="95996"/>
                        <a:pt x="1327600" y="95919"/>
                        <a:pt x="1331695" y="93739"/>
                      </a:cubicBezTo>
                      <a:cubicBezTo>
                        <a:pt x="1334027" y="92472"/>
                        <a:pt x="1331644" y="90684"/>
                        <a:pt x="1334991" y="88935"/>
                      </a:cubicBezTo>
                      <a:cubicBezTo>
                        <a:pt x="1339884" y="86412"/>
                        <a:pt x="1340543" y="89024"/>
                        <a:pt x="1345170" y="89771"/>
                      </a:cubicBezTo>
                      <a:cubicBezTo>
                        <a:pt x="1349277" y="90468"/>
                        <a:pt x="1358277" y="90747"/>
                        <a:pt x="1361840" y="96870"/>
                      </a:cubicBezTo>
                      <a:cubicBezTo>
                        <a:pt x="1364476" y="101332"/>
                        <a:pt x="1360965" y="103259"/>
                        <a:pt x="1362118" y="109712"/>
                      </a:cubicBezTo>
                      <a:cubicBezTo>
                        <a:pt x="1365845" y="97301"/>
                        <a:pt x="1375923" y="104527"/>
                        <a:pt x="1380880" y="113223"/>
                      </a:cubicBezTo>
                      <a:cubicBezTo>
                        <a:pt x="1381653" y="112665"/>
                        <a:pt x="1381526" y="111448"/>
                        <a:pt x="1381843" y="111195"/>
                      </a:cubicBezTo>
                      <a:cubicBezTo>
                        <a:pt x="1386318" y="112767"/>
                        <a:pt x="1389779" y="115467"/>
                        <a:pt x="1388435" y="118762"/>
                      </a:cubicBezTo>
                      <a:cubicBezTo>
                        <a:pt x="1392453" y="117926"/>
                        <a:pt x="1405865" y="113122"/>
                        <a:pt x="1411798" y="118699"/>
                      </a:cubicBezTo>
                      <a:cubicBezTo>
                        <a:pt x="1424728" y="130945"/>
                        <a:pt x="1402848" y="141935"/>
                        <a:pt x="1393632" y="144990"/>
                      </a:cubicBezTo>
                      <a:cubicBezTo>
                        <a:pt x="1383478" y="148362"/>
                        <a:pt x="1370701" y="154346"/>
                        <a:pt x="1360623" y="151709"/>
                      </a:cubicBezTo>
                      <a:cubicBezTo>
                        <a:pt x="1359558" y="151443"/>
                        <a:pt x="1357707" y="152812"/>
                        <a:pt x="1355831" y="152317"/>
                      </a:cubicBezTo>
                      <a:cubicBezTo>
                        <a:pt x="1353688" y="151658"/>
                        <a:pt x="1352852" y="146600"/>
                        <a:pt x="1349645" y="145903"/>
                      </a:cubicBezTo>
                      <a:cubicBezTo>
                        <a:pt x="1345943" y="145117"/>
                        <a:pt x="1342812" y="147627"/>
                        <a:pt x="1341836" y="150099"/>
                      </a:cubicBezTo>
                      <a:cubicBezTo>
                        <a:pt x="1330617" y="148375"/>
                        <a:pt x="1332227" y="157084"/>
                        <a:pt x="1333888" y="161584"/>
                      </a:cubicBezTo>
                      <a:cubicBezTo>
                        <a:pt x="1336715" y="169164"/>
                        <a:pt x="1342812" y="171826"/>
                        <a:pt x="1348770" y="175249"/>
                      </a:cubicBezTo>
                      <a:cubicBezTo>
                        <a:pt x="1351166" y="176606"/>
                        <a:pt x="1353410" y="176213"/>
                        <a:pt x="1355020" y="177544"/>
                      </a:cubicBezTo>
                      <a:cubicBezTo>
                        <a:pt x="1358189" y="180117"/>
                        <a:pt x="1353866" y="181917"/>
                        <a:pt x="1357339" y="184922"/>
                      </a:cubicBezTo>
                      <a:cubicBezTo>
                        <a:pt x="1357884" y="185390"/>
                        <a:pt x="1362626" y="183603"/>
                        <a:pt x="1364451" y="185238"/>
                      </a:cubicBezTo>
                      <a:cubicBezTo>
                        <a:pt x="1368266" y="188661"/>
                        <a:pt x="1369319" y="191146"/>
                        <a:pt x="1364121" y="190537"/>
                      </a:cubicBezTo>
                      <a:cubicBezTo>
                        <a:pt x="1363652" y="197598"/>
                        <a:pt x="1346856" y="197192"/>
                        <a:pt x="1341583" y="198105"/>
                      </a:cubicBezTo>
                      <a:cubicBezTo>
                        <a:pt x="1326409" y="200653"/>
                        <a:pt x="1320768" y="207232"/>
                        <a:pt x="1306925" y="199271"/>
                      </a:cubicBezTo>
                      <a:cubicBezTo>
                        <a:pt x="1303173" y="197129"/>
                        <a:pt x="1295301" y="188775"/>
                        <a:pt x="1291853" y="193186"/>
                      </a:cubicBezTo>
                      <a:cubicBezTo>
                        <a:pt x="1291878" y="193161"/>
                        <a:pt x="1292524" y="208310"/>
                        <a:pt x="1292778" y="209133"/>
                      </a:cubicBezTo>
                      <a:cubicBezTo>
                        <a:pt x="1279265" y="211986"/>
                        <a:pt x="1276045" y="201920"/>
                        <a:pt x="1264053" y="198092"/>
                      </a:cubicBezTo>
                      <a:cubicBezTo>
                        <a:pt x="1255826" y="195430"/>
                        <a:pt x="1238890" y="196723"/>
                        <a:pt x="1228394" y="196749"/>
                      </a:cubicBezTo>
                      <a:cubicBezTo>
                        <a:pt x="1224654" y="196774"/>
                        <a:pt x="1220458" y="197585"/>
                        <a:pt x="1216136" y="197864"/>
                      </a:cubicBezTo>
                      <a:cubicBezTo>
                        <a:pt x="1212624" y="198080"/>
                        <a:pt x="1213676" y="193199"/>
                        <a:pt x="1210583" y="193922"/>
                      </a:cubicBezTo>
                      <a:cubicBezTo>
                        <a:pt x="1209569" y="194162"/>
                        <a:pt x="1207440" y="198308"/>
                        <a:pt x="1209049" y="198257"/>
                      </a:cubicBezTo>
                      <a:cubicBezTo>
                        <a:pt x="1204093" y="198409"/>
                        <a:pt x="1203801" y="198561"/>
                        <a:pt x="1199948" y="198003"/>
                      </a:cubicBezTo>
                      <a:cubicBezTo>
                        <a:pt x="1198312" y="197788"/>
                        <a:pt x="1193990" y="195735"/>
                        <a:pt x="1191480" y="195367"/>
                      </a:cubicBezTo>
                      <a:cubicBezTo>
                        <a:pt x="1181617" y="193871"/>
                        <a:pt x="1178055" y="200805"/>
                        <a:pt x="1171565" y="199677"/>
                      </a:cubicBezTo>
                      <a:cubicBezTo>
                        <a:pt x="1170678" y="199487"/>
                        <a:pt x="1161918" y="193313"/>
                        <a:pt x="1161791" y="193339"/>
                      </a:cubicBezTo>
                      <a:cubicBezTo>
                        <a:pt x="1158812" y="194403"/>
                        <a:pt x="1158331" y="202060"/>
                        <a:pt x="1155909" y="204785"/>
                      </a:cubicBezTo>
                      <a:cubicBezTo>
                        <a:pt x="1149571" y="211719"/>
                        <a:pt x="1145109" y="209919"/>
                        <a:pt x="1142510" y="224586"/>
                      </a:cubicBezTo>
                      <a:cubicBezTo>
                        <a:pt x="1142092" y="226881"/>
                        <a:pt x="1138885" y="226615"/>
                        <a:pt x="1138352" y="228833"/>
                      </a:cubicBezTo>
                      <a:cubicBezTo>
                        <a:pt x="1137998" y="230329"/>
                        <a:pt x="1141141" y="231127"/>
                        <a:pt x="1141040" y="231546"/>
                      </a:cubicBezTo>
                      <a:cubicBezTo>
                        <a:pt x="1140115" y="236109"/>
                        <a:pt x="1138581" y="244564"/>
                        <a:pt x="1138935" y="250345"/>
                      </a:cubicBezTo>
                      <a:cubicBezTo>
                        <a:pt x="1139176" y="254034"/>
                        <a:pt x="1143702" y="260549"/>
                        <a:pt x="1142967" y="264099"/>
                      </a:cubicBezTo>
                      <a:cubicBezTo>
                        <a:pt x="1142485" y="266685"/>
                        <a:pt x="1139569" y="262971"/>
                        <a:pt x="1138935" y="265291"/>
                      </a:cubicBezTo>
                      <a:cubicBezTo>
                        <a:pt x="1137693" y="269676"/>
                        <a:pt x="1135538" y="273949"/>
                        <a:pt x="1134702" y="278753"/>
                      </a:cubicBezTo>
                      <a:cubicBezTo>
                        <a:pt x="1133928" y="283215"/>
                        <a:pt x="1137921" y="287715"/>
                        <a:pt x="1133180" y="292748"/>
                      </a:cubicBezTo>
                      <a:cubicBezTo>
                        <a:pt x="1129073" y="297134"/>
                        <a:pt x="1119883" y="298021"/>
                        <a:pt x="1116447" y="292697"/>
                      </a:cubicBezTo>
                      <a:cubicBezTo>
                        <a:pt x="1114254" y="297730"/>
                        <a:pt x="1108930" y="299162"/>
                        <a:pt x="1106699" y="303688"/>
                      </a:cubicBezTo>
                      <a:cubicBezTo>
                        <a:pt x="1103974" y="309240"/>
                        <a:pt x="1107181" y="308619"/>
                        <a:pt x="1106268" y="313259"/>
                      </a:cubicBezTo>
                      <a:cubicBezTo>
                        <a:pt x="1105482" y="317429"/>
                        <a:pt x="1101780" y="315553"/>
                        <a:pt x="1103695" y="320661"/>
                      </a:cubicBezTo>
                      <a:cubicBezTo>
                        <a:pt x="1105507" y="325656"/>
                        <a:pt x="1107320" y="322386"/>
                        <a:pt x="1108867" y="324997"/>
                      </a:cubicBezTo>
                      <a:cubicBezTo>
                        <a:pt x="1115218" y="335620"/>
                        <a:pt x="1109386" y="332742"/>
                        <a:pt x="1099549" y="340843"/>
                      </a:cubicBezTo>
                      <a:cubicBezTo>
                        <a:pt x="1093896" y="345508"/>
                        <a:pt x="1079584" y="349437"/>
                        <a:pt x="1080294" y="359426"/>
                      </a:cubicBezTo>
                      <a:cubicBezTo>
                        <a:pt x="1080852" y="367121"/>
                        <a:pt x="1091221" y="366563"/>
                        <a:pt x="1086252" y="375107"/>
                      </a:cubicBezTo>
                      <a:cubicBezTo>
                        <a:pt x="1083438" y="379962"/>
                        <a:pt x="1077315" y="377719"/>
                        <a:pt x="1074222" y="382523"/>
                      </a:cubicBezTo>
                      <a:cubicBezTo>
                        <a:pt x="1072752" y="384843"/>
                        <a:pt x="1072270" y="394883"/>
                        <a:pt x="1070787" y="398863"/>
                      </a:cubicBezTo>
                      <a:cubicBezTo>
                        <a:pt x="1071141" y="397861"/>
                        <a:pt x="1065209" y="409385"/>
                        <a:pt x="1066629" y="408408"/>
                      </a:cubicBezTo>
                      <a:cubicBezTo>
                        <a:pt x="1060265" y="412807"/>
                        <a:pt x="1062674" y="407090"/>
                        <a:pt x="1054915" y="406241"/>
                      </a:cubicBezTo>
                      <a:cubicBezTo>
                        <a:pt x="1048552" y="405531"/>
                        <a:pt x="1043963" y="411261"/>
                        <a:pt x="1038195" y="411730"/>
                      </a:cubicBezTo>
                      <a:cubicBezTo>
                        <a:pt x="1033568" y="412123"/>
                        <a:pt x="1029753" y="408091"/>
                        <a:pt x="1023313" y="409486"/>
                      </a:cubicBezTo>
                      <a:cubicBezTo>
                        <a:pt x="1014249" y="411438"/>
                        <a:pt x="1007112" y="425750"/>
                        <a:pt x="998733" y="425750"/>
                      </a:cubicBezTo>
                      <a:cubicBezTo>
                        <a:pt x="994880" y="425724"/>
                        <a:pt x="989986" y="421592"/>
                        <a:pt x="986285" y="420210"/>
                      </a:cubicBezTo>
                      <a:cubicBezTo>
                        <a:pt x="985093" y="419767"/>
                        <a:pt x="977792" y="418575"/>
                        <a:pt x="976131" y="418157"/>
                      </a:cubicBezTo>
                      <a:cubicBezTo>
                        <a:pt x="972937" y="417371"/>
                        <a:pt x="968335" y="415824"/>
                        <a:pt x="965102" y="414747"/>
                      </a:cubicBezTo>
                      <a:cubicBezTo>
                        <a:pt x="958751" y="412617"/>
                        <a:pt x="954809" y="409587"/>
                        <a:pt x="947621" y="412300"/>
                      </a:cubicBezTo>
                      <a:cubicBezTo>
                        <a:pt x="959411" y="403338"/>
                        <a:pt x="946164" y="400815"/>
                        <a:pt x="937911" y="401145"/>
                      </a:cubicBezTo>
                      <a:cubicBezTo>
                        <a:pt x="926046" y="401652"/>
                        <a:pt x="911062" y="400371"/>
                        <a:pt x="899083" y="405645"/>
                      </a:cubicBezTo>
                      <a:cubicBezTo>
                        <a:pt x="896395" y="406837"/>
                        <a:pt x="891046" y="408256"/>
                        <a:pt x="889081" y="410640"/>
                      </a:cubicBezTo>
                      <a:cubicBezTo>
                        <a:pt x="886876" y="413327"/>
                        <a:pt x="890425" y="413834"/>
                        <a:pt x="890450" y="413771"/>
                      </a:cubicBezTo>
                      <a:cubicBezTo>
                        <a:pt x="887598" y="419906"/>
                        <a:pt x="887180" y="429312"/>
                        <a:pt x="881247" y="432976"/>
                      </a:cubicBezTo>
                      <a:cubicBezTo>
                        <a:pt x="878408" y="434763"/>
                        <a:pt x="871600" y="435055"/>
                        <a:pt x="868026" y="437032"/>
                      </a:cubicBezTo>
                      <a:cubicBezTo>
                        <a:pt x="862499" y="440112"/>
                        <a:pt x="863880" y="441583"/>
                        <a:pt x="857682" y="442901"/>
                      </a:cubicBezTo>
                      <a:cubicBezTo>
                        <a:pt x="850646" y="444410"/>
                        <a:pt x="846957" y="437501"/>
                        <a:pt x="840049" y="445931"/>
                      </a:cubicBezTo>
                      <a:cubicBezTo>
                        <a:pt x="837703" y="434700"/>
                        <a:pt x="800688" y="439136"/>
                        <a:pt x="791967" y="443079"/>
                      </a:cubicBezTo>
                      <a:cubicBezTo>
                        <a:pt x="786275" y="445690"/>
                        <a:pt x="786148" y="448048"/>
                        <a:pt x="781191" y="450101"/>
                      </a:cubicBezTo>
                      <a:cubicBezTo>
                        <a:pt x="779201" y="450938"/>
                        <a:pt x="771038" y="454069"/>
                        <a:pt x="768971" y="453689"/>
                      </a:cubicBezTo>
                      <a:cubicBezTo>
                        <a:pt x="763001" y="452573"/>
                        <a:pt x="762354" y="449277"/>
                        <a:pt x="757854" y="446349"/>
                      </a:cubicBezTo>
                      <a:cubicBezTo>
                        <a:pt x="755851" y="445082"/>
                        <a:pt x="749513" y="444106"/>
                        <a:pt x="748752" y="443434"/>
                      </a:cubicBezTo>
                      <a:cubicBezTo>
                        <a:pt x="746749" y="441570"/>
                        <a:pt x="745849" y="435688"/>
                        <a:pt x="743428" y="433128"/>
                      </a:cubicBezTo>
                      <a:cubicBezTo>
                        <a:pt x="740132" y="429629"/>
                        <a:pt x="737736" y="430681"/>
                        <a:pt x="733984" y="427968"/>
                      </a:cubicBezTo>
                      <a:cubicBezTo>
                        <a:pt x="728444" y="423937"/>
                        <a:pt x="725567" y="417079"/>
                        <a:pt x="720927" y="413175"/>
                      </a:cubicBezTo>
                      <a:cubicBezTo>
                        <a:pt x="715781" y="408751"/>
                        <a:pt x="711927" y="409220"/>
                        <a:pt x="706805" y="402235"/>
                      </a:cubicBezTo>
                      <a:cubicBezTo>
                        <a:pt x="704017" y="398419"/>
                        <a:pt x="704258" y="396581"/>
                        <a:pt x="702394" y="392664"/>
                      </a:cubicBezTo>
                      <a:cubicBezTo>
                        <a:pt x="701355" y="390395"/>
                        <a:pt x="701050" y="386554"/>
                        <a:pt x="700277" y="384944"/>
                      </a:cubicBezTo>
                      <a:cubicBezTo>
                        <a:pt x="699897" y="384234"/>
                        <a:pt x="696398" y="385426"/>
                        <a:pt x="695764" y="383448"/>
                      </a:cubicBezTo>
                      <a:cubicBezTo>
                        <a:pt x="692773" y="374271"/>
                        <a:pt x="700138" y="372268"/>
                        <a:pt x="702686" y="363229"/>
                      </a:cubicBezTo>
                      <a:cubicBezTo>
                        <a:pt x="706121" y="377047"/>
                        <a:pt x="707046" y="381319"/>
                        <a:pt x="721434" y="388228"/>
                      </a:cubicBezTo>
                      <a:cubicBezTo>
                        <a:pt x="728317" y="391549"/>
                        <a:pt x="730460" y="390826"/>
                        <a:pt x="739841" y="391283"/>
                      </a:cubicBezTo>
                      <a:cubicBezTo>
                        <a:pt x="744607" y="391498"/>
                        <a:pt x="746572" y="391358"/>
                        <a:pt x="750425" y="393336"/>
                      </a:cubicBezTo>
                      <a:cubicBezTo>
                        <a:pt x="750425" y="392284"/>
                        <a:pt x="751402" y="384260"/>
                        <a:pt x="752694" y="384234"/>
                      </a:cubicBezTo>
                      <a:cubicBezTo>
                        <a:pt x="756777" y="384209"/>
                        <a:pt x="754063" y="390395"/>
                        <a:pt x="756751" y="390978"/>
                      </a:cubicBezTo>
                      <a:cubicBezTo>
                        <a:pt x="762075" y="392170"/>
                        <a:pt x="772876" y="385870"/>
                        <a:pt x="763355" y="397253"/>
                      </a:cubicBezTo>
                      <a:cubicBezTo>
                        <a:pt x="767019" y="397861"/>
                        <a:pt x="793247" y="401969"/>
                        <a:pt x="779023" y="409904"/>
                      </a:cubicBezTo>
                      <a:cubicBezTo>
                        <a:pt x="785539" y="410145"/>
                        <a:pt x="783955" y="404162"/>
                        <a:pt x="785628" y="403439"/>
                      </a:cubicBezTo>
                      <a:cubicBezTo>
                        <a:pt x="791130" y="401094"/>
                        <a:pt x="794387" y="402083"/>
                        <a:pt x="801207" y="406583"/>
                      </a:cubicBezTo>
                      <a:cubicBezTo>
                        <a:pt x="808484" y="411438"/>
                        <a:pt x="822681" y="420705"/>
                        <a:pt x="831200" y="416864"/>
                      </a:cubicBezTo>
                      <a:cubicBezTo>
                        <a:pt x="823670" y="413783"/>
                        <a:pt x="808294" y="413656"/>
                        <a:pt x="804719" y="403972"/>
                      </a:cubicBezTo>
                      <a:cubicBezTo>
                        <a:pt x="798000" y="385857"/>
                        <a:pt x="816762" y="398065"/>
                        <a:pt x="822606" y="396759"/>
                      </a:cubicBezTo>
                      <a:cubicBezTo>
                        <a:pt x="817725" y="395339"/>
                        <a:pt x="806253" y="389267"/>
                        <a:pt x="812477" y="384653"/>
                      </a:cubicBezTo>
                      <a:cubicBezTo>
                        <a:pt x="810335" y="380279"/>
                        <a:pt x="815938" y="362824"/>
                        <a:pt x="822631" y="364345"/>
                      </a:cubicBezTo>
                      <a:cubicBezTo>
                        <a:pt x="817535" y="357335"/>
                        <a:pt x="829489" y="364079"/>
                        <a:pt x="830097" y="356828"/>
                      </a:cubicBezTo>
                      <a:cubicBezTo>
                        <a:pt x="826104" y="361683"/>
                        <a:pt x="808965" y="357804"/>
                        <a:pt x="820590" y="353392"/>
                      </a:cubicBezTo>
                      <a:cubicBezTo>
                        <a:pt x="814239" y="350870"/>
                        <a:pt x="816787" y="341489"/>
                        <a:pt x="821046" y="337243"/>
                      </a:cubicBezTo>
                      <a:cubicBezTo>
                        <a:pt x="823341" y="338954"/>
                        <a:pt x="826916" y="343315"/>
                        <a:pt x="829831" y="344265"/>
                      </a:cubicBezTo>
                      <a:cubicBezTo>
                        <a:pt x="833000" y="345292"/>
                        <a:pt x="834851" y="340931"/>
                        <a:pt x="839300" y="343872"/>
                      </a:cubicBezTo>
                      <a:cubicBezTo>
                        <a:pt x="836410" y="341071"/>
                        <a:pt x="833976" y="337648"/>
                        <a:pt x="832734" y="333718"/>
                      </a:cubicBezTo>
                      <a:cubicBezTo>
                        <a:pt x="836410" y="334188"/>
                        <a:pt x="838502" y="333503"/>
                        <a:pt x="841367" y="333237"/>
                      </a:cubicBezTo>
                      <a:cubicBezTo>
                        <a:pt x="824735" y="331906"/>
                        <a:pt x="839047" y="314754"/>
                        <a:pt x="846057" y="310913"/>
                      </a:cubicBezTo>
                      <a:cubicBezTo>
                        <a:pt x="861244" y="302496"/>
                        <a:pt x="881450" y="303193"/>
                        <a:pt x="898411" y="298731"/>
                      </a:cubicBezTo>
                      <a:cubicBezTo>
                        <a:pt x="912444" y="295068"/>
                        <a:pt x="938139" y="293394"/>
                        <a:pt x="950043" y="284521"/>
                      </a:cubicBezTo>
                      <a:cubicBezTo>
                        <a:pt x="955253" y="280616"/>
                        <a:pt x="955532" y="277029"/>
                        <a:pt x="958333" y="273251"/>
                      </a:cubicBezTo>
                      <a:cubicBezTo>
                        <a:pt x="962351" y="267851"/>
                        <a:pt x="968272" y="263478"/>
                        <a:pt x="972581" y="258103"/>
                      </a:cubicBezTo>
                      <a:cubicBezTo>
                        <a:pt x="976980" y="252563"/>
                        <a:pt x="980390" y="244235"/>
                        <a:pt x="984941" y="238733"/>
                      </a:cubicBezTo>
                      <a:cubicBezTo>
                        <a:pt x="996616" y="224624"/>
                        <a:pt x="1015124" y="216980"/>
                        <a:pt x="1022210" y="198447"/>
                      </a:cubicBezTo>
                      <a:cubicBezTo>
                        <a:pt x="1026558" y="187178"/>
                        <a:pt x="1017355" y="171079"/>
                        <a:pt x="1036192" y="182462"/>
                      </a:cubicBezTo>
                      <a:cubicBezTo>
                        <a:pt x="1042911" y="186569"/>
                        <a:pt x="1042594" y="188762"/>
                        <a:pt x="1046054" y="195531"/>
                      </a:cubicBezTo>
                      <a:cubicBezTo>
                        <a:pt x="1047234" y="197839"/>
                        <a:pt x="1044204" y="200830"/>
                        <a:pt x="1045142" y="201946"/>
                      </a:cubicBezTo>
                      <a:cubicBezTo>
                        <a:pt x="1046638" y="203657"/>
                        <a:pt x="1051582" y="202022"/>
                        <a:pt x="1052799" y="203163"/>
                      </a:cubicBezTo>
                      <a:cubicBezTo>
                        <a:pt x="1055613" y="205736"/>
                        <a:pt x="1059302" y="210680"/>
                        <a:pt x="1063320" y="214622"/>
                      </a:cubicBezTo>
                      <a:cubicBezTo>
                        <a:pt x="1074450" y="225537"/>
                        <a:pt x="1080826" y="213849"/>
                        <a:pt x="1084769" y="201705"/>
                      </a:cubicBezTo>
                      <a:cubicBezTo>
                        <a:pt x="1083996" y="202009"/>
                        <a:pt x="1083235" y="202339"/>
                        <a:pt x="1082474" y="202643"/>
                      </a:cubicBezTo>
                      <a:cubicBezTo>
                        <a:pt x="1085009" y="197826"/>
                        <a:pt x="1085783" y="193706"/>
                        <a:pt x="1085631" y="190740"/>
                      </a:cubicBezTo>
                      <a:cubicBezTo>
                        <a:pt x="1085479" y="187102"/>
                        <a:pt x="1079229" y="176922"/>
                        <a:pt x="1080306" y="171649"/>
                      </a:cubicBezTo>
                      <a:cubicBezTo>
                        <a:pt x="1081993" y="163498"/>
                        <a:pt x="1093870" y="161381"/>
                        <a:pt x="1099702" y="154612"/>
                      </a:cubicBezTo>
                      <a:cubicBezTo>
                        <a:pt x="1102224" y="164905"/>
                        <a:pt x="1100209" y="174565"/>
                        <a:pt x="1104367" y="184985"/>
                      </a:cubicBezTo>
                      <a:cubicBezTo>
                        <a:pt x="1107790" y="193567"/>
                        <a:pt x="1104443" y="191348"/>
                        <a:pt x="1112606" y="195823"/>
                      </a:cubicBezTo>
                      <a:cubicBezTo>
                        <a:pt x="1113050" y="196102"/>
                        <a:pt x="1120834" y="198536"/>
                        <a:pt x="1121227" y="198434"/>
                      </a:cubicBezTo>
                      <a:cubicBezTo>
                        <a:pt x="1128135" y="196432"/>
                        <a:pt x="1120022" y="190854"/>
                        <a:pt x="1118247" y="183324"/>
                      </a:cubicBezTo>
                      <a:cubicBezTo>
                        <a:pt x="1115864" y="173259"/>
                        <a:pt x="1115560" y="163878"/>
                        <a:pt x="1109349" y="155195"/>
                      </a:cubicBezTo>
                      <a:cubicBezTo>
                        <a:pt x="1115180" y="149579"/>
                        <a:pt x="1120491" y="156031"/>
                        <a:pt x="1128363" y="152558"/>
                      </a:cubicBezTo>
                      <a:cubicBezTo>
                        <a:pt x="1138314" y="148096"/>
                        <a:pt x="1139227" y="139464"/>
                        <a:pt x="1142789" y="131832"/>
                      </a:cubicBezTo>
                      <a:cubicBezTo>
                        <a:pt x="1133852" y="135838"/>
                        <a:pt x="1130290" y="122895"/>
                        <a:pt x="1125537" y="125760"/>
                      </a:cubicBezTo>
                      <a:cubicBezTo>
                        <a:pt x="1124396" y="116037"/>
                        <a:pt x="1139088" y="109674"/>
                        <a:pt x="1143220" y="101535"/>
                      </a:cubicBezTo>
                      <a:cubicBezTo>
                        <a:pt x="1142878" y="103842"/>
                        <a:pt x="1143524" y="108152"/>
                        <a:pt x="1143220" y="110130"/>
                      </a:cubicBezTo>
                      <a:cubicBezTo>
                        <a:pt x="1143626" y="109002"/>
                        <a:pt x="1143702" y="107582"/>
                        <a:pt x="1144323" y="106555"/>
                      </a:cubicBezTo>
                      <a:cubicBezTo>
                        <a:pt x="1158153" y="120132"/>
                        <a:pt x="1161589" y="100204"/>
                        <a:pt x="1166558" y="93371"/>
                      </a:cubicBezTo>
                      <a:cubicBezTo>
                        <a:pt x="1169854" y="88871"/>
                        <a:pt x="1191100" y="71061"/>
                        <a:pt x="1179564" y="66738"/>
                      </a:cubicBezTo>
                      <a:cubicBezTo>
                        <a:pt x="1184584" y="63556"/>
                        <a:pt x="1187005" y="55088"/>
                        <a:pt x="1194015" y="57535"/>
                      </a:cubicBezTo>
                      <a:cubicBezTo>
                        <a:pt x="1191201" y="55532"/>
                        <a:pt x="1195333" y="55482"/>
                        <a:pt x="1189920" y="55038"/>
                      </a:cubicBezTo>
                      <a:cubicBezTo>
                        <a:pt x="1199846" y="50702"/>
                        <a:pt x="1211420" y="35782"/>
                        <a:pt x="1217251" y="25932"/>
                      </a:cubicBezTo>
                      <a:cubicBezTo>
                        <a:pt x="1220230" y="20912"/>
                        <a:pt x="1226290" y="-10601"/>
                        <a:pt x="1234428" y="3685"/>
                      </a:cubicBezTo>
                      <a:lnTo>
                        <a:pt x="1234428" y="3685"/>
                      </a:lnTo>
                      <a:close/>
                    </a:path>
                  </a:pathLst>
                </a:custGeom>
                <a:solidFill>
                  <a:srgbClr val="D6D6D2"/>
                </a:solidFill>
                <a:ln w="12413" cap="rnd">
                  <a:solidFill>
                    <a:srgbClr val="FFFFFF"/>
                  </a:solidFill>
                  <a:prstDash val="solid"/>
                  <a:round/>
                </a:ln>
              </p:spPr>
              <p:txBody>
                <a:bodyPr rtlCol="0" anchor="ctr"/>
                <a:lstStyle/>
                <a:p>
                  <a:endParaRPr lang="en-US"/>
                </a:p>
              </p:txBody>
            </p:sp>
            <p:sp>
              <p:nvSpPr>
                <p:cNvPr id="85" name="Freeform: Shape 84">
                  <a:extLst>
                    <a:ext uri="{FF2B5EF4-FFF2-40B4-BE49-F238E27FC236}">
                      <a16:creationId xmlns:a16="http://schemas.microsoft.com/office/drawing/2014/main" id="{8FA9D89E-0166-4E62-85A0-00AD0106F17B}"/>
                    </a:ext>
                  </a:extLst>
                </p:cNvPr>
                <p:cNvSpPr/>
                <p:nvPr/>
              </p:nvSpPr>
              <p:spPr>
                <a:xfrm>
                  <a:off x="2410477" y="675456"/>
                  <a:ext cx="2375732" cy="975666"/>
                </a:xfrm>
                <a:custGeom>
                  <a:avLst/>
                  <a:gdLst>
                    <a:gd name="connsiteX0" fmla="*/ 2138760 w 2375732"/>
                    <a:gd name="connsiteY0" fmla="*/ 223246 h 975666"/>
                    <a:gd name="connsiteX1" fmla="*/ 2096673 w 2375732"/>
                    <a:gd name="connsiteY1" fmla="*/ 303247 h 975666"/>
                    <a:gd name="connsiteX2" fmla="*/ 2086570 w 2375732"/>
                    <a:gd name="connsiteY2" fmla="*/ 328689 h 975666"/>
                    <a:gd name="connsiteX3" fmla="*/ 2072753 w 2375732"/>
                    <a:gd name="connsiteY3" fmla="*/ 355437 h 975666"/>
                    <a:gd name="connsiteX4" fmla="*/ 2072854 w 2375732"/>
                    <a:gd name="connsiteY4" fmla="*/ 373716 h 975666"/>
                    <a:gd name="connsiteX5" fmla="*/ 2054385 w 2375732"/>
                    <a:gd name="connsiteY5" fmla="*/ 381943 h 975666"/>
                    <a:gd name="connsiteX6" fmla="*/ 2059341 w 2375732"/>
                    <a:gd name="connsiteY6" fmla="*/ 407347 h 975666"/>
                    <a:gd name="connsiteX7" fmla="*/ 2076594 w 2375732"/>
                    <a:gd name="connsiteY7" fmla="*/ 423053 h 975666"/>
                    <a:gd name="connsiteX8" fmla="*/ 2093099 w 2375732"/>
                    <a:gd name="connsiteY8" fmla="*/ 415752 h 975666"/>
                    <a:gd name="connsiteX9" fmla="*/ 2128808 w 2375732"/>
                    <a:gd name="connsiteY9" fmla="*/ 410770 h 975666"/>
                    <a:gd name="connsiteX10" fmla="*/ 2167548 w 2375732"/>
                    <a:gd name="connsiteY10" fmla="*/ 414116 h 975666"/>
                    <a:gd name="connsiteX11" fmla="*/ 2187247 w 2375732"/>
                    <a:gd name="connsiteY11" fmla="*/ 428593 h 975666"/>
                    <a:gd name="connsiteX12" fmla="*/ 2199772 w 2375732"/>
                    <a:gd name="connsiteY12" fmla="*/ 416994 h 975666"/>
                    <a:gd name="connsiteX13" fmla="*/ 2205933 w 2375732"/>
                    <a:gd name="connsiteY13" fmla="*/ 424435 h 975666"/>
                    <a:gd name="connsiteX14" fmla="*/ 2204424 w 2375732"/>
                    <a:gd name="connsiteY14" fmla="*/ 428263 h 975666"/>
                    <a:gd name="connsiteX15" fmla="*/ 2216961 w 2375732"/>
                    <a:gd name="connsiteY15" fmla="*/ 398195 h 975666"/>
                    <a:gd name="connsiteX16" fmla="*/ 2252164 w 2375732"/>
                    <a:gd name="connsiteY16" fmla="*/ 394392 h 975666"/>
                    <a:gd name="connsiteX17" fmla="*/ 2272294 w 2375732"/>
                    <a:gd name="connsiteY17" fmla="*/ 397637 h 975666"/>
                    <a:gd name="connsiteX18" fmla="*/ 2288799 w 2375732"/>
                    <a:gd name="connsiteY18" fmla="*/ 415435 h 975666"/>
                    <a:gd name="connsiteX19" fmla="*/ 2317942 w 2375732"/>
                    <a:gd name="connsiteY19" fmla="*/ 432687 h 975666"/>
                    <a:gd name="connsiteX20" fmla="*/ 2319844 w 2375732"/>
                    <a:gd name="connsiteY20" fmla="*/ 440319 h 975666"/>
                    <a:gd name="connsiteX21" fmla="*/ 2327627 w 2375732"/>
                    <a:gd name="connsiteY21" fmla="*/ 443234 h 975666"/>
                    <a:gd name="connsiteX22" fmla="*/ 2330809 w 2375732"/>
                    <a:gd name="connsiteY22" fmla="*/ 450815 h 975666"/>
                    <a:gd name="connsiteX23" fmla="*/ 2346769 w 2375732"/>
                    <a:gd name="connsiteY23" fmla="*/ 462629 h 975666"/>
                    <a:gd name="connsiteX24" fmla="*/ 2361752 w 2375732"/>
                    <a:gd name="connsiteY24" fmla="*/ 474710 h 975666"/>
                    <a:gd name="connsiteX25" fmla="*/ 2372667 w 2375732"/>
                    <a:gd name="connsiteY25" fmla="*/ 497401 h 975666"/>
                    <a:gd name="connsiteX26" fmla="*/ 2375506 w 2375732"/>
                    <a:gd name="connsiteY26" fmla="*/ 510686 h 975666"/>
                    <a:gd name="connsiteX27" fmla="*/ 2366316 w 2375732"/>
                    <a:gd name="connsiteY27" fmla="*/ 523337 h 975666"/>
                    <a:gd name="connsiteX28" fmla="*/ 2305088 w 2375732"/>
                    <a:gd name="connsiteY28" fmla="*/ 514705 h 975666"/>
                    <a:gd name="connsiteX29" fmla="*/ 2297482 w 2375732"/>
                    <a:gd name="connsiteY29" fmla="*/ 511472 h 975666"/>
                    <a:gd name="connsiteX30" fmla="*/ 2291778 w 2375732"/>
                    <a:gd name="connsiteY30" fmla="*/ 518013 h 975666"/>
                    <a:gd name="connsiteX31" fmla="*/ 2283868 w 2375732"/>
                    <a:gd name="connsiteY31" fmla="*/ 517392 h 975666"/>
                    <a:gd name="connsiteX32" fmla="*/ 2253622 w 2375732"/>
                    <a:gd name="connsiteY32" fmla="*/ 515782 h 975666"/>
                    <a:gd name="connsiteX33" fmla="*/ 2223654 w 2375732"/>
                    <a:gd name="connsiteY33" fmla="*/ 531653 h 975666"/>
                    <a:gd name="connsiteX34" fmla="*/ 2207669 w 2375732"/>
                    <a:gd name="connsiteY34" fmla="*/ 531704 h 975666"/>
                    <a:gd name="connsiteX35" fmla="*/ 2201622 w 2375732"/>
                    <a:gd name="connsiteY35" fmla="*/ 527292 h 975666"/>
                    <a:gd name="connsiteX36" fmla="*/ 2191253 w 2375732"/>
                    <a:gd name="connsiteY36" fmla="*/ 529080 h 975666"/>
                    <a:gd name="connsiteX37" fmla="*/ 2185130 w 2375732"/>
                    <a:gd name="connsiteY37" fmla="*/ 549299 h 975666"/>
                    <a:gd name="connsiteX38" fmla="*/ 2148381 w 2375732"/>
                    <a:gd name="connsiteY38" fmla="*/ 546142 h 975666"/>
                    <a:gd name="connsiteX39" fmla="*/ 2129493 w 2375732"/>
                    <a:gd name="connsiteY39" fmla="*/ 556436 h 975666"/>
                    <a:gd name="connsiteX40" fmla="*/ 2109299 w 2375732"/>
                    <a:gd name="connsiteY40" fmla="*/ 581054 h 975666"/>
                    <a:gd name="connsiteX41" fmla="*/ 2104153 w 2375732"/>
                    <a:gd name="connsiteY41" fmla="*/ 604226 h 975666"/>
                    <a:gd name="connsiteX42" fmla="*/ 2085937 w 2375732"/>
                    <a:gd name="connsiteY42" fmla="*/ 613620 h 975666"/>
                    <a:gd name="connsiteX43" fmla="*/ 2058707 w 2375732"/>
                    <a:gd name="connsiteY43" fmla="*/ 633230 h 975666"/>
                    <a:gd name="connsiteX44" fmla="*/ 2022085 w 2375732"/>
                    <a:gd name="connsiteY44" fmla="*/ 637337 h 975666"/>
                    <a:gd name="connsiteX45" fmla="*/ 1991129 w 2375732"/>
                    <a:gd name="connsiteY45" fmla="*/ 634333 h 975666"/>
                    <a:gd name="connsiteX46" fmla="*/ 1973305 w 2375732"/>
                    <a:gd name="connsiteY46" fmla="*/ 652182 h 975666"/>
                    <a:gd name="connsiteX47" fmla="*/ 1928342 w 2375732"/>
                    <a:gd name="connsiteY47" fmla="*/ 685077 h 975666"/>
                    <a:gd name="connsiteX48" fmla="*/ 1903077 w 2375732"/>
                    <a:gd name="connsiteY48" fmla="*/ 694648 h 975666"/>
                    <a:gd name="connsiteX49" fmla="*/ 1866024 w 2375732"/>
                    <a:gd name="connsiteY49" fmla="*/ 689298 h 975666"/>
                    <a:gd name="connsiteX50" fmla="*/ 1835093 w 2375732"/>
                    <a:gd name="connsiteY50" fmla="*/ 679106 h 975666"/>
                    <a:gd name="connsiteX51" fmla="*/ 1806305 w 2375732"/>
                    <a:gd name="connsiteY51" fmla="*/ 666874 h 975666"/>
                    <a:gd name="connsiteX52" fmla="*/ 1768263 w 2375732"/>
                    <a:gd name="connsiteY52" fmla="*/ 684925 h 975666"/>
                    <a:gd name="connsiteX53" fmla="*/ 1758084 w 2375732"/>
                    <a:gd name="connsiteY53" fmla="*/ 711432 h 975666"/>
                    <a:gd name="connsiteX54" fmla="*/ 1747904 w 2375732"/>
                    <a:gd name="connsiteY54" fmla="*/ 728570 h 975666"/>
                    <a:gd name="connsiteX55" fmla="*/ 1756955 w 2375732"/>
                    <a:gd name="connsiteY55" fmla="*/ 746482 h 975666"/>
                    <a:gd name="connsiteX56" fmla="*/ 1779063 w 2375732"/>
                    <a:gd name="connsiteY56" fmla="*/ 767284 h 975666"/>
                    <a:gd name="connsiteX57" fmla="*/ 1787582 w 2375732"/>
                    <a:gd name="connsiteY57" fmla="*/ 790749 h 975666"/>
                    <a:gd name="connsiteX58" fmla="*/ 1775691 w 2375732"/>
                    <a:gd name="connsiteY58" fmla="*/ 793297 h 975666"/>
                    <a:gd name="connsiteX59" fmla="*/ 1762774 w 2375732"/>
                    <a:gd name="connsiteY59" fmla="*/ 806252 h 975666"/>
                    <a:gd name="connsiteX60" fmla="*/ 1734708 w 2375732"/>
                    <a:gd name="connsiteY60" fmla="*/ 817078 h 975666"/>
                    <a:gd name="connsiteX61" fmla="*/ 1704272 w 2375732"/>
                    <a:gd name="connsiteY61" fmla="*/ 838856 h 975666"/>
                    <a:gd name="connsiteX62" fmla="*/ 1683051 w 2375732"/>
                    <a:gd name="connsiteY62" fmla="*/ 863525 h 975666"/>
                    <a:gd name="connsiteX63" fmla="*/ 1655480 w 2375732"/>
                    <a:gd name="connsiteY63" fmla="*/ 881107 h 975666"/>
                    <a:gd name="connsiteX64" fmla="*/ 1631014 w 2375732"/>
                    <a:gd name="connsiteY64" fmla="*/ 888865 h 975666"/>
                    <a:gd name="connsiteX65" fmla="*/ 1606878 w 2375732"/>
                    <a:gd name="connsiteY65" fmla="*/ 901922 h 975666"/>
                    <a:gd name="connsiteX66" fmla="*/ 1572626 w 2375732"/>
                    <a:gd name="connsiteY66" fmla="*/ 902289 h 975666"/>
                    <a:gd name="connsiteX67" fmla="*/ 1544066 w 2375732"/>
                    <a:gd name="connsiteY67" fmla="*/ 904584 h 975666"/>
                    <a:gd name="connsiteX68" fmla="*/ 1469097 w 2375732"/>
                    <a:gd name="connsiteY68" fmla="*/ 907411 h 975666"/>
                    <a:gd name="connsiteX69" fmla="*/ 1386978 w 2375732"/>
                    <a:gd name="connsiteY69" fmla="*/ 923738 h 975666"/>
                    <a:gd name="connsiteX70" fmla="*/ 1310070 w 2375732"/>
                    <a:gd name="connsiteY70" fmla="*/ 955835 h 975666"/>
                    <a:gd name="connsiteX71" fmla="*/ 1282879 w 2375732"/>
                    <a:gd name="connsiteY71" fmla="*/ 970958 h 975666"/>
                    <a:gd name="connsiteX72" fmla="*/ 1258730 w 2375732"/>
                    <a:gd name="connsiteY72" fmla="*/ 973062 h 975666"/>
                    <a:gd name="connsiteX73" fmla="*/ 1238105 w 2375732"/>
                    <a:gd name="connsiteY73" fmla="*/ 953186 h 975666"/>
                    <a:gd name="connsiteX74" fmla="*/ 1197084 w 2375732"/>
                    <a:gd name="connsiteY74" fmla="*/ 960424 h 975666"/>
                    <a:gd name="connsiteX75" fmla="*/ 1157153 w 2375732"/>
                    <a:gd name="connsiteY75" fmla="*/ 952919 h 975666"/>
                    <a:gd name="connsiteX76" fmla="*/ 1081715 w 2375732"/>
                    <a:gd name="connsiteY76" fmla="*/ 930824 h 975666"/>
                    <a:gd name="connsiteX77" fmla="*/ 1044928 w 2375732"/>
                    <a:gd name="connsiteY77" fmla="*/ 917260 h 975666"/>
                    <a:gd name="connsiteX78" fmla="*/ 1011905 w 2375732"/>
                    <a:gd name="connsiteY78" fmla="*/ 893733 h 975666"/>
                    <a:gd name="connsiteX79" fmla="*/ 929812 w 2375732"/>
                    <a:gd name="connsiteY79" fmla="*/ 885252 h 975666"/>
                    <a:gd name="connsiteX80" fmla="*/ 886205 w 2375732"/>
                    <a:gd name="connsiteY80" fmla="*/ 886507 h 975666"/>
                    <a:gd name="connsiteX81" fmla="*/ 842991 w 2375732"/>
                    <a:gd name="connsiteY81" fmla="*/ 889055 h 975666"/>
                    <a:gd name="connsiteX82" fmla="*/ 754889 w 2375732"/>
                    <a:gd name="connsiteY82" fmla="*/ 878711 h 975666"/>
                    <a:gd name="connsiteX83" fmla="*/ 671148 w 2375732"/>
                    <a:gd name="connsiteY83" fmla="*/ 874490 h 975666"/>
                    <a:gd name="connsiteX84" fmla="*/ 635932 w 2375732"/>
                    <a:gd name="connsiteY84" fmla="*/ 876936 h 975666"/>
                    <a:gd name="connsiteX85" fmla="*/ 633967 w 2375732"/>
                    <a:gd name="connsiteY85" fmla="*/ 862498 h 975666"/>
                    <a:gd name="connsiteX86" fmla="*/ 625030 w 2375732"/>
                    <a:gd name="connsiteY86" fmla="*/ 853345 h 975666"/>
                    <a:gd name="connsiteX87" fmla="*/ 598042 w 2375732"/>
                    <a:gd name="connsiteY87" fmla="*/ 820817 h 975666"/>
                    <a:gd name="connsiteX88" fmla="*/ 580523 w 2375732"/>
                    <a:gd name="connsiteY88" fmla="*/ 778567 h 975666"/>
                    <a:gd name="connsiteX89" fmla="*/ 572182 w 2375732"/>
                    <a:gd name="connsiteY89" fmla="*/ 765003 h 975666"/>
                    <a:gd name="connsiteX90" fmla="*/ 559417 w 2375732"/>
                    <a:gd name="connsiteY90" fmla="*/ 760971 h 975666"/>
                    <a:gd name="connsiteX91" fmla="*/ 565197 w 2375732"/>
                    <a:gd name="connsiteY91" fmla="*/ 738242 h 975666"/>
                    <a:gd name="connsiteX92" fmla="*/ 528853 w 2375732"/>
                    <a:gd name="connsiteY92" fmla="*/ 737064 h 975666"/>
                    <a:gd name="connsiteX93" fmla="*/ 506619 w 2375732"/>
                    <a:gd name="connsiteY93" fmla="*/ 725287 h 975666"/>
                    <a:gd name="connsiteX94" fmla="*/ 483700 w 2375732"/>
                    <a:gd name="connsiteY94" fmla="*/ 712065 h 975666"/>
                    <a:gd name="connsiteX95" fmla="*/ 474027 w 2375732"/>
                    <a:gd name="connsiteY95" fmla="*/ 703483 h 975666"/>
                    <a:gd name="connsiteX96" fmla="*/ 460020 w 2375732"/>
                    <a:gd name="connsiteY96" fmla="*/ 703889 h 975666"/>
                    <a:gd name="connsiteX97" fmla="*/ 436201 w 2375732"/>
                    <a:gd name="connsiteY97" fmla="*/ 681769 h 975666"/>
                    <a:gd name="connsiteX98" fmla="*/ 410594 w 2375732"/>
                    <a:gd name="connsiteY98" fmla="*/ 674479 h 975666"/>
                    <a:gd name="connsiteX99" fmla="*/ 365390 w 2375732"/>
                    <a:gd name="connsiteY99" fmla="*/ 670677 h 975666"/>
                    <a:gd name="connsiteX100" fmla="*/ 336779 w 2375732"/>
                    <a:gd name="connsiteY100" fmla="*/ 671805 h 975666"/>
                    <a:gd name="connsiteX101" fmla="*/ 314696 w 2375732"/>
                    <a:gd name="connsiteY101" fmla="*/ 666138 h 975666"/>
                    <a:gd name="connsiteX102" fmla="*/ 287125 w 2375732"/>
                    <a:gd name="connsiteY102" fmla="*/ 667216 h 975666"/>
                    <a:gd name="connsiteX103" fmla="*/ 277262 w 2375732"/>
                    <a:gd name="connsiteY103" fmla="*/ 664427 h 975666"/>
                    <a:gd name="connsiteX104" fmla="*/ 271672 w 2375732"/>
                    <a:gd name="connsiteY104" fmla="*/ 659775 h 975666"/>
                    <a:gd name="connsiteX105" fmla="*/ 268440 w 2375732"/>
                    <a:gd name="connsiteY105" fmla="*/ 661752 h 975666"/>
                    <a:gd name="connsiteX106" fmla="*/ 256143 w 2375732"/>
                    <a:gd name="connsiteY106" fmla="*/ 660117 h 975666"/>
                    <a:gd name="connsiteX107" fmla="*/ 245913 w 2375732"/>
                    <a:gd name="connsiteY107" fmla="*/ 653601 h 975666"/>
                    <a:gd name="connsiteX108" fmla="*/ 233161 w 2375732"/>
                    <a:gd name="connsiteY108" fmla="*/ 656061 h 975666"/>
                    <a:gd name="connsiteX109" fmla="*/ 229700 w 2375732"/>
                    <a:gd name="connsiteY109" fmla="*/ 649228 h 975666"/>
                    <a:gd name="connsiteX110" fmla="*/ 218963 w 2375732"/>
                    <a:gd name="connsiteY110" fmla="*/ 604074 h 975666"/>
                    <a:gd name="connsiteX111" fmla="*/ 240349 w 2375732"/>
                    <a:gd name="connsiteY111" fmla="*/ 574335 h 975666"/>
                    <a:gd name="connsiteX112" fmla="*/ 234822 w 2375732"/>
                    <a:gd name="connsiteY112" fmla="*/ 550757 h 975666"/>
                    <a:gd name="connsiteX113" fmla="*/ 243492 w 2375732"/>
                    <a:gd name="connsiteY113" fmla="*/ 529549 h 975666"/>
                    <a:gd name="connsiteX114" fmla="*/ 240171 w 2375732"/>
                    <a:gd name="connsiteY114" fmla="*/ 523578 h 975666"/>
                    <a:gd name="connsiteX115" fmla="*/ 239322 w 2375732"/>
                    <a:gd name="connsiteY115" fmla="*/ 511852 h 975666"/>
                    <a:gd name="connsiteX116" fmla="*/ 224782 w 2375732"/>
                    <a:gd name="connsiteY116" fmla="*/ 490607 h 975666"/>
                    <a:gd name="connsiteX117" fmla="*/ 198833 w 2375732"/>
                    <a:gd name="connsiteY117" fmla="*/ 449370 h 975666"/>
                    <a:gd name="connsiteX118" fmla="*/ 190948 w 2375732"/>
                    <a:gd name="connsiteY118" fmla="*/ 432789 h 975666"/>
                    <a:gd name="connsiteX119" fmla="*/ 189186 w 2375732"/>
                    <a:gd name="connsiteY119" fmla="*/ 426514 h 975666"/>
                    <a:gd name="connsiteX120" fmla="*/ 175787 w 2375732"/>
                    <a:gd name="connsiteY120" fmla="*/ 421862 h 975666"/>
                    <a:gd name="connsiteX121" fmla="*/ 170083 w 2375732"/>
                    <a:gd name="connsiteY121" fmla="*/ 407791 h 975666"/>
                    <a:gd name="connsiteX122" fmla="*/ 149496 w 2375732"/>
                    <a:gd name="connsiteY122" fmla="*/ 412975 h 975666"/>
                    <a:gd name="connsiteX123" fmla="*/ 138569 w 2375732"/>
                    <a:gd name="connsiteY123" fmla="*/ 401364 h 975666"/>
                    <a:gd name="connsiteX124" fmla="*/ 125487 w 2375732"/>
                    <a:gd name="connsiteY124" fmla="*/ 393973 h 975666"/>
                    <a:gd name="connsiteX125" fmla="*/ 108348 w 2375732"/>
                    <a:gd name="connsiteY125" fmla="*/ 398207 h 975666"/>
                    <a:gd name="connsiteX126" fmla="*/ 86088 w 2375732"/>
                    <a:gd name="connsiteY126" fmla="*/ 386127 h 975666"/>
                    <a:gd name="connsiteX127" fmla="*/ 66756 w 2375732"/>
                    <a:gd name="connsiteY127" fmla="*/ 379940 h 975666"/>
                    <a:gd name="connsiteX128" fmla="*/ 60595 w 2375732"/>
                    <a:gd name="connsiteY128" fmla="*/ 365515 h 975666"/>
                    <a:gd name="connsiteX129" fmla="*/ 43748 w 2375732"/>
                    <a:gd name="connsiteY129" fmla="*/ 354423 h 975666"/>
                    <a:gd name="connsiteX130" fmla="*/ 23935 w 2375732"/>
                    <a:gd name="connsiteY130" fmla="*/ 345625 h 975666"/>
                    <a:gd name="connsiteX131" fmla="*/ 17153 w 2375732"/>
                    <a:gd name="connsiteY131" fmla="*/ 344053 h 975666"/>
                    <a:gd name="connsiteX132" fmla="*/ 17863 w 2375732"/>
                    <a:gd name="connsiteY132" fmla="*/ 336764 h 975666"/>
                    <a:gd name="connsiteX133" fmla="*/ 22845 w 2375732"/>
                    <a:gd name="connsiteY133" fmla="*/ 329957 h 975666"/>
                    <a:gd name="connsiteX134" fmla="*/ 12361 w 2375732"/>
                    <a:gd name="connsiteY134" fmla="*/ 324557 h 975666"/>
                    <a:gd name="connsiteX135" fmla="*/ 141 w 2375732"/>
                    <a:gd name="connsiteY135" fmla="*/ 315227 h 975666"/>
                    <a:gd name="connsiteX136" fmla="*/ 8799 w 2375732"/>
                    <a:gd name="connsiteY136" fmla="*/ 301359 h 975666"/>
                    <a:gd name="connsiteX137" fmla="*/ 4768 w 2375732"/>
                    <a:gd name="connsiteY137" fmla="*/ 285944 h 975666"/>
                    <a:gd name="connsiteX138" fmla="*/ 27674 w 2375732"/>
                    <a:gd name="connsiteY138" fmla="*/ 277070 h 975666"/>
                    <a:gd name="connsiteX139" fmla="*/ 32682 w 2375732"/>
                    <a:gd name="connsiteY139" fmla="*/ 258715 h 975666"/>
                    <a:gd name="connsiteX140" fmla="*/ 82716 w 2375732"/>
                    <a:gd name="connsiteY140" fmla="*/ 260223 h 975666"/>
                    <a:gd name="connsiteX141" fmla="*/ 84009 w 2375732"/>
                    <a:gd name="connsiteY141" fmla="*/ 250133 h 975666"/>
                    <a:gd name="connsiteX142" fmla="*/ 89434 w 2375732"/>
                    <a:gd name="connsiteY142" fmla="*/ 257789 h 975666"/>
                    <a:gd name="connsiteX143" fmla="*/ 106662 w 2375732"/>
                    <a:gd name="connsiteY143" fmla="*/ 252047 h 975666"/>
                    <a:gd name="connsiteX144" fmla="*/ 107220 w 2375732"/>
                    <a:gd name="connsiteY144" fmla="*/ 241741 h 975666"/>
                    <a:gd name="connsiteX145" fmla="*/ 119820 w 2375732"/>
                    <a:gd name="connsiteY145" fmla="*/ 246216 h 975666"/>
                    <a:gd name="connsiteX146" fmla="*/ 129112 w 2375732"/>
                    <a:gd name="connsiteY146" fmla="*/ 239434 h 975666"/>
                    <a:gd name="connsiteX147" fmla="*/ 144641 w 2375732"/>
                    <a:gd name="connsiteY147" fmla="*/ 232411 h 975666"/>
                    <a:gd name="connsiteX148" fmla="*/ 139786 w 2375732"/>
                    <a:gd name="connsiteY148" fmla="*/ 224590 h 975666"/>
                    <a:gd name="connsiteX149" fmla="*/ 157089 w 2375732"/>
                    <a:gd name="connsiteY149" fmla="*/ 211584 h 975666"/>
                    <a:gd name="connsiteX150" fmla="*/ 166115 w 2375732"/>
                    <a:gd name="connsiteY150" fmla="*/ 203902 h 975666"/>
                    <a:gd name="connsiteX151" fmla="*/ 179057 w 2375732"/>
                    <a:gd name="connsiteY151" fmla="*/ 196562 h 975666"/>
                    <a:gd name="connsiteX152" fmla="*/ 207719 w 2375732"/>
                    <a:gd name="connsiteY152" fmla="*/ 185825 h 975666"/>
                    <a:gd name="connsiteX153" fmla="*/ 230372 w 2375732"/>
                    <a:gd name="connsiteY153" fmla="*/ 174112 h 975666"/>
                    <a:gd name="connsiteX154" fmla="*/ 243733 w 2375732"/>
                    <a:gd name="connsiteY154" fmla="*/ 165378 h 975666"/>
                    <a:gd name="connsiteX155" fmla="*/ 262685 w 2375732"/>
                    <a:gd name="connsiteY155" fmla="*/ 161448 h 975666"/>
                    <a:gd name="connsiteX156" fmla="*/ 272598 w 2375732"/>
                    <a:gd name="connsiteY156" fmla="*/ 158215 h 975666"/>
                    <a:gd name="connsiteX157" fmla="*/ 285109 w 2375732"/>
                    <a:gd name="connsiteY157" fmla="*/ 149849 h 975666"/>
                    <a:gd name="connsiteX158" fmla="*/ 300980 w 2375732"/>
                    <a:gd name="connsiteY158" fmla="*/ 138643 h 975666"/>
                    <a:gd name="connsiteX159" fmla="*/ 326460 w 2375732"/>
                    <a:gd name="connsiteY159" fmla="*/ 139530 h 975666"/>
                    <a:gd name="connsiteX160" fmla="*/ 341216 w 2375732"/>
                    <a:gd name="connsiteY160" fmla="*/ 122531 h 975666"/>
                    <a:gd name="connsiteX161" fmla="*/ 362081 w 2375732"/>
                    <a:gd name="connsiteY161" fmla="*/ 141267 h 975666"/>
                    <a:gd name="connsiteX162" fmla="*/ 377458 w 2375732"/>
                    <a:gd name="connsiteY162" fmla="*/ 129642 h 975666"/>
                    <a:gd name="connsiteX163" fmla="*/ 395674 w 2375732"/>
                    <a:gd name="connsiteY163" fmla="*/ 148518 h 975666"/>
                    <a:gd name="connsiteX164" fmla="*/ 416425 w 2375732"/>
                    <a:gd name="connsiteY164" fmla="*/ 147694 h 975666"/>
                    <a:gd name="connsiteX165" fmla="*/ 442615 w 2375732"/>
                    <a:gd name="connsiteY165" fmla="*/ 150495 h 975666"/>
                    <a:gd name="connsiteX166" fmla="*/ 482381 w 2375732"/>
                    <a:gd name="connsiteY166" fmla="*/ 154603 h 975666"/>
                    <a:gd name="connsiteX167" fmla="*/ 489138 w 2375732"/>
                    <a:gd name="connsiteY167" fmla="*/ 186674 h 975666"/>
                    <a:gd name="connsiteX168" fmla="*/ 498835 w 2375732"/>
                    <a:gd name="connsiteY168" fmla="*/ 193507 h 975666"/>
                    <a:gd name="connsiteX169" fmla="*/ 507253 w 2375732"/>
                    <a:gd name="connsiteY169" fmla="*/ 204624 h 975666"/>
                    <a:gd name="connsiteX170" fmla="*/ 523529 w 2375732"/>
                    <a:gd name="connsiteY170" fmla="*/ 202178 h 975666"/>
                    <a:gd name="connsiteX171" fmla="*/ 536675 w 2375732"/>
                    <a:gd name="connsiteY171" fmla="*/ 208009 h 975666"/>
                    <a:gd name="connsiteX172" fmla="*/ 556133 w 2375732"/>
                    <a:gd name="connsiteY172" fmla="*/ 211381 h 975666"/>
                    <a:gd name="connsiteX173" fmla="*/ 571028 w 2375732"/>
                    <a:gd name="connsiteY173" fmla="*/ 216375 h 975666"/>
                    <a:gd name="connsiteX174" fmla="*/ 593111 w 2375732"/>
                    <a:gd name="connsiteY174" fmla="*/ 206006 h 975666"/>
                    <a:gd name="connsiteX175" fmla="*/ 601997 w 2375732"/>
                    <a:gd name="connsiteY175" fmla="*/ 207565 h 975666"/>
                    <a:gd name="connsiteX176" fmla="*/ 604925 w 2375732"/>
                    <a:gd name="connsiteY176" fmla="*/ 211964 h 975666"/>
                    <a:gd name="connsiteX177" fmla="*/ 609654 w 2375732"/>
                    <a:gd name="connsiteY177" fmla="*/ 208617 h 975666"/>
                    <a:gd name="connsiteX178" fmla="*/ 617843 w 2375732"/>
                    <a:gd name="connsiteY178" fmla="*/ 207666 h 975666"/>
                    <a:gd name="connsiteX179" fmla="*/ 635400 w 2375732"/>
                    <a:gd name="connsiteY179" fmla="*/ 216946 h 975666"/>
                    <a:gd name="connsiteX180" fmla="*/ 645921 w 2375732"/>
                    <a:gd name="connsiteY180" fmla="*/ 213751 h 975666"/>
                    <a:gd name="connsiteX181" fmla="*/ 651828 w 2375732"/>
                    <a:gd name="connsiteY181" fmla="*/ 219544 h 975666"/>
                    <a:gd name="connsiteX182" fmla="*/ 662908 w 2375732"/>
                    <a:gd name="connsiteY182" fmla="*/ 214651 h 975666"/>
                    <a:gd name="connsiteX183" fmla="*/ 685586 w 2375732"/>
                    <a:gd name="connsiteY183" fmla="*/ 221420 h 975666"/>
                    <a:gd name="connsiteX184" fmla="*/ 707593 w 2375732"/>
                    <a:gd name="connsiteY184" fmla="*/ 232183 h 975666"/>
                    <a:gd name="connsiteX185" fmla="*/ 731196 w 2375732"/>
                    <a:gd name="connsiteY185" fmla="*/ 212940 h 975666"/>
                    <a:gd name="connsiteX186" fmla="*/ 743543 w 2375732"/>
                    <a:gd name="connsiteY186" fmla="*/ 212724 h 975666"/>
                    <a:gd name="connsiteX187" fmla="*/ 756245 w 2375732"/>
                    <a:gd name="connsiteY187" fmla="*/ 206374 h 975666"/>
                    <a:gd name="connsiteX188" fmla="*/ 777542 w 2375732"/>
                    <a:gd name="connsiteY188" fmla="*/ 173960 h 975666"/>
                    <a:gd name="connsiteX189" fmla="*/ 774246 w 2375732"/>
                    <a:gd name="connsiteY189" fmla="*/ 152600 h 975666"/>
                    <a:gd name="connsiteX190" fmla="*/ 760416 w 2375732"/>
                    <a:gd name="connsiteY190" fmla="*/ 146274 h 975666"/>
                    <a:gd name="connsiteX191" fmla="*/ 753836 w 2375732"/>
                    <a:gd name="connsiteY191" fmla="*/ 129465 h 975666"/>
                    <a:gd name="connsiteX192" fmla="*/ 754673 w 2375732"/>
                    <a:gd name="connsiteY192" fmla="*/ 123342 h 975666"/>
                    <a:gd name="connsiteX193" fmla="*/ 751517 w 2375732"/>
                    <a:gd name="connsiteY193" fmla="*/ 119653 h 975666"/>
                    <a:gd name="connsiteX194" fmla="*/ 744177 w 2375732"/>
                    <a:gd name="connsiteY194" fmla="*/ 108245 h 975666"/>
                    <a:gd name="connsiteX195" fmla="*/ 751326 w 2375732"/>
                    <a:gd name="connsiteY195" fmla="*/ 91080 h 975666"/>
                    <a:gd name="connsiteX196" fmla="*/ 751910 w 2375732"/>
                    <a:gd name="connsiteY196" fmla="*/ 78708 h 975666"/>
                    <a:gd name="connsiteX197" fmla="*/ 759794 w 2375732"/>
                    <a:gd name="connsiteY197" fmla="*/ 66311 h 975666"/>
                    <a:gd name="connsiteX198" fmla="*/ 773308 w 2375732"/>
                    <a:gd name="connsiteY198" fmla="*/ 63446 h 975666"/>
                    <a:gd name="connsiteX199" fmla="*/ 782752 w 2375732"/>
                    <a:gd name="connsiteY199" fmla="*/ 39297 h 975666"/>
                    <a:gd name="connsiteX200" fmla="*/ 804428 w 2375732"/>
                    <a:gd name="connsiteY200" fmla="*/ 32730 h 975666"/>
                    <a:gd name="connsiteX201" fmla="*/ 815267 w 2375732"/>
                    <a:gd name="connsiteY201" fmla="*/ 17861 h 975666"/>
                    <a:gd name="connsiteX202" fmla="*/ 827386 w 2375732"/>
                    <a:gd name="connsiteY202" fmla="*/ 114 h 975666"/>
                    <a:gd name="connsiteX203" fmla="*/ 835042 w 2375732"/>
                    <a:gd name="connsiteY203" fmla="*/ 8011 h 975666"/>
                    <a:gd name="connsiteX204" fmla="*/ 851496 w 2375732"/>
                    <a:gd name="connsiteY204" fmla="*/ 15592 h 975666"/>
                    <a:gd name="connsiteX205" fmla="*/ 888880 w 2375732"/>
                    <a:gd name="connsiteY205" fmla="*/ 27533 h 975666"/>
                    <a:gd name="connsiteX206" fmla="*/ 904091 w 2375732"/>
                    <a:gd name="connsiteY206" fmla="*/ 37928 h 975666"/>
                    <a:gd name="connsiteX207" fmla="*/ 926199 w 2375732"/>
                    <a:gd name="connsiteY207" fmla="*/ 38866 h 975666"/>
                    <a:gd name="connsiteX208" fmla="*/ 978097 w 2375732"/>
                    <a:gd name="connsiteY208" fmla="*/ 53013 h 975666"/>
                    <a:gd name="connsiteX209" fmla="*/ 992688 w 2375732"/>
                    <a:gd name="connsiteY209" fmla="*/ 58819 h 975666"/>
                    <a:gd name="connsiteX210" fmla="*/ 1006683 w 2375732"/>
                    <a:gd name="connsiteY210" fmla="*/ 65930 h 975666"/>
                    <a:gd name="connsiteX211" fmla="*/ 1021565 w 2375732"/>
                    <a:gd name="connsiteY211" fmla="*/ 64003 h 975666"/>
                    <a:gd name="connsiteX212" fmla="*/ 1039236 w 2375732"/>
                    <a:gd name="connsiteY212" fmla="*/ 69252 h 975666"/>
                    <a:gd name="connsiteX213" fmla="*/ 1067530 w 2375732"/>
                    <a:gd name="connsiteY213" fmla="*/ 79887 h 975666"/>
                    <a:gd name="connsiteX214" fmla="*/ 1064272 w 2375732"/>
                    <a:gd name="connsiteY214" fmla="*/ 90434 h 975666"/>
                    <a:gd name="connsiteX215" fmla="*/ 1065578 w 2375732"/>
                    <a:gd name="connsiteY215" fmla="*/ 104150 h 975666"/>
                    <a:gd name="connsiteX216" fmla="*/ 1069431 w 2375732"/>
                    <a:gd name="connsiteY216" fmla="*/ 116307 h 975666"/>
                    <a:gd name="connsiteX217" fmla="*/ 1069431 w 2375732"/>
                    <a:gd name="connsiteY217" fmla="*/ 129262 h 975666"/>
                    <a:gd name="connsiteX218" fmla="*/ 1076593 w 2375732"/>
                    <a:gd name="connsiteY218" fmla="*/ 139695 h 975666"/>
                    <a:gd name="connsiteX219" fmla="*/ 1075732 w 2375732"/>
                    <a:gd name="connsiteY219" fmla="*/ 151826 h 975666"/>
                    <a:gd name="connsiteX220" fmla="*/ 1090500 w 2375732"/>
                    <a:gd name="connsiteY220" fmla="*/ 157189 h 975666"/>
                    <a:gd name="connsiteX221" fmla="*/ 1104051 w 2375732"/>
                    <a:gd name="connsiteY221" fmla="*/ 169041 h 975666"/>
                    <a:gd name="connsiteX222" fmla="*/ 1122723 w 2375732"/>
                    <a:gd name="connsiteY222" fmla="*/ 177344 h 975666"/>
                    <a:gd name="connsiteX223" fmla="*/ 1134703 w 2375732"/>
                    <a:gd name="connsiteY223" fmla="*/ 176888 h 975666"/>
                    <a:gd name="connsiteX224" fmla="*/ 1144831 w 2375732"/>
                    <a:gd name="connsiteY224" fmla="*/ 182504 h 975666"/>
                    <a:gd name="connsiteX225" fmla="*/ 1156646 w 2375732"/>
                    <a:gd name="connsiteY225" fmla="*/ 187346 h 975666"/>
                    <a:gd name="connsiteX226" fmla="*/ 1173987 w 2375732"/>
                    <a:gd name="connsiteY226" fmla="*/ 193494 h 975666"/>
                    <a:gd name="connsiteX227" fmla="*/ 1192710 w 2375732"/>
                    <a:gd name="connsiteY227" fmla="*/ 189602 h 975666"/>
                    <a:gd name="connsiteX228" fmla="*/ 1217759 w 2375732"/>
                    <a:gd name="connsiteY228" fmla="*/ 188221 h 975666"/>
                    <a:gd name="connsiteX229" fmla="*/ 1228572 w 2375732"/>
                    <a:gd name="connsiteY229" fmla="*/ 178903 h 975666"/>
                    <a:gd name="connsiteX230" fmla="*/ 1246231 w 2375732"/>
                    <a:gd name="connsiteY230" fmla="*/ 176001 h 975666"/>
                    <a:gd name="connsiteX231" fmla="*/ 1272750 w 2375732"/>
                    <a:gd name="connsiteY231" fmla="*/ 168648 h 975666"/>
                    <a:gd name="connsiteX232" fmla="*/ 1303021 w 2375732"/>
                    <a:gd name="connsiteY232" fmla="*/ 161194 h 975666"/>
                    <a:gd name="connsiteX233" fmla="*/ 1330973 w 2375732"/>
                    <a:gd name="connsiteY233" fmla="*/ 165099 h 975666"/>
                    <a:gd name="connsiteX234" fmla="*/ 1345767 w 2375732"/>
                    <a:gd name="connsiteY234" fmla="*/ 167406 h 975666"/>
                    <a:gd name="connsiteX235" fmla="*/ 1366341 w 2375732"/>
                    <a:gd name="connsiteY235" fmla="*/ 178282 h 975666"/>
                    <a:gd name="connsiteX236" fmla="*/ 1408706 w 2375732"/>
                    <a:gd name="connsiteY236" fmla="*/ 179258 h 975666"/>
                    <a:gd name="connsiteX237" fmla="*/ 1428177 w 2375732"/>
                    <a:gd name="connsiteY237" fmla="*/ 199870 h 975666"/>
                    <a:gd name="connsiteX238" fmla="*/ 1450627 w 2375732"/>
                    <a:gd name="connsiteY238" fmla="*/ 208478 h 975666"/>
                    <a:gd name="connsiteX239" fmla="*/ 1487681 w 2375732"/>
                    <a:gd name="connsiteY239" fmla="*/ 211951 h 975666"/>
                    <a:gd name="connsiteX240" fmla="*/ 1492257 w 2375732"/>
                    <a:gd name="connsiteY240" fmla="*/ 218923 h 975666"/>
                    <a:gd name="connsiteX241" fmla="*/ 1493043 w 2375732"/>
                    <a:gd name="connsiteY241" fmla="*/ 233096 h 975666"/>
                    <a:gd name="connsiteX242" fmla="*/ 1492865 w 2375732"/>
                    <a:gd name="connsiteY242" fmla="*/ 238673 h 975666"/>
                    <a:gd name="connsiteX243" fmla="*/ 1497860 w 2375732"/>
                    <a:gd name="connsiteY243" fmla="*/ 239320 h 975666"/>
                    <a:gd name="connsiteX244" fmla="*/ 1503374 w 2375732"/>
                    <a:gd name="connsiteY244" fmla="*/ 248092 h 975666"/>
                    <a:gd name="connsiteX245" fmla="*/ 1515353 w 2375732"/>
                    <a:gd name="connsiteY245" fmla="*/ 251971 h 975666"/>
                    <a:gd name="connsiteX246" fmla="*/ 1530654 w 2375732"/>
                    <a:gd name="connsiteY246" fmla="*/ 266891 h 975666"/>
                    <a:gd name="connsiteX247" fmla="*/ 1601858 w 2375732"/>
                    <a:gd name="connsiteY247" fmla="*/ 272862 h 975666"/>
                    <a:gd name="connsiteX248" fmla="*/ 1608044 w 2375732"/>
                    <a:gd name="connsiteY248" fmla="*/ 277070 h 975666"/>
                    <a:gd name="connsiteX249" fmla="*/ 1629417 w 2375732"/>
                    <a:gd name="connsiteY249" fmla="*/ 278325 h 975666"/>
                    <a:gd name="connsiteX250" fmla="*/ 1650561 w 2375732"/>
                    <a:gd name="connsiteY250" fmla="*/ 284499 h 975666"/>
                    <a:gd name="connsiteX251" fmla="*/ 1668245 w 2375732"/>
                    <a:gd name="connsiteY251" fmla="*/ 282559 h 975666"/>
                    <a:gd name="connsiteX252" fmla="*/ 1678158 w 2375732"/>
                    <a:gd name="connsiteY252" fmla="*/ 283092 h 975666"/>
                    <a:gd name="connsiteX253" fmla="*/ 1696387 w 2375732"/>
                    <a:gd name="connsiteY253" fmla="*/ 288796 h 975666"/>
                    <a:gd name="connsiteX254" fmla="*/ 1739588 w 2375732"/>
                    <a:gd name="connsiteY254" fmla="*/ 270732 h 975666"/>
                    <a:gd name="connsiteX255" fmla="*/ 1760112 w 2375732"/>
                    <a:gd name="connsiteY255" fmla="*/ 266815 h 975666"/>
                    <a:gd name="connsiteX256" fmla="*/ 1807243 w 2375732"/>
                    <a:gd name="connsiteY256" fmla="*/ 257840 h 975666"/>
                    <a:gd name="connsiteX257" fmla="*/ 1829972 w 2375732"/>
                    <a:gd name="connsiteY257" fmla="*/ 251084 h 975666"/>
                    <a:gd name="connsiteX258" fmla="*/ 1848366 w 2375732"/>
                    <a:gd name="connsiteY258" fmla="*/ 254405 h 975666"/>
                    <a:gd name="connsiteX259" fmla="*/ 1871906 w 2375732"/>
                    <a:gd name="connsiteY259" fmla="*/ 241259 h 975666"/>
                    <a:gd name="connsiteX260" fmla="*/ 1878067 w 2375732"/>
                    <a:gd name="connsiteY260" fmla="*/ 227695 h 975666"/>
                    <a:gd name="connsiteX261" fmla="*/ 1897335 w 2375732"/>
                    <a:gd name="connsiteY261" fmla="*/ 213612 h 975666"/>
                    <a:gd name="connsiteX262" fmla="*/ 1925186 w 2375732"/>
                    <a:gd name="connsiteY262" fmla="*/ 198527 h 975666"/>
                    <a:gd name="connsiteX263" fmla="*/ 1955469 w 2375732"/>
                    <a:gd name="connsiteY263" fmla="*/ 181578 h 975666"/>
                    <a:gd name="connsiteX264" fmla="*/ 1972558 w 2375732"/>
                    <a:gd name="connsiteY264" fmla="*/ 183251 h 975666"/>
                    <a:gd name="connsiteX265" fmla="*/ 1996199 w 2375732"/>
                    <a:gd name="connsiteY265" fmla="*/ 183606 h 975666"/>
                    <a:gd name="connsiteX266" fmla="*/ 2062345 w 2375732"/>
                    <a:gd name="connsiteY266" fmla="*/ 217529 h 975666"/>
                    <a:gd name="connsiteX267" fmla="*/ 2098423 w 2375732"/>
                    <a:gd name="connsiteY267" fmla="*/ 204916 h 975666"/>
                    <a:gd name="connsiteX268" fmla="*/ 2138760 w 2375732"/>
                    <a:gd name="connsiteY268" fmla="*/ 223246 h 975666"/>
                    <a:gd name="connsiteX269" fmla="*/ 2138760 w 2375732"/>
                    <a:gd name="connsiteY269" fmla="*/ 223246 h 97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2375732" h="975666">
                      <a:moveTo>
                        <a:pt x="2138760" y="223246"/>
                      </a:moveTo>
                      <a:cubicBezTo>
                        <a:pt x="2124625" y="249841"/>
                        <a:pt x="2110668" y="276551"/>
                        <a:pt x="2096673" y="303247"/>
                      </a:cubicBezTo>
                      <a:cubicBezTo>
                        <a:pt x="2091577" y="312958"/>
                        <a:pt x="2092148" y="319904"/>
                        <a:pt x="2086570" y="328689"/>
                      </a:cubicBezTo>
                      <a:cubicBezTo>
                        <a:pt x="2079890" y="339274"/>
                        <a:pt x="2073146" y="343343"/>
                        <a:pt x="2072753" y="355437"/>
                      </a:cubicBezTo>
                      <a:cubicBezTo>
                        <a:pt x="2072563" y="360900"/>
                        <a:pt x="2076061" y="368975"/>
                        <a:pt x="2072854" y="373716"/>
                      </a:cubicBezTo>
                      <a:cubicBezTo>
                        <a:pt x="2069343" y="378964"/>
                        <a:pt x="2057731" y="377088"/>
                        <a:pt x="2054385" y="381943"/>
                      </a:cubicBezTo>
                      <a:cubicBezTo>
                        <a:pt x="2050138" y="388180"/>
                        <a:pt x="2054714" y="401060"/>
                        <a:pt x="2059341" y="407347"/>
                      </a:cubicBezTo>
                      <a:cubicBezTo>
                        <a:pt x="2062371" y="411467"/>
                        <a:pt x="2071840" y="421126"/>
                        <a:pt x="2076594" y="423053"/>
                      </a:cubicBezTo>
                      <a:cubicBezTo>
                        <a:pt x="2086215" y="426907"/>
                        <a:pt x="2085632" y="421596"/>
                        <a:pt x="2093099" y="415752"/>
                      </a:cubicBezTo>
                      <a:cubicBezTo>
                        <a:pt x="2105078" y="406371"/>
                        <a:pt x="2114864" y="412202"/>
                        <a:pt x="2128808" y="410770"/>
                      </a:cubicBezTo>
                      <a:cubicBezTo>
                        <a:pt x="2143868" y="409211"/>
                        <a:pt x="2153401" y="406029"/>
                        <a:pt x="2167548" y="414116"/>
                      </a:cubicBezTo>
                      <a:cubicBezTo>
                        <a:pt x="2172745" y="417108"/>
                        <a:pt x="2181086" y="429037"/>
                        <a:pt x="2187247" y="428593"/>
                      </a:cubicBezTo>
                      <a:cubicBezTo>
                        <a:pt x="2191899" y="428263"/>
                        <a:pt x="2195272" y="419656"/>
                        <a:pt x="2199772" y="416994"/>
                      </a:cubicBezTo>
                      <a:cubicBezTo>
                        <a:pt x="2199480" y="421114"/>
                        <a:pt x="2201736" y="423928"/>
                        <a:pt x="2205933" y="424435"/>
                      </a:cubicBezTo>
                      <a:cubicBezTo>
                        <a:pt x="2205451" y="425728"/>
                        <a:pt x="2204842" y="426945"/>
                        <a:pt x="2204424" y="428263"/>
                      </a:cubicBezTo>
                      <a:cubicBezTo>
                        <a:pt x="2220244" y="429100"/>
                        <a:pt x="2237662" y="399259"/>
                        <a:pt x="2216961" y="398195"/>
                      </a:cubicBezTo>
                      <a:cubicBezTo>
                        <a:pt x="2223096" y="393466"/>
                        <a:pt x="2244342" y="393682"/>
                        <a:pt x="2252164" y="394392"/>
                      </a:cubicBezTo>
                      <a:cubicBezTo>
                        <a:pt x="2257627" y="394886"/>
                        <a:pt x="2267413" y="395634"/>
                        <a:pt x="2272294" y="397637"/>
                      </a:cubicBezTo>
                      <a:cubicBezTo>
                        <a:pt x="2280940" y="401186"/>
                        <a:pt x="2282372" y="409604"/>
                        <a:pt x="2288799" y="415435"/>
                      </a:cubicBezTo>
                      <a:cubicBezTo>
                        <a:pt x="2298091" y="423877"/>
                        <a:pt x="2310552" y="423674"/>
                        <a:pt x="2317942" y="432687"/>
                      </a:cubicBezTo>
                      <a:cubicBezTo>
                        <a:pt x="2319552" y="434665"/>
                        <a:pt x="2317892" y="438151"/>
                        <a:pt x="2319844" y="440319"/>
                      </a:cubicBezTo>
                      <a:cubicBezTo>
                        <a:pt x="2321657" y="442271"/>
                        <a:pt x="2325903" y="441472"/>
                        <a:pt x="2327627" y="443234"/>
                      </a:cubicBezTo>
                      <a:cubicBezTo>
                        <a:pt x="2330758" y="446391"/>
                        <a:pt x="2336387" y="444489"/>
                        <a:pt x="2330809" y="450815"/>
                      </a:cubicBezTo>
                      <a:cubicBezTo>
                        <a:pt x="2337325" y="452932"/>
                        <a:pt x="2341571" y="458586"/>
                        <a:pt x="2346769" y="462629"/>
                      </a:cubicBezTo>
                      <a:cubicBezTo>
                        <a:pt x="2351281" y="466166"/>
                        <a:pt x="2357873" y="469386"/>
                        <a:pt x="2361752" y="474710"/>
                      </a:cubicBezTo>
                      <a:cubicBezTo>
                        <a:pt x="2366899" y="481784"/>
                        <a:pt x="2368154" y="489846"/>
                        <a:pt x="2372667" y="497401"/>
                      </a:cubicBezTo>
                      <a:cubicBezTo>
                        <a:pt x="2375557" y="502244"/>
                        <a:pt x="2376128" y="502662"/>
                        <a:pt x="2375506" y="510686"/>
                      </a:cubicBezTo>
                      <a:cubicBezTo>
                        <a:pt x="2374809" y="519078"/>
                        <a:pt x="2374784" y="520257"/>
                        <a:pt x="2366316" y="523337"/>
                      </a:cubicBezTo>
                      <a:cubicBezTo>
                        <a:pt x="2348721" y="529777"/>
                        <a:pt x="2319641" y="522982"/>
                        <a:pt x="2305088" y="514705"/>
                      </a:cubicBezTo>
                      <a:cubicBezTo>
                        <a:pt x="2306001" y="515224"/>
                        <a:pt x="2297786" y="511383"/>
                        <a:pt x="2297482" y="511472"/>
                      </a:cubicBezTo>
                      <a:cubicBezTo>
                        <a:pt x="2294529" y="512271"/>
                        <a:pt x="2294047" y="517392"/>
                        <a:pt x="2291778" y="518013"/>
                      </a:cubicBezTo>
                      <a:cubicBezTo>
                        <a:pt x="2288457" y="518901"/>
                        <a:pt x="2286707" y="516999"/>
                        <a:pt x="2283868" y="517392"/>
                      </a:cubicBezTo>
                      <a:cubicBezTo>
                        <a:pt x="2273638" y="518786"/>
                        <a:pt x="2263927" y="514375"/>
                        <a:pt x="2253622" y="515782"/>
                      </a:cubicBezTo>
                      <a:cubicBezTo>
                        <a:pt x="2242416" y="517329"/>
                        <a:pt x="2232553" y="527140"/>
                        <a:pt x="2223654" y="531653"/>
                      </a:cubicBezTo>
                      <a:cubicBezTo>
                        <a:pt x="2217050" y="535012"/>
                        <a:pt x="2214362" y="533681"/>
                        <a:pt x="2207669" y="531704"/>
                      </a:cubicBezTo>
                      <a:cubicBezTo>
                        <a:pt x="2204145" y="530652"/>
                        <a:pt x="2205577" y="527926"/>
                        <a:pt x="2201622" y="527292"/>
                      </a:cubicBezTo>
                      <a:cubicBezTo>
                        <a:pt x="2199214" y="526899"/>
                        <a:pt x="2194131" y="529219"/>
                        <a:pt x="2191253" y="529080"/>
                      </a:cubicBezTo>
                      <a:cubicBezTo>
                        <a:pt x="2193281" y="533263"/>
                        <a:pt x="2188565" y="547195"/>
                        <a:pt x="2185130" y="549299"/>
                      </a:cubicBezTo>
                      <a:cubicBezTo>
                        <a:pt x="2176029" y="554839"/>
                        <a:pt x="2158408" y="544494"/>
                        <a:pt x="2148381" y="546142"/>
                      </a:cubicBezTo>
                      <a:cubicBezTo>
                        <a:pt x="2143944" y="546890"/>
                        <a:pt x="2133270" y="553558"/>
                        <a:pt x="2129493" y="556436"/>
                      </a:cubicBezTo>
                      <a:cubicBezTo>
                        <a:pt x="2122128" y="562064"/>
                        <a:pt x="2114193" y="572852"/>
                        <a:pt x="2109299" y="581054"/>
                      </a:cubicBezTo>
                      <a:cubicBezTo>
                        <a:pt x="2102999" y="591575"/>
                        <a:pt x="2108425" y="595771"/>
                        <a:pt x="2104153" y="604226"/>
                      </a:cubicBezTo>
                      <a:cubicBezTo>
                        <a:pt x="2100299" y="611781"/>
                        <a:pt x="2091882" y="610818"/>
                        <a:pt x="2085937" y="613620"/>
                      </a:cubicBezTo>
                      <a:cubicBezTo>
                        <a:pt x="2075478" y="618513"/>
                        <a:pt x="2069292" y="629034"/>
                        <a:pt x="2058707" y="633230"/>
                      </a:cubicBezTo>
                      <a:cubicBezTo>
                        <a:pt x="2046994" y="637870"/>
                        <a:pt x="2034242" y="636412"/>
                        <a:pt x="2022085" y="637337"/>
                      </a:cubicBezTo>
                      <a:cubicBezTo>
                        <a:pt x="2010625" y="638225"/>
                        <a:pt x="2001714" y="633839"/>
                        <a:pt x="1991129" y="634333"/>
                      </a:cubicBezTo>
                      <a:cubicBezTo>
                        <a:pt x="1977451" y="634979"/>
                        <a:pt x="1979682" y="643587"/>
                        <a:pt x="1973305" y="652182"/>
                      </a:cubicBezTo>
                      <a:cubicBezTo>
                        <a:pt x="1961567" y="667837"/>
                        <a:pt x="1943642" y="676394"/>
                        <a:pt x="1928342" y="685077"/>
                      </a:cubicBezTo>
                      <a:cubicBezTo>
                        <a:pt x="1916553" y="691732"/>
                        <a:pt x="1915932" y="695979"/>
                        <a:pt x="1903077" y="694648"/>
                      </a:cubicBezTo>
                      <a:cubicBezTo>
                        <a:pt x="1890731" y="693355"/>
                        <a:pt x="1878105" y="691973"/>
                        <a:pt x="1866024" y="689298"/>
                      </a:cubicBezTo>
                      <a:cubicBezTo>
                        <a:pt x="1855591" y="686979"/>
                        <a:pt x="1843815" y="685749"/>
                        <a:pt x="1835093" y="679106"/>
                      </a:cubicBezTo>
                      <a:cubicBezTo>
                        <a:pt x="1821213" y="668509"/>
                        <a:pt x="1824978" y="667837"/>
                        <a:pt x="1806305" y="666874"/>
                      </a:cubicBezTo>
                      <a:cubicBezTo>
                        <a:pt x="1787556" y="665910"/>
                        <a:pt x="1778467" y="667026"/>
                        <a:pt x="1768263" y="684925"/>
                      </a:cubicBezTo>
                      <a:cubicBezTo>
                        <a:pt x="1762698" y="694686"/>
                        <a:pt x="1761684" y="702228"/>
                        <a:pt x="1758084" y="711432"/>
                      </a:cubicBezTo>
                      <a:cubicBezTo>
                        <a:pt x="1755853" y="717136"/>
                        <a:pt x="1747904" y="722093"/>
                        <a:pt x="1747904" y="728570"/>
                      </a:cubicBezTo>
                      <a:cubicBezTo>
                        <a:pt x="1747904" y="732335"/>
                        <a:pt x="1754471" y="742248"/>
                        <a:pt x="1756955" y="746482"/>
                      </a:cubicBezTo>
                      <a:cubicBezTo>
                        <a:pt x="1762888" y="756522"/>
                        <a:pt x="1771343" y="759640"/>
                        <a:pt x="1779063" y="767284"/>
                      </a:cubicBezTo>
                      <a:cubicBezTo>
                        <a:pt x="1783360" y="771506"/>
                        <a:pt x="1792602" y="784131"/>
                        <a:pt x="1787582" y="790749"/>
                      </a:cubicBezTo>
                      <a:cubicBezTo>
                        <a:pt x="1784856" y="794336"/>
                        <a:pt x="1778721" y="791763"/>
                        <a:pt x="1775691" y="793297"/>
                      </a:cubicBezTo>
                      <a:cubicBezTo>
                        <a:pt x="1770342" y="796022"/>
                        <a:pt x="1767870" y="803070"/>
                        <a:pt x="1762774" y="806252"/>
                      </a:cubicBezTo>
                      <a:cubicBezTo>
                        <a:pt x="1755066" y="811094"/>
                        <a:pt x="1743683" y="813490"/>
                        <a:pt x="1734708" y="817078"/>
                      </a:cubicBezTo>
                      <a:cubicBezTo>
                        <a:pt x="1720269" y="822858"/>
                        <a:pt x="1714692" y="827523"/>
                        <a:pt x="1704272" y="838856"/>
                      </a:cubicBezTo>
                      <a:cubicBezTo>
                        <a:pt x="1696640" y="847108"/>
                        <a:pt x="1690353" y="855310"/>
                        <a:pt x="1683051" y="863525"/>
                      </a:cubicBezTo>
                      <a:cubicBezTo>
                        <a:pt x="1674393" y="873209"/>
                        <a:pt x="1668765" y="875998"/>
                        <a:pt x="1655480" y="881107"/>
                      </a:cubicBezTo>
                      <a:cubicBezTo>
                        <a:pt x="1647341" y="884225"/>
                        <a:pt x="1639698" y="885873"/>
                        <a:pt x="1631014" y="888865"/>
                      </a:cubicBezTo>
                      <a:cubicBezTo>
                        <a:pt x="1622470" y="891819"/>
                        <a:pt x="1614345" y="899374"/>
                        <a:pt x="1606878" y="901922"/>
                      </a:cubicBezTo>
                      <a:cubicBezTo>
                        <a:pt x="1595330" y="905851"/>
                        <a:pt x="1584149" y="901339"/>
                        <a:pt x="1572626" y="902289"/>
                      </a:cubicBezTo>
                      <a:cubicBezTo>
                        <a:pt x="1561268" y="903215"/>
                        <a:pt x="1556286" y="906257"/>
                        <a:pt x="1544066" y="904584"/>
                      </a:cubicBezTo>
                      <a:cubicBezTo>
                        <a:pt x="1518129" y="901022"/>
                        <a:pt x="1495058" y="903709"/>
                        <a:pt x="1469097" y="907411"/>
                      </a:cubicBezTo>
                      <a:cubicBezTo>
                        <a:pt x="1441120" y="911416"/>
                        <a:pt x="1413371" y="913445"/>
                        <a:pt x="1386978" y="923738"/>
                      </a:cubicBezTo>
                      <a:cubicBezTo>
                        <a:pt x="1361030" y="933854"/>
                        <a:pt x="1335080" y="943615"/>
                        <a:pt x="1310070" y="955835"/>
                      </a:cubicBezTo>
                      <a:cubicBezTo>
                        <a:pt x="1300017" y="960741"/>
                        <a:pt x="1291549" y="964417"/>
                        <a:pt x="1282879" y="970958"/>
                      </a:cubicBezTo>
                      <a:cubicBezTo>
                        <a:pt x="1271609" y="979477"/>
                        <a:pt x="1272154" y="974026"/>
                        <a:pt x="1258730" y="973062"/>
                      </a:cubicBezTo>
                      <a:cubicBezTo>
                        <a:pt x="1238790" y="971630"/>
                        <a:pt x="1237801" y="974977"/>
                        <a:pt x="1238105" y="953186"/>
                      </a:cubicBezTo>
                      <a:cubicBezTo>
                        <a:pt x="1224440" y="955569"/>
                        <a:pt x="1210774" y="958015"/>
                        <a:pt x="1197084" y="960424"/>
                      </a:cubicBezTo>
                      <a:cubicBezTo>
                        <a:pt x="1178715" y="963631"/>
                        <a:pt x="1174355" y="961083"/>
                        <a:pt x="1157153" y="952919"/>
                      </a:cubicBezTo>
                      <a:cubicBezTo>
                        <a:pt x="1132358" y="941130"/>
                        <a:pt x="1108843" y="936453"/>
                        <a:pt x="1081715" y="930824"/>
                      </a:cubicBezTo>
                      <a:cubicBezTo>
                        <a:pt x="1068240" y="928035"/>
                        <a:pt x="1054638" y="927782"/>
                        <a:pt x="1044928" y="917260"/>
                      </a:cubicBezTo>
                      <a:cubicBezTo>
                        <a:pt x="1033291" y="904660"/>
                        <a:pt x="1031262" y="894544"/>
                        <a:pt x="1011905" y="893733"/>
                      </a:cubicBezTo>
                      <a:cubicBezTo>
                        <a:pt x="984232" y="892579"/>
                        <a:pt x="957510" y="889296"/>
                        <a:pt x="929812" y="885252"/>
                      </a:cubicBezTo>
                      <a:cubicBezTo>
                        <a:pt x="912166" y="882666"/>
                        <a:pt x="903204" y="881905"/>
                        <a:pt x="886205" y="886507"/>
                      </a:cubicBezTo>
                      <a:cubicBezTo>
                        <a:pt x="870118" y="890855"/>
                        <a:pt x="859800" y="891020"/>
                        <a:pt x="842991" y="889055"/>
                      </a:cubicBezTo>
                      <a:cubicBezTo>
                        <a:pt x="813619" y="885607"/>
                        <a:pt x="784235" y="882146"/>
                        <a:pt x="754889" y="878711"/>
                      </a:cubicBezTo>
                      <a:cubicBezTo>
                        <a:pt x="726240" y="875352"/>
                        <a:pt x="699898" y="871828"/>
                        <a:pt x="671148" y="874490"/>
                      </a:cubicBezTo>
                      <a:cubicBezTo>
                        <a:pt x="665418" y="875009"/>
                        <a:pt x="640217" y="880967"/>
                        <a:pt x="635932" y="876936"/>
                      </a:cubicBezTo>
                      <a:cubicBezTo>
                        <a:pt x="633131" y="874338"/>
                        <a:pt x="635805" y="866288"/>
                        <a:pt x="633967" y="862498"/>
                      </a:cubicBezTo>
                      <a:cubicBezTo>
                        <a:pt x="632091" y="858657"/>
                        <a:pt x="628111" y="856159"/>
                        <a:pt x="625030" y="853345"/>
                      </a:cubicBezTo>
                      <a:cubicBezTo>
                        <a:pt x="612455" y="841873"/>
                        <a:pt x="603100" y="836270"/>
                        <a:pt x="598042" y="820817"/>
                      </a:cubicBezTo>
                      <a:cubicBezTo>
                        <a:pt x="593478" y="806772"/>
                        <a:pt x="586215" y="792523"/>
                        <a:pt x="580523" y="778567"/>
                      </a:cubicBezTo>
                      <a:cubicBezTo>
                        <a:pt x="578431" y="773432"/>
                        <a:pt x="576872" y="767931"/>
                        <a:pt x="572182" y="765003"/>
                      </a:cubicBezTo>
                      <a:cubicBezTo>
                        <a:pt x="567922" y="762366"/>
                        <a:pt x="562370" y="765624"/>
                        <a:pt x="559417" y="760971"/>
                      </a:cubicBezTo>
                      <a:cubicBezTo>
                        <a:pt x="555791" y="755343"/>
                        <a:pt x="562003" y="742945"/>
                        <a:pt x="565197" y="738242"/>
                      </a:cubicBezTo>
                      <a:cubicBezTo>
                        <a:pt x="552305" y="736417"/>
                        <a:pt x="541606" y="740803"/>
                        <a:pt x="528853" y="737064"/>
                      </a:cubicBezTo>
                      <a:cubicBezTo>
                        <a:pt x="516950" y="733590"/>
                        <a:pt x="515214" y="731803"/>
                        <a:pt x="506619" y="725287"/>
                      </a:cubicBezTo>
                      <a:cubicBezTo>
                        <a:pt x="498354" y="719037"/>
                        <a:pt x="490608" y="717732"/>
                        <a:pt x="483700" y="712065"/>
                      </a:cubicBezTo>
                      <a:cubicBezTo>
                        <a:pt x="480455" y="709416"/>
                        <a:pt x="478274" y="704840"/>
                        <a:pt x="474027" y="703483"/>
                      </a:cubicBezTo>
                      <a:cubicBezTo>
                        <a:pt x="470427" y="702343"/>
                        <a:pt x="464685" y="705423"/>
                        <a:pt x="460020" y="703889"/>
                      </a:cubicBezTo>
                      <a:cubicBezTo>
                        <a:pt x="449574" y="700454"/>
                        <a:pt x="445480" y="687448"/>
                        <a:pt x="436201" y="681769"/>
                      </a:cubicBezTo>
                      <a:cubicBezTo>
                        <a:pt x="428734" y="677192"/>
                        <a:pt x="418821" y="676280"/>
                        <a:pt x="410594" y="674479"/>
                      </a:cubicBezTo>
                      <a:cubicBezTo>
                        <a:pt x="397309" y="671551"/>
                        <a:pt x="378763" y="668978"/>
                        <a:pt x="365390" y="670677"/>
                      </a:cubicBezTo>
                      <a:cubicBezTo>
                        <a:pt x="355286" y="671944"/>
                        <a:pt x="346666" y="673275"/>
                        <a:pt x="336779" y="671805"/>
                      </a:cubicBezTo>
                      <a:cubicBezTo>
                        <a:pt x="328970" y="670651"/>
                        <a:pt x="322759" y="667216"/>
                        <a:pt x="314696" y="666138"/>
                      </a:cubicBezTo>
                      <a:cubicBezTo>
                        <a:pt x="305975" y="664997"/>
                        <a:pt x="295707" y="668572"/>
                        <a:pt x="287125" y="667216"/>
                      </a:cubicBezTo>
                      <a:cubicBezTo>
                        <a:pt x="282713" y="666506"/>
                        <a:pt x="280558" y="665365"/>
                        <a:pt x="277262" y="664427"/>
                      </a:cubicBezTo>
                      <a:cubicBezTo>
                        <a:pt x="275057" y="663793"/>
                        <a:pt x="274258" y="660472"/>
                        <a:pt x="271672" y="659775"/>
                      </a:cubicBezTo>
                      <a:cubicBezTo>
                        <a:pt x="270278" y="659382"/>
                        <a:pt x="269213" y="661892"/>
                        <a:pt x="268440" y="661752"/>
                      </a:cubicBezTo>
                      <a:cubicBezTo>
                        <a:pt x="264903" y="661080"/>
                        <a:pt x="260567" y="661930"/>
                        <a:pt x="256143" y="660117"/>
                      </a:cubicBezTo>
                      <a:cubicBezTo>
                        <a:pt x="251909" y="658380"/>
                        <a:pt x="250515" y="654691"/>
                        <a:pt x="245913" y="653601"/>
                      </a:cubicBezTo>
                      <a:cubicBezTo>
                        <a:pt x="242174" y="652714"/>
                        <a:pt x="235050" y="656720"/>
                        <a:pt x="233161" y="656061"/>
                      </a:cubicBezTo>
                      <a:cubicBezTo>
                        <a:pt x="227761" y="654159"/>
                        <a:pt x="232400" y="652663"/>
                        <a:pt x="229700" y="649228"/>
                      </a:cubicBezTo>
                      <a:cubicBezTo>
                        <a:pt x="219698" y="636551"/>
                        <a:pt x="209557" y="622493"/>
                        <a:pt x="218963" y="604074"/>
                      </a:cubicBezTo>
                      <a:cubicBezTo>
                        <a:pt x="224376" y="593527"/>
                        <a:pt x="240944" y="586821"/>
                        <a:pt x="240349" y="574335"/>
                      </a:cubicBezTo>
                      <a:cubicBezTo>
                        <a:pt x="239854" y="565144"/>
                        <a:pt x="232704" y="559934"/>
                        <a:pt x="234822" y="550757"/>
                      </a:cubicBezTo>
                      <a:cubicBezTo>
                        <a:pt x="236482" y="543632"/>
                        <a:pt x="242985" y="536901"/>
                        <a:pt x="243492" y="529549"/>
                      </a:cubicBezTo>
                      <a:cubicBezTo>
                        <a:pt x="243581" y="528776"/>
                        <a:pt x="240475" y="525657"/>
                        <a:pt x="240171" y="523578"/>
                      </a:cubicBezTo>
                      <a:cubicBezTo>
                        <a:pt x="239613" y="519344"/>
                        <a:pt x="240462" y="516251"/>
                        <a:pt x="239322" y="511852"/>
                      </a:cubicBezTo>
                      <a:cubicBezTo>
                        <a:pt x="237053" y="503169"/>
                        <a:pt x="231728" y="496133"/>
                        <a:pt x="224782" y="490607"/>
                      </a:cubicBezTo>
                      <a:cubicBezTo>
                        <a:pt x="210939" y="479641"/>
                        <a:pt x="203650" y="463935"/>
                        <a:pt x="198833" y="449370"/>
                      </a:cubicBezTo>
                      <a:cubicBezTo>
                        <a:pt x="196691" y="442854"/>
                        <a:pt x="195233" y="439267"/>
                        <a:pt x="190948" y="432789"/>
                      </a:cubicBezTo>
                      <a:cubicBezTo>
                        <a:pt x="188933" y="429734"/>
                        <a:pt x="192875" y="429620"/>
                        <a:pt x="189186" y="426514"/>
                      </a:cubicBezTo>
                      <a:cubicBezTo>
                        <a:pt x="185890" y="423738"/>
                        <a:pt x="179488" y="424828"/>
                        <a:pt x="175787" y="421862"/>
                      </a:cubicBezTo>
                      <a:cubicBezTo>
                        <a:pt x="170590" y="417691"/>
                        <a:pt x="172859" y="410022"/>
                        <a:pt x="170083" y="407791"/>
                      </a:cubicBezTo>
                      <a:cubicBezTo>
                        <a:pt x="163174" y="402226"/>
                        <a:pt x="159016" y="415701"/>
                        <a:pt x="149496" y="412975"/>
                      </a:cubicBezTo>
                      <a:cubicBezTo>
                        <a:pt x="146453" y="412113"/>
                        <a:pt x="141028" y="404077"/>
                        <a:pt x="138569" y="401364"/>
                      </a:cubicBezTo>
                      <a:cubicBezTo>
                        <a:pt x="132839" y="395000"/>
                        <a:pt x="134614" y="394911"/>
                        <a:pt x="125487" y="393973"/>
                      </a:cubicBezTo>
                      <a:cubicBezTo>
                        <a:pt x="116841" y="393073"/>
                        <a:pt x="116144" y="396445"/>
                        <a:pt x="108348" y="398207"/>
                      </a:cubicBezTo>
                      <a:cubicBezTo>
                        <a:pt x="94708" y="401313"/>
                        <a:pt x="95545" y="391349"/>
                        <a:pt x="86088" y="386127"/>
                      </a:cubicBezTo>
                      <a:cubicBezTo>
                        <a:pt x="80890" y="383249"/>
                        <a:pt x="72080" y="384352"/>
                        <a:pt x="66756" y="379940"/>
                      </a:cubicBezTo>
                      <a:cubicBezTo>
                        <a:pt x="59036" y="373501"/>
                        <a:pt x="64081" y="372499"/>
                        <a:pt x="60595" y="365515"/>
                      </a:cubicBezTo>
                      <a:cubicBezTo>
                        <a:pt x="57642" y="359658"/>
                        <a:pt x="49415" y="357034"/>
                        <a:pt x="43748" y="354423"/>
                      </a:cubicBezTo>
                      <a:cubicBezTo>
                        <a:pt x="37106" y="351355"/>
                        <a:pt x="30641" y="348553"/>
                        <a:pt x="23935" y="345625"/>
                      </a:cubicBezTo>
                      <a:cubicBezTo>
                        <a:pt x="22033" y="344801"/>
                        <a:pt x="18585" y="346018"/>
                        <a:pt x="17153" y="344053"/>
                      </a:cubicBezTo>
                      <a:cubicBezTo>
                        <a:pt x="12564" y="337981"/>
                        <a:pt x="16735" y="341822"/>
                        <a:pt x="17863" y="336764"/>
                      </a:cubicBezTo>
                      <a:cubicBezTo>
                        <a:pt x="18623" y="333329"/>
                        <a:pt x="23567" y="333785"/>
                        <a:pt x="22845" y="329957"/>
                      </a:cubicBezTo>
                      <a:cubicBezTo>
                        <a:pt x="21818" y="324810"/>
                        <a:pt x="15112" y="326091"/>
                        <a:pt x="12361" y="324557"/>
                      </a:cubicBezTo>
                      <a:cubicBezTo>
                        <a:pt x="8774" y="322579"/>
                        <a:pt x="813" y="319486"/>
                        <a:pt x="141" y="315227"/>
                      </a:cubicBezTo>
                      <a:cubicBezTo>
                        <a:pt x="-1152" y="307215"/>
                        <a:pt x="6821" y="308889"/>
                        <a:pt x="8799" y="301359"/>
                      </a:cubicBezTo>
                      <a:cubicBezTo>
                        <a:pt x="8279" y="303286"/>
                        <a:pt x="5097" y="286806"/>
                        <a:pt x="4768" y="285944"/>
                      </a:cubicBezTo>
                      <a:cubicBezTo>
                        <a:pt x="10891" y="287478"/>
                        <a:pt x="24150" y="283041"/>
                        <a:pt x="27674" y="277070"/>
                      </a:cubicBezTo>
                      <a:cubicBezTo>
                        <a:pt x="31046" y="271366"/>
                        <a:pt x="24771" y="264318"/>
                        <a:pt x="32682" y="258715"/>
                      </a:cubicBezTo>
                      <a:cubicBezTo>
                        <a:pt x="45891" y="249322"/>
                        <a:pt x="69583" y="259437"/>
                        <a:pt x="82716" y="260223"/>
                      </a:cubicBezTo>
                      <a:cubicBezTo>
                        <a:pt x="81385" y="257358"/>
                        <a:pt x="80206" y="251324"/>
                        <a:pt x="84009" y="250133"/>
                      </a:cubicBezTo>
                      <a:cubicBezTo>
                        <a:pt x="86747" y="249271"/>
                        <a:pt x="87609" y="257257"/>
                        <a:pt x="89434" y="257789"/>
                      </a:cubicBezTo>
                      <a:cubicBezTo>
                        <a:pt x="93529" y="258994"/>
                        <a:pt x="104291" y="255609"/>
                        <a:pt x="106662" y="252047"/>
                      </a:cubicBezTo>
                      <a:cubicBezTo>
                        <a:pt x="109045" y="248396"/>
                        <a:pt x="103201" y="243959"/>
                        <a:pt x="107220" y="241741"/>
                      </a:cubicBezTo>
                      <a:cubicBezTo>
                        <a:pt x="111454" y="239421"/>
                        <a:pt x="115180" y="246659"/>
                        <a:pt x="119820" y="246216"/>
                      </a:cubicBezTo>
                      <a:cubicBezTo>
                        <a:pt x="121138" y="246076"/>
                        <a:pt x="127337" y="240397"/>
                        <a:pt x="129112" y="239434"/>
                      </a:cubicBezTo>
                      <a:cubicBezTo>
                        <a:pt x="132953" y="237393"/>
                        <a:pt x="142701" y="236886"/>
                        <a:pt x="144641" y="232411"/>
                      </a:cubicBezTo>
                      <a:cubicBezTo>
                        <a:pt x="145300" y="230877"/>
                        <a:pt x="140077" y="225692"/>
                        <a:pt x="139786" y="224590"/>
                      </a:cubicBezTo>
                      <a:cubicBezTo>
                        <a:pt x="135843" y="210100"/>
                        <a:pt x="145490" y="215171"/>
                        <a:pt x="157089" y="211584"/>
                      </a:cubicBezTo>
                      <a:cubicBezTo>
                        <a:pt x="163605" y="209581"/>
                        <a:pt x="162717" y="206830"/>
                        <a:pt x="166115" y="203902"/>
                      </a:cubicBezTo>
                      <a:cubicBezTo>
                        <a:pt x="171642" y="199173"/>
                        <a:pt x="170095" y="199984"/>
                        <a:pt x="179057" y="196562"/>
                      </a:cubicBezTo>
                      <a:cubicBezTo>
                        <a:pt x="189820" y="192417"/>
                        <a:pt x="196906" y="188081"/>
                        <a:pt x="207719" y="185825"/>
                      </a:cubicBezTo>
                      <a:cubicBezTo>
                        <a:pt x="218697" y="183530"/>
                        <a:pt x="220218" y="180234"/>
                        <a:pt x="230372" y="174112"/>
                      </a:cubicBezTo>
                      <a:cubicBezTo>
                        <a:pt x="236203" y="170588"/>
                        <a:pt x="237636" y="167773"/>
                        <a:pt x="243733" y="165378"/>
                      </a:cubicBezTo>
                      <a:cubicBezTo>
                        <a:pt x="248930" y="163311"/>
                        <a:pt x="257221" y="162893"/>
                        <a:pt x="262685" y="161448"/>
                      </a:cubicBezTo>
                      <a:cubicBezTo>
                        <a:pt x="268465" y="159927"/>
                        <a:pt x="268541" y="160117"/>
                        <a:pt x="272598" y="158215"/>
                      </a:cubicBezTo>
                      <a:cubicBezTo>
                        <a:pt x="275843" y="156694"/>
                        <a:pt x="281750" y="152384"/>
                        <a:pt x="285109" y="149849"/>
                      </a:cubicBezTo>
                      <a:cubicBezTo>
                        <a:pt x="291359" y="145146"/>
                        <a:pt x="291359" y="140354"/>
                        <a:pt x="300980" y="138643"/>
                      </a:cubicBezTo>
                      <a:cubicBezTo>
                        <a:pt x="309309" y="137172"/>
                        <a:pt x="318436" y="142496"/>
                        <a:pt x="326460" y="139530"/>
                      </a:cubicBezTo>
                      <a:cubicBezTo>
                        <a:pt x="334421" y="136577"/>
                        <a:pt x="333952" y="122303"/>
                        <a:pt x="341216" y="122531"/>
                      </a:cubicBezTo>
                      <a:cubicBezTo>
                        <a:pt x="346223" y="122670"/>
                        <a:pt x="354805" y="141089"/>
                        <a:pt x="362081" y="141267"/>
                      </a:cubicBezTo>
                      <a:cubicBezTo>
                        <a:pt x="371449" y="141495"/>
                        <a:pt x="367469" y="130073"/>
                        <a:pt x="377458" y="129642"/>
                      </a:cubicBezTo>
                      <a:cubicBezTo>
                        <a:pt x="389361" y="129135"/>
                        <a:pt x="384164" y="144499"/>
                        <a:pt x="395674" y="148518"/>
                      </a:cubicBezTo>
                      <a:cubicBezTo>
                        <a:pt x="401455" y="150546"/>
                        <a:pt x="410594" y="147288"/>
                        <a:pt x="416425" y="147694"/>
                      </a:cubicBezTo>
                      <a:cubicBezTo>
                        <a:pt x="425236" y="148302"/>
                        <a:pt x="433551" y="150166"/>
                        <a:pt x="442615" y="150495"/>
                      </a:cubicBezTo>
                      <a:cubicBezTo>
                        <a:pt x="453618" y="150901"/>
                        <a:pt x="475105" y="147301"/>
                        <a:pt x="482381" y="154603"/>
                      </a:cubicBezTo>
                      <a:cubicBezTo>
                        <a:pt x="489455" y="161689"/>
                        <a:pt x="483243" y="178447"/>
                        <a:pt x="489138" y="186674"/>
                      </a:cubicBezTo>
                      <a:cubicBezTo>
                        <a:pt x="491204" y="189577"/>
                        <a:pt x="496427" y="191174"/>
                        <a:pt x="498835" y="193507"/>
                      </a:cubicBezTo>
                      <a:cubicBezTo>
                        <a:pt x="501206" y="195801"/>
                        <a:pt x="503932" y="203509"/>
                        <a:pt x="507253" y="204624"/>
                      </a:cubicBezTo>
                      <a:cubicBezTo>
                        <a:pt x="511297" y="205993"/>
                        <a:pt x="518915" y="202152"/>
                        <a:pt x="523529" y="202178"/>
                      </a:cubicBezTo>
                      <a:cubicBezTo>
                        <a:pt x="533886" y="202241"/>
                        <a:pt x="529652" y="204992"/>
                        <a:pt x="536675" y="208009"/>
                      </a:cubicBezTo>
                      <a:cubicBezTo>
                        <a:pt x="543558" y="210962"/>
                        <a:pt x="547615" y="210569"/>
                        <a:pt x="556133" y="211381"/>
                      </a:cubicBezTo>
                      <a:cubicBezTo>
                        <a:pt x="561077" y="211850"/>
                        <a:pt x="567454" y="216249"/>
                        <a:pt x="571028" y="216375"/>
                      </a:cubicBezTo>
                      <a:cubicBezTo>
                        <a:pt x="578089" y="216641"/>
                        <a:pt x="586380" y="206969"/>
                        <a:pt x="593111" y="206006"/>
                      </a:cubicBezTo>
                      <a:cubicBezTo>
                        <a:pt x="597624" y="205359"/>
                        <a:pt x="598866" y="207286"/>
                        <a:pt x="601997" y="207565"/>
                      </a:cubicBezTo>
                      <a:cubicBezTo>
                        <a:pt x="602530" y="207603"/>
                        <a:pt x="603201" y="211736"/>
                        <a:pt x="604925" y="211964"/>
                      </a:cubicBezTo>
                      <a:cubicBezTo>
                        <a:pt x="607372" y="212268"/>
                        <a:pt x="608247" y="208567"/>
                        <a:pt x="609654" y="208617"/>
                      </a:cubicBezTo>
                      <a:cubicBezTo>
                        <a:pt x="612392" y="208744"/>
                        <a:pt x="615257" y="207362"/>
                        <a:pt x="617843" y="207666"/>
                      </a:cubicBezTo>
                      <a:cubicBezTo>
                        <a:pt x="624713" y="208465"/>
                        <a:pt x="629632" y="216223"/>
                        <a:pt x="635400" y="216946"/>
                      </a:cubicBezTo>
                      <a:cubicBezTo>
                        <a:pt x="639494" y="217440"/>
                        <a:pt x="642131" y="213295"/>
                        <a:pt x="645921" y="213751"/>
                      </a:cubicBezTo>
                      <a:cubicBezTo>
                        <a:pt x="648964" y="214119"/>
                        <a:pt x="650396" y="219506"/>
                        <a:pt x="651828" y="219544"/>
                      </a:cubicBezTo>
                      <a:cubicBezTo>
                        <a:pt x="656177" y="219646"/>
                        <a:pt x="658636" y="215513"/>
                        <a:pt x="662908" y="214651"/>
                      </a:cubicBezTo>
                      <a:cubicBezTo>
                        <a:pt x="671325" y="212953"/>
                        <a:pt x="679552" y="217402"/>
                        <a:pt x="685586" y="221420"/>
                      </a:cubicBezTo>
                      <a:cubicBezTo>
                        <a:pt x="692850" y="226288"/>
                        <a:pt x="696982" y="233932"/>
                        <a:pt x="707593" y="232183"/>
                      </a:cubicBezTo>
                      <a:cubicBezTo>
                        <a:pt x="721600" y="229863"/>
                        <a:pt x="724173" y="216768"/>
                        <a:pt x="731196" y="212940"/>
                      </a:cubicBezTo>
                      <a:cubicBezTo>
                        <a:pt x="737826" y="209340"/>
                        <a:pt x="739816" y="213561"/>
                        <a:pt x="743543" y="212724"/>
                      </a:cubicBezTo>
                      <a:cubicBezTo>
                        <a:pt x="746940" y="211964"/>
                        <a:pt x="752265" y="209036"/>
                        <a:pt x="756245" y="206374"/>
                      </a:cubicBezTo>
                      <a:cubicBezTo>
                        <a:pt x="767869" y="198590"/>
                        <a:pt x="774005" y="187245"/>
                        <a:pt x="777542" y="173960"/>
                      </a:cubicBezTo>
                      <a:cubicBezTo>
                        <a:pt x="779912" y="165048"/>
                        <a:pt x="781471" y="158152"/>
                        <a:pt x="774246" y="152600"/>
                      </a:cubicBezTo>
                      <a:cubicBezTo>
                        <a:pt x="770392" y="149633"/>
                        <a:pt x="764662" y="150673"/>
                        <a:pt x="760416" y="146274"/>
                      </a:cubicBezTo>
                      <a:cubicBezTo>
                        <a:pt x="756460" y="142142"/>
                        <a:pt x="755066" y="134257"/>
                        <a:pt x="753836" y="129465"/>
                      </a:cubicBezTo>
                      <a:cubicBezTo>
                        <a:pt x="752949" y="126093"/>
                        <a:pt x="756511" y="127209"/>
                        <a:pt x="754673" y="123342"/>
                      </a:cubicBezTo>
                      <a:cubicBezTo>
                        <a:pt x="754191" y="122303"/>
                        <a:pt x="752239" y="120744"/>
                        <a:pt x="751517" y="119653"/>
                      </a:cubicBezTo>
                      <a:cubicBezTo>
                        <a:pt x="747866" y="114101"/>
                        <a:pt x="743708" y="115952"/>
                        <a:pt x="744177" y="108245"/>
                      </a:cubicBezTo>
                      <a:cubicBezTo>
                        <a:pt x="744494" y="103174"/>
                        <a:pt x="750363" y="96569"/>
                        <a:pt x="751326" y="91080"/>
                      </a:cubicBezTo>
                      <a:cubicBezTo>
                        <a:pt x="752049" y="87075"/>
                        <a:pt x="750693" y="82410"/>
                        <a:pt x="751910" y="78708"/>
                      </a:cubicBezTo>
                      <a:cubicBezTo>
                        <a:pt x="752810" y="76249"/>
                        <a:pt x="758184" y="67680"/>
                        <a:pt x="759794" y="66311"/>
                      </a:cubicBezTo>
                      <a:cubicBezTo>
                        <a:pt x="763116" y="63572"/>
                        <a:pt x="772167" y="64472"/>
                        <a:pt x="773308" y="63446"/>
                      </a:cubicBezTo>
                      <a:cubicBezTo>
                        <a:pt x="778632" y="58527"/>
                        <a:pt x="773992" y="45825"/>
                        <a:pt x="782752" y="39297"/>
                      </a:cubicBezTo>
                      <a:cubicBezTo>
                        <a:pt x="788760" y="34809"/>
                        <a:pt x="798331" y="36762"/>
                        <a:pt x="804428" y="32730"/>
                      </a:cubicBezTo>
                      <a:cubicBezTo>
                        <a:pt x="809854" y="29168"/>
                        <a:pt x="812313" y="23362"/>
                        <a:pt x="815267" y="17861"/>
                      </a:cubicBezTo>
                      <a:cubicBezTo>
                        <a:pt x="818867" y="11130"/>
                        <a:pt x="818867" y="-1319"/>
                        <a:pt x="827386" y="114"/>
                      </a:cubicBezTo>
                      <a:cubicBezTo>
                        <a:pt x="827981" y="228"/>
                        <a:pt x="833280" y="6921"/>
                        <a:pt x="835042" y="8011"/>
                      </a:cubicBezTo>
                      <a:cubicBezTo>
                        <a:pt x="839378" y="10673"/>
                        <a:pt x="846933" y="13361"/>
                        <a:pt x="851496" y="15592"/>
                      </a:cubicBezTo>
                      <a:cubicBezTo>
                        <a:pt x="863400" y="21410"/>
                        <a:pt x="877927" y="20396"/>
                        <a:pt x="888880" y="27533"/>
                      </a:cubicBezTo>
                      <a:cubicBezTo>
                        <a:pt x="894635" y="31298"/>
                        <a:pt x="897132" y="35900"/>
                        <a:pt x="904091" y="37928"/>
                      </a:cubicBezTo>
                      <a:cubicBezTo>
                        <a:pt x="910189" y="39703"/>
                        <a:pt x="919658" y="38650"/>
                        <a:pt x="926199" y="38866"/>
                      </a:cubicBezTo>
                      <a:cubicBezTo>
                        <a:pt x="945848" y="39538"/>
                        <a:pt x="959931" y="44266"/>
                        <a:pt x="978097" y="53013"/>
                      </a:cubicBezTo>
                      <a:cubicBezTo>
                        <a:pt x="982851" y="55295"/>
                        <a:pt x="988390" y="56816"/>
                        <a:pt x="992688" y="58819"/>
                      </a:cubicBezTo>
                      <a:cubicBezTo>
                        <a:pt x="996833" y="60758"/>
                        <a:pt x="1002195" y="65056"/>
                        <a:pt x="1006683" y="65930"/>
                      </a:cubicBezTo>
                      <a:cubicBezTo>
                        <a:pt x="1010562" y="66691"/>
                        <a:pt x="1017090" y="63877"/>
                        <a:pt x="1021565" y="64003"/>
                      </a:cubicBezTo>
                      <a:cubicBezTo>
                        <a:pt x="1028309" y="64194"/>
                        <a:pt x="1033113" y="67578"/>
                        <a:pt x="1039236" y="69252"/>
                      </a:cubicBezTo>
                      <a:cubicBezTo>
                        <a:pt x="1046258" y="71166"/>
                        <a:pt x="1064399" y="70621"/>
                        <a:pt x="1067530" y="79887"/>
                      </a:cubicBezTo>
                      <a:cubicBezTo>
                        <a:pt x="1067695" y="80381"/>
                        <a:pt x="1064488" y="88647"/>
                        <a:pt x="1064272" y="90434"/>
                      </a:cubicBezTo>
                      <a:cubicBezTo>
                        <a:pt x="1063651" y="95429"/>
                        <a:pt x="1064323" y="99346"/>
                        <a:pt x="1065578" y="104150"/>
                      </a:cubicBezTo>
                      <a:cubicBezTo>
                        <a:pt x="1066858" y="109259"/>
                        <a:pt x="1068848" y="111414"/>
                        <a:pt x="1069431" y="116307"/>
                      </a:cubicBezTo>
                      <a:cubicBezTo>
                        <a:pt x="1069862" y="120160"/>
                        <a:pt x="1067885" y="125066"/>
                        <a:pt x="1069431" y="129262"/>
                      </a:cubicBezTo>
                      <a:cubicBezTo>
                        <a:pt x="1071396" y="134485"/>
                        <a:pt x="1075706" y="133902"/>
                        <a:pt x="1076593" y="139695"/>
                      </a:cubicBezTo>
                      <a:cubicBezTo>
                        <a:pt x="1077278" y="143942"/>
                        <a:pt x="1071028" y="145843"/>
                        <a:pt x="1075732" y="151826"/>
                      </a:cubicBezTo>
                      <a:cubicBezTo>
                        <a:pt x="1079446" y="156542"/>
                        <a:pt x="1085962" y="153969"/>
                        <a:pt x="1090500" y="157189"/>
                      </a:cubicBezTo>
                      <a:cubicBezTo>
                        <a:pt x="1096572" y="161473"/>
                        <a:pt x="1097408" y="165606"/>
                        <a:pt x="1104051" y="169041"/>
                      </a:cubicBezTo>
                      <a:cubicBezTo>
                        <a:pt x="1109198" y="171703"/>
                        <a:pt x="1116968" y="176026"/>
                        <a:pt x="1122723" y="177344"/>
                      </a:cubicBezTo>
                      <a:cubicBezTo>
                        <a:pt x="1126831" y="178295"/>
                        <a:pt x="1130710" y="176153"/>
                        <a:pt x="1134703" y="176888"/>
                      </a:cubicBezTo>
                      <a:cubicBezTo>
                        <a:pt x="1141053" y="178067"/>
                        <a:pt x="1140318" y="179765"/>
                        <a:pt x="1144831" y="182504"/>
                      </a:cubicBezTo>
                      <a:cubicBezTo>
                        <a:pt x="1150523" y="185964"/>
                        <a:pt x="1148913" y="185128"/>
                        <a:pt x="1156646" y="187346"/>
                      </a:cubicBezTo>
                      <a:cubicBezTo>
                        <a:pt x="1162287" y="188943"/>
                        <a:pt x="1168093" y="193469"/>
                        <a:pt x="1173987" y="193494"/>
                      </a:cubicBezTo>
                      <a:cubicBezTo>
                        <a:pt x="1180997" y="193520"/>
                        <a:pt x="1184990" y="188969"/>
                        <a:pt x="1192710" y="189602"/>
                      </a:cubicBezTo>
                      <a:cubicBezTo>
                        <a:pt x="1203029" y="190464"/>
                        <a:pt x="1207529" y="194508"/>
                        <a:pt x="1217759" y="188221"/>
                      </a:cubicBezTo>
                      <a:cubicBezTo>
                        <a:pt x="1221638" y="185838"/>
                        <a:pt x="1224212" y="181046"/>
                        <a:pt x="1228572" y="178903"/>
                      </a:cubicBezTo>
                      <a:cubicBezTo>
                        <a:pt x="1234543" y="175975"/>
                        <a:pt x="1239931" y="177179"/>
                        <a:pt x="1246231" y="176001"/>
                      </a:cubicBezTo>
                      <a:cubicBezTo>
                        <a:pt x="1254775" y="174416"/>
                        <a:pt x="1263610" y="169992"/>
                        <a:pt x="1272750" y="168648"/>
                      </a:cubicBezTo>
                      <a:cubicBezTo>
                        <a:pt x="1283386" y="167089"/>
                        <a:pt x="1292652" y="160865"/>
                        <a:pt x="1303021" y="161194"/>
                      </a:cubicBezTo>
                      <a:cubicBezTo>
                        <a:pt x="1311629" y="161448"/>
                        <a:pt x="1322252" y="164097"/>
                        <a:pt x="1330973" y="165099"/>
                      </a:cubicBezTo>
                      <a:cubicBezTo>
                        <a:pt x="1334903" y="165555"/>
                        <a:pt x="1342395" y="165821"/>
                        <a:pt x="1345767" y="167406"/>
                      </a:cubicBezTo>
                      <a:cubicBezTo>
                        <a:pt x="1352384" y="170512"/>
                        <a:pt x="1357442" y="177902"/>
                        <a:pt x="1366341" y="178282"/>
                      </a:cubicBezTo>
                      <a:cubicBezTo>
                        <a:pt x="1382389" y="178954"/>
                        <a:pt x="1392733" y="170512"/>
                        <a:pt x="1408706" y="179258"/>
                      </a:cubicBezTo>
                      <a:cubicBezTo>
                        <a:pt x="1419760" y="185330"/>
                        <a:pt x="1420710" y="192315"/>
                        <a:pt x="1428177" y="199870"/>
                      </a:cubicBezTo>
                      <a:cubicBezTo>
                        <a:pt x="1433400" y="205157"/>
                        <a:pt x="1444707" y="207869"/>
                        <a:pt x="1450627" y="208478"/>
                      </a:cubicBezTo>
                      <a:cubicBezTo>
                        <a:pt x="1461300" y="209593"/>
                        <a:pt x="1478211" y="206095"/>
                        <a:pt x="1487681" y="211951"/>
                      </a:cubicBezTo>
                      <a:cubicBezTo>
                        <a:pt x="1495325" y="216667"/>
                        <a:pt x="1490165" y="211964"/>
                        <a:pt x="1492257" y="218923"/>
                      </a:cubicBezTo>
                      <a:cubicBezTo>
                        <a:pt x="1493347" y="222574"/>
                        <a:pt x="1491851" y="229533"/>
                        <a:pt x="1493043" y="233096"/>
                      </a:cubicBezTo>
                      <a:cubicBezTo>
                        <a:pt x="1493524" y="234490"/>
                        <a:pt x="1492295" y="237013"/>
                        <a:pt x="1492865" y="238673"/>
                      </a:cubicBezTo>
                      <a:cubicBezTo>
                        <a:pt x="1493017" y="239142"/>
                        <a:pt x="1497061" y="238179"/>
                        <a:pt x="1497860" y="239320"/>
                      </a:cubicBezTo>
                      <a:cubicBezTo>
                        <a:pt x="1500534" y="243199"/>
                        <a:pt x="1497404" y="243985"/>
                        <a:pt x="1503374" y="248092"/>
                      </a:cubicBezTo>
                      <a:cubicBezTo>
                        <a:pt x="1507101" y="250640"/>
                        <a:pt x="1511576" y="249512"/>
                        <a:pt x="1515353" y="251971"/>
                      </a:cubicBezTo>
                      <a:cubicBezTo>
                        <a:pt x="1520678" y="255470"/>
                        <a:pt x="1524075" y="263278"/>
                        <a:pt x="1530654" y="266891"/>
                      </a:cubicBezTo>
                      <a:cubicBezTo>
                        <a:pt x="1550620" y="277818"/>
                        <a:pt x="1579496" y="265294"/>
                        <a:pt x="1601858" y="272862"/>
                      </a:cubicBezTo>
                      <a:cubicBezTo>
                        <a:pt x="1604850" y="273863"/>
                        <a:pt x="1605040" y="276399"/>
                        <a:pt x="1608044" y="277070"/>
                      </a:cubicBezTo>
                      <a:cubicBezTo>
                        <a:pt x="1615003" y="278617"/>
                        <a:pt x="1622407" y="276728"/>
                        <a:pt x="1629417" y="278325"/>
                      </a:cubicBezTo>
                      <a:cubicBezTo>
                        <a:pt x="1635882" y="279809"/>
                        <a:pt x="1643412" y="283257"/>
                        <a:pt x="1650561" y="284499"/>
                      </a:cubicBezTo>
                      <a:cubicBezTo>
                        <a:pt x="1659536" y="286058"/>
                        <a:pt x="1660398" y="283903"/>
                        <a:pt x="1668245" y="282559"/>
                      </a:cubicBezTo>
                      <a:cubicBezTo>
                        <a:pt x="1676307" y="281178"/>
                        <a:pt x="1667865" y="279973"/>
                        <a:pt x="1678158" y="283092"/>
                      </a:cubicBezTo>
                      <a:cubicBezTo>
                        <a:pt x="1684534" y="285044"/>
                        <a:pt x="1689554" y="288758"/>
                        <a:pt x="1696387" y="288796"/>
                      </a:cubicBezTo>
                      <a:cubicBezTo>
                        <a:pt x="1711890" y="288860"/>
                        <a:pt x="1725074" y="274649"/>
                        <a:pt x="1739588" y="270732"/>
                      </a:cubicBezTo>
                      <a:cubicBezTo>
                        <a:pt x="1746497" y="268856"/>
                        <a:pt x="1751999" y="268387"/>
                        <a:pt x="1760112" y="266815"/>
                      </a:cubicBezTo>
                      <a:cubicBezTo>
                        <a:pt x="1775856" y="263760"/>
                        <a:pt x="1791993" y="263557"/>
                        <a:pt x="1807243" y="257840"/>
                      </a:cubicBezTo>
                      <a:cubicBezTo>
                        <a:pt x="1814519" y="255102"/>
                        <a:pt x="1822087" y="250855"/>
                        <a:pt x="1829972" y="251084"/>
                      </a:cubicBezTo>
                      <a:cubicBezTo>
                        <a:pt x="1836843" y="251286"/>
                        <a:pt x="1841584" y="255267"/>
                        <a:pt x="1848366" y="254405"/>
                      </a:cubicBezTo>
                      <a:cubicBezTo>
                        <a:pt x="1855236" y="253517"/>
                        <a:pt x="1868673" y="245075"/>
                        <a:pt x="1871906" y="241259"/>
                      </a:cubicBezTo>
                      <a:cubicBezTo>
                        <a:pt x="1874365" y="238369"/>
                        <a:pt x="1874999" y="231321"/>
                        <a:pt x="1878067" y="227695"/>
                      </a:cubicBezTo>
                      <a:cubicBezTo>
                        <a:pt x="1883315" y="221509"/>
                        <a:pt x="1890769" y="218327"/>
                        <a:pt x="1897335" y="213612"/>
                      </a:cubicBezTo>
                      <a:cubicBezTo>
                        <a:pt x="1906563" y="206969"/>
                        <a:pt x="1914791" y="202875"/>
                        <a:pt x="1925186" y="198527"/>
                      </a:cubicBezTo>
                      <a:cubicBezTo>
                        <a:pt x="1934503" y="194635"/>
                        <a:pt x="1944860" y="184988"/>
                        <a:pt x="1955469" y="181578"/>
                      </a:cubicBezTo>
                      <a:cubicBezTo>
                        <a:pt x="1964014" y="178815"/>
                        <a:pt x="1964470" y="182111"/>
                        <a:pt x="1972558" y="183251"/>
                      </a:cubicBezTo>
                      <a:cubicBezTo>
                        <a:pt x="1980670" y="184380"/>
                        <a:pt x="1988074" y="181426"/>
                        <a:pt x="1996199" y="183606"/>
                      </a:cubicBezTo>
                      <a:cubicBezTo>
                        <a:pt x="2023403" y="190895"/>
                        <a:pt x="2030971" y="219836"/>
                        <a:pt x="2062345" y="217529"/>
                      </a:cubicBezTo>
                      <a:cubicBezTo>
                        <a:pt x="2075351" y="216578"/>
                        <a:pt x="2085455" y="205980"/>
                        <a:pt x="2098423" y="204916"/>
                      </a:cubicBezTo>
                      <a:cubicBezTo>
                        <a:pt x="2110972" y="203902"/>
                        <a:pt x="2133156" y="211203"/>
                        <a:pt x="2138760" y="223246"/>
                      </a:cubicBezTo>
                      <a:lnTo>
                        <a:pt x="2138760" y="223246"/>
                      </a:lnTo>
                      <a:close/>
                    </a:path>
                  </a:pathLst>
                </a:custGeom>
                <a:solidFill>
                  <a:srgbClr val="D6D6D2"/>
                </a:solidFill>
                <a:ln w="12413" cap="rnd">
                  <a:solidFill>
                    <a:srgbClr val="FFFFFF"/>
                  </a:solidFill>
                  <a:prstDash val="solid"/>
                  <a:round/>
                </a:ln>
              </p:spPr>
              <p:txBody>
                <a:bodyPr rtlCol="0" anchor="ctr"/>
                <a:lstStyle/>
                <a:p>
                  <a:endParaRPr lang="en-US"/>
                </a:p>
              </p:txBody>
            </p:sp>
            <p:sp>
              <p:nvSpPr>
                <p:cNvPr id="86" name="Freeform: Shape 85">
                  <a:extLst>
                    <a:ext uri="{FF2B5EF4-FFF2-40B4-BE49-F238E27FC236}">
                      <a16:creationId xmlns:a16="http://schemas.microsoft.com/office/drawing/2014/main" id="{8ADC2D6C-31EE-4E4F-A81A-B88882B749B4}"/>
                    </a:ext>
                  </a:extLst>
                </p:cNvPr>
                <p:cNvSpPr/>
                <p:nvPr/>
              </p:nvSpPr>
              <p:spPr>
                <a:xfrm>
                  <a:off x="2737860" y="2744314"/>
                  <a:ext cx="664058" cy="1418402"/>
                </a:xfrm>
                <a:custGeom>
                  <a:avLst/>
                  <a:gdLst>
                    <a:gd name="connsiteX0" fmla="*/ 399832 w 664058"/>
                    <a:gd name="connsiteY0" fmla="*/ 2358 h 1418402"/>
                    <a:gd name="connsiteX1" fmla="*/ 410151 w 664058"/>
                    <a:gd name="connsiteY1" fmla="*/ 9140 h 1418402"/>
                    <a:gd name="connsiteX2" fmla="*/ 426060 w 664058"/>
                    <a:gd name="connsiteY2" fmla="*/ 17913 h 1418402"/>
                    <a:gd name="connsiteX3" fmla="*/ 433717 w 664058"/>
                    <a:gd name="connsiteY3" fmla="*/ 25848 h 1418402"/>
                    <a:gd name="connsiteX4" fmla="*/ 438889 w 664058"/>
                    <a:gd name="connsiteY4" fmla="*/ 42125 h 1418402"/>
                    <a:gd name="connsiteX5" fmla="*/ 457777 w 664058"/>
                    <a:gd name="connsiteY5" fmla="*/ 77999 h 1418402"/>
                    <a:gd name="connsiteX6" fmla="*/ 461339 w 664058"/>
                    <a:gd name="connsiteY6" fmla="*/ 67136 h 1418402"/>
                    <a:gd name="connsiteX7" fmla="*/ 472329 w 664058"/>
                    <a:gd name="connsiteY7" fmla="*/ 73677 h 1418402"/>
                    <a:gd name="connsiteX8" fmla="*/ 479961 w 664058"/>
                    <a:gd name="connsiteY8" fmla="*/ 74589 h 1418402"/>
                    <a:gd name="connsiteX9" fmla="*/ 480176 w 664058"/>
                    <a:gd name="connsiteY9" fmla="*/ 91310 h 1418402"/>
                    <a:gd name="connsiteX10" fmla="*/ 485475 w 664058"/>
                    <a:gd name="connsiteY10" fmla="*/ 139126 h 1418402"/>
                    <a:gd name="connsiteX11" fmla="*/ 482876 w 664058"/>
                    <a:gd name="connsiteY11" fmla="*/ 169245 h 1418402"/>
                    <a:gd name="connsiteX12" fmla="*/ 478161 w 664058"/>
                    <a:gd name="connsiteY12" fmla="*/ 177028 h 1418402"/>
                    <a:gd name="connsiteX13" fmla="*/ 480176 w 664058"/>
                    <a:gd name="connsiteY13" fmla="*/ 181072 h 1418402"/>
                    <a:gd name="connsiteX14" fmla="*/ 476741 w 664058"/>
                    <a:gd name="connsiteY14" fmla="*/ 192278 h 1418402"/>
                    <a:gd name="connsiteX15" fmla="*/ 476361 w 664058"/>
                    <a:gd name="connsiteY15" fmla="*/ 188539 h 1418402"/>
                    <a:gd name="connsiteX16" fmla="*/ 476335 w 664058"/>
                    <a:gd name="connsiteY16" fmla="*/ 202255 h 1418402"/>
                    <a:gd name="connsiteX17" fmla="*/ 471696 w 664058"/>
                    <a:gd name="connsiteY17" fmla="*/ 214348 h 1418402"/>
                    <a:gd name="connsiteX18" fmla="*/ 463938 w 664058"/>
                    <a:gd name="connsiteY18" fmla="*/ 216719 h 1418402"/>
                    <a:gd name="connsiteX19" fmla="*/ 459983 w 664058"/>
                    <a:gd name="connsiteY19" fmla="*/ 224946 h 1418402"/>
                    <a:gd name="connsiteX20" fmla="*/ 440511 w 664058"/>
                    <a:gd name="connsiteY20" fmla="*/ 230422 h 1418402"/>
                    <a:gd name="connsiteX21" fmla="*/ 427556 w 664058"/>
                    <a:gd name="connsiteY21" fmla="*/ 258095 h 1418402"/>
                    <a:gd name="connsiteX22" fmla="*/ 420901 w 664058"/>
                    <a:gd name="connsiteY22" fmla="*/ 261086 h 1418402"/>
                    <a:gd name="connsiteX23" fmla="*/ 417795 w 664058"/>
                    <a:gd name="connsiteY23" fmla="*/ 258209 h 1418402"/>
                    <a:gd name="connsiteX24" fmla="*/ 414550 w 664058"/>
                    <a:gd name="connsiteY24" fmla="*/ 262849 h 1418402"/>
                    <a:gd name="connsiteX25" fmla="*/ 408478 w 664058"/>
                    <a:gd name="connsiteY25" fmla="*/ 283410 h 1418402"/>
                    <a:gd name="connsiteX26" fmla="*/ 413067 w 664058"/>
                    <a:gd name="connsiteY26" fmla="*/ 290521 h 1418402"/>
                    <a:gd name="connsiteX27" fmla="*/ 406095 w 664058"/>
                    <a:gd name="connsiteY27" fmla="*/ 291548 h 1418402"/>
                    <a:gd name="connsiteX28" fmla="*/ 395725 w 664058"/>
                    <a:gd name="connsiteY28" fmla="*/ 311514 h 1418402"/>
                    <a:gd name="connsiteX29" fmla="*/ 404700 w 664058"/>
                    <a:gd name="connsiteY29" fmla="*/ 324317 h 1418402"/>
                    <a:gd name="connsiteX30" fmla="*/ 407172 w 664058"/>
                    <a:gd name="connsiteY30" fmla="*/ 329007 h 1418402"/>
                    <a:gd name="connsiteX31" fmla="*/ 407933 w 664058"/>
                    <a:gd name="connsiteY31" fmla="*/ 334331 h 1418402"/>
                    <a:gd name="connsiteX32" fmla="*/ 407705 w 664058"/>
                    <a:gd name="connsiteY32" fmla="*/ 347464 h 1418402"/>
                    <a:gd name="connsiteX33" fmla="*/ 395599 w 664058"/>
                    <a:gd name="connsiteY33" fmla="*/ 362372 h 1418402"/>
                    <a:gd name="connsiteX34" fmla="*/ 402406 w 664058"/>
                    <a:gd name="connsiteY34" fmla="*/ 368355 h 1418402"/>
                    <a:gd name="connsiteX35" fmla="*/ 449068 w 664058"/>
                    <a:gd name="connsiteY35" fmla="*/ 347959 h 1418402"/>
                    <a:gd name="connsiteX36" fmla="*/ 494146 w 664058"/>
                    <a:gd name="connsiteY36" fmla="*/ 345094 h 1418402"/>
                    <a:gd name="connsiteX37" fmla="*/ 479885 w 664058"/>
                    <a:gd name="connsiteY37" fmla="*/ 362017 h 1418402"/>
                    <a:gd name="connsiteX38" fmla="*/ 488784 w 664058"/>
                    <a:gd name="connsiteY38" fmla="*/ 375239 h 1418402"/>
                    <a:gd name="connsiteX39" fmla="*/ 489620 w 664058"/>
                    <a:gd name="connsiteY39" fmla="*/ 397080 h 1418402"/>
                    <a:gd name="connsiteX40" fmla="*/ 493233 w 664058"/>
                    <a:gd name="connsiteY40" fmla="*/ 408920 h 1418402"/>
                    <a:gd name="connsiteX41" fmla="*/ 493753 w 664058"/>
                    <a:gd name="connsiteY41" fmla="*/ 417642 h 1418402"/>
                    <a:gd name="connsiteX42" fmla="*/ 504756 w 664058"/>
                    <a:gd name="connsiteY42" fmla="*/ 421521 h 1418402"/>
                    <a:gd name="connsiteX43" fmla="*/ 517623 w 664058"/>
                    <a:gd name="connsiteY43" fmla="*/ 426692 h 1418402"/>
                    <a:gd name="connsiteX44" fmla="*/ 520729 w 664058"/>
                    <a:gd name="connsiteY44" fmla="*/ 429659 h 1418402"/>
                    <a:gd name="connsiteX45" fmla="*/ 527295 w 664058"/>
                    <a:gd name="connsiteY45" fmla="*/ 424284 h 1418402"/>
                    <a:gd name="connsiteX46" fmla="*/ 543647 w 664058"/>
                    <a:gd name="connsiteY46" fmla="*/ 438469 h 1418402"/>
                    <a:gd name="connsiteX47" fmla="*/ 535864 w 664058"/>
                    <a:gd name="connsiteY47" fmla="*/ 439001 h 1418402"/>
                    <a:gd name="connsiteX48" fmla="*/ 532074 w 664058"/>
                    <a:gd name="connsiteY48" fmla="*/ 448560 h 1418402"/>
                    <a:gd name="connsiteX49" fmla="*/ 526826 w 664058"/>
                    <a:gd name="connsiteY49" fmla="*/ 454822 h 1418402"/>
                    <a:gd name="connsiteX50" fmla="*/ 530122 w 664058"/>
                    <a:gd name="connsiteY50" fmla="*/ 467371 h 1418402"/>
                    <a:gd name="connsiteX51" fmla="*/ 522300 w 664058"/>
                    <a:gd name="connsiteY51" fmla="*/ 483154 h 1418402"/>
                    <a:gd name="connsiteX52" fmla="*/ 514745 w 664058"/>
                    <a:gd name="connsiteY52" fmla="*/ 499570 h 1418402"/>
                    <a:gd name="connsiteX53" fmla="*/ 533253 w 664058"/>
                    <a:gd name="connsiteY53" fmla="*/ 502878 h 1418402"/>
                    <a:gd name="connsiteX54" fmla="*/ 551532 w 664058"/>
                    <a:gd name="connsiteY54" fmla="*/ 505262 h 1418402"/>
                    <a:gd name="connsiteX55" fmla="*/ 560976 w 664058"/>
                    <a:gd name="connsiteY55" fmla="*/ 507391 h 1418402"/>
                    <a:gd name="connsiteX56" fmla="*/ 565705 w 664058"/>
                    <a:gd name="connsiteY56" fmla="*/ 509914 h 1418402"/>
                    <a:gd name="connsiteX57" fmla="*/ 573742 w 664058"/>
                    <a:gd name="connsiteY57" fmla="*/ 507911 h 1418402"/>
                    <a:gd name="connsiteX58" fmla="*/ 573514 w 664058"/>
                    <a:gd name="connsiteY58" fmla="*/ 528612 h 1418402"/>
                    <a:gd name="connsiteX59" fmla="*/ 587331 w 664058"/>
                    <a:gd name="connsiteY59" fmla="*/ 539577 h 1418402"/>
                    <a:gd name="connsiteX60" fmla="*/ 590868 w 664058"/>
                    <a:gd name="connsiteY60" fmla="*/ 555169 h 1418402"/>
                    <a:gd name="connsiteX61" fmla="*/ 604026 w 664058"/>
                    <a:gd name="connsiteY61" fmla="*/ 547551 h 1418402"/>
                    <a:gd name="connsiteX62" fmla="*/ 622115 w 664058"/>
                    <a:gd name="connsiteY62" fmla="*/ 552887 h 1418402"/>
                    <a:gd name="connsiteX63" fmla="*/ 641295 w 664058"/>
                    <a:gd name="connsiteY63" fmla="*/ 537054 h 1418402"/>
                    <a:gd name="connsiteX64" fmla="*/ 655556 w 664058"/>
                    <a:gd name="connsiteY64" fmla="*/ 530691 h 1418402"/>
                    <a:gd name="connsiteX65" fmla="*/ 661983 w 664058"/>
                    <a:gd name="connsiteY65" fmla="*/ 535736 h 1418402"/>
                    <a:gd name="connsiteX66" fmla="*/ 658903 w 664058"/>
                    <a:gd name="connsiteY66" fmla="*/ 551772 h 1418402"/>
                    <a:gd name="connsiteX67" fmla="*/ 641789 w 664058"/>
                    <a:gd name="connsiteY67" fmla="*/ 563510 h 1418402"/>
                    <a:gd name="connsiteX68" fmla="*/ 633613 w 664058"/>
                    <a:gd name="connsiteY68" fmla="*/ 564322 h 1418402"/>
                    <a:gd name="connsiteX69" fmla="*/ 618160 w 664058"/>
                    <a:gd name="connsiteY69" fmla="*/ 586290 h 1418402"/>
                    <a:gd name="connsiteX70" fmla="*/ 626185 w 664058"/>
                    <a:gd name="connsiteY70" fmla="*/ 597382 h 1418402"/>
                    <a:gd name="connsiteX71" fmla="*/ 596357 w 664058"/>
                    <a:gd name="connsiteY71" fmla="*/ 608981 h 1418402"/>
                    <a:gd name="connsiteX72" fmla="*/ 585315 w 664058"/>
                    <a:gd name="connsiteY72" fmla="*/ 640710 h 1418402"/>
                    <a:gd name="connsiteX73" fmla="*/ 564893 w 664058"/>
                    <a:gd name="connsiteY73" fmla="*/ 634993 h 1418402"/>
                    <a:gd name="connsiteX74" fmla="*/ 552965 w 664058"/>
                    <a:gd name="connsiteY74" fmla="*/ 641420 h 1418402"/>
                    <a:gd name="connsiteX75" fmla="*/ 535167 w 664058"/>
                    <a:gd name="connsiteY75" fmla="*/ 636286 h 1418402"/>
                    <a:gd name="connsiteX76" fmla="*/ 525913 w 664058"/>
                    <a:gd name="connsiteY76" fmla="*/ 660258 h 1418402"/>
                    <a:gd name="connsiteX77" fmla="*/ 509485 w 664058"/>
                    <a:gd name="connsiteY77" fmla="*/ 657304 h 1418402"/>
                    <a:gd name="connsiteX78" fmla="*/ 504186 w 664058"/>
                    <a:gd name="connsiteY78" fmla="*/ 671324 h 1418402"/>
                    <a:gd name="connsiteX79" fmla="*/ 484144 w 664058"/>
                    <a:gd name="connsiteY79" fmla="*/ 683608 h 1418402"/>
                    <a:gd name="connsiteX80" fmla="*/ 462645 w 664058"/>
                    <a:gd name="connsiteY80" fmla="*/ 688919 h 1418402"/>
                    <a:gd name="connsiteX81" fmla="*/ 446381 w 664058"/>
                    <a:gd name="connsiteY81" fmla="*/ 689743 h 1418402"/>
                    <a:gd name="connsiteX82" fmla="*/ 437406 w 664058"/>
                    <a:gd name="connsiteY82" fmla="*/ 682226 h 1418402"/>
                    <a:gd name="connsiteX83" fmla="*/ 430725 w 664058"/>
                    <a:gd name="connsiteY83" fmla="*/ 688235 h 1418402"/>
                    <a:gd name="connsiteX84" fmla="*/ 421725 w 664058"/>
                    <a:gd name="connsiteY84" fmla="*/ 697691 h 1418402"/>
                    <a:gd name="connsiteX85" fmla="*/ 416616 w 664058"/>
                    <a:gd name="connsiteY85" fmla="*/ 706704 h 1418402"/>
                    <a:gd name="connsiteX86" fmla="*/ 415564 w 664058"/>
                    <a:gd name="connsiteY86" fmla="*/ 719191 h 1418402"/>
                    <a:gd name="connsiteX87" fmla="*/ 412724 w 664058"/>
                    <a:gd name="connsiteY87" fmla="*/ 721105 h 1418402"/>
                    <a:gd name="connsiteX88" fmla="*/ 416312 w 664058"/>
                    <a:gd name="connsiteY88" fmla="*/ 725516 h 1418402"/>
                    <a:gd name="connsiteX89" fmla="*/ 408744 w 664058"/>
                    <a:gd name="connsiteY89" fmla="*/ 742921 h 1418402"/>
                    <a:gd name="connsiteX90" fmla="*/ 409428 w 664058"/>
                    <a:gd name="connsiteY90" fmla="*/ 754647 h 1418402"/>
                    <a:gd name="connsiteX91" fmla="*/ 412065 w 664058"/>
                    <a:gd name="connsiteY91" fmla="*/ 771646 h 1418402"/>
                    <a:gd name="connsiteX92" fmla="*/ 382199 w 664058"/>
                    <a:gd name="connsiteY92" fmla="*/ 775576 h 1418402"/>
                    <a:gd name="connsiteX93" fmla="*/ 391478 w 664058"/>
                    <a:gd name="connsiteY93" fmla="*/ 794540 h 1418402"/>
                    <a:gd name="connsiteX94" fmla="*/ 397791 w 664058"/>
                    <a:gd name="connsiteY94" fmla="*/ 792359 h 1418402"/>
                    <a:gd name="connsiteX95" fmla="*/ 402114 w 664058"/>
                    <a:gd name="connsiteY95" fmla="*/ 799509 h 1418402"/>
                    <a:gd name="connsiteX96" fmla="*/ 408947 w 664058"/>
                    <a:gd name="connsiteY96" fmla="*/ 813200 h 1418402"/>
                    <a:gd name="connsiteX97" fmla="*/ 406183 w 664058"/>
                    <a:gd name="connsiteY97" fmla="*/ 830351 h 1418402"/>
                    <a:gd name="connsiteX98" fmla="*/ 425807 w 664058"/>
                    <a:gd name="connsiteY98" fmla="*/ 853334 h 1418402"/>
                    <a:gd name="connsiteX99" fmla="*/ 437583 w 664058"/>
                    <a:gd name="connsiteY99" fmla="*/ 870346 h 1418402"/>
                    <a:gd name="connsiteX100" fmla="*/ 452326 w 664058"/>
                    <a:gd name="connsiteY100" fmla="*/ 888359 h 1418402"/>
                    <a:gd name="connsiteX101" fmla="*/ 463507 w 664058"/>
                    <a:gd name="connsiteY101" fmla="*/ 894152 h 1418402"/>
                    <a:gd name="connsiteX102" fmla="*/ 468932 w 664058"/>
                    <a:gd name="connsiteY102" fmla="*/ 904560 h 1418402"/>
                    <a:gd name="connsiteX103" fmla="*/ 463760 w 664058"/>
                    <a:gd name="connsiteY103" fmla="*/ 912850 h 1418402"/>
                    <a:gd name="connsiteX104" fmla="*/ 472101 w 664058"/>
                    <a:gd name="connsiteY104" fmla="*/ 925501 h 1418402"/>
                    <a:gd name="connsiteX105" fmla="*/ 478718 w 664058"/>
                    <a:gd name="connsiteY105" fmla="*/ 946037 h 1418402"/>
                    <a:gd name="connsiteX106" fmla="*/ 492206 w 664058"/>
                    <a:gd name="connsiteY106" fmla="*/ 933132 h 1418402"/>
                    <a:gd name="connsiteX107" fmla="*/ 491560 w 664058"/>
                    <a:gd name="connsiteY107" fmla="*/ 958562 h 1418402"/>
                    <a:gd name="connsiteX108" fmla="*/ 478871 w 664058"/>
                    <a:gd name="connsiteY108" fmla="*/ 960019 h 1418402"/>
                    <a:gd name="connsiteX109" fmla="*/ 470605 w 664058"/>
                    <a:gd name="connsiteY109" fmla="*/ 965217 h 1418402"/>
                    <a:gd name="connsiteX110" fmla="*/ 470263 w 664058"/>
                    <a:gd name="connsiteY110" fmla="*/ 989188 h 1418402"/>
                    <a:gd name="connsiteX111" fmla="*/ 469579 w 664058"/>
                    <a:gd name="connsiteY111" fmla="*/ 1019548 h 1418402"/>
                    <a:gd name="connsiteX112" fmla="*/ 459133 w 664058"/>
                    <a:gd name="connsiteY112" fmla="*/ 1024670 h 1418402"/>
                    <a:gd name="connsiteX113" fmla="*/ 443237 w 664058"/>
                    <a:gd name="connsiteY113" fmla="*/ 1027496 h 1418402"/>
                    <a:gd name="connsiteX114" fmla="*/ 446026 w 664058"/>
                    <a:gd name="connsiteY114" fmla="*/ 1048349 h 1418402"/>
                    <a:gd name="connsiteX115" fmla="*/ 462378 w 664058"/>
                    <a:gd name="connsiteY115" fmla="*/ 1075870 h 1418402"/>
                    <a:gd name="connsiteX116" fmla="*/ 481697 w 664058"/>
                    <a:gd name="connsiteY116" fmla="*/ 1098789 h 1418402"/>
                    <a:gd name="connsiteX117" fmla="*/ 504211 w 664058"/>
                    <a:gd name="connsiteY117" fmla="*/ 1122114 h 1418402"/>
                    <a:gd name="connsiteX118" fmla="*/ 518168 w 664058"/>
                    <a:gd name="connsiteY118" fmla="*/ 1176851 h 1418402"/>
                    <a:gd name="connsiteX119" fmla="*/ 511728 w 664058"/>
                    <a:gd name="connsiteY119" fmla="*/ 1185256 h 1418402"/>
                    <a:gd name="connsiteX120" fmla="*/ 514542 w 664058"/>
                    <a:gd name="connsiteY120" fmla="*/ 1193787 h 1418402"/>
                    <a:gd name="connsiteX121" fmla="*/ 520690 w 664058"/>
                    <a:gd name="connsiteY121" fmla="*/ 1215122 h 1418402"/>
                    <a:gd name="connsiteX122" fmla="*/ 528715 w 664058"/>
                    <a:gd name="connsiteY122" fmla="*/ 1221992 h 1418402"/>
                    <a:gd name="connsiteX123" fmla="*/ 532885 w 664058"/>
                    <a:gd name="connsiteY123" fmla="*/ 1233173 h 1418402"/>
                    <a:gd name="connsiteX124" fmla="*/ 537525 w 664058"/>
                    <a:gd name="connsiteY124" fmla="*/ 1259033 h 1418402"/>
                    <a:gd name="connsiteX125" fmla="*/ 543952 w 664058"/>
                    <a:gd name="connsiteY125" fmla="*/ 1260301 h 1418402"/>
                    <a:gd name="connsiteX126" fmla="*/ 545473 w 664058"/>
                    <a:gd name="connsiteY126" fmla="*/ 1268731 h 1418402"/>
                    <a:gd name="connsiteX127" fmla="*/ 550113 w 664058"/>
                    <a:gd name="connsiteY127" fmla="*/ 1284893 h 1418402"/>
                    <a:gd name="connsiteX128" fmla="*/ 541746 w 664058"/>
                    <a:gd name="connsiteY128" fmla="*/ 1296264 h 1418402"/>
                    <a:gd name="connsiteX129" fmla="*/ 536650 w 664058"/>
                    <a:gd name="connsiteY129" fmla="*/ 1302704 h 1418402"/>
                    <a:gd name="connsiteX130" fmla="*/ 526281 w 664058"/>
                    <a:gd name="connsiteY130" fmla="*/ 1322264 h 1418402"/>
                    <a:gd name="connsiteX131" fmla="*/ 515506 w 664058"/>
                    <a:gd name="connsiteY131" fmla="*/ 1339238 h 1418402"/>
                    <a:gd name="connsiteX132" fmla="*/ 509421 w 664058"/>
                    <a:gd name="connsiteY132" fmla="*/ 1344080 h 1418402"/>
                    <a:gd name="connsiteX133" fmla="*/ 504198 w 664058"/>
                    <a:gd name="connsiteY133" fmla="*/ 1346311 h 1418402"/>
                    <a:gd name="connsiteX134" fmla="*/ 498430 w 664058"/>
                    <a:gd name="connsiteY134" fmla="*/ 1357429 h 1418402"/>
                    <a:gd name="connsiteX135" fmla="*/ 486096 w 664058"/>
                    <a:gd name="connsiteY135" fmla="*/ 1368001 h 1418402"/>
                    <a:gd name="connsiteX136" fmla="*/ 488593 w 664058"/>
                    <a:gd name="connsiteY136" fmla="*/ 1380322 h 1418402"/>
                    <a:gd name="connsiteX137" fmla="*/ 484169 w 664058"/>
                    <a:gd name="connsiteY137" fmla="*/ 1392428 h 1418402"/>
                    <a:gd name="connsiteX138" fmla="*/ 470301 w 664058"/>
                    <a:gd name="connsiteY138" fmla="*/ 1418403 h 1418402"/>
                    <a:gd name="connsiteX139" fmla="*/ 469224 w 664058"/>
                    <a:gd name="connsiteY139" fmla="*/ 1391617 h 1418402"/>
                    <a:gd name="connsiteX140" fmla="*/ 469224 w 664058"/>
                    <a:gd name="connsiteY140" fmla="*/ 1365998 h 1418402"/>
                    <a:gd name="connsiteX141" fmla="*/ 468666 w 664058"/>
                    <a:gd name="connsiteY141" fmla="*/ 1362436 h 1418402"/>
                    <a:gd name="connsiteX142" fmla="*/ 471772 w 664058"/>
                    <a:gd name="connsiteY142" fmla="*/ 1363475 h 1418402"/>
                    <a:gd name="connsiteX143" fmla="*/ 476766 w 664058"/>
                    <a:gd name="connsiteY143" fmla="*/ 1354285 h 1418402"/>
                    <a:gd name="connsiteX144" fmla="*/ 482965 w 664058"/>
                    <a:gd name="connsiteY144" fmla="*/ 1348137 h 1418402"/>
                    <a:gd name="connsiteX145" fmla="*/ 478820 w 664058"/>
                    <a:gd name="connsiteY145" fmla="*/ 1333356 h 1418402"/>
                    <a:gd name="connsiteX146" fmla="*/ 483890 w 664058"/>
                    <a:gd name="connsiteY146" fmla="*/ 1314518 h 1418402"/>
                    <a:gd name="connsiteX147" fmla="*/ 487427 w 664058"/>
                    <a:gd name="connsiteY147" fmla="*/ 1309422 h 1418402"/>
                    <a:gd name="connsiteX148" fmla="*/ 496047 w 664058"/>
                    <a:gd name="connsiteY148" fmla="*/ 1291536 h 1418402"/>
                    <a:gd name="connsiteX149" fmla="*/ 489924 w 664058"/>
                    <a:gd name="connsiteY149" fmla="*/ 1279785 h 1418402"/>
                    <a:gd name="connsiteX150" fmla="*/ 481723 w 664058"/>
                    <a:gd name="connsiteY150" fmla="*/ 1291637 h 1418402"/>
                    <a:gd name="connsiteX151" fmla="*/ 476906 w 664058"/>
                    <a:gd name="connsiteY151" fmla="*/ 1284120 h 1418402"/>
                    <a:gd name="connsiteX152" fmla="*/ 474763 w 664058"/>
                    <a:gd name="connsiteY152" fmla="*/ 1283334 h 1418402"/>
                    <a:gd name="connsiteX153" fmla="*/ 482395 w 664058"/>
                    <a:gd name="connsiteY153" fmla="*/ 1277744 h 1418402"/>
                    <a:gd name="connsiteX154" fmla="*/ 470707 w 664058"/>
                    <a:gd name="connsiteY154" fmla="*/ 1277744 h 1418402"/>
                    <a:gd name="connsiteX155" fmla="*/ 482826 w 664058"/>
                    <a:gd name="connsiteY155" fmla="*/ 1263939 h 1418402"/>
                    <a:gd name="connsiteX156" fmla="*/ 479923 w 664058"/>
                    <a:gd name="connsiteY156" fmla="*/ 1256815 h 1418402"/>
                    <a:gd name="connsiteX157" fmla="*/ 473635 w 664058"/>
                    <a:gd name="connsiteY157" fmla="*/ 1246534 h 1418402"/>
                    <a:gd name="connsiteX158" fmla="*/ 482395 w 664058"/>
                    <a:gd name="connsiteY158" fmla="*/ 1242718 h 1418402"/>
                    <a:gd name="connsiteX159" fmla="*/ 476044 w 664058"/>
                    <a:gd name="connsiteY159" fmla="*/ 1237813 h 1418402"/>
                    <a:gd name="connsiteX160" fmla="*/ 482623 w 664058"/>
                    <a:gd name="connsiteY160" fmla="*/ 1230448 h 1418402"/>
                    <a:gd name="connsiteX161" fmla="*/ 481127 w 664058"/>
                    <a:gd name="connsiteY161" fmla="*/ 1214323 h 1418402"/>
                    <a:gd name="connsiteX162" fmla="*/ 477578 w 664058"/>
                    <a:gd name="connsiteY162" fmla="*/ 1214323 h 1418402"/>
                    <a:gd name="connsiteX163" fmla="*/ 480341 w 664058"/>
                    <a:gd name="connsiteY163" fmla="*/ 1212231 h 1418402"/>
                    <a:gd name="connsiteX164" fmla="*/ 475803 w 664058"/>
                    <a:gd name="connsiteY164" fmla="*/ 1210647 h 1418402"/>
                    <a:gd name="connsiteX165" fmla="*/ 474789 w 664058"/>
                    <a:gd name="connsiteY165" fmla="*/ 1195676 h 1418402"/>
                    <a:gd name="connsiteX166" fmla="*/ 473559 w 664058"/>
                    <a:gd name="connsiteY166" fmla="*/ 1186599 h 1418402"/>
                    <a:gd name="connsiteX167" fmla="*/ 466371 w 664058"/>
                    <a:gd name="connsiteY167" fmla="*/ 1171743 h 1418402"/>
                    <a:gd name="connsiteX168" fmla="*/ 465167 w 664058"/>
                    <a:gd name="connsiteY168" fmla="*/ 1163123 h 1418402"/>
                    <a:gd name="connsiteX169" fmla="*/ 463646 w 664058"/>
                    <a:gd name="connsiteY169" fmla="*/ 1165633 h 1418402"/>
                    <a:gd name="connsiteX170" fmla="*/ 451476 w 664058"/>
                    <a:gd name="connsiteY170" fmla="*/ 1142029 h 1418402"/>
                    <a:gd name="connsiteX171" fmla="*/ 452491 w 664058"/>
                    <a:gd name="connsiteY171" fmla="*/ 1141572 h 1418402"/>
                    <a:gd name="connsiteX172" fmla="*/ 443896 w 664058"/>
                    <a:gd name="connsiteY172" fmla="*/ 1114305 h 1418402"/>
                    <a:gd name="connsiteX173" fmla="*/ 443985 w 664058"/>
                    <a:gd name="connsiteY173" fmla="*/ 1153324 h 1418402"/>
                    <a:gd name="connsiteX174" fmla="*/ 440841 w 664058"/>
                    <a:gd name="connsiteY174" fmla="*/ 1153844 h 1418402"/>
                    <a:gd name="connsiteX175" fmla="*/ 437811 w 664058"/>
                    <a:gd name="connsiteY175" fmla="*/ 1141585 h 1418402"/>
                    <a:gd name="connsiteX176" fmla="*/ 438331 w 664058"/>
                    <a:gd name="connsiteY176" fmla="*/ 1134892 h 1418402"/>
                    <a:gd name="connsiteX177" fmla="*/ 436075 w 664058"/>
                    <a:gd name="connsiteY177" fmla="*/ 1123496 h 1418402"/>
                    <a:gd name="connsiteX178" fmla="*/ 438331 w 664058"/>
                    <a:gd name="connsiteY178" fmla="*/ 1109945 h 1418402"/>
                    <a:gd name="connsiteX179" fmla="*/ 430180 w 664058"/>
                    <a:gd name="connsiteY179" fmla="*/ 1084009 h 1418402"/>
                    <a:gd name="connsiteX180" fmla="*/ 432196 w 664058"/>
                    <a:gd name="connsiteY180" fmla="*/ 1070584 h 1418402"/>
                    <a:gd name="connsiteX181" fmla="*/ 430180 w 664058"/>
                    <a:gd name="connsiteY181" fmla="*/ 1064981 h 1418402"/>
                    <a:gd name="connsiteX182" fmla="*/ 426466 w 664058"/>
                    <a:gd name="connsiteY182" fmla="*/ 1059213 h 1418402"/>
                    <a:gd name="connsiteX183" fmla="*/ 425059 w 664058"/>
                    <a:gd name="connsiteY183" fmla="*/ 1062712 h 1418402"/>
                    <a:gd name="connsiteX184" fmla="*/ 422561 w 664058"/>
                    <a:gd name="connsiteY184" fmla="*/ 1059302 h 1418402"/>
                    <a:gd name="connsiteX185" fmla="*/ 413510 w 664058"/>
                    <a:gd name="connsiteY185" fmla="*/ 1042797 h 1418402"/>
                    <a:gd name="connsiteX186" fmla="*/ 415970 w 664058"/>
                    <a:gd name="connsiteY186" fmla="*/ 1041745 h 1418402"/>
                    <a:gd name="connsiteX187" fmla="*/ 417073 w 664058"/>
                    <a:gd name="connsiteY187" fmla="*/ 1028346 h 1418402"/>
                    <a:gd name="connsiteX188" fmla="*/ 410189 w 664058"/>
                    <a:gd name="connsiteY188" fmla="*/ 1017837 h 1418402"/>
                    <a:gd name="connsiteX189" fmla="*/ 413282 w 664058"/>
                    <a:gd name="connsiteY189" fmla="*/ 1014668 h 1418402"/>
                    <a:gd name="connsiteX190" fmla="*/ 412547 w 664058"/>
                    <a:gd name="connsiteY190" fmla="*/ 1006174 h 1418402"/>
                    <a:gd name="connsiteX191" fmla="*/ 409961 w 664058"/>
                    <a:gd name="connsiteY191" fmla="*/ 984333 h 1418402"/>
                    <a:gd name="connsiteX192" fmla="*/ 400289 w 664058"/>
                    <a:gd name="connsiteY192" fmla="*/ 969070 h 1418402"/>
                    <a:gd name="connsiteX193" fmla="*/ 402431 w 664058"/>
                    <a:gd name="connsiteY193" fmla="*/ 957116 h 1418402"/>
                    <a:gd name="connsiteX194" fmla="*/ 410975 w 664058"/>
                    <a:gd name="connsiteY194" fmla="*/ 926604 h 1418402"/>
                    <a:gd name="connsiteX195" fmla="*/ 383619 w 664058"/>
                    <a:gd name="connsiteY195" fmla="*/ 932308 h 1418402"/>
                    <a:gd name="connsiteX196" fmla="*/ 380628 w 664058"/>
                    <a:gd name="connsiteY196" fmla="*/ 917489 h 1418402"/>
                    <a:gd name="connsiteX197" fmla="*/ 374010 w 664058"/>
                    <a:gd name="connsiteY197" fmla="*/ 902772 h 1418402"/>
                    <a:gd name="connsiteX198" fmla="*/ 372476 w 664058"/>
                    <a:gd name="connsiteY198" fmla="*/ 906423 h 1418402"/>
                    <a:gd name="connsiteX199" fmla="*/ 372476 w 664058"/>
                    <a:gd name="connsiteY199" fmla="*/ 900757 h 1418402"/>
                    <a:gd name="connsiteX200" fmla="*/ 375531 w 664058"/>
                    <a:gd name="connsiteY200" fmla="*/ 885152 h 1418402"/>
                    <a:gd name="connsiteX201" fmla="*/ 365885 w 664058"/>
                    <a:gd name="connsiteY201" fmla="*/ 887269 h 1418402"/>
                    <a:gd name="connsiteX202" fmla="*/ 360941 w 664058"/>
                    <a:gd name="connsiteY202" fmla="*/ 874073 h 1418402"/>
                    <a:gd name="connsiteX203" fmla="*/ 347605 w 664058"/>
                    <a:gd name="connsiteY203" fmla="*/ 858658 h 1418402"/>
                    <a:gd name="connsiteX204" fmla="*/ 345590 w 664058"/>
                    <a:gd name="connsiteY204" fmla="*/ 863868 h 1418402"/>
                    <a:gd name="connsiteX205" fmla="*/ 344575 w 664058"/>
                    <a:gd name="connsiteY205" fmla="*/ 862309 h 1418402"/>
                    <a:gd name="connsiteX206" fmla="*/ 343041 w 664058"/>
                    <a:gd name="connsiteY206" fmla="*/ 863374 h 1418402"/>
                    <a:gd name="connsiteX207" fmla="*/ 345235 w 664058"/>
                    <a:gd name="connsiteY207" fmla="*/ 877977 h 1418402"/>
                    <a:gd name="connsiteX208" fmla="*/ 344056 w 664058"/>
                    <a:gd name="connsiteY208" fmla="*/ 898094 h 1418402"/>
                    <a:gd name="connsiteX209" fmla="*/ 345590 w 664058"/>
                    <a:gd name="connsiteY209" fmla="*/ 900744 h 1418402"/>
                    <a:gd name="connsiteX210" fmla="*/ 342028 w 664058"/>
                    <a:gd name="connsiteY210" fmla="*/ 900173 h 1418402"/>
                    <a:gd name="connsiteX211" fmla="*/ 325751 w 664058"/>
                    <a:gd name="connsiteY211" fmla="*/ 930496 h 1418402"/>
                    <a:gd name="connsiteX212" fmla="*/ 303541 w 664058"/>
                    <a:gd name="connsiteY212" fmla="*/ 907386 h 1418402"/>
                    <a:gd name="connsiteX213" fmla="*/ 294947 w 664058"/>
                    <a:gd name="connsiteY213" fmla="*/ 910530 h 1418402"/>
                    <a:gd name="connsiteX214" fmla="*/ 300322 w 664058"/>
                    <a:gd name="connsiteY214" fmla="*/ 922028 h 1418402"/>
                    <a:gd name="connsiteX215" fmla="*/ 305887 w 664058"/>
                    <a:gd name="connsiteY215" fmla="*/ 934159 h 1418402"/>
                    <a:gd name="connsiteX216" fmla="*/ 282815 w 664058"/>
                    <a:gd name="connsiteY216" fmla="*/ 939559 h 1418402"/>
                    <a:gd name="connsiteX217" fmla="*/ 278036 w 664058"/>
                    <a:gd name="connsiteY217" fmla="*/ 952274 h 1418402"/>
                    <a:gd name="connsiteX218" fmla="*/ 278734 w 664058"/>
                    <a:gd name="connsiteY218" fmla="*/ 949371 h 1418402"/>
                    <a:gd name="connsiteX219" fmla="*/ 273663 w 664058"/>
                    <a:gd name="connsiteY219" fmla="*/ 953022 h 1418402"/>
                    <a:gd name="connsiteX220" fmla="*/ 274208 w 664058"/>
                    <a:gd name="connsiteY220" fmla="*/ 950385 h 1418402"/>
                    <a:gd name="connsiteX221" fmla="*/ 262001 w 664058"/>
                    <a:gd name="connsiteY221" fmla="*/ 951995 h 1418402"/>
                    <a:gd name="connsiteX222" fmla="*/ 232528 w 664058"/>
                    <a:gd name="connsiteY222" fmla="*/ 989771 h 1418402"/>
                    <a:gd name="connsiteX223" fmla="*/ 234011 w 664058"/>
                    <a:gd name="connsiteY223" fmla="*/ 973533 h 1418402"/>
                    <a:gd name="connsiteX224" fmla="*/ 235139 w 664058"/>
                    <a:gd name="connsiteY224" fmla="*/ 957598 h 1418402"/>
                    <a:gd name="connsiteX225" fmla="*/ 227001 w 664058"/>
                    <a:gd name="connsiteY225" fmla="*/ 978717 h 1418402"/>
                    <a:gd name="connsiteX226" fmla="*/ 228611 w 664058"/>
                    <a:gd name="connsiteY226" fmla="*/ 968513 h 1418402"/>
                    <a:gd name="connsiteX227" fmla="*/ 220701 w 664058"/>
                    <a:gd name="connsiteY227" fmla="*/ 985334 h 1418402"/>
                    <a:gd name="connsiteX228" fmla="*/ 217912 w 664058"/>
                    <a:gd name="connsiteY228" fmla="*/ 965889 h 1418402"/>
                    <a:gd name="connsiteX229" fmla="*/ 216352 w 664058"/>
                    <a:gd name="connsiteY229" fmla="*/ 970021 h 1418402"/>
                    <a:gd name="connsiteX230" fmla="*/ 225099 w 664058"/>
                    <a:gd name="connsiteY230" fmla="*/ 959740 h 1418402"/>
                    <a:gd name="connsiteX231" fmla="*/ 217912 w 664058"/>
                    <a:gd name="connsiteY231" fmla="*/ 957598 h 1418402"/>
                    <a:gd name="connsiteX232" fmla="*/ 197071 w 664058"/>
                    <a:gd name="connsiteY232" fmla="*/ 984574 h 1418402"/>
                    <a:gd name="connsiteX233" fmla="*/ 199695 w 664058"/>
                    <a:gd name="connsiteY233" fmla="*/ 978793 h 1418402"/>
                    <a:gd name="connsiteX234" fmla="*/ 197528 w 664058"/>
                    <a:gd name="connsiteY234" fmla="*/ 980821 h 1418402"/>
                    <a:gd name="connsiteX235" fmla="*/ 202776 w 664058"/>
                    <a:gd name="connsiteY235" fmla="*/ 965889 h 1418402"/>
                    <a:gd name="connsiteX236" fmla="*/ 200215 w 664058"/>
                    <a:gd name="connsiteY236" fmla="*/ 967473 h 1418402"/>
                    <a:gd name="connsiteX237" fmla="*/ 207834 w 664058"/>
                    <a:gd name="connsiteY237" fmla="*/ 949878 h 1418402"/>
                    <a:gd name="connsiteX238" fmla="*/ 199543 w 664058"/>
                    <a:gd name="connsiteY238" fmla="*/ 954454 h 1418402"/>
                    <a:gd name="connsiteX239" fmla="*/ 198276 w 664058"/>
                    <a:gd name="connsiteY239" fmla="*/ 964811 h 1418402"/>
                    <a:gd name="connsiteX240" fmla="*/ 181454 w 664058"/>
                    <a:gd name="connsiteY240" fmla="*/ 975713 h 1418402"/>
                    <a:gd name="connsiteX241" fmla="*/ 178919 w 664058"/>
                    <a:gd name="connsiteY241" fmla="*/ 974724 h 1418402"/>
                    <a:gd name="connsiteX242" fmla="*/ 193116 w 664058"/>
                    <a:gd name="connsiteY242" fmla="*/ 956546 h 1418402"/>
                    <a:gd name="connsiteX243" fmla="*/ 176523 w 664058"/>
                    <a:gd name="connsiteY243" fmla="*/ 971010 h 1418402"/>
                    <a:gd name="connsiteX244" fmla="*/ 185067 w 664058"/>
                    <a:gd name="connsiteY244" fmla="*/ 953833 h 1418402"/>
                    <a:gd name="connsiteX245" fmla="*/ 188603 w 664058"/>
                    <a:gd name="connsiteY245" fmla="*/ 941575 h 1418402"/>
                    <a:gd name="connsiteX246" fmla="*/ 188603 w 664058"/>
                    <a:gd name="connsiteY246" fmla="*/ 929190 h 1418402"/>
                    <a:gd name="connsiteX247" fmla="*/ 184496 w 664058"/>
                    <a:gd name="connsiteY247" fmla="*/ 928620 h 1418402"/>
                    <a:gd name="connsiteX248" fmla="*/ 177613 w 664058"/>
                    <a:gd name="connsiteY248" fmla="*/ 950918 h 1418402"/>
                    <a:gd name="connsiteX249" fmla="*/ 181036 w 664058"/>
                    <a:gd name="connsiteY249" fmla="*/ 942779 h 1418402"/>
                    <a:gd name="connsiteX250" fmla="*/ 172973 w 664058"/>
                    <a:gd name="connsiteY250" fmla="*/ 946468 h 1418402"/>
                    <a:gd name="connsiteX251" fmla="*/ 155264 w 664058"/>
                    <a:gd name="connsiteY251" fmla="*/ 969362 h 1418402"/>
                    <a:gd name="connsiteX252" fmla="*/ 154681 w 664058"/>
                    <a:gd name="connsiteY252" fmla="*/ 928150 h 1418402"/>
                    <a:gd name="connsiteX253" fmla="*/ 162072 w 664058"/>
                    <a:gd name="connsiteY253" fmla="*/ 913699 h 1418402"/>
                    <a:gd name="connsiteX254" fmla="*/ 168828 w 664058"/>
                    <a:gd name="connsiteY254" fmla="*/ 897055 h 1418402"/>
                    <a:gd name="connsiteX255" fmla="*/ 170540 w 664058"/>
                    <a:gd name="connsiteY255" fmla="*/ 879701 h 1418402"/>
                    <a:gd name="connsiteX256" fmla="*/ 173062 w 664058"/>
                    <a:gd name="connsiteY256" fmla="*/ 877280 h 1418402"/>
                    <a:gd name="connsiteX257" fmla="*/ 174849 w 664058"/>
                    <a:gd name="connsiteY257" fmla="*/ 869053 h 1418402"/>
                    <a:gd name="connsiteX258" fmla="*/ 178424 w 664058"/>
                    <a:gd name="connsiteY258" fmla="*/ 871106 h 1418402"/>
                    <a:gd name="connsiteX259" fmla="*/ 175889 w 664058"/>
                    <a:gd name="connsiteY259" fmla="*/ 849163 h 1418402"/>
                    <a:gd name="connsiteX260" fmla="*/ 179945 w 664058"/>
                    <a:gd name="connsiteY260" fmla="*/ 851927 h 1418402"/>
                    <a:gd name="connsiteX261" fmla="*/ 170806 w 664058"/>
                    <a:gd name="connsiteY261" fmla="*/ 830237 h 1418402"/>
                    <a:gd name="connsiteX262" fmla="*/ 168511 w 664058"/>
                    <a:gd name="connsiteY262" fmla="*/ 806506 h 1418402"/>
                    <a:gd name="connsiteX263" fmla="*/ 162819 w 664058"/>
                    <a:gd name="connsiteY263" fmla="*/ 798571 h 1418402"/>
                    <a:gd name="connsiteX264" fmla="*/ 158573 w 664058"/>
                    <a:gd name="connsiteY264" fmla="*/ 796074 h 1418402"/>
                    <a:gd name="connsiteX265" fmla="*/ 161501 w 664058"/>
                    <a:gd name="connsiteY265" fmla="*/ 794781 h 1418402"/>
                    <a:gd name="connsiteX266" fmla="*/ 164683 w 664058"/>
                    <a:gd name="connsiteY266" fmla="*/ 793995 h 1418402"/>
                    <a:gd name="connsiteX267" fmla="*/ 161894 w 664058"/>
                    <a:gd name="connsiteY267" fmla="*/ 789583 h 1418402"/>
                    <a:gd name="connsiteX268" fmla="*/ 152539 w 664058"/>
                    <a:gd name="connsiteY268" fmla="*/ 776489 h 1418402"/>
                    <a:gd name="connsiteX269" fmla="*/ 145453 w 664058"/>
                    <a:gd name="connsiteY269" fmla="*/ 761327 h 1418402"/>
                    <a:gd name="connsiteX270" fmla="*/ 155087 w 664058"/>
                    <a:gd name="connsiteY270" fmla="*/ 761327 h 1418402"/>
                    <a:gd name="connsiteX271" fmla="*/ 145453 w 664058"/>
                    <a:gd name="connsiteY271" fmla="*/ 751465 h 1418402"/>
                    <a:gd name="connsiteX272" fmla="*/ 141434 w 664058"/>
                    <a:gd name="connsiteY272" fmla="*/ 734758 h 1418402"/>
                    <a:gd name="connsiteX273" fmla="*/ 139381 w 664058"/>
                    <a:gd name="connsiteY273" fmla="*/ 711762 h 1418402"/>
                    <a:gd name="connsiteX274" fmla="*/ 128935 w 664058"/>
                    <a:gd name="connsiteY274" fmla="*/ 725390 h 1418402"/>
                    <a:gd name="connsiteX275" fmla="*/ 129303 w 664058"/>
                    <a:gd name="connsiteY275" fmla="*/ 752188 h 1418402"/>
                    <a:gd name="connsiteX276" fmla="*/ 108653 w 664058"/>
                    <a:gd name="connsiteY276" fmla="*/ 733110 h 1418402"/>
                    <a:gd name="connsiteX277" fmla="*/ 102517 w 664058"/>
                    <a:gd name="connsiteY277" fmla="*/ 710393 h 1418402"/>
                    <a:gd name="connsiteX278" fmla="*/ 126869 w 664058"/>
                    <a:gd name="connsiteY278" fmla="*/ 720306 h 1418402"/>
                    <a:gd name="connsiteX279" fmla="*/ 133549 w 664058"/>
                    <a:gd name="connsiteY279" fmla="*/ 710533 h 1418402"/>
                    <a:gd name="connsiteX280" fmla="*/ 129797 w 664058"/>
                    <a:gd name="connsiteY280" fmla="*/ 703903 h 1418402"/>
                    <a:gd name="connsiteX281" fmla="*/ 119694 w 664058"/>
                    <a:gd name="connsiteY281" fmla="*/ 691340 h 1418402"/>
                    <a:gd name="connsiteX282" fmla="*/ 120176 w 664058"/>
                    <a:gd name="connsiteY282" fmla="*/ 684520 h 1418402"/>
                    <a:gd name="connsiteX283" fmla="*/ 116106 w 664058"/>
                    <a:gd name="connsiteY283" fmla="*/ 682999 h 1418402"/>
                    <a:gd name="connsiteX284" fmla="*/ 107499 w 664058"/>
                    <a:gd name="connsiteY284" fmla="*/ 683468 h 1418402"/>
                    <a:gd name="connsiteX285" fmla="*/ 104989 w 664058"/>
                    <a:gd name="connsiteY285" fmla="*/ 686599 h 1418402"/>
                    <a:gd name="connsiteX286" fmla="*/ 115080 w 664058"/>
                    <a:gd name="connsiteY286" fmla="*/ 674075 h 1418402"/>
                    <a:gd name="connsiteX287" fmla="*/ 115637 w 664058"/>
                    <a:gd name="connsiteY287" fmla="*/ 671451 h 1418402"/>
                    <a:gd name="connsiteX288" fmla="*/ 100971 w 664058"/>
                    <a:gd name="connsiteY288" fmla="*/ 672503 h 1418402"/>
                    <a:gd name="connsiteX289" fmla="*/ 102378 w 664058"/>
                    <a:gd name="connsiteY289" fmla="*/ 671451 h 1418402"/>
                    <a:gd name="connsiteX290" fmla="*/ 99386 w 664058"/>
                    <a:gd name="connsiteY290" fmla="*/ 665151 h 1418402"/>
                    <a:gd name="connsiteX291" fmla="*/ 96902 w 664058"/>
                    <a:gd name="connsiteY291" fmla="*/ 667762 h 1418402"/>
                    <a:gd name="connsiteX292" fmla="*/ 95304 w 664058"/>
                    <a:gd name="connsiteY292" fmla="*/ 666241 h 1418402"/>
                    <a:gd name="connsiteX293" fmla="*/ 88231 w 664058"/>
                    <a:gd name="connsiteY293" fmla="*/ 658318 h 1418402"/>
                    <a:gd name="connsiteX294" fmla="*/ 87293 w 664058"/>
                    <a:gd name="connsiteY294" fmla="*/ 663072 h 1418402"/>
                    <a:gd name="connsiteX295" fmla="*/ 85708 w 664058"/>
                    <a:gd name="connsiteY295" fmla="*/ 657279 h 1418402"/>
                    <a:gd name="connsiteX296" fmla="*/ 70027 w 664058"/>
                    <a:gd name="connsiteY296" fmla="*/ 657849 h 1418402"/>
                    <a:gd name="connsiteX297" fmla="*/ 78178 w 664058"/>
                    <a:gd name="connsiteY297" fmla="*/ 678778 h 1418402"/>
                    <a:gd name="connsiteX298" fmla="*/ 68468 w 664058"/>
                    <a:gd name="connsiteY298" fmla="*/ 666127 h 1418402"/>
                    <a:gd name="connsiteX299" fmla="*/ 73006 w 664058"/>
                    <a:gd name="connsiteY299" fmla="*/ 679817 h 1418402"/>
                    <a:gd name="connsiteX300" fmla="*/ 58327 w 664058"/>
                    <a:gd name="connsiteY300" fmla="*/ 655187 h 1418402"/>
                    <a:gd name="connsiteX301" fmla="*/ 66465 w 664058"/>
                    <a:gd name="connsiteY301" fmla="*/ 652043 h 1418402"/>
                    <a:gd name="connsiteX302" fmla="*/ 67492 w 664058"/>
                    <a:gd name="connsiteY302" fmla="*/ 653615 h 1418402"/>
                    <a:gd name="connsiteX303" fmla="*/ 69495 w 664058"/>
                    <a:gd name="connsiteY303" fmla="*/ 648379 h 1418402"/>
                    <a:gd name="connsiteX304" fmla="*/ 67948 w 664058"/>
                    <a:gd name="connsiteY304" fmla="*/ 632078 h 1418402"/>
                    <a:gd name="connsiteX305" fmla="*/ 65984 w 664058"/>
                    <a:gd name="connsiteY305" fmla="*/ 622608 h 1418402"/>
                    <a:gd name="connsiteX306" fmla="*/ 54460 w 664058"/>
                    <a:gd name="connsiteY306" fmla="*/ 651777 h 1418402"/>
                    <a:gd name="connsiteX307" fmla="*/ 56311 w 664058"/>
                    <a:gd name="connsiteY307" fmla="*/ 640495 h 1418402"/>
                    <a:gd name="connsiteX308" fmla="*/ 45219 w 664058"/>
                    <a:gd name="connsiteY308" fmla="*/ 626297 h 1418402"/>
                    <a:gd name="connsiteX309" fmla="*/ 43483 w 664058"/>
                    <a:gd name="connsiteY309" fmla="*/ 630239 h 1418402"/>
                    <a:gd name="connsiteX310" fmla="*/ 44205 w 664058"/>
                    <a:gd name="connsiteY310" fmla="*/ 628439 h 1418402"/>
                    <a:gd name="connsiteX311" fmla="*/ 33531 w 664058"/>
                    <a:gd name="connsiteY311" fmla="*/ 611605 h 1418402"/>
                    <a:gd name="connsiteX312" fmla="*/ 40656 w 664058"/>
                    <a:gd name="connsiteY312" fmla="*/ 645223 h 1418402"/>
                    <a:gd name="connsiteX313" fmla="*/ 24835 w 664058"/>
                    <a:gd name="connsiteY313" fmla="*/ 619528 h 1418402"/>
                    <a:gd name="connsiteX314" fmla="*/ 13668 w 664058"/>
                    <a:gd name="connsiteY314" fmla="*/ 608119 h 1418402"/>
                    <a:gd name="connsiteX315" fmla="*/ 2525 w 664058"/>
                    <a:gd name="connsiteY315" fmla="*/ 579470 h 1418402"/>
                    <a:gd name="connsiteX316" fmla="*/ 2728 w 664058"/>
                    <a:gd name="connsiteY316" fmla="*/ 559492 h 1418402"/>
                    <a:gd name="connsiteX317" fmla="*/ 9750 w 664058"/>
                    <a:gd name="connsiteY317" fmla="*/ 553673 h 1418402"/>
                    <a:gd name="connsiteX318" fmla="*/ 15125 w 664058"/>
                    <a:gd name="connsiteY318" fmla="*/ 559200 h 1418402"/>
                    <a:gd name="connsiteX319" fmla="*/ 23466 w 664058"/>
                    <a:gd name="connsiteY319" fmla="*/ 560240 h 1418402"/>
                    <a:gd name="connsiteX320" fmla="*/ 27954 w 664058"/>
                    <a:gd name="connsiteY320" fmla="*/ 568467 h 1418402"/>
                    <a:gd name="connsiteX321" fmla="*/ 30312 w 664058"/>
                    <a:gd name="connsiteY321" fmla="*/ 550808 h 1418402"/>
                    <a:gd name="connsiteX322" fmla="*/ 29741 w 664058"/>
                    <a:gd name="connsiteY322" fmla="*/ 512981 h 1418402"/>
                    <a:gd name="connsiteX323" fmla="*/ 36498 w 664058"/>
                    <a:gd name="connsiteY323" fmla="*/ 503271 h 1418402"/>
                    <a:gd name="connsiteX324" fmla="*/ 44890 w 664058"/>
                    <a:gd name="connsiteY324" fmla="*/ 504564 h 1418402"/>
                    <a:gd name="connsiteX325" fmla="*/ 51481 w 664058"/>
                    <a:gd name="connsiteY325" fmla="*/ 514782 h 1418402"/>
                    <a:gd name="connsiteX326" fmla="*/ 57249 w 664058"/>
                    <a:gd name="connsiteY326" fmla="*/ 512259 h 1418402"/>
                    <a:gd name="connsiteX327" fmla="*/ 58099 w 664058"/>
                    <a:gd name="connsiteY327" fmla="*/ 508139 h 1418402"/>
                    <a:gd name="connsiteX328" fmla="*/ 70991 w 664058"/>
                    <a:gd name="connsiteY328" fmla="*/ 497009 h 1418402"/>
                    <a:gd name="connsiteX329" fmla="*/ 71865 w 664058"/>
                    <a:gd name="connsiteY329" fmla="*/ 478375 h 1418402"/>
                    <a:gd name="connsiteX330" fmla="*/ 66440 w 664058"/>
                    <a:gd name="connsiteY330" fmla="*/ 460628 h 1418402"/>
                    <a:gd name="connsiteX331" fmla="*/ 73501 w 664058"/>
                    <a:gd name="connsiteY331" fmla="*/ 443311 h 1418402"/>
                    <a:gd name="connsiteX332" fmla="*/ 75034 w 664058"/>
                    <a:gd name="connsiteY332" fmla="*/ 429976 h 1418402"/>
                    <a:gd name="connsiteX333" fmla="*/ 86684 w 664058"/>
                    <a:gd name="connsiteY333" fmla="*/ 427136 h 1418402"/>
                    <a:gd name="connsiteX334" fmla="*/ 90411 w 664058"/>
                    <a:gd name="connsiteY334" fmla="*/ 404547 h 1418402"/>
                    <a:gd name="connsiteX335" fmla="*/ 89422 w 664058"/>
                    <a:gd name="connsiteY335" fmla="*/ 377584 h 1418402"/>
                    <a:gd name="connsiteX336" fmla="*/ 82818 w 664058"/>
                    <a:gd name="connsiteY336" fmla="*/ 355172 h 1418402"/>
                    <a:gd name="connsiteX337" fmla="*/ 93238 w 664058"/>
                    <a:gd name="connsiteY337" fmla="*/ 357352 h 1418402"/>
                    <a:gd name="connsiteX338" fmla="*/ 103848 w 664058"/>
                    <a:gd name="connsiteY338" fmla="*/ 357466 h 1418402"/>
                    <a:gd name="connsiteX339" fmla="*/ 126869 w 664058"/>
                    <a:gd name="connsiteY339" fmla="*/ 360939 h 1418402"/>
                    <a:gd name="connsiteX340" fmla="*/ 143589 w 664058"/>
                    <a:gd name="connsiteY340" fmla="*/ 368330 h 1418402"/>
                    <a:gd name="connsiteX341" fmla="*/ 158383 w 664058"/>
                    <a:gd name="connsiteY341" fmla="*/ 328792 h 1418402"/>
                    <a:gd name="connsiteX342" fmla="*/ 178411 w 664058"/>
                    <a:gd name="connsiteY342" fmla="*/ 294755 h 1418402"/>
                    <a:gd name="connsiteX343" fmla="*/ 186968 w 664058"/>
                    <a:gd name="connsiteY343" fmla="*/ 271443 h 1418402"/>
                    <a:gd name="connsiteX344" fmla="*/ 177879 w 664058"/>
                    <a:gd name="connsiteY344" fmla="*/ 251680 h 1418402"/>
                    <a:gd name="connsiteX345" fmla="*/ 204487 w 664058"/>
                    <a:gd name="connsiteY345" fmla="*/ 223602 h 1418402"/>
                    <a:gd name="connsiteX346" fmla="*/ 209444 w 664058"/>
                    <a:gd name="connsiteY346" fmla="*/ 218290 h 1418402"/>
                    <a:gd name="connsiteX347" fmla="*/ 209292 w 664058"/>
                    <a:gd name="connsiteY347" fmla="*/ 205386 h 1418402"/>
                    <a:gd name="connsiteX348" fmla="*/ 218900 w 664058"/>
                    <a:gd name="connsiteY348" fmla="*/ 197197 h 1418402"/>
                    <a:gd name="connsiteX349" fmla="*/ 214565 w 664058"/>
                    <a:gd name="connsiteY349" fmla="*/ 189198 h 1418402"/>
                    <a:gd name="connsiteX350" fmla="*/ 216466 w 664058"/>
                    <a:gd name="connsiteY350" fmla="*/ 156543 h 1418402"/>
                    <a:gd name="connsiteX351" fmla="*/ 224858 w 664058"/>
                    <a:gd name="connsiteY351" fmla="*/ 147137 h 1418402"/>
                    <a:gd name="connsiteX352" fmla="*/ 233149 w 664058"/>
                    <a:gd name="connsiteY352" fmla="*/ 146795 h 1418402"/>
                    <a:gd name="connsiteX353" fmla="*/ 244038 w 664058"/>
                    <a:gd name="connsiteY353" fmla="*/ 136704 h 1418402"/>
                    <a:gd name="connsiteX354" fmla="*/ 260023 w 664058"/>
                    <a:gd name="connsiteY354" fmla="*/ 129301 h 1418402"/>
                    <a:gd name="connsiteX355" fmla="*/ 279076 w 664058"/>
                    <a:gd name="connsiteY355" fmla="*/ 112289 h 1418402"/>
                    <a:gd name="connsiteX356" fmla="*/ 330682 w 664058"/>
                    <a:gd name="connsiteY356" fmla="*/ 94276 h 1418402"/>
                    <a:gd name="connsiteX357" fmla="*/ 359762 w 664058"/>
                    <a:gd name="connsiteY357" fmla="*/ 114140 h 1418402"/>
                    <a:gd name="connsiteX358" fmla="*/ 347668 w 664058"/>
                    <a:gd name="connsiteY358" fmla="*/ 83273 h 1418402"/>
                    <a:gd name="connsiteX359" fmla="*/ 362297 w 664058"/>
                    <a:gd name="connsiteY359" fmla="*/ 59073 h 1418402"/>
                    <a:gd name="connsiteX360" fmla="*/ 376660 w 664058"/>
                    <a:gd name="connsiteY360" fmla="*/ 48894 h 1418402"/>
                    <a:gd name="connsiteX361" fmla="*/ 382707 w 664058"/>
                    <a:gd name="connsiteY361" fmla="*/ 41035 h 1418402"/>
                    <a:gd name="connsiteX362" fmla="*/ 378802 w 664058"/>
                    <a:gd name="connsiteY362" fmla="*/ 30260 h 1418402"/>
                    <a:gd name="connsiteX363" fmla="*/ 384190 w 664058"/>
                    <a:gd name="connsiteY363" fmla="*/ 20752 h 1418402"/>
                    <a:gd name="connsiteX364" fmla="*/ 389463 w 664058"/>
                    <a:gd name="connsiteY364" fmla="*/ 17292 h 1418402"/>
                    <a:gd name="connsiteX365" fmla="*/ 390414 w 664058"/>
                    <a:gd name="connsiteY365" fmla="*/ 9673 h 1418402"/>
                    <a:gd name="connsiteX366" fmla="*/ 399832 w 664058"/>
                    <a:gd name="connsiteY366" fmla="*/ 2358 h 1418402"/>
                    <a:gd name="connsiteX367" fmla="*/ 399832 w 664058"/>
                    <a:gd name="connsiteY367" fmla="*/ 2358 h 1418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Lst>
                  <a:rect l="l" t="t" r="r" b="b"/>
                  <a:pathLst>
                    <a:path w="664058" h="1418402">
                      <a:moveTo>
                        <a:pt x="399832" y="2358"/>
                      </a:moveTo>
                      <a:cubicBezTo>
                        <a:pt x="407755" y="-621"/>
                        <a:pt x="405055" y="5363"/>
                        <a:pt x="410151" y="9140"/>
                      </a:cubicBezTo>
                      <a:cubicBezTo>
                        <a:pt x="416477" y="13843"/>
                        <a:pt x="419392" y="12436"/>
                        <a:pt x="426060" y="17913"/>
                      </a:cubicBezTo>
                      <a:cubicBezTo>
                        <a:pt x="429204" y="20511"/>
                        <a:pt x="431777" y="23199"/>
                        <a:pt x="433717" y="25848"/>
                      </a:cubicBezTo>
                      <a:cubicBezTo>
                        <a:pt x="439548" y="33771"/>
                        <a:pt x="437063" y="32440"/>
                        <a:pt x="438889" y="42125"/>
                      </a:cubicBezTo>
                      <a:cubicBezTo>
                        <a:pt x="439396" y="44800"/>
                        <a:pt x="450057" y="82880"/>
                        <a:pt x="457777" y="77999"/>
                      </a:cubicBezTo>
                      <a:cubicBezTo>
                        <a:pt x="461567" y="75566"/>
                        <a:pt x="457675" y="68822"/>
                        <a:pt x="461339" y="67136"/>
                      </a:cubicBezTo>
                      <a:cubicBezTo>
                        <a:pt x="465066" y="65424"/>
                        <a:pt x="470377" y="72663"/>
                        <a:pt x="472329" y="73677"/>
                      </a:cubicBezTo>
                      <a:cubicBezTo>
                        <a:pt x="475625" y="75401"/>
                        <a:pt x="477210" y="70584"/>
                        <a:pt x="479961" y="74589"/>
                      </a:cubicBezTo>
                      <a:cubicBezTo>
                        <a:pt x="481748" y="77226"/>
                        <a:pt x="480011" y="88014"/>
                        <a:pt x="480176" y="91310"/>
                      </a:cubicBezTo>
                      <a:cubicBezTo>
                        <a:pt x="480987" y="106889"/>
                        <a:pt x="484486" y="122849"/>
                        <a:pt x="485475" y="139126"/>
                      </a:cubicBezTo>
                      <a:cubicBezTo>
                        <a:pt x="486033" y="148050"/>
                        <a:pt x="485297" y="160207"/>
                        <a:pt x="482876" y="169245"/>
                      </a:cubicBezTo>
                      <a:cubicBezTo>
                        <a:pt x="482090" y="172148"/>
                        <a:pt x="478313" y="174138"/>
                        <a:pt x="478161" y="177028"/>
                      </a:cubicBezTo>
                      <a:cubicBezTo>
                        <a:pt x="478021" y="179183"/>
                        <a:pt x="480087" y="181516"/>
                        <a:pt x="480176" y="181072"/>
                      </a:cubicBezTo>
                      <a:cubicBezTo>
                        <a:pt x="479454" y="186396"/>
                        <a:pt x="484372" y="188944"/>
                        <a:pt x="476741" y="192278"/>
                      </a:cubicBezTo>
                      <a:cubicBezTo>
                        <a:pt x="476563" y="191112"/>
                        <a:pt x="476614" y="189743"/>
                        <a:pt x="476361" y="188539"/>
                      </a:cubicBezTo>
                      <a:cubicBezTo>
                        <a:pt x="464305" y="188944"/>
                        <a:pt x="474763" y="199415"/>
                        <a:pt x="476335" y="202255"/>
                      </a:cubicBezTo>
                      <a:cubicBezTo>
                        <a:pt x="482103" y="212611"/>
                        <a:pt x="480899" y="210456"/>
                        <a:pt x="471696" y="214348"/>
                      </a:cubicBezTo>
                      <a:cubicBezTo>
                        <a:pt x="469376" y="215324"/>
                        <a:pt x="467829" y="213701"/>
                        <a:pt x="463938" y="216719"/>
                      </a:cubicBezTo>
                      <a:cubicBezTo>
                        <a:pt x="462023" y="218189"/>
                        <a:pt x="461149" y="222955"/>
                        <a:pt x="459983" y="224946"/>
                      </a:cubicBezTo>
                      <a:cubicBezTo>
                        <a:pt x="451781" y="238928"/>
                        <a:pt x="453822" y="231297"/>
                        <a:pt x="440511" y="230422"/>
                      </a:cubicBezTo>
                      <a:cubicBezTo>
                        <a:pt x="439903" y="240829"/>
                        <a:pt x="437494" y="252340"/>
                        <a:pt x="427556" y="258095"/>
                      </a:cubicBezTo>
                      <a:cubicBezTo>
                        <a:pt x="425363" y="259350"/>
                        <a:pt x="421535" y="260770"/>
                        <a:pt x="420901" y="261086"/>
                      </a:cubicBezTo>
                      <a:cubicBezTo>
                        <a:pt x="421180" y="260947"/>
                        <a:pt x="418632" y="257689"/>
                        <a:pt x="417795" y="258209"/>
                      </a:cubicBezTo>
                      <a:cubicBezTo>
                        <a:pt x="415932" y="259388"/>
                        <a:pt x="416185" y="261391"/>
                        <a:pt x="414550" y="262849"/>
                      </a:cubicBezTo>
                      <a:cubicBezTo>
                        <a:pt x="409403" y="267361"/>
                        <a:pt x="407590" y="277122"/>
                        <a:pt x="408478" y="283410"/>
                      </a:cubicBezTo>
                      <a:cubicBezTo>
                        <a:pt x="408833" y="286009"/>
                        <a:pt x="413992" y="288683"/>
                        <a:pt x="413067" y="290521"/>
                      </a:cubicBezTo>
                      <a:cubicBezTo>
                        <a:pt x="411431" y="293804"/>
                        <a:pt x="408199" y="290027"/>
                        <a:pt x="406095" y="291548"/>
                      </a:cubicBezTo>
                      <a:cubicBezTo>
                        <a:pt x="395915" y="298913"/>
                        <a:pt x="396435" y="298850"/>
                        <a:pt x="395725" y="311514"/>
                      </a:cubicBezTo>
                      <a:cubicBezTo>
                        <a:pt x="394762" y="328589"/>
                        <a:pt x="396499" y="315887"/>
                        <a:pt x="404700" y="324317"/>
                      </a:cubicBezTo>
                      <a:cubicBezTo>
                        <a:pt x="405714" y="325394"/>
                        <a:pt x="406310" y="327955"/>
                        <a:pt x="407172" y="329007"/>
                      </a:cubicBezTo>
                      <a:cubicBezTo>
                        <a:pt x="402609" y="323354"/>
                        <a:pt x="408630" y="338540"/>
                        <a:pt x="407933" y="334331"/>
                      </a:cubicBezTo>
                      <a:cubicBezTo>
                        <a:pt x="408617" y="338160"/>
                        <a:pt x="410316" y="342584"/>
                        <a:pt x="407705" y="347464"/>
                      </a:cubicBezTo>
                      <a:cubicBezTo>
                        <a:pt x="404852" y="352953"/>
                        <a:pt x="394255" y="356756"/>
                        <a:pt x="395599" y="362372"/>
                      </a:cubicBezTo>
                      <a:cubicBezTo>
                        <a:pt x="395801" y="363145"/>
                        <a:pt x="401366" y="366378"/>
                        <a:pt x="402406" y="368355"/>
                      </a:cubicBezTo>
                      <a:cubicBezTo>
                        <a:pt x="417516" y="358468"/>
                        <a:pt x="429926" y="349657"/>
                        <a:pt x="449068" y="347959"/>
                      </a:cubicBezTo>
                      <a:cubicBezTo>
                        <a:pt x="464901" y="346539"/>
                        <a:pt x="478199" y="351825"/>
                        <a:pt x="494146" y="345094"/>
                      </a:cubicBezTo>
                      <a:cubicBezTo>
                        <a:pt x="495426" y="352015"/>
                        <a:pt x="481482" y="357200"/>
                        <a:pt x="479885" y="362017"/>
                      </a:cubicBezTo>
                      <a:cubicBezTo>
                        <a:pt x="475270" y="375885"/>
                        <a:pt x="483269" y="369306"/>
                        <a:pt x="488784" y="375239"/>
                      </a:cubicBezTo>
                      <a:cubicBezTo>
                        <a:pt x="496884" y="383998"/>
                        <a:pt x="487972" y="389804"/>
                        <a:pt x="489620" y="397080"/>
                      </a:cubicBezTo>
                      <a:cubicBezTo>
                        <a:pt x="490127" y="399159"/>
                        <a:pt x="501169" y="402480"/>
                        <a:pt x="493233" y="408920"/>
                      </a:cubicBezTo>
                      <a:cubicBezTo>
                        <a:pt x="502474" y="410086"/>
                        <a:pt x="491496" y="413636"/>
                        <a:pt x="493753" y="417642"/>
                      </a:cubicBezTo>
                      <a:cubicBezTo>
                        <a:pt x="496123" y="421876"/>
                        <a:pt x="499635" y="420050"/>
                        <a:pt x="504756" y="421521"/>
                      </a:cubicBezTo>
                      <a:cubicBezTo>
                        <a:pt x="508927" y="422699"/>
                        <a:pt x="511272" y="425919"/>
                        <a:pt x="517623" y="426692"/>
                      </a:cubicBezTo>
                      <a:cubicBezTo>
                        <a:pt x="519626" y="426946"/>
                        <a:pt x="518155" y="429862"/>
                        <a:pt x="520729" y="429659"/>
                      </a:cubicBezTo>
                      <a:cubicBezTo>
                        <a:pt x="522845" y="429494"/>
                        <a:pt x="526331" y="424259"/>
                        <a:pt x="527295" y="424284"/>
                      </a:cubicBezTo>
                      <a:cubicBezTo>
                        <a:pt x="531174" y="424411"/>
                        <a:pt x="546018" y="432511"/>
                        <a:pt x="543647" y="438469"/>
                      </a:cubicBezTo>
                      <a:cubicBezTo>
                        <a:pt x="541518" y="443933"/>
                        <a:pt x="537233" y="437366"/>
                        <a:pt x="535864" y="439001"/>
                      </a:cubicBezTo>
                      <a:cubicBezTo>
                        <a:pt x="534356" y="440852"/>
                        <a:pt x="533481" y="445555"/>
                        <a:pt x="532074" y="448560"/>
                      </a:cubicBezTo>
                      <a:cubicBezTo>
                        <a:pt x="530806" y="451310"/>
                        <a:pt x="527295" y="452375"/>
                        <a:pt x="526826" y="454822"/>
                      </a:cubicBezTo>
                      <a:cubicBezTo>
                        <a:pt x="526141" y="458561"/>
                        <a:pt x="530172" y="463252"/>
                        <a:pt x="530122" y="467371"/>
                      </a:cubicBezTo>
                      <a:cubicBezTo>
                        <a:pt x="530020" y="475079"/>
                        <a:pt x="525507" y="477982"/>
                        <a:pt x="522300" y="483154"/>
                      </a:cubicBezTo>
                      <a:cubicBezTo>
                        <a:pt x="519220" y="488060"/>
                        <a:pt x="516938" y="496287"/>
                        <a:pt x="514745" y="499570"/>
                      </a:cubicBezTo>
                      <a:cubicBezTo>
                        <a:pt x="520475" y="504945"/>
                        <a:pt x="526496" y="502917"/>
                        <a:pt x="533253" y="502878"/>
                      </a:cubicBezTo>
                      <a:cubicBezTo>
                        <a:pt x="539477" y="502853"/>
                        <a:pt x="544991" y="503943"/>
                        <a:pt x="551532" y="505262"/>
                      </a:cubicBezTo>
                      <a:cubicBezTo>
                        <a:pt x="555158" y="505972"/>
                        <a:pt x="555982" y="506846"/>
                        <a:pt x="560976" y="507391"/>
                      </a:cubicBezTo>
                      <a:cubicBezTo>
                        <a:pt x="563030" y="507632"/>
                        <a:pt x="563803" y="509737"/>
                        <a:pt x="565705" y="509914"/>
                      </a:cubicBezTo>
                      <a:cubicBezTo>
                        <a:pt x="567023" y="510041"/>
                        <a:pt x="567885" y="505617"/>
                        <a:pt x="573742" y="507911"/>
                      </a:cubicBezTo>
                      <a:cubicBezTo>
                        <a:pt x="575783" y="514985"/>
                        <a:pt x="570991" y="521272"/>
                        <a:pt x="573514" y="528612"/>
                      </a:cubicBezTo>
                      <a:cubicBezTo>
                        <a:pt x="576378" y="537105"/>
                        <a:pt x="585417" y="535178"/>
                        <a:pt x="587331" y="539577"/>
                      </a:cubicBezTo>
                      <a:cubicBezTo>
                        <a:pt x="588535" y="542429"/>
                        <a:pt x="579991" y="552723"/>
                        <a:pt x="590868" y="555169"/>
                      </a:cubicBezTo>
                      <a:cubicBezTo>
                        <a:pt x="595938" y="556310"/>
                        <a:pt x="599754" y="547601"/>
                        <a:pt x="604026" y="547551"/>
                      </a:cubicBezTo>
                      <a:cubicBezTo>
                        <a:pt x="611467" y="547487"/>
                        <a:pt x="612215" y="555790"/>
                        <a:pt x="622115" y="552887"/>
                      </a:cubicBezTo>
                      <a:cubicBezTo>
                        <a:pt x="630609" y="550390"/>
                        <a:pt x="634209" y="541529"/>
                        <a:pt x="641295" y="537054"/>
                      </a:cubicBezTo>
                      <a:cubicBezTo>
                        <a:pt x="642664" y="536205"/>
                        <a:pt x="654098" y="530665"/>
                        <a:pt x="655556" y="530691"/>
                      </a:cubicBezTo>
                      <a:cubicBezTo>
                        <a:pt x="662211" y="530868"/>
                        <a:pt x="658611" y="529512"/>
                        <a:pt x="661983" y="535736"/>
                      </a:cubicBezTo>
                      <a:cubicBezTo>
                        <a:pt x="665760" y="542771"/>
                        <a:pt x="664176" y="545915"/>
                        <a:pt x="658903" y="551772"/>
                      </a:cubicBezTo>
                      <a:cubicBezTo>
                        <a:pt x="655176" y="555904"/>
                        <a:pt x="646872" y="561596"/>
                        <a:pt x="641789" y="563510"/>
                      </a:cubicBezTo>
                      <a:cubicBezTo>
                        <a:pt x="640889" y="563852"/>
                        <a:pt x="633093" y="564791"/>
                        <a:pt x="633613" y="564322"/>
                      </a:cubicBezTo>
                      <a:cubicBezTo>
                        <a:pt x="627921" y="569139"/>
                        <a:pt x="630127" y="585339"/>
                        <a:pt x="618160" y="586290"/>
                      </a:cubicBezTo>
                      <a:cubicBezTo>
                        <a:pt x="618515" y="593402"/>
                        <a:pt x="612392" y="600361"/>
                        <a:pt x="626185" y="597382"/>
                      </a:cubicBezTo>
                      <a:cubicBezTo>
                        <a:pt x="618541" y="608411"/>
                        <a:pt x="605433" y="598143"/>
                        <a:pt x="596357" y="608981"/>
                      </a:cubicBezTo>
                      <a:cubicBezTo>
                        <a:pt x="589182" y="617601"/>
                        <a:pt x="587293" y="630100"/>
                        <a:pt x="585315" y="640710"/>
                      </a:cubicBezTo>
                      <a:cubicBezTo>
                        <a:pt x="576848" y="633269"/>
                        <a:pt x="574401" y="630506"/>
                        <a:pt x="564893" y="634993"/>
                      </a:cubicBezTo>
                      <a:cubicBezTo>
                        <a:pt x="560964" y="636844"/>
                        <a:pt x="559506" y="641205"/>
                        <a:pt x="552965" y="641420"/>
                      </a:cubicBezTo>
                      <a:cubicBezTo>
                        <a:pt x="547197" y="641610"/>
                        <a:pt x="540288" y="637491"/>
                        <a:pt x="535167" y="636286"/>
                      </a:cubicBezTo>
                      <a:cubicBezTo>
                        <a:pt x="545397" y="645730"/>
                        <a:pt x="543597" y="661601"/>
                        <a:pt x="525913" y="660258"/>
                      </a:cubicBezTo>
                      <a:cubicBezTo>
                        <a:pt x="519689" y="659789"/>
                        <a:pt x="517116" y="652449"/>
                        <a:pt x="509485" y="657304"/>
                      </a:cubicBezTo>
                      <a:cubicBezTo>
                        <a:pt x="504110" y="660714"/>
                        <a:pt x="505326" y="666380"/>
                        <a:pt x="504186" y="671324"/>
                      </a:cubicBezTo>
                      <a:cubicBezTo>
                        <a:pt x="500522" y="686637"/>
                        <a:pt x="496630" y="680287"/>
                        <a:pt x="484144" y="683608"/>
                      </a:cubicBezTo>
                      <a:cubicBezTo>
                        <a:pt x="474903" y="686054"/>
                        <a:pt x="470453" y="688349"/>
                        <a:pt x="462645" y="688919"/>
                      </a:cubicBezTo>
                      <a:cubicBezTo>
                        <a:pt x="458170" y="689236"/>
                        <a:pt x="449841" y="690998"/>
                        <a:pt x="446381" y="689743"/>
                      </a:cubicBezTo>
                      <a:cubicBezTo>
                        <a:pt x="444771" y="689173"/>
                        <a:pt x="441754" y="683101"/>
                        <a:pt x="437406" y="682226"/>
                      </a:cubicBezTo>
                      <a:cubicBezTo>
                        <a:pt x="428621" y="680426"/>
                        <a:pt x="435644" y="680641"/>
                        <a:pt x="430725" y="688235"/>
                      </a:cubicBezTo>
                      <a:cubicBezTo>
                        <a:pt x="427670" y="692874"/>
                        <a:pt x="426859" y="692595"/>
                        <a:pt x="421725" y="697691"/>
                      </a:cubicBezTo>
                      <a:cubicBezTo>
                        <a:pt x="419342" y="700049"/>
                        <a:pt x="417871" y="702661"/>
                        <a:pt x="416616" y="706704"/>
                      </a:cubicBezTo>
                      <a:cubicBezTo>
                        <a:pt x="414246" y="714133"/>
                        <a:pt x="414918" y="711750"/>
                        <a:pt x="415564" y="719191"/>
                      </a:cubicBezTo>
                      <a:cubicBezTo>
                        <a:pt x="415741" y="721168"/>
                        <a:pt x="412446" y="719127"/>
                        <a:pt x="412724" y="721105"/>
                      </a:cubicBezTo>
                      <a:cubicBezTo>
                        <a:pt x="412978" y="722842"/>
                        <a:pt x="416616" y="723336"/>
                        <a:pt x="416312" y="725516"/>
                      </a:cubicBezTo>
                      <a:cubicBezTo>
                        <a:pt x="415120" y="734301"/>
                        <a:pt x="411736" y="735505"/>
                        <a:pt x="408744" y="742921"/>
                      </a:cubicBezTo>
                      <a:cubicBezTo>
                        <a:pt x="405702" y="750400"/>
                        <a:pt x="407438" y="746851"/>
                        <a:pt x="409428" y="754647"/>
                      </a:cubicBezTo>
                      <a:cubicBezTo>
                        <a:pt x="410341" y="758349"/>
                        <a:pt x="413802" y="768375"/>
                        <a:pt x="412065" y="771646"/>
                      </a:cubicBezTo>
                      <a:cubicBezTo>
                        <a:pt x="408034" y="779341"/>
                        <a:pt x="388550" y="782142"/>
                        <a:pt x="382199" y="775576"/>
                      </a:cubicBezTo>
                      <a:cubicBezTo>
                        <a:pt x="385825" y="780051"/>
                        <a:pt x="387321" y="791840"/>
                        <a:pt x="391478" y="794540"/>
                      </a:cubicBezTo>
                      <a:cubicBezTo>
                        <a:pt x="396790" y="798001"/>
                        <a:pt x="397246" y="792132"/>
                        <a:pt x="397791" y="792359"/>
                      </a:cubicBezTo>
                      <a:cubicBezTo>
                        <a:pt x="406234" y="795858"/>
                        <a:pt x="399947" y="795313"/>
                        <a:pt x="402114" y="799509"/>
                      </a:cubicBezTo>
                      <a:cubicBezTo>
                        <a:pt x="404383" y="803984"/>
                        <a:pt x="408212" y="809638"/>
                        <a:pt x="408947" y="813200"/>
                      </a:cubicBezTo>
                      <a:cubicBezTo>
                        <a:pt x="410823" y="821921"/>
                        <a:pt x="407920" y="822733"/>
                        <a:pt x="406183" y="830351"/>
                      </a:cubicBezTo>
                      <a:cubicBezTo>
                        <a:pt x="413054" y="837298"/>
                        <a:pt x="418708" y="845652"/>
                        <a:pt x="425807" y="853334"/>
                      </a:cubicBezTo>
                      <a:cubicBezTo>
                        <a:pt x="430624" y="858569"/>
                        <a:pt x="433768" y="865896"/>
                        <a:pt x="437583" y="870346"/>
                      </a:cubicBezTo>
                      <a:cubicBezTo>
                        <a:pt x="442514" y="876075"/>
                        <a:pt x="449562" y="886077"/>
                        <a:pt x="452326" y="888359"/>
                      </a:cubicBezTo>
                      <a:cubicBezTo>
                        <a:pt x="455863" y="891287"/>
                        <a:pt x="459716" y="890539"/>
                        <a:pt x="463507" y="894152"/>
                      </a:cubicBezTo>
                      <a:cubicBezTo>
                        <a:pt x="466093" y="896662"/>
                        <a:pt x="467322" y="901441"/>
                        <a:pt x="468932" y="904560"/>
                      </a:cubicBezTo>
                      <a:cubicBezTo>
                        <a:pt x="470073" y="904179"/>
                        <a:pt x="463190" y="910264"/>
                        <a:pt x="463760" y="912850"/>
                      </a:cubicBezTo>
                      <a:cubicBezTo>
                        <a:pt x="464698" y="917033"/>
                        <a:pt x="469896" y="921774"/>
                        <a:pt x="472101" y="925501"/>
                      </a:cubicBezTo>
                      <a:cubicBezTo>
                        <a:pt x="473686" y="928176"/>
                        <a:pt x="476754" y="944503"/>
                        <a:pt x="478718" y="946037"/>
                      </a:cubicBezTo>
                      <a:cubicBezTo>
                        <a:pt x="483624" y="949827"/>
                        <a:pt x="489810" y="938038"/>
                        <a:pt x="492206" y="933132"/>
                      </a:cubicBezTo>
                      <a:cubicBezTo>
                        <a:pt x="496060" y="938596"/>
                        <a:pt x="498392" y="953440"/>
                        <a:pt x="491560" y="958562"/>
                      </a:cubicBezTo>
                      <a:cubicBezTo>
                        <a:pt x="486958" y="962048"/>
                        <a:pt x="484778" y="958536"/>
                        <a:pt x="478871" y="960019"/>
                      </a:cubicBezTo>
                      <a:cubicBezTo>
                        <a:pt x="475435" y="960881"/>
                        <a:pt x="476716" y="966560"/>
                        <a:pt x="470605" y="965217"/>
                      </a:cubicBezTo>
                      <a:cubicBezTo>
                        <a:pt x="476018" y="971935"/>
                        <a:pt x="470884" y="981671"/>
                        <a:pt x="470263" y="989188"/>
                      </a:cubicBezTo>
                      <a:cubicBezTo>
                        <a:pt x="469465" y="998429"/>
                        <a:pt x="476094" y="1012107"/>
                        <a:pt x="469579" y="1019548"/>
                      </a:cubicBezTo>
                      <a:cubicBezTo>
                        <a:pt x="466093" y="1011004"/>
                        <a:pt x="456585" y="1018167"/>
                        <a:pt x="459133" y="1024670"/>
                      </a:cubicBezTo>
                      <a:cubicBezTo>
                        <a:pt x="451020" y="1018369"/>
                        <a:pt x="450589" y="1027547"/>
                        <a:pt x="443237" y="1027496"/>
                      </a:cubicBezTo>
                      <a:cubicBezTo>
                        <a:pt x="443997" y="1035445"/>
                        <a:pt x="443921" y="1040528"/>
                        <a:pt x="446026" y="1048349"/>
                      </a:cubicBezTo>
                      <a:cubicBezTo>
                        <a:pt x="449271" y="1060139"/>
                        <a:pt x="454468" y="1065222"/>
                        <a:pt x="462378" y="1075870"/>
                      </a:cubicBezTo>
                      <a:cubicBezTo>
                        <a:pt x="468755" y="1084503"/>
                        <a:pt x="474079" y="1092641"/>
                        <a:pt x="481697" y="1098789"/>
                      </a:cubicBezTo>
                      <a:cubicBezTo>
                        <a:pt x="490470" y="1105863"/>
                        <a:pt x="498063" y="1112911"/>
                        <a:pt x="504211" y="1122114"/>
                      </a:cubicBezTo>
                      <a:cubicBezTo>
                        <a:pt x="513110" y="1135348"/>
                        <a:pt x="523771" y="1159294"/>
                        <a:pt x="518168" y="1176851"/>
                      </a:cubicBezTo>
                      <a:cubicBezTo>
                        <a:pt x="516735" y="1181288"/>
                        <a:pt x="512729" y="1179120"/>
                        <a:pt x="511728" y="1185256"/>
                      </a:cubicBezTo>
                      <a:cubicBezTo>
                        <a:pt x="510752" y="1191379"/>
                        <a:pt x="513503" y="1189338"/>
                        <a:pt x="514542" y="1193787"/>
                      </a:cubicBezTo>
                      <a:cubicBezTo>
                        <a:pt x="515975" y="1199695"/>
                        <a:pt x="516786" y="1209532"/>
                        <a:pt x="520690" y="1215122"/>
                      </a:cubicBezTo>
                      <a:cubicBezTo>
                        <a:pt x="522377" y="1217543"/>
                        <a:pt x="526370" y="1219267"/>
                        <a:pt x="528715" y="1221992"/>
                      </a:cubicBezTo>
                      <a:cubicBezTo>
                        <a:pt x="534888" y="1229281"/>
                        <a:pt x="531098" y="1225973"/>
                        <a:pt x="532885" y="1233173"/>
                      </a:cubicBezTo>
                      <a:cubicBezTo>
                        <a:pt x="534838" y="1241109"/>
                        <a:pt x="540352" y="1251706"/>
                        <a:pt x="537525" y="1259033"/>
                      </a:cubicBezTo>
                      <a:cubicBezTo>
                        <a:pt x="542443" y="1257043"/>
                        <a:pt x="542494" y="1258222"/>
                        <a:pt x="543952" y="1260301"/>
                      </a:cubicBezTo>
                      <a:cubicBezTo>
                        <a:pt x="542126" y="1257702"/>
                        <a:pt x="545765" y="1271228"/>
                        <a:pt x="545473" y="1268731"/>
                      </a:cubicBezTo>
                      <a:cubicBezTo>
                        <a:pt x="546119" y="1274473"/>
                        <a:pt x="550062" y="1280812"/>
                        <a:pt x="550113" y="1284893"/>
                      </a:cubicBezTo>
                      <a:cubicBezTo>
                        <a:pt x="550163" y="1290560"/>
                        <a:pt x="544205" y="1293222"/>
                        <a:pt x="541746" y="1296264"/>
                      </a:cubicBezTo>
                      <a:cubicBezTo>
                        <a:pt x="540276" y="1298140"/>
                        <a:pt x="538260" y="1300435"/>
                        <a:pt x="536650" y="1302704"/>
                      </a:cubicBezTo>
                      <a:cubicBezTo>
                        <a:pt x="532657" y="1308294"/>
                        <a:pt x="529716" y="1316027"/>
                        <a:pt x="526281" y="1322264"/>
                      </a:cubicBezTo>
                      <a:cubicBezTo>
                        <a:pt x="522909" y="1328501"/>
                        <a:pt x="519600" y="1334078"/>
                        <a:pt x="515506" y="1339238"/>
                      </a:cubicBezTo>
                      <a:cubicBezTo>
                        <a:pt x="514010" y="1341164"/>
                        <a:pt x="511234" y="1342470"/>
                        <a:pt x="509421" y="1344080"/>
                      </a:cubicBezTo>
                      <a:cubicBezTo>
                        <a:pt x="508901" y="1344574"/>
                        <a:pt x="503628" y="1347097"/>
                        <a:pt x="504198" y="1346311"/>
                      </a:cubicBezTo>
                      <a:cubicBezTo>
                        <a:pt x="500737" y="1351293"/>
                        <a:pt x="502538" y="1353042"/>
                        <a:pt x="498430" y="1357429"/>
                      </a:cubicBezTo>
                      <a:cubicBezTo>
                        <a:pt x="495198" y="1360851"/>
                        <a:pt x="488226" y="1360750"/>
                        <a:pt x="486096" y="1368001"/>
                      </a:cubicBezTo>
                      <a:cubicBezTo>
                        <a:pt x="484765" y="1372514"/>
                        <a:pt x="488695" y="1375378"/>
                        <a:pt x="488593" y="1380322"/>
                      </a:cubicBezTo>
                      <a:cubicBezTo>
                        <a:pt x="488505" y="1384467"/>
                        <a:pt x="485475" y="1389044"/>
                        <a:pt x="484169" y="1392428"/>
                      </a:cubicBezTo>
                      <a:cubicBezTo>
                        <a:pt x="480924" y="1401023"/>
                        <a:pt x="477159" y="1411862"/>
                        <a:pt x="470301" y="1418403"/>
                      </a:cubicBezTo>
                      <a:cubicBezTo>
                        <a:pt x="465471" y="1408654"/>
                        <a:pt x="468945" y="1401555"/>
                        <a:pt x="469224" y="1391617"/>
                      </a:cubicBezTo>
                      <a:cubicBezTo>
                        <a:pt x="469325" y="1387269"/>
                        <a:pt x="459805" y="1354994"/>
                        <a:pt x="469224" y="1365998"/>
                      </a:cubicBezTo>
                      <a:cubicBezTo>
                        <a:pt x="469426" y="1364046"/>
                        <a:pt x="470225" y="1364451"/>
                        <a:pt x="468666" y="1362436"/>
                      </a:cubicBezTo>
                      <a:cubicBezTo>
                        <a:pt x="467994" y="1362284"/>
                        <a:pt x="473077" y="1362956"/>
                        <a:pt x="471772" y="1363475"/>
                      </a:cubicBezTo>
                      <a:cubicBezTo>
                        <a:pt x="472837" y="1359266"/>
                        <a:pt x="474421" y="1356300"/>
                        <a:pt x="476766" y="1354285"/>
                      </a:cubicBezTo>
                      <a:cubicBezTo>
                        <a:pt x="467424" y="1351749"/>
                        <a:pt x="481647" y="1349949"/>
                        <a:pt x="482965" y="1348137"/>
                      </a:cubicBezTo>
                      <a:cubicBezTo>
                        <a:pt x="485272" y="1345018"/>
                        <a:pt x="481685" y="1335156"/>
                        <a:pt x="478820" y="1333356"/>
                      </a:cubicBezTo>
                      <a:cubicBezTo>
                        <a:pt x="488593" y="1331936"/>
                        <a:pt x="484854" y="1320489"/>
                        <a:pt x="483890" y="1314518"/>
                      </a:cubicBezTo>
                      <a:cubicBezTo>
                        <a:pt x="480696" y="1312160"/>
                        <a:pt x="482483" y="1310411"/>
                        <a:pt x="487427" y="1309422"/>
                      </a:cubicBezTo>
                      <a:cubicBezTo>
                        <a:pt x="483130" y="1300384"/>
                        <a:pt x="482737" y="1289799"/>
                        <a:pt x="496047" y="1291536"/>
                      </a:cubicBezTo>
                      <a:cubicBezTo>
                        <a:pt x="489240" y="1289368"/>
                        <a:pt x="487326" y="1285451"/>
                        <a:pt x="489924" y="1279785"/>
                      </a:cubicBezTo>
                      <a:cubicBezTo>
                        <a:pt x="489798" y="1281053"/>
                        <a:pt x="483219" y="1291498"/>
                        <a:pt x="481723" y="1291637"/>
                      </a:cubicBezTo>
                      <a:cubicBezTo>
                        <a:pt x="477045" y="1292119"/>
                        <a:pt x="472900" y="1287695"/>
                        <a:pt x="476906" y="1284120"/>
                      </a:cubicBezTo>
                      <a:cubicBezTo>
                        <a:pt x="477337" y="1284538"/>
                        <a:pt x="474687" y="1281940"/>
                        <a:pt x="474763" y="1283334"/>
                      </a:cubicBezTo>
                      <a:cubicBezTo>
                        <a:pt x="477666" y="1281255"/>
                        <a:pt x="479251" y="1279303"/>
                        <a:pt x="482395" y="1277744"/>
                      </a:cubicBezTo>
                      <a:cubicBezTo>
                        <a:pt x="479289" y="1277059"/>
                        <a:pt x="474611" y="1277085"/>
                        <a:pt x="470707" y="1277744"/>
                      </a:cubicBezTo>
                      <a:cubicBezTo>
                        <a:pt x="476830" y="1274156"/>
                        <a:pt x="486197" y="1273700"/>
                        <a:pt x="482826" y="1263939"/>
                      </a:cubicBezTo>
                      <a:cubicBezTo>
                        <a:pt x="475993" y="1264573"/>
                        <a:pt x="475663" y="1259300"/>
                        <a:pt x="479923" y="1256815"/>
                      </a:cubicBezTo>
                      <a:cubicBezTo>
                        <a:pt x="490533" y="1246876"/>
                        <a:pt x="464825" y="1260035"/>
                        <a:pt x="473635" y="1246534"/>
                      </a:cubicBezTo>
                      <a:cubicBezTo>
                        <a:pt x="475283" y="1243948"/>
                        <a:pt x="481228" y="1246927"/>
                        <a:pt x="482395" y="1242718"/>
                      </a:cubicBezTo>
                      <a:cubicBezTo>
                        <a:pt x="483079" y="1240234"/>
                        <a:pt x="476018" y="1240221"/>
                        <a:pt x="476044" y="1237813"/>
                      </a:cubicBezTo>
                      <a:cubicBezTo>
                        <a:pt x="476094" y="1233541"/>
                        <a:pt x="475917" y="1230574"/>
                        <a:pt x="482623" y="1230448"/>
                      </a:cubicBezTo>
                      <a:cubicBezTo>
                        <a:pt x="471860" y="1229446"/>
                        <a:pt x="480417" y="1220104"/>
                        <a:pt x="481127" y="1214323"/>
                      </a:cubicBezTo>
                      <a:cubicBezTo>
                        <a:pt x="481076" y="1214310"/>
                        <a:pt x="477780" y="1214323"/>
                        <a:pt x="477578" y="1214323"/>
                      </a:cubicBezTo>
                      <a:cubicBezTo>
                        <a:pt x="478389" y="1213170"/>
                        <a:pt x="479010" y="1213106"/>
                        <a:pt x="480341" y="1212231"/>
                      </a:cubicBezTo>
                      <a:cubicBezTo>
                        <a:pt x="477552" y="1212485"/>
                        <a:pt x="477134" y="1211179"/>
                        <a:pt x="475803" y="1210647"/>
                      </a:cubicBezTo>
                      <a:cubicBezTo>
                        <a:pt x="479682" y="1208644"/>
                        <a:pt x="475537" y="1199010"/>
                        <a:pt x="474789" y="1195676"/>
                      </a:cubicBezTo>
                      <a:cubicBezTo>
                        <a:pt x="474205" y="1192874"/>
                        <a:pt x="474205" y="1188742"/>
                        <a:pt x="473559" y="1186599"/>
                      </a:cubicBezTo>
                      <a:cubicBezTo>
                        <a:pt x="471708" y="1180553"/>
                        <a:pt x="467715" y="1177358"/>
                        <a:pt x="466371" y="1171743"/>
                      </a:cubicBezTo>
                      <a:cubicBezTo>
                        <a:pt x="464812" y="1170881"/>
                        <a:pt x="464255" y="1167129"/>
                        <a:pt x="465167" y="1163123"/>
                      </a:cubicBezTo>
                      <a:cubicBezTo>
                        <a:pt x="464077" y="1163959"/>
                        <a:pt x="464229" y="1164441"/>
                        <a:pt x="463646" y="1165633"/>
                      </a:cubicBezTo>
                      <a:cubicBezTo>
                        <a:pt x="460502" y="1156569"/>
                        <a:pt x="457244" y="1150662"/>
                        <a:pt x="451476" y="1142029"/>
                      </a:cubicBezTo>
                      <a:cubicBezTo>
                        <a:pt x="452022" y="1142827"/>
                        <a:pt x="452364" y="1142675"/>
                        <a:pt x="452491" y="1141572"/>
                      </a:cubicBezTo>
                      <a:cubicBezTo>
                        <a:pt x="445240" y="1140964"/>
                        <a:pt x="449841" y="1120187"/>
                        <a:pt x="443896" y="1114305"/>
                      </a:cubicBezTo>
                      <a:cubicBezTo>
                        <a:pt x="446114" y="1125854"/>
                        <a:pt x="439865" y="1142422"/>
                        <a:pt x="443985" y="1153324"/>
                      </a:cubicBezTo>
                      <a:cubicBezTo>
                        <a:pt x="443135" y="1153438"/>
                        <a:pt x="440410" y="1153793"/>
                        <a:pt x="440841" y="1153844"/>
                      </a:cubicBezTo>
                      <a:cubicBezTo>
                        <a:pt x="439611" y="1148050"/>
                        <a:pt x="445721" y="1142143"/>
                        <a:pt x="437811" y="1141585"/>
                      </a:cubicBezTo>
                      <a:cubicBezTo>
                        <a:pt x="436873" y="1138695"/>
                        <a:pt x="436493" y="1136578"/>
                        <a:pt x="438331" y="1134892"/>
                      </a:cubicBezTo>
                      <a:cubicBezTo>
                        <a:pt x="439117" y="1129821"/>
                        <a:pt x="436201" y="1127032"/>
                        <a:pt x="436075" y="1123496"/>
                      </a:cubicBezTo>
                      <a:cubicBezTo>
                        <a:pt x="435948" y="1118780"/>
                        <a:pt x="438623" y="1113963"/>
                        <a:pt x="438331" y="1109945"/>
                      </a:cubicBezTo>
                      <a:cubicBezTo>
                        <a:pt x="437760" y="1103213"/>
                        <a:pt x="424577" y="1094923"/>
                        <a:pt x="430180" y="1084009"/>
                      </a:cubicBezTo>
                      <a:cubicBezTo>
                        <a:pt x="423626" y="1087938"/>
                        <a:pt x="417098" y="1052520"/>
                        <a:pt x="432196" y="1070584"/>
                      </a:cubicBezTo>
                      <a:cubicBezTo>
                        <a:pt x="429686" y="1067402"/>
                        <a:pt x="430459" y="1066160"/>
                        <a:pt x="430180" y="1064981"/>
                      </a:cubicBezTo>
                      <a:cubicBezTo>
                        <a:pt x="428862" y="1062801"/>
                        <a:pt x="427873" y="1061964"/>
                        <a:pt x="426466" y="1059213"/>
                      </a:cubicBezTo>
                      <a:cubicBezTo>
                        <a:pt x="425971" y="1059555"/>
                        <a:pt x="425211" y="1062268"/>
                        <a:pt x="425059" y="1062712"/>
                      </a:cubicBezTo>
                      <a:cubicBezTo>
                        <a:pt x="424704" y="1061989"/>
                        <a:pt x="423018" y="1059708"/>
                        <a:pt x="422561" y="1059302"/>
                      </a:cubicBezTo>
                      <a:cubicBezTo>
                        <a:pt x="422004" y="1078203"/>
                        <a:pt x="415044" y="1043976"/>
                        <a:pt x="413510" y="1042797"/>
                      </a:cubicBezTo>
                      <a:cubicBezTo>
                        <a:pt x="413764" y="1042607"/>
                        <a:pt x="416020" y="1041732"/>
                        <a:pt x="415970" y="1041745"/>
                      </a:cubicBezTo>
                      <a:cubicBezTo>
                        <a:pt x="415475" y="1037612"/>
                        <a:pt x="415792" y="1032770"/>
                        <a:pt x="417073" y="1028346"/>
                      </a:cubicBezTo>
                      <a:cubicBezTo>
                        <a:pt x="411622" y="1027927"/>
                        <a:pt x="410265" y="1022172"/>
                        <a:pt x="410189" y="1017837"/>
                      </a:cubicBezTo>
                      <a:cubicBezTo>
                        <a:pt x="410189" y="1017507"/>
                        <a:pt x="413307" y="1014300"/>
                        <a:pt x="413282" y="1014668"/>
                      </a:cubicBezTo>
                      <a:cubicBezTo>
                        <a:pt x="413548" y="1012120"/>
                        <a:pt x="412839" y="1010244"/>
                        <a:pt x="412547" y="1006174"/>
                      </a:cubicBezTo>
                      <a:cubicBezTo>
                        <a:pt x="412103" y="999912"/>
                        <a:pt x="411431" y="989796"/>
                        <a:pt x="409961" y="984333"/>
                      </a:cubicBezTo>
                      <a:cubicBezTo>
                        <a:pt x="407958" y="977094"/>
                        <a:pt x="403078" y="976106"/>
                        <a:pt x="400289" y="969070"/>
                      </a:cubicBezTo>
                      <a:cubicBezTo>
                        <a:pt x="397475" y="961908"/>
                        <a:pt x="400847" y="963975"/>
                        <a:pt x="402431" y="957116"/>
                      </a:cubicBezTo>
                      <a:cubicBezTo>
                        <a:pt x="404459" y="948129"/>
                        <a:pt x="397842" y="928594"/>
                        <a:pt x="410975" y="926604"/>
                      </a:cubicBezTo>
                      <a:cubicBezTo>
                        <a:pt x="405220" y="926769"/>
                        <a:pt x="389425" y="927441"/>
                        <a:pt x="383619" y="932308"/>
                      </a:cubicBezTo>
                      <a:cubicBezTo>
                        <a:pt x="382542" y="927365"/>
                        <a:pt x="381502" y="922396"/>
                        <a:pt x="380628" y="917489"/>
                      </a:cubicBezTo>
                      <a:cubicBezTo>
                        <a:pt x="373503" y="922966"/>
                        <a:pt x="373186" y="907247"/>
                        <a:pt x="374010" y="902772"/>
                      </a:cubicBezTo>
                      <a:cubicBezTo>
                        <a:pt x="373376" y="903824"/>
                        <a:pt x="372996" y="904889"/>
                        <a:pt x="372476" y="906423"/>
                      </a:cubicBezTo>
                      <a:cubicBezTo>
                        <a:pt x="372071" y="903938"/>
                        <a:pt x="371741" y="903786"/>
                        <a:pt x="372476" y="900757"/>
                      </a:cubicBezTo>
                      <a:cubicBezTo>
                        <a:pt x="368914" y="899400"/>
                        <a:pt x="364554" y="882718"/>
                        <a:pt x="375531" y="885152"/>
                      </a:cubicBezTo>
                      <a:cubicBezTo>
                        <a:pt x="371361" y="882122"/>
                        <a:pt x="367609" y="882515"/>
                        <a:pt x="365885" y="887269"/>
                      </a:cubicBezTo>
                      <a:cubicBezTo>
                        <a:pt x="363933" y="881590"/>
                        <a:pt x="364072" y="878649"/>
                        <a:pt x="360941" y="874073"/>
                      </a:cubicBezTo>
                      <a:cubicBezTo>
                        <a:pt x="357594" y="869154"/>
                        <a:pt x="346959" y="867481"/>
                        <a:pt x="347605" y="858658"/>
                      </a:cubicBezTo>
                      <a:cubicBezTo>
                        <a:pt x="346452" y="859963"/>
                        <a:pt x="346008" y="862233"/>
                        <a:pt x="345590" y="863868"/>
                      </a:cubicBezTo>
                      <a:cubicBezTo>
                        <a:pt x="345488" y="863830"/>
                        <a:pt x="344449" y="862461"/>
                        <a:pt x="344575" y="862309"/>
                      </a:cubicBezTo>
                      <a:cubicBezTo>
                        <a:pt x="344601" y="862220"/>
                        <a:pt x="343118" y="863361"/>
                        <a:pt x="343041" y="863374"/>
                      </a:cubicBezTo>
                      <a:cubicBezTo>
                        <a:pt x="353626" y="870599"/>
                        <a:pt x="344816" y="870447"/>
                        <a:pt x="345235" y="877977"/>
                      </a:cubicBezTo>
                      <a:cubicBezTo>
                        <a:pt x="345539" y="883554"/>
                        <a:pt x="355008" y="897410"/>
                        <a:pt x="344056" y="898094"/>
                      </a:cubicBezTo>
                      <a:cubicBezTo>
                        <a:pt x="343625" y="898754"/>
                        <a:pt x="345374" y="900275"/>
                        <a:pt x="345590" y="900744"/>
                      </a:cubicBezTo>
                      <a:cubicBezTo>
                        <a:pt x="344575" y="900376"/>
                        <a:pt x="343118" y="900275"/>
                        <a:pt x="342028" y="900173"/>
                      </a:cubicBezTo>
                      <a:cubicBezTo>
                        <a:pt x="349950" y="906322"/>
                        <a:pt x="332482" y="926921"/>
                        <a:pt x="325751" y="930496"/>
                      </a:cubicBezTo>
                      <a:cubicBezTo>
                        <a:pt x="311198" y="938203"/>
                        <a:pt x="289090" y="914713"/>
                        <a:pt x="303541" y="907386"/>
                      </a:cubicBezTo>
                      <a:cubicBezTo>
                        <a:pt x="300664" y="907779"/>
                        <a:pt x="297660" y="909161"/>
                        <a:pt x="294947" y="910530"/>
                      </a:cubicBezTo>
                      <a:cubicBezTo>
                        <a:pt x="296937" y="914320"/>
                        <a:pt x="298801" y="918276"/>
                        <a:pt x="300322" y="922028"/>
                      </a:cubicBezTo>
                      <a:cubicBezTo>
                        <a:pt x="301032" y="923701"/>
                        <a:pt x="305773" y="932727"/>
                        <a:pt x="305887" y="934159"/>
                      </a:cubicBezTo>
                      <a:cubicBezTo>
                        <a:pt x="306749" y="946620"/>
                        <a:pt x="290155" y="944199"/>
                        <a:pt x="282815" y="939559"/>
                      </a:cubicBezTo>
                      <a:cubicBezTo>
                        <a:pt x="291537" y="944034"/>
                        <a:pt x="284235" y="951108"/>
                        <a:pt x="278036" y="952274"/>
                      </a:cubicBezTo>
                      <a:cubicBezTo>
                        <a:pt x="277884" y="951387"/>
                        <a:pt x="278708" y="950334"/>
                        <a:pt x="278734" y="949371"/>
                      </a:cubicBezTo>
                      <a:cubicBezTo>
                        <a:pt x="277098" y="950981"/>
                        <a:pt x="275057" y="951830"/>
                        <a:pt x="273663" y="953022"/>
                      </a:cubicBezTo>
                      <a:cubicBezTo>
                        <a:pt x="273714" y="952540"/>
                        <a:pt x="274525" y="950804"/>
                        <a:pt x="274208" y="950385"/>
                      </a:cubicBezTo>
                      <a:cubicBezTo>
                        <a:pt x="269556" y="956165"/>
                        <a:pt x="263978" y="962415"/>
                        <a:pt x="262001" y="951995"/>
                      </a:cubicBezTo>
                      <a:cubicBezTo>
                        <a:pt x="265626" y="963556"/>
                        <a:pt x="245965" y="996946"/>
                        <a:pt x="232528" y="989771"/>
                      </a:cubicBezTo>
                      <a:cubicBezTo>
                        <a:pt x="224174" y="985322"/>
                        <a:pt x="232769" y="978857"/>
                        <a:pt x="234011" y="973533"/>
                      </a:cubicBezTo>
                      <a:cubicBezTo>
                        <a:pt x="235469" y="967638"/>
                        <a:pt x="234112" y="963125"/>
                        <a:pt x="235139" y="957598"/>
                      </a:cubicBezTo>
                      <a:cubicBezTo>
                        <a:pt x="229929" y="962681"/>
                        <a:pt x="235469" y="972392"/>
                        <a:pt x="227001" y="978717"/>
                      </a:cubicBezTo>
                      <a:cubicBezTo>
                        <a:pt x="227394" y="975852"/>
                        <a:pt x="227292" y="971694"/>
                        <a:pt x="228611" y="968513"/>
                      </a:cubicBezTo>
                      <a:cubicBezTo>
                        <a:pt x="224719" y="972937"/>
                        <a:pt x="226380" y="986412"/>
                        <a:pt x="220701" y="985334"/>
                      </a:cubicBezTo>
                      <a:cubicBezTo>
                        <a:pt x="213678" y="984016"/>
                        <a:pt x="218533" y="969780"/>
                        <a:pt x="217912" y="965889"/>
                      </a:cubicBezTo>
                      <a:cubicBezTo>
                        <a:pt x="217405" y="967257"/>
                        <a:pt x="216898" y="968652"/>
                        <a:pt x="216352" y="970021"/>
                      </a:cubicBezTo>
                      <a:cubicBezTo>
                        <a:pt x="214286" y="963708"/>
                        <a:pt x="219281" y="959588"/>
                        <a:pt x="225099" y="959740"/>
                      </a:cubicBezTo>
                      <a:cubicBezTo>
                        <a:pt x="222932" y="958498"/>
                        <a:pt x="219813" y="957940"/>
                        <a:pt x="217912" y="957598"/>
                      </a:cubicBezTo>
                      <a:cubicBezTo>
                        <a:pt x="209646" y="965115"/>
                        <a:pt x="217075" y="995349"/>
                        <a:pt x="197071" y="984574"/>
                      </a:cubicBezTo>
                      <a:cubicBezTo>
                        <a:pt x="199873" y="981912"/>
                        <a:pt x="198922" y="980707"/>
                        <a:pt x="199695" y="978793"/>
                      </a:cubicBezTo>
                      <a:cubicBezTo>
                        <a:pt x="198707" y="979617"/>
                        <a:pt x="198732" y="980289"/>
                        <a:pt x="197528" y="980821"/>
                      </a:cubicBezTo>
                      <a:cubicBezTo>
                        <a:pt x="195094" y="973659"/>
                        <a:pt x="197553" y="969577"/>
                        <a:pt x="202776" y="965889"/>
                      </a:cubicBezTo>
                      <a:cubicBezTo>
                        <a:pt x="201927" y="966421"/>
                        <a:pt x="201039" y="966953"/>
                        <a:pt x="200215" y="967473"/>
                      </a:cubicBezTo>
                      <a:cubicBezTo>
                        <a:pt x="195867" y="956330"/>
                        <a:pt x="202953" y="956914"/>
                        <a:pt x="207834" y="949878"/>
                      </a:cubicBezTo>
                      <a:cubicBezTo>
                        <a:pt x="205907" y="951083"/>
                        <a:pt x="200672" y="952819"/>
                        <a:pt x="199543" y="954454"/>
                      </a:cubicBezTo>
                      <a:cubicBezTo>
                        <a:pt x="196983" y="958384"/>
                        <a:pt x="199543" y="961743"/>
                        <a:pt x="198276" y="964811"/>
                      </a:cubicBezTo>
                      <a:cubicBezTo>
                        <a:pt x="196678" y="968601"/>
                        <a:pt x="184623" y="988111"/>
                        <a:pt x="181454" y="975713"/>
                      </a:cubicBezTo>
                      <a:cubicBezTo>
                        <a:pt x="179869" y="975700"/>
                        <a:pt x="181796" y="977564"/>
                        <a:pt x="178919" y="974724"/>
                      </a:cubicBezTo>
                      <a:cubicBezTo>
                        <a:pt x="187640" y="970490"/>
                        <a:pt x="189453" y="963886"/>
                        <a:pt x="193116" y="956546"/>
                      </a:cubicBezTo>
                      <a:cubicBezTo>
                        <a:pt x="191481" y="958194"/>
                        <a:pt x="176028" y="981341"/>
                        <a:pt x="176523" y="971010"/>
                      </a:cubicBezTo>
                      <a:cubicBezTo>
                        <a:pt x="176675" y="967765"/>
                        <a:pt x="184103" y="959005"/>
                        <a:pt x="185067" y="953833"/>
                      </a:cubicBezTo>
                      <a:cubicBezTo>
                        <a:pt x="186005" y="948915"/>
                        <a:pt x="182937" y="944947"/>
                        <a:pt x="188603" y="941575"/>
                      </a:cubicBezTo>
                      <a:cubicBezTo>
                        <a:pt x="186347" y="937455"/>
                        <a:pt x="186030" y="932524"/>
                        <a:pt x="188603" y="929190"/>
                      </a:cubicBezTo>
                      <a:cubicBezTo>
                        <a:pt x="188236" y="929126"/>
                        <a:pt x="184040" y="928607"/>
                        <a:pt x="184496" y="928620"/>
                      </a:cubicBezTo>
                      <a:cubicBezTo>
                        <a:pt x="184205" y="937265"/>
                        <a:pt x="186182" y="946037"/>
                        <a:pt x="177613" y="950918"/>
                      </a:cubicBezTo>
                      <a:cubicBezTo>
                        <a:pt x="179274" y="948509"/>
                        <a:pt x="179996" y="945112"/>
                        <a:pt x="181036" y="942779"/>
                      </a:cubicBezTo>
                      <a:cubicBezTo>
                        <a:pt x="179641" y="947127"/>
                        <a:pt x="177106" y="948978"/>
                        <a:pt x="172973" y="946468"/>
                      </a:cubicBezTo>
                      <a:cubicBezTo>
                        <a:pt x="173696" y="955481"/>
                        <a:pt x="162895" y="969742"/>
                        <a:pt x="155264" y="969362"/>
                      </a:cubicBezTo>
                      <a:cubicBezTo>
                        <a:pt x="143158" y="968715"/>
                        <a:pt x="154909" y="938634"/>
                        <a:pt x="154681" y="928150"/>
                      </a:cubicBezTo>
                      <a:cubicBezTo>
                        <a:pt x="161767" y="929609"/>
                        <a:pt x="160690" y="920177"/>
                        <a:pt x="162072" y="913699"/>
                      </a:cubicBezTo>
                      <a:cubicBezTo>
                        <a:pt x="163758" y="905650"/>
                        <a:pt x="161387" y="900858"/>
                        <a:pt x="168828" y="897055"/>
                      </a:cubicBezTo>
                      <a:cubicBezTo>
                        <a:pt x="166635" y="893709"/>
                        <a:pt x="170590" y="879511"/>
                        <a:pt x="170540" y="879701"/>
                      </a:cubicBezTo>
                      <a:cubicBezTo>
                        <a:pt x="169614" y="884252"/>
                        <a:pt x="175027" y="874301"/>
                        <a:pt x="173062" y="877280"/>
                      </a:cubicBezTo>
                      <a:cubicBezTo>
                        <a:pt x="173772" y="876177"/>
                        <a:pt x="172732" y="871170"/>
                        <a:pt x="174849" y="869053"/>
                      </a:cubicBezTo>
                      <a:cubicBezTo>
                        <a:pt x="175990" y="869775"/>
                        <a:pt x="177271" y="870346"/>
                        <a:pt x="178424" y="871106"/>
                      </a:cubicBezTo>
                      <a:cubicBezTo>
                        <a:pt x="176320" y="864083"/>
                        <a:pt x="176079" y="856072"/>
                        <a:pt x="175889" y="849163"/>
                      </a:cubicBezTo>
                      <a:cubicBezTo>
                        <a:pt x="177043" y="850139"/>
                        <a:pt x="178678" y="850938"/>
                        <a:pt x="179945" y="851927"/>
                      </a:cubicBezTo>
                      <a:cubicBezTo>
                        <a:pt x="177372" y="844447"/>
                        <a:pt x="173645" y="837513"/>
                        <a:pt x="170806" y="830237"/>
                      </a:cubicBezTo>
                      <a:cubicBezTo>
                        <a:pt x="166686" y="819804"/>
                        <a:pt x="172086" y="816116"/>
                        <a:pt x="168511" y="806506"/>
                      </a:cubicBezTo>
                      <a:cubicBezTo>
                        <a:pt x="167117" y="802805"/>
                        <a:pt x="163846" y="800346"/>
                        <a:pt x="162819" y="798571"/>
                      </a:cubicBezTo>
                      <a:cubicBezTo>
                        <a:pt x="161995" y="797126"/>
                        <a:pt x="159257" y="799572"/>
                        <a:pt x="158573" y="796074"/>
                      </a:cubicBezTo>
                      <a:cubicBezTo>
                        <a:pt x="157990" y="792994"/>
                        <a:pt x="161628" y="795364"/>
                        <a:pt x="161501" y="794781"/>
                      </a:cubicBezTo>
                      <a:cubicBezTo>
                        <a:pt x="161957" y="796784"/>
                        <a:pt x="164683" y="795275"/>
                        <a:pt x="164683" y="793995"/>
                      </a:cubicBezTo>
                      <a:cubicBezTo>
                        <a:pt x="164708" y="791967"/>
                        <a:pt x="162515" y="791029"/>
                        <a:pt x="161894" y="789583"/>
                      </a:cubicBezTo>
                      <a:cubicBezTo>
                        <a:pt x="160246" y="785489"/>
                        <a:pt x="154909" y="781128"/>
                        <a:pt x="152539" y="776489"/>
                      </a:cubicBezTo>
                      <a:cubicBezTo>
                        <a:pt x="156152" y="770810"/>
                        <a:pt x="149636" y="766309"/>
                        <a:pt x="145453" y="761327"/>
                      </a:cubicBezTo>
                      <a:cubicBezTo>
                        <a:pt x="149040" y="762633"/>
                        <a:pt x="151005" y="761366"/>
                        <a:pt x="155087" y="761327"/>
                      </a:cubicBezTo>
                      <a:cubicBezTo>
                        <a:pt x="149889" y="762012"/>
                        <a:pt x="145896" y="757347"/>
                        <a:pt x="145453" y="751465"/>
                      </a:cubicBezTo>
                      <a:cubicBezTo>
                        <a:pt x="142360" y="761822"/>
                        <a:pt x="132446" y="742832"/>
                        <a:pt x="141434" y="734758"/>
                      </a:cubicBezTo>
                      <a:cubicBezTo>
                        <a:pt x="133042" y="736646"/>
                        <a:pt x="138417" y="717099"/>
                        <a:pt x="139381" y="711762"/>
                      </a:cubicBezTo>
                      <a:cubicBezTo>
                        <a:pt x="137568" y="714335"/>
                        <a:pt x="133385" y="740373"/>
                        <a:pt x="128935" y="725390"/>
                      </a:cubicBezTo>
                      <a:cubicBezTo>
                        <a:pt x="130304" y="733439"/>
                        <a:pt x="134906" y="744595"/>
                        <a:pt x="129303" y="752188"/>
                      </a:cubicBezTo>
                      <a:cubicBezTo>
                        <a:pt x="119136" y="745761"/>
                        <a:pt x="114167" y="741578"/>
                        <a:pt x="108653" y="733110"/>
                      </a:cubicBezTo>
                      <a:cubicBezTo>
                        <a:pt x="105014" y="727583"/>
                        <a:pt x="87838" y="706996"/>
                        <a:pt x="102517" y="710393"/>
                      </a:cubicBezTo>
                      <a:cubicBezTo>
                        <a:pt x="111010" y="712371"/>
                        <a:pt x="112836" y="729066"/>
                        <a:pt x="126869" y="720306"/>
                      </a:cubicBezTo>
                      <a:cubicBezTo>
                        <a:pt x="129531" y="718645"/>
                        <a:pt x="133448" y="713854"/>
                        <a:pt x="133549" y="710533"/>
                      </a:cubicBezTo>
                      <a:cubicBezTo>
                        <a:pt x="133701" y="706007"/>
                        <a:pt x="130545" y="705018"/>
                        <a:pt x="129797" y="703903"/>
                      </a:cubicBezTo>
                      <a:cubicBezTo>
                        <a:pt x="124270" y="702990"/>
                        <a:pt x="108703" y="691226"/>
                        <a:pt x="119694" y="691340"/>
                      </a:cubicBezTo>
                      <a:cubicBezTo>
                        <a:pt x="120683" y="688197"/>
                        <a:pt x="121380" y="687449"/>
                        <a:pt x="120176" y="684520"/>
                      </a:cubicBezTo>
                      <a:cubicBezTo>
                        <a:pt x="117640" y="692811"/>
                        <a:pt x="109857" y="688919"/>
                        <a:pt x="116106" y="682999"/>
                      </a:cubicBezTo>
                      <a:cubicBezTo>
                        <a:pt x="113203" y="685471"/>
                        <a:pt x="109781" y="687259"/>
                        <a:pt x="107499" y="683468"/>
                      </a:cubicBezTo>
                      <a:cubicBezTo>
                        <a:pt x="106624" y="684457"/>
                        <a:pt x="105851" y="685674"/>
                        <a:pt x="104989" y="686599"/>
                      </a:cubicBezTo>
                      <a:cubicBezTo>
                        <a:pt x="104038" y="680489"/>
                        <a:pt x="108196" y="672731"/>
                        <a:pt x="115080" y="674075"/>
                      </a:cubicBezTo>
                      <a:cubicBezTo>
                        <a:pt x="115485" y="671641"/>
                        <a:pt x="113457" y="673441"/>
                        <a:pt x="115637" y="671451"/>
                      </a:cubicBezTo>
                      <a:cubicBezTo>
                        <a:pt x="111289" y="669638"/>
                        <a:pt x="105826" y="673974"/>
                        <a:pt x="100971" y="672503"/>
                      </a:cubicBezTo>
                      <a:lnTo>
                        <a:pt x="102378" y="671451"/>
                      </a:lnTo>
                      <a:cubicBezTo>
                        <a:pt x="98917" y="668954"/>
                        <a:pt x="97992" y="668624"/>
                        <a:pt x="99386" y="665151"/>
                      </a:cubicBezTo>
                      <a:cubicBezTo>
                        <a:pt x="98283" y="666165"/>
                        <a:pt x="97776" y="666596"/>
                        <a:pt x="96902" y="667762"/>
                      </a:cubicBezTo>
                      <a:cubicBezTo>
                        <a:pt x="96775" y="667826"/>
                        <a:pt x="95456" y="666178"/>
                        <a:pt x="95304" y="666241"/>
                      </a:cubicBezTo>
                      <a:cubicBezTo>
                        <a:pt x="91070" y="671248"/>
                        <a:pt x="89131" y="662400"/>
                        <a:pt x="88231" y="658318"/>
                      </a:cubicBezTo>
                      <a:cubicBezTo>
                        <a:pt x="88129" y="659941"/>
                        <a:pt x="87419" y="662134"/>
                        <a:pt x="87293" y="663072"/>
                      </a:cubicBezTo>
                      <a:cubicBezTo>
                        <a:pt x="87128" y="661398"/>
                        <a:pt x="86063" y="658926"/>
                        <a:pt x="85708" y="657279"/>
                      </a:cubicBezTo>
                      <a:cubicBezTo>
                        <a:pt x="82653" y="663300"/>
                        <a:pt x="73818" y="661703"/>
                        <a:pt x="70027" y="657849"/>
                      </a:cubicBezTo>
                      <a:cubicBezTo>
                        <a:pt x="72271" y="664720"/>
                        <a:pt x="76708" y="671793"/>
                        <a:pt x="78178" y="678778"/>
                      </a:cubicBezTo>
                      <a:cubicBezTo>
                        <a:pt x="75782" y="676395"/>
                        <a:pt x="71346" y="661956"/>
                        <a:pt x="68468" y="666127"/>
                      </a:cubicBezTo>
                      <a:cubicBezTo>
                        <a:pt x="66148" y="669524"/>
                        <a:pt x="70953" y="677193"/>
                        <a:pt x="73006" y="679817"/>
                      </a:cubicBezTo>
                      <a:cubicBezTo>
                        <a:pt x="67682" y="675039"/>
                        <a:pt x="59430" y="662413"/>
                        <a:pt x="58327" y="655187"/>
                      </a:cubicBezTo>
                      <a:cubicBezTo>
                        <a:pt x="63803" y="654655"/>
                        <a:pt x="62738" y="655111"/>
                        <a:pt x="66465" y="652043"/>
                      </a:cubicBezTo>
                      <a:cubicBezTo>
                        <a:pt x="66465" y="652056"/>
                        <a:pt x="67124" y="653615"/>
                        <a:pt x="67492" y="653615"/>
                      </a:cubicBezTo>
                      <a:cubicBezTo>
                        <a:pt x="68227" y="651916"/>
                        <a:pt x="68899" y="650066"/>
                        <a:pt x="69495" y="648379"/>
                      </a:cubicBezTo>
                      <a:cubicBezTo>
                        <a:pt x="52242" y="662894"/>
                        <a:pt x="65984" y="639075"/>
                        <a:pt x="67948" y="632078"/>
                      </a:cubicBezTo>
                      <a:cubicBezTo>
                        <a:pt x="61534" y="647657"/>
                        <a:pt x="66123" y="623711"/>
                        <a:pt x="65984" y="622608"/>
                      </a:cubicBezTo>
                      <a:cubicBezTo>
                        <a:pt x="61471" y="631431"/>
                        <a:pt x="63461" y="645553"/>
                        <a:pt x="54460" y="651777"/>
                      </a:cubicBezTo>
                      <a:cubicBezTo>
                        <a:pt x="44256" y="658813"/>
                        <a:pt x="40440" y="643563"/>
                        <a:pt x="56311" y="640495"/>
                      </a:cubicBezTo>
                      <a:cubicBezTo>
                        <a:pt x="47032" y="639481"/>
                        <a:pt x="51139" y="629099"/>
                        <a:pt x="45219" y="626297"/>
                      </a:cubicBezTo>
                      <a:cubicBezTo>
                        <a:pt x="44915" y="628997"/>
                        <a:pt x="44585" y="628122"/>
                        <a:pt x="43483" y="630239"/>
                      </a:cubicBezTo>
                      <a:cubicBezTo>
                        <a:pt x="43368" y="629808"/>
                        <a:pt x="43914" y="627590"/>
                        <a:pt x="44205" y="628439"/>
                      </a:cubicBezTo>
                      <a:cubicBezTo>
                        <a:pt x="40250" y="623179"/>
                        <a:pt x="38957" y="616574"/>
                        <a:pt x="33531" y="611605"/>
                      </a:cubicBezTo>
                      <a:cubicBezTo>
                        <a:pt x="40453" y="621721"/>
                        <a:pt x="42025" y="633358"/>
                        <a:pt x="40656" y="645223"/>
                      </a:cubicBezTo>
                      <a:cubicBezTo>
                        <a:pt x="34774" y="637148"/>
                        <a:pt x="31263" y="626741"/>
                        <a:pt x="24835" y="619528"/>
                      </a:cubicBezTo>
                      <a:cubicBezTo>
                        <a:pt x="20880" y="615091"/>
                        <a:pt x="16494" y="612784"/>
                        <a:pt x="13668" y="608119"/>
                      </a:cubicBezTo>
                      <a:cubicBezTo>
                        <a:pt x="9256" y="600919"/>
                        <a:pt x="5009" y="586937"/>
                        <a:pt x="2525" y="579470"/>
                      </a:cubicBezTo>
                      <a:cubicBezTo>
                        <a:pt x="154" y="572485"/>
                        <a:pt x="-1798" y="567034"/>
                        <a:pt x="2728" y="559492"/>
                      </a:cubicBezTo>
                      <a:cubicBezTo>
                        <a:pt x="3856" y="557628"/>
                        <a:pt x="7443" y="553762"/>
                        <a:pt x="9750" y="553673"/>
                      </a:cubicBezTo>
                      <a:cubicBezTo>
                        <a:pt x="15379" y="553445"/>
                        <a:pt x="11677" y="558148"/>
                        <a:pt x="15125" y="559200"/>
                      </a:cubicBezTo>
                      <a:cubicBezTo>
                        <a:pt x="16431" y="559606"/>
                        <a:pt x="23263" y="560050"/>
                        <a:pt x="23466" y="560240"/>
                      </a:cubicBezTo>
                      <a:cubicBezTo>
                        <a:pt x="24240" y="560899"/>
                        <a:pt x="28284" y="568518"/>
                        <a:pt x="27954" y="568467"/>
                      </a:cubicBezTo>
                      <a:cubicBezTo>
                        <a:pt x="38285" y="570292"/>
                        <a:pt x="31300" y="556703"/>
                        <a:pt x="30312" y="550808"/>
                      </a:cubicBezTo>
                      <a:cubicBezTo>
                        <a:pt x="28676" y="541212"/>
                        <a:pt x="27282" y="521767"/>
                        <a:pt x="29741" y="512981"/>
                      </a:cubicBezTo>
                      <a:cubicBezTo>
                        <a:pt x="29855" y="512715"/>
                        <a:pt x="36637" y="503183"/>
                        <a:pt x="36498" y="503271"/>
                      </a:cubicBezTo>
                      <a:cubicBezTo>
                        <a:pt x="39667" y="501078"/>
                        <a:pt x="37651" y="498252"/>
                        <a:pt x="44890" y="504564"/>
                      </a:cubicBezTo>
                      <a:cubicBezTo>
                        <a:pt x="48287" y="507518"/>
                        <a:pt x="50556" y="510573"/>
                        <a:pt x="51481" y="514782"/>
                      </a:cubicBezTo>
                      <a:cubicBezTo>
                        <a:pt x="53244" y="509318"/>
                        <a:pt x="57300" y="512196"/>
                        <a:pt x="57249" y="512259"/>
                      </a:cubicBezTo>
                      <a:cubicBezTo>
                        <a:pt x="58517" y="510915"/>
                        <a:pt x="57300" y="509191"/>
                        <a:pt x="58099" y="508139"/>
                      </a:cubicBezTo>
                      <a:cubicBezTo>
                        <a:pt x="62662" y="502143"/>
                        <a:pt x="60292" y="491926"/>
                        <a:pt x="70991" y="497009"/>
                      </a:cubicBezTo>
                      <a:cubicBezTo>
                        <a:pt x="70243" y="491634"/>
                        <a:pt x="74147" y="487679"/>
                        <a:pt x="71865" y="478375"/>
                      </a:cubicBezTo>
                      <a:cubicBezTo>
                        <a:pt x="70560" y="473114"/>
                        <a:pt x="66250" y="466598"/>
                        <a:pt x="66440" y="460628"/>
                      </a:cubicBezTo>
                      <a:cubicBezTo>
                        <a:pt x="66769" y="451703"/>
                        <a:pt x="71815" y="450816"/>
                        <a:pt x="73501" y="443311"/>
                      </a:cubicBezTo>
                      <a:cubicBezTo>
                        <a:pt x="75161" y="435807"/>
                        <a:pt x="66643" y="434286"/>
                        <a:pt x="75034" y="429976"/>
                      </a:cubicBezTo>
                      <a:cubicBezTo>
                        <a:pt x="78495" y="428201"/>
                        <a:pt x="80853" y="437011"/>
                        <a:pt x="86684" y="427136"/>
                      </a:cubicBezTo>
                      <a:cubicBezTo>
                        <a:pt x="89929" y="421622"/>
                        <a:pt x="89727" y="410745"/>
                        <a:pt x="90411" y="404547"/>
                      </a:cubicBezTo>
                      <a:cubicBezTo>
                        <a:pt x="91514" y="394684"/>
                        <a:pt x="91222" y="385811"/>
                        <a:pt x="89422" y="377584"/>
                      </a:cubicBezTo>
                      <a:cubicBezTo>
                        <a:pt x="88611" y="374085"/>
                        <a:pt x="82095" y="359139"/>
                        <a:pt x="82818" y="355172"/>
                      </a:cubicBezTo>
                      <a:cubicBezTo>
                        <a:pt x="84846" y="343953"/>
                        <a:pt x="88522" y="354804"/>
                        <a:pt x="93238" y="357352"/>
                      </a:cubicBezTo>
                      <a:cubicBezTo>
                        <a:pt x="97713" y="359735"/>
                        <a:pt x="99665" y="358113"/>
                        <a:pt x="103848" y="357466"/>
                      </a:cubicBezTo>
                      <a:cubicBezTo>
                        <a:pt x="111936" y="356198"/>
                        <a:pt x="118819" y="358252"/>
                        <a:pt x="126869" y="360939"/>
                      </a:cubicBezTo>
                      <a:cubicBezTo>
                        <a:pt x="130837" y="362270"/>
                        <a:pt x="141459" y="368964"/>
                        <a:pt x="143589" y="368330"/>
                      </a:cubicBezTo>
                      <a:cubicBezTo>
                        <a:pt x="147075" y="367265"/>
                        <a:pt x="156595" y="332861"/>
                        <a:pt x="158383" y="328792"/>
                      </a:cubicBezTo>
                      <a:cubicBezTo>
                        <a:pt x="163694" y="316572"/>
                        <a:pt x="171870" y="305328"/>
                        <a:pt x="178411" y="294755"/>
                      </a:cubicBezTo>
                      <a:cubicBezTo>
                        <a:pt x="181327" y="290014"/>
                        <a:pt x="188857" y="277363"/>
                        <a:pt x="186968" y="271443"/>
                      </a:cubicBezTo>
                      <a:cubicBezTo>
                        <a:pt x="183482" y="260617"/>
                        <a:pt x="171021" y="267970"/>
                        <a:pt x="177879" y="251680"/>
                      </a:cubicBezTo>
                      <a:cubicBezTo>
                        <a:pt x="183254" y="238902"/>
                        <a:pt x="196843" y="235099"/>
                        <a:pt x="204487" y="223602"/>
                      </a:cubicBezTo>
                      <a:cubicBezTo>
                        <a:pt x="206503" y="220598"/>
                        <a:pt x="208468" y="221738"/>
                        <a:pt x="209444" y="218290"/>
                      </a:cubicBezTo>
                      <a:cubicBezTo>
                        <a:pt x="210699" y="213803"/>
                        <a:pt x="207098" y="209911"/>
                        <a:pt x="209292" y="205386"/>
                      </a:cubicBezTo>
                      <a:cubicBezTo>
                        <a:pt x="210572" y="202736"/>
                        <a:pt x="217747" y="201443"/>
                        <a:pt x="218900" y="197197"/>
                      </a:cubicBezTo>
                      <a:cubicBezTo>
                        <a:pt x="220054" y="193039"/>
                        <a:pt x="216023" y="193026"/>
                        <a:pt x="214565" y="189198"/>
                      </a:cubicBezTo>
                      <a:cubicBezTo>
                        <a:pt x="210762" y="179424"/>
                        <a:pt x="211142" y="166355"/>
                        <a:pt x="216466" y="156543"/>
                      </a:cubicBezTo>
                      <a:cubicBezTo>
                        <a:pt x="219027" y="151827"/>
                        <a:pt x="219395" y="149698"/>
                        <a:pt x="224858" y="147137"/>
                      </a:cubicBezTo>
                      <a:cubicBezTo>
                        <a:pt x="224453" y="147327"/>
                        <a:pt x="231209" y="147556"/>
                        <a:pt x="233149" y="146795"/>
                      </a:cubicBezTo>
                      <a:cubicBezTo>
                        <a:pt x="239817" y="144171"/>
                        <a:pt x="239196" y="140672"/>
                        <a:pt x="244038" y="136704"/>
                      </a:cubicBezTo>
                      <a:cubicBezTo>
                        <a:pt x="248310" y="133206"/>
                        <a:pt x="255586" y="133256"/>
                        <a:pt x="260023" y="129301"/>
                      </a:cubicBezTo>
                      <a:cubicBezTo>
                        <a:pt x="266805" y="123204"/>
                        <a:pt x="272826" y="118894"/>
                        <a:pt x="279076" y="112289"/>
                      </a:cubicBezTo>
                      <a:cubicBezTo>
                        <a:pt x="291904" y="98751"/>
                        <a:pt x="315242" y="95607"/>
                        <a:pt x="330682" y="94276"/>
                      </a:cubicBezTo>
                      <a:cubicBezTo>
                        <a:pt x="347111" y="92869"/>
                        <a:pt x="342699" y="114812"/>
                        <a:pt x="359762" y="114140"/>
                      </a:cubicBezTo>
                      <a:cubicBezTo>
                        <a:pt x="375088" y="113582"/>
                        <a:pt x="349976" y="91069"/>
                        <a:pt x="347668" y="83273"/>
                      </a:cubicBezTo>
                      <a:cubicBezTo>
                        <a:pt x="343739" y="69975"/>
                        <a:pt x="353690" y="66185"/>
                        <a:pt x="362297" y="59073"/>
                      </a:cubicBezTo>
                      <a:cubicBezTo>
                        <a:pt x="366772" y="55372"/>
                        <a:pt x="372274" y="51937"/>
                        <a:pt x="376660" y="48894"/>
                      </a:cubicBezTo>
                      <a:cubicBezTo>
                        <a:pt x="377547" y="48260"/>
                        <a:pt x="383252" y="50872"/>
                        <a:pt x="382707" y="41035"/>
                      </a:cubicBezTo>
                      <a:cubicBezTo>
                        <a:pt x="382453" y="36281"/>
                        <a:pt x="378371" y="35888"/>
                        <a:pt x="378802" y="30260"/>
                      </a:cubicBezTo>
                      <a:cubicBezTo>
                        <a:pt x="379233" y="24517"/>
                        <a:pt x="381667" y="24669"/>
                        <a:pt x="384190" y="20752"/>
                      </a:cubicBezTo>
                      <a:cubicBezTo>
                        <a:pt x="385825" y="18255"/>
                        <a:pt x="387802" y="19700"/>
                        <a:pt x="389463" y="17292"/>
                      </a:cubicBezTo>
                      <a:cubicBezTo>
                        <a:pt x="390591" y="15656"/>
                        <a:pt x="389539" y="11625"/>
                        <a:pt x="390414" y="9673"/>
                      </a:cubicBezTo>
                      <a:cubicBezTo>
                        <a:pt x="392480" y="4666"/>
                        <a:pt x="395066" y="-4271"/>
                        <a:pt x="399832" y="2358"/>
                      </a:cubicBezTo>
                      <a:lnTo>
                        <a:pt x="399832" y="2358"/>
                      </a:lnTo>
                      <a:close/>
                    </a:path>
                  </a:pathLst>
                </a:custGeom>
                <a:solidFill>
                  <a:srgbClr val="D6D6D2"/>
                </a:solidFill>
                <a:ln w="12413" cap="rnd">
                  <a:solidFill>
                    <a:srgbClr val="FFFFFF"/>
                  </a:solidFill>
                  <a:prstDash val="solid"/>
                  <a:round/>
                </a:ln>
              </p:spPr>
              <p:txBody>
                <a:bodyPr rtlCol="0" anchor="ctr"/>
                <a:lstStyle/>
                <a:p>
                  <a:endParaRPr lang="en-US"/>
                </a:p>
              </p:txBody>
            </p:sp>
            <p:sp>
              <p:nvSpPr>
                <p:cNvPr id="87" name="Freeform: Shape 86">
                  <a:extLst>
                    <a:ext uri="{FF2B5EF4-FFF2-40B4-BE49-F238E27FC236}">
                      <a16:creationId xmlns:a16="http://schemas.microsoft.com/office/drawing/2014/main" id="{8B11E872-0914-4EFA-B2AB-CA442602B1D8}"/>
                    </a:ext>
                  </a:extLst>
                </p:cNvPr>
                <p:cNvSpPr/>
                <p:nvPr/>
              </p:nvSpPr>
              <p:spPr>
                <a:xfrm>
                  <a:off x="1814923" y="4174270"/>
                  <a:ext cx="162748" cy="287439"/>
                </a:xfrm>
                <a:custGeom>
                  <a:avLst/>
                  <a:gdLst>
                    <a:gd name="connsiteX0" fmla="*/ 57032 w 162748"/>
                    <a:gd name="connsiteY0" fmla="*/ 18579 h 287439"/>
                    <a:gd name="connsiteX1" fmla="*/ 81434 w 162748"/>
                    <a:gd name="connsiteY1" fmla="*/ 39825 h 287439"/>
                    <a:gd name="connsiteX2" fmla="*/ 76858 w 162748"/>
                    <a:gd name="connsiteY2" fmla="*/ 38773 h 287439"/>
                    <a:gd name="connsiteX3" fmla="*/ 82588 w 162748"/>
                    <a:gd name="connsiteY3" fmla="*/ 43932 h 287439"/>
                    <a:gd name="connsiteX4" fmla="*/ 82841 w 162748"/>
                    <a:gd name="connsiteY4" fmla="*/ 41333 h 287439"/>
                    <a:gd name="connsiteX5" fmla="*/ 87646 w 162748"/>
                    <a:gd name="connsiteY5" fmla="*/ 50942 h 287439"/>
                    <a:gd name="connsiteX6" fmla="*/ 84121 w 162748"/>
                    <a:gd name="connsiteY6" fmla="*/ 51196 h 287439"/>
                    <a:gd name="connsiteX7" fmla="*/ 87113 w 162748"/>
                    <a:gd name="connsiteY7" fmla="*/ 54023 h 287439"/>
                    <a:gd name="connsiteX8" fmla="*/ 88685 w 162748"/>
                    <a:gd name="connsiteY8" fmla="*/ 53072 h 287439"/>
                    <a:gd name="connsiteX9" fmla="*/ 92247 w 162748"/>
                    <a:gd name="connsiteY9" fmla="*/ 61667 h 287439"/>
                    <a:gd name="connsiteX10" fmla="*/ 87126 w 162748"/>
                    <a:gd name="connsiteY10" fmla="*/ 58637 h 287439"/>
                    <a:gd name="connsiteX11" fmla="*/ 90054 w 162748"/>
                    <a:gd name="connsiteY11" fmla="*/ 65862 h 287439"/>
                    <a:gd name="connsiteX12" fmla="*/ 94757 w 162748"/>
                    <a:gd name="connsiteY12" fmla="*/ 63188 h 287439"/>
                    <a:gd name="connsiteX13" fmla="*/ 109386 w 162748"/>
                    <a:gd name="connsiteY13" fmla="*/ 84028 h 287439"/>
                    <a:gd name="connsiteX14" fmla="*/ 111439 w 162748"/>
                    <a:gd name="connsiteY14" fmla="*/ 90594 h 287439"/>
                    <a:gd name="connsiteX15" fmla="*/ 114786 w 162748"/>
                    <a:gd name="connsiteY15" fmla="*/ 95361 h 287439"/>
                    <a:gd name="connsiteX16" fmla="*/ 112973 w 162748"/>
                    <a:gd name="connsiteY16" fmla="*/ 95665 h 287439"/>
                    <a:gd name="connsiteX17" fmla="*/ 112048 w 162748"/>
                    <a:gd name="connsiteY17" fmla="*/ 93358 h 287439"/>
                    <a:gd name="connsiteX18" fmla="*/ 111896 w 162748"/>
                    <a:gd name="connsiteY18" fmla="*/ 98226 h 287439"/>
                    <a:gd name="connsiteX19" fmla="*/ 106242 w 162748"/>
                    <a:gd name="connsiteY19" fmla="*/ 98657 h 287439"/>
                    <a:gd name="connsiteX20" fmla="*/ 117904 w 162748"/>
                    <a:gd name="connsiteY20" fmla="*/ 99607 h 287439"/>
                    <a:gd name="connsiteX21" fmla="*/ 125117 w 162748"/>
                    <a:gd name="connsiteY21" fmla="*/ 108848 h 287439"/>
                    <a:gd name="connsiteX22" fmla="*/ 122379 w 162748"/>
                    <a:gd name="connsiteY22" fmla="*/ 105819 h 287439"/>
                    <a:gd name="connsiteX23" fmla="*/ 128160 w 162748"/>
                    <a:gd name="connsiteY23" fmla="*/ 128155 h 287439"/>
                    <a:gd name="connsiteX24" fmla="*/ 125650 w 162748"/>
                    <a:gd name="connsiteY24" fmla="*/ 121576 h 287439"/>
                    <a:gd name="connsiteX25" fmla="*/ 130682 w 162748"/>
                    <a:gd name="connsiteY25" fmla="*/ 127192 h 287439"/>
                    <a:gd name="connsiteX26" fmla="*/ 135816 w 162748"/>
                    <a:gd name="connsiteY26" fmla="*/ 134772 h 287439"/>
                    <a:gd name="connsiteX27" fmla="*/ 136285 w 162748"/>
                    <a:gd name="connsiteY27" fmla="*/ 136775 h 287439"/>
                    <a:gd name="connsiteX28" fmla="*/ 137794 w 162748"/>
                    <a:gd name="connsiteY28" fmla="*/ 135824 h 287439"/>
                    <a:gd name="connsiteX29" fmla="*/ 140380 w 162748"/>
                    <a:gd name="connsiteY29" fmla="*/ 141909 h 287439"/>
                    <a:gd name="connsiteX30" fmla="*/ 149076 w 162748"/>
                    <a:gd name="connsiteY30" fmla="*/ 157095 h 287439"/>
                    <a:gd name="connsiteX31" fmla="*/ 140380 w 162748"/>
                    <a:gd name="connsiteY31" fmla="*/ 156018 h 287439"/>
                    <a:gd name="connsiteX32" fmla="*/ 148962 w 162748"/>
                    <a:gd name="connsiteY32" fmla="*/ 163712 h 287439"/>
                    <a:gd name="connsiteX33" fmla="*/ 149139 w 162748"/>
                    <a:gd name="connsiteY33" fmla="*/ 162128 h 287439"/>
                    <a:gd name="connsiteX34" fmla="*/ 153361 w 162748"/>
                    <a:gd name="connsiteY34" fmla="*/ 175933 h 287439"/>
                    <a:gd name="connsiteX35" fmla="*/ 155541 w 162748"/>
                    <a:gd name="connsiteY35" fmla="*/ 179368 h 287439"/>
                    <a:gd name="connsiteX36" fmla="*/ 156073 w 162748"/>
                    <a:gd name="connsiteY36" fmla="*/ 179368 h 287439"/>
                    <a:gd name="connsiteX37" fmla="*/ 156999 w 162748"/>
                    <a:gd name="connsiteY37" fmla="*/ 174488 h 287439"/>
                    <a:gd name="connsiteX38" fmla="*/ 153690 w 162748"/>
                    <a:gd name="connsiteY38" fmla="*/ 238415 h 287439"/>
                    <a:gd name="connsiteX39" fmla="*/ 96937 w 162748"/>
                    <a:gd name="connsiteY39" fmla="*/ 276331 h 287439"/>
                    <a:gd name="connsiteX40" fmla="*/ 50427 w 162748"/>
                    <a:gd name="connsiteY40" fmla="*/ 286104 h 287439"/>
                    <a:gd name="connsiteX41" fmla="*/ 24656 w 162748"/>
                    <a:gd name="connsiteY41" fmla="*/ 263236 h 287439"/>
                    <a:gd name="connsiteX42" fmla="*/ 9140 w 162748"/>
                    <a:gd name="connsiteY42" fmla="*/ 194516 h 287439"/>
                    <a:gd name="connsiteX43" fmla="*/ 11650 w 162748"/>
                    <a:gd name="connsiteY43" fmla="*/ 200601 h 287439"/>
                    <a:gd name="connsiteX44" fmla="*/ 6199 w 162748"/>
                    <a:gd name="connsiteY44" fmla="*/ 164955 h 287439"/>
                    <a:gd name="connsiteX45" fmla="*/ 0 w 162748"/>
                    <a:gd name="connsiteY45" fmla="*/ 126114 h 287439"/>
                    <a:gd name="connsiteX46" fmla="*/ 520 w 162748"/>
                    <a:gd name="connsiteY46" fmla="*/ 126621 h 287439"/>
                    <a:gd name="connsiteX47" fmla="*/ 6047 w 162748"/>
                    <a:gd name="connsiteY47" fmla="*/ 109850 h 287439"/>
                    <a:gd name="connsiteX48" fmla="*/ 6047 w 162748"/>
                    <a:gd name="connsiteY48" fmla="*/ 116505 h 287439"/>
                    <a:gd name="connsiteX49" fmla="*/ 9558 w 162748"/>
                    <a:gd name="connsiteY49" fmla="*/ 133682 h 287439"/>
                    <a:gd name="connsiteX50" fmla="*/ 9938 w 162748"/>
                    <a:gd name="connsiteY50" fmla="*/ 112880 h 287439"/>
                    <a:gd name="connsiteX51" fmla="*/ 17887 w 162748"/>
                    <a:gd name="connsiteY51" fmla="*/ 78653 h 287439"/>
                    <a:gd name="connsiteX52" fmla="*/ 20625 w 162748"/>
                    <a:gd name="connsiteY52" fmla="*/ 63594 h 287439"/>
                    <a:gd name="connsiteX53" fmla="*/ 30284 w 162748"/>
                    <a:gd name="connsiteY53" fmla="*/ 47228 h 287439"/>
                    <a:gd name="connsiteX54" fmla="*/ 26557 w 162748"/>
                    <a:gd name="connsiteY54" fmla="*/ 34526 h 287439"/>
                    <a:gd name="connsiteX55" fmla="*/ 36978 w 162748"/>
                    <a:gd name="connsiteY55" fmla="*/ 26591 h 287439"/>
                    <a:gd name="connsiteX56" fmla="*/ 26342 w 162748"/>
                    <a:gd name="connsiteY56" fmla="*/ 17464 h 287439"/>
                    <a:gd name="connsiteX57" fmla="*/ 42327 w 162748"/>
                    <a:gd name="connsiteY57" fmla="*/ 26857 h 287439"/>
                    <a:gd name="connsiteX58" fmla="*/ 53977 w 162748"/>
                    <a:gd name="connsiteY58" fmla="*/ 24613 h 287439"/>
                    <a:gd name="connsiteX59" fmla="*/ 67870 w 162748"/>
                    <a:gd name="connsiteY59" fmla="*/ 28593 h 287439"/>
                    <a:gd name="connsiteX60" fmla="*/ 54433 w 162748"/>
                    <a:gd name="connsiteY60" fmla="*/ 23143 h 287439"/>
                    <a:gd name="connsiteX61" fmla="*/ 35253 w 162748"/>
                    <a:gd name="connsiteY61" fmla="*/ 13585 h 287439"/>
                    <a:gd name="connsiteX62" fmla="*/ 36749 w 162748"/>
                    <a:gd name="connsiteY62" fmla="*/ 18199 h 287439"/>
                    <a:gd name="connsiteX63" fmla="*/ 29372 w 162748"/>
                    <a:gd name="connsiteY63" fmla="*/ 13851 h 287439"/>
                    <a:gd name="connsiteX64" fmla="*/ 32439 w 162748"/>
                    <a:gd name="connsiteY64" fmla="*/ 16919 h 287439"/>
                    <a:gd name="connsiteX65" fmla="*/ 15732 w 162748"/>
                    <a:gd name="connsiteY65" fmla="*/ 4698 h 287439"/>
                    <a:gd name="connsiteX66" fmla="*/ 55219 w 162748"/>
                    <a:gd name="connsiteY66" fmla="*/ 18959 h 287439"/>
                    <a:gd name="connsiteX67" fmla="*/ 32515 w 162748"/>
                    <a:gd name="connsiteY67" fmla="*/ 1313 h 287439"/>
                    <a:gd name="connsiteX68" fmla="*/ 57032 w 162748"/>
                    <a:gd name="connsiteY68" fmla="*/ 18579 h 287439"/>
                    <a:gd name="connsiteX69" fmla="*/ 57032 w 162748"/>
                    <a:gd name="connsiteY69" fmla="*/ 18579 h 28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62748" h="287439">
                      <a:moveTo>
                        <a:pt x="57032" y="18579"/>
                      </a:moveTo>
                      <a:cubicBezTo>
                        <a:pt x="65322" y="25272"/>
                        <a:pt x="74956" y="31332"/>
                        <a:pt x="81434" y="39825"/>
                      </a:cubicBezTo>
                      <a:cubicBezTo>
                        <a:pt x="80281" y="39457"/>
                        <a:pt x="78341" y="39394"/>
                        <a:pt x="76858" y="38773"/>
                      </a:cubicBezTo>
                      <a:cubicBezTo>
                        <a:pt x="78366" y="41017"/>
                        <a:pt x="80458" y="42386"/>
                        <a:pt x="82588" y="43932"/>
                      </a:cubicBezTo>
                      <a:cubicBezTo>
                        <a:pt x="82651" y="42132"/>
                        <a:pt x="82562" y="42487"/>
                        <a:pt x="82841" y="41333"/>
                      </a:cubicBezTo>
                      <a:cubicBezTo>
                        <a:pt x="84362" y="44211"/>
                        <a:pt x="86619" y="47773"/>
                        <a:pt x="87646" y="50942"/>
                      </a:cubicBezTo>
                      <a:cubicBezTo>
                        <a:pt x="87100" y="51018"/>
                        <a:pt x="83906" y="51208"/>
                        <a:pt x="84121" y="51196"/>
                      </a:cubicBezTo>
                      <a:cubicBezTo>
                        <a:pt x="86796" y="52109"/>
                        <a:pt x="86074" y="52045"/>
                        <a:pt x="87113" y="54023"/>
                      </a:cubicBezTo>
                      <a:cubicBezTo>
                        <a:pt x="87874" y="54175"/>
                        <a:pt x="88026" y="52907"/>
                        <a:pt x="88685" y="53072"/>
                      </a:cubicBezTo>
                      <a:cubicBezTo>
                        <a:pt x="90536" y="56000"/>
                        <a:pt x="92184" y="60006"/>
                        <a:pt x="92247" y="61667"/>
                      </a:cubicBezTo>
                      <a:cubicBezTo>
                        <a:pt x="90384" y="60247"/>
                        <a:pt x="89281" y="59828"/>
                        <a:pt x="87126" y="58637"/>
                      </a:cubicBezTo>
                      <a:cubicBezTo>
                        <a:pt x="90510" y="62212"/>
                        <a:pt x="89522" y="63327"/>
                        <a:pt x="90054" y="65862"/>
                      </a:cubicBezTo>
                      <a:cubicBezTo>
                        <a:pt x="92564" y="64645"/>
                        <a:pt x="92019" y="66978"/>
                        <a:pt x="94757" y="63188"/>
                      </a:cubicBezTo>
                      <a:cubicBezTo>
                        <a:pt x="99321" y="71123"/>
                        <a:pt x="106686" y="75484"/>
                        <a:pt x="109386" y="84028"/>
                      </a:cubicBezTo>
                      <a:cubicBezTo>
                        <a:pt x="112213" y="84256"/>
                        <a:pt x="113442" y="86766"/>
                        <a:pt x="111439" y="90594"/>
                      </a:cubicBezTo>
                      <a:cubicBezTo>
                        <a:pt x="112149" y="91304"/>
                        <a:pt x="113480" y="93586"/>
                        <a:pt x="114786" y="95361"/>
                      </a:cubicBezTo>
                      <a:cubicBezTo>
                        <a:pt x="114178" y="95462"/>
                        <a:pt x="113582" y="95563"/>
                        <a:pt x="112973" y="95665"/>
                      </a:cubicBezTo>
                      <a:cubicBezTo>
                        <a:pt x="114913" y="96349"/>
                        <a:pt x="111642" y="93066"/>
                        <a:pt x="112048" y="93358"/>
                      </a:cubicBezTo>
                      <a:cubicBezTo>
                        <a:pt x="112301" y="94664"/>
                        <a:pt x="111832" y="96907"/>
                        <a:pt x="111896" y="98226"/>
                      </a:cubicBezTo>
                      <a:cubicBezTo>
                        <a:pt x="108587" y="97693"/>
                        <a:pt x="107205" y="98555"/>
                        <a:pt x="106242" y="98657"/>
                      </a:cubicBezTo>
                      <a:cubicBezTo>
                        <a:pt x="106736" y="98644"/>
                        <a:pt x="118741" y="99950"/>
                        <a:pt x="117904" y="99607"/>
                      </a:cubicBezTo>
                      <a:cubicBezTo>
                        <a:pt x="120871" y="100799"/>
                        <a:pt x="124813" y="97845"/>
                        <a:pt x="125117" y="108848"/>
                      </a:cubicBezTo>
                      <a:cubicBezTo>
                        <a:pt x="124091" y="108278"/>
                        <a:pt x="123076" y="106643"/>
                        <a:pt x="122379" y="105819"/>
                      </a:cubicBezTo>
                      <a:cubicBezTo>
                        <a:pt x="124407" y="111903"/>
                        <a:pt x="131595" y="120258"/>
                        <a:pt x="128160" y="128155"/>
                      </a:cubicBezTo>
                      <a:cubicBezTo>
                        <a:pt x="127627" y="125772"/>
                        <a:pt x="126220" y="123300"/>
                        <a:pt x="125650" y="121576"/>
                      </a:cubicBezTo>
                      <a:cubicBezTo>
                        <a:pt x="125308" y="126443"/>
                        <a:pt x="127057" y="128928"/>
                        <a:pt x="130682" y="127192"/>
                      </a:cubicBezTo>
                      <a:cubicBezTo>
                        <a:pt x="131646" y="131121"/>
                        <a:pt x="133839" y="134392"/>
                        <a:pt x="135816" y="134772"/>
                      </a:cubicBezTo>
                      <a:cubicBezTo>
                        <a:pt x="136222" y="135342"/>
                        <a:pt x="135652" y="136268"/>
                        <a:pt x="136285" y="136775"/>
                      </a:cubicBezTo>
                      <a:cubicBezTo>
                        <a:pt x="136488" y="136826"/>
                        <a:pt x="137540" y="135938"/>
                        <a:pt x="137794" y="135824"/>
                      </a:cubicBezTo>
                      <a:cubicBezTo>
                        <a:pt x="138757" y="138385"/>
                        <a:pt x="138745" y="139171"/>
                        <a:pt x="140380" y="141909"/>
                      </a:cubicBezTo>
                      <a:cubicBezTo>
                        <a:pt x="138123" y="147106"/>
                        <a:pt x="145996" y="151353"/>
                        <a:pt x="149076" y="157095"/>
                      </a:cubicBezTo>
                      <a:cubicBezTo>
                        <a:pt x="146224" y="154700"/>
                        <a:pt x="143181" y="153064"/>
                        <a:pt x="140380" y="156018"/>
                      </a:cubicBezTo>
                      <a:cubicBezTo>
                        <a:pt x="145134" y="155093"/>
                        <a:pt x="148277" y="158895"/>
                        <a:pt x="148962" y="163712"/>
                      </a:cubicBezTo>
                      <a:cubicBezTo>
                        <a:pt x="149545" y="163269"/>
                        <a:pt x="149608" y="162762"/>
                        <a:pt x="149139" y="162128"/>
                      </a:cubicBezTo>
                      <a:cubicBezTo>
                        <a:pt x="154438" y="165424"/>
                        <a:pt x="153208" y="172142"/>
                        <a:pt x="153361" y="175933"/>
                      </a:cubicBezTo>
                      <a:cubicBezTo>
                        <a:pt x="153335" y="175882"/>
                        <a:pt x="154578" y="176934"/>
                        <a:pt x="155541" y="179368"/>
                      </a:cubicBezTo>
                      <a:cubicBezTo>
                        <a:pt x="155718" y="179368"/>
                        <a:pt x="155896" y="179368"/>
                        <a:pt x="156073" y="179368"/>
                      </a:cubicBezTo>
                      <a:cubicBezTo>
                        <a:pt x="156314" y="177631"/>
                        <a:pt x="156859" y="176098"/>
                        <a:pt x="156999" y="174488"/>
                      </a:cubicBezTo>
                      <a:cubicBezTo>
                        <a:pt x="167736" y="190524"/>
                        <a:pt x="161562" y="222266"/>
                        <a:pt x="153690" y="238415"/>
                      </a:cubicBezTo>
                      <a:cubicBezTo>
                        <a:pt x="142611" y="261284"/>
                        <a:pt x="116497" y="269473"/>
                        <a:pt x="96937" y="276331"/>
                      </a:cubicBezTo>
                      <a:cubicBezTo>
                        <a:pt x="79368" y="282466"/>
                        <a:pt x="68022" y="290693"/>
                        <a:pt x="50427" y="286104"/>
                      </a:cubicBezTo>
                      <a:cubicBezTo>
                        <a:pt x="38321" y="282935"/>
                        <a:pt x="29524" y="276090"/>
                        <a:pt x="24656" y="263236"/>
                      </a:cubicBezTo>
                      <a:cubicBezTo>
                        <a:pt x="17113" y="243207"/>
                        <a:pt x="8417" y="217018"/>
                        <a:pt x="9140" y="194516"/>
                      </a:cubicBezTo>
                      <a:cubicBezTo>
                        <a:pt x="9723" y="196608"/>
                        <a:pt x="10915" y="198979"/>
                        <a:pt x="11650" y="200601"/>
                      </a:cubicBezTo>
                      <a:cubicBezTo>
                        <a:pt x="10598" y="190866"/>
                        <a:pt x="6947" y="177010"/>
                        <a:pt x="6199" y="164955"/>
                      </a:cubicBezTo>
                      <a:cubicBezTo>
                        <a:pt x="5590" y="155143"/>
                        <a:pt x="469" y="138271"/>
                        <a:pt x="0" y="126114"/>
                      </a:cubicBezTo>
                      <a:cubicBezTo>
                        <a:pt x="13" y="126266"/>
                        <a:pt x="672" y="126228"/>
                        <a:pt x="520" y="126621"/>
                      </a:cubicBezTo>
                      <a:cubicBezTo>
                        <a:pt x="-1027" y="119547"/>
                        <a:pt x="3575" y="116188"/>
                        <a:pt x="6047" y="109850"/>
                      </a:cubicBezTo>
                      <a:cubicBezTo>
                        <a:pt x="3638" y="115085"/>
                        <a:pt x="5375" y="113919"/>
                        <a:pt x="6047" y="116505"/>
                      </a:cubicBezTo>
                      <a:cubicBezTo>
                        <a:pt x="2231" y="123617"/>
                        <a:pt x="3182" y="143734"/>
                        <a:pt x="9558" y="133682"/>
                      </a:cubicBezTo>
                      <a:cubicBezTo>
                        <a:pt x="10103" y="132845"/>
                        <a:pt x="9279" y="117228"/>
                        <a:pt x="9938" y="112880"/>
                      </a:cubicBezTo>
                      <a:cubicBezTo>
                        <a:pt x="11954" y="99975"/>
                        <a:pt x="18229" y="91482"/>
                        <a:pt x="17887" y="78653"/>
                      </a:cubicBezTo>
                      <a:cubicBezTo>
                        <a:pt x="17620" y="68740"/>
                        <a:pt x="16657" y="70046"/>
                        <a:pt x="20625" y="63594"/>
                      </a:cubicBezTo>
                      <a:cubicBezTo>
                        <a:pt x="24250" y="57673"/>
                        <a:pt x="29562" y="56000"/>
                        <a:pt x="30284" y="47228"/>
                      </a:cubicBezTo>
                      <a:cubicBezTo>
                        <a:pt x="30703" y="42183"/>
                        <a:pt x="26101" y="36643"/>
                        <a:pt x="26557" y="34526"/>
                      </a:cubicBezTo>
                      <a:cubicBezTo>
                        <a:pt x="27407" y="30356"/>
                        <a:pt x="33314" y="29037"/>
                        <a:pt x="36978" y="26591"/>
                      </a:cubicBezTo>
                      <a:cubicBezTo>
                        <a:pt x="34468" y="22420"/>
                        <a:pt x="30132" y="20240"/>
                        <a:pt x="26342" y="17464"/>
                      </a:cubicBezTo>
                      <a:cubicBezTo>
                        <a:pt x="32325" y="18440"/>
                        <a:pt x="41642" y="26679"/>
                        <a:pt x="42327" y="26857"/>
                      </a:cubicBezTo>
                      <a:cubicBezTo>
                        <a:pt x="46028" y="27769"/>
                        <a:pt x="49413" y="24550"/>
                        <a:pt x="53977" y="24613"/>
                      </a:cubicBezTo>
                      <a:cubicBezTo>
                        <a:pt x="58667" y="24664"/>
                        <a:pt x="63408" y="27376"/>
                        <a:pt x="67870" y="28593"/>
                      </a:cubicBezTo>
                      <a:cubicBezTo>
                        <a:pt x="62901" y="25031"/>
                        <a:pt x="58350" y="24854"/>
                        <a:pt x="54433" y="23143"/>
                      </a:cubicBezTo>
                      <a:cubicBezTo>
                        <a:pt x="48500" y="20582"/>
                        <a:pt x="42111" y="15448"/>
                        <a:pt x="35253" y="13585"/>
                      </a:cubicBezTo>
                      <a:cubicBezTo>
                        <a:pt x="35900" y="15068"/>
                        <a:pt x="36255" y="17172"/>
                        <a:pt x="36749" y="18199"/>
                      </a:cubicBezTo>
                      <a:cubicBezTo>
                        <a:pt x="34658" y="16944"/>
                        <a:pt x="31400" y="15676"/>
                        <a:pt x="29372" y="13851"/>
                      </a:cubicBezTo>
                      <a:cubicBezTo>
                        <a:pt x="30348" y="14928"/>
                        <a:pt x="31400" y="15904"/>
                        <a:pt x="32439" y="16919"/>
                      </a:cubicBezTo>
                      <a:cubicBezTo>
                        <a:pt x="25594" y="15347"/>
                        <a:pt x="17709" y="10872"/>
                        <a:pt x="15732" y="4698"/>
                      </a:cubicBezTo>
                      <a:cubicBezTo>
                        <a:pt x="28788" y="-10374"/>
                        <a:pt x="43265" y="15321"/>
                        <a:pt x="55219" y="18959"/>
                      </a:cubicBezTo>
                      <a:cubicBezTo>
                        <a:pt x="47778" y="13331"/>
                        <a:pt x="39957" y="5902"/>
                        <a:pt x="32515" y="1313"/>
                      </a:cubicBezTo>
                      <a:cubicBezTo>
                        <a:pt x="43633" y="-4264"/>
                        <a:pt x="48082" y="14041"/>
                        <a:pt x="57032" y="18579"/>
                      </a:cubicBezTo>
                      <a:lnTo>
                        <a:pt x="57032" y="18579"/>
                      </a:lnTo>
                      <a:close/>
                    </a:path>
                  </a:pathLst>
                </a:custGeom>
                <a:solidFill>
                  <a:srgbClr val="D6D6D2"/>
                </a:solidFill>
                <a:ln w="12413" cap="rnd">
                  <a:solidFill>
                    <a:srgbClr val="FFFFFF"/>
                  </a:solidFill>
                  <a:prstDash val="solid"/>
                  <a:round/>
                </a:ln>
              </p:spPr>
              <p:txBody>
                <a:bodyPr rtlCol="0" anchor="ctr"/>
                <a:lstStyle/>
                <a:p>
                  <a:endParaRPr lang="en-US"/>
                </a:p>
              </p:txBody>
            </p:sp>
            <p:sp>
              <p:nvSpPr>
                <p:cNvPr id="88" name="Freeform: Shape 87">
                  <a:extLst>
                    <a:ext uri="{FF2B5EF4-FFF2-40B4-BE49-F238E27FC236}">
                      <a16:creationId xmlns:a16="http://schemas.microsoft.com/office/drawing/2014/main" id="{5043A7D7-A859-4BC2-80EB-CB2D3E84F3CB}"/>
                    </a:ext>
                  </a:extLst>
                </p:cNvPr>
                <p:cNvSpPr/>
                <p:nvPr/>
              </p:nvSpPr>
              <p:spPr>
                <a:xfrm>
                  <a:off x="3322997" y="3218013"/>
                  <a:ext cx="557942" cy="652679"/>
                </a:xfrm>
                <a:custGeom>
                  <a:avLst/>
                  <a:gdLst>
                    <a:gd name="connsiteX0" fmla="*/ 149470 w 557942"/>
                    <a:gd name="connsiteY0" fmla="*/ 7034 h 652679"/>
                    <a:gd name="connsiteX1" fmla="*/ 175482 w 557942"/>
                    <a:gd name="connsiteY1" fmla="*/ 37382 h 652679"/>
                    <a:gd name="connsiteX2" fmla="*/ 183279 w 557942"/>
                    <a:gd name="connsiteY2" fmla="*/ 44405 h 652679"/>
                    <a:gd name="connsiteX3" fmla="*/ 187487 w 557942"/>
                    <a:gd name="connsiteY3" fmla="*/ 60820 h 652679"/>
                    <a:gd name="connsiteX4" fmla="*/ 200316 w 557942"/>
                    <a:gd name="connsiteY4" fmla="*/ 50375 h 652679"/>
                    <a:gd name="connsiteX5" fmla="*/ 203992 w 557942"/>
                    <a:gd name="connsiteY5" fmla="*/ 60466 h 652679"/>
                    <a:gd name="connsiteX6" fmla="*/ 211762 w 557942"/>
                    <a:gd name="connsiteY6" fmla="*/ 64712 h 652679"/>
                    <a:gd name="connsiteX7" fmla="*/ 203523 w 557942"/>
                    <a:gd name="connsiteY7" fmla="*/ 82003 h 652679"/>
                    <a:gd name="connsiteX8" fmla="*/ 208568 w 557942"/>
                    <a:gd name="connsiteY8" fmla="*/ 80114 h 652679"/>
                    <a:gd name="connsiteX9" fmla="*/ 199923 w 557942"/>
                    <a:gd name="connsiteY9" fmla="*/ 95123 h 652679"/>
                    <a:gd name="connsiteX10" fmla="*/ 222081 w 557942"/>
                    <a:gd name="connsiteY10" fmla="*/ 123519 h 652679"/>
                    <a:gd name="connsiteX11" fmla="*/ 240703 w 557942"/>
                    <a:gd name="connsiteY11" fmla="*/ 130947 h 652679"/>
                    <a:gd name="connsiteX12" fmla="*/ 245799 w 557942"/>
                    <a:gd name="connsiteY12" fmla="*/ 128678 h 652679"/>
                    <a:gd name="connsiteX13" fmla="*/ 252796 w 557942"/>
                    <a:gd name="connsiteY13" fmla="*/ 134230 h 652679"/>
                    <a:gd name="connsiteX14" fmla="*/ 267019 w 557942"/>
                    <a:gd name="connsiteY14" fmla="*/ 138540 h 652679"/>
                    <a:gd name="connsiteX15" fmla="*/ 273079 w 557942"/>
                    <a:gd name="connsiteY15" fmla="*/ 126383 h 652679"/>
                    <a:gd name="connsiteX16" fmla="*/ 308446 w 557942"/>
                    <a:gd name="connsiteY16" fmla="*/ 122657 h 652679"/>
                    <a:gd name="connsiteX17" fmla="*/ 323747 w 557942"/>
                    <a:gd name="connsiteY17" fmla="*/ 136322 h 652679"/>
                    <a:gd name="connsiteX18" fmla="*/ 333457 w 557942"/>
                    <a:gd name="connsiteY18" fmla="*/ 143941 h 652679"/>
                    <a:gd name="connsiteX19" fmla="*/ 321453 w 557942"/>
                    <a:gd name="connsiteY19" fmla="*/ 150418 h 652679"/>
                    <a:gd name="connsiteX20" fmla="*/ 315152 w 557942"/>
                    <a:gd name="connsiteY20" fmla="*/ 157694 h 652679"/>
                    <a:gd name="connsiteX21" fmla="*/ 339479 w 557942"/>
                    <a:gd name="connsiteY21" fmla="*/ 167988 h 652679"/>
                    <a:gd name="connsiteX22" fmla="*/ 336778 w 557942"/>
                    <a:gd name="connsiteY22" fmla="*/ 173705 h 652679"/>
                    <a:gd name="connsiteX23" fmla="*/ 349125 w 557942"/>
                    <a:gd name="connsiteY23" fmla="*/ 174453 h 652679"/>
                    <a:gd name="connsiteX24" fmla="*/ 358671 w 557942"/>
                    <a:gd name="connsiteY24" fmla="*/ 188803 h 652679"/>
                    <a:gd name="connsiteX25" fmla="*/ 344435 w 557942"/>
                    <a:gd name="connsiteY25" fmla="*/ 201543 h 652679"/>
                    <a:gd name="connsiteX26" fmla="*/ 332025 w 557942"/>
                    <a:gd name="connsiteY26" fmla="*/ 220722 h 652679"/>
                    <a:gd name="connsiteX27" fmla="*/ 318258 w 557942"/>
                    <a:gd name="connsiteY27" fmla="*/ 217021 h 652679"/>
                    <a:gd name="connsiteX28" fmla="*/ 302590 w 557942"/>
                    <a:gd name="connsiteY28" fmla="*/ 214625 h 652679"/>
                    <a:gd name="connsiteX29" fmla="*/ 288620 w 557942"/>
                    <a:gd name="connsiteY29" fmla="*/ 215791 h 652679"/>
                    <a:gd name="connsiteX30" fmla="*/ 295529 w 557942"/>
                    <a:gd name="connsiteY30" fmla="*/ 229925 h 652679"/>
                    <a:gd name="connsiteX31" fmla="*/ 277364 w 557942"/>
                    <a:gd name="connsiteY31" fmla="*/ 244846 h 652679"/>
                    <a:gd name="connsiteX32" fmla="*/ 328805 w 557942"/>
                    <a:gd name="connsiteY32" fmla="*/ 274826 h 652679"/>
                    <a:gd name="connsiteX33" fmla="*/ 355793 w 557942"/>
                    <a:gd name="connsiteY33" fmla="*/ 287109 h 652679"/>
                    <a:gd name="connsiteX34" fmla="*/ 369902 w 557942"/>
                    <a:gd name="connsiteY34" fmla="*/ 290418 h 652679"/>
                    <a:gd name="connsiteX35" fmla="*/ 371436 w 557942"/>
                    <a:gd name="connsiteY35" fmla="*/ 298924 h 652679"/>
                    <a:gd name="connsiteX36" fmla="*/ 372082 w 557942"/>
                    <a:gd name="connsiteY36" fmla="*/ 313806 h 652679"/>
                    <a:gd name="connsiteX37" fmla="*/ 379955 w 557942"/>
                    <a:gd name="connsiteY37" fmla="*/ 324847 h 652679"/>
                    <a:gd name="connsiteX38" fmla="*/ 385076 w 557942"/>
                    <a:gd name="connsiteY38" fmla="*/ 330045 h 652679"/>
                    <a:gd name="connsiteX39" fmla="*/ 393582 w 557942"/>
                    <a:gd name="connsiteY39" fmla="*/ 328498 h 652679"/>
                    <a:gd name="connsiteX40" fmla="*/ 405219 w 557942"/>
                    <a:gd name="connsiteY40" fmla="*/ 343634 h 652679"/>
                    <a:gd name="connsiteX41" fmla="*/ 412001 w 557942"/>
                    <a:gd name="connsiteY41" fmla="*/ 361001 h 652679"/>
                    <a:gd name="connsiteX42" fmla="*/ 425032 w 557942"/>
                    <a:gd name="connsiteY42" fmla="*/ 374273 h 652679"/>
                    <a:gd name="connsiteX43" fmla="*/ 446950 w 557942"/>
                    <a:gd name="connsiteY43" fmla="*/ 397382 h 652679"/>
                    <a:gd name="connsiteX44" fmla="*/ 457560 w 557942"/>
                    <a:gd name="connsiteY44" fmla="*/ 399423 h 652679"/>
                    <a:gd name="connsiteX45" fmla="*/ 475206 w 557942"/>
                    <a:gd name="connsiteY45" fmla="*/ 420365 h 652679"/>
                    <a:gd name="connsiteX46" fmla="*/ 477919 w 557942"/>
                    <a:gd name="connsiteY46" fmla="*/ 447848 h 652679"/>
                    <a:gd name="connsiteX47" fmla="*/ 484054 w 557942"/>
                    <a:gd name="connsiteY47" fmla="*/ 451689 h 652679"/>
                    <a:gd name="connsiteX48" fmla="*/ 486437 w 557942"/>
                    <a:gd name="connsiteY48" fmla="*/ 461880 h 652679"/>
                    <a:gd name="connsiteX49" fmla="*/ 499697 w 557942"/>
                    <a:gd name="connsiteY49" fmla="*/ 463807 h 652679"/>
                    <a:gd name="connsiteX50" fmla="*/ 506834 w 557942"/>
                    <a:gd name="connsiteY50" fmla="*/ 470577 h 652679"/>
                    <a:gd name="connsiteX51" fmla="*/ 519016 w 557942"/>
                    <a:gd name="connsiteY51" fmla="*/ 475913 h 652679"/>
                    <a:gd name="connsiteX52" fmla="*/ 530729 w 557942"/>
                    <a:gd name="connsiteY52" fmla="*/ 488729 h 652679"/>
                    <a:gd name="connsiteX53" fmla="*/ 542620 w 557942"/>
                    <a:gd name="connsiteY53" fmla="*/ 493103 h 652679"/>
                    <a:gd name="connsiteX54" fmla="*/ 527826 w 557942"/>
                    <a:gd name="connsiteY54" fmla="*/ 505982 h 652679"/>
                    <a:gd name="connsiteX55" fmla="*/ 526990 w 557942"/>
                    <a:gd name="connsiteY55" fmla="*/ 516465 h 652679"/>
                    <a:gd name="connsiteX56" fmla="*/ 546549 w 557942"/>
                    <a:gd name="connsiteY56" fmla="*/ 535683 h 652679"/>
                    <a:gd name="connsiteX57" fmla="*/ 554549 w 557942"/>
                    <a:gd name="connsiteY57" fmla="*/ 545482 h 652679"/>
                    <a:gd name="connsiteX58" fmla="*/ 556488 w 557942"/>
                    <a:gd name="connsiteY58" fmla="*/ 556283 h 652679"/>
                    <a:gd name="connsiteX59" fmla="*/ 549934 w 557942"/>
                    <a:gd name="connsiteY59" fmla="*/ 566589 h 652679"/>
                    <a:gd name="connsiteX60" fmla="*/ 543241 w 557942"/>
                    <a:gd name="connsiteY60" fmla="*/ 568934 h 652679"/>
                    <a:gd name="connsiteX61" fmla="*/ 548692 w 557942"/>
                    <a:gd name="connsiteY61" fmla="*/ 576552 h 652679"/>
                    <a:gd name="connsiteX62" fmla="*/ 548375 w 557942"/>
                    <a:gd name="connsiteY62" fmla="*/ 590814 h 652679"/>
                    <a:gd name="connsiteX63" fmla="*/ 542202 w 557942"/>
                    <a:gd name="connsiteY63" fmla="*/ 602666 h 652679"/>
                    <a:gd name="connsiteX64" fmla="*/ 530539 w 557942"/>
                    <a:gd name="connsiteY64" fmla="*/ 601538 h 652679"/>
                    <a:gd name="connsiteX65" fmla="*/ 523123 w 557942"/>
                    <a:gd name="connsiteY65" fmla="*/ 609144 h 652679"/>
                    <a:gd name="connsiteX66" fmla="*/ 516595 w 557942"/>
                    <a:gd name="connsiteY66" fmla="*/ 615330 h 652679"/>
                    <a:gd name="connsiteX67" fmla="*/ 511829 w 557942"/>
                    <a:gd name="connsiteY67" fmla="*/ 613796 h 652679"/>
                    <a:gd name="connsiteX68" fmla="*/ 501903 w 557942"/>
                    <a:gd name="connsiteY68" fmla="*/ 620261 h 652679"/>
                    <a:gd name="connsiteX69" fmla="*/ 474344 w 557942"/>
                    <a:gd name="connsiteY69" fmla="*/ 601170 h 652679"/>
                    <a:gd name="connsiteX70" fmla="*/ 472290 w 557942"/>
                    <a:gd name="connsiteY70" fmla="*/ 606152 h 652679"/>
                    <a:gd name="connsiteX71" fmla="*/ 453453 w 557942"/>
                    <a:gd name="connsiteY71" fmla="*/ 608649 h 652679"/>
                    <a:gd name="connsiteX72" fmla="*/ 434540 w 557942"/>
                    <a:gd name="connsiteY72" fmla="*/ 618017 h 652679"/>
                    <a:gd name="connsiteX73" fmla="*/ 442057 w 557942"/>
                    <a:gd name="connsiteY73" fmla="*/ 632380 h 652679"/>
                    <a:gd name="connsiteX74" fmla="*/ 446963 w 557942"/>
                    <a:gd name="connsiteY74" fmla="*/ 642813 h 652679"/>
                    <a:gd name="connsiteX75" fmla="*/ 441575 w 557942"/>
                    <a:gd name="connsiteY75" fmla="*/ 651711 h 652679"/>
                    <a:gd name="connsiteX76" fmla="*/ 421508 w 557942"/>
                    <a:gd name="connsiteY76" fmla="*/ 645348 h 652679"/>
                    <a:gd name="connsiteX77" fmla="*/ 407843 w 557942"/>
                    <a:gd name="connsiteY77" fmla="*/ 637070 h 652679"/>
                    <a:gd name="connsiteX78" fmla="*/ 402215 w 557942"/>
                    <a:gd name="connsiteY78" fmla="*/ 633305 h 652679"/>
                    <a:gd name="connsiteX79" fmla="*/ 393721 w 557942"/>
                    <a:gd name="connsiteY79" fmla="*/ 637374 h 652679"/>
                    <a:gd name="connsiteX80" fmla="*/ 377141 w 557942"/>
                    <a:gd name="connsiteY80" fmla="*/ 625218 h 652679"/>
                    <a:gd name="connsiteX81" fmla="*/ 397981 w 557942"/>
                    <a:gd name="connsiteY81" fmla="*/ 606697 h 652679"/>
                    <a:gd name="connsiteX82" fmla="*/ 406385 w 557942"/>
                    <a:gd name="connsiteY82" fmla="*/ 571063 h 652679"/>
                    <a:gd name="connsiteX83" fmla="*/ 395661 w 557942"/>
                    <a:gd name="connsiteY83" fmla="*/ 562646 h 652679"/>
                    <a:gd name="connsiteX84" fmla="*/ 404281 w 557942"/>
                    <a:gd name="connsiteY84" fmla="*/ 548385 h 652679"/>
                    <a:gd name="connsiteX85" fmla="*/ 398031 w 557942"/>
                    <a:gd name="connsiteY85" fmla="*/ 544519 h 652679"/>
                    <a:gd name="connsiteX86" fmla="*/ 406043 w 557942"/>
                    <a:gd name="connsiteY86" fmla="*/ 538535 h 652679"/>
                    <a:gd name="connsiteX87" fmla="*/ 406195 w 557942"/>
                    <a:gd name="connsiteY87" fmla="*/ 515021 h 652679"/>
                    <a:gd name="connsiteX88" fmla="*/ 389183 w 557942"/>
                    <a:gd name="connsiteY88" fmla="*/ 501178 h 652679"/>
                    <a:gd name="connsiteX89" fmla="*/ 381603 w 557942"/>
                    <a:gd name="connsiteY89" fmla="*/ 491417 h 652679"/>
                    <a:gd name="connsiteX90" fmla="*/ 355730 w 557942"/>
                    <a:gd name="connsiteY90" fmla="*/ 468447 h 652679"/>
                    <a:gd name="connsiteX91" fmla="*/ 344777 w 557942"/>
                    <a:gd name="connsiteY91" fmla="*/ 432585 h 652679"/>
                    <a:gd name="connsiteX92" fmla="*/ 345196 w 557942"/>
                    <a:gd name="connsiteY92" fmla="*/ 385923 h 652679"/>
                    <a:gd name="connsiteX93" fmla="*/ 323075 w 557942"/>
                    <a:gd name="connsiteY93" fmla="*/ 370077 h 652679"/>
                    <a:gd name="connsiteX94" fmla="*/ 309613 w 557942"/>
                    <a:gd name="connsiteY94" fmla="*/ 354460 h 652679"/>
                    <a:gd name="connsiteX95" fmla="*/ 296442 w 557942"/>
                    <a:gd name="connsiteY95" fmla="*/ 334177 h 652679"/>
                    <a:gd name="connsiteX96" fmla="*/ 288177 w 557942"/>
                    <a:gd name="connsiteY96" fmla="*/ 319396 h 652679"/>
                    <a:gd name="connsiteX97" fmla="*/ 281370 w 557942"/>
                    <a:gd name="connsiteY97" fmla="*/ 320524 h 652679"/>
                    <a:gd name="connsiteX98" fmla="*/ 237369 w 557942"/>
                    <a:gd name="connsiteY98" fmla="*/ 311397 h 652679"/>
                    <a:gd name="connsiteX99" fmla="*/ 235404 w 557942"/>
                    <a:gd name="connsiteY99" fmla="*/ 322654 h 652679"/>
                    <a:gd name="connsiteX100" fmla="*/ 226708 w 557942"/>
                    <a:gd name="connsiteY100" fmla="*/ 325278 h 652679"/>
                    <a:gd name="connsiteX101" fmla="*/ 221283 w 557942"/>
                    <a:gd name="connsiteY101" fmla="*/ 333556 h 652679"/>
                    <a:gd name="connsiteX102" fmla="*/ 221536 w 557942"/>
                    <a:gd name="connsiteY102" fmla="*/ 333062 h 652679"/>
                    <a:gd name="connsiteX103" fmla="*/ 219901 w 557942"/>
                    <a:gd name="connsiteY103" fmla="*/ 341453 h 652679"/>
                    <a:gd name="connsiteX104" fmla="*/ 210748 w 557942"/>
                    <a:gd name="connsiteY104" fmla="*/ 342975 h 652679"/>
                    <a:gd name="connsiteX105" fmla="*/ 191239 w 557942"/>
                    <a:gd name="connsiteY105" fmla="*/ 358199 h 652679"/>
                    <a:gd name="connsiteX106" fmla="*/ 185091 w 557942"/>
                    <a:gd name="connsiteY106" fmla="*/ 347183 h 652679"/>
                    <a:gd name="connsiteX107" fmla="*/ 170716 w 557942"/>
                    <a:gd name="connsiteY107" fmla="*/ 343799 h 652679"/>
                    <a:gd name="connsiteX108" fmla="*/ 152779 w 557942"/>
                    <a:gd name="connsiteY108" fmla="*/ 328181 h 652679"/>
                    <a:gd name="connsiteX109" fmla="*/ 142992 w 557942"/>
                    <a:gd name="connsiteY109" fmla="*/ 331110 h 652679"/>
                    <a:gd name="connsiteX110" fmla="*/ 133295 w 557942"/>
                    <a:gd name="connsiteY110" fmla="*/ 341060 h 652679"/>
                    <a:gd name="connsiteX111" fmla="*/ 127869 w 557942"/>
                    <a:gd name="connsiteY111" fmla="*/ 339425 h 652679"/>
                    <a:gd name="connsiteX112" fmla="*/ 124041 w 557942"/>
                    <a:gd name="connsiteY112" fmla="*/ 339311 h 652679"/>
                    <a:gd name="connsiteX113" fmla="*/ 120986 w 557942"/>
                    <a:gd name="connsiteY113" fmla="*/ 348920 h 652679"/>
                    <a:gd name="connsiteX114" fmla="*/ 109539 w 557942"/>
                    <a:gd name="connsiteY114" fmla="*/ 353788 h 652679"/>
                    <a:gd name="connsiteX115" fmla="*/ 106294 w 557942"/>
                    <a:gd name="connsiteY115" fmla="*/ 358237 h 652679"/>
                    <a:gd name="connsiteX116" fmla="*/ 107954 w 557942"/>
                    <a:gd name="connsiteY116" fmla="*/ 359543 h 652679"/>
                    <a:gd name="connsiteX117" fmla="*/ 101464 w 557942"/>
                    <a:gd name="connsiteY117" fmla="*/ 364994 h 652679"/>
                    <a:gd name="connsiteX118" fmla="*/ 95075 w 557942"/>
                    <a:gd name="connsiteY118" fmla="*/ 364968 h 652679"/>
                    <a:gd name="connsiteX119" fmla="*/ 76174 w 557942"/>
                    <a:gd name="connsiteY119" fmla="*/ 384553 h 652679"/>
                    <a:gd name="connsiteX120" fmla="*/ 63853 w 557942"/>
                    <a:gd name="connsiteY120" fmla="*/ 377784 h 652679"/>
                    <a:gd name="connsiteX121" fmla="*/ 59137 w 557942"/>
                    <a:gd name="connsiteY121" fmla="*/ 373246 h 652679"/>
                    <a:gd name="connsiteX122" fmla="*/ 63751 w 557942"/>
                    <a:gd name="connsiteY122" fmla="*/ 363054 h 652679"/>
                    <a:gd name="connsiteX123" fmla="*/ 74793 w 557942"/>
                    <a:gd name="connsiteY123" fmla="*/ 343406 h 652679"/>
                    <a:gd name="connsiteX124" fmla="*/ 78139 w 557942"/>
                    <a:gd name="connsiteY124" fmla="*/ 327889 h 652679"/>
                    <a:gd name="connsiteX125" fmla="*/ 76276 w 557942"/>
                    <a:gd name="connsiteY125" fmla="*/ 322401 h 652679"/>
                    <a:gd name="connsiteX126" fmla="*/ 78076 w 557942"/>
                    <a:gd name="connsiteY126" fmla="*/ 319739 h 652679"/>
                    <a:gd name="connsiteX127" fmla="*/ 72967 w 557942"/>
                    <a:gd name="connsiteY127" fmla="*/ 316126 h 652679"/>
                    <a:gd name="connsiteX128" fmla="*/ 73728 w 557942"/>
                    <a:gd name="connsiteY128" fmla="*/ 304337 h 652679"/>
                    <a:gd name="connsiteX129" fmla="*/ 84579 w 557942"/>
                    <a:gd name="connsiteY129" fmla="*/ 292560 h 652679"/>
                    <a:gd name="connsiteX130" fmla="*/ 83590 w 557942"/>
                    <a:gd name="connsiteY130" fmla="*/ 283940 h 652679"/>
                    <a:gd name="connsiteX131" fmla="*/ 86594 w 557942"/>
                    <a:gd name="connsiteY131" fmla="*/ 272709 h 652679"/>
                    <a:gd name="connsiteX132" fmla="*/ 83641 w 557942"/>
                    <a:gd name="connsiteY132" fmla="*/ 255405 h 652679"/>
                    <a:gd name="connsiteX133" fmla="*/ 79698 w 557942"/>
                    <a:gd name="connsiteY133" fmla="*/ 238241 h 652679"/>
                    <a:gd name="connsiteX134" fmla="*/ 85390 w 557942"/>
                    <a:gd name="connsiteY134" fmla="*/ 224982 h 652679"/>
                    <a:gd name="connsiteX135" fmla="*/ 55879 w 557942"/>
                    <a:gd name="connsiteY135" fmla="*/ 222877 h 652679"/>
                    <a:gd name="connsiteX136" fmla="*/ 46803 w 557942"/>
                    <a:gd name="connsiteY136" fmla="*/ 229215 h 652679"/>
                    <a:gd name="connsiteX137" fmla="*/ 36231 w 557942"/>
                    <a:gd name="connsiteY137" fmla="*/ 227606 h 652679"/>
                    <a:gd name="connsiteX138" fmla="*/ 24188 w 557942"/>
                    <a:gd name="connsiteY138" fmla="*/ 219822 h 652679"/>
                    <a:gd name="connsiteX139" fmla="*/ 33328 w 557942"/>
                    <a:gd name="connsiteY139" fmla="*/ 178522 h 652679"/>
                    <a:gd name="connsiteX140" fmla="*/ 11829 w 557942"/>
                    <a:gd name="connsiteY140" fmla="*/ 162106 h 652679"/>
                    <a:gd name="connsiteX141" fmla="*/ 90 w 557942"/>
                    <a:gd name="connsiteY141" fmla="*/ 164705 h 652679"/>
                    <a:gd name="connsiteX142" fmla="*/ 12285 w 557942"/>
                    <a:gd name="connsiteY142" fmla="*/ 134141 h 652679"/>
                    <a:gd name="connsiteX143" fmla="*/ 41111 w 557942"/>
                    <a:gd name="connsiteY143" fmla="*/ 123721 h 652679"/>
                    <a:gd name="connsiteX144" fmla="*/ 33087 w 557942"/>
                    <a:gd name="connsiteY144" fmla="*/ 112629 h 652679"/>
                    <a:gd name="connsiteX145" fmla="*/ 49731 w 557942"/>
                    <a:gd name="connsiteY145" fmla="*/ 91168 h 652679"/>
                    <a:gd name="connsiteX146" fmla="*/ 78570 w 557942"/>
                    <a:gd name="connsiteY146" fmla="*/ 72242 h 652679"/>
                    <a:gd name="connsiteX147" fmla="*/ 83109 w 557942"/>
                    <a:gd name="connsiteY147" fmla="*/ 96784 h 652679"/>
                    <a:gd name="connsiteX148" fmla="*/ 109818 w 557942"/>
                    <a:gd name="connsiteY148" fmla="*/ 101246 h 652679"/>
                    <a:gd name="connsiteX149" fmla="*/ 123027 w 557942"/>
                    <a:gd name="connsiteY149" fmla="*/ 99661 h 652679"/>
                    <a:gd name="connsiteX150" fmla="*/ 119947 w 557942"/>
                    <a:gd name="connsiteY150" fmla="*/ 90712 h 652679"/>
                    <a:gd name="connsiteX151" fmla="*/ 124307 w 557942"/>
                    <a:gd name="connsiteY151" fmla="*/ 69833 h 652679"/>
                    <a:gd name="connsiteX152" fmla="*/ 120644 w 557942"/>
                    <a:gd name="connsiteY152" fmla="*/ 58361 h 652679"/>
                    <a:gd name="connsiteX153" fmla="*/ 119921 w 557942"/>
                    <a:gd name="connsiteY153" fmla="*/ 49272 h 652679"/>
                    <a:gd name="connsiteX154" fmla="*/ 115345 w 557942"/>
                    <a:gd name="connsiteY154" fmla="*/ 42693 h 652679"/>
                    <a:gd name="connsiteX155" fmla="*/ 108690 w 557942"/>
                    <a:gd name="connsiteY155" fmla="*/ 26214 h 652679"/>
                    <a:gd name="connsiteX156" fmla="*/ 105495 w 557942"/>
                    <a:gd name="connsiteY156" fmla="*/ 18113 h 652679"/>
                    <a:gd name="connsiteX157" fmla="*/ 111631 w 557942"/>
                    <a:gd name="connsiteY157" fmla="*/ 15768 h 652679"/>
                    <a:gd name="connsiteX158" fmla="*/ 116613 w 557942"/>
                    <a:gd name="connsiteY158" fmla="*/ 1735 h 652679"/>
                    <a:gd name="connsiteX159" fmla="*/ 124282 w 557942"/>
                    <a:gd name="connsiteY159" fmla="*/ 835 h 652679"/>
                    <a:gd name="connsiteX160" fmla="*/ 129112 w 557942"/>
                    <a:gd name="connsiteY160" fmla="*/ 8175 h 652679"/>
                    <a:gd name="connsiteX161" fmla="*/ 131951 w 557942"/>
                    <a:gd name="connsiteY161" fmla="*/ 6324 h 652679"/>
                    <a:gd name="connsiteX162" fmla="*/ 149470 w 557942"/>
                    <a:gd name="connsiteY162" fmla="*/ 7034 h 652679"/>
                    <a:gd name="connsiteX163" fmla="*/ 149470 w 557942"/>
                    <a:gd name="connsiteY163" fmla="*/ 7034 h 65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57942" h="652679">
                      <a:moveTo>
                        <a:pt x="149470" y="7034"/>
                      </a:moveTo>
                      <a:cubicBezTo>
                        <a:pt x="153184" y="19305"/>
                        <a:pt x="168586" y="29294"/>
                        <a:pt x="175482" y="37382"/>
                      </a:cubicBezTo>
                      <a:cubicBezTo>
                        <a:pt x="176978" y="39156"/>
                        <a:pt x="181719" y="42249"/>
                        <a:pt x="183279" y="44405"/>
                      </a:cubicBezTo>
                      <a:cubicBezTo>
                        <a:pt x="186232" y="48588"/>
                        <a:pt x="185129" y="58196"/>
                        <a:pt x="187487" y="60820"/>
                      </a:cubicBezTo>
                      <a:cubicBezTo>
                        <a:pt x="195283" y="69567"/>
                        <a:pt x="198224" y="57360"/>
                        <a:pt x="200316" y="50375"/>
                      </a:cubicBezTo>
                      <a:cubicBezTo>
                        <a:pt x="201900" y="53595"/>
                        <a:pt x="201976" y="58082"/>
                        <a:pt x="203992" y="60466"/>
                      </a:cubicBezTo>
                      <a:cubicBezTo>
                        <a:pt x="209570" y="67121"/>
                        <a:pt x="209544" y="49957"/>
                        <a:pt x="211762" y="64712"/>
                      </a:cubicBezTo>
                      <a:cubicBezTo>
                        <a:pt x="213017" y="73180"/>
                        <a:pt x="207795" y="74347"/>
                        <a:pt x="203523" y="82003"/>
                      </a:cubicBezTo>
                      <a:cubicBezTo>
                        <a:pt x="205247" y="80964"/>
                        <a:pt x="207047" y="80761"/>
                        <a:pt x="208568" y="80114"/>
                      </a:cubicBezTo>
                      <a:cubicBezTo>
                        <a:pt x="204702" y="85857"/>
                        <a:pt x="206857" y="92182"/>
                        <a:pt x="199923" y="95123"/>
                      </a:cubicBezTo>
                      <a:cubicBezTo>
                        <a:pt x="208467" y="94502"/>
                        <a:pt x="215299" y="117269"/>
                        <a:pt x="222081" y="123519"/>
                      </a:cubicBezTo>
                      <a:cubicBezTo>
                        <a:pt x="226670" y="127778"/>
                        <a:pt x="234606" y="129667"/>
                        <a:pt x="240703" y="130947"/>
                      </a:cubicBezTo>
                      <a:cubicBezTo>
                        <a:pt x="242174" y="131264"/>
                        <a:pt x="245596" y="128602"/>
                        <a:pt x="245799" y="128678"/>
                      </a:cubicBezTo>
                      <a:cubicBezTo>
                        <a:pt x="248448" y="129540"/>
                        <a:pt x="250033" y="132760"/>
                        <a:pt x="252796" y="134230"/>
                      </a:cubicBezTo>
                      <a:cubicBezTo>
                        <a:pt x="259401" y="137780"/>
                        <a:pt x="262951" y="141101"/>
                        <a:pt x="267019" y="138540"/>
                      </a:cubicBezTo>
                      <a:cubicBezTo>
                        <a:pt x="269973" y="136690"/>
                        <a:pt x="269377" y="129299"/>
                        <a:pt x="273079" y="126383"/>
                      </a:cubicBezTo>
                      <a:cubicBezTo>
                        <a:pt x="282472" y="118943"/>
                        <a:pt x="299535" y="116889"/>
                        <a:pt x="308446" y="122657"/>
                      </a:cubicBezTo>
                      <a:cubicBezTo>
                        <a:pt x="314303" y="126460"/>
                        <a:pt x="318676" y="133102"/>
                        <a:pt x="323747" y="136322"/>
                      </a:cubicBezTo>
                      <a:cubicBezTo>
                        <a:pt x="327664" y="138832"/>
                        <a:pt x="333533" y="139415"/>
                        <a:pt x="333457" y="143941"/>
                      </a:cubicBezTo>
                      <a:cubicBezTo>
                        <a:pt x="333356" y="150520"/>
                        <a:pt x="325509" y="152738"/>
                        <a:pt x="321453" y="150418"/>
                      </a:cubicBezTo>
                      <a:cubicBezTo>
                        <a:pt x="319412" y="152371"/>
                        <a:pt x="316838" y="155489"/>
                        <a:pt x="315152" y="157694"/>
                      </a:cubicBezTo>
                      <a:cubicBezTo>
                        <a:pt x="323874" y="163450"/>
                        <a:pt x="334332" y="157010"/>
                        <a:pt x="339479" y="167988"/>
                      </a:cubicBezTo>
                      <a:cubicBezTo>
                        <a:pt x="339947" y="168939"/>
                        <a:pt x="334661" y="171208"/>
                        <a:pt x="336778" y="173705"/>
                      </a:cubicBezTo>
                      <a:cubicBezTo>
                        <a:pt x="341038" y="178611"/>
                        <a:pt x="343903" y="172564"/>
                        <a:pt x="349125" y="174453"/>
                      </a:cubicBezTo>
                      <a:cubicBezTo>
                        <a:pt x="355096" y="176621"/>
                        <a:pt x="359812" y="184062"/>
                        <a:pt x="358671" y="188803"/>
                      </a:cubicBezTo>
                      <a:cubicBezTo>
                        <a:pt x="357542" y="193772"/>
                        <a:pt x="348644" y="195750"/>
                        <a:pt x="344435" y="201543"/>
                      </a:cubicBezTo>
                      <a:cubicBezTo>
                        <a:pt x="355882" y="203140"/>
                        <a:pt x="333749" y="220114"/>
                        <a:pt x="332025" y="220722"/>
                      </a:cubicBezTo>
                      <a:cubicBezTo>
                        <a:pt x="325775" y="222877"/>
                        <a:pt x="323886" y="218922"/>
                        <a:pt x="318258" y="217021"/>
                      </a:cubicBezTo>
                      <a:cubicBezTo>
                        <a:pt x="313251" y="215322"/>
                        <a:pt x="308446" y="214675"/>
                        <a:pt x="302590" y="214625"/>
                      </a:cubicBezTo>
                      <a:cubicBezTo>
                        <a:pt x="301956" y="214612"/>
                        <a:pt x="286896" y="219151"/>
                        <a:pt x="288620" y="215791"/>
                      </a:cubicBezTo>
                      <a:cubicBezTo>
                        <a:pt x="285603" y="221597"/>
                        <a:pt x="296137" y="224741"/>
                        <a:pt x="295529" y="229925"/>
                      </a:cubicBezTo>
                      <a:cubicBezTo>
                        <a:pt x="294946" y="235452"/>
                        <a:pt x="281712" y="241093"/>
                        <a:pt x="277364" y="244846"/>
                      </a:cubicBezTo>
                      <a:cubicBezTo>
                        <a:pt x="296670" y="252325"/>
                        <a:pt x="311147" y="263962"/>
                        <a:pt x="328805" y="274826"/>
                      </a:cubicBezTo>
                      <a:cubicBezTo>
                        <a:pt x="338274" y="280619"/>
                        <a:pt x="346400" y="284181"/>
                        <a:pt x="355793" y="287109"/>
                      </a:cubicBezTo>
                      <a:cubicBezTo>
                        <a:pt x="359115" y="288136"/>
                        <a:pt x="367291" y="288580"/>
                        <a:pt x="369902" y="290418"/>
                      </a:cubicBezTo>
                      <a:cubicBezTo>
                        <a:pt x="378167" y="296198"/>
                        <a:pt x="371791" y="295945"/>
                        <a:pt x="371436" y="298924"/>
                      </a:cubicBezTo>
                      <a:cubicBezTo>
                        <a:pt x="370460" y="307164"/>
                        <a:pt x="368825" y="306758"/>
                        <a:pt x="372082" y="313806"/>
                      </a:cubicBezTo>
                      <a:cubicBezTo>
                        <a:pt x="374200" y="318344"/>
                        <a:pt x="376443" y="320385"/>
                        <a:pt x="379955" y="324847"/>
                      </a:cubicBezTo>
                      <a:cubicBezTo>
                        <a:pt x="378396" y="322895"/>
                        <a:pt x="388347" y="331097"/>
                        <a:pt x="385076" y="330045"/>
                      </a:cubicBezTo>
                      <a:cubicBezTo>
                        <a:pt x="389766" y="331553"/>
                        <a:pt x="392251" y="327915"/>
                        <a:pt x="393582" y="328498"/>
                      </a:cubicBezTo>
                      <a:cubicBezTo>
                        <a:pt x="397360" y="330083"/>
                        <a:pt x="403520" y="339578"/>
                        <a:pt x="405219" y="343634"/>
                      </a:cubicBezTo>
                      <a:cubicBezTo>
                        <a:pt x="407830" y="349795"/>
                        <a:pt x="408071" y="354447"/>
                        <a:pt x="412001" y="361001"/>
                      </a:cubicBezTo>
                      <a:cubicBezTo>
                        <a:pt x="416070" y="367719"/>
                        <a:pt x="419467" y="369037"/>
                        <a:pt x="425032" y="374273"/>
                      </a:cubicBezTo>
                      <a:cubicBezTo>
                        <a:pt x="432359" y="381131"/>
                        <a:pt x="437227" y="393174"/>
                        <a:pt x="446950" y="397382"/>
                      </a:cubicBezTo>
                      <a:cubicBezTo>
                        <a:pt x="452122" y="399626"/>
                        <a:pt x="455963" y="398029"/>
                        <a:pt x="457560" y="399423"/>
                      </a:cubicBezTo>
                      <a:cubicBezTo>
                        <a:pt x="461528" y="402922"/>
                        <a:pt x="464951" y="428186"/>
                        <a:pt x="475206" y="420365"/>
                      </a:cubicBezTo>
                      <a:cubicBezTo>
                        <a:pt x="477070" y="429429"/>
                        <a:pt x="474408" y="439253"/>
                        <a:pt x="477919" y="447848"/>
                      </a:cubicBezTo>
                      <a:cubicBezTo>
                        <a:pt x="478933" y="450370"/>
                        <a:pt x="482876" y="449673"/>
                        <a:pt x="484054" y="451689"/>
                      </a:cubicBezTo>
                      <a:cubicBezTo>
                        <a:pt x="485715" y="454465"/>
                        <a:pt x="482711" y="459003"/>
                        <a:pt x="486437" y="461880"/>
                      </a:cubicBezTo>
                      <a:cubicBezTo>
                        <a:pt x="491787" y="466038"/>
                        <a:pt x="504527" y="447201"/>
                        <a:pt x="499697" y="463807"/>
                      </a:cubicBezTo>
                      <a:cubicBezTo>
                        <a:pt x="501915" y="464821"/>
                        <a:pt x="504299" y="469081"/>
                        <a:pt x="506834" y="470577"/>
                      </a:cubicBezTo>
                      <a:cubicBezTo>
                        <a:pt x="510155" y="472554"/>
                        <a:pt x="514998" y="473226"/>
                        <a:pt x="519016" y="475913"/>
                      </a:cubicBezTo>
                      <a:cubicBezTo>
                        <a:pt x="522629" y="478372"/>
                        <a:pt x="524607" y="486549"/>
                        <a:pt x="530729" y="488729"/>
                      </a:cubicBezTo>
                      <a:cubicBezTo>
                        <a:pt x="536206" y="490707"/>
                        <a:pt x="541530" y="487791"/>
                        <a:pt x="542620" y="493103"/>
                      </a:cubicBezTo>
                      <a:cubicBezTo>
                        <a:pt x="544014" y="499885"/>
                        <a:pt x="532238" y="503041"/>
                        <a:pt x="527826" y="505982"/>
                      </a:cubicBezTo>
                      <a:cubicBezTo>
                        <a:pt x="520170" y="511065"/>
                        <a:pt x="522172" y="508099"/>
                        <a:pt x="526990" y="516465"/>
                      </a:cubicBezTo>
                      <a:cubicBezTo>
                        <a:pt x="533189" y="527215"/>
                        <a:pt x="538754" y="531399"/>
                        <a:pt x="546549" y="535683"/>
                      </a:cubicBezTo>
                      <a:cubicBezTo>
                        <a:pt x="550251" y="537737"/>
                        <a:pt x="551595" y="541350"/>
                        <a:pt x="554549" y="545482"/>
                      </a:cubicBezTo>
                      <a:cubicBezTo>
                        <a:pt x="559733" y="552682"/>
                        <a:pt x="557768" y="550705"/>
                        <a:pt x="556488" y="556283"/>
                      </a:cubicBezTo>
                      <a:cubicBezTo>
                        <a:pt x="554865" y="563267"/>
                        <a:pt x="552850" y="563521"/>
                        <a:pt x="549934" y="566589"/>
                      </a:cubicBezTo>
                      <a:cubicBezTo>
                        <a:pt x="548464" y="568173"/>
                        <a:pt x="544192" y="566398"/>
                        <a:pt x="543241" y="568934"/>
                      </a:cubicBezTo>
                      <a:cubicBezTo>
                        <a:pt x="541454" y="573535"/>
                        <a:pt x="548286" y="573852"/>
                        <a:pt x="548692" y="576552"/>
                      </a:cubicBezTo>
                      <a:cubicBezTo>
                        <a:pt x="549174" y="579595"/>
                        <a:pt x="549604" y="587277"/>
                        <a:pt x="548375" y="590814"/>
                      </a:cubicBezTo>
                      <a:cubicBezTo>
                        <a:pt x="548160" y="591346"/>
                        <a:pt x="543596" y="601918"/>
                        <a:pt x="542202" y="602666"/>
                      </a:cubicBezTo>
                      <a:cubicBezTo>
                        <a:pt x="537727" y="604948"/>
                        <a:pt x="535470" y="600460"/>
                        <a:pt x="530539" y="601538"/>
                      </a:cubicBezTo>
                      <a:cubicBezTo>
                        <a:pt x="528993" y="601893"/>
                        <a:pt x="523985" y="608421"/>
                        <a:pt x="523123" y="609144"/>
                      </a:cubicBezTo>
                      <a:cubicBezTo>
                        <a:pt x="520905" y="610982"/>
                        <a:pt x="519473" y="613568"/>
                        <a:pt x="516595" y="615330"/>
                      </a:cubicBezTo>
                      <a:cubicBezTo>
                        <a:pt x="515543" y="615964"/>
                        <a:pt x="513755" y="612756"/>
                        <a:pt x="511829" y="613796"/>
                      </a:cubicBezTo>
                      <a:cubicBezTo>
                        <a:pt x="505047" y="617497"/>
                        <a:pt x="509014" y="619297"/>
                        <a:pt x="501903" y="620261"/>
                      </a:cubicBezTo>
                      <a:cubicBezTo>
                        <a:pt x="494487" y="621262"/>
                        <a:pt x="477196" y="610399"/>
                        <a:pt x="474344" y="601170"/>
                      </a:cubicBezTo>
                      <a:cubicBezTo>
                        <a:pt x="471898" y="604770"/>
                        <a:pt x="471707" y="602222"/>
                        <a:pt x="472290" y="606152"/>
                      </a:cubicBezTo>
                      <a:cubicBezTo>
                        <a:pt x="467638" y="606621"/>
                        <a:pt x="461947" y="617688"/>
                        <a:pt x="453453" y="608649"/>
                      </a:cubicBezTo>
                      <a:cubicBezTo>
                        <a:pt x="452895" y="619095"/>
                        <a:pt x="441322" y="619576"/>
                        <a:pt x="434540" y="618017"/>
                      </a:cubicBezTo>
                      <a:cubicBezTo>
                        <a:pt x="435820" y="624546"/>
                        <a:pt x="438850" y="626714"/>
                        <a:pt x="442057" y="632380"/>
                      </a:cubicBezTo>
                      <a:cubicBezTo>
                        <a:pt x="443971" y="635752"/>
                        <a:pt x="447153" y="639377"/>
                        <a:pt x="446963" y="642813"/>
                      </a:cubicBezTo>
                      <a:cubicBezTo>
                        <a:pt x="446963" y="642356"/>
                        <a:pt x="440688" y="652168"/>
                        <a:pt x="441575" y="651711"/>
                      </a:cubicBezTo>
                      <a:cubicBezTo>
                        <a:pt x="435250" y="655071"/>
                        <a:pt x="425882" y="648885"/>
                        <a:pt x="421508" y="645348"/>
                      </a:cubicBezTo>
                      <a:cubicBezTo>
                        <a:pt x="414955" y="640138"/>
                        <a:pt x="415500" y="638883"/>
                        <a:pt x="407843" y="637070"/>
                      </a:cubicBezTo>
                      <a:cubicBezTo>
                        <a:pt x="406499" y="636766"/>
                        <a:pt x="403989" y="633305"/>
                        <a:pt x="402215" y="633305"/>
                      </a:cubicBezTo>
                      <a:cubicBezTo>
                        <a:pt x="399553" y="633305"/>
                        <a:pt x="396726" y="637425"/>
                        <a:pt x="393721" y="637374"/>
                      </a:cubicBezTo>
                      <a:cubicBezTo>
                        <a:pt x="387637" y="637222"/>
                        <a:pt x="378573" y="632697"/>
                        <a:pt x="377141" y="625218"/>
                      </a:cubicBezTo>
                      <a:cubicBezTo>
                        <a:pt x="375201" y="615025"/>
                        <a:pt x="392872" y="617079"/>
                        <a:pt x="397981" y="606697"/>
                      </a:cubicBezTo>
                      <a:cubicBezTo>
                        <a:pt x="404065" y="594287"/>
                        <a:pt x="394811" y="578720"/>
                        <a:pt x="406385" y="571063"/>
                      </a:cubicBezTo>
                      <a:cubicBezTo>
                        <a:pt x="405156" y="570151"/>
                        <a:pt x="395839" y="563648"/>
                        <a:pt x="395661" y="562646"/>
                      </a:cubicBezTo>
                      <a:cubicBezTo>
                        <a:pt x="394279" y="555091"/>
                        <a:pt x="403470" y="553772"/>
                        <a:pt x="404281" y="548385"/>
                      </a:cubicBezTo>
                      <a:cubicBezTo>
                        <a:pt x="404889" y="543936"/>
                        <a:pt x="397283" y="547523"/>
                        <a:pt x="398031" y="544519"/>
                      </a:cubicBezTo>
                      <a:cubicBezTo>
                        <a:pt x="399210" y="539917"/>
                        <a:pt x="403723" y="542161"/>
                        <a:pt x="406043" y="538535"/>
                      </a:cubicBezTo>
                      <a:cubicBezTo>
                        <a:pt x="410087" y="532248"/>
                        <a:pt x="412673" y="520307"/>
                        <a:pt x="406195" y="515021"/>
                      </a:cubicBezTo>
                      <a:cubicBezTo>
                        <a:pt x="398729" y="508936"/>
                        <a:pt x="391199" y="515211"/>
                        <a:pt x="389183" y="501178"/>
                      </a:cubicBezTo>
                      <a:cubicBezTo>
                        <a:pt x="387789" y="491328"/>
                        <a:pt x="401277" y="496614"/>
                        <a:pt x="381603" y="491417"/>
                      </a:cubicBezTo>
                      <a:cubicBezTo>
                        <a:pt x="365364" y="487119"/>
                        <a:pt x="365744" y="478918"/>
                        <a:pt x="355730" y="468447"/>
                      </a:cubicBezTo>
                      <a:cubicBezTo>
                        <a:pt x="343510" y="455682"/>
                        <a:pt x="346286" y="449280"/>
                        <a:pt x="344777" y="432585"/>
                      </a:cubicBezTo>
                      <a:cubicBezTo>
                        <a:pt x="343345" y="416815"/>
                        <a:pt x="354145" y="400070"/>
                        <a:pt x="345196" y="385923"/>
                      </a:cubicBezTo>
                      <a:cubicBezTo>
                        <a:pt x="339631" y="377125"/>
                        <a:pt x="330478" y="376821"/>
                        <a:pt x="323075" y="370077"/>
                      </a:cubicBezTo>
                      <a:cubicBezTo>
                        <a:pt x="319031" y="366388"/>
                        <a:pt x="312452" y="358440"/>
                        <a:pt x="309613" y="354460"/>
                      </a:cubicBezTo>
                      <a:cubicBezTo>
                        <a:pt x="305062" y="348071"/>
                        <a:pt x="300866" y="340756"/>
                        <a:pt x="296442" y="334177"/>
                      </a:cubicBezTo>
                      <a:cubicBezTo>
                        <a:pt x="293906" y="330400"/>
                        <a:pt x="292956" y="321450"/>
                        <a:pt x="288177" y="319396"/>
                      </a:cubicBezTo>
                      <a:cubicBezTo>
                        <a:pt x="285223" y="318154"/>
                        <a:pt x="282789" y="320917"/>
                        <a:pt x="281370" y="320524"/>
                      </a:cubicBezTo>
                      <a:cubicBezTo>
                        <a:pt x="274461" y="318636"/>
                        <a:pt x="247815" y="305731"/>
                        <a:pt x="237369" y="311397"/>
                      </a:cubicBezTo>
                      <a:cubicBezTo>
                        <a:pt x="227139" y="316962"/>
                        <a:pt x="237699" y="318382"/>
                        <a:pt x="235404" y="322654"/>
                      </a:cubicBezTo>
                      <a:cubicBezTo>
                        <a:pt x="234821" y="323783"/>
                        <a:pt x="228204" y="324125"/>
                        <a:pt x="226708" y="325278"/>
                      </a:cubicBezTo>
                      <a:cubicBezTo>
                        <a:pt x="223729" y="327623"/>
                        <a:pt x="225504" y="331160"/>
                        <a:pt x="221283" y="333556"/>
                      </a:cubicBezTo>
                      <a:cubicBezTo>
                        <a:pt x="221359" y="333480"/>
                        <a:pt x="221549" y="333062"/>
                        <a:pt x="221536" y="333062"/>
                      </a:cubicBezTo>
                      <a:cubicBezTo>
                        <a:pt x="220902" y="334190"/>
                        <a:pt x="219698" y="341618"/>
                        <a:pt x="219901" y="341453"/>
                      </a:cubicBezTo>
                      <a:cubicBezTo>
                        <a:pt x="214754" y="345637"/>
                        <a:pt x="215566" y="341276"/>
                        <a:pt x="210748" y="342975"/>
                      </a:cubicBezTo>
                      <a:cubicBezTo>
                        <a:pt x="204626" y="345117"/>
                        <a:pt x="189148" y="352039"/>
                        <a:pt x="191239" y="358199"/>
                      </a:cubicBezTo>
                      <a:cubicBezTo>
                        <a:pt x="180224" y="357781"/>
                        <a:pt x="189807" y="350936"/>
                        <a:pt x="185091" y="347183"/>
                      </a:cubicBezTo>
                      <a:cubicBezTo>
                        <a:pt x="181985" y="344749"/>
                        <a:pt x="174772" y="345345"/>
                        <a:pt x="170716" y="343799"/>
                      </a:cubicBezTo>
                      <a:cubicBezTo>
                        <a:pt x="164200" y="341289"/>
                        <a:pt x="158040" y="329893"/>
                        <a:pt x="152779" y="328181"/>
                      </a:cubicBezTo>
                      <a:cubicBezTo>
                        <a:pt x="147049" y="326292"/>
                        <a:pt x="147049" y="328638"/>
                        <a:pt x="142992" y="331110"/>
                      </a:cubicBezTo>
                      <a:cubicBezTo>
                        <a:pt x="139329" y="333379"/>
                        <a:pt x="137313" y="339476"/>
                        <a:pt x="133295" y="341060"/>
                      </a:cubicBezTo>
                      <a:cubicBezTo>
                        <a:pt x="131609" y="341720"/>
                        <a:pt x="128972" y="338627"/>
                        <a:pt x="127869" y="339425"/>
                      </a:cubicBezTo>
                      <a:cubicBezTo>
                        <a:pt x="126538" y="340350"/>
                        <a:pt x="126158" y="337587"/>
                        <a:pt x="124041" y="339311"/>
                      </a:cubicBezTo>
                      <a:cubicBezTo>
                        <a:pt x="121924" y="341048"/>
                        <a:pt x="122887" y="346740"/>
                        <a:pt x="120986" y="348920"/>
                      </a:cubicBezTo>
                      <a:cubicBezTo>
                        <a:pt x="118818" y="351405"/>
                        <a:pt x="111884" y="353319"/>
                        <a:pt x="109539" y="353788"/>
                      </a:cubicBezTo>
                      <a:cubicBezTo>
                        <a:pt x="108943" y="357134"/>
                        <a:pt x="108969" y="356285"/>
                        <a:pt x="106294" y="358237"/>
                      </a:cubicBezTo>
                      <a:cubicBezTo>
                        <a:pt x="106839" y="358668"/>
                        <a:pt x="107397" y="359099"/>
                        <a:pt x="107954" y="359543"/>
                      </a:cubicBezTo>
                      <a:cubicBezTo>
                        <a:pt x="106015" y="361406"/>
                        <a:pt x="103454" y="363219"/>
                        <a:pt x="101464" y="364994"/>
                      </a:cubicBezTo>
                      <a:cubicBezTo>
                        <a:pt x="98396" y="362382"/>
                        <a:pt x="100032" y="363701"/>
                        <a:pt x="95075" y="364968"/>
                      </a:cubicBezTo>
                      <a:cubicBezTo>
                        <a:pt x="95202" y="365158"/>
                        <a:pt x="80687" y="384148"/>
                        <a:pt x="76174" y="384553"/>
                      </a:cubicBezTo>
                      <a:cubicBezTo>
                        <a:pt x="74273" y="384731"/>
                        <a:pt x="65412" y="379242"/>
                        <a:pt x="63853" y="377784"/>
                      </a:cubicBezTo>
                      <a:cubicBezTo>
                        <a:pt x="60240" y="374438"/>
                        <a:pt x="60012" y="378165"/>
                        <a:pt x="59137" y="373246"/>
                      </a:cubicBezTo>
                      <a:cubicBezTo>
                        <a:pt x="59137" y="373170"/>
                        <a:pt x="63320" y="364246"/>
                        <a:pt x="63751" y="363054"/>
                      </a:cubicBezTo>
                      <a:cubicBezTo>
                        <a:pt x="66439" y="356196"/>
                        <a:pt x="70254" y="351417"/>
                        <a:pt x="74793" y="343406"/>
                      </a:cubicBezTo>
                      <a:cubicBezTo>
                        <a:pt x="77975" y="337790"/>
                        <a:pt x="78545" y="335153"/>
                        <a:pt x="78139" y="327889"/>
                      </a:cubicBezTo>
                      <a:cubicBezTo>
                        <a:pt x="78114" y="327522"/>
                        <a:pt x="76517" y="323148"/>
                        <a:pt x="76276" y="322401"/>
                      </a:cubicBezTo>
                      <a:cubicBezTo>
                        <a:pt x="75984" y="321539"/>
                        <a:pt x="78253" y="320093"/>
                        <a:pt x="78076" y="319739"/>
                      </a:cubicBezTo>
                      <a:cubicBezTo>
                        <a:pt x="77531" y="318763"/>
                        <a:pt x="73107" y="316544"/>
                        <a:pt x="72967" y="316126"/>
                      </a:cubicBezTo>
                      <a:cubicBezTo>
                        <a:pt x="71091" y="309116"/>
                        <a:pt x="69038" y="311638"/>
                        <a:pt x="73728" y="304337"/>
                      </a:cubicBezTo>
                      <a:cubicBezTo>
                        <a:pt x="76289" y="300394"/>
                        <a:pt x="83185" y="297707"/>
                        <a:pt x="84579" y="292560"/>
                      </a:cubicBezTo>
                      <a:cubicBezTo>
                        <a:pt x="84845" y="291673"/>
                        <a:pt x="83362" y="286197"/>
                        <a:pt x="83590" y="283940"/>
                      </a:cubicBezTo>
                      <a:cubicBezTo>
                        <a:pt x="84148" y="278882"/>
                        <a:pt x="85251" y="277107"/>
                        <a:pt x="86594" y="272709"/>
                      </a:cubicBezTo>
                      <a:cubicBezTo>
                        <a:pt x="90017" y="261528"/>
                        <a:pt x="88040" y="266079"/>
                        <a:pt x="83641" y="255405"/>
                      </a:cubicBezTo>
                      <a:cubicBezTo>
                        <a:pt x="83045" y="254049"/>
                        <a:pt x="79559" y="239357"/>
                        <a:pt x="79698" y="238241"/>
                      </a:cubicBezTo>
                      <a:cubicBezTo>
                        <a:pt x="80320" y="233766"/>
                        <a:pt x="88471" y="229837"/>
                        <a:pt x="85390" y="224982"/>
                      </a:cubicBezTo>
                      <a:cubicBezTo>
                        <a:pt x="83362" y="221775"/>
                        <a:pt x="59378" y="220988"/>
                        <a:pt x="55879" y="222877"/>
                      </a:cubicBezTo>
                      <a:cubicBezTo>
                        <a:pt x="51088" y="225514"/>
                        <a:pt x="50289" y="228620"/>
                        <a:pt x="46803" y="229215"/>
                      </a:cubicBezTo>
                      <a:cubicBezTo>
                        <a:pt x="45916" y="229355"/>
                        <a:pt x="37587" y="227770"/>
                        <a:pt x="36231" y="227606"/>
                      </a:cubicBezTo>
                      <a:cubicBezTo>
                        <a:pt x="29981" y="226820"/>
                        <a:pt x="28422" y="229355"/>
                        <a:pt x="24188" y="219822"/>
                      </a:cubicBezTo>
                      <a:cubicBezTo>
                        <a:pt x="17305" y="204357"/>
                        <a:pt x="36066" y="196206"/>
                        <a:pt x="33328" y="178522"/>
                      </a:cubicBezTo>
                      <a:cubicBezTo>
                        <a:pt x="22629" y="182236"/>
                        <a:pt x="24784" y="157923"/>
                        <a:pt x="11829" y="162106"/>
                      </a:cubicBezTo>
                      <a:cubicBezTo>
                        <a:pt x="5351" y="164198"/>
                        <a:pt x="2283" y="182350"/>
                        <a:pt x="90" y="164705"/>
                      </a:cubicBezTo>
                      <a:cubicBezTo>
                        <a:pt x="-899" y="156592"/>
                        <a:pt x="6479" y="140099"/>
                        <a:pt x="12285" y="134141"/>
                      </a:cubicBezTo>
                      <a:cubicBezTo>
                        <a:pt x="21209" y="124989"/>
                        <a:pt x="33772" y="134294"/>
                        <a:pt x="41111" y="123721"/>
                      </a:cubicBezTo>
                      <a:cubicBezTo>
                        <a:pt x="27535" y="126269"/>
                        <a:pt x="33378" y="119944"/>
                        <a:pt x="33087" y="112629"/>
                      </a:cubicBezTo>
                      <a:cubicBezTo>
                        <a:pt x="44039" y="111260"/>
                        <a:pt x="44826" y="95047"/>
                        <a:pt x="49731" y="91168"/>
                      </a:cubicBezTo>
                      <a:cubicBezTo>
                        <a:pt x="56754" y="85628"/>
                        <a:pt x="75515" y="84234"/>
                        <a:pt x="78570" y="72242"/>
                      </a:cubicBezTo>
                      <a:cubicBezTo>
                        <a:pt x="84871" y="77795"/>
                        <a:pt x="79432" y="90522"/>
                        <a:pt x="83109" y="96784"/>
                      </a:cubicBezTo>
                      <a:cubicBezTo>
                        <a:pt x="88686" y="106291"/>
                        <a:pt x="110591" y="88138"/>
                        <a:pt x="109818" y="101246"/>
                      </a:cubicBezTo>
                      <a:cubicBezTo>
                        <a:pt x="118958" y="97164"/>
                        <a:pt x="116892" y="106925"/>
                        <a:pt x="123027" y="99661"/>
                      </a:cubicBezTo>
                      <a:cubicBezTo>
                        <a:pt x="129758" y="91663"/>
                        <a:pt x="124079" y="100764"/>
                        <a:pt x="119947" y="90712"/>
                      </a:cubicBezTo>
                      <a:cubicBezTo>
                        <a:pt x="117196" y="83968"/>
                        <a:pt x="123952" y="72977"/>
                        <a:pt x="124307" y="69833"/>
                      </a:cubicBezTo>
                      <a:cubicBezTo>
                        <a:pt x="124764" y="66107"/>
                        <a:pt x="122761" y="63787"/>
                        <a:pt x="120644" y="58361"/>
                      </a:cubicBezTo>
                      <a:cubicBezTo>
                        <a:pt x="119490" y="55357"/>
                        <a:pt x="121518" y="52885"/>
                        <a:pt x="119921" y="49272"/>
                      </a:cubicBezTo>
                      <a:cubicBezTo>
                        <a:pt x="118679" y="46484"/>
                        <a:pt x="116676" y="44620"/>
                        <a:pt x="115345" y="42693"/>
                      </a:cubicBezTo>
                      <a:cubicBezTo>
                        <a:pt x="111200" y="36836"/>
                        <a:pt x="110198" y="33325"/>
                        <a:pt x="108690" y="26214"/>
                      </a:cubicBezTo>
                      <a:cubicBezTo>
                        <a:pt x="108043" y="23171"/>
                        <a:pt x="104709" y="20902"/>
                        <a:pt x="105495" y="18113"/>
                      </a:cubicBezTo>
                      <a:cubicBezTo>
                        <a:pt x="106484" y="14792"/>
                        <a:pt x="110452" y="18139"/>
                        <a:pt x="111631" y="15768"/>
                      </a:cubicBezTo>
                      <a:cubicBezTo>
                        <a:pt x="113431" y="12270"/>
                        <a:pt x="113406" y="3852"/>
                        <a:pt x="116613" y="1735"/>
                      </a:cubicBezTo>
                      <a:cubicBezTo>
                        <a:pt x="120428" y="-749"/>
                        <a:pt x="120644" y="-103"/>
                        <a:pt x="124282" y="835"/>
                      </a:cubicBezTo>
                      <a:cubicBezTo>
                        <a:pt x="126665" y="1431"/>
                        <a:pt x="126247" y="7300"/>
                        <a:pt x="129112" y="8175"/>
                      </a:cubicBezTo>
                      <a:cubicBezTo>
                        <a:pt x="131457" y="8885"/>
                        <a:pt x="131482" y="6286"/>
                        <a:pt x="131951" y="6324"/>
                      </a:cubicBezTo>
                      <a:cubicBezTo>
                        <a:pt x="137174" y="6552"/>
                        <a:pt x="143690" y="-39"/>
                        <a:pt x="149470" y="7034"/>
                      </a:cubicBezTo>
                      <a:lnTo>
                        <a:pt x="149470" y="7034"/>
                      </a:lnTo>
                      <a:close/>
                    </a:path>
                  </a:pathLst>
                </a:custGeom>
                <a:solidFill>
                  <a:srgbClr val="D6D6D2"/>
                </a:solidFill>
                <a:ln w="12413" cap="rnd">
                  <a:solidFill>
                    <a:srgbClr val="FFFFFF"/>
                  </a:solidFill>
                  <a:prstDash val="solid"/>
                  <a:round/>
                </a:ln>
              </p:spPr>
              <p:txBody>
                <a:bodyPr rtlCol="0" anchor="ctr"/>
                <a:lstStyle/>
                <a:p>
                  <a:endParaRPr lang="en-US"/>
                </a:p>
              </p:txBody>
            </p:sp>
            <p:sp>
              <p:nvSpPr>
                <p:cNvPr id="89" name="Freeform: Shape 88">
                  <a:extLst>
                    <a:ext uri="{FF2B5EF4-FFF2-40B4-BE49-F238E27FC236}">
                      <a16:creationId xmlns:a16="http://schemas.microsoft.com/office/drawing/2014/main" id="{BECA11AE-F7E6-48F4-9DAA-BCAD557D86AF}"/>
                    </a:ext>
                  </a:extLst>
                </p:cNvPr>
                <p:cNvSpPr/>
                <p:nvPr/>
              </p:nvSpPr>
              <p:spPr>
                <a:xfrm>
                  <a:off x="5247447" y="1911750"/>
                  <a:ext cx="254844" cy="452193"/>
                </a:xfrm>
                <a:custGeom>
                  <a:avLst/>
                  <a:gdLst>
                    <a:gd name="connsiteX0" fmla="*/ 51340 w 254844"/>
                    <a:gd name="connsiteY0" fmla="*/ 424457 h 452193"/>
                    <a:gd name="connsiteX1" fmla="*/ 60416 w 254844"/>
                    <a:gd name="connsiteY1" fmla="*/ 431163 h 452193"/>
                    <a:gd name="connsiteX2" fmla="*/ 13475 w 254844"/>
                    <a:gd name="connsiteY2" fmla="*/ 451648 h 452193"/>
                    <a:gd name="connsiteX3" fmla="*/ 2966 w 254844"/>
                    <a:gd name="connsiteY3" fmla="*/ 447706 h 452193"/>
                    <a:gd name="connsiteX4" fmla="*/ 11003 w 254844"/>
                    <a:gd name="connsiteY4" fmla="*/ 434472 h 452193"/>
                    <a:gd name="connsiteX5" fmla="*/ 51340 w 254844"/>
                    <a:gd name="connsiteY5" fmla="*/ 424457 h 452193"/>
                    <a:gd name="connsiteX6" fmla="*/ 51340 w 254844"/>
                    <a:gd name="connsiteY6" fmla="*/ 424457 h 452193"/>
                    <a:gd name="connsiteX7" fmla="*/ 173415 w 254844"/>
                    <a:gd name="connsiteY7" fmla="*/ 15982 h 452193"/>
                    <a:gd name="connsiteX8" fmla="*/ 232500 w 254844"/>
                    <a:gd name="connsiteY8" fmla="*/ 107836 h 452193"/>
                    <a:gd name="connsiteX9" fmla="*/ 247129 w 254844"/>
                    <a:gd name="connsiteY9" fmla="*/ 157414 h 452193"/>
                    <a:gd name="connsiteX10" fmla="*/ 240626 w 254844"/>
                    <a:gd name="connsiteY10" fmla="*/ 201287 h 452193"/>
                    <a:gd name="connsiteX11" fmla="*/ 253264 w 254844"/>
                    <a:gd name="connsiteY11" fmla="*/ 214597 h 452193"/>
                    <a:gd name="connsiteX12" fmla="*/ 248067 w 254844"/>
                    <a:gd name="connsiteY12" fmla="*/ 245363 h 452193"/>
                    <a:gd name="connsiteX13" fmla="*/ 242768 w 254844"/>
                    <a:gd name="connsiteY13" fmla="*/ 265747 h 452193"/>
                    <a:gd name="connsiteX14" fmla="*/ 239865 w 254844"/>
                    <a:gd name="connsiteY14" fmla="*/ 260664 h 452193"/>
                    <a:gd name="connsiteX15" fmla="*/ 239231 w 254844"/>
                    <a:gd name="connsiteY15" fmla="*/ 262287 h 452193"/>
                    <a:gd name="connsiteX16" fmla="*/ 216972 w 254844"/>
                    <a:gd name="connsiteY16" fmla="*/ 295043 h 452193"/>
                    <a:gd name="connsiteX17" fmla="*/ 213245 w 254844"/>
                    <a:gd name="connsiteY17" fmla="*/ 300494 h 452193"/>
                    <a:gd name="connsiteX18" fmla="*/ 212040 w 254844"/>
                    <a:gd name="connsiteY18" fmla="*/ 298808 h 452193"/>
                    <a:gd name="connsiteX19" fmla="*/ 212269 w 254844"/>
                    <a:gd name="connsiteY19" fmla="*/ 301279 h 452193"/>
                    <a:gd name="connsiteX20" fmla="*/ 209137 w 254844"/>
                    <a:gd name="connsiteY20" fmla="*/ 293699 h 452193"/>
                    <a:gd name="connsiteX21" fmla="*/ 205208 w 254844"/>
                    <a:gd name="connsiteY21" fmla="*/ 298339 h 452193"/>
                    <a:gd name="connsiteX22" fmla="*/ 204688 w 254844"/>
                    <a:gd name="connsiteY22" fmla="*/ 294992 h 452193"/>
                    <a:gd name="connsiteX23" fmla="*/ 196068 w 254844"/>
                    <a:gd name="connsiteY23" fmla="*/ 295854 h 452193"/>
                    <a:gd name="connsiteX24" fmla="*/ 190097 w 254844"/>
                    <a:gd name="connsiteY24" fmla="*/ 297096 h 452193"/>
                    <a:gd name="connsiteX25" fmla="*/ 189793 w 254844"/>
                    <a:gd name="connsiteY25" fmla="*/ 293141 h 452193"/>
                    <a:gd name="connsiteX26" fmla="*/ 188601 w 254844"/>
                    <a:gd name="connsiteY26" fmla="*/ 295436 h 452193"/>
                    <a:gd name="connsiteX27" fmla="*/ 183987 w 254844"/>
                    <a:gd name="connsiteY27" fmla="*/ 293154 h 452193"/>
                    <a:gd name="connsiteX28" fmla="*/ 182833 w 254844"/>
                    <a:gd name="connsiteY28" fmla="*/ 287259 h 452193"/>
                    <a:gd name="connsiteX29" fmla="*/ 186535 w 254844"/>
                    <a:gd name="connsiteY29" fmla="*/ 299974 h 452193"/>
                    <a:gd name="connsiteX30" fmla="*/ 165771 w 254844"/>
                    <a:gd name="connsiteY30" fmla="*/ 304525 h 452193"/>
                    <a:gd name="connsiteX31" fmla="*/ 169358 w 254844"/>
                    <a:gd name="connsiteY31" fmla="*/ 306528 h 452193"/>
                    <a:gd name="connsiteX32" fmla="*/ 170994 w 254844"/>
                    <a:gd name="connsiteY32" fmla="*/ 314793 h 452193"/>
                    <a:gd name="connsiteX33" fmla="*/ 172388 w 254844"/>
                    <a:gd name="connsiteY33" fmla="*/ 313119 h 452193"/>
                    <a:gd name="connsiteX34" fmla="*/ 166633 w 254844"/>
                    <a:gd name="connsiteY34" fmla="*/ 318469 h 452193"/>
                    <a:gd name="connsiteX35" fmla="*/ 169029 w 254844"/>
                    <a:gd name="connsiteY35" fmla="*/ 316517 h 452193"/>
                    <a:gd name="connsiteX36" fmla="*/ 164769 w 254844"/>
                    <a:gd name="connsiteY36" fmla="*/ 312574 h 452193"/>
                    <a:gd name="connsiteX37" fmla="*/ 163058 w 254844"/>
                    <a:gd name="connsiteY37" fmla="*/ 309456 h 452193"/>
                    <a:gd name="connsiteX38" fmla="*/ 153614 w 254844"/>
                    <a:gd name="connsiteY38" fmla="*/ 314171 h 452193"/>
                    <a:gd name="connsiteX39" fmla="*/ 143447 w 254844"/>
                    <a:gd name="connsiteY39" fmla="*/ 298199 h 452193"/>
                    <a:gd name="connsiteX40" fmla="*/ 138377 w 254844"/>
                    <a:gd name="connsiteY40" fmla="*/ 302230 h 452193"/>
                    <a:gd name="connsiteX41" fmla="*/ 139721 w 254844"/>
                    <a:gd name="connsiteY41" fmla="*/ 305171 h 452193"/>
                    <a:gd name="connsiteX42" fmla="*/ 134878 w 254844"/>
                    <a:gd name="connsiteY42" fmla="*/ 306832 h 452193"/>
                    <a:gd name="connsiteX43" fmla="*/ 132812 w 254844"/>
                    <a:gd name="connsiteY43" fmla="*/ 303422 h 452193"/>
                    <a:gd name="connsiteX44" fmla="*/ 117549 w 254844"/>
                    <a:gd name="connsiteY44" fmla="*/ 305881 h 452193"/>
                    <a:gd name="connsiteX45" fmla="*/ 108105 w 254844"/>
                    <a:gd name="connsiteY45" fmla="*/ 309519 h 452193"/>
                    <a:gd name="connsiteX46" fmla="*/ 121707 w 254844"/>
                    <a:gd name="connsiteY46" fmla="*/ 317607 h 452193"/>
                    <a:gd name="connsiteX47" fmla="*/ 111718 w 254844"/>
                    <a:gd name="connsiteY47" fmla="*/ 336837 h 452193"/>
                    <a:gd name="connsiteX48" fmla="*/ 102566 w 254844"/>
                    <a:gd name="connsiteY48" fmla="*/ 314121 h 452193"/>
                    <a:gd name="connsiteX49" fmla="*/ 91360 w 254844"/>
                    <a:gd name="connsiteY49" fmla="*/ 319699 h 452193"/>
                    <a:gd name="connsiteX50" fmla="*/ 95847 w 254844"/>
                    <a:gd name="connsiteY50" fmla="*/ 322145 h 452193"/>
                    <a:gd name="connsiteX51" fmla="*/ 90827 w 254844"/>
                    <a:gd name="connsiteY51" fmla="*/ 325035 h 452193"/>
                    <a:gd name="connsiteX52" fmla="*/ 100411 w 254844"/>
                    <a:gd name="connsiteY52" fmla="*/ 335253 h 452193"/>
                    <a:gd name="connsiteX53" fmla="*/ 97787 w 254844"/>
                    <a:gd name="connsiteY53" fmla="*/ 335253 h 452193"/>
                    <a:gd name="connsiteX54" fmla="*/ 92868 w 254844"/>
                    <a:gd name="connsiteY54" fmla="*/ 338219 h 452193"/>
                    <a:gd name="connsiteX55" fmla="*/ 96836 w 254844"/>
                    <a:gd name="connsiteY55" fmla="*/ 343226 h 452193"/>
                    <a:gd name="connsiteX56" fmla="*/ 89737 w 254844"/>
                    <a:gd name="connsiteY56" fmla="*/ 351162 h 452193"/>
                    <a:gd name="connsiteX57" fmla="*/ 77580 w 254844"/>
                    <a:gd name="connsiteY57" fmla="*/ 345508 h 452193"/>
                    <a:gd name="connsiteX58" fmla="*/ 80128 w 254844"/>
                    <a:gd name="connsiteY58" fmla="*/ 335253 h 452193"/>
                    <a:gd name="connsiteX59" fmla="*/ 78620 w 254844"/>
                    <a:gd name="connsiteY59" fmla="*/ 340399 h 452193"/>
                    <a:gd name="connsiteX60" fmla="*/ 85047 w 254844"/>
                    <a:gd name="connsiteY60" fmla="*/ 329764 h 452193"/>
                    <a:gd name="connsiteX61" fmla="*/ 88875 w 254844"/>
                    <a:gd name="connsiteY61" fmla="*/ 326582 h 452193"/>
                    <a:gd name="connsiteX62" fmla="*/ 82714 w 254844"/>
                    <a:gd name="connsiteY62" fmla="*/ 324465 h 452193"/>
                    <a:gd name="connsiteX63" fmla="*/ 66577 w 254844"/>
                    <a:gd name="connsiteY63" fmla="*/ 336774 h 452193"/>
                    <a:gd name="connsiteX64" fmla="*/ 56804 w 254844"/>
                    <a:gd name="connsiteY64" fmla="*/ 353431 h 452193"/>
                    <a:gd name="connsiteX65" fmla="*/ 44799 w 254844"/>
                    <a:gd name="connsiteY65" fmla="*/ 345356 h 452193"/>
                    <a:gd name="connsiteX66" fmla="*/ 46726 w 254844"/>
                    <a:gd name="connsiteY66" fmla="*/ 348309 h 452193"/>
                    <a:gd name="connsiteX67" fmla="*/ 42821 w 254844"/>
                    <a:gd name="connsiteY67" fmla="*/ 350743 h 452193"/>
                    <a:gd name="connsiteX68" fmla="*/ 44140 w 254844"/>
                    <a:gd name="connsiteY68" fmla="*/ 352150 h 452193"/>
                    <a:gd name="connsiteX69" fmla="*/ 35000 w 254844"/>
                    <a:gd name="connsiteY69" fmla="*/ 363141 h 452193"/>
                    <a:gd name="connsiteX70" fmla="*/ 28966 w 254844"/>
                    <a:gd name="connsiteY70" fmla="*/ 363661 h 452193"/>
                    <a:gd name="connsiteX71" fmla="*/ 25873 w 254844"/>
                    <a:gd name="connsiteY71" fmla="*/ 359148 h 452193"/>
                    <a:gd name="connsiteX72" fmla="*/ 24846 w 254844"/>
                    <a:gd name="connsiteY72" fmla="*/ 348892 h 452193"/>
                    <a:gd name="connsiteX73" fmla="*/ 30462 w 254844"/>
                    <a:gd name="connsiteY73" fmla="*/ 345508 h 452193"/>
                    <a:gd name="connsiteX74" fmla="*/ 28395 w 254844"/>
                    <a:gd name="connsiteY74" fmla="*/ 343809 h 452193"/>
                    <a:gd name="connsiteX75" fmla="*/ 30310 w 254844"/>
                    <a:gd name="connsiteY75" fmla="*/ 341388 h 452193"/>
                    <a:gd name="connsiteX76" fmla="*/ 15998 w 254844"/>
                    <a:gd name="connsiteY76" fmla="*/ 339575 h 452193"/>
                    <a:gd name="connsiteX77" fmla="*/ 14286 w 254844"/>
                    <a:gd name="connsiteY77" fmla="*/ 337560 h 452193"/>
                    <a:gd name="connsiteX78" fmla="*/ 13310 w 254844"/>
                    <a:gd name="connsiteY78" fmla="*/ 325682 h 452193"/>
                    <a:gd name="connsiteX79" fmla="*/ 24732 w 254844"/>
                    <a:gd name="connsiteY79" fmla="*/ 339575 h 452193"/>
                    <a:gd name="connsiteX80" fmla="*/ 25366 w 254844"/>
                    <a:gd name="connsiteY80" fmla="*/ 338130 h 452193"/>
                    <a:gd name="connsiteX81" fmla="*/ 21170 w 254844"/>
                    <a:gd name="connsiteY81" fmla="*/ 333921 h 452193"/>
                    <a:gd name="connsiteX82" fmla="*/ 18952 w 254844"/>
                    <a:gd name="connsiteY82" fmla="*/ 335329 h 452193"/>
                    <a:gd name="connsiteX83" fmla="*/ 18381 w 254844"/>
                    <a:gd name="connsiteY83" fmla="*/ 329066 h 452193"/>
                    <a:gd name="connsiteX84" fmla="*/ 29993 w 254844"/>
                    <a:gd name="connsiteY84" fmla="*/ 336381 h 452193"/>
                    <a:gd name="connsiteX85" fmla="*/ 28776 w 254844"/>
                    <a:gd name="connsiteY85" fmla="*/ 334112 h 452193"/>
                    <a:gd name="connsiteX86" fmla="*/ 36483 w 254844"/>
                    <a:gd name="connsiteY86" fmla="*/ 335810 h 452193"/>
                    <a:gd name="connsiteX87" fmla="*/ 17278 w 254844"/>
                    <a:gd name="connsiteY87" fmla="*/ 325910 h 452193"/>
                    <a:gd name="connsiteX88" fmla="*/ 29955 w 254844"/>
                    <a:gd name="connsiteY88" fmla="*/ 326163 h 452193"/>
                    <a:gd name="connsiteX89" fmla="*/ 39564 w 254844"/>
                    <a:gd name="connsiteY89" fmla="*/ 321004 h 452193"/>
                    <a:gd name="connsiteX90" fmla="*/ 32946 w 254844"/>
                    <a:gd name="connsiteY90" fmla="*/ 319863 h 452193"/>
                    <a:gd name="connsiteX91" fmla="*/ 26874 w 254844"/>
                    <a:gd name="connsiteY91" fmla="*/ 323286 h 452193"/>
                    <a:gd name="connsiteX92" fmla="*/ 26405 w 254844"/>
                    <a:gd name="connsiteY92" fmla="*/ 322766 h 452193"/>
                    <a:gd name="connsiteX93" fmla="*/ 27407 w 254844"/>
                    <a:gd name="connsiteY93" fmla="*/ 321004 h 452193"/>
                    <a:gd name="connsiteX94" fmla="*/ 21372 w 254844"/>
                    <a:gd name="connsiteY94" fmla="*/ 322335 h 452193"/>
                    <a:gd name="connsiteX95" fmla="*/ 20080 w 254844"/>
                    <a:gd name="connsiteY95" fmla="*/ 318951 h 452193"/>
                    <a:gd name="connsiteX96" fmla="*/ 22653 w 254844"/>
                    <a:gd name="connsiteY96" fmla="*/ 306566 h 452193"/>
                    <a:gd name="connsiteX97" fmla="*/ 12651 w 254844"/>
                    <a:gd name="connsiteY97" fmla="*/ 307301 h 452193"/>
                    <a:gd name="connsiteX98" fmla="*/ 16188 w 254844"/>
                    <a:gd name="connsiteY98" fmla="*/ 307301 h 452193"/>
                    <a:gd name="connsiteX99" fmla="*/ 12651 w 254844"/>
                    <a:gd name="connsiteY99" fmla="*/ 297641 h 452193"/>
                    <a:gd name="connsiteX100" fmla="*/ 12727 w 254844"/>
                    <a:gd name="connsiteY100" fmla="*/ 300582 h 452193"/>
                    <a:gd name="connsiteX101" fmla="*/ 13678 w 254844"/>
                    <a:gd name="connsiteY101" fmla="*/ 295360 h 452193"/>
                    <a:gd name="connsiteX102" fmla="*/ 15744 w 254844"/>
                    <a:gd name="connsiteY102" fmla="*/ 291924 h 452193"/>
                    <a:gd name="connsiteX103" fmla="*/ 21816 w 254844"/>
                    <a:gd name="connsiteY103" fmla="*/ 303371 h 452193"/>
                    <a:gd name="connsiteX104" fmla="*/ 17253 w 254844"/>
                    <a:gd name="connsiteY104" fmla="*/ 285054 h 452193"/>
                    <a:gd name="connsiteX105" fmla="*/ 13196 w 254844"/>
                    <a:gd name="connsiteY105" fmla="*/ 285561 h 452193"/>
                    <a:gd name="connsiteX106" fmla="*/ 18267 w 254844"/>
                    <a:gd name="connsiteY106" fmla="*/ 283976 h 452193"/>
                    <a:gd name="connsiteX107" fmla="*/ 16746 w 254844"/>
                    <a:gd name="connsiteY107" fmla="*/ 283342 h 452193"/>
                    <a:gd name="connsiteX108" fmla="*/ 20764 w 254844"/>
                    <a:gd name="connsiteY108" fmla="*/ 274164 h 452193"/>
                    <a:gd name="connsiteX109" fmla="*/ 24288 w 254844"/>
                    <a:gd name="connsiteY109" fmla="*/ 276218 h 452193"/>
                    <a:gd name="connsiteX110" fmla="*/ 41566 w 254844"/>
                    <a:gd name="connsiteY110" fmla="*/ 260423 h 452193"/>
                    <a:gd name="connsiteX111" fmla="*/ 29220 w 254844"/>
                    <a:gd name="connsiteY111" fmla="*/ 248355 h 452193"/>
                    <a:gd name="connsiteX112" fmla="*/ 48196 w 254844"/>
                    <a:gd name="connsiteY112" fmla="*/ 241535 h 452193"/>
                    <a:gd name="connsiteX113" fmla="*/ 42149 w 254844"/>
                    <a:gd name="connsiteY113" fmla="*/ 234867 h 452193"/>
                    <a:gd name="connsiteX114" fmla="*/ 52303 w 254844"/>
                    <a:gd name="connsiteY114" fmla="*/ 230380 h 452193"/>
                    <a:gd name="connsiteX115" fmla="*/ 39196 w 254844"/>
                    <a:gd name="connsiteY115" fmla="*/ 230899 h 452193"/>
                    <a:gd name="connsiteX116" fmla="*/ 29245 w 254844"/>
                    <a:gd name="connsiteY116" fmla="*/ 226425 h 452193"/>
                    <a:gd name="connsiteX117" fmla="*/ 28928 w 254844"/>
                    <a:gd name="connsiteY117" fmla="*/ 223902 h 452193"/>
                    <a:gd name="connsiteX118" fmla="*/ 54725 w 254844"/>
                    <a:gd name="connsiteY118" fmla="*/ 216233 h 452193"/>
                    <a:gd name="connsiteX119" fmla="*/ 38613 w 254844"/>
                    <a:gd name="connsiteY119" fmla="*/ 217234 h 452193"/>
                    <a:gd name="connsiteX120" fmla="*/ 27330 w 254844"/>
                    <a:gd name="connsiteY120" fmla="*/ 210871 h 452193"/>
                    <a:gd name="connsiteX121" fmla="*/ 34949 w 254844"/>
                    <a:gd name="connsiteY121" fmla="*/ 207004 h 452193"/>
                    <a:gd name="connsiteX122" fmla="*/ 33428 w 254844"/>
                    <a:gd name="connsiteY122" fmla="*/ 196686 h 452193"/>
                    <a:gd name="connsiteX123" fmla="*/ 28358 w 254844"/>
                    <a:gd name="connsiteY123" fmla="*/ 194315 h 452193"/>
                    <a:gd name="connsiteX124" fmla="*/ 33428 w 254844"/>
                    <a:gd name="connsiteY124" fmla="*/ 191767 h 452193"/>
                    <a:gd name="connsiteX125" fmla="*/ 36001 w 254844"/>
                    <a:gd name="connsiteY125" fmla="*/ 181626 h 452193"/>
                    <a:gd name="connsiteX126" fmla="*/ 28345 w 254844"/>
                    <a:gd name="connsiteY126" fmla="*/ 176961 h 452193"/>
                    <a:gd name="connsiteX127" fmla="*/ 24161 w 254844"/>
                    <a:gd name="connsiteY127" fmla="*/ 171333 h 452193"/>
                    <a:gd name="connsiteX128" fmla="*/ 27381 w 254844"/>
                    <a:gd name="connsiteY128" fmla="*/ 160849 h 452193"/>
                    <a:gd name="connsiteX129" fmla="*/ 25822 w 254844"/>
                    <a:gd name="connsiteY129" fmla="*/ 158554 h 452193"/>
                    <a:gd name="connsiteX130" fmla="*/ 22082 w 254844"/>
                    <a:gd name="connsiteY130" fmla="*/ 170027 h 452193"/>
                    <a:gd name="connsiteX131" fmla="*/ 16910 w 254844"/>
                    <a:gd name="connsiteY131" fmla="*/ 158935 h 452193"/>
                    <a:gd name="connsiteX132" fmla="*/ 12638 w 254844"/>
                    <a:gd name="connsiteY132" fmla="*/ 162586 h 452193"/>
                    <a:gd name="connsiteX133" fmla="*/ 15732 w 254844"/>
                    <a:gd name="connsiteY133" fmla="*/ 170128 h 452193"/>
                    <a:gd name="connsiteX134" fmla="*/ 12182 w 254844"/>
                    <a:gd name="connsiteY134" fmla="*/ 172423 h 452193"/>
                    <a:gd name="connsiteX135" fmla="*/ 10661 w 254844"/>
                    <a:gd name="connsiteY135" fmla="*/ 160849 h 452193"/>
                    <a:gd name="connsiteX136" fmla="*/ 2003 w 254844"/>
                    <a:gd name="connsiteY136" fmla="*/ 162738 h 452193"/>
                    <a:gd name="connsiteX137" fmla="*/ 2066 w 254844"/>
                    <a:gd name="connsiteY137" fmla="*/ 157388 h 452193"/>
                    <a:gd name="connsiteX138" fmla="*/ 177 w 254844"/>
                    <a:gd name="connsiteY138" fmla="*/ 162193 h 452193"/>
                    <a:gd name="connsiteX139" fmla="*/ 2599 w 254844"/>
                    <a:gd name="connsiteY139" fmla="*/ 152711 h 452193"/>
                    <a:gd name="connsiteX140" fmla="*/ 6110 w 254844"/>
                    <a:gd name="connsiteY140" fmla="*/ 155652 h 452193"/>
                    <a:gd name="connsiteX141" fmla="*/ 4576 w 254844"/>
                    <a:gd name="connsiteY141" fmla="*/ 153332 h 452193"/>
                    <a:gd name="connsiteX142" fmla="*/ 8088 w 254844"/>
                    <a:gd name="connsiteY142" fmla="*/ 152711 h 452193"/>
                    <a:gd name="connsiteX143" fmla="*/ 7631 w 254844"/>
                    <a:gd name="connsiteY143" fmla="*/ 145282 h 452193"/>
                    <a:gd name="connsiteX144" fmla="*/ 13171 w 254844"/>
                    <a:gd name="connsiteY144" fmla="*/ 139983 h 452193"/>
                    <a:gd name="connsiteX145" fmla="*/ 11903 w 254844"/>
                    <a:gd name="connsiteY145" fmla="*/ 154992 h 452193"/>
                    <a:gd name="connsiteX146" fmla="*/ 16721 w 254844"/>
                    <a:gd name="connsiteY146" fmla="*/ 155030 h 452193"/>
                    <a:gd name="connsiteX147" fmla="*/ 15440 w 254844"/>
                    <a:gd name="connsiteY147" fmla="*/ 149263 h 452193"/>
                    <a:gd name="connsiteX148" fmla="*/ 20270 w 254844"/>
                    <a:gd name="connsiteY148" fmla="*/ 149263 h 452193"/>
                    <a:gd name="connsiteX149" fmla="*/ 18242 w 254844"/>
                    <a:gd name="connsiteY149" fmla="*/ 147589 h 452193"/>
                    <a:gd name="connsiteX150" fmla="*/ 16289 w 254844"/>
                    <a:gd name="connsiteY150" fmla="*/ 140186 h 452193"/>
                    <a:gd name="connsiteX151" fmla="*/ 18165 w 254844"/>
                    <a:gd name="connsiteY151" fmla="*/ 139299 h 452193"/>
                    <a:gd name="connsiteX152" fmla="*/ 15199 w 254844"/>
                    <a:gd name="connsiteY152" fmla="*/ 138310 h 452193"/>
                    <a:gd name="connsiteX153" fmla="*/ 22792 w 254844"/>
                    <a:gd name="connsiteY153" fmla="*/ 141771 h 452193"/>
                    <a:gd name="connsiteX154" fmla="*/ 26139 w 254844"/>
                    <a:gd name="connsiteY154" fmla="*/ 150581 h 452193"/>
                    <a:gd name="connsiteX155" fmla="*/ 28750 w 254844"/>
                    <a:gd name="connsiteY155" fmla="*/ 141593 h 452193"/>
                    <a:gd name="connsiteX156" fmla="*/ 33428 w 254844"/>
                    <a:gd name="connsiteY156" fmla="*/ 145802 h 452193"/>
                    <a:gd name="connsiteX157" fmla="*/ 27115 w 254844"/>
                    <a:gd name="connsiteY157" fmla="*/ 136535 h 452193"/>
                    <a:gd name="connsiteX158" fmla="*/ 32668 w 254844"/>
                    <a:gd name="connsiteY158" fmla="*/ 139096 h 452193"/>
                    <a:gd name="connsiteX159" fmla="*/ 27394 w 254844"/>
                    <a:gd name="connsiteY159" fmla="*/ 132542 h 452193"/>
                    <a:gd name="connsiteX160" fmla="*/ 37041 w 254844"/>
                    <a:gd name="connsiteY160" fmla="*/ 144661 h 452193"/>
                    <a:gd name="connsiteX161" fmla="*/ 48209 w 254844"/>
                    <a:gd name="connsiteY161" fmla="*/ 146385 h 452193"/>
                    <a:gd name="connsiteX162" fmla="*/ 51239 w 254844"/>
                    <a:gd name="connsiteY162" fmla="*/ 144078 h 452193"/>
                    <a:gd name="connsiteX163" fmla="*/ 53241 w 254844"/>
                    <a:gd name="connsiteY163" fmla="*/ 157971 h 452193"/>
                    <a:gd name="connsiteX164" fmla="*/ 54192 w 254844"/>
                    <a:gd name="connsiteY164" fmla="*/ 151633 h 452193"/>
                    <a:gd name="connsiteX165" fmla="*/ 57260 w 254844"/>
                    <a:gd name="connsiteY165" fmla="*/ 152216 h 452193"/>
                    <a:gd name="connsiteX166" fmla="*/ 53938 w 254844"/>
                    <a:gd name="connsiteY166" fmla="*/ 148223 h 452193"/>
                    <a:gd name="connsiteX167" fmla="*/ 63877 w 254844"/>
                    <a:gd name="connsiteY167" fmla="*/ 139996 h 452193"/>
                    <a:gd name="connsiteX168" fmla="*/ 67388 w 254844"/>
                    <a:gd name="connsiteY168" fmla="*/ 137740 h 452193"/>
                    <a:gd name="connsiteX169" fmla="*/ 51289 w 254844"/>
                    <a:gd name="connsiteY169" fmla="*/ 136966 h 452193"/>
                    <a:gd name="connsiteX170" fmla="*/ 55764 w 254844"/>
                    <a:gd name="connsiteY170" fmla="*/ 136523 h 452193"/>
                    <a:gd name="connsiteX171" fmla="*/ 54712 w 254844"/>
                    <a:gd name="connsiteY171" fmla="*/ 135369 h 452193"/>
                    <a:gd name="connsiteX172" fmla="*/ 57691 w 254844"/>
                    <a:gd name="connsiteY172" fmla="*/ 135990 h 452193"/>
                    <a:gd name="connsiteX173" fmla="*/ 55333 w 254844"/>
                    <a:gd name="connsiteY173" fmla="*/ 128727 h 452193"/>
                    <a:gd name="connsiteX174" fmla="*/ 46067 w 254844"/>
                    <a:gd name="connsiteY174" fmla="*/ 129399 h 452193"/>
                    <a:gd name="connsiteX175" fmla="*/ 54712 w 254844"/>
                    <a:gd name="connsiteY175" fmla="*/ 122350 h 452193"/>
                    <a:gd name="connsiteX176" fmla="*/ 49692 w 254844"/>
                    <a:gd name="connsiteY176" fmla="*/ 121501 h 452193"/>
                    <a:gd name="connsiteX177" fmla="*/ 41046 w 254844"/>
                    <a:gd name="connsiteY177" fmla="*/ 126179 h 452193"/>
                    <a:gd name="connsiteX178" fmla="*/ 42606 w 254844"/>
                    <a:gd name="connsiteY178" fmla="*/ 123250 h 452193"/>
                    <a:gd name="connsiteX179" fmla="*/ 39766 w 254844"/>
                    <a:gd name="connsiteY179" fmla="*/ 123517 h 452193"/>
                    <a:gd name="connsiteX180" fmla="*/ 43506 w 254844"/>
                    <a:gd name="connsiteY180" fmla="*/ 119169 h 452193"/>
                    <a:gd name="connsiteX181" fmla="*/ 39031 w 254844"/>
                    <a:gd name="connsiteY181" fmla="*/ 115670 h 452193"/>
                    <a:gd name="connsiteX182" fmla="*/ 47119 w 254844"/>
                    <a:gd name="connsiteY182" fmla="*/ 115670 h 452193"/>
                    <a:gd name="connsiteX183" fmla="*/ 48184 w 254844"/>
                    <a:gd name="connsiteY183" fmla="*/ 118560 h 452193"/>
                    <a:gd name="connsiteX184" fmla="*/ 54712 w 254844"/>
                    <a:gd name="connsiteY184" fmla="*/ 114516 h 452193"/>
                    <a:gd name="connsiteX185" fmla="*/ 43607 w 254844"/>
                    <a:gd name="connsiteY185" fmla="*/ 105262 h 452193"/>
                    <a:gd name="connsiteX186" fmla="*/ 35849 w 254844"/>
                    <a:gd name="connsiteY186" fmla="*/ 105047 h 452193"/>
                    <a:gd name="connsiteX187" fmla="*/ 37966 w 254844"/>
                    <a:gd name="connsiteY187" fmla="*/ 94462 h 452193"/>
                    <a:gd name="connsiteX188" fmla="*/ 35215 w 254844"/>
                    <a:gd name="connsiteY188" fmla="*/ 95096 h 452193"/>
                    <a:gd name="connsiteX189" fmla="*/ 30893 w 254844"/>
                    <a:gd name="connsiteY189" fmla="*/ 71860 h 452193"/>
                    <a:gd name="connsiteX190" fmla="*/ 46193 w 254844"/>
                    <a:gd name="connsiteY190" fmla="*/ 83104 h 452193"/>
                    <a:gd name="connsiteX191" fmla="*/ 42124 w 254844"/>
                    <a:gd name="connsiteY191" fmla="*/ 66789 h 452193"/>
                    <a:gd name="connsiteX192" fmla="*/ 39703 w 254844"/>
                    <a:gd name="connsiteY192" fmla="*/ 66954 h 452193"/>
                    <a:gd name="connsiteX193" fmla="*/ 60404 w 254844"/>
                    <a:gd name="connsiteY193" fmla="*/ 36289 h 452193"/>
                    <a:gd name="connsiteX194" fmla="*/ 106521 w 254844"/>
                    <a:gd name="connsiteY194" fmla="*/ 25590 h 452193"/>
                    <a:gd name="connsiteX195" fmla="*/ 155757 w 254844"/>
                    <a:gd name="connsiteY195" fmla="*/ 17046 h 452193"/>
                    <a:gd name="connsiteX196" fmla="*/ 160003 w 254844"/>
                    <a:gd name="connsiteY196" fmla="*/ 1632 h 452193"/>
                    <a:gd name="connsiteX197" fmla="*/ 173415 w 254844"/>
                    <a:gd name="connsiteY197" fmla="*/ 15982 h 452193"/>
                    <a:gd name="connsiteX198" fmla="*/ 173415 w 254844"/>
                    <a:gd name="connsiteY198" fmla="*/ 15982 h 452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254844" h="452193">
                      <a:moveTo>
                        <a:pt x="51340" y="424457"/>
                      </a:moveTo>
                      <a:cubicBezTo>
                        <a:pt x="54687" y="426067"/>
                        <a:pt x="59326" y="430555"/>
                        <a:pt x="60416" y="431163"/>
                      </a:cubicBezTo>
                      <a:cubicBezTo>
                        <a:pt x="61253" y="448771"/>
                        <a:pt x="27229" y="453017"/>
                        <a:pt x="13475" y="451648"/>
                      </a:cubicBezTo>
                      <a:cubicBezTo>
                        <a:pt x="11726" y="451471"/>
                        <a:pt x="4627" y="454564"/>
                        <a:pt x="2966" y="447706"/>
                      </a:cubicBezTo>
                      <a:cubicBezTo>
                        <a:pt x="1711" y="442724"/>
                        <a:pt x="7441" y="437109"/>
                        <a:pt x="11003" y="434472"/>
                      </a:cubicBezTo>
                      <a:cubicBezTo>
                        <a:pt x="20207" y="427652"/>
                        <a:pt x="39411" y="423228"/>
                        <a:pt x="51340" y="424457"/>
                      </a:cubicBezTo>
                      <a:lnTo>
                        <a:pt x="51340" y="424457"/>
                      </a:lnTo>
                      <a:close/>
                      <a:moveTo>
                        <a:pt x="173415" y="15982"/>
                      </a:moveTo>
                      <a:cubicBezTo>
                        <a:pt x="191720" y="48928"/>
                        <a:pt x="214436" y="76778"/>
                        <a:pt x="232500" y="107836"/>
                      </a:cubicBezTo>
                      <a:cubicBezTo>
                        <a:pt x="240639" y="121818"/>
                        <a:pt x="247268" y="140440"/>
                        <a:pt x="247129" y="157414"/>
                      </a:cubicBezTo>
                      <a:cubicBezTo>
                        <a:pt x="247053" y="172118"/>
                        <a:pt x="240550" y="186810"/>
                        <a:pt x="240626" y="201287"/>
                      </a:cubicBezTo>
                      <a:cubicBezTo>
                        <a:pt x="240651" y="209806"/>
                        <a:pt x="242996" y="233042"/>
                        <a:pt x="253264" y="214597"/>
                      </a:cubicBezTo>
                      <a:cubicBezTo>
                        <a:pt x="258386" y="220581"/>
                        <a:pt x="249550" y="237770"/>
                        <a:pt x="248067" y="245363"/>
                      </a:cubicBezTo>
                      <a:cubicBezTo>
                        <a:pt x="246977" y="250916"/>
                        <a:pt x="247750" y="261843"/>
                        <a:pt x="242768" y="265747"/>
                      </a:cubicBezTo>
                      <a:cubicBezTo>
                        <a:pt x="241932" y="263833"/>
                        <a:pt x="240525" y="261995"/>
                        <a:pt x="239865" y="260664"/>
                      </a:cubicBezTo>
                      <a:cubicBezTo>
                        <a:pt x="239624" y="261196"/>
                        <a:pt x="239460" y="261741"/>
                        <a:pt x="239231" y="262287"/>
                      </a:cubicBezTo>
                      <a:cubicBezTo>
                        <a:pt x="242971" y="269943"/>
                        <a:pt x="223906" y="300101"/>
                        <a:pt x="216972" y="295043"/>
                      </a:cubicBezTo>
                      <a:cubicBezTo>
                        <a:pt x="215412" y="296716"/>
                        <a:pt x="213878" y="298503"/>
                        <a:pt x="213245" y="300494"/>
                      </a:cubicBezTo>
                      <a:cubicBezTo>
                        <a:pt x="213080" y="299771"/>
                        <a:pt x="212674" y="299213"/>
                        <a:pt x="212040" y="298808"/>
                      </a:cubicBezTo>
                      <a:cubicBezTo>
                        <a:pt x="211761" y="299416"/>
                        <a:pt x="212395" y="300633"/>
                        <a:pt x="212269" y="301279"/>
                      </a:cubicBezTo>
                      <a:cubicBezTo>
                        <a:pt x="208529" y="301077"/>
                        <a:pt x="207882" y="298110"/>
                        <a:pt x="209137" y="293699"/>
                      </a:cubicBezTo>
                      <a:cubicBezTo>
                        <a:pt x="208034" y="295195"/>
                        <a:pt x="205918" y="297350"/>
                        <a:pt x="205208" y="298339"/>
                      </a:cubicBezTo>
                      <a:cubicBezTo>
                        <a:pt x="205487" y="297033"/>
                        <a:pt x="204929" y="295626"/>
                        <a:pt x="204688" y="294992"/>
                      </a:cubicBezTo>
                      <a:cubicBezTo>
                        <a:pt x="202875" y="299632"/>
                        <a:pt x="198806" y="299340"/>
                        <a:pt x="196068" y="295854"/>
                      </a:cubicBezTo>
                      <a:cubicBezTo>
                        <a:pt x="193292" y="298909"/>
                        <a:pt x="193875" y="297020"/>
                        <a:pt x="190097" y="297096"/>
                      </a:cubicBezTo>
                      <a:cubicBezTo>
                        <a:pt x="190148" y="295702"/>
                        <a:pt x="189920" y="294320"/>
                        <a:pt x="189793" y="293141"/>
                      </a:cubicBezTo>
                      <a:cubicBezTo>
                        <a:pt x="188437" y="294130"/>
                        <a:pt x="189210" y="293737"/>
                        <a:pt x="188601" y="295436"/>
                      </a:cubicBezTo>
                      <a:cubicBezTo>
                        <a:pt x="185990" y="294244"/>
                        <a:pt x="186789" y="292812"/>
                        <a:pt x="183987" y="293154"/>
                      </a:cubicBezTo>
                      <a:cubicBezTo>
                        <a:pt x="183772" y="291290"/>
                        <a:pt x="183062" y="288945"/>
                        <a:pt x="182833" y="287259"/>
                      </a:cubicBezTo>
                      <a:cubicBezTo>
                        <a:pt x="179880" y="291442"/>
                        <a:pt x="183582" y="297641"/>
                        <a:pt x="186535" y="299974"/>
                      </a:cubicBezTo>
                      <a:cubicBezTo>
                        <a:pt x="175976" y="300215"/>
                        <a:pt x="173909" y="293864"/>
                        <a:pt x="165771" y="304525"/>
                      </a:cubicBezTo>
                      <a:cubicBezTo>
                        <a:pt x="174365" y="297033"/>
                        <a:pt x="178625" y="305945"/>
                        <a:pt x="169358" y="306528"/>
                      </a:cubicBezTo>
                      <a:cubicBezTo>
                        <a:pt x="170081" y="309177"/>
                        <a:pt x="170639" y="311814"/>
                        <a:pt x="170994" y="314793"/>
                      </a:cubicBezTo>
                      <a:cubicBezTo>
                        <a:pt x="172363" y="314767"/>
                        <a:pt x="171666" y="313525"/>
                        <a:pt x="172388" y="313119"/>
                      </a:cubicBezTo>
                      <a:cubicBezTo>
                        <a:pt x="172211" y="317037"/>
                        <a:pt x="171108" y="317810"/>
                        <a:pt x="166633" y="318469"/>
                      </a:cubicBezTo>
                      <a:cubicBezTo>
                        <a:pt x="166405" y="318583"/>
                        <a:pt x="168750" y="316948"/>
                        <a:pt x="169029" y="316517"/>
                      </a:cubicBezTo>
                      <a:cubicBezTo>
                        <a:pt x="164224" y="316301"/>
                        <a:pt x="161017" y="315642"/>
                        <a:pt x="164769" y="312574"/>
                      </a:cubicBezTo>
                      <a:cubicBezTo>
                        <a:pt x="164199" y="311535"/>
                        <a:pt x="163641" y="310495"/>
                        <a:pt x="163058" y="309456"/>
                      </a:cubicBezTo>
                      <a:cubicBezTo>
                        <a:pt x="158583" y="315249"/>
                        <a:pt x="154869" y="306654"/>
                        <a:pt x="153614" y="314171"/>
                      </a:cubicBezTo>
                      <a:cubicBezTo>
                        <a:pt x="143841" y="312764"/>
                        <a:pt x="139974" y="309697"/>
                        <a:pt x="143447" y="298199"/>
                      </a:cubicBezTo>
                      <a:cubicBezTo>
                        <a:pt x="141914" y="299479"/>
                        <a:pt x="139480" y="301216"/>
                        <a:pt x="138377" y="302230"/>
                      </a:cubicBezTo>
                      <a:cubicBezTo>
                        <a:pt x="138821" y="303219"/>
                        <a:pt x="139252" y="304195"/>
                        <a:pt x="139721" y="305171"/>
                      </a:cubicBezTo>
                      <a:cubicBezTo>
                        <a:pt x="137984" y="305374"/>
                        <a:pt x="136551" y="306249"/>
                        <a:pt x="134878" y="306832"/>
                      </a:cubicBezTo>
                      <a:cubicBezTo>
                        <a:pt x="134359" y="305311"/>
                        <a:pt x="133877" y="304512"/>
                        <a:pt x="132812" y="303422"/>
                      </a:cubicBezTo>
                      <a:cubicBezTo>
                        <a:pt x="132812" y="312524"/>
                        <a:pt x="121555" y="309938"/>
                        <a:pt x="117549" y="305881"/>
                      </a:cubicBezTo>
                      <a:cubicBezTo>
                        <a:pt x="117372" y="311877"/>
                        <a:pt x="111744" y="315667"/>
                        <a:pt x="108105" y="309519"/>
                      </a:cubicBezTo>
                      <a:cubicBezTo>
                        <a:pt x="102743" y="320877"/>
                        <a:pt x="116092" y="318760"/>
                        <a:pt x="121707" y="317607"/>
                      </a:cubicBezTo>
                      <a:cubicBezTo>
                        <a:pt x="120871" y="331107"/>
                        <a:pt x="107421" y="324769"/>
                        <a:pt x="111718" y="336837"/>
                      </a:cubicBezTo>
                      <a:cubicBezTo>
                        <a:pt x="105989" y="335379"/>
                        <a:pt x="103073" y="319800"/>
                        <a:pt x="102566" y="314121"/>
                      </a:cubicBezTo>
                      <a:cubicBezTo>
                        <a:pt x="100905" y="318925"/>
                        <a:pt x="96494" y="320548"/>
                        <a:pt x="91360" y="319699"/>
                      </a:cubicBezTo>
                      <a:cubicBezTo>
                        <a:pt x="92818" y="320129"/>
                        <a:pt x="94934" y="321752"/>
                        <a:pt x="95847" y="322145"/>
                      </a:cubicBezTo>
                      <a:cubicBezTo>
                        <a:pt x="93451" y="322766"/>
                        <a:pt x="92196" y="324440"/>
                        <a:pt x="90827" y="325035"/>
                      </a:cubicBezTo>
                      <a:cubicBezTo>
                        <a:pt x="94795" y="326050"/>
                        <a:pt x="95188" y="331602"/>
                        <a:pt x="100411" y="335253"/>
                      </a:cubicBezTo>
                      <a:cubicBezTo>
                        <a:pt x="99904" y="334923"/>
                        <a:pt x="98332" y="335050"/>
                        <a:pt x="97787" y="335253"/>
                      </a:cubicBezTo>
                      <a:cubicBezTo>
                        <a:pt x="108473" y="342516"/>
                        <a:pt x="93705" y="337395"/>
                        <a:pt x="92868" y="338219"/>
                      </a:cubicBezTo>
                      <a:cubicBezTo>
                        <a:pt x="88913" y="342073"/>
                        <a:pt x="91334" y="342935"/>
                        <a:pt x="96836" y="343226"/>
                      </a:cubicBezTo>
                      <a:cubicBezTo>
                        <a:pt x="92843" y="346446"/>
                        <a:pt x="88850" y="347283"/>
                        <a:pt x="89737" y="351162"/>
                      </a:cubicBezTo>
                      <a:cubicBezTo>
                        <a:pt x="85351" y="348994"/>
                        <a:pt x="80978" y="339449"/>
                        <a:pt x="77580" y="345508"/>
                      </a:cubicBezTo>
                      <a:cubicBezTo>
                        <a:pt x="71052" y="343150"/>
                        <a:pt x="75704" y="338371"/>
                        <a:pt x="80128" y="335253"/>
                      </a:cubicBezTo>
                      <a:cubicBezTo>
                        <a:pt x="79558" y="336888"/>
                        <a:pt x="79190" y="338701"/>
                        <a:pt x="78620" y="340399"/>
                      </a:cubicBezTo>
                      <a:cubicBezTo>
                        <a:pt x="85643" y="339651"/>
                        <a:pt x="82080" y="333795"/>
                        <a:pt x="85047" y="329764"/>
                      </a:cubicBezTo>
                      <a:cubicBezTo>
                        <a:pt x="83260" y="332210"/>
                        <a:pt x="93844" y="336039"/>
                        <a:pt x="88875" y="326582"/>
                      </a:cubicBezTo>
                      <a:cubicBezTo>
                        <a:pt x="84007" y="326696"/>
                        <a:pt x="87354" y="328179"/>
                        <a:pt x="82714" y="324465"/>
                      </a:cubicBezTo>
                      <a:cubicBezTo>
                        <a:pt x="81029" y="332210"/>
                        <a:pt x="71914" y="331690"/>
                        <a:pt x="66577" y="336774"/>
                      </a:cubicBezTo>
                      <a:cubicBezTo>
                        <a:pt x="62394" y="340754"/>
                        <a:pt x="58185" y="350186"/>
                        <a:pt x="56804" y="353431"/>
                      </a:cubicBezTo>
                      <a:cubicBezTo>
                        <a:pt x="47588" y="352011"/>
                        <a:pt x="49362" y="331209"/>
                        <a:pt x="44799" y="345356"/>
                      </a:cubicBezTo>
                      <a:cubicBezTo>
                        <a:pt x="45141" y="346801"/>
                        <a:pt x="46079" y="347080"/>
                        <a:pt x="46726" y="348309"/>
                      </a:cubicBezTo>
                      <a:cubicBezTo>
                        <a:pt x="45737" y="349362"/>
                        <a:pt x="43899" y="349679"/>
                        <a:pt x="42821" y="350743"/>
                      </a:cubicBezTo>
                      <a:cubicBezTo>
                        <a:pt x="43481" y="351732"/>
                        <a:pt x="44457" y="350680"/>
                        <a:pt x="44140" y="352150"/>
                      </a:cubicBezTo>
                      <a:cubicBezTo>
                        <a:pt x="39602" y="352176"/>
                        <a:pt x="34683" y="356968"/>
                        <a:pt x="35000" y="363141"/>
                      </a:cubicBezTo>
                      <a:cubicBezTo>
                        <a:pt x="33859" y="363496"/>
                        <a:pt x="30246" y="363826"/>
                        <a:pt x="28966" y="363661"/>
                      </a:cubicBezTo>
                      <a:cubicBezTo>
                        <a:pt x="27052" y="359173"/>
                        <a:pt x="29194" y="362114"/>
                        <a:pt x="25873" y="359148"/>
                      </a:cubicBezTo>
                      <a:cubicBezTo>
                        <a:pt x="29270" y="354813"/>
                        <a:pt x="26976" y="350921"/>
                        <a:pt x="24846" y="348892"/>
                      </a:cubicBezTo>
                      <a:cubicBezTo>
                        <a:pt x="27191" y="347042"/>
                        <a:pt x="26164" y="345622"/>
                        <a:pt x="30462" y="345508"/>
                      </a:cubicBezTo>
                      <a:cubicBezTo>
                        <a:pt x="30576" y="344659"/>
                        <a:pt x="28395" y="343835"/>
                        <a:pt x="28395" y="343809"/>
                      </a:cubicBezTo>
                      <a:cubicBezTo>
                        <a:pt x="28966" y="342668"/>
                        <a:pt x="30512" y="343023"/>
                        <a:pt x="30310" y="341388"/>
                      </a:cubicBezTo>
                      <a:cubicBezTo>
                        <a:pt x="25328" y="342466"/>
                        <a:pt x="19636" y="345597"/>
                        <a:pt x="15998" y="339575"/>
                      </a:cubicBezTo>
                      <a:cubicBezTo>
                        <a:pt x="12867" y="339879"/>
                        <a:pt x="11117" y="339715"/>
                        <a:pt x="14286" y="337560"/>
                      </a:cubicBezTo>
                      <a:cubicBezTo>
                        <a:pt x="10648" y="335747"/>
                        <a:pt x="8684" y="325796"/>
                        <a:pt x="13310" y="325682"/>
                      </a:cubicBezTo>
                      <a:cubicBezTo>
                        <a:pt x="17266" y="325593"/>
                        <a:pt x="15440" y="339385"/>
                        <a:pt x="24732" y="339575"/>
                      </a:cubicBezTo>
                      <a:cubicBezTo>
                        <a:pt x="24947" y="339094"/>
                        <a:pt x="25150" y="338612"/>
                        <a:pt x="25366" y="338130"/>
                      </a:cubicBezTo>
                      <a:cubicBezTo>
                        <a:pt x="22754" y="336495"/>
                        <a:pt x="22906" y="336089"/>
                        <a:pt x="21170" y="333921"/>
                      </a:cubicBezTo>
                      <a:cubicBezTo>
                        <a:pt x="19560" y="334124"/>
                        <a:pt x="20384" y="335050"/>
                        <a:pt x="18952" y="335329"/>
                      </a:cubicBezTo>
                      <a:cubicBezTo>
                        <a:pt x="18178" y="333174"/>
                        <a:pt x="18381" y="331107"/>
                        <a:pt x="18381" y="329066"/>
                      </a:cubicBezTo>
                      <a:cubicBezTo>
                        <a:pt x="24288" y="329954"/>
                        <a:pt x="24200" y="333085"/>
                        <a:pt x="29993" y="336381"/>
                      </a:cubicBezTo>
                      <a:cubicBezTo>
                        <a:pt x="29879" y="336102"/>
                        <a:pt x="28978" y="334682"/>
                        <a:pt x="28776" y="334112"/>
                      </a:cubicBezTo>
                      <a:cubicBezTo>
                        <a:pt x="31032" y="334885"/>
                        <a:pt x="34328" y="335126"/>
                        <a:pt x="36483" y="335810"/>
                      </a:cubicBezTo>
                      <a:cubicBezTo>
                        <a:pt x="29955" y="333250"/>
                        <a:pt x="24275" y="328395"/>
                        <a:pt x="17278" y="325910"/>
                      </a:cubicBezTo>
                      <a:cubicBezTo>
                        <a:pt x="21233" y="323007"/>
                        <a:pt x="25898" y="324008"/>
                        <a:pt x="29955" y="326163"/>
                      </a:cubicBezTo>
                      <a:cubicBezTo>
                        <a:pt x="29765" y="320269"/>
                        <a:pt x="36407" y="322031"/>
                        <a:pt x="39564" y="321004"/>
                      </a:cubicBezTo>
                      <a:cubicBezTo>
                        <a:pt x="37535" y="320852"/>
                        <a:pt x="36001" y="319597"/>
                        <a:pt x="32946" y="319863"/>
                      </a:cubicBezTo>
                      <a:cubicBezTo>
                        <a:pt x="36293" y="306718"/>
                        <a:pt x="29802" y="321308"/>
                        <a:pt x="26874" y="323286"/>
                      </a:cubicBezTo>
                      <a:cubicBezTo>
                        <a:pt x="26925" y="323020"/>
                        <a:pt x="26760" y="322842"/>
                        <a:pt x="26405" y="322766"/>
                      </a:cubicBezTo>
                      <a:cubicBezTo>
                        <a:pt x="26329" y="322335"/>
                        <a:pt x="27457" y="321423"/>
                        <a:pt x="27407" y="321004"/>
                      </a:cubicBezTo>
                      <a:cubicBezTo>
                        <a:pt x="26976" y="321080"/>
                        <a:pt x="20549" y="321511"/>
                        <a:pt x="21372" y="322335"/>
                      </a:cubicBezTo>
                      <a:cubicBezTo>
                        <a:pt x="17582" y="318634"/>
                        <a:pt x="21639" y="323603"/>
                        <a:pt x="20080" y="318951"/>
                      </a:cubicBezTo>
                      <a:cubicBezTo>
                        <a:pt x="18977" y="315743"/>
                        <a:pt x="20207" y="309164"/>
                        <a:pt x="22653" y="306566"/>
                      </a:cubicBezTo>
                      <a:cubicBezTo>
                        <a:pt x="17291" y="308074"/>
                        <a:pt x="15656" y="313880"/>
                        <a:pt x="12651" y="307301"/>
                      </a:cubicBezTo>
                      <a:cubicBezTo>
                        <a:pt x="13425" y="307250"/>
                        <a:pt x="15491" y="307478"/>
                        <a:pt x="16188" y="307301"/>
                      </a:cubicBezTo>
                      <a:cubicBezTo>
                        <a:pt x="18647" y="303599"/>
                        <a:pt x="17506" y="299657"/>
                        <a:pt x="12651" y="297641"/>
                      </a:cubicBezTo>
                      <a:cubicBezTo>
                        <a:pt x="12448" y="299251"/>
                        <a:pt x="13336" y="298808"/>
                        <a:pt x="12727" y="300582"/>
                      </a:cubicBezTo>
                      <a:cubicBezTo>
                        <a:pt x="10002" y="298732"/>
                        <a:pt x="7111" y="291329"/>
                        <a:pt x="13678" y="295360"/>
                      </a:cubicBezTo>
                      <a:cubicBezTo>
                        <a:pt x="13729" y="295284"/>
                        <a:pt x="15820" y="291899"/>
                        <a:pt x="15744" y="291924"/>
                      </a:cubicBezTo>
                      <a:cubicBezTo>
                        <a:pt x="14794" y="297578"/>
                        <a:pt x="19141" y="299695"/>
                        <a:pt x="21816" y="303371"/>
                      </a:cubicBezTo>
                      <a:cubicBezTo>
                        <a:pt x="26862" y="296348"/>
                        <a:pt x="17126" y="291772"/>
                        <a:pt x="17253" y="285054"/>
                      </a:cubicBezTo>
                      <a:cubicBezTo>
                        <a:pt x="15909" y="285269"/>
                        <a:pt x="14629" y="285421"/>
                        <a:pt x="13196" y="285561"/>
                      </a:cubicBezTo>
                      <a:cubicBezTo>
                        <a:pt x="14477" y="285408"/>
                        <a:pt x="16517" y="284116"/>
                        <a:pt x="18267" y="283976"/>
                      </a:cubicBezTo>
                      <a:cubicBezTo>
                        <a:pt x="18242" y="283824"/>
                        <a:pt x="16910" y="283253"/>
                        <a:pt x="16746" y="283342"/>
                      </a:cubicBezTo>
                      <a:cubicBezTo>
                        <a:pt x="18064" y="280173"/>
                        <a:pt x="19141" y="277587"/>
                        <a:pt x="20764" y="274164"/>
                      </a:cubicBezTo>
                      <a:cubicBezTo>
                        <a:pt x="22146" y="275546"/>
                        <a:pt x="22831" y="275394"/>
                        <a:pt x="24288" y="276218"/>
                      </a:cubicBezTo>
                      <a:cubicBezTo>
                        <a:pt x="14591" y="268004"/>
                        <a:pt x="34582" y="252881"/>
                        <a:pt x="41566" y="260423"/>
                      </a:cubicBezTo>
                      <a:cubicBezTo>
                        <a:pt x="39931" y="246999"/>
                        <a:pt x="20282" y="264644"/>
                        <a:pt x="29220" y="248355"/>
                      </a:cubicBezTo>
                      <a:cubicBezTo>
                        <a:pt x="32439" y="242549"/>
                        <a:pt x="42276" y="234956"/>
                        <a:pt x="48196" y="241535"/>
                      </a:cubicBezTo>
                      <a:cubicBezTo>
                        <a:pt x="47664" y="237719"/>
                        <a:pt x="46307" y="237010"/>
                        <a:pt x="42149" y="234867"/>
                      </a:cubicBezTo>
                      <a:cubicBezTo>
                        <a:pt x="45369" y="233574"/>
                        <a:pt x="49210" y="232547"/>
                        <a:pt x="52303" y="230380"/>
                      </a:cubicBezTo>
                      <a:cubicBezTo>
                        <a:pt x="48222" y="228630"/>
                        <a:pt x="44292" y="231546"/>
                        <a:pt x="39196" y="230899"/>
                      </a:cubicBezTo>
                      <a:cubicBezTo>
                        <a:pt x="33656" y="230189"/>
                        <a:pt x="36635" y="225651"/>
                        <a:pt x="29245" y="226425"/>
                      </a:cubicBezTo>
                      <a:cubicBezTo>
                        <a:pt x="29143" y="225588"/>
                        <a:pt x="29017" y="224751"/>
                        <a:pt x="28928" y="223902"/>
                      </a:cubicBezTo>
                      <a:cubicBezTo>
                        <a:pt x="38397" y="222951"/>
                        <a:pt x="48374" y="223230"/>
                        <a:pt x="54725" y="216233"/>
                      </a:cubicBezTo>
                      <a:cubicBezTo>
                        <a:pt x="45103" y="218616"/>
                        <a:pt x="45648" y="221785"/>
                        <a:pt x="38613" y="217234"/>
                      </a:cubicBezTo>
                      <a:cubicBezTo>
                        <a:pt x="35444" y="215193"/>
                        <a:pt x="32439" y="205217"/>
                        <a:pt x="27330" y="210871"/>
                      </a:cubicBezTo>
                      <a:cubicBezTo>
                        <a:pt x="27508" y="206801"/>
                        <a:pt x="30487" y="205648"/>
                        <a:pt x="34949" y="207004"/>
                      </a:cubicBezTo>
                      <a:cubicBezTo>
                        <a:pt x="30081" y="204596"/>
                        <a:pt x="28966" y="200932"/>
                        <a:pt x="33428" y="196686"/>
                      </a:cubicBezTo>
                      <a:cubicBezTo>
                        <a:pt x="31958" y="196204"/>
                        <a:pt x="30196" y="194683"/>
                        <a:pt x="28358" y="194315"/>
                      </a:cubicBezTo>
                      <a:cubicBezTo>
                        <a:pt x="29891" y="193719"/>
                        <a:pt x="32008" y="192185"/>
                        <a:pt x="33428" y="191767"/>
                      </a:cubicBezTo>
                      <a:cubicBezTo>
                        <a:pt x="24301" y="189333"/>
                        <a:pt x="27724" y="184174"/>
                        <a:pt x="36001" y="181626"/>
                      </a:cubicBezTo>
                      <a:cubicBezTo>
                        <a:pt x="30196" y="183515"/>
                        <a:pt x="22868" y="185365"/>
                        <a:pt x="28345" y="176961"/>
                      </a:cubicBezTo>
                      <a:cubicBezTo>
                        <a:pt x="24377" y="175731"/>
                        <a:pt x="25873" y="175427"/>
                        <a:pt x="24161" y="171333"/>
                      </a:cubicBezTo>
                      <a:cubicBezTo>
                        <a:pt x="32237" y="169634"/>
                        <a:pt x="23908" y="164665"/>
                        <a:pt x="27381" y="160849"/>
                      </a:cubicBezTo>
                      <a:cubicBezTo>
                        <a:pt x="26874" y="160456"/>
                        <a:pt x="25848" y="159353"/>
                        <a:pt x="25822" y="158554"/>
                      </a:cubicBezTo>
                      <a:cubicBezTo>
                        <a:pt x="23097" y="160811"/>
                        <a:pt x="24060" y="169254"/>
                        <a:pt x="22082" y="170027"/>
                      </a:cubicBezTo>
                      <a:cubicBezTo>
                        <a:pt x="16606" y="172157"/>
                        <a:pt x="17811" y="161572"/>
                        <a:pt x="16910" y="158935"/>
                      </a:cubicBezTo>
                      <a:cubicBezTo>
                        <a:pt x="15782" y="159594"/>
                        <a:pt x="13222" y="161863"/>
                        <a:pt x="12638" y="162586"/>
                      </a:cubicBezTo>
                      <a:cubicBezTo>
                        <a:pt x="14908" y="165679"/>
                        <a:pt x="14122" y="167428"/>
                        <a:pt x="15732" y="170128"/>
                      </a:cubicBezTo>
                      <a:cubicBezTo>
                        <a:pt x="14908" y="170711"/>
                        <a:pt x="13095" y="171890"/>
                        <a:pt x="12182" y="172423"/>
                      </a:cubicBezTo>
                      <a:cubicBezTo>
                        <a:pt x="12030" y="168138"/>
                        <a:pt x="11561" y="165159"/>
                        <a:pt x="10661" y="160849"/>
                      </a:cubicBezTo>
                      <a:cubicBezTo>
                        <a:pt x="6858" y="165463"/>
                        <a:pt x="5172" y="163967"/>
                        <a:pt x="2003" y="162738"/>
                      </a:cubicBezTo>
                      <a:cubicBezTo>
                        <a:pt x="6161" y="164335"/>
                        <a:pt x="6592" y="159581"/>
                        <a:pt x="2066" y="157388"/>
                      </a:cubicBezTo>
                      <a:cubicBezTo>
                        <a:pt x="1521" y="158947"/>
                        <a:pt x="608" y="160849"/>
                        <a:pt x="177" y="162193"/>
                      </a:cubicBezTo>
                      <a:cubicBezTo>
                        <a:pt x="-368" y="158301"/>
                        <a:pt x="317" y="155943"/>
                        <a:pt x="2599" y="152711"/>
                      </a:cubicBezTo>
                      <a:cubicBezTo>
                        <a:pt x="4095" y="155538"/>
                        <a:pt x="4437" y="154092"/>
                        <a:pt x="6110" y="155652"/>
                      </a:cubicBezTo>
                      <a:cubicBezTo>
                        <a:pt x="5527" y="154929"/>
                        <a:pt x="5007" y="154168"/>
                        <a:pt x="4576" y="153332"/>
                      </a:cubicBezTo>
                      <a:cubicBezTo>
                        <a:pt x="6313" y="153775"/>
                        <a:pt x="7048" y="154409"/>
                        <a:pt x="8088" y="152711"/>
                      </a:cubicBezTo>
                      <a:cubicBezTo>
                        <a:pt x="4158" y="151265"/>
                        <a:pt x="3600" y="147513"/>
                        <a:pt x="7631" y="145282"/>
                      </a:cubicBezTo>
                      <a:cubicBezTo>
                        <a:pt x="10395" y="151557"/>
                        <a:pt x="12284" y="143495"/>
                        <a:pt x="13171" y="139983"/>
                      </a:cubicBezTo>
                      <a:cubicBezTo>
                        <a:pt x="13970" y="145992"/>
                        <a:pt x="12829" y="150581"/>
                        <a:pt x="11903" y="154992"/>
                      </a:cubicBezTo>
                      <a:cubicBezTo>
                        <a:pt x="13120" y="155018"/>
                        <a:pt x="15516" y="155068"/>
                        <a:pt x="16721" y="155030"/>
                      </a:cubicBezTo>
                      <a:cubicBezTo>
                        <a:pt x="15174" y="152673"/>
                        <a:pt x="15884" y="150695"/>
                        <a:pt x="15440" y="149263"/>
                      </a:cubicBezTo>
                      <a:cubicBezTo>
                        <a:pt x="19370" y="150923"/>
                        <a:pt x="15871" y="149161"/>
                        <a:pt x="20270" y="149263"/>
                      </a:cubicBezTo>
                      <a:cubicBezTo>
                        <a:pt x="20447" y="148439"/>
                        <a:pt x="18660" y="148337"/>
                        <a:pt x="18242" y="147589"/>
                      </a:cubicBezTo>
                      <a:cubicBezTo>
                        <a:pt x="22805" y="144534"/>
                        <a:pt x="20663" y="141783"/>
                        <a:pt x="16289" y="140186"/>
                      </a:cubicBezTo>
                      <a:cubicBezTo>
                        <a:pt x="16796" y="141264"/>
                        <a:pt x="18077" y="139400"/>
                        <a:pt x="18165" y="139299"/>
                      </a:cubicBezTo>
                      <a:cubicBezTo>
                        <a:pt x="18635" y="139552"/>
                        <a:pt x="14438" y="137321"/>
                        <a:pt x="15199" y="138310"/>
                      </a:cubicBezTo>
                      <a:cubicBezTo>
                        <a:pt x="19547" y="136206"/>
                        <a:pt x="23895" y="135192"/>
                        <a:pt x="22792" y="141771"/>
                      </a:cubicBezTo>
                      <a:cubicBezTo>
                        <a:pt x="26671" y="141289"/>
                        <a:pt x="25873" y="146195"/>
                        <a:pt x="26139" y="150581"/>
                      </a:cubicBezTo>
                      <a:cubicBezTo>
                        <a:pt x="26342" y="147589"/>
                        <a:pt x="28332" y="144471"/>
                        <a:pt x="28750" y="141593"/>
                      </a:cubicBezTo>
                      <a:cubicBezTo>
                        <a:pt x="29993" y="142912"/>
                        <a:pt x="32642" y="144762"/>
                        <a:pt x="33428" y="145802"/>
                      </a:cubicBezTo>
                      <a:cubicBezTo>
                        <a:pt x="31767" y="142620"/>
                        <a:pt x="28991" y="138931"/>
                        <a:pt x="27115" y="136535"/>
                      </a:cubicBezTo>
                      <a:cubicBezTo>
                        <a:pt x="29042" y="137613"/>
                        <a:pt x="31083" y="138373"/>
                        <a:pt x="32668" y="139096"/>
                      </a:cubicBezTo>
                      <a:cubicBezTo>
                        <a:pt x="29828" y="137473"/>
                        <a:pt x="29321" y="134951"/>
                        <a:pt x="27394" y="132542"/>
                      </a:cubicBezTo>
                      <a:cubicBezTo>
                        <a:pt x="33745" y="134444"/>
                        <a:pt x="38448" y="138069"/>
                        <a:pt x="37041" y="144661"/>
                      </a:cubicBezTo>
                      <a:cubicBezTo>
                        <a:pt x="38131" y="134520"/>
                        <a:pt x="52874" y="137372"/>
                        <a:pt x="48209" y="146385"/>
                      </a:cubicBezTo>
                      <a:cubicBezTo>
                        <a:pt x="49020" y="145827"/>
                        <a:pt x="50731" y="144674"/>
                        <a:pt x="51239" y="144078"/>
                      </a:cubicBezTo>
                      <a:cubicBezTo>
                        <a:pt x="51898" y="148933"/>
                        <a:pt x="52101" y="155335"/>
                        <a:pt x="53241" y="157971"/>
                      </a:cubicBezTo>
                      <a:cubicBezTo>
                        <a:pt x="54116" y="155588"/>
                        <a:pt x="53761" y="153750"/>
                        <a:pt x="54192" y="151633"/>
                      </a:cubicBezTo>
                      <a:cubicBezTo>
                        <a:pt x="54725" y="151405"/>
                        <a:pt x="56575" y="152609"/>
                        <a:pt x="57260" y="152216"/>
                      </a:cubicBezTo>
                      <a:cubicBezTo>
                        <a:pt x="55853" y="151075"/>
                        <a:pt x="55156" y="149389"/>
                        <a:pt x="53938" y="148223"/>
                      </a:cubicBezTo>
                      <a:cubicBezTo>
                        <a:pt x="59111" y="147082"/>
                        <a:pt x="64891" y="145143"/>
                        <a:pt x="63877" y="139996"/>
                      </a:cubicBezTo>
                      <a:cubicBezTo>
                        <a:pt x="65297" y="139020"/>
                        <a:pt x="66260" y="138944"/>
                        <a:pt x="67388" y="137740"/>
                      </a:cubicBezTo>
                      <a:cubicBezTo>
                        <a:pt x="62495" y="140934"/>
                        <a:pt x="56030" y="147982"/>
                        <a:pt x="51289" y="136966"/>
                      </a:cubicBezTo>
                      <a:cubicBezTo>
                        <a:pt x="52773" y="136814"/>
                        <a:pt x="54243" y="136662"/>
                        <a:pt x="55764" y="136523"/>
                      </a:cubicBezTo>
                      <a:cubicBezTo>
                        <a:pt x="55916" y="136497"/>
                        <a:pt x="55270" y="135204"/>
                        <a:pt x="54712" y="135369"/>
                      </a:cubicBezTo>
                      <a:cubicBezTo>
                        <a:pt x="56094" y="135344"/>
                        <a:pt x="56474" y="135623"/>
                        <a:pt x="57691" y="135990"/>
                      </a:cubicBezTo>
                      <a:cubicBezTo>
                        <a:pt x="57209" y="133810"/>
                        <a:pt x="56005" y="129931"/>
                        <a:pt x="55333" y="128727"/>
                      </a:cubicBezTo>
                      <a:cubicBezTo>
                        <a:pt x="54699" y="135521"/>
                        <a:pt x="45230" y="135914"/>
                        <a:pt x="46067" y="129399"/>
                      </a:cubicBezTo>
                      <a:cubicBezTo>
                        <a:pt x="46574" y="125494"/>
                        <a:pt x="52696" y="124201"/>
                        <a:pt x="54712" y="122350"/>
                      </a:cubicBezTo>
                      <a:cubicBezTo>
                        <a:pt x="53178" y="122021"/>
                        <a:pt x="50415" y="121666"/>
                        <a:pt x="49692" y="121501"/>
                      </a:cubicBezTo>
                      <a:cubicBezTo>
                        <a:pt x="47283" y="123821"/>
                        <a:pt x="43138" y="125177"/>
                        <a:pt x="41046" y="126179"/>
                      </a:cubicBezTo>
                      <a:cubicBezTo>
                        <a:pt x="40514" y="125101"/>
                        <a:pt x="42327" y="124062"/>
                        <a:pt x="42606" y="123250"/>
                      </a:cubicBezTo>
                      <a:cubicBezTo>
                        <a:pt x="42340" y="123073"/>
                        <a:pt x="39995" y="124214"/>
                        <a:pt x="39766" y="123517"/>
                      </a:cubicBezTo>
                      <a:cubicBezTo>
                        <a:pt x="40552" y="122857"/>
                        <a:pt x="41795" y="120386"/>
                        <a:pt x="43506" y="119169"/>
                      </a:cubicBezTo>
                      <a:cubicBezTo>
                        <a:pt x="40679" y="117939"/>
                        <a:pt x="41655" y="117508"/>
                        <a:pt x="39031" y="115670"/>
                      </a:cubicBezTo>
                      <a:cubicBezTo>
                        <a:pt x="41161" y="115049"/>
                        <a:pt x="44964" y="115036"/>
                        <a:pt x="47119" y="115670"/>
                      </a:cubicBezTo>
                      <a:cubicBezTo>
                        <a:pt x="47512" y="116697"/>
                        <a:pt x="47702" y="117635"/>
                        <a:pt x="48184" y="118560"/>
                      </a:cubicBezTo>
                      <a:cubicBezTo>
                        <a:pt x="51581" y="115023"/>
                        <a:pt x="49679" y="115429"/>
                        <a:pt x="54712" y="114516"/>
                      </a:cubicBezTo>
                      <a:cubicBezTo>
                        <a:pt x="50960" y="111613"/>
                        <a:pt x="37776" y="112082"/>
                        <a:pt x="43607" y="105262"/>
                      </a:cubicBezTo>
                      <a:cubicBezTo>
                        <a:pt x="41402" y="105579"/>
                        <a:pt x="37573" y="104692"/>
                        <a:pt x="35849" y="105047"/>
                      </a:cubicBezTo>
                      <a:cubicBezTo>
                        <a:pt x="36001" y="100826"/>
                        <a:pt x="32503" y="97428"/>
                        <a:pt x="37966" y="94462"/>
                      </a:cubicBezTo>
                      <a:cubicBezTo>
                        <a:pt x="37053" y="94525"/>
                        <a:pt x="36255" y="94487"/>
                        <a:pt x="35215" y="95096"/>
                      </a:cubicBezTo>
                      <a:cubicBezTo>
                        <a:pt x="35215" y="89658"/>
                        <a:pt x="25923" y="75815"/>
                        <a:pt x="30893" y="71860"/>
                      </a:cubicBezTo>
                      <a:cubicBezTo>
                        <a:pt x="38232" y="66003"/>
                        <a:pt x="39690" y="82964"/>
                        <a:pt x="46193" y="83104"/>
                      </a:cubicBezTo>
                      <a:cubicBezTo>
                        <a:pt x="39538" y="80442"/>
                        <a:pt x="41072" y="72747"/>
                        <a:pt x="42124" y="66789"/>
                      </a:cubicBezTo>
                      <a:cubicBezTo>
                        <a:pt x="40540" y="66447"/>
                        <a:pt x="41452" y="67119"/>
                        <a:pt x="39703" y="66954"/>
                      </a:cubicBezTo>
                      <a:cubicBezTo>
                        <a:pt x="36432" y="57865"/>
                        <a:pt x="53698" y="42995"/>
                        <a:pt x="60404" y="36289"/>
                      </a:cubicBezTo>
                      <a:cubicBezTo>
                        <a:pt x="73980" y="22713"/>
                        <a:pt x="89192" y="26376"/>
                        <a:pt x="106521" y="25590"/>
                      </a:cubicBezTo>
                      <a:cubicBezTo>
                        <a:pt x="121314" y="24906"/>
                        <a:pt x="145235" y="32778"/>
                        <a:pt x="155757" y="17046"/>
                      </a:cubicBezTo>
                      <a:cubicBezTo>
                        <a:pt x="158723" y="12622"/>
                        <a:pt x="157240" y="4129"/>
                        <a:pt x="160003" y="1632"/>
                      </a:cubicBezTo>
                      <a:cubicBezTo>
                        <a:pt x="167482" y="-4922"/>
                        <a:pt x="171463" y="9986"/>
                        <a:pt x="173415" y="15982"/>
                      </a:cubicBezTo>
                      <a:lnTo>
                        <a:pt x="173415" y="15982"/>
                      </a:lnTo>
                      <a:close/>
                    </a:path>
                  </a:pathLst>
                </a:custGeom>
                <a:solidFill>
                  <a:srgbClr val="D6D6D2"/>
                </a:solidFill>
                <a:ln w="12413" cap="rnd">
                  <a:solidFill>
                    <a:srgbClr val="FFFFFF"/>
                  </a:solidFill>
                  <a:prstDash val="solid"/>
                  <a:round/>
                </a:ln>
              </p:spPr>
              <p:txBody>
                <a:bodyPr rtlCol="0" anchor="ctr"/>
                <a:lstStyle/>
                <a:p>
                  <a:endParaRPr lang="en-US"/>
                </a:p>
              </p:txBody>
            </p:sp>
            <p:sp>
              <p:nvSpPr>
                <p:cNvPr id="90" name="Freeform: Shape 89">
                  <a:extLst>
                    <a:ext uri="{FF2B5EF4-FFF2-40B4-BE49-F238E27FC236}">
                      <a16:creationId xmlns:a16="http://schemas.microsoft.com/office/drawing/2014/main" id="{7BF05C9F-34A4-4495-B357-E06F4C4FFDDE}"/>
                    </a:ext>
                  </a:extLst>
                </p:cNvPr>
                <p:cNvSpPr/>
                <p:nvPr/>
              </p:nvSpPr>
              <p:spPr>
                <a:xfrm>
                  <a:off x="3486943" y="3810537"/>
                  <a:ext cx="391122" cy="319223"/>
                </a:xfrm>
                <a:custGeom>
                  <a:avLst/>
                  <a:gdLst>
                    <a:gd name="connsiteX0" fmla="*/ 383820 w 391122"/>
                    <a:gd name="connsiteY0" fmla="*/ 11143 h 319223"/>
                    <a:gd name="connsiteX1" fmla="*/ 374414 w 391122"/>
                    <a:gd name="connsiteY1" fmla="*/ 23274 h 319223"/>
                    <a:gd name="connsiteX2" fmla="*/ 371968 w 391122"/>
                    <a:gd name="connsiteY2" fmla="*/ 47524 h 319223"/>
                    <a:gd name="connsiteX3" fmla="*/ 378902 w 391122"/>
                    <a:gd name="connsiteY3" fmla="*/ 61431 h 319223"/>
                    <a:gd name="connsiteX4" fmla="*/ 389892 w 391122"/>
                    <a:gd name="connsiteY4" fmla="*/ 86517 h 319223"/>
                    <a:gd name="connsiteX5" fmla="*/ 380651 w 391122"/>
                    <a:gd name="connsiteY5" fmla="*/ 125650 h 319223"/>
                    <a:gd name="connsiteX6" fmla="*/ 386013 w 391122"/>
                    <a:gd name="connsiteY6" fmla="*/ 142725 h 319223"/>
                    <a:gd name="connsiteX7" fmla="*/ 374338 w 391122"/>
                    <a:gd name="connsiteY7" fmla="*/ 182682 h 319223"/>
                    <a:gd name="connsiteX8" fmla="*/ 368469 w 391122"/>
                    <a:gd name="connsiteY8" fmla="*/ 177991 h 319223"/>
                    <a:gd name="connsiteX9" fmla="*/ 358695 w 391122"/>
                    <a:gd name="connsiteY9" fmla="*/ 181249 h 319223"/>
                    <a:gd name="connsiteX10" fmla="*/ 345296 w 391122"/>
                    <a:gd name="connsiteY10" fmla="*/ 194572 h 319223"/>
                    <a:gd name="connsiteX11" fmla="*/ 329070 w 391122"/>
                    <a:gd name="connsiteY11" fmla="*/ 197792 h 319223"/>
                    <a:gd name="connsiteX12" fmla="*/ 319069 w 391122"/>
                    <a:gd name="connsiteY12" fmla="*/ 204206 h 319223"/>
                    <a:gd name="connsiteX13" fmla="*/ 301588 w 391122"/>
                    <a:gd name="connsiteY13" fmla="*/ 204688 h 319223"/>
                    <a:gd name="connsiteX14" fmla="*/ 302855 w 391122"/>
                    <a:gd name="connsiteY14" fmla="*/ 218138 h 319223"/>
                    <a:gd name="connsiteX15" fmla="*/ 299382 w 391122"/>
                    <a:gd name="connsiteY15" fmla="*/ 225642 h 319223"/>
                    <a:gd name="connsiteX16" fmla="*/ 282383 w 391122"/>
                    <a:gd name="connsiteY16" fmla="*/ 221307 h 319223"/>
                    <a:gd name="connsiteX17" fmla="*/ 268667 w 391122"/>
                    <a:gd name="connsiteY17" fmla="*/ 227582 h 319223"/>
                    <a:gd name="connsiteX18" fmla="*/ 256954 w 391122"/>
                    <a:gd name="connsiteY18" fmla="*/ 233172 h 319223"/>
                    <a:gd name="connsiteX19" fmla="*/ 262937 w 391122"/>
                    <a:gd name="connsiteY19" fmla="*/ 246140 h 319223"/>
                    <a:gd name="connsiteX20" fmla="*/ 265840 w 391122"/>
                    <a:gd name="connsiteY20" fmla="*/ 261213 h 319223"/>
                    <a:gd name="connsiteX21" fmla="*/ 278884 w 391122"/>
                    <a:gd name="connsiteY21" fmla="*/ 272736 h 319223"/>
                    <a:gd name="connsiteX22" fmla="*/ 286363 w 391122"/>
                    <a:gd name="connsiteY22" fmla="*/ 278668 h 319223"/>
                    <a:gd name="connsiteX23" fmla="*/ 285577 w 391122"/>
                    <a:gd name="connsiteY23" fmla="*/ 294273 h 319223"/>
                    <a:gd name="connsiteX24" fmla="*/ 267361 w 391122"/>
                    <a:gd name="connsiteY24" fmla="*/ 284626 h 319223"/>
                    <a:gd name="connsiteX25" fmla="*/ 256763 w 391122"/>
                    <a:gd name="connsiteY25" fmla="*/ 279441 h 319223"/>
                    <a:gd name="connsiteX26" fmla="*/ 244708 w 391122"/>
                    <a:gd name="connsiteY26" fmla="*/ 278960 h 319223"/>
                    <a:gd name="connsiteX27" fmla="*/ 232171 w 391122"/>
                    <a:gd name="connsiteY27" fmla="*/ 280836 h 319223"/>
                    <a:gd name="connsiteX28" fmla="*/ 228913 w 391122"/>
                    <a:gd name="connsiteY28" fmla="*/ 279670 h 319223"/>
                    <a:gd name="connsiteX29" fmla="*/ 223285 w 391122"/>
                    <a:gd name="connsiteY29" fmla="*/ 287085 h 319223"/>
                    <a:gd name="connsiteX30" fmla="*/ 203509 w 391122"/>
                    <a:gd name="connsiteY30" fmla="*/ 281279 h 319223"/>
                    <a:gd name="connsiteX31" fmla="*/ 201659 w 391122"/>
                    <a:gd name="connsiteY31" fmla="*/ 299889 h 319223"/>
                    <a:gd name="connsiteX32" fmla="*/ 189134 w 391122"/>
                    <a:gd name="connsiteY32" fmla="*/ 310398 h 319223"/>
                    <a:gd name="connsiteX33" fmla="*/ 177751 w 391122"/>
                    <a:gd name="connsiteY33" fmla="*/ 312426 h 319223"/>
                    <a:gd name="connsiteX34" fmla="*/ 165607 w 391122"/>
                    <a:gd name="connsiteY34" fmla="*/ 312717 h 319223"/>
                    <a:gd name="connsiteX35" fmla="*/ 157519 w 391122"/>
                    <a:gd name="connsiteY35" fmla="*/ 319220 h 319223"/>
                    <a:gd name="connsiteX36" fmla="*/ 150331 w 391122"/>
                    <a:gd name="connsiteY36" fmla="*/ 314987 h 319223"/>
                    <a:gd name="connsiteX37" fmla="*/ 144918 w 391122"/>
                    <a:gd name="connsiteY37" fmla="*/ 310436 h 319223"/>
                    <a:gd name="connsiteX38" fmla="*/ 114748 w 391122"/>
                    <a:gd name="connsiteY38" fmla="*/ 299255 h 319223"/>
                    <a:gd name="connsiteX39" fmla="*/ 102592 w 391122"/>
                    <a:gd name="connsiteY39" fmla="*/ 309434 h 319223"/>
                    <a:gd name="connsiteX40" fmla="*/ 105938 w 391122"/>
                    <a:gd name="connsiteY40" fmla="*/ 313414 h 319223"/>
                    <a:gd name="connsiteX41" fmla="*/ 88191 w 391122"/>
                    <a:gd name="connsiteY41" fmla="*/ 306328 h 319223"/>
                    <a:gd name="connsiteX42" fmla="*/ 101603 w 391122"/>
                    <a:gd name="connsiteY42" fmla="*/ 296162 h 319223"/>
                    <a:gd name="connsiteX43" fmla="*/ 100551 w 391122"/>
                    <a:gd name="connsiteY43" fmla="*/ 277426 h 319223"/>
                    <a:gd name="connsiteX44" fmla="*/ 87887 w 391122"/>
                    <a:gd name="connsiteY44" fmla="*/ 264521 h 319223"/>
                    <a:gd name="connsiteX45" fmla="*/ 85364 w 391122"/>
                    <a:gd name="connsiteY45" fmla="*/ 265599 h 319223"/>
                    <a:gd name="connsiteX46" fmla="*/ 83843 w 391122"/>
                    <a:gd name="connsiteY46" fmla="*/ 270149 h 319223"/>
                    <a:gd name="connsiteX47" fmla="*/ 85313 w 391122"/>
                    <a:gd name="connsiteY47" fmla="*/ 269490 h 319223"/>
                    <a:gd name="connsiteX48" fmla="*/ 76744 w 391122"/>
                    <a:gd name="connsiteY48" fmla="*/ 286426 h 319223"/>
                    <a:gd name="connsiteX49" fmla="*/ 60087 w 391122"/>
                    <a:gd name="connsiteY49" fmla="*/ 285716 h 319223"/>
                    <a:gd name="connsiteX50" fmla="*/ 54978 w 391122"/>
                    <a:gd name="connsiteY50" fmla="*/ 260439 h 319223"/>
                    <a:gd name="connsiteX51" fmla="*/ 62052 w 391122"/>
                    <a:gd name="connsiteY51" fmla="*/ 254367 h 319223"/>
                    <a:gd name="connsiteX52" fmla="*/ 61127 w 391122"/>
                    <a:gd name="connsiteY52" fmla="*/ 250235 h 319223"/>
                    <a:gd name="connsiteX53" fmla="*/ 55498 w 391122"/>
                    <a:gd name="connsiteY53" fmla="*/ 243605 h 319223"/>
                    <a:gd name="connsiteX54" fmla="*/ 63624 w 391122"/>
                    <a:gd name="connsiteY54" fmla="*/ 245152 h 319223"/>
                    <a:gd name="connsiteX55" fmla="*/ 61140 w 391122"/>
                    <a:gd name="connsiteY55" fmla="*/ 239003 h 319223"/>
                    <a:gd name="connsiteX56" fmla="*/ 55004 w 391122"/>
                    <a:gd name="connsiteY56" fmla="*/ 232868 h 319223"/>
                    <a:gd name="connsiteX57" fmla="*/ 53508 w 391122"/>
                    <a:gd name="connsiteY57" fmla="*/ 231828 h 319223"/>
                    <a:gd name="connsiteX58" fmla="*/ 48894 w 391122"/>
                    <a:gd name="connsiteY58" fmla="*/ 237457 h 319223"/>
                    <a:gd name="connsiteX59" fmla="*/ 47436 w 391122"/>
                    <a:gd name="connsiteY59" fmla="*/ 235390 h 319223"/>
                    <a:gd name="connsiteX60" fmla="*/ 50973 w 391122"/>
                    <a:gd name="connsiteY60" fmla="*/ 235948 h 319223"/>
                    <a:gd name="connsiteX61" fmla="*/ 53939 w 391122"/>
                    <a:gd name="connsiteY61" fmla="*/ 230345 h 319223"/>
                    <a:gd name="connsiteX62" fmla="*/ 52000 w 391122"/>
                    <a:gd name="connsiteY62" fmla="*/ 227759 h 319223"/>
                    <a:gd name="connsiteX63" fmla="*/ 49451 w 391122"/>
                    <a:gd name="connsiteY63" fmla="*/ 226720 h 319223"/>
                    <a:gd name="connsiteX64" fmla="*/ 48463 w 391122"/>
                    <a:gd name="connsiteY64" fmla="*/ 229331 h 319223"/>
                    <a:gd name="connsiteX65" fmla="*/ 57032 w 391122"/>
                    <a:gd name="connsiteY65" fmla="*/ 222663 h 319223"/>
                    <a:gd name="connsiteX66" fmla="*/ 42822 w 391122"/>
                    <a:gd name="connsiteY66" fmla="*/ 215032 h 319223"/>
                    <a:gd name="connsiteX67" fmla="*/ 47436 w 391122"/>
                    <a:gd name="connsiteY67" fmla="*/ 234389 h 319223"/>
                    <a:gd name="connsiteX68" fmla="*/ 44381 w 391122"/>
                    <a:gd name="connsiteY68" fmla="*/ 219824 h 319223"/>
                    <a:gd name="connsiteX69" fmla="*/ 32617 w 391122"/>
                    <a:gd name="connsiteY69" fmla="*/ 198160 h 319223"/>
                    <a:gd name="connsiteX70" fmla="*/ 27344 w 391122"/>
                    <a:gd name="connsiteY70" fmla="*/ 163324 h 319223"/>
                    <a:gd name="connsiteX71" fmla="*/ 12094 w 391122"/>
                    <a:gd name="connsiteY71" fmla="*/ 150623 h 319223"/>
                    <a:gd name="connsiteX72" fmla="*/ 12550 w 391122"/>
                    <a:gd name="connsiteY72" fmla="*/ 139378 h 319223"/>
                    <a:gd name="connsiteX73" fmla="*/ 5819 w 391122"/>
                    <a:gd name="connsiteY73" fmla="*/ 118716 h 319223"/>
                    <a:gd name="connsiteX74" fmla="*/ 1179 w 391122"/>
                    <a:gd name="connsiteY74" fmla="*/ 89965 h 319223"/>
                    <a:gd name="connsiteX75" fmla="*/ 21018 w 391122"/>
                    <a:gd name="connsiteY75" fmla="*/ 82397 h 319223"/>
                    <a:gd name="connsiteX76" fmla="*/ 28649 w 391122"/>
                    <a:gd name="connsiteY76" fmla="*/ 70342 h 319223"/>
                    <a:gd name="connsiteX77" fmla="*/ 36826 w 391122"/>
                    <a:gd name="connsiteY77" fmla="*/ 55029 h 319223"/>
                    <a:gd name="connsiteX78" fmla="*/ 58870 w 391122"/>
                    <a:gd name="connsiteY78" fmla="*/ 29676 h 319223"/>
                    <a:gd name="connsiteX79" fmla="*/ 91398 w 391122"/>
                    <a:gd name="connsiteY79" fmla="*/ 21208 h 319223"/>
                    <a:gd name="connsiteX80" fmla="*/ 112226 w 391122"/>
                    <a:gd name="connsiteY80" fmla="*/ 25429 h 319223"/>
                    <a:gd name="connsiteX81" fmla="*/ 138428 w 391122"/>
                    <a:gd name="connsiteY81" fmla="*/ 22539 h 319223"/>
                    <a:gd name="connsiteX82" fmla="*/ 159497 w 391122"/>
                    <a:gd name="connsiteY82" fmla="*/ 25645 h 319223"/>
                    <a:gd name="connsiteX83" fmla="*/ 176508 w 391122"/>
                    <a:gd name="connsiteY83" fmla="*/ 20599 h 319223"/>
                    <a:gd name="connsiteX84" fmla="*/ 195295 w 391122"/>
                    <a:gd name="connsiteY84" fmla="*/ 23883 h 319223"/>
                    <a:gd name="connsiteX85" fmla="*/ 200467 w 391122"/>
                    <a:gd name="connsiteY85" fmla="*/ 36027 h 319223"/>
                    <a:gd name="connsiteX86" fmla="*/ 212218 w 391122"/>
                    <a:gd name="connsiteY86" fmla="*/ 26938 h 319223"/>
                    <a:gd name="connsiteX87" fmla="*/ 233667 w 391122"/>
                    <a:gd name="connsiteY87" fmla="*/ 42885 h 319223"/>
                    <a:gd name="connsiteX88" fmla="*/ 255318 w 391122"/>
                    <a:gd name="connsiteY88" fmla="*/ 49717 h 319223"/>
                    <a:gd name="connsiteX89" fmla="*/ 281217 w 391122"/>
                    <a:gd name="connsiteY89" fmla="*/ 51644 h 319223"/>
                    <a:gd name="connsiteX90" fmla="*/ 270619 w 391122"/>
                    <a:gd name="connsiteY90" fmla="*/ 25442 h 319223"/>
                    <a:gd name="connsiteX91" fmla="*/ 289532 w 391122"/>
                    <a:gd name="connsiteY91" fmla="*/ 16074 h 319223"/>
                    <a:gd name="connsiteX92" fmla="*/ 308370 w 391122"/>
                    <a:gd name="connsiteY92" fmla="*/ 13577 h 319223"/>
                    <a:gd name="connsiteX93" fmla="*/ 310423 w 391122"/>
                    <a:gd name="connsiteY93" fmla="*/ 8595 h 319223"/>
                    <a:gd name="connsiteX94" fmla="*/ 317281 w 391122"/>
                    <a:gd name="connsiteY94" fmla="*/ 17861 h 319223"/>
                    <a:gd name="connsiteX95" fmla="*/ 332163 w 391122"/>
                    <a:gd name="connsiteY95" fmla="*/ 29397 h 319223"/>
                    <a:gd name="connsiteX96" fmla="*/ 349911 w 391122"/>
                    <a:gd name="connsiteY96" fmla="*/ 20802 h 319223"/>
                    <a:gd name="connsiteX97" fmla="*/ 355032 w 391122"/>
                    <a:gd name="connsiteY97" fmla="*/ 21563 h 319223"/>
                    <a:gd name="connsiteX98" fmla="*/ 359798 w 391122"/>
                    <a:gd name="connsiteY98" fmla="*/ 15668 h 319223"/>
                    <a:gd name="connsiteX99" fmla="*/ 366580 w 391122"/>
                    <a:gd name="connsiteY99" fmla="*/ 8950 h 319223"/>
                    <a:gd name="connsiteX100" fmla="*/ 378319 w 391122"/>
                    <a:gd name="connsiteY100" fmla="*/ 10750 h 319223"/>
                    <a:gd name="connsiteX101" fmla="*/ 384923 w 391122"/>
                    <a:gd name="connsiteY101" fmla="*/ 0 h 319223"/>
                    <a:gd name="connsiteX102" fmla="*/ 383820 w 391122"/>
                    <a:gd name="connsiteY102" fmla="*/ 11143 h 319223"/>
                    <a:gd name="connsiteX103" fmla="*/ 383820 w 391122"/>
                    <a:gd name="connsiteY103" fmla="*/ 11143 h 319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1122" h="319223">
                      <a:moveTo>
                        <a:pt x="383820" y="11143"/>
                      </a:moveTo>
                      <a:cubicBezTo>
                        <a:pt x="381729" y="18939"/>
                        <a:pt x="376607" y="18913"/>
                        <a:pt x="374414" y="23274"/>
                      </a:cubicBezTo>
                      <a:cubicBezTo>
                        <a:pt x="371486" y="29131"/>
                        <a:pt x="369990" y="41820"/>
                        <a:pt x="371968" y="47524"/>
                      </a:cubicBezTo>
                      <a:cubicBezTo>
                        <a:pt x="374123" y="53825"/>
                        <a:pt x="376582" y="54167"/>
                        <a:pt x="378902" y="61431"/>
                      </a:cubicBezTo>
                      <a:cubicBezTo>
                        <a:pt x="381589" y="69683"/>
                        <a:pt x="387015" y="77441"/>
                        <a:pt x="389892" y="86517"/>
                      </a:cubicBezTo>
                      <a:cubicBezTo>
                        <a:pt x="394963" y="102439"/>
                        <a:pt x="382857" y="110691"/>
                        <a:pt x="380651" y="125650"/>
                      </a:cubicBezTo>
                      <a:cubicBezTo>
                        <a:pt x="379827" y="131316"/>
                        <a:pt x="384226" y="136729"/>
                        <a:pt x="386013" y="142725"/>
                      </a:cubicBezTo>
                      <a:cubicBezTo>
                        <a:pt x="389461" y="154438"/>
                        <a:pt x="390146" y="182060"/>
                        <a:pt x="374338" y="182682"/>
                      </a:cubicBezTo>
                      <a:cubicBezTo>
                        <a:pt x="373527" y="182707"/>
                        <a:pt x="370966" y="178245"/>
                        <a:pt x="368469" y="177991"/>
                      </a:cubicBezTo>
                      <a:cubicBezTo>
                        <a:pt x="365477" y="177700"/>
                        <a:pt x="361129" y="179829"/>
                        <a:pt x="358695" y="181249"/>
                      </a:cubicBezTo>
                      <a:cubicBezTo>
                        <a:pt x="353409" y="184355"/>
                        <a:pt x="350659" y="191352"/>
                        <a:pt x="345296" y="194572"/>
                      </a:cubicBezTo>
                      <a:cubicBezTo>
                        <a:pt x="339465" y="198071"/>
                        <a:pt x="335016" y="195662"/>
                        <a:pt x="329070" y="197792"/>
                      </a:cubicBezTo>
                      <a:cubicBezTo>
                        <a:pt x="323569" y="199731"/>
                        <a:pt x="327334" y="207071"/>
                        <a:pt x="319069" y="204206"/>
                      </a:cubicBezTo>
                      <a:cubicBezTo>
                        <a:pt x="316673" y="205512"/>
                        <a:pt x="306202" y="205563"/>
                        <a:pt x="301588" y="204688"/>
                      </a:cubicBezTo>
                      <a:cubicBezTo>
                        <a:pt x="306595" y="210659"/>
                        <a:pt x="302716" y="212560"/>
                        <a:pt x="302855" y="218138"/>
                      </a:cubicBezTo>
                      <a:cubicBezTo>
                        <a:pt x="303058" y="227341"/>
                        <a:pt x="306341" y="225008"/>
                        <a:pt x="299382" y="225642"/>
                      </a:cubicBezTo>
                      <a:cubicBezTo>
                        <a:pt x="291839" y="226314"/>
                        <a:pt x="290141" y="223120"/>
                        <a:pt x="282383" y="221307"/>
                      </a:cubicBezTo>
                      <a:cubicBezTo>
                        <a:pt x="269668" y="218328"/>
                        <a:pt x="276399" y="223145"/>
                        <a:pt x="268667" y="227582"/>
                      </a:cubicBezTo>
                      <a:cubicBezTo>
                        <a:pt x="264344" y="230054"/>
                        <a:pt x="258766" y="225655"/>
                        <a:pt x="256954" y="233172"/>
                      </a:cubicBezTo>
                      <a:cubicBezTo>
                        <a:pt x="257283" y="231765"/>
                        <a:pt x="262709" y="244163"/>
                        <a:pt x="262937" y="246140"/>
                      </a:cubicBezTo>
                      <a:cubicBezTo>
                        <a:pt x="263761" y="253404"/>
                        <a:pt x="260909" y="255229"/>
                        <a:pt x="265840" y="261213"/>
                      </a:cubicBezTo>
                      <a:cubicBezTo>
                        <a:pt x="268844" y="264876"/>
                        <a:pt x="275170" y="268299"/>
                        <a:pt x="278884" y="272736"/>
                      </a:cubicBezTo>
                      <a:cubicBezTo>
                        <a:pt x="282966" y="268945"/>
                        <a:pt x="285780" y="273243"/>
                        <a:pt x="286363" y="278668"/>
                      </a:cubicBezTo>
                      <a:cubicBezTo>
                        <a:pt x="276982" y="278782"/>
                        <a:pt x="284588" y="288518"/>
                        <a:pt x="285577" y="294273"/>
                      </a:cubicBezTo>
                      <a:cubicBezTo>
                        <a:pt x="278846" y="290914"/>
                        <a:pt x="272875" y="290825"/>
                        <a:pt x="267361" y="284626"/>
                      </a:cubicBezTo>
                      <a:cubicBezTo>
                        <a:pt x="264610" y="297062"/>
                        <a:pt x="260136" y="281812"/>
                        <a:pt x="256763" y="279441"/>
                      </a:cubicBezTo>
                      <a:cubicBezTo>
                        <a:pt x="250349" y="274954"/>
                        <a:pt x="252124" y="277286"/>
                        <a:pt x="244708" y="278960"/>
                      </a:cubicBezTo>
                      <a:cubicBezTo>
                        <a:pt x="241146" y="279771"/>
                        <a:pt x="235188" y="279745"/>
                        <a:pt x="232171" y="280836"/>
                      </a:cubicBezTo>
                      <a:cubicBezTo>
                        <a:pt x="231537" y="281052"/>
                        <a:pt x="229572" y="279315"/>
                        <a:pt x="228913" y="279670"/>
                      </a:cubicBezTo>
                      <a:cubicBezTo>
                        <a:pt x="226821" y="280734"/>
                        <a:pt x="224603" y="286705"/>
                        <a:pt x="223285" y="287085"/>
                      </a:cubicBezTo>
                      <a:cubicBezTo>
                        <a:pt x="220116" y="287960"/>
                        <a:pt x="205703" y="280265"/>
                        <a:pt x="203509" y="281279"/>
                      </a:cubicBezTo>
                      <a:cubicBezTo>
                        <a:pt x="194813" y="285235"/>
                        <a:pt x="204448" y="294083"/>
                        <a:pt x="201659" y="299889"/>
                      </a:cubicBezTo>
                      <a:cubicBezTo>
                        <a:pt x="202533" y="298038"/>
                        <a:pt x="188323" y="310740"/>
                        <a:pt x="189134" y="310398"/>
                      </a:cubicBezTo>
                      <a:cubicBezTo>
                        <a:pt x="184609" y="312515"/>
                        <a:pt x="182948" y="312172"/>
                        <a:pt x="177751" y="312426"/>
                      </a:cubicBezTo>
                      <a:cubicBezTo>
                        <a:pt x="173301" y="312667"/>
                        <a:pt x="169790" y="311019"/>
                        <a:pt x="165607" y="312717"/>
                      </a:cubicBezTo>
                      <a:cubicBezTo>
                        <a:pt x="161081" y="314568"/>
                        <a:pt x="162146" y="318701"/>
                        <a:pt x="157519" y="319220"/>
                      </a:cubicBezTo>
                      <a:cubicBezTo>
                        <a:pt x="156530" y="319334"/>
                        <a:pt x="151409" y="315747"/>
                        <a:pt x="150331" y="314987"/>
                      </a:cubicBezTo>
                      <a:cubicBezTo>
                        <a:pt x="150712" y="315278"/>
                        <a:pt x="143702" y="310005"/>
                        <a:pt x="144918" y="310436"/>
                      </a:cubicBezTo>
                      <a:cubicBezTo>
                        <a:pt x="136197" y="307393"/>
                        <a:pt x="118919" y="312920"/>
                        <a:pt x="114748" y="299255"/>
                      </a:cubicBezTo>
                      <a:cubicBezTo>
                        <a:pt x="115395" y="307254"/>
                        <a:pt x="110704" y="314872"/>
                        <a:pt x="102592" y="309434"/>
                      </a:cubicBezTo>
                      <a:cubicBezTo>
                        <a:pt x="103745" y="310385"/>
                        <a:pt x="104835" y="312286"/>
                        <a:pt x="105938" y="313414"/>
                      </a:cubicBezTo>
                      <a:cubicBezTo>
                        <a:pt x="97800" y="316647"/>
                        <a:pt x="93883" y="309256"/>
                        <a:pt x="88191" y="306328"/>
                      </a:cubicBezTo>
                      <a:cubicBezTo>
                        <a:pt x="89446" y="300193"/>
                        <a:pt x="93781" y="294653"/>
                        <a:pt x="101603" y="296162"/>
                      </a:cubicBezTo>
                      <a:cubicBezTo>
                        <a:pt x="99258" y="290077"/>
                        <a:pt x="105038" y="286604"/>
                        <a:pt x="100551" y="277426"/>
                      </a:cubicBezTo>
                      <a:cubicBezTo>
                        <a:pt x="98041" y="272381"/>
                        <a:pt x="96304" y="265624"/>
                        <a:pt x="87887" y="264521"/>
                      </a:cubicBezTo>
                      <a:cubicBezTo>
                        <a:pt x="86657" y="265611"/>
                        <a:pt x="87088" y="264826"/>
                        <a:pt x="85364" y="265599"/>
                      </a:cubicBezTo>
                      <a:cubicBezTo>
                        <a:pt x="85580" y="268033"/>
                        <a:pt x="84857" y="267881"/>
                        <a:pt x="83843" y="270149"/>
                      </a:cubicBezTo>
                      <a:cubicBezTo>
                        <a:pt x="84350" y="269921"/>
                        <a:pt x="84832" y="269706"/>
                        <a:pt x="85313" y="269490"/>
                      </a:cubicBezTo>
                      <a:cubicBezTo>
                        <a:pt x="83197" y="275246"/>
                        <a:pt x="82766" y="285577"/>
                        <a:pt x="76744" y="286426"/>
                      </a:cubicBezTo>
                      <a:cubicBezTo>
                        <a:pt x="71978" y="277400"/>
                        <a:pt x="66869" y="288454"/>
                        <a:pt x="60087" y="285716"/>
                      </a:cubicBezTo>
                      <a:cubicBezTo>
                        <a:pt x="57146" y="280963"/>
                        <a:pt x="62825" y="263178"/>
                        <a:pt x="54978" y="260439"/>
                      </a:cubicBezTo>
                      <a:cubicBezTo>
                        <a:pt x="55765" y="256839"/>
                        <a:pt x="58262" y="254177"/>
                        <a:pt x="62052" y="254367"/>
                      </a:cubicBezTo>
                      <a:cubicBezTo>
                        <a:pt x="61456" y="253581"/>
                        <a:pt x="61558" y="251211"/>
                        <a:pt x="61127" y="250235"/>
                      </a:cubicBezTo>
                      <a:cubicBezTo>
                        <a:pt x="57806" y="250045"/>
                        <a:pt x="56880" y="248130"/>
                        <a:pt x="55498" y="243605"/>
                      </a:cubicBezTo>
                      <a:cubicBezTo>
                        <a:pt x="58490" y="243402"/>
                        <a:pt x="59859" y="242971"/>
                        <a:pt x="63624" y="245152"/>
                      </a:cubicBezTo>
                      <a:cubicBezTo>
                        <a:pt x="63079" y="243313"/>
                        <a:pt x="61621" y="240106"/>
                        <a:pt x="61140" y="239003"/>
                      </a:cubicBezTo>
                      <a:cubicBezTo>
                        <a:pt x="57767" y="245075"/>
                        <a:pt x="53622" y="236658"/>
                        <a:pt x="55004" y="232868"/>
                      </a:cubicBezTo>
                      <a:cubicBezTo>
                        <a:pt x="54573" y="233793"/>
                        <a:pt x="53457" y="231663"/>
                        <a:pt x="53508" y="231828"/>
                      </a:cubicBezTo>
                      <a:cubicBezTo>
                        <a:pt x="53343" y="236848"/>
                        <a:pt x="52722" y="235479"/>
                        <a:pt x="48894" y="237457"/>
                      </a:cubicBezTo>
                      <a:cubicBezTo>
                        <a:pt x="48412" y="236759"/>
                        <a:pt x="47918" y="236100"/>
                        <a:pt x="47436" y="235390"/>
                      </a:cubicBezTo>
                      <a:cubicBezTo>
                        <a:pt x="47588" y="235441"/>
                        <a:pt x="50364" y="235885"/>
                        <a:pt x="50973" y="235948"/>
                      </a:cubicBezTo>
                      <a:cubicBezTo>
                        <a:pt x="48488" y="231372"/>
                        <a:pt x="48894" y="229623"/>
                        <a:pt x="53939" y="230345"/>
                      </a:cubicBezTo>
                      <a:cubicBezTo>
                        <a:pt x="53280" y="229699"/>
                        <a:pt x="51949" y="227709"/>
                        <a:pt x="52000" y="227759"/>
                      </a:cubicBezTo>
                      <a:cubicBezTo>
                        <a:pt x="50035" y="228697"/>
                        <a:pt x="50770" y="227645"/>
                        <a:pt x="49451" y="226720"/>
                      </a:cubicBezTo>
                      <a:cubicBezTo>
                        <a:pt x="48818" y="227721"/>
                        <a:pt x="48919" y="228241"/>
                        <a:pt x="48463" y="229331"/>
                      </a:cubicBezTo>
                      <a:cubicBezTo>
                        <a:pt x="48729" y="223893"/>
                        <a:pt x="53242" y="222537"/>
                        <a:pt x="57032" y="222663"/>
                      </a:cubicBezTo>
                      <a:cubicBezTo>
                        <a:pt x="48970" y="224298"/>
                        <a:pt x="49071" y="220534"/>
                        <a:pt x="42822" y="215032"/>
                      </a:cubicBezTo>
                      <a:cubicBezTo>
                        <a:pt x="49198" y="221903"/>
                        <a:pt x="47588" y="226213"/>
                        <a:pt x="47436" y="234389"/>
                      </a:cubicBezTo>
                      <a:cubicBezTo>
                        <a:pt x="44090" y="229103"/>
                        <a:pt x="46663" y="225630"/>
                        <a:pt x="44381" y="219824"/>
                      </a:cubicBezTo>
                      <a:cubicBezTo>
                        <a:pt x="41516" y="212522"/>
                        <a:pt x="35837" y="205373"/>
                        <a:pt x="32617" y="198160"/>
                      </a:cubicBezTo>
                      <a:cubicBezTo>
                        <a:pt x="26266" y="183848"/>
                        <a:pt x="36369" y="173478"/>
                        <a:pt x="27344" y="163324"/>
                      </a:cubicBezTo>
                      <a:cubicBezTo>
                        <a:pt x="23110" y="158533"/>
                        <a:pt x="14312" y="155858"/>
                        <a:pt x="12094" y="150623"/>
                      </a:cubicBezTo>
                      <a:cubicBezTo>
                        <a:pt x="11828" y="149913"/>
                        <a:pt x="12550" y="141103"/>
                        <a:pt x="12550" y="139378"/>
                      </a:cubicBezTo>
                      <a:cubicBezTo>
                        <a:pt x="12550" y="128375"/>
                        <a:pt x="11612" y="128806"/>
                        <a:pt x="5819" y="118716"/>
                      </a:cubicBezTo>
                      <a:cubicBezTo>
                        <a:pt x="2016" y="112111"/>
                        <a:pt x="-2066" y="97571"/>
                        <a:pt x="1179" y="89965"/>
                      </a:cubicBezTo>
                      <a:cubicBezTo>
                        <a:pt x="4399" y="82397"/>
                        <a:pt x="12043" y="87975"/>
                        <a:pt x="21018" y="82397"/>
                      </a:cubicBezTo>
                      <a:cubicBezTo>
                        <a:pt x="10535" y="76870"/>
                        <a:pt x="25049" y="74614"/>
                        <a:pt x="28649" y="70342"/>
                      </a:cubicBezTo>
                      <a:cubicBezTo>
                        <a:pt x="31565" y="66869"/>
                        <a:pt x="34278" y="59200"/>
                        <a:pt x="36826" y="55029"/>
                      </a:cubicBezTo>
                      <a:cubicBezTo>
                        <a:pt x="43113" y="44609"/>
                        <a:pt x="46473" y="35634"/>
                        <a:pt x="58870" y="29676"/>
                      </a:cubicBezTo>
                      <a:cubicBezTo>
                        <a:pt x="67262" y="25645"/>
                        <a:pt x="82816" y="22628"/>
                        <a:pt x="91398" y="21208"/>
                      </a:cubicBezTo>
                      <a:cubicBezTo>
                        <a:pt x="100792" y="19649"/>
                        <a:pt x="100322" y="24643"/>
                        <a:pt x="112226" y="25429"/>
                      </a:cubicBezTo>
                      <a:cubicBezTo>
                        <a:pt x="120098" y="25962"/>
                        <a:pt x="131570" y="28104"/>
                        <a:pt x="138428" y="22539"/>
                      </a:cubicBezTo>
                      <a:cubicBezTo>
                        <a:pt x="140976" y="23743"/>
                        <a:pt x="153957" y="26278"/>
                        <a:pt x="159497" y="25645"/>
                      </a:cubicBezTo>
                      <a:cubicBezTo>
                        <a:pt x="165974" y="24871"/>
                        <a:pt x="170652" y="21284"/>
                        <a:pt x="176508" y="20599"/>
                      </a:cubicBezTo>
                      <a:cubicBezTo>
                        <a:pt x="178194" y="20409"/>
                        <a:pt x="191670" y="20473"/>
                        <a:pt x="195295" y="23883"/>
                      </a:cubicBezTo>
                      <a:cubicBezTo>
                        <a:pt x="197995" y="26418"/>
                        <a:pt x="195587" y="33922"/>
                        <a:pt x="200467" y="36027"/>
                      </a:cubicBezTo>
                      <a:cubicBezTo>
                        <a:pt x="206311" y="38550"/>
                        <a:pt x="209112" y="30196"/>
                        <a:pt x="212218" y="26938"/>
                      </a:cubicBezTo>
                      <a:cubicBezTo>
                        <a:pt x="211534" y="42213"/>
                        <a:pt x="224337" y="43265"/>
                        <a:pt x="233667" y="42885"/>
                      </a:cubicBezTo>
                      <a:cubicBezTo>
                        <a:pt x="242452" y="42555"/>
                        <a:pt x="247662" y="43620"/>
                        <a:pt x="255318" y="49717"/>
                      </a:cubicBezTo>
                      <a:cubicBezTo>
                        <a:pt x="263140" y="55954"/>
                        <a:pt x="276919" y="67046"/>
                        <a:pt x="281217" y="51644"/>
                      </a:cubicBezTo>
                      <a:cubicBezTo>
                        <a:pt x="283473" y="43620"/>
                        <a:pt x="272483" y="34556"/>
                        <a:pt x="270619" y="25442"/>
                      </a:cubicBezTo>
                      <a:cubicBezTo>
                        <a:pt x="277274" y="26988"/>
                        <a:pt x="289228" y="26583"/>
                        <a:pt x="289532" y="16074"/>
                      </a:cubicBezTo>
                      <a:cubicBezTo>
                        <a:pt x="298051" y="24973"/>
                        <a:pt x="303743" y="14046"/>
                        <a:pt x="308370" y="13577"/>
                      </a:cubicBezTo>
                      <a:cubicBezTo>
                        <a:pt x="307863" y="9520"/>
                        <a:pt x="307939" y="12360"/>
                        <a:pt x="310423" y="8595"/>
                      </a:cubicBezTo>
                      <a:cubicBezTo>
                        <a:pt x="311691" y="12918"/>
                        <a:pt x="314087" y="15098"/>
                        <a:pt x="317281" y="17861"/>
                      </a:cubicBezTo>
                      <a:cubicBezTo>
                        <a:pt x="319601" y="19928"/>
                        <a:pt x="329514" y="28243"/>
                        <a:pt x="332163" y="29397"/>
                      </a:cubicBezTo>
                      <a:cubicBezTo>
                        <a:pt x="339415" y="32553"/>
                        <a:pt x="345918" y="23312"/>
                        <a:pt x="349911" y="20802"/>
                      </a:cubicBezTo>
                      <a:cubicBezTo>
                        <a:pt x="349480" y="21081"/>
                        <a:pt x="353397" y="22361"/>
                        <a:pt x="355032" y="21563"/>
                      </a:cubicBezTo>
                      <a:cubicBezTo>
                        <a:pt x="357871" y="20156"/>
                        <a:pt x="357871" y="17430"/>
                        <a:pt x="359798" y="15668"/>
                      </a:cubicBezTo>
                      <a:cubicBezTo>
                        <a:pt x="360102" y="15402"/>
                        <a:pt x="365617" y="9178"/>
                        <a:pt x="366580" y="8950"/>
                      </a:cubicBezTo>
                      <a:cubicBezTo>
                        <a:pt x="370979" y="7961"/>
                        <a:pt x="373768" y="12791"/>
                        <a:pt x="378319" y="10750"/>
                      </a:cubicBezTo>
                      <a:cubicBezTo>
                        <a:pt x="378420" y="10724"/>
                        <a:pt x="384049" y="773"/>
                        <a:pt x="384923" y="0"/>
                      </a:cubicBezTo>
                      <a:cubicBezTo>
                        <a:pt x="385025" y="3689"/>
                        <a:pt x="384442" y="7302"/>
                        <a:pt x="383820" y="11143"/>
                      </a:cubicBezTo>
                      <a:lnTo>
                        <a:pt x="383820" y="11143"/>
                      </a:lnTo>
                      <a:close/>
                    </a:path>
                  </a:pathLst>
                </a:custGeom>
                <a:solidFill>
                  <a:srgbClr val="D6D6D2"/>
                </a:solidFill>
                <a:ln w="12413" cap="rnd">
                  <a:solidFill>
                    <a:srgbClr val="FFFFFF"/>
                  </a:solidFill>
                  <a:prstDash val="solid"/>
                  <a:round/>
                </a:ln>
              </p:spPr>
              <p:txBody>
                <a:bodyPr rtlCol="0" anchor="ctr"/>
                <a:lstStyle/>
                <a:p>
                  <a:endParaRPr lang="en-US"/>
                </a:p>
              </p:txBody>
            </p:sp>
            <p:sp>
              <p:nvSpPr>
                <p:cNvPr id="91" name="Freeform: Shape 90">
                  <a:extLst>
                    <a:ext uri="{FF2B5EF4-FFF2-40B4-BE49-F238E27FC236}">
                      <a16:creationId xmlns:a16="http://schemas.microsoft.com/office/drawing/2014/main" id="{DB9FA7BC-E0A5-4AD3-ADDB-02D360A37A82}"/>
                    </a:ext>
                  </a:extLst>
                </p:cNvPr>
                <p:cNvSpPr/>
                <p:nvPr/>
              </p:nvSpPr>
              <p:spPr>
                <a:xfrm>
                  <a:off x="1041806" y="1505261"/>
                  <a:ext cx="812430" cy="357034"/>
                </a:xfrm>
                <a:custGeom>
                  <a:avLst/>
                  <a:gdLst>
                    <a:gd name="connsiteX0" fmla="*/ 811070 w 812430"/>
                    <a:gd name="connsiteY0" fmla="*/ 95213 h 357034"/>
                    <a:gd name="connsiteX1" fmla="*/ 795250 w 812430"/>
                    <a:gd name="connsiteY1" fmla="*/ 109956 h 357034"/>
                    <a:gd name="connsiteX2" fmla="*/ 776844 w 812430"/>
                    <a:gd name="connsiteY2" fmla="*/ 122557 h 357034"/>
                    <a:gd name="connsiteX3" fmla="*/ 762595 w 812430"/>
                    <a:gd name="connsiteY3" fmla="*/ 126283 h 357034"/>
                    <a:gd name="connsiteX4" fmla="*/ 748740 w 812430"/>
                    <a:gd name="connsiteY4" fmla="*/ 132026 h 357034"/>
                    <a:gd name="connsiteX5" fmla="*/ 736837 w 812430"/>
                    <a:gd name="connsiteY5" fmla="*/ 135297 h 357034"/>
                    <a:gd name="connsiteX6" fmla="*/ 724046 w 812430"/>
                    <a:gd name="connsiteY6" fmla="*/ 140849 h 357034"/>
                    <a:gd name="connsiteX7" fmla="*/ 694104 w 812430"/>
                    <a:gd name="connsiteY7" fmla="*/ 157075 h 357034"/>
                    <a:gd name="connsiteX8" fmla="*/ 678512 w 812430"/>
                    <a:gd name="connsiteY8" fmla="*/ 164744 h 357034"/>
                    <a:gd name="connsiteX9" fmla="*/ 674012 w 812430"/>
                    <a:gd name="connsiteY9" fmla="*/ 173060 h 357034"/>
                    <a:gd name="connsiteX10" fmla="*/ 662248 w 812430"/>
                    <a:gd name="connsiteY10" fmla="*/ 188842 h 357034"/>
                    <a:gd name="connsiteX11" fmla="*/ 634018 w 812430"/>
                    <a:gd name="connsiteY11" fmla="*/ 194699 h 357034"/>
                    <a:gd name="connsiteX12" fmla="*/ 618615 w 812430"/>
                    <a:gd name="connsiteY12" fmla="*/ 200112 h 357034"/>
                    <a:gd name="connsiteX13" fmla="*/ 602478 w 812430"/>
                    <a:gd name="connsiteY13" fmla="*/ 198831 h 357034"/>
                    <a:gd name="connsiteX14" fmla="*/ 568467 w 812430"/>
                    <a:gd name="connsiteY14" fmla="*/ 197133 h 357034"/>
                    <a:gd name="connsiteX15" fmla="*/ 556602 w 812430"/>
                    <a:gd name="connsiteY15" fmla="*/ 209682 h 357034"/>
                    <a:gd name="connsiteX16" fmla="*/ 552114 w 812430"/>
                    <a:gd name="connsiteY16" fmla="*/ 215742 h 357034"/>
                    <a:gd name="connsiteX17" fmla="*/ 545992 w 812430"/>
                    <a:gd name="connsiteY17" fmla="*/ 232361 h 357034"/>
                    <a:gd name="connsiteX18" fmla="*/ 525975 w 812430"/>
                    <a:gd name="connsiteY18" fmla="*/ 255191 h 357034"/>
                    <a:gd name="connsiteX19" fmla="*/ 518965 w 812430"/>
                    <a:gd name="connsiteY19" fmla="*/ 248942 h 357034"/>
                    <a:gd name="connsiteX20" fmla="*/ 508900 w 812430"/>
                    <a:gd name="connsiteY20" fmla="*/ 254304 h 357034"/>
                    <a:gd name="connsiteX21" fmla="*/ 496528 w 812430"/>
                    <a:gd name="connsiteY21" fmla="*/ 256522 h 357034"/>
                    <a:gd name="connsiteX22" fmla="*/ 491356 w 812430"/>
                    <a:gd name="connsiteY22" fmla="*/ 261187 h 357034"/>
                    <a:gd name="connsiteX23" fmla="*/ 474166 w 812430"/>
                    <a:gd name="connsiteY23" fmla="*/ 257916 h 357034"/>
                    <a:gd name="connsiteX24" fmla="*/ 469692 w 812430"/>
                    <a:gd name="connsiteY24" fmla="*/ 234655 h 357034"/>
                    <a:gd name="connsiteX25" fmla="*/ 441968 w 812430"/>
                    <a:gd name="connsiteY25" fmla="*/ 247915 h 357034"/>
                    <a:gd name="connsiteX26" fmla="*/ 415677 w 812430"/>
                    <a:gd name="connsiteY26" fmla="*/ 258601 h 357034"/>
                    <a:gd name="connsiteX27" fmla="*/ 387941 w 812430"/>
                    <a:gd name="connsiteY27" fmla="*/ 271252 h 357034"/>
                    <a:gd name="connsiteX28" fmla="*/ 363019 w 812430"/>
                    <a:gd name="connsiteY28" fmla="*/ 278199 h 357034"/>
                    <a:gd name="connsiteX29" fmla="*/ 338642 w 812430"/>
                    <a:gd name="connsiteY29" fmla="*/ 307152 h 357034"/>
                    <a:gd name="connsiteX30" fmla="*/ 343928 w 812430"/>
                    <a:gd name="connsiteY30" fmla="*/ 324494 h 357034"/>
                    <a:gd name="connsiteX31" fmla="*/ 317700 w 812430"/>
                    <a:gd name="connsiteY31" fmla="*/ 333215 h 357034"/>
                    <a:gd name="connsiteX32" fmla="*/ 289229 w 812430"/>
                    <a:gd name="connsiteY32" fmla="*/ 342773 h 357034"/>
                    <a:gd name="connsiteX33" fmla="*/ 264421 w 812430"/>
                    <a:gd name="connsiteY33" fmla="*/ 342279 h 357034"/>
                    <a:gd name="connsiteX34" fmla="*/ 238751 w 812430"/>
                    <a:gd name="connsiteY34" fmla="*/ 343585 h 357034"/>
                    <a:gd name="connsiteX35" fmla="*/ 228812 w 812430"/>
                    <a:gd name="connsiteY35" fmla="*/ 344510 h 357034"/>
                    <a:gd name="connsiteX36" fmla="*/ 221029 w 812430"/>
                    <a:gd name="connsiteY36" fmla="*/ 357034 h 357034"/>
                    <a:gd name="connsiteX37" fmla="*/ 210381 w 812430"/>
                    <a:gd name="connsiteY37" fmla="*/ 347387 h 357034"/>
                    <a:gd name="connsiteX38" fmla="*/ 205196 w 812430"/>
                    <a:gd name="connsiteY38" fmla="*/ 342292 h 357034"/>
                    <a:gd name="connsiteX39" fmla="*/ 189781 w 812430"/>
                    <a:gd name="connsiteY39" fmla="*/ 349821 h 357034"/>
                    <a:gd name="connsiteX40" fmla="*/ 185712 w 812430"/>
                    <a:gd name="connsiteY40" fmla="*/ 338298 h 357034"/>
                    <a:gd name="connsiteX41" fmla="*/ 174747 w 812430"/>
                    <a:gd name="connsiteY41" fmla="*/ 335142 h 357034"/>
                    <a:gd name="connsiteX42" fmla="*/ 169055 w 812430"/>
                    <a:gd name="connsiteY42" fmla="*/ 326877 h 357034"/>
                    <a:gd name="connsiteX43" fmla="*/ 155872 w 812430"/>
                    <a:gd name="connsiteY43" fmla="*/ 323606 h 357034"/>
                    <a:gd name="connsiteX44" fmla="*/ 147645 w 812430"/>
                    <a:gd name="connsiteY44" fmla="*/ 328943 h 357034"/>
                    <a:gd name="connsiteX45" fmla="*/ 134068 w 812430"/>
                    <a:gd name="connsiteY45" fmla="*/ 331783 h 357034"/>
                    <a:gd name="connsiteX46" fmla="*/ 125575 w 812430"/>
                    <a:gd name="connsiteY46" fmla="*/ 338235 h 357034"/>
                    <a:gd name="connsiteX47" fmla="*/ 116917 w 812430"/>
                    <a:gd name="connsiteY47" fmla="*/ 339249 h 357034"/>
                    <a:gd name="connsiteX48" fmla="*/ 104684 w 812430"/>
                    <a:gd name="connsiteY48" fmla="*/ 330604 h 357034"/>
                    <a:gd name="connsiteX49" fmla="*/ 85935 w 812430"/>
                    <a:gd name="connsiteY49" fmla="*/ 322871 h 357034"/>
                    <a:gd name="connsiteX50" fmla="*/ 71078 w 812430"/>
                    <a:gd name="connsiteY50" fmla="*/ 319892 h 357034"/>
                    <a:gd name="connsiteX51" fmla="*/ 36294 w 812430"/>
                    <a:gd name="connsiteY51" fmla="*/ 324266 h 357034"/>
                    <a:gd name="connsiteX52" fmla="*/ 3981 w 812430"/>
                    <a:gd name="connsiteY52" fmla="*/ 327802 h 357034"/>
                    <a:gd name="connsiteX53" fmla="*/ 128 w 812430"/>
                    <a:gd name="connsiteY53" fmla="*/ 310702 h 357034"/>
                    <a:gd name="connsiteX54" fmla="*/ 5236 w 812430"/>
                    <a:gd name="connsiteY54" fmla="*/ 288784 h 357034"/>
                    <a:gd name="connsiteX55" fmla="*/ 11372 w 812430"/>
                    <a:gd name="connsiteY55" fmla="*/ 294488 h 357034"/>
                    <a:gd name="connsiteX56" fmla="*/ 17634 w 812430"/>
                    <a:gd name="connsiteY56" fmla="*/ 289709 h 357034"/>
                    <a:gd name="connsiteX57" fmla="*/ 20613 w 812430"/>
                    <a:gd name="connsiteY57" fmla="*/ 276107 h 357034"/>
                    <a:gd name="connsiteX58" fmla="*/ 54016 w 812430"/>
                    <a:gd name="connsiteY58" fmla="*/ 268603 h 357034"/>
                    <a:gd name="connsiteX59" fmla="*/ 76250 w 812430"/>
                    <a:gd name="connsiteY59" fmla="*/ 276716 h 357034"/>
                    <a:gd name="connsiteX60" fmla="*/ 95088 w 812430"/>
                    <a:gd name="connsiteY60" fmla="*/ 284043 h 357034"/>
                    <a:gd name="connsiteX61" fmla="*/ 92147 w 812430"/>
                    <a:gd name="connsiteY61" fmla="*/ 294805 h 357034"/>
                    <a:gd name="connsiteX62" fmla="*/ 102782 w 812430"/>
                    <a:gd name="connsiteY62" fmla="*/ 286756 h 357034"/>
                    <a:gd name="connsiteX63" fmla="*/ 104988 w 812430"/>
                    <a:gd name="connsiteY63" fmla="*/ 278351 h 357034"/>
                    <a:gd name="connsiteX64" fmla="*/ 114800 w 812430"/>
                    <a:gd name="connsiteY64" fmla="*/ 272976 h 357034"/>
                    <a:gd name="connsiteX65" fmla="*/ 128642 w 812430"/>
                    <a:gd name="connsiteY65" fmla="*/ 268387 h 357034"/>
                    <a:gd name="connsiteX66" fmla="*/ 136324 w 812430"/>
                    <a:gd name="connsiteY66" fmla="*/ 263456 h 357034"/>
                    <a:gd name="connsiteX67" fmla="*/ 146580 w 812430"/>
                    <a:gd name="connsiteY67" fmla="*/ 261162 h 357034"/>
                    <a:gd name="connsiteX68" fmla="*/ 176636 w 812430"/>
                    <a:gd name="connsiteY68" fmla="*/ 264508 h 357034"/>
                    <a:gd name="connsiteX69" fmla="*/ 188324 w 812430"/>
                    <a:gd name="connsiteY69" fmla="*/ 270175 h 357034"/>
                    <a:gd name="connsiteX70" fmla="*/ 192000 w 812430"/>
                    <a:gd name="connsiteY70" fmla="*/ 265345 h 357034"/>
                    <a:gd name="connsiteX71" fmla="*/ 197628 w 812430"/>
                    <a:gd name="connsiteY71" fmla="*/ 265839 h 357034"/>
                    <a:gd name="connsiteX72" fmla="*/ 205982 w 812430"/>
                    <a:gd name="connsiteY72" fmla="*/ 265205 h 357034"/>
                    <a:gd name="connsiteX73" fmla="*/ 223602 w 812430"/>
                    <a:gd name="connsiteY73" fmla="*/ 247661 h 357034"/>
                    <a:gd name="connsiteX74" fmla="*/ 219761 w 812430"/>
                    <a:gd name="connsiteY74" fmla="*/ 250006 h 357034"/>
                    <a:gd name="connsiteX75" fmla="*/ 234365 w 812430"/>
                    <a:gd name="connsiteY75" fmla="*/ 251781 h 357034"/>
                    <a:gd name="connsiteX76" fmla="*/ 230955 w 812430"/>
                    <a:gd name="connsiteY76" fmla="*/ 242464 h 357034"/>
                    <a:gd name="connsiteX77" fmla="*/ 250312 w 812430"/>
                    <a:gd name="connsiteY77" fmla="*/ 242616 h 357034"/>
                    <a:gd name="connsiteX78" fmla="*/ 259413 w 812430"/>
                    <a:gd name="connsiteY78" fmla="*/ 236988 h 357034"/>
                    <a:gd name="connsiteX79" fmla="*/ 264611 w 812430"/>
                    <a:gd name="connsiteY79" fmla="*/ 227746 h 357034"/>
                    <a:gd name="connsiteX80" fmla="*/ 278099 w 812430"/>
                    <a:gd name="connsiteY80" fmla="*/ 222359 h 357034"/>
                    <a:gd name="connsiteX81" fmla="*/ 268439 w 812430"/>
                    <a:gd name="connsiteY81" fmla="*/ 215780 h 357034"/>
                    <a:gd name="connsiteX82" fmla="*/ 251339 w 812430"/>
                    <a:gd name="connsiteY82" fmla="*/ 210950 h 357034"/>
                    <a:gd name="connsiteX83" fmla="*/ 239968 w 812430"/>
                    <a:gd name="connsiteY83" fmla="*/ 199934 h 357034"/>
                    <a:gd name="connsiteX84" fmla="*/ 228648 w 812430"/>
                    <a:gd name="connsiteY84" fmla="*/ 193520 h 357034"/>
                    <a:gd name="connsiteX85" fmla="*/ 216313 w 812430"/>
                    <a:gd name="connsiteY85" fmla="*/ 199960 h 357034"/>
                    <a:gd name="connsiteX86" fmla="*/ 216643 w 812430"/>
                    <a:gd name="connsiteY86" fmla="*/ 185141 h 357034"/>
                    <a:gd name="connsiteX87" fmla="*/ 207161 w 812430"/>
                    <a:gd name="connsiteY87" fmla="*/ 185901 h 357034"/>
                    <a:gd name="connsiteX88" fmla="*/ 194205 w 812430"/>
                    <a:gd name="connsiteY88" fmla="*/ 179183 h 357034"/>
                    <a:gd name="connsiteX89" fmla="*/ 184660 w 812430"/>
                    <a:gd name="connsiteY89" fmla="*/ 159990 h 357034"/>
                    <a:gd name="connsiteX90" fmla="*/ 183519 w 812430"/>
                    <a:gd name="connsiteY90" fmla="*/ 162691 h 357034"/>
                    <a:gd name="connsiteX91" fmla="*/ 181630 w 812430"/>
                    <a:gd name="connsiteY91" fmla="*/ 160700 h 357034"/>
                    <a:gd name="connsiteX92" fmla="*/ 179843 w 812430"/>
                    <a:gd name="connsiteY92" fmla="*/ 162627 h 357034"/>
                    <a:gd name="connsiteX93" fmla="*/ 174950 w 812430"/>
                    <a:gd name="connsiteY93" fmla="*/ 158114 h 357034"/>
                    <a:gd name="connsiteX94" fmla="*/ 174684 w 812430"/>
                    <a:gd name="connsiteY94" fmla="*/ 169194 h 357034"/>
                    <a:gd name="connsiteX95" fmla="*/ 161132 w 812430"/>
                    <a:gd name="connsiteY95" fmla="*/ 169473 h 357034"/>
                    <a:gd name="connsiteX96" fmla="*/ 160511 w 812430"/>
                    <a:gd name="connsiteY96" fmla="*/ 189083 h 357034"/>
                    <a:gd name="connsiteX97" fmla="*/ 151587 w 812430"/>
                    <a:gd name="connsiteY97" fmla="*/ 189945 h 357034"/>
                    <a:gd name="connsiteX98" fmla="*/ 143487 w 812430"/>
                    <a:gd name="connsiteY98" fmla="*/ 190439 h 357034"/>
                    <a:gd name="connsiteX99" fmla="*/ 112112 w 812430"/>
                    <a:gd name="connsiteY99" fmla="*/ 176305 h 357034"/>
                    <a:gd name="connsiteX100" fmla="*/ 101654 w 812430"/>
                    <a:gd name="connsiteY100" fmla="*/ 159648 h 357034"/>
                    <a:gd name="connsiteX101" fmla="*/ 88610 w 812430"/>
                    <a:gd name="connsiteY101" fmla="*/ 163464 h 357034"/>
                    <a:gd name="connsiteX102" fmla="*/ 81790 w 812430"/>
                    <a:gd name="connsiteY102" fmla="*/ 156669 h 357034"/>
                    <a:gd name="connsiteX103" fmla="*/ 76529 w 812430"/>
                    <a:gd name="connsiteY103" fmla="*/ 145045 h 357034"/>
                    <a:gd name="connsiteX104" fmla="*/ 89776 w 812430"/>
                    <a:gd name="connsiteY104" fmla="*/ 137413 h 357034"/>
                    <a:gd name="connsiteX105" fmla="*/ 102250 w 812430"/>
                    <a:gd name="connsiteY105" fmla="*/ 123419 h 357034"/>
                    <a:gd name="connsiteX106" fmla="*/ 116435 w 812430"/>
                    <a:gd name="connsiteY106" fmla="*/ 119083 h 357034"/>
                    <a:gd name="connsiteX107" fmla="*/ 121759 w 812430"/>
                    <a:gd name="connsiteY107" fmla="*/ 108663 h 357034"/>
                    <a:gd name="connsiteX108" fmla="*/ 148862 w 812430"/>
                    <a:gd name="connsiteY108" fmla="*/ 94567 h 357034"/>
                    <a:gd name="connsiteX109" fmla="*/ 129555 w 812430"/>
                    <a:gd name="connsiteY109" fmla="*/ 87658 h 357034"/>
                    <a:gd name="connsiteX110" fmla="*/ 121037 w 812430"/>
                    <a:gd name="connsiteY110" fmla="*/ 82803 h 357034"/>
                    <a:gd name="connsiteX111" fmla="*/ 126310 w 812430"/>
                    <a:gd name="connsiteY111" fmla="*/ 72079 h 357034"/>
                    <a:gd name="connsiteX112" fmla="*/ 133257 w 812430"/>
                    <a:gd name="connsiteY112" fmla="*/ 71774 h 357034"/>
                    <a:gd name="connsiteX113" fmla="*/ 131761 w 812430"/>
                    <a:gd name="connsiteY113" fmla="*/ 66273 h 357034"/>
                    <a:gd name="connsiteX114" fmla="*/ 130442 w 812430"/>
                    <a:gd name="connsiteY114" fmla="*/ 62229 h 357034"/>
                    <a:gd name="connsiteX115" fmla="*/ 134816 w 812430"/>
                    <a:gd name="connsiteY115" fmla="*/ 60378 h 357034"/>
                    <a:gd name="connsiteX116" fmla="*/ 141091 w 812430"/>
                    <a:gd name="connsiteY116" fmla="*/ 55625 h 357034"/>
                    <a:gd name="connsiteX117" fmla="*/ 150421 w 812430"/>
                    <a:gd name="connsiteY117" fmla="*/ 45534 h 357034"/>
                    <a:gd name="connsiteX118" fmla="*/ 160080 w 812430"/>
                    <a:gd name="connsiteY118" fmla="*/ 41617 h 357034"/>
                    <a:gd name="connsiteX119" fmla="*/ 177358 w 812430"/>
                    <a:gd name="connsiteY119" fmla="*/ 42441 h 357034"/>
                    <a:gd name="connsiteX120" fmla="*/ 196348 w 812430"/>
                    <a:gd name="connsiteY120" fmla="*/ 39703 h 357034"/>
                    <a:gd name="connsiteX121" fmla="*/ 217695 w 812430"/>
                    <a:gd name="connsiteY121" fmla="*/ 44317 h 357034"/>
                    <a:gd name="connsiteX122" fmla="*/ 241945 w 812430"/>
                    <a:gd name="connsiteY122" fmla="*/ 52050 h 357034"/>
                    <a:gd name="connsiteX123" fmla="*/ 257753 w 812430"/>
                    <a:gd name="connsiteY123" fmla="*/ 54243 h 357034"/>
                    <a:gd name="connsiteX124" fmla="*/ 265321 w 812430"/>
                    <a:gd name="connsiteY124" fmla="*/ 62102 h 357034"/>
                    <a:gd name="connsiteX125" fmla="*/ 301436 w 812430"/>
                    <a:gd name="connsiteY125" fmla="*/ 68402 h 357034"/>
                    <a:gd name="connsiteX126" fmla="*/ 315380 w 812430"/>
                    <a:gd name="connsiteY126" fmla="*/ 76401 h 357034"/>
                    <a:gd name="connsiteX127" fmla="*/ 308446 w 812430"/>
                    <a:gd name="connsiteY127" fmla="*/ 58173 h 357034"/>
                    <a:gd name="connsiteX128" fmla="*/ 314277 w 812430"/>
                    <a:gd name="connsiteY128" fmla="*/ 43658 h 357034"/>
                    <a:gd name="connsiteX129" fmla="*/ 314252 w 812430"/>
                    <a:gd name="connsiteY129" fmla="*/ 34227 h 357034"/>
                    <a:gd name="connsiteX130" fmla="*/ 326282 w 812430"/>
                    <a:gd name="connsiteY130" fmla="*/ 17240 h 357034"/>
                    <a:gd name="connsiteX131" fmla="*/ 341836 w 812430"/>
                    <a:gd name="connsiteY131" fmla="*/ 13006 h 357034"/>
                    <a:gd name="connsiteX132" fmla="*/ 349429 w 812430"/>
                    <a:gd name="connsiteY132" fmla="*/ 4044 h 357034"/>
                    <a:gd name="connsiteX133" fmla="*/ 365161 w 812430"/>
                    <a:gd name="connsiteY133" fmla="*/ 0 h 357034"/>
                    <a:gd name="connsiteX134" fmla="*/ 384594 w 812430"/>
                    <a:gd name="connsiteY134" fmla="*/ 9976 h 357034"/>
                    <a:gd name="connsiteX135" fmla="*/ 404712 w 812430"/>
                    <a:gd name="connsiteY135" fmla="*/ 23350 h 357034"/>
                    <a:gd name="connsiteX136" fmla="*/ 461997 w 812430"/>
                    <a:gd name="connsiteY136" fmla="*/ 38980 h 357034"/>
                    <a:gd name="connsiteX137" fmla="*/ 480746 w 812430"/>
                    <a:gd name="connsiteY137" fmla="*/ 34949 h 357034"/>
                    <a:gd name="connsiteX138" fmla="*/ 488402 w 812430"/>
                    <a:gd name="connsiteY138" fmla="*/ 28801 h 357034"/>
                    <a:gd name="connsiteX139" fmla="*/ 502156 w 812430"/>
                    <a:gd name="connsiteY139" fmla="*/ 29942 h 357034"/>
                    <a:gd name="connsiteX140" fmla="*/ 543824 w 812430"/>
                    <a:gd name="connsiteY140" fmla="*/ 32566 h 357034"/>
                    <a:gd name="connsiteX141" fmla="*/ 580396 w 812430"/>
                    <a:gd name="connsiteY141" fmla="*/ 26215 h 357034"/>
                    <a:gd name="connsiteX142" fmla="*/ 601173 w 812430"/>
                    <a:gd name="connsiteY142" fmla="*/ 31527 h 357034"/>
                    <a:gd name="connsiteX143" fmla="*/ 617170 w 812430"/>
                    <a:gd name="connsiteY143" fmla="*/ 32934 h 357034"/>
                    <a:gd name="connsiteX144" fmla="*/ 659535 w 812430"/>
                    <a:gd name="connsiteY144" fmla="*/ 35760 h 357034"/>
                    <a:gd name="connsiteX145" fmla="*/ 679425 w 812430"/>
                    <a:gd name="connsiteY145" fmla="*/ 33998 h 357034"/>
                    <a:gd name="connsiteX146" fmla="*/ 711801 w 812430"/>
                    <a:gd name="connsiteY146" fmla="*/ 43164 h 357034"/>
                    <a:gd name="connsiteX147" fmla="*/ 725390 w 812430"/>
                    <a:gd name="connsiteY147" fmla="*/ 44393 h 357034"/>
                    <a:gd name="connsiteX148" fmla="*/ 734656 w 812430"/>
                    <a:gd name="connsiteY148" fmla="*/ 45914 h 357034"/>
                    <a:gd name="connsiteX149" fmla="*/ 736837 w 812430"/>
                    <a:gd name="connsiteY149" fmla="*/ 53939 h 357034"/>
                    <a:gd name="connsiteX150" fmla="*/ 748537 w 812430"/>
                    <a:gd name="connsiteY150" fmla="*/ 62825 h 357034"/>
                    <a:gd name="connsiteX151" fmla="*/ 762912 w 812430"/>
                    <a:gd name="connsiteY151" fmla="*/ 72269 h 357034"/>
                    <a:gd name="connsiteX152" fmla="*/ 785172 w 812430"/>
                    <a:gd name="connsiteY152" fmla="*/ 73727 h 357034"/>
                    <a:gd name="connsiteX153" fmla="*/ 811070 w 812430"/>
                    <a:gd name="connsiteY153" fmla="*/ 95213 h 357034"/>
                    <a:gd name="connsiteX154" fmla="*/ 811070 w 812430"/>
                    <a:gd name="connsiteY154" fmla="*/ 95213 h 357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812430" h="357034">
                      <a:moveTo>
                        <a:pt x="811070" y="95213"/>
                      </a:moveTo>
                      <a:cubicBezTo>
                        <a:pt x="814227" y="111160"/>
                        <a:pt x="812997" y="108574"/>
                        <a:pt x="795250" y="109956"/>
                      </a:cubicBezTo>
                      <a:cubicBezTo>
                        <a:pt x="780900" y="111084"/>
                        <a:pt x="785882" y="115990"/>
                        <a:pt x="776844" y="122557"/>
                      </a:cubicBezTo>
                      <a:cubicBezTo>
                        <a:pt x="774701" y="124116"/>
                        <a:pt x="765587" y="125117"/>
                        <a:pt x="762595" y="126283"/>
                      </a:cubicBezTo>
                      <a:cubicBezTo>
                        <a:pt x="757867" y="128134"/>
                        <a:pt x="753354" y="130441"/>
                        <a:pt x="748740" y="132026"/>
                      </a:cubicBezTo>
                      <a:cubicBezTo>
                        <a:pt x="744874" y="133344"/>
                        <a:pt x="741552" y="133357"/>
                        <a:pt x="736837" y="135297"/>
                      </a:cubicBezTo>
                      <a:cubicBezTo>
                        <a:pt x="732539" y="137046"/>
                        <a:pt x="728331" y="139049"/>
                        <a:pt x="724046" y="140849"/>
                      </a:cubicBezTo>
                      <a:cubicBezTo>
                        <a:pt x="713727" y="145235"/>
                        <a:pt x="702674" y="152499"/>
                        <a:pt x="694104" y="157075"/>
                      </a:cubicBezTo>
                      <a:cubicBezTo>
                        <a:pt x="688970" y="159813"/>
                        <a:pt x="683164" y="160345"/>
                        <a:pt x="678512" y="164744"/>
                      </a:cubicBezTo>
                      <a:cubicBezTo>
                        <a:pt x="673948" y="169041"/>
                        <a:pt x="676294" y="169840"/>
                        <a:pt x="674012" y="173060"/>
                      </a:cubicBezTo>
                      <a:cubicBezTo>
                        <a:pt x="670982" y="177370"/>
                        <a:pt x="666469" y="184063"/>
                        <a:pt x="662248" y="188842"/>
                      </a:cubicBezTo>
                      <a:cubicBezTo>
                        <a:pt x="651942" y="200555"/>
                        <a:pt x="646821" y="192176"/>
                        <a:pt x="634018" y="194699"/>
                      </a:cubicBezTo>
                      <a:cubicBezTo>
                        <a:pt x="628655" y="195751"/>
                        <a:pt x="624016" y="199097"/>
                        <a:pt x="618615" y="200112"/>
                      </a:cubicBezTo>
                      <a:cubicBezTo>
                        <a:pt x="611225" y="201519"/>
                        <a:pt x="609032" y="199262"/>
                        <a:pt x="602478" y="198831"/>
                      </a:cubicBezTo>
                      <a:cubicBezTo>
                        <a:pt x="592337" y="198172"/>
                        <a:pt x="578000" y="194699"/>
                        <a:pt x="568467" y="197133"/>
                      </a:cubicBezTo>
                      <a:cubicBezTo>
                        <a:pt x="559036" y="199541"/>
                        <a:pt x="560075" y="204675"/>
                        <a:pt x="556602" y="209682"/>
                      </a:cubicBezTo>
                      <a:cubicBezTo>
                        <a:pt x="556095" y="210456"/>
                        <a:pt x="552393" y="215146"/>
                        <a:pt x="552114" y="215742"/>
                      </a:cubicBezTo>
                      <a:cubicBezTo>
                        <a:pt x="549250" y="221434"/>
                        <a:pt x="548476" y="226441"/>
                        <a:pt x="545992" y="232361"/>
                      </a:cubicBezTo>
                      <a:cubicBezTo>
                        <a:pt x="543824" y="237507"/>
                        <a:pt x="533163" y="254646"/>
                        <a:pt x="525975" y="255191"/>
                      </a:cubicBezTo>
                      <a:cubicBezTo>
                        <a:pt x="519434" y="255685"/>
                        <a:pt x="523567" y="249068"/>
                        <a:pt x="518965" y="248942"/>
                      </a:cubicBezTo>
                      <a:cubicBezTo>
                        <a:pt x="517076" y="248878"/>
                        <a:pt x="511106" y="253543"/>
                        <a:pt x="508900" y="254304"/>
                      </a:cubicBezTo>
                      <a:cubicBezTo>
                        <a:pt x="506213" y="255229"/>
                        <a:pt x="500483" y="255039"/>
                        <a:pt x="496528" y="256522"/>
                      </a:cubicBezTo>
                      <a:cubicBezTo>
                        <a:pt x="494563" y="257270"/>
                        <a:pt x="494081" y="260414"/>
                        <a:pt x="491356" y="261187"/>
                      </a:cubicBezTo>
                      <a:cubicBezTo>
                        <a:pt x="486146" y="262670"/>
                        <a:pt x="476562" y="261213"/>
                        <a:pt x="474166" y="257916"/>
                      </a:cubicBezTo>
                      <a:cubicBezTo>
                        <a:pt x="470452" y="252821"/>
                        <a:pt x="476638" y="240157"/>
                        <a:pt x="469692" y="234655"/>
                      </a:cubicBezTo>
                      <a:cubicBezTo>
                        <a:pt x="460083" y="227062"/>
                        <a:pt x="450677" y="244746"/>
                        <a:pt x="441968" y="247915"/>
                      </a:cubicBezTo>
                      <a:cubicBezTo>
                        <a:pt x="427796" y="253074"/>
                        <a:pt x="402595" y="231549"/>
                        <a:pt x="415677" y="258601"/>
                      </a:cubicBezTo>
                      <a:cubicBezTo>
                        <a:pt x="402354" y="257486"/>
                        <a:pt x="398361" y="263089"/>
                        <a:pt x="387941" y="271252"/>
                      </a:cubicBezTo>
                      <a:cubicBezTo>
                        <a:pt x="377343" y="279543"/>
                        <a:pt x="374529" y="276843"/>
                        <a:pt x="363019" y="278199"/>
                      </a:cubicBezTo>
                      <a:cubicBezTo>
                        <a:pt x="352510" y="279441"/>
                        <a:pt x="337995" y="296187"/>
                        <a:pt x="338642" y="307152"/>
                      </a:cubicBezTo>
                      <a:cubicBezTo>
                        <a:pt x="339009" y="313744"/>
                        <a:pt x="347769" y="314593"/>
                        <a:pt x="343928" y="324494"/>
                      </a:cubicBezTo>
                      <a:cubicBezTo>
                        <a:pt x="339035" y="337158"/>
                        <a:pt x="329046" y="332797"/>
                        <a:pt x="317700" y="333215"/>
                      </a:cubicBezTo>
                      <a:cubicBezTo>
                        <a:pt x="305239" y="333671"/>
                        <a:pt x="301284" y="340910"/>
                        <a:pt x="289229" y="342773"/>
                      </a:cubicBezTo>
                      <a:cubicBezTo>
                        <a:pt x="282269" y="343838"/>
                        <a:pt x="271773" y="343356"/>
                        <a:pt x="264421" y="342279"/>
                      </a:cubicBezTo>
                      <a:cubicBezTo>
                        <a:pt x="251731" y="340403"/>
                        <a:pt x="248727" y="341721"/>
                        <a:pt x="238751" y="343585"/>
                      </a:cubicBezTo>
                      <a:cubicBezTo>
                        <a:pt x="235506" y="344193"/>
                        <a:pt x="231880" y="342253"/>
                        <a:pt x="228812" y="344510"/>
                      </a:cubicBezTo>
                      <a:cubicBezTo>
                        <a:pt x="225542" y="346906"/>
                        <a:pt x="224769" y="356109"/>
                        <a:pt x="221029" y="357034"/>
                      </a:cubicBezTo>
                      <a:cubicBezTo>
                        <a:pt x="222652" y="356629"/>
                        <a:pt x="210419" y="347426"/>
                        <a:pt x="210381" y="347387"/>
                      </a:cubicBezTo>
                      <a:cubicBezTo>
                        <a:pt x="206679" y="345144"/>
                        <a:pt x="211255" y="343141"/>
                        <a:pt x="205196" y="342292"/>
                      </a:cubicBezTo>
                      <a:cubicBezTo>
                        <a:pt x="199618" y="341518"/>
                        <a:pt x="195055" y="350024"/>
                        <a:pt x="189781" y="349821"/>
                      </a:cubicBezTo>
                      <a:cubicBezTo>
                        <a:pt x="176902" y="349314"/>
                        <a:pt x="188197" y="343153"/>
                        <a:pt x="185712" y="338298"/>
                      </a:cubicBezTo>
                      <a:cubicBezTo>
                        <a:pt x="181947" y="330984"/>
                        <a:pt x="181858" y="337563"/>
                        <a:pt x="174747" y="335142"/>
                      </a:cubicBezTo>
                      <a:cubicBezTo>
                        <a:pt x="164694" y="331707"/>
                        <a:pt x="172047" y="331314"/>
                        <a:pt x="169055" y="326877"/>
                      </a:cubicBezTo>
                      <a:cubicBezTo>
                        <a:pt x="164720" y="320424"/>
                        <a:pt x="164340" y="320932"/>
                        <a:pt x="155872" y="323606"/>
                      </a:cubicBezTo>
                      <a:cubicBezTo>
                        <a:pt x="152525" y="324646"/>
                        <a:pt x="150700" y="327929"/>
                        <a:pt x="147645" y="328943"/>
                      </a:cubicBezTo>
                      <a:cubicBezTo>
                        <a:pt x="142587" y="330629"/>
                        <a:pt x="139202" y="328652"/>
                        <a:pt x="134068" y="331783"/>
                      </a:cubicBezTo>
                      <a:cubicBezTo>
                        <a:pt x="129923" y="334280"/>
                        <a:pt x="129847" y="336536"/>
                        <a:pt x="125575" y="338235"/>
                      </a:cubicBezTo>
                      <a:cubicBezTo>
                        <a:pt x="125194" y="338387"/>
                        <a:pt x="118273" y="339414"/>
                        <a:pt x="116917" y="339249"/>
                      </a:cubicBezTo>
                      <a:cubicBezTo>
                        <a:pt x="107967" y="338032"/>
                        <a:pt x="109666" y="337183"/>
                        <a:pt x="104684" y="330604"/>
                      </a:cubicBezTo>
                      <a:cubicBezTo>
                        <a:pt x="99131" y="323239"/>
                        <a:pt x="95950" y="321350"/>
                        <a:pt x="85935" y="322871"/>
                      </a:cubicBezTo>
                      <a:cubicBezTo>
                        <a:pt x="77328" y="324189"/>
                        <a:pt x="70990" y="333570"/>
                        <a:pt x="71078" y="319892"/>
                      </a:cubicBezTo>
                      <a:cubicBezTo>
                        <a:pt x="67719" y="329729"/>
                        <a:pt x="44521" y="324937"/>
                        <a:pt x="36294" y="324266"/>
                      </a:cubicBezTo>
                      <a:cubicBezTo>
                        <a:pt x="29968" y="323758"/>
                        <a:pt x="5997" y="330477"/>
                        <a:pt x="3981" y="327802"/>
                      </a:cubicBezTo>
                      <a:cubicBezTo>
                        <a:pt x="4565" y="328576"/>
                        <a:pt x="216" y="311424"/>
                        <a:pt x="128" y="310702"/>
                      </a:cubicBezTo>
                      <a:cubicBezTo>
                        <a:pt x="-278" y="306671"/>
                        <a:pt x="1" y="290128"/>
                        <a:pt x="5236" y="288784"/>
                      </a:cubicBezTo>
                      <a:cubicBezTo>
                        <a:pt x="9001" y="287808"/>
                        <a:pt x="8482" y="294298"/>
                        <a:pt x="11372" y="294488"/>
                      </a:cubicBezTo>
                      <a:cubicBezTo>
                        <a:pt x="19383" y="295008"/>
                        <a:pt x="15885" y="293753"/>
                        <a:pt x="17634" y="289709"/>
                      </a:cubicBezTo>
                      <a:cubicBezTo>
                        <a:pt x="19434" y="285589"/>
                        <a:pt x="17000" y="281115"/>
                        <a:pt x="20613" y="276107"/>
                      </a:cubicBezTo>
                      <a:cubicBezTo>
                        <a:pt x="28397" y="283130"/>
                        <a:pt x="44622" y="267969"/>
                        <a:pt x="54016" y="268603"/>
                      </a:cubicBezTo>
                      <a:cubicBezTo>
                        <a:pt x="60050" y="269008"/>
                        <a:pt x="70128" y="274637"/>
                        <a:pt x="76250" y="276716"/>
                      </a:cubicBezTo>
                      <a:cubicBezTo>
                        <a:pt x="78380" y="277438"/>
                        <a:pt x="94720" y="283181"/>
                        <a:pt x="95088" y="284043"/>
                      </a:cubicBezTo>
                      <a:cubicBezTo>
                        <a:pt x="96989" y="288163"/>
                        <a:pt x="84110" y="293512"/>
                        <a:pt x="92147" y="294805"/>
                      </a:cubicBezTo>
                      <a:cubicBezTo>
                        <a:pt x="93630" y="295046"/>
                        <a:pt x="100893" y="288645"/>
                        <a:pt x="102782" y="286756"/>
                      </a:cubicBezTo>
                      <a:cubicBezTo>
                        <a:pt x="104506" y="285019"/>
                        <a:pt x="103049" y="280646"/>
                        <a:pt x="104988" y="278351"/>
                      </a:cubicBezTo>
                      <a:cubicBezTo>
                        <a:pt x="105026" y="278288"/>
                        <a:pt x="114204" y="273179"/>
                        <a:pt x="114800" y="272976"/>
                      </a:cubicBezTo>
                      <a:cubicBezTo>
                        <a:pt x="119832" y="271354"/>
                        <a:pt x="123610" y="271075"/>
                        <a:pt x="128642" y="268387"/>
                      </a:cubicBezTo>
                      <a:cubicBezTo>
                        <a:pt x="128909" y="268248"/>
                        <a:pt x="131583" y="264914"/>
                        <a:pt x="136324" y="263456"/>
                      </a:cubicBezTo>
                      <a:cubicBezTo>
                        <a:pt x="136540" y="263393"/>
                        <a:pt x="146985" y="261124"/>
                        <a:pt x="146580" y="261162"/>
                      </a:cubicBezTo>
                      <a:cubicBezTo>
                        <a:pt x="152626" y="260541"/>
                        <a:pt x="173822" y="275068"/>
                        <a:pt x="176636" y="264508"/>
                      </a:cubicBezTo>
                      <a:cubicBezTo>
                        <a:pt x="183430" y="273699"/>
                        <a:pt x="176927" y="274535"/>
                        <a:pt x="188324" y="270175"/>
                      </a:cubicBezTo>
                      <a:cubicBezTo>
                        <a:pt x="189642" y="269680"/>
                        <a:pt x="190111" y="266080"/>
                        <a:pt x="192000" y="265345"/>
                      </a:cubicBezTo>
                      <a:cubicBezTo>
                        <a:pt x="193686" y="264711"/>
                        <a:pt x="196335" y="266423"/>
                        <a:pt x="197628" y="265839"/>
                      </a:cubicBezTo>
                      <a:cubicBezTo>
                        <a:pt x="199986" y="264787"/>
                        <a:pt x="203840" y="266017"/>
                        <a:pt x="205982" y="265205"/>
                      </a:cubicBezTo>
                      <a:cubicBezTo>
                        <a:pt x="194472" y="260363"/>
                        <a:pt x="215565" y="245265"/>
                        <a:pt x="223602" y="247661"/>
                      </a:cubicBezTo>
                      <a:cubicBezTo>
                        <a:pt x="222652" y="248067"/>
                        <a:pt x="220750" y="249512"/>
                        <a:pt x="219761" y="250006"/>
                      </a:cubicBezTo>
                      <a:cubicBezTo>
                        <a:pt x="224515" y="249981"/>
                        <a:pt x="230866" y="255622"/>
                        <a:pt x="234365" y="251781"/>
                      </a:cubicBezTo>
                      <a:cubicBezTo>
                        <a:pt x="239397" y="246191"/>
                        <a:pt x="231386" y="245963"/>
                        <a:pt x="230955" y="242464"/>
                      </a:cubicBezTo>
                      <a:cubicBezTo>
                        <a:pt x="229078" y="225769"/>
                        <a:pt x="239879" y="243579"/>
                        <a:pt x="250312" y="242616"/>
                      </a:cubicBezTo>
                      <a:cubicBezTo>
                        <a:pt x="247599" y="242870"/>
                        <a:pt x="261112" y="235175"/>
                        <a:pt x="259413" y="236988"/>
                      </a:cubicBezTo>
                      <a:cubicBezTo>
                        <a:pt x="262025" y="234211"/>
                        <a:pt x="261252" y="230725"/>
                        <a:pt x="264611" y="227746"/>
                      </a:cubicBezTo>
                      <a:cubicBezTo>
                        <a:pt x="266994" y="225642"/>
                        <a:pt x="274904" y="223931"/>
                        <a:pt x="278099" y="222359"/>
                      </a:cubicBezTo>
                      <a:cubicBezTo>
                        <a:pt x="298394" y="212458"/>
                        <a:pt x="278441" y="209974"/>
                        <a:pt x="268439" y="215780"/>
                      </a:cubicBezTo>
                      <a:cubicBezTo>
                        <a:pt x="268883" y="207058"/>
                        <a:pt x="257233" y="213384"/>
                        <a:pt x="251339" y="210950"/>
                      </a:cubicBezTo>
                      <a:cubicBezTo>
                        <a:pt x="246369" y="208897"/>
                        <a:pt x="242554" y="201962"/>
                        <a:pt x="239968" y="199934"/>
                      </a:cubicBezTo>
                      <a:cubicBezTo>
                        <a:pt x="240361" y="200251"/>
                        <a:pt x="227938" y="193520"/>
                        <a:pt x="228648" y="193520"/>
                      </a:cubicBezTo>
                      <a:cubicBezTo>
                        <a:pt x="226860" y="193520"/>
                        <a:pt x="220661" y="199516"/>
                        <a:pt x="216313" y="199960"/>
                      </a:cubicBezTo>
                      <a:cubicBezTo>
                        <a:pt x="217898" y="196879"/>
                        <a:pt x="219178" y="187803"/>
                        <a:pt x="216643" y="185141"/>
                      </a:cubicBezTo>
                      <a:cubicBezTo>
                        <a:pt x="211483" y="179728"/>
                        <a:pt x="212434" y="186167"/>
                        <a:pt x="207161" y="185901"/>
                      </a:cubicBezTo>
                      <a:cubicBezTo>
                        <a:pt x="201925" y="185635"/>
                        <a:pt x="196652" y="182580"/>
                        <a:pt x="194205" y="179183"/>
                      </a:cubicBezTo>
                      <a:cubicBezTo>
                        <a:pt x="190288" y="173744"/>
                        <a:pt x="191505" y="166227"/>
                        <a:pt x="184660" y="159990"/>
                      </a:cubicBezTo>
                      <a:cubicBezTo>
                        <a:pt x="183937" y="160827"/>
                        <a:pt x="184153" y="161765"/>
                        <a:pt x="183519" y="162691"/>
                      </a:cubicBezTo>
                      <a:cubicBezTo>
                        <a:pt x="182061" y="162817"/>
                        <a:pt x="183228" y="160421"/>
                        <a:pt x="181630" y="160700"/>
                      </a:cubicBezTo>
                      <a:cubicBezTo>
                        <a:pt x="180794" y="161714"/>
                        <a:pt x="180477" y="162133"/>
                        <a:pt x="179843" y="162627"/>
                      </a:cubicBezTo>
                      <a:cubicBezTo>
                        <a:pt x="184128" y="153183"/>
                        <a:pt x="178639" y="149063"/>
                        <a:pt x="174950" y="158114"/>
                      </a:cubicBezTo>
                      <a:cubicBezTo>
                        <a:pt x="173948" y="160523"/>
                        <a:pt x="178271" y="164148"/>
                        <a:pt x="174684" y="169194"/>
                      </a:cubicBezTo>
                      <a:cubicBezTo>
                        <a:pt x="170665" y="174835"/>
                        <a:pt x="166469" y="174822"/>
                        <a:pt x="161132" y="169473"/>
                      </a:cubicBezTo>
                      <a:cubicBezTo>
                        <a:pt x="160562" y="174365"/>
                        <a:pt x="163731" y="185217"/>
                        <a:pt x="160511" y="189083"/>
                      </a:cubicBezTo>
                      <a:cubicBezTo>
                        <a:pt x="162248" y="186991"/>
                        <a:pt x="148722" y="188868"/>
                        <a:pt x="151587" y="189945"/>
                      </a:cubicBezTo>
                      <a:cubicBezTo>
                        <a:pt x="147911" y="188563"/>
                        <a:pt x="142498" y="177712"/>
                        <a:pt x="143487" y="190439"/>
                      </a:cubicBezTo>
                      <a:cubicBezTo>
                        <a:pt x="136198" y="181071"/>
                        <a:pt x="117094" y="183936"/>
                        <a:pt x="112112" y="176305"/>
                      </a:cubicBezTo>
                      <a:cubicBezTo>
                        <a:pt x="108056" y="170119"/>
                        <a:pt x="114876" y="159065"/>
                        <a:pt x="101654" y="159648"/>
                      </a:cubicBezTo>
                      <a:cubicBezTo>
                        <a:pt x="96026" y="159902"/>
                        <a:pt x="94264" y="164820"/>
                        <a:pt x="88610" y="163464"/>
                      </a:cubicBezTo>
                      <a:cubicBezTo>
                        <a:pt x="87963" y="163324"/>
                        <a:pt x="83438" y="157506"/>
                        <a:pt x="81790" y="156669"/>
                      </a:cubicBezTo>
                      <a:cubicBezTo>
                        <a:pt x="72042" y="151789"/>
                        <a:pt x="60278" y="155376"/>
                        <a:pt x="76529" y="145045"/>
                      </a:cubicBezTo>
                      <a:cubicBezTo>
                        <a:pt x="80573" y="142484"/>
                        <a:pt x="86265" y="140633"/>
                        <a:pt x="89776" y="137413"/>
                      </a:cubicBezTo>
                      <a:cubicBezTo>
                        <a:pt x="94657" y="132926"/>
                        <a:pt x="95848" y="127082"/>
                        <a:pt x="102250" y="123419"/>
                      </a:cubicBezTo>
                      <a:cubicBezTo>
                        <a:pt x="106433" y="121048"/>
                        <a:pt x="113101" y="121796"/>
                        <a:pt x="116435" y="119083"/>
                      </a:cubicBezTo>
                      <a:cubicBezTo>
                        <a:pt x="119401" y="116687"/>
                        <a:pt x="118032" y="111566"/>
                        <a:pt x="121759" y="108663"/>
                      </a:cubicBezTo>
                      <a:cubicBezTo>
                        <a:pt x="127730" y="104011"/>
                        <a:pt x="146301" y="103985"/>
                        <a:pt x="148862" y="94567"/>
                      </a:cubicBezTo>
                      <a:cubicBezTo>
                        <a:pt x="141509" y="91943"/>
                        <a:pt x="135906" y="88938"/>
                        <a:pt x="129555" y="87658"/>
                      </a:cubicBezTo>
                      <a:cubicBezTo>
                        <a:pt x="123737" y="86505"/>
                        <a:pt x="121315" y="92120"/>
                        <a:pt x="121037" y="82803"/>
                      </a:cubicBezTo>
                      <a:cubicBezTo>
                        <a:pt x="121100" y="84159"/>
                        <a:pt x="126323" y="72041"/>
                        <a:pt x="126310" y="72079"/>
                      </a:cubicBezTo>
                      <a:cubicBezTo>
                        <a:pt x="128034" y="70367"/>
                        <a:pt x="133561" y="71128"/>
                        <a:pt x="133257" y="71774"/>
                      </a:cubicBezTo>
                      <a:cubicBezTo>
                        <a:pt x="133675" y="70874"/>
                        <a:pt x="133067" y="64409"/>
                        <a:pt x="131761" y="66273"/>
                      </a:cubicBezTo>
                      <a:cubicBezTo>
                        <a:pt x="131786" y="66209"/>
                        <a:pt x="130062" y="62939"/>
                        <a:pt x="130442" y="62229"/>
                      </a:cubicBezTo>
                      <a:cubicBezTo>
                        <a:pt x="131102" y="60961"/>
                        <a:pt x="134436" y="61114"/>
                        <a:pt x="134816" y="60378"/>
                      </a:cubicBezTo>
                      <a:cubicBezTo>
                        <a:pt x="132914" y="64118"/>
                        <a:pt x="142751" y="54078"/>
                        <a:pt x="141091" y="55625"/>
                      </a:cubicBezTo>
                      <a:cubicBezTo>
                        <a:pt x="143867" y="53039"/>
                        <a:pt x="145794" y="48031"/>
                        <a:pt x="150421" y="45534"/>
                      </a:cubicBezTo>
                      <a:cubicBezTo>
                        <a:pt x="149609" y="45978"/>
                        <a:pt x="161069" y="41554"/>
                        <a:pt x="160080" y="41617"/>
                      </a:cubicBezTo>
                      <a:cubicBezTo>
                        <a:pt x="167166" y="41110"/>
                        <a:pt x="170703" y="43227"/>
                        <a:pt x="177358" y="42441"/>
                      </a:cubicBezTo>
                      <a:cubicBezTo>
                        <a:pt x="184444" y="41604"/>
                        <a:pt x="188831" y="38169"/>
                        <a:pt x="196348" y="39703"/>
                      </a:cubicBezTo>
                      <a:cubicBezTo>
                        <a:pt x="204220" y="41325"/>
                        <a:pt x="210368" y="43303"/>
                        <a:pt x="217695" y="44317"/>
                      </a:cubicBezTo>
                      <a:cubicBezTo>
                        <a:pt x="227190" y="45623"/>
                        <a:pt x="232970" y="49274"/>
                        <a:pt x="241945" y="52050"/>
                      </a:cubicBezTo>
                      <a:cubicBezTo>
                        <a:pt x="246750" y="53546"/>
                        <a:pt x="252898" y="51543"/>
                        <a:pt x="257753" y="54243"/>
                      </a:cubicBezTo>
                      <a:cubicBezTo>
                        <a:pt x="261201" y="56182"/>
                        <a:pt x="262240" y="60416"/>
                        <a:pt x="265321" y="62102"/>
                      </a:cubicBezTo>
                      <a:cubicBezTo>
                        <a:pt x="276134" y="68048"/>
                        <a:pt x="289901" y="62305"/>
                        <a:pt x="301436" y="68402"/>
                      </a:cubicBezTo>
                      <a:cubicBezTo>
                        <a:pt x="300980" y="68149"/>
                        <a:pt x="309980" y="82942"/>
                        <a:pt x="315380" y="76401"/>
                      </a:cubicBezTo>
                      <a:cubicBezTo>
                        <a:pt x="316901" y="74551"/>
                        <a:pt x="308332" y="62394"/>
                        <a:pt x="308446" y="58173"/>
                      </a:cubicBezTo>
                      <a:cubicBezTo>
                        <a:pt x="308598" y="52569"/>
                        <a:pt x="313099" y="48792"/>
                        <a:pt x="314277" y="43658"/>
                      </a:cubicBezTo>
                      <a:cubicBezTo>
                        <a:pt x="315013" y="40413"/>
                        <a:pt x="313555" y="37053"/>
                        <a:pt x="314252" y="34227"/>
                      </a:cubicBezTo>
                      <a:cubicBezTo>
                        <a:pt x="316293" y="26076"/>
                        <a:pt x="319513" y="21474"/>
                        <a:pt x="326282" y="17240"/>
                      </a:cubicBezTo>
                      <a:cubicBezTo>
                        <a:pt x="330592" y="14553"/>
                        <a:pt x="338211" y="15262"/>
                        <a:pt x="341836" y="13006"/>
                      </a:cubicBezTo>
                      <a:cubicBezTo>
                        <a:pt x="345487" y="10750"/>
                        <a:pt x="345500" y="5362"/>
                        <a:pt x="349429" y="4044"/>
                      </a:cubicBezTo>
                      <a:cubicBezTo>
                        <a:pt x="351179" y="3448"/>
                        <a:pt x="375530" y="11586"/>
                        <a:pt x="365161" y="0"/>
                      </a:cubicBezTo>
                      <a:cubicBezTo>
                        <a:pt x="370587" y="4589"/>
                        <a:pt x="378408" y="6972"/>
                        <a:pt x="384594" y="9976"/>
                      </a:cubicBezTo>
                      <a:cubicBezTo>
                        <a:pt x="392073" y="13602"/>
                        <a:pt x="397144" y="19978"/>
                        <a:pt x="404712" y="23350"/>
                      </a:cubicBezTo>
                      <a:cubicBezTo>
                        <a:pt x="423093" y="31565"/>
                        <a:pt x="442057" y="36318"/>
                        <a:pt x="461997" y="38980"/>
                      </a:cubicBezTo>
                      <a:cubicBezTo>
                        <a:pt x="472316" y="40349"/>
                        <a:pt x="473051" y="40438"/>
                        <a:pt x="480746" y="34949"/>
                      </a:cubicBezTo>
                      <a:cubicBezTo>
                        <a:pt x="485601" y="31501"/>
                        <a:pt x="481937" y="30348"/>
                        <a:pt x="488402" y="28801"/>
                      </a:cubicBezTo>
                      <a:cubicBezTo>
                        <a:pt x="492002" y="27952"/>
                        <a:pt x="498442" y="29714"/>
                        <a:pt x="502156" y="29942"/>
                      </a:cubicBezTo>
                      <a:cubicBezTo>
                        <a:pt x="516975" y="30880"/>
                        <a:pt x="530907" y="34062"/>
                        <a:pt x="543824" y="32566"/>
                      </a:cubicBezTo>
                      <a:cubicBezTo>
                        <a:pt x="557210" y="31007"/>
                        <a:pt x="565513" y="21411"/>
                        <a:pt x="580396" y="26215"/>
                      </a:cubicBezTo>
                      <a:cubicBezTo>
                        <a:pt x="588699" y="28902"/>
                        <a:pt x="591184" y="31488"/>
                        <a:pt x="601173" y="31527"/>
                      </a:cubicBezTo>
                      <a:cubicBezTo>
                        <a:pt x="606776" y="31552"/>
                        <a:pt x="611859" y="32528"/>
                        <a:pt x="617170" y="32934"/>
                      </a:cubicBezTo>
                      <a:cubicBezTo>
                        <a:pt x="631419" y="33998"/>
                        <a:pt x="644209" y="35342"/>
                        <a:pt x="659535" y="35760"/>
                      </a:cubicBezTo>
                      <a:cubicBezTo>
                        <a:pt x="666875" y="35963"/>
                        <a:pt x="672529" y="33973"/>
                        <a:pt x="679425" y="33998"/>
                      </a:cubicBezTo>
                      <a:cubicBezTo>
                        <a:pt x="690301" y="34036"/>
                        <a:pt x="701102" y="41224"/>
                        <a:pt x="711801" y="43164"/>
                      </a:cubicBezTo>
                      <a:cubicBezTo>
                        <a:pt x="716567" y="44038"/>
                        <a:pt x="720864" y="44317"/>
                        <a:pt x="725390" y="44393"/>
                      </a:cubicBezTo>
                      <a:cubicBezTo>
                        <a:pt x="734086" y="44558"/>
                        <a:pt x="729611" y="40920"/>
                        <a:pt x="734656" y="45914"/>
                      </a:cubicBezTo>
                      <a:cubicBezTo>
                        <a:pt x="735404" y="46662"/>
                        <a:pt x="735658" y="52215"/>
                        <a:pt x="736837" y="53939"/>
                      </a:cubicBezTo>
                      <a:cubicBezTo>
                        <a:pt x="739144" y="57311"/>
                        <a:pt x="745469" y="59998"/>
                        <a:pt x="748537" y="62825"/>
                      </a:cubicBezTo>
                      <a:cubicBezTo>
                        <a:pt x="755205" y="68986"/>
                        <a:pt x="752099" y="71179"/>
                        <a:pt x="762912" y="72269"/>
                      </a:cubicBezTo>
                      <a:cubicBezTo>
                        <a:pt x="770772" y="73055"/>
                        <a:pt x="777009" y="70710"/>
                        <a:pt x="785172" y="73727"/>
                      </a:cubicBezTo>
                      <a:cubicBezTo>
                        <a:pt x="796733" y="77923"/>
                        <a:pt x="800714" y="89889"/>
                        <a:pt x="811070" y="95213"/>
                      </a:cubicBezTo>
                      <a:lnTo>
                        <a:pt x="811070" y="95213"/>
                      </a:lnTo>
                      <a:close/>
                    </a:path>
                  </a:pathLst>
                </a:custGeom>
                <a:solidFill>
                  <a:srgbClr val="D6D6D2"/>
                </a:solidFill>
                <a:ln w="12413" cap="rnd">
                  <a:solidFill>
                    <a:srgbClr val="FFFFFF"/>
                  </a:solidFill>
                  <a:prstDash val="solid"/>
                  <a:round/>
                </a:ln>
              </p:spPr>
              <p:txBody>
                <a:bodyPr rtlCol="0" anchor="ctr"/>
                <a:lstStyle/>
                <a:p>
                  <a:endParaRPr lang="en-US"/>
                </a:p>
              </p:txBody>
            </p:sp>
            <p:sp>
              <p:nvSpPr>
                <p:cNvPr id="92" name="Freeform: Shape 91">
                  <a:extLst>
                    <a:ext uri="{FF2B5EF4-FFF2-40B4-BE49-F238E27FC236}">
                      <a16:creationId xmlns:a16="http://schemas.microsoft.com/office/drawing/2014/main" id="{B9389EDE-4DA0-4DD7-9786-72E00D497F14}"/>
                    </a:ext>
                  </a:extLst>
                </p:cNvPr>
                <p:cNvSpPr/>
                <p:nvPr/>
              </p:nvSpPr>
              <p:spPr>
                <a:xfrm>
                  <a:off x="7407" y="342699"/>
                  <a:ext cx="2371304" cy="1398256"/>
                </a:xfrm>
                <a:custGeom>
                  <a:avLst/>
                  <a:gdLst>
                    <a:gd name="connsiteX0" fmla="*/ 294496 w 2371304"/>
                    <a:gd name="connsiteY0" fmla="*/ 942434 h 1398256"/>
                    <a:gd name="connsiteX1" fmla="*/ 306260 w 2371304"/>
                    <a:gd name="connsiteY1" fmla="*/ 961969 h 1398256"/>
                    <a:gd name="connsiteX2" fmla="*/ 310279 w 2371304"/>
                    <a:gd name="connsiteY2" fmla="*/ 993153 h 1398256"/>
                    <a:gd name="connsiteX3" fmla="*/ 258432 w 2371304"/>
                    <a:gd name="connsiteY3" fmla="*/ 962780 h 1398256"/>
                    <a:gd name="connsiteX4" fmla="*/ 274429 w 2371304"/>
                    <a:gd name="connsiteY4" fmla="*/ 947391 h 1398256"/>
                    <a:gd name="connsiteX5" fmla="*/ 279665 w 2371304"/>
                    <a:gd name="connsiteY5" fmla="*/ 934270 h 1398256"/>
                    <a:gd name="connsiteX6" fmla="*/ 282048 w 2371304"/>
                    <a:gd name="connsiteY6" fmla="*/ 942890 h 1398256"/>
                    <a:gd name="connsiteX7" fmla="*/ 284799 w 2371304"/>
                    <a:gd name="connsiteY7" fmla="*/ 931532 h 1398256"/>
                    <a:gd name="connsiteX8" fmla="*/ 294496 w 2371304"/>
                    <a:gd name="connsiteY8" fmla="*/ 942434 h 1398256"/>
                    <a:gd name="connsiteX9" fmla="*/ 294496 w 2371304"/>
                    <a:gd name="connsiteY9" fmla="*/ 942434 h 1398256"/>
                    <a:gd name="connsiteX10" fmla="*/ 616 w 2371304"/>
                    <a:gd name="connsiteY10" fmla="*/ 472084 h 1398256"/>
                    <a:gd name="connsiteX11" fmla="*/ 15410 w 2371304"/>
                    <a:gd name="connsiteY11" fmla="*/ 475520 h 1398256"/>
                    <a:gd name="connsiteX12" fmla="*/ 25133 w 2371304"/>
                    <a:gd name="connsiteY12" fmla="*/ 483341 h 1398256"/>
                    <a:gd name="connsiteX13" fmla="*/ 42677 w 2371304"/>
                    <a:gd name="connsiteY13" fmla="*/ 480502 h 1398256"/>
                    <a:gd name="connsiteX14" fmla="*/ 64012 w 2371304"/>
                    <a:gd name="connsiteY14" fmla="*/ 463109 h 1398256"/>
                    <a:gd name="connsiteX15" fmla="*/ 67396 w 2371304"/>
                    <a:gd name="connsiteY15" fmla="*/ 451662 h 1398256"/>
                    <a:gd name="connsiteX16" fmla="*/ 76498 w 2371304"/>
                    <a:gd name="connsiteY16" fmla="*/ 454020 h 1398256"/>
                    <a:gd name="connsiteX17" fmla="*/ 85486 w 2371304"/>
                    <a:gd name="connsiteY17" fmla="*/ 446237 h 1398256"/>
                    <a:gd name="connsiteX18" fmla="*/ 90493 w 2371304"/>
                    <a:gd name="connsiteY18" fmla="*/ 435791 h 1398256"/>
                    <a:gd name="connsiteX19" fmla="*/ 107999 w 2371304"/>
                    <a:gd name="connsiteY19" fmla="*/ 445362 h 1398256"/>
                    <a:gd name="connsiteX20" fmla="*/ 115846 w 2371304"/>
                    <a:gd name="connsiteY20" fmla="*/ 436958 h 1398256"/>
                    <a:gd name="connsiteX21" fmla="*/ 139830 w 2371304"/>
                    <a:gd name="connsiteY21" fmla="*/ 433218 h 1398256"/>
                    <a:gd name="connsiteX22" fmla="*/ 165982 w 2371304"/>
                    <a:gd name="connsiteY22" fmla="*/ 455415 h 1398256"/>
                    <a:gd name="connsiteX23" fmla="*/ 170710 w 2371304"/>
                    <a:gd name="connsiteY23" fmla="*/ 450357 h 1398256"/>
                    <a:gd name="connsiteX24" fmla="*/ 184135 w 2371304"/>
                    <a:gd name="connsiteY24" fmla="*/ 448468 h 1398256"/>
                    <a:gd name="connsiteX25" fmla="*/ 195024 w 2371304"/>
                    <a:gd name="connsiteY25" fmla="*/ 432432 h 1398256"/>
                    <a:gd name="connsiteX26" fmla="*/ 210654 w 2371304"/>
                    <a:gd name="connsiteY26" fmla="*/ 435335 h 1398256"/>
                    <a:gd name="connsiteX27" fmla="*/ 217879 w 2371304"/>
                    <a:gd name="connsiteY27" fmla="*/ 435665 h 1398256"/>
                    <a:gd name="connsiteX28" fmla="*/ 222519 w 2371304"/>
                    <a:gd name="connsiteY28" fmla="*/ 429593 h 1398256"/>
                    <a:gd name="connsiteX29" fmla="*/ 230619 w 2371304"/>
                    <a:gd name="connsiteY29" fmla="*/ 431912 h 1398256"/>
                    <a:gd name="connsiteX30" fmla="*/ 232610 w 2371304"/>
                    <a:gd name="connsiteY30" fmla="*/ 436108 h 1398256"/>
                    <a:gd name="connsiteX31" fmla="*/ 243625 w 2371304"/>
                    <a:gd name="connsiteY31" fmla="*/ 437084 h 1398256"/>
                    <a:gd name="connsiteX32" fmla="*/ 244589 w 2371304"/>
                    <a:gd name="connsiteY32" fmla="*/ 453716 h 1398256"/>
                    <a:gd name="connsiteX33" fmla="*/ 251155 w 2371304"/>
                    <a:gd name="connsiteY33" fmla="*/ 460422 h 1398256"/>
                    <a:gd name="connsiteX34" fmla="*/ 258267 w 2371304"/>
                    <a:gd name="connsiteY34" fmla="*/ 462374 h 1398256"/>
                    <a:gd name="connsiteX35" fmla="*/ 286117 w 2371304"/>
                    <a:gd name="connsiteY35" fmla="*/ 474708 h 1398256"/>
                    <a:gd name="connsiteX36" fmla="*/ 295485 w 2371304"/>
                    <a:gd name="connsiteY36" fmla="*/ 477966 h 1398256"/>
                    <a:gd name="connsiteX37" fmla="*/ 309936 w 2371304"/>
                    <a:gd name="connsiteY37" fmla="*/ 478220 h 1398256"/>
                    <a:gd name="connsiteX38" fmla="*/ 311445 w 2371304"/>
                    <a:gd name="connsiteY38" fmla="*/ 489464 h 1398256"/>
                    <a:gd name="connsiteX39" fmla="*/ 337051 w 2371304"/>
                    <a:gd name="connsiteY39" fmla="*/ 485521 h 1398256"/>
                    <a:gd name="connsiteX40" fmla="*/ 345874 w 2371304"/>
                    <a:gd name="connsiteY40" fmla="*/ 464643 h 1398256"/>
                    <a:gd name="connsiteX41" fmla="*/ 359552 w 2371304"/>
                    <a:gd name="connsiteY41" fmla="*/ 456949 h 1398256"/>
                    <a:gd name="connsiteX42" fmla="*/ 366841 w 2371304"/>
                    <a:gd name="connsiteY42" fmla="*/ 469638 h 1398256"/>
                    <a:gd name="connsiteX43" fmla="*/ 413149 w 2371304"/>
                    <a:gd name="connsiteY43" fmla="*/ 474822 h 1398256"/>
                    <a:gd name="connsiteX44" fmla="*/ 457998 w 2371304"/>
                    <a:gd name="connsiteY44" fmla="*/ 454540 h 1398256"/>
                    <a:gd name="connsiteX45" fmla="*/ 474427 w 2371304"/>
                    <a:gd name="connsiteY45" fmla="*/ 417296 h 1398256"/>
                    <a:gd name="connsiteX46" fmla="*/ 459050 w 2371304"/>
                    <a:gd name="connsiteY46" fmla="*/ 400665 h 1398256"/>
                    <a:gd name="connsiteX47" fmla="*/ 443484 w 2371304"/>
                    <a:gd name="connsiteY47" fmla="*/ 396760 h 1398256"/>
                    <a:gd name="connsiteX48" fmla="*/ 420716 w 2371304"/>
                    <a:gd name="connsiteY48" fmla="*/ 382842 h 1398256"/>
                    <a:gd name="connsiteX49" fmla="*/ 386224 w 2371304"/>
                    <a:gd name="connsiteY49" fmla="*/ 378798 h 1398256"/>
                    <a:gd name="connsiteX50" fmla="*/ 384766 w 2371304"/>
                    <a:gd name="connsiteY50" fmla="*/ 368023 h 1398256"/>
                    <a:gd name="connsiteX51" fmla="*/ 351680 w 2371304"/>
                    <a:gd name="connsiteY51" fmla="*/ 345420 h 1398256"/>
                    <a:gd name="connsiteX52" fmla="*/ 376019 w 2371304"/>
                    <a:gd name="connsiteY52" fmla="*/ 336876 h 1398256"/>
                    <a:gd name="connsiteX53" fmla="*/ 396124 w 2371304"/>
                    <a:gd name="connsiteY53" fmla="*/ 330449 h 1398256"/>
                    <a:gd name="connsiteX54" fmla="*/ 428310 w 2371304"/>
                    <a:gd name="connsiteY54" fmla="*/ 311688 h 1398256"/>
                    <a:gd name="connsiteX55" fmla="*/ 421959 w 2371304"/>
                    <a:gd name="connsiteY55" fmla="*/ 301268 h 1398256"/>
                    <a:gd name="connsiteX56" fmla="*/ 414682 w 2371304"/>
                    <a:gd name="connsiteY56" fmla="*/ 294575 h 1398256"/>
                    <a:gd name="connsiteX57" fmla="*/ 411627 w 2371304"/>
                    <a:gd name="connsiteY57" fmla="*/ 285904 h 1398256"/>
                    <a:gd name="connsiteX58" fmla="*/ 405644 w 2371304"/>
                    <a:gd name="connsiteY58" fmla="*/ 282925 h 1398256"/>
                    <a:gd name="connsiteX59" fmla="*/ 407850 w 2371304"/>
                    <a:gd name="connsiteY59" fmla="*/ 270173 h 1398256"/>
                    <a:gd name="connsiteX60" fmla="*/ 429691 w 2371304"/>
                    <a:gd name="connsiteY60" fmla="*/ 253503 h 1398256"/>
                    <a:gd name="connsiteX61" fmla="*/ 423493 w 2371304"/>
                    <a:gd name="connsiteY61" fmla="*/ 248622 h 1398256"/>
                    <a:gd name="connsiteX62" fmla="*/ 436942 w 2371304"/>
                    <a:gd name="connsiteY62" fmla="*/ 244807 h 1398256"/>
                    <a:gd name="connsiteX63" fmla="*/ 451216 w 2371304"/>
                    <a:gd name="connsiteY63" fmla="*/ 247279 h 1398256"/>
                    <a:gd name="connsiteX64" fmla="*/ 458518 w 2371304"/>
                    <a:gd name="connsiteY64" fmla="*/ 243641 h 1398256"/>
                    <a:gd name="connsiteX65" fmla="*/ 467797 w 2371304"/>
                    <a:gd name="connsiteY65" fmla="*/ 250156 h 1398256"/>
                    <a:gd name="connsiteX66" fmla="*/ 486001 w 2371304"/>
                    <a:gd name="connsiteY66" fmla="*/ 247938 h 1398256"/>
                    <a:gd name="connsiteX67" fmla="*/ 506220 w 2371304"/>
                    <a:gd name="connsiteY67" fmla="*/ 246544 h 1398256"/>
                    <a:gd name="connsiteX68" fmla="*/ 501884 w 2371304"/>
                    <a:gd name="connsiteY68" fmla="*/ 233144 h 1398256"/>
                    <a:gd name="connsiteX69" fmla="*/ 484467 w 2371304"/>
                    <a:gd name="connsiteY69" fmla="*/ 229810 h 1398256"/>
                    <a:gd name="connsiteX70" fmla="*/ 473641 w 2371304"/>
                    <a:gd name="connsiteY70" fmla="*/ 221723 h 1398256"/>
                    <a:gd name="connsiteX71" fmla="*/ 464552 w 2371304"/>
                    <a:gd name="connsiteY71" fmla="*/ 224816 h 1398256"/>
                    <a:gd name="connsiteX72" fmla="*/ 452154 w 2371304"/>
                    <a:gd name="connsiteY72" fmla="*/ 219226 h 1398256"/>
                    <a:gd name="connsiteX73" fmla="*/ 435206 w 2371304"/>
                    <a:gd name="connsiteY73" fmla="*/ 211024 h 1398256"/>
                    <a:gd name="connsiteX74" fmla="*/ 442736 w 2371304"/>
                    <a:gd name="connsiteY74" fmla="*/ 195559 h 1398256"/>
                    <a:gd name="connsiteX75" fmla="*/ 453574 w 2371304"/>
                    <a:gd name="connsiteY75" fmla="*/ 202252 h 1398256"/>
                    <a:gd name="connsiteX76" fmla="*/ 464970 w 2371304"/>
                    <a:gd name="connsiteY76" fmla="*/ 190374 h 1398256"/>
                    <a:gd name="connsiteX77" fmla="*/ 447439 w 2371304"/>
                    <a:gd name="connsiteY77" fmla="*/ 191413 h 1398256"/>
                    <a:gd name="connsiteX78" fmla="*/ 430630 w 2371304"/>
                    <a:gd name="connsiteY78" fmla="*/ 185405 h 1398256"/>
                    <a:gd name="connsiteX79" fmla="*/ 417459 w 2371304"/>
                    <a:gd name="connsiteY79" fmla="*/ 183478 h 1398256"/>
                    <a:gd name="connsiteX80" fmla="*/ 423924 w 2371304"/>
                    <a:gd name="connsiteY80" fmla="*/ 181665 h 1398256"/>
                    <a:gd name="connsiteX81" fmla="*/ 434762 w 2371304"/>
                    <a:gd name="connsiteY81" fmla="*/ 171042 h 1398256"/>
                    <a:gd name="connsiteX82" fmla="*/ 434826 w 2371304"/>
                    <a:gd name="connsiteY82" fmla="*/ 160964 h 1398256"/>
                    <a:gd name="connsiteX83" fmla="*/ 424329 w 2371304"/>
                    <a:gd name="connsiteY83" fmla="*/ 152230 h 1398256"/>
                    <a:gd name="connsiteX84" fmla="*/ 439643 w 2371304"/>
                    <a:gd name="connsiteY84" fmla="*/ 143712 h 1398256"/>
                    <a:gd name="connsiteX85" fmla="*/ 456211 w 2371304"/>
                    <a:gd name="connsiteY85" fmla="*/ 139909 h 1398256"/>
                    <a:gd name="connsiteX86" fmla="*/ 466187 w 2371304"/>
                    <a:gd name="connsiteY86" fmla="*/ 146310 h 1398256"/>
                    <a:gd name="connsiteX87" fmla="*/ 470700 w 2371304"/>
                    <a:gd name="connsiteY87" fmla="*/ 148896 h 1398256"/>
                    <a:gd name="connsiteX88" fmla="*/ 484391 w 2371304"/>
                    <a:gd name="connsiteY88" fmla="*/ 145651 h 1398256"/>
                    <a:gd name="connsiteX89" fmla="*/ 499526 w 2371304"/>
                    <a:gd name="connsiteY89" fmla="*/ 152408 h 1398256"/>
                    <a:gd name="connsiteX90" fmla="*/ 532219 w 2371304"/>
                    <a:gd name="connsiteY90" fmla="*/ 144079 h 1398256"/>
                    <a:gd name="connsiteX91" fmla="*/ 528771 w 2371304"/>
                    <a:gd name="connsiteY91" fmla="*/ 152281 h 1398256"/>
                    <a:gd name="connsiteX92" fmla="*/ 538063 w 2371304"/>
                    <a:gd name="connsiteY92" fmla="*/ 158467 h 1398256"/>
                    <a:gd name="connsiteX93" fmla="*/ 543996 w 2371304"/>
                    <a:gd name="connsiteY93" fmla="*/ 139237 h 1398256"/>
                    <a:gd name="connsiteX94" fmla="*/ 577512 w 2371304"/>
                    <a:gd name="connsiteY94" fmla="*/ 136714 h 1398256"/>
                    <a:gd name="connsiteX95" fmla="*/ 581658 w 2371304"/>
                    <a:gd name="connsiteY95" fmla="*/ 130997 h 1398256"/>
                    <a:gd name="connsiteX96" fmla="*/ 595323 w 2371304"/>
                    <a:gd name="connsiteY96" fmla="*/ 128652 h 1398256"/>
                    <a:gd name="connsiteX97" fmla="*/ 626900 w 2371304"/>
                    <a:gd name="connsiteY97" fmla="*/ 120336 h 1398256"/>
                    <a:gd name="connsiteX98" fmla="*/ 648324 w 2371304"/>
                    <a:gd name="connsiteY98" fmla="*/ 121059 h 1398256"/>
                    <a:gd name="connsiteX99" fmla="*/ 647119 w 2371304"/>
                    <a:gd name="connsiteY99" fmla="*/ 113402 h 1398256"/>
                    <a:gd name="connsiteX100" fmla="*/ 654053 w 2371304"/>
                    <a:gd name="connsiteY100" fmla="*/ 112781 h 1398256"/>
                    <a:gd name="connsiteX101" fmla="*/ 675413 w 2371304"/>
                    <a:gd name="connsiteY101" fmla="*/ 110322 h 1398256"/>
                    <a:gd name="connsiteX102" fmla="*/ 684059 w 2371304"/>
                    <a:gd name="connsiteY102" fmla="*/ 108483 h 1398256"/>
                    <a:gd name="connsiteX103" fmla="*/ 689079 w 2371304"/>
                    <a:gd name="connsiteY103" fmla="*/ 106937 h 1398256"/>
                    <a:gd name="connsiteX104" fmla="*/ 697103 w 2371304"/>
                    <a:gd name="connsiteY104" fmla="*/ 111298 h 1398256"/>
                    <a:gd name="connsiteX105" fmla="*/ 714394 w 2371304"/>
                    <a:gd name="connsiteY105" fmla="*/ 104833 h 1398256"/>
                    <a:gd name="connsiteX106" fmla="*/ 729986 w 2371304"/>
                    <a:gd name="connsiteY106" fmla="*/ 114416 h 1398256"/>
                    <a:gd name="connsiteX107" fmla="*/ 735627 w 2371304"/>
                    <a:gd name="connsiteY107" fmla="*/ 93931 h 1398256"/>
                    <a:gd name="connsiteX108" fmla="*/ 748354 w 2371304"/>
                    <a:gd name="connsiteY108" fmla="*/ 88607 h 1398256"/>
                    <a:gd name="connsiteX109" fmla="*/ 754185 w 2371304"/>
                    <a:gd name="connsiteY109" fmla="*/ 89202 h 1398256"/>
                    <a:gd name="connsiteX110" fmla="*/ 754299 w 2371304"/>
                    <a:gd name="connsiteY110" fmla="*/ 81977 h 1398256"/>
                    <a:gd name="connsiteX111" fmla="*/ 773770 w 2371304"/>
                    <a:gd name="connsiteY111" fmla="*/ 85057 h 1398256"/>
                    <a:gd name="connsiteX112" fmla="*/ 783316 w 2371304"/>
                    <a:gd name="connsiteY112" fmla="*/ 76716 h 1398256"/>
                    <a:gd name="connsiteX113" fmla="*/ 792633 w 2371304"/>
                    <a:gd name="connsiteY113" fmla="*/ 82763 h 1398256"/>
                    <a:gd name="connsiteX114" fmla="*/ 817213 w 2371304"/>
                    <a:gd name="connsiteY114" fmla="*/ 76627 h 1398256"/>
                    <a:gd name="connsiteX115" fmla="*/ 840614 w 2371304"/>
                    <a:gd name="connsiteY115" fmla="*/ 73167 h 1398256"/>
                    <a:gd name="connsiteX116" fmla="*/ 852732 w 2371304"/>
                    <a:gd name="connsiteY116" fmla="*/ 68679 h 1398256"/>
                    <a:gd name="connsiteX117" fmla="*/ 874980 w 2371304"/>
                    <a:gd name="connsiteY117" fmla="*/ 65472 h 1398256"/>
                    <a:gd name="connsiteX118" fmla="*/ 884652 w 2371304"/>
                    <a:gd name="connsiteY118" fmla="*/ 64711 h 1398256"/>
                    <a:gd name="connsiteX119" fmla="*/ 888975 w 2371304"/>
                    <a:gd name="connsiteY119" fmla="*/ 59818 h 1398256"/>
                    <a:gd name="connsiteX120" fmla="*/ 910246 w 2371304"/>
                    <a:gd name="connsiteY120" fmla="*/ 58817 h 1398256"/>
                    <a:gd name="connsiteX121" fmla="*/ 929311 w 2371304"/>
                    <a:gd name="connsiteY121" fmla="*/ 48891 h 1398256"/>
                    <a:gd name="connsiteX122" fmla="*/ 959355 w 2371304"/>
                    <a:gd name="connsiteY122" fmla="*/ 42540 h 1398256"/>
                    <a:gd name="connsiteX123" fmla="*/ 955894 w 2371304"/>
                    <a:gd name="connsiteY123" fmla="*/ 26542 h 1398256"/>
                    <a:gd name="connsiteX124" fmla="*/ 993062 w 2371304"/>
                    <a:gd name="connsiteY124" fmla="*/ 15222 h 1398256"/>
                    <a:gd name="connsiteX125" fmla="*/ 1004040 w 2371304"/>
                    <a:gd name="connsiteY125" fmla="*/ 8973 h 1398256"/>
                    <a:gd name="connsiteX126" fmla="*/ 1015245 w 2371304"/>
                    <a:gd name="connsiteY126" fmla="*/ 10431 h 1398256"/>
                    <a:gd name="connsiteX127" fmla="*/ 1019125 w 2371304"/>
                    <a:gd name="connsiteY127" fmla="*/ 1341 h 1398256"/>
                    <a:gd name="connsiteX128" fmla="*/ 1029659 w 2371304"/>
                    <a:gd name="connsiteY128" fmla="*/ 9518 h 1398256"/>
                    <a:gd name="connsiteX129" fmla="*/ 1041461 w 2371304"/>
                    <a:gd name="connsiteY129" fmla="*/ 4523 h 1398256"/>
                    <a:gd name="connsiteX130" fmla="*/ 1078882 w 2371304"/>
                    <a:gd name="connsiteY130" fmla="*/ 16541 h 1398256"/>
                    <a:gd name="connsiteX131" fmla="*/ 1107759 w 2371304"/>
                    <a:gd name="connsiteY131" fmla="*/ 29521 h 1398256"/>
                    <a:gd name="connsiteX132" fmla="*/ 1125290 w 2371304"/>
                    <a:gd name="connsiteY132" fmla="*/ 14753 h 1398256"/>
                    <a:gd name="connsiteX133" fmla="*/ 1136192 w 2371304"/>
                    <a:gd name="connsiteY133" fmla="*/ 14665 h 1398256"/>
                    <a:gd name="connsiteX134" fmla="*/ 1151277 w 2371304"/>
                    <a:gd name="connsiteY134" fmla="*/ 13879 h 1398256"/>
                    <a:gd name="connsiteX135" fmla="*/ 1161621 w 2371304"/>
                    <a:gd name="connsiteY135" fmla="*/ 33223 h 1398256"/>
                    <a:gd name="connsiteX136" fmla="*/ 1162674 w 2371304"/>
                    <a:gd name="connsiteY136" fmla="*/ 49436 h 1398256"/>
                    <a:gd name="connsiteX137" fmla="*/ 1165057 w 2371304"/>
                    <a:gd name="connsiteY137" fmla="*/ 67069 h 1398256"/>
                    <a:gd name="connsiteX138" fmla="*/ 1183704 w 2371304"/>
                    <a:gd name="connsiteY138" fmla="*/ 77464 h 1398256"/>
                    <a:gd name="connsiteX139" fmla="*/ 1181587 w 2371304"/>
                    <a:gd name="connsiteY139" fmla="*/ 83016 h 1398256"/>
                    <a:gd name="connsiteX140" fmla="*/ 1175363 w 2371304"/>
                    <a:gd name="connsiteY140" fmla="*/ 93855 h 1398256"/>
                    <a:gd name="connsiteX141" fmla="*/ 1179140 w 2371304"/>
                    <a:gd name="connsiteY141" fmla="*/ 106823 h 1398256"/>
                    <a:gd name="connsiteX142" fmla="*/ 1163941 w 2371304"/>
                    <a:gd name="connsiteY142" fmla="*/ 112286 h 1398256"/>
                    <a:gd name="connsiteX143" fmla="*/ 1167427 w 2371304"/>
                    <a:gd name="connsiteY143" fmla="*/ 118511 h 1398256"/>
                    <a:gd name="connsiteX144" fmla="*/ 1168124 w 2371304"/>
                    <a:gd name="connsiteY144" fmla="*/ 126079 h 1398256"/>
                    <a:gd name="connsiteX145" fmla="*/ 1175528 w 2371304"/>
                    <a:gd name="connsiteY145" fmla="*/ 134407 h 1398256"/>
                    <a:gd name="connsiteX146" fmla="*/ 1183717 w 2371304"/>
                    <a:gd name="connsiteY146" fmla="*/ 130490 h 1398256"/>
                    <a:gd name="connsiteX147" fmla="*/ 1192793 w 2371304"/>
                    <a:gd name="connsiteY147" fmla="*/ 126497 h 1398256"/>
                    <a:gd name="connsiteX148" fmla="*/ 1199854 w 2371304"/>
                    <a:gd name="connsiteY148" fmla="*/ 134496 h 1398256"/>
                    <a:gd name="connsiteX149" fmla="*/ 1213633 w 2371304"/>
                    <a:gd name="connsiteY149" fmla="*/ 134077 h 1398256"/>
                    <a:gd name="connsiteX150" fmla="*/ 1218767 w 2371304"/>
                    <a:gd name="connsiteY150" fmla="*/ 121756 h 1398256"/>
                    <a:gd name="connsiteX151" fmla="*/ 1252106 w 2371304"/>
                    <a:gd name="connsiteY151" fmla="*/ 131035 h 1398256"/>
                    <a:gd name="connsiteX152" fmla="*/ 1244120 w 2371304"/>
                    <a:gd name="connsiteY152" fmla="*/ 123569 h 1398256"/>
                    <a:gd name="connsiteX153" fmla="*/ 1244627 w 2371304"/>
                    <a:gd name="connsiteY153" fmla="*/ 117205 h 1398256"/>
                    <a:gd name="connsiteX154" fmla="*/ 1242561 w 2371304"/>
                    <a:gd name="connsiteY154" fmla="*/ 111222 h 1398256"/>
                    <a:gd name="connsiteX155" fmla="*/ 1241674 w 2371304"/>
                    <a:gd name="connsiteY155" fmla="*/ 107330 h 1398256"/>
                    <a:gd name="connsiteX156" fmla="*/ 1253526 w 2371304"/>
                    <a:gd name="connsiteY156" fmla="*/ 110664 h 1398256"/>
                    <a:gd name="connsiteX157" fmla="*/ 1260574 w 2371304"/>
                    <a:gd name="connsiteY157" fmla="*/ 127549 h 1398256"/>
                    <a:gd name="connsiteX158" fmla="*/ 1273745 w 2371304"/>
                    <a:gd name="connsiteY158" fmla="*/ 133089 h 1398256"/>
                    <a:gd name="connsiteX159" fmla="*/ 1268307 w 2371304"/>
                    <a:gd name="connsiteY159" fmla="*/ 136524 h 1398256"/>
                    <a:gd name="connsiteX160" fmla="*/ 1264872 w 2371304"/>
                    <a:gd name="connsiteY160" fmla="*/ 137335 h 1398256"/>
                    <a:gd name="connsiteX161" fmla="*/ 1267166 w 2371304"/>
                    <a:gd name="connsiteY161" fmla="*/ 141544 h 1398256"/>
                    <a:gd name="connsiteX162" fmla="*/ 1266634 w 2371304"/>
                    <a:gd name="connsiteY162" fmla="*/ 150481 h 1398256"/>
                    <a:gd name="connsiteX163" fmla="*/ 1280781 w 2371304"/>
                    <a:gd name="connsiteY163" fmla="*/ 147958 h 1398256"/>
                    <a:gd name="connsiteX164" fmla="*/ 1288792 w 2371304"/>
                    <a:gd name="connsiteY164" fmla="*/ 144117 h 1398256"/>
                    <a:gd name="connsiteX165" fmla="*/ 1276141 w 2371304"/>
                    <a:gd name="connsiteY165" fmla="*/ 141164 h 1398256"/>
                    <a:gd name="connsiteX166" fmla="*/ 1308669 w 2371304"/>
                    <a:gd name="connsiteY166" fmla="*/ 133482 h 1398256"/>
                    <a:gd name="connsiteX167" fmla="*/ 1314805 w 2371304"/>
                    <a:gd name="connsiteY167" fmla="*/ 143141 h 1398256"/>
                    <a:gd name="connsiteX168" fmla="*/ 1330929 w 2371304"/>
                    <a:gd name="connsiteY168" fmla="*/ 150253 h 1398256"/>
                    <a:gd name="connsiteX169" fmla="*/ 1350907 w 2371304"/>
                    <a:gd name="connsiteY169" fmla="*/ 147527 h 1398256"/>
                    <a:gd name="connsiteX170" fmla="*/ 1356041 w 2371304"/>
                    <a:gd name="connsiteY170" fmla="*/ 139325 h 1398256"/>
                    <a:gd name="connsiteX171" fmla="*/ 1367171 w 2371304"/>
                    <a:gd name="connsiteY171" fmla="*/ 139718 h 1398256"/>
                    <a:gd name="connsiteX172" fmla="*/ 1359312 w 2371304"/>
                    <a:gd name="connsiteY172" fmla="*/ 159938 h 1398256"/>
                    <a:gd name="connsiteX173" fmla="*/ 1341337 w 2371304"/>
                    <a:gd name="connsiteY173" fmla="*/ 162878 h 1398256"/>
                    <a:gd name="connsiteX174" fmla="*/ 1344784 w 2371304"/>
                    <a:gd name="connsiteY174" fmla="*/ 164869 h 1398256"/>
                    <a:gd name="connsiteX175" fmla="*/ 1331892 w 2371304"/>
                    <a:gd name="connsiteY175" fmla="*/ 177672 h 1398256"/>
                    <a:gd name="connsiteX176" fmla="*/ 1329446 w 2371304"/>
                    <a:gd name="connsiteY176" fmla="*/ 188586 h 1398256"/>
                    <a:gd name="connsiteX177" fmla="*/ 1341337 w 2371304"/>
                    <a:gd name="connsiteY177" fmla="*/ 193809 h 1398256"/>
                    <a:gd name="connsiteX178" fmla="*/ 1344265 w 2371304"/>
                    <a:gd name="connsiteY178" fmla="*/ 202201 h 1398256"/>
                    <a:gd name="connsiteX179" fmla="*/ 1352796 w 2371304"/>
                    <a:gd name="connsiteY179" fmla="*/ 195115 h 1398256"/>
                    <a:gd name="connsiteX180" fmla="*/ 1360187 w 2371304"/>
                    <a:gd name="connsiteY180" fmla="*/ 187534 h 1398256"/>
                    <a:gd name="connsiteX181" fmla="*/ 1378656 w 2371304"/>
                    <a:gd name="connsiteY181" fmla="*/ 182020 h 1398256"/>
                    <a:gd name="connsiteX182" fmla="*/ 1389545 w 2371304"/>
                    <a:gd name="connsiteY182" fmla="*/ 182768 h 1398256"/>
                    <a:gd name="connsiteX183" fmla="*/ 1391510 w 2371304"/>
                    <a:gd name="connsiteY183" fmla="*/ 188853 h 1398256"/>
                    <a:gd name="connsiteX184" fmla="*/ 1404859 w 2371304"/>
                    <a:gd name="connsiteY184" fmla="*/ 190108 h 1398256"/>
                    <a:gd name="connsiteX185" fmla="*/ 1416622 w 2371304"/>
                    <a:gd name="connsiteY185" fmla="*/ 198056 h 1398256"/>
                    <a:gd name="connsiteX186" fmla="*/ 1419310 w 2371304"/>
                    <a:gd name="connsiteY186" fmla="*/ 177837 h 1398256"/>
                    <a:gd name="connsiteX187" fmla="*/ 1433026 w 2371304"/>
                    <a:gd name="connsiteY187" fmla="*/ 175821 h 1398256"/>
                    <a:gd name="connsiteX188" fmla="*/ 1439022 w 2371304"/>
                    <a:gd name="connsiteY188" fmla="*/ 169838 h 1398256"/>
                    <a:gd name="connsiteX189" fmla="*/ 1458861 w 2371304"/>
                    <a:gd name="connsiteY189" fmla="*/ 164387 h 1398256"/>
                    <a:gd name="connsiteX190" fmla="*/ 1492365 w 2371304"/>
                    <a:gd name="connsiteY190" fmla="*/ 146893 h 1398256"/>
                    <a:gd name="connsiteX191" fmla="*/ 1486939 w 2371304"/>
                    <a:gd name="connsiteY191" fmla="*/ 139516 h 1398256"/>
                    <a:gd name="connsiteX192" fmla="*/ 1507627 w 2371304"/>
                    <a:gd name="connsiteY192" fmla="*/ 135523 h 1398256"/>
                    <a:gd name="connsiteX193" fmla="*/ 1537290 w 2371304"/>
                    <a:gd name="connsiteY193" fmla="*/ 124139 h 1398256"/>
                    <a:gd name="connsiteX194" fmla="*/ 1547076 w 2371304"/>
                    <a:gd name="connsiteY194" fmla="*/ 118320 h 1398256"/>
                    <a:gd name="connsiteX195" fmla="*/ 1547862 w 2371304"/>
                    <a:gd name="connsiteY195" fmla="*/ 113579 h 1398256"/>
                    <a:gd name="connsiteX196" fmla="*/ 1569425 w 2371304"/>
                    <a:gd name="connsiteY196" fmla="*/ 112844 h 1398256"/>
                    <a:gd name="connsiteX197" fmla="*/ 1581734 w 2371304"/>
                    <a:gd name="connsiteY197" fmla="*/ 107596 h 1398256"/>
                    <a:gd name="connsiteX198" fmla="*/ 1582444 w 2371304"/>
                    <a:gd name="connsiteY198" fmla="*/ 102830 h 1398256"/>
                    <a:gd name="connsiteX199" fmla="*/ 1590189 w 2371304"/>
                    <a:gd name="connsiteY199" fmla="*/ 101245 h 1398256"/>
                    <a:gd name="connsiteX200" fmla="*/ 1600394 w 2371304"/>
                    <a:gd name="connsiteY200" fmla="*/ 102259 h 1398256"/>
                    <a:gd name="connsiteX201" fmla="*/ 1590658 w 2371304"/>
                    <a:gd name="connsiteY201" fmla="*/ 106037 h 1398256"/>
                    <a:gd name="connsiteX202" fmla="*/ 1594474 w 2371304"/>
                    <a:gd name="connsiteY202" fmla="*/ 109599 h 1398256"/>
                    <a:gd name="connsiteX203" fmla="*/ 1578996 w 2371304"/>
                    <a:gd name="connsiteY203" fmla="*/ 131808 h 1398256"/>
                    <a:gd name="connsiteX204" fmla="*/ 1567067 w 2371304"/>
                    <a:gd name="connsiteY204" fmla="*/ 128867 h 1398256"/>
                    <a:gd name="connsiteX205" fmla="*/ 1564481 w 2371304"/>
                    <a:gd name="connsiteY205" fmla="*/ 134318 h 1398256"/>
                    <a:gd name="connsiteX206" fmla="*/ 1579173 w 2371304"/>
                    <a:gd name="connsiteY206" fmla="*/ 153409 h 1398256"/>
                    <a:gd name="connsiteX207" fmla="*/ 1680358 w 2371304"/>
                    <a:gd name="connsiteY207" fmla="*/ 229025 h 1398256"/>
                    <a:gd name="connsiteX208" fmla="*/ 1759104 w 2371304"/>
                    <a:gd name="connsiteY208" fmla="*/ 345395 h 1398256"/>
                    <a:gd name="connsiteX209" fmla="*/ 1801545 w 2371304"/>
                    <a:gd name="connsiteY209" fmla="*/ 413709 h 1398256"/>
                    <a:gd name="connsiteX210" fmla="*/ 1836241 w 2371304"/>
                    <a:gd name="connsiteY210" fmla="*/ 466443 h 1398256"/>
                    <a:gd name="connsiteX211" fmla="*/ 1839106 w 2371304"/>
                    <a:gd name="connsiteY211" fmla="*/ 460295 h 1398256"/>
                    <a:gd name="connsiteX212" fmla="*/ 1848664 w 2371304"/>
                    <a:gd name="connsiteY212" fmla="*/ 451333 h 1398256"/>
                    <a:gd name="connsiteX213" fmla="*/ 1862722 w 2371304"/>
                    <a:gd name="connsiteY213" fmla="*/ 445654 h 1398256"/>
                    <a:gd name="connsiteX214" fmla="*/ 1860947 w 2371304"/>
                    <a:gd name="connsiteY214" fmla="*/ 433091 h 1398256"/>
                    <a:gd name="connsiteX215" fmla="*/ 1863292 w 2371304"/>
                    <a:gd name="connsiteY215" fmla="*/ 422177 h 1398256"/>
                    <a:gd name="connsiteX216" fmla="*/ 1871393 w 2371304"/>
                    <a:gd name="connsiteY216" fmla="*/ 422697 h 1398256"/>
                    <a:gd name="connsiteX217" fmla="*/ 1875842 w 2371304"/>
                    <a:gd name="connsiteY217" fmla="*/ 416713 h 1398256"/>
                    <a:gd name="connsiteX218" fmla="*/ 1891193 w 2371304"/>
                    <a:gd name="connsiteY218" fmla="*/ 417220 h 1398256"/>
                    <a:gd name="connsiteX219" fmla="*/ 1895110 w 2371304"/>
                    <a:gd name="connsiteY219" fmla="*/ 414761 h 1398256"/>
                    <a:gd name="connsiteX220" fmla="*/ 1898191 w 2371304"/>
                    <a:gd name="connsiteY220" fmla="*/ 421340 h 1398256"/>
                    <a:gd name="connsiteX221" fmla="*/ 1910551 w 2371304"/>
                    <a:gd name="connsiteY221" fmla="*/ 437718 h 1398256"/>
                    <a:gd name="connsiteX222" fmla="*/ 1913517 w 2371304"/>
                    <a:gd name="connsiteY222" fmla="*/ 448481 h 1398256"/>
                    <a:gd name="connsiteX223" fmla="*/ 1935371 w 2371304"/>
                    <a:gd name="connsiteY223" fmla="*/ 454553 h 1398256"/>
                    <a:gd name="connsiteX224" fmla="*/ 1935701 w 2371304"/>
                    <a:gd name="connsiteY224" fmla="*/ 467495 h 1398256"/>
                    <a:gd name="connsiteX225" fmla="*/ 1957517 w 2371304"/>
                    <a:gd name="connsiteY225" fmla="*/ 464212 h 1398256"/>
                    <a:gd name="connsiteX226" fmla="*/ 1990552 w 2371304"/>
                    <a:gd name="connsiteY226" fmla="*/ 471146 h 1398256"/>
                    <a:gd name="connsiteX227" fmla="*/ 1999983 w 2371304"/>
                    <a:gd name="connsiteY227" fmla="*/ 467521 h 1398256"/>
                    <a:gd name="connsiteX228" fmla="*/ 2014333 w 2371304"/>
                    <a:gd name="connsiteY228" fmla="*/ 469321 h 1398256"/>
                    <a:gd name="connsiteX229" fmla="*/ 2027339 w 2371304"/>
                    <a:gd name="connsiteY229" fmla="*/ 462830 h 1398256"/>
                    <a:gd name="connsiteX230" fmla="*/ 2030382 w 2371304"/>
                    <a:gd name="connsiteY230" fmla="*/ 452981 h 1398256"/>
                    <a:gd name="connsiteX231" fmla="*/ 2054619 w 2371304"/>
                    <a:gd name="connsiteY231" fmla="*/ 451675 h 1398256"/>
                    <a:gd name="connsiteX232" fmla="*/ 2060007 w 2371304"/>
                    <a:gd name="connsiteY232" fmla="*/ 442979 h 1398256"/>
                    <a:gd name="connsiteX233" fmla="*/ 2064887 w 2371304"/>
                    <a:gd name="connsiteY233" fmla="*/ 443587 h 1398256"/>
                    <a:gd name="connsiteX234" fmla="*/ 2087819 w 2371304"/>
                    <a:gd name="connsiteY234" fmla="*/ 447340 h 1398256"/>
                    <a:gd name="connsiteX235" fmla="*/ 2118395 w 2371304"/>
                    <a:gd name="connsiteY235" fmla="*/ 461119 h 1398256"/>
                    <a:gd name="connsiteX236" fmla="*/ 2122882 w 2371304"/>
                    <a:gd name="connsiteY236" fmla="*/ 471222 h 1398256"/>
                    <a:gd name="connsiteX237" fmla="*/ 2132174 w 2371304"/>
                    <a:gd name="connsiteY237" fmla="*/ 477789 h 1398256"/>
                    <a:gd name="connsiteX238" fmla="*/ 2140148 w 2371304"/>
                    <a:gd name="connsiteY238" fmla="*/ 490567 h 1398256"/>
                    <a:gd name="connsiteX239" fmla="*/ 2149123 w 2371304"/>
                    <a:gd name="connsiteY239" fmla="*/ 517010 h 1398256"/>
                    <a:gd name="connsiteX240" fmla="*/ 2161850 w 2371304"/>
                    <a:gd name="connsiteY240" fmla="*/ 518163 h 1398256"/>
                    <a:gd name="connsiteX241" fmla="*/ 2175731 w 2371304"/>
                    <a:gd name="connsiteY241" fmla="*/ 523500 h 1398256"/>
                    <a:gd name="connsiteX242" fmla="*/ 2187621 w 2371304"/>
                    <a:gd name="connsiteY242" fmla="*/ 531195 h 1398256"/>
                    <a:gd name="connsiteX243" fmla="*/ 2201566 w 2371304"/>
                    <a:gd name="connsiteY243" fmla="*/ 537698 h 1398256"/>
                    <a:gd name="connsiteX244" fmla="*/ 2197763 w 2371304"/>
                    <a:gd name="connsiteY244" fmla="*/ 549081 h 1398256"/>
                    <a:gd name="connsiteX245" fmla="*/ 2205001 w 2371304"/>
                    <a:gd name="connsiteY245" fmla="*/ 555027 h 1398256"/>
                    <a:gd name="connsiteX246" fmla="*/ 2210350 w 2371304"/>
                    <a:gd name="connsiteY246" fmla="*/ 563216 h 1398256"/>
                    <a:gd name="connsiteX247" fmla="*/ 2222596 w 2371304"/>
                    <a:gd name="connsiteY247" fmla="*/ 577794 h 1398256"/>
                    <a:gd name="connsiteX248" fmla="*/ 2236109 w 2371304"/>
                    <a:gd name="connsiteY248" fmla="*/ 578757 h 1398256"/>
                    <a:gd name="connsiteX249" fmla="*/ 2243677 w 2371304"/>
                    <a:gd name="connsiteY249" fmla="*/ 575347 h 1398256"/>
                    <a:gd name="connsiteX250" fmla="*/ 2249318 w 2371304"/>
                    <a:gd name="connsiteY250" fmla="*/ 581001 h 1398256"/>
                    <a:gd name="connsiteX251" fmla="*/ 2263110 w 2371304"/>
                    <a:gd name="connsiteY251" fmla="*/ 581343 h 1398256"/>
                    <a:gd name="connsiteX252" fmla="*/ 2269258 w 2371304"/>
                    <a:gd name="connsiteY252" fmla="*/ 581914 h 1398256"/>
                    <a:gd name="connsiteX253" fmla="*/ 2270716 w 2371304"/>
                    <a:gd name="connsiteY253" fmla="*/ 588797 h 1398256"/>
                    <a:gd name="connsiteX254" fmla="*/ 2286562 w 2371304"/>
                    <a:gd name="connsiteY254" fmla="*/ 590293 h 1398256"/>
                    <a:gd name="connsiteX255" fmla="*/ 2314488 w 2371304"/>
                    <a:gd name="connsiteY255" fmla="*/ 563660 h 1398256"/>
                    <a:gd name="connsiteX256" fmla="*/ 2324642 w 2371304"/>
                    <a:gd name="connsiteY256" fmla="*/ 560211 h 1398256"/>
                    <a:gd name="connsiteX257" fmla="*/ 2330803 w 2371304"/>
                    <a:gd name="connsiteY257" fmla="*/ 568147 h 1398256"/>
                    <a:gd name="connsiteX258" fmla="*/ 2320066 w 2371304"/>
                    <a:gd name="connsiteY258" fmla="*/ 581749 h 1398256"/>
                    <a:gd name="connsiteX259" fmla="*/ 2333579 w 2371304"/>
                    <a:gd name="connsiteY259" fmla="*/ 585273 h 1398256"/>
                    <a:gd name="connsiteX260" fmla="*/ 2335214 w 2371304"/>
                    <a:gd name="connsiteY260" fmla="*/ 593449 h 1398256"/>
                    <a:gd name="connsiteX261" fmla="*/ 2341413 w 2371304"/>
                    <a:gd name="connsiteY261" fmla="*/ 596568 h 1398256"/>
                    <a:gd name="connsiteX262" fmla="*/ 2340361 w 2371304"/>
                    <a:gd name="connsiteY262" fmla="*/ 600916 h 1398256"/>
                    <a:gd name="connsiteX263" fmla="*/ 2349615 w 2371304"/>
                    <a:gd name="connsiteY263" fmla="*/ 611006 h 1398256"/>
                    <a:gd name="connsiteX264" fmla="*/ 2371304 w 2371304"/>
                    <a:gd name="connsiteY264" fmla="*/ 626269 h 1398256"/>
                    <a:gd name="connsiteX265" fmla="*/ 2330308 w 2371304"/>
                    <a:gd name="connsiteY265" fmla="*/ 631986 h 1398256"/>
                    <a:gd name="connsiteX266" fmla="*/ 2328787 w 2371304"/>
                    <a:gd name="connsiteY266" fmla="*/ 659114 h 1398256"/>
                    <a:gd name="connsiteX267" fmla="*/ 2316466 w 2371304"/>
                    <a:gd name="connsiteY267" fmla="*/ 677051 h 1398256"/>
                    <a:gd name="connsiteX268" fmla="*/ 2295346 w 2371304"/>
                    <a:gd name="connsiteY268" fmla="*/ 683833 h 1398256"/>
                    <a:gd name="connsiteX269" fmla="*/ 2285940 w 2371304"/>
                    <a:gd name="connsiteY269" fmla="*/ 689335 h 1398256"/>
                    <a:gd name="connsiteX270" fmla="*/ 2267509 w 2371304"/>
                    <a:gd name="connsiteY270" fmla="*/ 689182 h 1398256"/>
                    <a:gd name="connsiteX271" fmla="*/ 2245135 w 2371304"/>
                    <a:gd name="connsiteY271" fmla="*/ 710682 h 1398256"/>
                    <a:gd name="connsiteX272" fmla="*/ 2237820 w 2371304"/>
                    <a:gd name="connsiteY272" fmla="*/ 734007 h 1398256"/>
                    <a:gd name="connsiteX273" fmla="*/ 2243550 w 2371304"/>
                    <a:gd name="connsiteY273" fmla="*/ 765419 h 1398256"/>
                    <a:gd name="connsiteX274" fmla="*/ 2249343 w 2371304"/>
                    <a:gd name="connsiteY274" fmla="*/ 786918 h 1398256"/>
                    <a:gd name="connsiteX275" fmla="*/ 2249001 w 2371304"/>
                    <a:gd name="connsiteY275" fmla="*/ 799532 h 1398256"/>
                    <a:gd name="connsiteX276" fmla="*/ 2239912 w 2371304"/>
                    <a:gd name="connsiteY276" fmla="*/ 807835 h 1398256"/>
                    <a:gd name="connsiteX277" fmla="*/ 2230760 w 2371304"/>
                    <a:gd name="connsiteY277" fmla="*/ 817152 h 1398256"/>
                    <a:gd name="connsiteX278" fmla="*/ 2211187 w 2371304"/>
                    <a:gd name="connsiteY278" fmla="*/ 823338 h 1398256"/>
                    <a:gd name="connsiteX279" fmla="*/ 2194860 w 2371304"/>
                    <a:gd name="connsiteY279" fmla="*/ 834810 h 1398256"/>
                    <a:gd name="connsiteX280" fmla="*/ 2172980 w 2371304"/>
                    <a:gd name="connsiteY280" fmla="*/ 823351 h 1398256"/>
                    <a:gd name="connsiteX281" fmla="*/ 2148045 w 2371304"/>
                    <a:gd name="connsiteY281" fmla="*/ 822185 h 1398256"/>
                    <a:gd name="connsiteX282" fmla="*/ 2126952 w 2371304"/>
                    <a:gd name="connsiteY282" fmla="*/ 824682 h 1398256"/>
                    <a:gd name="connsiteX283" fmla="*/ 2066560 w 2371304"/>
                    <a:gd name="connsiteY283" fmla="*/ 805185 h 1398256"/>
                    <a:gd name="connsiteX284" fmla="*/ 2050956 w 2371304"/>
                    <a:gd name="connsiteY284" fmla="*/ 819142 h 1398256"/>
                    <a:gd name="connsiteX285" fmla="*/ 2033120 w 2371304"/>
                    <a:gd name="connsiteY285" fmla="*/ 868517 h 1398256"/>
                    <a:gd name="connsiteX286" fmla="*/ 2021800 w 2371304"/>
                    <a:gd name="connsiteY286" fmla="*/ 892412 h 1398256"/>
                    <a:gd name="connsiteX287" fmla="*/ 2014435 w 2371304"/>
                    <a:gd name="connsiteY287" fmla="*/ 920922 h 1398256"/>
                    <a:gd name="connsiteX288" fmla="*/ 2005257 w 2371304"/>
                    <a:gd name="connsiteY288" fmla="*/ 962108 h 1398256"/>
                    <a:gd name="connsiteX289" fmla="*/ 2024589 w 2371304"/>
                    <a:gd name="connsiteY289" fmla="*/ 974785 h 1398256"/>
                    <a:gd name="connsiteX290" fmla="*/ 2008502 w 2371304"/>
                    <a:gd name="connsiteY290" fmla="*/ 992544 h 1398256"/>
                    <a:gd name="connsiteX291" fmla="*/ 1996117 w 2371304"/>
                    <a:gd name="connsiteY291" fmla="*/ 984723 h 1398256"/>
                    <a:gd name="connsiteX292" fmla="*/ 1978421 w 2371304"/>
                    <a:gd name="connsiteY292" fmla="*/ 991454 h 1398256"/>
                    <a:gd name="connsiteX293" fmla="*/ 1962043 w 2371304"/>
                    <a:gd name="connsiteY293" fmla="*/ 985623 h 1398256"/>
                    <a:gd name="connsiteX294" fmla="*/ 1950697 w 2371304"/>
                    <a:gd name="connsiteY294" fmla="*/ 974886 h 1398256"/>
                    <a:gd name="connsiteX295" fmla="*/ 1937513 w 2371304"/>
                    <a:gd name="connsiteY295" fmla="*/ 980705 h 1398256"/>
                    <a:gd name="connsiteX296" fmla="*/ 1914873 w 2371304"/>
                    <a:gd name="connsiteY296" fmla="*/ 986929 h 1398256"/>
                    <a:gd name="connsiteX297" fmla="*/ 1892106 w 2371304"/>
                    <a:gd name="connsiteY297" fmla="*/ 994268 h 1398256"/>
                    <a:gd name="connsiteX298" fmla="*/ 1865802 w 2371304"/>
                    <a:gd name="connsiteY298" fmla="*/ 996132 h 1398256"/>
                    <a:gd name="connsiteX299" fmla="*/ 1849995 w 2371304"/>
                    <a:gd name="connsiteY299" fmla="*/ 1001988 h 1398256"/>
                    <a:gd name="connsiteX300" fmla="*/ 1826493 w 2371304"/>
                    <a:gd name="connsiteY300" fmla="*/ 1010253 h 1398256"/>
                    <a:gd name="connsiteX301" fmla="*/ 1853709 w 2371304"/>
                    <a:gd name="connsiteY301" fmla="*/ 1025947 h 1398256"/>
                    <a:gd name="connsiteX302" fmla="*/ 1866398 w 2371304"/>
                    <a:gd name="connsiteY302" fmla="*/ 1031005 h 1398256"/>
                    <a:gd name="connsiteX303" fmla="*/ 1857791 w 2371304"/>
                    <a:gd name="connsiteY303" fmla="*/ 1035632 h 1398256"/>
                    <a:gd name="connsiteX304" fmla="*/ 1854812 w 2371304"/>
                    <a:gd name="connsiteY304" fmla="*/ 1051769 h 1398256"/>
                    <a:gd name="connsiteX305" fmla="*/ 1859882 w 2371304"/>
                    <a:gd name="connsiteY305" fmla="*/ 1092486 h 1398256"/>
                    <a:gd name="connsiteX306" fmla="*/ 1880494 w 2371304"/>
                    <a:gd name="connsiteY306" fmla="*/ 1140023 h 1398256"/>
                    <a:gd name="connsiteX307" fmla="*/ 1879848 w 2371304"/>
                    <a:gd name="connsiteY307" fmla="*/ 1158341 h 1398256"/>
                    <a:gd name="connsiteX308" fmla="*/ 1886516 w 2371304"/>
                    <a:gd name="connsiteY308" fmla="*/ 1167975 h 1398256"/>
                    <a:gd name="connsiteX309" fmla="*/ 1862202 w 2371304"/>
                    <a:gd name="connsiteY309" fmla="*/ 1180639 h 1398256"/>
                    <a:gd name="connsiteX310" fmla="*/ 1868300 w 2371304"/>
                    <a:gd name="connsiteY310" fmla="*/ 1192339 h 1398256"/>
                    <a:gd name="connsiteX311" fmla="*/ 1859046 w 2371304"/>
                    <a:gd name="connsiteY311" fmla="*/ 1199983 h 1398256"/>
                    <a:gd name="connsiteX312" fmla="*/ 1842744 w 2371304"/>
                    <a:gd name="connsiteY312" fmla="*/ 1226933 h 1398256"/>
                    <a:gd name="connsiteX313" fmla="*/ 1842896 w 2371304"/>
                    <a:gd name="connsiteY313" fmla="*/ 1256482 h 1398256"/>
                    <a:gd name="connsiteX314" fmla="*/ 1825275 w 2371304"/>
                    <a:gd name="connsiteY314" fmla="*/ 1237772 h 1398256"/>
                    <a:gd name="connsiteX315" fmla="*/ 1794636 w 2371304"/>
                    <a:gd name="connsiteY315" fmla="*/ 1234489 h 1398256"/>
                    <a:gd name="connsiteX316" fmla="*/ 1784914 w 2371304"/>
                    <a:gd name="connsiteY316" fmla="*/ 1229532 h 1398256"/>
                    <a:gd name="connsiteX317" fmla="*/ 1774582 w 2371304"/>
                    <a:gd name="connsiteY317" fmla="*/ 1219023 h 1398256"/>
                    <a:gd name="connsiteX318" fmla="*/ 1769106 w 2371304"/>
                    <a:gd name="connsiteY318" fmla="*/ 1205789 h 1398256"/>
                    <a:gd name="connsiteX319" fmla="*/ 1751169 w 2371304"/>
                    <a:gd name="connsiteY319" fmla="*/ 1206233 h 1398256"/>
                    <a:gd name="connsiteX320" fmla="*/ 1725004 w 2371304"/>
                    <a:gd name="connsiteY320" fmla="*/ 1198791 h 1398256"/>
                    <a:gd name="connsiteX321" fmla="*/ 1681828 w 2371304"/>
                    <a:gd name="connsiteY321" fmla="*/ 1198348 h 1398256"/>
                    <a:gd name="connsiteX322" fmla="*/ 1649237 w 2371304"/>
                    <a:gd name="connsiteY322" fmla="*/ 1195698 h 1398256"/>
                    <a:gd name="connsiteX323" fmla="*/ 1617558 w 2371304"/>
                    <a:gd name="connsiteY323" fmla="*/ 1189677 h 1398256"/>
                    <a:gd name="connsiteX324" fmla="*/ 1588554 w 2371304"/>
                    <a:gd name="connsiteY324" fmla="*/ 1192428 h 1398256"/>
                    <a:gd name="connsiteX325" fmla="*/ 1560171 w 2371304"/>
                    <a:gd name="connsiteY325" fmla="*/ 1194393 h 1398256"/>
                    <a:gd name="connsiteX326" fmla="*/ 1516006 w 2371304"/>
                    <a:gd name="connsiteY326" fmla="*/ 1195204 h 1398256"/>
                    <a:gd name="connsiteX327" fmla="*/ 1501403 w 2371304"/>
                    <a:gd name="connsiteY327" fmla="*/ 1201352 h 1398256"/>
                    <a:gd name="connsiteX328" fmla="*/ 1473236 w 2371304"/>
                    <a:gd name="connsiteY328" fmla="*/ 1198956 h 1398256"/>
                    <a:gd name="connsiteX329" fmla="*/ 1429413 w 2371304"/>
                    <a:gd name="connsiteY329" fmla="*/ 1178040 h 1398256"/>
                    <a:gd name="connsiteX330" fmla="*/ 1399458 w 2371304"/>
                    <a:gd name="connsiteY330" fmla="*/ 1162372 h 1398256"/>
                    <a:gd name="connsiteX331" fmla="*/ 1386503 w 2371304"/>
                    <a:gd name="connsiteY331" fmla="*/ 1167962 h 1398256"/>
                    <a:gd name="connsiteX332" fmla="*/ 1371874 w 2371304"/>
                    <a:gd name="connsiteY332" fmla="*/ 1175530 h 1398256"/>
                    <a:gd name="connsiteX333" fmla="*/ 1352948 w 2371304"/>
                    <a:gd name="connsiteY333" fmla="*/ 1186090 h 1398256"/>
                    <a:gd name="connsiteX334" fmla="*/ 1349830 w 2371304"/>
                    <a:gd name="connsiteY334" fmla="*/ 1202683 h 1398256"/>
                    <a:gd name="connsiteX335" fmla="*/ 1342946 w 2371304"/>
                    <a:gd name="connsiteY335" fmla="*/ 1223714 h 1398256"/>
                    <a:gd name="connsiteX336" fmla="*/ 1347599 w 2371304"/>
                    <a:gd name="connsiteY336" fmla="*/ 1239115 h 1398256"/>
                    <a:gd name="connsiteX337" fmla="*/ 1335201 w 2371304"/>
                    <a:gd name="connsiteY337" fmla="*/ 1230128 h 1398256"/>
                    <a:gd name="connsiteX338" fmla="*/ 1319153 w 2371304"/>
                    <a:gd name="connsiteY338" fmla="*/ 1225640 h 1398256"/>
                    <a:gd name="connsiteX339" fmla="*/ 1300556 w 2371304"/>
                    <a:gd name="connsiteY339" fmla="*/ 1225235 h 1398256"/>
                    <a:gd name="connsiteX340" fmla="*/ 1281529 w 2371304"/>
                    <a:gd name="connsiteY340" fmla="*/ 1214346 h 1398256"/>
                    <a:gd name="connsiteX341" fmla="*/ 1258483 w 2371304"/>
                    <a:gd name="connsiteY341" fmla="*/ 1206930 h 1398256"/>
                    <a:gd name="connsiteX342" fmla="*/ 1236603 w 2371304"/>
                    <a:gd name="connsiteY342" fmla="*/ 1203799 h 1398256"/>
                    <a:gd name="connsiteX343" fmla="*/ 1218197 w 2371304"/>
                    <a:gd name="connsiteY343" fmla="*/ 1201796 h 1398256"/>
                    <a:gd name="connsiteX344" fmla="*/ 1207612 w 2371304"/>
                    <a:gd name="connsiteY344" fmla="*/ 1207133 h 1398256"/>
                    <a:gd name="connsiteX345" fmla="*/ 1200361 w 2371304"/>
                    <a:gd name="connsiteY345" fmla="*/ 1204737 h 1398256"/>
                    <a:gd name="connsiteX346" fmla="*/ 1177492 w 2371304"/>
                    <a:gd name="connsiteY346" fmla="*/ 1213078 h 1398256"/>
                    <a:gd name="connsiteX347" fmla="*/ 1175388 w 2371304"/>
                    <a:gd name="connsiteY347" fmla="*/ 1219758 h 1398256"/>
                    <a:gd name="connsiteX348" fmla="*/ 1166096 w 2371304"/>
                    <a:gd name="connsiteY348" fmla="*/ 1223802 h 1398256"/>
                    <a:gd name="connsiteX349" fmla="*/ 1168670 w 2371304"/>
                    <a:gd name="connsiteY349" fmla="*/ 1230736 h 1398256"/>
                    <a:gd name="connsiteX350" fmla="*/ 1164562 w 2371304"/>
                    <a:gd name="connsiteY350" fmla="*/ 1233081 h 1398256"/>
                    <a:gd name="connsiteX351" fmla="*/ 1160607 w 2371304"/>
                    <a:gd name="connsiteY351" fmla="*/ 1252477 h 1398256"/>
                    <a:gd name="connsiteX352" fmla="*/ 1147436 w 2371304"/>
                    <a:gd name="connsiteY352" fmla="*/ 1257129 h 1398256"/>
                    <a:gd name="connsiteX353" fmla="*/ 1139843 w 2371304"/>
                    <a:gd name="connsiteY353" fmla="*/ 1264025 h 1398256"/>
                    <a:gd name="connsiteX354" fmla="*/ 1133302 w 2371304"/>
                    <a:gd name="connsiteY354" fmla="*/ 1273013 h 1398256"/>
                    <a:gd name="connsiteX355" fmla="*/ 1127243 w 2371304"/>
                    <a:gd name="connsiteY355" fmla="*/ 1267802 h 1398256"/>
                    <a:gd name="connsiteX356" fmla="*/ 1087299 w 2371304"/>
                    <a:gd name="connsiteY356" fmla="*/ 1296020 h 1398256"/>
                    <a:gd name="connsiteX357" fmla="*/ 1057522 w 2371304"/>
                    <a:gd name="connsiteY357" fmla="*/ 1308063 h 1398256"/>
                    <a:gd name="connsiteX358" fmla="*/ 1044985 w 2371304"/>
                    <a:gd name="connsiteY358" fmla="*/ 1316227 h 1398256"/>
                    <a:gd name="connsiteX359" fmla="*/ 1042145 w 2371304"/>
                    <a:gd name="connsiteY359" fmla="*/ 1320588 h 1398256"/>
                    <a:gd name="connsiteX360" fmla="*/ 1024677 w 2371304"/>
                    <a:gd name="connsiteY360" fmla="*/ 1327179 h 1398256"/>
                    <a:gd name="connsiteX361" fmla="*/ 1020620 w 2371304"/>
                    <a:gd name="connsiteY361" fmla="*/ 1334671 h 1398256"/>
                    <a:gd name="connsiteX362" fmla="*/ 1011633 w 2371304"/>
                    <a:gd name="connsiteY362" fmla="*/ 1347956 h 1398256"/>
                    <a:gd name="connsiteX363" fmla="*/ 1003685 w 2371304"/>
                    <a:gd name="connsiteY363" fmla="*/ 1353166 h 1398256"/>
                    <a:gd name="connsiteX364" fmla="*/ 984860 w 2371304"/>
                    <a:gd name="connsiteY364" fmla="*/ 1369861 h 1398256"/>
                    <a:gd name="connsiteX365" fmla="*/ 987699 w 2371304"/>
                    <a:gd name="connsiteY365" fmla="*/ 1396659 h 1398256"/>
                    <a:gd name="connsiteX366" fmla="*/ 976126 w 2371304"/>
                    <a:gd name="connsiteY366" fmla="*/ 1398257 h 1398256"/>
                    <a:gd name="connsiteX367" fmla="*/ 941975 w 2371304"/>
                    <a:gd name="connsiteY367" fmla="*/ 1378811 h 1398256"/>
                    <a:gd name="connsiteX368" fmla="*/ 950037 w 2371304"/>
                    <a:gd name="connsiteY368" fmla="*/ 1361114 h 1398256"/>
                    <a:gd name="connsiteX369" fmla="*/ 952370 w 2371304"/>
                    <a:gd name="connsiteY369" fmla="*/ 1359720 h 1398256"/>
                    <a:gd name="connsiteX370" fmla="*/ 951343 w 2371304"/>
                    <a:gd name="connsiteY370" fmla="*/ 1356462 h 1398256"/>
                    <a:gd name="connsiteX371" fmla="*/ 948719 w 2371304"/>
                    <a:gd name="connsiteY371" fmla="*/ 1358566 h 1398256"/>
                    <a:gd name="connsiteX372" fmla="*/ 945182 w 2371304"/>
                    <a:gd name="connsiteY372" fmla="*/ 1358566 h 1398256"/>
                    <a:gd name="connsiteX373" fmla="*/ 938045 w 2371304"/>
                    <a:gd name="connsiteY373" fmla="*/ 1344762 h 1398256"/>
                    <a:gd name="connsiteX374" fmla="*/ 895871 w 2371304"/>
                    <a:gd name="connsiteY374" fmla="*/ 1347703 h 1398256"/>
                    <a:gd name="connsiteX375" fmla="*/ 843631 w 2371304"/>
                    <a:gd name="connsiteY375" fmla="*/ 1336509 h 1398256"/>
                    <a:gd name="connsiteX376" fmla="*/ 835429 w 2371304"/>
                    <a:gd name="connsiteY376" fmla="*/ 1300799 h 1398256"/>
                    <a:gd name="connsiteX377" fmla="*/ 831119 w 2371304"/>
                    <a:gd name="connsiteY377" fmla="*/ 1274749 h 1398256"/>
                    <a:gd name="connsiteX378" fmla="*/ 802711 w 2371304"/>
                    <a:gd name="connsiteY378" fmla="*/ 1274698 h 1398256"/>
                    <a:gd name="connsiteX379" fmla="*/ 795346 w 2371304"/>
                    <a:gd name="connsiteY379" fmla="*/ 1272620 h 1398256"/>
                    <a:gd name="connsiteX380" fmla="*/ 795637 w 2371304"/>
                    <a:gd name="connsiteY380" fmla="*/ 1250905 h 1398256"/>
                    <a:gd name="connsiteX381" fmla="*/ 802293 w 2371304"/>
                    <a:gd name="connsiteY381" fmla="*/ 1186597 h 1398256"/>
                    <a:gd name="connsiteX382" fmla="*/ 773999 w 2371304"/>
                    <a:gd name="connsiteY382" fmla="*/ 1186394 h 1398256"/>
                    <a:gd name="connsiteX383" fmla="*/ 755237 w 2371304"/>
                    <a:gd name="connsiteY383" fmla="*/ 1156389 h 1398256"/>
                    <a:gd name="connsiteX384" fmla="*/ 723064 w 2371304"/>
                    <a:gd name="connsiteY384" fmla="*/ 1129565 h 1398256"/>
                    <a:gd name="connsiteX385" fmla="*/ 699296 w 2371304"/>
                    <a:gd name="connsiteY385" fmla="*/ 1127296 h 1398256"/>
                    <a:gd name="connsiteX386" fmla="*/ 664854 w 2371304"/>
                    <a:gd name="connsiteY386" fmla="*/ 1135751 h 1398256"/>
                    <a:gd name="connsiteX387" fmla="*/ 624061 w 2371304"/>
                    <a:gd name="connsiteY387" fmla="*/ 1132468 h 1398256"/>
                    <a:gd name="connsiteX388" fmla="*/ 549700 w 2371304"/>
                    <a:gd name="connsiteY388" fmla="*/ 1135168 h 1398256"/>
                    <a:gd name="connsiteX389" fmla="*/ 498081 w 2371304"/>
                    <a:gd name="connsiteY389" fmla="*/ 1141608 h 1398256"/>
                    <a:gd name="connsiteX390" fmla="*/ 467442 w 2371304"/>
                    <a:gd name="connsiteY390" fmla="*/ 1110626 h 1398256"/>
                    <a:gd name="connsiteX391" fmla="*/ 436626 w 2371304"/>
                    <a:gd name="connsiteY391" fmla="*/ 1080266 h 1398256"/>
                    <a:gd name="connsiteX392" fmla="*/ 422453 w 2371304"/>
                    <a:gd name="connsiteY392" fmla="*/ 1058513 h 1398256"/>
                    <a:gd name="connsiteX393" fmla="*/ 387517 w 2371304"/>
                    <a:gd name="connsiteY393" fmla="*/ 1038193 h 1398256"/>
                    <a:gd name="connsiteX394" fmla="*/ 355534 w 2371304"/>
                    <a:gd name="connsiteY394" fmla="*/ 1019533 h 1398256"/>
                    <a:gd name="connsiteX395" fmla="*/ 355623 w 2371304"/>
                    <a:gd name="connsiteY395" fmla="*/ 990301 h 1398256"/>
                    <a:gd name="connsiteX396" fmla="*/ 354342 w 2371304"/>
                    <a:gd name="connsiteY396" fmla="*/ 956442 h 1398256"/>
                    <a:gd name="connsiteX397" fmla="*/ 334605 w 2371304"/>
                    <a:gd name="connsiteY397" fmla="*/ 953323 h 1398256"/>
                    <a:gd name="connsiteX398" fmla="*/ 341666 w 2371304"/>
                    <a:gd name="connsiteY398" fmla="*/ 927641 h 1398256"/>
                    <a:gd name="connsiteX399" fmla="*/ 337977 w 2371304"/>
                    <a:gd name="connsiteY399" fmla="*/ 923901 h 1398256"/>
                    <a:gd name="connsiteX400" fmla="*/ 371113 w 2371304"/>
                    <a:gd name="connsiteY400" fmla="*/ 926157 h 1398256"/>
                    <a:gd name="connsiteX401" fmla="*/ 384791 w 2371304"/>
                    <a:gd name="connsiteY401" fmla="*/ 927450 h 1398256"/>
                    <a:gd name="connsiteX402" fmla="*/ 395503 w 2371304"/>
                    <a:gd name="connsiteY402" fmla="*/ 915801 h 1398256"/>
                    <a:gd name="connsiteX403" fmla="*/ 407279 w 2371304"/>
                    <a:gd name="connsiteY403" fmla="*/ 905457 h 1398256"/>
                    <a:gd name="connsiteX404" fmla="*/ 444650 w 2371304"/>
                    <a:gd name="connsiteY404" fmla="*/ 884616 h 1398256"/>
                    <a:gd name="connsiteX405" fmla="*/ 415075 w 2371304"/>
                    <a:gd name="connsiteY405" fmla="*/ 867757 h 1398256"/>
                    <a:gd name="connsiteX406" fmla="*/ 411311 w 2371304"/>
                    <a:gd name="connsiteY406" fmla="*/ 845662 h 1398256"/>
                    <a:gd name="connsiteX407" fmla="*/ 392854 w 2371304"/>
                    <a:gd name="connsiteY407" fmla="*/ 841554 h 1398256"/>
                    <a:gd name="connsiteX408" fmla="*/ 407026 w 2371304"/>
                    <a:gd name="connsiteY408" fmla="*/ 855055 h 1398256"/>
                    <a:gd name="connsiteX409" fmla="*/ 386376 w 2371304"/>
                    <a:gd name="connsiteY409" fmla="*/ 856804 h 1398256"/>
                    <a:gd name="connsiteX410" fmla="*/ 381952 w 2371304"/>
                    <a:gd name="connsiteY410" fmla="*/ 868619 h 1398256"/>
                    <a:gd name="connsiteX411" fmla="*/ 354304 w 2371304"/>
                    <a:gd name="connsiteY411" fmla="*/ 858325 h 1398256"/>
                    <a:gd name="connsiteX412" fmla="*/ 354076 w 2371304"/>
                    <a:gd name="connsiteY412" fmla="*/ 874526 h 1398256"/>
                    <a:gd name="connsiteX413" fmla="*/ 378466 w 2371304"/>
                    <a:gd name="connsiteY413" fmla="*/ 875236 h 1398256"/>
                    <a:gd name="connsiteX414" fmla="*/ 389887 w 2371304"/>
                    <a:gd name="connsiteY414" fmla="*/ 884262 h 1398256"/>
                    <a:gd name="connsiteX415" fmla="*/ 399027 w 2371304"/>
                    <a:gd name="connsiteY415" fmla="*/ 880826 h 1398256"/>
                    <a:gd name="connsiteX416" fmla="*/ 406785 w 2371304"/>
                    <a:gd name="connsiteY416" fmla="*/ 882652 h 1398256"/>
                    <a:gd name="connsiteX417" fmla="*/ 387212 w 2371304"/>
                    <a:gd name="connsiteY417" fmla="*/ 906940 h 1398256"/>
                    <a:gd name="connsiteX418" fmla="*/ 373877 w 2371304"/>
                    <a:gd name="connsiteY418" fmla="*/ 905000 h 1398256"/>
                    <a:gd name="connsiteX419" fmla="*/ 358513 w 2371304"/>
                    <a:gd name="connsiteY419" fmla="*/ 901768 h 1398256"/>
                    <a:gd name="connsiteX420" fmla="*/ 333933 w 2371304"/>
                    <a:gd name="connsiteY420" fmla="*/ 907143 h 1398256"/>
                    <a:gd name="connsiteX421" fmla="*/ 327531 w 2371304"/>
                    <a:gd name="connsiteY421" fmla="*/ 883539 h 1398256"/>
                    <a:gd name="connsiteX422" fmla="*/ 327607 w 2371304"/>
                    <a:gd name="connsiteY422" fmla="*/ 900487 h 1398256"/>
                    <a:gd name="connsiteX423" fmla="*/ 323475 w 2371304"/>
                    <a:gd name="connsiteY423" fmla="*/ 929567 h 1398256"/>
                    <a:gd name="connsiteX424" fmla="*/ 324502 w 2371304"/>
                    <a:gd name="connsiteY424" fmla="*/ 934270 h 1398256"/>
                    <a:gd name="connsiteX425" fmla="*/ 318696 w 2371304"/>
                    <a:gd name="connsiteY425" fmla="*/ 934651 h 1398256"/>
                    <a:gd name="connsiteX426" fmla="*/ 308834 w 2371304"/>
                    <a:gd name="connsiteY426" fmla="*/ 942776 h 1398256"/>
                    <a:gd name="connsiteX427" fmla="*/ 303142 w 2371304"/>
                    <a:gd name="connsiteY427" fmla="*/ 944044 h 1398256"/>
                    <a:gd name="connsiteX428" fmla="*/ 293571 w 2371304"/>
                    <a:gd name="connsiteY428" fmla="*/ 936172 h 1398256"/>
                    <a:gd name="connsiteX429" fmla="*/ 303243 w 2371304"/>
                    <a:gd name="connsiteY429" fmla="*/ 918006 h 1398256"/>
                    <a:gd name="connsiteX430" fmla="*/ 289489 w 2371304"/>
                    <a:gd name="connsiteY430" fmla="*/ 918273 h 1398256"/>
                    <a:gd name="connsiteX431" fmla="*/ 273682 w 2371304"/>
                    <a:gd name="connsiteY431" fmla="*/ 917778 h 1398256"/>
                    <a:gd name="connsiteX432" fmla="*/ 265898 w 2371304"/>
                    <a:gd name="connsiteY432" fmla="*/ 920669 h 1398256"/>
                    <a:gd name="connsiteX433" fmla="*/ 256695 w 2371304"/>
                    <a:gd name="connsiteY433" fmla="*/ 927603 h 1398256"/>
                    <a:gd name="connsiteX434" fmla="*/ 247111 w 2371304"/>
                    <a:gd name="connsiteY434" fmla="*/ 956087 h 1398256"/>
                    <a:gd name="connsiteX435" fmla="*/ 203973 w 2371304"/>
                    <a:gd name="connsiteY435" fmla="*/ 964631 h 1398256"/>
                    <a:gd name="connsiteX436" fmla="*/ 151911 w 2371304"/>
                    <a:gd name="connsiteY436" fmla="*/ 978664 h 1398256"/>
                    <a:gd name="connsiteX437" fmla="*/ 53985 w 2371304"/>
                    <a:gd name="connsiteY437" fmla="*/ 1006058 h 1398256"/>
                    <a:gd name="connsiteX438" fmla="*/ 53985 w 2371304"/>
                    <a:gd name="connsiteY438" fmla="*/ 1006058 h 1398256"/>
                    <a:gd name="connsiteX439" fmla="*/ 53959 w 2371304"/>
                    <a:gd name="connsiteY439" fmla="*/ 1006070 h 1398256"/>
                    <a:gd name="connsiteX440" fmla="*/ 53947 w 2371304"/>
                    <a:gd name="connsiteY440" fmla="*/ 1006083 h 1398256"/>
                    <a:gd name="connsiteX441" fmla="*/ 54010 w 2371304"/>
                    <a:gd name="connsiteY441" fmla="*/ 1006083 h 1398256"/>
                    <a:gd name="connsiteX442" fmla="*/ 54010 w 2371304"/>
                    <a:gd name="connsiteY442" fmla="*/ 1006083 h 1398256"/>
                    <a:gd name="connsiteX443" fmla="*/ 53985 w 2371304"/>
                    <a:gd name="connsiteY443" fmla="*/ 1006108 h 1398256"/>
                    <a:gd name="connsiteX444" fmla="*/ 53947 w 2371304"/>
                    <a:gd name="connsiteY444" fmla="*/ 1006134 h 1398256"/>
                    <a:gd name="connsiteX445" fmla="*/ 53921 w 2371304"/>
                    <a:gd name="connsiteY445" fmla="*/ 1006184 h 1398256"/>
                    <a:gd name="connsiteX446" fmla="*/ 53909 w 2371304"/>
                    <a:gd name="connsiteY446" fmla="*/ 1006210 h 1398256"/>
                    <a:gd name="connsiteX447" fmla="*/ 53909 w 2371304"/>
                    <a:gd name="connsiteY447" fmla="*/ 1006311 h 1398256"/>
                    <a:gd name="connsiteX448" fmla="*/ 54111 w 2371304"/>
                    <a:gd name="connsiteY448" fmla="*/ 1334075 h 1398256"/>
                    <a:gd name="connsiteX449" fmla="*/ 7107 w 2371304"/>
                    <a:gd name="connsiteY449" fmla="*/ 1327560 h 1398256"/>
                    <a:gd name="connsiteX450" fmla="*/ 616 w 2371304"/>
                    <a:gd name="connsiteY450" fmla="*/ 1319028 h 1398256"/>
                    <a:gd name="connsiteX451" fmla="*/ 629 w 2371304"/>
                    <a:gd name="connsiteY451" fmla="*/ 1301801 h 1398256"/>
                    <a:gd name="connsiteX452" fmla="*/ 629 w 2371304"/>
                    <a:gd name="connsiteY452" fmla="*/ 1123949 h 1398256"/>
                    <a:gd name="connsiteX453" fmla="*/ 629 w 2371304"/>
                    <a:gd name="connsiteY453" fmla="*/ 602285 h 1398256"/>
                    <a:gd name="connsiteX454" fmla="*/ 616 w 2371304"/>
                    <a:gd name="connsiteY454" fmla="*/ 472084 h 1398256"/>
                    <a:gd name="connsiteX455" fmla="*/ 616 w 2371304"/>
                    <a:gd name="connsiteY455" fmla="*/ 472084 h 1398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Lst>
                  <a:rect l="l" t="t" r="r" b="b"/>
                  <a:pathLst>
                    <a:path w="2371304" h="1398256">
                      <a:moveTo>
                        <a:pt x="294496" y="942434"/>
                      </a:moveTo>
                      <a:cubicBezTo>
                        <a:pt x="303281" y="946199"/>
                        <a:pt x="304942" y="955288"/>
                        <a:pt x="306260" y="961969"/>
                      </a:cubicBezTo>
                      <a:cubicBezTo>
                        <a:pt x="308466" y="973225"/>
                        <a:pt x="308783" y="982657"/>
                        <a:pt x="310279" y="993153"/>
                      </a:cubicBezTo>
                      <a:cubicBezTo>
                        <a:pt x="292975" y="983050"/>
                        <a:pt x="275722" y="972883"/>
                        <a:pt x="258432" y="962780"/>
                      </a:cubicBezTo>
                      <a:cubicBezTo>
                        <a:pt x="261651" y="955592"/>
                        <a:pt x="271108" y="954337"/>
                        <a:pt x="274429" y="947391"/>
                      </a:cubicBezTo>
                      <a:cubicBezTo>
                        <a:pt x="277117" y="941699"/>
                        <a:pt x="272300" y="935297"/>
                        <a:pt x="279665" y="934270"/>
                      </a:cubicBezTo>
                      <a:cubicBezTo>
                        <a:pt x="279107" y="936147"/>
                        <a:pt x="278030" y="944830"/>
                        <a:pt x="282048" y="942890"/>
                      </a:cubicBezTo>
                      <a:cubicBezTo>
                        <a:pt x="283417" y="942244"/>
                        <a:pt x="284380" y="933041"/>
                        <a:pt x="284799" y="931532"/>
                      </a:cubicBezTo>
                      <a:cubicBezTo>
                        <a:pt x="288767" y="933713"/>
                        <a:pt x="292316" y="937921"/>
                        <a:pt x="294496" y="942434"/>
                      </a:cubicBezTo>
                      <a:lnTo>
                        <a:pt x="294496" y="942434"/>
                      </a:lnTo>
                      <a:close/>
                      <a:moveTo>
                        <a:pt x="616" y="472084"/>
                      </a:moveTo>
                      <a:cubicBezTo>
                        <a:pt x="5801" y="478182"/>
                        <a:pt x="9655" y="473377"/>
                        <a:pt x="15410" y="475520"/>
                      </a:cubicBezTo>
                      <a:cubicBezTo>
                        <a:pt x="19340" y="476977"/>
                        <a:pt x="21343" y="481135"/>
                        <a:pt x="25133" y="483341"/>
                      </a:cubicBezTo>
                      <a:cubicBezTo>
                        <a:pt x="33829" y="488412"/>
                        <a:pt x="33385" y="486130"/>
                        <a:pt x="42677" y="480502"/>
                      </a:cubicBezTo>
                      <a:cubicBezTo>
                        <a:pt x="51817" y="474949"/>
                        <a:pt x="59245" y="472756"/>
                        <a:pt x="64012" y="463109"/>
                      </a:cubicBezTo>
                      <a:cubicBezTo>
                        <a:pt x="64937" y="461233"/>
                        <a:pt x="64823" y="453120"/>
                        <a:pt x="67396" y="451662"/>
                      </a:cubicBezTo>
                      <a:cubicBezTo>
                        <a:pt x="70185" y="450065"/>
                        <a:pt x="73697" y="454996"/>
                        <a:pt x="76498" y="454020"/>
                      </a:cubicBezTo>
                      <a:cubicBezTo>
                        <a:pt x="79933" y="452816"/>
                        <a:pt x="84180" y="448506"/>
                        <a:pt x="85486" y="446237"/>
                      </a:cubicBezTo>
                      <a:cubicBezTo>
                        <a:pt x="86868" y="443854"/>
                        <a:pt x="86082" y="436945"/>
                        <a:pt x="90493" y="435791"/>
                      </a:cubicBezTo>
                      <a:cubicBezTo>
                        <a:pt x="96071" y="434346"/>
                        <a:pt x="99227" y="446566"/>
                        <a:pt x="107999" y="445362"/>
                      </a:cubicBezTo>
                      <a:cubicBezTo>
                        <a:pt x="101598" y="434296"/>
                        <a:pt x="110471" y="437376"/>
                        <a:pt x="115846" y="436958"/>
                      </a:cubicBezTo>
                      <a:cubicBezTo>
                        <a:pt x="120727" y="436577"/>
                        <a:pt x="137244" y="432191"/>
                        <a:pt x="139830" y="433218"/>
                      </a:cubicBezTo>
                      <a:cubicBezTo>
                        <a:pt x="149718" y="437110"/>
                        <a:pt x="150263" y="456936"/>
                        <a:pt x="165982" y="455415"/>
                      </a:cubicBezTo>
                      <a:cubicBezTo>
                        <a:pt x="167718" y="455250"/>
                        <a:pt x="168390" y="450864"/>
                        <a:pt x="170710" y="450357"/>
                      </a:cubicBezTo>
                      <a:cubicBezTo>
                        <a:pt x="177315" y="448962"/>
                        <a:pt x="179964" y="455440"/>
                        <a:pt x="184135" y="448468"/>
                      </a:cubicBezTo>
                      <a:cubicBezTo>
                        <a:pt x="191259" y="436565"/>
                        <a:pt x="177238" y="432217"/>
                        <a:pt x="195024" y="432432"/>
                      </a:cubicBezTo>
                      <a:cubicBezTo>
                        <a:pt x="199131" y="432495"/>
                        <a:pt x="208727" y="435589"/>
                        <a:pt x="210654" y="435335"/>
                      </a:cubicBezTo>
                      <a:cubicBezTo>
                        <a:pt x="213126" y="435018"/>
                        <a:pt x="215027" y="436374"/>
                        <a:pt x="217879" y="435665"/>
                      </a:cubicBezTo>
                      <a:cubicBezTo>
                        <a:pt x="219679" y="435221"/>
                        <a:pt x="219223" y="430328"/>
                        <a:pt x="222519" y="429593"/>
                      </a:cubicBezTo>
                      <a:cubicBezTo>
                        <a:pt x="228363" y="428287"/>
                        <a:pt x="226030" y="430379"/>
                        <a:pt x="230619" y="431912"/>
                      </a:cubicBezTo>
                      <a:cubicBezTo>
                        <a:pt x="231164" y="432102"/>
                        <a:pt x="230949" y="435411"/>
                        <a:pt x="232610" y="436108"/>
                      </a:cubicBezTo>
                      <a:cubicBezTo>
                        <a:pt x="235893" y="437490"/>
                        <a:pt x="240507" y="434993"/>
                        <a:pt x="243625" y="437084"/>
                      </a:cubicBezTo>
                      <a:cubicBezTo>
                        <a:pt x="253108" y="443423"/>
                        <a:pt x="243245" y="446909"/>
                        <a:pt x="244589" y="453716"/>
                      </a:cubicBezTo>
                      <a:cubicBezTo>
                        <a:pt x="244335" y="452461"/>
                        <a:pt x="253336" y="461690"/>
                        <a:pt x="251155" y="460422"/>
                      </a:cubicBezTo>
                      <a:cubicBezTo>
                        <a:pt x="251764" y="460777"/>
                        <a:pt x="258241" y="462336"/>
                        <a:pt x="258267" y="462374"/>
                      </a:cubicBezTo>
                      <a:cubicBezTo>
                        <a:pt x="268624" y="471653"/>
                        <a:pt x="270994" y="471362"/>
                        <a:pt x="286117" y="474708"/>
                      </a:cubicBezTo>
                      <a:cubicBezTo>
                        <a:pt x="288526" y="475241"/>
                        <a:pt x="294002" y="477725"/>
                        <a:pt x="295485" y="477966"/>
                      </a:cubicBezTo>
                      <a:cubicBezTo>
                        <a:pt x="299542" y="478625"/>
                        <a:pt x="305398" y="477206"/>
                        <a:pt x="309936" y="478220"/>
                      </a:cubicBezTo>
                      <a:cubicBezTo>
                        <a:pt x="327227" y="482035"/>
                        <a:pt x="310836" y="486650"/>
                        <a:pt x="311445" y="489464"/>
                      </a:cubicBezTo>
                      <a:cubicBezTo>
                        <a:pt x="312662" y="495181"/>
                        <a:pt x="333718" y="487828"/>
                        <a:pt x="337051" y="485521"/>
                      </a:cubicBezTo>
                      <a:cubicBezTo>
                        <a:pt x="344898" y="480070"/>
                        <a:pt x="342794" y="471387"/>
                        <a:pt x="345874" y="464643"/>
                      </a:cubicBezTo>
                      <a:cubicBezTo>
                        <a:pt x="348321" y="459306"/>
                        <a:pt x="352377" y="453285"/>
                        <a:pt x="359552" y="456949"/>
                      </a:cubicBezTo>
                      <a:cubicBezTo>
                        <a:pt x="363761" y="459091"/>
                        <a:pt x="362747" y="465923"/>
                        <a:pt x="366841" y="469638"/>
                      </a:cubicBezTo>
                      <a:cubicBezTo>
                        <a:pt x="376260" y="478156"/>
                        <a:pt x="401347" y="477041"/>
                        <a:pt x="413149" y="474822"/>
                      </a:cubicBezTo>
                      <a:cubicBezTo>
                        <a:pt x="427562" y="472097"/>
                        <a:pt x="452573" y="468776"/>
                        <a:pt x="457998" y="454540"/>
                      </a:cubicBezTo>
                      <a:cubicBezTo>
                        <a:pt x="462308" y="443245"/>
                        <a:pt x="457529" y="418754"/>
                        <a:pt x="474427" y="417296"/>
                      </a:cubicBezTo>
                      <a:cubicBezTo>
                        <a:pt x="464159" y="415534"/>
                        <a:pt x="465858" y="405393"/>
                        <a:pt x="459050" y="400665"/>
                      </a:cubicBezTo>
                      <a:cubicBezTo>
                        <a:pt x="454918" y="397787"/>
                        <a:pt x="448237" y="397369"/>
                        <a:pt x="443484" y="396760"/>
                      </a:cubicBezTo>
                      <a:cubicBezTo>
                        <a:pt x="435256" y="395708"/>
                        <a:pt x="417421" y="397191"/>
                        <a:pt x="420716" y="382842"/>
                      </a:cubicBezTo>
                      <a:cubicBezTo>
                        <a:pt x="408167" y="382550"/>
                        <a:pt x="395465" y="382880"/>
                        <a:pt x="386224" y="378798"/>
                      </a:cubicBezTo>
                      <a:cubicBezTo>
                        <a:pt x="371227" y="372155"/>
                        <a:pt x="383055" y="378253"/>
                        <a:pt x="384766" y="368023"/>
                      </a:cubicBezTo>
                      <a:cubicBezTo>
                        <a:pt x="386858" y="355600"/>
                        <a:pt x="342008" y="363992"/>
                        <a:pt x="351680" y="345420"/>
                      </a:cubicBezTo>
                      <a:cubicBezTo>
                        <a:pt x="364648" y="345420"/>
                        <a:pt x="365878" y="344356"/>
                        <a:pt x="376019" y="336876"/>
                      </a:cubicBezTo>
                      <a:cubicBezTo>
                        <a:pt x="383904" y="331071"/>
                        <a:pt x="387834" y="332478"/>
                        <a:pt x="396124" y="330449"/>
                      </a:cubicBezTo>
                      <a:cubicBezTo>
                        <a:pt x="407520" y="327648"/>
                        <a:pt x="417547" y="318204"/>
                        <a:pt x="428310" y="311688"/>
                      </a:cubicBezTo>
                      <a:cubicBezTo>
                        <a:pt x="423822" y="308430"/>
                        <a:pt x="424519" y="304387"/>
                        <a:pt x="421959" y="301268"/>
                      </a:cubicBezTo>
                      <a:cubicBezTo>
                        <a:pt x="420869" y="299950"/>
                        <a:pt x="414936" y="294968"/>
                        <a:pt x="414682" y="294575"/>
                      </a:cubicBezTo>
                      <a:cubicBezTo>
                        <a:pt x="414657" y="294524"/>
                        <a:pt x="410854" y="285194"/>
                        <a:pt x="411627" y="285904"/>
                      </a:cubicBezTo>
                      <a:cubicBezTo>
                        <a:pt x="411501" y="285777"/>
                        <a:pt x="404693" y="281379"/>
                        <a:pt x="405644" y="282925"/>
                      </a:cubicBezTo>
                      <a:cubicBezTo>
                        <a:pt x="400954" y="275345"/>
                        <a:pt x="400358" y="277424"/>
                        <a:pt x="407850" y="270173"/>
                      </a:cubicBezTo>
                      <a:cubicBezTo>
                        <a:pt x="413542" y="264671"/>
                        <a:pt x="422884" y="258599"/>
                        <a:pt x="429691" y="253503"/>
                      </a:cubicBezTo>
                      <a:cubicBezTo>
                        <a:pt x="427473" y="252248"/>
                        <a:pt x="425812" y="249611"/>
                        <a:pt x="423493" y="248622"/>
                      </a:cubicBezTo>
                      <a:cubicBezTo>
                        <a:pt x="429869" y="249599"/>
                        <a:pt x="432493" y="245035"/>
                        <a:pt x="436942" y="244807"/>
                      </a:cubicBezTo>
                      <a:cubicBezTo>
                        <a:pt x="441912" y="244553"/>
                        <a:pt x="446146" y="247038"/>
                        <a:pt x="451216" y="247279"/>
                      </a:cubicBezTo>
                      <a:cubicBezTo>
                        <a:pt x="453954" y="247406"/>
                        <a:pt x="455678" y="243273"/>
                        <a:pt x="458518" y="243641"/>
                      </a:cubicBezTo>
                      <a:cubicBezTo>
                        <a:pt x="462435" y="244173"/>
                        <a:pt x="464400" y="249282"/>
                        <a:pt x="467797" y="250156"/>
                      </a:cubicBezTo>
                      <a:cubicBezTo>
                        <a:pt x="473020" y="251475"/>
                        <a:pt x="479726" y="246848"/>
                        <a:pt x="486001" y="247938"/>
                      </a:cubicBezTo>
                      <a:cubicBezTo>
                        <a:pt x="493201" y="249206"/>
                        <a:pt x="500452" y="256368"/>
                        <a:pt x="506220" y="246544"/>
                      </a:cubicBezTo>
                      <a:cubicBezTo>
                        <a:pt x="510302" y="239622"/>
                        <a:pt x="506955" y="236440"/>
                        <a:pt x="501884" y="233144"/>
                      </a:cubicBezTo>
                      <a:cubicBezTo>
                        <a:pt x="497422" y="230216"/>
                        <a:pt x="489550" y="232219"/>
                        <a:pt x="484467" y="229810"/>
                      </a:cubicBezTo>
                      <a:cubicBezTo>
                        <a:pt x="481222" y="228264"/>
                        <a:pt x="476544" y="222268"/>
                        <a:pt x="473641" y="221723"/>
                      </a:cubicBezTo>
                      <a:cubicBezTo>
                        <a:pt x="470523" y="221140"/>
                        <a:pt x="467734" y="225412"/>
                        <a:pt x="464552" y="224816"/>
                      </a:cubicBezTo>
                      <a:cubicBezTo>
                        <a:pt x="459798" y="223929"/>
                        <a:pt x="456769" y="220658"/>
                        <a:pt x="452154" y="219226"/>
                      </a:cubicBezTo>
                      <a:cubicBezTo>
                        <a:pt x="445867" y="217286"/>
                        <a:pt x="436372" y="220709"/>
                        <a:pt x="435206" y="211024"/>
                      </a:cubicBezTo>
                      <a:cubicBezTo>
                        <a:pt x="434940" y="208780"/>
                        <a:pt x="441823" y="195761"/>
                        <a:pt x="442736" y="195559"/>
                      </a:cubicBezTo>
                      <a:cubicBezTo>
                        <a:pt x="449213" y="193987"/>
                        <a:pt x="448503" y="201884"/>
                        <a:pt x="453574" y="202252"/>
                      </a:cubicBezTo>
                      <a:cubicBezTo>
                        <a:pt x="459633" y="202708"/>
                        <a:pt x="467227" y="195166"/>
                        <a:pt x="464970" y="190374"/>
                      </a:cubicBezTo>
                      <a:cubicBezTo>
                        <a:pt x="460343" y="180626"/>
                        <a:pt x="452573" y="191020"/>
                        <a:pt x="447439" y="191413"/>
                      </a:cubicBezTo>
                      <a:cubicBezTo>
                        <a:pt x="438958" y="192034"/>
                        <a:pt x="436372" y="186964"/>
                        <a:pt x="430630" y="185405"/>
                      </a:cubicBezTo>
                      <a:cubicBezTo>
                        <a:pt x="426484" y="184276"/>
                        <a:pt x="420831" y="186026"/>
                        <a:pt x="417459" y="183478"/>
                      </a:cubicBezTo>
                      <a:cubicBezTo>
                        <a:pt x="412312" y="179561"/>
                        <a:pt x="424583" y="181120"/>
                        <a:pt x="423924" y="181665"/>
                      </a:cubicBezTo>
                      <a:cubicBezTo>
                        <a:pt x="427384" y="178864"/>
                        <a:pt x="431872" y="175923"/>
                        <a:pt x="434762" y="171042"/>
                      </a:cubicBezTo>
                      <a:cubicBezTo>
                        <a:pt x="439199" y="163525"/>
                        <a:pt x="442114" y="166770"/>
                        <a:pt x="434826" y="160964"/>
                      </a:cubicBezTo>
                      <a:cubicBezTo>
                        <a:pt x="431263" y="158099"/>
                        <a:pt x="419424" y="158581"/>
                        <a:pt x="424329" y="152230"/>
                      </a:cubicBezTo>
                      <a:cubicBezTo>
                        <a:pt x="429476" y="145562"/>
                        <a:pt x="451749" y="161433"/>
                        <a:pt x="439643" y="143712"/>
                      </a:cubicBezTo>
                      <a:cubicBezTo>
                        <a:pt x="447299" y="143712"/>
                        <a:pt x="447679" y="138172"/>
                        <a:pt x="456211" y="139909"/>
                      </a:cubicBezTo>
                      <a:cubicBezTo>
                        <a:pt x="457643" y="140187"/>
                        <a:pt x="463829" y="145309"/>
                        <a:pt x="466187" y="146310"/>
                      </a:cubicBezTo>
                      <a:cubicBezTo>
                        <a:pt x="469648" y="147793"/>
                        <a:pt x="466010" y="148427"/>
                        <a:pt x="470700" y="148896"/>
                      </a:cubicBezTo>
                      <a:cubicBezTo>
                        <a:pt x="470687" y="148896"/>
                        <a:pt x="481767" y="144916"/>
                        <a:pt x="484391" y="145651"/>
                      </a:cubicBezTo>
                      <a:cubicBezTo>
                        <a:pt x="490894" y="147476"/>
                        <a:pt x="487496" y="153333"/>
                        <a:pt x="499526" y="152408"/>
                      </a:cubicBezTo>
                      <a:cubicBezTo>
                        <a:pt x="495064" y="138007"/>
                        <a:pt x="528581" y="138932"/>
                        <a:pt x="532219" y="144079"/>
                      </a:cubicBezTo>
                      <a:cubicBezTo>
                        <a:pt x="533740" y="146234"/>
                        <a:pt x="527009" y="148060"/>
                        <a:pt x="528771" y="152281"/>
                      </a:cubicBezTo>
                      <a:cubicBezTo>
                        <a:pt x="529012" y="152902"/>
                        <a:pt x="537125" y="158683"/>
                        <a:pt x="538063" y="158467"/>
                      </a:cubicBezTo>
                      <a:cubicBezTo>
                        <a:pt x="540839" y="157859"/>
                        <a:pt x="540839" y="141886"/>
                        <a:pt x="543996" y="139237"/>
                      </a:cubicBezTo>
                      <a:cubicBezTo>
                        <a:pt x="553047" y="131656"/>
                        <a:pt x="568512" y="141772"/>
                        <a:pt x="577512" y="136714"/>
                      </a:cubicBezTo>
                      <a:cubicBezTo>
                        <a:pt x="579566" y="135586"/>
                        <a:pt x="582431" y="130566"/>
                        <a:pt x="581658" y="130997"/>
                      </a:cubicBezTo>
                      <a:cubicBezTo>
                        <a:pt x="586094" y="128639"/>
                        <a:pt x="587425" y="129159"/>
                        <a:pt x="595323" y="128652"/>
                      </a:cubicBezTo>
                      <a:cubicBezTo>
                        <a:pt x="605515" y="128005"/>
                        <a:pt x="616581" y="119715"/>
                        <a:pt x="626900" y="120336"/>
                      </a:cubicBezTo>
                      <a:cubicBezTo>
                        <a:pt x="635317" y="120856"/>
                        <a:pt x="640857" y="130148"/>
                        <a:pt x="648324" y="121059"/>
                      </a:cubicBezTo>
                      <a:cubicBezTo>
                        <a:pt x="650593" y="118295"/>
                        <a:pt x="643544" y="117066"/>
                        <a:pt x="647119" y="113402"/>
                      </a:cubicBezTo>
                      <a:cubicBezTo>
                        <a:pt x="645370" y="115177"/>
                        <a:pt x="654269" y="112717"/>
                        <a:pt x="654053" y="112781"/>
                      </a:cubicBezTo>
                      <a:cubicBezTo>
                        <a:pt x="660810" y="111108"/>
                        <a:pt x="668644" y="111310"/>
                        <a:pt x="675413" y="110322"/>
                      </a:cubicBezTo>
                      <a:cubicBezTo>
                        <a:pt x="679216" y="109776"/>
                        <a:pt x="680813" y="108648"/>
                        <a:pt x="684059" y="108483"/>
                      </a:cubicBezTo>
                      <a:cubicBezTo>
                        <a:pt x="685440" y="108407"/>
                        <a:pt x="688166" y="106874"/>
                        <a:pt x="689079" y="106937"/>
                      </a:cubicBezTo>
                      <a:cubicBezTo>
                        <a:pt x="691677" y="107165"/>
                        <a:pt x="694339" y="111348"/>
                        <a:pt x="697103" y="111298"/>
                      </a:cubicBezTo>
                      <a:cubicBezTo>
                        <a:pt x="703175" y="111209"/>
                        <a:pt x="709031" y="104402"/>
                        <a:pt x="714394" y="104833"/>
                      </a:cubicBezTo>
                      <a:cubicBezTo>
                        <a:pt x="721568" y="105390"/>
                        <a:pt x="723191" y="114163"/>
                        <a:pt x="729986" y="114416"/>
                      </a:cubicBezTo>
                      <a:cubicBezTo>
                        <a:pt x="742320" y="114860"/>
                        <a:pt x="731469" y="100497"/>
                        <a:pt x="735627" y="93931"/>
                      </a:cubicBezTo>
                      <a:cubicBezTo>
                        <a:pt x="738314" y="89684"/>
                        <a:pt x="744412" y="90660"/>
                        <a:pt x="748354" y="88607"/>
                      </a:cubicBezTo>
                      <a:cubicBezTo>
                        <a:pt x="749862" y="87846"/>
                        <a:pt x="752309" y="90217"/>
                        <a:pt x="754185" y="89202"/>
                      </a:cubicBezTo>
                      <a:cubicBezTo>
                        <a:pt x="756277" y="88074"/>
                        <a:pt x="752436" y="82775"/>
                        <a:pt x="754299" y="81977"/>
                      </a:cubicBezTo>
                      <a:cubicBezTo>
                        <a:pt x="760840" y="79137"/>
                        <a:pt x="767952" y="86540"/>
                        <a:pt x="773770" y="85057"/>
                      </a:cubicBezTo>
                      <a:cubicBezTo>
                        <a:pt x="778676" y="83802"/>
                        <a:pt x="779006" y="78465"/>
                        <a:pt x="783316" y="76716"/>
                      </a:cubicBezTo>
                      <a:cubicBezTo>
                        <a:pt x="797273" y="71037"/>
                        <a:pt x="785357" y="80506"/>
                        <a:pt x="792633" y="82763"/>
                      </a:cubicBezTo>
                      <a:cubicBezTo>
                        <a:pt x="797742" y="84335"/>
                        <a:pt x="811787" y="78212"/>
                        <a:pt x="817213" y="76627"/>
                      </a:cubicBezTo>
                      <a:cubicBezTo>
                        <a:pt x="825605" y="74168"/>
                        <a:pt x="832361" y="74612"/>
                        <a:pt x="840614" y="73167"/>
                      </a:cubicBezTo>
                      <a:cubicBezTo>
                        <a:pt x="845583" y="72292"/>
                        <a:pt x="848422" y="69655"/>
                        <a:pt x="852732" y="68679"/>
                      </a:cubicBezTo>
                      <a:cubicBezTo>
                        <a:pt x="859958" y="67069"/>
                        <a:pt x="867729" y="67044"/>
                        <a:pt x="874980" y="65472"/>
                      </a:cubicBezTo>
                      <a:cubicBezTo>
                        <a:pt x="878149" y="64788"/>
                        <a:pt x="881496" y="65814"/>
                        <a:pt x="884652" y="64711"/>
                      </a:cubicBezTo>
                      <a:cubicBezTo>
                        <a:pt x="886807" y="63951"/>
                        <a:pt x="887048" y="60401"/>
                        <a:pt x="888975" y="59818"/>
                      </a:cubicBezTo>
                      <a:cubicBezTo>
                        <a:pt x="895452" y="57853"/>
                        <a:pt x="903020" y="59654"/>
                        <a:pt x="910246" y="58817"/>
                      </a:cubicBezTo>
                      <a:cubicBezTo>
                        <a:pt x="920400" y="57625"/>
                        <a:pt x="921439" y="52187"/>
                        <a:pt x="929311" y="48891"/>
                      </a:cubicBezTo>
                      <a:cubicBezTo>
                        <a:pt x="941101" y="43947"/>
                        <a:pt x="949568" y="52124"/>
                        <a:pt x="959355" y="42540"/>
                      </a:cubicBezTo>
                      <a:cubicBezTo>
                        <a:pt x="968558" y="33553"/>
                        <a:pt x="958721" y="37013"/>
                        <a:pt x="955894" y="26542"/>
                      </a:cubicBezTo>
                      <a:cubicBezTo>
                        <a:pt x="969572" y="17555"/>
                        <a:pt x="983757" y="30637"/>
                        <a:pt x="993062" y="15222"/>
                      </a:cubicBezTo>
                      <a:cubicBezTo>
                        <a:pt x="996548" y="9454"/>
                        <a:pt x="992377" y="4219"/>
                        <a:pt x="1004040" y="8973"/>
                      </a:cubicBezTo>
                      <a:cubicBezTo>
                        <a:pt x="1008717" y="10874"/>
                        <a:pt x="1015017" y="22410"/>
                        <a:pt x="1015245" y="10431"/>
                      </a:cubicBezTo>
                      <a:cubicBezTo>
                        <a:pt x="1015360" y="5221"/>
                        <a:pt x="1001542" y="-3311"/>
                        <a:pt x="1019125" y="1341"/>
                      </a:cubicBezTo>
                      <a:cubicBezTo>
                        <a:pt x="1022839" y="2330"/>
                        <a:pt x="1028416" y="9302"/>
                        <a:pt x="1029659" y="9518"/>
                      </a:cubicBezTo>
                      <a:cubicBezTo>
                        <a:pt x="1034552" y="10304"/>
                        <a:pt x="1036225" y="5018"/>
                        <a:pt x="1041461" y="4523"/>
                      </a:cubicBezTo>
                      <a:cubicBezTo>
                        <a:pt x="1051627" y="3535"/>
                        <a:pt x="1070515" y="10862"/>
                        <a:pt x="1078882" y="16541"/>
                      </a:cubicBezTo>
                      <a:cubicBezTo>
                        <a:pt x="1086120" y="21446"/>
                        <a:pt x="1098670" y="30675"/>
                        <a:pt x="1107759" y="29521"/>
                      </a:cubicBezTo>
                      <a:cubicBezTo>
                        <a:pt x="1114858" y="28634"/>
                        <a:pt x="1119751" y="17441"/>
                        <a:pt x="1125290" y="14753"/>
                      </a:cubicBezTo>
                      <a:cubicBezTo>
                        <a:pt x="1124378" y="15197"/>
                        <a:pt x="1135432" y="14741"/>
                        <a:pt x="1136192" y="14665"/>
                      </a:cubicBezTo>
                      <a:cubicBezTo>
                        <a:pt x="1141973" y="14043"/>
                        <a:pt x="1144597" y="10557"/>
                        <a:pt x="1151277" y="13879"/>
                      </a:cubicBezTo>
                      <a:cubicBezTo>
                        <a:pt x="1143431" y="21700"/>
                        <a:pt x="1158909" y="26593"/>
                        <a:pt x="1161621" y="33223"/>
                      </a:cubicBezTo>
                      <a:cubicBezTo>
                        <a:pt x="1163700" y="38243"/>
                        <a:pt x="1162509" y="44518"/>
                        <a:pt x="1162674" y="49436"/>
                      </a:cubicBezTo>
                      <a:cubicBezTo>
                        <a:pt x="1162826" y="54545"/>
                        <a:pt x="1160341" y="62100"/>
                        <a:pt x="1165057" y="67069"/>
                      </a:cubicBezTo>
                      <a:cubicBezTo>
                        <a:pt x="1169887" y="72165"/>
                        <a:pt x="1182170" y="69541"/>
                        <a:pt x="1183704" y="77464"/>
                      </a:cubicBezTo>
                      <a:cubicBezTo>
                        <a:pt x="1184490" y="81660"/>
                        <a:pt x="1182588" y="80304"/>
                        <a:pt x="1181587" y="83016"/>
                      </a:cubicBezTo>
                      <a:cubicBezTo>
                        <a:pt x="1179711" y="88150"/>
                        <a:pt x="1175553" y="84322"/>
                        <a:pt x="1175363" y="93855"/>
                      </a:cubicBezTo>
                      <a:cubicBezTo>
                        <a:pt x="1175287" y="98596"/>
                        <a:pt x="1179483" y="103413"/>
                        <a:pt x="1179140" y="106823"/>
                      </a:cubicBezTo>
                      <a:cubicBezTo>
                        <a:pt x="1177645" y="121654"/>
                        <a:pt x="1170799" y="107419"/>
                        <a:pt x="1163941" y="112286"/>
                      </a:cubicBezTo>
                      <a:cubicBezTo>
                        <a:pt x="1158186" y="116381"/>
                        <a:pt x="1167224" y="118016"/>
                        <a:pt x="1167427" y="118511"/>
                      </a:cubicBezTo>
                      <a:cubicBezTo>
                        <a:pt x="1167833" y="119537"/>
                        <a:pt x="1167846" y="125686"/>
                        <a:pt x="1168124" y="126079"/>
                      </a:cubicBezTo>
                      <a:cubicBezTo>
                        <a:pt x="1167871" y="125749"/>
                        <a:pt x="1175756" y="134458"/>
                        <a:pt x="1175528" y="134407"/>
                      </a:cubicBezTo>
                      <a:cubicBezTo>
                        <a:pt x="1180345" y="135320"/>
                        <a:pt x="1179724" y="131783"/>
                        <a:pt x="1183717" y="130490"/>
                      </a:cubicBezTo>
                      <a:cubicBezTo>
                        <a:pt x="1189383" y="128639"/>
                        <a:pt x="1185542" y="125331"/>
                        <a:pt x="1192793" y="126497"/>
                      </a:cubicBezTo>
                      <a:cubicBezTo>
                        <a:pt x="1197699" y="127308"/>
                        <a:pt x="1200678" y="127879"/>
                        <a:pt x="1199854" y="134496"/>
                      </a:cubicBezTo>
                      <a:cubicBezTo>
                        <a:pt x="1205102" y="131669"/>
                        <a:pt x="1209894" y="136296"/>
                        <a:pt x="1213633" y="134077"/>
                      </a:cubicBezTo>
                      <a:cubicBezTo>
                        <a:pt x="1219502" y="130566"/>
                        <a:pt x="1214330" y="125191"/>
                        <a:pt x="1218767" y="121756"/>
                      </a:cubicBezTo>
                      <a:cubicBezTo>
                        <a:pt x="1230480" y="112667"/>
                        <a:pt x="1248722" y="136663"/>
                        <a:pt x="1252106" y="131035"/>
                      </a:cubicBezTo>
                      <a:cubicBezTo>
                        <a:pt x="1256201" y="124240"/>
                        <a:pt x="1245337" y="126395"/>
                        <a:pt x="1244120" y="123569"/>
                      </a:cubicBezTo>
                      <a:cubicBezTo>
                        <a:pt x="1243461" y="122022"/>
                        <a:pt x="1244995" y="117915"/>
                        <a:pt x="1244627" y="117205"/>
                      </a:cubicBezTo>
                      <a:cubicBezTo>
                        <a:pt x="1246263" y="120323"/>
                        <a:pt x="1243892" y="107026"/>
                        <a:pt x="1242561" y="111222"/>
                      </a:cubicBezTo>
                      <a:cubicBezTo>
                        <a:pt x="1243043" y="109700"/>
                        <a:pt x="1238631" y="109815"/>
                        <a:pt x="1241674" y="107330"/>
                      </a:cubicBezTo>
                      <a:cubicBezTo>
                        <a:pt x="1244031" y="105428"/>
                        <a:pt x="1251333" y="109244"/>
                        <a:pt x="1253526" y="110664"/>
                      </a:cubicBezTo>
                      <a:cubicBezTo>
                        <a:pt x="1258939" y="114213"/>
                        <a:pt x="1265252" y="122263"/>
                        <a:pt x="1260574" y="127549"/>
                      </a:cubicBezTo>
                      <a:cubicBezTo>
                        <a:pt x="1263946" y="128626"/>
                        <a:pt x="1273733" y="130224"/>
                        <a:pt x="1273745" y="133089"/>
                      </a:cubicBezTo>
                      <a:cubicBezTo>
                        <a:pt x="1273758" y="135789"/>
                        <a:pt x="1268776" y="133773"/>
                        <a:pt x="1268307" y="136524"/>
                      </a:cubicBezTo>
                      <a:cubicBezTo>
                        <a:pt x="1268485" y="135472"/>
                        <a:pt x="1265328" y="136283"/>
                        <a:pt x="1264872" y="137335"/>
                      </a:cubicBezTo>
                      <a:cubicBezTo>
                        <a:pt x="1264149" y="139034"/>
                        <a:pt x="1267344" y="140695"/>
                        <a:pt x="1267166" y="141544"/>
                      </a:cubicBezTo>
                      <a:cubicBezTo>
                        <a:pt x="1267737" y="138552"/>
                        <a:pt x="1268256" y="153549"/>
                        <a:pt x="1266634" y="150481"/>
                      </a:cubicBezTo>
                      <a:cubicBezTo>
                        <a:pt x="1271527" y="159659"/>
                        <a:pt x="1272744" y="151140"/>
                        <a:pt x="1280781" y="147958"/>
                      </a:cubicBezTo>
                      <a:cubicBezTo>
                        <a:pt x="1282986" y="147084"/>
                        <a:pt x="1295638" y="153891"/>
                        <a:pt x="1288792" y="144117"/>
                      </a:cubicBezTo>
                      <a:cubicBezTo>
                        <a:pt x="1285598" y="139554"/>
                        <a:pt x="1281858" y="138945"/>
                        <a:pt x="1276141" y="141164"/>
                      </a:cubicBezTo>
                      <a:cubicBezTo>
                        <a:pt x="1274911" y="129095"/>
                        <a:pt x="1301608" y="129805"/>
                        <a:pt x="1308669" y="133482"/>
                      </a:cubicBezTo>
                      <a:cubicBezTo>
                        <a:pt x="1311192" y="134800"/>
                        <a:pt x="1312650" y="140859"/>
                        <a:pt x="1314805" y="143141"/>
                      </a:cubicBezTo>
                      <a:cubicBezTo>
                        <a:pt x="1319267" y="147907"/>
                        <a:pt x="1322778" y="149784"/>
                        <a:pt x="1330929" y="150253"/>
                      </a:cubicBezTo>
                      <a:cubicBezTo>
                        <a:pt x="1339486" y="150747"/>
                        <a:pt x="1346027" y="150455"/>
                        <a:pt x="1350907" y="147527"/>
                      </a:cubicBezTo>
                      <a:cubicBezTo>
                        <a:pt x="1351693" y="147071"/>
                        <a:pt x="1357322" y="138717"/>
                        <a:pt x="1356041" y="139325"/>
                      </a:cubicBezTo>
                      <a:cubicBezTo>
                        <a:pt x="1360567" y="137221"/>
                        <a:pt x="1362443" y="139186"/>
                        <a:pt x="1367171" y="139718"/>
                      </a:cubicBezTo>
                      <a:cubicBezTo>
                        <a:pt x="1365777" y="146589"/>
                        <a:pt x="1366309" y="157111"/>
                        <a:pt x="1359312" y="159938"/>
                      </a:cubicBezTo>
                      <a:cubicBezTo>
                        <a:pt x="1351757" y="162993"/>
                        <a:pt x="1346635" y="153878"/>
                        <a:pt x="1341337" y="162878"/>
                      </a:cubicBezTo>
                      <a:cubicBezTo>
                        <a:pt x="1342477" y="163538"/>
                        <a:pt x="1343644" y="164209"/>
                        <a:pt x="1344784" y="164869"/>
                      </a:cubicBezTo>
                      <a:cubicBezTo>
                        <a:pt x="1337610" y="165388"/>
                        <a:pt x="1333262" y="174034"/>
                        <a:pt x="1331892" y="177672"/>
                      </a:cubicBezTo>
                      <a:cubicBezTo>
                        <a:pt x="1330143" y="182362"/>
                        <a:pt x="1330105" y="183364"/>
                        <a:pt x="1329446" y="188586"/>
                      </a:cubicBezTo>
                      <a:cubicBezTo>
                        <a:pt x="1333401" y="190323"/>
                        <a:pt x="1337369" y="192073"/>
                        <a:pt x="1341337" y="193809"/>
                      </a:cubicBezTo>
                      <a:cubicBezTo>
                        <a:pt x="1337394" y="198132"/>
                        <a:pt x="1338421" y="202898"/>
                        <a:pt x="1344265" y="202201"/>
                      </a:cubicBezTo>
                      <a:cubicBezTo>
                        <a:pt x="1346762" y="201910"/>
                        <a:pt x="1350780" y="196902"/>
                        <a:pt x="1352796" y="195115"/>
                      </a:cubicBezTo>
                      <a:cubicBezTo>
                        <a:pt x="1355991" y="192301"/>
                        <a:pt x="1357170" y="189195"/>
                        <a:pt x="1360187" y="187534"/>
                      </a:cubicBezTo>
                      <a:cubicBezTo>
                        <a:pt x="1363039" y="185950"/>
                        <a:pt x="1373383" y="182629"/>
                        <a:pt x="1378656" y="182020"/>
                      </a:cubicBezTo>
                      <a:cubicBezTo>
                        <a:pt x="1381901" y="181640"/>
                        <a:pt x="1386427" y="181817"/>
                        <a:pt x="1389545" y="182768"/>
                      </a:cubicBezTo>
                      <a:cubicBezTo>
                        <a:pt x="1392157" y="183554"/>
                        <a:pt x="1389761" y="188498"/>
                        <a:pt x="1391510" y="188853"/>
                      </a:cubicBezTo>
                      <a:cubicBezTo>
                        <a:pt x="1398495" y="190260"/>
                        <a:pt x="1397684" y="184796"/>
                        <a:pt x="1404859" y="190108"/>
                      </a:cubicBezTo>
                      <a:cubicBezTo>
                        <a:pt x="1407432" y="192022"/>
                        <a:pt x="1409600" y="202531"/>
                        <a:pt x="1416622" y="198056"/>
                      </a:cubicBezTo>
                      <a:cubicBezTo>
                        <a:pt x="1425052" y="192706"/>
                        <a:pt x="1413719" y="183364"/>
                        <a:pt x="1419310" y="177837"/>
                      </a:cubicBezTo>
                      <a:cubicBezTo>
                        <a:pt x="1421199" y="175948"/>
                        <a:pt x="1430592" y="176886"/>
                        <a:pt x="1433026" y="175821"/>
                      </a:cubicBezTo>
                      <a:cubicBezTo>
                        <a:pt x="1430313" y="177013"/>
                        <a:pt x="1440543" y="168152"/>
                        <a:pt x="1439022" y="169838"/>
                      </a:cubicBezTo>
                      <a:cubicBezTo>
                        <a:pt x="1447223" y="160673"/>
                        <a:pt x="1446526" y="165084"/>
                        <a:pt x="1458861" y="164387"/>
                      </a:cubicBezTo>
                      <a:cubicBezTo>
                        <a:pt x="1469623" y="163778"/>
                        <a:pt x="1482680" y="152687"/>
                        <a:pt x="1492365" y="146893"/>
                      </a:cubicBezTo>
                      <a:cubicBezTo>
                        <a:pt x="1490108" y="144967"/>
                        <a:pt x="1489221" y="141430"/>
                        <a:pt x="1486939" y="139516"/>
                      </a:cubicBezTo>
                      <a:cubicBezTo>
                        <a:pt x="1493936" y="133532"/>
                        <a:pt x="1499679" y="136892"/>
                        <a:pt x="1507627" y="135523"/>
                      </a:cubicBezTo>
                      <a:cubicBezTo>
                        <a:pt x="1517325" y="133824"/>
                        <a:pt x="1528112" y="127714"/>
                        <a:pt x="1537290" y="124139"/>
                      </a:cubicBezTo>
                      <a:cubicBezTo>
                        <a:pt x="1541740" y="122390"/>
                        <a:pt x="1545441" y="119816"/>
                        <a:pt x="1547076" y="118320"/>
                      </a:cubicBezTo>
                      <a:cubicBezTo>
                        <a:pt x="1547660" y="117788"/>
                        <a:pt x="1546202" y="114619"/>
                        <a:pt x="1547862" y="113579"/>
                      </a:cubicBezTo>
                      <a:cubicBezTo>
                        <a:pt x="1554999" y="109181"/>
                        <a:pt x="1560564" y="113744"/>
                        <a:pt x="1569425" y="112844"/>
                      </a:cubicBezTo>
                      <a:cubicBezTo>
                        <a:pt x="1572138" y="112578"/>
                        <a:pt x="1579820" y="108712"/>
                        <a:pt x="1581734" y="107596"/>
                      </a:cubicBezTo>
                      <a:cubicBezTo>
                        <a:pt x="1582659" y="107064"/>
                        <a:pt x="1581176" y="103502"/>
                        <a:pt x="1582444" y="102830"/>
                      </a:cubicBezTo>
                      <a:cubicBezTo>
                        <a:pt x="1585245" y="101372"/>
                        <a:pt x="1587324" y="102221"/>
                        <a:pt x="1590189" y="101245"/>
                      </a:cubicBezTo>
                      <a:cubicBezTo>
                        <a:pt x="1592382" y="100510"/>
                        <a:pt x="1604767" y="95731"/>
                        <a:pt x="1600394" y="102259"/>
                      </a:cubicBezTo>
                      <a:cubicBezTo>
                        <a:pt x="1598695" y="104782"/>
                        <a:pt x="1592243" y="102652"/>
                        <a:pt x="1590658" y="106037"/>
                      </a:cubicBezTo>
                      <a:cubicBezTo>
                        <a:pt x="1588998" y="109599"/>
                        <a:pt x="1594639" y="108509"/>
                        <a:pt x="1594474" y="109599"/>
                      </a:cubicBezTo>
                      <a:cubicBezTo>
                        <a:pt x="1593118" y="117966"/>
                        <a:pt x="1592433" y="130224"/>
                        <a:pt x="1578996" y="131808"/>
                      </a:cubicBezTo>
                      <a:cubicBezTo>
                        <a:pt x="1575193" y="132265"/>
                        <a:pt x="1571010" y="127701"/>
                        <a:pt x="1567067" y="128867"/>
                      </a:cubicBezTo>
                      <a:cubicBezTo>
                        <a:pt x="1559740" y="130997"/>
                        <a:pt x="1563771" y="128348"/>
                        <a:pt x="1564481" y="134318"/>
                      </a:cubicBezTo>
                      <a:cubicBezTo>
                        <a:pt x="1565318" y="141075"/>
                        <a:pt x="1574255" y="149720"/>
                        <a:pt x="1579173" y="153409"/>
                      </a:cubicBezTo>
                      <a:cubicBezTo>
                        <a:pt x="1612741" y="178699"/>
                        <a:pt x="1654763" y="194481"/>
                        <a:pt x="1680358" y="229025"/>
                      </a:cubicBezTo>
                      <a:cubicBezTo>
                        <a:pt x="1708233" y="266649"/>
                        <a:pt x="1733371" y="306313"/>
                        <a:pt x="1759104" y="345395"/>
                      </a:cubicBezTo>
                      <a:cubicBezTo>
                        <a:pt x="1773720" y="367909"/>
                        <a:pt x="1788361" y="390346"/>
                        <a:pt x="1801545" y="413709"/>
                      </a:cubicBezTo>
                      <a:cubicBezTo>
                        <a:pt x="1808010" y="425130"/>
                        <a:pt x="1822157" y="465112"/>
                        <a:pt x="1836241" y="466443"/>
                      </a:cubicBezTo>
                      <a:cubicBezTo>
                        <a:pt x="1823374" y="454958"/>
                        <a:pt x="1837318" y="461005"/>
                        <a:pt x="1839106" y="460295"/>
                      </a:cubicBezTo>
                      <a:cubicBezTo>
                        <a:pt x="1842313" y="459002"/>
                        <a:pt x="1844709" y="453589"/>
                        <a:pt x="1848664" y="451333"/>
                      </a:cubicBezTo>
                      <a:cubicBezTo>
                        <a:pt x="1853329" y="448683"/>
                        <a:pt x="1859008" y="451675"/>
                        <a:pt x="1862722" y="445654"/>
                      </a:cubicBezTo>
                      <a:cubicBezTo>
                        <a:pt x="1866715" y="439176"/>
                        <a:pt x="1861188" y="437794"/>
                        <a:pt x="1860947" y="433091"/>
                      </a:cubicBezTo>
                      <a:cubicBezTo>
                        <a:pt x="1860757" y="428705"/>
                        <a:pt x="1859223" y="425675"/>
                        <a:pt x="1863292" y="422177"/>
                      </a:cubicBezTo>
                      <a:cubicBezTo>
                        <a:pt x="1865105" y="420605"/>
                        <a:pt x="1869555" y="423761"/>
                        <a:pt x="1871393" y="422697"/>
                      </a:cubicBezTo>
                      <a:cubicBezTo>
                        <a:pt x="1873155" y="421670"/>
                        <a:pt x="1875158" y="416954"/>
                        <a:pt x="1875842" y="416713"/>
                      </a:cubicBezTo>
                      <a:cubicBezTo>
                        <a:pt x="1882409" y="414305"/>
                        <a:pt x="1881749" y="413645"/>
                        <a:pt x="1891193" y="417220"/>
                      </a:cubicBezTo>
                      <a:cubicBezTo>
                        <a:pt x="1893031" y="417905"/>
                        <a:pt x="1893932" y="414140"/>
                        <a:pt x="1895110" y="414761"/>
                      </a:cubicBezTo>
                      <a:cubicBezTo>
                        <a:pt x="1897963" y="416231"/>
                        <a:pt x="1896099" y="420149"/>
                        <a:pt x="1898191" y="421340"/>
                      </a:cubicBezTo>
                      <a:cubicBezTo>
                        <a:pt x="1912782" y="429656"/>
                        <a:pt x="1916800" y="417334"/>
                        <a:pt x="1910551" y="437718"/>
                      </a:cubicBezTo>
                      <a:cubicBezTo>
                        <a:pt x="1908015" y="445958"/>
                        <a:pt x="1906126" y="445844"/>
                        <a:pt x="1913517" y="448481"/>
                      </a:cubicBezTo>
                      <a:cubicBezTo>
                        <a:pt x="1924267" y="452322"/>
                        <a:pt x="1930896" y="438720"/>
                        <a:pt x="1935371" y="454553"/>
                      </a:cubicBezTo>
                      <a:cubicBezTo>
                        <a:pt x="1936309" y="457887"/>
                        <a:pt x="1933863" y="465239"/>
                        <a:pt x="1935701" y="467495"/>
                      </a:cubicBezTo>
                      <a:cubicBezTo>
                        <a:pt x="1940898" y="473948"/>
                        <a:pt x="1953663" y="464846"/>
                        <a:pt x="1957517" y="464212"/>
                      </a:cubicBezTo>
                      <a:cubicBezTo>
                        <a:pt x="1969319" y="462298"/>
                        <a:pt x="1979308" y="471324"/>
                        <a:pt x="1990552" y="471146"/>
                      </a:cubicBezTo>
                      <a:cubicBezTo>
                        <a:pt x="1993797" y="471083"/>
                        <a:pt x="1996700" y="467926"/>
                        <a:pt x="1999983" y="467521"/>
                      </a:cubicBezTo>
                      <a:cubicBezTo>
                        <a:pt x="2004699" y="466938"/>
                        <a:pt x="2010758" y="469879"/>
                        <a:pt x="2014333" y="469321"/>
                      </a:cubicBezTo>
                      <a:cubicBezTo>
                        <a:pt x="2015918" y="469080"/>
                        <a:pt x="2025983" y="464339"/>
                        <a:pt x="2027339" y="462830"/>
                      </a:cubicBezTo>
                      <a:cubicBezTo>
                        <a:pt x="2029849" y="460080"/>
                        <a:pt x="2027884" y="454603"/>
                        <a:pt x="2030382" y="452981"/>
                      </a:cubicBezTo>
                      <a:cubicBezTo>
                        <a:pt x="2037240" y="448531"/>
                        <a:pt x="2046810" y="456467"/>
                        <a:pt x="2054619" y="451675"/>
                      </a:cubicBezTo>
                      <a:cubicBezTo>
                        <a:pt x="2057598" y="449850"/>
                        <a:pt x="2057522" y="444399"/>
                        <a:pt x="2060007" y="442979"/>
                      </a:cubicBezTo>
                      <a:cubicBezTo>
                        <a:pt x="2061566" y="442066"/>
                        <a:pt x="2063366" y="444107"/>
                        <a:pt x="2064887" y="443587"/>
                      </a:cubicBezTo>
                      <a:cubicBezTo>
                        <a:pt x="2075333" y="440101"/>
                        <a:pt x="2079782" y="444196"/>
                        <a:pt x="2087819" y="447340"/>
                      </a:cubicBezTo>
                      <a:cubicBezTo>
                        <a:pt x="2098328" y="451447"/>
                        <a:pt x="2111118" y="451967"/>
                        <a:pt x="2118395" y="461119"/>
                      </a:cubicBezTo>
                      <a:cubicBezTo>
                        <a:pt x="2120955" y="464326"/>
                        <a:pt x="2120461" y="468395"/>
                        <a:pt x="2122882" y="471222"/>
                      </a:cubicBezTo>
                      <a:cubicBezTo>
                        <a:pt x="2125380" y="474189"/>
                        <a:pt x="2129512" y="475038"/>
                        <a:pt x="2132174" y="477789"/>
                      </a:cubicBezTo>
                      <a:cubicBezTo>
                        <a:pt x="2135179" y="480907"/>
                        <a:pt x="2138982" y="486409"/>
                        <a:pt x="2140148" y="490567"/>
                      </a:cubicBezTo>
                      <a:cubicBezTo>
                        <a:pt x="2142493" y="498870"/>
                        <a:pt x="2139666" y="512269"/>
                        <a:pt x="2149123" y="517010"/>
                      </a:cubicBezTo>
                      <a:cubicBezTo>
                        <a:pt x="2152013" y="518442"/>
                        <a:pt x="2158263" y="517694"/>
                        <a:pt x="2161850" y="518163"/>
                      </a:cubicBezTo>
                      <a:cubicBezTo>
                        <a:pt x="2165957" y="518696"/>
                        <a:pt x="2171788" y="522081"/>
                        <a:pt x="2175731" y="523500"/>
                      </a:cubicBezTo>
                      <a:cubicBezTo>
                        <a:pt x="2180269" y="525161"/>
                        <a:pt x="2184135" y="530003"/>
                        <a:pt x="2187621" y="531195"/>
                      </a:cubicBezTo>
                      <a:cubicBezTo>
                        <a:pt x="2192147" y="532741"/>
                        <a:pt x="2199981" y="528393"/>
                        <a:pt x="2201566" y="537698"/>
                      </a:cubicBezTo>
                      <a:cubicBezTo>
                        <a:pt x="2201870" y="539460"/>
                        <a:pt x="2193934" y="541121"/>
                        <a:pt x="2197763" y="549081"/>
                      </a:cubicBezTo>
                      <a:cubicBezTo>
                        <a:pt x="2197053" y="547598"/>
                        <a:pt x="2205026" y="555052"/>
                        <a:pt x="2205001" y="555027"/>
                      </a:cubicBezTo>
                      <a:cubicBezTo>
                        <a:pt x="2205356" y="555394"/>
                        <a:pt x="2210224" y="562962"/>
                        <a:pt x="2210350" y="563216"/>
                      </a:cubicBezTo>
                      <a:cubicBezTo>
                        <a:pt x="2214825" y="573446"/>
                        <a:pt x="2213127" y="575208"/>
                        <a:pt x="2222596" y="577794"/>
                      </a:cubicBezTo>
                      <a:cubicBezTo>
                        <a:pt x="2223914" y="578136"/>
                        <a:pt x="2234043" y="578706"/>
                        <a:pt x="2236109" y="578757"/>
                      </a:cubicBezTo>
                      <a:cubicBezTo>
                        <a:pt x="2238898" y="578821"/>
                        <a:pt x="2241509" y="575119"/>
                        <a:pt x="2243677" y="575347"/>
                      </a:cubicBezTo>
                      <a:cubicBezTo>
                        <a:pt x="2247049" y="575702"/>
                        <a:pt x="2246238" y="579911"/>
                        <a:pt x="2249318" y="581001"/>
                      </a:cubicBezTo>
                      <a:cubicBezTo>
                        <a:pt x="2252614" y="582155"/>
                        <a:pt x="2260866" y="580329"/>
                        <a:pt x="2263110" y="581343"/>
                      </a:cubicBezTo>
                      <a:cubicBezTo>
                        <a:pt x="2263921" y="581724"/>
                        <a:pt x="2268358" y="581647"/>
                        <a:pt x="2269258" y="581914"/>
                      </a:cubicBezTo>
                      <a:cubicBezTo>
                        <a:pt x="2269524" y="581990"/>
                        <a:pt x="2267078" y="587808"/>
                        <a:pt x="2270716" y="588797"/>
                      </a:cubicBezTo>
                      <a:cubicBezTo>
                        <a:pt x="2276750" y="590445"/>
                        <a:pt x="2279982" y="578884"/>
                        <a:pt x="2286562" y="590293"/>
                      </a:cubicBezTo>
                      <a:cubicBezTo>
                        <a:pt x="2295587" y="580088"/>
                        <a:pt x="2304955" y="569934"/>
                        <a:pt x="2314488" y="563660"/>
                      </a:cubicBezTo>
                      <a:cubicBezTo>
                        <a:pt x="2320002" y="560047"/>
                        <a:pt x="2316833" y="558373"/>
                        <a:pt x="2324642" y="560211"/>
                      </a:cubicBezTo>
                      <a:cubicBezTo>
                        <a:pt x="2330752" y="561644"/>
                        <a:pt x="2328039" y="561809"/>
                        <a:pt x="2330803" y="568147"/>
                      </a:cubicBezTo>
                      <a:cubicBezTo>
                        <a:pt x="2324895" y="571101"/>
                        <a:pt x="2313411" y="574016"/>
                        <a:pt x="2320066" y="581749"/>
                      </a:cubicBezTo>
                      <a:cubicBezTo>
                        <a:pt x="2321650" y="583600"/>
                        <a:pt x="2330220" y="582497"/>
                        <a:pt x="2333579" y="585273"/>
                      </a:cubicBezTo>
                      <a:cubicBezTo>
                        <a:pt x="2335049" y="586503"/>
                        <a:pt x="2333896" y="591180"/>
                        <a:pt x="2335214" y="593449"/>
                      </a:cubicBezTo>
                      <a:cubicBezTo>
                        <a:pt x="2336292" y="595300"/>
                        <a:pt x="2340171" y="594818"/>
                        <a:pt x="2341413" y="596568"/>
                      </a:cubicBezTo>
                      <a:cubicBezTo>
                        <a:pt x="2342579" y="598228"/>
                        <a:pt x="2339752" y="600206"/>
                        <a:pt x="2340361" y="600916"/>
                      </a:cubicBezTo>
                      <a:cubicBezTo>
                        <a:pt x="2342237" y="603109"/>
                        <a:pt x="2347789" y="610157"/>
                        <a:pt x="2349615" y="611006"/>
                      </a:cubicBezTo>
                      <a:cubicBezTo>
                        <a:pt x="2362405" y="616800"/>
                        <a:pt x="2365980" y="609156"/>
                        <a:pt x="2371304" y="626269"/>
                      </a:cubicBezTo>
                      <a:cubicBezTo>
                        <a:pt x="2357512" y="623797"/>
                        <a:pt x="2339004" y="619043"/>
                        <a:pt x="2330308" y="631986"/>
                      </a:cubicBezTo>
                      <a:cubicBezTo>
                        <a:pt x="2322969" y="642976"/>
                        <a:pt x="2333452" y="648072"/>
                        <a:pt x="2328787" y="659114"/>
                      </a:cubicBezTo>
                      <a:cubicBezTo>
                        <a:pt x="2326746" y="663880"/>
                        <a:pt x="2321016" y="673172"/>
                        <a:pt x="2316466" y="677051"/>
                      </a:cubicBezTo>
                      <a:cubicBezTo>
                        <a:pt x="2309760" y="682755"/>
                        <a:pt x="2303117" y="681272"/>
                        <a:pt x="2295346" y="683833"/>
                      </a:cubicBezTo>
                      <a:cubicBezTo>
                        <a:pt x="2292025" y="684898"/>
                        <a:pt x="2290048" y="688396"/>
                        <a:pt x="2285940" y="689335"/>
                      </a:cubicBezTo>
                      <a:cubicBezTo>
                        <a:pt x="2280743" y="690501"/>
                        <a:pt x="2273188" y="688561"/>
                        <a:pt x="2267509" y="689182"/>
                      </a:cubicBezTo>
                      <a:cubicBezTo>
                        <a:pt x="2252969" y="690754"/>
                        <a:pt x="2250383" y="697093"/>
                        <a:pt x="2245135" y="710682"/>
                      </a:cubicBezTo>
                      <a:cubicBezTo>
                        <a:pt x="2242561" y="717299"/>
                        <a:pt x="2238429" y="726971"/>
                        <a:pt x="2237820" y="734007"/>
                      </a:cubicBezTo>
                      <a:cubicBezTo>
                        <a:pt x="2236946" y="744376"/>
                        <a:pt x="2242916" y="755024"/>
                        <a:pt x="2243550" y="765419"/>
                      </a:cubicBezTo>
                      <a:cubicBezTo>
                        <a:pt x="2244197" y="776473"/>
                        <a:pt x="2246212" y="776435"/>
                        <a:pt x="2249343" y="786918"/>
                      </a:cubicBezTo>
                      <a:cubicBezTo>
                        <a:pt x="2250003" y="789175"/>
                        <a:pt x="2250003" y="797516"/>
                        <a:pt x="2249001" y="799532"/>
                      </a:cubicBezTo>
                      <a:cubicBezTo>
                        <a:pt x="2246745" y="803943"/>
                        <a:pt x="2243195" y="804159"/>
                        <a:pt x="2239912" y="807835"/>
                      </a:cubicBezTo>
                      <a:cubicBezTo>
                        <a:pt x="2234233" y="814173"/>
                        <a:pt x="2239696" y="814173"/>
                        <a:pt x="2230760" y="817152"/>
                      </a:cubicBezTo>
                      <a:cubicBezTo>
                        <a:pt x="2221582" y="820207"/>
                        <a:pt x="2218692" y="818724"/>
                        <a:pt x="2211187" y="823338"/>
                      </a:cubicBezTo>
                      <a:cubicBezTo>
                        <a:pt x="2205749" y="826697"/>
                        <a:pt x="2199994" y="832262"/>
                        <a:pt x="2194860" y="834810"/>
                      </a:cubicBezTo>
                      <a:cubicBezTo>
                        <a:pt x="2169684" y="847221"/>
                        <a:pt x="2189396" y="828307"/>
                        <a:pt x="2172980" y="823351"/>
                      </a:cubicBezTo>
                      <a:cubicBezTo>
                        <a:pt x="2167250" y="821614"/>
                        <a:pt x="2154890" y="822527"/>
                        <a:pt x="2148045" y="822185"/>
                      </a:cubicBezTo>
                      <a:cubicBezTo>
                        <a:pt x="2139032" y="821728"/>
                        <a:pt x="2135369" y="824301"/>
                        <a:pt x="2126952" y="824682"/>
                      </a:cubicBezTo>
                      <a:cubicBezTo>
                        <a:pt x="2105313" y="825671"/>
                        <a:pt x="2086222" y="811257"/>
                        <a:pt x="2066560" y="805185"/>
                      </a:cubicBezTo>
                      <a:cubicBezTo>
                        <a:pt x="2051589" y="800558"/>
                        <a:pt x="2053389" y="804906"/>
                        <a:pt x="2050956" y="819142"/>
                      </a:cubicBezTo>
                      <a:cubicBezTo>
                        <a:pt x="2048103" y="835622"/>
                        <a:pt x="2038761" y="851886"/>
                        <a:pt x="2033120" y="868517"/>
                      </a:cubicBezTo>
                      <a:cubicBezTo>
                        <a:pt x="2030204" y="877163"/>
                        <a:pt x="2025894" y="884350"/>
                        <a:pt x="2021800" y="892412"/>
                      </a:cubicBezTo>
                      <a:cubicBezTo>
                        <a:pt x="2017109" y="901603"/>
                        <a:pt x="2017464" y="911288"/>
                        <a:pt x="2014435" y="920922"/>
                      </a:cubicBezTo>
                      <a:cubicBezTo>
                        <a:pt x="2010758" y="932622"/>
                        <a:pt x="1991300" y="954287"/>
                        <a:pt x="2005257" y="962108"/>
                      </a:cubicBezTo>
                      <a:cubicBezTo>
                        <a:pt x="2015423" y="967812"/>
                        <a:pt x="2023650" y="960169"/>
                        <a:pt x="2024589" y="974785"/>
                      </a:cubicBezTo>
                      <a:cubicBezTo>
                        <a:pt x="2025286" y="986117"/>
                        <a:pt x="2019556" y="997095"/>
                        <a:pt x="2008502" y="992544"/>
                      </a:cubicBezTo>
                      <a:cubicBezTo>
                        <a:pt x="2003254" y="990389"/>
                        <a:pt x="2002569" y="985205"/>
                        <a:pt x="1996117" y="984723"/>
                      </a:cubicBezTo>
                      <a:cubicBezTo>
                        <a:pt x="1989741" y="984229"/>
                        <a:pt x="1984391" y="990694"/>
                        <a:pt x="1978421" y="991454"/>
                      </a:cubicBezTo>
                      <a:cubicBezTo>
                        <a:pt x="1972247" y="992240"/>
                        <a:pt x="1965427" y="989971"/>
                        <a:pt x="1962043" y="985623"/>
                      </a:cubicBezTo>
                      <a:cubicBezTo>
                        <a:pt x="1957048" y="979259"/>
                        <a:pt x="1961992" y="973720"/>
                        <a:pt x="1950697" y="974886"/>
                      </a:cubicBezTo>
                      <a:cubicBezTo>
                        <a:pt x="1947376" y="975241"/>
                        <a:pt x="1941025" y="979488"/>
                        <a:pt x="1937513" y="980705"/>
                      </a:cubicBezTo>
                      <a:cubicBezTo>
                        <a:pt x="1930136" y="983278"/>
                        <a:pt x="1922289" y="984457"/>
                        <a:pt x="1914873" y="986929"/>
                      </a:cubicBezTo>
                      <a:cubicBezTo>
                        <a:pt x="1907546" y="989337"/>
                        <a:pt x="1899978" y="993622"/>
                        <a:pt x="1892106" y="994268"/>
                      </a:cubicBezTo>
                      <a:cubicBezTo>
                        <a:pt x="1883486" y="994966"/>
                        <a:pt x="1874549" y="992633"/>
                        <a:pt x="1865802" y="996132"/>
                      </a:cubicBezTo>
                      <a:cubicBezTo>
                        <a:pt x="1859008" y="998870"/>
                        <a:pt x="1858615" y="1000822"/>
                        <a:pt x="1849995" y="1001988"/>
                      </a:cubicBezTo>
                      <a:cubicBezTo>
                        <a:pt x="1839549" y="1003396"/>
                        <a:pt x="1835024" y="1003421"/>
                        <a:pt x="1826493" y="1010253"/>
                      </a:cubicBezTo>
                      <a:cubicBezTo>
                        <a:pt x="1806679" y="1026125"/>
                        <a:pt x="1843213" y="1022588"/>
                        <a:pt x="1853709" y="1025947"/>
                      </a:cubicBezTo>
                      <a:cubicBezTo>
                        <a:pt x="1855762" y="1026606"/>
                        <a:pt x="1866081" y="1028457"/>
                        <a:pt x="1866398" y="1031005"/>
                      </a:cubicBezTo>
                      <a:cubicBezTo>
                        <a:pt x="1866994" y="1035530"/>
                        <a:pt x="1859540" y="1032856"/>
                        <a:pt x="1857791" y="1035632"/>
                      </a:cubicBezTo>
                      <a:cubicBezTo>
                        <a:pt x="1856257" y="1038066"/>
                        <a:pt x="1855344" y="1047459"/>
                        <a:pt x="1854812" y="1051769"/>
                      </a:cubicBezTo>
                      <a:cubicBezTo>
                        <a:pt x="1853177" y="1064877"/>
                        <a:pt x="1855141" y="1081774"/>
                        <a:pt x="1859882" y="1092486"/>
                      </a:cubicBezTo>
                      <a:cubicBezTo>
                        <a:pt x="1866246" y="1106950"/>
                        <a:pt x="1876920" y="1124152"/>
                        <a:pt x="1880494" y="1140023"/>
                      </a:cubicBezTo>
                      <a:cubicBezTo>
                        <a:pt x="1882142" y="1147414"/>
                        <a:pt x="1878631" y="1153777"/>
                        <a:pt x="1879848" y="1158341"/>
                      </a:cubicBezTo>
                      <a:cubicBezTo>
                        <a:pt x="1880444" y="1160521"/>
                        <a:pt x="1885743" y="1162930"/>
                        <a:pt x="1886516" y="1167975"/>
                      </a:cubicBezTo>
                      <a:cubicBezTo>
                        <a:pt x="1888848" y="1182857"/>
                        <a:pt x="1873294" y="1170662"/>
                        <a:pt x="1862202" y="1180639"/>
                      </a:cubicBezTo>
                      <a:cubicBezTo>
                        <a:pt x="1850476" y="1191173"/>
                        <a:pt x="1862773" y="1184923"/>
                        <a:pt x="1868300" y="1192339"/>
                      </a:cubicBezTo>
                      <a:cubicBezTo>
                        <a:pt x="1872749" y="1198284"/>
                        <a:pt x="1865485" y="1198398"/>
                        <a:pt x="1859046" y="1199983"/>
                      </a:cubicBezTo>
                      <a:cubicBezTo>
                        <a:pt x="1844544" y="1203570"/>
                        <a:pt x="1840297" y="1212127"/>
                        <a:pt x="1842744" y="1226933"/>
                      </a:cubicBezTo>
                      <a:cubicBezTo>
                        <a:pt x="1843733" y="1232891"/>
                        <a:pt x="1855167" y="1259461"/>
                        <a:pt x="1842896" y="1256482"/>
                      </a:cubicBezTo>
                      <a:cubicBezTo>
                        <a:pt x="1837065" y="1255075"/>
                        <a:pt x="1831031" y="1241030"/>
                        <a:pt x="1825275" y="1237772"/>
                      </a:cubicBezTo>
                      <a:cubicBezTo>
                        <a:pt x="1815134" y="1232055"/>
                        <a:pt x="1804790" y="1236390"/>
                        <a:pt x="1794636" y="1234489"/>
                      </a:cubicBezTo>
                      <a:cubicBezTo>
                        <a:pt x="1789261" y="1233487"/>
                        <a:pt x="1788742" y="1232688"/>
                        <a:pt x="1784914" y="1229532"/>
                      </a:cubicBezTo>
                      <a:cubicBezTo>
                        <a:pt x="1783101" y="1228011"/>
                        <a:pt x="1776192" y="1220912"/>
                        <a:pt x="1774582" y="1219023"/>
                      </a:cubicBezTo>
                      <a:cubicBezTo>
                        <a:pt x="1773188" y="1217325"/>
                        <a:pt x="1768890" y="1205624"/>
                        <a:pt x="1769106" y="1205789"/>
                      </a:cubicBezTo>
                      <a:cubicBezTo>
                        <a:pt x="1765797" y="1203241"/>
                        <a:pt x="1756353" y="1206588"/>
                        <a:pt x="1751169" y="1206233"/>
                      </a:cubicBezTo>
                      <a:cubicBezTo>
                        <a:pt x="1741623" y="1205586"/>
                        <a:pt x="1733700" y="1201631"/>
                        <a:pt x="1725004" y="1198791"/>
                      </a:cubicBezTo>
                      <a:cubicBezTo>
                        <a:pt x="1711009" y="1194190"/>
                        <a:pt x="1696609" y="1199831"/>
                        <a:pt x="1681828" y="1198348"/>
                      </a:cubicBezTo>
                      <a:cubicBezTo>
                        <a:pt x="1670305" y="1197194"/>
                        <a:pt x="1661064" y="1196421"/>
                        <a:pt x="1649237" y="1195698"/>
                      </a:cubicBezTo>
                      <a:cubicBezTo>
                        <a:pt x="1638626" y="1195052"/>
                        <a:pt x="1627103" y="1192783"/>
                        <a:pt x="1617558" y="1189677"/>
                      </a:cubicBezTo>
                      <a:cubicBezTo>
                        <a:pt x="1604945" y="1185595"/>
                        <a:pt x="1598543" y="1189018"/>
                        <a:pt x="1588554" y="1192428"/>
                      </a:cubicBezTo>
                      <a:cubicBezTo>
                        <a:pt x="1578907" y="1195736"/>
                        <a:pt x="1568005" y="1194469"/>
                        <a:pt x="1560171" y="1194393"/>
                      </a:cubicBezTo>
                      <a:cubicBezTo>
                        <a:pt x="1545669" y="1194241"/>
                        <a:pt x="1527200" y="1187408"/>
                        <a:pt x="1516006" y="1195204"/>
                      </a:cubicBezTo>
                      <a:cubicBezTo>
                        <a:pt x="1507893" y="1200858"/>
                        <a:pt x="1512191" y="1201377"/>
                        <a:pt x="1501403" y="1201352"/>
                      </a:cubicBezTo>
                      <a:cubicBezTo>
                        <a:pt x="1492669" y="1201352"/>
                        <a:pt x="1481615" y="1201289"/>
                        <a:pt x="1473236" y="1198956"/>
                      </a:cubicBezTo>
                      <a:cubicBezTo>
                        <a:pt x="1458708" y="1194912"/>
                        <a:pt x="1441228" y="1186242"/>
                        <a:pt x="1429413" y="1178040"/>
                      </a:cubicBezTo>
                      <a:cubicBezTo>
                        <a:pt x="1420565" y="1171905"/>
                        <a:pt x="1408192" y="1169585"/>
                        <a:pt x="1399458" y="1162372"/>
                      </a:cubicBezTo>
                      <a:cubicBezTo>
                        <a:pt x="1408281" y="1172247"/>
                        <a:pt x="1389888" y="1166961"/>
                        <a:pt x="1386503" y="1167962"/>
                      </a:cubicBezTo>
                      <a:cubicBezTo>
                        <a:pt x="1381939" y="1169293"/>
                        <a:pt x="1377807" y="1172602"/>
                        <a:pt x="1371874" y="1175530"/>
                      </a:cubicBezTo>
                      <a:cubicBezTo>
                        <a:pt x="1364205" y="1179333"/>
                        <a:pt x="1357993" y="1179396"/>
                        <a:pt x="1352948" y="1186090"/>
                      </a:cubicBezTo>
                      <a:cubicBezTo>
                        <a:pt x="1348106" y="1192542"/>
                        <a:pt x="1351414" y="1196624"/>
                        <a:pt x="1349830" y="1202683"/>
                      </a:cubicBezTo>
                      <a:cubicBezTo>
                        <a:pt x="1347878" y="1210112"/>
                        <a:pt x="1341970" y="1215550"/>
                        <a:pt x="1342946" y="1223714"/>
                      </a:cubicBezTo>
                      <a:cubicBezTo>
                        <a:pt x="1343606" y="1229355"/>
                        <a:pt x="1352745" y="1236124"/>
                        <a:pt x="1347599" y="1239115"/>
                      </a:cubicBezTo>
                      <a:cubicBezTo>
                        <a:pt x="1339296" y="1243983"/>
                        <a:pt x="1336748" y="1231028"/>
                        <a:pt x="1335201" y="1230128"/>
                      </a:cubicBezTo>
                      <a:cubicBezTo>
                        <a:pt x="1332323" y="1228455"/>
                        <a:pt x="1322892" y="1225907"/>
                        <a:pt x="1319153" y="1225640"/>
                      </a:cubicBezTo>
                      <a:cubicBezTo>
                        <a:pt x="1312497" y="1225133"/>
                        <a:pt x="1306920" y="1228543"/>
                        <a:pt x="1300556" y="1225235"/>
                      </a:cubicBezTo>
                      <a:cubicBezTo>
                        <a:pt x="1291809" y="1220722"/>
                        <a:pt x="1293014" y="1217084"/>
                        <a:pt x="1281529" y="1214346"/>
                      </a:cubicBezTo>
                      <a:cubicBezTo>
                        <a:pt x="1273771" y="1212495"/>
                        <a:pt x="1266380" y="1208147"/>
                        <a:pt x="1258483" y="1206930"/>
                      </a:cubicBezTo>
                      <a:cubicBezTo>
                        <a:pt x="1249191" y="1205497"/>
                        <a:pt x="1245667" y="1206816"/>
                        <a:pt x="1236603" y="1203799"/>
                      </a:cubicBezTo>
                      <a:cubicBezTo>
                        <a:pt x="1229948" y="1201580"/>
                        <a:pt x="1225232" y="1200084"/>
                        <a:pt x="1218197" y="1201796"/>
                      </a:cubicBezTo>
                      <a:cubicBezTo>
                        <a:pt x="1214495" y="1202709"/>
                        <a:pt x="1211085" y="1206740"/>
                        <a:pt x="1207612" y="1207133"/>
                      </a:cubicBezTo>
                      <a:cubicBezTo>
                        <a:pt x="1204506" y="1207475"/>
                        <a:pt x="1203378" y="1204192"/>
                        <a:pt x="1200361" y="1204737"/>
                      </a:cubicBezTo>
                      <a:cubicBezTo>
                        <a:pt x="1192692" y="1206131"/>
                        <a:pt x="1183577" y="1207450"/>
                        <a:pt x="1177492" y="1213078"/>
                      </a:cubicBezTo>
                      <a:cubicBezTo>
                        <a:pt x="1175743" y="1214701"/>
                        <a:pt x="1176352" y="1218960"/>
                        <a:pt x="1175388" y="1219758"/>
                      </a:cubicBezTo>
                      <a:cubicBezTo>
                        <a:pt x="1174006" y="1220925"/>
                        <a:pt x="1166350" y="1223105"/>
                        <a:pt x="1166096" y="1223802"/>
                      </a:cubicBezTo>
                      <a:cubicBezTo>
                        <a:pt x="1166007" y="1224094"/>
                        <a:pt x="1166882" y="1232917"/>
                        <a:pt x="1168670" y="1230736"/>
                      </a:cubicBezTo>
                      <a:cubicBezTo>
                        <a:pt x="1170013" y="1229126"/>
                        <a:pt x="1162699" y="1237189"/>
                        <a:pt x="1164562" y="1233081"/>
                      </a:cubicBezTo>
                      <a:cubicBezTo>
                        <a:pt x="1163320" y="1235832"/>
                        <a:pt x="1145953" y="1249814"/>
                        <a:pt x="1160607" y="1252477"/>
                      </a:cubicBezTo>
                      <a:cubicBezTo>
                        <a:pt x="1156170" y="1256761"/>
                        <a:pt x="1151151" y="1255139"/>
                        <a:pt x="1147436" y="1257129"/>
                      </a:cubicBezTo>
                      <a:cubicBezTo>
                        <a:pt x="1143773" y="1259106"/>
                        <a:pt x="1143278" y="1260171"/>
                        <a:pt x="1139843" y="1264025"/>
                      </a:cubicBezTo>
                      <a:cubicBezTo>
                        <a:pt x="1137460" y="1266674"/>
                        <a:pt x="1137612" y="1272455"/>
                        <a:pt x="1133302" y="1273013"/>
                      </a:cubicBezTo>
                      <a:cubicBezTo>
                        <a:pt x="1128916" y="1273570"/>
                        <a:pt x="1129562" y="1268195"/>
                        <a:pt x="1127243" y="1267802"/>
                      </a:cubicBezTo>
                      <a:cubicBezTo>
                        <a:pt x="1112817" y="1265419"/>
                        <a:pt x="1100343" y="1289314"/>
                        <a:pt x="1087299" y="1296020"/>
                      </a:cubicBezTo>
                      <a:cubicBezTo>
                        <a:pt x="1077918" y="1300850"/>
                        <a:pt x="1067346" y="1302777"/>
                        <a:pt x="1057522" y="1308063"/>
                      </a:cubicBezTo>
                      <a:cubicBezTo>
                        <a:pt x="1052996" y="1310510"/>
                        <a:pt x="1048699" y="1313615"/>
                        <a:pt x="1044985" y="1316227"/>
                      </a:cubicBezTo>
                      <a:cubicBezTo>
                        <a:pt x="1042665" y="1317875"/>
                        <a:pt x="1046810" y="1318128"/>
                        <a:pt x="1042145" y="1320588"/>
                      </a:cubicBezTo>
                      <a:cubicBezTo>
                        <a:pt x="1036174" y="1323719"/>
                        <a:pt x="1029405" y="1322565"/>
                        <a:pt x="1024677" y="1327179"/>
                      </a:cubicBezTo>
                      <a:cubicBezTo>
                        <a:pt x="1018263" y="1333454"/>
                        <a:pt x="1022978" y="1328510"/>
                        <a:pt x="1020620" y="1334671"/>
                      </a:cubicBezTo>
                      <a:cubicBezTo>
                        <a:pt x="1016779" y="1344774"/>
                        <a:pt x="1019949" y="1341859"/>
                        <a:pt x="1011633" y="1347956"/>
                      </a:cubicBezTo>
                      <a:cubicBezTo>
                        <a:pt x="1009211" y="1349731"/>
                        <a:pt x="1006283" y="1351062"/>
                        <a:pt x="1003685" y="1353166"/>
                      </a:cubicBezTo>
                      <a:cubicBezTo>
                        <a:pt x="996814" y="1358719"/>
                        <a:pt x="991933" y="1366312"/>
                        <a:pt x="984860" y="1369861"/>
                      </a:cubicBezTo>
                      <a:cubicBezTo>
                        <a:pt x="983275" y="1378012"/>
                        <a:pt x="991059" y="1393110"/>
                        <a:pt x="987699" y="1396659"/>
                      </a:cubicBezTo>
                      <a:cubicBezTo>
                        <a:pt x="988587" y="1395709"/>
                        <a:pt x="975378" y="1398117"/>
                        <a:pt x="976126" y="1398257"/>
                      </a:cubicBezTo>
                      <a:cubicBezTo>
                        <a:pt x="962701" y="1395759"/>
                        <a:pt x="954259" y="1381498"/>
                        <a:pt x="941975" y="1378811"/>
                      </a:cubicBezTo>
                      <a:cubicBezTo>
                        <a:pt x="947819" y="1375921"/>
                        <a:pt x="954386" y="1367377"/>
                        <a:pt x="950037" y="1361114"/>
                      </a:cubicBezTo>
                      <a:cubicBezTo>
                        <a:pt x="950583" y="1360519"/>
                        <a:pt x="951850" y="1360430"/>
                        <a:pt x="952370" y="1359720"/>
                      </a:cubicBezTo>
                      <a:cubicBezTo>
                        <a:pt x="951977" y="1358680"/>
                        <a:pt x="951318" y="1358376"/>
                        <a:pt x="951343" y="1356462"/>
                      </a:cubicBezTo>
                      <a:cubicBezTo>
                        <a:pt x="951204" y="1356576"/>
                        <a:pt x="948656" y="1358592"/>
                        <a:pt x="948719" y="1358566"/>
                      </a:cubicBezTo>
                      <a:cubicBezTo>
                        <a:pt x="947046" y="1358617"/>
                        <a:pt x="947464" y="1357210"/>
                        <a:pt x="945182" y="1358566"/>
                      </a:cubicBezTo>
                      <a:cubicBezTo>
                        <a:pt x="943889" y="1353356"/>
                        <a:pt x="940264" y="1349566"/>
                        <a:pt x="938045" y="1344762"/>
                      </a:cubicBezTo>
                      <a:cubicBezTo>
                        <a:pt x="930795" y="1351873"/>
                        <a:pt x="905606" y="1347183"/>
                        <a:pt x="895871" y="1347703"/>
                      </a:cubicBezTo>
                      <a:cubicBezTo>
                        <a:pt x="876577" y="1348729"/>
                        <a:pt x="850413" y="1358161"/>
                        <a:pt x="843631" y="1336509"/>
                      </a:cubicBezTo>
                      <a:cubicBezTo>
                        <a:pt x="840043" y="1325062"/>
                        <a:pt x="837546" y="1312614"/>
                        <a:pt x="835429" y="1300799"/>
                      </a:cubicBezTo>
                      <a:cubicBezTo>
                        <a:pt x="834390" y="1295032"/>
                        <a:pt x="834630" y="1277500"/>
                        <a:pt x="831119" y="1274749"/>
                      </a:cubicBezTo>
                      <a:cubicBezTo>
                        <a:pt x="826188" y="1270896"/>
                        <a:pt x="809125" y="1276334"/>
                        <a:pt x="802711" y="1274698"/>
                      </a:cubicBezTo>
                      <a:cubicBezTo>
                        <a:pt x="797970" y="1273482"/>
                        <a:pt x="797501" y="1275459"/>
                        <a:pt x="795346" y="1272620"/>
                      </a:cubicBezTo>
                      <a:cubicBezTo>
                        <a:pt x="792988" y="1269526"/>
                        <a:pt x="795587" y="1255582"/>
                        <a:pt x="795637" y="1250905"/>
                      </a:cubicBezTo>
                      <a:cubicBezTo>
                        <a:pt x="795954" y="1230648"/>
                        <a:pt x="800759" y="1208514"/>
                        <a:pt x="802293" y="1186597"/>
                      </a:cubicBezTo>
                      <a:cubicBezTo>
                        <a:pt x="787626" y="1193467"/>
                        <a:pt x="782543" y="1201935"/>
                        <a:pt x="773999" y="1186394"/>
                      </a:cubicBezTo>
                      <a:cubicBezTo>
                        <a:pt x="768446" y="1176354"/>
                        <a:pt x="763933" y="1163703"/>
                        <a:pt x="755237" y="1156389"/>
                      </a:cubicBezTo>
                      <a:cubicBezTo>
                        <a:pt x="743892" y="1146906"/>
                        <a:pt x="733497" y="1140822"/>
                        <a:pt x="723064" y="1129565"/>
                      </a:cubicBezTo>
                      <a:cubicBezTo>
                        <a:pt x="713544" y="1119284"/>
                        <a:pt x="712226" y="1120970"/>
                        <a:pt x="699296" y="1127296"/>
                      </a:cubicBezTo>
                      <a:cubicBezTo>
                        <a:pt x="686239" y="1133698"/>
                        <a:pt x="679356" y="1136943"/>
                        <a:pt x="664854" y="1135751"/>
                      </a:cubicBezTo>
                      <a:cubicBezTo>
                        <a:pt x="651252" y="1134661"/>
                        <a:pt x="637650" y="1133558"/>
                        <a:pt x="624061" y="1132468"/>
                      </a:cubicBezTo>
                      <a:cubicBezTo>
                        <a:pt x="597972" y="1130414"/>
                        <a:pt x="575497" y="1131492"/>
                        <a:pt x="549700" y="1135168"/>
                      </a:cubicBezTo>
                      <a:cubicBezTo>
                        <a:pt x="536986" y="1136993"/>
                        <a:pt x="509630" y="1146437"/>
                        <a:pt x="498081" y="1141608"/>
                      </a:cubicBezTo>
                      <a:cubicBezTo>
                        <a:pt x="487611" y="1137247"/>
                        <a:pt x="475466" y="1118777"/>
                        <a:pt x="467442" y="1110626"/>
                      </a:cubicBezTo>
                      <a:cubicBezTo>
                        <a:pt x="457884" y="1100954"/>
                        <a:pt x="444333" y="1091333"/>
                        <a:pt x="436626" y="1080266"/>
                      </a:cubicBezTo>
                      <a:cubicBezTo>
                        <a:pt x="430237" y="1071113"/>
                        <a:pt x="432062" y="1065282"/>
                        <a:pt x="422453" y="1058513"/>
                      </a:cubicBezTo>
                      <a:cubicBezTo>
                        <a:pt x="411615" y="1050856"/>
                        <a:pt x="399014" y="1044873"/>
                        <a:pt x="387517" y="1038193"/>
                      </a:cubicBezTo>
                      <a:cubicBezTo>
                        <a:pt x="380836" y="1034301"/>
                        <a:pt x="358969" y="1026048"/>
                        <a:pt x="355534" y="1019533"/>
                      </a:cubicBezTo>
                      <a:cubicBezTo>
                        <a:pt x="352504" y="1013803"/>
                        <a:pt x="355103" y="996842"/>
                        <a:pt x="355623" y="990301"/>
                      </a:cubicBezTo>
                      <a:cubicBezTo>
                        <a:pt x="356320" y="981275"/>
                        <a:pt x="360706" y="964593"/>
                        <a:pt x="354342" y="956442"/>
                      </a:cubicBezTo>
                      <a:cubicBezTo>
                        <a:pt x="347636" y="947847"/>
                        <a:pt x="342528" y="957937"/>
                        <a:pt x="334605" y="953323"/>
                      </a:cubicBezTo>
                      <a:cubicBezTo>
                        <a:pt x="325807" y="948215"/>
                        <a:pt x="338788" y="927527"/>
                        <a:pt x="341666" y="927641"/>
                      </a:cubicBezTo>
                      <a:cubicBezTo>
                        <a:pt x="339980" y="925688"/>
                        <a:pt x="340639" y="925118"/>
                        <a:pt x="337977" y="923901"/>
                      </a:cubicBezTo>
                      <a:cubicBezTo>
                        <a:pt x="345177" y="919211"/>
                        <a:pt x="362747" y="924028"/>
                        <a:pt x="371113" y="926157"/>
                      </a:cubicBezTo>
                      <a:cubicBezTo>
                        <a:pt x="375119" y="927184"/>
                        <a:pt x="380747" y="929631"/>
                        <a:pt x="384791" y="927450"/>
                      </a:cubicBezTo>
                      <a:cubicBezTo>
                        <a:pt x="387415" y="926018"/>
                        <a:pt x="392156" y="918273"/>
                        <a:pt x="395503" y="915801"/>
                      </a:cubicBezTo>
                      <a:cubicBezTo>
                        <a:pt x="399509" y="912860"/>
                        <a:pt x="403692" y="908017"/>
                        <a:pt x="407279" y="905457"/>
                      </a:cubicBezTo>
                      <a:cubicBezTo>
                        <a:pt x="418929" y="897166"/>
                        <a:pt x="439478" y="898941"/>
                        <a:pt x="444650" y="884616"/>
                      </a:cubicBezTo>
                      <a:cubicBezTo>
                        <a:pt x="452230" y="863586"/>
                        <a:pt x="426827" y="875756"/>
                        <a:pt x="415075" y="867757"/>
                      </a:cubicBezTo>
                      <a:cubicBezTo>
                        <a:pt x="402805" y="859390"/>
                        <a:pt x="415899" y="854256"/>
                        <a:pt x="411311" y="845662"/>
                      </a:cubicBezTo>
                      <a:cubicBezTo>
                        <a:pt x="409916" y="843063"/>
                        <a:pt x="396010" y="841237"/>
                        <a:pt x="392854" y="841554"/>
                      </a:cubicBezTo>
                      <a:cubicBezTo>
                        <a:pt x="395275" y="848615"/>
                        <a:pt x="408775" y="849350"/>
                        <a:pt x="407026" y="855055"/>
                      </a:cubicBezTo>
                      <a:cubicBezTo>
                        <a:pt x="404744" y="862509"/>
                        <a:pt x="390420" y="862965"/>
                        <a:pt x="386376" y="856804"/>
                      </a:cubicBezTo>
                      <a:cubicBezTo>
                        <a:pt x="385095" y="860810"/>
                        <a:pt x="383498" y="864689"/>
                        <a:pt x="381952" y="868619"/>
                      </a:cubicBezTo>
                      <a:cubicBezTo>
                        <a:pt x="379163" y="850301"/>
                        <a:pt x="368096" y="842860"/>
                        <a:pt x="354304" y="858325"/>
                      </a:cubicBezTo>
                      <a:cubicBezTo>
                        <a:pt x="349272" y="863954"/>
                        <a:pt x="349601" y="869291"/>
                        <a:pt x="354076" y="874526"/>
                      </a:cubicBezTo>
                      <a:cubicBezTo>
                        <a:pt x="362747" y="884692"/>
                        <a:pt x="367437" y="872688"/>
                        <a:pt x="378466" y="875236"/>
                      </a:cubicBezTo>
                      <a:cubicBezTo>
                        <a:pt x="382839" y="876250"/>
                        <a:pt x="384601" y="883425"/>
                        <a:pt x="389887" y="884262"/>
                      </a:cubicBezTo>
                      <a:cubicBezTo>
                        <a:pt x="394958" y="885073"/>
                        <a:pt x="394527" y="882081"/>
                        <a:pt x="399027" y="880826"/>
                      </a:cubicBezTo>
                      <a:cubicBezTo>
                        <a:pt x="407279" y="878506"/>
                        <a:pt x="401499" y="876250"/>
                        <a:pt x="406785" y="882652"/>
                      </a:cubicBezTo>
                      <a:cubicBezTo>
                        <a:pt x="420070" y="898840"/>
                        <a:pt x="404060" y="909298"/>
                        <a:pt x="387212" y="906940"/>
                      </a:cubicBezTo>
                      <a:cubicBezTo>
                        <a:pt x="382725" y="906306"/>
                        <a:pt x="378339" y="905647"/>
                        <a:pt x="373877" y="905000"/>
                      </a:cubicBezTo>
                      <a:cubicBezTo>
                        <a:pt x="370086" y="904443"/>
                        <a:pt x="361733" y="901654"/>
                        <a:pt x="358513" y="901768"/>
                      </a:cubicBezTo>
                      <a:cubicBezTo>
                        <a:pt x="349943" y="902059"/>
                        <a:pt x="342477" y="911313"/>
                        <a:pt x="333933" y="907143"/>
                      </a:cubicBezTo>
                      <a:cubicBezTo>
                        <a:pt x="344733" y="899968"/>
                        <a:pt x="335936" y="886493"/>
                        <a:pt x="327531" y="883539"/>
                      </a:cubicBezTo>
                      <a:cubicBezTo>
                        <a:pt x="307274" y="876440"/>
                        <a:pt x="323057" y="892450"/>
                        <a:pt x="327607" y="900487"/>
                      </a:cubicBezTo>
                      <a:cubicBezTo>
                        <a:pt x="332577" y="909247"/>
                        <a:pt x="328672" y="920656"/>
                        <a:pt x="323475" y="929567"/>
                      </a:cubicBezTo>
                      <a:cubicBezTo>
                        <a:pt x="322689" y="930936"/>
                        <a:pt x="325503" y="933041"/>
                        <a:pt x="324502" y="934270"/>
                      </a:cubicBezTo>
                      <a:cubicBezTo>
                        <a:pt x="322689" y="936489"/>
                        <a:pt x="319824" y="933573"/>
                        <a:pt x="318696" y="934651"/>
                      </a:cubicBezTo>
                      <a:cubicBezTo>
                        <a:pt x="316363" y="936907"/>
                        <a:pt x="311648" y="939949"/>
                        <a:pt x="308834" y="942776"/>
                      </a:cubicBezTo>
                      <a:cubicBezTo>
                        <a:pt x="309797" y="933852"/>
                        <a:pt x="300556" y="935906"/>
                        <a:pt x="303142" y="944044"/>
                      </a:cubicBezTo>
                      <a:cubicBezTo>
                        <a:pt x="300860" y="942320"/>
                        <a:pt x="294306" y="938910"/>
                        <a:pt x="293571" y="936172"/>
                      </a:cubicBezTo>
                      <a:cubicBezTo>
                        <a:pt x="291429" y="928198"/>
                        <a:pt x="303750" y="922177"/>
                        <a:pt x="303243" y="918006"/>
                      </a:cubicBezTo>
                      <a:cubicBezTo>
                        <a:pt x="302001" y="907764"/>
                        <a:pt x="293533" y="917550"/>
                        <a:pt x="289489" y="918273"/>
                      </a:cubicBezTo>
                      <a:cubicBezTo>
                        <a:pt x="283531" y="919325"/>
                        <a:pt x="277561" y="917208"/>
                        <a:pt x="273682" y="917778"/>
                      </a:cubicBezTo>
                      <a:cubicBezTo>
                        <a:pt x="276001" y="917436"/>
                        <a:pt x="266608" y="920275"/>
                        <a:pt x="265898" y="920669"/>
                      </a:cubicBezTo>
                      <a:cubicBezTo>
                        <a:pt x="262450" y="922595"/>
                        <a:pt x="259027" y="924497"/>
                        <a:pt x="256695" y="927603"/>
                      </a:cubicBezTo>
                      <a:cubicBezTo>
                        <a:pt x="250230" y="936108"/>
                        <a:pt x="252892" y="947758"/>
                        <a:pt x="247111" y="956087"/>
                      </a:cubicBezTo>
                      <a:cubicBezTo>
                        <a:pt x="236679" y="951764"/>
                        <a:pt x="214913" y="961766"/>
                        <a:pt x="203973" y="964631"/>
                      </a:cubicBezTo>
                      <a:cubicBezTo>
                        <a:pt x="186581" y="969194"/>
                        <a:pt x="169214" y="973834"/>
                        <a:pt x="151911" y="978664"/>
                      </a:cubicBezTo>
                      <a:cubicBezTo>
                        <a:pt x="119269" y="987803"/>
                        <a:pt x="86614" y="996892"/>
                        <a:pt x="53985" y="1006058"/>
                      </a:cubicBezTo>
                      <a:lnTo>
                        <a:pt x="53985" y="1006058"/>
                      </a:lnTo>
                      <a:cubicBezTo>
                        <a:pt x="53959" y="1006058"/>
                        <a:pt x="53959" y="1006058"/>
                        <a:pt x="53959" y="1006070"/>
                      </a:cubicBezTo>
                      <a:cubicBezTo>
                        <a:pt x="53947" y="1006058"/>
                        <a:pt x="53947" y="1006070"/>
                        <a:pt x="53947" y="1006083"/>
                      </a:cubicBezTo>
                      <a:lnTo>
                        <a:pt x="54010" y="1006083"/>
                      </a:lnTo>
                      <a:lnTo>
                        <a:pt x="54010" y="1006083"/>
                      </a:lnTo>
                      <a:lnTo>
                        <a:pt x="53985" y="1006108"/>
                      </a:lnTo>
                      <a:cubicBezTo>
                        <a:pt x="53972" y="1006121"/>
                        <a:pt x="53972" y="1006134"/>
                        <a:pt x="53947" y="1006134"/>
                      </a:cubicBezTo>
                      <a:cubicBezTo>
                        <a:pt x="53921" y="1006146"/>
                        <a:pt x="53921" y="1006146"/>
                        <a:pt x="53921" y="1006184"/>
                      </a:cubicBezTo>
                      <a:cubicBezTo>
                        <a:pt x="53921" y="1006197"/>
                        <a:pt x="53921" y="1006210"/>
                        <a:pt x="53909" y="1006210"/>
                      </a:cubicBezTo>
                      <a:cubicBezTo>
                        <a:pt x="53909" y="1006235"/>
                        <a:pt x="53909" y="1006260"/>
                        <a:pt x="53909" y="1006311"/>
                      </a:cubicBezTo>
                      <a:cubicBezTo>
                        <a:pt x="53985" y="1115557"/>
                        <a:pt x="54023" y="1224829"/>
                        <a:pt x="54111" y="1334075"/>
                      </a:cubicBezTo>
                      <a:cubicBezTo>
                        <a:pt x="32840" y="1329309"/>
                        <a:pt x="23206" y="1348336"/>
                        <a:pt x="7107" y="1327560"/>
                      </a:cubicBezTo>
                      <a:cubicBezTo>
                        <a:pt x="2176" y="1321209"/>
                        <a:pt x="2391" y="1325113"/>
                        <a:pt x="616" y="1319028"/>
                      </a:cubicBezTo>
                      <a:cubicBezTo>
                        <a:pt x="-778" y="1314249"/>
                        <a:pt x="629" y="1306757"/>
                        <a:pt x="629" y="1301801"/>
                      </a:cubicBezTo>
                      <a:cubicBezTo>
                        <a:pt x="629" y="1242525"/>
                        <a:pt x="629" y="1183237"/>
                        <a:pt x="629" y="1123949"/>
                      </a:cubicBezTo>
                      <a:cubicBezTo>
                        <a:pt x="629" y="950065"/>
                        <a:pt x="642" y="776181"/>
                        <a:pt x="629" y="602285"/>
                      </a:cubicBezTo>
                      <a:cubicBezTo>
                        <a:pt x="616" y="559489"/>
                        <a:pt x="616" y="513727"/>
                        <a:pt x="616" y="472084"/>
                      </a:cubicBezTo>
                      <a:lnTo>
                        <a:pt x="616" y="472084"/>
                      </a:lnTo>
                      <a:close/>
                    </a:path>
                  </a:pathLst>
                </a:custGeom>
                <a:solidFill>
                  <a:srgbClr val="D6D6D2"/>
                </a:solidFill>
                <a:ln w="12413" cap="rnd">
                  <a:solidFill>
                    <a:srgbClr val="FFFFFF"/>
                  </a:solidFill>
                  <a:prstDash val="solid"/>
                  <a:round/>
                </a:ln>
              </p:spPr>
              <p:txBody>
                <a:bodyPr rtlCol="0" anchor="ctr"/>
                <a:lstStyle/>
                <a:p>
                  <a:endParaRPr lang="en-US"/>
                </a:p>
              </p:txBody>
            </p:sp>
            <p:sp>
              <p:nvSpPr>
                <p:cNvPr id="93" name="Freeform: Shape 92">
                  <a:extLst>
                    <a:ext uri="{FF2B5EF4-FFF2-40B4-BE49-F238E27FC236}">
                      <a16:creationId xmlns:a16="http://schemas.microsoft.com/office/drawing/2014/main" id="{26BCEAC0-BE0B-4B76-99B1-C4DC0DB42228}"/>
                    </a:ext>
                  </a:extLst>
                </p:cNvPr>
                <p:cNvSpPr/>
                <p:nvPr/>
              </p:nvSpPr>
              <p:spPr>
                <a:xfrm>
                  <a:off x="1599092" y="2162919"/>
                  <a:ext cx="75615" cy="44748"/>
                </a:xfrm>
                <a:custGeom>
                  <a:avLst/>
                  <a:gdLst>
                    <a:gd name="connsiteX0" fmla="*/ 75615 w 75615"/>
                    <a:gd name="connsiteY0" fmla="*/ 12613 h 44748"/>
                    <a:gd name="connsiteX1" fmla="*/ 20067 w 75615"/>
                    <a:gd name="connsiteY1" fmla="*/ 44748 h 44748"/>
                    <a:gd name="connsiteX2" fmla="*/ 0 w 75615"/>
                    <a:gd name="connsiteY2" fmla="*/ 0 h 44748"/>
                    <a:gd name="connsiteX3" fmla="*/ 16226 w 75615"/>
                    <a:gd name="connsiteY3" fmla="*/ 5426 h 44748"/>
                    <a:gd name="connsiteX4" fmla="*/ 35545 w 75615"/>
                    <a:gd name="connsiteY4" fmla="*/ 9736 h 44748"/>
                    <a:gd name="connsiteX5" fmla="*/ 54585 w 75615"/>
                    <a:gd name="connsiteY5" fmla="*/ 14084 h 44748"/>
                    <a:gd name="connsiteX6" fmla="*/ 75615 w 75615"/>
                    <a:gd name="connsiteY6" fmla="*/ 12613 h 44748"/>
                    <a:gd name="connsiteX7" fmla="*/ 75615 w 75615"/>
                    <a:gd name="connsiteY7" fmla="*/ 12613 h 44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615" h="44748">
                      <a:moveTo>
                        <a:pt x="75615" y="12613"/>
                      </a:moveTo>
                      <a:cubicBezTo>
                        <a:pt x="57108" y="23350"/>
                        <a:pt x="38600" y="34049"/>
                        <a:pt x="20067" y="44748"/>
                      </a:cubicBezTo>
                      <a:cubicBezTo>
                        <a:pt x="13374" y="29828"/>
                        <a:pt x="6693" y="14908"/>
                        <a:pt x="0" y="0"/>
                      </a:cubicBezTo>
                      <a:cubicBezTo>
                        <a:pt x="3942" y="254"/>
                        <a:pt x="12271" y="3803"/>
                        <a:pt x="16226" y="5426"/>
                      </a:cubicBezTo>
                      <a:cubicBezTo>
                        <a:pt x="22590" y="8024"/>
                        <a:pt x="28624" y="7961"/>
                        <a:pt x="35545" y="9736"/>
                      </a:cubicBezTo>
                      <a:cubicBezTo>
                        <a:pt x="43392" y="11751"/>
                        <a:pt x="46117" y="13323"/>
                        <a:pt x="54585" y="14084"/>
                      </a:cubicBezTo>
                      <a:cubicBezTo>
                        <a:pt x="64004" y="14920"/>
                        <a:pt x="67477" y="13412"/>
                        <a:pt x="75615" y="12613"/>
                      </a:cubicBezTo>
                      <a:lnTo>
                        <a:pt x="75615" y="12613"/>
                      </a:lnTo>
                      <a:close/>
                    </a:path>
                  </a:pathLst>
                </a:custGeom>
                <a:solidFill>
                  <a:srgbClr val="D6D6D2"/>
                </a:solidFill>
                <a:ln w="12674"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60A52F83-EDA9-4E6E-B046-4B0288E07AAF}"/>
                    </a:ext>
                  </a:extLst>
                </p:cNvPr>
                <p:cNvSpPr/>
                <p:nvPr/>
              </p:nvSpPr>
              <p:spPr>
                <a:xfrm>
                  <a:off x="5359188" y="1303678"/>
                  <a:ext cx="1344297" cy="1633928"/>
                </a:xfrm>
                <a:custGeom>
                  <a:avLst/>
                  <a:gdLst>
                    <a:gd name="connsiteX0" fmla="*/ 49492 w 1344297"/>
                    <a:gd name="connsiteY0" fmla="*/ 1585023 h 1633928"/>
                    <a:gd name="connsiteX1" fmla="*/ 32594 w 1344297"/>
                    <a:gd name="connsiteY1" fmla="*/ 1597750 h 1633928"/>
                    <a:gd name="connsiteX2" fmla="*/ 20640 w 1344297"/>
                    <a:gd name="connsiteY2" fmla="*/ 1616182 h 1633928"/>
                    <a:gd name="connsiteX3" fmla="*/ 13554 w 1344297"/>
                    <a:gd name="connsiteY3" fmla="*/ 1625866 h 1633928"/>
                    <a:gd name="connsiteX4" fmla="*/ 814 w 1344297"/>
                    <a:gd name="connsiteY4" fmla="*/ 1633929 h 1633928"/>
                    <a:gd name="connsiteX5" fmla="*/ 5771 w 1344297"/>
                    <a:gd name="connsiteY5" fmla="*/ 1618983 h 1633928"/>
                    <a:gd name="connsiteX6" fmla="*/ 7951 w 1344297"/>
                    <a:gd name="connsiteY6" fmla="*/ 1605774 h 1633928"/>
                    <a:gd name="connsiteX7" fmla="*/ 20665 w 1344297"/>
                    <a:gd name="connsiteY7" fmla="*/ 1599271 h 1633928"/>
                    <a:gd name="connsiteX8" fmla="*/ 17585 w 1344297"/>
                    <a:gd name="connsiteY8" fmla="*/ 1585821 h 1633928"/>
                    <a:gd name="connsiteX9" fmla="*/ 34534 w 1344297"/>
                    <a:gd name="connsiteY9" fmla="*/ 1586759 h 1633928"/>
                    <a:gd name="connsiteX10" fmla="*/ 45436 w 1344297"/>
                    <a:gd name="connsiteY10" fmla="*/ 1570673 h 1633928"/>
                    <a:gd name="connsiteX11" fmla="*/ 49492 w 1344297"/>
                    <a:gd name="connsiteY11" fmla="*/ 1585023 h 1633928"/>
                    <a:gd name="connsiteX12" fmla="*/ 49492 w 1344297"/>
                    <a:gd name="connsiteY12" fmla="*/ 1585023 h 1633928"/>
                    <a:gd name="connsiteX13" fmla="*/ 247867 w 1344297"/>
                    <a:gd name="connsiteY13" fmla="*/ 1004628 h 1633928"/>
                    <a:gd name="connsiteX14" fmla="*/ 248906 w 1344297"/>
                    <a:gd name="connsiteY14" fmla="*/ 1011613 h 1633928"/>
                    <a:gd name="connsiteX15" fmla="*/ 273905 w 1344297"/>
                    <a:gd name="connsiteY15" fmla="*/ 1030995 h 1633928"/>
                    <a:gd name="connsiteX16" fmla="*/ 301425 w 1344297"/>
                    <a:gd name="connsiteY16" fmla="*/ 1029271 h 1633928"/>
                    <a:gd name="connsiteX17" fmla="*/ 290967 w 1344297"/>
                    <a:gd name="connsiteY17" fmla="*/ 1050099 h 1633928"/>
                    <a:gd name="connsiteX18" fmla="*/ 285529 w 1344297"/>
                    <a:gd name="connsiteY18" fmla="*/ 1049642 h 1633928"/>
                    <a:gd name="connsiteX19" fmla="*/ 291271 w 1344297"/>
                    <a:gd name="connsiteY19" fmla="*/ 1057705 h 1633928"/>
                    <a:gd name="connsiteX20" fmla="*/ 315116 w 1344297"/>
                    <a:gd name="connsiteY20" fmla="*/ 1056703 h 1633928"/>
                    <a:gd name="connsiteX21" fmla="*/ 308232 w 1344297"/>
                    <a:gd name="connsiteY21" fmla="*/ 1068061 h 1633928"/>
                    <a:gd name="connsiteX22" fmla="*/ 315750 w 1344297"/>
                    <a:gd name="connsiteY22" fmla="*/ 1068302 h 1633928"/>
                    <a:gd name="connsiteX23" fmla="*/ 312188 w 1344297"/>
                    <a:gd name="connsiteY23" fmla="*/ 1071775 h 1633928"/>
                    <a:gd name="connsiteX24" fmla="*/ 317461 w 1344297"/>
                    <a:gd name="connsiteY24" fmla="*/ 1071002 h 1633928"/>
                    <a:gd name="connsiteX25" fmla="*/ 322025 w 1344297"/>
                    <a:gd name="connsiteY25" fmla="*/ 1071027 h 1633928"/>
                    <a:gd name="connsiteX26" fmla="*/ 317132 w 1344297"/>
                    <a:gd name="connsiteY26" fmla="*/ 1081524 h 1633928"/>
                    <a:gd name="connsiteX27" fmla="*/ 328528 w 1344297"/>
                    <a:gd name="connsiteY27" fmla="*/ 1084034 h 1633928"/>
                    <a:gd name="connsiteX28" fmla="*/ 319008 w 1344297"/>
                    <a:gd name="connsiteY28" fmla="*/ 1092704 h 1633928"/>
                    <a:gd name="connsiteX29" fmla="*/ 322570 w 1344297"/>
                    <a:gd name="connsiteY29" fmla="*/ 1092971 h 1633928"/>
                    <a:gd name="connsiteX30" fmla="*/ 311047 w 1344297"/>
                    <a:gd name="connsiteY30" fmla="*/ 1104633 h 1633928"/>
                    <a:gd name="connsiteX31" fmla="*/ 302807 w 1344297"/>
                    <a:gd name="connsiteY31" fmla="*/ 1120200 h 1633928"/>
                    <a:gd name="connsiteX32" fmla="*/ 297153 w 1344297"/>
                    <a:gd name="connsiteY32" fmla="*/ 1121417 h 1633928"/>
                    <a:gd name="connsiteX33" fmla="*/ 299321 w 1344297"/>
                    <a:gd name="connsiteY33" fmla="*/ 1125917 h 1633928"/>
                    <a:gd name="connsiteX34" fmla="*/ 285072 w 1344297"/>
                    <a:gd name="connsiteY34" fmla="*/ 1176978 h 1633928"/>
                    <a:gd name="connsiteX35" fmla="*/ 272890 w 1344297"/>
                    <a:gd name="connsiteY35" fmla="*/ 1211800 h 1633928"/>
                    <a:gd name="connsiteX36" fmla="*/ 272396 w 1344297"/>
                    <a:gd name="connsiteY36" fmla="*/ 1210140 h 1633928"/>
                    <a:gd name="connsiteX37" fmla="*/ 256842 w 1344297"/>
                    <a:gd name="connsiteY37" fmla="*/ 1203840 h 1633928"/>
                    <a:gd name="connsiteX38" fmla="*/ 253876 w 1344297"/>
                    <a:gd name="connsiteY38" fmla="*/ 1218747 h 1633928"/>
                    <a:gd name="connsiteX39" fmla="*/ 258173 w 1344297"/>
                    <a:gd name="connsiteY39" fmla="*/ 1218963 h 1633928"/>
                    <a:gd name="connsiteX40" fmla="*/ 223072 w 1344297"/>
                    <a:gd name="connsiteY40" fmla="*/ 1241375 h 1633928"/>
                    <a:gd name="connsiteX41" fmla="*/ 232491 w 1344297"/>
                    <a:gd name="connsiteY41" fmla="*/ 1220636 h 1633928"/>
                    <a:gd name="connsiteX42" fmla="*/ 226114 w 1344297"/>
                    <a:gd name="connsiteY42" fmla="*/ 1203269 h 1633928"/>
                    <a:gd name="connsiteX43" fmla="*/ 221601 w 1344297"/>
                    <a:gd name="connsiteY43" fmla="*/ 1196525 h 1633928"/>
                    <a:gd name="connsiteX44" fmla="*/ 220739 w 1344297"/>
                    <a:gd name="connsiteY44" fmla="*/ 1191543 h 1633928"/>
                    <a:gd name="connsiteX45" fmla="*/ 229841 w 1344297"/>
                    <a:gd name="connsiteY45" fmla="*/ 1196183 h 1633928"/>
                    <a:gd name="connsiteX46" fmla="*/ 227090 w 1344297"/>
                    <a:gd name="connsiteY46" fmla="*/ 1183405 h 1633928"/>
                    <a:gd name="connsiteX47" fmla="*/ 215770 w 1344297"/>
                    <a:gd name="connsiteY47" fmla="*/ 1195663 h 1633928"/>
                    <a:gd name="connsiteX48" fmla="*/ 216036 w 1344297"/>
                    <a:gd name="connsiteY48" fmla="*/ 1214475 h 1633928"/>
                    <a:gd name="connsiteX49" fmla="*/ 221766 w 1344297"/>
                    <a:gd name="connsiteY49" fmla="*/ 1226467 h 1633928"/>
                    <a:gd name="connsiteX50" fmla="*/ 207797 w 1344297"/>
                    <a:gd name="connsiteY50" fmla="*/ 1221409 h 1633928"/>
                    <a:gd name="connsiteX51" fmla="*/ 187692 w 1344297"/>
                    <a:gd name="connsiteY51" fmla="*/ 1215046 h 1633928"/>
                    <a:gd name="connsiteX52" fmla="*/ 189732 w 1344297"/>
                    <a:gd name="connsiteY52" fmla="*/ 1215286 h 1633928"/>
                    <a:gd name="connsiteX53" fmla="*/ 183217 w 1344297"/>
                    <a:gd name="connsiteY53" fmla="*/ 1208492 h 1633928"/>
                    <a:gd name="connsiteX54" fmla="*/ 191317 w 1344297"/>
                    <a:gd name="connsiteY54" fmla="*/ 1210710 h 1633928"/>
                    <a:gd name="connsiteX55" fmla="*/ 198910 w 1344297"/>
                    <a:gd name="connsiteY55" fmla="*/ 1190149 h 1633928"/>
                    <a:gd name="connsiteX56" fmla="*/ 191849 w 1344297"/>
                    <a:gd name="connsiteY56" fmla="*/ 1175077 h 1633928"/>
                    <a:gd name="connsiteX57" fmla="*/ 187299 w 1344297"/>
                    <a:gd name="connsiteY57" fmla="*/ 1160460 h 1633928"/>
                    <a:gd name="connsiteX58" fmla="*/ 188629 w 1344297"/>
                    <a:gd name="connsiteY58" fmla="*/ 1153577 h 1633928"/>
                    <a:gd name="connsiteX59" fmla="*/ 195031 w 1344297"/>
                    <a:gd name="connsiteY59" fmla="*/ 1152157 h 1633928"/>
                    <a:gd name="connsiteX60" fmla="*/ 211612 w 1344297"/>
                    <a:gd name="connsiteY60" fmla="*/ 1133650 h 1633928"/>
                    <a:gd name="connsiteX61" fmla="*/ 218711 w 1344297"/>
                    <a:gd name="connsiteY61" fmla="*/ 1119072 h 1633928"/>
                    <a:gd name="connsiteX62" fmla="*/ 223858 w 1344297"/>
                    <a:gd name="connsiteY62" fmla="*/ 1107346 h 1633928"/>
                    <a:gd name="connsiteX63" fmla="*/ 207568 w 1344297"/>
                    <a:gd name="connsiteY63" fmla="*/ 1109590 h 1633928"/>
                    <a:gd name="connsiteX64" fmla="*/ 220727 w 1344297"/>
                    <a:gd name="connsiteY64" fmla="*/ 1102820 h 1633928"/>
                    <a:gd name="connsiteX65" fmla="*/ 218990 w 1344297"/>
                    <a:gd name="connsiteY65" fmla="*/ 1094847 h 1633928"/>
                    <a:gd name="connsiteX66" fmla="*/ 209204 w 1344297"/>
                    <a:gd name="connsiteY66" fmla="*/ 1085961 h 1633928"/>
                    <a:gd name="connsiteX67" fmla="*/ 205984 w 1344297"/>
                    <a:gd name="connsiteY67" fmla="*/ 1077962 h 1633928"/>
                    <a:gd name="connsiteX68" fmla="*/ 192293 w 1344297"/>
                    <a:gd name="connsiteY68" fmla="*/ 1063079 h 1633928"/>
                    <a:gd name="connsiteX69" fmla="*/ 183863 w 1344297"/>
                    <a:gd name="connsiteY69" fmla="*/ 1068606 h 1633928"/>
                    <a:gd name="connsiteX70" fmla="*/ 182253 w 1344297"/>
                    <a:gd name="connsiteY70" fmla="*/ 1088724 h 1633928"/>
                    <a:gd name="connsiteX71" fmla="*/ 202156 w 1344297"/>
                    <a:gd name="connsiteY71" fmla="*/ 1099575 h 1633928"/>
                    <a:gd name="connsiteX72" fmla="*/ 186728 w 1344297"/>
                    <a:gd name="connsiteY72" fmla="*/ 1111897 h 1633928"/>
                    <a:gd name="connsiteX73" fmla="*/ 187958 w 1344297"/>
                    <a:gd name="connsiteY73" fmla="*/ 1097471 h 1633928"/>
                    <a:gd name="connsiteX74" fmla="*/ 171377 w 1344297"/>
                    <a:gd name="connsiteY74" fmla="*/ 1097813 h 1633928"/>
                    <a:gd name="connsiteX75" fmla="*/ 155265 w 1344297"/>
                    <a:gd name="connsiteY75" fmla="*/ 1113912 h 1633928"/>
                    <a:gd name="connsiteX76" fmla="*/ 159423 w 1344297"/>
                    <a:gd name="connsiteY76" fmla="*/ 1103771 h 1633928"/>
                    <a:gd name="connsiteX77" fmla="*/ 164012 w 1344297"/>
                    <a:gd name="connsiteY77" fmla="*/ 1101134 h 1633928"/>
                    <a:gd name="connsiteX78" fmla="*/ 149700 w 1344297"/>
                    <a:gd name="connsiteY78" fmla="*/ 1085935 h 1633928"/>
                    <a:gd name="connsiteX79" fmla="*/ 154821 w 1344297"/>
                    <a:gd name="connsiteY79" fmla="*/ 1074704 h 1633928"/>
                    <a:gd name="connsiteX80" fmla="*/ 156672 w 1344297"/>
                    <a:gd name="connsiteY80" fmla="*/ 1074615 h 1633928"/>
                    <a:gd name="connsiteX81" fmla="*/ 155354 w 1344297"/>
                    <a:gd name="connsiteY81" fmla="*/ 1079280 h 1633928"/>
                    <a:gd name="connsiteX82" fmla="*/ 160133 w 1344297"/>
                    <a:gd name="connsiteY82" fmla="*/ 1085555 h 1633928"/>
                    <a:gd name="connsiteX83" fmla="*/ 158700 w 1344297"/>
                    <a:gd name="connsiteY83" fmla="*/ 1082842 h 1633928"/>
                    <a:gd name="connsiteX84" fmla="*/ 174660 w 1344297"/>
                    <a:gd name="connsiteY84" fmla="*/ 1091247 h 1633928"/>
                    <a:gd name="connsiteX85" fmla="*/ 170426 w 1344297"/>
                    <a:gd name="connsiteY85" fmla="*/ 1079432 h 1633928"/>
                    <a:gd name="connsiteX86" fmla="*/ 162871 w 1344297"/>
                    <a:gd name="connsiteY86" fmla="*/ 1074564 h 1633928"/>
                    <a:gd name="connsiteX87" fmla="*/ 156571 w 1344297"/>
                    <a:gd name="connsiteY87" fmla="*/ 1067148 h 1633928"/>
                    <a:gd name="connsiteX88" fmla="*/ 154378 w 1344297"/>
                    <a:gd name="connsiteY88" fmla="*/ 1068518 h 1633928"/>
                    <a:gd name="connsiteX89" fmla="*/ 152971 w 1344297"/>
                    <a:gd name="connsiteY89" fmla="*/ 1065196 h 1633928"/>
                    <a:gd name="connsiteX90" fmla="*/ 149763 w 1344297"/>
                    <a:gd name="connsiteY90" fmla="*/ 1070229 h 1633928"/>
                    <a:gd name="connsiteX91" fmla="*/ 144515 w 1344297"/>
                    <a:gd name="connsiteY91" fmla="*/ 1061317 h 1633928"/>
                    <a:gd name="connsiteX92" fmla="*/ 144274 w 1344297"/>
                    <a:gd name="connsiteY92" fmla="*/ 1047221 h 1633928"/>
                    <a:gd name="connsiteX93" fmla="*/ 150283 w 1344297"/>
                    <a:gd name="connsiteY93" fmla="*/ 1045776 h 1633928"/>
                    <a:gd name="connsiteX94" fmla="*/ 163454 w 1344297"/>
                    <a:gd name="connsiteY94" fmla="*/ 1055537 h 1633928"/>
                    <a:gd name="connsiteX95" fmla="*/ 164227 w 1344297"/>
                    <a:gd name="connsiteY95" fmla="*/ 1042619 h 1633928"/>
                    <a:gd name="connsiteX96" fmla="*/ 163594 w 1344297"/>
                    <a:gd name="connsiteY96" fmla="*/ 1033099 h 1633928"/>
                    <a:gd name="connsiteX97" fmla="*/ 170097 w 1344297"/>
                    <a:gd name="connsiteY97" fmla="*/ 1039121 h 1633928"/>
                    <a:gd name="connsiteX98" fmla="*/ 187311 w 1344297"/>
                    <a:gd name="connsiteY98" fmla="*/ 1033569 h 1633928"/>
                    <a:gd name="connsiteX99" fmla="*/ 189821 w 1344297"/>
                    <a:gd name="connsiteY99" fmla="*/ 1023808 h 1633928"/>
                    <a:gd name="connsiteX100" fmla="*/ 196248 w 1344297"/>
                    <a:gd name="connsiteY100" fmla="*/ 1030894 h 1633928"/>
                    <a:gd name="connsiteX101" fmla="*/ 203905 w 1344297"/>
                    <a:gd name="connsiteY101" fmla="*/ 1023465 h 1633928"/>
                    <a:gd name="connsiteX102" fmla="*/ 196185 w 1344297"/>
                    <a:gd name="connsiteY102" fmla="*/ 1021817 h 1633928"/>
                    <a:gd name="connsiteX103" fmla="*/ 211194 w 1344297"/>
                    <a:gd name="connsiteY103" fmla="*/ 1008697 h 1633928"/>
                    <a:gd name="connsiteX104" fmla="*/ 235190 w 1344297"/>
                    <a:gd name="connsiteY104" fmla="*/ 1002726 h 1633928"/>
                    <a:gd name="connsiteX105" fmla="*/ 247867 w 1344297"/>
                    <a:gd name="connsiteY105" fmla="*/ 1004628 h 1633928"/>
                    <a:gd name="connsiteX106" fmla="*/ 247867 w 1344297"/>
                    <a:gd name="connsiteY106" fmla="*/ 1004628 h 1633928"/>
                    <a:gd name="connsiteX107" fmla="*/ 482104 w 1344297"/>
                    <a:gd name="connsiteY107" fmla="*/ 966155 h 1633928"/>
                    <a:gd name="connsiteX108" fmla="*/ 486186 w 1344297"/>
                    <a:gd name="connsiteY108" fmla="*/ 966776 h 1633928"/>
                    <a:gd name="connsiteX109" fmla="*/ 515025 w 1344297"/>
                    <a:gd name="connsiteY109" fmla="*/ 975408 h 1633928"/>
                    <a:gd name="connsiteX110" fmla="*/ 514023 w 1344297"/>
                    <a:gd name="connsiteY110" fmla="*/ 978489 h 1633928"/>
                    <a:gd name="connsiteX111" fmla="*/ 517978 w 1344297"/>
                    <a:gd name="connsiteY111" fmla="*/ 976372 h 1633928"/>
                    <a:gd name="connsiteX112" fmla="*/ 515075 w 1344297"/>
                    <a:gd name="connsiteY112" fmla="*/ 980923 h 1633928"/>
                    <a:gd name="connsiteX113" fmla="*/ 517585 w 1344297"/>
                    <a:gd name="connsiteY113" fmla="*/ 981329 h 1633928"/>
                    <a:gd name="connsiteX114" fmla="*/ 517243 w 1344297"/>
                    <a:gd name="connsiteY114" fmla="*/ 995298 h 1633928"/>
                    <a:gd name="connsiteX115" fmla="*/ 517940 w 1344297"/>
                    <a:gd name="connsiteY115" fmla="*/ 1008304 h 1633928"/>
                    <a:gd name="connsiteX116" fmla="*/ 523163 w 1344297"/>
                    <a:gd name="connsiteY116" fmla="*/ 1008735 h 1633928"/>
                    <a:gd name="connsiteX117" fmla="*/ 521148 w 1344297"/>
                    <a:gd name="connsiteY117" fmla="*/ 1010383 h 1633928"/>
                    <a:gd name="connsiteX118" fmla="*/ 525711 w 1344297"/>
                    <a:gd name="connsiteY118" fmla="*/ 1009825 h 1633928"/>
                    <a:gd name="connsiteX119" fmla="*/ 497468 w 1344297"/>
                    <a:gd name="connsiteY119" fmla="*/ 1028663 h 1633928"/>
                    <a:gd name="connsiteX120" fmla="*/ 483194 w 1344297"/>
                    <a:gd name="connsiteY120" fmla="*/ 1059150 h 1633928"/>
                    <a:gd name="connsiteX121" fmla="*/ 452175 w 1344297"/>
                    <a:gd name="connsiteY121" fmla="*/ 1035445 h 1633928"/>
                    <a:gd name="connsiteX122" fmla="*/ 420078 w 1344297"/>
                    <a:gd name="connsiteY122" fmla="*/ 1049680 h 1633928"/>
                    <a:gd name="connsiteX123" fmla="*/ 412877 w 1344297"/>
                    <a:gd name="connsiteY123" fmla="*/ 1065488 h 1633928"/>
                    <a:gd name="connsiteX124" fmla="*/ 402850 w 1344297"/>
                    <a:gd name="connsiteY124" fmla="*/ 1076973 h 1633928"/>
                    <a:gd name="connsiteX125" fmla="*/ 395092 w 1344297"/>
                    <a:gd name="connsiteY125" fmla="*/ 1096026 h 1633928"/>
                    <a:gd name="connsiteX126" fmla="*/ 394484 w 1344297"/>
                    <a:gd name="connsiteY126" fmla="*/ 1101160 h 1633928"/>
                    <a:gd name="connsiteX127" fmla="*/ 387423 w 1344297"/>
                    <a:gd name="connsiteY127" fmla="*/ 1098865 h 1633928"/>
                    <a:gd name="connsiteX128" fmla="*/ 368700 w 1344297"/>
                    <a:gd name="connsiteY128" fmla="*/ 1098903 h 1633928"/>
                    <a:gd name="connsiteX129" fmla="*/ 374721 w 1344297"/>
                    <a:gd name="connsiteY129" fmla="*/ 1085998 h 1633928"/>
                    <a:gd name="connsiteX130" fmla="*/ 363629 w 1344297"/>
                    <a:gd name="connsiteY130" fmla="*/ 1083755 h 1633928"/>
                    <a:gd name="connsiteX131" fmla="*/ 362045 w 1344297"/>
                    <a:gd name="connsiteY131" fmla="*/ 1087114 h 1633928"/>
                    <a:gd name="connsiteX132" fmla="*/ 350572 w 1344297"/>
                    <a:gd name="connsiteY132" fmla="*/ 1076935 h 1633928"/>
                    <a:gd name="connsiteX133" fmla="*/ 358013 w 1344297"/>
                    <a:gd name="connsiteY133" fmla="*/ 1072992 h 1633928"/>
                    <a:gd name="connsiteX134" fmla="*/ 355503 w 1344297"/>
                    <a:gd name="connsiteY134" fmla="*/ 1069126 h 1633928"/>
                    <a:gd name="connsiteX135" fmla="*/ 358533 w 1344297"/>
                    <a:gd name="connsiteY135" fmla="*/ 1067656 h 1633928"/>
                    <a:gd name="connsiteX136" fmla="*/ 356201 w 1344297"/>
                    <a:gd name="connsiteY136" fmla="*/ 1064284 h 1633928"/>
                    <a:gd name="connsiteX137" fmla="*/ 351459 w 1344297"/>
                    <a:gd name="connsiteY137" fmla="*/ 1061812 h 1633928"/>
                    <a:gd name="connsiteX138" fmla="*/ 358216 w 1344297"/>
                    <a:gd name="connsiteY138" fmla="*/ 1064664 h 1633928"/>
                    <a:gd name="connsiteX139" fmla="*/ 362830 w 1344297"/>
                    <a:gd name="connsiteY139" fmla="*/ 1059910 h 1633928"/>
                    <a:gd name="connsiteX140" fmla="*/ 362323 w 1344297"/>
                    <a:gd name="connsiteY140" fmla="*/ 1056982 h 1633928"/>
                    <a:gd name="connsiteX141" fmla="*/ 361144 w 1344297"/>
                    <a:gd name="connsiteY141" fmla="*/ 1052697 h 1633928"/>
                    <a:gd name="connsiteX142" fmla="*/ 350268 w 1344297"/>
                    <a:gd name="connsiteY142" fmla="*/ 1052304 h 1633928"/>
                    <a:gd name="connsiteX143" fmla="*/ 353424 w 1344297"/>
                    <a:gd name="connsiteY143" fmla="*/ 1047677 h 1633928"/>
                    <a:gd name="connsiteX144" fmla="*/ 353424 w 1344297"/>
                    <a:gd name="connsiteY144" fmla="*/ 1041998 h 1633928"/>
                    <a:gd name="connsiteX145" fmla="*/ 330455 w 1344297"/>
                    <a:gd name="connsiteY145" fmla="*/ 1046765 h 1633928"/>
                    <a:gd name="connsiteX146" fmla="*/ 323077 w 1344297"/>
                    <a:gd name="connsiteY146" fmla="*/ 1049883 h 1633928"/>
                    <a:gd name="connsiteX147" fmla="*/ 334625 w 1344297"/>
                    <a:gd name="connsiteY147" fmla="*/ 1044014 h 1633928"/>
                    <a:gd name="connsiteX148" fmla="*/ 371146 w 1344297"/>
                    <a:gd name="connsiteY148" fmla="*/ 1020727 h 1633928"/>
                    <a:gd name="connsiteX149" fmla="*/ 378245 w 1344297"/>
                    <a:gd name="connsiteY149" fmla="*/ 1002055 h 1633928"/>
                    <a:gd name="connsiteX150" fmla="*/ 388500 w 1344297"/>
                    <a:gd name="connsiteY150" fmla="*/ 986817 h 1633928"/>
                    <a:gd name="connsiteX151" fmla="*/ 391999 w 1344297"/>
                    <a:gd name="connsiteY151" fmla="*/ 984485 h 1633928"/>
                    <a:gd name="connsiteX152" fmla="*/ 404561 w 1344297"/>
                    <a:gd name="connsiteY152" fmla="*/ 1001218 h 1633928"/>
                    <a:gd name="connsiteX153" fmla="*/ 422144 w 1344297"/>
                    <a:gd name="connsiteY153" fmla="*/ 997314 h 1633928"/>
                    <a:gd name="connsiteX154" fmla="*/ 440905 w 1344297"/>
                    <a:gd name="connsiteY154" fmla="*/ 993447 h 1633928"/>
                    <a:gd name="connsiteX155" fmla="*/ 437533 w 1344297"/>
                    <a:gd name="connsiteY155" fmla="*/ 974699 h 1633928"/>
                    <a:gd name="connsiteX156" fmla="*/ 461137 w 1344297"/>
                    <a:gd name="connsiteY156" fmla="*/ 968589 h 1633928"/>
                    <a:gd name="connsiteX157" fmla="*/ 478808 w 1344297"/>
                    <a:gd name="connsiteY157" fmla="*/ 966332 h 1633928"/>
                    <a:gd name="connsiteX158" fmla="*/ 482104 w 1344297"/>
                    <a:gd name="connsiteY158" fmla="*/ 966155 h 1633928"/>
                    <a:gd name="connsiteX159" fmla="*/ 482104 w 1344297"/>
                    <a:gd name="connsiteY159" fmla="*/ 966155 h 1633928"/>
                    <a:gd name="connsiteX160" fmla="*/ 798180 w 1344297"/>
                    <a:gd name="connsiteY160" fmla="*/ 655009 h 1633928"/>
                    <a:gd name="connsiteX161" fmla="*/ 808410 w 1344297"/>
                    <a:gd name="connsiteY161" fmla="*/ 657456 h 1633928"/>
                    <a:gd name="connsiteX162" fmla="*/ 798992 w 1344297"/>
                    <a:gd name="connsiteY162" fmla="*/ 671451 h 1633928"/>
                    <a:gd name="connsiteX163" fmla="*/ 781549 w 1344297"/>
                    <a:gd name="connsiteY163" fmla="*/ 675850 h 1633928"/>
                    <a:gd name="connsiteX164" fmla="*/ 790346 w 1344297"/>
                    <a:gd name="connsiteY164" fmla="*/ 664555 h 1633928"/>
                    <a:gd name="connsiteX165" fmla="*/ 783387 w 1344297"/>
                    <a:gd name="connsiteY165" fmla="*/ 655593 h 1633928"/>
                    <a:gd name="connsiteX166" fmla="*/ 791588 w 1344297"/>
                    <a:gd name="connsiteY166" fmla="*/ 643993 h 1633928"/>
                    <a:gd name="connsiteX167" fmla="*/ 798180 w 1344297"/>
                    <a:gd name="connsiteY167" fmla="*/ 655009 h 1633928"/>
                    <a:gd name="connsiteX168" fmla="*/ 798180 w 1344297"/>
                    <a:gd name="connsiteY168" fmla="*/ 655009 h 1633928"/>
                    <a:gd name="connsiteX169" fmla="*/ 1008053 w 1344297"/>
                    <a:gd name="connsiteY169" fmla="*/ 370472 h 1633928"/>
                    <a:gd name="connsiteX170" fmla="*/ 1021693 w 1344297"/>
                    <a:gd name="connsiteY170" fmla="*/ 363715 h 1633928"/>
                    <a:gd name="connsiteX171" fmla="*/ 1016901 w 1344297"/>
                    <a:gd name="connsiteY171" fmla="*/ 392897 h 1633928"/>
                    <a:gd name="connsiteX172" fmla="*/ 1018904 w 1344297"/>
                    <a:gd name="connsiteY172" fmla="*/ 425374 h 1633928"/>
                    <a:gd name="connsiteX173" fmla="*/ 1029616 w 1344297"/>
                    <a:gd name="connsiteY173" fmla="*/ 441499 h 1633928"/>
                    <a:gd name="connsiteX174" fmla="*/ 1049328 w 1344297"/>
                    <a:gd name="connsiteY174" fmla="*/ 469907 h 1633928"/>
                    <a:gd name="connsiteX175" fmla="*/ 1050114 w 1344297"/>
                    <a:gd name="connsiteY175" fmla="*/ 478958 h 1633928"/>
                    <a:gd name="connsiteX176" fmla="*/ 1058265 w 1344297"/>
                    <a:gd name="connsiteY176" fmla="*/ 490658 h 1633928"/>
                    <a:gd name="connsiteX177" fmla="*/ 1059114 w 1344297"/>
                    <a:gd name="connsiteY177" fmla="*/ 523250 h 1633928"/>
                    <a:gd name="connsiteX178" fmla="*/ 1064261 w 1344297"/>
                    <a:gd name="connsiteY178" fmla="*/ 519751 h 1633928"/>
                    <a:gd name="connsiteX179" fmla="*/ 1058087 w 1344297"/>
                    <a:gd name="connsiteY179" fmla="*/ 535153 h 1633928"/>
                    <a:gd name="connsiteX180" fmla="*/ 1064261 w 1344297"/>
                    <a:gd name="connsiteY180" fmla="*/ 533163 h 1633928"/>
                    <a:gd name="connsiteX181" fmla="*/ 1065896 w 1344297"/>
                    <a:gd name="connsiteY181" fmla="*/ 534671 h 1633928"/>
                    <a:gd name="connsiteX182" fmla="*/ 1057048 w 1344297"/>
                    <a:gd name="connsiteY182" fmla="*/ 541681 h 1633928"/>
                    <a:gd name="connsiteX183" fmla="*/ 1058949 w 1344297"/>
                    <a:gd name="connsiteY183" fmla="*/ 542480 h 1633928"/>
                    <a:gd name="connsiteX184" fmla="*/ 1054563 w 1344297"/>
                    <a:gd name="connsiteY184" fmla="*/ 546384 h 1633928"/>
                    <a:gd name="connsiteX185" fmla="*/ 1060153 w 1344297"/>
                    <a:gd name="connsiteY185" fmla="*/ 544610 h 1633928"/>
                    <a:gd name="connsiteX186" fmla="*/ 1055273 w 1344297"/>
                    <a:gd name="connsiteY186" fmla="*/ 549439 h 1633928"/>
                    <a:gd name="connsiteX187" fmla="*/ 1056591 w 1344297"/>
                    <a:gd name="connsiteY187" fmla="*/ 551151 h 1633928"/>
                    <a:gd name="connsiteX188" fmla="*/ 1054107 w 1344297"/>
                    <a:gd name="connsiteY188" fmla="*/ 551151 h 1633928"/>
                    <a:gd name="connsiteX189" fmla="*/ 1054107 w 1344297"/>
                    <a:gd name="connsiteY189" fmla="*/ 553445 h 1633928"/>
                    <a:gd name="connsiteX190" fmla="*/ 1057669 w 1344297"/>
                    <a:gd name="connsiteY190" fmla="*/ 553344 h 1633928"/>
                    <a:gd name="connsiteX191" fmla="*/ 1052598 w 1344297"/>
                    <a:gd name="connsiteY191" fmla="*/ 556969 h 1633928"/>
                    <a:gd name="connsiteX192" fmla="*/ 1056110 w 1344297"/>
                    <a:gd name="connsiteY192" fmla="*/ 558756 h 1633928"/>
                    <a:gd name="connsiteX193" fmla="*/ 1050037 w 1344297"/>
                    <a:gd name="connsiteY193" fmla="*/ 561735 h 1633928"/>
                    <a:gd name="connsiteX194" fmla="*/ 1055184 w 1344297"/>
                    <a:gd name="connsiteY194" fmla="*/ 566438 h 1633928"/>
                    <a:gd name="connsiteX195" fmla="*/ 1048060 w 1344297"/>
                    <a:gd name="connsiteY195" fmla="*/ 567022 h 1633928"/>
                    <a:gd name="connsiteX196" fmla="*/ 1052091 w 1344297"/>
                    <a:gd name="connsiteY196" fmla="*/ 569430 h 1633928"/>
                    <a:gd name="connsiteX197" fmla="*/ 1048503 w 1344297"/>
                    <a:gd name="connsiteY197" fmla="*/ 569963 h 1633928"/>
                    <a:gd name="connsiteX198" fmla="*/ 1050887 w 1344297"/>
                    <a:gd name="connsiteY198" fmla="*/ 572599 h 1633928"/>
                    <a:gd name="connsiteX199" fmla="*/ 1041430 w 1344297"/>
                    <a:gd name="connsiteY199" fmla="*/ 571724 h 1633928"/>
                    <a:gd name="connsiteX200" fmla="*/ 1042926 w 1344297"/>
                    <a:gd name="connsiteY200" fmla="*/ 575895 h 1633928"/>
                    <a:gd name="connsiteX201" fmla="*/ 1040391 w 1344297"/>
                    <a:gd name="connsiteY201" fmla="*/ 577074 h 1633928"/>
                    <a:gd name="connsiteX202" fmla="*/ 1041646 w 1344297"/>
                    <a:gd name="connsiteY202" fmla="*/ 579052 h 1633928"/>
                    <a:gd name="connsiteX203" fmla="*/ 1038908 w 1344297"/>
                    <a:gd name="connsiteY203" fmla="*/ 575261 h 1633928"/>
                    <a:gd name="connsiteX204" fmla="*/ 1037437 w 1344297"/>
                    <a:gd name="connsiteY204" fmla="*/ 587570 h 1633928"/>
                    <a:gd name="connsiteX205" fmla="*/ 1026979 w 1344297"/>
                    <a:gd name="connsiteY205" fmla="*/ 595189 h 1633928"/>
                    <a:gd name="connsiteX206" fmla="*/ 1029730 w 1344297"/>
                    <a:gd name="connsiteY206" fmla="*/ 599664 h 1633928"/>
                    <a:gd name="connsiteX207" fmla="*/ 1027410 w 1344297"/>
                    <a:gd name="connsiteY207" fmla="*/ 600259 h 1633928"/>
                    <a:gd name="connsiteX208" fmla="*/ 1027029 w 1344297"/>
                    <a:gd name="connsiteY208" fmla="*/ 605901 h 1633928"/>
                    <a:gd name="connsiteX209" fmla="*/ 1022187 w 1344297"/>
                    <a:gd name="connsiteY209" fmla="*/ 611808 h 1633928"/>
                    <a:gd name="connsiteX210" fmla="*/ 1026776 w 1344297"/>
                    <a:gd name="connsiteY210" fmla="*/ 613557 h 1633928"/>
                    <a:gd name="connsiteX211" fmla="*/ 1027765 w 1344297"/>
                    <a:gd name="connsiteY211" fmla="*/ 619363 h 1633928"/>
                    <a:gd name="connsiteX212" fmla="*/ 1025699 w 1344297"/>
                    <a:gd name="connsiteY212" fmla="*/ 617069 h 1633928"/>
                    <a:gd name="connsiteX213" fmla="*/ 1025242 w 1344297"/>
                    <a:gd name="connsiteY213" fmla="*/ 622329 h 1633928"/>
                    <a:gd name="connsiteX214" fmla="*/ 1028259 w 1344297"/>
                    <a:gd name="connsiteY214" fmla="*/ 627590 h 1633928"/>
                    <a:gd name="connsiteX215" fmla="*/ 1024697 w 1344297"/>
                    <a:gd name="connsiteY215" fmla="*/ 628756 h 1633928"/>
                    <a:gd name="connsiteX216" fmla="*/ 1026472 w 1344297"/>
                    <a:gd name="connsiteY216" fmla="*/ 637617 h 1633928"/>
                    <a:gd name="connsiteX217" fmla="*/ 1018004 w 1344297"/>
                    <a:gd name="connsiteY217" fmla="*/ 628198 h 1633928"/>
                    <a:gd name="connsiteX218" fmla="*/ 1000586 w 1344297"/>
                    <a:gd name="connsiteY218" fmla="*/ 632787 h 1633928"/>
                    <a:gd name="connsiteX219" fmla="*/ 997392 w 1344297"/>
                    <a:gd name="connsiteY219" fmla="*/ 628756 h 1633928"/>
                    <a:gd name="connsiteX220" fmla="*/ 991269 w 1344297"/>
                    <a:gd name="connsiteY220" fmla="*/ 634055 h 1633928"/>
                    <a:gd name="connsiteX221" fmla="*/ 985210 w 1344297"/>
                    <a:gd name="connsiteY221" fmla="*/ 645946 h 1633928"/>
                    <a:gd name="connsiteX222" fmla="*/ 984626 w 1344297"/>
                    <a:gd name="connsiteY222" fmla="*/ 673251 h 1633928"/>
                    <a:gd name="connsiteX223" fmla="*/ 989558 w 1344297"/>
                    <a:gd name="connsiteY223" fmla="*/ 719292 h 1633928"/>
                    <a:gd name="connsiteX224" fmla="*/ 985514 w 1344297"/>
                    <a:gd name="connsiteY224" fmla="*/ 746001 h 1633928"/>
                    <a:gd name="connsiteX225" fmla="*/ 973484 w 1344297"/>
                    <a:gd name="connsiteY225" fmla="*/ 754786 h 1633928"/>
                    <a:gd name="connsiteX226" fmla="*/ 957246 w 1344297"/>
                    <a:gd name="connsiteY226" fmla="*/ 803312 h 1633928"/>
                    <a:gd name="connsiteX227" fmla="*/ 965662 w 1344297"/>
                    <a:gd name="connsiteY227" fmla="*/ 835257 h 1633928"/>
                    <a:gd name="connsiteX228" fmla="*/ 977363 w 1344297"/>
                    <a:gd name="connsiteY228" fmla="*/ 855793 h 1633928"/>
                    <a:gd name="connsiteX229" fmla="*/ 942718 w 1344297"/>
                    <a:gd name="connsiteY229" fmla="*/ 880005 h 1633928"/>
                    <a:gd name="connsiteX230" fmla="*/ 933895 w 1344297"/>
                    <a:gd name="connsiteY230" fmla="*/ 902163 h 1633928"/>
                    <a:gd name="connsiteX231" fmla="*/ 911103 w 1344297"/>
                    <a:gd name="connsiteY231" fmla="*/ 915208 h 1633928"/>
                    <a:gd name="connsiteX232" fmla="*/ 903091 w 1344297"/>
                    <a:gd name="connsiteY232" fmla="*/ 921331 h 1633928"/>
                    <a:gd name="connsiteX233" fmla="*/ 895447 w 1344297"/>
                    <a:gd name="connsiteY233" fmla="*/ 915233 h 1633928"/>
                    <a:gd name="connsiteX234" fmla="*/ 901595 w 1344297"/>
                    <a:gd name="connsiteY234" fmla="*/ 904952 h 1633928"/>
                    <a:gd name="connsiteX235" fmla="*/ 897552 w 1344297"/>
                    <a:gd name="connsiteY235" fmla="*/ 886686 h 1633928"/>
                    <a:gd name="connsiteX236" fmla="*/ 914437 w 1344297"/>
                    <a:gd name="connsiteY236" fmla="*/ 873363 h 1633928"/>
                    <a:gd name="connsiteX237" fmla="*/ 919735 w 1344297"/>
                    <a:gd name="connsiteY237" fmla="*/ 863589 h 1633928"/>
                    <a:gd name="connsiteX238" fmla="*/ 907845 w 1344297"/>
                    <a:gd name="connsiteY238" fmla="*/ 857948 h 1633928"/>
                    <a:gd name="connsiteX239" fmla="*/ 901672 w 1344297"/>
                    <a:gd name="connsiteY239" fmla="*/ 861928 h 1633928"/>
                    <a:gd name="connsiteX240" fmla="*/ 899466 w 1344297"/>
                    <a:gd name="connsiteY240" fmla="*/ 859938 h 1633928"/>
                    <a:gd name="connsiteX241" fmla="*/ 898135 w 1344297"/>
                    <a:gd name="connsiteY241" fmla="*/ 862866 h 1633928"/>
                    <a:gd name="connsiteX242" fmla="*/ 896373 w 1344297"/>
                    <a:gd name="connsiteY242" fmla="*/ 858658 h 1633928"/>
                    <a:gd name="connsiteX243" fmla="*/ 887296 w 1344297"/>
                    <a:gd name="connsiteY243" fmla="*/ 875315 h 1633928"/>
                    <a:gd name="connsiteX244" fmla="*/ 890592 w 1344297"/>
                    <a:gd name="connsiteY244" fmla="*/ 879789 h 1633928"/>
                    <a:gd name="connsiteX245" fmla="*/ 886827 w 1344297"/>
                    <a:gd name="connsiteY245" fmla="*/ 879713 h 1633928"/>
                    <a:gd name="connsiteX246" fmla="*/ 888412 w 1344297"/>
                    <a:gd name="connsiteY246" fmla="*/ 889322 h 1633928"/>
                    <a:gd name="connsiteX247" fmla="*/ 890427 w 1344297"/>
                    <a:gd name="connsiteY247" fmla="*/ 901517 h 1633928"/>
                    <a:gd name="connsiteX248" fmla="*/ 885940 w 1344297"/>
                    <a:gd name="connsiteY248" fmla="*/ 895572 h 1633928"/>
                    <a:gd name="connsiteX249" fmla="*/ 872401 w 1344297"/>
                    <a:gd name="connsiteY249" fmla="*/ 886863 h 1633928"/>
                    <a:gd name="connsiteX250" fmla="*/ 851485 w 1344297"/>
                    <a:gd name="connsiteY250" fmla="*/ 901834 h 1633928"/>
                    <a:gd name="connsiteX251" fmla="*/ 850534 w 1344297"/>
                    <a:gd name="connsiteY251" fmla="*/ 922535 h 1633928"/>
                    <a:gd name="connsiteX252" fmla="*/ 839354 w 1344297"/>
                    <a:gd name="connsiteY252" fmla="*/ 942335 h 1633928"/>
                    <a:gd name="connsiteX253" fmla="*/ 821505 w 1344297"/>
                    <a:gd name="connsiteY253" fmla="*/ 939673 h 1633928"/>
                    <a:gd name="connsiteX254" fmla="*/ 824294 w 1344297"/>
                    <a:gd name="connsiteY254" fmla="*/ 920976 h 1633928"/>
                    <a:gd name="connsiteX255" fmla="*/ 832990 w 1344297"/>
                    <a:gd name="connsiteY255" fmla="*/ 910670 h 1633928"/>
                    <a:gd name="connsiteX256" fmla="*/ 803390 w 1344297"/>
                    <a:gd name="connsiteY256" fmla="*/ 913953 h 1633928"/>
                    <a:gd name="connsiteX257" fmla="*/ 805203 w 1344297"/>
                    <a:gd name="connsiteY257" fmla="*/ 911810 h 1633928"/>
                    <a:gd name="connsiteX258" fmla="*/ 794289 w 1344297"/>
                    <a:gd name="connsiteY258" fmla="*/ 919467 h 1633928"/>
                    <a:gd name="connsiteX259" fmla="*/ 790853 w 1344297"/>
                    <a:gd name="connsiteY259" fmla="*/ 928049 h 1633928"/>
                    <a:gd name="connsiteX260" fmla="*/ 783666 w 1344297"/>
                    <a:gd name="connsiteY260" fmla="*/ 946278 h 1633928"/>
                    <a:gd name="connsiteX261" fmla="*/ 760759 w 1344297"/>
                    <a:gd name="connsiteY261" fmla="*/ 940916 h 1633928"/>
                    <a:gd name="connsiteX262" fmla="*/ 735964 w 1344297"/>
                    <a:gd name="connsiteY262" fmla="*/ 940079 h 1633928"/>
                    <a:gd name="connsiteX263" fmla="*/ 693181 w 1344297"/>
                    <a:gd name="connsiteY263" fmla="*/ 948255 h 1633928"/>
                    <a:gd name="connsiteX264" fmla="*/ 697364 w 1344297"/>
                    <a:gd name="connsiteY264" fmla="*/ 941131 h 1633928"/>
                    <a:gd name="connsiteX265" fmla="*/ 700178 w 1344297"/>
                    <a:gd name="connsiteY265" fmla="*/ 944389 h 1633928"/>
                    <a:gd name="connsiteX266" fmla="*/ 714021 w 1344297"/>
                    <a:gd name="connsiteY266" fmla="*/ 935845 h 1633928"/>
                    <a:gd name="connsiteX267" fmla="*/ 714439 w 1344297"/>
                    <a:gd name="connsiteY267" fmla="*/ 939078 h 1633928"/>
                    <a:gd name="connsiteX268" fmla="*/ 714832 w 1344297"/>
                    <a:gd name="connsiteY268" fmla="*/ 936061 h 1633928"/>
                    <a:gd name="connsiteX269" fmla="*/ 717190 w 1344297"/>
                    <a:gd name="connsiteY269" fmla="*/ 935997 h 1633928"/>
                    <a:gd name="connsiteX270" fmla="*/ 704615 w 1344297"/>
                    <a:gd name="connsiteY270" fmla="*/ 932892 h 1633928"/>
                    <a:gd name="connsiteX271" fmla="*/ 690430 w 1344297"/>
                    <a:gd name="connsiteY271" fmla="*/ 919556 h 1633928"/>
                    <a:gd name="connsiteX272" fmla="*/ 689910 w 1344297"/>
                    <a:gd name="connsiteY272" fmla="*/ 938495 h 1633928"/>
                    <a:gd name="connsiteX273" fmla="*/ 682520 w 1344297"/>
                    <a:gd name="connsiteY273" fmla="*/ 905460 h 1633928"/>
                    <a:gd name="connsiteX274" fmla="*/ 680808 w 1344297"/>
                    <a:gd name="connsiteY274" fmla="*/ 909947 h 1633928"/>
                    <a:gd name="connsiteX275" fmla="*/ 679452 w 1344297"/>
                    <a:gd name="connsiteY275" fmla="*/ 906676 h 1633928"/>
                    <a:gd name="connsiteX276" fmla="*/ 680136 w 1344297"/>
                    <a:gd name="connsiteY276" fmla="*/ 910543 h 1633928"/>
                    <a:gd name="connsiteX277" fmla="*/ 678184 w 1344297"/>
                    <a:gd name="connsiteY277" fmla="*/ 910961 h 1633928"/>
                    <a:gd name="connsiteX278" fmla="*/ 677880 w 1344297"/>
                    <a:gd name="connsiteY278" fmla="*/ 909186 h 1633928"/>
                    <a:gd name="connsiteX279" fmla="*/ 666991 w 1344297"/>
                    <a:gd name="connsiteY279" fmla="*/ 918187 h 1633928"/>
                    <a:gd name="connsiteX280" fmla="*/ 656672 w 1344297"/>
                    <a:gd name="connsiteY280" fmla="*/ 938063 h 1633928"/>
                    <a:gd name="connsiteX281" fmla="*/ 664506 w 1344297"/>
                    <a:gd name="connsiteY281" fmla="*/ 947140 h 1633928"/>
                    <a:gd name="connsiteX282" fmla="*/ 682786 w 1344297"/>
                    <a:gd name="connsiteY282" fmla="*/ 965635 h 1633928"/>
                    <a:gd name="connsiteX283" fmla="*/ 685359 w 1344297"/>
                    <a:gd name="connsiteY283" fmla="*/ 966814 h 1633928"/>
                    <a:gd name="connsiteX284" fmla="*/ 675256 w 1344297"/>
                    <a:gd name="connsiteY284" fmla="*/ 973596 h 1633928"/>
                    <a:gd name="connsiteX285" fmla="*/ 680301 w 1344297"/>
                    <a:gd name="connsiteY285" fmla="*/ 974724 h 1633928"/>
                    <a:gd name="connsiteX286" fmla="*/ 679870 w 1344297"/>
                    <a:gd name="connsiteY286" fmla="*/ 972987 h 1633928"/>
                    <a:gd name="connsiteX287" fmla="*/ 677779 w 1344297"/>
                    <a:gd name="connsiteY287" fmla="*/ 972417 h 1633928"/>
                    <a:gd name="connsiteX288" fmla="*/ 670033 w 1344297"/>
                    <a:gd name="connsiteY288" fmla="*/ 971770 h 1633928"/>
                    <a:gd name="connsiteX289" fmla="*/ 671554 w 1344297"/>
                    <a:gd name="connsiteY289" fmla="*/ 968779 h 1633928"/>
                    <a:gd name="connsiteX290" fmla="*/ 666154 w 1344297"/>
                    <a:gd name="connsiteY290" fmla="*/ 970198 h 1633928"/>
                    <a:gd name="connsiteX291" fmla="*/ 656127 w 1344297"/>
                    <a:gd name="connsiteY291" fmla="*/ 977183 h 1633928"/>
                    <a:gd name="connsiteX292" fmla="*/ 640104 w 1344297"/>
                    <a:gd name="connsiteY292" fmla="*/ 984612 h 1633928"/>
                    <a:gd name="connsiteX293" fmla="*/ 636732 w 1344297"/>
                    <a:gd name="connsiteY293" fmla="*/ 987210 h 1633928"/>
                    <a:gd name="connsiteX294" fmla="*/ 634222 w 1344297"/>
                    <a:gd name="connsiteY294" fmla="*/ 990620 h 1633928"/>
                    <a:gd name="connsiteX295" fmla="*/ 635236 w 1344297"/>
                    <a:gd name="connsiteY295" fmla="*/ 996769 h 1633928"/>
                    <a:gd name="connsiteX296" fmla="*/ 633221 w 1344297"/>
                    <a:gd name="connsiteY296" fmla="*/ 999088 h 1633928"/>
                    <a:gd name="connsiteX297" fmla="*/ 635439 w 1344297"/>
                    <a:gd name="connsiteY297" fmla="*/ 1000483 h 1633928"/>
                    <a:gd name="connsiteX298" fmla="*/ 615106 w 1344297"/>
                    <a:gd name="connsiteY298" fmla="*/ 1029791 h 1633928"/>
                    <a:gd name="connsiteX299" fmla="*/ 602493 w 1344297"/>
                    <a:gd name="connsiteY299" fmla="*/ 1042315 h 1633928"/>
                    <a:gd name="connsiteX300" fmla="*/ 600350 w 1344297"/>
                    <a:gd name="connsiteY300" fmla="*/ 1042962 h 1633928"/>
                    <a:gd name="connsiteX301" fmla="*/ 574389 w 1344297"/>
                    <a:gd name="connsiteY301" fmla="*/ 1031350 h 1633928"/>
                    <a:gd name="connsiteX302" fmla="*/ 573907 w 1344297"/>
                    <a:gd name="connsiteY302" fmla="*/ 1020905 h 1633928"/>
                    <a:gd name="connsiteX303" fmla="*/ 548516 w 1344297"/>
                    <a:gd name="connsiteY303" fmla="*/ 1006124 h 1633928"/>
                    <a:gd name="connsiteX304" fmla="*/ 551647 w 1344297"/>
                    <a:gd name="connsiteY304" fmla="*/ 999976 h 1633928"/>
                    <a:gd name="connsiteX305" fmla="*/ 551127 w 1344297"/>
                    <a:gd name="connsiteY305" fmla="*/ 990620 h 1633928"/>
                    <a:gd name="connsiteX306" fmla="*/ 553257 w 1344297"/>
                    <a:gd name="connsiteY306" fmla="*/ 984865 h 1633928"/>
                    <a:gd name="connsiteX307" fmla="*/ 557960 w 1344297"/>
                    <a:gd name="connsiteY307" fmla="*/ 984954 h 1633928"/>
                    <a:gd name="connsiteX308" fmla="*/ 548668 w 1344297"/>
                    <a:gd name="connsiteY308" fmla="*/ 974077 h 1633928"/>
                    <a:gd name="connsiteX309" fmla="*/ 571714 w 1344297"/>
                    <a:gd name="connsiteY309" fmla="*/ 956077 h 1633928"/>
                    <a:gd name="connsiteX310" fmla="*/ 574630 w 1344297"/>
                    <a:gd name="connsiteY310" fmla="*/ 938837 h 1633928"/>
                    <a:gd name="connsiteX311" fmla="*/ 562904 w 1344297"/>
                    <a:gd name="connsiteY311" fmla="*/ 940092 h 1633928"/>
                    <a:gd name="connsiteX312" fmla="*/ 563006 w 1344297"/>
                    <a:gd name="connsiteY312" fmla="*/ 938102 h 1633928"/>
                    <a:gd name="connsiteX313" fmla="*/ 560407 w 1344297"/>
                    <a:gd name="connsiteY313" fmla="*/ 938951 h 1633928"/>
                    <a:gd name="connsiteX314" fmla="*/ 562042 w 1344297"/>
                    <a:gd name="connsiteY314" fmla="*/ 942272 h 1633928"/>
                    <a:gd name="connsiteX315" fmla="*/ 559253 w 1344297"/>
                    <a:gd name="connsiteY315" fmla="*/ 940079 h 1633928"/>
                    <a:gd name="connsiteX316" fmla="*/ 531200 w 1344297"/>
                    <a:gd name="connsiteY316" fmla="*/ 936213 h 1633928"/>
                    <a:gd name="connsiteX317" fmla="*/ 506557 w 1344297"/>
                    <a:gd name="connsiteY317" fmla="*/ 930952 h 1633928"/>
                    <a:gd name="connsiteX318" fmla="*/ 485666 w 1344297"/>
                    <a:gd name="connsiteY318" fmla="*/ 935858 h 1633928"/>
                    <a:gd name="connsiteX319" fmla="*/ 490813 w 1344297"/>
                    <a:gd name="connsiteY319" fmla="*/ 938342 h 1633928"/>
                    <a:gd name="connsiteX320" fmla="*/ 481685 w 1344297"/>
                    <a:gd name="connsiteY320" fmla="*/ 943438 h 1633928"/>
                    <a:gd name="connsiteX321" fmla="*/ 484208 w 1344297"/>
                    <a:gd name="connsiteY321" fmla="*/ 943438 h 1633928"/>
                    <a:gd name="connsiteX322" fmla="*/ 465003 w 1344297"/>
                    <a:gd name="connsiteY322" fmla="*/ 949713 h 1633928"/>
                    <a:gd name="connsiteX323" fmla="*/ 471101 w 1344297"/>
                    <a:gd name="connsiteY323" fmla="*/ 953123 h 1633928"/>
                    <a:gd name="connsiteX324" fmla="*/ 457372 w 1344297"/>
                    <a:gd name="connsiteY324" fmla="*/ 959969 h 1633928"/>
                    <a:gd name="connsiteX325" fmla="*/ 446914 w 1344297"/>
                    <a:gd name="connsiteY325" fmla="*/ 953123 h 1633928"/>
                    <a:gd name="connsiteX326" fmla="*/ 431030 w 1344297"/>
                    <a:gd name="connsiteY326" fmla="*/ 961084 h 1633928"/>
                    <a:gd name="connsiteX327" fmla="*/ 434909 w 1344297"/>
                    <a:gd name="connsiteY327" fmla="*/ 956191 h 1633928"/>
                    <a:gd name="connsiteX328" fmla="*/ 415844 w 1344297"/>
                    <a:gd name="connsiteY328" fmla="*/ 968741 h 1633928"/>
                    <a:gd name="connsiteX329" fmla="*/ 415375 w 1344297"/>
                    <a:gd name="connsiteY329" fmla="*/ 964532 h 1633928"/>
                    <a:gd name="connsiteX330" fmla="*/ 414589 w 1344297"/>
                    <a:gd name="connsiteY330" fmla="*/ 960881 h 1633928"/>
                    <a:gd name="connsiteX331" fmla="*/ 409772 w 1344297"/>
                    <a:gd name="connsiteY331" fmla="*/ 967929 h 1633928"/>
                    <a:gd name="connsiteX332" fmla="*/ 404726 w 1344297"/>
                    <a:gd name="connsiteY332" fmla="*/ 967067 h 1633928"/>
                    <a:gd name="connsiteX333" fmla="*/ 404650 w 1344297"/>
                    <a:gd name="connsiteY333" fmla="*/ 970186 h 1633928"/>
                    <a:gd name="connsiteX334" fmla="*/ 408758 w 1344297"/>
                    <a:gd name="connsiteY334" fmla="*/ 966789 h 1633928"/>
                    <a:gd name="connsiteX335" fmla="*/ 396639 w 1344297"/>
                    <a:gd name="connsiteY335" fmla="*/ 969514 h 1633928"/>
                    <a:gd name="connsiteX336" fmla="*/ 378727 w 1344297"/>
                    <a:gd name="connsiteY336" fmla="*/ 973811 h 1633928"/>
                    <a:gd name="connsiteX337" fmla="*/ 362615 w 1344297"/>
                    <a:gd name="connsiteY337" fmla="*/ 979275 h 1633928"/>
                    <a:gd name="connsiteX338" fmla="*/ 361626 w 1344297"/>
                    <a:gd name="connsiteY338" fmla="*/ 968437 h 1633928"/>
                    <a:gd name="connsiteX339" fmla="*/ 338149 w 1344297"/>
                    <a:gd name="connsiteY339" fmla="*/ 985879 h 1633928"/>
                    <a:gd name="connsiteX340" fmla="*/ 338048 w 1344297"/>
                    <a:gd name="connsiteY340" fmla="*/ 995564 h 1633928"/>
                    <a:gd name="connsiteX341" fmla="*/ 332369 w 1344297"/>
                    <a:gd name="connsiteY341" fmla="*/ 1001269 h 1633928"/>
                    <a:gd name="connsiteX342" fmla="*/ 325409 w 1344297"/>
                    <a:gd name="connsiteY342" fmla="*/ 1014655 h 1633928"/>
                    <a:gd name="connsiteX343" fmla="*/ 328160 w 1344297"/>
                    <a:gd name="connsiteY343" fmla="*/ 1009825 h 1633928"/>
                    <a:gd name="connsiteX344" fmla="*/ 320085 w 1344297"/>
                    <a:gd name="connsiteY344" fmla="*/ 1002853 h 1633928"/>
                    <a:gd name="connsiteX345" fmla="*/ 308473 w 1344297"/>
                    <a:gd name="connsiteY345" fmla="*/ 998543 h 1633928"/>
                    <a:gd name="connsiteX346" fmla="*/ 309538 w 1344297"/>
                    <a:gd name="connsiteY346" fmla="*/ 999050 h 1633928"/>
                    <a:gd name="connsiteX347" fmla="*/ 306052 w 1344297"/>
                    <a:gd name="connsiteY347" fmla="*/ 998683 h 1633928"/>
                    <a:gd name="connsiteX348" fmla="*/ 292311 w 1344297"/>
                    <a:gd name="connsiteY348" fmla="*/ 993080 h 1633928"/>
                    <a:gd name="connsiteX349" fmla="*/ 285554 w 1344297"/>
                    <a:gd name="connsiteY349" fmla="*/ 994487 h 1633928"/>
                    <a:gd name="connsiteX350" fmla="*/ 279533 w 1344297"/>
                    <a:gd name="connsiteY350" fmla="*/ 996198 h 1633928"/>
                    <a:gd name="connsiteX351" fmla="*/ 277518 w 1344297"/>
                    <a:gd name="connsiteY351" fmla="*/ 997339 h 1633928"/>
                    <a:gd name="connsiteX352" fmla="*/ 277251 w 1344297"/>
                    <a:gd name="connsiteY352" fmla="*/ 992864 h 1633928"/>
                    <a:gd name="connsiteX353" fmla="*/ 261215 w 1344297"/>
                    <a:gd name="connsiteY353" fmla="*/ 1001611 h 1633928"/>
                    <a:gd name="connsiteX354" fmla="*/ 254915 w 1344297"/>
                    <a:gd name="connsiteY354" fmla="*/ 993384 h 1633928"/>
                    <a:gd name="connsiteX355" fmla="*/ 242188 w 1344297"/>
                    <a:gd name="connsiteY355" fmla="*/ 1003259 h 1633928"/>
                    <a:gd name="connsiteX356" fmla="*/ 239488 w 1344297"/>
                    <a:gd name="connsiteY356" fmla="*/ 1001281 h 1633928"/>
                    <a:gd name="connsiteX357" fmla="*/ 240375 w 1344297"/>
                    <a:gd name="connsiteY357" fmla="*/ 990620 h 1633928"/>
                    <a:gd name="connsiteX358" fmla="*/ 238816 w 1344297"/>
                    <a:gd name="connsiteY358" fmla="*/ 985816 h 1633928"/>
                    <a:gd name="connsiteX359" fmla="*/ 242530 w 1344297"/>
                    <a:gd name="connsiteY359" fmla="*/ 980226 h 1633928"/>
                    <a:gd name="connsiteX360" fmla="*/ 240122 w 1344297"/>
                    <a:gd name="connsiteY360" fmla="*/ 970021 h 1633928"/>
                    <a:gd name="connsiteX361" fmla="*/ 250910 w 1344297"/>
                    <a:gd name="connsiteY361" fmla="*/ 964557 h 1633928"/>
                    <a:gd name="connsiteX362" fmla="*/ 243544 w 1344297"/>
                    <a:gd name="connsiteY362" fmla="*/ 963366 h 1633928"/>
                    <a:gd name="connsiteX363" fmla="*/ 261127 w 1344297"/>
                    <a:gd name="connsiteY363" fmla="*/ 960590 h 1633928"/>
                    <a:gd name="connsiteX364" fmla="*/ 269202 w 1344297"/>
                    <a:gd name="connsiteY364" fmla="*/ 962377 h 1633928"/>
                    <a:gd name="connsiteX365" fmla="*/ 263877 w 1344297"/>
                    <a:gd name="connsiteY365" fmla="*/ 965584 h 1633928"/>
                    <a:gd name="connsiteX366" fmla="*/ 292463 w 1344297"/>
                    <a:gd name="connsiteY366" fmla="*/ 945048 h 1633928"/>
                    <a:gd name="connsiteX367" fmla="*/ 312771 w 1344297"/>
                    <a:gd name="connsiteY367" fmla="*/ 933766 h 1633928"/>
                    <a:gd name="connsiteX368" fmla="*/ 336184 w 1344297"/>
                    <a:gd name="connsiteY368" fmla="*/ 913610 h 1633928"/>
                    <a:gd name="connsiteX369" fmla="*/ 368509 w 1344297"/>
                    <a:gd name="connsiteY369" fmla="*/ 877229 h 1633928"/>
                    <a:gd name="connsiteX370" fmla="*/ 378156 w 1344297"/>
                    <a:gd name="connsiteY370" fmla="*/ 875125 h 1633928"/>
                    <a:gd name="connsiteX371" fmla="*/ 376001 w 1344297"/>
                    <a:gd name="connsiteY371" fmla="*/ 873908 h 1633928"/>
                    <a:gd name="connsiteX372" fmla="*/ 403053 w 1344297"/>
                    <a:gd name="connsiteY372" fmla="*/ 862968 h 1633928"/>
                    <a:gd name="connsiteX373" fmla="*/ 412928 w 1344297"/>
                    <a:gd name="connsiteY373" fmla="*/ 864527 h 1633928"/>
                    <a:gd name="connsiteX374" fmla="*/ 420395 w 1344297"/>
                    <a:gd name="connsiteY374" fmla="*/ 865731 h 1633928"/>
                    <a:gd name="connsiteX375" fmla="*/ 422968 w 1344297"/>
                    <a:gd name="connsiteY375" fmla="*/ 874770 h 1633928"/>
                    <a:gd name="connsiteX376" fmla="*/ 433920 w 1344297"/>
                    <a:gd name="connsiteY376" fmla="*/ 870105 h 1633928"/>
                    <a:gd name="connsiteX377" fmla="*/ 448448 w 1344297"/>
                    <a:gd name="connsiteY377" fmla="*/ 870827 h 1633928"/>
                    <a:gd name="connsiteX378" fmla="*/ 499433 w 1344297"/>
                    <a:gd name="connsiteY378" fmla="*/ 861751 h 1633928"/>
                    <a:gd name="connsiteX379" fmla="*/ 540251 w 1344297"/>
                    <a:gd name="connsiteY379" fmla="*/ 858518 h 1633928"/>
                    <a:gd name="connsiteX380" fmla="*/ 566263 w 1344297"/>
                    <a:gd name="connsiteY380" fmla="*/ 858265 h 1633928"/>
                    <a:gd name="connsiteX381" fmla="*/ 558657 w 1344297"/>
                    <a:gd name="connsiteY381" fmla="*/ 868140 h 1633928"/>
                    <a:gd name="connsiteX382" fmla="*/ 562511 w 1344297"/>
                    <a:gd name="connsiteY382" fmla="*/ 863804 h 1633928"/>
                    <a:gd name="connsiteX383" fmla="*/ 564172 w 1344297"/>
                    <a:gd name="connsiteY383" fmla="*/ 866200 h 1633928"/>
                    <a:gd name="connsiteX384" fmla="*/ 561903 w 1344297"/>
                    <a:gd name="connsiteY384" fmla="*/ 866631 h 1633928"/>
                    <a:gd name="connsiteX385" fmla="*/ 567734 w 1344297"/>
                    <a:gd name="connsiteY385" fmla="*/ 875898 h 1633928"/>
                    <a:gd name="connsiteX386" fmla="*/ 573907 w 1344297"/>
                    <a:gd name="connsiteY386" fmla="*/ 872970 h 1633928"/>
                    <a:gd name="connsiteX387" fmla="*/ 573907 w 1344297"/>
                    <a:gd name="connsiteY387" fmla="*/ 870891 h 1633928"/>
                    <a:gd name="connsiteX388" fmla="*/ 578370 w 1344297"/>
                    <a:gd name="connsiteY388" fmla="*/ 862828 h 1633928"/>
                    <a:gd name="connsiteX389" fmla="*/ 579573 w 1344297"/>
                    <a:gd name="connsiteY389" fmla="*/ 869597 h 1633928"/>
                    <a:gd name="connsiteX390" fmla="*/ 582045 w 1344297"/>
                    <a:gd name="connsiteY390" fmla="*/ 867468 h 1633928"/>
                    <a:gd name="connsiteX391" fmla="*/ 593682 w 1344297"/>
                    <a:gd name="connsiteY391" fmla="*/ 868609 h 1633928"/>
                    <a:gd name="connsiteX392" fmla="*/ 590133 w 1344297"/>
                    <a:gd name="connsiteY392" fmla="*/ 872602 h 1633928"/>
                    <a:gd name="connsiteX393" fmla="*/ 599463 w 1344297"/>
                    <a:gd name="connsiteY393" fmla="*/ 868672 h 1633928"/>
                    <a:gd name="connsiteX394" fmla="*/ 595318 w 1344297"/>
                    <a:gd name="connsiteY394" fmla="*/ 867645 h 1633928"/>
                    <a:gd name="connsiteX395" fmla="*/ 605839 w 1344297"/>
                    <a:gd name="connsiteY395" fmla="*/ 868596 h 1633928"/>
                    <a:gd name="connsiteX396" fmla="*/ 603596 w 1344297"/>
                    <a:gd name="connsiteY396" fmla="*/ 865186 h 1633928"/>
                    <a:gd name="connsiteX397" fmla="*/ 607323 w 1344297"/>
                    <a:gd name="connsiteY397" fmla="*/ 864857 h 1633928"/>
                    <a:gd name="connsiteX398" fmla="*/ 604154 w 1344297"/>
                    <a:gd name="connsiteY398" fmla="*/ 859494 h 1633928"/>
                    <a:gd name="connsiteX399" fmla="*/ 619555 w 1344297"/>
                    <a:gd name="connsiteY399" fmla="*/ 849277 h 1633928"/>
                    <a:gd name="connsiteX400" fmla="*/ 620341 w 1344297"/>
                    <a:gd name="connsiteY400" fmla="*/ 841785 h 1633928"/>
                    <a:gd name="connsiteX401" fmla="*/ 618060 w 1344297"/>
                    <a:gd name="connsiteY401" fmla="*/ 827588 h 1633928"/>
                    <a:gd name="connsiteX402" fmla="*/ 627174 w 1344297"/>
                    <a:gd name="connsiteY402" fmla="*/ 809371 h 1633928"/>
                    <a:gd name="connsiteX403" fmla="*/ 647241 w 1344297"/>
                    <a:gd name="connsiteY403" fmla="*/ 795884 h 1633928"/>
                    <a:gd name="connsiteX404" fmla="*/ 670249 w 1344297"/>
                    <a:gd name="connsiteY404" fmla="*/ 765435 h 1633928"/>
                    <a:gd name="connsiteX405" fmla="*/ 668081 w 1344297"/>
                    <a:gd name="connsiteY405" fmla="*/ 733743 h 1633928"/>
                    <a:gd name="connsiteX406" fmla="*/ 682532 w 1344297"/>
                    <a:gd name="connsiteY406" fmla="*/ 711001 h 1633928"/>
                    <a:gd name="connsiteX407" fmla="*/ 717684 w 1344297"/>
                    <a:gd name="connsiteY407" fmla="*/ 703294 h 1633928"/>
                    <a:gd name="connsiteX408" fmla="*/ 710446 w 1344297"/>
                    <a:gd name="connsiteY408" fmla="*/ 709658 h 1633928"/>
                    <a:gd name="connsiteX409" fmla="*/ 708988 w 1344297"/>
                    <a:gd name="connsiteY409" fmla="*/ 720610 h 1633928"/>
                    <a:gd name="connsiteX410" fmla="*/ 700039 w 1344297"/>
                    <a:gd name="connsiteY410" fmla="*/ 721358 h 1633928"/>
                    <a:gd name="connsiteX411" fmla="*/ 697224 w 1344297"/>
                    <a:gd name="connsiteY411" fmla="*/ 726847 h 1633928"/>
                    <a:gd name="connsiteX412" fmla="*/ 689035 w 1344297"/>
                    <a:gd name="connsiteY412" fmla="*/ 725504 h 1633928"/>
                    <a:gd name="connsiteX413" fmla="*/ 681721 w 1344297"/>
                    <a:gd name="connsiteY413" fmla="*/ 738890 h 1633928"/>
                    <a:gd name="connsiteX414" fmla="*/ 694854 w 1344297"/>
                    <a:gd name="connsiteY414" fmla="*/ 736684 h 1633928"/>
                    <a:gd name="connsiteX415" fmla="*/ 705109 w 1344297"/>
                    <a:gd name="connsiteY415" fmla="*/ 765739 h 1633928"/>
                    <a:gd name="connsiteX416" fmla="*/ 725049 w 1344297"/>
                    <a:gd name="connsiteY416" fmla="*/ 751034 h 1633928"/>
                    <a:gd name="connsiteX417" fmla="*/ 750225 w 1344297"/>
                    <a:gd name="connsiteY417" fmla="*/ 743352 h 1633928"/>
                    <a:gd name="connsiteX418" fmla="*/ 772447 w 1344297"/>
                    <a:gd name="connsiteY418" fmla="*/ 731791 h 1633928"/>
                    <a:gd name="connsiteX419" fmla="*/ 791322 w 1344297"/>
                    <a:gd name="connsiteY419" fmla="*/ 724591 h 1633928"/>
                    <a:gd name="connsiteX420" fmla="*/ 811009 w 1344297"/>
                    <a:gd name="connsiteY420" fmla="*/ 706679 h 1633928"/>
                    <a:gd name="connsiteX421" fmla="*/ 844285 w 1344297"/>
                    <a:gd name="connsiteY421" fmla="*/ 665024 h 1633928"/>
                    <a:gd name="connsiteX422" fmla="*/ 872934 w 1344297"/>
                    <a:gd name="connsiteY422" fmla="*/ 637237 h 1633928"/>
                    <a:gd name="connsiteX423" fmla="*/ 881719 w 1344297"/>
                    <a:gd name="connsiteY423" fmla="*/ 610870 h 1633928"/>
                    <a:gd name="connsiteX424" fmla="*/ 896994 w 1344297"/>
                    <a:gd name="connsiteY424" fmla="*/ 590638 h 1633928"/>
                    <a:gd name="connsiteX425" fmla="*/ 908200 w 1344297"/>
                    <a:gd name="connsiteY425" fmla="*/ 551214 h 1633928"/>
                    <a:gd name="connsiteX426" fmla="*/ 914779 w 1344297"/>
                    <a:gd name="connsiteY426" fmla="*/ 541592 h 1633928"/>
                    <a:gd name="connsiteX427" fmla="*/ 917593 w 1344297"/>
                    <a:gd name="connsiteY427" fmla="*/ 526989 h 1633928"/>
                    <a:gd name="connsiteX428" fmla="*/ 914995 w 1344297"/>
                    <a:gd name="connsiteY428" fmla="*/ 502612 h 1633928"/>
                    <a:gd name="connsiteX429" fmla="*/ 891632 w 1344297"/>
                    <a:gd name="connsiteY429" fmla="*/ 488072 h 1633928"/>
                    <a:gd name="connsiteX430" fmla="*/ 915261 w 1344297"/>
                    <a:gd name="connsiteY430" fmla="*/ 459626 h 1633928"/>
                    <a:gd name="connsiteX431" fmla="*/ 909683 w 1344297"/>
                    <a:gd name="connsiteY431" fmla="*/ 445124 h 1633928"/>
                    <a:gd name="connsiteX432" fmla="*/ 903408 w 1344297"/>
                    <a:gd name="connsiteY432" fmla="*/ 436022 h 1633928"/>
                    <a:gd name="connsiteX433" fmla="*/ 911394 w 1344297"/>
                    <a:gd name="connsiteY433" fmla="*/ 428568 h 1633928"/>
                    <a:gd name="connsiteX434" fmla="*/ 916325 w 1344297"/>
                    <a:gd name="connsiteY434" fmla="*/ 422306 h 1633928"/>
                    <a:gd name="connsiteX435" fmla="*/ 922322 w 1344297"/>
                    <a:gd name="connsiteY435" fmla="*/ 423802 h 1633928"/>
                    <a:gd name="connsiteX436" fmla="*/ 937609 w 1344297"/>
                    <a:gd name="connsiteY436" fmla="*/ 399070 h 1633928"/>
                    <a:gd name="connsiteX437" fmla="*/ 942059 w 1344297"/>
                    <a:gd name="connsiteY437" fmla="*/ 402493 h 1633928"/>
                    <a:gd name="connsiteX438" fmla="*/ 943935 w 1344297"/>
                    <a:gd name="connsiteY438" fmla="*/ 399210 h 1633928"/>
                    <a:gd name="connsiteX439" fmla="*/ 937977 w 1344297"/>
                    <a:gd name="connsiteY439" fmla="*/ 397866 h 1633928"/>
                    <a:gd name="connsiteX440" fmla="*/ 931918 w 1344297"/>
                    <a:gd name="connsiteY440" fmla="*/ 389740 h 1633928"/>
                    <a:gd name="connsiteX441" fmla="*/ 939080 w 1344297"/>
                    <a:gd name="connsiteY441" fmla="*/ 378192 h 1633928"/>
                    <a:gd name="connsiteX442" fmla="*/ 950552 w 1344297"/>
                    <a:gd name="connsiteY442" fmla="*/ 384784 h 1633928"/>
                    <a:gd name="connsiteX443" fmla="*/ 957689 w 1344297"/>
                    <a:gd name="connsiteY443" fmla="*/ 382185 h 1633928"/>
                    <a:gd name="connsiteX444" fmla="*/ 960744 w 1344297"/>
                    <a:gd name="connsiteY444" fmla="*/ 390729 h 1633928"/>
                    <a:gd name="connsiteX445" fmla="*/ 965219 w 1344297"/>
                    <a:gd name="connsiteY445" fmla="*/ 413382 h 1633928"/>
                    <a:gd name="connsiteX446" fmla="*/ 978162 w 1344297"/>
                    <a:gd name="connsiteY446" fmla="*/ 406296 h 1633928"/>
                    <a:gd name="connsiteX447" fmla="*/ 975956 w 1344297"/>
                    <a:gd name="connsiteY447" fmla="*/ 405586 h 1633928"/>
                    <a:gd name="connsiteX448" fmla="*/ 996517 w 1344297"/>
                    <a:gd name="connsiteY448" fmla="*/ 412584 h 1633928"/>
                    <a:gd name="connsiteX449" fmla="*/ 1007520 w 1344297"/>
                    <a:gd name="connsiteY449" fmla="*/ 389981 h 1633928"/>
                    <a:gd name="connsiteX450" fmla="*/ 997874 w 1344297"/>
                    <a:gd name="connsiteY450" fmla="*/ 380208 h 1633928"/>
                    <a:gd name="connsiteX451" fmla="*/ 999458 w 1344297"/>
                    <a:gd name="connsiteY451" fmla="*/ 378978 h 1633928"/>
                    <a:gd name="connsiteX452" fmla="*/ 970365 w 1344297"/>
                    <a:gd name="connsiteY452" fmla="*/ 386115 h 1633928"/>
                    <a:gd name="connsiteX453" fmla="*/ 981305 w 1344297"/>
                    <a:gd name="connsiteY453" fmla="*/ 353498 h 1633928"/>
                    <a:gd name="connsiteX454" fmla="*/ 995655 w 1344297"/>
                    <a:gd name="connsiteY454" fmla="*/ 360800 h 1633928"/>
                    <a:gd name="connsiteX455" fmla="*/ 1008053 w 1344297"/>
                    <a:gd name="connsiteY455" fmla="*/ 370472 h 1633928"/>
                    <a:gd name="connsiteX456" fmla="*/ 1008053 w 1344297"/>
                    <a:gd name="connsiteY456" fmla="*/ 370472 h 1633928"/>
                    <a:gd name="connsiteX457" fmla="*/ 1062866 w 1344297"/>
                    <a:gd name="connsiteY457" fmla="*/ 3347 h 1633928"/>
                    <a:gd name="connsiteX458" fmla="*/ 1100338 w 1344297"/>
                    <a:gd name="connsiteY458" fmla="*/ 41973 h 1633928"/>
                    <a:gd name="connsiteX459" fmla="*/ 1128657 w 1344297"/>
                    <a:gd name="connsiteY459" fmla="*/ 76846 h 1633928"/>
                    <a:gd name="connsiteX460" fmla="*/ 1157433 w 1344297"/>
                    <a:gd name="connsiteY460" fmla="*/ 99701 h 1633928"/>
                    <a:gd name="connsiteX461" fmla="*/ 1192902 w 1344297"/>
                    <a:gd name="connsiteY461" fmla="*/ 118856 h 1633928"/>
                    <a:gd name="connsiteX462" fmla="*/ 1185803 w 1344297"/>
                    <a:gd name="connsiteY462" fmla="*/ 118856 h 1633928"/>
                    <a:gd name="connsiteX463" fmla="*/ 1222121 w 1344297"/>
                    <a:gd name="connsiteY463" fmla="*/ 126031 h 1633928"/>
                    <a:gd name="connsiteX464" fmla="*/ 1219688 w 1344297"/>
                    <a:gd name="connsiteY464" fmla="*/ 133358 h 1633928"/>
                    <a:gd name="connsiteX465" fmla="*/ 1224162 w 1344297"/>
                    <a:gd name="connsiteY465" fmla="*/ 128579 h 1633928"/>
                    <a:gd name="connsiteX466" fmla="*/ 1228751 w 1344297"/>
                    <a:gd name="connsiteY466" fmla="*/ 126195 h 1633928"/>
                    <a:gd name="connsiteX467" fmla="*/ 1232326 w 1344297"/>
                    <a:gd name="connsiteY467" fmla="*/ 134600 h 1633928"/>
                    <a:gd name="connsiteX468" fmla="*/ 1257793 w 1344297"/>
                    <a:gd name="connsiteY468" fmla="*/ 142497 h 1633928"/>
                    <a:gd name="connsiteX469" fmla="*/ 1286150 w 1344297"/>
                    <a:gd name="connsiteY469" fmla="*/ 125333 h 1633928"/>
                    <a:gd name="connsiteX470" fmla="*/ 1309146 w 1344297"/>
                    <a:gd name="connsiteY470" fmla="*/ 116244 h 1633928"/>
                    <a:gd name="connsiteX471" fmla="*/ 1288876 w 1344297"/>
                    <a:gd name="connsiteY471" fmla="*/ 154502 h 1633928"/>
                    <a:gd name="connsiteX472" fmla="*/ 1299778 w 1344297"/>
                    <a:gd name="connsiteY472" fmla="*/ 173048 h 1633928"/>
                    <a:gd name="connsiteX473" fmla="*/ 1312429 w 1344297"/>
                    <a:gd name="connsiteY473" fmla="*/ 197590 h 1633928"/>
                    <a:gd name="connsiteX474" fmla="*/ 1306433 w 1344297"/>
                    <a:gd name="connsiteY474" fmla="*/ 198629 h 1633928"/>
                    <a:gd name="connsiteX475" fmla="*/ 1321543 w 1344297"/>
                    <a:gd name="connsiteY475" fmla="*/ 204422 h 1633928"/>
                    <a:gd name="connsiteX476" fmla="*/ 1344297 w 1344297"/>
                    <a:gd name="connsiteY476" fmla="*/ 191492 h 1633928"/>
                    <a:gd name="connsiteX477" fmla="*/ 1322544 w 1344297"/>
                    <a:gd name="connsiteY477" fmla="*/ 209784 h 1633928"/>
                    <a:gd name="connsiteX478" fmla="*/ 1304063 w 1344297"/>
                    <a:gd name="connsiteY478" fmla="*/ 210127 h 1633928"/>
                    <a:gd name="connsiteX479" fmla="*/ 1295747 w 1344297"/>
                    <a:gd name="connsiteY479" fmla="*/ 217771 h 1633928"/>
                    <a:gd name="connsiteX480" fmla="*/ 1283565 w 1344297"/>
                    <a:gd name="connsiteY480" fmla="*/ 220889 h 1633928"/>
                    <a:gd name="connsiteX481" fmla="*/ 1271636 w 1344297"/>
                    <a:gd name="connsiteY481" fmla="*/ 221764 h 1633928"/>
                    <a:gd name="connsiteX482" fmla="*/ 1267313 w 1344297"/>
                    <a:gd name="connsiteY482" fmla="*/ 230675 h 1633928"/>
                    <a:gd name="connsiteX483" fmla="*/ 1236459 w 1344297"/>
                    <a:gd name="connsiteY483" fmla="*/ 226327 h 1633928"/>
                    <a:gd name="connsiteX484" fmla="*/ 1201598 w 1344297"/>
                    <a:gd name="connsiteY484" fmla="*/ 238357 h 1633928"/>
                    <a:gd name="connsiteX485" fmla="*/ 1169286 w 1344297"/>
                    <a:gd name="connsiteY485" fmla="*/ 272318 h 1633928"/>
                    <a:gd name="connsiteX486" fmla="*/ 1160120 w 1344297"/>
                    <a:gd name="connsiteY486" fmla="*/ 303096 h 1633928"/>
                    <a:gd name="connsiteX487" fmla="*/ 1155075 w 1344297"/>
                    <a:gd name="connsiteY487" fmla="*/ 314708 h 1633928"/>
                    <a:gd name="connsiteX488" fmla="*/ 1148268 w 1344297"/>
                    <a:gd name="connsiteY488" fmla="*/ 316039 h 1633928"/>
                    <a:gd name="connsiteX489" fmla="*/ 1138254 w 1344297"/>
                    <a:gd name="connsiteY489" fmla="*/ 307698 h 1633928"/>
                    <a:gd name="connsiteX490" fmla="*/ 1116995 w 1344297"/>
                    <a:gd name="connsiteY490" fmla="*/ 299255 h 1633928"/>
                    <a:gd name="connsiteX491" fmla="*/ 1075923 w 1344297"/>
                    <a:gd name="connsiteY491" fmla="*/ 274967 h 1633928"/>
                    <a:gd name="connsiteX492" fmla="*/ 1041265 w 1344297"/>
                    <a:gd name="connsiteY492" fmla="*/ 258944 h 1633928"/>
                    <a:gd name="connsiteX493" fmla="*/ 1003502 w 1344297"/>
                    <a:gd name="connsiteY493" fmla="*/ 274219 h 1633928"/>
                    <a:gd name="connsiteX494" fmla="*/ 982560 w 1344297"/>
                    <a:gd name="connsiteY494" fmla="*/ 284487 h 1633928"/>
                    <a:gd name="connsiteX495" fmla="*/ 986452 w 1344297"/>
                    <a:gd name="connsiteY495" fmla="*/ 284462 h 1633928"/>
                    <a:gd name="connsiteX496" fmla="*/ 952606 w 1344297"/>
                    <a:gd name="connsiteY496" fmla="*/ 262164 h 1633928"/>
                    <a:gd name="connsiteX497" fmla="*/ 937356 w 1344297"/>
                    <a:gd name="connsiteY497" fmla="*/ 276159 h 1633928"/>
                    <a:gd name="connsiteX498" fmla="*/ 944087 w 1344297"/>
                    <a:gd name="connsiteY498" fmla="*/ 296074 h 1633928"/>
                    <a:gd name="connsiteX499" fmla="*/ 952935 w 1344297"/>
                    <a:gd name="connsiteY499" fmla="*/ 303654 h 1633928"/>
                    <a:gd name="connsiteX500" fmla="*/ 961175 w 1344297"/>
                    <a:gd name="connsiteY500" fmla="*/ 302944 h 1633928"/>
                    <a:gd name="connsiteX501" fmla="*/ 976754 w 1344297"/>
                    <a:gd name="connsiteY501" fmla="*/ 312553 h 1633928"/>
                    <a:gd name="connsiteX502" fmla="*/ 1002425 w 1344297"/>
                    <a:gd name="connsiteY502" fmla="*/ 331251 h 1633928"/>
                    <a:gd name="connsiteX503" fmla="*/ 985527 w 1344297"/>
                    <a:gd name="connsiteY503" fmla="*/ 338299 h 1633928"/>
                    <a:gd name="connsiteX504" fmla="*/ 966043 w 1344297"/>
                    <a:gd name="connsiteY504" fmla="*/ 335992 h 1633928"/>
                    <a:gd name="connsiteX505" fmla="*/ 962519 w 1344297"/>
                    <a:gd name="connsiteY505" fmla="*/ 328880 h 1633928"/>
                    <a:gd name="connsiteX506" fmla="*/ 959172 w 1344297"/>
                    <a:gd name="connsiteY506" fmla="*/ 335181 h 1633928"/>
                    <a:gd name="connsiteX507" fmla="*/ 950451 w 1344297"/>
                    <a:gd name="connsiteY507" fmla="*/ 340657 h 1633928"/>
                    <a:gd name="connsiteX508" fmla="*/ 941881 w 1344297"/>
                    <a:gd name="connsiteY508" fmla="*/ 356896 h 1633928"/>
                    <a:gd name="connsiteX509" fmla="*/ 928241 w 1344297"/>
                    <a:gd name="connsiteY509" fmla="*/ 366225 h 1633928"/>
                    <a:gd name="connsiteX510" fmla="*/ 915134 w 1344297"/>
                    <a:gd name="connsiteY510" fmla="*/ 340340 h 1633928"/>
                    <a:gd name="connsiteX511" fmla="*/ 924071 w 1344297"/>
                    <a:gd name="connsiteY511" fmla="*/ 318105 h 1633928"/>
                    <a:gd name="connsiteX512" fmla="*/ 910203 w 1344297"/>
                    <a:gd name="connsiteY512" fmla="*/ 302095 h 1633928"/>
                    <a:gd name="connsiteX513" fmla="*/ 897995 w 1344297"/>
                    <a:gd name="connsiteY513" fmla="*/ 291789 h 1633928"/>
                    <a:gd name="connsiteX514" fmla="*/ 901583 w 1344297"/>
                    <a:gd name="connsiteY514" fmla="*/ 276108 h 1633928"/>
                    <a:gd name="connsiteX515" fmla="*/ 907515 w 1344297"/>
                    <a:gd name="connsiteY515" fmla="*/ 253645 h 1633928"/>
                    <a:gd name="connsiteX516" fmla="*/ 923691 w 1344297"/>
                    <a:gd name="connsiteY516" fmla="*/ 247383 h 1633928"/>
                    <a:gd name="connsiteX517" fmla="*/ 928432 w 1344297"/>
                    <a:gd name="connsiteY517" fmla="*/ 241450 h 1633928"/>
                    <a:gd name="connsiteX518" fmla="*/ 934465 w 1344297"/>
                    <a:gd name="connsiteY518" fmla="*/ 246420 h 1633928"/>
                    <a:gd name="connsiteX519" fmla="*/ 951236 w 1344297"/>
                    <a:gd name="connsiteY519" fmla="*/ 221498 h 1633928"/>
                    <a:gd name="connsiteX520" fmla="*/ 938053 w 1344297"/>
                    <a:gd name="connsiteY520" fmla="*/ 202559 h 1633928"/>
                    <a:gd name="connsiteX521" fmla="*/ 949690 w 1344297"/>
                    <a:gd name="connsiteY521" fmla="*/ 191632 h 1633928"/>
                    <a:gd name="connsiteX522" fmla="*/ 967336 w 1344297"/>
                    <a:gd name="connsiteY522" fmla="*/ 203852 h 1633928"/>
                    <a:gd name="connsiteX523" fmla="*/ 989254 w 1344297"/>
                    <a:gd name="connsiteY523" fmla="*/ 204917 h 1633928"/>
                    <a:gd name="connsiteX524" fmla="*/ 999205 w 1344297"/>
                    <a:gd name="connsiteY524" fmla="*/ 212130 h 1633928"/>
                    <a:gd name="connsiteX525" fmla="*/ 1017890 w 1344297"/>
                    <a:gd name="connsiteY525" fmla="*/ 198223 h 1633928"/>
                    <a:gd name="connsiteX526" fmla="*/ 1012870 w 1344297"/>
                    <a:gd name="connsiteY526" fmla="*/ 159890 h 1633928"/>
                    <a:gd name="connsiteX527" fmla="*/ 1025648 w 1344297"/>
                    <a:gd name="connsiteY527" fmla="*/ 150205 h 1633928"/>
                    <a:gd name="connsiteX528" fmla="*/ 1037095 w 1344297"/>
                    <a:gd name="connsiteY528" fmla="*/ 128819 h 1633928"/>
                    <a:gd name="connsiteX529" fmla="*/ 1036207 w 1344297"/>
                    <a:gd name="connsiteY529" fmla="*/ 109538 h 1633928"/>
                    <a:gd name="connsiteX530" fmla="*/ 1043712 w 1344297"/>
                    <a:gd name="connsiteY530" fmla="*/ 93097 h 1633928"/>
                    <a:gd name="connsiteX531" fmla="*/ 1043357 w 1344297"/>
                    <a:gd name="connsiteY531" fmla="*/ 55334 h 1633928"/>
                    <a:gd name="connsiteX532" fmla="*/ 1031568 w 1344297"/>
                    <a:gd name="connsiteY532" fmla="*/ 21006 h 1633928"/>
                    <a:gd name="connsiteX533" fmla="*/ 1036829 w 1344297"/>
                    <a:gd name="connsiteY533" fmla="*/ 3867 h 1633928"/>
                    <a:gd name="connsiteX534" fmla="*/ 1062866 w 1344297"/>
                    <a:gd name="connsiteY534" fmla="*/ 3347 h 1633928"/>
                    <a:gd name="connsiteX535" fmla="*/ 1062866 w 1344297"/>
                    <a:gd name="connsiteY535" fmla="*/ 3347 h 1633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Lst>
                  <a:rect l="l" t="t" r="r" b="b"/>
                  <a:pathLst>
                    <a:path w="1344297" h="1633928">
                      <a:moveTo>
                        <a:pt x="49492" y="1585023"/>
                      </a:moveTo>
                      <a:cubicBezTo>
                        <a:pt x="46019" y="1591488"/>
                        <a:pt x="36790" y="1594568"/>
                        <a:pt x="32594" y="1597750"/>
                      </a:cubicBezTo>
                      <a:cubicBezTo>
                        <a:pt x="22491" y="1605406"/>
                        <a:pt x="10867" y="1602808"/>
                        <a:pt x="20640" y="1616182"/>
                      </a:cubicBezTo>
                      <a:cubicBezTo>
                        <a:pt x="13098" y="1613000"/>
                        <a:pt x="5061" y="1625372"/>
                        <a:pt x="13554" y="1625866"/>
                      </a:cubicBezTo>
                      <a:cubicBezTo>
                        <a:pt x="10258" y="1631191"/>
                        <a:pt x="7064" y="1633219"/>
                        <a:pt x="814" y="1633929"/>
                      </a:cubicBezTo>
                      <a:cubicBezTo>
                        <a:pt x="-2253" y="1622735"/>
                        <a:pt x="4224" y="1625283"/>
                        <a:pt x="5771" y="1618983"/>
                      </a:cubicBezTo>
                      <a:cubicBezTo>
                        <a:pt x="6949" y="1614141"/>
                        <a:pt x="5771" y="1609159"/>
                        <a:pt x="7951" y="1605774"/>
                      </a:cubicBezTo>
                      <a:cubicBezTo>
                        <a:pt x="9067" y="1604063"/>
                        <a:pt x="19246" y="1601920"/>
                        <a:pt x="20665" y="1599271"/>
                      </a:cubicBezTo>
                      <a:cubicBezTo>
                        <a:pt x="25470" y="1590537"/>
                        <a:pt x="16267" y="1595544"/>
                        <a:pt x="17585" y="1585821"/>
                      </a:cubicBezTo>
                      <a:cubicBezTo>
                        <a:pt x="29526" y="1583007"/>
                        <a:pt x="23429" y="1594238"/>
                        <a:pt x="34534" y="1586759"/>
                      </a:cubicBezTo>
                      <a:cubicBezTo>
                        <a:pt x="37817" y="1584541"/>
                        <a:pt x="45207" y="1575160"/>
                        <a:pt x="45436" y="1570673"/>
                      </a:cubicBezTo>
                      <a:cubicBezTo>
                        <a:pt x="51356" y="1574463"/>
                        <a:pt x="52750" y="1579635"/>
                        <a:pt x="49492" y="1585023"/>
                      </a:cubicBezTo>
                      <a:lnTo>
                        <a:pt x="49492" y="1585023"/>
                      </a:lnTo>
                      <a:close/>
                      <a:moveTo>
                        <a:pt x="247867" y="1004628"/>
                      </a:moveTo>
                      <a:cubicBezTo>
                        <a:pt x="246473" y="1007290"/>
                        <a:pt x="244596" y="1010890"/>
                        <a:pt x="248906" y="1011613"/>
                      </a:cubicBezTo>
                      <a:cubicBezTo>
                        <a:pt x="247094" y="1024847"/>
                        <a:pt x="263092" y="1031844"/>
                        <a:pt x="273905" y="1030995"/>
                      </a:cubicBezTo>
                      <a:cubicBezTo>
                        <a:pt x="283691" y="1030247"/>
                        <a:pt x="292881" y="1013121"/>
                        <a:pt x="301425" y="1029271"/>
                      </a:cubicBezTo>
                      <a:cubicBezTo>
                        <a:pt x="307890" y="1041529"/>
                        <a:pt x="296253" y="1045370"/>
                        <a:pt x="290967" y="1050099"/>
                      </a:cubicBezTo>
                      <a:cubicBezTo>
                        <a:pt x="289078" y="1051785"/>
                        <a:pt x="287215" y="1045662"/>
                        <a:pt x="285529" y="1049642"/>
                      </a:cubicBezTo>
                      <a:cubicBezTo>
                        <a:pt x="282689" y="1056183"/>
                        <a:pt x="287773" y="1056247"/>
                        <a:pt x="291271" y="1057705"/>
                      </a:cubicBezTo>
                      <a:cubicBezTo>
                        <a:pt x="294707" y="1059124"/>
                        <a:pt x="310793" y="1058630"/>
                        <a:pt x="315116" y="1056703"/>
                      </a:cubicBezTo>
                      <a:cubicBezTo>
                        <a:pt x="312935" y="1061089"/>
                        <a:pt x="311009" y="1064119"/>
                        <a:pt x="308232" y="1068061"/>
                      </a:cubicBezTo>
                      <a:cubicBezTo>
                        <a:pt x="310350" y="1067871"/>
                        <a:pt x="313278" y="1068898"/>
                        <a:pt x="315750" y="1068302"/>
                      </a:cubicBezTo>
                      <a:cubicBezTo>
                        <a:pt x="314381" y="1069456"/>
                        <a:pt x="313405" y="1070622"/>
                        <a:pt x="312188" y="1071775"/>
                      </a:cubicBezTo>
                      <a:cubicBezTo>
                        <a:pt x="316206" y="1071180"/>
                        <a:pt x="314698" y="1072650"/>
                        <a:pt x="317461" y="1071002"/>
                      </a:cubicBezTo>
                      <a:cubicBezTo>
                        <a:pt x="321670" y="1072676"/>
                        <a:pt x="318741" y="1074273"/>
                        <a:pt x="322025" y="1071027"/>
                      </a:cubicBezTo>
                      <a:cubicBezTo>
                        <a:pt x="323559" y="1077214"/>
                        <a:pt x="311326" y="1073639"/>
                        <a:pt x="317132" y="1081524"/>
                      </a:cubicBezTo>
                      <a:cubicBezTo>
                        <a:pt x="319160" y="1084325"/>
                        <a:pt x="325992" y="1083413"/>
                        <a:pt x="328528" y="1084034"/>
                      </a:cubicBezTo>
                      <a:cubicBezTo>
                        <a:pt x="321923" y="1084224"/>
                        <a:pt x="321923" y="1088572"/>
                        <a:pt x="319008" y="1092704"/>
                      </a:cubicBezTo>
                      <a:cubicBezTo>
                        <a:pt x="319996" y="1093047"/>
                        <a:pt x="321695" y="1092831"/>
                        <a:pt x="322570" y="1092971"/>
                      </a:cubicBezTo>
                      <a:cubicBezTo>
                        <a:pt x="317322" y="1097990"/>
                        <a:pt x="312099" y="1096279"/>
                        <a:pt x="311047" y="1104633"/>
                      </a:cubicBezTo>
                      <a:cubicBezTo>
                        <a:pt x="307345" y="1103340"/>
                        <a:pt x="295417" y="1115738"/>
                        <a:pt x="302807" y="1120200"/>
                      </a:cubicBezTo>
                      <a:cubicBezTo>
                        <a:pt x="300247" y="1120593"/>
                        <a:pt x="300703" y="1121746"/>
                        <a:pt x="297153" y="1121417"/>
                      </a:cubicBezTo>
                      <a:cubicBezTo>
                        <a:pt x="297952" y="1122862"/>
                        <a:pt x="297711" y="1124256"/>
                        <a:pt x="299321" y="1125917"/>
                      </a:cubicBezTo>
                      <a:cubicBezTo>
                        <a:pt x="290054" y="1130506"/>
                        <a:pt x="276655" y="1172427"/>
                        <a:pt x="285072" y="1176978"/>
                      </a:cubicBezTo>
                      <a:cubicBezTo>
                        <a:pt x="278646" y="1188184"/>
                        <a:pt x="278494" y="1200391"/>
                        <a:pt x="272890" y="1211800"/>
                      </a:cubicBezTo>
                      <a:cubicBezTo>
                        <a:pt x="271547" y="1211661"/>
                        <a:pt x="272624" y="1210393"/>
                        <a:pt x="272396" y="1210140"/>
                      </a:cubicBezTo>
                      <a:cubicBezTo>
                        <a:pt x="265006" y="1212130"/>
                        <a:pt x="265386" y="1201685"/>
                        <a:pt x="256842" y="1203840"/>
                      </a:cubicBezTo>
                      <a:cubicBezTo>
                        <a:pt x="242277" y="1207503"/>
                        <a:pt x="258097" y="1214095"/>
                        <a:pt x="253876" y="1218747"/>
                      </a:cubicBezTo>
                      <a:cubicBezTo>
                        <a:pt x="255143" y="1218620"/>
                        <a:pt x="257349" y="1218975"/>
                        <a:pt x="258173" y="1218963"/>
                      </a:cubicBezTo>
                      <a:cubicBezTo>
                        <a:pt x="248044" y="1228432"/>
                        <a:pt x="236116" y="1234707"/>
                        <a:pt x="223072" y="1241375"/>
                      </a:cubicBezTo>
                      <a:cubicBezTo>
                        <a:pt x="222159" y="1233997"/>
                        <a:pt x="231781" y="1228483"/>
                        <a:pt x="232491" y="1220636"/>
                      </a:cubicBezTo>
                      <a:cubicBezTo>
                        <a:pt x="233315" y="1211471"/>
                        <a:pt x="231185" y="1210140"/>
                        <a:pt x="226114" y="1203269"/>
                      </a:cubicBezTo>
                      <a:cubicBezTo>
                        <a:pt x="228485" y="1206464"/>
                        <a:pt x="220524" y="1191062"/>
                        <a:pt x="221601" y="1196525"/>
                      </a:cubicBezTo>
                      <a:cubicBezTo>
                        <a:pt x="221399" y="1195600"/>
                        <a:pt x="214921" y="1193204"/>
                        <a:pt x="220739" y="1191543"/>
                      </a:cubicBezTo>
                      <a:cubicBezTo>
                        <a:pt x="226025" y="1190035"/>
                        <a:pt x="228687" y="1196677"/>
                        <a:pt x="229841" y="1196183"/>
                      </a:cubicBezTo>
                      <a:cubicBezTo>
                        <a:pt x="237523" y="1192887"/>
                        <a:pt x="234557" y="1183633"/>
                        <a:pt x="227090" y="1183405"/>
                      </a:cubicBezTo>
                      <a:cubicBezTo>
                        <a:pt x="220169" y="1183189"/>
                        <a:pt x="217925" y="1189528"/>
                        <a:pt x="215770" y="1195663"/>
                      </a:cubicBezTo>
                      <a:cubicBezTo>
                        <a:pt x="213184" y="1202990"/>
                        <a:pt x="211523" y="1206857"/>
                        <a:pt x="216036" y="1214475"/>
                      </a:cubicBezTo>
                      <a:cubicBezTo>
                        <a:pt x="218686" y="1219001"/>
                        <a:pt x="226938" y="1219609"/>
                        <a:pt x="221766" y="1226467"/>
                      </a:cubicBezTo>
                      <a:cubicBezTo>
                        <a:pt x="215935" y="1234212"/>
                        <a:pt x="212398" y="1223222"/>
                        <a:pt x="207797" y="1221409"/>
                      </a:cubicBezTo>
                      <a:cubicBezTo>
                        <a:pt x="199329" y="1218012"/>
                        <a:pt x="190214" y="1226492"/>
                        <a:pt x="187692" y="1215046"/>
                      </a:cubicBezTo>
                      <a:cubicBezTo>
                        <a:pt x="188389" y="1215096"/>
                        <a:pt x="189073" y="1215172"/>
                        <a:pt x="189732" y="1215286"/>
                      </a:cubicBezTo>
                      <a:cubicBezTo>
                        <a:pt x="187717" y="1212967"/>
                        <a:pt x="186639" y="1210267"/>
                        <a:pt x="183217" y="1208492"/>
                      </a:cubicBezTo>
                      <a:cubicBezTo>
                        <a:pt x="187615" y="1207757"/>
                        <a:pt x="187615" y="1207478"/>
                        <a:pt x="191317" y="1210710"/>
                      </a:cubicBezTo>
                      <a:cubicBezTo>
                        <a:pt x="196286" y="1205842"/>
                        <a:pt x="201255" y="1196969"/>
                        <a:pt x="198910" y="1190149"/>
                      </a:cubicBezTo>
                      <a:cubicBezTo>
                        <a:pt x="197642" y="1186523"/>
                        <a:pt x="179110" y="1172922"/>
                        <a:pt x="191849" y="1175077"/>
                      </a:cubicBezTo>
                      <a:cubicBezTo>
                        <a:pt x="191064" y="1174253"/>
                        <a:pt x="187349" y="1162451"/>
                        <a:pt x="187299" y="1160460"/>
                      </a:cubicBezTo>
                      <a:cubicBezTo>
                        <a:pt x="187299" y="1160080"/>
                        <a:pt x="188921" y="1153045"/>
                        <a:pt x="188629" y="1153577"/>
                      </a:cubicBezTo>
                      <a:cubicBezTo>
                        <a:pt x="190785" y="1149407"/>
                        <a:pt x="194296" y="1152791"/>
                        <a:pt x="195031" y="1152157"/>
                      </a:cubicBezTo>
                      <a:cubicBezTo>
                        <a:pt x="200178" y="1147746"/>
                        <a:pt x="208430" y="1132167"/>
                        <a:pt x="211612" y="1133650"/>
                      </a:cubicBezTo>
                      <a:cubicBezTo>
                        <a:pt x="211993" y="1128706"/>
                        <a:pt x="216619" y="1119794"/>
                        <a:pt x="218711" y="1119072"/>
                      </a:cubicBezTo>
                      <a:cubicBezTo>
                        <a:pt x="213590" y="1114102"/>
                        <a:pt x="221310" y="1112315"/>
                        <a:pt x="223858" y="1107346"/>
                      </a:cubicBezTo>
                      <a:cubicBezTo>
                        <a:pt x="218445" y="1107751"/>
                        <a:pt x="212538" y="1109399"/>
                        <a:pt x="207568" y="1109590"/>
                      </a:cubicBezTo>
                      <a:cubicBezTo>
                        <a:pt x="211473" y="1106218"/>
                        <a:pt x="215681" y="1103746"/>
                        <a:pt x="220727" y="1102820"/>
                      </a:cubicBezTo>
                      <a:cubicBezTo>
                        <a:pt x="219015" y="1099638"/>
                        <a:pt x="220346" y="1097458"/>
                        <a:pt x="218990" y="1094847"/>
                      </a:cubicBezTo>
                      <a:cubicBezTo>
                        <a:pt x="217000" y="1091056"/>
                        <a:pt x="211663" y="1089599"/>
                        <a:pt x="209204" y="1085961"/>
                      </a:cubicBezTo>
                      <a:cubicBezTo>
                        <a:pt x="207150" y="1082906"/>
                        <a:pt x="207809" y="1081777"/>
                        <a:pt x="205984" y="1077962"/>
                      </a:cubicBezTo>
                      <a:cubicBezTo>
                        <a:pt x="201319" y="1068188"/>
                        <a:pt x="201471" y="1070330"/>
                        <a:pt x="192293" y="1063079"/>
                      </a:cubicBezTo>
                      <a:cubicBezTo>
                        <a:pt x="190303" y="1066439"/>
                        <a:pt x="187007" y="1068695"/>
                        <a:pt x="183863" y="1068606"/>
                      </a:cubicBezTo>
                      <a:cubicBezTo>
                        <a:pt x="187628" y="1078824"/>
                        <a:pt x="195374" y="1083337"/>
                        <a:pt x="182253" y="1088724"/>
                      </a:cubicBezTo>
                      <a:cubicBezTo>
                        <a:pt x="188161" y="1095138"/>
                        <a:pt x="204336" y="1082500"/>
                        <a:pt x="202156" y="1099575"/>
                      </a:cubicBezTo>
                      <a:cubicBezTo>
                        <a:pt x="201319" y="1106230"/>
                        <a:pt x="192749" y="1110211"/>
                        <a:pt x="186728" y="1111897"/>
                      </a:cubicBezTo>
                      <a:cubicBezTo>
                        <a:pt x="180644" y="1104126"/>
                        <a:pt x="191925" y="1103708"/>
                        <a:pt x="187958" y="1097471"/>
                      </a:cubicBezTo>
                      <a:cubicBezTo>
                        <a:pt x="184256" y="1091640"/>
                        <a:pt x="176194" y="1100856"/>
                        <a:pt x="171377" y="1097813"/>
                      </a:cubicBezTo>
                      <a:cubicBezTo>
                        <a:pt x="169133" y="1103987"/>
                        <a:pt x="161476" y="1112784"/>
                        <a:pt x="155265" y="1113912"/>
                      </a:cubicBezTo>
                      <a:cubicBezTo>
                        <a:pt x="157889" y="1111402"/>
                        <a:pt x="161578" y="1106788"/>
                        <a:pt x="159423" y="1103771"/>
                      </a:cubicBezTo>
                      <a:cubicBezTo>
                        <a:pt x="162478" y="1103492"/>
                        <a:pt x="161641" y="1102237"/>
                        <a:pt x="164012" y="1101134"/>
                      </a:cubicBezTo>
                      <a:cubicBezTo>
                        <a:pt x="159347" y="1099727"/>
                        <a:pt x="151982" y="1091614"/>
                        <a:pt x="149700" y="1085935"/>
                      </a:cubicBezTo>
                      <a:cubicBezTo>
                        <a:pt x="148039" y="1081701"/>
                        <a:pt x="149675" y="1064740"/>
                        <a:pt x="154821" y="1074704"/>
                      </a:cubicBezTo>
                      <a:cubicBezTo>
                        <a:pt x="154656" y="1073538"/>
                        <a:pt x="156393" y="1074349"/>
                        <a:pt x="156672" y="1074615"/>
                      </a:cubicBezTo>
                      <a:cubicBezTo>
                        <a:pt x="155316" y="1076479"/>
                        <a:pt x="155988" y="1077784"/>
                        <a:pt x="155354" y="1079280"/>
                      </a:cubicBezTo>
                      <a:cubicBezTo>
                        <a:pt x="160247" y="1075604"/>
                        <a:pt x="162503" y="1080624"/>
                        <a:pt x="160133" y="1085555"/>
                      </a:cubicBezTo>
                      <a:cubicBezTo>
                        <a:pt x="159474" y="1084363"/>
                        <a:pt x="159397" y="1083489"/>
                        <a:pt x="158700" y="1082842"/>
                      </a:cubicBezTo>
                      <a:cubicBezTo>
                        <a:pt x="158231" y="1095493"/>
                        <a:pt x="166801" y="1087710"/>
                        <a:pt x="174660" y="1091247"/>
                      </a:cubicBezTo>
                      <a:cubicBezTo>
                        <a:pt x="169957" y="1087418"/>
                        <a:pt x="171947" y="1081562"/>
                        <a:pt x="170426" y="1079432"/>
                      </a:cubicBezTo>
                      <a:cubicBezTo>
                        <a:pt x="167561" y="1075452"/>
                        <a:pt x="166268" y="1076276"/>
                        <a:pt x="162871" y="1074564"/>
                      </a:cubicBezTo>
                      <a:cubicBezTo>
                        <a:pt x="159385" y="1072790"/>
                        <a:pt x="152045" y="1073398"/>
                        <a:pt x="156571" y="1067148"/>
                      </a:cubicBezTo>
                      <a:cubicBezTo>
                        <a:pt x="155797" y="1066540"/>
                        <a:pt x="154783" y="1068201"/>
                        <a:pt x="154378" y="1068518"/>
                      </a:cubicBezTo>
                      <a:cubicBezTo>
                        <a:pt x="154302" y="1067148"/>
                        <a:pt x="153972" y="1065754"/>
                        <a:pt x="152971" y="1065196"/>
                      </a:cubicBezTo>
                      <a:cubicBezTo>
                        <a:pt x="151627" y="1069367"/>
                        <a:pt x="152147" y="1067389"/>
                        <a:pt x="149763" y="1070229"/>
                      </a:cubicBezTo>
                      <a:cubicBezTo>
                        <a:pt x="153008" y="1063156"/>
                        <a:pt x="146835" y="1065741"/>
                        <a:pt x="144515" y="1061317"/>
                      </a:cubicBezTo>
                      <a:cubicBezTo>
                        <a:pt x="142208" y="1056906"/>
                        <a:pt x="143463" y="1054485"/>
                        <a:pt x="144274" y="1047221"/>
                      </a:cubicBezTo>
                      <a:cubicBezTo>
                        <a:pt x="149345" y="1048020"/>
                        <a:pt x="145111" y="1049414"/>
                        <a:pt x="150283" y="1045776"/>
                      </a:cubicBezTo>
                      <a:cubicBezTo>
                        <a:pt x="151906" y="1051392"/>
                        <a:pt x="159942" y="1048653"/>
                        <a:pt x="163454" y="1055537"/>
                      </a:cubicBezTo>
                      <a:cubicBezTo>
                        <a:pt x="164316" y="1048413"/>
                        <a:pt x="156317" y="1034557"/>
                        <a:pt x="164227" y="1042619"/>
                      </a:cubicBezTo>
                      <a:cubicBezTo>
                        <a:pt x="162972" y="1039653"/>
                        <a:pt x="163454" y="1036649"/>
                        <a:pt x="163594" y="1033099"/>
                      </a:cubicBezTo>
                      <a:cubicBezTo>
                        <a:pt x="167764" y="1033137"/>
                        <a:pt x="171871" y="1034316"/>
                        <a:pt x="170097" y="1039121"/>
                      </a:cubicBezTo>
                      <a:cubicBezTo>
                        <a:pt x="174064" y="1043760"/>
                        <a:pt x="182012" y="1037752"/>
                        <a:pt x="187311" y="1033569"/>
                      </a:cubicBezTo>
                      <a:cubicBezTo>
                        <a:pt x="175383" y="1033759"/>
                        <a:pt x="187945" y="1027915"/>
                        <a:pt x="189821" y="1023808"/>
                      </a:cubicBezTo>
                      <a:cubicBezTo>
                        <a:pt x="191888" y="1026419"/>
                        <a:pt x="193434" y="1030729"/>
                        <a:pt x="196248" y="1030894"/>
                      </a:cubicBezTo>
                      <a:cubicBezTo>
                        <a:pt x="200241" y="1031160"/>
                        <a:pt x="204957" y="1028067"/>
                        <a:pt x="203905" y="1023465"/>
                      </a:cubicBezTo>
                      <a:cubicBezTo>
                        <a:pt x="200127" y="1026203"/>
                        <a:pt x="197326" y="1025734"/>
                        <a:pt x="196185" y="1021817"/>
                      </a:cubicBezTo>
                      <a:cubicBezTo>
                        <a:pt x="204754" y="1031147"/>
                        <a:pt x="209584" y="1010079"/>
                        <a:pt x="211194" y="1008697"/>
                      </a:cubicBezTo>
                      <a:cubicBezTo>
                        <a:pt x="215986" y="1004552"/>
                        <a:pt x="231996" y="998657"/>
                        <a:pt x="235190" y="1002726"/>
                      </a:cubicBezTo>
                      <a:cubicBezTo>
                        <a:pt x="240933" y="1005832"/>
                        <a:pt x="252392" y="996071"/>
                        <a:pt x="247867" y="1004628"/>
                      </a:cubicBezTo>
                      <a:lnTo>
                        <a:pt x="247867" y="1004628"/>
                      </a:lnTo>
                      <a:close/>
                      <a:moveTo>
                        <a:pt x="482104" y="966155"/>
                      </a:moveTo>
                      <a:cubicBezTo>
                        <a:pt x="483283" y="969387"/>
                        <a:pt x="483384" y="970832"/>
                        <a:pt x="486186" y="966776"/>
                      </a:cubicBezTo>
                      <a:cubicBezTo>
                        <a:pt x="493069" y="972823"/>
                        <a:pt x="503502" y="984016"/>
                        <a:pt x="515025" y="975408"/>
                      </a:cubicBezTo>
                      <a:cubicBezTo>
                        <a:pt x="515456" y="976296"/>
                        <a:pt x="514645" y="977703"/>
                        <a:pt x="514023" y="978489"/>
                      </a:cubicBezTo>
                      <a:cubicBezTo>
                        <a:pt x="515380" y="977893"/>
                        <a:pt x="516495" y="976765"/>
                        <a:pt x="517978" y="976372"/>
                      </a:cubicBezTo>
                      <a:cubicBezTo>
                        <a:pt x="516799" y="978590"/>
                        <a:pt x="516191" y="979681"/>
                        <a:pt x="515075" y="980923"/>
                      </a:cubicBezTo>
                      <a:cubicBezTo>
                        <a:pt x="515152" y="980961"/>
                        <a:pt x="517775" y="981671"/>
                        <a:pt x="517585" y="981329"/>
                      </a:cubicBezTo>
                      <a:cubicBezTo>
                        <a:pt x="515215" y="985715"/>
                        <a:pt x="511488" y="996198"/>
                        <a:pt x="517243" y="995298"/>
                      </a:cubicBezTo>
                      <a:cubicBezTo>
                        <a:pt x="521579" y="1000026"/>
                        <a:pt x="524051" y="1003779"/>
                        <a:pt x="517940" y="1008304"/>
                      </a:cubicBezTo>
                      <a:cubicBezTo>
                        <a:pt x="519677" y="1009039"/>
                        <a:pt x="521198" y="1008849"/>
                        <a:pt x="523163" y="1008735"/>
                      </a:cubicBezTo>
                      <a:cubicBezTo>
                        <a:pt x="523315" y="1009648"/>
                        <a:pt x="521325" y="1009407"/>
                        <a:pt x="521148" y="1010383"/>
                      </a:cubicBezTo>
                      <a:cubicBezTo>
                        <a:pt x="522834" y="1010079"/>
                        <a:pt x="524203" y="1009787"/>
                        <a:pt x="525711" y="1009825"/>
                      </a:cubicBezTo>
                      <a:cubicBezTo>
                        <a:pt x="514771" y="1014313"/>
                        <a:pt x="504833" y="1021792"/>
                        <a:pt x="497468" y="1028663"/>
                      </a:cubicBezTo>
                      <a:cubicBezTo>
                        <a:pt x="489494" y="1036167"/>
                        <a:pt x="487529" y="1047791"/>
                        <a:pt x="483194" y="1059150"/>
                      </a:cubicBezTo>
                      <a:cubicBezTo>
                        <a:pt x="475563" y="1049566"/>
                        <a:pt x="466943" y="1036408"/>
                        <a:pt x="452175" y="1035445"/>
                      </a:cubicBezTo>
                      <a:cubicBezTo>
                        <a:pt x="439891" y="1034633"/>
                        <a:pt x="428685" y="1042569"/>
                        <a:pt x="420078" y="1049680"/>
                      </a:cubicBezTo>
                      <a:cubicBezTo>
                        <a:pt x="415882" y="1045738"/>
                        <a:pt x="414246" y="1061786"/>
                        <a:pt x="412877" y="1065488"/>
                      </a:cubicBezTo>
                      <a:cubicBezTo>
                        <a:pt x="408390" y="1065234"/>
                        <a:pt x="404663" y="1072359"/>
                        <a:pt x="402850" y="1076973"/>
                      </a:cubicBezTo>
                      <a:cubicBezTo>
                        <a:pt x="393279" y="1072346"/>
                        <a:pt x="395587" y="1093706"/>
                        <a:pt x="395092" y="1096026"/>
                      </a:cubicBezTo>
                      <a:cubicBezTo>
                        <a:pt x="393977" y="1101578"/>
                        <a:pt x="402774" y="1098777"/>
                        <a:pt x="394484" y="1101160"/>
                      </a:cubicBezTo>
                      <a:cubicBezTo>
                        <a:pt x="392379" y="1101756"/>
                        <a:pt x="392557" y="1094910"/>
                        <a:pt x="387423" y="1098865"/>
                      </a:cubicBezTo>
                      <a:cubicBezTo>
                        <a:pt x="382935" y="1099740"/>
                        <a:pt x="373289" y="1093985"/>
                        <a:pt x="368700" y="1098903"/>
                      </a:cubicBezTo>
                      <a:cubicBezTo>
                        <a:pt x="367825" y="1093706"/>
                        <a:pt x="371818" y="1090131"/>
                        <a:pt x="374721" y="1085998"/>
                      </a:cubicBezTo>
                      <a:cubicBezTo>
                        <a:pt x="370563" y="1086898"/>
                        <a:pt x="366950" y="1086176"/>
                        <a:pt x="363629" y="1083755"/>
                      </a:cubicBezTo>
                      <a:cubicBezTo>
                        <a:pt x="362425" y="1084693"/>
                        <a:pt x="360992" y="1083793"/>
                        <a:pt x="362045" y="1087114"/>
                      </a:cubicBezTo>
                      <a:cubicBezTo>
                        <a:pt x="357405" y="1086696"/>
                        <a:pt x="358584" y="1068036"/>
                        <a:pt x="350572" y="1076935"/>
                      </a:cubicBezTo>
                      <a:cubicBezTo>
                        <a:pt x="353412" y="1073766"/>
                        <a:pt x="353095" y="1072752"/>
                        <a:pt x="358013" y="1072992"/>
                      </a:cubicBezTo>
                      <a:cubicBezTo>
                        <a:pt x="357887" y="1072676"/>
                        <a:pt x="356277" y="1070204"/>
                        <a:pt x="355503" y="1069126"/>
                      </a:cubicBezTo>
                      <a:cubicBezTo>
                        <a:pt x="357671" y="1068429"/>
                        <a:pt x="356758" y="1069037"/>
                        <a:pt x="358533" y="1067656"/>
                      </a:cubicBezTo>
                      <a:cubicBezTo>
                        <a:pt x="354350" y="1065095"/>
                        <a:pt x="356974" y="1065729"/>
                        <a:pt x="356201" y="1064284"/>
                      </a:cubicBezTo>
                      <a:cubicBezTo>
                        <a:pt x="354185" y="1063434"/>
                        <a:pt x="352613" y="1061964"/>
                        <a:pt x="351459" y="1061812"/>
                      </a:cubicBezTo>
                      <a:cubicBezTo>
                        <a:pt x="355377" y="1063016"/>
                        <a:pt x="354857" y="1061533"/>
                        <a:pt x="358216" y="1064664"/>
                      </a:cubicBezTo>
                      <a:cubicBezTo>
                        <a:pt x="359535" y="1063282"/>
                        <a:pt x="361639" y="1061533"/>
                        <a:pt x="362830" y="1059910"/>
                      </a:cubicBezTo>
                      <a:cubicBezTo>
                        <a:pt x="360688" y="1057945"/>
                        <a:pt x="362272" y="1058402"/>
                        <a:pt x="362323" y="1056982"/>
                      </a:cubicBezTo>
                      <a:cubicBezTo>
                        <a:pt x="357595" y="1055968"/>
                        <a:pt x="357734" y="1056044"/>
                        <a:pt x="361144" y="1052697"/>
                      </a:cubicBezTo>
                      <a:cubicBezTo>
                        <a:pt x="357392" y="1053521"/>
                        <a:pt x="353703" y="1053420"/>
                        <a:pt x="350268" y="1052304"/>
                      </a:cubicBezTo>
                      <a:cubicBezTo>
                        <a:pt x="353032" y="1050618"/>
                        <a:pt x="351688" y="1049921"/>
                        <a:pt x="353424" y="1047677"/>
                      </a:cubicBezTo>
                      <a:cubicBezTo>
                        <a:pt x="350635" y="1046765"/>
                        <a:pt x="351143" y="1044445"/>
                        <a:pt x="353424" y="1041998"/>
                      </a:cubicBezTo>
                      <a:cubicBezTo>
                        <a:pt x="346148" y="1037384"/>
                        <a:pt x="331354" y="1048844"/>
                        <a:pt x="330455" y="1046765"/>
                      </a:cubicBezTo>
                      <a:cubicBezTo>
                        <a:pt x="328097" y="1048197"/>
                        <a:pt x="325042" y="1048882"/>
                        <a:pt x="323077" y="1049883"/>
                      </a:cubicBezTo>
                      <a:cubicBezTo>
                        <a:pt x="326132" y="1046613"/>
                        <a:pt x="330303" y="1044103"/>
                        <a:pt x="334625" y="1044014"/>
                      </a:cubicBezTo>
                      <a:cubicBezTo>
                        <a:pt x="338086" y="1036345"/>
                        <a:pt x="363806" y="1030425"/>
                        <a:pt x="371146" y="1020727"/>
                      </a:cubicBezTo>
                      <a:cubicBezTo>
                        <a:pt x="375051" y="1015644"/>
                        <a:pt x="375570" y="1006504"/>
                        <a:pt x="378245" y="1002055"/>
                      </a:cubicBezTo>
                      <a:cubicBezTo>
                        <a:pt x="381249" y="997136"/>
                        <a:pt x="391378" y="988212"/>
                        <a:pt x="388500" y="986817"/>
                      </a:cubicBezTo>
                      <a:cubicBezTo>
                        <a:pt x="388602" y="986729"/>
                        <a:pt x="391403" y="984726"/>
                        <a:pt x="391999" y="984485"/>
                      </a:cubicBezTo>
                      <a:cubicBezTo>
                        <a:pt x="396119" y="988909"/>
                        <a:pt x="399263" y="999076"/>
                        <a:pt x="404561" y="1001218"/>
                      </a:cubicBezTo>
                      <a:cubicBezTo>
                        <a:pt x="409987" y="1003424"/>
                        <a:pt x="416642" y="997643"/>
                        <a:pt x="422144" y="997314"/>
                      </a:cubicBezTo>
                      <a:cubicBezTo>
                        <a:pt x="430738" y="996781"/>
                        <a:pt x="434542" y="1001446"/>
                        <a:pt x="440905" y="993447"/>
                      </a:cubicBezTo>
                      <a:cubicBezTo>
                        <a:pt x="446102" y="986881"/>
                        <a:pt x="444594" y="979364"/>
                        <a:pt x="437533" y="974699"/>
                      </a:cubicBezTo>
                      <a:cubicBezTo>
                        <a:pt x="448245" y="980454"/>
                        <a:pt x="451072" y="972442"/>
                        <a:pt x="461137" y="968589"/>
                      </a:cubicBezTo>
                      <a:cubicBezTo>
                        <a:pt x="466867" y="966395"/>
                        <a:pt x="474485" y="967765"/>
                        <a:pt x="478808" y="966332"/>
                      </a:cubicBezTo>
                      <a:cubicBezTo>
                        <a:pt x="479936" y="962555"/>
                        <a:pt x="480405" y="963898"/>
                        <a:pt x="482104" y="966155"/>
                      </a:cubicBezTo>
                      <a:lnTo>
                        <a:pt x="482104" y="966155"/>
                      </a:lnTo>
                      <a:close/>
                      <a:moveTo>
                        <a:pt x="798180" y="655009"/>
                      </a:moveTo>
                      <a:cubicBezTo>
                        <a:pt x="801121" y="654794"/>
                        <a:pt x="806940" y="651992"/>
                        <a:pt x="808410" y="657456"/>
                      </a:cubicBezTo>
                      <a:cubicBezTo>
                        <a:pt x="809171" y="660524"/>
                        <a:pt x="801185" y="669562"/>
                        <a:pt x="798992" y="671451"/>
                      </a:cubicBezTo>
                      <a:cubicBezTo>
                        <a:pt x="795810" y="674189"/>
                        <a:pt x="784502" y="681186"/>
                        <a:pt x="781549" y="675850"/>
                      </a:cubicBezTo>
                      <a:cubicBezTo>
                        <a:pt x="782487" y="677535"/>
                        <a:pt x="790600" y="666456"/>
                        <a:pt x="790346" y="664555"/>
                      </a:cubicBezTo>
                      <a:cubicBezTo>
                        <a:pt x="789370" y="658014"/>
                        <a:pt x="782994" y="664859"/>
                        <a:pt x="783387" y="655593"/>
                      </a:cubicBezTo>
                      <a:cubicBezTo>
                        <a:pt x="783590" y="651156"/>
                        <a:pt x="789066" y="647011"/>
                        <a:pt x="791588" y="643993"/>
                      </a:cubicBezTo>
                      <a:cubicBezTo>
                        <a:pt x="808474" y="623724"/>
                        <a:pt x="801324" y="639544"/>
                        <a:pt x="798180" y="655009"/>
                      </a:cubicBezTo>
                      <a:lnTo>
                        <a:pt x="798180" y="655009"/>
                      </a:lnTo>
                      <a:close/>
                      <a:moveTo>
                        <a:pt x="1008053" y="370472"/>
                      </a:moveTo>
                      <a:cubicBezTo>
                        <a:pt x="1013542" y="370865"/>
                        <a:pt x="1018308" y="367823"/>
                        <a:pt x="1021693" y="363715"/>
                      </a:cubicBezTo>
                      <a:cubicBezTo>
                        <a:pt x="1021820" y="371651"/>
                        <a:pt x="1017345" y="383263"/>
                        <a:pt x="1016901" y="392897"/>
                      </a:cubicBezTo>
                      <a:cubicBezTo>
                        <a:pt x="1016356" y="403799"/>
                        <a:pt x="1016495" y="414561"/>
                        <a:pt x="1018904" y="425374"/>
                      </a:cubicBezTo>
                      <a:cubicBezTo>
                        <a:pt x="1021275" y="436098"/>
                        <a:pt x="1024367" y="436935"/>
                        <a:pt x="1029616" y="441499"/>
                      </a:cubicBezTo>
                      <a:cubicBezTo>
                        <a:pt x="1038895" y="449624"/>
                        <a:pt x="1045107" y="458777"/>
                        <a:pt x="1049328" y="469907"/>
                      </a:cubicBezTo>
                      <a:cubicBezTo>
                        <a:pt x="1049492" y="470338"/>
                        <a:pt x="1049987" y="478679"/>
                        <a:pt x="1050114" y="478958"/>
                      </a:cubicBezTo>
                      <a:cubicBezTo>
                        <a:pt x="1052041" y="482976"/>
                        <a:pt x="1056122" y="486576"/>
                        <a:pt x="1058265" y="490658"/>
                      </a:cubicBezTo>
                      <a:cubicBezTo>
                        <a:pt x="1062879" y="499494"/>
                        <a:pt x="1060318" y="513235"/>
                        <a:pt x="1059114" y="523250"/>
                      </a:cubicBezTo>
                      <a:cubicBezTo>
                        <a:pt x="1060775" y="521437"/>
                        <a:pt x="1062676" y="520930"/>
                        <a:pt x="1064261" y="519751"/>
                      </a:cubicBezTo>
                      <a:cubicBezTo>
                        <a:pt x="1064577" y="527471"/>
                        <a:pt x="1069103" y="530108"/>
                        <a:pt x="1058087" y="535153"/>
                      </a:cubicBezTo>
                      <a:cubicBezTo>
                        <a:pt x="1061928" y="535279"/>
                        <a:pt x="1060686" y="536332"/>
                        <a:pt x="1064261" y="533163"/>
                      </a:cubicBezTo>
                      <a:cubicBezTo>
                        <a:pt x="1065059" y="533378"/>
                        <a:pt x="1065630" y="533885"/>
                        <a:pt x="1065896" y="534671"/>
                      </a:cubicBezTo>
                      <a:cubicBezTo>
                        <a:pt x="1064438" y="538043"/>
                        <a:pt x="1061332" y="540426"/>
                        <a:pt x="1057048" y="541681"/>
                      </a:cubicBezTo>
                      <a:cubicBezTo>
                        <a:pt x="1057681" y="541947"/>
                        <a:pt x="1058315" y="542226"/>
                        <a:pt x="1058949" y="542480"/>
                      </a:cubicBezTo>
                      <a:cubicBezTo>
                        <a:pt x="1057555" y="543836"/>
                        <a:pt x="1056021" y="545003"/>
                        <a:pt x="1054563" y="546384"/>
                      </a:cubicBezTo>
                      <a:cubicBezTo>
                        <a:pt x="1057187" y="545852"/>
                        <a:pt x="1057491" y="546093"/>
                        <a:pt x="1060153" y="544610"/>
                      </a:cubicBezTo>
                      <a:cubicBezTo>
                        <a:pt x="1058670" y="547982"/>
                        <a:pt x="1059570" y="547094"/>
                        <a:pt x="1055273" y="549439"/>
                      </a:cubicBezTo>
                      <a:cubicBezTo>
                        <a:pt x="1055273" y="549490"/>
                        <a:pt x="1056959" y="550618"/>
                        <a:pt x="1056591" y="551151"/>
                      </a:cubicBezTo>
                      <a:cubicBezTo>
                        <a:pt x="1055907" y="551391"/>
                        <a:pt x="1054804" y="550986"/>
                        <a:pt x="1054107" y="551151"/>
                      </a:cubicBezTo>
                      <a:cubicBezTo>
                        <a:pt x="1054005" y="551924"/>
                        <a:pt x="1054005" y="552672"/>
                        <a:pt x="1054107" y="553445"/>
                      </a:cubicBezTo>
                      <a:cubicBezTo>
                        <a:pt x="1055286" y="553711"/>
                        <a:pt x="1056591" y="553153"/>
                        <a:pt x="1057669" y="553344"/>
                      </a:cubicBezTo>
                      <a:cubicBezTo>
                        <a:pt x="1055349" y="555968"/>
                        <a:pt x="1056870" y="556044"/>
                        <a:pt x="1052598" y="556969"/>
                      </a:cubicBezTo>
                      <a:cubicBezTo>
                        <a:pt x="1054259" y="557971"/>
                        <a:pt x="1053207" y="558604"/>
                        <a:pt x="1056110" y="558756"/>
                      </a:cubicBezTo>
                      <a:cubicBezTo>
                        <a:pt x="1053955" y="559580"/>
                        <a:pt x="1053181" y="561368"/>
                        <a:pt x="1050037" y="561735"/>
                      </a:cubicBezTo>
                      <a:cubicBezTo>
                        <a:pt x="1051825" y="562965"/>
                        <a:pt x="1053650" y="565500"/>
                        <a:pt x="1055184" y="566438"/>
                      </a:cubicBezTo>
                      <a:cubicBezTo>
                        <a:pt x="1053055" y="566210"/>
                        <a:pt x="1049619" y="567161"/>
                        <a:pt x="1048060" y="567022"/>
                      </a:cubicBezTo>
                      <a:cubicBezTo>
                        <a:pt x="1049378" y="567896"/>
                        <a:pt x="1050849" y="568593"/>
                        <a:pt x="1052091" y="569430"/>
                      </a:cubicBezTo>
                      <a:cubicBezTo>
                        <a:pt x="1051077" y="570330"/>
                        <a:pt x="1049492" y="569506"/>
                        <a:pt x="1048503" y="569963"/>
                      </a:cubicBezTo>
                      <a:cubicBezTo>
                        <a:pt x="1048745" y="570203"/>
                        <a:pt x="1050912" y="572092"/>
                        <a:pt x="1050887" y="572599"/>
                      </a:cubicBezTo>
                      <a:cubicBezTo>
                        <a:pt x="1047756" y="572270"/>
                        <a:pt x="1044561" y="572675"/>
                        <a:pt x="1041430" y="571724"/>
                      </a:cubicBezTo>
                      <a:cubicBezTo>
                        <a:pt x="1041899" y="573271"/>
                        <a:pt x="1042077" y="574412"/>
                        <a:pt x="1042926" y="575895"/>
                      </a:cubicBezTo>
                      <a:cubicBezTo>
                        <a:pt x="1042723" y="576567"/>
                        <a:pt x="1040771" y="574742"/>
                        <a:pt x="1040391" y="577074"/>
                      </a:cubicBezTo>
                      <a:cubicBezTo>
                        <a:pt x="1040416" y="576668"/>
                        <a:pt x="1041671" y="578392"/>
                        <a:pt x="1041646" y="579052"/>
                      </a:cubicBezTo>
                      <a:cubicBezTo>
                        <a:pt x="1038400" y="575997"/>
                        <a:pt x="1039389" y="579242"/>
                        <a:pt x="1038908" y="575261"/>
                      </a:cubicBezTo>
                      <a:cubicBezTo>
                        <a:pt x="1032176" y="575692"/>
                        <a:pt x="1035422" y="582424"/>
                        <a:pt x="1037437" y="587570"/>
                      </a:cubicBezTo>
                      <a:cubicBezTo>
                        <a:pt x="1032202" y="580091"/>
                        <a:pt x="1028284" y="591272"/>
                        <a:pt x="1026979" y="595189"/>
                      </a:cubicBezTo>
                      <a:cubicBezTo>
                        <a:pt x="1026472" y="596735"/>
                        <a:pt x="1030756" y="597775"/>
                        <a:pt x="1029730" y="599664"/>
                      </a:cubicBezTo>
                      <a:cubicBezTo>
                        <a:pt x="1029071" y="600982"/>
                        <a:pt x="1027537" y="599714"/>
                        <a:pt x="1027410" y="600259"/>
                      </a:cubicBezTo>
                      <a:cubicBezTo>
                        <a:pt x="1026548" y="603796"/>
                        <a:pt x="1016343" y="604620"/>
                        <a:pt x="1027029" y="605901"/>
                      </a:cubicBezTo>
                      <a:cubicBezTo>
                        <a:pt x="1025217" y="607941"/>
                        <a:pt x="1025458" y="609843"/>
                        <a:pt x="1022187" y="611808"/>
                      </a:cubicBezTo>
                      <a:cubicBezTo>
                        <a:pt x="1025318" y="612720"/>
                        <a:pt x="1023670" y="613811"/>
                        <a:pt x="1026776" y="613557"/>
                      </a:cubicBezTo>
                      <a:cubicBezTo>
                        <a:pt x="1027676" y="615877"/>
                        <a:pt x="1028145" y="616688"/>
                        <a:pt x="1027765" y="619363"/>
                      </a:cubicBezTo>
                      <a:cubicBezTo>
                        <a:pt x="1027207" y="619097"/>
                        <a:pt x="1025648" y="617056"/>
                        <a:pt x="1025699" y="617069"/>
                      </a:cubicBezTo>
                      <a:cubicBezTo>
                        <a:pt x="1024913" y="620060"/>
                        <a:pt x="1024989" y="620187"/>
                        <a:pt x="1025242" y="622329"/>
                      </a:cubicBezTo>
                      <a:cubicBezTo>
                        <a:pt x="1020755" y="625359"/>
                        <a:pt x="1023696" y="627032"/>
                        <a:pt x="1028259" y="627590"/>
                      </a:cubicBezTo>
                      <a:cubicBezTo>
                        <a:pt x="1025572" y="627767"/>
                        <a:pt x="1026877" y="627666"/>
                        <a:pt x="1024697" y="628756"/>
                      </a:cubicBezTo>
                      <a:cubicBezTo>
                        <a:pt x="1027258" y="631900"/>
                        <a:pt x="1027537" y="633599"/>
                        <a:pt x="1026472" y="637617"/>
                      </a:cubicBezTo>
                      <a:cubicBezTo>
                        <a:pt x="1021984" y="634220"/>
                        <a:pt x="1020755" y="629897"/>
                        <a:pt x="1018004" y="628198"/>
                      </a:cubicBezTo>
                      <a:cubicBezTo>
                        <a:pt x="1012211" y="624674"/>
                        <a:pt x="1001043" y="624117"/>
                        <a:pt x="1000586" y="632787"/>
                      </a:cubicBezTo>
                      <a:cubicBezTo>
                        <a:pt x="999724" y="631431"/>
                        <a:pt x="998444" y="632128"/>
                        <a:pt x="997392" y="628756"/>
                      </a:cubicBezTo>
                      <a:cubicBezTo>
                        <a:pt x="993830" y="629504"/>
                        <a:pt x="992626" y="629897"/>
                        <a:pt x="991269" y="634055"/>
                      </a:cubicBezTo>
                      <a:cubicBezTo>
                        <a:pt x="996175" y="634854"/>
                        <a:pt x="987327" y="641407"/>
                        <a:pt x="985210" y="645946"/>
                      </a:cubicBezTo>
                      <a:cubicBezTo>
                        <a:pt x="980646" y="655593"/>
                        <a:pt x="981382" y="663908"/>
                        <a:pt x="984626" y="673251"/>
                      </a:cubicBezTo>
                      <a:cubicBezTo>
                        <a:pt x="989976" y="688475"/>
                        <a:pt x="991142" y="701925"/>
                        <a:pt x="989558" y="719292"/>
                      </a:cubicBezTo>
                      <a:cubicBezTo>
                        <a:pt x="988848" y="726581"/>
                        <a:pt x="989406" y="739651"/>
                        <a:pt x="985514" y="746001"/>
                      </a:cubicBezTo>
                      <a:cubicBezTo>
                        <a:pt x="982256" y="751275"/>
                        <a:pt x="977401" y="750654"/>
                        <a:pt x="973484" y="754786"/>
                      </a:cubicBezTo>
                      <a:cubicBezTo>
                        <a:pt x="964129" y="764636"/>
                        <a:pt x="958728" y="791231"/>
                        <a:pt x="957246" y="803312"/>
                      </a:cubicBezTo>
                      <a:cubicBezTo>
                        <a:pt x="955762" y="815241"/>
                        <a:pt x="959172" y="824102"/>
                        <a:pt x="965662" y="835257"/>
                      </a:cubicBezTo>
                      <a:cubicBezTo>
                        <a:pt x="969060" y="841075"/>
                        <a:pt x="978947" y="850469"/>
                        <a:pt x="977363" y="855793"/>
                      </a:cubicBezTo>
                      <a:cubicBezTo>
                        <a:pt x="966334" y="846792"/>
                        <a:pt x="944658" y="866847"/>
                        <a:pt x="942718" y="880005"/>
                      </a:cubicBezTo>
                      <a:cubicBezTo>
                        <a:pt x="940918" y="892187"/>
                        <a:pt x="945545" y="899400"/>
                        <a:pt x="933895" y="902163"/>
                      </a:cubicBezTo>
                      <a:cubicBezTo>
                        <a:pt x="923044" y="904750"/>
                        <a:pt x="920407" y="907627"/>
                        <a:pt x="911103" y="915208"/>
                      </a:cubicBezTo>
                      <a:cubicBezTo>
                        <a:pt x="907591" y="918085"/>
                        <a:pt x="910507" y="921495"/>
                        <a:pt x="903091" y="921331"/>
                      </a:cubicBezTo>
                      <a:cubicBezTo>
                        <a:pt x="901253" y="921292"/>
                        <a:pt x="896994" y="916488"/>
                        <a:pt x="895447" y="915233"/>
                      </a:cubicBezTo>
                      <a:cubicBezTo>
                        <a:pt x="906197" y="916273"/>
                        <a:pt x="901988" y="911620"/>
                        <a:pt x="901595" y="904952"/>
                      </a:cubicBezTo>
                      <a:cubicBezTo>
                        <a:pt x="901253" y="898183"/>
                        <a:pt x="906894" y="888777"/>
                        <a:pt x="897552" y="886686"/>
                      </a:cubicBezTo>
                      <a:cubicBezTo>
                        <a:pt x="903484" y="881589"/>
                        <a:pt x="907997" y="880119"/>
                        <a:pt x="914437" y="873363"/>
                      </a:cubicBezTo>
                      <a:cubicBezTo>
                        <a:pt x="918607" y="868938"/>
                        <a:pt x="921371" y="868076"/>
                        <a:pt x="919735" y="863589"/>
                      </a:cubicBezTo>
                      <a:cubicBezTo>
                        <a:pt x="918075" y="858949"/>
                        <a:pt x="912066" y="856515"/>
                        <a:pt x="907845" y="857948"/>
                      </a:cubicBezTo>
                      <a:cubicBezTo>
                        <a:pt x="908453" y="861827"/>
                        <a:pt x="904574" y="861535"/>
                        <a:pt x="901672" y="861928"/>
                      </a:cubicBezTo>
                      <a:cubicBezTo>
                        <a:pt x="901595" y="861954"/>
                        <a:pt x="899694" y="860039"/>
                        <a:pt x="899466" y="859938"/>
                      </a:cubicBezTo>
                      <a:cubicBezTo>
                        <a:pt x="899757" y="859824"/>
                        <a:pt x="897881" y="863361"/>
                        <a:pt x="898135" y="862866"/>
                      </a:cubicBezTo>
                      <a:cubicBezTo>
                        <a:pt x="897349" y="861383"/>
                        <a:pt x="896981" y="860242"/>
                        <a:pt x="896373" y="858658"/>
                      </a:cubicBezTo>
                      <a:cubicBezTo>
                        <a:pt x="898274" y="868279"/>
                        <a:pt x="898832" y="873882"/>
                        <a:pt x="887296" y="875315"/>
                      </a:cubicBezTo>
                      <a:cubicBezTo>
                        <a:pt x="890909" y="877609"/>
                        <a:pt x="888678" y="877127"/>
                        <a:pt x="890592" y="879789"/>
                      </a:cubicBezTo>
                      <a:cubicBezTo>
                        <a:pt x="888767" y="879447"/>
                        <a:pt x="888310" y="879561"/>
                        <a:pt x="886827" y="879713"/>
                      </a:cubicBezTo>
                      <a:cubicBezTo>
                        <a:pt x="887423" y="882794"/>
                        <a:pt x="887956" y="886039"/>
                        <a:pt x="888412" y="889322"/>
                      </a:cubicBezTo>
                      <a:cubicBezTo>
                        <a:pt x="900822" y="889512"/>
                        <a:pt x="887803" y="896675"/>
                        <a:pt x="890427" y="901517"/>
                      </a:cubicBezTo>
                      <a:cubicBezTo>
                        <a:pt x="884723" y="903520"/>
                        <a:pt x="883924" y="899134"/>
                        <a:pt x="885940" y="895572"/>
                      </a:cubicBezTo>
                      <a:cubicBezTo>
                        <a:pt x="881883" y="889462"/>
                        <a:pt x="879526" y="887459"/>
                        <a:pt x="872401" y="886863"/>
                      </a:cubicBezTo>
                      <a:cubicBezTo>
                        <a:pt x="863959" y="886153"/>
                        <a:pt x="845476" y="889931"/>
                        <a:pt x="851485" y="901834"/>
                      </a:cubicBezTo>
                      <a:cubicBezTo>
                        <a:pt x="839595" y="898893"/>
                        <a:pt x="850877" y="918491"/>
                        <a:pt x="850534" y="922535"/>
                      </a:cubicBezTo>
                      <a:cubicBezTo>
                        <a:pt x="849875" y="929317"/>
                        <a:pt x="836894" y="932727"/>
                        <a:pt x="839354" y="942335"/>
                      </a:cubicBezTo>
                      <a:cubicBezTo>
                        <a:pt x="831317" y="940383"/>
                        <a:pt x="826347" y="951171"/>
                        <a:pt x="821505" y="939673"/>
                      </a:cubicBezTo>
                      <a:cubicBezTo>
                        <a:pt x="819895" y="935908"/>
                        <a:pt x="821290" y="923866"/>
                        <a:pt x="824294" y="920976"/>
                      </a:cubicBezTo>
                      <a:cubicBezTo>
                        <a:pt x="818450" y="912622"/>
                        <a:pt x="826563" y="910758"/>
                        <a:pt x="832990" y="910670"/>
                      </a:cubicBezTo>
                      <a:cubicBezTo>
                        <a:pt x="826056" y="900693"/>
                        <a:pt x="800386" y="898639"/>
                        <a:pt x="803390" y="913953"/>
                      </a:cubicBezTo>
                      <a:cubicBezTo>
                        <a:pt x="804189" y="913319"/>
                        <a:pt x="803796" y="912533"/>
                        <a:pt x="805203" y="911810"/>
                      </a:cubicBezTo>
                      <a:cubicBezTo>
                        <a:pt x="802680" y="917147"/>
                        <a:pt x="797673" y="915613"/>
                        <a:pt x="794289" y="919467"/>
                      </a:cubicBezTo>
                      <a:cubicBezTo>
                        <a:pt x="791715" y="922370"/>
                        <a:pt x="792045" y="926287"/>
                        <a:pt x="790853" y="928049"/>
                      </a:cubicBezTo>
                      <a:cubicBezTo>
                        <a:pt x="787507" y="932828"/>
                        <a:pt x="774602" y="941778"/>
                        <a:pt x="783666" y="946278"/>
                      </a:cubicBezTo>
                      <a:cubicBezTo>
                        <a:pt x="776858" y="947216"/>
                        <a:pt x="768555" y="941207"/>
                        <a:pt x="760759" y="940916"/>
                      </a:cubicBezTo>
                      <a:cubicBezTo>
                        <a:pt x="752291" y="940586"/>
                        <a:pt x="744875" y="940637"/>
                        <a:pt x="735964" y="940079"/>
                      </a:cubicBezTo>
                      <a:cubicBezTo>
                        <a:pt x="721082" y="939128"/>
                        <a:pt x="707594" y="946924"/>
                        <a:pt x="693181" y="948255"/>
                      </a:cubicBezTo>
                      <a:cubicBezTo>
                        <a:pt x="693840" y="945936"/>
                        <a:pt x="695855" y="942842"/>
                        <a:pt x="697364" y="941131"/>
                      </a:cubicBezTo>
                      <a:cubicBezTo>
                        <a:pt x="698150" y="942297"/>
                        <a:pt x="699329" y="943248"/>
                        <a:pt x="700178" y="944389"/>
                      </a:cubicBezTo>
                      <a:cubicBezTo>
                        <a:pt x="704387" y="941372"/>
                        <a:pt x="710167" y="938102"/>
                        <a:pt x="714021" y="935845"/>
                      </a:cubicBezTo>
                      <a:cubicBezTo>
                        <a:pt x="714350" y="936377"/>
                        <a:pt x="714439" y="939116"/>
                        <a:pt x="714439" y="939078"/>
                      </a:cubicBezTo>
                      <a:cubicBezTo>
                        <a:pt x="714946" y="938380"/>
                        <a:pt x="715022" y="936935"/>
                        <a:pt x="714832" y="936061"/>
                      </a:cubicBezTo>
                      <a:cubicBezTo>
                        <a:pt x="716163" y="935934"/>
                        <a:pt x="716011" y="936948"/>
                        <a:pt x="717190" y="935997"/>
                      </a:cubicBezTo>
                      <a:cubicBezTo>
                        <a:pt x="715872" y="930813"/>
                        <a:pt x="707657" y="924981"/>
                        <a:pt x="704615" y="932892"/>
                      </a:cubicBezTo>
                      <a:cubicBezTo>
                        <a:pt x="701357" y="928670"/>
                        <a:pt x="683711" y="934096"/>
                        <a:pt x="690430" y="919556"/>
                      </a:cubicBezTo>
                      <a:cubicBezTo>
                        <a:pt x="685638" y="926363"/>
                        <a:pt x="685270" y="932574"/>
                        <a:pt x="689910" y="938495"/>
                      </a:cubicBezTo>
                      <a:cubicBezTo>
                        <a:pt x="670553" y="936517"/>
                        <a:pt x="685233" y="914105"/>
                        <a:pt x="682520" y="905460"/>
                      </a:cubicBezTo>
                      <a:cubicBezTo>
                        <a:pt x="681518" y="906613"/>
                        <a:pt x="681543" y="908629"/>
                        <a:pt x="680808" y="909947"/>
                      </a:cubicBezTo>
                      <a:cubicBezTo>
                        <a:pt x="680314" y="908210"/>
                        <a:pt x="680390" y="907805"/>
                        <a:pt x="679452" y="906676"/>
                      </a:cubicBezTo>
                      <a:cubicBezTo>
                        <a:pt x="679668" y="907969"/>
                        <a:pt x="679883" y="909250"/>
                        <a:pt x="680136" y="910543"/>
                      </a:cubicBezTo>
                      <a:cubicBezTo>
                        <a:pt x="679477" y="910695"/>
                        <a:pt x="678831" y="910822"/>
                        <a:pt x="678184" y="910961"/>
                      </a:cubicBezTo>
                      <a:cubicBezTo>
                        <a:pt x="678083" y="910365"/>
                        <a:pt x="677956" y="909782"/>
                        <a:pt x="677880" y="909186"/>
                      </a:cubicBezTo>
                      <a:cubicBezTo>
                        <a:pt x="675776" y="911088"/>
                        <a:pt x="663467" y="912888"/>
                        <a:pt x="666991" y="918187"/>
                      </a:cubicBezTo>
                      <a:cubicBezTo>
                        <a:pt x="664912" y="924677"/>
                        <a:pt x="656824" y="930534"/>
                        <a:pt x="656672" y="938063"/>
                      </a:cubicBezTo>
                      <a:cubicBezTo>
                        <a:pt x="656520" y="945238"/>
                        <a:pt x="660323" y="944021"/>
                        <a:pt x="664506" y="947140"/>
                      </a:cubicBezTo>
                      <a:cubicBezTo>
                        <a:pt x="670021" y="951285"/>
                        <a:pt x="693726" y="960755"/>
                        <a:pt x="682786" y="965635"/>
                      </a:cubicBezTo>
                      <a:cubicBezTo>
                        <a:pt x="683901" y="966687"/>
                        <a:pt x="684104" y="966281"/>
                        <a:pt x="685359" y="966814"/>
                      </a:cubicBezTo>
                      <a:cubicBezTo>
                        <a:pt x="684979" y="971555"/>
                        <a:pt x="681632" y="979833"/>
                        <a:pt x="675256" y="973596"/>
                      </a:cubicBezTo>
                      <a:cubicBezTo>
                        <a:pt x="676257" y="973887"/>
                        <a:pt x="679173" y="974508"/>
                        <a:pt x="680301" y="974724"/>
                      </a:cubicBezTo>
                      <a:cubicBezTo>
                        <a:pt x="680327" y="974661"/>
                        <a:pt x="679921" y="972975"/>
                        <a:pt x="679870" y="972987"/>
                      </a:cubicBezTo>
                      <a:cubicBezTo>
                        <a:pt x="681708" y="970122"/>
                        <a:pt x="679668" y="971568"/>
                        <a:pt x="677779" y="972417"/>
                      </a:cubicBezTo>
                      <a:cubicBezTo>
                        <a:pt x="676156" y="972506"/>
                        <a:pt x="672429" y="972049"/>
                        <a:pt x="670033" y="971770"/>
                      </a:cubicBezTo>
                      <a:cubicBezTo>
                        <a:pt x="669983" y="970452"/>
                        <a:pt x="671161" y="969856"/>
                        <a:pt x="671554" y="968779"/>
                      </a:cubicBezTo>
                      <a:cubicBezTo>
                        <a:pt x="669374" y="968969"/>
                        <a:pt x="668221" y="969260"/>
                        <a:pt x="666154" y="970198"/>
                      </a:cubicBezTo>
                      <a:cubicBezTo>
                        <a:pt x="666839" y="976283"/>
                        <a:pt x="657141" y="971111"/>
                        <a:pt x="656127" y="977183"/>
                      </a:cubicBezTo>
                      <a:cubicBezTo>
                        <a:pt x="649117" y="977285"/>
                        <a:pt x="645466" y="981075"/>
                        <a:pt x="640104" y="984612"/>
                      </a:cubicBezTo>
                      <a:cubicBezTo>
                        <a:pt x="638684" y="985550"/>
                        <a:pt x="643590" y="992142"/>
                        <a:pt x="636732" y="987210"/>
                      </a:cubicBezTo>
                      <a:cubicBezTo>
                        <a:pt x="635807" y="988072"/>
                        <a:pt x="634970" y="990024"/>
                        <a:pt x="634222" y="990620"/>
                      </a:cubicBezTo>
                      <a:cubicBezTo>
                        <a:pt x="638050" y="992256"/>
                        <a:pt x="641486" y="1000179"/>
                        <a:pt x="635236" y="996769"/>
                      </a:cubicBezTo>
                      <a:cubicBezTo>
                        <a:pt x="635261" y="996604"/>
                        <a:pt x="632853" y="999063"/>
                        <a:pt x="633221" y="999088"/>
                      </a:cubicBezTo>
                      <a:cubicBezTo>
                        <a:pt x="634805" y="1000115"/>
                        <a:pt x="633969" y="998911"/>
                        <a:pt x="635439" y="1000483"/>
                      </a:cubicBezTo>
                      <a:cubicBezTo>
                        <a:pt x="629278" y="1005883"/>
                        <a:pt x="611645" y="1019586"/>
                        <a:pt x="615106" y="1029791"/>
                      </a:cubicBezTo>
                      <a:cubicBezTo>
                        <a:pt x="611151" y="1035229"/>
                        <a:pt x="601694" y="1035039"/>
                        <a:pt x="602493" y="1042315"/>
                      </a:cubicBezTo>
                      <a:cubicBezTo>
                        <a:pt x="601491" y="1041681"/>
                        <a:pt x="600807" y="1041897"/>
                        <a:pt x="600350" y="1042962"/>
                      </a:cubicBezTo>
                      <a:cubicBezTo>
                        <a:pt x="602125" y="1036966"/>
                        <a:pt x="580360" y="1035850"/>
                        <a:pt x="574389" y="1031350"/>
                      </a:cubicBezTo>
                      <a:cubicBezTo>
                        <a:pt x="570104" y="1028105"/>
                        <a:pt x="566922" y="1021729"/>
                        <a:pt x="573907" y="1020905"/>
                      </a:cubicBezTo>
                      <a:cubicBezTo>
                        <a:pt x="569534" y="1016709"/>
                        <a:pt x="552890" y="1004121"/>
                        <a:pt x="548516" y="1006124"/>
                      </a:cubicBezTo>
                      <a:cubicBezTo>
                        <a:pt x="549860" y="1003703"/>
                        <a:pt x="549011" y="1002790"/>
                        <a:pt x="551647" y="999976"/>
                      </a:cubicBezTo>
                      <a:cubicBezTo>
                        <a:pt x="548326" y="996249"/>
                        <a:pt x="562042" y="993244"/>
                        <a:pt x="551127" y="990620"/>
                      </a:cubicBezTo>
                      <a:cubicBezTo>
                        <a:pt x="551394" y="989632"/>
                        <a:pt x="553004" y="985334"/>
                        <a:pt x="553257" y="984865"/>
                      </a:cubicBezTo>
                      <a:cubicBezTo>
                        <a:pt x="554817" y="984827"/>
                        <a:pt x="556376" y="984751"/>
                        <a:pt x="557960" y="984954"/>
                      </a:cubicBezTo>
                      <a:cubicBezTo>
                        <a:pt x="556502" y="980124"/>
                        <a:pt x="554132" y="976182"/>
                        <a:pt x="548668" y="974077"/>
                      </a:cubicBezTo>
                      <a:cubicBezTo>
                        <a:pt x="552408" y="966307"/>
                        <a:pt x="566225" y="965064"/>
                        <a:pt x="571714" y="956077"/>
                      </a:cubicBezTo>
                      <a:cubicBezTo>
                        <a:pt x="574921" y="950740"/>
                        <a:pt x="573983" y="945619"/>
                        <a:pt x="574630" y="938837"/>
                      </a:cubicBezTo>
                      <a:cubicBezTo>
                        <a:pt x="570434" y="937785"/>
                        <a:pt x="565503" y="937011"/>
                        <a:pt x="562904" y="940092"/>
                      </a:cubicBezTo>
                      <a:cubicBezTo>
                        <a:pt x="562929" y="939432"/>
                        <a:pt x="562955" y="938773"/>
                        <a:pt x="563006" y="938102"/>
                      </a:cubicBezTo>
                      <a:cubicBezTo>
                        <a:pt x="562143" y="938380"/>
                        <a:pt x="561243" y="938672"/>
                        <a:pt x="560407" y="938951"/>
                      </a:cubicBezTo>
                      <a:cubicBezTo>
                        <a:pt x="560964" y="940054"/>
                        <a:pt x="561497" y="941169"/>
                        <a:pt x="562042" y="942272"/>
                      </a:cubicBezTo>
                      <a:cubicBezTo>
                        <a:pt x="560673" y="941182"/>
                        <a:pt x="560483" y="941296"/>
                        <a:pt x="559253" y="940079"/>
                      </a:cubicBezTo>
                      <a:cubicBezTo>
                        <a:pt x="549530" y="948065"/>
                        <a:pt x="541493" y="941524"/>
                        <a:pt x="531200" y="936213"/>
                      </a:cubicBezTo>
                      <a:cubicBezTo>
                        <a:pt x="523518" y="932220"/>
                        <a:pt x="510449" y="934983"/>
                        <a:pt x="506557" y="930952"/>
                      </a:cubicBezTo>
                      <a:cubicBezTo>
                        <a:pt x="502792" y="937328"/>
                        <a:pt x="492815" y="938583"/>
                        <a:pt x="485666" y="935858"/>
                      </a:cubicBezTo>
                      <a:cubicBezTo>
                        <a:pt x="486363" y="936035"/>
                        <a:pt x="489406" y="937873"/>
                        <a:pt x="490813" y="938342"/>
                      </a:cubicBezTo>
                      <a:cubicBezTo>
                        <a:pt x="487694" y="939876"/>
                        <a:pt x="485134" y="941892"/>
                        <a:pt x="481685" y="943438"/>
                      </a:cubicBezTo>
                      <a:cubicBezTo>
                        <a:pt x="482991" y="944072"/>
                        <a:pt x="482940" y="943476"/>
                        <a:pt x="484208" y="943438"/>
                      </a:cubicBezTo>
                      <a:cubicBezTo>
                        <a:pt x="478871" y="952477"/>
                        <a:pt x="468325" y="940763"/>
                        <a:pt x="465003" y="949713"/>
                      </a:cubicBezTo>
                      <a:cubicBezTo>
                        <a:pt x="470175" y="945505"/>
                        <a:pt x="475892" y="946861"/>
                        <a:pt x="471101" y="953123"/>
                      </a:cubicBezTo>
                      <a:cubicBezTo>
                        <a:pt x="468312" y="955037"/>
                        <a:pt x="458158" y="958676"/>
                        <a:pt x="457372" y="959969"/>
                      </a:cubicBezTo>
                      <a:cubicBezTo>
                        <a:pt x="452555" y="957332"/>
                        <a:pt x="451528" y="953123"/>
                        <a:pt x="446914" y="953123"/>
                      </a:cubicBezTo>
                      <a:cubicBezTo>
                        <a:pt x="442249" y="953123"/>
                        <a:pt x="435708" y="959652"/>
                        <a:pt x="431030" y="961084"/>
                      </a:cubicBezTo>
                      <a:cubicBezTo>
                        <a:pt x="432463" y="959550"/>
                        <a:pt x="433527" y="957661"/>
                        <a:pt x="434909" y="956191"/>
                      </a:cubicBezTo>
                      <a:cubicBezTo>
                        <a:pt x="424780" y="954467"/>
                        <a:pt x="425668" y="970744"/>
                        <a:pt x="415844" y="968741"/>
                      </a:cubicBezTo>
                      <a:cubicBezTo>
                        <a:pt x="419964" y="966243"/>
                        <a:pt x="420116" y="965787"/>
                        <a:pt x="415375" y="964532"/>
                      </a:cubicBezTo>
                      <a:cubicBezTo>
                        <a:pt x="416237" y="961629"/>
                        <a:pt x="416870" y="963518"/>
                        <a:pt x="414589" y="960881"/>
                      </a:cubicBezTo>
                      <a:cubicBezTo>
                        <a:pt x="412560" y="963974"/>
                        <a:pt x="412129" y="965255"/>
                        <a:pt x="409772" y="967929"/>
                      </a:cubicBezTo>
                      <a:cubicBezTo>
                        <a:pt x="415540" y="975599"/>
                        <a:pt x="393343" y="976321"/>
                        <a:pt x="404726" y="967067"/>
                      </a:cubicBezTo>
                      <a:cubicBezTo>
                        <a:pt x="405259" y="968107"/>
                        <a:pt x="404295" y="969438"/>
                        <a:pt x="404650" y="970186"/>
                      </a:cubicBezTo>
                      <a:cubicBezTo>
                        <a:pt x="406083" y="969324"/>
                        <a:pt x="407553" y="967891"/>
                        <a:pt x="408758" y="966789"/>
                      </a:cubicBezTo>
                      <a:cubicBezTo>
                        <a:pt x="403205" y="961312"/>
                        <a:pt x="402280" y="967017"/>
                        <a:pt x="396639" y="969514"/>
                      </a:cubicBezTo>
                      <a:cubicBezTo>
                        <a:pt x="388741" y="973013"/>
                        <a:pt x="385090" y="970173"/>
                        <a:pt x="378727" y="973811"/>
                      </a:cubicBezTo>
                      <a:cubicBezTo>
                        <a:pt x="379170" y="979604"/>
                        <a:pt x="366595" y="979275"/>
                        <a:pt x="362615" y="979275"/>
                      </a:cubicBezTo>
                      <a:cubicBezTo>
                        <a:pt x="361829" y="976106"/>
                        <a:pt x="358051" y="971124"/>
                        <a:pt x="361626" y="968437"/>
                      </a:cubicBezTo>
                      <a:cubicBezTo>
                        <a:pt x="348658" y="961414"/>
                        <a:pt x="339087" y="973925"/>
                        <a:pt x="338149" y="985879"/>
                      </a:cubicBezTo>
                      <a:cubicBezTo>
                        <a:pt x="337972" y="987692"/>
                        <a:pt x="338542" y="994132"/>
                        <a:pt x="338048" y="995564"/>
                      </a:cubicBezTo>
                      <a:cubicBezTo>
                        <a:pt x="337110" y="998163"/>
                        <a:pt x="332850" y="999671"/>
                        <a:pt x="332369" y="1001269"/>
                      </a:cubicBezTo>
                      <a:cubicBezTo>
                        <a:pt x="330176" y="1008494"/>
                        <a:pt x="336666" y="1011017"/>
                        <a:pt x="325409" y="1014655"/>
                      </a:cubicBezTo>
                      <a:cubicBezTo>
                        <a:pt x="326449" y="1013400"/>
                        <a:pt x="327171" y="1011321"/>
                        <a:pt x="328160" y="1009825"/>
                      </a:cubicBezTo>
                      <a:cubicBezTo>
                        <a:pt x="335107" y="1007239"/>
                        <a:pt x="323926" y="1004932"/>
                        <a:pt x="320085" y="1002853"/>
                      </a:cubicBezTo>
                      <a:cubicBezTo>
                        <a:pt x="315382" y="1000343"/>
                        <a:pt x="313722" y="994347"/>
                        <a:pt x="308473" y="998543"/>
                      </a:cubicBezTo>
                      <a:cubicBezTo>
                        <a:pt x="309335" y="998176"/>
                        <a:pt x="309690" y="998353"/>
                        <a:pt x="309538" y="999050"/>
                      </a:cubicBezTo>
                      <a:cubicBezTo>
                        <a:pt x="309766" y="999101"/>
                        <a:pt x="305710" y="998809"/>
                        <a:pt x="306052" y="998683"/>
                      </a:cubicBezTo>
                      <a:cubicBezTo>
                        <a:pt x="316257" y="989834"/>
                        <a:pt x="296000" y="994043"/>
                        <a:pt x="292311" y="993080"/>
                      </a:cubicBezTo>
                      <a:cubicBezTo>
                        <a:pt x="292704" y="1001446"/>
                        <a:pt x="289408" y="993701"/>
                        <a:pt x="285554" y="994487"/>
                      </a:cubicBezTo>
                      <a:cubicBezTo>
                        <a:pt x="282956" y="995019"/>
                        <a:pt x="282132" y="996084"/>
                        <a:pt x="279533" y="996198"/>
                      </a:cubicBezTo>
                      <a:cubicBezTo>
                        <a:pt x="280142" y="997618"/>
                        <a:pt x="277986" y="997491"/>
                        <a:pt x="277518" y="997339"/>
                      </a:cubicBezTo>
                      <a:cubicBezTo>
                        <a:pt x="277720" y="995615"/>
                        <a:pt x="277239" y="993992"/>
                        <a:pt x="277251" y="992864"/>
                      </a:cubicBezTo>
                      <a:cubicBezTo>
                        <a:pt x="274348" y="999570"/>
                        <a:pt x="265728" y="1004032"/>
                        <a:pt x="261215" y="1001611"/>
                      </a:cubicBezTo>
                      <a:cubicBezTo>
                        <a:pt x="259225" y="1000559"/>
                        <a:pt x="259365" y="994436"/>
                        <a:pt x="254915" y="993384"/>
                      </a:cubicBezTo>
                      <a:cubicBezTo>
                        <a:pt x="249515" y="992103"/>
                        <a:pt x="245167" y="998442"/>
                        <a:pt x="242188" y="1003259"/>
                      </a:cubicBezTo>
                      <a:cubicBezTo>
                        <a:pt x="241073" y="1002422"/>
                        <a:pt x="240654" y="1001966"/>
                        <a:pt x="239488" y="1001281"/>
                      </a:cubicBezTo>
                      <a:cubicBezTo>
                        <a:pt x="243443" y="997301"/>
                        <a:pt x="240071" y="994132"/>
                        <a:pt x="240375" y="990620"/>
                      </a:cubicBezTo>
                      <a:cubicBezTo>
                        <a:pt x="240324" y="991292"/>
                        <a:pt x="238867" y="986272"/>
                        <a:pt x="238816" y="985816"/>
                      </a:cubicBezTo>
                      <a:cubicBezTo>
                        <a:pt x="238765" y="984903"/>
                        <a:pt x="242403" y="982381"/>
                        <a:pt x="242530" y="980226"/>
                      </a:cubicBezTo>
                      <a:cubicBezTo>
                        <a:pt x="242796" y="975434"/>
                        <a:pt x="238258" y="974762"/>
                        <a:pt x="240122" y="970021"/>
                      </a:cubicBezTo>
                      <a:cubicBezTo>
                        <a:pt x="241681" y="966104"/>
                        <a:pt x="245928" y="966142"/>
                        <a:pt x="250910" y="964557"/>
                      </a:cubicBezTo>
                      <a:cubicBezTo>
                        <a:pt x="248425" y="964443"/>
                        <a:pt x="245813" y="963163"/>
                        <a:pt x="243544" y="963366"/>
                      </a:cubicBezTo>
                      <a:cubicBezTo>
                        <a:pt x="249578" y="955088"/>
                        <a:pt x="262952" y="970794"/>
                        <a:pt x="261127" y="960590"/>
                      </a:cubicBezTo>
                      <a:cubicBezTo>
                        <a:pt x="265246" y="960501"/>
                        <a:pt x="266070" y="960133"/>
                        <a:pt x="269202" y="962377"/>
                      </a:cubicBezTo>
                      <a:cubicBezTo>
                        <a:pt x="263852" y="963036"/>
                        <a:pt x="267465" y="961274"/>
                        <a:pt x="263877" y="965584"/>
                      </a:cubicBezTo>
                      <a:cubicBezTo>
                        <a:pt x="279381" y="963442"/>
                        <a:pt x="281320" y="951158"/>
                        <a:pt x="292463" y="945048"/>
                      </a:cubicBezTo>
                      <a:cubicBezTo>
                        <a:pt x="293034" y="941461"/>
                        <a:pt x="308080" y="937189"/>
                        <a:pt x="312771" y="933766"/>
                      </a:cubicBezTo>
                      <a:cubicBezTo>
                        <a:pt x="321670" y="927314"/>
                        <a:pt x="327007" y="919911"/>
                        <a:pt x="336184" y="913610"/>
                      </a:cubicBezTo>
                      <a:cubicBezTo>
                        <a:pt x="343321" y="908717"/>
                        <a:pt x="380071" y="883808"/>
                        <a:pt x="368509" y="877229"/>
                      </a:cubicBezTo>
                      <a:cubicBezTo>
                        <a:pt x="371387" y="876633"/>
                        <a:pt x="375051" y="875112"/>
                        <a:pt x="378156" y="875125"/>
                      </a:cubicBezTo>
                      <a:cubicBezTo>
                        <a:pt x="377586" y="874529"/>
                        <a:pt x="376838" y="874123"/>
                        <a:pt x="376001" y="873908"/>
                      </a:cubicBezTo>
                      <a:cubicBezTo>
                        <a:pt x="385623" y="870472"/>
                        <a:pt x="399263" y="870713"/>
                        <a:pt x="403053" y="862968"/>
                      </a:cubicBezTo>
                      <a:cubicBezTo>
                        <a:pt x="405943" y="865997"/>
                        <a:pt x="409303" y="866618"/>
                        <a:pt x="412928" y="864527"/>
                      </a:cubicBezTo>
                      <a:cubicBezTo>
                        <a:pt x="413714" y="864742"/>
                        <a:pt x="417263" y="865566"/>
                        <a:pt x="420395" y="865731"/>
                      </a:cubicBezTo>
                      <a:cubicBezTo>
                        <a:pt x="411800" y="868102"/>
                        <a:pt x="416237" y="873819"/>
                        <a:pt x="422968" y="874770"/>
                      </a:cubicBezTo>
                      <a:cubicBezTo>
                        <a:pt x="428457" y="875555"/>
                        <a:pt x="428546" y="871398"/>
                        <a:pt x="433920" y="870105"/>
                      </a:cubicBezTo>
                      <a:cubicBezTo>
                        <a:pt x="439992" y="868621"/>
                        <a:pt x="442262" y="870447"/>
                        <a:pt x="448448" y="870827"/>
                      </a:cubicBezTo>
                      <a:cubicBezTo>
                        <a:pt x="466220" y="871930"/>
                        <a:pt x="484462" y="869052"/>
                        <a:pt x="499433" y="861751"/>
                      </a:cubicBezTo>
                      <a:cubicBezTo>
                        <a:pt x="513516" y="854905"/>
                        <a:pt x="528994" y="861371"/>
                        <a:pt x="540251" y="858518"/>
                      </a:cubicBezTo>
                      <a:cubicBezTo>
                        <a:pt x="545207" y="857263"/>
                        <a:pt x="567556" y="839136"/>
                        <a:pt x="566263" y="858265"/>
                      </a:cubicBezTo>
                      <a:cubicBezTo>
                        <a:pt x="562131" y="858708"/>
                        <a:pt x="559139" y="863817"/>
                        <a:pt x="558657" y="868140"/>
                      </a:cubicBezTo>
                      <a:cubicBezTo>
                        <a:pt x="559672" y="867164"/>
                        <a:pt x="561180" y="865250"/>
                        <a:pt x="562511" y="863804"/>
                      </a:cubicBezTo>
                      <a:cubicBezTo>
                        <a:pt x="562359" y="865034"/>
                        <a:pt x="563170" y="865795"/>
                        <a:pt x="564172" y="866200"/>
                      </a:cubicBezTo>
                      <a:cubicBezTo>
                        <a:pt x="563956" y="866403"/>
                        <a:pt x="561801" y="866783"/>
                        <a:pt x="561903" y="866631"/>
                      </a:cubicBezTo>
                      <a:cubicBezTo>
                        <a:pt x="566263" y="868964"/>
                        <a:pt x="570193" y="869965"/>
                        <a:pt x="567734" y="875898"/>
                      </a:cubicBezTo>
                      <a:cubicBezTo>
                        <a:pt x="570878" y="873755"/>
                        <a:pt x="570852" y="874060"/>
                        <a:pt x="573907" y="872970"/>
                      </a:cubicBezTo>
                      <a:cubicBezTo>
                        <a:pt x="573907" y="872272"/>
                        <a:pt x="573907" y="871575"/>
                        <a:pt x="573907" y="870891"/>
                      </a:cubicBezTo>
                      <a:cubicBezTo>
                        <a:pt x="564159" y="869623"/>
                        <a:pt x="574997" y="866137"/>
                        <a:pt x="578370" y="862828"/>
                      </a:cubicBezTo>
                      <a:cubicBezTo>
                        <a:pt x="578192" y="866213"/>
                        <a:pt x="579421" y="865959"/>
                        <a:pt x="579573" y="869597"/>
                      </a:cubicBezTo>
                      <a:cubicBezTo>
                        <a:pt x="580727" y="868875"/>
                        <a:pt x="580917" y="868609"/>
                        <a:pt x="582045" y="867468"/>
                      </a:cubicBezTo>
                      <a:cubicBezTo>
                        <a:pt x="581792" y="876063"/>
                        <a:pt x="589462" y="869775"/>
                        <a:pt x="593682" y="868609"/>
                      </a:cubicBezTo>
                      <a:cubicBezTo>
                        <a:pt x="591971" y="870092"/>
                        <a:pt x="591553" y="870878"/>
                        <a:pt x="590133" y="872602"/>
                      </a:cubicBezTo>
                      <a:cubicBezTo>
                        <a:pt x="594494" y="873667"/>
                        <a:pt x="598386" y="872678"/>
                        <a:pt x="599463" y="868672"/>
                      </a:cubicBezTo>
                      <a:cubicBezTo>
                        <a:pt x="598132" y="868228"/>
                        <a:pt x="597143" y="868254"/>
                        <a:pt x="595318" y="867645"/>
                      </a:cubicBezTo>
                      <a:cubicBezTo>
                        <a:pt x="598829" y="865110"/>
                        <a:pt x="601821" y="867709"/>
                        <a:pt x="605839" y="868596"/>
                      </a:cubicBezTo>
                      <a:cubicBezTo>
                        <a:pt x="605180" y="867607"/>
                        <a:pt x="604154" y="866124"/>
                        <a:pt x="603596" y="865186"/>
                      </a:cubicBezTo>
                      <a:cubicBezTo>
                        <a:pt x="605180" y="865059"/>
                        <a:pt x="605586" y="865909"/>
                        <a:pt x="607323" y="864857"/>
                      </a:cubicBezTo>
                      <a:cubicBezTo>
                        <a:pt x="606144" y="863209"/>
                        <a:pt x="605472" y="861041"/>
                        <a:pt x="604154" y="859494"/>
                      </a:cubicBezTo>
                      <a:cubicBezTo>
                        <a:pt x="618795" y="869205"/>
                        <a:pt x="612191" y="852624"/>
                        <a:pt x="619555" y="849277"/>
                      </a:cubicBezTo>
                      <a:cubicBezTo>
                        <a:pt x="622851" y="864730"/>
                        <a:pt x="625653" y="852129"/>
                        <a:pt x="620341" y="841785"/>
                      </a:cubicBezTo>
                      <a:cubicBezTo>
                        <a:pt x="616779" y="834902"/>
                        <a:pt x="616196" y="833862"/>
                        <a:pt x="618060" y="827588"/>
                      </a:cubicBezTo>
                      <a:cubicBezTo>
                        <a:pt x="619365" y="823214"/>
                        <a:pt x="625146" y="811450"/>
                        <a:pt x="627174" y="809371"/>
                      </a:cubicBezTo>
                      <a:cubicBezTo>
                        <a:pt x="631040" y="805467"/>
                        <a:pt x="641714" y="801119"/>
                        <a:pt x="647241" y="795884"/>
                      </a:cubicBezTo>
                      <a:cubicBezTo>
                        <a:pt x="656127" y="787352"/>
                        <a:pt x="664671" y="776425"/>
                        <a:pt x="670249" y="765435"/>
                      </a:cubicBezTo>
                      <a:cubicBezTo>
                        <a:pt x="673329" y="759337"/>
                        <a:pt x="676422" y="730840"/>
                        <a:pt x="668081" y="733743"/>
                      </a:cubicBezTo>
                      <a:cubicBezTo>
                        <a:pt x="667625" y="723741"/>
                        <a:pt x="672860" y="714690"/>
                        <a:pt x="682532" y="711001"/>
                      </a:cubicBezTo>
                      <a:cubicBezTo>
                        <a:pt x="687932" y="708935"/>
                        <a:pt x="714414" y="696728"/>
                        <a:pt x="717684" y="703294"/>
                      </a:cubicBezTo>
                      <a:cubicBezTo>
                        <a:pt x="721259" y="710355"/>
                        <a:pt x="712500" y="705690"/>
                        <a:pt x="710446" y="709658"/>
                      </a:cubicBezTo>
                      <a:cubicBezTo>
                        <a:pt x="707606" y="715121"/>
                        <a:pt x="713843" y="715451"/>
                        <a:pt x="708988" y="720610"/>
                      </a:cubicBezTo>
                      <a:cubicBezTo>
                        <a:pt x="708278" y="721396"/>
                        <a:pt x="701927" y="720243"/>
                        <a:pt x="700039" y="721358"/>
                      </a:cubicBezTo>
                      <a:cubicBezTo>
                        <a:pt x="698910" y="722017"/>
                        <a:pt x="697490" y="726759"/>
                        <a:pt x="697224" y="726847"/>
                      </a:cubicBezTo>
                      <a:cubicBezTo>
                        <a:pt x="692952" y="728343"/>
                        <a:pt x="689580" y="731107"/>
                        <a:pt x="689035" y="725504"/>
                      </a:cubicBezTo>
                      <a:cubicBezTo>
                        <a:pt x="683128" y="728926"/>
                        <a:pt x="684307" y="734618"/>
                        <a:pt x="681721" y="738890"/>
                      </a:cubicBezTo>
                      <a:cubicBezTo>
                        <a:pt x="687261" y="738700"/>
                        <a:pt x="691799" y="744113"/>
                        <a:pt x="694854" y="736684"/>
                      </a:cubicBezTo>
                      <a:cubicBezTo>
                        <a:pt x="699215" y="749893"/>
                        <a:pt x="683889" y="761289"/>
                        <a:pt x="705109" y="765739"/>
                      </a:cubicBezTo>
                      <a:cubicBezTo>
                        <a:pt x="721335" y="769149"/>
                        <a:pt x="717507" y="757575"/>
                        <a:pt x="725049" y="751034"/>
                      </a:cubicBezTo>
                      <a:cubicBezTo>
                        <a:pt x="730247" y="746534"/>
                        <a:pt x="743671" y="745837"/>
                        <a:pt x="750225" y="743352"/>
                      </a:cubicBezTo>
                      <a:cubicBezTo>
                        <a:pt x="757996" y="740398"/>
                        <a:pt x="765171" y="734529"/>
                        <a:pt x="772447" y="731791"/>
                      </a:cubicBezTo>
                      <a:cubicBezTo>
                        <a:pt x="779254" y="729230"/>
                        <a:pt x="784135" y="729712"/>
                        <a:pt x="791322" y="724591"/>
                      </a:cubicBezTo>
                      <a:cubicBezTo>
                        <a:pt x="799017" y="719127"/>
                        <a:pt x="805051" y="713271"/>
                        <a:pt x="811009" y="706679"/>
                      </a:cubicBezTo>
                      <a:cubicBezTo>
                        <a:pt x="824243" y="692114"/>
                        <a:pt x="824826" y="674265"/>
                        <a:pt x="844285" y="665024"/>
                      </a:cubicBezTo>
                      <a:cubicBezTo>
                        <a:pt x="859078" y="658026"/>
                        <a:pt x="869689" y="655073"/>
                        <a:pt x="872934" y="637237"/>
                      </a:cubicBezTo>
                      <a:cubicBezTo>
                        <a:pt x="874785" y="627146"/>
                        <a:pt x="876572" y="620048"/>
                        <a:pt x="881719" y="610870"/>
                      </a:cubicBezTo>
                      <a:cubicBezTo>
                        <a:pt x="886041" y="603213"/>
                        <a:pt x="892950" y="598333"/>
                        <a:pt x="896994" y="590638"/>
                      </a:cubicBezTo>
                      <a:cubicBezTo>
                        <a:pt x="903472" y="578266"/>
                        <a:pt x="903091" y="563637"/>
                        <a:pt x="908200" y="551214"/>
                      </a:cubicBezTo>
                      <a:cubicBezTo>
                        <a:pt x="909404" y="548298"/>
                        <a:pt x="913118" y="545294"/>
                        <a:pt x="914779" y="541592"/>
                      </a:cubicBezTo>
                      <a:cubicBezTo>
                        <a:pt x="916795" y="537042"/>
                        <a:pt x="917074" y="531832"/>
                        <a:pt x="917593" y="526989"/>
                      </a:cubicBezTo>
                      <a:cubicBezTo>
                        <a:pt x="918303" y="520499"/>
                        <a:pt x="919659" y="508240"/>
                        <a:pt x="914995" y="502612"/>
                      </a:cubicBezTo>
                      <a:cubicBezTo>
                        <a:pt x="906755" y="492674"/>
                        <a:pt x="889870" y="507315"/>
                        <a:pt x="891632" y="488072"/>
                      </a:cubicBezTo>
                      <a:cubicBezTo>
                        <a:pt x="905969" y="501509"/>
                        <a:pt x="917390" y="470541"/>
                        <a:pt x="915261" y="459626"/>
                      </a:cubicBezTo>
                      <a:cubicBezTo>
                        <a:pt x="914804" y="457357"/>
                        <a:pt x="910912" y="447368"/>
                        <a:pt x="909683" y="445124"/>
                      </a:cubicBezTo>
                      <a:cubicBezTo>
                        <a:pt x="909125" y="444059"/>
                        <a:pt x="903763" y="433880"/>
                        <a:pt x="903408" y="436022"/>
                      </a:cubicBezTo>
                      <a:cubicBezTo>
                        <a:pt x="903763" y="433905"/>
                        <a:pt x="909822" y="429900"/>
                        <a:pt x="911394" y="428568"/>
                      </a:cubicBezTo>
                      <a:cubicBezTo>
                        <a:pt x="913841" y="426490"/>
                        <a:pt x="913030" y="424094"/>
                        <a:pt x="916325" y="422306"/>
                      </a:cubicBezTo>
                      <a:cubicBezTo>
                        <a:pt x="919228" y="420734"/>
                        <a:pt x="919938" y="424499"/>
                        <a:pt x="922322" y="423802"/>
                      </a:cubicBezTo>
                      <a:cubicBezTo>
                        <a:pt x="934542" y="420139"/>
                        <a:pt x="936836" y="412343"/>
                        <a:pt x="937609" y="399070"/>
                      </a:cubicBezTo>
                      <a:cubicBezTo>
                        <a:pt x="938928" y="400934"/>
                        <a:pt x="940880" y="401377"/>
                        <a:pt x="942059" y="402493"/>
                      </a:cubicBezTo>
                      <a:cubicBezTo>
                        <a:pt x="943212" y="400452"/>
                        <a:pt x="943162" y="400401"/>
                        <a:pt x="943935" y="399210"/>
                      </a:cubicBezTo>
                      <a:cubicBezTo>
                        <a:pt x="942629" y="399121"/>
                        <a:pt x="939486" y="397739"/>
                        <a:pt x="937977" y="397866"/>
                      </a:cubicBezTo>
                      <a:cubicBezTo>
                        <a:pt x="937711" y="393670"/>
                        <a:pt x="935467" y="390716"/>
                        <a:pt x="931918" y="389740"/>
                      </a:cubicBezTo>
                      <a:cubicBezTo>
                        <a:pt x="938941" y="390260"/>
                        <a:pt x="938750" y="383554"/>
                        <a:pt x="939080" y="378192"/>
                      </a:cubicBezTo>
                      <a:cubicBezTo>
                        <a:pt x="943478" y="381120"/>
                        <a:pt x="946229" y="383681"/>
                        <a:pt x="950552" y="384784"/>
                      </a:cubicBezTo>
                      <a:cubicBezTo>
                        <a:pt x="952238" y="385202"/>
                        <a:pt x="953633" y="380081"/>
                        <a:pt x="957689" y="382185"/>
                      </a:cubicBezTo>
                      <a:cubicBezTo>
                        <a:pt x="962785" y="384847"/>
                        <a:pt x="959540" y="386875"/>
                        <a:pt x="960744" y="390729"/>
                      </a:cubicBezTo>
                      <a:cubicBezTo>
                        <a:pt x="962646" y="396814"/>
                        <a:pt x="959882" y="408768"/>
                        <a:pt x="965219" y="413382"/>
                      </a:cubicBezTo>
                      <a:cubicBezTo>
                        <a:pt x="971545" y="418871"/>
                        <a:pt x="977845" y="412748"/>
                        <a:pt x="978162" y="406296"/>
                      </a:cubicBezTo>
                      <a:cubicBezTo>
                        <a:pt x="977743" y="405890"/>
                        <a:pt x="976628" y="406030"/>
                        <a:pt x="975956" y="405586"/>
                      </a:cubicBezTo>
                      <a:cubicBezTo>
                        <a:pt x="981166" y="392263"/>
                        <a:pt x="988556" y="413978"/>
                        <a:pt x="996517" y="412584"/>
                      </a:cubicBezTo>
                      <a:cubicBezTo>
                        <a:pt x="1003603" y="411354"/>
                        <a:pt x="1007723" y="395305"/>
                        <a:pt x="1007520" y="389981"/>
                      </a:cubicBezTo>
                      <a:cubicBezTo>
                        <a:pt x="1007368" y="385646"/>
                        <a:pt x="1002564" y="371296"/>
                        <a:pt x="997874" y="380208"/>
                      </a:cubicBezTo>
                      <a:cubicBezTo>
                        <a:pt x="997975" y="380182"/>
                        <a:pt x="999610" y="379130"/>
                        <a:pt x="999458" y="378978"/>
                      </a:cubicBezTo>
                      <a:cubicBezTo>
                        <a:pt x="994781" y="385583"/>
                        <a:pt x="972369" y="391084"/>
                        <a:pt x="970365" y="386115"/>
                      </a:cubicBezTo>
                      <a:cubicBezTo>
                        <a:pt x="966512" y="376607"/>
                        <a:pt x="980988" y="362080"/>
                        <a:pt x="981305" y="353498"/>
                      </a:cubicBezTo>
                      <a:cubicBezTo>
                        <a:pt x="985450" y="358734"/>
                        <a:pt x="990572" y="357593"/>
                        <a:pt x="995655" y="360800"/>
                      </a:cubicBezTo>
                      <a:cubicBezTo>
                        <a:pt x="1000574" y="363906"/>
                        <a:pt x="1002006" y="368279"/>
                        <a:pt x="1008053" y="370472"/>
                      </a:cubicBezTo>
                      <a:lnTo>
                        <a:pt x="1008053" y="370472"/>
                      </a:lnTo>
                      <a:close/>
                      <a:moveTo>
                        <a:pt x="1062866" y="3347"/>
                      </a:moveTo>
                      <a:cubicBezTo>
                        <a:pt x="1069065" y="17380"/>
                        <a:pt x="1090932" y="29220"/>
                        <a:pt x="1100338" y="41973"/>
                      </a:cubicBezTo>
                      <a:cubicBezTo>
                        <a:pt x="1109630" y="54624"/>
                        <a:pt x="1116602" y="65754"/>
                        <a:pt x="1128657" y="76846"/>
                      </a:cubicBezTo>
                      <a:cubicBezTo>
                        <a:pt x="1137505" y="85022"/>
                        <a:pt x="1147811" y="92121"/>
                        <a:pt x="1157433" y="99701"/>
                      </a:cubicBezTo>
                      <a:cubicBezTo>
                        <a:pt x="1167663" y="107751"/>
                        <a:pt x="1181277" y="112277"/>
                        <a:pt x="1192902" y="118856"/>
                      </a:cubicBezTo>
                      <a:cubicBezTo>
                        <a:pt x="1190202" y="118146"/>
                        <a:pt x="1188060" y="118894"/>
                        <a:pt x="1185803" y="118856"/>
                      </a:cubicBezTo>
                      <a:cubicBezTo>
                        <a:pt x="1194297" y="135779"/>
                        <a:pt x="1210699" y="115826"/>
                        <a:pt x="1222121" y="126031"/>
                      </a:cubicBezTo>
                      <a:cubicBezTo>
                        <a:pt x="1220105" y="126994"/>
                        <a:pt x="1214541" y="134511"/>
                        <a:pt x="1219688" y="133358"/>
                      </a:cubicBezTo>
                      <a:cubicBezTo>
                        <a:pt x="1221094" y="133028"/>
                        <a:pt x="1224263" y="128566"/>
                        <a:pt x="1224162" y="128579"/>
                      </a:cubicBezTo>
                      <a:cubicBezTo>
                        <a:pt x="1227281" y="128363"/>
                        <a:pt x="1224086" y="124180"/>
                        <a:pt x="1228751" y="126195"/>
                      </a:cubicBezTo>
                      <a:cubicBezTo>
                        <a:pt x="1227712" y="125726"/>
                        <a:pt x="1231743" y="133890"/>
                        <a:pt x="1232326" y="134600"/>
                      </a:cubicBezTo>
                      <a:cubicBezTo>
                        <a:pt x="1238398" y="141471"/>
                        <a:pt x="1248641" y="142409"/>
                        <a:pt x="1257793" y="142497"/>
                      </a:cubicBezTo>
                      <a:cubicBezTo>
                        <a:pt x="1272168" y="142650"/>
                        <a:pt x="1275831" y="134410"/>
                        <a:pt x="1286150" y="125333"/>
                      </a:cubicBezTo>
                      <a:cubicBezTo>
                        <a:pt x="1293478" y="118868"/>
                        <a:pt x="1315395" y="92159"/>
                        <a:pt x="1309146" y="116244"/>
                      </a:cubicBezTo>
                      <a:cubicBezTo>
                        <a:pt x="1305837" y="129098"/>
                        <a:pt x="1288192" y="140393"/>
                        <a:pt x="1288876" y="154502"/>
                      </a:cubicBezTo>
                      <a:cubicBezTo>
                        <a:pt x="1289282" y="162539"/>
                        <a:pt x="1296013" y="166532"/>
                        <a:pt x="1299778" y="173048"/>
                      </a:cubicBezTo>
                      <a:cubicBezTo>
                        <a:pt x="1304316" y="180945"/>
                        <a:pt x="1302997" y="192405"/>
                        <a:pt x="1312429" y="197590"/>
                      </a:cubicBezTo>
                      <a:cubicBezTo>
                        <a:pt x="1305787" y="194218"/>
                        <a:pt x="1299017" y="194066"/>
                        <a:pt x="1306433" y="198629"/>
                      </a:cubicBezTo>
                      <a:cubicBezTo>
                        <a:pt x="1309488" y="200492"/>
                        <a:pt x="1317183" y="201393"/>
                        <a:pt x="1321543" y="204422"/>
                      </a:cubicBezTo>
                      <a:cubicBezTo>
                        <a:pt x="1317195" y="195397"/>
                        <a:pt x="1336666" y="188171"/>
                        <a:pt x="1344297" y="191492"/>
                      </a:cubicBezTo>
                      <a:cubicBezTo>
                        <a:pt x="1335209" y="196791"/>
                        <a:pt x="1324408" y="198439"/>
                        <a:pt x="1322544" y="209784"/>
                      </a:cubicBezTo>
                      <a:cubicBezTo>
                        <a:pt x="1316599" y="208352"/>
                        <a:pt x="1310135" y="208770"/>
                        <a:pt x="1304063" y="210127"/>
                      </a:cubicBezTo>
                      <a:cubicBezTo>
                        <a:pt x="1299232" y="211191"/>
                        <a:pt x="1287177" y="214044"/>
                        <a:pt x="1295747" y="217771"/>
                      </a:cubicBezTo>
                      <a:cubicBezTo>
                        <a:pt x="1292312" y="220610"/>
                        <a:pt x="1288356" y="222347"/>
                        <a:pt x="1283565" y="220889"/>
                      </a:cubicBezTo>
                      <a:cubicBezTo>
                        <a:pt x="1291563" y="233540"/>
                        <a:pt x="1269354" y="221726"/>
                        <a:pt x="1271636" y="221764"/>
                      </a:cubicBezTo>
                      <a:cubicBezTo>
                        <a:pt x="1267263" y="221713"/>
                        <a:pt x="1259429" y="225364"/>
                        <a:pt x="1267313" y="230675"/>
                      </a:cubicBezTo>
                      <a:cubicBezTo>
                        <a:pt x="1256373" y="233490"/>
                        <a:pt x="1245370" y="228394"/>
                        <a:pt x="1236459" y="226327"/>
                      </a:cubicBezTo>
                      <a:cubicBezTo>
                        <a:pt x="1226051" y="223881"/>
                        <a:pt x="1210941" y="230612"/>
                        <a:pt x="1201598" y="238357"/>
                      </a:cubicBezTo>
                      <a:cubicBezTo>
                        <a:pt x="1189543" y="248346"/>
                        <a:pt x="1178058" y="259198"/>
                        <a:pt x="1169286" y="272318"/>
                      </a:cubicBezTo>
                      <a:cubicBezTo>
                        <a:pt x="1160970" y="284779"/>
                        <a:pt x="1162288" y="289976"/>
                        <a:pt x="1160120" y="303096"/>
                      </a:cubicBezTo>
                      <a:cubicBezTo>
                        <a:pt x="1159334" y="307774"/>
                        <a:pt x="1158219" y="311463"/>
                        <a:pt x="1155075" y="314708"/>
                      </a:cubicBezTo>
                      <a:cubicBezTo>
                        <a:pt x="1149536" y="320451"/>
                        <a:pt x="1155253" y="319069"/>
                        <a:pt x="1148268" y="316039"/>
                      </a:cubicBezTo>
                      <a:cubicBezTo>
                        <a:pt x="1145974" y="315050"/>
                        <a:pt x="1140903" y="309257"/>
                        <a:pt x="1138254" y="307698"/>
                      </a:cubicBezTo>
                      <a:cubicBezTo>
                        <a:pt x="1131421" y="303654"/>
                        <a:pt x="1124259" y="302298"/>
                        <a:pt x="1116995" y="299255"/>
                      </a:cubicBezTo>
                      <a:cubicBezTo>
                        <a:pt x="1101441" y="292752"/>
                        <a:pt x="1089943" y="283093"/>
                        <a:pt x="1075923" y="274967"/>
                      </a:cubicBezTo>
                      <a:cubicBezTo>
                        <a:pt x="1067164" y="269871"/>
                        <a:pt x="1052433" y="260174"/>
                        <a:pt x="1041265" y="258944"/>
                      </a:cubicBezTo>
                      <a:cubicBezTo>
                        <a:pt x="1026269" y="257309"/>
                        <a:pt x="1015291" y="267070"/>
                        <a:pt x="1003502" y="274219"/>
                      </a:cubicBezTo>
                      <a:cubicBezTo>
                        <a:pt x="998228" y="277414"/>
                        <a:pt x="986705" y="289849"/>
                        <a:pt x="982560" y="284487"/>
                      </a:cubicBezTo>
                      <a:cubicBezTo>
                        <a:pt x="983435" y="284487"/>
                        <a:pt x="985400" y="284791"/>
                        <a:pt x="986452" y="284462"/>
                      </a:cubicBezTo>
                      <a:cubicBezTo>
                        <a:pt x="975081" y="278643"/>
                        <a:pt x="971659" y="257233"/>
                        <a:pt x="952606" y="262164"/>
                      </a:cubicBezTo>
                      <a:cubicBezTo>
                        <a:pt x="945317" y="264065"/>
                        <a:pt x="940474" y="269098"/>
                        <a:pt x="937356" y="276159"/>
                      </a:cubicBezTo>
                      <a:cubicBezTo>
                        <a:pt x="932057" y="288151"/>
                        <a:pt x="935746" y="289152"/>
                        <a:pt x="944087" y="296074"/>
                      </a:cubicBezTo>
                      <a:cubicBezTo>
                        <a:pt x="946369" y="297975"/>
                        <a:pt x="950616" y="302932"/>
                        <a:pt x="952935" y="303654"/>
                      </a:cubicBezTo>
                      <a:cubicBezTo>
                        <a:pt x="955851" y="304592"/>
                        <a:pt x="958348" y="302209"/>
                        <a:pt x="961175" y="302944"/>
                      </a:cubicBezTo>
                      <a:cubicBezTo>
                        <a:pt x="969770" y="305188"/>
                        <a:pt x="969453" y="304909"/>
                        <a:pt x="976754" y="312553"/>
                      </a:cubicBezTo>
                      <a:cubicBezTo>
                        <a:pt x="984563" y="320729"/>
                        <a:pt x="995516" y="322846"/>
                        <a:pt x="1002425" y="331251"/>
                      </a:cubicBezTo>
                      <a:cubicBezTo>
                        <a:pt x="995807" y="332481"/>
                        <a:pt x="992131" y="338261"/>
                        <a:pt x="985527" y="338299"/>
                      </a:cubicBezTo>
                      <a:cubicBezTo>
                        <a:pt x="977642" y="338337"/>
                        <a:pt x="974739" y="330820"/>
                        <a:pt x="966043" y="335992"/>
                      </a:cubicBezTo>
                      <a:cubicBezTo>
                        <a:pt x="967539" y="333659"/>
                        <a:pt x="968718" y="327068"/>
                        <a:pt x="962519" y="328880"/>
                      </a:cubicBezTo>
                      <a:cubicBezTo>
                        <a:pt x="959641" y="329717"/>
                        <a:pt x="960998" y="334052"/>
                        <a:pt x="959172" y="335181"/>
                      </a:cubicBezTo>
                      <a:cubicBezTo>
                        <a:pt x="957651" y="336119"/>
                        <a:pt x="951630" y="339148"/>
                        <a:pt x="950451" y="340657"/>
                      </a:cubicBezTo>
                      <a:cubicBezTo>
                        <a:pt x="946255" y="345981"/>
                        <a:pt x="947180" y="351901"/>
                        <a:pt x="941881" y="356896"/>
                      </a:cubicBezTo>
                      <a:cubicBezTo>
                        <a:pt x="942515" y="356287"/>
                        <a:pt x="927633" y="366403"/>
                        <a:pt x="928241" y="366225"/>
                      </a:cubicBezTo>
                      <a:cubicBezTo>
                        <a:pt x="913701" y="370193"/>
                        <a:pt x="911230" y="349619"/>
                        <a:pt x="915134" y="340340"/>
                      </a:cubicBezTo>
                      <a:cubicBezTo>
                        <a:pt x="919051" y="331035"/>
                        <a:pt x="926048" y="328399"/>
                        <a:pt x="924071" y="318105"/>
                      </a:cubicBezTo>
                      <a:cubicBezTo>
                        <a:pt x="922360" y="309409"/>
                        <a:pt x="916870" y="307191"/>
                        <a:pt x="910203" y="302095"/>
                      </a:cubicBezTo>
                      <a:cubicBezTo>
                        <a:pt x="907591" y="300079"/>
                        <a:pt x="899123" y="294388"/>
                        <a:pt x="897995" y="291789"/>
                      </a:cubicBezTo>
                      <a:cubicBezTo>
                        <a:pt x="894623" y="284069"/>
                        <a:pt x="899808" y="283042"/>
                        <a:pt x="901583" y="276108"/>
                      </a:cubicBezTo>
                      <a:cubicBezTo>
                        <a:pt x="904093" y="266271"/>
                        <a:pt x="898604" y="260275"/>
                        <a:pt x="907515" y="253645"/>
                      </a:cubicBezTo>
                      <a:cubicBezTo>
                        <a:pt x="909949" y="251820"/>
                        <a:pt x="920129" y="249196"/>
                        <a:pt x="923691" y="247383"/>
                      </a:cubicBezTo>
                      <a:cubicBezTo>
                        <a:pt x="926048" y="246204"/>
                        <a:pt x="925630" y="242452"/>
                        <a:pt x="928432" y="241450"/>
                      </a:cubicBezTo>
                      <a:cubicBezTo>
                        <a:pt x="930574" y="240702"/>
                        <a:pt x="931854" y="247903"/>
                        <a:pt x="934465" y="246420"/>
                      </a:cubicBezTo>
                      <a:cubicBezTo>
                        <a:pt x="938484" y="244100"/>
                        <a:pt x="951452" y="224248"/>
                        <a:pt x="951236" y="221498"/>
                      </a:cubicBezTo>
                      <a:cubicBezTo>
                        <a:pt x="950616" y="213068"/>
                        <a:pt x="937825" y="210545"/>
                        <a:pt x="938053" y="202559"/>
                      </a:cubicBezTo>
                      <a:cubicBezTo>
                        <a:pt x="938104" y="199745"/>
                        <a:pt x="947028" y="191353"/>
                        <a:pt x="949690" y="191632"/>
                      </a:cubicBezTo>
                      <a:cubicBezTo>
                        <a:pt x="955724" y="192278"/>
                        <a:pt x="961872" y="201126"/>
                        <a:pt x="967336" y="203852"/>
                      </a:cubicBezTo>
                      <a:cubicBezTo>
                        <a:pt x="975715" y="208048"/>
                        <a:pt x="979797" y="205918"/>
                        <a:pt x="989254" y="204917"/>
                      </a:cubicBezTo>
                      <a:cubicBezTo>
                        <a:pt x="987225" y="209696"/>
                        <a:pt x="994451" y="212294"/>
                        <a:pt x="999205" y="212130"/>
                      </a:cubicBezTo>
                      <a:cubicBezTo>
                        <a:pt x="1006531" y="211876"/>
                        <a:pt x="1014809" y="204866"/>
                        <a:pt x="1017890" y="198223"/>
                      </a:cubicBezTo>
                      <a:cubicBezTo>
                        <a:pt x="1024038" y="185205"/>
                        <a:pt x="1009764" y="172946"/>
                        <a:pt x="1012870" y="159890"/>
                      </a:cubicBezTo>
                      <a:cubicBezTo>
                        <a:pt x="1014911" y="151498"/>
                        <a:pt x="1020273" y="153818"/>
                        <a:pt x="1025648" y="150205"/>
                      </a:cubicBezTo>
                      <a:cubicBezTo>
                        <a:pt x="1033989" y="144627"/>
                        <a:pt x="1036512" y="138682"/>
                        <a:pt x="1037095" y="128819"/>
                      </a:cubicBezTo>
                      <a:cubicBezTo>
                        <a:pt x="1037450" y="122633"/>
                        <a:pt x="1034876" y="115610"/>
                        <a:pt x="1036207" y="109538"/>
                      </a:cubicBezTo>
                      <a:cubicBezTo>
                        <a:pt x="1037513" y="103771"/>
                        <a:pt x="1041848" y="98814"/>
                        <a:pt x="1043712" y="93097"/>
                      </a:cubicBezTo>
                      <a:cubicBezTo>
                        <a:pt x="1047566" y="81219"/>
                        <a:pt x="1047020" y="67211"/>
                        <a:pt x="1043357" y="55334"/>
                      </a:cubicBezTo>
                      <a:cubicBezTo>
                        <a:pt x="1039465" y="42974"/>
                        <a:pt x="1029603" y="33784"/>
                        <a:pt x="1031568" y="21006"/>
                      </a:cubicBezTo>
                      <a:cubicBezTo>
                        <a:pt x="1032151" y="16962"/>
                        <a:pt x="1034623" y="6998"/>
                        <a:pt x="1036829" y="3867"/>
                      </a:cubicBezTo>
                      <a:cubicBezTo>
                        <a:pt x="1040581" y="18141"/>
                        <a:pt x="1055108" y="-9076"/>
                        <a:pt x="1062866" y="3347"/>
                      </a:cubicBezTo>
                      <a:lnTo>
                        <a:pt x="1062866" y="3347"/>
                      </a:lnTo>
                      <a:close/>
                    </a:path>
                  </a:pathLst>
                </a:custGeom>
                <a:solidFill>
                  <a:srgbClr val="D6D6D2"/>
                </a:solidFill>
                <a:ln w="12413" cap="rnd">
                  <a:solidFill>
                    <a:srgbClr val="FFFFFF"/>
                  </a:solidFill>
                  <a:prstDash val="solid"/>
                  <a:round/>
                </a:ln>
              </p:spPr>
              <p:txBody>
                <a:bodyPr rtlCol="0" anchor="ctr"/>
                <a:lstStyle/>
                <a:p>
                  <a:endParaRPr lang="en-US"/>
                </a:p>
              </p:txBody>
            </p:sp>
            <p:sp>
              <p:nvSpPr>
                <p:cNvPr id="95" name="Freeform: Shape 94">
                  <a:extLst>
                    <a:ext uri="{FF2B5EF4-FFF2-40B4-BE49-F238E27FC236}">
                      <a16:creationId xmlns:a16="http://schemas.microsoft.com/office/drawing/2014/main" id="{771468C2-6050-4D13-AD72-FB134BC362DE}"/>
                    </a:ext>
                  </a:extLst>
                </p:cNvPr>
                <p:cNvSpPr/>
                <p:nvPr/>
              </p:nvSpPr>
              <p:spPr>
                <a:xfrm>
                  <a:off x="8024" y="1941106"/>
                  <a:ext cx="596252" cy="1075915"/>
                </a:xfrm>
                <a:custGeom>
                  <a:avLst/>
                  <a:gdLst>
                    <a:gd name="connsiteX0" fmla="*/ 67743 w 596252"/>
                    <a:gd name="connsiteY0" fmla="*/ 931622 h 1075915"/>
                    <a:gd name="connsiteX1" fmla="*/ 38321 w 596252"/>
                    <a:gd name="connsiteY1" fmla="*/ 948837 h 1075915"/>
                    <a:gd name="connsiteX2" fmla="*/ 5578 w 596252"/>
                    <a:gd name="connsiteY2" fmla="*/ 959536 h 1075915"/>
                    <a:gd name="connsiteX3" fmla="*/ 1572 w 596252"/>
                    <a:gd name="connsiteY3" fmla="*/ 952551 h 1075915"/>
                    <a:gd name="connsiteX4" fmla="*/ 20992 w 596252"/>
                    <a:gd name="connsiteY4" fmla="*/ 946923 h 1075915"/>
                    <a:gd name="connsiteX5" fmla="*/ 35317 w 596252"/>
                    <a:gd name="connsiteY5" fmla="*/ 928935 h 1075915"/>
                    <a:gd name="connsiteX6" fmla="*/ 47512 w 596252"/>
                    <a:gd name="connsiteY6" fmla="*/ 931622 h 1075915"/>
                    <a:gd name="connsiteX7" fmla="*/ 59618 w 596252"/>
                    <a:gd name="connsiteY7" fmla="*/ 925854 h 1075915"/>
                    <a:gd name="connsiteX8" fmla="*/ 76313 w 596252"/>
                    <a:gd name="connsiteY8" fmla="*/ 927806 h 1075915"/>
                    <a:gd name="connsiteX9" fmla="*/ 67743 w 596252"/>
                    <a:gd name="connsiteY9" fmla="*/ 931622 h 1075915"/>
                    <a:gd name="connsiteX10" fmla="*/ 67743 w 596252"/>
                    <a:gd name="connsiteY10" fmla="*/ 931622 h 1075915"/>
                    <a:gd name="connsiteX11" fmla="*/ 0 w 596252"/>
                    <a:gd name="connsiteY11" fmla="*/ 23311 h 1075915"/>
                    <a:gd name="connsiteX12" fmla="*/ 35722 w 596252"/>
                    <a:gd name="connsiteY12" fmla="*/ 12904 h 1075915"/>
                    <a:gd name="connsiteX13" fmla="*/ 69658 w 596252"/>
                    <a:gd name="connsiteY13" fmla="*/ 16998 h 1075915"/>
                    <a:gd name="connsiteX14" fmla="*/ 77986 w 596252"/>
                    <a:gd name="connsiteY14" fmla="*/ 9925 h 1075915"/>
                    <a:gd name="connsiteX15" fmla="*/ 93274 w 596252"/>
                    <a:gd name="connsiteY15" fmla="*/ 1076 h 1075915"/>
                    <a:gd name="connsiteX16" fmla="*/ 108118 w 596252"/>
                    <a:gd name="connsiteY16" fmla="*/ 12 h 1075915"/>
                    <a:gd name="connsiteX17" fmla="*/ 127399 w 596252"/>
                    <a:gd name="connsiteY17" fmla="*/ 5729 h 1075915"/>
                    <a:gd name="connsiteX18" fmla="*/ 145679 w 596252"/>
                    <a:gd name="connsiteY18" fmla="*/ 2331 h 1075915"/>
                    <a:gd name="connsiteX19" fmla="*/ 165644 w 596252"/>
                    <a:gd name="connsiteY19" fmla="*/ 29624 h 1075915"/>
                    <a:gd name="connsiteX20" fmla="*/ 216223 w 596252"/>
                    <a:gd name="connsiteY20" fmla="*/ 44063 h 1075915"/>
                    <a:gd name="connsiteX21" fmla="*/ 226479 w 596252"/>
                    <a:gd name="connsiteY21" fmla="*/ 52568 h 1075915"/>
                    <a:gd name="connsiteX22" fmla="*/ 239713 w 596252"/>
                    <a:gd name="connsiteY22" fmla="*/ 51212 h 1075915"/>
                    <a:gd name="connsiteX23" fmla="*/ 246584 w 596252"/>
                    <a:gd name="connsiteY23" fmla="*/ 50489 h 1075915"/>
                    <a:gd name="connsiteX24" fmla="*/ 254152 w 596252"/>
                    <a:gd name="connsiteY24" fmla="*/ 53367 h 1075915"/>
                    <a:gd name="connsiteX25" fmla="*/ 262151 w 596252"/>
                    <a:gd name="connsiteY25" fmla="*/ 49032 h 1075915"/>
                    <a:gd name="connsiteX26" fmla="*/ 278313 w 596252"/>
                    <a:gd name="connsiteY26" fmla="*/ 54850 h 1075915"/>
                    <a:gd name="connsiteX27" fmla="*/ 293322 w 596252"/>
                    <a:gd name="connsiteY27" fmla="*/ 64231 h 1075915"/>
                    <a:gd name="connsiteX28" fmla="*/ 302145 w 596252"/>
                    <a:gd name="connsiteY28" fmla="*/ 65169 h 1075915"/>
                    <a:gd name="connsiteX29" fmla="*/ 302639 w 596252"/>
                    <a:gd name="connsiteY29" fmla="*/ 73738 h 1075915"/>
                    <a:gd name="connsiteX30" fmla="*/ 312666 w 596252"/>
                    <a:gd name="connsiteY30" fmla="*/ 91105 h 1075915"/>
                    <a:gd name="connsiteX31" fmla="*/ 319423 w 596252"/>
                    <a:gd name="connsiteY31" fmla="*/ 93057 h 1075915"/>
                    <a:gd name="connsiteX32" fmla="*/ 321540 w 596252"/>
                    <a:gd name="connsiteY32" fmla="*/ 97443 h 1075915"/>
                    <a:gd name="connsiteX33" fmla="*/ 324773 w 596252"/>
                    <a:gd name="connsiteY33" fmla="*/ 95263 h 1075915"/>
                    <a:gd name="connsiteX34" fmla="*/ 358860 w 596252"/>
                    <a:gd name="connsiteY34" fmla="*/ 116243 h 1075915"/>
                    <a:gd name="connsiteX35" fmla="*/ 389436 w 596252"/>
                    <a:gd name="connsiteY35" fmla="*/ 138350 h 1075915"/>
                    <a:gd name="connsiteX36" fmla="*/ 434729 w 596252"/>
                    <a:gd name="connsiteY36" fmla="*/ 138363 h 1075915"/>
                    <a:gd name="connsiteX37" fmla="*/ 435756 w 596252"/>
                    <a:gd name="connsiteY37" fmla="*/ 160116 h 1075915"/>
                    <a:gd name="connsiteX38" fmla="*/ 434298 w 596252"/>
                    <a:gd name="connsiteY38" fmla="*/ 194660 h 1075915"/>
                    <a:gd name="connsiteX39" fmla="*/ 442436 w 596252"/>
                    <a:gd name="connsiteY39" fmla="*/ 216501 h 1075915"/>
                    <a:gd name="connsiteX40" fmla="*/ 439026 w 596252"/>
                    <a:gd name="connsiteY40" fmla="*/ 243642 h 1075915"/>
                    <a:gd name="connsiteX41" fmla="*/ 437822 w 596252"/>
                    <a:gd name="connsiteY41" fmla="*/ 251083 h 1075915"/>
                    <a:gd name="connsiteX42" fmla="*/ 432523 w 596252"/>
                    <a:gd name="connsiteY42" fmla="*/ 253517 h 1075915"/>
                    <a:gd name="connsiteX43" fmla="*/ 434906 w 596252"/>
                    <a:gd name="connsiteY43" fmla="*/ 265090 h 1075915"/>
                    <a:gd name="connsiteX44" fmla="*/ 426869 w 596252"/>
                    <a:gd name="connsiteY44" fmla="*/ 293270 h 1075915"/>
                    <a:gd name="connsiteX45" fmla="*/ 402530 w 596252"/>
                    <a:gd name="connsiteY45" fmla="*/ 315974 h 1075915"/>
                    <a:gd name="connsiteX46" fmla="*/ 416627 w 596252"/>
                    <a:gd name="connsiteY46" fmla="*/ 332352 h 1075915"/>
                    <a:gd name="connsiteX47" fmla="*/ 398385 w 596252"/>
                    <a:gd name="connsiteY47" fmla="*/ 333379 h 1075915"/>
                    <a:gd name="connsiteX48" fmla="*/ 389283 w 596252"/>
                    <a:gd name="connsiteY48" fmla="*/ 343355 h 1075915"/>
                    <a:gd name="connsiteX49" fmla="*/ 388485 w 596252"/>
                    <a:gd name="connsiteY49" fmla="*/ 363676 h 1075915"/>
                    <a:gd name="connsiteX50" fmla="*/ 406371 w 596252"/>
                    <a:gd name="connsiteY50" fmla="*/ 395430 h 1075915"/>
                    <a:gd name="connsiteX51" fmla="*/ 418832 w 596252"/>
                    <a:gd name="connsiteY51" fmla="*/ 398866 h 1075915"/>
                    <a:gd name="connsiteX52" fmla="*/ 412241 w 596252"/>
                    <a:gd name="connsiteY52" fmla="*/ 406497 h 1075915"/>
                    <a:gd name="connsiteX53" fmla="*/ 393479 w 596252"/>
                    <a:gd name="connsiteY53" fmla="*/ 441586 h 1075915"/>
                    <a:gd name="connsiteX54" fmla="*/ 409693 w 596252"/>
                    <a:gd name="connsiteY54" fmla="*/ 493889 h 1075915"/>
                    <a:gd name="connsiteX55" fmla="*/ 409262 w 596252"/>
                    <a:gd name="connsiteY55" fmla="*/ 525479 h 1075915"/>
                    <a:gd name="connsiteX56" fmla="*/ 412773 w 596252"/>
                    <a:gd name="connsiteY56" fmla="*/ 564535 h 1075915"/>
                    <a:gd name="connsiteX57" fmla="*/ 461020 w 596252"/>
                    <a:gd name="connsiteY57" fmla="*/ 571558 h 1075915"/>
                    <a:gd name="connsiteX58" fmla="*/ 481340 w 596252"/>
                    <a:gd name="connsiteY58" fmla="*/ 587987 h 1075915"/>
                    <a:gd name="connsiteX59" fmla="*/ 484345 w 596252"/>
                    <a:gd name="connsiteY59" fmla="*/ 611020 h 1075915"/>
                    <a:gd name="connsiteX60" fmla="*/ 459740 w 596252"/>
                    <a:gd name="connsiteY60" fmla="*/ 644131 h 1075915"/>
                    <a:gd name="connsiteX61" fmla="*/ 424004 w 596252"/>
                    <a:gd name="connsiteY61" fmla="*/ 684392 h 1075915"/>
                    <a:gd name="connsiteX62" fmla="*/ 417666 w 596252"/>
                    <a:gd name="connsiteY62" fmla="*/ 701264 h 1075915"/>
                    <a:gd name="connsiteX63" fmla="*/ 435020 w 596252"/>
                    <a:gd name="connsiteY63" fmla="*/ 720925 h 1075915"/>
                    <a:gd name="connsiteX64" fmla="*/ 449028 w 596252"/>
                    <a:gd name="connsiteY64" fmla="*/ 734794 h 1075915"/>
                    <a:gd name="connsiteX65" fmla="*/ 449687 w 596252"/>
                    <a:gd name="connsiteY65" fmla="*/ 743997 h 1075915"/>
                    <a:gd name="connsiteX66" fmla="*/ 460424 w 596252"/>
                    <a:gd name="connsiteY66" fmla="*/ 760502 h 1075915"/>
                    <a:gd name="connsiteX67" fmla="*/ 472479 w 596252"/>
                    <a:gd name="connsiteY67" fmla="*/ 784029 h 1075915"/>
                    <a:gd name="connsiteX68" fmla="*/ 509558 w 596252"/>
                    <a:gd name="connsiteY68" fmla="*/ 807063 h 1075915"/>
                    <a:gd name="connsiteX69" fmla="*/ 529042 w 596252"/>
                    <a:gd name="connsiteY69" fmla="*/ 814592 h 1075915"/>
                    <a:gd name="connsiteX70" fmla="*/ 540083 w 596252"/>
                    <a:gd name="connsiteY70" fmla="*/ 825989 h 1075915"/>
                    <a:gd name="connsiteX71" fmla="*/ 554509 w 596252"/>
                    <a:gd name="connsiteY71" fmla="*/ 834140 h 1075915"/>
                    <a:gd name="connsiteX72" fmla="*/ 556804 w 596252"/>
                    <a:gd name="connsiteY72" fmla="*/ 863181 h 1075915"/>
                    <a:gd name="connsiteX73" fmla="*/ 553558 w 596252"/>
                    <a:gd name="connsiteY73" fmla="*/ 903151 h 1075915"/>
                    <a:gd name="connsiteX74" fmla="*/ 596253 w 596252"/>
                    <a:gd name="connsiteY74" fmla="*/ 914978 h 1075915"/>
                    <a:gd name="connsiteX75" fmla="*/ 591588 w 596252"/>
                    <a:gd name="connsiteY75" fmla="*/ 931711 h 1075915"/>
                    <a:gd name="connsiteX76" fmla="*/ 585998 w 596252"/>
                    <a:gd name="connsiteY76" fmla="*/ 939520 h 1075915"/>
                    <a:gd name="connsiteX77" fmla="*/ 581764 w 596252"/>
                    <a:gd name="connsiteY77" fmla="*/ 953514 h 1075915"/>
                    <a:gd name="connsiteX78" fmla="*/ 554002 w 596252"/>
                    <a:gd name="connsiteY78" fmla="*/ 952462 h 1075915"/>
                    <a:gd name="connsiteX79" fmla="*/ 542074 w 596252"/>
                    <a:gd name="connsiteY79" fmla="*/ 957457 h 1075915"/>
                    <a:gd name="connsiteX80" fmla="*/ 521411 w 596252"/>
                    <a:gd name="connsiteY80" fmla="*/ 962667 h 1075915"/>
                    <a:gd name="connsiteX81" fmla="*/ 517456 w 596252"/>
                    <a:gd name="connsiteY81" fmla="*/ 975115 h 1075915"/>
                    <a:gd name="connsiteX82" fmla="*/ 507200 w 596252"/>
                    <a:gd name="connsiteY82" fmla="*/ 974646 h 1075915"/>
                    <a:gd name="connsiteX83" fmla="*/ 499747 w 596252"/>
                    <a:gd name="connsiteY83" fmla="*/ 979945 h 1075915"/>
                    <a:gd name="connsiteX84" fmla="*/ 482659 w 596252"/>
                    <a:gd name="connsiteY84" fmla="*/ 1003840 h 1075915"/>
                    <a:gd name="connsiteX85" fmla="*/ 478108 w 596252"/>
                    <a:gd name="connsiteY85" fmla="*/ 1018900 h 1075915"/>
                    <a:gd name="connsiteX86" fmla="*/ 473633 w 596252"/>
                    <a:gd name="connsiteY86" fmla="*/ 1021270 h 1075915"/>
                    <a:gd name="connsiteX87" fmla="*/ 474698 w 596252"/>
                    <a:gd name="connsiteY87" fmla="*/ 1027964 h 1075915"/>
                    <a:gd name="connsiteX88" fmla="*/ 468245 w 596252"/>
                    <a:gd name="connsiteY88" fmla="*/ 1065778 h 1075915"/>
                    <a:gd name="connsiteX89" fmla="*/ 465761 w 596252"/>
                    <a:gd name="connsiteY89" fmla="*/ 1061696 h 1075915"/>
                    <a:gd name="connsiteX90" fmla="*/ 466065 w 596252"/>
                    <a:gd name="connsiteY90" fmla="*/ 1065905 h 1075915"/>
                    <a:gd name="connsiteX91" fmla="*/ 460437 w 596252"/>
                    <a:gd name="connsiteY91" fmla="*/ 1066437 h 1075915"/>
                    <a:gd name="connsiteX92" fmla="*/ 460969 w 596252"/>
                    <a:gd name="connsiteY92" fmla="*/ 1072306 h 1075915"/>
                    <a:gd name="connsiteX93" fmla="*/ 443425 w 596252"/>
                    <a:gd name="connsiteY93" fmla="*/ 1073041 h 1075915"/>
                    <a:gd name="connsiteX94" fmla="*/ 396471 w 596252"/>
                    <a:gd name="connsiteY94" fmla="*/ 1059414 h 1075915"/>
                    <a:gd name="connsiteX95" fmla="*/ 385392 w 596252"/>
                    <a:gd name="connsiteY95" fmla="*/ 1058856 h 1075915"/>
                    <a:gd name="connsiteX96" fmla="*/ 373311 w 596252"/>
                    <a:gd name="connsiteY96" fmla="*/ 1052518 h 1075915"/>
                    <a:gd name="connsiteX97" fmla="*/ 366326 w 596252"/>
                    <a:gd name="connsiteY97" fmla="*/ 1056549 h 1075915"/>
                    <a:gd name="connsiteX98" fmla="*/ 355577 w 596252"/>
                    <a:gd name="connsiteY98" fmla="*/ 1053013 h 1075915"/>
                    <a:gd name="connsiteX99" fmla="*/ 345778 w 596252"/>
                    <a:gd name="connsiteY99" fmla="*/ 1054280 h 1075915"/>
                    <a:gd name="connsiteX100" fmla="*/ 337538 w 596252"/>
                    <a:gd name="connsiteY100" fmla="*/ 1051884 h 1075915"/>
                    <a:gd name="connsiteX101" fmla="*/ 292397 w 596252"/>
                    <a:gd name="connsiteY101" fmla="*/ 1048297 h 1075915"/>
                    <a:gd name="connsiteX102" fmla="*/ 269833 w 596252"/>
                    <a:gd name="connsiteY102" fmla="*/ 1040742 h 1075915"/>
                    <a:gd name="connsiteX103" fmla="*/ 233958 w 596252"/>
                    <a:gd name="connsiteY103" fmla="*/ 1033617 h 1075915"/>
                    <a:gd name="connsiteX104" fmla="*/ 213168 w 596252"/>
                    <a:gd name="connsiteY104" fmla="*/ 1038511 h 1075915"/>
                    <a:gd name="connsiteX105" fmla="*/ 201430 w 596252"/>
                    <a:gd name="connsiteY105" fmla="*/ 1028572 h 1075915"/>
                    <a:gd name="connsiteX106" fmla="*/ 186117 w 596252"/>
                    <a:gd name="connsiteY106" fmla="*/ 1031754 h 1075915"/>
                    <a:gd name="connsiteX107" fmla="*/ 164998 w 596252"/>
                    <a:gd name="connsiteY107" fmla="*/ 1022525 h 1075915"/>
                    <a:gd name="connsiteX108" fmla="*/ 148860 w 596252"/>
                    <a:gd name="connsiteY108" fmla="*/ 1009431 h 1075915"/>
                    <a:gd name="connsiteX109" fmla="*/ 142649 w 596252"/>
                    <a:gd name="connsiteY109" fmla="*/ 1000139 h 1075915"/>
                    <a:gd name="connsiteX110" fmla="*/ 142522 w 596252"/>
                    <a:gd name="connsiteY110" fmla="*/ 986182 h 1075915"/>
                    <a:gd name="connsiteX111" fmla="*/ 135588 w 596252"/>
                    <a:gd name="connsiteY111" fmla="*/ 971693 h 1075915"/>
                    <a:gd name="connsiteX112" fmla="*/ 123545 w 596252"/>
                    <a:gd name="connsiteY112" fmla="*/ 927794 h 1075915"/>
                    <a:gd name="connsiteX113" fmla="*/ 127069 w 596252"/>
                    <a:gd name="connsiteY113" fmla="*/ 924016 h 1075915"/>
                    <a:gd name="connsiteX114" fmla="*/ 117499 w 596252"/>
                    <a:gd name="connsiteY114" fmla="*/ 921646 h 1075915"/>
                    <a:gd name="connsiteX115" fmla="*/ 120528 w 596252"/>
                    <a:gd name="connsiteY115" fmla="*/ 918071 h 1075915"/>
                    <a:gd name="connsiteX116" fmla="*/ 114925 w 596252"/>
                    <a:gd name="connsiteY116" fmla="*/ 913203 h 1075915"/>
                    <a:gd name="connsiteX117" fmla="*/ 63383 w 596252"/>
                    <a:gd name="connsiteY117" fmla="*/ 912214 h 1075915"/>
                    <a:gd name="connsiteX118" fmla="*/ 46561 w 596252"/>
                    <a:gd name="connsiteY118" fmla="*/ 922761 h 1075915"/>
                    <a:gd name="connsiteX119" fmla="*/ 22197 w 596252"/>
                    <a:gd name="connsiteY119" fmla="*/ 932155 h 1075915"/>
                    <a:gd name="connsiteX120" fmla="*/ 24263 w 596252"/>
                    <a:gd name="connsiteY120" fmla="*/ 931077 h 1075915"/>
                    <a:gd name="connsiteX121" fmla="*/ 76 w 596252"/>
                    <a:gd name="connsiteY121" fmla="*/ 941168 h 1075915"/>
                    <a:gd name="connsiteX122" fmla="*/ 76 w 596252"/>
                    <a:gd name="connsiteY122" fmla="*/ 632190 h 1075915"/>
                    <a:gd name="connsiteX123" fmla="*/ 76 w 596252"/>
                    <a:gd name="connsiteY123" fmla="*/ 136753 h 1075915"/>
                    <a:gd name="connsiteX124" fmla="*/ 0 w 596252"/>
                    <a:gd name="connsiteY124" fmla="*/ 23311 h 1075915"/>
                    <a:gd name="connsiteX125" fmla="*/ 0 w 596252"/>
                    <a:gd name="connsiteY125" fmla="*/ 23311 h 107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596252" h="1075915">
                      <a:moveTo>
                        <a:pt x="67743" y="931622"/>
                      </a:moveTo>
                      <a:cubicBezTo>
                        <a:pt x="60974" y="946327"/>
                        <a:pt x="49743" y="946187"/>
                        <a:pt x="38321" y="948837"/>
                      </a:cubicBezTo>
                      <a:cubicBezTo>
                        <a:pt x="31045" y="950510"/>
                        <a:pt x="11853" y="961463"/>
                        <a:pt x="5578" y="959536"/>
                      </a:cubicBezTo>
                      <a:cubicBezTo>
                        <a:pt x="3638" y="958927"/>
                        <a:pt x="-1128" y="957051"/>
                        <a:pt x="1572" y="952551"/>
                      </a:cubicBezTo>
                      <a:cubicBezTo>
                        <a:pt x="1927" y="951968"/>
                        <a:pt x="18140" y="948076"/>
                        <a:pt x="20992" y="946923"/>
                      </a:cubicBezTo>
                      <a:cubicBezTo>
                        <a:pt x="27394" y="944286"/>
                        <a:pt x="49515" y="938594"/>
                        <a:pt x="35317" y="928935"/>
                      </a:cubicBezTo>
                      <a:cubicBezTo>
                        <a:pt x="39830" y="927566"/>
                        <a:pt x="43138" y="932091"/>
                        <a:pt x="47512" y="931622"/>
                      </a:cubicBezTo>
                      <a:cubicBezTo>
                        <a:pt x="52075" y="931140"/>
                        <a:pt x="55384" y="927274"/>
                        <a:pt x="59618" y="925854"/>
                      </a:cubicBezTo>
                      <a:cubicBezTo>
                        <a:pt x="65233" y="923966"/>
                        <a:pt x="72801" y="922191"/>
                        <a:pt x="76313" y="927806"/>
                      </a:cubicBezTo>
                      <a:cubicBezTo>
                        <a:pt x="73486" y="928808"/>
                        <a:pt x="70418" y="930912"/>
                        <a:pt x="67743" y="931622"/>
                      </a:cubicBezTo>
                      <a:lnTo>
                        <a:pt x="67743" y="931622"/>
                      </a:lnTo>
                      <a:close/>
                      <a:moveTo>
                        <a:pt x="0" y="23311"/>
                      </a:moveTo>
                      <a:cubicBezTo>
                        <a:pt x="12638" y="19952"/>
                        <a:pt x="21005" y="12473"/>
                        <a:pt x="35722" y="12904"/>
                      </a:cubicBezTo>
                      <a:cubicBezTo>
                        <a:pt x="47220" y="13246"/>
                        <a:pt x="57704" y="18862"/>
                        <a:pt x="69658" y="16998"/>
                      </a:cubicBezTo>
                      <a:cubicBezTo>
                        <a:pt x="80496" y="15299"/>
                        <a:pt x="74855" y="13778"/>
                        <a:pt x="77986" y="9925"/>
                      </a:cubicBezTo>
                      <a:cubicBezTo>
                        <a:pt x="82702" y="4119"/>
                        <a:pt x="83690" y="2243"/>
                        <a:pt x="93274" y="1076"/>
                      </a:cubicBezTo>
                      <a:cubicBezTo>
                        <a:pt x="96646" y="658"/>
                        <a:pt x="104518" y="-103"/>
                        <a:pt x="108118" y="12"/>
                      </a:cubicBezTo>
                      <a:cubicBezTo>
                        <a:pt x="114038" y="227"/>
                        <a:pt x="120199" y="5893"/>
                        <a:pt x="127399" y="5729"/>
                      </a:cubicBezTo>
                      <a:cubicBezTo>
                        <a:pt x="136285" y="5526"/>
                        <a:pt x="138859" y="-1789"/>
                        <a:pt x="145679" y="2331"/>
                      </a:cubicBezTo>
                      <a:cubicBezTo>
                        <a:pt x="159889" y="10888"/>
                        <a:pt x="146642" y="25872"/>
                        <a:pt x="165644" y="29624"/>
                      </a:cubicBezTo>
                      <a:cubicBezTo>
                        <a:pt x="182948" y="33047"/>
                        <a:pt x="201912" y="33845"/>
                        <a:pt x="216223" y="44063"/>
                      </a:cubicBezTo>
                      <a:cubicBezTo>
                        <a:pt x="222448" y="48499"/>
                        <a:pt x="215983" y="49349"/>
                        <a:pt x="226479" y="52568"/>
                      </a:cubicBezTo>
                      <a:cubicBezTo>
                        <a:pt x="232804" y="54521"/>
                        <a:pt x="235023" y="51719"/>
                        <a:pt x="239713" y="51212"/>
                      </a:cubicBezTo>
                      <a:cubicBezTo>
                        <a:pt x="241348" y="51022"/>
                        <a:pt x="244632" y="50629"/>
                        <a:pt x="246584" y="50489"/>
                      </a:cubicBezTo>
                      <a:cubicBezTo>
                        <a:pt x="247547" y="50426"/>
                        <a:pt x="252199" y="53126"/>
                        <a:pt x="254152" y="53367"/>
                      </a:cubicBezTo>
                      <a:cubicBezTo>
                        <a:pt x="257359" y="53722"/>
                        <a:pt x="260655" y="51212"/>
                        <a:pt x="262151" y="49032"/>
                      </a:cubicBezTo>
                      <a:cubicBezTo>
                        <a:pt x="267221" y="51909"/>
                        <a:pt x="273154" y="52391"/>
                        <a:pt x="278313" y="54850"/>
                      </a:cubicBezTo>
                      <a:cubicBezTo>
                        <a:pt x="283447" y="57271"/>
                        <a:pt x="287922" y="62038"/>
                        <a:pt x="293322" y="64231"/>
                      </a:cubicBezTo>
                      <a:cubicBezTo>
                        <a:pt x="297214" y="65815"/>
                        <a:pt x="298317" y="60960"/>
                        <a:pt x="302145" y="65169"/>
                      </a:cubicBezTo>
                      <a:cubicBezTo>
                        <a:pt x="304794" y="68072"/>
                        <a:pt x="301765" y="71076"/>
                        <a:pt x="302639" y="73738"/>
                      </a:cubicBezTo>
                      <a:cubicBezTo>
                        <a:pt x="304668" y="79836"/>
                        <a:pt x="309180" y="87809"/>
                        <a:pt x="312666" y="91105"/>
                      </a:cubicBezTo>
                      <a:cubicBezTo>
                        <a:pt x="313896" y="92284"/>
                        <a:pt x="317915" y="92411"/>
                        <a:pt x="319423" y="93057"/>
                      </a:cubicBezTo>
                      <a:cubicBezTo>
                        <a:pt x="320792" y="93628"/>
                        <a:pt x="319410" y="96797"/>
                        <a:pt x="321540" y="97443"/>
                      </a:cubicBezTo>
                      <a:cubicBezTo>
                        <a:pt x="323087" y="97912"/>
                        <a:pt x="323201" y="94629"/>
                        <a:pt x="324773" y="95263"/>
                      </a:cubicBezTo>
                      <a:cubicBezTo>
                        <a:pt x="339896" y="101348"/>
                        <a:pt x="349365" y="103363"/>
                        <a:pt x="358860" y="116243"/>
                      </a:cubicBezTo>
                      <a:cubicBezTo>
                        <a:pt x="369305" y="130428"/>
                        <a:pt x="371371" y="138655"/>
                        <a:pt x="389436" y="138350"/>
                      </a:cubicBezTo>
                      <a:cubicBezTo>
                        <a:pt x="399374" y="138186"/>
                        <a:pt x="426527" y="132748"/>
                        <a:pt x="434729" y="138363"/>
                      </a:cubicBezTo>
                      <a:cubicBezTo>
                        <a:pt x="442094" y="143383"/>
                        <a:pt x="435185" y="152092"/>
                        <a:pt x="435756" y="160116"/>
                      </a:cubicBezTo>
                      <a:cubicBezTo>
                        <a:pt x="436681" y="173376"/>
                        <a:pt x="444452" y="182338"/>
                        <a:pt x="434298" y="194660"/>
                      </a:cubicBezTo>
                      <a:cubicBezTo>
                        <a:pt x="446759" y="196523"/>
                        <a:pt x="441650" y="209060"/>
                        <a:pt x="442436" y="216501"/>
                      </a:cubicBezTo>
                      <a:cubicBezTo>
                        <a:pt x="443742" y="228798"/>
                        <a:pt x="445681" y="231257"/>
                        <a:pt x="439026" y="243642"/>
                      </a:cubicBezTo>
                      <a:cubicBezTo>
                        <a:pt x="437911" y="245733"/>
                        <a:pt x="438760" y="248991"/>
                        <a:pt x="437822" y="251083"/>
                      </a:cubicBezTo>
                      <a:cubicBezTo>
                        <a:pt x="436934" y="253060"/>
                        <a:pt x="433284" y="250474"/>
                        <a:pt x="432523" y="253517"/>
                      </a:cubicBezTo>
                      <a:cubicBezTo>
                        <a:pt x="431154" y="258955"/>
                        <a:pt x="434830" y="260349"/>
                        <a:pt x="434906" y="265090"/>
                      </a:cubicBezTo>
                      <a:cubicBezTo>
                        <a:pt x="434995" y="272874"/>
                        <a:pt x="429633" y="286641"/>
                        <a:pt x="426869" y="293270"/>
                      </a:cubicBezTo>
                      <a:cubicBezTo>
                        <a:pt x="421317" y="306581"/>
                        <a:pt x="413217" y="307405"/>
                        <a:pt x="402530" y="315974"/>
                      </a:cubicBezTo>
                      <a:cubicBezTo>
                        <a:pt x="407740" y="320081"/>
                        <a:pt x="412393" y="326343"/>
                        <a:pt x="416627" y="332352"/>
                      </a:cubicBezTo>
                      <a:cubicBezTo>
                        <a:pt x="410555" y="332694"/>
                        <a:pt x="404445" y="333062"/>
                        <a:pt x="398385" y="333379"/>
                      </a:cubicBezTo>
                      <a:cubicBezTo>
                        <a:pt x="396953" y="337486"/>
                        <a:pt x="392047" y="338754"/>
                        <a:pt x="389283" y="343355"/>
                      </a:cubicBezTo>
                      <a:cubicBezTo>
                        <a:pt x="385328" y="349947"/>
                        <a:pt x="387610" y="356501"/>
                        <a:pt x="388485" y="363676"/>
                      </a:cubicBezTo>
                      <a:cubicBezTo>
                        <a:pt x="390754" y="382247"/>
                        <a:pt x="382590" y="391513"/>
                        <a:pt x="406371" y="395430"/>
                      </a:cubicBezTo>
                      <a:cubicBezTo>
                        <a:pt x="410073" y="396052"/>
                        <a:pt x="417058" y="393884"/>
                        <a:pt x="418832" y="398866"/>
                      </a:cubicBezTo>
                      <a:cubicBezTo>
                        <a:pt x="417400" y="394822"/>
                        <a:pt x="411493" y="407270"/>
                        <a:pt x="412241" y="406497"/>
                      </a:cubicBezTo>
                      <a:cubicBezTo>
                        <a:pt x="402074" y="416892"/>
                        <a:pt x="390158" y="425727"/>
                        <a:pt x="393479" y="441586"/>
                      </a:cubicBezTo>
                      <a:cubicBezTo>
                        <a:pt x="397181" y="459333"/>
                        <a:pt x="405332" y="476256"/>
                        <a:pt x="409693" y="493889"/>
                      </a:cubicBezTo>
                      <a:cubicBezTo>
                        <a:pt x="412621" y="505779"/>
                        <a:pt x="410111" y="515655"/>
                        <a:pt x="409262" y="525479"/>
                      </a:cubicBezTo>
                      <a:cubicBezTo>
                        <a:pt x="408615" y="533186"/>
                        <a:pt x="406701" y="559465"/>
                        <a:pt x="412773" y="564535"/>
                      </a:cubicBezTo>
                      <a:cubicBezTo>
                        <a:pt x="420569" y="571089"/>
                        <a:pt x="450866" y="570151"/>
                        <a:pt x="461020" y="571558"/>
                      </a:cubicBezTo>
                      <a:cubicBezTo>
                        <a:pt x="476675" y="573713"/>
                        <a:pt x="477182" y="574740"/>
                        <a:pt x="481340" y="587987"/>
                      </a:cubicBezTo>
                      <a:cubicBezTo>
                        <a:pt x="483939" y="596379"/>
                        <a:pt x="486588" y="602438"/>
                        <a:pt x="484345" y="611020"/>
                      </a:cubicBezTo>
                      <a:cubicBezTo>
                        <a:pt x="481176" y="623342"/>
                        <a:pt x="468930" y="633711"/>
                        <a:pt x="459740" y="644131"/>
                      </a:cubicBezTo>
                      <a:cubicBezTo>
                        <a:pt x="447887" y="657568"/>
                        <a:pt x="435933" y="670993"/>
                        <a:pt x="424004" y="684392"/>
                      </a:cubicBezTo>
                      <a:cubicBezTo>
                        <a:pt x="416842" y="692441"/>
                        <a:pt x="413445" y="692480"/>
                        <a:pt x="417666" y="701264"/>
                      </a:cubicBezTo>
                      <a:cubicBezTo>
                        <a:pt x="420937" y="708084"/>
                        <a:pt x="429975" y="715246"/>
                        <a:pt x="435020" y="720925"/>
                      </a:cubicBezTo>
                      <a:cubicBezTo>
                        <a:pt x="438608" y="724982"/>
                        <a:pt x="446531" y="730598"/>
                        <a:pt x="449028" y="734794"/>
                      </a:cubicBezTo>
                      <a:cubicBezTo>
                        <a:pt x="451005" y="738102"/>
                        <a:pt x="448343" y="740675"/>
                        <a:pt x="449687" y="743997"/>
                      </a:cubicBezTo>
                      <a:cubicBezTo>
                        <a:pt x="452172" y="750044"/>
                        <a:pt x="457737" y="756154"/>
                        <a:pt x="460424" y="760502"/>
                      </a:cubicBezTo>
                      <a:cubicBezTo>
                        <a:pt x="463530" y="765483"/>
                        <a:pt x="467130" y="777615"/>
                        <a:pt x="472479" y="784029"/>
                      </a:cubicBezTo>
                      <a:cubicBezTo>
                        <a:pt x="483483" y="797352"/>
                        <a:pt x="493713" y="802778"/>
                        <a:pt x="509558" y="807063"/>
                      </a:cubicBezTo>
                      <a:cubicBezTo>
                        <a:pt x="516353" y="808901"/>
                        <a:pt x="523540" y="810992"/>
                        <a:pt x="529042" y="814592"/>
                      </a:cubicBezTo>
                      <a:cubicBezTo>
                        <a:pt x="533162" y="817280"/>
                        <a:pt x="535482" y="824062"/>
                        <a:pt x="540083" y="825989"/>
                      </a:cubicBezTo>
                      <a:cubicBezTo>
                        <a:pt x="552519" y="831237"/>
                        <a:pt x="553761" y="817470"/>
                        <a:pt x="554509" y="834140"/>
                      </a:cubicBezTo>
                      <a:cubicBezTo>
                        <a:pt x="554991" y="844319"/>
                        <a:pt x="555346" y="852850"/>
                        <a:pt x="556804" y="863181"/>
                      </a:cubicBezTo>
                      <a:cubicBezTo>
                        <a:pt x="558756" y="876897"/>
                        <a:pt x="559529" y="893732"/>
                        <a:pt x="553558" y="903151"/>
                      </a:cubicBezTo>
                      <a:cubicBezTo>
                        <a:pt x="565512" y="912531"/>
                        <a:pt x="591715" y="894518"/>
                        <a:pt x="596253" y="914978"/>
                      </a:cubicBezTo>
                      <a:cubicBezTo>
                        <a:pt x="585199" y="913533"/>
                        <a:pt x="592526" y="926843"/>
                        <a:pt x="591588" y="931711"/>
                      </a:cubicBezTo>
                      <a:cubicBezTo>
                        <a:pt x="590713" y="936262"/>
                        <a:pt x="587544" y="934766"/>
                        <a:pt x="585998" y="939520"/>
                      </a:cubicBezTo>
                      <a:cubicBezTo>
                        <a:pt x="583881" y="945947"/>
                        <a:pt x="587354" y="950561"/>
                        <a:pt x="581764" y="953514"/>
                      </a:cubicBezTo>
                      <a:cubicBezTo>
                        <a:pt x="575895" y="956595"/>
                        <a:pt x="561012" y="951093"/>
                        <a:pt x="554002" y="952462"/>
                      </a:cubicBezTo>
                      <a:cubicBezTo>
                        <a:pt x="550630" y="953134"/>
                        <a:pt x="546270" y="956671"/>
                        <a:pt x="542074" y="957457"/>
                      </a:cubicBezTo>
                      <a:cubicBezTo>
                        <a:pt x="536331" y="958509"/>
                        <a:pt x="526012" y="958205"/>
                        <a:pt x="521411" y="962667"/>
                      </a:cubicBezTo>
                      <a:cubicBezTo>
                        <a:pt x="519028" y="964961"/>
                        <a:pt x="518863" y="974063"/>
                        <a:pt x="517456" y="975115"/>
                      </a:cubicBezTo>
                      <a:cubicBezTo>
                        <a:pt x="515415" y="976636"/>
                        <a:pt x="509470" y="973974"/>
                        <a:pt x="507200" y="974646"/>
                      </a:cubicBezTo>
                      <a:cubicBezTo>
                        <a:pt x="506681" y="974798"/>
                        <a:pt x="501686" y="978867"/>
                        <a:pt x="499747" y="979945"/>
                      </a:cubicBezTo>
                      <a:cubicBezTo>
                        <a:pt x="485080" y="987957"/>
                        <a:pt x="485143" y="986309"/>
                        <a:pt x="482659" y="1003840"/>
                      </a:cubicBezTo>
                      <a:cubicBezTo>
                        <a:pt x="481835" y="1009760"/>
                        <a:pt x="479730" y="1014729"/>
                        <a:pt x="478108" y="1018900"/>
                      </a:cubicBezTo>
                      <a:cubicBezTo>
                        <a:pt x="478095" y="1018951"/>
                        <a:pt x="474330" y="1019787"/>
                        <a:pt x="473633" y="1021270"/>
                      </a:cubicBezTo>
                      <a:cubicBezTo>
                        <a:pt x="472720" y="1023185"/>
                        <a:pt x="475281" y="1026037"/>
                        <a:pt x="474698" y="1027964"/>
                      </a:cubicBezTo>
                      <a:cubicBezTo>
                        <a:pt x="471250" y="1039449"/>
                        <a:pt x="473722" y="1054534"/>
                        <a:pt x="468245" y="1065778"/>
                      </a:cubicBezTo>
                      <a:cubicBezTo>
                        <a:pt x="467409" y="1064383"/>
                        <a:pt x="466483" y="1063052"/>
                        <a:pt x="465761" y="1061696"/>
                      </a:cubicBezTo>
                      <a:cubicBezTo>
                        <a:pt x="465926" y="1063509"/>
                        <a:pt x="465469" y="1063750"/>
                        <a:pt x="466065" y="1065905"/>
                      </a:cubicBezTo>
                      <a:cubicBezTo>
                        <a:pt x="463606" y="1065283"/>
                        <a:pt x="462224" y="1066500"/>
                        <a:pt x="460437" y="1066437"/>
                      </a:cubicBezTo>
                      <a:cubicBezTo>
                        <a:pt x="463200" y="1068389"/>
                        <a:pt x="463847" y="1069213"/>
                        <a:pt x="460969" y="1072306"/>
                      </a:cubicBezTo>
                      <a:cubicBezTo>
                        <a:pt x="456291" y="1077326"/>
                        <a:pt x="451639" y="1076667"/>
                        <a:pt x="443425" y="1073041"/>
                      </a:cubicBezTo>
                      <a:cubicBezTo>
                        <a:pt x="429633" y="1066969"/>
                        <a:pt x="413305" y="1062888"/>
                        <a:pt x="396471" y="1059414"/>
                      </a:cubicBezTo>
                      <a:cubicBezTo>
                        <a:pt x="396927" y="1042466"/>
                        <a:pt x="374781" y="1046611"/>
                        <a:pt x="385392" y="1058856"/>
                      </a:cubicBezTo>
                      <a:cubicBezTo>
                        <a:pt x="380156" y="1056144"/>
                        <a:pt x="374350" y="1056739"/>
                        <a:pt x="373311" y="1052518"/>
                      </a:cubicBezTo>
                      <a:cubicBezTo>
                        <a:pt x="368025" y="1051276"/>
                        <a:pt x="363994" y="1051758"/>
                        <a:pt x="366326" y="1056549"/>
                      </a:cubicBezTo>
                      <a:cubicBezTo>
                        <a:pt x="362802" y="1055839"/>
                        <a:pt x="358784" y="1053152"/>
                        <a:pt x="355577" y="1053013"/>
                      </a:cubicBezTo>
                      <a:cubicBezTo>
                        <a:pt x="352407" y="1052860"/>
                        <a:pt x="348706" y="1054458"/>
                        <a:pt x="345778" y="1054280"/>
                      </a:cubicBezTo>
                      <a:cubicBezTo>
                        <a:pt x="343141" y="1054115"/>
                        <a:pt x="340048" y="1052138"/>
                        <a:pt x="337538" y="1051884"/>
                      </a:cubicBezTo>
                      <a:cubicBezTo>
                        <a:pt x="320539" y="1050249"/>
                        <a:pt x="309497" y="1045356"/>
                        <a:pt x="292397" y="1048297"/>
                      </a:cubicBezTo>
                      <a:cubicBezTo>
                        <a:pt x="278478" y="1050693"/>
                        <a:pt x="281622" y="1048728"/>
                        <a:pt x="269833" y="1040742"/>
                      </a:cubicBezTo>
                      <a:cubicBezTo>
                        <a:pt x="262036" y="1035468"/>
                        <a:pt x="237419" y="1039322"/>
                        <a:pt x="233958" y="1033617"/>
                      </a:cubicBezTo>
                      <a:cubicBezTo>
                        <a:pt x="226872" y="1034834"/>
                        <a:pt x="220153" y="1039892"/>
                        <a:pt x="213168" y="1038511"/>
                      </a:cubicBezTo>
                      <a:cubicBezTo>
                        <a:pt x="205220" y="1036926"/>
                        <a:pt x="207287" y="1031348"/>
                        <a:pt x="201430" y="1028572"/>
                      </a:cubicBezTo>
                      <a:cubicBezTo>
                        <a:pt x="195371" y="1025720"/>
                        <a:pt x="191847" y="1028978"/>
                        <a:pt x="186117" y="1031754"/>
                      </a:cubicBezTo>
                      <a:cubicBezTo>
                        <a:pt x="191010" y="1019382"/>
                        <a:pt x="172058" y="1023400"/>
                        <a:pt x="164998" y="1022525"/>
                      </a:cubicBezTo>
                      <a:cubicBezTo>
                        <a:pt x="153462" y="1021106"/>
                        <a:pt x="153969" y="1020168"/>
                        <a:pt x="148860" y="1009431"/>
                      </a:cubicBezTo>
                      <a:cubicBezTo>
                        <a:pt x="147010" y="1005552"/>
                        <a:pt x="143359" y="1003891"/>
                        <a:pt x="142649" y="1000139"/>
                      </a:cubicBezTo>
                      <a:cubicBezTo>
                        <a:pt x="141559" y="994143"/>
                        <a:pt x="143308" y="991645"/>
                        <a:pt x="142522" y="986182"/>
                      </a:cubicBezTo>
                      <a:cubicBezTo>
                        <a:pt x="141990" y="982341"/>
                        <a:pt x="136197" y="976167"/>
                        <a:pt x="135588" y="971693"/>
                      </a:cubicBezTo>
                      <a:cubicBezTo>
                        <a:pt x="133256" y="955213"/>
                        <a:pt x="135829" y="940559"/>
                        <a:pt x="123545" y="927794"/>
                      </a:cubicBezTo>
                      <a:cubicBezTo>
                        <a:pt x="127386" y="925943"/>
                        <a:pt x="124750" y="926640"/>
                        <a:pt x="127069" y="924016"/>
                      </a:cubicBezTo>
                      <a:cubicBezTo>
                        <a:pt x="123089" y="924891"/>
                        <a:pt x="119578" y="923661"/>
                        <a:pt x="117499" y="921646"/>
                      </a:cubicBezTo>
                      <a:cubicBezTo>
                        <a:pt x="118411" y="921012"/>
                        <a:pt x="119717" y="918869"/>
                        <a:pt x="120528" y="918071"/>
                      </a:cubicBezTo>
                      <a:cubicBezTo>
                        <a:pt x="118437" y="916524"/>
                        <a:pt x="116789" y="914851"/>
                        <a:pt x="114925" y="913203"/>
                      </a:cubicBezTo>
                      <a:cubicBezTo>
                        <a:pt x="99080" y="915460"/>
                        <a:pt x="80585" y="903772"/>
                        <a:pt x="63383" y="912214"/>
                      </a:cubicBezTo>
                      <a:cubicBezTo>
                        <a:pt x="57780" y="914952"/>
                        <a:pt x="53102" y="920657"/>
                        <a:pt x="46561" y="922761"/>
                      </a:cubicBezTo>
                      <a:cubicBezTo>
                        <a:pt x="35989" y="926171"/>
                        <a:pt x="30614" y="922736"/>
                        <a:pt x="22197" y="932155"/>
                      </a:cubicBezTo>
                      <a:cubicBezTo>
                        <a:pt x="23312" y="932383"/>
                        <a:pt x="23540" y="931014"/>
                        <a:pt x="24263" y="931077"/>
                      </a:cubicBezTo>
                      <a:cubicBezTo>
                        <a:pt x="26595" y="947202"/>
                        <a:pt x="7974" y="940445"/>
                        <a:pt x="76" y="941168"/>
                      </a:cubicBezTo>
                      <a:cubicBezTo>
                        <a:pt x="76" y="839299"/>
                        <a:pt x="76" y="734870"/>
                        <a:pt x="76" y="632190"/>
                      </a:cubicBezTo>
                      <a:cubicBezTo>
                        <a:pt x="76" y="467053"/>
                        <a:pt x="76" y="301903"/>
                        <a:pt x="76" y="136753"/>
                      </a:cubicBezTo>
                      <a:cubicBezTo>
                        <a:pt x="0" y="99281"/>
                        <a:pt x="0" y="60048"/>
                        <a:pt x="0" y="23311"/>
                      </a:cubicBezTo>
                      <a:lnTo>
                        <a:pt x="0" y="23311"/>
                      </a:lnTo>
                      <a:close/>
                    </a:path>
                  </a:pathLst>
                </a:custGeom>
                <a:solidFill>
                  <a:srgbClr val="D6D6D2"/>
                </a:solidFill>
                <a:ln w="12413" cap="rnd">
                  <a:solidFill>
                    <a:srgbClr val="FFFFFF"/>
                  </a:solidFill>
                  <a:prstDash val="solid"/>
                  <a:round/>
                </a:ln>
              </p:spPr>
              <p:txBody>
                <a:bodyPr rtlCol="0" anchor="ctr"/>
                <a:lstStyle/>
                <a:p>
                  <a:endParaRPr lang="en-US"/>
                </a:p>
              </p:txBody>
            </p:sp>
            <p:sp>
              <p:nvSpPr>
                <p:cNvPr id="96" name="Freeform: Shape 95">
                  <a:extLst>
                    <a:ext uri="{FF2B5EF4-FFF2-40B4-BE49-F238E27FC236}">
                      <a16:creationId xmlns:a16="http://schemas.microsoft.com/office/drawing/2014/main" id="{0754974A-A7B1-4CC3-BE92-D96CDC74A898}"/>
                    </a:ext>
                  </a:extLst>
                </p:cNvPr>
                <p:cNvSpPr/>
                <p:nvPr/>
              </p:nvSpPr>
              <p:spPr>
                <a:xfrm>
                  <a:off x="960855" y="2175608"/>
                  <a:ext cx="2159179" cy="2127732"/>
                </a:xfrm>
                <a:custGeom>
                  <a:avLst/>
                  <a:gdLst>
                    <a:gd name="connsiteX0" fmla="*/ 1838717 w 2159179"/>
                    <a:gd name="connsiteY0" fmla="*/ 1720243 h 2127732"/>
                    <a:gd name="connsiteX1" fmla="*/ 1841899 w 2159179"/>
                    <a:gd name="connsiteY1" fmla="*/ 1732260 h 2127732"/>
                    <a:gd name="connsiteX2" fmla="*/ 1843433 w 2159179"/>
                    <a:gd name="connsiteY2" fmla="*/ 1731792 h 2127732"/>
                    <a:gd name="connsiteX3" fmla="*/ 1837830 w 2159179"/>
                    <a:gd name="connsiteY3" fmla="*/ 1737914 h 2127732"/>
                    <a:gd name="connsiteX4" fmla="*/ 1836347 w 2159179"/>
                    <a:gd name="connsiteY4" fmla="*/ 1736025 h 2127732"/>
                    <a:gd name="connsiteX5" fmla="*/ 1841430 w 2159179"/>
                    <a:gd name="connsiteY5" fmla="*/ 1752720 h 2127732"/>
                    <a:gd name="connsiteX6" fmla="*/ 1834306 w 2159179"/>
                    <a:gd name="connsiteY6" fmla="*/ 1756346 h 2127732"/>
                    <a:gd name="connsiteX7" fmla="*/ 1833279 w 2159179"/>
                    <a:gd name="connsiteY7" fmla="*/ 1766119 h 2127732"/>
                    <a:gd name="connsiteX8" fmla="*/ 1831276 w 2159179"/>
                    <a:gd name="connsiteY8" fmla="*/ 1768705 h 2127732"/>
                    <a:gd name="connsiteX9" fmla="*/ 1832797 w 2159179"/>
                    <a:gd name="connsiteY9" fmla="*/ 1806025 h 2127732"/>
                    <a:gd name="connsiteX10" fmla="*/ 1829742 w 2159179"/>
                    <a:gd name="connsiteY10" fmla="*/ 1803439 h 2127732"/>
                    <a:gd name="connsiteX11" fmla="*/ 1826180 w 2159179"/>
                    <a:gd name="connsiteY11" fmla="*/ 1805011 h 2127732"/>
                    <a:gd name="connsiteX12" fmla="*/ 1819588 w 2159179"/>
                    <a:gd name="connsiteY12" fmla="*/ 1831594 h 2127732"/>
                    <a:gd name="connsiteX13" fmla="*/ 1822187 w 2159179"/>
                    <a:gd name="connsiteY13" fmla="*/ 1834674 h 2127732"/>
                    <a:gd name="connsiteX14" fmla="*/ 1818080 w 2159179"/>
                    <a:gd name="connsiteY14" fmla="*/ 1846425 h 2127732"/>
                    <a:gd name="connsiteX15" fmla="*/ 1822263 w 2159179"/>
                    <a:gd name="connsiteY15" fmla="*/ 1848339 h 2127732"/>
                    <a:gd name="connsiteX16" fmla="*/ 1814036 w 2159179"/>
                    <a:gd name="connsiteY16" fmla="*/ 1866074 h 2127732"/>
                    <a:gd name="connsiteX17" fmla="*/ 1816153 w 2159179"/>
                    <a:gd name="connsiteY17" fmla="*/ 1862753 h 2127732"/>
                    <a:gd name="connsiteX18" fmla="*/ 1817991 w 2159179"/>
                    <a:gd name="connsiteY18" fmla="*/ 1861054 h 2127732"/>
                    <a:gd name="connsiteX19" fmla="*/ 1816597 w 2159179"/>
                    <a:gd name="connsiteY19" fmla="*/ 1875049 h 2127732"/>
                    <a:gd name="connsiteX20" fmla="*/ 1811551 w 2159179"/>
                    <a:gd name="connsiteY20" fmla="*/ 1864324 h 2127732"/>
                    <a:gd name="connsiteX21" fmla="*/ 1804288 w 2159179"/>
                    <a:gd name="connsiteY21" fmla="*/ 1849341 h 2127732"/>
                    <a:gd name="connsiteX22" fmla="*/ 1809004 w 2159179"/>
                    <a:gd name="connsiteY22" fmla="*/ 1844891 h 2127732"/>
                    <a:gd name="connsiteX23" fmla="*/ 1809282 w 2159179"/>
                    <a:gd name="connsiteY23" fmla="*/ 1847312 h 2127732"/>
                    <a:gd name="connsiteX24" fmla="*/ 1816318 w 2159179"/>
                    <a:gd name="connsiteY24" fmla="*/ 1820007 h 2127732"/>
                    <a:gd name="connsiteX25" fmla="*/ 1816800 w 2159179"/>
                    <a:gd name="connsiteY25" fmla="*/ 1824203 h 2127732"/>
                    <a:gd name="connsiteX26" fmla="*/ 1819703 w 2159179"/>
                    <a:gd name="connsiteY26" fmla="*/ 1816737 h 2127732"/>
                    <a:gd name="connsiteX27" fmla="*/ 1822276 w 2159179"/>
                    <a:gd name="connsiteY27" fmla="*/ 1816242 h 2127732"/>
                    <a:gd name="connsiteX28" fmla="*/ 1821464 w 2159179"/>
                    <a:gd name="connsiteY28" fmla="*/ 1787733 h 2127732"/>
                    <a:gd name="connsiteX29" fmla="*/ 1823708 w 2159179"/>
                    <a:gd name="connsiteY29" fmla="*/ 1769681 h 2127732"/>
                    <a:gd name="connsiteX30" fmla="*/ 1825217 w 2159179"/>
                    <a:gd name="connsiteY30" fmla="*/ 1749665 h 2127732"/>
                    <a:gd name="connsiteX31" fmla="*/ 1838400 w 2159179"/>
                    <a:gd name="connsiteY31" fmla="*/ 1721485 h 2127732"/>
                    <a:gd name="connsiteX32" fmla="*/ 1838717 w 2159179"/>
                    <a:gd name="connsiteY32" fmla="*/ 1720243 h 2127732"/>
                    <a:gd name="connsiteX33" fmla="*/ 1838717 w 2159179"/>
                    <a:gd name="connsiteY33" fmla="*/ 1720243 h 2127732"/>
                    <a:gd name="connsiteX34" fmla="*/ 718049 w 2159179"/>
                    <a:gd name="connsiteY34" fmla="*/ 4843 h 2127732"/>
                    <a:gd name="connsiteX35" fmla="*/ 728596 w 2159179"/>
                    <a:gd name="connsiteY35" fmla="*/ 89 h 2127732"/>
                    <a:gd name="connsiteX36" fmla="*/ 729078 w 2159179"/>
                    <a:gd name="connsiteY36" fmla="*/ 15618 h 2127732"/>
                    <a:gd name="connsiteX37" fmla="*/ 741323 w 2159179"/>
                    <a:gd name="connsiteY37" fmla="*/ 49718 h 2127732"/>
                    <a:gd name="connsiteX38" fmla="*/ 761061 w 2159179"/>
                    <a:gd name="connsiteY38" fmla="*/ 76972 h 2127732"/>
                    <a:gd name="connsiteX39" fmla="*/ 782484 w 2159179"/>
                    <a:gd name="connsiteY39" fmla="*/ 84008 h 2127732"/>
                    <a:gd name="connsiteX40" fmla="*/ 796770 w 2159179"/>
                    <a:gd name="connsiteY40" fmla="*/ 93439 h 2127732"/>
                    <a:gd name="connsiteX41" fmla="*/ 793424 w 2159179"/>
                    <a:gd name="connsiteY41" fmla="*/ 111896 h 2127732"/>
                    <a:gd name="connsiteX42" fmla="*/ 782142 w 2159179"/>
                    <a:gd name="connsiteY42" fmla="*/ 125485 h 2127732"/>
                    <a:gd name="connsiteX43" fmla="*/ 787162 w 2159179"/>
                    <a:gd name="connsiteY43" fmla="*/ 148024 h 2127732"/>
                    <a:gd name="connsiteX44" fmla="*/ 802335 w 2159179"/>
                    <a:gd name="connsiteY44" fmla="*/ 181909 h 2127732"/>
                    <a:gd name="connsiteX45" fmla="*/ 820818 w 2159179"/>
                    <a:gd name="connsiteY45" fmla="*/ 191289 h 2127732"/>
                    <a:gd name="connsiteX46" fmla="*/ 827194 w 2159179"/>
                    <a:gd name="connsiteY46" fmla="*/ 208618 h 2127732"/>
                    <a:gd name="connsiteX47" fmla="*/ 839832 w 2159179"/>
                    <a:gd name="connsiteY47" fmla="*/ 230079 h 2127732"/>
                    <a:gd name="connsiteX48" fmla="*/ 828335 w 2159179"/>
                    <a:gd name="connsiteY48" fmla="*/ 243998 h 2127732"/>
                    <a:gd name="connsiteX49" fmla="*/ 817103 w 2159179"/>
                    <a:gd name="connsiteY49" fmla="*/ 247193 h 2127732"/>
                    <a:gd name="connsiteX50" fmla="*/ 804110 w 2159179"/>
                    <a:gd name="connsiteY50" fmla="*/ 257778 h 2127732"/>
                    <a:gd name="connsiteX51" fmla="*/ 783764 w 2159179"/>
                    <a:gd name="connsiteY51" fmla="*/ 246014 h 2127732"/>
                    <a:gd name="connsiteX52" fmla="*/ 782180 w 2159179"/>
                    <a:gd name="connsiteY52" fmla="*/ 236671 h 2127732"/>
                    <a:gd name="connsiteX53" fmla="*/ 772254 w 2159179"/>
                    <a:gd name="connsiteY53" fmla="*/ 241907 h 2127732"/>
                    <a:gd name="connsiteX54" fmla="*/ 761225 w 2159179"/>
                    <a:gd name="connsiteY54" fmla="*/ 255356 h 2127732"/>
                    <a:gd name="connsiteX55" fmla="*/ 762759 w 2159179"/>
                    <a:gd name="connsiteY55" fmla="*/ 266702 h 2127732"/>
                    <a:gd name="connsiteX56" fmla="*/ 767716 w 2159179"/>
                    <a:gd name="connsiteY56" fmla="*/ 273129 h 2127732"/>
                    <a:gd name="connsiteX57" fmla="*/ 780354 w 2159179"/>
                    <a:gd name="connsiteY57" fmla="*/ 287935 h 2127732"/>
                    <a:gd name="connsiteX58" fmla="*/ 781406 w 2159179"/>
                    <a:gd name="connsiteY58" fmla="*/ 297988 h 2127732"/>
                    <a:gd name="connsiteX59" fmla="*/ 780025 w 2159179"/>
                    <a:gd name="connsiteY59" fmla="*/ 309130 h 2127732"/>
                    <a:gd name="connsiteX60" fmla="*/ 784588 w 2159179"/>
                    <a:gd name="connsiteY60" fmla="*/ 315621 h 2127732"/>
                    <a:gd name="connsiteX61" fmla="*/ 788860 w 2159179"/>
                    <a:gd name="connsiteY61" fmla="*/ 321414 h 2127732"/>
                    <a:gd name="connsiteX62" fmla="*/ 781166 w 2159179"/>
                    <a:gd name="connsiteY62" fmla="*/ 327689 h 2127732"/>
                    <a:gd name="connsiteX63" fmla="*/ 784246 w 2159179"/>
                    <a:gd name="connsiteY63" fmla="*/ 337931 h 2127732"/>
                    <a:gd name="connsiteX64" fmla="*/ 788467 w 2159179"/>
                    <a:gd name="connsiteY64" fmla="*/ 346133 h 2127732"/>
                    <a:gd name="connsiteX65" fmla="*/ 796492 w 2159179"/>
                    <a:gd name="connsiteY65" fmla="*/ 340986 h 2127732"/>
                    <a:gd name="connsiteX66" fmla="*/ 800789 w 2159179"/>
                    <a:gd name="connsiteY66" fmla="*/ 343788 h 2127732"/>
                    <a:gd name="connsiteX67" fmla="*/ 821160 w 2159179"/>
                    <a:gd name="connsiteY67" fmla="*/ 351939 h 2127732"/>
                    <a:gd name="connsiteX68" fmla="*/ 840745 w 2159179"/>
                    <a:gd name="connsiteY68" fmla="*/ 372754 h 2127732"/>
                    <a:gd name="connsiteX69" fmla="*/ 858759 w 2159179"/>
                    <a:gd name="connsiteY69" fmla="*/ 371600 h 2127732"/>
                    <a:gd name="connsiteX70" fmla="*/ 879180 w 2159179"/>
                    <a:gd name="connsiteY70" fmla="*/ 384429 h 2127732"/>
                    <a:gd name="connsiteX71" fmla="*/ 892656 w 2159179"/>
                    <a:gd name="connsiteY71" fmla="*/ 393594 h 2127732"/>
                    <a:gd name="connsiteX72" fmla="*/ 889575 w 2159179"/>
                    <a:gd name="connsiteY72" fmla="*/ 398081 h 2127732"/>
                    <a:gd name="connsiteX73" fmla="*/ 889765 w 2159179"/>
                    <a:gd name="connsiteY73" fmla="*/ 405370 h 2127732"/>
                    <a:gd name="connsiteX74" fmla="*/ 929392 w 2159179"/>
                    <a:gd name="connsiteY74" fmla="*/ 418516 h 2127732"/>
                    <a:gd name="connsiteX75" fmla="*/ 934260 w 2159179"/>
                    <a:gd name="connsiteY75" fmla="*/ 424639 h 2127732"/>
                    <a:gd name="connsiteX76" fmla="*/ 947431 w 2159179"/>
                    <a:gd name="connsiteY76" fmla="*/ 429342 h 2127732"/>
                    <a:gd name="connsiteX77" fmla="*/ 941815 w 2159179"/>
                    <a:gd name="connsiteY77" fmla="*/ 433538 h 2127732"/>
                    <a:gd name="connsiteX78" fmla="*/ 919821 w 2159179"/>
                    <a:gd name="connsiteY78" fmla="*/ 454188 h 2127732"/>
                    <a:gd name="connsiteX79" fmla="*/ 909008 w 2159179"/>
                    <a:gd name="connsiteY79" fmla="*/ 467625 h 2127732"/>
                    <a:gd name="connsiteX80" fmla="*/ 902670 w 2159179"/>
                    <a:gd name="connsiteY80" fmla="*/ 472188 h 2127732"/>
                    <a:gd name="connsiteX81" fmla="*/ 904128 w 2159179"/>
                    <a:gd name="connsiteY81" fmla="*/ 477868 h 2127732"/>
                    <a:gd name="connsiteX82" fmla="*/ 897308 w 2159179"/>
                    <a:gd name="connsiteY82" fmla="*/ 491939 h 2127732"/>
                    <a:gd name="connsiteX83" fmla="*/ 894380 w 2159179"/>
                    <a:gd name="connsiteY83" fmla="*/ 501319 h 2127732"/>
                    <a:gd name="connsiteX84" fmla="*/ 895546 w 2159179"/>
                    <a:gd name="connsiteY84" fmla="*/ 514541 h 2127732"/>
                    <a:gd name="connsiteX85" fmla="*/ 892656 w 2159179"/>
                    <a:gd name="connsiteY85" fmla="*/ 513843 h 2127732"/>
                    <a:gd name="connsiteX86" fmla="*/ 888548 w 2159179"/>
                    <a:gd name="connsiteY86" fmla="*/ 520866 h 2127732"/>
                    <a:gd name="connsiteX87" fmla="*/ 884314 w 2159179"/>
                    <a:gd name="connsiteY87" fmla="*/ 529841 h 2127732"/>
                    <a:gd name="connsiteX88" fmla="*/ 880169 w 2159179"/>
                    <a:gd name="connsiteY88" fmla="*/ 544521 h 2127732"/>
                    <a:gd name="connsiteX89" fmla="*/ 912596 w 2159179"/>
                    <a:gd name="connsiteY89" fmla="*/ 565703 h 2127732"/>
                    <a:gd name="connsiteX90" fmla="*/ 927934 w 2159179"/>
                    <a:gd name="connsiteY90" fmla="*/ 565297 h 2127732"/>
                    <a:gd name="connsiteX91" fmla="*/ 949877 w 2159179"/>
                    <a:gd name="connsiteY91" fmla="*/ 578012 h 2127732"/>
                    <a:gd name="connsiteX92" fmla="*/ 964443 w 2159179"/>
                    <a:gd name="connsiteY92" fmla="*/ 583564 h 2127732"/>
                    <a:gd name="connsiteX93" fmla="*/ 971326 w 2159179"/>
                    <a:gd name="connsiteY93" fmla="*/ 598865 h 2127732"/>
                    <a:gd name="connsiteX94" fmla="*/ 979655 w 2159179"/>
                    <a:gd name="connsiteY94" fmla="*/ 597711 h 2127732"/>
                    <a:gd name="connsiteX95" fmla="*/ 987083 w 2159179"/>
                    <a:gd name="connsiteY95" fmla="*/ 606027 h 2127732"/>
                    <a:gd name="connsiteX96" fmla="*/ 1012601 w 2159179"/>
                    <a:gd name="connsiteY96" fmla="*/ 621759 h 2127732"/>
                    <a:gd name="connsiteX97" fmla="*/ 1026342 w 2159179"/>
                    <a:gd name="connsiteY97" fmla="*/ 617461 h 2127732"/>
                    <a:gd name="connsiteX98" fmla="*/ 1038385 w 2159179"/>
                    <a:gd name="connsiteY98" fmla="*/ 624852 h 2127732"/>
                    <a:gd name="connsiteX99" fmla="*/ 1058528 w 2159179"/>
                    <a:gd name="connsiteY99" fmla="*/ 636818 h 2127732"/>
                    <a:gd name="connsiteX100" fmla="*/ 1076300 w 2159179"/>
                    <a:gd name="connsiteY100" fmla="*/ 638289 h 2127732"/>
                    <a:gd name="connsiteX101" fmla="*/ 1078265 w 2159179"/>
                    <a:gd name="connsiteY101" fmla="*/ 648760 h 2127732"/>
                    <a:gd name="connsiteX102" fmla="*/ 1089091 w 2159179"/>
                    <a:gd name="connsiteY102" fmla="*/ 651194 h 2127732"/>
                    <a:gd name="connsiteX103" fmla="*/ 1112581 w 2159179"/>
                    <a:gd name="connsiteY103" fmla="*/ 657164 h 2127732"/>
                    <a:gd name="connsiteX104" fmla="*/ 1122215 w 2159179"/>
                    <a:gd name="connsiteY104" fmla="*/ 662755 h 2127732"/>
                    <a:gd name="connsiteX105" fmla="*/ 1126816 w 2159179"/>
                    <a:gd name="connsiteY105" fmla="*/ 652550 h 2127732"/>
                    <a:gd name="connsiteX106" fmla="*/ 1159915 w 2159179"/>
                    <a:gd name="connsiteY106" fmla="*/ 655440 h 2127732"/>
                    <a:gd name="connsiteX107" fmla="*/ 1172718 w 2159179"/>
                    <a:gd name="connsiteY107" fmla="*/ 654908 h 2127732"/>
                    <a:gd name="connsiteX108" fmla="*/ 1184393 w 2159179"/>
                    <a:gd name="connsiteY108" fmla="*/ 652423 h 2127732"/>
                    <a:gd name="connsiteX109" fmla="*/ 1191961 w 2159179"/>
                    <a:gd name="connsiteY109" fmla="*/ 659040 h 2127732"/>
                    <a:gd name="connsiteX110" fmla="*/ 1217973 w 2159179"/>
                    <a:gd name="connsiteY110" fmla="*/ 666545 h 2127732"/>
                    <a:gd name="connsiteX111" fmla="*/ 1230231 w 2159179"/>
                    <a:gd name="connsiteY111" fmla="*/ 689135 h 2127732"/>
                    <a:gd name="connsiteX112" fmla="*/ 1247497 w 2159179"/>
                    <a:gd name="connsiteY112" fmla="*/ 702001 h 2127732"/>
                    <a:gd name="connsiteX113" fmla="*/ 1255217 w 2159179"/>
                    <a:gd name="connsiteY113" fmla="*/ 700417 h 2127732"/>
                    <a:gd name="connsiteX114" fmla="*/ 1258323 w 2159179"/>
                    <a:gd name="connsiteY114" fmla="*/ 705335 h 2127732"/>
                    <a:gd name="connsiteX115" fmla="*/ 1272875 w 2159179"/>
                    <a:gd name="connsiteY115" fmla="*/ 708200 h 2127732"/>
                    <a:gd name="connsiteX116" fmla="*/ 1286008 w 2159179"/>
                    <a:gd name="connsiteY116" fmla="*/ 702977 h 2127732"/>
                    <a:gd name="connsiteX117" fmla="*/ 1298038 w 2159179"/>
                    <a:gd name="connsiteY117" fmla="*/ 714411 h 2127732"/>
                    <a:gd name="connsiteX118" fmla="*/ 1318232 w 2159179"/>
                    <a:gd name="connsiteY118" fmla="*/ 717923 h 2127732"/>
                    <a:gd name="connsiteX119" fmla="*/ 1330832 w 2159179"/>
                    <a:gd name="connsiteY119" fmla="*/ 721307 h 2127732"/>
                    <a:gd name="connsiteX120" fmla="*/ 1340264 w 2159179"/>
                    <a:gd name="connsiteY120" fmla="*/ 720572 h 2127732"/>
                    <a:gd name="connsiteX121" fmla="*/ 1372754 w 2159179"/>
                    <a:gd name="connsiteY121" fmla="*/ 736025 h 2127732"/>
                    <a:gd name="connsiteX122" fmla="*/ 1397004 w 2159179"/>
                    <a:gd name="connsiteY122" fmla="*/ 722968 h 2127732"/>
                    <a:gd name="connsiteX123" fmla="*/ 1406917 w 2159179"/>
                    <a:gd name="connsiteY123" fmla="*/ 737280 h 2127732"/>
                    <a:gd name="connsiteX124" fmla="*/ 1413090 w 2159179"/>
                    <a:gd name="connsiteY124" fmla="*/ 740107 h 2127732"/>
                    <a:gd name="connsiteX125" fmla="*/ 1421317 w 2159179"/>
                    <a:gd name="connsiteY125" fmla="*/ 736342 h 2127732"/>
                    <a:gd name="connsiteX126" fmla="*/ 1440953 w 2159179"/>
                    <a:gd name="connsiteY126" fmla="*/ 737077 h 2127732"/>
                    <a:gd name="connsiteX127" fmla="*/ 1454036 w 2159179"/>
                    <a:gd name="connsiteY127" fmla="*/ 734288 h 2127732"/>
                    <a:gd name="connsiteX128" fmla="*/ 1460057 w 2159179"/>
                    <a:gd name="connsiteY128" fmla="*/ 733781 h 2127732"/>
                    <a:gd name="connsiteX129" fmla="*/ 1465520 w 2159179"/>
                    <a:gd name="connsiteY129" fmla="*/ 739308 h 2127732"/>
                    <a:gd name="connsiteX130" fmla="*/ 1475433 w 2159179"/>
                    <a:gd name="connsiteY130" fmla="*/ 722727 h 2127732"/>
                    <a:gd name="connsiteX131" fmla="*/ 1478729 w 2159179"/>
                    <a:gd name="connsiteY131" fmla="*/ 700011 h 2127732"/>
                    <a:gd name="connsiteX132" fmla="*/ 1467523 w 2159179"/>
                    <a:gd name="connsiteY132" fmla="*/ 684013 h 2127732"/>
                    <a:gd name="connsiteX133" fmla="*/ 1470452 w 2159179"/>
                    <a:gd name="connsiteY133" fmla="*/ 654477 h 2127732"/>
                    <a:gd name="connsiteX134" fmla="*/ 1478083 w 2159179"/>
                    <a:gd name="connsiteY134" fmla="*/ 631976 h 2127732"/>
                    <a:gd name="connsiteX135" fmla="*/ 1479959 w 2159179"/>
                    <a:gd name="connsiteY135" fmla="*/ 624053 h 2127732"/>
                    <a:gd name="connsiteX136" fmla="*/ 1475611 w 2159179"/>
                    <a:gd name="connsiteY136" fmla="*/ 620060 h 2127732"/>
                    <a:gd name="connsiteX137" fmla="*/ 1506326 w 2159179"/>
                    <a:gd name="connsiteY137" fmla="*/ 607016 h 2127732"/>
                    <a:gd name="connsiteX138" fmla="*/ 1522248 w 2159179"/>
                    <a:gd name="connsiteY138" fmla="*/ 606141 h 2127732"/>
                    <a:gd name="connsiteX139" fmla="*/ 1529803 w 2159179"/>
                    <a:gd name="connsiteY139" fmla="*/ 618564 h 2127732"/>
                    <a:gd name="connsiteX140" fmla="*/ 1522615 w 2159179"/>
                    <a:gd name="connsiteY140" fmla="*/ 647175 h 2127732"/>
                    <a:gd name="connsiteX141" fmla="*/ 1530475 w 2159179"/>
                    <a:gd name="connsiteY141" fmla="*/ 662235 h 2127732"/>
                    <a:gd name="connsiteX142" fmla="*/ 1530424 w 2159179"/>
                    <a:gd name="connsiteY142" fmla="*/ 668687 h 2127732"/>
                    <a:gd name="connsiteX143" fmla="*/ 1522273 w 2159179"/>
                    <a:gd name="connsiteY143" fmla="*/ 676192 h 2127732"/>
                    <a:gd name="connsiteX144" fmla="*/ 1529296 w 2159179"/>
                    <a:gd name="connsiteY144" fmla="*/ 682517 h 2127732"/>
                    <a:gd name="connsiteX145" fmla="*/ 1530817 w 2159179"/>
                    <a:gd name="connsiteY145" fmla="*/ 694104 h 2127732"/>
                    <a:gd name="connsiteX146" fmla="*/ 1550681 w 2159179"/>
                    <a:gd name="connsiteY146" fmla="*/ 704384 h 2127732"/>
                    <a:gd name="connsiteX147" fmla="*/ 1585973 w 2159179"/>
                    <a:gd name="connsiteY147" fmla="*/ 711838 h 2127732"/>
                    <a:gd name="connsiteX148" fmla="*/ 1604544 w 2159179"/>
                    <a:gd name="connsiteY148" fmla="*/ 711597 h 2127732"/>
                    <a:gd name="connsiteX149" fmla="*/ 1622304 w 2159179"/>
                    <a:gd name="connsiteY149" fmla="*/ 710216 h 2127732"/>
                    <a:gd name="connsiteX150" fmla="*/ 1637325 w 2159179"/>
                    <a:gd name="connsiteY150" fmla="*/ 700645 h 2127732"/>
                    <a:gd name="connsiteX151" fmla="*/ 1659167 w 2159179"/>
                    <a:gd name="connsiteY151" fmla="*/ 707161 h 2127732"/>
                    <a:gd name="connsiteX152" fmla="*/ 1690592 w 2159179"/>
                    <a:gd name="connsiteY152" fmla="*/ 706843 h 2127732"/>
                    <a:gd name="connsiteX153" fmla="*/ 1709506 w 2159179"/>
                    <a:gd name="connsiteY153" fmla="*/ 707452 h 2127732"/>
                    <a:gd name="connsiteX154" fmla="*/ 1719659 w 2159179"/>
                    <a:gd name="connsiteY154" fmla="*/ 700125 h 2127732"/>
                    <a:gd name="connsiteX155" fmla="*/ 1737381 w 2159179"/>
                    <a:gd name="connsiteY155" fmla="*/ 705728 h 2127732"/>
                    <a:gd name="connsiteX156" fmla="*/ 1754583 w 2159179"/>
                    <a:gd name="connsiteY156" fmla="*/ 705348 h 2127732"/>
                    <a:gd name="connsiteX157" fmla="*/ 1755661 w 2159179"/>
                    <a:gd name="connsiteY157" fmla="*/ 699162 h 2127732"/>
                    <a:gd name="connsiteX158" fmla="*/ 1768515 w 2159179"/>
                    <a:gd name="connsiteY158" fmla="*/ 690212 h 2127732"/>
                    <a:gd name="connsiteX159" fmla="*/ 1765143 w 2159179"/>
                    <a:gd name="connsiteY159" fmla="*/ 674620 h 2127732"/>
                    <a:gd name="connsiteX160" fmla="*/ 1764027 w 2159179"/>
                    <a:gd name="connsiteY160" fmla="*/ 655453 h 2127732"/>
                    <a:gd name="connsiteX161" fmla="*/ 1745634 w 2159179"/>
                    <a:gd name="connsiteY161" fmla="*/ 656771 h 2127732"/>
                    <a:gd name="connsiteX162" fmla="*/ 1746014 w 2159179"/>
                    <a:gd name="connsiteY162" fmla="*/ 629289 h 2127732"/>
                    <a:gd name="connsiteX163" fmla="*/ 1765498 w 2159179"/>
                    <a:gd name="connsiteY163" fmla="*/ 630011 h 2127732"/>
                    <a:gd name="connsiteX164" fmla="*/ 1778276 w 2159179"/>
                    <a:gd name="connsiteY164" fmla="*/ 625828 h 2127732"/>
                    <a:gd name="connsiteX165" fmla="*/ 1781255 w 2159179"/>
                    <a:gd name="connsiteY165" fmla="*/ 621188 h 2127732"/>
                    <a:gd name="connsiteX166" fmla="*/ 1786021 w 2159179"/>
                    <a:gd name="connsiteY166" fmla="*/ 627489 h 2127732"/>
                    <a:gd name="connsiteX167" fmla="*/ 1787872 w 2159179"/>
                    <a:gd name="connsiteY167" fmla="*/ 623774 h 2127732"/>
                    <a:gd name="connsiteX168" fmla="*/ 1790775 w 2159179"/>
                    <a:gd name="connsiteY168" fmla="*/ 626069 h 2127732"/>
                    <a:gd name="connsiteX169" fmla="*/ 1792587 w 2159179"/>
                    <a:gd name="connsiteY169" fmla="*/ 621924 h 2127732"/>
                    <a:gd name="connsiteX170" fmla="*/ 1815228 w 2159179"/>
                    <a:gd name="connsiteY170" fmla="*/ 609095 h 2127732"/>
                    <a:gd name="connsiteX171" fmla="*/ 1817015 w 2159179"/>
                    <a:gd name="connsiteY171" fmla="*/ 597369 h 2127732"/>
                    <a:gd name="connsiteX172" fmla="*/ 1828880 w 2159179"/>
                    <a:gd name="connsiteY172" fmla="*/ 592337 h 2127732"/>
                    <a:gd name="connsiteX173" fmla="*/ 1858962 w 2159179"/>
                    <a:gd name="connsiteY173" fmla="*/ 564068 h 2127732"/>
                    <a:gd name="connsiteX174" fmla="*/ 1901821 w 2159179"/>
                    <a:gd name="connsiteY174" fmla="*/ 548412 h 2127732"/>
                    <a:gd name="connsiteX175" fmla="*/ 1937075 w 2159179"/>
                    <a:gd name="connsiteY175" fmla="*/ 528764 h 2127732"/>
                    <a:gd name="connsiteX176" fmla="*/ 1938989 w 2159179"/>
                    <a:gd name="connsiteY176" fmla="*/ 514997 h 2127732"/>
                    <a:gd name="connsiteX177" fmla="*/ 1946949 w 2159179"/>
                    <a:gd name="connsiteY177" fmla="*/ 513755 h 2127732"/>
                    <a:gd name="connsiteX178" fmla="*/ 1954492 w 2159179"/>
                    <a:gd name="connsiteY178" fmla="*/ 506466 h 2127732"/>
                    <a:gd name="connsiteX179" fmla="*/ 1967942 w 2159179"/>
                    <a:gd name="connsiteY179" fmla="*/ 515162 h 2127732"/>
                    <a:gd name="connsiteX180" fmla="*/ 1984497 w 2159179"/>
                    <a:gd name="connsiteY180" fmla="*/ 520765 h 2127732"/>
                    <a:gd name="connsiteX181" fmla="*/ 1982000 w 2159179"/>
                    <a:gd name="connsiteY181" fmla="*/ 517177 h 2127732"/>
                    <a:gd name="connsiteX182" fmla="*/ 2006174 w 2159179"/>
                    <a:gd name="connsiteY182" fmla="*/ 526495 h 2127732"/>
                    <a:gd name="connsiteX183" fmla="*/ 2018255 w 2159179"/>
                    <a:gd name="connsiteY183" fmla="*/ 515796 h 2127732"/>
                    <a:gd name="connsiteX184" fmla="*/ 2019802 w 2159179"/>
                    <a:gd name="connsiteY184" fmla="*/ 520904 h 2127732"/>
                    <a:gd name="connsiteX185" fmla="*/ 2030133 w 2159179"/>
                    <a:gd name="connsiteY185" fmla="*/ 511143 h 2127732"/>
                    <a:gd name="connsiteX186" fmla="*/ 2039463 w 2159179"/>
                    <a:gd name="connsiteY186" fmla="*/ 511004 h 2127732"/>
                    <a:gd name="connsiteX187" fmla="*/ 2042137 w 2159179"/>
                    <a:gd name="connsiteY187" fmla="*/ 503132 h 2127732"/>
                    <a:gd name="connsiteX188" fmla="*/ 2060328 w 2159179"/>
                    <a:gd name="connsiteY188" fmla="*/ 501534 h 2127732"/>
                    <a:gd name="connsiteX189" fmla="*/ 2073385 w 2159179"/>
                    <a:gd name="connsiteY189" fmla="*/ 508950 h 2127732"/>
                    <a:gd name="connsiteX190" fmla="*/ 2083171 w 2159179"/>
                    <a:gd name="connsiteY190" fmla="*/ 508684 h 2127732"/>
                    <a:gd name="connsiteX191" fmla="*/ 2073727 w 2159179"/>
                    <a:gd name="connsiteY191" fmla="*/ 528561 h 2127732"/>
                    <a:gd name="connsiteX192" fmla="*/ 2085225 w 2159179"/>
                    <a:gd name="connsiteY192" fmla="*/ 522920 h 2127732"/>
                    <a:gd name="connsiteX193" fmla="*/ 2096659 w 2159179"/>
                    <a:gd name="connsiteY193" fmla="*/ 538119 h 2127732"/>
                    <a:gd name="connsiteX194" fmla="*/ 2091424 w 2159179"/>
                    <a:gd name="connsiteY194" fmla="*/ 561799 h 2127732"/>
                    <a:gd name="connsiteX195" fmla="*/ 2095886 w 2159179"/>
                    <a:gd name="connsiteY195" fmla="*/ 576922 h 2127732"/>
                    <a:gd name="connsiteX196" fmla="*/ 2118818 w 2159179"/>
                    <a:gd name="connsiteY196" fmla="*/ 570748 h 2127732"/>
                    <a:gd name="connsiteX197" fmla="*/ 2129504 w 2159179"/>
                    <a:gd name="connsiteY197" fmla="*/ 583894 h 2127732"/>
                    <a:gd name="connsiteX198" fmla="*/ 2140330 w 2159179"/>
                    <a:gd name="connsiteY198" fmla="*/ 580966 h 2127732"/>
                    <a:gd name="connsiteX199" fmla="*/ 2157469 w 2159179"/>
                    <a:gd name="connsiteY199" fmla="*/ 595379 h 2127732"/>
                    <a:gd name="connsiteX200" fmla="*/ 2154832 w 2159179"/>
                    <a:gd name="connsiteY200" fmla="*/ 602985 h 2127732"/>
                    <a:gd name="connsiteX201" fmla="*/ 2158571 w 2159179"/>
                    <a:gd name="connsiteY201" fmla="*/ 607739 h 2127732"/>
                    <a:gd name="connsiteX202" fmla="*/ 2158052 w 2159179"/>
                    <a:gd name="connsiteY202" fmla="*/ 617398 h 2127732"/>
                    <a:gd name="connsiteX203" fmla="*/ 2147226 w 2159179"/>
                    <a:gd name="connsiteY203" fmla="*/ 621277 h 2127732"/>
                    <a:gd name="connsiteX204" fmla="*/ 2134740 w 2159179"/>
                    <a:gd name="connsiteY204" fmla="*/ 631241 h 2127732"/>
                    <a:gd name="connsiteX205" fmla="*/ 2133434 w 2159179"/>
                    <a:gd name="connsiteY205" fmla="*/ 666583 h 2127732"/>
                    <a:gd name="connsiteX206" fmla="*/ 2142003 w 2159179"/>
                    <a:gd name="connsiteY206" fmla="*/ 682885 h 2127732"/>
                    <a:gd name="connsiteX207" fmla="*/ 2123939 w 2159179"/>
                    <a:gd name="connsiteY207" fmla="*/ 676521 h 2127732"/>
                    <a:gd name="connsiteX208" fmla="*/ 2114761 w 2159179"/>
                    <a:gd name="connsiteY208" fmla="*/ 662488 h 2127732"/>
                    <a:gd name="connsiteX209" fmla="*/ 2100855 w 2159179"/>
                    <a:gd name="connsiteY209" fmla="*/ 664276 h 2127732"/>
                    <a:gd name="connsiteX210" fmla="*/ 2068644 w 2159179"/>
                    <a:gd name="connsiteY210" fmla="*/ 669955 h 2127732"/>
                    <a:gd name="connsiteX211" fmla="*/ 2054725 w 2159179"/>
                    <a:gd name="connsiteY211" fmla="*/ 683455 h 2127732"/>
                    <a:gd name="connsiteX212" fmla="*/ 2044305 w 2159179"/>
                    <a:gd name="connsiteY212" fmla="*/ 689654 h 2127732"/>
                    <a:gd name="connsiteX213" fmla="*/ 2028460 w 2159179"/>
                    <a:gd name="connsiteY213" fmla="*/ 704093 h 2127732"/>
                    <a:gd name="connsiteX214" fmla="*/ 2019535 w 2159179"/>
                    <a:gd name="connsiteY214" fmla="*/ 707427 h 2127732"/>
                    <a:gd name="connsiteX215" fmla="*/ 2006707 w 2159179"/>
                    <a:gd name="connsiteY215" fmla="*/ 716934 h 2127732"/>
                    <a:gd name="connsiteX216" fmla="*/ 1994436 w 2159179"/>
                    <a:gd name="connsiteY216" fmla="*/ 720483 h 2127732"/>
                    <a:gd name="connsiteX217" fmla="*/ 1990062 w 2159179"/>
                    <a:gd name="connsiteY217" fmla="*/ 735835 h 2127732"/>
                    <a:gd name="connsiteX218" fmla="*/ 1993358 w 2159179"/>
                    <a:gd name="connsiteY218" fmla="*/ 769111 h 2127732"/>
                    <a:gd name="connsiteX219" fmla="*/ 1984916 w 2159179"/>
                    <a:gd name="connsiteY219" fmla="*/ 776552 h 2127732"/>
                    <a:gd name="connsiteX220" fmla="*/ 1985334 w 2159179"/>
                    <a:gd name="connsiteY220" fmla="*/ 789761 h 2127732"/>
                    <a:gd name="connsiteX221" fmla="*/ 1972860 w 2159179"/>
                    <a:gd name="connsiteY221" fmla="*/ 803084 h 2127732"/>
                    <a:gd name="connsiteX222" fmla="*/ 1958041 w 2159179"/>
                    <a:gd name="connsiteY222" fmla="*/ 813656 h 2127732"/>
                    <a:gd name="connsiteX223" fmla="*/ 1952160 w 2159179"/>
                    <a:gd name="connsiteY223" fmla="*/ 828741 h 2127732"/>
                    <a:gd name="connsiteX224" fmla="*/ 1961020 w 2159179"/>
                    <a:gd name="connsiteY224" fmla="*/ 835713 h 2127732"/>
                    <a:gd name="connsiteX225" fmla="*/ 1946937 w 2159179"/>
                    <a:gd name="connsiteY225" fmla="*/ 877812 h 2127732"/>
                    <a:gd name="connsiteX226" fmla="*/ 1927694 w 2159179"/>
                    <a:gd name="connsiteY226" fmla="*/ 917008 h 2127732"/>
                    <a:gd name="connsiteX227" fmla="*/ 1921267 w 2159179"/>
                    <a:gd name="connsiteY227" fmla="*/ 935579 h 2127732"/>
                    <a:gd name="connsiteX228" fmla="*/ 1906511 w 2159179"/>
                    <a:gd name="connsiteY228" fmla="*/ 930534 h 2127732"/>
                    <a:gd name="connsiteX229" fmla="*/ 1894697 w 2159179"/>
                    <a:gd name="connsiteY229" fmla="*/ 928480 h 2127732"/>
                    <a:gd name="connsiteX230" fmla="*/ 1882312 w 2159179"/>
                    <a:gd name="connsiteY230" fmla="*/ 924766 h 2127732"/>
                    <a:gd name="connsiteX231" fmla="*/ 1870890 w 2159179"/>
                    <a:gd name="connsiteY231" fmla="*/ 927986 h 2127732"/>
                    <a:gd name="connsiteX232" fmla="*/ 1859862 w 2159179"/>
                    <a:gd name="connsiteY232" fmla="*/ 922154 h 2127732"/>
                    <a:gd name="connsiteX233" fmla="*/ 1865034 w 2159179"/>
                    <a:gd name="connsiteY233" fmla="*/ 944490 h 2127732"/>
                    <a:gd name="connsiteX234" fmla="*/ 1869394 w 2159179"/>
                    <a:gd name="connsiteY234" fmla="*/ 951272 h 2127732"/>
                    <a:gd name="connsiteX235" fmla="*/ 1867151 w 2159179"/>
                    <a:gd name="connsiteY235" fmla="*/ 970921 h 2127732"/>
                    <a:gd name="connsiteX236" fmla="*/ 1864793 w 2159179"/>
                    <a:gd name="connsiteY236" fmla="*/ 993637 h 2127732"/>
                    <a:gd name="connsiteX237" fmla="*/ 1858632 w 2159179"/>
                    <a:gd name="connsiteY237" fmla="*/ 1001928 h 2127732"/>
                    <a:gd name="connsiteX238" fmla="*/ 1852269 w 2159179"/>
                    <a:gd name="connsiteY238" fmla="*/ 998949 h 2127732"/>
                    <a:gd name="connsiteX239" fmla="*/ 1850570 w 2159179"/>
                    <a:gd name="connsiteY239" fmla="*/ 1010662 h 2127732"/>
                    <a:gd name="connsiteX240" fmla="*/ 1843205 w 2159179"/>
                    <a:gd name="connsiteY240" fmla="*/ 1029068 h 2127732"/>
                    <a:gd name="connsiteX241" fmla="*/ 1848795 w 2159179"/>
                    <a:gd name="connsiteY241" fmla="*/ 1047145 h 2127732"/>
                    <a:gd name="connsiteX242" fmla="*/ 1847920 w 2159179"/>
                    <a:gd name="connsiteY242" fmla="*/ 1065754 h 2127732"/>
                    <a:gd name="connsiteX243" fmla="*/ 1835028 w 2159179"/>
                    <a:gd name="connsiteY243" fmla="*/ 1076884 h 2127732"/>
                    <a:gd name="connsiteX244" fmla="*/ 1834395 w 2159179"/>
                    <a:gd name="connsiteY244" fmla="*/ 1081105 h 2127732"/>
                    <a:gd name="connsiteX245" fmla="*/ 1828399 w 2159179"/>
                    <a:gd name="connsiteY245" fmla="*/ 1083527 h 2127732"/>
                    <a:gd name="connsiteX246" fmla="*/ 1821807 w 2159179"/>
                    <a:gd name="connsiteY246" fmla="*/ 1073309 h 2127732"/>
                    <a:gd name="connsiteX247" fmla="*/ 1813415 w 2159179"/>
                    <a:gd name="connsiteY247" fmla="*/ 1072042 h 2127732"/>
                    <a:gd name="connsiteX248" fmla="*/ 1806113 w 2159179"/>
                    <a:gd name="connsiteY248" fmla="*/ 1081917 h 2127732"/>
                    <a:gd name="connsiteX249" fmla="*/ 1800827 w 2159179"/>
                    <a:gd name="connsiteY249" fmla="*/ 1038208 h 2127732"/>
                    <a:gd name="connsiteX250" fmla="*/ 1789609 w 2159179"/>
                    <a:gd name="connsiteY250" fmla="*/ 1003271 h 2127732"/>
                    <a:gd name="connsiteX251" fmla="*/ 1787720 w 2159179"/>
                    <a:gd name="connsiteY251" fmla="*/ 972176 h 2127732"/>
                    <a:gd name="connsiteX252" fmla="*/ 1777908 w 2159179"/>
                    <a:gd name="connsiteY252" fmla="*/ 952578 h 2127732"/>
                    <a:gd name="connsiteX253" fmla="*/ 1768553 w 2159179"/>
                    <a:gd name="connsiteY253" fmla="*/ 950892 h 2127732"/>
                    <a:gd name="connsiteX254" fmla="*/ 1757841 w 2159179"/>
                    <a:gd name="connsiteY254" fmla="*/ 946772 h 2127732"/>
                    <a:gd name="connsiteX255" fmla="*/ 1753303 w 2159179"/>
                    <a:gd name="connsiteY255" fmla="*/ 969932 h 2127732"/>
                    <a:gd name="connsiteX256" fmla="*/ 1744607 w 2159179"/>
                    <a:gd name="connsiteY256" fmla="*/ 981772 h 2127732"/>
                    <a:gd name="connsiteX257" fmla="*/ 1747915 w 2159179"/>
                    <a:gd name="connsiteY257" fmla="*/ 994461 h 2127732"/>
                    <a:gd name="connsiteX258" fmla="*/ 1732944 w 2159179"/>
                    <a:gd name="connsiteY258" fmla="*/ 1007176 h 2127732"/>
                    <a:gd name="connsiteX259" fmla="*/ 1722157 w 2159179"/>
                    <a:gd name="connsiteY259" fmla="*/ 985550 h 2127732"/>
                    <a:gd name="connsiteX260" fmla="*/ 1717010 w 2159179"/>
                    <a:gd name="connsiteY260" fmla="*/ 998011 h 2127732"/>
                    <a:gd name="connsiteX261" fmla="*/ 1707198 w 2159179"/>
                    <a:gd name="connsiteY261" fmla="*/ 969843 h 2127732"/>
                    <a:gd name="connsiteX262" fmla="*/ 1701101 w 2159179"/>
                    <a:gd name="connsiteY262" fmla="*/ 957319 h 2127732"/>
                    <a:gd name="connsiteX263" fmla="*/ 1699390 w 2159179"/>
                    <a:gd name="connsiteY263" fmla="*/ 946924 h 2127732"/>
                    <a:gd name="connsiteX264" fmla="*/ 1704777 w 2159179"/>
                    <a:gd name="connsiteY264" fmla="*/ 942982 h 2127732"/>
                    <a:gd name="connsiteX265" fmla="*/ 1705563 w 2159179"/>
                    <a:gd name="connsiteY265" fmla="*/ 934945 h 2127732"/>
                    <a:gd name="connsiteX266" fmla="*/ 1713803 w 2159179"/>
                    <a:gd name="connsiteY266" fmla="*/ 926160 h 2127732"/>
                    <a:gd name="connsiteX267" fmla="*/ 1715983 w 2159179"/>
                    <a:gd name="connsiteY267" fmla="*/ 918440 h 2127732"/>
                    <a:gd name="connsiteX268" fmla="*/ 1726492 w 2159179"/>
                    <a:gd name="connsiteY268" fmla="*/ 918465 h 2127732"/>
                    <a:gd name="connsiteX269" fmla="*/ 1736114 w 2159179"/>
                    <a:gd name="connsiteY269" fmla="*/ 908438 h 2127732"/>
                    <a:gd name="connsiteX270" fmla="*/ 1743479 w 2159179"/>
                    <a:gd name="connsiteY270" fmla="*/ 910264 h 2127732"/>
                    <a:gd name="connsiteX271" fmla="*/ 1748498 w 2159179"/>
                    <a:gd name="connsiteY271" fmla="*/ 907931 h 2127732"/>
                    <a:gd name="connsiteX272" fmla="*/ 1749804 w 2159179"/>
                    <a:gd name="connsiteY272" fmla="*/ 910948 h 2127732"/>
                    <a:gd name="connsiteX273" fmla="*/ 1756611 w 2159179"/>
                    <a:gd name="connsiteY273" fmla="*/ 904509 h 2127732"/>
                    <a:gd name="connsiteX274" fmla="*/ 1761454 w 2159179"/>
                    <a:gd name="connsiteY274" fmla="*/ 900592 h 2127732"/>
                    <a:gd name="connsiteX275" fmla="*/ 1759844 w 2159179"/>
                    <a:gd name="connsiteY275" fmla="*/ 895952 h 2127732"/>
                    <a:gd name="connsiteX276" fmla="*/ 1771342 w 2159179"/>
                    <a:gd name="connsiteY276" fmla="*/ 886635 h 2127732"/>
                    <a:gd name="connsiteX277" fmla="*/ 1778935 w 2159179"/>
                    <a:gd name="connsiteY277" fmla="*/ 869610 h 2127732"/>
                    <a:gd name="connsiteX278" fmla="*/ 1780050 w 2159179"/>
                    <a:gd name="connsiteY278" fmla="*/ 855717 h 2127732"/>
                    <a:gd name="connsiteX279" fmla="*/ 1790889 w 2159179"/>
                    <a:gd name="connsiteY279" fmla="*/ 859811 h 2127732"/>
                    <a:gd name="connsiteX280" fmla="*/ 1776273 w 2159179"/>
                    <a:gd name="connsiteY280" fmla="*/ 836803 h 2127732"/>
                    <a:gd name="connsiteX281" fmla="*/ 1726669 w 2159179"/>
                    <a:gd name="connsiteY281" fmla="*/ 836093 h 2127732"/>
                    <a:gd name="connsiteX282" fmla="*/ 1706248 w 2159179"/>
                    <a:gd name="connsiteY282" fmla="*/ 831352 h 2127732"/>
                    <a:gd name="connsiteX283" fmla="*/ 1682644 w 2159179"/>
                    <a:gd name="connsiteY283" fmla="*/ 835155 h 2127732"/>
                    <a:gd name="connsiteX284" fmla="*/ 1647302 w 2159179"/>
                    <a:gd name="connsiteY284" fmla="*/ 835092 h 2127732"/>
                    <a:gd name="connsiteX285" fmla="*/ 1610147 w 2159179"/>
                    <a:gd name="connsiteY285" fmla="*/ 824355 h 2127732"/>
                    <a:gd name="connsiteX286" fmla="*/ 1600678 w 2159179"/>
                    <a:gd name="connsiteY286" fmla="*/ 816686 h 2127732"/>
                    <a:gd name="connsiteX287" fmla="*/ 1602693 w 2159179"/>
                    <a:gd name="connsiteY287" fmla="*/ 805911 h 2127732"/>
                    <a:gd name="connsiteX288" fmla="*/ 1601020 w 2159179"/>
                    <a:gd name="connsiteY288" fmla="*/ 790445 h 2127732"/>
                    <a:gd name="connsiteX289" fmla="*/ 1600310 w 2159179"/>
                    <a:gd name="connsiteY289" fmla="*/ 772698 h 2127732"/>
                    <a:gd name="connsiteX290" fmla="*/ 1587177 w 2159179"/>
                    <a:gd name="connsiteY290" fmla="*/ 755788 h 2127732"/>
                    <a:gd name="connsiteX291" fmla="*/ 1586416 w 2159179"/>
                    <a:gd name="connsiteY291" fmla="*/ 759210 h 2127732"/>
                    <a:gd name="connsiteX292" fmla="*/ 1583653 w 2159179"/>
                    <a:gd name="connsiteY292" fmla="*/ 761847 h 2127732"/>
                    <a:gd name="connsiteX293" fmla="*/ 1579432 w 2159179"/>
                    <a:gd name="connsiteY293" fmla="*/ 770847 h 2127732"/>
                    <a:gd name="connsiteX294" fmla="*/ 1569379 w 2159179"/>
                    <a:gd name="connsiteY294" fmla="*/ 767894 h 2127732"/>
                    <a:gd name="connsiteX295" fmla="*/ 1549414 w 2159179"/>
                    <a:gd name="connsiteY295" fmla="*/ 743998 h 2127732"/>
                    <a:gd name="connsiteX296" fmla="*/ 1537384 w 2159179"/>
                    <a:gd name="connsiteY296" fmla="*/ 734085 h 2127732"/>
                    <a:gd name="connsiteX297" fmla="*/ 1542365 w 2159179"/>
                    <a:gd name="connsiteY297" fmla="*/ 745304 h 2127732"/>
                    <a:gd name="connsiteX298" fmla="*/ 1544736 w 2159179"/>
                    <a:gd name="connsiteY298" fmla="*/ 749234 h 2127732"/>
                    <a:gd name="connsiteX299" fmla="*/ 1530538 w 2159179"/>
                    <a:gd name="connsiteY299" fmla="*/ 749132 h 2127732"/>
                    <a:gd name="connsiteX300" fmla="*/ 1515593 w 2159179"/>
                    <a:gd name="connsiteY300" fmla="*/ 746952 h 2127732"/>
                    <a:gd name="connsiteX301" fmla="*/ 1496324 w 2159179"/>
                    <a:gd name="connsiteY301" fmla="*/ 719558 h 2127732"/>
                    <a:gd name="connsiteX302" fmla="*/ 1492648 w 2159179"/>
                    <a:gd name="connsiteY302" fmla="*/ 733388 h 2127732"/>
                    <a:gd name="connsiteX303" fmla="*/ 1504628 w 2159179"/>
                    <a:gd name="connsiteY303" fmla="*/ 740931 h 2127732"/>
                    <a:gd name="connsiteX304" fmla="*/ 1493269 w 2159179"/>
                    <a:gd name="connsiteY304" fmla="*/ 745735 h 2127732"/>
                    <a:gd name="connsiteX305" fmla="*/ 1490633 w 2159179"/>
                    <a:gd name="connsiteY305" fmla="*/ 752454 h 2127732"/>
                    <a:gd name="connsiteX306" fmla="*/ 1482367 w 2159179"/>
                    <a:gd name="connsiteY306" fmla="*/ 756117 h 2127732"/>
                    <a:gd name="connsiteX307" fmla="*/ 1474381 w 2159179"/>
                    <a:gd name="connsiteY307" fmla="*/ 780938 h 2127732"/>
                    <a:gd name="connsiteX308" fmla="*/ 1484662 w 2159179"/>
                    <a:gd name="connsiteY308" fmla="*/ 784094 h 2127732"/>
                    <a:gd name="connsiteX309" fmla="*/ 1500216 w 2159179"/>
                    <a:gd name="connsiteY309" fmla="*/ 801740 h 2127732"/>
                    <a:gd name="connsiteX310" fmla="*/ 1522692 w 2159179"/>
                    <a:gd name="connsiteY310" fmla="*/ 806963 h 2127732"/>
                    <a:gd name="connsiteX311" fmla="*/ 1532503 w 2159179"/>
                    <a:gd name="connsiteY311" fmla="*/ 821782 h 2127732"/>
                    <a:gd name="connsiteX312" fmla="*/ 1540578 w 2159179"/>
                    <a:gd name="connsiteY312" fmla="*/ 825217 h 2127732"/>
                    <a:gd name="connsiteX313" fmla="*/ 1536154 w 2159179"/>
                    <a:gd name="connsiteY313" fmla="*/ 833989 h 2127732"/>
                    <a:gd name="connsiteX314" fmla="*/ 1510535 w 2159179"/>
                    <a:gd name="connsiteY314" fmla="*/ 833203 h 2127732"/>
                    <a:gd name="connsiteX315" fmla="*/ 1501763 w 2159179"/>
                    <a:gd name="connsiteY315" fmla="*/ 832062 h 2127732"/>
                    <a:gd name="connsiteX316" fmla="*/ 1496629 w 2159179"/>
                    <a:gd name="connsiteY316" fmla="*/ 848554 h 2127732"/>
                    <a:gd name="connsiteX317" fmla="*/ 1479097 w 2159179"/>
                    <a:gd name="connsiteY317" fmla="*/ 852193 h 2127732"/>
                    <a:gd name="connsiteX318" fmla="*/ 1471415 w 2159179"/>
                    <a:gd name="connsiteY318" fmla="*/ 869686 h 2127732"/>
                    <a:gd name="connsiteX319" fmla="*/ 1478970 w 2159179"/>
                    <a:gd name="connsiteY319" fmla="*/ 887015 h 2127732"/>
                    <a:gd name="connsiteX320" fmla="*/ 1503043 w 2159179"/>
                    <a:gd name="connsiteY320" fmla="*/ 900604 h 2127732"/>
                    <a:gd name="connsiteX321" fmla="*/ 1516252 w 2159179"/>
                    <a:gd name="connsiteY321" fmla="*/ 899755 h 2127732"/>
                    <a:gd name="connsiteX322" fmla="*/ 1518420 w 2159179"/>
                    <a:gd name="connsiteY322" fmla="*/ 912203 h 2127732"/>
                    <a:gd name="connsiteX323" fmla="*/ 1520676 w 2159179"/>
                    <a:gd name="connsiteY323" fmla="*/ 927947 h 2127732"/>
                    <a:gd name="connsiteX324" fmla="*/ 1508912 w 2159179"/>
                    <a:gd name="connsiteY324" fmla="*/ 947229 h 2127732"/>
                    <a:gd name="connsiteX325" fmla="*/ 1521044 w 2159179"/>
                    <a:gd name="connsiteY325" fmla="*/ 966547 h 2127732"/>
                    <a:gd name="connsiteX326" fmla="*/ 1523807 w 2159179"/>
                    <a:gd name="connsiteY326" fmla="*/ 964164 h 2127732"/>
                    <a:gd name="connsiteX327" fmla="*/ 1519852 w 2159179"/>
                    <a:gd name="connsiteY327" fmla="*/ 983724 h 2127732"/>
                    <a:gd name="connsiteX328" fmla="*/ 1538803 w 2159179"/>
                    <a:gd name="connsiteY328" fmla="*/ 987134 h 2127732"/>
                    <a:gd name="connsiteX329" fmla="*/ 1530247 w 2159179"/>
                    <a:gd name="connsiteY329" fmla="*/ 1002105 h 2127732"/>
                    <a:gd name="connsiteX330" fmla="*/ 1537282 w 2159179"/>
                    <a:gd name="connsiteY330" fmla="*/ 1014237 h 2127732"/>
                    <a:gd name="connsiteX331" fmla="*/ 1536306 w 2159179"/>
                    <a:gd name="connsiteY331" fmla="*/ 1027572 h 2127732"/>
                    <a:gd name="connsiteX332" fmla="*/ 1536484 w 2159179"/>
                    <a:gd name="connsiteY332" fmla="*/ 1037840 h 2127732"/>
                    <a:gd name="connsiteX333" fmla="*/ 1545028 w 2159179"/>
                    <a:gd name="connsiteY333" fmla="*/ 1069582 h 2127732"/>
                    <a:gd name="connsiteX334" fmla="*/ 1542492 w 2159179"/>
                    <a:gd name="connsiteY334" fmla="*/ 1087545 h 2127732"/>
                    <a:gd name="connsiteX335" fmla="*/ 1535406 w 2159179"/>
                    <a:gd name="connsiteY335" fmla="*/ 1081219 h 2127732"/>
                    <a:gd name="connsiteX336" fmla="*/ 1544292 w 2159179"/>
                    <a:gd name="connsiteY336" fmla="*/ 1108449 h 2127732"/>
                    <a:gd name="connsiteX337" fmla="*/ 1531337 w 2159179"/>
                    <a:gd name="connsiteY337" fmla="*/ 1098155 h 2127732"/>
                    <a:gd name="connsiteX338" fmla="*/ 1530260 w 2159179"/>
                    <a:gd name="connsiteY338" fmla="*/ 1109285 h 2127732"/>
                    <a:gd name="connsiteX339" fmla="*/ 1527800 w 2159179"/>
                    <a:gd name="connsiteY339" fmla="*/ 1103923 h 2127732"/>
                    <a:gd name="connsiteX340" fmla="*/ 1526317 w 2159179"/>
                    <a:gd name="connsiteY340" fmla="*/ 1113443 h 2127732"/>
                    <a:gd name="connsiteX341" fmla="*/ 1518673 w 2159179"/>
                    <a:gd name="connsiteY341" fmla="*/ 1102377 h 2127732"/>
                    <a:gd name="connsiteX342" fmla="*/ 1523085 w 2159179"/>
                    <a:gd name="connsiteY342" fmla="*/ 1081156 h 2127732"/>
                    <a:gd name="connsiteX343" fmla="*/ 1524289 w 2159179"/>
                    <a:gd name="connsiteY343" fmla="*/ 1070090 h 2127732"/>
                    <a:gd name="connsiteX344" fmla="*/ 1514921 w 2159179"/>
                    <a:gd name="connsiteY344" fmla="*/ 1084553 h 2127732"/>
                    <a:gd name="connsiteX345" fmla="*/ 1518141 w 2159179"/>
                    <a:gd name="connsiteY345" fmla="*/ 1064398 h 2127732"/>
                    <a:gd name="connsiteX346" fmla="*/ 1509597 w 2159179"/>
                    <a:gd name="connsiteY346" fmla="*/ 1098155 h 2127732"/>
                    <a:gd name="connsiteX347" fmla="*/ 1511638 w 2159179"/>
                    <a:gd name="connsiteY347" fmla="*/ 1102884 h 2127732"/>
                    <a:gd name="connsiteX348" fmla="*/ 1507543 w 2159179"/>
                    <a:gd name="connsiteY348" fmla="*/ 1112923 h 2127732"/>
                    <a:gd name="connsiteX349" fmla="*/ 1508114 w 2159179"/>
                    <a:gd name="connsiteY349" fmla="*/ 1116093 h 2127732"/>
                    <a:gd name="connsiteX350" fmla="*/ 1505553 w 2159179"/>
                    <a:gd name="connsiteY350" fmla="*/ 1102351 h 2127732"/>
                    <a:gd name="connsiteX351" fmla="*/ 1504526 w 2159179"/>
                    <a:gd name="connsiteY351" fmla="*/ 1083894 h 2127732"/>
                    <a:gd name="connsiteX352" fmla="*/ 1501395 w 2159179"/>
                    <a:gd name="connsiteY352" fmla="*/ 1100095 h 2127732"/>
                    <a:gd name="connsiteX353" fmla="*/ 1501065 w 2159179"/>
                    <a:gd name="connsiteY353" fmla="*/ 1109463 h 2127732"/>
                    <a:gd name="connsiteX354" fmla="*/ 1496946 w 2159179"/>
                    <a:gd name="connsiteY354" fmla="*/ 1103416 h 2127732"/>
                    <a:gd name="connsiteX355" fmla="*/ 1492382 w 2159179"/>
                    <a:gd name="connsiteY355" fmla="*/ 1101832 h 2127732"/>
                    <a:gd name="connsiteX356" fmla="*/ 1491685 w 2159179"/>
                    <a:gd name="connsiteY356" fmla="*/ 1110553 h 2127732"/>
                    <a:gd name="connsiteX357" fmla="*/ 1487223 w 2159179"/>
                    <a:gd name="connsiteY357" fmla="*/ 1095709 h 2127732"/>
                    <a:gd name="connsiteX358" fmla="*/ 1489517 w 2159179"/>
                    <a:gd name="connsiteY358" fmla="*/ 1113912 h 2127732"/>
                    <a:gd name="connsiteX359" fmla="*/ 1481975 w 2159179"/>
                    <a:gd name="connsiteY359" fmla="*/ 1102985 h 2127732"/>
                    <a:gd name="connsiteX360" fmla="*/ 1479439 w 2159179"/>
                    <a:gd name="connsiteY360" fmla="*/ 1080890 h 2127732"/>
                    <a:gd name="connsiteX361" fmla="*/ 1482925 w 2159179"/>
                    <a:gd name="connsiteY361" fmla="*/ 1068479 h 2127732"/>
                    <a:gd name="connsiteX362" fmla="*/ 1473608 w 2159179"/>
                    <a:gd name="connsiteY362" fmla="*/ 1061609 h 2127732"/>
                    <a:gd name="connsiteX363" fmla="*/ 1461008 w 2159179"/>
                    <a:gd name="connsiteY363" fmla="*/ 1047360 h 2127732"/>
                    <a:gd name="connsiteX364" fmla="*/ 1470971 w 2159179"/>
                    <a:gd name="connsiteY364" fmla="*/ 1064727 h 2127732"/>
                    <a:gd name="connsiteX365" fmla="*/ 1476118 w 2159179"/>
                    <a:gd name="connsiteY365" fmla="*/ 1077467 h 2127732"/>
                    <a:gd name="connsiteX366" fmla="*/ 1471631 w 2159179"/>
                    <a:gd name="connsiteY366" fmla="*/ 1081308 h 2127732"/>
                    <a:gd name="connsiteX367" fmla="*/ 1466180 w 2159179"/>
                    <a:gd name="connsiteY367" fmla="*/ 1092096 h 2127732"/>
                    <a:gd name="connsiteX368" fmla="*/ 1452730 w 2159179"/>
                    <a:gd name="connsiteY368" fmla="*/ 1102478 h 2127732"/>
                    <a:gd name="connsiteX369" fmla="*/ 1399577 w 2159179"/>
                    <a:gd name="connsiteY369" fmla="*/ 1120022 h 2127732"/>
                    <a:gd name="connsiteX370" fmla="*/ 1382337 w 2159179"/>
                    <a:gd name="connsiteY370" fmla="*/ 1149914 h 2127732"/>
                    <a:gd name="connsiteX371" fmla="*/ 1384986 w 2159179"/>
                    <a:gd name="connsiteY371" fmla="*/ 1173973 h 2127732"/>
                    <a:gd name="connsiteX372" fmla="*/ 1389525 w 2159179"/>
                    <a:gd name="connsiteY372" fmla="*/ 1180312 h 2127732"/>
                    <a:gd name="connsiteX373" fmla="*/ 1397156 w 2159179"/>
                    <a:gd name="connsiteY373" fmla="*/ 1180312 h 2127732"/>
                    <a:gd name="connsiteX374" fmla="*/ 1373286 w 2159179"/>
                    <a:gd name="connsiteY374" fmla="*/ 1205563 h 2127732"/>
                    <a:gd name="connsiteX375" fmla="*/ 1378331 w 2159179"/>
                    <a:gd name="connsiteY375" fmla="*/ 1203915 h 2127732"/>
                    <a:gd name="connsiteX376" fmla="*/ 1378889 w 2159179"/>
                    <a:gd name="connsiteY376" fmla="*/ 1200290 h 2127732"/>
                    <a:gd name="connsiteX377" fmla="*/ 1371309 w 2159179"/>
                    <a:gd name="connsiteY377" fmla="*/ 1211281 h 2127732"/>
                    <a:gd name="connsiteX378" fmla="*/ 1375809 w 2159179"/>
                    <a:gd name="connsiteY378" fmla="*/ 1209708 h 2127732"/>
                    <a:gd name="connsiteX379" fmla="*/ 1357542 w 2159179"/>
                    <a:gd name="connsiteY379" fmla="*/ 1218925 h 2127732"/>
                    <a:gd name="connsiteX380" fmla="*/ 1348960 w 2159179"/>
                    <a:gd name="connsiteY380" fmla="*/ 1232235 h 2127732"/>
                    <a:gd name="connsiteX381" fmla="*/ 1351520 w 2159179"/>
                    <a:gd name="connsiteY381" fmla="*/ 1233845 h 2127732"/>
                    <a:gd name="connsiteX382" fmla="*/ 1331289 w 2159179"/>
                    <a:gd name="connsiteY382" fmla="*/ 1222816 h 2127732"/>
                    <a:gd name="connsiteX383" fmla="*/ 1347565 w 2159179"/>
                    <a:gd name="connsiteY383" fmla="*/ 1236456 h 2127732"/>
                    <a:gd name="connsiteX384" fmla="*/ 1292258 w 2159179"/>
                    <a:gd name="connsiteY384" fmla="*/ 1255293 h 2127732"/>
                    <a:gd name="connsiteX385" fmla="*/ 1293272 w 2159179"/>
                    <a:gd name="connsiteY385" fmla="*/ 1254279 h 2127732"/>
                    <a:gd name="connsiteX386" fmla="*/ 1277667 w 2159179"/>
                    <a:gd name="connsiteY386" fmla="*/ 1256396 h 2127732"/>
                    <a:gd name="connsiteX387" fmla="*/ 1284703 w 2159179"/>
                    <a:gd name="connsiteY387" fmla="*/ 1253734 h 2127732"/>
                    <a:gd name="connsiteX388" fmla="*/ 1284183 w 2159179"/>
                    <a:gd name="connsiteY388" fmla="*/ 1255864 h 2127732"/>
                    <a:gd name="connsiteX389" fmla="*/ 1288708 w 2159179"/>
                    <a:gd name="connsiteY389" fmla="*/ 1253214 h 2127732"/>
                    <a:gd name="connsiteX390" fmla="*/ 1282066 w 2159179"/>
                    <a:gd name="connsiteY390" fmla="*/ 1241565 h 2127732"/>
                    <a:gd name="connsiteX391" fmla="*/ 1266651 w 2159179"/>
                    <a:gd name="connsiteY391" fmla="*/ 1250185 h 2127732"/>
                    <a:gd name="connsiteX392" fmla="*/ 1254139 w 2159179"/>
                    <a:gd name="connsiteY392" fmla="*/ 1271469 h 2127732"/>
                    <a:gd name="connsiteX393" fmla="*/ 1255293 w 2159179"/>
                    <a:gd name="connsiteY393" fmla="*/ 1270518 h 2127732"/>
                    <a:gd name="connsiteX394" fmla="*/ 1255293 w 2159179"/>
                    <a:gd name="connsiteY394" fmla="*/ 1273649 h 2127732"/>
                    <a:gd name="connsiteX395" fmla="*/ 1260820 w 2159179"/>
                    <a:gd name="connsiteY395" fmla="*/ 1267856 h 2127732"/>
                    <a:gd name="connsiteX396" fmla="*/ 1263368 w 2159179"/>
                    <a:gd name="connsiteY396" fmla="*/ 1267856 h 2127732"/>
                    <a:gd name="connsiteX397" fmla="*/ 1260376 w 2159179"/>
                    <a:gd name="connsiteY397" fmla="*/ 1265815 h 2127732"/>
                    <a:gd name="connsiteX398" fmla="*/ 1275056 w 2159179"/>
                    <a:gd name="connsiteY398" fmla="*/ 1257423 h 2127732"/>
                    <a:gd name="connsiteX399" fmla="*/ 1270239 w 2159179"/>
                    <a:gd name="connsiteY399" fmla="*/ 1262899 h 2127732"/>
                    <a:gd name="connsiteX400" fmla="*/ 1267424 w 2159179"/>
                    <a:gd name="connsiteY400" fmla="*/ 1264231 h 2127732"/>
                    <a:gd name="connsiteX401" fmla="*/ 1268502 w 2159179"/>
                    <a:gd name="connsiteY401" fmla="*/ 1266322 h 2127732"/>
                    <a:gd name="connsiteX402" fmla="*/ 1288721 w 2159179"/>
                    <a:gd name="connsiteY402" fmla="*/ 1257410 h 2127732"/>
                    <a:gd name="connsiteX403" fmla="*/ 1255344 w 2159179"/>
                    <a:gd name="connsiteY403" fmla="*/ 1277782 h 2127732"/>
                    <a:gd name="connsiteX404" fmla="*/ 1226796 w 2159179"/>
                    <a:gd name="connsiteY404" fmla="*/ 1298837 h 2127732"/>
                    <a:gd name="connsiteX405" fmla="*/ 1226923 w 2159179"/>
                    <a:gd name="connsiteY405" fmla="*/ 1304491 h 2127732"/>
                    <a:gd name="connsiteX406" fmla="*/ 1229826 w 2159179"/>
                    <a:gd name="connsiteY406" fmla="*/ 1302691 h 2127732"/>
                    <a:gd name="connsiteX407" fmla="*/ 1189743 w 2159179"/>
                    <a:gd name="connsiteY407" fmla="*/ 1347325 h 2127732"/>
                    <a:gd name="connsiteX408" fmla="*/ 1198008 w 2159179"/>
                    <a:gd name="connsiteY408" fmla="*/ 1344143 h 2127732"/>
                    <a:gd name="connsiteX409" fmla="*/ 1166709 w 2159179"/>
                    <a:gd name="connsiteY409" fmla="*/ 1370523 h 2127732"/>
                    <a:gd name="connsiteX410" fmla="*/ 1140355 w 2159179"/>
                    <a:gd name="connsiteY410" fmla="*/ 1386432 h 2127732"/>
                    <a:gd name="connsiteX411" fmla="*/ 1131646 w 2159179"/>
                    <a:gd name="connsiteY411" fmla="*/ 1391997 h 2127732"/>
                    <a:gd name="connsiteX412" fmla="*/ 1116130 w 2159179"/>
                    <a:gd name="connsiteY412" fmla="*/ 1408413 h 2127732"/>
                    <a:gd name="connsiteX413" fmla="*/ 1113988 w 2159179"/>
                    <a:gd name="connsiteY413" fmla="*/ 1413839 h 2127732"/>
                    <a:gd name="connsiteX414" fmla="*/ 1115889 w 2159179"/>
                    <a:gd name="connsiteY414" fmla="*/ 1417033 h 2127732"/>
                    <a:gd name="connsiteX415" fmla="*/ 1058122 w 2159179"/>
                    <a:gd name="connsiteY415" fmla="*/ 1447685 h 2127732"/>
                    <a:gd name="connsiteX416" fmla="*/ 1042923 w 2159179"/>
                    <a:gd name="connsiteY416" fmla="*/ 1469337 h 2127732"/>
                    <a:gd name="connsiteX417" fmla="*/ 1050085 w 2159179"/>
                    <a:gd name="connsiteY417" fmla="*/ 1465229 h 2127732"/>
                    <a:gd name="connsiteX418" fmla="*/ 1047449 w 2159179"/>
                    <a:gd name="connsiteY418" fmla="*/ 1491558 h 2127732"/>
                    <a:gd name="connsiteX419" fmla="*/ 1045522 w 2159179"/>
                    <a:gd name="connsiteY419" fmla="*/ 1490050 h 2127732"/>
                    <a:gd name="connsiteX420" fmla="*/ 1047043 w 2159179"/>
                    <a:gd name="connsiteY420" fmla="*/ 1493701 h 2127732"/>
                    <a:gd name="connsiteX421" fmla="*/ 990328 w 2159179"/>
                    <a:gd name="connsiteY421" fmla="*/ 1509293 h 2127732"/>
                    <a:gd name="connsiteX422" fmla="*/ 990987 w 2159179"/>
                    <a:gd name="connsiteY422" fmla="*/ 1510878 h 2127732"/>
                    <a:gd name="connsiteX423" fmla="*/ 981214 w 2159179"/>
                    <a:gd name="connsiteY423" fmla="*/ 1511815 h 2127732"/>
                    <a:gd name="connsiteX424" fmla="*/ 972784 w 2159179"/>
                    <a:gd name="connsiteY424" fmla="*/ 1510408 h 2127732"/>
                    <a:gd name="connsiteX425" fmla="*/ 964443 w 2159179"/>
                    <a:gd name="connsiteY425" fmla="*/ 1527002 h 2127732"/>
                    <a:gd name="connsiteX426" fmla="*/ 961907 w 2159179"/>
                    <a:gd name="connsiteY426" fmla="*/ 1536560 h 2127732"/>
                    <a:gd name="connsiteX427" fmla="*/ 955265 w 2159179"/>
                    <a:gd name="connsiteY427" fmla="*/ 1544445 h 2127732"/>
                    <a:gd name="connsiteX428" fmla="*/ 951310 w 2159179"/>
                    <a:gd name="connsiteY428" fmla="*/ 1554218 h 2127732"/>
                    <a:gd name="connsiteX429" fmla="*/ 942728 w 2159179"/>
                    <a:gd name="connsiteY429" fmla="*/ 1535128 h 2127732"/>
                    <a:gd name="connsiteX430" fmla="*/ 942183 w 2159179"/>
                    <a:gd name="connsiteY430" fmla="*/ 1537181 h 2127732"/>
                    <a:gd name="connsiteX431" fmla="*/ 941169 w 2159179"/>
                    <a:gd name="connsiteY431" fmla="*/ 1536142 h 2127732"/>
                    <a:gd name="connsiteX432" fmla="*/ 936149 w 2159179"/>
                    <a:gd name="connsiteY432" fmla="*/ 1558833 h 2127732"/>
                    <a:gd name="connsiteX433" fmla="*/ 917413 w 2159179"/>
                    <a:gd name="connsiteY433" fmla="*/ 1546435 h 2127732"/>
                    <a:gd name="connsiteX434" fmla="*/ 891958 w 2159179"/>
                    <a:gd name="connsiteY434" fmla="*/ 1572587 h 2127732"/>
                    <a:gd name="connsiteX435" fmla="*/ 881031 w 2159179"/>
                    <a:gd name="connsiteY435" fmla="*/ 1614622 h 2127732"/>
                    <a:gd name="connsiteX436" fmla="*/ 886977 w 2159179"/>
                    <a:gd name="connsiteY436" fmla="*/ 1644957 h 2127732"/>
                    <a:gd name="connsiteX437" fmla="*/ 880232 w 2159179"/>
                    <a:gd name="connsiteY437" fmla="*/ 1673112 h 2127732"/>
                    <a:gd name="connsiteX438" fmla="*/ 885443 w 2159179"/>
                    <a:gd name="connsiteY438" fmla="*/ 1669664 h 2127732"/>
                    <a:gd name="connsiteX439" fmla="*/ 899678 w 2159179"/>
                    <a:gd name="connsiteY439" fmla="*/ 1729700 h 2127732"/>
                    <a:gd name="connsiteX440" fmla="*/ 886989 w 2159179"/>
                    <a:gd name="connsiteY440" fmla="*/ 1708137 h 2127732"/>
                    <a:gd name="connsiteX441" fmla="*/ 886520 w 2159179"/>
                    <a:gd name="connsiteY441" fmla="*/ 1716339 h 2127732"/>
                    <a:gd name="connsiteX442" fmla="*/ 883440 w 2159179"/>
                    <a:gd name="connsiteY442" fmla="*/ 1710672 h 2127732"/>
                    <a:gd name="connsiteX443" fmla="*/ 900667 w 2159179"/>
                    <a:gd name="connsiteY443" fmla="*/ 1730473 h 2127732"/>
                    <a:gd name="connsiteX444" fmla="*/ 899678 w 2159179"/>
                    <a:gd name="connsiteY444" fmla="*/ 1746585 h 2127732"/>
                    <a:gd name="connsiteX445" fmla="*/ 901200 w 2159179"/>
                    <a:gd name="connsiteY445" fmla="*/ 1746116 h 2127732"/>
                    <a:gd name="connsiteX446" fmla="*/ 872361 w 2159179"/>
                    <a:gd name="connsiteY446" fmla="*/ 1821072 h 2127732"/>
                    <a:gd name="connsiteX447" fmla="*/ 876861 w 2159179"/>
                    <a:gd name="connsiteY447" fmla="*/ 1819285 h 2127732"/>
                    <a:gd name="connsiteX448" fmla="*/ 860673 w 2159179"/>
                    <a:gd name="connsiteY448" fmla="*/ 1880081 h 2127732"/>
                    <a:gd name="connsiteX449" fmla="*/ 861192 w 2159179"/>
                    <a:gd name="connsiteY449" fmla="*/ 1878053 h 2127732"/>
                    <a:gd name="connsiteX450" fmla="*/ 852572 w 2159179"/>
                    <a:gd name="connsiteY450" fmla="*/ 1889741 h 2127732"/>
                    <a:gd name="connsiteX451" fmla="*/ 865236 w 2159179"/>
                    <a:gd name="connsiteY451" fmla="*/ 1925983 h 2127732"/>
                    <a:gd name="connsiteX452" fmla="*/ 866035 w 2159179"/>
                    <a:gd name="connsiteY452" fmla="*/ 1962707 h 2127732"/>
                    <a:gd name="connsiteX453" fmla="*/ 847984 w 2159179"/>
                    <a:gd name="connsiteY453" fmla="*/ 1963150 h 2127732"/>
                    <a:gd name="connsiteX454" fmla="*/ 859684 w 2159179"/>
                    <a:gd name="connsiteY454" fmla="*/ 1966725 h 2127732"/>
                    <a:gd name="connsiteX455" fmla="*/ 843357 w 2159179"/>
                    <a:gd name="connsiteY455" fmla="*/ 1962859 h 2127732"/>
                    <a:gd name="connsiteX456" fmla="*/ 847438 w 2159179"/>
                    <a:gd name="connsiteY456" fmla="*/ 1961173 h 2127732"/>
                    <a:gd name="connsiteX457" fmla="*/ 823188 w 2159179"/>
                    <a:gd name="connsiteY457" fmla="*/ 1983484 h 2127732"/>
                    <a:gd name="connsiteX458" fmla="*/ 796263 w 2159179"/>
                    <a:gd name="connsiteY458" fmla="*/ 2026761 h 2127732"/>
                    <a:gd name="connsiteX459" fmla="*/ 824076 w 2159179"/>
                    <a:gd name="connsiteY459" fmla="*/ 2037448 h 2127732"/>
                    <a:gd name="connsiteX460" fmla="*/ 836106 w 2159179"/>
                    <a:gd name="connsiteY460" fmla="*/ 2048540 h 2127732"/>
                    <a:gd name="connsiteX461" fmla="*/ 807520 w 2159179"/>
                    <a:gd name="connsiteY461" fmla="*/ 2040908 h 2127732"/>
                    <a:gd name="connsiteX462" fmla="*/ 788176 w 2159179"/>
                    <a:gd name="connsiteY462" fmla="*/ 2043545 h 2127732"/>
                    <a:gd name="connsiteX463" fmla="*/ 740639 w 2159179"/>
                    <a:gd name="connsiteY463" fmla="*/ 2078596 h 2127732"/>
                    <a:gd name="connsiteX464" fmla="*/ 744176 w 2159179"/>
                    <a:gd name="connsiteY464" fmla="*/ 2076010 h 2127732"/>
                    <a:gd name="connsiteX465" fmla="*/ 737102 w 2159179"/>
                    <a:gd name="connsiteY465" fmla="*/ 2085669 h 2127732"/>
                    <a:gd name="connsiteX466" fmla="*/ 715387 w 2159179"/>
                    <a:gd name="connsiteY466" fmla="*/ 2116778 h 2127732"/>
                    <a:gd name="connsiteX467" fmla="*/ 677789 w 2159179"/>
                    <a:gd name="connsiteY467" fmla="*/ 2124802 h 2127732"/>
                    <a:gd name="connsiteX468" fmla="*/ 648873 w 2159179"/>
                    <a:gd name="connsiteY468" fmla="*/ 2100133 h 2127732"/>
                    <a:gd name="connsiteX469" fmla="*/ 621302 w 2159179"/>
                    <a:gd name="connsiteY469" fmla="*/ 2065945 h 2127732"/>
                    <a:gd name="connsiteX470" fmla="*/ 626664 w 2159179"/>
                    <a:gd name="connsiteY470" fmla="*/ 2065856 h 2127732"/>
                    <a:gd name="connsiteX471" fmla="*/ 629630 w 2159179"/>
                    <a:gd name="connsiteY471" fmla="*/ 2062560 h 2127732"/>
                    <a:gd name="connsiteX472" fmla="*/ 627691 w 2159179"/>
                    <a:gd name="connsiteY472" fmla="*/ 2061305 h 2127732"/>
                    <a:gd name="connsiteX473" fmla="*/ 630188 w 2159179"/>
                    <a:gd name="connsiteY473" fmla="*/ 2059784 h 2127732"/>
                    <a:gd name="connsiteX474" fmla="*/ 622050 w 2159179"/>
                    <a:gd name="connsiteY474" fmla="*/ 2063878 h 2127732"/>
                    <a:gd name="connsiteX475" fmla="*/ 622582 w 2159179"/>
                    <a:gd name="connsiteY475" fmla="*/ 2060734 h 2127732"/>
                    <a:gd name="connsiteX476" fmla="*/ 620554 w 2159179"/>
                    <a:gd name="connsiteY476" fmla="*/ 2064842 h 2127732"/>
                    <a:gd name="connsiteX477" fmla="*/ 614964 w 2159179"/>
                    <a:gd name="connsiteY477" fmla="*/ 2050061 h 2127732"/>
                    <a:gd name="connsiteX478" fmla="*/ 616016 w 2159179"/>
                    <a:gd name="connsiteY478" fmla="*/ 2051683 h 2127732"/>
                    <a:gd name="connsiteX479" fmla="*/ 616459 w 2159179"/>
                    <a:gd name="connsiteY479" fmla="*/ 2047589 h 2127732"/>
                    <a:gd name="connsiteX480" fmla="*/ 614964 w 2159179"/>
                    <a:gd name="connsiteY480" fmla="*/ 2049110 h 2127732"/>
                    <a:gd name="connsiteX481" fmla="*/ 611427 w 2159179"/>
                    <a:gd name="connsiteY481" fmla="*/ 2042011 h 2127732"/>
                    <a:gd name="connsiteX482" fmla="*/ 613950 w 2159179"/>
                    <a:gd name="connsiteY482" fmla="*/ 2049567 h 2127732"/>
                    <a:gd name="connsiteX483" fmla="*/ 602528 w 2159179"/>
                    <a:gd name="connsiteY483" fmla="*/ 2014985 h 2127732"/>
                    <a:gd name="connsiteX484" fmla="*/ 599359 w 2159179"/>
                    <a:gd name="connsiteY484" fmla="*/ 1988871 h 2127732"/>
                    <a:gd name="connsiteX485" fmla="*/ 602274 w 2159179"/>
                    <a:gd name="connsiteY485" fmla="*/ 1992915 h 2127732"/>
                    <a:gd name="connsiteX486" fmla="*/ 599752 w 2159179"/>
                    <a:gd name="connsiteY486" fmla="*/ 1992915 h 2127732"/>
                    <a:gd name="connsiteX487" fmla="*/ 601780 w 2159179"/>
                    <a:gd name="connsiteY487" fmla="*/ 1994208 h 2127732"/>
                    <a:gd name="connsiteX488" fmla="*/ 601527 w 2159179"/>
                    <a:gd name="connsiteY488" fmla="*/ 1997795 h 2127732"/>
                    <a:gd name="connsiteX489" fmla="*/ 603593 w 2159179"/>
                    <a:gd name="connsiteY489" fmla="*/ 1995083 h 2127732"/>
                    <a:gd name="connsiteX490" fmla="*/ 606369 w 2159179"/>
                    <a:gd name="connsiteY490" fmla="*/ 2008431 h 2127732"/>
                    <a:gd name="connsiteX491" fmla="*/ 605355 w 2159179"/>
                    <a:gd name="connsiteY491" fmla="*/ 1995729 h 2127732"/>
                    <a:gd name="connsiteX492" fmla="*/ 609551 w 2159179"/>
                    <a:gd name="connsiteY492" fmla="*/ 2011638 h 2127732"/>
                    <a:gd name="connsiteX493" fmla="*/ 608600 w 2159179"/>
                    <a:gd name="connsiteY493" fmla="*/ 2022172 h 2127732"/>
                    <a:gd name="connsiteX494" fmla="*/ 617968 w 2159179"/>
                    <a:gd name="connsiteY494" fmla="*/ 2020651 h 2127732"/>
                    <a:gd name="connsiteX495" fmla="*/ 602503 w 2159179"/>
                    <a:gd name="connsiteY495" fmla="*/ 1989746 h 2127732"/>
                    <a:gd name="connsiteX496" fmla="*/ 596684 w 2159179"/>
                    <a:gd name="connsiteY496" fmla="*/ 1975853 h 2127732"/>
                    <a:gd name="connsiteX497" fmla="*/ 598712 w 2159179"/>
                    <a:gd name="connsiteY497" fmla="*/ 1987033 h 2127732"/>
                    <a:gd name="connsiteX498" fmla="*/ 598522 w 2159179"/>
                    <a:gd name="connsiteY498" fmla="*/ 1968361 h 2127732"/>
                    <a:gd name="connsiteX499" fmla="*/ 595163 w 2159179"/>
                    <a:gd name="connsiteY499" fmla="*/ 1966180 h 2127732"/>
                    <a:gd name="connsiteX500" fmla="*/ 585250 w 2159179"/>
                    <a:gd name="connsiteY500" fmla="*/ 1950385 h 2127732"/>
                    <a:gd name="connsiteX501" fmla="*/ 576452 w 2159179"/>
                    <a:gd name="connsiteY501" fmla="*/ 1926946 h 2127732"/>
                    <a:gd name="connsiteX502" fmla="*/ 565094 w 2159179"/>
                    <a:gd name="connsiteY502" fmla="*/ 1896599 h 2127732"/>
                    <a:gd name="connsiteX503" fmla="*/ 557222 w 2159179"/>
                    <a:gd name="connsiteY503" fmla="*/ 1878827 h 2127732"/>
                    <a:gd name="connsiteX504" fmla="*/ 551670 w 2159179"/>
                    <a:gd name="connsiteY504" fmla="*/ 1874149 h 2127732"/>
                    <a:gd name="connsiteX505" fmla="*/ 546384 w 2159179"/>
                    <a:gd name="connsiteY505" fmla="*/ 1860889 h 2127732"/>
                    <a:gd name="connsiteX506" fmla="*/ 529575 w 2159179"/>
                    <a:gd name="connsiteY506" fmla="*/ 1842356 h 2127732"/>
                    <a:gd name="connsiteX507" fmla="*/ 536433 w 2159179"/>
                    <a:gd name="connsiteY507" fmla="*/ 1843243 h 2127732"/>
                    <a:gd name="connsiteX508" fmla="*/ 535925 w 2159179"/>
                    <a:gd name="connsiteY508" fmla="*/ 1839174 h 2127732"/>
                    <a:gd name="connsiteX509" fmla="*/ 527635 w 2159179"/>
                    <a:gd name="connsiteY509" fmla="*/ 1836512 h 2127732"/>
                    <a:gd name="connsiteX510" fmla="*/ 531235 w 2159179"/>
                    <a:gd name="connsiteY510" fmla="*/ 1836360 h 2127732"/>
                    <a:gd name="connsiteX511" fmla="*/ 527305 w 2159179"/>
                    <a:gd name="connsiteY511" fmla="*/ 1839732 h 2127732"/>
                    <a:gd name="connsiteX512" fmla="*/ 522273 w 2159179"/>
                    <a:gd name="connsiteY512" fmla="*/ 1836664 h 2127732"/>
                    <a:gd name="connsiteX513" fmla="*/ 517190 w 2159179"/>
                    <a:gd name="connsiteY513" fmla="*/ 1818752 h 2127732"/>
                    <a:gd name="connsiteX514" fmla="*/ 514642 w 2159179"/>
                    <a:gd name="connsiteY514" fmla="*/ 1820793 h 2127732"/>
                    <a:gd name="connsiteX515" fmla="*/ 493916 w 2159179"/>
                    <a:gd name="connsiteY515" fmla="*/ 1774714 h 2127732"/>
                    <a:gd name="connsiteX516" fmla="*/ 502498 w 2159179"/>
                    <a:gd name="connsiteY516" fmla="*/ 1771710 h 2127732"/>
                    <a:gd name="connsiteX517" fmla="*/ 489174 w 2159179"/>
                    <a:gd name="connsiteY517" fmla="*/ 1751453 h 2127732"/>
                    <a:gd name="connsiteX518" fmla="*/ 483267 w 2159179"/>
                    <a:gd name="connsiteY518" fmla="*/ 1727595 h 2127732"/>
                    <a:gd name="connsiteX519" fmla="*/ 485308 w 2159179"/>
                    <a:gd name="connsiteY519" fmla="*/ 1731728 h 2127732"/>
                    <a:gd name="connsiteX520" fmla="*/ 482228 w 2159179"/>
                    <a:gd name="connsiteY520" fmla="*/ 1715287 h 2127732"/>
                    <a:gd name="connsiteX521" fmla="*/ 487336 w 2159179"/>
                    <a:gd name="connsiteY521" fmla="*/ 1713702 h 2127732"/>
                    <a:gd name="connsiteX522" fmla="*/ 483800 w 2159179"/>
                    <a:gd name="connsiteY522" fmla="*/ 1709379 h 2127732"/>
                    <a:gd name="connsiteX523" fmla="*/ 481771 w 2159179"/>
                    <a:gd name="connsiteY523" fmla="*/ 1713246 h 2127732"/>
                    <a:gd name="connsiteX524" fmla="*/ 464962 w 2159179"/>
                    <a:gd name="connsiteY524" fmla="*/ 1668016 h 2127732"/>
                    <a:gd name="connsiteX525" fmla="*/ 470553 w 2159179"/>
                    <a:gd name="connsiteY525" fmla="*/ 1669005 h 2127732"/>
                    <a:gd name="connsiteX526" fmla="*/ 458941 w 2159179"/>
                    <a:gd name="connsiteY526" fmla="*/ 1647987 h 2127732"/>
                    <a:gd name="connsiteX527" fmla="*/ 463023 w 2159179"/>
                    <a:gd name="connsiteY527" fmla="*/ 1653108 h 2127732"/>
                    <a:gd name="connsiteX528" fmla="*/ 464544 w 2159179"/>
                    <a:gd name="connsiteY528" fmla="*/ 1652031 h 2127732"/>
                    <a:gd name="connsiteX529" fmla="*/ 459461 w 2159179"/>
                    <a:gd name="connsiteY529" fmla="*/ 1644907 h 2127732"/>
                    <a:gd name="connsiteX530" fmla="*/ 458003 w 2159179"/>
                    <a:gd name="connsiteY530" fmla="*/ 1642295 h 2127732"/>
                    <a:gd name="connsiteX531" fmla="*/ 447304 w 2159179"/>
                    <a:gd name="connsiteY531" fmla="*/ 1634055 h 2127732"/>
                    <a:gd name="connsiteX532" fmla="*/ 439673 w 2159179"/>
                    <a:gd name="connsiteY532" fmla="*/ 1626855 h 2127732"/>
                    <a:gd name="connsiteX533" fmla="*/ 450169 w 2159179"/>
                    <a:gd name="connsiteY533" fmla="*/ 1622887 h 2127732"/>
                    <a:gd name="connsiteX534" fmla="*/ 448318 w 2159179"/>
                    <a:gd name="connsiteY534" fmla="*/ 1620137 h 2127732"/>
                    <a:gd name="connsiteX535" fmla="*/ 426502 w 2159179"/>
                    <a:gd name="connsiteY535" fmla="*/ 1606763 h 2127732"/>
                    <a:gd name="connsiteX536" fmla="*/ 416868 w 2159179"/>
                    <a:gd name="connsiteY536" fmla="*/ 1582006 h 2127732"/>
                    <a:gd name="connsiteX537" fmla="*/ 429544 w 2159179"/>
                    <a:gd name="connsiteY537" fmla="*/ 1585137 h 2127732"/>
                    <a:gd name="connsiteX538" fmla="*/ 430571 w 2159179"/>
                    <a:gd name="connsiteY538" fmla="*/ 1584604 h 2127732"/>
                    <a:gd name="connsiteX539" fmla="*/ 417894 w 2159179"/>
                    <a:gd name="connsiteY539" fmla="*/ 1578925 h 2127732"/>
                    <a:gd name="connsiteX540" fmla="*/ 423497 w 2159179"/>
                    <a:gd name="connsiteY540" fmla="*/ 1574260 h 2127732"/>
                    <a:gd name="connsiteX541" fmla="*/ 423028 w 2159179"/>
                    <a:gd name="connsiteY541" fmla="*/ 1572245 h 2127732"/>
                    <a:gd name="connsiteX542" fmla="*/ 420987 w 2159179"/>
                    <a:gd name="connsiteY542" fmla="*/ 1562953 h 2127732"/>
                    <a:gd name="connsiteX543" fmla="*/ 410821 w 2159179"/>
                    <a:gd name="connsiteY543" fmla="*/ 1558275 h 2127732"/>
                    <a:gd name="connsiteX544" fmla="*/ 397156 w 2159179"/>
                    <a:gd name="connsiteY544" fmla="*/ 1535533 h 2127732"/>
                    <a:gd name="connsiteX545" fmla="*/ 395102 w 2159179"/>
                    <a:gd name="connsiteY545" fmla="*/ 1523148 h 2127732"/>
                    <a:gd name="connsiteX546" fmla="*/ 392072 w 2159179"/>
                    <a:gd name="connsiteY546" fmla="*/ 1528853 h 2127732"/>
                    <a:gd name="connsiteX547" fmla="*/ 387458 w 2159179"/>
                    <a:gd name="connsiteY547" fmla="*/ 1507100 h 2127732"/>
                    <a:gd name="connsiteX548" fmla="*/ 381741 w 2159179"/>
                    <a:gd name="connsiteY548" fmla="*/ 1494905 h 2127732"/>
                    <a:gd name="connsiteX549" fmla="*/ 387014 w 2159179"/>
                    <a:gd name="connsiteY549" fmla="*/ 1498303 h 2127732"/>
                    <a:gd name="connsiteX550" fmla="*/ 386444 w 2159179"/>
                    <a:gd name="connsiteY550" fmla="*/ 1495222 h 2127732"/>
                    <a:gd name="connsiteX551" fmla="*/ 385493 w 2159179"/>
                    <a:gd name="connsiteY551" fmla="*/ 1490557 h 2127732"/>
                    <a:gd name="connsiteX552" fmla="*/ 385861 w 2159179"/>
                    <a:gd name="connsiteY552" fmla="*/ 1492357 h 2127732"/>
                    <a:gd name="connsiteX553" fmla="*/ 382907 w 2159179"/>
                    <a:gd name="connsiteY553" fmla="*/ 1490557 h 2127732"/>
                    <a:gd name="connsiteX554" fmla="*/ 377596 w 2159179"/>
                    <a:gd name="connsiteY554" fmla="*/ 1458650 h 2127732"/>
                    <a:gd name="connsiteX555" fmla="*/ 372842 w 2159179"/>
                    <a:gd name="connsiteY555" fmla="*/ 1438710 h 2127732"/>
                    <a:gd name="connsiteX556" fmla="*/ 377406 w 2159179"/>
                    <a:gd name="connsiteY556" fmla="*/ 1440294 h 2127732"/>
                    <a:gd name="connsiteX557" fmla="*/ 373831 w 2159179"/>
                    <a:gd name="connsiteY557" fmla="*/ 1417451 h 2127732"/>
                    <a:gd name="connsiteX558" fmla="*/ 361649 w 2159179"/>
                    <a:gd name="connsiteY558" fmla="*/ 1386698 h 2127732"/>
                    <a:gd name="connsiteX559" fmla="*/ 362232 w 2159179"/>
                    <a:gd name="connsiteY559" fmla="*/ 1381006 h 2127732"/>
                    <a:gd name="connsiteX560" fmla="*/ 359671 w 2159179"/>
                    <a:gd name="connsiteY560" fmla="*/ 1383124 h 2127732"/>
                    <a:gd name="connsiteX561" fmla="*/ 353612 w 2159179"/>
                    <a:gd name="connsiteY561" fmla="*/ 1369065 h 2127732"/>
                    <a:gd name="connsiteX562" fmla="*/ 354588 w 2159179"/>
                    <a:gd name="connsiteY562" fmla="*/ 1364362 h 2127732"/>
                    <a:gd name="connsiteX563" fmla="*/ 362536 w 2159179"/>
                    <a:gd name="connsiteY563" fmla="*/ 1371740 h 2127732"/>
                    <a:gd name="connsiteX564" fmla="*/ 352724 w 2159179"/>
                    <a:gd name="connsiteY564" fmla="*/ 1358835 h 2127732"/>
                    <a:gd name="connsiteX565" fmla="*/ 359671 w 2159179"/>
                    <a:gd name="connsiteY565" fmla="*/ 1351851 h 2127732"/>
                    <a:gd name="connsiteX566" fmla="*/ 360115 w 2159179"/>
                    <a:gd name="connsiteY566" fmla="*/ 1350367 h 2127732"/>
                    <a:gd name="connsiteX567" fmla="*/ 353612 w 2159179"/>
                    <a:gd name="connsiteY567" fmla="*/ 1323227 h 2127732"/>
                    <a:gd name="connsiteX568" fmla="*/ 358644 w 2159179"/>
                    <a:gd name="connsiteY568" fmla="*/ 1330503 h 2127732"/>
                    <a:gd name="connsiteX569" fmla="*/ 360216 w 2159179"/>
                    <a:gd name="connsiteY569" fmla="*/ 1324216 h 2127732"/>
                    <a:gd name="connsiteX570" fmla="*/ 357351 w 2159179"/>
                    <a:gd name="connsiteY570" fmla="*/ 1319551 h 2127732"/>
                    <a:gd name="connsiteX571" fmla="*/ 358150 w 2159179"/>
                    <a:gd name="connsiteY571" fmla="*/ 1312731 h 2127732"/>
                    <a:gd name="connsiteX572" fmla="*/ 355564 w 2159179"/>
                    <a:gd name="connsiteY572" fmla="*/ 1312198 h 2127732"/>
                    <a:gd name="connsiteX573" fmla="*/ 363195 w 2159179"/>
                    <a:gd name="connsiteY573" fmla="*/ 1308839 h 2127732"/>
                    <a:gd name="connsiteX574" fmla="*/ 358163 w 2159179"/>
                    <a:gd name="connsiteY574" fmla="*/ 1310107 h 2127732"/>
                    <a:gd name="connsiteX575" fmla="*/ 357161 w 2159179"/>
                    <a:gd name="connsiteY575" fmla="*/ 1297582 h 2127732"/>
                    <a:gd name="connsiteX576" fmla="*/ 350988 w 2159179"/>
                    <a:gd name="connsiteY576" fmla="*/ 1310652 h 2127732"/>
                    <a:gd name="connsiteX577" fmla="*/ 350531 w 2159179"/>
                    <a:gd name="connsiteY577" fmla="*/ 1308041 h 2127732"/>
                    <a:gd name="connsiteX578" fmla="*/ 345156 w 2159179"/>
                    <a:gd name="connsiteY578" fmla="*/ 1317814 h 2127732"/>
                    <a:gd name="connsiteX579" fmla="*/ 344447 w 2159179"/>
                    <a:gd name="connsiteY579" fmla="*/ 1313238 h 2127732"/>
                    <a:gd name="connsiteX580" fmla="*/ 342406 w 2159179"/>
                    <a:gd name="connsiteY580" fmla="*/ 1314848 h 2127732"/>
                    <a:gd name="connsiteX581" fmla="*/ 344447 w 2159179"/>
                    <a:gd name="connsiteY581" fmla="*/ 1306938 h 2127732"/>
                    <a:gd name="connsiteX582" fmla="*/ 345562 w 2159179"/>
                    <a:gd name="connsiteY582" fmla="*/ 1296632 h 2127732"/>
                    <a:gd name="connsiteX583" fmla="*/ 343103 w 2159179"/>
                    <a:gd name="connsiteY583" fmla="*/ 1298533 h 2127732"/>
                    <a:gd name="connsiteX584" fmla="*/ 346462 w 2159179"/>
                    <a:gd name="connsiteY584" fmla="*/ 1290762 h 2127732"/>
                    <a:gd name="connsiteX585" fmla="*/ 342418 w 2159179"/>
                    <a:gd name="connsiteY585" fmla="*/ 1294400 h 2127732"/>
                    <a:gd name="connsiteX586" fmla="*/ 360989 w 2159179"/>
                    <a:gd name="connsiteY586" fmla="*/ 1294337 h 2127732"/>
                    <a:gd name="connsiteX587" fmla="*/ 362701 w 2159179"/>
                    <a:gd name="connsiteY587" fmla="*/ 1293399 h 2127732"/>
                    <a:gd name="connsiteX588" fmla="*/ 346982 w 2159179"/>
                    <a:gd name="connsiteY588" fmla="*/ 1283461 h 2127732"/>
                    <a:gd name="connsiteX589" fmla="*/ 350100 w 2159179"/>
                    <a:gd name="connsiteY589" fmla="*/ 1269390 h 2127732"/>
                    <a:gd name="connsiteX590" fmla="*/ 339414 w 2159179"/>
                    <a:gd name="connsiteY590" fmla="*/ 1265701 h 2127732"/>
                    <a:gd name="connsiteX591" fmla="*/ 340491 w 2159179"/>
                    <a:gd name="connsiteY591" fmla="*/ 1270911 h 2127732"/>
                    <a:gd name="connsiteX592" fmla="*/ 335865 w 2159179"/>
                    <a:gd name="connsiteY592" fmla="*/ 1254698 h 2127732"/>
                    <a:gd name="connsiteX593" fmla="*/ 338806 w 2159179"/>
                    <a:gd name="connsiteY593" fmla="*/ 1256168 h 2127732"/>
                    <a:gd name="connsiteX594" fmla="*/ 338920 w 2159179"/>
                    <a:gd name="connsiteY594" fmla="*/ 1249450 h 2127732"/>
                    <a:gd name="connsiteX595" fmla="*/ 335218 w 2159179"/>
                    <a:gd name="connsiteY595" fmla="*/ 1253050 h 2127732"/>
                    <a:gd name="connsiteX596" fmla="*/ 340314 w 2159179"/>
                    <a:gd name="connsiteY596" fmla="*/ 1212840 h 2127732"/>
                    <a:gd name="connsiteX597" fmla="*/ 350088 w 2159179"/>
                    <a:gd name="connsiteY597" fmla="*/ 1194433 h 2127732"/>
                    <a:gd name="connsiteX598" fmla="*/ 355095 w 2159179"/>
                    <a:gd name="connsiteY598" fmla="*/ 1175482 h 2127732"/>
                    <a:gd name="connsiteX599" fmla="*/ 353079 w 2159179"/>
                    <a:gd name="connsiteY599" fmla="*/ 1170728 h 2127732"/>
                    <a:gd name="connsiteX600" fmla="*/ 351647 w 2159179"/>
                    <a:gd name="connsiteY600" fmla="*/ 1167141 h 2127732"/>
                    <a:gd name="connsiteX601" fmla="*/ 346957 w 2159179"/>
                    <a:gd name="connsiteY601" fmla="*/ 1169625 h 2127732"/>
                    <a:gd name="connsiteX602" fmla="*/ 350760 w 2159179"/>
                    <a:gd name="connsiteY602" fmla="*/ 1158356 h 2127732"/>
                    <a:gd name="connsiteX603" fmla="*/ 341785 w 2159179"/>
                    <a:gd name="connsiteY603" fmla="*/ 1154059 h 2127732"/>
                    <a:gd name="connsiteX604" fmla="*/ 339946 w 2159179"/>
                    <a:gd name="connsiteY604" fmla="*/ 1147556 h 2127732"/>
                    <a:gd name="connsiteX605" fmla="*/ 336866 w 2159179"/>
                    <a:gd name="connsiteY605" fmla="*/ 1151270 h 2127732"/>
                    <a:gd name="connsiteX606" fmla="*/ 334534 w 2159179"/>
                    <a:gd name="connsiteY606" fmla="*/ 1149432 h 2127732"/>
                    <a:gd name="connsiteX607" fmla="*/ 330591 w 2159179"/>
                    <a:gd name="connsiteY607" fmla="*/ 1147797 h 2127732"/>
                    <a:gd name="connsiteX608" fmla="*/ 339389 w 2159179"/>
                    <a:gd name="connsiteY608" fmla="*/ 1141737 h 2127732"/>
                    <a:gd name="connsiteX609" fmla="*/ 332810 w 2159179"/>
                    <a:gd name="connsiteY609" fmla="*/ 1135995 h 2127732"/>
                    <a:gd name="connsiteX610" fmla="*/ 332810 w 2159179"/>
                    <a:gd name="connsiteY610" fmla="*/ 1129124 h 2127732"/>
                    <a:gd name="connsiteX611" fmla="*/ 326826 w 2159179"/>
                    <a:gd name="connsiteY611" fmla="*/ 1127349 h 2127732"/>
                    <a:gd name="connsiteX612" fmla="*/ 340732 w 2159179"/>
                    <a:gd name="connsiteY612" fmla="*/ 1121366 h 2127732"/>
                    <a:gd name="connsiteX613" fmla="*/ 328246 w 2159179"/>
                    <a:gd name="connsiteY613" fmla="*/ 1124915 h 2127732"/>
                    <a:gd name="connsiteX614" fmla="*/ 345942 w 2159179"/>
                    <a:gd name="connsiteY614" fmla="*/ 1107473 h 2127732"/>
                    <a:gd name="connsiteX615" fmla="*/ 368342 w 2159179"/>
                    <a:gd name="connsiteY615" fmla="*/ 1098003 h 2127732"/>
                    <a:gd name="connsiteX616" fmla="*/ 333786 w 2159179"/>
                    <a:gd name="connsiteY616" fmla="*/ 1104684 h 2127732"/>
                    <a:gd name="connsiteX617" fmla="*/ 326687 w 2159179"/>
                    <a:gd name="connsiteY617" fmla="*/ 1092438 h 2127732"/>
                    <a:gd name="connsiteX618" fmla="*/ 339401 w 2159179"/>
                    <a:gd name="connsiteY618" fmla="*/ 1080484 h 2127732"/>
                    <a:gd name="connsiteX619" fmla="*/ 324899 w 2159179"/>
                    <a:gd name="connsiteY619" fmla="*/ 1086556 h 2127732"/>
                    <a:gd name="connsiteX620" fmla="*/ 325166 w 2159179"/>
                    <a:gd name="connsiteY620" fmla="*/ 1067947 h 2127732"/>
                    <a:gd name="connsiteX621" fmla="*/ 339021 w 2159179"/>
                    <a:gd name="connsiteY621" fmla="*/ 1066337 h 2127732"/>
                    <a:gd name="connsiteX622" fmla="*/ 352040 w 2159179"/>
                    <a:gd name="connsiteY622" fmla="*/ 1058300 h 2127732"/>
                    <a:gd name="connsiteX623" fmla="*/ 331276 w 2159179"/>
                    <a:gd name="connsiteY623" fmla="*/ 1059074 h 2127732"/>
                    <a:gd name="connsiteX624" fmla="*/ 319385 w 2159179"/>
                    <a:gd name="connsiteY624" fmla="*/ 1059657 h 2127732"/>
                    <a:gd name="connsiteX625" fmla="*/ 314441 w 2159179"/>
                    <a:gd name="connsiteY625" fmla="*/ 1051708 h 2127732"/>
                    <a:gd name="connsiteX626" fmla="*/ 307545 w 2159179"/>
                    <a:gd name="connsiteY626" fmla="*/ 1060088 h 2127732"/>
                    <a:gd name="connsiteX627" fmla="*/ 300345 w 2159179"/>
                    <a:gd name="connsiteY627" fmla="*/ 1058896 h 2127732"/>
                    <a:gd name="connsiteX628" fmla="*/ 296086 w 2159179"/>
                    <a:gd name="connsiteY628" fmla="*/ 1058592 h 2127732"/>
                    <a:gd name="connsiteX629" fmla="*/ 302868 w 2159179"/>
                    <a:gd name="connsiteY629" fmla="*/ 1057781 h 2127732"/>
                    <a:gd name="connsiteX630" fmla="*/ 306354 w 2159179"/>
                    <a:gd name="connsiteY630" fmla="*/ 1076288 h 2127732"/>
                    <a:gd name="connsiteX631" fmla="*/ 297176 w 2159179"/>
                    <a:gd name="connsiteY631" fmla="*/ 1082107 h 2127732"/>
                    <a:gd name="connsiteX632" fmla="*/ 292257 w 2159179"/>
                    <a:gd name="connsiteY632" fmla="*/ 1079496 h 2127732"/>
                    <a:gd name="connsiteX633" fmla="*/ 294311 w 2159179"/>
                    <a:gd name="connsiteY633" fmla="*/ 1082170 h 2127732"/>
                    <a:gd name="connsiteX634" fmla="*/ 290736 w 2159179"/>
                    <a:gd name="connsiteY634" fmla="*/ 1081587 h 2127732"/>
                    <a:gd name="connsiteX635" fmla="*/ 292625 w 2159179"/>
                    <a:gd name="connsiteY635" fmla="*/ 1084287 h 2127732"/>
                    <a:gd name="connsiteX636" fmla="*/ 287199 w 2159179"/>
                    <a:gd name="connsiteY636" fmla="*/ 1084744 h 2127732"/>
                    <a:gd name="connsiteX637" fmla="*/ 296656 w 2159179"/>
                    <a:gd name="connsiteY637" fmla="*/ 1085758 h 2127732"/>
                    <a:gd name="connsiteX638" fmla="*/ 297620 w 2159179"/>
                    <a:gd name="connsiteY638" fmla="*/ 1092273 h 2127732"/>
                    <a:gd name="connsiteX639" fmla="*/ 289367 w 2159179"/>
                    <a:gd name="connsiteY639" fmla="*/ 1087849 h 2127732"/>
                    <a:gd name="connsiteX640" fmla="*/ 288746 w 2159179"/>
                    <a:gd name="connsiteY640" fmla="*/ 1089256 h 2127732"/>
                    <a:gd name="connsiteX641" fmla="*/ 292828 w 2159179"/>
                    <a:gd name="connsiteY641" fmla="*/ 1092692 h 2127732"/>
                    <a:gd name="connsiteX642" fmla="*/ 285184 w 2159179"/>
                    <a:gd name="connsiteY642" fmla="*/ 1096381 h 2127732"/>
                    <a:gd name="connsiteX643" fmla="*/ 286718 w 2159179"/>
                    <a:gd name="connsiteY643" fmla="*/ 1095366 h 2127732"/>
                    <a:gd name="connsiteX644" fmla="*/ 286718 w 2159179"/>
                    <a:gd name="connsiteY644" fmla="*/ 1097420 h 2127732"/>
                    <a:gd name="connsiteX645" fmla="*/ 304541 w 2159179"/>
                    <a:gd name="connsiteY645" fmla="*/ 1103758 h 2127732"/>
                    <a:gd name="connsiteX646" fmla="*/ 295667 w 2159179"/>
                    <a:gd name="connsiteY646" fmla="*/ 1130062 h 2127732"/>
                    <a:gd name="connsiteX647" fmla="*/ 285590 w 2159179"/>
                    <a:gd name="connsiteY647" fmla="*/ 1145920 h 2127732"/>
                    <a:gd name="connsiteX648" fmla="*/ 251794 w 2159179"/>
                    <a:gd name="connsiteY648" fmla="*/ 1160739 h 2127732"/>
                    <a:gd name="connsiteX649" fmla="*/ 253264 w 2159179"/>
                    <a:gd name="connsiteY649" fmla="*/ 1158610 h 2127732"/>
                    <a:gd name="connsiteX650" fmla="*/ 230104 w 2159179"/>
                    <a:gd name="connsiteY650" fmla="*/ 1170843 h 2127732"/>
                    <a:gd name="connsiteX651" fmla="*/ 211254 w 2159179"/>
                    <a:gd name="connsiteY651" fmla="*/ 1178322 h 2127732"/>
                    <a:gd name="connsiteX652" fmla="*/ 169346 w 2159179"/>
                    <a:gd name="connsiteY652" fmla="*/ 1166748 h 2127732"/>
                    <a:gd name="connsiteX653" fmla="*/ 123558 w 2159179"/>
                    <a:gd name="connsiteY653" fmla="*/ 1123673 h 2127732"/>
                    <a:gd name="connsiteX654" fmla="*/ 92222 w 2159179"/>
                    <a:gd name="connsiteY654" fmla="*/ 1089535 h 2127732"/>
                    <a:gd name="connsiteX655" fmla="*/ 69315 w 2159179"/>
                    <a:gd name="connsiteY655" fmla="*/ 1042924 h 2127732"/>
                    <a:gd name="connsiteX656" fmla="*/ 73651 w 2159179"/>
                    <a:gd name="connsiteY656" fmla="*/ 1048590 h 2127732"/>
                    <a:gd name="connsiteX657" fmla="*/ 78518 w 2159179"/>
                    <a:gd name="connsiteY657" fmla="*/ 1049237 h 2127732"/>
                    <a:gd name="connsiteX658" fmla="*/ 76478 w 2159179"/>
                    <a:gd name="connsiteY658" fmla="*/ 1056538 h 2127732"/>
                    <a:gd name="connsiteX659" fmla="*/ 101463 w 2159179"/>
                    <a:gd name="connsiteY659" fmla="*/ 1045421 h 2127732"/>
                    <a:gd name="connsiteX660" fmla="*/ 117524 w 2159179"/>
                    <a:gd name="connsiteY660" fmla="*/ 1042962 h 2127732"/>
                    <a:gd name="connsiteX661" fmla="*/ 129453 w 2159179"/>
                    <a:gd name="connsiteY661" fmla="*/ 1043012 h 2127732"/>
                    <a:gd name="connsiteX662" fmla="*/ 136932 w 2159179"/>
                    <a:gd name="connsiteY662" fmla="*/ 1038259 h 2127732"/>
                    <a:gd name="connsiteX663" fmla="*/ 146287 w 2159179"/>
                    <a:gd name="connsiteY663" fmla="*/ 1037536 h 2127732"/>
                    <a:gd name="connsiteX664" fmla="*/ 161081 w 2159179"/>
                    <a:gd name="connsiteY664" fmla="*/ 1018217 h 2127732"/>
                    <a:gd name="connsiteX665" fmla="*/ 172299 w 2159179"/>
                    <a:gd name="connsiteY665" fmla="*/ 1005490 h 2127732"/>
                    <a:gd name="connsiteX666" fmla="*/ 174404 w 2159179"/>
                    <a:gd name="connsiteY666" fmla="*/ 994639 h 2127732"/>
                    <a:gd name="connsiteX667" fmla="*/ 166950 w 2159179"/>
                    <a:gd name="connsiteY667" fmla="*/ 1002777 h 2127732"/>
                    <a:gd name="connsiteX668" fmla="*/ 154489 w 2159179"/>
                    <a:gd name="connsiteY668" fmla="*/ 1002726 h 2127732"/>
                    <a:gd name="connsiteX669" fmla="*/ 146934 w 2159179"/>
                    <a:gd name="connsiteY669" fmla="*/ 1003208 h 2127732"/>
                    <a:gd name="connsiteX670" fmla="*/ 147276 w 2159179"/>
                    <a:gd name="connsiteY670" fmla="*/ 1008152 h 2127732"/>
                    <a:gd name="connsiteX671" fmla="*/ 127551 w 2159179"/>
                    <a:gd name="connsiteY671" fmla="*/ 1013146 h 2127732"/>
                    <a:gd name="connsiteX672" fmla="*/ 117195 w 2159179"/>
                    <a:gd name="connsiteY672" fmla="*/ 1021716 h 2127732"/>
                    <a:gd name="connsiteX673" fmla="*/ 95606 w 2159179"/>
                    <a:gd name="connsiteY673" fmla="*/ 1018078 h 2127732"/>
                    <a:gd name="connsiteX674" fmla="*/ 33415 w 2159179"/>
                    <a:gd name="connsiteY674" fmla="*/ 984092 h 2127732"/>
                    <a:gd name="connsiteX675" fmla="*/ 35456 w 2159179"/>
                    <a:gd name="connsiteY675" fmla="*/ 981975 h 2127732"/>
                    <a:gd name="connsiteX676" fmla="*/ 34265 w 2159179"/>
                    <a:gd name="connsiteY676" fmla="*/ 977487 h 2127732"/>
                    <a:gd name="connsiteX677" fmla="*/ 29372 w 2159179"/>
                    <a:gd name="connsiteY677" fmla="*/ 970794 h 2127732"/>
                    <a:gd name="connsiteX678" fmla="*/ 23819 w 2159179"/>
                    <a:gd name="connsiteY678" fmla="*/ 968157 h 2127732"/>
                    <a:gd name="connsiteX679" fmla="*/ 25302 w 2159179"/>
                    <a:gd name="connsiteY679" fmla="*/ 962846 h 2127732"/>
                    <a:gd name="connsiteX680" fmla="*/ 21740 w 2159179"/>
                    <a:gd name="connsiteY680" fmla="*/ 960159 h 2127732"/>
                    <a:gd name="connsiteX681" fmla="*/ 25746 w 2159179"/>
                    <a:gd name="connsiteY681" fmla="*/ 954695 h 2127732"/>
                    <a:gd name="connsiteX682" fmla="*/ 23819 w 2159179"/>
                    <a:gd name="connsiteY682" fmla="*/ 951868 h 2127732"/>
                    <a:gd name="connsiteX683" fmla="*/ 36546 w 2159179"/>
                    <a:gd name="connsiteY683" fmla="*/ 943603 h 2127732"/>
                    <a:gd name="connsiteX684" fmla="*/ 50136 w 2159179"/>
                    <a:gd name="connsiteY684" fmla="*/ 934527 h 2127732"/>
                    <a:gd name="connsiteX685" fmla="*/ 25708 w 2159179"/>
                    <a:gd name="connsiteY685" fmla="*/ 945226 h 2127732"/>
                    <a:gd name="connsiteX686" fmla="*/ 0 w 2159179"/>
                    <a:gd name="connsiteY686" fmla="*/ 955189 h 2127732"/>
                    <a:gd name="connsiteX687" fmla="*/ 10116 w 2159179"/>
                    <a:gd name="connsiteY687" fmla="*/ 949485 h 2127732"/>
                    <a:gd name="connsiteX688" fmla="*/ 3993 w 2159179"/>
                    <a:gd name="connsiteY688" fmla="*/ 942589 h 2127732"/>
                    <a:gd name="connsiteX689" fmla="*/ 1813 w 2159179"/>
                    <a:gd name="connsiteY689" fmla="*/ 944706 h 2127732"/>
                    <a:gd name="connsiteX690" fmla="*/ 8633 w 2159179"/>
                    <a:gd name="connsiteY690" fmla="*/ 933183 h 2127732"/>
                    <a:gd name="connsiteX691" fmla="*/ 13817 w 2159179"/>
                    <a:gd name="connsiteY691" fmla="*/ 927643 h 2127732"/>
                    <a:gd name="connsiteX692" fmla="*/ 15529 w 2159179"/>
                    <a:gd name="connsiteY692" fmla="*/ 929760 h 2127732"/>
                    <a:gd name="connsiteX693" fmla="*/ 42935 w 2159179"/>
                    <a:gd name="connsiteY693" fmla="*/ 927745 h 2127732"/>
                    <a:gd name="connsiteX694" fmla="*/ 43050 w 2159179"/>
                    <a:gd name="connsiteY694" fmla="*/ 902506 h 2127732"/>
                    <a:gd name="connsiteX695" fmla="*/ 51403 w 2159179"/>
                    <a:gd name="connsiteY695" fmla="*/ 906626 h 2127732"/>
                    <a:gd name="connsiteX696" fmla="*/ 61228 w 2159179"/>
                    <a:gd name="connsiteY696" fmla="*/ 905066 h 2127732"/>
                    <a:gd name="connsiteX697" fmla="*/ 81320 w 2159179"/>
                    <a:gd name="connsiteY697" fmla="*/ 903913 h 2127732"/>
                    <a:gd name="connsiteX698" fmla="*/ 100829 w 2159179"/>
                    <a:gd name="connsiteY698" fmla="*/ 903368 h 2127732"/>
                    <a:gd name="connsiteX699" fmla="*/ 112897 w 2159179"/>
                    <a:gd name="connsiteY699" fmla="*/ 910340 h 2127732"/>
                    <a:gd name="connsiteX700" fmla="*/ 141102 w 2159179"/>
                    <a:gd name="connsiteY700" fmla="*/ 909300 h 2127732"/>
                    <a:gd name="connsiteX701" fmla="*/ 146008 w 2159179"/>
                    <a:gd name="connsiteY701" fmla="*/ 901225 h 2127732"/>
                    <a:gd name="connsiteX702" fmla="*/ 156517 w 2159179"/>
                    <a:gd name="connsiteY702" fmla="*/ 898323 h 2127732"/>
                    <a:gd name="connsiteX703" fmla="*/ 178891 w 2159179"/>
                    <a:gd name="connsiteY703" fmla="*/ 891984 h 2127732"/>
                    <a:gd name="connsiteX704" fmla="*/ 180476 w 2159179"/>
                    <a:gd name="connsiteY704" fmla="*/ 904952 h 2127732"/>
                    <a:gd name="connsiteX705" fmla="*/ 200644 w 2159179"/>
                    <a:gd name="connsiteY705" fmla="*/ 903887 h 2127732"/>
                    <a:gd name="connsiteX706" fmla="*/ 210925 w 2159179"/>
                    <a:gd name="connsiteY706" fmla="*/ 897270 h 2127732"/>
                    <a:gd name="connsiteX707" fmla="*/ 211191 w 2159179"/>
                    <a:gd name="connsiteY707" fmla="*/ 889766 h 2127732"/>
                    <a:gd name="connsiteX708" fmla="*/ 215919 w 2159179"/>
                    <a:gd name="connsiteY708" fmla="*/ 871828 h 2127732"/>
                    <a:gd name="connsiteX709" fmla="*/ 200441 w 2159179"/>
                    <a:gd name="connsiteY709" fmla="*/ 835244 h 2127732"/>
                    <a:gd name="connsiteX710" fmla="*/ 185622 w 2159179"/>
                    <a:gd name="connsiteY710" fmla="*/ 815836 h 2127732"/>
                    <a:gd name="connsiteX711" fmla="*/ 185762 w 2159179"/>
                    <a:gd name="connsiteY711" fmla="*/ 796530 h 2127732"/>
                    <a:gd name="connsiteX712" fmla="*/ 175468 w 2159179"/>
                    <a:gd name="connsiteY712" fmla="*/ 793399 h 2127732"/>
                    <a:gd name="connsiteX713" fmla="*/ 150128 w 2159179"/>
                    <a:gd name="connsiteY713" fmla="*/ 782408 h 2127732"/>
                    <a:gd name="connsiteX714" fmla="*/ 148074 w 2159179"/>
                    <a:gd name="connsiteY714" fmla="*/ 751503 h 2127732"/>
                    <a:gd name="connsiteX715" fmla="*/ 148937 w 2159179"/>
                    <a:gd name="connsiteY715" fmla="*/ 726733 h 2127732"/>
                    <a:gd name="connsiteX716" fmla="*/ 134612 w 2159179"/>
                    <a:gd name="connsiteY716" fmla="*/ 722398 h 2127732"/>
                    <a:gd name="connsiteX717" fmla="*/ 113594 w 2159179"/>
                    <a:gd name="connsiteY717" fmla="*/ 716199 h 2127732"/>
                    <a:gd name="connsiteX718" fmla="*/ 100829 w 2159179"/>
                    <a:gd name="connsiteY718" fmla="*/ 685839 h 2127732"/>
                    <a:gd name="connsiteX719" fmla="*/ 130632 w 2159179"/>
                    <a:gd name="connsiteY719" fmla="*/ 650078 h 2127732"/>
                    <a:gd name="connsiteX720" fmla="*/ 152080 w 2159179"/>
                    <a:gd name="connsiteY720" fmla="*/ 618197 h 2127732"/>
                    <a:gd name="connsiteX721" fmla="*/ 176267 w 2159179"/>
                    <a:gd name="connsiteY721" fmla="*/ 608829 h 2127732"/>
                    <a:gd name="connsiteX722" fmla="*/ 189806 w 2159179"/>
                    <a:gd name="connsiteY722" fmla="*/ 630974 h 2127732"/>
                    <a:gd name="connsiteX723" fmla="*/ 228647 w 2159179"/>
                    <a:gd name="connsiteY723" fmla="*/ 622507 h 2127732"/>
                    <a:gd name="connsiteX724" fmla="*/ 274738 w 2159179"/>
                    <a:gd name="connsiteY724" fmla="*/ 614356 h 2127732"/>
                    <a:gd name="connsiteX725" fmla="*/ 278085 w 2159179"/>
                    <a:gd name="connsiteY725" fmla="*/ 599993 h 2127732"/>
                    <a:gd name="connsiteX726" fmla="*/ 294032 w 2159179"/>
                    <a:gd name="connsiteY726" fmla="*/ 584363 h 2127732"/>
                    <a:gd name="connsiteX727" fmla="*/ 312274 w 2159179"/>
                    <a:gd name="connsiteY727" fmla="*/ 548539 h 2127732"/>
                    <a:gd name="connsiteX728" fmla="*/ 355031 w 2159179"/>
                    <a:gd name="connsiteY728" fmla="*/ 524124 h 2127732"/>
                    <a:gd name="connsiteX729" fmla="*/ 378749 w 2159179"/>
                    <a:gd name="connsiteY729" fmla="*/ 479896 h 2127732"/>
                    <a:gd name="connsiteX730" fmla="*/ 386381 w 2159179"/>
                    <a:gd name="connsiteY730" fmla="*/ 456305 h 2127732"/>
                    <a:gd name="connsiteX731" fmla="*/ 408805 w 2159179"/>
                    <a:gd name="connsiteY731" fmla="*/ 447571 h 2127732"/>
                    <a:gd name="connsiteX732" fmla="*/ 421330 w 2159179"/>
                    <a:gd name="connsiteY732" fmla="*/ 421951 h 2127732"/>
                    <a:gd name="connsiteX733" fmla="*/ 426058 w 2159179"/>
                    <a:gd name="connsiteY733" fmla="*/ 418567 h 2127732"/>
                    <a:gd name="connsiteX734" fmla="*/ 425602 w 2159179"/>
                    <a:gd name="connsiteY734" fmla="*/ 416361 h 2127732"/>
                    <a:gd name="connsiteX735" fmla="*/ 440066 w 2159179"/>
                    <a:gd name="connsiteY735" fmla="*/ 398994 h 2127732"/>
                    <a:gd name="connsiteX736" fmla="*/ 452311 w 2159179"/>
                    <a:gd name="connsiteY736" fmla="*/ 385405 h 2127732"/>
                    <a:gd name="connsiteX737" fmla="*/ 463758 w 2159179"/>
                    <a:gd name="connsiteY737" fmla="*/ 376176 h 2127732"/>
                    <a:gd name="connsiteX738" fmla="*/ 481708 w 2159179"/>
                    <a:gd name="connsiteY738" fmla="*/ 362853 h 2127732"/>
                    <a:gd name="connsiteX739" fmla="*/ 470565 w 2159179"/>
                    <a:gd name="connsiteY739" fmla="*/ 356198 h 2127732"/>
                    <a:gd name="connsiteX740" fmla="*/ 474875 w 2159179"/>
                    <a:gd name="connsiteY740" fmla="*/ 338958 h 2127732"/>
                    <a:gd name="connsiteX741" fmla="*/ 477335 w 2159179"/>
                    <a:gd name="connsiteY741" fmla="*/ 329261 h 2127732"/>
                    <a:gd name="connsiteX742" fmla="*/ 470958 w 2159179"/>
                    <a:gd name="connsiteY742" fmla="*/ 309929 h 2127732"/>
                    <a:gd name="connsiteX743" fmla="*/ 473963 w 2159179"/>
                    <a:gd name="connsiteY743" fmla="*/ 302196 h 2127732"/>
                    <a:gd name="connsiteX744" fmla="*/ 481581 w 2159179"/>
                    <a:gd name="connsiteY744" fmla="*/ 296885 h 2127732"/>
                    <a:gd name="connsiteX745" fmla="*/ 484598 w 2159179"/>
                    <a:gd name="connsiteY745" fmla="*/ 292435 h 2127732"/>
                    <a:gd name="connsiteX746" fmla="*/ 490176 w 2159179"/>
                    <a:gd name="connsiteY746" fmla="*/ 293183 h 2127732"/>
                    <a:gd name="connsiteX747" fmla="*/ 493611 w 2159179"/>
                    <a:gd name="connsiteY747" fmla="*/ 287200 h 2127732"/>
                    <a:gd name="connsiteX748" fmla="*/ 500190 w 2159179"/>
                    <a:gd name="connsiteY748" fmla="*/ 285793 h 2127732"/>
                    <a:gd name="connsiteX749" fmla="*/ 509165 w 2159179"/>
                    <a:gd name="connsiteY749" fmla="*/ 282966 h 2127732"/>
                    <a:gd name="connsiteX750" fmla="*/ 508595 w 2159179"/>
                    <a:gd name="connsiteY750" fmla="*/ 280659 h 2127732"/>
                    <a:gd name="connsiteX751" fmla="*/ 519801 w 2159179"/>
                    <a:gd name="connsiteY751" fmla="*/ 281293 h 2127732"/>
                    <a:gd name="connsiteX752" fmla="*/ 532148 w 2159179"/>
                    <a:gd name="connsiteY752" fmla="*/ 264053 h 2127732"/>
                    <a:gd name="connsiteX753" fmla="*/ 501534 w 2159179"/>
                    <a:gd name="connsiteY753" fmla="*/ 251959 h 2127732"/>
                    <a:gd name="connsiteX754" fmla="*/ 480998 w 2159179"/>
                    <a:gd name="connsiteY754" fmla="*/ 237216 h 2127732"/>
                    <a:gd name="connsiteX755" fmla="*/ 482621 w 2159179"/>
                    <a:gd name="connsiteY755" fmla="*/ 225554 h 2127732"/>
                    <a:gd name="connsiteX756" fmla="*/ 479388 w 2159179"/>
                    <a:gd name="connsiteY756" fmla="*/ 222879 h 2127732"/>
                    <a:gd name="connsiteX757" fmla="*/ 467181 w 2159179"/>
                    <a:gd name="connsiteY757" fmla="*/ 225275 h 2127732"/>
                    <a:gd name="connsiteX758" fmla="*/ 455784 w 2159179"/>
                    <a:gd name="connsiteY758" fmla="*/ 222233 h 2127732"/>
                    <a:gd name="connsiteX759" fmla="*/ 456976 w 2159179"/>
                    <a:gd name="connsiteY759" fmla="*/ 210862 h 2127732"/>
                    <a:gd name="connsiteX760" fmla="*/ 443197 w 2159179"/>
                    <a:gd name="connsiteY760" fmla="*/ 201735 h 2127732"/>
                    <a:gd name="connsiteX761" fmla="*/ 432333 w 2159179"/>
                    <a:gd name="connsiteY761" fmla="*/ 189388 h 2127732"/>
                    <a:gd name="connsiteX762" fmla="*/ 440826 w 2159179"/>
                    <a:gd name="connsiteY762" fmla="*/ 178271 h 2127732"/>
                    <a:gd name="connsiteX763" fmla="*/ 430774 w 2159179"/>
                    <a:gd name="connsiteY763" fmla="*/ 145159 h 2127732"/>
                    <a:gd name="connsiteX764" fmla="*/ 449890 w 2159179"/>
                    <a:gd name="connsiteY764" fmla="*/ 123216 h 2127732"/>
                    <a:gd name="connsiteX765" fmla="*/ 425221 w 2159179"/>
                    <a:gd name="connsiteY765" fmla="*/ 114761 h 2127732"/>
                    <a:gd name="connsiteX766" fmla="*/ 432295 w 2159179"/>
                    <a:gd name="connsiteY766" fmla="*/ 106141 h 2127732"/>
                    <a:gd name="connsiteX767" fmla="*/ 423117 w 2159179"/>
                    <a:gd name="connsiteY767" fmla="*/ 98928 h 2127732"/>
                    <a:gd name="connsiteX768" fmla="*/ 421888 w 2159179"/>
                    <a:gd name="connsiteY768" fmla="*/ 83197 h 2127732"/>
                    <a:gd name="connsiteX769" fmla="*/ 444578 w 2159179"/>
                    <a:gd name="connsiteY769" fmla="*/ 65678 h 2127732"/>
                    <a:gd name="connsiteX770" fmla="*/ 467282 w 2159179"/>
                    <a:gd name="connsiteY770" fmla="*/ 62065 h 2127732"/>
                    <a:gd name="connsiteX771" fmla="*/ 501559 w 2159179"/>
                    <a:gd name="connsiteY771" fmla="*/ 70761 h 2127732"/>
                    <a:gd name="connsiteX772" fmla="*/ 522640 w 2159179"/>
                    <a:gd name="connsiteY772" fmla="*/ 70761 h 2127732"/>
                    <a:gd name="connsiteX773" fmla="*/ 534011 w 2159179"/>
                    <a:gd name="connsiteY773" fmla="*/ 78392 h 2127732"/>
                    <a:gd name="connsiteX774" fmla="*/ 576364 w 2159179"/>
                    <a:gd name="connsiteY774" fmla="*/ 73524 h 2127732"/>
                    <a:gd name="connsiteX775" fmla="*/ 591119 w 2159179"/>
                    <a:gd name="connsiteY775" fmla="*/ 69417 h 2127732"/>
                    <a:gd name="connsiteX776" fmla="*/ 616206 w 2159179"/>
                    <a:gd name="connsiteY776" fmla="*/ 61418 h 2127732"/>
                    <a:gd name="connsiteX777" fmla="*/ 636450 w 2159179"/>
                    <a:gd name="connsiteY777" fmla="*/ 55549 h 2127732"/>
                    <a:gd name="connsiteX778" fmla="*/ 637693 w 2159179"/>
                    <a:gd name="connsiteY778" fmla="*/ 47639 h 2127732"/>
                    <a:gd name="connsiteX779" fmla="*/ 644893 w 2159179"/>
                    <a:gd name="connsiteY779" fmla="*/ 46168 h 2127732"/>
                    <a:gd name="connsiteX780" fmla="*/ 657189 w 2159179"/>
                    <a:gd name="connsiteY780" fmla="*/ 39678 h 2127732"/>
                    <a:gd name="connsiteX781" fmla="*/ 657265 w 2159179"/>
                    <a:gd name="connsiteY781" fmla="*/ 33124 h 2127732"/>
                    <a:gd name="connsiteX782" fmla="*/ 666709 w 2159179"/>
                    <a:gd name="connsiteY782" fmla="*/ 27242 h 2127732"/>
                    <a:gd name="connsiteX783" fmla="*/ 718049 w 2159179"/>
                    <a:gd name="connsiteY783" fmla="*/ 4843 h 2127732"/>
                    <a:gd name="connsiteX784" fmla="*/ 718049 w 2159179"/>
                    <a:gd name="connsiteY784" fmla="*/ 4843 h 2127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Lst>
                  <a:rect l="l" t="t" r="r" b="b"/>
                  <a:pathLst>
                    <a:path w="2159179" h="2127732">
                      <a:moveTo>
                        <a:pt x="1838717" y="1720243"/>
                      </a:moveTo>
                      <a:cubicBezTo>
                        <a:pt x="1843839" y="1721637"/>
                        <a:pt x="1841557" y="1726683"/>
                        <a:pt x="1841899" y="1732260"/>
                      </a:cubicBezTo>
                      <a:cubicBezTo>
                        <a:pt x="1841899" y="1732273"/>
                        <a:pt x="1843357" y="1731766"/>
                        <a:pt x="1843433" y="1731792"/>
                      </a:cubicBezTo>
                      <a:cubicBezTo>
                        <a:pt x="1842381" y="1734364"/>
                        <a:pt x="1840505" y="1736456"/>
                        <a:pt x="1837830" y="1737914"/>
                      </a:cubicBezTo>
                      <a:cubicBezTo>
                        <a:pt x="1838667" y="1738345"/>
                        <a:pt x="1836245" y="1735937"/>
                        <a:pt x="1836347" y="1736025"/>
                      </a:cubicBezTo>
                      <a:cubicBezTo>
                        <a:pt x="1838489" y="1742199"/>
                        <a:pt x="1845195" y="1742021"/>
                        <a:pt x="1841430" y="1752720"/>
                      </a:cubicBezTo>
                      <a:cubicBezTo>
                        <a:pt x="1839541" y="1758044"/>
                        <a:pt x="1835447" y="1764408"/>
                        <a:pt x="1834306" y="1756346"/>
                      </a:cubicBezTo>
                      <a:cubicBezTo>
                        <a:pt x="1832645" y="1758983"/>
                        <a:pt x="1832252" y="1762304"/>
                        <a:pt x="1833279" y="1766119"/>
                      </a:cubicBezTo>
                      <a:cubicBezTo>
                        <a:pt x="1829375" y="1763875"/>
                        <a:pt x="1826472" y="1769390"/>
                        <a:pt x="1831276" y="1768705"/>
                      </a:cubicBezTo>
                      <a:cubicBezTo>
                        <a:pt x="1839846" y="1776172"/>
                        <a:pt x="1837209" y="1798736"/>
                        <a:pt x="1832797" y="1806025"/>
                      </a:cubicBezTo>
                      <a:cubicBezTo>
                        <a:pt x="1832049" y="1805290"/>
                        <a:pt x="1830794" y="1804288"/>
                        <a:pt x="1829742" y="1803439"/>
                      </a:cubicBezTo>
                      <a:cubicBezTo>
                        <a:pt x="1829565" y="1803490"/>
                        <a:pt x="1828817" y="1804732"/>
                        <a:pt x="1826180" y="1805011"/>
                      </a:cubicBezTo>
                      <a:cubicBezTo>
                        <a:pt x="1832214" y="1812630"/>
                        <a:pt x="1831200" y="1828019"/>
                        <a:pt x="1819588" y="1831594"/>
                      </a:cubicBezTo>
                      <a:cubicBezTo>
                        <a:pt x="1820451" y="1832545"/>
                        <a:pt x="1821274" y="1833685"/>
                        <a:pt x="1822187" y="1834674"/>
                      </a:cubicBezTo>
                      <a:cubicBezTo>
                        <a:pt x="1818308" y="1835726"/>
                        <a:pt x="1816901" y="1841240"/>
                        <a:pt x="1818080" y="1846425"/>
                      </a:cubicBezTo>
                      <a:cubicBezTo>
                        <a:pt x="1820374" y="1839884"/>
                        <a:pt x="1821959" y="1842115"/>
                        <a:pt x="1822263" y="1848339"/>
                      </a:cubicBezTo>
                      <a:cubicBezTo>
                        <a:pt x="1822783" y="1858290"/>
                        <a:pt x="1816153" y="1858785"/>
                        <a:pt x="1814036" y="1866074"/>
                      </a:cubicBezTo>
                      <a:cubicBezTo>
                        <a:pt x="1814873" y="1865072"/>
                        <a:pt x="1814873" y="1865034"/>
                        <a:pt x="1816153" y="1862753"/>
                      </a:cubicBezTo>
                      <a:cubicBezTo>
                        <a:pt x="1817814" y="1861713"/>
                        <a:pt x="1816914" y="1864261"/>
                        <a:pt x="1817991" y="1861054"/>
                      </a:cubicBezTo>
                      <a:cubicBezTo>
                        <a:pt x="1821427" y="1864540"/>
                        <a:pt x="1818879" y="1870270"/>
                        <a:pt x="1816597" y="1875049"/>
                      </a:cubicBezTo>
                      <a:cubicBezTo>
                        <a:pt x="1812984" y="1871816"/>
                        <a:pt x="1808408" y="1868178"/>
                        <a:pt x="1811551" y="1864324"/>
                      </a:cubicBezTo>
                      <a:cubicBezTo>
                        <a:pt x="1807913" y="1859267"/>
                        <a:pt x="1804313" y="1856262"/>
                        <a:pt x="1804288" y="1849341"/>
                      </a:cubicBezTo>
                      <a:cubicBezTo>
                        <a:pt x="1804288" y="1847769"/>
                        <a:pt x="1803210" y="1839314"/>
                        <a:pt x="1809004" y="1844891"/>
                      </a:cubicBezTo>
                      <a:cubicBezTo>
                        <a:pt x="1809004" y="1844777"/>
                        <a:pt x="1809219" y="1847110"/>
                        <a:pt x="1809282" y="1847312"/>
                      </a:cubicBezTo>
                      <a:cubicBezTo>
                        <a:pt x="1810018" y="1838857"/>
                        <a:pt x="1809130" y="1822847"/>
                        <a:pt x="1816318" y="1820007"/>
                      </a:cubicBezTo>
                      <a:cubicBezTo>
                        <a:pt x="1816432" y="1821161"/>
                        <a:pt x="1816774" y="1822695"/>
                        <a:pt x="1816800" y="1824203"/>
                      </a:cubicBezTo>
                      <a:cubicBezTo>
                        <a:pt x="1822187" y="1824165"/>
                        <a:pt x="1823125" y="1820755"/>
                        <a:pt x="1819703" y="1816737"/>
                      </a:cubicBezTo>
                      <a:cubicBezTo>
                        <a:pt x="1820362" y="1816509"/>
                        <a:pt x="1821515" y="1816686"/>
                        <a:pt x="1822276" y="1816242"/>
                      </a:cubicBezTo>
                      <a:cubicBezTo>
                        <a:pt x="1813985" y="1812871"/>
                        <a:pt x="1812819" y="1791891"/>
                        <a:pt x="1821464" y="1787733"/>
                      </a:cubicBezTo>
                      <a:cubicBezTo>
                        <a:pt x="1812654" y="1780545"/>
                        <a:pt x="1822238" y="1775754"/>
                        <a:pt x="1823708" y="1769681"/>
                      </a:cubicBezTo>
                      <a:cubicBezTo>
                        <a:pt x="1825344" y="1762912"/>
                        <a:pt x="1824203" y="1755864"/>
                        <a:pt x="1825217" y="1749665"/>
                      </a:cubicBezTo>
                      <a:cubicBezTo>
                        <a:pt x="1826193" y="1743860"/>
                        <a:pt x="1828221" y="1720129"/>
                        <a:pt x="1838400" y="1721485"/>
                      </a:cubicBezTo>
                      <a:cubicBezTo>
                        <a:pt x="1837602" y="1719698"/>
                        <a:pt x="1838159" y="1720281"/>
                        <a:pt x="1838717" y="1720243"/>
                      </a:cubicBezTo>
                      <a:lnTo>
                        <a:pt x="1838717" y="1720243"/>
                      </a:lnTo>
                      <a:close/>
                      <a:moveTo>
                        <a:pt x="718049" y="4843"/>
                      </a:moveTo>
                      <a:cubicBezTo>
                        <a:pt x="722296" y="4894"/>
                        <a:pt x="724996" y="-773"/>
                        <a:pt x="728596" y="89"/>
                      </a:cubicBezTo>
                      <a:cubicBezTo>
                        <a:pt x="736924" y="2105"/>
                        <a:pt x="729128" y="9330"/>
                        <a:pt x="729078" y="15618"/>
                      </a:cubicBezTo>
                      <a:cubicBezTo>
                        <a:pt x="728989" y="26000"/>
                        <a:pt x="737951" y="39551"/>
                        <a:pt x="741323" y="49718"/>
                      </a:cubicBezTo>
                      <a:cubicBezTo>
                        <a:pt x="745392" y="61976"/>
                        <a:pt x="747928" y="73245"/>
                        <a:pt x="761061" y="76972"/>
                      </a:cubicBezTo>
                      <a:cubicBezTo>
                        <a:pt x="769579" y="79381"/>
                        <a:pt x="775030" y="78823"/>
                        <a:pt x="782484" y="84008"/>
                      </a:cubicBezTo>
                      <a:cubicBezTo>
                        <a:pt x="785792" y="86315"/>
                        <a:pt x="794210" y="90764"/>
                        <a:pt x="796770" y="93439"/>
                      </a:cubicBezTo>
                      <a:cubicBezTo>
                        <a:pt x="804364" y="101337"/>
                        <a:pt x="801651" y="106002"/>
                        <a:pt x="793424" y="111896"/>
                      </a:cubicBezTo>
                      <a:cubicBezTo>
                        <a:pt x="786464" y="116916"/>
                        <a:pt x="781964" y="115306"/>
                        <a:pt x="782142" y="125485"/>
                      </a:cubicBezTo>
                      <a:cubicBezTo>
                        <a:pt x="782268" y="132686"/>
                        <a:pt x="786984" y="140241"/>
                        <a:pt x="787162" y="148024"/>
                      </a:cubicBezTo>
                      <a:cubicBezTo>
                        <a:pt x="787555" y="164821"/>
                        <a:pt x="790318" y="170297"/>
                        <a:pt x="802335" y="181909"/>
                      </a:cubicBezTo>
                      <a:cubicBezTo>
                        <a:pt x="808458" y="187829"/>
                        <a:pt x="811703" y="188526"/>
                        <a:pt x="820818" y="191289"/>
                      </a:cubicBezTo>
                      <a:cubicBezTo>
                        <a:pt x="837361" y="196309"/>
                        <a:pt x="824519" y="195688"/>
                        <a:pt x="827194" y="208618"/>
                      </a:cubicBezTo>
                      <a:cubicBezTo>
                        <a:pt x="828588" y="215324"/>
                        <a:pt x="840226" y="222448"/>
                        <a:pt x="839832" y="230079"/>
                      </a:cubicBezTo>
                      <a:cubicBezTo>
                        <a:pt x="839541" y="236037"/>
                        <a:pt x="832974" y="241273"/>
                        <a:pt x="828335" y="243998"/>
                      </a:cubicBezTo>
                      <a:cubicBezTo>
                        <a:pt x="823771" y="246648"/>
                        <a:pt x="820437" y="245342"/>
                        <a:pt x="817103" y="247193"/>
                      </a:cubicBezTo>
                      <a:cubicBezTo>
                        <a:pt x="810284" y="250983"/>
                        <a:pt x="810030" y="255483"/>
                        <a:pt x="804110" y="257778"/>
                      </a:cubicBezTo>
                      <a:cubicBezTo>
                        <a:pt x="794450" y="261505"/>
                        <a:pt x="788290" y="254900"/>
                        <a:pt x="783764" y="246014"/>
                      </a:cubicBezTo>
                      <a:cubicBezTo>
                        <a:pt x="782116" y="242819"/>
                        <a:pt x="785932" y="238205"/>
                        <a:pt x="782180" y="236671"/>
                      </a:cubicBezTo>
                      <a:cubicBezTo>
                        <a:pt x="780773" y="236101"/>
                        <a:pt x="774637" y="241260"/>
                        <a:pt x="772254" y="241907"/>
                      </a:cubicBezTo>
                      <a:cubicBezTo>
                        <a:pt x="756611" y="246103"/>
                        <a:pt x="756852" y="239612"/>
                        <a:pt x="761225" y="255356"/>
                      </a:cubicBezTo>
                      <a:cubicBezTo>
                        <a:pt x="762087" y="258424"/>
                        <a:pt x="761466" y="263330"/>
                        <a:pt x="762759" y="266702"/>
                      </a:cubicBezTo>
                      <a:cubicBezTo>
                        <a:pt x="764280" y="270657"/>
                        <a:pt x="765028" y="268971"/>
                        <a:pt x="767716" y="273129"/>
                      </a:cubicBezTo>
                      <a:cubicBezTo>
                        <a:pt x="770910" y="278073"/>
                        <a:pt x="778149" y="283448"/>
                        <a:pt x="780354" y="287935"/>
                      </a:cubicBezTo>
                      <a:cubicBezTo>
                        <a:pt x="783270" y="293804"/>
                        <a:pt x="781964" y="290737"/>
                        <a:pt x="781406" y="297988"/>
                      </a:cubicBezTo>
                      <a:cubicBezTo>
                        <a:pt x="781001" y="303286"/>
                        <a:pt x="778782" y="304630"/>
                        <a:pt x="780025" y="309130"/>
                      </a:cubicBezTo>
                      <a:cubicBezTo>
                        <a:pt x="780836" y="312096"/>
                        <a:pt x="784068" y="314340"/>
                        <a:pt x="784588" y="315621"/>
                      </a:cubicBezTo>
                      <a:cubicBezTo>
                        <a:pt x="785602" y="317928"/>
                        <a:pt x="789164" y="318524"/>
                        <a:pt x="788860" y="321414"/>
                      </a:cubicBezTo>
                      <a:cubicBezTo>
                        <a:pt x="788594" y="323924"/>
                        <a:pt x="781736" y="325483"/>
                        <a:pt x="781166" y="327689"/>
                      </a:cubicBezTo>
                      <a:cubicBezTo>
                        <a:pt x="780773" y="329235"/>
                        <a:pt x="783282" y="335713"/>
                        <a:pt x="784246" y="337931"/>
                      </a:cubicBezTo>
                      <a:cubicBezTo>
                        <a:pt x="786604" y="343408"/>
                        <a:pt x="780823" y="344193"/>
                        <a:pt x="788467" y="346133"/>
                      </a:cubicBezTo>
                      <a:cubicBezTo>
                        <a:pt x="792460" y="347160"/>
                        <a:pt x="795135" y="344586"/>
                        <a:pt x="796492" y="340986"/>
                      </a:cubicBezTo>
                      <a:cubicBezTo>
                        <a:pt x="797670" y="342051"/>
                        <a:pt x="799661" y="342786"/>
                        <a:pt x="800789" y="343788"/>
                      </a:cubicBezTo>
                      <a:cubicBezTo>
                        <a:pt x="801892" y="322035"/>
                        <a:pt x="818536" y="347261"/>
                        <a:pt x="821160" y="351939"/>
                      </a:cubicBezTo>
                      <a:cubicBezTo>
                        <a:pt x="824937" y="358632"/>
                        <a:pt x="833051" y="370561"/>
                        <a:pt x="840745" y="372754"/>
                      </a:cubicBezTo>
                      <a:cubicBezTo>
                        <a:pt x="847388" y="374630"/>
                        <a:pt x="851799" y="370409"/>
                        <a:pt x="858759" y="371600"/>
                      </a:cubicBezTo>
                      <a:cubicBezTo>
                        <a:pt x="866834" y="372969"/>
                        <a:pt x="871663" y="381146"/>
                        <a:pt x="879180" y="384429"/>
                      </a:cubicBezTo>
                      <a:cubicBezTo>
                        <a:pt x="885189" y="387040"/>
                        <a:pt x="890387" y="387395"/>
                        <a:pt x="892656" y="393594"/>
                      </a:cubicBezTo>
                      <a:cubicBezTo>
                        <a:pt x="892972" y="394443"/>
                        <a:pt x="889461" y="396319"/>
                        <a:pt x="889575" y="398081"/>
                      </a:cubicBezTo>
                      <a:cubicBezTo>
                        <a:pt x="889791" y="401504"/>
                        <a:pt x="891832" y="401073"/>
                        <a:pt x="889765" y="405370"/>
                      </a:cubicBezTo>
                      <a:cubicBezTo>
                        <a:pt x="898525" y="403355"/>
                        <a:pt x="921774" y="413040"/>
                        <a:pt x="929392" y="418516"/>
                      </a:cubicBezTo>
                      <a:cubicBezTo>
                        <a:pt x="931585" y="420088"/>
                        <a:pt x="931902" y="423181"/>
                        <a:pt x="934260" y="424639"/>
                      </a:cubicBezTo>
                      <a:cubicBezTo>
                        <a:pt x="937543" y="426692"/>
                        <a:pt x="945174" y="426578"/>
                        <a:pt x="947431" y="429342"/>
                      </a:cubicBezTo>
                      <a:cubicBezTo>
                        <a:pt x="952400" y="435401"/>
                        <a:pt x="945555" y="438659"/>
                        <a:pt x="941815" y="433538"/>
                      </a:cubicBezTo>
                      <a:cubicBezTo>
                        <a:pt x="936085" y="442196"/>
                        <a:pt x="927617" y="447000"/>
                        <a:pt x="919821" y="454188"/>
                      </a:cubicBezTo>
                      <a:cubicBezTo>
                        <a:pt x="916323" y="457395"/>
                        <a:pt x="912279" y="463911"/>
                        <a:pt x="909008" y="467625"/>
                      </a:cubicBezTo>
                      <a:cubicBezTo>
                        <a:pt x="906879" y="470008"/>
                        <a:pt x="904255" y="468462"/>
                        <a:pt x="902670" y="472188"/>
                      </a:cubicBezTo>
                      <a:cubicBezTo>
                        <a:pt x="901871" y="474065"/>
                        <a:pt x="904635" y="476562"/>
                        <a:pt x="904128" y="477868"/>
                      </a:cubicBezTo>
                      <a:cubicBezTo>
                        <a:pt x="902061" y="483394"/>
                        <a:pt x="900553" y="486475"/>
                        <a:pt x="897308" y="491939"/>
                      </a:cubicBezTo>
                      <a:cubicBezTo>
                        <a:pt x="893898" y="497643"/>
                        <a:pt x="894544" y="494841"/>
                        <a:pt x="894380" y="501319"/>
                      </a:cubicBezTo>
                      <a:cubicBezTo>
                        <a:pt x="894215" y="507277"/>
                        <a:pt x="900147" y="506732"/>
                        <a:pt x="895546" y="514541"/>
                      </a:cubicBezTo>
                      <a:cubicBezTo>
                        <a:pt x="894937" y="514604"/>
                        <a:pt x="893315" y="513907"/>
                        <a:pt x="892656" y="513843"/>
                      </a:cubicBezTo>
                      <a:cubicBezTo>
                        <a:pt x="895774" y="521475"/>
                        <a:pt x="889791" y="518255"/>
                        <a:pt x="888548" y="520866"/>
                      </a:cubicBezTo>
                      <a:cubicBezTo>
                        <a:pt x="887775" y="522514"/>
                        <a:pt x="885405" y="528092"/>
                        <a:pt x="884314" y="529841"/>
                      </a:cubicBezTo>
                      <a:cubicBezTo>
                        <a:pt x="881335" y="534747"/>
                        <a:pt x="876937" y="537980"/>
                        <a:pt x="880169" y="544521"/>
                      </a:cubicBezTo>
                      <a:cubicBezTo>
                        <a:pt x="885088" y="554446"/>
                        <a:pt x="906803" y="557248"/>
                        <a:pt x="912596" y="565703"/>
                      </a:cubicBezTo>
                      <a:cubicBezTo>
                        <a:pt x="907031" y="547462"/>
                        <a:pt x="924043" y="562990"/>
                        <a:pt x="927934" y="565297"/>
                      </a:cubicBezTo>
                      <a:cubicBezTo>
                        <a:pt x="935946" y="570051"/>
                        <a:pt x="943146" y="575071"/>
                        <a:pt x="949877" y="578012"/>
                      </a:cubicBezTo>
                      <a:cubicBezTo>
                        <a:pt x="954593" y="580078"/>
                        <a:pt x="960272" y="579913"/>
                        <a:pt x="964443" y="583564"/>
                      </a:cubicBezTo>
                      <a:cubicBezTo>
                        <a:pt x="966927" y="585745"/>
                        <a:pt x="970870" y="598611"/>
                        <a:pt x="971326" y="598865"/>
                      </a:cubicBezTo>
                      <a:cubicBezTo>
                        <a:pt x="975775" y="601502"/>
                        <a:pt x="975306" y="595747"/>
                        <a:pt x="979655" y="597711"/>
                      </a:cubicBezTo>
                      <a:cubicBezTo>
                        <a:pt x="983090" y="599245"/>
                        <a:pt x="984421" y="603771"/>
                        <a:pt x="987083" y="606027"/>
                      </a:cubicBezTo>
                      <a:cubicBezTo>
                        <a:pt x="991570" y="609805"/>
                        <a:pt x="1007644" y="621137"/>
                        <a:pt x="1012601" y="621759"/>
                      </a:cubicBezTo>
                      <a:cubicBezTo>
                        <a:pt x="1018407" y="622494"/>
                        <a:pt x="1019788" y="617094"/>
                        <a:pt x="1026342" y="617461"/>
                      </a:cubicBezTo>
                      <a:cubicBezTo>
                        <a:pt x="1029904" y="617664"/>
                        <a:pt x="1035609" y="623014"/>
                        <a:pt x="1038385" y="624852"/>
                      </a:cubicBezTo>
                      <a:cubicBezTo>
                        <a:pt x="1044723" y="629035"/>
                        <a:pt x="1051125" y="635842"/>
                        <a:pt x="1058528" y="636818"/>
                      </a:cubicBezTo>
                      <a:cubicBezTo>
                        <a:pt x="1067503" y="637997"/>
                        <a:pt x="1070342" y="631114"/>
                        <a:pt x="1076300" y="638289"/>
                      </a:cubicBezTo>
                      <a:cubicBezTo>
                        <a:pt x="1078367" y="640799"/>
                        <a:pt x="1075920" y="646364"/>
                        <a:pt x="1078265" y="648760"/>
                      </a:cubicBezTo>
                      <a:cubicBezTo>
                        <a:pt x="1081409" y="651992"/>
                        <a:pt x="1084997" y="650091"/>
                        <a:pt x="1089091" y="651194"/>
                      </a:cubicBezTo>
                      <a:cubicBezTo>
                        <a:pt x="1096786" y="653260"/>
                        <a:pt x="1105735" y="653957"/>
                        <a:pt x="1112581" y="657164"/>
                      </a:cubicBezTo>
                      <a:cubicBezTo>
                        <a:pt x="1116739" y="659091"/>
                        <a:pt x="1116561" y="665658"/>
                        <a:pt x="1122215" y="662755"/>
                      </a:cubicBezTo>
                      <a:cubicBezTo>
                        <a:pt x="1127995" y="659801"/>
                        <a:pt x="1122557" y="655123"/>
                        <a:pt x="1126816" y="652550"/>
                      </a:cubicBezTo>
                      <a:cubicBezTo>
                        <a:pt x="1134093" y="648202"/>
                        <a:pt x="1171894" y="669904"/>
                        <a:pt x="1159915" y="655440"/>
                      </a:cubicBezTo>
                      <a:cubicBezTo>
                        <a:pt x="1164605" y="653982"/>
                        <a:pt x="1168294" y="655821"/>
                        <a:pt x="1172718" y="654908"/>
                      </a:cubicBezTo>
                      <a:cubicBezTo>
                        <a:pt x="1182276" y="652892"/>
                        <a:pt x="1175291" y="648684"/>
                        <a:pt x="1184393" y="652423"/>
                      </a:cubicBezTo>
                      <a:cubicBezTo>
                        <a:pt x="1187271" y="653590"/>
                        <a:pt x="1188995" y="657519"/>
                        <a:pt x="1191961" y="659040"/>
                      </a:cubicBezTo>
                      <a:cubicBezTo>
                        <a:pt x="1199732" y="663072"/>
                        <a:pt x="1211977" y="659611"/>
                        <a:pt x="1217973" y="666545"/>
                      </a:cubicBezTo>
                      <a:cubicBezTo>
                        <a:pt x="1230574" y="681072"/>
                        <a:pt x="1207680" y="683075"/>
                        <a:pt x="1230231" y="689135"/>
                      </a:cubicBezTo>
                      <a:cubicBezTo>
                        <a:pt x="1238395" y="691327"/>
                        <a:pt x="1241907" y="699352"/>
                        <a:pt x="1247497" y="702001"/>
                      </a:cubicBezTo>
                      <a:cubicBezTo>
                        <a:pt x="1249855" y="703117"/>
                        <a:pt x="1253316" y="699124"/>
                        <a:pt x="1255217" y="700417"/>
                      </a:cubicBezTo>
                      <a:cubicBezTo>
                        <a:pt x="1256142" y="701088"/>
                        <a:pt x="1258640" y="705462"/>
                        <a:pt x="1258323" y="705335"/>
                      </a:cubicBezTo>
                      <a:cubicBezTo>
                        <a:pt x="1264585" y="708466"/>
                        <a:pt x="1265358" y="710013"/>
                        <a:pt x="1272875" y="708200"/>
                      </a:cubicBezTo>
                      <a:cubicBezTo>
                        <a:pt x="1276463" y="707338"/>
                        <a:pt x="1281787" y="703294"/>
                        <a:pt x="1286008" y="702977"/>
                      </a:cubicBezTo>
                      <a:cubicBezTo>
                        <a:pt x="1300713" y="701849"/>
                        <a:pt x="1293069" y="706337"/>
                        <a:pt x="1298038" y="714411"/>
                      </a:cubicBezTo>
                      <a:cubicBezTo>
                        <a:pt x="1306557" y="728292"/>
                        <a:pt x="1306734" y="719431"/>
                        <a:pt x="1318232" y="717923"/>
                      </a:cubicBezTo>
                      <a:cubicBezTo>
                        <a:pt x="1323303" y="717251"/>
                        <a:pt x="1326041" y="720648"/>
                        <a:pt x="1330832" y="721307"/>
                      </a:cubicBezTo>
                      <a:cubicBezTo>
                        <a:pt x="1334306" y="721789"/>
                        <a:pt x="1337095" y="720090"/>
                        <a:pt x="1340264" y="720572"/>
                      </a:cubicBezTo>
                      <a:cubicBezTo>
                        <a:pt x="1349644" y="721992"/>
                        <a:pt x="1362169" y="735100"/>
                        <a:pt x="1372754" y="736025"/>
                      </a:cubicBezTo>
                      <a:cubicBezTo>
                        <a:pt x="1378293" y="736519"/>
                        <a:pt x="1391895" y="727329"/>
                        <a:pt x="1397004" y="722968"/>
                      </a:cubicBezTo>
                      <a:cubicBezTo>
                        <a:pt x="1397498" y="732805"/>
                        <a:pt x="1400363" y="733591"/>
                        <a:pt x="1406917" y="737280"/>
                      </a:cubicBezTo>
                      <a:cubicBezTo>
                        <a:pt x="1406537" y="737064"/>
                        <a:pt x="1413902" y="740031"/>
                        <a:pt x="1413090" y="740107"/>
                      </a:cubicBezTo>
                      <a:cubicBezTo>
                        <a:pt x="1418136" y="739727"/>
                        <a:pt x="1417185" y="737077"/>
                        <a:pt x="1421317" y="736342"/>
                      </a:cubicBezTo>
                      <a:cubicBezTo>
                        <a:pt x="1428683" y="734998"/>
                        <a:pt x="1434007" y="737787"/>
                        <a:pt x="1440953" y="737077"/>
                      </a:cubicBezTo>
                      <a:cubicBezTo>
                        <a:pt x="1446746" y="736469"/>
                        <a:pt x="1448749" y="734022"/>
                        <a:pt x="1454036" y="734288"/>
                      </a:cubicBezTo>
                      <a:cubicBezTo>
                        <a:pt x="1457471" y="734466"/>
                        <a:pt x="1456533" y="732551"/>
                        <a:pt x="1460057" y="733781"/>
                      </a:cubicBezTo>
                      <a:cubicBezTo>
                        <a:pt x="1461616" y="734339"/>
                        <a:pt x="1462605" y="739333"/>
                        <a:pt x="1465520" y="739308"/>
                      </a:cubicBezTo>
                      <a:cubicBezTo>
                        <a:pt x="1473747" y="739270"/>
                        <a:pt x="1473253" y="729104"/>
                        <a:pt x="1475433" y="722727"/>
                      </a:cubicBezTo>
                      <a:cubicBezTo>
                        <a:pt x="1478438" y="713866"/>
                        <a:pt x="1481949" y="709708"/>
                        <a:pt x="1478729" y="700011"/>
                      </a:cubicBezTo>
                      <a:cubicBezTo>
                        <a:pt x="1476574" y="693470"/>
                        <a:pt x="1469792" y="689477"/>
                        <a:pt x="1467523" y="684013"/>
                      </a:cubicBezTo>
                      <a:cubicBezTo>
                        <a:pt x="1464468" y="676483"/>
                        <a:pt x="1469412" y="662463"/>
                        <a:pt x="1470452" y="654477"/>
                      </a:cubicBezTo>
                      <a:cubicBezTo>
                        <a:pt x="1471415" y="646934"/>
                        <a:pt x="1476270" y="640190"/>
                        <a:pt x="1478083" y="631976"/>
                      </a:cubicBezTo>
                      <a:cubicBezTo>
                        <a:pt x="1478679" y="629339"/>
                        <a:pt x="1480263" y="626804"/>
                        <a:pt x="1479959" y="624053"/>
                      </a:cubicBezTo>
                      <a:cubicBezTo>
                        <a:pt x="1479731" y="621885"/>
                        <a:pt x="1475332" y="621873"/>
                        <a:pt x="1475611" y="620060"/>
                      </a:cubicBezTo>
                      <a:cubicBezTo>
                        <a:pt x="1476917" y="611377"/>
                        <a:pt x="1497731" y="610287"/>
                        <a:pt x="1506326" y="607016"/>
                      </a:cubicBezTo>
                      <a:cubicBezTo>
                        <a:pt x="1512107" y="604848"/>
                        <a:pt x="1514845" y="600487"/>
                        <a:pt x="1522248" y="606141"/>
                      </a:cubicBezTo>
                      <a:cubicBezTo>
                        <a:pt x="1527826" y="610413"/>
                        <a:pt x="1528840" y="612137"/>
                        <a:pt x="1529803" y="618564"/>
                      </a:cubicBezTo>
                      <a:cubicBezTo>
                        <a:pt x="1531375" y="629618"/>
                        <a:pt x="1523731" y="637275"/>
                        <a:pt x="1522615" y="647175"/>
                      </a:cubicBezTo>
                      <a:cubicBezTo>
                        <a:pt x="1521741" y="654768"/>
                        <a:pt x="1528738" y="656847"/>
                        <a:pt x="1530475" y="662235"/>
                      </a:cubicBezTo>
                      <a:cubicBezTo>
                        <a:pt x="1532452" y="668421"/>
                        <a:pt x="1533302" y="662970"/>
                        <a:pt x="1530424" y="668687"/>
                      </a:cubicBezTo>
                      <a:cubicBezTo>
                        <a:pt x="1528992" y="671565"/>
                        <a:pt x="1522387" y="670221"/>
                        <a:pt x="1522273" y="676192"/>
                      </a:cubicBezTo>
                      <a:cubicBezTo>
                        <a:pt x="1522172" y="680451"/>
                        <a:pt x="1527610" y="678854"/>
                        <a:pt x="1529296" y="682517"/>
                      </a:cubicBezTo>
                      <a:cubicBezTo>
                        <a:pt x="1530817" y="685851"/>
                        <a:pt x="1530741" y="690415"/>
                        <a:pt x="1530817" y="694104"/>
                      </a:cubicBezTo>
                      <a:cubicBezTo>
                        <a:pt x="1536547" y="688032"/>
                        <a:pt x="1543849" y="702077"/>
                        <a:pt x="1550681" y="704384"/>
                      </a:cubicBezTo>
                      <a:cubicBezTo>
                        <a:pt x="1556284" y="706298"/>
                        <a:pt x="1590334" y="698198"/>
                        <a:pt x="1585973" y="711838"/>
                      </a:cubicBezTo>
                      <a:cubicBezTo>
                        <a:pt x="1591550" y="711052"/>
                        <a:pt x="1601071" y="711927"/>
                        <a:pt x="1604544" y="711597"/>
                      </a:cubicBezTo>
                      <a:cubicBezTo>
                        <a:pt x="1609716" y="711103"/>
                        <a:pt x="1617360" y="712738"/>
                        <a:pt x="1622304" y="710216"/>
                      </a:cubicBezTo>
                      <a:cubicBezTo>
                        <a:pt x="1628934" y="706780"/>
                        <a:pt x="1629504" y="702546"/>
                        <a:pt x="1637325" y="700645"/>
                      </a:cubicBezTo>
                      <a:cubicBezTo>
                        <a:pt x="1647099" y="698261"/>
                        <a:pt x="1648531" y="704042"/>
                        <a:pt x="1659167" y="707161"/>
                      </a:cubicBezTo>
                      <a:cubicBezTo>
                        <a:pt x="1668750" y="709987"/>
                        <a:pt x="1680895" y="707769"/>
                        <a:pt x="1690592" y="706843"/>
                      </a:cubicBezTo>
                      <a:cubicBezTo>
                        <a:pt x="1695739" y="706349"/>
                        <a:pt x="1705462" y="708263"/>
                        <a:pt x="1709506" y="707452"/>
                      </a:cubicBezTo>
                      <a:cubicBezTo>
                        <a:pt x="1713740" y="706603"/>
                        <a:pt x="1717086" y="700404"/>
                        <a:pt x="1719659" y="700125"/>
                      </a:cubicBezTo>
                      <a:cubicBezTo>
                        <a:pt x="1727088" y="699326"/>
                        <a:pt x="1728444" y="706615"/>
                        <a:pt x="1737381" y="705728"/>
                      </a:cubicBezTo>
                      <a:cubicBezTo>
                        <a:pt x="1744366" y="705043"/>
                        <a:pt x="1750945" y="697298"/>
                        <a:pt x="1754583" y="705348"/>
                      </a:cubicBezTo>
                      <a:cubicBezTo>
                        <a:pt x="1754292" y="702394"/>
                        <a:pt x="1755509" y="702027"/>
                        <a:pt x="1755661" y="699162"/>
                      </a:cubicBezTo>
                      <a:cubicBezTo>
                        <a:pt x="1764496" y="704106"/>
                        <a:pt x="1770378" y="700531"/>
                        <a:pt x="1768515" y="690212"/>
                      </a:cubicBezTo>
                      <a:cubicBezTo>
                        <a:pt x="1766930" y="681377"/>
                        <a:pt x="1763419" y="683760"/>
                        <a:pt x="1765143" y="674620"/>
                      </a:cubicBezTo>
                      <a:cubicBezTo>
                        <a:pt x="1766512" y="667432"/>
                        <a:pt x="1774549" y="663046"/>
                        <a:pt x="1764027" y="655453"/>
                      </a:cubicBezTo>
                      <a:cubicBezTo>
                        <a:pt x="1757664" y="650851"/>
                        <a:pt x="1754025" y="658559"/>
                        <a:pt x="1745634" y="656771"/>
                      </a:cubicBezTo>
                      <a:cubicBezTo>
                        <a:pt x="1732349" y="653957"/>
                        <a:pt x="1725668" y="628832"/>
                        <a:pt x="1746014" y="629289"/>
                      </a:cubicBezTo>
                      <a:cubicBezTo>
                        <a:pt x="1754152" y="629466"/>
                        <a:pt x="1757372" y="632090"/>
                        <a:pt x="1765498" y="630011"/>
                      </a:cubicBezTo>
                      <a:cubicBezTo>
                        <a:pt x="1769567" y="628972"/>
                        <a:pt x="1773598" y="626867"/>
                        <a:pt x="1778276" y="625828"/>
                      </a:cubicBezTo>
                      <a:cubicBezTo>
                        <a:pt x="1780874" y="625232"/>
                        <a:pt x="1781179" y="623990"/>
                        <a:pt x="1781255" y="621188"/>
                      </a:cubicBezTo>
                      <a:cubicBezTo>
                        <a:pt x="1782053" y="623204"/>
                        <a:pt x="1784893" y="625625"/>
                        <a:pt x="1786021" y="627489"/>
                      </a:cubicBezTo>
                      <a:cubicBezTo>
                        <a:pt x="1787035" y="626474"/>
                        <a:pt x="1787301" y="625004"/>
                        <a:pt x="1787872" y="623774"/>
                      </a:cubicBezTo>
                      <a:cubicBezTo>
                        <a:pt x="1789025" y="624003"/>
                        <a:pt x="1789000" y="625688"/>
                        <a:pt x="1790775" y="626069"/>
                      </a:cubicBezTo>
                      <a:cubicBezTo>
                        <a:pt x="1791307" y="624497"/>
                        <a:pt x="1791624" y="623242"/>
                        <a:pt x="1792587" y="621924"/>
                      </a:cubicBezTo>
                      <a:cubicBezTo>
                        <a:pt x="1797430" y="627805"/>
                        <a:pt x="1813694" y="615966"/>
                        <a:pt x="1815228" y="609095"/>
                      </a:cubicBezTo>
                      <a:cubicBezTo>
                        <a:pt x="1816191" y="604607"/>
                        <a:pt x="1807039" y="604531"/>
                        <a:pt x="1817015" y="597369"/>
                      </a:cubicBezTo>
                      <a:cubicBezTo>
                        <a:pt x="1820793" y="594669"/>
                        <a:pt x="1824279" y="594884"/>
                        <a:pt x="1828880" y="592337"/>
                      </a:cubicBezTo>
                      <a:cubicBezTo>
                        <a:pt x="1842381" y="584845"/>
                        <a:pt x="1846881" y="572029"/>
                        <a:pt x="1858962" y="564068"/>
                      </a:cubicBezTo>
                      <a:cubicBezTo>
                        <a:pt x="1873096" y="554738"/>
                        <a:pt x="1887573" y="556538"/>
                        <a:pt x="1901821" y="548412"/>
                      </a:cubicBezTo>
                      <a:cubicBezTo>
                        <a:pt x="1910581" y="543405"/>
                        <a:pt x="1928949" y="538030"/>
                        <a:pt x="1937075" y="528764"/>
                      </a:cubicBezTo>
                      <a:cubicBezTo>
                        <a:pt x="1928632" y="523896"/>
                        <a:pt x="1933069" y="518268"/>
                        <a:pt x="1938989" y="514997"/>
                      </a:cubicBezTo>
                      <a:cubicBezTo>
                        <a:pt x="1941308" y="513704"/>
                        <a:pt x="1945162" y="514946"/>
                        <a:pt x="1946949" y="513755"/>
                      </a:cubicBezTo>
                      <a:cubicBezTo>
                        <a:pt x="1948319" y="512817"/>
                        <a:pt x="1954099" y="506580"/>
                        <a:pt x="1954492" y="506466"/>
                      </a:cubicBezTo>
                      <a:cubicBezTo>
                        <a:pt x="1963378" y="503994"/>
                        <a:pt x="1962884" y="511689"/>
                        <a:pt x="1967942" y="515162"/>
                      </a:cubicBezTo>
                      <a:cubicBezTo>
                        <a:pt x="1971250" y="517444"/>
                        <a:pt x="1978856" y="517837"/>
                        <a:pt x="1984497" y="520765"/>
                      </a:cubicBezTo>
                      <a:cubicBezTo>
                        <a:pt x="1983471" y="519649"/>
                        <a:pt x="1982887" y="518356"/>
                        <a:pt x="1982000" y="517177"/>
                      </a:cubicBezTo>
                      <a:cubicBezTo>
                        <a:pt x="1990671" y="520004"/>
                        <a:pt x="1998720" y="523896"/>
                        <a:pt x="2006174" y="526495"/>
                      </a:cubicBezTo>
                      <a:cubicBezTo>
                        <a:pt x="2003880" y="516784"/>
                        <a:pt x="2015352" y="522058"/>
                        <a:pt x="2018255" y="515796"/>
                      </a:cubicBezTo>
                      <a:cubicBezTo>
                        <a:pt x="2018508" y="517951"/>
                        <a:pt x="2019332" y="519028"/>
                        <a:pt x="2019802" y="520904"/>
                      </a:cubicBezTo>
                      <a:cubicBezTo>
                        <a:pt x="2025582" y="519003"/>
                        <a:pt x="2023630" y="513831"/>
                        <a:pt x="2030133" y="511143"/>
                      </a:cubicBezTo>
                      <a:cubicBezTo>
                        <a:pt x="2032998" y="509964"/>
                        <a:pt x="2036179" y="512981"/>
                        <a:pt x="2039463" y="511004"/>
                      </a:cubicBezTo>
                      <a:cubicBezTo>
                        <a:pt x="2042416" y="509229"/>
                        <a:pt x="2039311" y="504932"/>
                        <a:pt x="2042137" y="503132"/>
                      </a:cubicBezTo>
                      <a:cubicBezTo>
                        <a:pt x="2044077" y="501889"/>
                        <a:pt x="2056373" y="501788"/>
                        <a:pt x="2060328" y="501534"/>
                      </a:cubicBezTo>
                      <a:cubicBezTo>
                        <a:pt x="2071851" y="500774"/>
                        <a:pt x="2066375" y="505502"/>
                        <a:pt x="2073385" y="508950"/>
                      </a:cubicBezTo>
                      <a:cubicBezTo>
                        <a:pt x="2074906" y="509711"/>
                        <a:pt x="2084553" y="509774"/>
                        <a:pt x="2083171" y="508684"/>
                      </a:cubicBezTo>
                      <a:cubicBezTo>
                        <a:pt x="2093351" y="516784"/>
                        <a:pt x="2067072" y="515884"/>
                        <a:pt x="2073727" y="528561"/>
                      </a:cubicBezTo>
                      <a:cubicBezTo>
                        <a:pt x="2077125" y="525873"/>
                        <a:pt x="2081004" y="523883"/>
                        <a:pt x="2085225" y="522920"/>
                      </a:cubicBezTo>
                      <a:cubicBezTo>
                        <a:pt x="2085656" y="528003"/>
                        <a:pt x="2093439" y="533555"/>
                        <a:pt x="2096659" y="538119"/>
                      </a:cubicBezTo>
                      <a:cubicBezTo>
                        <a:pt x="2104608" y="549591"/>
                        <a:pt x="2105393" y="555042"/>
                        <a:pt x="2091424" y="561799"/>
                      </a:cubicBezTo>
                      <a:cubicBezTo>
                        <a:pt x="2092210" y="567529"/>
                        <a:pt x="2091196" y="570900"/>
                        <a:pt x="2095886" y="576922"/>
                      </a:cubicBezTo>
                      <a:cubicBezTo>
                        <a:pt x="2100576" y="563599"/>
                        <a:pt x="2106116" y="557223"/>
                        <a:pt x="2118818" y="570748"/>
                      </a:cubicBezTo>
                      <a:cubicBezTo>
                        <a:pt x="2122697" y="574906"/>
                        <a:pt x="2124776" y="582183"/>
                        <a:pt x="2129504" y="583894"/>
                      </a:cubicBezTo>
                      <a:cubicBezTo>
                        <a:pt x="2133396" y="585288"/>
                        <a:pt x="2136451" y="580243"/>
                        <a:pt x="2140330" y="580966"/>
                      </a:cubicBezTo>
                      <a:cubicBezTo>
                        <a:pt x="2144970" y="581815"/>
                        <a:pt x="2156036" y="591880"/>
                        <a:pt x="2157469" y="595379"/>
                      </a:cubicBezTo>
                      <a:cubicBezTo>
                        <a:pt x="2158128" y="597001"/>
                        <a:pt x="2154490" y="600652"/>
                        <a:pt x="2154832" y="602985"/>
                      </a:cubicBezTo>
                      <a:cubicBezTo>
                        <a:pt x="2155098" y="604899"/>
                        <a:pt x="2158445" y="606230"/>
                        <a:pt x="2158571" y="607739"/>
                      </a:cubicBezTo>
                      <a:cubicBezTo>
                        <a:pt x="2158800" y="610324"/>
                        <a:pt x="2160080" y="614520"/>
                        <a:pt x="2158052" y="617398"/>
                      </a:cubicBezTo>
                      <a:cubicBezTo>
                        <a:pt x="2155757" y="620669"/>
                        <a:pt x="2152322" y="618767"/>
                        <a:pt x="2147226" y="621277"/>
                      </a:cubicBezTo>
                      <a:cubicBezTo>
                        <a:pt x="2142561" y="623546"/>
                        <a:pt x="2138175" y="628541"/>
                        <a:pt x="2134740" y="631241"/>
                      </a:cubicBezTo>
                      <a:cubicBezTo>
                        <a:pt x="2119971" y="642713"/>
                        <a:pt x="2121404" y="651675"/>
                        <a:pt x="2133434" y="666583"/>
                      </a:cubicBezTo>
                      <a:cubicBezTo>
                        <a:pt x="2135627" y="669283"/>
                        <a:pt x="2145832" y="679196"/>
                        <a:pt x="2142003" y="682885"/>
                      </a:cubicBezTo>
                      <a:cubicBezTo>
                        <a:pt x="2139341" y="685446"/>
                        <a:pt x="2125372" y="677865"/>
                        <a:pt x="2123939" y="676521"/>
                      </a:cubicBezTo>
                      <a:cubicBezTo>
                        <a:pt x="2120428" y="673213"/>
                        <a:pt x="2122063" y="665810"/>
                        <a:pt x="2114761" y="662488"/>
                      </a:cubicBezTo>
                      <a:cubicBezTo>
                        <a:pt x="2109640" y="660143"/>
                        <a:pt x="2104531" y="663363"/>
                        <a:pt x="2100855" y="664276"/>
                      </a:cubicBezTo>
                      <a:cubicBezTo>
                        <a:pt x="2091474" y="666621"/>
                        <a:pt x="2078405" y="665974"/>
                        <a:pt x="2068644" y="669955"/>
                      </a:cubicBezTo>
                      <a:cubicBezTo>
                        <a:pt x="2060455" y="673276"/>
                        <a:pt x="2060417" y="678398"/>
                        <a:pt x="2054725" y="683455"/>
                      </a:cubicBezTo>
                      <a:cubicBezTo>
                        <a:pt x="2051290" y="686536"/>
                        <a:pt x="2047462" y="687157"/>
                        <a:pt x="2044305" y="689654"/>
                      </a:cubicBezTo>
                      <a:cubicBezTo>
                        <a:pt x="2038588" y="694167"/>
                        <a:pt x="2034151" y="700683"/>
                        <a:pt x="2028460" y="704093"/>
                      </a:cubicBezTo>
                      <a:cubicBezTo>
                        <a:pt x="2025709" y="705741"/>
                        <a:pt x="2022704" y="705272"/>
                        <a:pt x="2019535" y="707427"/>
                      </a:cubicBezTo>
                      <a:cubicBezTo>
                        <a:pt x="2014604" y="710761"/>
                        <a:pt x="2013717" y="714373"/>
                        <a:pt x="2006707" y="716934"/>
                      </a:cubicBezTo>
                      <a:cubicBezTo>
                        <a:pt x="2001699" y="718747"/>
                        <a:pt x="1999608" y="715907"/>
                        <a:pt x="1994436" y="720483"/>
                      </a:cubicBezTo>
                      <a:cubicBezTo>
                        <a:pt x="1990531" y="723957"/>
                        <a:pt x="1990772" y="732374"/>
                        <a:pt x="1990062" y="735835"/>
                      </a:cubicBezTo>
                      <a:cubicBezTo>
                        <a:pt x="1987210" y="750007"/>
                        <a:pt x="1998023" y="759565"/>
                        <a:pt x="1993358" y="769111"/>
                      </a:cubicBezTo>
                      <a:cubicBezTo>
                        <a:pt x="1991406" y="773091"/>
                        <a:pt x="1986297" y="772698"/>
                        <a:pt x="1984916" y="776552"/>
                      </a:cubicBezTo>
                      <a:cubicBezTo>
                        <a:pt x="1983471" y="780634"/>
                        <a:pt x="1986830" y="785628"/>
                        <a:pt x="1985334" y="789761"/>
                      </a:cubicBezTo>
                      <a:cubicBezTo>
                        <a:pt x="1984282" y="792664"/>
                        <a:pt x="1974749" y="801372"/>
                        <a:pt x="1972860" y="803084"/>
                      </a:cubicBezTo>
                      <a:cubicBezTo>
                        <a:pt x="1968170" y="807343"/>
                        <a:pt x="1962364" y="809016"/>
                        <a:pt x="1958041" y="813656"/>
                      </a:cubicBezTo>
                      <a:cubicBezTo>
                        <a:pt x="1955633" y="816255"/>
                        <a:pt x="1951310" y="825572"/>
                        <a:pt x="1952160" y="828741"/>
                      </a:cubicBezTo>
                      <a:cubicBezTo>
                        <a:pt x="1953896" y="835472"/>
                        <a:pt x="1958257" y="831581"/>
                        <a:pt x="1961020" y="835713"/>
                      </a:cubicBezTo>
                      <a:cubicBezTo>
                        <a:pt x="1968905" y="847350"/>
                        <a:pt x="1953402" y="868913"/>
                        <a:pt x="1946937" y="877812"/>
                      </a:cubicBezTo>
                      <a:cubicBezTo>
                        <a:pt x="1937620" y="890590"/>
                        <a:pt x="1933512" y="901061"/>
                        <a:pt x="1927694" y="917008"/>
                      </a:cubicBezTo>
                      <a:cubicBezTo>
                        <a:pt x="1926490" y="920329"/>
                        <a:pt x="1923384" y="934336"/>
                        <a:pt x="1921267" y="935579"/>
                      </a:cubicBezTo>
                      <a:cubicBezTo>
                        <a:pt x="1917565" y="937708"/>
                        <a:pt x="1912558" y="932143"/>
                        <a:pt x="1906511" y="930534"/>
                      </a:cubicBezTo>
                      <a:cubicBezTo>
                        <a:pt x="1902417" y="929443"/>
                        <a:pt x="1898094" y="929418"/>
                        <a:pt x="1894697" y="928480"/>
                      </a:cubicBezTo>
                      <a:cubicBezTo>
                        <a:pt x="1889842" y="927111"/>
                        <a:pt x="1888929" y="924119"/>
                        <a:pt x="1882312" y="924766"/>
                      </a:cubicBezTo>
                      <a:cubicBezTo>
                        <a:pt x="1878915" y="925108"/>
                        <a:pt x="1876252" y="930331"/>
                        <a:pt x="1870890" y="927986"/>
                      </a:cubicBezTo>
                      <a:cubicBezTo>
                        <a:pt x="1867924" y="926667"/>
                        <a:pt x="1862917" y="911747"/>
                        <a:pt x="1859862" y="922154"/>
                      </a:cubicBezTo>
                      <a:cubicBezTo>
                        <a:pt x="1858936" y="925362"/>
                        <a:pt x="1864159" y="941144"/>
                        <a:pt x="1865034" y="944490"/>
                      </a:cubicBezTo>
                      <a:cubicBezTo>
                        <a:pt x="1865693" y="947178"/>
                        <a:pt x="1869001" y="947862"/>
                        <a:pt x="1869394" y="951272"/>
                      </a:cubicBezTo>
                      <a:cubicBezTo>
                        <a:pt x="1870041" y="957167"/>
                        <a:pt x="1867975" y="964950"/>
                        <a:pt x="1867151" y="970921"/>
                      </a:cubicBezTo>
                      <a:cubicBezTo>
                        <a:pt x="1866187" y="977678"/>
                        <a:pt x="1867278" y="987084"/>
                        <a:pt x="1864793" y="993637"/>
                      </a:cubicBezTo>
                      <a:cubicBezTo>
                        <a:pt x="1863754" y="996439"/>
                        <a:pt x="1861738" y="1000774"/>
                        <a:pt x="1858632" y="1001928"/>
                      </a:cubicBezTo>
                      <a:cubicBezTo>
                        <a:pt x="1856186" y="1002828"/>
                        <a:pt x="1852116" y="999037"/>
                        <a:pt x="1852269" y="998949"/>
                      </a:cubicBezTo>
                      <a:cubicBezTo>
                        <a:pt x="1843940" y="1003550"/>
                        <a:pt x="1852040" y="1002536"/>
                        <a:pt x="1850570" y="1010662"/>
                      </a:cubicBezTo>
                      <a:cubicBezTo>
                        <a:pt x="1849112" y="1018547"/>
                        <a:pt x="1843471" y="1020017"/>
                        <a:pt x="1843205" y="1029068"/>
                      </a:cubicBezTo>
                      <a:cubicBezTo>
                        <a:pt x="1843040" y="1035127"/>
                        <a:pt x="1847502" y="1041846"/>
                        <a:pt x="1848795" y="1047145"/>
                      </a:cubicBezTo>
                      <a:cubicBezTo>
                        <a:pt x="1851102" y="1056487"/>
                        <a:pt x="1847096" y="1060354"/>
                        <a:pt x="1847920" y="1065754"/>
                      </a:cubicBezTo>
                      <a:cubicBezTo>
                        <a:pt x="1837171" y="1060899"/>
                        <a:pt x="1839681" y="1070723"/>
                        <a:pt x="1835028" y="1076884"/>
                      </a:cubicBezTo>
                      <a:cubicBezTo>
                        <a:pt x="1834090" y="1078101"/>
                        <a:pt x="1836004" y="1079521"/>
                        <a:pt x="1834395" y="1081105"/>
                      </a:cubicBezTo>
                      <a:cubicBezTo>
                        <a:pt x="1833976" y="1081549"/>
                        <a:pt x="1830288" y="1077201"/>
                        <a:pt x="1828399" y="1083527"/>
                      </a:cubicBezTo>
                      <a:cubicBezTo>
                        <a:pt x="1827486" y="1079305"/>
                        <a:pt x="1825204" y="1076288"/>
                        <a:pt x="1821807" y="1073309"/>
                      </a:cubicBezTo>
                      <a:cubicBezTo>
                        <a:pt x="1814391" y="1066819"/>
                        <a:pt x="1816584" y="1069836"/>
                        <a:pt x="1813415" y="1072042"/>
                      </a:cubicBezTo>
                      <a:cubicBezTo>
                        <a:pt x="1810259" y="1074235"/>
                        <a:pt x="1812274" y="1079800"/>
                        <a:pt x="1806113" y="1081917"/>
                      </a:cubicBezTo>
                      <a:cubicBezTo>
                        <a:pt x="1804339" y="1068188"/>
                        <a:pt x="1802944" y="1054611"/>
                        <a:pt x="1800827" y="1038208"/>
                      </a:cubicBezTo>
                      <a:cubicBezTo>
                        <a:pt x="1799065" y="1024276"/>
                        <a:pt x="1793589" y="1015301"/>
                        <a:pt x="1789609" y="1003271"/>
                      </a:cubicBezTo>
                      <a:cubicBezTo>
                        <a:pt x="1786059" y="992496"/>
                        <a:pt x="1790116" y="981899"/>
                        <a:pt x="1787720" y="972176"/>
                      </a:cubicBezTo>
                      <a:cubicBezTo>
                        <a:pt x="1785869" y="964646"/>
                        <a:pt x="1783688" y="940776"/>
                        <a:pt x="1777908" y="952578"/>
                      </a:cubicBezTo>
                      <a:cubicBezTo>
                        <a:pt x="1775867" y="941004"/>
                        <a:pt x="1772077" y="951209"/>
                        <a:pt x="1768553" y="950892"/>
                      </a:cubicBezTo>
                      <a:cubicBezTo>
                        <a:pt x="1764319" y="950512"/>
                        <a:pt x="1762341" y="952223"/>
                        <a:pt x="1757841" y="946772"/>
                      </a:cubicBezTo>
                      <a:cubicBezTo>
                        <a:pt x="1755154" y="957788"/>
                        <a:pt x="1760503" y="961008"/>
                        <a:pt x="1753303" y="969932"/>
                      </a:cubicBezTo>
                      <a:cubicBezTo>
                        <a:pt x="1750222" y="973760"/>
                        <a:pt x="1745431" y="975687"/>
                        <a:pt x="1744607" y="981772"/>
                      </a:cubicBezTo>
                      <a:cubicBezTo>
                        <a:pt x="1744074" y="985905"/>
                        <a:pt x="1748473" y="990506"/>
                        <a:pt x="1747915" y="994461"/>
                      </a:cubicBezTo>
                      <a:cubicBezTo>
                        <a:pt x="1746939" y="1001801"/>
                        <a:pt x="1738028" y="1003005"/>
                        <a:pt x="1732944" y="1007176"/>
                      </a:cubicBezTo>
                      <a:cubicBezTo>
                        <a:pt x="1726720" y="1001814"/>
                        <a:pt x="1725934" y="993320"/>
                        <a:pt x="1722157" y="985550"/>
                      </a:cubicBezTo>
                      <a:cubicBezTo>
                        <a:pt x="1715223" y="976207"/>
                        <a:pt x="1716883" y="992572"/>
                        <a:pt x="1717010" y="998011"/>
                      </a:cubicBezTo>
                      <a:cubicBezTo>
                        <a:pt x="1708872" y="995234"/>
                        <a:pt x="1709708" y="976283"/>
                        <a:pt x="1707198" y="969843"/>
                      </a:cubicBezTo>
                      <a:cubicBezTo>
                        <a:pt x="1705462" y="965394"/>
                        <a:pt x="1702660" y="962161"/>
                        <a:pt x="1701101" y="957319"/>
                      </a:cubicBezTo>
                      <a:cubicBezTo>
                        <a:pt x="1700366" y="955050"/>
                        <a:pt x="1699288" y="947190"/>
                        <a:pt x="1699390" y="946924"/>
                      </a:cubicBezTo>
                      <a:cubicBezTo>
                        <a:pt x="1700391" y="944275"/>
                        <a:pt x="1704219" y="945821"/>
                        <a:pt x="1704777" y="942982"/>
                      </a:cubicBezTo>
                      <a:cubicBezTo>
                        <a:pt x="1705107" y="941461"/>
                        <a:pt x="1705208" y="935731"/>
                        <a:pt x="1705563" y="934945"/>
                      </a:cubicBezTo>
                      <a:cubicBezTo>
                        <a:pt x="1708086" y="929177"/>
                        <a:pt x="1711293" y="928860"/>
                        <a:pt x="1713803" y="926160"/>
                      </a:cubicBezTo>
                      <a:cubicBezTo>
                        <a:pt x="1714830" y="925019"/>
                        <a:pt x="1715108" y="918833"/>
                        <a:pt x="1715983" y="918440"/>
                      </a:cubicBezTo>
                      <a:cubicBezTo>
                        <a:pt x="1719228" y="917058"/>
                        <a:pt x="1723006" y="919454"/>
                        <a:pt x="1726492" y="918465"/>
                      </a:cubicBezTo>
                      <a:cubicBezTo>
                        <a:pt x="1732577" y="916779"/>
                        <a:pt x="1736646" y="917249"/>
                        <a:pt x="1736114" y="908438"/>
                      </a:cubicBezTo>
                      <a:cubicBezTo>
                        <a:pt x="1739219" y="917173"/>
                        <a:pt x="1742540" y="910213"/>
                        <a:pt x="1743479" y="910264"/>
                      </a:cubicBezTo>
                      <a:cubicBezTo>
                        <a:pt x="1738826" y="910010"/>
                        <a:pt x="1749639" y="907678"/>
                        <a:pt x="1748498" y="907931"/>
                      </a:cubicBezTo>
                      <a:cubicBezTo>
                        <a:pt x="1750210" y="907551"/>
                        <a:pt x="1749285" y="911037"/>
                        <a:pt x="1749804" y="910948"/>
                      </a:cubicBezTo>
                      <a:cubicBezTo>
                        <a:pt x="1757575" y="909516"/>
                        <a:pt x="1749665" y="913991"/>
                        <a:pt x="1756611" y="904509"/>
                      </a:cubicBezTo>
                      <a:cubicBezTo>
                        <a:pt x="1758779" y="901555"/>
                        <a:pt x="1754165" y="895559"/>
                        <a:pt x="1761454" y="900592"/>
                      </a:cubicBezTo>
                      <a:cubicBezTo>
                        <a:pt x="1760795" y="899476"/>
                        <a:pt x="1760478" y="897017"/>
                        <a:pt x="1759844" y="895952"/>
                      </a:cubicBezTo>
                      <a:cubicBezTo>
                        <a:pt x="1772153" y="899882"/>
                        <a:pt x="1768565" y="892973"/>
                        <a:pt x="1771342" y="886635"/>
                      </a:cubicBezTo>
                      <a:cubicBezTo>
                        <a:pt x="1773877" y="880918"/>
                        <a:pt x="1777578" y="876874"/>
                        <a:pt x="1778935" y="869610"/>
                      </a:cubicBezTo>
                      <a:cubicBezTo>
                        <a:pt x="1778909" y="869673"/>
                        <a:pt x="1781077" y="855133"/>
                        <a:pt x="1780050" y="855717"/>
                      </a:cubicBezTo>
                      <a:cubicBezTo>
                        <a:pt x="1784969" y="852852"/>
                        <a:pt x="1787656" y="859887"/>
                        <a:pt x="1790889" y="859811"/>
                      </a:cubicBezTo>
                      <a:cubicBezTo>
                        <a:pt x="1813605" y="859215"/>
                        <a:pt x="1782548" y="839427"/>
                        <a:pt x="1776273" y="836803"/>
                      </a:cubicBezTo>
                      <a:cubicBezTo>
                        <a:pt x="1759096" y="829616"/>
                        <a:pt x="1741235" y="838388"/>
                        <a:pt x="1726669" y="836093"/>
                      </a:cubicBezTo>
                      <a:cubicBezTo>
                        <a:pt x="1720382" y="835117"/>
                        <a:pt x="1712472" y="831885"/>
                        <a:pt x="1706248" y="831352"/>
                      </a:cubicBezTo>
                      <a:cubicBezTo>
                        <a:pt x="1698832" y="830744"/>
                        <a:pt x="1690288" y="834813"/>
                        <a:pt x="1682644" y="835155"/>
                      </a:cubicBezTo>
                      <a:cubicBezTo>
                        <a:pt x="1671273" y="835688"/>
                        <a:pt x="1659180" y="835878"/>
                        <a:pt x="1647302" y="835092"/>
                      </a:cubicBezTo>
                      <a:cubicBezTo>
                        <a:pt x="1634372" y="834255"/>
                        <a:pt x="1622507" y="828690"/>
                        <a:pt x="1610147" y="824355"/>
                      </a:cubicBezTo>
                      <a:cubicBezTo>
                        <a:pt x="1601882" y="821452"/>
                        <a:pt x="1602934" y="827397"/>
                        <a:pt x="1600678" y="816686"/>
                      </a:cubicBezTo>
                      <a:cubicBezTo>
                        <a:pt x="1600094" y="813783"/>
                        <a:pt x="1602465" y="808826"/>
                        <a:pt x="1602693" y="805911"/>
                      </a:cubicBezTo>
                      <a:cubicBezTo>
                        <a:pt x="1603200" y="799953"/>
                        <a:pt x="1601121" y="795693"/>
                        <a:pt x="1601020" y="790445"/>
                      </a:cubicBezTo>
                      <a:cubicBezTo>
                        <a:pt x="1600817" y="784880"/>
                        <a:pt x="1604214" y="774270"/>
                        <a:pt x="1600310" y="772698"/>
                      </a:cubicBezTo>
                      <a:cubicBezTo>
                        <a:pt x="1604164" y="769668"/>
                        <a:pt x="1587646" y="745241"/>
                        <a:pt x="1587177" y="755788"/>
                      </a:cubicBezTo>
                      <a:cubicBezTo>
                        <a:pt x="1583361" y="756662"/>
                        <a:pt x="1582702" y="756422"/>
                        <a:pt x="1586416" y="759210"/>
                      </a:cubicBezTo>
                      <a:cubicBezTo>
                        <a:pt x="1585440" y="760554"/>
                        <a:pt x="1583729" y="759781"/>
                        <a:pt x="1583653" y="761847"/>
                      </a:cubicBezTo>
                      <a:cubicBezTo>
                        <a:pt x="1590384" y="763305"/>
                        <a:pt x="1581143" y="770581"/>
                        <a:pt x="1579432" y="770847"/>
                      </a:cubicBezTo>
                      <a:cubicBezTo>
                        <a:pt x="1578810" y="770949"/>
                        <a:pt x="1570520" y="768261"/>
                        <a:pt x="1569379" y="767894"/>
                      </a:cubicBezTo>
                      <a:cubicBezTo>
                        <a:pt x="1564283" y="766170"/>
                        <a:pt x="1537549" y="748245"/>
                        <a:pt x="1549414" y="743998"/>
                      </a:cubicBezTo>
                      <a:cubicBezTo>
                        <a:pt x="1548387" y="742579"/>
                        <a:pt x="1540692" y="733642"/>
                        <a:pt x="1537384" y="734085"/>
                      </a:cubicBezTo>
                      <a:cubicBezTo>
                        <a:pt x="1527204" y="735480"/>
                        <a:pt x="1541187" y="744848"/>
                        <a:pt x="1542365" y="745304"/>
                      </a:cubicBezTo>
                      <a:cubicBezTo>
                        <a:pt x="1543291" y="746622"/>
                        <a:pt x="1543075" y="747763"/>
                        <a:pt x="1544736" y="749234"/>
                      </a:cubicBezTo>
                      <a:cubicBezTo>
                        <a:pt x="1541618" y="751288"/>
                        <a:pt x="1531426" y="749373"/>
                        <a:pt x="1530538" y="749132"/>
                      </a:cubicBezTo>
                      <a:cubicBezTo>
                        <a:pt x="1527635" y="748283"/>
                        <a:pt x="1521627" y="745304"/>
                        <a:pt x="1515593" y="746952"/>
                      </a:cubicBezTo>
                      <a:cubicBezTo>
                        <a:pt x="1530513" y="740867"/>
                        <a:pt x="1496350" y="727341"/>
                        <a:pt x="1496324" y="719558"/>
                      </a:cubicBezTo>
                      <a:cubicBezTo>
                        <a:pt x="1493320" y="723817"/>
                        <a:pt x="1490278" y="729496"/>
                        <a:pt x="1492648" y="733388"/>
                      </a:cubicBezTo>
                      <a:cubicBezTo>
                        <a:pt x="1495006" y="725947"/>
                        <a:pt x="1504818" y="734757"/>
                        <a:pt x="1504628" y="740931"/>
                      </a:cubicBezTo>
                      <a:cubicBezTo>
                        <a:pt x="1499278" y="739650"/>
                        <a:pt x="1497592" y="742287"/>
                        <a:pt x="1493269" y="745735"/>
                      </a:cubicBezTo>
                      <a:cubicBezTo>
                        <a:pt x="1491190" y="747396"/>
                        <a:pt x="1493016" y="750425"/>
                        <a:pt x="1490633" y="752454"/>
                      </a:cubicBezTo>
                      <a:cubicBezTo>
                        <a:pt x="1488237" y="754545"/>
                        <a:pt x="1484687" y="753582"/>
                        <a:pt x="1482367" y="756117"/>
                      </a:cubicBezTo>
                      <a:cubicBezTo>
                        <a:pt x="1478679" y="760161"/>
                        <a:pt x="1471871" y="774993"/>
                        <a:pt x="1474381" y="780938"/>
                      </a:cubicBezTo>
                      <a:cubicBezTo>
                        <a:pt x="1477931" y="789418"/>
                        <a:pt x="1478970" y="781698"/>
                        <a:pt x="1484662" y="784094"/>
                      </a:cubicBezTo>
                      <a:cubicBezTo>
                        <a:pt x="1493282" y="787733"/>
                        <a:pt x="1495412" y="796606"/>
                        <a:pt x="1500216" y="801740"/>
                      </a:cubicBezTo>
                      <a:cubicBezTo>
                        <a:pt x="1505439" y="807292"/>
                        <a:pt x="1517887" y="814315"/>
                        <a:pt x="1522692" y="806963"/>
                      </a:cubicBezTo>
                      <a:cubicBezTo>
                        <a:pt x="1528573" y="808826"/>
                        <a:pt x="1528472" y="817535"/>
                        <a:pt x="1532503" y="821782"/>
                      </a:cubicBezTo>
                      <a:cubicBezTo>
                        <a:pt x="1535102" y="824507"/>
                        <a:pt x="1539184" y="822263"/>
                        <a:pt x="1540578" y="825217"/>
                      </a:cubicBezTo>
                      <a:cubicBezTo>
                        <a:pt x="1540629" y="825356"/>
                        <a:pt x="1535672" y="832328"/>
                        <a:pt x="1536154" y="833989"/>
                      </a:cubicBezTo>
                      <a:cubicBezTo>
                        <a:pt x="1529778" y="830009"/>
                        <a:pt x="1517659" y="833393"/>
                        <a:pt x="1510535" y="833203"/>
                      </a:cubicBezTo>
                      <a:cubicBezTo>
                        <a:pt x="1509052" y="833165"/>
                        <a:pt x="1502726" y="831302"/>
                        <a:pt x="1501763" y="832062"/>
                      </a:cubicBezTo>
                      <a:cubicBezTo>
                        <a:pt x="1498416" y="834648"/>
                        <a:pt x="1499088" y="843725"/>
                        <a:pt x="1496629" y="848554"/>
                      </a:cubicBezTo>
                      <a:cubicBezTo>
                        <a:pt x="1488199" y="865021"/>
                        <a:pt x="1488275" y="848466"/>
                        <a:pt x="1479097" y="852193"/>
                      </a:cubicBezTo>
                      <a:cubicBezTo>
                        <a:pt x="1478717" y="852345"/>
                        <a:pt x="1471859" y="867024"/>
                        <a:pt x="1471415" y="869686"/>
                      </a:cubicBezTo>
                      <a:cubicBezTo>
                        <a:pt x="1470350" y="876329"/>
                        <a:pt x="1473621" y="881830"/>
                        <a:pt x="1478970" y="887015"/>
                      </a:cubicBezTo>
                      <a:cubicBezTo>
                        <a:pt x="1483331" y="891224"/>
                        <a:pt x="1496984" y="898436"/>
                        <a:pt x="1503043" y="900604"/>
                      </a:cubicBezTo>
                      <a:cubicBezTo>
                        <a:pt x="1506795" y="901935"/>
                        <a:pt x="1516036" y="899692"/>
                        <a:pt x="1516252" y="899755"/>
                      </a:cubicBezTo>
                      <a:cubicBezTo>
                        <a:pt x="1528092" y="903723"/>
                        <a:pt x="1518876" y="906664"/>
                        <a:pt x="1518420" y="912203"/>
                      </a:cubicBezTo>
                      <a:cubicBezTo>
                        <a:pt x="1517836" y="919378"/>
                        <a:pt x="1522146" y="922154"/>
                        <a:pt x="1520676" y="927947"/>
                      </a:cubicBezTo>
                      <a:cubicBezTo>
                        <a:pt x="1518065" y="938177"/>
                        <a:pt x="1509166" y="934768"/>
                        <a:pt x="1508912" y="947229"/>
                      </a:cubicBezTo>
                      <a:cubicBezTo>
                        <a:pt x="1508709" y="956533"/>
                        <a:pt x="1513159" y="959360"/>
                        <a:pt x="1521044" y="966547"/>
                      </a:cubicBezTo>
                      <a:cubicBezTo>
                        <a:pt x="1522070" y="965812"/>
                        <a:pt x="1522806" y="965077"/>
                        <a:pt x="1523807" y="964164"/>
                      </a:cubicBezTo>
                      <a:cubicBezTo>
                        <a:pt x="1526216" y="970515"/>
                        <a:pt x="1515605" y="977804"/>
                        <a:pt x="1519852" y="983724"/>
                      </a:cubicBezTo>
                      <a:cubicBezTo>
                        <a:pt x="1521639" y="986221"/>
                        <a:pt x="1535647" y="986386"/>
                        <a:pt x="1538803" y="987134"/>
                      </a:cubicBezTo>
                      <a:cubicBezTo>
                        <a:pt x="1535596" y="992522"/>
                        <a:pt x="1530424" y="994956"/>
                        <a:pt x="1530247" y="1002105"/>
                      </a:cubicBezTo>
                      <a:cubicBezTo>
                        <a:pt x="1530120" y="1007886"/>
                        <a:pt x="1536129" y="1010408"/>
                        <a:pt x="1537282" y="1014237"/>
                      </a:cubicBezTo>
                      <a:cubicBezTo>
                        <a:pt x="1538208" y="1017507"/>
                        <a:pt x="1536496" y="1024061"/>
                        <a:pt x="1536306" y="1027572"/>
                      </a:cubicBezTo>
                      <a:cubicBezTo>
                        <a:pt x="1536015" y="1032466"/>
                        <a:pt x="1540210" y="1033378"/>
                        <a:pt x="1536484" y="1037840"/>
                      </a:cubicBezTo>
                      <a:cubicBezTo>
                        <a:pt x="1542492" y="1040832"/>
                        <a:pt x="1546828" y="1068885"/>
                        <a:pt x="1545028" y="1069582"/>
                      </a:cubicBezTo>
                      <a:cubicBezTo>
                        <a:pt x="1544318" y="1076529"/>
                        <a:pt x="1548945" y="1084528"/>
                        <a:pt x="1542492" y="1087545"/>
                      </a:cubicBezTo>
                      <a:cubicBezTo>
                        <a:pt x="1539602" y="1085073"/>
                        <a:pt x="1536965" y="1083831"/>
                        <a:pt x="1535406" y="1081219"/>
                      </a:cubicBezTo>
                      <a:cubicBezTo>
                        <a:pt x="1535229" y="1082741"/>
                        <a:pt x="1554548" y="1114089"/>
                        <a:pt x="1544292" y="1108449"/>
                      </a:cubicBezTo>
                      <a:cubicBezTo>
                        <a:pt x="1538740" y="1114825"/>
                        <a:pt x="1531400" y="1103505"/>
                        <a:pt x="1531337" y="1098155"/>
                      </a:cubicBezTo>
                      <a:cubicBezTo>
                        <a:pt x="1530703" y="1101616"/>
                        <a:pt x="1531667" y="1106940"/>
                        <a:pt x="1530260" y="1109285"/>
                      </a:cubicBezTo>
                      <a:cubicBezTo>
                        <a:pt x="1528054" y="1112961"/>
                        <a:pt x="1527623" y="1104962"/>
                        <a:pt x="1527800" y="1103923"/>
                      </a:cubicBezTo>
                      <a:cubicBezTo>
                        <a:pt x="1527065" y="1105039"/>
                        <a:pt x="1524530" y="1113976"/>
                        <a:pt x="1526317" y="1113443"/>
                      </a:cubicBezTo>
                      <a:cubicBezTo>
                        <a:pt x="1519434" y="1115509"/>
                        <a:pt x="1518876" y="1108550"/>
                        <a:pt x="1518673" y="1102377"/>
                      </a:cubicBezTo>
                      <a:cubicBezTo>
                        <a:pt x="1518458" y="1094745"/>
                        <a:pt x="1522261" y="1087583"/>
                        <a:pt x="1523085" y="1081156"/>
                      </a:cubicBezTo>
                      <a:cubicBezTo>
                        <a:pt x="1523706" y="1076237"/>
                        <a:pt x="1517646" y="1074158"/>
                        <a:pt x="1524289" y="1070090"/>
                      </a:cubicBezTo>
                      <a:cubicBezTo>
                        <a:pt x="1519015" y="1071611"/>
                        <a:pt x="1521601" y="1088268"/>
                        <a:pt x="1514921" y="1084553"/>
                      </a:cubicBezTo>
                      <a:cubicBezTo>
                        <a:pt x="1512867" y="1083412"/>
                        <a:pt x="1517177" y="1066388"/>
                        <a:pt x="1518141" y="1064398"/>
                      </a:cubicBezTo>
                      <a:cubicBezTo>
                        <a:pt x="1512817" y="1068302"/>
                        <a:pt x="1508798" y="1090892"/>
                        <a:pt x="1509597" y="1098155"/>
                      </a:cubicBezTo>
                      <a:cubicBezTo>
                        <a:pt x="1516074" y="1096431"/>
                        <a:pt x="1515060" y="1101096"/>
                        <a:pt x="1511638" y="1102884"/>
                      </a:cubicBezTo>
                      <a:cubicBezTo>
                        <a:pt x="1512474" y="1108715"/>
                        <a:pt x="1511967" y="1114077"/>
                        <a:pt x="1507543" y="1112923"/>
                      </a:cubicBezTo>
                      <a:cubicBezTo>
                        <a:pt x="1507137" y="1114394"/>
                        <a:pt x="1508228" y="1115307"/>
                        <a:pt x="1508114" y="1116093"/>
                      </a:cubicBezTo>
                      <a:cubicBezTo>
                        <a:pt x="1502789" y="1116257"/>
                        <a:pt x="1505147" y="1107485"/>
                        <a:pt x="1505553" y="1102351"/>
                      </a:cubicBezTo>
                      <a:cubicBezTo>
                        <a:pt x="1506111" y="1095075"/>
                        <a:pt x="1505223" y="1090068"/>
                        <a:pt x="1504526" y="1083894"/>
                      </a:cubicBezTo>
                      <a:cubicBezTo>
                        <a:pt x="1502473" y="1088559"/>
                        <a:pt x="1502308" y="1095037"/>
                        <a:pt x="1501395" y="1100095"/>
                      </a:cubicBezTo>
                      <a:cubicBezTo>
                        <a:pt x="1500736" y="1103796"/>
                        <a:pt x="1504260" y="1106268"/>
                        <a:pt x="1501065" y="1109463"/>
                      </a:cubicBezTo>
                      <a:cubicBezTo>
                        <a:pt x="1496147" y="1114394"/>
                        <a:pt x="1495792" y="1106839"/>
                        <a:pt x="1496946" y="1103416"/>
                      </a:cubicBezTo>
                      <a:cubicBezTo>
                        <a:pt x="1494106" y="1102668"/>
                        <a:pt x="1494765" y="1102782"/>
                        <a:pt x="1492382" y="1101832"/>
                      </a:cubicBezTo>
                      <a:cubicBezTo>
                        <a:pt x="1493891" y="1105508"/>
                        <a:pt x="1492674" y="1107016"/>
                        <a:pt x="1491685" y="1110553"/>
                      </a:cubicBezTo>
                      <a:cubicBezTo>
                        <a:pt x="1488883" y="1106040"/>
                        <a:pt x="1492141" y="1099233"/>
                        <a:pt x="1487223" y="1095709"/>
                      </a:cubicBezTo>
                      <a:cubicBezTo>
                        <a:pt x="1488009" y="1098624"/>
                        <a:pt x="1491659" y="1112201"/>
                        <a:pt x="1489517" y="1113912"/>
                      </a:cubicBezTo>
                      <a:cubicBezTo>
                        <a:pt x="1485068" y="1117423"/>
                        <a:pt x="1482532" y="1105305"/>
                        <a:pt x="1481975" y="1102985"/>
                      </a:cubicBezTo>
                      <a:cubicBezTo>
                        <a:pt x="1480682" y="1097838"/>
                        <a:pt x="1478856" y="1087000"/>
                        <a:pt x="1479439" y="1080890"/>
                      </a:cubicBezTo>
                      <a:cubicBezTo>
                        <a:pt x="1480022" y="1074704"/>
                        <a:pt x="1486602" y="1075895"/>
                        <a:pt x="1482925" y="1068479"/>
                      </a:cubicBezTo>
                      <a:cubicBezTo>
                        <a:pt x="1481214" y="1064993"/>
                        <a:pt x="1475776" y="1064664"/>
                        <a:pt x="1473608" y="1061609"/>
                      </a:cubicBezTo>
                      <a:cubicBezTo>
                        <a:pt x="1464354" y="1065526"/>
                        <a:pt x="1465951" y="1050073"/>
                        <a:pt x="1461008" y="1047360"/>
                      </a:cubicBezTo>
                      <a:cubicBezTo>
                        <a:pt x="1465406" y="1055550"/>
                        <a:pt x="1463898" y="1059200"/>
                        <a:pt x="1470971" y="1064727"/>
                      </a:cubicBezTo>
                      <a:cubicBezTo>
                        <a:pt x="1478780" y="1070850"/>
                        <a:pt x="1482393" y="1066641"/>
                        <a:pt x="1476118" y="1077467"/>
                      </a:cubicBezTo>
                      <a:cubicBezTo>
                        <a:pt x="1475167" y="1079115"/>
                        <a:pt x="1472531" y="1080066"/>
                        <a:pt x="1471631" y="1081308"/>
                      </a:cubicBezTo>
                      <a:cubicBezTo>
                        <a:pt x="1469336" y="1084604"/>
                        <a:pt x="1468614" y="1088927"/>
                        <a:pt x="1466180" y="1092096"/>
                      </a:cubicBezTo>
                      <a:cubicBezTo>
                        <a:pt x="1463302" y="1095861"/>
                        <a:pt x="1456824" y="1100031"/>
                        <a:pt x="1452730" y="1102478"/>
                      </a:cubicBezTo>
                      <a:cubicBezTo>
                        <a:pt x="1436796" y="1112036"/>
                        <a:pt x="1414409" y="1108968"/>
                        <a:pt x="1399577" y="1120022"/>
                      </a:cubicBezTo>
                      <a:cubicBezTo>
                        <a:pt x="1390387" y="1126868"/>
                        <a:pt x="1380803" y="1137934"/>
                        <a:pt x="1382337" y="1149914"/>
                      </a:cubicBezTo>
                      <a:cubicBezTo>
                        <a:pt x="1383148" y="1156011"/>
                        <a:pt x="1399057" y="1176116"/>
                        <a:pt x="1384986" y="1173973"/>
                      </a:cubicBezTo>
                      <a:cubicBezTo>
                        <a:pt x="1390108" y="1175444"/>
                        <a:pt x="1398385" y="1178030"/>
                        <a:pt x="1389525" y="1180312"/>
                      </a:cubicBezTo>
                      <a:cubicBezTo>
                        <a:pt x="1393936" y="1181047"/>
                        <a:pt x="1392719" y="1182302"/>
                        <a:pt x="1397156" y="1180312"/>
                      </a:cubicBezTo>
                      <a:cubicBezTo>
                        <a:pt x="1390323" y="1189363"/>
                        <a:pt x="1371701" y="1190922"/>
                        <a:pt x="1373286" y="1205563"/>
                      </a:cubicBezTo>
                      <a:cubicBezTo>
                        <a:pt x="1375264" y="1204182"/>
                        <a:pt x="1377165" y="1204410"/>
                        <a:pt x="1378331" y="1203915"/>
                      </a:cubicBezTo>
                      <a:cubicBezTo>
                        <a:pt x="1378762" y="1202990"/>
                        <a:pt x="1378458" y="1201380"/>
                        <a:pt x="1378889" y="1200290"/>
                      </a:cubicBezTo>
                      <a:cubicBezTo>
                        <a:pt x="1380068" y="1205259"/>
                        <a:pt x="1375796" y="1209050"/>
                        <a:pt x="1371309" y="1211281"/>
                      </a:cubicBezTo>
                      <a:cubicBezTo>
                        <a:pt x="1372094" y="1211052"/>
                        <a:pt x="1374199" y="1210406"/>
                        <a:pt x="1375809" y="1209708"/>
                      </a:cubicBezTo>
                      <a:cubicBezTo>
                        <a:pt x="1370611" y="1213727"/>
                        <a:pt x="1361890" y="1214982"/>
                        <a:pt x="1357542" y="1218925"/>
                      </a:cubicBezTo>
                      <a:cubicBezTo>
                        <a:pt x="1353536" y="1222575"/>
                        <a:pt x="1354411" y="1228521"/>
                        <a:pt x="1348960" y="1232235"/>
                      </a:cubicBezTo>
                      <a:cubicBezTo>
                        <a:pt x="1350012" y="1233693"/>
                        <a:pt x="1350189" y="1233122"/>
                        <a:pt x="1351520" y="1233845"/>
                      </a:cubicBezTo>
                      <a:cubicBezTo>
                        <a:pt x="1347046" y="1235265"/>
                        <a:pt x="1332949" y="1228406"/>
                        <a:pt x="1331289" y="1222816"/>
                      </a:cubicBezTo>
                      <a:cubicBezTo>
                        <a:pt x="1330313" y="1230270"/>
                        <a:pt x="1342393" y="1233084"/>
                        <a:pt x="1347565" y="1236456"/>
                      </a:cubicBezTo>
                      <a:cubicBezTo>
                        <a:pt x="1330363" y="1247079"/>
                        <a:pt x="1308826" y="1244607"/>
                        <a:pt x="1292258" y="1255293"/>
                      </a:cubicBezTo>
                      <a:cubicBezTo>
                        <a:pt x="1292232" y="1255154"/>
                        <a:pt x="1293297" y="1254279"/>
                        <a:pt x="1293272" y="1254279"/>
                      </a:cubicBezTo>
                      <a:cubicBezTo>
                        <a:pt x="1287834" y="1256662"/>
                        <a:pt x="1280177" y="1262342"/>
                        <a:pt x="1277667" y="1256396"/>
                      </a:cubicBezTo>
                      <a:cubicBezTo>
                        <a:pt x="1279683" y="1255509"/>
                        <a:pt x="1282307" y="1254064"/>
                        <a:pt x="1284703" y="1253734"/>
                      </a:cubicBezTo>
                      <a:cubicBezTo>
                        <a:pt x="1285387" y="1254469"/>
                        <a:pt x="1283752" y="1255395"/>
                        <a:pt x="1284183" y="1255864"/>
                      </a:cubicBezTo>
                      <a:cubicBezTo>
                        <a:pt x="1285653" y="1255268"/>
                        <a:pt x="1287289" y="1253963"/>
                        <a:pt x="1288708" y="1253214"/>
                      </a:cubicBezTo>
                      <a:cubicBezTo>
                        <a:pt x="1287745" y="1247675"/>
                        <a:pt x="1290014" y="1242465"/>
                        <a:pt x="1282066" y="1241565"/>
                      </a:cubicBezTo>
                      <a:cubicBezTo>
                        <a:pt x="1277845" y="1241071"/>
                        <a:pt x="1269275" y="1247586"/>
                        <a:pt x="1266651" y="1250185"/>
                      </a:cubicBezTo>
                      <a:cubicBezTo>
                        <a:pt x="1259945" y="1256726"/>
                        <a:pt x="1257131" y="1265232"/>
                        <a:pt x="1254139" y="1271469"/>
                      </a:cubicBezTo>
                      <a:cubicBezTo>
                        <a:pt x="1254735" y="1271532"/>
                        <a:pt x="1255103" y="1271202"/>
                        <a:pt x="1255293" y="1270518"/>
                      </a:cubicBezTo>
                      <a:cubicBezTo>
                        <a:pt x="1255470" y="1270987"/>
                        <a:pt x="1255344" y="1273725"/>
                        <a:pt x="1255293" y="1273649"/>
                      </a:cubicBezTo>
                      <a:cubicBezTo>
                        <a:pt x="1259071" y="1271532"/>
                        <a:pt x="1259616" y="1271481"/>
                        <a:pt x="1260820" y="1267856"/>
                      </a:cubicBezTo>
                      <a:cubicBezTo>
                        <a:pt x="1261593" y="1268477"/>
                        <a:pt x="1262544" y="1268553"/>
                        <a:pt x="1263368" y="1267856"/>
                      </a:cubicBezTo>
                      <a:cubicBezTo>
                        <a:pt x="1262759" y="1267298"/>
                        <a:pt x="1260769" y="1266018"/>
                        <a:pt x="1260376" y="1265815"/>
                      </a:cubicBezTo>
                      <a:cubicBezTo>
                        <a:pt x="1264750" y="1260199"/>
                        <a:pt x="1268895" y="1262697"/>
                        <a:pt x="1275056" y="1257423"/>
                      </a:cubicBezTo>
                      <a:cubicBezTo>
                        <a:pt x="1276361" y="1261936"/>
                        <a:pt x="1273687" y="1264395"/>
                        <a:pt x="1270239" y="1262899"/>
                      </a:cubicBezTo>
                      <a:cubicBezTo>
                        <a:pt x="1269060" y="1264066"/>
                        <a:pt x="1269288" y="1264484"/>
                        <a:pt x="1267424" y="1264231"/>
                      </a:cubicBezTo>
                      <a:cubicBezTo>
                        <a:pt x="1269212" y="1266424"/>
                        <a:pt x="1268109" y="1264814"/>
                        <a:pt x="1268502" y="1266322"/>
                      </a:cubicBezTo>
                      <a:cubicBezTo>
                        <a:pt x="1275537" y="1264890"/>
                        <a:pt x="1282218" y="1260529"/>
                        <a:pt x="1288721" y="1257410"/>
                      </a:cubicBezTo>
                      <a:cubicBezTo>
                        <a:pt x="1277122" y="1264420"/>
                        <a:pt x="1265840" y="1269149"/>
                        <a:pt x="1255344" y="1277782"/>
                      </a:cubicBezTo>
                      <a:cubicBezTo>
                        <a:pt x="1249589" y="1282523"/>
                        <a:pt x="1230992" y="1303426"/>
                        <a:pt x="1226796" y="1298837"/>
                      </a:cubicBezTo>
                      <a:cubicBezTo>
                        <a:pt x="1225985" y="1302501"/>
                        <a:pt x="1225313" y="1301030"/>
                        <a:pt x="1226923" y="1304491"/>
                      </a:cubicBezTo>
                      <a:cubicBezTo>
                        <a:pt x="1228888" y="1302704"/>
                        <a:pt x="1227709" y="1303084"/>
                        <a:pt x="1229826" y="1302691"/>
                      </a:cubicBezTo>
                      <a:cubicBezTo>
                        <a:pt x="1222321" y="1316711"/>
                        <a:pt x="1205043" y="1342774"/>
                        <a:pt x="1189743" y="1347325"/>
                      </a:cubicBezTo>
                      <a:cubicBezTo>
                        <a:pt x="1192912" y="1347059"/>
                        <a:pt x="1194877" y="1346958"/>
                        <a:pt x="1198008" y="1344143"/>
                      </a:cubicBezTo>
                      <a:cubicBezTo>
                        <a:pt x="1185040" y="1353105"/>
                        <a:pt x="1181110" y="1364058"/>
                        <a:pt x="1166709" y="1370523"/>
                      </a:cubicBezTo>
                      <a:cubicBezTo>
                        <a:pt x="1156860" y="1374960"/>
                        <a:pt x="1148506" y="1379891"/>
                        <a:pt x="1140355" y="1386432"/>
                      </a:cubicBezTo>
                      <a:cubicBezTo>
                        <a:pt x="1136780" y="1389284"/>
                        <a:pt x="1135944" y="1393759"/>
                        <a:pt x="1131646" y="1391997"/>
                      </a:cubicBezTo>
                      <a:cubicBezTo>
                        <a:pt x="1131291" y="1399603"/>
                        <a:pt x="1123216" y="1412229"/>
                        <a:pt x="1116130" y="1408413"/>
                      </a:cubicBezTo>
                      <a:cubicBezTo>
                        <a:pt x="1121936" y="1411202"/>
                        <a:pt x="1119616" y="1413141"/>
                        <a:pt x="1113988" y="1413839"/>
                      </a:cubicBezTo>
                      <a:cubicBezTo>
                        <a:pt x="1114520" y="1414929"/>
                        <a:pt x="1115331" y="1415943"/>
                        <a:pt x="1115889" y="1417033"/>
                      </a:cubicBezTo>
                      <a:cubicBezTo>
                        <a:pt x="1096456" y="1426110"/>
                        <a:pt x="1074969" y="1433817"/>
                        <a:pt x="1058122" y="1447685"/>
                      </a:cubicBezTo>
                      <a:cubicBezTo>
                        <a:pt x="1053952" y="1451120"/>
                        <a:pt x="1040743" y="1462593"/>
                        <a:pt x="1042923" y="1469337"/>
                      </a:cubicBezTo>
                      <a:cubicBezTo>
                        <a:pt x="1045256" y="1476587"/>
                        <a:pt x="1053647" y="1473634"/>
                        <a:pt x="1050085" y="1465229"/>
                      </a:cubicBezTo>
                      <a:cubicBezTo>
                        <a:pt x="1053571" y="1472911"/>
                        <a:pt x="1050377" y="1484130"/>
                        <a:pt x="1047449" y="1491558"/>
                      </a:cubicBezTo>
                      <a:cubicBezTo>
                        <a:pt x="1046929" y="1491204"/>
                        <a:pt x="1046206" y="1490430"/>
                        <a:pt x="1045522" y="1490050"/>
                      </a:cubicBezTo>
                      <a:cubicBezTo>
                        <a:pt x="1045877" y="1491216"/>
                        <a:pt x="1045458" y="1492332"/>
                        <a:pt x="1047043" y="1493701"/>
                      </a:cubicBezTo>
                      <a:cubicBezTo>
                        <a:pt x="1030944" y="1499507"/>
                        <a:pt x="1005933" y="1522781"/>
                        <a:pt x="990328" y="1509293"/>
                      </a:cubicBezTo>
                      <a:cubicBezTo>
                        <a:pt x="990531" y="1509813"/>
                        <a:pt x="990759" y="1510345"/>
                        <a:pt x="990987" y="1510878"/>
                      </a:cubicBezTo>
                      <a:cubicBezTo>
                        <a:pt x="987337" y="1510814"/>
                        <a:pt x="984915" y="1511473"/>
                        <a:pt x="981214" y="1511815"/>
                      </a:cubicBezTo>
                      <a:cubicBezTo>
                        <a:pt x="981455" y="1507594"/>
                        <a:pt x="976701" y="1508114"/>
                        <a:pt x="972784" y="1510408"/>
                      </a:cubicBezTo>
                      <a:cubicBezTo>
                        <a:pt x="968385" y="1512944"/>
                        <a:pt x="966382" y="1521500"/>
                        <a:pt x="964443" y="1527002"/>
                      </a:cubicBezTo>
                      <a:cubicBezTo>
                        <a:pt x="963467" y="1529803"/>
                        <a:pt x="963226" y="1534126"/>
                        <a:pt x="961907" y="1536560"/>
                      </a:cubicBezTo>
                      <a:cubicBezTo>
                        <a:pt x="960259" y="1539565"/>
                        <a:pt x="957154" y="1541314"/>
                        <a:pt x="955265" y="1544445"/>
                      </a:cubicBezTo>
                      <a:cubicBezTo>
                        <a:pt x="952742" y="1548539"/>
                        <a:pt x="949383" y="1549059"/>
                        <a:pt x="951310" y="1554218"/>
                      </a:cubicBezTo>
                      <a:cubicBezTo>
                        <a:pt x="942043" y="1548641"/>
                        <a:pt x="945567" y="1544470"/>
                        <a:pt x="942728" y="1535128"/>
                      </a:cubicBezTo>
                      <a:cubicBezTo>
                        <a:pt x="942018" y="1536205"/>
                        <a:pt x="943209" y="1536319"/>
                        <a:pt x="942183" y="1537181"/>
                      </a:cubicBezTo>
                      <a:cubicBezTo>
                        <a:pt x="942107" y="1536966"/>
                        <a:pt x="941359" y="1536078"/>
                        <a:pt x="941169" y="1536142"/>
                      </a:cubicBezTo>
                      <a:cubicBezTo>
                        <a:pt x="944819" y="1543393"/>
                        <a:pt x="940129" y="1552799"/>
                        <a:pt x="936149" y="1558833"/>
                      </a:cubicBezTo>
                      <a:cubicBezTo>
                        <a:pt x="938545" y="1544128"/>
                        <a:pt x="926210" y="1543000"/>
                        <a:pt x="917413" y="1546435"/>
                      </a:cubicBezTo>
                      <a:cubicBezTo>
                        <a:pt x="904521" y="1551442"/>
                        <a:pt x="897397" y="1560050"/>
                        <a:pt x="891958" y="1572587"/>
                      </a:cubicBezTo>
                      <a:cubicBezTo>
                        <a:pt x="886660" y="1584820"/>
                        <a:pt x="879485" y="1598244"/>
                        <a:pt x="881031" y="1614622"/>
                      </a:cubicBezTo>
                      <a:cubicBezTo>
                        <a:pt x="881678" y="1621341"/>
                        <a:pt x="891084" y="1641813"/>
                        <a:pt x="886977" y="1644957"/>
                      </a:cubicBezTo>
                      <a:cubicBezTo>
                        <a:pt x="899957" y="1644197"/>
                        <a:pt x="882464" y="1669892"/>
                        <a:pt x="880232" y="1673112"/>
                      </a:cubicBezTo>
                      <a:cubicBezTo>
                        <a:pt x="881665" y="1671933"/>
                        <a:pt x="883845" y="1670906"/>
                        <a:pt x="885443" y="1669664"/>
                      </a:cubicBezTo>
                      <a:cubicBezTo>
                        <a:pt x="887129" y="1690225"/>
                        <a:pt x="896180" y="1709189"/>
                        <a:pt x="899678" y="1729700"/>
                      </a:cubicBezTo>
                      <a:cubicBezTo>
                        <a:pt x="895609" y="1722614"/>
                        <a:pt x="892085" y="1715046"/>
                        <a:pt x="886989" y="1708137"/>
                      </a:cubicBezTo>
                      <a:cubicBezTo>
                        <a:pt x="887141" y="1710850"/>
                        <a:pt x="886368" y="1713727"/>
                        <a:pt x="886520" y="1716339"/>
                      </a:cubicBezTo>
                      <a:cubicBezTo>
                        <a:pt x="886089" y="1714501"/>
                        <a:pt x="884238" y="1712586"/>
                        <a:pt x="883440" y="1710672"/>
                      </a:cubicBezTo>
                      <a:cubicBezTo>
                        <a:pt x="875225" y="1721561"/>
                        <a:pt x="895039" y="1731195"/>
                        <a:pt x="900667" y="1730473"/>
                      </a:cubicBezTo>
                      <a:cubicBezTo>
                        <a:pt x="903190" y="1736317"/>
                        <a:pt x="901795" y="1742807"/>
                        <a:pt x="899678" y="1746585"/>
                      </a:cubicBezTo>
                      <a:cubicBezTo>
                        <a:pt x="900173" y="1746357"/>
                        <a:pt x="900680" y="1746205"/>
                        <a:pt x="901200" y="1746116"/>
                      </a:cubicBezTo>
                      <a:cubicBezTo>
                        <a:pt x="897473" y="1766373"/>
                        <a:pt x="895267" y="1810386"/>
                        <a:pt x="872361" y="1821072"/>
                      </a:cubicBezTo>
                      <a:cubicBezTo>
                        <a:pt x="873616" y="1820565"/>
                        <a:pt x="875301" y="1820083"/>
                        <a:pt x="876861" y="1819285"/>
                      </a:cubicBezTo>
                      <a:cubicBezTo>
                        <a:pt x="865071" y="1837285"/>
                        <a:pt x="855564" y="1858164"/>
                        <a:pt x="860673" y="1880081"/>
                      </a:cubicBezTo>
                      <a:cubicBezTo>
                        <a:pt x="862004" y="1879042"/>
                        <a:pt x="861091" y="1879283"/>
                        <a:pt x="861192" y="1878053"/>
                      </a:cubicBezTo>
                      <a:cubicBezTo>
                        <a:pt x="867201" y="1884531"/>
                        <a:pt x="855703" y="1883060"/>
                        <a:pt x="852572" y="1889741"/>
                      </a:cubicBezTo>
                      <a:cubicBezTo>
                        <a:pt x="870890" y="1871930"/>
                        <a:pt x="865021" y="1915715"/>
                        <a:pt x="865236" y="1925983"/>
                      </a:cubicBezTo>
                      <a:cubicBezTo>
                        <a:pt x="865388" y="1933094"/>
                        <a:pt x="870091" y="1956965"/>
                        <a:pt x="866035" y="1962707"/>
                      </a:cubicBezTo>
                      <a:cubicBezTo>
                        <a:pt x="860647" y="1970351"/>
                        <a:pt x="856451" y="1957598"/>
                        <a:pt x="847984" y="1963150"/>
                      </a:cubicBezTo>
                      <a:cubicBezTo>
                        <a:pt x="852395" y="1963569"/>
                        <a:pt x="856794" y="1964621"/>
                        <a:pt x="859684" y="1966725"/>
                      </a:cubicBezTo>
                      <a:cubicBezTo>
                        <a:pt x="854639" y="1966332"/>
                        <a:pt x="846906" y="1965534"/>
                        <a:pt x="843357" y="1962859"/>
                      </a:cubicBezTo>
                      <a:cubicBezTo>
                        <a:pt x="844574" y="1962301"/>
                        <a:pt x="846386" y="1961617"/>
                        <a:pt x="847438" y="1961173"/>
                      </a:cubicBezTo>
                      <a:cubicBezTo>
                        <a:pt x="839883" y="1960691"/>
                        <a:pt x="807381" y="1968690"/>
                        <a:pt x="823188" y="1983484"/>
                      </a:cubicBezTo>
                      <a:cubicBezTo>
                        <a:pt x="814543" y="1988732"/>
                        <a:pt x="793474" y="2015353"/>
                        <a:pt x="796263" y="2026761"/>
                      </a:cubicBezTo>
                      <a:cubicBezTo>
                        <a:pt x="800117" y="2042379"/>
                        <a:pt x="815316" y="2035064"/>
                        <a:pt x="824076" y="2037448"/>
                      </a:cubicBezTo>
                      <a:cubicBezTo>
                        <a:pt x="828335" y="2038614"/>
                        <a:pt x="829235" y="2043520"/>
                        <a:pt x="836106" y="2048540"/>
                      </a:cubicBezTo>
                      <a:cubicBezTo>
                        <a:pt x="825521" y="2045877"/>
                        <a:pt x="819309" y="2040287"/>
                        <a:pt x="807520" y="2040908"/>
                      </a:cubicBezTo>
                      <a:cubicBezTo>
                        <a:pt x="800079" y="2041289"/>
                        <a:pt x="795655" y="2041124"/>
                        <a:pt x="788176" y="2043545"/>
                      </a:cubicBezTo>
                      <a:cubicBezTo>
                        <a:pt x="769313" y="2049693"/>
                        <a:pt x="743922" y="2054181"/>
                        <a:pt x="740639" y="2078596"/>
                      </a:cubicBezTo>
                      <a:cubicBezTo>
                        <a:pt x="742413" y="2077594"/>
                        <a:pt x="742895" y="2077379"/>
                        <a:pt x="744176" y="2076010"/>
                      </a:cubicBezTo>
                      <a:cubicBezTo>
                        <a:pt x="742477" y="2078837"/>
                        <a:pt x="738623" y="2083856"/>
                        <a:pt x="737102" y="2085669"/>
                      </a:cubicBezTo>
                      <a:cubicBezTo>
                        <a:pt x="746901" y="2100526"/>
                        <a:pt x="724920" y="2111276"/>
                        <a:pt x="715387" y="2116778"/>
                      </a:cubicBezTo>
                      <a:cubicBezTo>
                        <a:pt x="702571" y="2124180"/>
                        <a:pt x="692886" y="2132180"/>
                        <a:pt x="677789" y="2124802"/>
                      </a:cubicBezTo>
                      <a:cubicBezTo>
                        <a:pt x="667216" y="2119668"/>
                        <a:pt x="656530" y="2108842"/>
                        <a:pt x="648873" y="2100133"/>
                      </a:cubicBezTo>
                      <a:cubicBezTo>
                        <a:pt x="641343" y="2091551"/>
                        <a:pt x="624953" y="2075832"/>
                        <a:pt x="621302" y="2065945"/>
                      </a:cubicBezTo>
                      <a:cubicBezTo>
                        <a:pt x="624357" y="2066971"/>
                        <a:pt x="623571" y="2065868"/>
                        <a:pt x="626664" y="2065856"/>
                      </a:cubicBezTo>
                      <a:cubicBezTo>
                        <a:pt x="620960" y="2064043"/>
                        <a:pt x="624433" y="2062813"/>
                        <a:pt x="629630" y="2062560"/>
                      </a:cubicBezTo>
                      <a:cubicBezTo>
                        <a:pt x="629668" y="2062370"/>
                        <a:pt x="627970" y="2061216"/>
                        <a:pt x="627691" y="2061305"/>
                      </a:cubicBezTo>
                      <a:cubicBezTo>
                        <a:pt x="628743" y="2060722"/>
                        <a:pt x="629846" y="2060899"/>
                        <a:pt x="630188" y="2059784"/>
                      </a:cubicBezTo>
                      <a:cubicBezTo>
                        <a:pt x="626347" y="2059606"/>
                        <a:pt x="623736" y="2060684"/>
                        <a:pt x="622050" y="2063878"/>
                      </a:cubicBezTo>
                      <a:cubicBezTo>
                        <a:pt x="621961" y="2062649"/>
                        <a:pt x="621746" y="2062103"/>
                        <a:pt x="622582" y="2060734"/>
                      </a:cubicBezTo>
                      <a:cubicBezTo>
                        <a:pt x="621720" y="2062496"/>
                        <a:pt x="621150" y="2062852"/>
                        <a:pt x="620554" y="2064842"/>
                      </a:cubicBezTo>
                      <a:cubicBezTo>
                        <a:pt x="618437" y="2060303"/>
                        <a:pt x="615978" y="2055017"/>
                        <a:pt x="614964" y="2050061"/>
                      </a:cubicBezTo>
                      <a:cubicBezTo>
                        <a:pt x="615090" y="2050099"/>
                        <a:pt x="615965" y="2051620"/>
                        <a:pt x="616016" y="2051683"/>
                      </a:cubicBezTo>
                      <a:cubicBezTo>
                        <a:pt x="616105" y="2050644"/>
                        <a:pt x="615851" y="2048476"/>
                        <a:pt x="616459" y="2047589"/>
                      </a:cubicBezTo>
                      <a:cubicBezTo>
                        <a:pt x="616231" y="2047500"/>
                        <a:pt x="615078" y="2049034"/>
                        <a:pt x="614964" y="2049110"/>
                      </a:cubicBezTo>
                      <a:cubicBezTo>
                        <a:pt x="613975" y="2046093"/>
                        <a:pt x="612682" y="2043963"/>
                        <a:pt x="611427" y="2042011"/>
                      </a:cubicBezTo>
                      <a:cubicBezTo>
                        <a:pt x="612289" y="2044445"/>
                        <a:pt x="613049" y="2047158"/>
                        <a:pt x="613950" y="2049567"/>
                      </a:cubicBezTo>
                      <a:cubicBezTo>
                        <a:pt x="607763" y="2039463"/>
                        <a:pt x="604176" y="2027015"/>
                        <a:pt x="602528" y="2014985"/>
                      </a:cubicBezTo>
                      <a:cubicBezTo>
                        <a:pt x="601552" y="2007975"/>
                        <a:pt x="597698" y="1994614"/>
                        <a:pt x="599359" y="1988871"/>
                      </a:cubicBezTo>
                      <a:cubicBezTo>
                        <a:pt x="600322" y="1990253"/>
                        <a:pt x="601374" y="1991369"/>
                        <a:pt x="602274" y="1992915"/>
                      </a:cubicBezTo>
                      <a:cubicBezTo>
                        <a:pt x="601729" y="1993092"/>
                        <a:pt x="600081" y="1992408"/>
                        <a:pt x="599752" y="1992915"/>
                      </a:cubicBezTo>
                      <a:cubicBezTo>
                        <a:pt x="600741" y="1995590"/>
                        <a:pt x="599967" y="1995679"/>
                        <a:pt x="601780" y="1994208"/>
                      </a:cubicBezTo>
                      <a:cubicBezTo>
                        <a:pt x="601856" y="1994703"/>
                        <a:pt x="601514" y="1997795"/>
                        <a:pt x="601527" y="1997795"/>
                      </a:cubicBezTo>
                      <a:cubicBezTo>
                        <a:pt x="602579" y="1996376"/>
                        <a:pt x="602934" y="1996921"/>
                        <a:pt x="603593" y="1995083"/>
                      </a:cubicBezTo>
                      <a:cubicBezTo>
                        <a:pt x="604556" y="1999481"/>
                        <a:pt x="605025" y="2004882"/>
                        <a:pt x="606369" y="2008431"/>
                      </a:cubicBezTo>
                      <a:cubicBezTo>
                        <a:pt x="606825" y="2004020"/>
                        <a:pt x="605558" y="1998734"/>
                        <a:pt x="605355" y="1995729"/>
                      </a:cubicBezTo>
                      <a:cubicBezTo>
                        <a:pt x="607497" y="2000090"/>
                        <a:pt x="609310" y="2007366"/>
                        <a:pt x="609551" y="2011638"/>
                      </a:cubicBezTo>
                      <a:cubicBezTo>
                        <a:pt x="609792" y="2015657"/>
                        <a:pt x="604962" y="2018775"/>
                        <a:pt x="608600" y="2022172"/>
                      </a:cubicBezTo>
                      <a:cubicBezTo>
                        <a:pt x="611465" y="2024834"/>
                        <a:pt x="616117" y="2022578"/>
                        <a:pt x="617968" y="2020651"/>
                      </a:cubicBezTo>
                      <a:cubicBezTo>
                        <a:pt x="604404" y="2019092"/>
                        <a:pt x="615433" y="1989112"/>
                        <a:pt x="602503" y="1989746"/>
                      </a:cubicBezTo>
                      <a:cubicBezTo>
                        <a:pt x="600550" y="1984510"/>
                        <a:pt x="599841" y="1980188"/>
                        <a:pt x="596684" y="1975853"/>
                      </a:cubicBezTo>
                      <a:cubicBezTo>
                        <a:pt x="596785" y="1979389"/>
                        <a:pt x="597609" y="1983344"/>
                        <a:pt x="598712" y="1987033"/>
                      </a:cubicBezTo>
                      <a:cubicBezTo>
                        <a:pt x="592399" y="1979833"/>
                        <a:pt x="593756" y="1973976"/>
                        <a:pt x="598522" y="1968361"/>
                      </a:cubicBezTo>
                      <a:cubicBezTo>
                        <a:pt x="598573" y="1968424"/>
                        <a:pt x="595607" y="1966409"/>
                        <a:pt x="595163" y="1966180"/>
                      </a:cubicBezTo>
                      <a:cubicBezTo>
                        <a:pt x="598256" y="1981253"/>
                        <a:pt x="586974" y="1954100"/>
                        <a:pt x="585250" y="1950385"/>
                      </a:cubicBezTo>
                      <a:cubicBezTo>
                        <a:pt x="582474" y="1944351"/>
                        <a:pt x="572992" y="1932702"/>
                        <a:pt x="576452" y="1926946"/>
                      </a:cubicBezTo>
                      <a:cubicBezTo>
                        <a:pt x="569861" y="1922751"/>
                        <a:pt x="568200" y="1904446"/>
                        <a:pt x="565094" y="1896599"/>
                      </a:cubicBezTo>
                      <a:cubicBezTo>
                        <a:pt x="561760" y="1888220"/>
                        <a:pt x="561443" y="1885190"/>
                        <a:pt x="557222" y="1878827"/>
                      </a:cubicBezTo>
                      <a:cubicBezTo>
                        <a:pt x="555511" y="1876253"/>
                        <a:pt x="553292" y="1876735"/>
                        <a:pt x="551670" y="1874149"/>
                      </a:cubicBezTo>
                      <a:cubicBezTo>
                        <a:pt x="549160" y="1870206"/>
                        <a:pt x="548881" y="1865199"/>
                        <a:pt x="546384" y="1860889"/>
                      </a:cubicBezTo>
                      <a:cubicBezTo>
                        <a:pt x="541579" y="1852560"/>
                        <a:pt x="533885" y="1849442"/>
                        <a:pt x="529575" y="1842356"/>
                      </a:cubicBezTo>
                      <a:cubicBezTo>
                        <a:pt x="531197" y="1843002"/>
                        <a:pt x="534531" y="1842559"/>
                        <a:pt x="536433" y="1843243"/>
                      </a:cubicBezTo>
                      <a:cubicBezTo>
                        <a:pt x="536407" y="1842850"/>
                        <a:pt x="536040" y="1839783"/>
                        <a:pt x="535925" y="1839174"/>
                      </a:cubicBezTo>
                      <a:cubicBezTo>
                        <a:pt x="532021" y="1842064"/>
                        <a:pt x="529055" y="1841063"/>
                        <a:pt x="527635" y="1836512"/>
                      </a:cubicBezTo>
                      <a:cubicBezTo>
                        <a:pt x="527927" y="1836335"/>
                        <a:pt x="530715" y="1836474"/>
                        <a:pt x="531235" y="1836360"/>
                      </a:cubicBezTo>
                      <a:cubicBezTo>
                        <a:pt x="526811" y="1834776"/>
                        <a:pt x="527711" y="1834788"/>
                        <a:pt x="527305" y="1839732"/>
                      </a:cubicBezTo>
                      <a:cubicBezTo>
                        <a:pt x="524124" y="1837273"/>
                        <a:pt x="523756" y="1837121"/>
                        <a:pt x="522273" y="1836664"/>
                      </a:cubicBezTo>
                      <a:cubicBezTo>
                        <a:pt x="519560" y="1831644"/>
                        <a:pt x="515973" y="1824672"/>
                        <a:pt x="517190" y="1818752"/>
                      </a:cubicBezTo>
                      <a:cubicBezTo>
                        <a:pt x="516264" y="1819475"/>
                        <a:pt x="515580" y="1819830"/>
                        <a:pt x="514642" y="1820793"/>
                      </a:cubicBezTo>
                      <a:cubicBezTo>
                        <a:pt x="513716" y="1807306"/>
                        <a:pt x="499493" y="1786465"/>
                        <a:pt x="493916" y="1774714"/>
                      </a:cubicBezTo>
                      <a:cubicBezTo>
                        <a:pt x="497541" y="1775107"/>
                        <a:pt x="499075" y="1774080"/>
                        <a:pt x="502498" y="1771710"/>
                      </a:cubicBezTo>
                      <a:cubicBezTo>
                        <a:pt x="489098" y="1778365"/>
                        <a:pt x="490835" y="1759654"/>
                        <a:pt x="489174" y="1751453"/>
                      </a:cubicBezTo>
                      <a:cubicBezTo>
                        <a:pt x="487577" y="1743517"/>
                        <a:pt x="483825" y="1735683"/>
                        <a:pt x="483267" y="1727595"/>
                      </a:cubicBezTo>
                      <a:cubicBezTo>
                        <a:pt x="483888" y="1729434"/>
                        <a:pt x="484788" y="1730752"/>
                        <a:pt x="485308" y="1731728"/>
                      </a:cubicBezTo>
                      <a:cubicBezTo>
                        <a:pt x="483812" y="1726708"/>
                        <a:pt x="482494" y="1720535"/>
                        <a:pt x="482228" y="1715287"/>
                      </a:cubicBezTo>
                      <a:cubicBezTo>
                        <a:pt x="483495" y="1715248"/>
                        <a:pt x="485067" y="1713753"/>
                        <a:pt x="487336" y="1713702"/>
                      </a:cubicBezTo>
                      <a:cubicBezTo>
                        <a:pt x="486221" y="1712232"/>
                        <a:pt x="484624" y="1710533"/>
                        <a:pt x="483800" y="1709379"/>
                      </a:cubicBezTo>
                      <a:cubicBezTo>
                        <a:pt x="483128" y="1710761"/>
                        <a:pt x="482228" y="1711534"/>
                        <a:pt x="481771" y="1713246"/>
                      </a:cubicBezTo>
                      <a:cubicBezTo>
                        <a:pt x="475192" y="1698161"/>
                        <a:pt x="469577" y="1682911"/>
                        <a:pt x="464962" y="1668016"/>
                      </a:cubicBezTo>
                      <a:cubicBezTo>
                        <a:pt x="466851" y="1668561"/>
                        <a:pt x="468715" y="1668586"/>
                        <a:pt x="470553" y="1669005"/>
                      </a:cubicBezTo>
                      <a:cubicBezTo>
                        <a:pt x="461603" y="1667940"/>
                        <a:pt x="461312" y="1654896"/>
                        <a:pt x="458941" y="1647987"/>
                      </a:cubicBezTo>
                      <a:cubicBezTo>
                        <a:pt x="460234" y="1650155"/>
                        <a:pt x="461895" y="1651739"/>
                        <a:pt x="463023" y="1653108"/>
                      </a:cubicBezTo>
                      <a:cubicBezTo>
                        <a:pt x="463682" y="1651080"/>
                        <a:pt x="461413" y="1652563"/>
                        <a:pt x="464544" y="1652031"/>
                      </a:cubicBezTo>
                      <a:cubicBezTo>
                        <a:pt x="461666" y="1648101"/>
                        <a:pt x="460576" y="1647454"/>
                        <a:pt x="459461" y="1644907"/>
                      </a:cubicBezTo>
                      <a:cubicBezTo>
                        <a:pt x="456165" y="1651726"/>
                        <a:pt x="452539" y="1645781"/>
                        <a:pt x="458003" y="1642295"/>
                      </a:cubicBezTo>
                      <a:cubicBezTo>
                        <a:pt x="450346" y="1643360"/>
                        <a:pt x="454377" y="1630088"/>
                        <a:pt x="447304" y="1634055"/>
                      </a:cubicBezTo>
                      <a:cubicBezTo>
                        <a:pt x="444807" y="1631558"/>
                        <a:pt x="442487" y="1629340"/>
                        <a:pt x="439673" y="1626855"/>
                      </a:cubicBezTo>
                      <a:cubicBezTo>
                        <a:pt x="442816" y="1625866"/>
                        <a:pt x="445352" y="1623952"/>
                        <a:pt x="450169" y="1622887"/>
                      </a:cubicBezTo>
                      <a:cubicBezTo>
                        <a:pt x="449624" y="1621974"/>
                        <a:pt x="449142" y="1621202"/>
                        <a:pt x="448318" y="1620137"/>
                      </a:cubicBezTo>
                      <a:cubicBezTo>
                        <a:pt x="438988" y="1630582"/>
                        <a:pt x="434298" y="1610274"/>
                        <a:pt x="426502" y="1606763"/>
                      </a:cubicBezTo>
                      <a:cubicBezTo>
                        <a:pt x="433943" y="1597902"/>
                        <a:pt x="425107" y="1587849"/>
                        <a:pt x="416868" y="1582006"/>
                      </a:cubicBezTo>
                      <a:cubicBezTo>
                        <a:pt x="421926" y="1582006"/>
                        <a:pt x="426464" y="1581448"/>
                        <a:pt x="429544" y="1585137"/>
                      </a:cubicBezTo>
                      <a:cubicBezTo>
                        <a:pt x="429544" y="1585302"/>
                        <a:pt x="430710" y="1584680"/>
                        <a:pt x="430571" y="1584604"/>
                      </a:cubicBezTo>
                      <a:cubicBezTo>
                        <a:pt x="427085" y="1580535"/>
                        <a:pt x="422851" y="1579103"/>
                        <a:pt x="417894" y="1578925"/>
                      </a:cubicBezTo>
                      <a:cubicBezTo>
                        <a:pt x="420709" y="1576086"/>
                        <a:pt x="418300" y="1575756"/>
                        <a:pt x="423497" y="1574260"/>
                      </a:cubicBezTo>
                      <a:cubicBezTo>
                        <a:pt x="422673" y="1573804"/>
                        <a:pt x="422268" y="1573005"/>
                        <a:pt x="423028" y="1572245"/>
                      </a:cubicBezTo>
                      <a:cubicBezTo>
                        <a:pt x="413115" y="1581042"/>
                        <a:pt x="409680" y="1564373"/>
                        <a:pt x="420987" y="1562953"/>
                      </a:cubicBezTo>
                      <a:cubicBezTo>
                        <a:pt x="415194" y="1564930"/>
                        <a:pt x="408197" y="1566654"/>
                        <a:pt x="410821" y="1558275"/>
                      </a:cubicBezTo>
                      <a:cubicBezTo>
                        <a:pt x="407069" y="1557273"/>
                        <a:pt x="395140" y="1537055"/>
                        <a:pt x="397156" y="1535533"/>
                      </a:cubicBezTo>
                      <a:cubicBezTo>
                        <a:pt x="390551" y="1534392"/>
                        <a:pt x="391984" y="1528067"/>
                        <a:pt x="395102" y="1523148"/>
                      </a:cubicBezTo>
                      <a:cubicBezTo>
                        <a:pt x="393416" y="1525760"/>
                        <a:pt x="393099" y="1525316"/>
                        <a:pt x="392072" y="1528853"/>
                      </a:cubicBezTo>
                      <a:cubicBezTo>
                        <a:pt x="392503" y="1521741"/>
                        <a:pt x="383718" y="1512310"/>
                        <a:pt x="387458" y="1507100"/>
                      </a:cubicBezTo>
                      <a:cubicBezTo>
                        <a:pt x="383541" y="1504108"/>
                        <a:pt x="382032" y="1499545"/>
                        <a:pt x="381741" y="1494905"/>
                      </a:cubicBezTo>
                      <a:cubicBezTo>
                        <a:pt x="383364" y="1497098"/>
                        <a:pt x="385164" y="1497048"/>
                        <a:pt x="387014" y="1498303"/>
                      </a:cubicBezTo>
                      <a:cubicBezTo>
                        <a:pt x="384073" y="1495754"/>
                        <a:pt x="386406" y="1498138"/>
                        <a:pt x="386444" y="1495222"/>
                      </a:cubicBezTo>
                      <a:cubicBezTo>
                        <a:pt x="382489" y="1492813"/>
                        <a:pt x="380803" y="1493156"/>
                        <a:pt x="385493" y="1490557"/>
                      </a:cubicBezTo>
                      <a:cubicBezTo>
                        <a:pt x="385252" y="1491267"/>
                        <a:pt x="385379" y="1491863"/>
                        <a:pt x="385861" y="1492357"/>
                      </a:cubicBezTo>
                      <a:cubicBezTo>
                        <a:pt x="384238" y="1491444"/>
                        <a:pt x="387268" y="1490734"/>
                        <a:pt x="382907" y="1490557"/>
                      </a:cubicBezTo>
                      <a:cubicBezTo>
                        <a:pt x="382172" y="1481405"/>
                        <a:pt x="381525" y="1465496"/>
                        <a:pt x="377596" y="1458650"/>
                      </a:cubicBezTo>
                      <a:cubicBezTo>
                        <a:pt x="381741" y="1456939"/>
                        <a:pt x="376138" y="1443743"/>
                        <a:pt x="372842" y="1438710"/>
                      </a:cubicBezTo>
                      <a:cubicBezTo>
                        <a:pt x="374452" y="1439661"/>
                        <a:pt x="376303" y="1439775"/>
                        <a:pt x="377406" y="1440294"/>
                      </a:cubicBezTo>
                      <a:cubicBezTo>
                        <a:pt x="373615" y="1434362"/>
                        <a:pt x="364501" y="1418631"/>
                        <a:pt x="373831" y="1417451"/>
                      </a:cubicBezTo>
                      <a:cubicBezTo>
                        <a:pt x="369407" y="1416983"/>
                        <a:pt x="359265" y="1390932"/>
                        <a:pt x="361649" y="1386698"/>
                      </a:cubicBezTo>
                      <a:cubicBezTo>
                        <a:pt x="361053" y="1384036"/>
                        <a:pt x="359481" y="1385076"/>
                        <a:pt x="362232" y="1381006"/>
                      </a:cubicBezTo>
                      <a:cubicBezTo>
                        <a:pt x="360939" y="1381564"/>
                        <a:pt x="360406" y="1381843"/>
                        <a:pt x="359671" y="1383124"/>
                      </a:cubicBezTo>
                      <a:cubicBezTo>
                        <a:pt x="357174" y="1378889"/>
                        <a:pt x="358239" y="1371360"/>
                        <a:pt x="353612" y="1369065"/>
                      </a:cubicBezTo>
                      <a:cubicBezTo>
                        <a:pt x="353662" y="1367519"/>
                        <a:pt x="354322" y="1365947"/>
                        <a:pt x="354588" y="1364362"/>
                      </a:cubicBezTo>
                      <a:cubicBezTo>
                        <a:pt x="358061" y="1367734"/>
                        <a:pt x="362777" y="1367544"/>
                        <a:pt x="362536" y="1371740"/>
                      </a:cubicBezTo>
                      <a:cubicBezTo>
                        <a:pt x="369229" y="1365021"/>
                        <a:pt x="355272" y="1363716"/>
                        <a:pt x="352724" y="1358835"/>
                      </a:cubicBezTo>
                      <a:cubicBezTo>
                        <a:pt x="348731" y="1351179"/>
                        <a:pt x="354372" y="1338236"/>
                        <a:pt x="359671" y="1351851"/>
                      </a:cubicBezTo>
                      <a:cubicBezTo>
                        <a:pt x="359811" y="1351343"/>
                        <a:pt x="359975" y="1350874"/>
                        <a:pt x="360115" y="1350367"/>
                      </a:cubicBezTo>
                      <a:cubicBezTo>
                        <a:pt x="357630" y="1344561"/>
                        <a:pt x="337360" y="1327486"/>
                        <a:pt x="353612" y="1323227"/>
                      </a:cubicBezTo>
                      <a:cubicBezTo>
                        <a:pt x="355412" y="1326155"/>
                        <a:pt x="357453" y="1327930"/>
                        <a:pt x="358644" y="1330503"/>
                      </a:cubicBezTo>
                      <a:cubicBezTo>
                        <a:pt x="359177" y="1328095"/>
                        <a:pt x="359392" y="1326637"/>
                        <a:pt x="360216" y="1324216"/>
                      </a:cubicBezTo>
                      <a:cubicBezTo>
                        <a:pt x="359975" y="1323620"/>
                        <a:pt x="357795" y="1320350"/>
                        <a:pt x="357351" y="1319551"/>
                      </a:cubicBezTo>
                      <a:cubicBezTo>
                        <a:pt x="348402" y="1320387"/>
                        <a:pt x="353219" y="1314924"/>
                        <a:pt x="358150" y="1312731"/>
                      </a:cubicBezTo>
                      <a:cubicBezTo>
                        <a:pt x="356616" y="1312667"/>
                        <a:pt x="356299" y="1312579"/>
                        <a:pt x="355564" y="1312198"/>
                      </a:cubicBezTo>
                      <a:cubicBezTo>
                        <a:pt x="358568" y="1311590"/>
                        <a:pt x="361154" y="1309752"/>
                        <a:pt x="363195" y="1308839"/>
                      </a:cubicBezTo>
                      <a:cubicBezTo>
                        <a:pt x="361902" y="1309295"/>
                        <a:pt x="359671" y="1309701"/>
                        <a:pt x="358163" y="1310107"/>
                      </a:cubicBezTo>
                      <a:cubicBezTo>
                        <a:pt x="357985" y="1305112"/>
                        <a:pt x="357364" y="1303096"/>
                        <a:pt x="357161" y="1297582"/>
                      </a:cubicBezTo>
                      <a:cubicBezTo>
                        <a:pt x="352281" y="1302285"/>
                        <a:pt x="356413" y="1306278"/>
                        <a:pt x="350988" y="1310652"/>
                      </a:cubicBezTo>
                      <a:cubicBezTo>
                        <a:pt x="350607" y="1310119"/>
                        <a:pt x="351140" y="1308560"/>
                        <a:pt x="350531" y="1308041"/>
                      </a:cubicBezTo>
                      <a:cubicBezTo>
                        <a:pt x="348021" y="1310905"/>
                        <a:pt x="346133" y="1314379"/>
                        <a:pt x="345156" y="1317814"/>
                      </a:cubicBezTo>
                      <a:cubicBezTo>
                        <a:pt x="344320" y="1316344"/>
                        <a:pt x="344573" y="1314937"/>
                        <a:pt x="344447" y="1313238"/>
                      </a:cubicBezTo>
                      <a:cubicBezTo>
                        <a:pt x="344396" y="1313276"/>
                        <a:pt x="342279" y="1314759"/>
                        <a:pt x="342406" y="1314848"/>
                      </a:cubicBezTo>
                      <a:cubicBezTo>
                        <a:pt x="342951" y="1312718"/>
                        <a:pt x="343648" y="1309232"/>
                        <a:pt x="344447" y="1306938"/>
                      </a:cubicBezTo>
                      <a:cubicBezTo>
                        <a:pt x="346424" y="1305581"/>
                        <a:pt x="345233" y="1300397"/>
                        <a:pt x="345562" y="1296632"/>
                      </a:cubicBezTo>
                      <a:cubicBezTo>
                        <a:pt x="344738" y="1297126"/>
                        <a:pt x="343864" y="1297925"/>
                        <a:pt x="343103" y="1298533"/>
                      </a:cubicBezTo>
                      <a:cubicBezTo>
                        <a:pt x="344130" y="1295934"/>
                        <a:pt x="344776" y="1293412"/>
                        <a:pt x="346462" y="1290762"/>
                      </a:cubicBezTo>
                      <a:cubicBezTo>
                        <a:pt x="345461" y="1291738"/>
                        <a:pt x="343699" y="1292765"/>
                        <a:pt x="342418" y="1294400"/>
                      </a:cubicBezTo>
                      <a:cubicBezTo>
                        <a:pt x="338336" y="1280887"/>
                        <a:pt x="359126" y="1285869"/>
                        <a:pt x="360989" y="1294337"/>
                      </a:cubicBezTo>
                      <a:cubicBezTo>
                        <a:pt x="361560" y="1294033"/>
                        <a:pt x="362130" y="1293716"/>
                        <a:pt x="362701" y="1293399"/>
                      </a:cubicBezTo>
                      <a:cubicBezTo>
                        <a:pt x="360267" y="1286554"/>
                        <a:pt x="353067" y="1287074"/>
                        <a:pt x="346982" y="1283461"/>
                      </a:cubicBezTo>
                      <a:cubicBezTo>
                        <a:pt x="341290" y="1280101"/>
                        <a:pt x="335383" y="1272572"/>
                        <a:pt x="350100" y="1269390"/>
                      </a:cubicBezTo>
                      <a:cubicBezTo>
                        <a:pt x="346031" y="1270493"/>
                        <a:pt x="341670" y="1268959"/>
                        <a:pt x="339414" y="1265701"/>
                      </a:cubicBezTo>
                      <a:cubicBezTo>
                        <a:pt x="339858" y="1267805"/>
                        <a:pt x="340111" y="1269402"/>
                        <a:pt x="340491" y="1270911"/>
                      </a:cubicBezTo>
                      <a:cubicBezTo>
                        <a:pt x="336841" y="1266436"/>
                        <a:pt x="338032" y="1260453"/>
                        <a:pt x="335865" y="1254698"/>
                      </a:cubicBezTo>
                      <a:cubicBezTo>
                        <a:pt x="337525" y="1255775"/>
                        <a:pt x="337677" y="1255598"/>
                        <a:pt x="338806" y="1256168"/>
                      </a:cubicBezTo>
                      <a:cubicBezTo>
                        <a:pt x="339148" y="1253633"/>
                        <a:pt x="339122" y="1252061"/>
                        <a:pt x="338920" y="1249450"/>
                      </a:cubicBezTo>
                      <a:cubicBezTo>
                        <a:pt x="337779" y="1251148"/>
                        <a:pt x="336486" y="1251896"/>
                        <a:pt x="335218" y="1253050"/>
                      </a:cubicBezTo>
                      <a:cubicBezTo>
                        <a:pt x="332505" y="1241958"/>
                        <a:pt x="336651" y="1223311"/>
                        <a:pt x="340314" y="1212840"/>
                      </a:cubicBezTo>
                      <a:cubicBezTo>
                        <a:pt x="342659" y="1206121"/>
                        <a:pt x="347895" y="1201507"/>
                        <a:pt x="350088" y="1194433"/>
                      </a:cubicBezTo>
                      <a:cubicBezTo>
                        <a:pt x="352040" y="1188082"/>
                        <a:pt x="349466" y="1178436"/>
                        <a:pt x="355095" y="1175482"/>
                      </a:cubicBezTo>
                      <a:cubicBezTo>
                        <a:pt x="354055" y="1173542"/>
                        <a:pt x="353916" y="1172566"/>
                        <a:pt x="353079" y="1170728"/>
                      </a:cubicBezTo>
                      <a:cubicBezTo>
                        <a:pt x="351178" y="1169588"/>
                        <a:pt x="349872" y="1173048"/>
                        <a:pt x="351647" y="1167141"/>
                      </a:cubicBezTo>
                      <a:cubicBezTo>
                        <a:pt x="350252" y="1168016"/>
                        <a:pt x="348503" y="1168155"/>
                        <a:pt x="346957" y="1169625"/>
                      </a:cubicBezTo>
                      <a:cubicBezTo>
                        <a:pt x="347476" y="1164580"/>
                        <a:pt x="347400" y="1161652"/>
                        <a:pt x="350760" y="1158356"/>
                      </a:cubicBezTo>
                      <a:cubicBezTo>
                        <a:pt x="346766" y="1159231"/>
                        <a:pt x="343749" y="1157621"/>
                        <a:pt x="341785" y="1154059"/>
                      </a:cubicBezTo>
                      <a:cubicBezTo>
                        <a:pt x="351786" y="1156455"/>
                        <a:pt x="346234" y="1145489"/>
                        <a:pt x="339946" y="1147556"/>
                      </a:cubicBezTo>
                      <a:cubicBezTo>
                        <a:pt x="338742" y="1149533"/>
                        <a:pt x="338222" y="1149558"/>
                        <a:pt x="336866" y="1151270"/>
                      </a:cubicBezTo>
                      <a:cubicBezTo>
                        <a:pt x="341721" y="1141167"/>
                        <a:pt x="332252" y="1145768"/>
                        <a:pt x="334534" y="1149432"/>
                      </a:cubicBezTo>
                      <a:cubicBezTo>
                        <a:pt x="334850" y="1149926"/>
                        <a:pt x="328436" y="1151016"/>
                        <a:pt x="330591" y="1147797"/>
                      </a:cubicBezTo>
                      <a:cubicBezTo>
                        <a:pt x="332404" y="1145122"/>
                        <a:pt x="336460" y="1142624"/>
                        <a:pt x="339389" y="1141737"/>
                      </a:cubicBezTo>
                      <a:cubicBezTo>
                        <a:pt x="336574" y="1139633"/>
                        <a:pt x="334889" y="1138162"/>
                        <a:pt x="332810" y="1135995"/>
                      </a:cubicBezTo>
                      <a:cubicBezTo>
                        <a:pt x="328373" y="1136514"/>
                        <a:pt x="326611" y="1130417"/>
                        <a:pt x="332810" y="1129124"/>
                      </a:cubicBezTo>
                      <a:cubicBezTo>
                        <a:pt x="330578" y="1128985"/>
                        <a:pt x="328601" y="1127793"/>
                        <a:pt x="326826" y="1127349"/>
                      </a:cubicBezTo>
                      <a:cubicBezTo>
                        <a:pt x="331618" y="1126221"/>
                        <a:pt x="337652" y="1122545"/>
                        <a:pt x="340732" y="1121366"/>
                      </a:cubicBezTo>
                      <a:cubicBezTo>
                        <a:pt x="337373" y="1119186"/>
                        <a:pt x="332391" y="1123052"/>
                        <a:pt x="328246" y="1124915"/>
                      </a:cubicBezTo>
                      <a:cubicBezTo>
                        <a:pt x="329907" y="1119921"/>
                        <a:pt x="341189" y="1110008"/>
                        <a:pt x="345942" y="1107473"/>
                      </a:cubicBezTo>
                      <a:cubicBezTo>
                        <a:pt x="351875" y="1104291"/>
                        <a:pt x="365185" y="1105241"/>
                        <a:pt x="368342" y="1098003"/>
                      </a:cubicBezTo>
                      <a:cubicBezTo>
                        <a:pt x="356946" y="1103733"/>
                        <a:pt x="346348" y="1105672"/>
                        <a:pt x="333786" y="1104684"/>
                      </a:cubicBezTo>
                      <a:cubicBezTo>
                        <a:pt x="325368" y="1104037"/>
                        <a:pt x="320741" y="1103543"/>
                        <a:pt x="326687" y="1092438"/>
                      </a:cubicBezTo>
                      <a:cubicBezTo>
                        <a:pt x="330097" y="1086062"/>
                        <a:pt x="336574" y="1085301"/>
                        <a:pt x="339401" y="1080484"/>
                      </a:cubicBezTo>
                      <a:cubicBezTo>
                        <a:pt x="336790" y="1081093"/>
                        <a:pt x="326636" y="1087596"/>
                        <a:pt x="324899" y="1086556"/>
                      </a:cubicBezTo>
                      <a:cubicBezTo>
                        <a:pt x="321451" y="1084477"/>
                        <a:pt x="322504" y="1071078"/>
                        <a:pt x="325166" y="1067947"/>
                      </a:cubicBezTo>
                      <a:cubicBezTo>
                        <a:pt x="330971" y="1061051"/>
                        <a:pt x="332645" y="1067199"/>
                        <a:pt x="339021" y="1066337"/>
                      </a:cubicBezTo>
                      <a:cubicBezTo>
                        <a:pt x="343382" y="1065741"/>
                        <a:pt x="353523" y="1062636"/>
                        <a:pt x="352040" y="1058300"/>
                      </a:cubicBezTo>
                      <a:cubicBezTo>
                        <a:pt x="345626" y="1058997"/>
                        <a:pt x="338691" y="1058731"/>
                        <a:pt x="331276" y="1059074"/>
                      </a:cubicBezTo>
                      <a:cubicBezTo>
                        <a:pt x="326712" y="1059314"/>
                        <a:pt x="319905" y="1062902"/>
                        <a:pt x="319385" y="1059657"/>
                      </a:cubicBezTo>
                      <a:cubicBezTo>
                        <a:pt x="312400" y="1062648"/>
                        <a:pt x="312628" y="1055778"/>
                        <a:pt x="314441" y="1051708"/>
                      </a:cubicBezTo>
                      <a:cubicBezTo>
                        <a:pt x="311830" y="1054155"/>
                        <a:pt x="310030" y="1058845"/>
                        <a:pt x="307545" y="1060088"/>
                      </a:cubicBezTo>
                      <a:cubicBezTo>
                        <a:pt x="303844" y="1061938"/>
                        <a:pt x="304325" y="1052659"/>
                        <a:pt x="300345" y="1058896"/>
                      </a:cubicBezTo>
                      <a:cubicBezTo>
                        <a:pt x="298900" y="1059188"/>
                        <a:pt x="297543" y="1057857"/>
                        <a:pt x="296086" y="1058592"/>
                      </a:cubicBezTo>
                      <a:cubicBezTo>
                        <a:pt x="300675" y="1059327"/>
                        <a:pt x="297505" y="1060607"/>
                        <a:pt x="302868" y="1057781"/>
                      </a:cubicBezTo>
                      <a:cubicBezTo>
                        <a:pt x="302475" y="1064436"/>
                        <a:pt x="313110" y="1065716"/>
                        <a:pt x="306354" y="1076288"/>
                      </a:cubicBezTo>
                      <a:cubicBezTo>
                        <a:pt x="303476" y="1080776"/>
                        <a:pt x="300548" y="1079546"/>
                        <a:pt x="297176" y="1082107"/>
                      </a:cubicBezTo>
                      <a:cubicBezTo>
                        <a:pt x="295135" y="1079838"/>
                        <a:pt x="294679" y="1080484"/>
                        <a:pt x="292257" y="1079496"/>
                      </a:cubicBezTo>
                      <a:cubicBezTo>
                        <a:pt x="292346" y="1079762"/>
                        <a:pt x="294159" y="1081841"/>
                        <a:pt x="294311" y="1082170"/>
                      </a:cubicBezTo>
                      <a:cubicBezTo>
                        <a:pt x="293094" y="1082956"/>
                        <a:pt x="291763" y="1081067"/>
                        <a:pt x="290736" y="1081587"/>
                      </a:cubicBezTo>
                      <a:cubicBezTo>
                        <a:pt x="291522" y="1083197"/>
                        <a:pt x="292815" y="1082373"/>
                        <a:pt x="292625" y="1084287"/>
                      </a:cubicBezTo>
                      <a:cubicBezTo>
                        <a:pt x="290292" y="1084034"/>
                        <a:pt x="289494" y="1084401"/>
                        <a:pt x="287199" y="1084744"/>
                      </a:cubicBezTo>
                      <a:cubicBezTo>
                        <a:pt x="291040" y="1085454"/>
                        <a:pt x="292739" y="1086430"/>
                        <a:pt x="296656" y="1085758"/>
                      </a:cubicBezTo>
                      <a:cubicBezTo>
                        <a:pt x="297011" y="1086632"/>
                        <a:pt x="297632" y="1089725"/>
                        <a:pt x="297620" y="1092273"/>
                      </a:cubicBezTo>
                      <a:cubicBezTo>
                        <a:pt x="295503" y="1090854"/>
                        <a:pt x="291700" y="1089725"/>
                        <a:pt x="289367" y="1087849"/>
                      </a:cubicBezTo>
                      <a:cubicBezTo>
                        <a:pt x="289164" y="1088305"/>
                        <a:pt x="288961" y="1088787"/>
                        <a:pt x="288746" y="1089256"/>
                      </a:cubicBezTo>
                      <a:cubicBezTo>
                        <a:pt x="290749" y="1090575"/>
                        <a:pt x="290952" y="1090917"/>
                        <a:pt x="292828" y="1092692"/>
                      </a:cubicBezTo>
                      <a:cubicBezTo>
                        <a:pt x="288239" y="1090930"/>
                        <a:pt x="283244" y="1089789"/>
                        <a:pt x="285184" y="1096381"/>
                      </a:cubicBezTo>
                      <a:cubicBezTo>
                        <a:pt x="285666" y="1096368"/>
                        <a:pt x="285856" y="1094834"/>
                        <a:pt x="286718" y="1095366"/>
                      </a:cubicBezTo>
                      <a:cubicBezTo>
                        <a:pt x="286984" y="1095721"/>
                        <a:pt x="286401" y="1097091"/>
                        <a:pt x="286718" y="1097420"/>
                      </a:cubicBezTo>
                      <a:cubicBezTo>
                        <a:pt x="293652" y="1096672"/>
                        <a:pt x="301676" y="1096773"/>
                        <a:pt x="304541" y="1103758"/>
                      </a:cubicBezTo>
                      <a:cubicBezTo>
                        <a:pt x="308635" y="1113671"/>
                        <a:pt x="300915" y="1120187"/>
                        <a:pt x="295667" y="1130062"/>
                      </a:cubicBezTo>
                      <a:cubicBezTo>
                        <a:pt x="291915" y="1137059"/>
                        <a:pt x="293424" y="1140824"/>
                        <a:pt x="285590" y="1145920"/>
                      </a:cubicBezTo>
                      <a:cubicBezTo>
                        <a:pt x="276209" y="1152030"/>
                        <a:pt x="262277" y="1156315"/>
                        <a:pt x="251794" y="1160739"/>
                      </a:cubicBezTo>
                      <a:cubicBezTo>
                        <a:pt x="252022" y="1159459"/>
                        <a:pt x="252935" y="1159547"/>
                        <a:pt x="253264" y="1158610"/>
                      </a:cubicBezTo>
                      <a:cubicBezTo>
                        <a:pt x="245037" y="1162387"/>
                        <a:pt x="239586" y="1167382"/>
                        <a:pt x="230104" y="1170843"/>
                      </a:cubicBezTo>
                      <a:cubicBezTo>
                        <a:pt x="223500" y="1173226"/>
                        <a:pt x="216540" y="1177067"/>
                        <a:pt x="211254" y="1178322"/>
                      </a:cubicBezTo>
                      <a:cubicBezTo>
                        <a:pt x="195637" y="1182023"/>
                        <a:pt x="182796" y="1174975"/>
                        <a:pt x="169346" y="1166748"/>
                      </a:cubicBezTo>
                      <a:cubicBezTo>
                        <a:pt x="150775" y="1155364"/>
                        <a:pt x="137781" y="1139925"/>
                        <a:pt x="123558" y="1123673"/>
                      </a:cubicBezTo>
                      <a:cubicBezTo>
                        <a:pt x="117740" y="1117018"/>
                        <a:pt x="91423" y="1100361"/>
                        <a:pt x="92222" y="1089535"/>
                      </a:cubicBezTo>
                      <a:cubicBezTo>
                        <a:pt x="86391" y="1094099"/>
                        <a:pt x="39716" y="1051392"/>
                        <a:pt x="69315" y="1042924"/>
                      </a:cubicBezTo>
                      <a:cubicBezTo>
                        <a:pt x="63725" y="1051037"/>
                        <a:pt x="71293" y="1045953"/>
                        <a:pt x="73651" y="1048590"/>
                      </a:cubicBezTo>
                      <a:cubicBezTo>
                        <a:pt x="73968" y="1048932"/>
                        <a:pt x="76655" y="1047462"/>
                        <a:pt x="78518" y="1049237"/>
                      </a:cubicBezTo>
                      <a:cubicBezTo>
                        <a:pt x="78949" y="1049655"/>
                        <a:pt x="74703" y="1054802"/>
                        <a:pt x="76478" y="1056538"/>
                      </a:cubicBezTo>
                      <a:cubicBezTo>
                        <a:pt x="81092" y="1061013"/>
                        <a:pt x="104315" y="1055626"/>
                        <a:pt x="101463" y="1045421"/>
                      </a:cubicBezTo>
                      <a:cubicBezTo>
                        <a:pt x="106508" y="1050238"/>
                        <a:pt x="112732" y="1055359"/>
                        <a:pt x="117524" y="1042962"/>
                      </a:cubicBezTo>
                      <a:cubicBezTo>
                        <a:pt x="121454" y="1049972"/>
                        <a:pt x="124281" y="1045383"/>
                        <a:pt x="129453" y="1043012"/>
                      </a:cubicBezTo>
                      <a:cubicBezTo>
                        <a:pt x="132622" y="1041542"/>
                        <a:pt x="133928" y="1039197"/>
                        <a:pt x="136932" y="1038259"/>
                      </a:cubicBezTo>
                      <a:cubicBezTo>
                        <a:pt x="139505" y="1037473"/>
                        <a:pt x="144322" y="1038335"/>
                        <a:pt x="146287" y="1037536"/>
                      </a:cubicBezTo>
                      <a:cubicBezTo>
                        <a:pt x="153880" y="1034418"/>
                        <a:pt x="156669" y="1025417"/>
                        <a:pt x="161081" y="1018217"/>
                      </a:cubicBezTo>
                      <a:cubicBezTo>
                        <a:pt x="163907" y="1013552"/>
                        <a:pt x="169827" y="1009039"/>
                        <a:pt x="172299" y="1005490"/>
                      </a:cubicBezTo>
                      <a:cubicBezTo>
                        <a:pt x="174138" y="1002840"/>
                        <a:pt x="179246" y="998974"/>
                        <a:pt x="174404" y="994639"/>
                      </a:cubicBezTo>
                      <a:cubicBezTo>
                        <a:pt x="167381" y="988313"/>
                        <a:pt x="168458" y="1000964"/>
                        <a:pt x="166950" y="1002777"/>
                      </a:cubicBezTo>
                      <a:cubicBezTo>
                        <a:pt x="163261" y="1007252"/>
                        <a:pt x="160675" y="1010700"/>
                        <a:pt x="154489" y="1002726"/>
                      </a:cubicBezTo>
                      <a:cubicBezTo>
                        <a:pt x="152524" y="1007873"/>
                        <a:pt x="148049" y="1007265"/>
                        <a:pt x="146934" y="1003208"/>
                      </a:cubicBezTo>
                      <a:cubicBezTo>
                        <a:pt x="147365" y="1005934"/>
                        <a:pt x="145869" y="1005135"/>
                        <a:pt x="147276" y="1008152"/>
                      </a:cubicBezTo>
                      <a:cubicBezTo>
                        <a:pt x="141204" y="1009166"/>
                        <a:pt x="133142" y="1010522"/>
                        <a:pt x="127551" y="1013146"/>
                      </a:cubicBezTo>
                      <a:cubicBezTo>
                        <a:pt x="123989" y="1014807"/>
                        <a:pt x="119578" y="1020803"/>
                        <a:pt x="117195" y="1021716"/>
                      </a:cubicBezTo>
                      <a:cubicBezTo>
                        <a:pt x="111541" y="1023934"/>
                        <a:pt x="101602" y="1019624"/>
                        <a:pt x="95606" y="1018078"/>
                      </a:cubicBezTo>
                      <a:cubicBezTo>
                        <a:pt x="76097" y="1012994"/>
                        <a:pt x="42961" y="1002840"/>
                        <a:pt x="33415" y="984092"/>
                      </a:cubicBezTo>
                      <a:cubicBezTo>
                        <a:pt x="36052" y="983635"/>
                        <a:pt x="33225" y="984206"/>
                        <a:pt x="35456" y="981975"/>
                      </a:cubicBezTo>
                      <a:cubicBezTo>
                        <a:pt x="28776" y="983293"/>
                        <a:pt x="28129" y="979706"/>
                        <a:pt x="34265" y="977487"/>
                      </a:cubicBezTo>
                      <a:cubicBezTo>
                        <a:pt x="30120" y="975903"/>
                        <a:pt x="26709" y="973862"/>
                        <a:pt x="29372" y="970794"/>
                      </a:cubicBezTo>
                      <a:cubicBezTo>
                        <a:pt x="25416" y="970820"/>
                        <a:pt x="25607" y="970426"/>
                        <a:pt x="23819" y="968157"/>
                      </a:cubicBezTo>
                      <a:cubicBezTo>
                        <a:pt x="18951" y="967866"/>
                        <a:pt x="21728" y="965559"/>
                        <a:pt x="25302" y="962846"/>
                      </a:cubicBezTo>
                      <a:cubicBezTo>
                        <a:pt x="25176" y="962694"/>
                        <a:pt x="22349" y="960450"/>
                        <a:pt x="21740" y="960159"/>
                      </a:cubicBezTo>
                      <a:cubicBezTo>
                        <a:pt x="20764" y="971086"/>
                        <a:pt x="14464" y="950398"/>
                        <a:pt x="25746" y="954695"/>
                      </a:cubicBezTo>
                      <a:cubicBezTo>
                        <a:pt x="24897" y="953757"/>
                        <a:pt x="24897" y="952857"/>
                        <a:pt x="23819" y="951868"/>
                      </a:cubicBezTo>
                      <a:cubicBezTo>
                        <a:pt x="28763" y="950740"/>
                        <a:pt x="32376" y="946405"/>
                        <a:pt x="36546" y="943603"/>
                      </a:cubicBezTo>
                      <a:cubicBezTo>
                        <a:pt x="39830" y="941423"/>
                        <a:pt x="46776" y="938013"/>
                        <a:pt x="50136" y="934527"/>
                      </a:cubicBezTo>
                      <a:cubicBezTo>
                        <a:pt x="41604" y="936504"/>
                        <a:pt x="33517" y="940028"/>
                        <a:pt x="25708" y="945226"/>
                      </a:cubicBezTo>
                      <a:cubicBezTo>
                        <a:pt x="16961" y="951082"/>
                        <a:pt x="13044" y="962846"/>
                        <a:pt x="0" y="955189"/>
                      </a:cubicBezTo>
                      <a:cubicBezTo>
                        <a:pt x="2814" y="951653"/>
                        <a:pt x="6795" y="951285"/>
                        <a:pt x="10116" y="949485"/>
                      </a:cubicBezTo>
                      <a:cubicBezTo>
                        <a:pt x="5159" y="950803"/>
                        <a:pt x="3106" y="947634"/>
                        <a:pt x="3993" y="942589"/>
                      </a:cubicBezTo>
                      <a:cubicBezTo>
                        <a:pt x="3207" y="943058"/>
                        <a:pt x="2611" y="944148"/>
                        <a:pt x="1813" y="944706"/>
                      </a:cubicBezTo>
                      <a:cubicBezTo>
                        <a:pt x="1483" y="939610"/>
                        <a:pt x="3359" y="934222"/>
                        <a:pt x="8633" y="933183"/>
                      </a:cubicBezTo>
                      <a:cubicBezTo>
                        <a:pt x="8354" y="927910"/>
                        <a:pt x="11624" y="933868"/>
                        <a:pt x="13817" y="927643"/>
                      </a:cubicBezTo>
                      <a:cubicBezTo>
                        <a:pt x="15351" y="928683"/>
                        <a:pt x="14502" y="928176"/>
                        <a:pt x="15529" y="929760"/>
                      </a:cubicBezTo>
                      <a:cubicBezTo>
                        <a:pt x="22716" y="925285"/>
                        <a:pt x="34607" y="927694"/>
                        <a:pt x="42935" y="927745"/>
                      </a:cubicBezTo>
                      <a:cubicBezTo>
                        <a:pt x="42974" y="922509"/>
                        <a:pt x="40235" y="906854"/>
                        <a:pt x="43050" y="902506"/>
                      </a:cubicBezTo>
                      <a:cubicBezTo>
                        <a:pt x="47093" y="896307"/>
                        <a:pt x="50846" y="901200"/>
                        <a:pt x="51403" y="906626"/>
                      </a:cubicBezTo>
                      <a:cubicBezTo>
                        <a:pt x="55346" y="893962"/>
                        <a:pt x="56322" y="905003"/>
                        <a:pt x="61228" y="905066"/>
                      </a:cubicBezTo>
                      <a:cubicBezTo>
                        <a:pt x="67794" y="905193"/>
                        <a:pt x="74399" y="903811"/>
                        <a:pt x="81320" y="903913"/>
                      </a:cubicBezTo>
                      <a:cubicBezTo>
                        <a:pt x="87341" y="904014"/>
                        <a:pt x="94542" y="901821"/>
                        <a:pt x="100829" y="903368"/>
                      </a:cubicBezTo>
                      <a:cubicBezTo>
                        <a:pt x="107218" y="904952"/>
                        <a:pt x="106901" y="907754"/>
                        <a:pt x="112897" y="910340"/>
                      </a:cubicBezTo>
                      <a:cubicBezTo>
                        <a:pt x="121175" y="913927"/>
                        <a:pt x="133509" y="914054"/>
                        <a:pt x="141102" y="909300"/>
                      </a:cubicBezTo>
                      <a:cubicBezTo>
                        <a:pt x="143498" y="907805"/>
                        <a:pt x="143536" y="903076"/>
                        <a:pt x="146008" y="901225"/>
                      </a:cubicBezTo>
                      <a:cubicBezTo>
                        <a:pt x="147960" y="899730"/>
                        <a:pt x="153880" y="899172"/>
                        <a:pt x="156517" y="898323"/>
                      </a:cubicBezTo>
                      <a:cubicBezTo>
                        <a:pt x="160802" y="896966"/>
                        <a:pt x="174835" y="888993"/>
                        <a:pt x="178891" y="891984"/>
                      </a:cubicBezTo>
                      <a:cubicBezTo>
                        <a:pt x="180387" y="893112"/>
                        <a:pt x="176647" y="901352"/>
                        <a:pt x="180476" y="904952"/>
                      </a:cubicBezTo>
                      <a:cubicBezTo>
                        <a:pt x="185077" y="909288"/>
                        <a:pt x="195941" y="906955"/>
                        <a:pt x="200644" y="903887"/>
                      </a:cubicBezTo>
                      <a:cubicBezTo>
                        <a:pt x="197348" y="895762"/>
                        <a:pt x="207895" y="899134"/>
                        <a:pt x="210925" y="897270"/>
                      </a:cubicBezTo>
                      <a:cubicBezTo>
                        <a:pt x="221586" y="890653"/>
                        <a:pt x="212750" y="894114"/>
                        <a:pt x="211191" y="889766"/>
                      </a:cubicBezTo>
                      <a:cubicBezTo>
                        <a:pt x="209023" y="883643"/>
                        <a:pt x="204536" y="874770"/>
                        <a:pt x="215919" y="871828"/>
                      </a:cubicBezTo>
                      <a:cubicBezTo>
                        <a:pt x="208719" y="860382"/>
                        <a:pt x="206703" y="846539"/>
                        <a:pt x="200441" y="835244"/>
                      </a:cubicBezTo>
                      <a:cubicBezTo>
                        <a:pt x="196765" y="828576"/>
                        <a:pt x="187790" y="823658"/>
                        <a:pt x="185622" y="815836"/>
                      </a:cubicBezTo>
                      <a:cubicBezTo>
                        <a:pt x="184215" y="810690"/>
                        <a:pt x="188322" y="800916"/>
                        <a:pt x="185762" y="796530"/>
                      </a:cubicBezTo>
                      <a:cubicBezTo>
                        <a:pt x="181705" y="789558"/>
                        <a:pt x="182631" y="793386"/>
                        <a:pt x="175468" y="793399"/>
                      </a:cubicBezTo>
                      <a:cubicBezTo>
                        <a:pt x="160624" y="793450"/>
                        <a:pt x="158038" y="794121"/>
                        <a:pt x="150128" y="782408"/>
                      </a:cubicBezTo>
                      <a:cubicBezTo>
                        <a:pt x="140177" y="767653"/>
                        <a:pt x="143688" y="767272"/>
                        <a:pt x="148074" y="751503"/>
                      </a:cubicBezTo>
                      <a:cubicBezTo>
                        <a:pt x="149215" y="747383"/>
                        <a:pt x="150876" y="730016"/>
                        <a:pt x="148937" y="726733"/>
                      </a:cubicBezTo>
                      <a:cubicBezTo>
                        <a:pt x="145590" y="721143"/>
                        <a:pt x="139987" y="722727"/>
                        <a:pt x="134612" y="722398"/>
                      </a:cubicBezTo>
                      <a:cubicBezTo>
                        <a:pt x="122493" y="721662"/>
                        <a:pt x="123469" y="721599"/>
                        <a:pt x="113594" y="716199"/>
                      </a:cubicBezTo>
                      <a:cubicBezTo>
                        <a:pt x="97837" y="707566"/>
                        <a:pt x="95125" y="704853"/>
                        <a:pt x="100829" y="685839"/>
                      </a:cubicBezTo>
                      <a:cubicBezTo>
                        <a:pt x="105215" y="671172"/>
                        <a:pt x="120858" y="661284"/>
                        <a:pt x="130632" y="650078"/>
                      </a:cubicBezTo>
                      <a:cubicBezTo>
                        <a:pt x="139581" y="639823"/>
                        <a:pt x="142104" y="627691"/>
                        <a:pt x="152080" y="618197"/>
                      </a:cubicBezTo>
                      <a:cubicBezTo>
                        <a:pt x="158723" y="611858"/>
                        <a:pt x="166747" y="604912"/>
                        <a:pt x="176267" y="608829"/>
                      </a:cubicBezTo>
                      <a:cubicBezTo>
                        <a:pt x="187055" y="613266"/>
                        <a:pt x="181857" y="624611"/>
                        <a:pt x="189806" y="630974"/>
                      </a:cubicBezTo>
                      <a:cubicBezTo>
                        <a:pt x="201164" y="640076"/>
                        <a:pt x="217238" y="625422"/>
                        <a:pt x="228647" y="622507"/>
                      </a:cubicBezTo>
                      <a:cubicBezTo>
                        <a:pt x="241031" y="619337"/>
                        <a:pt x="264863" y="624256"/>
                        <a:pt x="274738" y="614356"/>
                      </a:cubicBezTo>
                      <a:cubicBezTo>
                        <a:pt x="278174" y="610920"/>
                        <a:pt x="275968" y="604468"/>
                        <a:pt x="278085" y="599993"/>
                      </a:cubicBezTo>
                      <a:cubicBezTo>
                        <a:pt x="281419" y="592844"/>
                        <a:pt x="289190" y="589953"/>
                        <a:pt x="294032" y="584363"/>
                      </a:cubicBezTo>
                      <a:cubicBezTo>
                        <a:pt x="303337" y="573601"/>
                        <a:pt x="300637" y="557958"/>
                        <a:pt x="312274" y="548539"/>
                      </a:cubicBezTo>
                      <a:cubicBezTo>
                        <a:pt x="325166" y="538170"/>
                        <a:pt x="344244" y="536496"/>
                        <a:pt x="355031" y="524124"/>
                      </a:cubicBezTo>
                      <a:cubicBezTo>
                        <a:pt x="365337" y="512297"/>
                        <a:pt x="373451" y="494563"/>
                        <a:pt x="378749" y="479896"/>
                      </a:cubicBezTo>
                      <a:cubicBezTo>
                        <a:pt x="381069" y="473456"/>
                        <a:pt x="382185" y="461540"/>
                        <a:pt x="386381" y="456305"/>
                      </a:cubicBezTo>
                      <a:cubicBezTo>
                        <a:pt x="391388" y="450106"/>
                        <a:pt x="401884" y="450233"/>
                        <a:pt x="408805" y="447571"/>
                      </a:cubicBezTo>
                      <a:cubicBezTo>
                        <a:pt x="418237" y="443970"/>
                        <a:pt x="441067" y="430039"/>
                        <a:pt x="421330" y="421951"/>
                      </a:cubicBezTo>
                      <a:cubicBezTo>
                        <a:pt x="423180" y="419315"/>
                        <a:pt x="422914" y="419239"/>
                        <a:pt x="426058" y="418567"/>
                      </a:cubicBezTo>
                      <a:cubicBezTo>
                        <a:pt x="426185" y="418313"/>
                        <a:pt x="425386" y="416513"/>
                        <a:pt x="425602" y="416361"/>
                      </a:cubicBezTo>
                      <a:cubicBezTo>
                        <a:pt x="434234" y="415448"/>
                        <a:pt x="435844" y="404483"/>
                        <a:pt x="440066" y="398994"/>
                      </a:cubicBezTo>
                      <a:cubicBezTo>
                        <a:pt x="443412" y="394684"/>
                        <a:pt x="449041" y="390032"/>
                        <a:pt x="452311" y="385405"/>
                      </a:cubicBezTo>
                      <a:cubicBezTo>
                        <a:pt x="456101" y="380030"/>
                        <a:pt x="458383" y="379155"/>
                        <a:pt x="463758" y="376176"/>
                      </a:cubicBezTo>
                      <a:cubicBezTo>
                        <a:pt x="470096" y="372640"/>
                        <a:pt x="474837" y="365224"/>
                        <a:pt x="481708" y="362853"/>
                      </a:cubicBezTo>
                      <a:cubicBezTo>
                        <a:pt x="476992" y="359824"/>
                        <a:pt x="472949" y="361839"/>
                        <a:pt x="470565" y="356198"/>
                      </a:cubicBezTo>
                      <a:cubicBezTo>
                        <a:pt x="468740" y="351850"/>
                        <a:pt x="473861" y="343002"/>
                        <a:pt x="474875" y="338958"/>
                      </a:cubicBezTo>
                      <a:cubicBezTo>
                        <a:pt x="476168" y="333862"/>
                        <a:pt x="477651" y="334433"/>
                        <a:pt x="477335" y="329261"/>
                      </a:cubicBezTo>
                      <a:cubicBezTo>
                        <a:pt x="476904" y="322136"/>
                        <a:pt x="470185" y="315659"/>
                        <a:pt x="470958" y="309929"/>
                      </a:cubicBezTo>
                      <a:cubicBezTo>
                        <a:pt x="471174" y="308370"/>
                        <a:pt x="473075" y="303324"/>
                        <a:pt x="473963" y="302196"/>
                      </a:cubicBezTo>
                      <a:cubicBezTo>
                        <a:pt x="475813" y="299864"/>
                        <a:pt x="479122" y="298393"/>
                        <a:pt x="481581" y="296885"/>
                      </a:cubicBezTo>
                      <a:cubicBezTo>
                        <a:pt x="483267" y="295833"/>
                        <a:pt x="483178" y="293437"/>
                        <a:pt x="484598" y="292435"/>
                      </a:cubicBezTo>
                      <a:cubicBezTo>
                        <a:pt x="485828" y="291573"/>
                        <a:pt x="488591" y="294121"/>
                        <a:pt x="490176" y="293183"/>
                      </a:cubicBezTo>
                      <a:cubicBezTo>
                        <a:pt x="491963" y="292131"/>
                        <a:pt x="492204" y="287682"/>
                        <a:pt x="493611" y="287200"/>
                      </a:cubicBezTo>
                      <a:cubicBezTo>
                        <a:pt x="495804" y="286427"/>
                        <a:pt x="497655" y="287175"/>
                        <a:pt x="500190" y="285793"/>
                      </a:cubicBezTo>
                      <a:cubicBezTo>
                        <a:pt x="502688" y="284424"/>
                        <a:pt x="506554" y="284183"/>
                        <a:pt x="509165" y="282966"/>
                      </a:cubicBezTo>
                      <a:cubicBezTo>
                        <a:pt x="508975" y="282193"/>
                        <a:pt x="508798" y="281432"/>
                        <a:pt x="508595" y="280659"/>
                      </a:cubicBezTo>
                      <a:cubicBezTo>
                        <a:pt x="512664" y="281546"/>
                        <a:pt x="515935" y="281838"/>
                        <a:pt x="519801" y="281293"/>
                      </a:cubicBezTo>
                      <a:cubicBezTo>
                        <a:pt x="521753" y="274118"/>
                        <a:pt x="536128" y="275284"/>
                        <a:pt x="532148" y="264053"/>
                      </a:cubicBezTo>
                      <a:cubicBezTo>
                        <a:pt x="528345" y="253328"/>
                        <a:pt x="509241" y="252682"/>
                        <a:pt x="501534" y="251959"/>
                      </a:cubicBezTo>
                      <a:cubicBezTo>
                        <a:pt x="488769" y="250767"/>
                        <a:pt x="480808" y="251351"/>
                        <a:pt x="480998" y="237216"/>
                      </a:cubicBezTo>
                      <a:cubicBezTo>
                        <a:pt x="481024" y="234047"/>
                        <a:pt x="482988" y="228229"/>
                        <a:pt x="482621" y="225554"/>
                      </a:cubicBezTo>
                      <a:cubicBezTo>
                        <a:pt x="481569" y="218189"/>
                        <a:pt x="485118" y="221954"/>
                        <a:pt x="479388" y="222879"/>
                      </a:cubicBezTo>
                      <a:cubicBezTo>
                        <a:pt x="475028" y="223576"/>
                        <a:pt x="473570" y="225884"/>
                        <a:pt x="467181" y="225275"/>
                      </a:cubicBezTo>
                      <a:cubicBezTo>
                        <a:pt x="462174" y="224781"/>
                        <a:pt x="459220" y="227481"/>
                        <a:pt x="455784" y="222233"/>
                      </a:cubicBezTo>
                      <a:cubicBezTo>
                        <a:pt x="455670" y="222081"/>
                        <a:pt x="457813" y="212839"/>
                        <a:pt x="456976" y="210862"/>
                      </a:cubicBezTo>
                      <a:cubicBezTo>
                        <a:pt x="454301" y="204663"/>
                        <a:pt x="448787" y="205436"/>
                        <a:pt x="443197" y="201735"/>
                      </a:cubicBezTo>
                      <a:cubicBezTo>
                        <a:pt x="440573" y="199985"/>
                        <a:pt x="432523" y="192671"/>
                        <a:pt x="432333" y="189388"/>
                      </a:cubicBezTo>
                      <a:cubicBezTo>
                        <a:pt x="431915" y="182821"/>
                        <a:pt x="437682" y="183189"/>
                        <a:pt x="440826" y="178271"/>
                      </a:cubicBezTo>
                      <a:cubicBezTo>
                        <a:pt x="453021" y="159294"/>
                        <a:pt x="426730" y="159839"/>
                        <a:pt x="430774" y="145159"/>
                      </a:cubicBezTo>
                      <a:cubicBezTo>
                        <a:pt x="432891" y="137465"/>
                        <a:pt x="462174" y="133814"/>
                        <a:pt x="449890" y="123216"/>
                      </a:cubicBezTo>
                      <a:cubicBezTo>
                        <a:pt x="443932" y="118070"/>
                        <a:pt x="422762" y="131342"/>
                        <a:pt x="425221" y="114761"/>
                      </a:cubicBezTo>
                      <a:cubicBezTo>
                        <a:pt x="425881" y="110274"/>
                        <a:pt x="432701" y="112124"/>
                        <a:pt x="432295" y="106141"/>
                      </a:cubicBezTo>
                      <a:cubicBezTo>
                        <a:pt x="431788" y="98446"/>
                        <a:pt x="425919" y="101476"/>
                        <a:pt x="423117" y="98928"/>
                      </a:cubicBezTo>
                      <a:cubicBezTo>
                        <a:pt x="415790" y="92260"/>
                        <a:pt x="416842" y="91969"/>
                        <a:pt x="421888" y="83197"/>
                      </a:cubicBezTo>
                      <a:cubicBezTo>
                        <a:pt x="429050" y="70723"/>
                        <a:pt x="429100" y="70850"/>
                        <a:pt x="444578" y="65678"/>
                      </a:cubicBezTo>
                      <a:cubicBezTo>
                        <a:pt x="454403" y="62394"/>
                        <a:pt x="456406" y="59504"/>
                        <a:pt x="467282" y="62065"/>
                      </a:cubicBezTo>
                      <a:cubicBezTo>
                        <a:pt x="479033" y="64841"/>
                        <a:pt x="489377" y="69138"/>
                        <a:pt x="501559" y="70761"/>
                      </a:cubicBezTo>
                      <a:cubicBezTo>
                        <a:pt x="508177" y="71636"/>
                        <a:pt x="516695" y="69164"/>
                        <a:pt x="522640" y="70761"/>
                      </a:cubicBezTo>
                      <a:cubicBezTo>
                        <a:pt x="526203" y="71699"/>
                        <a:pt x="530196" y="76655"/>
                        <a:pt x="534011" y="78392"/>
                      </a:cubicBezTo>
                      <a:cubicBezTo>
                        <a:pt x="551188" y="86213"/>
                        <a:pt x="562787" y="83437"/>
                        <a:pt x="576364" y="73524"/>
                      </a:cubicBezTo>
                      <a:cubicBezTo>
                        <a:pt x="582968" y="68720"/>
                        <a:pt x="583691" y="70723"/>
                        <a:pt x="591119" y="69417"/>
                      </a:cubicBezTo>
                      <a:cubicBezTo>
                        <a:pt x="600221" y="67833"/>
                        <a:pt x="607459" y="62268"/>
                        <a:pt x="616206" y="61418"/>
                      </a:cubicBezTo>
                      <a:cubicBezTo>
                        <a:pt x="624687" y="60594"/>
                        <a:pt x="628274" y="65373"/>
                        <a:pt x="636450" y="55549"/>
                      </a:cubicBezTo>
                      <a:cubicBezTo>
                        <a:pt x="638124" y="53534"/>
                        <a:pt x="634840" y="49705"/>
                        <a:pt x="637693" y="47639"/>
                      </a:cubicBezTo>
                      <a:cubicBezTo>
                        <a:pt x="640076" y="45915"/>
                        <a:pt x="642751" y="47170"/>
                        <a:pt x="644893" y="46168"/>
                      </a:cubicBezTo>
                      <a:cubicBezTo>
                        <a:pt x="649418" y="44077"/>
                        <a:pt x="652397" y="46688"/>
                        <a:pt x="657189" y="39678"/>
                      </a:cubicBezTo>
                      <a:cubicBezTo>
                        <a:pt x="658558" y="37662"/>
                        <a:pt x="655516" y="35254"/>
                        <a:pt x="657265" y="33124"/>
                      </a:cubicBezTo>
                      <a:cubicBezTo>
                        <a:pt x="659496" y="30412"/>
                        <a:pt x="663781" y="28992"/>
                        <a:pt x="666709" y="27242"/>
                      </a:cubicBezTo>
                      <a:cubicBezTo>
                        <a:pt x="675697" y="21779"/>
                        <a:pt x="712446" y="-5767"/>
                        <a:pt x="718049" y="4843"/>
                      </a:cubicBezTo>
                      <a:lnTo>
                        <a:pt x="718049" y="4843"/>
                      </a:lnTo>
                      <a:close/>
                    </a:path>
                  </a:pathLst>
                </a:custGeom>
                <a:solidFill>
                  <a:srgbClr val="D6D6D2"/>
                </a:solidFill>
                <a:ln w="12413" cap="rnd">
                  <a:solidFill>
                    <a:srgbClr val="FFFFFF"/>
                  </a:solidFill>
                  <a:prstDash val="solid"/>
                  <a:round/>
                </a:ln>
              </p:spPr>
              <p:txBody>
                <a:bodyPr rtlCol="0" anchor="ctr"/>
                <a:lstStyle/>
                <a:p>
                  <a:endParaRPr lang="en-US"/>
                </a:p>
              </p:txBody>
            </p:sp>
            <p:sp>
              <p:nvSpPr>
                <p:cNvPr id="97" name="Freeform: Shape 96">
                  <a:extLst>
                    <a:ext uri="{FF2B5EF4-FFF2-40B4-BE49-F238E27FC236}">
                      <a16:creationId xmlns:a16="http://schemas.microsoft.com/office/drawing/2014/main" id="{2FD15796-57DA-44AB-B25A-22C8170A7768}"/>
                    </a:ext>
                  </a:extLst>
                </p:cNvPr>
                <p:cNvSpPr/>
                <p:nvPr/>
              </p:nvSpPr>
              <p:spPr>
                <a:xfrm>
                  <a:off x="2960944" y="4484993"/>
                  <a:ext cx="3385376" cy="1220812"/>
                </a:xfrm>
                <a:custGeom>
                  <a:avLst/>
                  <a:gdLst>
                    <a:gd name="connsiteX0" fmla="*/ 2082664 w 3385376"/>
                    <a:gd name="connsiteY0" fmla="*/ 1194711 h 1220812"/>
                    <a:gd name="connsiteX1" fmla="*/ 2074044 w 3385376"/>
                    <a:gd name="connsiteY1" fmla="*/ 1206729 h 1220812"/>
                    <a:gd name="connsiteX2" fmla="*/ 2068302 w 3385376"/>
                    <a:gd name="connsiteY2" fmla="*/ 1213219 h 1220812"/>
                    <a:gd name="connsiteX3" fmla="*/ 2053128 w 3385376"/>
                    <a:gd name="connsiteY3" fmla="*/ 1219595 h 1220812"/>
                    <a:gd name="connsiteX4" fmla="*/ 2042873 w 3385376"/>
                    <a:gd name="connsiteY4" fmla="*/ 1209707 h 1220812"/>
                    <a:gd name="connsiteX5" fmla="*/ 2057184 w 3385376"/>
                    <a:gd name="connsiteY5" fmla="*/ 1205892 h 1220812"/>
                    <a:gd name="connsiteX6" fmla="*/ 2070051 w 3385376"/>
                    <a:gd name="connsiteY6" fmla="*/ 1194863 h 1220812"/>
                    <a:gd name="connsiteX7" fmla="*/ 2083818 w 3385376"/>
                    <a:gd name="connsiteY7" fmla="*/ 1184405 h 1220812"/>
                    <a:gd name="connsiteX8" fmla="*/ 2082664 w 3385376"/>
                    <a:gd name="connsiteY8" fmla="*/ 1194711 h 1220812"/>
                    <a:gd name="connsiteX9" fmla="*/ 2082664 w 3385376"/>
                    <a:gd name="connsiteY9" fmla="*/ 1194711 h 1220812"/>
                    <a:gd name="connsiteX10" fmla="*/ 1834306 w 3385376"/>
                    <a:gd name="connsiteY10" fmla="*/ 1104568 h 1220812"/>
                    <a:gd name="connsiteX11" fmla="*/ 1849150 w 3385376"/>
                    <a:gd name="connsiteY11" fmla="*/ 1113645 h 1220812"/>
                    <a:gd name="connsiteX12" fmla="*/ 1855691 w 3385376"/>
                    <a:gd name="connsiteY12" fmla="*/ 1126714 h 1220812"/>
                    <a:gd name="connsiteX13" fmla="*/ 1869078 w 3385376"/>
                    <a:gd name="connsiteY13" fmla="*/ 1125903 h 1220812"/>
                    <a:gd name="connsiteX14" fmla="*/ 1882527 w 3385376"/>
                    <a:gd name="connsiteY14" fmla="*/ 1143118 h 1220812"/>
                    <a:gd name="connsiteX15" fmla="*/ 1895483 w 3385376"/>
                    <a:gd name="connsiteY15" fmla="*/ 1156086 h 1220812"/>
                    <a:gd name="connsiteX16" fmla="*/ 1881133 w 3385376"/>
                    <a:gd name="connsiteY16" fmla="*/ 1169130 h 1220812"/>
                    <a:gd name="connsiteX17" fmla="*/ 1844346 w 3385376"/>
                    <a:gd name="connsiteY17" fmla="*/ 1167786 h 1220812"/>
                    <a:gd name="connsiteX18" fmla="*/ 1825534 w 3385376"/>
                    <a:gd name="connsiteY18" fmla="*/ 1148835 h 1220812"/>
                    <a:gd name="connsiteX19" fmla="*/ 1804846 w 3385376"/>
                    <a:gd name="connsiteY19" fmla="*/ 1135525 h 1220812"/>
                    <a:gd name="connsiteX20" fmla="*/ 1789900 w 3385376"/>
                    <a:gd name="connsiteY20" fmla="*/ 1136019 h 1220812"/>
                    <a:gd name="connsiteX21" fmla="*/ 1778808 w 3385376"/>
                    <a:gd name="connsiteY21" fmla="*/ 1133332 h 1220812"/>
                    <a:gd name="connsiteX22" fmla="*/ 1757233 w 3385376"/>
                    <a:gd name="connsiteY22" fmla="*/ 1114241 h 1220812"/>
                    <a:gd name="connsiteX23" fmla="*/ 1793994 w 3385376"/>
                    <a:gd name="connsiteY23" fmla="*/ 1104670 h 1220812"/>
                    <a:gd name="connsiteX24" fmla="*/ 1810829 w 3385376"/>
                    <a:gd name="connsiteY24" fmla="*/ 1105646 h 1220812"/>
                    <a:gd name="connsiteX25" fmla="*/ 1834306 w 3385376"/>
                    <a:gd name="connsiteY25" fmla="*/ 1104568 h 1220812"/>
                    <a:gd name="connsiteX26" fmla="*/ 1834306 w 3385376"/>
                    <a:gd name="connsiteY26" fmla="*/ 1104568 h 1220812"/>
                    <a:gd name="connsiteX27" fmla="*/ 2198109 w 3385376"/>
                    <a:gd name="connsiteY27" fmla="*/ 1083564 h 1220812"/>
                    <a:gd name="connsiteX28" fmla="*/ 2211344 w 3385376"/>
                    <a:gd name="connsiteY28" fmla="*/ 1078556 h 1220812"/>
                    <a:gd name="connsiteX29" fmla="*/ 2213879 w 3385376"/>
                    <a:gd name="connsiteY29" fmla="*/ 1091942 h 1220812"/>
                    <a:gd name="connsiteX30" fmla="*/ 2200303 w 3385376"/>
                    <a:gd name="connsiteY30" fmla="*/ 1093426 h 1220812"/>
                    <a:gd name="connsiteX31" fmla="*/ 2206489 w 3385376"/>
                    <a:gd name="connsiteY31" fmla="*/ 1108486 h 1220812"/>
                    <a:gd name="connsiteX32" fmla="*/ 2172287 w 3385376"/>
                    <a:gd name="connsiteY32" fmla="*/ 1152296 h 1220812"/>
                    <a:gd name="connsiteX33" fmla="*/ 2149280 w 3385376"/>
                    <a:gd name="connsiteY33" fmla="*/ 1164617 h 1220812"/>
                    <a:gd name="connsiteX34" fmla="*/ 2131165 w 3385376"/>
                    <a:gd name="connsiteY34" fmla="*/ 1172908 h 1220812"/>
                    <a:gd name="connsiteX35" fmla="*/ 2105799 w 3385376"/>
                    <a:gd name="connsiteY35" fmla="*/ 1178929 h 1220812"/>
                    <a:gd name="connsiteX36" fmla="*/ 2090105 w 3385376"/>
                    <a:gd name="connsiteY36" fmla="*/ 1179347 h 1220812"/>
                    <a:gd name="connsiteX37" fmla="*/ 2099410 w 3385376"/>
                    <a:gd name="connsiteY37" fmla="*/ 1164617 h 1220812"/>
                    <a:gd name="connsiteX38" fmla="*/ 2108157 w 3385376"/>
                    <a:gd name="connsiteY38" fmla="*/ 1154843 h 1220812"/>
                    <a:gd name="connsiteX39" fmla="*/ 2100361 w 3385376"/>
                    <a:gd name="connsiteY39" fmla="*/ 1146122 h 1220812"/>
                    <a:gd name="connsiteX40" fmla="*/ 2103441 w 3385376"/>
                    <a:gd name="connsiteY40" fmla="*/ 1135233 h 1220812"/>
                    <a:gd name="connsiteX41" fmla="*/ 2122253 w 3385376"/>
                    <a:gd name="connsiteY41" fmla="*/ 1110209 h 1220812"/>
                    <a:gd name="connsiteX42" fmla="*/ 2139012 w 3385376"/>
                    <a:gd name="connsiteY42" fmla="*/ 1109183 h 1220812"/>
                    <a:gd name="connsiteX43" fmla="*/ 2148164 w 3385376"/>
                    <a:gd name="connsiteY43" fmla="*/ 1115255 h 1220812"/>
                    <a:gd name="connsiteX44" fmla="*/ 2162425 w 3385376"/>
                    <a:gd name="connsiteY44" fmla="*/ 1091448 h 1220812"/>
                    <a:gd name="connsiteX45" fmla="*/ 2173783 w 3385376"/>
                    <a:gd name="connsiteY45" fmla="*/ 1089674 h 1220812"/>
                    <a:gd name="connsiteX46" fmla="*/ 2180235 w 3385376"/>
                    <a:gd name="connsiteY46" fmla="*/ 1083082 h 1220812"/>
                    <a:gd name="connsiteX47" fmla="*/ 2197095 w 3385376"/>
                    <a:gd name="connsiteY47" fmla="*/ 1075248 h 1220812"/>
                    <a:gd name="connsiteX48" fmla="*/ 2198109 w 3385376"/>
                    <a:gd name="connsiteY48" fmla="*/ 1083564 h 1220812"/>
                    <a:gd name="connsiteX49" fmla="*/ 2198109 w 3385376"/>
                    <a:gd name="connsiteY49" fmla="*/ 1083564 h 1220812"/>
                    <a:gd name="connsiteX50" fmla="*/ 1592679 w 3385376"/>
                    <a:gd name="connsiteY50" fmla="*/ 1032997 h 1220812"/>
                    <a:gd name="connsiteX51" fmla="*/ 1583133 w 3385376"/>
                    <a:gd name="connsiteY51" fmla="*/ 1051581 h 1220812"/>
                    <a:gd name="connsiteX52" fmla="*/ 1575375 w 3385376"/>
                    <a:gd name="connsiteY52" fmla="*/ 1067528 h 1220812"/>
                    <a:gd name="connsiteX53" fmla="*/ 1581257 w 3385376"/>
                    <a:gd name="connsiteY53" fmla="*/ 1067921 h 1220812"/>
                    <a:gd name="connsiteX54" fmla="*/ 1569734 w 3385376"/>
                    <a:gd name="connsiteY54" fmla="*/ 1071432 h 1220812"/>
                    <a:gd name="connsiteX55" fmla="*/ 1572625 w 3385376"/>
                    <a:gd name="connsiteY55" fmla="*/ 1066158 h 1220812"/>
                    <a:gd name="connsiteX56" fmla="*/ 1567554 w 3385376"/>
                    <a:gd name="connsiteY56" fmla="*/ 1074677 h 1220812"/>
                    <a:gd name="connsiteX57" fmla="*/ 1542479 w 3385376"/>
                    <a:gd name="connsiteY57" fmla="*/ 1069454 h 1220812"/>
                    <a:gd name="connsiteX58" fmla="*/ 1537916 w 3385376"/>
                    <a:gd name="connsiteY58" fmla="*/ 1070557 h 1220812"/>
                    <a:gd name="connsiteX59" fmla="*/ 1525062 w 3385376"/>
                    <a:gd name="connsiteY59" fmla="*/ 1062622 h 1220812"/>
                    <a:gd name="connsiteX60" fmla="*/ 1542581 w 3385376"/>
                    <a:gd name="connsiteY60" fmla="*/ 1060251 h 1220812"/>
                    <a:gd name="connsiteX61" fmla="*/ 1544483 w 3385376"/>
                    <a:gd name="connsiteY61" fmla="*/ 1057805 h 1220812"/>
                    <a:gd name="connsiteX62" fmla="*/ 1539780 w 3385376"/>
                    <a:gd name="connsiteY62" fmla="*/ 1036939 h 1220812"/>
                    <a:gd name="connsiteX63" fmla="*/ 1552152 w 3385376"/>
                    <a:gd name="connsiteY63" fmla="*/ 1027926 h 1220812"/>
                    <a:gd name="connsiteX64" fmla="*/ 1577581 w 3385376"/>
                    <a:gd name="connsiteY64" fmla="*/ 1022044 h 1220812"/>
                    <a:gd name="connsiteX65" fmla="*/ 1592679 w 3385376"/>
                    <a:gd name="connsiteY65" fmla="*/ 1032997 h 1220812"/>
                    <a:gd name="connsiteX66" fmla="*/ 1592679 w 3385376"/>
                    <a:gd name="connsiteY66" fmla="*/ 1032997 h 1220812"/>
                    <a:gd name="connsiteX67" fmla="*/ 2124814 w 3385376"/>
                    <a:gd name="connsiteY67" fmla="*/ 1022057 h 1220812"/>
                    <a:gd name="connsiteX68" fmla="*/ 2112530 w 3385376"/>
                    <a:gd name="connsiteY68" fmla="*/ 1026633 h 1220812"/>
                    <a:gd name="connsiteX69" fmla="*/ 2107549 w 3385376"/>
                    <a:gd name="connsiteY69" fmla="*/ 1034708 h 1220812"/>
                    <a:gd name="connsiteX70" fmla="*/ 2103251 w 3385376"/>
                    <a:gd name="connsiteY70" fmla="*/ 1034239 h 1220812"/>
                    <a:gd name="connsiteX71" fmla="*/ 2092172 w 3385376"/>
                    <a:gd name="connsiteY71" fmla="*/ 1042593 h 1220812"/>
                    <a:gd name="connsiteX72" fmla="*/ 2080839 w 3385376"/>
                    <a:gd name="connsiteY72" fmla="*/ 1044228 h 1220812"/>
                    <a:gd name="connsiteX73" fmla="*/ 2073524 w 3385376"/>
                    <a:gd name="connsiteY73" fmla="*/ 1044469 h 1220812"/>
                    <a:gd name="connsiteX74" fmla="*/ 2082550 w 3385376"/>
                    <a:gd name="connsiteY74" fmla="*/ 1027432 h 1220812"/>
                    <a:gd name="connsiteX75" fmla="*/ 2097154 w 3385376"/>
                    <a:gd name="connsiteY75" fmla="*/ 1022348 h 1220812"/>
                    <a:gd name="connsiteX76" fmla="*/ 2098218 w 3385376"/>
                    <a:gd name="connsiteY76" fmla="*/ 1026684 h 1220812"/>
                    <a:gd name="connsiteX77" fmla="*/ 2102643 w 3385376"/>
                    <a:gd name="connsiteY77" fmla="*/ 1020510 h 1220812"/>
                    <a:gd name="connsiteX78" fmla="*/ 2107764 w 3385376"/>
                    <a:gd name="connsiteY78" fmla="*/ 1020777 h 1220812"/>
                    <a:gd name="connsiteX79" fmla="*/ 2124814 w 3385376"/>
                    <a:gd name="connsiteY79" fmla="*/ 1022057 h 1220812"/>
                    <a:gd name="connsiteX80" fmla="*/ 2124814 w 3385376"/>
                    <a:gd name="connsiteY80" fmla="*/ 1022057 h 1220812"/>
                    <a:gd name="connsiteX81" fmla="*/ 2171147 w 3385376"/>
                    <a:gd name="connsiteY81" fmla="*/ 1013703 h 1220812"/>
                    <a:gd name="connsiteX82" fmla="*/ 2202825 w 3385376"/>
                    <a:gd name="connsiteY82" fmla="*/ 1016201 h 1220812"/>
                    <a:gd name="connsiteX83" fmla="*/ 2213195 w 3385376"/>
                    <a:gd name="connsiteY83" fmla="*/ 1027749 h 1220812"/>
                    <a:gd name="connsiteX84" fmla="*/ 2186422 w 3385376"/>
                    <a:gd name="connsiteY84" fmla="*/ 1034100 h 1220812"/>
                    <a:gd name="connsiteX85" fmla="*/ 2161158 w 3385376"/>
                    <a:gd name="connsiteY85" fmla="*/ 1038486 h 1220812"/>
                    <a:gd name="connsiteX86" fmla="*/ 2169626 w 3385376"/>
                    <a:gd name="connsiteY86" fmla="*/ 1020548 h 1220812"/>
                    <a:gd name="connsiteX87" fmla="*/ 2158153 w 3385376"/>
                    <a:gd name="connsiteY87" fmla="*/ 1023603 h 1220812"/>
                    <a:gd name="connsiteX88" fmla="*/ 2171147 w 3385376"/>
                    <a:gd name="connsiteY88" fmla="*/ 1013703 h 1220812"/>
                    <a:gd name="connsiteX89" fmla="*/ 2171147 w 3385376"/>
                    <a:gd name="connsiteY89" fmla="*/ 1013703 h 1220812"/>
                    <a:gd name="connsiteX90" fmla="*/ 1683455 w 3385376"/>
                    <a:gd name="connsiteY90" fmla="*/ 1011396 h 1220812"/>
                    <a:gd name="connsiteX91" fmla="*/ 1699580 w 3385376"/>
                    <a:gd name="connsiteY91" fmla="*/ 1022361 h 1220812"/>
                    <a:gd name="connsiteX92" fmla="*/ 1714031 w 3385376"/>
                    <a:gd name="connsiteY92" fmla="*/ 1028053 h 1220812"/>
                    <a:gd name="connsiteX93" fmla="*/ 1728926 w 3385376"/>
                    <a:gd name="connsiteY93" fmla="*/ 1023946 h 1220812"/>
                    <a:gd name="connsiteX94" fmla="*/ 1733946 w 3385376"/>
                    <a:gd name="connsiteY94" fmla="*/ 1044114 h 1220812"/>
                    <a:gd name="connsiteX95" fmla="*/ 1739384 w 3385376"/>
                    <a:gd name="connsiteY95" fmla="*/ 1030411 h 1220812"/>
                    <a:gd name="connsiteX96" fmla="*/ 1759616 w 3385376"/>
                    <a:gd name="connsiteY96" fmla="*/ 1028585 h 1220812"/>
                    <a:gd name="connsiteX97" fmla="*/ 1762582 w 3385376"/>
                    <a:gd name="connsiteY97" fmla="*/ 1050617 h 1220812"/>
                    <a:gd name="connsiteX98" fmla="*/ 1771874 w 3385376"/>
                    <a:gd name="connsiteY98" fmla="*/ 1045433 h 1220812"/>
                    <a:gd name="connsiteX99" fmla="*/ 1766131 w 3385376"/>
                    <a:gd name="connsiteY99" fmla="*/ 1059110 h 1220812"/>
                    <a:gd name="connsiteX100" fmla="*/ 1737457 w 3385376"/>
                    <a:gd name="connsiteY100" fmla="*/ 1059376 h 1220812"/>
                    <a:gd name="connsiteX101" fmla="*/ 1754482 w 3385376"/>
                    <a:gd name="connsiteY101" fmla="*/ 1066653 h 1220812"/>
                    <a:gd name="connsiteX102" fmla="*/ 1742287 w 3385376"/>
                    <a:gd name="connsiteY102" fmla="*/ 1063738 h 1220812"/>
                    <a:gd name="connsiteX103" fmla="*/ 1714170 w 3385376"/>
                    <a:gd name="connsiteY103" fmla="*/ 1062926 h 1220812"/>
                    <a:gd name="connsiteX104" fmla="*/ 1716224 w 3385376"/>
                    <a:gd name="connsiteY104" fmla="*/ 1047156 h 1220812"/>
                    <a:gd name="connsiteX105" fmla="*/ 1707363 w 3385376"/>
                    <a:gd name="connsiteY105" fmla="*/ 1060619 h 1220812"/>
                    <a:gd name="connsiteX106" fmla="*/ 1688374 w 3385376"/>
                    <a:gd name="connsiteY106" fmla="*/ 1067452 h 1220812"/>
                    <a:gd name="connsiteX107" fmla="*/ 1674404 w 3385376"/>
                    <a:gd name="connsiteY107" fmla="*/ 1072142 h 1220812"/>
                    <a:gd name="connsiteX108" fmla="*/ 1664022 w 3385376"/>
                    <a:gd name="connsiteY108" fmla="*/ 1072116 h 1220812"/>
                    <a:gd name="connsiteX109" fmla="*/ 1636375 w 3385376"/>
                    <a:gd name="connsiteY109" fmla="*/ 1082423 h 1220812"/>
                    <a:gd name="connsiteX110" fmla="*/ 1627133 w 3385376"/>
                    <a:gd name="connsiteY110" fmla="*/ 1079811 h 1220812"/>
                    <a:gd name="connsiteX111" fmla="*/ 1618944 w 3385376"/>
                    <a:gd name="connsiteY111" fmla="*/ 1085212 h 1220812"/>
                    <a:gd name="connsiteX112" fmla="*/ 1592805 w 3385376"/>
                    <a:gd name="connsiteY112" fmla="*/ 1071673 h 1220812"/>
                    <a:gd name="connsiteX113" fmla="*/ 1596710 w 3385376"/>
                    <a:gd name="connsiteY113" fmla="*/ 1064840 h 1220812"/>
                    <a:gd name="connsiteX114" fmla="*/ 1596482 w 3385376"/>
                    <a:gd name="connsiteY114" fmla="*/ 1059465 h 1220812"/>
                    <a:gd name="connsiteX115" fmla="*/ 1593084 w 3385376"/>
                    <a:gd name="connsiteY115" fmla="*/ 1053292 h 1220812"/>
                    <a:gd name="connsiteX116" fmla="*/ 1599663 w 3385376"/>
                    <a:gd name="connsiteY116" fmla="*/ 1041617 h 1220812"/>
                    <a:gd name="connsiteX117" fmla="*/ 1622025 w 3385376"/>
                    <a:gd name="connsiteY117" fmla="*/ 1031513 h 1220812"/>
                    <a:gd name="connsiteX118" fmla="*/ 1643752 w 3385376"/>
                    <a:gd name="connsiteY118" fmla="*/ 1039614 h 1220812"/>
                    <a:gd name="connsiteX119" fmla="*/ 1652930 w 3385376"/>
                    <a:gd name="connsiteY119" fmla="*/ 1034011 h 1220812"/>
                    <a:gd name="connsiteX120" fmla="*/ 1655440 w 3385376"/>
                    <a:gd name="connsiteY120" fmla="*/ 1042099 h 1220812"/>
                    <a:gd name="connsiteX121" fmla="*/ 1656948 w 3385376"/>
                    <a:gd name="connsiteY121" fmla="*/ 1036039 h 1220812"/>
                    <a:gd name="connsiteX122" fmla="*/ 1670183 w 3385376"/>
                    <a:gd name="connsiteY122" fmla="*/ 1051264 h 1220812"/>
                    <a:gd name="connsiteX123" fmla="*/ 1667648 w 3385376"/>
                    <a:gd name="connsiteY123" fmla="*/ 1051771 h 1220812"/>
                    <a:gd name="connsiteX124" fmla="*/ 1678410 w 3385376"/>
                    <a:gd name="connsiteY124" fmla="*/ 1057564 h 1220812"/>
                    <a:gd name="connsiteX125" fmla="*/ 1689654 w 3385376"/>
                    <a:gd name="connsiteY125" fmla="*/ 1053545 h 1220812"/>
                    <a:gd name="connsiteX126" fmla="*/ 1702812 w 3385376"/>
                    <a:gd name="connsiteY126" fmla="*/ 1044609 h 1220812"/>
                    <a:gd name="connsiteX127" fmla="*/ 1701050 w 3385376"/>
                    <a:gd name="connsiteY127" fmla="*/ 1046688 h 1220812"/>
                    <a:gd name="connsiteX128" fmla="*/ 1669283 w 3385376"/>
                    <a:gd name="connsiteY128" fmla="*/ 1026012 h 1220812"/>
                    <a:gd name="connsiteX129" fmla="*/ 1667077 w 3385376"/>
                    <a:gd name="connsiteY129" fmla="*/ 1014730 h 1220812"/>
                    <a:gd name="connsiteX130" fmla="*/ 1683455 w 3385376"/>
                    <a:gd name="connsiteY130" fmla="*/ 1011396 h 1220812"/>
                    <a:gd name="connsiteX131" fmla="*/ 1683455 w 3385376"/>
                    <a:gd name="connsiteY131" fmla="*/ 1011396 h 1220812"/>
                    <a:gd name="connsiteX132" fmla="*/ 2053952 w 3385376"/>
                    <a:gd name="connsiteY132" fmla="*/ 1015858 h 1220812"/>
                    <a:gd name="connsiteX133" fmla="*/ 2057286 w 3385376"/>
                    <a:gd name="connsiteY133" fmla="*/ 1025987 h 1220812"/>
                    <a:gd name="connsiteX134" fmla="*/ 2049756 w 3385376"/>
                    <a:gd name="connsiteY134" fmla="*/ 1029764 h 1220812"/>
                    <a:gd name="connsiteX135" fmla="*/ 2041707 w 3385376"/>
                    <a:gd name="connsiteY135" fmla="*/ 1035583 h 1220812"/>
                    <a:gd name="connsiteX136" fmla="*/ 2033961 w 3385376"/>
                    <a:gd name="connsiteY136" fmla="*/ 1051061 h 1220812"/>
                    <a:gd name="connsiteX137" fmla="*/ 2005743 w 3385376"/>
                    <a:gd name="connsiteY137" fmla="*/ 1058756 h 1220812"/>
                    <a:gd name="connsiteX138" fmla="*/ 1980187 w 3385376"/>
                    <a:gd name="connsiteY138" fmla="*/ 1063788 h 1220812"/>
                    <a:gd name="connsiteX139" fmla="*/ 1955113 w 3385376"/>
                    <a:gd name="connsiteY139" fmla="*/ 1071039 h 1220812"/>
                    <a:gd name="connsiteX140" fmla="*/ 1937493 w 3385376"/>
                    <a:gd name="connsiteY140" fmla="*/ 1062939 h 1220812"/>
                    <a:gd name="connsiteX141" fmla="*/ 1934919 w 3385376"/>
                    <a:gd name="connsiteY141" fmla="*/ 1067211 h 1220812"/>
                    <a:gd name="connsiteX142" fmla="*/ 1933107 w 3385376"/>
                    <a:gd name="connsiteY142" fmla="*/ 1071343 h 1220812"/>
                    <a:gd name="connsiteX143" fmla="*/ 1926185 w 3385376"/>
                    <a:gd name="connsiteY143" fmla="*/ 1071014 h 1220812"/>
                    <a:gd name="connsiteX144" fmla="*/ 1903279 w 3385376"/>
                    <a:gd name="connsiteY144" fmla="*/ 1072611 h 1220812"/>
                    <a:gd name="connsiteX145" fmla="*/ 1896345 w 3385376"/>
                    <a:gd name="connsiteY145" fmla="*/ 1066374 h 1220812"/>
                    <a:gd name="connsiteX146" fmla="*/ 1889867 w 3385376"/>
                    <a:gd name="connsiteY146" fmla="*/ 1068085 h 1220812"/>
                    <a:gd name="connsiteX147" fmla="*/ 1864869 w 3385376"/>
                    <a:gd name="connsiteY147" fmla="*/ 1062926 h 1220812"/>
                    <a:gd name="connsiteX148" fmla="*/ 1855640 w 3385376"/>
                    <a:gd name="connsiteY148" fmla="*/ 1065449 h 1220812"/>
                    <a:gd name="connsiteX149" fmla="*/ 1845614 w 3385376"/>
                    <a:gd name="connsiteY149" fmla="*/ 1060923 h 1220812"/>
                    <a:gd name="connsiteX150" fmla="*/ 1828652 w 3385376"/>
                    <a:gd name="connsiteY150" fmla="*/ 1066197 h 1220812"/>
                    <a:gd name="connsiteX151" fmla="*/ 1825394 w 3385376"/>
                    <a:gd name="connsiteY151" fmla="*/ 1063801 h 1220812"/>
                    <a:gd name="connsiteX152" fmla="*/ 1819297 w 3385376"/>
                    <a:gd name="connsiteY152" fmla="*/ 1059719 h 1220812"/>
                    <a:gd name="connsiteX153" fmla="*/ 1823582 w 3385376"/>
                    <a:gd name="connsiteY153" fmla="*/ 1034568 h 1220812"/>
                    <a:gd name="connsiteX154" fmla="*/ 1842330 w 3385376"/>
                    <a:gd name="connsiteY154" fmla="*/ 1029992 h 1220812"/>
                    <a:gd name="connsiteX155" fmla="*/ 1864197 w 3385376"/>
                    <a:gd name="connsiteY155" fmla="*/ 1021157 h 1220812"/>
                    <a:gd name="connsiteX156" fmla="*/ 1877305 w 3385376"/>
                    <a:gd name="connsiteY156" fmla="*/ 1021322 h 1220812"/>
                    <a:gd name="connsiteX157" fmla="*/ 1921191 w 3385376"/>
                    <a:gd name="connsiteY157" fmla="*/ 1036559 h 1220812"/>
                    <a:gd name="connsiteX158" fmla="*/ 1952261 w 3385376"/>
                    <a:gd name="connsiteY158" fmla="*/ 1044152 h 1220812"/>
                    <a:gd name="connsiteX159" fmla="*/ 1976219 w 3385376"/>
                    <a:gd name="connsiteY159" fmla="*/ 1039145 h 1220812"/>
                    <a:gd name="connsiteX160" fmla="*/ 1981316 w 3385376"/>
                    <a:gd name="connsiteY160" fmla="*/ 1036141 h 1220812"/>
                    <a:gd name="connsiteX161" fmla="*/ 1983027 w 3385376"/>
                    <a:gd name="connsiteY161" fmla="*/ 1040273 h 1220812"/>
                    <a:gd name="connsiteX162" fmla="*/ 1998759 w 3385376"/>
                    <a:gd name="connsiteY162" fmla="*/ 1049958 h 1220812"/>
                    <a:gd name="connsiteX163" fmla="*/ 2026064 w 3385376"/>
                    <a:gd name="connsiteY163" fmla="*/ 1032946 h 1220812"/>
                    <a:gd name="connsiteX164" fmla="*/ 2041884 w 3385376"/>
                    <a:gd name="connsiteY164" fmla="*/ 1026646 h 1220812"/>
                    <a:gd name="connsiteX165" fmla="*/ 2042645 w 3385376"/>
                    <a:gd name="connsiteY165" fmla="*/ 1018951 h 1220812"/>
                    <a:gd name="connsiteX166" fmla="*/ 2036053 w 3385376"/>
                    <a:gd name="connsiteY166" fmla="*/ 1021093 h 1220812"/>
                    <a:gd name="connsiteX167" fmla="*/ 2040059 w 3385376"/>
                    <a:gd name="connsiteY167" fmla="*/ 1012182 h 1220812"/>
                    <a:gd name="connsiteX168" fmla="*/ 2053952 w 3385376"/>
                    <a:gd name="connsiteY168" fmla="*/ 1015858 h 1220812"/>
                    <a:gd name="connsiteX169" fmla="*/ 2053952 w 3385376"/>
                    <a:gd name="connsiteY169" fmla="*/ 1015858 h 1220812"/>
                    <a:gd name="connsiteX170" fmla="*/ 1500964 w 3385376"/>
                    <a:gd name="connsiteY170" fmla="*/ 1016784 h 1220812"/>
                    <a:gd name="connsiteX171" fmla="*/ 1480098 w 3385376"/>
                    <a:gd name="connsiteY171" fmla="*/ 1062419 h 1220812"/>
                    <a:gd name="connsiteX172" fmla="*/ 1480960 w 3385376"/>
                    <a:gd name="connsiteY172" fmla="*/ 1059846 h 1220812"/>
                    <a:gd name="connsiteX173" fmla="*/ 1470769 w 3385376"/>
                    <a:gd name="connsiteY173" fmla="*/ 1065715 h 1220812"/>
                    <a:gd name="connsiteX174" fmla="*/ 1475358 w 3385376"/>
                    <a:gd name="connsiteY174" fmla="*/ 1053089 h 1220812"/>
                    <a:gd name="connsiteX175" fmla="*/ 1431852 w 3385376"/>
                    <a:gd name="connsiteY175" fmla="*/ 1030347 h 1220812"/>
                    <a:gd name="connsiteX176" fmla="*/ 1427656 w 3385376"/>
                    <a:gd name="connsiteY176" fmla="*/ 1011016 h 1220812"/>
                    <a:gd name="connsiteX177" fmla="*/ 1447152 w 3385376"/>
                    <a:gd name="connsiteY177" fmla="*/ 1016137 h 1220812"/>
                    <a:gd name="connsiteX178" fmla="*/ 1462618 w 3385376"/>
                    <a:gd name="connsiteY178" fmla="*/ 1017405 h 1220812"/>
                    <a:gd name="connsiteX179" fmla="*/ 1474508 w 3385376"/>
                    <a:gd name="connsiteY179" fmla="*/ 1009102 h 1220812"/>
                    <a:gd name="connsiteX180" fmla="*/ 1500964 w 3385376"/>
                    <a:gd name="connsiteY180" fmla="*/ 1016784 h 1220812"/>
                    <a:gd name="connsiteX181" fmla="*/ 1500964 w 3385376"/>
                    <a:gd name="connsiteY181" fmla="*/ 1016784 h 1220812"/>
                    <a:gd name="connsiteX182" fmla="*/ 2330364 w 3385376"/>
                    <a:gd name="connsiteY182" fmla="*/ 979451 h 1220812"/>
                    <a:gd name="connsiteX183" fmla="*/ 2339009 w 3385376"/>
                    <a:gd name="connsiteY183" fmla="*/ 985384 h 1220812"/>
                    <a:gd name="connsiteX184" fmla="*/ 2328957 w 3385376"/>
                    <a:gd name="connsiteY184" fmla="*/ 985612 h 1220812"/>
                    <a:gd name="connsiteX185" fmla="*/ 2311425 w 3385376"/>
                    <a:gd name="connsiteY185" fmla="*/ 1001559 h 1220812"/>
                    <a:gd name="connsiteX186" fmla="*/ 2278935 w 3385376"/>
                    <a:gd name="connsiteY186" fmla="*/ 995842 h 1220812"/>
                    <a:gd name="connsiteX187" fmla="*/ 2269364 w 3385376"/>
                    <a:gd name="connsiteY187" fmla="*/ 999556 h 1220812"/>
                    <a:gd name="connsiteX188" fmla="*/ 2262823 w 3385376"/>
                    <a:gd name="connsiteY188" fmla="*/ 999087 h 1220812"/>
                    <a:gd name="connsiteX189" fmla="*/ 2269808 w 3385376"/>
                    <a:gd name="connsiteY189" fmla="*/ 985320 h 1220812"/>
                    <a:gd name="connsiteX190" fmla="*/ 2279581 w 3385376"/>
                    <a:gd name="connsiteY190" fmla="*/ 981048 h 1220812"/>
                    <a:gd name="connsiteX191" fmla="*/ 2300396 w 3385376"/>
                    <a:gd name="connsiteY191" fmla="*/ 981416 h 1220812"/>
                    <a:gd name="connsiteX192" fmla="*/ 2323354 w 3385376"/>
                    <a:gd name="connsiteY192" fmla="*/ 971478 h 1220812"/>
                    <a:gd name="connsiteX193" fmla="*/ 2330364 w 3385376"/>
                    <a:gd name="connsiteY193" fmla="*/ 979451 h 1220812"/>
                    <a:gd name="connsiteX194" fmla="*/ 2330364 w 3385376"/>
                    <a:gd name="connsiteY194" fmla="*/ 979451 h 1220812"/>
                    <a:gd name="connsiteX195" fmla="*/ 3230105 w 3385376"/>
                    <a:gd name="connsiteY195" fmla="*/ 1007061 h 1220812"/>
                    <a:gd name="connsiteX196" fmla="*/ 3215895 w 3385376"/>
                    <a:gd name="connsiteY196" fmla="*/ 1015414 h 1220812"/>
                    <a:gd name="connsiteX197" fmla="*/ 3199010 w 3385376"/>
                    <a:gd name="connsiteY197" fmla="*/ 1030487 h 1220812"/>
                    <a:gd name="connsiteX198" fmla="*/ 3171958 w 3385376"/>
                    <a:gd name="connsiteY198" fmla="*/ 1032363 h 1220812"/>
                    <a:gd name="connsiteX199" fmla="*/ 3137364 w 3385376"/>
                    <a:gd name="connsiteY199" fmla="*/ 1035519 h 1220812"/>
                    <a:gd name="connsiteX200" fmla="*/ 3150712 w 3385376"/>
                    <a:gd name="connsiteY200" fmla="*/ 1002028 h 1220812"/>
                    <a:gd name="connsiteX201" fmla="*/ 3170614 w 3385376"/>
                    <a:gd name="connsiteY201" fmla="*/ 971402 h 1220812"/>
                    <a:gd name="connsiteX202" fmla="*/ 3213575 w 3385376"/>
                    <a:gd name="connsiteY202" fmla="*/ 956798 h 1220812"/>
                    <a:gd name="connsiteX203" fmla="*/ 3243581 w 3385376"/>
                    <a:gd name="connsiteY203" fmla="*/ 972644 h 1220812"/>
                    <a:gd name="connsiteX204" fmla="*/ 3236811 w 3385376"/>
                    <a:gd name="connsiteY204" fmla="*/ 990518 h 1220812"/>
                    <a:gd name="connsiteX205" fmla="*/ 3230105 w 3385376"/>
                    <a:gd name="connsiteY205" fmla="*/ 1007061 h 1220812"/>
                    <a:gd name="connsiteX206" fmla="*/ 3230105 w 3385376"/>
                    <a:gd name="connsiteY206" fmla="*/ 1007061 h 1220812"/>
                    <a:gd name="connsiteX207" fmla="*/ 2694941 w 3385376"/>
                    <a:gd name="connsiteY207" fmla="*/ 942334 h 1220812"/>
                    <a:gd name="connsiteX208" fmla="*/ 2698680 w 3385376"/>
                    <a:gd name="connsiteY208" fmla="*/ 939773 h 1220812"/>
                    <a:gd name="connsiteX209" fmla="*/ 2694484 w 3385376"/>
                    <a:gd name="connsiteY209" fmla="*/ 950904 h 1220812"/>
                    <a:gd name="connsiteX210" fmla="*/ 2699010 w 3385376"/>
                    <a:gd name="connsiteY210" fmla="*/ 961451 h 1220812"/>
                    <a:gd name="connsiteX211" fmla="*/ 2689261 w 3385376"/>
                    <a:gd name="connsiteY211" fmla="*/ 981200 h 1220812"/>
                    <a:gd name="connsiteX212" fmla="*/ 2671641 w 3385376"/>
                    <a:gd name="connsiteY212" fmla="*/ 999518 h 1220812"/>
                    <a:gd name="connsiteX213" fmla="*/ 2668738 w 3385376"/>
                    <a:gd name="connsiteY213" fmla="*/ 1005894 h 1220812"/>
                    <a:gd name="connsiteX214" fmla="*/ 2653894 w 3385376"/>
                    <a:gd name="connsiteY214" fmla="*/ 995931 h 1220812"/>
                    <a:gd name="connsiteX215" fmla="*/ 2655440 w 3385376"/>
                    <a:gd name="connsiteY215" fmla="*/ 984332 h 1220812"/>
                    <a:gd name="connsiteX216" fmla="*/ 2665062 w 3385376"/>
                    <a:gd name="connsiteY216" fmla="*/ 982303 h 1220812"/>
                    <a:gd name="connsiteX217" fmla="*/ 2672922 w 3385376"/>
                    <a:gd name="connsiteY217" fmla="*/ 962249 h 1220812"/>
                    <a:gd name="connsiteX218" fmla="*/ 2686878 w 3385376"/>
                    <a:gd name="connsiteY218" fmla="*/ 946315 h 1220812"/>
                    <a:gd name="connsiteX219" fmla="*/ 2694941 w 3385376"/>
                    <a:gd name="connsiteY219" fmla="*/ 942334 h 1220812"/>
                    <a:gd name="connsiteX220" fmla="*/ 2694941 w 3385376"/>
                    <a:gd name="connsiteY220" fmla="*/ 942334 h 1220812"/>
                    <a:gd name="connsiteX221" fmla="*/ 1389119 w 3385376"/>
                    <a:gd name="connsiteY221" fmla="*/ 921025 h 1220812"/>
                    <a:gd name="connsiteX222" fmla="*/ 1399083 w 3385376"/>
                    <a:gd name="connsiteY222" fmla="*/ 928694 h 1220812"/>
                    <a:gd name="connsiteX223" fmla="*/ 1382159 w 3385376"/>
                    <a:gd name="connsiteY223" fmla="*/ 938975 h 1220812"/>
                    <a:gd name="connsiteX224" fmla="*/ 1364400 w 3385376"/>
                    <a:gd name="connsiteY224" fmla="*/ 938975 h 1220812"/>
                    <a:gd name="connsiteX225" fmla="*/ 1355057 w 3385376"/>
                    <a:gd name="connsiteY225" fmla="*/ 947937 h 1220812"/>
                    <a:gd name="connsiteX226" fmla="*/ 1327688 w 3385376"/>
                    <a:gd name="connsiteY226" fmla="*/ 941257 h 1220812"/>
                    <a:gd name="connsiteX227" fmla="*/ 1326674 w 3385376"/>
                    <a:gd name="connsiteY227" fmla="*/ 946809 h 1220812"/>
                    <a:gd name="connsiteX228" fmla="*/ 1295782 w 3385376"/>
                    <a:gd name="connsiteY228" fmla="*/ 936681 h 1220812"/>
                    <a:gd name="connsiteX229" fmla="*/ 1302513 w 3385376"/>
                    <a:gd name="connsiteY229" fmla="*/ 926692 h 1220812"/>
                    <a:gd name="connsiteX230" fmla="*/ 1322377 w 3385376"/>
                    <a:gd name="connsiteY230" fmla="*/ 921532 h 1220812"/>
                    <a:gd name="connsiteX231" fmla="*/ 1356540 w 3385376"/>
                    <a:gd name="connsiteY231" fmla="*/ 922191 h 1220812"/>
                    <a:gd name="connsiteX232" fmla="*/ 1389119 w 3385376"/>
                    <a:gd name="connsiteY232" fmla="*/ 921025 h 1220812"/>
                    <a:gd name="connsiteX233" fmla="*/ 1389119 w 3385376"/>
                    <a:gd name="connsiteY233" fmla="*/ 921025 h 1220812"/>
                    <a:gd name="connsiteX234" fmla="*/ 2900680 w 3385376"/>
                    <a:gd name="connsiteY234" fmla="*/ 889106 h 1220812"/>
                    <a:gd name="connsiteX235" fmla="*/ 2906955 w 3385376"/>
                    <a:gd name="connsiteY235" fmla="*/ 899538 h 1220812"/>
                    <a:gd name="connsiteX236" fmla="*/ 2898082 w 3385376"/>
                    <a:gd name="connsiteY236" fmla="*/ 904761 h 1220812"/>
                    <a:gd name="connsiteX237" fmla="*/ 2894685 w 3385376"/>
                    <a:gd name="connsiteY237" fmla="*/ 915650 h 1220812"/>
                    <a:gd name="connsiteX238" fmla="*/ 2880132 w 3385376"/>
                    <a:gd name="connsiteY238" fmla="*/ 920734 h 1220812"/>
                    <a:gd name="connsiteX239" fmla="*/ 2877090 w 3385376"/>
                    <a:gd name="connsiteY239" fmla="*/ 889600 h 1220812"/>
                    <a:gd name="connsiteX240" fmla="*/ 2883922 w 3385376"/>
                    <a:gd name="connsiteY240" fmla="*/ 893682 h 1220812"/>
                    <a:gd name="connsiteX241" fmla="*/ 2877609 w 3385376"/>
                    <a:gd name="connsiteY241" fmla="*/ 879003 h 1220812"/>
                    <a:gd name="connsiteX242" fmla="*/ 2881171 w 3385376"/>
                    <a:gd name="connsiteY242" fmla="*/ 872271 h 1220812"/>
                    <a:gd name="connsiteX243" fmla="*/ 2900680 w 3385376"/>
                    <a:gd name="connsiteY243" fmla="*/ 889106 h 1220812"/>
                    <a:gd name="connsiteX244" fmla="*/ 2900680 w 3385376"/>
                    <a:gd name="connsiteY244" fmla="*/ 889106 h 1220812"/>
                    <a:gd name="connsiteX245" fmla="*/ 810245 w 3385376"/>
                    <a:gd name="connsiteY245" fmla="*/ 856945 h 1220812"/>
                    <a:gd name="connsiteX246" fmla="*/ 827853 w 3385376"/>
                    <a:gd name="connsiteY246" fmla="*/ 856387 h 1220812"/>
                    <a:gd name="connsiteX247" fmla="*/ 849137 w 3385376"/>
                    <a:gd name="connsiteY247" fmla="*/ 857135 h 1220812"/>
                    <a:gd name="connsiteX248" fmla="*/ 865972 w 3385376"/>
                    <a:gd name="connsiteY248" fmla="*/ 862967 h 1220812"/>
                    <a:gd name="connsiteX249" fmla="*/ 874376 w 3385376"/>
                    <a:gd name="connsiteY249" fmla="*/ 850468 h 1220812"/>
                    <a:gd name="connsiteX250" fmla="*/ 882084 w 3385376"/>
                    <a:gd name="connsiteY250" fmla="*/ 852940 h 1220812"/>
                    <a:gd name="connsiteX251" fmla="*/ 893923 w 3385376"/>
                    <a:gd name="connsiteY251" fmla="*/ 853053 h 1220812"/>
                    <a:gd name="connsiteX252" fmla="*/ 911125 w 3385376"/>
                    <a:gd name="connsiteY252" fmla="*/ 868735 h 1220812"/>
                    <a:gd name="connsiteX253" fmla="*/ 937847 w 3385376"/>
                    <a:gd name="connsiteY253" fmla="*/ 870027 h 1220812"/>
                    <a:gd name="connsiteX254" fmla="*/ 960108 w 3385376"/>
                    <a:gd name="connsiteY254" fmla="*/ 873298 h 1220812"/>
                    <a:gd name="connsiteX255" fmla="*/ 972974 w 3385376"/>
                    <a:gd name="connsiteY255" fmla="*/ 874439 h 1220812"/>
                    <a:gd name="connsiteX256" fmla="*/ 986183 w 3385376"/>
                    <a:gd name="connsiteY256" fmla="*/ 892199 h 1220812"/>
                    <a:gd name="connsiteX257" fmla="*/ 1000076 w 3385376"/>
                    <a:gd name="connsiteY257" fmla="*/ 915587 h 1220812"/>
                    <a:gd name="connsiteX258" fmla="*/ 1009216 w 3385376"/>
                    <a:gd name="connsiteY258" fmla="*/ 915321 h 1220812"/>
                    <a:gd name="connsiteX259" fmla="*/ 1014540 w 3385376"/>
                    <a:gd name="connsiteY259" fmla="*/ 918566 h 1220812"/>
                    <a:gd name="connsiteX260" fmla="*/ 1024200 w 3385376"/>
                    <a:gd name="connsiteY260" fmla="*/ 915435 h 1220812"/>
                    <a:gd name="connsiteX261" fmla="*/ 1044951 w 3385376"/>
                    <a:gd name="connsiteY261" fmla="*/ 920696 h 1220812"/>
                    <a:gd name="connsiteX262" fmla="*/ 1057412 w 3385376"/>
                    <a:gd name="connsiteY262" fmla="*/ 916005 h 1220812"/>
                    <a:gd name="connsiteX263" fmla="*/ 1073917 w 3385376"/>
                    <a:gd name="connsiteY263" fmla="*/ 919986 h 1220812"/>
                    <a:gd name="connsiteX264" fmla="*/ 1102629 w 3385376"/>
                    <a:gd name="connsiteY264" fmla="*/ 922965 h 1220812"/>
                    <a:gd name="connsiteX265" fmla="*/ 1111605 w 3385376"/>
                    <a:gd name="connsiteY265" fmla="*/ 923484 h 1220812"/>
                    <a:gd name="connsiteX266" fmla="*/ 1127146 w 3385376"/>
                    <a:gd name="connsiteY266" fmla="*/ 926463 h 1220812"/>
                    <a:gd name="connsiteX267" fmla="*/ 1142776 w 3385376"/>
                    <a:gd name="connsiteY267" fmla="*/ 903759 h 1220812"/>
                    <a:gd name="connsiteX268" fmla="*/ 1163236 w 3385376"/>
                    <a:gd name="connsiteY268" fmla="*/ 886583 h 1220812"/>
                    <a:gd name="connsiteX269" fmla="*/ 1181199 w 3385376"/>
                    <a:gd name="connsiteY269" fmla="*/ 907486 h 1220812"/>
                    <a:gd name="connsiteX270" fmla="*/ 1203433 w 3385376"/>
                    <a:gd name="connsiteY270" fmla="*/ 903481 h 1220812"/>
                    <a:gd name="connsiteX271" fmla="*/ 1217847 w 3385376"/>
                    <a:gd name="connsiteY271" fmla="*/ 910389 h 1220812"/>
                    <a:gd name="connsiteX272" fmla="*/ 1236152 w 3385376"/>
                    <a:gd name="connsiteY272" fmla="*/ 914826 h 1220812"/>
                    <a:gd name="connsiteX273" fmla="*/ 1253949 w 3385376"/>
                    <a:gd name="connsiteY273" fmla="*/ 923332 h 1220812"/>
                    <a:gd name="connsiteX274" fmla="*/ 1272723 w 3385376"/>
                    <a:gd name="connsiteY274" fmla="*/ 921393 h 1220812"/>
                    <a:gd name="connsiteX275" fmla="*/ 1283600 w 3385376"/>
                    <a:gd name="connsiteY275" fmla="*/ 920252 h 1220812"/>
                    <a:gd name="connsiteX276" fmla="*/ 1291231 w 3385376"/>
                    <a:gd name="connsiteY276" fmla="*/ 934158 h 1220812"/>
                    <a:gd name="connsiteX277" fmla="*/ 1286667 w 3385376"/>
                    <a:gd name="connsiteY277" fmla="*/ 944299 h 1220812"/>
                    <a:gd name="connsiteX278" fmla="*/ 1302374 w 3385376"/>
                    <a:gd name="connsiteY278" fmla="*/ 948444 h 1220812"/>
                    <a:gd name="connsiteX279" fmla="*/ 1302906 w 3385376"/>
                    <a:gd name="connsiteY279" fmla="*/ 972770 h 1220812"/>
                    <a:gd name="connsiteX280" fmla="*/ 1326941 w 3385376"/>
                    <a:gd name="connsiteY280" fmla="*/ 984154 h 1220812"/>
                    <a:gd name="connsiteX281" fmla="*/ 1341316 w 3385376"/>
                    <a:gd name="connsiteY281" fmla="*/ 987564 h 1220812"/>
                    <a:gd name="connsiteX282" fmla="*/ 1350405 w 3385376"/>
                    <a:gd name="connsiteY282" fmla="*/ 983609 h 1220812"/>
                    <a:gd name="connsiteX283" fmla="*/ 1365541 w 3385376"/>
                    <a:gd name="connsiteY283" fmla="*/ 983165 h 1220812"/>
                    <a:gd name="connsiteX284" fmla="*/ 1382324 w 3385376"/>
                    <a:gd name="connsiteY284" fmla="*/ 980681 h 1220812"/>
                    <a:gd name="connsiteX285" fmla="*/ 1404407 w 3385376"/>
                    <a:gd name="connsiteY285" fmla="*/ 982874 h 1220812"/>
                    <a:gd name="connsiteX286" fmla="*/ 1421432 w 3385376"/>
                    <a:gd name="connsiteY286" fmla="*/ 988071 h 1220812"/>
                    <a:gd name="connsiteX287" fmla="*/ 1418630 w 3385376"/>
                    <a:gd name="connsiteY287" fmla="*/ 1043113 h 1220812"/>
                    <a:gd name="connsiteX288" fmla="*/ 1419885 w 3385376"/>
                    <a:gd name="connsiteY288" fmla="*/ 1037104 h 1220812"/>
                    <a:gd name="connsiteX289" fmla="*/ 1422598 w 3385376"/>
                    <a:gd name="connsiteY289" fmla="*/ 1048284 h 1220812"/>
                    <a:gd name="connsiteX290" fmla="*/ 1433449 w 3385376"/>
                    <a:gd name="connsiteY290" fmla="*/ 1053191 h 1220812"/>
                    <a:gd name="connsiteX291" fmla="*/ 1417020 w 3385376"/>
                    <a:gd name="connsiteY291" fmla="*/ 1058933 h 1220812"/>
                    <a:gd name="connsiteX292" fmla="*/ 1393492 w 3385376"/>
                    <a:gd name="connsiteY292" fmla="*/ 1050110 h 1220812"/>
                    <a:gd name="connsiteX293" fmla="*/ 1376848 w 3385376"/>
                    <a:gd name="connsiteY293" fmla="*/ 1045229 h 1220812"/>
                    <a:gd name="connsiteX294" fmla="*/ 1360102 w 3385376"/>
                    <a:gd name="connsiteY294" fmla="*/ 1037104 h 1220812"/>
                    <a:gd name="connsiteX295" fmla="*/ 1350481 w 3385376"/>
                    <a:gd name="connsiteY295" fmla="*/ 1031957 h 1220812"/>
                    <a:gd name="connsiteX296" fmla="*/ 1332975 w 3385376"/>
                    <a:gd name="connsiteY296" fmla="*/ 1024744 h 1220812"/>
                    <a:gd name="connsiteX297" fmla="*/ 1310689 w 3385376"/>
                    <a:gd name="connsiteY297" fmla="*/ 1032655 h 1220812"/>
                    <a:gd name="connsiteX298" fmla="*/ 1300776 w 3385376"/>
                    <a:gd name="connsiteY298" fmla="*/ 1033022 h 1220812"/>
                    <a:gd name="connsiteX299" fmla="*/ 1289735 w 3385376"/>
                    <a:gd name="connsiteY299" fmla="*/ 1035938 h 1220812"/>
                    <a:gd name="connsiteX300" fmla="*/ 1269871 w 3385376"/>
                    <a:gd name="connsiteY300" fmla="*/ 1031501 h 1220812"/>
                    <a:gd name="connsiteX301" fmla="*/ 1241666 w 3385376"/>
                    <a:gd name="connsiteY301" fmla="*/ 1025682 h 1220812"/>
                    <a:gd name="connsiteX302" fmla="*/ 1223602 w 3385376"/>
                    <a:gd name="connsiteY302" fmla="*/ 1027952 h 1220812"/>
                    <a:gd name="connsiteX303" fmla="*/ 1221789 w 3385376"/>
                    <a:gd name="connsiteY303" fmla="*/ 1025366 h 1220812"/>
                    <a:gd name="connsiteX304" fmla="*/ 1220394 w 3385376"/>
                    <a:gd name="connsiteY304" fmla="*/ 1031273 h 1220812"/>
                    <a:gd name="connsiteX305" fmla="*/ 1197349 w 3385376"/>
                    <a:gd name="connsiteY305" fmla="*/ 1024339 h 1220812"/>
                    <a:gd name="connsiteX306" fmla="*/ 1175748 w 3385376"/>
                    <a:gd name="connsiteY306" fmla="*/ 1019306 h 1220812"/>
                    <a:gd name="connsiteX307" fmla="*/ 1136793 w 3385376"/>
                    <a:gd name="connsiteY307" fmla="*/ 1014375 h 1220812"/>
                    <a:gd name="connsiteX308" fmla="*/ 1090143 w 3385376"/>
                    <a:gd name="connsiteY308" fmla="*/ 993573 h 1220812"/>
                    <a:gd name="connsiteX309" fmla="*/ 1067490 w 3385376"/>
                    <a:gd name="connsiteY309" fmla="*/ 987741 h 1220812"/>
                    <a:gd name="connsiteX310" fmla="*/ 1051125 w 3385376"/>
                    <a:gd name="connsiteY310" fmla="*/ 986639 h 1220812"/>
                    <a:gd name="connsiteX311" fmla="*/ 1050111 w 3385376"/>
                    <a:gd name="connsiteY311" fmla="*/ 983749 h 1220812"/>
                    <a:gd name="connsiteX312" fmla="*/ 1022704 w 3385376"/>
                    <a:gd name="connsiteY312" fmla="*/ 983305 h 1220812"/>
                    <a:gd name="connsiteX313" fmla="*/ 1010889 w 3385376"/>
                    <a:gd name="connsiteY313" fmla="*/ 975205 h 1220812"/>
                    <a:gd name="connsiteX314" fmla="*/ 996426 w 3385376"/>
                    <a:gd name="connsiteY314" fmla="*/ 983229 h 1220812"/>
                    <a:gd name="connsiteX315" fmla="*/ 983559 w 3385376"/>
                    <a:gd name="connsiteY315" fmla="*/ 986575 h 1220812"/>
                    <a:gd name="connsiteX316" fmla="*/ 956533 w 3385376"/>
                    <a:gd name="connsiteY316" fmla="*/ 988211 h 1220812"/>
                    <a:gd name="connsiteX317" fmla="*/ 917996 w 3385376"/>
                    <a:gd name="connsiteY317" fmla="*/ 973759 h 1220812"/>
                    <a:gd name="connsiteX318" fmla="*/ 883833 w 3385376"/>
                    <a:gd name="connsiteY318" fmla="*/ 964772 h 1220812"/>
                    <a:gd name="connsiteX319" fmla="*/ 848186 w 3385376"/>
                    <a:gd name="connsiteY319" fmla="*/ 961400 h 1220812"/>
                    <a:gd name="connsiteX320" fmla="*/ 827917 w 3385376"/>
                    <a:gd name="connsiteY320" fmla="*/ 958040 h 1220812"/>
                    <a:gd name="connsiteX321" fmla="*/ 833038 w 3385376"/>
                    <a:gd name="connsiteY321" fmla="*/ 943095 h 1220812"/>
                    <a:gd name="connsiteX322" fmla="*/ 835155 w 3385376"/>
                    <a:gd name="connsiteY322" fmla="*/ 927516 h 1220812"/>
                    <a:gd name="connsiteX323" fmla="*/ 822123 w 3385376"/>
                    <a:gd name="connsiteY323" fmla="*/ 929784 h 1220812"/>
                    <a:gd name="connsiteX324" fmla="*/ 809308 w 3385376"/>
                    <a:gd name="connsiteY324" fmla="*/ 923142 h 1220812"/>
                    <a:gd name="connsiteX325" fmla="*/ 765586 w 3385376"/>
                    <a:gd name="connsiteY325" fmla="*/ 919377 h 1220812"/>
                    <a:gd name="connsiteX326" fmla="*/ 740803 w 3385376"/>
                    <a:gd name="connsiteY326" fmla="*/ 912659 h 1220812"/>
                    <a:gd name="connsiteX327" fmla="*/ 750805 w 3385376"/>
                    <a:gd name="connsiteY327" fmla="*/ 905534 h 1220812"/>
                    <a:gd name="connsiteX328" fmla="*/ 758082 w 3385376"/>
                    <a:gd name="connsiteY328" fmla="*/ 915942 h 1220812"/>
                    <a:gd name="connsiteX329" fmla="*/ 769744 w 3385376"/>
                    <a:gd name="connsiteY329" fmla="*/ 903950 h 1220812"/>
                    <a:gd name="connsiteX330" fmla="*/ 774840 w 3385376"/>
                    <a:gd name="connsiteY330" fmla="*/ 892604 h 1220812"/>
                    <a:gd name="connsiteX331" fmla="*/ 785463 w 3385376"/>
                    <a:gd name="connsiteY331" fmla="*/ 888282 h 1220812"/>
                    <a:gd name="connsiteX332" fmla="*/ 788657 w 3385376"/>
                    <a:gd name="connsiteY332" fmla="*/ 864336 h 1220812"/>
                    <a:gd name="connsiteX333" fmla="*/ 799990 w 3385376"/>
                    <a:gd name="connsiteY333" fmla="*/ 848363 h 1220812"/>
                    <a:gd name="connsiteX334" fmla="*/ 810245 w 3385376"/>
                    <a:gd name="connsiteY334" fmla="*/ 856945 h 1220812"/>
                    <a:gd name="connsiteX335" fmla="*/ 810245 w 3385376"/>
                    <a:gd name="connsiteY335" fmla="*/ 856945 h 1220812"/>
                    <a:gd name="connsiteX336" fmla="*/ 2911379 w 3385376"/>
                    <a:gd name="connsiteY336" fmla="*/ 813769 h 1220812"/>
                    <a:gd name="connsiteX337" fmla="*/ 2919911 w 3385376"/>
                    <a:gd name="connsiteY337" fmla="*/ 821895 h 1220812"/>
                    <a:gd name="connsiteX338" fmla="*/ 2917832 w 3385376"/>
                    <a:gd name="connsiteY338" fmla="*/ 822858 h 1220812"/>
                    <a:gd name="connsiteX339" fmla="*/ 2918871 w 3385376"/>
                    <a:gd name="connsiteY339" fmla="*/ 824886 h 1220812"/>
                    <a:gd name="connsiteX340" fmla="*/ 2915347 w 3385376"/>
                    <a:gd name="connsiteY340" fmla="*/ 825888 h 1220812"/>
                    <a:gd name="connsiteX341" fmla="*/ 2920354 w 3385376"/>
                    <a:gd name="connsiteY341" fmla="*/ 844117 h 1220812"/>
                    <a:gd name="connsiteX342" fmla="*/ 2924943 w 3385376"/>
                    <a:gd name="connsiteY342" fmla="*/ 848148 h 1220812"/>
                    <a:gd name="connsiteX343" fmla="*/ 2921914 w 3385376"/>
                    <a:gd name="connsiteY343" fmla="*/ 850176 h 1220812"/>
                    <a:gd name="connsiteX344" fmla="*/ 2920126 w 3385376"/>
                    <a:gd name="connsiteY344" fmla="*/ 849035 h 1220812"/>
                    <a:gd name="connsiteX345" fmla="*/ 2922941 w 3385376"/>
                    <a:gd name="connsiteY345" fmla="*/ 852179 h 1220812"/>
                    <a:gd name="connsiteX346" fmla="*/ 2922826 w 3385376"/>
                    <a:gd name="connsiteY346" fmla="*/ 853966 h 1220812"/>
                    <a:gd name="connsiteX347" fmla="*/ 2912863 w 3385376"/>
                    <a:gd name="connsiteY347" fmla="*/ 852673 h 1220812"/>
                    <a:gd name="connsiteX348" fmla="*/ 2920354 w 3385376"/>
                    <a:gd name="connsiteY348" fmla="*/ 867885 h 1220812"/>
                    <a:gd name="connsiteX349" fmla="*/ 2919493 w 3385376"/>
                    <a:gd name="connsiteY349" fmla="*/ 870129 h 1220812"/>
                    <a:gd name="connsiteX350" fmla="*/ 2924475 w 3385376"/>
                    <a:gd name="connsiteY350" fmla="*/ 867885 h 1220812"/>
                    <a:gd name="connsiteX351" fmla="*/ 2903939 w 3385376"/>
                    <a:gd name="connsiteY351" fmla="*/ 877532 h 1220812"/>
                    <a:gd name="connsiteX352" fmla="*/ 2895711 w 3385376"/>
                    <a:gd name="connsiteY352" fmla="*/ 857972 h 1220812"/>
                    <a:gd name="connsiteX353" fmla="*/ 2896408 w 3385376"/>
                    <a:gd name="connsiteY353" fmla="*/ 840998 h 1220812"/>
                    <a:gd name="connsiteX354" fmla="*/ 2895153 w 3385376"/>
                    <a:gd name="connsiteY354" fmla="*/ 840048 h 1220812"/>
                    <a:gd name="connsiteX355" fmla="*/ 2887117 w 3385376"/>
                    <a:gd name="connsiteY355" fmla="*/ 832606 h 1220812"/>
                    <a:gd name="connsiteX356" fmla="*/ 2895027 w 3385376"/>
                    <a:gd name="connsiteY356" fmla="*/ 833798 h 1220812"/>
                    <a:gd name="connsiteX357" fmla="*/ 2902202 w 3385376"/>
                    <a:gd name="connsiteY357" fmla="*/ 821895 h 1220812"/>
                    <a:gd name="connsiteX358" fmla="*/ 2905751 w 3385376"/>
                    <a:gd name="connsiteY358" fmla="*/ 822858 h 1220812"/>
                    <a:gd name="connsiteX359" fmla="*/ 2911379 w 3385376"/>
                    <a:gd name="connsiteY359" fmla="*/ 813769 h 1220812"/>
                    <a:gd name="connsiteX360" fmla="*/ 2911379 w 3385376"/>
                    <a:gd name="connsiteY360" fmla="*/ 813769 h 1220812"/>
                    <a:gd name="connsiteX361" fmla="*/ 2038829 w 3385376"/>
                    <a:gd name="connsiteY361" fmla="*/ 778756 h 1220812"/>
                    <a:gd name="connsiteX362" fmla="*/ 2028307 w 3385376"/>
                    <a:gd name="connsiteY362" fmla="*/ 796782 h 1220812"/>
                    <a:gd name="connsiteX363" fmla="*/ 2025519 w 3385376"/>
                    <a:gd name="connsiteY363" fmla="*/ 799318 h 1220812"/>
                    <a:gd name="connsiteX364" fmla="*/ 2021475 w 3385376"/>
                    <a:gd name="connsiteY364" fmla="*/ 814098 h 1220812"/>
                    <a:gd name="connsiteX365" fmla="*/ 2019117 w 3385376"/>
                    <a:gd name="connsiteY365" fmla="*/ 803615 h 1220812"/>
                    <a:gd name="connsiteX366" fmla="*/ 2014629 w 3385376"/>
                    <a:gd name="connsiteY366" fmla="*/ 805694 h 1220812"/>
                    <a:gd name="connsiteX367" fmla="*/ 2004298 w 3385376"/>
                    <a:gd name="connsiteY367" fmla="*/ 801168 h 1220812"/>
                    <a:gd name="connsiteX368" fmla="*/ 2009584 w 3385376"/>
                    <a:gd name="connsiteY368" fmla="*/ 789290 h 1220812"/>
                    <a:gd name="connsiteX369" fmla="*/ 2008126 w 3385376"/>
                    <a:gd name="connsiteY369" fmla="*/ 775701 h 1220812"/>
                    <a:gd name="connsiteX370" fmla="*/ 2025037 w 3385376"/>
                    <a:gd name="connsiteY370" fmla="*/ 757663 h 1220812"/>
                    <a:gd name="connsiteX371" fmla="*/ 2036940 w 3385376"/>
                    <a:gd name="connsiteY371" fmla="*/ 765788 h 1220812"/>
                    <a:gd name="connsiteX372" fmla="*/ 2038829 w 3385376"/>
                    <a:gd name="connsiteY372" fmla="*/ 778756 h 1220812"/>
                    <a:gd name="connsiteX373" fmla="*/ 2038829 w 3385376"/>
                    <a:gd name="connsiteY373" fmla="*/ 778756 h 1220812"/>
                    <a:gd name="connsiteX374" fmla="*/ 2070799 w 3385376"/>
                    <a:gd name="connsiteY374" fmla="*/ 758690 h 1220812"/>
                    <a:gd name="connsiteX375" fmla="*/ 2070799 w 3385376"/>
                    <a:gd name="connsiteY375" fmla="*/ 770846 h 1220812"/>
                    <a:gd name="connsiteX376" fmla="*/ 2064372 w 3385376"/>
                    <a:gd name="connsiteY376" fmla="*/ 761111 h 1220812"/>
                    <a:gd name="connsiteX377" fmla="*/ 2062990 w 3385376"/>
                    <a:gd name="connsiteY377" fmla="*/ 765332 h 1220812"/>
                    <a:gd name="connsiteX378" fmla="*/ 2059073 w 3385376"/>
                    <a:gd name="connsiteY378" fmla="*/ 763329 h 1220812"/>
                    <a:gd name="connsiteX379" fmla="*/ 2052710 w 3385376"/>
                    <a:gd name="connsiteY379" fmla="*/ 782749 h 1220812"/>
                    <a:gd name="connsiteX380" fmla="*/ 2052342 w 3385376"/>
                    <a:gd name="connsiteY380" fmla="*/ 792663 h 1220812"/>
                    <a:gd name="connsiteX381" fmla="*/ 2056715 w 3385376"/>
                    <a:gd name="connsiteY381" fmla="*/ 792979 h 1220812"/>
                    <a:gd name="connsiteX382" fmla="*/ 2068771 w 3385376"/>
                    <a:gd name="connsiteY382" fmla="*/ 807241 h 1220812"/>
                    <a:gd name="connsiteX383" fmla="*/ 2044926 w 3385376"/>
                    <a:gd name="connsiteY383" fmla="*/ 819917 h 1220812"/>
                    <a:gd name="connsiteX384" fmla="*/ 2048590 w 3385376"/>
                    <a:gd name="connsiteY384" fmla="*/ 819283 h 1220812"/>
                    <a:gd name="connsiteX385" fmla="*/ 2039691 w 3385376"/>
                    <a:gd name="connsiteY385" fmla="*/ 833519 h 1220812"/>
                    <a:gd name="connsiteX386" fmla="*/ 2038030 w 3385376"/>
                    <a:gd name="connsiteY386" fmla="*/ 829779 h 1220812"/>
                    <a:gd name="connsiteX387" fmla="*/ 2036471 w 3385376"/>
                    <a:gd name="connsiteY387" fmla="*/ 832543 h 1220812"/>
                    <a:gd name="connsiteX388" fmla="*/ 2035672 w 3385376"/>
                    <a:gd name="connsiteY388" fmla="*/ 828664 h 1220812"/>
                    <a:gd name="connsiteX389" fmla="*/ 2026622 w 3385376"/>
                    <a:gd name="connsiteY389" fmla="*/ 827244 h 1220812"/>
                    <a:gd name="connsiteX390" fmla="*/ 2027813 w 3385376"/>
                    <a:gd name="connsiteY390" fmla="*/ 812210 h 1220812"/>
                    <a:gd name="connsiteX391" fmla="*/ 2041073 w 3385376"/>
                    <a:gd name="connsiteY391" fmla="*/ 796428 h 1220812"/>
                    <a:gd name="connsiteX392" fmla="*/ 2037333 w 3385376"/>
                    <a:gd name="connsiteY392" fmla="*/ 797695 h 1220812"/>
                    <a:gd name="connsiteX393" fmla="*/ 2036953 w 3385376"/>
                    <a:gd name="connsiteY393" fmla="*/ 784980 h 1220812"/>
                    <a:gd name="connsiteX394" fmla="*/ 2061545 w 3385376"/>
                    <a:gd name="connsiteY394" fmla="*/ 737456 h 1220812"/>
                    <a:gd name="connsiteX395" fmla="*/ 2070799 w 3385376"/>
                    <a:gd name="connsiteY395" fmla="*/ 758690 h 1220812"/>
                    <a:gd name="connsiteX396" fmla="*/ 2070799 w 3385376"/>
                    <a:gd name="connsiteY396" fmla="*/ 758690 h 1220812"/>
                    <a:gd name="connsiteX397" fmla="*/ 1546916 w 3385376"/>
                    <a:gd name="connsiteY397" fmla="*/ 711026 h 1220812"/>
                    <a:gd name="connsiteX398" fmla="*/ 1544483 w 3385376"/>
                    <a:gd name="connsiteY398" fmla="*/ 713738 h 1220812"/>
                    <a:gd name="connsiteX399" fmla="*/ 1540642 w 3385376"/>
                    <a:gd name="connsiteY399" fmla="*/ 691073 h 1220812"/>
                    <a:gd name="connsiteX400" fmla="*/ 1557552 w 3385376"/>
                    <a:gd name="connsiteY400" fmla="*/ 651307 h 1220812"/>
                    <a:gd name="connsiteX401" fmla="*/ 1557070 w 3385376"/>
                    <a:gd name="connsiteY401" fmla="*/ 664300 h 1220812"/>
                    <a:gd name="connsiteX402" fmla="*/ 1560227 w 3385376"/>
                    <a:gd name="connsiteY402" fmla="*/ 669041 h 1220812"/>
                    <a:gd name="connsiteX403" fmla="*/ 1558972 w 3385376"/>
                    <a:gd name="connsiteY403" fmla="*/ 672679 h 1220812"/>
                    <a:gd name="connsiteX404" fmla="*/ 1562369 w 3385376"/>
                    <a:gd name="connsiteY404" fmla="*/ 690376 h 1220812"/>
                    <a:gd name="connsiteX405" fmla="*/ 1546916 w 3385376"/>
                    <a:gd name="connsiteY405" fmla="*/ 711026 h 1220812"/>
                    <a:gd name="connsiteX406" fmla="*/ 1546916 w 3385376"/>
                    <a:gd name="connsiteY406" fmla="*/ 711026 h 1220812"/>
                    <a:gd name="connsiteX407" fmla="*/ 2341696 w 3385376"/>
                    <a:gd name="connsiteY407" fmla="*/ 643232 h 1220812"/>
                    <a:gd name="connsiteX408" fmla="*/ 2359190 w 3385376"/>
                    <a:gd name="connsiteY408" fmla="*/ 655198 h 1220812"/>
                    <a:gd name="connsiteX409" fmla="*/ 2360128 w 3385376"/>
                    <a:gd name="connsiteY409" fmla="*/ 661866 h 1220812"/>
                    <a:gd name="connsiteX410" fmla="*/ 2367734 w 3385376"/>
                    <a:gd name="connsiteY410" fmla="*/ 661790 h 1220812"/>
                    <a:gd name="connsiteX411" fmla="*/ 2368976 w 3385376"/>
                    <a:gd name="connsiteY411" fmla="*/ 668978 h 1220812"/>
                    <a:gd name="connsiteX412" fmla="*/ 2359241 w 3385376"/>
                    <a:gd name="connsiteY412" fmla="*/ 683556 h 1220812"/>
                    <a:gd name="connsiteX413" fmla="*/ 2333825 w 3385376"/>
                    <a:gd name="connsiteY413" fmla="*/ 696955 h 1220812"/>
                    <a:gd name="connsiteX414" fmla="*/ 2291460 w 3385376"/>
                    <a:gd name="connsiteY414" fmla="*/ 681109 h 1220812"/>
                    <a:gd name="connsiteX415" fmla="*/ 2285590 w 3385376"/>
                    <a:gd name="connsiteY415" fmla="*/ 645057 h 1220812"/>
                    <a:gd name="connsiteX416" fmla="*/ 2292879 w 3385376"/>
                    <a:gd name="connsiteY416" fmla="*/ 648277 h 1220812"/>
                    <a:gd name="connsiteX417" fmla="*/ 2301917 w 3385376"/>
                    <a:gd name="connsiteY417" fmla="*/ 642142 h 1220812"/>
                    <a:gd name="connsiteX418" fmla="*/ 2341696 w 3385376"/>
                    <a:gd name="connsiteY418" fmla="*/ 643232 h 1220812"/>
                    <a:gd name="connsiteX419" fmla="*/ 2341696 w 3385376"/>
                    <a:gd name="connsiteY419" fmla="*/ 643232 h 1220812"/>
                    <a:gd name="connsiteX420" fmla="*/ 2538779 w 3385376"/>
                    <a:gd name="connsiteY420" fmla="*/ 618981 h 1220812"/>
                    <a:gd name="connsiteX421" fmla="*/ 2562965 w 3385376"/>
                    <a:gd name="connsiteY421" fmla="*/ 628337 h 1220812"/>
                    <a:gd name="connsiteX422" fmla="*/ 2568911 w 3385376"/>
                    <a:gd name="connsiteY422" fmla="*/ 632723 h 1220812"/>
                    <a:gd name="connsiteX423" fmla="*/ 2594137 w 3385376"/>
                    <a:gd name="connsiteY423" fmla="*/ 633635 h 1220812"/>
                    <a:gd name="connsiteX424" fmla="*/ 2619021 w 3385376"/>
                    <a:gd name="connsiteY424" fmla="*/ 652283 h 1220812"/>
                    <a:gd name="connsiteX425" fmla="*/ 2623153 w 3385376"/>
                    <a:gd name="connsiteY425" fmla="*/ 665099 h 1220812"/>
                    <a:gd name="connsiteX426" fmla="*/ 2634169 w 3385376"/>
                    <a:gd name="connsiteY426" fmla="*/ 668863 h 1220812"/>
                    <a:gd name="connsiteX427" fmla="*/ 2636920 w 3385376"/>
                    <a:gd name="connsiteY427" fmla="*/ 681236 h 1220812"/>
                    <a:gd name="connsiteX428" fmla="*/ 2634904 w 3385376"/>
                    <a:gd name="connsiteY428" fmla="*/ 698882 h 1220812"/>
                    <a:gd name="connsiteX429" fmla="*/ 2608005 w 3385376"/>
                    <a:gd name="connsiteY429" fmla="*/ 686484 h 1220812"/>
                    <a:gd name="connsiteX430" fmla="*/ 2577303 w 3385376"/>
                    <a:gd name="connsiteY430" fmla="*/ 672007 h 1220812"/>
                    <a:gd name="connsiteX431" fmla="*/ 2569823 w 3385376"/>
                    <a:gd name="connsiteY431" fmla="*/ 665010 h 1220812"/>
                    <a:gd name="connsiteX432" fmla="*/ 2549706 w 3385376"/>
                    <a:gd name="connsiteY432" fmla="*/ 658165 h 1220812"/>
                    <a:gd name="connsiteX433" fmla="*/ 2537701 w 3385376"/>
                    <a:gd name="connsiteY433" fmla="*/ 657265 h 1220812"/>
                    <a:gd name="connsiteX434" fmla="*/ 2538563 w 3385376"/>
                    <a:gd name="connsiteY434" fmla="*/ 663514 h 1220812"/>
                    <a:gd name="connsiteX435" fmla="*/ 2537916 w 3385376"/>
                    <a:gd name="connsiteY435" fmla="*/ 669371 h 1220812"/>
                    <a:gd name="connsiteX436" fmla="*/ 2526913 w 3385376"/>
                    <a:gd name="connsiteY436" fmla="*/ 665897 h 1220812"/>
                    <a:gd name="connsiteX437" fmla="*/ 2494297 w 3385376"/>
                    <a:gd name="connsiteY437" fmla="*/ 658406 h 1220812"/>
                    <a:gd name="connsiteX438" fmla="*/ 2492053 w 3385376"/>
                    <a:gd name="connsiteY438" fmla="*/ 650749 h 1220812"/>
                    <a:gd name="connsiteX439" fmla="*/ 2482279 w 3385376"/>
                    <a:gd name="connsiteY439" fmla="*/ 655744 h 1220812"/>
                    <a:gd name="connsiteX440" fmla="*/ 2463924 w 3385376"/>
                    <a:gd name="connsiteY440" fmla="*/ 668116 h 1220812"/>
                    <a:gd name="connsiteX441" fmla="*/ 2454327 w 3385376"/>
                    <a:gd name="connsiteY441" fmla="*/ 665365 h 1220812"/>
                    <a:gd name="connsiteX442" fmla="*/ 2446329 w 3385376"/>
                    <a:gd name="connsiteY442" fmla="*/ 652473 h 1220812"/>
                    <a:gd name="connsiteX443" fmla="*/ 2439420 w 3385376"/>
                    <a:gd name="connsiteY443" fmla="*/ 649836 h 1220812"/>
                    <a:gd name="connsiteX444" fmla="*/ 2437785 w 3385376"/>
                    <a:gd name="connsiteY444" fmla="*/ 640367 h 1220812"/>
                    <a:gd name="connsiteX445" fmla="*/ 2429583 w 3385376"/>
                    <a:gd name="connsiteY445" fmla="*/ 651573 h 1220812"/>
                    <a:gd name="connsiteX446" fmla="*/ 2419353 w 3385376"/>
                    <a:gd name="connsiteY446" fmla="*/ 675937 h 1220812"/>
                    <a:gd name="connsiteX447" fmla="*/ 2419809 w 3385376"/>
                    <a:gd name="connsiteY447" fmla="*/ 659787 h 1220812"/>
                    <a:gd name="connsiteX448" fmla="*/ 2413179 w 3385376"/>
                    <a:gd name="connsiteY448" fmla="*/ 647934 h 1220812"/>
                    <a:gd name="connsiteX449" fmla="*/ 2432499 w 3385376"/>
                    <a:gd name="connsiteY449" fmla="*/ 640139 h 1220812"/>
                    <a:gd name="connsiteX450" fmla="*/ 2433550 w 3385376"/>
                    <a:gd name="connsiteY450" fmla="*/ 634054 h 1220812"/>
                    <a:gd name="connsiteX451" fmla="*/ 2430039 w 3385376"/>
                    <a:gd name="connsiteY451" fmla="*/ 633027 h 1220812"/>
                    <a:gd name="connsiteX452" fmla="*/ 2438228 w 3385376"/>
                    <a:gd name="connsiteY452" fmla="*/ 624597 h 1220812"/>
                    <a:gd name="connsiteX453" fmla="*/ 2467397 w 3385376"/>
                    <a:gd name="connsiteY453" fmla="*/ 624255 h 1220812"/>
                    <a:gd name="connsiteX454" fmla="*/ 2487122 w 3385376"/>
                    <a:gd name="connsiteY454" fmla="*/ 625041 h 1220812"/>
                    <a:gd name="connsiteX455" fmla="*/ 2501319 w 3385376"/>
                    <a:gd name="connsiteY455" fmla="*/ 621162 h 1220812"/>
                    <a:gd name="connsiteX456" fmla="*/ 2512487 w 3385376"/>
                    <a:gd name="connsiteY456" fmla="*/ 631899 h 1220812"/>
                    <a:gd name="connsiteX457" fmla="*/ 2512069 w 3385376"/>
                    <a:gd name="connsiteY457" fmla="*/ 629807 h 1220812"/>
                    <a:gd name="connsiteX458" fmla="*/ 2514934 w 3385376"/>
                    <a:gd name="connsiteY458" fmla="*/ 630859 h 1220812"/>
                    <a:gd name="connsiteX459" fmla="*/ 2538779 w 3385376"/>
                    <a:gd name="connsiteY459" fmla="*/ 618981 h 1220812"/>
                    <a:gd name="connsiteX460" fmla="*/ 2538779 w 3385376"/>
                    <a:gd name="connsiteY460" fmla="*/ 618981 h 1220812"/>
                    <a:gd name="connsiteX461" fmla="*/ 935084 w 3385376"/>
                    <a:gd name="connsiteY461" fmla="*/ 602058 h 1220812"/>
                    <a:gd name="connsiteX462" fmla="*/ 949244 w 3385376"/>
                    <a:gd name="connsiteY462" fmla="*/ 608853 h 1220812"/>
                    <a:gd name="connsiteX463" fmla="*/ 968030 w 3385376"/>
                    <a:gd name="connsiteY463" fmla="*/ 624039 h 1220812"/>
                    <a:gd name="connsiteX464" fmla="*/ 961857 w 3385376"/>
                    <a:gd name="connsiteY464" fmla="*/ 645158 h 1220812"/>
                    <a:gd name="connsiteX465" fmla="*/ 944148 w 3385376"/>
                    <a:gd name="connsiteY465" fmla="*/ 649532 h 1220812"/>
                    <a:gd name="connsiteX466" fmla="*/ 937847 w 3385376"/>
                    <a:gd name="connsiteY466" fmla="*/ 639961 h 1220812"/>
                    <a:gd name="connsiteX467" fmla="*/ 934120 w 3385376"/>
                    <a:gd name="connsiteY467" fmla="*/ 646287 h 1220812"/>
                    <a:gd name="connsiteX468" fmla="*/ 918009 w 3385376"/>
                    <a:gd name="connsiteY468" fmla="*/ 652460 h 1220812"/>
                    <a:gd name="connsiteX469" fmla="*/ 919035 w 3385376"/>
                    <a:gd name="connsiteY469" fmla="*/ 643599 h 1220812"/>
                    <a:gd name="connsiteX470" fmla="*/ 915309 w 3385376"/>
                    <a:gd name="connsiteY470" fmla="*/ 635030 h 1220812"/>
                    <a:gd name="connsiteX471" fmla="*/ 913268 w 3385376"/>
                    <a:gd name="connsiteY471" fmla="*/ 629871 h 1220812"/>
                    <a:gd name="connsiteX472" fmla="*/ 935084 w 3385376"/>
                    <a:gd name="connsiteY472" fmla="*/ 602058 h 1220812"/>
                    <a:gd name="connsiteX473" fmla="*/ 935084 w 3385376"/>
                    <a:gd name="connsiteY473" fmla="*/ 602058 h 1220812"/>
                    <a:gd name="connsiteX474" fmla="*/ 2599081 w 3385376"/>
                    <a:gd name="connsiteY474" fmla="*/ 539157 h 1220812"/>
                    <a:gd name="connsiteX475" fmla="*/ 2598143 w 3385376"/>
                    <a:gd name="connsiteY475" fmla="*/ 556334 h 1220812"/>
                    <a:gd name="connsiteX476" fmla="*/ 2605001 w 3385376"/>
                    <a:gd name="connsiteY476" fmla="*/ 559833 h 1220812"/>
                    <a:gd name="connsiteX477" fmla="*/ 2597686 w 3385376"/>
                    <a:gd name="connsiteY477" fmla="*/ 557893 h 1220812"/>
                    <a:gd name="connsiteX478" fmla="*/ 2579965 w 3385376"/>
                    <a:gd name="connsiteY478" fmla="*/ 564992 h 1220812"/>
                    <a:gd name="connsiteX479" fmla="*/ 2581042 w 3385376"/>
                    <a:gd name="connsiteY479" fmla="*/ 564460 h 1220812"/>
                    <a:gd name="connsiteX480" fmla="*/ 2551607 w 3385376"/>
                    <a:gd name="connsiteY480" fmla="*/ 552861 h 1220812"/>
                    <a:gd name="connsiteX481" fmla="*/ 2576554 w 3385376"/>
                    <a:gd name="connsiteY481" fmla="*/ 542428 h 1220812"/>
                    <a:gd name="connsiteX482" fmla="*/ 2599081 w 3385376"/>
                    <a:gd name="connsiteY482" fmla="*/ 539157 h 1220812"/>
                    <a:gd name="connsiteX483" fmla="*/ 2599081 w 3385376"/>
                    <a:gd name="connsiteY483" fmla="*/ 539157 h 1220812"/>
                    <a:gd name="connsiteX484" fmla="*/ 2168269 w 3385376"/>
                    <a:gd name="connsiteY484" fmla="*/ 534809 h 1220812"/>
                    <a:gd name="connsiteX485" fmla="*/ 2206628 w 3385376"/>
                    <a:gd name="connsiteY485" fmla="*/ 544355 h 1220812"/>
                    <a:gd name="connsiteX486" fmla="*/ 2211192 w 3385376"/>
                    <a:gd name="connsiteY486" fmla="*/ 543860 h 1220812"/>
                    <a:gd name="connsiteX487" fmla="*/ 2217403 w 3385376"/>
                    <a:gd name="connsiteY487" fmla="*/ 544190 h 1220812"/>
                    <a:gd name="connsiteX488" fmla="*/ 2223830 w 3385376"/>
                    <a:gd name="connsiteY488" fmla="*/ 545610 h 1220812"/>
                    <a:gd name="connsiteX489" fmla="*/ 2222892 w 3385376"/>
                    <a:gd name="connsiteY489" fmla="*/ 552328 h 1220812"/>
                    <a:gd name="connsiteX490" fmla="*/ 2211192 w 3385376"/>
                    <a:gd name="connsiteY490" fmla="*/ 553888 h 1220812"/>
                    <a:gd name="connsiteX491" fmla="*/ 2201570 w 3385376"/>
                    <a:gd name="connsiteY491" fmla="*/ 557057 h 1220812"/>
                    <a:gd name="connsiteX492" fmla="*/ 2188780 w 3385376"/>
                    <a:gd name="connsiteY492" fmla="*/ 554356 h 1220812"/>
                    <a:gd name="connsiteX493" fmla="*/ 2157063 w 3385376"/>
                    <a:gd name="connsiteY493" fmla="*/ 558083 h 1220812"/>
                    <a:gd name="connsiteX494" fmla="*/ 2168269 w 3385376"/>
                    <a:gd name="connsiteY494" fmla="*/ 534809 h 1220812"/>
                    <a:gd name="connsiteX495" fmla="*/ 2168269 w 3385376"/>
                    <a:gd name="connsiteY495" fmla="*/ 534809 h 1220812"/>
                    <a:gd name="connsiteX496" fmla="*/ 2977589 w 3385376"/>
                    <a:gd name="connsiteY496" fmla="*/ 531438 h 1220812"/>
                    <a:gd name="connsiteX497" fmla="*/ 3036218 w 3385376"/>
                    <a:gd name="connsiteY497" fmla="*/ 538321 h 1220812"/>
                    <a:gd name="connsiteX498" fmla="*/ 3082728 w 3385376"/>
                    <a:gd name="connsiteY498" fmla="*/ 546865 h 1220812"/>
                    <a:gd name="connsiteX499" fmla="*/ 3055626 w 3385376"/>
                    <a:gd name="connsiteY499" fmla="*/ 551872 h 1220812"/>
                    <a:gd name="connsiteX500" fmla="*/ 3056602 w 3385376"/>
                    <a:gd name="connsiteY500" fmla="*/ 554090 h 1220812"/>
                    <a:gd name="connsiteX501" fmla="*/ 3016062 w 3385376"/>
                    <a:gd name="connsiteY501" fmla="*/ 547955 h 1220812"/>
                    <a:gd name="connsiteX502" fmla="*/ 2990823 w 3385376"/>
                    <a:gd name="connsiteY502" fmla="*/ 538828 h 1220812"/>
                    <a:gd name="connsiteX503" fmla="*/ 2973545 w 3385376"/>
                    <a:gd name="connsiteY503" fmla="*/ 532971 h 1220812"/>
                    <a:gd name="connsiteX504" fmla="*/ 2977589 w 3385376"/>
                    <a:gd name="connsiteY504" fmla="*/ 531438 h 1220812"/>
                    <a:gd name="connsiteX505" fmla="*/ 2977589 w 3385376"/>
                    <a:gd name="connsiteY505" fmla="*/ 531438 h 1220812"/>
                    <a:gd name="connsiteX506" fmla="*/ 789266 w 3385376"/>
                    <a:gd name="connsiteY506" fmla="*/ 524021 h 1220812"/>
                    <a:gd name="connsiteX507" fmla="*/ 798380 w 3385376"/>
                    <a:gd name="connsiteY507" fmla="*/ 528522 h 1220812"/>
                    <a:gd name="connsiteX508" fmla="*/ 801727 w 3385376"/>
                    <a:gd name="connsiteY508" fmla="*/ 538524 h 1220812"/>
                    <a:gd name="connsiteX509" fmla="*/ 811399 w 3385376"/>
                    <a:gd name="connsiteY509" fmla="*/ 554103 h 1220812"/>
                    <a:gd name="connsiteX510" fmla="*/ 825267 w 3385376"/>
                    <a:gd name="connsiteY510" fmla="*/ 595999 h 1220812"/>
                    <a:gd name="connsiteX511" fmla="*/ 860052 w 3385376"/>
                    <a:gd name="connsiteY511" fmla="*/ 604277 h 1220812"/>
                    <a:gd name="connsiteX512" fmla="*/ 843572 w 3385376"/>
                    <a:gd name="connsiteY512" fmla="*/ 626359 h 1220812"/>
                    <a:gd name="connsiteX513" fmla="*/ 854056 w 3385376"/>
                    <a:gd name="connsiteY513" fmla="*/ 640595 h 1220812"/>
                    <a:gd name="connsiteX514" fmla="*/ 825774 w 3385376"/>
                    <a:gd name="connsiteY514" fmla="*/ 632774 h 1220812"/>
                    <a:gd name="connsiteX515" fmla="*/ 791408 w 3385376"/>
                    <a:gd name="connsiteY515" fmla="*/ 609550 h 1220812"/>
                    <a:gd name="connsiteX516" fmla="*/ 793221 w 3385376"/>
                    <a:gd name="connsiteY516" fmla="*/ 595200 h 1220812"/>
                    <a:gd name="connsiteX517" fmla="*/ 786971 w 3385376"/>
                    <a:gd name="connsiteY517" fmla="*/ 591626 h 1220812"/>
                    <a:gd name="connsiteX518" fmla="*/ 785602 w 3385376"/>
                    <a:gd name="connsiteY518" fmla="*/ 585021 h 1220812"/>
                    <a:gd name="connsiteX519" fmla="*/ 774409 w 3385376"/>
                    <a:gd name="connsiteY519" fmla="*/ 570202 h 1220812"/>
                    <a:gd name="connsiteX520" fmla="*/ 757853 w 3385376"/>
                    <a:gd name="connsiteY520" fmla="*/ 570595 h 1220812"/>
                    <a:gd name="connsiteX521" fmla="*/ 734693 w 3385376"/>
                    <a:gd name="connsiteY521" fmla="*/ 566222 h 1220812"/>
                    <a:gd name="connsiteX522" fmla="*/ 753746 w 3385376"/>
                    <a:gd name="connsiteY522" fmla="*/ 542326 h 1220812"/>
                    <a:gd name="connsiteX523" fmla="*/ 751895 w 3385376"/>
                    <a:gd name="connsiteY523" fmla="*/ 535164 h 1220812"/>
                    <a:gd name="connsiteX524" fmla="*/ 759425 w 3385376"/>
                    <a:gd name="connsiteY524" fmla="*/ 529118 h 1220812"/>
                    <a:gd name="connsiteX525" fmla="*/ 776513 w 3385376"/>
                    <a:gd name="connsiteY525" fmla="*/ 536242 h 1220812"/>
                    <a:gd name="connsiteX526" fmla="*/ 784652 w 3385376"/>
                    <a:gd name="connsiteY526" fmla="*/ 546345 h 1220812"/>
                    <a:gd name="connsiteX527" fmla="*/ 776006 w 3385376"/>
                    <a:gd name="connsiteY527" fmla="*/ 527127 h 1220812"/>
                    <a:gd name="connsiteX528" fmla="*/ 789266 w 3385376"/>
                    <a:gd name="connsiteY528" fmla="*/ 524021 h 1220812"/>
                    <a:gd name="connsiteX529" fmla="*/ 789266 w 3385376"/>
                    <a:gd name="connsiteY529" fmla="*/ 524021 h 1220812"/>
                    <a:gd name="connsiteX530" fmla="*/ 2412317 w 3385376"/>
                    <a:gd name="connsiteY530" fmla="*/ 519813 h 1220812"/>
                    <a:gd name="connsiteX531" fmla="*/ 2431497 w 3385376"/>
                    <a:gd name="connsiteY531" fmla="*/ 529777 h 1220812"/>
                    <a:gd name="connsiteX532" fmla="*/ 2421026 w 3385376"/>
                    <a:gd name="connsiteY532" fmla="*/ 538549 h 1220812"/>
                    <a:gd name="connsiteX533" fmla="*/ 2387472 w 3385376"/>
                    <a:gd name="connsiteY533" fmla="*/ 540818 h 1220812"/>
                    <a:gd name="connsiteX534" fmla="*/ 2382591 w 3385376"/>
                    <a:gd name="connsiteY534" fmla="*/ 518558 h 1220812"/>
                    <a:gd name="connsiteX535" fmla="*/ 2396104 w 3385376"/>
                    <a:gd name="connsiteY535" fmla="*/ 512955 h 1220812"/>
                    <a:gd name="connsiteX536" fmla="*/ 2412317 w 3385376"/>
                    <a:gd name="connsiteY536" fmla="*/ 519813 h 1220812"/>
                    <a:gd name="connsiteX537" fmla="*/ 2412317 w 3385376"/>
                    <a:gd name="connsiteY537" fmla="*/ 519813 h 1220812"/>
                    <a:gd name="connsiteX538" fmla="*/ 2070064 w 3385376"/>
                    <a:gd name="connsiteY538" fmla="*/ 499492 h 1220812"/>
                    <a:gd name="connsiteX539" fmla="*/ 2072358 w 3385376"/>
                    <a:gd name="connsiteY539" fmla="*/ 517100 h 1220812"/>
                    <a:gd name="connsiteX540" fmla="*/ 2086886 w 3385376"/>
                    <a:gd name="connsiteY540" fmla="*/ 507035 h 1220812"/>
                    <a:gd name="connsiteX541" fmla="*/ 2081967 w 3385376"/>
                    <a:gd name="connsiteY541" fmla="*/ 525670 h 1220812"/>
                    <a:gd name="connsiteX542" fmla="*/ 2073157 w 3385376"/>
                    <a:gd name="connsiteY542" fmla="*/ 534581 h 1220812"/>
                    <a:gd name="connsiteX543" fmla="*/ 2071940 w 3385376"/>
                    <a:gd name="connsiteY543" fmla="*/ 531704 h 1220812"/>
                    <a:gd name="connsiteX544" fmla="*/ 2064867 w 3385376"/>
                    <a:gd name="connsiteY544" fmla="*/ 528319 h 1220812"/>
                    <a:gd name="connsiteX545" fmla="*/ 2067541 w 3385376"/>
                    <a:gd name="connsiteY545" fmla="*/ 515592 h 1220812"/>
                    <a:gd name="connsiteX546" fmla="*/ 2065970 w 3385376"/>
                    <a:gd name="connsiteY546" fmla="*/ 510128 h 1220812"/>
                    <a:gd name="connsiteX547" fmla="*/ 2054662 w 3385376"/>
                    <a:gd name="connsiteY547" fmla="*/ 525505 h 1220812"/>
                    <a:gd name="connsiteX548" fmla="*/ 2041592 w 3385376"/>
                    <a:gd name="connsiteY548" fmla="*/ 512740 h 1220812"/>
                    <a:gd name="connsiteX549" fmla="*/ 2070064 w 3385376"/>
                    <a:gd name="connsiteY549" fmla="*/ 499492 h 1220812"/>
                    <a:gd name="connsiteX550" fmla="*/ 2070064 w 3385376"/>
                    <a:gd name="connsiteY550" fmla="*/ 499492 h 1220812"/>
                    <a:gd name="connsiteX551" fmla="*/ 274916 w 3385376"/>
                    <a:gd name="connsiteY551" fmla="*/ 483647 h 1220812"/>
                    <a:gd name="connsiteX552" fmla="*/ 276475 w 3385376"/>
                    <a:gd name="connsiteY552" fmla="*/ 488337 h 1220812"/>
                    <a:gd name="connsiteX553" fmla="*/ 273990 w 3385376"/>
                    <a:gd name="connsiteY553" fmla="*/ 487361 h 1220812"/>
                    <a:gd name="connsiteX554" fmla="*/ 293208 w 3385376"/>
                    <a:gd name="connsiteY554" fmla="*/ 521601 h 1220812"/>
                    <a:gd name="connsiteX555" fmla="*/ 290178 w 3385376"/>
                    <a:gd name="connsiteY555" fmla="*/ 519597 h 1220812"/>
                    <a:gd name="connsiteX556" fmla="*/ 301283 w 3385376"/>
                    <a:gd name="connsiteY556" fmla="*/ 542352 h 1220812"/>
                    <a:gd name="connsiteX557" fmla="*/ 297759 w 3385376"/>
                    <a:gd name="connsiteY557" fmla="*/ 533263 h 1220812"/>
                    <a:gd name="connsiteX558" fmla="*/ 295769 w 3385376"/>
                    <a:gd name="connsiteY558" fmla="*/ 534264 h 1220812"/>
                    <a:gd name="connsiteX559" fmla="*/ 279910 w 3385376"/>
                    <a:gd name="connsiteY559" fmla="*/ 542441 h 1220812"/>
                    <a:gd name="connsiteX560" fmla="*/ 254646 w 3385376"/>
                    <a:gd name="connsiteY560" fmla="*/ 509697 h 1220812"/>
                    <a:gd name="connsiteX561" fmla="*/ 255102 w 3385376"/>
                    <a:gd name="connsiteY561" fmla="*/ 488388 h 1220812"/>
                    <a:gd name="connsiteX562" fmla="*/ 274916 w 3385376"/>
                    <a:gd name="connsiteY562" fmla="*/ 483647 h 1220812"/>
                    <a:gd name="connsiteX563" fmla="*/ 274916 w 3385376"/>
                    <a:gd name="connsiteY563" fmla="*/ 483647 h 1220812"/>
                    <a:gd name="connsiteX564" fmla="*/ 2641788 w 3385376"/>
                    <a:gd name="connsiteY564" fmla="*/ 482620 h 1220812"/>
                    <a:gd name="connsiteX565" fmla="*/ 2633358 w 3385376"/>
                    <a:gd name="connsiteY565" fmla="*/ 508759 h 1220812"/>
                    <a:gd name="connsiteX566" fmla="*/ 2625258 w 3385376"/>
                    <a:gd name="connsiteY566" fmla="*/ 494054 h 1220812"/>
                    <a:gd name="connsiteX567" fmla="*/ 2627045 w 3385376"/>
                    <a:gd name="connsiteY567" fmla="*/ 483875 h 1220812"/>
                    <a:gd name="connsiteX568" fmla="*/ 2641788 w 3385376"/>
                    <a:gd name="connsiteY568" fmla="*/ 482620 h 1220812"/>
                    <a:gd name="connsiteX569" fmla="*/ 2641788 w 3385376"/>
                    <a:gd name="connsiteY569" fmla="*/ 482620 h 1220812"/>
                    <a:gd name="connsiteX570" fmla="*/ 2973647 w 3385376"/>
                    <a:gd name="connsiteY570" fmla="*/ 462680 h 1220812"/>
                    <a:gd name="connsiteX571" fmla="*/ 2986310 w 3385376"/>
                    <a:gd name="connsiteY571" fmla="*/ 464531 h 1220812"/>
                    <a:gd name="connsiteX572" fmla="*/ 2999013 w 3385376"/>
                    <a:gd name="connsiteY572" fmla="*/ 469170 h 1220812"/>
                    <a:gd name="connsiteX573" fmla="*/ 3013083 w 3385376"/>
                    <a:gd name="connsiteY573" fmla="*/ 472377 h 1220812"/>
                    <a:gd name="connsiteX574" fmla="*/ 3025303 w 3385376"/>
                    <a:gd name="connsiteY574" fmla="*/ 485878 h 1220812"/>
                    <a:gd name="connsiteX575" fmla="*/ 3034938 w 3385376"/>
                    <a:gd name="connsiteY575" fmla="*/ 491595 h 1220812"/>
                    <a:gd name="connsiteX576" fmla="*/ 3039666 w 3385376"/>
                    <a:gd name="connsiteY576" fmla="*/ 500215 h 1220812"/>
                    <a:gd name="connsiteX577" fmla="*/ 3004451 w 3385376"/>
                    <a:gd name="connsiteY577" fmla="*/ 498212 h 1220812"/>
                    <a:gd name="connsiteX578" fmla="*/ 2999469 w 3385376"/>
                    <a:gd name="connsiteY578" fmla="*/ 477435 h 1220812"/>
                    <a:gd name="connsiteX579" fmla="*/ 2993194 w 3385376"/>
                    <a:gd name="connsiteY579" fmla="*/ 477879 h 1220812"/>
                    <a:gd name="connsiteX580" fmla="*/ 2978172 w 3385376"/>
                    <a:gd name="connsiteY580" fmla="*/ 470222 h 1220812"/>
                    <a:gd name="connsiteX581" fmla="*/ 2978667 w 3385376"/>
                    <a:gd name="connsiteY581" fmla="*/ 473721 h 1220812"/>
                    <a:gd name="connsiteX582" fmla="*/ 2973647 w 3385376"/>
                    <a:gd name="connsiteY582" fmla="*/ 462680 h 1220812"/>
                    <a:gd name="connsiteX583" fmla="*/ 2973647 w 3385376"/>
                    <a:gd name="connsiteY583" fmla="*/ 462680 h 1220812"/>
                    <a:gd name="connsiteX584" fmla="*/ 2752872 w 3385376"/>
                    <a:gd name="connsiteY584" fmla="*/ 440027 h 1220812"/>
                    <a:gd name="connsiteX585" fmla="*/ 2796961 w 3385376"/>
                    <a:gd name="connsiteY585" fmla="*/ 451106 h 1220812"/>
                    <a:gd name="connsiteX586" fmla="*/ 2829616 w 3385376"/>
                    <a:gd name="connsiteY586" fmla="*/ 468473 h 1220812"/>
                    <a:gd name="connsiteX587" fmla="*/ 2881083 w 3385376"/>
                    <a:gd name="connsiteY587" fmla="*/ 478906 h 1220812"/>
                    <a:gd name="connsiteX588" fmla="*/ 2885050 w 3385376"/>
                    <a:gd name="connsiteY588" fmla="*/ 506465 h 1220812"/>
                    <a:gd name="connsiteX589" fmla="*/ 2880766 w 3385376"/>
                    <a:gd name="connsiteY589" fmla="*/ 533276 h 1220812"/>
                    <a:gd name="connsiteX590" fmla="*/ 2874820 w 3385376"/>
                    <a:gd name="connsiteY590" fmla="*/ 538283 h 1220812"/>
                    <a:gd name="connsiteX591" fmla="*/ 2879118 w 3385376"/>
                    <a:gd name="connsiteY591" fmla="*/ 557107 h 1220812"/>
                    <a:gd name="connsiteX592" fmla="*/ 2881387 w 3385376"/>
                    <a:gd name="connsiteY592" fmla="*/ 585997 h 1220812"/>
                    <a:gd name="connsiteX593" fmla="*/ 2893252 w 3385376"/>
                    <a:gd name="connsiteY593" fmla="*/ 601095 h 1220812"/>
                    <a:gd name="connsiteX594" fmla="*/ 2900617 w 3385376"/>
                    <a:gd name="connsiteY594" fmla="*/ 619970 h 1220812"/>
                    <a:gd name="connsiteX595" fmla="*/ 2905333 w 3385376"/>
                    <a:gd name="connsiteY595" fmla="*/ 613886 h 1220812"/>
                    <a:gd name="connsiteX596" fmla="*/ 2909351 w 3385376"/>
                    <a:gd name="connsiteY596" fmla="*/ 597761 h 1220812"/>
                    <a:gd name="connsiteX597" fmla="*/ 2908020 w 3385376"/>
                    <a:gd name="connsiteY597" fmla="*/ 596176 h 1220812"/>
                    <a:gd name="connsiteX598" fmla="*/ 2931345 w 3385376"/>
                    <a:gd name="connsiteY598" fmla="*/ 627817 h 1220812"/>
                    <a:gd name="connsiteX599" fmla="*/ 2939686 w 3385376"/>
                    <a:gd name="connsiteY599" fmla="*/ 652726 h 1220812"/>
                    <a:gd name="connsiteX600" fmla="*/ 2971377 w 3385376"/>
                    <a:gd name="connsiteY600" fmla="*/ 662830 h 1220812"/>
                    <a:gd name="connsiteX601" fmla="*/ 2985816 w 3385376"/>
                    <a:gd name="connsiteY601" fmla="*/ 651535 h 1220812"/>
                    <a:gd name="connsiteX602" fmla="*/ 2996135 w 3385376"/>
                    <a:gd name="connsiteY602" fmla="*/ 645742 h 1220812"/>
                    <a:gd name="connsiteX603" fmla="*/ 2997491 w 3385376"/>
                    <a:gd name="connsiteY603" fmla="*/ 640595 h 1220812"/>
                    <a:gd name="connsiteX604" fmla="*/ 3013628 w 3385376"/>
                    <a:gd name="connsiteY604" fmla="*/ 621961 h 1220812"/>
                    <a:gd name="connsiteX605" fmla="*/ 3036636 w 3385376"/>
                    <a:gd name="connsiteY605" fmla="*/ 601310 h 1220812"/>
                    <a:gd name="connsiteX606" fmla="*/ 3055626 w 3385376"/>
                    <a:gd name="connsiteY606" fmla="*/ 575564 h 1220812"/>
                    <a:gd name="connsiteX607" fmla="*/ 3087646 w 3385376"/>
                    <a:gd name="connsiteY607" fmla="*/ 571483 h 1220812"/>
                    <a:gd name="connsiteX608" fmla="*/ 3104582 w 3385376"/>
                    <a:gd name="connsiteY608" fmla="*/ 561481 h 1220812"/>
                    <a:gd name="connsiteX609" fmla="*/ 3104658 w 3385376"/>
                    <a:gd name="connsiteY609" fmla="*/ 544482 h 1220812"/>
                    <a:gd name="connsiteX610" fmla="*/ 3141205 w 3385376"/>
                    <a:gd name="connsiteY610" fmla="*/ 526950 h 1220812"/>
                    <a:gd name="connsiteX611" fmla="*/ 3166710 w 3385376"/>
                    <a:gd name="connsiteY611" fmla="*/ 530385 h 1220812"/>
                    <a:gd name="connsiteX612" fmla="*/ 3209088 w 3385376"/>
                    <a:gd name="connsiteY612" fmla="*/ 544976 h 1220812"/>
                    <a:gd name="connsiteX613" fmla="*/ 3223450 w 3385376"/>
                    <a:gd name="connsiteY613" fmla="*/ 555738 h 1220812"/>
                    <a:gd name="connsiteX614" fmla="*/ 3244100 w 3385376"/>
                    <a:gd name="connsiteY614" fmla="*/ 561937 h 1220812"/>
                    <a:gd name="connsiteX615" fmla="*/ 3290180 w 3385376"/>
                    <a:gd name="connsiteY615" fmla="*/ 584375 h 1220812"/>
                    <a:gd name="connsiteX616" fmla="*/ 3323645 w 3385376"/>
                    <a:gd name="connsiteY616" fmla="*/ 585186 h 1220812"/>
                    <a:gd name="connsiteX617" fmla="*/ 3338870 w 3385376"/>
                    <a:gd name="connsiteY617" fmla="*/ 591372 h 1220812"/>
                    <a:gd name="connsiteX618" fmla="*/ 3361409 w 3385376"/>
                    <a:gd name="connsiteY618" fmla="*/ 595834 h 1220812"/>
                    <a:gd name="connsiteX619" fmla="*/ 3364362 w 3385376"/>
                    <a:gd name="connsiteY619" fmla="*/ 607357 h 1220812"/>
                    <a:gd name="connsiteX620" fmla="*/ 3383973 w 3385376"/>
                    <a:gd name="connsiteY620" fmla="*/ 605772 h 1220812"/>
                    <a:gd name="connsiteX621" fmla="*/ 3384151 w 3385376"/>
                    <a:gd name="connsiteY621" fmla="*/ 768413 h 1220812"/>
                    <a:gd name="connsiteX622" fmla="*/ 3384176 w 3385376"/>
                    <a:gd name="connsiteY622" fmla="*/ 841936 h 1220812"/>
                    <a:gd name="connsiteX623" fmla="*/ 3379448 w 3385376"/>
                    <a:gd name="connsiteY623" fmla="*/ 888586 h 1220812"/>
                    <a:gd name="connsiteX624" fmla="*/ 3374960 w 3385376"/>
                    <a:gd name="connsiteY624" fmla="*/ 907448 h 1220812"/>
                    <a:gd name="connsiteX625" fmla="*/ 3379029 w 3385376"/>
                    <a:gd name="connsiteY625" fmla="*/ 917336 h 1220812"/>
                    <a:gd name="connsiteX626" fmla="*/ 3384201 w 3385376"/>
                    <a:gd name="connsiteY626" fmla="*/ 934044 h 1220812"/>
                    <a:gd name="connsiteX627" fmla="*/ 3384176 w 3385376"/>
                    <a:gd name="connsiteY627" fmla="*/ 1085896 h 1220812"/>
                    <a:gd name="connsiteX628" fmla="*/ 3350368 w 3385376"/>
                    <a:gd name="connsiteY628" fmla="*/ 1052569 h 1220812"/>
                    <a:gd name="connsiteX629" fmla="*/ 3327360 w 3385376"/>
                    <a:gd name="connsiteY629" fmla="*/ 1031869 h 1220812"/>
                    <a:gd name="connsiteX630" fmla="*/ 3310284 w 3385376"/>
                    <a:gd name="connsiteY630" fmla="*/ 1016720 h 1220812"/>
                    <a:gd name="connsiteX631" fmla="*/ 3314037 w 3385376"/>
                    <a:gd name="connsiteY631" fmla="*/ 1010521 h 1220812"/>
                    <a:gd name="connsiteX632" fmla="*/ 3323189 w 3385376"/>
                    <a:gd name="connsiteY632" fmla="*/ 995449 h 1220812"/>
                    <a:gd name="connsiteX633" fmla="*/ 3313086 w 3385376"/>
                    <a:gd name="connsiteY633" fmla="*/ 1009469 h 1220812"/>
                    <a:gd name="connsiteX634" fmla="*/ 3282333 w 3385376"/>
                    <a:gd name="connsiteY634" fmla="*/ 1013995 h 1220812"/>
                    <a:gd name="connsiteX635" fmla="*/ 3258983 w 3385376"/>
                    <a:gd name="connsiteY635" fmla="*/ 1016771 h 1220812"/>
                    <a:gd name="connsiteX636" fmla="*/ 3254229 w 3385376"/>
                    <a:gd name="connsiteY636" fmla="*/ 1002510 h 1220812"/>
                    <a:gd name="connsiteX637" fmla="*/ 3259299 w 3385376"/>
                    <a:gd name="connsiteY637" fmla="*/ 1002028 h 1220812"/>
                    <a:gd name="connsiteX638" fmla="*/ 3254761 w 3385376"/>
                    <a:gd name="connsiteY638" fmla="*/ 1006947 h 1220812"/>
                    <a:gd name="connsiteX639" fmla="*/ 3234821 w 3385376"/>
                    <a:gd name="connsiteY639" fmla="*/ 1024060 h 1220812"/>
                    <a:gd name="connsiteX640" fmla="*/ 3226226 w 3385376"/>
                    <a:gd name="connsiteY640" fmla="*/ 1013487 h 1220812"/>
                    <a:gd name="connsiteX641" fmla="*/ 3232172 w 3385376"/>
                    <a:gd name="connsiteY641" fmla="*/ 1009875 h 1220812"/>
                    <a:gd name="connsiteX642" fmla="*/ 3231424 w 3385376"/>
                    <a:gd name="connsiteY642" fmla="*/ 1004576 h 1220812"/>
                    <a:gd name="connsiteX643" fmla="*/ 3231589 w 3385376"/>
                    <a:gd name="connsiteY643" fmla="*/ 997553 h 1220812"/>
                    <a:gd name="connsiteX644" fmla="*/ 3235518 w 3385376"/>
                    <a:gd name="connsiteY644" fmla="*/ 995474 h 1220812"/>
                    <a:gd name="connsiteX645" fmla="*/ 3239537 w 3385376"/>
                    <a:gd name="connsiteY645" fmla="*/ 983457 h 1220812"/>
                    <a:gd name="connsiteX646" fmla="*/ 3241996 w 3385376"/>
                    <a:gd name="connsiteY646" fmla="*/ 968803 h 1220812"/>
                    <a:gd name="connsiteX647" fmla="*/ 3233579 w 3385376"/>
                    <a:gd name="connsiteY647" fmla="*/ 965025 h 1220812"/>
                    <a:gd name="connsiteX648" fmla="*/ 3228052 w 3385376"/>
                    <a:gd name="connsiteY648" fmla="*/ 954884 h 1220812"/>
                    <a:gd name="connsiteX649" fmla="*/ 3213461 w 3385376"/>
                    <a:gd name="connsiteY649" fmla="*/ 944667 h 1220812"/>
                    <a:gd name="connsiteX650" fmla="*/ 3255814 w 3385376"/>
                    <a:gd name="connsiteY650" fmla="*/ 941244 h 1220812"/>
                    <a:gd name="connsiteX651" fmla="*/ 3233300 w 3385376"/>
                    <a:gd name="connsiteY651" fmla="*/ 941510 h 1220812"/>
                    <a:gd name="connsiteX652" fmla="*/ 3207110 w 3385376"/>
                    <a:gd name="connsiteY652" fmla="*/ 922001 h 1220812"/>
                    <a:gd name="connsiteX653" fmla="*/ 3233325 w 3385376"/>
                    <a:gd name="connsiteY653" fmla="*/ 918553 h 1220812"/>
                    <a:gd name="connsiteX654" fmla="*/ 3252251 w 3385376"/>
                    <a:gd name="connsiteY654" fmla="*/ 928073 h 1220812"/>
                    <a:gd name="connsiteX655" fmla="*/ 3224933 w 3385376"/>
                    <a:gd name="connsiteY655" fmla="*/ 915726 h 1220812"/>
                    <a:gd name="connsiteX656" fmla="*/ 3225428 w 3385376"/>
                    <a:gd name="connsiteY656" fmla="*/ 908349 h 1220812"/>
                    <a:gd name="connsiteX657" fmla="*/ 3192976 w 3385376"/>
                    <a:gd name="connsiteY657" fmla="*/ 872601 h 1220812"/>
                    <a:gd name="connsiteX658" fmla="*/ 3193965 w 3385376"/>
                    <a:gd name="connsiteY658" fmla="*/ 844104 h 1220812"/>
                    <a:gd name="connsiteX659" fmla="*/ 3175761 w 3385376"/>
                    <a:gd name="connsiteY659" fmla="*/ 839553 h 1220812"/>
                    <a:gd name="connsiteX660" fmla="*/ 3190922 w 3385376"/>
                    <a:gd name="connsiteY660" fmla="*/ 832530 h 1220812"/>
                    <a:gd name="connsiteX661" fmla="*/ 3170247 w 3385376"/>
                    <a:gd name="connsiteY661" fmla="*/ 836916 h 1220812"/>
                    <a:gd name="connsiteX662" fmla="*/ 3172199 w 3385376"/>
                    <a:gd name="connsiteY662" fmla="*/ 821882 h 1220812"/>
                    <a:gd name="connsiteX663" fmla="*/ 3168637 w 3385376"/>
                    <a:gd name="connsiteY663" fmla="*/ 812223 h 1220812"/>
                    <a:gd name="connsiteX664" fmla="*/ 3166051 w 3385376"/>
                    <a:gd name="connsiteY664" fmla="*/ 814251 h 1220812"/>
                    <a:gd name="connsiteX665" fmla="*/ 3158534 w 3385376"/>
                    <a:gd name="connsiteY665" fmla="*/ 806708 h 1220812"/>
                    <a:gd name="connsiteX666" fmla="*/ 3149914 w 3385376"/>
                    <a:gd name="connsiteY666" fmla="*/ 801156 h 1220812"/>
                    <a:gd name="connsiteX667" fmla="*/ 3131660 w 3385376"/>
                    <a:gd name="connsiteY667" fmla="*/ 791002 h 1220812"/>
                    <a:gd name="connsiteX668" fmla="*/ 3117487 w 3385376"/>
                    <a:gd name="connsiteY668" fmla="*/ 784397 h 1220812"/>
                    <a:gd name="connsiteX669" fmla="*/ 3112949 w 3385376"/>
                    <a:gd name="connsiteY669" fmla="*/ 782407 h 1220812"/>
                    <a:gd name="connsiteX670" fmla="*/ 3110807 w 3385376"/>
                    <a:gd name="connsiteY670" fmla="*/ 777818 h 1220812"/>
                    <a:gd name="connsiteX671" fmla="*/ 3101248 w 3385376"/>
                    <a:gd name="connsiteY671" fmla="*/ 778427 h 1220812"/>
                    <a:gd name="connsiteX672" fmla="*/ 3097674 w 3385376"/>
                    <a:gd name="connsiteY672" fmla="*/ 774345 h 1220812"/>
                    <a:gd name="connsiteX673" fmla="*/ 3088610 w 3385376"/>
                    <a:gd name="connsiteY673" fmla="*/ 773597 h 1220812"/>
                    <a:gd name="connsiteX674" fmla="*/ 3079369 w 3385376"/>
                    <a:gd name="connsiteY674" fmla="*/ 777184 h 1220812"/>
                    <a:gd name="connsiteX675" fmla="*/ 3075312 w 3385376"/>
                    <a:gd name="connsiteY675" fmla="*/ 773597 h 1220812"/>
                    <a:gd name="connsiteX676" fmla="*/ 3048780 w 3385376"/>
                    <a:gd name="connsiteY676" fmla="*/ 761478 h 1220812"/>
                    <a:gd name="connsiteX677" fmla="*/ 3027040 w 3385376"/>
                    <a:gd name="connsiteY677" fmla="*/ 754620 h 1220812"/>
                    <a:gd name="connsiteX678" fmla="*/ 3010523 w 3385376"/>
                    <a:gd name="connsiteY678" fmla="*/ 745658 h 1220812"/>
                    <a:gd name="connsiteX679" fmla="*/ 2960831 w 3385376"/>
                    <a:gd name="connsiteY679" fmla="*/ 742654 h 1220812"/>
                    <a:gd name="connsiteX680" fmla="*/ 2934527 w 3385376"/>
                    <a:gd name="connsiteY680" fmla="*/ 727924 h 1220812"/>
                    <a:gd name="connsiteX681" fmla="*/ 2920595 w 3385376"/>
                    <a:gd name="connsiteY681" fmla="*/ 718872 h 1220812"/>
                    <a:gd name="connsiteX682" fmla="*/ 2916691 w 3385376"/>
                    <a:gd name="connsiteY682" fmla="*/ 718137 h 1220812"/>
                    <a:gd name="connsiteX683" fmla="*/ 2919556 w 3385376"/>
                    <a:gd name="connsiteY683" fmla="*/ 713409 h 1220812"/>
                    <a:gd name="connsiteX684" fmla="*/ 2920380 w 3385376"/>
                    <a:gd name="connsiteY684" fmla="*/ 704371 h 1220812"/>
                    <a:gd name="connsiteX685" fmla="*/ 2939927 w 3385376"/>
                    <a:gd name="connsiteY685" fmla="*/ 704130 h 1220812"/>
                    <a:gd name="connsiteX686" fmla="*/ 2915766 w 3385376"/>
                    <a:gd name="connsiteY686" fmla="*/ 704459 h 1220812"/>
                    <a:gd name="connsiteX687" fmla="*/ 2902684 w 3385376"/>
                    <a:gd name="connsiteY687" fmla="*/ 707210 h 1220812"/>
                    <a:gd name="connsiteX688" fmla="*/ 2893024 w 3385376"/>
                    <a:gd name="connsiteY688" fmla="*/ 699110 h 1220812"/>
                    <a:gd name="connsiteX689" fmla="*/ 2891047 w 3385376"/>
                    <a:gd name="connsiteY689" fmla="*/ 704700 h 1220812"/>
                    <a:gd name="connsiteX690" fmla="*/ 2878813 w 3385376"/>
                    <a:gd name="connsiteY690" fmla="*/ 701645 h 1220812"/>
                    <a:gd name="connsiteX691" fmla="*/ 2877799 w 3385376"/>
                    <a:gd name="connsiteY691" fmla="*/ 690008 h 1220812"/>
                    <a:gd name="connsiteX692" fmla="*/ 2872665 w 3385376"/>
                    <a:gd name="connsiteY692" fmla="*/ 693925 h 1220812"/>
                    <a:gd name="connsiteX693" fmla="*/ 2861333 w 3385376"/>
                    <a:gd name="connsiteY693" fmla="*/ 687840 h 1220812"/>
                    <a:gd name="connsiteX694" fmla="*/ 2855780 w 3385376"/>
                    <a:gd name="connsiteY694" fmla="*/ 688310 h 1220812"/>
                    <a:gd name="connsiteX695" fmla="*/ 2846476 w 3385376"/>
                    <a:gd name="connsiteY695" fmla="*/ 684697 h 1220812"/>
                    <a:gd name="connsiteX696" fmla="*/ 2841887 w 3385376"/>
                    <a:gd name="connsiteY696" fmla="*/ 670359 h 1220812"/>
                    <a:gd name="connsiteX697" fmla="*/ 2846273 w 3385376"/>
                    <a:gd name="connsiteY697" fmla="*/ 665340 h 1220812"/>
                    <a:gd name="connsiteX698" fmla="*/ 2845550 w 3385376"/>
                    <a:gd name="connsiteY698" fmla="*/ 651053 h 1220812"/>
                    <a:gd name="connsiteX699" fmla="*/ 2846919 w 3385376"/>
                    <a:gd name="connsiteY699" fmla="*/ 652245 h 1220812"/>
                    <a:gd name="connsiteX700" fmla="*/ 2863196 w 3385376"/>
                    <a:gd name="connsiteY700" fmla="*/ 643587 h 1220812"/>
                    <a:gd name="connsiteX701" fmla="*/ 2854906 w 3385376"/>
                    <a:gd name="connsiteY701" fmla="*/ 630352 h 1220812"/>
                    <a:gd name="connsiteX702" fmla="*/ 2843180 w 3385376"/>
                    <a:gd name="connsiteY702" fmla="*/ 647859 h 1220812"/>
                    <a:gd name="connsiteX703" fmla="*/ 2832468 w 3385376"/>
                    <a:gd name="connsiteY703" fmla="*/ 662994 h 1220812"/>
                    <a:gd name="connsiteX704" fmla="*/ 2830731 w 3385376"/>
                    <a:gd name="connsiteY704" fmla="*/ 667368 h 1220812"/>
                    <a:gd name="connsiteX705" fmla="*/ 2833051 w 3385376"/>
                    <a:gd name="connsiteY705" fmla="*/ 680437 h 1220812"/>
                    <a:gd name="connsiteX706" fmla="*/ 2824710 w 3385376"/>
                    <a:gd name="connsiteY706" fmla="*/ 688322 h 1220812"/>
                    <a:gd name="connsiteX707" fmla="*/ 2826472 w 3385376"/>
                    <a:gd name="connsiteY707" fmla="*/ 695573 h 1220812"/>
                    <a:gd name="connsiteX708" fmla="*/ 2823189 w 3385376"/>
                    <a:gd name="connsiteY708" fmla="*/ 703141 h 1220812"/>
                    <a:gd name="connsiteX709" fmla="*/ 2808345 w 3385376"/>
                    <a:gd name="connsiteY709" fmla="*/ 714486 h 1220812"/>
                    <a:gd name="connsiteX710" fmla="*/ 2792993 w 3385376"/>
                    <a:gd name="connsiteY710" fmla="*/ 717098 h 1220812"/>
                    <a:gd name="connsiteX711" fmla="*/ 2779429 w 3385376"/>
                    <a:gd name="connsiteY711" fmla="*/ 702748 h 1220812"/>
                    <a:gd name="connsiteX712" fmla="*/ 2781597 w 3385376"/>
                    <a:gd name="connsiteY712" fmla="*/ 704193 h 1220812"/>
                    <a:gd name="connsiteX713" fmla="*/ 2775487 w 3385376"/>
                    <a:gd name="connsiteY713" fmla="*/ 682136 h 1220812"/>
                    <a:gd name="connsiteX714" fmla="*/ 2787948 w 3385376"/>
                    <a:gd name="connsiteY714" fmla="*/ 677141 h 1220812"/>
                    <a:gd name="connsiteX715" fmla="*/ 2781648 w 3385376"/>
                    <a:gd name="connsiteY715" fmla="*/ 668230 h 1220812"/>
                    <a:gd name="connsiteX716" fmla="*/ 2780837 w 3385376"/>
                    <a:gd name="connsiteY716" fmla="*/ 656694 h 1220812"/>
                    <a:gd name="connsiteX717" fmla="*/ 2774511 w 3385376"/>
                    <a:gd name="connsiteY717" fmla="*/ 656212 h 1220812"/>
                    <a:gd name="connsiteX718" fmla="*/ 2767425 w 3385376"/>
                    <a:gd name="connsiteY718" fmla="*/ 655249 h 1220812"/>
                    <a:gd name="connsiteX719" fmla="*/ 2762887 w 3385376"/>
                    <a:gd name="connsiteY719" fmla="*/ 645615 h 1220812"/>
                    <a:gd name="connsiteX720" fmla="*/ 2734479 w 3385376"/>
                    <a:gd name="connsiteY720" fmla="*/ 629034 h 1220812"/>
                    <a:gd name="connsiteX721" fmla="*/ 2728432 w 3385376"/>
                    <a:gd name="connsiteY721" fmla="*/ 630479 h 1220812"/>
                    <a:gd name="connsiteX722" fmla="*/ 2718798 w 3385376"/>
                    <a:gd name="connsiteY722" fmla="*/ 629997 h 1220812"/>
                    <a:gd name="connsiteX723" fmla="*/ 2722334 w 3385376"/>
                    <a:gd name="connsiteY723" fmla="*/ 624458 h 1220812"/>
                    <a:gd name="connsiteX724" fmla="*/ 2719812 w 3385376"/>
                    <a:gd name="connsiteY724" fmla="*/ 623456 h 1220812"/>
                    <a:gd name="connsiteX725" fmla="*/ 2723856 w 3385376"/>
                    <a:gd name="connsiteY725" fmla="*/ 620668 h 1220812"/>
                    <a:gd name="connsiteX726" fmla="*/ 2717454 w 3385376"/>
                    <a:gd name="connsiteY726" fmla="*/ 619552 h 1220812"/>
                    <a:gd name="connsiteX727" fmla="*/ 2733959 w 3385376"/>
                    <a:gd name="connsiteY727" fmla="*/ 614887 h 1220812"/>
                    <a:gd name="connsiteX728" fmla="*/ 2728736 w 3385376"/>
                    <a:gd name="connsiteY728" fmla="*/ 614494 h 1220812"/>
                    <a:gd name="connsiteX729" fmla="*/ 2751262 w 3385376"/>
                    <a:gd name="connsiteY729" fmla="*/ 612859 h 1220812"/>
                    <a:gd name="connsiteX730" fmla="*/ 2752213 w 3385376"/>
                    <a:gd name="connsiteY730" fmla="*/ 612859 h 1220812"/>
                    <a:gd name="connsiteX731" fmla="*/ 2751681 w 3385376"/>
                    <a:gd name="connsiteY731" fmla="*/ 616332 h 1220812"/>
                    <a:gd name="connsiteX732" fmla="*/ 2766385 w 3385376"/>
                    <a:gd name="connsiteY732" fmla="*/ 616066 h 1220812"/>
                    <a:gd name="connsiteX733" fmla="*/ 2776058 w 3385376"/>
                    <a:gd name="connsiteY733" fmla="*/ 620414 h 1220812"/>
                    <a:gd name="connsiteX734" fmla="*/ 2786846 w 3385376"/>
                    <a:gd name="connsiteY734" fmla="*/ 609766 h 1220812"/>
                    <a:gd name="connsiteX735" fmla="*/ 2818575 w 3385376"/>
                    <a:gd name="connsiteY735" fmla="*/ 598724 h 1220812"/>
                    <a:gd name="connsiteX736" fmla="*/ 2822606 w 3385376"/>
                    <a:gd name="connsiteY736" fmla="*/ 611325 h 1220812"/>
                    <a:gd name="connsiteX737" fmla="*/ 2824267 w 3385376"/>
                    <a:gd name="connsiteY737" fmla="*/ 611211 h 1220812"/>
                    <a:gd name="connsiteX738" fmla="*/ 2828234 w 3385376"/>
                    <a:gd name="connsiteY738" fmla="*/ 598217 h 1220812"/>
                    <a:gd name="connsiteX739" fmla="*/ 2827778 w 3385376"/>
                    <a:gd name="connsiteY739" fmla="*/ 608815 h 1220812"/>
                    <a:gd name="connsiteX740" fmla="*/ 2830313 w 3385376"/>
                    <a:gd name="connsiteY740" fmla="*/ 599574 h 1220812"/>
                    <a:gd name="connsiteX741" fmla="*/ 2832798 w 3385376"/>
                    <a:gd name="connsiteY741" fmla="*/ 604948 h 1220812"/>
                    <a:gd name="connsiteX742" fmla="*/ 2844904 w 3385376"/>
                    <a:gd name="connsiteY742" fmla="*/ 614367 h 1220812"/>
                    <a:gd name="connsiteX743" fmla="*/ 2847173 w 3385376"/>
                    <a:gd name="connsiteY743" fmla="*/ 599232 h 1220812"/>
                    <a:gd name="connsiteX744" fmla="*/ 2854449 w 3385376"/>
                    <a:gd name="connsiteY744" fmla="*/ 609702 h 1220812"/>
                    <a:gd name="connsiteX745" fmla="*/ 2855083 w 3385376"/>
                    <a:gd name="connsiteY745" fmla="*/ 596683 h 1220812"/>
                    <a:gd name="connsiteX746" fmla="*/ 2849239 w 3385376"/>
                    <a:gd name="connsiteY746" fmla="*/ 594376 h 1220812"/>
                    <a:gd name="connsiteX747" fmla="*/ 2861637 w 3385376"/>
                    <a:gd name="connsiteY747" fmla="*/ 596683 h 1220812"/>
                    <a:gd name="connsiteX748" fmla="*/ 2858531 w 3385376"/>
                    <a:gd name="connsiteY748" fmla="*/ 591828 h 1220812"/>
                    <a:gd name="connsiteX749" fmla="*/ 2868786 w 3385376"/>
                    <a:gd name="connsiteY749" fmla="*/ 590168 h 1220812"/>
                    <a:gd name="connsiteX750" fmla="*/ 2860610 w 3385376"/>
                    <a:gd name="connsiteY750" fmla="*/ 588292 h 1220812"/>
                    <a:gd name="connsiteX751" fmla="*/ 2865719 w 3385376"/>
                    <a:gd name="connsiteY751" fmla="*/ 585579 h 1220812"/>
                    <a:gd name="connsiteX752" fmla="*/ 2858582 w 3385376"/>
                    <a:gd name="connsiteY752" fmla="*/ 586656 h 1220812"/>
                    <a:gd name="connsiteX753" fmla="*/ 2864730 w 3385376"/>
                    <a:gd name="connsiteY753" fmla="*/ 576540 h 1220812"/>
                    <a:gd name="connsiteX754" fmla="*/ 2863145 w 3385376"/>
                    <a:gd name="connsiteY754" fmla="*/ 581751 h 1220812"/>
                    <a:gd name="connsiteX755" fmla="*/ 2864730 w 3385376"/>
                    <a:gd name="connsiteY755" fmla="*/ 574030 h 1220812"/>
                    <a:gd name="connsiteX756" fmla="*/ 2860876 w 3385376"/>
                    <a:gd name="connsiteY756" fmla="*/ 574474 h 1220812"/>
                    <a:gd name="connsiteX757" fmla="*/ 2864007 w 3385376"/>
                    <a:gd name="connsiteY757" fmla="*/ 569467 h 1220812"/>
                    <a:gd name="connsiteX758" fmla="*/ 2838350 w 3385376"/>
                    <a:gd name="connsiteY758" fmla="*/ 579038 h 1220812"/>
                    <a:gd name="connsiteX759" fmla="*/ 2838350 w 3385376"/>
                    <a:gd name="connsiteY759" fmla="*/ 575032 h 1220812"/>
                    <a:gd name="connsiteX760" fmla="*/ 2831733 w 3385376"/>
                    <a:gd name="connsiteY760" fmla="*/ 576540 h 1220812"/>
                    <a:gd name="connsiteX761" fmla="*/ 2832544 w 3385376"/>
                    <a:gd name="connsiteY761" fmla="*/ 578176 h 1220812"/>
                    <a:gd name="connsiteX762" fmla="*/ 2803629 w 3385376"/>
                    <a:gd name="connsiteY762" fmla="*/ 579304 h 1220812"/>
                    <a:gd name="connsiteX763" fmla="*/ 2782624 w 3385376"/>
                    <a:gd name="connsiteY763" fmla="*/ 579887 h 1220812"/>
                    <a:gd name="connsiteX764" fmla="*/ 2770277 w 3385376"/>
                    <a:gd name="connsiteY764" fmla="*/ 583107 h 1220812"/>
                    <a:gd name="connsiteX765" fmla="*/ 2763673 w 3385376"/>
                    <a:gd name="connsiteY765" fmla="*/ 575590 h 1220812"/>
                    <a:gd name="connsiteX766" fmla="*/ 2742680 w 3385376"/>
                    <a:gd name="connsiteY766" fmla="*/ 580838 h 1220812"/>
                    <a:gd name="connsiteX767" fmla="*/ 2727620 w 3385376"/>
                    <a:gd name="connsiteY767" fmla="*/ 569999 h 1220812"/>
                    <a:gd name="connsiteX768" fmla="*/ 2729953 w 3385376"/>
                    <a:gd name="connsiteY768" fmla="*/ 561430 h 1220812"/>
                    <a:gd name="connsiteX769" fmla="*/ 2716123 w 3385376"/>
                    <a:gd name="connsiteY769" fmla="*/ 553444 h 1220812"/>
                    <a:gd name="connsiteX770" fmla="*/ 2721916 w 3385376"/>
                    <a:gd name="connsiteY770" fmla="*/ 538232 h 1220812"/>
                    <a:gd name="connsiteX771" fmla="*/ 2722347 w 3385376"/>
                    <a:gd name="connsiteY771" fmla="*/ 537738 h 1220812"/>
                    <a:gd name="connsiteX772" fmla="*/ 2719254 w 3385376"/>
                    <a:gd name="connsiteY772" fmla="*/ 527660 h 1220812"/>
                    <a:gd name="connsiteX773" fmla="*/ 2711712 w 3385376"/>
                    <a:gd name="connsiteY773" fmla="*/ 530195 h 1220812"/>
                    <a:gd name="connsiteX774" fmla="*/ 2711940 w 3385376"/>
                    <a:gd name="connsiteY774" fmla="*/ 528535 h 1220812"/>
                    <a:gd name="connsiteX775" fmla="*/ 2706146 w 3385376"/>
                    <a:gd name="connsiteY775" fmla="*/ 532693 h 1220812"/>
                    <a:gd name="connsiteX776" fmla="*/ 2705145 w 3385376"/>
                    <a:gd name="connsiteY776" fmla="*/ 524617 h 1220812"/>
                    <a:gd name="connsiteX777" fmla="*/ 2700075 w 3385376"/>
                    <a:gd name="connsiteY777" fmla="*/ 526151 h 1220812"/>
                    <a:gd name="connsiteX778" fmla="*/ 2681326 w 3385376"/>
                    <a:gd name="connsiteY778" fmla="*/ 524617 h 1220812"/>
                    <a:gd name="connsiteX779" fmla="*/ 2667116 w 3385376"/>
                    <a:gd name="connsiteY779" fmla="*/ 515528 h 1220812"/>
                    <a:gd name="connsiteX780" fmla="*/ 2661196 w 3385376"/>
                    <a:gd name="connsiteY780" fmla="*/ 525885 h 1220812"/>
                    <a:gd name="connsiteX781" fmla="*/ 2649952 w 3385376"/>
                    <a:gd name="connsiteY781" fmla="*/ 521397 h 1220812"/>
                    <a:gd name="connsiteX782" fmla="*/ 2644995 w 3385376"/>
                    <a:gd name="connsiteY782" fmla="*/ 517037 h 1220812"/>
                    <a:gd name="connsiteX783" fmla="*/ 2661576 w 3385376"/>
                    <a:gd name="connsiteY783" fmla="*/ 499949 h 1220812"/>
                    <a:gd name="connsiteX784" fmla="*/ 2668180 w 3385376"/>
                    <a:gd name="connsiteY784" fmla="*/ 481758 h 1220812"/>
                    <a:gd name="connsiteX785" fmla="*/ 2686904 w 3385376"/>
                    <a:gd name="connsiteY785" fmla="*/ 468625 h 1220812"/>
                    <a:gd name="connsiteX786" fmla="*/ 2684837 w 3385376"/>
                    <a:gd name="connsiteY786" fmla="*/ 472187 h 1220812"/>
                    <a:gd name="connsiteX787" fmla="*/ 2705868 w 3385376"/>
                    <a:gd name="connsiteY787" fmla="*/ 466825 h 1220812"/>
                    <a:gd name="connsiteX788" fmla="*/ 2720839 w 3385376"/>
                    <a:gd name="connsiteY788" fmla="*/ 455036 h 1220812"/>
                    <a:gd name="connsiteX789" fmla="*/ 2752872 w 3385376"/>
                    <a:gd name="connsiteY789" fmla="*/ 440027 h 1220812"/>
                    <a:gd name="connsiteX790" fmla="*/ 2752872 w 3385376"/>
                    <a:gd name="connsiteY790" fmla="*/ 440027 h 1220812"/>
                    <a:gd name="connsiteX791" fmla="*/ 2397651 w 3385376"/>
                    <a:gd name="connsiteY791" fmla="*/ 445072 h 1220812"/>
                    <a:gd name="connsiteX792" fmla="*/ 2398982 w 3385376"/>
                    <a:gd name="connsiteY792" fmla="*/ 465355 h 1220812"/>
                    <a:gd name="connsiteX793" fmla="*/ 2416539 w 3385376"/>
                    <a:gd name="connsiteY793" fmla="*/ 473531 h 1220812"/>
                    <a:gd name="connsiteX794" fmla="*/ 2399502 w 3385376"/>
                    <a:gd name="connsiteY794" fmla="*/ 472339 h 1220812"/>
                    <a:gd name="connsiteX795" fmla="*/ 2385684 w 3385376"/>
                    <a:gd name="connsiteY795" fmla="*/ 474672 h 1220812"/>
                    <a:gd name="connsiteX796" fmla="*/ 2384252 w 3385376"/>
                    <a:gd name="connsiteY796" fmla="*/ 461247 h 1220812"/>
                    <a:gd name="connsiteX797" fmla="*/ 2376341 w 3385376"/>
                    <a:gd name="connsiteY797" fmla="*/ 454580 h 1220812"/>
                    <a:gd name="connsiteX798" fmla="*/ 2374313 w 3385376"/>
                    <a:gd name="connsiteY798" fmla="*/ 439507 h 1220812"/>
                    <a:gd name="connsiteX799" fmla="*/ 2381780 w 3385376"/>
                    <a:gd name="connsiteY799" fmla="*/ 441979 h 1220812"/>
                    <a:gd name="connsiteX800" fmla="*/ 2384974 w 3385376"/>
                    <a:gd name="connsiteY800" fmla="*/ 444451 h 1220812"/>
                    <a:gd name="connsiteX801" fmla="*/ 2386850 w 3385376"/>
                    <a:gd name="connsiteY801" fmla="*/ 439710 h 1220812"/>
                    <a:gd name="connsiteX802" fmla="*/ 2397651 w 3385376"/>
                    <a:gd name="connsiteY802" fmla="*/ 445072 h 1220812"/>
                    <a:gd name="connsiteX803" fmla="*/ 2397651 w 3385376"/>
                    <a:gd name="connsiteY803" fmla="*/ 445072 h 1220812"/>
                    <a:gd name="connsiteX804" fmla="*/ 2633649 w 3385376"/>
                    <a:gd name="connsiteY804" fmla="*/ 414801 h 1220812"/>
                    <a:gd name="connsiteX805" fmla="*/ 2650788 w 3385376"/>
                    <a:gd name="connsiteY805" fmla="*/ 417552 h 1220812"/>
                    <a:gd name="connsiteX806" fmla="*/ 2649850 w 3385376"/>
                    <a:gd name="connsiteY806" fmla="*/ 419314 h 1220812"/>
                    <a:gd name="connsiteX807" fmla="*/ 2663896 w 3385376"/>
                    <a:gd name="connsiteY807" fmla="*/ 424701 h 1220812"/>
                    <a:gd name="connsiteX808" fmla="*/ 2672136 w 3385376"/>
                    <a:gd name="connsiteY808" fmla="*/ 435717 h 1220812"/>
                    <a:gd name="connsiteX809" fmla="*/ 2666089 w 3385376"/>
                    <a:gd name="connsiteY809" fmla="*/ 440014 h 1220812"/>
                    <a:gd name="connsiteX810" fmla="*/ 2648367 w 3385376"/>
                    <a:gd name="connsiteY810" fmla="*/ 441523 h 1220812"/>
                    <a:gd name="connsiteX811" fmla="*/ 2633726 w 3385376"/>
                    <a:gd name="connsiteY811" fmla="*/ 432687 h 1220812"/>
                    <a:gd name="connsiteX812" fmla="*/ 2618007 w 3385376"/>
                    <a:gd name="connsiteY812" fmla="*/ 421380 h 1220812"/>
                    <a:gd name="connsiteX813" fmla="*/ 2621036 w 3385376"/>
                    <a:gd name="connsiteY813" fmla="*/ 422875 h 1220812"/>
                    <a:gd name="connsiteX814" fmla="*/ 2629758 w 3385376"/>
                    <a:gd name="connsiteY814" fmla="*/ 436389 h 1220812"/>
                    <a:gd name="connsiteX815" fmla="*/ 2640761 w 3385376"/>
                    <a:gd name="connsiteY815" fmla="*/ 438480 h 1220812"/>
                    <a:gd name="connsiteX816" fmla="*/ 2623584 w 3385376"/>
                    <a:gd name="connsiteY816" fmla="*/ 435945 h 1220812"/>
                    <a:gd name="connsiteX817" fmla="*/ 2614432 w 3385376"/>
                    <a:gd name="connsiteY817" fmla="*/ 442017 h 1220812"/>
                    <a:gd name="connsiteX818" fmla="*/ 2615763 w 3385376"/>
                    <a:gd name="connsiteY818" fmla="*/ 441434 h 1220812"/>
                    <a:gd name="connsiteX819" fmla="*/ 2613177 w 3385376"/>
                    <a:gd name="connsiteY819" fmla="*/ 446606 h 1220812"/>
                    <a:gd name="connsiteX820" fmla="*/ 2611060 w 3385376"/>
                    <a:gd name="connsiteY820" fmla="*/ 436313 h 1220812"/>
                    <a:gd name="connsiteX821" fmla="*/ 2605292 w 3385376"/>
                    <a:gd name="connsiteY821" fmla="*/ 435476 h 1220812"/>
                    <a:gd name="connsiteX822" fmla="*/ 2588737 w 3385376"/>
                    <a:gd name="connsiteY822" fmla="*/ 429315 h 1220812"/>
                    <a:gd name="connsiteX823" fmla="*/ 2604456 w 3385376"/>
                    <a:gd name="connsiteY823" fmla="*/ 428200 h 1220812"/>
                    <a:gd name="connsiteX824" fmla="*/ 2601236 w 3385376"/>
                    <a:gd name="connsiteY824" fmla="*/ 427389 h 1220812"/>
                    <a:gd name="connsiteX825" fmla="*/ 2602719 w 3385376"/>
                    <a:gd name="connsiteY825" fmla="*/ 423915 h 1220812"/>
                    <a:gd name="connsiteX826" fmla="*/ 2600323 w 3385376"/>
                    <a:gd name="connsiteY826" fmla="*/ 425994 h 1220812"/>
                    <a:gd name="connsiteX827" fmla="*/ 2597674 w 3385376"/>
                    <a:gd name="connsiteY827" fmla="*/ 424840 h 1220812"/>
                    <a:gd name="connsiteX828" fmla="*/ 2598206 w 3385376"/>
                    <a:gd name="connsiteY828" fmla="*/ 428415 h 1220812"/>
                    <a:gd name="connsiteX829" fmla="*/ 2597674 w 3385376"/>
                    <a:gd name="connsiteY829" fmla="*/ 420378 h 1220812"/>
                    <a:gd name="connsiteX830" fmla="*/ 2599943 w 3385376"/>
                    <a:gd name="connsiteY830" fmla="*/ 423484 h 1220812"/>
                    <a:gd name="connsiteX831" fmla="*/ 2599208 w 3385376"/>
                    <a:gd name="connsiteY831" fmla="*/ 420378 h 1220812"/>
                    <a:gd name="connsiteX832" fmla="*/ 2604265 w 3385376"/>
                    <a:gd name="connsiteY832" fmla="*/ 422369 h 1220812"/>
                    <a:gd name="connsiteX833" fmla="*/ 2603784 w 3385376"/>
                    <a:gd name="connsiteY833" fmla="*/ 420378 h 1220812"/>
                    <a:gd name="connsiteX834" fmla="*/ 2614001 w 3385376"/>
                    <a:gd name="connsiteY834" fmla="*/ 419871 h 1220812"/>
                    <a:gd name="connsiteX835" fmla="*/ 2630645 w 3385376"/>
                    <a:gd name="connsiteY835" fmla="*/ 417843 h 1220812"/>
                    <a:gd name="connsiteX836" fmla="*/ 2628085 w 3385376"/>
                    <a:gd name="connsiteY836" fmla="*/ 416816 h 1220812"/>
                    <a:gd name="connsiteX837" fmla="*/ 2633649 w 3385376"/>
                    <a:gd name="connsiteY837" fmla="*/ 414801 h 1220812"/>
                    <a:gd name="connsiteX838" fmla="*/ 2633649 w 3385376"/>
                    <a:gd name="connsiteY838" fmla="*/ 414801 h 1220812"/>
                    <a:gd name="connsiteX839" fmla="*/ 550453 w 3385376"/>
                    <a:gd name="connsiteY839" fmla="*/ 341188 h 1220812"/>
                    <a:gd name="connsiteX840" fmla="*/ 580014 w 3385376"/>
                    <a:gd name="connsiteY840" fmla="*/ 355031 h 1220812"/>
                    <a:gd name="connsiteX841" fmla="*/ 561101 w 3385376"/>
                    <a:gd name="connsiteY841" fmla="*/ 356197 h 1220812"/>
                    <a:gd name="connsiteX842" fmla="*/ 542467 w 3385376"/>
                    <a:gd name="connsiteY842" fmla="*/ 356755 h 1220812"/>
                    <a:gd name="connsiteX843" fmla="*/ 535659 w 3385376"/>
                    <a:gd name="connsiteY843" fmla="*/ 346208 h 1220812"/>
                    <a:gd name="connsiteX844" fmla="*/ 538080 w 3385376"/>
                    <a:gd name="connsiteY844" fmla="*/ 337829 h 1220812"/>
                    <a:gd name="connsiteX845" fmla="*/ 539640 w 3385376"/>
                    <a:gd name="connsiteY845" fmla="*/ 331085 h 1220812"/>
                    <a:gd name="connsiteX846" fmla="*/ 550453 w 3385376"/>
                    <a:gd name="connsiteY846" fmla="*/ 341188 h 1220812"/>
                    <a:gd name="connsiteX847" fmla="*/ 550453 w 3385376"/>
                    <a:gd name="connsiteY847" fmla="*/ 341188 h 1220812"/>
                    <a:gd name="connsiteX848" fmla="*/ 160802 w 3385376"/>
                    <a:gd name="connsiteY848" fmla="*/ 302842 h 1220812"/>
                    <a:gd name="connsiteX849" fmla="*/ 182859 w 3385376"/>
                    <a:gd name="connsiteY849" fmla="*/ 325431 h 1220812"/>
                    <a:gd name="connsiteX850" fmla="*/ 198324 w 3385376"/>
                    <a:gd name="connsiteY850" fmla="*/ 336498 h 1220812"/>
                    <a:gd name="connsiteX851" fmla="*/ 199731 w 3385376"/>
                    <a:gd name="connsiteY851" fmla="*/ 352369 h 1220812"/>
                    <a:gd name="connsiteX852" fmla="*/ 191847 w 3385376"/>
                    <a:gd name="connsiteY852" fmla="*/ 372550 h 1220812"/>
                    <a:gd name="connsiteX853" fmla="*/ 183658 w 3385376"/>
                    <a:gd name="connsiteY853" fmla="*/ 367327 h 1220812"/>
                    <a:gd name="connsiteX854" fmla="*/ 174759 w 3385376"/>
                    <a:gd name="connsiteY854" fmla="*/ 350695 h 1220812"/>
                    <a:gd name="connsiteX855" fmla="*/ 166075 w 3385376"/>
                    <a:gd name="connsiteY855" fmla="*/ 344788 h 1220812"/>
                    <a:gd name="connsiteX856" fmla="*/ 162082 w 3385376"/>
                    <a:gd name="connsiteY856" fmla="*/ 344788 h 1220812"/>
                    <a:gd name="connsiteX857" fmla="*/ 161829 w 3385376"/>
                    <a:gd name="connsiteY857" fmla="*/ 339629 h 1220812"/>
                    <a:gd name="connsiteX858" fmla="*/ 138187 w 3385376"/>
                    <a:gd name="connsiteY858" fmla="*/ 311969 h 1220812"/>
                    <a:gd name="connsiteX859" fmla="*/ 148366 w 3385376"/>
                    <a:gd name="connsiteY859" fmla="*/ 310574 h 1220812"/>
                    <a:gd name="connsiteX860" fmla="*/ 160802 w 3385376"/>
                    <a:gd name="connsiteY860" fmla="*/ 302842 h 1220812"/>
                    <a:gd name="connsiteX861" fmla="*/ 160802 w 3385376"/>
                    <a:gd name="connsiteY861" fmla="*/ 302842 h 1220812"/>
                    <a:gd name="connsiteX862" fmla="*/ 2207630 w 3385376"/>
                    <a:gd name="connsiteY862" fmla="*/ 291369 h 1220812"/>
                    <a:gd name="connsiteX863" fmla="*/ 2219292 w 3385376"/>
                    <a:gd name="connsiteY863" fmla="*/ 307190 h 1220812"/>
                    <a:gd name="connsiteX864" fmla="*/ 2209683 w 3385376"/>
                    <a:gd name="connsiteY864" fmla="*/ 316596 h 1220812"/>
                    <a:gd name="connsiteX865" fmla="*/ 2198452 w 3385376"/>
                    <a:gd name="connsiteY865" fmla="*/ 338273 h 1220812"/>
                    <a:gd name="connsiteX866" fmla="*/ 2171679 w 3385376"/>
                    <a:gd name="connsiteY866" fmla="*/ 368595 h 1220812"/>
                    <a:gd name="connsiteX867" fmla="*/ 2160688 w 3385376"/>
                    <a:gd name="connsiteY867" fmla="*/ 381246 h 1220812"/>
                    <a:gd name="connsiteX868" fmla="*/ 2132724 w 3385376"/>
                    <a:gd name="connsiteY868" fmla="*/ 388243 h 1220812"/>
                    <a:gd name="connsiteX869" fmla="*/ 2110299 w 3385376"/>
                    <a:gd name="connsiteY869" fmla="*/ 391691 h 1220812"/>
                    <a:gd name="connsiteX870" fmla="*/ 2086657 w 3385376"/>
                    <a:gd name="connsiteY870" fmla="*/ 392046 h 1220812"/>
                    <a:gd name="connsiteX871" fmla="*/ 2064296 w 3385376"/>
                    <a:gd name="connsiteY871" fmla="*/ 380790 h 1220812"/>
                    <a:gd name="connsiteX872" fmla="*/ 2050098 w 3385376"/>
                    <a:gd name="connsiteY872" fmla="*/ 378812 h 1220812"/>
                    <a:gd name="connsiteX873" fmla="*/ 2029296 w 3385376"/>
                    <a:gd name="connsiteY873" fmla="*/ 375985 h 1220812"/>
                    <a:gd name="connsiteX874" fmla="*/ 1988985 w 3385376"/>
                    <a:gd name="connsiteY874" fmla="*/ 379154 h 1220812"/>
                    <a:gd name="connsiteX875" fmla="*/ 1965470 w 3385376"/>
                    <a:gd name="connsiteY875" fmla="*/ 383008 h 1220812"/>
                    <a:gd name="connsiteX876" fmla="*/ 1951868 w 3385376"/>
                    <a:gd name="connsiteY876" fmla="*/ 373931 h 1220812"/>
                    <a:gd name="connsiteX877" fmla="*/ 1935350 w 3385376"/>
                    <a:gd name="connsiteY877" fmla="*/ 379496 h 1220812"/>
                    <a:gd name="connsiteX878" fmla="*/ 1914650 w 3385376"/>
                    <a:gd name="connsiteY878" fmla="*/ 384555 h 1220812"/>
                    <a:gd name="connsiteX879" fmla="*/ 1892732 w 3385376"/>
                    <a:gd name="connsiteY879" fmla="*/ 379256 h 1220812"/>
                    <a:gd name="connsiteX880" fmla="*/ 1861205 w 3385376"/>
                    <a:gd name="connsiteY880" fmla="*/ 379332 h 1220812"/>
                    <a:gd name="connsiteX881" fmla="*/ 1833076 w 3385376"/>
                    <a:gd name="connsiteY881" fmla="*/ 429898 h 1220812"/>
                    <a:gd name="connsiteX882" fmla="*/ 1838527 w 3385376"/>
                    <a:gd name="connsiteY882" fmla="*/ 457724 h 1220812"/>
                    <a:gd name="connsiteX883" fmla="*/ 1851445 w 3385376"/>
                    <a:gd name="connsiteY883" fmla="*/ 479768 h 1220812"/>
                    <a:gd name="connsiteX884" fmla="*/ 1862093 w 3385376"/>
                    <a:gd name="connsiteY884" fmla="*/ 480769 h 1220812"/>
                    <a:gd name="connsiteX885" fmla="*/ 1875936 w 3385376"/>
                    <a:gd name="connsiteY885" fmla="*/ 499378 h 1220812"/>
                    <a:gd name="connsiteX886" fmla="*/ 1880677 w 3385376"/>
                    <a:gd name="connsiteY886" fmla="*/ 513120 h 1220812"/>
                    <a:gd name="connsiteX887" fmla="*/ 1894824 w 3385376"/>
                    <a:gd name="connsiteY887" fmla="*/ 513056 h 1220812"/>
                    <a:gd name="connsiteX888" fmla="*/ 1907221 w 3385376"/>
                    <a:gd name="connsiteY888" fmla="*/ 516415 h 1220812"/>
                    <a:gd name="connsiteX889" fmla="*/ 1920557 w 3385376"/>
                    <a:gd name="connsiteY889" fmla="*/ 507732 h 1220812"/>
                    <a:gd name="connsiteX890" fmla="*/ 1950068 w 3385376"/>
                    <a:gd name="connsiteY890" fmla="*/ 476763 h 1220812"/>
                    <a:gd name="connsiteX891" fmla="*/ 1953186 w 3385376"/>
                    <a:gd name="connsiteY891" fmla="*/ 473354 h 1220812"/>
                    <a:gd name="connsiteX892" fmla="*/ 1956241 w 3385376"/>
                    <a:gd name="connsiteY892" fmla="*/ 478716 h 1220812"/>
                    <a:gd name="connsiteX893" fmla="*/ 1974394 w 3385376"/>
                    <a:gd name="connsiteY893" fmla="*/ 484623 h 1220812"/>
                    <a:gd name="connsiteX894" fmla="*/ 1990848 w 3385376"/>
                    <a:gd name="connsiteY894" fmla="*/ 481352 h 1220812"/>
                    <a:gd name="connsiteX895" fmla="*/ 1992978 w 3385376"/>
                    <a:gd name="connsiteY895" fmla="*/ 474025 h 1220812"/>
                    <a:gd name="connsiteX896" fmla="*/ 2006365 w 3385376"/>
                    <a:gd name="connsiteY896" fmla="*/ 470387 h 1220812"/>
                    <a:gd name="connsiteX897" fmla="*/ 2052291 w 3385376"/>
                    <a:gd name="connsiteY897" fmla="*/ 468245 h 1220812"/>
                    <a:gd name="connsiteX898" fmla="*/ 2035635 w 3385376"/>
                    <a:gd name="connsiteY898" fmla="*/ 462173 h 1220812"/>
                    <a:gd name="connsiteX899" fmla="*/ 2088039 w 3385376"/>
                    <a:gd name="connsiteY899" fmla="*/ 467053 h 1220812"/>
                    <a:gd name="connsiteX900" fmla="*/ 2075198 w 3385376"/>
                    <a:gd name="connsiteY900" fmla="*/ 491253 h 1220812"/>
                    <a:gd name="connsiteX901" fmla="*/ 2066730 w 3385376"/>
                    <a:gd name="connsiteY901" fmla="*/ 480579 h 1220812"/>
                    <a:gd name="connsiteX902" fmla="*/ 2055904 w 3385376"/>
                    <a:gd name="connsiteY902" fmla="*/ 480237 h 1220812"/>
                    <a:gd name="connsiteX903" fmla="*/ 2039044 w 3385376"/>
                    <a:gd name="connsiteY903" fmla="*/ 487615 h 1220812"/>
                    <a:gd name="connsiteX904" fmla="*/ 2032377 w 3385376"/>
                    <a:gd name="connsiteY904" fmla="*/ 496894 h 1220812"/>
                    <a:gd name="connsiteX905" fmla="*/ 2011295 w 3385376"/>
                    <a:gd name="connsiteY905" fmla="*/ 520840 h 1220812"/>
                    <a:gd name="connsiteX906" fmla="*/ 1982292 w 3385376"/>
                    <a:gd name="connsiteY906" fmla="*/ 533859 h 1220812"/>
                    <a:gd name="connsiteX907" fmla="*/ 1971098 w 3385376"/>
                    <a:gd name="connsiteY907" fmla="*/ 537383 h 1220812"/>
                    <a:gd name="connsiteX908" fmla="*/ 1962643 w 3385376"/>
                    <a:gd name="connsiteY908" fmla="*/ 550401 h 1220812"/>
                    <a:gd name="connsiteX909" fmla="*/ 1939952 w 3385376"/>
                    <a:gd name="connsiteY909" fmla="*/ 547853 h 1220812"/>
                    <a:gd name="connsiteX910" fmla="*/ 1932574 w 3385376"/>
                    <a:gd name="connsiteY910" fmla="*/ 560923 h 1220812"/>
                    <a:gd name="connsiteX911" fmla="*/ 1937100 w 3385376"/>
                    <a:gd name="connsiteY911" fmla="*/ 554902 h 1220812"/>
                    <a:gd name="connsiteX912" fmla="*/ 1946531 w 3385376"/>
                    <a:gd name="connsiteY912" fmla="*/ 565398 h 1220812"/>
                    <a:gd name="connsiteX913" fmla="*/ 1951462 w 3385376"/>
                    <a:gd name="connsiteY913" fmla="*/ 574081 h 1220812"/>
                    <a:gd name="connsiteX914" fmla="*/ 1960615 w 3385376"/>
                    <a:gd name="connsiteY914" fmla="*/ 575945 h 1220812"/>
                    <a:gd name="connsiteX915" fmla="*/ 1982697 w 3385376"/>
                    <a:gd name="connsiteY915" fmla="*/ 606825 h 1220812"/>
                    <a:gd name="connsiteX916" fmla="*/ 1991444 w 3385376"/>
                    <a:gd name="connsiteY916" fmla="*/ 618601 h 1220812"/>
                    <a:gd name="connsiteX917" fmla="*/ 1996667 w 3385376"/>
                    <a:gd name="connsiteY917" fmla="*/ 625966 h 1220812"/>
                    <a:gd name="connsiteX918" fmla="*/ 2003018 w 3385376"/>
                    <a:gd name="connsiteY918" fmla="*/ 627652 h 1220812"/>
                    <a:gd name="connsiteX919" fmla="*/ 2001332 w 3385376"/>
                    <a:gd name="connsiteY919" fmla="*/ 635309 h 1220812"/>
                    <a:gd name="connsiteX920" fmla="*/ 2013121 w 3385376"/>
                    <a:gd name="connsiteY920" fmla="*/ 643574 h 1220812"/>
                    <a:gd name="connsiteX921" fmla="*/ 2016265 w 3385376"/>
                    <a:gd name="connsiteY921" fmla="*/ 646261 h 1220812"/>
                    <a:gd name="connsiteX922" fmla="*/ 2009609 w 3385376"/>
                    <a:gd name="connsiteY922" fmla="*/ 652701 h 1220812"/>
                    <a:gd name="connsiteX923" fmla="*/ 2003462 w 3385376"/>
                    <a:gd name="connsiteY923" fmla="*/ 659217 h 1220812"/>
                    <a:gd name="connsiteX924" fmla="*/ 2009267 w 3385376"/>
                    <a:gd name="connsiteY924" fmla="*/ 667469 h 1220812"/>
                    <a:gd name="connsiteX925" fmla="*/ 1999925 w 3385376"/>
                    <a:gd name="connsiteY925" fmla="*/ 662830 h 1220812"/>
                    <a:gd name="connsiteX926" fmla="*/ 1996528 w 3385376"/>
                    <a:gd name="connsiteY926" fmla="*/ 675899 h 1220812"/>
                    <a:gd name="connsiteX927" fmla="*/ 2007974 w 3385376"/>
                    <a:gd name="connsiteY927" fmla="*/ 688766 h 1220812"/>
                    <a:gd name="connsiteX928" fmla="*/ 2015796 w 3385376"/>
                    <a:gd name="connsiteY928" fmla="*/ 692302 h 1220812"/>
                    <a:gd name="connsiteX929" fmla="*/ 2028396 w 3385376"/>
                    <a:gd name="connsiteY929" fmla="*/ 700174 h 1220812"/>
                    <a:gd name="connsiteX930" fmla="*/ 2022147 w 3385376"/>
                    <a:gd name="connsiteY930" fmla="*/ 707033 h 1220812"/>
                    <a:gd name="connsiteX931" fmla="*/ 2033898 w 3385376"/>
                    <a:gd name="connsiteY931" fmla="*/ 717263 h 1220812"/>
                    <a:gd name="connsiteX932" fmla="*/ 2043545 w 3385376"/>
                    <a:gd name="connsiteY932" fmla="*/ 718264 h 1220812"/>
                    <a:gd name="connsiteX933" fmla="*/ 2038626 w 3385376"/>
                    <a:gd name="connsiteY933" fmla="*/ 712306 h 1220812"/>
                    <a:gd name="connsiteX934" fmla="*/ 2043545 w 3385376"/>
                    <a:gd name="connsiteY934" fmla="*/ 741044 h 1220812"/>
                    <a:gd name="connsiteX935" fmla="*/ 2030843 w 3385376"/>
                    <a:gd name="connsiteY935" fmla="*/ 731955 h 1220812"/>
                    <a:gd name="connsiteX936" fmla="*/ 2033036 w 3385376"/>
                    <a:gd name="connsiteY936" fmla="*/ 742045 h 1220812"/>
                    <a:gd name="connsiteX937" fmla="*/ 2032427 w 3385376"/>
                    <a:gd name="connsiteY937" fmla="*/ 744429 h 1220812"/>
                    <a:gd name="connsiteX938" fmla="*/ 1998264 w 3385376"/>
                    <a:gd name="connsiteY938" fmla="*/ 743401 h 1220812"/>
                    <a:gd name="connsiteX939" fmla="*/ 1990861 w 3385376"/>
                    <a:gd name="connsiteY939" fmla="*/ 767766 h 1220812"/>
                    <a:gd name="connsiteX940" fmla="*/ 1955253 w 3385376"/>
                    <a:gd name="connsiteY940" fmla="*/ 766460 h 1220812"/>
                    <a:gd name="connsiteX941" fmla="*/ 1942829 w 3385376"/>
                    <a:gd name="connsiteY941" fmla="*/ 752339 h 1220812"/>
                    <a:gd name="connsiteX942" fmla="*/ 1948762 w 3385376"/>
                    <a:gd name="connsiteY942" fmla="*/ 725338 h 1220812"/>
                    <a:gd name="connsiteX943" fmla="*/ 1948281 w 3385376"/>
                    <a:gd name="connsiteY943" fmla="*/ 727340 h 1220812"/>
                    <a:gd name="connsiteX944" fmla="*/ 1940611 w 3385376"/>
                    <a:gd name="connsiteY944" fmla="*/ 708972 h 1220812"/>
                    <a:gd name="connsiteX945" fmla="*/ 1926312 w 3385376"/>
                    <a:gd name="connsiteY945" fmla="*/ 701645 h 1220812"/>
                    <a:gd name="connsiteX946" fmla="*/ 1902670 w 3385376"/>
                    <a:gd name="connsiteY946" fmla="*/ 677623 h 1220812"/>
                    <a:gd name="connsiteX947" fmla="*/ 1905041 w 3385376"/>
                    <a:gd name="connsiteY947" fmla="*/ 656187 h 1220812"/>
                    <a:gd name="connsiteX948" fmla="*/ 1911240 w 3385376"/>
                    <a:gd name="connsiteY948" fmla="*/ 640291 h 1220812"/>
                    <a:gd name="connsiteX949" fmla="*/ 1909845 w 3385376"/>
                    <a:gd name="connsiteY949" fmla="*/ 621466 h 1220812"/>
                    <a:gd name="connsiteX950" fmla="*/ 1913331 w 3385376"/>
                    <a:gd name="connsiteY950" fmla="*/ 617422 h 1220812"/>
                    <a:gd name="connsiteX951" fmla="*/ 1884949 w 3385376"/>
                    <a:gd name="connsiteY951" fmla="*/ 608815 h 1220812"/>
                    <a:gd name="connsiteX952" fmla="*/ 1848504 w 3385376"/>
                    <a:gd name="connsiteY952" fmla="*/ 632038 h 1220812"/>
                    <a:gd name="connsiteX953" fmla="*/ 1853739 w 3385376"/>
                    <a:gd name="connsiteY953" fmla="*/ 644677 h 1220812"/>
                    <a:gd name="connsiteX954" fmla="*/ 1864958 w 3385376"/>
                    <a:gd name="connsiteY954" fmla="*/ 654032 h 1220812"/>
                    <a:gd name="connsiteX955" fmla="*/ 1863715 w 3385376"/>
                    <a:gd name="connsiteY955" fmla="*/ 693862 h 1220812"/>
                    <a:gd name="connsiteX956" fmla="*/ 1861966 w 3385376"/>
                    <a:gd name="connsiteY956" fmla="*/ 741640 h 1220812"/>
                    <a:gd name="connsiteX957" fmla="*/ 1866479 w 3385376"/>
                    <a:gd name="connsiteY957" fmla="*/ 757143 h 1220812"/>
                    <a:gd name="connsiteX958" fmla="*/ 1862701 w 3385376"/>
                    <a:gd name="connsiteY958" fmla="*/ 767664 h 1220812"/>
                    <a:gd name="connsiteX959" fmla="*/ 1857301 w 3385376"/>
                    <a:gd name="connsiteY959" fmla="*/ 771353 h 1220812"/>
                    <a:gd name="connsiteX960" fmla="*/ 1857745 w 3385376"/>
                    <a:gd name="connsiteY960" fmla="*/ 802271 h 1220812"/>
                    <a:gd name="connsiteX961" fmla="*/ 1867341 w 3385376"/>
                    <a:gd name="connsiteY961" fmla="*/ 828638 h 1220812"/>
                    <a:gd name="connsiteX962" fmla="*/ 1852497 w 3385376"/>
                    <a:gd name="connsiteY962" fmla="*/ 822174 h 1220812"/>
                    <a:gd name="connsiteX963" fmla="*/ 1842216 w 3385376"/>
                    <a:gd name="connsiteY963" fmla="*/ 825812 h 1220812"/>
                    <a:gd name="connsiteX964" fmla="*/ 1831492 w 3385376"/>
                    <a:gd name="connsiteY964" fmla="*/ 823986 h 1220812"/>
                    <a:gd name="connsiteX965" fmla="*/ 1816609 w 3385376"/>
                    <a:gd name="connsiteY965" fmla="*/ 834140 h 1220812"/>
                    <a:gd name="connsiteX966" fmla="*/ 1801664 w 3385376"/>
                    <a:gd name="connsiteY966" fmla="*/ 830844 h 1220812"/>
                    <a:gd name="connsiteX967" fmla="*/ 1794261 w 3385376"/>
                    <a:gd name="connsiteY967" fmla="*/ 826357 h 1220812"/>
                    <a:gd name="connsiteX968" fmla="*/ 1787073 w 3385376"/>
                    <a:gd name="connsiteY968" fmla="*/ 800433 h 1220812"/>
                    <a:gd name="connsiteX969" fmla="*/ 1797531 w 3385376"/>
                    <a:gd name="connsiteY969" fmla="*/ 770694 h 1220812"/>
                    <a:gd name="connsiteX970" fmla="*/ 1800422 w 3385376"/>
                    <a:gd name="connsiteY970" fmla="*/ 755457 h 1220812"/>
                    <a:gd name="connsiteX971" fmla="*/ 1805796 w 3385376"/>
                    <a:gd name="connsiteY971" fmla="*/ 731207 h 1220812"/>
                    <a:gd name="connsiteX972" fmla="*/ 1807356 w 3385376"/>
                    <a:gd name="connsiteY972" fmla="*/ 707147 h 1220812"/>
                    <a:gd name="connsiteX973" fmla="*/ 1803388 w 3385376"/>
                    <a:gd name="connsiteY973" fmla="*/ 710696 h 1220812"/>
                    <a:gd name="connsiteX974" fmla="*/ 1793690 w 3385376"/>
                    <a:gd name="connsiteY974" fmla="*/ 685559 h 1220812"/>
                    <a:gd name="connsiteX975" fmla="*/ 1793285 w 3385376"/>
                    <a:gd name="connsiteY975" fmla="*/ 669814 h 1220812"/>
                    <a:gd name="connsiteX976" fmla="*/ 1759844 w 3385376"/>
                    <a:gd name="connsiteY976" fmla="*/ 676355 h 1220812"/>
                    <a:gd name="connsiteX977" fmla="*/ 1748549 w 3385376"/>
                    <a:gd name="connsiteY977" fmla="*/ 664287 h 1220812"/>
                    <a:gd name="connsiteX978" fmla="*/ 1743263 w 3385376"/>
                    <a:gd name="connsiteY978" fmla="*/ 645336 h 1220812"/>
                    <a:gd name="connsiteX979" fmla="*/ 1748942 w 3385376"/>
                    <a:gd name="connsiteY979" fmla="*/ 633154 h 1220812"/>
                    <a:gd name="connsiteX980" fmla="*/ 1742642 w 3385376"/>
                    <a:gd name="connsiteY980" fmla="*/ 625003 h 1220812"/>
                    <a:gd name="connsiteX981" fmla="*/ 1743821 w 3385376"/>
                    <a:gd name="connsiteY981" fmla="*/ 610234 h 1220812"/>
                    <a:gd name="connsiteX982" fmla="*/ 1757753 w 3385376"/>
                    <a:gd name="connsiteY982" fmla="*/ 605912 h 1220812"/>
                    <a:gd name="connsiteX983" fmla="*/ 1773243 w 3385376"/>
                    <a:gd name="connsiteY983" fmla="*/ 570456 h 1220812"/>
                    <a:gd name="connsiteX984" fmla="*/ 1778517 w 3385376"/>
                    <a:gd name="connsiteY984" fmla="*/ 559212 h 1220812"/>
                    <a:gd name="connsiteX985" fmla="*/ 1785476 w 3385376"/>
                    <a:gd name="connsiteY985" fmla="*/ 557690 h 1220812"/>
                    <a:gd name="connsiteX986" fmla="*/ 1782345 w 3385376"/>
                    <a:gd name="connsiteY986" fmla="*/ 539132 h 1220812"/>
                    <a:gd name="connsiteX987" fmla="*/ 1781458 w 3385376"/>
                    <a:gd name="connsiteY987" fmla="*/ 516986 h 1220812"/>
                    <a:gd name="connsiteX988" fmla="*/ 1785894 w 3385376"/>
                    <a:gd name="connsiteY988" fmla="*/ 501559 h 1220812"/>
                    <a:gd name="connsiteX989" fmla="*/ 1792702 w 3385376"/>
                    <a:gd name="connsiteY989" fmla="*/ 495728 h 1220812"/>
                    <a:gd name="connsiteX990" fmla="*/ 1796137 w 3385376"/>
                    <a:gd name="connsiteY990" fmla="*/ 483520 h 1220812"/>
                    <a:gd name="connsiteX991" fmla="*/ 1809941 w 3385376"/>
                    <a:gd name="connsiteY991" fmla="*/ 468651 h 1220812"/>
                    <a:gd name="connsiteX992" fmla="*/ 1813770 w 3385376"/>
                    <a:gd name="connsiteY992" fmla="*/ 461108 h 1220812"/>
                    <a:gd name="connsiteX993" fmla="*/ 1822136 w 3385376"/>
                    <a:gd name="connsiteY993" fmla="*/ 478779 h 1220812"/>
                    <a:gd name="connsiteX994" fmla="*/ 1817231 w 3385376"/>
                    <a:gd name="connsiteY994" fmla="*/ 455112 h 1220812"/>
                    <a:gd name="connsiteX995" fmla="*/ 1818093 w 3385376"/>
                    <a:gd name="connsiteY995" fmla="*/ 422330 h 1220812"/>
                    <a:gd name="connsiteX996" fmla="*/ 1806430 w 3385376"/>
                    <a:gd name="connsiteY996" fmla="*/ 413710 h 1220812"/>
                    <a:gd name="connsiteX997" fmla="*/ 1808940 w 3385376"/>
                    <a:gd name="connsiteY997" fmla="*/ 414763 h 1220812"/>
                    <a:gd name="connsiteX998" fmla="*/ 1809473 w 3385376"/>
                    <a:gd name="connsiteY998" fmla="*/ 412240 h 1220812"/>
                    <a:gd name="connsiteX999" fmla="*/ 1823087 w 3385376"/>
                    <a:gd name="connsiteY999" fmla="*/ 405826 h 1220812"/>
                    <a:gd name="connsiteX1000" fmla="*/ 1818245 w 3385376"/>
                    <a:gd name="connsiteY1000" fmla="*/ 396065 h 1220812"/>
                    <a:gd name="connsiteX1001" fmla="*/ 1823024 w 3385376"/>
                    <a:gd name="connsiteY1001" fmla="*/ 391045 h 1220812"/>
                    <a:gd name="connsiteX1002" fmla="*/ 1827803 w 3385376"/>
                    <a:gd name="connsiteY1002" fmla="*/ 379104 h 1220812"/>
                    <a:gd name="connsiteX1003" fmla="*/ 1835130 w 3385376"/>
                    <a:gd name="connsiteY1003" fmla="*/ 376936 h 1220812"/>
                    <a:gd name="connsiteX1004" fmla="*/ 1835840 w 3385376"/>
                    <a:gd name="connsiteY1004" fmla="*/ 369026 h 1220812"/>
                    <a:gd name="connsiteX1005" fmla="*/ 1840682 w 3385376"/>
                    <a:gd name="connsiteY1005" fmla="*/ 359303 h 1220812"/>
                    <a:gd name="connsiteX1006" fmla="*/ 1849150 w 3385376"/>
                    <a:gd name="connsiteY1006" fmla="*/ 355500 h 1220812"/>
                    <a:gd name="connsiteX1007" fmla="*/ 1852078 w 3385376"/>
                    <a:gd name="connsiteY1007" fmla="*/ 344560 h 1220812"/>
                    <a:gd name="connsiteX1008" fmla="*/ 1859076 w 3385376"/>
                    <a:gd name="connsiteY1008" fmla="*/ 351583 h 1220812"/>
                    <a:gd name="connsiteX1009" fmla="*/ 1873755 w 3385376"/>
                    <a:gd name="connsiteY1009" fmla="*/ 356184 h 1220812"/>
                    <a:gd name="connsiteX1010" fmla="*/ 1886457 w 3385376"/>
                    <a:gd name="connsiteY1010" fmla="*/ 342431 h 1220812"/>
                    <a:gd name="connsiteX1011" fmla="*/ 1893264 w 3385376"/>
                    <a:gd name="connsiteY1011" fmla="*/ 328981 h 1220812"/>
                    <a:gd name="connsiteX1012" fmla="*/ 1900668 w 3385376"/>
                    <a:gd name="connsiteY1012" fmla="*/ 314922 h 1220812"/>
                    <a:gd name="connsiteX1013" fmla="*/ 1900642 w 3385376"/>
                    <a:gd name="connsiteY1013" fmla="*/ 318041 h 1220812"/>
                    <a:gd name="connsiteX1014" fmla="*/ 1928898 w 3385376"/>
                    <a:gd name="connsiteY1014" fmla="*/ 323150 h 1220812"/>
                    <a:gd name="connsiteX1015" fmla="*/ 1939166 w 3385376"/>
                    <a:gd name="connsiteY1015" fmla="*/ 323808 h 1220812"/>
                    <a:gd name="connsiteX1016" fmla="*/ 1949295 w 3385376"/>
                    <a:gd name="connsiteY1016" fmla="*/ 336016 h 1220812"/>
                    <a:gd name="connsiteX1017" fmla="*/ 1964938 w 3385376"/>
                    <a:gd name="connsiteY1017" fmla="*/ 335040 h 1220812"/>
                    <a:gd name="connsiteX1018" fmla="*/ 1975852 w 3385376"/>
                    <a:gd name="connsiteY1018" fmla="*/ 333684 h 1220812"/>
                    <a:gd name="connsiteX1019" fmla="*/ 1978552 w 3385376"/>
                    <a:gd name="connsiteY1019" fmla="*/ 338209 h 1220812"/>
                    <a:gd name="connsiteX1020" fmla="*/ 2005566 w 3385376"/>
                    <a:gd name="connsiteY1020" fmla="*/ 339160 h 1220812"/>
                    <a:gd name="connsiteX1021" fmla="*/ 2028244 w 3385376"/>
                    <a:gd name="connsiteY1021" fmla="*/ 343685 h 1220812"/>
                    <a:gd name="connsiteX1022" fmla="*/ 2039044 w 3385376"/>
                    <a:gd name="connsiteY1022" fmla="*/ 351532 h 1220812"/>
                    <a:gd name="connsiteX1023" fmla="*/ 2052127 w 3385376"/>
                    <a:gd name="connsiteY1023" fmla="*/ 344940 h 1220812"/>
                    <a:gd name="connsiteX1024" fmla="*/ 2069341 w 3385376"/>
                    <a:gd name="connsiteY1024" fmla="*/ 346233 h 1220812"/>
                    <a:gd name="connsiteX1025" fmla="*/ 2069037 w 3385376"/>
                    <a:gd name="connsiteY1025" fmla="*/ 342887 h 1220812"/>
                    <a:gd name="connsiteX1026" fmla="*/ 2124522 w 3385376"/>
                    <a:gd name="connsiteY1026" fmla="*/ 351317 h 1220812"/>
                    <a:gd name="connsiteX1027" fmla="*/ 2143245 w 3385376"/>
                    <a:gd name="connsiteY1027" fmla="*/ 342164 h 1220812"/>
                    <a:gd name="connsiteX1028" fmla="*/ 2152474 w 3385376"/>
                    <a:gd name="connsiteY1028" fmla="*/ 338146 h 1220812"/>
                    <a:gd name="connsiteX1029" fmla="*/ 2156391 w 3385376"/>
                    <a:gd name="connsiteY1029" fmla="*/ 328284 h 1220812"/>
                    <a:gd name="connsiteX1030" fmla="*/ 2170614 w 3385376"/>
                    <a:gd name="connsiteY1030" fmla="*/ 326154 h 1220812"/>
                    <a:gd name="connsiteX1031" fmla="*/ 2168687 w 3385376"/>
                    <a:gd name="connsiteY1031" fmla="*/ 319714 h 1220812"/>
                    <a:gd name="connsiteX1032" fmla="*/ 2181744 w 3385376"/>
                    <a:gd name="connsiteY1032" fmla="*/ 311170 h 1220812"/>
                    <a:gd name="connsiteX1033" fmla="*/ 2191023 w 3385376"/>
                    <a:gd name="connsiteY1033" fmla="*/ 302842 h 1220812"/>
                    <a:gd name="connsiteX1034" fmla="*/ 2191606 w 3385376"/>
                    <a:gd name="connsiteY1034" fmla="*/ 297175 h 1220812"/>
                    <a:gd name="connsiteX1035" fmla="*/ 2200759 w 3385376"/>
                    <a:gd name="connsiteY1035" fmla="*/ 291382 h 1220812"/>
                    <a:gd name="connsiteX1036" fmla="*/ 2207630 w 3385376"/>
                    <a:gd name="connsiteY1036" fmla="*/ 291369 h 1220812"/>
                    <a:gd name="connsiteX1037" fmla="*/ 2207630 w 3385376"/>
                    <a:gd name="connsiteY1037" fmla="*/ 291369 h 1220812"/>
                    <a:gd name="connsiteX1038" fmla="*/ 482177 w 3385376"/>
                    <a:gd name="connsiteY1038" fmla="*/ 263189 h 1220812"/>
                    <a:gd name="connsiteX1039" fmla="*/ 462161 w 3385376"/>
                    <a:gd name="connsiteY1039" fmla="*/ 283282 h 1220812"/>
                    <a:gd name="connsiteX1040" fmla="*/ 461438 w 3385376"/>
                    <a:gd name="connsiteY1040" fmla="*/ 262682 h 1220812"/>
                    <a:gd name="connsiteX1041" fmla="*/ 473418 w 3385376"/>
                    <a:gd name="connsiteY1041" fmla="*/ 259716 h 1220812"/>
                    <a:gd name="connsiteX1042" fmla="*/ 482177 w 3385376"/>
                    <a:gd name="connsiteY1042" fmla="*/ 263189 h 1220812"/>
                    <a:gd name="connsiteX1043" fmla="*/ 482177 w 3385376"/>
                    <a:gd name="connsiteY1043" fmla="*/ 263189 h 1220812"/>
                    <a:gd name="connsiteX1044" fmla="*/ 2429012 w 3385376"/>
                    <a:gd name="connsiteY1044" fmla="*/ 253276 h 1220812"/>
                    <a:gd name="connsiteX1045" fmla="*/ 2422649 w 3385376"/>
                    <a:gd name="connsiteY1045" fmla="*/ 263291 h 1220812"/>
                    <a:gd name="connsiteX1046" fmla="*/ 2413953 w 3385376"/>
                    <a:gd name="connsiteY1046" fmla="*/ 274953 h 1220812"/>
                    <a:gd name="connsiteX1047" fmla="*/ 2425539 w 3385376"/>
                    <a:gd name="connsiteY1047" fmla="*/ 287313 h 1220812"/>
                    <a:gd name="connsiteX1048" fmla="*/ 2427251 w 3385376"/>
                    <a:gd name="connsiteY1048" fmla="*/ 302588 h 1220812"/>
                    <a:gd name="connsiteX1049" fmla="*/ 2419087 w 3385376"/>
                    <a:gd name="connsiteY1049" fmla="*/ 324759 h 1220812"/>
                    <a:gd name="connsiteX1050" fmla="*/ 2403013 w 3385376"/>
                    <a:gd name="connsiteY1050" fmla="*/ 351013 h 1220812"/>
                    <a:gd name="connsiteX1051" fmla="*/ 2423321 w 3385376"/>
                    <a:gd name="connsiteY1051" fmla="*/ 336358 h 1220812"/>
                    <a:gd name="connsiteX1052" fmla="*/ 2438368 w 3385376"/>
                    <a:gd name="connsiteY1052" fmla="*/ 329234 h 1220812"/>
                    <a:gd name="connsiteX1053" fmla="*/ 2432220 w 3385376"/>
                    <a:gd name="connsiteY1053" fmla="*/ 321350 h 1220812"/>
                    <a:gd name="connsiteX1054" fmla="*/ 2455228 w 3385376"/>
                    <a:gd name="connsiteY1054" fmla="*/ 302259 h 1220812"/>
                    <a:gd name="connsiteX1055" fmla="*/ 2464304 w 3385376"/>
                    <a:gd name="connsiteY1055" fmla="*/ 300306 h 1220812"/>
                    <a:gd name="connsiteX1056" fmla="*/ 2474078 w 3385376"/>
                    <a:gd name="connsiteY1056" fmla="*/ 298544 h 1220812"/>
                    <a:gd name="connsiteX1057" fmla="*/ 2477133 w 3385376"/>
                    <a:gd name="connsiteY1057" fmla="*/ 302119 h 1220812"/>
                    <a:gd name="connsiteX1058" fmla="*/ 2476271 w 3385376"/>
                    <a:gd name="connsiteY1058" fmla="*/ 309345 h 1220812"/>
                    <a:gd name="connsiteX1059" fmla="*/ 2480073 w 3385376"/>
                    <a:gd name="connsiteY1059" fmla="*/ 314720 h 1220812"/>
                    <a:gd name="connsiteX1060" fmla="*/ 2477094 w 3385376"/>
                    <a:gd name="connsiteY1060" fmla="*/ 334672 h 1220812"/>
                    <a:gd name="connsiteX1061" fmla="*/ 2446531 w 3385376"/>
                    <a:gd name="connsiteY1061" fmla="*/ 354372 h 1220812"/>
                    <a:gd name="connsiteX1062" fmla="*/ 2448560 w 3385376"/>
                    <a:gd name="connsiteY1062" fmla="*/ 365578 h 1220812"/>
                    <a:gd name="connsiteX1063" fmla="*/ 2465318 w 3385376"/>
                    <a:gd name="connsiteY1063" fmla="*/ 371548 h 1220812"/>
                    <a:gd name="connsiteX1064" fmla="*/ 2475459 w 3385376"/>
                    <a:gd name="connsiteY1064" fmla="*/ 379927 h 1220812"/>
                    <a:gd name="connsiteX1065" fmla="*/ 2481519 w 3385376"/>
                    <a:gd name="connsiteY1065" fmla="*/ 391108 h 1220812"/>
                    <a:gd name="connsiteX1066" fmla="*/ 2491317 w 3385376"/>
                    <a:gd name="connsiteY1066" fmla="*/ 399259 h 1220812"/>
                    <a:gd name="connsiteX1067" fmla="*/ 2472886 w 3385376"/>
                    <a:gd name="connsiteY1067" fmla="*/ 392490 h 1220812"/>
                    <a:gd name="connsiteX1068" fmla="*/ 2458929 w 3385376"/>
                    <a:gd name="connsiteY1068" fmla="*/ 385518 h 1220812"/>
                    <a:gd name="connsiteX1069" fmla="*/ 2442703 w 3385376"/>
                    <a:gd name="connsiteY1069" fmla="*/ 384466 h 1220812"/>
                    <a:gd name="connsiteX1070" fmla="*/ 2428062 w 3385376"/>
                    <a:gd name="connsiteY1070" fmla="*/ 380194 h 1220812"/>
                    <a:gd name="connsiteX1071" fmla="*/ 2418605 w 3385376"/>
                    <a:gd name="connsiteY1071" fmla="*/ 405319 h 1220812"/>
                    <a:gd name="connsiteX1072" fmla="*/ 2426566 w 3385376"/>
                    <a:gd name="connsiteY1072" fmla="*/ 439444 h 1220812"/>
                    <a:gd name="connsiteX1073" fmla="*/ 2457471 w 3385376"/>
                    <a:gd name="connsiteY1073" fmla="*/ 481378 h 1220812"/>
                    <a:gd name="connsiteX1074" fmla="*/ 2441791 w 3385376"/>
                    <a:gd name="connsiteY1074" fmla="*/ 476295 h 1220812"/>
                    <a:gd name="connsiteX1075" fmla="*/ 2444744 w 3385376"/>
                    <a:gd name="connsiteY1075" fmla="*/ 475787 h 1220812"/>
                    <a:gd name="connsiteX1076" fmla="*/ 2426439 w 3385376"/>
                    <a:gd name="connsiteY1076" fmla="*/ 464695 h 1220812"/>
                    <a:gd name="connsiteX1077" fmla="*/ 2415220 w 3385376"/>
                    <a:gd name="connsiteY1077" fmla="*/ 443209 h 1220812"/>
                    <a:gd name="connsiteX1078" fmla="*/ 2401581 w 3385376"/>
                    <a:gd name="connsiteY1078" fmla="*/ 424384 h 1220812"/>
                    <a:gd name="connsiteX1079" fmla="*/ 2403583 w 3385376"/>
                    <a:gd name="connsiteY1079" fmla="*/ 391007 h 1220812"/>
                    <a:gd name="connsiteX1080" fmla="*/ 2391655 w 3385376"/>
                    <a:gd name="connsiteY1080" fmla="*/ 375643 h 1220812"/>
                    <a:gd name="connsiteX1081" fmla="*/ 2396129 w 3385376"/>
                    <a:gd name="connsiteY1081" fmla="*/ 351469 h 1220812"/>
                    <a:gd name="connsiteX1082" fmla="*/ 2389018 w 3385376"/>
                    <a:gd name="connsiteY1082" fmla="*/ 349567 h 1220812"/>
                    <a:gd name="connsiteX1083" fmla="*/ 2388993 w 3385376"/>
                    <a:gd name="connsiteY1083" fmla="*/ 344027 h 1220812"/>
                    <a:gd name="connsiteX1084" fmla="*/ 2387307 w 3385376"/>
                    <a:gd name="connsiteY1084" fmla="*/ 336967 h 1220812"/>
                    <a:gd name="connsiteX1085" fmla="*/ 2380436 w 3385376"/>
                    <a:gd name="connsiteY1085" fmla="*/ 336181 h 1220812"/>
                    <a:gd name="connsiteX1086" fmla="*/ 2380512 w 3385376"/>
                    <a:gd name="connsiteY1086" fmla="*/ 327054 h 1220812"/>
                    <a:gd name="connsiteX1087" fmla="*/ 2391744 w 3385376"/>
                    <a:gd name="connsiteY1087" fmla="*/ 296288 h 1220812"/>
                    <a:gd name="connsiteX1088" fmla="*/ 2429012 w 3385376"/>
                    <a:gd name="connsiteY1088" fmla="*/ 253276 h 1220812"/>
                    <a:gd name="connsiteX1089" fmla="*/ 2429012 w 3385376"/>
                    <a:gd name="connsiteY1089" fmla="*/ 253276 h 1220812"/>
                    <a:gd name="connsiteX1090" fmla="*/ 2468918 w 3385376"/>
                    <a:gd name="connsiteY1090" fmla="*/ 222675 h 1220812"/>
                    <a:gd name="connsiteX1091" fmla="*/ 2469197 w 3385376"/>
                    <a:gd name="connsiteY1091" fmla="*/ 254024 h 1220812"/>
                    <a:gd name="connsiteX1092" fmla="*/ 2444706 w 3385376"/>
                    <a:gd name="connsiteY1092" fmla="*/ 267816 h 1220812"/>
                    <a:gd name="connsiteX1093" fmla="*/ 2439407 w 3385376"/>
                    <a:gd name="connsiteY1093" fmla="*/ 247851 h 1220812"/>
                    <a:gd name="connsiteX1094" fmla="*/ 2468918 w 3385376"/>
                    <a:gd name="connsiteY1094" fmla="*/ 222675 h 1220812"/>
                    <a:gd name="connsiteX1095" fmla="*/ 2468918 w 3385376"/>
                    <a:gd name="connsiteY1095" fmla="*/ 222675 h 1220812"/>
                    <a:gd name="connsiteX1096" fmla="*/ 52709 w 3385376"/>
                    <a:gd name="connsiteY1096" fmla="*/ 200758 h 1220812"/>
                    <a:gd name="connsiteX1097" fmla="*/ 50541 w 3385376"/>
                    <a:gd name="connsiteY1097" fmla="*/ 202418 h 1220812"/>
                    <a:gd name="connsiteX1098" fmla="*/ 50541 w 3385376"/>
                    <a:gd name="connsiteY1098" fmla="*/ 205169 h 1220812"/>
                    <a:gd name="connsiteX1099" fmla="*/ 66780 w 3385376"/>
                    <a:gd name="connsiteY1099" fmla="*/ 219265 h 1220812"/>
                    <a:gd name="connsiteX1100" fmla="*/ 71179 w 3385376"/>
                    <a:gd name="connsiteY1100" fmla="*/ 219798 h 1220812"/>
                    <a:gd name="connsiteX1101" fmla="*/ 69822 w 3385376"/>
                    <a:gd name="connsiteY1101" fmla="*/ 217490 h 1220812"/>
                    <a:gd name="connsiteX1102" fmla="*/ 88051 w 3385376"/>
                    <a:gd name="connsiteY1102" fmla="*/ 232892 h 1220812"/>
                    <a:gd name="connsiteX1103" fmla="*/ 88508 w 3385376"/>
                    <a:gd name="connsiteY1103" fmla="*/ 228836 h 1220812"/>
                    <a:gd name="connsiteX1104" fmla="*/ 81928 w 3385376"/>
                    <a:gd name="connsiteY1104" fmla="*/ 239903 h 1220812"/>
                    <a:gd name="connsiteX1105" fmla="*/ 83424 w 3385376"/>
                    <a:gd name="connsiteY1105" fmla="*/ 238407 h 1220812"/>
                    <a:gd name="connsiteX1106" fmla="*/ 52620 w 3385376"/>
                    <a:gd name="connsiteY1106" fmla="*/ 222536 h 1220812"/>
                    <a:gd name="connsiteX1107" fmla="*/ 42948 w 3385376"/>
                    <a:gd name="connsiteY1107" fmla="*/ 205169 h 1220812"/>
                    <a:gd name="connsiteX1108" fmla="*/ 43760 w 3385376"/>
                    <a:gd name="connsiteY1108" fmla="*/ 198095 h 1220812"/>
                    <a:gd name="connsiteX1109" fmla="*/ 52709 w 3385376"/>
                    <a:gd name="connsiteY1109" fmla="*/ 200758 h 1220812"/>
                    <a:gd name="connsiteX1110" fmla="*/ 52709 w 3385376"/>
                    <a:gd name="connsiteY1110" fmla="*/ 200758 h 1220812"/>
                    <a:gd name="connsiteX1111" fmla="*/ 969006 w 3385376"/>
                    <a:gd name="connsiteY1111" fmla="*/ 113873 h 1220812"/>
                    <a:gd name="connsiteX1112" fmla="*/ 973063 w 3385376"/>
                    <a:gd name="connsiteY1112" fmla="*/ 128438 h 1220812"/>
                    <a:gd name="connsiteX1113" fmla="*/ 976384 w 3385376"/>
                    <a:gd name="connsiteY1113" fmla="*/ 128730 h 1220812"/>
                    <a:gd name="connsiteX1114" fmla="*/ 953300 w 3385376"/>
                    <a:gd name="connsiteY1114" fmla="*/ 142598 h 1220812"/>
                    <a:gd name="connsiteX1115" fmla="*/ 967016 w 3385376"/>
                    <a:gd name="connsiteY1115" fmla="*/ 140012 h 1220812"/>
                    <a:gd name="connsiteX1116" fmla="*/ 945187 w 3385376"/>
                    <a:gd name="connsiteY1116" fmla="*/ 119374 h 1220812"/>
                    <a:gd name="connsiteX1117" fmla="*/ 958916 w 3385376"/>
                    <a:gd name="connsiteY1117" fmla="*/ 107002 h 1220812"/>
                    <a:gd name="connsiteX1118" fmla="*/ 969006 w 3385376"/>
                    <a:gd name="connsiteY1118" fmla="*/ 113873 h 1220812"/>
                    <a:gd name="connsiteX1119" fmla="*/ 969006 w 3385376"/>
                    <a:gd name="connsiteY1119" fmla="*/ 113873 h 1220812"/>
                    <a:gd name="connsiteX1120" fmla="*/ 1580383 w 3385376"/>
                    <a:gd name="connsiteY1120" fmla="*/ 95783 h 1220812"/>
                    <a:gd name="connsiteX1121" fmla="*/ 1624180 w 3385376"/>
                    <a:gd name="connsiteY1121" fmla="*/ 95517 h 1220812"/>
                    <a:gd name="connsiteX1122" fmla="*/ 1653577 w 3385376"/>
                    <a:gd name="connsiteY1122" fmla="*/ 108460 h 1220812"/>
                    <a:gd name="connsiteX1123" fmla="*/ 1639227 w 3385376"/>
                    <a:gd name="connsiteY1123" fmla="*/ 107750 h 1220812"/>
                    <a:gd name="connsiteX1124" fmla="*/ 1640913 w 3385376"/>
                    <a:gd name="connsiteY1124" fmla="*/ 112960 h 1220812"/>
                    <a:gd name="connsiteX1125" fmla="*/ 1646288 w 3385376"/>
                    <a:gd name="connsiteY1125" fmla="*/ 117016 h 1220812"/>
                    <a:gd name="connsiteX1126" fmla="*/ 1650357 w 3385376"/>
                    <a:gd name="connsiteY1126" fmla="*/ 124926 h 1220812"/>
                    <a:gd name="connsiteX1127" fmla="*/ 1663553 w 3385376"/>
                    <a:gd name="connsiteY1127" fmla="*/ 136500 h 1220812"/>
                    <a:gd name="connsiteX1128" fmla="*/ 1672059 w 3385376"/>
                    <a:gd name="connsiteY1128" fmla="*/ 142699 h 1220812"/>
                    <a:gd name="connsiteX1129" fmla="*/ 1659345 w 3385376"/>
                    <a:gd name="connsiteY1129" fmla="*/ 147580 h 1220812"/>
                    <a:gd name="connsiteX1130" fmla="*/ 1646313 w 3385376"/>
                    <a:gd name="connsiteY1130" fmla="*/ 135524 h 1220812"/>
                    <a:gd name="connsiteX1131" fmla="*/ 1645806 w 3385376"/>
                    <a:gd name="connsiteY1131" fmla="*/ 147922 h 1220812"/>
                    <a:gd name="connsiteX1132" fmla="*/ 1613899 w 3385376"/>
                    <a:gd name="connsiteY1132" fmla="*/ 150115 h 1220812"/>
                    <a:gd name="connsiteX1133" fmla="*/ 1624180 w 3385376"/>
                    <a:gd name="connsiteY1133" fmla="*/ 148163 h 1220812"/>
                    <a:gd name="connsiteX1134" fmla="*/ 1626626 w 3385376"/>
                    <a:gd name="connsiteY1134" fmla="*/ 153499 h 1220812"/>
                    <a:gd name="connsiteX1135" fmla="*/ 1639328 w 3385376"/>
                    <a:gd name="connsiteY1135" fmla="*/ 160852 h 1220812"/>
                    <a:gd name="connsiteX1136" fmla="*/ 1641623 w 3385376"/>
                    <a:gd name="connsiteY1136" fmla="*/ 168420 h 1220812"/>
                    <a:gd name="connsiteX1137" fmla="*/ 1631228 w 3385376"/>
                    <a:gd name="connsiteY1137" fmla="*/ 174606 h 1220812"/>
                    <a:gd name="connsiteX1138" fmla="*/ 1653437 w 3385376"/>
                    <a:gd name="connsiteY1138" fmla="*/ 195066 h 1220812"/>
                    <a:gd name="connsiteX1139" fmla="*/ 1662552 w 3385376"/>
                    <a:gd name="connsiteY1139" fmla="*/ 196016 h 1220812"/>
                    <a:gd name="connsiteX1140" fmla="*/ 1651853 w 3385376"/>
                    <a:gd name="connsiteY1140" fmla="*/ 199071 h 1220812"/>
                    <a:gd name="connsiteX1141" fmla="*/ 1666114 w 3385376"/>
                    <a:gd name="connsiteY1141" fmla="*/ 201100 h 1220812"/>
                    <a:gd name="connsiteX1142" fmla="*/ 1657468 w 3385376"/>
                    <a:gd name="connsiteY1142" fmla="*/ 206703 h 1220812"/>
                    <a:gd name="connsiteX1143" fmla="*/ 1672743 w 3385376"/>
                    <a:gd name="connsiteY1143" fmla="*/ 222739 h 1220812"/>
                    <a:gd name="connsiteX1144" fmla="*/ 1688323 w 3385376"/>
                    <a:gd name="connsiteY1144" fmla="*/ 240638 h 1220812"/>
                    <a:gd name="connsiteX1145" fmla="*/ 1672743 w 3385376"/>
                    <a:gd name="connsiteY1145" fmla="*/ 259564 h 1220812"/>
                    <a:gd name="connsiteX1146" fmla="*/ 1678195 w 3385376"/>
                    <a:gd name="connsiteY1146" fmla="*/ 263760 h 1220812"/>
                    <a:gd name="connsiteX1147" fmla="*/ 1666405 w 3385376"/>
                    <a:gd name="connsiteY1147" fmla="*/ 264128 h 1220812"/>
                    <a:gd name="connsiteX1148" fmla="*/ 1674899 w 3385376"/>
                    <a:gd name="connsiteY1148" fmla="*/ 268653 h 1220812"/>
                    <a:gd name="connsiteX1149" fmla="*/ 1675482 w 3385376"/>
                    <a:gd name="connsiteY1149" fmla="*/ 273686 h 1220812"/>
                    <a:gd name="connsiteX1150" fmla="*/ 1681516 w 3385376"/>
                    <a:gd name="connsiteY1150" fmla="*/ 281279 h 1220812"/>
                    <a:gd name="connsiteX1151" fmla="*/ 1689020 w 3385376"/>
                    <a:gd name="connsiteY1151" fmla="*/ 283358 h 1220812"/>
                    <a:gd name="connsiteX1152" fmla="*/ 1694991 w 3385376"/>
                    <a:gd name="connsiteY1152" fmla="*/ 292827 h 1220812"/>
                    <a:gd name="connsiteX1153" fmla="*/ 1717010 w 3385376"/>
                    <a:gd name="connsiteY1153" fmla="*/ 305237 h 1220812"/>
                    <a:gd name="connsiteX1154" fmla="*/ 1715134 w 3385376"/>
                    <a:gd name="connsiteY1154" fmla="*/ 307557 h 1220812"/>
                    <a:gd name="connsiteX1155" fmla="*/ 1742084 w 3385376"/>
                    <a:gd name="connsiteY1155" fmla="*/ 328892 h 1220812"/>
                    <a:gd name="connsiteX1156" fmla="*/ 1750856 w 3385376"/>
                    <a:gd name="connsiteY1156" fmla="*/ 336777 h 1220812"/>
                    <a:gd name="connsiteX1157" fmla="*/ 1759755 w 3385376"/>
                    <a:gd name="connsiteY1157" fmla="*/ 339020 h 1220812"/>
                    <a:gd name="connsiteX1158" fmla="*/ 1745127 w 3385376"/>
                    <a:gd name="connsiteY1158" fmla="*/ 355145 h 1220812"/>
                    <a:gd name="connsiteX1159" fmla="*/ 1737419 w 3385376"/>
                    <a:gd name="connsiteY1159" fmla="*/ 352825 h 1220812"/>
                    <a:gd name="connsiteX1160" fmla="*/ 1726974 w 3385376"/>
                    <a:gd name="connsiteY1160" fmla="*/ 355246 h 1220812"/>
                    <a:gd name="connsiteX1161" fmla="*/ 1705944 w 3385376"/>
                    <a:gd name="connsiteY1161" fmla="*/ 350949 h 1220812"/>
                    <a:gd name="connsiteX1162" fmla="*/ 1689844 w 3385376"/>
                    <a:gd name="connsiteY1162" fmla="*/ 345219 h 1220812"/>
                    <a:gd name="connsiteX1163" fmla="*/ 1681604 w 3385376"/>
                    <a:gd name="connsiteY1163" fmla="*/ 333354 h 1220812"/>
                    <a:gd name="connsiteX1164" fmla="*/ 1685851 w 3385376"/>
                    <a:gd name="connsiteY1164" fmla="*/ 348756 h 1220812"/>
                    <a:gd name="connsiteX1165" fmla="*/ 1681047 w 3385376"/>
                    <a:gd name="connsiteY1165" fmla="*/ 353028 h 1220812"/>
                    <a:gd name="connsiteX1166" fmla="*/ 1665252 w 3385376"/>
                    <a:gd name="connsiteY1166" fmla="*/ 366516 h 1220812"/>
                    <a:gd name="connsiteX1167" fmla="*/ 1649913 w 3385376"/>
                    <a:gd name="connsiteY1167" fmla="*/ 404165 h 1220812"/>
                    <a:gd name="connsiteX1168" fmla="*/ 1647847 w 3385376"/>
                    <a:gd name="connsiteY1168" fmla="*/ 411758 h 1220812"/>
                    <a:gd name="connsiteX1169" fmla="*/ 1650636 w 3385376"/>
                    <a:gd name="connsiteY1169" fmla="*/ 417247 h 1220812"/>
                    <a:gd name="connsiteX1170" fmla="*/ 1647213 w 3385376"/>
                    <a:gd name="connsiteY1170" fmla="*/ 421950 h 1220812"/>
                    <a:gd name="connsiteX1171" fmla="*/ 1643841 w 3385376"/>
                    <a:gd name="connsiteY1171" fmla="*/ 432129 h 1220812"/>
                    <a:gd name="connsiteX1172" fmla="*/ 1647555 w 3385376"/>
                    <a:gd name="connsiteY1172" fmla="*/ 439190 h 1220812"/>
                    <a:gd name="connsiteX1173" fmla="*/ 1644297 w 3385376"/>
                    <a:gd name="connsiteY1173" fmla="*/ 453122 h 1220812"/>
                    <a:gd name="connsiteX1174" fmla="*/ 1658267 w 3385376"/>
                    <a:gd name="connsiteY1174" fmla="*/ 445288 h 1220812"/>
                    <a:gd name="connsiteX1175" fmla="*/ 1652664 w 3385376"/>
                    <a:gd name="connsiteY1175" fmla="*/ 451461 h 1220812"/>
                    <a:gd name="connsiteX1176" fmla="*/ 1650877 w 3385376"/>
                    <a:gd name="connsiteY1176" fmla="*/ 459650 h 1220812"/>
                    <a:gd name="connsiteX1177" fmla="*/ 1654274 w 3385376"/>
                    <a:gd name="connsiteY1177" fmla="*/ 460842 h 1220812"/>
                    <a:gd name="connsiteX1178" fmla="*/ 1647390 w 3385376"/>
                    <a:gd name="connsiteY1178" fmla="*/ 465950 h 1220812"/>
                    <a:gd name="connsiteX1179" fmla="*/ 1647847 w 3385376"/>
                    <a:gd name="connsiteY1179" fmla="*/ 473227 h 1220812"/>
                    <a:gd name="connsiteX1180" fmla="*/ 1639709 w 3385376"/>
                    <a:gd name="connsiteY1180" fmla="*/ 476218 h 1220812"/>
                    <a:gd name="connsiteX1181" fmla="*/ 1636742 w 3385376"/>
                    <a:gd name="connsiteY1181" fmla="*/ 480757 h 1220812"/>
                    <a:gd name="connsiteX1182" fmla="*/ 1619071 w 3385376"/>
                    <a:gd name="connsiteY1182" fmla="*/ 493357 h 1220812"/>
                    <a:gd name="connsiteX1183" fmla="*/ 1610426 w 3385376"/>
                    <a:gd name="connsiteY1183" fmla="*/ 504893 h 1220812"/>
                    <a:gd name="connsiteX1184" fmla="*/ 1599144 w 3385376"/>
                    <a:gd name="connsiteY1184" fmla="*/ 502370 h 1220812"/>
                    <a:gd name="connsiteX1185" fmla="*/ 1596672 w 3385376"/>
                    <a:gd name="connsiteY1185" fmla="*/ 503980 h 1220812"/>
                    <a:gd name="connsiteX1186" fmla="*/ 1593706 w 3385376"/>
                    <a:gd name="connsiteY1186" fmla="*/ 489744 h 1220812"/>
                    <a:gd name="connsiteX1187" fmla="*/ 1592172 w 3385376"/>
                    <a:gd name="connsiteY1187" fmla="*/ 504272 h 1220812"/>
                    <a:gd name="connsiteX1188" fmla="*/ 1577555 w 3385376"/>
                    <a:gd name="connsiteY1188" fmla="*/ 524225 h 1220812"/>
                    <a:gd name="connsiteX1189" fmla="*/ 1572789 w 3385376"/>
                    <a:gd name="connsiteY1189" fmla="*/ 535583 h 1220812"/>
                    <a:gd name="connsiteX1190" fmla="*/ 1554205 w 3385376"/>
                    <a:gd name="connsiteY1190" fmla="*/ 546079 h 1220812"/>
                    <a:gd name="connsiteX1191" fmla="*/ 1570317 w 3385376"/>
                    <a:gd name="connsiteY1191" fmla="*/ 547499 h 1220812"/>
                    <a:gd name="connsiteX1192" fmla="*/ 1571788 w 3385376"/>
                    <a:gd name="connsiteY1192" fmla="*/ 563839 h 1220812"/>
                    <a:gd name="connsiteX1193" fmla="*/ 1558680 w 3385376"/>
                    <a:gd name="connsiteY1193" fmla="*/ 574018 h 1220812"/>
                    <a:gd name="connsiteX1194" fmla="*/ 1567427 w 3385376"/>
                    <a:gd name="connsiteY1194" fmla="*/ 576072 h 1220812"/>
                    <a:gd name="connsiteX1195" fmla="*/ 1577873 w 3385376"/>
                    <a:gd name="connsiteY1195" fmla="*/ 576971 h 1220812"/>
                    <a:gd name="connsiteX1196" fmla="*/ 1581979 w 3385376"/>
                    <a:gd name="connsiteY1196" fmla="*/ 575108 h 1220812"/>
                    <a:gd name="connsiteX1197" fmla="*/ 1578025 w 3385376"/>
                    <a:gd name="connsiteY1197" fmla="*/ 597558 h 1220812"/>
                    <a:gd name="connsiteX1198" fmla="*/ 1570115 w 3385376"/>
                    <a:gd name="connsiteY1198" fmla="*/ 598166 h 1220812"/>
                    <a:gd name="connsiteX1199" fmla="*/ 1559669 w 3385376"/>
                    <a:gd name="connsiteY1199" fmla="*/ 606292 h 1220812"/>
                    <a:gd name="connsiteX1200" fmla="*/ 1562762 w 3385376"/>
                    <a:gd name="connsiteY1200" fmla="*/ 629123 h 1220812"/>
                    <a:gd name="connsiteX1201" fmla="*/ 1548856 w 3385376"/>
                    <a:gd name="connsiteY1201" fmla="*/ 621631 h 1220812"/>
                    <a:gd name="connsiteX1202" fmla="*/ 1545877 w 3385376"/>
                    <a:gd name="connsiteY1202" fmla="*/ 635613 h 1220812"/>
                    <a:gd name="connsiteX1203" fmla="*/ 1557324 w 3385376"/>
                    <a:gd name="connsiteY1203" fmla="*/ 645209 h 1220812"/>
                    <a:gd name="connsiteX1204" fmla="*/ 1550085 w 3385376"/>
                    <a:gd name="connsiteY1204" fmla="*/ 646629 h 1220812"/>
                    <a:gd name="connsiteX1205" fmla="*/ 1547081 w 3385376"/>
                    <a:gd name="connsiteY1205" fmla="*/ 655731 h 1220812"/>
                    <a:gd name="connsiteX1206" fmla="*/ 1550479 w 3385376"/>
                    <a:gd name="connsiteY1206" fmla="*/ 651801 h 1220812"/>
                    <a:gd name="connsiteX1207" fmla="*/ 1538981 w 3385376"/>
                    <a:gd name="connsiteY1207" fmla="*/ 666899 h 1220812"/>
                    <a:gd name="connsiteX1208" fmla="*/ 1537168 w 3385376"/>
                    <a:gd name="connsiteY1208" fmla="*/ 677230 h 1220812"/>
                    <a:gd name="connsiteX1209" fmla="*/ 1529106 w 3385376"/>
                    <a:gd name="connsiteY1209" fmla="*/ 680412 h 1220812"/>
                    <a:gd name="connsiteX1210" fmla="*/ 1477665 w 3385376"/>
                    <a:gd name="connsiteY1210" fmla="*/ 703914 h 1220812"/>
                    <a:gd name="connsiteX1211" fmla="*/ 1446848 w 3385376"/>
                    <a:gd name="connsiteY1211" fmla="*/ 718670 h 1220812"/>
                    <a:gd name="connsiteX1212" fmla="*/ 1436212 w 3385376"/>
                    <a:gd name="connsiteY1212" fmla="*/ 711076 h 1220812"/>
                    <a:gd name="connsiteX1213" fmla="*/ 1434564 w 3385376"/>
                    <a:gd name="connsiteY1213" fmla="*/ 683822 h 1220812"/>
                    <a:gd name="connsiteX1214" fmla="*/ 1430571 w 3385376"/>
                    <a:gd name="connsiteY1214" fmla="*/ 660763 h 1220812"/>
                    <a:gd name="connsiteX1215" fmla="*/ 1415562 w 3385376"/>
                    <a:gd name="connsiteY1215" fmla="*/ 668217 h 1220812"/>
                    <a:gd name="connsiteX1216" fmla="*/ 1416830 w 3385376"/>
                    <a:gd name="connsiteY1216" fmla="*/ 650711 h 1220812"/>
                    <a:gd name="connsiteX1217" fmla="*/ 1398576 w 3385376"/>
                    <a:gd name="connsiteY1217" fmla="*/ 649139 h 1220812"/>
                    <a:gd name="connsiteX1218" fmla="*/ 1386064 w 3385376"/>
                    <a:gd name="connsiteY1218" fmla="*/ 664199 h 1220812"/>
                    <a:gd name="connsiteX1219" fmla="*/ 1368684 w 3385376"/>
                    <a:gd name="connsiteY1219" fmla="*/ 669941 h 1220812"/>
                    <a:gd name="connsiteX1220" fmla="*/ 1363462 w 3385376"/>
                    <a:gd name="connsiteY1220" fmla="*/ 657898 h 1220812"/>
                    <a:gd name="connsiteX1221" fmla="*/ 1338375 w 3385376"/>
                    <a:gd name="connsiteY1221" fmla="*/ 647136 h 1220812"/>
                    <a:gd name="connsiteX1222" fmla="*/ 1341912 w 3385376"/>
                    <a:gd name="connsiteY1222" fmla="*/ 655198 h 1220812"/>
                    <a:gd name="connsiteX1223" fmla="*/ 1318574 w 3385376"/>
                    <a:gd name="connsiteY1223" fmla="*/ 629478 h 1220812"/>
                    <a:gd name="connsiteX1224" fmla="*/ 1317547 w 3385376"/>
                    <a:gd name="connsiteY1224" fmla="*/ 646642 h 1220812"/>
                    <a:gd name="connsiteX1225" fmla="*/ 1281977 w 3385376"/>
                    <a:gd name="connsiteY1225" fmla="*/ 667735 h 1220812"/>
                    <a:gd name="connsiteX1226" fmla="*/ 1258969 w 3385376"/>
                    <a:gd name="connsiteY1226" fmla="*/ 659115 h 1220812"/>
                    <a:gd name="connsiteX1227" fmla="*/ 1236950 w 3385376"/>
                    <a:gd name="connsiteY1227" fmla="*/ 676292 h 1220812"/>
                    <a:gd name="connsiteX1228" fmla="*/ 1228381 w 3385376"/>
                    <a:gd name="connsiteY1228" fmla="*/ 649164 h 1220812"/>
                    <a:gd name="connsiteX1229" fmla="*/ 1224388 w 3385376"/>
                    <a:gd name="connsiteY1229" fmla="*/ 628324 h 1220812"/>
                    <a:gd name="connsiteX1230" fmla="*/ 1223893 w 3385376"/>
                    <a:gd name="connsiteY1230" fmla="*/ 615888 h 1220812"/>
                    <a:gd name="connsiteX1231" fmla="*/ 1220306 w 3385376"/>
                    <a:gd name="connsiteY1231" fmla="*/ 630732 h 1220812"/>
                    <a:gd name="connsiteX1232" fmla="*/ 1206983 w 3385376"/>
                    <a:gd name="connsiteY1232" fmla="*/ 634929 h 1220812"/>
                    <a:gd name="connsiteX1233" fmla="*/ 1192101 w 3385376"/>
                    <a:gd name="connsiteY1233" fmla="*/ 629706 h 1220812"/>
                    <a:gd name="connsiteX1234" fmla="*/ 1167102 w 3385376"/>
                    <a:gd name="connsiteY1234" fmla="*/ 641571 h 1220812"/>
                    <a:gd name="connsiteX1235" fmla="*/ 1149938 w 3385376"/>
                    <a:gd name="connsiteY1235" fmla="*/ 637046 h 1220812"/>
                    <a:gd name="connsiteX1236" fmla="*/ 1165607 w 3385376"/>
                    <a:gd name="connsiteY1236" fmla="*/ 627766 h 1220812"/>
                    <a:gd name="connsiteX1237" fmla="*/ 1164871 w 3385376"/>
                    <a:gd name="connsiteY1237" fmla="*/ 626270 h 1220812"/>
                    <a:gd name="connsiteX1238" fmla="*/ 1151929 w 3385376"/>
                    <a:gd name="connsiteY1238" fmla="*/ 631861 h 1220812"/>
                    <a:gd name="connsiteX1239" fmla="*/ 1140976 w 3385376"/>
                    <a:gd name="connsiteY1239" fmla="*/ 638047 h 1220812"/>
                    <a:gd name="connsiteX1240" fmla="*/ 1139797 w 3385376"/>
                    <a:gd name="connsiteY1240" fmla="*/ 628501 h 1220812"/>
                    <a:gd name="connsiteX1241" fmla="*/ 1121568 w 3385376"/>
                    <a:gd name="connsiteY1241" fmla="*/ 631163 h 1220812"/>
                    <a:gd name="connsiteX1242" fmla="*/ 1111022 w 3385376"/>
                    <a:gd name="connsiteY1242" fmla="*/ 616192 h 1220812"/>
                    <a:gd name="connsiteX1243" fmla="*/ 1114926 w 3385376"/>
                    <a:gd name="connsiteY1243" fmla="*/ 599675 h 1220812"/>
                    <a:gd name="connsiteX1244" fmla="*/ 1101413 w 3385376"/>
                    <a:gd name="connsiteY1244" fmla="*/ 575285 h 1220812"/>
                    <a:gd name="connsiteX1245" fmla="*/ 1101033 w 3385376"/>
                    <a:gd name="connsiteY1245" fmla="*/ 557868 h 1220812"/>
                    <a:gd name="connsiteX1246" fmla="*/ 1087088 w 3385376"/>
                    <a:gd name="connsiteY1246" fmla="*/ 548766 h 1220812"/>
                    <a:gd name="connsiteX1247" fmla="*/ 1097584 w 3385376"/>
                    <a:gd name="connsiteY1247" fmla="*/ 527736 h 1220812"/>
                    <a:gd name="connsiteX1248" fmla="*/ 1097217 w 3385376"/>
                    <a:gd name="connsiteY1248" fmla="*/ 510065 h 1220812"/>
                    <a:gd name="connsiteX1249" fmla="*/ 1090409 w 3385376"/>
                    <a:gd name="connsiteY1249" fmla="*/ 506452 h 1220812"/>
                    <a:gd name="connsiteX1250" fmla="*/ 1089535 w 3385376"/>
                    <a:gd name="connsiteY1250" fmla="*/ 497413 h 1220812"/>
                    <a:gd name="connsiteX1251" fmla="*/ 1082499 w 3385376"/>
                    <a:gd name="connsiteY1251" fmla="*/ 494321 h 1220812"/>
                    <a:gd name="connsiteX1252" fmla="*/ 1076744 w 3385376"/>
                    <a:gd name="connsiteY1252" fmla="*/ 478538 h 1220812"/>
                    <a:gd name="connsiteX1253" fmla="*/ 1065842 w 3385376"/>
                    <a:gd name="connsiteY1253" fmla="*/ 484674 h 1220812"/>
                    <a:gd name="connsiteX1254" fmla="*/ 1058465 w 3385376"/>
                    <a:gd name="connsiteY1254" fmla="*/ 477689 h 1220812"/>
                    <a:gd name="connsiteX1255" fmla="*/ 1051518 w 3385376"/>
                    <a:gd name="connsiteY1255" fmla="*/ 479109 h 1220812"/>
                    <a:gd name="connsiteX1256" fmla="*/ 1043963 w 3385376"/>
                    <a:gd name="connsiteY1256" fmla="*/ 479438 h 1220812"/>
                    <a:gd name="connsiteX1257" fmla="*/ 1039247 w 3385376"/>
                    <a:gd name="connsiteY1257" fmla="*/ 463909 h 1220812"/>
                    <a:gd name="connsiteX1258" fmla="*/ 1057958 w 3385376"/>
                    <a:gd name="connsiteY1258" fmla="*/ 467763 h 1220812"/>
                    <a:gd name="connsiteX1259" fmla="*/ 1046561 w 3385376"/>
                    <a:gd name="connsiteY1259" fmla="*/ 462097 h 1220812"/>
                    <a:gd name="connsiteX1260" fmla="*/ 1046561 w 3385376"/>
                    <a:gd name="connsiteY1260" fmla="*/ 459625 h 1220812"/>
                    <a:gd name="connsiteX1261" fmla="*/ 1051632 w 3385376"/>
                    <a:gd name="connsiteY1261" fmla="*/ 460069 h 1220812"/>
                    <a:gd name="connsiteX1262" fmla="*/ 1035761 w 3385376"/>
                    <a:gd name="connsiteY1262" fmla="*/ 455087 h 1220812"/>
                    <a:gd name="connsiteX1263" fmla="*/ 1030323 w 3385376"/>
                    <a:gd name="connsiteY1263" fmla="*/ 440927 h 1220812"/>
                    <a:gd name="connsiteX1264" fmla="*/ 1027787 w 3385376"/>
                    <a:gd name="connsiteY1264" fmla="*/ 433384 h 1220812"/>
                    <a:gd name="connsiteX1265" fmla="*/ 1025252 w 3385376"/>
                    <a:gd name="connsiteY1265" fmla="*/ 434411 h 1220812"/>
                    <a:gd name="connsiteX1266" fmla="*/ 1036889 w 3385376"/>
                    <a:gd name="connsiteY1266" fmla="*/ 431914 h 1220812"/>
                    <a:gd name="connsiteX1267" fmla="*/ 1042492 w 3385376"/>
                    <a:gd name="connsiteY1267" fmla="*/ 413685 h 1220812"/>
                    <a:gd name="connsiteX1268" fmla="*/ 1025785 w 3385376"/>
                    <a:gd name="connsiteY1268" fmla="*/ 394962 h 1220812"/>
                    <a:gd name="connsiteX1269" fmla="*/ 1015187 w 3385376"/>
                    <a:gd name="connsiteY1269" fmla="*/ 386557 h 1220812"/>
                    <a:gd name="connsiteX1270" fmla="*/ 1014464 w 3385376"/>
                    <a:gd name="connsiteY1270" fmla="*/ 373817 h 1220812"/>
                    <a:gd name="connsiteX1271" fmla="*/ 1011511 w 3385376"/>
                    <a:gd name="connsiteY1271" fmla="*/ 360900 h 1220812"/>
                    <a:gd name="connsiteX1272" fmla="*/ 1013387 w 3385376"/>
                    <a:gd name="connsiteY1272" fmla="*/ 350239 h 1220812"/>
                    <a:gd name="connsiteX1273" fmla="*/ 1018851 w 3385376"/>
                    <a:gd name="connsiteY1273" fmla="*/ 344129 h 1220812"/>
                    <a:gd name="connsiteX1274" fmla="*/ 1015187 w 3385376"/>
                    <a:gd name="connsiteY1274" fmla="*/ 331427 h 1220812"/>
                    <a:gd name="connsiteX1275" fmla="*/ 1029575 w 3385376"/>
                    <a:gd name="connsiteY1275" fmla="*/ 323276 h 1220812"/>
                    <a:gd name="connsiteX1276" fmla="*/ 1039995 w 3385376"/>
                    <a:gd name="connsiteY1276" fmla="*/ 311386 h 1220812"/>
                    <a:gd name="connsiteX1277" fmla="*/ 1019243 w 3385376"/>
                    <a:gd name="connsiteY1277" fmla="*/ 325038 h 1220812"/>
                    <a:gd name="connsiteX1278" fmla="*/ 1028561 w 3385376"/>
                    <a:gd name="connsiteY1278" fmla="*/ 298874 h 1220812"/>
                    <a:gd name="connsiteX1279" fmla="*/ 1045902 w 3385376"/>
                    <a:gd name="connsiteY1279" fmla="*/ 280696 h 1220812"/>
                    <a:gd name="connsiteX1280" fmla="*/ 1041440 w 3385376"/>
                    <a:gd name="connsiteY1280" fmla="*/ 283675 h 1220812"/>
                    <a:gd name="connsiteX1281" fmla="*/ 1046815 w 3385376"/>
                    <a:gd name="connsiteY1281" fmla="*/ 271150 h 1220812"/>
                    <a:gd name="connsiteX1282" fmla="*/ 1067959 w 3385376"/>
                    <a:gd name="connsiteY1282" fmla="*/ 261250 h 1220812"/>
                    <a:gd name="connsiteX1283" fmla="*/ 1059796 w 3385376"/>
                    <a:gd name="connsiteY1283" fmla="*/ 279174 h 1220812"/>
                    <a:gd name="connsiteX1284" fmla="*/ 1067085 w 3385376"/>
                    <a:gd name="connsiteY1284" fmla="*/ 283168 h 1220812"/>
                    <a:gd name="connsiteX1285" fmla="*/ 1068479 w 3385376"/>
                    <a:gd name="connsiteY1285" fmla="*/ 296224 h 1220812"/>
                    <a:gd name="connsiteX1286" fmla="*/ 1081586 w 3385376"/>
                    <a:gd name="connsiteY1286" fmla="*/ 310485 h 1220812"/>
                    <a:gd name="connsiteX1287" fmla="*/ 1089535 w 3385376"/>
                    <a:gd name="connsiteY1287" fmla="*/ 314174 h 1220812"/>
                    <a:gd name="connsiteX1288" fmla="*/ 1096101 w 3385376"/>
                    <a:gd name="connsiteY1288" fmla="*/ 321945 h 1220812"/>
                    <a:gd name="connsiteX1289" fmla="*/ 1104303 w 3385376"/>
                    <a:gd name="connsiteY1289" fmla="*/ 327219 h 1220812"/>
                    <a:gd name="connsiteX1290" fmla="*/ 1112695 w 3385376"/>
                    <a:gd name="connsiteY1290" fmla="*/ 337347 h 1220812"/>
                    <a:gd name="connsiteX1291" fmla="*/ 1127564 w 3385376"/>
                    <a:gd name="connsiteY1291" fmla="*/ 349238 h 1220812"/>
                    <a:gd name="connsiteX1292" fmla="*/ 1152347 w 3385376"/>
                    <a:gd name="connsiteY1292" fmla="*/ 347083 h 1220812"/>
                    <a:gd name="connsiteX1293" fmla="*/ 1183481 w 3385376"/>
                    <a:gd name="connsiteY1293" fmla="*/ 335458 h 1220812"/>
                    <a:gd name="connsiteX1294" fmla="*/ 1205309 w 3385376"/>
                    <a:gd name="connsiteY1294" fmla="*/ 343964 h 1220812"/>
                    <a:gd name="connsiteX1295" fmla="*/ 1222410 w 3385376"/>
                    <a:gd name="connsiteY1295" fmla="*/ 340808 h 1220812"/>
                    <a:gd name="connsiteX1296" fmla="*/ 1232171 w 3385376"/>
                    <a:gd name="connsiteY1296" fmla="*/ 336396 h 1220812"/>
                    <a:gd name="connsiteX1297" fmla="*/ 1246064 w 3385376"/>
                    <a:gd name="connsiteY1297" fmla="*/ 331072 h 1220812"/>
                    <a:gd name="connsiteX1298" fmla="*/ 1255952 w 3385376"/>
                    <a:gd name="connsiteY1298" fmla="*/ 312096 h 1220812"/>
                    <a:gd name="connsiteX1299" fmla="*/ 1253987 w 3385376"/>
                    <a:gd name="connsiteY1299" fmla="*/ 308952 h 1220812"/>
                    <a:gd name="connsiteX1300" fmla="*/ 1264344 w 3385376"/>
                    <a:gd name="connsiteY1300" fmla="*/ 303678 h 1220812"/>
                    <a:gd name="connsiteX1301" fmla="*/ 1302944 w 3385376"/>
                    <a:gd name="connsiteY1301" fmla="*/ 299546 h 1220812"/>
                    <a:gd name="connsiteX1302" fmla="*/ 1312882 w 3385376"/>
                    <a:gd name="connsiteY1302" fmla="*/ 310333 h 1220812"/>
                    <a:gd name="connsiteX1303" fmla="*/ 1347134 w 3385376"/>
                    <a:gd name="connsiteY1303" fmla="*/ 319372 h 1220812"/>
                    <a:gd name="connsiteX1304" fmla="*/ 1353992 w 3385376"/>
                    <a:gd name="connsiteY1304" fmla="*/ 317825 h 1220812"/>
                    <a:gd name="connsiteX1305" fmla="*/ 1360090 w 3385376"/>
                    <a:gd name="connsiteY1305" fmla="*/ 323124 h 1220812"/>
                    <a:gd name="connsiteX1306" fmla="*/ 1378927 w 3385376"/>
                    <a:gd name="connsiteY1306" fmla="*/ 311804 h 1220812"/>
                    <a:gd name="connsiteX1307" fmla="*/ 1398183 w 3385376"/>
                    <a:gd name="connsiteY1307" fmla="*/ 307063 h 1220812"/>
                    <a:gd name="connsiteX1308" fmla="*/ 1402696 w 3385376"/>
                    <a:gd name="connsiteY1308" fmla="*/ 309979 h 1220812"/>
                    <a:gd name="connsiteX1309" fmla="*/ 1410733 w 3385376"/>
                    <a:gd name="connsiteY1309" fmla="*/ 306264 h 1220812"/>
                    <a:gd name="connsiteX1310" fmla="*/ 1420202 w 3385376"/>
                    <a:gd name="connsiteY1310" fmla="*/ 304261 h 1220812"/>
                    <a:gd name="connsiteX1311" fmla="*/ 1427719 w 3385376"/>
                    <a:gd name="connsiteY1311" fmla="*/ 309066 h 1220812"/>
                    <a:gd name="connsiteX1312" fmla="*/ 1431535 w 3385376"/>
                    <a:gd name="connsiteY1312" fmla="*/ 302373 h 1220812"/>
                    <a:gd name="connsiteX1313" fmla="*/ 1442335 w 3385376"/>
                    <a:gd name="connsiteY1313" fmla="*/ 277539 h 1220812"/>
                    <a:gd name="connsiteX1314" fmla="*/ 1451868 w 3385376"/>
                    <a:gd name="connsiteY1314" fmla="*/ 268336 h 1220812"/>
                    <a:gd name="connsiteX1315" fmla="*/ 1446848 w 3385376"/>
                    <a:gd name="connsiteY1315" fmla="*/ 263037 h 1220812"/>
                    <a:gd name="connsiteX1316" fmla="*/ 1447520 w 3385376"/>
                    <a:gd name="connsiteY1316" fmla="*/ 249182 h 1220812"/>
                    <a:gd name="connsiteX1317" fmla="*/ 1456520 w 3385376"/>
                    <a:gd name="connsiteY1317" fmla="*/ 246811 h 1220812"/>
                    <a:gd name="connsiteX1318" fmla="*/ 1458054 w 3385376"/>
                    <a:gd name="connsiteY1318" fmla="*/ 241297 h 1220812"/>
                    <a:gd name="connsiteX1319" fmla="*/ 1478045 w 3385376"/>
                    <a:gd name="connsiteY1319" fmla="*/ 226782 h 1220812"/>
                    <a:gd name="connsiteX1320" fmla="*/ 1468018 w 3385376"/>
                    <a:gd name="connsiteY1320" fmla="*/ 222599 h 1220812"/>
                    <a:gd name="connsiteX1321" fmla="*/ 1469932 w 3385376"/>
                    <a:gd name="connsiteY1321" fmla="*/ 213662 h 1220812"/>
                    <a:gd name="connsiteX1322" fmla="*/ 1471377 w 3385376"/>
                    <a:gd name="connsiteY1322" fmla="*/ 203331 h 1220812"/>
                    <a:gd name="connsiteX1323" fmla="*/ 1481721 w 3385376"/>
                    <a:gd name="connsiteY1323" fmla="*/ 190705 h 1220812"/>
                    <a:gd name="connsiteX1324" fmla="*/ 1505414 w 3385376"/>
                    <a:gd name="connsiteY1324" fmla="*/ 162487 h 1220812"/>
                    <a:gd name="connsiteX1325" fmla="*/ 1507340 w 3385376"/>
                    <a:gd name="connsiteY1325" fmla="*/ 159217 h 1220812"/>
                    <a:gd name="connsiteX1326" fmla="*/ 1504184 w 3385376"/>
                    <a:gd name="connsiteY1326" fmla="*/ 148315 h 1220812"/>
                    <a:gd name="connsiteX1327" fmla="*/ 1507366 w 3385376"/>
                    <a:gd name="connsiteY1327" fmla="*/ 133040 h 1220812"/>
                    <a:gd name="connsiteX1328" fmla="*/ 1503626 w 3385376"/>
                    <a:gd name="connsiteY1328" fmla="*/ 126853 h 1220812"/>
                    <a:gd name="connsiteX1329" fmla="*/ 1512715 w 3385376"/>
                    <a:gd name="connsiteY1329" fmla="*/ 106850 h 1220812"/>
                    <a:gd name="connsiteX1330" fmla="*/ 1519079 w 3385376"/>
                    <a:gd name="connsiteY1330" fmla="*/ 103377 h 1220812"/>
                    <a:gd name="connsiteX1331" fmla="*/ 1524555 w 3385376"/>
                    <a:gd name="connsiteY1331" fmla="*/ 96658 h 1220812"/>
                    <a:gd name="connsiteX1332" fmla="*/ 1528421 w 3385376"/>
                    <a:gd name="connsiteY1332" fmla="*/ 93704 h 1220812"/>
                    <a:gd name="connsiteX1333" fmla="*/ 1536839 w 3385376"/>
                    <a:gd name="connsiteY1333" fmla="*/ 97685 h 1220812"/>
                    <a:gd name="connsiteX1334" fmla="*/ 1550326 w 3385376"/>
                    <a:gd name="connsiteY1334" fmla="*/ 92931 h 1220812"/>
                    <a:gd name="connsiteX1335" fmla="*/ 1560721 w 3385376"/>
                    <a:gd name="connsiteY1335" fmla="*/ 91929 h 1220812"/>
                    <a:gd name="connsiteX1336" fmla="*/ 1566641 w 3385376"/>
                    <a:gd name="connsiteY1336" fmla="*/ 98445 h 1220812"/>
                    <a:gd name="connsiteX1337" fmla="*/ 1580383 w 3385376"/>
                    <a:gd name="connsiteY1337" fmla="*/ 95783 h 1220812"/>
                    <a:gd name="connsiteX1338" fmla="*/ 1580383 w 3385376"/>
                    <a:gd name="connsiteY1338" fmla="*/ 95783 h 1220812"/>
                    <a:gd name="connsiteX1339" fmla="*/ 22438 w 3385376"/>
                    <a:gd name="connsiteY1339" fmla="*/ 1964 h 1220812"/>
                    <a:gd name="connsiteX1340" fmla="*/ 74589 w 3385376"/>
                    <a:gd name="connsiteY1340" fmla="*/ 26633 h 1220812"/>
                    <a:gd name="connsiteX1341" fmla="*/ 125282 w 3385376"/>
                    <a:gd name="connsiteY1341" fmla="*/ 27241 h 1220812"/>
                    <a:gd name="connsiteX1342" fmla="*/ 147542 w 3385376"/>
                    <a:gd name="connsiteY1342" fmla="*/ 35012 h 1220812"/>
                    <a:gd name="connsiteX1343" fmla="*/ 165441 w 3385376"/>
                    <a:gd name="connsiteY1343" fmla="*/ 29852 h 1220812"/>
                    <a:gd name="connsiteX1344" fmla="*/ 179563 w 3385376"/>
                    <a:gd name="connsiteY1344" fmla="*/ 37915 h 1220812"/>
                    <a:gd name="connsiteX1345" fmla="*/ 206830 w 3385376"/>
                    <a:gd name="connsiteY1345" fmla="*/ 79988 h 1220812"/>
                    <a:gd name="connsiteX1346" fmla="*/ 222106 w 3385376"/>
                    <a:gd name="connsiteY1346" fmla="*/ 83703 h 1220812"/>
                    <a:gd name="connsiteX1347" fmla="*/ 226834 w 3385376"/>
                    <a:gd name="connsiteY1347" fmla="*/ 98863 h 1220812"/>
                    <a:gd name="connsiteX1348" fmla="*/ 220255 w 3385376"/>
                    <a:gd name="connsiteY1348" fmla="*/ 112263 h 1220812"/>
                    <a:gd name="connsiteX1349" fmla="*/ 226466 w 3385376"/>
                    <a:gd name="connsiteY1349" fmla="*/ 107179 h 1220812"/>
                    <a:gd name="connsiteX1350" fmla="*/ 251566 w 3385376"/>
                    <a:gd name="connsiteY1350" fmla="*/ 124711 h 1220812"/>
                    <a:gd name="connsiteX1351" fmla="*/ 267830 w 3385376"/>
                    <a:gd name="connsiteY1351" fmla="*/ 141305 h 1220812"/>
                    <a:gd name="connsiteX1352" fmla="*/ 286021 w 3385376"/>
                    <a:gd name="connsiteY1352" fmla="*/ 148822 h 1220812"/>
                    <a:gd name="connsiteX1353" fmla="*/ 319968 w 3385376"/>
                    <a:gd name="connsiteY1353" fmla="*/ 173896 h 1220812"/>
                    <a:gd name="connsiteX1354" fmla="*/ 338147 w 3385376"/>
                    <a:gd name="connsiteY1354" fmla="*/ 183910 h 1220812"/>
                    <a:gd name="connsiteX1355" fmla="*/ 349758 w 3385376"/>
                    <a:gd name="connsiteY1355" fmla="*/ 195700 h 1220812"/>
                    <a:gd name="connsiteX1356" fmla="*/ 355488 w 3385376"/>
                    <a:gd name="connsiteY1356" fmla="*/ 223144 h 1220812"/>
                    <a:gd name="connsiteX1357" fmla="*/ 352965 w 3385376"/>
                    <a:gd name="connsiteY1357" fmla="*/ 215729 h 1220812"/>
                    <a:gd name="connsiteX1358" fmla="*/ 364209 w 3385376"/>
                    <a:gd name="connsiteY1358" fmla="*/ 228468 h 1220812"/>
                    <a:gd name="connsiteX1359" fmla="*/ 382299 w 3385376"/>
                    <a:gd name="connsiteY1359" fmla="*/ 238901 h 1220812"/>
                    <a:gd name="connsiteX1360" fmla="*/ 413673 w 3385376"/>
                    <a:gd name="connsiteY1360" fmla="*/ 264051 h 1220812"/>
                    <a:gd name="connsiteX1361" fmla="*/ 424943 w 3385376"/>
                    <a:gd name="connsiteY1361" fmla="*/ 280290 h 1220812"/>
                    <a:gd name="connsiteX1362" fmla="*/ 414282 w 3385376"/>
                    <a:gd name="connsiteY1362" fmla="*/ 255558 h 1220812"/>
                    <a:gd name="connsiteX1363" fmla="*/ 420785 w 3385376"/>
                    <a:gd name="connsiteY1363" fmla="*/ 245493 h 1220812"/>
                    <a:gd name="connsiteX1364" fmla="*/ 433474 w 3385376"/>
                    <a:gd name="connsiteY1364" fmla="*/ 250551 h 1220812"/>
                    <a:gd name="connsiteX1365" fmla="*/ 452970 w 3385376"/>
                    <a:gd name="connsiteY1365" fmla="*/ 273584 h 1220812"/>
                    <a:gd name="connsiteX1366" fmla="*/ 475598 w 3385376"/>
                    <a:gd name="connsiteY1366" fmla="*/ 292282 h 1220812"/>
                    <a:gd name="connsiteX1367" fmla="*/ 512410 w 3385376"/>
                    <a:gd name="connsiteY1367" fmla="*/ 313642 h 1220812"/>
                    <a:gd name="connsiteX1368" fmla="*/ 518166 w 3385376"/>
                    <a:gd name="connsiteY1368" fmla="*/ 339261 h 1220812"/>
                    <a:gd name="connsiteX1369" fmla="*/ 547106 w 3385376"/>
                    <a:gd name="connsiteY1369" fmla="*/ 360317 h 1220812"/>
                    <a:gd name="connsiteX1370" fmla="*/ 580864 w 3385376"/>
                    <a:gd name="connsiteY1370" fmla="*/ 373475 h 1220812"/>
                    <a:gd name="connsiteX1371" fmla="*/ 556918 w 3385376"/>
                    <a:gd name="connsiteY1371" fmla="*/ 394898 h 1220812"/>
                    <a:gd name="connsiteX1372" fmla="*/ 544761 w 3385376"/>
                    <a:gd name="connsiteY1372" fmla="*/ 400983 h 1220812"/>
                    <a:gd name="connsiteX1373" fmla="*/ 534556 w 3385376"/>
                    <a:gd name="connsiteY1373" fmla="*/ 396407 h 1220812"/>
                    <a:gd name="connsiteX1374" fmla="*/ 541047 w 3385376"/>
                    <a:gd name="connsiteY1374" fmla="*/ 400362 h 1220812"/>
                    <a:gd name="connsiteX1375" fmla="*/ 549958 w 3385376"/>
                    <a:gd name="connsiteY1375" fmla="*/ 399449 h 1220812"/>
                    <a:gd name="connsiteX1376" fmla="*/ 579076 w 3385376"/>
                    <a:gd name="connsiteY1376" fmla="*/ 388902 h 1220812"/>
                    <a:gd name="connsiteX1377" fmla="*/ 621505 w 3385376"/>
                    <a:gd name="connsiteY1377" fmla="*/ 391679 h 1220812"/>
                    <a:gd name="connsiteX1378" fmla="*/ 636755 w 3385376"/>
                    <a:gd name="connsiteY1378" fmla="*/ 413533 h 1220812"/>
                    <a:gd name="connsiteX1379" fmla="*/ 618412 w 3385376"/>
                    <a:gd name="connsiteY1379" fmla="*/ 416334 h 1220812"/>
                    <a:gd name="connsiteX1380" fmla="*/ 596659 w 3385376"/>
                    <a:gd name="connsiteY1380" fmla="*/ 433473 h 1220812"/>
                    <a:gd name="connsiteX1381" fmla="*/ 612847 w 3385376"/>
                    <a:gd name="connsiteY1381" fmla="*/ 430088 h 1220812"/>
                    <a:gd name="connsiteX1382" fmla="*/ 602211 w 3385376"/>
                    <a:gd name="connsiteY1382" fmla="*/ 441003 h 1220812"/>
                    <a:gd name="connsiteX1383" fmla="*/ 618906 w 3385376"/>
                    <a:gd name="connsiteY1383" fmla="*/ 444857 h 1220812"/>
                    <a:gd name="connsiteX1384" fmla="*/ 604214 w 3385376"/>
                    <a:gd name="connsiteY1384" fmla="*/ 447595 h 1220812"/>
                    <a:gd name="connsiteX1385" fmla="*/ 602211 w 3385376"/>
                    <a:gd name="connsiteY1385" fmla="*/ 465709 h 1220812"/>
                    <a:gd name="connsiteX1386" fmla="*/ 609297 w 3385376"/>
                    <a:gd name="connsiteY1386" fmla="*/ 474317 h 1220812"/>
                    <a:gd name="connsiteX1387" fmla="*/ 637946 w 3385376"/>
                    <a:gd name="connsiteY1387" fmla="*/ 493509 h 1220812"/>
                    <a:gd name="connsiteX1388" fmla="*/ 658609 w 3385376"/>
                    <a:gd name="connsiteY1388" fmla="*/ 490188 h 1220812"/>
                    <a:gd name="connsiteX1389" fmla="*/ 672148 w 3385376"/>
                    <a:gd name="connsiteY1389" fmla="*/ 491189 h 1220812"/>
                    <a:gd name="connsiteX1390" fmla="*/ 680045 w 3385376"/>
                    <a:gd name="connsiteY1390" fmla="*/ 502890 h 1220812"/>
                    <a:gd name="connsiteX1391" fmla="*/ 686738 w 3385376"/>
                    <a:gd name="connsiteY1391" fmla="*/ 534683 h 1220812"/>
                    <a:gd name="connsiteX1392" fmla="*/ 689172 w 3385376"/>
                    <a:gd name="connsiteY1392" fmla="*/ 547131 h 1220812"/>
                    <a:gd name="connsiteX1393" fmla="*/ 687321 w 3385376"/>
                    <a:gd name="connsiteY1393" fmla="*/ 556930 h 1220812"/>
                    <a:gd name="connsiteX1394" fmla="*/ 694129 w 3385376"/>
                    <a:gd name="connsiteY1394" fmla="*/ 563040 h 1220812"/>
                    <a:gd name="connsiteX1395" fmla="*/ 698984 w 3385376"/>
                    <a:gd name="connsiteY1395" fmla="*/ 559427 h 1220812"/>
                    <a:gd name="connsiteX1396" fmla="*/ 713879 w 3385376"/>
                    <a:gd name="connsiteY1396" fmla="*/ 565170 h 1220812"/>
                    <a:gd name="connsiteX1397" fmla="*/ 695384 w 3385376"/>
                    <a:gd name="connsiteY1397" fmla="*/ 591195 h 1220812"/>
                    <a:gd name="connsiteX1398" fmla="*/ 700923 w 3385376"/>
                    <a:gd name="connsiteY1398" fmla="*/ 605101 h 1220812"/>
                    <a:gd name="connsiteX1399" fmla="*/ 689857 w 3385376"/>
                    <a:gd name="connsiteY1399" fmla="*/ 618500 h 1220812"/>
                    <a:gd name="connsiteX1400" fmla="*/ 697437 w 3385376"/>
                    <a:gd name="connsiteY1400" fmla="*/ 608891 h 1220812"/>
                    <a:gd name="connsiteX1401" fmla="*/ 707490 w 3385376"/>
                    <a:gd name="connsiteY1401" fmla="*/ 594871 h 1220812"/>
                    <a:gd name="connsiteX1402" fmla="*/ 719241 w 3385376"/>
                    <a:gd name="connsiteY1402" fmla="*/ 589217 h 1220812"/>
                    <a:gd name="connsiteX1403" fmla="*/ 765345 w 3385376"/>
                    <a:gd name="connsiteY1403" fmla="*/ 591714 h 1220812"/>
                    <a:gd name="connsiteX1404" fmla="*/ 764331 w 3385376"/>
                    <a:gd name="connsiteY1404" fmla="*/ 591714 h 1220812"/>
                    <a:gd name="connsiteX1405" fmla="*/ 770010 w 3385376"/>
                    <a:gd name="connsiteY1405" fmla="*/ 604632 h 1220812"/>
                    <a:gd name="connsiteX1406" fmla="*/ 783245 w 3385376"/>
                    <a:gd name="connsiteY1406" fmla="*/ 616510 h 1220812"/>
                    <a:gd name="connsiteX1407" fmla="*/ 791104 w 3385376"/>
                    <a:gd name="connsiteY1407" fmla="*/ 631873 h 1220812"/>
                    <a:gd name="connsiteX1408" fmla="*/ 801537 w 3385376"/>
                    <a:gd name="connsiteY1408" fmla="*/ 635600 h 1220812"/>
                    <a:gd name="connsiteX1409" fmla="*/ 795047 w 3385376"/>
                    <a:gd name="connsiteY1409" fmla="*/ 660117 h 1220812"/>
                    <a:gd name="connsiteX1410" fmla="*/ 786287 w 3385376"/>
                    <a:gd name="connsiteY1410" fmla="*/ 680513 h 1220812"/>
                    <a:gd name="connsiteX1411" fmla="*/ 794590 w 3385376"/>
                    <a:gd name="connsiteY1411" fmla="*/ 696055 h 1220812"/>
                    <a:gd name="connsiteX1412" fmla="*/ 784981 w 3385376"/>
                    <a:gd name="connsiteY1412" fmla="*/ 730459 h 1220812"/>
                    <a:gd name="connsiteX1413" fmla="*/ 791586 w 3385376"/>
                    <a:gd name="connsiteY1413" fmla="*/ 748523 h 1220812"/>
                    <a:gd name="connsiteX1414" fmla="*/ 789748 w 3385376"/>
                    <a:gd name="connsiteY1414" fmla="*/ 760172 h 1220812"/>
                    <a:gd name="connsiteX1415" fmla="*/ 791763 w 3385376"/>
                    <a:gd name="connsiteY1415" fmla="*/ 778338 h 1220812"/>
                    <a:gd name="connsiteX1416" fmla="*/ 786579 w 3385376"/>
                    <a:gd name="connsiteY1416" fmla="*/ 817103 h 1220812"/>
                    <a:gd name="connsiteX1417" fmla="*/ 778465 w 3385376"/>
                    <a:gd name="connsiteY1417" fmla="*/ 848680 h 1220812"/>
                    <a:gd name="connsiteX1418" fmla="*/ 769047 w 3385376"/>
                    <a:gd name="connsiteY1418" fmla="*/ 842240 h 1220812"/>
                    <a:gd name="connsiteX1419" fmla="*/ 764826 w 3385376"/>
                    <a:gd name="connsiteY1419" fmla="*/ 831034 h 1220812"/>
                    <a:gd name="connsiteX1420" fmla="*/ 754912 w 3385376"/>
                    <a:gd name="connsiteY1420" fmla="*/ 826192 h 1220812"/>
                    <a:gd name="connsiteX1421" fmla="*/ 747497 w 3385376"/>
                    <a:gd name="connsiteY1421" fmla="*/ 816887 h 1220812"/>
                    <a:gd name="connsiteX1422" fmla="*/ 743123 w 3385376"/>
                    <a:gd name="connsiteY1422" fmla="*/ 819258 h 1220812"/>
                    <a:gd name="connsiteX1423" fmla="*/ 740499 w 3385376"/>
                    <a:gd name="connsiteY1423" fmla="*/ 834026 h 1220812"/>
                    <a:gd name="connsiteX1424" fmla="*/ 735974 w 3385376"/>
                    <a:gd name="connsiteY1424" fmla="*/ 836156 h 1220812"/>
                    <a:gd name="connsiteX1425" fmla="*/ 740423 w 3385376"/>
                    <a:gd name="connsiteY1425" fmla="*/ 838539 h 1220812"/>
                    <a:gd name="connsiteX1426" fmla="*/ 695396 w 3385376"/>
                    <a:gd name="connsiteY1426" fmla="*/ 817876 h 1220812"/>
                    <a:gd name="connsiteX1427" fmla="*/ 699706 w 3385376"/>
                    <a:gd name="connsiteY1427" fmla="*/ 839274 h 1220812"/>
                    <a:gd name="connsiteX1428" fmla="*/ 692113 w 3385376"/>
                    <a:gd name="connsiteY1428" fmla="*/ 851013 h 1220812"/>
                    <a:gd name="connsiteX1429" fmla="*/ 682517 w 3385376"/>
                    <a:gd name="connsiteY1429" fmla="*/ 836878 h 1220812"/>
                    <a:gd name="connsiteX1430" fmla="*/ 666862 w 3385376"/>
                    <a:gd name="connsiteY1430" fmla="*/ 821147 h 1220812"/>
                    <a:gd name="connsiteX1431" fmla="*/ 651802 w 3385376"/>
                    <a:gd name="connsiteY1431" fmla="*/ 807241 h 1220812"/>
                    <a:gd name="connsiteX1432" fmla="*/ 649380 w 3385376"/>
                    <a:gd name="connsiteY1432" fmla="*/ 800205 h 1220812"/>
                    <a:gd name="connsiteX1433" fmla="*/ 642814 w 3385376"/>
                    <a:gd name="connsiteY1433" fmla="*/ 797378 h 1220812"/>
                    <a:gd name="connsiteX1434" fmla="*/ 643232 w 3385376"/>
                    <a:gd name="connsiteY1434" fmla="*/ 790913 h 1220812"/>
                    <a:gd name="connsiteX1435" fmla="*/ 633915 w 3385376"/>
                    <a:gd name="connsiteY1435" fmla="*/ 784474 h 1220812"/>
                    <a:gd name="connsiteX1436" fmla="*/ 625029 w 3385376"/>
                    <a:gd name="connsiteY1436" fmla="*/ 781038 h 1220812"/>
                    <a:gd name="connsiteX1437" fmla="*/ 607675 w 3385376"/>
                    <a:gd name="connsiteY1437" fmla="*/ 772963 h 1220812"/>
                    <a:gd name="connsiteX1438" fmla="*/ 581067 w 3385376"/>
                    <a:gd name="connsiteY1438" fmla="*/ 749258 h 1220812"/>
                    <a:gd name="connsiteX1439" fmla="*/ 540477 w 3385376"/>
                    <a:gd name="connsiteY1439" fmla="*/ 719076 h 1220812"/>
                    <a:gd name="connsiteX1440" fmla="*/ 522121 w 3385376"/>
                    <a:gd name="connsiteY1440" fmla="*/ 692100 h 1220812"/>
                    <a:gd name="connsiteX1441" fmla="*/ 490924 w 3385376"/>
                    <a:gd name="connsiteY1441" fmla="*/ 664326 h 1220812"/>
                    <a:gd name="connsiteX1442" fmla="*/ 455975 w 3385376"/>
                    <a:gd name="connsiteY1442" fmla="*/ 621453 h 1220812"/>
                    <a:gd name="connsiteX1443" fmla="*/ 420962 w 3385376"/>
                    <a:gd name="connsiteY1443" fmla="*/ 581915 h 1220812"/>
                    <a:gd name="connsiteX1444" fmla="*/ 420506 w 3385376"/>
                    <a:gd name="connsiteY1444" fmla="*/ 564396 h 1220812"/>
                    <a:gd name="connsiteX1445" fmla="*/ 412824 w 3385376"/>
                    <a:gd name="connsiteY1445" fmla="*/ 548082 h 1220812"/>
                    <a:gd name="connsiteX1446" fmla="*/ 384923 w 3385376"/>
                    <a:gd name="connsiteY1446" fmla="*/ 507567 h 1220812"/>
                    <a:gd name="connsiteX1447" fmla="*/ 382362 w 3385376"/>
                    <a:gd name="connsiteY1447" fmla="*/ 493522 h 1220812"/>
                    <a:gd name="connsiteX1448" fmla="*/ 385417 w 3385376"/>
                    <a:gd name="connsiteY1448" fmla="*/ 493522 h 1220812"/>
                    <a:gd name="connsiteX1449" fmla="*/ 357491 w 3385376"/>
                    <a:gd name="connsiteY1449" fmla="*/ 450472 h 1220812"/>
                    <a:gd name="connsiteX1450" fmla="*/ 336866 w 3385376"/>
                    <a:gd name="connsiteY1450" fmla="*/ 424334 h 1220812"/>
                    <a:gd name="connsiteX1451" fmla="*/ 325394 w 3385376"/>
                    <a:gd name="connsiteY1451" fmla="*/ 406954 h 1220812"/>
                    <a:gd name="connsiteX1452" fmla="*/ 307748 w 3385376"/>
                    <a:gd name="connsiteY1452" fmla="*/ 398714 h 1220812"/>
                    <a:gd name="connsiteX1453" fmla="*/ 294691 w 3385376"/>
                    <a:gd name="connsiteY1453" fmla="*/ 396597 h 1220812"/>
                    <a:gd name="connsiteX1454" fmla="*/ 289152 w 3385376"/>
                    <a:gd name="connsiteY1454" fmla="*/ 389169 h 1220812"/>
                    <a:gd name="connsiteX1455" fmla="*/ 284563 w 3385376"/>
                    <a:gd name="connsiteY1455" fmla="*/ 369026 h 1220812"/>
                    <a:gd name="connsiteX1456" fmla="*/ 259628 w 3385376"/>
                    <a:gd name="connsiteY1456" fmla="*/ 299178 h 1220812"/>
                    <a:gd name="connsiteX1457" fmla="*/ 262759 w 3385376"/>
                    <a:gd name="connsiteY1457" fmla="*/ 301688 h 1220812"/>
                    <a:gd name="connsiteX1458" fmla="*/ 259894 w 3385376"/>
                    <a:gd name="connsiteY1458" fmla="*/ 283332 h 1220812"/>
                    <a:gd name="connsiteX1459" fmla="*/ 255698 w 3385376"/>
                    <a:gd name="connsiteY1459" fmla="*/ 284866 h 1220812"/>
                    <a:gd name="connsiteX1460" fmla="*/ 245722 w 3385376"/>
                    <a:gd name="connsiteY1460" fmla="*/ 271657 h 1220812"/>
                    <a:gd name="connsiteX1461" fmla="*/ 234921 w 3385376"/>
                    <a:gd name="connsiteY1461" fmla="*/ 267335 h 1220812"/>
                    <a:gd name="connsiteX1462" fmla="*/ 203801 w 3385376"/>
                    <a:gd name="connsiteY1462" fmla="*/ 247559 h 1220812"/>
                    <a:gd name="connsiteX1463" fmla="*/ 191251 w 3385376"/>
                    <a:gd name="connsiteY1463" fmla="*/ 247027 h 1220812"/>
                    <a:gd name="connsiteX1464" fmla="*/ 181794 w 3385376"/>
                    <a:gd name="connsiteY1464" fmla="*/ 227074 h 1220812"/>
                    <a:gd name="connsiteX1465" fmla="*/ 172680 w 3385376"/>
                    <a:gd name="connsiteY1465" fmla="*/ 202190 h 1220812"/>
                    <a:gd name="connsiteX1466" fmla="*/ 156974 w 3385376"/>
                    <a:gd name="connsiteY1466" fmla="*/ 190502 h 1220812"/>
                    <a:gd name="connsiteX1467" fmla="*/ 153918 w 3385376"/>
                    <a:gd name="connsiteY1467" fmla="*/ 180120 h 1220812"/>
                    <a:gd name="connsiteX1468" fmla="*/ 147517 w 3385376"/>
                    <a:gd name="connsiteY1468" fmla="*/ 176038 h 1220812"/>
                    <a:gd name="connsiteX1469" fmla="*/ 133116 w 3385376"/>
                    <a:gd name="connsiteY1469" fmla="*/ 153753 h 1220812"/>
                    <a:gd name="connsiteX1470" fmla="*/ 121175 w 3385376"/>
                    <a:gd name="connsiteY1470" fmla="*/ 141470 h 1220812"/>
                    <a:gd name="connsiteX1471" fmla="*/ 97635 w 3385376"/>
                    <a:gd name="connsiteY1471" fmla="*/ 138364 h 1220812"/>
                    <a:gd name="connsiteX1472" fmla="*/ 65817 w 3385376"/>
                    <a:gd name="connsiteY1472" fmla="*/ 107331 h 1220812"/>
                    <a:gd name="connsiteX1473" fmla="*/ 27115 w 3385376"/>
                    <a:gd name="connsiteY1473" fmla="*/ 73371 h 1220812"/>
                    <a:gd name="connsiteX1474" fmla="*/ 14084 w 3385376"/>
                    <a:gd name="connsiteY1474" fmla="*/ 51897 h 1220812"/>
                    <a:gd name="connsiteX1475" fmla="*/ 0 w 3385376"/>
                    <a:gd name="connsiteY1475" fmla="*/ 25061 h 1220812"/>
                    <a:gd name="connsiteX1476" fmla="*/ 1838 w 3385376"/>
                    <a:gd name="connsiteY1476" fmla="*/ 3853 h 1220812"/>
                    <a:gd name="connsiteX1477" fmla="*/ 22438 w 3385376"/>
                    <a:gd name="connsiteY1477" fmla="*/ 1964 h 1220812"/>
                    <a:gd name="connsiteX1478" fmla="*/ 22438 w 3385376"/>
                    <a:gd name="connsiteY1478" fmla="*/ 1964 h 12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Lst>
                  <a:rect l="l" t="t" r="r" b="b"/>
                  <a:pathLst>
                    <a:path w="3385376" h="1220812">
                      <a:moveTo>
                        <a:pt x="2082664" y="1194711"/>
                      </a:moveTo>
                      <a:cubicBezTo>
                        <a:pt x="2090207" y="1199402"/>
                        <a:pt x="2081384" y="1202165"/>
                        <a:pt x="2074044" y="1206729"/>
                      </a:cubicBezTo>
                      <a:cubicBezTo>
                        <a:pt x="2071547" y="1208250"/>
                        <a:pt x="2071851" y="1211254"/>
                        <a:pt x="2068302" y="1213219"/>
                      </a:cubicBezTo>
                      <a:cubicBezTo>
                        <a:pt x="2063409" y="1215881"/>
                        <a:pt x="2052621" y="1213574"/>
                        <a:pt x="2053128" y="1219595"/>
                      </a:cubicBezTo>
                      <a:cubicBezTo>
                        <a:pt x="2044242" y="1223817"/>
                        <a:pt x="2037485" y="1216211"/>
                        <a:pt x="2042873" y="1209707"/>
                      </a:cubicBezTo>
                      <a:cubicBezTo>
                        <a:pt x="2046245" y="1205689"/>
                        <a:pt x="2052976" y="1207629"/>
                        <a:pt x="2057184" y="1205892"/>
                      </a:cubicBezTo>
                      <a:cubicBezTo>
                        <a:pt x="2062813" y="1203560"/>
                        <a:pt x="2066109" y="1197817"/>
                        <a:pt x="2070051" y="1194863"/>
                      </a:cubicBezTo>
                      <a:cubicBezTo>
                        <a:pt x="2073309" y="1192391"/>
                        <a:pt x="2081004" y="1188627"/>
                        <a:pt x="2083818" y="1184405"/>
                      </a:cubicBezTo>
                      <a:cubicBezTo>
                        <a:pt x="2084173" y="1188322"/>
                        <a:pt x="2084071" y="1191022"/>
                        <a:pt x="2082664" y="1194711"/>
                      </a:cubicBezTo>
                      <a:lnTo>
                        <a:pt x="2082664" y="1194711"/>
                      </a:lnTo>
                      <a:close/>
                      <a:moveTo>
                        <a:pt x="1834306" y="1104568"/>
                      </a:moveTo>
                      <a:cubicBezTo>
                        <a:pt x="1839237" y="1114114"/>
                        <a:pt x="1844511" y="1109031"/>
                        <a:pt x="1849150" y="1113645"/>
                      </a:cubicBezTo>
                      <a:cubicBezTo>
                        <a:pt x="1853219" y="1117701"/>
                        <a:pt x="1850063" y="1123799"/>
                        <a:pt x="1855691" y="1126714"/>
                      </a:cubicBezTo>
                      <a:cubicBezTo>
                        <a:pt x="1859253" y="1128591"/>
                        <a:pt x="1864020" y="1124344"/>
                        <a:pt x="1869078" y="1125903"/>
                      </a:cubicBezTo>
                      <a:cubicBezTo>
                        <a:pt x="1874858" y="1127678"/>
                        <a:pt x="1878319" y="1138694"/>
                        <a:pt x="1882527" y="1143118"/>
                      </a:cubicBezTo>
                      <a:cubicBezTo>
                        <a:pt x="1886432" y="1147250"/>
                        <a:pt x="1895736" y="1148670"/>
                        <a:pt x="1895483" y="1156086"/>
                      </a:cubicBezTo>
                      <a:cubicBezTo>
                        <a:pt x="1895331" y="1161993"/>
                        <a:pt x="1885582" y="1167241"/>
                        <a:pt x="1881133" y="1169130"/>
                      </a:cubicBezTo>
                      <a:cubicBezTo>
                        <a:pt x="1869204" y="1174188"/>
                        <a:pt x="1858087" y="1175202"/>
                        <a:pt x="1844346" y="1167786"/>
                      </a:cubicBezTo>
                      <a:cubicBezTo>
                        <a:pt x="1836220" y="1163413"/>
                        <a:pt x="1832785" y="1153132"/>
                        <a:pt x="1825534" y="1148835"/>
                      </a:cubicBezTo>
                      <a:cubicBezTo>
                        <a:pt x="1818942" y="1144905"/>
                        <a:pt x="1809688" y="1137629"/>
                        <a:pt x="1804846" y="1135525"/>
                      </a:cubicBezTo>
                      <a:cubicBezTo>
                        <a:pt x="1798850" y="1132938"/>
                        <a:pt x="1793830" y="1136387"/>
                        <a:pt x="1789900" y="1136019"/>
                      </a:cubicBezTo>
                      <a:cubicBezTo>
                        <a:pt x="1786997" y="1135753"/>
                        <a:pt x="1782294" y="1134156"/>
                        <a:pt x="1778808" y="1133332"/>
                      </a:cubicBezTo>
                      <a:cubicBezTo>
                        <a:pt x="1770099" y="1131303"/>
                        <a:pt x="1750451" y="1126283"/>
                        <a:pt x="1757233" y="1114241"/>
                      </a:cubicBezTo>
                      <a:cubicBezTo>
                        <a:pt x="1762924" y="1104112"/>
                        <a:pt x="1785108" y="1105278"/>
                        <a:pt x="1793994" y="1104670"/>
                      </a:cubicBezTo>
                      <a:cubicBezTo>
                        <a:pt x="1799572" y="1104277"/>
                        <a:pt x="1806088" y="1105621"/>
                        <a:pt x="1810829" y="1105646"/>
                      </a:cubicBezTo>
                      <a:cubicBezTo>
                        <a:pt x="1819982" y="1105760"/>
                        <a:pt x="1829730" y="1096088"/>
                        <a:pt x="1834306" y="1104568"/>
                      </a:cubicBezTo>
                      <a:lnTo>
                        <a:pt x="1834306" y="1104568"/>
                      </a:lnTo>
                      <a:close/>
                      <a:moveTo>
                        <a:pt x="2198109" y="1083564"/>
                      </a:moveTo>
                      <a:cubicBezTo>
                        <a:pt x="2204169" y="1083564"/>
                        <a:pt x="2207553" y="1076630"/>
                        <a:pt x="2211344" y="1078556"/>
                      </a:cubicBezTo>
                      <a:cubicBezTo>
                        <a:pt x="2215362" y="1080584"/>
                        <a:pt x="2216643" y="1089205"/>
                        <a:pt x="2213879" y="1091942"/>
                      </a:cubicBezTo>
                      <a:cubicBezTo>
                        <a:pt x="2210216" y="1095644"/>
                        <a:pt x="2202927" y="1089091"/>
                        <a:pt x="2200303" y="1093426"/>
                      </a:cubicBezTo>
                      <a:cubicBezTo>
                        <a:pt x="2196880" y="1098978"/>
                        <a:pt x="2205652" y="1103542"/>
                        <a:pt x="2206489" y="1108486"/>
                      </a:cubicBezTo>
                      <a:cubicBezTo>
                        <a:pt x="2209341" y="1125168"/>
                        <a:pt x="2184343" y="1141508"/>
                        <a:pt x="2172287" y="1152296"/>
                      </a:cubicBezTo>
                      <a:cubicBezTo>
                        <a:pt x="2162996" y="1160649"/>
                        <a:pt x="2163262" y="1164009"/>
                        <a:pt x="2149280" y="1164617"/>
                      </a:cubicBezTo>
                      <a:cubicBezTo>
                        <a:pt x="2138124" y="1165061"/>
                        <a:pt x="2138860" y="1167824"/>
                        <a:pt x="2131165" y="1172908"/>
                      </a:cubicBezTo>
                      <a:cubicBezTo>
                        <a:pt x="2123584" y="1177940"/>
                        <a:pt x="2113912" y="1179880"/>
                        <a:pt x="2105799" y="1178929"/>
                      </a:cubicBezTo>
                      <a:cubicBezTo>
                        <a:pt x="2100779" y="1178371"/>
                        <a:pt x="2094441" y="1175405"/>
                        <a:pt x="2090105" y="1179347"/>
                      </a:cubicBezTo>
                      <a:cubicBezTo>
                        <a:pt x="2092184" y="1171310"/>
                        <a:pt x="2092134" y="1169523"/>
                        <a:pt x="2099410" y="1164617"/>
                      </a:cubicBezTo>
                      <a:cubicBezTo>
                        <a:pt x="2104392" y="1161258"/>
                        <a:pt x="2115738" y="1161080"/>
                        <a:pt x="2108157" y="1154843"/>
                      </a:cubicBezTo>
                      <a:cubicBezTo>
                        <a:pt x="2100221" y="1148290"/>
                        <a:pt x="2098079" y="1162690"/>
                        <a:pt x="2100361" y="1146122"/>
                      </a:cubicBezTo>
                      <a:cubicBezTo>
                        <a:pt x="2100640" y="1144119"/>
                        <a:pt x="2102960" y="1137794"/>
                        <a:pt x="2103441" y="1135233"/>
                      </a:cubicBezTo>
                      <a:cubicBezTo>
                        <a:pt x="2105799" y="1122721"/>
                        <a:pt x="2112530" y="1117448"/>
                        <a:pt x="2122253" y="1110209"/>
                      </a:cubicBezTo>
                      <a:cubicBezTo>
                        <a:pt x="2132546" y="1102566"/>
                        <a:pt x="2128325" y="1105798"/>
                        <a:pt x="2139012" y="1109183"/>
                      </a:cubicBezTo>
                      <a:cubicBezTo>
                        <a:pt x="2141547" y="1109969"/>
                        <a:pt x="2149723" y="1103390"/>
                        <a:pt x="2148164" y="1115255"/>
                      </a:cubicBezTo>
                      <a:cubicBezTo>
                        <a:pt x="2157912" y="1114063"/>
                        <a:pt x="2156505" y="1096354"/>
                        <a:pt x="2162425" y="1091448"/>
                      </a:cubicBezTo>
                      <a:cubicBezTo>
                        <a:pt x="2164238" y="1089940"/>
                        <a:pt x="2170969" y="1090916"/>
                        <a:pt x="2173783" y="1089674"/>
                      </a:cubicBezTo>
                      <a:cubicBezTo>
                        <a:pt x="2177726" y="1087988"/>
                        <a:pt x="2177675" y="1084768"/>
                        <a:pt x="2180235" y="1083082"/>
                      </a:cubicBezTo>
                      <a:cubicBezTo>
                        <a:pt x="2185281" y="1079837"/>
                        <a:pt x="2191657" y="1078278"/>
                        <a:pt x="2197095" y="1075248"/>
                      </a:cubicBezTo>
                      <a:cubicBezTo>
                        <a:pt x="2195891" y="1078683"/>
                        <a:pt x="2198059" y="1081129"/>
                        <a:pt x="2198109" y="1083564"/>
                      </a:cubicBezTo>
                      <a:lnTo>
                        <a:pt x="2198109" y="1083564"/>
                      </a:lnTo>
                      <a:close/>
                      <a:moveTo>
                        <a:pt x="1592679" y="1032997"/>
                      </a:moveTo>
                      <a:cubicBezTo>
                        <a:pt x="1587937" y="1037979"/>
                        <a:pt x="1586480" y="1045699"/>
                        <a:pt x="1583133" y="1051581"/>
                      </a:cubicBezTo>
                      <a:cubicBezTo>
                        <a:pt x="1580065" y="1056905"/>
                        <a:pt x="1574057" y="1061519"/>
                        <a:pt x="1575375" y="1067528"/>
                      </a:cubicBezTo>
                      <a:cubicBezTo>
                        <a:pt x="1579368" y="1066032"/>
                        <a:pt x="1576846" y="1067794"/>
                        <a:pt x="1581257" y="1067921"/>
                      </a:cubicBezTo>
                      <a:cubicBezTo>
                        <a:pt x="1577936" y="1070874"/>
                        <a:pt x="1574044" y="1072116"/>
                        <a:pt x="1569734" y="1071432"/>
                      </a:cubicBezTo>
                      <a:cubicBezTo>
                        <a:pt x="1570939" y="1069683"/>
                        <a:pt x="1571509" y="1067946"/>
                        <a:pt x="1572625" y="1066158"/>
                      </a:cubicBezTo>
                      <a:cubicBezTo>
                        <a:pt x="1567085" y="1065436"/>
                        <a:pt x="1565766" y="1069480"/>
                        <a:pt x="1567554" y="1074677"/>
                      </a:cubicBezTo>
                      <a:cubicBezTo>
                        <a:pt x="1565817" y="1071508"/>
                        <a:pt x="1546828" y="1067895"/>
                        <a:pt x="1542479" y="1069454"/>
                      </a:cubicBezTo>
                      <a:cubicBezTo>
                        <a:pt x="1543760" y="1064574"/>
                        <a:pt x="1540692" y="1071432"/>
                        <a:pt x="1537916" y="1070557"/>
                      </a:cubicBezTo>
                      <a:cubicBezTo>
                        <a:pt x="1536521" y="1070139"/>
                        <a:pt x="1525785" y="1064105"/>
                        <a:pt x="1525062" y="1062622"/>
                      </a:cubicBezTo>
                      <a:cubicBezTo>
                        <a:pt x="1522134" y="1056537"/>
                        <a:pt x="1540527" y="1058515"/>
                        <a:pt x="1542581" y="1060251"/>
                      </a:cubicBezTo>
                      <a:cubicBezTo>
                        <a:pt x="1542581" y="1060251"/>
                        <a:pt x="1544318" y="1057894"/>
                        <a:pt x="1544483" y="1057805"/>
                      </a:cubicBezTo>
                      <a:cubicBezTo>
                        <a:pt x="1543380" y="1056550"/>
                        <a:pt x="1538892" y="1039449"/>
                        <a:pt x="1539780" y="1036939"/>
                      </a:cubicBezTo>
                      <a:cubicBezTo>
                        <a:pt x="1540565" y="1034721"/>
                        <a:pt x="1549515" y="1029866"/>
                        <a:pt x="1552152" y="1027926"/>
                      </a:cubicBezTo>
                      <a:cubicBezTo>
                        <a:pt x="1562014" y="1020485"/>
                        <a:pt x="1564981" y="1017658"/>
                        <a:pt x="1577581" y="1022044"/>
                      </a:cubicBezTo>
                      <a:cubicBezTo>
                        <a:pt x="1583602" y="1024136"/>
                        <a:pt x="1591360" y="1025594"/>
                        <a:pt x="1592679" y="1032997"/>
                      </a:cubicBezTo>
                      <a:lnTo>
                        <a:pt x="1592679" y="1032997"/>
                      </a:lnTo>
                      <a:close/>
                      <a:moveTo>
                        <a:pt x="2124814" y="1022057"/>
                      </a:moveTo>
                      <a:cubicBezTo>
                        <a:pt x="2122164" y="1026697"/>
                        <a:pt x="2116777" y="1023832"/>
                        <a:pt x="2112530" y="1026633"/>
                      </a:cubicBezTo>
                      <a:cubicBezTo>
                        <a:pt x="2110350" y="1028053"/>
                        <a:pt x="2109843" y="1032781"/>
                        <a:pt x="2107549" y="1034708"/>
                      </a:cubicBezTo>
                      <a:cubicBezTo>
                        <a:pt x="2105114" y="1036711"/>
                        <a:pt x="2103276" y="1034214"/>
                        <a:pt x="2103251" y="1034239"/>
                      </a:cubicBezTo>
                      <a:cubicBezTo>
                        <a:pt x="2097800" y="1039728"/>
                        <a:pt x="2099879" y="1050630"/>
                        <a:pt x="2092172" y="1042593"/>
                      </a:cubicBezTo>
                      <a:cubicBezTo>
                        <a:pt x="2087240" y="1051340"/>
                        <a:pt x="2086074" y="1044862"/>
                        <a:pt x="2080839" y="1044228"/>
                      </a:cubicBezTo>
                      <a:cubicBezTo>
                        <a:pt x="2079888" y="1044089"/>
                        <a:pt x="2074437" y="1045990"/>
                        <a:pt x="2073524" y="1044469"/>
                      </a:cubicBezTo>
                      <a:cubicBezTo>
                        <a:pt x="2071293" y="1040615"/>
                        <a:pt x="2102972" y="1023135"/>
                        <a:pt x="2082550" y="1027432"/>
                      </a:cubicBezTo>
                      <a:cubicBezTo>
                        <a:pt x="2084921" y="1023058"/>
                        <a:pt x="2091931" y="1022665"/>
                        <a:pt x="2097154" y="1022348"/>
                      </a:cubicBezTo>
                      <a:cubicBezTo>
                        <a:pt x="2089484" y="1031399"/>
                        <a:pt x="2102085" y="1034239"/>
                        <a:pt x="2098218" y="1026684"/>
                      </a:cubicBezTo>
                      <a:cubicBezTo>
                        <a:pt x="2105127" y="1026620"/>
                        <a:pt x="2099119" y="1022589"/>
                        <a:pt x="2102643" y="1020510"/>
                      </a:cubicBezTo>
                      <a:cubicBezTo>
                        <a:pt x="2102161" y="1020802"/>
                        <a:pt x="2108689" y="1020599"/>
                        <a:pt x="2107764" y="1020777"/>
                      </a:cubicBezTo>
                      <a:cubicBezTo>
                        <a:pt x="2117398" y="1018761"/>
                        <a:pt x="2114635" y="1019420"/>
                        <a:pt x="2124814" y="1022057"/>
                      </a:cubicBezTo>
                      <a:lnTo>
                        <a:pt x="2124814" y="1022057"/>
                      </a:lnTo>
                      <a:close/>
                      <a:moveTo>
                        <a:pt x="2171147" y="1013703"/>
                      </a:moveTo>
                      <a:cubicBezTo>
                        <a:pt x="2172364" y="1021639"/>
                        <a:pt x="2194408" y="1014565"/>
                        <a:pt x="2202825" y="1016201"/>
                      </a:cubicBezTo>
                      <a:cubicBezTo>
                        <a:pt x="2207871" y="1017177"/>
                        <a:pt x="2218582" y="1017177"/>
                        <a:pt x="2213195" y="1027749"/>
                      </a:cubicBezTo>
                      <a:cubicBezTo>
                        <a:pt x="2210456" y="1033238"/>
                        <a:pt x="2192228" y="1033263"/>
                        <a:pt x="2186422" y="1034100"/>
                      </a:cubicBezTo>
                      <a:cubicBezTo>
                        <a:pt x="2180476" y="1034936"/>
                        <a:pt x="2165734" y="1039322"/>
                        <a:pt x="2161158" y="1038486"/>
                      </a:cubicBezTo>
                      <a:cubicBezTo>
                        <a:pt x="2145730" y="1035633"/>
                        <a:pt x="2163883" y="1026278"/>
                        <a:pt x="2169626" y="1020548"/>
                      </a:cubicBezTo>
                      <a:cubicBezTo>
                        <a:pt x="2165708" y="1021106"/>
                        <a:pt x="2161969" y="1022906"/>
                        <a:pt x="2158153" y="1023603"/>
                      </a:cubicBezTo>
                      <a:cubicBezTo>
                        <a:pt x="2159624" y="1017341"/>
                        <a:pt x="2163642" y="1012144"/>
                        <a:pt x="2171147" y="1013703"/>
                      </a:cubicBezTo>
                      <a:lnTo>
                        <a:pt x="2171147" y="1013703"/>
                      </a:lnTo>
                      <a:close/>
                      <a:moveTo>
                        <a:pt x="1683455" y="1011396"/>
                      </a:moveTo>
                      <a:cubicBezTo>
                        <a:pt x="1694585" y="1011687"/>
                        <a:pt x="1693837" y="1014147"/>
                        <a:pt x="1699580" y="1022361"/>
                      </a:cubicBezTo>
                      <a:cubicBezTo>
                        <a:pt x="1705234" y="1030512"/>
                        <a:pt x="1705905" y="1031197"/>
                        <a:pt x="1714031" y="1028053"/>
                      </a:cubicBezTo>
                      <a:cubicBezTo>
                        <a:pt x="1720407" y="1025607"/>
                        <a:pt x="1719875" y="1020181"/>
                        <a:pt x="1728926" y="1023946"/>
                      </a:cubicBezTo>
                      <a:cubicBezTo>
                        <a:pt x="1738345" y="1027901"/>
                        <a:pt x="1737216" y="1034835"/>
                        <a:pt x="1733946" y="1044114"/>
                      </a:cubicBezTo>
                      <a:cubicBezTo>
                        <a:pt x="1741045" y="1041376"/>
                        <a:pt x="1735961" y="1035101"/>
                        <a:pt x="1739384" y="1030411"/>
                      </a:cubicBezTo>
                      <a:cubicBezTo>
                        <a:pt x="1743948" y="1024136"/>
                        <a:pt x="1754532" y="1023477"/>
                        <a:pt x="1759616" y="1028585"/>
                      </a:cubicBezTo>
                      <a:cubicBezTo>
                        <a:pt x="1765270" y="1034302"/>
                        <a:pt x="1758589" y="1045901"/>
                        <a:pt x="1762582" y="1050617"/>
                      </a:cubicBezTo>
                      <a:cubicBezTo>
                        <a:pt x="1766639" y="1055422"/>
                        <a:pt x="1771151" y="1048247"/>
                        <a:pt x="1771874" y="1045433"/>
                      </a:cubicBezTo>
                      <a:cubicBezTo>
                        <a:pt x="1776716" y="1052176"/>
                        <a:pt x="1772191" y="1058084"/>
                        <a:pt x="1766131" y="1059110"/>
                      </a:cubicBezTo>
                      <a:cubicBezTo>
                        <a:pt x="1755268" y="1060885"/>
                        <a:pt x="1748131" y="1051441"/>
                        <a:pt x="1737457" y="1059376"/>
                      </a:cubicBezTo>
                      <a:cubicBezTo>
                        <a:pt x="1740170" y="1061278"/>
                        <a:pt x="1759679" y="1062432"/>
                        <a:pt x="1754482" y="1066653"/>
                      </a:cubicBezTo>
                      <a:cubicBezTo>
                        <a:pt x="1750907" y="1069607"/>
                        <a:pt x="1744809" y="1063991"/>
                        <a:pt x="1742287" y="1063738"/>
                      </a:cubicBezTo>
                      <a:cubicBezTo>
                        <a:pt x="1733971" y="1062926"/>
                        <a:pt x="1717466" y="1073435"/>
                        <a:pt x="1714170" y="1062926"/>
                      </a:cubicBezTo>
                      <a:cubicBezTo>
                        <a:pt x="1712738" y="1058261"/>
                        <a:pt x="1719837" y="1054116"/>
                        <a:pt x="1716224" y="1047156"/>
                      </a:cubicBezTo>
                      <a:cubicBezTo>
                        <a:pt x="1716122" y="1051796"/>
                        <a:pt x="1711204" y="1057462"/>
                        <a:pt x="1707363" y="1060619"/>
                      </a:cubicBezTo>
                      <a:cubicBezTo>
                        <a:pt x="1698642" y="1067870"/>
                        <a:pt x="1696233" y="1065322"/>
                        <a:pt x="1688374" y="1067452"/>
                      </a:cubicBezTo>
                      <a:cubicBezTo>
                        <a:pt x="1684495" y="1068504"/>
                        <a:pt x="1678245" y="1071749"/>
                        <a:pt x="1674404" y="1072142"/>
                      </a:cubicBezTo>
                      <a:cubicBezTo>
                        <a:pt x="1672490" y="1072332"/>
                        <a:pt x="1666519" y="1071356"/>
                        <a:pt x="1664022" y="1072116"/>
                      </a:cubicBezTo>
                      <a:cubicBezTo>
                        <a:pt x="1654350" y="1075096"/>
                        <a:pt x="1647276" y="1082499"/>
                        <a:pt x="1636375" y="1082423"/>
                      </a:cubicBezTo>
                      <a:cubicBezTo>
                        <a:pt x="1633282" y="1082423"/>
                        <a:pt x="1630328" y="1079393"/>
                        <a:pt x="1627133" y="1079811"/>
                      </a:cubicBezTo>
                      <a:cubicBezTo>
                        <a:pt x="1623090" y="1080369"/>
                        <a:pt x="1622988" y="1084603"/>
                        <a:pt x="1618944" y="1085212"/>
                      </a:cubicBezTo>
                      <a:cubicBezTo>
                        <a:pt x="1609969" y="1086555"/>
                        <a:pt x="1591994" y="1081548"/>
                        <a:pt x="1592805" y="1071673"/>
                      </a:cubicBezTo>
                      <a:cubicBezTo>
                        <a:pt x="1593071" y="1068529"/>
                        <a:pt x="1596456" y="1066476"/>
                        <a:pt x="1596710" y="1064840"/>
                      </a:cubicBezTo>
                      <a:cubicBezTo>
                        <a:pt x="1596925" y="1063344"/>
                        <a:pt x="1596228" y="1061392"/>
                        <a:pt x="1596482" y="1059465"/>
                      </a:cubicBezTo>
                      <a:cubicBezTo>
                        <a:pt x="1596304" y="1060796"/>
                        <a:pt x="1593059" y="1053381"/>
                        <a:pt x="1593084" y="1053292"/>
                      </a:cubicBezTo>
                      <a:cubicBezTo>
                        <a:pt x="1594162" y="1046332"/>
                        <a:pt x="1598954" y="1048158"/>
                        <a:pt x="1599663" y="1041617"/>
                      </a:cubicBezTo>
                      <a:cubicBezTo>
                        <a:pt x="1609107" y="1047283"/>
                        <a:pt x="1616815" y="1032908"/>
                        <a:pt x="1622025" y="1031513"/>
                      </a:cubicBezTo>
                      <a:cubicBezTo>
                        <a:pt x="1629010" y="1029663"/>
                        <a:pt x="1636641" y="1036901"/>
                        <a:pt x="1643752" y="1039614"/>
                      </a:cubicBezTo>
                      <a:cubicBezTo>
                        <a:pt x="1642852" y="1033757"/>
                        <a:pt x="1647771" y="1033757"/>
                        <a:pt x="1652930" y="1034011"/>
                      </a:cubicBezTo>
                      <a:cubicBezTo>
                        <a:pt x="1653310" y="1036420"/>
                        <a:pt x="1655275" y="1039728"/>
                        <a:pt x="1655440" y="1042099"/>
                      </a:cubicBezTo>
                      <a:cubicBezTo>
                        <a:pt x="1655694" y="1039994"/>
                        <a:pt x="1656644" y="1037776"/>
                        <a:pt x="1656948" y="1036039"/>
                      </a:cubicBezTo>
                      <a:cubicBezTo>
                        <a:pt x="1657899" y="1047600"/>
                        <a:pt x="1666950" y="1044279"/>
                        <a:pt x="1670183" y="1051264"/>
                      </a:cubicBezTo>
                      <a:cubicBezTo>
                        <a:pt x="1670031" y="1051403"/>
                        <a:pt x="1668129" y="1051454"/>
                        <a:pt x="1667648" y="1051771"/>
                      </a:cubicBezTo>
                      <a:cubicBezTo>
                        <a:pt x="1668928" y="1057729"/>
                        <a:pt x="1675596" y="1057653"/>
                        <a:pt x="1678410" y="1057564"/>
                      </a:cubicBezTo>
                      <a:cubicBezTo>
                        <a:pt x="1685217" y="1057437"/>
                        <a:pt x="1683252" y="1055244"/>
                        <a:pt x="1689654" y="1053545"/>
                      </a:cubicBezTo>
                      <a:cubicBezTo>
                        <a:pt x="1694294" y="1052290"/>
                        <a:pt x="1716059" y="1052569"/>
                        <a:pt x="1702812" y="1044609"/>
                      </a:cubicBezTo>
                      <a:cubicBezTo>
                        <a:pt x="1702039" y="1045242"/>
                        <a:pt x="1702090" y="1046053"/>
                        <a:pt x="1701050" y="1046688"/>
                      </a:cubicBezTo>
                      <a:cubicBezTo>
                        <a:pt x="1694243" y="1034366"/>
                        <a:pt x="1679247" y="1039550"/>
                        <a:pt x="1669283" y="1026012"/>
                      </a:cubicBezTo>
                      <a:cubicBezTo>
                        <a:pt x="1665467" y="1020878"/>
                        <a:pt x="1661956" y="1020878"/>
                        <a:pt x="1667077" y="1014730"/>
                      </a:cubicBezTo>
                      <a:cubicBezTo>
                        <a:pt x="1669815" y="1011434"/>
                        <a:pt x="1680400" y="1009697"/>
                        <a:pt x="1683455" y="1011396"/>
                      </a:cubicBezTo>
                      <a:lnTo>
                        <a:pt x="1683455" y="1011396"/>
                      </a:lnTo>
                      <a:close/>
                      <a:moveTo>
                        <a:pt x="2053952" y="1015858"/>
                      </a:moveTo>
                      <a:cubicBezTo>
                        <a:pt x="2054180" y="1018051"/>
                        <a:pt x="2057768" y="1024542"/>
                        <a:pt x="2057286" y="1025987"/>
                      </a:cubicBezTo>
                      <a:cubicBezTo>
                        <a:pt x="2055613" y="1031019"/>
                        <a:pt x="2052418" y="1026773"/>
                        <a:pt x="2049756" y="1029764"/>
                      </a:cubicBezTo>
                      <a:cubicBezTo>
                        <a:pt x="2046333" y="1033669"/>
                        <a:pt x="2048957" y="1041807"/>
                        <a:pt x="2041707" y="1035583"/>
                      </a:cubicBezTo>
                      <a:cubicBezTo>
                        <a:pt x="2036661" y="1044583"/>
                        <a:pt x="2048590" y="1045939"/>
                        <a:pt x="2033961" y="1051061"/>
                      </a:cubicBezTo>
                      <a:cubicBezTo>
                        <a:pt x="2025062" y="1054154"/>
                        <a:pt x="2015770" y="1058553"/>
                        <a:pt x="2005743" y="1058756"/>
                      </a:cubicBezTo>
                      <a:cubicBezTo>
                        <a:pt x="1995146" y="1058996"/>
                        <a:pt x="1990151" y="1059263"/>
                        <a:pt x="1980187" y="1063788"/>
                      </a:cubicBezTo>
                      <a:cubicBezTo>
                        <a:pt x="1974014" y="1066640"/>
                        <a:pt x="1956533" y="1068035"/>
                        <a:pt x="1955113" y="1071039"/>
                      </a:cubicBezTo>
                      <a:cubicBezTo>
                        <a:pt x="1954454" y="1065487"/>
                        <a:pt x="1942627" y="1060683"/>
                        <a:pt x="1937493" y="1062939"/>
                      </a:cubicBezTo>
                      <a:cubicBezTo>
                        <a:pt x="1935756" y="1063712"/>
                        <a:pt x="1934603" y="1067312"/>
                        <a:pt x="1934919" y="1067211"/>
                      </a:cubicBezTo>
                      <a:cubicBezTo>
                        <a:pt x="1935236" y="1067046"/>
                        <a:pt x="1934260" y="1070760"/>
                        <a:pt x="1933107" y="1071343"/>
                      </a:cubicBezTo>
                      <a:cubicBezTo>
                        <a:pt x="1930495" y="1072738"/>
                        <a:pt x="1928657" y="1070431"/>
                        <a:pt x="1926185" y="1071014"/>
                      </a:cubicBezTo>
                      <a:cubicBezTo>
                        <a:pt x="1920468" y="1072307"/>
                        <a:pt x="1909098" y="1074969"/>
                        <a:pt x="1903279" y="1072611"/>
                      </a:cubicBezTo>
                      <a:cubicBezTo>
                        <a:pt x="1900909" y="1071673"/>
                        <a:pt x="1897600" y="1066678"/>
                        <a:pt x="1896345" y="1066374"/>
                      </a:cubicBezTo>
                      <a:cubicBezTo>
                        <a:pt x="1893366" y="1065563"/>
                        <a:pt x="1890831" y="1068263"/>
                        <a:pt x="1889867" y="1068085"/>
                      </a:cubicBezTo>
                      <a:cubicBezTo>
                        <a:pt x="1880588" y="1066399"/>
                        <a:pt x="1875314" y="1061544"/>
                        <a:pt x="1864869" y="1062926"/>
                      </a:cubicBezTo>
                      <a:cubicBezTo>
                        <a:pt x="1861700" y="1063344"/>
                        <a:pt x="1858632" y="1065804"/>
                        <a:pt x="1855640" y="1065449"/>
                      </a:cubicBezTo>
                      <a:cubicBezTo>
                        <a:pt x="1851698" y="1065030"/>
                        <a:pt x="1848783" y="1061177"/>
                        <a:pt x="1845614" y="1060923"/>
                      </a:cubicBezTo>
                      <a:cubicBezTo>
                        <a:pt x="1840239" y="1060479"/>
                        <a:pt x="1833190" y="1065981"/>
                        <a:pt x="1828652" y="1066197"/>
                      </a:cubicBezTo>
                      <a:cubicBezTo>
                        <a:pt x="1824963" y="1066387"/>
                        <a:pt x="1830845" y="1068200"/>
                        <a:pt x="1825394" y="1063801"/>
                      </a:cubicBezTo>
                      <a:cubicBezTo>
                        <a:pt x="1823011" y="1061887"/>
                        <a:pt x="1820755" y="1063775"/>
                        <a:pt x="1819297" y="1059719"/>
                      </a:cubicBezTo>
                      <a:cubicBezTo>
                        <a:pt x="1815253" y="1048488"/>
                        <a:pt x="1826129" y="1043455"/>
                        <a:pt x="1823582" y="1034568"/>
                      </a:cubicBezTo>
                      <a:cubicBezTo>
                        <a:pt x="1828564" y="1039981"/>
                        <a:pt x="1840365" y="1033592"/>
                        <a:pt x="1842330" y="1029992"/>
                      </a:cubicBezTo>
                      <a:cubicBezTo>
                        <a:pt x="1845550" y="1031286"/>
                        <a:pt x="1859063" y="1021309"/>
                        <a:pt x="1864197" y="1021157"/>
                      </a:cubicBezTo>
                      <a:cubicBezTo>
                        <a:pt x="1866758" y="1021081"/>
                        <a:pt x="1877672" y="1029359"/>
                        <a:pt x="1877305" y="1021322"/>
                      </a:cubicBezTo>
                      <a:cubicBezTo>
                        <a:pt x="1891705" y="1028306"/>
                        <a:pt x="1906270" y="1030373"/>
                        <a:pt x="1921191" y="1036559"/>
                      </a:cubicBezTo>
                      <a:cubicBezTo>
                        <a:pt x="1934603" y="1042111"/>
                        <a:pt x="1940561" y="1051137"/>
                        <a:pt x="1952261" y="1044152"/>
                      </a:cubicBezTo>
                      <a:cubicBezTo>
                        <a:pt x="1951386" y="1037827"/>
                        <a:pt x="1968817" y="1040248"/>
                        <a:pt x="1976219" y="1039145"/>
                      </a:cubicBezTo>
                      <a:cubicBezTo>
                        <a:pt x="1977132" y="1039005"/>
                        <a:pt x="1979870" y="1035950"/>
                        <a:pt x="1981316" y="1036141"/>
                      </a:cubicBezTo>
                      <a:cubicBezTo>
                        <a:pt x="1986171" y="1036825"/>
                        <a:pt x="1981189" y="1039386"/>
                        <a:pt x="1983027" y="1040273"/>
                      </a:cubicBezTo>
                      <a:cubicBezTo>
                        <a:pt x="1986957" y="1042200"/>
                        <a:pt x="1994195" y="1048500"/>
                        <a:pt x="1998759" y="1049958"/>
                      </a:cubicBezTo>
                      <a:cubicBezTo>
                        <a:pt x="2021171" y="1057171"/>
                        <a:pt x="2013552" y="1038638"/>
                        <a:pt x="2026064" y="1032946"/>
                      </a:cubicBezTo>
                      <a:cubicBezTo>
                        <a:pt x="2032034" y="1030233"/>
                        <a:pt x="2035951" y="1030550"/>
                        <a:pt x="2041884" y="1026646"/>
                      </a:cubicBezTo>
                      <a:cubicBezTo>
                        <a:pt x="2054269" y="1018457"/>
                        <a:pt x="2051176" y="1021398"/>
                        <a:pt x="2042645" y="1018951"/>
                      </a:cubicBezTo>
                      <a:cubicBezTo>
                        <a:pt x="2041390" y="1018596"/>
                        <a:pt x="2037954" y="1023680"/>
                        <a:pt x="2036053" y="1021093"/>
                      </a:cubicBezTo>
                      <a:cubicBezTo>
                        <a:pt x="2035761" y="1020650"/>
                        <a:pt x="2039222" y="1012841"/>
                        <a:pt x="2040059" y="1012182"/>
                      </a:cubicBezTo>
                      <a:cubicBezTo>
                        <a:pt x="2045966" y="1007707"/>
                        <a:pt x="2049731" y="1010876"/>
                        <a:pt x="2053952" y="1015858"/>
                      </a:cubicBezTo>
                      <a:lnTo>
                        <a:pt x="2053952" y="1015858"/>
                      </a:lnTo>
                      <a:close/>
                      <a:moveTo>
                        <a:pt x="1500964" y="1016784"/>
                      </a:moveTo>
                      <a:cubicBezTo>
                        <a:pt x="1544660" y="1044063"/>
                        <a:pt x="1472467" y="1041477"/>
                        <a:pt x="1480098" y="1062419"/>
                      </a:cubicBezTo>
                      <a:cubicBezTo>
                        <a:pt x="1481087" y="1060809"/>
                        <a:pt x="1479046" y="1061582"/>
                        <a:pt x="1480960" y="1059846"/>
                      </a:cubicBezTo>
                      <a:cubicBezTo>
                        <a:pt x="1482481" y="1065588"/>
                        <a:pt x="1473532" y="1070963"/>
                        <a:pt x="1470769" y="1065715"/>
                      </a:cubicBezTo>
                      <a:cubicBezTo>
                        <a:pt x="1470566" y="1065360"/>
                        <a:pt x="1477715" y="1058920"/>
                        <a:pt x="1475358" y="1053089"/>
                      </a:cubicBezTo>
                      <a:cubicBezTo>
                        <a:pt x="1468664" y="1036534"/>
                        <a:pt x="1442994" y="1038093"/>
                        <a:pt x="1431852" y="1030347"/>
                      </a:cubicBezTo>
                      <a:cubicBezTo>
                        <a:pt x="1424081" y="1024909"/>
                        <a:pt x="1420088" y="1013855"/>
                        <a:pt x="1427656" y="1011016"/>
                      </a:cubicBezTo>
                      <a:cubicBezTo>
                        <a:pt x="1429506" y="1010306"/>
                        <a:pt x="1443020" y="1015402"/>
                        <a:pt x="1447152" y="1016137"/>
                      </a:cubicBezTo>
                      <a:cubicBezTo>
                        <a:pt x="1452261" y="1017050"/>
                        <a:pt x="1457141" y="1019052"/>
                        <a:pt x="1462618" y="1017405"/>
                      </a:cubicBezTo>
                      <a:cubicBezTo>
                        <a:pt x="1467485" y="1015896"/>
                        <a:pt x="1470109" y="1010382"/>
                        <a:pt x="1474508" y="1009102"/>
                      </a:cubicBezTo>
                      <a:cubicBezTo>
                        <a:pt x="1482393" y="1006744"/>
                        <a:pt x="1493612" y="1013703"/>
                        <a:pt x="1500964" y="1016784"/>
                      </a:cubicBezTo>
                      <a:lnTo>
                        <a:pt x="1500964" y="1016784"/>
                      </a:lnTo>
                      <a:close/>
                      <a:moveTo>
                        <a:pt x="2330364" y="979451"/>
                      </a:moveTo>
                      <a:cubicBezTo>
                        <a:pt x="2333216" y="978615"/>
                        <a:pt x="2342064" y="980224"/>
                        <a:pt x="2339009" y="985384"/>
                      </a:cubicBezTo>
                      <a:cubicBezTo>
                        <a:pt x="2337982" y="987158"/>
                        <a:pt x="2331201" y="985004"/>
                        <a:pt x="2328957" y="985612"/>
                      </a:cubicBezTo>
                      <a:cubicBezTo>
                        <a:pt x="2319677" y="988059"/>
                        <a:pt x="2315748" y="993928"/>
                        <a:pt x="2311425" y="1001559"/>
                      </a:cubicBezTo>
                      <a:cubicBezTo>
                        <a:pt x="2305061" y="996425"/>
                        <a:pt x="2286807" y="995068"/>
                        <a:pt x="2278935" y="995842"/>
                      </a:cubicBezTo>
                      <a:cubicBezTo>
                        <a:pt x="2274397" y="996336"/>
                        <a:pt x="2272622" y="998035"/>
                        <a:pt x="2269364" y="999556"/>
                      </a:cubicBezTo>
                      <a:cubicBezTo>
                        <a:pt x="2260516" y="1003689"/>
                        <a:pt x="2260972" y="1007935"/>
                        <a:pt x="2262823" y="999087"/>
                      </a:cubicBezTo>
                      <a:cubicBezTo>
                        <a:pt x="2264027" y="993370"/>
                        <a:pt x="2265751" y="989174"/>
                        <a:pt x="2269808" y="985320"/>
                      </a:cubicBezTo>
                      <a:cubicBezTo>
                        <a:pt x="2276412" y="978995"/>
                        <a:pt x="2272711" y="981441"/>
                        <a:pt x="2279581" y="981048"/>
                      </a:cubicBezTo>
                      <a:cubicBezTo>
                        <a:pt x="2286414" y="980630"/>
                        <a:pt x="2293893" y="983431"/>
                        <a:pt x="2300396" y="981416"/>
                      </a:cubicBezTo>
                      <a:cubicBezTo>
                        <a:pt x="2308383" y="978995"/>
                        <a:pt x="2314277" y="973163"/>
                        <a:pt x="2323354" y="971478"/>
                      </a:cubicBezTo>
                      <a:cubicBezTo>
                        <a:pt x="2324063" y="975078"/>
                        <a:pt x="2326573" y="977816"/>
                        <a:pt x="2330364" y="979451"/>
                      </a:cubicBezTo>
                      <a:lnTo>
                        <a:pt x="2330364" y="979451"/>
                      </a:lnTo>
                      <a:close/>
                      <a:moveTo>
                        <a:pt x="3230105" y="1007061"/>
                      </a:moveTo>
                      <a:cubicBezTo>
                        <a:pt x="3228775" y="1011067"/>
                        <a:pt x="3220788" y="1011941"/>
                        <a:pt x="3215895" y="1015414"/>
                      </a:cubicBezTo>
                      <a:cubicBezTo>
                        <a:pt x="3210216" y="1019496"/>
                        <a:pt x="3205500" y="1026570"/>
                        <a:pt x="3199010" y="1030487"/>
                      </a:cubicBezTo>
                      <a:cubicBezTo>
                        <a:pt x="3189198" y="1036369"/>
                        <a:pt x="3182898" y="1033365"/>
                        <a:pt x="3171958" y="1032363"/>
                      </a:cubicBezTo>
                      <a:cubicBezTo>
                        <a:pt x="3159282" y="1031222"/>
                        <a:pt x="3149255" y="1034074"/>
                        <a:pt x="3137364" y="1035519"/>
                      </a:cubicBezTo>
                      <a:cubicBezTo>
                        <a:pt x="3137655" y="1023755"/>
                        <a:pt x="3145781" y="1011573"/>
                        <a:pt x="3150712" y="1002028"/>
                      </a:cubicBezTo>
                      <a:cubicBezTo>
                        <a:pt x="3156227" y="991304"/>
                        <a:pt x="3161538" y="979438"/>
                        <a:pt x="3170614" y="971402"/>
                      </a:cubicBezTo>
                      <a:cubicBezTo>
                        <a:pt x="3181415" y="961932"/>
                        <a:pt x="3199264" y="956798"/>
                        <a:pt x="3213575" y="956798"/>
                      </a:cubicBezTo>
                      <a:cubicBezTo>
                        <a:pt x="3226733" y="956849"/>
                        <a:pt x="3230460" y="969323"/>
                        <a:pt x="3243581" y="972644"/>
                      </a:cubicBezTo>
                      <a:cubicBezTo>
                        <a:pt x="3238738" y="978260"/>
                        <a:pt x="3239778" y="984686"/>
                        <a:pt x="3236811" y="990518"/>
                      </a:cubicBezTo>
                      <a:cubicBezTo>
                        <a:pt x="3233148" y="997642"/>
                        <a:pt x="3227177" y="996057"/>
                        <a:pt x="3230105" y="1007061"/>
                      </a:cubicBezTo>
                      <a:lnTo>
                        <a:pt x="3230105" y="1007061"/>
                      </a:lnTo>
                      <a:close/>
                      <a:moveTo>
                        <a:pt x="2694941" y="942334"/>
                      </a:moveTo>
                      <a:cubicBezTo>
                        <a:pt x="2695169" y="942144"/>
                        <a:pt x="2697704" y="941092"/>
                        <a:pt x="2698680" y="939773"/>
                      </a:cubicBezTo>
                      <a:cubicBezTo>
                        <a:pt x="2704752" y="946898"/>
                        <a:pt x="2695815" y="945136"/>
                        <a:pt x="2694484" y="950904"/>
                      </a:cubicBezTo>
                      <a:cubicBezTo>
                        <a:pt x="2693508" y="954884"/>
                        <a:pt x="2696994" y="959676"/>
                        <a:pt x="2699010" y="961451"/>
                      </a:cubicBezTo>
                      <a:cubicBezTo>
                        <a:pt x="2694421" y="966559"/>
                        <a:pt x="2694801" y="975128"/>
                        <a:pt x="2689261" y="981200"/>
                      </a:cubicBezTo>
                      <a:cubicBezTo>
                        <a:pt x="2683456" y="987602"/>
                        <a:pt x="2677041" y="989795"/>
                        <a:pt x="2671641" y="999518"/>
                      </a:cubicBezTo>
                      <a:cubicBezTo>
                        <a:pt x="2672250" y="1001762"/>
                        <a:pt x="2672871" y="1002953"/>
                        <a:pt x="2668738" y="1005894"/>
                      </a:cubicBezTo>
                      <a:cubicBezTo>
                        <a:pt x="2670475" y="991798"/>
                        <a:pt x="2652106" y="1014502"/>
                        <a:pt x="2653894" y="995931"/>
                      </a:cubicBezTo>
                      <a:cubicBezTo>
                        <a:pt x="2654325" y="991114"/>
                        <a:pt x="2661830" y="985840"/>
                        <a:pt x="2655440" y="984332"/>
                      </a:cubicBezTo>
                      <a:cubicBezTo>
                        <a:pt x="2655897" y="979514"/>
                        <a:pt x="2660752" y="981226"/>
                        <a:pt x="2665062" y="982303"/>
                      </a:cubicBezTo>
                      <a:cubicBezTo>
                        <a:pt x="2649787" y="978336"/>
                        <a:pt x="2671464" y="963326"/>
                        <a:pt x="2672922" y="962249"/>
                      </a:cubicBezTo>
                      <a:cubicBezTo>
                        <a:pt x="2678575" y="957952"/>
                        <a:pt x="2678410" y="947481"/>
                        <a:pt x="2686878" y="946315"/>
                      </a:cubicBezTo>
                      <a:cubicBezTo>
                        <a:pt x="2684533" y="939837"/>
                        <a:pt x="2694763" y="934475"/>
                        <a:pt x="2694941" y="942334"/>
                      </a:cubicBezTo>
                      <a:lnTo>
                        <a:pt x="2694941" y="942334"/>
                      </a:lnTo>
                      <a:close/>
                      <a:moveTo>
                        <a:pt x="1389119" y="921025"/>
                      </a:moveTo>
                      <a:cubicBezTo>
                        <a:pt x="1393239" y="922914"/>
                        <a:pt x="1396763" y="925081"/>
                        <a:pt x="1399083" y="928694"/>
                      </a:cubicBezTo>
                      <a:cubicBezTo>
                        <a:pt x="1393366" y="930964"/>
                        <a:pt x="1378585" y="932193"/>
                        <a:pt x="1382159" y="938975"/>
                      </a:cubicBezTo>
                      <a:cubicBezTo>
                        <a:pt x="1376227" y="940610"/>
                        <a:pt x="1369610" y="937124"/>
                        <a:pt x="1364400" y="938975"/>
                      </a:cubicBezTo>
                      <a:cubicBezTo>
                        <a:pt x="1359203" y="940775"/>
                        <a:pt x="1359367" y="946150"/>
                        <a:pt x="1355057" y="947937"/>
                      </a:cubicBezTo>
                      <a:cubicBezTo>
                        <a:pt x="1349923" y="950054"/>
                        <a:pt x="1325977" y="947633"/>
                        <a:pt x="1327688" y="941257"/>
                      </a:cubicBezTo>
                      <a:cubicBezTo>
                        <a:pt x="1322136" y="940775"/>
                        <a:pt x="1323911" y="943779"/>
                        <a:pt x="1326674" y="946809"/>
                      </a:cubicBezTo>
                      <a:cubicBezTo>
                        <a:pt x="1320323" y="946568"/>
                        <a:pt x="1293221" y="944489"/>
                        <a:pt x="1295782" y="936681"/>
                      </a:cubicBezTo>
                      <a:cubicBezTo>
                        <a:pt x="1290318" y="934602"/>
                        <a:pt x="1297569" y="929721"/>
                        <a:pt x="1302513" y="926692"/>
                      </a:cubicBezTo>
                      <a:cubicBezTo>
                        <a:pt x="1309117" y="922686"/>
                        <a:pt x="1312540" y="921494"/>
                        <a:pt x="1322377" y="921532"/>
                      </a:cubicBezTo>
                      <a:cubicBezTo>
                        <a:pt x="1333672" y="921558"/>
                        <a:pt x="1345334" y="922445"/>
                        <a:pt x="1356540" y="922191"/>
                      </a:cubicBezTo>
                      <a:cubicBezTo>
                        <a:pt x="1366986" y="921988"/>
                        <a:pt x="1379016" y="918503"/>
                        <a:pt x="1389119" y="921025"/>
                      </a:cubicBezTo>
                      <a:lnTo>
                        <a:pt x="1389119" y="921025"/>
                      </a:lnTo>
                      <a:close/>
                      <a:moveTo>
                        <a:pt x="2900680" y="889106"/>
                      </a:moveTo>
                      <a:cubicBezTo>
                        <a:pt x="2904762" y="891400"/>
                        <a:pt x="2904078" y="896623"/>
                        <a:pt x="2906955" y="899538"/>
                      </a:cubicBezTo>
                      <a:cubicBezTo>
                        <a:pt x="2905827" y="904102"/>
                        <a:pt x="2902481" y="905877"/>
                        <a:pt x="2898082" y="904761"/>
                      </a:cubicBezTo>
                      <a:cubicBezTo>
                        <a:pt x="2901758" y="906929"/>
                        <a:pt x="2897309" y="912950"/>
                        <a:pt x="2894685" y="915650"/>
                      </a:cubicBezTo>
                      <a:cubicBezTo>
                        <a:pt x="2889614" y="920886"/>
                        <a:pt x="2886090" y="923370"/>
                        <a:pt x="2880132" y="920734"/>
                      </a:cubicBezTo>
                      <a:cubicBezTo>
                        <a:pt x="2868774" y="915714"/>
                        <a:pt x="2872526" y="899475"/>
                        <a:pt x="2877090" y="889600"/>
                      </a:cubicBezTo>
                      <a:cubicBezTo>
                        <a:pt x="2879194" y="891565"/>
                        <a:pt x="2881387" y="891755"/>
                        <a:pt x="2883922" y="893682"/>
                      </a:cubicBezTo>
                      <a:cubicBezTo>
                        <a:pt x="2880804" y="885937"/>
                        <a:pt x="2878623" y="890170"/>
                        <a:pt x="2877609" y="879003"/>
                      </a:cubicBezTo>
                      <a:cubicBezTo>
                        <a:pt x="2876722" y="869001"/>
                        <a:pt x="2873452" y="869749"/>
                        <a:pt x="2881171" y="872271"/>
                      </a:cubicBezTo>
                      <a:cubicBezTo>
                        <a:pt x="2890577" y="875351"/>
                        <a:pt x="2891883" y="884048"/>
                        <a:pt x="2900680" y="889106"/>
                      </a:cubicBezTo>
                      <a:lnTo>
                        <a:pt x="2900680" y="889106"/>
                      </a:lnTo>
                      <a:close/>
                      <a:moveTo>
                        <a:pt x="810245" y="856945"/>
                      </a:moveTo>
                      <a:cubicBezTo>
                        <a:pt x="818713" y="851279"/>
                        <a:pt x="818003" y="854068"/>
                        <a:pt x="827853" y="856387"/>
                      </a:cubicBezTo>
                      <a:cubicBezTo>
                        <a:pt x="834914" y="858086"/>
                        <a:pt x="842000" y="854676"/>
                        <a:pt x="849137" y="857135"/>
                      </a:cubicBezTo>
                      <a:cubicBezTo>
                        <a:pt x="856046" y="859556"/>
                        <a:pt x="854677" y="866757"/>
                        <a:pt x="865972" y="862967"/>
                      </a:cubicBezTo>
                      <a:cubicBezTo>
                        <a:pt x="876937" y="859240"/>
                        <a:pt x="868190" y="853687"/>
                        <a:pt x="874376" y="850468"/>
                      </a:cubicBezTo>
                      <a:cubicBezTo>
                        <a:pt x="877900" y="848617"/>
                        <a:pt x="879637" y="852965"/>
                        <a:pt x="882084" y="852940"/>
                      </a:cubicBezTo>
                      <a:cubicBezTo>
                        <a:pt x="882844" y="852914"/>
                        <a:pt x="893708" y="852965"/>
                        <a:pt x="893923" y="853053"/>
                      </a:cubicBezTo>
                      <a:cubicBezTo>
                        <a:pt x="901808" y="855766"/>
                        <a:pt x="904369" y="864184"/>
                        <a:pt x="911125" y="868735"/>
                      </a:cubicBezTo>
                      <a:cubicBezTo>
                        <a:pt x="921545" y="875719"/>
                        <a:pt x="930457" y="871346"/>
                        <a:pt x="937847" y="870027"/>
                      </a:cubicBezTo>
                      <a:cubicBezTo>
                        <a:pt x="939964" y="879573"/>
                        <a:pt x="965229" y="883794"/>
                        <a:pt x="960108" y="873298"/>
                      </a:cubicBezTo>
                      <a:cubicBezTo>
                        <a:pt x="964481" y="873995"/>
                        <a:pt x="969070" y="875440"/>
                        <a:pt x="972974" y="874439"/>
                      </a:cubicBezTo>
                      <a:cubicBezTo>
                        <a:pt x="972518" y="885822"/>
                        <a:pt x="982038" y="885506"/>
                        <a:pt x="986183" y="892199"/>
                      </a:cubicBezTo>
                      <a:cubicBezTo>
                        <a:pt x="992585" y="902530"/>
                        <a:pt x="985511" y="912101"/>
                        <a:pt x="1000076" y="915587"/>
                      </a:cubicBezTo>
                      <a:cubicBezTo>
                        <a:pt x="1003639" y="916461"/>
                        <a:pt x="1006478" y="914851"/>
                        <a:pt x="1009216" y="915321"/>
                      </a:cubicBezTo>
                      <a:cubicBezTo>
                        <a:pt x="1010535" y="915536"/>
                        <a:pt x="1014198" y="918591"/>
                        <a:pt x="1014540" y="918566"/>
                      </a:cubicBezTo>
                      <a:cubicBezTo>
                        <a:pt x="1020055" y="918147"/>
                        <a:pt x="1019003" y="915321"/>
                        <a:pt x="1024200" y="915435"/>
                      </a:cubicBezTo>
                      <a:cubicBezTo>
                        <a:pt x="1030690" y="915536"/>
                        <a:pt x="1036382" y="921735"/>
                        <a:pt x="1044951" y="920696"/>
                      </a:cubicBezTo>
                      <a:cubicBezTo>
                        <a:pt x="1049692" y="920125"/>
                        <a:pt x="1054509" y="916208"/>
                        <a:pt x="1057412" y="916005"/>
                      </a:cubicBezTo>
                      <a:cubicBezTo>
                        <a:pt x="1060252" y="915764"/>
                        <a:pt x="1070190" y="919149"/>
                        <a:pt x="1073917" y="919986"/>
                      </a:cubicBezTo>
                      <a:cubicBezTo>
                        <a:pt x="1085567" y="922698"/>
                        <a:pt x="1090815" y="923839"/>
                        <a:pt x="1102629" y="922965"/>
                      </a:cubicBezTo>
                      <a:cubicBezTo>
                        <a:pt x="1110387" y="922407"/>
                        <a:pt x="1103859" y="921139"/>
                        <a:pt x="1111605" y="923484"/>
                      </a:cubicBezTo>
                      <a:cubicBezTo>
                        <a:pt x="1118830" y="925677"/>
                        <a:pt x="1119718" y="928999"/>
                        <a:pt x="1127146" y="926463"/>
                      </a:cubicBezTo>
                      <a:cubicBezTo>
                        <a:pt x="1135373" y="923662"/>
                        <a:pt x="1140735" y="911746"/>
                        <a:pt x="1142776" y="903759"/>
                      </a:cubicBezTo>
                      <a:cubicBezTo>
                        <a:pt x="1145527" y="893060"/>
                        <a:pt x="1148722" y="884834"/>
                        <a:pt x="1163236" y="886583"/>
                      </a:cubicBezTo>
                      <a:cubicBezTo>
                        <a:pt x="1176077" y="888104"/>
                        <a:pt x="1171286" y="902061"/>
                        <a:pt x="1181199" y="907486"/>
                      </a:cubicBezTo>
                      <a:cubicBezTo>
                        <a:pt x="1193203" y="914053"/>
                        <a:pt x="1195916" y="904710"/>
                        <a:pt x="1203433" y="903481"/>
                      </a:cubicBezTo>
                      <a:cubicBezTo>
                        <a:pt x="1210316" y="902340"/>
                        <a:pt x="1212155" y="907055"/>
                        <a:pt x="1217847" y="910389"/>
                      </a:cubicBezTo>
                      <a:cubicBezTo>
                        <a:pt x="1224552" y="914357"/>
                        <a:pt x="1229737" y="913242"/>
                        <a:pt x="1236152" y="914826"/>
                      </a:cubicBezTo>
                      <a:cubicBezTo>
                        <a:pt x="1242832" y="916424"/>
                        <a:pt x="1246103" y="922305"/>
                        <a:pt x="1253949" y="923332"/>
                      </a:cubicBezTo>
                      <a:cubicBezTo>
                        <a:pt x="1259844" y="924105"/>
                        <a:pt x="1266626" y="920949"/>
                        <a:pt x="1272723" y="921393"/>
                      </a:cubicBezTo>
                      <a:cubicBezTo>
                        <a:pt x="1277147" y="921735"/>
                        <a:pt x="1282116" y="926666"/>
                        <a:pt x="1283600" y="920252"/>
                      </a:cubicBezTo>
                      <a:cubicBezTo>
                        <a:pt x="1290153" y="923421"/>
                        <a:pt x="1281610" y="932776"/>
                        <a:pt x="1291231" y="934158"/>
                      </a:cubicBezTo>
                      <a:cubicBezTo>
                        <a:pt x="1280671" y="937264"/>
                        <a:pt x="1301169" y="945491"/>
                        <a:pt x="1286667" y="944299"/>
                      </a:cubicBezTo>
                      <a:cubicBezTo>
                        <a:pt x="1293272" y="953578"/>
                        <a:pt x="1296872" y="940674"/>
                        <a:pt x="1302374" y="948444"/>
                      </a:cubicBezTo>
                      <a:cubicBezTo>
                        <a:pt x="1309358" y="958205"/>
                        <a:pt x="1292346" y="962756"/>
                        <a:pt x="1302906" y="972770"/>
                      </a:cubicBezTo>
                      <a:cubicBezTo>
                        <a:pt x="1307406" y="977081"/>
                        <a:pt x="1320932" y="981239"/>
                        <a:pt x="1326941" y="984154"/>
                      </a:cubicBezTo>
                      <a:cubicBezTo>
                        <a:pt x="1330579" y="985929"/>
                        <a:pt x="1338197" y="987906"/>
                        <a:pt x="1341316" y="987564"/>
                      </a:cubicBezTo>
                      <a:cubicBezTo>
                        <a:pt x="1343864" y="987285"/>
                        <a:pt x="1347439" y="984344"/>
                        <a:pt x="1350405" y="983609"/>
                      </a:cubicBezTo>
                      <a:cubicBezTo>
                        <a:pt x="1355944" y="982265"/>
                        <a:pt x="1359507" y="982975"/>
                        <a:pt x="1365541" y="983165"/>
                      </a:cubicBezTo>
                      <a:cubicBezTo>
                        <a:pt x="1371587" y="983343"/>
                        <a:pt x="1377178" y="982772"/>
                        <a:pt x="1382324" y="980681"/>
                      </a:cubicBezTo>
                      <a:cubicBezTo>
                        <a:pt x="1394557" y="975775"/>
                        <a:pt x="1393011" y="977410"/>
                        <a:pt x="1404407" y="982874"/>
                      </a:cubicBezTo>
                      <a:cubicBezTo>
                        <a:pt x="1408172" y="984699"/>
                        <a:pt x="1417667" y="983482"/>
                        <a:pt x="1421432" y="988071"/>
                      </a:cubicBezTo>
                      <a:cubicBezTo>
                        <a:pt x="1432093" y="1001280"/>
                        <a:pt x="1410188" y="1026874"/>
                        <a:pt x="1418630" y="1043113"/>
                      </a:cubicBezTo>
                      <a:cubicBezTo>
                        <a:pt x="1419175" y="1041084"/>
                        <a:pt x="1419619" y="1039589"/>
                        <a:pt x="1419885" y="1037104"/>
                      </a:cubicBezTo>
                      <a:cubicBezTo>
                        <a:pt x="1421191" y="1040374"/>
                        <a:pt x="1420252" y="1045407"/>
                        <a:pt x="1422598" y="1048284"/>
                      </a:cubicBezTo>
                      <a:cubicBezTo>
                        <a:pt x="1425006" y="1051314"/>
                        <a:pt x="1431243" y="1050199"/>
                        <a:pt x="1433449" y="1053191"/>
                      </a:cubicBezTo>
                      <a:cubicBezTo>
                        <a:pt x="1442589" y="1065449"/>
                        <a:pt x="1423067" y="1058730"/>
                        <a:pt x="1417020" y="1058933"/>
                      </a:cubicBezTo>
                      <a:cubicBezTo>
                        <a:pt x="1425526" y="1046751"/>
                        <a:pt x="1398233" y="1051466"/>
                        <a:pt x="1393492" y="1050110"/>
                      </a:cubicBezTo>
                      <a:cubicBezTo>
                        <a:pt x="1388029" y="1048551"/>
                        <a:pt x="1383985" y="1046941"/>
                        <a:pt x="1376848" y="1045229"/>
                      </a:cubicBezTo>
                      <a:cubicBezTo>
                        <a:pt x="1376328" y="1042225"/>
                        <a:pt x="1365401" y="1039766"/>
                        <a:pt x="1360102" y="1037104"/>
                      </a:cubicBezTo>
                      <a:cubicBezTo>
                        <a:pt x="1357073" y="1035570"/>
                        <a:pt x="1353599" y="1033466"/>
                        <a:pt x="1350481" y="1031957"/>
                      </a:cubicBezTo>
                      <a:cubicBezTo>
                        <a:pt x="1346501" y="1030069"/>
                        <a:pt x="1338984" y="1025923"/>
                        <a:pt x="1332975" y="1024744"/>
                      </a:cubicBezTo>
                      <a:cubicBezTo>
                        <a:pt x="1321718" y="1022526"/>
                        <a:pt x="1318853" y="1029460"/>
                        <a:pt x="1310689" y="1032655"/>
                      </a:cubicBezTo>
                      <a:cubicBezTo>
                        <a:pt x="1307077" y="1034100"/>
                        <a:pt x="1303933" y="1032439"/>
                        <a:pt x="1300776" y="1033022"/>
                      </a:cubicBezTo>
                      <a:cubicBezTo>
                        <a:pt x="1296999" y="1033681"/>
                        <a:pt x="1293234" y="1035836"/>
                        <a:pt x="1289735" y="1035938"/>
                      </a:cubicBezTo>
                      <a:cubicBezTo>
                        <a:pt x="1284157" y="1036128"/>
                        <a:pt x="1275322" y="1032908"/>
                        <a:pt x="1269871" y="1031501"/>
                      </a:cubicBezTo>
                      <a:cubicBezTo>
                        <a:pt x="1268400" y="1027368"/>
                        <a:pt x="1246724" y="1026519"/>
                        <a:pt x="1241666" y="1025682"/>
                      </a:cubicBezTo>
                      <a:cubicBezTo>
                        <a:pt x="1236367" y="1024783"/>
                        <a:pt x="1225186" y="1021068"/>
                        <a:pt x="1223602" y="1027952"/>
                      </a:cubicBezTo>
                      <a:cubicBezTo>
                        <a:pt x="1222803" y="1027318"/>
                        <a:pt x="1222676" y="1026101"/>
                        <a:pt x="1221789" y="1025366"/>
                      </a:cubicBezTo>
                      <a:cubicBezTo>
                        <a:pt x="1221282" y="1028395"/>
                        <a:pt x="1219811" y="1028269"/>
                        <a:pt x="1220394" y="1031273"/>
                      </a:cubicBezTo>
                      <a:cubicBezTo>
                        <a:pt x="1212497" y="1028332"/>
                        <a:pt x="1204764" y="1026316"/>
                        <a:pt x="1197349" y="1024339"/>
                      </a:cubicBezTo>
                      <a:cubicBezTo>
                        <a:pt x="1189413" y="1022234"/>
                        <a:pt x="1178993" y="1027368"/>
                        <a:pt x="1175748" y="1019306"/>
                      </a:cubicBezTo>
                      <a:cubicBezTo>
                        <a:pt x="1171210" y="1027242"/>
                        <a:pt x="1144082" y="1017202"/>
                        <a:pt x="1136793" y="1014375"/>
                      </a:cubicBezTo>
                      <a:cubicBezTo>
                        <a:pt x="1120922" y="1008239"/>
                        <a:pt x="1107003" y="998998"/>
                        <a:pt x="1090143" y="993573"/>
                      </a:cubicBezTo>
                      <a:cubicBezTo>
                        <a:pt x="1083412" y="991405"/>
                        <a:pt x="1074995" y="989085"/>
                        <a:pt x="1067490" y="987741"/>
                      </a:cubicBezTo>
                      <a:cubicBezTo>
                        <a:pt x="1062141" y="986765"/>
                        <a:pt x="1055739" y="987691"/>
                        <a:pt x="1051125" y="986639"/>
                      </a:cubicBezTo>
                      <a:cubicBezTo>
                        <a:pt x="1050212" y="986385"/>
                        <a:pt x="1049185" y="983546"/>
                        <a:pt x="1050111" y="983749"/>
                      </a:cubicBezTo>
                      <a:cubicBezTo>
                        <a:pt x="1040616" y="981720"/>
                        <a:pt x="1030538" y="983862"/>
                        <a:pt x="1022704" y="983305"/>
                      </a:cubicBezTo>
                      <a:cubicBezTo>
                        <a:pt x="1018458" y="983026"/>
                        <a:pt x="1011232" y="981910"/>
                        <a:pt x="1010889" y="975205"/>
                      </a:cubicBezTo>
                      <a:cubicBezTo>
                        <a:pt x="1005755" y="978817"/>
                        <a:pt x="997136" y="979236"/>
                        <a:pt x="996426" y="983229"/>
                      </a:cubicBezTo>
                      <a:cubicBezTo>
                        <a:pt x="989885" y="977207"/>
                        <a:pt x="987476" y="984699"/>
                        <a:pt x="983559" y="986575"/>
                      </a:cubicBezTo>
                      <a:cubicBezTo>
                        <a:pt x="974711" y="990822"/>
                        <a:pt x="968309" y="990657"/>
                        <a:pt x="956533" y="988211"/>
                      </a:cubicBezTo>
                      <a:cubicBezTo>
                        <a:pt x="938988" y="984547"/>
                        <a:pt x="931966" y="981416"/>
                        <a:pt x="917996" y="973759"/>
                      </a:cubicBezTo>
                      <a:cubicBezTo>
                        <a:pt x="906638" y="967573"/>
                        <a:pt x="897092" y="966800"/>
                        <a:pt x="883833" y="964772"/>
                      </a:cubicBezTo>
                      <a:cubicBezTo>
                        <a:pt x="872043" y="962921"/>
                        <a:pt x="860039" y="962883"/>
                        <a:pt x="848186" y="961400"/>
                      </a:cubicBezTo>
                      <a:cubicBezTo>
                        <a:pt x="841468" y="960588"/>
                        <a:pt x="833723" y="955835"/>
                        <a:pt x="827917" y="958040"/>
                      </a:cubicBezTo>
                      <a:cubicBezTo>
                        <a:pt x="825102" y="948077"/>
                        <a:pt x="828981" y="948977"/>
                        <a:pt x="833038" y="943095"/>
                      </a:cubicBezTo>
                      <a:cubicBezTo>
                        <a:pt x="835358" y="939710"/>
                        <a:pt x="841556" y="930824"/>
                        <a:pt x="835155" y="927516"/>
                      </a:cubicBezTo>
                      <a:cubicBezTo>
                        <a:pt x="830591" y="925120"/>
                        <a:pt x="827587" y="930964"/>
                        <a:pt x="822123" y="929784"/>
                      </a:cubicBezTo>
                      <a:cubicBezTo>
                        <a:pt x="818447" y="928973"/>
                        <a:pt x="812502" y="924929"/>
                        <a:pt x="809308" y="923142"/>
                      </a:cubicBezTo>
                      <a:cubicBezTo>
                        <a:pt x="794045" y="914661"/>
                        <a:pt x="783409" y="918376"/>
                        <a:pt x="765586" y="919377"/>
                      </a:cubicBezTo>
                      <a:cubicBezTo>
                        <a:pt x="758424" y="919795"/>
                        <a:pt x="742616" y="919187"/>
                        <a:pt x="740803" y="912659"/>
                      </a:cubicBezTo>
                      <a:cubicBezTo>
                        <a:pt x="746077" y="913216"/>
                        <a:pt x="748549" y="905306"/>
                        <a:pt x="750805" y="905534"/>
                      </a:cubicBezTo>
                      <a:cubicBezTo>
                        <a:pt x="756370" y="906168"/>
                        <a:pt x="753898" y="915207"/>
                        <a:pt x="758082" y="915942"/>
                      </a:cubicBezTo>
                      <a:cubicBezTo>
                        <a:pt x="760249" y="916335"/>
                        <a:pt x="768616" y="906320"/>
                        <a:pt x="769744" y="903950"/>
                      </a:cubicBezTo>
                      <a:cubicBezTo>
                        <a:pt x="772976" y="896990"/>
                        <a:pt x="770796" y="894594"/>
                        <a:pt x="774840" y="892604"/>
                      </a:cubicBezTo>
                      <a:cubicBezTo>
                        <a:pt x="777350" y="891362"/>
                        <a:pt x="780950" y="897751"/>
                        <a:pt x="785463" y="888282"/>
                      </a:cubicBezTo>
                      <a:cubicBezTo>
                        <a:pt x="788607" y="881690"/>
                        <a:pt x="784829" y="871726"/>
                        <a:pt x="788657" y="864336"/>
                      </a:cubicBezTo>
                      <a:cubicBezTo>
                        <a:pt x="789634" y="862485"/>
                        <a:pt x="798608" y="848782"/>
                        <a:pt x="799990" y="848363"/>
                      </a:cubicBezTo>
                      <a:cubicBezTo>
                        <a:pt x="807558" y="845841"/>
                        <a:pt x="805429" y="853459"/>
                        <a:pt x="810245" y="856945"/>
                      </a:cubicBezTo>
                      <a:lnTo>
                        <a:pt x="810245" y="856945"/>
                      </a:lnTo>
                      <a:close/>
                      <a:moveTo>
                        <a:pt x="2911379" y="813769"/>
                      </a:moveTo>
                      <a:cubicBezTo>
                        <a:pt x="2914891" y="816089"/>
                        <a:pt x="2917084" y="818586"/>
                        <a:pt x="2919911" y="821895"/>
                      </a:cubicBezTo>
                      <a:cubicBezTo>
                        <a:pt x="2919455" y="822249"/>
                        <a:pt x="2918149" y="822338"/>
                        <a:pt x="2917832" y="822858"/>
                      </a:cubicBezTo>
                      <a:cubicBezTo>
                        <a:pt x="2918517" y="822021"/>
                        <a:pt x="2918706" y="826002"/>
                        <a:pt x="2918871" y="824886"/>
                      </a:cubicBezTo>
                      <a:cubicBezTo>
                        <a:pt x="2917337" y="824785"/>
                        <a:pt x="2917084" y="825279"/>
                        <a:pt x="2915347" y="825888"/>
                      </a:cubicBezTo>
                      <a:cubicBezTo>
                        <a:pt x="2926034" y="825444"/>
                        <a:pt x="2924221" y="838995"/>
                        <a:pt x="2920354" y="844117"/>
                      </a:cubicBezTo>
                      <a:cubicBezTo>
                        <a:pt x="2922966" y="845511"/>
                        <a:pt x="2923016" y="846664"/>
                        <a:pt x="2924943" y="848148"/>
                      </a:cubicBezTo>
                      <a:cubicBezTo>
                        <a:pt x="2924373" y="848198"/>
                        <a:pt x="2922370" y="849758"/>
                        <a:pt x="2921914" y="850176"/>
                      </a:cubicBezTo>
                      <a:cubicBezTo>
                        <a:pt x="2919302" y="848591"/>
                        <a:pt x="2922890" y="849542"/>
                        <a:pt x="2920126" y="849035"/>
                      </a:cubicBezTo>
                      <a:cubicBezTo>
                        <a:pt x="2921052" y="850151"/>
                        <a:pt x="2921026" y="850987"/>
                        <a:pt x="2922941" y="852179"/>
                      </a:cubicBezTo>
                      <a:cubicBezTo>
                        <a:pt x="2922598" y="852813"/>
                        <a:pt x="2921305" y="851925"/>
                        <a:pt x="2922826" y="853966"/>
                      </a:cubicBezTo>
                      <a:cubicBezTo>
                        <a:pt x="2919455" y="851976"/>
                        <a:pt x="2916019" y="851329"/>
                        <a:pt x="2912863" y="852673"/>
                      </a:cubicBezTo>
                      <a:cubicBezTo>
                        <a:pt x="2918567" y="852863"/>
                        <a:pt x="2931890" y="865958"/>
                        <a:pt x="2920354" y="867885"/>
                      </a:cubicBezTo>
                      <a:cubicBezTo>
                        <a:pt x="2920862" y="867936"/>
                        <a:pt x="2919645" y="870015"/>
                        <a:pt x="2919493" y="870129"/>
                      </a:cubicBezTo>
                      <a:cubicBezTo>
                        <a:pt x="2920697" y="869343"/>
                        <a:pt x="2923042" y="868443"/>
                        <a:pt x="2924475" y="867885"/>
                      </a:cubicBezTo>
                      <a:cubicBezTo>
                        <a:pt x="2922484" y="883008"/>
                        <a:pt x="2914485" y="883642"/>
                        <a:pt x="2903939" y="877532"/>
                      </a:cubicBezTo>
                      <a:cubicBezTo>
                        <a:pt x="2898031" y="874084"/>
                        <a:pt x="2878167" y="861686"/>
                        <a:pt x="2895711" y="857972"/>
                      </a:cubicBezTo>
                      <a:cubicBezTo>
                        <a:pt x="2884353" y="859366"/>
                        <a:pt x="2894596" y="844852"/>
                        <a:pt x="2896408" y="840998"/>
                      </a:cubicBezTo>
                      <a:cubicBezTo>
                        <a:pt x="2895990" y="840681"/>
                        <a:pt x="2895597" y="840364"/>
                        <a:pt x="2895153" y="840048"/>
                      </a:cubicBezTo>
                      <a:cubicBezTo>
                        <a:pt x="2891503" y="841569"/>
                        <a:pt x="2881197" y="838602"/>
                        <a:pt x="2887117" y="832606"/>
                      </a:cubicBezTo>
                      <a:cubicBezTo>
                        <a:pt x="2886812" y="832898"/>
                        <a:pt x="2893493" y="834635"/>
                        <a:pt x="2895027" y="833798"/>
                      </a:cubicBezTo>
                      <a:cubicBezTo>
                        <a:pt x="2897486" y="832467"/>
                        <a:pt x="2901276" y="824367"/>
                        <a:pt x="2902202" y="821895"/>
                      </a:cubicBezTo>
                      <a:cubicBezTo>
                        <a:pt x="2904585" y="823365"/>
                        <a:pt x="2903203" y="822199"/>
                        <a:pt x="2905751" y="822858"/>
                      </a:cubicBezTo>
                      <a:cubicBezTo>
                        <a:pt x="2903583" y="817001"/>
                        <a:pt x="2904762" y="812882"/>
                        <a:pt x="2911379" y="813769"/>
                      </a:cubicBezTo>
                      <a:lnTo>
                        <a:pt x="2911379" y="813769"/>
                      </a:lnTo>
                      <a:close/>
                      <a:moveTo>
                        <a:pt x="2038829" y="778756"/>
                      </a:moveTo>
                      <a:cubicBezTo>
                        <a:pt x="2035368" y="779999"/>
                        <a:pt x="2020980" y="794171"/>
                        <a:pt x="2028307" y="796782"/>
                      </a:cubicBezTo>
                      <a:cubicBezTo>
                        <a:pt x="2027306" y="797784"/>
                        <a:pt x="2026596" y="798367"/>
                        <a:pt x="2025519" y="799318"/>
                      </a:cubicBezTo>
                      <a:cubicBezTo>
                        <a:pt x="2034760" y="802842"/>
                        <a:pt x="2026596" y="814048"/>
                        <a:pt x="2021475" y="814098"/>
                      </a:cubicBezTo>
                      <a:cubicBezTo>
                        <a:pt x="2022210" y="810219"/>
                        <a:pt x="2021500" y="806442"/>
                        <a:pt x="2019117" y="803615"/>
                      </a:cubicBezTo>
                      <a:cubicBezTo>
                        <a:pt x="2018737" y="813579"/>
                        <a:pt x="2007759" y="811715"/>
                        <a:pt x="2014629" y="805694"/>
                      </a:cubicBezTo>
                      <a:cubicBezTo>
                        <a:pt x="2005908" y="808280"/>
                        <a:pt x="2001623" y="816266"/>
                        <a:pt x="2004298" y="801168"/>
                      </a:cubicBezTo>
                      <a:cubicBezTo>
                        <a:pt x="2005071" y="796782"/>
                        <a:pt x="2009191" y="791179"/>
                        <a:pt x="2009584" y="789290"/>
                      </a:cubicBezTo>
                      <a:cubicBezTo>
                        <a:pt x="2010459" y="784360"/>
                        <a:pt x="2008785" y="781051"/>
                        <a:pt x="2008126" y="775701"/>
                      </a:cubicBezTo>
                      <a:cubicBezTo>
                        <a:pt x="2006681" y="764014"/>
                        <a:pt x="2012855" y="762036"/>
                        <a:pt x="2025037" y="757663"/>
                      </a:cubicBezTo>
                      <a:cubicBezTo>
                        <a:pt x="2036015" y="753733"/>
                        <a:pt x="2034278" y="753758"/>
                        <a:pt x="2036940" y="765788"/>
                      </a:cubicBezTo>
                      <a:cubicBezTo>
                        <a:pt x="2037891" y="770124"/>
                        <a:pt x="2038132" y="774370"/>
                        <a:pt x="2038829" y="778756"/>
                      </a:cubicBezTo>
                      <a:lnTo>
                        <a:pt x="2038829" y="778756"/>
                      </a:lnTo>
                      <a:close/>
                      <a:moveTo>
                        <a:pt x="2070799" y="758690"/>
                      </a:moveTo>
                      <a:cubicBezTo>
                        <a:pt x="2071522" y="762746"/>
                        <a:pt x="2071674" y="766879"/>
                        <a:pt x="2070799" y="770846"/>
                      </a:cubicBezTo>
                      <a:cubicBezTo>
                        <a:pt x="2069405" y="767462"/>
                        <a:pt x="2067529" y="763101"/>
                        <a:pt x="2064372" y="761111"/>
                      </a:cubicBezTo>
                      <a:cubicBezTo>
                        <a:pt x="2063916" y="762505"/>
                        <a:pt x="2063460" y="763912"/>
                        <a:pt x="2062990" y="765332"/>
                      </a:cubicBezTo>
                      <a:cubicBezTo>
                        <a:pt x="2060696" y="763050"/>
                        <a:pt x="2061368" y="764267"/>
                        <a:pt x="2059073" y="763329"/>
                      </a:cubicBezTo>
                      <a:cubicBezTo>
                        <a:pt x="2057032" y="769794"/>
                        <a:pt x="2054028" y="776373"/>
                        <a:pt x="2052710" y="782749"/>
                      </a:cubicBezTo>
                      <a:cubicBezTo>
                        <a:pt x="2052849" y="782090"/>
                        <a:pt x="2052951" y="794222"/>
                        <a:pt x="2052342" y="792663"/>
                      </a:cubicBezTo>
                      <a:cubicBezTo>
                        <a:pt x="2055524" y="800915"/>
                        <a:pt x="2052773" y="791167"/>
                        <a:pt x="2056715" y="792979"/>
                      </a:cubicBezTo>
                      <a:cubicBezTo>
                        <a:pt x="2062420" y="795527"/>
                        <a:pt x="2072194" y="799774"/>
                        <a:pt x="2068771" y="807241"/>
                      </a:cubicBezTo>
                      <a:cubicBezTo>
                        <a:pt x="2063523" y="818675"/>
                        <a:pt x="2048121" y="805821"/>
                        <a:pt x="2044926" y="819917"/>
                      </a:cubicBezTo>
                      <a:cubicBezTo>
                        <a:pt x="2045801" y="819816"/>
                        <a:pt x="2047360" y="819448"/>
                        <a:pt x="2048590" y="819283"/>
                      </a:cubicBezTo>
                      <a:cubicBezTo>
                        <a:pt x="2049021" y="824696"/>
                        <a:pt x="2044153" y="830958"/>
                        <a:pt x="2039691" y="833519"/>
                      </a:cubicBezTo>
                      <a:cubicBezTo>
                        <a:pt x="2039767" y="833570"/>
                        <a:pt x="2038005" y="829691"/>
                        <a:pt x="2038030" y="829779"/>
                      </a:cubicBezTo>
                      <a:cubicBezTo>
                        <a:pt x="2037574" y="830223"/>
                        <a:pt x="2037168" y="832302"/>
                        <a:pt x="2036471" y="832543"/>
                      </a:cubicBezTo>
                      <a:cubicBezTo>
                        <a:pt x="2036370" y="831808"/>
                        <a:pt x="2036015" y="829513"/>
                        <a:pt x="2035672" y="828664"/>
                      </a:cubicBezTo>
                      <a:cubicBezTo>
                        <a:pt x="2030944" y="834521"/>
                        <a:pt x="2029879" y="832163"/>
                        <a:pt x="2026622" y="827244"/>
                      </a:cubicBezTo>
                      <a:cubicBezTo>
                        <a:pt x="2021120" y="818966"/>
                        <a:pt x="2031223" y="815645"/>
                        <a:pt x="2027813" y="812210"/>
                      </a:cubicBezTo>
                      <a:cubicBezTo>
                        <a:pt x="2031451" y="806125"/>
                        <a:pt x="2039235" y="801092"/>
                        <a:pt x="2041073" y="796428"/>
                      </a:cubicBezTo>
                      <a:cubicBezTo>
                        <a:pt x="2039792" y="796896"/>
                        <a:pt x="2038613" y="797606"/>
                        <a:pt x="2037333" y="797695"/>
                      </a:cubicBezTo>
                      <a:cubicBezTo>
                        <a:pt x="2037625" y="793740"/>
                        <a:pt x="2043684" y="783485"/>
                        <a:pt x="2036953" y="784980"/>
                      </a:cubicBezTo>
                      <a:cubicBezTo>
                        <a:pt x="2048501" y="776766"/>
                        <a:pt x="2038195" y="732398"/>
                        <a:pt x="2061545" y="737456"/>
                      </a:cubicBezTo>
                      <a:cubicBezTo>
                        <a:pt x="2059302" y="741208"/>
                        <a:pt x="2070317" y="752503"/>
                        <a:pt x="2070799" y="758690"/>
                      </a:cubicBezTo>
                      <a:lnTo>
                        <a:pt x="2070799" y="758690"/>
                      </a:lnTo>
                      <a:close/>
                      <a:moveTo>
                        <a:pt x="1546916" y="711026"/>
                      </a:moveTo>
                      <a:cubicBezTo>
                        <a:pt x="1546067" y="711863"/>
                        <a:pt x="1545281" y="712813"/>
                        <a:pt x="1544483" y="713738"/>
                      </a:cubicBezTo>
                      <a:cubicBezTo>
                        <a:pt x="1541795" y="712103"/>
                        <a:pt x="1541389" y="696207"/>
                        <a:pt x="1540642" y="691073"/>
                      </a:cubicBezTo>
                      <a:cubicBezTo>
                        <a:pt x="1537992" y="672806"/>
                        <a:pt x="1544280" y="662753"/>
                        <a:pt x="1557552" y="651307"/>
                      </a:cubicBezTo>
                      <a:cubicBezTo>
                        <a:pt x="1558363" y="655414"/>
                        <a:pt x="1556931" y="659850"/>
                        <a:pt x="1557070" y="664300"/>
                      </a:cubicBezTo>
                      <a:cubicBezTo>
                        <a:pt x="1557172" y="666303"/>
                        <a:pt x="1560075" y="667495"/>
                        <a:pt x="1560227" y="669041"/>
                      </a:cubicBezTo>
                      <a:cubicBezTo>
                        <a:pt x="1560404" y="670600"/>
                        <a:pt x="1559023" y="673161"/>
                        <a:pt x="1558972" y="672679"/>
                      </a:cubicBezTo>
                      <a:cubicBezTo>
                        <a:pt x="1559529" y="676533"/>
                        <a:pt x="1562217" y="686446"/>
                        <a:pt x="1562369" y="690376"/>
                      </a:cubicBezTo>
                      <a:cubicBezTo>
                        <a:pt x="1562711" y="699389"/>
                        <a:pt x="1555194" y="706411"/>
                        <a:pt x="1546916" y="711026"/>
                      </a:cubicBezTo>
                      <a:lnTo>
                        <a:pt x="1546916" y="711026"/>
                      </a:lnTo>
                      <a:close/>
                      <a:moveTo>
                        <a:pt x="2341696" y="643232"/>
                      </a:moveTo>
                      <a:cubicBezTo>
                        <a:pt x="2346919" y="644765"/>
                        <a:pt x="2359393" y="646958"/>
                        <a:pt x="2359190" y="655198"/>
                      </a:cubicBezTo>
                      <a:cubicBezTo>
                        <a:pt x="2349949" y="653069"/>
                        <a:pt x="2356300" y="659914"/>
                        <a:pt x="2360128" y="661866"/>
                      </a:cubicBezTo>
                      <a:cubicBezTo>
                        <a:pt x="2359836" y="661702"/>
                        <a:pt x="2365300" y="659838"/>
                        <a:pt x="2367734" y="661790"/>
                      </a:cubicBezTo>
                      <a:cubicBezTo>
                        <a:pt x="2372070" y="665365"/>
                        <a:pt x="2368064" y="663654"/>
                        <a:pt x="2368976" y="668978"/>
                      </a:cubicBezTo>
                      <a:cubicBezTo>
                        <a:pt x="2371296" y="683188"/>
                        <a:pt x="2367253" y="680082"/>
                        <a:pt x="2359241" y="683556"/>
                      </a:cubicBezTo>
                      <a:cubicBezTo>
                        <a:pt x="2350519" y="687346"/>
                        <a:pt x="2343433" y="695459"/>
                        <a:pt x="2333825" y="696955"/>
                      </a:cubicBezTo>
                      <a:cubicBezTo>
                        <a:pt x="2322960" y="698666"/>
                        <a:pt x="2300675" y="688537"/>
                        <a:pt x="2291460" y="681109"/>
                      </a:cubicBezTo>
                      <a:cubicBezTo>
                        <a:pt x="2280900" y="672540"/>
                        <a:pt x="2269085" y="648999"/>
                        <a:pt x="2285590" y="645057"/>
                      </a:cubicBezTo>
                      <a:cubicBezTo>
                        <a:pt x="2285185" y="645146"/>
                        <a:pt x="2291295" y="648366"/>
                        <a:pt x="2292879" y="648277"/>
                      </a:cubicBezTo>
                      <a:cubicBezTo>
                        <a:pt x="2292752" y="648277"/>
                        <a:pt x="2299788" y="642927"/>
                        <a:pt x="2301917" y="642142"/>
                      </a:cubicBezTo>
                      <a:cubicBezTo>
                        <a:pt x="2310322" y="638921"/>
                        <a:pt x="2335637" y="635550"/>
                        <a:pt x="2341696" y="643232"/>
                      </a:cubicBezTo>
                      <a:lnTo>
                        <a:pt x="2341696" y="643232"/>
                      </a:lnTo>
                      <a:close/>
                      <a:moveTo>
                        <a:pt x="2538779" y="618981"/>
                      </a:moveTo>
                      <a:cubicBezTo>
                        <a:pt x="2545358" y="623279"/>
                        <a:pt x="2557134" y="625548"/>
                        <a:pt x="2562965" y="628337"/>
                      </a:cubicBezTo>
                      <a:cubicBezTo>
                        <a:pt x="2564271" y="628945"/>
                        <a:pt x="2566363" y="631975"/>
                        <a:pt x="2568911" y="632723"/>
                      </a:cubicBezTo>
                      <a:cubicBezTo>
                        <a:pt x="2577657" y="635334"/>
                        <a:pt x="2585745" y="632406"/>
                        <a:pt x="2594137" y="633635"/>
                      </a:cubicBezTo>
                      <a:cubicBezTo>
                        <a:pt x="2604684" y="635195"/>
                        <a:pt x="2615003" y="642573"/>
                        <a:pt x="2619021" y="652283"/>
                      </a:cubicBezTo>
                      <a:cubicBezTo>
                        <a:pt x="2621239" y="657632"/>
                        <a:pt x="2618742" y="661131"/>
                        <a:pt x="2623153" y="665099"/>
                      </a:cubicBezTo>
                      <a:cubicBezTo>
                        <a:pt x="2625930" y="667571"/>
                        <a:pt x="2630899" y="664148"/>
                        <a:pt x="2634169" y="668863"/>
                      </a:cubicBezTo>
                      <a:cubicBezTo>
                        <a:pt x="2631723" y="672274"/>
                        <a:pt x="2636489" y="676495"/>
                        <a:pt x="2636920" y="681236"/>
                      </a:cubicBezTo>
                      <a:cubicBezTo>
                        <a:pt x="2637414" y="686699"/>
                        <a:pt x="2631913" y="691669"/>
                        <a:pt x="2634904" y="698882"/>
                      </a:cubicBezTo>
                      <a:cubicBezTo>
                        <a:pt x="2625879" y="696194"/>
                        <a:pt x="2616093" y="691605"/>
                        <a:pt x="2608005" y="686484"/>
                      </a:cubicBezTo>
                      <a:cubicBezTo>
                        <a:pt x="2598954" y="680792"/>
                        <a:pt x="2586277" y="678181"/>
                        <a:pt x="2577303" y="672007"/>
                      </a:cubicBezTo>
                      <a:cubicBezTo>
                        <a:pt x="2574323" y="669979"/>
                        <a:pt x="2571902" y="666518"/>
                        <a:pt x="2569823" y="665010"/>
                      </a:cubicBezTo>
                      <a:cubicBezTo>
                        <a:pt x="2563168" y="660028"/>
                        <a:pt x="2560848" y="659166"/>
                        <a:pt x="2549706" y="658165"/>
                      </a:cubicBezTo>
                      <a:cubicBezTo>
                        <a:pt x="2548197" y="658025"/>
                        <a:pt x="2539070" y="655971"/>
                        <a:pt x="2537701" y="657265"/>
                      </a:cubicBezTo>
                      <a:cubicBezTo>
                        <a:pt x="2535127" y="659686"/>
                        <a:pt x="2539197" y="662753"/>
                        <a:pt x="2538563" y="663514"/>
                      </a:cubicBezTo>
                      <a:cubicBezTo>
                        <a:pt x="2537384" y="664883"/>
                        <a:pt x="2542366" y="666620"/>
                        <a:pt x="2537916" y="669371"/>
                      </a:cubicBezTo>
                      <a:cubicBezTo>
                        <a:pt x="2534938" y="671171"/>
                        <a:pt x="2529639" y="666493"/>
                        <a:pt x="2526913" y="665897"/>
                      </a:cubicBezTo>
                      <a:cubicBezTo>
                        <a:pt x="2518369" y="663996"/>
                        <a:pt x="2498961" y="662601"/>
                        <a:pt x="2494297" y="658406"/>
                      </a:cubicBezTo>
                      <a:cubicBezTo>
                        <a:pt x="2491875" y="656187"/>
                        <a:pt x="2501776" y="652891"/>
                        <a:pt x="2492053" y="650749"/>
                      </a:cubicBezTo>
                      <a:cubicBezTo>
                        <a:pt x="2488592" y="649988"/>
                        <a:pt x="2485195" y="653449"/>
                        <a:pt x="2482279" y="655744"/>
                      </a:cubicBezTo>
                      <a:cubicBezTo>
                        <a:pt x="2473634" y="662601"/>
                        <a:pt x="2476600" y="669396"/>
                        <a:pt x="2463924" y="668116"/>
                      </a:cubicBezTo>
                      <a:cubicBezTo>
                        <a:pt x="2459677" y="667659"/>
                        <a:pt x="2458676" y="668534"/>
                        <a:pt x="2454327" y="665365"/>
                      </a:cubicBezTo>
                      <a:cubicBezTo>
                        <a:pt x="2450715" y="662703"/>
                        <a:pt x="2449498" y="655693"/>
                        <a:pt x="2446329" y="652473"/>
                      </a:cubicBezTo>
                      <a:cubicBezTo>
                        <a:pt x="2444858" y="650964"/>
                        <a:pt x="2440130" y="651053"/>
                        <a:pt x="2439420" y="649836"/>
                      </a:cubicBezTo>
                      <a:cubicBezTo>
                        <a:pt x="2438532" y="648302"/>
                        <a:pt x="2439876" y="640874"/>
                        <a:pt x="2437785" y="640367"/>
                      </a:cubicBezTo>
                      <a:cubicBezTo>
                        <a:pt x="2431865" y="638973"/>
                        <a:pt x="2430901" y="648087"/>
                        <a:pt x="2429583" y="651573"/>
                      </a:cubicBezTo>
                      <a:cubicBezTo>
                        <a:pt x="2426262" y="660294"/>
                        <a:pt x="2421166" y="666810"/>
                        <a:pt x="2419353" y="675937"/>
                      </a:cubicBezTo>
                      <a:cubicBezTo>
                        <a:pt x="2415220" y="670879"/>
                        <a:pt x="2420595" y="665808"/>
                        <a:pt x="2419809" y="659787"/>
                      </a:cubicBezTo>
                      <a:cubicBezTo>
                        <a:pt x="2419353" y="656339"/>
                        <a:pt x="2415246" y="650685"/>
                        <a:pt x="2413179" y="647934"/>
                      </a:cubicBezTo>
                      <a:cubicBezTo>
                        <a:pt x="2419175" y="645222"/>
                        <a:pt x="2425045" y="638947"/>
                        <a:pt x="2432499" y="640139"/>
                      </a:cubicBezTo>
                      <a:cubicBezTo>
                        <a:pt x="2432866" y="637641"/>
                        <a:pt x="2433044" y="636424"/>
                        <a:pt x="2433550" y="634054"/>
                      </a:cubicBezTo>
                      <a:cubicBezTo>
                        <a:pt x="2432815" y="633864"/>
                        <a:pt x="2430813" y="633344"/>
                        <a:pt x="2430039" y="633027"/>
                      </a:cubicBezTo>
                      <a:cubicBezTo>
                        <a:pt x="2433500" y="630834"/>
                        <a:pt x="2434831" y="625992"/>
                        <a:pt x="2438228" y="624597"/>
                      </a:cubicBezTo>
                      <a:cubicBezTo>
                        <a:pt x="2444960" y="621821"/>
                        <a:pt x="2459931" y="624090"/>
                        <a:pt x="2467397" y="624255"/>
                      </a:cubicBezTo>
                      <a:cubicBezTo>
                        <a:pt x="2473697" y="624394"/>
                        <a:pt x="2480885" y="625751"/>
                        <a:pt x="2487122" y="625041"/>
                      </a:cubicBezTo>
                      <a:cubicBezTo>
                        <a:pt x="2490329" y="624699"/>
                        <a:pt x="2499278" y="620541"/>
                        <a:pt x="2501319" y="621162"/>
                      </a:cubicBezTo>
                      <a:cubicBezTo>
                        <a:pt x="2506390" y="622708"/>
                        <a:pt x="2502815" y="633534"/>
                        <a:pt x="2512487" y="631899"/>
                      </a:cubicBezTo>
                      <a:cubicBezTo>
                        <a:pt x="2512525" y="631202"/>
                        <a:pt x="2511828" y="630530"/>
                        <a:pt x="2512069" y="629807"/>
                      </a:cubicBezTo>
                      <a:cubicBezTo>
                        <a:pt x="2512918" y="629896"/>
                        <a:pt x="2514021" y="630834"/>
                        <a:pt x="2514934" y="630859"/>
                      </a:cubicBezTo>
                      <a:cubicBezTo>
                        <a:pt x="2519941" y="624027"/>
                        <a:pt x="2530120" y="619032"/>
                        <a:pt x="2538779" y="618981"/>
                      </a:cubicBezTo>
                      <a:lnTo>
                        <a:pt x="2538779" y="618981"/>
                      </a:lnTo>
                      <a:close/>
                      <a:moveTo>
                        <a:pt x="935084" y="602058"/>
                      </a:moveTo>
                      <a:cubicBezTo>
                        <a:pt x="940750" y="603453"/>
                        <a:pt x="947418" y="602553"/>
                        <a:pt x="949244" y="608853"/>
                      </a:cubicBezTo>
                      <a:cubicBezTo>
                        <a:pt x="952273" y="601691"/>
                        <a:pt x="968474" y="616573"/>
                        <a:pt x="968030" y="624039"/>
                      </a:cubicBezTo>
                      <a:cubicBezTo>
                        <a:pt x="967523" y="632114"/>
                        <a:pt x="957712" y="637134"/>
                        <a:pt x="961857" y="645158"/>
                      </a:cubicBezTo>
                      <a:cubicBezTo>
                        <a:pt x="950537" y="645628"/>
                        <a:pt x="952172" y="655414"/>
                        <a:pt x="944148" y="649532"/>
                      </a:cubicBezTo>
                      <a:cubicBezTo>
                        <a:pt x="942791" y="648531"/>
                        <a:pt x="939990" y="640443"/>
                        <a:pt x="937847" y="639961"/>
                      </a:cubicBezTo>
                      <a:cubicBezTo>
                        <a:pt x="930305" y="638174"/>
                        <a:pt x="937442" y="643916"/>
                        <a:pt x="934120" y="646287"/>
                      </a:cubicBezTo>
                      <a:cubicBezTo>
                        <a:pt x="931927" y="647897"/>
                        <a:pt x="919809" y="653779"/>
                        <a:pt x="918009" y="652460"/>
                      </a:cubicBezTo>
                      <a:cubicBezTo>
                        <a:pt x="914472" y="649900"/>
                        <a:pt x="919264" y="646185"/>
                        <a:pt x="919035" y="643599"/>
                      </a:cubicBezTo>
                      <a:cubicBezTo>
                        <a:pt x="918985" y="642763"/>
                        <a:pt x="915980" y="636564"/>
                        <a:pt x="915309" y="635030"/>
                      </a:cubicBezTo>
                      <a:cubicBezTo>
                        <a:pt x="914079" y="632317"/>
                        <a:pt x="921837" y="627538"/>
                        <a:pt x="913268" y="629871"/>
                      </a:cubicBezTo>
                      <a:cubicBezTo>
                        <a:pt x="922724" y="620439"/>
                        <a:pt x="915283" y="598889"/>
                        <a:pt x="935084" y="602058"/>
                      </a:cubicBezTo>
                      <a:lnTo>
                        <a:pt x="935084" y="602058"/>
                      </a:lnTo>
                      <a:close/>
                      <a:moveTo>
                        <a:pt x="2599081" y="539157"/>
                      </a:moveTo>
                      <a:cubicBezTo>
                        <a:pt x="2599892" y="548804"/>
                        <a:pt x="2609716" y="548804"/>
                        <a:pt x="2598143" y="556334"/>
                      </a:cubicBezTo>
                      <a:cubicBezTo>
                        <a:pt x="2600526" y="556892"/>
                        <a:pt x="2603568" y="559415"/>
                        <a:pt x="2605001" y="559833"/>
                      </a:cubicBezTo>
                      <a:cubicBezTo>
                        <a:pt x="2601096" y="562723"/>
                        <a:pt x="2598117" y="562862"/>
                        <a:pt x="2597686" y="557893"/>
                      </a:cubicBezTo>
                      <a:cubicBezTo>
                        <a:pt x="2593579" y="564004"/>
                        <a:pt x="2587013" y="568656"/>
                        <a:pt x="2579965" y="564992"/>
                      </a:cubicBezTo>
                      <a:cubicBezTo>
                        <a:pt x="2580281" y="564751"/>
                        <a:pt x="2580687" y="564599"/>
                        <a:pt x="2581042" y="564460"/>
                      </a:cubicBezTo>
                      <a:cubicBezTo>
                        <a:pt x="2569545" y="562115"/>
                        <a:pt x="2561241" y="559402"/>
                        <a:pt x="2551607" y="552861"/>
                      </a:cubicBezTo>
                      <a:cubicBezTo>
                        <a:pt x="2558630" y="549273"/>
                        <a:pt x="2568708" y="544012"/>
                        <a:pt x="2576554" y="542428"/>
                      </a:cubicBezTo>
                      <a:cubicBezTo>
                        <a:pt x="2581448" y="541452"/>
                        <a:pt x="2596431" y="537649"/>
                        <a:pt x="2599081" y="539157"/>
                      </a:cubicBezTo>
                      <a:lnTo>
                        <a:pt x="2599081" y="539157"/>
                      </a:lnTo>
                      <a:close/>
                      <a:moveTo>
                        <a:pt x="2168269" y="534809"/>
                      </a:moveTo>
                      <a:cubicBezTo>
                        <a:pt x="2176103" y="536508"/>
                        <a:pt x="2200074" y="534416"/>
                        <a:pt x="2206628" y="544355"/>
                      </a:cubicBezTo>
                      <a:cubicBezTo>
                        <a:pt x="2206628" y="544355"/>
                        <a:pt x="2210139" y="543987"/>
                        <a:pt x="2211192" y="543860"/>
                      </a:cubicBezTo>
                      <a:cubicBezTo>
                        <a:pt x="2208175" y="531564"/>
                        <a:pt x="2218227" y="544330"/>
                        <a:pt x="2217403" y="544190"/>
                      </a:cubicBezTo>
                      <a:cubicBezTo>
                        <a:pt x="2219381" y="544482"/>
                        <a:pt x="2224743" y="539639"/>
                        <a:pt x="2223830" y="545610"/>
                      </a:cubicBezTo>
                      <a:cubicBezTo>
                        <a:pt x="2231043" y="546358"/>
                        <a:pt x="2224908" y="551200"/>
                        <a:pt x="2222892" y="552328"/>
                      </a:cubicBezTo>
                      <a:cubicBezTo>
                        <a:pt x="2220585" y="553583"/>
                        <a:pt x="2213968" y="553203"/>
                        <a:pt x="2211192" y="553888"/>
                      </a:cubicBezTo>
                      <a:cubicBezTo>
                        <a:pt x="2207503" y="554838"/>
                        <a:pt x="2204080" y="557107"/>
                        <a:pt x="2201570" y="557057"/>
                      </a:cubicBezTo>
                      <a:cubicBezTo>
                        <a:pt x="2197450" y="556993"/>
                        <a:pt x="2193280" y="553583"/>
                        <a:pt x="2188780" y="554356"/>
                      </a:cubicBezTo>
                      <a:cubicBezTo>
                        <a:pt x="2177751" y="556309"/>
                        <a:pt x="2166127" y="569023"/>
                        <a:pt x="2157063" y="558083"/>
                      </a:cubicBezTo>
                      <a:cubicBezTo>
                        <a:pt x="2148025" y="547118"/>
                        <a:pt x="2158800" y="535900"/>
                        <a:pt x="2168269" y="534809"/>
                      </a:cubicBezTo>
                      <a:lnTo>
                        <a:pt x="2168269" y="534809"/>
                      </a:lnTo>
                      <a:close/>
                      <a:moveTo>
                        <a:pt x="2977589" y="531438"/>
                      </a:moveTo>
                      <a:cubicBezTo>
                        <a:pt x="2997048" y="537040"/>
                        <a:pt x="3017647" y="534201"/>
                        <a:pt x="3036218" y="538321"/>
                      </a:cubicBezTo>
                      <a:cubicBezTo>
                        <a:pt x="3048970" y="541135"/>
                        <a:pt x="3072448" y="537712"/>
                        <a:pt x="3082728" y="546865"/>
                      </a:cubicBezTo>
                      <a:cubicBezTo>
                        <a:pt x="3077328" y="549311"/>
                        <a:pt x="3062230" y="553545"/>
                        <a:pt x="3055626" y="551872"/>
                      </a:cubicBezTo>
                      <a:cubicBezTo>
                        <a:pt x="3055651" y="552683"/>
                        <a:pt x="3056500" y="553114"/>
                        <a:pt x="3056602" y="554090"/>
                      </a:cubicBezTo>
                      <a:cubicBezTo>
                        <a:pt x="3039590" y="553596"/>
                        <a:pt x="3032263" y="553203"/>
                        <a:pt x="3016062" y="547955"/>
                      </a:cubicBezTo>
                      <a:cubicBezTo>
                        <a:pt x="3007493" y="545179"/>
                        <a:pt x="2999190" y="540298"/>
                        <a:pt x="2990823" y="538828"/>
                      </a:cubicBezTo>
                      <a:cubicBezTo>
                        <a:pt x="2983661" y="537560"/>
                        <a:pt x="2977957" y="539107"/>
                        <a:pt x="2973545" y="532971"/>
                      </a:cubicBezTo>
                      <a:cubicBezTo>
                        <a:pt x="2974965" y="532122"/>
                        <a:pt x="2976232" y="531830"/>
                        <a:pt x="2977589" y="531438"/>
                      </a:cubicBezTo>
                      <a:lnTo>
                        <a:pt x="2977589" y="531438"/>
                      </a:lnTo>
                      <a:close/>
                      <a:moveTo>
                        <a:pt x="789266" y="524021"/>
                      </a:moveTo>
                      <a:cubicBezTo>
                        <a:pt x="791320" y="525289"/>
                        <a:pt x="796796" y="526722"/>
                        <a:pt x="798380" y="528522"/>
                      </a:cubicBezTo>
                      <a:cubicBezTo>
                        <a:pt x="802526" y="533352"/>
                        <a:pt x="799141" y="533161"/>
                        <a:pt x="801727" y="538524"/>
                      </a:cubicBezTo>
                      <a:cubicBezTo>
                        <a:pt x="804630" y="544532"/>
                        <a:pt x="809688" y="547790"/>
                        <a:pt x="811399" y="554103"/>
                      </a:cubicBezTo>
                      <a:cubicBezTo>
                        <a:pt x="814961" y="567211"/>
                        <a:pt x="810575" y="586846"/>
                        <a:pt x="825267" y="595999"/>
                      </a:cubicBezTo>
                      <a:cubicBezTo>
                        <a:pt x="833507" y="601133"/>
                        <a:pt x="851127" y="600410"/>
                        <a:pt x="860052" y="604277"/>
                      </a:cubicBezTo>
                      <a:cubicBezTo>
                        <a:pt x="851824" y="605329"/>
                        <a:pt x="842178" y="617929"/>
                        <a:pt x="843572" y="626359"/>
                      </a:cubicBezTo>
                      <a:cubicBezTo>
                        <a:pt x="844802" y="633991"/>
                        <a:pt x="853802" y="632850"/>
                        <a:pt x="854056" y="640595"/>
                      </a:cubicBezTo>
                      <a:cubicBezTo>
                        <a:pt x="842051" y="646566"/>
                        <a:pt x="835751" y="638326"/>
                        <a:pt x="825774" y="632774"/>
                      </a:cubicBezTo>
                      <a:cubicBezTo>
                        <a:pt x="814594" y="626549"/>
                        <a:pt x="792853" y="624863"/>
                        <a:pt x="791408" y="609550"/>
                      </a:cubicBezTo>
                      <a:cubicBezTo>
                        <a:pt x="790914" y="604061"/>
                        <a:pt x="794995" y="600740"/>
                        <a:pt x="793221" y="595200"/>
                      </a:cubicBezTo>
                      <a:cubicBezTo>
                        <a:pt x="792549" y="593147"/>
                        <a:pt x="787922" y="593489"/>
                        <a:pt x="786971" y="591626"/>
                      </a:cubicBezTo>
                      <a:cubicBezTo>
                        <a:pt x="785894" y="589458"/>
                        <a:pt x="786287" y="586935"/>
                        <a:pt x="785602" y="585021"/>
                      </a:cubicBezTo>
                      <a:cubicBezTo>
                        <a:pt x="781977" y="575450"/>
                        <a:pt x="784538" y="574398"/>
                        <a:pt x="774409" y="570202"/>
                      </a:cubicBezTo>
                      <a:cubicBezTo>
                        <a:pt x="766930" y="567122"/>
                        <a:pt x="765611" y="569467"/>
                        <a:pt x="757853" y="570595"/>
                      </a:cubicBezTo>
                      <a:cubicBezTo>
                        <a:pt x="753556" y="571204"/>
                        <a:pt x="736493" y="569264"/>
                        <a:pt x="734693" y="566222"/>
                      </a:cubicBezTo>
                      <a:cubicBezTo>
                        <a:pt x="728393" y="555675"/>
                        <a:pt x="751781" y="551352"/>
                        <a:pt x="753746" y="542326"/>
                      </a:cubicBezTo>
                      <a:cubicBezTo>
                        <a:pt x="754317" y="539728"/>
                        <a:pt x="749259" y="540412"/>
                        <a:pt x="751895" y="535164"/>
                      </a:cubicBezTo>
                      <a:cubicBezTo>
                        <a:pt x="752833" y="533250"/>
                        <a:pt x="757435" y="529916"/>
                        <a:pt x="759425" y="529118"/>
                      </a:cubicBezTo>
                      <a:cubicBezTo>
                        <a:pt x="772368" y="523882"/>
                        <a:pt x="766385" y="533871"/>
                        <a:pt x="776513" y="536242"/>
                      </a:cubicBezTo>
                      <a:cubicBezTo>
                        <a:pt x="766587" y="542935"/>
                        <a:pt x="780633" y="545318"/>
                        <a:pt x="784652" y="546345"/>
                      </a:cubicBezTo>
                      <a:cubicBezTo>
                        <a:pt x="779125" y="540653"/>
                        <a:pt x="781039" y="533161"/>
                        <a:pt x="776006" y="527127"/>
                      </a:cubicBezTo>
                      <a:cubicBezTo>
                        <a:pt x="780582" y="527140"/>
                        <a:pt x="785552" y="527216"/>
                        <a:pt x="789266" y="524021"/>
                      </a:cubicBezTo>
                      <a:lnTo>
                        <a:pt x="789266" y="524021"/>
                      </a:lnTo>
                      <a:close/>
                      <a:moveTo>
                        <a:pt x="2412317" y="519813"/>
                      </a:moveTo>
                      <a:cubicBezTo>
                        <a:pt x="2418453" y="518393"/>
                        <a:pt x="2427086" y="525162"/>
                        <a:pt x="2431497" y="529777"/>
                      </a:cubicBezTo>
                      <a:cubicBezTo>
                        <a:pt x="2439965" y="538650"/>
                        <a:pt x="2433031" y="539043"/>
                        <a:pt x="2421026" y="538549"/>
                      </a:cubicBezTo>
                      <a:cubicBezTo>
                        <a:pt x="2410619" y="538105"/>
                        <a:pt x="2396890" y="544456"/>
                        <a:pt x="2387472" y="540818"/>
                      </a:cubicBezTo>
                      <a:cubicBezTo>
                        <a:pt x="2375974" y="536407"/>
                        <a:pt x="2380119" y="527355"/>
                        <a:pt x="2382591" y="518558"/>
                      </a:cubicBezTo>
                      <a:cubicBezTo>
                        <a:pt x="2389081" y="524174"/>
                        <a:pt x="2389056" y="515009"/>
                        <a:pt x="2396104" y="512955"/>
                      </a:cubicBezTo>
                      <a:cubicBezTo>
                        <a:pt x="2402874" y="511003"/>
                        <a:pt x="2407830" y="515757"/>
                        <a:pt x="2412317" y="519813"/>
                      </a:cubicBezTo>
                      <a:lnTo>
                        <a:pt x="2412317" y="519813"/>
                      </a:lnTo>
                      <a:close/>
                      <a:moveTo>
                        <a:pt x="2070064" y="499492"/>
                      </a:moveTo>
                      <a:cubicBezTo>
                        <a:pt x="2073842" y="503207"/>
                        <a:pt x="2070115" y="510559"/>
                        <a:pt x="2072358" y="517100"/>
                      </a:cubicBezTo>
                      <a:cubicBezTo>
                        <a:pt x="2076453" y="512638"/>
                        <a:pt x="2082056" y="500063"/>
                        <a:pt x="2086886" y="507035"/>
                      </a:cubicBezTo>
                      <a:cubicBezTo>
                        <a:pt x="2096697" y="500177"/>
                        <a:pt x="2099233" y="528281"/>
                        <a:pt x="2081967" y="525670"/>
                      </a:cubicBezTo>
                      <a:cubicBezTo>
                        <a:pt x="2080459" y="509190"/>
                        <a:pt x="2073956" y="528179"/>
                        <a:pt x="2073157" y="534581"/>
                      </a:cubicBezTo>
                      <a:cubicBezTo>
                        <a:pt x="2072333" y="533719"/>
                        <a:pt x="2072599" y="532756"/>
                        <a:pt x="2071940" y="531704"/>
                      </a:cubicBezTo>
                      <a:cubicBezTo>
                        <a:pt x="2065868" y="535836"/>
                        <a:pt x="2065183" y="530677"/>
                        <a:pt x="2064867" y="528319"/>
                      </a:cubicBezTo>
                      <a:cubicBezTo>
                        <a:pt x="2064461" y="525403"/>
                        <a:pt x="2070558" y="523160"/>
                        <a:pt x="2067541" y="515592"/>
                      </a:cubicBezTo>
                      <a:cubicBezTo>
                        <a:pt x="2066743" y="513538"/>
                        <a:pt x="2066781" y="511687"/>
                        <a:pt x="2065970" y="510128"/>
                      </a:cubicBezTo>
                      <a:cubicBezTo>
                        <a:pt x="2062065" y="514375"/>
                        <a:pt x="2059289" y="521385"/>
                        <a:pt x="2054662" y="525505"/>
                      </a:cubicBezTo>
                      <a:cubicBezTo>
                        <a:pt x="2043811" y="535177"/>
                        <a:pt x="2039311" y="524693"/>
                        <a:pt x="2041592" y="512740"/>
                      </a:cubicBezTo>
                      <a:cubicBezTo>
                        <a:pt x="2044863" y="495613"/>
                        <a:pt x="2062014" y="503600"/>
                        <a:pt x="2070064" y="499492"/>
                      </a:cubicBezTo>
                      <a:lnTo>
                        <a:pt x="2070064" y="499492"/>
                      </a:lnTo>
                      <a:close/>
                      <a:moveTo>
                        <a:pt x="274916" y="483647"/>
                      </a:moveTo>
                      <a:cubicBezTo>
                        <a:pt x="275892" y="485726"/>
                        <a:pt x="277477" y="485675"/>
                        <a:pt x="276475" y="488337"/>
                      </a:cubicBezTo>
                      <a:cubicBezTo>
                        <a:pt x="276222" y="488337"/>
                        <a:pt x="274523" y="487462"/>
                        <a:pt x="273990" y="487361"/>
                      </a:cubicBezTo>
                      <a:cubicBezTo>
                        <a:pt x="279492" y="500811"/>
                        <a:pt x="289633" y="508290"/>
                        <a:pt x="293208" y="521601"/>
                      </a:cubicBezTo>
                      <a:cubicBezTo>
                        <a:pt x="292054" y="520992"/>
                        <a:pt x="291307" y="519965"/>
                        <a:pt x="290178" y="519597"/>
                      </a:cubicBezTo>
                      <a:cubicBezTo>
                        <a:pt x="295642" y="525264"/>
                        <a:pt x="305048" y="534708"/>
                        <a:pt x="301283" y="542352"/>
                      </a:cubicBezTo>
                      <a:cubicBezTo>
                        <a:pt x="301169" y="538295"/>
                        <a:pt x="299166" y="536559"/>
                        <a:pt x="297759" y="533263"/>
                      </a:cubicBezTo>
                      <a:cubicBezTo>
                        <a:pt x="297505" y="533592"/>
                        <a:pt x="296339" y="534226"/>
                        <a:pt x="295769" y="534264"/>
                      </a:cubicBezTo>
                      <a:cubicBezTo>
                        <a:pt x="306861" y="548551"/>
                        <a:pt x="288885" y="547499"/>
                        <a:pt x="279910" y="542441"/>
                      </a:cubicBezTo>
                      <a:cubicBezTo>
                        <a:pt x="269364" y="536508"/>
                        <a:pt x="259793" y="520979"/>
                        <a:pt x="254646" y="509697"/>
                      </a:cubicBezTo>
                      <a:cubicBezTo>
                        <a:pt x="252174" y="504259"/>
                        <a:pt x="250691" y="493991"/>
                        <a:pt x="255102" y="488388"/>
                      </a:cubicBezTo>
                      <a:cubicBezTo>
                        <a:pt x="258069" y="484610"/>
                        <a:pt x="271759" y="480072"/>
                        <a:pt x="274916" y="483647"/>
                      </a:cubicBezTo>
                      <a:lnTo>
                        <a:pt x="274916" y="483647"/>
                      </a:lnTo>
                      <a:close/>
                      <a:moveTo>
                        <a:pt x="2641788" y="482620"/>
                      </a:moveTo>
                      <a:cubicBezTo>
                        <a:pt x="2656797" y="475483"/>
                        <a:pt x="2655301" y="527039"/>
                        <a:pt x="2633358" y="508759"/>
                      </a:cubicBezTo>
                      <a:cubicBezTo>
                        <a:pt x="2627261" y="503676"/>
                        <a:pt x="2626728" y="499024"/>
                        <a:pt x="2625258" y="494054"/>
                      </a:cubicBezTo>
                      <a:cubicBezTo>
                        <a:pt x="2622722" y="485308"/>
                        <a:pt x="2618882" y="489339"/>
                        <a:pt x="2627045" y="483875"/>
                      </a:cubicBezTo>
                      <a:cubicBezTo>
                        <a:pt x="2631418" y="480947"/>
                        <a:pt x="2638416" y="478462"/>
                        <a:pt x="2641788" y="482620"/>
                      </a:cubicBezTo>
                      <a:lnTo>
                        <a:pt x="2641788" y="482620"/>
                      </a:lnTo>
                      <a:close/>
                      <a:moveTo>
                        <a:pt x="2973647" y="462680"/>
                      </a:moveTo>
                      <a:cubicBezTo>
                        <a:pt x="2977500" y="463517"/>
                        <a:pt x="2983065" y="463681"/>
                        <a:pt x="2986310" y="464531"/>
                      </a:cubicBezTo>
                      <a:cubicBezTo>
                        <a:pt x="2991026" y="465773"/>
                        <a:pt x="2993967" y="468460"/>
                        <a:pt x="2999013" y="469170"/>
                      </a:cubicBezTo>
                      <a:cubicBezTo>
                        <a:pt x="3006821" y="470273"/>
                        <a:pt x="3002841" y="464227"/>
                        <a:pt x="3013083" y="472377"/>
                      </a:cubicBezTo>
                      <a:cubicBezTo>
                        <a:pt x="3018826" y="476966"/>
                        <a:pt x="3020943" y="481061"/>
                        <a:pt x="3025303" y="485878"/>
                      </a:cubicBezTo>
                      <a:cubicBezTo>
                        <a:pt x="3029854" y="490898"/>
                        <a:pt x="3030982" y="489643"/>
                        <a:pt x="3034938" y="491595"/>
                      </a:cubicBezTo>
                      <a:cubicBezTo>
                        <a:pt x="3041137" y="494650"/>
                        <a:pt x="3047221" y="494067"/>
                        <a:pt x="3039666" y="500215"/>
                      </a:cubicBezTo>
                      <a:cubicBezTo>
                        <a:pt x="3032199" y="506287"/>
                        <a:pt x="3010117" y="504411"/>
                        <a:pt x="3004451" y="498212"/>
                      </a:cubicBezTo>
                      <a:cubicBezTo>
                        <a:pt x="3000774" y="494194"/>
                        <a:pt x="3004349" y="481454"/>
                        <a:pt x="2999469" y="477435"/>
                      </a:cubicBezTo>
                      <a:cubicBezTo>
                        <a:pt x="2994753" y="473582"/>
                        <a:pt x="2995666" y="478741"/>
                        <a:pt x="2993194" y="477879"/>
                      </a:cubicBezTo>
                      <a:cubicBezTo>
                        <a:pt x="2989239" y="476548"/>
                        <a:pt x="2984269" y="475027"/>
                        <a:pt x="2978172" y="470222"/>
                      </a:cubicBezTo>
                      <a:cubicBezTo>
                        <a:pt x="2978198" y="471617"/>
                        <a:pt x="2978388" y="472225"/>
                        <a:pt x="2978667" y="473721"/>
                      </a:cubicBezTo>
                      <a:cubicBezTo>
                        <a:pt x="2973216" y="471832"/>
                        <a:pt x="2965584" y="457432"/>
                        <a:pt x="2973647" y="462680"/>
                      </a:cubicBezTo>
                      <a:lnTo>
                        <a:pt x="2973647" y="462680"/>
                      </a:lnTo>
                      <a:close/>
                      <a:moveTo>
                        <a:pt x="2752872" y="440027"/>
                      </a:moveTo>
                      <a:cubicBezTo>
                        <a:pt x="2770074" y="441586"/>
                        <a:pt x="2783194" y="446353"/>
                        <a:pt x="2796961" y="451106"/>
                      </a:cubicBezTo>
                      <a:cubicBezTo>
                        <a:pt x="2808662" y="455137"/>
                        <a:pt x="2817294" y="466255"/>
                        <a:pt x="2829616" y="468473"/>
                      </a:cubicBezTo>
                      <a:cubicBezTo>
                        <a:pt x="2848745" y="471921"/>
                        <a:pt x="2864185" y="462490"/>
                        <a:pt x="2881083" y="478906"/>
                      </a:cubicBezTo>
                      <a:cubicBezTo>
                        <a:pt x="2859913" y="477309"/>
                        <a:pt x="2881666" y="500481"/>
                        <a:pt x="2885050" y="506465"/>
                      </a:cubicBezTo>
                      <a:cubicBezTo>
                        <a:pt x="2890298" y="515744"/>
                        <a:pt x="2885532" y="524174"/>
                        <a:pt x="2880766" y="533276"/>
                      </a:cubicBezTo>
                      <a:cubicBezTo>
                        <a:pt x="2879422" y="535823"/>
                        <a:pt x="2875619" y="535621"/>
                        <a:pt x="2874820" y="538283"/>
                      </a:cubicBezTo>
                      <a:cubicBezTo>
                        <a:pt x="2873540" y="542694"/>
                        <a:pt x="2878813" y="552468"/>
                        <a:pt x="2879118" y="557107"/>
                      </a:cubicBezTo>
                      <a:cubicBezTo>
                        <a:pt x="2879701" y="567515"/>
                        <a:pt x="2876786" y="575323"/>
                        <a:pt x="2881387" y="585997"/>
                      </a:cubicBezTo>
                      <a:cubicBezTo>
                        <a:pt x="2884087" y="592247"/>
                        <a:pt x="2889830" y="595492"/>
                        <a:pt x="2893252" y="601095"/>
                      </a:cubicBezTo>
                      <a:cubicBezTo>
                        <a:pt x="2896738" y="606850"/>
                        <a:pt x="2896117" y="614671"/>
                        <a:pt x="2900617" y="619970"/>
                      </a:cubicBezTo>
                      <a:cubicBezTo>
                        <a:pt x="2908223" y="628831"/>
                        <a:pt x="2906043" y="621719"/>
                        <a:pt x="2905333" y="613886"/>
                      </a:cubicBezTo>
                      <a:cubicBezTo>
                        <a:pt x="2904750" y="607839"/>
                        <a:pt x="2900237" y="599967"/>
                        <a:pt x="2909351" y="597761"/>
                      </a:cubicBezTo>
                      <a:cubicBezTo>
                        <a:pt x="2909174" y="597279"/>
                        <a:pt x="2907234" y="597317"/>
                        <a:pt x="2908020" y="596176"/>
                      </a:cubicBezTo>
                      <a:cubicBezTo>
                        <a:pt x="2924487" y="595961"/>
                        <a:pt x="2913078" y="650090"/>
                        <a:pt x="2931345" y="627817"/>
                      </a:cubicBezTo>
                      <a:cubicBezTo>
                        <a:pt x="2932689" y="631835"/>
                        <a:pt x="2926680" y="661498"/>
                        <a:pt x="2939686" y="652726"/>
                      </a:cubicBezTo>
                      <a:cubicBezTo>
                        <a:pt x="2937455" y="663577"/>
                        <a:pt x="2964012" y="664072"/>
                        <a:pt x="2971377" y="662830"/>
                      </a:cubicBezTo>
                      <a:cubicBezTo>
                        <a:pt x="2981468" y="661080"/>
                        <a:pt x="2980416" y="656529"/>
                        <a:pt x="2985816" y="651535"/>
                      </a:cubicBezTo>
                      <a:cubicBezTo>
                        <a:pt x="2988884" y="648708"/>
                        <a:pt x="2993080" y="648264"/>
                        <a:pt x="2996135" y="645742"/>
                      </a:cubicBezTo>
                      <a:cubicBezTo>
                        <a:pt x="2998252" y="643942"/>
                        <a:pt x="2997694" y="640443"/>
                        <a:pt x="2997491" y="640595"/>
                      </a:cubicBezTo>
                      <a:cubicBezTo>
                        <a:pt x="3006745" y="633331"/>
                        <a:pt x="3009065" y="633585"/>
                        <a:pt x="3013628" y="621961"/>
                      </a:cubicBezTo>
                      <a:cubicBezTo>
                        <a:pt x="3018090" y="610615"/>
                        <a:pt x="3029322" y="612022"/>
                        <a:pt x="3036636" y="601310"/>
                      </a:cubicBezTo>
                      <a:cubicBezTo>
                        <a:pt x="3045675" y="588102"/>
                        <a:pt x="3036776" y="579672"/>
                        <a:pt x="3055626" y="575564"/>
                      </a:cubicBezTo>
                      <a:cubicBezTo>
                        <a:pt x="3059467" y="588634"/>
                        <a:pt x="3080966" y="573714"/>
                        <a:pt x="3087646" y="571483"/>
                      </a:cubicBezTo>
                      <a:cubicBezTo>
                        <a:pt x="3098548" y="567819"/>
                        <a:pt x="3107447" y="573092"/>
                        <a:pt x="3104582" y="561481"/>
                      </a:cubicBezTo>
                      <a:cubicBezTo>
                        <a:pt x="3102668" y="553862"/>
                        <a:pt x="3093985" y="551948"/>
                        <a:pt x="3104658" y="544482"/>
                      </a:cubicBezTo>
                      <a:cubicBezTo>
                        <a:pt x="3114407" y="537649"/>
                        <a:pt x="3130075" y="531539"/>
                        <a:pt x="3141205" y="526950"/>
                      </a:cubicBezTo>
                      <a:cubicBezTo>
                        <a:pt x="3154870" y="521360"/>
                        <a:pt x="3155935" y="524148"/>
                        <a:pt x="3166710" y="530385"/>
                      </a:cubicBezTo>
                      <a:cubicBezTo>
                        <a:pt x="3179399" y="537738"/>
                        <a:pt x="3195537" y="539183"/>
                        <a:pt x="3209088" y="544976"/>
                      </a:cubicBezTo>
                      <a:cubicBezTo>
                        <a:pt x="3215261" y="547613"/>
                        <a:pt x="3217936" y="552607"/>
                        <a:pt x="3223450" y="555738"/>
                      </a:cubicBezTo>
                      <a:cubicBezTo>
                        <a:pt x="3229712" y="559301"/>
                        <a:pt x="3237090" y="558933"/>
                        <a:pt x="3244100" y="561937"/>
                      </a:cubicBezTo>
                      <a:cubicBezTo>
                        <a:pt x="3259807" y="568681"/>
                        <a:pt x="3274372" y="577694"/>
                        <a:pt x="3290180" y="584375"/>
                      </a:cubicBezTo>
                      <a:cubicBezTo>
                        <a:pt x="3302704" y="589648"/>
                        <a:pt x="3314252" y="586897"/>
                        <a:pt x="3323645" y="585186"/>
                      </a:cubicBezTo>
                      <a:cubicBezTo>
                        <a:pt x="3325826" y="590459"/>
                        <a:pt x="3341418" y="599561"/>
                        <a:pt x="3338870" y="591372"/>
                      </a:cubicBezTo>
                      <a:cubicBezTo>
                        <a:pt x="3344143" y="591828"/>
                        <a:pt x="3356554" y="592589"/>
                        <a:pt x="3361409" y="595834"/>
                      </a:cubicBezTo>
                      <a:cubicBezTo>
                        <a:pt x="3370866" y="602160"/>
                        <a:pt x="3360623" y="602908"/>
                        <a:pt x="3364362" y="607357"/>
                      </a:cubicBezTo>
                      <a:cubicBezTo>
                        <a:pt x="3364793" y="607851"/>
                        <a:pt x="3380069" y="606254"/>
                        <a:pt x="3383973" y="605772"/>
                      </a:cubicBezTo>
                      <a:cubicBezTo>
                        <a:pt x="3383922" y="659977"/>
                        <a:pt x="3383948" y="714182"/>
                        <a:pt x="3384151" y="768413"/>
                      </a:cubicBezTo>
                      <a:cubicBezTo>
                        <a:pt x="3384201" y="792929"/>
                        <a:pt x="3384176" y="817420"/>
                        <a:pt x="3384176" y="841936"/>
                      </a:cubicBezTo>
                      <a:cubicBezTo>
                        <a:pt x="3384176" y="853434"/>
                        <a:pt x="3388955" y="884567"/>
                        <a:pt x="3379448" y="888586"/>
                      </a:cubicBezTo>
                      <a:cubicBezTo>
                        <a:pt x="3385659" y="892541"/>
                        <a:pt x="3374973" y="901732"/>
                        <a:pt x="3374960" y="907448"/>
                      </a:cubicBezTo>
                      <a:cubicBezTo>
                        <a:pt x="3374960" y="910884"/>
                        <a:pt x="3377305" y="914382"/>
                        <a:pt x="3379029" y="917336"/>
                      </a:cubicBezTo>
                      <a:cubicBezTo>
                        <a:pt x="3382198" y="922850"/>
                        <a:pt x="3384201" y="924105"/>
                        <a:pt x="3384201" y="934044"/>
                      </a:cubicBezTo>
                      <a:cubicBezTo>
                        <a:pt x="3384176" y="984661"/>
                        <a:pt x="3384252" y="1035278"/>
                        <a:pt x="3384176" y="1085896"/>
                      </a:cubicBezTo>
                      <a:cubicBezTo>
                        <a:pt x="3368584" y="1080039"/>
                        <a:pt x="3360521" y="1064751"/>
                        <a:pt x="3350368" y="1052569"/>
                      </a:cubicBezTo>
                      <a:cubicBezTo>
                        <a:pt x="3343484" y="1044292"/>
                        <a:pt x="3335574" y="1038410"/>
                        <a:pt x="3327360" y="1031869"/>
                      </a:cubicBezTo>
                      <a:cubicBezTo>
                        <a:pt x="3323620" y="1028928"/>
                        <a:pt x="3310601" y="1022564"/>
                        <a:pt x="3310284" y="1016720"/>
                      </a:cubicBezTo>
                      <a:cubicBezTo>
                        <a:pt x="3310043" y="1012524"/>
                        <a:pt x="3313416" y="1013082"/>
                        <a:pt x="3314037" y="1010521"/>
                      </a:cubicBezTo>
                      <a:cubicBezTo>
                        <a:pt x="3315773" y="1003220"/>
                        <a:pt x="3318942" y="1001166"/>
                        <a:pt x="3323189" y="995449"/>
                      </a:cubicBezTo>
                      <a:cubicBezTo>
                        <a:pt x="3313733" y="997921"/>
                        <a:pt x="3318790" y="1003993"/>
                        <a:pt x="3313086" y="1009469"/>
                      </a:cubicBezTo>
                      <a:cubicBezTo>
                        <a:pt x="3306634" y="1015630"/>
                        <a:pt x="3290915" y="1011827"/>
                        <a:pt x="3282333" y="1013995"/>
                      </a:cubicBezTo>
                      <a:cubicBezTo>
                        <a:pt x="3275563" y="1015770"/>
                        <a:pt x="3266069" y="1022906"/>
                        <a:pt x="3258983" y="1016771"/>
                      </a:cubicBezTo>
                      <a:cubicBezTo>
                        <a:pt x="3254444" y="1012867"/>
                        <a:pt x="3257119" y="1007390"/>
                        <a:pt x="3254229" y="1002510"/>
                      </a:cubicBezTo>
                      <a:cubicBezTo>
                        <a:pt x="3255585" y="1002421"/>
                        <a:pt x="3258273" y="1001901"/>
                        <a:pt x="3259299" y="1002028"/>
                      </a:cubicBezTo>
                      <a:cubicBezTo>
                        <a:pt x="3248702" y="998238"/>
                        <a:pt x="3257106" y="1004563"/>
                        <a:pt x="3254761" y="1006947"/>
                      </a:cubicBezTo>
                      <a:cubicBezTo>
                        <a:pt x="3253316" y="1008417"/>
                        <a:pt x="3236659" y="1023705"/>
                        <a:pt x="3234821" y="1024060"/>
                      </a:cubicBezTo>
                      <a:cubicBezTo>
                        <a:pt x="3230891" y="1024770"/>
                        <a:pt x="3226087" y="1019889"/>
                        <a:pt x="3226226" y="1013487"/>
                      </a:cubicBezTo>
                      <a:cubicBezTo>
                        <a:pt x="3226277" y="1010293"/>
                        <a:pt x="3231690" y="1012093"/>
                        <a:pt x="3232172" y="1009875"/>
                      </a:cubicBezTo>
                      <a:cubicBezTo>
                        <a:pt x="3232679" y="1007606"/>
                        <a:pt x="3230219" y="1007023"/>
                        <a:pt x="3231424" y="1004576"/>
                      </a:cubicBezTo>
                      <a:cubicBezTo>
                        <a:pt x="3232375" y="1002649"/>
                        <a:pt x="3230967" y="999696"/>
                        <a:pt x="3231589" y="997553"/>
                      </a:cubicBezTo>
                      <a:cubicBezTo>
                        <a:pt x="3232146" y="995614"/>
                        <a:pt x="3235113" y="996476"/>
                        <a:pt x="3235518" y="995474"/>
                      </a:cubicBezTo>
                      <a:cubicBezTo>
                        <a:pt x="3236875" y="991976"/>
                        <a:pt x="3238041" y="987564"/>
                        <a:pt x="3239537" y="983457"/>
                      </a:cubicBezTo>
                      <a:cubicBezTo>
                        <a:pt x="3242199" y="976333"/>
                        <a:pt x="3245419" y="974862"/>
                        <a:pt x="3241996" y="968803"/>
                      </a:cubicBezTo>
                      <a:cubicBezTo>
                        <a:pt x="3241197" y="967409"/>
                        <a:pt x="3234999" y="966407"/>
                        <a:pt x="3233579" y="965025"/>
                      </a:cubicBezTo>
                      <a:cubicBezTo>
                        <a:pt x="3231373" y="962946"/>
                        <a:pt x="3230410" y="957597"/>
                        <a:pt x="3228052" y="954884"/>
                      </a:cubicBezTo>
                      <a:cubicBezTo>
                        <a:pt x="3223856" y="950105"/>
                        <a:pt x="3217049" y="948546"/>
                        <a:pt x="3213461" y="944667"/>
                      </a:cubicBezTo>
                      <a:cubicBezTo>
                        <a:pt x="3227760" y="942930"/>
                        <a:pt x="3247421" y="954276"/>
                        <a:pt x="3255814" y="941244"/>
                      </a:cubicBezTo>
                      <a:cubicBezTo>
                        <a:pt x="3246915" y="946670"/>
                        <a:pt x="3243416" y="944515"/>
                        <a:pt x="3233300" y="941510"/>
                      </a:cubicBezTo>
                      <a:cubicBezTo>
                        <a:pt x="3227811" y="939900"/>
                        <a:pt x="3200430" y="930152"/>
                        <a:pt x="3207110" y="922001"/>
                      </a:cubicBezTo>
                      <a:cubicBezTo>
                        <a:pt x="3207896" y="921025"/>
                        <a:pt x="3231728" y="918122"/>
                        <a:pt x="3233325" y="918553"/>
                      </a:cubicBezTo>
                      <a:cubicBezTo>
                        <a:pt x="3240906" y="920556"/>
                        <a:pt x="3242909" y="929125"/>
                        <a:pt x="3252251" y="928073"/>
                      </a:cubicBezTo>
                      <a:cubicBezTo>
                        <a:pt x="3243162" y="924688"/>
                        <a:pt x="3234111" y="919554"/>
                        <a:pt x="3224933" y="915726"/>
                      </a:cubicBezTo>
                      <a:cubicBezTo>
                        <a:pt x="3213499" y="910985"/>
                        <a:pt x="3209633" y="899069"/>
                        <a:pt x="3225428" y="908349"/>
                      </a:cubicBezTo>
                      <a:cubicBezTo>
                        <a:pt x="3211294" y="899779"/>
                        <a:pt x="3198389" y="888091"/>
                        <a:pt x="3192976" y="872601"/>
                      </a:cubicBezTo>
                      <a:cubicBezTo>
                        <a:pt x="3188869" y="860786"/>
                        <a:pt x="3177549" y="847983"/>
                        <a:pt x="3193965" y="844104"/>
                      </a:cubicBezTo>
                      <a:cubicBezTo>
                        <a:pt x="3187804" y="846056"/>
                        <a:pt x="3179336" y="845321"/>
                        <a:pt x="3175761" y="839553"/>
                      </a:cubicBezTo>
                      <a:cubicBezTo>
                        <a:pt x="3180451" y="836435"/>
                        <a:pt x="3185446" y="833937"/>
                        <a:pt x="3190922" y="832530"/>
                      </a:cubicBezTo>
                      <a:cubicBezTo>
                        <a:pt x="3185459" y="831389"/>
                        <a:pt x="3173302" y="838640"/>
                        <a:pt x="3170247" y="836916"/>
                      </a:cubicBezTo>
                      <a:cubicBezTo>
                        <a:pt x="3165316" y="834115"/>
                        <a:pt x="3168409" y="823834"/>
                        <a:pt x="3172199" y="821882"/>
                      </a:cubicBezTo>
                      <a:cubicBezTo>
                        <a:pt x="3168485" y="820107"/>
                        <a:pt x="3168206" y="815734"/>
                        <a:pt x="3168637" y="812223"/>
                      </a:cubicBezTo>
                      <a:cubicBezTo>
                        <a:pt x="3167889" y="815201"/>
                        <a:pt x="3167559" y="813313"/>
                        <a:pt x="3166051" y="814251"/>
                      </a:cubicBezTo>
                      <a:cubicBezTo>
                        <a:pt x="3165658" y="823238"/>
                        <a:pt x="3156607" y="811538"/>
                        <a:pt x="3158534" y="806708"/>
                      </a:cubicBezTo>
                      <a:cubicBezTo>
                        <a:pt x="3153260" y="810764"/>
                        <a:pt x="3145059" y="808901"/>
                        <a:pt x="3149914" y="801156"/>
                      </a:cubicBezTo>
                      <a:cubicBezTo>
                        <a:pt x="3143538" y="805085"/>
                        <a:pt x="3132775" y="795160"/>
                        <a:pt x="3131660" y="791002"/>
                      </a:cubicBezTo>
                      <a:cubicBezTo>
                        <a:pt x="3128364" y="793943"/>
                        <a:pt x="3116283" y="789887"/>
                        <a:pt x="3117487" y="784397"/>
                      </a:cubicBezTo>
                      <a:cubicBezTo>
                        <a:pt x="3114229" y="784068"/>
                        <a:pt x="3116359" y="784093"/>
                        <a:pt x="3112949" y="782407"/>
                      </a:cubicBezTo>
                      <a:cubicBezTo>
                        <a:pt x="3109970" y="784512"/>
                        <a:pt x="3109843" y="783650"/>
                        <a:pt x="3110807" y="777818"/>
                      </a:cubicBezTo>
                      <a:cubicBezTo>
                        <a:pt x="3107676" y="783066"/>
                        <a:pt x="3103809" y="784727"/>
                        <a:pt x="3101248" y="778427"/>
                      </a:cubicBezTo>
                      <a:cubicBezTo>
                        <a:pt x="3096634" y="781697"/>
                        <a:pt x="3096368" y="779010"/>
                        <a:pt x="3097674" y="774345"/>
                      </a:cubicBezTo>
                      <a:cubicBezTo>
                        <a:pt x="3094593" y="779035"/>
                        <a:pt x="3082944" y="779365"/>
                        <a:pt x="3088610" y="773597"/>
                      </a:cubicBezTo>
                      <a:cubicBezTo>
                        <a:pt x="3085973" y="773711"/>
                        <a:pt x="3082259" y="777261"/>
                        <a:pt x="3079369" y="777184"/>
                      </a:cubicBezTo>
                      <a:cubicBezTo>
                        <a:pt x="3076022" y="777045"/>
                        <a:pt x="3076441" y="773888"/>
                        <a:pt x="3075312" y="773597"/>
                      </a:cubicBezTo>
                      <a:cubicBezTo>
                        <a:pt x="3066084" y="771252"/>
                        <a:pt x="3058034" y="765192"/>
                        <a:pt x="3048780" y="761478"/>
                      </a:cubicBezTo>
                      <a:cubicBezTo>
                        <a:pt x="3041720" y="758677"/>
                        <a:pt x="3034114" y="757574"/>
                        <a:pt x="3027040" y="754620"/>
                      </a:cubicBezTo>
                      <a:cubicBezTo>
                        <a:pt x="3021171" y="752199"/>
                        <a:pt x="3016151" y="747496"/>
                        <a:pt x="3010523" y="745658"/>
                      </a:cubicBezTo>
                      <a:cubicBezTo>
                        <a:pt x="2995514" y="740702"/>
                        <a:pt x="2975865" y="744416"/>
                        <a:pt x="2960831" y="742654"/>
                      </a:cubicBezTo>
                      <a:cubicBezTo>
                        <a:pt x="2950208" y="741411"/>
                        <a:pt x="2943071" y="732297"/>
                        <a:pt x="2934527" y="727924"/>
                      </a:cubicBezTo>
                      <a:cubicBezTo>
                        <a:pt x="2928075" y="724653"/>
                        <a:pt x="2924386" y="726288"/>
                        <a:pt x="2920595" y="718872"/>
                      </a:cubicBezTo>
                      <a:cubicBezTo>
                        <a:pt x="2920240" y="718213"/>
                        <a:pt x="2917173" y="719544"/>
                        <a:pt x="2916691" y="718137"/>
                      </a:cubicBezTo>
                      <a:cubicBezTo>
                        <a:pt x="2915639" y="715234"/>
                        <a:pt x="2919619" y="715653"/>
                        <a:pt x="2919556" y="713409"/>
                      </a:cubicBezTo>
                      <a:cubicBezTo>
                        <a:pt x="2919442" y="710442"/>
                        <a:pt x="2916412" y="707273"/>
                        <a:pt x="2920380" y="704371"/>
                      </a:cubicBezTo>
                      <a:cubicBezTo>
                        <a:pt x="2926236" y="700099"/>
                        <a:pt x="2935807" y="711203"/>
                        <a:pt x="2939927" y="704130"/>
                      </a:cubicBezTo>
                      <a:cubicBezTo>
                        <a:pt x="2933830" y="703787"/>
                        <a:pt x="2922890" y="701569"/>
                        <a:pt x="2915766" y="704459"/>
                      </a:cubicBezTo>
                      <a:cubicBezTo>
                        <a:pt x="2908781" y="707349"/>
                        <a:pt x="2911772" y="711558"/>
                        <a:pt x="2902684" y="707210"/>
                      </a:cubicBezTo>
                      <a:cubicBezTo>
                        <a:pt x="2902481" y="707134"/>
                        <a:pt x="2896903" y="700567"/>
                        <a:pt x="2893024" y="699110"/>
                      </a:cubicBezTo>
                      <a:cubicBezTo>
                        <a:pt x="2894482" y="704459"/>
                        <a:pt x="2896028" y="702190"/>
                        <a:pt x="2891047" y="704700"/>
                      </a:cubicBezTo>
                      <a:cubicBezTo>
                        <a:pt x="2897702" y="716134"/>
                        <a:pt x="2880842" y="702393"/>
                        <a:pt x="2878813" y="701645"/>
                      </a:cubicBezTo>
                      <a:cubicBezTo>
                        <a:pt x="2882629" y="698615"/>
                        <a:pt x="2883618" y="693367"/>
                        <a:pt x="2877799" y="690008"/>
                      </a:cubicBezTo>
                      <a:cubicBezTo>
                        <a:pt x="2878154" y="696815"/>
                        <a:pt x="2875442" y="692835"/>
                        <a:pt x="2872665" y="693925"/>
                      </a:cubicBezTo>
                      <a:cubicBezTo>
                        <a:pt x="2864248" y="697107"/>
                        <a:pt x="2867316" y="698932"/>
                        <a:pt x="2861333" y="687840"/>
                      </a:cubicBezTo>
                      <a:cubicBezTo>
                        <a:pt x="2855539" y="677103"/>
                        <a:pt x="2849404" y="679030"/>
                        <a:pt x="2855780" y="688310"/>
                      </a:cubicBezTo>
                      <a:cubicBezTo>
                        <a:pt x="2854094" y="685508"/>
                        <a:pt x="2850519" y="682871"/>
                        <a:pt x="2846476" y="684697"/>
                      </a:cubicBezTo>
                      <a:cubicBezTo>
                        <a:pt x="2847781" y="678663"/>
                        <a:pt x="2842394" y="676216"/>
                        <a:pt x="2841887" y="670359"/>
                      </a:cubicBezTo>
                      <a:cubicBezTo>
                        <a:pt x="2841608" y="666721"/>
                        <a:pt x="2846146" y="668432"/>
                        <a:pt x="2846273" y="665340"/>
                      </a:cubicBezTo>
                      <a:cubicBezTo>
                        <a:pt x="2846539" y="660408"/>
                        <a:pt x="2844321" y="656098"/>
                        <a:pt x="2845550" y="651053"/>
                      </a:cubicBezTo>
                      <a:cubicBezTo>
                        <a:pt x="2846045" y="651446"/>
                        <a:pt x="2846476" y="651839"/>
                        <a:pt x="2846919" y="652245"/>
                      </a:cubicBezTo>
                      <a:cubicBezTo>
                        <a:pt x="2849734" y="647707"/>
                        <a:pt x="2857048" y="638376"/>
                        <a:pt x="2863196" y="643587"/>
                      </a:cubicBezTo>
                      <a:cubicBezTo>
                        <a:pt x="2857213" y="639340"/>
                        <a:pt x="2861763" y="629224"/>
                        <a:pt x="2854906" y="630352"/>
                      </a:cubicBezTo>
                      <a:cubicBezTo>
                        <a:pt x="2856896" y="637121"/>
                        <a:pt x="2845373" y="640684"/>
                        <a:pt x="2843180" y="647859"/>
                      </a:cubicBezTo>
                      <a:cubicBezTo>
                        <a:pt x="2842407" y="650254"/>
                        <a:pt x="2840416" y="679132"/>
                        <a:pt x="2832468" y="662994"/>
                      </a:cubicBezTo>
                      <a:cubicBezTo>
                        <a:pt x="2832367" y="663235"/>
                        <a:pt x="2830541" y="667951"/>
                        <a:pt x="2830731" y="667368"/>
                      </a:cubicBezTo>
                      <a:cubicBezTo>
                        <a:pt x="2841025" y="670372"/>
                        <a:pt x="2837120" y="675113"/>
                        <a:pt x="2833051" y="680437"/>
                      </a:cubicBezTo>
                      <a:cubicBezTo>
                        <a:pt x="2831150" y="682884"/>
                        <a:pt x="2825636" y="685051"/>
                        <a:pt x="2824710" y="688322"/>
                      </a:cubicBezTo>
                      <a:cubicBezTo>
                        <a:pt x="2824000" y="690819"/>
                        <a:pt x="2826624" y="695066"/>
                        <a:pt x="2826472" y="695573"/>
                      </a:cubicBezTo>
                      <a:cubicBezTo>
                        <a:pt x="2825572" y="698476"/>
                        <a:pt x="2825927" y="698818"/>
                        <a:pt x="2823189" y="703141"/>
                      </a:cubicBezTo>
                      <a:cubicBezTo>
                        <a:pt x="2819310" y="709251"/>
                        <a:pt x="2814797" y="712940"/>
                        <a:pt x="2808345" y="714486"/>
                      </a:cubicBezTo>
                      <a:cubicBezTo>
                        <a:pt x="2808547" y="714423"/>
                        <a:pt x="2791460" y="716705"/>
                        <a:pt x="2792993" y="717098"/>
                      </a:cubicBezTo>
                      <a:cubicBezTo>
                        <a:pt x="2787264" y="715640"/>
                        <a:pt x="2781128" y="708047"/>
                        <a:pt x="2779429" y="702748"/>
                      </a:cubicBezTo>
                      <a:cubicBezTo>
                        <a:pt x="2780292" y="703027"/>
                        <a:pt x="2780799" y="703965"/>
                        <a:pt x="2781597" y="704193"/>
                      </a:cubicBezTo>
                      <a:cubicBezTo>
                        <a:pt x="2779886" y="700314"/>
                        <a:pt x="2773130" y="684899"/>
                        <a:pt x="2775487" y="682136"/>
                      </a:cubicBezTo>
                      <a:cubicBezTo>
                        <a:pt x="2779366" y="677572"/>
                        <a:pt x="2785958" y="686763"/>
                        <a:pt x="2787948" y="677141"/>
                      </a:cubicBezTo>
                      <a:cubicBezTo>
                        <a:pt x="2789000" y="672261"/>
                        <a:pt x="2783410" y="672185"/>
                        <a:pt x="2781648" y="668230"/>
                      </a:cubicBezTo>
                      <a:cubicBezTo>
                        <a:pt x="2780609" y="665808"/>
                        <a:pt x="2781978" y="657911"/>
                        <a:pt x="2780837" y="656694"/>
                      </a:cubicBezTo>
                      <a:cubicBezTo>
                        <a:pt x="2778453" y="654108"/>
                        <a:pt x="2776172" y="656935"/>
                        <a:pt x="2774511" y="656212"/>
                      </a:cubicBezTo>
                      <a:cubicBezTo>
                        <a:pt x="2775779" y="656745"/>
                        <a:pt x="2772774" y="660269"/>
                        <a:pt x="2767425" y="655249"/>
                      </a:cubicBezTo>
                      <a:cubicBezTo>
                        <a:pt x="2764370" y="652346"/>
                        <a:pt x="2766069" y="650052"/>
                        <a:pt x="2762887" y="645615"/>
                      </a:cubicBezTo>
                      <a:cubicBezTo>
                        <a:pt x="2756105" y="636234"/>
                        <a:pt x="2744531" y="631987"/>
                        <a:pt x="2734479" y="629034"/>
                      </a:cubicBezTo>
                      <a:cubicBezTo>
                        <a:pt x="2731563" y="630897"/>
                        <a:pt x="2732108" y="630352"/>
                        <a:pt x="2728432" y="630479"/>
                      </a:cubicBezTo>
                      <a:cubicBezTo>
                        <a:pt x="2725542" y="632697"/>
                        <a:pt x="2724578" y="627754"/>
                        <a:pt x="2718798" y="629997"/>
                      </a:cubicBezTo>
                      <a:cubicBezTo>
                        <a:pt x="2719888" y="628578"/>
                        <a:pt x="2721067" y="625865"/>
                        <a:pt x="2722334" y="624458"/>
                      </a:cubicBezTo>
                      <a:cubicBezTo>
                        <a:pt x="2722259" y="625269"/>
                        <a:pt x="2719888" y="623646"/>
                        <a:pt x="2719812" y="623456"/>
                      </a:cubicBezTo>
                      <a:cubicBezTo>
                        <a:pt x="2721308" y="622569"/>
                        <a:pt x="2722563" y="621542"/>
                        <a:pt x="2723856" y="620668"/>
                      </a:cubicBezTo>
                      <a:cubicBezTo>
                        <a:pt x="2722119" y="620528"/>
                        <a:pt x="2719495" y="619501"/>
                        <a:pt x="2717454" y="619552"/>
                      </a:cubicBezTo>
                      <a:cubicBezTo>
                        <a:pt x="2724477" y="615914"/>
                        <a:pt x="2726569" y="616307"/>
                        <a:pt x="2733959" y="614887"/>
                      </a:cubicBezTo>
                      <a:cubicBezTo>
                        <a:pt x="2732222" y="614671"/>
                        <a:pt x="2730587" y="614621"/>
                        <a:pt x="2728736" y="614494"/>
                      </a:cubicBezTo>
                      <a:cubicBezTo>
                        <a:pt x="2734339" y="609246"/>
                        <a:pt x="2743910" y="611578"/>
                        <a:pt x="2751262" y="612859"/>
                      </a:cubicBezTo>
                      <a:cubicBezTo>
                        <a:pt x="2751262" y="612783"/>
                        <a:pt x="2749881" y="612884"/>
                        <a:pt x="2752213" y="612859"/>
                      </a:cubicBezTo>
                      <a:cubicBezTo>
                        <a:pt x="2752391" y="614583"/>
                        <a:pt x="2752162" y="614887"/>
                        <a:pt x="2751681" y="616332"/>
                      </a:cubicBezTo>
                      <a:cubicBezTo>
                        <a:pt x="2756637" y="612149"/>
                        <a:pt x="2759401" y="613455"/>
                        <a:pt x="2766385" y="616066"/>
                      </a:cubicBezTo>
                      <a:cubicBezTo>
                        <a:pt x="2771887" y="618069"/>
                        <a:pt x="2770176" y="621530"/>
                        <a:pt x="2776058" y="620414"/>
                      </a:cubicBezTo>
                      <a:cubicBezTo>
                        <a:pt x="2780482" y="619552"/>
                        <a:pt x="2784221" y="612821"/>
                        <a:pt x="2786846" y="609766"/>
                      </a:cubicBezTo>
                      <a:cubicBezTo>
                        <a:pt x="2789824" y="606292"/>
                        <a:pt x="2817434" y="578366"/>
                        <a:pt x="2818575" y="598724"/>
                      </a:cubicBezTo>
                      <a:cubicBezTo>
                        <a:pt x="2825445" y="598052"/>
                        <a:pt x="2823518" y="605937"/>
                        <a:pt x="2822606" y="611325"/>
                      </a:cubicBezTo>
                      <a:cubicBezTo>
                        <a:pt x="2823164" y="611262"/>
                        <a:pt x="2823709" y="611236"/>
                        <a:pt x="2824267" y="611211"/>
                      </a:cubicBezTo>
                      <a:cubicBezTo>
                        <a:pt x="2823734" y="606444"/>
                        <a:pt x="2824824" y="600803"/>
                        <a:pt x="2828234" y="598217"/>
                      </a:cubicBezTo>
                      <a:cubicBezTo>
                        <a:pt x="2828412" y="601805"/>
                        <a:pt x="2828906" y="605342"/>
                        <a:pt x="2827778" y="608815"/>
                      </a:cubicBezTo>
                      <a:cubicBezTo>
                        <a:pt x="2828513" y="606394"/>
                        <a:pt x="2830047" y="601995"/>
                        <a:pt x="2830313" y="599574"/>
                      </a:cubicBezTo>
                      <a:cubicBezTo>
                        <a:pt x="2830858" y="601209"/>
                        <a:pt x="2832126" y="603161"/>
                        <a:pt x="2832798" y="604948"/>
                      </a:cubicBezTo>
                      <a:cubicBezTo>
                        <a:pt x="2841418" y="596075"/>
                        <a:pt x="2843446" y="605215"/>
                        <a:pt x="2844904" y="614367"/>
                      </a:cubicBezTo>
                      <a:cubicBezTo>
                        <a:pt x="2845816" y="609588"/>
                        <a:pt x="2846831" y="604315"/>
                        <a:pt x="2847173" y="599232"/>
                      </a:cubicBezTo>
                      <a:cubicBezTo>
                        <a:pt x="2850900" y="601348"/>
                        <a:pt x="2852611" y="605772"/>
                        <a:pt x="2854449" y="609702"/>
                      </a:cubicBezTo>
                      <a:cubicBezTo>
                        <a:pt x="2856262" y="605342"/>
                        <a:pt x="2854602" y="600423"/>
                        <a:pt x="2855083" y="596683"/>
                      </a:cubicBezTo>
                      <a:cubicBezTo>
                        <a:pt x="2852535" y="596265"/>
                        <a:pt x="2851115" y="594909"/>
                        <a:pt x="2849239" y="594376"/>
                      </a:cubicBezTo>
                      <a:cubicBezTo>
                        <a:pt x="2853651" y="591879"/>
                        <a:pt x="2858696" y="592639"/>
                        <a:pt x="2861637" y="596683"/>
                      </a:cubicBezTo>
                      <a:cubicBezTo>
                        <a:pt x="2860356" y="595264"/>
                        <a:pt x="2859571" y="593375"/>
                        <a:pt x="2858531" y="591828"/>
                      </a:cubicBezTo>
                      <a:cubicBezTo>
                        <a:pt x="2862473" y="591879"/>
                        <a:pt x="2865415" y="591296"/>
                        <a:pt x="2868786" y="590168"/>
                      </a:cubicBezTo>
                      <a:cubicBezTo>
                        <a:pt x="2864210" y="590472"/>
                        <a:pt x="2863615" y="589420"/>
                        <a:pt x="2860610" y="588292"/>
                      </a:cubicBezTo>
                      <a:cubicBezTo>
                        <a:pt x="2862512" y="587430"/>
                        <a:pt x="2864020" y="586504"/>
                        <a:pt x="2865719" y="585579"/>
                      </a:cubicBezTo>
                      <a:cubicBezTo>
                        <a:pt x="2863361" y="586023"/>
                        <a:pt x="2860927" y="586187"/>
                        <a:pt x="2858582" y="586656"/>
                      </a:cubicBezTo>
                      <a:cubicBezTo>
                        <a:pt x="2863538" y="585769"/>
                        <a:pt x="2866670" y="581776"/>
                        <a:pt x="2864730" y="576540"/>
                      </a:cubicBezTo>
                      <a:cubicBezTo>
                        <a:pt x="2864464" y="578480"/>
                        <a:pt x="2863703" y="579988"/>
                        <a:pt x="2863145" y="581751"/>
                      </a:cubicBezTo>
                      <a:cubicBezTo>
                        <a:pt x="2849987" y="585756"/>
                        <a:pt x="2855413" y="578429"/>
                        <a:pt x="2864730" y="574030"/>
                      </a:cubicBezTo>
                      <a:cubicBezTo>
                        <a:pt x="2864147" y="574170"/>
                        <a:pt x="2861967" y="574322"/>
                        <a:pt x="2860876" y="574474"/>
                      </a:cubicBezTo>
                      <a:cubicBezTo>
                        <a:pt x="2862042" y="573422"/>
                        <a:pt x="2862727" y="571039"/>
                        <a:pt x="2864007" y="569467"/>
                      </a:cubicBezTo>
                      <a:cubicBezTo>
                        <a:pt x="2854221" y="568440"/>
                        <a:pt x="2847008" y="579063"/>
                        <a:pt x="2838350" y="579038"/>
                      </a:cubicBezTo>
                      <a:cubicBezTo>
                        <a:pt x="2838730" y="577720"/>
                        <a:pt x="2838489" y="576325"/>
                        <a:pt x="2838350" y="575032"/>
                      </a:cubicBezTo>
                      <a:cubicBezTo>
                        <a:pt x="2836195" y="580052"/>
                        <a:pt x="2835067" y="579722"/>
                        <a:pt x="2831733" y="576540"/>
                      </a:cubicBezTo>
                      <a:cubicBezTo>
                        <a:pt x="2831632" y="577200"/>
                        <a:pt x="2831910" y="577757"/>
                        <a:pt x="2832544" y="578176"/>
                      </a:cubicBezTo>
                      <a:cubicBezTo>
                        <a:pt x="2822416" y="580039"/>
                        <a:pt x="2813922" y="576959"/>
                        <a:pt x="2803629" y="579304"/>
                      </a:cubicBezTo>
                      <a:cubicBezTo>
                        <a:pt x="2796023" y="580990"/>
                        <a:pt x="2788886" y="579063"/>
                        <a:pt x="2782624" y="579887"/>
                      </a:cubicBezTo>
                      <a:cubicBezTo>
                        <a:pt x="2778200" y="580496"/>
                        <a:pt x="2773725" y="583918"/>
                        <a:pt x="2770277" y="583107"/>
                      </a:cubicBezTo>
                      <a:cubicBezTo>
                        <a:pt x="2765790" y="582055"/>
                        <a:pt x="2767742" y="576883"/>
                        <a:pt x="2763673" y="575590"/>
                      </a:cubicBezTo>
                      <a:cubicBezTo>
                        <a:pt x="2756663" y="573422"/>
                        <a:pt x="2750058" y="582891"/>
                        <a:pt x="2742680" y="580838"/>
                      </a:cubicBezTo>
                      <a:cubicBezTo>
                        <a:pt x="2742046" y="580622"/>
                        <a:pt x="2727202" y="569492"/>
                        <a:pt x="2727620" y="569999"/>
                      </a:cubicBezTo>
                      <a:cubicBezTo>
                        <a:pt x="2724490" y="566070"/>
                        <a:pt x="2723158" y="564016"/>
                        <a:pt x="2729953" y="561430"/>
                      </a:cubicBezTo>
                      <a:cubicBezTo>
                        <a:pt x="2723171" y="564789"/>
                        <a:pt x="2717011" y="558666"/>
                        <a:pt x="2716123" y="553444"/>
                      </a:cubicBezTo>
                      <a:cubicBezTo>
                        <a:pt x="2714805" y="545483"/>
                        <a:pt x="2720839" y="545229"/>
                        <a:pt x="2721916" y="538232"/>
                      </a:cubicBezTo>
                      <a:cubicBezTo>
                        <a:pt x="2722145" y="538131"/>
                        <a:pt x="2722119" y="538980"/>
                        <a:pt x="2722347" y="537738"/>
                      </a:cubicBezTo>
                      <a:cubicBezTo>
                        <a:pt x="2710849" y="544405"/>
                        <a:pt x="2710203" y="532097"/>
                        <a:pt x="2719254" y="527660"/>
                      </a:cubicBezTo>
                      <a:cubicBezTo>
                        <a:pt x="2717011" y="528585"/>
                        <a:pt x="2714031" y="529105"/>
                        <a:pt x="2711712" y="530195"/>
                      </a:cubicBezTo>
                      <a:cubicBezTo>
                        <a:pt x="2712510" y="529536"/>
                        <a:pt x="2712599" y="528978"/>
                        <a:pt x="2711940" y="528535"/>
                      </a:cubicBezTo>
                      <a:cubicBezTo>
                        <a:pt x="2710444" y="529916"/>
                        <a:pt x="2707731" y="531057"/>
                        <a:pt x="2706146" y="532693"/>
                      </a:cubicBezTo>
                      <a:cubicBezTo>
                        <a:pt x="2706299" y="529840"/>
                        <a:pt x="2705247" y="526861"/>
                        <a:pt x="2705145" y="524617"/>
                      </a:cubicBezTo>
                      <a:cubicBezTo>
                        <a:pt x="2704321" y="530499"/>
                        <a:pt x="2699542" y="532223"/>
                        <a:pt x="2700075" y="526151"/>
                      </a:cubicBezTo>
                      <a:cubicBezTo>
                        <a:pt x="2698084" y="526595"/>
                        <a:pt x="2680857" y="524427"/>
                        <a:pt x="2681326" y="524617"/>
                      </a:cubicBezTo>
                      <a:cubicBezTo>
                        <a:pt x="2674100" y="521715"/>
                        <a:pt x="2676446" y="517138"/>
                        <a:pt x="2667116" y="515528"/>
                      </a:cubicBezTo>
                      <a:cubicBezTo>
                        <a:pt x="2674126" y="521245"/>
                        <a:pt x="2668510" y="526075"/>
                        <a:pt x="2661196" y="525885"/>
                      </a:cubicBezTo>
                      <a:cubicBezTo>
                        <a:pt x="2663211" y="525936"/>
                        <a:pt x="2649305" y="521081"/>
                        <a:pt x="2649952" y="521397"/>
                      </a:cubicBezTo>
                      <a:cubicBezTo>
                        <a:pt x="2642662" y="518178"/>
                        <a:pt x="2644906" y="522614"/>
                        <a:pt x="2644995" y="517037"/>
                      </a:cubicBezTo>
                      <a:cubicBezTo>
                        <a:pt x="2645147" y="506883"/>
                        <a:pt x="2657076" y="505679"/>
                        <a:pt x="2661576" y="499949"/>
                      </a:cubicBezTo>
                      <a:cubicBezTo>
                        <a:pt x="2666342" y="493864"/>
                        <a:pt x="2664707" y="486347"/>
                        <a:pt x="2668180" y="481758"/>
                      </a:cubicBezTo>
                      <a:cubicBezTo>
                        <a:pt x="2656822" y="473480"/>
                        <a:pt x="2680489" y="468815"/>
                        <a:pt x="2686904" y="468625"/>
                      </a:cubicBezTo>
                      <a:cubicBezTo>
                        <a:pt x="2686156" y="469867"/>
                        <a:pt x="2685446" y="471046"/>
                        <a:pt x="2684837" y="472187"/>
                      </a:cubicBezTo>
                      <a:cubicBezTo>
                        <a:pt x="2691467" y="469652"/>
                        <a:pt x="2699377" y="469741"/>
                        <a:pt x="2705868" y="466825"/>
                      </a:cubicBezTo>
                      <a:cubicBezTo>
                        <a:pt x="2712269" y="463909"/>
                        <a:pt x="2715413" y="459891"/>
                        <a:pt x="2720839" y="455036"/>
                      </a:cubicBezTo>
                      <a:cubicBezTo>
                        <a:pt x="2729852" y="447050"/>
                        <a:pt x="2740132" y="443057"/>
                        <a:pt x="2752872" y="440027"/>
                      </a:cubicBezTo>
                      <a:lnTo>
                        <a:pt x="2752872" y="440027"/>
                      </a:lnTo>
                      <a:close/>
                      <a:moveTo>
                        <a:pt x="2397651" y="445072"/>
                      </a:moveTo>
                      <a:cubicBezTo>
                        <a:pt x="2407538" y="449395"/>
                        <a:pt x="2390539" y="459054"/>
                        <a:pt x="2398982" y="465355"/>
                      </a:cubicBezTo>
                      <a:cubicBezTo>
                        <a:pt x="2402050" y="467649"/>
                        <a:pt x="2419188" y="463745"/>
                        <a:pt x="2416539" y="473531"/>
                      </a:cubicBezTo>
                      <a:cubicBezTo>
                        <a:pt x="2412508" y="488299"/>
                        <a:pt x="2400592" y="472758"/>
                        <a:pt x="2399502" y="472339"/>
                      </a:cubicBezTo>
                      <a:cubicBezTo>
                        <a:pt x="2395546" y="470780"/>
                        <a:pt x="2389056" y="476295"/>
                        <a:pt x="2385684" y="474672"/>
                      </a:cubicBezTo>
                      <a:cubicBezTo>
                        <a:pt x="2380804" y="472365"/>
                        <a:pt x="2385215" y="463453"/>
                        <a:pt x="2384252" y="461247"/>
                      </a:cubicBezTo>
                      <a:cubicBezTo>
                        <a:pt x="2383656" y="459929"/>
                        <a:pt x="2377875" y="457077"/>
                        <a:pt x="2376341" y="454580"/>
                      </a:cubicBezTo>
                      <a:cubicBezTo>
                        <a:pt x="2372006" y="447443"/>
                        <a:pt x="2376823" y="446619"/>
                        <a:pt x="2374313" y="439507"/>
                      </a:cubicBezTo>
                      <a:cubicBezTo>
                        <a:pt x="2378382" y="438113"/>
                        <a:pt x="2379866" y="442271"/>
                        <a:pt x="2381780" y="441979"/>
                      </a:cubicBezTo>
                      <a:cubicBezTo>
                        <a:pt x="2381070" y="442081"/>
                        <a:pt x="2383630" y="444565"/>
                        <a:pt x="2384974" y="444451"/>
                      </a:cubicBezTo>
                      <a:cubicBezTo>
                        <a:pt x="2385963" y="444375"/>
                        <a:pt x="2385418" y="439786"/>
                        <a:pt x="2386850" y="439710"/>
                      </a:cubicBezTo>
                      <a:cubicBezTo>
                        <a:pt x="2391186" y="439444"/>
                        <a:pt x="2394241" y="435172"/>
                        <a:pt x="2397651" y="445072"/>
                      </a:cubicBezTo>
                      <a:lnTo>
                        <a:pt x="2397651" y="445072"/>
                      </a:lnTo>
                      <a:close/>
                      <a:moveTo>
                        <a:pt x="2633649" y="414801"/>
                      </a:moveTo>
                      <a:cubicBezTo>
                        <a:pt x="2640901" y="416309"/>
                        <a:pt x="2644070" y="419389"/>
                        <a:pt x="2650788" y="417552"/>
                      </a:cubicBezTo>
                      <a:cubicBezTo>
                        <a:pt x="2650890" y="417945"/>
                        <a:pt x="2649914" y="419402"/>
                        <a:pt x="2649850" y="419314"/>
                      </a:cubicBezTo>
                      <a:cubicBezTo>
                        <a:pt x="2654921" y="419212"/>
                        <a:pt x="2660739" y="422090"/>
                        <a:pt x="2663896" y="424701"/>
                      </a:cubicBezTo>
                      <a:cubicBezTo>
                        <a:pt x="2669068" y="428948"/>
                        <a:pt x="2667166" y="431268"/>
                        <a:pt x="2672136" y="435717"/>
                      </a:cubicBezTo>
                      <a:cubicBezTo>
                        <a:pt x="2669714" y="437276"/>
                        <a:pt x="2668142" y="439406"/>
                        <a:pt x="2666089" y="440014"/>
                      </a:cubicBezTo>
                      <a:cubicBezTo>
                        <a:pt x="2664149" y="445338"/>
                        <a:pt x="2655098" y="435058"/>
                        <a:pt x="2648367" y="441523"/>
                      </a:cubicBezTo>
                      <a:cubicBezTo>
                        <a:pt x="2644945" y="441231"/>
                        <a:pt x="2636578" y="435400"/>
                        <a:pt x="2633726" y="432687"/>
                      </a:cubicBezTo>
                      <a:cubicBezTo>
                        <a:pt x="2628528" y="427782"/>
                        <a:pt x="2626601" y="417653"/>
                        <a:pt x="2618007" y="421380"/>
                      </a:cubicBezTo>
                      <a:cubicBezTo>
                        <a:pt x="2618717" y="422191"/>
                        <a:pt x="2620187" y="421709"/>
                        <a:pt x="2621036" y="422875"/>
                      </a:cubicBezTo>
                      <a:cubicBezTo>
                        <a:pt x="2620238" y="423826"/>
                        <a:pt x="2625397" y="433727"/>
                        <a:pt x="2629758" y="436389"/>
                      </a:cubicBezTo>
                      <a:cubicBezTo>
                        <a:pt x="2632623" y="438138"/>
                        <a:pt x="2637820" y="433727"/>
                        <a:pt x="2640761" y="438480"/>
                      </a:cubicBezTo>
                      <a:cubicBezTo>
                        <a:pt x="2645084" y="445326"/>
                        <a:pt x="2621911" y="454795"/>
                        <a:pt x="2623584" y="435945"/>
                      </a:cubicBezTo>
                      <a:cubicBezTo>
                        <a:pt x="2619160" y="436110"/>
                        <a:pt x="2615852" y="438138"/>
                        <a:pt x="2614432" y="442017"/>
                      </a:cubicBezTo>
                      <a:cubicBezTo>
                        <a:pt x="2614964" y="442093"/>
                        <a:pt x="2615395" y="441941"/>
                        <a:pt x="2615763" y="441434"/>
                      </a:cubicBezTo>
                      <a:cubicBezTo>
                        <a:pt x="2615116" y="443602"/>
                        <a:pt x="2614153" y="444996"/>
                        <a:pt x="2613177" y="446606"/>
                      </a:cubicBezTo>
                      <a:cubicBezTo>
                        <a:pt x="2613925" y="443336"/>
                        <a:pt x="2613507" y="439558"/>
                        <a:pt x="2611060" y="436313"/>
                      </a:cubicBezTo>
                      <a:cubicBezTo>
                        <a:pt x="2607447" y="431597"/>
                        <a:pt x="2610527" y="436820"/>
                        <a:pt x="2605292" y="435476"/>
                      </a:cubicBezTo>
                      <a:cubicBezTo>
                        <a:pt x="2599537" y="433980"/>
                        <a:pt x="2595011" y="432675"/>
                        <a:pt x="2588737" y="429315"/>
                      </a:cubicBezTo>
                      <a:cubicBezTo>
                        <a:pt x="2593947" y="429861"/>
                        <a:pt x="2600500" y="430735"/>
                        <a:pt x="2604456" y="428200"/>
                      </a:cubicBezTo>
                      <a:cubicBezTo>
                        <a:pt x="2604405" y="428149"/>
                        <a:pt x="2601565" y="427617"/>
                        <a:pt x="2601236" y="427389"/>
                      </a:cubicBezTo>
                      <a:cubicBezTo>
                        <a:pt x="2602846" y="425677"/>
                        <a:pt x="2603378" y="426641"/>
                        <a:pt x="2602719" y="423915"/>
                      </a:cubicBezTo>
                      <a:cubicBezTo>
                        <a:pt x="2604138" y="423750"/>
                        <a:pt x="2599854" y="426235"/>
                        <a:pt x="2600323" y="425994"/>
                      </a:cubicBezTo>
                      <a:cubicBezTo>
                        <a:pt x="2598979" y="425449"/>
                        <a:pt x="2600424" y="424638"/>
                        <a:pt x="2597674" y="424840"/>
                      </a:cubicBezTo>
                      <a:cubicBezTo>
                        <a:pt x="2597674" y="426045"/>
                        <a:pt x="2598206" y="427338"/>
                        <a:pt x="2598206" y="428415"/>
                      </a:cubicBezTo>
                      <a:cubicBezTo>
                        <a:pt x="2592793" y="425614"/>
                        <a:pt x="2592210" y="421899"/>
                        <a:pt x="2597674" y="420378"/>
                      </a:cubicBezTo>
                      <a:cubicBezTo>
                        <a:pt x="2598358" y="422749"/>
                        <a:pt x="2599524" y="422875"/>
                        <a:pt x="2599943" y="423484"/>
                      </a:cubicBezTo>
                      <a:cubicBezTo>
                        <a:pt x="2600196" y="422216"/>
                        <a:pt x="2599461" y="421506"/>
                        <a:pt x="2599208" y="420378"/>
                      </a:cubicBezTo>
                      <a:cubicBezTo>
                        <a:pt x="2601083" y="420923"/>
                        <a:pt x="2602199" y="421088"/>
                        <a:pt x="2604265" y="422369"/>
                      </a:cubicBezTo>
                      <a:cubicBezTo>
                        <a:pt x="2604240" y="421659"/>
                        <a:pt x="2604063" y="421012"/>
                        <a:pt x="2603784" y="420378"/>
                      </a:cubicBezTo>
                      <a:cubicBezTo>
                        <a:pt x="2606966" y="419288"/>
                        <a:pt x="2612163" y="418046"/>
                        <a:pt x="2614001" y="419871"/>
                      </a:cubicBezTo>
                      <a:cubicBezTo>
                        <a:pt x="2617094" y="416677"/>
                        <a:pt x="2625562" y="417323"/>
                        <a:pt x="2630645" y="417843"/>
                      </a:cubicBezTo>
                      <a:cubicBezTo>
                        <a:pt x="2629948" y="417349"/>
                        <a:pt x="2628541" y="417158"/>
                        <a:pt x="2628085" y="416816"/>
                      </a:cubicBezTo>
                      <a:cubicBezTo>
                        <a:pt x="2629961" y="414775"/>
                        <a:pt x="2631317" y="415333"/>
                        <a:pt x="2633649" y="414801"/>
                      </a:cubicBezTo>
                      <a:lnTo>
                        <a:pt x="2633649" y="414801"/>
                      </a:lnTo>
                      <a:close/>
                      <a:moveTo>
                        <a:pt x="550453" y="341188"/>
                      </a:moveTo>
                      <a:cubicBezTo>
                        <a:pt x="558566" y="337398"/>
                        <a:pt x="577568" y="346855"/>
                        <a:pt x="580014" y="355031"/>
                      </a:cubicBezTo>
                      <a:cubicBezTo>
                        <a:pt x="584236" y="369241"/>
                        <a:pt x="567870" y="357034"/>
                        <a:pt x="561101" y="356197"/>
                      </a:cubicBezTo>
                      <a:cubicBezTo>
                        <a:pt x="555004" y="355462"/>
                        <a:pt x="548095" y="358175"/>
                        <a:pt x="542467" y="356755"/>
                      </a:cubicBezTo>
                      <a:cubicBezTo>
                        <a:pt x="532883" y="354334"/>
                        <a:pt x="535685" y="350455"/>
                        <a:pt x="535659" y="346208"/>
                      </a:cubicBezTo>
                      <a:cubicBezTo>
                        <a:pt x="535710" y="352280"/>
                        <a:pt x="540426" y="332948"/>
                        <a:pt x="538080" y="337829"/>
                      </a:cubicBezTo>
                      <a:cubicBezTo>
                        <a:pt x="539310" y="335319"/>
                        <a:pt x="535241" y="332898"/>
                        <a:pt x="539640" y="331085"/>
                      </a:cubicBezTo>
                      <a:cubicBezTo>
                        <a:pt x="545205" y="328727"/>
                        <a:pt x="549084" y="339502"/>
                        <a:pt x="550453" y="341188"/>
                      </a:cubicBezTo>
                      <a:lnTo>
                        <a:pt x="550453" y="341188"/>
                      </a:lnTo>
                      <a:close/>
                      <a:moveTo>
                        <a:pt x="160802" y="302842"/>
                      </a:moveTo>
                      <a:cubicBezTo>
                        <a:pt x="171881" y="305846"/>
                        <a:pt x="173668" y="316443"/>
                        <a:pt x="182859" y="325431"/>
                      </a:cubicBezTo>
                      <a:cubicBezTo>
                        <a:pt x="186966" y="329462"/>
                        <a:pt x="195510" y="332124"/>
                        <a:pt x="198324" y="336498"/>
                      </a:cubicBezTo>
                      <a:cubicBezTo>
                        <a:pt x="202900" y="343622"/>
                        <a:pt x="201265" y="344433"/>
                        <a:pt x="199731" y="352369"/>
                      </a:cubicBezTo>
                      <a:cubicBezTo>
                        <a:pt x="198109" y="360938"/>
                        <a:pt x="200314" y="370040"/>
                        <a:pt x="191847" y="372550"/>
                      </a:cubicBezTo>
                      <a:cubicBezTo>
                        <a:pt x="185939" y="374261"/>
                        <a:pt x="185774" y="370724"/>
                        <a:pt x="183658" y="367327"/>
                      </a:cubicBezTo>
                      <a:cubicBezTo>
                        <a:pt x="180095" y="361635"/>
                        <a:pt x="179905" y="356058"/>
                        <a:pt x="174759" y="350695"/>
                      </a:cubicBezTo>
                      <a:cubicBezTo>
                        <a:pt x="171881" y="347691"/>
                        <a:pt x="168332" y="346956"/>
                        <a:pt x="166075" y="344788"/>
                      </a:cubicBezTo>
                      <a:cubicBezTo>
                        <a:pt x="165226" y="343952"/>
                        <a:pt x="162969" y="345840"/>
                        <a:pt x="162082" y="344788"/>
                      </a:cubicBezTo>
                      <a:cubicBezTo>
                        <a:pt x="161119" y="343647"/>
                        <a:pt x="162703" y="340808"/>
                        <a:pt x="161829" y="339629"/>
                      </a:cubicBezTo>
                      <a:cubicBezTo>
                        <a:pt x="157062" y="333240"/>
                        <a:pt x="147796" y="309826"/>
                        <a:pt x="138187" y="311969"/>
                      </a:cubicBezTo>
                      <a:cubicBezTo>
                        <a:pt x="141014" y="305947"/>
                        <a:pt x="143676" y="312019"/>
                        <a:pt x="148366" y="310574"/>
                      </a:cubicBezTo>
                      <a:cubicBezTo>
                        <a:pt x="154895" y="308559"/>
                        <a:pt x="157721" y="301282"/>
                        <a:pt x="160802" y="302842"/>
                      </a:cubicBezTo>
                      <a:lnTo>
                        <a:pt x="160802" y="302842"/>
                      </a:lnTo>
                      <a:close/>
                      <a:moveTo>
                        <a:pt x="2207630" y="291369"/>
                      </a:moveTo>
                      <a:cubicBezTo>
                        <a:pt x="2216351" y="288606"/>
                        <a:pt x="2221333" y="301980"/>
                        <a:pt x="2219292" y="307190"/>
                      </a:cubicBezTo>
                      <a:cubicBezTo>
                        <a:pt x="2218633" y="308939"/>
                        <a:pt x="2211394" y="313731"/>
                        <a:pt x="2209683" y="316596"/>
                      </a:cubicBezTo>
                      <a:cubicBezTo>
                        <a:pt x="2205259" y="324062"/>
                        <a:pt x="2204638" y="331605"/>
                        <a:pt x="2198452" y="338273"/>
                      </a:cubicBezTo>
                      <a:cubicBezTo>
                        <a:pt x="2188539" y="348921"/>
                        <a:pt x="2179107" y="356007"/>
                        <a:pt x="2171679" y="368595"/>
                      </a:cubicBezTo>
                      <a:cubicBezTo>
                        <a:pt x="2169004" y="373095"/>
                        <a:pt x="2165734" y="377950"/>
                        <a:pt x="2160688" y="381246"/>
                      </a:cubicBezTo>
                      <a:cubicBezTo>
                        <a:pt x="2152297" y="386709"/>
                        <a:pt x="2140710" y="386963"/>
                        <a:pt x="2132724" y="388243"/>
                      </a:cubicBezTo>
                      <a:cubicBezTo>
                        <a:pt x="2125625" y="389372"/>
                        <a:pt x="2117170" y="390741"/>
                        <a:pt x="2110299" y="391691"/>
                      </a:cubicBezTo>
                      <a:cubicBezTo>
                        <a:pt x="2100767" y="393022"/>
                        <a:pt x="2097204" y="392503"/>
                        <a:pt x="2086657" y="392046"/>
                      </a:cubicBezTo>
                      <a:cubicBezTo>
                        <a:pt x="2071179" y="391337"/>
                        <a:pt x="2074678" y="387381"/>
                        <a:pt x="2064296" y="380790"/>
                      </a:cubicBezTo>
                      <a:cubicBezTo>
                        <a:pt x="2057945" y="376809"/>
                        <a:pt x="2059073" y="377848"/>
                        <a:pt x="2050098" y="378812"/>
                      </a:cubicBezTo>
                      <a:cubicBezTo>
                        <a:pt x="2044406" y="379446"/>
                        <a:pt x="2033074" y="380904"/>
                        <a:pt x="2029296" y="375985"/>
                      </a:cubicBezTo>
                      <a:cubicBezTo>
                        <a:pt x="2029220" y="381182"/>
                        <a:pt x="1997884" y="378013"/>
                        <a:pt x="1988985" y="379154"/>
                      </a:cubicBezTo>
                      <a:cubicBezTo>
                        <a:pt x="1982381" y="380016"/>
                        <a:pt x="1972429" y="385239"/>
                        <a:pt x="1965470" y="383008"/>
                      </a:cubicBezTo>
                      <a:cubicBezTo>
                        <a:pt x="1963442" y="382374"/>
                        <a:pt x="1954112" y="375338"/>
                        <a:pt x="1951868" y="373931"/>
                      </a:cubicBezTo>
                      <a:cubicBezTo>
                        <a:pt x="1945695" y="374958"/>
                        <a:pt x="1942792" y="378495"/>
                        <a:pt x="1935350" y="379496"/>
                      </a:cubicBezTo>
                      <a:cubicBezTo>
                        <a:pt x="1928467" y="380472"/>
                        <a:pt x="1920760" y="383705"/>
                        <a:pt x="1914650" y="384555"/>
                      </a:cubicBezTo>
                      <a:cubicBezTo>
                        <a:pt x="1907614" y="385493"/>
                        <a:pt x="1898512" y="381221"/>
                        <a:pt x="1892732" y="379256"/>
                      </a:cubicBezTo>
                      <a:cubicBezTo>
                        <a:pt x="1883415" y="376061"/>
                        <a:pt x="1871587" y="372841"/>
                        <a:pt x="1861205" y="379332"/>
                      </a:cubicBezTo>
                      <a:cubicBezTo>
                        <a:pt x="1848073" y="387584"/>
                        <a:pt x="1833621" y="414991"/>
                        <a:pt x="1833076" y="429898"/>
                      </a:cubicBezTo>
                      <a:cubicBezTo>
                        <a:pt x="1832797" y="438189"/>
                        <a:pt x="1836423" y="449699"/>
                        <a:pt x="1838527" y="457724"/>
                      </a:cubicBezTo>
                      <a:cubicBezTo>
                        <a:pt x="1840150" y="463897"/>
                        <a:pt x="1846070" y="476231"/>
                        <a:pt x="1851445" y="479768"/>
                      </a:cubicBezTo>
                      <a:cubicBezTo>
                        <a:pt x="1857517" y="483736"/>
                        <a:pt x="1858353" y="479502"/>
                        <a:pt x="1862093" y="480769"/>
                      </a:cubicBezTo>
                      <a:cubicBezTo>
                        <a:pt x="1869965" y="483406"/>
                        <a:pt x="1873552" y="492951"/>
                        <a:pt x="1875936" y="499378"/>
                      </a:cubicBezTo>
                      <a:cubicBezTo>
                        <a:pt x="1877216" y="502763"/>
                        <a:pt x="1877089" y="510293"/>
                        <a:pt x="1880677" y="513120"/>
                      </a:cubicBezTo>
                      <a:cubicBezTo>
                        <a:pt x="1886254" y="517557"/>
                        <a:pt x="1886647" y="514248"/>
                        <a:pt x="1894824" y="513056"/>
                      </a:cubicBezTo>
                      <a:cubicBezTo>
                        <a:pt x="1895014" y="519496"/>
                        <a:pt x="1902011" y="516568"/>
                        <a:pt x="1907221" y="516415"/>
                      </a:cubicBezTo>
                      <a:cubicBezTo>
                        <a:pt x="1917008" y="516137"/>
                        <a:pt x="1914193" y="518241"/>
                        <a:pt x="1920557" y="507732"/>
                      </a:cubicBezTo>
                      <a:cubicBezTo>
                        <a:pt x="1927212" y="496830"/>
                        <a:pt x="1937290" y="480288"/>
                        <a:pt x="1950068" y="476763"/>
                      </a:cubicBezTo>
                      <a:cubicBezTo>
                        <a:pt x="1951323" y="476396"/>
                        <a:pt x="1950169" y="472568"/>
                        <a:pt x="1953186" y="473354"/>
                      </a:cubicBezTo>
                      <a:cubicBezTo>
                        <a:pt x="1957255" y="474406"/>
                        <a:pt x="1954125" y="477625"/>
                        <a:pt x="1956241" y="478716"/>
                      </a:cubicBezTo>
                      <a:cubicBezTo>
                        <a:pt x="1961730" y="481619"/>
                        <a:pt x="1966104" y="485143"/>
                        <a:pt x="1974394" y="484623"/>
                      </a:cubicBezTo>
                      <a:cubicBezTo>
                        <a:pt x="1977081" y="484433"/>
                        <a:pt x="1989137" y="482671"/>
                        <a:pt x="1990848" y="481352"/>
                      </a:cubicBezTo>
                      <a:cubicBezTo>
                        <a:pt x="1992686" y="479869"/>
                        <a:pt x="1991825" y="474938"/>
                        <a:pt x="1992978" y="474025"/>
                      </a:cubicBezTo>
                      <a:cubicBezTo>
                        <a:pt x="1997326" y="470577"/>
                        <a:pt x="1999620" y="470882"/>
                        <a:pt x="2006365" y="470387"/>
                      </a:cubicBezTo>
                      <a:cubicBezTo>
                        <a:pt x="2018128" y="469538"/>
                        <a:pt x="2043570" y="476738"/>
                        <a:pt x="2052291" y="468245"/>
                      </a:cubicBezTo>
                      <a:cubicBezTo>
                        <a:pt x="2047272" y="465773"/>
                        <a:pt x="2038626" y="466559"/>
                        <a:pt x="2035635" y="462173"/>
                      </a:cubicBezTo>
                      <a:cubicBezTo>
                        <a:pt x="2048615" y="458065"/>
                        <a:pt x="2082512" y="449382"/>
                        <a:pt x="2088039" y="467053"/>
                      </a:cubicBezTo>
                      <a:cubicBezTo>
                        <a:pt x="2090295" y="474178"/>
                        <a:pt x="2084616" y="492673"/>
                        <a:pt x="2075198" y="491253"/>
                      </a:cubicBezTo>
                      <a:cubicBezTo>
                        <a:pt x="2070825" y="490568"/>
                        <a:pt x="2068124" y="481606"/>
                        <a:pt x="2066730" y="480579"/>
                      </a:cubicBezTo>
                      <a:cubicBezTo>
                        <a:pt x="2060201" y="475673"/>
                        <a:pt x="2064879" y="478944"/>
                        <a:pt x="2055904" y="480237"/>
                      </a:cubicBezTo>
                      <a:cubicBezTo>
                        <a:pt x="2045269" y="481771"/>
                        <a:pt x="2045586" y="479970"/>
                        <a:pt x="2039044" y="487615"/>
                      </a:cubicBezTo>
                      <a:cubicBezTo>
                        <a:pt x="2036585" y="490505"/>
                        <a:pt x="2034329" y="494447"/>
                        <a:pt x="2032377" y="496894"/>
                      </a:cubicBezTo>
                      <a:cubicBezTo>
                        <a:pt x="2026026" y="504880"/>
                        <a:pt x="2019320" y="513449"/>
                        <a:pt x="2011295" y="520840"/>
                      </a:cubicBezTo>
                      <a:cubicBezTo>
                        <a:pt x="2000698" y="530575"/>
                        <a:pt x="1994195" y="530778"/>
                        <a:pt x="1982292" y="533859"/>
                      </a:cubicBezTo>
                      <a:cubicBezTo>
                        <a:pt x="1981227" y="534125"/>
                        <a:pt x="1971631" y="537015"/>
                        <a:pt x="1971098" y="537383"/>
                      </a:cubicBezTo>
                      <a:cubicBezTo>
                        <a:pt x="1965812" y="540831"/>
                        <a:pt x="1966738" y="545737"/>
                        <a:pt x="1962643" y="550401"/>
                      </a:cubicBezTo>
                      <a:cubicBezTo>
                        <a:pt x="1951830" y="562660"/>
                        <a:pt x="1947862" y="552011"/>
                        <a:pt x="1939952" y="547853"/>
                      </a:cubicBezTo>
                      <a:cubicBezTo>
                        <a:pt x="1927022" y="541046"/>
                        <a:pt x="1930990" y="552037"/>
                        <a:pt x="1932574" y="560923"/>
                      </a:cubicBezTo>
                      <a:cubicBezTo>
                        <a:pt x="1933475" y="558996"/>
                        <a:pt x="1936162" y="556816"/>
                        <a:pt x="1937100" y="554902"/>
                      </a:cubicBezTo>
                      <a:cubicBezTo>
                        <a:pt x="1939800" y="560467"/>
                        <a:pt x="1943286" y="561684"/>
                        <a:pt x="1946531" y="565398"/>
                      </a:cubicBezTo>
                      <a:cubicBezTo>
                        <a:pt x="1949244" y="568554"/>
                        <a:pt x="1948090" y="571483"/>
                        <a:pt x="1951462" y="574081"/>
                      </a:cubicBezTo>
                      <a:cubicBezTo>
                        <a:pt x="1953490" y="575653"/>
                        <a:pt x="1958079" y="574626"/>
                        <a:pt x="1960615" y="575945"/>
                      </a:cubicBezTo>
                      <a:cubicBezTo>
                        <a:pt x="1969920" y="580901"/>
                        <a:pt x="1978337" y="597850"/>
                        <a:pt x="1982697" y="606825"/>
                      </a:cubicBezTo>
                      <a:cubicBezTo>
                        <a:pt x="1986031" y="613645"/>
                        <a:pt x="1985562" y="613568"/>
                        <a:pt x="1991444" y="618601"/>
                      </a:cubicBezTo>
                      <a:cubicBezTo>
                        <a:pt x="1993979" y="620794"/>
                        <a:pt x="1994385" y="623596"/>
                        <a:pt x="1996667" y="625966"/>
                      </a:cubicBezTo>
                      <a:cubicBezTo>
                        <a:pt x="1997922" y="627284"/>
                        <a:pt x="2001737" y="624965"/>
                        <a:pt x="2003018" y="627652"/>
                      </a:cubicBezTo>
                      <a:cubicBezTo>
                        <a:pt x="2004488" y="630847"/>
                        <a:pt x="2000596" y="633585"/>
                        <a:pt x="2001332" y="635309"/>
                      </a:cubicBezTo>
                      <a:cubicBezTo>
                        <a:pt x="2003183" y="639492"/>
                        <a:pt x="2008165" y="646160"/>
                        <a:pt x="2013121" y="643574"/>
                      </a:cubicBezTo>
                      <a:cubicBezTo>
                        <a:pt x="2015099" y="645108"/>
                        <a:pt x="2013755" y="645577"/>
                        <a:pt x="2016265" y="646261"/>
                      </a:cubicBezTo>
                      <a:cubicBezTo>
                        <a:pt x="2014211" y="651991"/>
                        <a:pt x="2011790" y="650698"/>
                        <a:pt x="2009609" y="652701"/>
                      </a:cubicBezTo>
                      <a:cubicBezTo>
                        <a:pt x="2008177" y="653994"/>
                        <a:pt x="2003537" y="651991"/>
                        <a:pt x="2003462" y="659217"/>
                      </a:cubicBezTo>
                      <a:cubicBezTo>
                        <a:pt x="2003436" y="661879"/>
                        <a:pt x="2009660" y="662132"/>
                        <a:pt x="2009267" y="667469"/>
                      </a:cubicBezTo>
                      <a:cubicBezTo>
                        <a:pt x="2007290" y="664465"/>
                        <a:pt x="2004171" y="661359"/>
                        <a:pt x="1999925" y="662830"/>
                      </a:cubicBezTo>
                      <a:cubicBezTo>
                        <a:pt x="2006859" y="671539"/>
                        <a:pt x="1996629" y="672033"/>
                        <a:pt x="1996528" y="675899"/>
                      </a:cubicBezTo>
                      <a:cubicBezTo>
                        <a:pt x="1996350" y="682009"/>
                        <a:pt x="2003208" y="685761"/>
                        <a:pt x="2007974" y="688766"/>
                      </a:cubicBezTo>
                      <a:cubicBezTo>
                        <a:pt x="2010560" y="690376"/>
                        <a:pt x="2012981" y="690300"/>
                        <a:pt x="2015796" y="692302"/>
                      </a:cubicBezTo>
                      <a:cubicBezTo>
                        <a:pt x="2014629" y="691466"/>
                        <a:pt x="2030107" y="703268"/>
                        <a:pt x="2028396" y="700174"/>
                      </a:cubicBezTo>
                      <a:cubicBezTo>
                        <a:pt x="2030538" y="704028"/>
                        <a:pt x="2027521" y="705512"/>
                        <a:pt x="2022147" y="707033"/>
                      </a:cubicBezTo>
                      <a:cubicBezTo>
                        <a:pt x="2032275" y="705930"/>
                        <a:pt x="2029765" y="720660"/>
                        <a:pt x="2033898" y="717263"/>
                      </a:cubicBezTo>
                      <a:cubicBezTo>
                        <a:pt x="2037599" y="718872"/>
                        <a:pt x="2039767" y="718429"/>
                        <a:pt x="2043545" y="718264"/>
                      </a:cubicBezTo>
                      <a:cubicBezTo>
                        <a:pt x="2041555" y="716603"/>
                        <a:pt x="2040413" y="713865"/>
                        <a:pt x="2038626" y="712306"/>
                      </a:cubicBezTo>
                      <a:cubicBezTo>
                        <a:pt x="2051188" y="710671"/>
                        <a:pt x="2050631" y="736480"/>
                        <a:pt x="2043545" y="741044"/>
                      </a:cubicBezTo>
                      <a:cubicBezTo>
                        <a:pt x="2039589" y="737596"/>
                        <a:pt x="2035939" y="733324"/>
                        <a:pt x="2030843" y="731955"/>
                      </a:cubicBezTo>
                      <a:cubicBezTo>
                        <a:pt x="2032123" y="733983"/>
                        <a:pt x="2043735" y="751464"/>
                        <a:pt x="2033036" y="742045"/>
                      </a:cubicBezTo>
                      <a:cubicBezTo>
                        <a:pt x="2032782" y="742818"/>
                        <a:pt x="2034037" y="744264"/>
                        <a:pt x="2032427" y="744429"/>
                      </a:cubicBezTo>
                      <a:cubicBezTo>
                        <a:pt x="2029664" y="734579"/>
                        <a:pt x="2006491" y="740575"/>
                        <a:pt x="1998264" y="743401"/>
                      </a:cubicBezTo>
                      <a:cubicBezTo>
                        <a:pt x="1989023" y="746596"/>
                        <a:pt x="1975662" y="761466"/>
                        <a:pt x="1990861" y="767766"/>
                      </a:cubicBezTo>
                      <a:cubicBezTo>
                        <a:pt x="1983344" y="775980"/>
                        <a:pt x="1962580" y="770009"/>
                        <a:pt x="1955253" y="766460"/>
                      </a:cubicBezTo>
                      <a:cubicBezTo>
                        <a:pt x="1948167" y="763063"/>
                        <a:pt x="1943400" y="760109"/>
                        <a:pt x="1942829" y="752339"/>
                      </a:cubicBezTo>
                      <a:cubicBezTo>
                        <a:pt x="1942563" y="748358"/>
                        <a:pt x="1946620" y="726757"/>
                        <a:pt x="1948762" y="725338"/>
                      </a:cubicBezTo>
                      <a:cubicBezTo>
                        <a:pt x="1949510" y="726263"/>
                        <a:pt x="1948052" y="726922"/>
                        <a:pt x="1948281" y="727340"/>
                      </a:cubicBezTo>
                      <a:cubicBezTo>
                        <a:pt x="1963454" y="718429"/>
                        <a:pt x="1947672" y="712103"/>
                        <a:pt x="1940611" y="708972"/>
                      </a:cubicBezTo>
                      <a:cubicBezTo>
                        <a:pt x="1934451" y="706247"/>
                        <a:pt x="1931712" y="701392"/>
                        <a:pt x="1926312" y="701645"/>
                      </a:cubicBezTo>
                      <a:cubicBezTo>
                        <a:pt x="1928949" y="694179"/>
                        <a:pt x="1908147" y="684988"/>
                        <a:pt x="1902670" y="677623"/>
                      </a:cubicBezTo>
                      <a:cubicBezTo>
                        <a:pt x="1895787" y="668432"/>
                        <a:pt x="1898437" y="664744"/>
                        <a:pt x="1905041" y="656187"/>
                      </a:cubicBezTo>
                      <a:cubicBezTo>
                        <a:pt x="1910593" y="648974"/>
                        <a:pt x="1910238" y="649304"/>
                        <a:pt x="1911240" y="640291"/>
                      </a:cubicBezTo>
                      <a:cubicBezTo>
                        <a:pt x="1912178" y="632076"/>
                        <a:pt x="1915753" y="626828"/>
                        <a:pt x="1909845" y="621466"/>
                      </a:cubicBezTo>
                      <a:cubicBezTo>
                        <a:pt x="1903165" y="626220"/>
                        <a:pt x="1910111" y="618259"/>
                        <a:pt x="1913331" y="617422"/>
                      </a:cubicBezTo>
                      <a:cubicBezTo>
                        <a:pt x="1910111" y="606926"/>
                        <a:pt x="1893366" y="606482"/>
                        <a:pt x="1884949" y="608815"/>
                      </a:cubicBezTo>
                      <a:cubicBezTo>
                        <a:pt x="1871816" y="612504"/>
                        <a:pt x="1861954" y="626524"/>
                        <a:pt x="1848504" y="632038"/>
                      </a:cubicBezTo>
                      <a:cubicBezTo>
                        <a:pt x="1850608" y="635448"/>
                        <a:pt x="1852395" y="642864"/>
                        <a:pt x="1853739" y="644677"/>
                      </a:cubicBezTo>
                      <a:cubicBezTo>
                        <a:pt x="1855805" y="647466"/>
                        <a:pt x="1862359" y="651028"/>
                        <a:pt x="1864958" y="654032"/>
                      </a:cubicBezTo>
                      <a:cubicBezTo>
                        <a:pt x="1858873" y="665758"/>
                        <a:pt x="1866542" y="682022"/>
                        <a:pt x="1863715" y="693862"/>
                      </a:cubicBezTo>
                      <a:cubicBezTo>
                        <a:pt x="1859849" y="709999"/>
                        <a:pt x="1860521" y="725971"/>
                        <a:pt x="1861966" y="741640"/>
                      </a:cubicBezTo>
                      <a:cubicBezTo>
                        <a:pt x="1862397" y="746279"/>
                        <a:pt x="1866441" y="753023"/>
                        <a:pt x="1866479" y="757143"/>
                      </a:cubicBezTo>
                      <a:cubicBezTo>
                        <a:pt x="1866479" y="757840"/>
                        <a:pt x="1863056" y="767031"/>
                        <a:pt x="1862701" y="767664"/>
                      </a:cubicBezTo>
                      <a:cubicBezTo>
                        <a:pt x="1861675" y="769490"/>
                        <a:pt x="1857682" y="770276"/>
                        <a:pt x="1857301" y="771353"/>
                      </a:cubicBezTo>
                      <a:cubicBezTo>
                        <a:pt x="1853435" y="782268"/>
                        <a:pt x="1853536" y="792688"/>
                        <a:pt x="1857745" y="802271"/>
                      </a:cubicBezTo>
                      <a:cubicBezTo>
                        <a:pt x="1861446" y="810790"/>
                        <a:pt x="1864932" y="820018"/>
                        <a:pt x="1867341" y="828638"/>
                      </a:cubicBezTo>
                      <a:cubicBezTo>
                        <a:pt x="1857897" y="826217"/>
                        <a:pt x="1862600" y="821261"/>
                        <a:pt x="1852497" y="822174"/>
                      </a:cubicBezTo>
                      <a:cubicBezTo>
                        <a:pt x="1848542" y="822541"/>
                        <a:pt x="1846044" y="825469"/>
                        <a:pt x="1842216" y="825812"/>
                      </a:cubicBezTo>
                      <a:cubicBezTo>
                        <a:pt x="1839060" y="826078"/>
                        <a:pt x="1834357" y="823492"/>
                        <a:pt x="1831492" y="823986"/>
                      </a:cubicBezTo>
                      <a:cubicBezTo>
                        <a:pt x="1823696" y="825381"/>
                        <a:pt x="1823543" y="832619"/>
                        <a:pt x="1816609" y="834140"/>
                      </a:cubicBezTo>
                      <a:cubicBezTo>
                        <a:pt x="1807204" y="836244"/>
                        <a:pt x="1806912" y="823289"/>
                        <a:pt x="1801664" y="830844"/>
                      </a:cubicBezTo>
                      <a:cubicBezTo>
                        <a:pt x="1800485" y="826484"/>
                        <a:pt x="1795414" y="820107"/>
                        <a:pt x="1794261" y="826357"/>
                      </a:cubicBezTo>
                      <a:cubicBezTo>
                        <a:pt x="1788708" y="823403"/>
                        <a:pt x="1785260" y="808318"/>
                        <a:pt x="1787073" y="800433"/>
                      </a:cubicBezTo>
                      <a:cubicBezTo>
                        <a:pt x="1789570" y="789392"/>
                        <a:pt x="1796048" y="782407"/>
                        <a:pt x="1797531" y="770694"/>
                      </a:cubicBezTo>
                      <a:cubicBezTo>
                        <a:pt x="1798495" y="762809"/>
                        <a:pt x="1797557" y="762873"/>
                        <a:pt x="1800422" y="755457"/>
                      </a:cubicBezTo>
                      <a:cubicBezTo>
                        <a:pt x="1803426" y="747661"/>
                        <a:pt x="1805061" y="739726"/>
                        <a:pt x="1805796" y="731207"/>
                      </a:cubicBezTo>
                      <a:cubicBezTo>
                        <a:pt x="1806430" y="723296"/>
                        <a:pt x="1802640" y="715082"/>
                        <a:pt x="1807356" y="707147"/>
                      </a:cubicBezTo>
                      <a:cubicBezTo>
                        <a:pt x="1804212" y="709226"/>
                        <a:pt x="1805543" y="706221"/>
                        <a:pt x="1803388" y="710696"/>
                      </a:cubicBezTo>
                      <a:cubicBezTo>
                        <a:pt x="1801727" y="702076"/>
                        <a:pt x="1794273" y="693608"/>
                        <a:pt x="1793690" y="685559"/>
                      </a:cubicBezTo>
                      <a:cubicBezTo>
                        <a:pt x="1793069" y="677509"/>
                        <a:pt x="1800916" y="676748"/>
                        <a:pt x="1793285" y="669814"/>
                      </a:cubicBezTo>
                      <a:cubicBezTo>
                        <a:pt x="1787365" y="664465"/>
                        <a:pt x="1760009" y="671399"/>
                        <a:pt x="1759844" y="676355"/>
                      </a:cubicBezTo>
                      <a:cubicBezTo>
                        <a:pt x="1753683" y="677864"/>
                        <a:pt x="1750894" y="672540"/>
                        <a:pt x="1748549" y="664287"/>
                      </a:cubicBezTo>
                      <a:cubicBezTo>
                        <a:pt x="1747573" y="660903"/>
                        <a:pt x="1743136" y="647301"/>
                        <a:pt x="1743263" y="645336"/>
                      </a:cubicBezTo>
                      <a:cubicBezTo>
                        <a:pt x="1743593" y="637565"/>
                        <a:pt x="1746534" y="642040"/>
                        <a:pt x="1748942" y="633154"/>
                      </a:cubicBezTo>
                      <a:cubicBezTo>
                        <a:pt x="1750375" y="627931"/>
                        <a:pt x="1751832" y="619730"/>
                        <a:pt x="1742642" y="625003"/>
                      </a:cubicBezTo>
                      <a:cubicBezTo>
                        <a:pt x="1741717" y="621669"/>
                        <a:pt x="1741286" y="612985"/>
                        <a:pt x="1743821" y="610234"/>
                      </a:cubicBezTo>
                      <a:cubicBezTo>
                        <a:pt x="1746762" y="607078"/>
                        <a:pt x="1751997" y="609183"/>
                        <a:pt x="1757753" y="605912"/>
                      </a:cubicBezTo>
                      <a:cubicBezTo>
                        <a:pt x="1771684" y="598027"/>
                        <a:pt x="1767944" y="583322"/>
                        <a:pt x="1773243" y="570456"/>
                      </a:cubicBezTo>
                      <a:cubicBezTo>
                        <a:pt x="1775144" y="565892"/>
                        <a:pt x="1775652" y="562850"/>
                        <a:pt x="1778517" y="559212"/>
                      </a:cubicBezTo>
                      <a:cubicBezTo>
                        <a:pt x="1780608" y="556613"/>
                        <a:pt x="1783524" y="560885"/>
                        <a:pt x="1785476" y="557690"/>
                      </a:cubicBezTo>
                      <a:cubicBezTo>
                        <a:pt x="1789431" y="551200"/>
                        <a:pt x="1783397" y="545344"/>
                        <a:pt x="1782345" y="539132"/>
                      </a:cubicBezTo>
                      <a:cubicBezTo>
                        <a:pt x="1781217" y="532414"/>
                        <a:pt x="1781737" y="524199"/>
                        <a:pt x="1781458" y="516986"/>
                      </a:cubicBezTo>
                      <a:cubicBezTo>
                        <a:pt x="1781293" y="513158"/>
                        <a:pt x="1783676" y="505806"/>
                        <a:pt x="1785894" y="501559"/>
                      </a:cubicBezTo>
                      <a:cubicBezTo>
                        <a:pt x="1787428" y="498605"/>
                        <a:pt x="1791256" y="498174"/>
                        <a:pt x="1792702" y="495728"/>
                      </a:cubicBezTo>
                      <a:cubicBezTo>
                        <a:pt x="1794818" y="492204"/>
                        <a:pt x="1794362" y="487183"/>
                        <a:pt x="1796137" y="483520"/>
                      </a:cubicBezTo>
                      <a:cubicBezTo>
                        <a:pt x="1799484" y="476865"/>
                        <a:pt x="1803515" y="472973"/>
                        <a:pt x="1809941" y="468651"/>
                      </a:cubicBezTo>
                      <a:cubicBezTo>
                        <a:pt x="1807710" y="465621"/>
                        <a:pt x="1809891" y="463187"/>
                        <a:pt x="1813770" y="461108"/>
                      </a:cubicBezTo>
                      <a:cubicBezTo>
                        <a:pt x="1815608" y="467041"/>
                        <a:pt x="1817699" y="474482"/>
                        <a:pt x="1822136" y="478779"/>
                      </a:cubicBezTo>
                      <a:cubicBezTo>
                        <a:pt x="1825800" y="469918"/>
                        <a:pt x="1819474" y="463542"/>
                        <a:pt x="1817231" y="455112"/>
                      </a:cubicBezTo>
                      <a:cubicBezTo>
                        <a:pt x="1814391" y="444274"/>
                        <a:pt x="1822035" y="431546"/>
                        <a:pt x="1818093" y="422330"/>
                      </a:cubicBezTo>
                      <a:cubicBezTo>
                        <a:pt x="1811805" y="425183"/>
                        <a:pt x="1805391" y="420467"/>
                        <a:pt x="1806430" y="413710"/>
                      </a:cubicBezTo>
                      <a:cubicBezTo>
                        <a:pt x="1806405" y="413736"/>
                        <a:pt x="1808534" y="414763"/>
                        <a:pt x="1808940" y="414763"/>
                      </a:cubicBezTo>
                      <a:cubicBezTo>
                        <a:pt x="1809282" y="414154"/>
                        <a:pt x="1808560" y="412760"/>
                        <a:pt x="1809473" y="412240"/>
                      </a:cubicBezTo>
                      <a:cubicBezTo>
                        <a:pt x="1819335" y="419783"/>
                        <a:pt x="1827245" y="423814"/>
                        <a:pt x="1823087" y="405826"/>
                      </a:cubicBezTo>
                      <a:cubicBezTo>
                        <a:pt x="1821972" y="400869"/>
                        <a:pt x="1818245" y="400844"/>
                        <a:pt x="1818245" y="396065"/>
                      </a:cubicBezTo>
                      <a:cubicBezTo>
                        <a:pt x="1818245" y="399601"/>
                        <a:pt x="1823670" y="389739"/>
                        <a:pt x="1823024" y="391045"/>
                      </a:cubicBezTo>
                      <a:cubicBezTo>
                        <a:pt x="1824735" y="387533"/>
                        <a:pt x="1824760" y="382336"/>
                        <a:pt x="1827803" y="379104"/>
                      </a:cubicBezTo>
                      <a:cubicBezTo>
                        <a:pt x="1829438" y="377417"/>
                        <a:pt x="1834306" y="378445"/>
                        <a:pt x="1835130" y="376936"/>
                      </a:cubicBezTo>
                      <a:cubicBezTo>
                        <a:pt x="1836689" y="374033"/>
                        <a:pt x="1834838" y="371561"/>
                        <a:pt x="1835840" y="369026"/>
                      </a:cubicBezTo>
                      <a:cubicBezTo>
                        <a:pt x="1838375" y="362573"/>
                        <a:pt x="1835637" y="364259"/>
                        <a:pt x="1840682" y="359303"/>
                      </a:cubicBezTo>
                      <a:cubicBezTo>
                        <a:pt x="1842482" y="357528"/>
                        <a:pt x="1847071" y="357820"/>
                        <a:pt x="1849150" y="355500"/>
                      </a:cubicBezTo>
                      <a:cubicBezTo>
                        <a:pt x="1851964" y="352420"/>
                        <a:pt x="1849682" y="347323"/>
                        <a:pt x="1852078" y="344560"/>
                      </a:cubicBezTo>
                      <a:cubicBezTo>
                        <a:pt x="1857973" y="337702"/>
                        <a:pt x="1860027" y="344636"/>
                        <a:pt x="1859076" y="351583"/>
                      </a:cubicBezTo>
                      <a:cubicBezTo>
                        <a:pt x="1861370" y="352711"/>
                        <a:pt x="1869838" y="357427"/>
                        <a:pt x="1873755" y="356184"/>
                      </a:cubicBezTo>
                      <a:cubicBezTo>
                        <a:pt x="1876886" y="355208"/>
                        <a:pt x="1884264" y="344611"/>
                        <a:pt x="1886457" y="342431"/>
                      </a:cubicBezTo>
                      <a:cubicBezTo>
                        <a:pt x="1890970" y="337892"/>
                        <a:pt x="1891959" y="336574"/>
                        <a:pt x="1893264" y="328981"/>
                      </a:cubicBezTo>
                      <a:cubicBezTo>
                        <a:pt x="1894355" y="322376"/>
                        <a:pt x="1893315" y="316608"/>
                        <a:pt x="1900668" y="314922"/>
                      </a:cubicBezTo>
                      <a:cubicBezTo>
                        <a:pt x="1900693" y="315924"/>
                        <a:pt x="1900173" y="317065"/>
                        <a:pt x="1900642" y="318041"/>
                      </a:cubicBezTo>
                      <a:cubicBezTo>
                        <a:pt x="1908971" y="309865"/>
                        <a:pt x="1921166" y="322832"/>
                        <a:pt x="1928898" y="323150"/>
                      </a:cubicBezTo>
                      <a:cubicBezTo>
                        <a:pt x="1933031" y="323340"/>
                        <a:pt x="1947989" y="316164"/>
                        <a:pt x="1939166" y="323808"/>
                      </a:cubicBezTo>
                      <a:cubicBezTo>
                        <a:pt x="1940383" y="329247"/>
                        <a:pt x="1943692" y="334115"/>
                        <a:pt x="1949295" y="336016"/>
                      </a:cubicBezTo>
                      <a:cubicBezTo>
                        <a:pt x="1953972" y="337626"/>
                        <a:pt x="1960247" y="335433"/>
                        <a:pt x="1964938" y="335040"/>
                      </a:cubicBezTo>
                      <a:cubicBezTo>
                        <a:pt x="1968335" y="334761"/>
                        <a:pt x="1972442" y="333329"/>
                        <a:pt x="1975852" y="333684"/>
                      </a:cubicBezTo>
                      <a:cubicBezTo>
                        <a:pt x="1978476" y="333950"/>
                        <a:pt x="1976714" y="337956"/>
                        <a:pt x="1978552" y="338209"/>
                      </a:cubicBezTo>
                      <a:cubicBezTo>
                        <a:pt x="1985968" y="339211"/>
                        <a:pt x="1997174" y="338069"/>
                        <a:pt x="2005566" y="339160"/>
                      </a:cubicBezTo>
                      <a:cubicBezTo>
                        <a:pt x="2012627" y="340073"/>
                        <a:pt x="2021310" y="340630"/>
                        <a:pt x="2028244" y="343685"/>
                      </a:cubicBezTo>
                      <a:cubicBezTo>
                        <a:pt x="2031781" y="345245"/>
                        <a:pt x="2035812" y="350429"/>
                        <a:pt x="2039044" y="351532"/>
                      </a:cubicBezTo>
                      <a:cubicBezTo>
                        <a:pt x="2049781" y="355234"/>
                        <a:pt x="2045586" y="347653"/>
                        <a:pt x="2052127" y="344940"/>
                      </a:cubicBezTo>
                      <a:cubicBezTo>
                        <a:pt x="2056259" y="343204"/>
                        <a:pt x="2064055" y="346499"/>
                        <a:pt x="2069341" y="346233"/>
                      </a:cubicBezTo>
                      <a:cubicBezTo>
                        <a:pt x="2069316" y="345181"/>
                        <a:pt x="2069037" y="343939"/>
                        <a:pt x="2069037" y="342887"/>
                      </a:cubicBezTo>
                      <a:cubicBezTo>
                        <a:pt x="2076111" y="344154"/>
                        <a:pt x="2123584" y="358732"/>
                        <a:pt x="2124522" y="351317"/>
                      </a:cubicBezTo>
                      <a:cubicBezTo>
                        <a:pt x="2130696" y="348135"/>
                        <a:pt x="2137338" y="345257"/>
                        <a:pt x="2143245" y="342164"/>
                      </a:cubicBezTo>
                      <a:cubicBezTo>
                        <a:pt x="2146237" y="340618"/>
                        <a:pt x="2150104" y="340643"/>
                        <a:pt x="2152474" y="338146"/>
                      </a:cubicBezTo>
                      <a:cubicBezTo>
                        <a:pt x="2154882" y="335560"/>
                        <a:pt x="2153425" y="330565"/>
                        <a:pt x="2156391" y="328284"/>
                      </a:cubicBezTo>
                      <a:cubicBezTo>
                        <a:pt x="2160194" y="325381"/>
                        <a:pt x="2168459" y="327421"/>
                        <a:pt x="2170614" y="326154"/>
                      </a:cubicBezTo>
                      <a:cubicBezTo>
                        <a:pt x="2178930" y="321350"/>
                        <a:pt x="2168459" y="323175"/>
                        <a:pt x="2168687" y="319714"/>
                      </a:cubicBezTo>
                      <a:cubicBezTo>
                        <a:pt x="2169385" y="309332"/>
                        <a:pt x="2175469" y="313439"/>
                        <a:pt x="2181744" y="311170"/>
                      </a:cubicBezTo>
                      <a:cubicBezTo>
                        <a:pt x="2187296" y="309142"/>
                        <a:pt x="2189160" y="305149"/>
                        <a:pt x="2191023" y="302842"/>
                      </a:cubicBezTo>
                      <a:cubicBezTo>
                        <a:pt x="2190922" y="302981"/>
                        <a:pt x="2190757" y="298405"/>
                        <a:pt x="2191606" y="297175"/>
                      </a:cubicBezTo>
                      <a:cubicBezTo>
                        <a:pt x="2193926" y="293803"/>
                        <a:pt x="2198680" y="292485"/>
                        <a:pt x="2200759" y="291382"/>
                      </a:cubicBezTo>
                      <a:cubicBezTo>
                        <a:pt x="2203180" y="290152"/>
                        <a:pt x="2204612" y="281431"/>
                        <a:pt x="2207630" y="291369"/>
                      </a:cubicBezTo>
                      <a:lnTo>
                        <a:pt x="2207630" y="291369"/>
                      </a:lnTo>
                      <a:close/>
                      <a:moveTo>
                        <a:pt x="482177" y="263189"/>
                      </a:moveTo>
                      <a:cubicBezTo>
                        <a:pt x="493535" y="272925"/>
                        <a:pt x="475776" y="299381"/>
                        <a:pt x="462161" y="283282"/>
                      </a:cubicBezTo>
                      <a:cubicBezTo>
                        <a:pt x="457902" y="278249"/>
                        <a:pt x="456342" y="267322"/>
                        <a:pt x="461438" y="262682"/>
                      </a:cubicBezTo>
                      <a:cubicBezTo>
                        <a:pt x="460957" y="263113"/>
                        <a:pt x="475027" y="259779"/>
                        <a:pt x="473418" y="259716"/>
                      </a:cubicBezTo>
                      <a:cubicBezTo>
                        <a:pt x="477259" y="259893"/>
                        <a:pt x="479414" y="257447"/>
                        <a:pt x="482177" y="263189"/>
                      </a:cubicBezTo>
                      <a:lnTo>
                        <a:pt x="482177" y="263189"/>
                      </a:lnTo>
                      <a:close/>
                      <a:moveTo>
                        <a:pt x="2429012" y="253276"/>
                      </a:moveTo>
                      <a:cubicBezTo>
                        <a:pt x="2428429" y="258664"/>
                        <a:pt x="2425311" y="259767"/>
                        <a:pt x="2422649" y="263291"/>
                      </a:cubicBezTo>
                      <a:cubicBezTo>
                        <a:pt x="2420988" y="265535"/>
                        <a:pt x="2414232" y="272811"/>
                        <a:pt x="2413953" y="274953"/>
                      </a:cubicBezTo>
                      <a:cubicBezTo>
                        <a:pt x="2412837" y="283890"/>
                        <a:pt x="2421280" y="280582"/>
                        <a:pt x="2425539" y="287313"/>
                      </a:cubicBezTo>
                      <a:cubicBezTo>
                        <a:pt x="2425717" y="287630"/>
                        <a:pt x="2427326" y="301029"/>
                        <a:pt x="2427251" y="302588"/>
                      </a:cubicBezTo>
                      <a:cubicBezTo>
                        <a:pt x="2426845" y="312767"/>
                        <a:pt x="2425565" y="318231"/>
                        <a:pt x="2419087" y="324759"/>
                      </a:cubicBezTo>
                      <a:cubicBezTo>
                        <a:pt x="2411417" y="332467"/>
                        <a:pt x="2389982" y="339705"/>
                        <a:pt x="2403013" y="351013"/>
                      </a:cubicBezTo>
                      <a:cubicBezTo>
                        <a:pt x="2417946" y="363955"/>
                        <a:pt x="2416171" y="343964"/>
                        <a:pt x="2423321" y="336358"/>
                      </a:cubicBezTo>
                      <a:cubicBezTo>
                        <a:pt x="2427440" y="331896"/>
                        <a:pt x="2436124" y="333379"/>
                        <a:pt x="2438368" y="329234"/>
                      </a:cubicBezTo>
                      <a:cubicBezTo>
                        <a:pt x="2442526" y="321565"/>
                        <a:pt x="2432042" y="325748"/>
                        <a:pt x="2432220" y="321350"/>
                      </a:cubicBezTo>
                      <a:cubicBezTo>
                        <a:pt x="2432486" y="315176"/>
                        <a:pt x="2450448" y="304452"/>
                        <a:pt x="2455228" y="302259"/>
                      </a:cubicBezTo>
                      <a:cubicBezTo>
                        <a:pt x="2458358" y="300839"/>
                        <a:pt x="2461845" y="300788"/>
                        <a:pt x="2464304" y="300306"/>
                      </a:cubicBezTo>
                      <a:cubicBezTo>
                        <a:pt x="2467067" y="299761"/>
                        <a:pt x="2470630" y="297429"/>
                        <a:pt x="2474078" y="298544"/>
                      </a:cubicBezTo>
                      <a:cubicBezTo>
                        <a:pt x="2481480" y="300940"/>
                        <a:pt x="2475611" y="299901"/>
                        <a:pt x="2477133" y="302119"/>
                      </a:cubicBezTo>
                      <a:cubicBezTo>
                        <a:pt x="2476169" y="300763"/>
                        <a:pt x="2476271" y="309294"/>
                        <a:pt x="2476271" y="309345"/>
                      </a:cubicBezTo>
                      <a:cubicBezTo>
                        <a:pt x="2476296" y="310638"/>
                        <a:pt x="2479820" y="311817"/>
                        <a:pt x="2480073" y="314720"/>
                      </a:cubicBezTo>
                      <a:cubicBezTo>
                        <a:pt x="2480213" y="316228"/>
                        <a:pt x="2477957" y="333291"/>
                        <a:pt x="2477094" y="334672"/>
                      </a:cubicBezTo>
                      <a:cubicBezTo>
                        <a:pt x="2472379" y="342342"/>
                        <a:pt x="2444250" y="344509"/>
                        <a:pt x="2446531" y="354372"/>
                      </a:cubicBezTo>
                      <a:cubicBezTo>
                        <a:pt x="2435731" y="351076"/>
                        <a:pt x="2444072" y="362789"/>
                        <a:pt x="2448560" y="365578"/>
                      </a:cubicBezTo>
                      <a:cubicBezTo>
                        <a:pt x="2453250" y="368455"/>
                        <a:pt x="2460083" y="369659"/>
                        <a:pt x="2465318" y="371548"/>
                      </a:cubicBezTo>
                      <a:cubicBezTo>
                        <a:pt x="2474128" y="374730"/>
                        <a:pt x="2472430" y="372550"/>
                        <a:pt x="2475459" y="379927"/>
                      </a:cubicBezTo>
                      <a:cubicBezTo>
                        <a:pt x="2479060" y="388636"/>
                        <a:pt x="2475142" y="385442"/>
                        <a:pt x="2481519" y="391108"/>
                      </a:cubicBezTo>
                      <a:cubicBezTo>
                        <a:pt x="2485271" y="394404"/>
                        <a:pt x="2489834" y="392236"/>
                        <a:pt x="2491317" y="399259"/>
                      </a:cubicBezTo>
                      <a:cubicBezTo>
                        <a:pt x="2486247" y="394404"/>
                        <a:pt x="2478945" y="394429"/>
                        <a:pt x="2472886" y="392490"/>
                      </a:cubicBezTo>
                      <a:cubicBezTo>
                        <a:pt x="2468107" y="390931"/>
                        <a:pt x="2462998" y="386570"/>
                        <a:pt x="2458929" y="385518"/>
                      </a:cubicBezTo>
                      <a:cubicBezTo>
                        <a:pt x="2453757" y="384162"/>
                        <a:pt x="2447634" y="385606"/>
                        <a:pt x="2442703" y="384466"/>
                      </a:cubicBezTo>
                      <a:cubicBezTo>
                        <a:pt x="2437721" y="383338"/>
                        <a:pt x="2434222" y="380435"/>
                        <a:pt x="2428062" y="380194"/>
                      </a:cubicBezTo>
                      <a:cubicBezTo>
                        <a:pt x="2411240" y="379535"/>
                        <a:pt x="2419137" y="393872"/>
                        <a:pt x="2418605" y="405319"/>
                      </a:cubicBezTo>
                      <a:cubicBezTo>
                        <a:pt x="2418073" y="417729"/>
                        <a:pt x="2421711" y="427148"/>
                        <a:pt x="2426566" y="439444"/>
                      </a:cubicBezTo>
                      <a:cubicBezTo>
                        <a:pt x="2432917" y="455581"/>
                        <a:pt x="2443616" y="470894"/>
                        <a:pt x="2457471" y="481378"/>
                      </a:cubicBezTo>
                      <a:cubicBezTo>
                        <a:pt x="2452299" y="479020"/>
                        <a:pt x="2445657" y="480592"/>
                        <a:pt x="2441791" y="476295"/>
                      </a:cubicBezTo>
                      <a:cubicBezTo>
                        <a:pt x="2442627" y="475978"/>
                        <a:pt x="2444009" y="476104"/>
                        <a:pt x="2444744" y="475787"/>
                      </a:cubicBezTo>
                      <a:cubicBezTo>
                        <a:pt x="2440586" y="469069"/>
                        <a:pt x="2431675" y="470096"/>
                        <a:pt x="2426439" y="464695"/>
                      </a:cubicBezTo>
                      <a:cubicBezTo>
                        <a:pt x="2421293" y="459333"/>
                        <a:pt x="2420418" y="448685"/>
                        <a:pt x="2415220" y="443209"/>
                      </a:cubicBezTo>
                      <a:cubicBezTo>
                        <a:pt x="2406550" y="434082"/>
                        <a:pt x="2402087" y="437162"/>
                        <a:pt x="2401581" y="424384"/>
                      </a:cubicBezTo>
                      <a:cubicBezTo>
                        <a:pt x="2401276" y="416233"/>
                        <a:pt x="2406068" y="397307"/>
                        <a:pt x="2403583" y="391007"/>
                      </a:cubicBezTo>
                      <a:cubicBezTo>
                        <a:pt x="2401390" y="385454"/>
                        <a:pt x="2393721" y="384998"/>
                        <a:pt x="2391655" y="375643"/>
                      </a:cubicBezTo>
                      <a:cubicBezTo>
                        <a:pt x="2389500" y="365984"/>
                        <a:pt x="2397461" y="359163"/>
                        <a:pt x="2396129" y="351469"/>
                      </a:cubicBezTo>
                      <a:cubicBezTo>
                        <a:pt x="2395901" y="349998"/>
                        <a:pt x="2389753" y="350860"/>
                        <a:pt x="2389018" y="349567"/>
                      </a:cubicBezTo>
                      <a:cubicBezTo>
                        <a:pt x="2387966" y="347780"/>
                        <a:pt x="2389500" y="344776"/>
                        <a:pt x="2388993" y="344027"/>
                      </a:cubicBezTo>
                      <a:cubicBezTo>
                        <a:pt x="2387116" y="341201"/>
                        <a:pt x="2388523" y="339502"/>
                        <a:pt x="2387307" y="336967"/>
                      </a:cubicBezTo>
                      <a:cubicBezTo>
                        <a:pt x="2385976" y="334190"/>
                        <a:pt x="2382401" y="340098"/>
                        <a:pt x="2380436" y="336181"/>
                      </a:cubicBezTo>
                      <a:cubicBezTo>
                        <a:pt x="2381184" y="337651"/>
                        <a:pt x="2380867" y="325520"/>
                        <a:pt x="2380512" y="327054"/>
                      </a:cubicBezTo>
                      <a:cubicBezTo>
                        <a:pt x="2383060" y="316038"/>
                        <a:pt x="2390134" y="306619"/>
                        <a:pt x="2391744" y="296288"/>
                      </a:cubicBezTo>
                      <a:cubicBezTo>
                        <a:pt x="2393569" y="284220"/>
                        <a:pt x="2411760" y="249841"/>
                        <a:pt x="2429012" y="253276"/>
                      </a:cubicBezTo>
                      <a:lnTo>
                        <a:pt x="2429012" y="253276"/>
                      </a:lnTo>
                      <a:close/>
                      <a:moveTo>
                        <a:pt x="2468918" y="222675"/>
                      </a:moveTo>
                      <a:cubicBezTo>
                        <a:pt x="2475193" y="235542"/>
                        <a:pt x="2476549" y="239877"/>
                        <a:pt x="2469197" y="254024"/>
                      </a:cubicBezTo>
                      <a:cubicBezTo>
                        <a:pt x="2462973" y="266067"/>
                        <a:pt x="2454125" y="260794"/>
                        <a:pt x="2444706" y="267816"/>
                      </a:cubicBezTo>
                      <a:cubicBezTo>
                        <a:pt x="2446088" y="263177"/>
                        <a:pt x="2444389" y="250830"/>
                        <a:pt x="2439407" y="247851"/>
                      </a:cubicBezTo>
                      <a:cubicBezTo>
                        <a:pt x="2448775" y="237380"/>
                        <a:pt x="2456736" y="219633"/>
                        <a:pt x="2468918" y="222675"/>
                      </a:cubicBezTo>
                      <a:lnTo>
                        <a:pt x="2468918" y="222675"/>
                      </a:lnTo>
                      <a:close/>
                      <a:moveTo>
                        <a:pt x="52709" y="200758"/>
                      </a:moveTo>
                      <a:cubicBezTo>
                        <a:pt x="51530" y="201924"/>
                        <a:pt x="53089" y="203610"/>
                        <a:pt x="50541" y="202418"/>
                      </a:cubicBezTo>
                      <a:cubicBezTo>
                        <a:pt x="50541" y="203318"/>
                        <a:pt x="50541" y="204244"/>
                        <a:pt x="50541" y="205169"/>
                      </a:cubicBezTo>
                      <a:cubicBezTo>
                        <a:pt x="55181" y="204167"/>
                        <a:pt x="71052" y="212940"/>
                        <a:pt x="66780" y="219265"/>
                      </a:cubicBezTo>
                      <a:cubicBezTo>
                        <a:pt x="69315" y="218796"/>
                        <a:pt x="68681" y="219455"/>
                        <a:pt x="71179" y="219798"/>
                      </a:cubicBezTo>
                      <a:cubicBezTo>
                        <a:pt x="70963" y="219215"/>
                        <a:pt x="69822" y="218023"/>
                        <a:pt x="69822" y="217490"/>
                      </a:cubicBezTo>
                      <a:cubicBezTo>
                        <a:pt x="75742" y="221294"/>
                        <a:pt x="85174" y="226402"/>
                        <a:pt x="88051" y="232892"/>
                      </a:cubicBezTo>
                      <a:cubicBezTo>
                        <a:pt x="88330" y="231523"/>
                        <a:pt x="88406" y="230281"/>
                        <a:pt x="88508" y="228836"/>
                      </a:cubicBezTo>
                      <a:cubicBezTo>
                        <a:pt x="100487" y="235428"/>
                        <a:pt x="93363" y="244783"/>
                        <a:pt x="81928" y="239903"/>
                      </a:cubicBezTo>
                      <a:cubicBezTo>
                        <a:pt x="82157" y="239408"/>
                        <a:pt x="83297" y="238939"/>
                        <a:pt x="83424" y="238407"/>
                      </a:cubicBezTo>
                      <a:cubicBezTo>
                        <a:pt x="73029" y="230522"/>
                        <a:pt x="62926" y="225287"/>
                        <a:pt x="52620" y="222536"/>
                      </a:cubicBezTo>
                      <a:cubicBezTo>
                        <a:pt x="46624" y="220926"/>
                        <a:pt x="29650" y="204979"/>
                        <a:pt x="42948" y="205169"/>
                      </a:cubicBezTo>
                      <a:cubicBezTo>
                        <a:pt x="41959" y="202165"/>
                        <a:pt x="43633" y="201315"/>
                        <a:pt x="43760" y="198095"/>
                      </a:cubicBezTo>
                      <a:cubicBezTo>
                        <a:pt x="46688" y="199705"/>
                        <a:pt x="49400" y="199566"/>
                        <a:pt x="52709" y="200758"/>
                      </a:cubicBezTo>
                      <a:lnTo>
                        <a:pt x="52709" y="200758"/>
                      </a:lnTo>
                      <a:close/>
                      <a:moveTo>
                        <a:pt x="969006" y="113873"/>
                      </a:moveTo>
                      <a:cubicBezTo>
                        <a:pt x="974242" y="118056"/>
                        <a:pt x="978539" y="123608"/>
                        <a:pt x="973063" y="128438"/>
                      </a:cubicBezTo>
                      <a:cubicBezTo>
                        <a:pt x="974483" y="128603"/>
                        <a:pt x="975307" y="128755"/>
                        <a:pt x="976384" y="128730"/>
                      </a:cubicBezTo>
                      <a:cubicBezTo>
                        <a:pt x="974685" y="139010"/>
                        <a:pt x="963593" y="152029"/>
                        <a:pt x="953300" y="142598"/>
                      </a:cubicBezTo>
                      <a:cubicBezTo>
                        <a:pt x="956862" y="137223"/>
                        <a:pt x="961844" y="132418"/>
                        <a:pt x="967016" y="140012"/>
                      </a:cubicBezTo>
                      <a:cubicBezTo>
                        <a:pt x="966382" y="130111"/>
                        <a:pt x="942107" y="132418"/>
                        <a:pt x="945187" y="119374"/>
                      </a:cubicBezTo>
                      <a:cubicBezTo>
                        <a:pt x="945783" y="116877"/>
                        <a:pt x="956938" y="108194"/>
                        <a:pt x="958916" y="107002"/>
                      </a:cubicBezTo>
                      <a:cubicBezTo>
                        <a:pt x="969222" y="100942"/>
                        <a:pt x="959803" y="108168"/>
                        <a:pt x="969006" y="113873"/>
                      </a:cubicBezTo>
                      <a:lnTo>
                        <a:pt x="969006" y="113873"/>
                      </a:lnTo>
                      <a:close/>
                      <a:moveTo>
                        <a:pt x="1580383" y="95783"/>
                      </a:moveTo>
                      <a:cubicBezTo>
                        <a:pt x="1593693" y="95733"/>
                        <a:pt x="1608968" y="93172"/>
                        <a:pt x="1624180" y="95517"/>
                      </a:cubicBezTo>
                      <a:cubicBezTo>
                        <a:pt x="1633282" y="96899"/>
                        <a:pt x="1642320" y="106977"/>
                        <a:pt x="1653577" y="108460"/>
                      </a:cubicBezTo>
                      <a:cubicBezTo>
                        <a:pt x="1649140" y="112960"/>
                        <a:pt x="1644678" y="109778"/>
                        <a:pt x="1639227" y="107750"/>
                      </a:cubicBezTo>
                      <a:cubicBezTo>
                        <a:pt x="1639886" y="109778"/>
                        <a:pt x="1640355" y="111566"/>
                        <a:pt x="1640913" y="112960"/>
                      </a:cubicBezTo>
                      <a:cubicBezTo>
                        <a:pt x="1645730" y="115204"/>
                        <a:pt x="1643917" y="114202"/>
                        <a:pt x="1646288" y="117016"/>
                      </a:cubicBezTo>
                      <a:cubicBezTo>
                        <a:pt x="1652271" y="115660"/>
                        <a:pt x="1673745" y="130593"/>
                        <a:pt x="1650357" y="124926"/>
                      </a:cubicBezTo>
                      <a:cubicBezTo>
                        <a:pt x="1653247" y="126372"/>
                        <a:pt x="1679310" y="139061"/>
                        <a:pt x="1663553" y="136500"/>
                      </a:cubicBezTo>
                      <a:cubicBezTo>
                        <a:pt x="1667064" y="138668"/>
                        <a:pt x="1672693" y="139327"/>
                        <a:pt x="1672059" y="142699"/>
                      </a:cubicBezTo>
                      <a:cubicBezTo>
                        <a:pt x="1671400" y="146489"/>
                        <a:pt x="1661918" y="147909"/>
                        <a:pt x="1659345" y="147580"/>
                      </a:cubicBezTo>
                      <a:cubicBezTo>
                        <a:pt x="1650610" y="146363"/>
                        <a:pt x="1651384" y="139974"/>
                        <a:pt x="1646313" y="135524"/>
                      </a:cubicBezTo>
                      <a:cubicBezTo>
                        <a:pt x="1648772" y="144512"/>
                        <a:pt x="1652664" y="145627"/>
                        <a:pt x="1645806" y="147922"/>
                      </a:cubicBezTo>
                      <a:cubicBezTo>
                        <a:pt x="1636768" y="150875"/>
                        <a:pt x="1620491" y="139910"/>
                        <a:pt x="1613899" y="150115"/>
                      </a:cubicBezTo>
                      <a:cubicBezTo>
                        <a:pt x="1616067" y="148898"/>
                        <a:pt x="1621771" y="146641"/>
                        <a:pt x="1624180" y="148163"/>
                      </a:cubicBezTo>
                      <a:cubicBezTo>
                        <a:pt x="1628109" y="150647"/>
                        <a:pt x="1624661" y="151775"/>
                        <a:pt x="1626626" y="153499"/>
                      </a:cubicBezTo>
                      <a:cubicBezTo>
                        <a:pt x="1631038" y="157378"/>
                        <a:pt x="1635982" y="158608"/>
                        <a:pt x="1639328" y="160852"/>
                      </a:cubicBezTo>
                      <a:cubicBezTo>
                        <a:pt x="1645831" y="165276"/>
                        <a:pt x="1644374" y="160877"/>
                        <a:pt x="1641623" y="168420"/>
                      </a:cubicBezTo>
                      <a:cubicBezTo>
                        <a:pt x="1639480" y="174213"/>
                        <a:pt x="1637211" y="178333"/>
                        <a:pt x="1631228" y="174606"/>
                      </a:cubicBezTo>
                      <a:cubicBezTo>
                        <a:pt x="1633915" y="181908"/>
                        <a:pt x="1668231" y="186687"/>
                        <a:pt x="1653437" y="195066"/>
                      </a:cubicBezTo>
                      <a:cubicBezTo>
                        <a:pt x="1657189" y="194318"/>
                        <a:pt x="1659573" y="195535"/>
                        <a:pt x="1662552" y="196016"/>
                      </a:cubicBezTo>
                      <a:cubicBezTo>
                        <a:pt x="1659585" y="197905"/>
                        <a:pt x="1655694" y="199008"/>
                        <a:pt x="1651853" y="199071"/>
                      </a:cubicBezTo>
                      <a:cubicBezTo>
                        <a:pt x="1655440" y="200200"/>
                        <a:pt x="1661601" y="200986"/>
                        <a:pt x="1666114" y="201100"/>
                      </a:cubicBezTo>
                      <a:cubicBezTo>
                        <a:pt x="1663135" y="202228"/>
                        <a:pt x="1660245" y="205093"/>
                        <a:pt x="1657468" y="206703"/>
                      </a:cubicBezTo>
                      <a:cubicBezTo>
                        <a:pt x="1669625" y="211609"/>
                        <a:pt x="1666469" y="212167"/>
                        <a:pt x="1672743" y="222739"/>
                      </a:cubicBezTo>
                      <a:cubicBezTo>
                        <a:pt x="1676863" y="229673"/>
                        <a:pt x="1685230" y="232538"/>
                        <a:pt x="1688323" y="240638"/>
                      </a:cubicBezTo>
                      <a:cubicBezTo>
                        <a:pt x="1699124" y="240372"/>
                        <a:pt x="1681110" y="263126"/>
                        <a:pt x="1672743" y="259564"/>
                      </a:cubicBezTo>
                      <a:cubicBezTo>
                        <a:pt x="1674645" y="260591"/>
                        <a:pt x="1676356" y="262619"/>
                        <a:pt x="1678195" y="263760"/>
                      </a:cubicBezTo>
                      <a:cubicBezTo>
                        <a:pt x="1674341" y="264863"/>
                        <a:pt x="1670310" y="264977"/>
                        <a:pt x="1666405" y="264128"/>
                      </a:cubicBezTo>
                      <a:cubicBezTo>
                        <a:pt x="1669093" y="265484"/>
                        <a:pt x="1672794" y="265915"/>
                        <a:pt x="1674899" y="268653"/>
                      </a:cubicBezTo>
                      <a:cubicBezTo>
                        <a:pt x="1675114" y="268894"/>
                        <a:pt x="1675165" y="273229"/>
                        <a:pt x="1675482" y="273686"/>
                      </a:cubicBezTo>
                      <a:cubicBezTo>
                        <a:pt x="1676686" y="275448"/>
                        <a:pt x="1678803" y="278706"/>
                        <a:pt x="1681516" y="281279"/>
                      </a:cubicBezTo>
                      <a:cubicBezTo>
                        <a:pt x="1683227" y="282863"/>
                        <a:pt x="1687550" y="282141"/>
                        <a:pt x="1689020" y="283358"/>
                      </a:cubicBezTo>
                      <a:cubicBezTo>
                        <a:pt x="1690389" y="284499"/>
                        <a:pt x="1692798" y="290634"/>
                        <a:pt x="1694991" y="292827"/>
                      </a:cubicBezTo>
                      <a:cubicBezTo>
                        <a:pt x="1700556" y="298405"/>
                        <a:pt x="1710634" y="300864"/>
                        <a:pt x="1717010" y="305237"/>
                      </a:cubicBezTo>
                      <a:cubicBezTo>
                        <a:pt x="1716617" y="306290"/>
                        <a:pt x="1715730" y="306657"/>
                        <a:pt x="1715134" y="307557"/>
                      </a:cubicBezTo>
                      <a:cubicBezTo>
                        <a:pt x="1719583" y="310967"/>
                        <a:pt x="1746116" y="320715"/>
                        <a:pt x="1742084" y="328892"/>
                      </a:cubicBezTo>
                      <a:cubicBezTo>
                        <a:pt x="1746116" y="331034"/>
                        <a:pt x="1747637" y="334913"/>
                        <a:pt x="1750856" y="336777"/>
                      </a:cubicBezTo>
                      <a:cubicBezTo>
                        <a:pt x="1752669" y="337829"/>
                        <a:pt x="1757499" y="333798"/>
                        <a:pt x="1759755" y="339020"/>
                      </a:cubicBezTo>
                      <a:cubicBezTo>
                        <a:pt x="1762024" y="344180"/>
                        <a:pt x="1749576" y="354334"/>
                        <a:pt x="1745127" y="355145"/>
                      </a:cubicBezTo>
                      <a:cubicBezTo>
                        <a:pt x="1742059" y="355728"/>
                        <a:pt x="1740031" y="352597"/>
                        <a:pt x="1737419" y="352825"/>
                      </a:cubicBezTo>
                      <a:cubicBezTo>
                        <a:pt x="1734149" y="353104"/>
                        <a:pt x="1730105" y="355119"/>
                        <a:pt x="1726974" y="355246"/>
                      </a:cubicBezTo>
                      <a:cubicBezTo>
                        <a:pt x="1718252" y="355512"/>
                        <a:pt x="1713550" y="353244"/>
                        <a:pt x="1705944" y="350949"/>
                      </a:cubicBezTo>
                      <a:cubicBezTo>
                        <a:pt x="1699960" y="349124"/>
                        <a:pt x="1694585" y="349973"/>
                        <a:pt x="1689844" y="345219"/>
                      </a:cubicBezTo>
                      <a:cubicBezTo>
                        <a:pt x="1685914" y="341264"/>
                        <a:pt x="1686751" y="336371"/>
                        <a:pt x="1681604" y="333354"/>
                      </a:cubicBezTo>
                      <a:cubicBezTo>
                        <a:pt x="1673111" y="328372"/>
                        <a:pt x="1685090" y="344928"/>
                        <a:pt x="1685851" y="348756"/>
                      </a:cubicBezTo>
                      <a:cubicBezTo>
                        <a:pt x="1688032" y="359987"/>
                        <a:pt x="1686878" y="351976"/>
                        <a:pt x="1681047" y="353028"/>
                      </a:cubicBezTo>
                      <a:cubicBezTo>
                        <a:pt x="1670297" y="354993"/>
                        <a:pt x="1670487" y="357401"/>
                        <a:pt x="1665252" y="366516"/>
                      </a:cubicBezTo>
                      <a:cubicBezTo>
                        <a:pt x="1661588" y="372930"/>
                        <a:pt x="1643157" y="400400"/>
                        <a:pt x="1649913" y="404165"/>
                      </a:cubicBezTo>
                      <a:cubicBezTo>
                        <a:pt x="1644652" y="407664"/>
                        <a:pt x="1648113" y="408412"/>
                        <a:pt x="1647847" y="411758"/>
                      </a:cubicBezTo>
                      <a:cubicBezTo>
                        <a:pt x="1647821" y="411987"/>
                        <a:pt x="1650686" y="415485"/>
                        <a:pt x="1650636" y="417247"/>
                      </a:cubicBezTo>
                      <a:cubicBezTo>
                        <a:pt x="1650560" y="419174"/>
                        <a:pt x="1647657" y="420138"/>
                        <a:pt x="1647213" y="421950"/>
                      </a:cubicBezTo>
                      <a:cubicBezTo>
                        <a:pt x="1646643" y="424587"/>
                        <a:pt x="1643752" y="429822"/>
                        <a:pt x="1643841" y="432129"/>
                      </a:cubicBezTo>
                      <a:cubicBezTo>
                        <a:pt x="1643993" y="434728"/>
                        <a:pt x="1647530" y="437682"/>
                        <a:pt x="1647555" y="439190"/>
                      </a:cubicBezTo>
                      <a:cubicBezTo>
                        <a:pt x="1647720" y="442828"/>
                        <a:pt x="1645451" y="448191"/>
                        <a:pt x="1644297" y="453122"/>
                      </a:cubicBezTo>
                      <a:cubicBezTo>
                        <a:pt x="1647961" y="451195"/>
                        <a:pt x="1654071" y="444160"/>
                        <a:pt x="1658267" y="445288"/>
                      </a:cubicBezTo>
                      <a:cubicBezTo>
                        <a:pt x="1661170" y="446061"/>
                        <a:pt x="1652816" y="451398"/>
                        <a:pt x="1652664" y="451461"/>
                      </a:cubicBezTo>
                      <a:cubicBezTo>
                        <a:pt x="1657899" y="454250"/>
                        <a:pt x="1655630" y="458750"/>
                        <a:pt x="1650877" y="459650"/>
                      </a:cubicBezTo>
                      <a:cubicBezTo>
                        <a:pt x="1651510" y="459992"/>
                        <a:pt x="1653551" y="460652"/>
                        <a:pt x="1654274" y="460842"/>
                      </a:cubicBezTo>
                      <a:cubicBezTo>
                        <a:pt x="1653095" y="464581"/>
                        <a:pt x="1651194" y="466052"/>
                        <a:pt x="1647390" y="465950"/>
                      </a:cubicBezTo>
                      <a:cubicBezTo>
                        <a:pt x="1659687" y="468422"/>
                        <a:pt x="1659129" y="475724"/>
                        <a:pt x="1647847" y="473227"/>
                      </a:cubicBezTo>
                      <a:cubicBezTo>
                        <a:pt x="1646719" y="476104"/>
                        <a:pt x="1644450" y="480769"/>
                        <a:pt x="1639709" y="476218"/>
                      </a:cubicBezTo>
                      <a:cubicBezTo>
                        <a:pt x="1638986" y="478222"/>
                        <a:pt x="1637541" y="479223"/>
                        <a:pt x="1636742" y="480757"/>
                      </a:cubicBezTo>
                      <a:cubicBezTo>
                        <a:pt x="1634929" y="467180"/>
                        <a:pt x="1623331" y="487082"/>
                        <a:pt x="1619071" y="493357"/>
                      </a:cubicBezTo>
                      <a:cubicBezTo>
                        <a:pt x="1616675" y="496830"/>
                        <a:pt x="1613696" y="502839"/>
                        <a:pt x="1610426" y="504893"/>
                      </a:cubicBezTo>
                      <a:cubicBezTo>
                        <a:pt x="1605089" y="508303"/>
                        <a:pt x="1596570" y="510014"/>
                        <a:pt x="1599144" y="502370"/>
                      </a:cubicBezTo>
                      <a:cubicBezTo>
                        <a:pt x="1597648" y="503257"/>
                        <a:pt x="1598409" y="501901"/>
                        <a:pt x="1596672" y="503980"/>
                      </a:cubicBezTo>
                      <a:cubicBezTo>
                        <a:pt x="1595037" y="499340"/>
                        <a:pt x="1591297" y="494993"/>
                        <a:pt x="1593706" y="489744"/>
                      </a:cubicBezTo>
                      <a:cubicBezTo>
                        <a:pt x="1588064" y="493649"/>
                        <a:pt x="1593287" y="499594"/>
                        <a:pt x="1592172" y="504272"/>
                      </a:cubicBezTo>
                      <a:cubicBezTo>
                        <a:pt x="1606813" y="508125"/>
                        <a:pt x="1579140" y="521512"/>
                        <a:pt x="1577555" y="524225"/>
                      </a:cubicBezTo>
                      <a:cubicBezTo>
                        <a:pt x="1573436" y="531323"/>
                        <a:pt x="1582157" y="529143"/>
                        <a:pt x="1572789" y="535583"/>
                      </a:cubicBezTo>
                      <a:cubicBezTo>
                        <a:pt x="1566717" y="539779"/>
                        <a:pt x="1560024" y="540996"/>
                        <a:pt x="1554205" y="546079"/>
                      </a:cubicBezTo>
                      <a:cubicBezTo>
                        <a:pt x="1562242" y="549983"/>
                        <a:pt x="1564968" y="540666"/>
                        <a:pt x="1570317" y="547499"/>
                      </a:cubicBezTo>
                      <a:cubicBezTo>
                        <a:pt x="1570546" y="547778"/>
                        <a:pt x="1573043" y="561481"/>
                        <a:pt x="1571788" y="563839"/>
                      </a:cubicBezTo>
                      <a:cubicBezTo>
                        <a:pt x="1569062" y="569138"/>
                        <a:pt x="1561951" y="568250"/>
                        <a:pt x="1558680" y="574018"/>
                      </a:cubicBezTo>
                      <a:cubicBezTo>
                        <a:pt x="1565995" y="568770"/>
                        <a:pt x="1564220" y="575767"/>
                        <a:pt x="1567427" y="576072"/>
                      </a:cubicBezTo>
                      <a:cubicBezTo>
                        <a:pt x="1572194" y="576553"/>
                        <a:pt x="1575794" y="570963"/>
                        <a:pt x="1577873" y="576971"/>
                      </a:cubicBezTo>
                      <a:cubicBezTo>
                        <a:pt x="1579051" y="576312"/>
                        <a:pt x="1580585" y="575273"/>
                        <a:pt x="1581979" y="575108"/>
                      </a:cubicBezTo>
                      <a:cubicBezTo>
                        <a:pt x="1582651" y="580153"/>
                        <a:pt x="1580928" y="592944"/>
                        <a:pt x="1578025" y="597558"/>
                      </a:cubicBezTo>
                      <a:cubicBezTo>
                        <a:pt x="1571876" y="607319"/>
                        <a:pt x="1575869" y="597977"/>
                        <a:pt x="1570115" y="598166"/>
                      </a:cubicBezTo>
                      <a:cubicBezTo>
                        <a:pt x="1563256" y="598408"/>
                        <a:pt x="1559390" y="599384"/>
                        <a:pt x="1559669" y="606292"/>
                      </a:cubicBezTo>
                      <a:cubicBezTo>
                        <a:pt x="1570051" y="595505"/>
                        <a:pt x="1566996" y="622265"/>
                        <a:pt x="1562762" y="629123"/>
                      </a:cubicBezTo>
                      <a:cubicBezTo>
                        <a:pt x="1555790" y="640468"/>
                        <a:pt x="1550225" y="630466"/>
                        <a:pt x="1548856" y="621631"/>
                      </a:cubicBezTo>
                      <a:cubicBezTo>
                        <a:pt x="1546929" y="625066"/>
                        <a:pt x="1545902" y="631734"/>
                        <a:pt x="1545877" y="635613"/>
                      </a:cubicBezTo>
                      <a:cubicBezTo>
                        <a:pt x="1550466" y="635689"/>
                        <a:pt x="1554142" y="641254"/>
                        <a:pt x="1557324" y="645209"/>
                      </a:cubicBezTo>
                      <a:cubicBezTo>
                        <a:pt x="1554788" y="645260"/>
                        <a:pt x="1552418" y="646654"/>
                        <a:pt x="1550085" y="646629"/>
                      </a:cubicBezTo>
                      <a:cubicBezTo>
                        <a:pt x="1552557" y="650901"/>
                        <a:pt x="1551949" y="654235"/>
                        <a:pt x="1547081" y="655731"/>
                      </a:cubicBezTo>
                      <a:cubicBezTo>
                        <a:pt x="1548666" y="654285"/>
                        <a:pt x="1548767" y="653512"/>
                        <a:pt x="1550479" y="651801"/>
                      </a:cubicBezTo>
                      <a:cubicBezTo>
                        <a:pt x="1544254" y="652714"/>
                        <a:pt x="1540908" y="661423"/>
                        <a:pt x="1538981" y="666899"/>
                      </a:cubicBezTo>
                      <a:cubicBezTo>
                        <a:pt x="1538068" y="669612"/>
                        <a:pt x="1539057" y="675024"/>
                        <a:pt x="1537168" y="677230"/>
                      </a:cubicBezTo>
                      <a:cubicBezTo>
                        <a:pt x="1534050" y="680944"/>
                        <a:pt x="1532630" y="678168"/>
                        <a:pt x="1529106" y="680412"/>
                      </a:cubicBezTo>
                      <a:cubicBezTo>
                        <a:pt x="1513273" y="690541"/>
                        <a:pt x="1495336" y="696739"/>
                        <a:pt x="1477665" y="703914"/>
                      </a:cubicBezTo>
                      <a:cubicBezTo>
                        <a:pt x="1467130" y="708186"/>
                        <a:pt x="1457255" y="714651"/>
                        <a:pt x="1446848" y="718670"/>
                      </a:cubicBezTo>
                      <a:cubicBezTo>
                        <a:pt x="1434285" y="723639"/>
                        <a:pt x="1437531" y="721421"/>
                        <a:pt x="1436212" y="711076"/>
                      </a:cubicBezTo>
                      <a:cubicBezTo>
                        <a:pt x="1435173" y="702697"/>
                        <a:pt x="1436719" y="691796"/>
                        <a:pt x="1434564" y="683822"/>
                      </a:cubicBezTo>
                      <a:cubicBezTo>
                        <a:pt x="1431598" y="673060"/>
                        <a:pt x="1427199" y="673491"/>
                        <a:pt x="1430571" y="660763"/>
                      </a:cubicBezTo>
                      <a:cubicBezTo>
                        <a:pt x="1421609" y="664921"/>
                        <a:pt x="1429240" y="677445"/>
                        <a:pt x="1415562" y="668217"/>
                      </a:cubicBezTo>
                      <a:cubicBezTo>
                        <a:pt x="1406663" y="662259"/>
                        <a:pt x="1411759" y="659927"/>
                        <a:pt x="1416830" y="650711"/>
                      </a:cubicBezTo>
                      <a:cubicBezTo>
                        <a:pt x="1405903" y="660814"/>
                        <a:pt x="1397384" y="670638"/>
                        <a:pt x="1398576" y="649139"/>
                      </a:cubicBezTo>
                      <a:cubicBezTo>
                        <a:pt x="1397245" y="657518"/>
                        <a:pt x="1393201" y="660129"/>
                        <a:pt x="1386064" y="664199"/>
                      </a:cubicBezTo>
                      <a:cubicBezTo>
                        <a:pt x="1381919" y="666569"/>
                        <a:pt x="1373781" y="671234"/>
                        <a:pt x="1368684" y="669941"/>
                      </a:cubicBezTo>
                      <a:cubicBezTo>
                        <a:pt x="1358150" y="667216"/>
                        <a:pt x="1365388" y="665010"/>
                        <a:pt x="1363462" y="657898"/>
                      </a:cubicBezTo>
                      <a:cubicBezTo>
                        <a:pt x="1356921" y="633978"/>
                        <a:pt x="1344105" y="664199"/>
                        <a:pt x="1338375" y="647136"/>
                      </a:cubicBezTo>
                      <a:cubicBezTo>
                        <a:pt x="1339858" y="649747"/>
                        <a:pt x="1340695" y="652625"/>
                        <a:pt x="1341912" y="655198"/>
                      </a:cubicBezTo>
                      <a:cubicBezTo>
                        <a:pt x="1334661" y="646844"/>
                        <a:pt x="1322554" y="639619"/>
                        <a:pt x="1318574" y="629478"/>
                      </a:cubicBezTo>
                      <a:cubicBezTo>
                        <a:pt x="1320184" y="636247"/>
                        <a:pt x="1305492" y="645235"/>
                        <a:pt x="1317547" y="646642"/>
                      </a:cubicBezTo>
                      <a:cubicBezTo>
                        <a:pt x="1311310" y="652257"/>
                        <a:pt x="1290749" y="668838"/>
                        <a:pt x="1281977" y="667735"/>
                      </a:cubicBezTo>
                      <a:cubicBezTo>
                        <a:pt x="1271848" y="666468"/>
                        <a:pt x="1270695" y="656555"/>
                        <a:pt x="1258969" y="659115"/>
                      </a:cubicBezTo>
                      <a:cubicBezTo>
                        <a:pt x="1249525" y="661169"/>
                        <a:pt x="1245253" y="674644"/>
                        <a:pt x="1236950" y="676292"/>
                      </a:cubicBezTo>
                      <a:cubicBezTo>
                        <a:pt x="1225047" y="678688"/>
                        <a:pt x="1228735" y="658760"/>
                        <a:pt x="1228381" y="649164"/>
                      </a:cubicBezTo>
                      <a:cubicBezTo>
                        <a:pt x="1228026" y="639454"/>
                        <a:pt x="1226974" y="637502"/>
                        <a:pt x="1224388" y="628324"/>
                      </a:cubicBezTo>
                      <a:cubicBezTo>
                        <a:pt x="1223031" y="623583"/>
                        <a:pt x="1222575" y="620236"/>
                        <a:pt x="1223893" y="615888"/>
                      </a:cubicBezTo>
                      <a:cubicBezTo>
                        <a:pt x="1219849" y="619324"/>
                        <a:pt x="1217238" y="627094"/>
                        <a:pt x="1220306" y="630732"/>
                      </a:cubicBezTo>
                      <a:cubicBezTo>
                        <a:pt x="1214867" y="632622"/>
                        <a:pt x="1211914" y="635639"/>
                        <a:pt x="1206983" y="634929"/>
                      </a:cubicBezTo>
                      <a:cubicBezTo>
                        <a:pt x="1203078" y="634345"/>
                        <a:pt x="1199719" y="628387"/>
                        <a:pt x="1192101" y="629706"/>
                      </a:cubicBezTo>
                      <a:cubicBezTo>
                        <a:pt x="1183240" y="631202"/>
                        <a:pt x="1176255" y="640886"/>
                        <a:pt x="1167102" y="641571"/>
                      </a:cubicBezTo>
                      <a:cubicBezTo>
                        <a:pt x="1160574" y="642078"/>
                        <a:pt x="1156264" y="637514"/>
                        <a:pt x="1149938" y="637046"/>
                      </a:cubicBezTo>
                      <a:cubicBezTo>
                        <a:pt x="1152220" y="630961"/>
                        <a:pt x="1159991" y="629794"/>
                        <a:pt x="1165607" y="627766"/>
                      </a:cubicBezTo>
                      <a:cubicBezTo>
                        <a:pt x="1165366" y="627272"/>
                        <a:pt x="1165112" y="626778"/>
                        <a:pt x="1164871" y="626270"/>
                      </a:cubicBezTo>
                      <a:cubicBezTo>
                        <a:pt x="1160942" y="628514"/>
                        <a:pt x="1155453" y="629224"/>
                        <a:pt x="1151929" y="631861"/>
                      </a:cubicBezTo>
                      <a:cubicBezTo>
                        <a:pt x="1146047" y="636348"/>
                        <a:pt x="1146579" y="643092"/>
                        <a:pt x="1140976" y="638047"/>
                      </a:cubicBezTo>
                      <a:cubicBezTo>
                        <a:pt x="1140925" y="637996"/>
                        <a:pt x="1141217" y="630035"/>
                        <a:pt x="1139797" y="628501"/>
                      </a:cubicBezTo>
                      <a:cubicBezTo>
                        <a:pt x="1133814" y="621897"/>
                        <a:pt x="1128046" y="628717"/>
                        <a:pt x="1121568" y="631163"/>
                      </a:cubicBezTo>
                      <a:cubicBezTo>
                        <a:pt x="1105761" y="637096"/>
                        <a:pt x="1113303" y="627234"/>
                        <a:pt x="1111022" y="616192"/>
                      </a:cubicBezTo>
                      <a:cubicBezTo>
                        <a:pt x="1108613" y="604530"/>
                        <a:pt x="1104556" y="606407"/>
                        <a:pt x="1114926" y="599675"/>
                      </a:cubicBezTo>
                      <a:cubicBezTo>
                        <a:pt x="1107104" y="604289"/>
                        <a:pt x="1101666" y="580724"/>
                        <a:pt x="1101413" y="575285"/>
                      </a:cubicBezTo>
                      <a:cubicBezTo>
                        <a:pt x="1101134" y="568681"/>
                        <a:pt x="1106052" y="564612"/>
                        <a:pt x="1101033" y="557868"/>
                      </a:cubicBezTo>
                      <a:cubicBezTo>
                        <a:pt x="1097686" y="553380"/>
                        <a:pt x="1091196" y="553127"/>
                        <a:pt x="1087088" y="548766"/>
                      </a:cubicBezTo>
                      <a:cubicBezTo>
                        <a:pt x="1087506" y="543974"/>
                        <a:pt x="1095899" y="536559"/>
                        <a:pt x="1097584" y="527736"/>
                      </a:cubicBezTo>
                      <a:cubicBezTo>
                        <a:pt x="1098789" y="521512"/>
                        <a:pt x="1100779" y="515921"/>
                        <a:pt x="1097217" y="510065"/>
                      </a:cubicBezTo>
                      <a:cubicBezTo>
                        <a:pt x="1095708" y="507618"/>
                        <a:pt x="1091804" y="509013"/>
                        <a:pt x="1090409" y="506452"/>
                      </a:cubicBezTo>
                      <a:cubicBezTo>
                        <a:pt x="1089585" y="504956"/>
                        <a:pt x="1090080" y="498149"/>
                        <a:pt x="1089535" y="497413"/>
                      </a:cubicBezTo>
                      <a:cubicBezTo>
                        <a:pt x="1087773" y="494904"/>
                        <a:pt x="1084185" y="496095"/>
                        <a:pt x="1082499" y="494321"/>
                      </a:cubicBezTo>
                      <a:cubicBezTo>
                        <a:pt x="1078481" y="490137"/>
                        <a:pt x="1071458" y="484648"/>
                        <a:pt x="1076744" y="478538"/>
                      </a:cubicBezTo>
                      <a:cubicBezTo>
                        <a:pt x="1071914" y="482886"/>
                        <a:pt x="1073118" y="486752"/>
                        <a:pt x="1065842" y="484674"/>
                      </a:cubicBezTo>
                      <a:cubicBezTo>
                        <a:pt x="1063155" y="483901"/>
                        <a:pt x="1062901" y="478906"/>
                        <a:pt x="1058465" y="477689"/>
                      </a:cubicBezTo>
                      <a:cubicBezTo>
                        <a:pt x="1054395" y="476548"/>
                        <a:pt x="1050732" y="479109"/>
                        <a:pt x="1051518" y="479109"/>
                      </a:cubicBezTo>
                      <a:cubicBezTo>
                        <a:pt x="1049680" y="479134"/>
                        <a:pt x="1048780" y="482455"/>
                        <a:pt x="1043963" y="479438"/>
                      </a:cubicBezTo>
                      <a:cubicBezTo>
                        <a:pt x="1040502" y="477194"/>
                        <a:pt x="1035343" y="467256"/>
                        <a:pt x="1039247" y="463909"/>
                      </a:cubicBezTo>
                      <a:cubicBezTo>
                        <a:pt x="1041719" y="461780"/>
                        <a:pt x="1053204" y="469018"/>
                        <a:pt x="1057958" y="467763"/>
                      </a:cubicBezTo>
                      <a:cubicBezTo>
                        <a:pt x="1054662" y="466052"/>
                        <a:pt x="1050922" y="463352"/>
                        <a:pt x="1046561" y="462097"/>
                      </a:cubicBezTo>
                      <a:cubicBezTo>
                        <a:pt x="1047867" y="461070"/>
                        <a:pt x="1047005" y="460956"/>
                        <a:pt x="1046561" y="459625"/>
                      </a:cubicBezTo>
                      <a:cubicBezTo>
                        <a:pt x="1048273" y="459676"/>
                        <a:pt x="1049921" y="459992"/>
                        <a:pt x="1051632" y="460069"/>
                      </a:cubicBezTo>
                      <a:cubicBezTo>
                        <a:pt x="1047436" y="456113"/>
                        <a:pt x="1040705" y="457685"/>
                        <a:pt x="1035761" y="455087"/>
                      </a:cubicBezTo>
                      <a:cubicBezTo>
                        <a:pt x="1032186" y="453185"/>
                        <a:pt x="1021690" y="443488"/>
                        <a:pt x="1030323" y="440927"/>
                      </a:cubicBezTo>
                      <a:cubicBezTo>
                        <a:pt x="1028954" y="437340"/>
                        <a:pt x="1028421" y="436439"/>
                        <a:pt x="1027787" y="433384"/>
                      </a:cubicBezTo>
                      <a:cubicBezTo>
                        <a:pt x="1024922" y="433575"/>
                        <a:pt x="1026989" y="433068"/>
                        <a:pt x="1025252" y="434411"/>
                      </a:cubicBezTo>
                      <a:cubicBezTo>
                        <a:pt x="1021817" y="427477"/>
                        <a:pt x="1032782" y="429037"/>
                        <a:pt x="1036889" y="431914"/>
                      </a:cubicBezTo>
                      <a:cubicBezTo>
                        <a:pt x="1029676" y="423281"/>
                        <a:pt x="1028421" y="409502"/>
                        <a:pt x="1042492" y="413685"/>
                      </a:cubicBezTo>
                      <a:cubicBezTo>
                        <a:pt x="1035038" y="408171"/>
                        <a:pt x="1032288" y="400172"/>
                        <a:pt x="1025785" y="394962"/>
                      </a:cubicBezTo>
                      <a:cubicBezTo>
                        <a:pt x="1018901" y="389498"/>
                        <a:pt x="1018369" y="393352"/>
                        <a:pt x="1015187" y="386557"/>
                      </a:cubicBezTo>
                      <a:cubicBezTo>
                        <a:pt x="1014223" y="384440"/>
                        <a:pt x="1014946" y="376289"/>
                        <a:pt x="1014464" y="373817"/>
                      </a:cubicBezTo>
                      <a:cubicBezTo>
                        <a:pt x="1013717" y="370103"/>
                        <a:pt x="1012106" y="364272"/>
                        <a:pt x="1011511" y="360900"/>
                      </a:cubicBezTo>
                      <a:cubicBezTo>
                        <a:pt x="1010383" y="354727"/>
                        <a:pt x="1011587" y="355044"/>
                        <a:pt x="1013387" y="350239"/>
                      </a:cubicBezTo>
                      <a:cubicBezTo>
                        <a:pt x="1013894" y="348819"/>
                        <a:pt x="1017976" y="347298"/>
                        <a:pt x="1018851" y="344129"/>
                      </a:cubicBezTo>
                      <a:cubicBezTo>
                        <a:pt x="1020080" y="339806"/>
                        <a:pt x="1014198" y="335091"/>
                        <a:pt x="1015187" y="331427"/>
                      </a:cubicBezTo>
                      <a:cubicBezTo>
                        <a:pt x="1016886" y="325152"/>
                        <a:pt x="1023350" y="327523"/>
                        <a:pt x="1029575" y="323276"/>
                      </a:cubicBezTo>
                      <a:cubicBezTo>
                        <a:pt x="1033872" y="320322"/>
                        <a:pt x="1036724" y="314998"/>
                        <a:pt x="1039995" y="311386"/>
                      </a:cubicBezTo>
                      <a:cubicBezTo>
                        <a:pt x="1031400" y="313579"/>
                        <a:pt x="1030804" y="323783"/>
                        <a:pt x="1019243" y="325038"/>
                      </a:cubicBezTo>
                      <a:cubicBezTo>
                        <a:pt x="1021702" y="317293"/>
                        <a:pt x="1023896" y="304667"/>
                        <a:pt x="1028561" y="298874"/>
                      </a:cubicBezTo>
                      <a:cubicBezTo>
                        <a:pt x="1034024" y="292041"/>
                        <a:pt x="1041453" y="288517"/>
                        <a:pt x="1045902" y="280696"/>
                      </a:cubicBezTo>
                      <a:cubicBezTo>
                        <a:pt x="1044723" y="281482"/>
                        <a:pt x="1042847" y="282622"/>
                        <a:pt x="1041440" y="283675"/>
                      </a:cubicBezTo>
                      <a:cubicBezTo>
                        <a:pt x="1044837" y="280176"/>
                        <a:pt x="1043595" y="273914"/>
                        <a:pt x="1046815" y="271150"/>
                      </a:cubicBezTo>
                      <a:cubicBezTo>
                        <a:pt x="1053191" y="265611"/>
                        <a:pt x="1063852" y="271924"/>
                        <a:pt x="1067959" y="261250"/>
                      </a:cubicBezTo>
                      <a:cubicBezTo>
                        <a:pt x="1066134" y="267740"/>
                        <a:pt x="1058046" y="272710"/>
                        <a:pt x="1059796" y="279174"/>
                      </a:cubicBezTo>
                      <a:cubicBezTo>
                        <a:pt x="1060962" y="283421"/>
                        <a:pt x="1066299" y="281545"/>
                        <a:pt x="1067085" y="283168"/>
                      </a:cubicBezTo>
                      <a:cubicBezTo>
                        <a:pt x="1068821" y="286996"/>
                        <a:pt x="1066603" y="292028"/>
                        <a:pt x="1068479" y="296224"/>
                      </a:cubicBezTo>
                      <a:cubicBezTo>
                        <a:pt x="1070824" y="301599"/>
                        <a:pt x="1078392" y="307507"/>
                        <a:pt x="1081586" y="310485"/>
                      </a:cubicBezTo>
                      <a:cubicBezTo>
                        <a:pt x="1083602" y="312400"/>
                        <a:pt x="1087164" y="312096"/>
                        <a:pt x="1089535" y="314174"/>
                      </a:cubicBezTo>
                      <a:cubicBezTo>
                        <a:pt x="1091715" y="316025"/>
                        <a:pt x="1093490" y="319689"/>
                        <a:pt x="1096101" y="321945"/>
                      </a:cubicBezTo>
                      <a:cubicBezTo>
                        <a:pt x="1098459" y="323973"/>
                        <a:pt x="1102452" y="325533"/>
                        <a:pt x="1104303" y="327219"/>
                      </a:cubicBezTo>
                      <a:cubicBezTo>
                        <a:pt x="1107447" y="330020"/>
                        <a:pt x="1109374" y="334317"/>
                        <a:pt x="1112695" y="337347"/>
                      </a:cubicBezTo>
                      <a:cubicBezTo>
                        <a:pt x="1115560" y="340009"/>
                        <a:pt x="1122316" y="346842"/>
                        <a:pt x="1127564" y="349238"/>
                      </a:cubicBezTo>
                      <a:cubicBezTo>
                        <a:pt x="1133763" y="352064"/>
                        <a:pt x="1147226" y="350112"/>
                        <a:pt x="1152347" y="347083"/>
                      </a:cubicBezTo>
                      <a:cubicBezTo>
                        <a:pt x="1161005" y="341936"/>
                        <a:pt x="1170322" y="334317"/>
                        <a:pt x="1183481" y="335458"/>
                      </a:cubicBezTo>
                      <a:cubicBezTo>
                        <a:pt x="1188120" y="335813"/>
                        <a:pt x="1204574" y="340466"/>
                        <a:pt x="1205309" y="343964"/>
                      </a:cubicBezTo>
                      <a:cubicBezTo>
                        <a:pt x="1212015" y="335978"/>
                        <a:pt x="1215565" y="342177"/>
                        <a:pt x="1222410" y="340808"/>
                      </a:cubicBezTo>
                      <a:cubicBezTo>
                        <a:pt x="1227012" y="339857"/>
                        <a:pt x="1228038" y="338336"/>
                        <a:pt x="1232171" y="336396"/>
                      </a:cubicBezTo>
                      <a:cubicBezTo>
                        <a:pt x="1234782" y="335154"/>
                        <a:pt x="1244277" y="332264"/>
                        <a:pt x="1246064" y="331072"/>
                      </a:cubicBezTo>
                      <a:cubicBezTo>
                        <a:pt x="1251997" y="327066"/>
                        <a:pt x="1252644" y="318979"/>
                        <a:pt x="1255952" y="312096"/>
                      </a:cubicBezTo>
                      <a:cubicBezTo>
                        <a:pt x="1256155" y="311728"/>
                        <a:pt x="1251997" y="311538"/>
                        <a:pt x="1253987" y="308952"/>
                      </a:cubicBezTo>
                      <a:cubicBezTo>
                        <a:pt x="1256079" y="306214"/>
                        <a:pt x="1261390" y="304997"/>
                        <a:pt x="1264344" y="303678"/>
                      </a:cubicBezTo>
                      <a:cubicBezTo>
                        <a:pt x="1276450" y="298278"/>
                        <a:pt x="1290572" y="300078"/>
                        <a:pt x="1302944" y="299546"/>
                      </a:cubicBezTo>
                      <a:cubicBezTo>
                        <a:pt x="1310689" y="299204"/>
                        <a:pt x="1325077" y="300788"/>
                        <a:pt x="1312882" y="310333"/>
                      </a:cubicBezTo>
                      <a:cubicBezTo>
                        <a:pt x="1324380" y="305897"/>
                        <a:pt x="1336955" y="316025"/>
                        <a:pt x="1347134" y="319372"/>
                      </a:cubicBezTo>
                      <a:cubicBezTo>
                        <a:pt x="1349505" y="320145"/>
                        <a:pt x="1351774" y="316988"/>
                        <a:pt x="1353992" y="317825"/>
                      </a:cubicBezTo>
                      <a:cubicBezTo>
                        <a:pt x="1355932" y="318561"/>
                        <a:pt x="1359012" y="323098"/>
                        <a:pt x="1360090" y="323124"/>
                      </a:cubicBezTo>
                      <a:cubicBezTo>
                        <a:pt x="1368558" y="323289"/>
                        <a:pt x="1372044" y="315898"/>
                        <a:pt x="1378927" y="311804"/>
                      </a:cubicBezTo>
                      <a:cubicBezTo>
                        <a:pt x="1385455" y="307950"/>
                        <a:pt x="1390399" y="307405"/>
                        <a:pt x="1398183" y="307063"/>
                      </a:cubicBezTo>
                      <a:cubicBezTo>
                        <a:pt x="1400363" y="306949"/>
                        <a:pt x="1400731" y="310118"/>
                        <a:pt x="1402696" y="309979"/>
                      </a:cubicBezTo>
                      <a:cubicBezTo>
                        <a:pt x="1405256" y="309763"/>
                        <a:pt x="1407969" y="306657"/>
                        <a:pt x="1410733" y="306264"/>
                      </a:cubicBezTo>
                      <a:cubicBezTo>
                        <a:pt x="1414929" y="305681"/>
                        <a:pt x="1416107" y="303767"/>
                        <a:pt x="1420202" y="304261"/>
                      </a:cubicBezTo>
                      <a:cubicBezTo>
                        <a:pt x="1422687" y="304553"/>
                        <a:pt x="1425184" y="309535"/>
                        <a:pt x="1427719" y="309066"/>
                      </a:cubicBezTo>
                      <a:cubicBezTo>
                        <a:pt x="1433449" y="307950"/>
                        <a:pt x="1429190" y="305123"/>
                        <a:pt x="1431535" y="302373"/>
                      </a:cubicBezTo>
                      <a:cubicBezTo>
                        <a:pt x="1438025" y="294830"/>
                        <a:pt x="1437112" y="283725"/>
                        <a:pt x="1442335" y="277539"/>
                      </a:cubicBezTo>
                      <a:cubicBezTo>
                        <a:pt x="1446746" y="272266"/>
                        <a:pt x="1451462" y="277514"/>
                        <a:pt x="1451868" y="268336"/>
                      </a:cubicBezTo>
                      <a:cubicBezTo>
                        <a:pt x="1452134" y="261529"/>
                        <a:pt x="1448141" y="267360"/>
                        <a:pt x="1446848" y="263037"/>
                      </a:cubicBezTo>
                      <a:cubicBezTo>
                        <a:pt x="1445656" y="259146"/>
                        <a:pt x="1444604" y="252884"/>
                        <a:pt x="1447520" y="249182"/>
                      </a:cubicBezTo>
                      <a:cubicBezTo>
                        <a:pt x="1449662" y="246520"/>
                        <a:pt x="1454086" y="248548"/>
                        <a:pt x="1456520" y="246811"/>
                      </a:cubicBezTo>
                      <a:cubicBezTo>
                        <a:pt x="1458561" y="245392"/>
                        <a:pt x="1456393" y="242349"/>
                        <a:pt x="1458054" y="241297"/>
                      </a:cubicBezTo>
                      <a:cubicBezTo>
                        <a:pt x="1463201" y="237988"/>
                        <a:pt x="1479908" y="233463"/>
                        <a:pt x="1478045" y="226782"/>
                      </a:cubicBezTo>
                      <a:cubicBezTo>
                        <a:pt x="1476308" y="220698"/>
                        <a:pt x="1469501" y="225312"/>
                        <a:pt x="1468018" y="222599"/>
                      </a:cubicBezTo>
                      <a:cubicBezTo>
                        <a:pt x="1466813" y="220381"/>
                        <a:pt x="1469843" y="214473"/>
                        <a:pt x="1469932" y="213662"/>
                      </a:cubicBezTo>
                      <a:cubicBezTo>
                        <a:pt x="1470376" y="209226"/>
                        <a:pt x="1469285" y="207666"/>
                        <a:pt x="1471377" y="203331"/>
                      </a:cubicBezTo>
                      <a:cubicBezTo>
                        <a:pt x="1473951" y="198108"/>
                        <a:pt x="1479389" y="196207"/>
                        <a:pt x="1481721" y="190705"/>
                      </a:cubicBezTo>
                      <a:cubicBezTo>
                        <a:pt x="1495184" y="211532"/>
                        <a:pt x="1504260" y="166582"/>
                        <a:pt x="1505414" y="162487"/>
                      </a:cubicBezTo>
                      <a:cubicBezTo>
                        <a:pt x="1505464" y="162246"/>
                        <a:pt x="1507125" y="162297"/>
                        <a:pt x="1507340" y="159217"/>
                      </a:cubicBezTo>
                      <a:cubicBezTo>
                        <a:pt x="1507581" y="155971"/>
                        <a:pt x="1504399" y="151623"/>
                        <a:pt x="1504184" y="148315"/>
                      </a:cubicBezTo>
                      <a:cubicBezTo>
                        <a:pt x="1503854" y="142648"/>
                        <a:pt x="1506833" y="138478"/>
                        <a:pt x="1507366" y="133040"/>
                      </a:cubicBezTo>
                      <a:cubicBezTo>
                        <a:pt x="1507682" y="129858"/>
                        <a:pt x="1503170" y="128958"/>
                        <a:pt x="1503626" y="126853"/>
                      </a:cubicBezTo>
                      <a:cubicBezTo>
                        <a:pt x="1504209" y="124052"/>
                        <a:pt x="1510662" y="109487"/>
                        <a:pt x="1512715" y="106850"/>
                      </a:cubicBezTo>
                      <a:cubicBezTo>
                        <a:pt x="1513831" y="105456"/>
                        <a:pt x="1519180" y="103237"/>
                        <a:pt x="1519079" y="103377"/>
                      </a:cubicBezTo>
                      <a:cubicBezTo>
                        <a:pt x="1519155" y="103288"/>
                        <a:pt x="1524378" y="96759"/>
                        <a:pt x="1524555" y="96658"/>
                      </a:cubicBezTo>
                      <a:cubicBezTo>
                        <a:pt x="1529207" y="93679"/>
                        <a:pt x="1523288" y="93628"/>
                        <a:pt x="1528421" y="93704"/>
                      </a:cubicBezTo>
                      <a:cubicBezTo>
                        <a:pt x="1531489" y="93755"/>
                        <a:pt x="1535178" y="97393"/>
                        <a:pt x="1536839" y="97685"/>
                      </a:cubicBezTo>
                      <a:cubicBezTo>
                        <a:pt x="1541744" y="98522"/>
                        <a:pt x="1544926" y="94465"/>
                        <a:pt x="1550326" y="92931"/>
                      </a:cubicBezTo>
                      <a:cubicBezTo>
                        <a:pt x="1550326" y="92931"/>
                        <a:pt x="1560670" y="91929"/>
                        <a:pt x="1560721" y="91929"/>
                      </a:cubicBezTo>
                      <a:cubicBezTo>
                        <a:pt x="1562889" y="92564"/>
                        <a:pt x="1565703" y="98369"/>
                        <a:pt x="1566641" y="98445"/>
                      </a:cubicBezTo>
                      <a:cubicBezTo>
                        <a:pt x="1573638" y="99307"/>
                        <a:pt x="1576161" y="86339"/>
                        <a:pt x="1580383" y="95783"/>
                      </a:cubicBezTo>
                      <a:lnTo>
                        <a:pt x="1580383" y="95783"/>
                      </a:lnTo>
                      <a:close/>
                      <a:moveTo>
                        <a:pt x="22438" y="1964"/>
                      </a:moveTo>
                      <a:cubicBezTo>
                        <a:pt x="40109" y="-7873"/>
                        <a:pt x="59187" y="22209"/>
                        <a:pt x="74589" y="26633"/>
                      </a:cubicBezTo>
                      <a:cubicBezTo>
                        <a:pt x="93477" y="32008"/>
                        <a:pt x="106686" y="27216"/>
                        <a:pt x="125282" y="27241"/>
                      </a:cubicBezTo>
                      <a:cubicBezTo>
                        <a:pt x="135221" y="27241"/>
                        <a:pt x="139531" y="33199"/>
                        <a:pt x="147542" y="35012"/>
                      </a:cubicBezTo>
                      <a:cubicBezTo>
                        <a:pt x="154451" y="36597"/>
                        <a:pt x="158799" y="30487"/>
                        <a:pt x="165441" y="29852"/>
                      </a:cubicBezTo>
                      <a:cubicBezTo>
                        <a:pt x="174467" y="28978"/>
                        <a:pt x="172299" y="30157"/>
                        <a:pt x="179563" y="37915"/>
                      </a:cubicBezTo>
                      <a:cubicBezTo>
                        <a:pt x="190135" y="49159"/>
                        <a:pt x="213397" y="60618"/>
                        <a:pt x="206830" y="79988"/>
                      </a:cubicBezTo>
                      <a:cubicBezTo>
                        <a:pt x="211216" y="79709"/>
                        <a:pt x="218695" y="80990"/>
                        <a:pt x="222106" y="83703"/>
                      </a:cubicBezTo>
                      <a:cubicBezTo>
                        <a:pt x="227645" y="88063"/>
                        <a:pt x="228494" y="91511"/>
                        <a:pt x="226834" y="98863"/>
                      </a:cubicBezTo>
                      <a:cubicBezTo>
                        <a:pt x="225427" y="105025"/>
                        <a:pt x="219950" y="106875"/>
                        <a:pt x="220255" y="112263"/>
                      </a:cubicBezTo>
                      <a:cubicBezTo>
                        <a:pt x="222055" y="109968"/>
                        <a:pt x="224615" y="109258"/>
                        <a:pt x="226466" y="107179"/>
                      </a:cubicBezTo>
                      <a:cubicBezTo>
                        <a:pt x="227037" y="113087"/>
                        <a:pt x="246432" y="120300"/>
                        <a:pt x="251566" y="124711"/>
                      </a:cubicBezTo>
                      <a:cubicBezTo>
                        <a:pt x="257435" y="129668"/>
                        <a:pt x="260186" y="136969"/>
                        <a:pt x="267830" y="141305"/>
                      </a:cubicBezTo>
                      <a:cubicBezTo>
                        <a:pt x="273559" y="144537"/>
                        <a:pt x="280151" y="145729"/>
                        <a:pt x="286021" y="148822"/>
                      </a:cubicBezTo>
                      <a:cubicBezTo>
                        <a:pt x="298989" y="155642"/>
                        <a:pt x="309181" y="165986"/>
                        <a:pt x="319968" y="173896"/>
                      </a:cubicBezTo>
                      <a:cubicBezTo>
                        <a:pt x="326231" y="178498"/>
                        <a:pt x="332873" y="178751"/>
                        <a:pt x="338147" y="183910"/>
                      </a:cubicBezTo>
                      <a:cubicBezTo>
                        <a:pt x="342697" y="188347"/>
                        <a:pt x="346741" y="191529"/>
                        <a:pt x="349758" y="195700"/>
                      </a:cubicBezTo>
                      <a:cubicBezTo>
                        <a:pt x="356515" y="205080"/>
                        <a:pt x="351545" y="213840"/>
                        <a:pt x="355488" y="223144"/>
                      </a:cubicBezTo>
                      <a:cubicBezTo>
                        <a:pt x="356667" y="220039"/>
                        <a:pt x="356210" y="218974"/>
                        <a:pt x="352965" y="215729"/>
                      </a:cubicBezTo>
                      <a:cubicBezTo>
                        <a:pt x="361648" y="208959"/>
                        <a:pt x="360064" y="223804"/>
                        <a:pt x="364209" y="228468"/>
                      </a:cubicBezTo>
                      <a:cubicBezTo>
                        <a:pt x="361534" y="199680"/>
                        <a:pt x="377874" y="229635"/>
                        <a:pt x="382299" y="238901"/>
                      </a:cubicBezTo>
                      <a:cubicBezTo>
                        <a:pt x="389879" y="254911"/>
                        <a:pt x="402391" y="253745"/>
                        <a:pt x="413673" y="264051"/>
                      </a:cubicBezTo>
                      <a:cubicBezTo>
                        <a:pt x="418795" y="268716"/>
                        <a:pt x="419834" y="276817"/>
                        <a:pt x="424943" y="280290"/>
                      </a:cubicBezTo>
                      <a:cubicBezTo>
                        <a:pt x="424790" y="270960"/>
                        <a:pt x="415232" y="264102"/>
                        <a:pt x="414282" y="255558"/>
                      </a:cubicBezTo>
                      <a:cubicBezTo>
                        <a:pt x="413673" y="249740"/>
                        <a:pt x="415689" y="247572"/>
                        <a:pt x="420785" y="245493"/>
                      </a:cubicBezTo>
                      <a:cubicBezTo>
                        <a:pt x="428910" y="242083"/>
                        <a:pt x="430685" y="248675"/>
                        <a:pt x="433474" y="250551"/>
                      </a:cubicBezTo>
                      <a:cubicBezTo>
                        <a:pt x="444819" y="258208"/>
                        <a:pt x="449167" y="262175"/>
                        <a:pt x="452970" y="273584"/>
                      </a:cubicBezTo>
                      <a:cubicBezTo>
                        <a:pt x="457635" y="287706"/>
                        <a:pt x="461755" y="290216"/>
                        <a:pt x="475598" y="292282"/>
                      </a:cubicBezTo>
                      <a:cubicBezTo>
                        <a:pt x="487704" y="294082"/>
                        <a:pt x="504691" y="303045"/>
                        <a:pt x="512410" y="313642"/>
                      </a:cubicBezTo>
                      <a:cubicBezTo>
                        <a:pt x="517583" y="320741"/>
                        <a:pt x="514401" y="331199"/>
                        <a:pt x="518166" y="339261"/>
                      </a:cubicBezTo>
                      <a:cubicBezTo>
                        <a:pt x="522755" y="348971"/>
                        <a:pt x="536864" y="358771"/>
                        <a:pt x="547106" y="360317"/>
                      </a:cubicBezTo>
                      <a:cubicBezTo>
                        <a:pt x="559339" y="362193"/>
                        <a:pt x="574602" y="357947"/>
                        <a:pt x="580864" y="373475"/>
                      </a:cubicBezTo>
                      <a:cubicBezTo>
                        <a:pt x="585884" y="385911"/>
                        <a:pt x="566996" y="389904"/>
                        <a:pt x="556918" y="394898"/>
                      </a:cubicBezTo>
                      <a:cubicBezTo>
                        <a:pt x="555764" y="395482"/>
                        <a:pt x="545268" y="400983"/>
                        <a:pt x="544761" y="400983"/>
                      </a:cubicBezTo>
                      <a:cubicBezTo>
                        <a:pt x="541224" y="400933"/>
                        <a:pt x="538993" y="396521"/>
                        <a:pt x="534556" y="396407"/>
                      </a:cubicBezTo>
                      <a:cubicBezTo>
                        <a:pt x="536927" y="397066"/>
                        <a:pt x="539247" y="399982"/>
                        <a:pt x="541047" y="400362"/>
                      </a:cubicBezTo>
                      <a:cubicBezTo>
                        <a:pt x="546523" y="401579"/>
                        <a:pt x="545420" y="400096"/>
                        <a:pt x="549958" y="399449"/>
                      </a:cubicBezTo>
                      <a:cubicBezTo>
                        <a:pt x="560353" y="397865"/>
                        <a:pt x="569772" y="394062"/>
                        <a:pt x="579076" y="388902"/>
                      </a:cubicBezTo>
                      <a:cubicBezTo>
                        <a:pt x="591081" y="382285"/>
                        <a:pt x="616447" y="362459"/>
                        <a:pt x="621505" y="391679"/>
                      </a:cubicBezTo>
                      <a:cubicBezTo>
                        <a:pt x="629453" y="381626"/>
                        <a:pt x="639011" y="409793"/>
                        <a:pt x="636755" y="413533"/>
                      </a:cubicBezTo>
                      <a:cubicBezTo>
                        <a:pt x="633928" y="418172"/>
                        <a:pt x="621479" y="417615"/>
                        <a:pt x="618412" y="416334"/>
                      </a:cubicBezTo>
                      <a:cubicBezTo>
                        <a:pt x="624382" y="424156"/>
                        <a:pt x="602756" y="429936"/>
                        <a:pt x="596659" y="433473"/>
                      </a:cubicBezTo>
                      <a:cubicBezTo>
                        <a:pt x="598902" y="433841"/>
                        <a:pt x="612568" y="429835"/>
                        <a:pt x="612847" y="430088"/>
                      </a:cubicBezTo>
                      <a:cubicBezTo>
                        <a:pt x="617157" y="434259"/>
                        <a:pt x="605368" y="440978"/>
                        <a:pt x="602211" y="441003"/>
                      </a:cubicBezTo>
                      <a:cubicBezTo>
                        <a:pt x="606065" y="443272"/>
                        <a:pt x="615724" y="440116"/>
                        <a:pt x="618906" y="444857"/>
                      </a:cubicBezTo>
                      <a:cubicBezTo>
                        <a:pt x="623254" y="451258"/>
                        <a:pt x="606255" y="456722"/>
                        <a:pt x="604214" y="447595"/>
                      </a:cubicBezTo>
                      <a:cubicBezTo>
                        <a:pt x="606420" y="455010"/>
                        <a:pt x="608537" y="462249"/>
                        <a:pt x="602211" y="465709"/>
                      </a:cubicBezTo>
                      <a:cubicBezTo>
                        <a:pt x="606749" y="467991"/>
                        <a:pt x="612492" y="469513"/>
                        <a:pt x="609297" y="474317"/>
                      </a:cubicBezTo>
                      <a:cubicBezTo>
                        <a:pt x="614317" y="472682"/>
                        <a:pt x="635956" y="488743"/>
                        <a:pt x="637946" y="493509"/>
                      </a:cubicBezTo>
                      <a:cubicBezTo>
                        <a:pt x="640304" y="482988"/>
                        <a:pt x="651802" y="488451"/>
                        <a:pt x="658609" y="490188"/>
                      </a:cubicBezTo>
                      <a:cubicBezTo>
                        <a:pt x="663654" y="491506"/>
                        <a:pt x="668269" y="490239"/>
                        <a:pt x="672148" y="491189"/>
                      </a:cubicBezTo>
                      <a:cubicBezTo>
                        <a:pt x="682314" y="493686"/>
                        <a:pt x="677573" y="492432"/>
                        <a:pt x="680045" y="502890"/>
                      </a:cubicBezTo>
                      <a:cubicBezTo>
                        <a:pt x="682491" y="513360"/>
                        <a:pt x="684089" y="523958"/>
                        <a:pt x="686738" y="534683"/>
                      </a:cubicBezTo>
                      <a:cubicBezTo>
                        <a:pt x="688095" y="540045"/>
                        <a:pt x="689045" y="542289"/>
                        <a:pt x="689172" y="547131"/>
                      </a:cubicBezTo>
                      <a:cubicBezTo>
                        <a:pt x="689248" y="551378"/>
                        <a:pt x="685268" y="551923"/>
                        <a:pt x="687321" y="556930"/>
                      </a:cubicBezTo>
                      <a:cubicBezTo>
                        <a:pt x="690021" y="545585"/>
                        <a:pt x="701417" y="555637"/>
                        <a:pt x="694129" y="563040"/>
                      </a:cubicBezTo>
                      <a:cubicBezTo>
                        <a:pt x="695307" y="561937"/>
                        <a:pt x="697501" y="560936"/>
                        <a:pt x="698984" y="559427"/>
                      </a:cubicBezTo>
                      <a:cubicBezTo>
                        <a:pt x="699934" y="570950"/>
                        <a:pt x="707236" y="556904"/>
                        <a:pt x="713879" y="565170"/>
                      </a:cubicBezTo>
                      <a:cubicBezTo>
                        <a:pt x="724324" y="578188"/>
                        <a:pt x="700872" y="585452"/>
                        <a:pt x="695384" y="591195"/>
                      </a:cubicBezTo>
                      <a:cubicBezTo>
                        <a:pt x="707173" y="582105"/>
                        <a:pt x="704637" y="600410"/>
                        <a:pt x="700923" y="605101"/>
                      </a:cubicBezTo>
                      <a:cubicBezTo>
                        <a:pt x="696879" y="610260"/>
                        <a:pt x="689616" y="609449"/>
                        <a:pt x="689857" y="618500"/>
                      </a:cubicBezTo>
                      <a:cubicBezTo>
                        <a:pt x="692328" y="614862"/>
                        <a:pt x="694598" y="612060"/>
                        <a:pt x="697437" y="608891"/>
                      </a:cubicBezTo>
                      <a:cubicBezTo>
                        <a:pt x="703319" y="602413"/>
                        <a:pt x="703890" y="603313"/>
                        <a:pt x="707490" y="594871"/>
                      </a:cubicBezTo>
                      <a:cubicBezTo>
                        <a:pt x="710025" y="588887"/>
                        <a:pt x="717276" y="576312"/>
                        <a:pt x="719241" y="589217"/>
                      </a:cubicBezTo>
                      <a:cubicBezTo>
                        <a:pt x="721333" y="584184"/>
                        <a:pt x="758056" y="588444"/>
                        <a:pt x="765345" y="591714"/>
                      </a:cubicBezTo>
                      <a:cubicBezTo>
                        <a:pt x="765269" y="591790"/>
                        <a:pt x="764356" y="591765"/>
                        <a:pt x="764331" y="591714"/>
                      </a:cubicBezTo>
                      <a:cubicBezTo>
                        <a:pt x="775398" y="586834"/>
                        <a:pt x="767881" y="598990"/>
                        <a:pt x="770010" y="604632"/>
                      </a:cubicBezTo>
                      <a:cubicBezTo>
                        <a:pt x="772850" y="612047"/>
                        <a:pt x="780113" y="610678"/>
                        <a:pt x="783245" y="616510"/>
                      </a:cubicBezTo>
                      <a:cubicBezTo>
                        <a:pt x="787973" y="625257"/>
                        <a:pt x="781394" y="625941"/>
                        <a:pt x="791104" y="631873"/>
                      </a:cubicBezTo>
                      <a:cubicBezTo>
                        <a:pt x="795072" y="634295"/>
                        <a:pt x="797708" y="630580"/>
                        <a:pt x="801537" y="635600"/>
                      </a:cubicBezTo>
                      <a:cubicBezTo>
                        <a:pt x="810157" y="646908"/>
                        <a:pt x="800687" y="653715"/>
                        <a:pt x="795047" y="660117"/>
                      </a:cubicBezTo>
                      <a:cubicBezTo>
                        <a:pt x="790432" y="665340"/>
                        <a:pt x="786629" y="673465"/>
                        <a:pt x="786287" y="680513"/>
                      </a:cubicBezTo>
                      <a:cubicBezTo>
                        <a:pt x="785742" y="690959"/>
                        <a:pt x="792524" y="687587"/>
                        <a:pt x="794590" y="696055"/>
                      </a:cubicBezTo>
                      <a:cubicBezTo>
                        <a:pt x="796986" y="705790"/>
                        <a:pt x="782839" y="718112"/>
                        <a:pt x="784981" y="730459"/>
                      </a:cubicBezTo>
                      <a:cubicBezTo>
                        <a:pt x="786350" y="738420"/>
                        <a:pt x="790914" y="741170"/>
                        <a:pt x="791586" y="748523"/>
                      </a:cubicBezTo>
                      <a:cubicBezTo>
                        <a:pt x="791890" y="752123"/>
                        <a:pt x="790077" y="757269"/>
                        <a:pt x="789748" y="760172"/>
                      </a:cubicBezTo>
                      <a:cubicBezTo>
                        <a:pt x="788848" y="767576"/>
                        <a:pt x="791890" y="771911"/>
                        <a:pt x="791763" y="778338"/>
                      </a:cubicBezTo>
                      <a:cubicBezTo>
                        <a:pt x="791522" y="790419"/>
                        <a:pt x="787111" y="804388"/>
                        <a:pt x="786579" y="817103"/>
                      </a:cubicBezTo>
                      <a:cubicBezTo>
                        <a:pt x="786186" y="826534"/>
                        <a:pt x="786261" y="841645"/>
                        <a:pt x="778465" y="848680"/>
                      </a:cubicBezTo>
                      <a:cubicBezTo>
                        <a:pt x="777679" y="840643"/>
                        <a:pt x="772609" y="846576"/>
                        <a:pt x="769047" y="842240"/>
                      </a:cubicBezTo>
                      <a:cubicBezTo>
                        <a:pt x="766334" y="838995"/>
                        <a:pt x="767817" y="834596"/>
                        <a:pt x="764826" y="831034"/>
                      </a:cubicBezTo>
                      <a:cubicBezTo>
                        <a:pt x="760858" y="833341"/>
                        <a:pt x="758550" y="829589"/>
                        <a:pt x="754912" y="826192"/>
                      </a:cubicBezTo>
                      <a:cubicBezTo>
                        <a:pt x="752897" y="824291"/>
                        <a:pt x="749360" y="817407"/>
                        <a:pt x="747497" y="816887"/>
                      </a:cubicBezTo>
                      <a:cubicBezTo>
                        <a:pt x="741932" y="815404"/>
                        <a:pt x="745608" y="817990"/>
                        <a:pt x="743123" y="819258"/>
                      </a:cubicBezTo>
                      <a:cubicBezTo>
                        <a:pt x="739536" y="821109"/>
                        <a:pt x="737343" y="829437"/>
                        <a:pt x="740499" y="834026"/>
                      </a:cubicBezTo>
                      <a:cubicBezTo>
                        <a:pt x="739130" y="834635"/>
                        <a:pt x="737444" y="835801"/>
                        <a:pt x="735974" y="836156"/>
                      </a:cubicBezTo>
                      <a:cubicBezTo>
                        <a:pt x="737343" y="836878"/>
                        <a:pt x="738154" y="837930"/>
                        <a:pt x="740423" y="838539"/>
                      </a:cubicBezTo>
                      <a:cubicBezTo>
                        <a:pt x="728596" y="848135"/>
                        <a:pt x="706818" y="820589"/>
                        <a:pt x="695396" y="817876"/>
                      </a:cubicBezTo>
                      <a:cubicBezTo>
                        <a:pt x="684609" y="820868"/>
                        <a:pt x="695726" y="831085"/>
                        <a:pt x="699706" y="839274"/>
                      </a:cubicBezTo>
                      <a:cubicBezTo>
                        <a:pt x="702761" y="845625"/>
                        <a:pt x="705880" y="858276"/>
                        <a:pt x="692113" y="851013"/>
                      </a:cubicBezTo>
                      <a:cubicBezTo>
                        <a:pt x="690871" y="850366"/>
                        <a:pt x="685724" y="839490"/>
                        <a:pt x="682517" y="836878"/>
                      </a:cubicBezTo>
                      <a:cubicBezTo>
                        <a:pt x="674556" y="830363"/>
                        <a:pt x="673238" y="827776"/>
                        <a:pt x="666862" y="821147"/>
                      </a:cubicBezTo>
                      <a:cubicBezTo>
                        <a:pt x="662273" y="816368"/>
                        <a:pt x="656378" y="813566"/>
                        <a:pt x="651802" y="807241"/>
                      </a:cubicBezTo>
                      <a:cubicBezTo>
                        <a:pt x="649419" y="803970"/>
                        <a:pt x="651383" y="803285"/>
                        <a:pt x="649380" y="800205"/>
                      </a:cubicBezTo>
                      <a:cubicBezTo>
                        <a:pt x="647872" y="797847"/>
                        <a:pt x="644500" y="799597"/>
                        <a:pt x="642814" y="797378"/>
                      </a:cubicBezTo>
                      <a:cubicBezTo>
                        <a:pt x="642256" y="796681"/>
                        <a:pt x="645070" y="793081"/>
                        <a:pt x="643232" y="790913"/>
                      </a:cubicBezTo>
                      <a:cubicBezTo>
                        <a:pt x="640951" y="788276"/>
                        <a:pt x="636628" y="786451"/>
                        <a:pt x="633915" y="784474"/>
                      </a:cubicBezTo>
                      <a:cubicBezTo>
                        <a:pt x="630784" y="782230"/>
                        <a:pt x="630125" y="777628"/>
                        <a:pt x="625029" y="781038"/>
                      </a:cubicBezTo>
                      <a:cubicBezTo>
                        <a:pt x="621086" y="772837"/>
                        <a:pt x="613265" y="775980"/>
                        <a:pt x="607675" y="772963"/>
                      </a:cubicBezTo>
                      <a:cubicBezTo>
                        <a:pt x="599080" y="768374"/>
                        <a:pt x="592983" y="755622"/>
                        <a:pt x="581067" y="749258"/>
                      </a:cubicBezTo>
                      <a:cubicBezTo>
                        <a:pt x="566501" y="741563"/>
                        <a:pt x="554560" y="729356"/>
                        <a:pt x="540477" y="719076"/>
                      </a:cubicBezTo>
                      <a:cubicBezTo>
                        <a:pt x="525974" y="708452"/>
                        <a:pt x="526317" y="706145"/>
                        <a:pt x="522121" y="692100"/>
                      </a:cubicBezTo>
                      <a:cubicBezTo>
                        <a:pt x="517950" y="678206"/>
                        <a:pt x="503131" y="672857"/>
                        <a:pt x="490924" y="664326"/>
                      </a:cubicBezTo>
                      <a:cubicBezTo>
                        <a:pt x="472758" y="651636"/>
                        <a:pt x="467789" y="639518"/>
                        <a:pt x="455975" y="621453"/>
                      </a:cubicBezTo>
                      <a:cubicBezTo>
                        <a:pt x="446036" y="606216"/>
                        <a:pt x="429835" y="600093"/>
                        <a:pt x="420962" y="581915"/>
                      </a:cubicBezTo>
                      <a:cubicBezTo>
                        <a:pt x="414928" y="569492"/>
                        <a:pt x="420506" y="575184"/>
                        <a:pt x="420506" y="564396"/>
                      </a:cubicBezTo>
                      <a:cubicBezTo>
                        <a:pt x="420506" y="556157"/>
                        <a:pt x="416754" y="554255"/>
                        <a:pt x="412824" y="548082"/>
                      </a:cubicBezTo>
                      <a:cubicBezTo>
                        <a:pt x="404521" y="535113"/>
                        <a:pt x="399564" y="507770"/>
                        <a:pt x="384923" y="507567"/>
                      </a:cubicBezTo>
                      <a:cubicBezTo>
                        <a:pt x="389626" y="502269"/>
                        <a:pt x="381475" y="499581"/>
                        <a:pt x="382362" y="493522"/>
                      </a:cubicBezTo>
                      <a:cubicBezTo>
                        <a:pt x="382768" y="493471"/>
                        <a:pt x="385290" y="493573"/>
                        <a:pt x="385417" y="493522"/>
                      </a:cubicBezTo>
                      <a:cubicBezTo>
                        <a:pt x="378052" y="481112"/>
                        <a:pt x="369648" y="463491"/>
                        <a:pt x="357491" y="450472"/>
                      </a:cubicBezTo>
                      <a:cubicBezTo>
                        <a:pt x="347793" y="440090"/>
                        <a:pt x="341962" y="437238"/>
                        <a:pt x="336866" y="424334"/>
                      </a:cubicBezTo>
                      <a:cubicBezTo>
                        <a:pt x="333976" y="417082"/>
                        <a:pt x="334914" y="412836"/>
                        <a:pt x="325394" y="406954"/>
                      </a:cubicBezTo>
                      <a:cubicBezTo>
                        <a:pt x="321959" y="404824"/>
                        <a:pt x="310892" y="399462"/>
                        <a:pt x="307748" y="398714"/>
                      </a:cubicBezTo>
                      <a:cubicBezTo>
                        <a:pt x="303235" y="397599"/>
                        <a:pt x="299230" y="399018"/>
                        <a:pt x="294691" y="396597"/>
                      </a:cubicBezTo>
                      <a:cubicBezTo>
                        <a:pt x="290204" y="394227"/>
                        <a:pt x="293297" y="393098"/>
                        <a:pt x="289152" y="389169"/>
                      </a:cubicBezTo>
                      <a:cubicBezTo>
                        <a:pt x="291978" y="383312"/>
                        <a:pt x="290267" y="368798"/>
                        <a:pt x="284563" y="369026"/>
                      </a:cubicBezTo>
                      <a:cubicBezTo>
                        <a:pt x="282585" y="346930"/>
                        <a:pt x="271506" y="317660"/>
                        <a:pt x="259628" y="299178"/>
                      </a:cubicBezTo>
                      <a:cubicBezTo>
                        <a:pt x="260515" y="299850"/>
                        <a:pt x="261656" y="300763"/>
                        <a:pt x="262759" y="301688"/>
                      </a:cubicBezTo>
                      <a:cubicBezTo>
                        <a:pt x="269972" y="294830"/>
                        <a:pt x="267399" y="286894"/>
                        <a:pt x="259894" y="283332"/>
                      </a:cubicBezTo>
                      <a:cubicBezTo>
                        <a:pt x="260946" y="287769"/>
                        <a:pt x="260097" y="287554"/>
                        <a:pt x="255698" y="284866"/>
                      </a:cubicBezTo>
                      <a:cubicBezTo>
                        <a:pt x="251591" y="282344"/>
                        <a:pt x="249867" y="274826"/>
                        <a:pt x="245722" y="271657"/>
                      </a:cubicBezTo>
                      <a:cubicBezTo>
                        <a:pt x="241906" y="268780"/>
                        <a:pt x="238737" y="268894"/>
                        <a:pt x="234921" y="267335"/>
                      </a:cubicBezTo>
                      <a:cubicBezTo>
                        <a:pt x="226010" y="263583"/>
                        <a:pt x="215666" y="250272"/>
                        <a:pt x="203801" y="247559"/>
                      </a:cubicBezTo>
                      <a:cubicBezTo>
                        <a:pt x="199072" y="246469"/>
                        <a:pt x="195916" y="249030"/>
                        <a:pt x="191251" y="247027"/>
                      </a:cubicBezTo>
                      <a:cubicBezTo>
                        <a:pt x="182200" y="243199"/>
                        <a:pt x="182593" y="236670"/>
                        <a:pt x="181794" y="227074"/>
                      </a:cubicBezTo>
                      <a:cubicBezTo>
                        <a:pt x="180869" y="216083"/>
                        <a:pt x="180387" y="208009"/>
                        <a:pt x="172680" y="202190"/>
                      </a:cubicBezTo>
                      <a:cubicBezTo>
                        <a:pt x="166253" y="197335"/>
                        <a:pt x="161727" y="199160"/>
                        <a:pt x="156974" y="190502"/>
                      </a:cubicBezTo>
                      <a:cubicBezTo>
                        <a:pt x="155287" y="187422"/>
                        <a:pt x="155820" y="182757"/>
                        <a:pt x="153918" y="180120"/>
                      </a:cubicBezTo>
                      <a:cubicBezTo>
                        <a:pt x="152131" y="177597"/>
                        <a:pt x="148746" y="177559"/>
                        <a:pt x="147517" y="176038"/>
                      </a:cubicBezTo>
                      <a:cubicBezTo>
                        <a:pt x="142370" y="169573"/>
                        <a:pt x="138415" y="160725"/>
                        <a:pt x="133116" y="153753"/>
                      </a:cubicBezTo>
                      <a:cubicBezTo>
                        <a:pt x="130479" y="150330"/>
                        <a:pt x="124965" y="143764"/>
                        <a:pt x="121175" y="141470"/>
                      </a:cubicBezTo>
                      <a:cubicBezTo>
                        <a:pt x="113671" y="136982"/>
                        <a:pt x="105215" y="141545"/>
                        <a:pt x="97635" y="138364"/>
                      </a:cubicBezTo>
                      <a:cubicBezTo>
                        <a:pt x="85896" y="133394"/>
                        <a:pt x="75692" y="114469"/>
                        <a:pt x="65817" y="107331"/>
                      </a:cubicBezTo>
                      <a:cubicBezTo>
                        <a:pt x="53267" y="98293"/>
                        <a:pt x="37611" y="83791"/>
                        <a:pt x="27115" y="73371"/>
                      </a:cubicBezTo>
                      <a:cubicBezTo>
                        <a:pt x="23604" y="69936"/>
                        <a:pt x="17468" y="58768"/>
                        <a:pt x="14084" y="51897"/>
                      </a:cubicBezTo>
                      <a:cubicBezTo>
                        <a:pt x="9013" y="41540"/>
                        <a:pt x="8417" y="31589"/>
                        <a:pt x="0" y="25061"/>
                      </a:cubicBezTo>
                      <a:cubicBezTo>
                        <a:pt x="7479" y="16669"/>
                        <a:pt x="-2548" y="9633"/>
                        <a:pt x="1838" y="3853"/>
                      </a:cubicBezTo>
                      <a:cubicBezTo>
                        <a:pt x="4107" y="798"/>
                        <a:pt x="19674" y="-1534"/>
                        <a:pt x="22438" y="1964"/>
                      </a:cubicBezTo>
                      <a:lnTo>
                        <a:pt x="22438" y="1964"/>
                      </a:lnTo>
                      <a:close/>
                    </a:path>
                  </a:pathLst>
                </a:custGeom>
                <a:solidFill>
                  <a:srgbClr val="D6D6D2"/>
                </a:solidFill>
                <a:ln w="12413" cap="rnd">
                  <a:solidFill>
                    <a:srgbClr val="FFFFFF"/>
                  </a:solidFill>
                  <a:prstDash val="solid"/>
                  <a:round/>
                </a:ln>
              </p:spPr>
              <p:txBody>
                <a:bodyPr rtlCol="0" anchor="ctr"/>
                <a:lstStyle/>
                <a:p>
                  <a:endParaRPr lang="en-US"/>
                </a:p>
              </p:txBody>
            </p:sp>
            <p:sp>
              <p:nvSpPr>
                <p:cNvPr id="98" name="Freeform: Shape 97">
                  <a:extLst>
                    <a:ext uri="{FF2B5EF4-FFF2-40B4-BE49-F238E27FC236}">
                      <a16:creationId xmlns:a16="http://schemas.microsoft.com/office/drawing/2014/main" id="{395ACB22-A688-4827-A7FE-DDC085158B00}"/>
                    </a:ext>
                  </a:extLst>
                </p:cNvPr>
                <p:cNvSpPr/>
                <p:nvPr/>
              </p:nvSpPr>
              <p:spPr>
                <a:xfrm>
                  <a:off x="1364435" y="532850"/>
                  <a:ext cx="4520397" cy="3016069"/>
                </a:xfrm>
                <a:custGeom>
                  <a:avLst/>
                  <a:gdLst>
                    <a:gd name="connsiteX0" fmla="*/ 2741339 w 4520397"/>
                    <a:gd name="connsiteY0" fmla="*/ 2864788 h 3016069"/>
                    <a:gd name="connsiteX1" fmla="*/ 2759022 w 4520397"/>
                    <a:gd name="connsiteY1" fmla="*/ 2875930 h 3016069"/>
                    <a:gd name="connsiteX2" fmla="*/ 2767161 w 4520397"/>
                    <a:gd name="connsiteY2" fmla="*/ 2903857 h 3016069"/>
                    <a:gd name="connsiteX3" fmla="*/ 2755511 w 4520397"/>
                    <a:gd name="connsiteY3" fmla="*/ 2911703 h 3016069"/>
                    <a:gd name="connsiteX4" fmla="*/ 2754459 w 4520397"/>
                    <a:gd name="connsiteY4" fmla="*/ 2906417 h 3016069"/>
                    <a:gd name="connsiteX5" fmla="*/ 2749845 w 4520397"/>
                    <a:gd name="connsiteY5" fmla="*/ 2915088 h 3016069"/>
                    <a:gd name="connsiteX6" fmla="*/ 2741377 w 4520397"/>
                    <a:gd name="connsiteY6" fmla="*/ 2922909 h 3016069"/>
                    <a:gd name="connsiteX7" fmla="*/ 2726102 w 4520397"/>
                    <a:gd name="connsiteY7" fmla="*/ 2939985 h 3016069"/>
                    <a:gd name="connsiteX8" fmla="*/ 2731717 w 4520397"/>
                    <a:gd name="connsiteY8" fmla="*/ 2946222 h 3016069"/>
                    <a:gd name="connsiteX9" fmla="*/ 2733758 w 4520397"/>
                    <a:gd name="connsiteY9" fmla="*/ 2941455 h 3016069"/>
                    <a:gd name="connsiteX10" fmla="*/ 2727128 w 4520397"/>
                    <a:gd name="connsiteY10" fmla="*/ 2968659 h 3016069"/>
                    <a:gd name="connsiteX11" fmla="*/ 2727902 w 4520397"/>
                    <a:gd name="connsiteY11" fmla="*/ 2961890 h 3016069"/>
                    <a:gd name="connsiteX12" fmla="*/ 2730234 w 4520397"/>
                    <a:gd name="connsiteY12" fmla="*/ 2969217 h 3016069"/>
                    <a:gd name="connsiteX13" fmla="*/ 2715491 w 4520397"/>
                    <a:gd name="connsiteY13" fmla="*/ 2977773 h 3016069"/>
                    <a:gd name="connsiteX14" fmla="*/ 2721069 w 4520397"/>
                    <a:gd name="connsiteY14" fmla="*/ 2976481 h 3016069"/>
                    <a:gd name="connsiteX15" fmla="*/ 2693231 w 4520397"/>
                    <a:gd name="connsiteY15" fmla="*/ 2990032 h 3016069"/>
                    <a:gd name="connsiteX16" fmla="*/ 2695741 w 4520397"/>
                    <a:gd name="connsiteY16" fmla="*/ 2997866 h 3016069"/>
                    <a:gd name="connsiteX17" fmla="*/ 2694004 w 4520397"/>
                    <a:gd name="connsiteY17" fmla="*/ 2995495 h 3016069"/>
                    <a:gd name="connsiteX18" fmla="*/ 2688376 w 4520397"/>
                    <a:gd name="connsiteY18" fmla="*/ 2998132 h 3016069"/>
                    <a:gd name="connsiteX19" fmla="*/ 2692204 w 4520397"/>
                    <a:gd name="connsiteY19" fmla="*/ 2994697 h 3016069"/>
                    <a:gd name="connsiteX20" fmla="*/ 2690164 w 4520397"/>
                    <a:gd name="connsiteY20" fmla="*/ 2995254 h 3016069"/>
                    <a:gd name="connsiteX21" fmla="*/ 2670882 w 4520397"/>
                    <a:gd name="connsiteY21" fmla="*/ 3008185 h 3016069"/>
                    <a:gd name="connsiteX22" fmla="*/ 2666357 w 4520397"/>
                    <a:gd name="connsiteY22" fmla="*/ 3008755 h 3016069"/>
                    <a:gd name="connsiteX23" fmla="*/ 2666851 w 4520397"/>
                    <a:gd name="connsiteY23" fmla="*/ 3010327 h 3016069"/>
                    <a:gd name="connsiteX24" fmla="*/ 2662288 w 4520397"/>
                    <a:gd name="connsiteY24" fmla="*/ 3015537 h 3016069"/>
                    <a:gd name="connsiteX25" fmla="*/ 2658269 w 4520397"/>
                    <a:gd name="connsiteY25" fmla="*/ 3016069 h 3016069"/>
                    <a:gd name="connsiteX26" fmla="*/ 2658269 w 4520397"/>
                    <a:gd name="connsiteY26" fmla="*/ 3009275 h 3016069"/>
                    <a:gd name="connsiteX27" fmla="*/ 2651158 w 4520397"/>
                    <a:gd name="connsiteY27" fmla="*/ 3013433 h 3016069"/>
                    <a:gd name="connsiteX28" fmla="*/ 2653744 w 4520397"/>
                    <a:gd name="connsiteY28" fmla="*/ 3009224 h 3016069"/>
                    <a:gd name="connsiteX29" fmla="*/ 2635109 w 4520397"/>
                    <a:gd name="connsiteY29" fmla="*/ 3005738 h 3016069"/>
                    <a:gd name="connsiteX30" fmla="*/ 2628835 w 4520397"/>
                    <a:gd name="connsiteY30" fmla="*/ 3007056 h 3016069"/>
                    <a:gd name="connsiteX31" fmla="*/ 2626591 w 4520397"/>
                    <a:gd name="connsiteY31" fmla="*/ 3001998 h 3016069"/>
                    <a:gd name="connsiteX32" fmla="*/ 2600185 w 4520397"/>
                    <a:gd name="connsiteY32" fmla="*/ 2991452 h 3016069"/>
                    <a:gd name="connsiteX33" fmla="*/ 2593784 w 4520397"/>
                    <a:gd name="connsiteY33" fmla="*/ 2983592 h 3016069"/>
                    <a:gd name="connsiteX34" fmla="*/ 2589905 w 4520397"/>
                    <a:gd name="connsiteY34" fmla="*/ 2966187 h 3016069"/>
                    <a:gd name="connsiteX35" fmla="*/ 2593366 w 4520397"/>
                    <a:gd name="connsiteY35" fmla="*/ 2941430 h 3016069"/>
                    <a:gd name="connsiteX36" fmla="*/ 2588802 w 4520397"/>
                    <a:gd name="connsiteY36" fmla="*/ 2936258 h 3016069"/>
                    <a:gd name="connsiteX37" fmla="*/ 2612710 w 4520397"/>
                    <a:gd name="connsiteY37" fmla="*/ 2915342 h 3016069"/>
                    <a:gd name="connsiteX38" fmla="*/ 2639483 w 4520397"/>
                    <a:gd name="connsiteY38" fmla="*/ 2898609 h 3016069"/>
                    <a:gd name="connsiteX39" fmla="*/ 2637061 w 4520397"/>
                    <a:gd name="connsiteY39" fmla="*/ 2895084 h 3016069"/>
                    <a:gd name="connsiteX40" fmla="*/ 2639483 w 4520397"/>
                    <a:gd name="connsiteY40" fmla="*/ 2892815 h 3016069"/>
                    <a:gd name="connsiteX41" fmla="*/ 2628847 w 4520397"/>
                    <a:gd name="connsiteY41" fmla="*/ 2897556 h 3016069"/>
                    <a:gd name="connsiteX42" fmla="*/ 2651145 w 4520397"/>
                    <a:gd name="connsiteY42" fmla="*/ 2889215 h 3016069"/>
                    <a:gd name="connsiteX43" fmla="*/ 2659790 w 4520397"/>
                    <a:gd name="connsiteY43" fmla="*/ 2887567 h 3016069"/>
                    <a:gd name="connsiteX44" fmla="*/ 2654885 w 4520397"/>
                    <a:gd name="connsiteY44" fmla="*/ 2883777 h 3016069"/>
                    <a:gd name="connsiteX45" fmla="*/ 2657978 w 4520397"/>
                    <a:gd name="connsiteY45" fmla="*/ 2882852 h 3016069"/>
                    <a:gd name="connsiteX46" fmla="*/ 2669868 w 4520397"/>
                    <a:gd name="connsiteY46" fmla="*/ 2879771 h 3016069"/>
                    <a:gd name="connsiteX47" fmla="*/ 2676473 w 4520397"/>
                    <a:gd name="connsiteY47" fmla="*/ 2880240 h 3016069"/>
                    <a:gd name="connsiteX48" fmla="*/ 2677107 w 4520397"/>
                    <a:gd name="connsiteY48" fmla="*/ 2877198 h 3016069"/>
                    <a:gd name="connsiteX49" fmla="*/ 2678565 w 4520397"/>
                    <a:gd name="connsiteY49" fmla="*/ 2881800 h 3016069"/>
                    <a:gd name="connsiteX50" fmla="*/ 2688883 w 4520397"/>
                    <a:gd name="connsiteY50" fmla="*/ 2881711 h 3016069"/>
                    <a:gd name="connsiteX51" fmla="*/ 2687121 w 4520397"/>
                    <a:gd name="connsiteY51" fmla="*/ 2881800 h 3016069"/>
                    <a:gd name="connsiteX52" fmla="*/ 2691140 w 4520397"/>
                    <a:gd name="connsiteY52" fmla="*/ 2883384 h 3016069"/>
                    <a:gd name="connsiteX53" fmla="*/ 2701788 w 4520397"/>
                    <a:gd name="connsiteY53" fmla="*/ 2876032 h 3016069"/>
                    <a:gd name="connsiteX54" fmla="*/ 2695729 w 4520397"/>
                    <a:gd name="connsiteY54" fmla="*/ 2877680 h 3016069"/>
                    <a:gd name="connsiteX55" fmla="*/ 2712905 w 4520397"/>
                    <a:gd name="connsiteY55" fmla="*/ 2873167 h 3016069"/>
                    <a:gd name="connsiteX56" fmla="*/ 2721563 w 4520397"/>
                    <a:gd name="connsiteY56" fmla="*/ 2882395 h 3016069"/>
                    <a:gd name="connsiteX57" fmla="*/ 2719016 w 4520397"/>
                    <a:gd name="connsiteY57" fmla="*/ 2870315 h 3016069"/>
                    <a:gd name="connsiteX58" fmla="*/ 2733251 w 4520397"/>
                    <a:gd name="connsiteY58" fmla="*/ 2876602 h 3016069"/>
                    <a:gd name="connsiteX59" fmla="*/ 2735469 w 4520397"/>
                    <a:gd name="connsiteY59" fmla="*/ 2882408 h 3016069"/>
                    <a:gd name="connsiteX60" fmla="*/ 2732858 w 4520397"/>
                    <a:gd name="connsiteY60" fmla="*/ 2873826 h 3016069"/>
                    <a:gd name="connsiteX61" fmla="*/ 2741339 w 4520397"/>
                    <a:gd name="connsiteY61" fmla="*/ 2864788 h 3016069"/>
                    <a:gd name="connsiteX62" fmla="*/ 2741339 w 4520397"/>
                    <a:gd name="connsiteY62" fmla="*/ 2864788 h 3016069"/>
                    <a:gd name="connsiteX63" fmla="*/ 3571359 w 4520397"/>
                    <a:gd name="connsiteY63" fmla="*/ 1975428 h 3016069"/>
                    <a:gd name="connsiteX64" fmla="*/ 3517801 w 4520397"/>
                    <a:gd name="connsiteY64" fmla="*/ 1947438 h 3016069"/>
                    <a:gd name="connsiteX65" fmla="*/ 3546716 w 4520397"/>
                    <a:gd name="connsiteY65" fmla="*/ 1954955 h 3016069"/>
                    <a:gd name="connsiteX66" fmla="*/ 3571359 w 4520397"/>
                    <a:gd name="connsiteY66" fmla="*/ 1975428 h 3016069"/>
                    <a:gd name="connsiteX67" fmla="*/ 3571359 w 4520397"/>
                    <a:gd name="connsiteY67" fmla="*/ 1975428 h 3016069"/>
                    <a:gd name="connsiteX68" fmla="*/ 3686564 w 4520397"/>
                    <a:gd name="connsiteY68" fmla="*/ 3810 h 3016069"/>
                    <a:gd name="connsiteX69" fmla="*/ 3690138 w 4520397"/>
                    <a:gd name="connsiteY69" fmla="*/ 3709 h 3016069"/>
                    <a:gd name="connsiteX70" fmla="*/ 3712297 w 4520397"/>
                    <a:gd name="connsiteY70" fmla="*/ 5990 h 3016069"/>
                    <a:gd name="connsiteX71" fmla="*/ 3734253 w 4520397"/>
                    <a:gd name="connsiteY71" fmla="*/ 20213 h 3016069"/>
                    <a:gd name="connsiteX72" fmla="*/ 3748476 w 4520397"/>
                    <a:gd name="connsiteY72" fmla="*/ 23294 h 3016069"/>
                    <a:gd name="connsiteX73" fmla="*/ 3768834 w 4520397"/>
                    <a:gd name="connsiteY73" fmla="*/ 34690 h 3016069"/>
                    <a:gd name="connsiteX74" fmla="*/ 3787367 w 4520397"/>
                    <a:gd name="connsiteY74" fmla="*/ 42638 h 3016069"/>
                    <a:gd name="connsiteX75" fmla="*/ 3790904 w 4520397"/>
                    <a:gd name="connsiteY75" fmla="*/ 44413 h 3016069"/>
                    <a:gd name="connsiteX76" fmla="*/ 3790879 w 4520397"/>
                    <a:gd name="connsiteY76" fmla="*/ 40813 h 3016069"/>
                    <a:gd name="connsiteX77" fmla="*/ 3800982 w 4520397"/>
                    <a:gd name="connsiteY77" fmla="*/ 34665 h 3016069"/>
                    <a:gd name="connsiteX78" fmla="*/ 3835627 w 4520397"/>
                    <a:gd name="connsiteY78" fmla="*/ 48976 h 3016069"/>
                    <a:gd name="connsiteX79" fmla="*/ 3852766 w 4520397"/>
                    <a:gd name="connsiteY79" fmla="*/ 61006 h 3016069"/>
                    <a:gd name="connsiteX80" fmla="*/ 3847353 w 4520397"/>
                    <a:gd name="connsiteY80" fmla="*/ 67116 h 3016069"/>
                    <a:gd name="connsiteX81" fmla="*/ 3862172 w 4520397"/>
                    <a:gd name="connsiteY81" fmla="*/ 65342 h 3016069"/>
                    <a:gd name="connsiteX82" fmla="*/ 3871147 w 4520397"/>
                    <a:gd name="connsiteY82" fmla="*/ 78373 h 3016069"/>
                    <a:gd name="connsiteX83" fmla="*/ 3881174 w 4520397"/>
                    <a:gd name="connsiteY83" fmla="*/ 80072 h 3016069"/>
                    <a:gd name="connsiteX84" fmla="*/ 3878575 w 4520397"/>
                    <a:gd name="connsiteY84" fmla="*/ 87462 h 3016069"/>
                    <a:gd name="connsiteX85" fmla="*/ 3871869 w 4520397"/>
                    <a:gd name="connsiteY85" fmla="*/ 91202 h 3016069"/>
                    <a:gd name="connsiteX86" fmla="*/ 3885268 w 4520397"/>
                    <a:gd name="connsiteY86" fmla="*/ 99987 h 3016069"/>
                    <a:gd name="connsiteX87" fmla="*/ 3888323 w 4520397"/>
                    <a:gd name="connsiteY87" fmla="*/ 108062 h 3016069"/>
                    <a:gd name="connsiteX88" fmla="*/ 3894979 w 4520397"/>
                    <a:gd name="connsiteY88" fmla="*/ 110597 h 3016069"/>
                    <a:gd name="connsiteX89" fmla="*/ 3905956 w 4520397"/>
                    <a:gd name="connsiteY89" fmla="*/ 127482 h 3016069"/>
                    <a:gd name="connsiteX90" fmla="*/ 3914374 w 4520397"/>
                    <a:gd name="connsiteY90" fmla="*/ 142897 h 3016069"/>
                    <a:gd name="connsiteX91" fmla="*/ 3907313 w 4520397"/>
                    <a:gd name="connsiteY91" fmla="*/ 152087 h 3016069"/>
                    <a:gd name="connsiteX92" fmla="*/ 3913867 w 4520397"/>
                    <a:gd name="connsiteY92" fmla="*/ 168072 h 3016069"/>
                    <a:gd name="connsiteX93" fmla="*/ 3926949 w 4520397"/>
                    <a:gd name="connsiteY93" fmla="*/ 190358 h 3016069"/>
                    <a:gd name="connsiteX94" fmla="*/ 3923336 w 4520397"/>
                    <a:gd name="connsiteY94" fmla="*/ 195593 h 3016069"/>
                    <a:gd name="connsiteX95" fmla="*/ 3930587 w 4520397"/>
                    <a:gd name="connsiteY95" fmla="*/ 199130 h 3016069"/>
                    <a:gd name="connsiteX96" fmla="*/ 3933959 w 4520397"/>
                    <a:gd name="connsiteY96" fmla="*/ 204276 h 3016069"/>
                    <a:gd name="connsiteX97" fmla="*/ 3931956 w 4520397"/>
                    <a:gd name="connsiteY97" fmla="*/ 209842 h 3016069"/>
                    <a:gd name="connsiteX98" fmla="*/ 3940690 w 4520397"/>
                    <a:gd name="connsiteY98" fmla="*/ 214380 h 3016069"/>
                    <a:gd name="connsiteX99" fmla="*/ 3933680 w 4520397"/>
                    <a:gd name="connsiteY99" fmla="*/ 220718 h 3016069"/>
                    <a:gd name="connsiteX100" fmla="*/ 3940906 w 4520397"/>
                    <a:gd name="connsiteY100" fmla="*/ 220921 h 3016069"/>
                    <a:gd name="connsiteX101" fmla="*/ 3940703 w 4520397"/>
                    <a:gd name="connsiteY101" fmla="*/ 238148 h 3016069"/>
                    <a:gd name="connsiteX102" fmla="*/ 3958817 w 4520397"/>
                    <a:gd name="connsiteY102" fmla="*/ 263032 h 3016069"/>
                    <a:gd name="connsiteX103" fmla="*/ 3967869 w 4520397"/>
                    <a:gd name="connsiteY103" fmla="*/ 275861 h 3016069"/>
                    <a:gd name="connsiteX104" fmla="*/ 3968579 w 4520397"/>
                    <a:gd name="connsiteY104" fmla="*/ 283175 h 3016069"/>
                    <a:gd name="connsiteX105" fmla="*/ 3974296 w 4520397"/>
                    <a:gd name="connsiteY105" fmla="*/ 291973 h 3016069"/>
                    <a:gd name="connsiteX106" fmla="*/ 3969478 w 4520397"/>
                    <a:gd name="connsiteY106" fmla="*/ 302963 h 3016069"/>
                    <a:gd name="connsiteX107" fmla="*/ 3973839 w 4520397"/>
                    <a:gd name="connsiteY107" fmla="*/ 312635 h 3016069"/>
                    <a:gd name="connsiteX108" fmla="*/ 3979911 w 4520397"/>
                    <a:gd name="connsiteY108" fmla="*/ 323474 h 3016069"/>
                    <a:gd name="connsiteX109" fmla="*/ 3990509 w 4520397"/>
                    <a:gd name="connsiteY109" fmla="*/ 333666 h 3016069"/>
                    <a:gd name="connsiteX110" fmla="*/ 3983828 w 4520397"/>
                    <a:gd name="connsiteY110" fmla="*/ 350272 h 3016069"/>
                    <a:gd name="connsiteX111" fmla="*/ 3985185 w 4520397"/>
                    <a:gd name="connsiteY111" fmla="*/ 361427 h 3016069"/>
                    <a:gd name="connsiteX112" fmla="*/ 3996365 w 4520397"/>
                    <a:gd name="connsiteY112" fmla="*/ 372418 h 3016069"/>
                    <a:gd name="connsiteX113" fmla="*/ 4008801 w 4520397"/>
                    <a:gd name="connsiteY113" fmla="*/ 387731 h 3016069"/>
                    <a:gd name="connsiteX114" fmla="*/ 4018080 w 4520397"/>
                    <a:gd name="connsiteY114" fmla="*/ 386907 h 3016069"/>
                    <a:gd name="connsiteX115" fmla="*/ 4027157 w 4520397"/>
                    <a:gd name="connsiteY115" fmla="*/ 392561 h 3016069"/>
                    <a:gd name="connsiteX116" fmla="*/ 4050228 w 4520397"/>
                    <a:gd name="connsiteY116" fmla="*/ 389164 h 3016069"/>
                    <a:gd name="connsiteX117" fmla="*/ 4080449 w 4520397"/>
                    <a:gd name="connsiteY117" fmla="*/ 390127 h 3016069"/>
                    <a:gd name="connsiteX118" fmla="*/ 4076861 w 4520397"/>
                    <a:gd name="connsiteY118" fmla="*/ 397340 h 3016069"/>
                    <a:gd name="connsiteX119" fmla="*/ 4086305 w 4520397"/>
                    <a:gd name="connsiteY119" fmla="*/ 398696 h 3016069"/>
                    <a:gd name="connsiteX120" fmla="*/ 4097689 w 4520397"/>
                    <a:gd name="connsiteY120" fmla="*/ 405871 h 3016069"/>
                    <a:gd name="connsiteX121" fmla="*/ 4106588 w 4520397"/>
                    <a:gd name="connsiteY121" fmla="*/ 409370 h 3016069"/>
                    <a:gd name="connsiteX122" fmla="*/ 4115436 w 4520397"/>
                    <a:gd name="connsiteY122" fmla="*/ 408685 h 3016069"/>
                    <a:gd name="connsiteX123" fmla="*/ 4121267 w 4520397"/>
                    <a:gd name="connsiteY123" fmla="*/ 411588 h 3016069"/>
                    <a:gd name="connsiteX124" fmla="*/ 4122674 w 4520397"/>
                    <a:gd name="connsiteY124" fmla="*/ 405085 h 3016069"/>
                    <a:gd name="connsiteX125" fmla="*/ 4136175 w 4520397"/>
                    <a:gd name="connsiteY125" fmla="*/ 416608 h 3016069"/>
                    <a:gd name="connsiteX126" fmla="*/ 4149130 w 4520397"/>
                    <a:gd name="connsiteY126" fmla="*/ 420792 h 3016069"/>
                    <a:gd name="connsiteX127" fmla="*/ 4151057 w 4520397"/>
                    <a:gd name="connsiteY127" fmla="*/ 426775 h 3016069"/>
                    <a:gd name="connsiteX128" fmla="*/ 4157712 w 4520397"/>
                    <a:gd name="connsiteY128" fmla="*/ 428930 h 3016069"/>
                    <a:gd name="connsiteX129" fmla="*/ 4159018 w 4520397"/>
                    <a:gd name="connsiteY129" fmla="*/ 434203 h 3016069"/>
                    <a:gd name="connsiteX130" fmla="*/ 4163176 w 4520397"/>
                    <a:gd name="connsiteY130" fmla="*/ 437550 h 3016069"/>
                    <a:gd name="connsiteX131" fmla="*/ 4170465 w 4520397"/>
                    <a:gd name="connsiteY131" fmla="*/ 445422 h 3016069"/>
                    <a:gd name="connsiteX132" fmla="*/ 4204337 w 4520397"/>
                    <a:gd name="connsiteY132" fmla="*/ 455601 h 3016069"/>
                    <a:gd name="connsiteX133" fmla="*/ 4213438 w 4520397"/>
                    <a:gd name="connsiteY133" fmla="*/ 456983 h 3016069"/>
                    <a:gd name="connsiteX134" fmla="*/ 4217089 w 4520397"/>
                    <a:gd name="connsiteY134" fmla="*/ 461356 h 3016069"/>
                    <a:gd name="connsiteX135" fmla="*/ 4208406 w 4520397"/>
                    <a:gd name="connsiteY135" fmla="*/ 480612 h 3016069"/>
                    <a:gd name="connsiteX136" fmla="*/ 4214972 w 4520397"/>
                    <a:gd name="connsiteY136" fmla="*/ 485974 h 3016069"/>
                    <a:gd name="connsiteX137" fmla="*/ 4217672 w 4520397"/>
                    <a:gd name="connsiteY137" fmla="*/ 493377 h 3016069"/>
                    <a:gd name="connsiteX138" fmla="*/ 4225253 w 4520397"/>
                    <a:gd name="connsiteY138" fmla="*/ 492984 h 3016069"/>
                    <a:gd name="connsiteX139" fmla="*/ 4223859 w 4520397"/>
                    <a:gd name="connsiteY139" fmla="*/ 497789 h 3016069"/>
                    <a:gd name="connsiteX140" fmla="*/ 4225620 w 4520397"/>
                    <a:gd name="connsiteY140" fmla="*/ 517475 h 3016069"/>
                    <a:gd name="connsiteX141" fmla="*/ 4229056 w 4520397"/>
                    <a:gd name="connsiteY141" fmla="*/ 542309 h 3016069"/>
                    <a:gd name="connsiteX142" fmla="*/ 4238830 w 4520397"/>
                    <a:gd name="connsiteY142" fmla="*/ 558332 h 3016069"/>
                    <a:gd name="connsiteX143" fmla="*/ 4245434 w 4520397"/>
                    <a:gd name="connsiteY143" fmla="*/ 568663 h 3016069"/>
                    <a:gd name="connsiteX144" fmla="*/ 4276948 w 4520397"/>
                    <a:gd name="connsiteY144" fmla="*/ 563238 h 3016069"/>
                    <a:gd name="connsiteX145" fmla="*/ 4287266 w 4520397"/>
                    <a:gd name="connsiteY145" fmla="*/ 570299 h 3016069"/>
                    <a:gd name="connsiteX146" fmla="*/ 4291488 w 4520397"/>
                    <a:gd name="connsiteY146" fmla="*/ 568562 h 3016069"/>
                    <a:gd name="connsiteX147" fmla="*/ 4302770 w 4520397"/>
                    <a:gd name="connsiteY147" fmla="*/ 568600 h 3016069"/>
                    <a:gd name="connsiteX148" fmla="*/ 4327236 w 4520397"/>
                    <a:gd name="connsiteY148" fmla="*/ 567738 h 3016069"/>
                    <a:gd name="connsiteX149" fmla="*/ 4341395 w 4520397"/>
                    <a:gd name="connsiteY149" fmla="*/ 563364 h 3016069"/>
                    <a:gd name="connsiteX150" fmla="*/ 4355758 w 4520397"/>
                    <a:gd name="connsiteY150" fmla="*/ 566014 h 3016069"/>
                    <a:gd name="connsiteX151" fmla="*/ 4366723 w 4520397"/>
                    <a:gd name="connsiteY151" fmla="*/ 548634 h 3016069"/>
                    <a:gd name="connsiteX152" fmla="*/ 4367965 w 4520397"/>
                    <a:gd name="connsiteY152" fmla="*/ 542613 h 3016069"/>
                    <a:gd name="connsiteX153" fmla="*/ 4378613 w 4520397"/>
                    <a:gd name="connsiteY153" fmla="*/ 543120 h 3016069"/>
                    <a:gd name="connsiteX154" fmla="*/ 4401190 w 4520397"/>
                    <a:gd name="connsiteY154" fmla="*/ 527756 h 3016069"/>
                    <a:gd name="connsiteX155" fmla="*/ 4427215 w 4520397"/>
                    <a:gd name="connsiteY155" fmla="*/ 530000 h 3016069"/>
                    <a:gd name="connsiteX156" fmla="*/ 4443200 w 4520397"/>
                    <a:gd name="connsiteY156" fmla="*/ 516867 h 3016069"/>
                    <a:gd name="connsiteX157" fmla="*/ 4469225 w 4520397"/>
                    <a:gd name="connsiteY157" fmla="*/ 507892 h 3016069"/>
                    <a:gd name="connsiteX158" fmla="*/ 4491916 w 4520397"/>
                    <a:gd name="connsiteY158" fmla="*/ 503088 h 3016069"/>
                    <a:gd name="connsiteX159" fmla="*/ 4504935 w 4520397"/>
                    <a:gd name="connsiteY159" fmla="*/ 505027 h 3016069"/>
                    <a:gd name="connsiteX160" fmla="*/ 4517992 w 4520397"/>
                    <a:gd name="connsiteY160" fmla="*/ 513863 h 3016069"/>
                    <a:gd name="connsiteX161" fmla="*/ 4513859 w 4520397"/>
                    <a:gd name="connsiteY161" fmla="*/ 528479 h 3016069"/>
                    <a:gd name="connsiteX162" fmla="*/ 4507407 w 4520397"/>
                    <a:gd name="connsiteY162" fmla="*/ 540952 h 3016069"/>
                    <a:gd name="connsiteX163" fmla="*/ 4517738 w 4520397"/>
                    <a:gd name="connsiteY163" fmla="*/ 559143 h 3016069"/>
                    <a:gd name="connsiteX164" fmla="*/ 4516838 w 4520397"/>
                    <a:gd name="connsiteY164" fmla="*/ 571173 h 3016069"/>
                    <a:gd name="connsiteX165" fmla="*/ 4513415 w 4520397"/>
                    <a:gd name="connsiteY165" fmla="*/ 579071 h 3016069"/>
                    <a:gd name="connsiteX166" fmla="*/ 4493627 w 4520397"/>
                    <a:gd name="connsiteY166" fmla="*/ 591696 h 3016069"/>
                    <a:gd name="connsiteX167" fmla="*/ 4478111 w 4520397"/>
                    <a:gd name="connsiteY167" fmla="*/ 602281 h 3016069"/>
                    <a:gd name="connsiteX168" fmla="*/ 4479848 w 4520397"/>
                    <a:gd name="connsiteY168" fmla="*/ 617924 h 3016069"/>
                    <a:gd name="connsiteX169" fmla="*/ 4469961 w 4520397"/>
                    <a:gd name="connsiteY169" fmla="*/ 633681 h 3016069"/>
                    <a:gd name="connsiteX170" fmla="*/ 4466715 w 4520397"/>
                    <a:gd name="connsiteY170" fmla="*/ 658768 h 3016069"/>
                    <a:gd name="connsiteX171" fmla="*/ 4454052 w 4520397"/>
                    <a:gd name="connsiteY171" fmla="*/ 683335 h 3016069"/>
                    <a:gd name="connsiteX172" fmla="*/ 4459654 w 4520397"/>
                    <a:gd name="connsiteY172" fmla="*/ 689230 h 3016069"/>
                    <a:gd name="connsiteX173" fmla="*/ 4458628 w 4520397"/>
                    <a:gd name="connsiteY173" fmla="*/ 695492 h 3016069"/>
                    <a:gd name="connsiteX174" fmla="*/ 4450755 w 4520397"/>
                    <a:gd name="connsiteY174" fmla="*/ 704442 h 3016069"/>
                    <a:gd name="connsiteX175" fmla="*/ 4444531 w 4520397"/>
                    <a:gd name="connsiteY175" fmla="*/ 710273 h 3016069"/>
                    <a:gd name="connsiteX176" fmla="*/ 4443695 w 4520397"/>
                    <a:gd name="connsiteY176" fmla="*/ 719362 h 3016069"/>
                    <a:gd name="connsiteX177" fmla="*/ 4428736 w 4520397"/>
                    <a:gd name="connsiteY177" fmla="*/ 744588 h 3016069"/>
                    <a:gd name="connsiteX178" fmla="*/ 4423666 w 4520397"/>
                    <a:gd name="connsiteY178" fmla="*/ 750901 h 3016069"/>
                    <a:gd name="connsiteX179" fmla="*/ 4426201 w 4520397"/>
                    <a:gd name="connsiteY179" fmla="*/ 758393 h 3016069"/>
                    <a:gd name="connsiteX180" fmla="*/ 4398452 w 4520397"/>
                    <a:gd name="connsiteY180" fmla="*/ 792480 h 3016069"/>
                    <a:gd name="connsiteX181" fmla="*/ 4392735 w 4520397"/>
                    <a:gd name="connsiteY181" fmla="*/ 810290 h 3016069"/>
                    <a:gd name="connsiteX182" fmla="*/ 4376028 w 4520397"/>
                    <a:gd name="connsiteY182" fmla="*/ 798413 h 3016069"/>
                    <a:gd name="connsiteX183" fmla="*/ 4337846 w 4520397"/>
                    <a:gd name="connsiteY183" fmla="*/ 785140 h 3016069"/>
                    <a:gd name="connsiteX184" fmla="*/ 4314052 w 4520397"/>
                    <a:gd name="connsiteY184" fmla="*/ 794052 h 3016069"/>
                    <a:gd name="connsiteX185" fmla="*/ 4301667 w 4520397"/>
                    <a:gd name="connsiteY185" fmla="*/ 787295 h 3016069"/>
                    <a:gd name="connsiteX186" fmla="*/ 4296495 w 4520397"/>
                    <a:gd name="connsiteY186" fmla="*/ 796067 h 3016069"/>
                    <a:gd name="connsiteX187" fmla="*/ 4291538 w 4520397"/>
                    <a:gd name="connsiteY187" fmla="*/ 796727 h 3016069"/>
                    <a:gd name="connsiteX188" fmla="*/ 4288724 w 4520397"/>
                    <a:gd name="connsiteY188" fmla="*/ 803901 h 3016069"/>
                    <a:gd name="connsiteX189" fmla="*/ 4277962 w 4520397"/>
                    <a:gd name="connsiteY189" fmla="*/ 815932 h 3016069"/>
                    <a:gd name="connsiteX190" fmla="*/ 4265742 w 4520397"/>
                    <a:gd name="connsiteY190" fmla="*/ 819253 h 3016069"/>
                    <a:gd name="connsiteX191" fmla="*/ 4244255 w 4520397"/>
                    <a:gd name="connsiteY191" fmla="*/ 828393 h 3016069"/>
                    <a:gd name="connsiteX192" fmla="*/ 4240959 w 4520397"/>
                    <a:gd name="connsiteY192" fmla="*/ 835948 h 3016069"/>
                    <a:gd name="connsiteX193" fmla="*/ 4250036 w 4520397"/>
                    <a:gd name="connsiteY193" fmla="*/ 852579 h 3016069"/>
                    <a:gd name="connsiteX194" fmla="*/ 4262040 w 4520397"/>
                    <a:gd name="connsiteY194" fmla="*/ 902132 h 3016069"/>
                    <a:gd name="connsiteX195" fmla="*/ 4255664 w 4520397"/>
                    <a:gd name="connsiteY195" fmla="*/ 925292 h 3016069"/>
                    <a:gd name="connsiteX196" fmla="*/ 4256792 w 4520397"/>
                    <a:gd name="connsiteY196" fmla="*/ 944269 h 3016069"/>
                    <a:gd name="connsiteX197" fmla="*/ 4255385 w 4520397"/>
                    <a:gd name="connsiteY197" fmla="*/ 949073 h 3016069"/>
                    <a:gd name="connsiteX198" fmla="*/ 4262408 w 4520397"/>
                    <a:gd name="connsiteY198" fmla="*/ 954232 h 3016069"/>
                    <a:gd name="connsiteX199" fmla="*/ 4261191 w 4520397"/>
                    <a:gd name="connsiteY199" fmla="*/ 965971 h 3016069"/>
                    <a:gd name="connsiteX200" fmla="*/ 4257401 w 4520397"/>
                    <a:gd name="connsiteY200" fmla="*/ 975047 h 3016069"/>
                    <a:gd name="connsiteX201" fmla="*/ 4257071 w 4520397"/>
                    <a:gd name="connsiteY201" fmla="*/ 983224 h 3016069"/>
                    <a:gd name="connsiteX202" fmla="*/ 4251899 w 4520397"/>
                    <a:gd name="connsiteY202" fmla="*/ 990399 h 3016069"/>
                    <a:gd name="connsiteX203" fmla="*/ 4249731 w 4520397"/>
                    <a:gd name="connsiteY203" fmla="*/ 1000071 h 3016069"/>
                    <a:gd name="connsiteX204" fmla="*/ 4243177 w 4520397"/>
                    <a:gd name="connsiteY204" fmla="*/ 1006954 h 3016069"/>
                    <a:gd name="connsiteX205" fmla="*/ 4227826 w 4520397"/>
                    <a:gd name="connsiteY205" fmla="*/ 1007233 h 3016069"/>
                    <a:gd name="connsiteX206" fmla="*/ 4224404 w 4520397"/>
                    <a:gd name="connsiteY206" fmla="*/ 1010161 h 3016069"/>
                    <a:gd name="connsiteX207" fmla="*/ 4214757 w 4520397"/>
                    <a:gd name="connsiteY207" fmla="*/ 1011378 h 3016069"/>
                    <a:gd name="connsiteX208" fmla="*/ 4198176 w 4520397"/>
                    <a:gd name="connsiteY208" fmla="*/ 1023446 h 3016069"/>
                    <a:gd name="connsiteX209" fmla="*/ 4208330 w 4520397"/>
                    <a:gd name="connsiteY209" fmla="*/ 1037390 h 3016069"/>
                    <a:gd name="connsiteX210" fmla="*/ 4203728 w 4520397"/>
                    <a:gd name="connsiteY210" fmla="*/ 1035235 h 3016069"/>
                    <a:gd name="connsiteX211" fmla="*/ 4191571 w 4520397"/>
                    <a:gd name="connsiteY211" fmla="*/ 1024321 h 3016069"/>
                    <a:gd name="connsiteX212" fmla="*/ 4176435 w 4520397"/>
                    <a:gd name="connsiteY212" fmla="*/ 1002631 h 3016069"/>
                    <a:gd name="connsiteX213" fmla="*/ 4170439 w 4520397"/>
                    <a:gd name="connsiteY213" fmla="*/ 999120 h 3016069"/>
                    <a:gd name="connsiteX214" fmla="*/ 4160248 w 4520397"/>
                    <a:gd name="connsiteY214" fmla="*/ 996002 h 3016069"/>
                    <a:gd name="connsiteX215" fmla="*/ 4162250 w 4520397"/>
                    <a:gd name="connsiteY215" fmla="*/ 997764 h 3016069"/>
                    <a:gd name="connsiteX216" fmla="*/ 4138938 w 4520397"/>
                    <a:gd name="connsiteY216" fmla="*/ 1044705 h 3016069"/>
                    <a:gd name="connsiteX217" fmla="*/ 4120329 w 4520397"/>
                    <a:gd name="connsiteY217" fmla="*/ 1044933 h 3016069"/>
                    <a:gd name="connsiteX218" fmla="*/ 4121229 w 4520397"/>
                    <a:gd name="connsiteY218" fmla="*/ 1047139 h 3016069"/>
                    <a:gd name="connsiteX219" fmla="*/ 4109516 w 4520397"/>
                    <a:gd name="connsiteY219" fmla="*/ 1056202 h 3016069"/>
                    <a:gd name="connsiteX220" fmla="*/ 4112026 w 4520397"/>
                    <a:gd name="connsiteY220" fmla="*/ 1058028 h 3016069"/>
                    <a:gd name="connsiteX221" fmla="*/ 4099971 w 4520397"/>
                    <a:gd name="connsiteY221" fmla="*/ 1070755 h 3016069"/>
                    <a:gd name="connsiteX222" fmla="*/ 4072703 w 4520397"/>
                    <a:gd name="connsiteY222" fmla="*/ 1081860 h 3016069"/>
                    <a:gd name="connsiteX223" fmla="*/ 4038756 w 4520397"/>
                    <a:gd name="connsiteY223" fmla="*/ 1081885 h 3016069"/>
                    <a:gd name="connsiteX224" fmla="*/ 4033026 w 4520397"/>
                    <a:gd name="connsiteY224" fmla="*/ 1109723 h 3016069"/>
                    <a:gd name="connsiteX225" fmla="*/ 4042178 w 4520397"/>
                    <a:gd name="connsiteY225" fmla="*/ 1119141 h 3016069"/>
                    <a:gd name="connsiteX226" fmla="*/ 4028944 w 4520397"/>
                    <a:gd name="connsiteY226" fmla="*/ 1138993 h 3016069"/>
                    <a:gd name="connsiteX227" fmla="*/ 4029996 w 4520397"/>
                    <a:gd name="connsiteY227" fmla="*/ 1137738 h 3016069"/>
                    <a:gd name="connsiteX228" fmla="*/ 4024989 w 4520397"/>
                    <a:gd name="connsiteY228" fmla="*/ 1135342 h 3016069"/>
                    <a:gd name="connsiteX229" fmla="*/ 4021376 w 4520397"/>
                    <a:gd name="connsiteY229" fmla="*/ 1130956 h 3016069"/>
                    <a:gd name="connsiteX230" fmla="*/ 3967235 w 4520397"/>
                    <a:gd name="connsiteY230" fmla="*/ 1127952 h 3016069"/>
                    <a:gd name="connsiteX231" fmla="*/ 3968705 w 4520397"/>
                    <a:gd name="connsiteY231" fmla="*/ 1126139 h 3016069"/>
                    <a:gd name="connsiteX232" fmla="*/ 3955052 w 4520397"/>
                    <a:gd name="connsiteY232" fmla="*/ 1125087 h 3016069"/>
                    <a:gd name="connsiteX233" fmla="*/ 3960605 w 4520397"/>
                    <a:gd name="connsiteY233" fmla="*/ 1120903 h 3016069"/>
                    <a:gd name="connsiteX234" fmla="*/ 3952999 w 4520397"/>
                    <a:gd name="connsiteY234" fmla="*/ 1112486 h 3016069"/>
                    <a:gd name="connsiteX235" fmla="*/ 3931690 w 4520397"/>
                    <a:gd name="connsiteY235" fmla="*/ 1111168 h 3016069"/>
                    <a:gd name="connsiteX236" fmla="*/ 3923615 w 4520397"/>
                    <a:gd name="connsiteY236" fmla="*/ 1107631 h 3016069"/>
                    <a:gd name="connsiteX237" fmla="*/ 3927177 w 4520397"/>
                    <a:gd name="connsiteY237" fmla="*/ 1110699 h 3016069"/>
                    <a:gd name="connsiteX238" fmla="*/ 3916060 w 4520397"/>
                    <a:gd name="connsiteY238" fmla="*/ 1122957 h 3016069"/>
                    <a:gd name="connsiteX239" fmla="*/ 3909430 w 4520397"/>
                    <a:gd name="connsiteY239" fmla="*/ 1142048 h 3016069"/>
                    <a:gd name="connsiteX240" fmla="*/ 3910456 w 4520397"/>
                    <a:gd name="connsiteY240" fmla="*/ 1140146 h 3016069"/>
                    <a:gd name="connsiteX241" fmla="*/ 3898984 w 4520397"/>
                    <a:gd name="connsiteY241" fmla="*/ 1151416 h 3016069"/>
                    <a:gd name="connsiteX242" fmla="*/ 3884939 w 4520397"/>
                    <a:gd name="connsiteY242" fmla="*/ 1163813 h 3016069"/>
                    <a:gd name="connsiteX243" fmla="*/ 3871971 w 4520397"/>
                    <a:gd name="connsiteY243" fmla="*/ 1179786 h 3016069"/>
                    <a:gd name="connsiteX244" fmla="*/ 3874531 w 4520397"/>
                    <a:gd name="connsiteY244" fmla="*/ 1180166 h 3016069"/>
                    <a:gd name="connsiteX245" fmla="*/ 3849964 w 4520397"/>
                    <a:gd name="connsiteY245" fmla="*/ 1192424 h 3016069"/>
                    <a:gd name="connsiteX246" fmla="*/ 3833269 w 4520397"/>
                    <a:gd name="connsiteY246" fmla="*/ 1198991 h 3016069"/>
                    <a:gd name="connsiteX247" fmla="*/ 3829618 w 4520397"/>
                    <a:gd name="connsiteY247" fmla="*/ 1204366 h 3016069"/>
                    <a:gd name="connsiteX248" fmla="*/ 3820555 w 4520397"/>
                    <a:gd name="connsiteY248" fmla="*/ 1203136 h 3016069"/>
                    <a:gd name="connsiteX249" fmla="*/ 3803175 w 4520397"/>
                    <a:gd name="connsiteY249" fmla="*/ 1212225 h 3016069"/>
                    <a:gd name="connsiteX250" fmla="*/ 3799981 w 4520397"/>
                    <a:gd name="connsiteY250" fmla="*/ 1219679 h 3016069"/>
                    <a:gd name="connsiteX251" fmla="*/ 3791779 w 4520397"/>
                    <a:gd name="connsiteY251" fmla="*/ 1217283 h 3016069"/>
                    <a:gd name="connsiteX252" fmla="*/ 3769265 w 4520397"/>
                    <a:gd name="connsiteY252" fmla="*/ 1236539 h 3016069"/>
                    <a:gd name="connsiteX253" fmla="*/ 3754054 w 4520397"/>
                    <a:gd name="connsiteY253" fmla="*/ 1249735 h 3016069"/>
                    <a:gd name="connsiteX254" fmla="*/ 3748096 w 4520397"/>
                    <a:gd name="connsiteY254" fmla="*/ 1262995 h 3016069"/>
                    <a:gd name="connsiteX255" fmla="*/ 3724099 w 4520397"/>
                    <a:gd name="connsiteY255" fmla="*/ 1275544 h 3016069"/>
                    <a:gd name="connsiteX256" fmla="*/ 3700204 w 4520397"/>
                    <a:gd name="connsiteY256" fmla="*/ 1266290 h 3016069"/>
                    <a:gd name="connsiteX257" fmla="*/ 3693257 w 4520397"/>
                    <a:gd name="connsiteY257" fmla="*/ 1279360 h 3016069"/>
                    <a:gd name="connsiteX258" fmla="*/ 3682469 w 4520397"/>
                    <a:gd name="connsiteY258" fmla="*/ 1274530 h 3016069"/>
                    <a:gd name="connsiteX259" fmla="*/ 3670287 w 4520397"/>
                    <a:gd name="connsiteY259" fmla="*/ 1275177 h 3016069"/>
                    <a:gd name="connsiteX260" fmla="*/ 3669235 w 4520397"/>
                    <a:gd name="connsiteY260" fmla="*/ 1275861 h 3016069"/>
                    <a:gd name="connsiteX261" fmla="*/ 3671238 w 4520397"/>
                    <a:gd name="connsiteY261" fmla="*/ 1280628 h 3016069"/>
                    <a:gd name="connsiteX262" fmla="*/ 3667143 w 4520397"/>
                    <a:gd name="connsiteY262" fmla="*/ 1280564 h 3016069"/>
                    <a:gd name="connsiteX263" fmla="*/ 3649967 w 4520397"/>
                    <a:gd name="connsiteY263" fmla="*/ 1288234 h 3016069"/>
                    <a:gd name="connsiteX264" fmla="*/ 3647571 w 4520397"/>
                    <a:gd name="connsiteY264" fmla="*/ 1292239 h 3016069"/>
                    <a:gd name="connsiteX265" fmla="*/ 3640447 w 4520397"/>
                    <a:gd name="connsiteY265" fmla="*/ 1292404 h 3016069"/>
                    <a:gd name="connsiteX266" fmla="*/ 3633462 w 4520397"/>
                    <a:gd name="connsiteY266" fmla="*/ 1298045 h 3016069"/>
                    <a:gd name="connsiteX267" fmla="*/ 3618592 w 4520397"/>
                    <a:gd name="connsiteY267" fmla="*/ 1304193 h 3016069"/>
                    <a:gd name="connsiteX268" fmla="*/ 3603190 w 4520397"/>
                    <a:gd name="connsiteY268" fmla="*/ 1312763 h 3016069"/>
                    <a:gd name="connsiteX269" fmla="*/ 3585418 w 4520397"/>
                    <a:gd name="connsiteY269" fmla="*/ 1331968 h 3016069"/>
                    <a:gd name="connsiteX270" fmla="*/ 3589703 w 4520397"/>
                    <a:gd name="connsiteY270" fmla="*/ 1333083 h 3016069"/>
                    <a:gd name="connsiteX271" fmla="*/ 3569458 w 4520397"/>
                    <a:gd name="connsiteY271" fmla="*/ 1342007 h 3016069"/>
                    <a:gd name="connsiteX272" fmla="*/ 3572019 w 4520397"/>
                    <a:gd name="connsiteY272" fmla="*/ 1344898 h 3016069"/>
                    <a:gd name="connsiteX273" fmla="*/ 3564907 w 4520397"/>
                    <a:gd name="connsiteY273" fmla="*/ 1342540 h 3016069"/>
                    <a:gd name="connsiteX274" fmla="*/ 3567772 w 4520397"/>
                    <a:gd name="connsiteY274" fmla="*/ 1350171 h 3016069"/>
                    <a:gd name="connsiteX275" fmla="*/ 3557327 w 4520397"/>
                    <a:gd name="connsiteY275" fmla="*/ 1343085 h 3016069"/>
                    <a:gd name="connsiteX276" fmla="*/ 3558379 w 4520397"/>
                    <a:gd name="connsiteY276" fmla="*/ 1345557 h 3016069"/>
                    <a:gd name="connsiteX277" fmla="*/ 3550760 w 4520397"/>
                    <a:gd name="connsiteY277" fmla="*/ 1346089 h 3016069"/>
                    <a:gd name="connsiteX278" fmla="*/ 3547185 w 4520397"/>
                    <a:gd name="connsiteY278" fmla="*/ 1350830 h 3016069"/>
                    <a:gd name="connsiteX279" fmla="*/ 3555793 w 4520397"/>
                    <a:gd name="connsiteY279" fmla="*/ 1354963 h 3016069"/>
                    <a:gd name="connsiteX280" fmla="*/ 3546222 w 4520397"/>
                    <a:gd name="connsiteY280" fmla="*/ 1357549 h 3016069"/>
                    <a:gd name="connsiteX281" fmla="*/ 3531859 w 4520397"/>
                    <a:gd name="connsiteY281" fmla="*/ 1361440 h 3016069"/>
                    <a:gd name="connsiteX282" fmla="*/ 3519880 w 4520397"/>
                    <a:gd name="connsiteY282" fmla="*/ 1364965 h 3016069"/>
                    <a:gd name="connsiteX283" fmla="*/ 3521883 w 4520397"/>
                    <a:gd name="connsiteY283" fmla="*/ 1364965 h 3016069"/>
                    <a:gd name="connsiteX284" fmla="*/ 3512249 w 4520397"/>
                    <a:gd name="connsiteY284" fmla="*/ 1365586 h 3016069"/>
                    <a:gd name="connsiteX285" fmla="*/ 3514746 w 4520397"/>
                    <a:gd name="connsiteY285" fmla="*/ 1354354 h 3016069"/>
                    <a:gd name="connsiteX286" fmla="*/ 3510436 w 4520397"/>
                    <a:gd name="connsiteY286" fmla="*/ 1354354 h 3016069"/>
                    <a:gd name="connsiteX287" fmla="*/ 3525344 w 4520397"/>
                    <a:gd name="connsiteY287" fmla="*/ 1348498 h 3016069"/>
                    <a:gd name="connsiteX288" fmla="*/ 3533976 w 4520397"/>
                    <a:gd name="connsiteY288" fmla="*/ 1342857 h 3016069"/>
                    <a:gd name="connsiteX289" fmla="*/ 3554424 w 4520397"/>
                    <a:gd name="connsiteY289" fmla="*/ 1334731 h 3016069"/>
                    <a:gd name="connsiteX290" fmla="*/ 3550583 w 4520397"/>
                    <a:gd name="connsiteY290" fmla="*/ 1325363 h 3016069"/>
                    <a:gd name="connsiteX291" fmla="*/ 3547388 w 4520397"/>
                    <a:gd name="connsiteY291" fmla="*/ 1322955 h 3016069"/>
                    <a:gd name="connsiteX292" fmla="*/ 3558341 w 4520397"/>
                    <a:gd name="connsiteY292" fmla="*/ 1318176 h 3016069"/>
                    <a:gd name="connsiteX293" fmla="*/ 3563969 w 4520397"/>
                    <a:gd name="connsiteY293" fmla="*/ 1314005 h 3016069"/>
                    <a:gd name="connsiteX294" fmla="*/ 3573489 w 4520397"/>
                    <a:gd name="connsiteY294" fmla="*/ 1311305 h 3016069"/>
                    <a:gd name="connsiteX295" fmla="*/ 3572627 w 4520397"/>
                    <a:gd name="connsiteY295" fmla="*/ 1309771 h 3016069"/>
                    <a:gd name="connsiteX296" fmla="*/ 3556097 w 4520397"/>
                    <a:gd name="connsiteY296" fmla="*/ 1311622 h 3016069"/>
                    <a:gd name="connsiteX297" fmla="*/ 3556807 w 4520397"/>
                    <a:gd name="connsiteY297" fmla="*/ 1313713 h 3016069"/>
                    <a:gd name="connsiteX298" fmla="*/ 3543496 w 4520397"/>
                    <a:gd name="connsiteY298" fmla="*/ 1314423 h 3016069"/>
                    <a:gd name="connsiteX299" fmla="*/ 3537868 w 4520397"/>
                    <a:gd name="connsiteY299" fmla="*/ 1304903 h 3016069"/>
                    <a:gd name="connsiteX300" fmla="*/ 3524253 w 4520397"/>
                    <a:gd name="connsiteY300" fmla="*/ 1301442 h 3016069"/>
                    <a:gd name="connsiteX301" fmla="*/ 3542622 w 4520397"/>
                    <a:gd name="connsiteY301" fmla="*/ 1292442 h 3016069"/>
                    <a:gd name="connsiteX302" fmla="*/ 3540733 w 4520397"/>
                    <a:gd name="connsiteY302" fmla="*/ 1274923 h 3016069"/>
                    <a:gd name="connsiteX303" fmla="*/ 3564907 w 4520397"/>
                    <a:gd name="connsiteY303" fmla="*/ 1257417 h 3016069"/>
                    <a:gd name="connsiteX304" fmla="*/ 3577038 w 4520397"/>
                    <a:gd name="connsiteY304" fmla="*/ 1243156 h 3016069"/>
                    <a:gd name="connsiteX305" fmla="*/ 3592758 w 4520397"/>
                    <a:gd name="connsiteY305" fmla="*/ 1222252 h 3016069"/>
                    <a:gd name="connsiteX306" fmla="*/ 3598741 w 4520397"/>
                    <a:gd name="connsiteY306" fmla="*/ 1213024 h 3016069"/>
                    <a:gd name="connsiteX307" fmla="*/ 3589499 w 4520397"/>
                    <a:gd name="connsiteY307" fmla="*/ 1198357 h 3016069"/>
                    <a:gd name="connsiteX308" fmla="*/ 3568456 w 4520397"/>
                    <a:gd name="connsiteY308" fmla="*/ 1173207 h 3016069"/>
                    <a:gd name="connsiteX309" fmla="*/ 3551445 w 4520397"/>
                    <a:gd name="connsiteY309" fmla="*/ 1185655 h 3016069"/>
                    <a:gd name="connsiteX310" fmla="*/ 3532924 w 4520397"/>
                    <a:gd name="connsiteY310" fmla="*/ 1178911 h 3016069"/>
                    <a:gd name="connsiteX311" fmla="*/ 3507457 w 4520397"/>
                    <a:gd name="connsiteY311" fmla="*/ 1189991 h 3016069"/>
                    <a:gd name="connsiteX312" fmla="*/ 3499293 w 4520397"/>
                    <a:gd name="connsiteY312" fmla="*/ 1194960 h 3016069"/>
                    <a:gd name="connsiteX313" fmla="*/ 3505302 w 4520397"/>
                    <a:gd name="connsiteY313" fmla="*/ 1196810 h 3016069"/>
                    <a:gd name="connsiteX314" fmla="*/ 3486769 w 4520397"/>
                    <a:gd name="connsiteY314" fmla="*/ 1208460 h 3016069"/>
                    <a:gd name="connsiteX315" fmla="*/ 3469681 w 4520397"/>
                    <a:gd name="connsiteY315" fmla="*/ 1226118 h 3016069"/>
                    <a:gd name="connsiteX316" fmla="*/ 3473294 w 4520397"/>
                    <a:gd name="connsiteY316" fmla="*/ 1226004 h 3016069"/>
                    <a:gd name="connsiteX317" fmla="*/ 3462075 w 4520397"/>
                    <a:gd name="connsiteY317" fmla="*/ 1242497 h 3016069"/>
                    <a:gd name="connsiteX318" fmla="*/ 3441831 w 4520397"/>
                    <a:gd name="connsiteY318" fmla="*/ 1249456 h 3016069"/>
                    <a:gd name="connsiteX319" fmla="*/ 3414487 w 4520397"/>
                    <a:gd name="connsiteY319" fmla="*/ 1262551 h 3016069"/>
                    <a:gd name="connsiteX320" fmla="*/ 3395118 w 4520397"/>
                    <a:gd name="connsiteY320" fmla="*/ 1275443 h 3016069"/>
                    <a:gd name="connsiteX321" fmla="*/ 3380781 w 4520397"/>
                    <a:gd name="connsiteY321" fmla="*/ 1284862 h 3016069"/>
                    <a:gd name="connsiteX322" fmla="*/ 3371375 w 4520397"/>
                    <a:gd name="connsiteY322" fmla="*/ 1298324 h 3016069"/>
                    <a:gd name="connsiteX323" fmla="*/ 3373859 w 4520397"/>
                    <a:gd name="connsiteY323" fmla="*/ 1296537 h 3016069"/>
                    <a:gd name="connsiteX324" fmla="*/ 3372858 w 4520397"/>
                    <a:gd name="connsiteY324" fmla="*/ 1299541 h 3016069"/>
                    <a:gd name="connsiteX325" fmla="*/ 3376699 w 4520397"/>
                    <a:gd name="connsiteY325" fmla="*/ 1296169 h 3016069"/>
                    <a:gd name="connsiteX326" fmla="*/ 3378131 w 4520397"/>
                    <a:gd name="connsiteY326" fmla="*/ 1309353 h 3016069"/>
                    <a:gd name="connsiteX327" fmla="*/ 3370602 w 4520397"/>
                    <a:gd name="connsiteY327" fmla="*/ 1314626 h 3016069"/>
                    <a:gd name="connsiteX328" fmla="*/ 3348088 w 4520397"/>
                    <a:gd name="connsiteY328" fmla="*/ 1335048 h 3016069"/>
                    <a:gd name="connsiteX329" fmla="*/ 3353691 w 4520397"/>
                    <a:gd name="connsiteY329" fmla="*/ 1329103 h 3016069"/>
                    <a:gd name="connsiteX330" fmla="*/ 3347061 w 4520397"/>
                    <a:gd name="connsiteY330" fmla="*/ 1330877 h 3016069"/>
                    <a:gd name="connsiteX331" fmla="*/ 3346592 w 4520397"/>
                    <a:gd name="connsiteY331" fmla="*/ 1327353 h 3016069"/>
                    <a:gd name="connsiteX332" fmla="*/ 3327260 w 4520397"/>
                    <a:gd name="connsiteY332" fmla="*/ 1332158 h 3016069"/>
                    <a:gd name="connsiteX333" fmla="*/ 3308055 w 4520397"/>
                    <a:gd name="connsiteY333" fmla="*/ 1342616 h 3016069"/>
                    <a:gd name="connsiteX334" fmla="*/ 3289142 w 4520397"/>
                    <a:gd name="connsiteY334" fmla="*/ 1328329 h 3016069"/>
                    <a:gd name="connsiteX335" fmla="*/ 3260924 w 4520397"/>
                    <a:gd name="connsiteY335" fmla="*/ 1336176 h 3016069"/>
                    <a:gd name="connsiteX336" fmla="*/ 3265399 w 4520397"/>
                    <a:gd name="connsiteY336" fmla="*/ 1347382 h 3016069"/>
                    <a:gd name="connsiteX337" fmla="*/ 3259961 w 4520397"/>
                    <a:gd name="connsiteY337" fmla="*/ 1346165 h 3016069"/>
                    <a:gd name="connsiteX338" fmla="*/ 3249934 w 4520397"/>
                    <a:gd name="connsiteY338" fmla="*/ 1379035 h 3016069"/>
                    <a:gd name="connsiteX339" fmla="*/ 3281181 w 4520397"/>
                    <a:gd name="connsiteY339" fmla="*/ 1414428 h 3016069"/>
                    <a:gd name="connsiteX340" fmla="*/ 3316498 w 4520397"/>
                    <a:gd name="connsiteY340" fmla="*/ 1422541 h 3016069"/>
                    <a:gd name="connsiteX341" fmla="*/ 3325701 w 4520397"/>
                    <a:gd name="connsiteY341" fmla="*/ 1422820 h 3016069"/>
                    <a:gd name="connsiteX342" fmla="*/ 3345185 w 4520397"/>
                    <a:gd name="connsiteY342" fmla="*/ 1418954 h 3016069"/>
                    <a:gd name="connsiteX343" fmla="*/ 3358521 w 4520397"/>
                    <a:gd name="connsiteY343" fmla="*/ 1435471 h 3016069"/>
                    <a:gd name="connsiteX344" fmla="*/ 3374797 w 4520397"/>
                    <a:gd name="connsiteY344" fmla="*/ 1459303 h 3016069"/>
                    <a:gd name="connsiteX345" fmla="*/ 3357215 w 4520397"/>
                    <a:gd name="connsiteY345" fmla="*/ 1459303 h 3016069"/>
                    <a:gd name="connsiteX346" fmla="*/ 3352170 w 4520397"/>
                    <a:gd name="connsiteY346" fmla="*/ 1479636 h 3016069"/>
                    <a:gd name="connsiteX347" fmla="*/ 3390453 w 4520397"/>
                    <a:gd name="connsiteY347" fmla="*/ 1505230 h 3016069"/>
                    <a:gd name="connsiteX348" fmla="*/ 3413968 w 4520397"/>
                    <a:gd name="connsiteY348" fmla="*/ 1501478 h 3016069"/>
                    <a:gd name="connsiteX349" fmla="*/ 3419812 w 4520397"/>
                    <a:gd name="connsiteY349" fmla="*/ 1485493 h 3016069"/>
                    <a:gd name="connsiteX350" fmla="*/ 3445798 w 4520397"/>
                    <a:gd name="connsiteY350" fmla="*/ 1458238 h 3016069"/>
                    <a:gd name="connsiteX351" fmla="*/ 3499167 w 4520397"/>
                    <a:gd name="connsiteY351" fmla="*/ 1448211 h 3016069"/>
                    <a:gd name="connsiteX352" fmla="*/ 3504605 w 4520397"/>
                    <a:gd name="connsiteY352" fmla="*/ 1453840 h 3016069"/>
                    <a:gd name="connsiteX353" fmla="*/ 3514378 w 4520397"/>
                    <a:gd name="connsiteY353" fmla="*/ 1457288 h 3016069"/>
                    <a:gd name="connsiteX354" fmla="*/ 3516445 w 4520397"/>
                    <a:gd name="connsiteY354" fmla="*/ 1467327 h 3016069"/>
                    <a:gd name="connsiteX355" fmla="*/ 3529945 w 4520397"/>
                    <a:gd name="connsiteY355" fmla="*/ 1462156 h 3016069"/>
                    <a:gd name="connsiteX356" fmla="*/ 3535561 w 4520397"/>
                    <a:gd name="connsiteY356" fmla="*/ 1465641 h 3016069"/>
                    <a:gd name="connsiteX357" fmla="*/ 3553764 w 4520397"/>
                    <a:gd name="connsiteY357" fmla="*/ 1479041 h 3016069"/>
                    <a:gd name="connsiteX358" fmla="*/ 3547185 w 4520397"/>
                    <a:gd name="connsiteY358" fmla="*/ 1477811 h 3016069"/>
                    <a:gd name="connsiteX359" fmla="*/ 3574554 w 4520397"/>
                    <a:gd name="connsiteY359" fmla="*/ 1477279 h 3016069"/>
                    <a:gd name="connsiteX360" fmla="*/ 3582667 w 4520397"/>
                    <a:gd name="connsiteY360" fmla="*/ 1468544 h 3016069"/>
                    <a:gd name="connsiteX361" fmla="*/ 3591236 w 4520397"/>
                    <a:gd name="connsiteY361" fmla="*/ 1480803 h 3016069"/>
                    <a:gd name="connsiteX362" fmla="*/ 3618364 w 4520397"/>
                    <a:gd name="connsiteY362" fmla="*/ 1481994 h 3016069"/>
                    <a:gd name="connsiteX363" fmla="*/ 3621685 w 4520397"/>
                    <a:gd name="connsiteY363" fmla="*/ 1491235 h 3016069"/>
                    <a:gd name="connsiteX364" fmla="*/ 3618339 w 4520397"/>
                    <a:gd name="connsiteY364" fmla="*/ 1489156 h 3016069"/>
                    <a:gd name="connsiteX365" fmla="*/ 3624208 w 4520397"/>
                    <a:gd name="connsiteY365" fmla="*/ 1499906 h 3016069"/>
                    <a:gd name="connsiteX366" fmla="*/ 3620164 w 4520397"/>
                    <a:gd name="connsiteY366" fmla="*/ 1504001 h 3016069"/>
                    <a:gd name="connsiteX367" fmla="*/ 3612039 w 4520397"/>
                    <a:gd name="connsiteY367" fmla="*/ 1506904 h 3016069"/>
                    <a:gd name="connsiteX368" fmla="*/ 3612039 w 4520397"/>
                    <a:gd name="connsiteY368" fmla="*/ 1503392 h 3016069"/>
                    <a:gd name="connsiteX369" fmla="*/ 3607969 w 4520397"/>
                    <a:gd name="connsiteY369" fmla="*/ 1515701 h 3016069"/>
                    <a:gd name="connsiteX370" fmla="*/ 3617629 w 4520397"/>
                    <a:gd name="connsiteY370" fmla="*/ 1513888 h 3016069"/>
                    <a:gd name="connsiteX371" fmla="*/ 3615220 w 4520397"/>
                    <a:gd name="connsiteY371" fmla="*/ 1524854 h 3016069"/>
                    <a:gd name="connsiteX372" fmla="*/ 3615626 w 4520397"/>
                    <a:gd name="connsiteY372" fmla="*/ 1521760 h 3016069"/>
                    <a:gd name="connsiteX373" fmla="*/ 3607703 w 4520397"/>
                    <a:gd name="connsiteY373" fmla="*/ 1522813 h 3016069"/>
                    <a:gd name="connsiteX374" fmla="*/ 3597372 w 4520397"/>
                    <a:gd name="connsiteY374" fmla="*/ 1524854 h 3016069"/>
                    <a:gd name="connsiteX375" fmla="*/ 3590007 w 4520397"/>
                    <a:gd name="connsiteY375" fmla="*/ 1515042 h 3016069"/>
                    <a:gd name="connsiteX376" fmla="*/ 3580195 w 4520397"/>
                    <a:gd name="connsiteY376" fmla="*/ 1524854 h 3016069"/>
                    <a:gd name="connsiteX377" fmla="*/ 3581716 w 4520397"/>
                    <a:gd name="connsiteY377" fmla="*/ 1518325 h 3016069"/>
                    <a:gd name="connsiteX378" fmla="*/ 3571436 w 4520397"/>
                    <a:gd name="connsiteY378" fmla="*/ 1517438 h 3016069"/>
                    <a:gd name="connsiteX379" fmla="*/ 3574009 w 4520397"/>
                    <a:gd name="connsiteY379" fmla="*/ 1521393 h 3016069"/>
                    <a:gd name="connsiteX380" fmla="*/ 3551800 w 4520397"/>
                    <a:gd name="connsiteY380" fmla="*/ 1531775 h 3016069"/>
                    <a:gd name="connsiteX381" fmla="*/ 3554348 w 4520397"/>
                    <a:gd name="connsiteY381" fmla="*/ 1529531 h 3016069"/>
                    <a:gd name="connsiteX382" fmla="*/ 3549999 w 4520397"/>
                    <a:gd name="connsiteY382" fmla="*/ 1538177 h 3016069"/>
                    <a:gd name="connsiteX383" fmla="*/ 3548694 w 4520397"/>
                    <a:gd name="connsiteY383" fmla="*/ 1529341 h 3016069"/>
                    <a:gd name="connsiteX384" fmla="*/ 3537767 w 4520397"/>
                    <a:gd name="connsiteY384" fmla="*/ 1530710 h 3016069"/>
                    <a:gd name="connsiteX385" fmla="*/ 3533482 w 4520397"/>
                    <a:gd name="connsiteY385" fmla="*/ 1540534 h 3016069"/>
                    <a:gd name="connsiteX386" fmla="*/ 3506202 w 4520397"/>
                    <a:gd name="connsiteY386" fmla="*/ 1547963 h 3016069"/>
                    <a:gd name="connsiteX387" fmla="*/ 3485223 w 4520397"/>
                    <a:gd name="connsiteY387" fmla="*/ 1549890 h 3016069"/>
                    <a:gd name="connsiteX388" fmla="*/ 3491409 w 4520397"/>
                    <a:gd name="connsiteY388" fmla="*/ 1550143 h 3016069"/>
                    <a:gd name="connsiteX389" fmla="*/ 3501106 w 4520397"/>
                    <a:gd name="connsiteY389" fmla="*/ 1554403 h 3016069"/>
                    <a:gd name="connsiteX390" fmla="*/ 3500105 w 4520397"/>
                    <a:gd name="connsiteY390" fmla="*/ 1561869 h 3016069"/>
                    <a:gd name="connsiteX391" fmla="*/ 3495098 w 4520397"/>
                    <a:gd name="connsiteY391" fmla="*/ 1567802 h 3016069"/>
                    <a:gd name="connsiteX392" fmla="*/ 3490471 w 4520397"/>
                    <a:gd name="connsiteY392" fmla="*/ 1561831 h 3016069"/>
                    <a:gd name="connsiteX393" fmla="*/ 3483245 w 4520397"/>
                    <a:gd name="connsiteY393" fmla="*/ 1572707 h 3016069"/>
                    <a:gd name="connsiteX394" fmla="*/ 3479074 w 4520397"/>
                    <a:gd name="connsiteY394" fmla="*/ 1577664 h 3016069"/>
                    <a:gd name="connsiteX395" fmla="*/ 3475753 w 4520397"/>
                    <a:gd name="connsiteY395" fmla="*/ 1590290 h 3016069"/>
                    <a:gd name="connsiteX396" fmla="*/ 3451452 w 4520397"/>
                    <a:gd name="connsiteY396" fmla="*/ 1595284 h 3016069"/>
                    <a:gd name="connsiteX397" fmla="*/ 3452517 w 4520397"/>
                    <a:gd name="connsiteY397" fmla="*/ 1577436 h 3016069"/>
                    <a:gd name="connsiteX398" fmla="*/ 3451959 w 4520397"/>
                    <a:gd name="connsiteY398" fmla="*/ 1584383 h 3016069"/>
                    <a:gd name="connsiteX399" fmla="*/ 3450920 w 4520397"/>
                    <a:gd name="connsiteY399" fmla="*/ 1585701 h 3016069"/>
                    <a:gd name="connsiteX400" fmla="*/ 3446065 w 4520397"/>
                    <a:gd name="connsiteY400" fmla="*/ 1581835 h 3016069"/>
                    <a:gd name="connsiteX401" fmla="*/ 3437064 w 4520397"/>
                    <a:gd name="connsiteY401" fmla="*/ 1581467 h 3016069"/>
                    <a:gd name="connsiteX402" fmla="*/ 3446889 w 4520397"/>
                    <a:gd name="connsiteY402" fmla="*/ 1600494 h 3016069"/>
                    <a:gd name="connsiteX403" fmla="*/ 3446825 w 4520397"/>
                    <a:gd name="connsiteY403" fmla="*/ 1602763 h 3016069"/>
                    <a:gd name="connsiteX404" fmla="*/ 3450932 w 4520397"/>
                    <a:gd name="connsiteY404" fmla="*/ 1599569 h 3016069"/>
                    <a:gd name="connsiteX405" fmla="*/ 3442807 w 4520397"/>
                    <a:gd name="connsiteY405" fmla="*/ 1609710 h 3016069"/>
                    <a:gd name="connsiteX406" fmla="*/ 3443834 w 4520397"/>
                    <a:gd name="connsiteY406" fmla="*/ 1605070 h 3016069"/>
                    <a:gd name="connsiteX407" fmla="*/ 3432716 w 4520397"/>
                    <a:gd name="connsiteY407" fmla="*/ 1613665 h 3016069"/>
                    <a:gd name="connsiteX408" fmla="*/ 3422461 w 4520397"/>
                    <a:gd name="connsiteY408" fmla="*/ 1622590 h 3016069"/>
                    <a:gd name="connsiteX409" fmla="*/ 3418024 w 4520397"/>
                    <a:gd name="connsiteY409" fmla="*/ 1629156 h 3016069"/>
                    <a:gd name="connsiteX410" fmla="*/ 3410900 w 4520397"/>
                    <a:gd name="connsiteY410" fmla="*/ 1636014 h 3016069"/>
                    <a:gd name="connsiteX411" fmla="*/ 3399022 w 4520397"/>
                    <a:gd name="connsiteY411" fmla="*/ 1646675 h 3016069"/>
                    <a:gd name="connsiteX412" fmla="*/ 3386067 w 4520397"/>
                    <a:gd name="connsiteY412" fmla="*/ 1662559 h 3016069"/>
                    <a:gd name="connsiteX413" fmla="*/ 3379982 w 4520397"/>
                    <a:gd name="connsiteY413" fmla="*/ 1676794 h 3016069"/>
                    <a:gd name="connsiteX414" fmla="*/ 3371147 w 4520397"/>
                    <a:gd name="connsiteY414" fmla="*/ 1681028 h 3016069"/>
                    <a:gd name="connsiteX415" fmla="*/ 3370944 w 4520397"/>
                    <a:gd name="connsiteY415" fmla="*/ 1708055 h 3016069"/>
                    <a:gd name="connsiteX416" fmla="*/ 3384571 w 4520397"/>
                    <a:gd name="connsiteY416" fmla="*/ 1704581 h 3016069"/>
                    <a:gd name="connsiteX417" fmla="*/ 3397349 w 4520397"/>
                    <a:gd name="connsiteY417" fmla="*/ 1717435 h 3016069"/>
                    <a:gd name="connsiteX418" fmla="*/ 3429319 w 4520397"/>
                    <a:gd name="connsiteY418" fmla="*/ 1731012 h 3016069"/>
                    <a:gd name="connsiteX419" fmla="*/ 3455978 w 4520397"/>
                    <a:gd name="connsiteY419" fmla="*/ 1762019 h 3016069"/>
                    <a:gd name="connsiteX420" fmla="*/ 3461745 w 4520397"/>
                    <a:gd name="connsiteY420" fmla="*/ 1779753 h 3016069"/>
                    <a:gd name="connsiteX421" fmla="*/ 3467678 w 4520397"/>
                    <a:gd name="connsiteY421" fmla="*/ 1795396 h 3016069"/>
                    <a:gd name="connsiteX422" fmla="*/ 3465587 w 4520397"/>
                    <a:gd name="connsiteY422" fmla="*/ 1795941 h 3016069"/>
                    <a:gd name="connsiteX423" fmla="*/ 3479658 w 4520397"/>
                    <a:gd name="connsiteY423" fmla="*/ 1823398 h 3016069"/>
                    <a:gd name="connsiteX424" fmla="*/ 3483841 w 4520397"/>
                    <a:gd name="connsiteY424" fmla="*/ 1832602 h 3016069"/>
                    <a:gd name="connsiteX425" fmla="*/ 3490407 w 4520397"/>
                    <a:gd name="connsiteY425" fmla="*/ 1843427 h 3016069"/>
                    <a:gd name="connsiteX426" fmla="*/ 3495655 w 4520397"/>
                    <a:gd name="connsiteY426" fmla="*/ 1847294 h 3016069"/>
                    <a:gd name="connsiteX427" fmla="*/ 3493450 w 4520397"/>
                    <a:gd name="connsiteY427" fmla="*/ 1874878 h 3016069"/>
                    <a:gd name="connsiteX428" fmla="*/ 3491966 w 4520397"/>
                    <a:gd name="connsiteY428" fmla="*/ 1872038 h 3016069"/>
                    <a:gd name="connsiteX429" fmla="*/ 3511235 w 4520397"/>
                    <a:gd name="connsiteY429" fmla="*/ 1890584 h 3016069"/>
                    <a:gd name="connsiteX430" fmla="*/ 3530440 w 4520397"/>
                    <a:gd name="connsiteY430" fmla="*/ 1912350 h 3016069"/>
                    <a:gd name="connsiteX431" fmla="*/ 3539858 w 4520397"/>
                    <a:gd name="connsiteY431" fmla="*/ 1922364 h 3016069"/>
                    <a:gd name="connsiteX432" fmla="*/ 3560267 w 4520397"/>
                    <a:gd name="connsiteY432" fmla="*/ 1931656 h 3016069"/>
                    <a:gd name="connsiteX433" fmla="*/ 3571955 w 4520397"/>
                    <a:gd name="connsiteY433" fmla="*/ 1951292 h 3016069"/>
                    <a:gd name="connsiteX434" fmla="*/ 3552142 w 4520397"/>
                    <a:gd name="connsiteY434" fmla="*/ 1953041 h 3016069"/>
                    <a:gd name="connsiteX435" fmla="*/ 3532620 w 4520397"/>
                    <a:gd name="connsiteY435" fmla="*/ 1943318 h 3016069"/>
                    <a:gd name="connsiteX436" fmla="*/ 3506722 w 4520397"/>
                    <a:gd name="connsiteY436" fmla="*/ 1945942 h 3016069"/>
                    <a:gd name="connsiteX437" fmla="*/ 3468426 w 4520397"/>
                    <a:gd name="connsiteY437" fmla="*/ 1924570 h 3016069"/>
                    <a:gd name="connsiteX438" fmla="*/ 3438839 w 4520397"/>
                    <a:gd name="connsiteY438" fmla="*/ 1935636 h 3016069"/>
                    <a:gd name="connsiteX439" fmla="*/ 3424109 w 4520397"/>
                    <a:gd name="connsiteY439" fmla="*/ 1913503 h 3016069"/>
                    <a:gd name="connsiteX440" fmla="*/ 3422499 w 4520397"/>
                    <a:gd name="connsiteY440" fmla="*/ 1915088 h 3016069"/>
                    <a:gd name="connsiteX441" fmla="*/ 3401228 w 4520397"/>
                    <a:gd name="connsiteY441" fmla="*/ 1902310 h 3016069"/>
                    <a:gd name="connsiteX442" fmla="*/ 3400733 w 4520397"/>
                    <a:gd name="connsiteY442" fmla="*/ 1915189 h 3016069"/>
                    <a:gd name="connsiteX443" fmla="*/ 3414221 w 4520397"/>
                    <a:gd name="connsiteY443" fmla="*/ 1915050 h 3016069"/>
                    <a:gd name="connsiteX444" fmla="*/ 3428280 w 4520397"/>
                    <a:gd name="connsiteY444" fmla="*/ 1933785 h 3016069"/>
                    <a:gd name="connsiteX445" fmla="*/ 3457905 w 4520397"/>
                    <a:gd name="connsiteY445" fmla="*/ 1934267 h 3016069"/>
                    <a:gd name="connsiteX446" fmla="*/ 3479379 w 4520397"/>
                    <a:gd name="connsiteY446" fmla="*/ 1931352 h 3016069"/>
                    <a:gd name="connsiteX447" fmla="*/ 3482865 w 4520397"/>
                    <a:gd name="connsiteY447" fmla="*/ 1942570 h 3016069"/>
                    <a:gd name="connsiteX448" fmla="*/ 3503565 w 4520397"/>
                    <a:gd name="connsiteY448" fmla="*/ 1951837 h 3016069"/>
                    <a:gd name="connsiteX449" fmla="*/ 3527422 w 4520397"/>
                    <a:gd name="connsiteY449" fmla="*/ 1971524 h 3016069"/>
                    <a:gd name="connsiteX450" fmla="*/ 3553295 w 4520397"/>
                    <a:gd name="connsiteY450" fmla="*/ 1987179 h 3016069"/>
                    <a:gd name="connsiteX451" fmla="*/ 3576024 w 4520397"/>
                    <a:gd name="connsiteY451" fmla="*/ 2019390 h 3016069"/>
                    <a:gd name="connsiteX452" fmla="*/ 3543839 w 4520397"/>
                    <a:gd name="connsiteY452" fmla="*/ 2027364 h 3016069"/>
                    <a:gd name="connsiteX453" fmla="*/ 3518803 w 4520397"/>
                    <a:gd name="connsiteY453" fmla="*/ 2039596 h 3016069"/>
                    <a:gd name="connsiteX454" fmla="*/ 3504402 w 4520397"/>
                    <a:gd name="connsiteY454" fmla="*/ 2047735 h 3016069"/>
                    <a:gd name="connsiteX455" fmla="*/ 3495972 w 4520397"/>
                    <a:gd name="connsiteY455" fmla="*/ 2060931 h 3016069"/>
                    <a:gd name="connsiteX456" fmla="*/ 3497468 w 4520397"/>
                    <a:gd name="connsiteY456" fmla="*/ 2063086 h 3016069"/>
                    <a:gd name="connsiteX457" fmla="*/ 3468667 w 4520397"/>
                    <a:gd name="connsiteY457" fmla="*/ 2060678 h 3016069"/>
                    <a:gd name="connsiteX458" fmla="*/ 3457309 w 4520397"/>
                    <a:gd name="connsiteY458" fmla="*/ 2071427 h 3016069"/>
                    <a:gd name="connsiteX459" fmla="*/ 3450932 w 4520397"/>
                    <a:gd name="connsiteY459" fmla="*/ 2069184 h 3016069"/>
                    <a:gd name="connsiteX460" fmla="*/ 3440703 w 4520397"/>
                    <a:gd name="connsiteY460" fmla="*/ 2077246 h 3016069"/>
                    <a:gd name="connsiteX461" fmla="*/ 3450932 w 4520397"/>
                    <a:gd name="connsiteY461" fmla="*/ 2070857 h 3016069"/>
                    <a:gd name="connsiteX462" fmla="*/ 3459718 w 4520397"/>
                    <a:gd name="connsiteY462" fmla="*/ 2070717 h 3016069"/>
                    <a:gd name="connsiteX463" fmla="*/ 3475791 w 4520397"/>
                    <a:gd name="connsiteY463" fmla="*/ 2063238 h 3016069"/>
                    <a:gd name="connsiteX464" fmla="*/ 3484082 w 4520397"/>
                    <a:gd name="connsiteY464" fmla="*/ 2074558 h 3016069"/>
                    <a:gd name="connsiteX465" fmla="*/ 3488379 w 4520397"/>
                    <a:gd name="connsiteY465" fmla="*/ 2087945 h 3016069"/>
                    <a:gd name="connsiteX466" fmla="*/ 3477579 w 4520397"/>
                    <a:gd name="connsiteY466" fmla="*/ 2083039 h 3016069"/>
                    <a:gd name="connsiteX467" fmla="*/ 3496986 w 4520397"/>
                    <a:gd name="connsiteY467" fmla="*/ 2078932 h 3016069"/>
                    <a:gd name="connsiteX468" fmla="*/ 3516128 w 4520397"/>
                    <a:gd name="connsiteY468" fmla="*/ 2066521 h 3016069"/>
                    <a:gd name="connsiteX469" fmla="*/ 3557098 w 4520397"/>
                    <a:gd name="connsiteY469" fmla="*/ 2096438 h 3016069"/>
                    <a:gd name="connsiteX470" fmla="*/ 3571765 w 4520397"/>
                    <a:gd name="connsiteY470" fmla="*/ 2100431 h 3016069"/>
                    <a:gd name="connsiteX471" fmla="*/ 3587763 w 4520397"/>
                    <a:gd name="connsiteY471" fmla="*/ 2102548 h 3016069"/>
                    <a:gd name="connsiteX472" fmla="*/ 3567557 w 4520397"/>
                    <a:gd name="connsiteY472" fmla="*/ 2116175 h 3016069"/>
                    <a:gd name="connsiteX473" fmla="*/ 3555184 w 4520397"/>
                    <a:gd name="connsiteY473" fmla="*/ 2128041 h 3016069"/>
                    <a:gd name="connsiteX474" fmla="*/ 3542990 w 4520397"/>
                    <a:gd name="connsiteY474" fmla="*/ 2132630 h 3016069"/>
                    <a:gd name="connsiteX475" fmla="*/ 3536512 w 4520397"/>
                    <a:gd name="connsiteY475" fmla="*/ 2131501 h 3016069"/>
                    <a:gd name="connsiteX476" fmla="*/ 3536461 w 4520397"/>
                    <a:gd name="connsiteY476" fmla="*/ 2140223 h 3016069"/>
                    <a:gd name="connsiteX477" fmla="*/ 3541050 w 4520397"/>
                    <a:gd name="connsiteY477" fmla="*/ 2134734 h 3016069"/>
                    <a:gd name="connsiteX478" fmla="*/ 3539567 w 4520397"/>
                    <a:gd name="connsiteY478" fmla="*/ 2142200 h 3016069"/>
                    <a:gd name="connsiteX479" fmla="*/ 3560217 w 4520397"/>
                    <a:gd name="connsiteY479" fmla="*/ 2130956 h 3016069"/>
                    <a:gd name="connsiteX480" fmla="*/ 3566390 w 4520397"/>
                    <a:gd name="connsiteY480" fmla="*/ 2131489 h 3016069"/>
                    <a:gd name="connsiteX481" fmla="*/ 3558784 w 4520397"/>
                    <a:gd name="connsiteY481" fmla="*/ 2129841 h 3016069"/>
                    <a:gd name="connsiteX482" fmla="*/ 3571043 w 4520397"/>
                    <a:gd name="connsiteY482" fmla="*/ 2131451 h 3016069"/>
                    <a:gd name="connsiteX483" fmla="*/ 3574503 w 4520397"/>
                    <a:gd name="connsiteY483" fmla="*/ 2140781 h 3016069"/>
                    <a:gd name="connsiteX484" fmla="*/ 3575746 w 4520397"/>
                    <a:gd name="connsiteY484" fmla="*/ 2150681 h 3016069"/>
                    <a:gd name="connsiteX485" fmla="*/ 3577001 w 4520397"/>
                    <a:gd name="connsiteY485" fmla="*/ 2152861 h 3016069"/>
                    <a:gd name="connsiteX486" fmla="*/ 3564311 w 4520397"/>
                    <a:gd name="connsiteY486" fmla="*/ 2160543 h 3016069"/>
                    <a:gd name="connsiteX487" fmla="*/ 3565883 w 4520397"/>
                    <a:gd name="connsiteY487" fmla="*/ 2147943 h 3016069"/>
                    <a:gd name="connsiteX488" fmla="*/ 3562854 w 4520397"/>
                    <a:gd name="connsiteY488" fmla="*/ 2147943 h 3016069"/>
                    <a:gd name="connsiteX489" fmla="*/ 3562854 w 4520397"/>
                    <a:gd name="connsiteY489" fmla="*/ 2143519 h 3016069"/>
                    <a:gd name="connsiteX490" fmla="*/ 3558619 w 4520397"/>
                    <a:gd name="connsiteY490" fmla="*/ 2157564 h 3016069"/>
                    <a:gd name="connsiteX491" fmla="*/ 3552129 w 4520397"/>
                    <a:gd name="connsiteY491" fmla="*/ 2149451 h 3016069"/>
                    <a:gd name="connsiteX492" fmla="*/ 3550228 w 4520397"/>
                    <a:gd name="connsiteY492" fmla="*/ 2158388 h 3016069"/>
                    <a:gd name="connsiteX493" fmla="*/ 3545322 w 4520397"/>
                    <a:gd name="connsiteY493" fmla="*/ 2149109 h 3016069"/>
                    <a:gd name="connsiteX494" fmla="*/ 3546197 w 4520397"/>
                    <a:gd name="connsiteY494" fmla="*/ 2151226 h 3016069"/>
                    <a:gd name="connsiteX495" fmla="*/ 3542584 w 4520397"/>
                    <a:gd name="connsiteY495" fmla="*/ 2151226 h 3016069"/>
                    <a:gd name="connsiteX496" fmla="*/ 3540949 w 4520397"/>
                    <a:gd name="connsiteY496" fmla="*/ 2159123 h 3016069"/>
                    <a:gd name="connsiteX497" fmla="*/ 3539212 w 4520397"/>
                    <a:gd name="connsiteY497" fmla="*/ 2157678 h 3016069"/>
                    <a:gd name="connsiteX498" fmla="*/ 3533926 w 4520397"/>
                    <a:gd name="connsiteY498" fmla="*/ 2160569 h 3016069"/>
                    <a:gd name="connsiteX499" fmla="*/ 3536499 w 4520397"/>
                    <a:gd name="connsiteY499" fmla="*/ 2161671 h 3016069"/>
                    <a:gd name="connsiteX500" fmla="*/ 3537450 w 4520397"/>
                    <a:gd name="connsiteY500" fmla="*/ 2162749 h 3016069"/>
                    <a:gd name="connsiteX501" fmla="*/ 3533419 w 4520397"/>
                    <a:gd name="connsiteY501" fmla="*/ 2164942 h 3016069"/>
                    <a:gd name="connsiteX502" fmla="*/ 3549784 w 4520397"/>
                    <a:gd name="connsiteY502" fmla="*/ 2167097 h 3016069"/>
                    <a:gd name="connsiteX503" fmla="*/ 3543484 w 4520397"/>
                    <a:gd name="connsiteY503" fmla="*/ 2172003 h 3016069"/>
                    <a:gd name="connsiteX504" fmla="*/ 3554715 w 4520397"/>
                    <a:gd name="connsiteY504" fmla="*/ 2172092 h 3016069"/>
                    <a:gd name="connsiteX505" fmla="*/ 3556769 w 4520397"/>
                    <a:gd name="connsiteY505" fmla="*/ 2177555 h 3016069"/>
                    <a:gd name="connsiteX506" fmla="*/ 3547135 w 4520397"/>
                    <a:gd name="connsiteY506" fmla="*/ 2176414 h 3016069"/>
                    <a:gd name="connsiteX507" fmla="*/ 3540061 w 4520397"/>
                    <a:gd name="connsiteY507" fmla="*/ 2179190 h 3016069"/>
                    <a:gd name="connsiteX508" fmla="*/ 3549784 w 4520397"/>
                    <a:gd name="connsiteY508" fmla="*/ 2186074 h 3016069"/>
                    <a:gd name="connsiteX509" fmla="*/ 3553245 w 4520397"/>
                    <a:gd name="connsiteY509" fmla="*/ 2187418 h 3016069"/>
                    <a:gd name="connsiteX510" fmla="*/ 3550709 w 4520397"/>
                    <a:gd name="connsiteY510" fmla="*/ 2189053 h 3016069"/>
                    <a:gd name="connsiteX511" fmla="*/ 3552687 w 4520397"/>
                    <a:gd name="connsiteY511" fmla="*/ 2190206 h 3016069"/>
                    <a:gd name="connsiteX512" fmla="*/ 3514264 w 4520397"/>
                    <a:gd name="connsiteY512" fmla="*/ 2185782 h 3016069"/>
                    <a:gd name="connsiteX513" fmla="*/ 3522834 w 4520397"/>
                    <a:gd name="connsiteY513" fmla="*/ 2199410 h 3016069"/>
                    <a:gd name="connsiteX514" fmla="*/ 3546729 w 4520397"/>
                    <a:gd name="connsiteY514" fmla="*/ 2213011 h 3016069"/>
                    <a:gd name="connsiteX515" fmla="*/ 3541557 w 4520397"/>
                    <a:gd name="connsiteY515" fmla="*/ 2214228 h 3016069"/>
                    <a:gd name="connsiteX516" fmla="*/ 3548643 w 4520397"/>
                    <a:gd name="connsiteY516" fmla="*/ 2215217 h 3016069"/>
                    <a:gd name="connsiteX517" fmla="*/ 3546476 w 4520397"/>
                    <a:gd name="connsiteY517" fmla="*/ 2232508 h 3016069"/>
                    <a:gd name="connsiteX518" fmla="*/ 3533216 w 4520397"/>
                    <a:gd name="connsiteY518" fmla="*/ 2229453 h 3016069"/>
                    <a:gd name="connsiteX519" fmla="*/ 3529895 w 4520397"/>
                    <a:gd name="connsiteY519" fmla="*/ 2238263 h 3016069"/>
                    <a:gd name="connsiteX520" fmla="*/ 3531403 w 4520397"/>
                    <a:gd name="connsiteY520" fmla="*/ 2237705 h 3016069"/>
                    <a:gd name="connsiteX521" fmla="*/ 3520362 w 4520397"/>
                    <a:gd name="connsiteY521" fmla="*/ 2234219 h 3016069"/>
                    <a:gd name="connsiteX522" fmla="*/ 3518727 w 4520397"/>
                    <a:gd name="connsiteY522" fmla="*/ 2226816 h 3016069"/>
                    <a:gd name="connsiteX523" fmla="*/ 3523290 w 4520397"/>
                    <a:gd name="connsiteY523" fmla="*/ 2224091 h 3016069"/>
                    <a:gd name="connsiteX524" fmla="*/ 3516217 w 4520397"/>
                    <a:gd name="connsiteY524" fmla="*/ 2222595 h 3016069"/>
                    <a:gd name="connsiteX525" fmla="*/ 3505568 w 4520397"/>
                    <a:gd name="connsiteY525" fmla="*/ 2228971 h 3016069"/>
                    <a:gd name="connsiteX526" fmla="*/ 3510614 w 4520397"/>
                    <a:gd name="connsiteY526" fmla="*/ 2239265 h 3016069"/>
                    <a:gd name="connsiteX527" fmla="*/ 3501727 w 4520397"/>
                    <a:gd name="connsiteY527" fmla="*/ 2253538 h 3016069"/>
                    <a:gd name="connsiteX528" fmla="*/ 3471126 w 4520397"/>
                    <a:gd name="connsiteY528" fmla="*/ 2244259 h 3016069"/>
                    <a:gd name="connsiteX529" fmla="*/ 3493576 w 4520397"/>
                    <a:gd name="connsiteY529" fmla="*/ 2260954 h 3016069"/>
                    <a:gd name="connsiteX530" fmla="*/ 3476742 w 4520397"/>
                    <a:gd name="connsiteY530" fmla="*/ 2272046 h 3016069"/>
                    <a:gd name="connsiteX531" fmla="*/ 3475157 w 4520397"/>
                    <a:gd name="connsiteY531" fmla="*/ 2290604 h 3016069"/>
                    <a:gd name="connsiteX532" fmla="*/ 3477579 w 4520397"/>
                    <a:gd name="connsiteY532" fmla="*/ 2297348 h 3016069"/>
                    <a:gd name="connsiteX533" fmla="*/ 3470125 w 4520397"/>
                    <a:gd name="connsiteY533" fmla="*/ 2300619 h 3016069"/>
                    <a:gd name="connsiteX534" fmla="*/ 3467120 w 4520397"/>
                    <a:gd name="connsiteY534" fmla="*/ 2305715 h 3016069"/>
                    <a:gd name="connsiteX535" fmla="*/ 3464382 w 4520397"/>
                    <a:gd name="connsiteY535" fmla="*/ 2318125 h 3016069"/>
                    <a:gd name="connsiteX536" fmla="*/ 3461479 w 4520397"/>
                    <a:gd name="connsiteY536" fmla="*/ 2318797 h 3016069"/>
                    <a:gd name="connsiteX537" fmla="*/ 3453379 w 4520397"/>
                    <a:gd name="connsiteY537" fmla="*/ 2309569 h 3016069"/>
                    <a:gd name="connsiteX538" fmla="*/ 3451871 w 4520397"/>
                    <a:gd name="connsiteY538" fmla="*/ 2308985 h 3016069"/>
                    <a:gd name="connsiteX539" fmla="*/ 3452834 w 4520397"/>
                    <a:gd name="connsiteY539" fmla="*/ 2307401 h 3016069"/>
                    <a:gd name="connsiteX540" fmla="*/ 3449297 w 4520397"/>
                    <a:gd name="connsiteY540" fmla="*/ 2306869 h 3016069"/>
                    <a:gd name="connsiteX541" fmla="*/ 3449830 w 4520397"/>
                    <a:gd name="connsiteY541" fmla="*/ 2308478 h 3016069"/>
                    <a:gd name="connsiteX542" fmla="*/ 3446318 w 4520397"/>
                    <a:gd name="connsiteY542" fmla="*/ 2307895 h 3016069"/>
                    <a:gd name="connsiteX543" fmla="*/ 3446470 w 4520397"/>
                    <a:gd name="connsiteY543" fmla="*/ 2311280 h 3016069"/>
                    <a:gd name="connsiteX544" fmla="*/ 3444252 w 4520397"/>
                    <a:gd name="connsiteY544" fmla="*/ 2308985 h 3016069"/>
                    <a:gd name="connsiteX545" fmla="*/ 3445279 w 4520397"/>
                    <a:gd name="connsiteY545" fmla="*/ 2313942 h 3016069"/>
                    <a:gd name="connsiteX546" fmla="*/ 3455509 w 4520397"/>
                    <a:gd name="connsiteY546" fmla="*/ 2313346 h 3016069"/>
                    <a:gd name="connsiteX547" fmla="*/ 3455509 w 4520397"/>
                    <a:gd name="connsiteY547" fmla="*/ 2318265 h 3016069"/>
                    <a:gd name="connsiteX548" fmla="*/ 3460960 w 4520397"/>
                    <a:gd name="connsiteY548" fmla="*/ 2320914 h 3016069"/>
                    <a:gd name="connsiteX549" fmla="*/ 3457448 w 4520397"/>
                    <a:gd name="connsiteY549" fmla="*/ 2320914 h 3016069"/>
                    <a:gd name="connsiteX550" fmla="*/ 3459945 w 4520397"/>
                    <a:gd name="connsiteY550" fmla="*/ 2321497 h 3016069"/>
                    <a:gd name="connsiteX551" fmla="*/ 3456941 w 4520397"/>
                    <a:gd name="connsiteY551" fmla="*/ 2322638 h 3016069"/>
                    <a:gd name="connsiteX552" fmla="*/ 3459008 w 4520397"/>
                    <a:gd name="connsiteY552" fmla="*/ 2324159 h 3016069"/>
                    <a:gd name="connsiteX553" fmla="*/ 3447802 w 4520397"/>
                    <a:gd name="connsiteY553" fmla="*/ 2322030 h 3016069"/>
                    <a:gd name="connsiteX554" fmla="*/ 3450337 w 4520397"/>
                    <a:gd name="connsiteY554" fmla="*/ 2327506 h 3016069"/>
                    <a:gd name="connsiteX555" fmla="*/ 3445798 w 4520397"/>
                    <a:gd name="connsiteY555" fmla="*/ 2329610 h 3016069"/>
                    <a:gd name="connsiteX556" fmla="*/ 3440791 w 4520397"/>
                    <a:gd name="connsiteY556" fmla="*/ 2333971 h 3016069"/>
                    <a:gd name="connsiteX557" fmla="*/ 3447802 w 4520397"/>
                    <a:gd name="connsiteY557" fmla="*/ 2336088 h 3016069"/>
                    <a:gd name="connsiteX558" fmla="*/ 3432159 w 4520397"/>
                    <a:gd name="connsiteY558" fmla="*/ 2340461 h 3016069"/>
                    <a:gd name="connsiteX559" fmla="*/ 3433895 w 4520397"/>
                    <a:gd name="connsiteY559" fmla="*/ 2341285 h 3016069"/>
                    <a:gd name="connsiteX560" fmla="*/ 3439270 w 4520397"/>
                    <a:gd name="connsiteY560" fmla="*/ 2348600 h 3016069"/>
                    <a:gd name="connsiteX561" fmla="*/ 3440804 w 4520397"/>
                    <a:gd name="connsiteY561" fmla="*/ 2354583 h 3016069"/>
                    <a:gd name="connsiteX562" fmla="*/ 3439726 w 4520397"/>
                    <a:gd name="connsiteY562" fmla="*/ 2359920 h 3016069"/>
                    <a:gd name="connsiteX563" fmla="*/ 3435759 w 4520397"/>
                    <a:gd name="connsiteY563" fmla="*/ 2362772 h 3016069"/>
                    <a:gd name="connsiteX564" fmla="*/ 3435708 w 4520397"/>
                    <a:gd name="connsiteY564" fmla="*/ 2360516 h 3016069"/>
                    <a:gd name="connsiteX565" fmla="*/ 3420838 w 4520397"/>
                    <a:gd name="connsiteY565" fmla="*/ 2363089 h 3016069"/>
                    <a:gd name="connsiteX566" fmla="*/ 3429306 w 4520397"/>
                    <a:gd name="connsiteY566" fmla="*/ 2356776 h 3016069"/>
                    <a:gd name="connsiteX567" fmla="*/ 3435708 w 4520397"/>
                    <a:gd name="connsiteY567" fmla="*/ 2348612 h 3016069"/>
                    <a:gd name="connsiteX568" fmla="*/ 3422524 w 4520397"/>
                    <a:gd name="connsiteY568" fmla="*/ 2359438 h 3016069"/>
                    <a:gd name="connsiteX569" fmla="*/ 3419229 w 4520397"/>
                    <a:gd name="connsiteY569" fmla="*/ 2359932 h 3016069"/>
                    <a:gd name="connsiteX570" fmla="*/ 3414386 w 4520397"/>
                    <a:gd name="connsiteY570" fmla="*/ 2357232 h 3016069"/>
                    <a:gd name="connsiteX571" fmla="*/ 3417986 w 4520397"/>
                    <a:gd name="connsiteY571" fmla="*/ 2349145 h 3016069"/>
                    <a:gd name="connsiteX572" fmla="*/ 3414386 w 4520397"/>
                    <a:gd name="connsiteY572" fmla="*/ 2349145 h 3016069"/>
                    <a:gd name="connsiteX573" fmla="*/ 3418443 w 4520397"/>
                    <a:gd name="connsiteY573" fmla="*/ 2344239 h 3016069"/>
                    <a:gd name="connsiteX574" fmla="*/ 3412459 w 4520397"/>
                    <a:gd name="connsiteY574" fmla="*/ 2348815 h 3016069"/>
                    <a:gd name="connsiteX575" fmla="*/ 3410051 w 4520397"/>
                    <a:gd name="connsiteY575" fmla="*/ 2351249 h 3016069"/>
                    <a:gd name="connsiteX576" fmla="*/ 3406019 w 4520397"/>
                    <a:gd name="connsiteY576" fmla="*/ 2348916 h 3016069"/>
                    <a:gd name="connsiteX577" fmla="*/ 3409455 w 4520397"/>
                    <a:gd name="connsiteY577" fmla="*/ 2356421 h 3016069"/>
                    <a:gd name="connsiteX578" fmla="*/ 3398426 w 4520397"/>
                    <a:gd name="connsiteY578" fmla="*/ 2349297 h 3016069"/>
                    <a:gd name="connsiteX579" fmla="*/ 3400214 w 4520397"/>
                    <a:gd name="connsiteY579" fmla="*/ 2360503 h 3016069"/>
                    <a:gd name="connsiteX580" fmla="*/ 3400214 w 4520397"/>
                    <a:gd name="connsiteY580" fmla="*/ 2366486 h 3016069"/>
                    <a:gd name="connsiteX581" fmla="*/ 3413930 w 4520397"/>
                    <a:gd name="connsiteY581" fmla="*/ 2368045 h 3016069"/>
                    <a:gd name="connsiteX582" fmla="*/ 3412852 w 4520397"/>
                    <a:gd name="connsiteY582" fmla="*/ 2366968 h 3016069"/>
                    <a:gd name="connsiteX583" fmla="*/ 3414931 w 4520397"/>
                    <a:gd name="connsiteY583" fmla="*/ 2370796 h 3016069"/>
                    <a:gd name="connsiteX584" fmla="*/ 3414386 w 4520397"/>
                    <a:gd name="connsiteY584" fmla="*/ 2377248 h 3016069"/>
                    <a:gd name="connsiteX585" fmla="*/ 3404207 w 4520397"/>
                    <a:gd name="connsiteY585" fmla="*/ 2372191 h 3016069"/>
                    <a:gd name="connsiteX586" fmla="*/ 3400607 w 4520397"/>
                    <a:gd name="connsiteY586" fmla="*/ 2377122 h 3016069"/>
                    <a:gd name="connsiteX587" fmla="*/ 3406273 w 4520397"/>
                    <a:gd name="connsiteY587" fmla="*/ 2386439 h 3016069"/>
                    <a:gd name="connsiteX588" fmla="*/ 3415375 w 4520397"/>
                    <a:gd name="connsiteY588" fmla="*/ 2378719 h 3016069"/>
                    <a:gd name="connsiteX589" fmla="*/ 3426087 w 4520397"/>
                    <a:gd name="connsiteY589" fmla="*/ 2382104 h 3016069"/>
                    <a:gd name="connsiteX590" fmla="*/ 3415426 w 4520397"/>
                    <a:gd name="connsiteY590" fmla="*/ 2388569 h 3016069"/>
                    <a:gd name="connsiteX591" fmla="*/ 3402749 w 4520397"/>
                    <a:gd name="connsiteY591" fmla="*/ 2391345 h 3016069"/>
                    <a:gd name="connsiteX592" fmla="*/ 3388932 w 4520397"/>
                    <a:gd name="connsiteY592" fmla="*/ 2412857 h 3016069"/>
                    <a:gd name="connsiteX593" fmla="*/ 3362780 w 4520397"/>
                    <a:gd name="connsiteY593" fmla="*/ 2399940 h 3016069"/>
                    <a:gd name="connsiteX594" fmla="*/ 3387892 w 4520397"/>
                    <a:gd name="connsiteY594" fmla="*/ 2414556 h 3016069"/>
                    <a:gd name="connsiteX595" fmla="*/ 3404283 w 4520397"/>
                    <a:gd name="connsiteY595" fmla="*/ 2410093 h 3016069"/>
                    <a:gd name="connsiteX596" fmla="*/ 3400214 w 4520397"/>
                    <a:gd name="connsiteY596" fmla="*/ 2423683 h 3016069"/>
                    <a:gd name="connsiteX597" fmla="*/ 3398350 w 4520397"/>
                    <a:gd name="connsiteY597" fmla="*/ 2420488 h 3016069"/>
                    <a:gd name="connsiteX598" fmla="*/ 3399783 w 4520397"/>
                    <a:gd name="connsiteY598" fmla="*/ 2433304 h 3016069"/>
                    <a:gd name="connsiteX599" fmla="*/ 3389059 w 4520397"/>
                    <a:gd name="connsiteY599" fmla="*/ 2436017 h 3016069"/>
                    <a:gd name="connsiteX600" fmla="*/ 3391619 w 4520397"/>
                    <a:gd name="connsiteY600" fmla="*/ 2440834 h 3016069"/>
                    <a:gd name="connsiteX601" fmla="*/ 3398731 w 4520397"/>
                    <a:gd name="connsiteY601" fmla="*/ 2444067 h 3016069"/>
                    <a:gd name="connsiteX602" fmla="*/ 3399732 w 4520397"/>
                    <a:gd name="connsiteY602" fmla="*/ 2448389 h 3016069"/>
                    <a:gd name="connsiteX603" fmla="*/ 3397755 w 4520397"/>
                    <a:gd name="connsiteY603" fmla="*/ 2449467 h 3016069"/>
                    <a:gd name="connsiteX604" fmla="*/ 3400214 w 4520397"/>
                    <a:gd name="connsiteY604" fmla="*/ 2450037 h 3016069"/>
                    <a:gd name="connsiteX605" fmla="*/ 3398198 w 4520397"/>
                    <a:gd name="connsiteY605" fmla="*/ 2451660 h 3016069"/>
                    <a:gd name="connsiteX606" fmla="*/ 3401266 w 4520397"/>
                    <a:gd name="connsiteY606" fmla="*/ 2455513 h 3016069"/>
                    <a:gd name="connsiteX607" fmla="*/ 3401735 w 4520397"/>
                    <a:gd name="connsiteY607" fmla="*/ 2461307 h 3016069"/>
                    <a:gd name="connsiteX608" fmla="*/ 3404258 w 4520397"/>
                    <a:gd name="connsiteY608" fmla="*/ 2461839 h 3016069"/>
                    <a:gd name="connsiteX609" fmla="*/ 3398718 w 4520397"/>
                    <a:gd name="connsiteY609" fmla="*/ 2462904 h 3016069"/>
                    <a:gd name="connsiteX610" fmla="*/ 3395688 w 4520397"/>
                    <a:gd name="connsiteY610" fmla="*/ 2453751 h 3016069"/>
                    <a:gd name="connsiteX611" fmla="*/ 3391619 w 4520397"/>
                    <a:gd name="connsiteY611" fmla="*/ 2460812 h 3016069"/>
                    <a:gd name="connsiteX612" fmla="*/ 3393381 w 4520397"/>
                    <a:gd name="connsiteY612" fmla="*/ 2452712 h 3016069"/>
                    <a:gd name="connsiteX613" fmla="*/ 3388906 w 4520397"/>
                    <a:gd name="connsiteY613" fmla="*/ 2455513 h 3016069"/>
                    <a:gd name="connsiteX614" fmla="*/ 3384026 w 4520397"/>
                    <a:gd name="connsiteY614" fmla="*/ 2443585 h 3016069"/>
                    <a:gd name="connsiteX615" fmla="*/ 3378461 w 4520397"/>
                    <a:gd name="connsiteY615" fmla="*/ 2442507 h 3016069"/>
                    <a:gd name="connsiteX616" fmla="*/ 3363452 w 4520397"/>
                    <a:gd name="connsiteY616" fmla="*/ 2456984 h 3016069"/>
                    <a:gd name="connsiteX617" fmla="*/ 3368675 w 4520397"/>
                    <a:gd name="connsiteY617" fmla="*/ 2464425 h 3016069"/>
                    <a:gd name="connsiteX618" fmla="*/ 3370310 w 4520397"/>
                    <a:gd name="connsiteY618" fmla="*/ 2461839 h 3016069"/>
                    <a:gd name="connsiteX619" fmla="*/ 3370741 w 4520397"/>
                    <a:gd name="connsiteY619" fmla="*/ 2469546 h 3016069"/>
                    <a:gd name="connsiteX620" fmla="*/ 3373821 w 4520397"/>
                    <a:gd name="connsiteY620" fmla="*/ 2464019 h 3016069"/>
                    <a:gd name="connsiteX621" fmla="*/ 3379652 w 4520397"/>
                    <a:gd name="connsiteY621" fmla="*/ 2468177 h 3016069"/>
                    <a:gd name="connsiteX622" fmla="*/ 3380552 w 4520397"/>
                    <a:gd name="connsiteY622" fmla="*/ 2471067 h 3016069"/>
                    <a:gd name="connsiteX623" fmla="*/ 3377180 w 4520397"/>
                    <a:gd name="connsiteY623" fmla="*/ 2475073 h 3016069"/>
                    <a:gd name="connsiteX624" fmla="*/ 3367166 w 4520397"/>
                    <a:gd name="connsiteY624" fmla="*/ 2478952 h 3016069"/>
                    <a:gd name="connsiteX625" fmla="*/ 3362755 w 4520397"/>
                    <a:gd name="connsiteY625" fmla="*/ 2479269 h 3016069"/>
                    <a:gd name="connsiteX626" fmla="*/ 3363186 w 4520397"/>
                    <a:gd name="connsiteY626" fmla="*/ 2481196 h 3016069"/>
                    <a:gd name="connsiteX627" fmla="*/ 3360625 w 4520397"/>
                    <a:gd name="connsiteY627" fmla="*/ 2477165 h 3016069"/>
                    <a:gd name="connsiteX628" fmla="*/ 3359129 w 4520397"/>
                    <a:gd name="connsiteY628" fmla="*/ 2480118 h 3016069"/>
                    <a:gd name="connsiteX629" fmla="*/ 3353590 w 4520397"/>
                    <a:gd name="connsiteY629" fmla="*/ 2472170 h 3016069"/>
                    <a:gd name="connsiteX630" fmla="*/ 3357887 w 4520397"/>
                    <a:gd name="connsiteY630" fmla="*/ 2468114 h 3016069"/>
                    <a:gd name="connsiteX631" fmla="*/ 3345895 w 4520397"/>
                    <a:gd name="connsiteY631" fmla="*/ 2472056 h 3016069"/>
                    <a:gd name="connsiteX632" fmla="*/ 3349596 w 4520397"/>
                    <a:gd name="connsiteY632" fmla="*/ 2475859 h 3016069"/>
                    <a:gd name="connsiteX633" fmla="*/ 3345705 w 4520397"/>
                    <a:gd name="connsiteY633" fmla="*/ 2482134 h 3016069"/>
                    <a:gd name="connsiteX634" fmla="*/ 3355656 w 4520397"/>
                    <a:gd name="connsiteY634" fmla="*/ 2485709 h 3016069"/>
                    <a:gd name="connsiteX635" fmla="*/ 3357152 w 4520397"/>
                    <a:gd name="connsiteY635" fmla="*/ 2493010 h 3016069"/>
                    <a:gd name="connsiteX636" fmla="*/ 3353640 w 4520397"/>
                    <a:gd name="connsiteY636" fmla="*/ 2497815 h 3016069"/>
                    <a:gd name="connsiteX637" fmla="*/ 3354071 w 4520397"/>
                    <a:gd name="connsiteY637" fmla="*/ 2499463 h 3016069"/>
                    <a:gd name="connsiteX638" fmla="*/ 3339518 w 4520397"/>
                    <a:gd name="connsiteY638" fmla="*/ 2499577 h 3016069"/>
                    <a:gd name="connsiteX639" fmla="*/ 3333345 w 4520397"/>
                    <a:gd name="connsiteY639" fmla="*/ 2494570 h 3016069"/>
                    <a:gd name="connsiteX640" fmla="*/ 3332876 w 4520397"/>
                    <a:gd name="connsiteY640" fmla="*/ 2498068 h 3016069"/>
                    <a:gd name="connsiteX641" fmla="*/ 3331317 w 4520397"/>
                    <a:gd name="connsiteY641" fmla="*/ 2493556 h 3016069"/>
                    <a:gd name="connsiteX642" fmla="*/ 3324218 w 4520397"/>
                    <a:gd name="connsiteY642" fmla="*/ 2498892 h 3016069"/>
                    <a:gd name="connsiteX643" fmla="*/ 3329073 w 4520397"/>
                    <a:gd name="connsiteY643" fmla="*/ 2507728 h 3016069"/>
                    <a:gd name="connsiteX644" fmla="*/ 3333801 w 4520397"/>
                    <a:gd name="connsiteY644" fmla="*/ 2504774 h 3016069"/>
                    <a:gd name="connsiteX645" fmla="*/ 3330290 w 4520397"/>
                    <a:gd name="connsiteY645" fmla="*/ 2513876 h 3016069"/>
                    <a:gd name="connsiteX646" fmla="*/ 3322874 w 4520397"/>
                    <a:gd name="connsiteY646" fmla="*/ 2527579 h 3016069"/>
                    <a:gd name="connsiteX647" fmla="*/ 3324662 w 4520397"/>
                    <a:gd name="connsiteY647" fmla="*/ 2524283 h 3016069"/>
                    <a:gd name="connsiteX648" fmla="*/ 3313823 w 4520397"/>
                    <a:gd name="connsiteY648" fmla="*/ 2513394 h 3016069"/>
                    <a:gd name="connsiteX649" fmla="*/ 3302794 w 4520397"/>
                    <a:gd name="connsiteY649" fmla="*/ 2521850 h 3016069"/>
                    <a:gd name="connsiteX650" fmla="*/ 3297864 w 4520397"/>
                    <a:gd name="connsiteY650" fmla="*/ 2520012 h 3016069"/>
                    <a:gd name="connsiteX651" fmla="*/ 3294834 w 4520397"/>
                    <a:gd name="connsiteY651" fmla="*/ 2519264 h 3016069"/>
                    <a:gd name="connsiteX652" fmla="*/ 3293820 w 4520397"/>
                    <a:gd name="connsiteY652" fmla="*/ 2513876 h 3016069"/>
                    <a:gd name="connsiteX653" fmla="*/ 3290106 w 4520397"/>
                    <a:gd name="connsiteY653" fmla="*/ 2522407 h 3016069"/>
                    <a:gd name="connsiteX654" fmla="*/ 3285238 w 4520397"/>
                    <a:gd name="connsiteY654" fmla="*/ 2519783 h 3016069"/>
                    <a:gd name="connsiteX655" fmla="*/ 3282639 w 4520397"/>
                    <a:gd name="connsiteY655" fmla="*/ 2522661 h 3016069"/>
                    <a:gd name="connsiteX656" fmla="*/ 3280091 w 4520397"/>
                    <a:gd name="connsiteY656" fmla="*/ 2524854 h 3016069"/>
                    <a:gd name="connsiteX657" fmla="*/ 3286264 w 4520397"/>
                    <a:gd name="connsiteY657" fmla="*/ 2527731 h 3016069"/>
                    <a:gd name="connsiteX658" fmla="*/ 3283552 w 4520397"/>
                    <a:gd name="connsiteY658" fmla="*/ 2533195 h 3016069"/>
                    <a:gd name="connsiteX659" fmla="*/ 3269075 w 4520397"/>
                    <a:gd name="connsiteY659" fmla="*/ 2530495 h 3016069"/>
                    <a:gd name="connsiteX660" fmla="*/ 3274627 w 4520397"/>
                    <a:gd name="connsiteY660" fmla="*/ 2532625 h 3016069"/>
                    <a:gd name="connsiteX661" fmla="*/ 3266514 w 4520397"/>
                    <a:gd name="connsiteY661" fmla="*/ 2531509 h 3016069"/>
                    <a:gd name="connsiteX662" fmla="*/ 3283121 w 4520397"/>
                    <a:gd name="connsiteY662" fmla="*/ 2542487 h 3016069"/>
                    <a:gd name="connsiteX663" fmla="*/ 3291310 w 4520397"/>
                    <a:gd name="connsiteY663" fmla="*/ 2547532 h 3016069"/>
                    <a:gd name="connsiteX664" fmla="*/ 3279571 w 4520397"/>
                    <a:gd name="connsiteY664" fmla="*/ 2555506 h 3016069"/>
                    <a:gd name="connsiteX665" fmla="*/ 3275084 w 4520397"/>
                    <a:gd name="connsiteY665" fmla="*/ 2553427 h 3016069"/>
                    <a:gd name="connsiteX666" fmla="*/ 3262470 w 4520397"/>
                    <a:gd name="connsiteY666" fmla="*/ 2575091 h 3016069"/>
                    <a:gd name="connsiteX667" fmla="*/ 3267009 w 4520397"/>
                    <a:gd name="connsiteY667" fmla="*/ 2566230 h 3016069"/>
                    <a:gd name="connsiteX668" fmla="*/ 3264322 w 4520397"/>
                    <a:gd name="connsiteY668" fmla="*/ 2566763 h 3016069"/>
                    <a:gd name="connsiteX669" fmla="*/ 3263979 w 4520397"/>
                    <a:gd name="connsiteY669" fmla="*/ 2562452 h 3016069"/>
                    <a:gd name="connsiteX670" fmla="*/ 3257324 w 4520397"/>
                    <a:gd name="connsiteY670" fmla="*/ 2563048 h 3016069"/>
                    <a:gd name="connsiteX671" fmla="*/ 3260404 w 4520397"/>
                    <a:gd name="connsiteY671" fmla="*/ 2565178 h 3016069"/>
                    <a:gd name="connsiteX672" fmla="*/ 3251746 w 4520397"/>
                    <a:gd name="connsiteY672" fmla="*/ 2588389 h 3016069"/>
                    <a:gd name="connsiteX673" fmla="*/ 3238816 w 4520397"/>
                    <a:gd name="connsiteY673" fmla="*/ 2572061 h 3016069"/>
                    <a:gd name="connsiteX674" fmla="*/ 3241732 w 4520397"/>
                    <a:gd name="connsiteY674" fmla="*/ 2584649 h 3016069"/>
                    <a:gd name="connsiteX675" fmla="*/ 3228485 w 4520397"/>
                    <a:gd name="connsiteY675" fmla="*/ 2584877 h 3016069"/>
                    <a:gd name="connsiteX676" fmla="*/ 3225683 w 4520397"/>
                    <a:gd name="connsiteY676" fmla="*/ 2598619 h 3016069"/>
                    <a:gd name="connsiteX677" fmla="*/ 3224986 w 4520397"/>
                    <a:gd name="connsiteY677" fmla="*/ 2591811 h 3016069"/>
                    <a:gd name="connsiteX678" fmla="*/ 3214211 w 4520397"/>
                    <a:gd name="connsiteY678" fmla="*/ 2602878 h 3016069"/>
                    <a:gd name="connsiteX679" fmla="*/ 3203639 w 4520397"/>
                    <a:gd name="connsiteY679" fmla="*/ 2594473 h 3016069"/>
                    <a:gd name="connsiteX680" fmla="*/ 3197212 w 4520397"/>
                    <a:gd name="connsiteY680" fmla="*/ 2607010 h 3016069"/>
                    <a:gd name="connsiteX681" fmla="*/ 3179072 w 4520397"/>
                    <a:gd name="connsiteY681" fmla="*/ 2616543 h 3016069"/>
                    <a:gd name="connsiteX682" fmla="*/ 3172708 w 4520397"/>
                    <a:gd name="connsiteY682" fmla="*/ 2615656 h 3016069"/>
                    <a:gd name="connsiteX683" fmla="*/ 3180897 w 4520397"/>
                    <a:gd name="connsiteY683" fmla="*/ 2620841 h 3016069"/>
                    <a:gd name="connsiteX684" fmla="*/ 3193548 w 4520397"/>
                    <a:gd name="connsiteY684" fmla="*/ 2627306 h 3016069"/>
                    <a:gd name="connsiteX685" fmla="*/ 3192015 w 4520397"/>
                    <a:gd name="connsiteY685" fmla="*/ 2629131 h 3016069"/>
                    <a:gd name="connsiteX686" fmla="*/ 3183395 w 4520397"/>
                    <a:gd name="connsiteY686" fmla="*/ 2623794 h 3016069"/>
                    <a:gd name="connsiteX687" fmla="*/ 3186944 w 4520397"/>
                    <a:gd name="connsiteY687" fmla="*/ 2626710 h 3016069"/>
                    <a:gd name="connsiteX688" fmla="*/ 3181873 w 4520397"/>
                    <a:gd name="connsiteY688" fmla="*/ 2632972 h 3016069"/>
                    <a:gd name="connsiteX689" fmla="*/ 3171669 w 4520397"/>
                    <a:gd name="connsiteY689" fmla="*/ 2627445 h 3016069"/>
                    <a:gd name="connsiteX690" fmla="*/ 3176790 w 4520397"/>
                    <a:gd name="connsiteY690" fmla="*/ 2631463 h 3016069"/>
                    <a:gd name="connsiteX691" fmla="*/ 3174546 w 4520397"/>
                    <a:gd name="connsiteY691" fmla="*/ 2645116 h 3016069"/>
                    <a:gd name="connsiteX692" fmla="*/ 3148914 w 4520397"/>
                    <a:gd name="connsiteY692" fmla="*/ 2647651 h 3016069"/>
                    <a:gd name="connsiteX693" fmla="*/ 3154860 w 4520397"/>
                    <a:gd name="connsiteY693" fmla="*/ 2648856 h 3016069"/>
                    <a:gd name="connsiteX694" fmla="*/ 3141144 w 4520397"/>
                    <a:gd name="connsiteY694" fmla="*/ 2659073 h 3016069"/>
                    <a:gd name="connsiteX695" fmla="*/ 3143185 w 4520397"/>
                    <a:gd name="connsiteY695" fmla="*/ 2653762 h 3016069"/>
                    <a:gd name="connsiteX696" fmla="*/ 3137150 w 4520397"/>
                    <a:gd name="connsiteY696" fmla="*/ 2650795 h 3016069"/>
                    <a:gd name="connsiteX697" fmla="*/ 3118364 w 4520397"/>
                    <a:gd name="connsiteY697" fmla="*/ 2661253 h 3016069"/>
                    <a:gd name="connsiteX698" fmla="*/ 3120265 w 4520397"/>
                    <a:gd name="connsiteY698" fmla="*/ 2662927 h 3016069"/>
                    <a:gd name="connsiteX699" fmla="*/ 3114358 w 4520397"/>
                    <a:gd name="connsiteY699" fmla="*/ 2650884 h 3016069"/>
                    <a:gd name="connsiteX700" fmla="*/ 3100579 w 4520397"/>
                    <a:gd name="connsiteY700" fmla="*/ 2653698 h 3016069"/>
                    <a:gd name="connsiteX701" fmla="*/ 3090133 w 4520397"/>
                    <a:gd name="connsiteY701" fmla="*/ 2651404 h 3016069"/>
                    <a:gd name="connsiteX702" fmla="*/ 3094697 w 4520397"/>
                    <a:gd name="connsiteY702" fmla="*/ 2657273 h 3016069"/>
                    <a:gd name="connsiteX703" fmla="*/ 3105371 w 4520397"/>
                    <a:gd name="connsiteY703" fmla="*/ 2656183 h 3016069"/>
                    <a:gd name="connsiteX704" fmla="*/ 3101149 w 4520397"/>
                    <a:gd name="connsiteY704" fmla="*/ 2667718 h 3016069"/>
                    <a:gd name="connsiteX705" fmla="*/ 3103418 w 4520397"/>
                    <a:gd name="connsiteY705" fmla="*/ 2665335 h 3016069"/>
                    <a:gd name="connsiteX706" fmla="*/ 3102658 w 4520397"/>
                    <a:gd name="connsiteY706" fmla="*/ 2671268 h 3016069"/>
                    <a:gd name="connsiteX707" fmla="*/ 3091451 w 4520397"/>
                    <a:gd name="connsiteY707" fmla="*/ 2664029 h 3016069"/>
                    <a:gd name="connsiteX708" fmla="*/ 3077355 w 4520397"/>
                    <a:gd name="connsiteY708" fmla="*/ 2661976 h 3016069"/>
                    <a:gd name="connsiteX709" fmla="*/ 3083541 w 4520397"/>
                    <a:gd name="connsiteY709" fmla="*/ 2652988 h 3016069"/>
                    <a:gd name="connsiteX710" fmla="*/ 3073438 w 4520397"/>
                    <a:gd name="connsiteY710" fmla="*/ 2662255 h 3016069"/>
                    <a:gd name="connsiteX711" fmla="*/ 3061865 w 4520397"/>
                    <a:gd name="connsiteY711" fmla="*/ 2668226 h 3016069"/>
                    <a:gd name="connsiteX712" fmla="*/ 3049936 w 4520397"/>
                    <a:gd name="connsiteY712" fmla="*/ 2663915 h 3016069"/>
                    <a:gd name="connsiteX713" fmla="*/ 3057643 w 4520397"/>
                    <a:gd name="connsiteY713" fmla="*/ 2670634 h 3016069"/>
                    <a:gd name="connsiteX714" fmla="*/ 3054145 w 4520397"/>
                    <a:gd name="connsiteY714" fmla="*/ 2679546 h 3016069"/>
                    <a:gd name="connsiteX715" fmla="*/ 3051521 w 4520397"/>
                    <a:gd name="connsiteY715" fmla="*/ 2680344 h 3016069"/>
                    <a:gd name="connsiteX716" fmla="*/ 3041101 w 4520397"/>
                    <a:gd name="connsiteY716" fmla="*/ 2674412 h 3016069"/>
                    <a:gd name="connsiteX717" fmla="*/ 3046780 w 4520397"/>
                    <a:gd name="connsiteY717" fmla="*/ 2662242 h 3016069"/>
                    <a:gd name="connsiteX718" fmla="*/ 3024798 w 4520397"/>
                    <a:gd name="connsiteY718" fmla="*/ 2668352 h 3016069"/>
                    <a:gd name="connsiteX719" fmla="*/ 3023112 w 4520397"/>
                    <a:gd name="connsiteY719" fmla="*/ 2672421 h 3016069"/>
                    <a:gd name="connsiteX720" fmla="*/ 3029844 w 4520397"/>
                    <a:gd name="connsiteY720" fmla="*/ 2673157 h 3016069"/>
                    <a:gd name="connsiteX721" fmla="*/ 3023277 w 4520397"/>
                    <a:gd name="connsiteY721" fmla="*/ 2680344 h 3016069"/>
                    <a:gd name="connsiteX722" fmla="*/ 3021984 w 4520397"/>
                    <a:gd name="connsiteY722" fmla="*/ 2686277 h 3016069"/>
                    <a:gd name="connsiteX723" fmla="*/ 3019196 w 4520397"/>
                    <a:gd name="connsiteY723" fmla="*/ 2678747 h 3016069"/>
                    <a:gd name="connsiteX724" fmla="*/ 3010499 w 4520397"/>
                    <a:gd name="connsiteY724" fmla="*/ 2676161 h 3016069"/>
                    <a:gd name="connsiteX725" fmla="*/ 2978060 w 4520397"/>
                    <a:gd name="connsiteY725" fmla="*/ 2687937 h 3016069"/>
                    <a:gd name="connsiteX726" fmla="*/ 2978339 w 4520397"/>
                    <a:gd name="connsiteY726" fmla="*/ 2682651 h 3016069"/>
                    <a:gd name="connsiteX727" fmla="*/ 2966030 w 4520397"/>
                    <a:gd name="connsiteY727" fmla="*/ 2663992 h 3016069"/>
                    <a:gd name="connsiteX728" fmla="*/ 2960642 w 4520397"/>
                    <a:gd name="connsiteY728" fmla="*/ 2663586 h 3016069"/>
                    <a:gd name="connsiteX729" fmla="*/ 2957841 w 4520397"/>
                    <a:gd name="connsiteY729" fmla="*/ 2654091 h 3016069"/>
                    <a:gd name="connsiteX730" fmla="*/ 2957841 w 4520397"/>
                    <a:gd name="connsiteY730" fmla="*/ 2658287 h 3016069"/>
                    <a:gd name="connsiteX731" fmla="*/ 2957359 w 4520397"/>
                    <a:gd name="connsiteY731" fmla="*/ 2652988 h 3016069"/>
                    <a:gd name="connsiteX732" fmla="*/ 2956282 w 4520397"/>
                    <a:gd name="connsiteY732" fmla="*/ 2654839 h 3016069"/>
                    <a:gd name="connsiteX733" fmla="*/ 2959413 w 4520397"/>
                    <a:gd name="connsiteY733" fmla="*/ 2642885 h 3016069"/>
                    <a:gd name="connsiteX734" fmla="*/ 2956345 w 4520397"/>
                    <a:gd name="connsiteY734" fmla="*/ 2651923 h 3016069"/>
                    <a:gd name="connsiteX735" fmla="*/ 2957841 w 4520397"/>
                    <a:gd name="connsiteY735" fmla="*/ 2642885 h 3016069"/>
                    <a:gd name="connsiteX736" fmla="*/ 2954811 w 4520397"/>
                    <a:gd name="connsiteY736" fmla="*/ 2650326 h 3016069"/>
                    <a:gd name="connsiteX737" fmla="*/ 2955293 w 4520397"/>
                    <a:gd name="connsiteY737" fmla="*/ 2643925 h 3016069"/>
                    <a:gd name="connsiteX738" fmla="*/ 2955242 w 4520397"/>
                    <a:gd name="connsiteY738" fmla="*/ 2637941 h 3016069"/>
                    <a:gd name="connsiteX739" fmla="*/ 2973598 w 4520397"/>
                    <a:gd name="connsiteY739" fmla="*/ 2636471 h 3016069"/>
                    <a:gd name="connsiteX740" fmla="*/ 2941666 w 4520397"/>
                    <a:gd name="connsiteY740" fmla="*/ 2639108 h 3016069"/>
                    <a:gd name="connsiteX741" fmla="*/ 2927975 w 4520397"/>
                    <a:gd name="connsiteY741" fmla="*/ 2652392 h 3016069"/>
                    <a:gd name="connsiteX742" fmla="*/ 2934579 w 4520397"/>
                    <a:gd name="connsiteY742" fmla="*/ 2654940 h 3016069"/>
                    <a:gd name="connsiteX743" fmla="*/ 2940512 w 4520397"/>
                    <a:gd name="connsiteY743" fmla="*/ 2656119 h 3016069"/>
                    <a:gd name="connsiteX744" fmla="*/ 2948752 w 4520397"/>
                    <a:gd name="connsiteY744" fmla="*/ 2663015 h 3016069"/>
                    <a:gd name="connsiteX745" fmla="*/ 2940094 w 4520397"/>
                    <a:gd name="connsiteY745" fmla="*/ 2663586 h 3016069"/>
                    <a:gd name="connsiteX746" fmla="*/ 2955826 w 4520397"/>
                    <a:gd name="connsiteY746" fmla="*/ 2677695 h 3016069"/>
                    <a:gd name="connsiteX747" fmla="*/ 2957334 w 4520397"/>
                    <a:gd name="connsiteY747" fmla="*/ 2694301 h 3016069"/>
                    <a:gd name="connsiteX748" fmla="*/ 2947053 w 4520397"/>
                    <a:gd name="connsiteY748" fmla="*/ 2710819 h 3016069"/>
                    <a:gd name="connsiteX749" fmla="*/ 2924413 w 4520397"/>
                    <a:gd name="connsiteY749" fmla="*/ 2678430 h 3016069"/>
                    <a:gd name="connsiteX750" fmla="*/ 2941932 w 4520397"/>
                    <a:gd name="connsiteY750" fmla="*/ 2709044 h 3016069"/>
                    <a:gd name="connsiteX751" fmla="*/ 2930777 w 4520397"/>
                    <a:gd name="connsiteY751" fmla="*/ 2718222 h 3016069"/>
                    <a:gd name="connsiteX752" fmla="*/ 2920357 w 4520397"/>
                    <a:gd name="connsiteY752" fmla="*/ 2705951 h 3016069"/>
                    <a:gd name="connsiteX753" fmla="*/ 2916478 w 4520397"/>
                    <a:gd name="connsiteY753" fmla="*/ 2713531 h 3016069"/>
                    <a:gd name="connsiteX754" fmla="*/ 2914145 w 4520397"/>
                    <a:gd name="connsiteY754" fmla="*/ 2711820 h 3016069"/>
                    <a:gd name="connsiteX755" fmla="*/ 2911242 w 4520397"/>
                    <a:gd name="connsiteY755" fmla="*/ 2728401 h 3016069"/>
                    <a:gd name="connsiteX756" fmla="*/ 2897704 w 4520397"/>
                    <a:gd name="connsiteY756" fmla="*/ 2726728 h 3016069"/>
                    <a:gd name="connsiteX757" fmla="*/ 2884596 w 4520397"/>
                    <a:gd name="connsiteY757" fmla="*/ 2739024 h 3016069"/>
                    <a:gd name="connsiteX758" fmla="*/ 2874759 w 4520397"/>
                    <a:gd name="connsiteY758" fmla="*/ 2725498 h 3016069"/>
                    <a:gd name="connsiteX759" fmla="*/ 2867635 w 4520397"/>
                    <a:gd name="connsiteY759" fmla="*/ 2717588 h 3016069"/>
                    <a:gd name="connsiteX760" fmla="*/ 2867318 w 4520397"/>
                    <a:gd name="connsiteY760" fmla="*/ 2739468 h 3016069"/>
                    <a:gd name="connsiteX761" fmla="*/ 2852499 w 4520397"/>
                    <a:gd name="connsiteY761" fmla="*/ 2734980 h 3016069"/>
                    <a:gd name="connsiteX762" fmla="*/ 2841318 w 4520397"/>
                    <a:gd name="connsiteY762" fmla="*/ 2731811 h 3016069"/>
                    <a:gd name="connsiteX763" fmla="*/ 2835969 w 4520397"/>
                    <a:gd name="connsiteY763" fmla="*/ 2736438 h 3016069"/>
                    <a:gd name="connsiteX764" fmla="*/ 2830176 w 4520397"/>
                    <a:gd name="connsiteY764" fmla="*/ 2728654 h 3016069"/>
                    <a:gd name="connsiteX765" fmla="*/ 2838289 w 4520397"/>
                    <a:gd name="connsiteY765" fmla="*/ 2740279 h 3016069"/>
                    <a:gd name="connsiteX766" fmla="*/ 2826335 w 4520397"/>
                    <a:gd name="connsiteY766" fmla="*/ 2747682 h 3016069"/>
                    <a:gd name="connsiteX767" fmla="*/ 2829149 w 4520397"/>
                    <a:gd name="connsiteY767" fmla="*/ 2746110 h 3016069"/>
                    <a:gd name="connsiteX768" fmla="*/ 2826081 w 4520397"/>
                    <a:gd name="connsiteY768" fmla="*/ 2740849 h 3016069"/>
                    <a:gd name="connsiteX769" fmla="*/ 2814482 w 4520397"/>
                    <a:gd name="connsiteY769" fmla="*/ 2739746 h 3016069"/>
                    <a:gd name="connsiteX770" fmla="*/ 2819553 w 4520397"/>
                    <a:gd name="connsiteY770" fmla="*/ 2750319 h 3016069"/>
                    <a:gd name="connsiteX771" fmla="*/ 2822583 w 4520397"/>
                    <a:gd name="connsiteY771" fmla="*/ 2752461 h 3016069"/>
                    <a:gd name="connsiteX772" fmla="*/ 2807371 w 4520397"/>
                    <a:gd name="connsiteY772" fmla="*/ 2755097 h 3016069"/>
                    <a:gd name="connsiteX773" fmla="*/ 2808372 w 4520397"/>
                    <a:gd name="connsiteY773" fmla="*/ 2758787 h 3016069"/>
                    <a:gd name="connsiteX774" fmla="*/ 2796291 w 4520397"/>
                    <a:gd name="connsiteY774" fmla="*/ 2753488 h 3016069"/>
                    <a:gd name="connsiteX775" fmla="*/ 2796710 w 4520397"/>
                    <a:gd name="connsiteY775" fmla="*/ 2758787 h 3016069"/>
                    <a:gd name="connsiteX776" fmla="*/ 2790194 w 4520397"/>
                    <a:gd name="connsiteY776" fmla="*/ 2759357 h 3016069"/>
                    <a:gd name="connsiteX777" fmla="*/ 2794212 w 4520397"/>
                    <a:gd name="connsiteY777" fmla="*/ 2759357 h 3016069"/>
                    <a:gd name="connsiteX778" fmla="*/ 2783045 w 4520397"/>
                    <a:gd name="connsiteY778" fmla="*/ 2765670 h 3016069"/>
                    <a:gd name="connsiteX779" fmla="*/ 2786581 w 4520397"/>
                    <a:gd name="connsiteY779" fmla="*/ 2761449 h 3016069"/>
                    <a:gd name="connsiteX780" fmla="*/ 2775996 w 4520397"/>
                    <a:gd name="connsiteY780" fmla="*/ 2759839 h 3016069"/>
                    <a:gd name="connsiteX781" fmla="*/ 2781041 w 4520397"/>
                    <a:gd name="connsiteY781" fmla="*/ 2761449 h 3016069"/>
                    <a:gd name="connsiteX782" fmla="*/ 2770837 w 4520397"/>
                    <a:gd name="connsiteY782" fmla="*/ 2763527 h 3016069"/>
                    <a:gd name="connsiteX783" fmla="*/ 2773930 w 4520397"/>
                    <a:gd name="connsiteY783" fmla="*/ 2761943 h 3016069"/>
                    <a:gd name="connsiteX784" fmla="*/ 2773474 w 4520397"/>
                    <a:gd name="connsiteY784" fmla="*/ 2760891 h 3016069"/>
                    <a:gd name="connsiteX785" fmla="*/ 2766349 w 4520397"/>
                    <a:gd name="connsiteY785" fmla="*/ 2758267 h 3016069"/>
                    <a:gd name="connsiteX786" fmla="*/ 2763269 w 4520397"/>
                    <a:gd name="connsiteY786" fmla="*/ 2760358 h 3016069"/>
                    <a:gd name="connsiteX787" fmla="*/ 2762800 w 4520397"/>
                    <a:gd name="connsiteY787" fmla="*/ 2765670 h 3016069"/>
                    <a:gd name="connsiteX788" fmla="*/ 2769392 w 4520397"/>
                    <a:gd name="connsiteY788" fmla="*/ 2763527 h 3016069"/>
                    <a:gd name="connsiteX789" fmla="*/ 2738512 w 4520397"/>
                    <a:gd name="connsiteY789" fmla="*/ 2779855 h 3016069"/>
                    <a:gd name="connsiteX790" fmla="*/ 2740464 w 4520397"/>
                    <a:gd name="connsiteY790" fmla="*/ 2773060 h 3016069"/>
                    <a:gd name="connsiteX791" fmla="*/ 2737954 w 4520397"/>
                    <a:gd name="connsiteY791" fmla="*/ 2775114 h 3016069"/>
                    <a:gd name="connsiteX792" fmla="*/ 2747056 w 4520397"/>
                    <a:gd name="connsiteY792" fmla="*/ 2765670 h 3016069"/>
                    <a:gd name="connsiteX793" fmla="*/ 2735926 w 4520397"/>
                    <a:gd name="connsiteY793" fmla="*/ 2774987 h 3016069"/>
                    <a:gd name="connsiteX794" fmla="*/ 2732909 w 4520397"/>
                    <a:gd name="connsiteY794" fmla="*/ 2780894 h 3016069"/>
                    <a:gd name="connsiteX795" fmla="*/ 2733923 w 4520397"/>
                    <a:gd name="connsiteY795" fmla="*/ 2782517 h 3016069"/>
                    <a:gd name="connsiteX796" fmla="*/ 2721753 w 4520397"/>
                    <a:gd name="connsiteY796" fmla="*/ 2785128 h 3016069"/>
                    <a:gd name="connsiteX797" fmla="*/ 2721753 w 4520397"/>
                    <a:gd name="connsiteY797" fmla="*/ 2777738 h 3016069"/>
                    <a:gd name="connsiteX798" fmla="*/ 2722235 w 4520397"/>
                    <a:gd name="connsiteY798" fmla="*/ 2777269 h 3016069"/>
                    <a:gd name="connsiteX799" fmla="*/ 2725797 w 4520397"/>
                    <a:gd name="connsiteY799" fmla="*/ 2778841 h 3016069"/>
                    <a:gd name="connsiteX800" fmla="*/ 2726368 w 4520397"/>
                    <a:gd name="connsiteY800" fmla="*/ 2776698 h 3016069"/>
                    <a:gd name="connsiteX801" fmla="*/ 2723287 w 4520397"/>
                    <a:gd name="connsiteY801" fmla="*/ 2776698 h 3016069"/>
                    <a:gd name="connsiteX802" fmla="*/ 2726368 w 4520397"/>
                    <a:gd name="connsiteY802" fmla="*/ 2774062 h 3016069"/>
                    <a:gd name="connsiteX803" fmla="*/ 2724796 w 4520397"/>
                    <a:gd name="connsiteY803" fmla="*/ 2773060 h 3016069"/>
                    <a:gd name="connsiteX804" fmla="*/ 2722425 w 4520397"/>
                    <a:gd name="connsiteY804" fmla="*/ 2776128 h 3016069"/>
                    <a:gd name="connsiteX805" fmla="*/ 2722704 w 4520397"/>
                    <a:gd name="connsiteY805" fmla="*/ 2769296 h 3016069"/>
                    <a:gd name="connsiteX806" fmla="*/ 2719168 w 4520397"/>
                    <a:gd name="connsiteY806" fmla="*/ 2765087 h 3016069"/>
                    <a:gd name="connsiteX807" fmla="*/ 2719168 w 4520397"/>
                    <a:gd name="connsiteY807" fmla="*/ 2774582 h 3016069"/>
                    <a:gd name="connsiteX808" fmla="*/ 2718660 w 4520397"/>
                    <a:gd name="connsiteY808" fmla="*/ 2775114 h 3016069"/>
                    <a:gd name="connsiteX809" fmla="*/ 2714667 w 4520397"/>
                    <a:gd name="connsiteY809" fmla="*/ 2773542 h 3016069"/>
                    <a:gd name="connsiteX810" fmla="*/ 2706554 w 4520397"/>
                    <a:gd name="connsiteY810" fmla="*/ 2797741 h 3016069"/>
                    <a:gd name="connsiteX811" fmla="*/ 2705502 w 4520397"/>
                    <a:gd name="connsiteY811" fmla="*/ 2793533 h 3016069"/>
                    <a:gd name="connsiteX812" fmla="*/ 2700938 w 4520397"/>
                    <a:gd name="connsiteY812" fmla="*/ 2800429 h 3016069"/>
                    <a:gd name="connsiteX813" fmla="*/ 2703487 w 4520397"/>
                    <a:gd name="connsiteY813" fmla="*/ 2810418 h 3016069"/>
                    <a:gd name="connsiteX814" fmla="*/ 2701953 w 4520397"/>
                    <a:gd name="connsiteY814" fmla="*/ 2809315 h 3016069"/>
                    <a:gd name="connsiteX815" fmla="*/ 2702523 w 4520397"/>
                    <a:gd name="connsiteY815" fmla="*/ 2811977 h 3016069"/>
                    <a:gd name="connsiteX816" fmla="*/ 2717659 w 4520397"/>
                    <a:gd name="connsiteY816" fmla="*/ 2811458 h 3016069"/>
                    <a:gd name="connsiteX817" fmla="*/ 2715682 w 4520397"/>
                    <a:gd name="connsiteY817" fmla="*/ 2813562 h 3016069"/>
                    <a:gd name="connsiteX818" fmla="*/ 2712614 w 4520397"/>
                    <a:gd name="connsiteY818" fmla="*/ 2826162 h 3016069"/>
                    <a:gd name="connsiteX819" fmla="*/ 2714667 w 4520397"/>
                    <a:gd name="connsiteY819" fmla="*/ 2824591 h 3016069"/>
                    <a:gd name="connsiteX820" fmla="*/ 2713641 w 4520397"/>
                    <a:gd name="connsiteY820" fmla="*/ 2827747 h 3016069"/>
                    <a:gd name="connsiteX821" fmla="*/ 2717177 w 4520397"/>
                    <a:gd name="connsiteY821" fmla="*/ 2827215 h 3016069"/>
                    <a:gd name="connsiteX822" fmla="*/ 2729892 w 4520397"/>
                    <a:gd name="connsiteY822" fmla="*/ 2839866 h 3016069"/>
                    <a:gd name="connsiteX823" fmla="*/ 2713514 w 4520397"/>
                    <a:gd name="connsiteY823" fmla="*/ 2855965 h 3016069"/>
                    <a:gd name="connsiteX824" fmla="*/ 2684269 w 4520397"/>
                    <a:gd name="connsiteY824" fmla="*/ 2858183 h 3016069"/>
                    <a:gd name="connsiteX825" fmla="*/ 2680225 w 4520397"/>
                    <a:gd name="connsiteY825" fmla="*/ 2845405 h 3016069"/>
                    <a:gd name="connsiteX826" fmla="*/ 2689074 w 4520397"/>
                    <a:gd name="connsiteY826" fmla="*/ 2849588 h 3016069"/>
                    <a:gd name="connsiteX827" fmla="*/ 2687806 w 4520397"/>
                    <a:gd name="connsiteY827" fmla="*/ 2839866 h 3016069"/>
                    <a:gd name="connsiteX828" fmla="*/ 2687261 w 4520397"/>
                    <a:gd name="connsiteY828" fmla="*/ 2841907 h 3016069"/>
                    <a:gd name="connsiteX829" fmla="*/ 2685245 w 4520397"/>
                    <a:gd name="connsiteY829" fmla="*/ 2837711 h 3016069"/>
                    <a:gd name="connsiteX830" fmla="*/ 2684269 w 4520397"/>
                    <a:gd name="connsiteY830" fmla="*/ 2842439 h 3016069"/>
                    <a:gd name="connsiteX831" fmla="*/ 2679122 w 4520397"/>
                    <a:gd name="connsiteY831" fmla="*/ 2830878 h 3016069"/>
                    <a:gd name="connsiteX832" fmla="*/ 2677145 w 4520397"/>
                    <a:gd name="connsiteY832" fmla="*/ 2834022 h 3016069"/>
                    <a:gd name="connsiteX833" fmla="*/ 2671592 w 4520397"/>
                    <a:gd name="connsiteY833" fmla="*/ 2828254 h 3016069"/>
                    <a:gd name="connsiteX834" fmla="*/ 2678666 w 4520397"/>
                    <a:gd name="connsiteY834" fmla="*/ 2824058 h 3016069"/>
                    <a:gd name="connsiteX835" fmla="*/ 2680060 w 4520397"/>
                    <a:gd name="connsiteY835" fmla="*/ 2821675 h 3016069"/>
                    <a:gd name="connsiteX836" fmla="*/ 2671009 w 4520397"/>
                    <a:gd name="connsiteY836" fmla="*/ 2810165 h 3016069"/>
                    <a:gd name="connsiteX837" fmla="*/ 2671086 w 4520397"/>
                    <a:gd name="connsiteY837" fmla="*/ 2814589 h 3016069"/>
                    <a:gd name="connsiteX838" fmla="*/ 2668537 w 4520397"/>
                    <a:gd name="connsiteY838" fmla="*/ 2811952 h 3016069"/>
                    <a:gd name="connsiteX839" fmla="*/ 2669564 w 4520397"/>
                    <a:gd name="connsiteY839" fmla="*/ 2814589 h 3016069"/>
                    <a:gd name="connsiteX840" fmla="*/ 2669044 w 4520397"/>
                    <a:gd name="connsiteY840" fmla="*/ 2797234 h 3016069"/>
                    <a:gd name="connsiteX841" fmla="*/ 2672049 w 4520397"/>
                    <a:gd name="connsiteY841" fmla="*/ 2787220 h 3016069"/>
                    <a:gd name="connsiteX842" fmla="*/ 2673075 w 4520397"/>
                    <a:gd name="connsiteY842" fmla="*/ 2772465 h 3016069"/>
                    <a:gd name="connsiteX843" fmla="*/ 2674622 w 4520397"/>
                    <a:gd name="connsiteY843" fmla="*/ 2774556 h 3016069"/>
                    <a:gd name="connsiteX844" fmla="*/ 2684776 w 4520397"/>
                    <a:gd name="connsiteY844" fmla="*/ 2771945 h 3016069"/>
                    <a:gd name="connsiteX845" fmla="*/ 2686792 w 4520397"/>
                    <a:gd name="connsiteY845" fmla="*/ 2764567 h 3016069"/>
                    <a:gd name="connsiteX846" fmla="*/ 2686285 w 4520397"/>
                    <a:gd name="connsiteY846" fmla="*/ 2761905 h 3016069"/>
                    <a:gd name="connsiteX847" fmla="*/ 2678653 w 4520397"/>
                    <a:gd name="connsiteY847" fmla="*/ 2760853 h 3016069"/>
                    <a:gd name="connsiteX848" fmla="*/ 2676638 w 4520397"/>
                    <a:gd name="connsiteY848" fmla="*/ 2764567 h 3016069"/>
                    <a:gd name="connsiteX849" fmla="*/ 2675636 w 4520397"/>
                    <a:gd name="connsiteY849" fmla="*/ 2757176 h 3016069"/>
                    <a:gd name="connsiteX850" fmla="*/ 2673608 w 4520397"/>
                    <a:gd name="connsiteY850" fmla="*/ 2755060 h 3016069"/>
                    <a:gd name="connsiteX851" fmla="*/ 2671770 w 4520397"/>
                    <a:gd name="connsiteY851" fmla="*/ 2755605 h 3016069"/>
                    <a:gd name="connsiteX852" fmla="*/ 2673608 w 4520397"/>
                    <a:gd name="connsiteY852" fmla="*/ 2762475 h 3016069"/>
                    <a:gd name="connsiteX853" fmla="*/ 2664506 w 4520397"/>
                    <a:gd name="connsiteY853" fmla="*/ 2759788 h 3016069"/>
                    <a:gd name="connsiteX854" fmla="*/ 2666509 w 4520397"/>
                    <a:gd name="connsiteY854" fmla="*/ 2751865 h 3016069"/>
                    <a:gd name="connsiteX855" fmla="*/ 2663480 w 4520397"/>
                    <a:gd name="connsiteY855" fmla="*/ 2756112 h 3016069"/>
                    <a:gd name="connsiteX856" fmla="*/ 2661946 w 4520397"/>
                    <a:gd name="connsiteY856" fmla="*/ 2749811 h 3016069"/>
                    <a:gd name="connsiteX857" fmla="*/ 2659727 w 4520397"/>
                    <a:gd name="connsiteY857" fmla="*/ 2751307 h 3016069"/>
                    <a:gd name="connsiteX858" fmla="*/ 2660425 w 4520397"/>
                    <a:gd name="connsiteY858" fmla="*/ 2742383 h 3016069"/>
                    <a:gd name="connsiteX859" fmla="*/ 2658434 w 4520397"/>
                    <a:gd name="connsiteY859" fmla="*/ 2741331 h 3016069"/>
                    <a:gd name="connsiteX860" fmla="*/ 2653896 w 4520397"/>
                    <a:gd name="connsiteY860" fmla="*/ 2747112 h 3016069"/>
                    <a:gd name="connsiteX861" fmla="*/ 2652882 w 4520397"/>
                    <a:gd name="connsiteY861" fmla="*/ 2747644 h 3016069"/>
                    <a:gd name="connsiteX862" fmla="*/ 2654897 w 4520397"/>
                    <a:gd name="connsiteY862" fmla="*/ 2747112 h 3016069"/>
                    <a:gd name="connsiteX863" fmla="*/ 2650828 w 4520397"/>
                    <a:gd name="connsiteY863" fmla="*/ 2749228 h 3016069"/>
                    <a:gd name="connsiteX864" fmla="*/ 2651386 w 4520397"/>
                    <a:gd name="connsiteY864" fmla="*/ 2763997 h 3016069"/>
                    <a:gd name="connsiteX865" fmla="*/ 2651386 w 4520397"/>
                    <a:gd name="connsiteY865" fmla="*/ 2761398 h 3016069"/>
                    <a:gd name="connsiteX866" fmla="*/ 2640205 w 4520397"/>
                    <a:gd name="connsiteY866" fmla="*/ 2762894 h 3016069"/>
                    <a:gd name="connsiteX867" fmla="*/ 2634146 w 4520397"/>
                    <a:gd name="connsiteY867" fmla="*/ 2766608 h 3016069"/>
                    <a:gd name="connsiteX868" fmla="*/ 2634146 w 4520397"/>
                    <a:gd name="connsiteY868" fmla="*/ 2762463 h 3016069"/>
                    <a:gd name="connsiteX869" fmla="*/ 2627542 w 4520397"/>
                    <a:gd name="connsiteY869" fmla="*/ 2766088 h 3016069"/>
                    <a:gd name="connsiteX870" fmla="*/ 2628023 w 4520397"/>
                    <a:gd name="connsiteY870" fmla="*/ 2768763 h 3016069"/>
                    <a:gd name="connsiteX871" fmla="*/ 2626515 w 4520397"/>
                    <a:gd name="connsiteY871" fmla="*/ 2753437 h 3016069"/>
                    <a:gd name="connsiteX872" fmla="*/ 2619885 w 4520397"/>
                    <a:gd name="connsiteY872" fmla="*/ 2753437 h 3016069"/>
                    <a:gd name="connsiteX873" fmla="*/ 2621444 w 4520397"/>
                    <a:gd name="connsiteY873" fmla="*/ 2750268 h 3016069"/>
                    <a:gd name="connsiteX874" fmla="*/ 2610872 w 4520397"/>
                    <a:gd name="connsiteY874" fmla="*/ 2740798 h 3016069"/>
                    <a:gd name="connsiteX875" fmla="*/ 2609338 w 4520397"/>
                    <a:gd name="connsiteY875" fmla="*/ 2740215 h 3016069"/>
                    <a:gd name="connsiteX876" fmla="*/ 2606245 w 4520397"/>
                    <a:gd name="connsiteY876" fmla="*/ 2741318 h 3016069"/>
                    <a:gd name="connsiteX877" fmla="*/ 2607297 w 4520397"/>
                    <a:gd name="connsiteY877" fmla="*/ 2738162 h 3016069"/>
                    <a:gd name="connsiteX878" fmla="*/ 2605776 w 4520397"/>
                    <a:gd name="connsiteY878" fmla="*/ 2739696 h 3016069"/>
                    <a:gd name="connsiteX879" fmla="*/ 2606245 w 4520397"/>
                    <a:gd name="connsiteY879" fmla="*/ 2737072 h 3016069"/>
                    <a:gd name="connsiteX880" fmla="*/ 2600173 w 4520397"/>
                    <a:gd name="connsiteY880" fmla="*/ 2737072 h 3016069"/>
                    <a:gd name="connsiteX881" fmla="*/ 2602936 w 4520397"/>
                    <a:gd name="connsiteY881" fmla="*/ 2744703 h 3016069"/>
                    <a:gd name="connsiteX882" fmla="*/ 2602125 w 4520397"/>
                    <a:gd name="connsiteY882" fmla="*/ 2741445 h 3016069"/>
                    <a:gd name="connsiteX883" fmla="*/ 2601681 w 4520397"/>
                    <a:gd name="connsiteY883" fmla="*/ 2743385 h 3016069"/>
                    <a:gd name="connsiteX884" fmla="*/ 2600731 w 4520397"/>
                    <a:gd name="connsiteY884" fmla="*/ 2742852 h 3016069"/>
                    <a:gd name="connsiteX885" fmla="*/ 2600185 w 4520397"/>
                    <a:gd name="connsiteY885" fmla="*/ 2743968 h 3016069"/>
                    <a:gd name="connsiteX886" fmla="*/ 2603266 w 4520397"/>
                    <a:gd name="connsiteY886" fmla="*/ 2750268 h 3016069"/>
                    <a:gd name="connsiteX887" fmla="*/ 2606245 w 4520397"/>
                    <a:gd name="connsiteY887" fmla="*/ 2750268 h 3016069"/>
                    <a:gd name="connsiteX888" fmla="*/ 2605396 w 4520397"/>
                    <a:gd name="connsiteY888" fmla="*/ 2751637 h 3016069"/>
                    <a:gd name="connsiteX889" fmla="*/ 2597676 w 4520397"/>
                    <a:gd name="connsiteY889" fmla="*/ 2753437 h 3016069"/>
                    <a:gd name="connsiteX890" fmla="*/ 2595140 w 4520397"/>
                    <a:gd name="connsiteY890" fmla="*/ 2749216 h 3016069"/>
                    <a:gd name="connsiteX891" fmla="*/ 2598119 w 4520397"/>
                    <a:gd name="connsiteY891" fmla="*/ 2749786 h 3016069"/>
                    <a:gd name="connsiteX892" fmla="*/ 2598119 w 4520397"/>
                    <a:gd name="connsiteY892" fmla="*/ 2746567 h 3016069"/>
                    <a:gd name="connsiteX893" fmla="*/ 2596142 w 4520397"/>
                    <a:gd name="connsiteY893" fmla="*/ 2742358 h 3016069"/>
                    <a:gd name="connsiteX894" fmla="*/ 2595140 w 4520397"/>
                    <a:gd name="connsiteY894" fmla="*/ 2742358 h 3016069"/>
                    <a:gd name="connsiteX895" fmla="*/ 2590564 w 4520397"/>
                    <a:gd name="connsiteY895" fmla="*/ 2743372 h 3016069"/>
                    <a:gd name="connsiteX896" fmla="*/ 2593049 w 4520397"/>
                    <a:gd name="connsiteY896" fmla="*/ 2742358 h 3016069"/>
                    <a:gd name="connsiteX897" fmla="*/ 2590361 w 4520397"/>
                    <a:gd name="connsiteY897" fmla="*/ 2741978 h 3016069"/>
                    <a:gd name="connsiteX898" fmla="*/ 2592631 w 4520397"/>
                    <a:gd name="connsiteY898" fmla="*/ 2737059 h 3016069"/>
                    <a:gd name="connsiteX899" fmla="*/ 2591071 w 4520397"/>
                    <a:gd name="connsiteY899" fmla="*/ 2738618 h 3016069"/>
                    <a:gd name="connsiteX900" fmla="*/ 2590070 w 4520397"/>
                    <a:gd name="connsiteY900" fmla="*/ 2736526 h 3016069"/>
                    <a:gd name="connsiteX901" fmla="*/ 2589537 w 4520397"/>
                    <a:gd name="connsiteY901" fmla="*/ 2740203 h 3016069"/>
                    <a:gd name="connsiteX902" fmla="*/ 2588029 w 4520397"/>
                    <a:gd name="connsiteY902" fmla="*/ 2739150 h 3016069"/>
                    <a:gd name="connsiteX903" fmla="*/ 2589056 w 4520397"/>
                    <a:gd name="connsiteY903" fmla="*/ 2742345 h 3016069"/>
                    <a:gd name="connsiteX904" fmla="*/ 2586508 w 4520397"/>
                    <a:gd name="connsiteY904" fmla="*/ 2742827 h 3016069"/>
                    <a:gd name="connsiteX905" fmla="*/ 2587484 w 4520397"/>
                    <a:gd name="connsiteY905" fmla="*/ 2739150 h 3016069"/>
                    <a:gd name="connsiteX906" fmla="*/ 2586508 w 4520397"/>
                    <a:gd name="connsiteY906" fmla="*/ 2729149 h 3016069"/>
                    <a:gd name="connsiteX907" fmla="*/ 2584517 w 4520397"/>
                    <a:gd name="connsiteY907" fmla="*/ 2730163 h 3016069"/>
                    <a:gd name="connsiteX908" fmla="*/ 2585544 w 4520397"/>
                    <a:gd name="connsiteY908" fmla="*/ 2730683 h 3016069"/>
                    <a:gd name="connsiteX909" fmla="*/ 2584948 w 4520397"/>
                    <a:gd name="connsiteY909" fmla="*/ 2726512 h 3016069"/>
                    <a:gd name="connsiteX910" fmla="*/ 2583440 w 4520397"/>
                    <a:gd name="connsiteY910" fmla="*/ 2726512 h 3016069"/>
                    <a:gd name="connsiteX911" fmla="*/ 2579903 w 4520397"/>
                    <a:gd name="connsiteY911" fmla="*/ 2729669 h 3016069"/>
                    <a:gd name="connsiteX912" fmla="*/ 2580930 w 4520397"/>
                    <a:gd name="connsiteY912" fmla="*/ 2731253 h 3016069"/>
                    <a:gd name="connsiteX913" fmla="*/ 2578915 w 4520397"/>
                    <a:gd name="connsiteY913" fmla="*/ 2733877 h 3016069"/>
                    <a:gd name="connsiteX914" fmla="*/ 2577900 w 4520397"/>
                    <a:gd name="connsiteY914" fmla="*/ 2727045 h 3016069"/>
                    <a:gd name="connsiteX915" fmla="*/ 2578407 w 4520397"/>
                    <a:gd name="connsiteY915" fmla="*/ 2736514 h 3016069"/>
                    <a:gd name="connsiteX916" fmla="*/ 2576848 w 4520397"/>
                    <a:gd name="connsiteY916" fmla="*/ 2742827 h 3016069"/>
                    <a:gd name="connsiteX917" fmla="*/ 2579903 w 4520397"/>
                    <a:gd name="connsiteY917" fmla="*/ 2744462 h 3016069"/>
                    <a:gd name="connsiteX918" fmla="*/ 2579371 w 4520397"/>
                    <a:gd name="connsiteY918" fmla="*/ 2745514 h 3016069"/>
                    <a:gd name="connsiteX919" fmla="*/ 2577900 w 4520397"/>
                    <a:gd name="connsiteY919" fmla="*/ 2745514 h 3016069"/>
                    <a:gd name="connsiteX920" fmla="*/ 2579586 w 4520397"/>
                    <a:gd name="connsiteY920" fmla="*/ 2747441 h 3016069"/>
                    <a:gd name="connsiteX921" fmla="*/ 2579903 w 4520397"/>
                    <a:gd name="connsiteY921" fmla="*/ 2748138 h 3016069"/>
                    <a:gd name="connsiteX922" fmla="*/ 2582007 w 4520397"/>
                    <a:gd name="connsiteY922" fmla="*/ 2744462 h 3016069"/>
                    <a:gd name="connsiteX923" fmla="*/ 2580930 w 4520397"/>
                    <a:gd name="connsiteY923" fmla="*/ 2748138 h 3016069"/>
                    <a:gd name="connsiteX924" fmla="*/ 2583960 w 4520397"/>
                    <a:gd name="connsiteY924" fmla="*/ 2746047 h 3016069"/>
                    <a:gd name="connsiteX925" fmla="*/ 2582464 w 4520397"/>
                    <a:gd name="connsiteY925" fmla="*/ 2749774 h 3016069"/>
                    <a:gd name="connsiteX926" fmla="*/ 2583440 w 4520397"/>
                    <a:gd name="connsiteY926" fmla="*/ 2749203 h 3016069"/>
                    <a:gd name="connsiteX927" fmla="*/ 2580448 w 4520397"/>
                    <a:gd name="connsiteY927" fmla="*/ 2750255 h 3016069"/>
                    <a:gd name="connsiteX928" fmla="*/ 2582007 w 4520397"/>
                    <a:gd name="connsiteY928" fmla="*/ 2751295 h 3016069"/>
                    <a:gd name="connsiteX929" fmla="*/ 2578141 w 4520397"/>
                    <a:gd name="connsiteY929" fmla="*/ 2755034 h 3016069"/>
                    <a:gd name="connsiteX930" fmla="*/ 2579903 w 4520397"/>
                    <a:gd name="connsiteY930" fmla="*/ 2752930 h 3016069"/>
                    <a:gd name="connsiteX931" fmla="*/ 2577419 w 4520397"/>
                    <a:gd name="connsiteY931" fmla="*/ 2756568 h 3016069"/>
                    <a:gd name="connsiteX932" fmla="*/ 2571435 w 4520397"/>
                    <a:gd name="connsiteY932" fmla="*/ 2754007 h 3016069"/>
                    <a:gd name="connsiteX933" fmla="*/ 2573349 w 4520397"/>
                    <a:gd name="connsiteY933" fmla="*/ 2755034 h 3016069"/>
                    <a:gd name="connsiteX934" fmla="*/ 2575390 w 4520397"/>
                    <a:gd name="connsiteY934" fmla="*/ 2751840 h 3016069"/>
                    <a:gd name="connsiteX935" fmla="*/ 2573349 w 4520397"/>
                    <a:gd name="connsiteY935" fmla="*/ 2751840 h 3016069"/>
                    <a:gd name="connsiteX936" fmla="*/ 2577406 w 4520397"/>
                    <a:gd name="connsiteY936" fmla="*/ 2748151 h 3016069"/>
                    <a:gd name="connsiteX937" fmla="*/ 2572868 w 4520397"/>
                    <a:gd name="connsiteY937" fmla="*/ 2748683 h 3016069"/>
                    <a:gd name="connsiteX938" fmla="*/ 2573920 w 4520397"/>
                    <a:gd name="connsiteY938" fmla="*/ 2746059 h 3016069"/>
                    <a:gd name="connsiteX939" fmla="*/ 2567823 w 4520397"/>
                    <a:gd name="connsiteY939" fmla="*/ 2743968 h 3016069"/>
                    <a:gd name="connsiteX940" fmla="*/ 2566795 w 4520397"/>
                    <a:gd name="connsiteY940" fmla="*/ 2751307 h 3016069"/>
                    <a:gd name="connsiteX941" fmla="*/ 2565794 w 4520397"/>
                    <a:gd name="connsiteY941" fmla="*/ 2754477 h 3016069"/>
                    <a:gd name="connsiteX942" fmla="*/ 2558176 w 4520397"/>
                    <a:gd name="connsiteY942" fmla="*/ 2761309 h 3016069"/>
                    <a:gd name="connsiteX943" fmla="*/ 2560204 w 4520397"/>
                    <a:gd name="connsiteY943" fmla="*/ 2750268 h 3016069"/>
                    <a:gd name="connsiteX944" fmla="*/ 2557808 w 4520397"/>
                    <a:gd name="connsiteY944" fmla="*/ 2750382 h 3016069"/>
                    <a:gd name="connsiteX945" fmla="*/ 2557162 w 4520397"/>
                    <a:gd name="connsiteY945" fmla="*/ 2750838 h 3016069"/>
                    <a:gd name="connsiteX946" fmla="*/ 2547464 w 4520397"/>
                    <a:gd name="connsiteY946" fmla="*/ 2756581 h 3016069"/>
                    <a:gd name="connsiteX947" fmla="*/ 2547844 w 4520397"/>
                    <a:gd name="connsiteY947" fmla="*/ 2758546 h 3016069"/>
                    <a:gd name="connsiteX948" fmla="*/ 2541937 w 4520397"/>
                    <a:gd name="connsiteY948" fmla="*/ 2757633 h 3016069"/>
                    <a:gd name="connsiteX949" fmla="*/ 2545499 w 4520397"/>
                    <a:gd name="connsiteY949" fmla="*/ 2759775 h 3016069"/>
                    <a:gd name="connsiteX950" fmla="*/ 2548503 w 4520397"/>
                    <a:gd name="connsiteY950" fmla="*/ 2761879 h 3016069"/>
                    <a:gd name="connsiteX951" fmla="*/ 2539883 w 4520397"/>
                    <a:gd name="connsiteY951" fmla="*/ 2766608 h 3016069"/>
                    <a:gd name="connsiteX952" fmla="*/ 2529767 w 4520397"/>
                    <a:gd name="connsiteY952" fmla="*/ 2750433 h 3016069"/>
                    <a:gd name="connsiteX953" fmla="*/ 2507292 w 4520397"/>
                    <a:gd name="connsiteY953" fmla="*/ 2754020 h 3016069"/>
                    <a:gd name="connsiteX954" fmla="*/ 2501638 w 4520397"/>
                    <a:gd name="connsiteY954" fmla="*/ 2750052 h 3016069"/>
                    <a:gd name="connsiteX955" fmla="*/ 2496973 w 4520397"/>
                    <a:gd name="connsiteY955" fmla="*/ 2752195 h 3016069"/>
                    <a:gd name="connsiteX956" fmla="*/ 2492017 w 4520397"/>
                    <a:gd name="connsiteY956" fmla="*/ 2749622 h 3016069"/>
                    <a:gd name="connsiteX957" fmla="*/ 2487745 w 4520397"/>
                    <a:gd name="connsiteY957" fmla="*/ 2744665 h 3016069"/>
                    <a:gd name="connsiteX958" fmla="*/ 2482890 w 4520397"/>
                    <a:gd name="connsiteY958" fmla="*/ 2745185 h 3016069"/>
                    <a:gd name="connsiteX959" fmla="*/ 2469605 w 4520397"/>
                    <a:gd name="connsiteY959" fmla="*/ 2737655 h 3016069"/>
                    <a:gd name="connsiteX960" fmla="*/ 2470188 w 4520397"/>
                    <a:gd name="connsiteY960" fmla="*/ 2731114 h 3016069"/>
                    <a:gd name="connsiteX961" fmla="*/ 2461948 w 4520397"/>
                    <a:gd name="connsiteY961" fmla="*/ 2728819 h 3016069"/>
                    <a:gd name="connsiteX962" fmla="*/ 2447510 w 4520397"/>
                    <a:gd name="connsiteY962" fmla="*/ 2722963 h 3016069"/>
                    <a:gd name="connsiteX963" fmla="*/ 2443339 w 4520397"/>
                    <a:gd name="connsiteY963" fmla="*/ 2721366 h 3016069"/>
                    <a:gd name="connsiteX964" fmla="*/ 2443390 w 4520397"/>
                    <a:gd name="connsiteY964" fmla="*/ 2713582 h 3016069"/>
                    <a:gd name="connsiteX965" fmla="*/ 2443542 w 4520397"/>
                    <a:gd name="connsiteY965" fmla="*/ 2706395 h 3016069"/>
                    <a:gd name="connsiteX966" fmla="*/ 2436582 w 4520397"/>
                    <a:gd name="connsiteY966" fmla="*/ 2697483 h 3016069"/>
                    <a:gd name="connsiteX967" fmla="*/ 2439612 w 4520397"/>
                    <a:gd name="connsiteY967" fmla="*/ 2675755 h 3016069"/>
                    <a:gd name="connsiteX968" fmla="*/ 2444100 w 4520397"/>
                    <a:gd name="connsiteY968" fmla="*/ 2678848 h 3016069"/>
                    <a:gd name="connsiteX969" fmla="*/ 2447586 w 4520397"/>
                    <a:gd name="connsiteY969" fmla="*/ 2671737 h 3016069"/>
                    <a:gd name="connsiteX970" fmla="*/ 2453759 w 4520397"/>
                    <a:gd name="connsiteY970" fmla="*/ 2662229 h 3016069"/>
                    <a:gd name="connsiteX971" fmla="*/ 2447560 w 4520397"/>
                    <a:gd name="connsiteY971" fmla="*/ 2658984 h 3016069"/>
                    <a:gd name="connsiteX972" fmla="*/ 2439815 w 4520397"/>
                    <a:gd name="connsiteY972" fmla="*/ 2656931 h 3016069"/>
                    <a:gd name="connsiteX973" fmla="*/ 2430041 w 4520397"/>
                    <a:gd name="connsiteY973" fmla="*/ 2651746 h 3016069"/>
                    <a:gd name="connsiteX974" fmla="*/ 2414373 w 4520397"/>
                    <a:gd name="connsiteY974" fmla="*/ 2656931 h 3016069"/>
                    <a:gd name="connsiteX975" fmla="*/ 2408441 w 4520397"/>
                    <a:gd name="connsiteY975" fmla="*/ 2648906 h 3016069"/>
                    <a:gd name="connsiteX976" fmla="*/ 2392798 w 4520397"/>
                    <a:gd name="connsiteY976" fmla="*/ 2650187 h 3016069"/>
                    <a:gd name="connsiteX977" fmla="*/ 2377421 w 4520397"/>
                    <a:gd name="connsiteY977" fmla="*/ 2645889 h 3016069"/>
                    <a:gd name="connsiteX978" fmla="*/ 2370918 w 4520397"/>
                    <a:gd name="connsiteY978" fmla="*/ 2642137 h 3016069"/>
                    <a:gd name="connsiteX979" fmla="*/ 2362628 w 4520397"/>
                    <a:gd name="connsiteY979" fmla="*/ 2641351 h 3016069"/>
                    <a:gd name="connsiteX980" fmla="*/ 2360333 w 4520397"/>
                    <a:gd name="connsiteY980" fmla="*/ 2636395 h 3016069"/>
                    <a:gd name="connsiteX981" fmla="*/ 2347378 w 4520397"/>
                    <a:gd name="connsiteY981" fmla="*/ 2622945 h 3016069"/>
                    <a:gd name="connsiteX982" fmla="*/ 2340215 w 4520397"/>
                    <a:gd name="connsiteY982" fmla="*/ 2618812 h 3016069"/>
                    <a:gd name="connsiteX983" fmla="*/ 2333839 w 4520397"/>
                    <a:gd name="connsiteY983" fmla="*/ 2625544 h 3016069"/>
                    <a:gd name="connsiteX984" fmla="*/ 2315991 w 4520397"/>
                    <a:gd name="connsiteY984" fmla="*/ 2633581 h 3016069"/>
                    <a:gd name="connsiteX985" fmla="*/ 2307763 w 4520397"/>
                    <a:gd name="connsiteY985" fmla="*/ 2637954 h 3016069"/>
                    <a:gd name="connsiteX986" fmla="*/ 2305913 w 4520397"/>
                    <a:gd name="connsiteY986" fmla="*/ 2652519 h 3016069"/>
                    <a:gd name="connsiteX987" fmla="*/ 2287785 w 4520397"/>
                    <a:gd name="connsiteY987" fmla="*/ 2658224 h 3016069"/>
                    <a:gd name="connsiteX988" fmla="*/ 2270900 w 4520397"/>
                    <a:gd name="connsiteY988" fmla="*/ 2669341 h 3016069"/>
                    <a:gd name="connsiteX989" fmla="*/ 2264714 w 4520397"/>
                    <a:gd name="connsiteY989" fmla="*/ 2659136 h 3016069"/>
                    <a:gd name="connsiteX990" fmla="*/ 2247664 w 4520397"/>
                    <a:gd name="connsiteY990" fmla="*/ 2671775 h 3016069"/>
                    <a:gd name="connsiteX991" fmla="*/ 2238854 w 4520397"/>
                    <a:gd name="connsiteY991" fmla="*/ 2678772 h 3016069"/>
                    <a:gd name="connsiteX992" fmla="*/ 2220714 w 4520397"/>
                    <a:gd name="connsiteY992" fmla="*/ 2661101 h 3016069"/>
                    <a:gd name="connsiteX993" fmla="*/ 2207974 w 4520397"/>
                    <a:gd name="connsiteY993" fmla="*/ 2677137 h 3016069"/>
                    <a:gd name="connsiteX994" fmla="*/ 2193548 w 4520397"/>
                    <a:gd name="connsiteY994" fmla="*/ 2665779 h 3016069"/>
                    <a:gd name="connsiteX995" fmla="*/ 2179705 w 4520397"/>
                    <a:gd name="connsiteY995" fmla="*/ 2683792 h 3016069"/>
                    <a:gd name="connsiteX996" fmla="*/ 2162541 w 4520397"/>
                    <a:gd name="connsiteY996" fmla="*/ 2680306 h 3016069"/>
                    <a:gd name="connsiteX997" fmla="*/ 2142703 w 4520397"/>
                    <a:gd name="connsiteY997" fmla="*/ 2667807 h 3016069"/>
                    <a:gd name="connsiteX998" fmla="*/ 2137898 w 4520397"/>
                    <a:gd name="connsiteY998" fmla="*/ 2666806 h 3016069"/>
                    <a:gd name="connsiteX999" fmla="*/ 2131065 w 4520397"/>
                    <a:gd name="connsiteY999" fmla="*/ 2664473 h 3016069"/>
                    <a:gd name="connsiteX1000" fmla="*/ 2126350 w 4520397"/>
                    <a:gd name="connsiteY1000" fmla="*/ 2675781 h 3016069"/>
                    <a:gd name="connsiteX1001" fmla="*/ 2109236 w 4520397"/>
                    <a:gd name="connsiteY1001" fmla="*/ 2690676 h 3016069"/>
                    <a:gd name="connsiteX1002" fmla="*/ 2090982 w 4520397"/>
                    <a:gd name="connsiteY1002" fmla="*/ 2689661 h 3016069"/>
                    <a:gd name="connsiteX1003" fmla="*/ 2085962 w 4520397"/>
                    <a:gd name="connsiteY1003" fmla="*/ 2691981 h 3016069"/>
                    <a:gd name="connsiteX1004" fmla="*/ 2077342 w 4520397"/>
                    <a:gd name="connsiteY1004" fmla="*/ 2685123 h 3016069"/>
                    <a:gd name="connsiteX1005" fmla="*/ 2070890 w 4520397"/>
                    <a:gd name="connsiteY1005" fmla="*/ 2697711 h 3016069"/>
                    <a:gd name="connsiteX1006" fmla="*/ 2066960 w 4520397"/>
                    <a:gd name="connsiteY1006" fmla="*/ 2711326 h 3016069"/>
                    <a:gd name="connsiteX1007" fmla="*/ 2075149 w 4520397"/>
                    <a:gd name="connsiteY1007" fmla="*/ 2728439 h 3016069"/>
                    <a:gd name="connsiteX1008" fmla="*/ 2080828 w 4520397"/>
                    <a:gd name="connsiteY1008" fmla="*/ 2746769 h 3016069"/>
                    <a:gd name="connsiteX1009" fmla="*/ 2079548 w 4520397"/>
                    <a:gd name="connsiteY1009" fmla="*/ 2762450 h 3016069"/>
                    <a:gd name="connsiteX1010" fmla="*/ 2081386 w 4520397"/>
                    <a:gd name="connsiteY1010" fmla="*/ 2778055 h 3016069"/>
                    <a:gd name="connsiteX1011" fmla="*/ 2084606 w 4520397"/>
                    <a:gd name="connsiteY1011" fmla="*/ 2784076 h 3016069"/>
                    <a:gd name="connsiteX1012" fmla="*/ 2080309 w 4520397"/>
                    <a:gd name="connsiteY1012" fmla="*/ 2789045 h 3016069"/>
                    <a:gd name="connsiteX1013" fmla="*/ 2068076 w 4520397"/>
                    <a:gd name="connsiteY1013" fmla="*/ 2786320 h 3016069"/>
                    <a:gd name="connsiteX1014" fmla="*/ 2050937 w 4520397"/>
                    <a:gd name="connsiteY1014" fmla="*/ 2783810 h 3016069"/>
                    <a:gd name="connsiteX1015" fmla="*/ 2040378 w 4520397"/>
                    <a:gd name="connsiteY1015" fmla="*/ 2775608 h 3016069"/>
                    <a:gd name="connsiteX1016" fmla="*/ 2040732 w 4520397"/>
                    <a:gd name="connsiteY1016" fmla="*/ 2770563 h 3016069"/>
                    <a:gd name="connsiteX1017" fmla="*/ 2037677 w 4520397"/>
                    <a:gd name="connsiteY1017" fmla="*/ 2768395 h 3016069"/>
                    <a:gd name="connsiteX1018" fmla="*/ 2038932 w 4520397"/>
                    <a:gd name="connsiteY1018" fmla="*/ 2760371 h 3016069"/>
                    <a:gd name="connsiteX1019" fmla="*/ 2034318 w 4520397"/>
                    <a:gd name="connsiteY1019" fmla="*/ 2742561 h 3016069"/>
                    <a:gd name="connsiteX1020" fmla="*/ 1987060 w 4520397"/>
                    <a:gd name="connsiteY1020" fmla="*/ 2764516 h 3016069"/>
                    <a:gd name="connsiteX1021" fmla="*/ 1973496 w 4520397"/>
                    <a:gd name="connsiteY1021" fmla="*/ 2761740 h 3016069"/>
                    <a:gd name="connsiteX1022" fmla="*/ 1957714 w 4520397"/>
                    <a:gd name="connsiteY1022" fmla="*/ 2758736 h 3016069"/>
                    <a:gd name="connsiteX1023" fmla="*/ 1961758 w 4520397"/>
                    <a:gd name="connsiteY1023" fmla="*/ 2750610 h 3016069"/>
                    <a:gd name="connsiteX1024" fmla="*/ 1949575 w 4520397"/>
                    <a:gd name="connsiteY1024" fmla="*/ 2746351 h 3016069"/>
                    <a:gd name="connsiteX1025" fmla="*/ 1946888 w 4520397"/>
                    <a:gd name="connsiteY1025" fmla="*/ 2719350 h 3016069"/>
                    <a:gd name="connsiteX1026" fmla="*/ 1939155 w 4520397"/>
                    <a:gd name="connsiteY1026" fmla="*/ 2721074 h 3016069"/>
                    <a:gd name="connsiteX1027" fmla="*/ 1934136 w 4520397"/>
                    <a:gd name="connsiteY1027" fmla="*/ 2718843 h 3016069"/>
                    <a:gd name="connsiteX1028" fmla="*/ 1924692 w 4520397"/>
                    <a:gd name="connsiteY1028" fmla="*/ 2716713 h 3016069"/>
                    <a:gd name="connsiteX1029" fmla="*/ 1906412 w 4520397"/>
                    <a:gd name="connsiteY1029" fmla="*/ 2714330 h 3016069"/>
                    <a:gd name="connsiteX1030" fmla="*/ 1887904 w 4520397"/>
                    <a:gd name="connsiteY1030" fmla="*/ 2711021 h 3016069"/>
                    <a:gd name="connsiteX1031" fmla="*/ 1895460 w 4520397"/>
                    <a:gd name="connsiteY1031" fmla="*/ 2694605 h 3016069"/>
                    <a:gd name="connsiteX1032" fmla="*/ 1903281 w 4520397"/>
                    <a:gd name="connsiteY1032" fmla="*/ 2678823 h 3016069"/>
                    <a:gd name="connsiteX1033" fmla="*/ 1899985 w 4520397"/>
                    <a:gd name="connsiteY1033" fmla="*/ 2666273 h 3016069"/>
                    <a:gd name="connsiteX1034" fmla="*/ 1905233 w 4520397"/>
                    <a:gd name="connsiteY1034" fmla="*/ 2660011 h 3016069"/>
                    <a:gd name="connsiteX1035" fmla="*/ 1909024 w 4520397"/>
                    <a:gd name="connsiteY1035" fmla="*/ 2650453 h 3016069"/>
                    <a:gd name="connsiteX1036" fmla="*/ 1916807 w 4520397"/>
                    <a:gd name="connsiteY1036" fmla="*/ 2649921 h 3016069"/>
                    <a:gd name="connsiteX1037" fmla="*/ 1900454 w 4520397"/>
                    <a:gd name="connsiteY1037" fmla="*/ 2635736 h 3016069"/>
                    <a:gd name="connsiteX1038" fmla="*/ 1893888 w 4520397"/>
                    <a:gd name="connsiteY1038" fmla="*/ 2641110 h 3016069"/>
                    <a:gd name="connsiteX1039" fmla="*/ 1890782 w 4520397"/>
                    <a:gd name="connsiteY1039" fmla="*/ 2638144 h 3016069"/>
                    <a:gd name="connsiteX1040" fmla="*/ 1877915 w 4520397"/>
                    <a:gd name="connsiteY1040" fmla="*/ 2632972 h 3016069"/>
                    <a:gd name="connsiteX1041" fmla="*/ 1866912 w 4520397"/>
                    <a:gd name="connsiteY1041" fmla="*/ 2629093 h 3016069"/>
                    <a:gd name="connsiteX1042" fmla="*/ 1866392 w 4520397"/>
                    <a:gd name="connsiteY1042" fmla="*/ 2620372 h 3016069"/>
                    <a:gd name="connsiteX1043" fmla="*/ 1863147 w 4520397"/>
                    <a:gd name="connsiteY1043" fmla="*/ 2608785 h 3016069"/>
                    <a:gd name="connsiteX1044" fmla="*/ 1861930 w 4520397"/>
                    <a:gd name="connsiteY1044" fmla="*/ 2586690 h 3016069"/>
                    <a:gd name="connsiteX1045" fmla="*/ 1852892 w 4520397"/>
                    <a:gd name="connsiteY1045" fmla="*/ 2573963 h 3016069"/>
                    <a:gd name="connsiteX1046" fmla="*/ 1867292 w 4520397"/>
                    <a:gd name="connsiteY1046" fmla="*/ 2556545 h 3016069"/>
                    <a:gd name="connsiteX1047" fmla="*/ 1822215 w 4520397"/>
                    <a:gd name="connsiteY1047" fmla="*/ 2559410 h 3016069"/>
                    <a:gd name="connsiteX1048" fmla="*/ 1775552 w 4520397"/>
                    <a:gd name="connsiteY1048" fmla="*/ 2579807 h 3016069"/>
                    <a:gd name="connsiteX1049" fmla="*/ 1776085 w 4520397"/>
                    <a:gd name="connsiteY1049" fmla="*/ 2563720 h 3016069"/>
                    <a:gd name="connsiteX1050" fmla="*/ 1782195 w 4520397"/>
                    <a:gd name="connsiteY1050" fmla="*/ 2549865 h 3016069"/>
                    <a:gd name="connsiteX1051" fmla="*/ 1776642 w 4520397"/>
                    <a:gd name="connsiteY1051" fmla="*/ 2542817 h 3016069"/>
                    <a:gd name="connsiteX1052" fmla="*/ 1779368 w 4520397"/>
                    <a:gd name="connsiteY1052" fmla="*/ 2538202 h 3016069"/>
                    <a:gd name="connsiteX1053" fmla="*/ 1767338 w 4520397"/>
                    <a:gd name="connsiteY1053" fmla="*/ 2532346 h 3016069"/>
                    <a:gd name="connsiteX1054" fmla="*/ 1775425 w 4520397"/>
                    <a:gd name="connsiteY1054" fmla="*/ 2505332 h 3016069"/>
                    <a:gd name="connsiteX1055" fmla="*/ 1784248 w 4520397"/>
                    <a:gd name="connsiteY1055" fmla="*/ 2498930 h 3016069"/>
                    <a:gd name="connsiteX1056" fmla="*/ 1781472 w 4520397"/>
                    <a:gd name="connsiteY1056" fmla="*/ 2488903 h 3016069"/>
                    <a:gd name="connsiteX1057" fmla="*/ 1785085 w 4520397"/>
                    <a:gd name="connsiteY1057" fmla="*/ 2480930 h 3016069"/>
                    <a:gd name="connsiteX1058" fmla="*/ 1789839 w 4520397"/>
                    <a:gd name="connsiteY1058" fmla="*/ 2469800 h 3016069"/>
                    <a:gd name="connsiteX1059" fmla="*/ 1796240 w 4520397"/>
                    <a:gd name="connsiteY1059" fmla="*/ 2473615 h 3016069"/>
                    <a:gd name="connsiteX1060" fmla="*/ 1813658 w 4520397"/>
                    <a:gd name="connsiteY1060" fmla="*/ 2441899 h 3016069"/>
                    <a:gd name="connsiteX1061" fmla="*/ 1832432 w 4520397"/>
                    <a:gd name="connsiteY1061" fmla="*/ 2437246 h 3016069"/>
                    <a:gd name="connsiteX1062" fmla="*/ 1836755 w 4520397"/>
                    <a:gd name="connsiteY1062" fmla="*/ 2428817 h 3016069"/>
                    <a:gd name="connsiteX1063" fmla="*/ 1844855 w 4520397"/>
                    <a:gd name="connsiteY1063" fmla="*/ 2425812 h 3016069"/>
                    <a:gd name="connsiteX1064" fmla="*/ 1850128 w 4520397"/>
                    <a:gd name="connsiteY1064" fmla="*/ 2414632 h 3016069"/>
                    <a:gd name="connsiteX1065" fmla="*/ 1849520 w 4520397"/>
                    <a:gd name="connsiteY1065" fmla="*/ 2400016 h 3016069"/>
                    <a:gd name="connsiteX1066" fmla="*/ 1849900 w 4520397"/>
                    <a:gd name="connsiteY1066" fmla="*/ 2403755 h 3016069"/>
                    <a:gd name="connsiteX1067" fmla="*/ 1850978 w 4520397"/>
                    <a:gd name="connsiteY1067" fmla="*/ 2391738 h 3016069"/>
                    <a:gd name="connsiteX1068" fmla="*/ 1856606 w 4520397"/>
                    <a:gd name="connsiteY1068" fmla="*/ 2368996 h 3016069"/>
                    <a:gd name="connsiteX1069" fmla="*/ 1857443 w 4520397"/>
                    <a:gd name="connsiteY1069" fmla="*/ 2341298 h 3016069"/>
                    <a:gd name="connsiteX1070" fmla="*/ 1854603 w 4520397"/>
                    <a:gd name="connsiteY1070" fmla="*/ 2303040 h 3016069"/>
                    <a:gd name="connsiteX1071" fmla="*/ 1840202 w 4520397"/>
                    <a:gd name="connsiteY1071" fmla="*/ 2281274 h 3016069"/>
                    <a:gd name="connsiteX1072" fmla="*/ 1830847 w 4520397"/>
                    <a:gd name="connsiteY1072" fmla="*/ 2289426 h 3016069"/>
                    <a:gd name="connsiteX1073" fmla="*/ 1818234 w 4520397"/>
                    <a:gd name="connsiteY1073" fmla="*/ 2274455 h 3016069"/>
                    <a:gd name="connsiteX1074" fmla="*/ 1812175 w 4520397"/>
                    <a:gd name="connsiteY1074" fmla="*/ 2252816 h 3016069"/>
                    <a:gd name="connsiteX1075" fmla="*/ 1811693 w 4520397"/>
                    <a:gd name="connsiteY1075" fmla="*/ 2241711 h 3016069"/>
                    <a:gd name="connsiteX1076" fmla="*/ 1802236 w 4520397"/>
                    <a:gd name="connsiteY1076" fmla="*/ 2234840 h 3016069"/>
                    <a:gd name="connsiteX1077" fmla="*/ 1796557 w 4520397"/>
                    <a:gd name="connsiteY1077" fmla="*/ 2226030 h 3016069"/>
                    <a:gd name="connsiteX1078" fmla="*/ 1784996 w 4520397"/>
                    <a:gd name="connsiteY1078" fmla="*/ 2223875 h 3016069"/>
                    <a:gd name="connsiteX1079" fmla="*/ 1777834 w 4520397"/>
                    <a:gd name="connsiteY1079" fmla="*/ 2213011 h 3016069"/>
                    <a:gd name="connsiteX1080" fmla="*/ 1770951 w 4520397"/>
                    <a:gd name="connsiteY1080" fmla="*/ 2211021 h 3016069"/>
                    <a:gd name="connsiteX1081" fmla="*/ 1762660 w 4520397"/>
                    <a:gd name="connsiteY1081" fmla="*/ 2222012 h 3016069"/>
                    <a:gd name="connsiteX1082" fmla="*/ 1755346 w 4520397"/>
                    <a:gd name="connsiteY1082" fmla="*/ 2233776 h 3016069"/>
                    <a:gd name="connsiteX1083" fmla="*/ 1737878 w 4520397"/>
                    <a:gd name="connsiteY1083" fmla="*/ 2224002 h 3016069"/>
                    <a:gd name="connsiteX1084" fmla="*/ 1726811 w 4520397"/>
                    <a:gd name="connsiteY1084" fmla="*/ 2226854 h 3016069"/>
                    <a:gd name="connsiteX1085" fmla="*/ 1716201 w 4520397"/>
                    <a:gd name="connsiteY1085" fmla="*/ 2214330 h 3016069"/>
                    <a:gd name="connsiteX1086" fmla="*/ 1692052 w 4520397"/>
                    <a:gd name="connsiteY1086" fmla="*/ 2219629 h 3016069"/>
                    <a:gd name="connsiteX1087" fmla="*/ 1687590 w 4520397"/>
                    <a:gd name="connsiteY1087" fmla="*/ 2204505 h 3016069"/>
                    <a:gd name="connsiteX1088" fmla="*/ 1692825 w 4520397"/>
                    <a:gd name="connsiteY1088" fmla="*/ 2180826 h 3016069"/>
                    <a:gd name="connsiteX1089" fmla="*/ 1681391 w 4520397"/>
                    <a:gd name="connsiteY1089" fmla="*/ 2165627 h 3016069"/>
                    <a:gd name="connsiteX1090" fmla="*/ 1669893 w 4520397"/>
                    <a:gd name="connsiteY1090" fmla="*/ 2171268 h 3016069"/>
                    <a:gd name="connsiteX1091" fmla="*/ 1679819 w 4520397"/>
                    <a:gd name="connsiteY1091" fmla="*/ 2151213 h 3016069"/>
                    <a:gd name="connsiteX1092" fmla="*/ 1670046 w 4520397"/>
                    <a:gd name="connsiteY1092" fmla="*/ 2152265 h 3016069"/>
                    <a:gd name="connsiteX1093" fmla="*/ 1656482 w 4520397"/>
                    <a:gd name="connsiteY1093" fmla="*/ 2144279 h 3016069"/>
                    <a:gd name="connsiteX1094" fmla="*/ 1638887 w 4520397"/>
                    <a:gd name="connsiteY1094" fmla="*/ 2145762 h 3016069"/>
                    <a:gd name="connsiteX1095" fmla="*/ 1636199 w 4520397"/>
                    <a:gd name="connsiteY1095" fmla="*/ 2152633 h 3016069"/>
                    <a:gd name="connsiteX1096" fmla="*/ 1627275 w 4520397"/>
                    <a:gd name="connsiteY1096" fmla="*/ 2154306 h 3016069"/>
                    <a:gd name="connsiteX1097" fmla="*/ 1620240 w 4520397"/>
                    <a:gd name="connsiteY1097" fmla="*/ 2156601 h 3016069"/>
                    <a:gd name="connsiteX1098" fmla="*/ 1615942 w 4520397"/>
                    <a:gd name="connsiteY1098" fmla="*/ 2163611 h 3016069"/>
                    <a:gd name="connsiteX1099" fmla="*/ 1614396 w 4520397"/>
                    <a:gd name="connsiteY1099" fmla="*/ 2158502 h 3016069"/>
                    <a:gd name="connsiteX1100" fmla="*/ 1602315 w 4520397"/>
                    <a:gd name="connsiteY1100" fmla="*/ 2169201 h 3016069"/>
                    <a:gd name="connsiteX1101" fmla="*/ 1578141 w 4520397"/>
                    <a:gd name="connsiteY1101" fmla="*/ 2159884 h 3016069"/>
                    <a:gd name="connsiteX1102" fmla="*/ 1580638 w 4520397"/>
                    <a:gd name="connsiteY1102" fmla="*/ 2163472 h 3016069"/>
                    <a:gd name="connsiteX1103" fmla="*/ 1564057 w 4520397"/>
                    <a:gd name="connsiteY1103" fmla="*/ 2157868 h 3016069"/>
                    <a:gd name="connsiteX1104" fmla="*/ 1550633 w 4520397"/>
                    <a:gd name="connsiteY1104" fmla="*/ 2149173 h 3016069"/>
                    <a:gd name="connsiteX1105" fmla="*/ 1543521 w 4520397"/>
                    <a:gd name="connsiteY1105" fmla="*/ 2156360 h 3016069"/>
                    <a:gd name="connsiteX1106" fmla="*/ 1535129 w 4520397"/>
                    <a:gd name="connsiteY1106" fmla="*/ 2157704 h 3016069"/>
                    <a:gd name="connsiteX1107" fmla="*/ 1533215 w 4520397"/>
                    <a:gd name="connsiteY1107" fmla="*/ 2171470 h 3016069"/>
                    <a:gd name="connsiteX1108" fmla="*/ 1500472 w 4520397"/>
                    <a:gd name="connsiteY1108" fmla="*/ 2189674 h 3016069"/>
                    <a:gd name="connsiteX1109" fmla="*/ 1484055 w 4520397"/>
                    <a:gd name="connsiteY1109" fmla="*/ 2197331 h 3016069"/>
                    <a:gd name="connsiteX1110" fmla="*/ 1460769 w 4520397"/>
                    <a:gd name="connsiteY1110" fmla="*/ 2202972 h 3016069"/>
                    <a:gd name="connsiteX1111" fmla="*/ 1429280 w 4520397"/>
                    <a:gd name="connsiteY1111" fmla="*/ 2232140 h 3016069"/>
                    <a:gd name="connsiteX1112" fmla="*/ 1408706 w 4520397"/>
                    <a:gd name="connsiteY1112" fmla="*/ 2249127 h 3016069"/>
                    <a:gd name="connsiteX1113" fmla="*/ 1410659 w 4520397"/>
                    <a:gd name="connsiteY1113" fmla="*/ 2254679 h 3016069"/>
                    <a:gd name="connsiteX1114" fmla="*/ 1404079 w 4520397"/>
                    <a:gd name="connsiteY1114" fmla="*/ 2260764 h 3016069"/>
                    <a:gd name="connsiteX1115" fmla="*/ 1388728 w 4520397"/>
                    <a:gd name="connsiteY1115" fmla="*/ 2264643 h 3016069"/>
                    <a:gd name="connsiteX1116" fmla="*/ 1386915 w 4520397"/>
                    <a:gd name="connsiteY1116" fmla="*/ 2268788 h 3016069"/>
                    <a:gd name="connsiteX1117" fmla="*/ 1384012 w 4520397"/>
                    <a:gd name="connsiteY1117" fmla="*/ 2266494 h 3016069"/>
                    <a:gd name="connsiteX1118" fmla="*/ 1382162 w 4520397"/>
                    <a:gd name="connsiteY1118" fmla="*/ 2270208 h 3016069"/>
                    <a:gd name="connsiteX1119" fmla="*/ 1377395 w 4520397"/>
                    <a:gd name="connsiteY1119" fmla="*/ 2263908 h 3016069"/>
                    <a:gd name="connsiteX1120" fmla="*/ 1373592 w 4520397"/>
                    <a:gd name="connsiteY1120" fmla="*/ 2268471 h 3016069"/>
                    <a:gd name="connsiteX1121" fmla="*/ 1359204 w 4520397"/>
                    <a:gd name="connsiteY1121" fmla="*/ 2274340 h 3016069"/>
                    <a:gd name="connsiteX1122" fmla="*/ 1332432 w 4520397"/>
                    <a:gd name="connsiteY1122" fmla="*/ 2270930 h 3016069"/>
                    <a:gd name="connsiteX1123" fmla="*/ 1328971 w 4520397"/>
                    <a:gd name="connsiteY1123" fmla="*/ 2256112 h 3016069"/>
                    <a:gd name="connsiteX1124" fmla="*/ 1307243 w 4520397"/>
                    <a:gd name="connsiteY1124" fmla="*/ 2245920 h 3016069"/>
                    <a:gd name="connsiteX1125" fmla="*/ 1282867 w 4520397"/>
                    <a:gd name="connsiteY1125" fmla="*/ 2253614 h 3016069"/>
                    <a:gd name="connsiteX1126" fmla="*/ 1262381 w 4520397"/>
                    <a:gd name="connsiteY1126" fmla="*/ 2246275 h 3016069"/>
                    <a:gd name="connsiteX1127" fmla="*/ 1246979 w 4520397"/>
                    <a:gd name="connsiteY1127" fmla="*/ 2247454 h 3016069"/>
                    <a:gd name="connsiteX1128" fmla="*/ 1252329 w 4520397"/>
                    <a:gd name="connsiteY1128" fmla="*/ 2233585 h 3016069"/>
                    <a:gd name="connsiteX1129" fmla="*/ 1242619 w 4520397"/>
                    <a:gd name="connsiteY1129" fmla="*/ 2230695 h 3016069"/>
                    <a:gd name="connsiteX1130" fmla="*/ 1234746 w 4520397"/>
                    <a:gd name="connsiteY1130" fmla="*/ 2232622 h 3016069"/>
                    <a:gd name="connsiteX1131" fmla="*/ 1229143 w 4520397"/>
                    <a:gd name="connsiteY1131" fmla="*/ 2225118 h 3016069"/>
                    <a:gd name="connsiteX1132" fmla="*/ 1223135 w 4520397"/>
                    <a:gd name="connsiteY1132" fmla="*/ 2227539 h 3016069"/>
                    <a:gd name="connsiteX1133" fmla="*/ 1203702 w 4520397"/>
                    <a:gd name="connsiteY1133" fmla="*/ 2229136 h 3016069"/>
                    <a:gd name="connsiteX1134" fmla="*/ 1192381 w 4520397"/>
                    <a:gd name="connsiteY1134" fmla="*/ 2239138 h 3016069"/>
                    <a:gd name="connsiteX1135" fmla="*/ 1172441 w 4520397"/>
                    <a:gd name="connsiteY1135" fmla="*/ 2248873 h 3016069"/>
                    <a:gd name="connsiteX1136" fmla="*/ 1147126 w 4520397"/>
                    <a:gd name="connsiteY1136" fmla="*/ 2283759 h 3016069"/>
                    <a:gd name="connsiteX1137" fmla="*/ 1134551 w 4520397"/>
                    <a:gd name="connsiteY1137" fmla="*/ 2299009 h 3016069"/>
                    <a:gd name="connsiteX1138" fmla="*/ 1130368 w 4520397"/>
                    <a:gd name="connsiteY1138" fmla="*/ 2307198 h 3016069"/>
                    <a:gd name="connsiteX1139" fmla="*/ 1120049 w 4520397"/>
                    <a:gd name="connsiteY1139" fmla="*/ 2297450 h 3016069"/>
                    <a:gd name="connsiteX1140" fmla="*/ 1123852 w 4520397"/>
                    <a:gd name="connsiteY1140" fmla="*/ 2257569 h 3016069"/>
                    <a:gd name="connsiteX1141" fmla="*/ 1116487 w 4520397"/>
                    <a:gd name="connsiteY1141" fmla="*/ 2248227 h 3016069"/>
                    <a:gd name="connsiteX1142" fmla="*/ 1102226 w 4520397"/>
                    <a:gd name="connsiteY1142" fmla="*/ 2250014 h 3016069"/>
                    <a:gd name="connsiteX1143" fmla="*/ 1072740 w 4520397"/>
                    <a:gd name="connsiteY1143" fmla="*/ 2264237 h 3016069"/>
                    <a:gd name="connsiteX1144" fmla="*/ 1059975 w 4520397"/>
                    <a:gd name="connsiteY1144" fmla="*/ 2261740 h 3016069"/>
                    <a:gd name="connsiteX1145" fmla="*/ 1046437 w 4520397"/>
                    <a:gd name="connsiteY1145" fmla="*/ 2267064 h 3016069"/>
                    <a:gd name="connsiteX1146" fmla="*/ 1017357 w 4520397"/>
                    <a:gd name="connsiteY1146" fmla="*/ 2268750 h 3016069"/>
                    <a:gd name="connsiteX1147" fmla="*/ 1018561 w 4520397"/>
                    <a:gd name="connsiteY1147" fmla="*/ 2265150 h 3016069"/>
                    <a:gd name="connsiteX1148" fmla="*/ 980303 w 4520397"/>
                    <a:gd name="connsiteY1148" fmla="*/ 2253602 h 3016069"/>
                    <a:gd name="connsiteX1149" fmla="*/ 963317 w 4520397"/>
                    <a:gd name="connsiteY1149" fmla="*/ 2245793 h 3016069"/>
                    <a:gd name="connsiteX1150" fmla="*/ 953898 w 4520397"/>
                    <a:gd name="connsiteY1150" fmla="*/ 2256936 h 3016069"/>
                    <a:gd name="connsiteX1151" fmla="*/ 938826 w 4520397"/>
                    <a:gd name="connsiteY1151" fmla="*/ 2256416 h 3016069"/>
                    <a:gd name="connsiteX1152" fmla="*/ 931169 w 4520397"/>
                    <a:gd name="connsiteY1152" fmla="*/ 2252981 h 3016069"/>
                    <a:gd name="connsiteX1153" fmla="*/ 929965 w 4520397"/>
                    <a:gd name="connsiteY1153" fmla="*/ 2244500 h 3016069"/>
                    <a:gd name="connsiteX1154" fmla="*/ 914689 w 4520397"/>
                    <a:gd name="connsiteY1154" fmla="*/ 2262285 h 3016069"/>
                    <a:gd name="connsiteX1155" fmla="*/ 906665 w 4520397"/>
                    <a:gd name="connsiteY1155" fmla="*/ 2244335 h 3016069"/>
                    <a:gd name="connsiteX1156" fmla="*/ 893444 w 4520397"/>
                    <a:gd name="connsiteY1156" fmla="*/ 2226461 h 3016069"/>
                    <a:gd name="connsiteX1157" fmla="*/ 873516 w 4520397"/>
                    <a:gd name="connsiteY1157" fmla="*/ 2229529 h 3016069"/>
                    <a:gd name="connsiteX1158" fmla="*/ 848404 w 4520397"/>
                    <a:gd name="connsiteY1158" fmla="*/ 2228375 h 3016069"/>
                    <a:gd name="connsiteX1159" fmla="*/ 847745 w 4520397"/>
                    <a:gd name="connsiteY1159" fmla="*/ 2202845 h 3016069"/>
                    <a:gd name="connsiteX1160" fmla="*/ 827044 w 4520397"/>
                    <a:gd name="connsiteY1160" fmla="*/ 2209361 h 3016069"/>
                    <a:gd name="connsiteX1161" fmla="*/ 816522 w 4520397"/>
                    <a:gd name="connsiteY1161" fmla="*/ 2200373 h 3016069"/>
                    <a:gd name="connsiteX1162" fmla="*/ 803871 w 4520397"/>
                    <a:gd name="connsiteY1162" fmla="*/ 2195176 h 3016069"/>
                    <a:gd name="connsiteX1163" fmla="*/ 795340 w 4520397"/>
                    <a:gd name="connsiteY1163" fmla="*/ 2184857 h 3016069"/>
                    <a:gd name="connsiteX1164" fmla="*/ 784590 w 4520397"/>
                    <a:gd name="connsiteY1164" fmla="*/ 2179736 h 3016069"/>
                    <a:gd name="connsiteX1165" fmla="*/ 783741 w 4520397"/>
                    <a:gd name="connsiteY1165" fmla="*/ 2170051 h 3016069"/>
                    <a:gd name="connsiteX1166" fmla="*/ 748995 w 4520397"/>
                    <a:gd name="connsiteY1166" fmla="*/ 2154649 h 3016069"/>
                    <a:gd name="connsiteX1167" fmla="*/ 739031 w 4520397"/>
                    <a:gd name="connsiteY1167" fmla="*/ 2160683 h 3016069"/>
                    <a:gd name="connsiteX1168" fmla="*/ 730842 w 4520397"/>
                    <a:gd name="connsiteY1168" fmla="*/ 2151302 h 3016069"/>
                    <a:gd name="connsiteX1169" fmla="*/ 723096 w 4520397"/>
                    <a:gd name="connsiteY1169" fmla="*/ 2142315 h 3016069"/>
                    <a:gd name="connsiteX1170" fmla="*/ 712803 w 4520397"/>
                    <a:gd name="connsiteY1170" fmla="*/ 2132807 h 3016069"/>
                    <a:gd name="connsiteX1171" fmla="*/ 708202 w 4520397"/>
                    <a:gd name="connsiteY1171" fmla="*/ 2124326 h 3016069"/>
                    <a:gd name="connsiteX1172" fmla="*/ 698808 w 4520397"/>
                    <a:gd name="connsiteY1172" fmla="*/ 2126748 h 3016069"/>
                    <a:gd name="connsiteX1173" fmla="*/ 687653 w 4520397"/>
                    <a:gd name="connsiteY1173" fmla="*/ 2118533 h 3016069"/>
                    <a:gd name="connsiteX1174" fmla="*/ 678209 w 4520397"/>
                    <a:gd name="connsiteY1174" fmla="*/ 2116860 h 3016069"/>
                    <a:gd name="connsiteX1175" fmla="*/ 668625 w 4520397"/>
                    <a:gd name="connsiteY1175" fmla="*/ 2106795 h 3016069"/>
                    <a:gd name="connsiteX1176" fmla="*/ 652881 w 4520397"/>
                    <a:gd name="connsiteY1176" fmla="*/ 2095906 h 3016069"/>
                    <a:gd name="connsiteX1177" fmla="*/ 630076 w 4520397"/>
                    <a:gd name="connsiteY1177" fmla="*/ 2084649 h 3016069"/>
                    <a:gd name="connsiteX1178" fmla="*/ 631394 w 4520397"/>
                    <a:gd name="connsiteY1178" fmla="*/ 2078032 h 3016069"/>
                    <a:gd name="connsiteX1179" fmla="*/ 626717 w 4520397"/>
                    <a:gd name="connsiteY1179" fmla="*/ 2074558 h 3016069"/>
                    <a:gd name="connsiteX1180" fmla="*/ 618883 w 4520397"/>
                    <a:gd name="connsiteY1180" fmla="*/ 2066826 h 3016069"/>
                    <a:gd name="connsiteX1181" fmla="*/ 590272 w 4520397"/>
                    <a:gd name="connsiteY1181" fmla="*/ 2059778 h 3016069"/>
                    <a:gd name="connsiteX1182" fmla="*/ 581867 w 4520397"/>
                    <a:gd name="connsiteY1182" fmla="*/ 2066255 h 3016069"/>
                    <a:gd name="connsiteX1183" fmla="*/ 574971 w 4520397"/>
                    <a:gd name="connsiteY1183" fmla="*/ 2064088 h 3016069"/>
                    <a:gd name="connsiteX1184" fmla="*/ 573868 w 4520397"/>
                    <a:gd name="connsiteY1184" fmla="*/ 2072074 h 3016069"/>
                    <a:gd name="connsiteX1185" fmla="*/ 568202 w 4520397"/>
                    <a:gd name="connsiteY1185" fmla="*/ 2082456 h 3016069"/>
                    <a:gd name="connsiteX1186" fmla="*/ 563309 w 4520397"/>
                    <a:gd name="connsiteY1186" fmla="*/ 2090784 h 3016069"/>
                    <a:gd name="connsiteX1187" fmla="*/ 546221 w 4520397"/>
                    <a:gd name="connsiteY1187" fmla="*/ 2074888 h 3016069"/>
                    <a:gd name="connsiteX1188" fmla="*/ 527320 w 4520397"/>
                    <a:gd name="connsiteY1188" fmla="*/ 2063340 h 3016069"/>
                    <a:gd name="connsiteX1189" fmla="*/ 509586 w 4520397"/>
                    <a:gd name="connsiteY1189" fmla="*/ 2055556 h 3016069"/>
                    <a:gd name="connsiteX1190" fmla="*/ 485893 w 4520397"/>
                    <a:gd name="connsiteY1190" fmla="*/ 2048026 h 3016069"/>
                    <a:gd name="connsiteX1191" fmla="*/ 485703 w 4520397"/>
                    <a:gd name="connsiteY1191" fmla="*/ 2040737 h 3016069"/>
                    <a:gd name="connsiteX1192" fmla="*/ 488783 w 4520397"/>
                    <a:gd name="connsiteY1192" fmla="*/ 2036250 h 3016069"/>
                    <a:gd name="connsiteX1193" fmla="*/ 475308 w 4520397"/>
                    <a:gd name="connsiteY1193" fmla="*/ 2027085 h 3016069"/>
                    <a:gd name="connsiteX1194" fmla="*/ 454886 w 4520397"/>
                    <a:gd name="connsiteY1194" fmla="*/ 2014256 h 3016069"/>
                    <a:gd name="connsiteX1195" fmla="*/ 436873 w 4520397"/>
                    <a:gd name="connsiteY1195" fmla="*/ 2015410 h 3016069"/>
                    <a:gd name="connsiteX1196" fmla="*/ 417288 w 4520397"/>
                    <a:gd name="connsiteY1196" fmla="*/ 1994595 h 3016069"/>
                    <a:gd name="connsiteX1197" fmla="*/ 396917 w 4520397"/>
                    <a:gd name="connsiteY1197" fmla="*/ 1986444 h 3016069"/>
                    <a:gd name="connsiteX1198" fmla="*/ 392619 w 4520397"/>
                    <a:gd name="connsiteY1198" fmla="*/ 1983642 h 3016069"/>
                    <a:gd name="connsiteX1199" fmla="*/ 380463 w 4520397"/>
                    <a:gd name="connsiteY1199" fmla="*/ 1987889 h 3016069"/>
                    <a:gd name="connsiteX1200" fmla="*/ 380678 w 4520397"/>
                    <a:gd name="connsiteY1200" fmla="*/ 1979814 h 3016069"/>
                    <a:gd name="connsiteX1201" fmla="*/ 376406 w 4520397"/>
                    <a:gd name="connsiteY1201" fmla="*/ 1971917 h 3016069"/>
                    <a:gd name="connsiteX1202" fmla="*/ 385153 w 4520397"/>
                    <a:gd name="connsiteY1202" fmla="*/ 1963613 h 3016069"/>
                    <a:gd name="connsiteX1203" fmla="*/ 378282 w 4520397"/>
                    <a:gd name="connsiteY1203" fmla="*/ 1957744 h 3016069"/>
                    <a:gd name="connsiteX1204" fmla="*/ 376875 w 4520397"/>
                    <a:gd name="connsiteY1204" fmla="*/ 1944599 h 3016069"/>
                    <a:gd name="connsiteX1205" fmla="*/ 374353 w 4520397"/>
                    <a:gd name="connsiteY1205" fmla="*/ 1929374 h 3016069"/>
                    <a:gd name="connsiteX1206" fmla="*/ 359001 w 4520397"/>
                    <a:gd name="connsiteY1206" fmla="*/ 1912552 h 3016069"/>
                    <a:gd name="connsiteX1207" fmla="*/ 358089 w 4520397"/>
                    <a:gd name="connsiteY1207" fmla="*/ 1896669 h 3016069"/>
                    <a:gd name="connsiteX1208" fmla="*/ 366772 w 4520397"/>
                    <a:gd name="connsiteY1208" fmla="*/ 1884613 h 3016069"/>
                    <a:gd name="connsiteX1209" fmla="*/ 380082 w 4520397"/>
                    <a:gd name="connsiteY1209" fmla="*/ 1882509 h 3016069"/>
                    <a:gd name="connsiteX1210" fmla="*/ 392163 w 4520397"/>
                    <a:gd name="connsiteY1210" fmla="*/ 1902158 h 3016069"/>
                    <a:gd name="connsiteX1211" fmla="*/ 405486 w 4520397"/>
                    <a:gd name="connsiteY1211" fmla="*/ 1899179 h 3016069"/>
                    <a:gd name="connsiteX1212" fmla="*/ 408985 w 4520397"/>
                    <a:gd name="connsiteY1212" fmla="*/ 1891243 h 3016069"/>
                    <a:gd name="connsiteX1213" fmla="*/ 416806 w 4520397"/>
                    <a:gd name="connsiteY1213" fmla="*/ 1890267 h 3016069"/>
                    <a:gd name="connsiteX1214" fmla="*/ 435999 w 4520397"/>
                    <a:gd name="connsiteY1214" fmla="*/ 1872837 h 3016069"/>
                    <a:gd name="connsiteX1215" fmla="*/ 425984 w 4520397"/>
                    <a:gd name="connsiteY1215" fmla="*/ 1855952 h 3016069"/>
                    <a:gd name="connsiteX1216" fmla="*/ 426935 w 4520397"/>
                    <a:gd name="connsiteY1216" fmla="*/ 1838116 h 3016069"/>
                    <a:gd name="connsiteX1217" fmla="*/ 405740 w 4520397"/>
                    <a:gd name="connsiteY1217" fmla="*/ 1831334 h 3016069"/>
                    <a:gd name="connsiteX1218" fmla="*/ 393088 w 4520397"/>
                    <a:gd name="connsiteY1218" fmla="*/ 1818290 h 3016069"/>
                    <a:gd name="connsiteX1219" fmla="*/ 383454 w 4520397"/>
                    <a:gd name="connsiteY1219" fmla="*/ 1788538 h 3016069"/>
                    <a:gd name="connsiteX1220" fmla="*/ 382947 w 4520397"/>
                    <a:gd name="connsiteY1220" fmla="*/ 1757633 h 3016069"/>
                    <a:gd name="connsiteX1221" fmla="*/ 397259 w 4520397"/>
                    <a:gd name="connsiteY1221" fmla="*/ 1742231 h 3016069"/>
                    <a:gd name="connsiteX1222" fmla="*/ 380247 w 4520397"/>
                    <a:gd name="connsiteY1222" fmla="*/ 1727906 h 3016069"/>
                    <a:gd name="connsiteX1223" fmla="*/ 348163 w 4520397"/>
                    <a:gd name="connsiteY1223" fmla="*/ 1716421 h 3016069"/>
                    <a:gd name="connsiteX1224" fmla="*/ 336234 w 4520397"/>
                    <a:gd name="connsiteY1224" fmla="*/ 1690168 h 3016069"/>
                    <a:gd name="connsiteX1225" fmla="*/ 325142 w 4520397"/>
                    <a:gd name="connsiteY1225" fmla="*/ 1662407 h 3016069"/>
                    <a:gd name="connsiteX1226" fmla="*/ 328552 w 4520397"/>
                    <a:gd name="connsiteY1226" fmla="*/ 1647207 h 3016069"/>
                    <a:gd name="connsiteX1227" fmla="*/ 320921 w 4520397"/>
                    <a:gd name="connsiteY1227" fmla="*/ 1644457 h 3016069"/>
                    <a:gd name="connsiteX1228" fmla="*/ 312909 w 4520397"/>
                    <a:gd name="connsiteY1228" fmla="*/ 1646497 h 3016069"/>
                    <a:gd name="connsiteX1229" fmla="*/ 307560 w 4520397"/>
                    <a:gd name="connsiteY1229" fmla="*/ 1642327 h 3016069"/>
                    <a:gd name="connsiteX1230" fmla="*/ 300740 w 4520397"/>
                    <a:gd name="connsiteY1230" fmla="*/ 1645572 h 3016069"/>
                    <a:gd name="connsiteX1231" fmla="*/ 286732 w 4520397"/>
                    <a:gd name="connsiteY1231" fmla="*/ 1644089 h 3016069"/>
                    <a:gd name="connsiteX1232" fmla="*/ 265119 w 4520397"/>
                    <a:gd name="connsiteY1232" fmla="*/ 1640147 h 3016069"/>
                    <a:gd name="connsiteX1233" fmla="*/ 233288 w 4520397"/>
                    <a:gd name="connsiteY1233" fmla="*/ 1629866 h 3016069"/>
                    <a:gd name="connsiteX1234" fmla="*/ 224427 w 4520397"/>
                    <a:gd name="connsiteY1234" fmla="*/ 1623464 h 3016069"/>
                    <a:gd name="connsiteX1235" fmla="*/ 219052 w 4520397"/>
                    <a:gd name="connsiteY1235" fmla="*/ 1621157 h 3016069"/>
                    <a:gd name="connsiteX1236" fmla="*/ 218406 w 4520397"/>
                    <a:gd name="connsiteY1236" fmla="*/ 1613412 h 3016069"/>
                    <a:gd name="connsiteX1237" fmla="*/ 213462 w 4520397"/>
                    <a:gd name="connsiteY1237" fmla="*/ 1611282 h 3016069"/>
                    <a:gd name="connsiteX1238" fmla="*/ 207694 w 4520397"/>
                    <a:gd name="connsiteY1238" fmla="*/ 1613285 h 3016069"/>
                    <a:gd name="connsiteX1239" fmla="*/ 191063 w 4520397"/>
                    <a:gd name="connsiteY1239" fmla="*/ 1616657 h 3016069"/>
                    <a:gd name="connsiteX1240" fmla="*/ 181479 w 4520397"/>
                    <a:gd name="connsiteY1240" fmla="*/ 1601090 h 3016069"/>
                    <a:gd name="connsiteX1241" fmla="*/ 170704 w 4520397"/>
                    <a:gd name="connsiteY1241" fmla="*/ 1597008 h 3016069"/>
                    <a:gd name="connsiteX1242" fmla="*/ 173341 w 4520397"/>
                    <a:gd name="connsiteY1242" fmla="*/ 1588338 h 3016069"/>
                    <a:gd name="connsiteX1243" fmla="*/ 175204 w 4520397"/>
                    <a:gd name="connsiteY1243" fmla="*/ 1582760 h 3016069"/>
                    <a:gd name="connsiteX1244" fmla="*/ 174900 w 4520397"/>
                    <a:gd name="connsiteY1244" fmla="*/ 1575674 h 3016069"/>
                    <a:gd name="connsiteX1245" fmla="*/ 167991 w 4520397"/>
                    <a:gd name="connsiteY1245" fmla="*/ 1548812 h 3016069"/>
                    <a:gd name="connsiteX1246" fmla="*/ 140179 w 4520397"/>
                    <a:gd name="connsiteY1246" fmla="*/ 1537898 h 3016069"/>
                    <a:gd name="connsiteX1247" fmla="*/ 131546 w 4520397"/>
                    <a:gd name="connsiteY1247" fmla="*/ 1526248 h 3016069"/>
                    <a:gd name="connsiteX1248" fmla="*/ 110263 w 4520397"/>
                    <a:gd name="connsiteY1248" fmla="*/ 1516627 h 3016069"/>
                    <a:gd name="connsiteX1249" fmla="*/ 93580 w 4520397"/>
                    <a:gd name="connsiteY1249" fmla="*/ 1523979 h 3016069"/>
                    <a:gd name="connsiteX1250" fmla="*/ 66465 w 4520397"/>
                    <a:gd name="connsiteY1250" fmla="*/ 1512152 h 3016069"/>
                    <a:gd name="connsiteX1251" fmla="*/ 67226 w 4520397"/>
                    <a:gd name="connsiteY1251" fmla="*/ 1496471 h 3016069"/>
                    <a:gd name="connsiteX1252" fmla="*/ 76822 w 4520397"/>
                    <a:gd name="connsiteY1252" fmla="*/ 1494544 h 3016069"/>
                    <a:gd name="connsiteX1253" fmla="*/ 81930 w 4520397"/>
                    <a:gd name="connsiteY1253" fmla="*/ 1491185 h 3016069"/>
                    <a:gd name="connsiteX1254" fmla="*/ 87749 w 4520397"/>
                    <a:gd name="connsiteY1254" fmla="*/ 1498005 h 3016069"/>
                    <a:gd name="connsiteX1255" fmla="*/ 100273 w 4520397"/>
                    <a:gd name="connsiteY1255" fmla="*/ 1492173 h 3016069"/>
                    <a:gd name="connsiteX1256" fmla="*/ 108754 w 4520397"/>
                    <a:gd name="connsiteY1256" fmla="*/ 1487103 h 3016069"/>
                    <a:gd name="connsiteX1257" fmla="*/ 115130 w 4520397"/>
                    <a:gd name="connsiteY1257" fmla="*/ 1482197 h 3016069"/>
                    <a:gd name="connsiteX1258" fmla="*/ 94822 w 4520397"/>
                    <a:gd name="connsiteY1258" fmla="*/ 1464577 h 3016069"/>
                    <a:gd name="connsiteX1259" fmla="*/ 100311 w 4520397"/>
                    <a:gd name="connsiteY1259" fmla="*/ 1451393 h 3016069"/>
                    <a:gd name="connsiteX1260" fmla="*/ 94544 w 4520397"/>
                    <a:gd name="connsiteY1260" fmla="*/ 1445625 h 3016069"/>
                    <a:gd name="connsiteX1261" fmla="*/ 95241 w 4520397"/>
                    <a:gd name="connsiteY1261" fmla="*/ 1440339 h 3016069"/>
                    <a:gd name="connsiteX1262" fmla="*/ 94455 w 4520397"/>
                    <a:gd name="connsiteY1262" fmla="*/ 1430616 h 3016069"/>
                    <a:gd name="connsiteX1263" fmla="*/ 86317 w 4520397"/>
                    <a:gd name="connsiteY1263" fmla="*/ 1416051 h 3016069"/>
                    <a:gd name="connsiteX1264" fmla="*/ 83477 w 4520397"/>
                    <a:gd name="connsiteY1264" fmla="*/ 1386553 h 3016069"/>
                    <a:gd name="connsiteX1265" fmla="*/ 36561 w 4520397"/>
                    <a:gd name="connsiteY1265" fmla="*/ 1375245 h 3016069"/>
                    <a:gd name="connsiteX1266" fmla="*/ 32416 w 4520397"/>
                    <a:gd name="connsiteY1266" fmla="*/ 1385881 h 3016069"/>
                    <a:gd name="connsiteX1267" fmla="*/ 13135 w 4520397"/>
                    <a:gd name="connsiteY1267" fmla="*/ 1376538 h 3016069"/>
                    <a:gd name="connsiteX1268" fmla="*/ 5542 w 4520397"/>
                    <a:gd name="connsiteY1268" fmla="*/ 1356902 h 3016069"/>
                    <a:gd name="connsiteX1269" fmla="*/ 16038 w 4520397"/>
                    <a:gd name="connsiteY1269" fmla="*/ 1347167 h 3016069"/>
                    <a:gd name="connsiteX1270" fmla="*/ 103 w 4520397"/>
                    <a:gd name="connsiteY1270" fmla="*/ 1327772 h 3016069"/>
                    <a:gd name="connsiteX1271" fmla="*/ 3526 w 4520397"/>
                    <a:gd name="connsiteY1271" fmla="*/ 1306817 h 3016069"/>
                    <a:gd name="connsiteX1272" fmla="*/ 23226 w 4520397"/>
                    <a:gd name="connsiteY1272" fmla="*/ 1295459 h 3016069"/>
                    <a:gd name="connsiteX1273" fmla="*/ 15734 w 4520397"/>
                    <a:gd name="connsiteY1273" fmla="*/ 1279030 h 3016069"/>
                    <a:gd name="connsiteX1274" fmla="*/ 40795 w 4520397"/>
                    <a:gd name="connsiteY1274" fmla="*/ 1250267 h 3016069"/>
                    <a:gd name="connsiteX1275" fmla="*/ 65121 w 4520397"/>
                    <a:gd name="connsiteY1275" fmla="*/ 1243498 h 3016069"/>
                    <a:gd name="connsiteX1276" fmla="*/ 92782 w 4520397"/>
                    <a:gd name="connsiteY1276" fmla="*/ 1230936 h 3016069"/>
                    <a:gd name="connsiteX1277" fmla="*/ 96394 w 4520397"/>
                    <a:gd name="connsiteY1277" fmla="*/ 1216827 h 3016069"/>
                    <a:gd name="connsiteX1278" fmla="*/ 120556 w 4520397"/>
                    <a:gd name="connsiteY1278" fmla="*/ 1218158 h 3016069"/>
                    <a:gd name="connsiteX1279" fmla="*/ 148761 w 4520397"/>
                    <a:gd name="connsiteY1279" fmla="*/ 1216396 h 3016069"/>
                    <a:gd name="connsiteX1280" fmla="*/ 152387 w 4520397"/>
                    <a:gd name="connsiteY1280" fmla="*/ 1220756 h 3016069"/>
                    <a:gd name="connsiteX1281" fmla="*/ 150041 w 4520397"/>
                    <a:gd name="connsiteY1281" fmla="*/ 1225421 h 3016069"/>
                    <a:gd name="connsiteX1282" fmla="*/ 156773 w 4520397"/>
                    <a:gd name="connsiteY1282" fmla="*/ 1233078 h 3016069"/>
                    <a:gd name="connsiteX1283" fmla="*/ 178437 w 4520397"/>
                    <a:gd name="connsiteY1283" fmla="*/ 1226423 h 3016069"/>
                    <a:gd name="connsiteX1284" fmla="*/ 191684 w 4520397"/>
                    <a:gd name="connsiteY1284" fmla="*/ 1224471 h 3016069"/>
                    <a:gd name="connsiteX1285" fmla="*/ 196919 w 4520397"/>
                    <a:gd name="connsiteY1285" fmla="*/ 1221542 h 3016069"/>
                    <a:gd name="connsiteX1286" fmla="*/ 201369 w 4520397"/>
                    <a:gd name="connsiteY1286" fmla="*/ 1228920 h 3016069"/>
                    <a:gd name="connsiteX1287" fmla="*/ 223667 w 4520397"/>
                    <a:gd name="connsiteY1287" fmla="*/ 1196113 h 3016069"/>
                    <a:gd name="connsiteX1288" fmla="*/ 233136 w 4520397"/>
                    <a:gd name="connsiteY1288" fmla="*/ 1185389 h 3016069"/>
                    <a:gd name="connsiteX1289" fmla="*/ 234264 w 4520397"/>
                    <a:gd name="connsiteY1289" fmla="*/ 1176389 h 3016069"/>
                    <a:gd name="connsiteX1290" fmla="*/ 268757 w 4520397"/>
                    <a:gd name="connsiteY1290" fmla="*/ 1171483 h 3016069"/>
                    <a:gd name="connsiteX1291" fmla="*/ 307687 w 4520397"/>
                    <a:gd name="connsiteY1291" fmla="*/ 1168402 h 3016069"/>
                    <a:gd name="connsiteX1292" fmla="*/ 340861 w 4520397"/>
                    <a:gd name="connsiteY1292" fmla="*/ 1158768 h 3016069"/>
                    <a:gd name="connsiteX1293" fmla="*/ 349963 w 4520397"/>
                    <a:gd name="connsiteY1293" fmla="*/ 1148969 h 3016069"/>
                    <a:gd name="connsiteX1294" fmla="*/ 351484 w 4520397"/>
                    <a:gd name="connsiteY1294" fmla="*/ 1138993 h 3016069"/>
                    <a:gd name="connsiteX1295" fmla="*/ 370600 w 4520397"/>
                    <a:gd name="connsiteY1295" fmla="*/ 1130233 h 3016069"/>
                    <a:gd name="connsiteX1296" fmla="*/ 386471 w 4520397"/>
                    <a:gd name="connsiteY1296" fmla="*/ 1120295 h 3016069"/>
                    <a:gd name="connsiteX1297" fmla="*/ 420127 w 4520397"/>
                    <a:gd name="connsiteY1297" fmla="*/ 1102979 h 3016069"/>
                    <a:gd name="connsiteX1298" fmla="*/ 434706 w 4520397"/>
                    <a:gd name="connsiteY1298" fmla="*/ 1100532 h 3016069"/>
                    <a:gd name="connsiteX1299" fmla="*/ 454836 w 4520397"/>
                    <a:gd name="connsiteY1299" fmla="*/ 1094219 h 3016069"/>
                    <a:gd name="connsiteX1300" fmla="*/ 460616 w 4520397"/>
                    <a:gd name="connsiteY1300" fmla="*/ 1084281 h 3016069"/>
                    <a:gd name="connsiteX1301" fmla="*/ 487338 w 4520397"/>
                    <a:gd name="connsiteY1301" fmla="*/ 1082316 h 3016069"/>
                    <a:gd name="connsiteX1302" fmla="*/ 488543 w 4520397"/>
                    <a:gd name="connsiteY1302" fmla="*/ 1070489 h 3016069"/>
                    <a:gd name="connsiteX1303" fmla="*/ 490812 w 4520397"/>
                    <a:gd name="connsiteY1303" fmla="*/ 1056316 h 3016069"/>
                    <a:gd name="connsiteX1304" fmla="*/ 483117 w 4520397"/>
                    <a:gd name="connsiteY1304" fmla="*/ 1029823 h 3016069"/>
                    <a:gd name="connsiteX1305" fmla="*/ 502931 w 4520397"/>
                    <a:gd name="connsiteY1305" fmla="*/ 1009312 h 3016069"/>
                    <a:gd name="connsiteX1306" fmla="*/ 499090 w 4520397"/>
                    <a:gd name="connsiteY1306" fmla="*/ 994113 h 3016069"/>
                    <a:gd name="connsiteX1307" fmla="*/ 517065 w 4520397"/>
                    <a:gd name="connsiteY1307" fmla="*/ 983984 h 3016069"/>
                    <a:gd name="connsiteX1308" fmla="*/ 529843 w 4520397"/>
                    <a:gd name="connsiteY1308" fmla="*/ 985543 h 3016069"/>
                    <a:gd name="connsiteX1309" fmla="*/ 522719 w 4520397"/>
                    <a:gd name="connsiteY1309" fmla="*/ 968278 h 3016069"/>
                    <a:gd name="connsiteX1310" fmla="*/ 525317 w 4520397"/>
                    <a:gd name="connsiteY1310" fmla="*/ 954930 h 3016069"/>
                    <a:gd name="connsiteX1311" fmla="*/ 513832 w 4520397"/>
                    <a:gd name="connsiteY1311" fmla="*/ 928055 h 3016069"/>
                    <a:gd name="connsiteX1312" fmla="*/ 500357 w 4520397"/>
                    <a:gd name="connsiteY1312" fmla="*/ 899064 h 3016069"/>
                    <a:gd name="connsiteX1313" fmla="*/ 497644 w 4520397"/>
                    <a:gd name="connsiteY1313" fmla="*/ 861554 h 3016069"/>
                    <a:gd name="connsiteX1314" fmla="*/ 498861 w 4520397"/>
                    <a:gd name="connsiteY1314" fmla="*/ 848105 h 3016069"/>
                    <a:gd name="connsiteX1315" fmla="*/ 507748 w 4520397"/>
                    <a:gd name="connsiteY1315" fmla="*/ 839725 h 3016069"/>
                    <a:gd name="connsiteX1316" fmla="*/ 488783 w 4520397"/>
                    <a:gd name="connsiteY1316" fmla="*/ 832221 h 3016069"/>
                    <a:gd name="connsiteX1317" fmla="*/ 463164 w 4520397"/>
                    <a:gd name="connsiteY1317" fmla="*/ 829077 h 3016069"/>
                    <a:gd name="connsiteX1318" fmla="*/ 491522 w 4520397"/>
                    <a:gd name="connsiteY1318" fmla="*/ 812243 h 3016069"/>
                    <a:gd name="connsiteX1319" fmla="*/ 526065 w 4520397"/>
                    <a:gd name="connsiteY1319" fmla="*/ 802406 h 3016069"/>
                    <a:gd name="connsiteX1320" fmla="*/ 545346 w 4520397"/>
                    <a:gd name="connsiteY1320" fmla="*/ 800999 h 3016069"/>
                    <a:gd name="connsiteX1321" fmla="*/ 567391 w 4520397"/>
                    <a:gd name="connsiteY1321" fmla="*/ 794153 h 3016069"/>
                    <a:gd name="connsiteX1322" fmla="*/ 594252 w 4520397"/>
                    <a:gd name="connsiteY1322" fmla="*/ 784354 h 3016069"/>
                    <a:gd name="connsiteX1323" fmla="*/ 605065 w 4520397"/>
                    <a:gd name="connsiteY1323" fmla="*/ 794356 h 3016069"/>
                    <a:gd name="connsiteX1324" fmla="*/ 640167 w 4520397"/>
                    <a:gd name="connsiteY1324" fmla="*/ 794584 h 3016069"/>
                    <a:gd name="connsiteX1325" fmla="*/ 660272 w 4520397"/>
                    <a:gd name="connsiteY1325" fmla="*/ 803813 h 3016069"/>
                    <a:gd name="connsiteX1326" fmla="*/ 667396 w 4520397"/>
                    <a:gd name="connsiteY1326" fmla="*/ 779550 h 3016069"/>
                    <a:gd name="connsiteX1327" fmla="*/ 643729 w 4520397"/>
                    <a:gd name="connsiteY1327" fmla="*/ 760535 h 3016069"/>
                    <a:gd name="connsiteX1328" fmla="*/ 654681 w 4520397"/>
                    <a:gd name="connsiteY1328" fmla="*/ 737654 h 3016069"/>
                    <a:gd name="connsiteX1329" fmla="*/ 660208 w 4520397"/>
                    <a:gd name="connsiteY1329" fmla="*/ 714887 h 3016069"/>
                    <a:gd name="connsiteX1330" fmla="*/ 677055 w 4520397"/>
                    <a:gd name="connsiteY1330" fmla="*/ 674056 h 3016069"/>
                    <a:gd name="connsiteX1331" fmla="*/ 693345 w 4520397"/>
                    <a:gd name="connsiteY1331" fmla="*/ 631349 h 3016069"/>
                    <a:gd name="connsiteX1332" fmla="*/ 700786 w 4520397"/>
                    <a:gd name="connsiteY1332" fmla="*/ 611497 h 3016069"/>
                    <a:gd name="connsiteX1333" fmla="*/ 736305 w 4520397"/>
                    <a:gd name="connsiteY1333" fmla="*/ 626620 h 3016069"/>
                    <a:gd name="connsiteX1334" fmla="*/ 782346 w 4520397"/>
                    <a:gd name="connsiteY1334" fmla="*/ 632337 h 3016069"/>
                    <a:gd name="connsiteX1335" fmla="*/ 822531 w 4520397"/>
                    <a:gd name="connsiteY1335" fmla="*/ 636964 h 3016069"/>
                    <a:gd name="connsiteX1336" fmla="*/ 821454 w 4520397"/>
                    <a:gd name="connsiteY1336" fmla="*/ 648500 h 3016069"/>
                    <a:gd name="connsiteX1337" fmla="*/ 838263 w 4520397"/>
                    <a:gd name="connsiteY1337" fmla="*/ 643429 h 3016069"/>
                    <a:gd name="connsiteX1338" fmla="*/ 864643 w 4520397"/>
                    <a:gd name="connsiteY1338" fmla="*/ 628218 h 3016069"/>
                    <a:gd name="connsiteX1339" fmla="*/ 879968 w 4520397"/>
                    <a:gd name="connsiteY1339" fmla="*/ 623388 h 3016069"/>
                    <a:gd name="connsiteX1340" fmla="*/ 884862 w 4520397"/>
                    <a:gd name="connsiteY1340" fmla="*/ 614400 h 3016069"/>
                    <a:gd name="connsiteX1341" fmla="*/ 892391 w 4520397"/>
                    <a:gd name="connsiteY1341" fmla="*/ 606528 h 3016069"/>
                    <a:gd name="connsiteX1342" fmla="*/ 891580 w 4520397"/>
                    <a:gd name="connsiteY1342" fmla="*/ 595905 h 3016069"/>
                    <a:gd name="connsiteX1343" fmla="*/ 885990 w 4520397"/>
                    <a:gd name="connsiteY1343" fmla="*/ 578957 h 3016069"/>
                    <a:gd name="connsiteX1344" fmla="*/ 881021 w 4520397"/>
                    <a:gd name="connsiteY1344" fmla="*/ 549458 h 3016069"/>
                    <a:gd name="connsiteX1345" fmla="*/ 894787 w 4520397"/>
                    <a:gd name="connsiteY1345" fmla="*/ 506219 h 3016069"/>
                    <a:gd name="connsiteX1346" fmla="*/ 914930 w 4520397"/>
                    <a:gd name="connsiteY1346" fmla="*/ 498410 h 3016069"/>
                    <a:gd name="connsiteX1347" fmla="*/ 928456 w 4520397"/>
                    <a:gd name="connsiteY1347" fmla="*/ 499069 h 3016069"/>
                    <a:gd name="connsiteX1348" fmla="*/ 938483 w 4520397"/>
                    <a:gd name="connsiteY1348" fmla="*/ 493821 h 3016069"/>
                    <a:gd name="connsiteX1349" fmla="*/ 967386 w 4520397"/>
                    <a:gd name="connsiteY1349" fmla="*/ 476657 h 3016069"/>
                    <a:gd name="connsiteX1350" fmla="*/ 972799 w 4520397"/>
                    <a:gd name="connsiteY1350" fmla="*/ 462269 h 3016069"/>
                    <a:gd name="connsiteX1351" fmla="*/ 968831 w 4520397"/>
                    <a:gd name="connsiteY1351" fmla="*/ 449314 h 3016069"/>
                    <a:gd name="connsiteX1352" fmla="*/ 1025153 w 4520397"/>
                    <a:gd name="connsiteY1352" fmla="*/ 436130 h 3016069"/>
                    <a:gd name="connsiteX1353" fmla="*/ 1034267 w 4520397"/>
                    <a:gd name="connsiteY1353" fmla="*/ 431554 h 3016069"/>
                    <a:gd name="connsiteX1354" fmla="*/ 1047882 w 4520397"/>
                    <a:gd name="connsiteY1354" fmla="*/ 428664 h 3016069"/>
                    <a:gd name="connsiteX1355" fmla="*/ 1051900 w 4520397"/>
                    <a:gd name="connsiteY1355" fmla="*/ 434533 h 3016069"/>
                    <a:gd name="connsiteX1356" fmla="*/ 1054790 w 4520397"/>
                    <a:gd name="connsiteY1356" fmla="*/ 443901 h 3016069"/>
                    <a:gd name="connsiteX1357" fmla="*/ 1044662 w 4520397"/>
                    <a:gd name="connsiteY1357" fmla="*/ 454866 h 3016069"/>
                    <a:gd name="connsiteX1358" fmla="*/ 1060812 w 4520397"/>
                    <a:gd name="connsiteY1358" fmla="*/ 466883 h 3016069"/>
                    <a:gd name="connsiteX1359" fmla="*/ 1063347 w 4520397"/>
                    <a:gd name="connsiteY1359" fmla="*/ 487077 h 3016069"/>
                    <a:gd name="connsiteX1360" fmla="*/ 1088180 w 4520397"/>
                    <a:gd name="connsiteY1360" fmla="*/ 495469 h 3016069"/>
                    <a:gd name="connsiteX1361" fmla="*/ 1095279 w 4520397"/>
                    <a:gd name="connsiteY1361" fmla="*/ 501655 h 3016069"/>
                    <a:gd name="connsiteX1362" fmla="*/ 1100832 w 4520397"/>
                    <a:gd name="connsiteY1362" fmla="*/ 501199 h 3016069"/>
                    <a:gd name="connsiteX1363" fmla="*/ 1105737 w 4520397"/>
                    <a:gd name="connsiteY1363" fmla="*/ 514319 h 3016069"/>
                    <a:gd name="connsiteX1364" fmla="*/ 1126020 w 4520397"/>
                    <a:gd name="connsiteY1364" fmla="*/ 528517 h 3016069"/>
                    <a:gd name="connsiteX1365" fmla="*/ 1132789 w 4520397"/>
                    <a:gd name="connsiteY1365" fmla="*/ 529404 h 3016069"/>
                    <a:gd name="connsiteX1366" fmla="*/ 1141320 w 4520397"/>
                    <a:gd name="connsiteY1366" fmla="*/ 539368 h 3016069"/>
                    <a:gd name="connsiteX1367" fmla="*/ 1156165 w 4520397"/>
                    <a:gd name="connsiteY1367" fmla="*/ 540255 h 3016069"/>
                    <a:gd name="connsiteX1368" fmla="*/ 1180390 w 4520397"/>
                    <a:gd name="connsiteY1368" fmla="*/ 537897 h 3016069"/>
                    <a:gd name="connsiteX1369" fmla="*/ 1194384 w 4520397"/>
                    <a:gd name="connsiteY1369" fmla="*/ 555315 h 3016069"/>
                    <a:gd name="connsiteX1370" fmla="*/ 1207935 w 4520397"/>
                    <a:gd name="connsiteY1370" fmla="*/ 549572 h 3016069"/>
                    <a:gd name="connsiteX1371" fmla="*/ 1215795 w 4520397"/>
                    <a:gd name="connsiteY1371" fmla="*/ 555467 h 3016069"/>
                    <a:gd name="connsiteX1372" fmla="*/ 1222551 w 4520397"/>
                    <a:gd name="connsiteY1372" fmla="*/ 564835 h 3016069"/>
                    <a:gd name="connsiteX1373" fmla="*/ 1237231 w 4520397"/>
                    <a:gd name="connsiteY1373" fmla="*/ 571427 h 3016069"/>
                    <a:gd name="connsiteX1374" fmla="*/ 1241389 w 4520397"/>
                    <a:gd name="connsiteY1374" fmla="*/ 583203 h 3016069"/>
                    <a:gd name="connsiteX1375" fmla="*/ 1245952 w 4520397"/>
                    <a:gd name="connsiteY1375" fmla="*/ 594840 h 3016069"/>
                    <a:gd name="connsiteX1376" fmla="*/ 1263877 w 4520397"/>
                    <a:gd name="connsiteY1376" fmla="*/ 629460 h 3016069"/>
                    <a:gd name="connsiteX1377" fmla="*/ 1279228 w 4520397"/>
                    <a:gd name="connsiteY1377" fmla="*/ 641870 h 3016069"/>
                    <a:gd name="connsiteX1378" fmla="*/ 1286593 w 4520397"/>
                    <a:gd name="connsiteY1378" fmla="*/ 663332 h 3016069"/>
                    <a:gd name="connsiteX1379" fmla="*/ 1283133 w 4520397"/>
                    <a:gd name="connsiteY1379" fmla="*/ 688152 h 3016069"/>
                    <a:gd name="connsiteX1380" fmla="*/ 1280103 w 4520397"/>
                    <a:gd name="connsiteY1380" fmla="*/ 703465 h 3016069"/>
                    <a:gd name="connsiteX1381" fmla="*/ 1285427 w 4520397"/>
                    <a:gd name="connsiteY1381" fmla="*/ 723735 h 3016069"/>
                    <a:gd name="connsiteX1382" fmla="*/ 1260163 w 4520397"/>
                    <a:gd name="connsiteY1382" fmla="*/ 769561 h 3016069"/>
                    <a:gd name="connsiteX1383" fmla="*/ 1268783 w 4520397"/>
                    <a:gd name="connsiteY1383" fmla="*/ 781223 h 3016069"/>
                    <a:gd name="connsiteX1384" fmla="*/ 1276085 w 4520397"/>
                    <a:gd name="connsiteY1384" fmla="*/ 792442 h 3016069"/>
                    <a:gd name="connsiteX1385" fmla="*/ 1276338 w 4520397"/>
                    <a:gd name="connsiteY1385" fmla="*/ 798476 h 3016069"/>
                    <a:gd name="connsiteX1386" fmla="*/ 1285212 w 4520397"/>
                    <a:gd name="connsiteY1386" fmla="*/ 795915 h 3016069"/>
                    <a:gd name="connsiteX1387" fmla="*/ 1299447 w 4520397"/>
                    <a:gd name="connsiteY1387" fmla="*/ 801493 h 3016069"/>
                    <a:gd name="connsiteX1388" fmla="*/ 1315382 w 4520397"/>
                    <a:gd name="connsiteY1388" fmla="*/ 803166 h 3016069"/>
                    <a:gd name="connsiteX1389" fmla="*/ 1327310 w 4520397"/>
                    <a:gd name="connsiteY1389" fmla="*/ 808516 h 3016069"/>
                    <a:gd name="connsiteX1390" fmla="*/ 1364858 w 4520397"/>
                    <a:gd name="connsiteY1390" fmla="*/ 809124 h 3016069"/>
                    <a:gd name="connsiteX1391" fmla="*/ 1380793 w 4520397"/>
                    <a:gd name="connsiteY1391" fmla="*/ 813827 h 3016069"/>
                    <a:gd name="connsiteX1392" fmla="*/ 1398337 w 4520397"/>
                    <a:gd name="connsiteY1392" fmla="*/ 815070 h 3016069"/>
                    <a:gd name="connsiteX1393" fmla="*/ 1435644 w 4520397"/>
                    <a:gd name="connsiteY1393" fmla="*/ 814867 h 3016069"/>
                    <a:gd name="connsiteX1394" fmla="*/ 1462949 w 4520397"/>
                    <a:gd name="connsiteY1394" fmla="*/ 819075 h 3016069"/>
                    <a:gd name="connsiteX1395" fmla="*/ 1485437 w 4520397"/>
                    <a:gd name="connsiteY1395" fmla="*/ 825908 h 3016069"/>
                    <a:gd name="connsiteX1396" fmla="*/ 1502208 w 4520397"/>
                    <a:gd name="connsiteY1396" fmla="*/ 845252 h 3016069"/>
                    <a:gd name="connsiteX1397" fmla="*/ 1519905 w 4520397"/>
                    <a:gd name="connsiteY1397" fmla="*/ 845607 h 3016069"/>
                    <a:gd name="connsiteX1398" fmla="*/ 1532492 w 4520397"/>
                    <a:gd name="connsiteY1398" fmla="*/ 859830 h 3016069"/>
                    <a:gd name="connsiteX1399" fmla="*/ 1551659 w 4520397"/>
                    <a:gd name="connsiteY1399" fmla="*/ 866967 h 3016069"/>
                    <a:gd name="connsiteX1400" fmla="*/ 1559696 w 4520397"/>
                    <a:gd name="connsiteY1400" fmla="*/ 875258 h 3016069"/>
                    <a:gd name="connsiteX1401" fmla="*/ 1610922 w 4520397"/>
                    <a:gd name="connsiteY1401" fmla="*/ 880734 h 3016069"/>
                    <a:gd name="connsiteX1402" fmla="*/ 1605585 w 4520397"/>
                    <a:gd name="connsiteY1402" fmla="*/ 898418 h 3016069"/>
                    <a:gd name="connsiteX1403" fmla="*/ 1623104 w 4520397"/>
                    <a:gd name="connsiteY1403" fmla="*/ 913807 h 3016069"/>
                    <a:gd name="connsiteX1404" fmla="*/ 1649827 w 4520397"/>
                    <a:gd name="connsiteY1404" fmla="*/ 977443 h 3016069"/>
                    <a:gd name="connsiteX1405" fmla="*/ 1679439 w 4520397"/>
                    <a:gd name="connsiteY1405" fmla="*/ 1004444 h 3016069"/>
                    <a:gd name="connsiteX1406" fmla="*/ 1693954 w 4520397"/>
                    <a:gd name="connsiteY1406" fmla="*/ 1019073 h 3016069"/>
                    <a:gd name="connsiteX1407" fmla="*/ 1780128 w 4520397"/>
                    <a:gd name="connsiteY1407" fmla="*/ 1018794 h 3016069"/>
                    <a:gd name="connsiteX1408" fmla="*/ 1867343 w 4520397"/>
                    <a:gd name="connsiteY1408" fmla="*/ 1029049 h 3016069"/>
                    <a:gd name="connsiteX1409" fmla="*/ 1912383 w 4520397"/>
                    <a:gd name="connsiteY1409" fmla="*/ 1034310 h 3016069"/>
                    <a:gd name="connsiteX1410" fmla="*/ 1951553 w 4520397"/>
                    <a:gd name="connsiteY1410" fmla="*/ 1024359 h 3016069"/>
                    <a:gd name="connsiteX1411" fmla="*/ 2040555 w 4520397"/>
                    <a:gd name="connsiteY1411" fmla="*/ 1037251 h 3016069"/>
                    <a:gd name="connsiteX1412" fmla="*/ 2078496 w 4520397"/>
                    <a:gd name="connsiteY1412" fmla="*/ 1042854 h 3016069"/>
                    <a:gd name="connsiteX1413" fmla="*/ 2104888 w 4520397"/>
                    <a:gd name="connsiteY1413" fmla="*/ 1068676 h 3016069"/>
                    <a:gd name="connsiteX1414" fmla="*/ 2195424 w 4520397"/>
                    <a:gd name="connsiteY1414" fmla="*/ 1091862 h 3016069"/>
                    <a:gd name="connsiteX1415" fmla="*/ 2232528 w 4520397"/>
                    <a:gd name="connsiteY1415" fmla="*/ 1104741 h 3016069"/>
                    <a:gd name="connsiteX1416" fmla="*/ 2283894 w 4520397"/>
                    <a:gd name="connsiteY1416" fmla="*/ 1095690 h 3016069"/>
                    <a:gd name="connsiteX1417" fmla="*/ 2284210 w 4520397"/>
                    <a:gd name="connsiteY1417" fmla="*/ 1114552 h 3016069"/>
                    <a:gd name="connsiteX1418" fmla="*/ 2306648 w 4520397"/>
                    <a:gd name="connsiteY1418" fmla="*/ 1115541 h 3016069"/>
                    <a:gd name="connsiteX1419" fmla="*/ 2330125 w 4520397"/>
                    <a:gd name="connsiteY1419" fmla="*/ 1112106 h 3016069"/>
                    <a:gd name="connsiteX1420" fmla="*/ 2391834 w 4520397"/>
                    <a:gd name="connsiteY1420" fmla="*/ 1082189 h 3016069"/>
                    <a:gd name="connsiteX1421" fmla="*/ 2477236 w 4520397"/>
                    <a:gd name="connsiteY1421" fmla="*/ 1055252 h 3016069"/>
                    <a:gd name="connsiteX1422" fmla="*/ 2555729 w 4520397"/>
                    <a:gd name="connsiteY1422" fmla="*/ 1044096 h 3016069"/>
                    <a:gd name="connsiteX1423" fmla="*/ 2589918 w 4520397"/>
                    <a:gd name="connsiteY1423" fmla="*/ 1047088 h 3016069"/>
                    <a:gd name="connsiteX1424" fmla="*/ 2618402 w 4520397"/>
                    <a:gd name="connsiteY1424" fmla="*/ 1044743 h 3016069"/>
                    <a:gd name="connsiteX1425" fmla="*/ 2652781 w 4520397"/>
                    <a:gd name="connsiteY1425" fmla="*/ 1044337 h 3016069"/>
                    <a:gd name="connsiteX1426" fmla="*/ 2676866 w 4520397"/>
                    <a:gd name="connsiteY1426" fmla="*/ 1031331 h 3016069"/>
                    <a:gd name="connsiteX1427" fmla="*/ 2730424 w 4520397"/>
                    <a:gd name="connsiteY1427" fmla="*/ 1004862 h 3016069"/>
                    <a:gd name="connsiteX1428" fmla="*/ 2780433 w 4520397"/>
                    <a:gd name="connsiteY1428" fmla="*/ 959645 h 3016069"/>
                    <a:gd name="connsiteX1429" fmla="*/ 2808575 w 4520397"/>
                    <a:gd name="connsiteY1429" fmla="*/ 948756 h 3016069"/>
                    <a:gd name="connsiteX1430" fmla="*/ 2821492 w 4520397"/>
                    <a:gd name="connsiteY1430" fmla="*/ 935674 h 3016069"/>
                    <a:gd name="connsiteX1431" fmla="*/ 2833332 w 4520397"/>
                    <a:gd name="connsiteY1431" fmla="*/ 933265 h 3016069"/>
                    <a:gd name="connsiteX1432" fmla="*/ 2802756 w 4520397"/>
                    <a:gd name="connsiteY1432" fmla="*/ 889012 h 3016069"/>
                    <a:gd name="connsiteX1433" fmla="*/ 2793718 w 4520397"/>
                    <a:gd name="connsiteY1433" fmla="*/ 871074 h 3016069"/>
                    <a:gd name="connsiteX1434" fmla="*/ 2803859 w 4520397"/>
                    <a:gd name="connsiteY1434" fmla="*/ 853936 h 3016069"/>
                    <a:gd name="connsiteX1435" fmla="*/ 2831406 w 4520397"/>
                    <a:gd name="connsiteY1435" fmla="*/ 810645 h 3016069"/>
                    <a:gd name="connsiteX1436" fmla="*/ 2852081 w 4520397"/>
                    <a:gd name="connsiteY1436" fmla="*/ 809390 h 3016069"/>
                    <a:gd name="connsiteX1437" fmla="*/ 2880831 w 4520397"/>
                    <a:gd name="connsiteY1437" fmla="*/ 821535 h 3016069"/>
                    <a:gd name="connsiteX1438" fmla="*/ 2948942 w 4520397"/>
                    <a:gd name="connsiteY1438" fmla="*/ 837127 h 3016069"/>
                    <a:gd name="connsiteX1439" fmla="*/ 2974029 w 4520397"/>
                    <a:gd name="connsiteY1439" fmla="*/ 827645 h 3016069"/>
                    <a:gd name="connsiteX1440" fmla="*/ 2995414 w 4520397"/>
                    <a:gd name="connsiteY1440" fmla="*/ 815577 h 3016069"/>
                    <a:gd name="connsiteX1441" fmla="*/ 3019145 w 4520397"/>
                    <a:gd name="connsiteY1441" fmla="*/ 794622 h 3016069"/>
                    <a:gd name="connsiteX1442" fmla="*/ 3036841 w 4520397"/>
                    <a:gd name="connsiteY1442" fmla="*/ 776888 h 3016069"/>
                    <a:gd name="connsiteX1443" fmla="*/ 3068659 w 4520397"/>
                    <a:gd name="connsiteY1443" fmla="*/ 779753 h 3016069"/>
                    <a:gd name="connsiteX1444" fmla="*/ 3104420 w 4520397"/>
                    <a:gd name="connsiteY1444" fmla="*/ 775760 h 3016069"/>
                    <a:gd name="connsiteX1445" fmla="*/ 3131725 w 4520397"/>
                    <a:gd name="connsiteY1445" fmla="*/ 756162 h 3016069"/>
                    <a:gd name="connsiteX1446" fmla="*/ 3150511 w 4520397"/>
                    <a:gd name="connsiteY1446" fmla="*/ 745970 h 3016069"/>
                    <a:gd name="connsiteX1447" fmla="*/ 3154999 w 4520397"/>
                    <a:gd name="connsiteY1447" fmla="*/ 723722 h 3016069"/>
                    <a:gd name="connsiteX1448" fmla="*/ 3175294 w 4520397"/>
                    <a:gd name="connsiteY1448" fmla="*/ 698965 h 3016069"/>
                    <a:gd name="connsiteX1449" fmla="*/ 3194753 w 4520397"/>
                    <a:gd name="connsiteY1449" fmla="*/ 688659 h 3016069"/>
                    <a:gd name="connsiteX1450" fmla="*/ 3231578 w 4520397"/>
                    <a:gd name="connsiteY1450" fmla="*/ 691689 h 3016069"/>
                    <a:gd name="connsiteX1451" fmla="*/ 3237042 w 4520397"/>
                    <a:gd name="connsiteY1451" fmla="*/ 671622 h 3016069"/>
                    <a:gd name="connsiteX1452" fmla="*/ 3251861 w 4520397"/>
                    <a:gd name="connsiteY1452" fmla="*/ 671622 h 3016069"/>
                    <a:gd name="connsiteX1453" fmla="*/ 3267655 w 4520397"/>
                    <a:gd name="connsiteY1453" fmla="*/ 676021 h 3016069"/>
                    <a:gd name="connsiteX1454" fmla="*/ 3275312 w 4520397"/>
                    <a:gd name="connsiteY1454" fmla="*/ 667933 h 3016069"/>
                    <a:gd name="connsiteX1455" fmla="*/ 3292425 w 4520397"/>
                    <a:gd name="connsiteY1455" fmla="*/ 662127 h 3016069"/>
                    <a:gd name="connsiteX1456" fmla="*/ 3323876 w 4520397"/>
                    <a:gd name="connsiteY1456" fmla="*/ 660695 h 3016069"/>
                    <a:gd name="connsiteX1457" fmla="*/ 3336286 w 4520397"/>
                    <a:gd name="connsiteY1457" fmla="*/ 661341 h 3016069"/>
                    <a:gd name="connsiteX1458" fmla="*/ 3342168 w 4520397"/>
                    <a:gd name="connsiteY1458" fmla="*/ 654433 h 3016069"/>
                    <a:gd name="connsiteX1459" fmla="*/ 3346681 w 4520397"/>
                    <a:gd name="connsiteY1459" fmla="*/ 656512 h 3016069"/>
                    <a:gd name="connsiteX1460" fmla="*/ 3376876 w 4520397"/>
                    <a:gd name="connsiteY1460" fmla="*/ 667337 h 3016069"/>
                    <a:gd name="connsiteX1461" fmla="*/ 3408200 w 4520397"/>
                    <a:gd name="connsiteY1461" fmla="*/ 669087 h 3016069"/>
                    <a:gd name="connsiteX1462" fmla="*/ 3422550 w 4520397"/>
                    <a:gd name="connsiteY1462" fmla="*/ 657285 h 3016069"/>
                    <a:gd name="connsiteX1463" fmla="*/ 3421586 w 4520397"/>
                    <a:gd name="connsiteY1463" fmla="*/ 642250 h 3016069"/>
                    <a:gd name="connsiteX1464" fmla="*/ 3414969 w 4520397"/>
                    <a:gd name="connsiteY1464" fmla="*/ 635012 h 3016069"/>
                    <a:gd name="connsiteX1465" fmla="*/ 3410545 w 4520397"/>
                    <a:gd name="connsiteY1465" fmla="*/ 621600 h 3016069"/>
                    <a:gd name="connsiteX1466" fmla="*/ 3393381 w 4520397"/>
                    <a:gd name="connsiteY1466" fmla="*/ 606744 h 3016069"/>
                    <a:gd name="connsiteX1467" fmla="*/ 3376597 w 4520397"/>
                    <a:gd name="connsiteY1467" fmla="*/ 593357 h 3016069"/>
                    <a:gd name="connsiteX1468" fmla="*/ 3367318 w 4520397"/>
                    <a:gd name="connsiteY1468" fmla="*/ 583748 h 3016069"/>
                    <a:gd name="connsiteX1469" fmla="*/ 3361918 w 4520397"/>
                    <a:gd name="connsiteY1469" fmla="*/ 570324 h 3016069"/>
                    <a:gd name="connsiteX1470" fmla="*/ 3336590 w 4520397"/>
                    <a:gd name="connsiteY1470" fmla="*/ 559752 h 3016069"/>
                    <a:gd name="connsiteX1471" fmla="*/ 3315192 w 4520397"/>
                    <a:gd name="connsiteY1471" fmla="*/ 539495 h 3016069"/>
                    <a:gd name="connsiteX1472" fmla="*/ 3264651 w 4520397"/>
                    <a:gd name="connsiteY1472" fmla="*/ 539254 h 3016069"/>
                    <a:gd name="connsiteX1473" fmla="*/ 3250301 w 4520397"/>
                    <a:gd name="connsiteY1473" fmla="*/ 552767 h 3016069"/>
                    <a:gd name="connsiteX1474" fmla="*/ 3234658 w 4520397"/>
                    <a:gd name="connsiteY1474" fmla="*/ 571186 h 3016069"/>
                    <a:gd name="connsiteX1475" fmla="*/ 3212322 w 4520397"/>
                    <a:gd name="connsiteY1475" fmla="*/ 555974 h 3016069"/>
                    <a:gd name="connsiteX1476" fmla="*/ 3186107 w 4520397"/>
                    <a:gd name="connsiteY1476" fmla="*/ 551081 h 3016069"/>
                    <a:gd name="connsiteX1477" fmla="*/ 3153630 w 4520397"/>
                    <a:gd name="connsiteY1477" fmla="*/ 551727 h 3016069"/>
                    <a:gd name="connsiteX1478" fmla="*/ 3127833 w 4520397"/>
                    <a:gd name="connsiteY1478" fmla="*/ 568131 h 3016069"/>
                    <a:gd name="connsiteX1479" fmla="*/ 3098893 w 4520397"/>
                    <a:gd name="connsiteY1479" fmla="*/ 525284 h 3016069"/>
                    <a:gd name="connsiteX1480" fmla="*/ 3119847 w 4520397"/>
                    <a:gd name="connsiteY1480" fmla="*/ 513013 h 3016069"/>
                    <a:gd name="connsiteX1481" fmla="*/ 3118871 w 4520397"/>
                    <a:gd name="connsiteY1481" fmla="*/ 489435 h 3016069"/>
                    <a:gd name="connsiteX1482" fmla="*/ 3137493 w 4520397"/>
                    <a:gd name="connsiteY1482" fmla="*/ 463271 h 3016069"/>
                    <a:gd name="connsiteX1483" fmla="*/ 3137163 w 4520397"/>
                    <a:gd name="connsiteY1483" fmla="*/ 455779 h 3016069"/>
                    <a:gd name="connsiteX1484" fmla="*/ 3149497 w 4520397"/>
                    <a:gd name="connsiteY1484" fmla="*/ 432416 h 3016069"/>
                    <a:gd name="connsiteX1485" fmla="*/ 3184573 w 4520397"/>
                    <a:gd name="connsiteY1485" fmla="*/ 365775 h 3016069"/>
                    <a:gd name="connsiteX1486" fmla="*/ 3227826 w 4520397"/>
                    <a:gd name="connsiteY1486" fmla="*/ 385031 h 3016069"/>
                    <a:gd name="connsiteX1487" fmla="*/ 3249591 w 4520397"/>
                    <a:gd name="connsiteY1487" fmla="*/ 388847 h 3016069"/>
                    <a:gd name="connsiteX1488" fmla="*/ 3267085 w 4520397"/>
                    <a:gd name="connsiteY1488" fmla="*/ 394855 h 3016069"/>
                    <a:gd name="connsiteX1489" fmla="*/ 3298865 w 4520397"/>
                    <a:gd name="connsiteY1489" fmla="*/ 374750 h 3016069"/>
                    <a:gd name="connsiteX1490" fmla="*/ 3317297 w 4520397"/>
                    <a:gd name="connsiteY1490" fmla="*/ 364254 h 3016069"/>
                    <a:gd name="connsiteX1491" fmla="*/ 3331444 w 4520397"/>
                    <a:gd name="connsiteY1491" fmla="*/ 352465 h 3016069"/>
                    <a:gd name="connsiteX1492" fmla="*/ 3379627 w 4520397"/>
                    <a:gd name="connsiteY1492" fmla="*/ 339180 h 3016069"/>
                    <a:gd name="connsiteX1493" fmla="*/ 3382758 w 4520397"/>
                    <a:gd name="connsiteY1493" fmla="*/ 318061 h 3016069"/>
                    <a:gd name="connsiteX1494" fmla="*/ 3365632 w 4520397"/>
                    <a:gd name="connsiteY1494" fmla="*/ 312141 h 3016069"/>
                    <a:gd name="connsiteX1495" fmla="*/ 3376965 w 4520397"/>
                    <a:gd name="connsiteY1495" fmla="*/ 293177 h 3016069"/>
                    <a:gd name="connsiteX1496" fmla="*/ 3393660 w 4520397"/>
                    <a:gd name="connsiteY1496" fmla="*/ 273440 h 3016069"/>
                    <a:gd name="connsiteX1497" fmla="*/ 3394738 w 4520397"/>
                    <a:gd name="connsiteY1497" fmla="*/ 262791 h 3016069"/>
                    <a:gd name="connsiteX1498" fmla="*/ 3408302 w 4520397"/>
                    <a:gd name="connsiteY1498" fmla="*/ 248530 h 3016069"/>
                    <a:gd name="connsiteX1499" fmla="*/ 3416021 w 4520397"/>
                    <a:gd name="connsiteY1499" fmla="*/ 231265 h 3016069"/>
                    <a:gd name="connsiteX1500" fmla="*/ 3421966 w 4520397"/>
                    <a:gd name="connsiteY1500" fmla="*/ 214887 h 3016069"/>
                    <a:gd name="connsiteX1501" fmla="*/ 3433097 w 4520397"/>
                    <a:gd name="connsiteY1501" fmla="*/ 199371 h 3016069"/>
                    <a:gd name="connsiteX1502" fmla="*/ 3441907 w 4520397"/>
                    <a:gd name="connsiteY1502" fmla="*/ 187112 h 3016069"/>
                    <a:gd name="connsiteX1503" fmla="*/ 3464040 w 4520397"/>
                    <a:gd name="connsiteY1503" fmla="*/ 170240 h 3016069"/>
                    <a:gd name="connsiteX1504" fmla="*/ 3477832 w 4520397"/>
                    <a:gd name="connsiteY1504" fmla="*/ 162900 h 3016069"/>
                    <a:gd name="connsiteX1505" fmla="*/ 3482282 w 4520397"/>
                    <a:gd name="connsiteY1505" fmla="*/ 154394 h 3016069"/>
                    <a:gd name="connsiteX1506" fmla="*/ 3485451 w 4520397"/>
                    <a:gd name="connsiteY1506" fmla="*/ 146066 h 3016069"/>
                    <a:gd name="connsiteX1507" fmla="*/ 3485311 w 4520397"/>
                    <a:gd name="connsiteY1507" fmla="*/ 133694 h 3016069"/>
                    <a:gd name="connsiteX1508" fmla="*/ 3477591 w 4520397"/>
                    <a:gd name="connsiteY1508" fmla="*/ 118178 h 3016069"/>
                    <a:gd name="connsiteX1509" fmla="*/ 3482586 w 4520397"/>
                    <a:gd name="connsiteY1509" fmla="*/ 102256 h 3016069"/>
                    <a:gd name="connsiteX1510" fmla="*/ 3459984 w 4520397"/>
                    <a:gd name="connsiteY1510" fmla="*/ 92482 h 3016069"/>
                    <a:gd name="connsiteX1511" fmla="*/ 3434326 w 4520397"/>
                    <a:gd name="connsiteY1511" fmla="*/ 95525 h 3016069"/>
                    <a:gd name="connsiteX1512" fmla="*/ 3452986 w 4520397"/>
                    <a:gd name="connsiteY1512" fmla="*/ 66052 h 3016069"/>
                    <a:gd name="connsiteX1513" fmla="*/ 3494413 w 4520397"/>
                    <a:gd name="connsiteY1513" fmla="*/ 27654 h 3016069"/>
                    <a:gd name="connsiteX1514" fmla="*/ 3514112 w 4520397"/>
                    <a:gd name="connsiteY1514" fmla="*/ 28073 h 3016069"/>
                    <a:gd name="connsiteX1515" fmla="*/ 3527905 w 4520397"/>
                    <a:gd name="connsiteY1515" fmla="*/ 23661 h 3016069"/>
                    <a:gd name="connsiteX1516" fmla="*/ 3560318 w 4520397"/>
                    <a:gd name="connsiteY1516" fmla="*/ 14864 h 3016069"/>
                    <a:gd name="connsiteX1517" fmla="*/ 3582642 w 4520397"/>
                    <a:gd name="connsiteY1517" fmla="*/ 12696 h 3016069"/>
                    <a:gd name="connsiteX1518" fmla="*/ 3595521 w 4520397"/>
                    <a:gd name="connsiteY1518" fmla="*/ 7841 h 3016069"/>
                    <a:gd name="connsiteX1519" fmla="*/ 3618617 w 4520397"/>
                    <a:gd name="connsiteY1519" fmla="*/ 8982 h 3016069"/>
                    <a:gd name="connsiteX1520" fmla="*/ 3664836 w 4520397"/>
                    <a:gd name="connsiteY1520" fmla="*/ 2644 h 3016069"/>
                    <a:gd name="connsiteX1521" fmla="*/ 3686564 w 4520397"/>
                    <a:gd name="connsiteY1521" fmla="*/ 3810 h 3016069"/>
                    <a:gd name="connsiteX1522" fmla="*/ 3686564 w 4520397"/>
                    <a:gd name="connsiteY1522" fmla="*/ 3810 h 301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Lst>
                  <a:rect l="l" t="t" r="r" b="b"/>
                  <a:pathLst>
                    <a:path w="4520397" h="3016069">
                      <a:moveTo>
                        <a:pt x="2741339" y="2864788"/>
                      </a:moveTo>
                      <a:cubicBezTo>
                        <a:pt x="2742974" y="2877667"/>
                        <a:pt x="2754421" y="2872317"/>
                        <a:pt x="2759022" y="2875930"/>
                      </a:cubicBezTo>
                      <a:cubicBezTo>
                        <a:pt x="2766438" y="2881787"/>
                        <a:pt x="2761646" y="2897240"/>
                        <a:pt x="2767161" y="2903857"/>
                      </a:cubicBezTo>
                      <a:cubicBezTo>
                        <a:pt x="2760734" y="2903058"/>
                        <a:pt x="2760151" y="2910841"/>
                        <a:pt x="2755511" y="2911703"/>
                      </a:cubicBezTo>
                      <a:cubicBezTo>
                        <a:pt x="2749109" y="2912844"/>
                        <a:pt x="2752240" y="2907913"/>
                        <a:pt x="2754459" y="2906417"/>
                      </a:cubicBezTo>
                      <a:cubicBezTo>
                        <a:pt x="2746967" y="2903920"/>
                        <a:pt x="2752646" y="2910702"/>
                        <a:pt x="2749845" y="2915088"/>
                      </a:cubicBezTo>
                      <a:cubicBezTo>
                        <a:pt x="2747170" y="2919373"/>
                        <a:pt x="2743887" y="2919538"/>
                        <a:pt x="2741377" y="2922909"/>
                      </a:cubicBezTo>
                      <a:cubicBezTo>
                        <a:pt x="2737866" y="2927676"/>
                        <a:pt x="2736915" y="2946665"/>
                        <a:pt x="2726102" y="2939985"/>
                      </a:cubicBezTo>
                      <a:cubicBezTo>
                        <a:pt x="2730297" y="2942735"/>
                        <a:pt x="2730107" y="2942190"/>
                        <a:pt x="2731717" y="2946222"/>
                      </a:cubicBezTo>
                      <a:cubicBezTo>
                        <a:pt x="2732097" y="2944992"/>
                        <a:pt x="2733657" y="2942026"/>
                        <a:pt x="2733758" y="2941455"/>
                      </a:cubicBezTo>
                      <a:cubicBezTo>
                        <a:pt x="2733403" y="2949695"/>
                        <a:pt x="2719446" y="2967480"/>
                        <a:pt x="2727128" y="2968659"/>
                      </a:cubicBezTo>
                      <a:cubicBezTo>
                        <a:pt x="2727154" y="2967062"/>
                        <a:pt x="2728142" y="2963094"/>
                        <a:pt x="2727902" y="2961890"/>
                      </a:cubicBezTo>
                      <a:cubicBezTo>
                        <a:pt x="2729245" y="2963880"/>
                        <a:pt x="2729600" y="2966910"/>
                        <a:pt x="2730234" y="2969217"/>
                      </a:cubicBezTo>
                      <a:cubicBezTo>
                        <a:pt x="2721322" y="2969039"/>
                        <a:pt x="2724644" y="2981107"/>
                        <a:pt x="2715491" y="2977773"/>
                      </a:cubicBezTo>
                      <a:cubicBezTo>
                        <a:pt x="2717418" y="2977076"/>
                        <a:pt x="2718889" y="2976734"/>
                        <a:pt x="2721069" y="2976481"/>
                      </a:cubicBezTo>
                      <a:cubicBezTo>
                        <a:pt x="2711967" y="2977000"/>
                        <a:pt x="2700888" y="2990361"/>
                        <a:pt x="2693231" y="2990032"/>
                      </a:cubicBezTo>
                      <a:cubicBezTo>
                        <a:pt x="2697186" y="2992960"/>
                        <a:pt x="2696083" y="2992821"/>
                        <a:pt x="2695741" y="2997866"/>
                      </a:cubicBezTo>
                      <a:cubicBezTo>
                        <a:pt x="2695589" y="2997131"/>
                        <a:pt x="2694753" y="2996053"/>
                        <a:pt x="2694004" y="2995495"/>
                      </a:cubicBezTo>
                      <a:cubicBezTo>
                        <a:pt x="2694233" y="3000667"/>
                        <a:pt x="2691964" y="3001048"/>
                        <a:pt x="2688376" y="2998132"/>
                      </a:cubicBezTo>
                      <a:cubicBezTo>
                        <a:pt x="2691571" y="2996535"/>
                        <a:pt x="2690290" y="2996649"/>
                        <a:pt x="2692204" y="2994697"/>
                      </a:cubicBezTo>
                      <a:cubicBezTo>
                        <a:pt x="2690277" y="2996953"/>
                        <a:pt x="2692154" y="2995597"/>
                        <a:pt x="2690164" y="2995254"/>
                      </a:cubicBezTo>
                      <a:cubicBezTo>
                        <a:pt x="2683889" y="3000895"/>
                        <a:pt x="2668563" y="2993657"/>
                        <a:pt x="2670882" y="3008185"/>
                      </a:cubicBezTo>
                      <a:cubicBezTo>
                        <a:pt x="2668208" y="3007906"/>
                        <a:pt x="2668816" y="3008514"/>
                        <a:pt x="2666357" y="3008755"/>
                      </a:cubicBezTo>
                      <a:cubicBezTo>
                        <a:pt x="2672974" y="3009300"/>
                        <a:pt x="2671516" y="3013978"/>
                        <a:pt x="2666851" y="3010327"/>
                      </a:cubicBezTo>
                      <a:cubicBezTo>
                        <a:pt x="2662541" y="3012710"/>
                        <a:pt x="2662212" y="3011392"/>
                        <a:pt x="2662288" y="3015537"/>
                      </a:cubicBezTo>
                      <a:cubicBezTo>
                        <a:pt x="2660602" y="3015625"/>
                        <a:pt x="2659803" y="3015131"/>
                        <a:pt x="2658269" y="3016069"/>
                      </a:cubicBezTo>
                      <a:cubicBezTo>
                        <a:pt x="2658535" y="3012685"/>
                        <a:pt x="2657382" y="3012216"/>
                        <a:pt x="2658269" y="3009275"/>
                      </a:cubicBezTo>
                      <a:cubicBezTo>
                        <a:pt x="2655772" y="3012849"/>
                        <a:pt x="2655037" y="3013090"/>
                        <a:pt x="2651158" y="3013433"/>
                      </a:cubicBezTo>
                      <a:cubicBezTo>
                        <a:pt x="2654454" y="3011658"/>
                        <a:pt x="2652869" y="3010859"/>
                        <a:pt x="2653744" y="3009224"/>
                      </a:cubicBezTo>
                      <a:cubicBezTo>
                        <a:pt x="2650435" y="3007221"/>
                        <a:pt x="2641334" y="3006968"/>
                        <a:pt x="2635109" y="3005738"/>
                      </a:cubicBezTo>
                      <a:cubicBezTo>
                        <a:pt x="2632967" y="3005282"/>
                        <a:pt x="2630406" y="3007475"/>
                        <a:pt x="2628835" y="3007056"/>
                      </a:cubicBezTo>
                      <a:cubicBezTo>
                        <a:pt x="2626971" y="3006575"/>
                        <a:pt x="2627453" y="3002214"/>
                        <a:pt x="2626591" y="3001998"/>
                      </a:cubicBezTo>
                      <a:cubicBezTo>
                        <a:pt x="2617743" y="2999615"/>
                        <a:pt x="2609224" y="2997625"/>
                        <a:pt x="2600185" y="2991452"/>
                      </a:cubicBezTo>
                      <a:cubicBezTo>
                        <a:pt x="2592935" y="2986482"/>
                        <a:pt x="2595990" y="2991540"/>
                        <a:pt x="2593784" y="2983592"/>
                      </a:cubicBezTo>
                      <a:cubicBezTo>
                        <a:pt x="2592820" y="2980068"/>
                        <a:pt x="2590463" y="2969736"/>
                        <a:pt x="2589905" y="2966187"/>
                      </a:cubicBezTo>
                      <a:cubicBezTo>
                        <a:pt x="2589030" y="2960419"/>
                        <a:pt x="2589030" y="2942457"/>
                        <a:pt x="2593366" y="2941430"/>
                      </a:cubicBezTo>
                      <a:cubicBezTo>
                        <a:pt x="2591287" y="2938236"/>
                        <a:pt x="2592706" y="2937868"/>
                        <a:pt x="2588802" y="2936258"/>
                      </a:cubicBezTo>
                      <a:cubicBezTo>
                        <a:pt x="2589271" y="2928145"/>
                        <a:pt x="2602480" y="2914695"/>
                        <a:pt x="2612710" y="2915342"/>
                      </a:cubicBezTo>
                      <a:cubicBezTo>
                        <a:pt x="2613876" y="2908877"/>
                        <a:pt x="2634197" y="2895363"/>
                        <a:pt x="2639483" y="2898609"/>
                      </a:cubicBezTo>
                      <a:cubicBezTo>
                        <a:pt x="2639242" y="2897772"/>
                        <a:pt x="2637696" y="2895680"/>
                        <a:pt x="2637061" y="2895084"/>
                      </a:cubicBezTo>
                      <a:cubicBezTo>
                        <a:pt x="2638038" y="2894134"/>
                        <a:pt x="2638621" y="2894806"/>
                        <a:pt x="2639483" y="2892815"/>
                      </a:cubicBezTo>
                      <a:cubicBezTo>
                        <a:pt x="2635832" y="2893107"/>
                        <a:pt x="2632295" y="2895325"/>
                        <a:pt x="2628847" y="2897556"/>
                      </a:cubicBezTo>
                      <a:cubicBezTo>
                        <a:pt x="2626477" y="2882864"/>
                        <a:pt x="2645352" y="2881267"/>
                        <a:pt x="2651145" y="2889215"/>
                      </a:cubicBezTo>
                      <a:cubicBezTo>
                        <a:pt x="2654606" y="2888024"/>
                        <a:pt x="2656152" y="2888201"/>
                        <a:pt x="2659790" y="2887567"/>
                      </a:cubicBezTo>
                      <a:cubicBezTo>
                        <a:pt x="2657509" y="2886832"/>
                        <a:pt x="2656355" y="2884842"/>
                        <a:pt x="2654885" y="2883777"/>
                      </a:cubicBezTo>
                      <a:cubicBezTo>
                        <a:pt x="2656064" y="2883143"/>
                        <a:pt x="2657128" y="2883561"/>
                        <a:pt x="2657978" y="2882852"/>
                      </a:cubicBezTo>
                      <a:cubicBezTo>
                        <a:pt x="2651728" y="2879049"/>
                        <a:pt x="2672176" y="2870974"/>
                        <a:pt x="2669868" y="2879771"/>
                      </a:cubicBezTo>
                      <a:cubicBezTo>
                        <a:pt x="2672556" y="2879505"/>
                        <a:pt x="2672607" y="2879974"/>
                        <a:pt x="2676473" y="2880240"/>
                      </a:cubicBezTo>
                      <a:cubicBezTo>
                        <a:pt x="2676955" y="2879391"/>
                        <a:pt x="2676346" y="2877921"/>
                        <a:pt x="2677107" y="2877198"/>
                      </a:cubicBezTo>
                      <a:cubicBezTo>
                        <a:pt x="2677664" y="2879049"/>
                        <a:pt x="2678590" y="2879315"/>
                        <a:pt x="2678565" y="2881800"/>
                      </a:cubicBezTo>
                      <a:cubicBezTo>
                        <a:pt x="2682393" y="2876983"/>
                        <a:pt x="2686602" y="2875056"/>
                        <a:pt x="2688883" y="2881711"/>
                      </a:cubicBezTo>
                      <a:cubicBezTo>
                        <a:pt x="2688325" y="2881749"/>
                        <a:pt x="2687704" y="2881761"/>
                        <a:pt x="2687121" y="2881800"/>
                      </a:cubicBezTo>
                      <a:cubicBezTo>
                        <a:pt x="2688997" y="2883409"/>
                        <a:pt x="2688731" y="2883181"/>
                        <a:pt x="2691140" y="2883384"/>
                      </a:cubicBezTo>
                      <a:cubicBezTo>
                        <a:pt x="2690556" y="2878022"/>
                        <a:pt x="2698162" y="2879011"/>
                        <a:pt x="2701788" y="2876032"/>
                      </a:cubicBezTo>
                      <a:cubicBezTo>
                        <a:pt x="2699101" y="2877223"/>
                        <a:pt x="2698670" y="2877147"/>
                        <a:pt x="2695729" y="2877680"/>
                      </a:cubicBezTo>
                      <a:cubicBezTo>
                        <a:pt x="2701623" y="2873610"/>
                        <a:pt x="2705300" y="2870365"/>
                        <a:pt x="2712905" y="2873167"/>
                      </a:cubicBezTo>
                      <a:cubicBezTo>
                        <a:pt x="2718622" y="2875284"/>
                        <a:pt x="2718027" y="2875537"/>
                        <a:pt x="2721563" y="2882395"/>
                      </a:cubicBezTo>
                      <a:cubicBezTo>
                        <a:pt x="2720701" y="2878846"/>
                        <a:pt x="2718217" y="2874979"/>
                        <a:pt x="2719016" y="2870315"/>
                      </a:cubicBezTo>
                      <a:cubicBezTo>
                        <a:pt x="2723313" y="2874219"/>
                        <a:pt x="2730297" y="2876387"/>
                        <a:pt x="2733251" y="2876602"/>
                      </a:cubicBezTo>
                      <a:cubicBezTo>
                        <a:pt x="2733885" y="2878453"/>
                        <a:pt x="2735102" y="2880481"/>
                        <a:pt x="2735469" y="2882408"/>
                      </a:cubicBezTo>
                      <a:cubicBezTo>
                        <a:pt x="2737979" y="2878085"/>
                        <a:pt x="2732440" y="2875930"/>
                        <a:pt x="2732858" y="2873826"/>
                      </a:cubicBezTo>
                      <a:cubicBezTo>
                        <a:pt x="2734024" y="2868147"/>
                        <a:pt x="2737853" y="2867095"/>
                        <a:pt x="2741339" y="2864788"/>
                      </a:cubicBezTo>
                      <a:lnTo>
                        <a:pt x="2741339" y="2864788"/>
                      </a:lnTo>
                      <a:close/>
                      <a:moveTo>
                        <a:pt x="3571359" y="1975428"/>
                      </a:moveTo>
                      <a:cubicBezTo>
                        <a:pt x="3562473" y="1979218"/>
                        <a:pt x="3514100" y="1957009"/>
                        <a:pt x="3517801" y="1947438"/>
                      </a:cubicBezTo>
                      <a:cubicBezTo>
                        <a:pt x="3521680" y="1937398"/>
                        <a:pt x="3542178" y="1952116"/>
                        <a:pt x="3546716" y="1954955"/>
                      </a:cubicBezTo>
                      <a:cubicBezTo>
                        <a:pt x="3552142" y="1958340"/>
                        <a:pt x="3589094" y="1972094"/>
                        <a:pt x="3571359" y="1975428"/>
                      </a:cubicBezTo>
                      <a:lnTo>
                        <a:pt x="3571359" y="1975428"/>
                      </a:lnTo>
                      <a:close/>
                      <a:moveTo>
                        <a:pt x="3686564" y="3810"/>
                      </a:moveTo>
                      <a:cubicBezTo>
                        <a:pt x="3688643" y="-120"/>
                        <a:pt x="3691685" y="-2262"/>
                        <a:pt x="3690138" y="3709"/>
                      </a:cubicBezTo>
                      <a:cubicBezTo>
                        <a:pt x="3697351" y="-944"/>
                        <a:pt x="3702650" y="2631"/>
                        <a:pt x="3712297" y="5990"/>
                      </a:cubicBezTo>
                      <a:cubicBezTo>
                        <a:pt x="3721171" y="9071"/>
                        <a:pt x="3726368" y="17779"/>
                        <a:pt x="3734253" y="20213"/>
                      </a:cubicBezTo>
                      <a:cubicBezTo>
                        <a:pt x="3741643" y="22470"/>
                        <a:pt x="3740655" y="16055"/>
                        <a:pt x="3748476" y="23294"/>
                      </a:cubicBezTo>
                      <a:cubicBezTo>
                        <a:pt x="3756614" y="30836"/>
                        <a:pt x="3757730" y="30748"/>
                        <a:pt x="3768834" y="34690"/>
                      </a:cubicBezTo>
                      <a:cubicBezTo>
                        <a:pt x="3774425" y="36693"/>
                        <a:pt x="3782081" y="43133"/>
                        <a:pt x="3787367" y="42638"/>
                      </a:cubicBezTo>
                      <a:cubicBezTo>
                        <a:pt x="3788534" y="42537"/>
                        <a:pt x="3788508" y="45414"/>
                        <a:pt x="3790904" y="44413"/>
                      </a:cubicBezTo>
                      <a:cubicBezTo>
                        <a:pt x="3792692" y="43665"/>
                        <a:pt x="3790803" y="40825"/>
                        <a:pt x="3790879" y="40813"/>
                      </a:cubicBezTo>
                      <a:cubicBezTo>
                        <a:pt x="3793630" y="39634"/>
                        <a:pt x="3793528" y="35362"/>
                        <a:pt x="3800982" y="34665"/>
                      </a:cubicBezTo>
                      <a:cubicBezTo>
                        <a:pt x="3814229" y="33422"/>
                        <a:pt x="3824687" y="45782"/>
                        <a:pt x="3835627" y="48976"/>
                      </a:cubicBezTo>
                      <a:cubicBezTo>
                        <a:pt x="3843284" y="51195"/>
                        <a:pt x="3851029" y="50675"/>
                        <a:pt x="3852766" y="61006"/>
                      </a:cubicBezTo>
                      <a:cubicBezTo>
                        <a:pt x="3852905" y="61830"/>
                        <a:pt x="3845350" y="63580"/>
                        <a:pt x="3847353" y="67116"/>
                      </a:cubicBezTo>
                      <a:cubicBezTo>
                        <a:pt x="3848608" y="69360"/>
                        <a:pt x="3859903" y="64366"/>
                        <a:pt x="3862172" y="65342"/>
                      </a:cubicBezTo>
                      <a:cubicBezTo>
                        <a:pt x="3864111" y="66166"/>
                        <a:pt x="3867103" y="76041"/>
                        <a:pt x="3871147" y="78373"/>
                      </a:cubicBezTo>
                      <a:cubicBezTo>
                        <a:pt x="3874417" y="80262"/>
                        <a:pt x="3877396" y="74748"/>
                        <a:pt x="3881174" y="80072"/>
                      </a:cubicBezTo>
                      <a:cubicBezTo>
                        <a:pt x="3872997" y="81771"/>
                        <a:pt x="3880451" y="84559"/>
                        <a:pt x="3878575" y="87462"/>
                      </a:cubicBezTo>
                      <a:cubicBezTo>
                        <a:pt x="3877371" y="89288"/>
                        <a:pt x="3871717" y="87652"/>
                        <a:pt x="3871869" y="91202"/>
                      </a:cubicBezTo>
                      <a:cubicBezTo>
                        <a:pt x="3872300" y="102142"/>
                        <a:pt x="3878753" y="94701"/>
                        <a:pt x="3885268" y="99987"/>
                      </a:cubicBezTo>
                      <a:cubicBezTo>
                        <a:pt x="3889857" y="103714"/>
                        <a:pt x="3885902" y="105286"/>
                        <a:pt x="3888323" y="108062"/>
                      </a:cubicBezTo>
                      <a:cubicBezTo>
                        <a:pt x="3889933" y="109925"/>
                        <a:pt x="3893191" y="107669"/>
                        <a:pt x="3894979" y="110597"/>
                      </a:cubicBezTo>
                      <a:cubicBezTo>
                        <a:pt x="3900252" y="119255"/>
                        <a:pt x="3894839" y="124528"/>
                        <a:pt x="3905956" y="127482"/>
                      </a:cubicBezTo>
                      <a:cubicBezTo>
                        <a:pt x="3881478" y="132756"/>
                        <a:pt x="3913220" y="137230"/>
                        <a:pt x="3914374" y="142897"/>
                      </a:cubicBezTo>
                      <a:cubicBezTo>
                        <a:pt x="3915793" y="149983"/>
                        <a:pt x="3907997" y="148981"/>
                        <a:pt x="3907313" y="152087"/>
                      </a:cubicBezTo>
                      <a:cubicBezTo>
                        <a:pt x="3905956" y="158464"/>
                        <a:pt x="3909823" y="161658"/>
                        <a:pt x="3913867" y="168072"/>
                      </a:cubicBezTo>
                      <a:cubicBezTo>
                        <a:pt x="3920851" y="179253"/>
                        <a:pt x="3924844" y="180508"/>
                        <a:pt x="3926949" y="190358"/>
                      </a:cubicBezTo>
                      <a:cubicBezTo>
                        <a:pt x="3927304" y="191968"/>
                        <a:pt x="3922601" y="194009"/>
                        <a:pt x="3923336" y="195593"/>
                      </a:cubicBezTo>
                      <a:cubicBezTo>
                        <a:pt x="3924528" y="198280"/>
                        <a:pt x="3929801" y="197330"/>
                        <a:pt x="3930587" y="199130"/>
                      </a:cubicBezTo>
                      <a:cubicBezTo>
                        <a:pt x="3930587" y="199142"/>
                        <a:pt x="3934314" y="204784"/>
                        <a:pt x="3933959" y="204276"/>
                      </a:cubicBezTo>
                      <a:cubicBezTo>
                        <a:pt x="3934086" y="204441"/>
                        <a:pt x="3931233" y="208434"/>
                        <a:pt x="3931956" y="209842"/>
                      </a:cubicBezTo>
                      <a:cubicBezTo>
                        <a:pt x="3933464" y="212960"/>
                        <a:pt x="3940525" y="211223"/>
                        <a:pt x="3940690" y="214380"/>
                      </a:cubicBezTo>
                      <a:cubicBezTo>
                        <a:pt x="3940943" y="219159"/>
                        <a:pt x="3934009" y="216687"/>
                        <a:pt x="3933680" y="220718"/>
                      </a:cubicBezTo>
                      <a:cubicBezTo>
                        <a:pt x="3932526" y="235613"/>
                        <a:pt x="3939841" y="220997"/>
                        <a:pt x="3940906" y="220921"/>
                      </a:cubicBezTo>
                      <a:cubicBezTo>
                        <a:pt x="3950324" y="220236"/>
                        <a:pt x="3940272" y="231227"/>
                        <a:pt x="3940703" y="238148"/>
                      </a:cubicBezTo>
                      <a:cubicBezTo>
                        <a:pt x="3941514" y="250127"/>
                        <a:pt x="3952200" y="254412"/>
                        <a:pt x="3958817" y="263032"/>
                      </a:cubicBezTo>
                      <a:cubicBezTo>
                        <a:pt x="3960934" y="265796"/>
                        <a:pt x="3966411" y="272806"/>
                        <a:pt x="3967869" y="275861"/>
                      </a:cubicBezTo>
                      <a:cubicBezTo>
                        <a:pt x="3969174" y="278523"/>
                        <a:pt x="3967514" y="280995"/>
                        <a:pt x="3968579" y="283175"/>
                      </a:cubicBezTo>
                      <a:cubicBezTo>
                        <a:pt x="3970087" y="286243"/>
                        <a:pt x="3973940" y="288347"/>
                        <a:pt x="3974296" y="291973"/>
                      </a:cubicBezTo>
                      <a:cubicBezTo>
                        <a:pt x="3974726" y="296866"/>
                        <a:pt x="3969605" y="298843"/>
                        <a:pt x="3969478" y="302963"/>
                      </a:cubicBezTo>
                      <a:cubicBezTo>
                        <a:pt x="3969390" y="305169"/>
                        <a:pt x="3972762" y="309961"/>
                        <a:pt x="3973839" y="312635"/>
                      </a:cubicBezTo>
                      <a:cubicBezTo>
                        <a:pt x="3976210" y="318505"/>
                        <a:pt x="3971190" y="317503"/>
                        <a:pt x="3979911" y="323474"/>
                      </a:cubicBezTo>
                      <a:cubicBezTo>
                        <a:pt x="3987162" y="328468"/>
                        <a:pt x="3990826" y="325122"/>
                        <a:pt x="3990509" y="333666"/>
                      </a:cubicBezTo>
                      <a:cubicBezTo>
                        <a:pt x="3990255" y="339396"/>
                        <a:pt x="3984361" y="343807"/>
                        <a:pt x="3983828" y="350272"/>
                      </a:cubicBezTo>
                      <a:cubicBezTo>
                        <a:pt x="3983879" y="349549"/>
                        <a:pt x="3985362" y="361858"/>
                        <a:pt x="3985185" y="361427"/>
                      </a:cubicBezTo>
                      <a:cubicBezTo>
                        <a:pt x="3988227" y="369629"/>
                        <a:pt x="3990116" y="366118"/>
                        <a:pt x="3996365" y="372418"/>
                      </a:cubicBezTo>
                      <a:cubicBezTo>
                        <a:pt x="4001157" y="377222"/>
                        <a:pt x="3999661" y="385221"/>
                        <a:pt x="4008801" y="387731"/>
                      </a:cubicBezTo>
                      <a:cubicBezTo>
                        <a:pt x="4012148" y="388644"/>
                        <a:pt x="4016711" y="386540"/>
                        <a:pt x="4018080" y="386907"/>
                      </a:cubicBezTo>
                      <a:cubicBezTo>
                        <a:pt x="4021870" y="387909"/>
                        <a:pt x="4023595" y="391648"/>
                        <a:pt x="4027157" y="392561"/>
                      </a:cubicBezTo>
                      <a:cubicBezTo>
                        <a:pt x="4036322" y="394944"/>
                        <a:pt x="4043395" y="390038"/>
                        <a:pt x="4050228" y="389164"/>
                      </a:cubicBezTo>
                      <a:cubicBezTo>
                        <a:pt x="4055831" y="388454"/>
                        <a:pt x="4077292" y="384334"/>
                        <a:pt x="4080449" y="390127"/>
                      </a:cubicBezTo>
                      <a:cubicBezTo>
                        <a:pt x="4082236" y="393398"/>
                        <a:pt x="4075758" y="395996"/>
                        <a:pt x="4076861" y="397340"/>
                      </a:cubicBezTo>
                      <a:cubicBezTo>
                        <a:pt x="4080715" y="402030"/>
                        <a:pt x="4081083" y="397061"/>
                        <a:pt x="4086305" y="398696"/>
                      </a:cubicBezTo>
                      <a:cubicBezTo>
                        <a:pt x="4091274" y="400256"/>
                        <a:pt x="4094089" y="403970"/>
                        <a:pt x="4097689" y="405871"/>
                      </a:cubicBezTo>
                      <a:cubicBezTo>
                        <a:pt x="4102886" y="408622"/>
                        <a:pt x="4101669" y="408292"/>
                        <a:pt x="4106588" y="409370"/>
                      </a:cubicBezTo>
                      <a:cubicBezTo>
                        <a:pt x="4105219" y="409066"/>
                        <a:pt x="4116412" y="408508"/>
                        <a:pt x="4115436" y="408685"/>
                      </a:cubicBezTo>
                      <a:cubicBezTo>
                        <a:pt x="4116856" y="408419"/>
                        <a:pt x="4118592" y="412121"/>
                        <a:pt x="4121267" y="411588"/>
                      </a:cubicBezTo>
                      <a:cubicBezTo>
                        <a:pt x="4123688" y="411107"/>
                        <a:pt x="4122167" y="405237"/>
                        <a:pt x="4122674" y="405085"/>
                      </a:cubicBezTo>
                      <a:cubicBezTo>
                        <a:pt x="4136745" y="401156"/>
                        <a:pt x="4129101" y="410283"/>
                        <a:pt x="4136175" y="416608"/>
                      </a:cubicBezTo>
                      <a:cubicBezTo>
                        <a:pt x="4139103" y="419245"/>
                        <a:pt x="4145695" y="418789"/>
                        <a:pt x="4149130" y="420792"/>
                      </a:cubicBezTo>
                      <a:cubicBezTo>
                        <a:pt x="4150106" y="421349"/>
                        <a:pt x="4150030" y="425419"/>
                        <a:pt x="4151057" y="426775"/>
                      </a:cubicBezTo>
                      <a:cubicBezTo>
                        <a:pt x="4152413" y="428537"/>
                        <a:pt x="4155963" y="427181"/>
                        <a:pt x="4157712" y="428930"/>
                      </a:cubicBezTo>
                      <a:cubicBezTo>
                        <a:pt x="4158359" y="429564"/>
                        <a:pt x="4158333" y="433329"/>
                        <a:pt x="4159018" y="434203"/>
                      </a:cubicBezTo>
                      <a:cubicBezTo>
                        <a:pt x="4160070" y="435471"/>
                        <a:pt x="4162111" y="436232"/>
                        <a:pt x="4163176" y="437550"/>
                      </a:cubicBezTo>
                      <a:cubicBezTo>
                        <a:pt x="4165141" y="440085"/>
                        <a:pt x="4166434" y="442190"/>
                        <a:pt x="4170465" y="445422"/>
                      </a:cubicBezTo>
                      <a:cubicBezTo>
                        <a:pt x="4184003" y="456260"/>
                        <a:pt x="4189492" y="455322"/>
                        <a:pt x="4204337" y="455601"/>
                      </a:cubicBezTo>
                      <a:cubicBezTo>
                        <a:pt x="4202651" y="455563"/>
                        <a:pt x="4215023" y="457782"/>
                        <a:pt x="4213438" y="456983"/>
                      </a:cubicBezTo>
                      <a:cubicBezTo>
                        <a:pt x="4218750" y="459658"/>
                        <a:pt x="4217926" y="453142"/>
                        <a:pt x="4217089" y="461356"/>
                      </a:cubicBezTo>
                      <a:cubicBezTo>
                        <a:pt x="4216442" y="467581"/>
                        <a:pt x="4207633" y="473830"/>
                        <a:pt x="4208406" y="480612"/>
                      </a:cubicBezTo>
                      <a:cubicBezTo>
                        <a:pt x="4208773" y="483540"/>
                        <a:pt x="4213387" y="483756"/>
                        <a:pt x="4214972" y="485974"/>
                      </a:cubicBezTo>
                      <a:cubicBezTo>
                        <a:pt x="4216392" y="487977"/>
                        <a:pt x="4216101" y="491527"/>
                        <a:pt x="4217672" y="493377"/>
                      </a:cubicBezTo>
                      <a:cubicBezTo>
                        <a:pt x="4217938" y="493682"/>
                        <a:pt x="4223224" y="490994"/>
                        <a:pt x="4225253" y="492984"/>
                      </a:cubicBezTo>
                      <a:cubicBezTo>
                        <a:pt x="4226558" y="494239"/>
                        <a:pt x="4223237" y="496889"/>
                        <a:pt x="4223859" y="497789"/>
                      </a:cubicBezTo>
                      <a:cubicBezTo>
                        <a:pt x="4229487" y="505750"/>
                        <a:pt x="4230539" y="509248"/>
                        <a:pt x="4225620" y="517475"/>
                      </a:cubicBezTo>
                      <a:cubicBezTo>
                        <a:pt x="4217926" y="530380"/>
                        <a:pt x="4216798" y="529835"/>
                        <a:pt x="4229056" y="542309"/>
                      </a:cubicBezTo>
                      <a:cubicBezTo>
                        <a:pt x="4234595" y="547950"/>
                        <a:pt x="4235888" y="551626"/>
                        <a:pt x="4238830" y="558332"/>
                      </a:cubicBezTo>
                      <a:cubicBezTo>
                        <a:pt x="4241263" y="563846"/>
                        <a:pt x="4237371" y="566217"/>
                        <a:pt x="4245434" y="568663"/>
                      </a:cubicBezTo>
                      <a:cubicBezTo>
                        <a:pt x="4255486" y="571731"/>
                        <a:pt x="4266325" y="560309"/>
                        <a:pt x="4276948" y="563238"/>
                      </a:cubicBezTo>
                      <a:cubicBezTo>
                        <a:pt x="4281296" y="564442"/>
                        <a:pt x="4283438" y="569373"/>
                        <a:pt x="4287266" y="570299"/>
                      </a:cubicBezTo>
                      <a:cubicBezTo>
                        <a:pt x="4289117" y="570729"/>
                        <a:pt x="4290207" y="568384"/>
                        <a:pt x="4291488" y="568562"/>
                      </a:cubicBezTo>
                      <a:cubicBezTo>
                        <a:pt x="4293605" y="568853"/>
                        <a:pt x="4300031" y="568663"/>
                        <a:pt x="4302770" y="568600"/>
                      </a:cubicBezTo>
                      <a:cubicBezTo>
                        <a:pt x="4310743" y="568410"/>
                        <a:pt x="4318856" y="569158"/>
                        <a:pt x="4327236" y="567738"/>
                      </a:cubicBezTo>
                      <a:cubicBezTo>
                        <a:pt x="4332395" y="566863"/>
                        <a:pt x="4336033" y="563631"/>
                        <a:pt x="4341395" y="563364"/>
                      </a:cubicBezTo>
                      <a:cubicBezTo>
                        <a:pt x="4346060" y="563136"/>
                        <a:pt x="4351283" y="567839"/>
                        <a:pt x="4355758" y="566014"/>
                      </a:cubicBezTo>
                      <a:cubicBezTo>
                        <a:pt x="4360499" y="564087"/>
                        <a:pt x="4362818" y="552995"/>
                        <a:pt x="4366723" y="548634"/>
                      </a:cubicBezTo>
                      <a:cubicBezTo>
                        <a:pt x="4368105" y="547050"/>
                        <a:pt x="4364162" y="544743"/>
                        <a:pt x="4367965" y="542613"/>
                      </a:cubicBezTo>
                      <a:cubicBezTo>
                        <a:pt x="4370361" y="541269"/>
                        <a:pt x="4375165" y="544223"/>
                        <a:pt x="4378613" y="543120"/>
                      </a:cubicBezTo>
                      <a:cubicBezTo>
                        <a:pt x="4386397" y="540610"/>
                        <a:pt x="4392811" y="529924"/>
                        <a:pt x="4401190" y="527756"/>
                      </a:cubicBezTo>
                      <a:cubicBezTo>
                        <a:pt x="4409557" y="525588"/>
                        <a:pt x="4419356" y="532687"/>
                        <a:pt x="4427215" y="530000"/>
                      </a:cubicBezTo>
                      <a:cubicBezTo>
                        <a:pt x="4434073" y="527655"/>
                        <a:pt x="4436989" y="520214"/>
                        <a:pt x="4443200" y="516867"/>
                      </a:cubicBezTo>
                      <a:cubicBezTo>
                        <a:pt x="4450413" y="512963"/>
                        <a:pt x="4461239" y="510972"/>
                        <a:pt x="4469225" y="507892"/>
                      </a:cubicBezTo>
                      <a:cubicBezTo>
                        <a:pt x="4475297" y="505534"/>
                        <a:pt x="4485451" y="502593"/>
                        <a:pt x="4491916" y="503088"/>
                      </a:cubicBezTo>
                      <a:cubicBezTo>
                        <a:pt x="4496936" y="503468"/>
                        <a:pt x="4499395" y="508982"/>
                        <a:pt x="4504935" y="505027"/>
                      </a:cubicBezTo>
                      <a:cubicBezTo>
                        <a:pt x="4506951" y="510516"/>
                        <a:pt x="4512148" y="514218"/>
                        <a:pt x="4517992" y="513863"/>
                      </a:cubicBezTo>
                      <a:cubicBezTo>
                        <a:pt x="4514759" y="518299"/>
                        <a:pt x="4516154" y="523598"/>
                        <a:pt x="4513859" y="528479"/>
                      </a:cubicBezTo>
                      <a:cubicBezTo>
                        <a:pt x="4510665" y="535248"/>
                        <a:pt x="4506139" y="532522"/>
                        <a:pt x="4507407" y="540952"/>
                      </a:cubicBezTo>
                      <a:cubicBezTo>
                        <a:pt x="4508370" y="547405"/>
                        <a:pt x="4514987" y="551791"/>
                        <a:pt x="4517738" y="559143"/>
                      </a:cubicBezTo>
                      <a:cubicBezTo>
                        <a:pt x="4521136" y="568131"/>
                        <a:pt x="4521731" y="561970"/>
                        <a:pt x="4516838" y="571173"/>
                      </a:cubicBezTo>
                      <a:cubicBezTo>
                        <a:pt x="4515469" y="573721"/>
                        <a:pt x="4515228" y="576459"/>
                        <a:pt x="4513415" y="579071"/>
                      </a:cubicBezTo>
                      <a:cubicBezTo>
                        <a:pt x="4506697" y="588794"/>
                        <a:pt x="4501943" y="588109"/>
                        <a:pt x="4493627" y="591696"/>
                      </a:cubicBezTo>
                      <a:cubicBezTo>
                        <a:pt x="4488582" y="593851"/>
                        <a:pt x="4480229" y="596450"/>
                        <a:pt x="4478111" y="602281"/>
                      </a:cubicBezTo>
                      <a:cubicBezTo>
                        <a:pt x="4475551" y="609355"/>
                        <a:pt x="4480051" y="611535"/>
                        <a:pt x="4479848" y="617924"/>
                      </a:cubicBezTo>
                      <a:cubicBezTo>
                        <a:pt x="4479582" y="625556"/>
                        <a:pt x="4473827" y="624275"/>
                        <a:pt x="4469961" y="633681"/>
                      </a:cubicBezTo>
                      <a:cubicBezTo>
                        <a:pt x="4466474" y="642212"/>
                        <a:pt x="4468756" y="650528"/>
                        <a:pt x="4466715" y="658768"/>
                      </a:cubicBezTo>
                      <a:cubicBezTo>
                        <a:pt x="4464256" y="668808"/>
                        <a:pt x="4453874" y="672573"/>
                        <a:pt x="4454052" y="683335"/>
                      </a:cubicBezTo>
                      <a:cubicBezTo>
                        <a:pt x="4454052" y="682828"/>
                        <a:pt x="4459325" y="688190"/>
                        <a:pt x="4459654" y="689230"/>
                      </a:cubicBezTo>
                      <a:cubicBezTo>
                        <a:pt x="4460656" y="692310"/>
                        <a:pt x="4449792" y="692855"/>
                        <a:pt x="4458628" y="695492"/>
                      </a:cubicBezTo>
                      <a:cubicBezTo>
                        <a:pt x="4456726" y="701463"/>
                        <a:pt x="4453253" y="702730"/>
                        <a:pt x="4450755" y="704442"/>
                      </a:cubicBezTo>
                      <a:cubicBezTo>
                        <a:pt x="4449361" y="705405"/>
                        <a:pt x="4445710" y="708498"/>
                        <a:pt x="4444531" y="710273"/>
                      </a:cubicBezTo>
                      <a:cubicBezTo>
                        <a:pt x="4441882" y="714253"/>
                        <a:pt x="4444988" y="713683"/>
                        <a:pt x="4443695" y="719362"/>
                      </a:cubicBezTo>
                      <a:cubicBezTo>
                        <a:pt x="4441679" y="728058"/>
                        <a:pt x="4423222" y="739277"/>
                        <a:pt x="4428736" y="744588"/>
                      </a:cubicBezTo>
                      <a:cubicBezTo>
                        <a:pt x="4426277" y="746439"/>
                        <a:pt x="4426125" y="748759"/>
                        <a:pt x="4423666" y="750901"/>
                      </a:cubicBezTo>
                      <a:cubicBezTo>
                        <a:pt x="4426784" y="753373"/>
                        <a:pt x="4427101" y="755629"/>
                        <a:pt x="4426201" y="758393"/>
                      </a:cubicBezTo>
                      <a:cubicBezTo>
                        <a:pt x="4413347" y="767038"/>
                        <a:pt x="4398693" y="770512"/>
                        <a:pt x="4398452" y="792480"/>
                      </a:cubicBezTo>
                      <a:cubicBezTo>
                        <a:pt x="4398338" y="800770"/>
                        <a:pt x="4402090" y="805271"/>
                        <a:pt x="4392735" y="810290"/>
                      </a:cubicBezTo>
                      <a:cubicBezTo>
                        <a:pt x="4379006" y="817630"/>
                        <a:pt x="4381580" y="806982"/>
                        <a:pt x="4376028" y="798413"/>
                      </a:cubicBezTo>
                      <a:cubicBezTo>
                        <a:pt x="4368852" y="787270"/>
                        <a:pt x="4350015" y="784367"/>
                        <a:pt x="4337846" y="785140"/>
                      </a:cubicBezTo>
                      <a:cubicBezTo>
                        <a:pt x="4330024" y="785622"/>
                        <a:pt x="4318907" y="795117"/>
                        <a:pt x="4314052" y="794052"/>
                      </a:cubicBezTo>
                      <a:cubicBezTo>
                        <a:pt x="4305799" y="792239"/>
                        <a:pt x="4311073" y="782491"/>
                        <a:pt x="4301667" y="787295"/>
                      </a:cubicBezTo>
                      <a:cubicBezTo>
                        <a:pt x="4299132" y="788588"/>
                        <a:pt x="4298422" y="794153"/>
                        <a:pt x="4296495" y="796067"/>
                      </a:cubicBezTo>
                      <a:cubicBezTo>
                        <a:pt x="4295278" y="797259"/>
                        <a:pt x="4292299" y="795636"/>
                        <a:pt x="4291538" y="796727"/>
                      </a:cubicBezTo>
                      <a:cubicBezTo>
                        <a:pt x="4290613" y="798045"/>
                        <a:pt x="4288800" y="803825"/>
                        <a:pt x="4288724" y="803901"/>
                      </a:cubicBezTo>
                      <a:cubicBezTo>
                        <a:pt x="4285973" y="807502"/>
                        <a:pt x="4283768" y="812826"/>
                        <a:pt x="4277962" y="815932"/>
                      </a:cubicBezTo>
                      <a:cubicBezTo>
                        <a:pt x="4273221" y="818441"/>
                        <a:pt x="4271078" y="817415"/>
                        <a:pt x="4265742" y="819253"/>
                      </a:cubicBezTo>
                      <a:cubicBezTo>
                        <a:pt x="4256893" y="822270"/>
                        <a:pt x="4249959" y="823221"/>
                        <a:pt x="4244255" y="828393"/>
                      </a:cubicBezTo>
                      <a:cubicBezTo>
                        <a:pt x="4238639" y="833489"/>
                        <a:pt x="4237422" y="826238"/>
                        <a:pt x="4240959" y="835948"/>
                      </a:cubicBezTo>
                      <a:cubicBezTo>
                        <a:pt x="4242797" y="840980"/>
                        <a:pt x="4248083" y="846102"/>
                        <a:pt x="4250036" y="852579"/>
                      </a:cubicBezTo>
                      <a:cubicBezTo>
                        <a:pt x="4254269" y="866726"/>
                        <a:pt x="4262484" y="888099"/>
                        <a:pt x="4262040" y="902132"/>
                      </a:cubicBezTo>
                      <a:cubicBezTo>
                        <a:pt x="4261863" y="907595"/>
                        <a:pt x="4256386" y="918244"/>
                        <a:pt x="4255664" y="925292"/>
                      </a:cubicBezTo>
                      <a:cubicBezTo>
                        <a:pt x="4255207" y="930286"/>
                        <a:pt x="4255778" y="939540"/>
                        <a:pt x="4256792" y="944269"/>
                      </a:cubicBezTo>
                      <a:cubicBezTo>
                        <a:pt x="4257096" y="945764"/>
                        <a:pt x="4254548" y="946893"/>
                        <a:pt x="4255385" y="949073"/>
                      </a:cubicBezTo>
                      <a:cubicBezTo>
                        <a:pt x="4256260" y="951355"/>
                        <a:pt x="4261559" y="951938"/>
                        <a:pt x="4262408" y="954232"/>
                      </a:cubicBezTo>
                      <a:cubicBezTo>
                        <a:pt x="4264474" y="960038"/>
                        <a:pt x="4262826" y="960938"/>
                        <a:pt x="4261191" y="965971"/>
                      </a:cubicBezTo>
                      <a:cubicBezTo>
                        <a:pt x="4260367" y="968532"/>
                        <a:pt x="4257844" y="973133"/>
                        <a:pt x="4257401" y="975047"/>
                      </a:cubicBezTo>
                      <a:cubicBezTo>
                        <a:pt x="4257045" y="976378"/>
                        <a:pt x="4257172" y="983046"/>
                        <a:pt x="4257071" y="983224"/>
                      </a:cubicBezTo>
                      <a:cubicBezTo>
                        <a:pt x="4255575" y="986038"/>
                        <a:pt x="4252976" y="987356"/>
                        <a:pt x="4251899" y="990399"/>
                      </a:cubicBezTo>
                      <a:cubicBezTo>
                        <a:pt x="4251582" y="991413"/>
                        <a:pt x="4250023" y="999589"/>
                        <a:pt x="4249731" y="1000071"/>
                      </a:cubicBezTo>
                      <a:cubicBezTo>
                        <a:pt x="4247779" y="1003760"/>
                        <a:pt x="4248502" y="1004508"/>
                        <a:pt x="4243177" y="1006954"/>
                      </a:cubicBezTo>
                      <a:cubicBezTo>
                        <a:pt x="4238436" y="1009147"/>
                        <a:pt x="4233632" y="1006827"/>
                        <a:pt x="4227826" y="1007233"/>
                      </a:cubicBezTo>
                      <a:cubicBezTo>
                        <a:pt x="4225975" y="1007372"/>
                        <a:pt x="4225164" y="1010060"/>
                        <a:pt x="4224404" y="1010161"/>
                      </a:cubicBezTo>
                      <a:cubicBezTo>
                        <a:pt x="4222185" y="1010427"/>
                        <a:pt x="4217444" y="1010415"/>
                        <a:pt x="4214757" y="1011378"/>
                      </a:cubicBezTo>
                      <a:cubicBezTo>
                        <a:pt x="4210168" y="1013013"/>
                        <a:pt x="4195970" y="1017539"/>
                        <a:pt x="4198176" y="1023446"/>
                      </a:cubicBezTo>
                      <a:cubicBezTo>
                        <a:pt x="4198455" y="1024207"/>
                        <a:pt x="4223985" y="1029366"/>
                        <a:pt x="4208330" y="1037390"/>
                      </a:cubicBezTo>
                      <a:cubicBezTo>
                        <a:pt x="4208456" y="1030596"/>
                        <a:pt x="4203449" y="1028048"/>
                        <a:pt x="4203728" y="1035235"/>
                      </a:cubicBezTo>
                      <a:cubicBezTo>
                        <a:pt x="4200914" y="1032447"/>
                        <a:pt x="4195412" y="1029138"/>
                        <a:pt x="4191571" y="1024321"/>
                      </a:cubicBezTo>
                      <a:cubicBezTo>
                        <a:pt x="4182583" y="1013128"/>
                        <a:pt x="4193054" y="1005839"/>
                        <a:pt x="4176435" y="1002631"/>
                      </a:cubicBezTo>
                      <a:cubicBezTo>
                        <a:pt x="4182406" y="994430"/>
                        <a:pt x="4174724" y="1000350"/>
                        <a:pt x="4170439" y="999120"/>
                      </a:cubicBezTo>
                      <a:cubicBezTo>
                        <a:pt x="4165698" y="997751"/>
                        <a:pt x="4165369" y="994176"/>
                        <a:pt x="4160248" y="996002"/>
                      </a:cubicBezTo>
                      <a:cubicBezTo>
                        <a:pt x="4160514" y="997003"/>
                        <a:pt x="4162085" y="997257"/>
                        <a:pt x="4162250" y="997764"/>
                      </a:cubicBezTo>
                      <a:cubicBezTo>
                        <a:pt x="4145403" y="1001288"/>
                        <a:pt x="4158523" y="1052666"/>
                        <a:pt x="4138938" y="1044705"/>
                      </a:cubicBezTo>
                      <a:cubicBezTo>
                        <a:pt x="4137151" y="1056595"/>
                        <a:pt x="4127948" y="1045491"/>
                        <a:pt x="4120329" y="1044933"/>
                      </a:cubicBezTo>
                      <a:cubicBezTo>
                        <a:pt x="4120380" y="1045402"/>
                        <a:pt x="4121229" y="1046999"/>
                        <a:pt x="4121229" y="1047139"/>
                      </a:cubicBezTo>
                      <a:cubicBezTo>
                        <a:pt x="4116704" y="1049230"/>
                        <a:pt x="4112634" y="1053046"/>
                        <a:pt x="4109516" y="1056202"/>
                      </a:cubicBezTo>
                      <a:cubicBezTo>
                        <a:pt x="4110010" y="1056963"/>
                        <a:pt x="4111025" y="1057153"/>
                        <a:pt x="4112026" y="1058028"/>
                      </a:cubicBezTo>
                      <a:cubicBezTo>
                        <a:pt x="4109136" y="1061108"/>
                        <a:pt x="4110099" y="1073848"/>
                        <a:pt x="4099971" y="1070755"/>
                      </a:cubicBezTo>
                      <a:cubicBezTo>
                        <a:pt x="4094634" y="1082519"/>
                        <a:pt x="4083314" y="1080262"/>
                        <a:pt x="4072703" y="1081860"/>
                      </a:cubicBezTo>
                      <a:cubicBezTo>
                        <a:pt x="4060648" y="1083685"/>
                        <a:pt x="4051572" y="1080909"/>
                        <a:pt x="4038756" y="1081885"/>
                      </a:cubicBezTo>
                      <a:cubicBezTo>
                        <a:pt x="4017231" y="1083546"/>
                        <a:pt x="4022897" y="1096679"/>
                        <a:pt x="4033026" y="1109723"/>
                      </a:cubicBezTo>
                      <a:cubicBezTo>
                        <a:pt x="4036398" y="1114045"/>
                        <a:pt x="4040416" y="1113728"/>
                        <a:pt x="4042178" y="1119141"/>
                      </a:cubicBezTo>
                      <a:cubicBezTo>
                        <a:pt x="4044283" y="1125429"/>
                        <a:pt x="4036778" y="1139284"/>
                        <a:pt x="4028944" y="1138993"/>
                      </a:cubicBezTo>
                      <a:cubicBezTo>
                        <a:pt x="4029312" y="1138575"/>
                        <a:pt x="4029667" y="1138156"/>
                        <a:pt x="4029996" y="1137738"/>
                      </a:cubicBezTo>
                      <a:cubicBezTo>
                        <a:pt x="4025597" y="1137941"/>
                        <a:pt x="4026916" y="1138334"/>
                        <a:pt x="4024989" y="1135342"/>
                      </a:cubicBezTo>
                      <a:cubicBezTo>
                        <a:pt x="4022821" y="1133948"/>
                        <a:pt x="4022403" y="1135431"/>
                        <a:pt x="4021376" y="1130956"/>
                      </a:cubicBezTo>
                      <a:cubicBezTo>
                        <a:pt x="4002209" y="1135190"/>
                        <a:pt x="3987695" y="1130538"/>
                        <a:pt x="3967235" y="1127952"/>
                      </a:cubicBezTo>
                      <a:cubicBezTo>
                        <a:pt x="3967260" y="1127647"/>
                        <a:pt x="3968553" y="1126887"/>
                        <a:pt x="3968705" y="1126139"/>
                      </a:cubicBezTo>
                      <a:cubicBezTo>
                        <a:pt x="3962760" y="1124719"/>
                        <a:pt x="3960237" y="1127685"/>
                        <a:pt x="3955052" y="1125087"/>
                      </a:cubicBezTo>
                      <a:cubicBezTo>
                        <a:pt x="3957005" y="1123882"/>
                        <a:pt x="3958247" y="1122070"/>
                        <a:pt x="3960605" y="1120903"/>
                      </a:cubicBezTo>
                      <a:cubicBezTo>
                        <a:pt x="3955813" y="1118698"/>
                        <a:pt x="3949386" y="1116289"/>
                        <a:pt x="3952999" y="1112486"/>
                      </a:cubicBezTo>
                      <a:cubicBezTo>
                        <a:pt x="3946775" y="1098669"/>
                        <a:pt x="3939232" y="1103765"/>
                        <a:pt x="3931690" y="1111168"/>
                      </a:cubicBezTo>
                      <a:cubicBezTo>
                        <a:pt x="3928229" y="1107999"/>
                        <a:pt x="3927291" y="1108633"/>
                        <a:pt x="3923615" y="1107631"/>
                      </a:cubicBezTo>
                      <a:cubicBezTo>
                        <a:pt x="3924578" y="1108328"/>
                        <a:pt x="3926290" y="1109786"/>
                        <a:pt x="3927177" y="1110699"/>
                      </a:cubicBezTo>
                      <a:cubicBezTo>
                        <a:pt x="3918151" y="1115085"/>
                        <a:pt x="3919508" y="1115731"/>
                        <a:pt x="3916060" y="1122957"/>
                      </a:cubicBezTo>
                      <a:cubicBezTo>
                        <a:pt x="3913575" y="1128205"/>
                        <a:pt x="3911864" y="1140527"/>
                        <a:pt x="3909430" y="1142048"/>
                      </a:cubicBezTo>
                      <a:cubicBezTo>
                        <a:pt x="3909379" y="1141351"/>
                        <a:pt x="3910609" y="1140806"/>
                        <a:pt x="3910456" y="1140146"/>
                      </a:cubicBezTo>
                      <a:cubicBezTo>
                        <a:pt x="3904055" y="1140920"/>
                        <a:pt x="3902521" y="1146890"/>
                        <a:pt x="3898984" y="1151416"/>
                      </a:cubicBezTo>
                      <a:cubicBezTo>
                        <a:pt x="3894471" y="1157158"/>
                        <a:pt x="3890035" y="1158946"/>
                        <a:pt x="3884939" y="1163813"/>
                      </a:cubicBezTo>
                      <a:cubicBezTo>
                        <a:pt x="3880578" y="1168022"/>
                        <a:pt x="3879741" y="1176705"/>
                        <a:pt x="3871971" y="1179786"/>
                      </a:cubicBezTo>
                      <a:cubicBezTo>
                        <a:pt x="3871705" y="1179583"/>
                        <a:pt x="3874455" y="1180141"/>
                        <a:pt x="3874531" y="1180166"/>
                      </a:cubicBezTo>
                      <a:cubicBezTo>
                        <a:pt x="3871464" y="1182663"/>
                        <a:pt x="3840533" y="1181396"/>
                        <a:pt x="3849964" y="1192424"/>
                      </a:cubicBezTo>
                      <a:cubicBezTo>
                        <a:pt x="3841319" y="1191043"/>
                        <a:pt x="3839912" y="1194047"/>
                        <a:pt x="3833269" y="1198991"/>
                      </a:cubicBezTo>
                      <a:cubicBezTo>
                        <a:pt x="3832141" y="1199815"/>
                        <a:pt x="3830531" y="1203922"/>
                        <a:pt x="3829618" y="1204366"/>
                      </a:cubicBezTo>
                      <a:cubicBezTo>
                        <a:pt x="3827882" y="1205190"/>
                        <a:pt x="3823090" y="1202452"/>
                        <a:pt x="3820555" y="1203136"/>
                      </a:cubicBezTo>
                      <a:cubicBezTo>
                        <a:pt x="3817702" y="1203909"/>
                        <a:pt x="3806078" y="1209665"/>
                        <a:pt x="3803175" y="1212225"/>
                      </a:cubicBezTo>
                      <a:cubicBezTo>
                        <a:pt x="3798776" y="1216066"/>
                        <a:pt x="3804481" y="1216599"/>
                        <a:pt x="3799981" y="1219679"/>
                      </a:cubicBezTo>
                      <a:cubicBezTo>
                        <a:pt x="3797293" y="1221530"/>
                        <a:pt x="3793427" y="1219020"/>
                        <a:pt x="3791779" y="1217283"/>
                      </a:cubicBezTo>
                      <a:cubicBezTo>
                        <a:pt x="3786341" y="1226461"/>
                        <a:pt x="3777062" y="1230936"/>
                        <a:pt x="3769265" y="1236539"/>
                      </a:cubicBezTo>
                      <a:cubicBezTo>
                        <a:pt x="3764854" y="1239695"/>
                        <a:pt x="3757286" y="1245260"/>
                        <a:pt x="3754054" y="1249735"/>
                      </a:cubicBezTo>
                      <a:cubicBezTo>
                        <a:pt x="3750960" y="1254058"/>
                        <a:pt x="3751823" y="1257873"/>
                        <a:pt x="3748096" y="1262995"/>
                      </a:cubicBezTo>
                      <a:cubicBezTo>
                        <a:pt x="3743076" y="1269992"/>
                        <a:pt x="3732313" y="1275329"/>
                        <a:pt x="3724099" y="1275544"/>
                      </a:cubicBezTo>
                      <a:cubicBezTo>
                        <a:pt x="3718610" y="1275697"/>
                        <a:pt x="3697973" y="1275316"/>
                        <a:pt x="3700204" y="1266290"/>
                      </a:cubicBezTo>
                      <a:cubicBezTo>
                        <a:pt x="3696528" y="1269815"/>
                        <a:pt x="3697225" y="1275899"/>
                        <a:pt x="3693257" y="1279360"/>
                      </a:cubicBezTo>
                      <a:cubicBezTo>
                        <a:pt x="3688237" y="1273643"/>
                        <a:pt x="3678501" y="1289970"/>
                        <a:pt x="3682469" y="1274530"/>
                      </a:cubicBezTo>
                      <a:cubicBezTo>
                        <a:pt x="3679655" y="1279182"/>
                        <a:pt x="3672632" y="1278777"/>
                        <a:pt x="3670287" y="1275177"/>
                      </a:cubicBezTo>
                      <a:cubicBezTo>
                        <a:pt x="3669881" y="1275316"/>
                        <a:pt x="3669501" y="1275544"/>
                        <a:pt x="3669235" y="1275861"/>
                      </a:cubicBezTo>
                      <a:cubicBezTo>
                        <a:pt x="3669907" y="1277053"/>
                        <a:pt x="3670515" y="1279297"/>
                        <a:pt x="3671238" y="1280628"/>
                      </a:cubicBezTo>
                      <a:cubicBezTo>
                        <a:pt x="3670122" y="1280691"/>
                        <a:pt x="3668297" y="1280323"/>
                        <a:pt x="3667143" y="1280564"/>
                      </a:cubicBezTo>
                      <a:cubicBezTo>
                        <a:pt x="3679541" y="1287853"/>
                        <a:pt x="3654987" y="1286408"/>
                        <a:pt x="3649967" y="1288234"/>
                      </a:cubicBezTo>
                      <a:cubicBezTo>
                        <a:pt x="3651387" y="1291859"/>
                        <a:pt x="3650169" y="1290845"/>
                        <a:pt x="3647571" y="1292239"/>
                      </a:cubicBezTo>
                      <a:cubicBezTo>
                        <a:pt x="3645302" y="1293456"/>
                        <a:pt x="3641600" y="1291948"/>
                        <a:pt x="3640447" y="1292404"/>
                      </a:cubicBezTo>
                      <a:cubicBezTo>
                        <a:pt x="3637708" y="1293494"/>
                        <a:pt x="3636111" y="1296816"/>
                        <a:pt x="3633462" y="1298045"/>
                      </a:cubicBezTo>
                      <a:cubicBezTo>
                        <a:pt x="3628847" y="1300187"/>
                        <a:pt x="3621622" y="1304890"/>
                        <a:pt x="3618592" y="1304193"/>
                      </a:cubicBezTo>
                      <a:cubicBezTo>
                        <a:pt x="3618263" y="1309695"/>
                        <a:pt x="3607830" y="1310088"/>
                        <a:pt x="3603190" y="1312763"/>
                      </a:cubicBezTo>
                      <a:cubicBezTo>
                        <a:pt x="3598069" y="1315704"/>
                        <a:pt x="3586457" y="1326288"/>
                        <a:pt x="3585418" y="1331968"/>
                      </a:cubicBezTo>
                      <a:cubicBezTo>
                        <a:pt x="3587319" y="1332005"/>
                        <a:pt x="3588092" y="1332576"/>
                        <a:pt x="3589703" y="1333083"/>
                      </a:cubicBezTo>
                      <a:cubicBezTo>
                        <a:pt x="3579473" y="1335783"/>
                        <a:pt x="3580398" y="1341919"/>
                        <a:pt x="3569458" y="1342007"/>
                      </a:cubicBezTo>
                      <a:cubicBezTo>
                        <a:pt x="3570675" y="1342971"/>
                        <a:pt x="3571093" y="1343972"/>
                        <a:pt x="3572019" y="1344898"/>
                      </a:cubicBezTo>
                      <a:cubicBezTo>
                        <a:pt x="3569509" y="1343630"/>
                        <a:pt x="3567455" y="1343351"/>
                        <a:pt x="3564907" y="1342540"/>
                      </a:cubicBezTo>
                      <a:cubicBezTo>
                        <a:pt x="3565541" y="1342895"/>
                        <a:pt x="3573426" y="1350513"/>
                        <a:pt x="3567772" y="1350171"/>
                      </a:cubicBezTo>
                      <a:cubicBezTo>
                        <a:pt x="3563576" y="1349918"/>
                        <a:pt x="3561789" y="1344074"/>
                        <a:pt x="3557327" y="1343085"/>
                      </a:cubicBezTo>
                      <a:cubicBezTo>
                        <a:pt x="3557504" y="1343402"/>
                        <a:pt x="3558429" y="1345062"/>
                        <a:pt x="3558379" y="1345557"/>
                      </a:cubicBezTo>
                      <a:cubicBezTo>
                        <a:pt x="3554981" y="1344479"/>
                        <a:pt x="3553866" y="1345950"/>
                        <a:pt x="3550760" y="1346089"/>
                      </a:cubicBezTo>
                      <a:cubicBezTo>
                        <a:pt x="3551026" y="1349157"/>
                        <a:pt x="3552116" y="1348434"/>
                        <a:pt x="3547185" y="1350830"/>
                      </a:cubicBezTo>
                      <a:cubicBezTo>
                        <a:pt x="3548390" y="1350843"/>
                        <a:pt x="3556490" y="1352351"/>
                        <a:pt x="3555793" y="1354963"/>
                      </a:cubicBezTo>
                      <a:cubicBezTo>
                        <a:pt x="3554576" y="1359425"/>
                        <a:pt x="3550938" y="1356243"/>
                        <a:pt x="3546222" y="1357549"/>
                      </a:cubicBezTo>
                      <a:cubicBezTo>
                        <a:pt x="3539757" y="1359324"/>
                        <a:pt x="3539440" y="1360325"/>
                        <a:pt x="3531859" y="1361440"/>
                      </a:cubicBezTo>
                      <a:cubicBezTo>
                        <a:pt x="3527334" y="1362087"/>
                        <a:pt x="3523087" y="1363279"/>
                        <a:pt x="3519880" y="1364965"/>
                      </a:cubicBezTo>
                      <a:cubicBezTo>
                        <a:pt x="3520527" y="1364850"/>
                        <a:pt x="3521186" y="1364850"/>
                        <a:pt x="3521883" y="1364965"/>
                      </a:cubicBezTo>
                      <a:cubicBezTo>
                        <a:pt x="3518917" y="1370352"/>
                        <a:pt x="3515050" y="1370339"/>
                        <a:pt x="3512249" y="1365586"/>
                      </a:cubicBezTo>
                      <a:cubicBezTo>
                        <a:pt x="3512629" y="1362353"/>
                        <a:pt x="3511919" y="1357206"/>
                        <a:pt x="3514746" y="1354354"/>
                      </a:cubicBezTo>
                      <a:cubicBezTo>
                        <a:pt x="3513314" y="1354354"/>
                        <a:pt x="3511881" y="1354354"/>
                        <a:pt x="3510436" y="1354354"/>
                      </a:cubicBezTo>
                      <a:cubicBezTo>
                        <a:pt x="3512198" y="1347915"/>
                        <a:pt x="3519969" y="1351147"/>
                        <a:pt x="3525344" y="1348498"/>
                      </a:cubicBezTo>
                      <a:cubicBezTo>
                        <a:pt x="3529476" y="1346444"/>
                        <a:pt x="3529210" y="1344961"/>
                        <a:pt x="3533976" y="1342857"/>
                      </a:cubicBezTo>
                      <a:cubicBezTo>
                        <a:pt x="3537906" y="1341107"/>
                        <a:pt x="3552877" y="1343972"/>
                        <a:pt x="3554424" y="1334731"/>
                      </a:cubicBezTo>
                      <a:cubicBezTo>
                        <a:pt x="3555337" y="1329318"/>
                        <a:pt x="3542875" y="1330979"/>
                        <a:pt x="3550583" y="1325363"/>
                      </a:cubicBezTo>
                      <a:cubicBezTo>
                        <a:pt x="3549531" y="1324514"/>
                        <a:pt x="3548351" y="1323969"/>
                        <a:pt x="3547388" y="1322955"/>
                      </a:cubicBezTo>
                      <a:cubicBezTo>
                        <a:pt x="3552560" y="1323119"/>
                        <a:pt x="3553993" y="1320153"/>
                        <a:pt x="3558341" y="1318176"/>
                      </a:cubicBezTo>
                      <a:cubicBezTo>
                        <a:pt x="3557238" y="1318670"/>
                        <a:pt x="3564020" y="1313954"/>
                        <a:pt x="3563969" y="1314005"/>
                      </a:cubicBezTo>
                      <a:cubicBezTo>
                        <a:pt x="3565794" y="1312763"/>
                        <a:pt x="3571080" y="1312813"/>
                        <a:pt x="3573489" y="1311305"/>
                      </a:cubicBezTo>
                      <a:cubicBezTo>
                        <a:pt x="3573185" y="1310798"/>
                        <a:pt x="3572906" y="1310278"/>
                        <a:pt x="3572627" y="1309771"/>
                      </a:cubicBezTo>
                      <a:cubicBezTo>
                        <a:pt x="3567759" y="1313206"/>
                        <a:pt x="3561852" y="1312243"/>
                        <a:pt x="3556097" y="1311622"/>
                      </a:cubicBezTo>
                      <a:cubicBezTo>
                        <a:pt x="3556338" y="1312319"/>
                        <a:pt x="3556579" y="1313016"/>
                        <a:pt x="3556807" y="1313713"/>
                      </a:cubicBezTo>
                      <a:cubicBezTo>
                        <a:pt x="3553853" y="1313916"/>
                        <a:pt x="3546159" y="1315818"/>
                        <a:pt x="3543496" y="1314423"/>
                      </a:cubicBezTo>
                      <a:cubicBezTo>
                        <a:pt x="3539085" y="1312129"/>
                        <a:pt x="3541012" y="1307553"/>
                        <a:pt x="3537868" y="1304903"/>
                      </a:cubicBezTo>
                      <a:cubicBezTo>
                        <a:pt x="3532050" y="1299985"/>
                        <a:pt x="3529274" y="1304155"/>
                        <a:pt x="3524253" y="1301442"/>
                      </a:cubicBezTo>
                      <a:cubicBezTo>
                        <a:pt x="3515013" y="1296410"/>
                        <a:pt x="3539934" y="1288791"/>
                        <a:pt x="3542622" y="1292442"/>
                      </a:cubicBezTo>
                      <a:cubicBezTo>
                        <a:pt x="3547071" y="1284608"/>
                        <a:pt x="3534103" y="1283315"/>
                        <a:pt x="3540733" y="1274923"/>
                      </a:cubicBezTo>
                      <a:cubicBezTo>
                        <a:pt x="3543560" y="1271310"/>
                        <a:pt x="3575163" y="1259990"/>
                        <a:pt x="3564907" y="1257417"/>
                      </a:cubicBezTo>
                      <a:cubicBezTo>
                        <a:pt x="3570586" y="1256111"/>
                        <a:pt x="3578851" y="1248188"/>
                        <a:pt x="3577038" y="1243156"/>
                      </a:cubicBezTo>
                      <a:cubicBezTo>
                        <a:pt x="3583035" y="1242611"/>
                        <a:pt x="3593620" y="1226359"/>
                        <a:pt x="3592758" y="1222252"/>
                      </a:cubicBezTo>
                      <a:cubicBezTo>
                        <a:pt x="3596903" y="1221555"/>
                        <a:pt x="3600782" y="1217701"/>
                        <a:pt x="3598741" y="1213024"/>
                      </a:cubicBezTo>
                      <a:cubicBezTo>
                        <a:pt x="3594786" y="1203897"/>
                        <a:pt x="3585912" y="1210755"/>
                        <a:pt x="3589499" y="1198357"/>
                      </a:cubicBezTo>
                      <a:cubicBezTo>
                        <a:pt x="3584809" y="1201501"/>
                        <a:pt x="3555691" y="1184616"/>
                        <a:pt x="3568456" y="1173207"/>
                      </a:cubicBezTo>
                      <a:cubicBezTo>
                        <a:pt x="3558911" y="1174563"/>
                        <a:pt x="3563132" y="1184996"/>
                        <a:pt x="3551445" y="1185655"/>
                      </a:cubicBezTo>
                      <a:cubicBezTo>
                        <a:pt x="3543357" y="1186099"/>
                        <a:pt x="3539415" y="1180090"/>
                        <a:pt x="3532924" y="1178911"/>
                      </a:cubicBezTo>
                      <a:cubicBezTo>
                        <a:pt x="3524469" y="1177365"/>
                        <a:pt x="3510702" y="1178962"/>
                        <a:pt x="3507457" y="1189991"/>
                      </a:cubicBezTo>
                      <a:cubicBezTo>
                        <a:pt x="3502868" y="1184476"/>
                        <a:pt x="3499699" y="1189686"/>
                        <a:pt x="3499293" y="1194960"/>
                      </a:cubicBezTo>
                      <a:cubicBezTo>
                        <a:pt x="3501727" y="1195150"/>
                        <a:pt x="3503464" y="1196455"/>
                        <a:pt x="3505302" y="1196810"/>
                      </a:cubicBezTo>
                      <a:cubicBezTo>
                        <a:pt x="3494831" y="1200385"/>
                        <a:pt x="3493297" y="1200892"/>
                        <a:pt x="3486769" y="1208460"/>
                      </a:cubicBezTo>
                      <a:cubicBezTo>
                        <a:pt x="3481115" y="1215077"/>
                        <a:pt x="3475094" y="1221479"/>
                        <a:pt x="3469681" y="1226118"/>
                      </a:cubicBezTo>
                      <a:cubicBezTo>
                        <a:pt x="3470809" y="1226245"/>
                        <a:pt x="3471963" y="1226042"/>
                        <a:pt x="3473294" y="1226004"/>
                      </a:cubicBezTo>
                      <a:cubicBezTo>
                        <a:pt x="3467006" y="1230568"/>
                        <a:pt x="3468806" y="1237375"/>
                        <a:pt x="3462075" y="1242497"/>
                      </a:cubicBezTo>
                      <a:cubicBezTo>
                        <a:pt x="3458805" y="1244956"/>
                        <a:pt x="3446622" y="1247517"/>
                        <a:pt x="3441831" y="1249456"/>
                      </a:cubicBezTo>
                      <a:cubicBezTo>
                        <a:pt x="3430244" y="1254184"/>
                        <a:pt x="3424350" y="1258165"/>
                        <a:pt x="3414487" y="1262551"/>
                      </a:cubicBezTo>
                      <a:cubicBezTo>
                        <a:pt x="3408517" y="1265213"/>
                        <a:pt x="3391695" y="1265581"/>
                        <a:pt x="3395118" y="1275443"/>
                      </a:cubicBezTo>
                      <a:cubicBezTo>
                        <a:pt x="3388437" y="1274555"/>
                        <a:pt x="3384114" y="1280006"/>
                        <a:pt x="3380781" y="1284862"/>
                      </a:cubicBezTo>
                      <a:cubicBezTo>
                        <a:pt x="3376902" y="1290439"/>
                        <a:pt x="3374594" y="1293786"/>
                        <a:pt x="3371375" y="1298324"/>
                      </a:cubicBezTo>
                      <a:cubicBezTo>
                        <a:pt x="3371641" y="1298438"/>
                        <a:pt x="3373327" y="1296549"/>
                        <a:pt x="3373859" y="1296537"/>
                      </a:cubicBezTo>
                      <a:cubicBezTo>
                        <a:pt x="3374049" y="1296701"/>
                        <a:pt x="3372389" y="1299110"/>
                        <a:pt x="3372858" y="1299541"/>
                      </a:cubicBezTo>
                      <a:cubicBezTo>
                        <a:pt x="3374214" y="1297525"/>
                        <a:pt x="3375824" y="1296828"/>
                        <a:pt x="3376699" y="1296169"/>
                      </a:cubicBezTo>
                      <a:cubicBezTo>
                        <a:pt x="3372642" y="1302723"/>
                        <a:pt x="3379919" y="1304307"/>
                        <a:pt x="3378131" y="1309353"/>
                      </a:cubicBezTo>
                      <a:cubicBezTo>
                        <a:pt x="3376255" y="1314715"/>
                        <a:pt x="3372934" y="1312433"/>
                        <a:pt x="3370602" y="1314626"/>
                      </a:cubicBezTo>
                      <a:cubicBezTo>
                        <a:pt x="3363389" y="1321484"/>
                        <a:pt x="3357722" y="1331397"/>
                        <a:pt x="3348088" y="1335048"/>
                      </a:cubicBezTo>
                      <a:cubicBezTo>
                        <a:pt x="3350053" y="1333451"/>
                        <a:pt x="3351789" y="1330801"/>
                        <a:pt x="3353691" y="1329103"/>
                      </a:cubicBezTo>
                      <a:cubicBezTo>
                        <a:pt x="3351840" y="1329965"/>
                        <a:pt x="3349076" y="1329965"/>
                        <a:pt x="3347061" y="1330877"/>
                      </a:cubicBezTo>
                      <a:cubicBezTo>
                        <a:pt x="3347010" y="1329965"/>
                        <a:pt x="3347010" y="1328228"/>
                        <a:pt x="3346592" y="1327353"/>
                      </a:cubicBezTo>
                      <a:cubicBezTo>
                        <a:pt x="3341737" y="1335885"/>
                        <a:pt x="3334904" y="1330877"/>
                        <a:pt x="3327260" y="1332158"/>
                      </a:cubicBezTo>
                      <a:cubicBezTo>
                        <a:pt x="3319629" y="1333425"/>
                        <a:pt x="3316942" y="1341500"/>
                        <a:pt x="3308055" y="1342616"/>
                      </a:cubicBezTo>
                      <a:cubicBezTo>
                        <a:pt x="3296634" y="1344061"/>
                        <a:pt x="3297445" y="1332766"/>
                        <a:pt x="3289142" y="1328329"/>
                      </a:cubicBezTo>
                      <a:cubicBezTo>
                        <a:pt x="3276998" y="1321852"/>
                        <a:pt x="3270748" y="1335390"/>
                        <a:pt x="3260924" y="1336176"/>
                      </a:cubicBezTo>
                      <a:cubicBezTo>
                        <a:pt x="3263142" y="1339092"/>
                        <a:pt x="3265209" y="1343237"/>
                        <a:pt x="3265399" y="1347382"/>
                      </a:cubicBezTo>
                      <a:cubicBezTo>
                        <a:pt x="3263840" y="1346660"/>
                        <a:pt x="3261659" y="1346964"/>
                        <a:pt x="3259961" y="1346165"/>
                      </a:cubicBezTo>
                      <a:cubicBezTo>
                        <a:pt x="3258972" y="1357409"/>
                        <a:pt x="3247081" y="1367196"/>
                        <a:pt x="3249934" y="1379035"/>
                      </a:cubicBezTo>
                      <a:cubicBezTo>
                        <a:pt x="3253800" y="1395274"/>
                        <a:pt x="3268517" y="1407444"/>
                        <a:pt x="3281181" y="1414428"/>
                      </a:cubicBezTo>
                      <a:cubicBezTo>
                        <a:pt x="3290612" y="1419626"/>
                        <a:pt x="3302757" y="1421286"/>
                        <a:pt x="3316498" y="1422541"/>
                      </a:cubicBezTo>
                      <a:cubicBezTo>
                        <a:pt x="3322443" y="1423086"/>
                        <a:pt x="3320732" y="1423784"/>
                        <a:pt x="3325701" y="1422820"/>
                      </a:cubicBezTo>
                      <a:cubicBezTo>
                        <a:pt x="3331444" y="1421717"/>
                        <a:pt x="3337554" y="1415328"/>
                        <a:pt x="3345185" y="1418954"/>
                      </a:cubicBezTo>
                      <a:cubicBezTo>
                        <a:pt x="3351434" y="1421908"/>
                        <a:pt x="3353729" y="1429361"/>
                        <a:pt x="3358521" y="1435471"/>
                      </a:cubicBezTo>
                      <a:cubicBezTo>
                        <a:pt x="3363616" y="1441924"/>
                        <a:pt x="3376750" y="1449732"/>
                        <a:pt x="3374797" y="1459303"/>
                      </a:cubicBezTo>
                      <a:cubicBezTo>
                        <a:pt x="3364859" y="1456476"/>
                        <a:pt x="3363972" y="1450164"/>
                        <a:pt x="3357215" y="1459303"/>
                      </a:cubicBezTo>
                      <a:cubicBezTo>
                        <a:pt x="3352943" y="1465084"/>
                        <a:pt x="3352297" y="1472550"/>
                        <a:pt x="3352170" y="1479636"/>
                      </a:cubicBezTo>
                      <a:cubicBezTo>
                        <a:pt x="3351853" y="1499158"/>
                        <a:pt x="3372896" y="1505420"/>
                        <a:pt x="3390453" y="1505230"/>
                      </a:cubicBezTo>
                      <a:cubicBezTo>
                        <a:pt x="3398236" y="1505154"/>
                        <a:pt x="3407845" y="1505078"/>
                        <a:pt x="3413968" y="1501478"/>
                      </a:cubicBezTo>
                      <a:cubicBezTo>
                        <a:pt x="3427405" y="1493631"/>
                        <a:pt x="3415362" y="1492947"/>
                        <a:pt x="3419812" y="1485493"/>
                      </a:cubicBezTo>
                      <a:cubicBezTo>
                        <a:pt x="3421054" y="1483439"/>
                        <a:pt x="3471786" y="1458390"/>
                        <a:pt x="3445798" y="1458238"/>
                      </a:cubicBezTo>
                      <a:cubicBezTo>
                        <a:pt x="3463520" y="1458479"/>
                        <a:pt x="3483384" y="1439274"/>
                        <a:pt x="3499167" y="1448211"/>
                      </a:cubicBezTo>
                      <a:cubicBezTo>
                        <a:pt x="3498964" y="1448097"/>
                        <a:pt x="3503211" y="1452914"/>
                        <a:pt x="3504605" y="1453840"/>
                      </a:cubicBezTo>
                      <a:cubicBezTo>
                        <a:pt x="3506772" y="1455259"/>
                        <a:pt x="3512667" y="1455247"/>
                        <a:pt x="3514378" y="1457288"/>
                      </a:cubicBezTo>
                      <a:cubicBezTo>
                        <a:pt x="3516622" y="1459988"/>
                        <a:pt x="3511108" y="1464133"/>
                        <a:pt x="3516445" y="1467327"/>
                      </a:cubicBezTo>
                      <a:cubicBezTo>
                        <a:pt x="3521338" y="1470256"/>
                        <a:pt x="3531441" y="1467112"/>
                        <a:pt x="3529945" y="1462156"/>
                      </a:cubicBezTo>
                      <a:cubicBezTo>
                        <a:pt x="3532011" y="1462764"/>
                        <a:pt x="3534090" y="1464044"/>
                        <a:pt x="3535561" y="1465641"/>
                      </a:cubicBezTo>
                      <a:cubicBezTo>
                        <a:pt x="3528006" y="1468037"/>
                        <a:pt x="3544916" y="1483224"/>
                        <a:pt x="3553764" y="1479041"/>
                      </a:cubicBezTo>
                      <a:cubicBezTo>
                        <a:pt x="3550393" y="1478052"/>
                        <a:pt x="3551711" y="1477418"/>
                        <a:pt x="3547185" y="1477811"/>
                      </a:cubicBezTo>
                      <a:cubicBezTo>
                        <a:pt x="3551724" y="1473387"/>
                        <a:pt x="3568381" y="1476455"/>
                        <a:pt x="3574554" y="1477279"/>
                      </a:cubicBezTo>
                      <a:cubicBezTo>
                        <a:pt x="3575378" y="1483706"/>
                        <a:pt x="3579777" y="1472842"/>
                        <a:pt x="3582667" y="1468544"/>
                      </a:cubicBezTo>
                      <a:cubicBezTo>
                        <a:pt x="3592517" y="1467949"/>
                        <a:pt x="3584569" y="1475808"/>
                        <a:pt x="3591236" y="1480803"/>
                      </a:cubicBezTo>
                      <a:cubicBezTo>
                        <a:pt x="3595166" y="1474819"/>
                        <a:pt x="3610859" y="1481424"/>
                        <a:pt x="3618364" y="1481994"/>
                      </a:cubicBezTo>
                      <a:cubicBezTo>
                        <a:pt x="3639534" y="1483591"/>
                        <a:pt x="3615816" y="1481234"/>
                        <a:pt x="3621685" y="1491235"/>
                      </a:cubicBezTo>
                      <a:cubicBezTo>
                        <a:pt x="3620963" y="1490843"/>
                        <a:pt x="3618960" y="1489664"/>
                        <a:pt x="3618339" y="1489156"/>
                      </a:cubicBezTo>
                      <a:cubicBezTo>
                        <a:pt x="3619378" y="1493352"/>
                        <a:pt x="3621609" y="1497269"/>
                        <a:pt x="3624208" y="1499906"/>
                      </a:cubicBezTo>
                      <a:cubicBezTo>
                        <a:pt x="3618554" y="1503139"/>
                        <a:pt x="3622471" y="1499957"/>
                        <a:pt x="3620164" y="1504001"/>
                      </a:cubicBezTo>
                      <a:cubicBezTo>
                        <a:pt x="3615436" y="1503646"/>
                        <a:pt x="3614827" y="1502961"/>
                        <a:pt x="3612039" y="1506904"/>
                      </a:cubicBezTo>
                      <a:cubicBezTo>
                        <a:pt x="3611886" y="1506498"/>
                        <a:pt x="3611912" y="1503963"/>
                        <a:pt x="3612039" y="1503392"/>
                      </a:cubicBezTo>
                      <a:cubicBezTo>
                        <a:pt x="3610467" y="1507233"/>
                        <a:pt x="3610910" y="1512291"/>
                        <a:pt x="3607969" y="1515701"/>
                      </a:cubicBezTo>
                      <a:cubicBezTo>
                        <a:pt x="3610467" y="1514015"/>
                        <a:pt x="3613433" y="1513508"/>
                        <a:pt x="3617629" y="1513888"/>
                      </a:cubicBezTo>
                      <a:cubicBezTo>
                        <a:pt x="3617882" y="1517932"/>
                        <a:pt x="3617020" y="1521951"/>
                        <a:pt x="3615220" y="1524854"/>
                      </a:cubicBezTo>
                      <a:cubicBezTo>
                        <a:pt x="3615220" y="1524866"/>
                        <a:pt x="3615677" y="1522090"/>
                        <a:pt x="3615626" y="1521760"/>
                      </a:cubicBezTo>
                      <a:cubicBezTo>
                        <a:pt x="3613965" y="1521786"/>
                        <a:pt x="3609604" y="1522356"/>
                        <a:pt x="3607703" y="1522813"/>
                      </a:cubicBezTo>
                      <a:cubicBezTo>
                        <a:pt x="3617223" y="1536833"/>
                        <a:pt x="3577862" y="1524663"/>
                        <a:pt x="3597372" y="1524854"/>
                      </a:cubicBezTo>
                      <a:cubicBezTo>
                        <a:pt x="3591477" y="1523700"/>
                        <a:pt x="3589081" y="1519517"/>
                        <a:pt x="3590007" y="1515042"/>
                      </a:cubicBezTo>
                      <a:cubicBezTo>
                        <a:pt x="3588828" y="1520810"/>
                        <a:pt x="3584987" y="1521330"/>
                        <a:pt x="3580195" y="1524854"/>
                      </a:cubicBezTo>
                      <a:cubicBezTo>
                        <a:pt x="3581082" y="1522825"/>
                        <a:pt x="3580829" y="1520290"/>
                        <a:pt x="3581716" y="1518325"/>
                      </a:cubicBezTo>
                      <a:cubicBezTo>
                        <a:pt x="3578636" y="1516867"/>
                        <a:pt x="3574655" y="1516614"/>
                        <a:pt x="3571436" y="1517438"/>
                      </a:cubicBezTo>
                      <a:cubicBezTo>
                        <a:pt x="3572348" y="1518667"/>
                        <a:pt x="3573020" y="1520138"/>
                        <a:pt x="3574009" y="1521393"/>
                      </a:cubicBezTo>
                      <a:cubicBezTo>
                        <a:pt x="3569078" y="1524245"/>
                        <a:pt x="3557352" y="1531179"/>
                        <a:pt x="3551800" y="1531775"/>
                      </a:cubicBezTo>
                      <a:cubicBezTo>
                        <a:pt x="3552218" y="1531014"/>
                        <a:pt x="3553777" y="1530076"/>
                        <a:pt x="3554348" y="1529531"/>
                      </a:cubicBezTo>
                      <a:cubicBezTo>
                        <a:pt x="3549657" y="1530317"/>
                        <a:pt x="3548922" y="1534412"/>
                        <a:pt x="3549999" y="1538177"/>
                      </a:cubicBezTo>
                      <a:cubicBezTo>
                        <a:pt x="3542343" y="1533334"/>
                        <a:pt x="3538654" y="1537492"/>
                        <a:pt x="3548694" y="1529341"/>
                      </a:cubicBezTo>
                      <a:cubicBezTo>
                        <a:pt x="3544853" y="1531357"/>
                        <a:pt x="3541037" y="1532447"/>
                        <a:pt x="3537767" y="1530710"/>
                      </a:cubicBezTo>
                      <a:cubicBezTo>
                        <a:pt x="3540175" y="1537974"/>
                        <a:pt x="3530414" y="1536237"/>
                        <a:pt x="3533482" y="1540534"/>
                      </a:cubicBezTo>
                      <a:cubicBezTo>
                        <a:pt x="3524634" y="1540141"/>
                        <a:pt x="3511666" y="1550257"/>
                        <a:pt x="3506202" y="1547963"/>
                      </a:cubicBezTo>
                      <a:cubicBezTo>
                        <a:pt x="3504111" y="1555467"/>
                        <a:pt x="3493171" y="1542385"/>
                        <a:pt x="3485223" y="1549890"/>
                      </a:cubicBezTo>
                      <a:cubicBezTo>
                        <a:pt x="3477465" y="1557179"/>
                        <a:pt x="3494996" y="1550942"/>
                        <a:pt x="3491409" y="1550143"/>
                      </a:cubicBezTo>
                      <a:cubicBezTo>
                        <a:pt x="3496226" y="1551233"/>
                        <a:pt x="3496467" y="1556025"/>
                        <a:pt x="3501106" y="1554403"/>
                      </a:cubicBezTo>
                      <a:cubicBezTo>
                        <a:pt x="3500840" y="1556938"/>
                        <a:pt x="3500384" y="1559397"/>
                        <a:pt x="3500105" y="1561869"/>
                      </a:cubicBezTo>
                      <a:cubicBezTo>
                        <a:pt x="3499306" y="1562389"/>
                        <a:pt x="3495009" y="1567827"/>
                        <a:pt x="3495098" y="1567802"/>
                      </a:cubicBezTo>
                      <a:cubicBezTo>
                        <a:pt x="3490927" y="1568486"/>
                        <a:pt x="3492727" y="1561920"/>
                        <a:pt x="3490471" y="1561831"/>
                      </a:cubicBezTo>
                      <a:cubicBezTo>
                        <a:pt x="3484652" y="1561615"/>
                        <a:pt x="3477528" y="1566420"/>
                        <a:pt x="3483245" y="1572707"/>
                      </a:cubicBezTo>
                      <a:cubicBezTo>
                        <a:pt x="3476311" y="1571148"/>
                        <a:pt x="3479455" y="1573709"/>
                        <a:pt x="3479074" y="1577664"/>
                      </a:cubicBezTo>
                      <a:cubicBezTo>
                        <a:pt x="3477997" y="1588617"/>
                        <a:pt x="3485502" y="1584002"/>
                        <a:pt x="3475753" y="1590290"/>
                      </a:cubicBezTo>
                      <a:cubicBezTo>
                        <a:pt x="3471468" y="1593053"/>
                        <a:pt x="3456738" y="1597680"/>
                        <a:pt x="3451452" y="1595284"/>
                      </a:cubicBezTo>
                      <a:cubicBezTo>
                        <a:pt x="3454850" y="1588959"/>
                        <a:pt x="3457955" y="1583419"/>
                        <a:pt x="3452517" y="1577436"/>
                      </a:cubicBezTo>
                      <a:cubicBezTo>
                        <a:pt x="3450590" y="1581492"/>
                        <a:pt x="3450223" y="1580440"/>
                        <a:pt x="3451959" y="1584383"/>
                      </a:cubicBezTo>
                      <a:cubicBezTo>
                        <a:pt x="3451604" y="1584839"/>
                        <a:pt x="3451262" y="1585270"/>
                        <a:pt x="3450920" y="1585701"/>
                      </a:cubicBezTo>
                      <a:cubicBezTo>
                        <a:pt x="3446965" y="1583432"/>
                        <a:pt x="3447700" y="1584864"/>
                        <a:pt x="3446065" y="1581835"/>
                      </a:cubicBezTo>
                      <a:cubicBezTo>
                        <a:pt x="3441869" y="1582037"/>
                        <a:pt x="3440158" y="1582215"/>
                        <a:pt x="3437064" y="1581467"/>
                      </a:cubicBezTo>
                      <a:cubicBezTo>
                        <a:pt x="3437445" y="1585485"/>
                        <a:pt x="3439562" y="1603448"/>
                        <a:pt x="3446889" y="1600494"/>
                      </a:cubicBezTo>
                      <a:cubicBezTo>
                        <a:pt x="3446889" y="1601242"/>
                        <a:pt x="3446863" y="1602003"/>
                        <a:pt x="3446825" y="1602763"/>
                      </a:cubicBezTo>
                      <a:cubicBezTo>
                        <a:pt x="3448587" y="1601673"/>
                        <a:pt x="3449652" y="1601166"/>
                        <a:pt x="3450932" y="1599569"/>
                      </a:cubicBezTo>
                      <a:cubicBezTo>
                        <a:pt x="3452961" y="1604614"/>
                        <a:pt x="3446128" y="1604728"/>
                        <a:pt x="3442807" y="1609710"/>
                      </a:cubicBezTo>
                      <a:cubicBezTo>
                        <a:pt x="3443213" y="1608392"/>
                        <a:pt x="3443276" y="1606541"/>
                        <a:pt x="3443834" y="1605070"/>
                      </a:cubicBezTo>
                      <a:cubicBezTo>
                        <a:pt x="3439752" y="1607796"/>
                        <a:pt x="3435873" y="1609482"/>
                        <a:pt x="3432716" y="1613665"/>
                      </a:cubicBezTo>
                      <a:cubicBezTo>
                        <a:pt x="3426746" y="1621525"/>
                        <a:pt x="3431905" y="1622399"/>
                        <a:pt x="3422461" y="1622590"/>
                      </a:cubicBezTo>
                      <a:cubicBezTo>
                        <a:pt x="3425884" y="1627064"/>
                        <a:pt x="3420293" y="1638017"/>
                        <a:pt x="3418024" y="1629156"/>
                      </a:cubicBezTo>
                      <a:cubicBezTo>
                        <a:pt x="3415869" y="1631260"/>
                        <a:pt x="3412865" y="1633415"/>
                        <a:pt x="3410900" y="1636014"/>
                      </a:cubicBezTo>
                      <a:cubicBezTo>
                        <a:pt x="3410697" y="1624922"/>
                        <a:pt x="3400429" y="1643823"/>
                        <a:pt x="3399022" y="1646675"/>
                      </a:cubicBezTo>
                      <a:cubicBezTo>
                        <a:pt x="3395067" y="1654674"/>
                        <a:pt x="3389768" y="1656246"/>
                        <a:pt x="3386067" y="1662559"/>
                      </a:cubicBezTo>
                      <a:cubicBezTo>
                        <a:pt x="3382936" y="1667921"/>
                        <a:pt x="3383899" y="1672713"/>
                        <a:pt x="3379982" y="1676794"/>
                      </a:cubicBezTo>
                      <a:cubicBezTo>
                        <a:pt x="3377332" y="1679507"/>
                        <a:pt x="3373428" y="1677694"/>
                        <a:pt x="3371147" y="1681028"/>
                      </a:cubicBezTo>
                      <a:cubicBezTo>
                        <a:pt x="3367407" y="1686378"/>
                        <a:pt x="3369828" y="1702895"/>
                        <a:pt x="3370944" y="1708055"/>
                      </a:cubicBezTo>
                      <a:cubicBezTo>
                        <a:pt x="3372921" y="1702287"/>
                        <a:pt x="3380641" y="1702857"/>
                        <a:pt x="3384571" y="1704581"/>
                      </a:cubicBezTo>
                      <a:cubicBezTo>
                        <a:pt x="3392697" y="1708169"/>
                        <a:pt x="3389515" y="1711097"/>
                        <a:pt x="3397349" y="1717435"/>
                      </a:cubicBezTo>
                      <a:cubicBezTo>
                        <a:pt x="3406729" y="1725054"/>
                        <a:pt x="3417872" y="1725878"/>
                        <a:pt x="3429319" y="1731012"/>
                      </a:cubicBezTo>
                      <a:cubicBezTo>
                        <a:pt x="3447117" y="1738985"/>
                        <a:pt x="3450083" y="1744741"/>
                        <a:pt x="3455978" y="1762019"/>
                      </a:cubicBezTo>
                      <a:cubicBezTo>
                        <a:pt x="3458107" y="1768294"/>
                        <a:pt x="3459743" y="1775481"/>
                        <a:pt x="3461745" y="1779753"/>
                      </a:cubicBezTo>
                      <a:cubicBezTo>
                        <a:pt x="3464116" y="1784874"/>
                        <a:pt x="3468731" y="1789045"/>
                        <a:pt x="3467678" y="1795396"/>
                      </a:cubicBezTo>
                      <a:cubicBezTo>
                        <a:pt x="3467944" y="1795130"/>
                        <a:pt x="3465942" y="1795675"/>
                        <a:pt x="3465587" y="1795941"/>
                      </a:cubicBezTo>
                      <a:cubicBezTo>
                        <a:pt x="3474359" y="1803978"/>
                        <a:pt x="3475665" y="1813447"/>
                        <a:pt x="3479658" y="1823398"/>
                      </a:cubicBezTo>
                      <a:cubicBezTo>
                        <a:pt x="3481635" y="1828393"/>
                        <a:pt x="3487035" y="1827163"/>
                        <a:pt x="3483841" y="1832602"/>
                      </a:cubicBezTo>
                      <a:cubicBezTo>
                        <a:pt x="3489926" y="1836392"/>
                        <a:pt x="3487834" y="1839498"/>
                        <a:pt x="3490407" y="1843427"/>
                      </a:cubicBezTo>
                      <a:cubicBezTo>
                        <a:pt x="3491231" y="1844670"/>
                        <a:pt x="3495681" y="1847382"/>
                        <a:pt x="3495655" y="1847294"/>
                      </a:cubicBezTo>
                      <a:cubicBezTo>
                        <a:pt x="3499433" y="1857587"/>
                        <a:pt x="3491992" y="1866663"/>
                        <a:pt x="3493450" y="1874878"/>
                      </a:cubicBezTo>
                      <a:cubicBezTo>
                        <a:pt x="3492068" y="1873889"/>
                        <a:pt x="3492284" y="1873154"/>
                        <a:pt x="3491966" y="1872038"/>
                      </a:cubicBezTo>
                      <a:cubicBezTo>
                        <a:pt x="3494121" y="1880392"/>
                        <a:pt x="3507178" y="1882230"/>
                        <a:pt x="3511235" y="1890584"/>
                      </a:cubicBezTo>
                      <a:cubicBezTo>
                        <a:pt x="3519982" y="1890330"/>
                        <a:pt x="3545702" y="1910359"/>
                        <a:pt x="3530440" y="1912350"/>
                      </a:cubicBezTo>
                      <a:cubicBezTo>
                        <a:pt x="3534762" y="1917522"/>
                        <a:pt x="3535244" y="1919930"/>
                        <a:pt x="3539858" y="1922364"/>
                      </a:cubicBezTo>
                      <a:cubicBezTo>
                        <a:pt x="3546260" y="1925749"/>
                        <a:pt x="3554170" y="1926142"/>
                        <a:pt x="3560267" y="1931656"/>
                      </a:cubicBezTo>
                      <a:cubicBezTo>
                        <a:pt x="3563919" y="1934926"/>
                        <a:pt x="3573007" y="1946285"/>
                        <a:pt x="3571955" y="1951292"/>
                      </a:cubicBezTo>
                      <a:cubicBezTo>
                        <a:pt x="3570193" y="1959874"/>
                        <a:pt x="3559368" y="1955564"/>
                        <a:pt x="3552142" y="1953041"/>
                      </a:cubicBezTo>
                      <a:cubicBezTo>
                        <a:pt x="3544992" y="1950506"/>
                        <a:pt x="3539732" y="1945866"/>
                        <a:pt x="3532620" y="1943318"/>
                      </a:cubicBezTo>
                      <a:cubicBezTo>
                        <a:pt x="3521097" y="1939198"/>
                        <a:pt x="3517370" y="1948351"/>
                        <a:pt x="3506722" y="1945942"/>
                      </a:cubicBezTo>
                      <a:cubicBezTo>
                        <a:pt x="3493855" y="1943052"/>
                        <a:pt x="3490217" y="1922237"/>
                        <a:pt x="3468426" y="1924570"/>
                      </a:cubicBezTo>
                      <a:cubicBezTo>
                        <a:pt x="3456459" y="1925863"/>
                        <a:pt x="3451731" y="1938907"/>
                        <a:pt x="3438839" y="1935636"/>
                      </a:cubicBezTo>
                      <a:cubicBezTo>
                        <a:pt x="3429851" y="1933355"/>
                        <a:pt x="3420484" y="1922998"/>
                        <a:pt x="3424109" y="1913503"/>
                      </a:cubicBezTo>
                      <a:cubicBezTo>
                        <a:pt x="3423577" y="1914035"/>
                        <a:pt x="3423019" y="1914568"/>
                        <a:pt x="3422499" y="1915088"/>
                      </a:cubicBezTo>
                      <a:cubicBezTo>
                        <a:pt x="3420103" y="1902855"/>
                        <a:pt x="3409201" y="1905885"/>
                        <a:pt x="3401228" y="1902310"/>
                      </a:cubicBezTo>
                      <a:cubicBezTo>
                        <a:pt x="3408365" y="1905251"/>
                        <a:pt x="3406641" y="1911880"/>
                        <a:pt x="3400733" y="1915189"/>
                      </a:cubicBezTo>
                      <a:cubicBezTo>
                        <a:pt x="3404625" y="1912692"/>
                        <a:pt x="3409480" y="1912172"/>
                        <a:pt x="3414221" y="1915050"/>
                      </a:cubicBezTo>
                      <a:cubicBezTo>
                        <a:pt x="3410735" y="1920551"/>
                        <a:pt x="3422816" y="1930008"/>
                        <a:pt x="3428280" y="1933785"/>
                      </a:cubicBezTo>
                      <a:cubicBezTo>
                        <a:pt x="3437939" y="1940466"/>
                        <a:pt x="3447751" y="1939059"/>
                        <a:pt x="3457905" y="1934267"/>
                      </a:cubicBezTo>
                      <a:cubicBezTo>
                        <a:pt x="3464788" y="1931035"/>
                        <a:pt x="3469555" y="1927143"/>
                        <a:pt x="3479379" y="1931352"/>
                      </a:cubicBezTo>
                      <a:cubicBezTo>
                        <a:pt x="3489634" y="1935725"/>
                        <a:pt x="3492372" y="1953586"/>
                        <a:pt x="3482865" y="1942570"/>
                      </a:cubicBezTo>
                      <a:cubicBezTo>
                        <a:pt x="3483942" y="1951343"/>
                        <a:pt x="3496923" y="1949644"/>
                        <a:pt x="3503565" y="1951837"/>
                      </a:cubicBezTo>
                      <a:cubicBezTo>
                        <a:pt x="3515684" y="1955855"/>
                        <a:pt x="3518955" y="1963499"/>
                        <a:pt x="3527422" y="1971524"/>
                      </a:cubicBezTo>
                      <a:cubicBezTo>
                        <a:pt x="3534762" y="1978445"/>
                        <a:pt x="3545360" y="1981322"/>
                        <a:pt x="3553295" y="1987179"/>
                      </a:cubicBezTo>
                      <a:cubicBezTo>
                        <a:pt x="3559684" y="1991869"/>
                        <a:pt x="3578141" y="2010694"/>
                        <a:pt x="3576024" y="2019390"/>
                      </a:cubicBezTo>
                      <a:cubicBezTo>
                        <a:pt x="3573983" y="2027668"/>
                        <a:pt x="3551483" y="2024917"/>
                        <a:pt x="3543839" y="2027364"/>
                      </a:cubicBezTo>
                      <a:cubicBezTo>
                        <a:pt x="3535041" y="2030203"/>
                        <a:pt x="3526928" y="2035527"/>
                        <a:pt x="3518803" y="2039596"/>
                      </a:cubicBezTo>
                      <a:cubicBezTo>
                        <a:pt x="3514987" y="2041498"/>
                        <a:pt x="3507166" y="2045377"/>
                        <a:pt x="3504402" y="2047735"/>
                      </a:cubicBezTo>
                      <a:cubicBezTo>
                        <a:pt x="3499103" y="2052248"/>
                        <a:pt x="3500295" y="2058675"/>
                        <a:pt x="3495972" y="2060931"/>
                      </a:cubicBezTo>
                      <a:cubicBezTo>
                        <a:pt x="3496289" y="2061679"/>
                        <a:pt x="3497544" y="2062288"/>
                        <a:pt x="3497468" y="2063086"/>
                      </a:cubicBezTo>
                      <a:cubicBezTo>
                        <a:pt x="3482155" y="2074977"/>
                        <a:pt x="3487403" y="2056418"/>
                        <a:pt x="3468667" y="2060678"/>
                      </a:cubicBezTo>
                      <a:cubicBezTo>
                        <a:pt x="3458234" y="2063061"/>
                        <a:pt x="3463926" y="2067143"/>
                        <a:pt x="3457309" y="2071427"/>
                      </a:cubicBezTo>
                      <a:cubicBezTo>
                        <a:pt x="3455268" y="2072758"/>
                        <a:pt x="3452910" y="2068182"/>
                        <a:pt x="3450932" y="2069184"/>
                      </a:cubicBezTo>
                      <a:cubicBezTo>
                        <a:pt x="3446978" y="2071199"/>
                        <a:pt x="3444493" y="2074051"/>
                        <a:pt x="3440703" y="2077246"/>
                      </a:cubicBezTo>
                      <a:cubicBezTo>
                        <a:pt x="3445393" y="2076282"/>
                        <a:pt x="3446876" y="2072378"/>
                        <a:pt x="3450932" y="2070857"/>
                      </a:cubicBezTo>
                      <a:cubicBezTo>
                        <a:pt x="3453607" y="2069817"/>
                        <a:pt x="3455268" y="2072872"/>
                        <a:pt x="3459718" y="2070717"/>
                      </a:cubicBezTo>
                      <a:cubicBezTo>
                        <a:pt x="3465143" y="2068106"/>
                        <a:pt x="3464889" y="2057268"/>
                        <a:pt x="3475791" y="2063238"/>
                      </a:cubicBezTo>
                      <a:cubicBezTo>
                        <a:pt x="3480190" y="2065621"/>
                        <a:pt x="3479467" y="2071833"/>
                        <a:pt x="3484082" y="2074558"/>
                      </a:cubicBezTo>
                      <a:cubicBezTo>
                        <a:pt x="3472724" y="2083774"/>
                        <a:pt x="3478960" y="2085042"/>
                        <a:pt x="3488379" y="2087945"/>
                      </a:cubicBezTo>
                      <a:cubicBezTo>
                        <a:pt x="3485261" y="2085397"/>
                        <a:pt x="3481255" y="2086233"/>
                        <a:pt x="3477579" y="2083039"/>
                      </a:cubicBezTo>
                      <a:cubicBezTo>
                        <a:pt x="3486617" y="2072340"/>
                        <a:pt x="3487314" y="2079680"/>
                        <a:pt x="3496986" y="2078932"/>
                      </a:cubicBezTo>
                      <a:cubicBezTo>
                        <a:pt x="3504960" y="2078311"/>
                        <a:pt x="3509600" y="2068689"/>
                        <a:pt x="3516128" y="2066521"/>
                      </a:cubicBezTo>
                      <a:cubicBezTo>
                        <a:pt x="3534699" y="2060373"/>
                        <a:pt x="3550076" y="2085486"/>
                        <a:pt x="3557098" y="2096438"/>
                      </a:cubicBezTo>
                      <a:cubicBezTo>
                        <a:pt x="3562651" y="2094765"/>
                        <a:pt x="3566644" y="2098809"/>
                        <a:pt x="3571765" y="2100431"/>
                      </a:cubicBezTo>
                      <a:cubicBezTo>
                        <a:pt x="3576329" y="2101889"/>
                        <a:pt x="3584176" y="2100685"/>
                        <a:pt x="3587763" y="2102548"/>
                      </a:cubicBezTo>
                      <a:cubicBezTo>
                        <a:pt x="3579473" y="2107720"/>
                        <a:pt x="3573045" y="2110940"/>
                        <a:pt x="3567557" y="2116175"/>
                      </a:cubicBezTo>
                      <a:cubicBezTo>
                        <a:pt x="3564197" y="2119408"/>
                        <a:pt x="3559279" y="2125581"/>
                        <a:pt x="3555184" y="2128041"/>
                      </a:cubicBezTo>
                      <a:cubicBezTo>
                        <a:pt x="3550405" y="2130906"/>
                        <a:pt x="3546970" y="2128320"/>
                        <a:pt x="3542990" y="2132630"/>
                      </a:cubicBezTo>
                      <a:cubicBezTo>
                        <a:pt x="3540150" y="2128903"/>
                        <a:pt x="3541227" y="2129803"/>
                        <a:pt x="3536512" y="2131501"/>
                      </a:cubicBezTo>
                      <a:cubicBezTo>
                        <a:pt x="3536081" y="2134252"/>
                        <a:pt x="3535929" y="2136673"/>
                        <a:pt x="3536461" y="2140223"/>
                      </a:cubicBezTo>
                      <a:cubicBezTo>
                        <a:pt x="3537234" y="2138854"/>
                        <a:pt x="3540315" y="2136217"/>
                        <a:pt x="3541050" y="2134734"/>
                      </a:cubicBezTo>
                      <a:cubicBezTo>
                        <a:pt x="3540175" y="2137713"/>
                        <a:pt x="3540834" y="2139006"/>
                        <a:pt x="3539567" y="2142200"/>
                      </a:cubicBezTo>
                      <a:cubicBezTo>
                        <a:pt x="3546247" y="2137320"/>
                        <a:pt x="3553258" y="2129258"/>
                        <a:pt x="3560217" y="2130956"/>
                      </a:cubicBezTo>
                      <a:cubicBezTo>
                        <a:pt x="3560407" y="2137358"/>
                        <a:pt x="3563715" y="2135178"/>
                        <a:pt x="3566390" y="2131489"/>
                      </a:cubicBezTo>
                      <a:cubicBezTo>
                        <a:pt x="3563969" y="2130690"/>
                        <a:pt x="3562549" y="2129346"/>
                        <a:pt x="3558784" y="2129841"/>
                      </a:cubicBezTo>
                      <a:cubicBezTo>
                        <a:pt x="3566416" y="2117507"/>
                        <a:pt x="3581919" y="2127318"/>
                        <a:pt x="3571043" y="2131451"/>
                      </a:cubicBezTo>
                      <a:cubicBezTo>
                        <a:pt x="3573946" y="2133732"/>
                        <a:pt x="3575264" y="2136990"/>
                        <a:pt x="3574503" y="2140781"/>
                      </a:cubicBezTo>
                      <a:cubicBezTo>
                        <a:pt x="3572272" y="2140045"/>
                        <a:pt x="3567100" y="2153013"/>
                        <a:pt x="3575746" y="2150681"/>
                      </a:cubicBezTo>
                      <a:cubicBezTo>
                        <a:pt x="3575720" y="2150998"/>
                        <a:pt x="3576633" y="2152798"/>
                        <a:pt x="3577001" y="2152861"/>
                      </a:cubicBezTo>
                      <a:cubicBezTo>
                        <a:pt x="3575720" y="2153913"/>
                        <a:pt x="3569344" y="2162863"/>
                        <a:pt x="3564311" y="2160543"/>
                      </a:cubicBezTo>
                      <a:cubicBezTo>
                        <a:pt x="3560141" y="2158629"/>
                        <a:pt x="3561700" y="2149667"/>
                        <a:pt x="3565883" y="2147943"/>
                      </a:cubicBezTo>
                      <a:cubicBezTo>
                        <a:pt x="3564096" y="2147157"/>
                        <a:pt x="3564945" y="2146219"/>
                        <a:pt x="3562854" y="2147943"/>
                      </a:cubicBezTo>
                      <a:cubicBezTo>
                        <a:pt x="3562498" y="2146485"/>
                        <a:pt x="3563132" y="2144976"/>
                        <a:pt x="3562854" y="2143519"/>
                      </a:cubicBezTo>
                      <a:cubicBezTo>
                        <a:pt x="3557682" y="2145978"/>
                        <a:pt x="3564083" y="2152735"/>
                        <a:pt x="3558619" y="2157564"/>
                      </a:cubicBezTo>
                      <a:cubicBezTo>
                        <a:pt x="3552205" y="2163193"/>
                        <a:pt x="3549087" y="2155194"/>
                        <a:pt x="3552129" y="2149451"/>
                      </a:cubicBezTo>
                      <a:cubicBezTo>
                        <a:pt x="3549493" y="2150377"/>
                        <a:pt x="3549214" y="2154015"/>
                        <a:pt x="3550228" y="2158388"/>
                      </a:cubicBezTo>
                      <a:cubicBezTo>
                        <a:pt x="3549264" y="2154978"/>
                        <a:pt x="3547236" y="2151061"/>
                        <a:pt x="3545322" y="2149109"/>
                      </a:cubicBezTo>
                      <a:cubicBezTo>
                        <a:pt x="3544688" y="2150047"/>
                        <a:pt x="3546222" y="2150592"/>
                        <a:pt x="3546197" y="2151226"/>
                      </a:cubicBezTo>
                      <a:cubicBezTo>
                        <a:pt x="3546247" y="2151226"/>
                        <a:pt x="3542241" y="2151543"/>
                        <a:pt x="3542584" y="2151226"/>
                      </a:cubicBezTo>
                      <a:cubicBezTo>
                        <a:pt x="3542761" y="2154370"/>
                        <a:pt x="3541481" y="2156246"/>
                        <a:pt x="3540949" y="2159123"/>
                      </a:cubicBezTo>
                      <a:cubicBezTo>
                        <a:pt x="3538641" y="2158883"/>
                        <a:pt x="3540949" y="2158338"/>
                        <a:pt x="3539212" y="2157678"/>
                      </a:cubicBezTo>
                      <a:cubicBezTo>
                        <a:pt x="3536068" y="2159415"/>
                        <a:pt x="3537348" y="2159453"/>
                        <a:pt x="3533926" y="2160569"/>
                      </a:cubicBezTo>
                      <a:cubicBezTo>
                        <a:pt x="3534762" y="2160936"/>
                        <a:pt x="3535675" y="2161304"/>
                        <a:pt x="3536499" y="2161671"/>
                      </a:cubicBezTo>
                      <a:cubicBezTo>
                        <a:pt x="3535485" y="2162508"/>
                        <a:pt x="3536955" y="2162559"/>
                        <a:pt x="3537450" y="2162749"/>
                      </a:cubicBezTo>
                      <a:cubicBezTo>
                        <a:pt x="3535916" y="2163370"/>
                        <a:pt x="3534813" y="2164258"/>
                        <a:pt x="3533419" y="2164942"/>
                      </a:cubicBezTo>
                      <a:cubicBezTo>
                        <a:pt x="3538908" y="2165297"/>
                        <a:pt x="3548339" y="2161900"/>
                        <a:pt x="3549784" y="2167097"/>
                      </a:cubicBezTo>
                      <a:cubicBezTo>
                        <a:pt x="3550608" y="2170038"/>
                        <a:pt x="3543205" y="2166590"/>
                        <a:pt x="3543484" y="2172003"/>
                      </a:cubicBezTo>
                      <a:cubicBezTo>
                        <a:pt x="3544916" y="2168834"/>
                        <a:pt x="3550709" y="2168745"/>
                        <a:pt x="3554715" y="2172092"/>
                      </a:cubicBezTo>
                      <a:cubicBezTo>
                        <a:pt x="3552129" y="2175400"/>
                        <a:pt x="3552395" y="2176490"/>
                        <a:pt x="3556769" y="2177555"/>
                      </a:cubicBezTo>
                      <a:cubicBezTo>
                        <a:pt x="3553714" y="2180851"/>
                        <a:pt x="3550076" y="2180002"/>
                        <a:pt x="3547135" y="2176414"/>
                      </a:cubicBezTo>
                      <a:cubicBezTo>
                        <a:pt x="3545068" y="2177593"/>
                        <a:pt x="3543256" y="2178278"/>
                        <a:pt x="3540061" y="2179190"/>
                      </a:cubicBezTo>
                      <a:cubicBezTo>
                        <a:pt x="3543458" y="2181079"/>
                        <a:pt x="3549847" y="2180978"/>
                        <a:pt x="3549784" y="2186074"/>
                      </a:cubicBezTo>
                      <a:cubicBezTo>
                        <a:pt x="3550988" y="2186644"/>
                        <a:pt x="3551977" y="2185681"/>
                        <a:pt x="3553245" y="2187418"/>
                      </a:cubicBezTo>
                      <a:cubicBezTo>
                        <a:pt x="3552687" y="2188001"/>
                        <a:pt x="3551026" y="2188597"/>
                        <a:pt x="3550709" y="2189053"/>
                      </a:cubicBezTo>
                      <a:cubicBezTo>
                        <a:pt x="3551217" y="2189788"/>
                        <a:pt x="3552712" y="2189142"/>
                        <a:pt x="3552687" y="2190206"/>
                      </a:cubicBezTo>
                      <a:cubicBezTo>
                        <a:pt x="3539808" y="2205469"/>
                        <a:pt x="3526523" y="2192159"/>
                        <a:pt x="3514264" y="2185782"/>
                      </a:cubicBezTo>
                      <a:cubicBezTo>
                        <a:pt x="3517928" y="2189497"/>
                        <a:pt x="3529375" y="2194985"/>
                        <a:pt x="3522834" y="2199410"/>
                      </a:cubicBezTo>
                      <a:cubicBezTo>
                        <a:pt x="3539415" y="2195936"/>
                        <a:pt x="3538337" y="2201336"/>
                        <a:pt x="3546729" y="2213011"/>
                      </a:cubicBezTo>
                      <a:cubicBezTo>
                        <a:pt x="3544891" y="2213138"/>
                        <a:pt x="3542799" y="2214102"/>
                        <a:pt x="3541557" y="2214228"/>
                      </a:cubicBezTo>
                      <a:cubicBezTo>
                        <a:pt x="3544397" y="2213721"/>
                        <a:pt x="3546095" y="2214786"/>
                        <a:pt x="3548643" y="2215217"/>
                      </a:cubicBezTo>
                      <a:cubicBezTo>
                        <a:pt x="3546159" y="2222303"/>
                        <a:pt x="3556933" y="2227108"/>
                        <a:pt x="3546476" y="2232508"/>
                      </a:cubicBezTo>
                      <a:cubicBezTo>
                        <a:pt x="3546247" y="2224382"/>
                        <a:pt x="3536867" y="2227526"/>
                        <a:pt x="3533216" y="2229453"/>
                      </a:cubicBezTo>
                      <a:cubicBezTo>
                        <a:pt x="3534293" y="2232723"/>
                        <a:pt x="3532962" y="2234879"/>
                        <a:pt x="3529895" y="2238263"/>
                      </a:cubicBezTo>
                      <a:cubicBezTo>
                        <a:pt x="3530465" y="2238187"/>
                        <a:pt x="3530947" y="2237997"/>
                        <a:pt x="3531403" y="2237705"/>
                      </a:cubicBezTo>
                      <a:cubicBezTo>
                        <a:pt x="3529134" y="2245869"/>
                        <a:pt x="3524596" y="2236805"/>
                        <a:pt x="3520362" y="2234219"/>
                      </a:cubicBezTo>
                      <a:cubicBezTo>
                        <a:pt x="3522111" y="2229808"/>
                        <a:pt x="3521756" y="2230632"/>
                        <a:pt x="3518727" y="2226816"/>
                      </a:cubicBezTo>
                      <a:cubicBezTo>
                        <a:pt x="3520032" y="2226322"/>
                        <a:pt x="3521617" y="2224496"/>
                        <a:pt x="3523290" y="2224091"/>
                      </a:cubicBezTo>
                      <a:cubicBezTo>
                        <a:pt x="3520818" y="2223508"/>
                        <a:pt x="3518853" y="2223381"/>
                        <a:pt x="3516217" y="2222595"/>
                      </a:cubicBezTo>
                      <a:cubicBezTo>
                        <a:pt x="3515481" y="2228337"/>
                        <a:pt x="3510271" y="2230784"/>
                        <a:pt x="3505568" y="2228971"/>
                      </a:cubicBezTo>
                      <a:cubicBezTo>
                        <a:pt x="3513821" y="2229998"/>
                        <a:pt x="3513250" y="2232330"/>
                        <a:pt x="3510614" y="2239265"/>
                      </a:cubicBezTo>
                      <a:cubicBezTo>
                        <a:pt x="3510297" y="2240013"/>
                        <a:pt x="3502462" y="2252993"/>
                        <a:pt x="3501727" y="2253538"/>
                      </a:cubicBezTo>
                      <a:cubicBezTo>
                        <a:pt x="3495161" y="2258279"/>
                        <a:pt x="3472508" y="2248354"/>
                        <a:pt x="3471126" y="2244259"/>
                      </a:cubicBezTo>
                      <a:cubicBezTo>
                        <a:pt x="3471722" y="2256314"/>
                        <a:pt x="3491409" y="2249926"/>
                        <a:pt x="3493576" y="2260954"/>
                      </a:cubicBezTo>
                      <a:cubicBezTo>
                        <a:pt x="3494552" y="2266037"/>
                        <a:pt x="3483131" y="2280197"/>
                        <a:pt x="3476742" y="2272046"/>
                      </a:cubicBezTo>
                      <a:cubicBezTo>
                        <a:pt x="3482814" y="2279867"/>
                        <a:pt x="3475905" y="2283277"/>
                        <a:pt x="3475157" y="2290604"/>
                      </a:cubicBezTo>
                      <a:cubicBezTo>
                        <a:pt x="3474752" y="2294521"/>
                        <a:pt x="3479569" y="2291378"/>
                        <a:pt x="3477579" y="2297348"/>
                      </a:cubicBezTo>
                      <a:cubicBezTo>
                        <a:pt x="3476121" y="2301709"/>
                        <a:pt x="3477388" y="2304650"/>
                        <a:pt x="3470125" y="2300619"/>
                      </a:cubicBezTo>
                      <a:cubicBezTo>
                        <a:pt x="3469402" y="2301646"/>
                        <a:pt x="3467450" y="2305043"/>
                        <a:pt x="3467120" y="2305715"/>
                      </a:cubicBezTo>
                      <a:cubicBezTo>
                        <a:pt x="3472128" y="2308161"/>
                        <a:pt x="3468439" y="2316072"/>
                        <a:pt x="3464382" y="2318125"/>
                      </a:cubicBezTo>
                      <a:cubicBezTo>
                        <a:pt x="3462164" y="2314411"/>
                        <a:pt x="3461010" y="2313764"/>
                        <a:pt x="3461479" y="2318797"/>
                      </a:cubicBezTo>
                      <a:cubicBezTo>
                        <a:pt x="3458411" y="2312395"/>
                        <a:pt x="3449449" y="2314740"/>
                        <a:pt x="3453379" y="2309569"/>
                      </a:cubicBezTo>
                      <a:cubicBezTo>
                        <a:pt x="3453062" y="2309125"/>
                        <a:pt x="3451693" y="2309492"/>
                        <a:pt x="3451871" y="2308985"/>
                      </a:cubicBezTo>
                      <a:cubicBezTo>
                        <a:pt x="3451947" y="2310177"/>
                        <a:pt x="3453556" y="2305842"/>
                        <a:pt x="3452834" y="2307401"/>
                      </a:cubicBezTo>
                      <a:cubicBezTo>
                        <a:pt x="3449931" y="2307730"/>
                        <a:pt x="3452010" y="2307401"/>
                        <a:pt x="3449297" y="2306869"/>
                      </a:cubicBezTo>
                      <a:cubicBezTo>
                        <a:pt x="3449297" y="2306869"/>
                        <a:pt x="3449500" y="2308706"/>
                        <a:pt x="3449830" y="2308478"/>
                      </a:cubicBezTo>
                      <a:cubicBezTo>
                        <a:pt x="3448524" y="2309404"/>
                        <a:pt x="3447662" y="2307794"/>
                        <a:pt x="3446318" y="2307895"/>
                      </a:cubicBezTo>
                      <a:cubicBezTo>
                        <a:pt x="3447155" y="2310912"/>
                        <a:pt x="3447206" y="2308250"/>
                        <a:pt x="3446470" y="2311280"/>
                      </a:cubicBezTo>
                      <a:cubicBezTo>
                        <a:pt x="3445558" y="2310773"/>
                        <a:pt x="3445279" y="2309569"/>
                        <a:pt x="3444252" y="2308985"/>
                      </a:cubicBezTo>
                      <a:cubicBezTo>
                        <a:pt x="3442160" y="2315019"/>
                        <a:pt x="3443745" y="2313333"/>
                        <a:pt x="3445279" y="2313942"/>
                      </a:cubicBezTo>
                      <a:cubicBezTo>
                        <a:pt x="3447421" y="2314804"/>
                        <a:pt x="3454330" y="2314234"/>
                        <a:pt x="3455509" y="2313346"/>
                      </a:cubicBezTo>
                      <a:cubicBezTo>
                        <a:pt x="3455534" y="2315882"/>
                        <a:pt x="3456599" y="2315083"/>
                        <a:pt x="3455509" y="2318265"/>
                      </a:cubicBezTo>
                      <a:cubicBezTo>
                        <a:pt x="3457803" y="2318861"/>
                        <a:pt x="3458944" y="2320001"/>
                        <a:pt x="3460960" y="2320914"/>
                      </a:cubicBezTo>
                      <a:cubicBezTo>
                        <a:pt x="3459679" y="2320990"/>
                        <a:pt x="3458665" y="2320673"/>
                        <a:pt x="3457448" y="2320914"/>
                      </a:cubicBezTo>
                      <a:cubicBezTo>
                        <a:pt x="3458285" y="2321104"/>
                        <a:pt x="3459109" y="2321307"/>
                        <a:pt x="3459945" y="2321497"/>
                      </a:cubicBezTo>
                      <a:cubicBezTo>
                        <a:pt x="3458881" y="2322435"/>
                        <a:pt x="3457905" y="2322283"/>
                        <a:pt x="3456941" y="2322638"/>
                      </a:cubicBezTo>
                      <a:cubicBezTo>
                        <a:pt x="3458031" y="2323716"/>
                        <a:pt x="3458285" y="2323183"/>
                        <a:pt x="3459008" y="2324159"/>
                      </a:cubicBezTo>
                      <a:cubicBezTo>
                        <a:pt x="3455255" y="2325287"/>
                        <a:pt x="3450793" y="2323994"/>
                        <a:pt x="3447802" y="2322030"/>
                      </a:cubicBezTo>
                      <a:cubicBezTo>
                        <a:pt x="3449006" y="2323513"/>
                        <a:pt x="3449335" y="2325921"/>
                        <a:pt x="3450337" y="2327506"/>
                      </a:cubicBezTo>
                      <a:cubicBezTo>
                        <a:pt x="3447827" y="2327316"/>
                        <a:pt x="3448511" y="2328723"/>
                        <a:pt x="3445798" y="2329610"/>
                      </a:cubicBezTo>
                      <a:cubicBezTo>
                        <a:pt x="3450945" y="2333274"/>
                        <a:pt x="3446331" y="2335124"/>
                        <a:pt x="3440791" y="2333971"/>
                      </a:cubicBezTo>
                      <a:cubicBezTo>
                        <a:pt x="3442820" y="2334148"/>
                        <a:pt x="3446166" y="2335771"/>
                        <a:pt x="3447802" y="2336088"/>
                      </a:cubicBezTo>
                      <a:cubicBezTo>
                        <a:pt x="3446661" y="2339308"/>
                        <a:pt x="3436050" y="2341691"/>
                        <a:pt x="3432159" y="2340461"/>
                      </a:cubicBezTo>
                      <a:cubicBezTo>
                        <a:pt x="3432742" y="2340740"/>
                        <a:pt x="3433312" y="2341019"/>
                        <a:pt x="3433895" y="2341285"/>
                      </a:cubicBezTo>
                      <a:cubicBezTo>
                        <a:pt x="3430042" y="2345773"/>
                        <a:pt x="3434123" y="2347940"/>
                        <a:pt x="3439270" y="2348600"/>
                      </a:cubicBezTo>
                      <a:cubicBezTo>
                        <a:pt x="3437508" y="2353670"/>
                        <a:pt x="3436925" y="2351376"/>
                        <a:pt x="3440804" y="2354583"/>
                      </a:cubicBezTo>
                      <a:cubicBezTo>
                        <a:pt x="3437077" y="2357714"/>
                        <a:pt x="3437483" y="2357093"/>
                        <a:pt x="3439726" y="2359920"/>
                      </a:cubicBezTo>
                      <a:cubicBezTo>
                        <a:pt x="3438852" y="2360528"/>
                        <a:pt x="3437267" y="2362277"/>
                        <a:pt x="3435759" y="2362772"/>
                      </a:cubicBezTo>
                      <a:cubicBezTo>
                        <a:pt x="3435074" y="2361530"/>
                        <a:pt x="3436710" y="2361466"/>
                        <a:pt x="3435708" y="2360516"/>
                      </a:cubicBezTo>
                      <a:cubicBezTo>
                        <a:pt x="3428698" y="2364204"/>
                        <a:pt x="3412548" y="2375626"/>
                        <a:pt x="3420838" y="2363089"/>
                      </a:cubicBezTo>
                      <a:cubicBezTo>
                        <a:pt x="3421561" y="2361948"/>
                        <a:pt x="3428140" y="2357930"/>
                        <a:pt x="3429306" y="2356776"/>
                      </a:cubicBezTo>
                      <a:cubicBezTo>
                        <a:pt x="3431854" y="2354266"/>
                        <a:pt x="3433490" y="2353619"/>
                        <a:pt x="3435708" y="2348612"/>
                      </a:cubicBezTo>
                      <a:cubicBezTo>
                        <a:pt x="3423703" y="2349284"/>
                        <a:pt x="3424477" y="2349259"/>
                        <a:pt x="3422524" y="2359438"/>
                      </a:cubicBezTo>
                      <a:cubicBezTo>
                        <a:pt x="3422423" y="2359349"/>
                        <a:pt x="3419469" y="2359818"/>
                        <a:pt x="3419229" y="2359932"/>
                      </a:cubicBezTo>
                      <a:cubicBezTo>
                        <a:pt x="3417327" y="2355711"/>
                        <a:pt x="3418797" y="2355077"/>
                        <a:pt x="3414386" y="2357232"/>
                      </a:cubicBezTo>
                      <a:cubicBezTo>
                        <a:pt x="3415426" y="2353011"/>
                        <a:pt x="3414602" y="2351857"/>
                        <a:pt x="3417986" y="2349145"/>
                      </a:cubicBezTo>
                      <a:cubicBezTo>
                        <a:pt x="3416300" y="2348866"/>
                        <a:pt x="3416135" y="2348600"/>
                        <a:pt x="3414386" y="2349145"/>
                      </a:cubicBezTo>
                      <a:cubicBezTo>
                        <a:pt x="3415730" y="2347738"/>
                        <a:pt x="3416744" y="2345697"/>
                        <a:pt x="3418443" y="2344239"/>
                      </a:cubicBezTo>
                      <a:cubicBezTo>
                        <a:pt x="3414614" y="2344759"/>
                        <a:pt x="3414551" y="2348143"/>
                        <a:pt x="3412459" y="2348815"/>
                      </a:cubicBezTo>
                      <a:cubicBezTo>
                        <a:pt x="3416300" y="2347560"/>
                        <a:pt x="3405576" y="2355343"/>
                        <a:pt x="3410051" y="2351249"/>
                      </a:cubicBezTo>
                      <a:cubicBezTo>
                        <a:pt x="3412599" y="2348878"/>
                        <a:pt x="3406679" y="2348600"/>
                        <a:pt x="3406019" y="2348916"/>
                      </a:cubicBezTo>
                      <a:cubicBezTo>
                        <a:pt x="3404663" y="2349588"/>
                        <a:pt x="3409505" y="2356459"/>
                        <a:pt x="3409455" y="2356421"/>
                      </a:cubicBezTo>
                      <a:cubicBezTo>
                        <a:pt x="3405551" y="2354456"/>
                        <a:pt x="3401177" y="2347674"/>
                        <a:pt x="3398426" y="2349297"/>
                      </a:cubicBezTo>
                      <a:cubicBezTo>
                        <a:pt x="3394395" y="2351655"/>
                        <a:pt x="3399491" y="2358120"/>
                        <a:pt x="3400214" y="2360503"/>
                      </a:cubicBezTo>
                      <a:cubicBezTo>
                        <a:pt x="3393331" y="2358462"/>
                        <a:pt x="3396538" y="2362975"/>
                        <a:pt x="3400214" y="2366486"/>
                      </a:cubicBezTo>
                      <a:cubicBezTo>
                        <a:pt x="3405614" y="2360617"/>
                        <a:pt x="3411965" y="2362810"/>
                        <a:pt x="3413930" y="2368045"/>
                      </a:cubicBezTo>
                      <a:cubicBezTo>
                        <a:pt x="3413473" y="2367754"/>
                        <a:pt x="3413118" y="2367399"/>
                        <a:pt x="3412852" y="2366968"/>
                      </a:cubicBezTo>
                      <a:cubicBezTo>
                        <a:pt x="3413347" y="2369212"/>
                        <a:pt x="3413955" y="2368933"/>
                        <a:pt x="3414931" y="2370796"/>
                      </a:cubicBezTo>
                      <a:cubicBezTo>
                        <a:pt x="3415781" y="2372584"/>
                        <a:pt x="3416579" y="2375689"/>
                        <a:pt x="3414386" y="2377248"/>
                      </a:cubicBezTo>
                      <a:cubicBezTo>
                        <a:pt x="3409569" y="2380747"/>
                        <a:pt x="3410152" y="2373179"/>
                        <a:pt x="3404207" y="2372191"/>
                      </a:cubicBezTo>
                      <a:cubicBezTo>
                        <a:pt x="3398186" y="2371189"/>
                        <a:pt x="3400657" y="2377477"/>
                        <a:pt x="3400607" y="2377122"/>
                      </a:cubicBezTo>
                      <a:cubicBezTo>
                        <a:pt x="3400315" y="2373801"/>
                        <a:pt x="3406197" y="2386312"/>
                        <a:pt x="3406273" y="2386439"/>
                      </a:cubicBezTo>
                      <a:cubicBezTo>
                        <a:pt x="3412751" y="2385463"/>
                        <a:pt x="3410824" y="2379682"/>
                        <a:pt x="3415375" y="2378719"/>
                      </a:cubicBezTo>
                      <a:cubicBezTo>
                        <a:pt x="3419621" y="2377819"/>
                        <a:pt x="3418620" y="2384753"/>
                        <a:pt x="3426087" y="2382104"/>
                      </a:cubicBezTo>
                      <a:cubicBezTo>
                        <a:pt x="3422119" y="2389076"/>
                        <a:pt x="3416148" y="2383574"/>
                        <a:pt x="3415426" y="2388569"/>
                      </a:cubicBezTo>
                      <a:cubicBezTo>
                        <a:pt x="3411331" y="2388264"/>
                        <a:pt x="3406641" y="2388759"/>
                        <a:pt x="3402749" y="2391345"/>
                      </a:cubicBezTo>
                      <a:cubicBezTo>
                        <a:pt x="3404410" y="2392422"/>
                        <a:pt x="3395156" y="2411158"/>
                        <a:pt x="3388932" y="2412857"/>
                      </a:cubicBezTo>
                      <a:cubicBezTo>
                        <a:pt x="3385509" y="2413782"/>
                        <a:pt x="3367331" y="2402259"/>
                        <a:pt x="3362780" y="2399940"/>
                      </a:cubicBezTo>
                      <a:cubicBezTo>
                        <a:pt x="3370525" y="2406024"/>
                        <a:pt x="3375000" y="2419474"/>
                        <a:pt x="3387892" y="2414556"/>
                      </a:cubicBezTo>
                      <a:cubicBezTo>
                        <a:pt x="3394028" y="2412198"/>
                        <a:pt x="3395840" y="2402703"/>
                        <a:pt x="3404283" y="2410093"/>
                      </a:cubicBezTo>
                      <a:cubicBezTo>
                        <a:pt x="3410203" y="2415240"/>
                        <a:pt x="3403370" y="2417306"/>
                        <a:pt x="3400214" y="2423683"/>
                      </a:cubicBezTo>
                      <a:cubicBezTo>
                        <a:pt x="3399884" y="2423328"/>
                        <a:pt x="3398604" y="2420983"/>
                        <a:pt x="3398350" y="2420488"/>
                      </a:cubicBezTo>
                      <a:cubicBezTo>
                        <a:pt x="3399098" y="2425559"/>
                        <a:pt x="3402356" y="2428449"/>
                        <a:pt x="3399783" y="2433304"/>
                      </a:cubicBezTo>
                      <a:cubicBezTo>
                        <a:pt x="3397070" y="2438387"/>
                        <a:pt x="3395143" y="2434052"/>
                        <a:pt x="3389059" y="2436017"/>
                      </a:cubicBezTo>
                      <a:cubicBezTo>
                        <a:pt x="3390085" y="2439997"/>
                        <a:pt x="3389958" y="2439820"/>
                        <a:pt x="3391619" y="2440834"/>
                      </a:cubicBezTo>
                      <a:cubicBezTo>
                        <a:pt x="3391479" y="2446602"/>
                        <a:pt x="3395257" y="2447083"/>
                        <a:pt x="3398731" y="2444067"/>
                      </a:cubicBezTo>
                      <a:cubicBezTo>
                        <a:pt x="3398553" y="2446982"/>
                        <a:pt x="3399516" y="2447312"/>
                        <a:pt x="3399732" y="2448389"/>
                      </a:cubicBezTo>
                      <a:cubicBezTo>
                        <a:pt x="3399390" y="2448782"/>
                        <a:pt x="3397729" y="2449479"/>
                        <a:pt x="3397755" y="2449467"/>
                      </a:cubicBezTo>
                      <a:cubicBezTo>
                        <a:pt x="3398465" y="2450443"/>
                        <a:pt x="3399390" y="2449783"/>
                        <a:pt x="3400214" y="2450037"/>
                      </a:cubicBezTo>
                      <a:cubicBezTo>
                        <a:pt x="3399935" y="2450519"/>
                        <a:pt x="3398363" y="2451495"/>
                        <a:pt x="3398198" y="2451660"/>
                      </a:cubicBezTo>
                      <a:cubicBezTo>
                        <a:pt x="3402217" y="2452370"/>
                        <a:pt x="3400138" y="2452547"/>
                        <a:pt x="3401266" y="2455513"/>
                      </a:cubicBezTo>
                      <a:cubicBezTo>
                        <a:pt x="3403370" y="2458505"/>
                        <a:pt x="3403611" y="2457504"/>
                        <a:pt x="3401735" y="2461307"/>
                      </a:cubicBezTo>
                      <a:cubicBezTo>
                        <a:pt x="3401735" y="2461205"/>
                        <a:pt x="3404029" y="2461509"/>
                        <a:pt x="3404258" y="2461839"/>
                      </a:cubicBezTo>
                      <a:cubicBezTo>
                        <a:pt x="3402775" y="2462549"/>
                        <a:pt x="3400429" y="2462929"/>
                        <a:pt x="3398718" y="2462904"/>
                      </a:cubicBezTo>
                      <a:cubicBezTo>
                        <a:pt x="3400353" y="2458480"/>
                        <a:pt x="3400277" y="2453460"/>
                        <a:pt x="3395688" y="2453751"/>
                      </a:cubicBezTo>
                      <a:cubicBezTo>
                        <a:pt x="3397615" y="2457859"/>
                        <a:pt x="3397083" y="2460723"/>
                        <a:pt x="3391619" y="2460812"/>
                      </a:cubicBezTo>
                      <a:cubicBezTo>
                        <a:pt x="3393280" y="2457402"/>
                        <a:pt x="3392303" y="2455627"/>
                        <a:pt x="3393381" y="2452712"/>
                      </a:cubicBezTo>
                      <a:cubicBezTo>
                        <a:pt x="3390415" y="2454436"/>
                        <a:pt x="3391315" y="2452408"/>
                        <a:pt x="3388906" y="2455513"/>
                      </a:cubicBezTo>
                      <a:cubicBezTo>
                        <a:pt x="3390275" y="2447781"/>
                        <a:pt x="3378486" y="2451153"/>
                        <a:pt x="3384026" y="2443585"/>
                      </a:cubicBezTo>
                      <a:cubicBezTo>
                        <a:pt x="3383050" y="2443090"/>
                        <a:pt x="3380844" y="2442520"/>
                        <a:pt x="3378461" y="2442507"/>
                      </a:cubicBezTo>
                      <a:cubicBezTo>
                        <a:pt x="3376547" y="2448922"/>
                        <a:pt x="3371413" y="2452408"/>
                        <a:pt x="3363452" y="2456984"/>
                      </a:cubicBezTo>
                      <a:cubicBezTo>
                        <a:pt x="3364707" y="2459228"/>
                        <a:pt x="3367077" y="2462574"/>
                        <a:pt x="3368675" y="2464425"/>
                      </a:cubicBezTo>
                      <a:cubicBezTo>
                        <a:pt x="3370132" y="2463538"/>
                        <a:pt x="3369574" y="2463309"/>
                        <a:pt x="3370310" y="2461839"/>
                      </a:cubicBezTo>
                      <a:cubicBezTo>
                        <a:pt x="3370690" y="2465071"/>
                        <a:pt x="3371260" y="2466174"/>
                        <a:pt x="3370741" y="2469546"/>
                      </a:cubicBezTo>
                      <a:cubicBezTo>
                        <a:pt x="3371742" y="2467670"/>
                        <a:pt x="3372947" y="2466162"/>
                        <a:pt x="3373821" y="2464019"/>
                      </a:cubicBezTo>
                      <a:cubicBezTo>
                        <a:pt x="3377117" y="2464425"/>
                        <a:pt x="3377967" y="2464387"/>
                        <a:pt x="3379652" y="2468177"/>
                      </a:cubicBezTo>
                      <a:cubicBezTo>
                        <a:pt x="3380983" y="2471220"/>
                        <a:pt x="3381009" y="2467581"/>
                        <a:pt x="3380552" y="2471067"/>
                      </a:cubicBezTo>
                      <a:cubicBezTo>
                        <a:pt x="3381123" y="2467062"/>
                        <a:pt x="3372794" y="2476709"/>
                        <a:pt x="3377180" y="2475073"/>
                      </a:cubicBezTo>
                      <a:cubicBezTo>
                        <a:pt x="3374252" y="2476163"/>
                        <a:pt x="3355669" y="2472120"/>
                        <a:pt x="3367166" y="2478952"/>
                      </a:cubicBezTo>
                      <a:cubicBezTo>
                        <a:pt x="3365176" y="2480068"/>
                        <a:pt x="3365125" y="2479928"/>
                        <a:pt x="3362755" y="2479269"/>
                      </a:cubicBezTo>
                      <a:cubicBezTo>
                        <a:pt x="3362780" y="2479231"/>
                        <a:pt x="3362362" y="2481551"/>
                        <a:pt x="3363186" y="2481196"/>
                      </a:cubicBezTo>
                      <a:cubicBezTo>
                        <a:pt x="3361652" y="2478952"/>
                        <a:pt x="3360840" y="2480017"/>
                        <a:pt x="3360625" y="2477165"/>
                      </a:cubicBezTo>
                      <a:cubicBezTo>
                        <a:pt x="3359459" y="2478369"/>
                        <a:pt x="3360067" y="2478788"/>
                        <a:pt x="3359129" y="2480118"/>
                      </a:cubicBezTo>
                      <a:cubicBezTo>
                        <a:pt x="3361145" y="2475390"/>
                        <a:pt x="3361804" y="2470611"/>
                        <a:pt x="3353590" y="2472170"/>
                      </a:cubicBezTo>
                      <a:cubicBezTo>
                        <a:pt x="3355060" y="2471156"/>
                        <a:pt x="3356911" y="2468760"/>
                        <a:pt x="3357887" y="2468114"/>
                      </a:cubicBezTo>
                      <a:cubicBezTo>
                        <a:pt x="3353349" y="2467556"/>
                        <a:pt x="3348823" y="2468710"/>
                        <a:pt x="3345895" y="2472056"/>
                      </a:cubicBezTo>
                      <a:cubicBezTo>
                        <a:pt x="3348544" y="2474224"/>
                        <a:pt x="3347669" y="2473755"/>
                        <a:pt x="3349596" y="2475859"/>
                      </a:cubicBezTo>
                      <a:cubicBezTo>
                        <a:pt x="3362539" y="2470472"/>
                        <a:pt x="3344906" y="2485683"/>
                        <a:pt x="3345705" y="2482134"/>
                      </a:cubicBezTo>
                      <a:cubicBezTo>
                        <a:pt x="3344513" y="2487243"/>
                        <a:pt x="3352930" y="2492491"/>
                        <a:pt x="3355656" y="2485709"/>
                      </a:cubicBezTo>
                      <a:cubicBezTo>
                        <a:pt x="3354718" y="2489943"/>
                        <a:pt x="3355390" y="2490881"/>
                        <a:pt x="3357152" y="2493010"/>
                      </a:cubicBezTo>
                      <a:cubicBezTo>
                        <a:pt x="3353184" y="2493061"/>
                        <a:pt x="3343283" y="2497029"/>
                        <a:pt x="3353640" y="2497815"/>
                      </a:cubicBezTo>
                      <a:cubicBezTo>
                        <a:pt x="3353590" y="2497992"/>
                        <a:pt x="3353906" y="2499412"/>
                        <a:pt x="3354071" y="2499463"/>
                      </a:cubicBezTo>
                      <a:cubicBezTo>
                        <a:pt x="3349330" y="2499463"/>
                        <a:pt x="3342713" y="2499792"/>
                        <a:pt x="3339518" y="2499577"/>
                      </a:cubicBezTo>
                      <a:cubicBezTo>
                        <a:pt x="3332584" y="2499044"/>
                        <a:pt x="3335855" y="2503773"/>
                        <a:pt x="3333345" y="2494570"/>
                      </a:cubicBezTo>
                      <a:cubicBezTo>
                        <a:pt x="3333535" y="2495977"/>
                        <a:pt x="3333725" y="2497092"/>
                        <a:pt x="3332876" y="2498068"/>
                      </a:cubicBezTo>
                      <a:cubicBezTo>
                        <a:pt x="3332242" y="2496890"/>
                        <a:pt x="3331773" y="2494925"/>
                        <a:pt x="3331317" y="2493556"/>
                      </a:cubicBezTo>
                      <a:cubicBezTo>
                        <a:pt x="3331520" y="2498563"/>
                        <a:pt x="3331342" y="2501846"/>
                        <a:pt x="3324218" y="2498892"/>
                      </a:cubicBezTo>
                      <a:cubicBezTo>
                        <a:pt x="3327222" y="2501884"/>
                        <a:pt x="3327894" y="2503735"/>
                        <a:pt x="3329073" y="2507728"/>
                      </a:cubicBezTo>
                      <a:cubicBezTo>
                        <a:pt x="3330569" y="2506701"/>
                        <a:pt x="3332141" y="2506296"/>
                        <a:pt x="3333801" y="2504774"/>
                      </a:cubicBezTo>
                      <a:cubicBezTo>
                        <a:pt x="3339658" y="2508539"/>
                        <a:pt x="3335855" y="2518123"/>
                        <a:pt x="3330290" y="2513876"/>
                      </a:cubicBezTo>
                      <a:cubicBezTo>
                        <a:pt x="3328972" y="2519581"/>
                        <a:pt x="3332711" y="2525767"/>
                        <a:pt x="3322874" y="2527579"/>
                      </a:cubicBezTo>
                      <a:cubicBezTo>
                        <a:pt x="3323838" y="2525475"/>
                        <a:pt x="3323280" y="2526122"/>
                        <a:pt x="3324662" y="2524283"/>
                      </a:cubicBezTo>
                      <a:cubicBezTo>
                        <a:pt x="3319617" y="2520404"/>
                        <a:pt x="3312327" y="2520519"/>
                        <a:pt x="3313823" y="2513394"/>
                      </a:cubicBezTo>
                      <a:cubicBezTo>
                        <a:pt x="3312885" y="2522407"/>
                        <a:pt x="3309729" y="2520430"/>
                        <a:pt x="3302794" y="2521850"/>
                      </a:cubicBezTo>
                      <a:cubicBezTo>
                        <a:pt x="3301083" y="2522205"/>
                        <a:pt x="3290625" y="2526895"/>
                        <a:pt x="3297864" y="2520012"/>
                      </a:cubicBezTo>
                      <a:cubicBezTo>
                        <a:pt x="3296938" y="2518934"/>
                        <a:pt x="3295797" y="2519821"/>
                        <a:pt x="3294834" y="2519264"/>
                      </a:cubicBezTo>
                      <a:cubicBezTo>
                        <a:pt x="3295176" y="2516069"/>
                        <a:pt x="3295265" y="2516931"/>
                        <a:pt x="3293820" y="2513876"/>
                      </a:cubicBezTo>
                      <a:cubicBezTo>
                        <a:pt x="3293198" y="2516893"/>
                        <a:pt x="3291373" y="2519175"/>
                        <a:pt x="3290106" y="2522407"/>
                      </a:cubicBezTo>
                      <a:cubicBezTo>
                        <a:pt x="3288838" y="2521368"/>
                        <a:pt x="3286543" y="2520899"/>
                        <a:pt x="3285238" y="2519783"/>
                      </a:cubicBezTo>
                      <a:cubicBezTo>
                        <a:pt x="3284807" y="2525437"/>
                        <a:pt x="3283273" y="2522521"/>
                        <a:pt x="3282639" y="2522661"/>
                      </a:cubicBezTo>
                      <a:cubicBezTo>
                        <a:pt x="3282918" y="2522369"/>
                        <a:pt x="3279774" y="2524854"/>
                        <a:pt x="3280091" y="2524854"/>
                      </a:cubicBezTo>
                      <a:cubicBezTo>
                        <a:pt x="3281650" y="2525260"/>
                        <a:pt x="3284376" y="2526857"/>
                        <a:pt x="3286264" y="2527731"/>
                      </a:cubicBezTo>
                      <a:cubicBezTo>
                        <a:pt x="3282436" y="2531953"/>
                        <a:pt x="3283996" y="2528885"/>
                        <a:pt x="3283552" y="2533195"/>
                      </a:cubicBezTo>
                      <a:cubicBezTo>
                        <a:pt x="3278608" y="2531978"/>
                        <a:pt x="3274209" y="2529316"/>
                        <a:pt x="3269075" y="2530495"/>
                      </a:cubicBezTo>
                      <a:cubicBezTo>
                        <a:pt x="3271205" y="2531078"/>
                        <a:pt x="3272764" y="2531889"/>
                        <a:pt x="3274627" y="2532625"/>
                      </a:cubicBezTo>
                      <a:cubicBezTo>
                        <a:pt x="3271813" y="2531775"/>
                        <a:pt x="3269177" y="2531902"/>
                        <a:pt x="3266514" y="2531509"/>
                      </a:cubicBezTo>
                      <a:cubicBezTo>
                        <a:pt x="3272359" y="2540750"/>
                        <a:pt x="3290042" y="2531839"/>
                        <a:pt x="3283121" y="2542487"/>
                      </a:cubicBezTo>
                      <a:cubicBezTo>
                        <a:pt x="3287494" y="2539850"/>
                        <a:pt x="3290549" y="2542259"/>
                        <a:pt x="3291310" y="2547532"/>
                      </a:cubicBezTo>
                      <a:cubicBezTo>
                        <a:pt x="3286163" y="2548800"/>
                        <a:pt x="3282918" y="2551931"/>
                        <a:pt x="3279571" y="2555506"/>
                      </a:cubicBezTo>
                      <a:cubicBezTo>
                        <a:pt x="3276491" y="2550042"/>
                        <a:pt x="3279863" y="2553363"/>
                        <a:pt x="3275084" y="2553427"/>
                      </a:cubicBezTo>
                      <a:cubicBezTo>
                        <a:pt x="3281599" y="2560526"/>
                        <a:pt x="3266464" y="2569767"/>
                        <a:pt x="3262470" y="2575091"/>
                      </a:cubicBezTo>
                      <a:cubicBezTo>
                        <a:pt x="3263383" y="2572252"/>
                        <a:pt x="3264131" y="2568829"/>
                        <a:pt x="3267009" y="2566230"/>
                      </a:cubicBezTo>
                      <a:cubicBezTo>
                        <a:pt x="3265855" y="2565064"/>
                        <a:pt x="3265424" y="2566560"/>
                        <a:pt x="3264322" y="2566763"/>
                      </a:cubicBezTo>
                      <a:cubicBezTo>
                        <a:pt x="3265006" y="2565064"/>
                        <a:pt x="3265551" y="2564265"/>
                        <a:pt x="3263979" y="2562452"/>
                      </a:cubicBezTo>
                      <a:cubicBezTo>
                        <a:pt x="3260506" y="2565026"/>
                        <a:pt x="3262826" y="2565305"/>
                        <a:pt x="3257324" y="2563048"/>
                      </a:cubicBezTo>
                      <a:cubicBezTo>
                        <a:pt x="3258959" y="2564570"/>
                        <a:pt x="3257755" y="2564709"/>
                        <a:pt x="3260404" y="2565178"/>
                      </a:cubicBezTo>
                      <a:cubicBezTo>
                        <a:pt x="3259808" y="2570642"/>
                        <a:pt x="3255372" y="2584598"/>
                        <a:pt x="3251746" y="2588389"/>
                      </a:cubicBezTo>
                      <a:cubicBezTo>
                        <a:pt x="3254028" y="2575928"/>
                        <a:pt x="3248869" y="2576156"/>
                        <a:pt x="3238816" y="2572061"/>
                      </a:cubicBezTo>
                      <a:cubicBezTo>
                        <a:pt x="3240730" y="2574863"/>
                        <a:pt x="3248171" y="2577892"/>
                        <a:pt x="3241732" y="2584649"/>
                      </a:cubicBezTo>
                      <a:cubicBezTo>
                        <a:pt x="3240350" y="2586094"/>
                        <a:pt x="3229816" y="2585270"/>
                        <a:pt x="3228485" y="2584877"/>
                      </a:cubicBezTo>
                      <a:cubicBezTo>
                        <a:pt x="3228586" y="2589415"/>
                        <a:pt x="3229068" y="2595627"/>
                        <a:pt x="3225683" y="2598619"/>
                      </a:cubicBezTo>
                      <a:cubicBezTo>
                        <a:pt x="3225544" y="2596020"/>
                        <a:pt x="3225113" y="2594271"/>
                        <a:pt x="3224986" y="2591811"/>
                      </a:cubicBezTo>
                      <a:cubicBezTo>
                        <a:pt x="3224200" y="2597820"/>
                        <a:pt x="3219016" y="2598352"/>
                        <a:pt x="3214211" y="2602878"/>
                      </a:cubicBezTo>
                      <a:cubicBezTo>
                        <a:pt x="3216873" y="2587603"/>
                        <a:pt x="3201408" y="2601750"/>
                        <a:pt x="3203639" y="2594473"/>
                      </a:cubicBezTo>
                      <a:cubicBezTo>
                        <a:pt x="3198302" y="2595526"/>
                        <a:pt x="3198733" y="2602206"/>
                        <a:pt x="3197212" y="2607010"/>
                      </a:cubicBezTo>
                      <a:cubicBezTo>
                        <a:pt x="3193511" y="2618774"/>
                        <a:pt x="3190696" y="2617595"/>
                        <a:pt x="3179072" y="2616543"/>
                      </a:cubicBezTo>
                      <a:cubicBezTo>
                        <a:pt x="3177855" y="2616442"/>
                        <a:pt x="3170439" y="2609609"/>
                        <a:pt x="3172708" y="2615656"/>
                      </a:cubicBezTo>
                      <a:cubicBezTo>
                        <a:pt x="3174609" y="2620714"/>
                        <a:pt x="3176904" y="2619484"/>
                        <a:pt x="3180897" y="2620841"/>
                      </a:cubicBezTo>
                      <a:cubicBezTo>
                        <a:pt x="3188021" y="2623249"/>
                        <a:pt x="3187882" y="2620042"/>
                        <a:pt x="3193548" y="2627306"/>
                      </a:cubicBezTo>
                      <a:cubicBezTo>
                        <a:pt x="3193028" y="2627914"/>
                        <a:pt x="3192522" y="2628523"/>
                        <a:pt x="3192015" y="2629131"/>
                      </a:cubicBezTo>
                      <a:cubicBezTo>
                        <a:pt x="3189149" y="2626228"/>
                        <a:pt x="3186741" y="2625353"/>
                        <a:pt x="3183395" y="2623794"/>
                      </a:cubicBezTo>
                      <a:cubicBezTo>
                        <a:pt x="3184979" y="2624644"/>
                        <a:pt x="3185790" y="2625569"/>
                        <a:pt x="3186944" y="2626710"/>
                      </a:cubicBezTo>
                      <a:cubicBezTo>
                        <a:pt x="3185626" y="2628383"/>
                        <a:pt x="3183318" y="2631375"/>
                        <a:pt x="3181873" y="2632972"/>
                      </a:cubicBezTo>
                      <a:cubicBezTo>
                        <a:pt x="3180771" y="2628941"/>
                        <a:pt x="3177855" y="2624821"/>
                        <a:pt x="3171669" y="2627445"/>
                      </a:cubicBezTo>
                      <a:cubicBezTo>
                        <a:pt x="3176207" y="2628206"/>
                        <a:pt x="3176118" y="2628839"/>
                        <a:pt x="3176790" y="2631463"/>
                      </a:cubicBezTo>
                      <a:cubicBezTo>
                        <a:pt x="3176511" y="2630399"/>
                        <a:pt x="3174407" y="2645395"/>
                        <a:pt x="3174546" y="2645116"/>
                      </a:cubicBezTo>
                      <a:cubicBezTo>
                        <a:pt x="3168512" y="2656487"/>
                        <a:pt x="3157763" y="2645446"/>
                        <a:pt x="3148914" y="2647651"/>
                      </a:cubicBezTo>
                      <a:cubicBezTo>
                        <a:pt x="3150816" y="2647816"/>
                        <a:pt x="3153275" y="2648577"/>
                        <a:pt x="3154860" y="2648856"/>
                      </a:cubicBezTo>
                      <a:cubicBezTo>
                        <a:pt x="3150068" y="2652152"/>
                        <a:pt x="3146746" y="2657019"/>
                        <a:pt x="3141144" y="2659073"/>
                      </a:cubicBezTo>
                      <a:cubicBezTo>
                        <a:pt x="3142082" y="2656436"/>
                        <a:pt x="3140624" y="2656652"/>
                        <a:pt x="3143185" y="2653762"/>
                      </a:cubicBezTo>
                      <a:cubicBezTo>
                        <a:pt x="3141524" y="2652963"/>
                        <a:pt x="3138862" y="2651213"/>
                        <a:pt x="3137150" y="2650795"/>
                      </a:cubicBezTo>
                      <a:cubicBezTo>
                        <a:pt x="3144934" y="2657539"/>
                        <a:pt x="3119670" y="2667287"/>
                        <a:pt x="3118364" y="2661253"/>
                      </a:cubicBezTo>
                      <a:cubicBezTo>
                        <a:pt x="3119264" y="2661380"/>
                        <a:pt x="3119391" y="2663028"/>
                        <a:pt x="3120265" y="2662927"/>
                      </a:cubicBezTo>
                      <a:cubicBezTo>
                        <a:pt x="3118820" y="2655435"/>
                        <a:pt x="3105294" y="2657488"/>
                        <a:pt x="3114358" y="2650884"/>
                      </a:cubicBezTo>
                      <a:cubicBezTo>
                        <a:pt x="3109795" y="2652519"/>
                        <a:pt x="3098931" y="2660239"/>
                        <a:pt x="3100579" y="2653698"/>
                      </a:cubicBezTo>
                      <a:cubicBezTo>
                        <a:pt x="3096585" y="2652177"/>
                        <a:pt x="3093771" y="2651556"/>
                        <a:pt x="3090133" y="2651404"/>
                      </a:cubicBezTo>
                      <a:cubicBezTo>
                        <a:pt x="3094291" y="2652152"/>
                        <a:pt x="3097562" y="2653559"/>
                        <a:pt x="3094697" y="2657273"/>
                      </a:cubicBezTo>
                      <a:cubicBezTo>
                        <a:pt x="3098538" y="2658617"/>
                        <a:pt x="3102087" y="2658338"/>
                        <a:pt x="3105371" y="2656183"/>
                      </a:cubicBezTo>
                      <a:cubicBezTo>
                        <a:pt x="3100718" y="2659479"/>
                        <a:pt x="3097536" y="2663434"/>
                        <a:pt x="3101149" y="2667718"/>
                      </a:cubicBezTo>
                      <a:cubicBezTo>
                        <a:pt x="3102303" y="2665399"/>
                        <a:pt x="3101910" y="2666387"/>
                        <a:pt x="3103418" y="2665335"/>
                      </a:cubicBezTo>
                      <a:cubicBezTo>
                        <a:pt x="3103152" y="2667566"/>
                        <a:pt x="3102810" y="2668973"/>
                        <a:pt x="3102658" y="2671268"/>
                      </a:cubicBezTo>
                      <a:cubicBezTo>
                        <a:pt x="3098956" y="2669962"/>
                        <a:pt x="3075454" y="2665259"/>
                        <a:pt x="3091451" y="2664029"/>
                      </a:cubicBezTo>
                      <a:cubicBezTo>
                        <a:pt x="3088447" y="2662470"/>
                        <a:pt x="3083136" y="2661646"/>
                        <a:pt x="3077355" y="2661976"/>
                      </a:cubicBezTo>
                      <a:cubicBezTo>
                        <a:pt x="3080753" y="2660113"/>
                        <a:pt x="3084568" y="2657197"/>
                        <a:pt x="3083541" y="2652988"/>
                      </a:cubicBezTo>
                      <a:cubicBezTo>
                        <a:pt x="3079637" y="2657590"/>
                        <a:pt x="3074643" y="2657615"/>
                        <a:pt x="3073438" y="2662255"/>
                      </a:cubicBezTo>
                      <a:cubicBezTo>
                        <a:pt x="3064983" y="2655714"/>
                        <a:pt x="3064121" y="2667718"/>
                        <a:pt x="3061865" y="2668226"/>
                      </a:cubicBezTo>
                      <a:cubicBezTo>
                        <a:pt x="3054677" y="2669810"/>
                        <a:pt x="3057085" y="2663066"/>
                        <a:pt x="3049936" y="2663915"/>
                      </a:cubicBezTo>
                      <a:cubicBezTo>
                        <a:pt x="3052192" y="2667427"/>
                        <a:pt x="3053359" y="2667985"/>
                        <a:pt x="3057643" y="2670634"/>
                      </a:cubicBezTo>
                      <a:cubicBezTo>
                        <a:pt x="3054018" y="2672789"/>
                        <a:pt x="3052522" y="2676021"/>
                        <a:pt x="3054145" y="2679546"/>
                      </a:cubicBezTo>
                      <a:cubicBezTo>
                        <a:pt x="3054715" y="2679989"/>
                        <a:pt x="3051064" y="2680800"/>
                        <a:pt x="3051521" y="2680344"/>
                      </a:cubicBezTo>
                      <a:cubicBezTo>
                        <a:pt x="3051622" y="2673613"/>
                        <a:pt x="3043953" y="2679013"/>
                        <a:pt x="3041101" y="2674412"/>
                      </a:cubicBezTo>
                      <a:cubicBezTo>
                        <a:pt x="3037830" y="2669252"/>
                        <a:pt x="3046919" y="2662635"/>
                        <a:pt x="3046780" y="2662242"/>
                      </a:cubicBezTo>
                      <a:cubicBezTo>
                        <a:pt x="3044688" y="2656538"/>
                        <a:pt x="3027042" y="2668302"/>
                        <a:pt x="3024798" y="2668352"/>
                      </a:cubicBezTo>
                      <a:cubicBezTo>
                        <a:pt x="3024165" y="2669810"/>
                        <a:pt x="3024596" y="2671040"/>
                        <a:pt x="3023112" y="2672421"/>
                      </a:cubicBezTo>
                      <a:cubicBezTo>
                        <a:pt x="3025268" y="2672257"/>
                        <a:pt x="3027093" y="2673588"/>
                        <a:pt x="3029844" y="2673157"/>
                      </a:cubicBezTo>
                      <a:cubicBezTo>
                        <a:pt x="3026725" y="2675007"/>
                        <a:pt x="3024748" y="2678303"/>
                        <a:pt x="3023277" y="2680344"/>
                      </a:cubicBezTo>
                      <a:cubicBezTo>
                        <a:pt x="3033799" y="2676224"/>
                        <a:pt x="3030402" y="2690359"/>
                        <a:pt x="3021984" y="2686277"/>
                      </a:cubicBezTo>
                      <a:cubicBezTo>
                        <a:pt x="3021236" y="2685909"/>
                        <a:pt x="3021135" y="2680484"/>
                        <a:pt x="3019196" y="2678747"/>
                      </a:cubicBezTo>
                      <a:cubicBezTo>
                        <a:pt x="3016432" y="2676212"/>
                        <a:pt x="3015418" y="2675933"/>
                        <a:pt x="3010499" y="2676161"/>
                      </a:cubicBezTo>
                      <a:cubicBezTo>
                        <a:pt x="3002766" y="2676516"/>
                        <a:pt x="2982015" y="2682651"/>
                        <a:pt x="2978060" y="2687937"/>
                      </a:cubicBezTo>
                      <a:cubicBezTo>
                        <a:pt x="2978187" y="2683894"/>
                        <a:pt x="2976146" y="2686366"/>
                        <a:pt x="2978339" y="2682651"/>
                      </a:cubicBezTo>
                      <a:cubicBezTo>
                        <a:pt x="2971392" y="2677885"/>
                        <a:pt x="2970048" y="2669113"/>
                        <a:pt x="2966030" y="2663992"/>
                      </a:cubicBezTo>
                      <a:cubicBezTo>
                        <a:pt x="2965193" y="2662914"/>
                        <a:pt x="2962354" y="2665399"/>
                        <a:pt x="2960642" y="2663586"/>
                      </a:cubicBezTo>
                      <a:cubicBezTo>
                        <a:pt x="2959933" y="2662838"/>
                        <a:pt x="2959096" y="2655980"/>
                        <a:pt x="2957841" y="2654091"/>
                      </a:cubicBezTo>
                      <a:cubicBezTo>
                        <a:pt x="2957600" y="2655802"/>
                        <a:pt x="2957651" y="2656550"/>
                        <a:pt x="2957841" y="2658287"/>
                      </a:cubicBezTo>
                      <a:cubicBezTo>
                        <a:pt x="2956561" y="2655929"/>
                        <a:pt x="2957004" y="2655486"/>
                        <a:pt x="2957359" y="2652988"/>
                      </a:cubicBezTo>
                      <a:cubicBezTo>
                        <a:pt x="2957081" y="2653255"/>
                        <a:pt x="2955952" y="2654294"/>
                        <a:pt x="2956282" y="2654839"/>
                      </a:cubicBezTo>
                      <a:cubicBezTo>
                        <a:pt x="2957144" y="2651061"/>
                        <a:pt x="2958323" y="2646840"/>
                        <a:pt x="2959413" y="2642885"/>
                      </a:cubicBezTo>
                      <a:cubicBezTo>
                        <a:pt x="2958374" y="2645395"/>
                        <a:pt x="2956979" y="2648589"/>
                        <a:pt x="2956345" y="2651923"/>
                      </a:cubicBezTo>
                      <a:cubicBezTo>
                        <a:pt x="2956852" y="2648805"/>
                        <a:pt x="2956979" y="2646016"/>
                        <a:pt x="2957841" y="2642885"/>
                      </a:cubicBezTo>
                      <a:cubicBezTo>
                        <a:pt x="2956928" y="2645344"/>
                        <a:pt x="2955673" y="2647842"/>
                        <a:pt x="2954811" y="2650326"/>
                      </a:cubicBezTo>
                      <a:cubicBezTo>
                        <a:pt x="2955496" y="2648133"/>
                        <a:pt x="2955166" y="2646219"/>
                        <a:pt x="2955293" y="2643925"/>
                      </a:cubicBezTo>
                      <a:cubicBezTo>
                        <a:pt x="2949044" y="2649452"/>
                        <a:pt x="2951706" y="2641022"/>
                        <a:pt x="2955242" y="2637941"/>
                      </a:cubicBezTo>
                      <a:cubicBezTo>
                        <a:pt x="2959438" y="2634328"/>
                        <a:pt x="2969009" y="2634924"/>
                        <a:pt x="2973598" y="2636471"/>
                      </a:cubicBezTo>
                      <a:cubicBezTo>
                        <a:pt x="2962050" y="2630779"/>
                        <a:pt x="2952530" y="2640426"/>
                        <a:pt x="2941666" y="2639108"/>
                      </a:cubicBezTo>
                      <a:cubicBezTo>
                        <a:pt x="2958804" y="2642074"/>
                        <a:pt x="2942756" y="2658401"/>
                        <a:pt x="2927975" y="2652392"/>
                      </a:cubicBezTo>
                      <a:cubicBezTo>
                        <a:pt x="2929458" y="2653445"/>
                        <a:pt x="2932754" y="2653850"/>
                        <a:pt x="2934579" y="2654940"/>
                      </a:cubicBezTo>
                      <a:cubicBezTo>
                        <a:pt x="2935645" y="2655587"/>
                        <a:pt x="2938623" y="2655042"/>
                        <a:pt x="2940512" y="2656119"/>
                      </a:cubicBezTo>
                      <a:cubicBezTo>
                        <a:pt x="2943631" y="2657881"/>
                        <a:pt x="2945152" y="2661317"/>
                        <a:pt x="2948752" y="2663015"/>
                      </a:cubicBezTo>
                      <a:cubicBezTo>
                        <a:pt x="2944049" y="2664892"/>
                        <a:pt x="2945355" y="2665690"/>
                        <a:pt x="2940094" y="2663586"/>
                      </a:cubicBezTo>
                      <a:cubicBezTo>
                        <a:pt x="2944772" y="2666032"/>
                        <a:pt x="2954292" y="2671940"/>
                        <a:pt x="2955826" y="2677695"/>
                      </a:cubicBezTo>
                      <a:cubicBezTo>
                        <a:pt x="2957220" y="2682943"/>
                        <a:pt x="2947434" y="2693300"/>
                        <a:pt x="2957334" y="2694301"/>
                      </a:cubicBezTo>
                      <a:cubicBezTo>
                        <a:pt x="2954634" y="2698510"/>
                        <a:pt x="2954444" y="2711706"/>
                        <a:pt x="2947053" y="2710819"/>
                      </a:cubicBezTo>
                      <a:cubicBezTo>
                        <a:pt x="2937888" y="2709690"/>
                        <a:pt x="2930168" y="2684679"/>
                        <a:pt x="2924413" y="2678430"/>
                      </a:cubicBezTo>
                      <a:cubicBezTo>
                        <a:pt x="2921295" y="2687329"/>
                        <a:pt x="2936278" y="2701742"/>
                        <a:pt x="2941932" y="2709044"/>
                      </a:cubicBezTo>
                      <a:cubicBezTo>
                        <a:pt x="2930675" y="2706141"/>
                        <a:pt x="2935251" y="2714900"/>
                        <a:pt x="2930777" y="2718222"/>
                      </a:cubicBezTo>
                      <a:cubicBezTo>
                        <a:pt x="2919723" y="2726398"/>
                        <a:pt x="2921903" y="2712314"/>
                        <a:pt x="2920357" y="2705951"/>
                      </a:cubicBezTo>
                      <a:cubicBezTo>
                        <a:pt x="2919850" y="2707637"/>
                        <a:pt x="2917137" y="2711021"/>
                        <a:pt x="2916478" y="2713531"/>
                      </a:cubicBezTo>
                      <a:cubicBezTo>
                        <a:pt x="2915692" y="2712973"/>
                        <a:pt x="2914918" y="2712403"/>
                        <a:pt x="2914145" y="2711820"/>
                      </a:cubicBezTo>
                      <a:cubicBezTo>
                        <a:pt x="2912801" y="2718856"/>
                        <a:pt x="2914716" y="2724015"/>
                        <a:pt x="2911242" y="2728401"/>
                      </a:cubicBezTo>
                      <a:cubicBezTo>
                        <a:pt x="2903433" y="2738314"/>
                        <a:pt x="2904612" y="2727095"/>
                        <a:pt x="2897704" y="2726728"/>
                      </a:cubicBezTo>
                      <a:cubicBezTo>
                        <a:pt x="2890782" y="2726360"/>
                        <a:pt x="2889312" y="2737236"/>
                        <a:pt x="2884596" y="2739024"/>
                      </a:cubicBezTo>
                      <a:cubicBezTo>
                        <a:pt x="2875355" y="2742548"/>
                        <a:pt x="2861436" y="2731456"/>
                        <a:pt x="2874759" y="2725498"/>
                      </a:cubicBezTo>
                      <a:cubicBezTo>
                        <a:pt x="2867774" y="2729871"/>
                        <a:pt x="2864047" y="2724281"/>
                        <a:pt x="2867635" y="2717588"/>
                      </a:cubicBezTo>
                      <a:cubicBezTo>
                        <a:pt x="2860080" y="2723673"/>
                        <a:pt x="2870513" y="2732191"/>
                        <a:pt x="2867318" y="2739468"/>
                      </a:cubicBezTo>
                      <a:cubicBezTo>
                        <a:pt x="2862780" y="2749710"/>
                        <a:pt x="2850991" y="2745185"/>
                        <a:pt x="2852499" y="2734980"/>
                      </a:cubicBezTo>
                      <a:cubicBezTo>
                        <a:pt x="2848303" y="2740051"/>
                        <a:pt x="2834752" y="2741027"/>
                        <a:pt x="2841318" y="2731811"/>
                      </a:cubicBezTo>
                      <a:cubicBezTo>
                        <a:pt x="2840165" y="2733662"/>
                        <a:pt x="2837655" y="2734929"/>
                        <a:pt x="2835969" y="2736438"/>
                      </a:cubicBezTo>
                      <a:cubicBezTo>
                        <a:pt x="2834587" y="2732584"/>
                        <a:pt x="2832572" y="2731418"/>
                        <a:pt x="2830176" y="2728654"/>
                      </a:cubicBezTo>
                      <a:cubicBezTo>
                        <a:pt x="2828870" y="2734714"/>
                        <a:pt x="2831798" y="2740089"/>
                        <a:pt x="2838289" y="2740279"/>
                      </a:cubicBezTo>
                      <a:cubicBezTo>
                        <a:pt x="2832876" y="2743029"/>
                        <a:pt x="2831481" y="2746351"/>
                        <a:pt x="2826335" y="2747682"/>
                      </a:cubicBezTo>
                      <a:cubicBezTo>
                        <a:pt x="2826512" y="2747580"/>
                        <a:pt x="2829073" y="2746186"/>
                        <a:pt x="2829149" y="2746110"/>
                      </a:cubicBezTo>
                      <a:cubicBezTo>
                        <a:pt x="2826766" y="2743334"/>
                        <a:pt x="2827666" y="2743701"/>
                        <a:pt x="2826081" y="2740849"/>
                      </a:cubicBezTo>
                      <a:cubicBezTo>
                        <a:pt x="2822620" y="2743131"/>
                        <a:pt x="2818805" y="2741889"/>
                        <a:pt x="2814482" y="2739746"/>
                      </a:cubicBezTo>
                      <a:cubicBezTo>
                        <a:pt x="2820085" y="2742218"/>
                        <a:pt x="2823837" y="2746490"/>
                        <a:pt x="2819553" y="2750319"/>
                      </a:cubicBezTo>
                      <a:cubicBezTo>
                        <a:pt x="2821036" y="2751117"/>
                        <a:pt x="2821404" y="2751358"/>
                        <a:pt x="2822583" y="2752461"/>
                      </a:cubicBezTo>
                      <a:cubicBezTo>
                        <a:pt x="2814330" y="2749989"/>
                        <a:pt x="2812479" y="2764301"/>
                        <a:pt x="2807371" y="2755097"/>
                      </a:cubicBezTo>
                      <a:cubicBezTo>
                        <a:pt x="2807624" y="2756796"/>
                        <a:pt x="2807422" y="2757291"/>
                        <a:pt x="2808372" y="2758787"/>
                      </a:cubicBezTo>
                      <a:cubicBezTo>
                        <a:pt x="2801616" y="2760168"/>
                        <a:pt x="2797775" y="2761106"/>
                        <a:pt x="2796291" y="2753488"/>
                      </a:cubicBezTo>
                      <a:cubicBezTo>
                        <a:pt x="2796520" y="2757303"/>
                        <a:pt x="2794504" y="2754895"/>
                        <a:pt x="2796710" y="2758787"/>
                      </a:cubicBezTo>
                      <a:cubicBezTo>
                        <a:pt x="2794149" y="2758508"/>
                        <a:pt x="2791804" y="2759382"/>
                        <a:pt x="2790194" y="2759357"/>
                      </a:cubicBezTo>
                      <a:cubicBezTo>
                        <a:pt x="2791804" y="2759167"/>
                        <a:pt x="2792489" y="2758951"/>
                        <a:pt x="2794212" y="2759357"/>
                      </a:cubicBezTo>
                      <a:cubicBezTo>
                        <a:pt x="2790372" y="2761588"/>
                        <a:pt x="2787126" y="2764897"/>
                        <a:pt x="2783045" y="2765670"/>
                      </a:cubicBezTo>
                      <a:cubicBezTo>
                        <a:pt x="2784654" y="2764288"/>
                        <a:pt x="2785276" y="2763134"/>
                        <a:pt x="2786581" y="2761449"/>
                      </a:cubicBezTo>
                      <a:cubicBezTo>
                        <a:pt x="2782918" y="2759420"/>
                        <a:pt x="2779597" y="2758863"/>
                        <a:pt x="2775996" y="2759839"/>
                      </a:cubicBezTo>
                      <a:cubicBezTo>
                        <a:pt x="2777125" y="2760156"/>
                        <a:pt x="2777961" y="2760967"/>
                        <a:pt x="2781041" y="2761449"/>
                      </a:cubicBezTo>
                      <a:cubicBezTo>
                        <a:pt x="2777619" y="2763439"/>
                        <a:pt x="2774513" y="2763883"/>
                        <a:pt x="2770837" y="2763527"/>
                      </a:cubicBezTo>
                      <a:cubicBezTo>
                        <a:pt x="2770571" y="2763604"/>
                        <a:pt x="2773955" y="2761918"/>
                        <a:pt x="2773930" y="2761943"/>
                      </a:cubicBezTo>
                      <a:cubicBezTo>
                        <a:pt x="2774196" y="2761994"/>
                        <a:pt x="2773550" y="2760828"/>
                        <a:pt x="2773474" y="2760891"/>
                      </a:cubicBezTo>
                      <a:cubicBezTo>
                        <a:pt x="2769100" y="2761094"/>
                        <a:pt x="2771052" y="2760828"/>
                        <a:pt x="2766349" y="2758267"/>
                      </a:cubicBezTo>
                      <a:cubicBezTo>
                        <a:pt x="2765386" y="2759813"/>
                        <a:pt x="2765006" y="2759699"/>
                        <a:pt x="2763269" y="2760358"/>
                      </a:cubicBezTo>
                      <a:cubicBezTo>
                        <a:pt x="2763371" y="2764035"/>
                        <a:pt x="2764106" y="2762019"/>
                        <a:pt x="2762800" y="2765670"/>
                      </a:cubicBezTo>
                      <a:cubicBezTo>
                        <a:pt x="2765462" y="2764250"/>
                        <a:pt x="2767478" y="2764149"/>
                        <a:pt x="2769392" y="2763527"/>
                      </a:cubicBezTo>
                      <a:cubicBezTo>
                        <a:pt x="2759022" y="2769017"/>
                        <a:pt x="2743329" y="2767292"/>
                        <a:pt x="2738512" y="2779855"/>
                      </a:cubicBezTo>
                      <a:cubicBezTo>
                        <a:pt x="2739196" y="2777015"/>
                        <a:pt x="2739462" y="2775406"/>
                        <a:pt x="2740464" y="2773060"/>
                      </a:cubicBezTo>
                      <a:cubicBezTo>
                        <a:pt x="2738778" y="2773542"/>
                        <a:pt x="2738879" y="2773580"/>
                        <a:pt x="2737954" y="2775114"/>
                      </a:cubicBezTo>
                      <a:cubicBezTo>
                        <a:pt x="2736674" y="2769067"/>
                        <a:pt x="2743963" y="2769904"/>
                        <a:pt x="2747056" y="2765670"/>
                      </a:cubicBezTo>
                      <a:cubicBezTo>
                        <a:pt x="2741478" y="2768814"/>
                        <a:pt x="2739323" y="2770753"/>
                        <a:pt x="2735926" y="2774987"/>
                      </a:cubicBezTo>
                      <a:cubicBezTo>
                        <a:pt x="2733581" y="2777915"/>
                        <a:pt x="2742492" y="2784647"/>
                        <a:pt x="2732909" y="2780894"/>
                      </a:cubicBezTo>
                      <a:cubicBezTo>
                        <a:pt x="2732934" y="2781287"/>
                        <a:pt x="2733467" y="2782441"/>
                        <a:pt x="2733923" y="2782517"/>
                      </a:cubicBezTo>
                      <a:cubicBezTo>
                        <a:pt x="2729689" y="2782010"/>
                        <a:pt x="2725214" y="2783100"/>
                        <a:pt x="2721753" y="2785128"/>
                      </a:cubicBezTo>
                      <a:cubicBezTo>
                        <a:pt x="2721525" y="2782961"/>
                        <a:pt x="2721728" y="2778613"/>
                        <a:pt x="2721753" y="2777738"/>
                      </a:cubicBezTo>
                      <a:cubicBezTo>
                        <a:pt x="2722235" y="2777789"/>
                        <a:pt x="2722210" y="2777611"/>
                        <a:pt x="2722235" y="2777269"/>
                      </a:cubicBezTo>
                      <a:cubicBezTo>
                        <a:pt x="2723693" y="2777713"/>
                        <a:pt x="2724682" y="2778118"/>
                        <a:pt x="2725797" y="2778841"/>
                      </a:cubicBezTo>
                      <a:cubicBezTo>
                        <a:pt x="2725671" y="2778625"/>
                        <a:pt x="2726558" y="2776698"/>
                        <a:pt x="2726368" y="2776698"/>
                      </a:cubicBezTo>
                      <a:cubicBezTo>
                        <a:pt x="2725163" y="2776597"/>
                        <a:pt x="2724758" y="2777104"/>
                        <a:pt x="2723287" y="2776698"/>
                      </a:cubicBezTo>
                      <a:cubicBezTo>
                        <a:pt x="2723997" y="2775913"/>
                        <a:pt x="2725848" y="2775089"/>
                        <a:pt x="2726368" y="2774062"/>
                      </a:cubicBezTo>
                      <a:cubicBezTo>
                        <a:pt x="2725138" y="2774886"/>
                        <a:pt x="2724555" y="2774328"/>
                        <a:pt x="2724796" y="2773060"/>
                      </a:cubicBezTo>
                      <a:cubicBezTo>
                        <a:pt x="2723921" y="2774074"/>
                        <a:pt x="2723465" y="2775342"/>
                        <a:pt x="2722425" y="2776128"/>
                      </a:cubicBezTo>
                      <a:cubicBezTo>
                        <a:pt x="2722755" y="2774176"/>
                        <a:pt x="2722159" y="2771742"/>
                        <a:pt x="2722704" y="2769296"/>
                      </a:cubicBezTo>
                      <a:cubicBezTo>
                        <a:pt x="2718584" y="2769574"/>
                        <a:pt x="2719434" y="2769333"/>
                        <a:pt x="2719168" y="2765087"/>
                      </a:cubicBezTo>
                      <a:cubicBezTo>
                        <a:pt x="2717329" y="2767495"/>
                        <a:pt x="2717659" y="2770842"/>
                        <a:pt x="2719168" y="2774582"/>
                      </a:cubicBezTo>
                      <a:cubicBezTo>
                        <a:pt x="2717532" y="2773947"/>
                        <a:pt x="2719243" y="2773986"/>
                        <a:pt x="2718660" y="2775114"/>
                      </a:cubicBezTo>
                      <a:cubicBezTo>
                        <a:pt x="2717405" y="2774518"/>
                        <a:pt x="2715872" y="2774151"/>
                        <a:pt x="2714667" y="2773542"/>
                      </a:cubicBezTo>
                      <a:cubicBezTo>
                        <a:pt x="2726241" y="2787917"/>
                        <a:pt x="2713539" y="2784976"/>
                        <a:pt x="2706554" y="2797741"/>
                      </a:cubicBezTo>
                      <a:cubicBezTo>
                        <a:pt x="2706276" y="2796423"/>
                        <a:pt x="2705604" y="2795219"/>
                        <a:pt x="2705502" y="2793533"/>
                      </a:cubicBezTo>
                      <a:cubicBezTo>
                        <a:pt x="2704070" y="2795726"/>
                        <a:pt x="2701598" y="2799491"/>
                        <a:pt x="2700938" y="2800429"/>
                      </a:cubicBezTo>
                      <a:cubicBezTo>
                        <a:pt x="2701509" y="2803636"/>
                        <a:pt x="2701851" y="2806957"/>
                        <a:pt x="2703487" y="2810418"/>
                      </a:cubicBezTo>
                      <a:cubicBezTo>
                        <a:pt x="2703436" y="2810431"/>
                        <a:pt x="2702549" y="2809163"/>
                        <a:pt x="2701953" y="2809315"/>
                      </a:cubicBezTo>
                      <a:cubicBezTo>
                        <a:pt x="2702118" y="2810279"/>
                        <a:pt x="2702650" y="2811495"/>
                        <a:pt x="2702523" y="2811977"/>
                      </a:cubicBezTo>
                      <a:cubicBezTo>
                        <a:pt x="2706199" y="2812142"/>
                        <a:pt x="2715200" y="2811179"/>
                        <a:pt x="2717659" y="2811458"/>
                      </a:cubicBezTo>
                      <a:cubicBezTo>
                        <a:pt x="2724834" y="2819520"/>
                        <a:pt x="2715073" y="2826086"/>
                        <a:pt x="2715682" y="2813562"/>
                      </a:cubicBezTo>
                      <a:cubicBezTo>
                        <a:pt x="2711980" y="2818354"/>
                        <a:pt x="2714667" y="2820217"/>
                        <a:pt x="2712614" y="2826162"/>
                      </a:cubicBezTo>
                      <a:cubicBezTo>
                        <a:pt x="2713184" y="2826023"/>
                        <a:pt x="2714439" y="2824857"/>
                        <a:pt x="2714667" y="2824591"/>
                      </a:cubicBezTo>
                      <a:cubicBezTo>
                        <a:pt x="2714667" y="2824616"/>
                        <a:pt x="2713869" y="2828444"/>
                        <a:pt x="2713641" y="2827747"/>
                      </a:cubicBezTo>
                      <a:cubicBezTo>
                        <a:pt x="2713311" y="2827823"/>
                        <a:pt x="2717570" y="2827290"/>
                        <a:pt x="2717177" y="2827215"/>
                      </a:cubicBezTo>
                      <a:cubicBezTo>
                        <a:pt x="2718508" y="2829699"/>
                        <a:pt x="2729233" y="2833223"/>
                        <a:pt x="2729892" y="2839866"/>
                      </a:cubicBezTo>
                      <a:cubicBezTo>
                        <a:pt x="2730500" y="2846559"/>
                        <a:pt x="2718153" y="2854406"/>
                        <a:pt x="2713514" y="2855965"/>
                      </a:cubicBezTo>
                      <a:cubicBezTo>
                        <a:pt x="2702232" y="2859781"/>
                        <a:pt x="2694004" y="2850476"/>
                        <a:pt x="2684269" y="2858183"/>
                      </a:cubicBezTo>
                      <a:cubicBezTo>
                        <a:pt x="2686677" y="2852390"/>
                        <a:pt x="2682862" y="2847788"/>
                        <a:pt x="2680225" y="2845405"/>
                      </a:cubicBezTo>
                      <a:cubicBezTo>
                        <a:pt x="2683774" y="2842921"/>
                        <a:pt x="2686792" y="2845266"/>
                        <a:pt x="2689074" y="2849588"/>
                      </a:cubicBezTo>
                      <a:cubicBezTo>
                        <a:pt x="2691761" y="2845887"/>
                        <a:pt x="2691495" y="2842731"/>
                        <a:pt x="2687806" y="2839866"/>
                      </a:cubicBezTo>
                      <a:cubicBezTo>
                        <a:pt x="2687730" y="2839840"/>
                        <a:pt x="2687159" y="2841970"/>
                        <a:pt x="2687261" y="2841907"/>
                      </a:cubicBezTo>
                      <a:cubicBezTo>
                        <a:pt x="2686487" y="2840474"/>
                        <a:pt x="2685879" y="2839549"/>
                        <a:pt x="2685245" y="2837711"/>
                      </a:cubicBezTo>
                      <a:cubicBezTo>
                        <a:pt x="2685461" y="2839688"/>
                        <a:pt x="2684586" y="2840854"/>
                        <a:pt x="2684269" y="2842439"/>
                      </a:cubicBezTo>
                      <a:cubicBezTo>
                        <a:pt x="2680758" y="2837432"/>
                        <a:pt x="2674977" y="2837571"/>
                        <a:pt x="2679122" y="2830878"/>
                      </a:cubicBezTo>
                      <a:cubicBezTo>
                        <a:pt x="2679072" y="2831119"/>
                        <a:pt x="2677385" y="2833730"/>
                        <a:pt x="2677145" y="2834022"/>
                      </a:cubicBezTo>
                      <a:cubicBezTo>
                        <a:pt x="2675218" y="2829116"/>
                        <a:pt x="2675903" y="2830384"/>
                        <a:pt x="2671592" y="2828254"/>
                      </a:cubicBezTo>
                      <a:cubicBezTo>
                        <a:pt x="2672594" y="2824172"/>
                        <a:pt x="2675243" y="2823018"/>
                        <a:pt x="2678666" y="2824058"/>
                      </a:cubicBezTo>
                      <a:cubicBezTo>
                        <a:pt x="2678844" y="2823665"/>
                        <a:pt x="2679984" y="2821725"/>
                        <a:pt x="2680060" y="2821675"/>
                      </a:cubicBezTo>
                      <a:cubicBezTo>
                        <a:pt x="2670414" y="2827265"/>
                        <a:pt x="2674457" y="2813055"/>
                        <a:pt x="2671009" y="2810165"/>
                      </a:cubicBezTo>
                      <a:cubicBezTo>
                        <a:pt x="2670224" y="2811825"/>
                        <a:pt x="2671212" y="2812763"/>
                        <a:pt x="2671086" y="2814589"/>
                      </a:cubicBezTo>
                      <a:cubicBezTo>
                        <a:pt x="2670033" y="2814132"/>
                        <a:pt x="2669590" y="2812155"/>
                        <a:pt x="2668537" y="2811952"/>
                      </a:cubicBezTo>
                      <a:cubicBezTo>
                        <a:pt x="2668588" y="2812966"/>
                        <a:pt x="2669349" y="2813625"/>
                        <a:pt x="2669564" y="2814589"/>
                      </a:cubicBezTo>
                      <a:cubicBezTo>
                        <a:pt x="2663124" y="2809353"/>
                        <a:pt x="2666319" y="2800759"/>
                        <a:pt x="2669044" y="2797234"/>
                      </a:cubicBezTo>
                      <a:cubicBezTo>
                        <a:pt x="2666294" y="2792392"/>
                        <a:pt x="2664924" y="2784976"/>
                        <a:pt x="2672049" y="2787220"/>
                      </a:cubicBezTo>
                      <a:cubicBezTo>
                        <a:pt x="2673393" y="2782542"/>
                        <a:pt x="2673443" y="2777763"/>
                        <a:pt x="2673075" y="2772465"/>
                      </a:cubicBezTo>
                      <a:cubicBezTo>
                        <a:pt x="2674381" y="2773339"/>
                        <a:pt x="2673862" y="2773656"/>
                        <a:pt x="2674622" y="2774556"/>
                      </a:cubicBezTo>
                      <a:cubicBezTo>
                        <a:pt x="2676840" y="2772084"/>
                        <a:pt x="2680441" y="2771248"/>
                        <a:pt x="2684776" y="2771945"/>
                      </a:cubicBezTo>
                      <a:cubicBezTo>
                        <a:pt x="2685106" y="2768738"/>
                        <a:pt x="2685397" y="2768421"/>
                        <a:pt x="2686792" y="2764567"/>
                      </a:cubicBezTo>
                      <a:cubicBezTo>
                        <a:pt x="2686893" y="2765252"/>
                        <a:pt x="2686335" y="2762209"/>
                        <a:pt x="2686285" y="2761905"/>
                      </a:cubicBezTo>
                      <a:cubicBezTo>
                        <a:pt x="2682228" y="2762158"/>
                        <a:pt x="2681670" y="2761626"/>
                        <a:pt x="2678653" y="2760853"/>
                      </a:cubicBezTo>
                      <a:cubicBezTo>
                        <a:pt x="2678070" y="2762197"/>
                        <a:pt x="2677069" y="2763236"/>
                        <a:pt x="2676638" y="2764567"/>
                      </a:cubicBezTo>
                      <a:cubicBezTo>
                        <a:pt x="2676372" y="2762083"/>
                        <a:pt x="2675611" y="2760079"/>
                        <a:pt x="2675636" y="2757176"/>
                      </a:cubicBezTo>
                      <a:cubicBezTo>
                        <a:pt x="2673532" y="2755541"/>
                        <a:pt x="2674838" y="2757633"/>
                        <a:pt x="2673608" y="2755060"/>
                      </a:cubicBezTo>
                      <a:cubicBezTo>
                        <a:pt x="2673000" y="2755237"/>
                        <a:pt x="2672378" y="2755427"/>
                        <a:pt x="2671770" y="2755605"/>
                      </a:cubicBezTo>
                      <a:cubicBezTo>
                        <a:pt x="2672556" y="2757075"/>
                        <a:pt x="2673025" y="2760675"/>
                        <a:pt x="2673608" y="2762475"/>
                      </a:cubicBezTo>
                      <a:cubicBezTo>
                        <a:pt x="2671263" y="2763413"/>
                        <a:pt x="2667954" y="2762526"/>
                        <a:pt x="2664506" y="2759788"/>
                      </a:cubicBezTo>
                      <a:cubicBezTo>
                        <a:pt x="2666040" y="2756923"/>
                        <a:pt x="2665698" y="2754679"/>
                        <a:pt x="2666509" y="2751865"/>
                      </a:cubicBezTo>
                      <a:cubicBezTo>
                        <a:pt x="2664532" y="2754540"/>
                        <a:pt x="2664456" y="2753348"/>
                        <a:pt x="2663480" y="2756112"/>
                      </a:cubicBezTo>
                      <a:cubicBezTo>
                        <a:pt x="2662073" y="2753690"/>
                        <a:pt x="2661363" y="2754172"/>
                        <a:pt x="2661946" y="2749811"/>
                      </a:cubicBezTo>
                      <a:cubicBezTo>
                        <a:pt x="2661337" y="2749888"/>
                        <a:pt x="2660500" y="2751548"/>
                        <a:pt x="2659727" y="2751307"/>
                      </a:cubicBezTo>
                      <a:cubicBezTo>
                        <a:pt x="2657889" y="2747378"/>
                        <a:pt x="2657357" y="2745654"/>
                        <a:pt x="2660425" y="2742383"/>
                      </a:cubicBezTo>
                      <a:cubicBezTo>
                        <a:pt x="2659309" y="2742168"/>
                        <a:pt x="2658599" y="2742954"/>
                        <a:pt x="2658434" y="2741331"/>
                      </a:cubicBezTo>
                      <a:cubicBezTo>
                        <a:pt x="2655189" y="2743816"/>
                        <a:pt x="2653947" y="2744754"/>
                        <a:pt x="2653896" y="2747112"/>
                      </a:cubicBezTo>
                      <a:cubicBezTo>
                        <a:pt x="2653871" y="2747162"/>
                        <a:pt x="2653072" y="2747035"/>
                        <a:pt x="2652882" y="2747644"/>
                      </a:cubicBezTo>
                      <a:cubicBezTo>
                        <a:pt x="2653338" y="2747391"/>
                        <a:pt x="2654390" y="2747150"/>
                        <a:pt x="2654897" y="2747112"/>
                      </a:cubicBezTo>
                      <a:cubicBezTo>
                        <a:pt x="2653668" y="2747657"/>
                        <a:pt x="2652730" y="2749064"/>
                        <a:pt x="2650828" y="2749228"/>
                      </a:cubicBezTo>
                      <a:cubicBezTo>
                        <a:pt x="2660298" y="2750914"/>
                        <a:pt x="2660818" y="2761677"/>
                        <a:pt x="2651386" y="2763997"/>
                      </a:cubicBezTo>
                      <a:cubicBezTo>
                        <a:pt x="2650955" y="2763046"/>
                        <a:pt x="2651614" y="2761918"/>
                        <a:pt x="2651386" y="2761398"/>
                      </a:cubicBezTo>
                      <a:cubicBezTo>
                        <a:pt x="2648876" y="2765962"/>
                        <a:pt x="2643818" y="2766456"/>
                        <a:pt x="2640205" y="2762894"/>
                      </a:cubicBezTo>
                      <a:cubicBezTo>
                        <a:pt x="2637885" y="2766025"/>
                        <a:pt x="2637011" y="2765138"/>
                        <a:pt x="2634146" y="2766608"/>
                      </a:cubicBezTo>
                      <a:cubicBezTo>
                        <a:pt x="2634197" y="2765239"/>
                        <a:pt x="2634057" y="2763832"/>
                        <a:pt x="2634146" y="2762463"/>
                      </a:cubicBezTo>
                      <a:cubicBezTo>
                        <a:pt x="2633170" y="2766874"/>
                        <a:pt x="2631268" y="2769105"/>
                        <a:pt x="2627542" y="2766088"/>
                      </a:cubicBezTo>
                      <a:cubicBezTo>
                        <a:pt x="2627542" y="2765898"/>
                        <a:pt x="2627744" y="2769498"/>
                        <a:pt x="2628023" y="2768763"/>
                      </a:cubicBezTo>
                      <a:cubicBezTo>
                        <a:pt x="2611240" y="2767178"/>
                        <a:pt x="2629785" y="2761968"/>
                        <a:pt x="2626515" y="2753437"/>
                      </a:cubicBezTo>
                      <a:cubicBezTo>
                        <a:pt x="2624005" y="2753817"/>
                        <a:pt x="2622294" y="2752879"/>
                        <a:pt x="2619885" y="2753437"/>
                      </a:cubicBezTo>
                      <a:cubicBezTo>
                        <a:pt x="2620417" y="2752461"/>
                        <a:pt x="2620886" y="2751079"/>
                        <a:pt x="2621444" y="2750268"/>
                      </a:cubicBezTo>
                      <a:cubicBezTo>
                        <a:pt x="2612266" y="2757886"/>
                        <a:pt x="2599615" y="2744145"/>
                        <a:pt x="2610872" y="2740798"/>
                      </a:cubicBezTo>
                      <a:cubicBezTo>
                        <a:pt x="2610542" y="2740887"/>
                        <a:pt x="2607094" y="2741407"/>
                        <a:pt x="2609338" y="2740215"/>
                      </a:cubicBezTo>
                      <a:cubicBezTo>
                        <a:pt x="2607779" y="2740710"/>
                        <a:pt x="2607373" y="2741128"/>
                        <a:pt x="2606245" y="2741318"/>
                      </a:cubicBezTo>
                      <a:cubicBezTo>
                        <a:pt x="2606625" y="2740469"/>
                        <a:pt x="2607120" y="2739150"/>
                        <a:pt x="2607297" y="2738162"/>
                      </a:cubicBezTo>
                      <a:cubicBezTo>
                        <a:pt x="2606841" y="2738022"/>
                        <a:pt x="2605560" y="2739404"/>
                        <a:pt x="2605776" y="2739696"/>
                      </a:cubicBezTo>
                      <a:cubicBezTo>
                        <a:pt x="2604724" y="2738403"/>
                        <a:pt x="2605979" y="2738111"/>
                        <a:pt x="2606245" y="2737072"/>
                      </a:cubicBezTo>
                      <a:cubicBezTo>
                        <a:pt x="2604318" y="2736945"/>
                        <a:pt x="2602100" y="2737313"/>
                        <a:pt x="2600173" y="2737072"/>
                      </a:cubicBezTo>
                      <a:cubicBezTo>
                        <a:pt x="2604306" y="2738263"/>
                        <a:pt x="2605649" y="2741242"/>
                        <a:pt x="2602936" y="2744703"/>
                      </a:cubicBezTo>
                      <a:cubicBezTo>
                        <a:pt x="2602252" y="2743727"/>
                        <a:pt x="2602962" y="2742472"/>
                        <a:pt x="2602125" y="2741445"/>
                      </a:cubicBezTo>
                      <a:cubicBezTo>
                        <a:pt x="2601745" y="2741724"/>
                        <a:pt x="2600921" y="2742447"/>
                        <a:pt x="2601681" y="2743385"/>
                      </a:cubicBezTo>
                      <a:cubicBezTo>
                        <a:pt x="2601948" y="2743385"/>
                        <a:pt x="2600515" y="2742700"/>
                        <a:pt x="2600731" y="2742852"/>
                      </a:cubicBezTo>
                      <a:cubicBezTo>
                        <a:pt x="2601555" y="2743942"/>
                        <a:pt x="2600680" y="2743410"/>
                        <a:pt x="2600185" y="2743968"/>
                      </a:cubicBezTo>
                      <a:cubicBezTo>
                        <a:pt x="2602949" y="2745096"/>
                        <a:pt x="2603317" y="2746478"/>
                        <a:pt x="2603266" y="2750268"/>
                      </a:cubicBezTo>
                      <a:cubicBezTo>
                        <a:pt x="2604141" y="2750293"/>
                        <a:pt x="2605396" y="2749736"/>
                        <a:pt x="2606245" y="2750268"/>
                      </a:cubicBezTo>
                      <a:cubicBezTo>
                        <a:pt x="2605954" y="2750724"/>
                        <a:pt x="2605675" y="2751193"/>
                        <a:pt x="2605396" y="2751637"/>
                      </a:cubicBezTo>
                      <a:cubicBezTo>
                        <a:pt x="2601162" y="2750686"/>
                        <a:pt x="2599476" y="2750623"/>
                        <a:pt x="2597676" y="2753437"/>
                      </a:cubicBezTo>
                      <a:cubicBezTo>
                        <a:pt x="2596953" y="2752385"/>
                        <a:pt x="2595343" y="2750078"/>
                        <a:pt x="2595140" y="2749216"/>
                      </a:cubicBezTo>
                      <a:cubicBezTo>
                        <a:pt x="2596319" y="2749165"/>
                        <a:pt x="2597561" y="2749850"/>
                        <a:pt x="2598119" y="2749786"/>
                      </a:cubicBezTo>
                      <a:cubicBezTo>
                        <a:pt x="2598119" y="2748709"/>
                        <a:pt x="2598119" y="2747657"/>
                        <a:pt x="2598119" y="2746567"/>
                      </a:cubicBezTo>
                      <a:cubicBezTo>
                        <a:pt x="2594823" y="2746921"/>
                        <a:pt x="2595686" y="2747479"/>
                        <a:pt x="2596142" y="2742358"/>
                      </a:cubicBezTo>
                      <a:cubicBezTo>
                        <a:pt x="2595812" y="2742688"/>
                        <a:pt x="2595482" y="2742688"/>
                        <a:pt x="2595140" y="2742358"/>
                      </a:cubicBezTo>
                      <a:cubicBezTo>
                        <a:pt x="2591312" y="2746123"/>
                        <a:pt x="2594380" y="2743182"/>
                        <a:pt x="2590564" y="2743372"/>
                      </a:cubicBezTo>
                      <a:cubicBezTo>
                        <a:pt x="2591388" y="2742763"/>
                        <a:pt x="2592326" y="2743347"/>
                        <a:pt x="2593049" y="2742358"/>
                      </a:cubicBezTo>
                      <a:cubicBezTo>
                        <a:pt x="2592681" y="2741800"/>
                        <a:pt x="2590513" y="2742320"/>
                        <a:pt x="2590361" y="2741978"/>
                      </a:cubicBezTo>
                      <a:cubicBezTo>
                        <a:pt x="2591122" y="2740494"/>
                        <a:pt x="2592199" y="2738694"/>
                        <a:pt x="2592631" y="2737059"/>
                      </a:cubicBezTo>
                      <a:cubicBezTo>
                        <a:pt x="2591984" y="2737211"/>
                        <a:pt x="2591439" y="2738593"/>
                        <a:pt x="2591071" y="2738618"/>
                      </a:cubicBezTo>
                      <a:cubicBezTo>
                        <a:pt x="2590260" y="2737997"/>
                        <a:pt x="2591020" y="2736932"/>
                        <a:pt x="2590070" y="2736526"/>
                      </a:cubicBezTo>
                      <a:cubicBezTo>
                        <a:pt x="2589918" y="2737858"/>
                        <a:pt x="2590019" y="2738897"/>
                        <a:pt x="2589537" y="2740203"/>
                      </a:cubicBezTo>
                      <a:cubicBezTo>
                        <a:pt x="2588954" y="2741001"/>
                        <a:pt x="2588752" y="2738555"/>
                        <a:pt x="2588029" y="2739150"/>
                      </a:cubicBezTo>
                      <a:cubicBezTo>
                        <a:pt x="2588194" y="2740203"/>
                        <a:pt x="2588878" y="2741255"/>
                        <a:pt x="2589056" y="2742345"/>
                      </a:cubicBezTo>
                      <a:cubicBezTo>
                        <a:pt x="2588219" y="2742510"/>
                        <a:pt x="2587344" y="2742675"/>
                        <a:pt x="2586508" y="2742827"/>
                      </a:cubicBezTo>
                      <a:cubicBezTo>
                        <a:pt x="2585950" y="2741369"/>
                        <a:pt x="2587458" y="2740431"/>
                        <a:pt x="2587484" y="2739150"/>
                      </a:cubicBezTo>
                      <a:cubicBezTo>
                        <a:pt x="2580461" y="2737642"/>
                        <a:pt x="2593619" y="2733852"/>
                        <a:pt x="2586508" y="2729149"/>
                      </a:cubicBezTo>
                      <a:cubicBezTo>
                        <a:pt x="2584948" y="2731012"/>
                        <a:pt x="2587027" y="2729656"/>
                        <a:pt x="2584517" y="2730163"/>
                      </a:cubicBezTo>
                      <a:cubicBezTo>
                        <a:pt x="2584416" y="2730277"/>
                        <a:pt x="2585468" y="2730746"/>
                        <a:pt x="2585544" y="2730683"/>
                      </a:cubicBezTo>
                      <a:cubicBezTo>
                        <a:pt x="2585164" y="2729161"/>
                        <a:pt x="2583934" y="2730214"/>
                        <a:pt x="2584948" y="2726512"/>
                      </a:cubicBezTo>
                      <a:cubicBezTo>
                        <a:pt x="2584188" y="2727082"/>
                        <a:pt x="2584543" y="2728236"/>
                        <a:pt x="2583440" y="2726512"/>
                      </a:cubicBezTo>
                      <a:cubicBezTo>
                        <a:pt x="2581766" y="2729529"/>
                        <a:pt x="2581982" y="2728300"/>
                        <a:pt x="2579903" y="2729669"/>
                      </a:cubicBezTo>
                      <a:cubicBezTo>
                        <a:pt x="2579700" y="2730353"/>
                        <a:pt x="2581107" y="2730645"/>
                        <a:pt x="2580930" y="2731253"/>
                      </a:cubicBezTo>
                      <a:cubicBezTo>
                        <a:pt x="2578686" y="2733623"/>
                        <a:pt x="2579142" y="2731367"/>
                        <a:pt x="2578915" y="2733877"/>
                      </a:cubicBezTo>
                      <a:cubicBezTo>
                        <a:pt x="2577241" y="2730772"/>
                        <a:pt x="2576265" y="2733180"/>
                        <a:pt x="2577900" y="2727045"/>
                      </a:cubicBezTo>
                      <a:cubicBezTo>
                        <a:pt x="2575378" y="2730214"/>
                        <a:pt x="2575479" y="2733700"/>
                        <a:pt x="2578407" y="2736514"/>
                      </a:cubicBezTo>
                      <a:cubicBezTo>
                        <a:pt x="2579079" y="2737287"/>
                        <a:pt x="2580220" y="2740583"/>
                        <a:pt x="2576848" y="2742827"/>
                      </a:cubicBezTo>
                      <a:cubicBezTo>
                        <a:pt x="2577469" y="2743321"/>
                        <a:pt x="2579155" y="2744107"/>
                        <a:pt x="2579903" y="2744462"/>
                      </a:cubicBezTo>
                      <a:cubicBezTo>
                        <a:pt x="2579586" y="2745096"/>
                        <a:pt x="2578458" y="2744919"/>
                        <a:pt x="2579371" y="2745514"/>
                      </a:cubicBezTo>
                      <a:cubicBezTo>
                        <a:pt x="2579371" y="2745324"/>
                        <a:pt x="2576531" y="2746845"/>
                        <a:pt x="2577900" y="2745514"/>
                      </a:cubicBezTo>
                      <a:cubicBezTo>
                        <a:pt x="2578915" y="2745945"/>
                        <a:pt x="2579637" y="2746516"/>
                        <a:pt x="2579586" y="2747441"/>
                      </a:cubicBezTo>
                      <a:cubicBezTo>
                        <a:pt x="2579814" y="2747593"/>
                        <a:pt x="2579903" y="2747821"/>
                        <a:pt x="2579903" y="2748138"/>
                      </a:cubicBezTo>
                      <a:cubicBezTo>
                        <a:pt x="2580372" y="2746211"/>
                        <a:pt x="2581031" y="2745818"/>
                        <a:pt x="2582007" y="2744462"/>
                      </a:cubicBezTo>
                      <a:cubicBezTo>
                        <a:pt x="2581766" y="2745413"/>
                        <a:pt x="2581234" y="2747302"/>
                        <a:pt x="2580930" y="2748138"/>
                      </a:cubicBezTo>
                      <a:cubicBezTo>
                        <a:pt x="2582464" y="2747112"/>
                        <a:pt x="2582324" y="2746579"/>
                        <a:pt x="2583960" y="2746047"/>
                      </a:cubicBezTo>
                      <a:cubicBezTo>
                        <a:pt x="2583491" y="2748037"/>
                        <a:pt x="2583693" y="2747758"/>
                        <a:pt x="2582464" y="2749774"/>
                      </a:cubicBezTo>
                      <a:cubicBezTo>
                        <a:pt x="2582730" y="2749482"/>
                        <a:pt x="2583072" y="2749279"/>
                        <a:pt x="2583440" y="2749203"/>
                      </a:cubicBezTo>
                      <a:cubicBezTo>
                        <a:pt x="2581678" y="2750673"/>
                        <a:pt x="2582223" y="2749583"/>
                        <a:pt x="2580448" y="2750255"/>
                      </a:cubicBezTo>
                      <a:cubicBezTo>
                        <a:pt x="2580575" y="2751447"/>
                        <a:pt x="2581234" y="2750750"/>
                        <a:pt x="2582007" y="2751295"/>
                      </a:cubicBezTo>
                      <a:cubicBezTo>
                        <a:pt x="2580397" y="2753754"/>
                        <a:pt x="2580182" y="2752955"/>
                        <a:pt x="2578141" y="2755034"/>
                      </a:cubicBezTo>
                      <a:cubicBezTo>
                        <a:pt x="2578737" y="2753462"/>
                        <a:pt x="2579726" y="2753437"/>
                        <a:pt x="2579903" y="2752930"/>
                      </a:cubicBezTo>
                      <a:cubicBezTo>
                        <a:pt x="2577533" y="2754514"/>
                        <a:pt x="2577685" y="2754134"/>
                        <a:pt x="2577419" y="2756568"/>
                      </a:cubicBezTo>
                      <a:cubicBezTo>
                        <a:pt x="2572804" y="2755921"/>
                        <a:pt x="2573641" y="2757506"/>
                        <a:pt x="2571435" y="2754007"/>
                      </a:cubicBezTo>
                      <a:cubicBezTo>
                        <a:pt x="2570485" y="2753868"/>
                        <a:pt x="2575999" y="2754831"/>
                        <a:pt x="2573349" y="2755034"/>
                      </a:cubicBezTo>
                      <a:cubicBezTo>
                        <a:pt x="2573400" y="2756834"/>
                        <a:pt x="2576278" y="2751320"/>
                        <a:pt x="2575390" y="2751840"/>
                      </a:cubicBezTo>
                      <a:cubicBezTo>
                        <a:pt x="2575581" y="2752512"/>
                        <a:pt x="2573603" y="2751979"/>
                        <a:pt x="2573349" y="2751840"/>
                      </a:cubicBezTo>
                      <a:cubicBezTo>
                        <a:pt x="2574795" y="2750673"/>
                        <a:pt x="2575796" y="2749038"/>
                        <a:pt x="2577406" y="2748151"/>
                      </a:cubicBezTo>
                      <a:cubicBezTo>
                        <a:pt x="2577178" y="2748049"/>
                        <a:pt x="2573375" y="2748569"/>
                        <a:pt x="2572868" y="2748683"/>
                      </a:cubicBezTo>
                      <a:cubicBezTo>
                        <a:pt x="2573299" y="2748252"/>
                        <a:pt x="2574718" y="2746921"/>
                        <a:pt x="2573920" y="2746059"/>
                      </a:cubicBezTo>
                      <a:cubicBezTo>
                        <a:pt x="2570992" y="2748481"/>
                        <a:pt x="2569863" y="2747657"/>
                        <a:pt x="2567823" y="2743968"/>
                      </a:cubicBezTo>
                      <a:cubicBezTo>
                        <a:pt x="2566010" y="2747568"/>
                        <a:pt x="2565845" y="2747276"/>
                        <a:pt x="2566795" y="2751307"/>
                      </a:cubicBezTo>
                      <a:cubicBezTo>
                        <a:pt x="2564818" y="2753209"/>
                        <a:pt x="2565274" y="2752448"/>
                        <a:pt x="2565794" y="2754477"/>
                      </a:cubicBezTo>
                      <a:cubicBezTo>
                        <a:pt x="2564019" y="2757329"/>
                        <a:pt x="2561522" y="2759534"/>
                        <a:pt x="2558176" y="2761309"/>
                      </a:cubicBezTo>
                      <a:cubicBezTo>
                        <a:pt x="2560939" y="2758216"/>
                        <a:pt x="2561446" y="2752905"/>
                        <a:pt x="2560204" y="2750268"/>
                      </a:cubicBezTo>
                      <a:cubicBezTo>
                        <a:pt x="2557897" y="2750800"/>
                        <a:pt x="2558670" y="2750458"/>
                        <a:pt x="2557808" y="2750382"/>
                      </a:cubicBezTo>
                      <a:cubicBezTo>
                        <a:pt x="2557618" y="2750572"/>
                        <a:pt x="2557428" y="2750712"/>
                        <a:pt x="2557162" y="2750838"/>
                      </a:cubicBezTo>
                      <a:cubicBezTo>
                        <a:pt x="2558100" y="2756365"/>
                        <a:pt x="2551546" y="2756352"/>
                        <a:pt x="2547464" y="2756581"/>
                      </a:cubicBezTo>
                      <a:cubicBezTo>
                        <a:pt x="2548415" y="2757240"/>
                        <a:pt x="2548516" y="2757886"/>
                        <a:pt x="2547844" y="2758546"/>
                      </a:cubicBezTo>
                      <a:cubicBezTo>
                        <a:pt x="2545626" y="2757823"/>
                        <a:pt x="2544016" y="2757886"/>
                        <a:pt x="2541937" y="2757633"/>
                      </a:cubicBezTo>
                      <a:cubicBezTo>
                        <a:pt x="2542571" y="2758787"/>
                        <a:pt x="2544497" y="2759167"/>
                        <a:pt x="2545499" y="2759775"/>
                      </a:cubicBezTo>
                      <a:cubicBezTo>
                        <a:pt x="2545321" y="2761854"/>
                        <a:pt x="2542431" y="2762310"/>
                        <a:pt x="2548503" y="2761879"/>
                      </a:cubicBezTo>
                      <a:cubicBezTo>
                        <a:pt x="2546272" y="2763046"/>
                        <a:pt x="2542584" y="2765138"/>
                        <a:pt x="2539883" y="2766608"/>
                      </a:cubicBezTo>
                      <a:cubicBezTo>
                        <a:pt x="2542659" y="2762539"/>
                        <a:pt x="2534623" y="2752246"/>
                        <a:pt x="2529767" y="2750433"/>
                      </a:cubicBezTo>
                      <a:cubicBezTo>
                        <a:pt x="2522111" y="2747568"/>
                        <a:pt x="2514555" y="2754692"/>
                        <a:pt x="2507292" y="2754020"/>
                      </a:cubicBezTo>
                      <a:cubicBezTo>
                        <a:pt x="2504313" y="2753741"/>
                        <a:pt x="2503020" y="2750281"/>
                        <a:pt x="2501638" y="2750052"/>
                      </a:cubicBezTo>
                      <a:cubicBezTo>
                        <a:pt x="2500852" y="2749913"/>
                        <a:pt x="2496263" y="2751764"/>
                        <a:pt x="2496973" y="2752195"/>
                      </a:cubicBezTo>
                      <a:cubicBezTo>
                        <a:pt x="2499610" y="2753817"/>
                        <a:pt x="2488898" y="2748772"/>
                        <a:pt x="2492017" y="2749622"/>
                      </a:cubicBezTo>
                      <a:cubicBezTo>
                        <a:pt x="2492524" y="2749748"/>
                        <a:pt x="2488112" y="2744931"/>
                        <a:pt x="2487745" y="2744665"/>
                      </a:cubicBezTo>
                      <a:cubicBezTo>
                        <a:pt x="2486642" y="2743879"/>
                        <a:pt x="2484386" y="2746097"/>
                        <a:pt x="2482890" y="2745185"/>
                      </a:cubicBezTo>
                      <a:cubicBezTo>
                        <a:pt x="2481254" y="2744221"/>
                        <a:pt x="2470467" y="2738961"/>
                        <a:pt x="2469605" y="2737655"/>
                      </a:cubicBezTo>
                      <a:cubicBezTo>
                        <a:pt x="2468908" y="2736615"/>
                        <a:pt x="2468908" y="2730074"/>
                        <a:pt x="2470188" y="2731114"/>
                      </a:cubicBezTo>
                      <a:cubicBezTo>
                        <a:pt x="2466410" y="2728084"/>
                        <a:pt x="2466233" y="2730556"/>
                        <a:pt x="2461948" y="2728819"/>
                      </a:cubicBezTo>
                      <a:cubicBezTo>
                        <a:pt x="2457537" y="2727019"/>
                        <a:pt x="2451350" y="2724446"/>
                        <a:pt x="2447510" y="2722963"/>
                      </a:cubicBezTo>
                      <a:cubicBezTo>
                        <a:pt x="2441628" y="2720681"/>
                        <a:pt x="2446724" y="2728654"/>
                        <a:pt x="2443339" y="2721366"/>
                      </a:cubicBezTo>
                      <a:cubicBezTo>
                        <a:pt x="2443415" y="2721555"/>
                        <a:pt x="2443390" y="2714089"/>
                        <a:pt x="2443390" y="2713582"/>
                      </a:cubicBezTo>
                      <a:cubicBezTo>
                        <a:pt x="2443415" y="2712302"/>
                        <a:pt x="2443517" y="2706293"/>
                        <a:pt x="2443542" y="2706395"/>
                      </a:cubicBezTo>
                      <a:cubicBezTo>
                        <a:pt x="2441665" y="2700753"/>
                        <a:pt x="2437736" y="2699917"/>
                        <a:pt x="2436582" y="2697483"/>
                      </a:cubicBezTo>
                      <a:cubicBezTo>
                        <a:pt x="2433160" y="2690283"/>
                        <a:pt x="2433540" y="2681992"/>
                        <a:pt x="2439612" y="2675755"/>
                      </a:cubicBezTo>
                      <a:cubicBezTo>
                        <a:pt x="2439561" y="2675806"/>
                        <a:pt x="2442515" y="2680230"/>
                        <a:pt x="2444100" y="2678848"/>
                      </a:cubicBezTo>
                      <a:cubicBezTo>
                        <a:pt x="2446128" y="2677099"/>
                        <a:pt x="2445912" y="2673879"/>
                        <a:pt x="2447586" y="2671737"/>
                      </a:cubicBezTo>
                      <a:cubicBezTo>
                        <a:pt x="2450451" y="2668213"/>
                        <a:pt x="2449588" y="2665031"/>
                        <a:pt x="2453759" y="2662229"/>
                      </a:cubicBezTo>
                      <a:cubicBezTo>
                        <a:pt x="2451034" y="2661798"/>
                        <a:pt x="2449588" y="2660543"/>
                        <a:pt x="2447560" y="2658984"/>
                      </a:cubicBezTo>
                      <a:cubicBezTo>
                        <a:pt x="2442959" y="2655447"/>
                        <a:pt x="2442959" y="2658591"/>
                        <a:pt x="2439815" y="2656931"/>
                      </a:cubicBezTo>
                      <a:cubicBezTo>
                        <a:pt x="2436050" y="2654928"/>
                        <a:pt x="2435302" y="2651898"/>
                        <a:pt x="2430041" y="2651746"/>
                      </a:cubicBezTo>
                      <a:cubicBezTo>
                        <a:pt x="2428140" y="2651683"/>
                        <a:pt x="2419571" y="2658756"/>
                        <a:pt x="2414373" y="2656931"/>
                      </a:cubicBezTo>
                      <a:cubicBezTo>
                        <a:pt x="2410101" y="2655410"/>
                        <a:pt x="2412358" y="2651087"/>
                        <a:pt x="2408441" y="2648906"/>
                      </a:cubicBezTo>
                      <a:cubicBezTo>
                        <a:pt x="2401887" y="2645205"/>
                        <a:pt x="2397462" y="2649071"/>
                        <a:pt x="2392798" y="2650187"/>
                      </a:cubicBezTo>
                      <a:cubicBezTo>
                        <a:pt x="2381883" y="2652785"/>
                        <a:pt x="2386523" y="2650998"/>
                        <a:pt x="2377421" y="2645889"/>
                      </a:cubicBezTo>
                      <a:cubicBezTo>
                        <a:pt x="2375241" y="2644672"/>
                        <a:pt x="2372908" y="2643253"/>
                        <a:pt x="2370918" y="2642137"/>
                      </a:cubicBezTo>
                      <a:cubicBezTo>
                        <a:pt x="2368750" y="2640958"/>
                        <a:pt x="2364351" y="2642619"/>
                        <a:pt x="2362628" y="2641351"/>
                      </a:cubicBezTo>
                      <a:cubicBezTo>
                        <a:pt x="2360612" y="2639830"/>
                        <a:pt x="2361449" y="2637536"/>
                        <a:pt x="2360333" y="2636395"/>
                      </a:cubicBezTo>
                      <a:cubicBezTo>
                        <a:pt x="2355795" y="2631793"/>
                        <a:pt x="2352702" y="2626760"/>
                        <a:pt x="2347378" y="2622945"/>
                      </a:cubicBezTo>
                      <a:cubicBezTo>
                        <a:pt x="2342256" y="2619269"/>
                        <a:pt x="2346592" y="2617722"/>
                        <a:pt x="2340215" y="2618812"/>
                      </a:cubicBezTo>
                      <a:cubicBezTo>
                        <a:pt x="2338694" y="2619066"/>
                        <a:pt x="2334904" y="2624897"/>
                        <a:pt x="2333839" y="2625544"/>
                      </a:cubicBezTo>
                      <a:cubicBezTo>
                        <a:pt x="2330011" y="2627851"/>
                        <a:pt x="2321264" y="2630323"/>
                        <a:pt x="2315991" y="2633581"/>
                      </a:cubicBezTo>
                      <a:cubicBezTo>
                        <a:pt x="2313126" y="2635342"/>
                        <a:pt x="2310692" y="2632592"/>
                        <a:pt x="2307763" y="2637954"/>
                      </a:cubicBezTo>
                      <a:cubicBezTo>
                        <a:pt x="2305596" y="2641884"/>
                        <a:pt x="2308309" y="2647867"/>
                        <a:pt x="2305913" y="2652519"/>
                      </a:cubicBezTo>
                      <a:cubicBezTo>
                        <a:pt x="2302401" y="2659390"/>
                        <a:pt x="2292197" y="2662470"/>
                        <a:pt x="2287785" y="2658224"/>
                      </a:cubicBezTo>
                      <a:cubicBezTo>
                        <a:pt x="2284008" y="2662128"/>
                        <a:pt x="2276541" y="2670266"/>
                        <a:pt x="2270900" y="2669341"/>
                      </a:cubicBezTo>
                      <a:cubicBezTo>
                        <a:pt x="2265297" y="2668416"/>
                        <a:pt x="2262483" y="2664131"/>
                        <a:pt x="2264714" y="2659136"/>
                      </a:cubicBezTo>
                      <a:cubicBezTo>
                        <a:pt x="2254066" y="2661228"/>
                        <a:pt x="2251404" y="2662115"/>
                        <a:pt x="2247664" y="2671775"/>
                      </a:cubicBezTo>
                      <a:cubicBezTo>
                        <a:pt x="2243836" y="2681587"/>
                        <a:pt x="2247892" y="2684122"/>
                        <a:pt x="2238854" y="2678772"/>
                      </a:cubicBezTo>
                      <a:cubicBezTo>
                        <a:pt x="2234392" y="2676110"/>
                        <a:pt x="2224783" y="2661025"/>
                        <a:pt x="2220714" y="2661101"/>
                      </a:cubicBezTo>
                      <a:cubicBezTo>
                        <a:pt x="2211004" y="2661266"/>
                        <a:pt x="2216569" y="2679647"/>
                        <a:pt x="2207974" y="2677137"/>
                      </a:cubicBezTo>
                      <a:cubicBezTo>
                        <a:pt x="2196286" y="2673702"/>
                        <a:pt x="2207391" y="2657691"/>
                        <a:pt x="2193548" y="2665779"/>
                      </a:cubicBezTo>
                      <a:cubicBezTo>
                        <a:pt x="2187400" y="2669366"/>
                        <a:pt x="2183343" y="2679406"/>
                        <a:pt x="2179705" y="2683792"/>
                      </a:cubicBezTo>
                      <a:cubicBezTo>
                        <a:pt x="2172201" y="2692856"/>
                        <a:pt x="2170807" y="2687177"/>
                        <a:pt x="2162541" y="2680306"/>
                      </a:cubicBezTo>
                      <a:cubicBezTo>
                        <a:pt x="2156748" y="2675476"/>
                        <a:pt x="2149992" y="2671407"/>
                        <a:pt x="2142703" y="2667807"/>
                      </a:cubicBezTo>
                      <a:cubicBezTo>
                        <a:pt x="2143412" y="2668162"/>
                        <a:pt x="2136668" y="2666590"/>
                        <a:pt x="2137898" y="2666806"/>
                      </a:cubicBezTo>
                      <a:cubicBezTo>
                        <a:pt x="2135046" y="2666311"/>
                        <a:pt x="2135274" y="2663320"/>
                        <a:pt x="2131065" y="2664473"/>
                      </a:cubicBezTo>
                      <a:cubicBezTo>
                        <a:pt x="2125868" y="2665893"/>
                        <a:pt x="2127580" y="2674069"/>
                        <a:pt x="2126350" y="2675781"/>
                      </a:cubicBezTo>
                      <a:cubicBezTo>
                        <a:pt x="2120519" y="2683919"/>
                        <a:pt x="2116931" y="2689687"/>
                        <a:pt x="2109236" y="2690676"/>
                      </a:cubicBezTo>
                      <a:cubicBezTo>
                        <a:pt x="2105814" y="2691094"/>
                        <a:pt x="2097257" y="2689649"/>
                        <a:pt x="2090982" y="2689661"/>
                      </a:cubicBezTo>
                      <a:cubicBezTo>
                        <a:pt x="2088142" y="2689661"/>
                        <a:pt x="2091565" y="2693604"/>
                        <a:pt x="2085962" y="2691981"/>
                      </a:cubicBezTo>
                      <a:cubicBezTo>
                        <a:pt x="2081424" y="2690650"/>
                        <a:pt x="2084226" y="2682930"/>
                        <a:pt x="2077342" y="2685123"/>
                      </a:cubicBezTo>
                      <a:cubicBezTo>
                        <a:pt x="2071473" y="2687012"/>
                        <a:pt x="2073501" y="2693895"/>
                        <a:pt x="2070890" y="2697711"/>
                      </a:cubicBezTo>
                      <a:cubicBezTo>
                        <a:pt x="2065236" y="2706014"/>
                        <a:pt x="2064590" y="2699980"/>
                        <a:pt x="2066960" y="2711326"/>
                      </a:cubicBezTo>
                      <a:cubicBezTo>
                        <a:pt x="2068747" y="2719654"/>
                        <a:pt x="2070712" y="2722025"/>
                        <a:pt x="2075149" y="2728439"/>
                      </a:cubicBezTo>
                      <a:cubicBezTo>
                        <a:pt x="2079586" y="2734879"/>
                        <a:pt x="2079637" y="2740330"/>
                        <a:pt x="2080828" y="2746769"/>
                      </a:cubicBezTo>
                      <a:cubicBezTo>
                        <a:pt x="2082489" y="2755643"/>
                        <a:pt x="2082489" y="2752752"/>
                        <a:pt x="2079548" y="2762450"/>
                      </a:cubicBezTo>
                      <a:cubicBezTo>
                        <a:pt x="2077165" y="2770424"/>
                        <a:pt x="2080195" y="2772997"/>
                        <a:pt x="2081386" y="2778055"/>
                      </a:cubicBezTo>
                      <a:cubicBezTo>
                        <a:pt x="2082210" y="2781414"/>
                        <a:pt x="2085126" y="2779716"/>
                        <a:pt x="2084606" y="2784076"/>
                      </a:cubicBezTo>
                      <a:cubicBezTo>
                        <a:pt x="2084834" y="2782061"/>
                        <a:pt x="2080309" y="2789033"/>
                        <a:pt x="2080309" y="2789045"/>
                      </a:cubicBezTo>
                      <a:cubicBezTo>
                        <a:pt x="2074579" y="2790465"/>
                        <a:pt x="2074579" y="2783518"/>
                        <a:pt x="2068076" y="2786320"/>
                      </a:cubicBezTo>
                      <a:cubicBezTo>
                        <a:pt x="2069179" y="2776927"/>
                        <a:pt x="2056096" y="2783442"/>
                        <a:pt x="2050937" y="2783810"/>
                      </a:cubicBezTo>
                      <a:cubicBezTo>
                        <a:pt x="2041163" y="2784520"/>
                        <a:pt x="2043623" y="2785369"/>
                        <a:pt x="2040378" y="2775608"/>
                      </a:cubicBezTo>
                      <a:cubicBezTo>
                        <a:pt x="2040542" y="2776039"/>
                        <a:pt x="2040707" y="2770183"/>
                        <a:pt x="2040732" y="2770563"/>
                      </a:cubicBezTo>
                      <a:cubicBezTo>
                        <a:pt x="2040657" y="2769625"/>
                        <a:pt x="2037829" y="2769650"/>
                        <a:pt x="2037677" y="2768395"/>
                      </a:cubicBezTo>
                      <a:cubicBezTo>
                        <a:pt x="2037297" y="2765670"/>
                        <a:pt x="2039313" y="2763033"/>
                        <a:pt x="2038932" y="2760371"/>
                      </a:cubicBezTo>
                      <a:cubicBezTo>
                        <a:pt x="2038653" y="2758431"/>
                        <a:pt x="2037221" y="2744361"/>
                        <a:pt x="2034318" y="2742561"/>
                      </a:cubicBezTo>
                      <a:cubicBezTo>
                        <a:pt x="2019880" y="2733700"/>
                        <a:pt x="2004224" y="2768041"/>
                        <a:pt x="1987060" y="2764516"/>
                      </a:cubicBezTo>
                      <a:cubicBezTo>
                        <a:pt x="1979847" y="2763033"/>
                        <a:pt x="1980975" y="2760105"/>
                        <a:pt x="1973496" y="2761740"/>
                      </a:cubicBezTo>
                      <a:cubicBezTo>
                        <a:pt x="1967589" y="2763033"/>
                        <a:pt x="1959805" y="2771171"/>
                        <a:pt x="1957714" y="2758736"/>
                      </a:cubicBezTo>
                      <a:cubicBezTo>
                        <a:pt x="1957410" y="2756847"/>
                        <a:pt x="1961060" y="2749013"/>
                        <a:pt x="1961758" y="2750610"/>
                      </a:cubicBezTo>
                      <a:cubicBezTo>
                        <a:pt x="1959324" y="2745159"/>
                        <a:pt x="1953480" y="2749596"/>
                        <a:pt x="1949575" y="2746351"/>
                      </a:cubicBezTo>
                      <a:cubicBezTo>
                        <a:pt x="1941082" y="2739328"/>
                        <a:pt x="1949373" y="2727387"/>
                        <a:pt x="1946888" y="2719350"/>
                      </a:cubicBezTo>
                      <a:cubicBezTo>
                        <a:pt x="1943275" y="2717968"/>
                        <a:pt x="1938724" y="2720985"/>
                        <a:pt x="1939155" y="2721074"/>
                      </a:cubicBezTo>
                      <a:cubicBezTo>
                        <a:pt x="1937875" y="2720833"/>
                        <a:pt x="1935644" y="2718957"/>
                        <a:pt x="1934136" y="2718843"/>
                      </a:cubicBezTo>
                      <a:cubicBezTo>
                        <a:pt x="1929128" y="2718437"/>
                        <a:pt x="1928317" y="2717423"/>
                        <a:pt x="1924692" y="2716713"/>
                      </a:cubicBezTo>
                      <a:cubicBezTo>
                        <a:pt x="1918138" y="2715408"/>
                        <a:pt x="1912636" y="2714355"/>
                        <a:pt x="1906412" y="2714330"/>
                      </a:cubicBezTo>
                      <a:cubicBezTo>
                        <a:pt x="1899630" y="2714317"/>
                        <a:pt x="1893660" y="2716409"/>
                        <a:pt x="1887904" y="2711021"/>
                      </a:cubicBezTo>
                      <a:cubicBezTo>
                        <a:pt x="1890097" y="2707738"/>
                        <a:pt x="1892379" y="2699511"/>
                        <a:pt x="1895460" y="2694605"/>
                      </a:cubicBezTo>
                      <a:cubicBezTo>
                        <a:pt x="1898667" y="2689433"/>
                        <a:pt x="1903180" y="2686530"/>
                        <a:pt x="1903281" y="2678823"/>
                      </a:cubicBezTo>
                      <a:cubicBezTo>
                        <a:pt x="1903332" y="2674703"/>
                        <a:pt x="1899313" y="2670013"/>
                        <a:pt x="1899985" y="2666273"/>
                      </a:cubicBezTo>
                      <a:cubicBezTo>
                        <a:pt x="1900454" y="2663827"/>
                        <a:pt x="1903965" y="2662762"/>
                        <a:pt x="1905233" y="2660011"/>
                      </a:cubicBezTo>
                      <a:cubicBezTo>
                        <a:pt x="1906640" y="2657007"/>
                        <a:pt x="1907515" y="2652304"/>
                        <a:pt x="1909024" y="2650453"/>
                      </a:cubicBezTo>
                      <a:cubicBezTo>
                        <a:pt x="1910393" y="2648818"/>
                        <a:pt x="1914677" y="2655384"/>
                        <a:pt x="1916807" y="2649921"/>
                      </a:cubicBezTo>
                      <a:cubicBezTo>
                        <a:pt x="1919177" y="2643975"/>
                        <a:pt x="1904333" y="2635875"/>
                        <a:pt x="1900454" y="2635736"/>
                      </a:cubicBezTo>
                      <a:cubicBezTo>
                        <a:pt x="1899503" y="2635710"/>
                        <a:pt x="1896005" y="2640946"/>
                        <a:pt x="1893888" y="2641110"/>
                      </a:cubicBezTo>
                      <a:cubicBezTo>
                        <a:pt x="1891314" y="2641313"/>
                        <a:pt x="1892785" y="2638398"/>
                        <a:pt x="1890782" y="2638144"/>
                      </a:cubicBezTo>
                      <a:cubicBezTo>
                        <a:pt x="1884431" y="2637358"/>
                        <a:pt x="1882086" y="2634151"/>
                        <a:pt x="1877915" y="2632972"/>
                      </a:cubicBezTo>
                      <a:cubicBezTo>
                        <a:pt x="1872794" y="2631502"/>
                        <a:pt x="1869270" y="2633327"/>
                        <a:pt x="1866912" y="2629093"/>
                      </a:cubicBezTo>
                      <a:cubicBezTo>
                        <a:pt x="1864655" y="2625087"/>
                        <a:pt x="1875633" y="2621538"/>
                        <a:pt x="1866392" y="2620372"/>
                      </a:cubicBezTo>
                      <a:cubicBezTo>
                        <a:pt x="1874049" y="2614147"/>
                        <a:pt x="1863591" y="2610776"/>
                        <a:pt x="1863147" y="2608785"/>
                      </a:cubicBezTo>
                      <a:cubicBezTo>
                        <a:pt x="1861651" y="2601724"/>
                        <a:pt x="1869777" y="2595171"/>
                        <a:pt x="1861930" y="2586690"/>
                      </a:cubicBezTo>
                      <a:cubicBezTo>
                        <a:pt x="1856365" y="2580694"/>
                        <a:pt x="1848873" y="2587729"/>
                        <a:pt x="1852892" y="2573963"/>
                      </a:cubicBezTo>
                      <a:cubicBezTo>
                        <a:pt x="1854426" y="2568601"/>
                        <a:pt x="1868712" y="2563530"/>
                        <a:pt x="1867292" y="2556545"/>
                      </a:cubicBezTo>
                      <a:cubicBezTo>
                        <a:pt x="1851345" y="2563276"/>
                        <a:pt x="1838047" y="2557990"/>
                        <a:pt x="1822215" y="2559410"/>
                      </a:cubicBezTo>
                      <a:cubicBezTo>
                        <a:pt x="1803073" y="2561109"/>
                        <a:pt x="1790675" y="2569919"/>
                        <a:pt x="1775552" y="2579807"/>
                      </a:cubicBezTo>
                      <a:cubicBezTo>
                        <a:pt x="1770215" y="2568905"/>
                        <a:pt x="1764701" y="2576840"/>
                        <a:pt x="1776085" y="2563720"/>
                      </a:cubicBezTo>
                      <a:cubicBezTo>
                        <a:pt x="1780775" y="2558345"/>
                        <a:pt x="1783538" y="2555949"/>
                        <a:pt x="1782195" y="2549865"/>
                      </a:cubicBezTo>
                      <a:cubicBezTo>
                        <a:pt x="1781345" y="2545796"/>
                        <a:pt x="1777783" y="2546467"/>
                        <a:pt x="1776642" y="2542817"/>
                      </a:cubicBezTo>
                      <a:cubicBezTo>
                        <a:pt x="1775971" y="2540662"/>
                        <a:pt x="1782588" y="2542056"/>
                        <a:pt x="1779368" y="2538202"/>
                      </a:cubicBezTo>
                      <a:cubicBezTo>
                        <a:pt x="1775780" y="2533943"/>
                        <a:pt x="1768694" y="2534653"/>
                        <a:pt x="1767338" y="2532346"/>
                      </a:cubicBezTo>
                      <a:cubicBezTo>
                        <a:pt x="1763383" y="2525653"/>
                        <a:pt x="1769848" y="2508869"/>
                        <a:pt x="1775425" y="2505332"/>
                      </a:cubicBezTo>
                      <a:cubicBezTo>
                        <a:pt x="1783133" y="2500464"/>
                        <a:pt x="1783133" y="2505573"/>
                        <a:pt x="1784248" y="2498930"/>
                      </a:cubicBezTo>
                      <a:cubicBezTo>
                        <a:pt x="1784400" y="2498043"/>
                        <a:pt x="1781345" y="2491439"/>
                        <a:pt x="1781472" y="2488903"/>
                      </a:cubicBezTo>
                      <a:cubicBezTo>
                        <a:pt x="1781738" y="2483351"/>
                        <a:pt x="1783323" y="2485354"/>
                        <a:pt x="1785085" y="2480930"/>
                      </a:cubicBezTo>
                      <a:cubicBezTo>
                        <a:pt x="1786213" y="2478116"/>
                        <a:pt x="1787417" y="2471422"/>
                        <a:pt x="1789839" y="2469800"/>
                      </a:cubicBezTo>
                      <a:cubicBezTo>
                        <a:pt x="1792640" y="2467898"/>
                        <a:pt x="1793553" y="2474439"/>
                        <a:pt x="1796240" y="2473615"/>
                      </a:cubicBezTo>
                      <a:cubicBezTo>
                        <a:pt x="1809145" y="2469660"/>
                        <a:pt x="1812897" y="2452623"/>
                        <a:pt x="1813658" y="2441899"/>
                      </a:cubicBezTo>
                      <a:cubicBezTo>
                        <a:pt x="1826525" y="2442875"/>
                        <a:pt x="1824560" y="2450519"/>
                        <a:pt x="1832432" y="2437246"/>
                      </a:cubicBezTo>
                      <a:cubicBezTo>
                        <a:pt x="1833699" y="2435091"/>
                        <a:pt x="1834853" y="2430477"/>
                        <a:pt x="1836755" y="2428817"/>
                      </a:cubicBezTo>
                      <a:cubicBezTo>
                        <a:pt x="1841166" y="2425014"/>
                        <a:pt x="1841800" y="2427029"/>
                        <a:pt x="1844855" y="2425812"/>
                      </a:cubicBezTo>
                      <a:cubicBezTo>
                        <a:pt x="1854071" y="2422136"/>
                        <a:pt x="1854654" y="2424532"/>
                        <a:pt x="1850128" y="2414632"/>
                      </a:cubicBezTo>
                      <a:cubicBezTo>
                        <a:pt x="1848797" y="2411640"/>
                        <a:pt x="1836602" y="2400421"/>
                        <a:pt x="1849520" y="2400016"/>
                      </a:cubicBezTo>
                      <a:cubicBezTo>
                        <a:pt x="1849786" y="2401093"/>
                        <a:pt x="1849735" y="2402665"/>
                        <a:pt x="1849900" y="2403755"/>
                      </a:cubicBezTo>
                      <a:cubicBezTo>
                        <a:pt x="1859674" y="2399622"/>
                        <a:pt x="1850686" y="2395224"/>
                        <a:pt x="1850978" y="2391738"/>
                      </a:cubicBezTo>
                      <a:cubicBezTo>
                        <a:pt x="1851510" y="2384233"/>
                        <a:pt x="1855693" y="2377502"/>
                        <a:pt x="1856606" y="2368996"/>
                      </a:cubicBezTo>
                      <a:cubicBezTo>
                        <a:pt x="1857683" y="2359298"/>
                        <a:pt x="1857912" y="2350095"/>
                        <a:pt x="1857443" y="2341298"/>
                      </a:cubicBezTo>
                      <a:cubicBezTo>
                        <a:pt x="1856682" y="2327531"/>
                        <a:pt x="1854983" y="2317669"/>
                        <a:pt x="1854603" y="2303040"/>
                      </a:cubicBezTo>
                      <a:cubicBezTo>
                        <a:pt x="1854236" y="2289096"/>
                        <a:pt x="1852448" y="2283696"/>
                        <a:pt x="1840202" y="2281274"/>
                      </a:cubicBezTo>
                      <a:cubicBezTo>
                        <a:pt x="1825764" y="2278410"/>
                        <a:pt x="1839924" y="2283696"/>
                        <a:pt x="1830847" y="2289426"/>
                      </a:cubicBezTo>
                      <a:cubicBezTo>
                        <a:pt x="1823748" y="2293926"/>
                        <a:pt x="1820528" y="2279982"/>
                        <a:pt x="1818234" y="2274455"/>
                      </a:cubicBezTo>
                      <a:cubicBezTo>
                        <a:pt x="1814989" y="2266633"/>
                        <a:pt x="1813759" y="2259902"/>
                        <a:pt x="1812175" y="2252816"/>
                      </a:cubicBezTo>
                      <a:cubicBezTo>
                        <a:pt x="1811376" y="2249051"/>
                        <a:pt x="1813759" y="2245248"/>
                        <a:pt x="1811693" y="2241711"/>
                      </a:cubicBezTo>
                      <a:cubicBezTo>
                        <a:pt x="1809462" y="2237883"/>
                        <a:pt x="1804417" y="2237122"/>
                        <a:pt x="1802236" y="2234840"/>
                      </a:cubicBezTo>
                      <a:cubicBezTo>
                        <a:pt x="1800728" y="2233268"/>
                        <a:pt x="1800512" y="2228325"/>
                        <a:pt x="1796557" y="2226030"/>
                      </a:cubicBezTo>
                      <a:cubicBezTo>
                        <a:pt x="1792019" y="2223394"/>
                        <a:pt x="1788964" y="2226918"/>
                        <a:pt x="1784996" y="2223875"/>
                      </a:cubicBezTo>
                      <a:cubicBezTo>
                        <a:pt x="1781510" y="2221213"/>
                        <a:pt x="1781016" y="2215281"/>
                        <a:pt x="1777834" y="2213011"/>
                      </a:cubicBezTo>
                      <a:cubicBezTo>
                        <a:pt x="1780458" y="2214875"/>
                        <a:pt x="1767097" y="2212416"/>
                        <a:pt x="1770951" y="2211021"/>
                      </a:cubicBezTo>
                      <a:cubicBezTo>
                        <a:pt x="1767680" y="2212200"/>
                        <a:pt x="1764866" y="2217638"/>
                        <a:pt x="1762660" y="2222012"/>
                      </a:cubicBezTo>
                      <a:cubicBezTo>
                        <a:pt x="1760176" y="2226981"/>
                        <a:pt x="1762876" y="2232026"/>
                        <a:pt x="1755346" y="2233776"/>
                      </a:cubicBezTo>
                      <a:cubicBezTo>
                        <a:pt x="1746434" y="2235842"/>
                        <a:pt x="1746409" y="2225979"/>
                        <a:pt x="1737878" y="2224002"/>
                      </a:cubicBezTo>
                      <a:cubicBezTo>
                        <a:pt x="1733745" y="2223026"/>
                        <a:pt x="1730158" y="2227906"/>
                        <a:pt x="1726811" y="2226854"/>
                      </a:cubicBezTo>
                      <a:cubicBezTo>
                        <a:pt x="1720904" y="2225003"/>
                        <a:pt x="1720283" y="2219223"/>
                        <a:pt x="1716201" y="2214330"/>
                      </a:cubicBezTo>
                      <a:cubicBezTo>
                        <a:pt x="1703930" y="2199574"/>
                        <a:pt x="1696717" y="2206052"/>
                        <a:pt x="1692052" y="2219629"/>
                      </a:cubicBezTo>
                      <a:cubicBezTo>
                        <a:pt x="1687374" y="2213607"/>
                        <a:pt x="1688388" y="2210235"/>
                        <a:pt x="1687590" y="2204505"/>
                      </a:cubicBezTo>
                      <a:cubicBezTo>
                        <a:pt x="1701572" y="2197749"/>
                        <a:pt x="1700837" y="2192336"/>
                        <a:pt x="1692825" y="2180826"/>
                      </a:cubicBezTo>
                      <a:cubicBezTo>
                        <a:pt x="1689504" y="2176110"/>
                        <a:pt x="1681847" y="2170989"/>
                        <a:pt x="1681391" y="2165627"/>
                      </a:cubicBezTo>
                      <a:cubicBezTo>
                        <a:pt x="1677195" y="2166679"/>
                        <a:pt x="1673303" y="2168580"/>
                        <a:pt x="1669893" y="2171268"/>
                      </a:cubicBezTo>
                      <a:cubicBezTo>
                        <a:pt x="1663010" y="2159060"/>
                        <a:pt x="1689593" y="2158997"/>
                        <a:pt x="1679819" y="2151213"/>
                      </a:cubicBezTo>
                      <a:cubicBezTo>
                        <a:pt x="1680808" y="2151999"/>
                        <a:pt x="1671693" y="2152950"/>
                        <a:pt x="1670046" y="2152265"/>
                      </a:cubicBezTo>
                      <a:cubicBezTo>
                        <a:pt x="1662490" y="2149210"/>
                        <a:pt x="1668436" y="2143468"/>
                        <a:pt x="1656482" y="2144279"/>
                      </a:cubicBezTo>
                      <a:cubicBezTo>
                        <a:pt x="1653262" y="2144495"/>
                        <a:pt x="1639901" y="2145052"/>
                        <a:pt x="1638887" y="2145762"/>
                      </a:cubicBezTo>
                      <a:cubicBezTo>
                        <a:pt x="1636351" y="2147499"/>
                        <a:pt x="1638215" y="2151467"/>
                        <a:pt x="1636199" y="2152633"/>
                      </a:cubicBezTo>
                      <a:cubicBezTo>
                        <a:pt x="1632460" y="2154801"/>
                        <a:pt x="1631053" y="2153052"/>
                        <a:pt x="1627275" y="2154306"/>
                      </a:cubicBezTo>
                      <a:cubicBezTo>
                        <a:pt x="1623687" y="2155485"/>
                        <a:pt x="1623434" y="2154547"/>
                        <a:pt x="1620240" y="2156601"/>
                      </a:cubicBezTo>
                      <a:cubicBezTo>
                        <a:pt x="1616779" y="2158794"/>
                        <a:pt x="1622648" y="2162318"/>
                        <a:pt x="1615942" y="2163611"/>
                      </a:cubicBezTo>
                      <a:cubicBezTo>
                        <a:pt x="1615498" y="2161735"/>
                        <a:pt x="1614637" y="2160670"/>
                        <a:pt x="1614396" y="2158502"/>
                      </a:cubicBezTo>
                      <a:cubicBezTo>
                        <a:pt x="1611594" y="2164536"/>
                        <a:pt x="1599501" y="2159884"/>
                        <a:pt x="1602315" y="2169201"/>
                      </a:cubicBezTo>
                      <a:cubicBezTo>
                        <a:pt x="1594747" y="2166768"/>
                        <a:pt x="1586837" y="2162711"/>
                        <a:pt x="1578141" y="2159884"/>
                      </a:cubicBezTo>
                      <a:cubicBezTo>
                        <a:pt x="1579003" y="2161050"/>
                        <a:pt x="1579611" y="2162356"/>
                        <a:pt x="1580638" y="2163472"/>
                      </a:cubicBezTo>
                      <a:cubicBezTo>
                        <a:pt x="1575010" y="2160670"/>
                        <a:pt x="1567340" y="2160226"/>
                        <a:pt x="1564057" y="2157868"/>
                      </a:cubicBezTo>
                      <a:cubicBezTo>
                        <a:pt x="1559075" y="2154294"/>
                        <a:pt x="1559430" y="2146726"/>
                        <a:pt x="1550633" y="2149173"/>
                      </a:cubicBezTo>
                      <a:cubicBezTo>
                        <a:pt x="1549314" y="2149540"/>
                        <a:pt x="1545245" y="2155207"/>
                        <a:pt x="1543521" y="2156360"/>
                      </a:cubicBezTo>
                      <a:cubicBezTo>
                        <a:pt x="1541632" y="2157666"/>
                        <a:pt x="1537563" y="2156411"/>
                        <a:pt x="1535129" y="2157704"/>
                      </a:cubicBezTo>
                      <a:cubicBezTo>
                        <a:pt x="1529121" y="2160886"/>
                        <a:pt x="1524747" y="2166615"/>
                        <a:pt x="1533215" y="2171470"/>
                      </a:cubicBezTo>
                      <a:cubicBezTo>
                        <a:pt x="1525711" y="2179938"/>
                        <a:pt x="1508483" y="2185377"/>
                        <a:pt x="1500472" y="2189674"/>
                      </a:cubicBezTo>
                      <a:cubicBezTo>
                        <a:pt x="1495617" y="2192298"/>
                        <a:pt x="1488784" y="2195708"/>
                        <a:pt x="1484055" y="2197331"/>
                      </a:cubicBezTo>
                      <a:cubicBezTo>
                        <a:pt x="1476551" y="2199866"/>
                        <a:pt x="1468539" y="2199067"/>
                        <a:pt x="1460769" y="2202972"/>
                      </a:cubicBezTo>
                      <a:cubicBezTo>
                        <a:pt x="1446432" y="2210121"/>
                        <a:pt x="1441741" y="2222836"/>
                        <a:pt x="1429280" y="2232140"/>
                      </a:cubicBezTo>
                      <a:cubicBezTo>
                        <a:pt x="1420026" y="2239062"/>
                        <a:pt x="1410367" y="2239214"/>
                        <a:pt x="1408706" y="2249127"/>
                      </a:cubicBezTo>
                      <a:cubicBezTo>
                        <a:pt x="1408782" y="2248708"/>
                        <a:pt x="1411723" y="2251726"/>
                        <a:pt x="1410659" y="2254679"/>
                      </a:cubicBezTo>
                      <a:cubicBezTo>
                        <a:pt x="1409353" y="2258216"/>
                        <a:pt x="1406830" y="2258634"/>
                        <a:pt x="1404079" y="2260764"/>
                      </a:cubicBezTo>
                      <a:cubicBezTo>
                        <a:pt x="1399807" y="2264047"/>
                        <a:pt x="1392392" y="2269067"/>
                        <a:pt x="1388728" y="2264643"/>
                      </a:cubicBezTo>
                      <a:cubicBezTo>
                        <a:pt x="1387752" y="2265987"/>
                        <a:pt x="1387499" y="2267216"/>
                        <a:pt x="1386915" y="2268788"/>
                      </a:cubicBezTo>
                      <a:cubicBezTo>
                        <a:pt x="1384862" y="2268370"/>
                        <a:pt x="1385457" y="2266963"/>
                        <a:pt x="1384012" y="2266494"/>
                      </a:cubicBezTo>
                      <a:cubicBezTo>
                        <a:pt x="1383442" y="2267723"/>
                        <a:pt x="1383188" y="2269194"/>
                        <a:pt x="1382162" y="2270208"/>
                      </a:cubicBezTo>
                      <a:cubicBezTo>
                        <a:pt x="1381059" y="2268357"/>
                        <a:pt x="1378207" y="2265936"/>
                        <a:pt x="1377395" y="2263908"/>
                      </a:cubicBezTo>
                      <a:cubicBezTo>
                        <a:pt x="1377421" y="2267711"/>
                        <a:pt x="1376597" y="2267597"/>
                        <a:pt x="1373592" y="2268471"/>
                      </a:cubicBezTo>
                      <a:cubicBezTo>
                        <a:pt x="1368547" y="2269916"/>
                        <a:pt x="1363971" y="2272959"/>
                        <a:pt x="1359204" y="2274340"/>
                      </a:cubicBezTo>
                      <a:cubicBezTo>
                        <a:pt x="1354717" y="2275646"/>
                        <a:pt x="1333585" y="2272591"/>
                        <a:pt x="1332432" y="2270930"/>
                      </a:cubicBezTo>
                      <a:cubicBezTo>
                        <a:pt x="1327336" y="2263718"/>
                        <a:pt x="1337705" y="2262272"/>
                        <a:pt x="1328971" y="2256112"/>
                      </a:cubicBezTo>
                      <a:cubicBezTo>
                        <a:pt x="1321872" y="2251142"/>
                        <a:pt x="1312111" y="2256124"/>
                        <a:pt x="1307243" y="2245920"/>
                      </a:cubicBezTo>
                      <a:cubicBezTo>
                        <a:pt x="1296202" y="2248037"/>
                        <a:pt x="1294998" y="2256733"/>
                        <a:pt x="1282867" y="2253614"/>
                      </a:cubicBezTo>
                      <a:cubicBezTo>
                        <a:pt x="1276921" y="2252081"/>
                        <a:pt x="1268834" y="2246896"/>
                        <a:pt x="1262381" y="2246275"/>
                      </a:cubicBezTo>
                      <a:cubicBezTo>
                        <a:pt x="1257501" y="2245806"/>
                        <a:pt x="1252557" y="2248252"/>
                        <a:pt x="1246979" y="2247454"/>
                      </a:cubicBezTo>
                      <a:cubicBezTo>
                        <a:pt x="1248183" y="2238238"/>
                        <a:pt x="1258984" y="2240570"/>
                        <a:pt x="1252329" y="2233585"/>
                      </a:cubicBezTo>
                      <a:cubicBezTo>
                        <a:pt x="1250922" y="2232090"/>
                        <a:pt x="1245027" y="2230885"/>
                        <a:pt x="1242619" y="2230695"/>
                      </a:cubicBezTo>
                      <a:cubicBezTo>
                        <a:pt x="1240806" y="2230581"/>
                        <a:pt x="1233922" y="2232280"/>
                        <a:pt x="1234746" y="2232622"/>
                      </a:cubicBezTo>
                      <a:cubicBezTo>
                        <a:pt x="1230867" y="2231012"/>
                        <a:pt x="1232579" y="2226411"/>
                        <a:pt x="1229143" y="2225118"/>
                      </a:cubicBezTo>
                      <a:cubicBezTo>
                        <a:pt x="1226456" y="2224103"/>
                        <a:pt x="1225822" y="2227780"/>
                        <a:pt x="1223135" y="2227539"/>
                      </a:cubicBezTo>
                      <a:cubicBezTo>
                        <a:pt x="1216987" y="2226994"/>
                        <a:pt x="1209419" y="2226220"/>
                        <a:pt x="1203702" y="2229136"/>
                      </a:cubicBezTo>
                      <a:cubicBezTo>
                        <a:pt x="1199430" y="2231316"/>
                        <a:pt x="1196438" y="2236932"/>
                        <a:pt x="1192381" y="2239138"/>
                      </a:cubicBezTo>
                      <a:cubicBezTo>
                        <a:pt x="1184801" y="2243232"/>
                        <a:pt x="1178513" y="2241889"/>
                        <a:pt x="1172441" y="2248873"/>
                      </a:cubicBezTo>
                      <a:cubicBezTo>
                        <a:pt x="1162655" y="2260155"/>
                        <a:pt x="1154301" y="2270766"/>
                        <a:pt x="1147126" y="2283759"/>
                      </a:cubicBezTo>
                      <a:cubicBezTo>
                        <a:pt x="1138734" y="2281794"/>
                        <a:pt x="1135515" y="2292848"/>
                        <a:pt x="1134551" y="2299009"/>
                      </a:cubicBezTo>
                      <a:cubicBezTo>
                        <a:pt x="1133689" y="2304561"/>
                        <a:pt x="1140851" y="2309391"/>
                        <a:pt x="1130368" y="2307198"/>
                      </a:cubicBezTo>
                      <a:cubicBezTo>
                        <a:pt x="1126856" y="2306463"/>
                        <a:pt x="1121482" y="2301139"/>
                        <a:pt x="1120049" y="2297450"/>
                      </a:cubicBezTo>
                      <a:cubicBezTo>
                        <a:pt x="1115029" y="2284444"/>
                        <a:pt x="1129823" y="2272021"/>
                        <a:pt x="1123852" y="2257569"/>
                      </a:cubicBezTo>
                      <a:cubicBezTo>
                        <a:pt x="1121608" y="2252131"/>
                        <a:pt x="1124156" y="2252195"/>
                        <a:pt x="1116487" y="2248227"/>
                      </a:cubicBezTo>
                      <a:cubicBezTo>
                        <a:pt x="1108400" y="2244044"/>
                        <a:pt x="1108754" y="2247251"/>
                        <a:pt x="1102226" y="2250014"/>
                      </a:cubicBezTo>
                      <a:cubicBezTo>
                        <a:pt x="1095393" y="2252917"/>
                        <a:pt x="1067239" y="2254578"/>
                        <a:pt x="1072740" y="2264237"/>
                      </a:cubicBezTo>
                      <a:cubicBezTo>
                        <a:pt x="1068747" y="2261677"/>
                        <a:pt x="1064120" y="2261905"/>
                        <a:pt x="1059975" y="2261740"/>
                      </a:cubicBezTo>
                      <a:cubicBezTo>
                        <a:pt x="1048794" y="2261271"/>
                        <a:pt x="1054347" y="2264656"/>
                        <a:pt x="1046437" y="2267064"/>
                      </a:cubicBezTo>
                      <a:cubicBezTo>
                        <a:pt x="1036207" y="2270170"/>
                        <a:pt x="1028639" y="2266151"/>
                        <a:pt x="1017357" y="2268750"/>
                      </a:cubicBezTo>
                      <a:cubicBezTo>
                        <a:pt x="1017661" y="2267381"/>
                        <a:pt x="1018028" y="2266494"/>
                        <a:pt x="1018561" y="2265150"/>
                      </a:cubicBezTo>
                      <a:cubicBezTo>
                        <a:pt x="1001790" y="2270271"/>
                        <a:pt x="993588" y="2258153"/>
                        <a:pt x="980303" y="2253602"/>
                      </a:cubicBezTo>
                      <a:cubicBezTo>
                        <a:pt x="972127" y="2250787"/>
                        <a:pt x="970530" y="2246629"/>
                        <a:pt x="963317" y="2245793"/>
                      </a:cubicBezTo>
                      <a:cubicBezTo>
                        <a:pt x="951794" y="2244475"/>
                        <a:pt x="959919" y="2250863"/>
                        <a:pt x="953898" y="2256936"/>
                      </a:cubicBezTo>
                      <a:cubicBezTo>
                        <a:pt x="948967" y="2261879"/>
                        <a:pt x="943351" y="2258964"/>
                        <a:pt x="938826" y="2256416"/>
                      </a:cubicBezTo>
                      <a:cubicBezTo>
                        <a:pt x="937457" y="2255668"/>
                        <a:pt x="932069" y="2254299"/>
                        <a:pt x="931169" y="2252981"/>
                      </a:cubicBezTo>
                      <a:cubicBezTo>
                        <a:pt x="930282" y="2251713"/>
                        <a:pt x="929610" y="2244208"/>
                        <a:pt x="929965" y="2244500"/>
                      </a:cubicBezTo>
                      <a:cubicBezTo>
                        <a:pt x="915691" y="2231937"/>
                        <a:pt x="931283" y="2268928"/>
                        <a:pt x="914689" y="2262285"/>
                      </a:cubicBezTo>
                      <a:cubicBezTo>
                        <a:pt x="911470" y="2261005"/>
                        <a:pt x="909619" y="2247948"/>
                        <a:pt x="906665" y="2244335"/>
                      </a:cubicBezTo>
                      <a:cubicBezTo>
                        <a:pt x="902152" y="2238783"/>
                        <a:pt x="892962" y="2235462"/>
                        <a:pt x="893444" y="2226461"/>
                      </a:cubicBezTo>
                      <a:cubicBezTo>
                        <a:pt x="887549" y="2235107"/>
                        <a:pt x="883201" y="2229744"/>
                        <a:pt x="873516" y="2229529"/>
                      </a:cubicBezTo>
                      <a:cubicBezTo>
                        <a:pt x="868496" y="2229415"/>
                        <a:pt x="852879" y="2234955"/>
                        <a:pt x="848404" y="2228375"/>
                      </a:cubicBezTo>
                      <a:cubicBezTo>
                        <a:pt x="842687" y="2219945"/>
                        <a:pt x="863514" y="2205165"/>
                        <a:pt x="847745" y="2202845"/>
                      </a:cubicBezTo>
                      <a:cubicBezTo>
                        <a:pt x="839695" y="2201641"/>
                        <a:pt x="838326" y="2212796"/>
                        <a:pt x="827044" y="2209361"/>
                      </a:cubicBezTo>
                      <a:cubicBezTo>
                        <a:pt x="821327" y="2207624"/>
                        <a:pt x="819717" y="2202363"/>
                        <a:pt x="816522" y="2200373"/>
                      </a:cubicBezTo>
                      <a:cubicBezTo>
                        <a:pt x="812808" y="2198053"/>
                        <a:pt x="807497" y="2197597"/>
                        <a:pt x="803871" y="2195176"/>
                      </a:cubicBezTo>
                      <a:cubicBezTo>
                        <a:pt x="800068" y="2192640"/>
                        <a:pt x="799181" y="2188140"/>
                        <a:pt x="795340" y="2184857"/>
                      </a:cubicBezTo>
                      <a:cubicBezTo>
                        <a:pt x="792209" y="2182144"/>
                        <a:pt x="787607" y="2183665"/>
                        <a:pt x="784590" y="2179736"/>
                      </a:cubicBezTo>
                      <a:cubicBezTo>
                        <a:pt x="782752" y="2177390"/>
                        <a:pt x="784540" y="2172345"/>
                        <a:pt x="783741" y="2170051"/>
                      </a:cubicBezTo>
                      <a:cubicBezTo>
                        <a:pt x="778670" y="2155384"/>
                        <a:pt x="768035" y="2144431"/>
                        <a:pt x="748995" y="2154649"/>
                      </a:cubicBezTo>
                      <a:cubicBezTo>
                        <a:pt x="745052" y="2156753"/>
                        <a:pt x="743417" y="2160987"/>
                        <a:pt x="739031" y="2160683"/>
                      </a:cubicBezTo>
                      <a:cubicBezTo>
                        <a:pt x="731285" y="2160138"/>
                        <a:pt x="734467" y="2155612"/>
                        <a:pt x="730842" y="2151302"/>
                      </a:cubicBezTo>
                      <a:cubicBezTo>
                        <a:pt x="728446" y="2148399"/>
                        <a:pt x="725340" y="2144951"/>
                        <a:pt x="723096" y="2142315"/>
                      </a:cubicBezTo>
                      <a:cubicBezTo>
                        <a:pt x="718875" y="2137472"/>
                        <a:pt x="716188" y="2136344"/>
                        <a:pt x="712803" y="2132807"/>
                      </a:cubicBezTo>
                      <a:cubicBezTo>
                        <a:pt x="712296" y="2132300"/>
                        <a:pt x="711345" y="2125670"/>
                        <a:pt x="708202" y="2124326"/>
                      </a:cubicBezTo>
                      <a:cubicBezTo>
                        <a:pt x="702801" y="2122032"/>
                        <a:pt x="701394" y="2127305"/>
                        <a:pt x="698808" y="2126748"/>
                      </a:cubicBezTo>
                      <a:cubicBezTo>
                        <a:pt x="696184" y="2126177"/>
                        <a:pt x="691164" y="2119839"/>
                        <a:pt x="687653" y="2118533"/>
                      </a:cubicBezTo>
                      <a:cubicBezTo>
                        <a:pt x="683837" y="2117101"/>
                        <a:pt x="683115" y="2119725"/>
                        <a:pt x="678209" y="2116860"/>
                      </a:cubicBezTo>
                      <a:cubicBezTo>
                        <a:pt x="674076" y="2114464"/>
                        <a:pt x="670362" y="2108481"/>
                        <a:pt x="668625" y="2106795"/>
                      </a:cubicBezTo>
                      <a:cubicBezTo>
                        <a:pt x="664353" y="2102624"/>
                        <a:pt x="658370" y="2099290"/>
                        <a:pt x="652881" y="2095906"/>
                      </a:cubicBezTo>
                      <a:cubicBezTo>
                        <a:pt x="645858" y="2091596"/>
                        <a:pt x="634500" y="2090189"/>
                        <a:pt x="630076" y="2084649"/>
                      </a:cubicBezTo>
                      <a:cubicBezTo>
                        <a:pt x="628999" y="2083331"/>
                        <a:pt x="631826" y="2079756"/>
                        <a:pt x="631394" y="2078032"/>
                      </a:cubicBezTo>
                      <a:cubicBezTo>
                        <a:pt x="631090" y="2076777"/>
                        <a:pt x="627389" y="2076510"/>
                        <a:pt x="626717" y="2074558"/>
                      </a:cubicBezTo>
                      <a:cubicBezTo>
                        <a:pt x="622787" y="2063188"/>
                        <a:pt x="628428" y="2070286"/>
                        <a:pt x="618883" y="2066826"/>
                      </a:cubicBezTo>
                      <a:cubicBezTo>
                        <a:pt x="613571" y="2064886"/>
                        <a:pt x="595913" y="2058662"/>
                        <a:pt x="590272" y="2059778"/>
                      </a:cubicBezTo>
                      <a:cubicBezTo>
                        <a:pt x="587141" y="2060399"/>
                        <a:pt x="584504" y="2065254"/>
                        <a:pt x="581867" y="2066255"/>
                      </a:cubicBezTo>
                      <a:cubicBezTo>
                        <a:pt x="578952" y="2067358"/>
                        <a:pt x="578698" y="2060906"/>
                        <a:pt x="574971" y="2064088"/>
                      </a:cubicBezTo>
                      <a:cubicBezTo>
                        <a:pt x="573539" y="2065317"/>
                        <a:pt x="574452" y="2070375"/>
                        <a:pt x="573868" y="2072074"/>
                      </a:cubicBezTo>
                      <a:cubicBezTo>
                        <a:pt x="572119" y="2076967"/>
                        <a:pt x="570801" y="2078792"/>
                        <a:pt x="568202" y="2082456"/>
                      </a:cubicBezTo>
                      <a:cubicBezTo>
                        <a:pt x="566998" y="2084129"/>
                        <a:pt x="565705" y="2089225"/>
                        <a:pt x="563309" y="2090784"/>
                      </a:cubicBezTo>
                      <a:cubicBezTo>
                        <a:pt x="551279" y="2098517"/>
                        <a:pt x="551723" y="2080719"/>
                        <a:pt x="546221" y="2074888"/>
                      </a:cubicBezTo>
                      <a:cubicBezTo>
                        <a:pt x="541645" y="2070020"/>
                        <a:pt x="532873" y="2067206"/>
                        <a:pt x="527320" y="2063340"/>
                      </a:cubicBezTo>
                      <a:cubicBezTo>
                        <a:pt x="520919" y="2058852"/>
                        <a:pt x="516013" y="2057990"/>
                        <a:pt x="509586" y="2055556"/>
                      </a:cubicBezTo>
                      <a:cubicBezTo>
                        <a:pt x="501815" y="2052615"/>
                        <a:pt x="494704" y="2045947"/>
                        <a:pt x="485893" y="2048026"/>
                      </a:cubicBezTo>
                      <a:cubicBezTo>
                        <a:pt x="487972" y="2043729"/>
                        <a:pt x="485919" y="2044147"/>
                        <a:pt x="485703" y="2040737"/>
                      </a:cubicBezTo>
                      <a:cubicBezTo>
                        <a:pt x="485589" y="2038975"/>
                        <a:pt x="489113" y="2037099"/>
                        <a:pt x="488783" y="2036250"/>
                      </a:cubicBezTo>
                      <a:cubicBezTo>
                        <a:pt x="486502" y="2030051"/>
                        <a:pt x="481304" y="2029696"/>
                        <a:pt x="475308" y="2027085"/>
                      </a:cubicBezTo>
                      <a:cubicBezTo>
                        <a:pt x="467791" y="2023802"/>
                        <a:pt x="462962" y="2015638"/>
                        <a:pt x="454886" y="2014256"/>
                      </a:cubicBezTo>
                      <a:cubicBezTo>
                        <a:pt x="447927" y="2013077"/>
                        <a:pt x="443516" y="2017286"/>
                        <a:pt x="436873" y="2015410"/>
                      </a:cubicBezTo>
                      <a:cubicBezTo>
                        <a:pt x="429179" y="2013229"/>
                        <a:pt x="421066" y="2001301"/>
                        <a:pt x="417288" y="1994595"/>
                      </a:cubicBezTo>
                      <a:cubicBezTo>
                        <a:pt x="414664" y="1989930"/>
                        <a:pt x="398020" y="1964704"/>
                        <a:pt x="396917" y="1986444"/>
                      </a:cubicBezTo>
                      <a:cubicBezTo>
                        <a:pt x="395865" y="1985417"/>
                        <a:pt x="393773" y="1984682"/>
                        <a:pt x="392619" y="1983642"/>
                      </a:cubicBezTo>
                      <a:cubicBezTo>
                        <a:pt x="391200" y="1987838"/>
                        <a:pt x="384342" y="1991717"/>
                        <a:pt x="380463" y="1987889"/>
                      </a:cubicBezTo>
                      <a:cubicBezTo>
                        <a:pt x="377687" y="1985138"/>
                        <a:pt x="381566" y="1982387"/>
                        <a:pt x="380678" y="1979814"/>
                      </a:cubicBezTo>
                      <a:cubicBezTo>
                        <a:pt x="380539" y="1979446"/>
                        <a:pt x="376723" y="1970636"/>
                        <a:pt x="376406" y="1971917"/>
                      </a:cubicBezTo>
                      <a:cubicBezTo>
                        <a:pt x="377268" y="1968545"/>
                        <a:pt x="384925" y="1967150"/>
                        <a:pt x="385153" y="1963613"/>
                      </a:cubicBezTo>
                      <a:cubicBezTo>
                        <a:pt x="385419" y="1959595"/>
                        <a:pt x="379309" y="1959658"/>
                        <a:pt x="378282" y="1957744"/>
                      </a:cubicBezTo>
                      <a:cubicBezTo>
                        <a:pt x="374999" y="1951647"/>
                        <a:pt x="375861" y="1950747"/>
                        <a:pt x="376875" y="1944599"/>
                      </a:cubicBezTo>
                      <a:cubicBezTo>
                        <a:pt x="378548" y="1934204"/>
                        <a:pt x="379398" y="1937119"/>
                        <a:pt x="374353" y="1929374"/>
                      </a:cubicBezTo>
                      <a:cubicBezTo>
                        <a:pt x="370981" y="1924202"/>
                        <a:pt x="361296" y="1917205"/>
                        <a:pt x="359001" y="1912552"/>
                      </a:cubicBezTo>
                      <a:cubicBezTo>
                        <a:pt x="357011" y="1908547"/>
                        <a:pt x="359065" y="1900218"/>
                        <a:pt x="358089" y="1896669"/>
                      </a:cubicBezTo>
                      <a:cubicBezTo>
                        <a:pt x="353981" y="1881761"/>
                        <a:pt x="351674" y="1888898"/>
                        <a:pt x="366772" y="1884613"/>
                      </a:cubicBezTo>
                      <a:cubicBezTo>
                        <a:pt x="373782" y="1882623"/>
                        <a:pt x="376089" y="1878098"/>
                        <a:pt x="380082" y="1882509"/>
                      </a:cubicBezTo>
                      <a:cubicBezTo>
                        <a:pt x="383885" y="1886743"/>
                        <a:pt x="381439" y="1898836"/>
                        <a:pt x="392163" y="1902158"/>
                      </a:cubicBezTo>
                      <a:cubicBezTo>
                        <a:pt x="395079" y="1903058"/>
                        <a:pt x="403471" y="1900700"/>
                        <a:pt x="405486" y="1899179"/>
                      </a:cubicBezTo>
                      <a:cubicBezTo>
                        <a:pt x="407502" y="1897645"/>
                        <a:pt x="405879" y="1893183"/>
                        <a:pt x="408985" y="1891243"/>
                      </a:cubicBezTo>
                      <a:cubicBezTo>
                        <a:pt x="411685" y="1889545"/>
                        <a:pt x="414740" y="1891129"/>
                        <a:pt x="416806" y="1890267"/>
                      </a:cubicBezTo>
                      <a:cubicBezTo>
                        <a:pt x="422460" y="1887884"/>
                        <a:pt x="435669" y="1882306"/>
                        <a:pt x="435999" y="1872837"/>
                      </a:cubicBezTo>
                      <a:cubicBezTo>
                        <a:pt x="436214" y="1867031"/>
                        <a:pt x="427860" y="1860845"/>
                        <a:pt x="425984" y="1855952"/>
                      </a:cubicBezTo>
                      <a:cubicBezTo>
                        <a:pt x="423867" y="1850412"/>
                        <a:pt x="428266" y="1841437"/>
                        <a:pt x="426935" y="1838116"/>
                      </a:cubicBezTo>
                      <a:cubicBezTo>
                        <a:pt x="424273" y="1831613"/>
                        <a:pt x="411000" y="1834047"/>
                        <a:pt x="405740" y="1831334"/>
                      </a:cubicBezTo>
                      <a:cubicBezTo>
                        <a:pt x="402773" y="1829800"/>
                        <a:pt x="396651" y="1821573"/>
                        <a:pt x="393088" y="1818290"/>
                      </a:cubicBezTo>
                      <a:cubicBezTo>
                        <a:pt x="381553" y="1807578"/>
                        <a:pt x="384151" y="1803496"/>
                        <a:pt x="383454" y="1788538"/>
                      </a:cubicBezTo>
                      <a:cubicBezTo>
                        <a:pt x="382909" y="1776698"/>
                        <a:pt x="373782" y="1766532"/>
                        <a:pt x="382947" y="1757633"/>
                      </a:cubicBezTo>
                      <a:cubicBezTo>
                        <a:pt x="388436" y="1752321"/>
                        <a:pt x="399883" y="1752651"/>
                        <a:pt x="397259" y="1742231"/>
                      </a:cubicBezTo>
                      <a:cubicBezTo>
                        <a:pt x="395751" y="1736374"/>
                        <a:pt x="384684" y="1730923"/>
                        <a:pt x="380247" y="1727906"/>
                      </a:cubicBezTo>
                      <a:cubicBezTo>
                        <a:pt x="370575" y="1721302"/>
                        <a:pt x="356225" y="1723444"/>
                        <a:pt x="348163" y="1716421"/>
                      </a:cubicBezTo>
                      <a:cubicBezTo>
                        <a:pt x="342813" y="1711782"/>
                        <a:pt x="338605" y="1697102"/>
                        <a:pt x="336234" y="1690168"/>
                      </a:cubicBezTo>
                      <a:cubicBezTo>
                        <a:pt x="333420" y="1681979"/>
                        <a:pt x="326271" y="1670507"/>
                        <a:pt x="325142" y="1662407"/>
                      </a:cubicBezTo>
                      <a:cubicBezTo>
                        <a:pt x="324508" y="1657780"/>
                        <a:pt x="329592" y="1650757"/>
                        <a:pt x="328552" y="1647207"/>
                      </a:cubicBezTo>
                      <a:cubicBezTo>
                        <a:pt x="326562" y="1640261"/>
                        <a:pt x="325662" y="1644938"/>
                        <a:pt x="320921" y="1644457"/>
                      </a:cubicBezTo>
                      <a:cubicBezTo>
                        <a:pt x="321669" y="1644533"/>
                        <a:pt x="313683" y="1646460"/>
                        <a:pt x="312909" y="1646497"/>
                      </a:cubicBezTo>
                      <a:cubicBezTo>
                        <a:pt x="311616" y="1646573"/>
                        <a:pt x="309740" y="1642644"/>
                        <a:pt x="307560" y="1642327"/>
                      </a:cubicBezTo>
                      <a:cubicBezTo>
                        <a:pt x="305126" y="1641972"/>
                        <a:pt x="303263" y="1645572"/>
                        <a:pt x="300740" y="1645572"/>
                      </a:cubicBezTo>
                      <a:cubicBezTo>
                        <a:pt x="296164" y="1645572"/>
                        <a:pt x="291283" y="1644634"/>
                        <a:pt x="286732" y="1644089"/>
                      </a:cubicBezTo>
                      <a:cubicBezTo>
                        <a:pt x="279608" y="1643214"/>
                        <a:pt x="271774" y="1642454"/>
                        <a:pt x="265119" y="1640147"/>
                      </a:cubicBezTo>
                      <a:cubicBezTo>
                        <a:pt x="254851" y="1636584"/>
                        <a:pt x="242403" y="1635355"/>
                        <a:pt x="233288" y="1629866"/>
                      </a:cubicBezTo>
                      <a:cubicBezTo>
                        <a:pt x="231070" y="1628535"/>
                        <a:pt x="226215" y="1625138"/>
                        <a:pt x="224427" y="1623464"/>
                      </a:cubicBezTo>
                      <a:cubicBezTo>
                        <a:pt x="223236" y="1622349"/>
                        <a:pt x="220092" y="1622666"/>
                        <a:pt x="219052" y="1621157"/>
                      </a:cubicBezTo>
                      <a:cubicBezTo>
                        <a:pt x="217569" y="1619040"/>
                        <a:pt x="219293" y="1614477"/>
                        <a:pt x="218406" y="1613412"/>
                      </a:cubicBezTo>
                      <a:cubicBezTo>
                        <a:pt x="213880" y="1608088"/>
                        <a:pt x="220307" y="1611434"/>
                        <a:pt x="213462" y="1611282"/>
                      </a:cubicBezTo>
                      <a:cubicBezTo>
                        <a:pt x="210927" y="1611219"/>
                        <a:pt x="209646" y="1612562"/>
                        <a:pt x="207694" y="1613285"/>
                      </a:cubicBezTo>
                      <a:cubicBezTo>
                        <a:pt x="204538" y="1614477"/>
                        <a:pt x="194967" y="1618356"/>
                        <a:pt x="191063" y="1616657"/>
                      </a:cubicBezTo>
                      <a:cubicBezTo>
                        <a:pt x="184446" y="1613805"/>
                        <a:pt x="187158" y="1605895"/>
                        <a:pt x="181479" y="1601090"/>
                      </a:cubicBezTo>
                      <a:cubicBezTo>
                        <a:pt x="178348" y="1598428"/>
                        <a:pt x="173506" y="1602092"/>
                        <a:pt x="170704" y="1597008"/>
                      </a:cubicBezTo>
                      <a:cubicBezTo>
                        <a:pt x="167307" y="1590809"/>
                        <a:pt x="171858" y="1592445"/>
                        <a:pt x="173341" y="1588338"/>
                      </a:cubicBezTo>
                      <a:cubicBezTo>
                        <a:pt x="174051" y="1586398"/>
                        <a:pt x="174520" y="1584902"/>
                        <a:pt x="175204" y="1582760"/>
                      </a:cubicBezTo>
                      <a:cubicBezTo>
                        <a:pt x="176447" y="1578805"/>
                        <a:pt x="174621" y="1579768"/>
                        <a:pt x="174900" y="1575674"/>
                      </a:cubicBezTo>
                      <a:cubicBezTo>
                        <a:pt x="175648" y="1564607"/>
                        <a:pt x="175762" y="1558472"/>
                        <a:pt x="167991" y="1548812"/>
                      </a:cubicBezTo>
                      <a:cubicBezTo>
                        <a:pt x="159016" y="1537682"/>
                        <a:pt x="151664" y="1539038"/>
                        <a:pt x="140179" y="1537898"/>
                      </a:cubicBezTo>
                      <a:cubicBezTo>
                        <a:pt x="129467" y="1536820"/>
                        <a:pt x="138011" y="1535274"/>
                        <a:pt x="131546" y="1526248"/>
                      </a:cubicBezTo>
                      <a:cubicBezTo>
                        <a:pt x="128415" y="1521875"/>
                        <a:pt x="115701" y="1517311"/>
                        <a:pt x="110263" y="1516627"/>
                      </a:cubicBezTo>
                      <a:cubicBezTo>
                        <a:pt x="103721" y="1515815"/>
                        <a:pt x="95799" y="1517983"/>
                        <a:pt x="93580" y="1523979"/>
                      </a:cubicBezTo>
                      <a:cubicBezTo>
                        <a:pt x="91058" y="1509147"/>
                        <a:pt x="74667" y="1514902"/>
                        <a:pt x="66465" y="1512152"/>
                      </a:cubicBezTo>
                      <a:cubicBezTo>
                        <a:pt x="52280" y="1507398"/>
                        <a:pt x="57997" y="1500147"/>
                        <a:pt x="67226" y="1496471"/>
                      </a:cubicBezTo>
                      <a:cubicBezTo>
                        <a:pt x="69393" y="1495622"/>
                        <a:pt x="75592" y="1494620"/>
                        <a:pt x="76822" y="1494544"/>
                      </a:cubicBezTo>
                      <a:cubicBezTo>
                        <a:pt x="78140" y="1494443"/>
                        <a:pt x="81347" y="1491109"/>
                        <a:pt x="81930" y="1491185"/>
                      </a:cubicBezTo>
                      <a:cubicBezTo>
                        <a:pt x="85277" y="1491654"/>
                        <a:pt x="85087" y="1497789"/>
                        <a:pt x="87749" y="1498005"/>
                      </a:cubicBezTo>
                      <a:cubicBezTo>
                        <a:pt x="94328" y="1498524"/>
                        <a:pt x="96179" y="1494798"/>
                        <a:pt x="100273" y="1492173"/>
                      </a:cubicBezTo>
                      <a:cubicBezTo>
                        <a:pt x="103531" y="1490082"/>
                        <a:pt x="106422" y="1489156"/>
                        <a:pt x="108754" y="1487103"/>
                      </a:cubicBezTo>
                      <a:cubicBezTo>
                        <a:pt x="111429" y="1484783"/>
                        <a:pt x="109591" y="1482780"/>
                        <a:pt x="115130" y="1482197"/>
                      </a:cubicBezTo>
                      <a:cubicBezTo>
                        <a:pt x="110579" y="1479408"/>
                        <a:pt x="96116" y="1469394"/>
                        <a:pt x="94822" y="1464577"/>
                      </a:cubicBezTo>
                      <a:cubicBezTo>
                        <a:pt x="93251" y="1458822"/>
                        <a:pt x="99931" y="1456476"/>
                        <a:pt x="100311" y="1451393"/>
                      </a:cubicBezTo>
                      <a:cubicBezTo>
                        <a:pt x="100616" y="1447476"/>
                        <a:pt x="95266" y="1448604"/>
                        <a:pt x="94544" y="1445625"/>
                      </a:cubicBezTo>
                      <a:cubicBezTo>
                        <a:pt x="94011" y="1443470"/>
                        <a:pt x="95773" y="1442494"/>
                        <a:pt x="95241" y="1440339"/>
                      </a:cubicBezTo>
                      <a:cubicBezTo>
                        <a:pt x="94544" y="1437588"/>
                        <a:pt x="95723" y="1433164"/>
                        <a:pt x="94455" y="1430616"/>
                      </a:cubicBezTo>
                      <a:cubicBezTo>
                        <a:pt x="91108" y="1423758"/>
                        <a:pt x="87546" y="1426015"/>
                        <a:pt x="86317" y="1416051"/>
                      </a:cubicBezTo>
                      <a:cubicBezTo>
                        <a:pt x="84479" y="1401435"/>
                        <a:pt x="97459" y="1395845"/>
                        <a:pt x="83477" y="1386553"/>
                      </a:cubicBezTo>
                      <a:cubicBezTo>
                        <a:pt x="73716" y="1380088"/>
                        <a:pt x="47640" y="1369122"/>
                        <a:pt x="36561" y="1375245"/>
                      </a:cubicBezTo>
                      <a:cubicBezTo>
                        <a:pt x="33734" y="1376830"/>
                        <a:pt x="32657" y="1385779"/>
                        <a:pt x="32416" y="1385881"/>
                      </a:cubicBezTo>
                      <a:cubicBezTo>
                        <a:pt x="24734" y="1389227"/>
                        <a:pt x="16482" y="1381710"/>
                        <a:pt x="13135" y="1376538"/>
                      </a:cubicBezTo>
                      <a:cubicBezTo>
                        <a:pt x="12045" y="1374827"/>
                        <a:pt x="5098" y="1358221"/>
                        <a:pt x="5542" y="1356902"/>
                      </a:cubicBezTo>
                      <a:cubicBezTo>
                        <a:pt x="7773" y="1350323"/>
                        <a:pt x="16634" y="1354012"/>
                        <a:pt x="16038" y="1347167"/>
                      </a:cubicBezTo>
                      <a:cubicBezTo>
                        <a:pt x="15518" y="1341564"/>
                        <a:pt x="1435" y="1334820"/>
                        <a:pt x="103" y="1327772"/>
                      </a:cubicBezTo>
                      <a:cubicBezTo>
                        <a:pt x="-581" y="1324159"/>
                        <a:pt x="2309" y="1307958"/>
                        <a:pt x="3526" y="1306817"/>
                      </a:cubicBezTo>
                      <a:cubicBezTo>
                        <a:pt x="8483" y="1302203"/>
                        <a:pt x="21185" y="1305689"/>
                        <a:pt x="23226" y="1295459"/>
                      </a:cubicBezTo>
                      <a:cubicBezTo>
                        <a:pt x="25000" y="1286712"/>
                        <a:pt x="15987" y="1284190"/>
                        <a:pt x="15734" y="1279030"/>
                      </a:cubicBezTo>
                      <a:cubicBezTo>
                        <a:pt x="15138" y="1267938"/>
                        <a:pt x="30223" y="1251408"/>
                        <a:pt x="40795" y="1250267"/>
                      </a:cubicBezTo>
                      <a:cubicBezTo>
                        <a:pt x="52356" y="1249025"/>
                        <a:pt x="54473" y="1251953"/>
                        <a:pt x="65121" y="1243498"/>
                      </a:cubicBezTo>
                      <a:cubicBezTo>
                        <a:pt x="75453" y="1235309"/>
                        <a:pt x="79573" y="1229795"/>
                        <a:pt x="92782" y="1230936"/>
                      </a:cubicBezTo>
                      <a:cubicBezTo>
                        <a:pt x="87990" y="1221694"/>
                        <a:pt x="85138" y="1215914"/>
                        <a:pt x="96394" y="1216827"/>
                      </a:cubicBezTo>
                      <a:cubicBezTo>
                        <a:pt x="106155" y="1217625"/>
                        <a:pt x="111860" y="1221352"/>
                        <a:pt x="120556" y="1218158"/>
                      </a:cubicBezTo>
                      <a:cubicBezTo>
                        <a:pt x="134678" y="1212998"/>
                        <a:pt x="144261" y="1193261"/>
                        <a:pt x="148761" y="1216396"/>
                      </a:cubicBezTo>
                      <a:cubicBezTo>
                        <a:pt x="149103" y="1218132"/>
                        <a:pt x="152044" y="1218931"/>
                        <a:pt x="152387" y="1220756"/>
                      </a:cubicBezTo>
                      <a:cubicBezTo>
                        <a:pt x="152615" y="1222049"/>
                        <a:pt x="149826" y="1224864"/>
                        <a:pt x="150041" y="1225421"/>
                      </a:cubicBezTo>
                      <a:cubicBezTo>
                        <a:pt x="153008" y="1233141"/>
                        <a:pt x="151182" y="1230898"/>
                        <a:pt x="156773" y="1233078"/>
                      </a:cubicBezTo>
                      <a:cubicBezTo>
                        <a:pt x="167294" y="1237185"/>
                        <a:pt x="170501" y="1228907"/>
                        <a:pt x="178437" y="1226423"/>
                      </a:cubicBezTo>
                      <a:cubicBezTo>
                        <a:pt x="181200" y="1225573"/>
                        <a:pt x="189947" y="1224318"/>
                        <a:pt x="191684" y="1224471"/>
                      </a:cubicBezTo>
                      <a:cubicBezTo>
                        <a:pt x="192837" y="1224559"/>
                        <a:pt x="194612" y="1221390"/>
                        <a:pt x="196919" y="1221542"/>
                      </a:cubicBezTo>
                      <a:cubicBezTo>
                        <a:pt x="199429" y="1221694"/>
                        <a:pt x="197274" y="1228489"/>
                        <a:pt x="201369" y="1228920"/>
                      </a:cubicBezTo>
                      <a:cubicBezTo>
                        <a:pt x="214096" y="1230276"/>
                        <a:pt x="220865" y="1202350"/>
                        <a:pt x="223667" y="1196113"/>
                      </a:cubicBezTo>
                      <a:cubicBezTo>
                        <a:pt x="226050" y="1190827"/>
                        <a:pt x="230360" y="1189547"/>
                        <a:pt x="233136" y="1185389"/>
                      </a:cubicBezTo>
                      <a:cubicBezTo>
                        <a:pt x="235114" y="1182397"/>
                        <a:pt x="232135" y="1179570"/>
                        <a:pt x="234264" y="1176389"/>
                      </a:cubicBezTo>
                      <a:cubicBezTo>
                        <a:pt x="242453" y="1164257"/>
                        <a:pt x="257348" y="1171026"/>
                        <a:pt x="268757" y="1171483"/>
                      </a:cubicBezTo>
                      <a:cubicBezTo>
                        <a:pt x="283601" y="1172091"/>
                        <a:pt x="292982" y="1171521"/>
                        <a:pt x="307687" y="1168402"/>
                      </a:cubicBezTo>
                      <a:cubicBezTo>
                        <a:pt x="323101" y="1165132"/>
                        <a:pt x="328819" y="1171394"/>
                        <a:pt x="340861" y="1158768"/>
                      </a:cubicBezTo>
                      <a:cubicBezTo>
                        <a:pt x="342585" y="1156968"/>
                        <a:pt x="349038" y="1150757"/>
                        <a:pt x="349963" y="1148969"/>
                      </a:cubicBezTo>
                      <a:cubicBezTo>
                        <a:pt x="351902" y="1145166"/>
                        <a:pt x="348987" y="1142606"/>
                        <a:pt x="351484" y="1138993"/>
                      </a:cubicBezTo>
                      <a:cubicBezTo>
                        <a:pt x="355224" y="1133593"/>
                        <a:pt x="365390" y="1133225"/>
                        <a:pt x="370600" y="1130233"/>
                      </a:cubicBezTo>
                      <a:cubicBezTo>
                        <a:pt x="375532" y="1127394"/>
                        <a:pt x="379487" y="1123122"/>
                        <a:pt x="386471" y="1120295"/>
                      </a:cubicBezTo>
                      <a:cubicBezTo>
                        <a:pt x="397538" y="1115820"/>
                        <a:pt x="408922" y="1106389"/>
                        <a:pt x="420127" y="1102979"/>
                      </a:cubicBezTo>
                      <a:cubicBezTo>
                        <a:pt x="425312" y="1101407"/>
                        <a:pt x="428596" y="1102865"/>
                        <a:pt x="434706" y="1100532"/>
                      </a:cubicBezTo>
                      <a:cubicBezTo>
                        <a:pt x="439801" y="1098580"/>
                        <a:pt x="450906" y="1096996"/>
                        <a:pt x="454836" y="1094219"/>
                      </a:cubicBezTo>
                      <a:cubicBezTo>
                        <a:pt x="458512" y="1091659"/>
                        <a:pt x="456991" y="1086804"/>
                        <a:pt x="460616" y="1084281"/>
                      </a:cubicBezTo>
                      <a:cubicBezTo>
                        <a:pt x="467981" y="1079172"/>
                        <a:pt x="481241" y="1086816"/>
                        <a:pt x="487338" y="1082316"/>
                      </a:cubicBezTo>
                      <a:cubicBezTo>
                        <a:pt x="495616" y="1076244"/>
                        <a:pt x="487541" y="1077689"/>
                        <a:pt x="488543" y="1070489"/>
                      </a:cubicBezTo>
                      <a:cubicBezTo>
                        <a:pt x="489493" y="1063910"/>
                        <a:pt x="491788" y="1064594"/>
                        <a:pt x="490812" y="1056316"/>
                      </a:cubicBezTo>
                      <a:cubicBezTo>
                        <a:pt x="489810" y="1047722"/>
                        <a:pt x="483155" y="1038265"/>
                        <a:pt x="483117" y="1029823"/>
                      </a:cubicBezTo>
                      <a:cubicBezTo>
                        <a:pt x="483041" y="1016918"/>
                        <a:pt x="492891" y="1012164"/>
                        <a:pt x="502931" y="1009312"/>
                      </a:cubicBezTo>
                      <a:cubicBezTo>
                        <a:pt x="528727" y="1001972"/>
                        <a:pt x="496681" y="1004900"/>
                        <a:pt x="499090" y="994113"/>
                      </a:cubicBezTo>
                      <a:cubicBezTo>
                        <a:pt x="499571" y="992059"/>
                        <a:pt x="515138" y="984250"/>
                        <a:pt x="517065" y="983984"/>
                      </a:cubicBezTo>
                      <a:cubicBezTo>
                        <a:pt x="520881" y="983464"/>
                        <a:pt x="526800" y="988751"/>
                        <a:pt x="529843" y="985543"/>
                      </a:cubicBezTo>
                      <a:cubicBezTo>
                        <a:pt x="536257" y="978762"/>
                        <a:pt x="523505" y="971333"/>
                        <a:pt x="522719" y="968278"/>
                      </a:cubicBezTo>
                      <a:cubicBezTo>
                        <a:pt x="521527" y="963816"/>
                        <a:pt x="525102" y="961597"/>
                        <a:pt x="525317" y="954930"/>
                      </a:cubicBezTo>
                      <a:cubicBezTo>
                        <a:pt x="525533" y="947514"/>
                        <a:pt x="516989" y="935306"/>
                        <a:pt x="513832" y="928055"/>
                      </a:cubicBezTo>
                      <a:cubicBezTo>
                        <a:pt x="509725" y="918611"/>
                        <a:pt x="502690" y="908534"/>
                        <a:pt x="500357" y="899064"/>
                      </a:cubicBezTo>
                      <a:cubicBezTo>
                        <a:pt x="498037" y="889633"/>
                        <a:pt x="496402" y="872570"/>
                        <a:pt x="497644" y="861554"/>
                      </a:cubicBezTo>
                      <a:cubicBezTo>
                        <a:pt x="497644" y="861516"/>
                        <a:pt x="499723" y="846774"/>
                        <a:pt x="498861" y="848105"/>
                      </a:cubicBezTo>
                      <a:cubicBezTo>
                        <a:pt x="502119" y="843047"/>
                        <a:pt x="510004" y="845240"/>
                        <a:pt x="507748" y="839725"/>
                      </a:cubicBezTo>
                      <a:cubicBezTo>
                        <a:pt x="507088" y="838077"/>
                        <a:pt x="491370" y="832512"/>
                        <a:pt x="488783" y="832221"/>
                      </a:cubicBezTo>
                      <a:cubicBezTo>
                        <a:pt x="481913" y="831422"/>
                        <a:pt x="468057" y="839142"/>
                        <a:pt x="463164" y="829077"/>
                      </a:cubicBezTo>
                      <a:cubicBezTo>
                        <a:pt x="458081" y="818632"/>
                        <a:pt x="483320" y="813003"/>
                        <a:pt x="491522" y="812243"/>
                      </a:cubicBezTo>
                      <a:cubicBezTo>
                        <a:pt x="504300" y="811051"/>
                        <a:pt x="511703" y="803863"/>
                        <a:pt x="526065" y="802406"/>
                      </a:cubicBezTo>
                      <a:cubicBezTo>
                        <a:pt x="533811" y="801620"/>
                        <a:pt x="536954" y="803509"/>
                        <a:pt x="545346" y="800999"/>
                      </a:cubicBezTo>
                      <a:cubicBezTo>
                        <a:pt x="552572" y="798844"/>
                        <a:pt x="559873" y="796245"/>
                        <a:pt x="567391" y="794153"/>
                      </a:cubicBezTo>
                      <a:cubicBezTo>
                        <a:pt x="573868" y="792353"/>
                        <a:pt x="588079" y="784405"/>
                        <a:pt x="594252" y="784354"/>
                      </a:cubicBezTo>
                      <a:cubicBezTo>
                        <a:pt x="604178" y="784278"/>
                        <a:pt x="599995" y="788550"/>
                        <a:pt x="605065" y="794356"/>
                      </a:cubicBezTo>
                      <a:cubicBezTo>
                        <a:pt x="617286" y="808389"/>
                        <a:pt x="623370" y="792379"/>
                        <a:pt x="640167" y="794584"/>
                      </a:cubicBezTo>
                      <a:cubicBezTo>
                        <a:pt x="648089" y="795636"/>
                        <a:pt x="651297" y="807907"/>
                        <a:pt x="660272" y="803813"/>
                      </a:cubicBezTo>
                      <a:cubicBezTo>
                        <a:pt x="665292" y="801544"/>
                        <a:pt x="669399" y="784519"/>
                        <a:pt x="667396" y="779550"/>
                      </a:cubicBezTo>
                      <a:cubicBezTo>
                        <a:pt x="661539" y="765200"/>
                        <a:pt x="641815" y="780006"/>
                        <a:pt x="643729" y="760535"/>
                      </a:cubicBezTo>
                      <a:cubicBezTo>
                        <a:pt x="644527" y="752321"/>
                        <a:pt x="651259" y="744930"/>
                        <a:pt x="654681" y="737654"/>
                      </a:cubicBezTo>
                      <a:cubicBezTo>
                        <a:pt x="658142" y="730378"/>
                        <a:pt x="658408" y="722658"/>
                        <a:pt x="660208" y="714887"/>
                      </a:cubicBezTo>
                      <a:cubicBezTo>
                        <a:pt x="663428" y="700879"/>
                        <a:pt x="671997" y="687721"/>
                        <a:pt x="677055" y="674056"/>
                      </a:cubicBezTo>
                      <a:cubicBezTo>
                        <a:pt x="682240" y="660048"/>
                        <a:pt x="690759" y="645267"/>
                        <a:pt x="693345" y="631349"/>
                      </a:cubicBezTo>
                      <a:cubicBezTo>
                        <a:pt x="694726" y="624161"/>
                        <a:pt x="692660" y="613183"/>
                        <a:pt x="700786" y="611497"/>
                      </a:cubicBezTo>
                      <a:cubicBezTo>
                        <a:pt x="709583" y="609646"/>
                        <a:pt x="728408" y="623515"/>
                        <a:pt x="736305" y="626620"/>
                      </a:cubicBezTo>
                      <a:cubicBezTo>
                        <a:pt x="753672" y="633491"/>
                        <a:pt x="765525" y="634087"/>
                        <a:pt x="782346" y="632337"/>
                      </a:cubicBezTo>
                      <a:cubicBezTo>
                        <a:pt x="789635" y="631590"/>
                        <a:pt x="818551" y="630880"/>
                        <a:pt x="822531" y="636964"/>
                      </a:cubicBezTo>
                      <a:cubicBezTo>
                        <a:pt x="824572" y="640083"/>
                        <a:pt x="820592" y="647663"/>
                        <a:pt x="821454" y="648500"/>
                      </a:cubicBezTo>
                      <a:cubicBezTo>
                        <a:pt x="824876" y="651809"/>
                        <a:pt x="835791" y="644697"/>
                        <a:pt x="838263" y="643429"/>
                      </a:cubicBezTo>
                      <a:cubicBezTo>
                        <a:pt x="847973" y="638410"/>
                        <a:pt x="854514" y="630740"/>
                        <a:pt x="864643" y="628218"/>
                      </a:cubicBezTo>
                      <a:cubicBezTo>
                        <a:pt x="872008" y="626367"/>
                        <a:pt x="875544" y="627318"/>
                        <a:pt x="879968" y="623388"/>
                      </a:cubicBezTo>
                      <a:cubicBezTo>
                        <a:pt x="882453" y="621169"/>
                        <a:pt x="882935" y="616961"/>
                        <a:pt x="884862" y="614400"/>
                      </a:cubicBezTo>
                      <a:cubicBezTo>
                        <a:pt x="887815" y="610420"/>
                        <a:pt x="890325" y="613487"/>
                        <a:pt x="892391" y="606528"/>
                      </a:cubicBezTo>
                      <a:cubicBezTo>
                        <a:pt x="893000" y="604322"/>
                        <a:pt x="892227" y="598035"/>
                        <a:pt x="891580" y="595905"/>
                      </a:cubicBezTo>
                      <a:cubicBezTo>
                        <a:pt x="889184" y="588223"/>
                        <a:pt x="886814" y="586829"/>
                        <a:pt x="885990" y="578957"/>
                      </a:cubicBezTo>
                      <a:cubicBezTo>
                        <a:pt x="885039" y="569348"/>
                        <a:pt x="881249" y="559016"/>
                        <a:pt x="881021" y="549458"/>
                      </a:cubicBezTo>
                      <a:cubicBezTo>
                        <a:pt x="880691" y="537061"/>
                        <a:pt x="886421" y="515802"/>
                        <a:pt x="894787" y="506219"/>
                      </a:cubicBezTo>
                      <a:cubicBezTo>
                        <a:pt x="900504" y="499640"/>
                        <a:pt x="905461" y="498777"/>
                        <a:pt x="914930" y="498410"/>
                      </a:cubicBezTo>
                      <a:cubicBezTo>
                        <a:pt x="919228" y="498245"/>
                        <a:pt x="924273" y="499893"/>
                        <a:pt x="928456" y="499069"/>
                      </a:cubicBezTo>
                      <a:cubicBezTo>
                        <a:pt x="933083" y="498144"/>
                        <a:pt x="934237" y="495177"/>
                        <a:pt x="938483" y="493821"/>
                      </a:cubicBezTo>
                      <a:cubicBezTo>
                        <a:pt x="951096" y="489726"/>
                        <a:pt x="959843" y="489688"/>
                        <a:pt x="967386" y="476657"/>
                      </a:cubicBezTo>
                      <a:cubicBezTo>
                        <a:pt x="969820" y="472448"/>
                        <a:pt x="973115" y="467010"/>
                        <a:pt x="972799" y="462269"/>
                      </a:cubicBezTo>
                      <a:cubicBezTo>
                        <a:pt x="972494" y="458251"/>
                        <a:pt x="968628" y="454346"/>
                        <a:pt x="968831" y="449314"/>
                      </a:cubicBezTo>
                      <a:cubicBezTo>
                        <a:pt x="969782" y="422465"/>
                        <a:pt x="1011310" y="439312"/>
                        <a:pt x="1025153" y="436130"/>
                      </a:cubicBezTo>
                      <a:cubicBezTo>
                        <a:pt x="1026699" y="435775"/>
                        <a:pt x="1031554" y="432492"/>
                        <a:pt x="1034267" y="431554"/>
                      </a:cubicBezTo>
                      <a:cubicBezTo>
                        <a:pt x="1036676" y="430705"/>
                        <a:pt x="1045270" y="427371"/>
                        <a:pt x="1047882" y="428664"/>
                      </a:cubicBezTo>
                      <a:cubicBezTo>
                        <a:pt x="1052433" y="430907"/>
                        <a:pt x="1049149" y="430147"/>
                        <a:pt x="1051900" y="434533"/>
                      </a:cubicBezTo>
                      <a:cubicBezTo>
                        <a:pt x="1049986" y="431453"/>
                        <a:pt x="1053421" y="448490"/>
                        <a:pt x="1054790" y="443901"/>
                      </a:cubicBezTo>
                      <a:cubicBezTo>
                        <a:pt x="1052990" y="449960"/>
                        <a:pt x="1045701" y="449428"/>
                        <a:pt x="1044662" y="454866"/>
                      </a:cubicBezTo>
                      <a:cubicBezTo>
                        <a:pt x="1043255" y="461965"/>
                        <a:pt x="1057097" y="464779"/>
                        <a:pt x="1060812" y="466883"/>
                      </a:cubicBezTo>
                      <a:cubicBezTo>
                        <a:pt x="1077938" y="476518"/>
                        <a:pt x="1054626" y="476911"/>
                        <a:pt x="1063347" y="487077"/>
                      </a:cubicBezTo>
                      <a:cubicBezTo>
                        <a:pt x="1066681" y="490956"/>
                        <a:pt x="1083287" y="493365"/>
                        <a:pt x="1088180" y="495469"/>
                      </a:cubicBezTo>
                      <a:cubicBezTo>
                        <a:pt x="1090450" y="496445"/>
                        <a:pt x="1093010" y="500261"/>
                        <a:pt x="1095279" y="501655"/>
                      </a:cubicBezTo>
                      <a:cubicBezTo>
                        <a:pt x="1096319" y="502289"/>
                        <a:pt x="1099741" y="500286"/>
                        <a:pt x="1100832" y="501199"/>
                      </a:cubicBezTo>
                      <a:cubicBezTo>
                        <a:pt x="1108032" y="507271"/>
                        <a:pt x="1102581" y="508348"/>
                        <a:pt x="1105737" y="514319"/>
                      </a:cubicBezTo>
                      <a:cubicBezTo>
                        <a:pt x="1110225" y="522774"/>
                        <a:pt x="1117691" y="524270"/>
                        <a:pt x="1126020" y="528517"/>
                      </a:cubicBezTo>
                      <a:cubicBezTo>
                        <a:pt x="1127871" y="529455"/>
                        <a:pt x="1130786" y="528212"/>
                        <a:pt x="1132789" y="529404"/>
                      </a:cubicBezTo>
                      <a:cubicBezTo>
                        <a:pt x="1136186" y="531420"/>
                        <a:pt x="1137974" y="537618"/>
                        <a:pt x="1141320" y="539368"/>
                      </a:cubicBezTo>
                      <a:cubicBezTo>
                        <a:pt x="1144147" y="540851"/>
                        <a:pt x="1152818" y="541041"/>
                        <a:pt x="1156165" y="540255"/>
                      </a:cubicBezTo>
                      <a:cubicBezTo>
                        <a:pt x="1164518" y="538303"/>
                        <a:pt x="1171921" y="532079"/>
                        <a:pt x="1180390" y="537897"/>
                      </a:cubicBezTo>
                      <a:cubicBezTo>
                        <a:pt x="1184357" y="540648"/>
                        <a:pt x="1189060" y="553654"/>
                        <a:pt x="1194384" y="555315"/>
                      </a:cubicBezTo>
                      <a:cubicBezTo>
                        <a:pt x="1203004" y="557990"/>
                        <a:pt x="1205235" y="549737"/>
                        <a:pt x="1207935" y="549572"/>
                      </a:cubicBezTo>
                      <a:cubicBezTo>
                        <a:pt x="1217582" y="549015"/>
                        <a:pt x="1212791" y="552019"/>
                        <a:pt x="1215795" y="555467"/>
                      </a:cubicBezTo>
                      <a:cubicBezTo>
                        <a:pt x="1218571" y="558636"/>
                        <a:pt x="1218115" y="561678"/>
                        <a:pt x="1222551" y="564835"/>
                      </a:cubicBezTo>
                      <a:cubicBezTo>
                        <a:pt x="1227267" y="568182"/>
                        <a:pt x="1233643" y="567332"/>
                        <a:pt x="1237231" y="571427"/>
                      </a:cubicBezTo>
                      <a:cubicBezTo>
                        <a:pt x="1237294" y="571465"/>
                        <a:pt x="1240958" y="582062"/>
                        <a:pt x="1241389" y="583203"/>
                      </a:cubicBezTo>
                      <a:cubicBezTo>
                        <a:pt x="1242771" y="586905"/>
                        <a:pt x="1245014" y="590378"/>
                        <a:pt x="1245952" y="594840"/>
                      </a:cubicBezTo>
                      <a:cubicBezTo>
                        <a:pt x="1247993" y="604931"/>
                        <a:pt x="1253470" y="620726"/>
                        <a:pt x="1263877" y="629460"/>
                      </a:cubicBezTo>
                      <a:cubicBezTo>
                        <a:pt x="1270456" y="634974"/>
                        <a:pt x="1274513" y="633694"/>
                        <a:pt x="1279228" y="641870"/>
                      </a:cubicBezTo>
                      <a:cubicBezTo>
                        <a:pt x="1282334" y="647258"/>
                        <a:pt x="1284869" y="656359"/>
                        <a:pt x="1286593" y="663332"/>
                      </a:cubicBezTo>
                      <a:cubicBezTo>
                        <a:pt x="1288926" y="672459"/>
                        <a:pt x="1287506" y="677719"/>
                        <a:pt x="1283133" y="688152"/>
                      </a:cubicBezTo>
                      <a:cubicBezTo>
                        <a:pt x="1279647" y="696455"/>
                        <a:pt x="1278189" y="694554"/>
                        <a:pt x="1280103" y="703465"/>
                      </a:cubicBezTo>
                      <a:cubicBezTo>
                        <a:pt x="1281713" y="710906"/>
                        <a:pt x="1288622" y="715280"/>
                        <a:pt x="1285427" y="723735"/>
                      </a:cubicBezTo>
                      <a:cubicBezTo>
                        <a:pt x="1279875" y="738351"/>
                        <a:pt x="1252899" y="747947"/>
                        <a:pt x="1260163" y="769561"/>
                      </a:cubicBezTo>
                      <a:cubicBezTo>
                        <a:pt x="1261063" y="772286"/>
                        <a:pt x="1266615" y="778117"/>
                        <a:pt x="1268783" y="781223"/>
                      </a:cubicBezTo>
                      <a:cubicBezTo>
                        <a:pt x="1271876" y="785673"/>
                        <a:pt x="1272586" y="788233"/>
                        <a:pt x="1276085" y="792442"/>
                      </a:cubicBezTo>
                      <a:cubicBezTo>
                        <a:pt x="1276541" y="792974"/>
                        <a:pt x="1274373" y="797741"/>
                        <a:pt x="1276338" y="798476"/>
                      </a:cubicBezTo>
                      <a:cubicBezTo>
                        <a:pt x="1279114" y="799541"/>
                        <a:pt x="1282106" y="795497"/>
                        <a:pt x="1285212" y="795915"/>
                      </a:cubicBezTo>
                      <a:cubicBezTo>
                        <a:pt x="1292501" y="796891"/>
                        <a:pt x="1293527" y="798894"/>
                        <a:pt x="1299447" y="801493"/>
                      </a:cubicBezTo>
                      <a:cubicBezTo>
                        <a:pt x="1305228" y="804028"/>
                        <a:pt x="1311934" y="802292"/>
                        <a:pt x="1315382" y="803166"/>
                      </a:cubicBezTo>
                      <a:cubicBezTo>
                        <a:pt x="1319210" y="804117"/>
                        <a:pt x="1323368" y="807197"/>
                        <a:pt x="1327310" y="808516"/>
                      </a:cubicBezTo>
                      <a:cubicBezTo>
                        <a:pt x="1339099" y="812509"/>
                        <a:pt x="1352891" y="806082"/>
                        <a:pt x="1364858" y="809124"/>
                      </a:cubicBezTo>
                      <a:cubicBezTo>
                        <a:pt x="1371298" y="810747"/>
                        <a:pt x="1374492" y="812826"/>
                        <a:pt x="1380793" y="813827"/>
                      </a:cubicBezTo>
                      <a:cubicBezTo>
                        <a:pt x="1386725" y="814791"/>
                        <a:pt x="1392493" y="815386"/>
                        <a:pt x="1398337" y="815070"/>
                      </a:cubicBezTo>
                      <a:cubicBezTo>
                        <a:pt x="1412357" y="814284"/>
                        <a:pt x="1422181" y="813054"/>
                        <a:pt x="1435644" y="814867"/>
                      </a:cubicBezTo>
                      <a:cubicBezTo>
                        <a:pt x="1444885" y="816122"/>
                        <a:pt x="1454076" y="817706"/>
                        <a:pt x="1462949" y="819075"/>
                      </a:cubicBezTo>
                      <a:cubicBezTo>
                        <a:pt x="1470682" y="820280"/>
                        <a:pt x="1478757" y="820812"/>
                        <a:pt x="1485437" y="825908"/>
                      </a:cubicBezTo>
                      <a:cubicBezTo>
                        <a:pt x="1491864" y="830826"/>
                        <a:pt x="1494869" y="841399"/>
                        <a:pt x="1502208" y="845252"/>
                      </a:cubicBezTo>
                      <a:cubicBezTo>
                        <a:pt x="1508458" y="848548"/>
                        <a:pt x="1514961" y="843921"/>
                        <a:pt x="1519905" y="845607"/>
                      </a:cubicBezTo>
                      <a:cubicBezTo>
                        <a:pt x="1526940" y="847990"/>
                        <a:pt x="1527523" y="856370"/>
                        <a:pt x="1532492" y="859830"/>
                      </a:cubicBezTo>
                      <a:cubicBezTo>
                        <a:pt x="1537449" y="863291"/>
                        <a:pt x="1545752" y="862518"/>
                        <a:pt x="1551659" y="866967"/>
                      </a:cubicBezTo>
                      <a:cubicBezTo>
                        <a:pt x="1554791" y="869350"/>
                        <a:pt x="1556679" y="873496"/>
                        <a:pt x="1559696" y="875258"/>
                      </a:cubicBezTo>
                      <a:cubicBezTo>
                        <a:pt x="1577710" y="885868"/>
                        <a:pt x="1592592" y="877590"/>
                        <a:pt x="1610922" y="880734"/>
                      </a:cubicBezTo>
                      <a:cubicBezTo>
                        <a:pt x="1607221" y="886096"/>
                        <a:pt x="1604533" y="891699"/>
                        <a:pt x="1605585" y="898418"/>
                      </a:cubicBezTo>
                      <a:cubicBezTo>
                        <a:pt x="1607385" y="909725"/>
                        <a:pt x="1616196" y="904376"/>
                        <a:pt x="1623104" y="913807"/>
                      </a:cubicBezTo>
                      <a:cubicBezTo>
                        <a:pt x="1636263" y="931833"/>
                        <a:pt x="1636364" y="960520"/>
                        <a:pt x="1649827" y="977443"/>
                      </a:cubicBezTo>
                      <a:cubicBezTo>
                        <a:pt x="1657711" y="987343"/>
                        <a:pt x="1673646" y="993073"/>
                        <a:pt x="1679439" y="1004444"/>
                      </a:cubicBezTo>
                      <a:cubicBezTo>
                        <a:pt x="1686031" y="1017425"/>
                        <a:pt x="1676485" y="1020771"/>
                        <a:pt x="1693954" y="1019073"/>
                      </a:cubicBezTo>
                      <a:cubicBezTo>
                        <a:pt x="1723857" y="1016183"/>
                        <a:pt x="1750250" y="1015270"/>
                        <a:pt x="1780128" y="1018794"/>
                      </a:cubicBezTo>
                      <a:cubicBezTo>
                        <a:pt x="1809196" y="1022217"/>
                        <a:pt x="1838263" y="1025627"/>
                        <a:pt x="1867343" y="1029049"/>
                      </a:cubicBezTo>
                      <a:cubicBezTo>
                        <a:pt x="1881376" y="1030685"/>
                        <a:pt x="1898489" y="1035565"/>
                        <a:pt x="1912383" y="1034310"/>
                      </a:cubicBezTo>
                      <a:cubicBezTo>
                        <a:pt x="1925642" y="1033093"/>
                        <a:pt x="1938154" y="1024739"/>
                        <a:pt x="1951553" y="1024359"/>
                      </a:cubicBezTo>
                      <a:cubicBezTo>
                        <a:pt x="1981051" y="1023535"/>
                        <a:pt x="2011006" y="1036490"/>
                        <a:pt x="2040555" y="1037251"/>
                      </a:cubicBezTo>
                      <a:cubicBezTo>
                        <a:pt x="2053916" y="1037593"/>
                        <a:pt x="2067049" y="1033397"/>
                        <a:pt x="2078496" y="1042854"/>
                      </a:cubicBezTo>
                      <a:cubicBezTo>
                        <a:pt x="2089233" y="1051690"/>
                        <a:pt x="2090589" y="1063682"/>
                        <a:pt x="2104888" y="1068676"/>
                      </a:cubicBezTo>
                      <a:cubicBezTo>
                        <a:pt x="2134729" y="1079109"/>
                        <a:pt x="2166699" y="1078222"/>
                        <a:pt x="2195424" y="1091862"/>
                      </a:cubicBezTo>
                      <a:cubicBezTo>
                        <a:pt x="2207911" y="1097807"/>
                        <a:pt x="2218863" y="1105463"/>
                        <a:pt x="2232528" y="1104741"/>
                      </a:cubicBezTo>
                      <a:cubicBezTo>
                        <a:pt x="2249325" y="1103854"/>
                        <a:pt x="2267363" y="1098555"/>
                        <a:pt x="2283894" y="1095690"/>
                      </a:cubicBezTo>
                      <a:cubicBezTo>
                        <a:pt x="2283817" y="1099125"/>
                        <a:pt x="2281701" y="1111979"/>
                        <a:pt x="2284210" y="1114552"/>
                      </a:cubicBezTo>
                      <a:cubicBezTo>
                        <a:pt x="2287582" y="1117912"/>
                        <a:pt x="2302959" y="1114946"/>
                        <a:pt x="2306648" y="1115541"/>
                      </a:cubicBezTo>
                      <a:cubicBezTo>
                        <a:pt x="2320110" y="1117696"/>
                        <a:pt x="2318031" y="1121499"/>
                        <a:pt x="2330125" y="1112106"/>
                      </a:cubicBezTo>
                      <a:cubicBezTo>
                        <a:pt x="2346795" y="1099163"/>
                        <a:pt x="2371767" y="1090315"/>
                        <a:pt x="2391834" y="1082189"/>
                      </a:cubicBezTo>
                      <a:cubicBezTo>
                        <a:pt x="2420191" y="1070742"/>
                        <a:pt x="2446926" y="1059587"/>
                        <a:pt x="2477236" y="1055252"/>
                      </a:cubicBezTo>
                      <a:cubicBezTo>
                        <a:pt x="2502260" y="1051690"/>
                        <a:pt x="2530515" y="1043691"/>
                        <a:pt x="2555729" y="1044096"/>
                      </a:cubicBezTo>
                      <a:cubicBezTo>
                        <a:pt x="2566783" y="1044261"/>
                        <a:pt x="2578851" y="1045554"/>
                        <a:pt x="2589918" y="1047088"/>
                      </a:cubicBezTo>
                      <a:cubicBezTo>
                        <a:pt x="2601948" y="1048749"/>
                        <a:pt x="2607183" y="1045440"/>
                        <a:pt x="2618402" y="1044743"/>
                      </a:cubicBezTo>
                      <a:cubicBezTo>
                        <a:pt x="2629925" y="1044033"/>
                        <a:pt x="2641283" y="1048368"/>
                        <a:pt x="2652781" y="1044337"/>
                      </a:cubicBezTo>
                      <a:cubicBezTo>
                        <a:pt x="2660500" y="1041624"/>
                        <a:pt x="2668233" y="1034247"/>
                        <a:pt x="2676866" y="1031331"/>
                      </a:cubicBezTo>
                      <a:cubicBezTo>
                        <a:pt x="2697338" y="1024435"/>
                        <a:pt x="2715403" y="1021291"/>
                        <a:pt x="2730424" y="1004862"/>
                      </a:cubicBezTo>
                      <a:cubicBezTo>
                        <a:pt x="2746853" y="986925"/>
                        <a:pt x="2756487" y="969241"/>
                        <a:pt x="2780433" y="959645"/>
                      </a:cubicBezTo>
                      <a:cubicBezTo>
                        <a:pt x="2789484" y="955994"/>
                        <a:pt x="2800766" y="953675"/>
                        <a:pt x="2808575" y="948756"/>
                      </a:cubicBezTo>
                      <a:cubicBezTo>
                        <a:pt x="2813633" y="945574"/>
                        <a:pt x="2816016" y="938399"/>
                        <a:pt x="2821492" y="935674"/>
                      </a:cubicBezTo>
                      <a:cubicBezTo>
                        <a:pt x="2824535" y="934165"/>
                        <a:pt x="2830505" y="936853"/>
                        <a:pt x="2833332" y="933265"/>
                      </a:cubicBezTo>
                      <a:cubicBezTo>
                        <a:pt x="2844221" y="919461"/>
                        <a:pt x="2808068" y="898037"/>
                        <a:pt x="2802756" y="889012"/>
                      </a:cubicBezTo>
                      <a:cubicBezTo>
                        <a:pt x="2800297" y="884816"/>
                        <a:pt x="2793718" y="874751"/>
                        <a:pt x="2793718" y="871074"/>
                      </a:cubicBezTo>
                      <a:cubicBezTo>
                        <a:pt x="2793655" y="864723"/>
                        <a:pt x="2801603" y="859501"/>
                        <a:pt x="2803859" y="853936"/>
                      </a:cubicBezTo>
                      <a:cubicBezTo>
                        <a:pt x="2810223" y="838090"/>
                        <a:pt x="2812429" y="817516"/>
                        <a:pt x="2831406" y="810645"/>
                      </a:cubicBezTo>
                      <a:cubicBezTo>
                        <a:pt x="2839125" y="807869"/>
                        <a:pt x="2843055" y="808921"/>
                        <a:pt x="2852081" y="809390"/>
                      </a:cubicBezTo>
                      <a:cubicBezTo>
                        <a:pt x="2870538" y="810329"/>
                        <a:pt x="2867102" y="811000"/>
                        <a:pt x="2880831" y="821535"/>
                      </a:cubicBezTo>
                      <a:cubicBezTo>
                        <a:pt x="2897767" y="834566"/>
                        <a:pt x="2928685" y="835035"/>
                        <a:pt x="2948942" y="837127"/>
                      </a:cubicBezTo>
                      <a:cubicBezTo>
                        <a:pt x="2961644" y="838445"/>
                        <a:pt x="2962329" y="834376"/>
                        <a:pt x="2974029" y="827645"/>
                      </a:cubicBezTo>
                      <a:cubicBezTo>
                        <a:pt x="2981686" y="823246"/>
                        <a:pt x="2988442" y="821256"/>
                        <a:pt x="2995414" y="815577"/>
                      </a:cubicBezTo>
                      <a:cubicBezTo>
                        <a:pt x="3002931" y="809428"/>
                        <a:pt x="3013200" y="802596"/>
                        <a:pt x="3019145" y="794622"/>
                      </a:cubicBezTo>
                      <a:cubicBezTo>
                        <a:pt x="3025470" y="786091"/>
                        <a:pt x="3023239" y="777496"/>
                        <a:pt x="3036841" y="776888"/>
                      </a:cubicBezTo>
                      <a:cubicBezTo>
                        <a:pt x="3047743" y="776381"/>
                        <a:pt x="3056870" y="780602"/>
                        <a:pt x="3068659" y="779753"/>
                      </a:cubicBezTo>
                      <a:cubicBezTo>
                        <a:pt x="3080601" y="778878"/>
                        <a:pt x="3092947" y="780272"/>
                        <a:pt x="3104420" y="775760"/>
                      </a:cubicBezTo>
                      <a:cubicBezTo>
                        <a:pt x="3115043" y="771589"/>
                        <a:pt x="3121241" y="761080"/>
                        <a:pt x="3131725" y="756162"/>
                      </a:cubicBezTo>
                      <a:cubicBezTo>
                        <a:pt x="3137772" y="753322"/>
                        <a:pt x="3147025" y="754260"/>
                        <a:pt x="3150511" y="745970"/>
                      </a:cubicBezTo>
                      <a:cubicBezTo>
                        <a:pt x="3153998" y="737629"/>
                        <a:pt x="3149003" y="734041"/>
                        <a:pt x="3154999" y="723722"/>
                      </a:cubicBezTo>
                      <a:cubicBezTo>
                        <a:pt x="3159791" y="715470"/>
                        <a:pt x="3167929" y="704556"/>
                        <a:pt x="3175294" y="698965"/>
                      </a:cubicBezTo>
                      <a:cubicBezTo>
                        <a:pt x="3179566" y="695720"/>
                        <a:pt x="3189707" y="689648"/>
                        <a:pt x="3194753" y="688659"/>
                      </a:cubicBezTo>
                      <a:cubicBezTo>
                        <a:pt x="3204463" y="686758"/>
                        <a:pt x="3222743" y="697736"/>
                        <a:pt x="3231578" y="691689"/>
                      </a:cubicBezTo>
                      <a:cubicBezTo>
                        <a:pt x="3234570" y="689597"/>
                        <a:pt x="3238702" y="675235"/>
                        <a:pt x="3237042" y="671622"/>
                      </a:cubicBezTo>
                      <a:cubicBezTo>
                        <a:pt x="3244508" y="672116"/>
                        <a:pt x="3246764" y="669835"/>
                        <a:pt x="3251861" y="671622"/>
                      </a:cubicBezTo>
                      <a:cubicBezTo>
                        <a:pt x="3257590" y="673638"/>
                        <a:pt x="3258795" y="679862"/>
                        <a:pt x="3267655" y="676021"/>
                      </a:cubicBezTo>
                      <a:cubicBezTo>
                        <a:pt x="3270672" y="674728"/>
                        <a:pt x="3272244" y="669961"/>
                        <a:pt x="3275312" y="667933"/>
                      </a:cubicBezTo>
                      <a:cubicBezTo>
                        <a:pt x="3279711" y="664954"/>
                        <a:pt x="3287646" y="664194"/>
                        <a:pt x="3292425" y="662127"/>
                      </a:cubicBezTo>
                      <a:cubicBezTo>
                        <a:pt x="3304481" y="656879"/>
                        <a:pt x="3310679" y="659655"/>
                        <a:pt x="3323876" y="660695"/>
                      </a:cubicBezTo>
                      <a:cubicBezTo>
                        <a:pt x="3326132" y="660872"/>
                        <a:pt x="3334068" y="662102"/>
                        <a:pt x="3336286" y="661341"/>
                      </a:cubicBezTo>
                      <a:cubicBezTo>
                        <a:pt x="3339265" y="660289"/>
                        <a:pt x="3339291" y="655371"/>
                        <a:pt x="3342168" y="654433"/>
                      </a:cubicBezTo>
                      <a:cubicBezTo>
                        <a:pt x="3346174" y="653114"/>
                        <a:pt x="3344906" y="656512"/>
                        <a:pt x="3346681" y="656512"/>
                      </a:cubicBezTo>
                      <a:cubicBezTo>
                        <a:pt x="3354489" y="656499"/>
                        <a:pt x="3363325" y="666247"/>
                        <a:pt x="3376876" y="667337"/>
                      </a:cubicBezTo>
                      <a:cubicBezTo>
                        <a:pt x="3385446" y="668022"/>
                        <a:pt x="3400619" y="670240"/>
                        <a:pt x="3408200" y="669087"/>
                      </a:cubicBezTo>
                      <a:cubicBezTo>
                        <a:pt x="3413157" y="668326"/>
                        <a:pt x="3420762" y="661645"/>
                        <a:pt x="3422550" y="657285"/>
                      </a:cubicBezTo>
                      <a:cubicBezTo>
                        <a:pt x="3423171" y="655789"/>
                        <a:pt x="3422322" y="644215"/>
                        <a:pt x="3421586" y="642250"/>
                      </a:cubicBezTo>
                      <a:cubicBezTo>
                        <a:pt x="3420915" y="640412"/>
                        <a:pt x="3416795" y="638257"/>
                        <a:pt x="3414969" y="635012"/>
                      </a:cubicBezTo>
                      <a:cubicBezTo>
                        <a:pt x="3412497" y="630563"/>
                        <a:pt x="3412738" y="626265"/>
                        <a:pt x="3410545" y="621600"/>
                      </a:cubicBezTo>
                      <a:cubicBezTo>
                        <a:pt x="3406907" y="613804"/>
                        <a:pt x="3399124" y="611218"/>
                        <a:pt x="3393381" y="606744"/>
                      </a:cubicBezTo>
                      <a:cubicBezTo>
                        <a:pt x="3387829" y="602433"/>
                        <a:pt x="3384165" y="595677"/>
                        <a:pt x="3376597" y="593357"/>
                      </a:cubicBezTo>
                      <a:cubicBezTo>
                        <a:pt x="3383912" y="585041"/>
                        <a:pt x="3371400" y="587450"/>
                        <a:pt x="3367318" y="583748"/>
                      </a:cubicBezTo>
                      <a:cubicBezTo>
                        <a:pt x="3363148" y="579933"/>
                        <a:pt x="3365480" y="574444"/>
                        <a:pt x="3361918" y="570324"/>
                      </a:cubicBezTo>
                      <a:cubicBezTo>
                        <a:pt x="3356670" y="564290"/>
                        <a:pt x="3343030" y="565038"/>
                        <a:pt x="3336590" y="559752"/>
                      </a:cubicBezTo>
                      <a:cubicBezTo>
                        <a:pt x="3327869" y="552589"/>
                        <a:pt x="3326804" y="543019"/>
                        <a:pt x="3315192" y="539495"/>
                      </a:cubicBezTo>
                      <a:cubicBezTo>
                        <a:pt x="3302249" y="535565"/>
                        <a:pt x="3277175" y="534310"/>
                        <a:pt x="3264651" y="539254"/>
                      </a:cubicBezTo>
                      <a:cubicBezTo>
                        <a:pt x="3258351" y="541738"/>
                        <a:pt x="3254548" y="547734"/>
                        <a:pt x="3250301" y="552767"/>
                      </a:cubicBezTo>
                      <a:cubicBezTo>
                        <a:pt x="3247056" y="556633"/>
                        <a:pt x="3239019" y="570083"/>
                        <a:pt x="3234658" y="571186"/>
                      </a:cubicBezTo>
                      <a:cubicBezTo>
                        <a:pt x="3227800" y="572948"/>
                        <a:pt x="3217836" y="558928"/>
                        <a:pt x="3212322" y="555974"/>
                      </a:cubicBezTo>
                      <a:cubicBezTo>
                        <a:pt x="3203905" y="551461"/>
                        <a:pt x="3195285" y="550181"/>
                        <a:pt x="3186107" y="551081"/>
                      </a:cubicBezTo>
                      <a:cubicBezTo>
                        <a:pt x="3174888" y="552171"/>
                        <a:pt x="3164392" y="551005"/>
                        <a:pt x="3153630" y="551727"/>
                      </a:cubicBezTo>
                      <a:cubicBezTo>
                        <a:pt x="3142589" y="552488"/>
                        <a:pt x="3136225" y="568182"/>
                        <a:pt x="3127833" y="568131"/>
                      </a:cubicBezTo>
                      <a:cubicBezTo>
                        <a:pt x="3115993" y="568042"/>
                        <a:pt x="3091135" y="537872"/>
                        <a:pt x="3098893" y="525284"/>
                      </a:cubicBezTo>
                      <a:cubicBezTo>
                        <a:pt x="3103178" y="518337"/>
                        <a:pt x="3116437" y="521823"/>
                        <a:pt x="3119847" y="513013"/>
                      </a:cubicBezTo>
                      <a:cubicBezTo>
                        <a:pt x="3122433" y="506257"/>
                        <a:pt x="3116653" y="496838"/>
                        <a:pt x="3118871" y="489435"/>
                      </a:cubicBezTo>
                      <a:cubicBezTo>
                        <a:pt x="3121799" y="479699"/>
                        <a:pt x="3133563" y="472892"/>
                        <a:pt x="3137493" y="463271"/>
                      </a:cubicBezTo>
                      <a:cubicBezTo>
                        <a:pt x="3138431" y="460963"/>
                        <a:pt x="3136276" y="458428"/>
                        <a:pt x="3137163" y="455779"/>
                      </a:cubicBezTo>
                      <a:cubicBezTo>
                        <a:pt x="3139775" y="447831"/>
                        <a:pt x="3145580" y="439870"/>
                        <a:pt x="3149497" y="432416"/>
                      </a:cubicBezTo>
                      <a:cubicBezTo>
                        <a:pt x="3161097" y="410169"/>
                        <a:pt x="3172809" y="387947"/>
                        <a:pt x="3184573" y="365775"/>
                      </a:cubicBezTo>
                      <a:cubicBezTo>
                        <a:pt x="3196261" y="374243"/>
                        <a:pt x="3213501" y="382559"/>
                        <a:pt x="3227826" y="385031"/>
                      </a:cubicBezTo>
                      <a:cubicBezTo>
                        <a:pt x="3236141" y="386451"/>
                        <a:pt x="3241795" y="385944"/>
                        <a:pt x="3249591" y="388847"/>
                      </a:cubicBezTo>
                      <a:cubicBezTo>
                        <a:pt x="3255752" y="391154"/>
                        <a:pt x="3260810" y="395502"/>
                        <a:pt x="3267085" y="394855"/>
                      </a:cubicBezTo>
                      <a:cubicBezTo>
                        <a:pt x="3278380" y="393676"/>
                        <a:pt x="3289003" y="381368"/>
                        <a:pt x="3298865" y="374750"/>
                      </a:cubicBezTo>
                      <a:cubicBezTo>
                        <a:pt x="3305026" y="370631"/>
                        <a:pt x="3312201" y="368615"/>
                        <a:pt x="3317297" y="364254"/>
                      </a:cubicBezTo>
                      <a:cubicBezTo>
                        <a:pt x="3321923" y="360261"/>
                        <a:pt x="3324180" y="354759"/>
                        <a:pt x="3331444" y="352465"/>
                      </a:cubicBezTo>
                      <a:cubicBezTo>
                        <a:pt x="3344868" y="348244"/>
                        <a:pt x="3371590" y="356293"/>
                        <a:pt x="3379627" y="339180"/>
                      </a:cubicBezTo>
                      <a:cubicBezTo>
                        <a:pt x="3381022" y="336264"/>
                        <a:pt x="3383088" y="318733"/>
                        <a:pt x="3382758" y="318061"/>
                      </a:cubicBezTo>
                      <a:cubicBezTo>
                        <a:pt x="3380717" y="314385"/>
                        <a:pt x="3369296" y="313916"/>
                        <a:pt x="3365632" y="312141"/>
                      </a:cubicBezTo>
                      <a:cubicBezTo>
                        <a:pt x="3373035" y="304814"/>
                        <a:pt x="3372440" y="302697"/>
                        <a:pt x="3376965" y="293177"/>
                      </a:cubicBezTo>
                      <a:cubicBezTo>
                        <a:pt x="3380768" y="285178"/>
                        <a:pt x="3390174" y="283213"/>
                        <a:pt x="3393660" y="273440"/>
                      </a:cubicBezTo>
                      <a:cubicBezTo>
                        <a:pt x="3394978" y="269852"/>
                        <a:pt x="3393216" y="266670"/>
                        <a:pt x="3394738" y="262791"/>
                      </a:cubicBezTo>
                      <a:cubicBezTo>
                        <a:pt x="3397235" y="256390"/>
                        <a:pt x="3403865" y="254336"/>
                        <a:pt x="3408302" y="248530"/>
                      </a:cubicBezTo>
                      <a:cubicBezTo>
                        <a:pt x="3412637" y="242813"/>
                        <a:pt x="3410393" y="231556"/>
                        <a:pt x="3416021" y="231265"/>
                      </a:cubicBezTo>
                      <a:cubicBezTo>
                        <a:pt x="3414576" y="223076"/>
                        <a:pt x="3426201" y="222835"/>
                        <a:pt x="3421966" y="214887"/>
                      </a:cubicBezTo>
                      <a:cubicBezTo>
                        <a:pt x="3426987" y="214139"/>
                        <a:pt x="3431284" y="203706"/>
                        <a:pt x="3433097" y="199371"/>
                      </a:cubicBezTo>
                      <a:cubicBezTo>
                        <a:pt x="3436266" y="191575"/>
                        <a:pt x="3436684" y="191803"/>
                        <a:pt x="3441907" y="187112"/>
                      </a:cubicBezTo>
                      <a:cubicBezTo>
                        <a:pt x="3449171" y="180597"/>
                        <a:pt x="3456384" y="175399"/>
                        <a:pt x="3464040" y="170240"/>
                      </a:cubicBezTo>
                      <a:cubicBezTo>
                        <a:pt x="3466930" y="168313"/>
                        <a:pt x="3475931" y="164814"/>
                        <a:pt x="3477832" y="162900"/>
                      </a:cubicBezTo>
                      <a:cubicBezTo>
                        <a:pt x="3480114" y="160657"/>
                        <a:pt x="3481027" y="156942"/>
                        <a:pt x="3482282" y="154394"/>
                      </a:cubicBezTo>
                      <a:cubicBezTo>
                        <a:pt x="3482332" y="154242"/>
                        <a:pt x="3485413" y="146269"/>
                        <a:pt x="3485451" y="146066"/>
                      </a:cubicBezTo>
                      <a:cubicBezTo>
                        <a:pt x="3486478" y="140501"/>
                        <a:pt x="3487656" y="139385"/>
                        <a:pt x="3485311" y="133694"/>
                      </a:cubicBezTo>
                      <a:cubicBezTo>
                        <a:pt x="3482763" y="127482"/>
                        <a:pt x="3477591" y="124465"/>
                        <a:pt x="3477591" y="118178"/>
                      </a:cubicBezTo>
                      <a:cubicBezTo>
                        <a:pt x="3477591" y="113956"/>
                        <a:pt x="3484145" y="106680"/>
                        <a:pt x="3482586" y="102256"/>
                      </a:cubicBezTo>
                      <a:cubicBezTo>
                        <a:pt x="3480988" y="97553"/>
                        <a:pt x="3465384" y="92698"/>
                        <a:pt x="3459984" y="92482"/>
                      </a:cubicBezTo>
                      <a:cubicBezTo>
                        <a:pt x="3453252" y="92216"/>
                        <a:pt x="3440335" y="100963"/>
                        <a:pt x="3434326" y="95525"/>
                      </a:cubicBezTo>
                      <a:cubicBezTo>
                        <a:pt x="3420927" y="83482"/>
                        <a:pt x="3446432" y="71959"/>
                        <a:pt x="3452986" y="66052"/>
                      </a:cubicBezTo>
                      <a:cubicBezTo>
                        <a:pt x="3464801" y="55441"/>
                        <a:pt x="3480976" y="32548"/>
                        <a:pt x="3494413" y="27654"/>
                      </a:cubicBezTo>
                      <a:cubicBezTo>
                        <a:pt x="3501068" y="25246"/>
                        <a:pt x="3507723" y="28428"/>
                        <a:pt x="3514112" y="28073"/>
                      </a:cubicBezTo>
                      <a:cubicBezTo>
                        <a:pt x="3519791" y="27769"/>
                        <a:pt x="3523049" y="24790"/>
                        <a:pt x="3527905" y="23661"/>
                      </a:cubicBezTo>
                      <a:cubicBezTo>
                        <a:pt x="3538718" y="21202"/>
                        <a:pt x="3549049" y="17615"/>
                        <a:pt x="3560318" y="14864"/>
                      </a:cubicBezTo>
                      <a:cubicBezTo>
                        <a:pt x="3567975" y="13013"/>
                        <a:pt x="3575137" y="14065"/>
                        <a:pt x="3582642" y="12696"/>
                      </a:cubicBezTo>
                      <a:cubicBezTo>
                        <a:pt x="3587268" y="11821"/>
                        <a:pt x="3590336" y="8538"/>
                        <a:pt x="3595521" y="7841"/>
                      </a:cubicBezTo>
                      <a:cubicBezTo>
                        <a:pt x="3604268" y="6675"/>
                        <a:pt x="3608654" y="9869"/>
                        <a:pt x="3618617" y="8982"/>
                      </a:cubicBezTo>
                      <a:cubicBezTo>
                        <a:pt x="3634590" y="7562"/>
                        <a:pt x="3649992" y="6675"/>
                        <a:pt x="3664836" y="2644"/>
                      </a:cubicBezTo>
                      <a:cubicBezTo>
                        <a:pt x="3675269" y="-82"/>
                        <a:pt x="3675624" y="-424"/>
                        <a:pt x="3686564" y="3810"/>
                      </a:cubicBezTo>
                      <a:lnTo>
                        <a:pt x="3686564" y="3810"/>
                      </a:lnTo>
                      <a:close/>
                    </a:path>
                  </a:pathLst>
                </a:custGeom>
                <a:solidFill>
                  <a:srgbClr val="D6D6D2"/>
                </a:solidFill>
                <a:ln w="12413" cap="rnd">
                  <a:solidFill>
                    <a:srgbClr val="FFFFFF"/>
                  </a:solidFill>
                  <a:prstDash val="solid"/>
                  <a:round/>
                </a:ln>
              </p:spPr>
              <p:txBody>
                <a:bodyPr rtlCol="0" anchor="ctr"/>
                <a:lstStyle/>
                <a:p>
                  <a:endParaRPr lang="en-US"/>
                </a:p>
              </p:txBody>
            </p:sp>
            <p:sp>
              <p:nvSpPr>
                <p:cNvPr id="99" name="Freeform: Shape 98">
                  <a:extLst>
                    <a:ext uri="{FF2B5EF4-FFF2-40B4-BE49-F238E27FC236}">
                      <a16:creationId xmlns:a16="http://schemas.microsoft.com/office/drawing/2014/main" id="{66BB34D4-E022-4972-8B50-99FE8AAD2EF7}"/>
                    </a:ext>
                  </a:extLst>
                </p:cNvPr>
                <p:cNvSpPr/>
                <p:nvPr/>
              </p:nvSpPr>
              <p:spPr>
                <a:xfrm>
                  <a:off x="2483308" y="2757450"/>
                  <a:ext cx="247384" cy="130258"/>
                </a:xfrm>
                <a:custGeom>
                  <a:avLst/>
                  <a:gdLst>
                    <a:gd name="connsiteX0" fmla="*/ 213977 w 247384"/>
                    <a:gd name="connsiteY0" fmla="*/ 47737 h 130258"/>
                    <a:gd name="connsiteX1" fmla="*/ 220974 w 247384"/>
                    <a:gd name="connsiteY1" fmla="*/ 71506 h 130258"/>
                    <a:gd name="connsiteX2" fmla="*/ 232573 w 247384"/>
                    <a:gd name="connsiteY2" fmla="*/ 72545 h 130258"/>
                    <a:gd name="connsiteX3" fmla="*/ 244147 w 247384"/>
                    <a:gd name="connsiteY3" fmla="*/ 78123 h 130258"/>
                    <a:gd name="connsiteX4" fmla="*/ 240433 w 247384"/>
                    <a:gd name="connsiteY4" fmla="*/ 100345 h 130258"/>
                    <a:gd name="connsiteX5" fmla="*/ 246961 w 247384"/>
                    <a:gd name="connsiteY5" fmla="*/ 114796 h 130258"/>
                    <a:gd name="connsiteX6" fmla="*/ 233245 w 247384"/>
                    <a:gd name="connsiteY6" fmla="*/ 117293 h 130258"/>
                    <a:gd name="connsiteX7" fmla="*/ 232168 w 247384"/>
                    <a:gd name="connsiteY7" fmla="*/ 123480 h 130258"/>
                    <a:gd name="connsiteX8" fmla="*/ 218224 w 247384"/>
                    <a:gd name="connsiteY8" fmla="*/ 123556 h 130258"/>
                    <a:gd name="connsiteX9" fmla="*/ 209084 w 247384"/>
                    <a:gd name="connsiteY9" fmla="*/ 123150 h 130258"/>
                    <a:gd name="connsiteX10" fmla="*/ 201795 w 247384"/>
                    <a:gd name="connsiteY10" fmla="*/ 118396 h 130258"/>
                    <a:gd name="connsiteX11" fmla="*/ 191616 w 247384"/>
                    <a:gd name="connsiteY11" fmla="*/ 124874 h 130258"/>
                    <a:gd name="connsiteX12" fmla="*/ 173475 w 247384"/>
                    <a:gd name="connsiteY12" fmla="*/ 123353 h 130258"/>
                    <a:gd name="connsiteX13" fmla="*/ 146272 w 247384"/>
                    <a:gd name="connsiteY13" fmla="*/ 126332 h 130258"/>
                    <a:gd name="connsiteX14" fmla="*/ 118320 w 247384"/>
                    <a:gd name="connsiteY14" fmla="*/ 116330 h 130258"/>
                    <a:gd name="connsiteX15" fmla="*/ 104071 w 247384"/>
                    <a:gd name="connsiteY15" fmla="*/ 126357 h 130258"/>
                    <a:gd name="connsiteX16" fmla="*/ 83675 w 247384"/>
                    <a:gd name="connsiteY16" fmla="*/ 130109 h 130258"/>
                    <a:gd name="connsiteX17" fmla="*/ 63557 w 247384"/>
                    <a:gd name="connsiteY17" fmla="*/ 129957 h 130258"/>
                    <a:gd name="connsiteX18" fmla="*/ 46634 w 247384"/>
                    <a:gd name="connsiteY18" fmla="*/ 120767 h 130258"/>
                    <a:gd name="connsiteX19" fmla="*/ 28266 w 247384"/>
                    <a:gd name="connsiteY19" fmla="*/ 122504 h 130258"/>
                    <a:gd name="connsiteX20" fmla="*/ 8402 w 247384"/>
                    <a:gd name="connsiteY20" fmla="*/ 112223 h 130258"/>
                    <a:gd name="connsiteX21" fmla="*/ 6880 w 247384"/>
                    <a:gd name="connsiteY21" fmla="*/ 100624 h 130258"/>
                    <a:gd name="connsiteX22" fmla="*/ 22 w 247384"/>
                    <a:gd name="connsiteY22" fmla="*/ 93677 h 130258"/>
                    <a:gd name="connsiteX23" fmla="*/ 16920 w 247384"/>
                    <a:gd name="connsiteY23" fmla="*/ 82877 h 130258"/>
                    <a:gd name="connsiteX24" fmla="*/ 28583 w 247384"/>
                    <a:gd name="connsiteY24" fmla="*/ 59184 h 130258"/>
                    <a:gd name="connsiteX25" fmla="*/ 53898 w 247384"/>
                    <a:gd name="connsiteY25" fmla="*/ 24261 h 130258"/>
                    <a:gd name="connsiteX26" fmla="*/ 73838 w 247384"/>
                    <a:gd name="connsiteY26" fmla="*/ 14550 h 130258"/>
                    <a:gd name="connsiteX27" fmla="*/ 85158 w 247384"/>
                    <a:gd name="connsiteY27" fmla="*/ 4574 h 130258"/>
                    <a:gd name="connsiteX28" fmla="*/ 104617 w 247384"/>
                    <a:gd name="connsiteY28" fmla="*/ 2989 h 130258"/>
                    <a:gd name="connsiteX29" fmla="*/ 109953 w 247384"/>
                    <a:gd name="connsiteY29" fmla="*/ 86 h 130258"/>
                    <a:gd name="connsiteX30" fmla="*/ 116254 w 247384"/>
                    <a:gd name="connsiteY30" fmla="*/ 8047 h 130258"/>
                    <a:gd name="connsiteX31" fmla="*/ 124100 w 247384"/>
                    <a:gd name="connsiteY31" fmla="*/ 6133 h 130258"/>
                    <a:gd name="connsiteX32" fmla="*/ 133811 w 247384"/>
                    <a:gd name="connsiteY32" fmla="*/ 9011 h 130258"/>
                    <a:gd name="connsiteX33" fmla="*/ 128436 w 247384"/>
                    <a:gd name="connsiteY33" fmla="*/ 22866 h 130258"/>
                    <a:gd name="connsiteX34" fmla="*/ 143838 w 247384"/>
                    <a:gd name="connsiteY34" fmla="*/ 21687 h 130258"/>
                    <a:gd name="connsiteX35" fmla="*/ 164323 w 247384"/>
                    <a:gd name="connsiteY35" fmla="*/ 29027 h 130258"/>
                    <a:gd name="connsiteX36" fmla="*/ 188700 w 247384"/>
                    <a:gd name="connsiteY36" fmla="*/ 21332 h 130258"/>
                    <a:gd name="connsiteX37" fmla="*/ 210402 w 247384"/>
                    <a:gd name="connsiteY37" fmla="*/ 31524 h 130258"/>
                    <a:gd name="connsiteX38" fmla="*/ 213977 w 247384"/>
                    <a:gd name="connsiteY38" fmla="*/ 47737 h 130258"/>
                    <a:gd name="connsiteX39" fmla="*/ 213977 w 247384"/>
                    <a:gd name="connsiteY39" fmla="*/ 47737 h 130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47384" h="130258">
                      <a:moveTo>
                        <a:pt x="213977" y="47737"/>
                      </a:moveTo>
                      <a:cubicBezTo>
                        <a:pt x="210313" y="59324"/>
                        <a:pt x="208298" y="66309"/>
                        <a:pt x="220974" y="71506"/>
                      </a:cubicBezTo>
                      <a:cubicBezTo>
                        <a:pt x="226184" y="73636"/>
                        <a:pt x="224410" y="72267"/>
                        <a:pt x="232573" y="72545"/>
                      </a:cubicBezTo>
                      <a:cubicBezTo>
                        <a:pt x="240179" y="72786"/>
                        <a:pt x="239482" y="68856"/>
                        <a:pt x="244147" y="78123"/>
                      </a:cubicBezTo>
                      <a:cubicBezTo>
                        <a:pt x="249788" y="89291"/>
                        <a:pt x="238797" y="89494"/>
                        <a:pt x="240433" y="100345"/>
                      </a:cubicBezTo>
                      <a:cubicBezTo>
                        <a:pt x="241269" y="105631"/>
                        <a:pt x="249294" y="108040"/>
                        <a:pt x="246961" y="114796"/>
                      </a:cubicBezTo>
                      <a:cubicBezTo>
                        <a:pt x="244591" y="121591"/>
                        <a:pt x="238012" y="119892"/>
                        <a:pt x="233245" y="117293"/>
                      </a:cubicBezTo>
                      <a:cubicBezTo>
                        <a:pt x="233118" y="120159"/>
                        <a:pt x="231902" y="120501"/>
                        <a:pt x="232168" y="123480"/>
                      </a:cubicBezTo>
                      <a:cubicBezTo>
                        <a:pt x="228682" y="115836"/>
                        <a:pt x="224524" y="122250"/>
                        <a:pt x="218224" y="123556"/>
                      </a:cubicBezTo>
                      <a:cubicBezTo>
                        <a:pt x="215587" y="124114"/>
                        <a:pt x="211543" y="123708"/>
                        <a:pt x="209084" y="123150"/>
                      </a:cubicBezTo>
                      <a:cubicBezTo>
                        <a:pt x="207195" y="122719"/>
                        <a:pt x="202213" y="118371"/>
                        <a:pt x="201795" y="118396"/>
                      </a:cubicBezTo>
                      <a:cubicBezTo>
                        <a:pt x="194506" y="118637"/>
                        <a:pt x="197105" y="123315"/>
                        <a:pt x="191616" y="124874"/>
                      </a:cubicBezTo>
                      <a:cubicBezTo>
                        <a:pt x="186038" y="126459"/>
                        <a:pt x="179687" y="123061"/>
                        <a:pt x="173475" y="123353"/>
                      </a:cubicBezTo>
                      <a:cubicBezTo>
                        <a:pt x="164665" y="123771"/>
                        <a:pt x="155690" y="126928"/>
                        <a:pt x="146272" y="126332"/>
                      </a:cubicBezTo>
                      <a:cubicBezTo>
                        <a:pt x="135547" y="125647"/>
                        <a:pt x="127713" y="116748"/>
                        <a:pt x="118320" y="116330"/>
                      </a:cubicBezTo>
                      <a:cubicBezTo>
                        <a:pt x="111741" y="116026"/>
                        <a:pt x="107925" y="124380"/>
                        <a:pt x="104071" y="126357"/>
                      </a:cubicBezTo>
                      <a:cubicBezTo>
                        <a:pt x="97961" y="129463"/>
                        <a:pt x="90381" y="129248"/>
                        <a:pt x="83675" y="130109"/>
                      </a:cubicBezTo>
                      <a:cubicBezTo>
                        <a:pt x="78680" y="130769"/>
                        <a:pt x="70390" y="128969"/>
                        <a:pt x="63557" y="129957"/>
                      </a:cubicBezTo>
                      <a:cubicBezTo>
                        <a:pt x="65547" y="123683"/>
                        <a:pt x="51831" y="120995"/>
                        <a:pt x="46634" y="120767"/>
                      </a:cubicBezTo>
                      <a:cubicBezTo>
                        <a:pt x="41361" y="120539"/>
                        <a:pt x="33970" y="124443"/>
                        <a:pt x="28266" y="122504"/>
                      </a:cubicBezTo>
                      <a:cubicBezTo>
                        <a:pt x="21370" y="120184"/>
                        <a:pt x="14220" y="106062"/>
                        <a:pt x="8402" y="112223"/>
                      </a:cubicBezTo>
                      <a:cubicBezTo>
                        <a:pt x="8326" y="108496"/>
                        <a:pt x="8452" y="103996"/>
                        <a:pt x="6880" y="100624"/>
                      </a:cubicBezTo>
                      <a:cubicBezTo>
                        <a:pt x="4814" y="96263"/>
                        <a:pt x="-383" y="98913"/>
                        <a:pt x="22" y="93677"/>
                      </a:cubicBezTo>
                      <a:cubicBezTo>
                        <a:pt x="707" y="85577"/>
                        <a:pt x="15792" y="84766"/>
                        <a:pt x="16920" y="82877"/>
                      </a:cubicBezTo>
                      <a:cubicBezTo>
                        <a:pt x="18936" y="79353"/>
                        <a:pt x="13498" y="55648"/>
                        <a:pt x="28583" y="59184"/>
                      </a:cubicBezTo>
                      <a:cubicBezTo>
                        <a:pt x="36239" y="46330"/>
                        <a:pt x="43934" y="35784"/>
                        <a:pt x="53898" y="24261"/>
                      </a:cubicBezTo>
                      <a:cubicBezTo>
                        <a:pt x="59843" y="17390"/>
                        <a:pt x="66460" y="18531"/>
                        <a:pt x="73838" y="14550"/>
                      </a:cubicBezTo>
                      <a:cubicBezTo>
                        <a:pt x="77907" y="12345"/>
                        <a:pt x="80886" y="6754"/>
                        <a:pt x="85158" y="4574"/>
                      </a:cubicBezTo>
                      <a:cubicBezTo>
                        <a:pt x="90926" y="1646"/>
                        <a:pt x="98418" y="2419"/>
                        <a:pt x="104617" y="2989"/>
                      </a:cubicBezTo>
                      <a:cubicBezTo>
                        <a:pt x="106581" y="3142"/>
                        <a:pt x="108344" y="-611"/>
                        <a:pt x="109953" y="86"/>
                      </a:cubicBezTo>
                      <a:cubicBezTo>
                        <a:pt x="114111" y="1899"/>
                        <a:pt x="111766" y="6222"/>
                        <a:pt x="116254" y="8047"/>
                      </a:cubicBezTo>
                      <a:cubicBezTo>
                        <a:pt x="115645" y="7781"/>
                        <a:pt x="122389" y="6006"/>
                        <a:pt x="124100" y="6133"/>
                      </a:cubicBezTo>
                      <a:cubicBezTo>
                        <a:pt x="126015" y="6273"/>
                        <a:pt x="132568" y="7654"/>
                        <a:pt x="133811" y="9011"/>
                      </a:cubicBezTo>
                      <a:cubicBezTo>
                        <a:pt x="140377" y="16034"/>
                        <a:pt x="129741" y="13739"/>
                        <a:pt x="128436" y="22866"/>
                      </a:cubicBezTo>
                      <a:cubicBezTo>
                        <a:pt x="134001" y="23753"/>
                        <a:pt x="138919" y="21218"/>
                        <a:pt x="143838" y="21687"/>
                      </a:cubicBezTo>
                      <a:cubicBezTo>
                        <a:pt x="150328" y="22308"/>
                        <a:pt x="158365" y="27582"/>
                        <a:pt x="164323" y="29027"/>
                      </a:cubicBezTo>
                      <a:cubicBezTo>
                        <a:pt x="176619" y="31968"/>
                        <a:pt x="177532" y="23348"/>
                        <a:pt x="188700" y="21332"/>
                      </a:cubicBezTo>
                      <a:cubicBezTo>
                        <a:pt x="193568" y="31524"/>
                        <a:pt x="203303" y="26555"/>
                        <a:pt x="210402" y="31524"/>
                      </a:cubicBezTo>
                      <a:cubicBezTo>
                        <a:pt x="218300" y="37064"/>
                        <a:pt x="211606" y="38674"/>
                        <a:pt x="213977" y="47737"/>
                      </a:cubicBezTo>
                      <a:lnTo>
                        <a:pt x="213977" y="47737"/>
                      </a:lnTo>
                      <a:close/>
                    </a:path>
                  </a:pathLst>
                </a:custGeom>
                <a:solidFill>
                  <a:srgbClr val="D6D6D2"/>
                </a:solidFill>
                <a:ln w="12413" cap="rnd">
                  <a:solidFill>
                    <a:srgbClr val="FFFFFF"/>
                  </a:solidFill>
                  <a:prstDash val="solid"/>
                  <a:round/>
                </a:ln>
              </p:spPr>
              <p:txBody>
                <a:bodyPr rtlCol="0" anchor="ctr"/>
                <a:lstStyle/>
                <a:p>
                  <a:endParaRPr lang="en-US"/>
                </a:p>
              </p:txBody>
            </p:sp>
            <p:sp>
              <p:nvSpPr>
                <p:cNvPr id="100" name="Freeform: Shape 99">
                  <a:extLst>
                    <a:ext uri="{FF2B5EF4-FFF2-40B4-BE49-F238E27FC236}">
                      <a16:creationId xmlns:a16="http://schemas.microsoft.com/office/drawing/2014/main" id="{4F3BA640-B380-44CE-B391-EDB810549349}"/>
                    </a:ext>
                  </a:extLst>
                </p:cNvPr>
                <p:cNvSpPr/>
                <p:nvPr/>
              </p:nvSpPr>
              <p:spPr>
                <a:xfrm>
                  <a:off x="4350709" y="4527762"/>
                  <a:ext cx="100195" cy="74706"/>
                </a:xfrm>
                <a:custGeom>
                  <a:avLst/>
                  <a:gdLst>
                    <a:gd name="connsiteX0" fmla="*/ 83970 w 100195"/>
                    <a:gd name="connsiteY0" fmla="*/ 10510 h 74706"/>
                    <a:gd name="connsiteX1" fmla="*/ 94377 w 100195"/>
                    <a:gd name="connsiteY1" fmla="*/ 33569 h 74706"/>
                    <a:gd name="connsiteX2" fmla="*/ 100196 w 100195"/>
                    <a:gd name="connsiteY2" fmla="*/ 53737 h 74706"/>
                    <a:gd name="connsiteX3" fmla="*/ 85554 w 100195"/>
                    <a:gd name="connsiteY3" fmla="*/ 50466 h 74706"/>
                    <a:gd name="connsiteX4" fmla="*/ 76262 w 100195"/>
                    <a:gd name="connsiteY4" fmla="*/ 17013 h 74706"/>
                    <a:gd name="connsiteX5" fmla="*/ 83970 w 100195"/>
                    <a:gd name="connsiteY5" fmla="*/ 10510 h 74706"/>
                    <a:gd name="connsiteX6" fmla="*/ 83970 w 100195"/>
                    <a:gd name="connsiteY6" fmla="*/ 10510 h 74706"/>
                    <a:gd name="connsiteX7" fmla="*/ 70215 w 100195"/>
                    <a:gd name="connsiteY7" fmla="*/ 17127 h 74706"/>
                    <a:gd name="connsiteX8" fmla="*/ 58413 w 100195"/>
                    <a:gd name="connsiteY8" fmla="*/ 21957 h 74706"/>
                    <a:gd name="connsiteX9" fmla="*/ 57437 w 100195"/>
                    <a:gd name="connsiteY9" fmla="*/ 31363 h 74706"/>
                    <a:gd name="connsiteX10" fmla="*/ 57982 w 100195"/>
                    <a:gd name="connsiteY10" fmla="*/ 57996 h 74706"/>
                    <a:gd name="connsiteX11" fmla="*/ 60277 w 100195"/>
                    <a:gd name="connsiteY11" fmla="*/ 57058 h 74706"/>
                    <a:gd name="connsiteX12" fmla="*/ 42682 w 100195"/>
                    <a:gd name="connsiteY12" fmla="*/ 73931 h 74706"/>
                    <a:gd name="connsiteX13" fmla="*/ 34594 w 100195"/>
                    <a:gd name="connsiteY13" fmla="*/ 65729 h 74706"/>
                    <a:gd name="connsiteX14" fmla="*/ 32084 w 100195"/>
                    <a:gd name="connsiteY14" fmla="*/ 59276 h 74706"/>
                    <a:gd name="connsiteX15" fmla="*/ 25125 w 100195"/>
                    <a:gd name="connsiteY15" fmla="*/ 58465 h 74706"/>
                    <a:gd name="connsiteX16" fmla="*/ 21778 w 100195"/>
                    <a:gd name="connsiteY16" fmla="*/ 52520 h 74706"/>
                    <a:gd name="connsiteX17" fmla="*/ 18723 w 100195"/>
                    <a:gd name="connsiteY17" fmla="*/ 43558 h 74706"/>
                    <a:gd name="connsiteX18" fmla="*/ 0 w 100195"/>
                    <a:gd name="connsiteY18" fmla="*/ 33201 h 74706"/>
                    <a:gd name="connsiteX19" fmla="*/ 41896 w 100195"/>
                    <a:gd name="connsiteY19" fmla="*/ 22717 h 74706"/>
                    <a:gd name="connsiteX20" fmla="*/ 81561 w 100195"/>
                    <a:gd name="connsiteY20" fmla="*/ 153 h 74706"/>
                    <a:gd name="connsiteX21" fmla="*/ 70215 w 100195"/>
                    <a:gd name="connsiteY21" fmla="*/ 17127 h 74706"/>
                    <a:gd name="connsiteX22" fmla="*/ 70215 w 100195"/>
                    <a:gd name="connsiteY22" fmla="*/ 17127 h 7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0195" h="74706">
                      <a:moveTo>
                        <a:pt x="83970" y="10510"/>
                      </a:moveTo>
                      <a:cubicBezTo>
                        <a:pt x="89687" y="15086"/>
                        <a:pt x="93084" y="25303"/>
                        <a:pt x="94377" y="33569"/>
                      </a:cubicBezTo>
                      <a:cubicBezTo>
                        <a:pt x="94783" y="36015"/>
                        <a:pt x="99815" y="54269"/>
                        <a:pt x="100196" y="53737"/>
                      </a:cubicBezTo>
                      <a:cubicBezTo>
                        <a:pt x="99422" y="54776"/>
                        <a:pt x="86910" y="51417"/>
                        <a:pt x="85554" y="50466"/>
                      </a:cubicBezTo>
                      <a:cubicBezTo>
                        <a:pt x="77669" y="44927"/>
                        <a:pt x="74893" y="27141"/>
                        <a:pt x="76262" y="17013"/>
                      </a:cubicBezTo>
                      <a:cubicBezTo>
                        <a:pt x="80610" y="17837"/>
                        <a:pt x="83881" y="14021"/>
                        <a:pt x="83970" y="10510"/>
                      </a:cubicBezTo>
                      <a:lnTo>
                        <a:pt x="83970" y="10510"/>
                      </a:lnTo>
                      <a:close/>
                      <a:moveTo>
                        <a:pt x="70215" y="17127"/>
                      </a:moveTo>
                      <a:cubicBezTo>
                        <a:pt x="66019" y="16861"/>
                        <a:pt x="61354" y="18496"/>
                        <a:pt x="58413" y="21957"/>
                      </a:cubicBezTo>
                      <a:cubicBezTo>
                        <a:pt x="54015" y="27040"/>
                        <a:pt x="57437" y="24403"/>
                        <a:pt x="57437" y="31363"/>
                      </a:cubicBezTo>
                      <a:cubicBezTo>
                        <a:pt x="57412" y="45712"/>
                        <a:pt x="64917" y="45712"/>
                        <a:pt x="57982" y="57996"/>
                      </a:cubicBezTo>
                      <a:cubicBezTo>
                        <a:pt x="58743" y="57692"/>
                        <a:pt x="59504" y="57362"/>
                        <a:pt x="60277" y="57058"/>
                      </a:cubicBezTo>
                      <a:cubicBezTo>
                        <a:pt x="57501" y="66046"/>
                        <a:pt x="52455" y="77860"/>
                        <a:pt x="42682" y="73931"/>
                      </a:cubicBezTo>
                      <a:cubicBezTo>
                        <a:pt x="40375" y="73005"/>
                        <a:pt x="36382" y="67592"/>
                        <a:pt x="34594" y="65729"/>
                      </a:cubicBezTo>
                      <a:cubicBezTo>
                        <a:pt x="33212" y="64284"/>
                        <a:pt x="33491" y="60177"/>
                        <a:pt x="32084" y="59276"/>
                      </a:cubicBezTo>
                      <a:cubicBezTo>
                        <a:pt x="30297" y="58186"/>
                        <a:pt x="26380" y="59632"/>
                        <a:pt x="25125" y="58465"/>
                      </a:cubicBezTo>
                      <a:cubicBezTo>
                        <a:pt x="20308" y="53826"/>
                        <a:pt x="24364" y="57857"/>
                        <a:pt x="21778" y="52520"/>
                      </a:cubicBezTo>
                      <a:cubicBezTo>
                        <a:pt x="20359" y="49554"/>
                        <a:pt x="20663" y="46410"/>
                        <a:pt x="18723" y="43558"/>
                      </a:cubicBezTo>
                      <a:cubicBezTo>
                        <a:pt x="14971" y="37954"/>
                        <a:pt x="6668" y="36180"/>
                        <a:pt x="0" y="33201"/>
                      </a:cubicBezTo>
                      <a:cubicBezTo>
                        <a:pt x="17037" y="33784"/>
                        <a:pt x="28636" y="32491"/>
                        <a:pt x="41896" y="22717"/>
                      </a:cubicBezTo>
                      <a:cubicBezTo>
                        <a:pt x="52126" y="15200"/>
                        <a:pt x="67693" y="-1786"/>
                        <a:pt x="81561" y="153"/>
                      </a:cubicBezTo>
                      <a:cubicBezTo>
                        <a:pt x="77644" y="3132"/>
                        <a:pt x="71724" y="11702"/>
                        <a:pt x="70215" y="17127"/>
                      </a:cubicBezTo>
                      <a:lnTo>
                        <a:pt x="70215" y="17127"/>
                      </a:lnTo>
                      <a:close/>
                    </a:path>
                  </a:pathLst>
                </a:custGeom>
                <a:solidFill>
                  <a:srgbClr val="D6D6D2"/>
                </a:solidFill>
                <a:ln w="12674"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EDA0EE70-0DAB-40AD-B05D-73A017B365A0}"/>
                    </a:ext>
                  </a:extLst>
                </p:cNvPr>
                <p:cNvSpPr/>
                <p:nvPr/>
              </p:nvSpPr>
              <p:spPr>
                <a:xfrm>
                  <a:off x="2430428" y="2895191"/>
                  <a:ext cx="341141" cy="457584"/>
                </a:xfrm>
                <a:custGeom>
                  <a:avLst/>
                  <a:gdLst>
                    <a:gd name="connsiteX0" fmla="*/ 207366 w 341141"/>
                    <a:gd name="connsiteY0" fmla="*/ 348795 h 457584"/>
                    <a:gd name="connsiteX1" fmla="*/ 196540 w 341141"/>
                    <a:gd name="connsiteY1" fmla="*/ 352636 h 457584"/>
                    <a:gd name="connsiteX2" fmla="*/ 191228 w 341141"/>
                    <a:gd name="connsiteY2" fmla="*/ 358708 h 457584"/>
                    <a:gd name="connsiteX3" fmla="*/ 196870 w 341141"/>
                    <a:gd name="connsiteY3" fmla="*/ 330819 h 457584"/>
                    <a:gd name="connsiteX4" fmla="*/ 187704 w 341141"/>
                    <a:gd name="connsiteY4" fmla="*/ 306747 h 457584"/>
                    <a:gd name="connsiteX5" fmla="*/ 200761 w 341141"/>
                    <a:gd name="connsiteY5" fmla="*/ 313490 h 457584"/>
                    <a:gd name="connsiteX6" fmla="*/ 207366 w 341141"/>
                    <a:gd name="connsiteY6" fmla="*/ 348795 h 457584"/>
                    <a:gd name="connsiteX7" fmla="*/ 207366 w 341141"/>
                    <a:gd name="connsiteY7" fmla="*/ 348795 h 457584"/>
                    <a:gd name="connsiteX8" fmla="*/ 35802 w 341141"/>
                    <a:gd name="connsiteY8" fmla="*/ 10636 h 457584"/>
                    <a:gd name="connsiteX9" fmla="*/ 46057 w 341141"/>
                    <a:gd name="connsiteY9" fmla="*/ 27305 h 457584"/>
                    <a:gd name="connsiteX10" fmla="*/ 61003 w 341141"/>
                    <a:gd name="connsiteY10" fmla="*/ 29486 h 457584"/>
                    <a:gd name="connsiteX11" fmla="*/ 75200 w 341141"/>
                    <a:gd name="connsiteY11" fmla="*/ 29587 h 457584"/>
                    <a:gd name="connsiteX12" fmla="*/ 72830 w 341141"/>
                    <a:gd name="connsiteY12" fmla="*/ 25657 h 457584"/>
                    <a:gd name="connsiteX13" fmla="*/ 67848 w 341141"/>
                    <a:gd name="connsiteY13" fmla="*/ 14451 h 457584"/>
                    <a:gd name="connsiteX14" fmla="*/ 79878 w 341141"/>
                    <a:gd name="connsiteY14" fmla="*/ 24352 h 457584"/>
                    <a:gd name="connsiteX15" fmla="*/ 99843 w 341141"/>
                    <a:gd name="connsiteY15" fmla="*/ 48247 h 457584"/>
                    <a:gd name="connsiteX16" fmla="*/ 109617 w 341141"/>
                    <a:gd name="connsiteY16" fmla="*/ 50757 h 457584"/>
                    <a:gd name="connsiteX17" fmla="*/ 114117 w 341141"/>
                    <a:gd name="connsiteY17" fmla="*/ 42188 h 457584"/>
                    <a:gd name="connsiteX18" fmla="*/ 116881 w 341141"/>
                    <a:gd name="connsiteY18" fmla="*/ 39551 h 457584"/>
                    <a:gd name="connsiteX19" fmla="*/ 117641 w 341141"/>
                    <a:gd name="connsiteY19" fmla="*/ 36128 h 457584"/>
                    <a:gd name="connsiteX20" fmla="*/ 130774 w 341141"/>
                    <a:gd name="connsiteY20" fmla="*/ 53039 h 457584"/>
                    <a:gd name="connsiteX21" fmla="*/ 131699 w 341141"/>
                    <a:gd name="connsiteY21" fmla="*/ 94199 h 457584"/>
                    <a:gd name="connsiteX22" fmla="*/ 133918 w 341141"/>
                    <a:gd name="connsiteY22" fmla="*/ 105329 h 457584"/>
                    <a:gd name="connsiteX23" fmla="*/ 143590 w 341141"/>
                    <a:gd name="connsiteY23" fmla="*/ 106001 h 457584"/>
                    <a:gd name="connsiteX24" fmla="*/ 165508 w 341141"/>
                    <a:gd name="connsiteY24" fmla="*/ 113011 h 457584"/>
                    <a:gd name="connsiteX25" fmla="*/ 202789 w 341141"/>
                    <a:gd name="connsiteY25" fmla="*/ 114925 h 457584"/>
                    <a:gd name="connsiteX26" fmla="*/ 224187 w 341141"/>
                    <a:gd name="connsiteY26" fmla="*/ 113455 h 457584"/>
                    <a:gd name="connsiteX27" fmla="*/ 250276 w 341141"/>
                    <a:gd name="connsiteY27" fmla="*/ 116193 h 457584"/>
                    <a:gd name="connsiteX28" fmla="*/ 302617 w 341141"/>
                    <a:gd name="connsiteY28" fmla="*/ 116611 h 457584"/>
                    <a:gd name="connsiteX29" fmla="*/ 329897 w 341141"/>
                    <a:gd name="connsiteY29" fmla="*/ 137325 h 457584"/>
                    <a:gd name="connsiteX30" fmla="*/ 315534 w 341141"/>
                    <a:gd name="connsiteY30" fmla="*/ 135943 h 457584"/>
                    <a:gd name="connsiteX31" fmla="*/ 311465 w 341141"/>
                    <a:gd name="connsiteY31" fmla="*/ 143714 h 457584"/>
                    <a:gd name="connsiteX32" fmla="*/ 303073 w 341141"/>
                    <a:gd name="connsiteY32" fmla="*/ 164617 h 457584"/>
                    <a:gd name="connsiteX33" fmla="*/ 290308 w 341141"/>
                    <a:gd name="connsiteY33" fmla="*/ 176280 h 457584"/>
                    <a:gd name="connsiteX34" fmla="*/ 291918 w 341141"/>
                    <a:gd name="connsiteY34" fmla="*/ 180919 h 457584"/>
                    <a:gd name="connsiteX35" fmla="*/ 287076 w 341141"/>
                    <a:gd name="connsiteY35" fmla="*/ 184456 h 457584"/>
                    <a:gd name="connsiteX36" fmla="*/ 284959 w 341141"/>
                    <a:gd name="connsiteY36" fmla="*/ 193228 h 457584"/>
                    <a:gd name="connsiteX37" fmla="*/ 280268 w 341141"/>
                    <a:gd name="connsiteY37" fmla="*/ 191276 h 457584"/>
                    <a:gd name="connsiteX38" fmla="*/ 278963 w 341141"/>
                    <a:gd name="connsiteY38" fmla="*/ 188259 h 457584"/>
                    <a:gd name="connsiteX39" fmla="*/ 273841 w 341141"/>
                    <a:gd name="connsiteY39" fmla="*/ 190186 h 457584"/>
                    <a:gd name="connsiteX40" fmla="*/ 266578 w 341141"/>
                    <a:gd name="connsiteY40" fmla="*/ 188766 h 457584"/>
                    <a:gd name="connsiteX41" fmla="*/ 256956 w 341141"/>
                    <a:gd name="connsiteY41" fmla="*/ 198806 h 457584"/>
                    <a:gd name="connsiteX42" fmla="*/ 246447 w 341141"/>
                    <a:gd name="connsiteY42" fmla="*/ 198768 h 457584"/>
                    <a:gd name="connsiteX43" fmla="*/ 244685 w 341141"/>
                    <a:gd name="connsiteY43" fmla="*/ 206196 h 457584"/>
                    <a:gd name="connsiteX44" fmla="*/ 235825 w 341141"/>
                    <a:gd name="connsiteY44" fmla="*/ 214829 h 457584"/>
                    <a:gd name="connsiteX45" fmla="*/ 235229 w 341141"/>
                    <a:gd name="connsiteY45" fmla="*/ 223335 h 457584"/>
                    <a:gd name="connsiteX46" fmla="*/ 229841 w 341141"/>
                    <a:gd name="connsiteY46" fmla="*/ 227290 h 457584"/>
                    <a:gd name="connsiteX47" fmla="*/ 232402 w 341141"/>
                    <a:gd name="connsiteY47" fmla="*/ 232450 h 457584"/>
                    <a:gd name="connsiteX48" fmla="*/ 230995 w 341141"/>
                    <a:gd name="connsiteY48" fmla="*/ 236683 h 457584"/>
                    <a:gd name="connsiteX49" fmla="*/ 237409 w 341141"/>
                    <a:gd name="connsiteY49" fmla="*/ 249347 h 457584"/>
                    <a:gd name="connsiteX50" fmla="*/ 247474 w 341141"/>
                    <a:gd name="connsiteY50" fmla="*/ 278351 h 457584"/>
                    <a:gd name="connsiteX51" fmla="*/ 252621 w 341141"/>
                    <a:gd name="connsiteY51" fmla="*/ 265890 h 457584"/>
                    <a:gd name="connsiteX52" fmla="*/ 263409 w 341141"/>
                    <a:gd name="connsiteY52" fmla="*/ 287516 h 457584"/>
                    <a:gd name="connsiteX53" fmla="*/ 278380 w 341141"/>
                    <a:gd name="connsiteY53" fmla="*/ 274802 h 457584"/>
                    <a:gd name="connsiteX54" fmla="*/ 275071 w 341141"/>
                    <a:gd name="connsiteY54" fmla="*/ 262113 h 457584"/>
                    <a:gd name="connsiteX55" fmla="*/ 282728 w 341141"/>
                    <a:gd name="connsiteY55" fmla="*/ 250704 h 457584"/>
                    <a:gd name="connsiteX56" fmla="*/ 289763 w 341141"/>
                    <a:gd name="connsiteY56" fmla="*/ 241754 h 457584"/>
                    <a:gd name="connsiteX57" fmla="*/ 288318 w 341141"/>
                    <a:gd name="connsiteY57" fmla="*/ 227100 h 457584"/>
                    <a:gd name="connsiteX58" fmla="*/ 299030 w 341141"/>
                    <a:gd name="connsiteY58" fmla="*/ 231220 h 457584"/>
                    <a:gd name="connsiteX59" fmla="*/ 308385 w 341141"/>
                    <a:gd name="connsiteY59" fmla="*/ 232906 h 457584"/>
                    <a:gd name="connsiteX60" fmla="*/ 316320 w 341141"/>
                    <a:gd name="connsiteY60" fmla="*/ 249715 h 457584"/>
                    <a:gd name="connsiteX61" fmla="*/ 319287 w 341141"/>
                    <a:gd name="connsiteY61" fmla="*/ 264344 h 457584"/>
                    <a:gd name="connsiteX62" fmla="*/ 325853 w 341141"/>
                    <a:gd name="connsiteY62" fmla="*/ 296200 h 457584"/>
                    <a:gd name="connsiteX63" fmla="*/ 332927 w 341141"/>
                    <a:gd name="connsiteY63" fmla="*/ 325495 h 457584"/>
                    <a:gd name="connsiteX64" fmla="*/ 339316 w 341141"/>
                    <a:gd name="connsiteY64" fmla="*/ 407259 h 457584"/>
                    <a:gd name="connsiteX65" fmla="*/ 337718 w 341141"/>
                    <a:gd name="connsiteY65" fmla="*/ 418414 h 457584"/>
                    <a:gd name="connsiteX66" fmla="*/ 331368 w 341141"/>
                    <a:gd name="connsiteY66" fmla="*/ 409414 h 457584"/>
                    <a:gd name="connsiteX67" fmla="*/ 321936 w 341141"/>
                    <a:gd name="connsiteY67" fmla="*/ 407246 h 457584"/>
                    <a:gd name="connsiteX68" fmla="*/ 313925 w 341141"/>
                    <a:gd name="connsiteY68" fmla="*/ 405294 h 457584"/>
                    <a:gd name="connsiteX69" fmla="*/ 318082 w 341141"/>
                    <a:gd name="connsiteY69" fmla="*/ 457585 h 457584"/>
                    <a:gd name="connsiteX70" fmla="*/ 290283 w 341141"/>
                    <a:gd name="connsiteY70" fmla="*/ 402264 h 457584"/>
                    <a:gd name="connsiteX71" fmla="*/ 295353 w 341141"/>
                    <a:gd name="connsiteY71" fmla="*/ 399602 h 457584"/>
                    <a:gd name="connsiteX72" fmla="*/ 295899 w 341141"/>
                    <a:gd name="connsiteY72" fmla="*/ 382692 h 457584"/>
                    <a:gd name="connsiteX73" fmla="*/ 295353 w 341141"/>
                    <a:gd name="connsiteY73" fmla="*/ 383782 h 457584"/>
                    <a:gd name="connsiteX74" fmla="*/ 292869 w 341141"/>
                    <a:gd name="connsiteY74" fmla="*/ 387509 h 457584"/>
                    <a:gd name="connsiteX75" fmla="*/ 292869 w 341141"/>
                    <a:gd name="connsiteY75" fmla="*/ 383249 h 457584"/>
                    <a:gd name="connsiteX76" fmla="*/ 293300 w 341141"/>
                    <a:gd name="connsiteY76" fmla="*/ 379041 h 457584"/>
                    <a:gd name="connsiteX77" fmla="*/ 291081 w 341141"/>
                    <a:gd name="connsiteY77" fmla="*/ 378749 h 457584"/>
                    <a:gd name="connsiteX78" fmla="*/ 293300 w 341141"/>
                    <a:gd name="connsiteY78" fmla="*/ 376366 h 457584"/>
                    <a:gd name="connsiteX79" fmla="*/ 290283 w 341141"/>
                    <a:gd name="connsiteY79" fmla="*/ 369483 h 457584"/>
                    <a:gd name="connsiteX80" fmla="*/ 287824 w 341141"/>
                    <a:gd name="connsiteY80" fmla="*/ 371156 h 457584"/>
                    <a:gd name="connsiteX81" fmla="*/ 283843 w 341141"/>
                    <a:gd name="connsiteY81" fmla="*/ 348934 h 457584"/>
                    <a:gd name="connsiteX82" fmla="*/ 282652 w 341141"/>
                    <a:gd name="connsiteY82" fmla="*/ 351546 h 457584"/>
                    <a:gd name="connsiteX83" fmla="*/ 287253 w 341141"/>
                    <a:gd name="connsiteY83" fmla="*/ 327752 h 457584"/>
                    <a:gd name="connsiteX84" fmla="*/ 285732 w 341141"/>
                    <a:gd name="connsiteY84" fmla="*/ 327752 h 457584"/>
                    <a:gd name="connsiteX85" fmla="*/ 279622 w 341141"/>
                    <a:gd name="connsiteY85" fmla="*/ 339072 h 457584"/>
                    <a:gd name="connsiteX86" fmla="*/ 278304 w 341141"/>
                    <a:gd name="connsiteY86" fmla="*/ 342190 h 457584"/>
                    <a:gd name="connsiteX87" fmla="*/ 274691 w 341141"/>
                    <a:gd name="connsiteY87" fmla="*/ 328094 h 457584"/>
                    <a:gd name="connsiteX88" fmla="*/ 256386 w 341141"/>
                    <a:gd name="connsiteY88" fmla="*/ 290647 h 457584"/>
                    <a:gd name="connsiteX89" fmla="*/ 250783 w 341141"/>
                    <a:gd name="connsiteY89" fmla="*/ 302322 h 457584"/>
                    <a:gd name="connsiteX90" fmla="*/ 245738 w 341141"/>
                    <a:gd name="connsiteY90" fmla="*/ 300687 h 457584"/>
                    <a:gd name="connsiteX91" fmla="*/ 247500 w 341141"/>
                    <a:gd name="connsiteY91" fmla="*/ 302424 h 457584"/>
                    <a:gd name="connsiteX92" fmla="*/ 241630 w 341141"/>
                    <a:gd name="connsiteY92" fmla="*/ 303501 h 457584"/>
                    <a:gd name="connsiteX93" fmla="*/ 233568 w 341141"/>
                    <a:gd name="connsiteY93" fmla="*/ 304427 h 457584"/>
                    <a:gd name="connsiteX94" fmla="*/ 232630 w 341141"/>
                    <a:gd name="connsiteY94" fmla="*/ 307647 h 457584"/>
                    <a:gd name="connsiteX95" fmla="*/ 233644 w 341141"/>
                    <a:gd name="connsiteY95" fmla="*/ 318992 h 457584"/>
                    <a:gd name="connsiteX96" fmla="*/ 220423 w 341141"/>
                    <a:gd name="connsiteY96" fmla="*/ 308128 h 457584"/>
                    <a:gd name="connsiteX97" fmla="*/ 213096 w 341141"/>
                    <a:gd name="connsiteY97" fmla="*/ 312476 h 457584"/>
                    <a:gd name="connsiteX98" fmla="*/ 203322 w 341141"/>
                    <a:gd name="connsiteY98" fmla="*/ 300180 h 457584"/>
                    <a:gd name="connsiteX99" fmla="*/ 192712 w 341141"/>
                    <a:gd name="connsiteY99" fmla="*/ 278224 h 457584"/>
                    <a:gd name="connsiteX100" fmla="*/ 195057 w 341141"/>
                    <a:gd name="connsiteY100" fmla="*/ 258246 h 457584"/>
                    <a:gd name="connsiteX101" fmla="*/ 194499 w 341141"/>
                    <a:gd name="connsiteY101" fmla="*/ 257676 h 457584"/>
                    <a:gd name="connsiteX102" fmla="*/ 191634 w 341141"/>
                    <a:gd name="connsiteY102" fmla="*/ 246305 h 457584"/>
                    <a:gd name="connsiteX103" fmla="*/ 196325 w 341141"/>
                    <a:gd name="connsiteY103" fmla="*/ 240195 h 457584"/>
                    <a:gd name="connsiteX104" fmla="*/ 197617 w 341141"/>
                    <a:gd name="connsiteY104" fmla="*/ 243846 h 457584"/>
                    <a:gd name="connsiteX105" fmla="*/ 192547 w 341141"/>
                    <a:gd name="connsiteY105" fmla="*/ 236430 h 457584"/>
                    <a:gd name="connsiteX106" fmla="*/ 181417 w 341141"/>
                    <a:gd name="connsiteY106" fmla="*/ 238014 h 457584"/>
                    <a:gd name="connsiteX107" fmla="*/ 187007 w 341141"/>
                    <a:gd name="connsiteY107" fmla="*/ 253378 h 457584"/>
                    <a:gd name="connsiteX108" fmla="*/ 164709 w 341141"/>
                    <a:gd name="connsiteY108" fmla="*/ 247015 h 457584"/>
                    <a:gd name="connsiteX109" fmla="*/ 191609 w 341141"/>
                    <a:gd name="connsiteY109" fmla="*/ 268108 h 457584"/>
                    <a:gd name="connsiteX110" fmla="*/ 190075 w 341141"/>
                    <a:gd name="connsiteY110" fmla="*/ 266207 h 457584"/>
                    <a:gd name="connsiteX111" fmla="*/ 187134 w 341141"/>
                    <a:gd name="connsiteY111" fmla="*/ 277147 h 457584"/>
                    <a:gd name="connsiteX112" fmla="*/ 188021 w 341141"/>
                    <a:gd name="connsiteY112" fmla="*/ 274662 h 457584"/>
                    <a:gd name="connsiteX113" fmla="*/ 186107 w 341141"/>
                    <a:gd name="connsiteY113" fmla="*/ 291269 h 457584"/>
                    <a:gd name="connsiteX114" fmla="*/ 176359 w 341141"/>
                    <a:gd name="connsiteY114" fmla="*/ 299153 h 457584"/>
                    <a:gd name="connsiteX115" fmla="*/ 173748 w 341141"/>
                    <a:gd name="connsiteY115" fmla="*/ 301739 h 457584"/>
                    <a:gd name="connsiteX116" fmla="*/ 182925 w 341141"/>
                    <a:gd name="connsiteY116" fmla="*/ 308141 h 457584"/>
                    <a:gd name="connsiteX117" fmla="*/ 178882 w 341141"/>
                    <a:gd name="connsiteY117" fmla="*/ 322440 h 457584"/>
                    <a:gd name="connsiteX118" fmla="*/ 191064 w 341141"/>
                    <a:gd name="connsiteY118" fmla="*/ 324595 h 457584"/>
                    <a:gd name="connsiteX119" fmla="*/ 189530 w 341141"/>
                    <a:gd name="connsiteY119" fmla="*/ 324012 h 457584"/>
                    <a:gd name="connsiteX120" fmla="*/ 182735 w 341141"/>
                    <a:gd name="connsiteY120" fmla="*/ 348668 h 457584"/>
                    <a:gd name="connsiteX121" fmla="*/ 175357 w 341141"/>
                    <a:gd name="connsiteY121" fmla="*/ 338311 h 457584"/>
                    <a:gd name="connsiteX122" fmla="*/ 170084 w 341141"/>
                    <a:gd name="connsiteY122" fmla="*/ 359684 h 457584"/>
                    <a:gd name="connsiteX123" fmla="*/ 158358 w 341141"/>
                    <a:gd name="connsiteY123" fmla="*/ 375669 h 457584"/>
                    <a:gd name="connsiteX124" fmla="*/ 155544 w 341141"/>
                    <a:gd name="connsiteY124" fmla="*/ 365819 h 457584"/>
                    <a:gd name="connsiteX125" fmla="*/ 147976 w 341141"/>
                    <a:gd name="connsiteY125" fmla="*/ 371181 h 457584"/>
                    <a:gd name="connsiteX126" fmla="*/ 152730 w 341141"/>
                    <a:gd name="connsiteY126" fmla="*/ 359975 h 457584"/>
                    <a:gd name="connsiteX127" fmla="*/ 163644 w 341141"/>
                    <a:gd name="connsiteY127" fmla="*/ 345232 h 457584"/>
                    <a:gd name="connsiteX128" fmla="*/ 149535 w 341141"/>
                    <a:gd name="connsiteY128" fmla="*/ 361522 h 457584"/>
                    <a:gd name="connsiteX129" fmla="*/ 152020 w 341141"/>
                    <a:gd name="connsiteY129" fmla="*/ 347907 h 457584"/>
                    <a:gd name="connsiteX130" fmla="*/ 139851 w 341141"/>
                    <a:gd name="connsiteY130" fmla="*/ 354397 h 457584"/>
                    <a:gd name="connsiteX131" fmla="*/ 146949 w 341141"/>
                    <a:gd name="connsiteY131" fmla="*/ 322719 h 457584"/>
                    <a:gd name="connsiteX132" fmla="*/ 140345 w 341141"/>
                    <a:gd name="connsiteY132" fmla="*/ 330325 h 457584"/>
                    <a:gd name="connsiteX133" fmla="*/ 136808 w 341141"/>
                    <a:gd name="connsiteY133" fmla="*/ 328259 h 457584"/>
                    <a:gd name="connsiteX134" fmla="*/ 135350 w 341141"/>
                    <a:gd name="connsiteY134" fmla="*/ 342241 h 457584"/>
                    <a:gd name="connsiteX135" fmla="*/ 131218 w 341141"/>
                    <a:gd name="connsiteY135" fmla="*/ 354715 h 457584"/>
                    <a:gd name="connsiteX136" fmla="*/ 133778 w 341141"/>
                    <a:gd name="connsiteY136" fmla="*/ 371270 h 457584"/>
                    <a:gd name="connsiteX137" fmla="*/ 120113 w 341141"/>
                    <a:gd name="connsiteY137" fmla="*/ 366364 h 457584"/>
                    <a:gd name="connsiteX138" fmla="*/ 122877 w 341141"/>
                    <a:gd name="connsiteY138" fmla="*/ 378952 h 457584"/>
                    <a:gd name="connsiteX139" fmla="*/ 115702 w 341141"/>
                    <a:gd name="connsiteY139" fmla="*/ 383642 h 457584"/>
                    <a:gd name="connsiteX140" fmla="*/ 118592 w 341141"/>
                    <a:gd name="connsiteY140" fmla="*/ 334648 h 457584"/>
                    <a:gd name="connsiteX141" fmla="*/ 111709 w 341141"/>
                    <a:gd name="connsiteY141" fmla="*/ 361775 h 457584"/>
                    <a:gd name="connsiteX142" fmla="*/ 107462 w 341141"/>
                    <a:gd name="connsiteY142" fmla="*/ 337804 h 457584"/>
                    <a:gd name="connsiteX143" fmla="*/ 107462 w 341141"/>
                    <a:gd name="connsiteY143" fmla="*/ 352661 h 457584"/>
                    <a:gd name="connsiteX144" fmla="*/ 108818 w 341141"/>
                    <a:gd name="connsiteY144" fmla="*/ 350024 h 457584"/>
                    <a:gd name="connsiteX145" fmla="*/ 106828 w 341141"/>
                    <a:gd name="connsiteY145" fmla="*/ 373805 h 457584"/>
                    <a:gd name="connsiteX146" fmla="*/ 98335 w 341141"/>
                    <a:gd name="connsiteY146" fmla="*/ 362726 h 457584"/>
                    <a:gd name="connsiteX147" fmla="*/ 93290 w 341141"/>
                    <a:gd name="connsiteY147" fmla="*/ 374312 h 457584"/>
                    <a:gd name="connsiteX148" fmla="*/ 94278 w 341141"/>
                    <a:gd name="connsiteY148" fmla="*/ 385404 h 457584"/>
                    <a:gd name="connsiteX149" fmla="*/ 85836 w 341141"/>
                    <a:gd name="connsiteY149" fmla="*/ 374820 h 457584"/>
                    <a:gd name="connsiteX150" fmla="*/ 77406 w 341141"/>
                    <a:gd name="connsiteY150" fmla="*/ 349745 h 457584"/>
                    <a:gd name="connsiteX151" fmla="*/ 66998 w 341141"/>
                    <a:gd name="connsiteY151" fmla="*/ 318269 h 457584"/>
                    <a:gd name="connsiteX152" fmla="*/ 66821 w 341141"/>
                    <a:gd name="connsiteY152" fmla="*/ 308002 h 457584"/>
                    <a:gd name="connsiteX153" fmla="*/ 67797 w 341141"/>
                    <a:gd name="connsiteY153" fmla="*/ 294666 h 457584"/>
                    <a:gd name="connsiteX154" fmla="*/ 60762 w 341141"/>
                    <a:gd name="connsiteY154" fmla="*/ 282534 h 457584"/>
                    <a:gd name="connsiteX155" fmla="*/ 69318 w 341141"/>
                    <a:gd name="connsiteY155" fmla="*/ 267563 h 457584"/>
                    <a:gd name="connsiteX156" fmla="*/ 50367 w 341141"/>
                    <a:gd name="connsiteY156" fmla="*/ 264153 h 457584"/>
                    <a:gd name="connsiteX157" fmla="*/ 54322 w 341141"/>
                    <a:gd name="connsiteY157" fmla="*/ 244594 h 457584"/>
                    <a:gd name="connsiteX158" fmla="*/ 51559 w 341141"/>
                    <a:gd name="connsiteY158" fmla="*/ 246977 h 457584"/>
                    <a:gd name="connsiteX159" fmla="*/ 38400 w 341141"/>
                    <a:gd name="connsiteY159" fmla="*/ 233717 h 457584"/>
                    <a:gd name="connsiteX160" fmla="*/ 40682 w 341141"/>
                    <a:gd name="connsiteY160" fmla="*/ 220622 h 457584"/>
                    <a:gd name="connsiteX161" fmla="*/ 49048 w 341141"/>
                    <a:gd name="connsiteY161" fmla="*/ 213701 h 457584"/>
                    <a:gd name="connsiteX162" fmla="*/ 48656 w 341141"/>
                    <a:gd name="connsiteY162" fmla="*/ 197234 h 457584"/>
                    <a:gd name="connsiteX163" fmla="*/ 51153 w 341141"/>
                    <a:gd name="connsiteY163" fmla="*/ 181084 h 457584"/>
                    <a:gd name="connsiteX164" fmla="*/ 43572 w 341141"/>
                    <a:gd name="connsiteY164" fmla="*/ 182808 h 457584"/>
                    <a:gd name="connsiteX165" fmla="*/ 25065 w 341141"/>
                    <a:gd name="connsiteY165" fmla="*/ 175329 h 457584"/>
                    <a:gd name="connsiteX166" fmla="*/ 5720 w 341141"/>
                    <a:gd name="connsiteY166" fmla="*/ 164922 h 457584"/>
                    <a:gd name="connsiteX167" fmla="*/ 3 w 341141"/>
                    <a:gd name="connsiteY167" fmla="*/ 155262 h 457584"/>
                    <a:gd name="connsiteX168" fmla="*/ 8091 w 341141"/>
                    <a:gd name="connsiteY168" fmla="*/ 136868 h 457584"/>
                    <a:gd name="connsiteX169" fmla="*/ 15101 w 341141"/>
                    <a:gd name="connsiteY169" fmla="*/ 133268 h 457584"/>
                    <a:gd name="connsiteX170" fmla="*/ 23518 w 341141"/>
                    <a:gd name="connsiteY170" fmla="*/ 135094 h 457584"/>
                    <a:gd name="connsiteX171" fmla="*/ 30452 w 341141"/>
                    <a:gd name="connsiteY171" fmla="*/ 118437 h 457584"/>
                    <a:gd name="connsiteX172" fmla="*/ 39389 w 341141"/>
                    <a:gd name="connsiteY172" fmla="*/ 114203 h 457584"/>
                    <a:gd name="connsiteX173" fmla="*/ 66694 w 341141"/>
                    <a:gd name="connsiteY173" fmla="*/ 114444 h 457584"/>
                    <a:gd name="connsiteX174" fmla="*/ 71004 w 341141"/>
                    <a:gd name="connsiteY174" fmla="*/ 106052 h 457584"/>
                    <a:gd name="connsiteX175" fmla="*/ 63043 w 341141"/>
                    <a:gd name="connsiteY175" fmla="*/ 102223 h 457584"/>
                    <a:gd name="connsiteX176" fmla="*/ 53232 w 341141"/>
                    <a:gd name="connsiteY176" fmla="*/ 87405 h 457584"/>
                    <a:gd name="connsiteX177" fmla="*/ 30756 w 341141"/>
                    <a:gd name="connsiteY177" fmla="*/ 82182 h 457584"/>
                    <a:gd name="connsiteX178" fmla="*/ 15177 w 341141"/>
                    <a:gd name="connsiteY178" fmla="*/ 64536 h 457584"/>
                    <a:gd name="connsiteX179" fmla="*/ 4922 w 341141"/>
                    <a:gd name="connsiteY179" fmla="*/ 61380 h 457584"/>
                    <a:gd name="connsiteX180" fmla="*/ 12933 w 341141"/>
                    <a:gd name="connsiteY180" fmla="*/ 36559 h 457584"/>
                    <a:gd name="connsiteX181" fmla="*/ 21198 w 341141"/>
                    <a:gd name="connsiteY181" fmla="*/ 32896 h 457584"/>
                    <a:gd name="connsiteX182" fmla="*/ 23810 w 341141"/>
                    <a:gd name="connsiteY182" fmla="*/ 26177 h 457584"/>
                    <a:gd name="connsiteX183" fmla="*/ 35168 w 341141"/>
                    <a:gd name="connsiteY183" fmla="*/ 21373 h 457584"/>
                    <a:gd name="connsiteX184" fmla="*/ 23188 w 341141"/>
                    <a:gd name="connsiteY184" fmla="*/ 13830 h 457584"/>
                    <a:gd name="connsiteX185" fmla="*/ 26865 w 341141"/>
                    <a:gd name="connsiteY185" fmla="*/ 0 h 457584"/>
                    <a:gd name="connsiteX186" fmla="*/ 35802 w 341141"/>
                    <a:gd name="connsiteY186" fmla="*/ 10636 h 457584"/>
                    <a:gd name="connsiteX187" fmla="*/ 35802 w 341141"/>
                    <a:gd name="connsiteY187" fmla="*/ 10636 h 457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341141" h="457584">
                      <a:moveTo>
                        <a:pt x="207366" y="348795"/>
                      </a:moveTo>
                      <a:cubicBezTo>
                        <a:pt x="204336" y="355513"/>
                        <a:pt x="186969" y="366390"/>
                        <a:pt x="196540" y="352636"/>
                      </a:cubicBezTo>
                      <a:cubicBezTo>
                        <a:pt x="195107" y="355133"/>
                        <a:pt x="192737" y="356971"/>
                        <a:pt x="191228" y="358708"/>
                      </a:cubicBezTo>
                      <a:cubicBezTo>
                        <a:pt x="192014" y="349365"/>
                        <a:pt x="197009" y="340707"/>
                        <a:pt x="196870" y="330819"/>
                      </a:cubicBezTo>
                      <a:cubicBezTo>
                        <a:pt x="196705" y="320285"/>
                        <a:pt x="185702" y="315405"/>
                        <a:pt x="187704" y="306747"/>
                      </a:cubicBezTo>
                      <a:cubicBezTo>
                        <a:pt x="191140" y="291814"/>
                        <a:pt x="197402" y="307089"/>
                        <a:pt x="200761" y="313490"/>
                      </a:cubicBezTo>
                      <a:cubicBezTo>
                        <a:pt x="207239" y="325660"/>
                        <a:pt x="210598" y="333633"/>
                        <a:pt x="207366" y="348795"/>
                      </a:cubicBezTo>
                      <a:lnTo>
                        <a:pt x="207366" y="348795"/>
                      </a:lnTo>
                      <a:close/>
                      <a:moveTo>
                        <a:pt x="35802" y="10636"/>
                      </a:moveTo>
                      <a:cubicBezTo>
                        <a:pt x="42216" y="12575"/>
                        <a:pt x="56832" y="22907"/>
                        <a:pt x="46057" y="27305"/>
                      </a:cubicBezTo>
                      <a:cubicBezTo>
                        <a:pt x="51990" y="25581"/>
                        <a:pt x="58087" y="28712"/>
                        <a:pt x="61003" y="29486"/>
                      </a:cubicBezTo>
                      <a:cubicBezTo>
                        <a:pt x="61991" y="29739"/>
                        <a:pt x="72221" y="31603"/>
                        <a:pt x="75200" y="29587"/>
                      </a:cubicBezTo>
                      <a:cubicBezTo>
                        <a:pt x="73692" y="28231"/>
                        <a:pt x="73717" y="26773"/>
                        <a:pt x="72830" y="25657"/>
                      </a:cubicBezTo>
                      <a:cubicBezTo>
                        <a:pt x="71676" y="25188"/>
                        <a:pt x="57656" y="15833"/>
                        <a:pt x="67848" y="14451"/>
                      </a:cubicBezTo>
                      <a:cubicBezTo>
                        <a:pt x="71220" y="13982"/>
                        <a:pt x="78877" y="22919"/>
                        <a:pt x="79878" y="24352"/>
                      </a:cubicBezTo>
                      <a:cubicBezTo>
                        <a:pt x="68114" y="28560"/>
                        <a:pt x="94621" y="46586"/>
                        <a:pt x="99843" y="48247"/>
                      </a:cubicBezTo>
                      <a:cubicBezTo>
                        <a:pt x="101238" y="48665"/>
                        <a:pt x="108413" y="50947"/>
                        <a:pt x="109617" y="50757"/>
                      </a:cubicBezTo>
                      <a:cubicBezTo>
                        <a:pt x="110682" y="50592"/>
                        <a:pt x="121546" y="43810"/>
                        <a:pt x="114117" y="42188"/>
                      </a:cubicBezTo>
                      <a:cubicBezTo>
                        <a:pt x="114333" y="40134"/>
                        <a:pt x="115854" y="40933"/>
                        <a:pt x="116881" y="39551"/>
                      </a:cubicBezTo>
                      <a:cubicBezTo>
                        <a:pt x="113002" y="36699"/>
                        <a:pt x="113927" y="37066"/>
                        <a:pt x="117641" y="36128"/>
                      </a:cubicBezTo>
                      <a:cubicBezTo>
                        <a:pt x="118136" y="25645"/>
                        <a:pt x="134552" y="49958"/>
                        <a:pt x="130774" y="53039"/>
                      </a:cubicBezTo>
                      <a:cubicBezTo>
                        <a:pt x="134678" y="54623"/>
                        <a:pt x="131852" y="86860"/>
                        <a:pt x="131699" y="94199"/>
                      </a:cubicBezTo>
                      <a:cubicBezTo>
                        <a:pt x="131598" y="98940"/>
                        <a:pt x="130546" y="102008"/>
                        <a:pt x="133918" y="105329"/>
                      </a:cubicBezTo>
                      <a:cubicBezTo>
                        <a:pt x="132638" y="104062"/>
                        <a:pt x="144122" y="106115"/>
                        <a:pt x="143590" y="106001"/>
                      </a:cubicBezTo>
                      <a:cubicBezTo>
                        <a:pt x="151057" y="107776"/>
                        <a:pt x="157889" y="111287"/>
                        <a:pt x="165508" y="113011"/>
                      </a:cubicBezTo>
                      <a:cubicBezTo>
                        <a:pt x="177855" y="115775"/>
                        <a:pt x="191254" y="114228"/>
                        <a:pt x="202789" y="114925"/>
                      </a:cubicBezTo>
                      <a:cubicBezTo>
                        <a:pt x="209990" y="115369"/>
                        <a:pt x="216556" y="114596"/>
                        <a:pt x="224187" y="113455"/>
                      </a:cubicBezTo>
                      <a:cubicBezTo>
                        <a:pt x="235774" y="111718"/>
                        <a:pt x="239057" y="114862"/>
                        <a:pt x="250276" y="116193"/>
                      </a:cubicBezTo>
                      <a:cubicBezTo>
                        <a:pt x="268048" y="118310"/>
                        <a:pt x="284021" y="109842"/>
                        <a:pt x="302617" y="116611"/>
                      </a:cubicBezTo>
                      <a:cubicBezTo>
                        <a:pt x="308347" y="118703"/>
                        <a:pt x="334258" y="129592"/>
                        <a:pt x="329897" y="137325"/>
                      </a:cubicBezTo>
                      <a:cubicBezTo>
                        <a:pt x="324674" y="146515"/>
                        <a:pt x="319223" y="134904"/>
                        <a:pt x="315534" y="135943"/>
                      </a:cubicBezTo>
                      <a:cubicBezTo>
                        <a:pt x="306965" y="138326"/>
                        <a:pt x="313925" y="136437"/>
                        <a:pt x="311465" y="143714"/>
                      </a:cubicBezTo>
                      <a:cubicBezTo>
                        <a:pt x="309095" y="150623"/>
                        <a:pt x="305152" y="158621"/>
                        <a:pt x="303073" y="164617"/>
                      </a:cubicBezTo>
                      <a:cubicBezTo>
                        <a:pt x="300589" y="171894"/>
                        <a:pt x="302642" y="180210"/>
                        <a:pt x="290308" y="176280"/>
                      </a:cubicBezTo>
                      <a:cubicBezTo>
                        <a:pt x="290904" y="177357"/>
                        <a:pt x="291234" y="179779"/>
                        <a:pt x="291918" y="180919"/>
                      </a:cubicBezTo>
                      <a:cubicBezTo>
                        <a:pt x="285060" y="176191"/>
                        <a:pt x="289193" y="181553"/>
                        <a:pt x="287076" y="184456"/>
                      </a:cubicBezTo>
                      <a:cubicBezTo>
                        <a:pt x="285884" y="186129"/>
                        <a:pt x="286886" y="191999"/>
                        <a:pt x="284959" y="193228"/>
                      </a:cubicBezTo>
                      <a:cubicBezTo>
                        <a:pt x="282144" y="194990"/>
                        <a:pt x="282119" y="190921"/>
                        <a:pt x="280268" y="191276"/>
                      </a:cubicBezTo>
                      <a:cubicBezTo>
                        <a:pt x="279787" y="191365"/>
                        <a:pt x="280737" y="187841"/>
                        <a:pt x="278963" y="188259"/>
                      </a:cubicBezTo>
                      <a:cubicBezTo>
                        <a:pt x="278747" y="188310"/>
                        <a:pt x="270774" y="190110"/>
                        <a:pt x="273841" y="190186"/>
                      </a:cubicBezTo>
                      <a:cubicBezTo>
                        <a:pt x="273322" y="190186"/>
                        <a:pt x="269899" y="198185"/>
                        <a:pt x="266578" y="188766"/>
                      </a:cubicBezTo>
                      <a:cubicBezTo>
                        <a:pt x="266920" y="197297"/>
                        <a:pt x="263142" y="197171"/>
                        <a:pt x="256956" y="198806"/>
                      </a:cubicBezTo>
                      <a:cubicBezTo>
                        <a:pt x="253204" y="199795"/>
                        <a:pt x="249832" y="197323"/>
                        <a:pt x="246447" y="198768"/>
                      </a:cubicBezTo>
                      <a:cubicBezTo>
                        <a:pt x="245547" y="199186"/>
                        <a:pt x="245573" y="205208"/>
                        <a:pt x="244685" y="206196"/>
                      </a:cubicBezTo>
                      <a:cubicBezTo>
                        <a:pt x="242074" y="209239"/>
                        <a:pt x="238575" y="208060"/>
                        <a:pt x="235825" y="214829"/>
                      </a:cubicBezTo>
                      <a:cubicBezTo>
                        <a:pt x="235495" y="215602"/>
                        <a:pt x="235558" y="221738"/>
                        <a:pt x="235229" y="223335"/>
                      </a:cubicBezTo>
                      <a:cubicBezTo>
                        <a:pt x="234646" y="226200"/>
                        <a:pt x="230868" y="224577"/>
                        <a:pt x="229841" y="227290"/>
                      </a:cubicBezTo>
                      <a:cubicBezTo>
                        <a:pt x="229423" y="228393"/>
                        <a:pt x="232376" y="230827"/>
                        <a:pt x="232402" y="232450"/>
                      </a:cubicBezTo>
                      <a:cubicBezTo>
                        <a:pt x="232402" y="232956"/>
                        <a:pt x="229588" y="232868"/>
                        <a:pt x="230995" y="236683"/>
                      </a:cubicBezTo>
                      <a:cubicBezTo>
                        <a:pt x="232782" y="241526"/>
                        <a:pt x="235685" y="244948"/>
                        <a:pt x="237409" y="249347"/>
                      </a:cubicBezTo>
                      <a:cubicBezTo>
                        <a:pt x="240122" y="256408"/>
                        <a:pt x="239260" y="274878"/>
                        <a:pt x="247474" y="278351"/>
                      </a:cubicBezTo>
                      <a:cubicBezTo>
                        <a:pt x="247107" y="272444"/>
                        <a:pt x="245547" y="257029"/>
                        <a:pt x="252621" y="265890"/>
                      </a:cubicBezTo>
                      <a:cubicBezTo>
                        <a:pt x="256475" y="273623"/>
                        <a:pt x="257032" y="282243"/>
                        <a:pt x="263409" y="287516"/>
                      </a:cubicBezTo>
                      <a:cubicBezTo>
                        <a:pt x="268479" y="283346"/>
                        <a:pt x="277404" y="282154"/>
                        <a:pt x="278380" y="274802"/>
                      </a:cubicBezTo>
                      <a:cubicBezTo>
                        <a:pt x="278937" y="270847"/>
                        <a:pt x="274539" y="266232"/>
                        <a:pt x="275071" y="262113"/>
                      </a:cubicBezTo>
                      <a:cubicBezTo>
                        <a:pt x="275768" y="256839"/>
                        <a:pt x="280015" y="254278"/>
                        <a:pt x="282728" y="250704"/>
                      </a:cubicBezTo>
                      <a:cubicBezTo>
                        <a:pt x="285973" y="246482"/>
                        <a:pt x="288381" y="247940"/>
                        <a:pt x="289763" y="241754"/>
                      </a:cubicBezTo>
                      <a:cubicBezTo>
                        <a:pt x="290739" y="237279"/>
                        <a:pt x="287114" y="232031"/>
                        <a:pt x="288318" y="227100"/>
                      </a:cubicBezTo>
                      <a:cubicBezTo>
                        <a:pt x="293059" y="232259"/>
                        <a:pt x="294593" y="230840"/>
                        <a:pt x="299030" y="231220"/>
                      </a:cubicBezTo>
                      <a:cubicBezTo>
                        <a:pt x="302579" y="231537"/>
                        <a:pt x="306192" y="221358"/>
                        <a:pt x="308385" y="232906"/>
                      </a:cubicBezTo>
                      <a:cubicBezTo>
                        <a:pt x="314508" y="220141"/>
                        <a:pt x="314330" y="243110"/>
                        <a:pt x="316320" y="249715"/>
                      </a:cubicBezTo>
                      <a:cubicBezTo>
                        <a:pt x="318133" y="255736"/>
                        <a:pt x="318970" y="257815"/>
                        <a:pt x="319287" y="264344"/>
                      </a:cubicBezTo>
                      <a:cubicBezTo>
                        <a:pt x="319883" y="277084"/>
                        <a:pt x="320339" y="285970"/>
                        <a:pt x="325853" y="296200"/>
                      </a:cubicBezTo>
                      <a:cubicBezTo>
                        <a:pt x="330620" y="304985"/>
                        <a:pt x="331342" y="315253"/>
                        <a:pt x="332927" y="325495"/>
                      </a:cubicBezTo>
                      <a:cubicBezTo>
                        <a:pt x="337186" y="352965"/>
                        <a:pt x="336552" y="377532"/>
                        <a:pt x="339316" y="407259"/>
                      </a:cubicBezTo>
                      <a:cubicBezTo>
                        <a:pt x="339569" y="409794"/>
                        <a:pt x="344171" y="417882"/>
                        <a:pt x="337718" y="418414"/>
                      </a:cubicBezTo>
                      <a:cubicBezTo>
                        <a:pt x="334296" y="418680"/>
                        <a:pt x="333662" y="411290"/>
                        <a:pt x="331368" y="409414"/>
                      </a:cubicBezTo>
                      <a:cubicBezTo>
                        <a:pt x="331748" y="409744"/>
                        <a:pt x="322177" y="407309"/>
                        <a:pt x="321936" y="407246"/>
                      </a:cubicBezTo>
                      <a:cubicBezTo>
                        <a:pt x="316840" y="405966"/>
                        <a:pt x="322849" y="400502"/>
                        <a:pt x="313925" y="405294"/>
                      </a:cubicBezTo>
                      <a:cubicBezTo>
                        <a:pt x="295138" y="415372"/>
                        <a:pt x="320060" y="443311"/>
                        <a:pt x="318082" y="457585"/>
                      </a:cubicBezTo>
                      <a:cubicBezTo>
                        <a:pt x="304544" y="440535"/>
                        <a:pt x="298979" y="420835"/>
                        <a:pt x="290283" y="402264"/>
                      </a:cubicBezTo>
                      <a:cubicBezTo>
                        <a:pt x="291969" y="401808"/>
                        <a:pt x="292818" y="400084"/>
                        <a:pt x="295353" y="399602"/>
                      </a:cubicBezTo>
                      <a:cubicBezTo>
                        <a:pt x="291183" y="393936"/>
                        <a:pt x="297635" y="388764"/>
                        <a:pt x="295899" y="382692"/>
                      </a:cubicBezTo>
                      <a:cubicBezTo>
                        <a:pt x="295924" y="382539"/>
                        <a:pt x="295708" y="384010"/>
                        <a:pt x="295353" y="383782"/>
                      </a:cubicBezTo>
                      <a:cubicBezTo>
                        <a:pt x="295151" y="384314"/>
                        <a:pt x="293135" y="386938"/>
                        <a:pt x="292869" y="387509"/>
                      </a:cubicBezTo>
                      <a:cubicBezTo>
                        <a:pt x="292489" y="385912"/>
                        <a:pt x="292996" y="384923"/>
                        <a:pt x="292869" y="383249"/>
                      </a:cubicBezTo>
                      <a:cubicBezTo>
                        <a:pt x="289801" y="382958"/>
                        <a:pt x="289890" y="382464"/>
                        <a:pt x="293300" y="379041"/>
                      </a:cubicBezTo>
                      <a:cubicBezTo>
                        <a:pt x="293300" y="377405"/>
                        <a:pt x="290726" y="380600"/>
                        <a:pt x="291081" y="378749"/>
                      </a:cubicBezTo>
                      <a:cubicBezTo>
                        <a:pt x="291639" y="378179"/>
                        <a:pt x="293059" y="376949"/>
                        <a:pt x="293300" y="376366"/>
                      </a:cubicBezTo>
                      <a:cubicBezTo>
                        <a:pt x="284781" y="378369"/>
                        <a:pt x="285910" y="373387"/>
                        <a:pt x="290283" y="369483"/>
                      </a:cubicBezTo>
                      <a:cubicBezTo>
                        <a:pt x="289091" y="370040"/>
                        <a:pt x="288838" y="370269"/>
                        <a:pt x="287824" y="371156"/>
                      </a:cubicBezTo>
                      <a:cubicBezTo>
                        <a:pt x="285884" y="364780"/>
                        <a:pt x="282297" y="352762"/>
                        <a:pt x="283843" y="348934"/>
                      </a:cubicBezTo>
                      <a:cubicBezTo>
                        <a:pt x="282626" y="350176"/>
                        <a:pt x="283133" y="349365"/>
                        <a:pt x="282652" y="351546"/>
                      </a:cubicBezTo>
                      <a:cubicBezTo>
                        <a:pt x="273436" y="342089"/>
                        <a:pt x="287000" y="336194"/>
                        <a:pt x="287253" y="327752"/>
                      </a:cubicBezTo>
                      <a:cubicBezTo>
                        <a:pt x="286746" y="327840"/>
                        <a:pt x="286239" y="327840"/>
                        <a:pt x="285732" y="327752"/>
                      </a:cubicBezTo>
                      <a:cubicBezTo>
                        <a:pt x="285643" y="330971"/>
                        <a:pt x="280116" y="338704"/>
                        <a:pt x="279622" y="339072"/>
                      </a:cubicBezTo>
                      <a:cubicBezTo>
                        <a:pt x="281701" y="337614"/>
                        <a:pt x="281359" y="344548"/>
                        <a:pt x="278304" y="342190"/>
                      </a:cubicBezTo>
                      <a:cubicBezTo>
                        <a:pt x="275096" y="339718"/>
                        <a:pt x="276136" y="331948"/>
                        <a:pt x="274691" y="328094"/>
                      </a:cubicBezTo>
                      <a:cubicBezTo>
                        <a:pt x="268543" y="311576"/>
                        <a:pt x="250795" y="307178"/>
                        <a:pt x="256386" y="290647"/>
                      </a:cubicBezTo>
                      <a:cubicBezTo>
                        <a:pt x="254979" y="295236"/>
                        <a:pt x="251366" y="297353"/>
                        <a:pt x="250783" y="302322"/>
                      </a:cubicBezTo>
                      <a:cubicBezTo>
                        <a:pt x="249071" y="301334"/>
                        <a:pt x="247297" y="301435"/>
                        <a:pt x="245738" y="300687"/>
                      </a:cubicBezTo>
                      <a:cubicBezTo>
                        <a:pt x="245535" y="301448"/>
                        <a:pt x="247069" y="301689"/>
                        <a:pt x="247500" y="302424"/>
                      </a:cubicBezTo>
                      <a:cubicBezTo>
                        <a:pt x="246473" y="302424"/>
                        <a:pt x="242911" y="303248"/>
                        <a:pt x="241630" y="303501"/>
                      </a:cubicBezTo>
                      <a:cubicBezTo>
                        <a:pt x="249110" y="308787"/>
                        <a:pt x="236091" y="305492"/>
                        <a:pt x="233568" y="304427"/>
                      </a:cubicBezTo>
                      <a:cubicBezTo>
                        <a:pt x="232884" y="306924"/>
                        <a:pt x="233479" y="305606"/>
                        <a:pt x="232630" y="307647"/>
                      </a:cubicBezTo>
                      <a:cubicBezTo>
                        <a:pt x="241605" y="307887"/>
                        <a:pt x="240768" y="316799"/>
                        <a:pt x="233644" y="318992"/>
                      </a:cubicBezTo>
                      <a:cubicBezTo>
                        <a:pt x="224568" y="321806"/>
                        <a:pt x="225049" y="311399"/>
                        <a:pt x="220423" y="308128"/>
                      </a:cubicBezTo>
                      <a:cubicBezTo>
                        <a:pt x="228016" y="316368"/>
                        <a:pt x="218394" y="315950"/>
                        <a:pt x="213096" y="312476"/>
                      </a:cubicBezTo>
                      <a:cubicBezTo>
                        <a:pt x="209445" y="310093"/>
                        <a:pt x="205807" y="304465"/>
                        <a:pt x="203322" y="300180"/>
                      </a:cubicBezTo>
                      <a:cubicBezTo>
                        <a:pt x="200419" y="295236"/>
                        <a:pt x="193941" y="283181"/>
                        <a:pt x="192712" y="278224"/>
                      </a:cubicBezTo>
                      <a:cubicBezTo>
                        <a:pt x="191051" y="271493"/>
                        <a:pt x="195931" y="263596"/>
                        <a:pt x="195057" y="258246"/>
                      </a:cubicBezTo>
                      <a:cubicBezTo>
                        <a:pt x="194423" y="258208"/>
                        <a:pt x="194676" y="258107"/>
                        <a:pt x="194499" y="257676"/>
                      </a:cubicBezTo>
                      <a:cubicBezTo>
                        <a:pt x="189403" y="257232"/>
                        <a:pt x="189859" y="250742"/>
                        <a:pt x="191634" y="246305"/>
                      </a:cubicBezTo>
                      <a:cubicBezTo>
                        <a:pt x="192788" y="243516"/>
                        <a:pt x="204868" y="245519"/>
                        <a:pt x="196325" y="240195"/>
                      </a:cubicBezTo>
                      <a:cubicBezTo>
                        <a:pt x="197427" y="241513"/>
                        <a:pt x="197427" y="242109"/>
                        <a:pt x="197617" y="243846"/>
                      </a:cubicBezTo>
                      <a:cubicBezTo>
                        <a:pt x="190988" y="245760"/>
                        <a:pt x="187109" y="241120"/>
                        <a:pt x="192547" y="236430"/>
                      </a:cubicBezTo>
                      <a:cubicBezTo>
                        <a:pt x="189048" y="237507"/>
                        <a:pt x="186348" y="240867"/>
                        <a:pt x="181417" y="238014"/>
                      </a:cubicBezTo>
                      <a:cubicBezTo>
                        <a:pt x="189428" y="239853"/>
                        <a:pt x="190658" y="245912"/>
                        <a:pt x="187007" y="253378"/>
                      </a:cubicBezTo>
                      <a:cubicBezTo>
                        <a:pt x="179731" y="250691"/>
                        <a:pt x="171263" y="251426"/>
                        <a:pt x="164709" y="247015"/>
                      </a:cubicBezTo>
                      <a:cubicBezTo>
                        <a:pt x="169577" y="255216"/>
                        <a:pt x="192052" y="258398"/>
                        <a:pt x="191609" y="268108"/>
                      </a:cubicBezTo>
                      <a:cubicBezTo>
                        <a:pt x="191152" y="267576"/>
                        <a:pt x="190759" y="266511"/>
                        <a:pt x="190075" y="266207"/>
                      </a:cubicBezTo>
                      <a:cubicBezTo>
                        <a:pt x="191685" y="270682"/>
                        <a:pt x="190899" y="275271"/>
                        <a:pt x="187134" y="277147"/>
                      </a:cubicBezTo>
                      <a:cubicBezTo>
                        <a:pt x="187210" y="276995"/>
                        <a:pt x="188047" y="274776"/>
                        <a:pt x="188021" y="274662"/>
                      </a:cubicBezTo>
                      <a:cubicBezTo>
                        <a:pt x="178463" y="279074"/>
                        <a:pt x="178248" y="283282"/>
                        <a:pt x="186107" y="291269"/>
                      </a:cubicBezTo>
                      <a:cubicBezTo>
                        <a:pt x="181810" y="291548"/>
                        <a:pt x="178590" y="295984"/>
                        <a:pt x="176359" y="299153"/>
                      </a:cubicBezTo>
                      <a:cubicBezTo>
                        <a:pt x="175573" y="300028"/>
                        <a:pt x="177817" y="301245"/>
                        <a:pt x="173748" y="301739"/>
                      </a:cubicBezTo>
                      <a:cubicBezTo>
                        <a:pt x="178920" y="302513"/>
                        <a:pt x="181531" y="302690"/>
                        <a:pt x="182925" y="308141"/>
                      </a:cubicBezTo>
                      <a:cubicBezTo>
                        <a:pt x="184954" y="316292"/>
                        <a:pt x="178349" y="314238"/>
                        <a:pt x="178882" y="322440"/>
                      </a:cubicBezTo>
                      <a:cubicBezTo>
                        <a:pt x="180327" y="312362"/>
                        <a:pt x="189023" y="315379"/>
                        <a:pt x="191064" y="324595"/>
                      </a:cubicBezTo>
                      <a:cubicBezTo>
                        <a:pt x="190506" y="324506"/>
                        <a:pt x="189986" y="324304"/>
                        <a:pt x="189530" y="324012"/>
                      </a:cubicBezTo>
                      <a:cubicBezTo>
                        <a:pt x="193802" y="334115"/>
                        <a:pt x="190316" y="342152"/>
                        <a:pt x="182735" y="348668"/>
                      </a:cubicBezTo>
                      <a:cubicBezTo>
                        <a:pt x="169793" y="359798"/>
                        <a:pt x="180720" y="346183"/>
                        <a:pt x="175357" y="338311"/>
                      </a:cubicBezTo>
                      <a:cubicBezTo>
                        <a:pt x="177398" y="348376"/>
                        <a:pt x="173481" y="349707"/>
                        <a:pt x="170084" y="359684"/>
                      </a:cubicBezTo>
                      <a:cubicBezTo>
                        <a:pt x="167853" y="366263"/>
                        <a:pt x="167726" y="375719"/>
                        <a:pt x="158358" y="375669"/>
                      </a:cubicBezTo>
                      <a:cubicBezTo>
                        <a:pt x="150651" y="375631"/>
                        <a:pt x="153795" y="369698"/>
                        <a:pt x="155544" y="365819"/>
                      </a:cubicBezTo>
                      <a:cubicBezTo>
                        <a:pt x="154885" y="368126"/>
                        <a:pt x="150854" y="374655"/>
                        <a:pt x="147976" y="371181"/>
                      </a:cubicBezTo>
                      <a:cubicBezTo>
                        <a:pt x="145263" y="367822"/>
                        <a:pt x="151399" y="362143"/>
                        <a:pt x="152730" y="359975"/>
                      </a:cubicBezTo>
                      <a:cubicBezTo>
                        <a:pt x="155962" y="354613"/>
                        <a:pt x="164037" y="351267"/>
                        <a:pt x="163644" y="345232"/>
                      </a:cubicBezTo>
                      <a:cubicBezTo>
                        <a:pt x="162770" y="348199"/>
                        <a:pt x="152071" y="361116"/>
                        <a:pt x="149535" y="361522"/>
                      </a:cubicBezTo>
                      <a:cubicBezTo>
                        <a:pt x="143172" y="362523"/>
                        <a:pt x="150157" y="350328"/>
                        <a:pt x="152020" y="347907"/>
                      </a:cubicBezTo>
                      <a:cubicBezTo>
                        <a:pt x="144401" y="354258"/>
                        <a:pt x="145187" y="368874"/>
                        <a:pt x="139851" y="354397"/>
                      </a:cubicBezTo>
                      <a:cubicBezTo>
                        <a:pt x="134907" y="341062"/>
                        <a:pt x="139952" y="334077"/>
                        <a:pt x="146949" y="322719"/>
                      </a:cubicBezTo>
                      <a:cubicBezTo>
                        <a:pt x="143996" y="325254"/>
                        <a:pt x="142170" y="326928"/>
                        <a:pt x="140345" y="330325"/>
                      </a:cubicBezTo>
                      <a:cubicBezTo>
                        <a:pt x="139483" y="329704"/>
                        <a:pt x="137797" y="328867"/>
                        <a:pt x="136808" y="328259"/>
                      </a:cubicBezTo>
                      <a:cubicBezTo>
                        <a:pt x="138545" y="333418"/>
                        <a:pt x="135477" y="337753"/>
                        <a:pt x="135350" y="342241"/>
                      </a:cubicBezTo>
                      <a:cubicBezTo>
                        <a:pt x="135249" y="347983"/>
                        <a:pt x="140497" y="355818"/>
                        <a:pt x="131218" y="354715"/>
                      </a:cubicBezTo>
                      <a:cubicBezTo>
                        <a:pt x="137442" y="358505"/>
                        <a:pt x="137341" y="367607"/>
                        <a:pt x="133778" y="371270"/>
                      </a:cubicBezTo>
                      <a:cubicBezTo>
                        <a:pt x="129190" y="375948"/>
                        <a:pt x="119530" y="374198"/>
                        <a:pt x="120113" y="366364"/>
                      </a:cubicBezTo>
                      <a:cubicBezTo>
                        <a:pt x="115600" y="372779"/>
                        <a:pt x="123485" y="374338"/>
                        <a:pt x="122877" y="378952"/>
                      </a:cubicBezTo>
                      <a:cubicBezTo>
                        <a:pt x="122725" y="380296"/>
                        <a:pt x="115752" y="377570"/>
                        <a:pt x="115702" y="383642"/>
                      </a:cubicBezTo>
                      <a:cubicBezTo>
                        <a:pt x="106524" y="376886"/>
                        <a:pt x="116564" y="344244"/>
                        <a:pt x="118592" y="334648"/>
                      </a:cubicBezTo>
                      <a:cubicBezTo>
                        <a:pt x="112266" y="344244"/>
                        <a:pt x="117717" y="351913"/>
                        <a:pt x="111709" y="361775"/>
                      </a:cubicBezTo>
                      <a:cubicBezTo>
                        <a:pt x="112190" y="354233"/>
                        <a:pt x="109833" y="344370"/>
                        <a:pt x="107462" y="337804"/>
                      </a:cubicBezTo>
                      <a:cubicBezTo>
                        <a:pt x="106727" y="342735"/>
                        <a:pt x="106854" y="347704"/>
                        <a:pt x="107462" y="352661"/>
                      </a:cubicBezTo>
                      <a:cubicBezTo>
                        <a:pt x="107855" y="352192"/>
                        <a:pt x="108387" y="351013"/>
                        <a:pt x="108818" y="350024"/>
                      </a:cubicBezTo>
                      <a:cubicBezTo>
                        <a:pt x="111747" y="356705"/>
                        <a:pt x="110073" y="367404"/>
                        <a:pt x="106828" y="373805"/>
                      </a:cubicBezTo>
                      <a:cubicBezTo>
                        <a:pt x="97207" y="392934"/>
                        <a:pt x="103672" y="368874"/>
                        <a:pt x="98335" y="362726"/>
                      </a:cubicBezTo>
                      <a:cubicBezTo>
                        <a:pt x="99514" y="367682"/>
                        <a:pt x="96573" y="373844"/>
                        <a:pt x="93290" y="374312"/>
                      </a:cubicBezTo>
                      <a:cubicBezTo>
                        <a:pt x="93645" y="378585"/>
                        <a:pt x="93454" y="382755"/>
                        <a:pt x="94278" y="385404"/>
                      </a:cubicBezTo>
                      <a:cubicBezTo>
                        <a:pt x="85684" y="392427"/>
                        <a:pt x="88929" y="380334"/>
                        <a:pt x="85836" y="374820"/>
                      </a:cubicBezTo>
                      <a:cubicBezTo>
                        <a:pt x="76202" y="382337"/>
                        <a:pt x="78635" y="354144"/>
                        <a:pt x="77406" y="349745"/>
                      </a:cubicBezTo>
                      <a:cubicBezTo>
                        <a:pt x="75796" y="343724"/>
                        <a:pt x="73578" y="321489"/>
                        <a:pt x="66998" y="318269"/>
                      </a:cubicBezTo>
                      <a:cubicBezTo>
                        <a:pt x="70675" y="313896"/>
                        <a:pt x="66530" y="312844"/>
                        <a:pt x="66821" y="308002"/>
                      </a:cubicBezTo>
                      <a:cubicBezTo>
                        <a:pt x="67024" y="304503"/>
                        <a:pt x="68697" y="297924"/>
                        <a:pt x="67797" y="294666"/>
                      </a:cubicBezTo>
                      <a:cubicBezTo>
                        <a:pt x="66669" y="290787"/>
                        <a:pt x="60622" y="288340"/>
                        <a:pt x="60762" y="282534"/>
                      </a:cubicBezTo>
                      <a:cubicBezTo>
                        <a:pt x="60964" y="275575"/>
                        <a:pt x="65883" y="272710"/>
                        <a:pt x="69318" y="267563"/>
                      </a:cubicBezTo>
                      <a:cubicBezTo>
                        <a:pt x="66162" y="266816"/>
                        <a:pt x="52154" y="266651"/>
                        <a:pt x="50367" y="264153"/>
                      </a:cubicBezTo>
                      <a:cubicBezTo>
                        <a:pt x="46120" y="258234"/>
                        <a:pt x="56743" y="250945"/>
                        <a:pt x="54322" y="244594"/>
                      </a:cubicBezTo>
                      <a:cubicBezTo>
                        <a:pt x="53295" y="245506"/>
                        <a:pt x="52585" y="246229"/>
                        <a:pt x="51559" y="246977"/>
                      </a:cubicBezTo>
                      <a:cubicBezTo>
                        <a:pt x="47768" y="243440"/>
                        <a:pt x="39478" y="236861"/>
                        <a:pt x="38400" y="233717"/>
                      </a:cubicBezTo>
                      <a:cubicBezTo>
                        <a:pt x="37488" y="230966"/>
                        <a:pt x="39224" y="223208"/>
                        <a:pt x="40682" y="220622"/>
                      </a:cubicBezTo>
                      <a:cubicBezTo>
                        <a:pt x="43167" y="216135"/>
                        <a:pt x="46120" y="217922"/>
                        <a:pt x="49048" y="213701"/>
                      </a:cubicBezTo>
                      <a:cubicBezTo>
                        <a:pt x="54398" y="205981"/>
                        <a:pt x="47489" y="203369"/>
                        <a:pt x="48656" y="197234"/>
                      </a:cubicBezTo>
                      <a:cubicBezTo>
                        <a:pt x="49657" y="192113"/>
                        <a:pt x="57618" y="186979"/>
                        <a:pt x="51153" y="181084"/>
                      </a:cubicBezTo>
                      <a:cubicBezTo>
                        <a:pt x="46044" y="176368"/>
                        <a:pt x="47730" y="183265"/>
                        <a:pt x="43572" y="182808"/>
                      </a:cubicBezTo>
                      <a:cubicBezTo>
                        <a:pt x="35764" y="181984"/>
                        <a:pt x="31707" y="178980"/>
                        <a:pt x="25065" y="175329"/>
                      </a:cubicBezTo>
                      <a:cubicBezTo>
                        <a:pt x="19145" y="172084"/>
                        <a:pt x="9967" y="169561"/>
                        <a:pt x="5720" y="164922"/>
                      </a:cubicBezTo>
                      <a:cubicBezTo>
                        <a:pt x="6126" y="165378"/>
                        <a:pt x="-73" y="153500"/>
                        <a:pt x="3" y="155262"/>
                      </a:cubicBezTo>
                      <a:cubicBezTo>
                        <a:pt x="-162" y="150863"/>
                        <a:pt x="6151" y="139353"/>
                        <a:pt x="8091" y="136868"/>
                      </a:cubicBezTo>
                      <a:cubicBezTo>
                        <a:pt x="10613" y="133674"/>
                        <a:pt x="7761" y="133370"/>
                        <a:pt x="15101" y="133268"/>
                      </a:cubicBezTo>
                      <a:cubicBezTo>
                        <a:pt x="18536" y="133230"/>
                        <a:pt x="17040" y="139214"/>
                        <a:pt x="23518" y="135094"/>
                      </a:cubicBezTo>
                      <a:cubicBezTo>
                        <a:pt x="29159" y="131519"/>
                        <a:pt x="27651" y="123114"/>
                        <a:pt x="30452" y="118437"/>
                      </a:cubicBezTo>
                      <a:cubicBezTo>
                        <a:pt x="35409" y="110210"/>
                        <a:pt x="30376" y="115078"/>
                        <a:pt x="39389" y="114203"/>
                      </a:cubicBezTo>
                      <a:cubicBezTo>
                        <a:pt x="46653" y="113493"/>
                        <a:pt x="60255" y="110349"/>
                        <a:pt x="66694" y="114444"/>
                      </a:cubicBezTo>
                      <a:cubicBezTo>
                        <a:pt x="65972" y="112200"/>
                        <a:pt x="71232" y="106622"/>
                        <a:pt x="71004" y="106052"/>
                      </a:cubicBezTo>
                      <a:cubicBezTo>
                        <a:pt x="69610" y="102502"/>
                        <a:pt x="65845" y="105304"/>
                        <a:pt x="63043" y="102223"/>
                      </a:cubicBezTo>
                      <a:cubicBezTo>
                        <a:pt x="59203" y="98015"/>
                        <a:pt x="58936" y="89217"/>
                        <a:pt x="53232" y="87405"/>
                      </a:cubicBezTo>
                      <a:cubicBezTo>
                        <a:pt x="48516" y="94694"/>
                        <a:pt x="35852" y="87810"/>
                        <a:pt x="30756" y="82182"/>
                      </a:cubicBezTo>
                      <a:cubicBezTo>
                        <a:pt x="25800" y="76693"/>
                        <a:pt x="23911" y="68491"/>
                        <a:pt x="15177" y="64536"/>
                      </a:cubicBezTo>
                      <a:cubicBezTo>
                        <a:pt x="9650" y="62026"/>
                        <a:pt x="8484" y="69898"/>
                        <a:pt x="4922" y="61380"/>
                      </a:cubicBezTo>
                      <a:cubicBezTo>
                        <a:pt x="2310" y="55194"/>
                        <a:pt x="9295" y="40818"/>
                        <a:pt x="12933" y="36559"/>
                      </a:cubicBezTo>
                      <a:cubicBezTo>
                        <a:pt x="15152" y="33948"/>
                        <a:pt x="18802" y="34987"/>
                        <a:pt x="21198" y="32896"/>
                      </a:cubicBezTo>
                      <a:cubicBezTo>
                        <a:pt x="23518" y="30880"/>
                        <a:pt x="21731" y="27850"/>
                        <a:pt x="23810" y="26177"/>
                      </a:cubicBezTo>
                      <a:cubicBezTo>
                        <a:pt x="28082" y="22780"/>
                        <a:pt x="29793" y="20105"/>
                        <a:pt x="35168" y="21373"/>
                      </a:cubicBezTo>
                      <a:cubicBezTo>
                        <a:pt x="35358" y="15034"/>
                        <a:pt x="25610" y="6630"/>
                        <a:pt x="23188" y="13830"/>
                      </a:cubicBezTo>
                      <a:cubicBezTo>
                        <a:pt x="20869" y="9900"/>
                        <a:pt x="23860" y="4297"/>
                        <a:pt x="26865" y="0"/>
                      </a:cubicBezTo>
                      <a:cubicBezTo>
                        <a:pt x="27042" y="5438"/>
                        <a:pt x="31263" y="7352"/>
                        <a:pt x="35802" y="10636"/>
                      </a:cubicBezTo>
                      <a:lnTo>
                        <a:pt x="35802" y="10636"/>
                      </a:lnTo>
                      <a:close/>
                    </a:path>
                  </a:pathLst>
                </a:custGeom>
                <a:solidFill>
                  <a:srgbClr val="D6D6D2"/>
                </a:solidFill>
                <a:ln w="12413" cap="rnd">
                  <a:solidFill>
                    <a:srgbClr val="FFFFFF"/>
                  </a:solidFill>
                  <a:prstDash val="solid"/>
                  <a:round/>
                </a:ln>
              </p:spPr>
              <p:txBody>
                <a:bodyPr rtlCol="0" anchor="ctr"/>
                <a:lstStyle/>
                <a:p>
                  <a:endParaRPr lang="en-US"/>
                </a:p>
              </p:txBody>
            </p:sp>
            <p:sp>
              <p:nvSpPr>
                <p:cNvPr id="102" name="Freeform: Shape 101">
                  <a:extLst>
                    <a:ext uri="{FF2B5EF4-FFF2-40B4-BE49-F238E27FC236}">
                      <a16:creationId xmlns:a16="http://schemas.microsoft.com/office/drawing/2014/main" id="{F7F9573E-8906-4816-8FB1-87E2046053FE}"/>
                    </a:ext>
                  </a:extLst>
                </p:cNvPr>
                <p:cNvSpPr/>
                <p:nvPr/>
              </p:nvSpPr>
              <p:spPr>
                <a:xfrm>
                  <a:off x="8024" y="2937970"/>
                  <a:ext cx="83411" cy="227408"/>
                </a:xfrm>
                <a:custGeom>
                  <a:avLst/>
                  <a:gdLst>
                    <a:gd name="connsiteX0" fmla="*/ 0 w 83411"/>
                    <a:gd name="connsiteY0" fmla="*/ 68217 h 227408"/>
                    <a:gd name="connsiteX1" fmla="*/ 3397 w 83411"/>
                    <a:gd name="connsiteY1" fmla="*/ 69560 h 227408"/>
                    <a:gd name="connsiteX2" fmla="*/ 6237 w 83411"/>
                    <a:gd name="connsiteY2" fmla="*/ 59546 h 227408"/>
                    <a:gd name="connsiteX3" fmla="*/ 13019 w 83411"/>
                    <a:gd name="connsiteY3" fmla="*/ 53170 h 227408"/>
                    <a:gd name="connsiteX4" fmla="*/ 23147 w 83411"/>
                    <a:gd name="connsiteY4" fmla="*/ 38909 h 227408"/>
                    <a:gd name="connsiteX5" fmla="*/ 34125 w 83411"/>
                    <a:gd name="connsiteY5" fmla="*/ 34497 h 227408"/>
                    <a:gd name="connsiteX6" fmla="*/ 52101 w 83411"/>
                    <a:gd name="connsiteY6" fmla="*/ 20135 h 227408"/>
                    <a:gd name="connsiteX7" fmla="*/ 51264 w 83411"/>
                    <a:gd name="connsiteY7" fmla="*/ 24432 h 227408"/>
                    <a:gd name="connsiteX8" fmla="*/ 58109 w 83411"/>
                    <a:gd name="connsiteY8" fmla="*/ 11489 h 227408"/>
                    <a:gd name="connsiteX9" fmla="*/ 55650 w 83411"/>
                    <a:gd name="connsiteY9" fmla="*/ 13594 h 227408"/>
                    <a:gd name="connsiteX10" fmla="*/ 66248 w 83411"/>
                    <a:gd name="connsiteY10" fmla="*/ 385 h 227408"/>
                    <a:gd name="connsiteX11" fmla="*/ 67680 w 83411"/>
                    <a:gd name="connsiteY11" fmla="*/ 15964 h 227408"/>
                    <a:gd name="connsiteX12" fmla="*/ 69581 w 83411"/>
                    <a:gd name="connsiteY12" fmla="*/ 35321 h 227408"/>
                    <a:gd name="connsiteX13" fmla="*/ 80204 w 83411"/>
                    <a:gd name="connsiteY13" fmla="*/ 37349 h 227408"/>
                    <a:gd name="connsiteX14" fmla="*/ 81637 w 83411"/>
                    <a:gd name="connsiteY14" fmla="*/ 55249 h 227408"/>
                    <a:gd name="connsiteX15" fmla="*/ 83412 w 83411"/>
                    <a:gd name="connsiteY15" fmla="*/ 86420 h 227408"/>
                    <a:gd name="connsiteX16" fmla="*/ 67743 w 83411"/>
                    <a:gd name="connsiteY16" fmla="*/ 98476 h 227408"/>
                    <a:gd name="connsiteX17" fmla="*/ 60860 w 83411"/>
                    <a:gd name="connsiteY17" fmla="*/ 105841 h 227408"/>
                    <a:gd name="connsiteX18" fmla="*/ 52177 w 83411"/>
                    <a:gd name="connsiteY18" fmla="*/ 94001 h 227408"/>
                    <a:gd name="connsiteX19" fmla="*/ 57260 w 83411"/>
                    <a:gd name="connsiteY19" fmla="*/ 95560 h 227408"/>
                    <a:gd name="connsiteX20" fmla="*/ 46840 w 83411"/>
                    <a:gd name="connsiteY20" fmla="*/ 87586 h 227408"/>
                    <a:gd name="connsiteX21" fmla="*/ 39855 w 83411"/>
                    <a:gd name="connsiteY21" fmla="*/ 105714 h 227408"/>
                    <a:gd name="connsiteX22" fmla="*/ 39652 w 83411"/>
                    <a:gd name="connsiteY22" fmla="*/ 138609 h 227408"/>
                    <a:gd name="connsiteX23" fmla="*/ 42530 w 83411"/>
                    <a:gd name="connsiteY23" fmla="*/ 146253 h 227408"/>
                    <a:gd name="connsiteX24" fmla="*/ 51036 w 83411"/>
                    <a:gd name="connsiteY24" fmla="*/ 147673 h 227408"/>
                    <a:gd name="connsiteX25" fmla="*/ 37535 w 83411"/>
                    <a:gd name="connsiteY25" fmla="*/ 160590 h 227408"/>
                    <a:gd name="connsiteX26" fmla="*/ 22336 w 83411"/>
                    <a:gd name="connsiteY26" fmla="*/ 163329 h 227408"/>
                    <a:gd name="connsiteX27" fmla="*/ 20092 w 83411"/>
                    <a:gd name="connsiteY27" fmla="*/ 172139 h 227408"/>
                    <a:gd name="connsiteX28" fmla="*/ 12360 w 83411"/>
                    <a:gd name="connsiteY28" fmla="*/ 199862 h 227408"/>
                    <a:gd name="connsiteX29" fmla="*/ 25 w 83411"/>
                    <a:gd name="connsiteY29" fmla="*/ 227408 h 227408"/>
                    <a:gd name="connsiteX30" fmla="*/ 0 w 83411"/>
                    <a:gd name="connsiteY30" fmla="*/ 68217 h 227408"/>
                    <a:gd name="connsiteX31" fmla="*/ 0 w 83411"/>
                    <a:gd name="connsiteY31" fmla="*/ 68217 h 227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3411" h="227408">
                      <a:moveTo>
                        <a:pt x="0" y="68217"/>
                      </a:moveTo>
                      <a:cubicBezTo>
                        <a:pt x="2979" y="63374"/>
                        <a:pt x="4107" y="64186"/>
                        <a:pt x="3397" y="69560"/>
                      </a:cubicBezTo>
                      <a:cubicBezTo>
                        <a:pt x="5780" y="66011"/>
                        <a:pt x="3904" y="64147"/>
                        <a:pt x="6237" y="59546"/>
                      </a:cubicBezTo>
                      <a:cubicBezTo>
                        <a:pt x="7327" y="57365"/>
                        <a:pt x="10293" y="56009"/>
                        <a:pt x="13019" y="53170"/>
                      </a:cubicBezTo>
                      <a:cubicBezTo>
                        <a:pt x="15060" y="51040"/>
                        <a:pt x="18013" y="42775"/>
                        <a:pt x="23147" y="38909"/>
                      </a:cubicBezTo>
                      <a:cubicBezTo>
                        <a:pt x="17380" y="50153"/>
                        <a:pt x="32046" y="36297"/>
                        <a:pt x="34125" y="34497"/>
                      </a:cubicBezTo>
                      <a:cubicBezTo>
                        <a:pt x="40045" y="29426"/>
                        <a:pt x="46206" y="26207"/>
                        <a:pt x="52101" y="20135"/>
                      </a:cubicBezTo>
                      <a:cubicBezTo>
                        <a:pt x="51619" y="21732"/>
                        <a:pt x="51353" y="23862"/>
                        <a:pt x="51264" y="24432"/>
                      </a:cubicBezTo>
                      <a:cubicBezTo>
                        <a:pt x="51936" y="19222"/>
                        <a:pt x="55903" y="16053"/>
                        <a:pt x="58109" y="11489"/>
                      </a:cubicBezTo>
                      <a:cubicBezTo>
                        <a:pt x="57475" y="12123"/>
                        <a:pt x="56664" y="12960"/>
                        <a:pt x="55650" y="13594"/>
                      </a:cubicBezTo>
                      <a:cubicBezTo>
                        <a:pt x="58084" y="10196"/>
                        <a:pt x="59744" y="-2341"/>
                        <a:pt x="66248" y="385"/>
                      </a:cubicBezTo>
                      <a:cubicBezTo>
                        <a:pt x="70393" y="2121"/>
                        <a:pt x="67845" y="12617"/>
                        <a:pt x="67680" y="15964"/>
                      </a:cubicBezTo>
                      <a:cubicBezTo>
                        <a:pt x="67312" y="22987"/>
                        <a:pt x="62977" y="30048"/>
                        <a:pt x="69581" y="35321"/>
                      </a:cubicBezTo>
                      <a:cubicBezTo>
                        <a:pt x="72434" y="37615"/>
                        <a:pt x="77137" y="34320"/>
                        <a:pt x="80204" y="37349"/>
                      </a:cubicBezTo>
                      <a:cubicBezTo>
                        <a:pt x="84540" y="41634"/>
                        <a:pt x="81611" y="50203"/>
                        <a:pt x="81637" y="55249"/>
                      </a:cubicBezTo>
                      <a:cubicBezTo>
                        <a:pt x="81649" y="64135"/>
                        <a:pt x="80318" y="77661"/>
                        <a:pt x="83412" y="86420"/>
                      </a:cubicBezTo>
                      <a:cubicBezTo>
                        <a:pt x="80509" y="86724"/>
                        <a:pt x="71420" y="95699"/>
                        <a:pt x="67743" y="98476"/>
                      </a:cubicBezTo>
                      <a:cubicBezTo>
                        <a:pt x="64714" y="100757"/>
                        <a:pt x="66057" y="106183"/>
                        <a:pt x="60860" y="105841"/>
                      </a:cubicBezTo>
                      <a:cubicBezTo>
                        <a:pt x="56512" y="105574"/>
                        <a:pt x="53799" y="96840"/>
                        <a:pt x="52177" y="94001"/>
                      </a:cubicBezTo>
                      <a:cubicBezTo>
                        <a:pt x="53470" y="94546"/>
                        <a:pt x="55587" y="94774"/>
                        <a:pt x="57260" y="95560"/>
                      </a:cubicBezTo>
                      <a:cubicBezTo>
                        <a:pt x="57792" y="88157"/>
                        <a:pt x="53203" y="85419"/>
                        <a:pt x="46840" y="87586"/>
                      </a:cubicBezTo>
                      <a:cubicBezTo>
                        <a:pt x="38499" y="90401"/>
                        <a:pt x="40070" y="98995"/>
                        <a:pt x="39855" y="105714"/>
                      </a:cubicBezTo>
                      <a:cubicBezTo>
                        <a:pt x="39475" y="116299"/>
                        <a:pt x="37307" y="127910"/>
                        <a:pt x="39652" y="138609"/>
                      </a:cubicBezTo>
                      <a:cubicBezTo>
                        <a:pt x="41718" y="148104"/>
                        <a:pt x="34151" y="139142"/>
                        <a:pt x="42530" y="146253"/>
                      </a:cubicBezTo>
                      <a:cubicBezTo>
                        <a:pt x="44672" y="148079"/>
                        <a:pt x="47765" y="144403"/>
                        <a:pt x="51036" y="147673"/>
                      </a:cubicBezTo>
                      <a:cubicBezTo>
                        <a:pt x="62508" y="159183"/>
                        <a:pt x="43759" y="159982"/>
                        <a:pt x="37535" y="160590"/>
                      </a:cubicBezTo>
                      <a:cubicBezTo>
                        <a:pt x="31869" y="161123"/>
                        <a:pt x="27673" y="160996"/>
                        <a:pt x="22336" y="163329"/>
                      </a:cubicBezTo>
                      <a:cubicBezTo>
                        <a:pt x="10661" y="168450"/>
                        <a:pt x="19104" y="165065"/>
                        <a:pt x="20092" y="172139"/>
                      </a:cubicBezTo>
                      <a:cubicBezTo>
                        <a:pt x="21487" y="182103"/>
                        <a:pt x="16226" y="190672"/>
                        <a:pt x="12360" y="199862"/>
                      </a:cubicBezTo>
                      <a:cubicBezTo>
                        <a:pt x="8810" y="208381"/>
                        <a:pt x="5514" y="219283"/>
                        <a:pt x="25" y="227408"/>
                      </a:cubicBezTo>
                      <a:cubicBezTo>
                        <a:pt x="0" y="174345"/>
                        <a:pt x="0" y="121281"/>
                        <a:pt x="0" y="68217"/>
                      </a:cubicBezTo>
                      <a:lnTo>
                        <a:pt x="0" y="68217"/>
                      </a:lnTo>
                      <a:close/>
                    </a:path>
                  </a:pathLst>
                </a:custGeom>
                <a:solidFill>
                  <a:srgbClr val="D6D6D2"/>
                </a:solidFill>
                <a:ln w="12413" cap="rnd">
                  <a:solidFill>
                    <a:srgbClr val="FFFFFF"/>
                  </a:solidFill>
                  <a:prstDash val="solid"/>
                  <a:round/>
                </a:ln>
              </p:spPr>
              <p:txBody>
                <a:bodyPr rtlCol="0" anchor="ctr"/>
                <a:lstStyle/>
                <a:p>
                  <a:endParaRPr lang="en-US"/>
                </a:p>
              </p:txBody>
            </p:sp>
            <p:sp>
              <p:nvSpPr>
                <p:cNvPr id="103" name="Freeform: Shape 102">
                  <a:extLst>
                    <a:ext uri="{FF2B5EF4-FFF2-40B4-BE49-F238E27FC236}">
                      <a16:creationId xmlns:a16="http://schemas.microsoft.com/office/drawing/2014/main" id="{1896BAAA-C341-45C3-8B8C-AB144E386515}"/>
                    </a:ext>
                  </a:extLst>
                </p:cNvPr>
                <p:cNvSpPr/>
                <p:nvPr/>
              </p:nvSpPr>
              <p:spPr>
                <a:xfrm>
                  <a:off x="394700" y="1924958"/>
                  <a:ext cx="1065026" cy="748452"/>
                </a:xfrm>
                <a:custGeom>
                  <a:avLst/>
                  <a:gdLst>
                    <a:gd name="connsiteX0" fmla="*/ 1065026 w 1065026"/>
                    <a:gd name="connsiteY0" fmla="*/ 104515 h 748452"/>
                    <a:gd name="connsiteX1" fmla="*/ 1052401 w 1065026"/>
                    <a:gd name="connsiteY1" fmla="*/ 98887 h 748452"/>
                    <a:gd name="connsiteX2" fmla="*/ 1045619 w 1065026"/>
                    <a:gd name="connsiteY2" fmla="*/ 103894 h 748452"/>
                    <a:gd name="connsiteX3" fmla="*/ 1032296 w 1065026"/>
                    <a:gd name="connsiteY3" fmla="*/ 109408 h 748452"/>
                    <a:gd name="connsiteX4" fmla="*/ 1026769 w 1065026"/>
                    <a:gd name="connsiteY4" fmla="*/ 112514 h 748452"/>
                    <a:gd name="connsiteX5" fmla="*/ 1036428 w 1065026"/>
                    <a:gd name="connsiteY5" fmla="*/ 120095 h 748452"/>
                    <a:gd name="connsiteX6" fmla="*/ 1039039 w 1065026"/>
                    <a:gd name="connsiteY6" fmla="*/ 125913 h 748452"/>
                    <a:gd name="connsiteX7" fmla="*/ 1032841 w 1065026"/>
                    <a:gd name="connsiteY7" fmla="*/ 123733 h 748452"/>
                    <a:gd name="connsiteX8" fmla="*/ 1007133 w 1065026"/>
                    <a:gd name="connsiteY8" fmla="*/ 134584 h 748452"/>
                    <a:gd name="connsiteX9" fmla="*/ 998462 w 1065026"/>
                    <a:gd name="connsiteY9" fmla="*/ 139261 h 748452"/>
                    <a:gd name="connsiteX10" fmla="*/ 983402 w 1065026"/>
                    <a:gd name="connsiteY10" fmla="*/ 133392 h 748452"/>
                    <a:gd name="connsiteX11" fmla="*/ 923442 w 1065026"/>
                    <a:gd name="connsiteY11" fmla="*/ 137423 h 748452"/>
                    <a:gd name="connsiteX12" fmla="*/ 889393 w 1065026"/>
                    <a:gd name="connsiteY12" fmla="*/ 140922 h 748452"/>
                    <a:gd name="connsiteX13" fmla="*/ 863901 w 1065026"/>
                    <a:gd name="connsiteY13" fmla="*/ 153320 h 748452"/>
                    <a:gd name="connsiteX14" fmla="*/ 852568 w 1065026"/>
                    <a:gd name="connsiteY14" fmla="*/ 159823 h 748452"/>
                    <a:gd name="connsiteX15" fmla="*/ 835974 w 1065026"/>
                    <a:gd name="connsiteY15" fmla="*/ 167061 h 748452"/>
                    <a:gd name="connsiteX16" fmla="*/ 835936 w 1065026"/>
                    <a:gd name="connsiteY16" fmla="*/ 173513 h 748452"/>
                    <a:gd name="connsiteX17" fmla="*/ 829522 w 1065026"/>
                    <a:gd name="connsiteY17" fmla="*/ 172842 h 748452"/>
                    <a:gd name="connsiteX18" fmla="*/ 821447 w 1065026"/>
                    <a:gd name="connsiteY18" fmla="*/ 171168 h 748452"/>
                    <a:gd name="connsiteX19" fmla="*/ 817745 w 1065026"/>
                    <a:gd name="connsiteY19" fmla="*/ 179015 h 748452"/>
                    <a:gd name="connsiteX20" fmla="*/ 793052 w 1065026"/>
                    <a:gd name="connsiteY20" fmla="*/ 199741 h 748452"/>
                    <a:gd name="connsiteX21" fmla="*/ 808327 w 1065026"/>
                    <a:gd name="connsiteY21" fmla="*/ 220442 h 748452"/>
                    <a:gd name="connsiteX22" fmla="*/ 815147 w 1065026"/>
                    <a:gd name="connsiteY22" fmla="*/ 232966 h 748452"/>
                    <a:gd name="connsiteX23" fmla="*/ 813524 w 1065026"/>
                    <a:gd name="connsiteY23" fmla="*/ 238772 h 748452"/>
                    <a:gd name="connsiteX24" fmla="*/ 819229 w 1065026"/>
                    <a:gd name="connsiteY24" fmla="*/ 243995 h 748452"/>
                    <a:gd name="connsiteX25" fmla="*/ 822664 w 1065026"/>
                    <a:gd name="connsiteY25" fmla="*/ 254948 h 748452"/>
                    <a:gd name="connsiteX26" fmla="*/ 818848 w 1065026"/>
                    <a:gd name="connsiteY26" fmla="*/ 261856 h 748452"/>
                    <a:gd name="connsiteX27" fmla="*/ 819799 w 1065026"/>
                    <a:gd name="connsiteY27" fmla="*/ 271110 h 748452"/>
                    <a:gd name="connsiteX28" fmla="*/ 823767 w 1065026"/>
                    <a:gd name="connsiteY28" fmla="*/ 277753 h 748452"/>
                    <a:gd name="connsiteX29" fmla="*/ 814868 w 1065026"/>
                    <a:gd name="connsiteY29" fmla="*/ 287729 h 748452"/>
                    <a:gd name="connsiteX30" fmla="*/ 808808 w 1065026"/>
                    <a:gd name="connsiteY30" fmla="*/ 297617 h 748452"/>
                    <a:gd name="connsiteX31" fmla="*/ 797666 w 1065026"/>
                    <a:gd name="connsiteY31" fmla="*/ 304221 h 748452"/>
                    <a:gd name="connsiteX32" fmla="*/ 791264 w 1065026"/>
                    <a:gd name="connsiteY32" fmla="*/ 313792 h 748452"/>
                    <a:gd name="connsiteX33" fmla="*/ 782378 w 1065026"/>
                    <a:gd name="connsiteY33" fmla="*/ 320726 h 748452"/>
                    <a:gd name="connsiteX34" fmla="*/ 782948 w 1065026"/>
                    <a:gd name="connsiteY34" fmla="*/ 326938 h 748452"/>
                    <a:gd name="connsiteX35" fmla="*/ 774113 w 1065026"/>
                    <a:gd name="connsiteY35" fmla="*/ 333098 h 748452"/>
                    <a:gd name="connsiteX36" fmla="*/ 786612 w 1065026"/>
                    <a:gd name="connsiteY36" fmla="*/ 346878 h 748452"/>
                    <a:gd name="connsiteX37" fmla="*/ 783291 w 1065026"/>
                    <a:gd name="connsiteY37" fmla="*/ 363978 h 748452"/>
                    <a:gd name="connsiteX38" fmla="*/ 775190 w 1065026"/>
                    <a:gd name="connsiteY38" fmla="*/ 373181 h 748452"/>
                    <a:gd name="connsiteX39" fmla="*/ 729136 w 1065026"/>
                    <a:gd name="connsiteY39" fmla="*/ 378480 h 748452"/>
                    <a:gd name="connsiteX40" fmla="*/ 692070 w 1065026"/>
                    <a:gd name="connsiteY40" fmla="*/ 380901 h 748452"/>
                    <a:gd name="connsiteX41" fmla="*/ 713481 w 1065026"/>
                    <a:gd name="connsiteY41" fmla="*/ 403288 h 748452"/>
                    <a:gd name="connsiteX42" fmla="*/ 715142 w 1065026"/>
                    <a:gd name="connsiteY42" fmla="*/ 416307 h 748452"/>
                    <a:gd name="connsiteX43" fmla="*/ 725600 w 1065026"/>
                    <a:gd name="connsiteY43" fmla="*/ 428375 h 748452"/>
                    <a:gd name="connsiteX44" fmla="*/ 692983 w 1065026"/>
                    <a:gd name="connsiteY44" fmla="*/ 450039 h 748452"/>
                    <a:gd name="connsiteX45" fmla="*/ 673639 w 1065026"/>
                    <a:gd name="connsiteY45" fmla="*/ 450749 h 748452"/>
                    <a:gd name="connsiteX46" fmla="*/ 665272 w 1065026"/>
                    <a:gd name="connsiteY46" fmla="*/ 465492 h 748452"/>
                    <a:gd name="connsiteX47" fmla="*/ 657540 w 1065026"/>
                    <a:gd name="connsiteY47" fmla="*/ 477915 h 748452"/>
                    <a:gd name="connsiteX48" fmla="*/ 658110 w 1065026"/>
                    <a:gd name="connsiteY48" fmla="*/ 489920 h 748452"/>
                    <a:gd name="connsiteX49" fmla="*/ 646346 w 1065026"/>
                    <a:gd name="connsiteY49" fmla="*/ 503826 h 748452"/>
                    <a:gd name="connsiteX50" fmla="*/ 648501 w 1065026"/>
                    <a:gd name="connsiteY50" fmla="*/ 524095 h 748452"/>
                    <a:gd name="connsiteX51" fmla="*/ 650682 w 1065026"/>
                    <a:gd name="connsiteY51" fmla="*/ 544796 h 748452"/>
                    <a:gd name="connsiteX52" fmla="*/ 634722 w 1065026"/>
                    <a:gd name="connsiteY52" fmla="*/ 563697 h 748452"/>
                    <a:gd name="connsiteX53" fmla="*/ 616430 w 1065026"/>
                    <a:gd name="connsiteY53" fmla="*/ 571265 h 748452"/>
                    <a:gd name="connsiteX54" fmla="*/ 603398 w 1065026"/>
                    <a:gd name="connsiteY54" fmla="*/ 557105 h 748452"/>
                    <a:gd name="connsiteX55" fmla="*/ 586475 w 1065026"/>
                    <a:gd name="connsiteY55" fmla="*/ 556763 h 748452"/>
                    <a:gd name="connsiteX56" fmla="*/ 596172 w 1065026"/>
                    <a:gd name="connsiteY56" fmla="*/ 559159 h 748452"/>
                    <a:gd name="connsiteX57" fmla="*/ 570021 w 1065026"/>
                    <a:gd name="connsiteY57" fmla="*/ 554304 h 748452"/>
                    <a:gd name="connsiteX58" fmla="*/ 553047 w 1065026"/>
                    <a:gd name="connsiteY58" fmla="*/ 568527 h 748452"/>
                    <a:gd name="connsiteX59" fmla="*/ 540573 w 1065026"/>
                    <a:gd name="connsiteY59" fmla="*/ 573306 h 748452"/>
                    <a:gd name="connsiteX60" fmla="*/ 527149 w 1065026"/>
                    <a:gd name="connsiteY60" fmla="*/ 577527 h 748452"/>
                    <a:gd name="connsiteX61" fmla="*/ 525298 w 1065026"/>
                    <a:gd name="connsiteY61" fmla="*/ 582636 h 748452"/>
                    <a:gd name="connsiteX62" fmla="*/ 537924 w 1065026"/>
                    <a:gd name="connsiteY62" fmla="*/ 588137 h 748452"/>
                    <a:gd name="connsiteX63" fmla="*/ 512444 w 1065026"/>
                    <a:gd name="connsiteY63" fmla="*/ 601739 h 748452"/>
                    <a:gd name="connsiteX64" fmla="*/ 483047 w 1065026"/>
                    <a:gd name="connsiteY64" fmla="*/ 600712 h 748452"/>
                    <a:gd name="connsiteX65" fmla="*/ 479586 w 1065026"/>
                    <a:gd name="connsiteY65" fmla="*/ 594767 h 748452"/>
                    <a:gd name="connsiteX66" fmla="*/ 464299 w 1065026"/>
                    <a:gd name="connsiteY66" fmla="*/ 602601 h 748452"/>
                    <a:gd name="connsiteX67" fmla="*/ 455945 w 1065026"/>
                    <a:gd name="connsiteY67" fmla="*/ 614580 h 748452"/>
                    <a:gd name="connsiteX68" fmla="*/ 436702 w 1065026"/>
                    <a:gd name="connsiteY68" fmla="*/ 624823 h 748452"/>
                    <a:gd name="connsiteX69" fmla="*/ 431466 w 1065026"/>
                    <a:gd name="connsiteY69" fmla="*/ 665781 h 748452"/>
                    <a:gd name="connsiteX70" fmla="*/ 432848 w 1065026"/>
                    <a:gd name="connsiteY70" fmla="*/ 704584 h 748452"/>
                    <a:gd name="connsiteX71" fmla="*/ 362164 w 1065026"/>
                    <a:gd name="connsiteY71" fmla="*/ 730951 h 748452"/>
                    <a:gd name="connsiteX72" fmla="*/ 318899 w 1065026"/>
                    <a:gd name="connsiteY72" fmla="*/ 735793 h 748452"/>
                    <a:gd name="connsiteX73" fmla="*/ 272591 w 1065026"/>
                    <a:gd name="connsiteY73" fmla="*/ 742550 h 748452"/>
                    <a:gd name="connsiteX74" fmla="*/ 257747 w 1065026"/>
                    <a:gd name="connsiteY74" fmla="*/ 746936 h 748452"/>
                    <a:gd name="connsiteX75" fmla="*/ 229136 w 1065026"/>
                    <a:gd name="connsiteY75" fmla="*/ 741701 h 748452"/>
                    <a:gd name="connsiteX76" fmla="*/ 191297 w 1065026"/>
                    <a:gd name="connsiteY76" fmla="*/ 744768 h 748452"/>
                    <a:gd name="connsiteX77" fmla="*/ 157552 w 1065026"/>
                    <a:gd name="connsiteY77" fmla="*/ 747747 h 748452"/>
                    <a:gd name="connsiteX78" fmla="*/ 114211 w 1065026"/>
                    <a:gd name="connsiteY78" fmla="*/ 739558 h 748452"/>
                    <a:gd name="connsiteX79" fmla="*/ 26553 w 1065026"/>
                    <a:gd name="connsiteY79" fmla="*/ 712494 h 748452"/>
                    <a:gd name="connsiteX80" fmla="*/ 70642 w 1065026"/>
                    <a:gd name="connsiteY80" fmla="*/ 662967 h 748452"/>
                    <a:gd name="connsiteX81" fmla="*/ 97516 w 1065026"/>
                    <a:gd name="connsiteY81" fmla="*/ 624443 h 748452"/>
                    <a:gd name="connsiteX82" fmla="*/ 92914 w 1065026"/>
                    <a:gd name="connsiteY82" fmla="*/ 599331 h 748452"/>
                    <a:gd name="connsiteX83" fmla="*/ 48661 w 1065026"/>
                    <a:gd name="connsiteY83" fmla="*/ 584144 h 748452"/>
                    <a:gd name="connsiteX84" fmla="*/ 24892 w 1065026"/>
                    <a:gd name="connsiteY84" fmla="*/ 580253 h 748452"/>
                    <a:gd name="connsiteX85" fmla="*/ 22547 w 1065026"/>
                    <a:gd name="connsiteY85" fmla="*/ 551337 h 748452"/>
                    <a:gd name="connsiteX86" fmla="*/ 24879 w 1065026"/>
                    <a:gd name="connsiteY86" fmla="*/ 516477 h 748452"/>
                    <a:gd name="connsiteX87" fmla="*/ 5713 w 1065026"/>
                    <a:gd name="connsiteY87" fmla="*/ 452536 h 748452"/>
                    <a:gd name="connsiteX88" fmla="*/ 26933 w 1065026"/>
                    <a:gd name="connsiteY88" fmla="*/ 416675 h 748452"/>
                    <a:gd name="connsiteX89" fmla="*/ 30939 w 1065026"/>
                    <a:gd name="connsiteY89" fmla="*/ 413265 h 748452"/>
                    <a:gd name="connsiteX90" fmla="*/ 21102 w 1065026"/>
                    <a:gd name="connsiteY90" fmla="*/ 411528 h 748452"/>
                    <a:gd name="connsiteX91" fmla="*/ 426 w 1065026"/>
                    <a:gd name="connsiteY91" fmla="*/ 397419 h 748452"/>
                    <a:gd name="connsiteX92" fmla="*/ 2417 w 1065026"/>
                    <a:gd name="connsiteY92" fmla="*/ 383551 h 748452"/>
                    <a:gd name="connsiteX93" fmla="*/ 148 w 1065026"/>
                    <a:gd name="connsiteY93" fmla="*/ 367097 h 748452"/>
                    <a:gd name="connsiteX94" fmla="*/ 11721 w 1065026"/>
                    <a:gd name="connsiteY94" fmla="*/ 349514 h 748452"/>
                    <a:gd name="connsiteX95" fmla="*/ 29963 w 1065026"/>
                    <a:gd name="connsiteY95" fmla="*/ 348488 h 748452"/>
                    <a:gd name="connsiteX96" fmla="*/ 15866 w 1065026"/>
                    <a:gd name="connsiteY96" fmla="*/ 332109 h 748452"/>
                    <a:gd name="connsiteX97" fmla="*/ 29861 w 1065026"/>
                    <a:gd name="connsiteY97" fmla="*/ 323388 h 748452"/>
                    <a:gd name="connsiteX98" fmla="*/ 35781 w 1065026"/>
                    <a:gd name="connsiteY98" fmla="*/ 314236 h 748452"/>
                    <a:gd name="connsiteX99" fmla="*/ 46911 w 1065026"/>
                    <a:gd name="connsiteY99" fmla="*/ 286347 h 748452"/>
                    <a:gd name="connsiteX100" fmla="*/ 46392 w 1065026"/>
                    <a:gd name="connsiteY100" fmla="*/ 274685 h 748452"/>
                    <a:gd name="connsiteX101" fmla="*/ 45859 w 1065026"/>
                    <a:gd name="connsiteY101" fmla="*/ 269652 h 748452"/>
                    <a:gd name="connsiteX102" fmla="*/ 50828 w 1065026"/>
                    <a:gd name="connsiteY102" fmla="*/ 267459 h 748452"/>
                    <a:gd name="connsiteX103" fmla="*/ 58016 w 1065026"/>
                    <a:gd name="connsiteY103" fmla="*/ 240293 h 748452"/>
                    <a:gd name="connsiteX104" fmla="*/ 67422 w 1065026"/>
                    <a:gd name="connsiteY104" fmla="*/ 245884 h 748452"/>
                    <a:gd name="connsiteX105" fmla="*/ 97858 w 1065026"/>
                    <a:gd name="connsiteY105" fmla="*/ 256887 h 748452"/>
                    <a:gd name="connsiteX106" fmla="*/ 128180 w 1065026"/>
                    <a:gd name="connsiteY106" fmla="*/ 266394 h 748452"/>
                    <a:gd name="connsiteX107" fmla="*/ 130969 w 1065026"/>
                    <a:gd name="connsiteY107" fmla="*/ 276333 h 748452"/>
                    <a:gd name="connsiteX108" fmla="*/ 142746 w 1065026"/>
                    <a:gd name="connsiteY108" fmla="*/ 269551 h 748452"/>
                    <a:gd name="connsiteX109" fmla="*/ 164372 w 1065026"/>
                    <a:gd name="connsiteY109" fmla="*/ 270590 h 748452"/>
                    <a:gd name="connsiteX110" fmla="*/ 176529 w 1065026"/>
                    <a:gd name="connsiteY110" fmla="*/ 262021 h 748452"/>
                    <a:gd name="connsiteX111" fmla="*/ 191360 w 1065026"/>
                    <a:gd name="connsiteY111" fmla="*/ 255949 h 748452"/>
                    <a:gd name="connsiteX112" fmla="*/ 191880 w 1065026"/>
                    <a:gd name="connsiteY112" fmla="*/ 246302 h 748452"/>
                    <a:gd name="connsiteX113" fmla="*/ 191588 w 1065026"/>
                    <a:gd name="connsiteY113" fmla="*/ 239774 h 748452"/>
                    <a:gd name="connsiteX114" fmla="*/ 200310 w 1065026"/>
                    <a:gd name="connsiteY114" fmla="*/ 235578 h 748452"/>
                    <a:gd name="connsiteX115" fmla="*/ 193021 w 1065026"/>
                    <a:gd name="connsiteY115" fmla="*/ 220911 h 748452"/>
                    <a:gd name="connsiteX116" fmla="*/ 212124 w 1065026"/>
                    <a:gd name="connsiteY116" fmla="*/ 220214 h 748452"/>
                    <a:gd name="connsiteX117" fmla="*/ 227590 w 1065026"/>
                    <a:gd name="connsiteY117" fmla="*/ 212469 h 748452"/>
                    <a:gd name="connsiteX118" fmla="*/ 263224 w 1065026"/>
                    <a:gd name="connsiteY118" fmla="*/ 208425 h 748452"/>
                    <a:gd name="connsiteX119" fmla="*/ 279564 w 1065026"/>
                    <a:gd name="connsiteY119" fmla="*/ 195520 h 748452"/>
                    <a:gd name="connsiteX120" fmla="*/ 290263 w 1065026"/>
                    <a:gd name="connsiteY120" fmla="*/ 188168 h 748452"/>
                    <a:gd name="connsiteX121" fmla="*/ 299605 w 1065026"/>
                    <a:gd name="connsiteY121" fmla="*/ 179700 h 748452"/>
                    <a:gd name="connsiteX122" fmla="*/ 303408 w 1065026"/>
                    <a:gd name="connsiteY122" fmla="*/ 157807 h 748452"/>
                    <a:gd name="connsiteX123" fmla="*/ 317213 w 1065026"/>
                    <a:gd name="connsiteY123" fmla="*/ 129995 h 748452"/>
                    <a:gd name="connsiteX124" fmla="*/ 331626 w 1065026"/>
                    <a:gd name="connsiteY124" fmla="*/ 106683 h 748452"/>
                    <a:gd name="connsiteX125" fmla="*/ 372204 w 1065026"/>
                    <a:gd name="connsiteY125" fmla="*/ 102956 h 748452"/>
                    <a:gd name="connsiteX126" fmla="*/ 380836 w 1065026"/>
                    <a:gd name="connsiteY126" fmla="*/ 83916 h 748452"/>
                    <a:gd name="connsiteX127" fmla="*/ 390103 w 1065026"/>
                    <a:gd name="connsiteY127" fmla="*/ 75055 h 748452"/>
                    <a:gd name="connsiteX128" fmla="*/ 437412 w 1065026"/>
                    <a:gd name="connsiteY128" fmla="*/ 94589 h 748452"/>
                    <a:gd name="connsiteX129" fmla="*/ 457580 w 1065026"/>
                    <a:gd name="connsiteY129" fmla="*/ 94932 h 748452"/>
                    <a:gd name="connsiteX130" fmla="*/ 488447 w 1065026"/>
                    <a:gd name="connsiteY130" fmla="*/ 94843 h 748452"/>
                    <a:gd name="connsiteX131" fmla="*/ 503203 w 1065026"/>
                    <a:gd name="connsiteY131" fmla="*/ 107722 h 748452"/>
                    <a:gd name="connsiteX132" fmla="*/ 520912 w 1065026"/>
                    <a:gd name="connsiteY132" fmla="*/ 101828 h 748452"/>
                    <a:gd name="connsiteX133" fmla="*/ 523954 w 1065026"/>
                    <a:gd name="connsiteY133" fmla="*/ 105174 h 748452"/>
                    <a:gd name="connsiteX134" fmla="*/ 527643 w 1065026"/>
                    <a:gd name="connsiteY134" fmla="*/ 102652 h 748452"/>
                    <a:gd name="connsiteX135" fmla="*/ 537531 w 1065026"/>
                    <a:gd name="connsiteY135" fmla="*/ 105022 h 748452"/>
                    <a:gd name="connsiteX136" fmla="*/ 541435 w 1065026"/>
                    <a:gd name="connsiteY136" fmla="*/ 117027 h 748452"/>
                    <a:gd name="connsiteX137" fmla="*/ 551222 w 1065026"/>
                    <a:gd name="connsiteY137" fmla="*/ 123974 h 748452"/>
                    <a:gd name="connsiteX138" fmla="*/ 570325 w 1065026"/>
                    <a:gd name="connsiteY138" fmla="*/ 122402 h 748452"/>
                    <a:gd name="connsiteX139" fmla="*/ 576929 w 1065026"/>
                    <a:gd name="connsiteY139" fmla="*/ 121996 h 748452"/>
                    <a:gd name="connsiteX140" fmla="*/ 576904 w 1065026"/>
                    <a:gd name="connsiteY140" fmla="*/ 115328 h 748452"/>
                    <a:gd name="connsiteX141" fmla="*/ 585461 w 1065026"/>
                    <a:gd name="connsiteY141" fmla="*/ 111234 h 748452"/>
                    <a:gd name="connsiteX142" fmla="*/ 605223 w 1065026"/>
                    <a:gd name="connsiteY142" fmla="*/ 103146 h 748452"/>
                    <a:gd name="connsiteX143" fmla="*/ 604209 w 1065026"/>
                    <a:gd name="connsiteY143" fmla="*/ 101409 h 748452"/>
                    <a:gd name="connsiteX144" fmla="*/ 616252 w 1065026"/>
                    <a:gd name="connsiteY144" fmla="*/ 102829 h 748452"/>
                    <a:gd name="connsiteX145" fmla="*/ 623338 w 1065026"/>
                    <a:gd name="connsiteY145" fmla="*/ 100433 h 748452"/>
                    <a:gd name="connsiteX146" fmla="*/ 621234 w 1065026"/>
                    <a:gd name="connsiteY146" fmla="*/ 95413 h 748452"/>
                    <a:gd name="connsiteX147" fmla="*/ 653014 w 1065026"/>
                    <a:gd name="connsiteY147" fmla="*/ 113959 h 748452"/>
                    <a:gd name="connsiteX148" fmla="*/ 657501 w 1065026"/>
                    <a:gd name="connsiteY148" fmla="*/ 86971 h 748452"/>
                    <a:gd name="connsiteX149" fmla="*/ 691500 w 1065026"/>
                    <a:gd name="connsiteY149" fmla="*/ 73356 h 748452"/>
                    <a:gd name="connsiteX150" fmla="*/ 704037 w 1065026"/>
                    <a:gd name="connsiteY150" fmla="*/ 77552 h 748452"/>
                    <a:gd name="connsiteX151" fmla="*/ 718932 w 1065026"/>
                    <a:gd name="connsiteY151" fmla="*/ 72951 h 748452"/>
                    <a:gd name="connsiteX152" fmla="*/ 723939 w 1065026"/>
                    <a:gd name="connsiteY152" fmla="*/ 61770 h 748452"/>
                    <a:gd name="connsiteX153" fmla="*/ 716194 w 1065026"/>
                    <a:gd name="connsiteY153" fmla="*/ 43731 h 748452"/>
                    <a:gd name="connsiteX154" fmla="*/ 722798 w 1065026"/>
                    <a:gd name="connsiteY154" fmla="*/ 44302 h 748452"/>
                    <a:gd name="connsiteX155" fmla="*/ 732534 w 1065026"/>
                    <a:gd name="connsiteY155" fmla="*/ 32639 h 748452"/>
                    <a:gd name="connsiteX156" fmla="*/ 746541 w 1065026"/>
                    <a:gd name="connsiteY156" fmla="*/ 15615 h 748452"/>
                    <a:gd name="connsiteX157" fmla="*/ 767027 w 1065026"/>
                    <a:gd name="connsiteY157" fmla="*/ 568 h 748452"/>
                    <a:gd name="connsiteX158" fmla="*/ 795080 w 1065026"/>
                    <a:gd name="connsiteY158" fmla="*/ 11939 h 748452"/>
                    <a:gd name="connsiteX159" fmla="*/ 800746 w 1065026"/>
                    <a:gd name="connsiteY159" fmla="*/ 32031 h 748452"/>
                    <a:gd name="connsiteX160" fmla="*/ 801456 w 1065026"/>
                    <a:gd name="connsiteY160" fmla="*/ 47800 h 748452"/>
                    <a:gd name="connsiteX161" fmla="*/ 821346 w 1065026"/>
                    <a:gd name="connsiteY161" fmla="*/ 48079 h 748452"/>
                    <a:gd name="connsiteX162" fmla="*/ 817150 w 1065026"/>
                    <a:gd name="connsiteY162" fmla="*/ 61643 h 748452"/>
                    <a:gd name="connsiteX163" fmla="*/ 810685 w 1065026"/>
                    <a:gd name="connsiteY163" fmla="*/ 106264 h 748452"/>
                    <a:gd name="connsiteX164" fmla="*/ 820091 w 1065026"/>
                    <a:gd name="connsiteY164" fmla="*/ 146614 h 748452"/>
                    <a:gd name="connsiteX165" fmla="*/ 872546 w 1065026"/>
                    <a:gd name="connsiteY165" fmla="*/ 126053 h 748452"/>
                    <a:gd name="connsiteX166" fmla="*/ 890762 w 1065026"/>
                    <a:gd name="connsiteY166" fmla="*/ 122921 h 748452"/>
                    <a:gd name="connsiteX167" fmla="*/ 905011 w 1065026"/>
                    <a:gd name="connsiteY167" fmla="*/ 113034 h 748452"/>
                    <a:gd name="connsiteX168" fmla="*/ 931758 w 1065026"/>
                    <a:gd name="connsiteY168" fmla="*/ 96427 h 748452"/>
                    <a:gd name="connsiteX169" fmla="*/ 948554 w 1065026"/>
                    <a:gd name="connsiteY169" fmla="*/ 84550 h 748452"/>
                    <a:gd name="connsiteX170" fmla="*/ 980968 w 1065026"/>
                    <a:gd name="connsiteY170" fmla="*/ 87744 h 748452"/>
                    <a:gd name="connsiteX171" fmla="*/ 981235 w 1065026"/>
                    <a:gd name="connsiteY171" fmla="*/ 104566 h 748452"/>
                    <a:gd name="connsiteX172" fmla="*/ 1022522 w 1065026"/>
                    <a:gd name="connsiteY172" fmla="*/ 87858 h 748452"/>
                    <a:gd name="connsiteX173" fmla="*/ 1037696 w 1065026"/>
                    <a:gd name="connsiteY173" fmla="*/ 92219 h 748452"/>
                    <a:gd name="connsiteX174" fmla="*/ 1065026 w 1065026"/>
                    <a:gd name="connsiteY174" fmla="*/ 104515 h 748452"/>
                    <a:gd name="connsiteX175" fmla="*/ 1065026 w 1065026"/>
                    <a:gd name="connsiteY175" fmla="*/ 104515 h 748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1065026" h="748452">
                      <a:moveTo>
                        <a:pt x="1065026" y="104515"/>
                      </a:moveTo>
                      <a:cubicBezTo>
                        <a:pt x="1054885" y="109865"/>
                        <a:pt x="1058549" y="99432"/>
                        <a:pt x="1052401" y="98887"/>
                      </a:cubicBezTo>
                      <a:cubicBezTo>
                        <a:pt x="1050677" y="98722"/>
                        <a:pt x="1047305" y="103501"/>
                        <a:pt x="1045619" y="103894"/>
                      </a:cubicBezTo>
                      <a:cubicBezTo>
                        <a:pt x="1039521" y="105326"/>
                        <a:pt x="1037696" y="104807"/>
                        <a:pt x="1032296" y="109408"/>
                      </a:cubicBezTo>
                      <a:cubicBezTo>
                        <a:pt x="1029342" y="111931"/>
                        <a:pt x="1025970" y="107050"/>
                        <a:pt x="1026769" y="112514"/>
                      </a:cubicBezTo>
                      <a:cubicBezTo>
                        <a:pt x="1027162" y="115176"/>
                        <a:pt x="1034514" y="117268"/>
                        <a:pt x="1036428" y="120095"/>
                      </a:cubicBezTo>
                      <a:cubicBezTo>
                        <a:pt x="1038063" y="122503"/>
                        <a:pt x="1040687" y="122364"/>
                        <a:pt x="1039039" y="125913"/>
                      </a:cubicBezTo>
                      <a:cubicBezTo>
                        <a:pt x="1036758" y="130832"/>
                        <a:pt x="1035896" y="122807"/>
                        <a:pt x="1032841" y="123733"/>
                      </a:cubicBezTo>
                      <a:cubicBezTo>
                        <a:pt x="1024221" y="126306"/>
                        <a:pt x="1014219" y="131453"/>
                        <a:pt x="1007133" y="134584"/>
                      </a:cubicBezTo>
                      <a:cubicBezTo>
                        <a:pt x="1004534" y="135737"/>
                        <a:pt x="1004204" y="139376"/>
                        <a:pt x="998462" y="139261"/>
                      </a:cubicBezTo>
                      <a:cubicBezTo>
                        <a:pt x="993531" y="139173"/>
                        <a:pt x="988435" y="134457"/>
                        <a:pt x="983402" y="133392"/>
                      </a:cubicBezTo>
                      <a:cubicBezTo>
                        <a:pt x="965326" y="129513"/>
                        <a:pt x="940987" y="134850"/>
                        <a:pt x="923442" y="137423"/>
                      </a:cubicBezTo>
                      <a:cubicBezTo>
                        <a:pt x="912502" y="139021"/>
                        <a:pt x="900561" y="137271"/>
                        <a:pt x="889393" y="140922"/>
                      </a:cubicBezTo>
                      <a:cubicBezTo>
                        <a:pt x="883537" y="142849"/>
                        <a:pt x="860224" y="146880"/>
                        <a:pt x="863901" y="153320"/>
                      </a:cubicBezTo>
                      <a:cubicBezTo>
                        <a:pt x="856700" y="153408"/>
                        <a:pt x="856599" y="157237"/>
                        <a:pt x="852568" y="159823"/>
                      </a:cubicBezTo>
                      <a:cubicBezTo>
                        <a:pt x="848701" y="162320"/>
                        <a:pt x="838433" y="164678"/>
                        <a:pt x="835974" y="167061"/>
                      </a:cubicBezTo>
                      <a:cubicBezTo>
                        <a:pt x="835087" y="167936"/>
                        <a:pt x="834440" y="174046"/>
                        <a:pt x="835936" y="173513"/>
                      </a:cubicBezTo>
                      <a:cubicBezTo>
                        <a:pt x="832957" y="174591"/>
                        <a:pt x="831588" y="172461"/>
                        <a:pt x="829522" y="172842"/>
                      </a:cubicBezTo>
                      <a:cubicBezTo>
                        <a:pt x="825009" y="173691"/>
                        <a:pt x="825960" y="168557"/>
                        <a:pt x="821447" y="171168"/>
                      </a:cubicBezTo>
                      <a:cubicBezTo>
                        <a:pt x="820091" y="171954"/>
                        <a:pt x="818341" y="178254"/>
                        <a:pt x="817745" y="179015"/>
                      </a:cubicBezTo>
                      <a:cubicBezTo>
                        <a:pt x="813473" y="184428"/>
                        <a:pt x="796690" y="191692"/>
                        <a:pt x="793052" y="199741"/>
                      </a:cubicBezTo>
                      <a:cubicBezTo>
                        <a:pt x="788044" y="210846"/>
                        <a:pt x="802419" y="210960"/>
                        <a:pt x="808327" y="220442"/>
                      </a:cubicBezTo>
                      <a:cubicBezTo>
                        <a:pt x="810431" y="223814"/>
                        <a:pt x="814006" y="229366"/>
                        <a:pt x="815147" y="232966"/>
                      </a:cubicBezTo>
                      <a:cubicBezTo>
                        <a:pt x="815679" y="234614"/>
                        <a:pt x="813334" y="238443"/>
                        <a:pt x="813524" y="238772"/>
                      </a:cubicBezTo>
                      <a:cubicBezTo>
                        <a:pt x="814133" y="239938"/>
                        <a:pt x="819000" y="243437"/>
                        <a:pt x="819229" y="243995"/>
                      </a:cubicBezTo>
                      <a:cubicBezTo>
                        <a:pt x="819824" y="245516"/>
                        <a:pt x="822917" y="253350"/>
                        <a:pt x="822664" y="254948"/>
                      </a:cubicBezTo>
                      <a:cubicBezTo>
                        <a:pt x="822322" y="257052"/>
                        <a:pt x="818937" y="260766"/>
                        <a:pt x="818848" y="261856"/>
                      </a:cubicBezTo>
                      <a:cubicBezTo>
                        <a:pt x="818443" y="267079"/>
                        <a:pt x="818924" y="265849"/>
                        <a:pt x="819799" y="271110"/>
                      </a:cubicBezTo>
                      <a:cubicBezTo>
                        <a:pt x="820446" y="274900"/>
                        <a:pt x="824477" y="273367"/>
                        <a:pt x="823767" y="277753"/>
                      </a:cubicBezTo>
                      <a:cubicBezTo>
                        <a:pt x="823361" y="280224"/>
                        <a:pt x="816465" y="285435"/>
                        <a:pt x="814868" y="287729"/>
                      </a:cubicBezTo>
                      <a:cubicBezTo>
                        <a:pt x="812345" y="291367"/>
                        <a:pt x="813347" y="294029"/>
                        <a:pt x="808808" y="297617"/>
                      </a:cubicBezTo>
                      <a:cubicBezTo>
                        <a:pt x="805082" y="300545"/>
                        <a:pt x="801152" y="300798"/>
                        <a:pt x="797666" y="304221"/>
                      </a:cubicBezTo>
                      <a:cubicBezTo>
                        <a:pt x="795232" y="306604"/>
                        <a:pt x="793787" y="311067"/>
                        <a:pt x="791264" y="313792"/>
                      </a:cubicBezTo>
                      <a:cubicBezTo>
                        <a:pt x="788830" y="316429"/>
                        <a:pt x="784710" y="317734"/>
                        <a:pt x="782378" y="320726"/>
                      </a:cubicBezTo>
                      <a:cubicBezTo>
                        <a:pt x="781452" y="321905"/>
                        <a:pt x="784381" y="325391"/>
                        <a:pt x="782948" y="326938"/>
                      </a:cubicBezTo>
                      <a:cubicBezTo>
                        <a:pt x="779437" y="330791"/>
                        <a:pt x="774823" y="326418"/>
                        <a:pt x="774113" y="333098"/>
                      </a:cubicBezTo>
                      <a:cubicBezTo>
                        <a:pt x="773390" y="339830"/>
                        <a:pt x="784989" y="342732"/>
                        <a:pt x="786612" y="346878"/>
                      </a:cubicBezTo>
                      <a:cubicBezTo>
                        <a:pt x="787727" y="349743"/>
                        <a:pt x="784355" y="360911"/>
                        <a:pt x="783291" y="363978"/>
                      </a:cubicBezTo>
                      <a:cubicBezTo>
                        <a:pt x="780869" y="370887"/>
                        <a:pt x="781072" y="368998"/>
                        <a:pt x="775190" y="373181"/>
                      </a:cubicBezTo>
                      <a:cubicBezTo>
                        <a:pt x="764884" y="380521"/>
                        <a:pt x="743740" y="381104"/>
                        <a:pt x="729136" y="378480"/>
                      </a:cubicBezTo>
                      <a:cubicBezTo>
                        <a:pt x="719895" y="376807"/>
                        <a:pt x="690422" y="362495"/>
                        <a:pt x="692070" y="380901"/>
                      </a:cubicBezTo>
                      <a:cubicBezTo>
                        <a:pt x="693287" y="394351"/>
                        <a:pt x="709539" y="395631"/>
                        <a:pt x="713481" y="403288"/>
                      </a:cubicBezTo>
                      <a:cubicBezTo>
                        <a:pt x="715763" y="407725"/>
                        <a:pt x="713367" y="410957"/>
                        <a:pt x="715142" y="416307"/>
                      </a:cubicBezTo>
                      <a:cubicBezTo>
                        <a:pt x="716637" y="420756"/>
                        <a:pt x="725739" y="422354"/>
                        <a:pt x="725600" y="428375"/>
                      </a:cubicBezTo>
                      <a:cubicBezTo>
                        <a:pt x="725473" y="435879"/>
                        <a:pt x="699575" y="449152"/>
                        <a:pt x="692983" y="450039"/>
                      </a:cubicBezTo>
                      <a:cubicBezTo>
                        <a:pt x="687025" y="450825"/>
                        <a:pt x="679990" y="448062"/>
                        <a:pt x="673639" y="450749"/>
                      </a:cubicBezTo>
                      <a:cubicBezTo>
                        <a:pt x="661837" y="455744"/>
                        <a:pt x="668986" y="455224"/>
                        <a:pt x="665272" y="465492"/>
                      </a:cubicBezTo>
                      <a:cubicBezTo>
                        <a:pt x="663561" y="470246"/>
                        <a:pt x="658706" y="473377"/>
                        <a:pt x="657540" y="477915"/>
                      </a:cubicBezTo>
                      <a:cubicBezTo>
                        <a:pt x="656817" y="480780"/>
                        <a:pt x="661837" y="483822"/>
                        <a:pt x="658110" y="489920"/>
                      </a:cubicBezTo>
                      <a:cubicBezTo>
                        <a:pt x="654294" y="496131"/>
                        <a:pt x="647462" y="495130"/>
                        <a:pt x="646346" y="503826"/>
                      </a:cubicBezTo>
                      <a:cubicBezTo>
                        <a:pt x="645687" y="508985"/>
                        <a:pt x="648400" y="518150"/>
                        <a:pt x="648501" y="524095"/>
                      </a:cubicBezTo>
                      <a:cubicBezTo>
                        <a:pt x="648577" y="530522"/>
                        <a:pt x="652393" y="539802"/>
                        <a:pt x="650682" y="544796"/>
                      </a:cubicBezTo>
                      <a:cubicBezTo>
                        <a:pt x="649122" y="549372"/>
                        <a:pt x="638994" y="560325"/>
                        <a:pt x="634722" y="563697"/>
                      </a:cubicBezTo>
                      <a:cubicBezTo>
                        <a:pt x="631058" y="566574"/>
                        <a:pt x="621069" y="572216"/>
                        <a:pt x="616430" y="571265"/>
                      </a:cubicBezTo>
                      <a:cubicBezTo>
                        <a:pt x="609191" y="569782"/>
                        <a:pt x="608152" y="560414"/>
                        <a:pt x="603398" y="557105"/>
                      </a:cubicBezTo>
                      <a:cubicBezTo>
                        <a:pt x="598289" y="553543"/>
                        <a:pt x="591431" y="552161"/>
                        <a:pt x="586475" y="556763"/>
                      </a:cubicBezTo>
                      <a:cubicBezTo>
                        <a:pt x="588909" y="557295"/>
                        <a:pt x="593269" y="559171"/>
                        <a:pt x="596172" y="559159"/>
                      </a:cubicBezTo>
                      <a:cubicBezTo>
                        <a:pt x="588034" y="566613"/>
                        <a:pt x="576790" y="553758"/>
                        <a:pt x="570021" y="554304"/>
                      </a:cubicBezTo>
                      <a:cubicBezTo>
                        <a:pt x="561908" y="554950"/>
                        <a:pt x="560894" y="564204"/>
                        <a:pt x="553047" y="568527"/>
                      </a:cubicBezTo>
                      <a:cubicBezTo>
                        <a:pt x="549878" y="570276"/>
                        <a:pt x="544110" y="571658"/>
                        <a:pt x="540573" y="573306"/>
                      </a:cubicBezTo>
                      <a:cubicBezTo>
                        <a:pt x="538444" y="574295"/>
                        <a:pt x="527643" y="577185"/>
                        <a:pt x="527149" y="577527"/>
                      </a:cubicBezTo>
                      <a:cubicBezTo>
                        <a:pt x="522851" y="580645"/>
                        <a:pt x="522851" y="576386"/>
                        <a:pt x="525298" y="582636"/>
                      </a:cubicBezTo>
                      <a:cubicBezTo>
                        <a:pt x="528733" y="591458"/>
                        <a:pt x="533487" y="582585"/>
                        <a:pt x="537924" y="588137"/>
                      </a:cubicBezTo>
                      <a:cubicBezTo>
                        <a:pt x="542994" y="594437"/>
                        <a:pt x="517793" y="600788"/>
                        <a:pt x="512444" y="601739"/>
                      </a:cubicBezTo>
                      <a:cubicBezTo>
                        <a:pt x="504153" y="603210"/>
                        <a:pt x="490983" y="604072"/>
                        <a:pt x="483047" y="600712"/>
                      </a:cubicBezTo>
                      <a:cubicBezTo>
                        <a:pt x="481501" y="600040"/>
                        <a:pt x="485278" y="595794"/>
                        <a:pt x="479586" y="594767"/>
                      </a:cubicBezTo>
                      <a:cubicBezTo>
                        <a:pt x="473806" y="593740"/>
                        <a:pt x="468152" y="599077"/>
                        <a:pt x="464299" y="602601"/>
                      </a:cubicBezTo>
                      <a:cubicBezTo>
                        <a:pt x="459773" y="606734"/>
                        <a:pt x="459925" y="608470"/>
                        <a:pt x="455945" y="614580"/>
                      </a:cubicBezTo>
                      <a:cubicBezTo>
                        <a:pt x="449923" y="623860"/>
                        <a:pt x="443598" y="619461"/>
                        <a:pt x="436702" y="624823"/>
                      </a:cubicBezTo>
                      <a:cubicBezTo>
                        <a:pt x="424203" y="634546"/>
                        <a:pt x="429692" y="654004"/>
                        <a:pt x="431466" y="665781"/>
                      </a:cubicBezTo>
                      <a:cubicBezTo>
                        <a:pt x="434179" y="683934"/>
                        <a:pt x="417345" y="691527"/>
                        <a:pt x="432848" y="704584"/>
                      </a:cubicBezTo>
                      <a:cubicBezTo>
                        <a:pt x="418726" y="722039"/>
                        <a:pt x="383486" y="725044"/>
                        <a:pt x="362164" y="730951"/>
                      </a:cubicBezTo>
                      <a:cubicBezTo>
                        <a:pt x="346052" y="735413"/>
                        <a:pt x="335366" y="737150"/>
                        <a:pt x="318899" y="735793"/>
                      </a:cubicBezTo>
                      <a:cubicBezTo>
                        <a:pt x="303586" y="734551"/>
                        <a:pt x="286472" y="735274"/>
                        <a:pt x="272591" y="742550"/>
                      </a:cubicBezTo>
                      <a:cubicBezTo>
                        <a:pt x="262083" y="748039"/>
                        <a:pt x="272591" y="750156"/>
                        <a:pt x="257747" y="746936"/>
                      </a:cubicBezTo>
                      <a:cubicBezTo>
                        <a:pt x="248734" y="744984"/>
                        <a:pt x="238327" y="742182"/>
                        <a:pt x="229136" y="741701"/>
                      </a:cubicBezTo>
                      <a:cubicBezTo>
                        <a:pt x="216891" y="741029"/>
                        <a:pt x="203593" y="743666"/>
                        <a:pt x="191297" y="744768"/>
                      </a:cubicBezTo>
                      <a:cubicBezTo>
                        <a:pt x="180053" y="745757"/>
                        <a:pt x="168809" y="746898"/>
                        <a:pt x="157552" y="747747"/>
                      </a:cubicBezTo>
                      <a:cubicBezTo>
                        <a:pt x="141985" y="748914"/>
                        <a:pt x="128966" y="744046"/>
                        <a:pt x="114211" y="739558"/>
                      </a:cubicBezTo>
                      <a:cubicBezTo>
                        <a:pt x="85194" y="730697"/>
                        <a:pt x="54783" y="723522"/>
                        <a:pt x="26553" y="712494"/>
                      </a:cubicBezTo>
                      <a:cubicBezTo>
                        <a:pt x="41397" y="696116"/>
                        <a:pt x="56038" y="679548"/>
                        <a:pt x="70642" y="662967"/>
                      </a:cubicBezTo>
                      <a:cubicBezTo>
                        <a:pt x="81467" y="650658"/>
                        <a:pt x="95500" y="639845"/>
                        <a:pt x="97516" y="624443"/>
                      </a:cubicBezTo>
                      <a:cubicBezTo>
                        <a:pt x="98720" y="615227"/>
                        <a:pt x="96616" y="608344"/>
                        <a:pt x="92914" y="599331"/>
                      </a:cubicBezTo>
                      <a:cubicBezTo>
                        <a:pt x="86513" y="583739"/>
                        <a:pt x="65774" y="586464"/>
                        <a:pt x="48661" y="584144"/>
                      </a:cubicBezTo>
                      <a:cubicBezTo>
                        <a:pt x="43641" y="583447"/>
                        <a:pt x="28594" y="584005"/>
                        <a:pt x="24892" y="580253"/>
                      </a:cubicBezTo>
                      <a:cubicBezTo>
                        <a:pt x="20798" y="576107"/>
                        <a:pt x="22813" y="556522"/>
                        <a:pt x="22547" y="551337"/>
                      </a:cubicBezTo>
                      <a:cubicBezTo>
                        <a:pt x="21926" y="538547"/>
                        <a:pt x="26692" y="529420"/>
                        <a:pt x="24879" y="516477"/>
                      </a:cubicBezTo>
                      <a:cubicBezTo>
                        <a:pt x="21951" y="495434"/>
                        <a:pt x="5649" y="473706"/>
                        <a:pt x="5713" y="452536"/>
                      </a:cubicBezTo>
                      <a:cubicBezTo>
                        <a:pt x="5776" y="438275"/>
                        <a:pt x="22116" y="427881"/>
                        <a:pt x="26933" y="416675"/>
                      </a:cubicBezTo>
                      <a:cubicBezTo>
                        <a:pt x="27871" y="414520"/>
                        <a:pt x="34450" y="418056"/>
                        <a:pt x="30939" y="413265"/>
                      </a:cubicBezTo>
                      <a:cubicBezTo>
                        <a:pt x="28784" y="410349"/>
                        <a:pt x="23827" y="412174"/>
                        <a:pt x="21102" y="411528"/>
                      </a:cubicBezTo>
                      <a:cubicBezTo>
                        <a:pt x="10770" y="409094"/>
                        <a:pt x="1605" y="410476"/>
                        <a:pt x="426" y="397419"/>
                      </a:cubicBezTo>
                      <a:cubicBezTo>
                        <a:pt x="110" y="393882"/>
                        <a:pt x="2417" y="387810"/>
                        <a:pt x="2417" y="383551"/>
                      </a:cubicBezTo>
                      <a:cubicBezTo>
                        <a:pt x="2391" y="378290"/>
                        <a:pt x="-702" y="372357"/>
                        <a:pt x="148" y="367097"/>
                      </a:cubicBezTo>
                      <a:cubicBezTo>
                        <a:pt x="1529" y="358413"/>
                        <a:pt x="9604" y="355510"/>
                        <a:pt x="11721" y="349514"/>
                      </a:cubicBezTo>
                      <a:cubicBezTo>
                        <a:pt x="17793" y="349197"/>
                        <a:pt x="23891" y="348830"/>
                        <a:pt x="29963" y="348488"/>
                      </a:cubicBezTo>
                      <a:cubicBezTo>
                        <a:pt x="25729" y="342479"/>
                        <a:pt x="21026" y="336242"/>
                        <a:pt x="15866" y="332109"/>
                      </a:cubicBezTo>
                      <a:cubicBezTo>
                        <a:pt x="20278" y="328230"/>
                        <a:pt x="25019" y="327926"/>
                        <a:pt x="29861" y="323388"/>
                      </a:cubicBezTo>
                      <a:cubicBezTo>
                        <a:pt x="33969" y="319509"/>
                        <a:pt x="32574" y="318495"/>
                        <a:pt x="35781" y="314236"/>
                      </a:cubicBezTo>
                      <a:cubicBezTo>
                        <a:pt x="42196" y="305654"/>
                        <a:pt x="45808" y="298238"/>
                        <a:pt x="46911" y="286347"/>
                      </a:cubicBezTo>
                      <a:cubicBezTo>
                        <a:pt x="47228" y="282823"/>
                        <a:pt x="45910" y="277106"/>
                        <a:pt x="46392" y="274685"/>
                      </a:cubicBezTo>
                      <a:cubicBezTo>
                        <a:pt x="46658" y="273303"/>
                        <a:pt x="45466" y="271528"/>
                        <a:pt x="45859" y="269652"/>
                      </a:cubicBezTo>
                      <a:cubicBezTo>
                        <a:pt x="46468" y="266737"/>
                        <a:pt x="50118" y="269132"/>
                        <a:pt x="50828" y="267459"/>
                      </a:cubicBezTo>
                      <a:cubicBezTo>
                        <a:pt x="53097" y="262173"/>
                        <a:pt x="61565" y="246340"/>
                        <a:pt x="58016" y="240293"/>
                      </a:cubicBezTo>
                      <a:cubicBezTo>
                        <a:pt x="66357" y="236985"/>
                        <a:pt x="63429" y="242512"/>
                        <a:pt x="67422" y="245884"/>
                      </a:cubicBezTo>
                      <a:cubicBezTo>
                        <a:pt x="76549" y="253591"/>
                        <a:pt x="85321" y="258066"/>
                        <a:pt x="97858" y="256887"/>
                      </a:cubicBezTo>
                      <a:cubicBezTo>
                        <a:pt x="109698" y="255759"/>
                        <a:pt x="119434" y="255163"/>
                        <a:pt x="128180" y="266394"/>
                      </a:cubicBezTo>
                      <a:cubicBezTo>
                        <a:pt x="129740" y="268397"/>
                        <a:pt x="130031" y="275674"/>
                        <a:pt x="130969" y="276333"/>
                      </a:cubicBezTo>
                      <a:cubicBezTo>
                        <a:pt x="139298" y="282164"/>
                        <a:pt x="132833" y="272631"/>
                        <a:pt x="142746" y="269551"/>
                      </a:cubicBezTo>
                      <a:cubicBezTo>
                        <a:pt x="150035" y="267294"/>
                        <a:pt x="153977" y="274964"/>
                        <a:pt x="164372" y="270590"/>
                      </a:cubicBezTo>
                      <a:cubicBezTo>
                        <a:pt x="168289" y="268942"/>
                        <a:pt x="172472" y="264189"/>
                        <a:pt x="176529" y="262021"/>
                      </a:cubicBezTo>
                      <a:cubicBezTo>
                        <a:pt x="178836" y="260753"/>
                        <a:pt x="190055" y="257584"/>
                        <a:pt x="191360" y="255949"/>
                      </a:cubicBezTo>
                      <a:cubicBezTo>
                        <a:pt x="193718" y="252919"/>
                        <a:pt x="191424" y="247950"/>
                        <a:pt x="191880" y="246302"/>
                      </a:cubicBezTo>
                      <a:cubicBezTo>
                        <a:pt x="192374" y="244527"/>
                        <a:pt x="190612" y="241574"/>
                        <a:pt x="191588" y="239774"/>
                      </a:cubicBezTo>
                      <a:cubicBezTo>
                        <a:pt x="192958" y="237238"/>
                        <a:pt x="199879" y="237530"/>
                        <a:pt x="200310" y="235578"/>
                      </a:cubicBezTo>
                      <a:cubicBezTo>
                        <a:pt x="201261" y="231052"/>
                        <a:pt x="189776" y="227211"/>
                        <a:pt x="193021" y="220911"/>
                      </a:cubicBezTo>
                      <a:cubicBezTo>
                        <a:pt x="194707" y="217640"/>
                        <a:pt x="208803" y="220734"/>
                        <a:pt x="212124" y="220214"/>
                      </a:cubicBezTo>
                      <a:cubicBezTo>
                        <a:pt x="219135" y="219136"/>
                        <a:pt x="222190" y="214497"/>
                        <a:pt x="227590" y="212469"/>
                      </a:cubicBezTo>
                      <a:cubicBezTo>
                        <a:pt x="236717" y="209033"/>
                        <a:pt x="253843" y="203100"/>
                        <a:pt x="263224" y="208425"/>
                      </a:cubicBezTo>
                      <a:cubicBezTo>
                        <a:pt x="257925" y="194278"/>
                        <a:pt x="273872" y="198081"/>
                        <a:pt x="279564" y="195520"/>
                      </a:cubicBezTo>
                      <a:cubicBezTo>
                        <a:pt x="280464" y="195114"/>
                        <a:pt x="288893" y="189131"/>
                        <a:pt x="290263" y="188168"/>
                      </a:cubicBezTo>
                      <a:cubicBezTo>
                        <a:pt x="294433" y="185239"/>
                        <a:pt x="296385" y="184149"/>
                        <a:pt x="299605" y="179700"/>
                      </a:cubicBezTo>
                      <a:cubicBezTo>
                        <a:pt x="306045" y="170775"/>
                        <a:pt x="302204" y="166896"/>
                        <a:pt x="303408" y="157807"/>
                      </a:cubicBezTo>
                      <a:cubicBezTo>
                        <a:pt x="304840" y="147172"/>
                        <a:pt x="315134" y="140085"/>
                        <a:pt x="317213" y="129995"/>
                      </a:cubicBezTo>
                      <a:cubicBezTo>
                        <a:pt x="320166" y="115658"/>
                        <a:pt x="312801" y="113237"/>
                        <a:pt x="331626" y="106683"/>
                      </a:cubicBezTo>
                      <a:cubicBezTo>
                        <a:pt x="344188" y="102322"/>
                        <a:pt x="360795" y="108419"/>
                        <a:pt x="372204" y="102956"/>
                      </a:cubicBezTo>
                      <a:cubicBezTo>
                        <a:pt x="382776" y="97898"/>
                        <a:pt x="376729" y="91040"/>
                        <a:pt x="380836" y="83916"/>
                      </a:cubicBezTo>
                      <a:cubicBezTo>
                        <a:pt x="383777" y="78820"/>
                        <a:pt x="388759" y="80468"/>
                        <a:pt x="390103" y="75055"/>
                      </a:cubicBezTo>
                      <a:cubicBezTo>
                        <a:pt x="400941" y="85297"/>
                        <a:pt x="422643" y="95274"/>
                        <a:pt x="437412" y="94589"/>
                      </a:cubicBezTo>
                      <a:cubicBezTo>
                        <a:pt x="443154" y="94323"/>
                        <a:pt x="450050" y="95033"/>
                        <a:pt x="457580" y="94932"/>
                      </a:cubicBezTo>
                      <a:cubicBezTo>
                        <a:pt x="468165" y="94818"/>
                        <a:pt x="478141" y="88695"/>
                        <a:pt x="488447" y="94843"/>
                      </a:cubicBezTo>
                      <a:cubicBezTo>
                        <a:pt x="494177" y="98240"/>
                        <a:pt x="495850" y="107355"/>
                        <a:pt x="503203" y="107722"/>
                      </a:cubicBezTo>
                      <a:cubicBezTo>
                        <a:pt x="508730" y="107989"/>
                        <a:pt x="517134" y="102309"/>
                        <a:pt x="520912" y="101828"/>
                      </a:cubicBezTo>
                      <a:cubicBezTo>
                        <a:pt x="520341" y="101904"/>
                        <a:pt x="522915" y="104997"/>
                        <a:pt x="523954" y="105174"/>
                      </a:cubicBezTo>
                      <a:cubicBezTo>
                        <a:pt x="524601" y="105276"/>
                        <a:pt x="525729" y="102170"/>
                        <a:pt x="527643" y="102652"/>
                      </a:cubicBezTo>
                      <a:cubicBezTo>
                        <a:pt x="529646" y="103159"/>
                        <a:pt x="536212" y="103767"/>
                        <a:pt x="537531" y="105022"/>
                      </a:cubicBezTo>
                      <a:cubicBezTo>
                        <a:pt x="540789" y="108141"/>
                        <a:pt x="538913" y="113262"/>
                        <a:pt x="541435" y="117027"/>
                      </a:cubicBezTo>
                      <a:cubicBezTo>
                        <a:pt x="542361" y="118396"/>
                        <a:pt x="549193" y="122541"/>
                        <a:pt x="551222" y="123974"/>
                      </a:cubicBezTo>
                      <a:cubicBezTo>
                        <a:pt x="560615" y="130527"/>
                        <a:pt x="559461" y="130046"/>
                        <a:pt x="570325" y="122402"/>
                      </a:cubicBezTo>
                      <a:cubicBezTo>
                        <a:pt x="571986" y="121235"/>
                        <a:pt x="574749" y="123454"/>
                        <a:pt x="576929" y="121996"/>
                      </a:cubicBezTo>
                      <a:cubicBezTo>
                        <a:pt x="577792" y="121413"/>
                        <a:pt x="575307" y="116608"/>
                        <a:pt x="576904" y="115328"/>
                      </a:cubicBezTo>
                      <a:cubicBezTo>
                        <a:pt x="580834" y="112172"/>
                        <a:pt x="586754" y="118890"/>
                        <a:pt x="585461" y="111234"/>
                      </a:cubicBezTo>
                      <a:cubicBezTo>
                        <a:pt x="592154" y="112045"/>
                        <a:pt x="601535" y="107114"/>
                        <a:pt x="605223" y="103146"/>
                      </a:cubicBezTo>
                      <a:cubicBezTo>
                        <a:pt x="605388" y="101764"/>
                        <a:pt x="604285" y="102259"/>
                        <a:pt x="604209" y="101409"/>
                      </a:cubicBezTo>
                      <a:cubicBezTo>
                        <a:pt x="608012" y="99736"/>
                        <a:pt x="612500" y="100776"/>
                        <a:pt x="616252" y="102829"/>
                      </a:cubicBezTo>
                      <a:cubicBezTo>
                        <a:pt x="614997" y="94843"/>
                        <a:pt x="618762" y="95350"/>
                        <a:pt x="623338" y="100433"/>
                      </a:cubicBezTo>
                      <a:cubicBezTo>
                        <a:pt x="622857" y="99736"/>
                        <a:pt x="621830" y="96478"/>
                        <a:pt x="621234" y="95413"/>
                      </a:cubicBezTo>
                      <a:cubicBezTo>
                        <a:pt x="635799" y="94336"/>
                        <a:pt x="636484" y="118738"/>
                        <a:pt x="653014" y="113959"/>
                      </a:cubicBezTo>
                      <a:cubicBezTo>
                        <a:pt x="669988" y="109066"/>
                        <a:pt x="654129" y="96795"/>
                        <a:pt x="657501" y="86971"/>
                      </a:cubicBezTo>
                      <a:cubicBezTo>
                        <a:pt x="662128" y="73559"/>
                        <a:pt x="680129" y="72887"/>
                        <a:pt x="691500" y="73356"/>
                      </a:cubicBezTo>
                      <a:cubicBezTo>
                        <a:pt x="698865" y="73660"/>
                        <a:pt x="697547" y="75587"/>
                        <a:pt x="704037" y="77552"/>
                      </a:cubicBezTo>
                      <a:cubicBezTo>
                        <a:pt x="710451" y="79492"/>
                        <a:pt x="713544" y="78300"/>
                        <a:pt x="718932" y="72951"/>
                      </a:cubicBezTo>
                      <a:cubicBezTo>
                        <a:pt x="721911" y="69997"/>
                        <a:pt x="724624" y="67487"/>
                        <a:pt x="723939" y="61770"/>
                      </a:cubicBezTo>
                      <a:cubicBezTo>
                        <a:pt x="723064" y="54443"/>
                        <a:pt x="713380" y="51768"/>
                        <a:pt x="716194" y="43731"/>
                      </a:cubicBezTo>
                      <a:cubicBezTo>
                        <a:pt x="719173" y="45202"/>
                        <a:pt x="720022" y="43833"/>
                        <a:pt x="722798" y="44302"/>
                      </a:cubicBezTo>
                      <a:cubicBezTo>
                        <a:pt x="722836" y="40118"/>
                        <a:pt x="728452" y="36683"/>
                        <a:pt x="732534" y="32639"/>
                      </a:cubicBezTo>
                      <a:cubicBezTo>
                        <a:pt x="737909" y="27264"/>
                        <a:pt x="742345" y="21421"/>
                        <a:pt x="746541" y="15615"/>
                      </a:cubicBezTo>
                      <a:cubicBezTo>
                        <a:pt x="753856" y="5588"/>
                        <a:pt x="753463" y="4028"/>
                        <a:pt x="767027" y="568"/>
                      </a:cubicBezTo>
                      <a:cubicBezTo>
                        <a:pt x="776420" y="-1816"/>
                        <a:pt x="784444" y="3559"/>
                        <a:pt x="795080" y="11939"/>
                      </a:cubicBezTo>
                      <a:cubicBezTo>
                        <a:pt x="804486" y="19342"/>
                        <a:pt x="805221" y="19760"/>
                        <a:pt x="800746" y="32031"/>
                      </a:cubicBezTo>
                      <a:cubicBezTo>
                        <a:pt x="798300" y="38838"/>
                        <a:pt x="792722" y="44859"/>
                        <a:pt x="801456" y="47800"/>
                      </a:cubicBezTo>
                      <a:cubicBezTo>
                        <a:pt x="807135" y="49715"/>
                        <a:pt x="817467" y="37786"/>
                        <a:pt x="821346" y="48079"/>
                      </a:cubicBezTo>
                      <a:cubicBezTo>
                        <a:pt x="823133" y="52795"/>
                        <a:pt x="818303" y="58246"/>
                        <a:pt x="817150" y="61643"/>
                      </a:cubicBezTo>
                      <a:cubicBezTo>
                        <a:pt x="812485" y="75359"/>
                        <a:pt x="813626" y="92105"/>
                        <a:pt x="810685" y="106264"/>
                      </a:cubicBezTo>
                      <a:cubicBezTo>
                        <a:pt x="808339" y="117661"/>
                        <a:pt x="811711" y="137398"/>
                        <a:pt x="820091" y="146614"/>
                      </a:cubicBezTo>
                      <a:cubicBezTo>
                        <a:pt x="836063" y="164171"/>
                        <a:pt x="858500" y="131909"/>
                        <a:pt x="872546" y="126053"/>
                      </a:cubicBezTo>
                      <a:cubicBezTo>
                        <a:pt x="878935" y="123403"/>
                        <a:pt x="884411" y="124214"/>
                        <a:pt x="890762" y="122921"/>
                      </a:cubicBezTo>
                      <a:cubicBezTo>
                        <a:pt x="901803" y="120640"/>
                        <a:pt x="898584" y="121033"/>
                        <a:pt x="905011" y="113034"/>
                      </a:cubicBezTo>
                      <a:cubicBezTo>
                        <a:pt x="913504" y="102500"/>
                        <a:pt x="920324" y="102855"/>
                        <a:pt x="931758" y="96427"/>
                      </a:cubicBezTo>
                      <a:cubicBezTo>
                        <a:pt x="938020" y="92916"/>
                        <a:pt x="940632" y="86996"/>
                        <a:pt x="948554" y="84550"/>
                      </a:cubicBezTo>
                      <a:cubicBezTo>
                        <a:pt x="958987" y="81330"/>
                        <a:pt x="969661" y="87757"/>
                        <a:pt x="980968" y="87744"/>
                      </a:cubicBezTo>
                      <a:cubicBezTo>
                        <a:pt x="981792" y="97505"/>
                        <a:pt x="959025" y="107532"/>
                        <a:pt x="981235" y="104566"/>
                      </a:cubicBezTo>
                      <a:cubicBezTo>
                        <a:pt x="996700" y="102512"/>
                        <a:pt x="1011950" y="92650"/>
                        <a:pt x="1022522" y="87858"/>
                      </a:cubicBezTo>
                      <a:cubicBezTo>
                        <a:pt x="1025070" y="90102"/>
                        <a:pt x="1032701" y="92092"/>
                        <a:pt x="1037696" y="92219"/>
                      </a:cubicBezTo>
                      <a:cubicBezTo>
                        <a:pt x="1052109" y="92637"/>
                        <a:pt x="1054087" y="95337"/>
                        <a:pt x="1065026" y="104515"/>
                      </a:cubicBezTo>
                      <a:lnTo>
                        <a:pt x="1065026" y="104515"/>
                      </a:lnTo>
                      <a:close/>
                    </a:path>
                  </a:pathLst>
                </a:custGeom>
                <a:solidFill>
                  <a:srgbClr val="D6D6D2"/>
                </a:solidFill>
                <a:ln w="12413" cap="rnd">
                  <a:solidFill>
                    <a:srgbClr val="FFFFFF"/>
                  </a:solidFill>
                  <a:prstDash val="solid"/>
                  <a:round/>
                </a:ln>
              </p:spPr>
              <p:txBody>
                <a:bodyPr rtlCol="0" anchor="ctr"/>
                <a:lstStyle/>
                <a:p>
                  <a:endParaRPr lang="en-US"/>
                </a:p>
              </p:txBody>
            </p:sp>
            <p:sp>
              <p:nvSpPr>
                <p:cNvPr id="104" name="Freeform: Shape 103">
                  <a:extLst>
                    <a:ext uri="{FF2B5EF4-FFF2-40B4-BE49-F238E27FC236}">
                      <a16:creationId xmlns:a16="http://schemas.microsoft.com/office/drawing/2014/main" id="{BE510234-D2D4-455D-848F-226ACA86009C}"/>
                    </a:ext>
                  </a:extLst>
                </p:cNvPr>
                <p:cNvSpPr/>
                <p:nvPr/>
              </p:nvSpPr>
              <p:spPr>
                <a:xfrm>
                  <a:off x="7271128" y="6789166"/>
                  <a:ext cx="29151" cy="62368"/>
                </a:xfrm>
                <a:custGeom>
                  <a:avLst/>
                  <a:gdLst>
                    <a:gd name="connsiteX0" fmla="*/ 22323 w 29151"/>
                    <a:gd name="connsiteY0" fmla="*/ 0 h 62368"/>
                    <a:gd name="connsiteX1" fmla="*/ 12677 w 29151"/>
                    <a:gd name="connsiteY1" fmla="*/ 6237 h 62368"/>
                    <a:gd name="connsiteX2" fmla="*/ 3169 w 29151"/>
                    <a:gd name="connsiteY2" fmla="*/ 37421 h 62368"/>
                    <a:gd name="connsiteX3" fmla="*/ 3169 w 29151"/>
                    <a:gd name="connsiteY3" fmla="*/ 59250 h 62368"/>
                    <a:gd name="connsiteX4" fmla="*/ 0 w 29151"/>
                    <a:gd name="connsiteY4" fmla="*/ 62368 h 62368"/>
                    <a:gd name="connsiteX5" fmla="*/ 15846 w 29151"/>
                    <a:gd name="connsiteY5" fmla="*/ 62368 h 62368"/>
                    <a:gd name="connsiteX6" fmla="*/ 25492 w 29151"/>
                    <a:gd name="connsiteY6" fmla="*/ 31185 h 62368"/>
                    <a:gd name="connsiteX7" fmla="*/ 25492 w 29151"/>
                    <a:gd name="connsiteY7" fmla="*/ 12474 h 62368"/>
                    <a:gd name="connsiteX8" fmla="*/ 22323 w 29151"/>
                    <a:gd name="connsiteY8" fmla="*/ 0 h 62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51" h="62368">
                      <a:moveTo>
                        <a:pt x="22323" y="0"/>
                      </a:moveTo>
                      <a:cubicBezTo>
                        <a:pt x="19154" y="0"/>
                        <a:pt x="19154" y="0"/>
                        <a:pt x="12677" y="6237"/>
                      </a:cubicBezTo>
                      <a:cubicBezTo>
                        <a:pt x="35000" y="15579"/>
                        <a:pt x="6338" y="31185"/>
                        <a:pt x="3169" y="37421"/>
                      </a:cubicBezTo>
                      <a:cubicBezTo>
                        <a:pt x="12677" y="37421"/>
                        <a:pt x="3169" y="53000"/>
                        <a:pt x="3169" y="59250"/>
                      </a:cubicBezTo>
                      <a:cubicBezTo>
                        <a:pt x="3169" y="59250"/>
                        <a:pt x="0" y="59250"/>
                        <a:pt x="0" y="62368"/>
                      </a:cubicBezTo>
                      <a:cubicBezTo>
                        <a:pt x="15846" y="62368"/>
                        <a:pt x="15846" y="62368"/>
                        <a:pt x="15846" y="62368"/>
                      </a:cubicBezTo>
                      <a:cubicBezTo>
                        <a:pt x="19154" y="49894"/>
                        <a:pt x="22323" y="40540"/>
                        <a:pt x="25492" y="31185"/>
                      </a:cubicBezTo>
                      <a:cubicBezTo>
                        <a:pt x="31831" y="18711"/>
                        <a:pt x="28661" y="21829"/>
                        <a:pt x="25492" y="12474"/>
                      </a:cubicBezTo>
                      <a:cubicBezTo>
                        <a:pt x="25492" y="3118"/>
                        <a:pt x="25492" y="0"/>
                        <a:pt x="22323" y="0"/>
                      </a:cubicBezTo>
                    </a:path>
                  </a:pathLst>
                </a:custGeom>
                <a:solidFill>
                  <a:srgbClr val="D6D6D2"/>
                </a:solidFill>
                <a:ln w="12413" cap="rnd">
                  <a:solidFill>
                    <a:srgbClr val="FFFFFF"/>
                  </a:solidFill>
                  <a:prstDash val="solid"/>
                  <a:round/>
                </a:ln>
              </p:spPr>
              <p:txBody>
                <a:bodyPr rtlCol="0" anchor="ctr"/>
                <a:lstStyle/>
                <a:p>
                  <a:endParaRPr lang="en-US"/>
                </a:p>
              </p:txBody>
            </p:sp>
            <p:sp>
              <p:nvSpPr>
                <p:cNvPr id="105" name="Freeform: Shape 104">
                  <a:extLst>
                    <a:ext uri="{FF2B5EF4-FFF2-40B4-BE49-F238E27FC236}">
                      <a16:creationId xmlns:a16="http://schemas.microsoft.com/office/drawing/2014/main" id="{B85A265A-DD0B-4CC0-9477-0577402F34E5}"/>
                    </a:ext>
                  </a:extLst>
                </p:cNvPr>
                <p:cNvSpPr/>
                <p:nvPr/>
              </p:nvSpPr>
              <p:spPr>
                <a:xfrm>
                  <a:off x="4321579" y="5709126"/>
                  <a:ext cx="2946531" cy="1142408"/>
                </a:xfrm>
                <a:custGeom>
                  <a:avLst/>
                  <a:gdLst>
                    <a:gd name="connsiteX0" fmla="*/ 2170335 w 2946531"/>
                    <a:gd name="connsiteY0" fmla="*/ 0 h 1142408"/>
                    <a:gd name="connsiteX1" fmla="*/ 2141813 w 2946531"/>
                    <a:gd name="connsiteY1" fmla="*/ 18990 h 1142408"/>
                    <a:gd name="connsiteX2" fmla="*/ 2125968 w 2946531"/>
                    <a:gd name="connsiteY2" fmla="*/ 98104 h 1142408"/>
                    <a:gd name="connsiteX3" fmla="*/ 2122798 w 2946531"/>
                    <a:gd name="connsiteY3" fmla="*/ 94935 h 1142408"/>
                    <a:gd name="connsiteX4" fmla="*/ 2103784 w 2946531"/>
                    <a:gd name="connsiteY4" fmla="*/ 136070 h 1142408"/>
                    <a:gd name="connsiteX5" fmla="*/ 2110122 w 2946531"/>
                    <a:gd name="connsiteY5" fmla="*/ 132914 h 1142408"/>
                    <a:gd name="connsiteX6" fmla="*/ 2116460 w 2946531"/>
                    <a:gd name="connsiteY6" fmla="*/ 132914 h 1142408"/>
                    <a:gd name="connsiteX7" fmla="*/ 2125968 w 2946531"/>
                    <a:gd name="connsiteY7" fmla="*/ 148734 h 1142408"/>
                    <a:gd name="connsiteX8" fmla="*/ 2125968 w 2946531"/>
                    <a:gd name="connsiteY8" fmla="*/ 164554 h 1142408"/>
                    <a:gd name="connsiteX9" fmla="*/ 2119629 w 2946531"/>
                    <a:gd name="connsiteY9" fmla="*/ 148734 h 1142408"/>
                    <a:gd name="connsiteX10" fmla="*/ 2119629 w 2946531"/>
                    <a:gd name="connsiteY10" fmla="*/ 148734 h 1142408"/>
                    <a:gd name="connsiteX11" fmla="*/ 2103784 w 2946531"/>
                    <a:gd name="connsiteY11" fmla="*/ 164554 h 1142408"/>
                    <a:gd name="connsiteX12" fmla="*/ 2110122 w 2946531"/>
                    <a:gd name="connsiteY12" fmla="*/ 189869 h 1142408"/>
                    <a:gd name="connsiteX13" fmla="*/ 2100615 w 2946531"/>
                    <a:gd name="connsiteY13" fmla="*/ 212028 h 1142408"/>
                    <a:gd name="connsiteX14" fmla="*/ 2097445 w 2946531"/>
                    <a:gd name="connsiteY14" fmla="*/ 221522 h 1142408"/>
                    <a:gd name="connsiteX15" fmla="*/ 2094276 w 2946531"/>
                    <a:gd name="connsiteY15" fmla="*/ 234161 h 1142408"/>
                    <a:gd name="connsiteX16" fmla="*/ 2097445 w 2946531"/>
                    <a:gd name="connsiteY16" fmla="*/ 249994 h 1142408"/>
                    <a:gd name="connsiteX17" fmla="*/ 2100615 w 2946531"/>
                    <a:gd name="connsiteY17" fmla="*/ 281635 h 1142408"/>
                    <a:gd name="connsiteX18" fmla="*/ 2103784 w 2946531"/>
                    <a:gd name="connsiteY18" fmla="*/ 310119 h 1142408"/>
                    <a:gd name="connsiteX19" fmla="*/ 2106953 w 2946531"/>
                    <a:gd name="connsiteY19" fmla="*/ 322770 h 1142408"/>
                    <a:gd name="connsiteX20" fmla="*/ 2103784 w 2946531"/>
                    <a:gd name="connsiteY20" fmla="*/ 344928 h 1142408"/>
                    <a:gd name="connsiteX21" fmla="*/ 2087938 w 2946531"/>
                    <a:gd name="connsiteY21" fmla="*/ 395558 h 1142408"/>
                    <a:gd name="connsiteX22" fmla="*/ 2091107 w 2946531"/>
                    <a:gd name="connsiteY22" fmla="*/ 405053 h 1142408"/>
                    <a:gd name="connsiteX23" fmla="*/ 2081600 w 2946531"/>
                    <a:gd name="connsiteY23" fmla="*/ 424043 h 1142408"/>
                    <a:gd name="connsiteX24" fmla="*/ 2062585 w 2946531"/>
                    <a:gd name="connsiteY24" fmla="*/ 471503 h 1142408"/>
                    <a:gd name="connsiteX25" fmla="*/ 2046739 w 2946531"/>
                    <a:gd name="connsiteY25" fmla="*/ 509482 h 1142408"/>
                    <a:gd name="connsiteX26" fmla="*/ 2008710 w 2946531"/>
                    <a:gd name="connsiteY26" fmla="*/ 528472 h 1142408"/>
                    <a:gd name="connsiteX27" fmla="*/ 1992864 w 2946531"/>
                    <a:gd name="connsiteY27" fmla="*/ 531628 h 1142408"/>
                    <a:gd name="connsiteX28" fmla="*/ 1986526 w 2946531"/>
                    <a:gd name="connsiteY28" fmla="*/ 531628 h 1142408"/>
                    <a:gd name="connsiteX29" fmla="*/ 1954834 w 2946531"/>
                    <a:gd name="connsiteY29" fmla="*/ 509482 h 1142408"/>
                    <a:gd name="connsiteX30" fmla="*/ 1923143 w 2946531"/>
                    <a:gd name="connsiteY30" fmla="*/ 487336 h 1142408"/>
                    <a:gd name="connsiteX31" fmla="*/ 1916805 w 2946531"/>
                    <a:gd name="connsiteY31" fmla="*/ 477842 h 1142408"/>
                    <a:gd name="connsiteX32" fmla="*/ 1897790 w 2946531"/>
                    <a:gd name="connsiteY32" fmla="*/ 465178 h 1142408"/>
                    <a:gd name="connsiteX33" fmla="*/ 1834407 w 2946531"/>
                    <a:gd name="connsiteY33" fmla="*/ 443032 h 1142408"/>
                    <a:gd name="connsiteX34" fmla="*/ 1834407 w 2946531"/>
                    <a:gd name="connsiteY34" fmla="*/ 443032 h 1142408"/>
                    <a:gd name="connsiteX35" fmla="*/ 1796378 w 2946531"/>
                    <a:gd name="connsiteY35" fmla="*/ 420874 h 1142408"/>
                    <a:gd name="connsiteX36" fmla="*/ 1755179 w 2946531"/>
                    <a:gd name="connsiteY36" fmla="*/ 392389 h 1142408"/>
                    <a:gd name="connsiteX37" fmla="*/ 1755179 w 2946531"/>
                    <a:gd name="connsiteY37" fmla="*/ 395558 h 1142408"/>
                    <a:gd name="connsiteX38" fmla="*/ 1748841 w 2946531"/>
                    <a:gd name="connsiteY38" fmla="*/ 395558 h 1142408"/>
                    <a:gd name="connsiteX39" fmla="*/ 1742503 w 2946531"/>
                    <a:gd name="connsiteY39" fmla="*/ 395558 h 1142408"/>
                    <a:gd name="connsiteX40" fmla="*/ 1739334 w 2946531"/>
                    <a:gd name="connsiteY40" fmla="*/ 395558 h 1142408"/>
                    <a:gd name="connsiteX41" fmla="*/ 1736164 w 2946531"/>
                    <a:gd name="connsiteY41" fmla="*/ 392389 h 1142408"/>
                    <a:gd name="connsiteX42" fmla="*/ 1653894 w 2946531"/>
                    <a:gd name="connsiteY42" fmla="*/ 329108 h 1142408"/>
                    <a:gd name="connsiteX43" fmla="*/ 1647556 w 2946531"/>
                    <a:gd name="connsiteY43" fmla="*/ 319613 h 1142408"/>
                    <a:gd name="connsiteX44" fmla="*/ 1666570 w 2946531"/>
                    <a:gd name="connsiteY44" fmla="*/ 275309 h 1142408"/>
                    <a:gd name="connsiteX45" fmla="*/ 1682416 w 2946531"/>
                    <a:gd name="connsiteY45" fmla="*/ 237330 h 1142408"/>
                    <a:gd name="connsiteX46" fmla="*/ 1688754 w 2946531"/>
                    <a:gd name="connsiteY46" fmla="*/ 221522 h 1142408"/>
                    <a:gd name="connsiteX47" fmla="*/ 1682416 w 2946531"/>
                    <a:gd name="connsiteY47" fmla="*/ 227835 h 1142408"/>
                    <a:gd name="connsiteX48" fmla="*/ 1676078 w 2946531"/>
                    <a:gd name="connsiteY48" fmla="*/ 227835 h 1142408"/>
                    <a:gd name="connsiteX49" fmla="*/ 1676078 w 2946531"/>
                    <a:gd name="connsiteY49" fmla="*/ 212028 h 1142408"/>
                    <a:gd name="connsiteX50" fmla="*/ 1682416 w 2946531"/>
                    <a:gd name="connsiteY50" fmla="*/ 196207 h 1142408"/>
                    <a:gd name="connsiteX51" fmla="*/ 1685585 w 2946531"/>
                    <a:gd name="connsiteY51" fmla="*/ 196207 h 1142408"/>
                    <a:gd name="connsiteX52" fmla="*/ 1685585 w 2946531"/>
                    <a:gd name="connsiteY52" fmla="*/ 196207 h 1142408"/>
                    <a:gd name="connsiteX53" fmla="*/ 1714107 w 2946531"/>
                    <a:gd name="connsiteY53" fmla="*/ 183543 h 1142408"/>
                    <a:gd name="connsiteX54" fmla="*/ 1710938 w 2946531"/>
                    <a:gd name="connsiteY54" fmla="*/ 196207 h 1142408"/>
                    <a:gd name="connsiteX55" fmla="*/ 1720319 w 2946531"/>
                    <a:gd name="connsiteY55" fmla="*/ 193038 h 1142408"/>
                    <a:gd name="connsiteX56" fmla="*/ 1726657 w 2946531"/>
                    <a:gd name="connsiteY56" fmla="*/ 170892 h 1142408"/>
                    <a:gd name="connsiteX57" fmla="*/ 1732995 w 2946531"/>
                    <a:gd name="connsiteY57" fmla="*/ 174049 h 1142408"/>
                    <a:gd name="connsiteX58" fmla="*/ 1726657 w 2946531"/>
                    <a:gd name="connsiteY58" fmla="*/ 167723 h 1142408"/>
                    <a:gd name="connsiteX59" fmla="*/ 1726657 w 2946531"/>
                    <a:gd name="connsiteY59" fmla="*/ 167723 h 1142408"/>
                    <a:gd name="connsiteX60" fmla="*/ 1720319 w 2946531"/>
                    <a:gd name="connsiteY60" fmla="*/ 155059 h 1142408"/>
                    <a:gd name="connsiteX61" fmla="*/ 1729826 w 2946531"/>
                    <a:gd name="connsiteY61" fmla="*/ 158228 h 1142408"/>
                    <a:gd name="connsiteX62" fmla="*/ 1732995 w 2946531"/>
                    <a:gd name="connsiteY62" fmla="*/ 151903 h 1142408"/>
                    <a:gd name="connsiteX63" fmla="*/ 1758348 w 2946531"/>
                    <a:gd name="connsiteY63" fmla="*/ 123419 h 1142408"/>
                    <a:gd name="connsiteX64" fmla="*/ 1742503 w 2946531"/>
                    <a:gd name="connsiteY64" fmla="*/ 110755 h 1142408"/>
                    <a:gd name="connsiteX65" fmla="*/ 1736164 w 2946531"/>
                    <a:gd name="connsiteY65" fmla="*/ 117093 h 1142408"/>
                    <a:gd name="connsiteX66" fmla="*/ 1720319 w 2946531"/>
                    <a:gd name="connsiteY66" fmla="*/ 94935 h 1142408"/>
                    <a:gd name="connsiteX67" fmla="*/ 1729826 w 2946531"/>
                    <a:gd name="connsiteY67" fmla="*/ 88609 h 1142408"/>
                    <a:gd name="connsiteX68" fmla="*/ 1704600 w 2946531"/>
                    <a:gd name="connsiteY68" fmla="*/ 107598 h 1142408"/>
                    <a:gd name="connsiteX69" fmla="*/ 1714107 w 2946531"/>
                    <a:gd name="connsiteY69" fmla="*/ 117093 h 1142408"/>
                    <a:gd name="connsiteX70" fmla="*/ 1704600 w 2946531"/>
                    <a:gd name="connsiteY70" fmla="*/ 129744 h 1142408"/>
                    <a:gd name="connsiteX71" fmla="*/ 1701431 w 2946531"/>
                    <a:gd name="connsiteY71" fmla="*/ 129744 h 1142408"/>
                    <a:gd name="connsiteX72" fmla="*/ 1688754 w 2946531"/>
                    <a:gd name="connsiteY72" fmla="*/ 120249 h 1142408"/>
                    <a:gd name="connsiteX73" fmla="*/ 1691923 w 2946531"/>
                    <a:gd name="connsiteY73" fmla="*/ 117093 h 1142408"/>
                    <a:gd name="connsiteX74" fmla="*/ 1682416 w 2946531"/>
                    <a:gd name="connsiteY74" fmla="*/ 110755 h 1142408"/>
                    <a:gd name="connsiteX75" fmla="*/ 1688754 w 2946531"/>
                    <a:gd name="connsiteY75" fmla="*/ 104429 h 1142408"/>
                    <a:gd name="connsiteX76" fmla="*/ 1666570 w 2946531"/>
                    <a:gd name="connsiteY76" fmla="*/ 120249 h 1142408"/>
                    <a:gd name="connsiteX77" fmla="*/ 1679247 w 2946531"/>
                    <a:gd name="connsiteY77" fmla="*/ 94935 h 1142408"/>
                    <a:gd name="connsiteX78" fmla="*/ 1679247 w 2946531"/>
                    <a:gd name="connsiteY78" fmla="*/ 85440 h 1142408"/>
                    <a:gd name="connsiteX79" fmla="*/ 1679247 w 2946531"/>
                    <a:gd name="connsiteY79" fmla="*/ 79114 h 1142408"/>
                    <a:gd name="connsiteX80" fmla="*/ 1676078 w 2946531"/>
                    <a:gd name="connsiteY80" fmla="*/ 82283 h 1142408"/>
                    <a:gd name="connsiteX81" fmla="*/ 1669740 w 2946531"/>
                    <a:gd name="connsiteY81" fmla="*/ 88609 h 1142408"/>
                    <a:gd name="connsiteX82" fmla="*/ 1660232 w 2946531"/>
                    <a:gd name="connsiteY82" fmla="*/ 94935 h 1142408"/>
                    <a:gd name="connsiteX83" fmla="*/ 1653894 w 2946531"/>
                    <a:gd name="connsiteY83" fmla="*/ 101260 h 1142408"/>
                    <a:gd name="connsiteX84" fmla="*/ 1660232 w 2946531"/>
                    <a:gd name="connsiteY84" fmla="*/ 101260 h 1142408"/>
                    <a:gd name="connsiteX85" fmla="*/ 1628541 w 2946531"/>
                    <a:gd name="connsiteY85" fmla="*/ 110755 h 1142408"/>
                    <a:gd name="connsiteX86" fmla="*/ 1638048 w 2946531"/>
                    <a:gd name="connsiteY86" fmla="*/ 113924 h 1142408"/>
                    <a:gd name="connsiteX87" fmla="*/ 1628541 w 2946531"/>
                    <a:gd name="connsiteY87" fmla="*/ 117093 h 1142408"/>
                    <a:gd name="connsiteX88" fmla="*/ 1606357 w 2946531"/>
                    <a:gd name="connsiteY88" fmla="*/ 104429 h 1142408"/>
                    <a:gd name="connsiteX89" fmla="*/ 1593680 w 2946531"/>
                    <a:gd name="connsiteY89" fmla="*/ 94935 h 1142408"/>
                    <a:gd name="connsiteX90" fmla="*/ 1571496 w 2946531"/>
                    <a:gd name="connsiteY90" fmla="*/ 101260 h 1142408"/>
                    <a:gd name="connsiteX91" fmla="*/ 1571496 w 2946531"/>
                    <a:gd name="connsiteY91" fmla="*/ 101260 h 1142408"/>
                    <a:gd name="connsiteX92" fmla="*/ 1558820 w 2946531"/>
                    <a:gd name="connsiteY92" fmla="*/ 101260 h 1142408"/>
                    <a:gd name="connsiteX93" fmla="*/ 1549313 w 2946531"/>
                    <a:gd name="connsiteY93" fmla="*/ 104429 h 1142408"/>
                    <a:gd name="connsiteX94" fmla="*/ 1549313 w 2946531"/>
                    <a:gd name="connsiteY94" fmla="*/ 91778 h 1142408"/>
                    <a:gd name="connsiteX95" fmla="*/ 1530298 w 2946531"/>
                    <a:gd name="connsiteY95" fmla="*/ 79114 h 1142408"/>
                    <a:gd name="connsiteX96" fmla="*/ 1527129 w 2946531"/>
                    <a:gd name="connsiteY96" fmla="*/ 75945 h 1142408"/>
                    <a:gd name="connsiteX97" fmla="*/ 1511283 w 2946531"/>
                    <a:gd name="connsiteY97" fmla="*/ 79114 h 1142408"/>
                    <a:gd name="connsiteX98" fmla="*/ 1501776 w 2946531"/>
                    <a:gd name="connsiteY98" fmla="*/ 85440 h 1142408"/>
                    <a:gd name="connsiteX99" fmla="*/ 1476423 w 2946531"/>
                    <a:gd name="connsiteY99" fmla="*/ 66450 h 1142408"/>
                    <a:gd name="connsiteX100" fmla="*/ 1463746 w 2946531"/>
                    <a:gd name="connsiteY100" fmla="*/ 56969 h 1142408"/>
                    <a:gd name="connsiteX101" fmla="*/ 1457408 w 2946531"/>
                    <a:gd name="connsiteY101" fmla="*/ 50630 h 1142408"/>
                    <a:gd name="connsiteX102" fmla="*/ 1451069 w 2946531"/>
                    <a:gd name="connsiteY102" fmla="*/ 53799 h 1142408"/>
                    <a:gd name="connsiteX103" fmla="*/ 1444731 w 2946531"/>
                    <a:gd name="connsiteY103" fmla="*/ 60125 h 1142408"/>
                    <a:gd name="connsiteX104" fmla="*/ 1441562 w 2946531"/>
                    <a:gd name="connsiteY104" fmla="*/ 60125 h 1142408"/>
                    <a:gd name="connsiteX105" fmla="*/ 1428886 w 2946531"/>
                    <a:gd name="connsiteY105" fmla="*/ 47474 h 1142408"/>
                    <a:gd name="connsiteX106" fmla="*/ 1413040 w 2946531"/>
                    <a:gd name="connsiteY106" fmla="*/ 31641 h 1142408"/>
                    <a:gd name="connsiteX107" fmla="*/ 1409871 w 2946531"/>
                    <a:gd name="connsiteY107" fmla="*/ 41135 h 1142408"/>
                    <a:gd name="connsiteX108" fmla="*/ 1400363 w 2946531"/>
                    <a:gd name="connsiteY108" fmla="*/ 31641 h 1142408"/>
                    <a:gd name="connsiteX109" fmla="*/ 1403533 w 2946531"/>
                    <a:gd name="connsiteY109" fmla="*/ 53799 h 1142408"/>
                    <a:gd name="connsiteX110" fmla="*/ 1384518 w 2946531"/>
                    <a:gd name="connsiteY110" fmla="*/ 34810 h 1142408"/>
                    <a:gd name="connsiteX111" fmla="*/ 1375010 w 2946531"/>
                    <a:gd name="connsiteY111" fmla="*/ 37979 h 1142408"/>
                    <a:gd name="connsiteX112" fmla="*/ 1384518 w 2946531"/>
                    <a:gd name="connsiteY112" fmla="*/ 47474 h 1142408"/>
                    <a:gd name="connsiteX113" fmla="*/ 1387687 w 2946531"/>
                    <a:gd name="connsiteY113" fmla="*/ 53799 h 1142408"/>
                    <a:gd name="connsiteX114" fmla="*/ 1387687 w 2946531"/>
                    <a:gd name="connsiteY114" fmla="*/ 53799 h 1142408"/>
                    <a:gd name="connsiteX115" fmla="*/ 1390856 w 2946531"/>
                    <a:gd name="connsiteY115" fmla="*/ 53799 h 1142408"/>
                    <a:gd name="connsiteX116" fmla="*/ 1390856 w 2946531"/>
                    <a:gd name="connsiteY116" fmla="*/ 53799 h 1142408"/>
                    <a:gd name="connsiteX117" fmla="*/ 1397194 w 2946531"/>
                    <a:gd name="connsiteY117" fmla="*/ 60125 h 1142408"/>
                    <a:gd name="connsiteX118" fmla="*/ 1397194 w 2946531"/>
                    <a:gd name="connsiteY118" fmla="*/ 60125 h 1142408"/>
                    <a:gd name="connsiteX119" fmla="*/ 1403533 w 2946531"/>
                    <a:gd name="connsiteY119" fmla="*/ 56969 h 1142408"/>
                    <a:gd name="connsiteX120" fmla="*/ 1413040 w 2946531"/>
                    <a:gd name="connsiteY120" fmla="*/ 53799 h 1142408"/>
                    <a:gd name="connsiteX121" fmla="*/ 1425716 w 2946531"/>
                    <a:gd name="connsiteY121" fmla="*/ 56969 h 1142408"/>
                    <a:gd name="connsiteX122" fmla="*/ 1428886 w 2946531"/>
                    <a:gd name="connsiteY122" fmla="*/ 66450 h 1142408"/>
                    <a:gd name="connsiteX123" fmla="*/ 1438393 w 2946531"/>
                    <a:gd name="connsiteY123" fmla="*/ 69620 h 1142408"/>
                    <a:gd name="connsiteX124" fmla="*/ 1435224 w 2946531"/>
                    <a:gd name="connsiteY124" fmla="*/ 94935 h 1142408"/>
                    <a:gd name="connsiteX125" fmla="*/ 1441562 w 2946531"/>
                    <a:gd name="connsiteY125" fmla="*/ 107598 h 1142408"/>
                    <a:gd name="connsiteX126" fmla="*/ 1419378 w 2946531"/>
                    <a:gd name="connsiteY126" fmla="*/ 120249 h 1142408"/>
                    <a:gd name="connsiteX127" fmla="*/ 1416209 w 2946531"/>
                    <a:gd name="connsiteY127" fmla="*/ 126588 h 1142408"/>
                    <a:gd name="connsiteX128" fmla="*/ 1413040 w 2946531"/>
                    <a:gd name="connsiteY128" fmla="*/ 110755 h 1142408"/>
                    <a:gd name="connsiteX129" fmla="*/ 1406702 w 2946531"/>
                    <a:gd name="connsiteY129" fmla="*/ 110755 h 1142408"/>
                    <a:gd name="connsiteX130" fmla="*/ 1394025 w 2946531"/>
                    <a:gd name="connsiteY130" fmla="*/ 120249 h 1142408"/>
                    <a:gd name="connsiteX131" fmla="*/ 1378179 w 2946531"/>
                    <a:gd name="connsiteY131" fmla="*/ 120249 h 1142408"/>
                    <a:gd name="connsiteX132" fmla="*/ 1340150 w 2946531"/>
                    <a:gd name="connsiteY132" fmla="*/ 113924 h 1142408"/>
                    <a:gd name="connsiteX133" fmla="*/ 1333812 w 2946531"/>
                    <a:gd name="connsiteY133" fmla="*/ 101260 h 1142408"/>
                    <a:gd name="connsiteX134" fmla="*/ 1330642 w 2946531"/>
                    <a:gd name="connsiteY134" fmla="*/ 113924 h 1142408"/>
                    <a:gd name="connsiteX135" fmla="*/ 1317966 w 2946531"/>
                    <a:gd name="connsiteY135" fmla="*/ 107598 h 1142408"/>
                    <a:gd name="connsiteX136" fmla="*/ 1314797 w 2946531"/>
                    <a:gd name="connsiteY136" fmla="*/ 107598 h 1142408"/>
                    <a:gd name="connsiteX137" fmla="*/ 1314797 w 2946531"/>
                    <a:gd name="connsiteY137" fmla="*/ 123419 h 1142408"/>
                    <a:gd name="connsiteX138" fmla="*/ 1308459 w 2946531"/>
                    <a:gd name="connsiteY138" fmla="*/ 123419 h 1142408"/>
                    <a:gd name="connsiteX139" fmla="*/ 1305289 w 2946531"/>
                    <a:gd name="connsiteY139" fmla="*/ 126588 h 1142408"/>
                    <a:gd name="connsiteX140" fmla="*/ 1308459 w 2946531"/>
                    <a:gd name="connsiteY140" fmla="*/ 132914 h 1142408"/>
                    <a:gd name="connsiteX141" fmla="*/ 1308459 w 2946531"/>
                    <a:gd name="connsiteY141" fmla="*/ 142408 h 1142408"/>
                    <a:gd name="connsiteX142" fmla="*/ 1298951 w 2946531"/>
                    <a:gd name="connsiteY142" fmla="*/ 139239 h 1142408"/>
                    <a:gd name="connsiteX143" fmla="*/ 1295782 w 2946531"/>
                    <a:gd name="connsiteY143" fmla="*/ 132914 h 1142408"/>
                    <a:gd name="connsiteX144" fmla="*/ 1289444 w 2946531"/>
                    <a:gd name="connsiteY144" fmla="*/ 126588 h 1142408"/>
                    <a:gd name="connsiteX145" fmla="*/ 1286275 w 2946531"/>
                    <a:gd name="connsiteY145" fmla="*/ 126588 h 1142408"/>
                    <a:gd name="connsiteX146" fmla="*/ 1283106 w 2946531"/>
                    <a:gd name="connsiteY146" fmla="*/ 142408 h 1142408"/>
                    <a:gd name="connsiteX147" fmla="*/ 1286275 w 2946531"/>
                    <a:gd name="connsiteY147" fmla="*/ 148734 h 1142408"/>
                    <a:gd name="connsiteX148" fmla="*/ 1276767 w 2946531"/>
                    <a:gd name="connsiteY148" fmla="*/ 145565 h 1142408"/>
                    <a:gd name="connsiteX149" fmla="*/ 1273598 w 2946531"/>
                    <a:gd name="connsiteY149" fmla="*/ 145565 h 1142408"/>
                    <a:gd name="connsiteX150" fmla="*/ 1248245 w 2946531"/>
                    <a:gd name="connsiteY150" fmla="*/ 170892 h 1142408"/>
                    <a:gd name="connsiteX151" fmla="*/ 1260922 w 2946531"/>
                    <a:gd name="connsiteY151" fmla="*/ 199364 h 1142408"/>
                    <a:gd name="connsiteX152" fmla="*/ 1245076 w 2946531"/>
                    <a:gd name="connsiteY152" fmla="*/ 208859 h 1142408"/>
                    <a:gd name="connsiteX153" fmla="*/ 1235569 w 2946531"/>
                    <a:gd name="connsiteY153" fmla="*/ 212028 h 1142408"/>
                    <a:gd name="connsiteX154" fmla="*/ 1229230 w 2946531"/>
                    <a:gd name="connsiteY154" fmla="*/ 205702 h 1142408"/>
                    <a:gd name="connsiteX155" fmla="*/ 1219849 w 2946531"/>
                    <a:gd name="connsiteY155" fmla="*/ 234161 h 1142408"/>
                    <a:gd name="connsiteX156" fmla="*/ 1210342 w 2946531"/>
                    <a:gd name="connsiteY156" fmla="*/ 249994 h 1142408"/>
                    <a:gd name="connsiteX157" fmla="*/ 1207173 w 2946531"/>
                    <a:gd name="connsiteY157" fmla="*/ 249994 h 1142408"/>
                    <a:gd name="connsiteX158" fmla="*/ 1204004 w 2946531"/>
                    <a:gd name="connsiteY158" fmla="*/ 253150 h 1142408"/>
                    <a:gd name="connsiteX159" fmla="*/ 1200835 w 2946531"/>
                    <a:gd name="connsiteY159" fmla="*/ 253150 h 1142408"/>
                    <a:gd name="connsiteX160" fmla="*/ 1194496 w 2946531"/>
                    <a:gd name="connsiteY160" fmla="*/ 265814 h 1142408"/>
                    <a:gd name="connsiteX161" fmla="*/ 1200835 w 2946531"/>
                    <a:gd name="connsiteY161" fmla="*/ 287960 h 1142408"/>
                    <a:gd name="connsiteX162" fmla="*/ 1213511 w 2946531"/>
                    <a:gd name="connsiteY162" fmla="*/ 303781 h 1142408"/>
                    <a:gd name="connsiteX163" fmla="*/ 1235569 w 2946531"/>
                    <a:gd name="connsiteY163" fmla="*/ 310119 h 1142408"/>
                    <a:gd name="connsiteX164" fmla="*/ 1210342 w 2946531"/>
                    <a:gd name="connsiteY164" fmla="*/ 325939 h 1142408"/>
                    <a:gd name="connsiteX165" fmla="*/ 1213511 w 2946531"/>
                    <a:gd name="connsiteY165" fmla="*/ 332264 h 1142408"/>
                    <a:gd name="connsiteX166" fmla="*/ 1216680 w 2946531"/>
                    <a:gd name="connsiteY166" fmla="*/ 338590 h 1142408"/>
                    <a:gd name="connsiteX167" fmla="*/ 1216680 w 2946531"/>
                    <a:gd name="connsiteY167" fmla="*/ 338590 h 1142408"/>
                    <a:gd name="connsiteX168" fmla="*/ 1200835 w 2946531"/>
                    <a:gd name="connsiteY168" fmla="*/ 322770 h 1142408"/>
                    <a:gd name="connsiteX169" fmla="*/ 1191327 w 2946531"/>
                    <a:gd name="connsiteY169" fmla="*/ 319613 h 1142408"/>
                    <a:gd name="connsiteX170" fmla="*/ 1181820 w 2946531"/>
                    <a:gd name="connsiteY170" fmla="*/ 325939 h 1142408"/>
                    <a:gd name="connsiteX171" fmla="*/ 1181820 w 2946531"/>
                    <a:gd name="connsiteY171" fmla="*/ 332264 h 1142408"/>
                    <a:gd name="connsiteX172" fmla="*/ 1178651 w 2946531"/>
                    <a:gd name="connsiteY172" fmla="*/ 341759 h 1142408"/>
                    <a:gd name="connsiteX173" fmla="*/ 1175482 w 2946531"/>
                    <a:gd name="connsiteY173" fmla="*/ 341759 h 1142408"/>
                    <a:gd name="connsiteX174" fmla="*/ 1178651 w 2946531"/>
                    <a:gd name="connsiteY174" fmla="*/ 325939 h 1142408"/>
                    <a:gd name="connsiteX175" fmla="*/ 1162805 w 2946531"/>
                    <a:gd name="connsiteY175" fmla="*/ 313275 h 1142408"/>
                    <a:gd name="connsiteX176" fmla="*/ 1162805 w 2946531"/>
                    <a:gd name="connsiteY176" fmla="*/ 319613 h 1142408"/>
                    <a:gd name="connsiteX177" fmla="*/ 1140621 w 2946531"/>
                    <a:gd name="connsiteY177" fmla="*/ 310119 h 1142408"/>
                    <a:gd name="connsiteX178" fmla="*/ 1127945 w 2946531"/>
                    <a:gd name="connsiteY178" fmla="*/ 306950 h 1142408"/>
                    <a:gd name="connsiteX179" fmla="*/ 1121606 w 2946531"/>
                    <a:gd name="connsiteY179" fmla="*/ 313275 h 1142408"/>
                    <a:gd name="connsiteX180" fmla="*/ 1121606 w 2946531"/>
                    <a:gd name="connsiteY180" fmla="*/ 329108 h 1142408"/>
                    <a:gd name="connsiteX181" fmla="*/ 1115268 w 2946531"/>
                    <a:gd name="connsiteY181" fmla="*/ 325939 h 1142408"/>
                    <a:gd name="connsiteX182" fmla="*/ 1115268 w 2946531"/>
                    <a:gd name="connsiteY182" fmla="*/ 329108 h 1142408"/>
                    <a:gd name="connsiteX183" fmla="*/ 1108930 w 2946531"/>
                    <a:gd name="connsiteY183" fmla="*/ 325939 h 1142408"/>
                    <a:gd name="connsiteX184" fmla="*/ 1112099 w 2946531"/>
                    <a:gd name="connsiteY184" fmla="*/ 354423 h 1142408"/>
                    <a:gd name="connsiteX185" fmla="*/ 1096253 w 2946531"/>
                    <a:gd name="connsiteY185" fmla="*/ 348085 h 1142408"/>
                    <a:gd name="connsiteX186" fmla="*/ 1089915 w 2946531"/>
                    <a:gd name="connsiteY186" fmla="*/ 363918 h 1142408"/>
                    <a:gd name="connsiteX187" fmla="*/ 1096253 w 2946531"/>
                    <a:gd name="connsiteY187" fmla="*/ 325939 h 1142408"/>
                    <a:gd name="connsiteX188" fmla="*/ 1099422 w 2946531"/>
                    <a:gd name="connsiteY188" fmla="*/ 313275 h 1142408"/>
                    <a:gd name="connsiteX189" fmla="*/ 1102592 w 2946531"/>
                    <a:gd name="connsiteY189" fmla="*/ 310119 h 1142408"/>
                    <a:gd name="connsiteX190" fmla="*/ 1105761 w 2946531"/>
                    <a:gd name="connsiteY190" fmla="*/ 303781 h 1142408"/>
                    <a:gd name="connsiteX191" fmla="*/ 1105761 w 2946531"/>
                    <a:gd name="connsiteY191" fmla="*/ 303781 h 1142408"/>
                    <a:gd name="connsiteX192" fmla="*/ 1089915 w 2946531"/>
                    <a:gd name="connsiteY192" fmla="*/ 287960 h 1142408"/>
                    <a:gd name="connsiteX193" fmla="*/ 1048716 w 2946531"/>
                    <a:gd name="connsiteY193" fmla="*/ 246825 h 1142408"/>
                    <a:gd name="connsiteX194" fmla="*/ 1039209 w 2946531"/>
                    <a:gd name="connsiteY194" fmla="*/ 243656 h 1142408"/>
                    <a:gd name="connsiteX195" fmla="*/ 1036040 w 2946531"/>
                    <a:gd name="connsiteY195" fmla="*/ 243656 h 1142408"/>
                    <a:gd name="connsiteX196" fmla="*/ 1029701 w 2946531"/>
                    <a:gd name="connsiteY196" fmla="*/ 243656 h 1142408"/>
                    <a:gd name="connsiteX197" fmla="*/ 1026532 w 2946531"/>
                    <a:gd name="connsiteY197" fmla="*/ 243656 h 1142408"/>
                    <a:gd name="connsiteX198" fmla="*/ 1023363 w 2946531"/>
                    <a:gd name="connsiteY198" fmla="*/ 246825 h 1142408"/>
                    <a:gd name="connsiteX199" fmla="*/ 1023363 w 2946531"/>
                    <a:gd name="connsiteY199" fmla="*/ 243656 h 1142408"/>
                    <a:gd name="connsiteX200" fmla="*/ 1010687 w 2946531"/>
                    <a:gd name="connsiteY200" fmla="*/ 227835 h 1142408"/>
                    <a:gd name="connsiteX201" fmla="*/ 985334 w 2946531"/>
                    <a:gd name="connsiteY201" fmla="*/ 265814 h 1142408"/>
                    <a:gd name="connsiteX202" fmla="*/ 985334 w 2946531"/>
                    <a:gd name="connsiteY202" fmla="*/ 265814 h 1142408"/>
                    <a:gd name="connsiteX203" fmla="*/ 978995 w 2946531"/>
                    <a:gd name="connsiteY203" fmla="*/ 253150 h 1142408"/>
                    <a:gd name="connsiteX204" fmla="*/ 975826 w 2946531"/>
                    <a:gd name="connsiteY204" fmla="*/ 256319 h 1142408"/>
                    <a:gd name="connsiteX205" fmla="*/ 982165 w 2946531"/>
                    <a:gd name="connsiteY205" fmla="*/ 243656 h 1142408"/>
                    <a:gd name="connsiteX206" fmla="*/ 978995 w 2946531"/>
                    <a:gd name="connsiteY206" fmla="*/ 243656 h 1142408"/>
                    <a:gd name="connsiteX207" fmla="*/ 953642 w 2946531"/>
                    <a:gd name="connsiteY207" fmla="*/ 262645 h 1142408"/>
                    <a:gd name="connsiteX208" fmla="*/ 953642 w 2946531"/>
                    <a:gd name="connsiteY208" fmla="*/ 249994 h 1142408"/>
                    <a:gd name="connsiteX209" fmla="*/ 953642 w 2946531"/>
                    <a:gd name="connsiteY209" fmla="*/ 246825 h 1142408"/>
                    <a:gd name="connsiteX210" fmla="*/ 947304 w 2946531"/>
                    <a:gd name="connsiteY210" fmla="*/ 249994 h 1142408"/>
                    <a:gd name="connsiteX211" fmla="*/ 950473 w 2946531"/>
                    <a:gd name="connsiteY211" fmla="*/ 243656 h 1142408"/>
                    <a:gd name="connsiteX212" fmla="*/ 947304 w 2946531"/>
                    <a:gd name="connsiteY212" fmla="*/ 240499 h 1142408"/>
                    <a:gd name="connsiteX213" fmla="*/ 940966 w 2946531"/>
                    <a:gd name="connsiteY213" fmla="*/ 243656 h 1142408"/>
                    <a:gd name="connsiteX214" fmla="*/ 947304 w 2946531"/>
                    <a:gd name="connsiteY214" fmla="*/ 249994 h 1142408"/>
                    <a:gd name="connsiteX215" fmla="*/ 937797 w 2946531"/>
                    <a:gd name="connsiteY215" fmla="*/ 249994 h 1142408"/>
                    <a:gd name="connsiteX216" fmla="*/ 950473 w 2946531"/>
                    <a:gd name="connsiteY216" fmla="*/ 265814 h 1142408"/>
                    <a:gd name="connsiteX217" fmla="*/ 940966 w 2946531"/>
                    <a:gd name="connsiteY217" fmla="*/ 281635 h 1142408"/>
                    <a:gd name="connsiteX218" fmla="*/ 944135 w 2946531"/>
                    <a:gd name="connsiteY218" fmla="*/ 287960 h 1142408"/>
                    <a:gd name="connsiteX219" fmla="*/ 928289 w 2946531"/>
                    <a:gd name="connsiteY219" fmla="*/ 291129 h 1142408"/>
                    <a:gd name="connsiteX220" fmla="*/ 928289 w 2946531"/>
                    <a:gd name="connsiteY220" fmla="*/ 281635 h 1142408"/>
                    <a:gd name="connsiteX221" fmla="*/ 925120 w 2946531"/>
                    <a:gd name="connsiteY221" fmla="*/ 281635 h 1142408"/>
                    <a:gd name="connsiteX222" fmla="*/ 918782 w 2946531"/>
                    <a:gd name="connsiteY222" fmla="*/ 284804 h 1142408"/>
                    <a:gd name="connsiteX223" fmla="*/ 918782 w 2946531"/>
                    <a:gd name="connsiteY223" fmla="*/ 278465 h 1142408"/>
                    <a:gd name="connsiteX224" fmla="*/ 915613 w 2946531"/>
                    <a:gd name="connsiteY224" fmla="*/ 281635 h 1142408"/>
                    <a:gd name="connsiteX225" fmla="*/ 918782 w 2946531"/>
                    <a:gd name="connsiteY225" fmla="*/ 268971 h 1142408"/>
                    <a:gd name="connsiteX226" fmla="*/ 912444 w 2946531"/>
                    <a:gd name="connsiteY226" fmla="*/ 265814 h 1142408"/>
                    <a:gd name="connsiteX227" fmla="*/ 912444 w 2946531"/>
                    <a:gd name="connsiteY227" fmla="*/ 278465 h 1142408"/>
                    <a:gd name="connsiteX228" fmla="*/ 896598 w 2946531"/>
                    <a:gd name="connsiteY228" fmla="*/ 294285 h 1142408"/>
                    <a:gd name="connsiteX229" fmla="*/ 893429 w 2946531"/>
                    <a:gd name="connsiteY229" fmla="*/ 291129 h 1142408"/>
                    <a:gd name="connsiteX230" fmla="*/ 890260 w 2946531"/>
                    <a:gd name="connsiteY230" fmla="*/ 294285 h 1142408"/>
                    <a:gd name="connsiteX231" fmla="*/ 890260 w 2946531"/>
                    <a:gd name="connsiteY231" fmla="*/ 287960 h 1142408"/>
                    <a:gd name="connsiteX232" fmla="*/ 877583 w 2946531"/>
                    <a:gd name="connsiteY232" fmla="*/ 300624 h 1142408"/>
                    <a:gd name="connsiteX233" fmla="*/ 880752 w 2946531"/>
                    <a:gd name="connsiteY233" fmla="*/ 313275 h 1142408"/>
                    <a:gd name="connsiteX234" fmla="*/ 883921 w 2946531"/>
                    <a:gd name="connsiteY234" fmla="*/ 313275 h 1142408"/>
                    <a:gd name="connsiteX235" fmla="*/ 887091 w 2946531"/>
                    <a:gd name="connsiteY235" fmla="*/ 316444 h 1142408"/>
                    <a:gd name="connsiteX236" fmla="*/ 887091 w 2946531"/>
                    <a:gd name="connsiteY236" fmla="*/ 322770 h 1142408"/>
                    <a:gd name="connsiteX237" fmla="*/ 893429 w 2946531"/>
                    <a:gd name="connsiteY237" fmla="*/ 322770 h 1142408"/>
                    <a:gd name="connsiteX238" fmla="*/ 896598 w 2946531"/>
                    <a:gd name="connsiteY238" fmla="*/ 325939 h 1142408"/>
                    <a:gd name="connsiteX239" fmla="*/ 896598 w 2946531"/>
                    <a:gd name="connsiteY239" fmla="*/ 325939 h 1142408"/>
                    <a:gd name="connsiteX240" fmla="*/ 893429 w 2946531"/>
                    <a:gd name="connsiteY240" fmla="*/ 332264 h 1142408"/>
                    <a:gd name="connsiteX241" fmla="*/ 896598 w 2946531"/>
                    <a:gd name="connsiteY241" fmla="*/ 335434 h 1142408"/>
                    <a:gd name="connsiteX242" fmla="*/ 893429 w 2946531"/>
                    <a:gd name="connsiteY242" fmla="*/ 335434 h 1142408"/>
                    <a:gd name="connsiteX243" fmla="*/ 877583 w 2946531"/>
                    <a:gd name="connsiteY243" fmla="*/ 325939 h 1142408"/>
                    <a:gd name="connsiteX244" fmla="*/ 874414 w 2946531"/>
                    <a:gd name="connsiteY244" fmla="*/ 329108 h 1142408"/>
                    <a:gd name="connsiteX245" fmla="*/ 871245 w 2946531"/>
                    <a:gd name="connsiteY245" fmla="*/ 325939 h 1142408"/>
                    <a:gd name="connsiteX246" fmla="*/ 868076 w 2946531"/>
                    <a:gd name="connsiteY246" fmla="*/ 322770 h 1142408"/>
                    <a:gd name="connsiteX247" fmla="*/ 864907 w 2946531"/>
                    <a:gd name="connsiteY247" fmla="*/ 322770 h 1142408"/>
                    <a:gd name="connsiteX248" fmla="*/ 864907 w 2946531"/>
                    <a:gd name="connsiteY248" fmla="*/ 348085 h 1142408"/>
                    <a:gd name="connsiteX249" fmla="*/ 871245 w 2946531"/>
                    <a:gd name="connsiteY249" fmla="*/ 348085 h 1142408"/>
                    <a:gd name="connsiteX250" fmla="*/ 877583 w 2946531"/>
                    <a:gd name="connsiteY250" fmla="*/ 363918 h 1142408"/>
                    <a:gd name="connsiteX251" fmla="*/ 864907 w 2946531"/>
                    <a:gd name="connsiteY251" fmla="*/ 360749 h 1142408"/>
                    <a:gd name="connsiteX252" fmla="*/ 864907 w 2946531"/>
                    <a:gd name="connsiteY252" fmla="*/ 357580 h 1142408"/>
                    <a:gd name="connsiteX253" fmla="*/ 855399 w 2946531"/>
                    <a:gd name="connsiteY253" fmla="*/ 351254 h 1142408"/>
                    <a:gd name="connsiteX254" fmla="*/ 852230 w 2946531"/>
                    <a:gd name="connsiteY254" fmla="*/ 351254 h 1142408"/>
                    <a:gd name="connsiteX255" fmla="*/ 845892 w 2946531"/>
                    <a:gd name="connsiteY255" fmla="*/ 348085 h 1142408"/>
                    <a:gd name="connsiteX256" fmla="*/ 842723 w 2946531"/>
                    <a:gd name="connsiteY256" fmla="*/ 344928 h 1142408"/>
                    <a:gd name="connsiteX257" fmla="*/ 836384 w 2946531"/>
                    <a:gd name="connsiteY257" fmla="*/ 351254 h 1142408"/>
                    <a:gd name="connsiteX258" fmla="*/ 833215 w 2946531"/>
                    <a:gd name="connsiteY258" fmla="*/ 357580 h 1142408"/>
                    <a:gd name="connsiteX259" fmla="*/ 830046 w 2946531"/>
                    <a:gd name="connsiteY259" fmla="*/ 360749 h 1142408"/>
                    <a:gd name="connsiteX260" fmla="*/ 820539 w 2946531"/>
                    <a:gd name="connsiteY260" fmla="*/ 363918 h 1142408"/>
                    <a:gd name="connsiteX261" fmla="*/ 826877 w 2946531"/>
                    <a:gd name="connsiteY261" fmla="*/ 401884 h 1142408"/>
                    <a:gd name="connsiteX262" fmla="*/ 839554 w 2946531"/>
                    <a:gd name="connsiteY262" fmla="*/ 386064 h 1142408"/>
                    <a:gd name="connsiteX263" fmla="*/ 833215 w 2946531"/>
                    <a:gd name="connsiteY263" fmla="*/ 408222 h 1142408"/>
                    <a:gd name="connsiteX264" fmla="*/ 823708 w 2946531"/>
                    <a:gd name="connsiteY264" fmla="*/ 405053 h 1142408"/>
                    <a:gd name="connsiteX265" fmla="*/ 823708 w 2946531"/>
                    <a:gd name="connsiteY265" fmla="*/ 408222 h 1142408"/>
                    <a:gd name="connsiteX266" fmla="*/ 820539 w 2946531"/>
                    <a:gd name="connsiteY266" fmla="*/ 424043 h 1142408"/>
                    <a:gd name="connsiteX267" fmla="*/ 823708 w 2946531"/>
                    <a:gd name="connsiteY267" fmla="*/ 427199 h 1142408"/>
                    <a:gd name="connsiteX268" fmla="*/ 826877 w 2946531"/>
                    <a:gd name="connsiteY268" fmla="*/ 427199 h 1142408"/>
                    <a:gd name="connsiteX269" fmla="*/ 830046 w 2946531"/>
                    <a:gd name="connsiteY269" fmla="*/ 427199 h 1142408"/>
                    <a:gd name="connsiteX270" fmla="*/ 830046 w 2946531"/>
                    <a:gd name="connsiteY270" fmla="*/ 427199 h 1142408"/>
                    <a:gd name="connsiteX271" fmla="*/ 855399 w 2946531"/>
                    <a:gd name="connsiteY271" fmla="*/ 430368 h 1142408"/>
                    <a:gd name="connsiteX272" fmla="*/ 849061 w 2946531"/>
                    <a:gd name="connsiteY272" fmla="*/ 430368 h 1142408"/>
                    <a:gd name="connsiteX273" fmla="*/ 830046 w 2946531"/>
                    <a:gd name="connsiteY273" fmla="*/ 430368 h 1142408"/>
                    <a:gd name="connsiteX274" fmla="*/ 823708 w 2946531"/>
                    <a:gd name="connsiteY274" fmla="*/ 430368 h 1142408"/>
                    <a:gd name="connsiteX275" fmla="*/ 820539 w 2946531"/>
                    <a:gd name="connsiteY275" fmla="*/ 427199 h 1142408"/>
                    <a:gd name="connsiteX276" fmla="*/ 811031 w 2946531"/>
                    <a:gd name="connsiteY276" fmla="*/ 430368 h 1142408"/>
                    <a:gd name="connsiteX277" fmla="*/ 807862 w 2946531"/>
                    <a:gd name="connsiteY277" fmla="*/ 430368 h 1142408"/>
                    <a:gd name="connsiteX278" fmla="*/ 798355 w 2946531"/>
                    <a:gd name="connsiteY278" fmla="*/ 420874 h 1142408"/>
                    <a:gd name="connsiteX279" fmla="*/ 785678 w 2946531"/>
                    <a:gd name="connsiteY279" fmla="*/ 417704 h 1142408"/>
                    <a:gd name="connsiteX280" fmla="*/ 788848 w 2946531"/>
                    <a:gd name="connsiteY280" fmla="*/ 430368 h 1142408"/>
                    <a:gd name="connsiteX281" fmla="*/ 785678 w 2946531"/>
                    <a:gd name="connsiteY281" fmla="*/ 427199 h 1142408"/>
                    <a:gd name="connsiteX282" fmla="*/ 779340 w 2946531"/>
                    <a:gd name="connsiteY282" fmla="*/ 430368 h 1142408"/>
                    <a:gd name="connsiteX283" fmla="*/ 776171 w 2946531"/>
                    <a:gd name="connsiteY283" fmla="*/ 424043 h 1142408"/>
                    <a:gd name="connsiteX284" fmla="*/ 773002 w 2946531"/>
                    <a:gd name="connsiteY284" fmla="*/ 420874 h 1142408"/>
                    <a:gd name="connsiteX285" fmla="*/ 773002 w 2946531"/>
                    <a:gd name="connsiteY285" fmla="*/ 417704 h 1142408"/>
                    <a:gd name="connsiteX286" fmla="*/ 766664 w 2946531"/>
                    <a:gd name="connsiteY286" fmla="*/ 411379 h 1142408"/>
                    <a:gd name="connsiteX287" fmla="*/ 760325 w 2946531"/>
                    <a:gd name="connsiteY287" fmla="*/ 411379 h 1142408"/>
                    <a:gd name="connsiteX288" fmla="*/ 769833 w 2946531"/>
                    <a:gd name="connsiteY288" fmla="*/ 430368 h 1142408"/>
                    <a:gd name="connsiteX289" fmla="*/ 763494 w 2946531"/>
                    <a:gd name="connsiteY289" fmla="*/ 433537 h 1142408"/>
                    <a:gd name="connsiteX290" fmla="*/ 760325 w 2946531"/>
                    <a:gd name="connsiteY290" fmla="*/ 433537 h 1142408"/>
                    <a:gd name="connsiteX291" fmla="*/ 753987 w 2946531"/>
                    <a:gd name="connsiteY291" fmla="*/ 433537 h 1142408"/>
                    <a:gd name="connsiteX292" fmla="*/ 753987 w 2946531"/>
                    <a:gd name="connsiteY292" fmla="*/ 433537 h 1142408"/>
                    <a:gd name="connsiteX293" fmla="*/ 763494 w 2946531"/>
                    <a:gd name="connsiteY293" fmla="*/ 436694 h 1142408"/>
                    <a:gd name="connsiteX294" fmla="*/ 760325 w 2946531"/>
                    <a:gd name="connsiteY294" fmla="*/ 436694 h 1142408"/>
                    <a:gd name="connsiteX295" fmla="*/ 757156 w 2946531"/>
                    <a:gd name="connsiteY295" fmla="*/ 436694 h 1142408"/>
                    <a:gd name="connsiteX296" fmla="*/ 753987 w 2946531"/>
                    <a:gd name="connsiteY296" fmla="*/ 436694 h 1142408"/>
                    <a:gd name="connsiteX297" fmla="*/ 747649 w 2946531"/>
                    <a:gd name="connsiteY297" fmla="*/ 439863 h 1142408"/>
                    <a:gd name="connsiteX298" fmla="*/ 757156 w 2946531"/>
                    <a:gd name="connsiteY298" fmla="*/ 443032 h 1142408"/>
                    <a:gd name="connsiteX299" fmla="*/ 757156 w 2946531"/>
                    <a:gd name="connsiteY299" fmla="*/ 443032 h 1142408"/>
                    <a:gd name="connsiteX300" fmla="*/ 760325 w 2946531"/>
                    <a:gd name="connsiteY300" fmla="*/ 452514 h 1142408"/>
                    <a:gd name="connsiteX301" fmla="*/ 769833 w 2946531"/>
                    <a:gd name="connsiteY301" fmla="*/ 458852 h 1142408"/>
                    <a:gd name="connsiteX302" fmla="*/ 776171 w 2946531"/>
                    <a:gd name="connsiteY302" fmla="*/ 468347 h 1142408"/>
                    <a:gd name="connsiteX303" fmla="*/ 776171 w 2946531"/>
                    <a:gd name="connsiteY303" fmla="*/ 468347 h 1142408"/>
                    <a:gd name="connsiteX304" fmla="*/ 785678 w 2946531"/>
                    <a:gd name="connsiteY304" fmla="*/ 462009 h 1142408"/>
                    <a:gd name="connsiteX305" fmla="*/ 782509 w 2946531"/>
                    <a:gd name="connsiteY305" fmla="*/ 493662 h 1142408"/>
                    <a:gd name="connsiteX306" fmla="*/ 766664 w 2946531"/>
                    <a:gd name="connsiteY306" fmla="*/ 477842 h 1142408"/>
                    <a:gd name="connsiteX307" fmla="*/ 763494 w 2946531"/>
                    <a:gd name="connsiteY307" fmla="*/ 490493 h 1142408"/>
                    <a:gd name="connsiteX308" fmla="*/ 760325 w 2946531"/>
                    <a:gd name="connsiteY308" fmla="*/ 503157 h 1142408"/>
                    <a:gd name="connsiteX309" fmla="*/ 760325 w 2946531"/>
                    <a:gd name="connsiteY309" fmla="*/ 522146 h 1142408"/>
                    <a:gd name="connsiteX310" fmla="*/ 735112 w 2946531"/>
                    <a:gd name="connsiteY310" fmla="*/ 477842 h 1142408"/>
                    <a:gd name="connsiteX311" fmla="*/ 728774 w 2946531"/>
                    <a:gd name="connsiteY311" fmla="*/ 471503 h 1142408"/>
                    <a:gd name="connsiteX312" fmla="*/ 725605 w 2946531"/>
                    <a:gd name="connsiteY312" fmla="*/ 452514 h 1142408"/>
                    <a:gd name="connsiteX313" fmla="*/ 722435 w 2946531"/>
                    <a:gd name="connsiteY313" fmla="*/ 455683 h 1142408"/>
                    <a:gd name="connsiteX314" fmla="*/ 719266 w 2946531"/>
                    <a:gd name="connsiteY314" fmla="*/ 449357 h 1142408"/>
                    <a:gd name="connsiteX315" fmla="*/ 716097 w 2946531"/>
                    <a:gd name="connsiteY315" fmla="*/ 439863 h 1142408"/>
                    <a:gd name="connsiteX316" fmla="*/ 716097 w 2946531"/>
                    <a:gd name="connsiteY316" fmla="*/ 430368 h 1142408"/>
                    <a:gd name="connsiteX317" fmla="*/ 716097 w 2946531"/>
                    <a:gd name="connsiteY317" fmla="*/ 430368 h 1142408"/>
                    <a:gd name="connsiteX318" fmla="*/ 703421 w 2946531"/>
                    <a:gd name="connsiteY318" fmla="*/ 458852 h 1142408"/>
                    <a:gd name="connsiteX319" fmla="*/ 684406 w 2946531"/>
                    <a:gd name="connsiteY319" fmla="*/ 474673 h 1142408"/>
                    <a:gd name="connsiteX320" fmla="*/ 678068 w 2946531"/>
                    <a:gd name="connsiteY320" fmla="*/ 471503 h 1142408"/>
                    <a:gd name="connsiteX321" fmla="*/ 652715 w 2946531"/>
                    <a:gd name="connsiteY321" fmla="*/ 518977 h 1142408"/>
                    <a:gd name="connsiteX322" fmla="*/ 655884 w 2946531"/>
                    <a:gd name="connsiteY322" fmla="*/ 534798 h 1142408"/>
                    <a:gd name="connsiteX323" fmla="*/ 655884 w 2946531"/>
                    <a:gd name="connsiteY323" fmla="*/ 553787 h 1142408"/>
                    <a:gd name="connsiteX324" fmla="*/ 662222 w 2946531"/>
                    <a:gd name="connsiteY324" fmla="*/ 550618 h 1142408"/>
                    <a:gd name="connsiteX325" fmla="*/ 668560 w 2946531"/>
                    <a:gd name="connsiteY325" fmla="*/ 560112 h 1142408"/>
                    <a:gd name="connsiteX326" fmla="*/ 633700 w 2946531"/>
                    <a:gd name="connsiteY326" fmla="*/ 585427 h 1142408"/>
                    <a:gd name="connsiteX327" fmla="*/ 624192 w 2946531"/>
                    <a:gd name="connsiteY327" fmla="*/ 601248 h 1142408"/>
                    <a:gd name="connsiteX328" fmla="*/ 614685 w 2946531"/>
                    <a:gd name="connsiteY328" fmla="*/ 617068 h 1142408"/>
                    <a:gd name="connsiteX329" fmla="*/ 595670 w 2946531"/>
                    <a:gd name="connsiteY329" fmla="*/ 651878 h 1142408"/>
                    <a:gd name="connsiteX330" fmla="*/ 472074 w 2946531"/>
                    <a:gd name="connsiteY330" fmla="*/ 708833 h 1142408"/>
                    <a:gd name="connsiteX331" fmla="*/ 462567 w 2946531"/>
                    <a:gd name="connsiteY331" fmla="*/ 712002 h 1142408"/>
                    <a:gd name="connsiteX332" fmla="*/ 462567 w 2946531"/>
                    <a:gd name="connsiteY332" fmla="*/ 712002 h 1142408"/>
                    <a:gd name="connsiteX333" fmla="*/ 440383 w 2946531"/>
                    <a:gd name="connsiteY333" fmla="*/ 708833 h 1142408"/>
                    <a:gd name="connsiteX334" fmla="*/ 437214 w 2946531"/>
                    <a:gd name="connsiteY334" fmla="*/ 705677 h 1142408"/>
                    <a:gd name="connsiteX335" fmla="*/ 415030 w 2946531"/>
                    <a:gd name="connsiteY335" fmla="*/ 721497 h 1142408"/>
                    <a:gd name="connsiteX336" fmla="*/ 380169 w 2946531"/>
                    <a:gd name="connsiteY336" fmla="*/ 734148 h 1142408"/>
                    <a:gd name="connsiteX337" fmla="*/ 361154 w 2946531"/>
                    <a:gd name="connsiteY337" fmla="*/ 737317 h 1142408"/>
                    <a:gd name="connsiteX338" fmla="*/ 357985 w 2946531"/>
                    <a:gd name="connsiteY338" fmla="*/ 734148 h 1142408"/>
                    <a:gd name="connsiteX339" fmla="*/ 329463 w 2946531"/>
                    <a:gd name="connsiteY339" fmla="*/ 756307 h 1142408"/>
                    <a:gd name="connsiteX340" fmla="*/ 294603 w 2946531"/>
                    <a:gd name="connsiteY340" fmla="*/ 762633 h 1142408"/>
                    <a:gd name="connsiteX341" fmla="*/ 288264 w 2946531"/>
                    <a:gd name="connsiteY341" fmla="*/ 762633 h 1142408"/>
                    <a:gd name="connsiteX342" fmla="*/ 281926 w 2946531"/>
                    <a:gd name="connsiteY342" fmla="*/ 759476 h 1142408"/>
                    <a:gd name="connsiteX343" fmla="*/ 281926 w 2946531"/>
                    <a:gd name="connsiteY343" fmla="*/ 756307 h 1142408"/>
                    <a:gd name="connsiteX344" fmla="*/ 278757 w 2946531"/>
                    <a:gd name="connsiteY344" fmla="*/ 756307 h 1142408"/>
                    <a:gd name="connsiteX345" fmla="*/ 269250 w 2946531"/>
                    <a:gd name="connsiteY345" fmla="*/ 756307 h 1142408"/>
                    <a:gd name="connsiteX346" fmla="*/ 256573 w 2946531"/>
                    <a:gd name="connsiteY346" fmla="*/ 759476 h 1142408"/>
                    <a:gd name="connsiteX347" fmla="*/ 256573 w 2946531"/>
                    <a:gd name="connsiteY347" fmla="*/ 749981 h 1142408"/>
                    <a:gd name="connsiteX348" fmla="*/ 256573 w 2946531"/>
                    <a:gd name="connsiteY348" fmla="*/ 749981 h 1142408"/>
                    <a:gd name="connsiteX349" fmla="*/ 234516 w 2946531"/>
                    <a:gd name="connsiteY349" fmla="*/ 765802 h 1142408"/>
                    <a:gd name="connsiteX350" fmla="*/ 171133 w 2946531"/>
                    <a:gd name="connsiteY350" fmla="*/ 810106 h 1142408"/>
                    <a:gd name="connsiteX351" fmla="*/ 110920 w 2946531"/>
                    <a:gd name="connsiteY351" fmla="*/ 841746 h 1142408"/>
                    <a:gd name="connsiteX352" fmla="*/ 95074 w 2946531"/>
                    <a:gd name="connsiteY352" fmla="*/ 851241 h 1142408"/>
                    <a:gd name="connsiteX353" fmla="*/ 72890 w 2946531"/>
                    <a:gd name="connsiteY353" fmla="*/ 895546 h 1142408"/>
                    <a:gd name="connsiteX354" fmla="*/ 72890 w 2946531"/>
                    <a:gd name="connsiteY354" fmla="*/ 898715 h 1142408"/>
                    <a:gd name="connsiteX355" fmla="*/ 57044 w 2946531"/>
                    <a:gd name="connsiteY355" fmla="*/ 905041 h 1142408"/>
                    <a:gd name="connsiteX356" fmla="*/ 47537 w 2946531"/>
                    <a:gd name="connsiteY356" fmla="*/ 851241 h 1142408"/>
                    <a:gd name="connsiteX357" fmla="*/ 31691 w 2946531"/>
                    <a:gd name="connsiteY357" fmla="*/ 889221 h 1142408"/>
                    <a:gd name="connsiteX358" fmla="*/ 19015 w 2946531"/>
                    <a:gd name="connsiteY358" fmla="*/ 908210 h 1142408"/>
                    <a:gd name="connsiteX359" fmla="*/ 31691 w 2946531"/>
                    <a:gd name="connsiteY359" fmla="*/ 939850 h 1142408"/>
                    <a:gd name="connsiteX360" fmla="*/ 25353 w 2946531"/>
                    <a:gd name="connsiteY360" fmla="*/ 984142 h 1142408"/>
                    <a:gd name="connsiteX361" fmla="*/ 12677 w 2946531"/>
                    <a:gd name="connsiteY361" fmla="*/ 996806 h 1142408"/>
                    <a:gd name="connsiteX362" fmla="*/ 3169 w 2946531"/>
                    <a:gd name="connsiteY362" fmla="*/ 1022121 h 1142408"/>
                    <a:gd name="connsiteX363" fmla="*/ 0 w 2946531"/>
                    <a:gd name="connsiteY363" fmla="*/ 1037942 h 1142408"/>
                    <a:gd name="connsiteX364" fmla="*/ 22184 w 2946531"/>
                    <a:gd name="connsiteY364" fmla="*/ 1088571 h 1142408"/>
                    <a:gd name="connsiteX365" fmla="*/ 44368 w 2946531"/>
                    <a:gd name="connsiteY365" fmla="*/ 1142371 h 1142408"/>
                    <a:gd name="connsiteX366" fmla="*/ 2943362 w 2946531"/>
                    <a:gd name="connsiteY366" fmla="*/ 1142371 h 1142408"/>
                    <a:gd name="connsiteX367" fmla="*/ 2946532 w 2946531"/>
                    <a:gd name="connsiteY367" fmla="*/ 1132876 h 1142408"/>
                    <a:gd name="connsiteX368" fmla="*/ 2946532 w 2946531"/>
                    <a:gd name="connsiteY368" fmla="*/ 1126550 h 1142408"/>
                    <a:gd name="connsiteX369" fmla="*/ 2924348 w 2946531"/>
                    <a:gd name="connsiteY369" fmla="*/ 1117055 h 1142408"/>
                    <a:gd name="connsiteX370" fmla="*/ 2908502 w 2946531"/>
                    <a:gd name="connsiteY370" fmla="*/ 1079077 h 1142408"/>
                    <a:gd name="connsiteX371" fmla="*/ 2889487 w 2946531"/>
                    <a:gd name="connsiteY371" fmla="*/ 1066425 h 1142408"/>
                    <a:gd name="connsiteX372" fmla="*/ 2876811 w 2946531"/>
                    <a:gd name="connsiteY372" fmla="*/ 1050605 h 1142408"/>
                    <a:gd name="connsiteX373" fmla="*/ 2870472 w 2946531"/>
                    <a:gd name="connsiteY373" fmla="*/ 1037942 h 1142408"/>
                    <a:gd name="connsiteX374" fmla="*/ 2854627 w 2946531"/>
                    <a:gd name="connsiteY374" fmla="*/ 1025290 h 1142408"/>
                    <a:gd name="connsiteX375" fmla="*/ 2851458 w 2946531"/>
                    <a:gd name="connsiteY375" fmla="*/ 1025290 h 1142408"/>
                    <a:gd name="connsiteX376" fmla="*/ 2835612 w 2946531"/>
                    <a:gd name="connsiteY376" fmla="*/ 1015796 h 1142408"/>
                    <a:gd name="connsiteX377" fmla="*/ 2822935 w 2946531"/>
                    <a:gd name="connsiteY377" fmla="*/ 1003131 h 1142408"/>
                    <a:gd name="connsiteX378" fmla="*/ 2819766 w 2946531"/>
                    <a:gd name="connsiteY378" fmla="*/ 1003131 h 1142408"/>
                    <a:gd name="connsiteX379" fmla="*/ 2791244 w 2946531"/>
                    <a:gd name="connsiteY379" fmla="*/ 984142 h 1142408"/>
                    <a:gd name="connsiteX380" fmla="*/ 2784906 w 2946531"/>
                    <a:gd name="connsiteY380" fmla="*/ 952514 h 1142408"/>
                    <a:gd name="connsiteX381" fmla="*/ 2784906 w 2946531"/>
                    <a:gd name="connsiteY381" fmla="*/ 936681 h 1142408"/>
                    <a:gd name="connsiteX382" fmla="*/ 2788075 w 2946531"/>
                    <a:gd name="connsiteY382" fmla="*/ 905041 h 1142408"/>
                    <a:gd name="connsiteX383" fmla="*/ 2784906 w 2946531"/>
                    <a:gd name="connsiteY383" fmla="*/ 911366 h 1142408"/>
                    <a:gd name="connsiteX384" fmla="*/ 2778568 w 2946531"/>
                    <a:gd name="connsiteY384" fmla="*/ 905041 h 1142408"/>
                    <a:gd name="connsiteX385" fmla="*/ 2778568 w 2946531"/>
                    <a:gd name="connsiteY385" fmla="*/ 901872 h 1142408"/>
                    <a:gd name="connsiteX386" fmla="*/ 2781737 w 2946531"/>
                    <a:gd name="connsiteY386" fmla="*/ 901872 h 1142408"/>
                    <a:gd name="connsiteX387" fmla="*/ 2781737 w 2946531"/>
                    <a:gd name="connsiteY387" fmla="*/ 901872 h 1142408"/>
                    <a:gd name="connsiteX388" fmla="*/ 2784906 w 2946531"/>
                    <a:gd name="connsiteY388" fmla="*/ 901872 h 1142408"/>
                    <a:gd name="connsiteX389" fmla="*/ 2778568 w 2946531"/>
                    <a:gd name="connsiteY389" fmla="*/ 892377 h 1142408"/>
                    <a:gd name="connsiteX390" fmla="*/ 2775398 w 2946531"/>
                    <a:gd name="connsiteY390" fmla="*/ 911366 h 1142408"/>
                    <a:gd name="connsiteX391" fmla="*/ 2753215 w 2946531"/>
                    <a:gd name="connsiteY391" fmla="*/ 895546 h 1142408"/>
                    <a:gd name="connsiteX392" fmla="*/ 2743707 w 2946531"/>
                    <a:gd name="connsiteY392" fmla="*/ 889221 h 1142408"/>
                    <a:gd name="connsiteX393" fmla="*/ 2734200 w 2946531"/>
                    <a:gd name="connsiteY393" fmla="*/ 876557 h 1142408"/>
                    <a:gd name="connsiteX394" fmla="*/ 2731031 w 2946531"/>
                    <a:gd name="connsiteY394" fmla="*/ 914535 h 1142408"/>
                    <a:gd name="connsiteX395" fmla="*/ 2712016 w 2946531"/>
                    <a:gd name="connsiteY395" fmla="*/ 898715 h 1142408"/>
                    <a:gd name="connsiteX396" fmla="*/ 2705678 w 2946531"/>
                    <a:gd name="connsiteY396" fmla="*/ 901872 h 1142408"/>
                    <a:gd name="connsiteX397" fmla="*/ 2686790 w 2946531"/>
                    <a:gd name="connsiteY397" fmla="*/ 835421 h 1142408"/>
                    <a:gd name="connsiteX398" fmla="*/ 2670944 w 2946531"/>
                    <a:gd name="connsiteY398" fmla="*/ 803780 h 1142408"/>
                    <a:gd name="connsiteX399" fmla="*/ 2661437 w 2946531"/>
                    <a:gd name="connsiteY399" fmla="*/ 787948 h 1142408"/>
                    <a:gd name="connsiteX400" fmla="*/ 2632914 w 2946531"/>
                    <a:gd name="connsiteY400" fmla="*/ 762633 h 1142408"/>
                    <a:gd name="connsiteX401" fmla="*/ 2639253 w 2946531"/>
                    <a:gd name="connsiteY401" fmla="*/ 743643 h 1142408"/>
                    <a:gd name="connsiteX402" fmla="*/ 2639253 w 2946531"/>
                    <a:gd name="connsiteY402" fmla="*/ 743643 h 1142408"/>
                    <a:gd name="connsiteX403" fmla="*/ 2642422 w 2946531"/>
                    <a:gd name="connsiteY403" fmla="*/ 746812 h 1142408"/>
                    <a:gd name="connsiteX404" fmla="*/ 2648760 w 2946531"/>
                    <a:gd name="connsiteY404" fmla="*/ 749981 h 1142408"/>
                    <a:gd name="connsiteX405" fmla="*/ 2648760 w 2946531"/>
                    <a:gd name="connsiteY405" fmla="*/ 749981 h 1142408"/>
                    <a:gd name="connsiteX406" fmla="*/ 2623407 w 2946531"/>
                    <a:gd name="connsiteY406" fmla="*/ 712002 h 1142408"/>
                    <a:gd name="connsiteX407" fmla="*/ 2613900 w 2946531"/>
                    <a:gd name="connsiteY407" fmla="*/ 721497 h 1142408"/>
                    <a:gd name="connsiteX408" fmla="*/ 2610731 w 2946531"/>
                    <a:gd name="connsiteY408" fmla="*/ 724666 h 1142408"/>
                    <a:gd name="connsiteX409" fmla="*/ 2598054 w 2946531"/>
                    <a:gd name="connsiteY409" fmla="*/ 705677 h 1142408"/>
                    <a:gd name="connsiteX410" fmla="*/ 2572701 w 2946531"/>
                    <a:gd name="connsiteY410" fmla="*/ 689844 h 1142408"/>
                    <a:gd name="connsiteX411" fmla="*/ 2566363 w 2946531"/>
                    <a:gd name="connsiteY411" fmla="*/ 686688 h 1142408"/>
                    <a:gd name="connsiteX412" fmla="*/ 2556855 w 2946531"/>
                    <a:gd name="connsiteY412" fmla="*/ 696182 h 1142408"/>
                    <a:gd name="connsiteX413" fmla="*/ 2541010 w 2946531"/>
                    <a:gd name="connsiteY413" fmla="*/ 667698 h 1142408"/>
                    <a:gd name="connsiteX414" fmla="*/ 2537841 w 2946531"/>
                    <a:gd name="connsiteY414" fmla="*/ 655034 h 1142408"/>
                    <a:gd name="connsiteX415" fmla="*/ 2534671 w 2946531"/>
                    <a:gd name="connsiteY415" fmla="*/ 655034 h 1142408"/>
                    <a:gd name="connsiteX416" fmla="*/ 2531502 w 2946531"/>
                    <a:gd name="connsiteY416" fmla="*/ 658203 h 1142408"/>
                    <a:gd name="connsiteX417" fmla="*/ 2525164 w 2946531"/>
                    <a:gd name="connsiteY417" fmla="*/ 664529 h 1142408"/>
                    <a:gd name="connsiteX418" fmla="*/ 2525164 w 2946531"/>
                    <a:gd name="connsiteY418" fmla="*/ 664529 h 1142408"/>
                    <a:gd name="connsiteX419" fmla="*/ 2509318 w 2946531"/>
                    <a:gd name="connsiteY419" fmla="*/ 655034 h 1142408"/>
                    <a:gd name="connsiteX420" fmla="*/ 2509318 w 2946531"/>
                    <a:gd name="connsiteY420" fmla="*/ 645552 h 1142408"/>
                    <a:gd name="connsiteX421" fmla="*/ 2506149 w 2946531"/>
                    <a:gd name="connsiteY421" fmla="*/ 645552 h 1142408"/>
                    <a:gd name="connsiteX422" fmla="*/ 2499811 w 2946531"/>
                    <a:gd name="connsiteY422" fmla="*/ 648709 h 1142408"/>
                    <a:gd name="connsiteX423" fmla="*/ 2496642 w 2946531"/>
                    <a:gd name="connsiteY423" fmla="*/ 655034 h 1142408"/>
                    <a:gd name="connsiteX424" fmla="*/ 2496642 w 2946531"/>
                    <a:gd name="connsiteY424" fmla="*/ 655034 h 1142408"/>
                    <a:gd name="connsiteX425" fmla="*/ 2468120 w 2946531"/>
                    <a:gd name="connsiteY425" fmla="*/ 636057 h 1142408"/>
                    <a:gd name="connsiteX426" fmla="*/ 2452274 w 2946531"/>
                    <a:gd name="connsiteY426" fmla="*/ 610730 h 1142408"/>
                    <a:gd name="connsiteX427" fmla="*/ 2455443 w 2946531"/>
                    <a:gd name="connsiteY427" fmla="*/ 601248 h 1142408"/>
                    <a:gd name="connsiteX428" fmla="*/ 2436428 w 2946531"/>
                    <a:gd name="connsiteY428" fmla="*/ 575933 h 1142408"/>
                    <a:gd name="connsiteX429" fmla="*/ 2436428 w 2946531"/>
                    <a:gd name="connsiteY429" fmla="*/ 509482 h 1142408"/>
                    <a:gd name="connsiteX430" fmla="*/ 2426921 w 2946531"/>
                    <a:gd name="connsiteY430" fmla="*/ 480998 h 1142408"/>
                    <a:gd name="connsiteX431" fmla="*/ 2426921 w 2946531"/>
                    <a:gd name="connsiteY431" fmla="*/ 471503 h 1142408"/>
                    <a:gd name="connsiteX432" fmla="*/ 2426921 w 2946531"/>
                    <a:gd name="connsiteY432" fmla="*/ 468347 h 1142408"/>
                    <a:gd name="connsiteX433" fmla="*/ 2414244 w 2946531"/>
                    <a:gd name="connsiteY433" fmla="*/ 474673 h 1142408"/>
                    <a:gd name="connsiteX434" fmla="*/ 2392060 w 2946531"/>
                    <a:gd name="connsiteY434" fmla="*/ 439863 h 1142408"/>
                    <a:gd name="connsiteX435" fmla="*/ 2385722 w 2946531"/>
                    <a:gd name="connsiteY435" fmla="*/ 433537 h 1142408"/>
                    <a:gd name="connsiteX436" fmla="*/ 2385722 w 2946531"/>
                    <a:gd name="connsiteY436" fmla="*/ 398728 h 1142408"/>
                    <a:gd name="connsiteX437" fmla="*/ 2376215 w 2946531"/>
                    <a:gd name="connsiteY437" fmla="*/ 348085 h 1142408"/>
                    <a:gd name="connsiteX438" fmla="*/ 2379384 w 2946531"/>
                    <a:gd name="connsiteY438" fmla="*/ 338590 h 1142408"/>
                    <a:gd name="connsiteX439" fmla="*/ 2379384 w 2946531"/>
                    <a:gd name="connsiteY439" fmla="*/ 325939 h 1142408"/>
                    <a:gd name="connsiteX440" fmla="*/ 2366707 w 2946531"/>
                    <a:gd name="connsiteY440" fmla="*/ 313275 h 1142408"/>
                    <a:gd name="connsiteX441" fmla="*/ 2354031 w 2946531"/>
                    <a:gd name="connsiteY441" fmla="*/ 306950 h 1142408"/>
                    <a:gd name="connsiteX442" fmla="*/ 2338185 w 2946531"/>
                    <a:gd name="connsiteY442" fmla="*/ 291129 h 1142408"/>
                    <a:gd name="connsiteX443" fmla="*/ 2328678 w 2946531"/>
                    <a:gd name="connsiteY443" fmla="*/ 287960 h 1142408"/>
                    <a:gd name="connsiteX444" fmla="*/ 2316001 w 2946531"/>
                    <a:gd name="connsiteY444" fmla="*/ 265814 h 1142408"/>
                    <a:gd name="connsiteX445" fmla="*/ 2306494 w 2946531"/>
                    <a:gd name="connsiteY445" fmla="*/ 272140 h 1142408"/>
                    <a:gd name="connsiteX446" fmla="*/ 2306494 w 2946531"/>
                    <a:gd name="connsiteY446" fmla="*/ 272140 h 1142408"/>
                    <a:gd name="connsiteX447" fmla="*/ 2300156 w 2946531"/>
                    <a:gd name="connsiteY447" fmla="*/ 268971 h 1142408"/>
                    <a:gd name="connsiteX448" fmla="*/ 2296987 w 2946531"/>
                    <a:gd name="connsiteY448" fmla="*/ 268971 h 1142408"/>
                    <a:gd name="connsiteX449" fmla="*/ 2296987 w 2946531"/>
                    <a:gd name="connsiteY449" fmla="*/ 268971 h 1142408"/>
                    <a:gd name="connsiteX450" fmla="*/ 2287479 w 2946531"/>
                    <a:gd name="connsiteY450" fmla="*/ 281635 h 1142408"/>
                    <a:gd name="connsiteX451" fmla="*/ 2277972 w 2946531"/>
                    <a:gd name="connsiteY451" fmla="*/ 287960 h 1142408"/>
                    <a:gd name="connsiteX452" fmla="*/ 2268464 w 2946531"/>
                    <a:gd name="connsiteY452" fmla="*/ 284804 h 1142408"/>
                    <a:gd name="connsiteX453" fmla="*/ 2258957 w 2946531"/>
                    <a:gd name="connsiteY453" fmla="*/ 253150 h 1142408"/>
                    <a:gd name="connsiteX454" fmla="*/ 2246280 w 2946531"/>
                    <a:gd name="connsiteY454" fmla="*/ 193038 h 1142408"/>
                    <a:gd name="connsiteX455" fmla="*/ 2246280 w 2946531"/>
                    <a:gd name="connsiteY455" fmla="*/ 161397 h 1142408"/>
                    <a:gd name="connsiteX456" fmla="*/ 2246280 w 2946531"/>
                    <a:gd name="connsiteY456" fmla="*/ 161397 h 1142408"/>
                    <a:gd name="connsiteX457" fmla="*/ 2233604 w 2946531"/>
                    <a:gd name="connsiteY457" fmla="*/ 164554 h 1142408"/>
                    <a:gd name="connsiteX458" fmla="*/ 2230435 w 2946531"/>
                    <a:gd name="connsiteY458" fmla="*/ 136070 h 1142408"/>
                    <a:gd name="connsiteX459" fmla="*/ 2220927 w 2946531"/>
                    <a:gd name="connsiteY459" fmla="*/ 123419 h 1142408"/>
                    <a:gd name="connsiteX460" fmla="*/ 2217758 w 2946531"/>
                    <a:gd name="connsiteY460" fmla="*/ 123419 h 1142408"/>
                    <a:gd name="connsiteX461" fmla="*/ 2217758 w 2946531"/>
                    <a:gd name="connsiteY461" fmla="*/ 123419 h 1142408"/>
                    <a:gd name="connsiteX462" fmla="*/ 2214589 w 2946531"/>
                    <a:gd name="connsiteY462" fmla="*/ 123419 h 1142408"/>
                    <a:gd name="connsiteX463" fmla="*/ 2214589 w 2946531"/>
                    <a:gd name="connsiteY463" fmla="*/ 123419 h 1142408"/>
                    <a:gd name="connsiteX464" fmla="*/ 2224097 w 2946531"/>
                    <a:gd name="connsiteY464" fmla="*/ 94935 h 1142408"/>
                    <a:gd name="connsiteX465" fmla="*/ 2198870 w 2946531"/>
                    <a:gd name="connsiteY465" fmla="*/ 88609 h 1142408"/>
                    <a:gd name="connsiteX466" fmla="*/ 2189363 w 2946531"/>
                    <a:gd name="connsiteY466" fmla="*/ 44304 h 1142408"/>
                    <a:gd name="connsiteX467" fmla="*/ 2176686 w 2946531"/>
                    <a:gd name="connsiteY467" fmla="*/ 15821 h 1142408"/>
                    <a:gd name="connsiteX468" fmla="*/ 2170348 w 2946531"/>
                    <a:gd name="connsiteY468" fmla="*/ 18990 h 1142408"/>
                    <a:gd name="connsiteX469" fmla="*/ 2170335 w 2946531"/>
                    <a:gd name="connsiteY469" fmla="*/ 0 h 1142408"/>
                    <a:gd name="connsiteX470" fmla="*/ 2170335 w 2946531"/>
                    <a:gd name="connsiteY470" fmla="*/ 0 h 1142408"/>
                    <a:gd name="connsiteX471" fmla="*/ 782497 w 2946531"/>
                    <a:gd name="connsiteY471" fmla="*/ 493675 h 1142408"/>
                    <a:gd name="connsiteX472" fmla="*/ 782497 w 2946531"/>
                    <a:gd name="connsiteY472" fmla="*/ 493675 h 1142408"/>
                    <a:gd name="connsiteX473" fmla="*/ 2103784 w 2946531"/>
                    <a:gd name="connsiteY473" fmla="*/ 136070 h 1142408"/>
                    <a:gd name="connsiteX474" fmla="*/ 2103784 w 2946531"/>
                    <a:gd name="connsiteY474" fmla="*/ 139239 h 1142408"/>
                    <a:gd name="connsiteX475" fmla="*/ 2103784 w 2946531"/>
                    <a:gd name="connsiteY475" fmla="*/ 136070 h 1142408"/>
                    <a:gd name="connsiteX476" fmla="*/ 6326 w 2946531"/>
                    <a:gd name="connsiteY476" fmla="*/ 1139239 h 1142408"/>
                    <a:gd name="connsiteX477" fmla="*/ 6326 w 2946531"/>
                    <a:gd name="connsiteY477" fmla="*/ 1142408 h 1142408"/>
                    <a:gd name="connsiteX478" fmla="*/ 6326 w 2946531"/>
                    <a:gd name="connsiteY478" fmla="*/ 1142408 h 1142408"/>
                    <a:gd name="connsiteX479" fmla="*/ 6326 w 2946531"/>
                    <a:gd name="connsiteY479" fmla="*/ 1139239 h 114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Lst>
                  <a:rect l="l" t="t" r="r" b="b"/>
                  <a:pathLst>
                    <a:path w="2946531" h="1142408">
                      <a:moveTo>
                        <a:pt x="2170335" y="0"/>
                      </a:moveTo>
                      <a:cubicBezTo>
                        <a:pt x="2167166" y="0"/>
                        <a:pt x="2144982" y="15821"/>
                        <a:pt x="2141813" y="18990"/>
                      </a:cubicBezTo>
                      <a:cubicBezTo>
                        <a:pt x="2138644" y="44304"/>
                        <a:pt x="2132306" y="72789"/>
                        <a:pt x="2125968" y="98104"/>
                      </a:cubicBezTo>
                      <a:cubicBezTo>
                        <a:pt x="2125968" y="98104"/>
                        <a:pt x="2125968" y="94935"/>
                        <a:pt x="2122798" y="94935"/>
                      </a:cubicBezTo>
                      <a:cubicBezTo>
                        <a:pt x="2113291" y="101260"/>
                        <a:pt x="2110122" y="123419"/>
                        <a:pt x="2103784" y="136070"/>
                      </a:cubicBezTo>
                      <a:cubicBezTo>
                        <a:pt x="2103784" y="132914"/>
                        <a:pt x="2106953" y="132914"/>
                        <a:pt x="2110122" y="132914"/>
                      </a:cubicBezTo>
                      <a:cubicBezTo>
                        <a:pt x="2110122" y="132914"/>
                        <a:pt x="2113291" y="132914"/>
                        <a:pt x="2116460" y="132914"/>
                      </a:cubicBezTo>
                      <a:cubicBezTo>
                        <a:pt x="2122798" y="139239"/>
                        <a:pt x="2125968" y="139239"/>
                        <a:pt x="2125968" y="148734"/>
                      </a:cubicBezTo>
                      <a:cubicBezTo>
                        <a:pt x="2125968" y="155059"/>
                        <a:pt x="2129137" y="158228"/>
                        <a:pt x="2125968" y="164554"/>
                      </a:cubicBezTo>
                      <a:cubicBezTo>
                        <a:pt x="2125968" y="161397"/>
                        <a:pt x="2125968" y="148734"/>
                        <a:pt x="2119629" y="148734"/>
                      </a:cubicBezTo>
                      <a:lnTo>
                        <a:pt x="2119629" y="148734"/>
                      </a:lnTo>
                      <a:cubicBezTo>
                        <a:pt x="2113291" y="151903"/>
                        <a:pt x="2110122" y="161397"/>
                        <a:pt x="2103784" y="164554"/>
                      </a:cubicBezTo>
                      <a:cubicBezTo>
                        <a:pt x="2106953" y="174049"/>
                        <a:pt x="2110122" y="183543"/>
                        <a:pt x="2110122" y="189869"/>
                      </a:cubicBezTo>
                      <a:cubicBezTo>
                        <a:pt x="2106953" y="196207"/>
                        <a:pt x="2100615" y="205702"/>
                        <a:pt x="2100615" y="212028"/>
                      </a:cubicBezTo>
                      <a:cubicBezTo>
                        <a:pt x="2097445" y="215184"/>
                        <a:pt x="2097445" y="218353"/>
                        <a:pt x="2097445" y="221522"/>
                      </a:cubicBezTo>
                      <a:cubicBezTo>
                        <a:pt x="2094276" y="224666"/>
                        <a:pt x="2094276" y="227835"/>
                        <a:pt x="2094276" y="234161"/>
                      </a:cubicBezTo>
                      <a:cubicBezTo>
                        <a:pt x="2094276" y="237330"/>
                        <a:pt x="2097445" y="243656"/>
                        <a:pt x="2097445" y="249994"/>
                      </a:cubicBezTo>
                      <a:cubicBezTo>
                        <a:pt x="2103784" y="259476"/>
                        <a:pt x="2103784" y="265814"/>
                        <a:pt x="2100615" y="281635"/>
                      </a:cubicBezTo>
                      <a:cubicBezTo>
                        <a:pt x="2100615" y="291129"/>
                        <a:pt x="2100615" y="300624"/>
                        <a:pt x="2103784" y="310119"/>
                      </a:cubicBezTo>
                      <a:cubicBezTo>
                        <a:pt x="2103784" y="316444"/>
                        <a:pt x="2103784" y="316444"/>
                        <a:pt x="2106953" y="322770"/>
                      </a:cubicBezTo>
                      <a:cubicBezTo>
                        <a:pt x="2106953" y="329108"/>
                        <a:pt x="2106953" y="335434"/>
                        <a:pt x="2103784" y="344928"/>
                      </a:cubicBezTo>
                      <a:cubicBezTo>
                        <a:pt x="2097445" y="360749"/>
                        <a:pt x="2091107" y="376569"/>
                        <a:pt x="2087938" y="395558"/>
                      </a:cubicBezTo>
                      <a:cubicBezTo>
                        <a:pt x="2087938" y="398728"/>
                        <a:pt x="2091107" y="401884"/>
                        <a:pt x="2091107" y="405053"/>
                      </a:cubicBezTo>
                      <a:cubicBezTo>
                        <a:pt x="2091107" y="411379"/>
                        <a:pt x="2084769" y="420874"/>
                        <a:pt x="2081600" y="424043"/>
                      </a:cubicBezTo>
                      <a:cubicBezTo>
                        <a:pt x="2075261" y="439863"/>
                        <a:pt x="2068923" y="455683"/>
                        <a:pt x="2062585" y="471503"/>
                      </a:cubicBezTo>
                      <a:cubicBezTo>
                        <a:pt x="2059416" y="484167"/>
                        <a:pt x="2053077" y="499988"/>
                        <a:pt x="2046739" y="509482"/>
                      </a:cubicBezTo>
                      <a:cubicBezTo>
                        <a:pt x="2037232" y="518977"/>
                        <a:pt x="2024555" y="525302"/>
                        <a:pt x="2008710" y="528472"/>
                      </a:cubicBezTo>
                      <a:cubicBezTo>
                        <a:pt x="2005541" y="531628"/>
                        <a:pt x="1996033" y="531628"/>
                        <a:pt x="1992864" y="531628"/>
                      </a:cubicBezTo>
                      <a:cubicBezTo>
                        <a:pt x="1989695" y="531628"/>
                        <a:pt x="1989695" y="531628"/>
                        <a:pt x="1986526" y="531628"/>
                      </a:cubicBezTo>
                      <a:cubicBezTo>
                        <a:pt x="1973849" y="531628"/>
                        <a:pt x="1964342" y="515808"/>
                        <a:pt x="1954834" y="509482"/>
                      </a:cubicBezTo>
                      <a:cubicBezTo>
                        <a:pt x="1945327" y="503157"/>
                        <a:pt x="1932651" y="493662"/>
                        <a:pt x="1923143" y="487336"/>
                      </a:cubicBezTo>
                      <a:cubicBezTo>
                        <a:pt x="1916805" y="484167"/>
                        <a:pt x="1923143" y="480998"/>
                        <a:pt x="1916805" y="477842"/>
                      </a:cubicBezTo>
                      <a:cubicBezTo>
                        <a:pt x="1910467" y="471503"/>
                        <a:pt x="1907297" y="468347"/>
                        <a:pt x="1897790" y="465178"/>
                      </a:cubicBezTo>
                      <a:cubicBezTo>
                        <a:pt x="1875606" y="458852"/>
                        <a:pt x="1856591" y="449357"/>
                        <a:pt x="1834407" y="443032"/>
                      </a:cubicBezTo>
                      <a:lnTo>
                        <a:pt x="1834407" y="443032"/>
                      </a:lnTo>
                      <a:cubicBezTo>
                        <a:pt x="1834407" y="439863"/>
                        <a:pt x="1802716" y="424043"/>
                        <a:pt x="1796378" y="420874"/>
                      </a:cubicBezTo>
                      <a:cubicBezTo>
                        <a:pt x="1783701" y="411379"/>
                        <a:pt x="1767856" y="401884"/>
                        <a:pt x="1755179" y="392389"/>
                      </a:cubicBezTo>
                      <a:cubicBezTo>
                        <a:pt x="1755179" y="395558"/>
                        <a:pt x="1755179" y="395558"/>
                        <a:pt x="1755179" y="395558"/>
                      </a:cubicBezTo>
                      <a:cubicBezTo>
                        <a:pt x="1752010" y="395558"/>
                        <a:pt x="1748841" y="395558"/>
                        <a:pt x="1748841" y="395558"/>
                      </a:cubicBezTo>
                      <a:cubicBezTo>
                        <a:pt x="1745672" y="395558"/>
                        <a:pt x="1745672" y="395558"/>
                        <a:pt x="1742503" y="395558"/>
                      </a:cubicBezTo>
                      <a:cubicBezTo>
                        <a:pt x="1742503" y="395558"/>
                        <a:pt x="1742503" y="395558"/>
                        <a:pt x="1739334" y="395558"/>
                      </a:cubicBezTo>
                      <a:cubicBezTo>
                        <a:pt x="1739334" y="395558"/>
                        <a:pt x="1736164" y="395558"/>
                        <a:pt x="1736164" y="392389"/>
                      </a:cubicBezTo>
                      <a:cubicBezTo>
                        <a:pt x="1707769" y="370243"/>
                        <a:pt x="1682416" y="348085"/>
                        <a:pt x="1653894" y="329108"/>
                      </a:cubicBezTo>
                      <a:cubicBezTo>
                        <a:pt x="1650725" y="325939"/>
                        <a:pt x="1647556" y="325939"/>
                        <a:pt x="1647556" y="319613"/>
                      </a:cubicBezTo>
                      <a:cubicBezTo>
                        <a:pt x="1641217" y="300624"/>
                        <a:pt x="1653894" y="291129"/>
                        <a:pt x="1666570" y="275309"/>
                      </a:cubicBezTo>
                      <a:cubicBezTo>
                        <a:pt x="1672909" y="262645"/>
                        <a:pt x="1676078" y="249994"/>
                        <a:pt x="1682416" y="237330"/>
                      </a:cubicBezTo>
                      <a:cubicBezTo>
                        <a:pt x="1685585" y="234161"/>
                        <a:pt x="1688754" y="227835"/>
                        <a:pt x="1688754" y="221522"/>
                      </a:cubicBezTo>
                      <a:cubicBezTo>
                        <a:pt x="1685585" y="224666"/>
                        <a:pt x="1682416" y="227835"/>
                        <a:pt x="1682416" y="227835"/>
                      </a:cubicBezTo>
                      <a:cubicBezTo>
                        <a:pt x="1679247" y="227835"/>
                        <a:pt x="1679247" y="227835"/>
                        <a:pt x="1676078" y="227835"/>
                      </a:cubicBezTo>
                      <a:cubicBezTo>
                        <a:pt x="1676078" y="224666"/>
                        <a:pt x="1676078" y="215184"/>
                        <a:pt x="1676078" y="212028"/>
                      </a:cubicBezTo>
                      <a:cubicBezTo>
                        <a:pt x="1676078" y="205702"/>
                        <a:pt x="1676078" y="196207"/>
                        <a:pt x="1682416" y="196207"/>
                      </a:cubicBezTo>
                      <a:cubicBezTo>
                        <a:pt x="1685585" y="196207"/>
                        <a:pt x="1685585" y="196207"/>
                        <a:pt x="1685585" y="196207"/>
                      </a:cubicBezTo>
                      <a:lnTo>
                        <a:pt x="1685585" y="196207"/>
                      </a:lnTo>
                      <a:cubicBezTo>
                        <a:pt x="1695093" y="196207"/>
                        <a:pt x="1704600" y="186713"/>
                        <a:pt x="1714107" y="183543"/>
                      </a:cubicBezTo>
                      <a:cubicBezTo>
                        <a:pt x="1714107" y="189869"/>
                        <a:pt x="1710938" y="193038"/>
                        <a:pt x="1710938" y="196207"/>
                      </a:cubicBezTo>
                      <a:cubicBezTo>
                        <a:pt x="1714107" y="193038"/>
                        <a:pt x="1717276" y="193038"/>
                        <a:pt x="1720319" y="193038"/>
                      </a:cubicBezTo>
                      <a:cubicBezTo>
                        <a:pt x="1720319" y="186713"/>
                        <a:pt x="1720319" y="170892"/>
                        <a:pt x="1726657" y="170892"/>
                      </a:cubicBezTo>
                      <a:cubicBezTo>
                        <a:pt x="1729826" y="170892"/>
                        <a:pt x="1729826" y="170892"/>
                        <a:pt x="1732995" y="174049"/>
                      </a:cubicBezTo>
                      <a:cubicBezTo>
                        <a:pt x="1732995" y="170892"/>
                        <a:pt x="1729826" y="167723"/>
                        <a:pt x="1726657" y="167723"/>
                      </a:cubicBezTo>
                      <a:lnTo>
                        <a:pt x="1726657" y="167723"/>
                      </a:lnTo>
                      <a:cubicBezTo>
                        <a:pt x="1723488" y="164554"/>
                        <a:pt x="1720319" y="161397"/>
                        <a:pt x="1720319" y="155059"/>
                      </a:cubicBezTo>
                      <a:cubicBezTo>
                        <a:pt x="1726657" y="158228"/>
                        <a:pt x="1726657" y="158228"/>
                        <a:pt x="1729826" y="158228"/>
                      </a:cubicBezTo>
                      <a:cubicBezTo>
                        <a:pt x="1729826" y="158228"/>
                        <a:pt x="1732995" y="158228"/>
                        <a:pt x="1732995" y="151903"/>
                      </a:cubicBezTo>
                      <a:cubicBezTo>
                        <a:pt x="1739334" y="136070"/>
                        <a:pt x="1742503" y="132914"/>
                        <a:pt x="1758348" y="123419"/>
                      </a:cubicBezTo>
                      <a:cubicBezTo>
                        <a:pt x="1752010" y="117093"/>
                        <a:pt x="1748841" y="113924"/>
                        <a:pt x="1742503" y="110755"/>
                      </a:cubicBezTo>
                      <a:cubicBezTo>
                        <a:pt x="1742503" y="117093"/>
                        <a:pt x="1739334" y="117093"/>
                        <a:pt x="1736164" y="117093"/>
                      </a:cubicBezTo>
                      <a:cubicBezTo>
                        <a:pt x="1732995" y="117093"/>
                        <a:pt x="1729826" y="98104"/>
                        <a:pt x="1720319" y="94935"/>
                      </a:cubicBezTo>
                      <a:cubicBezTo>
                        <a:pt x="1726657" y="94935"/>
                        <a:pt x="1729826" y="94935"/>
                        <a:pt x="1729826" y="88609"/>
                      </a:cubicBezTo>
                      <a:cubicBezTo>
                        <a:pt x="1720319" y="91778"/>
                        <a:pt x="1710938" y="98104"/>
                        <a:pt x="1704600" y="107598"/>
                      </a:cubicBezTo>
                      <a:cubicBezTo>
                        <a:pt x="1691923" y="117093"/>
                        <a:pt x="1710938" y="107598"/>
                        <a:pt x="1714107" y="117093"/>
                      </a:cubicBezTo>
                      <a:cubicBezTo>
                        <a:pt x="1714107" y="117093"/>
                        <a:pt x="1707769" y="129744"/>
                        <a:pt x="1704600" y="129744"/>
                      </a:cubicBezTo>
                      <a:lnTo>
                        <a:pt x="1701431" y="129744"/>
                      </a:lnTo>
                      <a:cubicBezTo>
                        <a:pt x="1695093" y="129744"/>
                        <a:pt x="1691923" y="123419"/>
                        <a:pt x="1688754" y="120249"/>
                      </a:cubicBezTo>
                      <a:cubicBezTo>
                        <a:pt x="1685585" y="117093"/>
                        <a:pt x="1691923" y="117093"/>
                        <a:pt x="1691923" y="117093"/>
                      </a:cubicBezTo>
                      <a:cubicBezTo>
                        <a:pt x="1688754" y="113924"/>
                        <a:pt x="1682416" y="113924"/>
                        <a:pt x="1682416" y="110755"/>
                      </a:cubicBezTo>
                      <a:cubicBezTo>
                        <a:pt x="1685585" y="110755"/>
                        <a:pt x="1685585" y="107598"/>
                        <a:pt x="1688754" y="104429"/>
                      </a:cubicBezTo>
                      <a:cubicBezTo>
                        <a:pt x="1679247" y="107598"/>
                        <a:pt x="1672909" y="113924"/>
                        <a:pt x="1666570" y="120249"/>
                      </a:cubicBezTo>
                      <a:cubicBezTo>
                        <a:pt x="1653894" y="110755"/>
                        <a:pt x="1669740" y="98104"/>
                        <a:pt x="1679247" y="94935"/>
                      </a:cubicBezTo>
                      <a:cubicBezTo>
                        <a:pt x="1666570" y="91778"/>
                        <a:pt x="1676078" y="88609"/>
                        <a:pt x="1679247" y="85440"/>
                      </a:cubicBezTo>
                      <a:cubicBezTo>
                        <a:pt x="1679247" y="82283"/>
                        <a:pt x="1682416" y="79114"/>
                        <a:pt x="1679247" y="79114"/>
                      </a:cubicBezTo>
                      <a:cubicBezTo>
                        <a:pt x="1679247" y="79114"/>
                        <a:pt x="1679247" y="79114"/>
                        <a:pt x="1676078" y="82283"/>
                      </a:cubicBezTo>
                      <a:cubicBezTo>
                        <a:pt x="1672909" y="82283"/>
                        <a:pt x="1672909" y="88609"/>
                        <a:pt x="1669740" y="88609"/>
                      </a:cubicBezTo>
                      <a:cubicBezTo>
                        <a:pt x="1666570" y="91778"/>
                        <a:pt x="1663401" y="91778"/>
                        <a:pt x="1660232" y="94935"/>
                      </a:cubicBezTo>
                      <a:cubicBezTo>
                        <a:pt x="1660232" y="94935"/>
                        <a:pt x="1650725" y="101260"/>
                        <a:pt x="1653894" y="101260"/>
                      </a:cubicBezTo>
                      <a:cubicBezTo>
                        <a:pt x="1657063" y="101260"/>
                        <a:pt x="1657063" y="101260"/>
                        <a:pt x="1660232" y="101260"/>
                      </a:cubicBezTo>
                      <a:cubicBezTo>
                        <a:pt x="1650725" y="107598"/>
                        <a:pt x="1641217" y="107598"/>
                        <a:pt x="1628541" y="110755"/>
                      </a:cubicBezTo>
                      <a:cubicBezTo>
                        <a:pt x="1631710" y="113924"/>
                        <a:pt x="1634879" y="113924"/>
                        <a:pt x="1638048" y="113924"/>
                      </a:cubicBezTo>
                      <a:cubicBezTo>
                        <a:pt x="1634879" y="117093"/>
                        <a:pt x="1631710" y="117093"/>
                        <a:pt x="1628541" y="117093"/>
                      </a:cubicBezTo>
                      <a:cubicBezTo>
                        <a:pt x="1622203" y="117093"/>
                        <a:pt x="1615864" y="110755"/>
                        <a:pt x="1606357" y="104429"/>
                      </a:cubicBezTo>
                      <a:cubicBezTo>
                        <a:pt x="1603188" y="101260"/>
                        <a:pt x="1593680" y="101260"/>
                        <a:pt x="1593680" y="94935"/>
                      </a:cubicBezTo>
                      <a:cubicBezTo>
                        <a:pt x="1584173" y="98104"/>
                        <a:pt x="1581004" y="101260"/>
                        <a:pt x="1571496" y="101260"/>
                      </a:cubicBezTo>
                      <a:lnTo>
                        <a:pt x="1571496" y="101260"/>
                      </a:lnTo>
                      <a:cubicBezTo>
                        <a:pt x="1568327" y="101260"/>
                        <a:pt x="1561989" y="101260"/>
                        <a:pt x="1558820" y="101260"/>
                      </a:cubicBezTo>
                      <a:cubicBezTo>
                        <a:pt x="1555651" y="101260"/>
                        <a:pt x="1552482" y="101260"/>
                        <a:pt x="1549313" y="104429"/>
                      </a:cubicBezTo>
                      <a:cubicBezTo>
                        <a:pt x="1546143" y="98104"/>
                        <a:pt x="1549313" y="94935"/>
                        <a:pt x="1549313" y="91778"/>
                      </a:cubicBezTo>
                      <a:cubicBezTo>
                        <a:pt x="1542974" y="85440"/>
                        <a:pt x="1536636" y="85440"/>
                        <a:pt x="1530298" y="79114"/>
                      </a:cubicBezTo>
                      <a:cubicBezTo>
                        <a:pt x="1530298" y="79114"/>
                        <a:pt x="1530298" y="75945"/>
                        <a:pt x="1527129" y="75945"/>
                      </a:cubicBezTo>
                      <a:cubicBezTo>
                        <a:pt x="1523959" y="75945"/>
                        <a:pt x="1514452" y="79114"/>
                        <a:pt x="1511283" y="79114"/>
                      </a:cubicBezTo>
                      <a:cubicBezTo>
                        <a:pt x="1501776" y="85440"/>
                        <a:pt x="1501776" y="85440"/>
                        <a:pt x="1501776" y="85440"/>
                      </a:cubicBezTo>
                      <a:cubicBezTo>
                        <a:pt x="1504945" y="75945"/>
                        <a:pt x="1482761" y="69620"/>
                        <a:pt x="1476423" y="66450"/>
                      </a:cubicBezTo>
                      <a:cubicBezTo>
                        <a:pt x="1466915" y="63294"/>
                        <a:pt x="1466915" y="63294"/>
                        <a:pt x="1463746" y="56969"/>
                      </a:cubicBezTo>
                      <a:cubicBezTo>
                        <a:pt x="1460577" y="53799"/>
                        <a:pt x="1460577" y="50630"/>
                        <a:pt x="1457408" y="50630"/>
                      </a:cubicBezTo>
                      <a:cubicBezTo>
                        <a:pt x="1454239" y="50630"/>
                        <a:pt x="1451069" y="50630"/>
                        <a:pt x="1451069" y="53799"/>
                      </a:cubicBezTo>
                      <a:cubicBezTo>
                        <a:pt x="1447900" y="53799"/>
                        <a:pt x="1444731" y="56969"/>
                        <a:pt x="1444731" y="60125"/>
                      </a:cubicBezTo>
                      <a:cubicBezTo>
                        <a:pt x="1441562" y="60125"/>
                        <a:pt x="1441562" y="60125"/>
                        <a:pt x="1441562" y="60125"/>
                      </a:cubicBezTo>
                      <a:cubicBezTo>
                        <a:pt x="1435224" y="60125"/>
                        <a:pt x="1432055" y="53799"/>
                        <a:pt x="1428886" y="47474"/>
                      </a:cubicBezTo>
                      <a:cubicBezTo>
                        <a:pt x="1425716" y="44304"/>
                        <a:pt x="1416209" y="34810"/>
                        <a:pt x="1413040" y="31641"/>
                      </a:cubicBezTo>
                      <a:cubicBezTo>
                        <a:pt x="1409871" y="34810"/>
                        <a:pt x="1409871" y="37979"/>
                        <a:pt x="1409871" y="41135"/>
                      </a:cubicBezTo>
                      <a:cubicBezTo>
                        <a:pt x="1406702" y="37979"/>
                        <a:pt x="1403533" y="34810"/>
                        <a:pt x="1400363" y="31641"/>
                      </a:cubicBezTo>
                      <a:cubicBezTo>
                        <a:pt x="1397194" y="41135"/>
                        <a:pt x="1406702" y="47474"/>
                        <a:pt x="1403533" y="53799"/>
                      </a:cubicBezTo>
                      <a:cubicBezTo>
                        <a:pt x="1394025" y="41135"/>
                        <a:pt x="1394025" y="34810"/>
                        <a:pt x="1384518" y="34810"/>
                      </a:cubicBezTo>
                      <a:cubicBezTo>
                        <a:pt x="1381349" y="34810"/>
                        <a:pt x="1378179" y="34810"/>
                        <a:pt x="1375010" y="37979"/>
                      </a:cubicBezTo>
                      <a:cubicBezTo>
                        <a:pt x="1378179" y="44304"/>
                        <a:pt x="1381349" y="44304"/>
                        <a:pt x="1384518" y="47474"/>
                      </a:cubicBezTo>
                      <a:cubicBezTo>
                        <a:pt x="1387687" y="53799"/>
                        <a:pt x="1387687" y="53799"/>
                        <a:pt x="1387687" y="53799"/>
                      </a:cubicBezTo>
                      <a:lnTo>
                        <a:pt x="1387687" y="53799"/>
                      </a:lnTo>
                      <a:cubicBezTo>
                        <a:pt x="1387687" y="53799"/>
                        <a:pt x="1387687" y="53799"/>
                        <a:pt x="1390856" y="53799"/>
                      </a:cubicBezTo>
                      <a:lnTo>
                        <a:pt x="1390856" y="53799"/>
                      </a:lnTo>
                      <a:cubicBezTo>
                        <a:pt x="1394025" y="56969"/>
                        <a:pt x="1387687" y="60125"/>
                        <a:pt x="1397194" y="60125"/>
                      </a:cubicBezTo>
                      <a:lnTo>
                        <a:pt x="1397194" y="60125"/>
                      </a:lnTo>
                      <a:lnTo>
                        <a:pt x="1403533" y="56969"/>
                      </a:lnTo>
                      <a:cubicBezTo>
                        <a:pt x="1406702" y="56969"/>
                        <a:pt x="1409871" y="53799"/>
                        <a:pt x="1413040" y="53799"/>
                      </a:cubicBezTo>
                      <a:cubicBezTo>
                        <a:pt x="1416209" y="53799"/>
                        <a:pt x="1422547" y="56969"/>
                        <a:pt x="1425716" y="56969"/>
                      </a:cubicBezTo>
                      <a:cubicBezTo>
                        <a:pt x="1425716" y="60125"/>
                        <a:pt x="1425716" y="66450"/>
                        <a:pt x="1428886" y="66450"/>
                      </a:cubicBezTo>
                      <a:cubicBezTo>
                        <a:pt x="1432055" y="69620"/>
                        <a:pt x="1435224" y="69620"/>
                        <a:pt x="1438393" y="69620"/>
                      </a:cubicBezTo>
                      <a:cubicBezTo>
                        <a:pt x="1438393" y="72789"/>
                        <a:pt x="1435224" y="88609"/>
                        <a:pt x="1435224" y="94935"/>
                      </a:cubicBezTo>
                      <a:cubicBezTo>
                        <a:pt x="1435224" y="101260"/>
                        <a:pt x="1435224" y="104429"/>
                        <a:pt x="1441562" y="107598"/>
                      </a:cubicBezTo>
                      <a:cubicBezTo>
                        <a:pt x="1435224" y="110755"/>
                        <a:pt x="1425716" y="117093"/>
                        <a:pt x="1419378" y="120249"/>
                      </a:cubicBezTo>
                      <a:cubicBezTo>
                        <a:pt x="1419378" y="120249"/>
                        <a:pt x="1416209" y="123419"/>
                        <a:pt x="1416209" y="126588"/>
                      </a:cubicBezTo>
                      <a:cubicBezTo>
                        <a:pt x="1416209" y="120249"/>
                        <a:pt x="1419378" y="113924"/>
                        <a:pt x="1413040" y="110755"/>
                      </a:cubicBezTo>
                      <a:cubicBezTo>
                        <a:pt x="1409871" y="110755"/>
                        <a:pt x="1409871" y="110755"/>
                        <a:pt x="1406702" y="110755"/>
                      </a:cubicBezTo>
                      <a:cubicBezTo>
                        <a:pt x="1400363" y="110755"/>
                        <a:pt x="1400363" y="117093"/>
                        <a:pt x="1394025" y="120249"/>
                      </a:cubicBezTo>
                      <a:cubicBezTo>
                        <a:pt x="1390856" y="120249"/>
                        <a:pt x="1384518" y="120249"/>
                        <a:pt x="1378179" y="120249"/>
                      </a:cubicBezTo>
                      <a:cubicBezTo>
                        <a:pt x="1362334" y="120249"/>
                        <a:pt x="1343319" y="117093"/>
                        <a:pt x="1340150" y="113924"/>
                      </a:cubicBezTo>
                      <a:cubicBezTo>
                        <a:pt x="1336981" y="110755"/>
                        <a:pt x="1336981" y="104429"/>
                        <a:pt x="1333812" y="101260"/>
                      </a:cubicBezTo>
                      <a:cubicBezTo>
                        <a:pt x="1333812" y="104429"/>
                        <a:pt x="1330642" y="110755"/>
                        <a:pt x="1330642" y="113924"/>
                      </a:cubicBezTo>
                      <a:cubicBezTo>
                        <a:pt x="1330642" y="113924"/>
                        <a:pt x="1321135" y="107598"/>
                        <a:pt x="1317966" y="107598"/>
                      </a:cubicBezTo>
                      <a:lnTo>
                        <a:pt x="1314797" y="107598"/>
                      </a:lnTo>
                      <a:cubicBezTo>
                        <a:pt x="1311628" y="110755"/>
                        <a:pt x="1314797" y="120249"/>
                        <a:pt x="1314797" y="123419"/>
                      </a:cubicBezTo>
                      <a:cubicBezTo>
                        <a:pt x="1311628" y="123419"/>
                        <a:pt x="1308459" y="123419"/>
                        <a:pt x="1308459" y="123419"/>
                      </a:cubicBezTo>
                      <a:cubicBezTo>
                        <a:pt x="1305289" y="123419"/>
                        <a:pt x="1305289" y="123419"/>
                        <a:pt x="1305289" y="126588"/>
                      </a:cubicBezTo>
                      <a:cubicBezTo>
                        <a:pt x="1305289" y="132914"/>
                        <a:pt x="1308459" y="132914"/>
                        <a:pt x="1308459" y="132914"/>
                      </a:cubicBezTo>
                      <a:cubicBezTo>
                        <a:pt x="1308459" y="139239"/>
                        <a:pt x="1308459" y="139239"/>
                        <a:pt x="1308459" y="142408"/>
                      </a:cubicBezTo>
                      <a:lnTo>
                        <a:pt x="1298951" y="139239"/>
                      </a:lnTo>
                      <a:cubicBezTo>
                        <a:pt x="1295782" y="132914"/>
                        <a:pt x="1295782" y="132914"/>
                        <a:pt x="1295782" y="132914"/>
                      </a:cubicBezTo>
                      <a:cubicBezTo>
                        <a:pt x="1295782" y="132914"/>
                        <a:pt x="1292613" y="126588"/>
                        <a:pt x="1289444" y="126588"/>
                      </a:cubicBezTo>
                      <a:cubicBezTo>
                        <a:pt x="1286275" y="126588"/>
                        <a:pt x="1286275" y="126588"/>
                        <a:pt x="1286275" y="126588"/>
                      </a:cubicBezTo>
                      <a:cubicBezTo>
                        <a:pt x="1276767" y="126588"/>
                        <a:pt x="1283106" y="136070"/>
                        <a:pt x="1283106" y="142408"/>
                      </a:cubicBezTo>
                      <a:cubicBezTo>
                        <a:pt x="1283106" y="145565"/>
                        <a:pt x="1283106" y="145565"/>
                        <a:pt x="1286275" y="148734"/>
                      </a:cubicBezTo>
                      <a:cubicBezTo>
                        <a:pt x="1279936" y="145565"/>
                        <a:pt x="1276767" y="145565"/>
                        <a:pt x="1276767" y="145565"/>
                      </a:cubicBezTo>
                      <a:cubicBezTo>
                        <a:pt x="1273598" y="145565"/>
                        <a:pt x="1273598" y="145565"/>
                        <a:pt x="1273598" y="145565"/>
                      </a:cubicBezTo>
                      <a:cubicBezTo>
                        <a:pt x="1267260" y="148734"/>
                        <a:pt x="1248245" y="164554"/>
                        <a:pt x="1248245" y="170892"/>
                      </a:cubicBezTo>
                      <a:cubicBezTo>
                        <a:pt x="1245076" y="180374"/>
                        <a:pt x="1257752" y="193038"/>
                        <a:pt x="1260922" y="199364"/>
                      </a:cubicBezTo>
                      <a:cubicBezTo>
                        <a:pt x="1254583" y="199364"/>
                        <a:pt x="1251414" y="205702"/>
                        <a:pt x="1245076" y="208859"/>
                      </a:cubicBezTo>
                      <a:cubicBezTo>
                        <a:pt x="1241907" y="212028"/>
                        <a:pt x="1238738" y="212028"/>
                        <a:pt x="1235569" y="212028"/>
                      </a:cubicBezTo>
                      <a:cubicBezTo>
                        <a:pt x="1232399" y="212028"/>
                        <a:pt x="1229230" y="212028"/>
                        <a:pt x="1229230" y="205702"/>
                      </a:cubicBezTo>
                      <a:cubicBezTo>
                        <a:pt x="1223019" y="212028"/>
                        <a:pt x="1223019" y="221522"/>
                        <a:pt x="1219849" y="234161"/>
                      </a:cubicBezTo>
                      <a:cubicBezTo>
                        <a:pt x="1219849" y="237330"/>
                        <a:pt x="1213511" y="249994"/>
                        <a:pt x="1210342" y="249994"/>
                      </a:cubicBezTo>
                      <a:cubicBezTo>
                        <a:pt x="1210342" y="249994"/>
                        <a:pt x="1210342" y="249994"/>
                        <a:pt x="1207173" y="249994"/>
                      </a:cubicBezTo>
                      <a:cubicBezTo>
                        <a:pt x="1207173" y="253150"/>
                        <a:pt x="1207173" y="253150"/>
                        <a:pt x="1204004" y="253150"/>
                      </a:cubicBezTo>
                      <a:lnTo>
                        <a:pt x="1200835" y="253150"/>
                      </a:lnTo>
                      <a:cubicBezTo>
                        <a:pt x="1197665" y="256319"/>
                        <a:pt x="1194496" y="262645"/>
                        <a:pt x="1194496" y="265814"/>
                      </a:cubicBezTo>
                      <a:cubicBezTo>
                        <a:pt x="1191327" y="275309"/>
                        <a:pt x="1194496" y="278465"/>
                        <a:pt x="1200835" y="287960"/>
                      </a:cubicBezTo>
                      <a:cubicBezTo>
                        <a:pt x="1207173" y="294285"/>
                        <a:pt x="1207173" y="297455"/>
                        <a:pt x="1213511" y="303781"/>
                      </a:cubicBezTo>
                      <a:cubicBezTo>
                        <a:pt x="1216680" y="310119"/>
                        <a:pt x="1229230" y="310119"/>
                        <a:pt x="1235569" y="310119"/>
                      </a:cubicBezTo>
                      <a:cubicBezTo>
                        <a:pt x="1226188" y="313275"/>
                        <a:pt x="1210342" y="313275"/>
                        <a:pt x="1210342" y="325939"/>
                      </a:cubicBezTo>
                      <a:cubicBezTo>
                        <a:pt x="1210342" y="325939"/>
                        <a:pt x="1213511" y="329108"/>
                        <a:pt x="1213511" y="332264"/>
                      </a:cubicBezTo>
                      <a:cubicBezTo>
                        <a:pt x="1213511" y="335434"/>
                        <a:pt x="1223019" y="338590"/>
                        <a:pt x="1216680" y="338590"/>
                      </a:cubicBezTo>
                      <a:lnTo>
                        <a:pt x="1216680" y="338590"/>
                      </a:lnTo>
                      <a:cubicBezTo>
                        <a:pt x="1210342" y="338590"/>
                        <a:pt x="1204004" y="322770"/>
                        <a:pt x="1200835" y="322770"/>
                      </a:cubicBezTo>
                      <a:cubicBezTo>
                        <a:pt x="1197665" y="319613"/>
                        <a:pt x="1194496" y="319613"/>
                        <a:pt x="1191327" y="319613"/>
                      </a:cubicBezTo>
                      <a:cubicBezTo>
                        <a:pt x="1188158" y="319613"/>
                        <a:pt x="1181820" y="319613"/>
                        <a:pt x="1181820" y="325939"/>
                      </a:cubicBezTo>
                      <a:cubicBezTo>
                        <a:pt x="1181820" y="332264"/>
                        <a:pt x="1181820" y="332264"/>
                        <a:pt x="1181820" y="332264"/>
                      </a:cubicBezTo>
                      <a:cubicBezTo>
                        <a:pt x="1181820" y="335434"/>
                        <a:pt x="1181820" y="341759"/>
                        <a:pt x="1178651" y="341759"/>
                      </a:cubicBezTo>
                      <a:lnTo>
                        <a:pt x="1175482" y="341759"/>
                      </a:lnTo>
                      <a:cubicBezTo>
                        <a:pt x="1172312" y="335434"/>
                        <a:pt x="1178651" y="329108"/>
                        <a:pt x="1178651" y="325939"/>
                      </a:cubicBezTo>
                      <a:cubicBezTo>
                        <a:pt x="1175482" y="319613"/>
                        <a:pt x="1169143" y="316444"/>
                        <a:pt x="1162805" y="313275"/>
                      </a:cubicBezTo>
                      <a:cubicBezTo>
                        <a:pt x="1162805" y="316444"/>
                        <a:pt x="1162805" y="319613"/>
                        <a:pt x="1162805" y="319613"/>
                      </a:cubicBezTo>
                      <a:cubicBezTo>
                        <a:pt x="1162805" y="310119"/>
                        <a:pt x="1150129" y="310119"/>
                        <a:pt x="1140621" y="310119"/>
                      </a:cubicBezTo>
                      <a:cubicBezTo>
                        <a:pt x="1137452" y="310119"/>
                        <a:pt x="1131114" y="306950"/>
                        <a:pt x="1127945" y="306950"/>
                      </a:cubicBezTo>
                      <a:cubicBezTo>
                        <a:pt x="1121606" y="306950"/>
                        <a:pt x="1115268" y="310119"/>
                        <a:pt x="1121606" y="313275"/>
                      </a:cubicBezTo>
                      <a:cubicBezTo>
                        <a:pt x="1118437" y="316444"/>
                        <a:pt x="1124775" y="329108"/>
                        <a:pt x="1121606" y="329108"/>
                      </a:cubicBezTo>
                      <a:cubicBezTo>
                        <a:pt x="1118437" y="329108"/>
                        <a:pt x="1118437" y="329108"/>
                        <a:pt x="1115268" y="325939"/>
                      </a:cubicBezTo>
                      <a:cubicBezTo>
                        <a:pt x="1115268" y="329108"/>
                        <a:pt x="1115268" y="329108"/>
                        <a:pt x="1115268" y="329108"/>
                      </a:cubicBezTo>
                      <a:cubicBezTo>
                        <a:pt x="1112099" y="325939"/>
                        <a:pt x="1108930" y="325939"/>
                        <a:pt x="1108930" y="325939"/>
                      </a:cubicBezTo>
                      <a:cubicBezTo>
                        <a:pt x="1096253" y="325939"/>
                        <a:pt x="1112099" y="344928"/>
                        <a:pt x="1112099" y="354423"/>
                      </a:cubicBezTo>
                      <a:cubicBezTo>
                        <a:pt x="1105761" y="354423"/>
                        <a:pt x="1102592" y="351254"/>
                        <a:pt x="1096253" y="348085"/>
                      </a:cubicBezTo>
                      <a:cubicBezTo>
                        <a:pt x="1096253" y="354423"/>
                        <a:pt x="1096253" y="360749"/>
                        <a:pt x="1089915" y="363918"/>
                      </a:cubicBezTo>
                      <a:cubicBezTo>
                        <a:pt x="1096253" y="351254"/>
                        <a:pt x="1093084" y="341759"/>
                        <a:pt x="1096253" y="325939"/>
                      </a:cubicBezTo>
                      <a:cubicBezTo>
                        <a:pt x="1096253" y="322770"/>
                        <a:pt x="1096253" y="316444"/>
                        <a:pt x="1099422" y="313275"/>
                      </a:cubicBezTo>
                      <a:cubicBezTo>
                        <a:pt x="1102592" y="310119"/>
                        <a:pt x="1102592" y="310119"/>
                        <a:pt x="1102592" y="310119"/>
                      </a:cubicBezTo>
                      <a:cubicBezTo>
                        <a:pt x="1102592" y="306950"/>
                        <a:pt x="1102592" y="303781"/>
                        <a:pt x="1105761" y="303781"/>
                      </a:cubicBezTo>
                      <a:lnTo>
                        <a:pt x="1105761" y="303781"/>
                      </a:lnTo>
                      <a:cubicBezTo>
                        <a:pt x="1105761" y="297455"/>
                        <a:pt x="1096253" y="291129"/>
                        <a:pt x="1089915" y="287960"/>
                      </a:cubicBezTo>
                      <a:cubicBezTo>
                        <a:pt x="1077238" y="275309"/>
                        <a:pt x="1061393" y="259476"/>
                        <a:pt x="1048716" y="246825"/>
                      </a:cubicBezTo>
                      <a:cubicBezTo>
                        <a:pt x="1045547" y="243656"/>
                        <a:pt x="1042378" y="243656"/>
                        <a:pt x="1039209" y="243656"/>
                      </a:cubicBezTo>
                      <a:lnTo>
                        <a:pt x="1036040" y="243656"/>
                      </a:lnTo>
                      <a:cubicBezTo>
                        <a:pt x="1032871" y="243656"/>
                        <a:pt x="1032871" y="243656"/>
                        <a:pt x="1029701" y="243656"/>
                      </a:cubicBezTo>
                      <a:lnTo>
                        <a:pt x="1026532" y="243656"/>
                      </a:lnTo>
                      <a:cubicBezTo>
                        <a:pt x="1026532" y="243656"/>
                        <a:pt x="1026532" y="246825"/>
                        <a:pt x="1023363" y="246825"/>
                      </a:cubicBezTo>
                      <a:cubicBezTo>
                        <a:pt x="1023363" y="246825"/>
                        <a:pt x="1023363" y="246825"/>
                        <a:pt x="1023363" y="243656"/>
                      </a:cubicBezTo>
                      <a:cubicBezTo>
                        <a:pt x="1017025" y="243656"/>
                        <a:pt x="1013856" y="231004"/>
                        <a:pt x="1010687" y="227835"/>
                      </a:cubicBezTo>
                      <a:cubicBezTo>
                        <a:pt x="1007518" y="234161"/>
                        <a:pt x="994841" y="262645"/>
                        <a:pt x="985334" y="265814"/>
                      </a:cubicBezTo>
                      <a:lnTo>
                        <a:pt x="985334" y="265814"/>
                      </a:lnTo>
                      <a:cubicBezTo>
                        <a:pt x="982165" y="265814"/>
                        <a:pt x="975826" y="256319"/>
                        <a:pt x="978995" y="253150"/>
                      </a:cubicBezTo>
                      <a:cubicBezTo>
                        <a:pt x="975826" y="253150"/>
                        <a:pt x="975826" y="256319"/>
                        <a:pt x="975826" y="256319"/>
                      </a:cubicBezTo>
                      <a:cubicBezTo>
                        <a:pt x="969488" y="256319"/>
                        <a:pt x="982165" y="243656"/>
                        <a:pt x="982165" y="243656"/>
                      </a:cubicBezTo>
                      <a:cubicBezTo>
                        <a:pt x="978995" y="243656"/>
                        <a:pt x="978995" y="243656"/>
                        <a:pt x="978995" y="243656"/>
                      </a:cubicBezTo>
                      <a:cubicBezTo>
                        <a:pt x="975826" y="243656"/>
                        <a:pt x="956811" y="259476"/>
                        <a:pt x="953642" y="262645"/>
                      </a:cubicBezTo>
                      <a:cubicBezTo>
                        <a:pt x="953642" y="256319"/>
                        <a:pt x="950473" y="253150"/>
                        <a:pt x="953642" y="249994"/>
                      </a:cubicBezTo>
                      <a:cubicBezTo>
                        <a:pt x="953642" y="249994"/>
                        <a:pt x="953642" y="249994"/>
                        <a:pt x="953642" y="246825"/>
                      </a:cubicBezTo>
                      <a:cubicBezTo>
                        <a:pt x="953642" y="246825"/>
                        <a:pt x="950473" y="249994"/>
                        <a:pt x="947304" y="249994"/>
                      </a:cubicBezTo>
                      <a:cubicBezTo>
                        <a:pt x="950473" y="246825"/>
                        <a:pt x="950473" y="243656"/>
                        <a:pt x="950473" y="243656"/>
                      </a:cubicBezTo>
                      <a:cubicBezTo>
                        <a:pt x="947304" y="240499"/>
                        <a:pt x="947304" y="243656"/>
                        <a:pt x="947304" y="240499"/>
                      </a:cubicBezTo>
                      <a:cubicBezTo>
                        <a:pt x="944135" y="240499"/>
                        <a:pt x="944135" y="240499"/>
                        <a:pt x="940966" y="243656"/>
                      </a:cubicBezTo>
                      <a:cubicBezTo>
                        <a:pt x="944135" y="243656"/>
                        <a:pt x="944135" y="246825"/>
                        <a:pt x="947304" y="249994"/>
                      </a:cubicBezTo>
                      <a:cubicBezTo>
                        <a:pt x="944135" y="249994"/>
                        <a:pt x="940966" y="249994"/>
                        <a:pt x="937797" y="249994"/>
                      </a:cubicBezTo>
                      <a:cubicBezTo>
                        <a:pt x="940966" y="259476"/>
                        <a:pt x="953642" y="249994"/>
                        <a:pt x="950473" y="265814"/>
                      </a:cubicBezTo>
                      <a:cubicBezTo>
                        <a:pt x="947304" y="268971"/>
                        <a:pt x="944135" y="278465"/>
                        <a:pt x="940966" y="281635"/>
                      </a:cubicBezTo>
                      <a:cubicBezTo>
                        <a:pt x="944135" y="287960"/>
                        <a:pt x="944135" y="287960"/>
                        <a:pt x="944135" y="287960"/>
                      </a:cubicBezTo>
                      <a:cubicBezTo>
                        <a:pt x="940966" y="291129"/>
                        <a:pt x="931458" y="291129"/>
                        <a:pt x="928289" y="291129"/>
                      </a:cubicBezTo>
                      <a:cubicBezTo>
                        <a:pt x="925120" y="287960"/>
                        <a:pt x="925120" y="284804"/>
                        <a:pt x="928289" y="281635"/>
                      </a:cubicBezTo>
                      <a:cubicBezTo>
                        <a:pt x="925120" y="281635"/>
                        <a:pt x="925120" y="281635"/>
                        <a:pt x="925120" y="281635"/>
                      </a:cubicBezTo>
                      <a:cubicBezTo>
                        <a:pt x="925120" y="281635"/>
                        <a:pt x="921951" y="284804"/>
                        <a:pt x="918782" y="284804"/>
                      </a:cubicBezTo>
                      <a:cubicBezTo>
                        <a:pt x="921951" y="281635"/>
                        <a:pt x="921951" y="278465"/>
                        <a:pt x="918782" y="278465"/>
                      </a:cubicBezTo>
                      <a:lnTo>
                        <a:pt x="915613" y="281635"/>
                      </a:lnTo>
                      <a:cubicBezTo>
                        <a:pt x="912444" y="278465"/>
                        <a:pt x="915613" y="272140"/>
                        <a:pt x="918782" y="268971"/>
                      </a:cubicBezTo>
                      <a:cubicBezTo>
                        <a:pt x="915613" y="268971"/>
                        <a:pt x="912444" y="265814"/>
                        <a:pt x="912444" y="265814"/>
                      </a:cubicBezTo>
                      <a:cubicBezTo>
                        <a:pt x="909275" y="265814"/>
                        <a:pt x="909275" y="268971"/>
                        <a:pt x="912444" y="278465"/>
                      </a:cubicBezTo>
                      <a:cubicBezTo>
                        <a:pt x="912444" y="291129"/>
                        <a:pt x="902936" y="284804"/>
                        <a:pt x="896598" y="294285"/>
                      </a:cubicBezTo>
                      <a:cubicBezTo>
                        <a:pt x="893429" y="291129"/>
                        <a:pt x="893429" y="291129"/>
                        <a:pt x="893429" y="291129"/>
                      </a:cubicBezTo>
                      <a:cubicBezTo>
                        <a:pt x="893429" y="291129"/>
                        <a:pt x="893429" y="291129"/>
                        <a:pt x="890260" y="294285"/>
                      </a:cubicBezTo>
                      <a:cubicBezTo>
                        <a:pt x="890260" y="291129"/>
                        <a:pt x="890260" y="287960"/>
                        <a:pt x="890260" y="287960"/>
                      </a:cubicBezTo>
                      <a:cubicBezTo>
                        <a:pt x="887091" y="291129"/>
                        <a:pt x="880752" y="294285"/>
                        <a:pt x="877583" y="300624"/>
                      </a:cubicBezTo>
                      <a:cubicBezTo>
                        <a:pt x="877583" y="306950"/>
                        <a:pt x="877583" y="310119"/>
                        <a:pt x="880752" y="313275"/>
                      </a:cubicBezTo>
                      <a:cubicBezTo>
                        <a:pt x="883921" y="313275"/>
                        <a:pt x="883921" y="313275"/>
                        <a:pt x="883921" y="313275"/>
                      </a:cubicBezTo>
                      <a:cubicBezTo>
                        <a:pt x="883921" y="313275"/>
                        <a:pt x="887091" y="313275"/>
                        <a:pt x="887091" y="316444"/>
                      </a:cubicBezTo>
                      <a:cubicBezTo>
                        <a:pt x="890260" y="316444"/>
                        <a:pt x="887091" y="322770"/>
                        <a:pt x="887091" y="322770"/>
                      </a:cubicBezTo>
                      <a:cubicBezTo>
                        <a:pt x="893429" y="322770"/>
                        <a:pt x="893429" y="322770"/>
                        <a:pt x="893429" y="322770"/>
                      </a:cubicBezTo>
                      <a:cubicBezTo>
                        <a:pt x="893429" y="322770"/>
                        <a:pt x="893429" y="325939"/>
                        <a:pt x="896598" y="325939"/>
                      </a:cubicBezTo>
                      <a:lnTo>
                        <a:pt x="896598" y="325939"/>
                      </a:lnTo>
                      <a:cubicBezTo>
                        <a:pt x="896598" y="329108"/>
                        <a:pt x="896598" y="332264"/>
                        <a:pt x="893429" y="332264"/>
                      </a:cubicBezTo>
                      <a:lnTo>
                        <a:pt x="896598" y="335434"/>
                      </a:lnTo>
                      <a:lnTo>
                        <a:pt x="893429" y="335434"/>
                      </a:lnTo>
                      <a:cubicBezTo>
                        <a:pt x="887091" y="335434"/>
                        <a:pt x="880752" y="329108"/>
                        <a:pt x="877583" y="325939"/>
                      </a:cubicBezTo>
                      <a:cubicBezTo>
                        <a:pt x="874414" y="325939"/>
                        <a:pt x="874414" y="329108"/>
                        <a:pt x="874414" y="329108"/>
                      </a:cubicBezTo>
                      <a:cubicBezTo>
                        <a:pt x="871245" y="329108"/>
                        <a:pt x="871245" y="325939"/>
                        <a:pt x="871245" y="325939"/>
                      </a:cubicBezTo>
                      <a:cubicBezTo>
                        <a:pt x="871245" y="322770"/>
                        <a:pt x="868076" y="322770"/>
                        <a:pt x="868076" y="322770"/>
                      </a:cubicBezTo>
                      <a:cubicBezTo>
                        <a:pt x="868076" y="322770"/>
                        <a:pt x="868076" y="322770"/>
                        <a:pt x="864907" y="322770"/>
                      </a:cubicBezTo>
                      <a:cubicBezTo>
                        <a:pt x="864907" y="332264"/>
                        <a:pt x="868076" y="338590"/>
                        <a:pt x="864907" y="348085"/>
                      </a:cubicBezTo>
                      <a:cubicBezTo>
                        <a:pt x="868076" y="348085"/>
                        <a:pt x="868076" y="348085"/>
                        <a:pt x="871245" y="348085"/>
                      </a:cubicBezTo>
                      <a:cubicBezTo>
                        <a:pt x="877583" y="348085"/>
                        <a:pt x="871245" y="357580"/>
                        <a:pt x="877583" y="363918"/>
                      </a:cubicBezTo>
                      <a:cubicBezTo>
                        <a:pt x="874414" y="360749"/>
                        <a:pt x="868076" y="360749"/>
                        <a:pt x="864907" y="360749"/>
                      </a:cubicBezTo>
                      <a:cubicBezTo>
                        <a:pt x="861738" y="357580"/>
                        <a:pt x="868076" y="360749"/>
                        <a:pt x="864907" y="357580"/>
                      </a:cubicBezTo>
                      <a:cubicBezTo>
                        <a:pt x="861738" y="354423"/>
                        <a:pt x="858568" y="351254"/>
                        <a:pt x="855399" y="351254"/>
                      </a:cubicBezTo>
                      <a:cubicBezTo>
                        <a:pt x="852230" y="351254"/>
                        <a:pt x="852230" y="351254"/>
                        <a:pt x="852230" y="351254"/>
                      </a:cubicBezTo>
                      <a:cubicBezTo>
                        <a:pt x="852230" y="348085"/>
                        <a:pt x="849061" y="348085"/>
                        <a:pt x="845892" y="348085"/>
                      </a:cubicBezTo>
                      <a:cubicBezTo>
                        <a:pt x="845892" y="344928"/>
                        <a:pt x="842723" y="344928"/>
                        <a:pt x="842723" y="344928"/>
                      </a:cubicBezTo>
                      <a:cubicBezTo>
                        <a:pt x="839554" y="344928"/>
                        <a:pt x="839554" y="344928"/>
                        <a:pt x="836384" y="351254"/>
                      </a:cubicBezTo>
                      <a:cubicBezTo>
                        <a:pt x="836384" y="354423"/>
                        <a:pt x="842723" y="354423"/>
                        <a:pt x="833215" y="357580"/>
                      </a:cubicBezTo>
                      <a:lnTo>
                        <a:pt x="830046" y="360749"/>
                      </a:lnTo>
                      <a:cubicBezTo>
                        <a:pt x="820539" y="363918"/>
                        <a:pt x="820539" y="363918"/>
                        <a:pt x="820539" y="363918"/>
                      </a:cubicBezTo>
                      <a:cubicBezTo>
                        <a:pt x="817370" y="376569"/>
                        <a:pt x="820539" y="389233"/>
                        <a:pt x="826877" y="401884"/>
                      </a:cubicBezTo>
                      <a:cubicBezTo>
                        <a:pt x="830046" y="395558"/>
                        <a:pt x="833215" y="386064"/>
                        <a:pt x="839554" y="386064"/>
                      </a:cubicBezTo>
                      <a:cubicBezTo>
                        <a:pt x="836384" y="392389"/>
                        <a:pt x="833215" y="398728"/>
                        <a:pt x="833215" y="408222"/>
                      </a:cubicBezTo>
                      <a:cubicBezTo>
                        <a:pt x="830046" y="408222"/>
                        <a:pt x="826877" y="405053"/>
                        <a:pt x="823708" y="405053"/>
                      </a:cubicBezTo>
                      <a:cubicBezTo>
                        <a:pt x="823708" y="405053"/>
                        <a:pt x="823708" y="405053"/>
                        <a:pt x="823708" y="408222"/>
                      </a:cubicBezTo>
                      <a:cubicBezTo>
                        <a:pt x="820539" y="411379"/>
                        <a:pt x="817370" y="420874"/>
                        <a:pt x="820539" y="424043"/>
                      </a:cubicBezTo>
                      <a:cubicBezTo>
                        <a:pt x="820539" y="427199"/>
                        <a:pt x="820539" y="427199"/>
                        <a:pt x="823708" y="427199"/>
                      </a:cubicBezTo>
                      <a:cubicBezTo>
                        <a:pt x="823708" y="427199"/>
                        <a:pt x="823708" y="427199"/>
                        <a:pt x="826877" y="427199"/>
                      </a:cubicBezTo>
                      <a:cubicBezTo>
                        <a:pt x="826877" y="427199"/>
                        <a:pt x="826877" y="427199"/>
                        <a:pt x="830046" y="427199"/>
                      </a:cubicBezTo>
                      <a:lnTo>
                        <a:pt x="830046" y="427199"/>
                      </a:lnTo>
                      <a:cubicBezTo>
                        <a:pt x="839554" y="427199"/>
                        <a:pt x="845892" y="430368"/>
                        <a:pt x="855399" y="430368"/>
                      </a:cubicBezTo>
                      <a:cubicBezTo>
                        <a:pt x="852230" y="430368"/>
                        <a:pt x="852230" y="430368"/>
                        <a:pt x="849061" y="430368"/>
                      </a:cubicBezTo>
                      <a:cubicBezTo>
                        <a:pt x="842723" y="430368"/>
                        <a:pt x="836384" y="430368"/>
                        <a:pt x="830046" y="430368"/>
                      </a:cubicBezTo>
                      <a:cubicBezTo>
                        <a:pt x="826877" y="430368"/>
                        <a:pt x="823708" y="430368"/>
                        <a:pt x="823708" y="430368"/>
                      </a:cubicBezTo>
                      <a:cubicBezTo>
                        <a:pt x="820539" y="430368"/>
                        <a:pt x="820539" y="427199"/>
                        <a:pt x="820539" y="427199"/>
                      </a:cubicBezTo>
                      <a:cubicBezTo>
                        <a:pt x="817370" y="427199"/>
                        <a:pt x="814201" y="430368"/>
                        <a:pt x="811031" y="430368"/>
                      </a:cubicBezTo>
                      <a:cubicBezTo>
                        <a:pt x="807862" y="430368"/>
                        <a:pt x="807862" y="430368"/>
                        <a:pt x="807862" y="430368"/>
                      </a:cubicBezTo>
                      <a:cubicBezTo>
                        <a:pt x="804693" y="430368"/>
                        <a:pt x="804693" y="424043"/>
                        <a:pt x="798355" y="420874"/>
                      </a:cubicBezTo>
                      <a:cubicBezTo>
                        <a:pt x="795186" y="417704"/>
                        <a:pt x="788848" y="420874"/>
                        <a:pt x="785678" y="417704"/>
                      </a:cubicBezTo>
                      <a:cubicBezTo>
                        <a:pt x="788848" y="420874"/>
                        <a:pt x="788848" y="424043"/>
                        <a:pt x="788848" y="430368"/>
                      </a:cubicBezTo>
                      <a:cubicBezTo>
                        <a:pt x="788848" y="427199"/>
                        <a:pt x="785678" y="427199"/>
                        <a:pt x="785678" y="427199"/>
                      </a:cubicBezTo>
                      <a:cubicBezTo>
                        <a:pt x="782509" y="427199"/>
                        <a:pt x="779340" y="427199"/>
                        <a:pt x="779340" y="430368"/>
                      </a:cubicBezTo>
                      <a:cubicBezTo>
                        <a:pt x="782509" y="424043"/>
                        <a:pt x="776171" y="427199"/>
                        <a:pt x="776171" y="424043"/>
                      </a:cubicBezTo>
                      <a:cubicBezTo>
                        <a:pt x="773002" y="420874"/>
                        <a:pt x="773002" y="420874"/>
                        <a:pt x="773002" y="420874"/>
                      </a:cubicBezTo>
                      <a:lnTo>
                        <a:pt x="773002" y="417704"/>
                      </a:lnTo>
                      <a:cubicBezTo>
                        <a:pt x="773002" y="414548"/>
                        <a:pt x="773002" y="411379"/>
                        <a:pt x="766664" y="411379"/>
                      </a:cubicBezTo>
                      <a:cubicBezTo>
                        <a:pt x="766664" y="411379"/>
                        <a:pt x="763494" y="411379"/>
                        <a:pt x="760325" y="411379"/>
                      </a:cubicBezTo>
                      <a:cubicBezTo>
                        <a:pt x="763494" y="417704"/>
                        <a:pt x="769833" y="427199"/>
                        <a:pt x="769833" y="430368"/>
                      </a:cubicBezTo>
                      <a:cubicBezTo>
                        <a:pt x="769833" y="433537"/>
                        <a:pt x="766664" y="433537"/>
                        <a:pt x="763494" y="433537"/>
                      </a:cubicBezTo>
                      <a:lnTo>
                        <a:pt x="760325" y="433537"/>
                      </a:lnTo>
                      <a:cubicBezTo>
                        <a:pt x="757156" y="433537"/>
                        <a:pt x="757156" y="433537"/>
                        <a:pt x="753987" y="433537"/>
                      </a:cubicBezTo>
                      <a:lnTo>
                        <a:pt x="753987" y="433537"/>
                      </a:lnTo>
                      <a:cubicBezTo>
                        <a:pt x="757156" y="433537"/>
                        <a:pt x="760325" y="436694"/>
                        <a:pt x="763494" y="436694"/>
                      </a:cubicBezTo>
                      <a:lnTo>
                        <a:pt x="760325" y="436694"/>
                      </a:lnTo>
                      <a:lnTo>
                        <a:pt x="757156" y="436694"/>
                      </a:lnTo>
                      <a:cubicBezTo>
                        <a:pt x="753987" y="436694"/>
                        <a:pt x="753987" y="436694"/>
                        <a:pt x="753987" y="436694"/>
                      </a:cubicBezTo>
                      <a:cubicBezTo>
                        <a:pt x="750818" y="436694"/>
                        <a:pt x="750818" y="436694"/>
                        <a:pt x="747649" y="439863"/>
                      </a:cubicBezTo>
                      <a:cubicBezTo>
                        <a:pt x="750818" y="443032"/>
                        <a:pt x="753987" y="443032"/>
                        <a:pt x="757156" y="443032"/>
                      </a:cubicBezTo>
                      <a:lnTo>
                        <a:pt x="757156" y="443032"/>
                      </a:lnTo>
                      <a:cubicBezTo>
                        <a:pt x="763494" y="446188"/>
                        <a:pt x="757156" y="446188"/>
                        <a:pt x="760325" y="452514"/>
                      </a:cubicBezTo>
                      <a:cubicBezTo>
                        <a:pt x="763494" y="455683"/>
                        <a:pt x="766664" y="455683"/>
                        <a:pt x="769833" y="458852"/>
                      </a:cubicBezTo>
                      <a:cubicBezTo>
                        <a:pt x="773002" y="462009"/>
                        <a:pt x="773002" y="468347"/>
                        <a:pt x="776171" y="468347"/>
                      </a:cubicBezTo>
                      <a:lnTo>
                        <a:pt x="776171" y="468347"/>
                      </a:lnTo>
                      <a:cubicBezTo>
                        <a:pt x="779340" y="468347"/>
                        <a:pt x="785678" y="465178"/>
                        <a:pt x="785678" y="462009"/>
                      </a:cubicBezTo>
                      <a:cubicBezTo>
                        <a:pt x="785678" y="474673"/>
                        <a:pt x="769833" y="484167"/>
                        <a:pt x="782509" y="493662"/>
                      </a:cubicBezTo>
                      <a:cubicBezTo>
                        <a:pt x="779340" y="490493"/>
                        <a:pt x="766664" y="484167"/>
                        <a:pt x="766664" y="477842"/>
                      </a:cubicBezTo>
                      <a:cubicBezTo>
                        <a:pt x="757156" y="487336"/>
                        <a:pt x="763494" y="487336"/>
                        <a:pt x="763494" y="490493"/>
                      </a:cubicBezTo>
                      <a:cubicBezTo>
                        <a:pt x="763494" y="493662"/>
                        <a:pt x="760325" y="499988"/>
                        <a:pt x="760325" y="503157"/>
                      </a:cubicBezTo>
                      <a:cubicBezTo>
                        <a:pt x="757156" y="509482"/>
                        <a:pt x="760325" y="515808"/>
                        <a:pt x="760325" y="522146"/>
                      </a:cubicBezTo>
                      <a:cubicBezTo>
                        <a:pt x="747649" y="509482"/>
                        <a:pt x="744480" y="490493"/>
                        <a:pt x="735112" y="477842"/>
                      </a:cubicBezTo>
                      <a:cubicBezTo>
                        <a:pt x="731943" y="474673"/>
                        <a:pt x="728774" y="474673"/>
                        <a:pt x="728774" y="471503"/>
                      </a:cubicBezTo>
                      <a:cubicBezTo>
                        <a:pt x="725605" y="468347"/>
                        <a:pt x="722435" y="458852"/>
                        <a:pt x="725605" y="452514"/>
                      </a:cubicBezTo>
                      <a:cubicBezTo>
                        <a:pt x="725605" y="455683"/>
                        <a:pt x="722435" y="455683"/>
                        <a:pt x="722435" y="455683"/>
                      </a:cubicBezTo>
                      <a:cubicBezTo>
                        <a:pt x="719266" y="455683"/>
                        <a:pt x="719266" y="452514"/>
                        <a:pt x="719266" y="449357"/>
                      </a:cubicBezTo>
                      <a:cubicBezTo>
                        <a:pt x="712928" y="446188"/>
                        <a:pt x="716097" y="449357"/>
                        <a:pt x="716097" y="439863"/>
                      </a:cubicBezTo>
                      <a:cubicBezTo>
                        <a:pt x="716097" y="439863"/>
                        <a:pt x="719266" y="430368"/>
                        <a:pt x="716097" y="430368"/>
                      </a:cubicBezTo>
                      <a:lnTo>
                        <a:pt x="716097" y="430368"/>
                      </a:lnTo>
                      <a:cubicBezTo>
                        <a:pt x="709759" y="430368"/>
                        <a:pt x="703421" y="455683"/>
                        <a:pt x="703421" y="458852"/>
                      </a:cubicBezTo>
                      <a:cubicBezTo>
                        <a:pt x="690744" y="462009"/>
                        <a:pt x="674898" y="458852"/>
                        <a:pt x="684406" y="474673"/>
                      </a:cubicBezTo>
                      <a:cubicBezTo>
                        <a:pt x="684406" y="471503"/>
                        <a:pt x="681237" y="471503"/>
                        <a:pt x="678068" y="471503"/>
                      </a:cubicBezTo>
                      <a:cubicBezTo>
                        <a:pt x="662222" y="471503"/>
                        <a:pt x="649545" y="509482"/>
                        <a:pt x="652715" y="518977"/>
                      </a:cubicBezTo>
                      <a:cubicBezTo>
                        <a:pt x="652715" y="525302"/>
                        <a:pt x="655884" y="531628"/>
                        <a:pt x="655884" y="534798"/>
                      </a:cubicBezTo>
                      <a:cubicBezTo>
                        <a:pt x="655884" y="541123"/>
                        <a:pt x="655884" y="547461"/>
                        <a:pt x="655884" y="553787"/>
                      </a:cubicBezTo>
                      <a:cubicBezTo>
                        <a:pt x="659053" y="550618"/>
                        <a:pt x="659053" y="550618"/>
                        <a:pt x="662222" y="550618"/>
                      </a:cubicBezTo>
                      <a:cubicBezTo>
                        <a:pt x="665391" y="550618"/>
                        <a:pt x="668560" y="553787"/>
                        <a:pt x="668560" y="560112"/>
                      </a:cubicBezTo>
                      <a:cubicBezTo>
                        <a:pt x="665391" y="569607"/>
                        <a:pt x="640038" y="579102"/>
                        <a:pt x="633700" y="585427"/>
                      </a:cubicBezTo>
                      <a:cubicBezTo>
                        <a:pt x="627361" y="591766"/>
                        <a:pt x="627361" y="591766"/>
                        <a:pt x="624192" y="601248"/>
                      </a:cubicBezTo>
                      <a:cubicBezTo>
                        <a:pt x="624192" y="607573"/>
                        <a:pt x="617854" y="610730"/>
                        <a:pt x="614685" y="617068"/>
                      </a:cubicBezTo>
                      <a:cubicBezTo>
                        <a:pt x="608347" y="629719"/>
                        <a:pt x="602008" y="642383"/>
                        <a:pt x="595670" y="651878"/>
                      </a:cubicBezTo>
                      <a:cubicBezTo>
                        <a:pt x="567148" y="689844"/>
                        <a:pt x="513273" y="696182"/>
                        <a:pt x="472074" y="708833"/>
                      </a:cubicBezTo>
                      <a:cubicBezTo>
                        <a:pt x="468905" y="708833"/>
                        <a:pt x="465736" y="712002"/>
                        <a:pt x="462567" y="712002"/>
                      </a:cubicBezTo>
                      <a:lnTo>
                        <a:pt x="462567" y="712002"/>
                      </a:lnTo>
                      <a:cubicBezTo>
                        <a:pt x="456228" y="712002"/>
                        <a:pt x="446721" y="708833"/>
                        <a:pt x="440383" y="708833"/>
                      </a:cubicBezTo>
                      <a:lnTo>
                        <a:pt x="437214" y="705677"/>
                      </a:lnTo>
                      <a:cubicBezTo>
                        <a:pt x="427706" y="705677"/>
                        <a:pt x="424537" y="715171"/>
                        <a:pt x="415030" y="721497"/>
                      </a:cubicBezTo>
                      <a:cubicBezTo>
                        <a:pt x="402353" y="730992"/>
                        <a:pt x="396015" y="730992"/>
                        <a:pt x="380169" y="734148"/>
                      </a:cubicBezTo>
                      <a:cubicBezTo>
                        <a:pt x="377000" y="734148"/>
                        <a:pt x="367493" y="737317"/>
                        <a:pt x="361154" y="737317"/>
                      </a:cubicBezTo>
                      <a:cubicBezTo>
                        <a:pt x="357985" y="737317"/>
                        <a:pt x="357985" y="737317"/>
                        <a:pt x="357985" y="734148"/>
                      </a:cubicBezTo>
                      <a:cubicBezTo>
                        <a:pt x="348478" y="740487"/>
                        <a:pt x="338971" y="749981"/>
                        <a:pt x="329463" y="756307"/>
                      </a:cubicBezTo>
                      <a:cubicBezTo>
                        <a:pt x="323125" y="762633"/>
                        <a:pt x="304110" y="762633"/>
                        <a:pt x="294603" y="762633"/>
                      </a:cubicBezTo>
                      <a:cubicBezTo>
                        <a:pt x="291434" y="762633"/>
                        <a:pt x="291434" y="762633"/>
                        <a:pt x="288264" y="762633"/>
                      </a:cubicBezTo>
                      <a:cubicBezTo>
                        <a:pt x="288264" y="762633"/>
                        <a:pt x="285095" y="762633"/>
                        <a:pt x="281926" y="759476"/>
                      </a:cubicBezTo>
                      <a:lnTo>
                        <a:pt x="281926" y="756307"/>
                      </a:lnTo>
                      <a:cubicBezTo>
                        <a:pt x="281926" y="756307"/>
                        <a:pt x="281926" y="756307"/>
                        <a:pt x="278757" y="756307"/>
                      </a:cubicBezTo>
                      <a:cubicBezTo>
                        <a:pt x="275588" y="756307"/>
                        <a:pt x="272419" y="756307"/>
                        <a:pt x="269250" y="756307"/>
                      </a:cubicBezTo>
                      <a:cubicBezTo>
                        <a:pt x="262911" y="759476"/>
                        <a:pt x="259742" y="759476"/>
                        <a:pt x="256573" y="759476"/>
                      </a:cubicBezTo>
                      <a:cubicBezTo>
                        <a:pt x="253404" y="759476"/>
                        <a:pt x="250235" y="756307"/>
                        <a:pt x="256573" y="749981"/>
                      </a:cubicBezTo>
                      <a:lnTo>
                        <a:pt x="256573" y="749981"/>
                      </a:lnTo>
                      <a:cubicBezTo>
                        <a:pt x="250235" y="749981"/>
                        <a:pt x="240854" y="759476"/>
                        <a:pt x="234516" y="765802"/>
                      </a:cubicBezTo>
                      <a:cubicBezTo>
                        <a:pt x="212332" y="778453"/>
                        <a:pt x="190148" y="794286"/>
                        <a:pt x="171133" y="810106"/>
                      </a:cubicBezTo>
                      <a:cubicBezTo>
                        <a:pt x="152118" y="822757"/>
                        <a:pt x="133104" y="832252"/>
                        <a:pt x="110920" y="841746"/>
                      </a:cubicBezTo>
                      <a:cubicBezTo>
                        <a:pt x="107750" y="844915"/>
                        <a:pt x="98243" y="848072"/>
                        <a:pt x="95074" y="851241"/>
                      </a:cubicBezTo>
                      <a:cubicBezTo>
                        <a:pt x="82397" y="860736"/>
                        <a:pt x="79228" y="882882"/>
                        <a:pt x="72890" y="895546"/>
                      </a:cubicBezTo>
                      <a:cubicBezTo>
                        <a:pt x="72890" y="898715"/>
                        <a:pt x="72890" y="898715"/>
                        <a:pt x="72890" y="898715"/>
                      </a:cubicBezTo>
                      <a:cubicBezTo>
                        <a:pt x="69721" y="905041"/>
                        <a:pt x="60213" y="905041"/>
                        <a:pt x="57044" y="905041"/>
                      </a:cubicBezTo>
                      <a:cubicBezTo>
                        <a:pt x="53875" y="886052"/>
                        <a:pt x="50706" y="870231"/>
                        <a:pt x="47537" y="851241"/>
                      </a:cubicBezTo>
                      <a:cubicBezTo>
                        <a:pt x="38030" y="863906"/>
                        <a:pt x="34860" y="876557"/>
                        <a:pt x="31691" y="889221"/>
                      </a:cubicBezTo>
                      <a:cubicBezTo>
                        <a:pt x="28522" y="895546"/>
                        <a:pt x="22184" y="901872"/>
                        <a:pt x="19015" y="908210"/>
                      </a:cubicBezTo>
                      <a:cubicBezTo>
                        <a:pt x="19015" y="917704"/>
                        <a:pt x="28522" y="930356"/>
                        <a:pt x="31691" y="939850"/>
                      </a:cubicBezTo>
                      <a:cubicBezTo>
                        <a:pt x="31691" y="949345"/>
                        <a:pt x="31691" y="974647"/>
                        <a:pt x="25353" y="984142"/>
                      </a:cubicBezTo>
                      <a:cubicBezTo>
                        <a:pt x="22184" y="990468"/>
                        <a:pt x="15846" y="990468"/>
                        <a:pt x="12677" y="996806"/>
                      </a:cubicBezTo>
                      <a:cubicBezTo>
                        <a:pt x="9507" y="1006288"/>
                        <a:pt x="6338" y="1012626"/>
                        <a:pt x="3169" y="1022121"/>
                      </a:cubicBezTo>
                      <a:cubicBezTo>
                        <a:pt x="3169" y="1025290"/>
                        <a:pt x="0" y="1031616"/>
                        <a:pt x="0" y="1037942"/>
                      </a:cubicBezTo>
                      <a:cubicBezTo>
                        <a:pt x="0" y="1053762"/>
                        <a:pt x="15846" y="1072751"/>
                        <a:pt x="22184" y="1088571"/>
                      </a:cubicBezTo>
                      <a:cubicBezTo>
                        <a:pt x="28522" y="1104392"/>
                        <a:pt x="38030" y="1123381"/>
                        <a:pt x="44368" y="1142371"/>
                      </a:cubicBezTo>
                      <a:cubicBezTo>
                        <a:pt x="2943362" y="1142371"/>
                        <a:pt x="2943362" y="1142371"/>
                        <a:pt x="2943362" y="1142371"/>
                      </a:cubicBezTo>
                      <a:cubicBezTo>
                        <a:pt x="2943362" y="1139201"/>
                        <a:pt x="2943362" y="1136045"/>
                        <a:pt x="2946532" y="1132876"/>
                      </a:cubicBezTo>
                      <a:cubicBezTo>
                        <a:pt x="2946532" y="1129706"/>
                        <a:pt x="2946532" y="1129706"/>
                        <a:pt x="2946532" y="1126550"/>
                      </a:cubicBezTo>
                      <a:cubicBezTo>
                        <a:pt x="2943362" y="1120225"/>
                        <a:pt x="2930686" y="1117055"/>
                        <a:pt x="2924348" y="1117055"/>
                      </a:cubicBezTo>
                      <a:cubicBezTo>
                        <a:pt x="2918009" y="1113886"/>
                        <a:pt x="2914840" y="1088571"/>
                        <a:pt x="2908502" y="1079077"/>
                      </a:cubicBezTo>
                      <a:cubicBezTo>
                        <a:pt x="2905333" y="1075920"/>
                        <a:pt x="2895825" y="1069582"/>
                        <a:pt x="2889487" y="1066425"/>
                      </a:cubicBezTo>
                      <a:cubicBezTo>
                        <a:pt x="2883149" y="1063256"/>
                        <a:pt x="2879980" y="1056931"/>
                        <a:pt x="2876811" y="1050605"/>
                      </a:cubicBezTo>
                      <a:cubicBezTo>
                        <a:pt x="2876811" y="1044267"/>
                        <a:pt x="2873642" y="1041111"/>
                        <a:pt x="2870472" y="1037942"/>
                      </a:cubicBezTo>
                      <a:cubicBezTo>
                        <a:pt x="2867303" y="1028447"/>
                        <a:pt x="2864134" y="1025290"/>
                        <a:pt x="2854627" y="1025290"/>
                      </a:cubicBezTo>
                      <a:lnTo>
                        <a:pt x="2851458" y="1025290"/>
                      </a:lnTo>
                      <a:cubicBezTo>
                        <a:pt x="2845119" y="1025290"/>
                        <a:pt x="2841950" y="1018952"/>
                        <a:pt x="2835612" y="1015796"/>
                      </a:cubicBezTo>
                      <a:cubicBezTo>
                        <a:pt x="2829274" y="1009457"/>
                        <a:pt x="2826105" y="1003131"/>
                        <a:pt x="2822935" y="1003131"/>
                      </a:cubicBezTo>
                      <a:cubicBezTo>
                        <a:pt x="2819766" y="1003131"/>
                        <a:pt x="2819766" y="1003131"/>
                        <a:pt x="2819766" y="1003131"/>
                      </a:cubicBezTo>
                      <a:cubicBezTo>
                        <a:pt x="2813428" y="990468"/>
                        <a:pt x="2800751" y="993637"/>
                        <a:pt x="2791244" y="984142"/>
                      </a:cubicBezTo>
                      <a:cubicBezTo>
                        <a:pt x="2788075" y="977816"/>
                        <a:pt x="2788075" y="962009"/>
                        <a:pt x="2784906" y="952514"/>
                      </a:cubicBezTo>
                      <a:cubicBezTo>
                        <a:pt x="2784906" y="946176"/>
                        <a:pt x="2788075" y="943019"/>
                        <a:pt x="2784906" y="936681"/>
                      </a:cubicBezTo>
                      <a:cubicBezTo>
                        <a:pt x="2794413" y="936681"/>
                        <a:pt x="2784906" y="911366"/>
                        <a:pt x="2788075" y="905041"/>
                      </a:cubicBezTo>
                      <a:cubicBezTo>
                        <a:pt x="2784906" y="908210"/>
                        <a:pt x="2784906" y="911366"/>
                        <a:pt x="2784906" y="911366"/>
                      </a:cubicBezTo>
                      <a:cubicBezTo>
                        <a:pt x="2781737" y="911366"/>
                        <a:pt x="2781737" y="908210"/>
                        <a:pt x="2778568" y="905041"/>
                      </a:cubicBezTo>
                      <a:cubicBezTo>
                        <a:pt x="2778568" y="901872"/>
                        <a:pt x="2778568" y="901872"/>
                        <a:pt x="2778568" y="901872"/>
                      </a:cubicBezTo>
                      <a:cubicBezTo>
                        <a:pt x="2781737" y="901872"/>
                        <a:pt x="2781737" y="901872"/>
                        <a:pt x="2781737" y="901872"/>
                      </a:cubicBezTo>
                      <a:lnTo>
                        <a:pt x="2781737" y="901872"/>
                      </a:lnTo>
                      <a:cubicBezTo>
                        <a:pt x="2784906" y="901872"/>
                        <a:pt x="2784906" y="901872"/>
                        <a:pt x="2784906" y="901872"/>
                      </a:cubicBezTo>
                      <a:cubicBezTo>
                        <a:pt x="2784906" y="898715"/>
                        <a:pt x="2781737" y="898715"/>
                        <a:pt x="2778568" y="892377"/>
                      </a:cubicBezTo>
                      <a:cubicBezTo>
                        <a:pt x="2769060" y="898715"/>
                        <a:pt x="2769060" y="901872"/>
                        <a:pt x="2775398" y="911366"/>
                      </a:cubicBezTo>
                      <a:cubicBezTo>
                        <a:pt x="2765891" y="908210"/>
                        <a:pt x="2759553" y="901872"/>
                        <a:pt x="2753215" y="895546"/>
                      </a:cubicBezTo>
                      <a:cubicBezTo>
                        <a:pt x="2743707" y="892377"/>
                        <a:pt x="2746876" y="892377"/>
                        <a:pt x="2743707" y="889221"/>
                      </a:cubicBezTo>
                      <a:cubicBezTo>
                        <a:pt x="2740538" y="886052"/>
                        <a:pt x="2737369" y="879726"/>
                        <a:pt x="2734200" y="876557"/>
                      </a:cubicBezTo>
                      <a:cubicBezTo>
                        <a:pt x="2727861" y="889221"/>
                        <a:pt x="2727861" y="901872"/>
                        <a:pt x="2731031" y="914535"/>
                      </a:cubicBezTo>
                      <a:cubicBezTo>
                        <a:pt x="2724692" y="908210"/>
                        <a:pt x="2718354" y="898715"/>
                        <a:pt x="2712016" y="898715"/>
                      </a:cubicBezTo>
                      <a:cubicBezTo>
                        <a:pt x="2708847" y="898715"/>
                        <a:pt x="2708847" y="901872"/>
                        <a:pt x="2705678" y="901872"/>
                      </a:cubicBezTo>
                      <a:cubicBezTo>
                        <a:pt x="2696297" y="879726"/>
                        <a:pt x="2696297" y="857567"/>
                        <a:pt x="2686790" y="835421"/>
                      </a:cubicBezTo>
                      <a:cubicBezTo>
                        <a:pt x="2683621" y="825926"/>
                        <a:pt x="2674113" y="816432"/>
                        <a:pt x="2670944" y="803780"/>
                      </a:cubicBezTo>
                      <a:cubicBezTo>
                        <a:pt x="2670944" y="791117"/>
                        <a:pt x="2670944" y="791117"/>
                        <a:pt x="2661437" y="787948"/>
                      </a:cubicBezTo>
                      <a:cubicBezTo>
                        <a:pt x="2648760" y="778453"/>
                        <a:pt x="2642422" y="775296"/>
                        <a:pt x="2632914" y="762633"/>
                      </a:cubicBezTo>
                      <a:cubicBezTo>
                        <a:pt x="2632914" y="759476"/>
                        <a:pt x="2636084" y="743643"/>
                        <a:pt x="2639253" y="743643"/>
                      </a:cubicBezTo>
                      <a:lnTo>
                        <a:pt x="2639253" y="743643"/>
                      </a:lnTo>
                      <a:cubicBezTo>
                        <a:pt x="2642422" y="743643"/>
                        <a:pt x="2642422" y="743643"/>
                        <a:pt x="2642422" y="746812"/>
                      </a:cubicBezTo>
                      <a:cubicBezTo>
                        <a:pt x="2645591" y="746812"/>
                        <a:pt x="2645591" y="749981"/>
                        <a:pt x="2648760" y="749981"/>
                      </a:cubicBezTo>
                      <a:lnTo>
                        <a:pt x="2648760" y="749981"/>
                      </a:lnTo>
                      <a:cubicBezTo>
                        <a:pt x="2639253" y="737317"/>
                        <a:pt x="2629745" y="727823"/>
                        <a:pt x="2623407" y="712002"/>
                      </a:cubicBezTo>
                      <a:cubicBezTo>
                        <a:pt x="2617069" y="715171"/>
                        <a:pt x="2610731" y="718328"/>
                        <a:pt x="2613900" y="721497"/>
                      </a:cubicBezTo>
                      <a:cubicBezTo>
                        <a:pt x="2613900" y="721497"/>
                        <a:pt x="2613900" y="724666"/>
                        <a:pt x="2610731" y="724666"/>
                      </a:cubicBezTo>
                      <a:cubicBezTo>
                        <a:pt x="2607561" y="724666"/>
                        <a:pt x="2604392" y="708833"/>
                        <a:pt x="2598054" y="705677"/>
                      </a:cubicBezTo>
                      <a:cubicBezTo>
                        <a:pt x="2591716" y="699339"/>
                        <a:pt x="2582208" y="696182"/>
                        <a:pt x="2572701" y="689844"/>
                      </a:cubicBezTo>
                      <a:cubicBezTo>
                        <a:pt x="2569532" y="689844"/>
                        <a:pt x="2566363" y="686688"/>
                        <a:pt x="2566363" y="686688"/>
                      </a:cubicBezTo>
                      <a:cubicBezTo>
                        <a:pt x="2563194" y="686688"/>
                        <a:pt x="2563194" y="689844"/>
                        <a:pt x="2556855" y="696182"/>
                      </a:cubicBezTo>
                      <a:cubicBezTo>
                        <a:pt x="2550517" y="683518"/>
                        <a:pt x="2547348" y="677193"/>
                        <a:pt x="2541010" y="667698"/>
                      </a:cubicBezTo>
                      <a:cubicBezTo>
                        <a:pt x="2541010" y="664529"/>
                        <a:pt x="2541010" y="658203"/>
                        <a:pt x="2537841" y="655034"/>
                      </a:cubicBezTo>
                      <a:cubicBezTo>
                        <a:pt x="2537841" y="655034"/>
                        <a:pt x="2537841" y="655034"/>
                        <a:pt x="2534671" y="655034"/>
                      </a:cubicBezTo>
                      <a:lnTo>
                        <a:pt x="2531502" y="658203"/>
                      </a:lnTo>
                      <a:cubicBezTo>
                        <a:pt x="2528333" y="661372"/>
                        <a:pt x="2525164" y="664529"/>
                        <a:pt x="2525164" y="664529"/>
                      </a:cubicBezTo>
                      <a:lnTo>
                        <a:pt x="2525164" y="664529"/>
                      </a:lnTo>
                      <a:cubicBezTo>
                        <a:pt x="2518826" y="661372"/>
                        <a:pt x="2512487" y="658203"/>
                        <a:pt x="2509318" y="655034"/>
                      </a:cubicBezTo>
                      <a:cubicBezTo>
                        <a:pt x="2509318" y="655034"/>
                        <a:pt x="2509318" y="648709"/>
                        <a:pt x="2509318" y="645552"/>
                      </a:cubicBezTo>
                      <a:cubicBezTo>
                        <a:pt x="2506149" y="645552"/>
                        <a:pt x="2506149" y="645552"/>
                        <a:pt x="2506149" y="645552"/>
                      </a:cubicBezTo>
                      <a:cubicBezTo>
                        <a:pt x="2506149" y="645552"/>
                        <a:pt x="2502980" y="648709"/>
                        <a:pt x="2499811" y="648709"/>
                      </a:cubicBezTo>
                      <a:cubicBezTo>
                        <a:pt x="2499811" y="651878"/>
                        <a:pt x="2496642" y="655034"/>
                        <a:pt x="2496642" y="655034"/>
                      </a:cubicBezTo>
                      <a:lnTo>
                        <a:pt x="2496642" y="655034"/>
                      </a:lnTo>
                      <a:cubicBezTo>
                        <a:pt x="2487134" y="648709"/>
                        <a:pt x="2474458" y="642383"/>
                        <a:pt x="2468120" y="636057"/>
                      </a:cubicBezTo>
                      <a:cubicBezTo>
                        <a:pt x="2455443" y="626563"/>
                        <a:pt x="2452274" y="626563"/>
                        <a:pt x="2452274" y="610730"/>
                      </a:cubicBezTo>
                      <a:cubicBezTo>
                        <a:pt x="2455443" y="607573"/>
                        <a:pt x="2455443" y="604404"/>
                        <a:pt x="2455443" y="601248"/>
                      </a:cubicBezTo>
                      <a:cubicBezTo>
                        <a:pt x="2455443" y="591766"/>
                        <a:pt x="2436428" y="585427"/>
                        <a:pt x="2436428" y="575933"/>
                      </a:cubicBezTo>
                      <a:cubicBezTo>
                        <a:pt x="2436428" y="556956"/>
                        <a:pt x="2439597" y="531628"/>
                        <a:pt x="2436428" y="509482"/>
                      </a:cubicBezTo>
                      <a:cubicBezTo>
                        <a:pt x="2433259" y="499988"/>
                        <a:pt x="2426921" y="490493"/>
                        <a:pt x="2426921" y="480998"/>
                      </a:cubicBezTo>
                      <a:lnTo>
                        <a:pt x="2426921" y="471503"/>
                      </a:lnTo>
                      <a:cubicBezTo>
                        <a:pt x="2423752" y="471503"/>
                        <a:pt x="2426921" y="471503"/>
                        <a:pt x="2426921" y="468347"/>
                      </a:cubicBezTo>
                      <a:cubicBezTo>
                        <a:pt x="2423752" y="471503"/>
                        <a:pt x="2417414" y="471503"/>
                        <a:pt x="2414244" y="474673"/>
                      </a:cubicBezTo>
                      <a:cubicBezTo>
                        <a:pt x="2417414" y="462009"/>
                        <a:pt x="2395230" y="449357"/>
                        <a:pt x="2392060" y="439863"/>
                      </a:cubicBezTo>
                      <a:cubicBezTo>
                        <a:pt x="2388891" y="436694"/>
                        <a:pt x="2388891" y="436694"/>
                        <a:pt x="2385722" y="433537"/>
                      </a:cubicBezTo>
                      <a:cubicBezTo>
                        <a:pt x="2382553" y="420874"/>
                        <a:pt x="2385722" y="408222"/>
                        <a:pt x="2385722" y="398728"/>
                      </a:cubicBezTo>
                      <a:cubicBezTo>
                        <a:pt x="2382553" y="379738"/>
                        <a:pt x="2373046" y="360749"/>
                        <a:pt x="2376215" y="348085"/>
                      </a:cubicBezTo>
                      <a:cubicBezTo>
                        <a:pt x="2379384" y="341759"/>
                        <a:pt x="2382553" y="348085"/>
                        <a:pt x="2379384" y="338590"/>
                      </a:cubicBezTo>
                      <a:cubicBezTo>
                        <a:pt x="2373046" y="329108"/>
                        <a:pt x="2379384" y="329108"/>
                        <a:pt x="2379384" y="325939"/>
                      </a:cubicBezTo>
                      <a:cubicBezTo>
                        <a:pt x="2379384" y="319613"/>
                        <a:pt x="2373046" y="316444"/>
                        <a:pt x="2366707" y="313275"/>
                      </a:cubicBezTo>
                      <a:cubicBezTo>
                        <a:pt x="2360369" y="310119"/>
                        <a:pt x="2360369" y="310119"/>
                        <a:pt x="2354031" y="306950"/>
                      </a:cubicBezTo>
                      <a:cubicBezTo>
                        <a:pt x="2350862" y="303781"/>
                        <a:pt x="2341354" y="297455"/>
                        <a:pt x="2338185" y="291129"/>
                      </a:cubicBezTo>
                      <a:cubicBezTo>
                        <a:pt x="2338185" y="291129"/>
                        <a:pt x="2331847" y="291129"/>
                        <a:pt x="2328678" y="287960"/>
                      </a:cubicBezTo>
                      <a:cubicBezTo>
                        <a:pt x="2322340" y="281635"/>
                        <a:pt x="2319170" y="272140"/>
                        <a:pt x="2316001" y="265814"/>
                      </a:cubicBezTo>
                      <a:cubicBezTo>
                        <a:pt x="2312832" y="268971"/>
                        <a:pt x="2309663" y="272140"/>
                        <a:pt x="2306494" y="272140"/>
                      </a:cubicBezTo>
                      <a:lnTo>
                        <a:pt x="2306494" y="272140"/>
                      </a:lnTo>
                      <a:cubicBezTo>
                        <a:pt x="2303325" y="272140"/>
                        <a:pt x="2303325" y="272140"/>
                        <a:pt x="2300156" y="268971"/>
                      </a:cubicBezTo>
                      <a:cubicBezTo>
                        <a:pt x="2300156" y="268971"/>
                        <a:pt x="2300156" y="268971"/>
                        <a:pt x="2296987" y="268971"/>
                      </a:cubicBezTo>
                      <a:lnTo>
                        <a:pt x="2296987" y="268971"/>
                      </a:lnTo>
                      <a:cubicBezTo>
                        <a:pt x="2293817" y="268971"/>
                        <a:pt x="2293817" y="278465"/>
                        <a:pt x="2287479" y="281635"/>
                      </a:cubicBezTo>
                      <a:cubicBezTo>
                        <a:pt x="2284310" y="284804"/>
                        <a:pt x="2281141" y="287960"/>
                        <a:pt x="2277972" y="287960"/>
                      </a:cubicBezTo>
                      <a:cubicBezTo>
                        <a:pt x="2274803" y="287960"/>
                        <a:pt x="2271633" y="284804"/>
                        <a:pt x="2268464" y="284804"/>
                      </a:cubicBezTo>
                      <a:cubicBezTo>
                        <a:pt x="2262126" y="278465"/>
                        <a:pt x="2262126" y="262645"/>
                        <a:pt x="2258957" y="253150"/>
                      </a:cubicBezTo>
                      <a:cubicBezTo>
                        <a:pt x="2255788" y="234161"/>
                        <a:pt x="2252619" y="212028"/>
                        <a:pt x="2246280" y="193038"/>
                      </a:cubicBezTo>
                      <a:cubicBezTo>
                        <a:pt x="2246280" y="183543"/>
                        <a:pt x="2239942" y="167723"/>
                        <a:pt x="2246280" y="161397"/>
                      </a:cubicBezTo>
                      <a:lnTo>
                        <a:pt x="2246280" y="161397"/>
                      </a:lnTo>
                      <a:cubicBezTo>
                        <a:pt x="2239942" y="161397"/>
                        <a:pt x="2236773" y="161397"/>
                        <a:pt x="2233604" y="164554"/>
                      </a:cubicBezTo>
                      <a:cubicBezTo>
                        <a:pt x="2236773" y="148734"/>
                        <a:pt x="2239942" y="145565"/>
                        <a:pt x="2230435" y="136070"/>
                      </a:cubicBezTo>
                      <a:cubicBezTo>
                        <a:pt x="2227266" y="129744"/>
                        <a:pt x="2224097" y="126588"/>
                        <a:pt x="2220927" y="123419"/>
                      </a:cubicBezTo>
                      <a:cubicBezTo>
                        <a:pt x="2220927" y="123419"/>
                        <a:pt x="2220927" y="123419"/>
                        <a:pt x="2217758" y="123419"/>
                      </a:cubicBezTo>
                      <a:lnTo>
                        <a:pt x="2217758" y="123419"/>
                      </a:lnTo>
                      <a:cubicBezTo>
                        <a:pt x="2217758" y="123419"/>
                        <a:pt x="2217758" y="123419"/>
                        <a:pt x="2214589" y="123419"/>
                      </a:cubicBezTo>
                      <a:lnTo>
                        <a:pt x="2214589" y="123419"/>
                      </a:lnTo>
                      <a:cubicBezTo>
                        <a:pt x="2211420" y="117093"/>
                        <a:pt x="2214589" y="98104"/>
                        <a:pt x="2224097" y="94935"/>
                      </a:cubicBezTo>
                      <a:cubicBezTo>
                        <a:pt x="2214589" y="88609"/>
                        <a:pt x="2208378" y="94935"/>
                        <a:pt x="2198870" y="88609"/>
                      </a:cubicBezTo>
                      <a:cubicBezTo>
                        <a:pt x="2192532" y="79114"/>
                        <a:pt x="2192532" y="56969"/>
                        <a:pt x="2189363" y="44304"/>
                      </a:cubicBezTo>
                      <a:cubicBezTo>
                        <a:pt x="2189363" y="37979"/>
                        <a:pt x="2186194" y="15821"/>
                        <a:pt x="2176686" y="15821"/>
                      </a:cubicBezTo>
                      <a:cubicBezTo>
                        <a:pt x="2176686" y="15821"/>
                        <a:pt x="2173517" y="15821"/>
                        <a:pt x="2170348" y="18990"/>
                      </a:cubicBezTo>
                      <a:cubicBezTo>
                        <a:pt x="2173504" y="9495"/>
                        <a:pt x="2183012" y="6325"/>
                        <a:pt x="2170335" y="0"/>
                      </a:cubicBezTo>
                      <a:lnTo>
                        <a:pt x="2170335" y="0"/>
                      </a:lnTo>
                      <a:moveTo>
                        <a:pt x="782497" y="493675"/>
                      </a:moveTo>
                      <a:lnTo>
                        <a:pt x="782497" y="493675"/>
                      </a:lnTo>
                      <a:moveTo>
                        <a:pt x="2103784" y="136070"/>
                      </a:moveTo>
                      <a:cubicBezTo>
                        <a:pt x="2103784" y="136070"/>
                        <a:pt x="2103784" y="136070"/>
                        <a:pt x="2103784" y="139239"/>
                      </a:cubicBezTo>
                      <a:cubicBezTo>
                        <a:pt x="2103784" y="136070"/>
                        <a:pt x="2103784" y="136070"/>
                        <a:pt x="2103784" y="136070"/>
                      </a:cubicBezTo>
                      <a:moveTo>
                        <a:pt x="6326" y="1139239"/>
                      </a:moveTo>
                      <a:cubicBezTo>
                        <a:pt x="6326" y="1139239"/>
                        <a:pt x="6326" y="1139239"/>
                        <a:pt x="6326" y="1142408"/>
                      </a:cubicBezTo>
                      <a:lnTo>
                        <a:pt x="6326" y="1142408"/>
                      </a:lnTo>
                      <a:cubicBezTo>
                        <a:pt x="6326" y="1139239"/>
                        <a:pt x="6326" y="1139239"/>
                        <a:pt x="6326" y="1139239"/>
                      </a:cubicBezTo>
                    </a:path>
                  </a:pathLst>
                </a:custGeom>
                <a:solidFill>
                  <a:srgbClr val="D6D6D2"/>
                </a:solidFill>
                <a:ln w="12674"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DF3B1E9B-6634-4B7C-A957-3EDC84665581}"/>
                    </a:ext>
                  </a:extLst>
                </p:cNvPr>
                <p:cNvSpPr/>
                <p:nvPr/>
              </p:nvSpPr>
              <p:spPr>
                <a:xfrm>
                  <a:off x="6426841" y="394113"/>
                  <a:ext cx="229754" cy="832087"/>
                </a:xfrm>
                <a:custGeom>
                  <a:avLst/>
                  <a:gdLst>
                    <a:gd name="connsiteX0" fmla="*/ 80019 w 229754"/>
                    <a:gd name="connsiteY0" fmla="*/ 0 h 832087"/>
                    <a:gd name="connsiteX1" fmla="*/ 76850 w 229754"/>
                    <a:gd name="connsiteY1" fmla="*/ 0 h 832087"/>
                    <a:gd name="connsiteX2" fmla="*/ 73554 w 229754"/>
                    <a:gd name="connsiteY2" fmla="*/ 15846 h 832087"/>
                    <a:gd name="connsiteX3" fmla="*/ 70385 w 229754"/>
                    <a:gd name="connsiteY3" fmla="*/ 12677 h 832087"/>
                    <a:gd name="connsiteX4" fmla="*/ 64046 w 229754"/>
                    <a:gd name="connsiteY4" fmla="*/ 12677 h 832087"/>
                    <a:gd name="connsiteX5" fmla="*/ 57708 w 229754"/>
                    <a:gd name="connsiteY5" fmla="*/ 12677 h 832087"/>
                    <a:gd name="connsiteX6" fmla="*/ 48074 w 229754"/>
                    <a:gd name="connsiteY6" fmla="*/ 12677 h 832087"/>
                    <a:gd name="connsiteX7" fmla="*/ 80019 w 229754"/>
                    <a:gd name="connsiteY7" fmla="*/ 53748 h 832087"/>
                    <a:gd name="connsiteX8" fmla="*/ 73554 w 229754"/>
                    <a:gd name="connsiteY8" fmla="*/ 72763 h 832087"/>
                    <a:gd name="connsiteX9" fmla="*/ 76850 w 229754"/>
                    <a:gd name="connsiteY9" fmla="*/ 79102 h 832087"/>
                    <a:gd name="connsiteX10" fmla="*/ 76850 w 229754"/>
                    <a:gd name="connsiteY10" fmla="*/ 79102 h 832087"/>
                    <a:gd name="connsiteX11" fmla="*/ 73554 w 229754"/>
                    <a:gd name="connsiteY11" fmla="*/ 75932 h 832087"/>
                    <a:gd name="connsiteX12" fmla="*/ 70385 w 229754"/>
                    <a:gd name="connsiteY12" fmla="*/ 75932 h 832087"/>
                    <a:gd name="connsiteX13" fmla="*/ 64046 w 229754"/>
                    <a:gd name="connsiteY13" fmla="*/ 88609 h 832087"/>
                    <a:gd name="connsiteX14" fmla="*/ 67215 w 229754"/>
                    <a:gd name="connsiteY14" fmla="*/ 88609 h 832087"/>
                    <a:gd name="connsiteX15" fmla="*/ 73554 w 229754"/>
                    <a:gd name="connsiteY15" fmla="*/ 91778 h 832087"/>
                    <a:gd name="connsiteX16" fmla="*/ 73554 w 229754"/>
                    <a:gd name="connsiteY16" fmla="*/ 91778 h 832087"/>
                    <a:gd name="connsiteX17" fmla="*/ 60878 w 229754"/>
                    <a:gd name="connsiteY17" fmla="*/ 107624 h 832087"/>
                    <a:gd name="connsiteX18" fmla="*/ 54539 w 229754"/>
                    <a:gd name="connsiteY18" fmla="*/ 107624 h 832087"/>
                    <a:gd name="connsiteX19" fmla="*/ 44905 w 229754"/>
                    <a:gd name="connsiteY19" fmla="*/ 101285 h 832087"/>
                    <a:gd name="connsiteX20" fmla="*/ 41736 w 229754"/>
                    <a:gd name="connsiteY20" fmla="*/ 91778 h 832087"/>
                    <a:gd name="connsiteX21" fmla="*/ 32228 w 229754"/>
                    <a:gd name="connsiteY21" fmla="*/ 94947 h 832087"/>
                    <a:gd name="connsiteX22" fmla="*/ 9918 w 229754"/>
                    <a:gd name="connsiteY22" fmla="*/ 110793 h 832087"/>
                    <a:gd name="connsiteX23" fmla="*/ 19425 w 229754"/>
                    <a:gd name="connsiteY23" fmla="*/ 148696 h 832087"/>
                    <a:gd name="connsiteX24" fmla="*/ 13087 w 229754"/>
                    <a:gd name="connsiteY24" fmla="*/ 174049 h 832087"/>
                    <a:gd name="connsiteX25" fmla="*/ 9918 w 229754"/>
                    <a:gd name="connsiteY25" fmla="*/ 205613 h 832087"/>
                    <a:gd name="connsiteX26" fmla="*/ 3453 w 229754"/>
                    <a:gd name="connsiteY26" fmla="*/ 262658 h 832087"/>
                    <a:gd name="connsiteX27" fmla="*/ 41736 w 229754"/>
                    <a:gd name="connsiteY27" fmla="*/ 325913 h 832087"/>
                    <a:gd name="connsiteX28" fmla="*/ 44905 w 229754"/>
                    <a:gd name="connsiteY28" fmla="*/ 341632 h 832087"/>
                    <a:gd name="connsiteX29" fmla="*/ 32228 w 229754"/>
                    <a:gd name="connsiteY29" fmla="*/ 373324 h 832087"/>
                    <a:gd name="connsiteX30" fmla="*/ 38567 w 229754"/>
                    <a:gd name="connsiteY30" fmla="*/ 433410 h 832087"/>
                    <a:gd name="connsiteX31" fmla="*/ 28932 w 229754"/>
                    <a:gd name="connsiteY31" fmla="*/ 496666 h 832087"/>
                    <a:gd name="connsiteX32" fmla="*/ 16256 w 229754"/>
                    <a:gd name="connsiteY32" fmla="*/ 563218 h 832087"/>
                    <a:gd name="connsiteX33" fmla="*/ 19425 w 229754"/>
                    <a:gd name="connsiteY33" fmla="*/ 572599 h 832087"/>
                    <a:gd name="connsiteX34" fmla="*/ 32228 w 229754"/>
                    <a:gd name="connsiteY34" fmla="*/ 594783 h 832087"/>
                    <a:gd name="connsiteX35" fmla="*/ 38567 w 229754"/>
                    <a:gd name="connsiteY35" fmla="*/ 642320 h 832087"/>
                    <a:gd name="connsiteX36" fmla="*/ 22594 w 229754"/>
                    <a:gd name="connsiteY36" fmla="*/ 670715 h 832087"/>
                    <a:gd name="connsiteX37" fmla="*/ 28932 w 229754"/>
                    <a:gd name="connsiteY37" fmla="*/ 724463 h 832087"/>
                    <a:gd name="connsiteX38" fmla="*/ 13087 w 229754"/>
                    <a:gd name="connsiteY38" fmla="*/ 775170 h 832087"/>
                    <a:gd name="connsiteX39" fmla="*/ 16256 w 229754"/>
                    <a:gd name="connsiteY39" fmla="*/ 794058 h 832087"/>
                    <a:gd name="connsiteX40" fmla="*/ 32228 w 229754"/>
                    <a:gd name="connsiteY40" fmla="*/ 832087 h 832087"/>
                    <a:gd name="connsiteX41" fmla="*/ 57708 w 229754"/>
                    <a:gd name="connsiteY41" fmla="*/ 765662 h 832087"/>
                    <a:gd name="connsiteX42" fmla="*/ 80019 w 229754"/>
                    <a:gd name="connsiteY42" fmla="*/ 752986 h 832087"/>
                    <a:gd name="connsiteX43" fmla="*/ 89526 w 229754"/>
                    <a:gd name="connsiteY43" fmla="*/ 765662 h 832087"/>
                    <a:gd name="connsiteX44" fmla="*/ 102330 w 229754"/>
                    <a:gd name="connsiteY44" fmla="*/ 768831 h 832087"/>
                    <a:gd name="connsiteX45" fmla="*/ 105499 w 229754"/>
                    <a:gd name="connsiteY45" fmla="*/ 768831 h 832087"/>
                    <a:gd name="connsiteX46" fmla="*/ 111837 w 229754"/>
                    <a:gd name="connsiteY46" fmla="*/ 765662 h 832087"/>
                    <a:gd name="connsiteX47" fmla="*/ 124653 w 229754"/>
                    <a:gd name="connsiteY47" fmla="*/ 768831 h 832087"/>
                    <a:gd name="connsiteX48" fmla="*/ 127822 w 229754"/>
                    <a:gd name="connsiteY48" fmla="*/ 781508 h 832087"/>
                    <a:gd name="connsiteX49" fmla="*/ 130991 w 229754"/>
                    <a:gd name="connsiteY49" fmla="*/ 794058 h 832087"/>
                    <a:gd name="connsiteX50" fmla="*/ 134160 w 229754"/>
                    <a:gd name="connsiteY50" fmla="*/ 816242 h 832087"/>
                    <a:gd name="connsiteX51" fmla="*/ 137329 w 229754"/>
                    <a:gd name="connsiteY51" fmla="*/ 803565 h 832087"/>
                    <a:gd name="connsiteX52" fmla="*/ 146837 w 229754"/>
                    <a:gd name="connsiteY52" fmla="*/ 787846 h 832087"/>
                    <a:gd name="connsiteX53" fmla="*/ 143668 w 229754"/>
                    <a:gd name="connsiteY53" fmla="*/ 784677 h 832087"/>
                    <a:gd name="connsiteX54" fmla="*/ 140498 w 229754"/>
                    <a:gd name="connsiteY54" fmla="*/ 768831 h 832087"/>
                    <a:gd name="connsiteX55" fmla="*/ 124653 w 229754"/>
                    <a:gd name="connsiteY55" fmla="*/ 743478 h 832087"/>
                    <a:gd name="connsiteX56" fmla="*/ 115006 w 229754"/>
                    <a:gd name="connsiteY56" fmla="*/ 743478 h 832087"/>
                    <a:gd name="connsiteX57" fmla="*/ 130991 w 229754"/>
                    <a:gd name="connsiteY57" fmla="*/ 756155 h 832087"/>
                    <a:gd name="connsiteX58" fmla="*/ 127822 w 229754"/>
                    <a:gd name="connsiteY58" fmla="*/ 756155 h 832087"/>
                    <a:gd name="connsiteX59" fmla="*/ 111837 w 229754"/>
                    <a:gd name="connsiteY59" fmla="*/ 756155 h 832087"/>
                    <a:gd name="connsiteX60" fmla="*/ 111837 w 229754"/>
                    <a:gd name="connsiteY60" fmla="*/ 746647 h 832087"/>
                    <a:gd name="connsiteX61" fmla="*/ 111837 w 229754"/>
                    <a:gd name="connsiteY61" fmla="*/ 740309 h 832087"/>
                    <a:gd name="connsiteX62" fmla="*/ 95864 w 229754"/>
                    <a:gd name="connsiteY62" fmla="*/ 702406 h 832087"/>
                    <a:gd name="connsiteX63" fmla="*/ 67215 w 229754"/>
                    <a:gd name="connsiteY63" fmla="*/ 635981 h 832087"/>
                    <a:gd name="connsiteX64" fmla="*/ 92695 w 229754"/>
                    <a:gd name="connsiteY64" fmla="*/ 563218 h 832087"/>
                    <a:gd name="connsiteX65" fmla="*/ 111837 w 229754"/>
                    <a:gd name="connsiteY65" fmla="*/ 515681 h 832087"/>
                    <a:gd name="connsiteX66" fmla="*/ 150133 w 229754"/>
                    <a:gd name="connsiteY66" fmla="*/ 506174 h 832087"/>
                    <a:gd name="connsiteX67" fmla="*/ 130991 w 229754"/>
                    <a:gd name="connsiteY67" fmla="*/ 499835 h 832087"/>
                    <a:gd name="connsiteX68" fmla="*/ 156471 w 229754"/>
                    <a:gd name="connsiteY68" fmla="*/ 506174 h 832087"/>
                    <a:gd name="connsiteX69" fmla="*/ 153302 w 229754"/>
                    <a:gd name="connsiteY69" fmla="*/ 506174 h 832087"/>
                    <a:gd name="connsiteX70" fmla="*/ 188289 w 229754"/>
                    <a:gd name="connsiteY70" fmla="*/ 518850 h 832087"/>
                    <a:gd name="connsiteX71" fmla="*/ 201105 w 229754"/>
                    <a:gd name="connsiteY71" fmla="*/ 534696 h 832087"/>
                    <a:gd name="connsiteX72" fmla="*/ 216951 w 229754"/>
                    <a:gd name="connsiteY72" fmla="*/ 547372 h 832087"/>
                    <a:gd name="connsiteX73" fmla="*/ 226585 w 229754"/>
                    <a:gd name="connsiteY73" fmla="*/ 566387 h 832087"/>
                    <a:gd name="connsiteX74" fmla="*/ 229754 w 229754"/>
                    <a:gd name="connsiteY74" fmla="*/ 560049 h 832087"/>
                    <a:gd name="connsiteX75" fmla="*/ 213782 w 229754"/>
                    <a:gd name="connsiteY75" fmla="*/ 541034 h 832087"/>
                    <a:gd name="connsiteX76" fmla="*/ 201105 w 229754"/>
                    <a:gd name="connsiteY76" fmla="*/ 522019 h 832087"/>
                    <a:gd name="connsiteX77" fmla="*/ 194767 w 229754"/>
                    <a:gd name="connsiteY77" fmla="*/ 499835 h 832087"/>
                    <a:gd name="connsiteX78" fmla="*/ 191458 w 229754"/>
                    <a:gd name="connsiteY78" fmla="*/ 487286 h 832087"/>
                    <a:gd name="connsiteX79" fmla="*/ 185120 w 229754"/>
                    <a:gd name="connsiteY79" fmla="*/ 477778 h 832087"/>
                    <a:gd name="connsiteX80" fmla="*/ 140498 w 229754"/>
                    <a:gd name="connsiteY80" fmla="*/ 322744 h 832087"/>
                    <a:gd name="connsiteX81" fmla="*/ 130991 w 229754"/>
                    <a:gd name="connsiteY81" fmla="*/ 310068 h 832087"/>
                    <a:gd name="connsiteX82" fmla="*/ 134160 w 229754"/>
                    <a:gd name="connsiteY82" fmla="*/ 291053 h 832087"/>
                    <a:gd name="connsiteX83" fmla="*/ 127822 w 229754"/>
                    <a:gd name="connsiteY83" fmla="*/ 281546 h 832087"/>
                    <a:gd name="connsiteX84" fmla="*/ 127822 w 229754"/>
                    <a:gd name="connsiteY84" fmla="*/ 281546 h 832087"/>
                    <a:gd name="connsiteX85" fmla="*/ 124653 w 229754"/>
                    <a:gd name="connsiteY85" fmla="*/ 284715 h 832087"/>
                    <a:gd name="connsiteX86" fmla="*/ 124653 w 229754"/>
                    <a:gd name="connsiteY86" fmla="*/ 294222 h 832087"/>
                    <a:gd name="connsiteX87" fmla="*/ 121344 w 229754"/>
                    <a:gd name="connsiteY87" fmla="*/ 291053 h 832087"/>
                    <a:gd name="connsiteX88" fmla="*/ 115006 w 229754"/>
                    <a:gd name="connsiteY88" fmla="*/ 275207 h 832087"/>
                    <a:gd name="connsiteX89" fmla="*/ 108668 w 229754"/>
                    <a:gd name="connsiteY89" fmla="*/ 230966 h 832087"/>
                    <a:gd name="connsiteX90" fmla="*/ 111837 w 229754"/>
                    <a:gd name="connsiteY90" fmla="*/ 234135 h 832087"/>
                    <a:gd name="connsiteX91" fmla="*/ 115006 w 229754"/>
                    <a:gd name="connsiteY91" fmla="*/ 202444 h 832087"/>
                    <a:gd name="connsiteX92" fmla="*/ 121344 w 229754"/>
                    <a:gd name="connsiteY92" fmla="*/ 164541 h 832087"/>
                    <a:gd name="connsiteX93" fmla="*/ 108668 w 229754"/>
                    <a:gd name="connsiteY93" fmla="*/ 123343 h 832087"/>
                    <a:gd name="connsiteX94" fmla="*/ 111837 w 229754"/>
                    <a:gd name="connsiteY94" fmla="*/ 107624 h 832087"/>
                    <a:gd name="connsiteX95" fmla="*/ 115006 w 229754"/>
                    <a:gd name="connsiteY95" fmla="*/ 107624 h 832087"/>
                    <a:gd name="connsiteX96" fmla="*/ 111837 w 229754"/>
                    <a:gd name="connsiteY96" fmla="*/ 120173 h 832087"/>
                    <a:gd name="connsiteX97" fmla="*/ 121344 w 229754"/>
                    <a:gd name="connsiteY97" fmla="*/ 132850 h 832087"/>
                    <a:gd name="connsiteX98" fmla="*/ 127822 w 229754"/>
                    <a:gd name="connsiteY98" fmla="*/ 155034 h 832087"/>
                    <a:gd name="connsiteX99" fmla="*/ 111837 w 229754"/>
                    <a:gd name="connsiteY99" fmla="*/ 94947 h 832087"/>
                    <a:gd name="connsiteX100" fmla="*/ 92695 w 229754"/>
                    <a:gd name="connsiteY100" fmla="*/ 60087 h 832087"/>
                    <a:gd name="connsiteX101" fmla="*/ 95864 w 229754"/>
                    <a:gd name="connsiteY101" fmla="*/ 47410 h 832087"/>
                    <a:gd name="connsiteX102" fmla="*/ 99034 w 229754"/>
                    <a:gd name="connsiteY102" fmla="*/ 28522 h 832087"/>
                    <a:gd name="connsiteX103" fmla="*/ 89526 w 229754"/>
                    <a:gd name="connsiteY103" fmla="*/ 12677 h 832087"/>
                    <a:gd name="connsiteX104" fmla="*/ 80019 w 229754"/>
                    <a:gd name="connsiteY104" fmla="*/ 0 h 832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229754" h="832087">
                      <a:moveTo>
                        <a:pt x="80019" y="0"/>
                      </a:moveTo>
                      <a:lnTo>
                        <a:pt x="76850" y="0"/>
                      </a:lnTo>
                      <a:cubicBezTo>
                        <a:pt x="73554" y="15846"/>
                        <a:pt x="73554" y="15846"/>
                        <a:pt x="73554" y="15846"/>
                      </a:cubicBezTo>
                      <a:cubicBezTo>
                        <a:pt x="73554" y="12677"/>
                        <a:pt x="70385" y="12677"/>
                        <a:pt x="70385" y="12677"/>
                      </a:cubicBezTo>
                      <a:cubicBezTo>
                        <a:pt x="70385" y="12677"/>
                        <a:pt x="67215" y="12677"/>
                        <a:pt x="64046" y="12677"/>
                      </a:cubicBezTo>
                      <a:cubicBezTo>
                        <a:pt x="60878" y="12677"/>
                        <a:pt x="57708" y="12677"/>
                        <a:pt x="57708" y="12677"/>
                      </a:cubicBezTo>
                      <a:cubicBezTo>
                        <a:pt x="54539" y="12677"/>
                        <a:pt x="51243" y="12677"/>
                        <a:pt x="48074" y="12677"/>
                      </a:cubicBezTo>
                      <a:cubicBezTo>
                        <a:pt x="54539" y="22184"/>
                        <a:pt x="80019" y="41072"/>
                        <a:pt x="80019" y="53748"/>
                      </a:cubicBezTo>
                      <a:cubicBezTo>
                        <a:pt x="80019" y="60087"/>
                        <a:pt x="70385" y="66425"/>
                        <a:pt x="73554" y="72763"/>
                      </a:cubicBezTo>
                      <a:cubicBezTo>
                        <a:pt x="73554" y="72763"/>
                        <a:pt x="92695" y="75932"/>
                        <a:pt x="76850" y="79102"/>
                      </a:cubicBezTo>
                      <a:lnTo>
                        <a:pt x="76850" y="79102"/>
                      </a:lnTo>
                      <a:cubicBezTo>
                        <a:pt x="76850" y="75932"/>
                        <a:pt x="73554" y="75932"/>
                        <a:pt x="73554" y="75932"/>
                      </a:cubicBezTo>
                      <a:lnTo>
                        <a:pt x="70385" y="75932"/>
                      </a:lnTo>
                      <a:cubicBezTo>
                        <a:pt x="67215" y="79102"/>
                        <a:pt x="64046" y="85440"/>
                        <a:pt x="64046" y="88609"/>
                      </a:cubicBezTo>
                      <a:cubicBezTo>
                        <a:pt x="67215" y="88609"/>
                        <a:pt x="67215" y="88609"/>
                        <a:pt x="67215" y="88609"/>
                      </a:cubicBezTo>
                      <a:cubicBezTo>
                        <a:pt x="70385" y="88609"/>
                        <a:pt x="73554" y="88609"/>
                        <a:pt x="73554" y="91778"/>
                      </a:cubicBezTo>
                      <a:lnTo>
                        <a:pt x="73554" y="91778"/>
                      </a:lnTo>
                      <a:cubicBezTo>
                        <a:pt x="73554" y="91778"/>
                        <a:pt x="60878" y="104455"/>
                        <a:pt x="60878" y="107624"/>
                      </a:cubicBezTo>
                      <a:cubicBezTo>
                        <a:pt x="57708" y="107624"/>
                        <a:pt x="54539" y="107624"/>
                        <a:pt x="54539" y="107624"/>
                      </a:cubicBezTo>
                      <a:cubicBezTo>
                        <a:pt x="48074" y="107624"/>
                        <a:pt x="44905" y="104455"/>
                        <a:pt x="44905" y="101285"/>
                      </a:cubicBezTo>
                      <a:cubicBezTo>
                        <a:pt x="41736" y="94947"/>
                        <a:pt x="41736" y="91778"/>
                        <a:pt x="41736" y="91778"/>
                      </a:cubicBezTo>
                      <a:cubicBezTo>
                        <a:pt x="38567" y="91778"/>
                        <a:pt x="35398" y="91778"/>
                        <a:pt x="32228" y="94947"/>
                      </a:cubicBezTo>
                      <a:cubicBezTo>
                        <a:pt x="25763" y="98116"/>
                        <a:pt x="6749" y="104455"/>
                        <a:pt x="9918" y="110793"/>
                      </a:cubicBezTo>
                      <a:cubicBezTo>
                        <a:pt x="13087" y="123343"/>
                        <a:pt x="19425" y="136019"/>
                        <a:pt x="19425" y="148696"/>
                      </a:cubicBezTo>
                      <a:cubicBezTo>
                        <a:pt x="16256" y="158203"/>
                        <a:pt x="16256" y="167710"/>
                        <a:pt x="13087" y="174049"/>
                      </a:cubicBezTo>
                      <a:cubicBezTo>
                        <a:pt x="13087" y="186725"/>
                        <a:pt x="9918" y="196106"/>
                        <a:pt x="9918" y="205613"/>
                      </a:cubicBezTo>
                      <a:cubicBezTo>
                        <a:pt x="6749" y="221459"/>
                        <a:pt x="-6054" y="249981"/>
                        <a:pt x="3453" y="262658"/>
                      </a:cubicBezTo>
                      <a:cubicBezTo>
                        <a:pt x="16256" y="284715"/>
                        <a:pt x="28932" y="303730"/>
                        <a:pt x="41736" y="325913"/>
                      </a:cubicBezTo>
                      <a:cubicBezTo>
                        <a:pt x="44905" y="332252"/>
                        <a:pt x="48074" y="335421"/>
                        <a:pt x="44905" y="341632"/>
                      </a:cubicBezTo>
                      <a:cubicBezTo>
                        <a:pt x="38567" y="354309"/>
                        <a:pt x="32228" y="360647"/>
                        <a:pt x="32228" y="373324"/>
                      </a:cubicBezTo>
                      <a:cubicBezTo>
                        <a:pt x="35398" y="392338"/>
                        <a:pt x="38567" y="414522"/>
                        <a:pt x="38567" y="433410"/>
                      </a:cubicBezTo>
                      <a:cubicBezTo>
                        <a:pt x="38567" y="455594"/>
                        <a:pt x="35398" y="474609"/>
                        <a:pt x="28932" y="496666"/>
                      </a:cubicBezTo>
                      <a:cubicBezTo>
                        <a:pt x="25763" y="515681"/>
                        <a:pt x="13087" y="541034"/>
                        <a:pt x="16256" y="563218"/>
                      </a:cubicBezTo>
                      <a:cubicBezTo>
                        <a:pt x="16256" y="566387"/>
                        <a:pt x="16256" y="569430"/>
                        <a:pt x="19425" y="572599"/>
                      </a:cubicBezTo>
                      <a:cubicBezTo>
                        <a:pt x="22594" y="578937"/>
                        <a:pt x="28932" y="585275"/>
                        <a:pt x="32228" y="594783"/>
                      </a:cubicBezTo>
                      <a:cubicBezTo>
                        <a:pt x="35398" y="604290"/>
                        <a:pt x="41736" y="629643"/>
                        <a:pt x="38567" y="642320"/>
                      </a:cubicBezTo>
                      <a:cubicBezTo>
                        <a:pt x="35398" y="651700"/>
                        <a:pt x="22594" y="661208"/>
                        <a:pt x="22594" y="670715"/>
                      </a:cubicBezTo>
                      <a:cubicBezTo>
                        <a:pt x="25763" y="686561"/>
                        <a:pt x="32228" y="708745"/>
                        <a:pt x="28932" y="724463"/>
                      </a:cubicBezTo>
                      <a:cubicBezTo>
                        <a:pt x="25763" y="743478"/>
                        <a:pt x="13087" y="756155"/>
                        <a:pt x="13087" y="775170"/>
                      </a:cubicBezTo>
                      <a:cubicBezTo>
                        <a:pt x="13087" y="781508"/>
                        <a:pt x="16256" y="787846"/>
                        <a:pt x="16256" y="794058"/>
                      </a:cubicBezTo>
                      <a:cubicBezTo>
                        <a:pt x="22594" y="813072"/>
                        <a:pt x="19425" y="816242"/>
                        <a:pt x="32228" y="832087"/>
                      </a:cubicBezTo>
                      <a:cubicBezTo>
                        <a:pt x="41736" y="809903"/>
                        <a:pt x="48074" y="787846"/>
                        <a:pt x="57708" y="765662"/>
                      </a:cubicBezTo>
                      <a:cubicBezTo>
                        <a:pt x="60878" y="756155"/>
                        <a:pt x="70385" y="756155"/>
                        <a:pt x="80019" y="752986"/>
                      </a:cubicBezTo>
                      <a:cubicBezTo>
                        <a:pt x="83188" y="759324"/>
                        <a:pt x="83188" y="762493"/>
                        <a:pt x="89526" y="765662"/>
                      </a:cubicBezTo>
                      <a:cubicBezTo>
                        <a:pt x="92695" y="765662"/>
                        <a:pt x="95864" y="768831"/>
                        <a:pt x="102330" y="768831"/>
                      </a:cubicBezTo>
                      <a:lnTo>
                        <a:pt x="105499" y="768831"/>
                      </a:lnTo>
                      <a:cubicBezTo>
                        <a:pt x="108668" y="768831"/>
                        <a:pt x="111837" y="765662"/>
                        <a:pt x="111837" y="765662"/>
                      </a:cubicBezTo>
                      <a:cubicBezTo>
                        <a:pt x="118175" y="765662"/>
                        <a:pt x="121344" y="768831"/>
                        <a:pt x="124653" y="768831"/>
                      </a:cubicBezTo>
                      <a:cubicBezTo>
                        <a:pt x="130991" y="775170"/>
                        <a:pt x="127822" y="775170"/>
                        <a:pt x="127822" y="781508"/>
                      </a:cubicBezTo>
                      <a:cubicBezTo>
                        <a:pt x="127822" y="787846"/>
                        <a:pt x="127822" y="791015"/>
                        <a:pt x="130991" y="794058"/>
                      </a:cubicBezTo>
                      <a:cubicBezTo>
                        <a:pt x="134160" y="803565"/>
                        <a:pt x="134160" y="809903"/>
                        <a:pt x="134160" y="816242"/>
                      </a:cubicBezTo>
                      <a:cubicBezTo>
                        <a:pt x="137329" y="813072"/>
                        <a:pt x="134160" y="806734"/>
                        <a:pt x="137329" y="803565"/>
                      </a:cubicBezTo>
                      <a:cubicBezTo>
                        <a:pt x="140498" y="797227"/>
                        <a:pt x="143668" y="794058"/>
                        <a:pt x="146837" y="787846"/>
                      </a:cubicBezTo>
                      <a:cubicBezTo>
                        <a:pt x="146837" y="784677"/>
                        <a:pt x="143668" y="787846"/>
                        <a:pt x="143668" y="784677"/>
                      </a:cubicBezTo>
                      <a:cubicBezTo>
                        <a:pt x="143668" y="778339"/>
                        <a:pt x="140498" y="775170"/>
                        <a:pt x="140498" y="768831"/>
                      </a:cubicBezTo>
                      <a:cubicBezTo>
                        <a:pt x="137329" y="752986"/>
                        <a:pt x="140498" y="743478"/>
                        <a:pt x="124653" y="743478"/>
                      </a:cubicBezTo>
                      <a:cubicBezTo>
                        <a:pt x="121344" y="743478"/>
                        <a:pt x="118175" y="743478"/>
                        <a:pt x="115006" y="743478"/>
                      </a:cubicBezTo>
                      <a:cubicBezTo>
                        <a:pt x="118175" y="749816"/>
                        <a:pt x="124653" y="752986"/>
                        <a:pt x="130991" y="756155"/>
                      </a:cubicBezTo>
                      <a:cubicBezTo>
                        <a:pt x="127822" y="756155"/>
                        <a:pt x="127822" y="756155"/>
                        <a:pt x="127822" y="756155"/>
                      </a:cubicBezTo>
                      <a:cubicBezTo>
                        <a:pt x="121344" y="756155"/>
                        <a:pt x="115006" y="756155"/>
                        <a:pt x="111837" y="756155"/>
                      </a:cubicBezTo>
                      <a:cubicBezTo>
                        <a:pt x="111837" y="752986"/>
                        <a:pt x="111837" y="749816"/>
                        <a:pt x="111837" y="746647"/>
                      </a:cubicBezTo>
                      <a:cubicBezTo>
                        <a:pt x="111837" y="740309"/>
                        <a:pt x="111837" y="743478"/>
                        <a:pt x="111837" y="740309"/>
                      </a:cubicBezTo>
                      <a:cubicBezTo>
                        <a:pt x="108668" y="727633"/>
                        <a:pt x="105499" y="711914"/>
                        <a:pt x="95864" y="702406"/>
                      </a:cubicBezTo>
                      <a:cubicBezTo>
                        <a:pt x="83188" y="686561"/>
                        <a:pt x="57708" y="661208"/>
                        <a:pt x="67215" y="635981"/>
                      </a:cubicBezTo>
                      <a:cubicBezTo>
                        <a:pt x="76850" y="613797"/>
                        <a:pt x="83188" y="588444"/>
                        <a:pt x="92695" y="563218"/>
                      </a:cubicBezTo>
                      <a:cubicBezTo>
                        <a:pt x="95864" y="550541"/>
                        <a:pt x="102330" y="525188"/>
                        <a:pt x="111837" y="515681"/>
                      </a:cubicBezTo>
                      <a:cubicBezTo>
                        <a:pt x="121344" y="506174"/>
                        <a:pt x="140498" y="509343"/>
                        <a:pt x="150133" y="506174"/>
                      </a:cubicBezTo>
                      <a:cubicBezTo>
                        <a:pt x="143668" y="506174"/>
                        <a:pt x="134160" y="509343"/>
                        <a:pt x="130991" y="499835"/>
                      </a:cubicBezTo>
                      <a:cubicBezTo>
                        <a:pt x="137329" y="506174"/>
                        <a:pt x="146837" y="503004"/>
                        <a:pt x="156471" y="506174"/>
                      </a:cubicBezTo>
                      <a:cubicBezTo>
                        <a:pt x="153302" y="506174"/>
                        <a:pt x="153302" y="506174"/>
                        <a:pt x="153302" y="506174"/>
                      </a:cubicBezTo>
                      <a:cubicBezTo>
                        <a:pt x="165978" y="512512"/>
                        <a:pt x="175613" y="509343"/>
                        <a:pt x="188289" y="518850"/>
                      </a:cubicBezTo>
                      <a:cubicBezTo>
                        <a:pt x="194767" y="522019"/>
                        <a:pt x="194767" y="528358"/>
                        <a:pt x="201105" y="534696"/>
                      </a:cubicBezTo>
                      <a:cubicBezTo>
                        <a:pt x="207443" y="537865"/>
                        <a:pt x="210612" y="541034"/>
                        <a:pt x="216951" y="547372"/>
                      </a:cubicBezTo>
                      <a:cubicBezTo>
                        <a:pt x="220247" y="550541"/>
                        <a:pt x="223416" y="560049"/>
                        <a:pt x="226585" y="566387"/>
                      </a:cubicBezTo>
                      <a:cubicBezTo>
                        <a:pt x="226585" y="563218"/>
                        <a:pt x="229754" y="560049"/>
                        <a:pt x="229754" y="560049"/>
                      </a:cubicBezTo>
                      <a:cubicBezTo>
                        <a:pt x="229754" y="547372"/>
                        <a:pt x="220247" y="544203"/>
                        <a:pt x="213782" y="541034"/>
                      </a:cubicBezTo>
                      <a:cubicBezTo>
                        <a:pt x="207443" y="534696"/>
                        <a:pt x="204274" y="528358"/>
                        <a:pt x="201105" y="522019"/>
                      </a:cubicBezTo>
                      <a:cubicBezTo>
                        <a:pt x="197936" y="515681"/>
                        <a:pt x="194767" y="506174"/>
                        <a:pt x="194767" y="499835"/>
                      </a:cubicBezTo>
                      <a:cubicBezTo>
                        <a:pt x="191458" y="496666"/>
                        <a:pt x="194767" y="490455"/>
                        <a:pt x="191458" y="487286"/>
                      </a:cubicBezTo>
                      <a:cubicBezTo>
                        <a:pt x="191458" y="484116"/>
                        <a:pt x="188289" y="480947"/>
                        <a:pt x="185120" y="477778"/>
                      </a:cubicBezTo>
                      <a:cubicBezTo>
                        <a:pt x="169148" y="427072"/>
                        <a:pt x="156471" y="376493"/>
                        <a:pt x="140498" y="322744"/>
                      </a:cubicBezTo>
                      <a:cubicBezTo>
                        <a:pt x="140498" y="316406"/>
                        <a:pt x="134160" y="316406"/>
                        <a:pt x="130991" y="310068"/>
                      </a:cubicBezTo>
                      <a:cubicBezTo>
                        <a:pt x="127822" y="303730"/>
                        <a:pt x="134160" y="297391"/>
                        <a:pt x="134160" y="291053"/>
                      </a:cubicBezTo>
                      <a:cubicBezTo>
                        <a:pt x="134160" y="291053"/>
                        <a:pt x="130991" y="281546"/>
                        <a:pt x="127822" y="281546"/>
                      </a:cubicBezTo>
                      <a:lnTo>
                        <a:pt x="127822" y="281546"/>
                      </a:lnTo>
                      <a:cubicBezTo>
                        <a:pt x="124653" y="281546"/>
                        <a:pt x="127822" y="284715"/>
                        <a:pt x="124653" y="284715"/>
                      </a:cubicBezTo>
                      <a:cubicBezTo>
                        <a:pt x="124653" y="287884"/>
                        <a:pt x="130991" y="294222"/>
                        <a:pt x="124653" y="294222"/>
                      </a:cubicBezTo>
                      <a:cubicBezTo>
                        <a:pt x="124653" y="294222"/>
                        <a:pt x="124653" y="291053"/>
                        <a:pt x="121344" y="291053"/>
                      </a:cubicBezTo>
                      <a:cubicBezTo>
                        <a:pt x="115006" y="291053"/>
                        <a:pt x="118175" y="281546"/>
                        <a:pt x="115006" y="275207"/>
                      </a:cubicBezTo>
                      <a:cubicBezTo>
                        <a:pt x="111837" y="262658"/>
                        <a:pt x="105499" y="240474"/>
                        <a:pt x="108668" y="230966"/>
                      </a:cubicBezTo>
                      <a:cubicBezTo>
                        <a:pt x="111837" y="234135"/>
                        <a:pt x="111837" y="234135"/>
                        <a:pt x="111837" y="234135"/>
                      </a:cubicBezTo>
                      <a:cubicBezTo>
                        <a:pt x="115006" y="221459"/>
                        <a:pt x="108668" y="211952"/>
                        <a:pt x="115006" y="202444"/>
                      </a:cubicBezTo>
                      <a:cubicBezTo>
                        <a:pt x="118175" y="189768"/>
                        <a:pt x="121344" y="180387"/>
                        <a:pt x="121344" y="164541"/>
                      </a:cubicBezTo>
                      <a:cubicBezTo>
                        <a:pt x="121344" y="148696"/>
                        <a:pt x="108668" y="136019"/>
                        <a:pt x="108668" y="123343"/>
                      </a:cubicBezTo>
                      <a:cubicBezTo>
                        <a:pt x="105499" y="120173"/>
                        <a:pt x="105499" y="107624"/>
                        <a:pt x="111837" y="107624"/>
                      </a:cubicBezTo>
                      <a:cubicBezTo>
                        <a:pt x="111837" y="107624"/>
                        <a:pt x="111837" y="107624"/>
                        <a:pt x="115006" y="107624"/>
                      </a:cubicBezTo>
                      <a:cubicBezTo>
                        <a:pt x="118175" y="110793"/>
                        <a:pt x="111837" y="117004"/>
                        <a:pt x="111837" y="120173"/>
                      </a:cubicBezTo>
                      <a:cubicBezTo>
                        <a:pt x="115006" y="123343"/>
                        <a:pt x="121344" y="126512"/>
                        <a:pt x="121344" y="132850"/>
                      </a:cubicBezTo>
                      <a:cubicBezTo>
                        <a:pt x="124653" y="139188"/>
                        <a:pt x="124653" y="148696"/>
                        <a:pt x="127822" y="155034"/>
                      </a:cubicBezTo>
                      <a:cubicBezTo>
                        <a:pt x="124653" y="136019"/>
                        <a:pt x="118175" y="113835"/>
                        <a:pt x="111837" y="94947"/>
                      </a:cubicBezTo>
                      <a:cubicBezTo>
                        <a:pt x="105499" y="82271"/>
                        <a:pt x="99034" y="72763"/>
                        <a:pt x="92695" y="60087"/>
                      </a:cubicBezTo>
                      <a:cubicBezTo>
                        <a:pt x="89526" y="53748"/>
                        <a:pt x="92695" y="50579"/>
                        <a:pt x="95864" y="47410"/>
                      </a:cubicBezTo>
                      <a:cubicBezTo>
                        <a:pt x="99034" y="41072"/>
                        <a:pt x="102330" y="31691"/>
                        <a:pt x="99034" y="28522"/>
                      </a:cubicBezTo>
                      <a:cubicBezTo>
                        <a:pt x="95864" y="22184"/>
                        <a:pt x="92695" y="15846"/>
                        <a:pt x="89526" y="12677"/>
                      </a:cubicBezTo>
                      <a:cubicBezTo>
                        <a:pt x="86357" y="9507"/>
                        <a:pt x="83188" y="0"/>
                        <a:pt x="80019" y="0"/>
                      </a:cubicBezTo>
                    </a:path>
                  </a:pathLst>
                </a:custGeom>
                <a:solidFill>
                  <a:srgbClr val="D6D6D2"/>
                </a:solidFill>
                <a:ln w="12674"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85E623B1-5AC3-4BC7-93C3-88919085CDFA}"/>
                    </a:ext>
                  </a:extLst>
                </p:cNvPr>
                <p:cNvSpPr/>
                <p:nvPr/>
              </p:nvSpPr>
              <p:spPr>
                <a:xfrm>
                  <a:off x="8281205" y="6005757"/>
                  <a:ext cx="53216" cy="76059"/>
                </a:xfrm>
                <a:custGeom>
                  <a:avLst/>
                  <a:gdLst>
                    <a:gd name="connsiteX0" fmla="*/ 3169 w 53216"/>
                    <a:gd name="connsiteY0" fmla="*/ 0 h 76059"/>
                    <a:gd name="connsiteX1" fmla="*/ 0 w 53216"/>
                    <a:gd name="connsiteY1" fmla="*/ 12677 h 76059"/>
                    <a:gd name="connsiteX2" fmla="*/ 0 w 53216"/>
                    <a:gd name="connsiteY2" fmla="*/ 19015 h 76059"/>
                    <a:gd name="connsiteX3" fmla="*/ 6199 w 53216"/>
                    <a:gd name="connsiteY3" fmla="*/ 31691 h 76059"/>
                    <a:gd name="connsiteX4" fmla="*/ 9368 w 53216"/>
                    <a:gd name="connsiteY4" fmla="*/ 53875 h 76059"/>
                    <a:gd name="connsiteX5" fmla="*/ 18749 w 53216"/>
                    <a:gd name="connsiteY5" fmla="*/ 76059 h 76059"/>
                    <a:gd name="connsiteX6" fmla="*/ 34467 w 53216"/>
                    <a:gd name="connsiteY6" fmla="*/ 72890 h 76059"/>
                    <a:gd name="connsiteX7" fmla="*/ 34467 w 53216"/>
                    <a:gd name="connsiteY7" fmla="*/ 72890 h 76059"/>
                    <a:gd name="connsiteX8" fmla="*/ 37510 w 53216"/>
                    <a:gd name="connsiteY8" fmla="*/ 72890 h 76059"/>
                    <a:gd name="connsiteX9" fmla="*/ 40679 w 53216"/>
                    <a:gd name="connsiteY9" fmla="*/ 72890 h 76059"/>
                    <a:gd name="connsiteX10" fmla="*/ 40679 w 53216"/>
                    <a:gd name="connsiteY10" fmla="*/ 72890 h 76059"/>
                    <a:gd name="connsiteX11" fmla="*/ 50047 w 53216"/>
                    <a:gd name="connsiteY11" fmla="*/ 66552 h 76059"/>
                    <a:gd name="connsiteX12" fmla="*/ 53216 w 53216"/>
                    <a:gd name="connsiteY12" fmla="*/ 66552 h 76059"/>
                    <a:gd name="connsiteX13" fmla="*/ 53216 w 53216"/>
                    <a:gd name="connsiteY13" fmla="*/ 66552 h 76059"/>
                    <a:gd name="connsiteX14" fmla="*/ 43848 w 53216"/>
                    <a:gd name="connsiteY14" fmla="*/ 38030 h 76059"/>
                    <a:gd name="connsiteX15" fmla="*/ 40679 w 53216"/>
                    <a:gd name="connsiteY15" fmla="*/ 22184 h 76059"/>
                    <a:gd name="connsiteX16" fmla="*/ 37510 w 53216"/>
                    <a:gd name="connsiteY16" fmla="*/ 22184 h 76059"/>
                    <a:gd name="connsiteX17" fmla="*/ 31298 w 53216"/>
                    <a:gd name="connsiteY17" fmla="*/ 38030 h 76059"/>
                    <a:gd name="connsiteX18" fmla="*/ 25087 w 53216"/>
                    <a:gd name="connsiteY18" fmla="*/ 41199 h 76059"/>
                    <a:gd name="connsiteX19" fmla="*/ 18749 w 53216"/>
                    <a:gd name="connsiteY19" fmla="*/ 34860 h 76059"/>
                    <a:gd name="connsiteX20" fmla="*/ 18749 w 53216"/>
                    <a:gd name="connsiteY20" fmla="*/ 19015 h 76059"/>
                    <a:gd name="connsiteX21" fmla="*/ 12537 w 53216"/>
                    <a:gd name="connsiteY21" fmla="*/ 12677 h 76059"/>
                    <a:gd name="connsiteX22" fmla="*/ 12537 w 53216"/>
                    <a:gd name="connsiteY22" fmla="*/ 9507 h 76059"/>
                    <a:gd name="connsiteX23" fmla="*/ 3169 w 53216"/>
                    <a:gd name="connsiteY23" fmla="*/ 0 h 76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216" h="76059">
                      <a:moveTo>
                        <a:pt x="3169" y="0"/>
                      </a:moveTo>
                      <a:cubicBezTo>
                        <a:pt x="3169" y="0"/>
                        <a:pt x="0" y="3169"/>
                        <a:pt x="0" y="12677"/>
                      </a:cubicBezTo>
                      <a:cubicBezTo>
                        <a:pt x="0" y="12677"/>
                        <a:pt x="0" y="15846"/>
                        <a:pt x="0" y="19015"/>
                      </a:cubicBezTo>
                      <a:cubicBezTo>
                        <a:pt x="3169" y="22184"/>
                        <a:pt x="3169" y="28522"/>
                        <a:pt x="6199" y="31691"/>
                      </a:cubicBezTo>
                      <a:cubicBezTo>
                        <a:pt x="9368" y="41199"/>
                        <a:pt x="9368" y="44368"/>
                        <a:pt x="9368" y="53875"/>
                      </a:cubicBezTo>
                      <a:cubicBezTo>
                        <a:pt x="9368" y="60213"/>
                        <a:pt x="18749" y="69721"/>
                        <a:pt x="18749" y="76059"/>
                      </a:cubicBezTo>
                      <a:cubicBezTo>
                        <a:pt x="21918" y="76059"/>
                        <a:pt x="28129" y="72890"/>
                        <a:pt x="34467" y="72890"/>
                      </a:cubicBezTo>
                      <a:lnTo>
                        <a:pt x="34467" y="72890"/>
                      </a:lnTo>
                      <a:lnTo>
                        <a:pt x="37510" y="72890"/>
                      </a:lnTo>
                      <a:cubicBezTo>
                        <a:pt x="37510" y="72890"/>
                        <a:pt x="37510" y="72890"/>
                        <a:pt x="40679" y="72890"/>
                      </a:cubicBezTo>
                      <a:lnTo>
                        <a:pt x="40679" y="72890"/>
                      </a:lnTo>
                      <a:cubicBezTo>
                        <a:pt x="43848" y="72890"/>
                        <a:pt x="47017" y="66552"/>
                        <a:pt x="50047" y="66552"/>
                      </a:cubicBezTo>
                      <a:cubicBezTo>
                        <a:pt x="50047" y="66552"/>
                        <a:pt x="50047" y="66552"/>
                        <a:pt x="53216" y="66552"/>
                      </a:cubicBezTo>
                      <a:lnTo>
                        <a:pt x="53216" y="66552"/>
                      </a:lnTo>
                      <a:cubicBezTo>
                        <a:pt x="50047" y="57044"/>
                        <a:pt x="47017" y="47537"/>
                        <a:pt x="43848" y="38030"/>
                      </a:cubicBezTo>
                      <a:cubicBezTo>
                        <a:pt x="40679" y="31691"/>
                        <a:pt x="37510" y="25353"/>
                        <a:pt x="40679" y="22184"/>
                      </a:cubicBezTo>
                      <a:lnTo>
                        <a:pt x="37510" y="22184"/>
                      </a:lnTo>
                      <a:cubicBezTo>
                        <a:pt x="31298" y="22184"/>
                        <a:pt x="34467" y="34860"/>
                        <a:pt x="31298" y="38030"/>
                      </a:cubicBezTo>
                      <a:cubicBezTo>
                        <a:pt x="28129" y="41199"/>
                        <a:pt x="28129" y="41199"/>
                        <a:pt x="25087" y="41199"/>
                      </a:cubicBezTo>
                      <a:cubicBezTo>
                        <a:pt x="21918" y="41199"/>
                        <a:pt x="21918" y="34860"/>
                        <a:pt x="18749" y="34860"/>
                      </a:cubicBezTo>
                      <a:cubicBezTo>
                        <a:pt x="18749" y="28522"/>
                        <a:pt x="18749" y="25353"/>
                        <a:pt x="18749" y="19015"/>
                      </a:cubicBezTo>
                      <a:cubicBezTo>
                        <a:pt x="15706" y="15846"/>
                        <a:pt x="15706" y="12677"/>
                        <a:pt x="12537" y="12677"/>
                      </a:cubicBezTo>
                      <a:cubicBezTo>
                        <a:pt x="12537" y="9507"/>
                        <a:pt x="12537" y="9507"/>
                        <a:pt x="12537" y="9507"/>
                      </a:cubicBezTo>
                      <a:cubicBezTo>
                        <a:pt x="9368" y="3169"/>
                        <a:pt x="6199" y="0"/>
                        <a:pt x="3169" y="0"/>
                      </a:cubicBezTo>
                    </a:path>
                  </a:pathLst>
                </a:custGeom>
                <a:solidFill>
                  <a:srgbClr val="D6D6D2"/>
                </a:solidFill>
                <a:ln w="12674"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44310EC4-92DD-4E27-AD59-C014DCF65EE3}"/>
                    </a:ext>
                  </a:extLst>
                </p:cNvPr>
                <p:cNvSpPr/>
                <p:nvPr/>
              </p:nvSpPr>
              <p:spPr>
                <a:xfrm>
                  <a:off x="8328457" y="6101591"/>
                  <a:ext cx="50091" cy="53228"/>
                </a:xfrm>
                <a:custGeom>
                  <a:avLst/>
                  <a:gdLst>
                    <a:gd name="connsiteX0" fmla="*/ 6244 w 50091"/>
                    <a:gd name="connsiteY0" fmla="*/ 0 h 53228"/>
                    <a:gd name="connsiteX1" fmla="*/ 3075 w 50091"/>
                    <a:gd name="connsiteY1" fmla="*/ 6262 h 53228"/>
                    <a:gd name="connsiteX2" fmla="*/ 6244 w 50091"/>
                    <a:gd name="connsiteY2" fmla="*/ 18787 h 53228"/>
                    <a:gd name="connsiteX3" fmla="*/ 6244 w 50091"/>
                    <a:gd name="connsiteY3" fmla="*/ 21918 h 53228"/>
                    <a:gd name="connsiteX4" fmla="*/ 9413 w 50091"/>
                    <a:gd name="connsiteY4" fmla="*/ 18787 h 53228"/>
                    <a:gd name="connsiteX5" fmla="*/ 12582 w 50091"/>
                    <a:gd name="connsiteY5" fmla="*/ 18787 h 53228"/>
                    <a:gd name="connsiteX6" fmla="*/ 15624 w 50091"/>
                    <a:gd name="connsiteY6" fmla="*/ 21918 h 53228"/>
                    <a:gd name="connsiteX7" fmla="*/ 15624 w 50091"/>
                    <a:gd name="connsiteY7" fmla="*/ 31311 h 53228"/>
                    <a:gd name="connsiteX8" fmla="*/ 24992 w 50091"/>
                    <a:gd name="connsiteY8" fmla="*/ 53229 h 53228"/>
                    <a:gd name="connsiteX9" fmla="*/ 40711 w 50091"/>
                    <a:gd name="connsiteY9" fmla="*/ 46967 h 53228"/>
                    <a:gd name="connsiteX10" fmla="*/ 50092 w 50091"/>
                    <a:gd name="connsiteY10" fmla="*/ 40704 h 53228"/>
                    <a:gd name="connsiteX11" fmla="*/ 46922 w 50091"/>
                    <a:gd name="connsiteY11" fmla="*/ 40704 h 53228"/>
                    <a:gd name="connsiteX12" fmla="*/ 34373 w 50091"/>
                    <a:gd name="connsiteY12" fmla="*/ 28193 h 53228"/>
                    <a:gd name="connsiteX13" fmla="*/ 21962 w 50091"/>
                    <a:gd name="connsiteY13" fmla="*/ 15656 h 53228"/>
                    <a:gd name="connsiteX14" fmla="*/ 21962 w 50091"/>
                    <a:gd name="connsiteY14" fmla="*/ 18787 h 53228"/>
                    <a:gd name="connsiteX15" fmla="*/ 12582 w 50091"/>
                    <a:gd name="connsiteY15" fmla="*/ 3131 h 53228"/>
                    <a:gd name="connsiteX16" fmla="*/ 6244 w 50091"/>
                    <a:gd name="connsiteY16" fmla="*/ 0 h 5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091" h="53228">
                      <a:moveTo>
                        <a:pt x="6244" y="0"/>
                      </a:moveTo>
                      <a:cubicBezTo>
                        <a:pt x="3075" y="0"/>
                        <a:pt x="3075" y="3131"/>
                        <a:pt x="3075" y="6262"/>
                      </a:cubicBezTo>
                      <a:cubicBezTo>
                        <a:pt x="32" y="12524"/>
                        <a:pt x="-3138" y="18787"/>
                        <a:pt x="6244" y="18787"/>
                      </a:cubicBezTo>
                      <a:cubicBezTo>
                        <a:pt x="6244" y="21918"/>
                        <a:pt x="6244" y="21918"/>
                        <a:pt x="6244" y="21918"/>
                      </a:cubicBezTo>
                      <a:cubicBezTo>
                        <a:pt x="9413" y="21918"/>
                        <a:pt x="9413" y="18787"/>
                        <a:pt x="9413" y="18787"/>
                      </a:cubicBezTo>
                      <a:lnTo>
                        <a:pt x="12582" y="18787"/>
                      </a:lnTo>
                      <a:cubicBezTo>
                        <a:pt x="12582" y="18787"/>
                        <a:pt x="12582" y="18787"/>
                        <a:pt x="15624" y="21918"/>
                      </a:cubicBezTo>
                      <a:cubicBezTo>
                        <a:pt x="15624" y="25049"/>
                        <a:pt x="15624" y="28193"/>
                        <a:pt x="15624" y="31311"/>
                      </a:cubicBezTo>
                      <a:cubicBezTo>
                        <a:pt x="18793" y="37573"/>
                        <a:pt x="18793" y="50098"/>
                        <a:pt x="24992" y="53229"/>
                      </a:cubicBezTo>
                      <a:cubicBezTo>
                        <a:pt x="28161" y="50098"/>
                        <a:pt x="34373" y="50098"/>
                        <a:pt x="40711" y="46967"/>
                      </a:cubicBezTo>
                      <a:cubicBezTo>
                        <a:pt x="43880" y="43836"/>
                        <a:pt x="46922" y="43836"/>
                        <a:pt x="50092" y="40704"/>
                      </a:cubicBezTo>
                      <a:cubicBezTo>
                        <a:pt x="46922" y="40704"/>
                        <a:pt x="46922" y="40704"/>
                        <a:pt x="46922" y="40704"/>
                      </a:cubicBezTo>
                      <a:cubicBezTo>
                        <a:pt x="46922" y="34442"/>
                        <a:pt x="40711" y="31311"/>
                        <a:pt x="34373" y="28193"/>
                      </a:cubicBezTo>
                      <a:cubicBezTo>
                        <a:pt x="31330" y="25049"/>
                        <a:pt x="24992" y="21918"/>
                        <a:pt x="21962" y="15656"/>
                      </a:cubicBezTo>
                      <a:cubicBezTo>
                        <a:pt x="21962" y="18787"/>
                        <a:pt x="21962" y="18787"/>
                        <a:pt x="21962" y="18787"/>
                      </a:cubicBezTo>
                      <a:cubicBezTo>
                        <a:pt x="18793" y="15656"/>
                        <a:pt x="15624" y="9394"/>
                        <a:pt x="12582" y="3131"/>
                      </a:cubicBezTo>
                      <a:cubicBezTo>
                        <a:pt x="9413" y="0"/>
                        <a:pt x="6244" y="0"/>
                        <a:pt x="6244" y="0"/>
                      </a:cubicBezTo>
                    </a:path>
                  </a:pathLst>
                </a:custGeom>
                <a:solidFill>
                  <a:srgbClr val="D6D6D2"/>
                </a:solidFill>
                <a:ln w="12674"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3DCBA21F-FD1A-4C86-B497-1C2C6BDECE87}"/>
                    </a:ext>
                  </a:extLst>
                </p:cNvPr>
                <p:cNvSpPr/>
                <p:nvPr/>
              </p:nvSpPr>
              <p:spPr>
                <a:xfrm>
                  <a:off x="7678804" y="5470300"/>
                  <a:ext cx="108016" cy="76059"/>
                </a:xfrm>
                <a:custGeom>
                  <a:avLst/>
                  <a:gdLst>
                    <a:gd name="connsiteX0" fmla="*/ 3169 w 108016"/>
                    <a:gd name="connsiteY0" fmla="*/ 0 h 76059"/>
                    <a:gd name="connsiteX1" fmla="*/ 0 w 108016"/>
                    <a:gd name="connsiteY1" fmla="*/ 0 h 76059"/>
                    <a:gd name="connsiteX2" fmla="*/ 3169 w 108016"/>
                    <a:gd name="connsiteY2" fmla="*/ 3169 h 76059"/>
                    <a:gd name="connsiteX3" fmla="*/ 9507 w 108016"/>
                    <a:gd name="connsiteY3" fmla="*/ 9507 h 76059"/>
                    <a:gd name="connsiteX4" fmla="*/ 12677 w 108016"/>
                    <a:gd name="connsiteY4" fmla="*/ 15846 h 76059"/>
                    <a:gd name="connsiteX5" fmla="*/ 19015 w 108016"/>
                    <a:gd name="connsiteY5" fmla="*/ 19015 h 76059"/>
                    <a:gd name="connsiteX6" fmla="*/ 47664 w 108016"/>
                    <a:gd name="connsiteY6" fmla="*/ 41199 h 76059"/>
                    <a:gd name="connsiteX7" fmla="*/ 85833 w 108016"/>
                    <a:gd name="connsiteY7" fmla="*/ 63383 h 76059"/>
                    <a:gd name="connsiteX8" fmla="*/ 89002 w 108016"/>
                    <a:gd name="connsiteY8" fmla="*/ 63383 h 76059"/>
                    <a:gd name="connsiteX9" fmla="*/ 108017 w 108016"/>
                    <a:gd name="connsiteY9" fmla="*/ 76059 h 76059"/>
                    <a:gd name="connsiteX10" fmla="*/ 104847 w 108016"/>
                    <a:gd name="connsiteY10" fmla="*/ 66552 h 76059"/>
                    <a:gd name="connsiteX11" fmla="*/ 98509 w 108016"/>
                    <a:gd name="connsiteY11" fmla="*/ 66552 h 76059"/>
                    <a:gd name="connsiteX12" fmla="*/ 104847 w 108016"/>
                    <a:gd name="connsiteY12" fmla="*/ 60213 h 76059"/>
                    <a:gd name="connsiteX13" fmla="*/ 98509 w 108016"/>
                    <a:gd name="connsiteY13" fmla="*/ 53875 h 76059"/>
                    <a:gd name="connsiteX14" fmla="*/ 79355 w 108016"/>
                    <a:gd name="connsiteY14" fmla="*/ 41199 h 76059"/>
                    <a:gd name="connsiteX15" fmla="*/ 54002 w 108016"/>
                    <a:gd name="connsiteY15" fmla="*/ 25353 h 76059"/>
                    <a:gd name="connsiteX16" fmla="*/ 54002 w 108016"/>
                    <a:gd name="connsiteY16" fmla="*/ 25353 h 76059"/>
                    <a:gd name="connsiteX17" fmla="*/ 50833 w 108016"/>
                    <a:gd name="connsiteY17" fmla="*/ 28522 h 76059"/>
                    <a:gd name="connsiteX18" fmla="*/ 50833 w 108016"/>
                    <a:gd name="connsiteY18" fmla="*/ 25353 h 76059"/>
                    <a:gd name="connsiteX19" fmla="*/ 34987 w 108016"/>
                    <a:gd name="connsiteY19" fmla="*/ 15846 h 76059"/>
                    <a:gd name="connsiteX20" fmla="*/ 15846 w 108016"/>
                    <a:gd name="connsiteY20" fmla="*/ 3169 h 76059"/>
                    <a:gd name="connsiteX21" fmla="*/ 3169 w 108016"/>
                    <a:gd name="connsiteY21" fmla="*/ 0 h 76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016" h="76059">
                      <a:moveTo>
                        <a:pt x="3169" y="0"/>
                      </a:moveTo>
                      <a:cubicBezTo>
                        <a:pt x="0" y="0"/>
                        <a:pt x="0" y="0"/>
                        <a:pt x="0" y="0"/>
                      </a:cubicBezTo>
                      <a:cubicBezTo>
                        <a:pt x="0" y="3169"/>
                        <a:pt x="3169" y="3169"/>
                        <a:pt x="3169" y="3169"/>
                      </a:cubicBezTo>
                      <a:cubicBezTo>
                        <a:pt x="3169" y="6338"/>
                        <a:pt x="9507" y="6338"/>
                        <a:pt x="9507" y="9507"/>
                      </a:cubicBezTo>
                      <a:cubicBezTo>
                        <a:pt x="12677" y="12677"/>
                        <a:pt x="9507" y="12677"/>
                        <a:pt x="12677" y="15846"/>
                      </a:cubicBezTo>
                      <a:cubicBezTo>
                        <a:pt x="12677" y="19015"/>
                        <a:pt x="15846" y="19015"/>
                        <a:pt x="19015" y="19015"/>
                      </a:cubicBezTo>
                      <a:cubicBezTo>
                        <a:pt x="28649" y="28522"/>
                        <a:pt x="34987" y="34860"/>
                        <a:pt x="47664" y="41199"/>
                      </a:cubicBezTo>
                      <a:cubicBezTo>
                        <a:pt x="60340" y="50706"/>
                        <a:pt x="73017" y="57044"/>
                        <a:pt x="85833" y="63383"/>
                      </a:cubicBezTo>
                      <a:lnTo>
                        <a:pt x="89002" y="63383"/>
                      </a:lnTo>
                      <a:cubicBezTo>
                        <a:pt x="95340" y="66552"/>
                        <a:pt x="101678" y="69721"/>
                        <a:pt x="108017" y="76059"/>
                      </a:cubicBezTo>
                      <a:cubicBezTo>
                        <a:pt x="108017" y="72890"/>
                        <a:pt x="104847" y="69721"/>
                        <a:pt x="104847" y="66552"/>
                      </a:cubicBezTo>
                      <a:lnTo>
                        <a:pt x="98509" y="66552"/>
                      </a:lnTo>
                      <a:cubicBezTo>
                        <a:pt x="98509" y="63383"/>
                        <a:pt x="104847" y="60213"/>
                        <a:pt x="104847" y="60213"/>
                      </a:cubicBezTo>
                      <a:cubicBezTo>
                        <a:pt x="101678" y="57044"/>
                        <a:pt x="101678" y="57044"/>
                        <a:pt x="98509" y="53875"/>
                      </a:cubicBezTo>
                      <a:cubicBezTo>
                        <a:pt x="95340" y="47537"/>
                        <a:pt x="85833" y="44368"/>
                        <a:pt x="79355" y="41199"/>
                      </a:cubicBezTo>
                      <a:cubicBezTo>
                        <a:pt x="69848" y="31691"/>
                        <a:pt x="63510" y="31691"/>
                        <a:pt x="54002" y="25353"/>
                      </a:cubicBezTo>
                      <a:lnTo>
                        <a:pt x="54002" y="25353"/>
                      </a:lnTo>
                      <a:cubicBezTo>
                        <a:pt x="50833" y="25353"/>
                        <a:pt x="50833" y="28522"/>
                        <a:pt x="50833" y="28522"/>
                      </a:cubicBezTo>
                      <a:cubicBezTo>
                        <a:pt x="50833" y="28522"/>
                        <a:pt x="50833" y="28522"/>
                        <a:pt x="50833" y="25353"/>
                      </a:cubicBezTo>
                      <a:cubicBezTo>
                        <a:pt x="44495" y="25353"/>
                        <a:pt x="41326" y="19015"/>
                        <a:pt x="34987" y="15846"/>
                      </a:cubicBezTo>
                      <a:cubicBezTo>
                        <a:pt x="28649" y="9507"/>
                        <a:pt x="25353" y="3169"/>
                        <a:pt x="15846" y="3169"/>
                      </a:cubicBezTo>
                      <a:cubicBezTo>
                        <a:pt x="12677" y="0"/>
                        <a:pt x="6338" y="0"/>
                        <a:pt x="3169" y="0"/>
                      </a:cubicBezTo>
                    </a:path>
                  </a:pathLst>
                </a:custGeom>
                <a:solidFill>
                  <a:srgbClr val="D6D6D2"/>
                </a:solidFill>
                <a:ln w="12674"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7FFE8CC0-403C-4F6D-B8D2-124EFC00C2F0}"/>
                    </a:ext>
                  </a:extLst>
                </p:cNvPr>
                <p:cNvSpPr/>
                <p:nvPr/>
              </p:nvSpPr>
              <p:spPr>
                <a:xfrm>
                  <a:off x="7891623" y="5669575"/>
                  <a:ext cx="82290" cy="48690"/>
                </a:xfrm>
                <a:custGeom>
                  <a:avLst/>
                  <a:gdLst>
                    <a:gd name="connsiteX0" fmla="*/ 6624 w 82290"/>
                    <a:gd name="connsiteY0" fmla="*/ 0 h 48690"/>
                    <a:gd name="connsiteX1" fmla="*/ 6624 w 82290"/>
                    <a:gd name="connsiteY1" fmla="*/ 0 h 48690"/>
                    <a:gd name="connsiteX2" fmla="*/ 3455 w 82290"/>
                    <a:gd name="connsiteY2" fmla="*/ 9748 h 48690"/>
                    <a:gd name="connsiteX3" fmla="*/ 3455 w 82290"/>
                    <a:gd name="connsiteY3" fmla="*/ 9748 h 48690"/>
                    <a:gd name="connsiteX4" fmla="*/ 6624 w 82290"/>
                    <a:gd name="connsiteY4" fmla="*/ 9748 h 48690"/>
                    <a:gd name="connsiteX5" fmla="*/ 9793 w 82290"/>
                    <a:gd name="connsiteY5" fmla="*/ 9748 h 48690"/>
                    <a:gd name="connsiteX6" fmla="*/ 12823 w 82290"/>
                    <a:gd name="connsiteY6" fmla="*/ 9748 h 48690"/>
                    <a:gd name="connsiteX7" fmla="*/ 19161 w 82290"/>
                    <a:gd name="connsiteY7" fmla="*/ 29219 h 48690"/>
                    <a:gd name="connsiteX8" fmla="*/ 28669 w 82290"/>
                    <a:gd name="connsiteY8" fmla="*/ 32465 h 48690"/>
                    <a:gd name="connsiteX9" fmla="*/ 41218 w 82290"/>
                    <a:gd name="connsiteY9" fmla="*/ 42200 h 48690"/>
                    <a:gd name="connsiteX10" fmla="*/ 60233 w 82290"/>
                    <a:gd name="connsiteY10" fmla="*/ 45445 h 48690"/>
                    <a:gd name="connsiteX11" fmla="*/ 79122 w 82290"/>
                    <a:gd name="connsiteY11" fmla="*/ 48691 h 48690"/>
                    <a:gd name="connsiteX12" fmla="*/ 82291 w 82290"/>
                    <a:gd name="connsiteY12" fmla="*/ 48691 h 48690"/>
                    <a:gd name="connsiteX13" fmla="*/ 60233 w 82290"/>
                    <a:gd name="connsiteY13" fmla="*/ 19484 h 48690"/>
                    <a:gd name="connsiteX14" fmla="*/ 60233 w 82290"/>
                    <a:gd name="connsiteY14" fmla="*/ 19484 h 48690"/>
                    <a:gd name="connsiteX15" fmla="*/ 57064 w 82290"/>
                    <a:gd name="connsiteY15" fmla="*/ 19484 h 48690"/>
                    <a:gd name="connsiteX16" fmla="*/ 25500 w 82290"/>
                    <a:gd name="connsiteY16" fmla="*/ 6516 h 48690"/>
                    <a:gd name="connsiteX17" fmla="*/ 6624 w 82290"/>
                    <a:gd name="connsiteY17" fmla="*/ 0 h 4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2290" h="48690">
                      <a:moveTo>
                        <a:pt x="6624" y="0"/>
                      </a:moveTo>
                      <a:lnTo>
                        <a:pt x="6624" y="0"/>
                      </a:lnTo>
                      <a:cubicBezTo>
                        <a:pt x="286" y="0"/>
                        <a:pt x="-2883" y="6503"/>
                        <a:pt x="3455" y="9748"/>
                      </a:cubicBezTo>
                      <a:lnTo>
                        <a:pt x="3455" y="9748"/>
                      </a:lnTo>
                      <a:cubicBezTo>
                        <a:pt x="6624" y="9748"/>
                        <a:pt x="6624" y="9748"/>
                        <a:pt x="6624" y="9748"/>
                      </a:cubicBezTo>
                      <a:cubicBezTo>
                        <a:pt x="9793" y="9748"/>
                        <a:pt x="9793" y="9748"/>
                        <a:pt x="9793" y="9748"/>
                      </a:cubicBezTo>
                      <a:cubicBezTo>
                        <a:pt x="12823" y="9748"/>
                        <a:pt x="12823" y="9748"/>
                        <a:pt x="12823" y="9748"/>
                      </a:cubicBezTo>
                      <a:cubicBezTo>
                        <a:pt x="15992" y="12993"/>
                        <a:pt x="15992" y="22716"/>
                        <a:pt x="19161" y="29219"/>
                      </a:cubicBezTo>
                      <a:cubicBezTo>
                        <a:pt x="22330" y="29219"/>
                        <a:pt x="25500" y="32465"/>
                        <a:pt x="28669" y="32465"/>
                      </a:cubicBezTo>
                      <a:cubicBezTo>
                        <a:pt x="31838" y="35710"/>
                        <a:pt x="38176" y="38955"/>
                        <a:pt x="41218" y="42200"/>
                      </a:cubicBezTo>
                      <a:cubicBezTo>
                        <a:pt x="47557" y="42200"/>
                        <a:pt x="53895" y="45445"/>
                        <a:pt x="60233" y="45445"/>
                      </a:cubicBezTo>
                      <a:cubicBezTo>
                        <a:pt x="63402" y="45445"/>
                        <a:pt x="72784" y="48691"/>
                        <a:pt x="79122" y="48691"/>
                      </a:cubicBezTo>
                      <a:lnTo>
                        <a:pt x="82291" y="48691"/>
                      </a:lnTo>
                      <a:cubicBezTo>
                        <a:pt x="79122" y="38955"/>
                        <a:pt x="69614" y="29232"/>
                        <a:pt x="60233" y="19484"/>
                      </a:cubicBezTo>
                      <a:lnTo>
                        <a:pt x="60233" y="19484"/>
                      </a:lnTo>
                      <a:lnTo>
                        <a:pt x="57064" y="19484"/>
                      </a:lnTo>
                      <a:cubicBezTo>
                        <a:pt x="44387" y="16239"/>
                        <a:pt x="35007" y="12993"/>
                        <a:pt x="25500" y="6516"/>
                      </a:cubicBezTo>
                      <a:cubicBezTo>
                        <a:pt x="19161" y="6490"/>
                        <a:pt x="12823" y="0"/>
                        <a:pt x="6624" y="0"/>
                      </a:cubicBezTo>
                    </a:path>
                  </a:pathLst>
                </a:custGeom>
                <a:solidFill>
                  <a:srgbClr val="D6D6D2"/>
                </a:solidFill>
                <a:ln w="12674"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F6BDD958-10BC-4A4F-B8E2-700E7CD18334}"/>
                    </a:ext>
                  </a:extLst>
                </p:cNvPr>
                <p:cNvSpPr/>
                <p:nvPr/>
              </p:nvSpPr>
              <p:spPr>
                <a:xfrm>
                  <a:off x="7838880" y="5528092"/>
                  <a:ext cx="58987" cy="97368"/>
                </a:xfrm>
                <a:custGeom>
                  <a:avLst/>
                  <a:gdLst>
                    <a:gd name="connsiteX0" fmla="*/ 10944 w 58987"/>
                    <a:gd name="connsiteY0" fmla="*/ 0 h 97368"/>
                    <a:gd name="connsiteX1" fmla="*/ 10944 w 58987"/>
                    <a:gd name="connsiteY1" fmla="*/ 3169 h 97368"/>
                    <a:gd name="connsiteX2" fmla="*/ 1310 w 58987"/>
                    <a:gd name="connsiteY2" fmla="*/ 3169 h 97368"/>
                    <a:gd name="connsiteX3" fmla="*/ 4606 w 58987"/>
                    <a:gd name="connsiteY3" fmla="*/ 12550 h 97368"/>
                    <a:gd name="connsiteX4" fmla="*/ 4606 w 58987"/>
                    <a:gd name="connsiteY4" fmla="*/ 25100 h 97368"/>
                    <a:gd name="connsiteX5" fmla="*/ 20577 w 58987"/>
                    <a:gd name="connsiteY5" fmla="*/ 62812 h 97368"/>
                    <a:gd name="connsiteX6" fmla="*/ 58988 w 58987"/>
                    <a:gd name="connsiteY6" fmla="*/ 97368 h 97368"/>
                    <a:gd name="connsiteX7" fmla="*/ 58988 w 58987"/>
                    <a:gd name="connsiteY7" fmla="*/ 87950 h 97368"/>
                    <a:gd name="connsiteX8" fmla="*/ 52522 w 58987"/>
                    <a:gd name="connsiteY8" fmla="*/ 78531 h 97368"/>
                    <a:gd name="connsiteX9" fmla="*/ 52522 w 58987"/>
                    <a:gd name="connsiteY9" fmla="*/ 72244 h 97368"/>
                    <a:gd name="connsiteX10" fmla="*/ 43015 w 58987"/>
                    <a:gd name="connsiteY10" fmla="*/ 50212 h 97368"/>
                    <a:gd name="connsiteX11" fmla="*/ 36537 w 58987"/>
                    <a:gd name="connsiteY11" fmla="*/ 44013 h 97368"/>
                    <a:gd name="connsiteX12" fmla="*/ 23734 w 58987"/>
                    <a:gd name="connsiteY12" fmla="*/ 15744 h 97368"/>
                    <a:gd name="connsiteX13" fmla="*/ 10944 w 58987"/>
                    <a:gd name="connsiteY13" fmla="*/ 0 h 9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987" h="97368">
                      <a:moveTo>
                        <a:pt x="10944" y="0"/>
                      </a:moveTo>
                      <a:lnTo>
                        <a:pt x="10944" y="3169"/>
                      </a:lnTo>
                      <a:cubicBezTo>
                        <a:pt x="4606" y="3169"/>
                        <a:pt x="1310" y="3169"/>
                        <a:pt x="1310" y="3169"/>
                      </a:cubicBezTo>
                      <a:cubicBezTo>
                        <a:pt x="-1860" y="3169"/>
                        <a:pt x="1310" y="6338"/>
                        <a:pt x="4606" y="12550"/>
                      </a:cubicBezTo>
                      <a:cubicBezTo>
                        <a:pt x="10944" y="18888"/>
                        <a:pt x="7775" y="18888"/>
                        <a:pt x="4606" y="25100"/>
                      </a:cubicBezTo>
                      <a:cubicBezTo>
                        <a:pt x="4606" y="34607"/>
                        <a:pt x="14113" y="56525"/>
                        <a:pt x="20577" y="62812"/>
                      </a:cubicBezTo>
                      <a:cubicBezTo>
                        <a:pt x="33381" y="75375"/>
                        <a:pt x="46197" y="87937"/>
                        <a:pt x="58988" y="97368"/>
                      </a:cubicBezTo>
                      <a:cubicBezTo>
                        <a:pt x="58988" y="94225"/>
                        <a:pt x="58988" y="91081"/>
                        <a:pt x="58988" y="87950"/>
                      </a:cubicBezTo>
                      <a:cubicBezTo>
                        <a:pt x="58988" y="84806"/>
                        <a:pt x="55818" y="81662"/>
                        <a:pt x="52522" y="78531"/>
                      </a:cubicBezTo>
                      <a:cubicBezTo>
                        <a:pt x="52522" y="75388"/>
                        <a:pt x="52522" y="75388"/>
                        <a:pt x="52522" y="72244"/>
                      </a:cubicBezTo>
                      <a:cubicBezTo>
                        <a:pt x="49353" y="62825"/>
                        <a:pt x="46184" y="56538"/>
                        <a:pt x="43015" y="50212"/>
                      </a:cubicBezTo>
                      <a:cubicBezTo>
                        <a:pt x="43015" y="50212"/>
                        <a:pt x="36537" y="47182"/>
                        <a:pt x="36537" y="44013"/>
                      </a:cubicBezTo>
                      <a:cubicBezTo>
                        <a:pt x="30199" y="37675"/>
                        <a:pt x="30199" y="25125"/>
                        <a:pt x="23734" y="15744"/>
                      </a:cubicBezTo>
                      <a:cubicBezTo>
                        <a:pt x="20565" y="9393"/>
                        <a:pt x="17396" y="0"/>
                        <a:pt x="10944" y="0"/>
                      </a:cubicBezTo>
                    </a:path>
                  </a:pathLst>
                </a:custGeom>
                <a:solidFill>
                  <a:srgbClr val="D6D6D2"/>
                </a:solidFill>
                <a:ln w="12674"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A0D6FA21-F3C7-455F-B13F-902609ABC25B}"/>
                    </a:ext>
                  </a:extLst>
                </p:cNvPr>
                <p:cNvSpPr/>
                <p:nvPr/>
              </p:nvSpPr>
              <p:spPr>
                <a:xfrm>
                  <a:off x="7763267" y="5599601"/>
                  <a:ext cx="90498" cy="51720"/>
                </a:xfrm>
                <a:custGeom>
                  <a:avLst/>
                  <a:gdLst>
                    <a:gd name="connsiteX0" fmla="*/ 10497 w 90498"/>
                    <a:gd name="connsiteY0" fmla="*/ 0 h 51720"/>
                    <a:gd name="connsiteX1" fmla="*/ 863 w 90498"/>
                    <a:gd name="connsiteY1" fmla="*/ 3232 h 51720"/>
                    <a:gd name="connsiteX2" fmla="*/ 7328 w 90498"/>
                    <a:gd name="connsiteY2" fmla="*/ 25860 h 51720"/>
                    <a:gd name="connsiteX3" fmla="*/ 32934 w 90498"/>
                    <a:gd name="connsiteY3" fmla="*/ 42010 h 51720"/>
                    <a:gd name="connsiteX4" fmla="*/ 36103 w 90498"/>
                    <a:gd name="connsiteY4" fmla="*/ 42010 h 51720"/>
                    <a:gd name="connsiteX5" fmla="*/ 42441 w 90498"/>
                    <a:gd name="connsiteY5" fmla="*/ 42010 h 51720"/>
                    <a:gd name="connsiteX6" fmla="*/ 48919 w 90498"/>
                    <a:gd name="connsiteY6" fmla="*/ 42010 h 51720"/>
                    <a:gd name="connsiteX7" fmla="*/ 55257 w 90498"/>
                    <a:gd name="connsiteY7" fmla="*/ 42010 h 51720"/>
                    <a:gd name="connsiteX8" fmla="*/ 64892 w 90498"/>
                    <a:gd name="connsiteY8" fmla="*/ 48487 h 51720"/>
                    <a:gd name="connsiteX9" fmla="*/ 80864 w 90498"/>
                    <a:gd name="connsiteY9" fmla="*/ 51720 h 51720"/>
                    <a:gd name="connsiteX10" fmla="*/ 90498 w 90498"/>
                    <a:gd name="connsiteY10" fmla="*/ 35558 h 51720"/>
                    <a:gd name="connsiteX11" fmla="*/ 84160 w 90498"/>
                    <a:gd name="connsiteY11" fmla="*/ 32325 h 51720"/>
                    <a:gd name="connsiteX12" fmla="*/ 74526 w 90498"/>
                    <a:gd name="connsiteY12" fmla="*/ 19382 h 51720"/>
                    <a:gd name="connsiteX13" fmla="*/ 45750 w 90498"/>
                    <a:gd name="connsiteY13" fmla="*/ 9685 h 51720"/>
                    <a:gd name="connsiteX14" fmla="*/ 45750 w 90498"/>
                    <a:gd name="connsiteY14" fmla="*/ 9685 h 51720"/>
                    <a:gd name="connsiteX15" fmla="*/ 39272 w 90498"/>
                    <a:gd name="connsiteY15" fmla="*/ 9685 h 51720"/>
                    <a:gd name="connsiteX16" fmla="*/ 36103 w 90498"/>
                    <a:gd name="connsiteY16" fmla="*/ 9685 h 51720"/>
                    <a:gd name="connsiteX17" fmla="*/ 36103 w 90498"/>
                    <a:gd name="connsiteY17" fmla="*/ 9685 h 51720"/>
                    <a:gd name="connsiteX18" fmla="*/ 10497 w 90498"/>
                    <a:gd name="connsiteY18" fmla="*/ 0 h 5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0498" h="51720">
                      <a:moveTo>
                        <a:pt x="10497" y="0"/>
                      </a:moveTo>
                      <a:cubicBezTo>
                        <a:pt x="7328" y="0"/>
                        <a:pt x="4032" y="0"/>
                        <a:pt x="863" y="3232"/>
                      </a:cubicBezTo>
                      <a:cubicBezTo>
                        <a:pt x="-2306" y="9697"/>
                        <a:pt x="4032" y="19382"/>
                        <a:pt x="7328" y="25860"/>
                      </a:cubicBezTo>
                      <a:cubicBezTo>
                        <a:pt x="13666" y="35558"/>
                        <a:pt x="20131" y="38790"/>
                        <a:pt x="32934" y="42010"/>
                      </a:cubicBezTo>
                      <a:cubicBezTo>
                        <a:pt x="36103" y="42010"/>
                        <a:pt x="36103" y="42010"/>
                        <a:pt x="36103" y="42010"/>
                      </a:cubicBezTo>
                      <a:cubicBezTo>
                        <a:pt x="39272" y="42010"/>
                        <a:pt x="42441" y="42010"/>
                        <a:pt x="42441" y="42010"/>
                      </a:cubicBezTo>
                      <a:cubicBezTo>
                        <a:pt x="45750" y="42010"/>
                        <a:pt x="48919" y="42010"/>
                        <a:pt x="48919" y="42010"/>
                      </a:cubicBezTo>
                      <a:cubicBezTo>
                        <a:pt x="52088" y="42010"/>
                        <a:pt x="55257" y="42010"/>
                        <a:pt x="55257" y="42010"/>
                      </a:cubicBezTo>
                      <a:cubicBezTo>
                        <a:pt x="58553" y="42010"/>
                        <a:pt x="61722" y="45243"/>
                        <a:pt x="64892" y="48487"/>
                      </a:cubicBezTo>
                      <a:cubicBezTo>
                        <a:pt x="68061" y="48487"/>
                        <a:pt x="74526" y="48487"/>
                        <a:pt x="80864" y="51720"/>
                      </a:cubicBezTo>
                      <a:cubicBezTo>
                        <a:pt x="84160" y="45243"/>
                        <a:pt x="90498" y="42010"/>
                        <a:pt x="90498" y="35558"/>
                      </a:cubicBezTo>
                      <a:cubicBezTo>
                        <a:pt x="84160" y="32325"/>
                        <a:pt x="84160" y="32325"/>
                        <a:pt x="84160" y="32325"/>
                      </a:cubicBezTo>
                      <a:cubicBezTo>
                        <a:pt x="84160" y="29092"/>
                        <a:pt x="80864" y="22628"/>
                        <a:pt x="74526" y="19382"/>
                      </a:cubicBezTo>
                      <a:cubicBezTo>
                        <a:pt x="64892" y="12917"/>
                        <a:pt x="55257" y="9685"/>
                        <a:pt x="45750" y="9685"/>
                      </a:cubicBezTo>
                      <a:lnTo>
                        <a:pt x="45750" y="9685"/>
                      </a:lnTo>
                      <a:cubicBezTo>
                        <a:pt x="42441" y="9685"/>
                        <a:pt x="42441" y="9685"/>
                        <a:pt x="39272" y="9685"/>
                      </a:cubicBezTo>
                      <a:cubicBezTo>
                        <a:pt x="39272" y="9685"/>
                        <a:pt x="39272" y="9685"/>
                        <a:pt x="36103" y="9685"/>
                      </a:cubicBezTo>
                      <a:lnTo>
                        <a:pt x="36103" y="9685"/>
                      </a:lnTo>
                      <a:cubicBezTo>
                        <a:pt x="29626" y="9697"/>
                        <a:pt x="16835" y="0"/>
                        <a:pt x="10497" y="0"/>
                      </a:cubicBezTo>
                    </a:path>
                  </a:pathLst>
                </a:custGeom>
                <a:solidFill>
                  <a:srgbClr val="D6D6D2"/>
                </a:solidFill>
                <a:ln w="12674"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1EDA01C7-B70B-4FFD-A7F3-EA97ED13CD50}"/>
                    </a:ext>
                  </a:extLst>
                </p:cNvPr>
                <p:cNvSpPr/>
                <p:nvPr/>
              </p:nvSpPr>
              <p:spPr>
                <a:xfrm>
                  <a:off x="9082325" y="6208074"/>
                  <a:ext cx="107013" cy="74550"/>
                </a:xfrm>
                <a:custGeom>
                  <a:avLst/>
                  <a:gdLst>
                    <a:gd name="connsiteX0" fmla="*/ 69504 w 107013"/>
                    <a:gd name="connsiteY0" fmla="*/ 0 h 74550"/>
                    <a:gd name="connsiteX1" fmla="*/ 38320 w 107013"/>
                    <a:gd name="connsiteY1" fmla="*/ 6478 h 74550"/>
                    <a:gd name="connsiteX2" fmla="*/ 3966 w 107013"/>
                    <a:gd name="connsiteY2" fmla="*/ 58337 h 74550"/>
                    <a:gd name="connsiteX3" fmla="*/ 16516 w 107013"/>
                    <a:gd name="connsiteY3" fmla="*/ 68073 h 74550"/>
                    <a:gd name="connsiteX4" fmla="*/ 38320 w 107013"/>
                    <a:gd name="connsiteY4" fmla="*/ 74550 h 74550"/>
                    <a:gd name="connsiteX5" fmla="*/ 41489 w 107013"/>
                    <a:gd name="connsiteY5" fmla="*/ 74550 h 74550"/>
                    <a:gd name="connsiteX6" fmla="*/ 91435 w 107013"/>
                    <a:gd name="connsiteY6" fmla="*/ 64815 h 74550"/>
                    <a:gd name="connsiteX7" fmla="*/ 107013 w 107013"/>
                    <a:gd name="connsiteY7" fmla="*/ 55092 h 74550"/>
                    <a:gd name="connsiteX8" fmla="*/ 103844 w 107013"/>
                    <a:gd name="connsiteY8" fmla="*/ 55092 h 74550"/>
                    <a:gd name="connsiteX9" fmla="*/ 97633 w 107013"/>
                    <a:gd name="connsiteY9" fmla="*/ 38891 h 74550"/>
                    <a:gd name="connsiteX10" fmla="*/ 97633 w 107013"/>
                    <a:gd name="connsiteY10" fmla="*/ 32401 h 74550"/>
                    <a:gd name="connsiteX11" fmla="*/ 97633 w 107013"/>
                    <a:gd name="connsiteY11" fmla="*/ 25923 h 74550"/>
                    <a:gd name="connsiteX12" fmla="*/ 91435 w 107013"/>
                    <a:gd name="connsiteY12" fmla="*/ 22691 h 74550"/>
                    <a:gd name="connsiteX13" fmla="*/ 69504 w 107013"/>
                    <a:gd name="connsiteY13" fmla="*/ 0 h 7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013" h="74550">
                      <a:moveTo>
                        <a:pt x="69504" y="0"/>
                      </a:moveTo>
                      <a:cubicBezTo>
                        <a:pt x="63292" y="6478"/>
                        <a:pt x="44531" y="6478"/>
                        <a:pt x="38320" y="6478"/>
                      </a:cubicBezTo>
                      <a:cubicBezTo>
                        <a:pt x="22727" y="16200"/>
                        <a:pt x="-11626" y="38891"/>
                        <a:pt x="3966" y="58337"/>
                      </a:cubicBezTo>
                      <a:cubicBezTo>
                        <a:pt x="7135" y="64815"/>
                        <a:pt x="10178" y="68073"/>
                        <a:pt x="16516" y="68073"/>
                      </a:cubicBezTo>
                      <a:cubicBezTo>
                        <a:pt x="22715" y="68073"/>
                        <a:pt x="32095" y="74550"/>
                        <a:pt x="38320" y="74550"/>
                      </a:cubicBezTo>
                      <a:lnTo>
                        <a:pt x="41489" y="74550"/>
                      </a:lnTo>
                      <a:cubicBezTo>
                        <a:pt x="57068" y="74550"/>
                        <a:pt x="75842" y="64815"/>
                        <a:pt x="91435" y="64815"/>
                      </a:cubicBezTo>
                      <a:cubicBezTo>
                        <a:pt x="97633" y="61570"/>
                        <a:pt x="107013" y="61570"/>
                        <a:pt x="107013" y="55092"/>
                      </a:cubicBezTo>
                      <a:lnTo>
                        <a:pt x="103844" y="55092"/>
                      </a:lnTo>
                      <a:cubicBezTo>
                        <a:pt x="97633" y="55092"/>
                        <a:pt x="97633" y="42136"/>
                        <a:pt x="97633" y="38891"/>
                      </a:cubicBezTo>
                      <a:cubicBezTo>
                        <a:pt x="97633" y="32401"/>
                        <a:pt x="97633" y="32401"/>
                        <a:pt x="97633" y="32401"/>
                      </a:cubicBezTo>
                      <a:cubicBezTo>
                        <a:pt x="97633" y="32401"/>
                        <a:pt x="100802" y="29169"/>
                        <a:pt x="97633" y="25923"/>
                      </a:cubicBezTo>
                      <a:lnTo>
                        <a:pt x="91435" y="22691"/>
                      </a:lnTo>
                      <a:cubicBezTo>
                        <a:pt x="82053" y="16188"/>
                        <a:pt x="75842" y="6478"/>
                        <a:pt x="69504" y="0"/>
                      </a:cubicBezTo>
                    </a:path>
                  </a:pathLst>
                </a:custGeom>
                <a:solidFill>
                  <a:srgbClr val="D6D6D2"/>
                </a:solidFill>
                <a:ln w="12674"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A3663892-5B0A-4A2C-8FAC-4A5597B26F66}"/>
                    </a:ext>
                  </a:extLst>
                </p:cNvPr>
                <p:cNvSpPr/>
                <p:nvPr/>
              </p:nvSpPr>
              <p:spPr>
                <a:xfrm>
                  <a:off x="9174127" y="6119845"/>
                  <a:ext cx="111045" cy="66932"/>
                </a:xfrm>
                <a:custGeom>
                  <a:avLst/>
                  <a:gdLst>
                    <a:gd name="connsiteX0" fmla="*/ 111046 w 111045"/>
                    <a:gd name="connsiteY0" fmla="*/ 0 h 66932"/>
                    <a:gd name="connsiteX1" fmla="*/ 98369 w 111045"/>
                    <a:gd name="connsiteY1" fmla="*/ 6377 h 66932"/>
                    <a:gd name="connsiteX2" fmla="*/ 95200 w 111045"/>
                    <a:gd name="connsiteY2" fmla="*/ 3182 h 66932"/>
                    <a:gd name="connsiteX3" fmla="*/ 92031 w 111045"/>
                    <a:gd name="connsiteY3" fmla="*/ 3182 h 66932"/>
                    <a:gd name="connsiteX4" fmla="*/ 82524 w 111045"/>
                    <a:gd name="connsiteY4" fmla="*/ 9558 h 66932"/>
                    <a:gd name="connsiteX5" fmla="*/ 79354 w 111045"/>
                    <a:gd name="connsiteY5" fmla="*/ 6377 h 66932"/>
                    <a:gd name="connsiteX6" fmla="*/ 79354 w 111045"/>
                    <a:gd name="connsiteY6" fmla="*/ 9558 h 66932"/>
                    <a:gd name="connsiteX7" fmla="*/ 76185 w 111045"/>
                    <a:gd name="connsiteY7" fmla="*/ 9558 h 66932"/>
                    <a:gd name="connsiteX8" fmla="*/ 63509 w 111045"/>
                    <a:gd name="connsiteY8" fmla="*/ 19129 h 66932"/>
                    <a:gd name="connsiteX9" fmla="*/ 44368 w 111045"/>
                    <a:gd name="connsiteY9" fmla="*/ 22311 h 66932"/>
                    <a:gd name="connsiteX10" fmla="*/ 31691 w 111045"/>
                    <a:gd name="connsiteY10" fmla="*/ 25493 h 66932"/>
                    <a:gd name="connsiteX11" fmla="*/ 25353 w 111045"/>
                    <a:gd name="connsiteY11" fmla="*/ 31869 h 66932"/>
                    <a:gd name="connsiteX12" fmla="*/ 22184 w 111045"/>
                    <a:gd name="connsiteY12" fmla="*/ 38245 h 66932"/>
                    <a:gd name="connsiteX13" fmla="*/ 19015 w 111045"/>
                    <a:gd name="connsiteY13" fmla="*/ 35064 h 66932"/>
                    <a:gd name="connsiteX14" fmla="*/ 15846 w 111045"/>
                    <a:gd name="connsiteY14" fmla="*/ 38245 h 66932"/>
                    <a:gd name="connsiteX15" fmla="*/ 15846 w 111045"/>
                    <a:gd name="connsiteY15" fmla="*/ 38245 h 66932"/>
                    <a:gd name="connsiteX16" fmla="*/ 12677 w 111045"/>
                    <a:gd name="connsiteY16" fmla="*/ 38245 h 66932"/>
                    <a:gd name="connsiteX17" fmla="*/ 9507 w 111045"/>
                    <a:gd name="connsiteY17" fmla="*/ 38245 h 66932"/>
                    <a:gd name="connsiteX18" fmla="*/ 9507 w 111045"/>
                    <a:gd name="connsiteY18" fmla="*/ 38245 h 66932"/>
                    <a:gd name="connsiteX19" fmla="*/ 6338 w 111045"/>
                    <a:gd name="connsiteY19" fmla="*/ 38245 h 66932"/>
                    <a:gd name="connsiteX20" fmla="*/ 3169 w 111045"/>
                    <a:gd name="connsiteY20" fmla="*/ 38245 h 66932"/>
                    <a:gd name="connsiteX21" fmla="*/ 3169 w 111045"/>
                    <a:gd name="connsiteY21" fmla="*/ 38245 h 66932"/>
                    <a:gd name="connsiteX22" fmla="*/ 0 w 111045"/>
                    <a:gd name="connsiteY22" fmla="*/ 47803 h 66932"/>
                    <a:gd name="connsiteX23" fmla="*/ 12677 w 111045"/>
                    <a:gd name="connsiteY23" fmla="*/ 60556 h 66932"/>
                    <a:gd name="connsiteX24" fmla="*/ 15846 w 111045"/>
                    <a:gd name="connsiteY24" fmla="*/ 66932 h 66932"/>
                    <a:gd name="connsiteX25" fmla="*/ 19015 w 111045"/>
                    <a:gd name="connsiteY25" fmla="*/ 66932 h 66932"/>
                    <a:gd name="connsiteX26" fmla="*/ 38030 w 111045"/>
                    <a:gd name="connsiteY26" fmla="*/ 60556 h 66932"/>
                    <a:gd name="connsiteX27" fmla="*/ 76185 w 111045"/>
                    <a:gd name="connsiteY27" fmla="*/ 50998 h 66932"/>
                    <a:gd name="connsiteX28" fmla="*/ 95200 w 111045"/>
                    <a:gd name="connsiteY28" fmla="*/ 44622 h 66932"/>
                    <a:gd name="connsiteX29" fmla="*/ 101538 w 111045"/>
                    <a:gd name="connsiteY29" fmla="*/ 47803 h 66932"/>
                    <a:gd name="connsiteX30" fmla="*/ 104707 w 111045"/>
                    <a:gd name="connsiteY30" fmla="*/ 47803 h 66932"/>
                    <a:gd name="connsiteX31" fmla="*/ 98369 w 111045"/>
                    <a:gd name="connsiteY31" fmla="*/ 28687 h 66932"/>
                    <a:gd name="connsiteX32" fmla="*/ 73016 w 111045"/>
                    <a:gd name="connsiteY32" fmla="*/ 47803 h 66932"/>
                    <a:gd name="connsiteX33" fmla="*/ 73016 w 111045"/>
                    <a:gd name="connsiteY33" fmla="*/ 47803 h 66932"/>
                    <a:gd name="connsiteX34" fmla="*/ 111046 w 111045"/>
                    <a:gd name="connsiteY34" fmla="*/ 0 h 6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1045" h="66932">
                      <a:moveTo>
                        <a:pt x="111046" y="0"/>
                      </a:moveTo>
                      <a:cubicBezTo>
                        <a:pt x="107877" y="3182"/>
                        <a:pt x="101538" y="6377"/>
                        <a:pt x="98369" y="6377"/>
                      </a:cubicBezTo>
                      <a:cubicBezTo>
                        <a:pt x="95200" y="3182"/>
                        <a:pt x="95200" y="3182"/>
                        <a:pt x="95200" y="3182"/>
                      </a:cubicBezTo>
                      <a:lnTo>
                        <a:pt x="92031" y="3182"/>
                      </a:lnTo>
                      <a:cubicBezTo>
                        <a:pt x="88862" y="3182"/>
                        <a:pt x="85693" y="6377"/>
                        <a:pt x="82524" y="9558"/>
                      </a:cubicBezTo>
                      <a:cubicBezTo>
                        <a:pt x="82524" y="9558"/>
                        <a:pt x="79354" y="9558"/>
                        <a:pt x="79354" y="6377"/>
                      </a:cubicBezTo>
                      <a:cubicBezTo>
                        <a:pt x="79354" y="9558"/>
                        <a:pt x="79354" y="9558"/>
                        <a:pt x="79354" y="9558"/>
                      </a:cubicBezTo>
                      <a:cubicBezTo>
                        <a:pt x="76185" y="9558"/>
                        <a:pt x="76185" y="9558"/>
                        <a:pt x="76185" y="9558"/>
                      </a:cubicBezTo>
                      <a:cubicBezTo>
                        <a:pt x="73016" y="9558"/>
                        <a:pt x="66678" y="15935"/>
                        <a:pt x="63509" y="19129"/>
                      </a:cubicBezTo>
                      <a:cubicBezTo>
                        <a:pt x="57170" y="19129"/>
                        <a:pt x="50706" y="22311"/>
                        <a:pt x="44368" y="22311"/>
                      </a:cubicBezTo>
                      <a:cubicBezTo>
                        <a:pt x="41199" y="22311"/>
                        <a:pt x="34860" y="25493"/>
                        <a:pt x="31691" y="25493"/>
                      </a:cubicBezTo>
                      <a:cubicBezTo>
                        <a:pt x="28522" y="25493"/>
                        <a:pt x="28522" y="31869"/>
                        <a:pt x="25353" y="31869"/>
                      </a:cubicBezTo>
                      <a:cubicBezTo>
                        <a:pt x="25353" y="35064"/>
                        <a:pt x="25353" y="35064"/>
                        <a:pt x="22184" y="38245"/>
                      </a:cubicBezTo>
                      <a:cubicBezTo>
                        <a:pt x="22184" y="35064"/>
                        <a:pt x="22184" y="35064"/>
                        <a:pt x="19015" y="35064"/>
                      </a:cubicBezTo>
                      <a:cubicBezTo>
                        <a:pt x="19015" y="35064"/>
                        <a:pt x="19015" y="38245"/>
                        <a:pt x="15846" y="38245"/>
                      </a:cubicBezTo>
                      <a:lnTo>
                        <a:pt x="15846" y="38245"/>
                      </a:lnTo>
                      <a:lnTo>
                        <a:pt x="12677" y="38245"/>
                      </a:lnTo>
                      <a:cubicBezTo>
                        <a:pt x="12677" y="38245"/>
                        <a:pt x="12677" y="38245"/>
                        <a:pt x="9507" y="38245"/>
                      </a:cubicBezTo>
                      <a:lnTo>
                        <a:pt x="9507" y="38245"/>
                      </a:lnTo>
                      <a:lnTo>
                        <a:pt x="6338" y="38245"/>
                      </a:lnTo>
                      <a:cubicBezTo>
                        <a:pt x="6338" y="38245"/>
                        <a:pt x="6338" y="38245"/>
                        <a:pt x="3169" y="38245"/>
                      </a:cubicBezTo>
                      <a:lnTo>
                        <a:pt x="3169" y="38245"/>
                      </a:lnTo>
                      <a:cubicBezTo>
                        <a:pt x="0" y="38245"/>
                        <a:pt x="0" y="44622"/>
                        <a:pt x="0" y="47803"/>
                      </a:cubicBezTo>
                      <a:cubicBezTo>
                        <a:pt x="9507" y="50998"/>
                        <a:pt x="6338" y="54180"/>
                        <a:pt x="12677" y="60556"/>
                      </a:cubicBezTo>
                      <a:cubicBezTo>
                        <a:pt x="15846" y="63751"/>
                        <a:pt x="12677" y="63751"/>
                        <a:pt x="15846" y="66932"/>
                      </a:cubicBezTo>
                      <a:cubicBezTo>
                        <a:pt x="15846" y="66932"/>
                        <a:pt x="15846" y="66932"/>
                        <a:pt x="19015" y="66932"/>
                      </a:cubicBezTo>
                      <a:cubicBezTo>
                        <a:pt x="22184" y="66932"/>
                        <a:pt x="34860" y="60556"/>
                        <a:pt x="38030" y="60556"/>
                      </a:cubicBezTo>
                      <a:cubicBezTo>
                        <a:pt x="50706" y="54180"/>
                        <a:pt x="63509" y="54180"/>
                        <a:pt x="76185" y="50998"/>
                      </a:cubicBezTo>
                      <a:cubicBezTo>
                        <a:pt x="82524" y="50998"/>
                        <a:pt x="88862" y="44622"/>
                        <a:pt x="95200" y="44622"/>
                      </a:cubicBezTo>
                      <a:cubicBezTo>
                        <a:pt x="98369" y="44622"/>
                        <a:pt x="98369" y="44622"/>
                        <a:pt x="101538" y="47803"/>
                      </a:cubicBezTo>
                      <a:cubicBezTo>
                        <a:pt x="101538" y="47803"/>
                        <a:pt x="101538" y="47803"/>
                        <a:pt x="104707" y="47803"/>
                      </a:cubicBezTo>
                      <a:cubicBezTo>
                        <a:pt x="104707" y="41440"/>
                        <a:pt x="101538" y="35064"/>
                        <a:pt x="98369" y="28687"/>
                      </a:cubicBezTo>
                      <a:cubicBezTo>
                        <a:pt x="92031" y="35064"/>
                        <a:pt x="82524" y="47803"/>
                        <a:pt x="73016" y="47803"/>
                      </a:cubicBezTo>
                      <a:lnTo>
                        <a:pt x="73016" y="47803"/>
                      </a:lnTo>
                      <a:cubicBezTo>
                        <a:pt x="73016" y="31869"/>
                        <a:pt x="107877" y="15935"/>
                        <a:pt x="111046" y="0"/>
                      </a:cubicBezTo>
                    </a:path>
                  </a:pathLst>
                </a:custGeom>
                <a:solidFill>
                  <a:srgbClr val="D6D6D2"/>
                </a:solidFill>
                <a:ln w="12674"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2032F62F-7855-4FA4-8CD1-12C03143F92A}"/>
                    </a:ext>
                  </a:extLst>
                </p:cNvPr>
                <p:cNvSpPr/>
                <p:nvPr/>
              </p:nvSpPr>
              <p:spPr>
                <a:xfrm>
                  <a:off x="8093918" y="6424082"/>
                  <a:ext cx="225317" cy="176445"/>
                </a:xfrm>
                <a:custGeom>
                  <a:avLst/>
                  <a:gdLst>
                    <a:gd name="connsiteX0" fmla="*/ 309 w 225317"/>
                    <a:gd name="connsiteY0" fmla="*/ 0 h 176445"/>
                    <a:gd name="connsiteX1" fmla="*/ 309 w 225317"/>
                    <a:gd name="connsiteY1" fmla="*/ 0 h 176445"/>
                    <a:gd name="connsiteX2" fmla="*/ 22493 w 225317"/>
                    <a:gd name="connsiteY2" fmla="*/ 40945 h 176445"/>
                    <a:gd name="connsiteX3" fmla="*/ 117567 w 225317"/>
                    <a:gd name="connsiteY3" fmla="*/ 126030 h 176445"/>
                    <a:gd name="connsiteX4" fmla="*/ 123905 w 225317"/>
                    <a:gd name="connsiteY4" fmla="*/ 129174 h 176445"/>
                    <a:gd name="connsiteX5" fmla="*/ 123905 w 225317"/>
                    <a:gd name="connsiteY5" fmla="*/ 129174 h 176445"/>
                    <a:gd name="connsiteX6" fmla="*/ 127074 w 225317"/>
                    <a:gd name="connsiteY6" fmla="*/ 126030 h 176445"/>
                    <a:gd name="connsiteX7" fmla="*/ 130243 w 225317"/>
                    <a:gd name="connsiteY7" fmla="*/ 129174 h 176445"/>
                    <a:gd name="connsiteX8" fmla="*/ 142920 w 225317"/>
                    <a:gd name="connsiteY8" fmla="*/ 138631 h 176445"/>
                    <a:gd name="connsiteX9" fmla="*/ 171442 w 225317"/>
                    <a:gd name="connsiteY9" fmla="*/ 157544 h 176445"/>
                    <a:gd name="connsiteX10" fmla="*/ 212641 w 225317"/>
                    <a:gd name="connsiteY10" fmla="*/ 176445 h 176445"/>
                    <a:gd name="connsiteX11" fmla="*/ 225317 w 225317"/>
                    <a:gd name="connsiteY11" fmla="*/ 166988 h 176445"/>
                    <a:gd name="connsiteX12" fmla="*/ 199964 w 225317"/>
                    <a:gd name="connsiteY12" fmla="*/ 141787 h 176445"/>
                    <a:gd name="connsiteX13" fmla="*/ 152427 w 225317"/>
                    <a:gd name="connsiteY13" fmla="*/ 107130 h 176445"/>
                    <a:gd name="connsiteX14" fmla="*/ 101721 w 225317"/>
                    <a:gd name="connsiteY14" fmla="*/ 69328 h 176445"/>
                    <a:gd name="connsiteX15" fmla="*/ 54184 w 225317"/>
                    <a:gd name="connsiteY15" fmla="*/ 31514 h 176445"/>
                    <a:gd name="connsiteX16" fmla="*/ 32000 w 225317"/>
                    <a:gd name="connsiteY16" fmla="*/ 15770 h 176445"/>
                    <a:gd name="connsiteX17" fmla="*/ 28831 w 225317"/>
                    <a:gd name="connsiteY17" fmla="*/ 15770 h 176445"/>
                    <a:gd name="connsiteX18" fmla="*/ 28831 w 225317"/>
                    <a:gd name="connsiteY18" fmla="*/ 15770 h 176445"/>
                    <a:gd name="connsiteX19" fmla="*/ 25662 w 225317"/>
                    <a:gd name="connsiteY19" fmla="*/ 18913 h 176445"/>
                    <a:gd name="connsiteX20" fmla="*/ 22493 w 225317"/>
                    <a:gd name="connsiteY20" fmla="*/ 18913 h 176445"/>
                    <a:gd name="connsiteX21" fmla="*/ 12985 w 225317"/>
                    <a:gd name="connsiteY21" fmla="*/ 12613 h 176445"/>
                    <a:gd name="connsiteX22" fmla="*/ 6647 w 225317"/>
                    <a:gd name="connsiteY22" fmla="*/ 6313 h 176445"/>
                    <a:gd name="connsiteX23" fmla="*/ 309 w 225317"/>
                    <a:gd name="connsiteY23" fmla="*/ 0 h 17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5317" h="176445">
                      <a:moveTo>
                        <a:pt x="309" y="0"/>
                      </a:moveTo>
                      <a:lnTo>
                        <a:pt x="309" y="0"/>
                      </a:lnTo>
                      <a:cubicBezTo>
                        <a:pt x="-2860" y="0"/>
                        <a:pt x="19324" y="37802"/>
                        <a:pt x="22493" y="40945"/>
                      </a:cubicBezTo>
                      <a:cubicBezTo>
                        <a:pt x="54184" y="72459"/>
                        <a:pt x="76368" y="110286"/>
                        <a:pt x="117567" y="126030"/>
                      </a:cubicBezTo>
                      <a:cubicBezTo>
                        <a:pt x="120736" y="126030"/>
                        <a:pt x="120736" y="129174"/>
                        <a:pt x="123905" y="129174"/>
                      </a:cubicBezTo>
                      <a:lnTo>
                        <a:pt x="123905" y="129174"/>
                      </a:lnTo>
                      <a:cubicBezTo>
                        <a:pt x="127074" y="126030"/>
                        <a:pt x="127074" y="126030"/>
                        <a:pt x="127074" y="126030"/>
                      </a:cubicBezTo>
                      <a:lnTo>
                        <a:pt x="130243" y="129174"/>
                      </a:lnTo>
                      <a:cubicBezTo>
                        <a:pt x="133412" y="132330"/>
                        <a:pt x="136582" y="135487"/>
                        <a:pt x="142920" y="138631"/>
                      </a:cubicBezTo>
                      <a:cubicBezTo>
                        <a:pt x="152427" y="144931"/>
                        <a:pt x="161935" y="151231"/>
                        <a:pt x="171442" y="157544"/>
                      </a:cubicBezTo>
                      <a:cubicBezTo>
                        <a:pt x="177780" y="163844"/>
                        <a:pt x="199964" y="176445"/>
                        <a:pt x="212641" y="176445"/>
                      </a:cubicBezTo>
                      <a:cubicBezTo>
                        <a:pt x="218979" y="176445"/>
                        <a:pt x="222148" y="173288"/>
                        <a:pt x="225317" y="166988"/>
                      </a:cubicBezTo>
                      <a:cubicBezTo>
                        <a:pt x="225317" y="157544"/>
                        <a:pt x="206302" y="148088"/>
                        <a:pt x="199964" y="141787"/>
                      </a:cubicBezTo>
                      <a:cubicBezTo>
                        <a:pt x="184119" y="132330"/>
                        <a:pt x="168273" y="116574"/>
                        <a:pt x="152427" y="107130"/>
                      </a:cubicBezTo>
                      <a:cubicBezTo>
                        <a:pt x="133412" y="97686"/>
                        <a:pt x="114398" y="85073"/>
                        <a:pt x="101721" y="69328"/>
                      </a:cubicBezTo>
                      <a:cubicBezTo>
                        <a:pt x="89045" y="53571"/>
                        <a:pt x="70030" y="44114"/>
                        <a:pt x="54184" y="31514"/>
                      </a:cubicBezTo>
                      <a:cubicBezTo>
                        <a:pt x="44677" y="25214"/>
                        <a:pt x="38339" y="22057"/>
                        <a:pt x="32000" y="15770"/>
                      </a:cubicBezTo>
                      <a:cubicBezTo>
                        <a:pt x="32000" y="15770"/>
                        <a:pt x="32000" y="15770"/>
                        <a:pt x="28831" y="15770"/>
                      </a:cubicBezTo>
                      <a:lnTo>
                        <a:pt x="28831" y="15770"/>
                      </a:lnTo>
                      <a:cubicBezTo>
                        <a:pt x="28831" y="18913"/>
                        <a:pt x="25662" y="18913"/>
                        <a:pt x="25662" y="18913"/>
                      </a:cubicBezTo>
                      <a:cubicBezTo>
                        <a:pt x="25662" y="18913"/>
                        <a:pt x="25662" y="18913"/>
                        <a:pt x="22493" y="18913"/>
                      </a:cubicBezTo>
                      <a:cubicBezTo>
                        <a:pt x="19324" y="18913"/>
                        <a:pt x="16155" y="15770"/>
                        <a:pt x="12985" y="12613"/>
                      </a:cubicBezTo>
                      <a:cubicBezTo>
                        <a:pt x="9816" y="9469"/>
                        <a:pt x="9816" y="9469"/>
                        <a:pt x="6647" y="6313"/>
                      </a:cubicBezTo>
                      <a:cubicBezTo>
                        <a:pt x="6647" y="3157"/>
                        <a:pt x="3478" y="0"/>
                        <a:pt x="309" y="0"/>
                      </a:cubicBezTo>
                    </a:path>
                  </a:pathLst>
                </a:custGeom>
                <a:solidFill>
                  <a:srgbClr val="D6D6D2"/>
                </a:solidFill>
                <a:ln w="12674" cap="flat">
                  <a:noFill/>
                  <a:prstDash val="solid"/>
                  <a:miter/>
                </a:ln>
              </p:spPr>
              <p:txBody>
                <a:bodyPr rtlCol="0" anchor="ctr"/>
                <a:lstStyle/>
                <a:p>
                  <a:endParaRPr lang="en-US"/>
                </a:p>
              </p:txBody>
            </p:sp>
          </p:grpSp>
          <p:grpSp>
            <p:nvGrpSpPr>
              <p:cNvPr id="65" name="Graphic 4">
                <a:extLst>
                  <a:ext uri="{FF2B5EF4-FFF2-40B4-BE49-F238E27FC236}">
                    <a16:creationId xmlns:a16="http://schemas.microsoft.com/office/drawing/2014/main" id="{DE7B7F4C-95F1-4624-BE68-CCFD977C0AC0}"/>
                  </a:ext>
                </a:extLst>
              </p:cNvPr>
              <p:cNvGrpSpPr/>
              <p:nvPr/>
            </p:nvGrpSpPr>
            <p:grpSpPr>
              <a:xfrm>
                <a:off x="7097" y="6160"/>
                <a:ext cx="7993183" cy="1583025"/>
                <a:chOff x="7097" y="6160"/>
                <a:chExt cx="7993183" cy="1583025"/>
              </a:xfrm>
              <a:solidFill>
                <a:srgbClr val="D6D6D2"/>
              </a:solidFill>
            </p:grpSpPr>
            <p:sp>
              <p:nvSpPr>
                <p:cNvPr id="66" name="Freeform: Shape 65">
                  <a:extLst>
                    <a:ext uri="{FF2B5EF4-FFF2-40B4-BE49-F238E27FC236}">
                      <a16:creationId xmlns:a16="http://schemas.microsoft.com/office/drawing/2014/main" id="{670E86F6-BB71-43FB-A57E-BF382BF3E5A9}"/>
                    </a:ext>
                  </a:extLst>
                </p:cNvPr>
                <p:cNvSpPr/>
                <p:nvPr/>
              </p:nvSpPr>
              <p:spPr>
                <a:xfrm>
                  <a:off x="7097" y="6160"/>
                  <a:ext cx="6383100" cy="1583025"/>
                </a:xfrm>
                <a:custGeom>
                  <a:avLst/>
                  <a:gdLst>
                    <a:gd name="connsiteX0" fmla="*/ 927 w 6383100"/>
                    <a:gd name="connsiteY0" fmla="*/ 370243 h 1583025"/>
                    <a:gd name="connsiteX1" fmla="*/ 939 w 6383100"/>
                    <a:gd name="connsiteY1" fmla="*/ 770048 h 1583025"/>
                    <a:gd name="connsiteX2" fmla="*/ 888 w 6383100"/>
                    <a:gd name="connsiteY2" fmla="*/ 804376 h 1583025"/>
                    <a:gd name="connsiteX3" fmla="*/ 20157 w 6383100"/>
                    <a:gd name="connsiteY3" fmla="*/ 816343 h 1583025"/>
                    <a:gd name="connsiteX4" fmla="*/ 32352 w 6383100"/>
                    <a:gd name="connsiteY4" fmla="*/ 823822 h 1583025"/>
                    <a:gd name="connsiteX5" fmla="*/ 50593 w 6383100"/>
                    <a:gd name="connsiteY5" fmla="*/ 813732 h 1583025"/>
                    <a:gd name="connsiteX6" fmla="*/ 64613 w 6383100"/>
                    <a:gd name="connsiteY6" fmla="*/ 798203 h 1583025"/>
                    <a:gd name="connsiteX7" fmla="*/ 66895 w 6383100"/>
                    <a:gd name="connsiteY7" fmla="*/ 789342 h 1583025"/>
                    <a:gd name="connsiteX8" fmla="*/ 73601 w 6383100"/>
                    <a:gd name="connsiteY8" fmla="*/ 789633 h 1583025"/>
                    <a:gd name="connsiteX9" fmla="*/ 81651 w 6383100"/>
                    <a:gd name="connsiteY9" fmla="*/ 786921 h 1583025"/>
                    <a:gd name="connsiteX10" fmla="*/ 87368 w 6383100"/>
                    <a:gd name="connsiteY10" fmla="*/ 778605 h 1583025"/>
                    <a:gd name="connsiteX11" fmla="*/ 93465 w 6383100"/>
                    <a:gd name="connsiteY11" fmla="*/ 772596 h 1583025"/>
                    <a:gd name="connsiteX12" fmla="*/ 108284 w 6383100"/>
                    <a:gd name="connsiteY12" fmla="*/ 781901 h 1583025"/>
                    <a:gd name="connsiteX13" fmla="*/ 118007 w 6383100"/>
                    <a:gd name="connsiteY13" fmla="*/ 774067 h 1583025"/>
                    <a:gd name="connsiteX14" fmla="*/ 143335 w 6383100"/>
                    <a:gd name="connsiteY14" fmla="*/ 771937 h 1583025"/>
                    <a:gd name="connsiteX15" fmla="*/ 150395 w 6383100"/>
                    <a:gd name="connsiteY15" fmla="*/ 779682 h 1583025"/>
                    <a:gd name="connsiteX16" fmla="*/ 154566 w 6383100"/>
                    <a:gd name="connsiteY16" fmla="*/ 788936 h 1583025"/>
                    <a:gd name="connsiteX17" fmla="*/ 171806 w 6383100"/>
                    <a:gd name="connsiteY17" fmla="*/ 786997 h 1583025"/>
                    <a:gd name="connsiteX18" fmla="*/ 184407 w 6383100"/>
                    <a:gd name="connsiteY18" fmla="*/ 784968 h 1583025"/>
                    <a:gd name="connsiteX19" fmla="*/ 185218 w 6383100"/>
                    <a:gd name="connsiteY19" fmla="*/ 770124 h 1583025"/>
                    <a:gd name="connsiteX20" fmla="*/ 202902 w 6383100"/>
                    <a:gd name="connsiteY20" fmla="*/ 770581 h 1583025"/>
                    <a:gd name="connsiteX21" fmla="*/ 218316 w 6383100"/>
                    <a:gd name="connsiteY21" fmla="*/ 771810 h 1583025"/>
                    <a:gd name="connsiteX22" fmla="*/ 223159 w 6383100"/>
                    <a:gd name="connsiteY22" fmla="*/ 766080 h 1583025"/>
                    <a:gd name="connsiteX23" fmla="*/ 231056 w 6383100"/>
                    <a:gd name="connsiteY23" fmla="*/ 769136 h 1583025"/>
                    <a:gd name="connsiteX24" fmla="*/ 234301 w 6383100"/>
                    <a:gd name="connsiteY24" fmla="*/ 772888 h 1583025"/>
                    <a:gd name="connsiteX25" fmla="*/ 244582 w 6383100"/>
                    <a:gd name="connsiteY25" fmla="*/ 773965 h 1583025"/>
                    <a:gd name="connsiteX26" fmla="*/ 247333 w 6383100"/>
                    <a:gd name="connsiteY26" fmla="*/ 783739 h 1583025"/>
                    <a:gd name="connsiteX27" fmla="*/ 244861 w 6383100"/>
                    <a:gd name="connsiteY27" fmla="*/ 790280 h 1583025"/>
                    <a:gd name="connsiteX28" fmla="*/ 251465 w 6383100"/>
                    <a:gd name="connsiteY28" fmla="*/ 796973 h 1583025"/>
                    <a:gd name="connsiteX29" fmla="*/ 295985 w 6383100"/>
                    <a:gd name="connsiteY29" fmla="*/ 814948 h 1583025"/>
                    <a:gd name="connsiteX30" fmla="*/ 319171 w 6383100"/>
                    <a:gd name="connsiteY30" fmla="*/ 821616 h 1583025"/>
                    <a:gd name="connsiteX31" fmla="*/ 311615 w 6383100"/>
                    <a:gd name="connsiteY31" fmla="*/ 825952 h 1583025"/>
                    <a:gd name="connsiteX32" fmla="*/ 322441 w 6383100"/>
                    <a:gd name="connsiteY32" fmla="*/ 825952 h 1583025"/>
                    <a:gd name="connsiteX33" fmla="*/ 345424 w 6383100"/>
                    <a:gd name="connsiteY33" fmla="*/ 810651 h 1583025"/>
                    <a:gd name="connsiteX34" fmla="*/ 357847 w 6383100"/>
                    <a:gd name="connsiteY34" fmla="*/ 792891 h 1583025"/>
                    <a:gd name="connsiteX35" fmla="*/ 365339 w 6383100"/>
                    <a:gd name="connsiteY35" fmla="*/ 804579 h 1583025"/>
                    <a:gd name="connsiteX36" fmla="*/ 378015 w 6383100"/>
                    <a:gd name="connsiteY36" fmla="*/ 810005 h 1583025"/>
                    <a:gd name="connsiteX37" fmla="*/ 428594 w 6383100"/>
                    <a:gd name="connsiteY37" fmla="*/ 807064 h 1583025"/>
                    <a:gd name="connsiteX38" fmla="*/ 459081 w 6383100"/>
                    <a:gd name="connsiteY38" fmla="*/ 784652 h 1583025"/>
                    <a:gd name="connsiteX39" fmla="*/ 474661 w 6383100"/>
                    <a:gd name="connsiteY39" fmla="*/ 753873 h 1583025"/>
                    <a:gd name="connsiteX40" fmla="*/ 459284 w 6383100"/>
                    <a:gd name="connsiteY40" fmla="*/ 737241 h 1583025"/>
                    <a:gd name="connsiteX41" fmla="*/ 443718 w 6383100"/>
                    <a:gd name="connsiteY41" fmla="*/ 733337 h 1583025"/>
                    <a:gd name="connsiteX42" fmla="*/ 420950 w 6383100"/>
                    <a:gd name="connsiteY42" fmla="*/ 719418 h 1583025"/>
                    <a:gd name="connsiteX43" fmla="*/ 385431 w 6383100"/>
                    <a:gd name="connsiteY43" fmla="*/ 715222 h 1583025"/>
                    <a:gd name="connsiteX44" fmla="*/ 384987 w 6383100"/>
                    <a:gd name="connsiteY44" fmla="*/ 704599 h 1583025"/>
                    <a:gd name="connsiteX45" fmla="*/ 351914 w 6383100"/>
                    <a:gd name="connsiteY45" fmla="*/ 681997 h 1583025"/>
                    <a:gd name="connsiteX46" fmla="*/ 376253 w 6383100"/>
                    <a:gd name="connsiteY46" fmla="*/ 673453 h 1583025"/>
                    <a:gd name="connsiteX47" fmla="*/ 396358 w 6383100"/>
                    <a:gd name="connsiteY47" fmla="*/ 667026 h 1583025"/>
                    <a:gd name="connsiteX48" fmla="*/ 428544 w 6383100"/>
                    <a:gd name="connsiteY48" fmla="*/ 648265 h 1583025"/>
                    <a:gd name="connsiteX49" fmla="*/ 422193 w 6383100"/>
                    <a:gd name="connsiteY49" fmla="*/ 637845 h 1583025"/>
                    <a:gd name="connsiteX50" fmla="*/ 414916 w 6383100"/>
                    <a:gd name="connsiteY50" fmla="*/ 631152 h 1583025"/>
                    <a:gd name="connsiteX51" fmla="*/ 411861 w 6383100"/>
                    <a:gd name="connsiteY51" fmla="*/ 622481 h 1583025"/>
                    <a:gd name="connsiteX52" fmla="*/ 405878 w 6383100"/>
                    <a:gd name="connsiteY52" fmla="*/ 619502 h 1583025"/>
                    <a:gd name="connsiteX53" fmla="*/ 408084 w 6383100"/>
                    <a:gd name="connsiteY53" fmla="*/ 606737 h 1583025"/>
                    <a:gd name="connsiteX54" fmla="*/ 429925 w 6383100"/>
                    <a:gd name="connsiteY54" fmla="*/ 590080 h 1583025"/>
                    <a:gd name="connsiteX55" fmla="*/ 423727 w 6383100"/>
                    <a:gd name="connsiteY55" fmla="*/ 585199 h 1583025"/>
                    <a:gd name="connsiteX56" fmla="*/ 439712 w 6383100"/>
                    <a:gd name="connsiteY56" fmla="*/ 581029 h 1583025"/>
                    <a:gd name="connsiteX57" fmla="*/ 447990 w 6383100"/>
                    <a:gd name="connsiteY57" fmla="*/ 583957 h 1583025"/>
                    <a:gd name="connsiteX58" fmla="*/ 455177 w 6383100"/>
                    <a:gd name="connsiteY58" fmla="*/ 581840 h 1583025"/>
                    <a:gd name="connsiteX59" fmla="*/ 473419 w 6383100"/>
                    <a:gd name="connsiteY59" fmla="*/ 585782 h 1583025"/>
                    <a:gd name="connsiteX60" fmla="*/ 484194 w 6383100"/>
                    <a:gd name="connsiteY60" fmla="*/ 584717 h 1583025"/>
                    <a:gd name="connsiteX61" fmla="*/ 496528 w 6383100"/>
                    <a:gd name="connsiteY61" fmla="*/ 588825 h 1583025"/>
                    <a:gd name="connsiteX62" fmla="*/ 507544 w 6383100"/>
                    <a:gd name="connsiteY62" fmla="*/ 573486 h 1583025"/>
                    <a:gd name="connsiteX63" fmla="*/ 484688 w 6383100"/>
                    <a:gd name="connsiteY63" fmla="*/ 566362 h 1583025"/>
                    <a:gd name="connsiteX64" fmla="*/ 473178 w 6383100"/>
                    <a:gd name="connsiteY64" fmla="*/ 558084 h 1583025"/>
                    <a:gd name="connsiteX65" fmla="*/ 463670 w 6383100"/>
                    <a:gd name="connsiteY65" fmla="*/ 561545 h 1583025"/>
                    <a:gd name="connsiteX66" fmla="*/ 452414 w 6383100"/>
                    <a:gd name="connsiteY66" fmla="*/ 555815 h 1583025"/>
                    <a:gd name="connsiteX67" fmla="*/ 440624 w 6383100"/>
                    <a:gd name="connsiteY67" fmla="*/ 554750 h 1583025"/>
                    <a:gd name="connsiteX68" fmla="*/ 448294 w 6383100"/>
                    <a:gd name="connsiteY68" fmla="*/ 533149 h 1583025"/>
                    <a:gd name="connsiteX69" fmla="*/ 461693 w 6383100"/>
                    <a:gd name="connsiteY69" fmla="*/ 534506 h 1583025"/>
                    <a:gd name="connsiteX70" fmla="*/ 456660 w 6383100"/>
                    <a:gd name="connsiteY70" fmla="*/ 523502 h 1583025"/>
                    <a:gd name="connsiteX71" fmla="*/ 435262 w 6383100"/>
                    <a:gd name="connsiteY71" fmla="*/ 525721 h 1583025"/>
                    <a:gd name="connsiteX72" fmla="*/ 417781 w 6383100"/>
                    <a:gd name="connsiteY72" fmla="*/ 520054 h 1583025"/>
                    <a:gd name="connsiteX73" fmla="*/ 426148 w 6383100"/>
                    <a:gd name="connsiteY73" fmla="*/ 518749 h 1583025"/>
                    <a:gd name="connsiteX74" fmla="*/ 429431 w 6383100"/>
                    <a:gd name="connsiteY74" fmla="*/ 511992 h 1583025"/>
                    <a:gd name="connsiteX75" fmla="*/ 440295 w 6383100"/>
                    <a:gd name="connsiteY75" fmla="*/ 502574 h 1583025"/>
                    <a:gd name="connsiteX76" fmla="*/ 426896 w 6383100"/>
                    <a:gd name="connsiteY76" fmla="*/ 487260 h 1583025"/>
                    <a:gd name="connsiteX77" fmla="*/ 439902 w 6383100"/>
                    <a:gd name="connsiteY77" fmla="*/ 480276 h 1583025"/>
                    <a:gd name="connsiteX78" fmla="*/ 457053 w 6383100"/>
                    <a:gd name="connsiteY78" fmla="*/ 476904 h 1583025"/>
                    <a:gd name="connsiteX79" fmla="*/ 470959 w 6383100"/>
                    <a:gd name="connsiteY79" fmla="*/ 485460 h 1583025"/>
                    <a:gd name="connsiteX80" fmla="*/ 485208 w 6383100"/>
                    <a:gd name="connsiteY80" fmla="*/ 482367 h 1583025"/>
                    <a:gd name="connsiteX81" fmla="*/ 499786 w 6383100"/>
                    <a:gd name="connsiteY81" fmla="*/ 488972 h 1583025"/>
                    <a:gd name="connsiteX82" fmla="*/ 517127 w 6383100"/>
                    <a:gd name="connsiteY82" fmla="*/ 479832 h 1583025"/>
                    <a:gd name="connsiteX83" fmla="*/ 531541 w 6383100"/>
                    <a:gd name="connsiteY83" fmla="*/ 483343 h 1583025"/>
                    <a:gd name="connsiteX84" fmla="*/ 533683 w 6383100"/>
                    <a:gd name="connsiteY84" fmla="*/ 491608 h 1583025"/>
                    <a:gd name="connsiteX85" fmla="*/ 538855 w 6383100"/>
                    <a:gd name="connsiteY85" fmla="*/ 489922 h 1583025"/>
                    <a:gd name="connsiteX86" fmla="*/ 557540 w 6383100"/>
                    <a:gd name="connsiteY86" fmla="*/ 473227 h 1583025"/>
                    <a:gd name="connsiteX87" fmla="*/ 574273 w 6383100"/>
                    <a:gd name="connsiteY87" fmla="*/ 472936 h 1583025"/>
                    <a:gd name="connsiteX88" fmla="*/ 581790 w 6383100"/>
                    <a:gd name="connsiteY88" fmla="*/ 467105 h 1583025"/>
                    <a:gd name="connsiteX89" fmla="*/ 607739 w 6383100"/>
                    <a:gd name="connsiteY89" fmla="*/ 461920 h 1583025"/>
                    <a:gd name="connsiteX90" fmla="*/ 627109 w 6383100"/>
                    <a:gd name="connsiteY90" fmla="*/ 456900 h 1583025"/>
                    <a:gd name="connsiteX91" fmla="*/ 639747 w 6383100"/>
                    <a:gd name="connsiteY91" fmla="*/ 462516 h 1583025"/>
                    <a:gd name="connsiteX92" fmla="*/ 647721 w 6383100"/>
                    <a:gd name="connsiteY92" fmla="*/ 449801 h 1583025"/>
                    <a:gd name="connsiteX93" fmla="*/ 665747 w 6383100"/>
                    <a:gd name="connsiteY93" fmla="*/ 447963 h 1583025"/>
                    <a:gd name="connsiteX94" fmla="*/ 684724 w 6383100"/>
                    <a:gd name="connsiteY94" fmla="*/ 445149 h 1583025"/>
                    <a:gd name="connsiteX95" fmla="*/ 690631 w 6383100"/>
                    <a:gd name="connsiteY95" fmla="*/ 443463 h 1583025"/>
                    <a:gd name="connsiteX96" fmla="*/ 697983 w 6383100"/>
                    <a:gd name="connsiteY96" fmla="*/ 448115 h 1583025"/>
                    <a:gd name="connsiteX97" fmla="*/ 715959 w 6383100"/>
                    <a:gd name="connsiteY97" fmla="*/ 441777 h 1583025"/>
                    <a:gd name="connsiteX98" fmla="*/ 736266 w 6383100"/>
                    <a:gd name="connsiteY98" fmla="*/ 443932 h 1583025"/>
                    <a:gd name="connsiteX99" fmla="*/ 735937 w 6383100"/>
                    <a:gd name="connsiteY99" fmla="*/ 429874 h 1583025"/>
                    <a:gd name="connsiteX100" fmla="*/ 748677 w 6383100"/>
                    <a:gd name="connsiteY100" fmla="*/ 425171 h 1583025"/>
                    <a:gd name="connsiteX101" fmla="*/ 754749 w 6383100"/>
                    <a:gd name="connsiteY101" fmla="*/ 424676 h 1583025"/>
                    <a:gd name="connsiteX102" fmla="*/ 755040 w 6383100"/>
                    <a:gd name="connsiteY102" fmla="*/ 418414 h 1583025"/>
                    <a:gd name="connsiteX103" fmla="*/ 774004 w 6383100"/>
                    <a:gd name="connsiteY103" fmla="*/ 421621 h 1583025"/>
                    <a:gd name="connsiteX104" fmla="*/ 784234 w 6383100"/>
                    <a:gd name="connsiteY104" fmla="*/ 412963 h 1583025"/>
                    <a:gd name="connsiteX105" fmla="*/ 792943 w 6383100"/>
                    <a:gd name="connsiteY105" fmla="*/ 419339 h 1583025"/>
                    <a:gd name="connsiteX106" fmla="*/ 819488 w 6383100"/>
                    <a:gd name="connsiteY106" fmla="*/ 412570 h 1583025"/>
                    <a:gd name="connsiteX107" fmla="*/ 840873 w 6383100"/>
                    <a:gd name="connsiteY107" fmla="*/ 409705 h 1583025"/>
                    <a:gd name="connsiteX108" fmla="*/ 874136 w 6383100"/>
                    <a:gd name="connsiteY108" fmla="*/ 402251 h 1583025"/>
                    <a:gd name="connsiteX109" fmla="*/ 901923 w 6383100"/>
                    <a:gd name="connsiteY109" fmla="*/ 395178 h 1583025"/>
                    <a:gd name="connsiteX110" fmla="*/ 925159 w 6383100"/>
                    <a:gd name="connsiteY110" fmla="*/ 390969 h 1583025"/>
                    <a:gd name="connsiteX111" fmla="*/ 935478 w 6383100"/>
                    <a:gd name="connsiteY111" fmla="*/ 383617 h 1583025"/>
                    <a:gd name="connsiteX112" fmla="*/ 956039 w 6383100"/>
                    <a:gd name="connsiteY112" fmla="*/ 384492 h 1583025"/>
                    <a:gd name="connsiteX113" fmla="*/ 960463 w 6383100"/>
                    <a:gd name="connsiteY113" fmla="*/ 376632 h 1583025"/>
                    <a:gd name="connsiteX114" fmla="*/ 964330 w 6383100"/>
                    <a:gd name="connsiteY114" fmla="*/ 372335 h 1583025"/>
                    <a:gd name="connsiteX115" fmla="*/ 956191 w 6383100"/>
                    <a:gd name="connsiteY115" fmla="*/ 363094 h 1583025"/>
                    <a:gd name="connsiteX116" fmla="*/ 985030 w 6383100"/>
                    <a:gd name="connsiteY116" fmla="*/ 360318 h 1583025"/>
                    <a:gd name="connsiteX117" fmla="*/ 993486 w 6383100"/>
                    <a:gd name="connsiteY117" fmla="*/ 347920 h 1583025"/>
                    <a:gd name="connsiteX118" fmla="*/ 1007823 w 6383100"/>
                    <a:gd name="connsiteY118" fmla="*/ 348072 h 1583025"/>
                    <a:gd name="connsiteX119" fmla="*/ 1015226 w 6383100"/>
                    <a:gd name="connsiteY119" fmla="*/ 351368 h 1583025"/>
                    <a:gd name="connsiteX120" fmla="*/ 1012754 w 6383100"/>
                    <a:gd name="connsiteY120" fmla="*/ 343825 h 1583025"/>
                    <a:gd name="connsiteX121" fmla="*/ 1011626 w 6383100"/>
                    <a:gd name="connsiteY121" fmla="*/ 336067 h 1583025"/>
                    <a:gd name="connsiteX122" fmla="*/ 1027471 w 6383100"/>
                    <a:gd name="connsiteY122" fmla="*/ 341277 h 1583025"/>
                    <a:gd name="connsiteX123" fmla="*/ 1030793 w 6383100"/>
                    <a:gd name="connsiteY123" fmla="*/ 347185 h 1583025"/>
                    <a:gd name="connsiteX124" fmla="*/ 1036865 w 6383100"/>
                    <a:gd name="connsiteY124" fmla="*/ 343927 h 1583025"/>
                    <a:gd name="connsiteX125" fmla="*/ 1052330 w 6383100"/>
                    <a:gd name="connsiteY125" fmla="*/ 344763 h 1583025"/>
                    <a:gd name="connsiteX126" fmla="*/ 1074844 w 6383100"/>
                    <a:gd name="connsiteY126" fmla="*/ 349974 h 1583025"/>
                    <a:gd name="connsiteX127" fmla="*/ 1086012 w 6383100"/>
                    <a:gd name="connsiteY127" fmla="*/ 359760 h 1583025"/>
                    <a:gd name="connsiteX128" fmla="*/ 1104710 w 6383100"/>
                    <a:gd name="connsiteY128" fmla="*/ 366466 h 1583025"/>
                    <a:gd name="connsiteX129" fmla="*/ 1112011 w 6383100"/>
                    <a:gd name="connsiteY129" fmla="*/ 361801 h 1583025"/>
                    <a:gd name="connsiteX130" fmla="*/ 1120061 w 6383100"/>
                    <a:gd name="connsiteY130" fmla="*/ 356172 h 1583025"/>
                    <a:gd name="connsiteX131" fmla="*/ 1124979 w 6383100"/>
                    <a:gd name="connsiteY131" fmla="*/ 351114 h 1583025"/>
                    <a:gd name="connsiteX132" fmla="*/ 1131204 w 6383100"/>
                    <a:gd name="connsiteY132" fmla="*/ 352965 h 1583025"/>
                    <a:gd name="connsiteX133" fmla="*/ 1151587 w 6383100"/>
                    <a:gd name="connsiteY133" fmla="*/ 350417 h 1583025"/>
                    <a:gd name="connsiteX134" fmla="*/ 1163174 w 6383100"/>
                    <a:gd name="connsiteY134" fmla="*/ 372576 h 1583025"/>
                    <a:gd name="connsiteX135" fmla="*/ 1161019 w 6383100"/>
                    <a:gd name="connsiteY135" fmla="*/ 390133 h 1583025"/>
                    <a:gd name="connsiteX136" fmla="*/ 1172085 w 6383100"/>
                    <a:gd name="connsiteY136" fmla="*/ 407791 h 1583025"/>
                    <a:gd name="connsiteX137" fmla="*/ 1183976 w 6383100"/>
                    <a:gd name="connsiteY137" fmla="*/ 418034 h 1583025"/>
                    <a:gd name="connsiteX138" fmla="*/ 1175571 w 6383100"/>
                    <a:gd name="connsiteY138" fmla="*/ 423611 h 1583025"/>
                    <a:gd name="connsiteX139" fmla="*/ 1175749 w 6383100"/>
                    <a:gd name="connsiteY139" fmla="*/ 433917 h 1583025"/>
                    <a:gd name="connsiteX140" fmla="*/ 1178943 w 6383100"/>
                    <a:gd name="connsiteY140" fmla="*/ 449903 h 1583025"/>
                    <a:gd name="connsiteX141" fmla="*/ 1162971 w 6383100"/>
                    <a:gd name="connsiteY141" fmla="*/ 453034 h 1583025"/>
                    <a:gd name="connsiteX142" fmla="*/ 1172060 w 6383100"/>
                    <a:gd name="connsiteY142" fmla="*/ 465419 h 1583025"/>
                    <a:gd name="connsiteX143" fmla="*/ 1186790 w 6383100"/>
                    <a:gd name="connsiteY143" fmla="*/ 462997 h 1583025"/>
                    <a:gd name="connsiteX144" fmla="*/ 1200151 w 6383100"/>
                    <a:gd name="connsiteY144" fmla="*/ 471009 h 1583025"/>
                    <a:gd name="connsiteX145" fmla="*/ 1213931 w 6383100"/>
                    <a:gd name="connsiteY145" fmla="*/ 470603 h 1583025"/>
                    <a:gd name="connsiteX146" fmla="*/ 1219077 w 6383100"/>
                    <a:gd name="connsiteY146" fmla="*/ 458282 h 1583025"/>
                    <a:gd name="connsiteX147" fmla="*/ 1252378 w 6383100"/>
                    <a:gd name="connsiteY147" fmla="*/ 467561 h 1583025"/>
                    <a:gd name="connsiteX148" fmla="*/ 1244075 w 6383100"/>
                    <a:gd name="connsiteY148" fmla="*/ 459866 h 1583025"/>
                    <a:gd name="connsiteX149" fmla="*/ 1245305 w 6383100"/>
                    <a:gd name="connsiteY149" fmla="*/ 453072 h 1583025"/>
                    <a:gd name="connsiteX150" fmla="*/ 1242833 w 6383100"/>
                    <a:gd name="connsiteY150" fmla="*/ 447773 h 1583025"/>
                    <a:gd name="connsiteX151" fmla="*/ 1241971 w 6383100"/>
                    <a:gd name="connsiteY151" fmla="*/ 443869 h 1583025"/>
                    <a:gd name="connsiteX152" fmla="*/ 1253824 w 6383100"/>
                    <a:gd name="connsiteY152" fmla="*/ 447215 h 1583025"/>
                    <a:gd name="connsiteX153" fmla="*/ 1260872 w 6383100"/>
                    <a:gd name="connsiteY153" fmla="*/ 464075 h 1583025"/>
                    <a:gd name="connsiteX154" fmla="*/ 1273853 w 6383100"/>
                    <a:gd name="connsiteY154" fmla="*/ 469944 h 1583025"/>
                    <a:gd name="connsiteX155" fmla="*/ 1268237 w 6383100"/>
                    <a:gd name="connsiteY155" fmla="*/ 473025 h 1583025"/>
                    <a:gd name="connsiteX156" fmla="*/ 1265270 w 6383100"/>
                    <a:gd name="connsiteY156" fmla="*/ 474495 h 1583025"/>
                    <a:gd name="connsiteX157" fmla="*/ 1267882 w 6383100"/>
                    <a:gd name="connsiteY157" fmla="*/ 478361 h 1583025"/>
                    <a:gd name="connsiteX158" fmla="*/ 1266944 w 6383100"/>
                    <a:gd name="connsiteY158" fmla="*/ 486981 h 1583025"/>
                    <a:gd name="connsiteX159" fmla="*/ 1282080 w 6383100"/>
                    <a:gd name="connsiteY159" fmla="*/ 484814 h 1583025"/>
                    <a:gd name="connsiteX160" fmla="*/ 1288747 w 6383100"/>
                    <a:gd name="connsiteY160" fmla="*/ 479921 h 1583025"/>
                    <a:gd name="connsiteX161" fmla="*/ 1276464 w 6383100"/>
                    <a:gd name="connsiteY161" fmla="*/ 477702 h 1583025"/>
                    <a:gd name="connsiteX162" fmla="*/ 1309550 w 6383100"/>
                    <a:gd name="connsiteY162" fmla="*/ 470236 h 1583025"/>
                    <a:gd name="connsiteX163" fmla="*/ 1315343 w 6383100"/>
                    <a:gd name="connsiteY163" fmla="*/ 480022 h 1583025"/>
                    <a:gd name="connsiteX164" fmla="*/ 1331264 w 6383100"/>
                    <a:gd name="connsiteY164" fmla="*/ 486791 h 1583025"/>
                    <a:gd name="connsiteX165" fmla="*/ 1344448 w 6383100"/>
                    <a:gd name="connsiteY165" fmla="*/ 484940 h 1583025"/>
                    <a:gd name="connsiteX166" fmla="*/ 1348796 w 6383100"/>
                    <a:gd name="connsiteY166" fmla="*/ 487488 h 1583025"/>
                    <a:gd name="connsiteX167" fmla="*/ 1351217 w 6383100"/>
                    <a:gd name="connsiteY167" fmla="*/ 483470 h 1583025"/>
                    <a:gd name="connsiteX168" fmla="*/ 1356250 w 6383100"/>
                    <a:gd name="connsiteY168" fmla="*/ 475420 h 1583025"/>
                    <a:gd name="connsiteX169" fmla="*/ 1367507 w 6383100"/>
                    <a:gd name="connsiteY169" fmla="*/ 476232 h 1583025"/>
                    <a:gd name="connsiteX170" fmla="*/ 1359647 w 6383100"/>
                    <a:gd name="connsiteY170" fmla="*/ 496451 h 1583025"/>
                    <a:gd name="connsiteX171" fmla="*/ 1341672 w 6383100"/>
                    <a:gd name="connsiteY171" fmla="*/ 499392 h 1583025"/>
                    <a:gd name="connsiteX172" fmla="*/ 1345120 w 6383100"/>
                    <a:gd name="connsiteY172" fmla="*/ 501382 h 1583025"/>
                    <a:gd name="connsiteX173" fmla="*/ 1332228 w 6383100"/>
                    <a:gd name="connsiteY173" fmla="*/ 514185 h 1583025"/>
                    <a:gd name="connsiteX174" fmla="*/ 1329781 w 6383100"/>
                    <a:gd name="connsiteY174" fmla="*/ 525100 h 1583025"/>
                    <a:gd name="connsiteX175" fmla="*/ 1341672 w 6383100"/>
                    <a:gd name="connsiteY175" fmla="*/ 530322 h 1583025"/>
                    <a:gd name="connsiteX176" fmla="*/ 1346071 w 6383100"/>
                    <a:gd name="connsiteY176" fmla="*/ 537497 h 1583025"/>
                    <a:gd name="connsiteX177" fmla="*/ 1354399 w 6383100"/>
                    <a:gd name="connsiteY177" fmla="*/ 529777 h 1583025"/>
                    <a:gd name="connsiteX178" fmla="*/ 1361270 w 6383100"/>
                    <a:gd name="connsiteY178" fmla="*/ 521259 h 1583025"/>
                    <a:gd name="connsiteX179" fmla="*/ 1373414 w 6383100"/>
                    <a:gd name="connsiteY179" fmla="*/ 521652 h 1583025"/>
                    <a:gd name="connsiteX180" fmla="*/ 1383466 w 6383100"/>
                    <a:gd name="connsiteY180" fmla="*/ 518597 h 1583025"/>
                    <a:gd name="connsiteX181" fmla="*/ 1395446 w 6383100"/>
                    <a:gd name="connsiteY181" fmla="*/ 525353 h 1583025"/>
                    <a:gd name="connsiteX182" fmla="*/ 1403635 w 6383100"/>
                    <a:gd name="connsiteY182" fmla="*/ 523515 h 1583025"/>
                    <a:gd name="connsiteX183" fmla="*/ 1406373 w 6383100"/>
                    <a:gd name="connsiteY183" fmla="*/ 530069 h 1583025"/>
                    <a:gd name="connsiteX184" fmla="*/ 1420165 w 6383100"/>
                    <a:gd name="connsiteY184" fmla="*/ 526050 h 1583025"/>
                    <a:gd name="connsiteX185" fmla="*/ 1418441 w 6383100"/>
                    <a:gd name="connsiteY185" fmla="*/ 516949 h 1583025"/>
                    <a:gd name="connsiteX186" fmla="*/ 1428278 w 6383100"/>
                    <a:gd name="connsiteY186" fmla="*/ 514084 h 1583025"/>
                    <a:gd name="connsiteX187" fmla="*/ 1441816 w 6383100"/>
                    <a:gd name="connsiteY187" fmla="*/ 503537 h 1583025"/>
                    <a:gd name="connsiteX188" fmla="*/ 1450817 w 6383100"/>
                    <a:gd name="connsiteY188" fmla="*/ 498530 h 1583025"/>
                    <a:gd name="connsiteX189" fmla="*/ 1461655 w 6383100"/>
                    <a:gd name="connsiteY189" fmla="*/ 501496 h 1583025"/>
                    <a:gd name="connsiteX190" fmla="*/ 1492675 w 6383100"/>
                    <a:gd name="connsiteY190" fmla="*/ 483419 h 1583025"/>
                    <a:gd name="connsiteX191" fmla="*/ 1487249 w 6383100"/>
                    <a:gd name="connsiteY191" fmla="*/ 476042 h 1583025"/>
                    <a:gd name="connsiteX192" fmla="*/ 1511626 w 6383100"/>
                    <a:gd name="connsiteY192" fmla="*/ 470654 h 1583025"/>
                    <a:gd name="connsiteX193" fmla="*/ 1546486 w 6383100"/>
                    <a:gd name="connsiteY193" fmla="*/ 457293 h 1583025"/>
                    <a:gd name="connsiteX194" fmla="*/ 1551899 w 6383100"/>
                    <a:gd name="connsiteY194" fmla="*/ 447000 h 1583025"/>
                    <a:gd name="connsiteX195" fmla="*/ 1577151 w 6383100"/>
                    <a:gd name="connsiteY195" fmla="*/ 446011 h 1583025"/>
                    <a:gd name="connsiteX196" fmla="*/ 1599804 w 6383100"/>
                    <a:gd name="connsiteY196" fmla="*/ 435033 h 1583025"/>
                    <a:gd name="connsiteX197" fmla="*/ 1590639 w 6383100"/>
                    <a:gd name="connsiteY197" fmla="*/ 443247 h 1583025"/>
                    <a:gd name="connsiteX198" fmla="*/ 1596445 w 6383100"/>
                    <a:gd name="connsiteY198" fmla="*/ 452045 h 1583025"/>
                    <a:gd name="connsiteX199" fmla="*/ 1589016 w 6383100"/>
                    <a:gd name="connsiteY199" fmla="*/ 463112 h 1583025"/>
                    <a:gd name="connsiteX200" fmla="*/ 1567415 w 6383100"/>
                    <a:gd name="connsiteY200" fmla="*/ 465393 h 1583025"/>
                    <a:gd name="connsiteX201" fmla="*/ 1592337 w 6383100"/>
                    <a:gd name="connsiteY201" fmla="*/ 498276 h 1583025"/>
                    <a:gd name="connsiteX202" fmla="*/ 1688349 w 6383100"/>
                    <a:gd name="connsiteY202" fmla="*/ 576528 h 1583025"/>
                    <a:gd name="connsiteX203" fmla="*/ 1759465 w 6383100"/>
                    <a:gd name="connsiteY203" fmla="*/ 681946 h 1583025"/>
                    <a:gd name="connsiteX204" fmla="*/ 1801906 w 6383100"/>
                    <a:gd name="connsiteY204" fmla="*/ 750273 h 1583025"/>
                    <a:gd name="connsiteX205" fmla="*/ 1836601 w 6383100"/>
                    <a:gd name="connsiteY205" fmla="*/ 802995 h 1583025"/>
                    <a:gd name="connsiteX206" fmla="*/ 1840797 w 6383100"/>
                    <a:gd name="connsiteY206" fmla="*/ 796669 h 1583025"/>
                    <a:gd name="connsiteX207" fmla="*/ 1850875 w 6383100"/>
                    <a:gd name="connsiteY207" fmla="*/ 786971 h 1583025"/>
                    <a:gd name="connsiteX208" fmla="*/ 1864604 w 6383100"/>
                    <a:gd name="connsiteY208" fmla="*/ 776450 h 1583025"/>
                    <a:gd name="connsiteX209" fmla="*/ 1860547 w 6383100"/>
                    <a:gd name="connsiteY209" fmla="*/ 764141 h 1583025"/>
                    <a:gd name="connsiteX210" fmla="*/ 1874555 w 6383100"/>
                    <a:gd name="connsiteY210" fmla="*/ 758601 h 1583025"/>
                    <a:gd name="connsiteX211" fmla="*/ 1876799 w 6383100"/>
                    <a:gd name="connsiteY211" fmla="*/ 752263 h 1583025"/>
                    <a:gd name="connsiteX212" fmla="*/ 1885622 w 6383100"/>
                    <a:gd name="connsiteY212" fmla="*/ 751528 h 1583025"/>
                    <a:gd name="connsiteX213" fmla="*/ 1894102 w 6383100"/>
                    <a:gd name="connsiteY213" fmla="*/ 752162 h 1583025"/>
                    <a:gd name="connsiteX214" fmla="*/ 1897943 w 6383100"/>
                    <a:gd name="connsiteY214" fmla="*/ 756003 h 1583025"/>
                    <a:gd name="connsiteX215" fmla="*/ 1904104 w 6383100"/>
                    <a:gd name="connsiteY215" fmla="*/ 761023 h 1583025"/>
                    <a:gd name="connsiteX216" fmla="*/ 1911418 w 6383100"/>
                    <a:gd name="connsiteY216" fmla="*/ 760300 h 1583025"/>
                    <a:gd name="connsiteX217" fmla="*/ 1913966 w 6383100"/>
                    <a:gd name="connsiteY217" fmla="*/ 785006 h 1583025"/>
                    <a:gd name="connsiteX218" fmla="*/ 1935821 w 6383100"/>
                    <a:gd name="connsiteY218" fmla="*/ 791091 h 1583025"/>
                    <a:gd name="connsiteX219" fmla="*/ 1936036 w 6383100"/>
                    <a:gd name="connsiteY219" fmla="*/ 804047 h 1583025"/>
                    <a:gd name="connsiteX220" fmla="*/ 1957802 w 6383100"/>
                    <a:gd name="connsiteY220" fmla="*/ 800763 h 1583025"/>
                    <a:gd name="connsiteX221" fmla="*/ 1974066 w 6383100"/>
                    <a:gd name="connsiteY221" fmla="*/ 801359 h 1583025"/>
                    <a:gd name="connsiteX222" fmla="*/ 1990875 w 6383100"/>
                    <a:gd name="connsiteY222" fmla="*/ 807685 h 1583025"/>
                    <a:gd name="connsiteX223" fmla="*/ 2000344 w 6383100"/>
                    <a:gd name="connsiteY223" fmla="*/ 804072 h 1583025"/>
                    <a:gd name="connsiteX224" fmla="*/ 2014783 w 6383100"/>
                    <a:gd name="connsiteY224" fmla="*/ 805847 h 1583025"/>
                    <a:gd name="connsiteX225" fmla="*/ 2028220 w 6383100"/>
                    <a:gd name="connsiteY225" fmla="*/ 798887 h 1583025"/>
                    <a:gd name="connsiteX226" fmla="*/ 2030768 w 6383100"/>
                    <a:gd name="connsiteY226" fmla="*/ 789532 h 1583025"/>
                    <a:gd name="connsiteX227" fmla="*/ 2054917 w 6383100"/>
                    <a:gd name="connsiteY227" fmla="*/ 788214 h 1583025"/>
                    <a:gd name="connsiteX228" fmla="*/ 2060380 w 6383100"/>
                    <a:gd name="connsiteY228" fmla="*/ 779530 h 1583025"/>
                    <a:gd name="connsiteX229" fmla="*/ 2065248 w 6383100"/>
                    <a:gd name="connsiteY229" fmla="*/ 780151 h 1583025"/>
                    <a:gd name="connsiteX230" fmla="*/ 2106218 w 6383100"/>
                    <a:gd name="connsiteY230" fmla="*/ 790660 h 1583025"/>
                    <a:gd name="connsiteX231" fmla="*/ 2118743 w 6383100"/>
                    <a:gd name="connsiteY231" fmla="*/ 797721 h 1583025"/>
                    <a:gd name="connsiteX232" fmla="*/ 2123180 w 6383100"/>
                    <a:gd name="connsiteY232" fmla="*/ 807824 h 1583025"/>
                    <a:gd name="connsiteX233" fmla="*/ 2132522 w 6383100"/>
                    <a:gd name="connsiteY233" fmla="*/ 814340 h 1583025"/>
                    <a:gd name="connsiteX234" fmla="*/ 2143842 w 6383100"/>
                    <a:gd name="connsiteY234" fmla="*/ 844523 h 1583025"/>
                    <a:gd name="connsiteX235" fmla="*/ 2162198 w 6383100"/>
                    <a:gd name="connsiteY235" fmla="*/ 854803 h 1583025"/>
                    <a:gd name="connsiteX236" fmla="*/ 2176079 w 6383100"/>
                    <a:gd name="connsiteY236" fmla="*/ 860115 h 1583025"/>
                    <a:gd name="connsiteX237" fmla="*/ 2187969 w 6383100"/>
                    <a:gd name="connsiteY237" fmla="*/ 867759 h 1583025"/>
                    <a:gd name="connsiteX238" fmla="*/ 2201952 w 6383100"/>
                    <a:gd name="connsiteY238" fmla="*/ 874300 h 1583025"/>
                    <a:gd name="connsiteX239" fmla="*/ 2196551 w 6383100"/>
                    <a:gd name="connsiteY239" fmla="*/ 884416 h 1583025"/>
                    <a:gd name="connsiteX240" fmla="*/ 2204626 w 6383100"/>
                    <a:gd name="connsiteY240" fmla="*/ 888726 h 1583025"/>
                    <a:gd name="connsiteX241" fmla="*/ 2206553 w 6383100"/>
                    <a:gd name="connsiteY241" fmla="*/ 895584 h 1583025"/>
                    <a:gd name="connsiteX242" fmla="*/ 2216377 w 6383100"/>
                    <a:gd name="connsiteY242" fmla="*/ 914104 h 1583025"/>
                    <a:gd name="connsiteX243" fmla="*/ 2243455 w 6383100"/>
                    <a:gd name="connsiteY243" fmla="*/ 912241 h 1583025"/>
                    <a:gd name="connsiteX244" fmla="*/ 2248436 w 6383100"/>
                    <a:gd name="connsiteY244" fmla="*/ 917147 h 1583025"/>
                    <a:gd name="connsiteX245" fmla="*/ 2254737 w 6383100"/>
                    <a:gd name="connsiteY245" fmla="*/ 916399 h 1583025"/>
                    <a:gd name="connsiteX246" fmla="*/ 2259719 w 6383100"/>
                    <a:gd name="connsiteY246" fmla="*/ 919885 h 1583025"/>
                    <a:gd name="connsiteX247" fmla="*/ 2265753 w 6383100"/>
                    <a:gd name="connsiteY247" fmla="*/ 917223 h 1583025"/>
                    <a:gd name="connsiteX248" fmla="*/ 2273003 w 6383100"/>
                    <a:gd name="connsiteY248" fmla="*/ 924499 h 1583025"/>
                    <a:gd name="connsiteX249" fmla="*/ 2286948 w 6383100"/>
                    <a:gd name="connsiteY249" fmla="*/ 926882 h 1583025"/>
                    <a:gd name="connsiteX250" fmla="*/ 2314874 w 6383100"/>
                    <a:gd name="connsiteY250" fmla="*/ 900249 h 1583025"/>
                    <a:gd name="connsiteX251" fmla="*/ 2325611 w 6383100"/>
                    <a:gd name="connsiteY251" fmla="*/ 896813 h 1583025"/>
                    <a:gd name="connsiteX252" fmla="*/ 2331189 w 6383100"/>
                    <a:gd name="connsiteY252" fmla="*/ 904736 h 1583025"/>
                    <a:gd name="connsiteX253" fmla="*/ 2319590 w 6383100"/>
                    <a:gd name="connsiteY253" fmla="*/ 917831 h 1583025"/>
                    <a:gd name="connsiteX254" fmla="*/ 2330606 w 6383100"/>
                    <a:gd name="connsiteY254" fmla="*/ 919897 h 1583025"/>
                    <a:gd name="connsiteX255" fmla="*/ 2334041 w 6383100"/>
                    <a:gd name="connsiteY255" fmla="*/ 928150 h 1583025"/>
                    <a:gd name="connsiteX256" fmla="*/ 2342775 w 6383100"/>
                    <a:gd name="connsiteY256" fmla="*/ 933842 h 1583025"/>
                    <a:gd name="connsiteX257" fmla="*/ 2344043 w 6383100"/>
                    <a:gd name="connsiteY257" fmla="*/ 940966 h 1583025"/>
                    <a:gd name="connsiteX258" fmla="*/ 2363374 w 6383100"/>
                    <a:gd name="connsiteY258" fmla="*/ 948927 h 1583025"/>
                    <a:gd name="connsiteX259" fmla="*/ 2380171 w 6383100"/>
                    <a:gd name="connsiteY259" fmla="*/ 963872 h 1583025"/>
                    <a:gd name="connsiteX260" fmla="*/ 2385178 w 6383100"/>
                    <a:gd name="connsiteY260" fmla="*/ 959474 h 1583025"/>
                    <a:gd name="connsiteX261" fmla="*/ 2402684 w 6383100"/>
                    <a:gd name="connsiteY261" fmla="*/ 955683 h 1583025"/>
                    <a:gd name="connsiteX262" fmla="*/ 2428899 w 6383100"/>
                    <a:gd name="connsiteY262" fmla="*/ 947849 h 1583025"/>
                    <a:gd name="connsiteX263" fmla="*/ 2435086 w 6383100"/>
                    <a:gd name="connsiteY263" fmla="*/ 928492 h 1583025"/>
                    <a:gd name="connsiteX264" fmla="*/ 2486058 w 6383100"/>
                    <a:gd name="connsiteY264" fmla="*/ 929494 h 1583025"/>
                    <a:gd name="connsiteX265" fmla="*/ 2495185 w 6383100"/>
                    <a:gd name="connsiteY265" fmla="*/ 927402 h 1583025"/>
                    <a:gd name="connsiteX266" fmla="*/ 2514200 w 6383100"/>
                    <a:gd name="connsiteY266" fmla="*/ 911036 h 1583025"/>
                    <a:gd name="connsiteX267" fmla="*/ 2523061 w 6383100"/>
                    <a:gd name="connsiteY267" fmla="*/ 915511 h 1583025"/>
                    <a:gd name="connsiteX268" fmla="*/ 2527016 w 6383100"/>
                    <a:gd name="connsiteY268" fmla="*/ 911113 h 1583025"/>
                    <a:gd name="connsiteX269" fmla="*/ 2543812 w 6383100"/>
                    <a:gd name="connsiteY269" fmla="*/ 904495 h 1583025"/>
                    <a:gd name="connsiteX270" fmla="*/ 2541353 w 6383100"/>
                    <a:gd name="connsiteY270" fmla="*/ 887484 h 1583025"/>
                    <a:gd name="connsiteX271" fmla="*/ 2559937 w 6383100"/>
                    <a:gd name="connsiteY271" fmla="*/ 880955 h 1583025"/>
                    <a:gd name="connsiteX272" fmla="*/ 2569545 w 6383100"/>
                    <a:gd name="connsiteY272" fmla="*/ 872551 h 1583025"/>
                    <a:gd name="connsiteX273" fmla="*/ 2600286 w 6383100"/>
                    <a:gd name="connsiteY273" fmla="*/ 857732 h 1583025"/>
                    <a:gd name="connsiteX274" fmla="*/ 2617374 w 6383100"/>
                    <a:gd name="connsiteY274" fmla="*/ 855691 h 1583025"/>
                    <a:gd name="connsiteX275" fmla="*/ 2624663 w 6383100"/>
                    <a:gd name="connsiteY275" fmla="*/ 846805 h 1583025"/>
                    <a:gd name="connsiteX276" fmla="*/ 2662921 w 6383100"/>
                    <a:gd name="connsiteY276" fmla="*/ 830579 h 1583025"/>
                    <a:gd name="connsiteX277" fmla="*/ 2675737 w 6383100"/>
                    <a:gd name="connsiteY277" fmla="*/ 828462 h 1583025"/>
                    <a:gd name="connsiteX278" fmla="*/ 2688020 w 6383100"/>
                    <a:gd name="connsiteY278" fmla="*/ 819601 h 1583025"/>
                    <a:gd name="connsiteX279" fmla="*/ 2708835 w 6383100"/>
                    <a:gd name="connsiteY279" fmla="*/ 807457 h 1583025"/>
                    <a:gd name="connsiteX280" fmla="*/ 2733567 w 6383100"/>
                    <a:gd name="connsiteY280" fmla="*/ 807114 h 1583025"/>
                    <a:gd name="connsiteX281" fmla="*/ 2747017 w 6383100"/>
                    <a:gd name="connsiteY281" fmla="*/ 793487 h 1583025"/>
                    <a:gd name="connsiteX282" fmla="*/ 2759503 w 6383100"/>
                    <a:gd name="connsiteY282" fmla="*/ 805226 h 1583025"/>
                    <a:gd name="connsiteX283" fmla="*/ 2769657 w 6383100"/>
                    <a:gd name="connsiteY283" fmla="*/ 809307 h 1583025"/>
                    <a:gd name="connsiteX284" fmla="*/ 2776363 w 6383100"/>
                    <a:gd name="connsiteY284" fmla="*/ 799597 h 1583025"/>
                    <a:gd name="connsiteX285" fmla="*/ 2789331 w 6383100"/>
                    <a:gd name="connsiteY285" fmla="*/ 807469 h 1583025"/>
                    <a:gd name="connsiteX286" fmla="*/ 2799105 w 6383100"/>
                    <a:gd name="connsiteY286" fmla="*/ 817788 h 1583025"/>
                    <a:gd name="connsiteX287" fmla="*/ 2821935 w 6383100"/>
                    <a:gd name="connsiteY287" fmla="*/ 816837 h 1583025"/>
                    <a:gd name="connsiteX288" fmla="*/ 2853563 w 6383100"/>
                    <a:gd name="connsiteY288" fmla="*/ 820006 h 1583025"/>
                    <a:gd name="connsiteX289" fmla="*/ 2881819 w 6383100"/>
                    <a:gd name="connsiteY289" fmla="*/ 821046 h 1583025"/>
                    <a:gd name="connsiteX290" fmla="*/ 2890731 w 6383100"/>
                    <a:gd name="connsiteY290" fmla="*/ 851495 h 1583025"/>
                    <a:gd name="connsiteX291" fmla="*/ 2900986 w 6383100"/>
                    <a:gd name="connsiteY291" fmla="*/ 860381 h 1583025"/>
                    <a:gd name="connsiteX292" fmla="*/ 2909124 w 6383100"/>
                    <a:gd name="connsiteY292" fmla="*/ 872741 h 1583025"/>
                    <a:gd name="connsiteX293" fmla="*/ 2925223 w 6383100"/>
                    <a:gd name="connsiteY293" fmla="*/ 871435 h 1583025"/>
                    <a:gd name="connsiteX294" fmla="*/ 2940093 w 6383100"/>
                    <a:gd name="connsiteY294" fmla="*/ 877292 h 1583025"/>
                    <a:gd name="connsiteX295" fmla="*/ 2964926 w 6383100"/>
                    <a:gd name="connsiteY295" fmla="*/ 880473 h 1583025"/>
                    <a:gd name="connsiteX296" fmla="*/ 2975384 w 6383100"/>
                    <a:gd name="connsiteY296" fmla="*/ 886165 h 1583025"/>
                    <a:gd name="connsiteX297" fmla="*/ 3001878 w 6383100"/>
                    <a:gd name="connsiteY297" fmla="*/ 873844 h 1583025"/>
                    <a:gd name="connsiteX298" fmla="*/ 3010131 w 6383100"/>
                    <a:gd name="connsiteY298" fmla="*/ 880778 h 1583025"/>
                    <a:gd name="connsiteX299" fmla="*/ 3019486 w 6383100"/>
                    <a:gd name="connsiteY299" fmla="*/ 876151 h 1583025"/>
                    <a:gd name="connsiteX300" fmla="*/ 3038006 w 6383100"/>
                    <a:gd name="connsiteY300" fmla="*/ 885848 h 1583025"/>
                    <a:gd name="connsiteX301" fmla="*/ 3048718 w 6383100"/>
                    <a:gd name="connsiteY301" fmla="*/ 882971 h 1583025"/>
                    <a:gd name="connsiteX302" fmla="*/ 3056413 w 6383100"/>
                    <a:gd name="connsiteY302" fmla="*/ 889081 h 1583025"/>
                    <a:gd name="connsiteX303" fmla="*/ 3063410 w 6383100"/>
                    <a:gd name="connsiteY303" fmla="*/ 884200 h 1583025"/>
                    <a:gd name="connsiteX304" fmla="*/ 3072778 w 6383100"/>
                    <a:gd name="connsiteY304" fmla="*/ 884758 h 1583025"/>
                    <a:gd name="connsiteX305" fmla="*/ 3102238 w 6383100"/>
                    <a:gd name="connsiteY305" fmla="*/ 900895 h 1583025"/>
                    <a:gd name="connsiteX306" fmla="*/ 3120518 w 6383100"/>
                    <a:gd name="connsiteY306" fmla="*/ 896725 h 1583025"/>
                    <a:gd name="connsiteX307" fmla="*/ 3129366 w 6383100"/>
                    <a:gd name="connsiteY307" fmla="*/ 890108 h 1583025"/>
                    <a:gd name="connsiteX308" fmla="*/ 3128745 w 6383100"/>
                    <a:gd name="connsiteY308" fmla="*/ 884200 h 1583025"/>
                    <a:gd name="connsiteX309" fmla="*/ 3144616 w 6383100"/>
                    <a:gd name="connsiteY309" fmla="*/ 879700 h 1583025"/>
                    <a:gd name="connsiteX310" fmla="*/ 3149535 w 6383100"/>
                    <a:gd name="connsiteY310" fmla="*/ 882261 h 1583025"/>
                    <a:gd name="connsiteX311" fmla="*/ 3155708 w 6383100"/>
                    <a:gd name="connsiteY311" fmla="*/ 877279 h 1583025"/>
                    <a:gd name="connsiteX312" fmla="*/ 3180617 w 6383100"/>
                    <a:gd name="connsiteY312" fmla="*/ 841759 h 1583025"/>
                    <a:gd name="connsiteX313" fmla="*/ 3172023 w 6383100"/>
                    <a:gd name="connsiteY313" fmla="*/ 820780 h 1583025"/>
                    <a:gd name="connsiteX314" fmla="*/ 3159080 w 6383100"/>
                    <a:gd name="connsiteY314" fmla="*/ 805631 h 1583025"/>
                    <a:gd name="connsiteX315" fmla="*/ 3157521 w 6383100"/>
                    <a:gd name="connsiteY315" fmla="*/ 792169 h 1583025"/>
                    <a:gd name="connsiteX316" fmla="*/ 3146606 w 6383100"/>
                    <a:gd name="connsiteY316" fmla="*/ 780291 h 1583025"/>
                    <a:gd name="connsiteX317" fmla="*/ 3153363 w 6383100"/>
                    <a:gd name="connsiteY317" fmla="*/ 763254 h 1583025"/>
                    <a:gd name="connsiteX318" fmla="*/ 3163517 w 6383100"/>
                    <a:gd name="connsiteY318" fmla="*/ 734960 h 1583025"/>
                    <a:gd name="connsiteX319" fmla="*/ 3177727 w 6383100"/>
                    <a:gd name="connsiteY319" fmla="*/ 731879 h 1583025"/>
                    <a:gd name="connsiteX320" fmla="*/ 3179438 w 6383100"/>
                    <a:gd name="connsiteY320" fmla="*/ 718746 h 1583025"/>
                    <a:gd name="connsiteX321" fmla="*/ 3213513 w 6383100"/>
                    <a:gd name="connsiteY321" fmla="*/ 696347 h 1583025"/>
                    <a:gd name="connsiteX322" fmla="*/ 3228091 w 6383100"/>
                    <a:gd name="connsiteY322" fmla="*/ 668383 h 1583025"/>
                    <a:gd name="connsiteX323" fmla="*/ 3237319 w 6383100"/>
                    <a:gd name="connsiteY323" fmla="*/ 676901 h 1583025"/>
                    <a:gd name="connsiteX324" fmla="*/ 3254509 w 6383100"/>
                    <a:gd name="connsiteY324" fmla="*/ 684215 h 1583025"/>
                    <a:gd name="connsiteX325" fmla="*/ 3294262 w 6383100"/>
                    <a:gd name="connsiteY325" fmla="*/ 698515 h 1583025"/>
                    <a:gd name="connsiteX326" fmla="*/ 3343346 w 6383100"/>
                    <a:gd name="connsiteY326" fmla="*/ 708060 h 1583025"/>
                    <a:gd name="connsiteX327" fmla="*/ 3392201 w 6383100"/>
                    <a:gd name="connsiteY327" fmla="*/ 727683 h 1583025"/>
                    <a:gd name="connsiteX328" fmla="*/ 3400517 w 6383100"/>
                    <a:gd name="connsiteY328" fmla="*/ 728697 h 1583025"/>
                    <a:gd name="connsiteX329" fmla="*/ 3407540 w 6383100"/>
                    <a:gd name="connsiteY329" fmla="*/ 734503 h 1583025"/>
                    <a:gd name="connsiteX330" fmla="*/ 3424006 w 6383100"/>
                    <a:gd name="connsiteY330" fmla="*/ 732919 h 1583025"/>
                    <a:gd name="connsiteX331" fmla="*/ 3461339 w 6383100"/>
                    <a:gd name="connsiteY331" fmla="*/ 741957 h 1583025"/>
                    <a:gd name="connsiteX332" fmla="*/ 3467690 w 6383100"/>
                    <a:gd name="connsiteY332" fmla="*/ 762506 h 1583025"/>
                    <a:gd name="connsiteX333" fmla="*/ 3472951 w 6383100"/>
                    <a:gd name="connsiteY333" fmla="*/ 779657 h 1583025"/>
                    <a:gd name="connsiteX334" fmla="*/ 3472355 w 6383100"/>
                    <a:gd name="connsiteY334" fmla="*/ 792879 h 1583025"/>
                    <a:gd name="connsiteX335" fmla="*/ 3480949 w 6383100"/>
                    <a:gd name="connsiteY335" fmla="*/ 806202 h 1583025"/>
                    <a:gd name="connsiteX336" fmla="*/ 3477527 w 6383100"/>
                    <a:gd name="connsiteY336" fmla="*/ 818485 h 1583025"/>
                    <a:gd name="connsiteX337" fmla="*/ 3493930 w 6383100"/>
                    <a:gd name="connsiteY337" fmla="*/ 826522 h 1583025"/>
                    <a:gd name="connsiteX338" fmla="*/ 3507697 w 6383100"/>
                    <a:gd name="connsiteY338" fmla="*/ 838210 h 1583025"/>
                    <a:gd name="connsiteX339" fmla="*/ 3530604 w 6383100"/>
                    <a:gd name="connsiteY339" fmla="*/ 846830 h 1583025"/>
                    <a:gd name="connsiteX340" fmla="*/ 3544320 w 6383100"/>
                    <a:gd name="connsiteY340" fmla="*/ 846538 h 1583025"/>
                    <a:gd name="connsiteX341" fmla="*/ 3549365 w 6383100"/>
                    <a:gd name="connsiteY341" fmla="*/ 854791 h 1583025"/>
                    <a:gd name="connsiteX342" fmla="*/ 3565667 w 6383100"/>
                    <a:gd name="connsiteY342" fmla="*/ 858036 h 1583025"/>
                    <a:gd name="connsiteX343" fmla="*/ 3576214 w 6383100"/>
                    <a:gd name="connsiteY343" fmla="*/ 862714 h 1583025"/>
                    <a:gd name="connsiteX344" fmla="*/ 3587154 w 6383100"/>
                    <a:gd name="connsiteY344" fmla="*/ 858366 h 1583025"/>
                    <a:gd name="connsiteX345" fmla="*/ 3613749 w 6383100"/>
                    <a:gd name="connsiteY345" fmla="*/ 861142 h 1583025"/>
                    <a:gd name="connsiteX346" fmla="*/ 3629747 w 6383100"/>
                    <a:gd name="connsiteY346" fmla="*/ 849733 h 1583025"/>
                    <a:gd name="connsiteX347" fmla="*/ 3662921 w 6383100"/>
                    <a:gd name="connsiteY347" fmla="*/ 841506 h 1583025"/>
                    <a:gd name="connsiteX348" fmla="*/ 3694942 w 6383100"/>
                    <a:gd name="connsiteY348" fmla="*/ 832353 h 1583025"/>
                    <a:gd name="connsiteX349" fmla="*/ 3739880 w 6383100"/>
                    <a:gd name="connsiteY349" fmla="*/ 835256 h 1583025"/>
                    <a:gd name="connsiteX350" fmla="*/ 3767186 w 6383100"/>
                    <a:gd name="connsiteY350" fmla="*/ 846614 h 1583025"/>
                    <a:gd name="connsiteX351" fmla="*/ 3810413 w 6383100"/>
                    <a:gd name="connsiteY351" fmla="*/ 847274 h 1583025"/>
                    <a:gd name="connsiteX352" fmla="*/ 3832647 w 6383100"/>
                    <a:gd name="connsiteY352" fmla="*/ 869559 h 1583025"/>
                    <a:gd name="connsiteX353" fmla="*/ 3864579 w 6383100"/>
                    <a:gd name="connsiteY353" fmla="*/ 877862 h 1583025"/>
                    <a:gd name="connsiteX354" fmla="*/ 3896866 w 6383100"/>
                    <a:gd name="connsiteY354" fmla="*/ 884695 h 1583025"/>
                    <a:gd name="connsiteX355" fmla="*/ 3896968 w 6383100"/>
                    <a:gd name="connsiteY355" fmla="*/ 899881 h 1583025"/>
                    <a:gd name="connsiteX356" fmla="*/ 3894901 w 6383100"/>
                    <a:gd name="connsiteY356" fmla="*/ 907005 h 1583025"/>
                    <a:gd name="connsiteX357" fmla="*/ 3899731 w 6383100"/>
                    <a:gd name="connsiteY357" fmla="*/ 907690 h 1583025"/>
                    <a:gd name="connsiteX358" fmla="*/ 3919380 w 6383100"/>
                    <a:gd name="connsiteY358" fmla="*/ 922357 h 1583025"/>
                    <a:gd name="connsiteX359" fmla="*/ 3937570 w 6383100"/>
                    <a:gd name="connsiteY359" fmla="*/ 938405 h 1583025"/>
                    <a:gd name="connsiteX360" fmla="*/ 3958132 w 6383100"/>
                    <a:gd name="connsiteY360" fmla="*/ 938468 h 1583025"/>
                    <a:gd name="connsiteX361" fmla="*/ 3999179 w 6383100"/>
                    <a:gd name="connsiteY361" fmla="*/ 940180 h 1583025"/>
                    <a:gd name="connsiteX362" fmla="*/ 4008952 w 6383100"/>
                    <a:gd name="connsiteY362" fmla="*/ 944946 h 1583025"/>
                    <a:gd name="connsiteX363" fmla="*/ 4028018 w 6383100"/>
                    <a:gd name="connsiteY363" fmla="*/ 945567 h 1583025"/>
                    <a:gd name="connsiteX364" fmla="*/ 4051621 w 6383100"/>
                    <a:gd name="connsiteY364" fmla="*/ 953034 h 1583025"/>
                    <a:gd name="connsiteX365" fmla="*/ 4070864 w 6383100"/>
                    <a:gd name="connsiteY365" fmla="*/ 952286 h 1583025"/>
                    <a:gd name="connsiteX366" fmla="*/ 4076543 w 6383100"/>
                    <a:gd name="connsiteY366" fmla="*/ 948179 h 1583025"/>
                    <a:gd name="connsiteX367" fmla="*/ 4085708 w 6383100"/>
                    <a:gd name="connsiteY367" fmla="*/ 953401 h 1583025"/>
                    <a:gd name="connsiteX368" fmla="*/ 4102125 w 6383100"/>
                    <a:gd name="connsiteY368" fmla="*/ 957826 h 1583025"/>
                    <a:gd name="connsiteX369" fmla="*/ 4146632 w 6383100"/>
                    <a:gd name="connsiteY369" fmla="*/ 936428 h 1583025"/>
                    <a:gd name="connsiteX370" fmla="*/ 4157458 w 6383100"/>
                    <a:gd name="connsiteY370" fmla="*/ 938228 h 1583025"/>
                    <a:gd name="connsiteX371" fmla="*/ 4176105 w 6383100"/>
                    <a:gd name="connsiteY371" fmla="*/ 932916 h 1583025"/>
                    <a:gd name="connsiteX372" fmla="*/ 4206377 w 6383100"/>
                    <a:gd name="connsiteY372" fmla="*/ 928657 h 1583025"/>
                    <a:gd name="connsiteX373" fmla="*/ 4232934 w 6383100"/>
                    <a:gd name="connsiteY373" fmla="*/ 920214 h 1583025"/>
                    <a:gd name="connsiteX374" fmla="*/ 4267617 w 6383100"/>
                    <a:gd name="connsiteY374" fmla="*/ 915410 h 1583025"/>
                    <a:gd name="connsiteX375" fmla="*/ 4274576 w 6383100"/>
                    <a:gd name="connsiteY375" fmla="*/ 913585 h 1583025"/>
                    <a:gd name="connsiteX376" fmla="*/ 4275628 w 6383100"/>
                    <a:gd name="connsiteY376" fmla="*/ 907145 h 1583025"/>
                    <a:gd name="connsiteX377" fmla="*/ 4285643 w 6383100"/>
                    <a:gd name="connsiteY377" fmla="*/ 892478 h 1583025"/>
                    <a:gd name="connsiteX378" fmla="*/ 4323989 w 6383100"/>
                    <a:gd name="connsiteY378" fmla="*/ 868545 h 1583025"/>
                    <a:gd name="connsiteX379" fmla="*/ 4341204 w 6383100"/>
                    <a:gd name="connsiteY379" fmla="*/ 860533 h 1583025"/>
                    <a:gd name="connsiteX380" fmla="*/ 4354236 w 6383100"/>
                    <a:gd name="connsiteY380" fmla="*/ 853016 h 1583025"/>
                    <a:gd name="connsiteX381" fmla="*/ 4376736 w 6383100"/>
                    <a:gd name="connsiteY381" fmla="*/ 852560 h 1583025"/>
                    <a:gd name="connsiteX382" fmla="*/ 4399351 w 6383100"/>
                    <a:gd name="connsiteY382" fmla="*/ 852724 h 1583025"/>
                    <a:gd name="connsiteX383" fmla="*/ 4433172 w 6383100"/>
                    <a:gd name="connsiteY383" fmla="*/ 878116 h 1583025"/>
                    <a:gd name="connsiteX384" fmla="*/ 4472723 w 6383100"/>
                    <a:gd name="connsiteY384" fmla="*/ 886647 h 1583025"/>
                    <a:gd name="connsiteX385" fmla="*/ 4497290 w 6383100"/>
                    <a:gd name="connsiteY385" fmla="*/ 875162 h 1583025"/>
                    <a:gd name="connsiteX386" fmla="*/ 4521857 w 6383100"/>
                    <a:gd name="connsiteY386" fmla="*/ 878800 h 1583025"/>
                    <a:gd name="connsiteX387" fmla="*/ 4568748 w 6383100"/>
                    <a:gd name="connsiteY387" fmla="*/ 906283 h 1583025"/>
                    <a:gd name="connsiteX388" fmla="*/ 4596243 w 6383100"/>
                    <a:gd name="connsiteY388" fmla="*/ 912190 h 1583025"/>
                    <a:gd name="connsiteX389" fmla="*/ 4621850 w 6383100"/>
                    <a:gd name="connsiteY389" fmla="*/ 922179 h 1583025"/>
                    <a:gd name="connsiteX390" fmla="*/ 4642221 w 6383100"/>
                    <a:gd name="connsiteY390" fmla="*/ 913255 h 1583025"/>
                    <a:gd name="connsiteX391" fmla="*/ 4678019 w 6383100"/>
                    <a:gd name="connsiteY391" fmla="*/ 885620 h 1583025"/>
                    <a:gd name="connsiteX392" fmla="*/ 4736040 w 6383100"/>
                    <a:gd name="connsiteY392" fmla="*/ 867417 h 1583025"/>
                    <a:gd name="connsiteX393" fmla="*/ 4740375 w 6383100"/>
                    <a:gd name="connsiteY393" fmla="*/ 845905 h 1583025"/>
                    <a:gd name="connsiteX394" fmla="*/ 4723249 w 6383100"/>
                    <a:gd name="connsiteY394" fmla="*/ 838768 h 1583025"/>
                    <a:gd name="connsiteX395" fmla="*/ 4734582 w 6383100"/>
                    <a:gd name="connsiteY395" fmla="*/ 819804 h 1583025"/>
                    <a:gd name="connsiteX396" fmla="*/ 4751277 w 6383100"/>
                    <a:gd name="connsiteY396" fmla="*/ 800066 h 1583025"/>
                    <a:gd name="connsiteX397" fmla="*/ 4752151 w 6383100"/>
                    <a:gd name="connsiteY397" fmla="*/ 788987 h 1583025"/>
                    <a:gd name="connsiteX398" fmla="*/ 4765918 w 6383100"/>
                    <a:gd name="connsiteY398" fmla="*/ 775144 h 1583025"/>
                    <a:gd name="connsiteX399" fmla="*/ 4773638 w 6383100"/>
                    <a:gd name="connsiteY399" fmla="*/ 757879 h 1583025"/>
                    <a:gd name="connsiteX400" fmla="*/ 4779583 w 6383100"/>
                    <a:gd name="connsiteY400" fmla="*/ 741501 h 1583025"/>
                    <a:gd name="connsiteX401" fmla="*/ 4791259 w 6383100"/>
                    <a:gd name="connsiteY401" fmla="*/ 723906 h 1583025"/>
                    <a:gd name="connsiteX402" fmla="*/ 4804480 w 6383100"/>
                    <a:gd name="connsiteY402" fmla="*/ 708935 h 1583025"/>
                    <a:gd name="connsiteX403" fmla="*/ 4839645 w 6383100"/>
                    <a:gd name="connsiteY403" fmla="*/ 679969 h 1583025"/>
                    <a:gd name="connsiteX404" fmla="*/ 4845260 w 6383100"/>
                    <a:gd name="connsiteY404" fmla="*/ 665594 h 1583025"/>
                    <a:gd name="connsiteX405" fmla="*/ 4835348 w 6383100"/>
                    <a:gd name="connsiteY405" fmla="*/ 651066 h 1583025"/>
                    <a:gd name="connsiteX406" fmla="*/ 4826246 w 6383100"/>
                    <a:gd name="connsiteY406" fmla="*/ 621213 h 1583025"/>
                    <a:gd name="connsiteX407" fmla="*/ 4802046 w 6383100"/>
                    <a:gd name="connsiteY407" fmla="*/ 623001 h 1583025"/>
                    <a:gd name="connsiteX408" fmla="*/ 4790688 w 6383100"/>
                    <a:gd name="connsiteY408" fmla="*/ 613937 h 1583025"/>
                    <a:gd name="connsiteX409" fmla="*/ 4817385 w 6383100"/>
                    <a:gd name="connsiteY409" fmla="*/ 585212 h 1583025"/>
                    <a:gd name="connsiteX410" fmla="*/ 4845666 w 6383100"/>
                    <a:gd name="connsiteY410" fmla="*/ 560138 h 1583025"/>
                    <a:gd name="connsiteX411" fmla="*/ 4873377 w 6383100"/>
                    <a:gd name="connsiteY411" fmla="*/ 554813 h 1583025"/>
                    <a:gd name="connsiteX412" fmla="*/ 4899174 w 6383100"/>
                    <a:gd name="connsiteY412" fmla="*/ 549248 h 1583025"/>
                    <a:gd name="connsiteX413" fmla="*/ 4921624 w 6383100"/>
                    <a:gd name="connsiteY413" fmla="*/ 540565 h 1583025"/>
                    <a:gd name="connsiteX414" fmla="*/ 4940220 w 6383100"/>
                    <a:gd name="connsiteY414" fmla="*/ 539323 h 1583025"/>
                    <a:gd name="connsiteX415" fmla="*/ 4961631 w 6383100"/>
                    <a:gd name="connsiteY415" fmla="*/ 534366 h 1583025"/>
                    <a:gd name="connsiteX416" fmla="*/ 4969909 w 6383100"/>
                    <a:gd name="connsiteY416" fmla="*/ 535862 h 1583025"/>
                    <a:gd name="connsiteX417" fmla="*/ 4995756 w 6383100"/>
                    <a:gd name="connsiteY417" fmla="*/ 535000 h 1583025"/>
                    <a:gd name="connsiteX418" fmla="*/ 5016939 w 6383100"/>
                    <a:gd name="connsiteY418" fmla="*/ 531146 h 1583025"/>
                    <a:gd name="connsiteX419" fmla="*/ 5025838 w 6383100"/>
                    <a:gd name="connsiteY419" fmla="*/ 526760 h 1583025"/>
                    <a:gd name="connsiteX420" fmla="*/ 5044675 w 6383100"/>
                    <a:gd name="connsiteY420" fmla="*/ 530462 h 1583025"/>
                    <a:gd name="connsiteX421" fmla="*/ 5047515 w 6383100"/>
                    <a:gd name="connsiteY421" fmla="*/ 530272 h 1583025"/>
                    <a:gd name="connsiteX422" fmla="*/ 5073907 w 6383100"/>
                    <a:gd name="connsiteY422" fmla="*/ 533416 h 1583025"/>
                    <a:gd name="connsiteX423" fmla="*/ 5086203 w 6383100"/>
                    <a:gd name="connsiteY423" fmla="*/ 542555 h 1583025"/>
                    <a:gd name="connsiteX424" fmla="*/ 5095584 w 6383100"/>
                    <a:gd name="connsiteY424" fmla="*/ 544862 h 1583025"/>
                    <a:gd name="connsiteX425" fmla="*/ 5108362 w 6383100"/>
                    <a:gd name="connsiteY425" fmla="*/ 555054 h 1583025"/>
                    <a:gd name="connsiteX426" fmla="*/ 5133208 w 6383100"/>
                    <a:gd name="connsiteY426" fmla="*/ 562356 h 1583025"/>
                    <a:gd name="connsiteX427" fmla="*/ 5148318 w 6383100"/>
                    <a:gd name="connsiteY427" fmla="*/ 570976 h 1583025"/>
                    <a:gd name="connsiteX428" fmla="*/ 5150169 w 6383100"/>
                    <a:gd name="connsiteY428" fmla="*/ 563294 h 1583025"/>
                    <a:gd name="connsiteX429" fmla="*/ 5166737 w 6383100"/>
                    <a:gd name="connsiteY429" fmla="*/ 561836 h 1583025"/>
                    <a:gd name="connsiteX430" fmla="*/ 5189656 w 6383100"/>
                    <a:gd name="connsiteY430" fmla="*/ 572966 h 1583025"/>
                    <a:gd name="connsiteX431" fmla="*/ 5198987 w 6383100"/>
                    <a:gd name="connsiteY431" fmla="*/ 576769 h 1583025"/>
                    <a:gd name="connsiteX432" fmla="*/ 5209166 w 6383100"/>
                    <a:gd name="connsiteY432" fmla="*/ 582854 h 1583025"/>
                    <a:gd name="connsiteX433" fmla="*/ 5206782 w 6383100"/>
                    <a:gd name="connsiteY433" fmla="*/ 589205 h 1583025"/>
                    <a:gd name="connsiteX434" fmla="*/ 5208088 w 6383100"/>
                    <a:gd name="connsiteY434" fmla="*/ 594035 h 1583025"/>
                    <a:gd name="connsiteX435" fmla="*/ 5220638 w 6383100"/>
                    <a:gd name="connsiteY435" fmla="*/ 594009 h 1583025"/>
                    <a:gd name="connsiteX436" fmla="*/ 5229765 w 6383100"/>
                    <a:gd name="connsiteY436" fmla="*/ 605621 h 1583025"/>
                    <a:gd name="connsiteX437" fmla="*/ 5238562 w 6383100"/>
                    <a:gd name="connsiteY437" fmla="*/ 606622 h 1583025"/>
                    <a:gd name="connsiteX438" fmla="*/ 5235343 w 6383100"/>
                    <a:gd name="connsiteY438" fmla="*/ 614380 h 1583025"/>
                    <a:gd name="connsiteX439" fmla="*/ 5229055 w 6383100"/>
                    <a:gd name="connsiteY439" fmla="*/ 618272 h 1583025"/>
                    <a:gd name="connsiteX440" fmla="*/ 5242644 w 6383100"/>
                    <a:gd name="connsiteY440" fmla="*/ 626537 h 1583025"/>
                    <a:gd name="connsiteX441" fmla="*/ 5245674 w 6383100"/>
                    <a:gd name="connsiteY441" fmla="*/ 635094 h 1583025"/>
                    <a:gd name="connsiteX442" fmla="*/ 5252481 w 6383100"/>
                    <a:gd name="connsiteY442" fmla="*/ 637515 h 1583025"/>
                    <a:gd name="connsiteX443" fmla="*/ 5263332 w 6383100"/>
                    <a:gd name="connsiteY443" fmla="*/ 654033 h 1583025"/>
                    <a:gd name="connsiteX444" fmla="*/ 5271851 w 6383100"/>
                    <a:gd name="connsiteY444" fmla="*/ 669130 h 1583025"/>
                    <a:gd name="connsiteX445" fmla="*/ 5268923 w 6383100"/>
                    <a:gd name="connsiteY445" fmla="*/ 690959 h 1583025"/>
                    <a:gd name="connsiteX446" fmla="*/ 5284439 w 6383100"/>
                    <a:gd name="connsiteY446" fmla="*/ 715590 h 1583025"/>
                    <a:gd name="connsiteX447" fmla="*/ 5280877 w 6383100"/>
                    <a:gd name="connsiteY447" fmla="*/ 722638 h 1583025"/>
                    <a:gd name="connsiteX448" fmla="*/ 5288077 w 6383100"/>
                    <a:gd name="connsiteY448" fmla="*/ 725668 h 1583025"/>
                    <a:gd name="connsiteX449" fmla="*/ 5291322 w 6383100"/>
                    <a:gd name="connsiteY449" fmla="*/ 730916 h 1583025"/>
                    <a:gd name="connsiteX450" fmla="*/ 5289319 w 6383100"/>
                    <a:gd name="connsiteY450" fmla="*/ 735860 h 1583025"/>
                    <a:gd name="connsiteX451" fmla="*/ 5298129 w 6383100"/>
                    <a:gd name="connsiteY451" fmla="*/ 741513 h 1583025"/>
                    <a:gd name="connsiteX452" fmla="*/ 5291145 w 6383100"/>
                    <a:gd name="connsiteY452" fmla="*/ 747269 h 1583025"/>
                    <a:gd name="connsiteX453" fmla="*/ 5298028 w 6383100"/>
                    <a:gd name="connsiteY453" fmla="*/ 747560 h 1583025"/>
                    <a:gd name="connsiteX454" fmla="*/ 5297927 w 6383100"/>
                    <a:gd name="connsiteY454" fmla="*/ 763672 h 1583025"/>
                    <a:gd name="connsiteX455" fmla="*/ 5315306 w 6383100"/>
                    <a:gd name="connsiteY455" fmla="*/ 788087 h 1583025"/>
                    <a:gd name="connsiteX456" fmla="*/ 5325917 w 6383100"/>
                    <a:gd name="connsiteY456" fmla="*/ 809434 h 1583025"/>
                    <a:gd name="connsiteX457" fmla="*/ 5331786 w 6383100"/>
                    <a:gd name="connsiteY457" fmla="*/ 819208 h 1583025"/>
                    <a:gd name="connsiteX458" fmla="*/ 5327247 w 6383100"/>
                    <a:gd name="connsiteY458" fmla="*/ 829463 h 1583025"/>
                    <a:gd name="connsiteX459" fmla="*/ 5331051 w 6383100"/>
                    <a:gd name="connsiteY459" fmla="*/ 839566 h 1583025"/>
                    <a:gd name="connsiteX460" fmla="*/ 5336527 w 6383100"/>
                    <a:gd name="connsiteY460" fmla="*/ 849695 h 1583025"/>
                    <a:gd name="connsiteX461" fmla="*/ 5347948 w 6383100"/>
                    <a:gd name="connsiteY461" fmla="*/ 860305 h 1583025"/>
                    <a:gd name="connsiteX462" fmla="*/ 5340989 w 6383100"/>
                    <a:gd name="connsiteY462" fmla="*/ 875542 h 1583025"/>
                    <a:gd name="connsiteX463" fmla="*/ 5342700 w 6383100"/>
                    <a:gd name="connsiteY463" fmla="*/ 888016 h 1583025"/>
                    <a:gd name="connsiteX464" fmla="*/ 5352296 w 6383100"/>
                    <a:gd name="connsiteY464" fmla="*/ 897790 h 1583025"/>
                    <a:gd name="connsiteX465" fmla="*/ 5365911 w 6383100"/>
                    <a:gd name="connsiteY465" fmla="*/ 914028 h 1583025"/>
                    <a:gd name="connsiteX466" fmla="*/ 5375913 w 6383100"/>
                    <a:gd name="connsiteY466" fmla="*/ 913483 h 1583025"/>
                    <a:gd name="connsiteX467" fmla="*/ 5384698 w 6383100"/>
                    <a:gd name="connsiteY467" fmla="*/ 919086 h 1583025"/>
                    <a:gd name="connsiteX468" fmla="*/ 5407046 w 6383100"/>
                    <a:gd name="connsiteY468" fmla="*/ 915676 h 1583025"/>
                    <a:gd name="connsiteX469" fmla="*/ 5437647 w 6383100"/>
                    <a:gd name="connsiteY469" fmla="*/ 916449 h 1583025"/>
                    <a:gd name="connsiteX470" fmla="*/ 5434275 w 6383100"/>
                    <a:gd name="connsiteY470" fmla="*/ 923865 h 1583025"/>
                    <a:gd name="connsiteX471" fmla="*/ 5442743 w 6383100"/>
                    <a:gd name="connsiteY471" fmla="*/ 925171 h 1583025"/>
                    <a:gd name="connsiteX472" fmla="*/ 5463292 w 6383100"/>
                    <a:gd name="connsiteY472" fmla="*/ 936706 h 1583025"/>
                    <a:gd name="connsiteX473" fmla="*/ 5473522 w 6383100"/>
                    <a:gd name="connsiteY473" fmla="*/ 935844 h 1583025"/>
                    <a:gd name="connsiteX474" fmla="*/ 5478694 w 6383100"/>
                    <a:gd name="connsiteY474" fmla="*/ 938177 h 1583025"/>
                    <a:gd name="connsiteX475" fmla="*/ 5480152 w 6383100"/>
                    <a:gd name="connsiteY475" fmla="*/ 931978 h 1583025"/>
                    <a:gd name="connsiteX476" fmla="*/ 5493411 w 6383100"/>
                    <a:gd name="connsiteY476" fmla="*/ 943311 h 1583025"/>
                    <a:gd name="connsiteX477" fmla="*/ 5506848 w 6383100"/>
                    <a:gd name="connsiteY477" fmla="*/ 948204 h 1583025"/>
                    <a:gd name="connsiteX478" fmla="*/ 5514683 w 6383100"/>
                    <a:gd name="connsiteY478" fmla="*/ 955138 h 1583025"/>
                    <a:gd name="connsiteX479" fmla="*/ 5520362 w 6383100"/>
                    <a:gd name="connsiteY479" fmla="*/ 964176 h 1583025"/>
                    <a:gd name="connsiteX480" fmla="*/ 5526320 w 6383100"/>
                    <a:gd name="connsiteY480" fmla="*/ 970692 h 1583025"/>
                    <a:gd name="connsiteX481" fmla="*/ 5561408 w 6383100"/>
                    <a:gd name="connsiteY481" fmla="*/ 981759 h 1583025"/>
                    <a:gd name="connsiteX482" fmla="*/ 5571892 w 6383100"/>
                    <a:gd name="connsiteY482" fmla="*/ 983204 h 1583025"/>
                    <a:gd name="connsiteX483" fmla="*/ 5575175 w 6383100"/>
                    <a:gd name="connsiteY483" fmla="*/ 986944 h 1583025"/>
                    <a:gd name="connsiteX484" fmla="*/ 5565959 w 6383100"/>
                    <a:gd name="connsiteY484" fmla="*/ 1007581 h 1583025"/>
                    <a:gd name="connsiteX485" fmla="*/ 5572335 w 6383100"/>
                    <a:gd name="connsiteY485" fmla="*/ 1012474 h 1583025"/>
                    <a:gd name="connsiteX486" fmla="*/ 5572107 w 6383100"/>
                    <a:gd name="connsiteY486" fmla="*/ 1017443 h 1583025"/>
                    <a:gd name="connsiteX487" fmla="*/ 5576392 w 6383100"/>
                    <a:gd name="connsiteY487" fmla="*/ 1019510 h 1583025"/>
                    <a:gd name="connsiteX488" fmla="*/ 5582718 w 6383100"/>
                    <a:gd name="connsiteY488" fmla="*/ 1020067 h 1583025"/>
                    <a:gd name="connsiteX489" fmla="*/ 5581399 w 6383100"/>
                    <a:gd name="connsiteY489" fmla="*/ 1023997 h 1583025"/>
                    <a:gd name="connsiteX490" fmla="*/ 5583465 w 6383100"/>
                    <a:gd name="connsiteY490" fmla="*/ 1042986 h 1583025"/>
                    <a:gd name="connsiteX491" fmla="*/ 5585126 w 6383100"/>
                    <a:gd name="connsiteY491" fmla="*/ 1067718 h 1583025"/>
                    <a:gd name="connsiteX492" fmla="*/ 5596256 w 6383100"/>
                    <a:gd name="connsiteY492" fmla="*/ 1085047 h 1583025"/>
                    <a:gd name="connsiteX493" fmla="*/ 5602721 w 6383100"/>
                    <a:gd name="connsiteY493" fmla="*/ 1095214 h 1583025"/>
                    <a:gd name="connsiteX494" fmla="*/ 5634311 w 6383100"/>
                    <a:gd name="connsiteY494" fmla="*/ 1089763 h 1583025"/>
                    <a:gd name="connsiteX495" fmla="*/ 5645137 w 6383100"/>
                    <a:gd name="connsiteY495" fmla="*/ 1097001 h 1583025"/>
                    <a:gd name="connsiteX496" fmla="*/ 5659588 w 6383100"/>
                    <a:gd name="connsiteY496" fmla="*/ 1095265 h 1583025"/>
                    <a:gd name="connsiteX497" fmla="*/ 5683154 w 6383100"/>
                    <a:gd name="connsiteY497" fmla="*/ 1094326 h 1583025"/>
                    <a:gd name="connsiteX498" fmla="*/ 5698999 w 6383100"/>
                    <a:gd name="connsiteY498" fmla="*/ 1089940 h 1583025"/>
                    <a:gd name="connsiteX499" fmla="*/ 5711587 w 6383100"/>
                    <a:gd name="connsiteY499" fmla="*/ 1092653 h 1583025"/>
                    <a:gd name="connsiteX500" fmla="*/ 5724010 w 6383100"/>
                    <a:gd name="connsiteY500" fmla="*/ 1075743 h 1583025"/>
                    <a:gd name="connsiteX501" fmla="*/ 5725962 w 6383100"/>
                    <a:gd name="connsiteY501" fmla="*/ 1069062 h 1583025"/>
                    <a:gd name="connsiteX502" fmla="*/ 5736091 w 6383100"/>
                    <a:gd name="connsiteY502" fmla="*/ 1069747 h 1583025"/>
                    <a:gd name="connsiteX503" fmla="*/ 5757146 w 6383100"/>
                    <a:gd name="connsiteY503" fmla="*/ 1054700 h 1583025"/>
                    <a:gd name="connsiteX504" fmla="*/ 5782715 w 6383100"/>
                    <a:gd name="connsiteY504" fmla="*/ 1056779 h 1583025"/>
                    <a:gd name="connsiteX505" fmla="*/ 5799968 w 6383100"/>
                    <a:gd name="connsiteY505" fmla="*/ 1044736 h 1583025"/>
                    <a:gd name="connsiteX506" fmla="*/ 5825714 w 6383100"/>
                    <a:gd name="connsiteY506" fmla="*/ 1034696 h 1583025"/>
                    <a:gd name="connsiteX507" fmla="*/ 5850255 w 6383100"/>
                    <a:gd name="connsiteY507" fmla="*/ 1029537 h 1583025"/>
                    <a:gd name="connsiteX508" fmla="*/ 5862362 w 6383100"/>
                    <a:gd name="connsiteY508" fmla="*/ 1031654 h 1583025"/>
                    <a:gd name="connsiteX509" fmla="*/ 5875418 w 6383100"/>
                    <a:gd name="connsiteY509" fmla="*/ 1040489 h 1583025"/>
                    <a:gd name="connsiteX510" fmla="*/ 5872845 w 6383100"/>
                    <a:gd name="connsiteY510" fmla="*/ 1050466 h 1583025"/>
                    <a:gd name="connsiteX511" fmla="*/ 5867914 w 6383100"/>
                    <a:gd name="connsiteY511" fmla="*/ 1057590 h 1583025"/>
                    <a:gd name="connsiteX512" fmla="*/ 5866228 w 6383100"/>
                    <a:gd name="connsiteY512" fmla="*/ 1071344 h 1583025"/>
                    <a:gd name="connsiteX513" fmla="*/ 5879386 w 6383100"/>
                    <a:gd name="connsiteY513" fmla="*/ 1092349 h 1583025"/>
                    <a:gd name="connsiteX514" fmla="*/ 5865328 w 6383100"/>
                    <a:gd name="connsiteY514" fmla="*/ 1111592 h 1583025"/>
                    <a:gd name="connsiteX515" fmla="*/ 5847239 w 6383100"/>
                    <a:gd name="connsiteY515" fmla="*/ 1118856 h 1583025"/>
                    <a:gd name="connsiteX516" fmla="*/ 5834106 w 6383100"/>
                    <a:gd name="connsiteY516" fmla="*/ 1133319 h 1583025"/>
                    <a:gd name="connsiteX517" fmla="*/ 5838695 w 6383100"/>
                    <a:gd name="connsiteY517" fmla="*/ 1148734 h 1583025"/>
                    <a:gd name="connsiteX518" fmla="*/ 5829745 w 6383100"/>
                    <a:gd name="connsiteY518" fmla="*/ 1156036 h 1583025"/>
                    <a:gd name="connsiteX519" fmla="*/ 5826981 w 6383100"/>
                    <a:gd name="connsiteY519" fmla="*/ 1166747 h 1583025"/>
                    <a:gd name="connsiteX520" fmla="*/ 5822164 w 6383100"/>
                    <a:gd name="connsiteY520" fmla="*/ 1192151 h 1583025"/>
                    <a:gd name="connsiteX521" fmla="*/ 5814647 w 6383100"/>
                    <a:gd name="connsiteY521" fmla="*/ 1200759 h 1583025"/>
                    <a:gd name="connsiteX522" fmla="*/ 5813113 w 6383100"/>
                    <a:gd name="connsiteY522" fmla="*/ 1210507 h 1583025"/>
                    <a:gd name="connsiteX523" fmla="*/ 5816701 w 6383100"/>
                    <a:gd name="connsiteY523" fmla="*/ 1213613 h 1583025"/>
                    <a:gd name="connsiteX524" fmla="*/ 5815129 w 6383100"/>
                    <a:gd name="connsiteY524" fmla="*/ 1217555 h 1583025"/>
                    <a:gd name="connsiteX525" fmla="*/ 5816054 w 6383100"/>
                    <a:gd name="connsiteY525" fmla="*/ 1222118 h 1583025"/>
                    <a:gd name="connsiteX526" fmla="*/ 5807929 w 6383100"/>
                    <a:gd name="connsiteY526" fmla="*/ 1230916 h 1583025"/>
                    <a:gd name="connsiteX527" fmla="*/ 5801109 w 6383100"/>
                    <a:gd name="connsiteY527" fmla="*/ 1245988 h 1583025"/>
                    <a:gd name="connsiteX528" fmla="*/ 5786150 w 6383100"/>
                    <a:gd name="connsiteY528" fmla="*/ 1271215 h 1583025"/>
                    <a:gd name="connsiteX529" fmla="*/ 5781080 w 6383100"/>
                    <a:gd name="connsiteY529" fmla="*/ 1277528 h 1583025"/>
                    <a:gd name="connsiteX530" fmla="*/ 5783615 w 6383100"/>
                    <a:gd name="connsiteY530" fmla="*/ 1285019 h 1583025"/>
                    <a:gd name="connsiteX531" fmla="*/ 5756107 w 6383100"/>
                    <a:gd name="connsiteY531" fmla="*/ 1314949 h 1583025"/>
                    <a:gd name="connsiteX532" fmla="*/ 5754687 w 6383100"/>
                    <a:gd name="connsiteY532" fmla="*/ 1333228 h 1583025"/>
                    <a:gd name="connsiteX533" fmla="*/ 5736116 w 6383100"/>
                    <a:gd name="connsiteY533" fmla="*/ 1336790 h 1583025"/>
                    <a:gd name="connsiteX534" fmla="*/ 5721449 w 6383100"/>
                    <a:gd name="connsiteY534" fmla="*/ 1358442 h 1583025"/>
                    <a:gd name="connsiteX535" fmla="*/ 5721424 w 6383100"/>
                    <a:gd name="connsiteY535" fmla="*/ 1366669 h 1583025"/>
                    <a:gd name="connsiteX536" fmla="*/ 5710142 w 6383100"/>
                    <a:gd name="connsiteY536" fmla="*/ 1376430 h 1583025"/>
                    <a:gd name="connsiteX537" fmla="*/ 5690417 w 6383100"/>
                    <a:gd name="connsiteY537" fmla="*/ 1375099 h 1583025"/>
                    <a:gd name="connsiteX538" fmla="*/ 5695412 w 6383100"/>
                    <a:gd name="connsiteY538" fmla="*/ 1375466 h 1583025"/>
                    <a:gd name="connsiteX539" fmla="*/ 5677563 w 6383100"/>
                    <a:gd name="connsiteY539" fmla="*/ 1362118 h 1583025"/>
                    <a:gd name="connsiteX540" fmla="*/ 5682570 w 6383100"/>
                    <a:gd name="connsiteY540" fmla="*/ 1349847 h 1583025"/>
                    <a:gd name="connsiteX541" fmla="*/ 5676537 w 6383100"/>
                    <a:gd name="connsiteY541" fmla="*/ 1338819 h 1583025"/>
                    <a:gd name="connsiteX542" fmla="*/ 5676638 w 6383100"/>
                    <a:gd name="connsiteY542" fmla="*/ 1330059 h 1583025"/>
                    <a:gd name="connsiteX543" fmla="*/ 5667042 w 6383100"/>
                    <a:gd name="connsiteY543" fmla="*/ 1317433 h 1583025"/>
                    <a:gd name="connsiteX544" fmla="*/ 5660982 w 6383100"/>
                    <a:gd name="connsiteY544" fmla="*/ 1312033 h 1583025"/>
                    <a:gd name="connsiteX545" fmla="*/ 5654733 w 6383100"/>
                    <a:gd name="connsiteY545" fmla="*/ 1321325 h 1583025"/>
                    <a:gd name="connsiteX546" fmla="*/ 5648901 w 6383100"/>
                    <a:gd name="connsiteY546" fmla="*/ 1323391 h 1583025"/>
                    <a:gd name="connsiteX547" fmla="*/ 5635312 w 6383100"/>
                    <a:gd name="connsiteY547" fmla="*/ 1342596 h 1583025"/>
                    <a:gd name="connsiteX548" fmla="*/ 5609719 w 6383100"/>
                    <a:gd name="connsiteY548" fmla="*/ 1349949 h 1583025"/>
                    <a:gd name="connsiteX549" fmla="*/ 5598424 w 6383100"/>
                    <a:gd name="connsiteY549" fmla="*/ 1362676 h 1583025"/>
                    <a:gd name="connsiteX550" fmla="*/ 5606866 w 6383100"/>
                    <a:gd name="connsiteY550" fmla="*/ 1377190 h 1583025"/>
                    <a:gd name="connsiteX551" fmla="*/ 5613128 w 6383100"/>
                    <a:gd name="connsiteY551" fmla="*/ 1401339 h 1583025"/>
                    <a:gd name="connsiteX552" fmla="*/ 5619783 w 6383100"/>
                    <a:gd name="connsiteY552" fmla="*/ 1428581 h 1583025"/>
                    <a:gd name="connsiteX553" fmla="*/ 5615790 w 6383100"/>
                    <a:gd name="connsiteY553" fmla="*/ 1435705 h 1583025"/>
                    <a:gd name="connsiteX554" fmla="*/ 5614054 w 6383100"/>
                    <a:gd name="connsiteY554" fmla="*/ 1462288 h 1583025"/>
                    <a:gd name="connsiteX555" fmla="*/ 5614662 w 6383100"/>
                    <a:gd name="connsiteY555" fmla="*/ 1469678 h 1583025"/>
                    <a:gd name="connsiteX556" fmla="*/ 5612292 w 6383100"/>
                    <a:gd name="connsiteY556" fmla="*/ 1474660 h 1583025"/>
                    <a:gd name="connsiteX557" fmla="*/ 5619378 w 6383100"/>
                    <a:gd name="connsiteY557" fmla="*/ 1480555 h 1583025"/>
                    <a:gd name="connsiteX558" fmla="*/ 5615943 w 6383100"/>
                    <a:gd name="connsiteY558" fmla="*/ 1500749 h 1583025"/>
                    <a:gd name="connsiteX559" fmla="*/ 5609858 w 6383100"/>
                    <a:gd name="connsiteY559" fmla="*/ 1514933 h 1583025"/>
                    <a:gd name="connsiteX560" fmla="*/ 5605941 w 6383100"/>
                    <a:gd name="connsiteY560" fmla="*/ 1531502 h 1583025"/>
                    <a:gd name="connsiteX561" fmla="*/ 5556350 w 6383100"/>
                    <a:gd name="connsiteY561" fmla="*/ 1551024 h 1583025"/>
                    <a:gd name="connsiteX562" fmla="*/ 5566859 w 6383100"/>
                    <a:gd name="connsiteY562" fmla="*/ 1553369 h 1583025"/>
                    <a:gd name="connsiteX563" fmla="*/ 5568469 w 6383100"/>
                    <a:gd name="connsiteY563" fmla="*/ 1562103 h 1583025"/>
                    <a:gd name="connsiteX564" fmla="*/ 5567861 w 6383100"/>
                    <a:gd name="connsiteY564" fmla="*/ 1568327 h 1583025"/>
                    <a:gd name="connsiteX565" fmla="*/ 5574300 w 6383100"/>
                    <a:gd name="connsiteY565" fmla="*/ 1575527 h 1583025"/>
                    <a:gd name="connsiteX566" fmla="*/ 5582578 w 6383100"/>
                    <a:gd name="connsiteY566" fmla="*/ 1576427 h 1583025"/>
                    <a:gd name="connsiteX567" fmla="*/ 5590869 w 6383100"/>
                    <a:gd name="connsiteY567" fmla="*/ 1565171 h 1583025"/>
                    <a:gd name="connsiteX568" fmla="*/ 5580499 w 6383100"/>
                    <a:gd name="connsiteY568" fmla="*/ 1559720 h 1583025"/>
                    <a:gd name="connsiteX569" fmla="*/ 5578331 w 6383100"/>
                    <a:gd name="connsiteY569" fmla="*/ 1549959 h 1583025"/>
                    <a:gd name="connsiteX570" fmla="*/ 5588435 w 6383100"/>
                    <a:gd name="connsiteY570" fmla="*/ 1549731 h 1583025"/>
                    <a:gd name="connsiteX571" fmla="*/ 5584708 w 6383100"/>
                    <a:gd name="connsiteY571" fmla="*/ 1553090 h 1583025"/>
                    <a:gd name="connsiteX572" fmla="*/ 5596763 w 6383100"/>
                    <a:gd name="connsiteY572" fmla="*/ 1553153 h 1583025"/>
                    <a:gd name="connsiteX573" fmla="*/ 5586825 w 6383100"/>
                    <a:gd name="connsiteY573" fmla="*/ 1554827 h 1583025"/>
                    <a:gd name="connsiteX574" fmla="*/ 5609351 w 6383100"/>
                    <a:gd name="connsiteY574" fmla="*/ 1551911 h 1583025"/>
                    <a:gd name="connsiteX575" fmla="*/ 5613825 w 6383100"/>
                    <a:gd name="connsiteY575" fmla="*/ 1557413 h 1583025"/>
                    <a:gd name="connsiteX576" fmla="*/ 5617781 w 6383100"/>
                    <a:gd name="connsiteY576" fmla="*/ 1558997 h 1583025"/>
                    <a:gd name="connsiteX577" fmla="*/ 5635388 w 6383100"/>
                    <a:gd name="connsiteY577" fmla="*/ 1532617 h 1583025"/>
                    <a:gd name="connsiteX578" fmla="*/ 5630090 w 6383100"/>
                    <a:gd name="connsiteY578" fmla="*/ 1533555 h 1583025"/>
                    <a:gd name="connsiteX579" fmla="*/ 5637176 w 6383100"/>
                    <a:gd name="connsiteY579" fmla="*/ 1527433 h 1583025"/>
                    <a:gd name="connsiteX580" fmla="*/ 5642246 w 6383100"/>
                    <a:gd name="connsiteY580" fmla="*/ 1522603 h 1583025"/>
                    <a:gd name="connsiteX581" fmla="*/ 5651843 w 6383100"/>
                    <a:gd name="connsiteY581" fmla="*/ 1506668 h 1583025"/>
                    <a:gd name="connsiteX582" fmla="*/ 5648648 w 6383100"/>
                    <a:gd name="connsiteY582" fmla="*/ 1508367 h 1583025"/>
                    <a:gd name="connsiteX583" fmla="*/ 5656938 w 6383100"/>
                    <a:gd name="connsiteY583" fmla="*/ 1505705 h 1583025"/>
                    <a:gd name="connsiteX584" fmla="*/ 5653909 w 6383100"/>
                    <a:gd name="connsiteY584" fmla="*/ 1504235 h 1583025"/>
                    <a:gd name="connsiteX585" fmla="*/ 5662478 w 6383100"/>
                    <a:gd name="connsiteY585" fmla="*/ 1492585 h 1583025"/>
                    <a:gd name="connsiteX586" fmla="*/ 5672062 w 6383100"/>
                    <a:gd name="connsiteY586" fmla="*/ 1498137 h 1583025"/>
                    <a:gd name="connsiteX587" fmla="*/ 5677715 w 6383100"/>
                    <a:gd name="connsiteY587" fmla="*/ 1493345 h 1583025"/>
                    <a:gd name="connsiteX588" fmla="*/ 5663112 w 6383100"/>
                    <a:gd name="connsiteY588" fmla="*/ 1514274 h 1583025"/>
                    <a:gd name="connsiteX589" fmla="*/ 5668537 w 6383100"/>
                    <a:gd name="connsiteY589" fmla="*/ 1511562 h 1583025"/>
                    <a:gd name="connsiteX590" fmla="*/ 5666028 w 6383100"/>
                    <a:gd name="connsiteY590" fmla="*/ 1514667 h 1583025"/>
                    <a:gd name="connsiteX591" fmla="*/ 5694055 w 6383100"/>
                    <a:gd name="connsiteY591" fmla="*/ 1497972 h 1583025"/>
                    <a:gd name="connsiteX592" fmla="*/ 5697858 w 6383100"/>
                    <a:gd name="connsiteY592" fmla="*/ 1499810 h 1583025"/>
                    <a:gd name="connsiteX593" fmla="*/ 5698746 w 6383100"/>
                    <a:gd name="connsiteY593" fmla="*/ 1506681 h 1583025"/>
                    <a:gd name="connsiteX594" fmla="*/ 5695932 w 6383100"/>
                    <a:gd name="connsiteY594" fmla="*/ 1514667 h 1583025"/>
                    <a:gd name="connsiteX595" fmla="*/ 5695780 w 6383100"/>
                    <a:gd name="connsiteY595" fmla="*/ 1532744 h 1583025"/>
                    <a:gd name="connsiteX596" fmla="*/ 5700571 w 6383100"/>
                    <a:gd name="connsiteY596" fmla="*/ 1530247 h 1583025"/>
                    <a:gd name="connsiteX597" fmla="*/ 5725823 w 6383100"/>
                    <a:gd name="connsiteY597" fmla="*/ 1534785 h 1583025"/>
                    <a:gd name="connsiteX598" fmla="*/ 5732934 w 6383100"/>
                    <a:gd name="connsiteY598" fmla="*/ 1540908 h 1583025"/>
                    <a:gd name="connsiteX599" fmla="*/ 5749097 w 6383100"/>
                    <a:gd name="connsiteY599" fmla="*/ 1538436 h 1583025"/>
                    <a:gd name="connsiteX600" fmla="*/ 5753990 w 6383100"/>
                    <a:gd name="connsiteY600" fmla="*/ 1545598 h 1583025"/>
                    <a:gd name="connsiteX601" fmla="*/ 5748083 w 6383100"/>
                    <a:gd name="connsiteY601" fmla="*/ 1546980 h 1583025"/>
                    <a:gd name="connsiteX602" fmla="*/ 5782499 w 6383100"/>
                    <a:gd name="connsiteY602" fmla="*/ 1541009 h 1583025"/>
                    <a:gd name="connsiteX603" fmla="*/ 5801375 w 6383100"/>
                    <a:gd name="connsiteY603" fmla="*/ 1538626 h 1583025"/>
                    <a:gd name="connsiteX604" fmla="*/ 5815129 w 6383100"/>
                    <a:gd name="connsiteY604" fmla="*/ 1532782 h 1583025"/>
                    <a:gd name="connsiteX605" fmla="*/ 5832939 w 6383100"/>
                    <a:gd name="connsiteY605" fmla="*/ 1518838 h 1583025"/>
                    <a:gd name="connsiteX606" fmla="*/ 5880476 w 6383100"/>
                    <a:gd name="connsiteY606" fmla="*/ 1492648 h 1583025"/>
                    <a:gd name="connsiteX607" fmla="*/ 5909683 w 6383100"/>
                    <a:gd name="connsiteY607" fmla="*/ 1458726 h 1583025"/>
                    <a:gd name="connsiteX608" fmla="*/ 5921307 w 6383100"/>
                    <a:gd name="connsiteY608" fmla="*/ 1458295 h 1583025"/>
                    <a:gd name="connsiteX609" fmla="*/ 5934542 w 6383100"/>
                    <a:gd name="connsiteY609" fmla="*/ 1442842 h 1583025"/>
                    <a:gd name="connsiteX610" fmla="*/ 5931727 w 6383100"/>
                    <a:gd name="connsiteY610" fmla="*/ 1443704 h 1583025"/>
                    <a:gd name="connsiteX611" fmla="*/ 5930460 w 6383100"/>
                    <a:gd name="connsiteY611" fmla="*/ 1437264 h 1583025"/>
                    <a:gd name="connsiteX612" fmla="*/ 5934047 w 6383100"/>
                    <a:gd name="connsiteY612" fmla="*/ 1439774 h 1583025"/>
                    <a:gd name="connsiteX613" fmla="*/ 5939118 w 6383100"/>
                    <a:gd name="connsiteY613" fmla="*/ 1430939 h 1583025"/>
                    <a:gd name="connsiteX614" fmla="*/ 5944392 w 6383100"/>
                    <a:gd name="connsiteY614" fmla="*/ 1420658 h 1583025"/>
                    <a:gd name="connsiteX615" fmla="*/ 5957955 w 6383100"/>
                    <a:gd name="connsiteY615" fmla="*/ 1401022 h 1583025"/>
                    <a:gd name="connsiteX616" fmla="*/ 5983701 w 6383100"/>
                    <a:gd name="connsiteY616" fmla="*/ 1386254 h 1583025"/>
                    <a:gd name="connsiteX617" fmla="*/ 5992765 w 6383100"/>
                    <a:gd name="connsiteY617" fmla="*/ 1365528 h 1583025"/>
                    <a:gd name="connsiteX618" fmla="*/ 5998837 w 6383100"/>
                    <a:gd name="connsiteY618" fmla="*/ 1361649 h 1583025"/>
                    <a:gd name="connsiteX619" fmla="*/ 6003958 w 6383100"/>
                    <a:gd name="connsiteY619" fmla="*/ 1357516 h 1583025"/>
                    <a:gd name="connsiteX620" fmla="*/ 6012350 w 6383100"/>
                    <a:gd name="connsiteY620" fmla="*/ 1346805 h 1583025"/>
                    <a:gd name="connsiteX621" fmla="*/ 6027930 w 6383100"/>
                    <a:gd name="connsiteY621" fmla="*/ 1332011 h 1583025"/>
                    <a:gd name="connsiteX622" fmla="*/ 6037614 w 6383100"/>
                    <a:gd name="connsiteY622" fmla="*/ 1319715 h 1583025"/>
                    <a:gd name="connsiteX623" fmla="*/ 6053334 w 6383100"/>
                    <a:gd name="connsiteY623" fmla="*/ 1308839 h 1583025"/>
                    <a:gd name="connsiteX624" fmla="*/ 6074300 w 6383100"/>
                    <a:gd name="connsiteY624" fmla="*/ 1284715 h 1583025"/>
                    <a:gd name="connsiteX625" fmla="*/ 6099653 w 6383100"/>
                    <a:gd name="connsiteY625" fmla="*/ 1260440 h 1583025"/>
                    <a:gd name="connsiteX626" fmla="*/ 6127390 w 6383100"/>
                    <a:gd name="connsiteY626" fmla="*/ 1221789 h 1583025"/>
                    <a:gd name="connsiteX627" fmla="*/ 6139521 w 6383100"/>
                    <a:gd name="connsiteY627" fmla="*/ 1203649 h 1583025"/>
                    <a:gd name="connsiteX628" fmla="*/ 6143755 w 6383100"/>
                    <a:gd name="connsiteY628" fmla="*/ 1190922 h 1583025"/>
                    <a:gd name="connsiteX629" fmla="*/ 6155139 w 6383100"/>
                    <a:gd name="connsiteY629" fmla="*/ 1167280 h 1583025"/>
                    <a:gd name="connsiteX630" fmla="*/ 6192610 w 6383100"/>
                    <a:gd name="connsiteY630" fmla="*/ 1123520 h 1583025"/>
                    <a:gd name="connsiteX631" fmla="*/ 6207404 w 6383100"/>
                    <a:gd name="connsiteY631" fmla="*/ 1093997 h 1583025"/>
                    <a:gd name="connsiteX632" fmla="*/ 6248983 w 6383100"/>
                    <a:gd name="connsiteY632" fmla="*/ 1047499 h 1583025"/>
                    <a:gd name="connsiteX633" fmla="*/ 6279546 w 6383100"/>
                    <a:gd name="connsiteY633" fmla="*/ 1014223 h 1583025"/>
                    <a:gd name="connsiteX634" fmla="*/ 6282817 w 6383100"/>
                    <a:gd name="connsiteY634" fmla="*/ 990721 h 1583025"/>
                    <a:gd name="connsiteX635" fmla="*/ 6295201 w 6383100"/>
                    <a:gd name="connsiteY635" fmla="*/ 971630 h 1583025"/>
                    <a:gd name="connsiteX636" fmla="*/ 6288077 w 6383100"/>
                    <a:gd name="connsiteY636" fmla="*/ 974216 h 1583025"/>
                    <a:gd name="connsiteX637" fmla="*/ 6284160 w 6383100"/>
                    <a:gd name="connsiteY637" fmla="*/ 973190 h 1583025"/>
                    <a:gd name="connsiteX638" fmla="*/ 6286062 w 6383100"/>
                    <a:gd name="connsiteY638" fmla="*/ 970920 h 1583025"/>
                    <a:gd name="connsiteX639" fmla="*/ 6281993 w 6383100"/>
                    <a:gd name="connsiteY639" fmla="*/ 969640 h 1583025"/>
                    <a:gd name="connsiteX640" fmla="*/ 6287595 w 6383100"/>
                    <a:gd name="connsiteY640" fmla="*/ 962567 h 1583025"/>
                    <a:gd name="connsiteX641" fmla="*/ 6293668 w 6383100"/>
                    <a:gd name="connsiteY641" fmla="*/ 951411 h 1583025"/>
                    <a:gd name="connsiteX642" fmla="*/ 6293199 w 6383100"/>
                    <a:gd name="connsiteY642" fmla="*/ 950765 h 1583025"/>
                    <a:gd name="connsiteX643" fmla="*/ 6291690 w 6383100"/>
                    <a:gd name="connsiteY643" fmla="*/ 952121 h 1583025"/>
                    <a:gd name="connsiteX644" fmla="*/ 6294225 w 6383100"/>
                    <a:gd name="connsiteY644" fmla="*/ 944186 h 1583025"/>
                    <a:gd name="connsiteX645" fmla="*/ 6290613 w 6383100"/>
                    <a:gd name="connsiteY645" fmla="*/ 943615 h 1583025"/>
                    <a:gd name="connsiteX646" fmla="*/ 6298003 w 6383100"/>
                    <a:gd name="connsiteY646" fmla="*/ 942981 h 1583025"/>
                    <a:gd name="connsiteX647" fmla="*/ 6306712 w 6383100"/>
                    <a:gd name="connsiteY647" fmla="*/ 917628 h 1583025"/>
                    <a:gd name="connsiteX648" fmla="*/ 6304722 w 6383100"/>
                    <a:gd name="connsiteY648" fmla="*/ 908780 h 1583025"/>
                    <a:gd name="connsiteX649" fmla="*/ 6305495 w 6383100"/>
                    <a:gd name="connsiteY649" fmla="*/ 897346 h 1583025"/>
                    <a:gd name="connsiteX650" fmla="*/ 6299271 w 6383100"/>
                    <a:gd name="connsiteY650" fmla="*/ 882730 h 1583025"/>
                    <a:gd name="connsiteX651" fmla="*/ 6316549 w 6383100"/>
                    <a:gd name="connsiteY651" fmla="*/ 865617 h 1583025"/>
                    <a:gd name="connsiteX652" fmla="*/ 6305127 w 6383100"/>
                    <a:gd name="connsiteY652" fmla="*/ 844421 h 1583025"/>
                    <a:gd name="connsiteX653" fmla="*/ 6299562 w 6383100"/>
                    <a:gd name="connsiteY653" fmla="*/ 826345 h 1583025"/>
                    <a:gd name="connsiteX654" fmla="*/ 6301603 w 6383100"/>
                    <a:gd name="connsiteY654" fmla="*/ 817040 h 1583025"/>
                    <a:gd name="connsiteX655" fmla="*/ 6300158 w 6383100"/>
                    <a:gd name="connsiteY655" fmla="*/ 807634 h 1583025"/>
                    <a:gd name="connsiteX656" fmla="*/ 6306319 w 6383100"/>
                    <a:gd name="connsiteY656" fmla="*/ 794894 h 1583025"/>
                    <a:gd name="connsiteX657" fmla="*/ 6310172 w 6383100"/>
                    <a:gd name="connsiteY657" fmla="*/ 785907 h 1583025"/>
                    <a:gd name="connsiteX658" fmla="*/ 6315611 w 6383100"/>
                    <a:gd name="connsiteY658" fmla="*/ 783980 h 1583025"/>
                    <a:gd name="connsiteX659" fmla="*/ 6318565 w 6383100"/>
                    <a:gd name="connsiteY659" fmla="*/ 753531 h 1583025"/>
                    <a:gd name="connsiteX660" fmla="*/ 6332077 w 6383100"/>
                    <a:gd name="connsiteY660" fmla="*/ 737216 h 1583025"/>
                    <a:gd name="connsiteX661" fmla="*/ 6326639 w 6383100"/>
                    <a:gd name="connsiteY661" fmla="*/ 732171 h 1583025"/>
                    <a:gd name="connsiteX662" fmla="*/ 6331710 w 6383100"/>
                    <a:gd name="connsiteY662" fmla="*/ 731955 h 1583025"/>
                    <a:gd name="connsiteX663" fmla="*/ 6333244 w 6383100"/>
                    <a:gd name="connsiteY663" fmla="*/ 724109 h 1583025"/>
                    <a:gd name="connsiteX664" fmla="*/ 6334740 w 6383100"/>
                    <a:gd name="connsiteY664" fmla="*/ 717707 h 1583025"/>
                    <a:gd name="connsiteX665" fmla="*/ 6348215 w 6383100"/>
                    <a:gd name="connsiteY665" fmla="*/ 712421 h 1583025"/>
                    <a:gd name="connsiteX666" fmla="*/ 6354173 w 6383100"/>
                    <a:gd name="connsiteY666" fmla="*/ 699453 h 1583025"/>
                    <a:gd name="connsiteX667" fmla="*/ 6371185 w 6383100"/>
                    <a:gd name="connsiteY667" fmla="*/ 688576 h 1583025"/>
                    <a:gd name="connsiteX668" fmla="*/ 6362717 w 6383100"/>
                    <a:gd name="connsiteY668" fmla="*/ 680400 h 1583025"/>
                    <a:gd name="connsiteX669" fmla="*/ 6380438 w 6383100"/>
                    <a:gd name="connsiteY669" fmla="*/ 666481 h 1583025"/>
                    <a:gd name="connsiteX670" fmla="*/ 6368624 w 6383100"/>
                    <a:gd name="connsiteY670" fmla="*/ 658482 h 1583025"/>
                    <a:gd name="connsiteX671" fmla="*/ 6349191 w 6383100"/>
                    <a:gd name="connsiteY671" fmla="*/ 639556 h 1583025"/>
                    <a:gd name="connsiteX672" fmla="*/ 6362755 w 6383100"/>
                    <a:gd name="connsiteY672" fmla="*/ 615876 h 1583025"/>
                    <a:gd name="connsiteX673" fmla="*/ 6358977 w 6383100"/>
                    <a:gd name="connsiteY673" fmla="*/ 596988 h 1583025"/>
                    <a:gd name="connsiteX674" fmla="*/ 6338555 w 6383100"/>
                    <a:gd name="connsiteY674" fmla="*/ 589256 h 1583025"/>
                    <a:gd name="connsiteX675" fmla="*/ 6335716 w 6383100"/>
                    <a:gd name="connsiteY675" fmla="*/ 580534 h 1583025"/>
                    <a:gd name="connsiteX676" fmla="*/ 6318032 w 6383100"/>
                    <a:gd name="connsiteY676" fmla="*/ 571230 h 1583025"/>
                    <a:gd name="connsiteX677" fmla="*/ 6359041 w 6383100"/>
                    <a:gd name="connsiteY677" fmla="*/ 578734 h 1583025"/>
                    <a:gd name="connsiteX678" fmla="*/ 6353488 w 6383100"/>
                    <a:gd name="connsiteY678" fmla="*/ 578050 h 1583025"/>
                    <a:gd name="connsiteX679" fmla="*/ 6366672 w 6383100"/>
                    <a:gd name="connsiteY679" fmla="*/ 574995 h 1583025"/>
                    <a:gd name="connsiteX680" fmla="*/ 6370133 w 6383100"/>
                    <a:gd name="connsiteY680" fmla="*/ 559529 h 1583025"/>
                    <a:gd name="connsiteX681" fmla="*/ 6366165 w 6383100"/>
                    <a:gd name="connsiteY681" fmla="*/ 560277 h 1583025"/>
                    <a:gd name="connsiteX682" fmla="*/ 6353374 w 6383100"/>
                    <a:gd name="connsiteY682" fmla="*/ 548019 h 1583025"/>
                    <a:gd name="connsiteX683" fmla="*/ 6334613 w 6383100"/>
                    <a:gd name="connsiteY683" fmla="*/ 538727 h 1583025"/>
                    <a:gd name="connsiteX684" fmla="*/ 6346973 w 6383100"/>
                    <a:gd name="connsiteY684" fmla="*/ 534886 h 1583025"/>
                    <a:gd name="connsiteX685" fmla="*/ 6305698 w 6383100"/>
                    <a:gd name="connsiteY685" fmla="*/ 515123 h 1583025"/>
                    <a:gd name="connsiteX686" fmla="*/ 6300056 w 6383100"/>
                    <a:gd name="connsiteY686" fmla="*/ 506972 h 1583025"/>
                    <a:gd name="connsiteX687" fmla="*/ 6284756 w 6383100"/>
                    <a:gd name="connsiteY687" fmla="*/ 494790 h 1583025"/>
                    <a:gd name="connsiteX688" fmla="*/ 6290232 w 6383100"/>
                    <a:gd name="connsiteY688" fmla="*/ 485955 h 1583025"/>
                    <a:gd name="connsiteX689" fmla="*/ 6282855 w 6383100"/>
                    <a:gd name="connsiteY689" fmla="*/ 481404 h 1583025"/>
                    <a:gd name="connsiteX690" fmla="*/ 6283615 w 6383100"/>
                    <a:gd name="connsiteY690" fmla="*/ 476346 h 1583025"/>
                    <a:gd name="connsiteX691" fmla="*/ 6270432 w 6383100"/>
                    <a:gd name="connsiteY691" fmla="*/ 470857 h 1583025"/>
                    <a:gd name="connsiteX692" fmla="*/ 6259796 w 6383100"/>
                    <a:gd name="connsiteY692" fmla="*/ 461857 h 1583025"/>
                    <a:gd name="connsiteX693" fmla="*/ 6251125 w 6383100"/>
                    <a:gd name="connsiteY693" fmla="*/ 454035 h 1583025"/>
                    <a:gd name="connsiteX694" fmla="*/ 6231603 w 6383100"/>
                    <a:gd name="connsiteY694" fmla="*/ 457990 h 1583025"/>
                    <a:gd name="connsiteX695" fmla="*/ 6196743 w 6383100"/>
                    <a:gd name="connsiteY695" fmla="*/ 459042 h 1583025"/>
                    <a:gd name="connsiteX696" fmla="*/ 6165533 w 6383100"/>
                    <a:gd name="connsiteY696" fmla="*/ 452058 h 1583025"/>
                    <a:gd name="connsiteX697" fmla="*/ 6167080 w 6383100"/>
                    <a:gd name="connsiteY697" fmla="*/ 474267 h 1583025"/>
                    <a:gd name="connsiteX698" fmla="*/ 6174635 w 6383100"/>
                    <a:gd name="connsiteY698" fmla="*/ 471529 h 1583025"/>
                    <a:gd name="connsiteX699" fmla="*/ 6168905 w 6383100"/>
                    <a:gd name="connsiteY699" fmla="*/ 493522 h 1583025"/>
                    <a:gd name="connsiteX700" fmla="*/ 6165876 w 6383100"/>
                    <a:gd name="connsiteY700" fmla="*/ 510167 h 1583025"/>
                    <a:gd name="connsiteX701" fmla="*/ 6152933 w 6383100"/>
                    <a:gd name="connsiteY701" fmla="*/ 529765 h 1583025"/>
                    <a:gd name="connsiteX702" fmla="*/ 6133893 w 6383100"/>
                    <a:gd name="connsiteY702" fmla="*/ 533187 h 1583025"/>
                    <a:gd name="connsiteX703" fmla="*/ 6139496 w 6383100"/>
                    <a:gd name="connsiteY703" fmla="*/ 523388 h 1583025"/>
                    <a:gd name="connsiteX704" fmla="*/ 6145467 w 6383100"/>
                    <a:gd name="connsiteY704" fmla="*/ 514489 h 1583025"/>
                    <a:gd name="connsiteX705" fmla="*/ 6161147 w 6383100"/>
                    <a:gd name="connsiteY705" fmla="*/ 496831 h 1583025"/>
                    <a:gd name="connsiteX706" fmla="*/ 6160716 w 6383100"/>
                    <a:gd name="connsiteY706" fmla="*/ 482177 h 1583025"/>
                    <a:gd name="connsiteX707" fmla="*/ 6142525 w 6383100"/>
                    <a:gd name="connsiteY707" fmla="*/ 497034 h 1583025"/>
                    <a:gd name="connsiteX708" fmla="*/ 6136022 w 6383100"/>
                    <a:gd name="connsiteY708" fmla="*/ 510179 h 1583025"/>
                    <a:gd name="connsiteX709" fmla="*/ 6121457 w 6383100"/>
                    <a:gd name="connsiteY709" fmla="*/ 517278 h 1583025"/>
                    <a:gd name="connsiteX710" fmla="*/ 6060141 w 6383100"/>
                    <a:gd name="connsiteY710" fmla="*/ 522324 h 1583025"/>
                    <a:gd name="connsiteX711" fmla="*/ 6077393 w 6383100"/>
                    <a:gd name="connsiteY711" fmla="*/ 515694 h 1583025"/>
                    <a:gd name="connsiteX712" fmla="*/ 6085532 w 6383100"/>
                    <a:gd name="connsiteY712" fmla="*/ 507746 h 1583025"/>
                    <a:gd name="connsiteX713" fmla="*/ 6091591 w 6383100"/>
                    <a:gd name="connsiteY713" fmla="*/ 497528 h 1583025"/>
                    <a:gd name="connsiteX714" fmla="*/ 6107792 w 6383100"/>
                    <a:gd name="connsiteY714" fmla="*/ 485384 h 1583025"/>
                    <a:gd name="connsiteX715" fmla="*/ 6072475 w 6383100"/>
                    <a:gd name="connsiteY715" fmla="*/ 477575 h 1583025"/>
                    <a:gd name="connsiteX716" fmla="*/ 6073958 w 6383100"/>
                    <a:gd name="connsiteY716" fmla="*/ 467295 h 1583025"/>
                    <a:gd name="connsiteX717" fmla="*/ 6079802 w 6383100"/>
                    <a:gd name="connsiteY717" fmla="*/ 473570 h 1583025"/>
                    <a:gd name="connsiteX718" fmla="*/ 6094634 w 6383100"/>
                    <a:gd name="connsiteY718" fmla="*/ 454175 h 1583025"/>
                    <a:gd name="connsiteX719" fmla="*/ 6094735 w 6383100"/>
                    <a:gd name="connsiteY719" fmla="*/ 449687 h 1583025"/>
                    <a:gd name="connsiteX720" fmla="*/ 6081843 w 6383100"/>
                    <a:gd name="connsiteY720" fmla="*/ 451158 h 1583025"/>
                    <a:gd name="connsiteX721" fmla="*/ 6048554 w 6383100"/>
                    <a:gd name="connsiteY721" fmla="*/ 467409 h 1583025"/>
                    <a:gd name="connsiteX722" fmla="*/ 6056769 w 6383100"/>
                    <a:gd name="connsiteY722" fmla="*/ 477968 h 1583025"/>
                    <a:gd name="connsiteX723" fmla="*/ 6065249 w 6383100"/>
                    <a:gd name="connsiteY723" fmla="*/ 477728 h 1583025"/>
                    <a:gd name="connsiteX724" fmla="*/ 6058290 w 6383100"/>
                    <a:gd name="connsiteY724" fmla="*/ 495703 h 1583025"/>
                    <a:gd name="connsiteX725" fmla="*/ 6032075 w 6383100"/>
                    <a:gd name="connsiteY725" fmla="*/ 500102 h 1583025"/>
                    <a:gd name="connsiteX726" fmla="*/ 6020704 w 6383100"/>
                    <a:gd name="connsiteY726" fmla="*/ 501420 h 1583025"/>
                    <a:gd name="connsiteX727" fmla="*/ 6020970 w 6383100"/>
                    <a:gd name="connsiteY727" fmla="*/ 482393 h 1583025"/>
                    <a:gd name="connsiteX728" fmla="*/ 6030021 w 6383100"/>
                    <a:gd name="connsiteY728" fmla="*/ 467282 h 1583025"/>
                    <a:gd name="connsiteX729" fmla="*/ 6030288 w 6383100"/>
                    <a:gd name="connsiteY729" fmla="*/ 457001 h 1583025"/>
                    <a:gd name="connsiteX730" fmla="*/ 6025927 w 6383100"/>
                    <a:gd name="connsiteY730" fmla="*/ 452070 h 1583025"/>
                    <a:gd name="connsiteX731" fmla="*/ 6024647 w 6383100"/>
                    <a:gd name="connsiteY731" fmla="*/ 440256 h 1583025"/>
                    <a:gd name="connsiteX732" fmla="*/ 6032303 w 6383100"/>
                    <a:gd name="connsiteY732" fmla="*/ 432701 h 1583025"/>
                    <a:gd name="connsiteX733" fmla="*/ 6035383 w 6383100"/>
                    <a:gd name="connsiteY733" fmla="*/ 422230 h 1583025"/>
                    <a:gd name="connsiteX734" fmla="*/ 6026358 w 6383100"/>
                    <a:gd name="connsiteY734" fmla="*/ 416792 h 1583025"/>
                    <a:gd name="connsiteX735" fmla="*/ 6019043 w 6383100"/>
                    <a:gd name="connsiteY735" fmla="*/ 412672 h 1583025"/>
                    <a:gd name="connsiteX736" fmla="*/ 5992701 w 6383100"/>
                    <a:gd name="connsiteY736" fmla="*/ 420392 h 1583025"/>
                    <a:gd name="connsiteX737" fmla="*/ 5962214 w 6383100"/>
                    <a:gd name="connsiteY737" fmla="*/ 422914 h 1583025"/>
                    <a:gd name="connsiteX738" fmla="*/ 5945684 w 6383100"/>
                    <a:gd name="connsiteY738" fmla="*/ 415144 h 1583025"/>
                    <a:gd name="connsiteX739" fmla="*/ 5914221 w 6383100"/>
                    <a:gd name="connsiteY739" fmla="*/ 411049 h 1583025"/>
                    <a:gd name="connsiteX740" fmla="*/ 5915768 w 6383100"/>
                    <a:gd name="connsiteY740" fmla="*/ 408970 h 1583025"/>
                    <a:gd name="connsiteX741" fmla="*/ 5924134 w 6383100"/>
                    <a:gd name="connsiteY741" fmla="*/ 380714 h 1583025"/>
                    <a:gd name="connsiteX742" fmla="*/ 5955078 w 6383100"/>
                    <a:gd name="connsiteY742" fmla="*/ 363854 h 1583025"/>
                    <a:gd name="connsiteX743" fmla="*/ 5986351 w 6383100"/>
                    <a:gd name="connsiteY743" fmla="*/ 344256 h 1583025"/>
                    <a:gd name="connsiteX744" fmla="*/ 5998140 w 6383100"/>
                    <a:gd name="connsiteY744" fmla="*/ 325888 h 1583025"/>
                    <a:gd name="connsiteX745" fmla="*/ 6011881 w 6383100"/>
                    <a:gd name="connsiteY745" fmla="*/ 316596 h 1583025"/>
                    <a:gd name="connsiteX746" fmla="*/ 6029704 w 6383100"/>
                    <a:gd name="connsiteY746" fmla="*/ 309713 h 1583025"/>
                    <a:gd name="connsiteX747" fmla="*/ 6044878 w 6383100"/>
                    <a:gd name="connsiteY747" fmla="*/ 299065 h 1583025"/>
                    <a:gd name="connsiteX748" fmla="*/ 6072919 w 6383100"/>
                    <a:gd name="connsiteY748" fmla="*/ 283295 h 1583025"/>
                    <a:gd name="connsiteX749" fmla="*/ 6102531 w 6383100"/>
                    <a:gd name="connsiteY749" fmla="*/ 254709 h 1583025"/>
                    <a:gd name="connsiteX750" fmla="*/ 6110010 w 6383100"/>
                    <a:gd name="connsiteY750" fmla="*/ 243453 h 1583025"/>
                    <a:gd name="connsiteX751" fmla="*/ 6117958 w 6383100"/>
                    <a:gd name="connsiteY751" fmla="*/ 238483 h 1583025"/>
                    <a:gd name="connsiteX752" fmla="*/ 6134438 w 6383100"/>
                    <a:gd name="connsiteY752" fmla="*/ 233578 h 1583025"/>
                    <a:gd name="connsiteX753" fmla="*/ 6136986 w 6383100"/>
                    <a:gd name="connsiteY753" fmla="*/ 229204 h 1583025"/>
                    <a:gd name="connsiteX754" fmla="*/ 6137201 w 6383100"/>
                    <a:gd name="connsiteY754" fmla="*/ 213549 h 1583025"/>
                    <a:gd name="connsiteX755" fmla="*/ 6158586 w 6383100"/>
                    <a:gd name="connsiteY755" fmla="*/ 188031 h 1583025"/>
                    <a:gd name="connsiteX756" fmla="*/ 6160970 w 6383100"/>
                    <a:gd name="connsiteY756" fmla="*/ 195903 h 1583025"/>
                    <a:gd name="connsiteX757" fmla="*/ 6177538 w 6383100"/>
                    <a:gd name="connsiteY757" fmla="*/ 169967 h 1583025"/>
                    <a:gd name="connsiteX758" fmla="*/ 6193739 w 6383100"/>
                    <a:gd name="connsiteY758" fmla="*/ 158545 h 1583025"/>
                    <a:gd name="connsiteX759" fmla="*/ 6220917 w 6383100"/>
                    <a:gd name="connsiteY759" fmla="*/ 140938 h 1583025"/>
                    <a:gd name="connsiteX760" fmla="*/ 6230843 w 6383100"/>
                    <a:gd name="connsiteY760" fmla="*/ 134802 h 1583025"/>
                    <a:gd name="connsiteX761" fmla="*/ 6236725 w 6383100"/>
                    <a:gd name="connsiteY761" fmla="*/ 125003 h 1583025"/>
                    <a:gd name="connsiteX762" fmla="*/ 6247398 w 6383100"/>
                    <a:gd name="connsiteY762" fmla="*/ 121859 h 1583025"/>
                    <a:gd name="connsiteX763" fmla="*/ 6271103 w 6383100"/>
                    <a:gd name="connsiteY763" fmla="*/ 96659 h 1583025"/>
                    <a:gd name="connsiteX764" fmla="*/ 6295924 w 6383100"/>
                    <a:gd name="connsiteY764" fmla="*/ 88140 h 1583025"/>
                    <a:gd name="connsiteX765" fmla="*/ 6311846 w 6383100"/>
                    <a:gd name="connsiteY765" fmla="*/ 55511 h 1583025"/>
                    <a:gd name="connsiteX766" fmla="*/ 6338745 w 6383100"/>
                    <a:gd name="connsiteY766" fmla="*/ 22704 h 1583025"/>
                    <a:gd name="connsiteX767" fmla="*/ 6358090 w 6383100"/>
                    <a:gd name="connsiteY767" fmla="*/ 16365 h 1583025"/>
                    <a:gd name="connsiteX768" fmla="*/ 6377497 w 6383100"/>
                    <a:gd name="connsiteY768" fmla="*/ 4272 h 1583025"/>
                    <a:gd name="connsiteX769" fmla="*/ 6383100 w 6383100"/>
                    <a:gd name="connsiteY769" fmla="*/ 0 h 1583025"/>
                    <a:gd name="connsiteX770" fmla="*/ 927 w 6383100"/>
                    <a:gd name="connsiteY770" fmla="*/ 0 h 1583025"/>
                    <a:gd name="connsiteX771" fmla="*/ 927 w 6383100"/>
                    <a:gd name="connsiteY771" fmla="*/ 370243 h 158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Lst>
                  <a:rect l="l" t="t" r="r" b="b"/>
                  <a:pathLst>
                    <a:path w="6383100" h="1583025">
                      <a:moveTo>
                        <a:pt x="927" y="370243"/>
                      </a:moveTo>
                      <a:cubicBezTo>
                        <a:pt x="977" y="503499"/>
                        <a:pt x="1091" y="636780"/>
                        <a:pt x="939" y="770048"/>
                      </a:cubicBezTo>
                      <a:cubicBezTo>
                        <a:pt x="939" y="780760"/>
                        <a:pt x="-1140" y="793918"/>
                        <a:pt x="888" y="804376"/>
                      </a:cubicBezTo>
                      <a:cubicBezTo>
                        <a:pt x="2587" y="813237"/>
                        <a:pt x="11309" y="811031"/>
                        <a:pt x="20157" y="816343"/>
                      </a:cubicBezTo>
                      <a:cubicBezTo>
                        <a:pt x="23934" y="818599"/>
                        <a:pt x="28067" y="824025"/>
                        <a:pt x="32352" y="823822"/>
                      </a:cubicBezTo>
                      <a:cubicBezTo>
                        <a:pt x="35407" y="823683"/>
                        <a:pt x="47437" y="815494"/>
                        <a:pt x="50593" y="813732"/>
                      </a:cubicBezTo>
                      <a:cubicBezTo>
                        <a:pt x="58985" y="809003"/>
                        <a:pt x="60975" y="805796"/>
                        <a:pt x="64613" y="798203"/>
                      </a:cubicBezTo>
                      <a:cubicBezTo>
                        <a:pt x="65425" y="796529"/>
                        <a:pt x="65260" y="790521"/>
                        <a:pt x="66895" y="789342"/>
                      </a:cubicBezTo>
                      <a:cubicBezTo>
                        <a:pt x="69861" y="787250"/>
                        <a:pt x="71231" y="790838"/>
                        <a:pt x="73601" y="789633"/>
                      </a:cubicBezTo>
                      <a:cubicBezTo>
                        <a:pt x="76022" y="788442"/>
                        <a:pt x="78951" y="788543"/>
                        <a:pt x="81651" y="786921"/>
                      </a:cubicBezTo>
                      <a:cubicBezTo>
                        <a:pt x="83869" y="785564"/>
                        <a:pt x="86354" y="779556"/>
                        <a:pt x="87368" y="778605"/>
                      </a:cubicBezTo>
                      <a:cubicBezTo>
                        <a:pt x="90030" y="776133"/>
                        <a:pt x="86873" y="771950"/>
                        <a:pt x="93465" y="772596"/>
                      </a:cubicBezTo>
                      <a:cubicBezTo>
                        <a:pt x="99892" y="773243"/>
                        <a:pt x="98586" y="783422"/>
                        <a:pt x="108284" y="781901"/>
                      </a:cubicBezTo>
                      <a:cubicBezTo>
                        <a:pt x="101236" y="769503"/>
                        <a:pt x="112226" y="774079"/>
                        <a:pt x="118007" y="774067"/>
                      </a:cubicBezTo>
                      <a:cubicBezTo>
                        <a:pt x="126779" y="774054"/>
                        <a:pt x="137250" y="769389"/>
                        <a:pt x="143335" y="771937"/>
                      </a:cubicBezTo>
                      <a:cubicBezTo>
                        <a:pt x="140622" y="770809"/>
                        <a:pt x="151257" y="780950"/>
                        <a:pt x="150395" y="779682"/>
                      </a:cubicBezTo>
                      <a:cubicBezTo>
                        <a:pt x="152234" y="782370"/>
                        <a:pt x="152005" y="786807"/>
                        <a:pt x="154566" y="788936"/>
                      </a:cubicBezTo>
                      <a:cubicBezTo>
                        <a:pt x="164555" y="797315"/>
                        <a:pt x="164264" y="788797"/>
                        <a:pt x="171806" y="786997"/>
                      </a:cubicBezTo>
                      <a:cubicBezTo>
                        <a:pt x="178461" y="785412"/>
                        <a:pt x="180236" y="791915"/>
                        <a:pt x="184407" y="784968"/>
                      </a:cubicBezTo>
                      <a:cubicBezTo>
                        <a:pt x="186840" y="780887"/>
                        <a:pt x="181567" y="774485"/>
                        <a:pt x="185218" y="770124"/>
                      </a:cubicBezTo>
                      <a:cubicBezTo>
                        <a:pt x="189135" y="765472"/>
                        <a:pt x="197894" y="769592"/>
                        <a:pt x="202902" y="770581"/>
                      </a:cubicBezTo>
                      <a:cubicBezTo>
                        <a:pt x="208086" y="771607"/>
                        <a:pt x="213854" y="773217"/>
                        <a:pt x="218316" y="771810"/>
                      </a:cubicBezTo>
                      <a:cubicBezTo>
                        <a:pt x="220167" y="771227"/>
                        <a:pt x="219850" y="766930"/>
                        <a:pt x="223159" y="766080"/>
                      </a:cubicBezTo>
                      <a:cubicBezTo>
                        <a:pt x="229332" y="764483"/>
                        <a:pt x="226733" y="767513"/>
                        <a:pt x="231056" y="769136"/>
                      </a:cubicBezTo>
                      <a:cubicBezTo>
                        <a:pt x="230727" y="769021"/>
                        <a:pt x="233237" y="772355"/>
                        <a:pt x="234301" y="772888"/>
                      </a:cubicBezTo>
                      <a:cubicBezTo>
                        <a:pt x="237204" y="774396"/>
                        <a:pt x="241641" y="771734"/>
                        <a:pt x="244582" y="773965"/>
                      </a:cubicBezTo>
                      <a:cubicBezTo>
                        <a:pt x="249285" y="777527"/>
                        <a:pt x="246648" y="779429"/>
                        <a:pt x="247333" y="783739"/>
                      </a:cubicBezTo>
                      <a:cubicBezTo>
                        <a:pt x="247599" y="785463"/>
                        <a:pt x="244176" y="787060"/>
                        <a:pt x="244861" y="790280"/>
                      </a:cubicBezTo>
                      <a:cubicBezTo>
                        <a:pt x="244633" y="789202"/>
                        <a:pt x="253506" y="798165"/>
                        <a:pt x="251465" y="796973"/>
                      </a:cubicBezTo>
                      <a:cubicBezTo>
                        <a:pt x="263622" y="804021"/>
                        <a:pt x="279278" y="812400"/>
                        <a:pt x="295985" y="814948"/>
                      </a:cubicBezTo>
                      <a:cubicBezTo>
                        <a:pt x="300524" y="815646"/>
                        <a:pt x="319107" y="813377"/>
                        <a:pt x="319171" y="821616"/>
                      </a:cubicBezTo>
                      <a:cubicBezTo>
                        <a:pt x="319196" y="825064"/>
                        <a:pt x="309828" y="819575"/>
                        <a:pt x="311615" y="825952"/>
                      </a:cubicBezTo>
                      <a:cubicBezTo>
                        <a:pt x="313948" y="834153"/>
                        <a:pt x="319551" y="826345"/>
                        <a:pt x="322441" y="825952"/>
                      </a:cubicBezTo>
                      <a:cubicBezTo>
                        <a:pt x="332899" y="824481"/>
                        <a:pt x="340949" y="821464"/>
                        <a:pt x="345424" y="810651"/>
                      </a:cubicBezTo>
                      <a:cubicBezTo>
                        <a:pt x="347858" y="804731"/>
                        <a:pt x="344917" y="789240"/>
                        <a:pt x="357847" y="792891"/>
                      </a:cubicBezTo>
                      <a:cubicBezTo>
                        <a:pt x="364527" y="794767"/>
                        <a:pt x="361422" y="800028"/>
                        <a:pt x="365339" y="804579"/>
                      </a:cubicBezTo>
                      <a:cubicBezTo>
                        <a:pt x="368774" y="808572"/>
                        <a:pt x="373325" y="808927"/>
                        <a:pt x="378015" y="810005"/>
                      </a:cubicBezTo>
                      <a:cubicBezTo>
                        <a:pt x="396079" y="814213"/>
                        <a:pt x="411266" y="811970"/>
                        <a:pt x="428594" y="807064"/>
                      </a:cubicBezTo>
                      <a:cubicBezTo>
                        <a:pt x="446519" y="801993"/>
                        <a:pt x="455291" y="803109"/>
                        <a:pt x="459081" y="784652"/>
                      </a:cubicBezTo>
                      <a:cubicBezTo>
                        <a:pt x="461224" y="774193"/>
                        <a:pt x="460767" y="755090"/>
                        <a:pt x="474661" y="753873"/>
                      </a:cubicBezTo>
                      <a:cubicBezTo>
                        <a:pt x="464304" y="752048"/>
                        <a:pt x="466142" y="741995"/>
                        <a:pt x="459284" y="737241"/>
                      </a:cubicBezTo>
                      <a:cubicBezTo>
                        <a:pt x="455177" y="734389"/>
                        <a:pt x="448446" y="733945"/>
                        <a:pt x="443718" y="733337"/>
                      </a:cubicBezTo>
                      <a:cubicBezTo>
                        <a:pt x="435490" y="732285"/>
                        <a:pt x="417629" y="733730"/>
                        <a:pt x="420950" y="719418"/>
                      </a:cubicBezTo>
                      <a:cubicBezTo>
                        <a:pt x="408198" y="719127"/>
                        <a:pt x="394862" y="720420"/>
                        <a:pt x="385431" y="715222"/>
                      </a:cubicBezTo>
                      <a:cubicBezTo>
                        <a:pt x="372437" y="708060"/>
                        <a:pt x="383263" y="714791"/>
                        <a:pt x="384987" y="704599"/>
                      </a:cubicBezTo>
                      <a:cubicBezTo>
                        <a:pt x="387092" y="692252"/>
                        <a:pt x="342128" y="700505"/>
                        <a:pt x="351914" y="681997"/>
                      </a:cubicBezTo>
                      <a:cubicBezTo>
                        <a:pt x="364946" y="681997"/>
                        <a:pt x="366061" y="681034"/>
                        <a:pt x="376253" y="673453"/>
                      </a:cubicBezTo>
                      <a:cubicBezTo>
                        <a:pt x="384151" y="667597"/>
                        <a:pt x="388042" y="669054"/>
                        <a:pt x="396358" y="667026"/>
                      </a:cubicBezTo>
                      <a:cubicBezTo>
                        <a:pt x="407704" y="664237"/>
                        <a:pt x="417857" y="654831"/>
                        <a:pt x="428544" y="648265"/>
                      </a:cubicBezTo>
                      <a:cubicBezTo>
                        <a:pt x="424056" y="645007"/>
                        <a:pt x="424753" y="640963"/>
                        <a:pt x="422193" y="637845"/>
                      </a:cubicBezTo>
                      <a:cubicBezTo>
                        <a:pt x="421229" y="636691"/>
                        <a:pt x="415031" y="631316"/>
                        <a:pt x="414916" y="631152"/>
                      </a:cubicBezTo>
                      <a:cubicBezTo>
                        <a:pt x="414409" y="630378"/>
                        <a:pt x="411861" y="622481"/>
                        <a:pt x="411861" y="622481"/>
                      </a:cubicBezTo>
                      <a:cubicBezTo>
                        <a:pt x="411773" y="622379"/>
                        <a:pt x="404889" y="617930"/>
                        <a:pt x="405878" y="619502"/>
                      </a:cubicBezTo>
                      <a:cubicBezTo>
                        <a:pt x="401175" y="611871"/>
                        <a:pt x="400782" y="613823"/>
                        <a:pt x="408084" y="606737"/>
                      </a:cubicBezTo>
                      <a:cubicBezTo>
                        <a:pt x="413763" y="601248"/>
                        <a:pt x="423131" y="595176"/>
                        <a:pt x="429925" y="590080"/>
                      </a:cubicBezTo>
                      <a:cubicBezTo>
                        <a:pt x="427707" y="588837"/>
                        <a:pt x="426046" y="586188"/>
                        <a:pt x="423727" y="585199"/>
                      </a:cubicBezTo>
                      <a:cubicBezTo>
                        <a:pt x="431092" y="586327"/>
                        <a:pt x="433665" y="581472"/>
                        <a:pt x="439712" y="581029"/>
                      </a:cubicBezTo>
                      <a:cubicBezTo>
                        <a:pt x="442678" y="580813"/>
                        <a:pt x="444960" y="584109"/>
                        <a:pt x="447990" y="583957"/>
                      </a:cubicBezTo>
                      <a:cubicBezTo>
                        <a:pt x="450132" y="583868"/>
                        <a:pt x="453795" y="581738"/>
                        <a:pt x="455177" y="581840"/>
                      </a:cubicBezTo>
                      <a:cubicBezTo>
                        <a:pt x="461465" y="582233"/>
                        <a:pt x="467334" y="585250"/>
                        <a:pt x="473419" y="585782"/>
                      </a:cubicBezTo>
                      <a:cubicBezTo>
                        <a:pt x="476347" y="586048"/>
                        <a:pt x="480936" y="584375"/>
                        <a:pt x="484194" y="584717"/>
                      </a:cubicBezTo>
                      <a:cubicBezTo>
                        <a:pt x="488630" y="585199"/>
                        <a:pt x="492281" y="589027"/>
                        <a:pt x="496528" y="588825"/>
                      </a:cubicBezTo>
                      <a:cubicBezTo>
                        <a:pt x="503500" y="588495"/>
                        <a:pt x="510903" y="580648"/>
                        <a:pt x="507544" y="573486"/>
                      </a:cubicBezTo>
                      <a:cubicBezTo>
                        <a:pt x="504147" y="566222"/>
                        <a:pt x="490925" y="569341"/>
                        <a:pt x="484688" y="566362"/>
                      </a:cubicBezTo>
                      <a:cubicBezTo>
                        <a:pt x="480860" y="564524"/>
                        <a:pt x="476879" y="558845"/>
                        <a:pt x="473178" y="558084"/>
                      </a:cubicBezTo>
                      <a:cubicBezTo>
                        <a:pt x="470414" y="557514"/>
                        <a:pt x="466992" y="561950"/>
                        <a:pt x="463670" y="561545"/>
                      </a:cubicBezTo>
                      <a:cubicBezTo>
                        <a:pt x="459246" y="561000"/>
                        <a:pt x="456508" y="557070"/>
                        <a:pt x="452414" y="555815"/>
                      </a:cubicBezTo>
                      <a:cubicBezTo>
                        <a:pt x="448940" y="554750"/>
                        <a:pt x="443768" y="556816"/>
                        <a:pt x="440624" y="554750"/>
                      </a:cubicBezTo>
                      <a:cubicBezTo>
                        <a:pt x="430002" y="547778"/>
                        <a:pt x="440155" y="532579"/>
                        <a:pt x="448294" y="533149"/>
                      </a:cubicBezTo>
                      <a:cubicBezTo>
                        <a:pt x="456014" y="533694"/>
                        <a:pt x="451957" y="543012"/>
                        <a:pt x="461693" y="534506"/>
                      </a:cubicBezTo>
                      <a:cubicBezTo>
                        <a:pt x="468487" y="528548"/>
                        <a:pt x="466294" y="523642"/>
                        <a:pt x="456660" y="523502"/>
                      </a:cubicBezTo>
                      <a:cubicBezTo>
                        <a:pt x="447128" y="523388"/>
                        <a:pt x="447267" y="529435"/>
                        <a:pt x="435262" y="525721"/>
                      </a:cubicBezTo>
                      <a:cubicBezTo>
                        <a:pt x="432613" y="524922"/>
                        <a:pt x="419328" y="521373"/>
                        <a:pt x="417781" y="520054"/>
                      </a:cubicBezTo>
                      <a:cubicBezTo>
                        <a:pt x="412432" y="515542"/>
                        <a:pt x="426503" y="518546"/>
                        <a:pt x="426148" y="518749"/>
                      </a:cubicBezTo>
                      <a:cubicBezTo>
                        <a:pt x="429786" y="516657"/>
                        <a:pt x="427111" y="513805"/>
                        <a:pt x="429431" y="511992"/>
                      </a:cubicBezTo>
                      <a:cubicBezTo>
                        <a:pt x="431092" y="510699"/>
                        <a:pt x="440346" y="505984"/>
                        <a:pt x="440295" y="502574"/>
                      </a:cubicBezTo>
                      <a:cubicBezTo>
                        <a:pt x="440219" y="495766"/>
                        <a:pt x="414485" y="493168"/>
                        <a:pt x="426896" y="487260"/>
                      </a:cubicBezTo>
                      <a:cubicBezTo>
                        <a:pt x="432765" y="484471"/>
                        <a:pt x="451032" y="496603"/>
                        <a:pt x="439902" y="480276"/>
                      </a:cubicBezTo>
                      <a:cubicBezTo>
                        <a:pt x="448218" y="480237"/>
                        <a:pt x="447736" y="474850"/>
                        <a:pt x="457053" y="476904"/>
                      </a:cubicBezTo>
                      <a:cubicBezTo>
                        <a:pt x="463113" y="478222"/>
                        <a:pt x="466409" y="485093"/>
                        <a:pt x="470959" y="485460"/>
                      </a:cubicBezTo>
                      <a:cubicBezTo>
                        <a:pt x="471809" y="485524"/>
                        <a:pt x="481836" y="481378"/>
                        <a:pt x="485208" y="482367"/>
                      </a:cubicBezTo>
                      <a:cubicBezTo>
                        <a:pt x="491001" y="484078"/>
                        <a:pt x="488643" y="489517"/>
                        <a:pt x="499786" y="488972"/>
                      </a:cubicBezTo>
                      <a:cubicBezTo>
                        <a:pt x="495755" y="476308"/>
                        <a:pt x="508723" y="480085"/>
                        <a:pt x="517127" y="479832"/>
                      </a:cubicBezTo>
                      <a:cubicBezTo>
                        <a:pt x="529005" y="479477"/>
                        <a:pt x="527991" y="479071"/>
                        <a:pt x="531541" y="483343"/>
                      </a:cubicBezTo>
                      <a:cubicBezTo>
                        <a:pt x="531794" y="483647"/>
                        <a:pt x="527154" y="487007"/>
                        <a:pt x="533683" y="491608"/>
                      </a:cubicBezTo>
                      <a:cubicBezTo>
                        <a:pt x="540731" y="496590"/>
                        <a:pt x="536472" y="494131"/>
                        <a:pt x="538855" y="489922"/>
                      </a:cubicBezTo>
                      <a:cubicBezTo>
                        <a:pt x="544547" y="479946"/>
                        <a:pt x="540287" y="474609"/>
                        <a:pt x="557540" y="473227"/>
                      </a:cubicBezTo>
                      <a:cubicBezTo>
                        <a:pt x="563118" y="472784"/>
                        <a:pt x="568252" y="474216"/>
                        <a:pt x="574273" y="472936"/>
                      </a:cubicBezTo>
                      <a:cubicBezTo>
                        <a:pt x="583451" y="470984"/>
                        <a:pt x="578723" y="468803"/>
                        <a:pt x="581790" y="467105"/>
                      </a:cubicBezTo>
                      <a:cubicBezTo>
                        <a:pt x="587419" y="463986"/>
                        <a:pt x="599297" y="464113"/>
                        <a:pt x="607739" y="461920"/>
                      </a:cubicBezTo>
                      <a:cubicBezTo>
                        <a:pt x="612708" y="460627"/>
                        <a:pt x="622342" y="456482"/>
                        <a:pt x="627109" y="456900"/>
                      </a:cubicBezTo>
                      <a:cubicBezTo>
                        <a:pt x="631786" y="457318"/>
                        <a:pt x="635070" y="462630"/>
                        <a:pt x="639747" y="462516"/>
                      </a:cubicBezTo>
                      <a:cubicBezTo>
                        <a:pt x="651308" y="462237"/>
                        <a:pt x="644222" y="453034"/>
                        <a:pt x="647721" y="449801"/>
                      </a:cubicBezTo>
                      <a:cubicBezTo>
                        <a:pt x="647455" y="450029"/>
                        <a:pt x="663807" y="448179"/>
                        <a:pt x="665747" y="447963"/>
                      </a:cubicBezTo>
                      <a:cubicBezTo>
                        <a:pt x="671895" y="447279"/>
                        <a:pt x="678918" y="445263"/>
                        <a:pt x="684724" y="445149"/>
                      </a:cubicBezTo>
                      <a:cubicBezTo>
                        <a:pt x="686879" y="445111"/>
                        <a:pt x="688844" y="443247"/>
                        <a:pt x="690631" y="443463"/>
                      </a:cubicBezTo>
                      <a:cubicBezTo>
                        <a:pt x="693090" y="443742"/>
                        <a:pt x="695182" y="448179"/>
                        <a:pt x="697983" y="448115"/>
                      </a:cubicBezTo>
                      <a:cubicBezTo>
                        <a:pt x="704550" y="448001"/>
                        <a:pt x="709734" y="441054"/>
                        <a:pt x="715959" y="441777"/>
                      </a:cubicBezTo>
                      <a:cubicBezTo>
                        <a:pt x="726822" y="443032"/>
                        <a:pt x="731462" y="460399"/>
                        <a:pt x="736266" y="443932"/>
                      </a:cubicBezTo>
                      <a:cubicBezTo>
                        <a:pt x="737141" y="440940"/>
                        <a:pt x="733668" y="433068"/>
                        <a:pt x="735937" y="429874"/>
                      </a:cubicBezTo>
                      <a:cubicBezTo>
                        <a:pt x="738650" y="426083"/>
                        <a:pt x="745064" y="426958"/>
                        <a:pt x="748677" y="425171"/>
                      </a:cubicBezTo>
                      <a:cubicBezTo>
                        <a:pt x="750084" y="424473"/>
                        <a:pt x="753202" y="425462"/>
                        <a:pt x="754749" y="424676"/>
                      </a:cubicBezTo>
                      <a:cubicBezTo>
                        <a:pt x="756562" y="423751"/>
                        <a:pt x="752467" y="419416"/>
                        <a:pt x="755040" y="418414"/>
                      </a:cubicBezTo>
                      <a:cubicBezTo>
                        <a:pt x="761366" y="415980"/>
                        <a:pt x="768363" y="423016"/>
                        <a:pt x="774004" y="421621"/>
                      </a:cubicBezTo>
                      <a:cubicBezTo>
                        <a:pt x="779151" y="420341"/>
                        <a:pt x="779531" y="414700"/>
                        <a:pt x="784234" y="412963"/>
                      </a:cubicBezTo>
                      <a:cubicBezTo>
                        <a:pt x="798736" y="407601"/>
                        <a:pt x="785058" y="416918"/>
                        <a:pt x="792943" y="419339"/>
                      </a:cubicBezTo>
                      <a:cubicBezTo>
                        <a:pt x="798546" y="421051"/>
                        <a:pt x="813631" y="414167"/>
                        <a:pt x="819488" y="412570"/>
                      </a:cubicBezTo>
                      <a:cubicBezTo>
                        <a:pt x="827030" y="410517"/>
                        <a:pt x="833495" y="411100"/>
                        <a:pt x="840873" y="409705"/>
                      </a:cubicBezTo>
                      <a:cubicBezTo>
                        <a:pt x="851876" y="407601"/>
                        <a:pt x="862651" y="404254"/>
                        <a:pt x="874136" y="402251"/>
                      </a:cubicBezTo>
                      <a:cubicBezTo>
                        <a:pt x="885507" y="400261"/>
                        <a:pt x="890311" y="395203"/>
                        <a:pt x="901923" y="395178"/>
                      </a:cubicBezTo>
                      <a:cubicBezTo>
                        <a:pt x="911190" y="395140"/>
                        <a:pt x="917198" y="395977"/>
                        <a:pt x="925159" y="390969"/>
                      </a:cubicBezTo>
                      <a:cubicBezTo>
                        <a:pt x="930154" y="387826"/>
                        <a:pt x="929254" y="385176"/>
                        <a:pt x="935478" y="383617"/>
                      </a:cubicBezTo>
                      <a:cubicBezTo>
                        <a:pt x="941651" y="382083"/>
                        <a:pt x="948725" y="389119"/>
                        <a:pt x="956039" y="384492"/>
                      </a:cubicBezTo>
                      <a:cubicBezTo>
                        <a:pt x="957915" y="383287"/>
                        <a:pt x="959297" y="378711"/>
                        <a:pt x="960463" y="376632"/>
                      </a:cubicBezTo>
                      <a:cubicBezTo>
                        <a:pt x="963049" y="371980"/>
                        <a:pt x="964710" y="378458"/>
                        <a:pt x="964330" y="372335"/>
                      </a:cubicBezTo>
                      <a:cubicBezTo>
                        <a:pt x="964279" y="371802"/>
                        <a:pt x="956787" y="365059"/>
                        <a:pt x="956191" y="363094"/>
                      </a:cubicBezTo>
                      <a:cubicBezTo>
                        <a:pt x="964596" y="357579"/>
                        <a:pt x="975967" y="364121"/>
                        <a:pt x="985030" y="360318"/>
                      </a:cubicBezTo>
                      <a:cubicBezTo>
                        <a:pt x="989924" y="358302"/>
                        <a:pt x="989607" y="351305"/>
                        <a:pt x="993486" y="347920"/>
                      </a:cubicBezTo>
                      <a:cubicBezTo>
                        <a:pt x="998937" y="343141"/>
                        <a:pt x="999380" y="345600"/>
                        <a:pt x="1007823" y="348072"/>
                      </a:cubicBezTo>
                      <a:cubicBezTo>
                        <a:pt x="1011043" y="349010"/>
                        <a:pt x="1011043" y="355475"/>
                        <a:pt x="1015226" y="351368"/>
                      </a:cubicBezTo>
                      <a:cubicBezTo>
                        <a:pt x="1018484" y="348161"/>
                        <a:pt x="1012729" y="344561"/>
                        <a:pt x="1012754" y="343825"/>
                      </a:cubicBezTo>
                      <a:cubicBezTo>
                        <a:pt x="1012830" y="341392"/>
                        <a:pt x="1007265" y="339059"/>
                        <a:pt x="1011626" y="336067"/>
                      </a:cubicBezTo>
                      <a:cubicBezTo>
                        <a:pt x="1014972" y="333786"/>
                        <a:pt x="1024366" y="339984"/>
                        <a:pt x="1027471" y="341277"/>
                      </a:cubicBezTo>
                      <a:cubicBezTo>
                        <a:pt x="1028828" y="341848"/>
                        <a:pt x="1028967" y="346982"/>
                        <a:pt x="1030793" y="347185"/>
                      </a:cubicBezTo>
                      <a:cubicBezTo>
                        <a:pt x="1033417" y="347464"/>
                        <a:pt x="1034925" y="343978"/>
                        <a:pt x="1036865" y="343927"/>
                      </a:cubicBezTo>
                      <a:cubicBezTo>
                        <a:pt x="1043102" y="343762"/>
                        <a:pt x="1043850" y="342799"/>
                        <a:pt x="1052330" y="344763"/>
                      </a:cubicBezTo>
                      <a:cubicBezTo>
                        <a:pt x="1060519" y="346640"/>
                        <a:pt x="1067339" y="345448"/>
                        <a:pt x="1074844" y="349974"/>
                      </a:cubicBezTo>
                      <a:cubicBezTo>
                        <a:pt x="1079179" y="352572"/>
                        <a:pt x="1081638" y="357377"/>
                        <a:pt x="1086012" y="359760"/>
                      </a:cubicBezTo>
                      <a:cubicBezTo>
                        <a:pt x="1087140" y="360381"/>
                        <a:pt x="1104393" y="366478"/>
                        <a:pt x="1104710" y="366466"/>
                      </a:cubicBezTo>
                      <a:cubicBezTo>
                        <a:pt x="1108931" y="366415"/>
                        <a:pt x="1108183" y="363829"/>
                        <a:pt x="1112011" y="361801"/>
                      </a:cubicBezTo>
                      <a:cubicBezTo>
                        <a:pt x="1114990" y="360216"/>
                        <a:pt x="1118400" y="357022"/>
                        <a:pt x="1120061" y="356172"/>
                      </a:cubicBezTo>
                      <a:cubicBezTo>
                        <a:pt x="1121950" y="355222"/>
                        <a:pt x="1122748" y="352154"/>
                        <a:pt x="1124979" y="351114"/>
                      </a:cubicBezTo>
                      <a:cubicBezTo>
                        <a:pt x="1126336" y="350468"/>
                        <a:pt x="1129682" y="353447"/>
                        <a:pt x="1131204" y="352965"/>
                      </a:cubicBezTo>
                      <a:cubicBezTo>
                        <a:pt x="1138340" y="350772"/>
                        <a:pt x="1143715" y="346538"/>
                        <a:pt x="1151587" y="350417"/>
                      </a:cubicBezTo>
                      <a:cubicBezTo>
                        <a:pt x="1143538" y="358353"/>
                        <a:pt x="1161019" y="365033"/>
                        <a:pt x="1163174" y="372576"/>
                      </a:cubicBezTo>
                      <a:cubicBezTo>
                        <a:pt x="1164860" y="378356"/>
                        <a:pt x="1160588" y="385176"/>
                        <a:pt x="1161019" y="390133"/>
                      </a:cubicBezTo>
                      <a:cubicBezTo>
                        <a:pt x="1161615" y="397194"/>
                        <a:pt x="1166102" y="404064"/>
                        <a:pt x="1172085" y="407791"/>
                      </a:cubicBezTo>
                      <a:cubicBezTo>
                        <a:pt x="1176902" y="410770"/>
                        <a:pt x="1186498" y="407956"/>
                        <a:pt x="1183976" y="418034"/>
                      </a:cubicBezTo>
                      <a:cubicBezTo>
                        <a:pt x="1183317" y="420709"/>
                        <a:pt x="1177055" y="420392"/>
                        <a:pt x="1175571" y="423611"/>
                      </a:cubicBezTo>
                      <a:cubicBezTo>
                        <a:pt x="1174392" y="426134"/>
                        <a:pt x="1175267" y="431167"/>
                        <a:pt x="1175749" y="433917"/>
                      </a:cubicBezTo>
                      <a:cubicBezTo>
                        <a:pt x="1176281" y="436820"/>
                        <a:pt x="1182810" y="446226"/>
                        <a:pt x="1178943" y="449903"/>
                      </a:cubicBezTo>
                      <a:cubicBezTo>
                        <a:pt x="1173099" y="455468"/>
                        <a:pt x="1164708" y="441828"/>
                        <a:pt x="1162971" y="453034"/>
                      </a:cubicBezTo>
                      <a:cubicBezTo>
                        <a:pt x="1163326" y="450676"/>
                        <a:pt x="1171540" y="464759"/>
                        <a:pt x="1172060" y="465419"/>
                      </a:cubicBezTo>
                      <a:cubicBezTo>
                        <a:pt x="1181187" y="477233"/>
                        <a:pt x="1177536" y="466914"/>
                        <a:pt x="1186790" y="462997"/>
                      </a:cubicBezTo>
                      <a:cubicBezTo>
                        <a:pt x="1192571" y="460551"/>
                        <a:pt x="1201077" y="463264"/>
                        <a:pt x="1200151" y="471009"/>
                      </a:cubicBezTo>
                      <a:cubicBezTo>
                        <a:pt x="1205564" y="467916"/>
                        <a:pt x="1210026" y="472948"/>
                        <a:pt x="1213931" y="470603"/>
                      </a:cubicBezTo>
                      <a:cubicBezTo>
                        <a:pt x="1219736" y="467092"/>
                        <a:pt x="1214704" y="461692"/>
                        <a:pt x="1219077" y="458282"/>
                      </a:cubicBezTo>
                      <a:cubicBezTo>
                        <a:pt x="1230841" y="449117"/>
                        <a:pt x="1248981" y="473189"/>
                        <a:pt x="1252378" y="467561"/>
                      </a:cubicBezTo>
                      <a:cubicBezTo>
                        <a:pt x="1256536" y="460703"/>
                        <a:pt x="1245356" y="462858"/>
                        <a:pt x="1244075" y="459866"/>
                      </a:cubicBezTo>
                      <a:cubicBezTo>
                        <a:pt x="1243163" y="457775"/>
                        <a:pt x="1245825" y="454213"/>
                        <a:pt x="1245305" y="453072"/>
                      </a:cubicBezTo>
                      <a:cubicBezTo>
                        <a:pt x="1246230" y="455138"/>
                        <a:pt x="1243847" y="444604"/>
                        <a:pt x="1242833" y="447773"/>
                      </a:cubicBezTo>
                      <a:cubicBezTo>
                        <a:pt x="1243264" y="446417"/>
                        <a:pt x="1238802" y="446214"/>
                        <a:pt x="1241971" y="443869"/>
                      </a:cubicBezTo>
                      <a:cubicBezTo>
                        <a:pt x="1244595" y="441929"/>
                        <a:pt x="1251516" y="445694"/>
                        <a:pt x="1253824" y="447215"/>
                      </a:cubicBezTo>
                      <a:cubicBezTo>
                        <a:pt x="1259097" y="450676"/>
                        <a:pt x="1265651" y="458890"/>
                        <a:pt x="1260872" y="464075"/>
                      </a:cubicBezTo>
                      <a:cubicBezTo>
                        <a:pt x="1264928" y="465368"/>
                        <a:pt x="1273929" y="466420"/>
                        <a:pt x="1273853" y="469944"/>
                      </a:cubicBezTo>
                      <a:cubicBezTo>
                        <a:pt x="1273802" y="471706"/>
                        <a:pt x="1268807" y="471212"/>
                        <a:pt x="1268237" y="473025"/>
                      </a:cubicBezTo>
                      <a:cubicBezTo>
                        <a:pt x="1268465" y="472327"/>
                        <a:pt x="1265854" y="473012"/>
                        <a:pt x="1265270" y="474495"/>
                      </a:cubicBezTo>
                      <a:cubicBezTo>
                        <a:pt x="1264649" y="476080"/>
                        <a:pt x="1268021" y="477664"/>
                        <a:pt x="1267882" y="478361"/>
                      </a:cubicBezTo>
                      <a:cubicBezTo>
                        <a:pt x="1268275" y="476346"/>
                        <a:pt x="1268186" y="489187"/>
                        <a:pt x="1266944" y="486981"/>
                      </a:cubicBezTo>
                      <a:cubicBezTo>
                        <a:pt x="1271723" y="495285"/>
                        <a:pt x="1274144" y="488287"/>
                        <a:pt x="1282080" y="484814"/>
                      </a:cubicBezTo>
                      <a:cubicBezTo>
                        <a:pt x="1283373" y="484243"/>
                        <a:pt x="1297165" y="488972"/>
                        <a:pt x="1288747" y="479921"/>
                      </a:cubicBezTo>
                      <a:cubicBezTo>
                        <a:pt x="1285287" y="476156"/>
                        <a:pt x="1281889" y="475547"/>
                        <a:pt x="1276464" y="477702"/>
                      </a:cubicBezTo>
                      <a:cubicBezTo>
                        <a:pt x="1275475" y="465647"/>
                        <a:pt x="1302552" y="466091"/>
                        <a:pt x="1309550" y="470236"/>
                      </a:cubicBezTo>
                      <a:cubicBezTo>
                        <a:pt x="1311781" y="471554"/>
                        <a:pt x="1313074" y="477715"/>
                        <a:pt x="1315343" y="480022"/>
                      </a:cubicBezTo>
                      <a:cubicBezTo>
                        <a:pt x="1319640" y="484395"/>
                        <a:pt x="1323557" y="486360"/>
                        <a:pt x="1331264" y="486791"/>
                      </a:cubicBezTo>
                      <a:cubicBezTo>
                        <a:pt x="1340201" y="487298"/>
                        <a:pt x="1338389" y="486728"/>
                        <a:pt x="1344448" y="484940"/>
                      </a:cubicBezTo>
                      <a:cubicBezTo>
                        <a:pt x="1345982" y="484497"/>
                        <a:pt x="1346844" y="488477"/>
                        <a:pt x="1348796" y="487488"/>
                      </a:cubicBezTo>
                      <a:cubicBezTo>
                        <a:pt x="1351192" y="486272"/>
                        <a:pt x="1350102" y="484218"/>
                        <a:pt x="1351217" y="483470"/>
                      </a:cubicBezTo>
                      <a:cubicBezTo>
                        <a:pt x="1351902" y="483014"/>
                        <a:pt x="1358354" y="474546"/>
                        <a:pt x="1356250" y="475420"/>
                      </a:cubicBezTo>
                      <a:cubicBezTo>
                        <a:pt x="1361625" y="473177"/>
                        <a:pt x="1362525" y="476130"/>
                        <a:pt x="1367507" y="476232"/>
                      </a:cubicBezTo>
                      <a:cubicBezTo>
                        <a:pt x="1366125" y="483026"/>
                        <a:pt x="1366632" y="493624"/>
                        <a:pt x="1359647" y="496451"/>
                      </a:cubicBezTo>
                      <a:cubicBezTo>
                        <a:pt x="1352460" y="499354"/>
                        <a:pt x="1346819" y="490569"/>
                        <a:pt x="1341672" y="499392"/>
                      </a:cubicBezTo>
                      <a:cubicBezTo>
                        <a:pt x="1342813" y="500051"/>
                        <a:pt x="1343979" y="500723"/>
                        <a:pt x="1345120" y="501382"/>
                      </a:cubicBezTo>
                      <a:cubicBezTo>
                        <a:pt x="1338046" y="501585"/>
                        <a:pt x="1333521" y="510674"/>
                        <a:pt x="1332228" y="514185"/>
                      </a:cubicBezTo>
                      <a:cubicBezTo>
                        <a:pt x="1330478" y="518888"/>
                        <a:pt x="1331074" y="520105"/>
                        <a:pt x="1329781" y="525100"/>
                      </a:cubicBezTo>
                      <a:cubicBezTo>
                        <a:pt x="1333736" y="526836"/>
                        <a:pt x="1337704" y="528586"/>
                        <a:pt x="1341672" y="530322"/>
                      </a:cubicBezTo>
                      <a:cubicBezTo>
                        <a:pt x="1336006" y="536420"/>
                        <a:pt x="1340670" y="539234"/>
                        <a:pt x="1346071" y="537497"/>
                      </a:cubicBezTo>
                      <a:cubicBezTo>
                        <a:pt x="1349417" y="536420"/>
                        <a:pt x="1352041" y="532110"/>
                        <a:pt x="1354399" y="529777"/>
                      </a:cubicBezTo>
                      <a:cubicBezTo>
                        <a:pt x="1355502" y="528662"/>
                        <a:pt x="1360801" y="521411"/>
                        <a:pt x="1361270" y="521259"/>
                      </a:cubicBezTo>
                      <a:cubicBezTo>
                        <a:pt x="1364845" y="520092"/>
                        <a:pt x="1370042" y="522019"/>
                        <a:pt x="1373414" y="521652"/>
                      </a:cubicBezTo>
                      <a:cubicBezTo>
                        <a:pt x="1377559" y="521221"/>
                        <a:pt x="1378763" y="518115"/>
                        <a:pt x="1383466" y="518597"/>
                      </a:cubicBezTo>
                      <a:cubicBezTo>
                        <a:pt x="1392277" y="519484"/>
                        <a:pt x="1389602" y="523350"/>
                        <a:pt x="1395446" y="525353"/>
                      </a:cubicBezTo>
                      <a:cubicBezTo>
                        <a:pt x="1395294" y="525303"/>
                        <a:pt x="1400567" y="522133"/>
                        <a:pt x="1403635" y="523515"/>
                      </a:cubicBezTo>
                      <a:cubicBezTo>
                        <a:pt x="1406081" y="524631"/>
                        <a:pt x="1405371" y="529207"/>
                        <a:pt x="1406373" y="530069"/>
                      </a:cubicBezTo>
                      <a:cubicBezTo>
                        <a:pt x="1413332" y="536179"/>
                        <a:pt x="1418073" y="538473"/>
                        <a:pt x="1420165" y="526050"/>
                      </a:cubicBezTo>
                      <a:cubicBezTo>
                        <a:pt x="1420697" y="522907"/>
                        <a:pt x="1415259" y="521436"/>
                        <a:pt x="1418441" y="516949"/>
                      </a:cubicBezTo>
                      <a:cubicBezTo>
                        <a:pt x="1421864" y="512157"/>
                        <a:pt x="1423245" y="516797"/>
                        <a:pt x="1428278" y="514084"/>
                      </a:cubicBezTo>
                      <a:cubicBezTo>
                        <a:pt x="1433108" y="511472"/>
                        <a:pt x="1436847" y="506947"/>
                        <a:pt x="1441816" y="503537"/>
                      </a:cubicBezTo>
                      <a:cubicBezTo>
                        <a:pt x="1446304" y="500431"/>
                        <a:pt x="1443071" y="499087"/>
                        <a:pt x="1450817" y="498530"/>
                      </a:cubicBezTo>
                      <a:cubicBezTo>
                        <a:pt x="1454734" y="498251"/>
                        <a:pt x="1458068" y="501927"/>
                        <a:pt x="1461655" y="501496"/>
                      </a:cubicBezTo>
                      <a:cubicBezTo>
                        <a:pt x="1470795" y="500406"/>
                        <a:pt x="1484714" y="488186"/>
                        <a:pt x="1492675" y="483419"/>
                      </a:cubicBezTo>
                      <a:cubicBezTo>
                        <a:pt x="1490418" y="481492"/>
                        <a:pt x="1489556" y="477905"/>
                        <a:pt x="1487249" y="476042"/>
                      </a:cubicBezTo>
                      <a:cubicBezTo>
                        <a:pt x="1494386" y="469944"/>
                        <a:pt x="1503285" y="472708"/>
                        <a:pt x="1511626" y="470654"/>
                      </a:cubicBezTo>
                      <a:cubicBezTo>
                        <a:pt x="1519739" y="468638"/>
                        <a:pt x="1540617" y="462934"/>
                        <a:pt x="1546486" y="457293"/>
                      </a:cubicBezTo>
                      <a:cubicBezTo>
                        <a:pt x="1549035" y="454859"/>
                        <a:pt x="1546208" y="449890"/>
                        <a:pt x="1551899" y="447000"/>
                      </a:cubicBezTo>
                      <a:cubicBezTo>
                        <a:pt x="1558529" y="443653"/>
                        <a:pt x="1568518" y="451715"/>
                        <a:pt x="1577151" y="446011"/>
                      </a:cubicBezTo>
                      <a:cubicBezTo>
                        <a:pt x="1581157" y="443336"/>
                        <a:pt x="1591146" y="431382"/>
                        <a:pt x="1599804" y="435033"/>
                      </a:cubicBezTo>
                      <a:cubicBezTo>
                        <a:pt x="1607194" y="438151"/>
                        <a:pt x="1591514" y="440826"/>
                        <a:pt x="1590639" y="443247"/>
                      </a:cubicBezTo>
                      <a:cubicBezTo>
                        <a:pt x="1590195" y="444439"/>
                        <a:pt x="1596432" y="447456"/>
                        <a:pt x="1596445" y="452045"/>
                      </a:cubicBezTo>
                      <a:cubicBezTo>
                        <a:pt x="1596457" y="454162"/>
                        <a:pt x="1590411" y="461806"/>
                        <a:pt x="1589016" y="463112"/>
                      </a:cubicBezTo>
                      <a:cubicBezTo>
                        <a:pt x="1579331" y="472099"/>
                        <a:pt x="1577392" y="462693"/>
                        <a:pt x="1567415" y="465393"/>
                      </a:cubicBezTo>
                      <a:cubicBezTo>
                        <a:pt x="1553230" y="469222"/>
                        <a:pt x="1585568" y="493865"/>
                        <a:pt x="1592337" y="498276"/>
                      </a:cubicBezTo>
                      <a:cubicBezTo>
                        <a:pt x="1628098" y="521500"/>
                        <a:pt x="1663567" y="541047"/>
                        <a:pt x="1688349" y="576528"/>
                      </a:cubicBezTo>
                      <a:cubicBezTo>
                        <a:pt x="1712650" y="611300"/>
                        <a:pt x="1736127" y="646515"/>
                        <a:pt x="1759465" y="681946"/>
                      </a:cubicBezTo>
                      <a:cubicBezTo>
                        <a:pt x="1774081" y="704460"/>
                        <a:pt x="1788722" y="726910"/>
                        <a:pt x="1801906" y="750273"/>
                      </a:cubicBezTo>
                      <a:cubicBezTo>
                        <a:pt x="1808396" y="761732"/>
                        <a:pt x="1822454" y="801651"/>
                        <a:pt x="1836601" y="802995"/>
                      </a:cubicBezTo>
                      <a:cubicBezTo>
                        <a:pt x="1823101" y="790964"/>
                        <a:pt x="1838440" y="797759"/>
                        <a:pt x="1840797" y="796669"/>
                      </a:cubicBezTo>
                      <a:cubicBezTo>
                        <a:pt x="1843650" y="795338"/>
                        <a:pt x="1846743" y="789050"/>
                        <a:pt x="1850875" y="786971"/>
                      </a:cubicBezTo>
                      <a:cubicBezTo>
                        <a:pt x="1857061" y="783878"/>
                        <a:pt x="1864008" y="786705"/>
                        <a:pt x="1864604" y="776450"/>
                      </a:cubicBezTo>
                      <a:cubicBezTo>
                        <a:pt x="1864895" y="771050"/>
                        <a:pt x="1858975" y="769795"/>
                        <a:pt x="1860547" y="764141"/>
                      </a:cubicBezTo>
                      <a:cubicBezTo>
                        <a:pt x="1863171" y="754659"/>
                        <a:pt x="1867874" y="762341"/>
                        <a:pt x="1874555" y="758601"/>
                      </a:cubicBezTo>
                      <a:cubicBezTo>
                        <a:pt x="1876330" y="757613"/>
                        <a:pt x="1874783" y="753138"/>
                        <a:pt x="1876799" y="752263"/>
                      </a:cubicBezTo>
                      <a:cubicBezTo>
                        <a:pt x="1881781" y="750159"/>
                        <a:pt x="1879689" y="752136"/>
                        <a:pt x="1885622" y="751528"/>
                      </a:cubicBezTo>
                      <a:cubicBezTo>
                        <a:pt x="1882655" y="751832"/>
                        <a:pt x="1896904" y="753772"/>
                        <a:pt x="1894102" y="752162"/>
                      </a:cubicBezTo>
                      <a:cubicBezTo>
                        <a:pt x="1894711" y="752517"/>
                        <a:pt x="1897728" y="755889"/>
                        <a:pt x="1897943" y="756003"/>
                      </a:cubicBezTo>
                      <a:cubicBezTo>
                        <a:pt x="1899769" y="756991"/>
                        <a:pt x="1901290" y="759818"/>
                        <a:pt x="1904104" y="761023"/>
                      </a:cubicBezTo>
                      <a:cubicBezTo>
                        <a:pt x="1905562" y="761656"/>
                        <a:pt x="1912255" y="760820"/>
                        <a:pt x="1911418" y="760300"/>
                      </a:cubicBezTo>
                      <a:cubicBezTo>
                        <a:pt x="1922409" y="767006"/>
                        <a:pt x="1899477" y="780151"/>
                        <a:pt x="1913966" y="785006"/>
                      </a:cubicBezTo>
                      <a:cubicBezTo>
                        <a:pt x="1924437" y="788505"/>
                        <a:pt x="1932132" y="775093"/>
                        <a:pt x="1935821" y="791091"/>
                      </a:cubicBezTo>
                      <a:cubicBezTo>
                        <a:pt x="1936467" y="793918"/>
                        <a:pt x="1934515" y="802120"/>
                        <a:pt x="1936036" y="804047"/>
                      </a:cubicBezTo>
                      <a:cubicBezTo>
                        <a:pt x="1941056" y="810448"/>
                        <a:pt x="1954176" y="801359"/>
                        <a:pt x="1957802" y="800763"/>
                      </a:cubicBezTo>
                      <a:cubicBezTo>
                        <a:pt x="1961250" y="800193"/>
                        <a:pt x="1970123" y="800307"/>
                        <a:pt x="1974066" y="801359"/>
                      </a:cubicBezTo>
                      <a:cubicBezTo>
                        <a:pt x="1980455" y="803045"/>
                        <a:pt x="1983877" y="807799"/>
                        <a:pt x="1990875" y="807685"/>
                      </a:cubicBezTo>
                      <a:cubicBezTo>
                        <a:pt x="1994044" y="807647"/>
                        <a:pt x="1997162" y="804490"/>
                        <a:pt x="2000344" y="804072"/>
                      </a:cubicBezTo>
                      <a:cubicBezTo>
                        <a:pt x="2005072" y="803464"/>
                        <a:pt x="2011183" y="806430"/>
                        <a:pt x="2014783" y="805847"/>
                      </a:cubicBezTo>
                      <a:cubicBezTo>
                        <a:pt x="2016646" y="805555"/>
                        <a:pt x="2026775" y="800472"/>
                        <a:pt x="2028220" y="798887"/>
                      </a:cubicBezTo>
                      <a:cubicBezTo>
                        <a:pt x="2030540" y="796352"/>
                        <a:pt x="2028156" y="791002"/>
                        <a:pt x="2030768" y="789532"/>
                      </a:cubicBezTo>
                      <a:cubicBezTo>
                        <a:pt x="2038031" y="785488"/>
                        <a:pt x="2047044" y="792929"/>
                        <a:pt x="2054917" y="788214"/>
                      </a:cubicBezTo>
                      <a:cubicBezTo>
                        <a:pt x="2057997" y="786388"/>
                        <a:pt x="2057845" y="780988"/>
                        <a:pt x="2060380" y="779530"/>
                      </a:cubicBezTo>
                      <a:cubicBezTo>
                        <a:pt x="2061965" y="778630"/>
                        <a:pt x="2063752" y="780684"/>
                        <a:pt x="2065248" y="780151"/>
                      </a:cubicBezTo>
                      <a:cubicBezTo>
                        <a:pt x="2078964" y="775436"/>
                        <a:pt x="2094404" y="784474"/>
                        <a:pt x="2106218" y="790660"/>
                      </a:cubicBezTo>
                      <a:cubicBezTo>
                        <a:pt x="2111593" y="793462"/>
                        <a:pt x="2114205" y="791953"/>
                        <a:pt x="2118743" y="797721"/>
                      </a:cubicBezTo>
                      <a:cubicBezTo>
                        <a:pt x="2121228" y="800878"/>
                        <a:pt x="2120758" y="804972"/>
                        <a:pt x="2123180" y="807824"/>
                      </a:cubicBezTo>
                      <a:cubicBezTo>
                        <a:pt x="2125690" y="810791"/>
                        <a:pt x="2129873" y="811589"/>
                        <a:pt x="2132522" y="814340"/>
                      </a:cubicBezTo>
                      <a:cubicBezTo>
                        <a:pt x="2141700" y="823873"/>
                        <a:pt x="2138087" y="833583"/>
                        <a:pt x="2143842" y="844523"/>
                      </a:cubicBezTo>
                      <a:cubicBezTo>
                        <a:pt x="2149243" y="854803"/>
                        <a:pt x="2151043" y="853396"/>
                        <a:pt x="2162198" y="854803"/>
                      </a:cubicBezTo>
                      <a:cubicBezTo>
                        <a:pt x="2166419" y="855336"/>
                        <a:pt x="2172200" y="858606"/>
                        <a:pt x="2176079" y="860115"/>
                      </a:cubicBezTo>
                      <a:cubicBezTo>
                        <a:pt x="2180579" y="861877"/>
                        <a:pt x="2184445" y="866542"/>
                        <a:pt x="2187969" y="867759"/>
                      </a:cubicBezTo>
                      <a:cubicBezTo>
                        <a:pt x="2192482" y="869293"/>
                        <a:pt x="2200481" y="864704"/>
                        <a:pt x="2201952" y="874300"/>
                      </a:cubicBezTo>
                      <a:cubicBezTo>
                        <a:pt x="2202129" y="875352"/>
                        <a:pt x="2194561" y="877342"/>
                        <a:pt x="2196551" y="884416"/>
                      </a:cubicBezTo>
                      <a:cubicBezTo>
                        <a:pt x="2197097" y="886368"/>
                        <a:pt x="2202940" y="886774"/>
                        <a:pt x="2204626" y="888726"/>
                      </a:cubicBezTo>
                      <a:cubicBezTo>
                        <a:pt x="2206135" y="890501"/>
                        <a:pt x="2205159" y="893530"/>
                        <a:pt x="2206553" y="895584"/>
                      </a:cubicBezTo>
                      <a:cubicBezTo>
                        <a:pt x="2209165" y="899336"/>
                        <a:pt x="2213905" y="912393"/>
                        <a:pt x="2216377" y="914104"/>
                      </a:cubicBezTo>
                      <a:cubicBezTo>
                        <a:pt x="2221435" y="917616"/>
                        <a:pt x="2238130" y="911404"/>
                        <a:pt x="2243455" y="912241"/>
                      </a:cubicBezTo>
                      <a:cubicBezTo>
                        <a:pt x="2246941" y="912799"/>
                        <a:pt x="2245825" y="916424"/>
                        <a:pt x="2248436" y="917147"/>
                      </a:cubicBezTo>
                      <a:cubicBezTo>
                        <a:pt x="2250807" y="917818"/>
                        <a:pt x="2252531" y="915841"/>
                        <a:pt x="2254737" y="916399"/>
                      </a:cubicBezTo>
                      <a:cubicBezTo>
                        <a:pt x="2256740" y="916906"/>
                        <a:pt x="2257817" y="919644"/>
                        <a:pt x="2259719" y="919885"/>
                      </a:cubicBezTo>
                      <a:cubicBezTo>
                        <a:pt x="2261265" y="920075"/>
                        <a:pt x="2264269" y="916272"/>
                        <a:pt x="2265753" y="917223"/>
                      </a:cubicBezTo>
                      <a:cubicBezTo>
                        <a:pt x="2271013" y="920582"/>
                        <a:pt x="2267464" y="922319"/>
                        <a:pt x="2273003" y="924499"/>
                      </a:cubicBezTo>
                      <a:cubicBezTo>
                        <a:pt x="2277466" y="926274"/>
                        <a:pt x="2281193" y="916880"/>
                        <a:pt x="2286948" y="926882"/>
                      </a:cubicBezTo>
                      <a:cubicBezTo>
                        <a:pt x="2295720" y="916538"/>
                        <a:pt x="2305417" y="906498"/>
                        <a:pt x="2314874" y="900249"/>
                      </a:cubicBezTo>
                      <a:cubicBezTo>
                        <a:pt x="2320160" y="896788"/>
                        <a:pt x="2317878" y="894316"/>
                        <a:pt x="2325611" y="896813"/>
                      </a:cubicBezTo>
                      <a:cubicBezTo>
                        <a:pt x="2330859" y="898525"/>
                        <a:pt x="2328565" y="898702"/>
                        <a:pt x="2331189" y="904736"/>
                      </a:cubicBezTo>
                      <a:cubicBezTo>
                        <a:pt x="2326232" y="907766"/>
                        <a:pt x="2313885" y="910035"/>
                        <a:pt x="2319590" y="917831"/>
                      </a:cubicBezTo>
                      <a:cubicBezTo>
                        <a:pt x="2321681" y="920683"/>
                        <a:pt x="2327361" y="917426"/>
                        <a:pt x="2330606" y="919897"/>
                      </a:cubicBezTo>
                      <a:cubicBezTo>
                        <a:pt x="2335879" y="923941"/>
                        <a:pt x="2331290" y="925146"/>
                        <a:pt x="2334041" y="928150"/>
                      </a:cubicBezTo>
                      <a:cubicBezTo>
                        <a:pt x="2336437" y="930799"/>
                        <a:pt x="2340582" y="931205"/>
                        <a:pt x="2342775" y="933842"/>
                      </a:cubicBezTo>
                      <a:cubicBezTo>
                        <a:pt x="2342598" y="933639"/>
                        <a:pt x="2342484" y="938823"/>
                        <a:pt x="2344043" y="940966"/>
                      </a:cubicBezTo>
                      <a:cubicBezTo>
                        <a:pt x="2350761" y="950270"/>
                        <a:pt x="2354514" y="944350"/>
                        <a:pt x="2363374" y="948927"/>
                      </a:cubicBezTo>
                      <a:cubicBezTo>
                        <a:pt x="2372742" y="953807"/>
                        <a:pt x="2367494" y="964734"/>
                        <a:pt x="2380171" y="963872"/>
                      </a:cubicBezTo>
                      <a:cubicBezTo>
                        <a:pt x="2383593" y="963631"/>
                        <a:pt x="2383074" y="960183"/>
                        <a:pt x="2385178" y="959474"/>
                      </a:cubicBezTo>
                      <a:cubicBezTo>
                        <a:pt x="2390325" y="957724"/>
                        <a:pt x="2397157" y="956469"/>
                        <a:pt x="2402684" y="955683"/>
                      </a:cubicBezTo>
                      <a:cubicBezTo>
                        <a:pt x="2411456" y="954454"/>
                        <a:pt x="2422739" y="956533"/>
                        <a:pt x="2428899" y="947849"/>
                      </a:cubicBezTo>
                      <a:cubicBezTo>
                        <a:pt x="2433108" y="941891"/>
                        <a:pt x="2428126" y="933994"/>
                        <a:pt x="2435086" y="928492"/>
                      </a:cubicBezTo>
                      <a:cubicBezTo>
                        <a:pt x="2447927" y="918313"/>
                        <a:pt x="2472963" y="928708"/>
                        <a:pt x="2486058" y="929494"/>
                      </a:cubicBezTo>
                      <a:cubicBezTo>
                        <a:pt x="2477565" y="911949"/>
                        <a:pt x="2492599" y="926895"/>
                        <a:pt x="2495185" y="927402"/>
                      </a:cubicBezTo>
                      <a:cubicBezTo>
                        <a:pt x="2512704" y="930837"/>
                        <a:pt x="2506974" y="912710"/>
                        <a:pt x="2514200" y="911036"/>
                      </a:cubicBezTo>
                      <a:cubicBezTo>
                        <a:pt x="2515657" y="910707"/>
                        <a:pt x="2520018" y="915739"/>
                        <a:pt x="2523061" y="915511"/>
                      </a:cubicBezTo>
                      <a:cubicBezTo>
                        <a:pt x="2525089" y="915359"/>
                        <a:pt x="2525431" y="911556"/>
                        <a:pt x="2527016" y="911113"/>
                      </a:cubicBezTo>
                      <a:cubicBezTo>
                        <a:pt x="2530362" y="910149"/>
                        <a:pt x="2541404" y="907005"/>
                        <a:pt x="2543812" y="904495"/>
                      </a:cubicBezTo>
                      <a:cubicBezTo>
                        <a:pt x="2551976" y="896053"/>
                        <a:pt x="2537334" y="897080"/>
                        <a:pt x="2541353" y="887484"/>
                      </a:cubicBezTo>
                      <a:cubicBezTo>
                        <a:pt x="2544915" y="878914"/>
                        <a:pt x="2552255" y="883402"/>
                        <a:pt x="2559937" y="880955"/>
                      </a:cubicBezTo>
                      <a:cubicBezTo>
                        <a:pt x="2567175" y="878635"/>
                        <a:pt x="2565781" y="875961"/>
                        <a:pt x="2569545" y="872551"/>
                      </a:cubicBezTo>
                      <a:cubicBezTo>
                        <a:pt x="2576606" y="866212"/>
                        <a:pt x="2589904" y="860939"/>
                        <a:pt x="2600286" y="857732"/>
                      </a:cubicBezTo>
                      <a:cubicBezTo>
                        <a:pt x="2605306" y="856185"/>
                        <a:pt x="2613165" y="857466"/>
                        <a:pt x="2617374" y="855691"/>
                      </a:cubicBezTo>
                      <a:cubicBezTo>
                        <a:pt x="2623053" y="853282"/>
                        <a:pt x="2620949" y="849986"/>
                        <a:pt x="2624663" y="846805"/>
                      </a:cubicBezTo>
                      <a:cubicBezTo>
                        <a:pt x="2634259" y="838590"/>
                        <a:pt x="2650168" y="832277"/>
                        <a:pt x="2662921" y="830579"/>
                      </a:cubicBezTo>
                      <a:cubicBezTo>
                        <a:pt x="2669170" y="829755"/>
                        <a:pt x="2671072" y="830528"/>
                        <a:pt x="2675737" y="828462"/>
                      </a:cubicBezTo>
                      <a:cubicBezTo>
                        <a:pt x="2678145" y="827410"/>
                        <a:pt x="2684978" y="821832"/>
                        <a:pt x="2688020" y="819601"/>
                      </a:cubicBezTo>
                      <a:cubicBezTo>
                        <a:pt x="2695715" y="813922"/>
                        <a:pt x="2696970" y="807989"/>
                        <a:pt x="2708835" y="807457"/>
                      </a:cubicBezTo>
                      <a:cubicBezTo>
                        <a:pt x="2716847" y="807076"/>
                        <a:pt x="2726075" y="812375"/>
                        <a:pt x="2733567" y="807114"/>
                      </a:cubicBezTo>
                      <a:cubicBezTo>
                        <a:pt x="2741224" y="801740"/>
                        <a:pt x="2736571" y="789900"/>
                        <a:pt x="2747017" y="793487"/>
                      </a:cubicBezTo>
                      <a:cubicBezTo>
                        <a:pt x="2748677" y="794058"/>
                        <a:pt x="2756258" y="803413"/>
                        <a:pt x="2759503" y="805226"/>
                      </a:cubicBezTo>
                      <a:cubicBezTo>
                        <a:pt x="2764548" y="808052"/>
                        <a:pt x="2763395" y="811386"/>
                        <a:pt x="2769657" y="809307"/>
                      </a:cubicBezTo>
                      <a:cubicBezTo>
                        <a:pt x="2774119" y="807812"/>
                        <a:pt x="2772040" y="801778"/>
                        <a:pt x="2776363" y="799597"/>
                      </a:cubicBezTo>
                      <a:cubicBezTo>
                        <a:pt x="2787239" y="794197"/>
                        <a:pt x="2786314" y="802551"/>
                        <a:pt x="2789331" y="807469"/>
                      </a:cubicBezTo>
                      <a:cubicBezTo>
                        <a:pt x="2793780" y="814657"/>
                        <a:pt x="2790485" y="814847"/>
                        <a:pt x="2799105" y="817788"/>
                      </a:cubicBezTo>
                      <a:cubicBezTo>
                        <a:pt x="2805519" y="819968"/>
                        <a:pt x="2815457" y="816368"/>
                        <a:pt x="2821935" y="816837"/>
                      </a:cubicBezTo>
                      <a:cubicBezTo>
                        <a:pt x="2832368" y="817573"/>
                        <a:pt x="2842801" y="819613"/>
                        <a:pt x="2853563" y="820006"/>
                      </a:cubicBezTo>
                      <a:cubicBezTo>
                        <a:pt x="2860789" y="820273"/>
                        <a:pt x="2875975" y="817623"/>
                        <a:pt x="2881819" y="821046"/>
                      </a:cubicBezTo>
                      <a:cubicBezTo>
                        <a:pt x="2891897" y="826928"/>
                        <a:pt x="2886192" y="842127"/>
                        <a:pt x="2890731" y="851495"/>
                      </a:cubicBezTo>
                      <a:cubicBezTo>
                        <a:pt x="2893786" y="857846"/>
                        <a:pt x="2896156" y="855729"/>
                        <a:pt x="2900986" y="860381"/>
                      </a:cubicBezTo>
                      <a:cubicBezTo>
                        <a:pt x="2903585" y="862929"/>
                        <a:pt x="2905549" y="871055"/>
                        <a:pt x="2909124" y="872741"/>
                      </a:cubicBezTo>
                      <a:cubicBezTo>
                        <a:pt x="2914030" y="875061"/>
                        <a:pt x="2919608" y="871790"/>
                        <a:pt x="2925223" y="871435"/>
                      </a:cubicBezTo>
                      <a:cubicBezTo>
                        <a:pt x="2937076" y="870687"/>
                        <a:pt x="2932563" y="874135"/>
                        <a:pt x="2940093" y="877292"/>
                      </a:cubicBezTo>
                      <a:cubicBezTo>
                        <a:pt x="2948282" y="880740"/>
                        <a:pt x="2955850" y="878230"/>
                        <a:pt x="2964926" y="880473"/>
                      </a:cubicBezTo>
                      <a:cubicBezTo>
                        <a:pt x="2968362" y="881335"/>
                        <a:pt x="2972317" y="885874"/>
                        <a:pt x="2975384" y="886165"/>
                      </a:cubicBezTo>
                      <a:cubicBezTo>
                        <a:pt x="2983282" y="886888"/>
                        <a:pt x="2993664" y="872880"/>
                        <a:pt x="3001878" y="873844"/>
                      </a:cubicBezTo>
                      <a:cubicBezTo>
                        <a:pt x="3006518" y="874401"/>
                        <a:pt x="3005364" y="880131"/>
                        <a:pt x="3010131" y="880778"/>
                      </a:cubicBezTo>
                      <a:cubicBezTo>
                        <a:pt x="3010942" y="880879"/>
                        <a:pt x="3016811" y="876277"/>
                        <a:pt x="3019486" y="876151"/>
                      </a:cubicBezTo>
                      <a:cubicBezTo>
                        <a:pt x="3026509" y="875821"/>
                        <a:pt x="3031909" y="884745"/>
                        <a:pt x="3038006" y="885848"/>
                      </a:cubicBezTo>
                      <a:cubicBezTo>
                        <a:pt x="3042316" y="886609"/>
                        <a:pt x="3045004" y="882489"/>
                        <a:pt x="3048718" y="882971"/>
                      </a:cubicBezTo>
                      <a:cubicBezTo>
                        <a:pt x="3052952" y="883528"/>
                        <a:pt x="3053269" y="888929"/>
                        <a:pt x="3056413" y="889081"/>
                      </a:cubicBezTo>
                      <a:cubicBezTo>
                        <a:pt x="3059392" y="889233"/>
                        <a:pt x="3060926" y="884479"/>
                        <a:pt x="3063410" y="884200"/>
                      </a:cubicBezTo>
                      <a:cubicBezTo>
                        <a:pt x="3066592" y="883845"/>
                        <a:pt x="3069482" y="884695"/>
                        <a:pt x="3072778" y="884758"/>
                      </a:cubicBezTo>
                      <a:cubicBezTo>
                        <a:pt x="3088522" y="885113"/>
                        <a:pt x="3090183" y="897105"/>
                        <a:pt x="3102238" y="900895"/>
                      </a:cubicBezTo>
                      <a:cubicBezTo>
                        <a:pt x="3109147" y="903038"/>
                        <a:pt x="3114674" y="900414"/>
                        <a:pt x="3120518" y="896725"/>
                      </a:cubicBezTo>
                      <a:cubicBezTo>
                        <a:pt x="3123750" y="894646"/>
                        <a:pt x="3126679" y="892833"/>
                        <a:pt x="3129366" y="890108"/>
                      </a:cubicBezTo>
                      <a:cubicBezTo>
                        <a:pt x="3130735" y="888688"/>
                        <a:pt x="3128466" y="884416"/>
                        <a:pt x="3128745" y="884200"/>
                      </a:cubicBezTo>
                      <a:cubicBezTo>
                        <a:pt x="3132345" y="880892"/>
                        <a:pt x="3140053" y="880689"/>
                        <a:pt x="3144616" y="879700"/>
                      </a:cubicBezTo>
                      <a:cubicBezTo>
                        <a:pt x="3145579" y="879485"/>
                        <a:pt x="3147341" y="882755"/>
                        <a:pt x="3149535" y="882261"/>
                      </a:cubicBezTo>
                      <a:cubicBezTo>
                        <a:pt x="3150992" y="881919"/>
                        <a:pt x="3153984" y="878090"/>
                        <a:pt x="3155708" y="877279"/>
                      </a:cubicBezTo>
                      <a:cubicBezTo>
                        <a:pt x="3171161" y="870231"/>
                        <a:pt x="3176966" y="856984"/>
                        <a:pt x="3180617" y="841759"/>
                      </a:cubicBezTo>
                      <a:cubicBezTo>
                        <a:pt x="3184319" y="826294"/>
                        <a:pt x="3183571" y="827587"/>
                        <a:pt x="3172023" y="820780"/>
                      </a:cubicBezTo>
                      <a:cubicBezTo>
                        <a:pt x="3165482" y="816939"/>
                        <a:pt x="3160855" y="813795"/>
                        <a:pt x="3159080" y="805631"/>
                      </a:cubicBezTo>
                      <a:cubicBezTo>
                        <a:pt x="3157736" y="799432"/>
                        <a:pt x="3159435" y="796124"/>
                        <a:pt x="3157521" y="792169"/>
                      </a:cubicBezTo>
                      <a:cubicBezTo>
                        <a:pt x="3155100" y="787123"/>
                        <a:pt x="3147506" y="786477"/>
                        <a:pt x="3146606" y="780291"/>
                      </a:cubicBezTo>
                      <a:cubicBezTo>
                        <a:pt x="3146074" y="776298"/>
                        <a:pt x="3152146" y="767893"/>
                        <a:pt x="3153363" y="763254"/>
                      </a:cubicBezTo>
                      <a:cubicBezTo>
                        <a:pt x="3155721" y="754532"/>
                        <a:pt x="3154808" y="741551"/>
                        <a:pt x="3163517" y="734960"/>
                      </a:cubicBezTo>
                      <a:cubicBezTo>
                        <a:pt x="3167079" y="732272"/>
                        <a:pt x="3176168" y="733451"/>
                        <a:pt x="3177727" y="731879"/>
                      </a:cubicBezTo>
                      <a:cubicBezTo>
                        <a:pt x="3179514" y="730003"/>
                        <a:pt x="3178285" y="721966"/>
                        <a:pt x="3179438" y="718746"/>
                      </a:cubicBezTo>
                      <a:cubicBezTo>
                        <a:pt x="3185219" y="702444"/>
                        <a:pt x="3203625" y="708009"/>
                        <a:pt x="3213513" y="696347"/>
                      </a:cubicBezTo>
                      <a:cubicBezTo>
                        <a:pt x="3217633" y="691454"/>
                        <a:pt x="3222272" y="669143"/>
                        <a:pt x="3228091" y="668383"/>
                      </a:cubicBezTo>
                      <a:cubicBezTo>
                        <a:pt x="3232021" y="667875"/>
                        <a:pt x="3234201" y="674962"/>
                        <a:pt x="3237319" y="676901"/>
                      </a:cubicBezTo>
                      <a:cubicBezTo>
                        <a:pt x="3241287" y="679411"/>
                        <a:pt x="3249945" y="682187"/>
                        <a:pt x="3254509" y="684215"/>
                      </a:cubicBezTo>
                      <a:cubicBezTo>
                        <a:pt x="3267312" y="689920"/>
                        <a:pt x="3282765" y="690161"/>
                        <a:pt x="3294262" y="698515"/>
                      </a:cubicBezTo>
                      <a:cubicBezTo>
                        <a:pt x="3310640" y="710405"/>
                        <a:pt x="3323621" y="705588"/>
                        <a:pt x="3343346" y="708060"/>
                      </a:cubicBezTo>
                      <a:cubicBezTo>
                        <a:pt x="3360510" y="710202"/>
                        <a:pt x="3376368" y="721408"/>
                        <a:pt x="3392201" y="727683"/>
                      </a:cubicBezTo>
                      <a:cubicBezTo>
                        <a:pt x="3394813" y="728723"/>
                        <a:pt x="3397918" y="727595"/>
                        <a:pt x="3400517" y="728697"/>
                      </a:cubicBezTo>
                      <a:cubicBezTo>
                        <a:pt x="3403243" y="729851"/>
                        <a:pt x="3404675" y="733844"/>
                        <a:pt x="3407540" y="734503"/>
                      </a:cubicBezTo>
                      <a:cubicBezTo>
                        <a:pt x="3412813" y="735707"/>
                        <a:pt x="3418441" y="732830"/>
                        <a:pt x="3424006" y="732919"/>
                      </a:cubicBezTo>
                      <a:cubicBezTo>
                        <a:pt x="3433945" y="733083"/>
                        <a:pt x="3452643" y="737774"/>
                        <a:pt x="3461339" y="741957"/>
                      </a:cubicBezTo>
                      <a:cubicBezTo>
                        <a:pt x="3473990" y="748029"/>
                        <a:pt x="3467829" y="751629"/>
                        <a:pt x="3467690" y="762506"/>
                      </a:cubicBezTo>
                      <a:cubicBezTo>
                        <a:pt x="3467576" y="770390"/>
                        <a:pt x="3470872" y="772799"/>
                        <a:pt x="3472951" y="779657"/>
                      </a:cubicBezTo>
                      <a:cubicBezTo>
                        <a:pt x="3474358" y="784284"/>
                        <a:pt x="3471620" y="788911"/>
                        <a:pt x="3472355" y="792879"/>
                      </a:cubicBezTo>
                      <a:cubicBezTo>
                        <a:pt x="3473534" y="799242"/>
                        <a:pt x="3479707" y="800548"/>
                        <a:pt x="3480949" y="806202"/>
                      </a:cubicBezTo>
                      <a:cubicBezTo>
                        <a:pt x="3481862" y="810309"/>
                        <a:pt x="3475397" y="812844"/>
                        <a:pt x="3477527" y="818485"/>
                      </a:cubicBezTo>
                      <a:cubicBezTo>
                        <a:pt x="3480341" y="825838"/>
                        <a:pt x="3488593" y="822973"/>
                        <a:pt x="3493930" y="826522"/>
                      </a:cubicBezTo>
                      <a:cubicBezTo>
                        <a:pt x="3499609" y="830312"/>
                        <a:pt x="3501536" y="834724"/>
                        <a:pt x="3507697" y="838210"/>
                      </a:cubicBezTo>
                      <a:cubicBezTo>
                        <a:pt x="3514276" y="841987"/>
                        <a:pt x="3522909" y="845803"/>
                        <a:pt x="3530604" y="846830"/>
                      </a:cubicBezTo>
                      <a:cubicBezTo>
                        <a:pt x="3534914" y="847400"/>
                        <a:pt x="3540123" y="844155"/>
                        <a:pt x="3544320" y="846538"/>
                      </a:cubicBezTo>
                      <a:cubicBezTo>
                        <a:pt x="3547248" y="848174"/>
                        <a:pt x="3547159" y="853510"/>
                        <a:pt x="3549365" y="854791"/>
                      </a:cubicBezTo>
                      <a:cubicBezTo>
                        <a:pt x="3554410" y="857719"/>
                        <a:pt x="3559785" y="856527"/>
                        <a:pt x="3565667" y="858036"/>
                      </a:cubicBezTo>
                      <a:cubicBezTo>
                        <a:pt x="3569355" y="858987"/>
                        <a:pt x="3572069" y="862549"/>
                        <a:pt x="3576214" y="862714"/>
                      </a:cubicBezTo>
                      <a:cubicBezTo>
                        <a:pt x="3581145" y="862891"/>
                        <a:pt x="3583021" y="858911"/>
                        <a:pt x="3587154" y="858366"/>
                      </a:cubicBezTo>
                      <a:cubicBezTo>
                        <a:pt x="3596255" y="857149"/>
                        <a:pt x="3604318" y="863855"/>
                        <a:pt x="3613749" y="861142"/>
                      </a:cubicBezTo>
                      <a:cubicBezTo>
                        <a:pt x="3620632" y="859164"/>
                        <a:pt x="3623852" y="853320"/>
                        <a:pt x="3629747" y="849733"/>
                      </a:cubicBezTo>
                      <a:cubicBezTo>
                        <a:pt x="3639660" y="843711"/>
                        <a:pt x="3652235" y="844650"/>
                        <a:pt x="3662921" y="841506"/>
                      </a:cubicBezTo>
                      <a:cubicBezTo>
                        <a:pt x="3674584" y="838070"/>
                        <a:pt x="3683799" y="836600"/>
                        <a:pt x="3694942" y="832353"/>
                      </a:cubicBezTo>
                      <a:cubicBezTo>
                        <a:pt x="3707720" y="827536"/>
                        <a:pt x="3725949" y="833849"/>
                        <a:pt x="3739880" y="835256"/>
                      </a:cubicBezTo>
                      <a:cubicBezTo>
                        <a:pt x="3752252" y="836499"/>
                        <a:pt x="3756094" y="845436"/>
                        <a:pt x="3767186" y="846614"/>
                      </a:cubicBezTo>
                      <a:cubicBezTo>
                        <a:pt x="3782144" y="848199"/>
                        <a:pt x="3794998" y="839693"/>
                        <a:pt x="3810413" y="847274"/>
                      </a:cubicBezTo>
                      <a:cubicBezTo>
                        <a:pt x="3822341" y="853181"/>
                        <a:pt x="3824344" y="862042"/>
                        <a:pt x="3832647" y="869559"/>
                      </a:cubicBezTo>
                      <a:cubicBezTo>
                        <a:pt x="3840836" y="876949"/>
                        <a:pt x="3854146" y="877647"/>
                        <a:pt x="3864579" y="877862"/>
                      </a:cubicBezTo>
                      <a:cubicBezTo>
                        <a:pt x="3872591" y="878014"/>
                        <a:pt x="3893140" y="878230"/>
                        <a:pt x="3896866" y="884695"/>
                      </a:cubicBezTo>
                      <a:cubicBezTo>
                        <a:pt x="3897373" y="885582"/>
                        <a:pt x="3896511" y="897409"/>
                        <a:pt x="3896968" y="899881"/>
                      </a:cubicBezTo>
                      <a:cubicBezTo>
                        <a:pt x="3897450" y="902480"/>
                        <a:pt x="3894217" y="904419"/>
                        <a:pt x="3894901" y="907005"/>
                      </a:cubicBezTo>
                      <a:cubicBezTo>
                        <a:pt x="3895358" y="908704"/>
                        <a:pt x="3899490" y="907221"/>
                        <a:pt x="3899731" y="907690"/>
                      </a:cubicBezTo>
                      <a:cubicBezTo>
                        <a:pt x="3904396" y="916373"/>
                        <a:pt x="3910227" y="916564"/>
                        <a:pt x="3919380" y="922357"/>
                      </a:cubicBezTo>
                      <a:cubicBezTo>
                        <a:pt x="3925743" y="926388"/>
                        <a:pt x="3929483" y="935299"/>
                        <a:pt x="3937570" y="938405"/>
                      </a:cubicBezTo>
                      <a:cubicBezTo>
                        <a:pt x="3944429" y="941029"/>
                        <a:pt x="3950868" y="939014"/>
                        <a:pt x="3958132" y="938468"/>
                      </a:cubicBezTo>
                      <a:cubicBezTo>
                        <a:pt x="3970428" y="937556"/>
                        <a:pt x="3987504" y="936605"/>
                        <a:pt x="3999179" y="940180"/>
                      </a:cubicBezTo>
                      <a:cubicBezTo>
                        <a:pt x="4002500" y="941194"/>
                        <a:pt x="4007862" y="944667"/>
                        <a:pt x="4008952" y="944946"/>
                      </a:cubicBezTo>
                      <a:cubicBezTo>
                        <a:pt x="4015278" y="946670"/>
                        <a:pt x="4021515" y="944490"/>
                        <a:pt x="4028018" y="945567"/>
                      </a:cubicBezTo>
                      <a:cubicBezTo>
                        <a:pt x="4035547" y="946810"/>
                        <a:pt x="4043597" y="951259"/>
                        <a:pt x="4051621" y="953034"/>
                      </a:cubicBezTo>
                      <a:cubicBezTo>
                        <a:pt x="4061496" y="955227"/>
                        <a:pt x="4062295" y="953680"/>
                        <a:pt x="4070864" y="952286"/>
                      </a:cubicBezTo>
                      <a:cubicBezTo>
                        <a:pt x="4073666" y="951830"/>
                        <a:pt x="4073894" y="948179"/>
                        <a:pt x="4076543" y="948179"/>
                      </a:cubicBezTo>
                      <a:cubicBezTo>
                        <a:pt x="4076416" y="948179"/>
                        <a:pt x="4085240" y="953173"/>
                        <a:pt x="4085708" y="953401"/>
                      </a:cubicBezTo>
                      <a:cubicBezTo>
                        <a:pt x="4091844" y="956368"/>
                        <a:pt x="4095317" y="958371"/>
                        <a:pt x="4102125" y="957826"/>
                      </a:cubicBezTo>
                      <a:cubicBezTo>
                        <a:pt x="4118528" y="956533"/>
                        <a:pt x="4131788" y="938291"/>
                        <a:pt x="4146632" y="936428"/>
                      </a:cubicBezTo>
                      <a:cubicBezTo>
                        <a:pt x="4150587" y="935921"/>
                        <a:pt x="4153490" y="938659"/>
                        <a:pt x="4157458" y="938228"/>
                      </a:cubicBezTo>
                      <a:cubicBezTo>
                        <a:pt x="4163555" y="937568"/>
                        <a:pt x="4169767" y="933905"/>
                        <a:pt x="4176105" y="932916"/>
                      </a:cubicBezTo>
                      <a:cubicBezTo>
                        <a:pt x="4186943" y="931205"/>
                        <a:pt x="4195994" y="931978"/>
                        <a:pt x="4206377" y="928657"/>
                      </a:cubicBezTo>
                      <a:cubicBezTo>
                        <a:pt x="4215060" y="925893"/>
                        <a:pt x="4223642" y="920062"/>
                        <a:pt x="4232934" y="920214"/>
                      </a:cubicBezTo>
                      <a:cubicBezTo>
                        <a:pt x="4248957" y="920481"/>
                        <a:pt x="4252291" y="926109"/>
                        <a:pt x="4267617" y="915410"/>
                      </a:cubicBezTo>
                      <a:cubicBezTo>
                        <a:pt x="4269772" y="913901"/>
                        <a:pt x="4272561" y="915638"/>
                        <a:pt x="4274576" y="913585"/>
                      </a:cubicBezTo>
                      <a:cubicBezTo>
                        <a:pt x="4276174" y="911962"/>
                        <a:pt x="4274449" y="908907"/>
                        <a:pt x="4275628" y="907145"/>
                      </a:cubicBezTo>
                      <a:cubicBezTo>
                        <a:pt x="4278988" y="902049"/>
                        <a:pt x="4281054" y="896737"/>
                        <a:pt x="4285643" y="892478"/>
                      </a:cubicBezTo>
                      <a:cubicBezTo>
                        <a:pt x="4295378" y="883427"/>
                        <a:pt x="4311554" y="873400"/>
                        <a:pt x="4323989" y="868545"/>
                      </a:cubicBezTo>
                      <a:cubicBezTo>
                        <a:pt x="4331570" y="865566"/>
                        <a:pt x="4333116" y="866073"/>
                        <a:pt x="4341204" y="860533"/>
                      </a:cubicBezTo>
                      <a:cubicBezTo>
                        <a:pt x="4344893" y="857985"/>
                        <a:pt x="4350166" y="855019"/>
                        <a:pt x="4354236" y="853016"/>
                      </a:cubicBezTo>
                      <a:cubicBezTo>
                        <a:pt x="4364580" y="847869"/>
                        <a:pt x="4366443" y="851254"/>
                        <a:pt x="4376736" y="852560"/>
                      </a:cubicBezTo>
                      <a:cubicBezTo>
                        <a:pt x="4384545" y="853561"/>
                        <a:pt x="4391454" y="850620"/>
                        <a:pt x="4399351" y="852724"/>
                      </a:cubicBezTo>
                      <a:cubicBezTo>
                        <a:pt x="4416224" y="857212"/>
                        <a:pt x="4420572" y="868469"/>
                        <a:pt x="4433172" y="878116"/>
                      </a:cubicBezTo>
                      <a:cubicBezTo>
                        <a:pt x="4443808" y="886267"/>
                        <a:pt x="4459527" y="888916"/>
                        <a:pt x="4472723" y="886647"/>
                      </a:cubicBezTo>
                      <a:cubicBezTo>
                        <a:pt x="4481305" y="885151"/>
                        <a:pt x="4488695" y="877203"/>
                        <a:pt x="4497290" y="875162"/>
                      </a:cubicBezTo>
                      <a:cubicBezTo>
                        <a:pt x="4506379" y="873007"/>
                        <a:pt x="4513212" y="875910"/>
                        <a:pt x="4521857" y="878800"/>
                      </a:cubicBezTo>
                      <a:cubicBezTo>
                        <a:pt x="4539630" y="884745"/>
                        <a:pt x="4550595" y="898601"/>
                        <a:pt x="4568748" y="906283"/>
                      </a:cubicBezTo>
                      <a:cubicBezTo>
                        <a:pt x="4578521" y="910403"/>
                        <a:pt x="4586254" y="910453"/>
                        <a:pt x="4596243" y="912190"/>
                      </a:cubicBezTo>
                      <a:cubicBezTo>
                        <a:pt x="4605066" y="913724"/>
                        <a:pt x="4613280" y="921343"/>
                        <a:pt x="4621850" y="922179"/>
                      </a:cubicBezTo>
                      <a:cubicBezTo>
                        <a:pt x="4629582" y="922952"/>
                        <a:pt x="4634767" y="917590"/>
                        <a:pt x="4642221" y="913255"/>
                      </a:cubicBezTo>
                      <a:cubicBezTo>
                        <a:pt x="4656089" y="905193"/>
                        <a:pt x="4666382" y="893695"/>
                        <a:pt x="4678019" y="885620"/>
                      </a:cubicBezTo>
                      <a:cubicBezTo>
                        <a:pt x="4693700" y="874744"/>
                        <a:pt x="4724986" y="884302"/>
                        <a:pt x="4736040" y="867417"/>
                      </a:cubicBezTo>
                      <a:cubicBezTo>
                        <a:pt x="4738360" y="863867"/>
                        <a:pt x="4741136" y="847400"/>
                        <a:pt x="4740375" y="845905"/>
                      </a:cubicBezTo>
                      <a:cubicBezTo>
                        <a:pt x="4737726" y="840694"/>
                        <a:pt x="4728332" y="841087"/>
                        <a:pt x="4723249" y="838768"/>
                      </a:cubicBezTo>
                      <a:cubicBezTo>
                        <a:pt x="4730703" y="831466"/>
                        <a:pt x="4729853" y="829095"/>
                        <a:pt x="4734582" y="819804"/>
                      </a:cubicBezTo>
                      <a:cubicBezTo>
                        <a:pt x="4738600" y="811919"/>
                        <a:pt x="4747791" y="809802"/>
                        <a:pt x="4751277" y="800066"/>
                      </a:cubicBezTo>
                      <a:cubicBezTo>
                        <a:pt x="4752544" y="796580"/>
                        <a:pt x="4750694" y="792625"/>
                        <a:pt x="4752151" y="788987"/>
                      </a:cubicBezTo>
                      <a:cubicBezTo>
                        <a:pt x="4754661" y="782636"/>
                        <a:pt x="4761761" y="780735"/>
                        <a:pt x="4765918" y="775144"/>
                      </a:cubicBezTo>
                      <a:cubicBezTo>
                        <a:pt x="4770152" y="769402"/>
                        <a:pt x="4767985" y="758132"/>
                        <a:pt x="4773638" y="757879"/>
                      </a:cubicBezTo>
                      <a:cubicBezTo>
                        <a:pt x="4772168" y="749664"/>
                        <a:pt x="4783792" y="749462"/>
                        <a:pt x="4779583" y="741501"/>
                      </a:cubicBezTo>
                      <a:cubicBezTo>
                        <a:pt x="4785618" y="740601"/>
                        <a:pt x="4788533" y="728849"/>
                        <a:pt x="4791259" y="723906"/>
                      </a:cubicBezTo>
                      <a:cubicBezTo>
                        <a:pt x="4795860" y="715590"/>
                        <a:pt x="4796190" y="714626"/>
                        <a:pt x="4804480" y="708935"/>
                      </a:cubicBezTo>
                      <a:cubicBezTo>
                        <a:pt x="4816941" y="700365"/>
                        <a:pt x="4834410" y="691669"/>
                        <a:pt x="4839645" y="679969"/>
                      </a:cubicBezTo>
                      <a:cubicBezTo>
                        <a:pt x="4841115" y="676622"/>
                        <a:pt x="4845020" y="670157"/>
                        <a:pt x="4845260" y="665594"/>
                      </a:cubicBezTo>
                      <a:cubicBezTo>
                        <a:pt x="4845666" y="658546"/>
                        <a:pt x="4837249" y="656213"/>
                        <a:pt x="4835348" y="651066"/>
                      </a:cubicBezTo>
                      <a:cubicBezTo>
                        <a:pt x="4829935" y="636666"/>
                        <a:pt x="4851928" y="628223"/>
                        <a:pt x="4826246" y="621213"/>
                      </a:cubicBezTo>
                      <a:cubicBezTo>
                        <a:pt x="4816675" y="618589"/>
                        <a:pt x="4812314" y="622633"/>
                        <a:pt x="4802046" y="623001"/>
                      </a:cubicBezTo>
                      <a:cubicBezTo>
                        <a:pt x="4791563" y="623368"/>
                        <a:pt x="4791487" y="622709"/>
                        <a:pt x="4790688" y="613937"/>
                      </a:cubicBezTo>
                      <a:cubicBezTo>
                        <a:pt x="4789611" y="602465"/>
                        <a:pt x="4808397" y="594174"/>
                        <a:pt x="4817385" y="585212"/>
                      </a:cubicBezTo>
                      <a:cubicBezTo>
                        <a:pt x="4826271" y="576376"/>
                        <a:pt x="4836184" y="567997"/>
                        <a:pt x="4845666" y="560138"/>
                      </a:cubicBezTo>
                      <a:cubicBezTo>
                        <a:pt x="4854654" y="552697"/>
                        <a:pt x="4860510" y="556246"/>
                        <a:pt x="4873377" y="554813"/>
                      </a:cubicBezTo>
                      <a:cubicBezTo>
                        <a:pt x="4881414" y="553913"/>
                        <a:pt x="4891378" y="551556"/>
                        <a:pt x="4899174" y="549248"/>
                      </a:cubicBezTo>
                      <a:cubicBezTo>
                        <a:pt x="4907236" y="546878"/>
                        <a:pt x="4912763" y="542124"/>
                        <a:pt x="4921624" y="540565"/>
                      </a:cubicBezTo>
                      <a:cubicBezTo>
                        <a:pt x="4927785" y="539488"/>
                        <a:pt x="4934085" y="540375"/>
                        <a:pt x="4940220" y="539323"/>
                      </a:cubicBezTo>
                      <a:cubicBezTo>
                        <a:pt x="4947940" y="537992"/>
                        <a:pt x="4953911" y="534075"/>
                        <a:pt x="4961631" y="534366"/>
                      </a:cubicBezTo>
                      <a:cubicBezTo>
                        <a:pt x="4962417" y="534392"/>
                        <a:pt x="4968553" y="535659"/>
                        <a:pt x="4969909" y="535862"/>
                      </a:cubicBezTo>
                      <a:cubicBezTo>
                        <a:pt x="4977553" y="536940"/>
                        <a:pt x="4988100" y="536002"/>
                        <a:pt x="4995756" y="535000"/>
                      </a:cubicBezTo>
                      <a:cubicBezTo>
                        <a:pt x="5001980" y="534176"/>
                        <a:pt x="5011070" y="533149"/>
                        <a:pt x="5016939" y="531146"/>
                      </a:cubicBezTo>
                      <a:cubicBezTo>
                        <a:pt x="5018853" y="530487"/>
                        <a:pt x="5024177" y="527001"/>
                        <a:pt x="5025838" y="526760"/>
                      </a:cubicBezTo>
                      <a:cubicBezTo>
                        <a:pt x="5033368" y="525696"/>
                        <a:pt x="5037133" y="528003"/>
                        <a:pt x="5044675" y="530462"/>
                      </a:cubicBezTo>
                      <a:cubicBezTo>
                        <a:pt x="5047096" y="525556"/>
                        <a:pt x="5048909" y="525125"/>
                        <a:pt x="5047515" y="530272"/>
                      </a:cubicBezTo>
                      <a:cubicBezTo>
                        <a:pt x="5054094" y="525746"/>
                        <a:pt x="5064324" y="529638"/>
                        <a:pt x="5073907" y="533416"/>
                      </a:cubicBezTo>
                      <a:cubicBezTo>
                        <a:pt x="5079878" y="535761"/>
                        <a:pt x="5081437" y="540223"/>
                        <a:pt x="5086203" y="542555"/>
                      </a:cubicBezTo>
                      <a:cubicBezTo>
                        <a:pt x="5090906" y="544862"/>
                        <a:pt x="5092592" y="543950"/>
                        <a:pt x="5095584" y="544862"/>
                      </a:cubicBezTo>
                      <a:cubicBezTo>
                        <a:pt x="5104724" y="547613"/>
                        <a:pt x="5101301" y="548412"/>
                        <a:pt x="5108362" y="555054"/>
                      </a:cubicBezTo>
                      <a:cubicBezTo>
                        <a:pt x="5115600" y="561849"/>
                        <a:pt x="5124474" y="559998"/>
                        <a:pt x="5133208" y="562356"/>
                      </a:cubicBezTo>
                      <a:cubicBezTo>
                        <a:pt x="5136275" y="563167"/>
                        <a:pt x="5143755" y="572358"/>
                        <a:pt x="5148318" y="570976"/>
                      </a:cubicBezTo>
                      <a:cubicBezTo>
                        <a:pt x="5150004" y="570469"/>
                        <a:pt x="5147063" y="565411"/>
                        <a:pt x="5150169" y="563294"/>
                      </a:cubicBezTo>
                      <a:cubicBezTo>
                        <a:pt x="5154403" y="560429"/>
                        <a:pt x="5162009" y="560822"/>
                        <a:pt x="5166737" y="561836"/>
                      </a:cubicBezTo>
                      <a:cubicBezTo>
                        <a:pt x="5174381" y="563446"/>
                        <a:pt x="5182456" y="569797"/>
                        <a:pt x="5189656" y="572966"/>
                      </a:cubicBezTo>
                      <a:cubicBezTo>
                        <a:pt x="5192788" y="574373"/>
                        <a:pt x="5196869" y="575692"/>
                        <a:pt x="5198987" y="576769"/>
                      </a:cubicBezTo>
                      <a:cubicBezTo>
                        <a:pt x="5201420" y="578012"/>
                        <a:pt x="5207556" y="578012"/>
                        <a:pt x="5209166" y="582854"/>
                      </a:cubicBezTo>
                      <a:cubicBezTo>
                        <a:pt x="5210002" y="585402"/>
                        <a:pt x="5206972" y="589775"/>
                        <a:pt x="5206782" y="589205"/>
                      </a:cubicBezTo>
                      <a:cubicBezTo>
                        <a:pt x="5208177" y="593337"/>
                        <a:pt x="5202156" y="591588"/>
                        <a:pt x="5208088" y="594035"/>
                      </a:cubicBezTo>
                      <a:cubicBezTo>
                        <a:pt x="5211460" y="595429"/>
                        <a:pt x="5217076" y="591880"/>
                        <a:pt x="5220638" y="594009"/>
                      </a:cubicBezTo>
                      <a:cubicBezTo>
                        <a:pt x="5221994" y="594821"/>
                        <a:pt x="5226659" y="603707"/>
                        <a:pt x="5229765" y="605621"/>
                      </a:cubicBezTo>
                      <a:cubicBezTo>
                        <a:pt x="5231755" y="606851"/>
                        <a:pt x="5235254" y="601856"/>
                        <a:pt x="5238562" y="606622"/>
                      </a:cubicBezTo>
                      <a:cubicBezTo>
                        <a:pt x="5230640" y="608270"/>
                        <a:pt x="5237371" y="611085"/>
                        <a:pt x="5235343" y="614380"/>
                      </a:cubicBezTo>
                      <a:cubicBezTo>
                        <a:pt x="5234227" y="616244"/>
                        <a:pt x="5228954" y="614178"/>
                        <a:pt x="5229055" y="618272"/>
                      </a:cubicBezTo>
                      <a:cubicBezTo>
                        <a:pt x="5229309" y="628274"/>
                        <a:pt x="5236788" y="621809"/>
                        <a:pt x="5242644" y="626537"/>
                      </a:cubicBezTo>
                      <a:cubicBezTo>
                        <a:pt x="5247740" y="630682"/>
                        <a:pt x="5242911" y="631950"/>
                        <a:pt x="5245674" y="635094"/>
                      </a:cubicBezTo>
                      <a:cubicBezTo>
                        <a:pt x="5247385" y="637059"/>
                        <a:pt x="5250542" y="634283"/>
                        <a:pt x="5252481" y="637515"/>
                      </a:cubicBezTo>
                      <a:cubicBezTo>
                        <a:pt x="5257653" y="646072"/>
                        <a:pt x="5252240" y="651079"/>
                        <a:pt x="5263332" y="654033"/>
                      </a:cubicBezTo>
                      <a:cubicBezTo>
                        <a:pt x="5238791" y="659078"/>
                        <a:pt x="5270571" y="663933"/>
                        <a:pt x="5271851" y="669130"/>
                      </a:cubicBezTo>
                      <a:cubicBezTo>
                        <a:pt x="5275121" y="682276"/>
                        <a:pt x="5258718" y="673935"/>
                        <a:pt x="5268923" y="690959"/>
                      </a:cubicBezTo>
                      <a:cubicBezTo>
                        <a:pt x="5275400" y="701810"/>
                        <a:pt x="5281675" y="706970"/>
                        <a:pt x="5284439" y="715590"/>
                      </a:cubicBezTo>
                      <a:cubicBezTo>
                        <a:pt x="5285250" y="718214"/>
                        <a:pt x="5279698" y="720483"/>
                        <a:pt x="5280877" y="722638"/>
                      </a:cubicBezTo>
                      <a:cubicBezTo>
                        <a:pt x="5282144" y="724894"/>
                        <a:pt x="5287316" y="724032"/>
                        <a:pt x="5288077" y="725668"/>
                      </a:cubicBezTo>
                      <a:cubicBezTo>
                        <a:pt x="5287925" y="725351"/>
                        <a:pt x="5291931" y="731765"/>
                        <a:pt x="5291322" y="730916"/>
                      </a:cubicBezTo>
                      <a:cubicBezTo>
                        <a:pt x="5291347" y="730979"/>
                        <a:pt x="5288622" y="734744"/>
                        <a:pt x="5289319" y="735860"/>
                      </a:cubicBezTo>
                      <a:cubicBezTo>
                        <a:pt x="5291297" y="739105"/>
                        <a:pt x="5297724" y="737786"/>
                        <a:pt x="5298129" y="741513"/>
                      </a:cubicBezTo>
                      <a:cubicBezTo>
                        <a:pt x="5298586" y="745481"/>
                        <a:pt x="5291474" y="743554"/>
                        <a:pt x="5291145" y="747269"/>
                      </a:cubicBezTo>
                      <a:cubicBezTo>
                        <a:pt x="5289839" y="762151"/>
                        <a:pt x="5297673" y="747535"/>
                        <a:pt x="5298028" y="747560"/>
                      </a:cubicBezTo>
                      <a:cubicBezTo>
                        <a:pt x="5308081" y="748232"/>
                        <a:pt x="5297876" y="755673"/>
                        <a:pt x="5297927" y="763672"/>
                      </a:cubicBezTo>
                      <a:cubicBezTo>
                        <a:pt x="5298028" y="775917"/>
                        <a:pt x="5308740" y="779556"/>
                        <a:pt x="5315306" y="788087"/>
                      </a:cubicBezTo>
                      <a:cubicBezTo>
                        <a:pt x="5320998" y="795477"/>
                        <a:pt x="5322849" y="803349"/>
                        <a:pt x="5325917" y="809434"/>
                      </a:cubicBezTo>
                      <a:cubicBezTo>
                        <a:pt x="5327602" y="812743"/>
                        <a:pt x="5331532" y="815240"/>
                        <a:pt x="5331786" y="819208"/>
                      </a:cubicBezTo>
                      <a:cubicBezTo>
                        <a:pt x="5332115" y="823683"/>
                        <a:pt x="5327399" y="825204"/>
                        <a:pt x="5327247" y="829463"/>
                      </a:cubicBezTo>
                      <a:cubicBezTo>
                        <a:pt x="5327197" y="831010"/>
                        <a:pt x="5329960" y="837082"/>
                        <a:pt x="5331051" y="839566"/>
                      </a:cubicBezTo>
                      <a:cubicBezTo>
                        <a:pt x="5333231" y="844345"/>
                        <a:pt x="5329238" y="844497"/>
                        <a:pt x="5336527" y="849695"/>
                      </a:cubicBezTo>
                      <a:cubicBezTo>
                        <a:pt x="5343537" y="854702"/>
                        <a:pt x="5348050" y="851457"/>
                        <a:pt x="5347948" y="860305"/>
                      </a:cubicBezTo>
                      <a:cubicBezTo>
                        <a:pt x="5347897" y="865528"/>
                        <a:pt x="5341534" y="869749"/>
                        <a:pt x="5340989" y="875542"/>
                      </a:cubicBezTo>
                      <a:cubicBezTo>
                        <a:pt x="5340963" y="876151"/>
                        <a:pt x="5342497" y="887484"/>
                        <a:pt x="5342700" y="888016"/>
                      </a:cubicBezTo>
                      <a:cubicBezTo>
                        <a:pt x="5345641" y="895799"/>
                        <a:pt x="5346567" y="891553"/>
                        <a:pt x="5352296" y="897790"/>
                      </a:cubicBezTo>
                      <a:cubicBezTo>
                        <a:pt x="5357367" y="903253"/>
                        <a:pt x="5356746" y="911277"/>
                        <a:pt x="5365911" y="914028"/>
                      </a:cubicBezTo>
                      <a:cubicBezTo>
                        <a:pt x="5369587" y="915118"/>
                        <a:pt x="5374074" y="912976"/>
                        <a:pt x="5375913" y="913483"/>
                      </a:cubicBezTo>
                      <a:cubicBezTo>
                        <a:pt x="5379601" y="914485"/>
                        <a:pt x="5381135" y="918148"/>
                        <a:pt x="5384698" y="919086"/>
                      </a:cubicBezTo>
                      <a:cubicBezTo>
                        <a:pt x="5393609" y="921469"/>
                        <a:pt x="5400493" y="916728"/>
                        <a:pt x="5407046" y="915676"/>
                      </a:cubicBezTo>
                      <a:cubicBezTo>
                        <a:pt x="5413068" y="914713"/>
                        <a:pt x="5434250" y="910973"/>
                        <a:pt x="5437647" y="916449"/>
                      </a:cubicBezTo>
                      <a:cubicBezTo>
                        <a:pt x="5439688" y="919745"/>
                        <a:pt x="5433248" y="922598"/>
                        <a:pt x="5434275" y="923865"/>
                      </a:cubicBezTo>
                      <a:cubicBezTo>
                        <a:pt x="5438028" y="928429"/>
                        <a:pt x="5437711" y="923472"/>
                        <a:pt x="5442743" y="925171"/>
                      </a:cubicBezTo>
                      <a:cubicBezTo>
                        <a:pt x="5451997" y="928302"/>
                        <a:pt x="5455546" y="934932"/>
                        <a:pt x="5463292" y="936706"/>
                      </a:cubicBezTo>
                      <a:cubicBezTo>
                        <a:pt x="5459806" y="935895"/>
                        <a:pt x="5476400" y="935097"/>
                        <a:pt x="5473522" y="935844"/>
                      </a:cubicBezTo>
                      <a:cubicBezTo>
                        <a:pt x="5474219" y="935667"/>
                        <a:pt x="5476666" y="938545"/>
                        <a:pt x="5478694" y="938177"/>
                      </a:cubicBezTo>
                      <a:cubicBezTo>
                        <a:pt x="5481026" y="937733"/>
                        <a:pt x="5479530" y="932156"/>
                        <a:pt x="5480152" y="931978"/>
                      </a:cubicBezTo>
                      <a:cubicBezTo>
                        <a:pt x="5494108" y="927453"/>
                        <a:pt x="5485970" y="936935"/>
                        <a:pt x="5493411" y="943311"/>
                      </a:cubicBezTo>
                      <a:cubicBezTo>
                        <a:pt x="5496340" y="945796"/>
                        <a:pt x="5503730" y="946366"/>
                        <a:pt x="5506848" y="948204"/>
                      </a:cubicBezTo>
                      <a:cubicBezTo>
                        <a:pt x="5505872" y="947621"/>
                        <a:pt x="5514835" y="955290"/>
                        <a:pt x="5514683" y="955138"/>
                      </a:cubicBezTo>
                      <a:cubicBezTo>
                        <a:pt x="5516216" y="956723"/>
                        <a:pt x="5518638" y="961933"/>
                        <a:pt x="5520362" y="964176"/>
                      </a:cubicBezTo>
                      <a:cubicBezTo>
                        <a:pt x="5522200" y="966560"/>
                        <a:pt x="5523505" y="967777"/>
                        <a:pt x="5526320" y="970692"/>
                      </a:cubicBezTo>
                      <a:cubicBezTo>
                        <a:pt x="5539212" y="984028"/>
                        <a:pt x="5546361" y="980960"/>
                        <a:pt x="5561408" y="981759"/>
                      </a:cubicBezTo>
                      <a:cubicBezTo>
                        <a:pt x="5559025" y="981619"/>
                        <a:pt x="5574756" y="984877"/>
                        <a:pt x="5571892" y="983204"/>
                      </a:cubicBezTo>
                      <a:cubicBezTo>
                        <a:pt x="5576278" y="985752"/>
                        <a:pt x="5574731" y="980808"/>
                        <a:pt x="5575175" y="986944"/>
                      </a:cubicBezTo>
                      <a:cubicBezTo>
                        <a:pt x="5575631" y="993155"/>
                        <a:pt x="5565084" y="1000533"/>
                        <a:pt x="5565959" y="1007581"/>
                      </a:cubicBezTo>
                      <a:cubicBezTo>
                        <a:pt x="5566276" y="1010066"/>
                        <a:pt x="5570966" y="1010484"/>
                        <a:pt x="5572335" y="1012474"/>
                      </a:cubicBezTo>
                      <a:cubicBezTo>
                        <a:pt x="5573134" y="1013564"/>
                        <a:pt x="5570890" y="1016619"/>
                        <a:pt x="5572107" y="1017443"/>
                      </a:cubicBezTo>
                      <a:cubicBezTo>
                        <a:pt x="5570802" y="1016556"/>
                        <a:pt x="5578914" y="1022742"/>
                        <a:pt x="5576392" y="1019510"/>
                      </a:cubicBezTo>
                      <a:cubicBezTo>
                        <a:pt x="5576037" y="1019066"/>
                        <a:pt x="5581463" y="1018825"/>
                        <a:pt x="5582718" y="1020067"/>
                      </a:cubicBezTo>
                      <a:cubicBezTo>
                        <a:pt x="5583656" y="1021018"/>
                        <a:pt x="5580892" y="1023325"/>
                        <a:pt x="5581399" y="1023997"/>
                      </a:cubicBezTo>
                      <a:cubicBezTo>
                        <a:pt x="5586913" y="1031349"/>
                        <a:pt x="5587319" y="1035621"/>
                        <a:pt x="5583465" y="1042986"/>
                      </a:cubicBezTo>
                      <a:cubicBezTo>
                        <a:pt x="5576899" y="1055397"/>
                        <a:pt x="5572551" y="1055688"/>
                        <a:pt x="5585126" y="1067718"/>
                      </a:cubicBezTo>
                      <a:cubicBezTo>
                        <a:pt x="5591502" y="1073828"/>
                        <a:pt x="5592960" y="1077593"/>
                        <a:pt x="5596256" y="1085047"/>
                      </a:cubicBezTo>
                      <a:cubicBezTo>
                        <a:pt x="5598842" y="1090802"/>
                        <a:pt x="5594646" y="1092501"/>
                        <a:pt x="5602721" y="1095214"/>
                      </a:cubicBezTo>
                      <a:cubicBezTo>
                        <a:pt x="5612685" y="1098560"/>
                        <a:pt x="5623713" y="1086619"/>
                        <a:pt x="5634311" y="1089763"/>
                      </a:cubicBezTo>
                      <a:cubicBezTo>
                        <a:pt x="5638849" y="1091107"/>
                        <a:pt x="5640966" y="1095936"/>
                        <a:pt x="5645137" y="1097001"/>
                      </a:cubicBezTo>
                      <a:cubicBezTo>
                        <a:pt x="5647456" y="1097597"/>
                        <a:pt x="5656114" y="1095353"/>
                        <a:pt x="5659588" y="1095265"/>
                      </a:cubicBezTo>
                      <a:cubicBezTo>
                        <a:pt x="5667473" y="1095074"/>
                        <a:pt x="5674977" y="1095772"/>
                        <a:pt x="5683154" y="1094326"/>
                      </a:cubicBezTo>
                      <a:cubicBezTo>
                        <a:pt x="5688668" y="1093350"/>
                        <a:pt x="5693409" y="1090257"/>
                        <a:pt x="5698999" y="1089940"/>
                      </a:cubicBezTo>
                      <a:cubicBezTo>
                        <a:pt x="5703220" y="1089725"/>
                        <a:pt x="5707721" y="1093959"/>
                        <a:pt x="5711587" y="1092653"/>
                      </a:cubicBezTo>
                      <a:cubicBezTo>
                        <a:pt x="5717862" y="1090561"/>
                        <a:pt x="5719472" y="1081498"/>
                        <a:pt x="5724010" y="1075743"/>
                      </a:cubicBezTo>
                      <a:cubicBezTo>
                        <a:pt x="5726063" y="1073144"/>
                        <a:pt x="5721246" y="1071737"/>
                        <a:pt x="5725962" y="1069062"/>
                      </a:cubicBezTo>
                      <a:cubicBezTo>
                        <a:pt x="5727914" y="1067959"/>
                        <a:pt x="5732795" y="1070926"/>
                        <a:pt x="5736091" y="1069747"/>
                      </a:cubicBezTo>
                      <a:cubicBezTo>
                        <a:pt x="5743152" y="1067211"/>
                        <a:pt x="5749908" y="1057121"/>
                        <a:pt x="5757146" y="1054700"/>
                      </a:cubicBezTo>
                      <a:cubicBezTo>
                        <a:pt x="5766109" y="1051708"/>
                        <a:pt x="5774298" y="1058769"/>
                        <a:pt x="5782715" y="1056779"/>
                      </a:cubicBezTo>
                      <a:cubicBezTo>
                        <a:pt x="5790790" y="1054852"/>
                        <a:pt x="5793008" y="1048830"/>
                        <a:pt x="5799968" y="1044736"/>
                      </a:cubicBezTo>
                      <a:cubicBezTo>
                        <a:pt x="5806902" y="1040654"/>
                        <a:pt x="5817588" y="1037637"/>
                        <a:pt x="5825714" y="1034696"/>
                      </a:cubicBezTo>
                      <a:cubicBezTo>
                        <a:pt x="5832597" y="1032211"/>
                        <a:pt x="5842992" y="1029169"/>
                        <a:pt x="5850255" y="1029537"/>
                      </a:cubicBezTo>
                      <a:cubicBezTo>
                        <a:pt x="5855187" y="1029778"/>
                        <a:pt x="5856733" y="1035621"/>
                        <a:pt x="5862362" y="1031654"/>
                      </a:cubicBezTo>
                      <a:cubicBezTo>
                        <a:pt x="5864453" y="1037117"/>
                        <a:pt x="5869498" y="1040857"/>
                        <a:pt x="5875418" y="1040489"/>
                      </a:cubicBezTo>
                      <a:cubicBezTo>
                        <a:pt x="5872515" y="1044039"/>
                        <a:pt x="5874671" y="1046549"/>
                        <a:pt x="5872845" y="1050466"/>
                      </a:cubicBezTo>
                      <a:cubicBezTo>
                        <a:pt x="5871983" y="1052354"/>
                        <a:pt x="5868383" y="1056221"/>
                        <a:pt x="5867914" y="1057590"/>
                      </a:cubicBezTo>
                      <a:cubicBezTo>
                        <a:pt x="5865480" y="1064689"/>
                        <a:pt x="5863338" y="1063383"/>
                        <a:pt x="5866228" y="1071344"/>
                      </a:cubicBezTo>
                      <a:cubicBezTo>
                        <a:pt x="5868041" y="1076326"/>
                        <a:pt x="5879652" y="1086036"/>
                        <a:pt x="5879386" y="1092349"/>
                      </a:cubicBezTo>
                      <a:cubicBezTo>
                        <a:pt x="5879208" y="1096165"/>
                        <a:pt x="5868243" y="1108651"/>
                        <a:pt x="5865328" y="1111592"/>
                      </a:cubicBezTo>
                      <a:cubicBezTo>
                        <a:pt x="5858178" y="1118754"/>
                        <a:pt x="5855554" y="1115636"/>
                        <a:pt x="5847239" y="1118856"/>
                      </a:cubicBezTo>
                      <a:cubicBezTo>
                        <a:pt x="5842016" y="1120896"/>
                        <a:pt x="5835348" y="1127792"/>
                        <a:pt x="5834106" y="1133319"/>
                      </a:cubicBezTo>
                      <a:cubicBezTo>
                        <a:pt x="5833092" y="1138048"/>
                        <a:pt x="5840102" y="1143955"/>
                        <a:pt x="5838695" y="1148734"/>
                      </a:cubicBezTo>
                      <a:cubicBezTo>
                        <a:pt x="5838112" y="1150699"/>
                        <a:pt x="5831761" y="1152943"/>
                        <a:pt x="5829745" y="1156036"/>
                      </a:cubicBezTo>
                      <a:cubicBezTo>
                        <a:pt x="5827273" y="1159788"/>
                        <a:pt x="5828034" y="1162589"/>
                        <a:pt x="5826981" y="1166747"/>
                      </a:cubicBezTo>
                      <a:cubicBezTo>
                        <a:pt x="5824979" y="1174772"/>
                        <a:pt x="5826512" y="1184393"/>
                        <a:pt x="5822164" y="1192151"/>
                      </a:cubicBezTo>
                      <a:cubicBezTo>
                        <a:pt x="5820073" y="1195827"/>
                        <a:pt x="5816587" y="1196943"/>
                        <a:pt x="5814647" y="1200759"/>
                      </a:cubicBezTo>
                      <a:cubicBezTo>
                        <a:pt x="5811833" y="1206324"/>
                        <a:pt x="5813316" y="1207667"/>
                        <a:pt x="5813113" y="1210507"/>
                      </a:cubicBezTo>
                      <a:cubicBezTo>
                        <a:pt x="5813088" y="1210912"/>
                        <a:pt x="5816574" y="1212649"/>
                        <a:pt x="5816701" y="1213613"/>
                      </a:cubicBezTo>
                      <a:cubicBezTo>
                        <a:pt x="5816827" y="1214589"/>
                        <a:pt x="5815256" y="1218290"/>
                        <a:pt x="5815129" y="1217555"/>
                      </a:cubicBezTo>
                      <a:cubicBezTo>
                        <a:pt x="5815572" y="1219875"/>
                        <a:pt x="5809513" y="1220128"/>
                        <a:pt x="5816054" y="1222118"/>
                      </a:cubicBezTo>
                      <a:cubicBezTo>
                        <a:pt x="5814001" y="1228571"/>
                        <a:pt x="5810603" y="1229116"/>
                        <a:pt x="5807929" y="1230916"/>
                      </a:cubicBezTo>
                      <a:cubicBezTo>
                        <a:pt x="5799270" y="1236747"/>
                        <a:pt x="5802883" y="1238319"/>
                        <a:pt x="5801109" y="1245988"/>
                      </a:cubicBezTo>
                      <a:cubicBezTo>
                        <a:pt x="5799093" y="1254659"/>
                        <a:pt x="5780611" y="1265954"/>
                        <a:pt x="5786150" y="1271215"/>
                      </a:cubicBezTo>
                      <a:cubicBezTo>
                        <a:pt x="5783716" y="1273078"/>
                        <a:pt x="5783539" y="1275436"/>
                        <a:pt x="5781080" y="1277528"/>
                      </a:cubicBezTo>
                      <a:cubicBezTo>
                        <a:pt x="5784325" y="1279987"/>
                        <a:pt x="5784566" y="1282269"/>
                        <a:pt x="5783615" y="1285019"/>
                      </a:cubicBezTo>
                      <a:cubicBezTo>
                        <a:pt x="5772941" y="1292473"/>
                        <a:pt x="5756944" y="1295807"/>
                        <a:pt x="5756107" y="1314949"/>
                      </a:cubicBezTo>
                      <a:cubicBezTo>
                        <a:pt x="5755777" y="1322200"/>
                        <a:pt x="5758693" y="1327004"/>
                        <a:pt x="5754687" y="1333228"/>
                      </a:cubicBezTo>
                      <a:cubicBezTo>
                        <a:pt x="5750745" y="1339313"/>
                        <a:pt x="5741922" y="1341468"/>
                        <a:pt x="5736116" y="1336790"/>
                      </a:cubicBezTo>
                      <a:cubicBezTo>
                        <a:pt x="5732845" y="1345664"/>
                        <a:pt x="5724859" y="1350544"/>
                        <a:pt x="5721449" y="1358442"/>
                      </a:cubicBezTo>
                      <a:cubicBezTo>
                        <a:pt x="5720169" y="1361421"/>
                        <a:pt x="5722730" y="1363905"/>
                        <a:pt x="5721424" y="1366669"/>
                      </a:cubicBezTo>
                      <a:cubicBezTo>
                        <a:pt x="5718914" y="1372082"/>
                        <a:pt x="5714718" y="1372627"/>
                        <a:pt x="5710142" y="1376430"/>
                      </a:cubicBezTo>
                      <a:cubicBezTo>
                        <a:pt x="5701408" y="1383681"/>
                        <a:pt x="5694081" y="1387218"/>
                        <a:pt x="5690417" y="1375099"/>
                      </a:cubicBezTo>
                      <a:cubicBezTo>
                        <a:pt x="5691875" y="1375188"/>
                        <a:pt x="5693485" y="1374871"/>
                        <a:pt x="5695412" y="1375466"/>
                      </a:cubicBezTo>
                      <a:cubicBezTo>
                        <a:pt x="5689618" y="1371220"/>
                        <a:pt x="5678096" y="1371448"/>
                        <a:pt x="5677563" y="1362118"/>
                      </a:cubicBezTo>
                      <a:cubicBezTo>
                        <a:pt x="5677272" y="1356769"/>
                        <a:pt x="5681975" y="1355488"/>
                        <a:pt x="5682570" y="1349847"/>
                      </a:cubicBezTo>
                      <a:cubicBezTo>
                        <a:pt x="5683496" y="1340847"/>
                        <a:pt x="5678121" y="1343205"/>
                        <a:pt x="5676537" y="1338819"/>
                      </a:cubicBezTo>
                      <a:cubicBezTo>
                        <a:pt x="5675066" y="1334686"/>
                        <a:pt x="5677614" y="1333799"/>
                        <a:pt x="5676638" y="1330059"/>
                      </a:cubicBezTo>
                      <a:cubicBezTo>
                        <a:pt x="5674914" y="1323341"/>
                        <a:pt x="5672695" y="1321490"/>
                        <a:pt x="5667042" y="1317433"/>
                      </a:cubicBezTo>
                      <a:cubicBezTo>
                        <a:pt x="5663822" y="1315101"/>
                        <a:pt x="5666623" y="1310930"/>
                        <a:pt x="5660982" y="1312033"/>
                      </a:cubicBezTo>
                      <a:cubicBezTo>
                        <a:pt x="5657826" y="1312642"/>
                        <a:pt x="5656672" y="1319512"/>
                        <a:pt x="5654733" y="1321325"/>
                      </a:cubicBezTo>
                      <a:cubicBezTo>
                        <a:pt x="5653414" y="1322593"/>
                        <a:pt x="5649409" y="1322618"/>
                        <a:pt x="5648901" y="1323391"/>
                      </a:cubicBezTo>
                      <a:cubicBezTo>
                        <a:pt x="5644186" y="1330300"/>
                        <a:pt x="5646037" y="1336930"/>
                        <a:pt x="5635312" y="1342596"/>
                      </a:cubicBezTo>
                      <a:cubicBezTo>
                        <a:pt x="5628061" y="1346386"/>
                        <a:pt x="5617096" y="1347008"/>
                        <a:pt x="5609719" y="1349949"/>
                      </a:cubicBezTo>
                      <a:cubicBezTo>
                        <a:pt x="5601821" y="1353080"/>
                        <a:pt x="5595647" y="1354119"/>
                        <a:pt x="5598424" y="1362676"/>
                      </a:cubicBezTo>
                      <a:cubicBezTo>
                        <a:pt x="5599666" y="1366593"/>
                        <a:pt x="5605155" y="1371930"/>
                        <a:pt x="5606866" y="1377190"/>
                      </a:cubicBezTo>
                      <a:cubicBezTo>
                        <a:pt x="5609440" y="1385050"/>
                        <a:pt x="5611062" y="1393328"/>
                        <a:pt x="5613128" y="1401339"/>
                      </a:cubicBezTo>
                      <a:cubicBezTo>
                        <a:pt x="5615258" y="1409604"/>
                        <a:pt x="5619974" y="1420164"/>
                        <a:pt x="5619783" y="1428581"/>
                      </a:cubicBezTo>
                      <a:cubicBezTo>
                        <a:pt x="5619758" y="1428847"/>
                        <a:pt x="5616133" y="1434007"/>
                        <a:pt x="5615790" y="1435705"/>
                      </a:cubicBezTo>
                      <a:cubicBezTo>
                        <a:pt x="5613851" y="1444046"/>
                        <a:pt x="5614206" y="1453541"/>
                        <a:pt x="5614054" y="1462288"/>
                      </a:cubicBezTo>
                      <a:cubicBezTo>
                        <a:pt x="5614003" y="1464925"/>
                        <a:pt x="5614181" y="1467042"/>
                        <a:pt x="5614662" y="1469678"/>
                      </a:cubicBezTo>
                      <a:cubicBezTo>
                        <a:pt x="5614941" y="1471301"/>
                        <a:pt x="5611683" y="1473038"/>
                        <a:pt x="5612292" y="1474660"/>
                      </a:cubicBezTo>
                      <a:cubicBezTo>
                        <a:pt x="5613331" y="1477538"/>
                        <a:pt x="5618478" y="1478032"/>
                        <a:pt x="5619378" y="1480555"/>
                      </a:cubicBezTo>
                      <a:cubicBezTo>
                        <a:pt x="5622306" y="1488883"/>
                        <a:pt x="5617958" y="1493054"/>
                        <a:pt x="5615943" y="1500749"/>
                      </a:cubicBezTo>
                      <a:cubicBezTo>
                        <a:pt x="5614523" y="1506035"/>
                        <a:pt x="5611430" y="1510116"/>
                        <a:pt x="5609858" y="1514933"/>
                      </a:cubicBezTo>
                      <a:cubicBezTo>
                        <a:pt x="5608387" y="1519598"/>
                        <a:pt x="5607842" y="1528421"/>
                        <a:pt x="5605941" y="1531502"/>
                      </a:cubicBezTo>
                      <a:cubicBezTo>
                        <a:pt x="5603558" y="1535330"/>
                        <a:pt x="5548073" y="1537067"/>
                        <a:pt x="5556350" y="1551024"/>
                      </a:cubicBezTo>
                      <a:cubicBezTo>
                        <a:pt x="5556959" y="1552076"/>
                        <a:pt x="5564615" y="1550998"/>
                        <a:pt x="5566859" y="1553369"/>
                      </a:cubicBezTo>
                      <a:cubicBezTo>
                        <a:pt x="5570446" y="1557197"/>
                        <a:pt x="5567911" y="1558984"/>
                        <a:pt x="5568469" y="1562103"/>
                      </a:cubicBezTo>
                      <a:cubicBezTo>
                        <a:pt x="5568621" y="1563028"/>
                        <a:pt x="5567062" y="1565488"/>
                        <a:pt x="5567861" y="1568327"/>
                      </a:cubicBezTo>
                      <a:cubicBezTo>
                        <a:pt x="5569217" y="1573347"/>
                        <a:pt x="5572082" y="1572181"/>
                        <a:pt x="5574300" y="1575527"/>
                      </a:cubicBezTo>
                      <a:cubicBezTo>
                        <a:pt x="5580119" y="1584325"/>
                        <a:pt x="5574997" y="1586315"/>
                        <a:pt x="5582578" y="1576427"/>
                      </a:cubicBezTo>
                      <a:cubicBezTo>
                        <a:pt x="5586292" y="1571636"/>
                        <a:pt x="5588143" y="1567275"/>
                        <a:pt x="5590869" y="1565171"/>
                      </a:cubicBezTo>
                      <a:cubicBezTo>
                        <a:pt x="5588904" y="1561456"/>
                        <a:pt x="5584708" y="1556956"/>
                        <a:pt x="5580499" y="1559720"/>
                      </a:cubicBezTo>
                      <a:cubicBezTo>
                        <a:pt x="5579447" y="1553521"/>
                        <a:pt x="5572361" y="1554991"/>
                        <a:pt x="5578331" y="1549959"/>
                      </a:cubicBezTo>
                      <a:cubicBezTo>
                        <a:pt x="5579067" y="1549325"/>
                        <a:pt x="5586495" y="1549870"/>
                        <a:pt x="5588435" y="1549731"/>
                      </a:cubicBezTo>
                      <a:cubicBezTo>
                        <a:pt x="5587357" y="1550605"/>
                        <a:pt x="5586127" y="1551974"/>
                        <a:pt x="5584708" y="1553090"/>
                      </a:cubicBezTo>
                      <a:cubicBezTo>
                        <a:pt x="5588701" y="1552532"/>
                        <a:pt x="5592732" y="1552494"/>
                        <a:pt x="5596763" y="1553153"/>
                      </a:cubicBezTo>
                      <a:cubicBezTo>
                        <a:pt x="5594925" y="1557222"/>
                        <a:pt x="5591540" y="1554573"/>
                        <a:pt x="5586825" y="1554827"/>
                      </a:cubicBezTo>
                      <a:cubicBezTo>
                        <a:pt x="5591870" y="1559986"/>
                        <a:pt x="5605447" y="1554801"/>
                        <a:pt x="5609351" y="1551911"/>
                      </a:cubicBezTo>
                      <a:cubicBezTo>
                        <a:pt x="5611214" y="1556272"/>
                        <a:pt x="5611151" y="1554979"/>
                        <a:pt x="5613825" y="1557413"/>
                      </a:cubicBezTo>
                      <a:cubicBezTo>
                        <a:pt x="5614066" y="1562496"/>
                        <a:pt x="5615715" y="1562382"/>
                        <a:pt x="5617781" y="1558997"/>
                      </a:cubicBezTo>
                      <a:cubicBezTo>
                        <a:pt x="5609617" y="1551328"/>
                        <a:pt x="5629646" y="1537701"/>
                        <a:pt x="5635388" y="1532617"/>
                      </a:cubicBezTo>
                      <a:cubicBezTo>
                        <a:pt x="5633918" y="1533074"/>
                        <a:pt x="5631674" y="1533238"/>
                        <a:pt x="5630090" y="1533555"/>
                      </a:cubicBezTo>
                      <a:cubicBezTo>
                        <a:pt x="5628353" y="1527800"/>
                        <a:pt x="5630596" y="1526102"/>
                        <a:pt x="5637176" y="1527433"/>
                      </a:cubicBezTo>
                      <a:cubicBezTo>
                        <a:pt x="5636719" y="1522476"/>
                        <a:pt x="5637683" y="1521145"/>
                        <a:pt x="5642246" y="1522603"/>
                      </a:cubicBezTo>
                      <a:cubicBezTo>
                        <a:pt x="5642272" y="1516277"/>
                        <a:pt x="5649434" y="1513019"/>
                        <a:pt x="5651843" y="1506668"/>
                      </a:cubicBezTo>
                      <a:cubicBezTo>
                        <a:pt x="5651969" y="1506681"/>
                        <a:pt x="5649003" y="1508278"/>
                        <a:pt x="5648648" y="1508367"/>
                      </a:cubicBezTo>
                      <a:cubicBezTo>
                        <a:pt x="5649878" y="1504311"/>
                        <a:pt x="5653769" y="1504412"/>
                        <a:pt x="5656938" y="1505705"/>
                      </a:cubicBezTo>
                      <a:cubicBezTo>
                        <a:pt x="5656317" y="1505325"/>
                        <a:pt x="5654467" y="1504590"/>
                        <a:pt x="5653909" y="1504235"/>
                      </a:cubicBezTo>
                      <a:cubicBezTo>
                        <a:pt x="5656292" y="1500254"/>
                        <a:pt x="5657344" y="1493193"/>
                        <a:pt x="5662478" y="1492585"/>
                      </a:cubicBezTo>
                      <a:cubicBezTo>
                        <a:pt x="5663239" y="1496946"/>
                        <a:pt x="5671821" y="1491266"/>
                        <a:pt x="5672062" y="1498137"/>
                      </a:cubicBezTo>
                      <a:cubicBezTo>
                        <a:pt x="5673025" y="1496831"/>
                        <a:pt x="5676638" y="1494651"/>
                        <a:pt x="5677715" y="1493345"/>
                      </a:cubicBezTo>
                      <a:cubicBezTo>
                        <a:pt x="5677855" y="1499633"/>
                        <a:pt x="5666446" y="1507150"/>
                        <a:pt x="5663112" y="1514274"/>
                      </a:cubicBezTo>
                      <a:cubicBezTo>
                        <a:pt x="5664342" y="1513590"/>
                        <a:pt x="5666801" y="1512855"/>
                        <a:pt x="5668537" y="1511562"/>
                      </a:cubicBezTo>
                      <a:cubicBezTo>
                        <a:pt x="5667739" y="1512766"/>
                        <a:pt x="5667320" y="1513666"/>
                        <a:pt x="5666028" y="1514667"/>
                      </a:cubicBezTo>
                      <a:cubicBezTo>
                        <a:pt x="5674673" y="1518977"/>
                        <a:pt x="5686931" y="1501306"/>
                        <a:pt x="5694055" y="1497972"/>
                      </a:cubicBezTo>
                      <a:cubicBezTo>
                        <a:pt x="5703487" y="1493548"/>
                        <a:pt x="5696299" y="1496274"/>
                        <a:pt x="5697858" y="1499810"/>
                      </a:cubicBezTo>
                      <a:cubicBezTo>
                        <a:pt x="5699139" y="1502789"/>
                        <a:pt x="5705895" y="1505261"/>
                        <a:pt x="5698746" y="1506681"/>
                      </a:cubicBezTo>
                      <a:cubicBezTo>
                        <a:pt x="5699684" y="1510319"/>
                        <a:pt x="5698987" y="1512905"/>
                        <a:pt x="5695932" y="1514667"/>
                      </a:cubicBezTo>
                      <a:cubicBezTo>
                        <a:pt x="5697161" y="1519459"/>
                        <a:pt x="5693928" y="1527788"/>
                        <a:pt x="5695780" y="1532744"/>
                      </a:cubicBezTo>
                      <a:cubicBezTo>
                        <a:pt x="5699468" y="1542543"/>
                        <a:pt x="5700799" y="1530183"/>
                        <a:pt x="5700571" y="1530247"/>
                      </a:cubicBezTo>
                      <a:cubicBezTo>
                        <a:pt x="5711891" y="1526989"/>
                        <a:pt x="5712043" y="1536953"/>
                        <a:pt x="5725823" y="1534785"/>
                      </a:cubicBezTo>
                      <a:cubicBezTo>
                        <a:pt x="5728916" y="1523097"/>
                        <a:pt x="5731350" y="1539108"/>
                        <a:pt x="5732934" y="1540908"/>
                      </a:cubicBezTo>
                      <a:cubicBezTo>
                        <a:pt x="5740705" y="1549756"/>
                        <a:pt x="5738474" y="1535457"/>
                        <a:pt x="5749097" y="1538436"/>
                      </a:cubicBezTo>
                      <a:cubicBezTo>
                        <a:pt x="5749363" y="1538715"/>
                        <a:pt x="5752773" y="1543861"/>
                        <a:pt x="5753990" y="1545598"/>
                      </a:cubicBezTo>
                      <a:cubicBezTo>
                        <a:pt x="5750897" y="1545484"/>
                        <a:pt x="5750783" y="1546498"/>
                        <a:pt x="5748083" y="1546980"/>
                      </a:cubicBezTo>
                      <a:cubicBezTo>
                        <a:pt x="5754941" y="1555093"/>
                        <a:pt x="5774551" y="1543684"/>
                        <a:pt x="5782499" y="1541009"/>
                      </a:cubicBezTo>
                      <a:cubicBezTo>
                        <a:pt x="5789015" y="1538816"/>
                        <a:pt x="5794999" y="1531489"/>
                        <a:pt x="5801375" y="1538626"/>
                      </a:cubicBezTo>
                      <a:cubicBezTo>
                        <a:pt x="5805609" y="1530424"/>
                        <a:pt x="5810755" y="1534696"/>
                        <a:pt x="5815129" y="1532782"/>
                      </a:cubicBezTo>
                      <a:cubicBezTo>
                        <a:pt x="5821822" y="1529828"/>
                        <a:pt x="5827184" y="1522958"/>
                        <a:pt x="5832939" y="1518838"/>
                      </a:cubicBezTo>
                      <a:cubicBezTo>
                        <a:pt x="5846871" y="1508887"/>
                        <a:pt x="5866520" y="1502663"/>
                        <a:pt x="5880476" y="1492648"/>
                      </a:cubicBezTo>
                      <a:cubicBezTo>
                        <a:pt x="5885813" y="1488807"/>
                        <a:pt x="5924616" y="1465939"/>
                        <a:pt x="5909683" y="1458726"/>
                      </a:cubicBezTo>
                      <a:cubicBezTo>
                        <a:pt x="5915210" y="1454999"/>
                        <a:pt x="5914576" y="1460589"/>
                        <a:pt x="5921307" y="1458295"/>
                      </a:cubicBezTo>
                      <a:cubicBezTo>
                        <a:pt x="5927012" y="1456368"/>
                        <a:pt x="5932399" y="1448255"/>
                        <a:pt x="5934542" y="1442842"/>
                      </a:cubicBezTo>
                      <a:cubicBezTo>
                        <a:pt x="5933540" y="1443108"/>
                        <a:pt x="5932755" y="1443590"/>
                        <a:pt x="5931727" y="1443704"/>
                      </a:cubicBezTo>
                      <a:cubicBezTo>
                        <a:pt x="5931018" y="1442221"/>
                        <a:pt x="5930181" y="1440142"/>
                        <a:pt x="5930460" y="1437264"/>
                      </a:cubicBezTo>
                      <a:cubicBezTo>
                        <a:pt x="5931094" y="1437733"/>
                        <a:pt x="5933109" y="1439128"/>
                        <a:pt x="5934047" y="1439774"/>
                      </a:cubicBezTo>
                      <a:cubicBezTo>
                        <a:pt x="5934377" y="1435097"/>
                        <a:pt x="5937140" y="1434146"/>
                        <a:pt x="5939118" y="1430939"/>
                      </a:cubicBezTo>
                      <a:cubicBezTo>
                        <a:pt x="5941045" y="1427846"/>
                        <a:pt x="5942845" y="1423967"/>
                        <a:pt x="5944392" y="1420658"/>
                      </a:cubicBezTo>
                      <a:cubicBezTo>
                        <a:pt x="5947066" y="1414928"/>
                        <a:pt x="5953988" y="1405497"/>
                        <a:pt x="5957955" y="1401022"/>
                      </a:cubicBezTo>
                      <a:cubicBezTo>
                        <a:pt x="5965092" y="1392998"/>
                        <a:pt x="5977160" y="1394126"/>
                        <a:pt x="5983701" y="1386254"/>
                      </a:cubicBezTo>
                      <a:cubicBezTo>
                        <a:pt x="5986693" y="1382641"/>
                        <a:pt x="5993551" y="1366720"/>
                        <a:pt x="5992765" y="1365528"/>
                      </a:cubicBezTo>
                      <a:cubicBezTo>
                        <a:pt x="5993995" y="1363677"/>
                        <a:pt x="5998102" y="1362334"/>
                        <a:pt x="5998837" y="1361649"/>
                      </a:cubicBezTo>
                      <a:cubicBezTo>
                        <a:pt x="5998507" y="1361953"/>
                        <a:pt x="6002969" y="1358302"/>
                        <a:pt x="6003958" y="1357516"/>
                      </a:cubicBezTo>
                      <a:cubicBezTo>
                        <a:pt x="6008446" y="1354018"/>
                        <a:pt x="6009967" y="1349809"/>
                        <a:pt x="6012350" y="1346805"/>
                      </a:cubicBezTo>
                      <a:cubicBezTo>
                        <a:pt x="6017573" y="1340302"/>
                        <a:pt x="6022859" y="1338083"/>
                        <a:pt x="6027930" y="1332011"/>
                      </a:cubicBezTo>
                      <a:cubicBezTo>
                        <a:pt x="6032455" y="1326573"/>
                        <a:pt x="6031023" y="1325204"/>
                        <a:pt x="6037614" y="1319715"/>
                      </a:cubicBezTo>
                      <a:cubicBezTo>
                        <a:pt x="6042254" y="1315823"/>
                        <a:pt x="6049213" y="1312616"/>
                        <a:pt x="6053334" y="1308839"/>
                      </a:cubicBezTo>
                      <a:cubicBezTo>
                        <a:pt x="6061167" y="1301638"/>
                        <a:pt x="6066149" y="1291966"/>
                        <a:pt x="6074300" y="1284715"/>
                      </a:cubicBezTo>
                      <a:cubicBezTo>
                        <a:pt x="6083770" y="1276311"/>
                        <a:pt x="6092339" y="1270771"/>
                        <a:pt x="6099653" y="1260440"/>
                      </a:cubicBezTo>
                      <a:cubicBezTo>
                        <a:pt x="6109567" y="1246407"/>
                        <a:pt x="6120697" y="1237508"/>
                        <a:pt x="6127390" y="1221789"/>
                      </a:cubicBezTo>
                      <a:cubicBezTo>
                        <a:pt x="6130977" y="1213397"/>
                        <a:pt x="6135300" y="1210126"/>
                        <a:pt x="6139521" y="1203649"/>
                      </a:cubicBezTo>
                      <a:cubicBezTo>
                        <a:pt x="6143083" y="1198274"/>
                        <a:pt x="6142208" y="1197146"/>
                        <a:pt x="6143755" y="1190922"/>
                      </a:cubicBezTo>
                      <a:cubicBezTo>
                        <a:pt x="6145948" y="1182352"/>
                        <a:pt x="6151830" y="1174379"/>
                        <a:pt x="6155139" y="1167280"/>
                      </a:cubicBezTo>
                      <a:cubicBezTo>
                        <a:pt x="6163974" y="1148468"/>
                        <a:pt x="6182507" y="1138048"/>
                        <a:pt x="6192610" y="1123520"/>
                      </a:cubicBezTo>
                      <a:cubicBezTo>
                        <a:pt x="6198213" y="1115433"/>
                        <a:pt x="6202866" y="1102744"/>
                        <a:pt x="6207404" y="1093997"/>
                      </a:cubicBezTo>
                      <a:cubicBezTo>
                        <a:pt x="6216886" y="1075667"/>
                        <a:pt x="6234912" y="1062521"/>
                        <a:pt x="6248983" y="1047499"/>
                      </a:cubicBezTo>
                      <a:cubicBezTo>
                        <a:pt x="6260873" y="1034810"/>
                        <a:pt x="6276478" y="1031616"/>
                        <a:pt x="6279546" y="1014223"/>
                      </a:cubicBezTo>
                      <a:cubicBezTo>
                        <a:pt x="6280712" y="1007619"/>
                        <a:pt x="6279102" y="998505"/>
                        <a:pt x="6282817" y="990721"/>
                      </a:cubicBezTo>
                      <a:cubicBezTo>
                        <a:pt x="6286353" y="983407"/>
                        <a:pt x="6292286" y="979642"/>
                        <a:pt x="6295201" y="971630"/>
                      </a:cubicBezTo>
                      <a:cubicBezTo>
                        <a:pt x="6291956" y="968499"/>
                        <a:pt x="6289206" y="968867"/>
                        <a:pt x="6288077" y="974216"/>
                      </a:cubicBezTo>
                      <a:cubicBezTo>
                        <a:pt x="6286277" y="973190"/>
                        <a:pt x="6286417" y="974051"/>
                        <a:pt x="6284160" y="973190"/>
                      </a:cubicBezTo>
                      <a:cubicBezTo>
                        <a:pt x="6283894" y="972061"/>
                        <a:pt x="6285897" y="971643"/>
                        <a:pt x="6286062" y="970920"/>
                      </a:cubicBezTo>
                      <a:cubicBezTo>
                        <a:pt x="6285149" y="970667"/>
                        <a:pt x="6283260" y="970160"/>
                        <a:pt x="6281993" y="969640"/>
                      </a:cubicBezTo>
                      <a:cubicBezTo>
                        <a:pt x="6288141" y="969260"/>
                        <a:pt x="6294251" y="966737"/>
                        <a:pt x="6287595" y="962567"/>
                      </a:cubicBezTo>
                      <a:cubicBezTo>
                        <a:pt x="6294504" y="962376"/>
                        <a:pt x="6292768" y="956418"/>
                        <a:pt x="6293668" y="951411"/>
                      </a:cubicBezTo>
                      <a:cubicBezTo>
                        <a:pt x="6293465" y="951386"/>
                        <a:pt x="6293199" y="950917"/>
                        <a:pt x="6293199" y="950765"/>
                      </a:cubicBezTo>
                      <a:cubicBezTo>
                        <a:pt x="6292831" y="950739"/>
                        <a:pt x="6292070" y="952032"/>
                        <a:pt x="6291690" y="952121"/>
                      </a:cubicBezTo>
                      <a:cubicBezTo>
                        <a:pt x="6292552" y="949801"/>
                        <a:pt x="6293034" y="946100"/>
                        <a:pt x="6294225" y="944186"/>
                      </a:cubicBezTo>
                      <a:cubicBezTo>
                        <a:pt x="6292577" y="944186"/>
                        <a:pt x="6291538" y="943729"/>
                        <a:pt x="6290613" y="943615"/>
                      </a:cubicBezTo>
                      <a:cubicBezTo>
                        <a:pt x="6292172" y="943856"/>
                        <a:pt x="6296025" y="943045"/>
                        <a:pt x="6298003" y="942981"/>
                      </a:cubicBezTo>
                      <a:cubicBezTo>
                        <a:pt x="6298421" y="932194"/>
                        <a:pt x="6305508" y="926400"/>
                        <a:pt x="6306712" y="917628"/>
                      </a:cubicBezTo>
                      <a:cubicBezTo>
                        <a:pt x="6307168" y="914168"/>
                        <a:pt x="6304671" y="912152"/>
                        <a:pt x="6304722" y="908780"/>
                      </a:cubicBezTo>
                      <a:cubicBezTo>
                        <a:pt x="6304760" y="905877"/>
                        <a:pt x="6306445" y="899666"/>
                        <a:pt x="6305495" y="897346"/>
                      </a:cubicBezTo>
                      <a:cubicBezTo>
                        <a:pt x="6302947" y="890881"/>
                        <a:pt x="6294948" y="892199"/>
                        <a:pt x="6299271" y="882730"/>
                      </a:cubicBezTo>
                      <a:cubicBezTo>
                        <a:pt x="6302250" y="876214"/>
                        <a:pt x="6316207" y="872462"/>
                        <a:pt x="6316549" y="865617"/>
                      </a:cubicBezTo>
                      <a:cubicBezTo>
                        <a:pt x="6302072" y="875479"/>
                        <a:pt x="6305343" y="850899"/>
                        <a:pt x="6305127" y="844421"/>
                      </a:cubicBezTo>
                      <a:cubicBezTo>
                        <a:pt x="6304912" y="838172"/>
                        <a:pt x="6300019" y="831897"/>
                        <a:pt x="6299562" y="826345"/>
                      </a:cubicBezTo>
                      <a:cubicBezTo>
                        <a:pt x="6299232" y="822859"/>
                        <a:pt x="6301819" y="820298"/>
                        <a:pt x="6301603" y="817040"/>
                      </a:cubicBezTo>
                      <a:cubicBezTo>
                        <a:pt x="6301629" y="817319"/>
                        <a:pt x="6299867" y="808902"/>
                        <a:pt x="6300158" y="807634"/>
                      </a:cubicBezTo>
                      <a:cubicBezTo>
                        <a:pt x="6301223" y="803159"/>
                        <a:pt x="6304303" y="798925"/>
                        <a:pt x="6306319" y="794894"/>
                      </a:cubicBezTo>
                      <a:cubicBezTo>
                        <a:pt x="6307016" y="793487"/>
                        <a:pt x="6308575" y="788924"/>
                        <a:pt x="6310172" y="785907"/>
                      </a:cubicBezTo>
                      <a:cubicBezTo>
                        <a:pt x="6310781" y="784702"/>
                        <a:pt x="6314457" y="785628"/>
                        <a:pt x="6315611" y="783980"/>
                      </a:cubicBezTo>
                      <a:cubicBezTo>
                        <a:pt x="6321366" y="775841"/>
                        <a:pt x="6309881" y="759108"/>
                        <a:pt x="6318565" y="753531"/>
                      </a:cubicBezTo>
                      <a:cubicBezTo>
                        <a:pt x="6311060" y="744530"/>
                        <a:pt x="6331253" y="747725"/>
                        <a:pt x="6332077" y="737216"/>
                      </a:cubicBezTo>
                      <a:cubicBezTo>
                        <a:pt x="6325194" y="740537"/>
                        <a:pt x="6325587" y="736722"/>
                        <a:pt x="6326639" y="732171"/>
                      </a:cubicBezTo>
                      <a:cubicBezTo>
                        <a:pt x="6326943" y="731017"/>
                        <a:pt x="6331241" y="733045"/>
                        <a:pt x="6331710" y="731955"/>
                      </a:cubicBezTo>
                      <a:cubicBezTo>
                        <a:pt x="6332648" y="729724"/>
                        <a:pt x="6332039" y="726073"/>
                        <a:pt x="6333244" y="724109"/>
                      </a:cubicBezTo>
                      <a:cubicBezTo>
                        <a:pt x="6334740" y="721649"/>
                        <a:pt x="6332496" y="720306"/>
                        <a:pt x="6334740" y="717707"/>
                      </a:cubicBezTo>
                      <a:cubicBezTo>
                        <a:pt x="6338466" y="713422"/>
                        <a:pt x="6344450" y="715552"/>
                        <a:pt x="6348215" y="712421"/>
                      </a:cubicBezTo>
                      <a:cubicBezTo>
                        <a:pt x="6350750" y="710304"/>
                        <a:pt x="6351612" y="702558"/>
                        <a:pt x="6354173" y="699453"/>
                      </a:cubicBezTo>
                      <a:cubicBezTo>
                        <a:pt x="6355986" y="697234"/>
                        <a:pt x="6371020" y="689311"/>
                        <a:pt x="6371185" y="688576"/>
                      </a:cubicBezTo>
                      <a:cubicBezTo>
                        <a:pt x="6372389" y="682922"/>
                        <a:pt x="6364212" y="683962"/>
                        <a:pt x="6362717" y="680400"/>
                      </a:cubicBezTo>
                      <a:cubicBezTo>
                        <a:pt x="6360169" y="674252"/>
                        <a:pt x="6373416" y="660726"/>
                        <a:pt x="6380438" y="666481"/>
                      </a:cubicBezTo>
                      <a:cubicBezTo>
                        <a:pt x="6381858" y="657075"/>
                        <a:pt x="6375710" y="661309"/>
                        <a:pt x="6368624" y="658482"/>
                      </a:cubicBezTo>
                      <a:cubicBezTo>
                        <a:pt x="6364390" y="656783"/>
                        <a:pt x="6349698" y="644804"/>
                        <a:pt x="6349191" y="639556"/>
                      </a:cubicBezTo>
                      <a:cubicBezTo>
                        <a:pt x="6348506" y="631785"/>
                        <a:pt x="6363744" y="626068"/>
                        <a:pt x="6362755" y="615876"/>
                      </a:cubicBezTo>
                      <a:cubicBezTo>
                        <a:pt x="6361944" y="607180"/>
                        <a:pt x="6349749" y="605494"/>
                        <a:pt x="6358977" y="596988"/>
                      </a:cubicBezTo>
                      <a:cubicBezTo>
                        <a:pt x="6353463" y="597014"/>
                        <a:pt x="6341800" y="593084"/>
                        <a:pt x="6338555" y="589256"/>
                      </a:cubicBezTo>
                      <a:cubicBezTo>
                        <a:pt x="6336603" y="586961"/>
                        <a:pt x="6336743" y="581586"/>
                        <a:pt x="6335716" y="580534"/>
                      </a:cubicBezTo>
                      <a:cubicBezTo>
                        <a:pt x="6332901" y="577644"/>
                        <a:pt x="6322481" y="572827"/>
                        <a:pt x="6318032" y="571230"/>
                      </a:cubicBezTo>
                      <a:cubicBezTo>
                        <a:pt x="6330024" y="563535"/>
                        <a:pt x="6349508" y="595099"/>
                        <a:pt x="6359041" y="578734"/>
                      </a:cubicBezTo>
                      <a:cubicBezTo>
                        <a:pt x="6357088" y="578810"/>
                        <a:pt x="6355301" y="578113"/>
                        <a:pt x="6353488" y="578050"/>
                      </a:cubicBezTo>
                      <a:cubicBezTo>
                        <a:pt x="6356264" y="573207"/>
                        <a:pt x="6362007" y="572523"/>
                        <a:pt x="6366672" y="574995"/>
                      </a:cubicBezTo>
                      <a:cubicBezTo>
                        <a:pt x="6364847" y="569239"/>
                        <a:pt x="6373834" y="567414"/>
                        <a:pt x="6370133" y="559529"/>
                      </a:cubicBezTo>
                      <a:cubicBezTo>
                        <a:pt x="6368713" y="560100"/>
                        <a:pt x="6366874" y="560062"/>
                        <a:pt x="6366165" y="560277"/>
                      </a:cubicBezTo>
                      <a:cubicBezTo>
                        <a:pt x="6377155" y="550427"/>
                        <a:pt x="6359890" y="551353"/>
                        <a:pt x="6353374" y="548019"/>
                      </a:cubicBezTo>
                      <a:cubicBezTo>
                        <a:pt x="6347087" y="544824"/>
                        <a:pt x="6341965" y="535761"/>
                        <a:pt x="6334613" y="538727"/>
                      </a:cubicBezTo>
                      <a:cubicBezTo>
                        <a:pt x="6333928" y="531045"/>
                        <a:pt x="6341129" y="533162"/>
                        <a:pt x="6346973" y="534886"/>
                      </a:cubicBezTo>
                      <a:cubicBezTo>
                        <a:pt x="6332711" y="530018"/>
                        <a:pt x="6316777" y="525176"/>
                        <a:pt x="6305698" y="515123"/>
                      </a:cubicBezTo>
                      <a:cubicBezTo>
                        <a:pt x="6304418" y="513995"/>
                        <a:pt x="6301958" y="508886"/>
                        <a:pt x="6300056" y="506972"/>
                      </a:cubicBezTo>
                      <a:cubicBezTo>
                        <a:pt x="6296051" y="502916"/>
                        <a:pt x="6285605" y="502345"/>
                        <a:pt x="6284756" y="494790"/>
                      </a:cubicBezTo>
                      <a:cubicBezTo>
                        <a:pt x="6284262" y="490772"/>
                        <a:pt x="6290714" y="489377"/>
                        <a:pt x="6290232" y="485955"/>
                      </a:cubicBezTo>
                      <a:cubicBezTo>
                        <a:pt x="6290030" y="484497"/>
                        <a:pt x="6284465" y="483229"/>
                        <a:pt x="6282855" y="481404"/>
                      </a:cubicBezTo>
                      <a:cubicBezTo>
                        <a:pt x="6281587" y="479946"/>
                        <a:pt x="6285225" y="477728"/>
                        <a:pt x="6283615" y="476346"/>
                      </a:cubicBezTo>
                      <a:cubicBezTo>
                        <a:pt x="6280268" y="473494"/>
                        <a:pt x="6274374" y="472860"/>
                        <a:pt x="6270432" y="470857"/>
                      </a:cubicBezTo>
                      <a:cubicBezTo>
                        <a:pt x="6266007" y="468600"/>
                        <a:pt x="6259720" y="467345"/>
                        <a:pt x="6259796" y="461857"/>
                      </a:cubicBezTo>
                      <a:cubicBezTo>
                        <a:pt x="6251100" y="466052"/>
                        <a:pt x="6253420" y="455455"/>
                        <a:pt x="6251125" y="454035"/>
                      </a:cubicBezTo>
                      <a:cubicBezTo>
                        <a:pt x="6244876" y="450143"/>
                        <a:pt x="6239995" y="454606"/>
                        <a:pt x="6231603" y="457990"/>
                      </a:cubicBezTo>
                      <a:cubicBezTo>
                        <a:pt x="6218395" y="463314"/>
                        <a:pt x="6210206" y="462642"/>
                        <a:pt x="6196743" y="459042"/>
                      </a:cubicBezTo>
                      <a:cubicBezTo>
                        <a:pt x="6188174" y="456761"/>
                        <a:pt x="6173596" y="446543"/>
                        <a:pt x="6165533" y="452058"/>
                      </a:cubicBezTo>
                      <a:cubicBezTo>
                        <a:pt x="6177906" y="453401"/>
                        <a:pt x="6171301" y="468043"/>
                        <a:pt x="6167080" y="474267"/>
                      </a:cubicBezTo>
                      <a:cubicBezTo>
                        <a:pt x="6168183" y="473608"/>
                        <a:pt x="6172607" y="472822"/>
                        <a:pt x="6174635" y="471529"/>
                      </a:cubicBezTo>
                      <a:cubicBezTo>
                        <a:pt x="6176220" y="481645"/>
                        <a:pt x="6171403" y="484953"/>
                        <a:pt x="6168905" y="493522"/>
                      </a:cubicBezTo>
                      <a:cubicBezTo>
                        <a:pt x="6167359" y="498834"/>
                        <a:pt x="6168601" y="503790"/>
                        <a:pt x="6165876" y="510167"/>
                      </a:cubicBezTo>
                      <a:cubicBezTo>
                        <a:pt x="6163404" y="515846"/>
                        <a:pt x="6159119" y="526532"/>
                        <a:pt x="6152933" y="529765"/>
                      </a:cubicBezTo>
                      <a:cubicBezTo>
                        <a:pt x="6146240" y="533276"/>
                        <a:pt x="6139458" y="527305"/>
                        <a:pt x="6133893" y="533187"/>
                      </a:cubicBezTo>
                      <a:cubicBezTo>
                        <a:pt x="6134856" y="528725"/>
                        <a:pt x="6137430" y="526621"/>
                        <a:pt x="6139496" y="523388"/>
                      </a:cubicBezTo>
                      <a:cubicBezTo>
                        <a:pt x="6140751" y="521449"/>
                        <a:pt x="6143451" y="516784"/>
                        <a:pt x="6145467" y="514489"/>
                      </a:cubicBezTo>
                      <a:cubicBezTo>
                        <a:pt x="6150930" y="508316"/>
                        <a:pt x="6158739" y="504944"/>
                        <a:pt x="6161147" y="496831"/>
                      </a:cubicBezTo>
                      <a:cubicBezTo>
                        <a:pt x="6162453" y="492483"/>
                        <a:pt x="6159537" y="486829"/>
                        <a:pt x="6160716" y="482177"/>
                      </a:cubicBezTo>
                      <a:cubicBezTo>
                        <a:pt x="6152705" y="487780"/>
                        <a:pt x="6147076" y="488591"/>
                        <a:pt x="6142525" y="497034"/>
                      </a:cubicBezTo>
                      <a:cubicBezTo>
                        <a:pt x="6139128" y="503258"/>
                        <a:pt x="6140573" y="505603"/>
                        <a:pt x="6136022" y="510179"/>
                      </a:cubicBezTo>
                      <a:cubicBezTo>
                        <a:pt x="6131700" y="514527"/>
                        <a:pt x="6126502" y="514527"/>
                        <a:pt x="6121457" y="517278"/>
                      </a:cubicBezTo>
                      <a:cubicBezTo>
                        <a:pt x="6115372" y="520574"/>
                        <a:pt x="6057833" y="539665"/>
                        <a:pt x="6060141" y="522324"/>
                      </a:cubicBezTo>
                      <a:cubicBezTo>
                        <a:pt x="6060775" y="517418"/>
                        <a:pt x="6074795" y="516822"/>
                        <a:pt x="6077393" y="515694"/>
                      </a:cubicBezTo>
                      <a:cubicBezTo>
                        <a:pt x="6081032" y="514058"/>
                        <a:pt x="6083478" y="510953"/>
                        <a:pt x="6085532" y="507746"/>
                      </a:cubicBezTo>
                      <a:cubicBezTo>
                        <a:pt x="6088054" y="503765"/>
                        <a:pt x="6088143" y="500621"/>
                        <a:pt x="6091591" y="497528"/>
                      </a:cubicBezTo>
                      <a:cubicBezTo>
                        <a:pt x="6096294" y="493256"/>
                        <a:pt x="6103697" y="491938"/>
                        <a:pt x="6107792" y="485384"/>
                      </a:cubicBezTo>
                      <a:cubicBezTo>
                        <a:pt x="6097080" y="491279"/>
                        <a:pt x="6080639" y="484091"/>
                        <a:pt x="6072475" y="477575"/>
                      </a:cubicBezTo>
                      <a:cubicBezTo>
                        <a:pt x="6069623" y="475306"/>
                        <a:pt x="6059342" y="467827"/>
                        <a:pt x="6073958" y="467295"/>
                      </a:cubicBezTo>
                      <a:cubicBezTo>
                        <a:pt x="6077444" y="467181"/>
                        <a:pt x="6079105" y="472036"/>
                        <a:pt x="6079802" y="473570"/>
                      </a:cubicBezTo>
                      <a:cubicBezTo>
                        <a:pt x="6080106" y="464861"/>
                        <a:pt x="6090805" y="461286"/>
                        <a:pt x="6094634" y="454175"/>
                      </a:cubicBezTo>
                      <a:cubicBezTo>
                        <a:pt x="6097194" y="449408"/>
                        <a:pt x="6100503" y="451081"/>
                        <a:pt x="6094735" y="449687"/>
                      </a:cubicBezTo>
                      <a:cubicBezTo>
                        <a:pt x="6094291" y="449560"/>
                        <a:pt x="6083440" y="451056"/>
                        <a:pt x="6081843" y="451158"/>
                      </a:cubicBezTo>
                      <a:cubicBezTo>
                        <a:pt x="6067125" y="452070"/>
                        <a:pt x="6062220" y="460310"/>
                        <a:pt x="6048554" y="467409"/>
                      </a:cubicBezTo>
                      <a:cubicBezTo>
                        <a:pt x="6052154" y="470236"/>
                        <a:pt x="6053752" y="475801"/>
                        <a:pt x="6056769" y="477968"/>
                      </a:cubicBezTo>
                      <a:cubicBezTo>
                        <a:pt x="6058746" y="479426"/>
                        <a:pt x="6063893" y="475002"/>
                        <a:pt x="6065249" y="477728"/>
                      </a:cubicBezTo>
                      <a:cubicBezTo>
                        <a:pt x="6066137" y="479540"/>
                        <a:pt x="6059532" y="494270"/>
                        <a:pt x="6058290" y="495703"/>
                      </a:cubicBezTo>
                      <a:cubicBezTo>
                        <a:pt x="6051812" y="503182"/>
                        <a:pt x="6042660" y="496539"/>
                        <a:pt x="6032075" y="500102"/>
                      </a:cubicBezTo>
                      <a:cubicBezTo>
                        <a:pt x="6028437" y="501331"/>
                        <a:pt x="6026979" y="508240"/>
                        <a:pt x="6020704" y="501420"/>
                      </a:cubicBezTo>
                      <a:cubicBezTo>
                        <a:pt x="6016964" y="497389"/>
                        <a:pt x="6019297" y="486462"/>
                        <a:pt x="6020970" y="482393"/>
                      </a:cubicBezTo>
                      <a:cubicBezTo>
                        <a:pt x="6023404" y="476549"/>
                        <a:pt x="6028944" y="474685"/>
                        <a:pt x="6030021" y="467282"/>
                      </a:cubicBezTo>
                      <a:cubicBezTo>
                        <a:pt x="6030731" y="462237"/>
                        <a:pt x="6022897" y="461248"/>
                        <a:pt x="6030288" y="457001"/>
                      </a:cubicBezTo>
                      <a:cubicBezTo>
                        <a:pt x="6027600" y="455569"/>
                        <a:pt x="6027258" y="453313"/>
                        <a:pt x="6025927" y="452070"/>
                      </a:cubicBezTo>
                      <a:cubicBezTo>
                        <a:pt x="6035650" y="451208"/>
                        <a:pt x="6024038" y="445960"/>
                        <a:pt x="6024647" y="440256"/>
                      </a:cubicBezTo>
                      <a:cubicBezTo>
                        <a:pt x="6025052" y="436744"/>
                        <a:pt x="6032189" y="439140"/>
                        <a:pt x="6032303" y="432701"/>
                      </a:cubicBezTo>
                      <a:cubicBezTo>
                        <a:pt x="6029210" y="429329"/>
                        <a:pt x="6031669" y="425804"/>
                        <a:pt x="6035383" y="422230"/>
                      </a:cubicBezTo>
                      <a:cubicBezTo>
                        <a:pt x="6030909" y="417932"/>
                        <a:pt x="6030845" y="418363"/>
                        <a:pt x="6026358" y="416792"/>
                      </a:cubicBezTo>
                      <a:cubicBezTo>
                        <a:pt x="6023607" y="415828"/>
                        <a:pt x="6017028" y="423307"/>
                        <a:pt x="6019043" y="412672"/>
                      </a:cubicBezTo>
                      <a:cubicBezTo>
                        <a:pt x="6011907" y="424372"/>
                        <a:pt x="6005023" y="421025"/>
                        <a:pt x="5992701" y="420392"/>
                      </a:cubicBezTo>
                      <a:cubicBezTo>
                        <a:pt x="5982763" y="419872"/>
                        <a:pt x="5972660" y="421938"/>
                        <a:pt x="5962214" y="422914"/>
                      </a:cubicBezTo>
                      <a:cubicBezTo>
                        <a:pt x="5944937" y="424562"/>
                        <a:pt x="5954571" y="421304"/>
                        <a:pt x="5945684" y="415144"/>
                      </a:cubicBezTo>
                      <a:cubicBezTo>
                        <a:pt x="5940043" y="411252"/>
                        <a:pt x="5920813" y="407474"/>
                        <a:pt x="5914221" y="411049"/>
                      </a:cubicBezTo>
                      <a:cubicBezTo>
                        <a:pt x="5914665" y="410010"/>
                        <a:pt x="5914538" y="409895"/>
                        <a:pt x="5915768" y="408970"/>
                      </a:cubicBezTo>
                      <a:cubicBezTo>
                        <a:pt x="5906045" y="394443"/>
                        <a:pt x="5911737" y="391210"/>
                        <a:pt x="5924134" y="380714"/>
                      </a:cubicBezTo>
                      <a:cubicBezTo>
                        <a:pt x="5933502" y="372779"/>
                        <a:pt x="5944227" y="369166"/>
                        <a:pt x="5955078" y="363854"/>
                      </a:cubicBezTo>
                      <a:cubicBezTo>
                        <a:pt x="5964915" y="359050"/>
                        <a:pt x="5978491" y="351736"/>
                        <a:pt x="5986351" y="344256"/>
                      </a:cubicBezTo>
                      <a:cubicBezTo>
                        <a:pt x="5992372" y="338501"/>
                        <a:pt x="5992131" y="331770"/>
                        <a:pt x="5998140" y="325888"/>
                      </a:cubicBezTo>
                      <a:cubicBezTo>
                        <a:pt x="6001461" y="322630"/>
                        <a:pt x="6008927" y="317940"/>
                        <a:pt x="6011881" y="316596"/>
                      </a:cubicBezTo>
                      <a:cubicBezTo>
                        <a:pt x="6017357" y="314124"/>
                        <a:pt x="6024304" y="313681"/>
                        <a:pt x="6029704" y="309713"/>
                      </a:cubicBezTo>
                      <a:cubicBezTo>
                        <a:pt x="6034534" y="306201"/>
                        <a:pt x="6040442" y="302196"/>
                        <a:pt x="6044878" y="299065"/>
                      </a:cubicBezTo>
                      <a:cubicBezTo>
                        <a:pt x="6048491" y="296491"/>
                        <a:pt x="6065211" y="277033"/>
                        <a:pt x="6072919" y="283295"/>
                      </a:cubicBezTo>
                      <a:cubicBezTo>
                        <a:pt x="6079016" y="267335"/>
                        <a:pt x="6093632" y="267918"/>
                        <a:pt x="6102531" y="254709"/>
                      </a:cubicBezTo>
                      <a:cubicBezTo>
                        <a:pt x="6103837" y="252795"/>
                        <a:pt x="6107551" y="246343"/>
                        <a:pt x="6110010" y="243453"/>
                      </a:cubicBezTo>
                      <a:cubicBezTo>
                        <a:pt x="6112888" y="240005"/>
                        <a:pt x="6114713" y="241120"/>
                        <a:pt x="6117958" y="238483"/>
                      </a:cubicBezTo>
                      <a:cubicBezTo>
                        <a:pt x="6123130" y="234237"/>
                        <a:pt x="6126502" y="228469"/>
                        <a:pt x="6134438" y="233578"/>
                      </a:cubicBezTo>
                      <a:cubicBezTo>
                        <a:pt x="6135211" y="232551"/>
                        <a:pt x="6136289" y="230434"/>
                        <a:pt x="6136986" y="229204"/>
                      </a:cubicBezTo>
                      <a:cubicBezTo>
                        <a:pt x="6122459" y="230523"/>
                        <a:pt x="6125133" y="211191"/>
                        <a:pt x="6137201" y="213549"/>
                      </a:cubicBezTo>
                      <a:cubicBezTo>
                        <a:pt x="6137037" y="207730"/>
                        <a:pt x="6154239" y="188284"/>
                        <a:pt x="6158586" y="188031"/>
                      </a:cubicBezTo>
                      <a:cubicBezTo>
                        <a:pt x="6157877" y="193089"/>
                        <a:pt x="6157370" y="194889"/>
                        <a:pt x="6160970" y="195903"/>
                      </a:cubicBezTo>
                      <a:cubicBezTo>
                        <a:pt x="6152717" y="177497"/>
                        <a:pt x="6173190" y="178308"/>
                        <a:pt x="6177538" y="169967"/>
                      </a:cubicBezTo>
                      <a:cubicBezTo>
                        <a:pt x="6189086" y="178245"/>
                        <a:pt x="6182038" y="154109"/>
                        <a:pt x="6193739" y="158545"/>
                      </a:cubicBezTo>
                      <a:cubicBezTo>
                        <a:pt x="6196933" y="145108"/>
                        <a:pt x="6211030" y="144969"/>
                        <a:pt x="6220917" y="140938"/>
                      </a:cubicBezTo>
                      <a:cubicBezTo>
                        <a:pt x="6223795" y="139759"/>
                        <a:pt x="6227699" y="138453"/>
                        <a:pt x="6230843" y="134802"/>
                      </a:cubicBezTo>
                      <a:cubicBezTo>
                        <a:pt x="6233632" y="131608"/>
                        <a:pt x="6232922" y="127919"/>
                        <a:pt x="6236725" y="125003"/>
                      </a:cubicBezTo>
                      <a:cubicBezTo>
                        <a:pt x="6240236" y="122265"/>
                        <a:pt x="6244445" y="123533"/>
                        <a:pt x="6247398" y="121859"/>
                      </a:cubicBezTo>
                      <a:cubicBezTo>
                        <a:pt x="6256259" y="116852"/>
                        <a:pt x="6259606" y="102262"/>
                        <a:pt x="6271103" y="96659"/>
                      </a:cubicBezTo>
                      <a:cubicBezTo>
                        <a:pt x="6281498" y="91588"/>
                        <a:pt x="6287621" y="95125"/>
                        <a:pt x="6295924" y="88140"/>
                      </a:cubicBezTo>
                      <a:cubicBezTo>
                        <a:pt x="6305165" y="80382"/>
                        <a:pt x="6306902" y="67604"/>
                        <a:pt x="6311846" y="55511"/>
                      </a:cubicBezTo>
                      <a:cubicBezTo>
                        <a:pt x="6317576" y="41566"/>
                        <a:pt x="6325676" y="30462"/>
                        <a:pt x="6338745" y="22704"/>
                      </a:cubicBezTo>
                      <a:cubicBezTo>
                        <a:pt x="6345870" y="18495"/>
                        <a:pt x="6351257" y="19142"/>
                        <a:pt x="6358090" y="16365"/>
                      </a:cubicBezTo>
                      <a:cubicBezTo>
                        <a:pt x="6364023" y="13970"/>
                        <a:pt x="6372085" y="7923"/>
                        <a:pt x="6377497" y="4272"/>
                      </a:cubicBezTo>
                      <a:cubicBezTo>
                        <a:pt x="6379513" y="2928"/>
                        <a:pt x="6381364" y="1483"/>
                        <a:pt x="6383100" y="0"/>
                      </a:cubicBezTo>
                      <a:lnTo>
                        <a:pt x="927" y="0"/>
                      </a:lnTo>
                      <a:cubicBezTo>
                        <a:pt x="901" y="123444"/>
                        <a:pt x="863" y="246837"/>
                        <a:pt x="927" y="370243"/>
                      </a:cubicBezTo>
                      <a:close/>
                    </a:path>
                  </a:pathLst>
                </a:custGeom>
                <a:solidFill>
                  <a:srgbClr val="D6D6D2"/>
                </a:solidFill>
                <a:ln w="12413" cap="flat">
                  <a:solidFill>
                    <a:srgbClr val="FFFFFF"/>
                  </a:solid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9FFF0C69-FDCE-4EB4-88A2-B806051C52AB}"/>
                    </a:ext>
                  </a:extLst>
                </p:cNvPr>
                <p:cNvSpPr/>
                <p:nvPr/>
              </p:nvSpPr>
              <p:spPr>
                <a:xfrm>
                  <a:off x="7423714" y="6249"/>
                  <a:ext cx="576566" cy="792206"/>
                </a:xfrm>
                <a:custGeom>
                  <a:avLst/>
                  <a:gdLst>
                    <a:gd name="connsiteX0" fmla="*/ 574678 w 576566"/>
                    <a:gd name="connsiteY0" fmla="*/ 241703 h 792206"/>
                    <a:gd name="connsiteX1" fmla="*/ 569101 w 576566"/>
                    <a:gd name="connsiteY1" fmla="*/ 226783 h 792206"/>
                    <a:gd name="connsiteX2" fmla="*/ 566287 w 576566"/>
                    <a:gd name="connsiteY2" fmla="*/ 200251 h 792206"/>
                    <a:gd name="connsiteX3" fmla="*/ 554522 w 576566"/>
                    <a:gd name="connsiteY3" fmla="*/ 200365 h 792206"/>
                    <a:gd name="connsiteX4" fmla="*/ 547031 w 576566"/>
                    <a:gd name="connsiteY4" fmla="*/ 204320 h 792206"/>
                    <a:gd name="connsiteX5" fmla="*/ 533593 w 576566"/>
                    <a:gd name="connsiteY5" fmla="*/ 196562 h 792206"/>
                    <a:gd name="connsiteX6" fmla="*/ 536205 w 576566"/>
                    <a:gd name="connsiteY6" fmla="*/ 176457 h 792206"/>
                    <a:gd name="connsiteX7" fmla="*/ 534367 w 576566"/>
                    <a:gd name="connsiteY7" fmla="*/ 153918 h 792206"/>
                    <a:gd name="connsiteX8" fmla="*/ 558060 w 576566"/>
                    <a:gd name="connsiteY8" fmla="*/ 120211 h 792206"/>
                    <a:gd name="connsiteX9" fmla="*/ 566933 w 576566"/>
                    <a:gd name="connsiteY9" fmla="*/ 110831 h 792206"/>
                    <a:gd name="connsiteX10" fmla="*/ 573816 w 576566"/>
                    <a:gd name="connsiteY10" fmla="*/ 98370 h 792206"/>
                    <a:gd name="connsiteX11" fmla="*/ 549744 w 576566"/>
                    <a:gd name="connsiteY11" fmla="*/ 84692 h 792206"/>
                    <a:gd name="connsiteX12" fmla="*/ 530057 w 576566"/>
                    <a:gd name="connsiteY12" fmla="*/ 72598 h 792206"/>
                    <a:gd name="connsiteX13" fmla="*/ 513261 w 576566"/>
                    <a:gd name="connsiteY13" fmla="*/ 77327 h 792206"/>
                    <a:gd name="connsiteX14" fmla="*/ 501091 w 576566"/>
                    <a:gd name="connsiteY14" fmla="*/ 100208 h 792206"/>
                    <a:gd name="connsiteX15" fmla="*/ 506035 w 576566"/>
                    <a:gd name="connsiteY15" fmla="*/ 90333 h 792206"/>
                    <a:gd name="connsiteX16" fmla="*/ 483965 w 576566"/>
                    <a:gd name="connsiteY16" fmla="*/ 81802 h 792206"/>
                    <a:gd name="connsiteX17" fmla="*/ 480441 w 576566"/>
                    <a:gd name="connsiteY17" fmla="*/ 42048 h 792206"/>
                    <a:gd name="connsiteX18" fmla="*/ 503601 w 576566"/>
                    <a:gd name="connsiteY18" fmla="*/ 0 h 792206"/>
                    <a:gd name="connsiteX19" fmla="*/ 277084 w 576566"/>
                    <a:gd name="connsiteY19" fmla="*/ 0 h 792206"/>
                    <a:gd name="connsiteX20" fmla="*/ 271291 w 576566"/>
                    <a:gd name="connsiteY20" fmla="*/ 17354 h 792206"/>
                    <a:gd name="connsiteX21" fmla="*/ 241552 w 576566"/>
                    <a:gd name="connsiteY21" fmla="*/ 31121 h 792206"/>
                    <a:gd name="connsiteX22" fmla="*/ 196753 w 576566"/>
                    <a:gd name="connsiteY22" fmla="*/ 63281 h 792206"/>
                    <a:gd name="connsiteX23" fmla="*/ 204866 w 576566"/>
                    <a:gd name="connsiteY23" fmla="*/ 72421 h 792206"/>
                    <a:gd name="connsiteX24" fmla="*/ 179995 w 576566"/>
                    <a:gd name="connsiteY24" fmla="*/ 68834 h 792206"/>
                    <a:gd name="connsiteX25" fmla="*/ 153222 w 576566"/>
                    <a:gd name="connsiteY25" fmla="*/ 64752 h 792206"/>
                    <a:gd name="connsiteX26" fmla="*/ 131875 w 576566"/>
                    <a:gd name="connsiteY26" fmla="*/ 91246 h 792206"/>
                    <a:gd name="connsiteX27" fmla="*/ 116751 w 576566"/>
                    <a:gd name="connsiteY27" fmla="*/ 90003 h 792206"/>
                    <a:gd name="connsiteX28" fmla="*/ 106826 w 576566"/>
                    <a:gd name="connsiteY28" fmla="*/ 84159 h 792206"/>
                    <a:gd name="connsiteX29" fmla="*/ 87393 w 576566"/>
                    <a:gd name="connsiteY29" fmla="*/ 96189 h 792206"/>
                    <a:gd name="connsiteX30" fmla="*/ 104189 w 576566"/>
                    <a:gd name="connsiteY30" fmla="*/ 132064 h 792206"/>
                    <a:gd name="connsiteX31" fmla="*/ 81954 w 576566"/>
                    <a:gd name="connsiteY31" fmla="*/ 168408 h 792206"/>
                    <a:gd name="connsiteX32" fmla="*/ 65500 w 576566"/>
                    <a:gd name="connsiteY32" fmla="*/ 179157 h 792206"/>
                    <a:gd name="connsiteX33" fmla="*/ 36738 w 576566"/>
                    <a:gd name="connsiteY33" fmla="*/ 203053 h 792206"/>
                    <a:gd name="connsiteX34" fmla="*/ 44875 w 576566"/>
                    <a:gd name="connsiteY34" fmla="*/ 189463 h 792206"/>
                    <a:gd name="connsiteX35" fmla="*/ 20486 w 576566"/>
                    <a:gd name="connsiteY35" fmla="*/ 238243 h 792206"/>
                    <a:gd name="connsiteX36" fmla="*/ 13375 w 576566"/>
                    <a:gd name="connsiteY36" fmla="*/ 261479 h 792206"/>
                    <a:gd name="connsiteX37" fmla="*/ 9052 w 576566"/>
                    <a:gd name="connsiteY37" fmla="*/ 272710 h 792206"/>
                    <a:gd name="connsiteX38" fmla="*/ 2751 w 576566"/>
                    <a:gd name="connsiteY38" fmla="*/ 320843 h 792206"/>
                    <a:gd name="connsiteX39" fmla="*/ 1433 w 576566"/>
                    <a:gd name="connsiteY39" fmla="*/ 375593 h 792206"/>
                    <a:gd name="connsiteX40" fmla="*/ 22945 w 576566"/>
                    <a:gd name="connsiteY40" fmla="*/ 477233 h 792206"/>
                    <a:gd name="connsiteX41" fmla="*/ 36940 w 576566"/>
                    <a:gd name="connsiteY41" fmla="*/ 565310 h 792206"/>
                    <a:gd name="connsiteX42" fmla="*/ 51138 w 576566"/>
                    <a:gd name="connsiteY42" fmla="*/ 620757 h 792206"/>
                    <a:gd name="connsiteX43" fmla="*/ 59479 w 576566"/>
                    <a:gd name="connsiteY43" fmla="*/ 637198 h 792206"/>
                    <a:gd name="connsiteX44" fmla="*/ 52824 w 576566"/>
                    <a:gd name="connsiteY44" fmla="*/ 629035 h 792206"/>
                    <a:gd name="connsiteX45" fmla="*/ 62522 w 576566"/>
                    <a:gd name="connsiteY45" fmla="*/ 652664 h 792206"/>
                    <a:gd name="connsiteX46" fmla="*/ 67985 w 576566"/>
                    <a:gd name="connsiteY46" fmla="*/ 686738 h 792206"/>
                    <a:gd name="connsiteX47" fmla="*/ 67605 w 576566"/>
                    <a:gd name="connsiteY47" fmla="*/ 733692 h 792206"/>
                    <a:gd name="connsiteX48" fmla="*/ 70444 w 576566"/>
                    <a:gd name="connsiteY48" fmla="*/ 746305 h 792206"/>
                    <a:gd name="connsiteX49" fmla="*/ 83273 w 576566"/>
                    <a:gd name="connsiteY49" fmla="*/ 758563 h 792206"/>
                    <a:gd name="connsiteX50" fmla="*/ 83945 w 576566"/>
                    <a:gd name="connsiteY50" fmla="*/ 768223 h 792206"/>
                    <a:gd name="connsiteX51" fmla="*/ 88432 w 576566"/>
                    <a:gd name="connsiteY51" fmla="*/ 772926 h 792206"/>
                    <a:gd name="connsiteX52" fmla="*/ 81549 w 576566"/>
                    <a:gd name="connsiteY52" fmla="*/ 792207 h 792206"/>
                    <a:gd name="connsiteX53" fmla="*/ 98459 w 576566"/>
                    <a:gd name="connsiteY53" fmla="*/ 776501 h 792206"/>
                    <a:gd name="connsiteX54" fmla="*/ 126399 w 576566"/>
                    <a:gd name="connsiteY54" fmla="*/ 754557 h 792206"/>
                    <a:gd name="connsiteX55" fmla="*/ 142003 w 576566"/>
                    <a:gd name="connsiteY55" fmla="*/ 741006 h 792206"/>
                    <a:gd name="connsiteX56" fmla="*/ 146959 w 576566"/>
                    <a:gd name="connsiteY56" fmla="*/ 730637 h 792206"/>
                    <a:gd name="connsiteX57" fmla="*/ 160346 w 576566"/>
                    <a:gd name="connsiteY57" fmla="*/ 725706 h 792206"/>
                    <a:gd name="connsiteX58" fmla="*/ 183366 w 576566"/>
                    <a:gd name="connsiteY58" fmla="*/ 702457 h 792206"/>
                    <a:gd name="connsiteX59" fmla="*/ 204333 w 576566"/>
                    <a:gd name="connsiteY59" fmla="*/ 674087 h 792206"/>
                    <a:gd name="connsiteX60" fmla="*/ 203890 w 576566"/>
                    <a:gd name="connsiteY60" fmla="*/ 667685 h 792206"/>
                    <a:gd name="connsiteX61" fmla="*/ 209924 w 576566"/>
                    <a:gd name="connsiteY61" fmla="*/ 665378 h 792206"/>
                    <a:gd name="connsiteX62" fmla="*/ 211445 w 576566"/>
                    <a:gd name="connsiteY62" fmla="*/ 654895 h 792206"/>
                    <a:gd name="connsiteX63" fmla="*/ 217073 w 576566"/>
                    <a:gd name="connsiteY63" fmla="*/ 646008 h 792206"/>
                    <a:gd name="connsiteX64" fmla="*/ 222081 w 576566"/>
                    <a:gd name="connsiteY64" fmla="*/ 642687 h 792206"/>
                    <a:gd name="connsiteX65" fmla="*/ 211014 w 576566"/>
                    <a:gd name="connsiteY65" fmla="*/ 640672 h 792206"/>
                    <a:gd name="connsiteX66" fmla="*/ 219076 w 576566"/>
                    <a:gd name="connsiteY66" fmla="*/ 633167 h 792206"/>
                    <a:gd name="connsiteX67" fmla="*/ 217416 w 576566"/>
                    <a:gd name="connsiteY67" fmla="*/ 624915 h 792206"/>
                    <a:gd name="connsiteX68" fmla="*/ 211014 w 576566"/>
                    <a:gd name="connsiteY68" fmla="*/ 616206 h 792206"/>
                    <a:gd name="connsiteX69" fmla="*/ 224185 w 576566"/>
                    <a:gd name="connsiteY69" fmla="*/ 610793 h 792206"/>
                    <a:gd name="connsiteX70" fmla="*/ 216807 w 576566"/>
                    <a:gd name="connsiteY70" fmla="*/ 606635 h 792206"/>
                    <a:gd name="connsiteX71" fmla="*/ 220116 w 576566"/>
                    <a:gd name="connsiteY71" fmla="*/ 598522 h 792206"/>
                    <a:gd name="connsiteX72" fmla="*/ 224654 w 576566"/>
                    <a:gd name="connsiteY72" fmla="*/ 594466 h 792206"/>
                    <a:gd name="connsiteX73" fmla="*/ 215540 w 576566"/>
                    <a:gd name="connsiteY73" fmla="*/ 588292 h 792206"/>
                    <a:gd name="connsiteX74" fmla="*/ 219064 w 576566"/>
                    <a:gd name="connsiteY74" fmla="*/ 591740 h 792206"/>
                    <a:gd name="connsiteX75" fmla="*/ 213385 w 576566"/>
                    <a:gd name="connsiteY75" fmla="*/ 583995 h 792206"/>
                    <a:gd name="connsiteX76" fmla="*/ 223032 w 576566"/>
                    <a:gd name="connsiteY76" fmla="*/ 575869 h 792206"/>
                    <a:gd name="connsiteX77" fmla="*/ 232260 w 576566"/>
                    <a:gd name="connsiteY77" fmla="*/ 593109 h 792206"/>
                    <a:gd name="connsiteX78" fmla="*/ 258196 w 576566"/>
                    <a:gd name="connsiteY78" fmla="*/ 572637 h 792206"/>
                    <a:gd name="connsiteX79" fmla="*/ 278859 w 576566"/>
                    <a:gd name="connsiteY79" fmla="*/ 565512 h 792206"/>
                    <a:gd name="connsiteX80" fmla="*/ 297570 w 576566"/>
                    <a:gd name="connsiteY80" fmla="*/ 556981 h 792206"/>
                    <a:gd name="connsiteX81" fmla="*/ 314784 w 576566"/>
                    <a:gd name="connsiteY81" fmla="*/ 554104 h 792206"/>
                    <a:gd name="connsiteX82" fmla="*/ 332049 w 576566"/>
                    <a:gd name="connsiteY82" fmla="*/ 572624 h 792206"/>
                    <a:gd name="connsiteX83" fmla="*/ 325445 w 576566"/>
                    <a:gd name="connsiteY83" fmla="*/ 560936 h 792206"/>
                    <a:gd name="connsiteX84" fmla="*/ 325876 w 576566"/>
                    <a:gd name="connsiteY84" fmla="*/ 549236 h 792206"/>
                    <a:gd name="connsiteX85" fmla="*/ 322948 w 576566"/>
                    <a:gd name="connsiteY85" fmla="*/ 543126 h 792206"/>
                    <a:gd name="connsiteX86" fmla="*/ 312667 w 576566"/>
                    <a:gd name="connsiteY86" fmla="*/ 534240 h 792206"/>
                    <a:gd name="connsiteX87" fmla="*/ 312262 w 576566"/>
                    <a:gd name="connsiteY87" fmla="*/ 530753 h 792206"/>
                    <a:gd name="connsiteX88" fmla="*/ 324127 w 576566"/>
                    <a:gd name="connsiteY88" fmla="*/ 534379 h 792206"/>
                    <a:gd name="connsiteX89" fmla="*/ 318334 w 576566"/>
                    <a:gd name="connsiteY89" fmla="*/ 515681 h 792206"/>
                    <a:gd name="connsiteX90" fmla="*/ 321414 w 576566"/>
                    <a:gd name="connsiteY90" fmla="*/ 523287 h 792206"/>
                    <a:gd name="connsiteX91" fmla="*/ 314290 w 576566"/>
                    <a:gd name="connsiteY91" fmla="*/ 516378 h 792206"/>
                    <a:gd name="connsiteX92" fmla="*/ 318283 w 576566"/>
                    <a:gd name="connsiteY92" fmla="*/ 493294 h 792206"/>
                    <a:gd name="connsiteX93" fmla="*/ 327537 w 576566"/>
                    <a:gd name="connsiteY93" fmla="*/ 469779 h 792206"/>
                    <a:gd name="connsiteX94" fmla="*/ 345195 w 576566"/>
                    <a:gd name="connsiteY94" fmla="*/ 457039 h 792206"/>
                    <a:gd name="connsiteX95" fmla="*/ 363639 w 576566"/>
                    <a:gd name="connsiteY95" fmla="*/ 441004 h 792206"/>
                    <a:gd name="connsiteX96" fmla="*/ 408172 w 576566"/>
                    <a:gd name="connsiteY96" fmla="*/ 421685 h 792206"/>
                    <a:gd name="connsiteX97" fmla="*/ 435401 w 576566"/>
                    <a:gd name="connsiteY97" fmla="*/ 430216 h 792206"/>
                    <a:gd name="connsiteX98" fmla="*/ 464507 w 576566"/>
                    <a:gd name="connsiteY98" fmla="*/ 421279 h 792206"/>
                    <a:gd name="connsiteX99" fmla="*/ 483129 w 576566"/>
                    <a:gd name="connsiteY99" fmla="*/ 407094 h 792206"/>
                    <a:gd name="connsiteX100" fmla="*/ 479211 w 576566"/>
                    <a:gd name="connsiteY100" fmla="*/ 388307 h 792206"/>
                    <a:gd name="connsiteX101" fmla="*/ 458853 w 576566"/>
                    <a:gd name="connsiteY101" fmla="*/ 349048 h 792206"/>
                    <a:gd name="connsiteX102" fmla="*/ 462605 w 576566"/>
                    <a:gd name="connsiteY102" fmla="*/ 310968 h 792206"/>
                    <a:gd name="connsiteX103" fmla="*/ 481278 w 576566"/>
                    <a:gd name="connsiteY103" fmla="*/ 275347 h 792206"/>
                    <a:gd name="connsiteX104" fmla="*/ 519396 w 576566"/>
                    <a:gd name="connsiteY104" fmla="*/ 249804 h 792206"/>
                    <a:gd name="connsiteX105" fmla="*/ 505249 w 576566"/>
                    <a:gd name="connsiteY105" fmla="*/ 239257 h 792206"/>
                    <a:gd name="connsiteX106" fmla="*/ 523301 w 576566"/>
                    <a:gd name="connsiteY106" fmla="*/ 229559 h 792206"/>
                    <a:gd name="connsiteX107" fmla="*/ 530298 w 576566"/>
                    <a:gd name="connsiteY107" fmla="*/ 227746 h 792206"/>
                    <a:gd name="connsiteX108" fmla="*/ 542835 w 576566"/>
                    <a:gd name="connsiteY108" fmla="*/ 233388 h 792206"/>
                    <a:gd name="connsiteX109" fmla="*/ 551873 w 576566"/>
                    <a:gd name="connsiteY109" fmla="*/ 222612 h 792206"/>
                    <a:gd name="connsiteX110" fmla="*/ 552773 w 576566"/>
                    <a:gd name="connsiteY110" fmla="*/ 231537 h 792206"/>
                    <a:gd name="connsiteX111" fmla="*/ 534341 w 576566"/>
                    <a:gd name="connsiteY111" fmla="*/ 240715 h 792206"/>
                    <a:gd name="connsiteX112" fmla="*/ 516746 w 576566"/>
                    <a:gd name="connsiteY112" fmla="*/ 253936 h 792206"/>
                    <a:gd name="connsiteX113" fmla="*/ 553280 w 576566"/>
                    <a:gd name="connsiteY113" fmla="*/ 277096 h 792206"/>
                    <a:gd name="connsiteX114" fmla="*/ 576567 w 576566"/>
                    <a:gd name="connsiteY114" fmla="*/ 258918 h 792206"/>
                    <a:gd name="connsiteX115" fmla="*/ 574678 w 576566"/>
                    <a:gd name="connsiteY115" fmla="*/ 241703 h 792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576566" h="792206">
                      <a:moveTo>
                        <a:pt x="574678" y="241703"/>
                      </a:moveTo>
                      <a:cubicBezTo>
                        <a:pt x="572486" y="234440"/>
                        <a:pt x="570115" y="231575"/>
                        <a:pt x="569101" y="226783"/>
                      </a:cubicBezTo>
                      <a:cubicBezTo>
                        <a:pt x="567224" y="217707"/>
                        <a:pt x="571129" y="206437"/>
                        <a:pt x="566287" y="200251"/>
                      </a:cubicBezTo>
                      <a:cubicBezTo>
                        <a:pt x="561786" y="202254"/>
                        <a:pt x="558440" y="199731"/>
                        <a:pt x="554522" y="200365"/>
                      </a:cubicBezTo>
                      <a:cubicBezTo>
                        <a:pt x="552520" y="200695"/>
                        <a:pt x="549047" y="204333"/>
                        <a:pt x="547031" y="204320"/>
                      </a:cubicBezTo>
                      <a:cubicBezTo>
                        <a:pt x="540896" y="204232"/>
                        <a:pt x="535837" y="201722"/>
                        <a:pt x="533593" y="196562"/>
                      </a:cubicBezTo>
                      <a:cubicBezTo>
                        <a:pt x="530957" y="190541"/>
                        <a:pt x="535254" y="182035"/>
                        <a:pt x="536205" y="176457"/>
                      </a:cubicBezTo>
                      <a:cubicBezTo>
                        <a:pt x="537866" y="166950"/>
                        <a:pt x="535812" y="163388"/>
                        <a:pt x="534367" y="153918"/>
                      </a:cubicBezTo>
                      <a:cubicBezTo>
                        <a:pt x="530881" y="130974"/>
                        <a:pt x="544089" y="132546"/>
                        <a:pt x="558060" y="120211"/>
                      </a:cubicBezTo>
                      <a:cubicBezTo>
                        <a:pt x="559530" y="118893"/>
                        <a:pt x="565906" y="112580"/>
                        <a:pt x="566933" y="110831"/>
                      </a:cubicBezTo>
                      <a:cubicBezTo>
                        <a:pt x="569874" y="105760"/>
                        <a:pt x="564537" y="100880"/>
                        <a:pt x="573816" y="98370"/>
                      </a:cubicBezTo>
                      <a:cubicBezTo>
                        <a:pt x="567313" y="85541"/>
                        <a:pt x="561418" y="89851"/>
                        <a:pt x="549744" y="84692"/>
                      </a:cubicBezTo>
                      <a:cubicBezTo>
                        <a:pt x="542708" y="81586"/>
                        <a:pt x="536865" y="74272"/>
                        <a:pt x="530057" y="72598"/>
                      </a:cubicBezTo>
                      <a:cubicBezTo>
                        <a:pt x="524264" y="71191"/>
                        <a:pt x="517038" y="70355"/>
                        <a:pt x="513261" y="77327"/>
                      </a:cubicBezTo>
                      <a:cubicBezTo>
                        <a:pt x="508025" y="86961"/>
                        <a:pt x="519256" y="98078"/>
                        <a:pt x="501091" y="100208"/>
                      </a:cubicBezTo>
                      <a:cubicBezTo>
                        <a:pt x="507670" y="94351"/>
                        <a:pt x="511004" y="94732"/>
                        <a:pt x="506035" y="90333"/>
                      </a:cubicBezTo>
                      <a:cubicBezTo>
                        <a:pt x="501433" y="86238"/>
                        <a:pt x="489834" y="86834"/>
                        <a:pt x="483965" y="81802"/>
                      </a:cubicBezTo>
                      <a:cubicBezTo>
                        <a:pt x="471644" y="71280"/>
                        <a:pt x="475282" y="55447"/>
                        <a:pt x="480441" y="42048"/>
                      </a:cubicBezTo>
                      <a:cubicBezTo>
                        <a:pt x="486018" y="27571"/>
                        <a:pt x="493916" y="12398"/>
                        <a:pt x="503601" y="0"/>
                      </a:cubicBezTo>
                      <a:lnTo>
                        <a:pt x="277084" y="0"/>
                      </a:lnTo>
                      <a:cubicBezTo>
                        <a:pt x="270658" y="5324"/>
                        <a:pt x="265003" y="11384"/>
                        <a:pt x="271291" y="17354"/>
                      </a:cubicBezTo>
                      <a:cubicBezTo>
                        <a:pt x="264889" y="8379"/>
                        <a:pt x="250248" y="25923"/>
                        <a:pt x="241552" y="31121"/>
                      </a:cubicBezTo>
                      <a:cubicBezTo>
                        <a:pt x="225554" y="40641"/>
                        <a:pt x="212320" y="53647"/>
                        <a:pt x="196753" y="63281"/>
                      </a:cubicBezTo>
                      <a:cubicBezTo>
                        <a:pt x="202178" y="63801"/>
                        <a:pt x="203737" y="68035"/>
                        <a:pt x="204866" y="72421"/>
                      </a:cubicBezTo>
                      <a:cubicBezTo>
                        <a:pt x="195866" y="62622"/>
                        <a:pt x="192697" y="67249"/>
                        <a:pt x="179995" y="68834"/>
                      </a:cubicBezTo>
                      <a:cubicBezTo>
                        <a:pt x="170107" y="70076"/>
                        <a:pt x="161905" y="63319"/>
                        <a:pt x="153222" y="64752"/>
                      </a:cubicBezTo>
                      <a:cubicBezTo>
                        <a:pt x="155212" y="73575"/>
                        <a:pt x="140684" y="89458"/>
                        <a:pt x="131875" y="91246"/>
                      </a:cubicBezTo>
                      <a:cubicBezTo>
                        <a:pt x="126588" y="92310"/>
                        <a:pt x="121848" y="91778"/>
                        <a:pt x="116751" y="90003"/>
                      </a:cubicBezTo>
                      <a:cubicBezTo>
                        <a:pt x="115661" y="89636"/>
                        <a:pt x="106775" y="84147"/>
                        <a:pt x="106826" y="84159"/>
                      </a:cubicBezTo>
                      <a:cubicBezTo>
                        <a:pt x="100677" y="83412"/>
                        <a:pt x="91956" y="89864"/>
                        <a:pt x="87393" y="96189"/>
                      </a:cubicBezTo>
                      <a:cubicBezTo>
                        <a:pt x="102756" y="90079"/>
                        <a:pt x="106661" y="123482"/>
                        <a:pt x="104189" y="132064"/>
                      </a:cubicBezTo>
                      <a:cubicBezTo>
                        <a:pt x="100653" y="144360"/>
                        <a:pt x="89092" y="158292"/>
                        <a:pt x="81954" y="168408"/>
                      </a:cubicBezTo>
                      <a:cubicBezTo>
                        <a:pt x="70799" y="153500"/>
                        <a:pt x="73309" y="171311"/>
                        <a:pt x="65500" y="179157"/>
                      </a:cubicBezTo>
                      <a:cubicBezTo>
                        <a:pt x="54953" y="189780"/>
                        <a:pt x="44065" y="188462"/>
                        <a:pt x="36738" y="203053"/>
                      </a:cubicBezTo>
                      <a:cubicBezTo>
                        <a:pt x="36966" y="197095"/>
                        <a:pt x="41808" y="194154"/>
                        <a:pt x="44875" y="189463"/>
                      </a:cubicBezTo>
                      <a:cubicBezTo>
                        <a:pt x="29474" y="194230"/>
                        <a:pt x="24340" y="225351"/>
                        <a:pt x="20486" y="238243"/>
                      </a:cubicBezTo>
                      <a:cubicBezTo>
                        <a:pt x="18166" y="246102"/>
                        <a:pt x="15745" y="253923"/>
                        <a:pt x="13375" y="261479"/>
                      </a:cubicBezTo>
                      <a:cubicBezTo>
                        <a:pt x="12044" y="265700"/>
                        <a:pt x="10814" y="267158"/>
                        <a:pt x="9052" y="272710"/>
                      </a:cubicBezTo>
                      <a:cubicBezTo>
                        <a:pt x="4235" y="287808"/>
                        <a:pt x="5388" y="305137"/>
                        <a:pt x="2751" y="320843"/>
                      </a:cubicBezTo>
                      <a:cubicBezTo>
                        <a:pt x="-557" y="340390"/>
                        <a:pt x="-735" y="355792"/>
                        <a:pt x="1433" y="375593"/>
                      </a:cubicBezTo>
                      <a:cubicBezTo>
                        <a:pt x="5261" y="410174"/>
                        <a:pt x="14642" y="443197"/>
                        <a:pt x="22945" y="477233"/>
                      </a:cubicBezTo>
                      <a:cubicBezTo>
                        <a:pt x="29917" y="505806"/>
                        <a:pt x="32846" y="535900"/>
                        <a:pt x="36940" y="565310"/>
                      </a:cubicBezTo>
                      <a:cubicBezTo>
                        <a:pt x="39399" y="583057"/>
                        <a:pt x="41263" y="605190"/>
                        <a:pt x="51138" y="620757"/>
                      </a:cubicBezTo>
                      <a:cubicBezTo>
                        <a:pt x="55803" y="628071"/>
                        <a:pt x="71078" y="630480"/>
                        <a:pt x="59479" y="637198"/>
                      </a:cubicBezTo>
                      <a:cubicBezTo>
                        <a:pt x="59682" y="632799"/>
                        <a:pt x="57159" y="630226"/>
                        <a:pt x="52824" y="629035"/>
                      </a:cubicBezTo>
                      <a:cubicBezTo>
                        <a:pt x="55080" y="637464"/>
                        <a:pt x="60379" y="643727"/>
                        <a:pt x="62522" y="652664"/>
                      </a:cubicBezTo>
                      <a:cubicBezTo>
                        <a:pt x="65183" y="663870"/>
                        <a:pt x="66920" y="675253"/>
                        <a:pt x="67985" y="686738"/>
                      </a:cubicBezTo>
                      <a:cubicBezTo>
                        <a:pt x="69480" y="702457"/>
                        <a:pt x="65969" y="718594"/>
                        <a:pt x="67605" y="733692"/>
                      </a:cubicBezTo>
                      <a:cubicBezTo>
                        <a:pt x="67757" y="735023"/>
                        <a:pt x="70153" y="745684"/>
                        <a:pt x="70444" y="746305"/>
                      </a:cubicBezTo>
                      <a:cubicBezTo>
                        <a:pt x="73880" y="753759"/>
                        <a:pt x="79166" y="751971"/>
                        <a:pt x="83273" y="758563"/>
                      </a:cubicBezTo>
                      <a:cubicBezTo>
                        <a:pt x="85770" y="762582"/>
                        <a:pt x="82550" y="764040"/>
                        <a:pt x="83945" y="768223"/>
                      </a:cubicBezTo>
                      <a:cubicBezTo>
                        <a:pt x="84958" y="771303"/>
                        <a:pt x="88407" y="769136"/>
                        <a:pt x="88432" y="772926"/>
                      </a:cubicBezTo>
                      <a:cubicBezTo>
                        <a:pt x="88432" y="780671"/>
                        <a:pt x="81954" y="786059"/>
                        <a:pt x="81549" y="792207"/>
                      </a:cubicBezTo>
                      <a:cubicBezTo>
                        <a:pt x="88103" y="788378"/>
                        <a:pt x="93147" y="781444"/>
                        <a:pt x="98459" y="776501"/>
                      </a:cubicBezTo>
                      <a:cubicBezTo>
                        <a:pt x="107029" y="768476"/>
                        <a:pt x="118260" y="762835"/>
                        <a:pt x="126399" y="754557"/>
                      </a:cubicBezTo>
                      <a:cubicBezTo>
                        <a:pt x="131812" y="749056"/>
                        <a:pt x="137731" y="745785"/>
                        <a:pt x="142003" y="741006"/>
                      </a:cubicBezTo>
                      <a:cubicBezTo>
                        <a:pt x="142916" y="739992"/>
                        <a:pt x="143854" y="733388"/>
                        <a:pt x="146959" y="730637"/>
                      </a:cubicBezTo>
                      <a:cubicBezTo>
                        <a:pt x="151194" y="726910"/>
                        <a:pt x="156112" y="727886"/>
                        <a:pt x="160346" y="725706"/>
                      </a:cubicBezTo>
                      <a:cubicBezTo>
                        <a:pt x="171514" y="719925"/>
                        <a:pt x="175139" y="712066"/>
                        <a:pt x="183366" y="702457"/>
                      </a:cubicBezTo>
                      <a:cubicBezTo>
                        <a:pt x="191910" y="692468"/>
                        <a:pt x="199313" y="685965"/>
                        <a:pt x="204333" y="674087"/>
                      </a:cubicBezTo>
                      <a:cubicBezTo>
                        <a:pt x="204968" y="672553"/>
                        <a:pt x="202445" y="669992"/>
                        <a:pt x="203890" y="667685"/>
                      </a:cubicBezTo>
                      <a:cubicBezTo>
                        <a:pt x="204131" y="667330"/>
                        <a:pt x="208314" y="668015"/>
                        <a:pt x="209924" y="665378"/>
                      </a:cubicBezTo>
                      <a:cubicBezTo>
                        <a:pt x="211851" y="662247"/>
                        <a:pt x="208796" y="658951"/>
                        <a:pt x="211445" y="654895"/>
                      </a:cubicBezTo>
                      <a:cubicBezTo>
                        <a:pt x="218810" y="655947"/>
                        <a:pt x="224312" y="650166"/>
                        <a:pt x="217073" y="646008"/>
                      </a:cubicBezTo>
                      <a:cubicBezTo>
                        <a:pt x="219038" y="645248"/>
                        <a:pt x="220103" y="643562"/>
                        <a:pt x="222081" y="642687"/>
                      </a:cubicBezTo>
                      <a:cubicBezTo>
                        <a:pt x="219622" y="637819"/>
                        <a:pt x="214766" y="638529"/>
                        <a:pt x="211014" y="640672"/>
                      </a:cubicBezTo>
                      <a:cubicBezTo>
                        <a:pt x="213537" y="637363"/>
                        <a:pt x="215299" y="635449"/>
                        <a:pt x="219076" y="633167"/>
                      </a:cubicBezTo>
                      <a:cubicBezTo>
                        <a:pt x="219026" y="632191"/>
                        <a:pt x="217986" y="626220"/>
                        <a:pt x="217416" y="624915"/>
                      </a:cubicBezTo>
                      <a:cubicBezTo>
                        <a:pt x="215895" y="621302"/>
                        <a:pt x="211229" y="623216"/>
                        <a:pt x="211014" y="616206"/>
                      </a:cubicBezTo>
                      <a:cubicBezTo>
                        <a:pt x="216833" y="623039"/>
                        <a:pt x="225275" y="616650"/>
                        <a:pt x="224185" y="610793"/>
                      </a:cubicBezTo>
                      <a:cubicBezTo>
                        <a:pt x="223425" y="607066"/>
                        <a:pt x="217530" y="609335"/>
                        <a:pt x="216807" y="606635"/>
                      </a:cubicBezTo>
                      <a:cubicBezTo>
                        <a:pt x="215514" y="601501"/>
                        <a:pt x="222956" y="606052"/>
                        <a:pt x="220116" y="598522"/>
                      </a:cubicBezTo>
                      <a:cubicBezTo>
                        <a:pt x="225123" y="599891"/>
                        <a:pt x="226125" y="598953"/>
                        <a:pt x="224654" y="594466"/>
                      </a:cubicBezTo>
                      <a:cubicBezTo>
                        <a:pt x="231169" y="589180"/>
                        <a:pt x="220242" y="587557"/>
                        <a:pt x="215540" y="588292"/>
                      </a:cubicBezTo>
                      <a:cubicBezTo>
                        <a:pt x="216870" y="589420"/>
                        <a:pt x="217923" y="590599"/>
                        <a:pt x="219064" y="591740"/>
                      </a:cubicBezTo>
                      <a:cubicBezTo>
                        <a:pt x="212954" y="592704"/>
                        <a:pt x="209873" y="589104"/>
                        <a:pt x="213385" y="583995"/>
                      </a:cubicBezTo>
                      <a:cubicBezTo>
                        <a:pt x="207313" y="580344"/>
                        <a:pt x="218709" y="574475"/>
                        <a:pt x="223032" y="575869"/>
                      </a:cubicBezTo>
                      <a:cubicBezTo>
                        <a:pt x="230523" y="578252"/>
                        <a:pt x="228254" y="587772"/>
                        <a:pt x="232260" y="593109"/>
                      </a:cubicBezTo>
                      <a:cubicBezTo>
                        <a:pt x="241793" y="587747"/>
                        <a:pt x="248371" y="578012"/>
                        <a:pt x="258196" y="572637"/>
                      </a:cubicBezTo>
                      <a:cubicBezTo>
                        <a:pt x="264902" y="568986"/>
                        <a:pt x="272799" y="568022"/>
                        <a:pt x="278859" y="565512"/>
                      </a:cubicBezTo>
                      <a:cubicBezTo>
                        <a:pt x="284310" y="563256"/>
                        <a:pt x="290217" y="558350"/>
                        <a:pt x="297570" y="556981"/>
                      </a:cubicBezTo>
                      <a:cubicBezTo>
                        <a:pt x="305328" y="555561"/>
                        <a:pt x="307064" y="558033"/>
                        <a:pt x="314784" y="554104"/>
                      </a:cubicBezTo>
                      <a:cubicBezTo>
                        <a:pt x="301246" y="561367"/>
                        <a:pt x="325559" y="571952"/>
                        <a:pt x="332049" y="572624"/>
                      </a:cubicBezTo>
                      <a:cubicBezTo>
                        <a:pt x="331505" y="567579"/>
                        <a:pt x="326307" y="546599"/>
                        <a:pt x="325445" y="560936"/>
                      </a:cubicBezTo>
                      <a:cubicBezTo>
                        <a:pt x="319956" y="557095"/>
                        <a:pt x="321959" y="552570"/>
                        <a:pt x="325876" y="549236"/>
                      </a:cubicBezTo>
                      <a:cubicBezTo>
                        <a:pt x="321426" y="547499"/>
                        <a:pt x="321858" y="548386"/>
                        <a:pt x="322948" y="543126"/>
                      </a:cubicBezTo>
                      <a:cubicBezTo>
                        <a:pt x="314277" y="543607"/>
                        <a:pt x="320995" y="533339"/>
                        <a:pt x="312667" y="534240"/>
                      </a:cubicBezTo>
                      <a:cubicBezTo>
                        <a:pt x="312515" y="531375"/>
                        <a:pt x="314518" y="533859"/>
                        <a:pt x="312262" y="530753"/>
                      </a:cubicBezTo>
                      <a:cubicBezTo>
                        <a:pt x="317434" y="527242"/>
                        <a:pt x="319145" y="537611"/>
                        <a:pt x="324127" y="534379"/>
                      </a:cubicBezTo>
                      <a:cubicBezTo>
                        <a:pt x="329223" y="531083"/>
                        <a:pt x="323074" y="515605"/>
                        <a:pt x="318334" y="515681"/>
                      </a:cubicBezTo>
                      <a:cubicBezTo>
                        <a:pt x="319918" y="518292"/>
                        <a:pt x="320349" y="521018"/>
                        <a:pt x="321414" y="523287"/>
                      </a:cubicBezTo>
                      <a:cubicBezTo>
                        <a:pt x="318955" y="520308"/>
                        <a:pt x="317484" y="518546"/>
                        <a:pt x="314290" y="516378"/>
                      </a:cubicBezTo>
                      <a:cubicBezTo>
                        <a:pt x="319208" y="512309"/>
                        <a:pt x="316610" y="500457"/>
                        <a:pt x="318283" y="493294"/>
                      </a:cubicBezTo>
                      <a:cubicBezTo>
                        <a:pt x="320109" y="485536"/>
                        <a:pt x="323024" y="476320"/>
                        <a:pt x="327537" y="469779"/>
                      </a:cubicBezTo>
                      <a:cubicBezTo>
                        <a:pt x="332937" y="461869"/>
                        <a:pt x="338223" y="461641"/>
                        <a:pt x="345195" y="457039"/>
                      </a:cubicBezTo>
                      <a:cubicBezTo>
                        <a:pt x="351660" y="452793"/>
                        <a:pt x="357466" y="445770"/>
                        <a:pt x="363639" y="441004"/>
                      </a:cubicBezTo>
                      <a:cubicBezTo>
                        <a:pt x="374846" y="432384"/>
                        <a:pt x="392592" y="419441"/>
                        <a:pt x="408172" y="421685"/>
                      </a:cubicBezTo>
                      <a:cubicBezTo>
                        <a:pt x="422395" y="423726"/>
                        <a:pt x="417743" y="432308"/>
                        <a:pt x="435401" y="430216"/>
                      </a:cubicBezTo>
                      <a:cubicBezTo>
                        <a:pt x="451729" y="428289"/>
                        <a:pt x="452705" y="431661"/>
                        <a:pt x="464507" y="421279"/>
                      </a:cubicBezTo>
                      <a:cubicBezTo>
                        <a:pt x="469223" y="417108"/>
                        <a:pt x="480111" y="411911"/>
                        <a:pt x="483129" y="407094"/>
                      </a:cubicBezTo>
                      <a:cubicBezTo>
                        <a:pt x="488567" y="398474"/>
                        <a:pt x="484346" y="395203"/>
                        <a:pt x="479211" y="388307"/>
                      </a:cubicBezTo>
                      <a:cubicBezTo>
                        <a:pt x="470186" y="376100"/>
                        <a:pt x="461743" y="365502"/>
                        <a:pt x="458853" y="349048"/>
                      </a:cubicBezTo>
                      <a:cubicBezTo>
                        <a:pt x="456546" y="336004"/>
                        <a:pt x="456546" y="323137"/>
                        <a:pt x="462605" y="310968"/>
                      </a:cubicBezTo>
                      <a:cubicBezTo>
                        <a:pt x="467410" y="301410"/>
                        <a:pt x="473266" y="281115"/>
                        <a:pt x="481278" y="275347"/>
                      </a:cubicBezTo>
                      <a:cubicBezTo>
                        <a:pt x="473215" y="268590"/>
                        <a:pt x="512855" y="251959"/>
                        <a:pt x="519396" y="249804"/>
                      </a:cubicBezTo>
                      <a:cubicBezTo>
                        <a:pt x="515378" y="244682"/>
                        <a:pt x="511055" y="242388"/>
                        <a:pt x="505249" y="239257"/>
                      </a:cubicBezTo>
                      <a:cubicBezTo>
                        <a:pt x="510497" y="234173"/>
                        <a:pt x="517114" y="230155"/>
                        <a:pt x="523301" y="229559"/>
                      </a:cubicBezTo>
                      <a:cubicBezTo>
                        <a:pt x="525151" y="229394"/>
                        <a:pt x="527483" y="227810"/>
                        <a:pt x="530298" y="227746"/>
                      </a:cubicBezTo>
                      <a:cubicBezTo>
                        <a:pt x="533277" y="227670"/>
                        <a:pt x="539995" y="234288"/>
                        <a:pt x="542835" y="233388"/>
                      </a:cubicBezTo>
                      <a:cubicBezTo>
                        <a:pt x="548831" y="231461"/>
                        <a:pt x="544520" y="222574"/>
                        <a:pt x="551873" y="222612"/>
                      </a:cubicBezTo>
                      <a:cubicBezTo>
                        <a:pt x="561558" y="222650"/>
                        <a:pt x="555638" y="227873"/>
                        <a:pt x="552773" y="231537"/>
                      </a:cubicBezTo>
                      <a:cubicBezTo>
                        <a:pt x="548286" y="237317"/>
                        <a:pt x="539907" y="237127"/>
                        <a:pt x="534341" y="240715"/>
                      </a:cubicBezTo>
                      <a:cubicBezTo>
                        <a:pt x="527687" y="245037"/>
                        <a:pt x="527332" y="252288"/>
                        <a:pt x="516746" y="253936"/>
                      </a:cubicBezTo>
                      <a:cubicBezTo>
                        <a:pt x="530767" y="252998"/>
                        <a:pt x="535128" y="277248"/>
                        <a:pt x="553280" y="277096"/>
                      </a:cubicBezTo>
                      <a:cubicBezTo>
                        <a:pt x="557653" y="264382"/>
                        <a:pt x="565856" y="264635"/>
                        <a:pt x="576567" y="258918"/>
                      </a:cubicBezTo>
                      <a:cubicBezTo>
                        <a:pt x="573816" y="252909"/>
                        <a:pt x="576390" y="247370"/>
                        <a:pt x="574678" y="241703"/>
                      </a:cubicBezTo>
                      <a:close/>
                    </a:path>
                  </a:pathLst>
                </a:custGeom>
                <a:solidFill>
                  <a:srgbClr val="D6D6D2"/>
                </a:solidFill>
                <a:ln w="12413" cap="flat">
                  <a:solidFill>
                    <a:srgbClr val="FFFFFF"/>
                  </a:solidFill>
                  <a:prstDash val="solid"/>
                  <a:miter/>
                </a:ln>
              </p:spPr>
              <p:txBody>
                <a:bodyPr rtlCol="0" anchor="ctr"/>
                <a:lstStyle/>
                <a:p>
                  <a:endParaRPr lang="en-US"/>
                </a:p>
              </p:txBody>
            </p:sp>
          </p:grpSp>
        </p:grpSp>
        <p:pic>
          <p:nvPicPr>
            <p:cNvPr id="63" name="Disputed_Territories">
              <a:extLst>
                <a:ext uri="{FF2B5EF4-FFF2-40B4-BE49-F238E27FC236}">
                  <a16:creationId xmlns:a16="http://schemas.microsoft.com/office/drawing/2014/main" id="{754A1E01-9AB7-48BA-8A30-05E0D8C44A1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0"/>
              <a:ext cx="9279216" cy="6858000"/>
            </a:xfrm>
            <a:prstGeom prst="rect">
              <a:avLst/>
            </a:prstGeom>
          </p:spPr>
        </p:pic>
      </p:grpSp>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East Asia</a:t>
            </a:r>
            <a:endParaRPr lang="de-DE" dirty="0"/>
          </a:p>
        </p:txBody>
      </p:sp>
      <p:sp>
        <p:nvSpPr>
          <p:cNvPr id="3" name="TextBox 2">
            <a:extLst>
              <a:ext uri="{FF2B5EF4-FFF2-40B4-BE49-F238E27FC236}">
                <a16:creationId xmlns:a16="http://schemas.microsoft.com/office/drawing/2014/main" id="{EAD83992-2067-4D9F-B805-85EB24B340A0}"/>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shade one or more countries</a:t>
            </a:r>
          </a:p>
        </p:txBody>
      </p:sp>
      <p:sp>
        <p:nvSpPr>
          <p:cNvPr id="506" name="Footer Placeholder 505">
            <a:extLst>
              <a:ext uri="{FF2B5EF4-FFF2-40B4-BE49-F238E27FC236}">
                <a16:creationId xmlns:a16="http://schemas.microsoft.com/office/drawing/2014/main" id="{01060181-E3A4-4770-AEBE-FC44C5A0E80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07" name="Slide Number Placeholder 506">
            <a:extLst>
              <a:ext uri="{FF2B5EF4-FFF2-40B4-BE49-F238E27FC236}">
                <a16:creationId xmlns:a16="http://schemas.microsoft.com/office/drawing/2014/main" id="{159FF515-50BE-466C-A7EE-DFC7561D294D}"/>
              </a:ext>
            </a:extLst>
          </p:cNvPr>
          <p:cNvSpPr>
            <a:spLocks noGrp="1"/>
          </p:cNvSpPr>
          <p:nvPr>
            <p:ph type="sldNum" sz="quarter" idx="10"/>
          </p:nvPr>
        </p:nvSpPr>
        <p:spPr/>
        <p:txBody>
          <a:bodyPr/>
          <a:lstStyle/>
          <a:p>
            <a:fld id="{1F90F471-3972-4120-B8B3-0237DE626C35}" type="slidenum">
              <a:rPr lang="en-US" smtClean="0"/>
              <a:pPr/>
              <a:t>365</a:t>
            </a:fld>
            <a:endParaRPr lang="en-US" dirty="0"/>
          </a:p>
        </p:txBody>
      </p:sp>
    </p:spTree>
    <p:extLst>
      <p:ext uri="{BB962C8B-B14F-4D97-AF65-F5344CB8AC3E}">
        <p14:creationId xmlns:p14="http://schemas.microsoft.com/office/powerpoint/2010/main" val="2584628639"/>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1134" descr="describe each part of the map that needs to be ungrouped">
            <a:extLst>
              <a:ext uri="{FF2B5EF4-FFF2-40B4-BE49-F238E27FC236}">
                <a16:creationId xmlns:a16="http://schemas.microsoft.com/office/drawing/2014/main" id="{B54AC3E2-5DA6-49BF-A380-1D107A6A0FFF}"/>
              </a:ext>
            </a:extLst>
          </p:cNvPr>
          <p:cNvGrpSpPr>
            <a:grpSpLocks noChangeAspect="1"/>
          </p:cNvGrpSpPr>
          <p:nvPr/>
        </p:nvGrpSpPr>
        <p:grpSpPr bwMode="auto">
          <a:xfrm>
            <a:off x="0" y="0"/>
            <a:ext cx="8362947" cy="6689558"/>
            <a:chOff x="20" y="0"/>
            <a:chExt cx="6277" cy="5021"/>
          </a:xfrm>
          <a:solidFill>
            <a:srgbClr val="96968C">
              <a:lumMod val="40000"/>
              <a:lumOff val="60000"/>
            </a:srgbClr>
          </a:solidFill>
        </p:grpSpPr>
        <p:grpSp>
          <p:nvGrpSpPr>
            <p:cNvPr id="6" name="Group 1335">
              <a:extLst>
                <a:ext uri="{FF2B5EF4-FFF2-40B4-BE49-F238E27FC236}">
                  <a16:creationId xmlns:a16="http://schemas.microsoft.com/office/drawing/2014/main" id="{9B9D64DF-DF53-4D23-AB06-528EFC5F7573}"/>
                </a:ext>
              </a:extLst>
            </p:cNvPr>
            <p:cNvGrpSpPr>
              <a:grpSpLocks/>
            </p:cNvGrpSpPr>
            <p:nvPr/>
          </p:nvGrpSpPr>
          <p:grpSpPr bwMode="auto">
            <a:xfrm>
              <a:off x="202" y="0"/>
              <a:ext cx="6095" cy="5021"/>
              <a:chOff x="202" y="0"/>
              <a:chExt cx="6095" cy="5021"/>
            </a:xfrm>
            <a:grpFill/>
          </p:grpSpPr>
          <p:sp>
            <p:nvSpPr>
              <p:cNvPr id="203" name="Oval 1135">
                <a:extLst>
                  <a:ext uri="{FF2B5EF4-FFF2-40B4-BE49-F238E27FC236}">
                    <a16:creationId xmlns:a16="http://schemas.microsoft.com/office/drawing/2014/main" id="{2F449346-3E85-42F0-8A1D-4F50DAD77DBA}"/>
                  </a:ext>
                </a:extLst>
              </p:cNvPr>
              <p:cNvSpPr>
                <a:spLocks noChangeArrowheads="1"/>
              </p:cNvSpPr>
              <p:nvPr/>
            </p:nvSpPr>
            <p:spPr bwMode="auto">
              <a:xfrm>
                <a:off x="6039" y="2177"/>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4" name="Freeform 1136">
                <a:extLst>
                  <a:ext uri="{FF2B5EF4-FFF2-40B4-BE49-F238E27FC236}">
                    <a16:creationId xmlns:a16="http://schemas.microsoft.com/office/drawing/2014/main" id="{949543FA-468E-4682-BC41-8A3B3E9A34C4}"/>
                  </a:ext>
                </a:extLst>
              </p:cNvPr>
              <p:cNvSpPr>
                <a:spLocks/>
              </p:cNvSpPr>
              <p:nvPr/>
            </p:nvSpPr>
            <p:spPr bwMode="auto">
              <a:xfrm>
                <a:off x="415" y="284"/>
                <a:ext cx="12" cy="17"/>
              </a:xfrm>
              <a:custGeom>
                <a:avLst/>
                <a:gdLst>
                  <a:gd name="T0" fmla="*/ 1 w 5"/>
                  <a:gd name="T1" fmla="*/ 0 h 7"/>
                  <a:gd name="T2" fmla="*/ 0 w 5"/>
                  <a:gd name="T3" fmla="*/ 1 h 7"/>
                  <a:gd name="T4" fmla="*/ 5 w 5"/>
                  <a:gd name="T5" fmla="*/ 7 h 7"/>
                  <a:gd name="T6" fmla="*/ 3 w 5"/>
                  <a:gd name="T7" fmla="*/ 1 h 7"/>
                  <a:gd name="T8" fmla="*/ 2 w 5"/>
                  <a:gd name="T9" fmla="*/ 0 h 7"/>
                  <a:gd name="T10" fmla="*/ 1 w 5"/>
                  <a:gd name="T11" fmla="*/ 0 h 7"/>
                  <a:gd name="T12" fmla="*/ 1 w 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5" h="7">
                    <a:moveTo>
                      <a:pt x="1" y="0"/>
                    </a:moveTo>
                    <a:cubicBezTo>
                      <a:pt x="0" y="0"/>
                      <a:pt x="0" y="1"/>
                      <a:pt x="0" y="1"/>
                    </a:cubicBezTo>
                    <a:cubicBezTo>
                      <a:pt x="0" y="3"/>
                      <a:pt x="5" y="7"/>
                      <a:pt x="5" y="7"/>
                    </a:cubicBezTo>
                    <a:cubicBezTo>
                      <a:pt x="5" y="6"/>
                      <a:pt x="4" y="1"/>
                      <a:pt x="3" y="1"/>
                    </a:cubicBezTo>
                    <a:cubicBezTo>
                      <a:pt x="3" y="0"/>
                      <a:pt x="2" y="0"/>
                      <a:pt x="2" y="0"/>
                    </a:cubicBezTo>
                    <a:cubicBezTo>
                      <a:pt x="2" y="0"/>
                      <a:pt x="2"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5" name="Freeform 1137">
                <a:extLst>
                  <a:ext uri="{FF2B5EF4-FFF2-40B4-BE49-F238E27FC236}">
                    <a16:creationId xmlns:a16="http://schemas.microsoft.com/office/drawing/2014/main" id="{08720C2A-273B-4DE3-A86D-FD30B1342FD0}"/>
                  </a:ext>
                </a:extLst>
              </p:cNvPr>
              <p:cNvSpPr>
                <a:spLocks/>
              </p:cNvSpPr>
              <p:nvPr/>
            </p:nvSpPr>
            <p:spPr bwMode="auto">
              <a:xfrm>
                <a:off x="3551" y="1785"/>
                <a:ext cx="2"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0"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6" name="Freeform 1138">
                <a:extLst>
                  <a:ext uri="{FF2B5EF4-FFF2-40B4-BE49-F238E27FC236}">
                    <a16:creationId xmlns:a16="http://schemas.microsoft.com/office/drawing/2014/main" id="{A1A7B8D7-E7C2-489E-BFD3-B6FDFD99879C}"/>
                  </a:ext>
                </a:extLst>
              </p:cNvPr>
              <p:cNvSpPr>
                <a:spLocks/>
              </p:cNvSpPr>
              <p:nvPr/>
            </p:nvSpPr>
            <p:spPr bwMode="auto">
              <a:xfrm>
                <a:off x="3541" y="1740"/>
                <a:ext cx="3" cy="2"/>
              </a:xfrm>
              <a:custGeom>
                <a:avLst/>
                <a:gdLst>
                  <a:gd name="T0" fmla="*/ 0 w 1"/>
                  <a:gd name="T1" fmla="*/ 0 h 1"/>
                  <a:gd name="T2" fmla="*/ 0 w 1"/>
                  <a:gd name="T3" fmla="*/ 1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0" y="1"/>
                      <a:pt x="0" y="1"/>
                      <a:pt x="1" y="1"/>
                    </a:cubicBezTo>
                    <a:cubicBezTo>
                      <a:pt x="1" y="1"/>
                      <a:pt x="1" y="1"/>
                      <a:pt x="1"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7" name="Freeform 1139">
                <a:extLst>
                  <a:ext uri="{FF2B5EF4-FFF2-40B4-BE49-F238E27FC236}">
                    <a16:creationId xmlns:a16="http://schemas.microsoft.com/office/drawing/2014/main" id="{0828223C-150B-4E81-9A3D-C143612E70EA}"/>
                  </a:ext>
                </a:extLst>
              </p:cNvPr>
              <p:cNvSpPr>
                <a:spLocks/>
              </p:cNvSpPr>
              <p:nvPr/>
            </p:nvSpPr>
            <p:spPr bwMode="auto">
              <a:xfrm>
                <a:off x="3496" y="1773"/>
                <a:ext cx="3"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8" name="Freeform 1140">
                <a:extLst>
                  <a:ext uri="{FF2B5EF4-FFF2-40B4-BE49-F238E27FC236}">
                    <a16:creationId xmlns:a16="http://schemas.microsoft.com/office/drawing/2014/main" id="{149A8D7A-D8FE-46E8-9C79-E35C832601EB}"/>
                  </a:ext>
                </a:extLst>
              </p:cNvPr>
              <p:cNvSpPr>
                <a:spLocks/>
              </p:cNvSpPr>
              <p:nvPr/>
            </p:nvSpPr>
            <p:spPr bwMode="auto">
              <a:xfrm>
                <a:off x="3997" y="4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9" name="Oval 1141">
                <a:extLst>
                  <a:ext uri="{FF2B5EF4-FFF2-40B4-BE49-F238E27FC236}">
                    <a16:creationId xmlns:a16="http://schemas.microsoft.com/office/drawing/2014/main" id="{1C1DE979-150F-46C9-8E59-5C6370D06B81}"/>
                  </a:ext>
                </a:extLst>
              </p:cNvPr>
              <p:cNvSpPr>
                <a:spLocks noChangeArrowheads="1"/>
              </p:cNvSpPr>
              <p:nvPr/>
            </p:nvSpPr>
            <p:spPr bwMode="auto">
              <a:xfrm>
                <a:off x="4080" y="530"/>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0" name="Freeform 1142">
                <a:extLst>
                  <a:ext uri="{FF2B5EF4-FFF2-40B4-BE49-F238E27FC236}">
                    <a16:creationId xmlns:a16="http://schemas.microsoft.com/office/drawing/2014/main" id="{9E866CA9-17BB-41D3-8F33-21A08BE1CE53}"/>
                  </a:ext>
                </a:extLst>
              </p:cNvPr>
              <p:cNvSpPr>
                <a:spLocks/>
              </p:cNvSpPr>
              <p:nvPr/>
            </p:nvSpPr>
            <p:spPr bwMode="auto">
              <a:xfrm>
                <a:off x="4090" y="53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1" name="Freeform 1143">
                <a:extLst>
                  <a:ext uri="{FF2B5EF4-FFF2-40B4-BE49-F238E27FC236}">
                    <a16:creationId xmlns:a16="http://schemas.microsoft.com/office/drawing/2014/main" id="{3700A644-D780-4E53-A147-6AB473FA38B9}"/>
                  </a:ext>
                </a:extLst>
              </p:cNvPr>
              <p:cNvSpPr>
                <a:spLocks noEditPoints="1"/>
              </p:cNvSpPr>
              <p:nvPr/>
            </p:nvSpPr>
            <p:spPr bwMode="auto">
              <a:xfrm>
                <a:off x="4101" y="546"/>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moveTo>
                      <a:pt x="0" y="0"/>
                    </a:moveTo>
                    <a:cubicBezTo>
                      <a:pt x="0" y="0"/>
                      <a:pt x="0" y="0"/>
                      <a:pt x="0" y="0"/>
                    </a:cubicBezTo>
                    <a:cubicBezTo>
                      <a:pt x="0" y="0"/>
                      <a:pt x="0" y="0"/>
                      <a:pt x="0" y="0"/>
                    </a:cubicBezTo>
                    <a:cubicBezTo>
                      <a:pt x="0" y="0"/>
                      <a:pt x="0" y="0"/>
                      <a:pt x="0" y="0"/>
                    </a:cubicBezTo>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2" name="Freeform 1144">
                <a:extLst>
                  <a:ext uri="{FF2B5EF4-FFF2-40B4-BE49-F238E27FC236}">
                    <a16:creationId xmlns:a16="http://schemas.microsoft.com/office/drawing/2014/main" id="{32AC4C5D-9DAB-459B-8A86-020BAE0B4E54}"/>
                  </a:ext>
                </a:extLst>
              </p:cNvPr>
              <p:cNvSpPr>
                <a:spLocks/>
              </p:cNvSpPr>
              <p:nvPr/>
            </p:nvSpPr>
            <p:spPr bwMode="auto">
              <a:xfrm>
                <a:off x="6290" y="4288"/>
                <a:ext cx="7" cy="10"/>
              </a:xfrm>
              <a:custGeom>
                <a:avLst/>
                <a:gdLst>
                  <a:gd name="T0" fmla="*/ 1 w 3"/>
                  <a:gd name="T1" fmla="*/ 0 h 4"/>
                  <a:gd name="T2" fmla="*/ 0 w 3"/>
                  <a:gd name="T3" fmla="*/ 1 h 4"/>
                  <a:gd name="T4" fmla="*/ 0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1" y="0"/>
                      <a:pt x="0" y="1"/>
                    </a:cubicBezTo>
                    <a:cubicBezTo>
                      <a:pt x="0" y="2"/>
                      <a:pt x="1" y="3"/>
                      <a:pt x="0" y="4"/>
                    </a:cubicBezTo>
                    <a:cubicBezTo>
                      <a:pt x="2" y="3"/>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3" name="Freeform 1145">
                <a:extLst>
                  <a:ext uri="{FF2B5EF4-FFF2-40B4-BE49-F238E27FC236}">
                    <a16:creationId xmlns:a16="http://schemas.microsoft.com/office/drawing/2014/main" id="{C31E563A-77A3-43F2-B183-1D540C7AE359}"/>
                  </a:ext>
                </a:extLst>
              </p:cNvPr>
              <p:cNvSpPr>
                <a:spLocks/>
              </p:cNvSpPr>
              <p:nvPr/>
            </p:nvSpPr>
            <p:spPr bwMode="auto">
              <a:xfrm>
                <a:off x="6247" y="4246"/>
                <a:ext cx="47" cy="33"/>
              </a:xfrm>
              <a:custGeom>
                <a:avLst/>
                <a:gdLst>
                  <a:gd name="T0" fmla="*/ 9 w 20"/>
                  <a:gd name="T1" fmla="*/ 0 h 14"/>
                  <a:gd name="T2" fmla="*/ 4 w 20"/>
                  <a:gd name="T3" fmla="*/ 2 h 14"/>
                  <a:gd name="T4" fmla="*/ 3 w 20"/>
                  <a:gd name="T5" fmla="*/ 2 h 14"/>
                  <a:gd name="T6" fmla="*/ 3 w 20"/>
                  <a:gd name="T7" fmla="*/ 2 h 14"/>
                  <a:gd name="T8" fmla="*/ 2 w 20"/>
                  <a:gd name="T9" fmla="*/ 2 h 14"/>
                  <a:gd name="T10" fmla="*/ 0 w 20"/>
                  <a:gd name="T11" fmla="*/ 4 h 14"/>
                  <a:gd name="T12" fmla="*/ 2 w 20"/>
                  <a:gd name="T13" fmla="*/ 4 h 14"/>
                  <a:gd name="T14" fmla="*/ 5 w 20"/>
                  <a:gd name="T15" fmla="*/ 4 h 14"/>
                  <a:gd name="T16" fmla="*/ 6 w 20"/>
                  <a:gd name="T17" fmla="*/ 3 h 14"/>
                  <a:gd name="T18" fmla="*/ 7 w 20"/>
                  <a:gd name="T19" fmla="*/ 3 h 14"/>
                  <a:gd name="T20" fmla="*/ 8 w 20"/>
                  <a:gd name="T21" fmla="*/ 4 h 14"/>
                  <a:gd name="T22" fmla="*/ 7 w 20"/>
                  <a:gd name="T23" fmla="*/ 9 h 14"/>
                  <a:gd name="T24" fmla="*/ 8 w 20"/>
                  <a:gd name="T25" fmla="*/ 14 h 14"/>
                  <a:gd name="T26" fmla="*/ 10 w 20"/>
                  <a:gd name="T27" fmla="*/ 14 h 14"/>
                  <a:gd name="T28" fmla="*/ 16 w 20"/>
                  <a:gd name="T29" fmla="*/ 12 h 14"/>
                  <a:gd name="T30" fmla="*/ 14 w 20"/>
                  <a:gd name="T31" fmla="*/ 10 h 14"/>
                  <a:gd name="T32" fmla="*/ 13 w 20"/>
                  <a:gd name="T33" fmla="*/ 3 h 14"/>
                  <a:gd name="T34" fmla="*/ 13 w 20"/>
                  <a:gd name="T35" fmla="*/ 3 h 14"/>
                  <a:gd name="T36" fmla="*/ 10 w 20"/>
                  <a:gd name="T37" fmla="*/ 2 h 14"/>
                  <a:gd name="T38" fmla="*/ 11 w 20"/>
                  <a:gd name="T39" fmla="*/ 1 h 14"/>
                  <a:gd name="T40" fmla="*/ 12 w 20"/>
                  <a:gd name="T41" fmla="*/ 1 h 14"/>
                  <a:gd name="T42" fmla="*/ 13 w 20"/>
                  <a:gd name="T43" fmla="*/ 1 h 14"/>
                  <a:gd name="T44" fmla="*/ 17 w 20"/>
                  <a:gd name="T45" fmla="*/ 2 h 14"/>
                  <a:gd name="T46" fmla="*/ 20 w 20"/>
                  <a:gd name="T47" fmla="*/ 1 h 14"/>
                  <a:gd name="T48" fmla="*/ 19 w 20"/>
                  <a:gd name="T49" fmla="*/ 1 h 14"/>
                  <a:gd name="T50" fmla="*/ 13 w 20"/>
                  <a:gd name="T51" fmla="*/ 0 h 14"/>
                  <a:gd name="T52" fmla="*/ 9 w 20"/>
                  <a:gd name="T53" fmla="*/ 0 h 14"/>
                  <a:gd name="T54" fmla="*/ 9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9" y="0"/>
                    </a:moveTo>
                    <a:cubicBezTo>
                      <a:pt x="7" y="0"/>
                      <a:pt x="6" y="0"/>
                      <a:pt x="4" y="2"/>
                    </a:cubicBezTo>
                    <a:cubicBezTo>
                      <a:pt x="4" y="2"/>
                      <a:pt x="3" y="2"/>
                      <a:pt x="3" y="2"/>
                    </a:cubicBezTo>
                    <a:cubicBezTo>
                      <a:pt x="3" y="2"/>
                      <a:pt x="3" y="2"/>
                      <a:pt x="3" y="2"/>
                    </a:cubicBezTo>
                    <a:cubicBezTo>
                      <a:pt x="2" y="2"/>
                      <a:pt x="2" y="2"/>
                      <a:pt x="2" y="2"/>
                    </a:cubicBezTo>
                    <a:cubicBezTo>
                      <a:pt x="2" y="2"/>
                      <a:pt x="1" y="2"/>
                      <a:pt x="0" y="4"/>
                    </a:cubicBezTo>
                    <a:cubicBezTo>
                      <a:pt x="0" y="4"/>
                      <a:pt x="1" y="4"/>
                      <a:pt x="2" y="4"/>
                    </a:cubicBezTo>
                    <a:cubicBezTo>
                      <a:pt x="3" y="4"/>
                      <a:pt x="4" y="4"/>
                      <a:pt x="5" y="4"/>
                    </a:cubicBezTo>
                    <a:cubicBezTo>
                      <a:pt x="5" y="3"/>
                      <a:pt x="6" y="3"/>
                      <a:pt x="6" y="3"/>
                    </a:cubicBezTo>
                    <a:cubicBezTo>
                      <a:pt x="7" y="3"/>
                      <a:pt x="7" y="3"/>
                      <a:pt x="7" y="3"/>
                    </a:cubicBezTo>
                    <a:cubicBezTo>
                      <a:pt x="8" y="3"/>
                      <a:pt x="8" y="4"/>
                      <a:pt x="8" y="4"/>
                    </a:cubicBezTo>
                    <a:cubicBezTo>
                      <a:pt x="9" y="5"/>
                      <a:pt x="8" y="7"/>
                      <a:pt x="7" y="9"/>
                    </a:cubicBezTo>
                    <a:cubicBezTo>
                      <a:pt x="7" y="13"/>
                      <a:pt x="7" y="14"/>
                      <a:pt x="8" y="14"/>
                    </a:cubicBezTo>
                    <a:cubicBezTo>
                      <a:pt x="9" y="14"/>
                      <a:pt x="10" y="14"/>
                      <a:pt x="10" y="14"/>
                    </a:cubicBezTo>
                    <a:cubicBezTo>
                      <a:pt x="12" y="13"/>
                      <a:pt x="14" y="12"/>
                      <a:pt x="16" y="12"/>
                    </a:cubicBezTo>
                    <a:cubicBezTo>
                      <a:pt x="16" y="11"/>
                      <a:pt x="15" y="11"/>
                      <a:pt x="14" y="10"/>
                    </a:cubicBezTo>
                    <a:cubicBezTo>
                      <a:pt x="12" y="7"/>
                      <a:pt x="9" y="4"/>
                      <a:pt x="13" y="3"/>
                    </a:cubicBezTo>
                    <a:cubicBezTo>
                      <a:pt x="13" y="3"/>
                      <a:pt x="13" y="3"/>
                      <a:pt x="13" y="3"/>
                    </a:cubicBezTo>
                    <a:cubicBezTo>
                      <a:pt x="11" y="3"/>
                      <a:pt x="11" y="3"/>
                      <a:pt x="10" y="2"/>
                    </a:cubicBezTo>
                    <a:cubicBezTo>
                      <a:pt x="11" y="1"/>
                      <a:pt x="11" y="1"/>
                      <a:pt x="11" y="1"/>
                    </a:cubicBezTo>
                    <a:cubicBezTo>
                      <a:pt x="12" y="1"/>
                      <a:pt x="12" y="1"/>
                      <a:pt x="12" y="1"/>
                    </a:cubicBezTo>
                    <a:cubicBezTo>
                      <a:pt x="12" y="1"/>
                      <a:pt x="13" y="1"/>
                      <a:pt x="13" y="1"/>
                    </a:cubicBezTo>
                    <a:cubicBezTo>
                      <a:pt x="14" y="1"/>
                      <a:pt x="16" y="2"/>
                      <a:pt x="17" y="2"/>
                    </a:cubicBezTo>
                    <a:cubicBezTo>
                      <a:pt x="18" y="2"/>
                      <a:pt x="19" y="2"/>
                      <a:pt x="20" y="1"/>
                    </a:cubicBezTo>
                    <a:cubicBezTo>
                      <a:pt x="19" y="1"/>
                      <a:pt x="19" y="1"/>
                      <a:pt x="19" y="1"/>
                    </a:cubicBezTo>
                    <a:cubicBezTo>
                      <a:pt x="16" y="1"/>
                      <a:pt x="14" y="0"/>
                      <a:pt x="13" y="0"/>
                    </a:cubicBezTo>
                    <a:cubicBezTo>
                      <a:pt x="11" y="0"/>
                      <a:pt x="10" y="0"/>
                      <a:pt x="9"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4" name="Freeform 1146">
                <a:extLst>
                  <a:ext uri="{FF2B5EF4-FFF2-40B4-BE49-F238E27FC236}">
                    <a16:creationId xmlns:a16="http://schemas.microsoft.com/office/drawing/2014/main" id="{EEDF42E9-DCEA-43B2-8B2A-CED54C67C014}"/>
                  </a:ext>
                </a:extLst>
              </p:cNvPr>
              <p:cNvSpPr>
                <a:spLocks/>
              </p:cNvSpPr>
              <p:nvPr/>
            </p:nvSpPr>
            <p:spPr bwMode="auto">
              <a:xfrm>
                <a:off x="6101" y="2229"/>
                <a:ext cx="4" cy="7"/>
              </a:xfrm>
              <a:custGeom>
                <a:avLst/>
                <a:gdLst>
                  <a:gd name="T0" fmla="*/ 0 w 2"/>
                  <a:gd name="T1" fmla="*/ 0 h 3"/>
                  <a:gd name="T2" fmla="*/ 2 w 2"/>
                  <a:gd name="T3" fmla="*/ 3 h 3"/>
                  <a:gd name="T4" fmla="*/ 0 w 2"/>
                  <a:gd name="T5" fmla="*/ 0 h 3"/>
                </a:gdLst>
                <a:ahLst/>
                <a:cxnLst>
                  <a:cxn ang="0">
                    <a:pos x="T0" y="T1"/>
                  </a:cxn>
                  <a:cxn ang="0">
                    <a:pos x="T2" y="T3"/>
                  </a:cxn>
                  <a:cxn ang="0">
                    <a:pos x="T4" y="T5"/>
                  </a:cxn>
                </a:cxnLst>
                <a:rect l="0" t="0" r="r" b="b"/>
                <a:pathLst>
                  <a:path w="2" h="3">
                    <a:moveTo>
                      <a:pt x="0" y="0"/>
                    </a:moveTo>
                    <a:cubicBezTo>
                      <a:pt x="1" y="1"/>
                      <a:pt x="1" y="2"/>
                      <a:pt x="2" y="3"/>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5" name="Freeform 1147">
                <a:extLst>
                  <a:ext uri="{FF2B5EF4-FFF2-40B4-BE49-F238E27FC236}">
                    <a16:creationId xmlns:a16="http://schemas.microsoft.com/office/drawing/2014/main" id="{9E557BD2-708D-4A12-AF27-0F751EB70948}"/>
                  </a:ext>
                </a:extLst>
              </p:cNvPr>
              <p:cNvSpPr>
                <a:spLocks/>
              </p:cNvSpPr>
              <p:nvPr/>
            </p:nvSpPr>
            <p:spPr bwMode="auto">
              <a:xfrm>
                <a:off x="6025" y="2199"/>
                <a:ext cx="21" cy="16"/>
              </a:xfrm>
              <a:custGeom>
                <a:avLst/>
                <a:gdLst>
                  <a:gd name="T0" fmla="*/ 7 w 9"/>
                  <a:gd name="T1" fmla="*/ 0 h 7"/>
                  <a:gd name="T2" fmla="*/ 5 w 9"/>
                  <a:gd name="T3" fmla="*/ 1 h 7"/>
                  <a:gd name="T4" fmla="*/ 4 w 9"/>
                  <a:gd name="T5" fmla="*/ 3 h 7"/>
                  <a:gd name="T6" fmla="*/ 4 w 9"/>
                  <a:gd name="T7" fmla="*/ 2 h 7"/>
                  <a:gd name="T8" fmla="*/ 0 w 9"/>
                  <a:gd name="T9" fmla="*/ 7 h 7"/>
                  <a:gd name="T10" fmla="*/ 3 w 9"/>
                  <a:gd name="T11" fmla="*/ 7 h 7"/>
                  <a:gd name="T12" fmla="*/ 4 w 9"/>
                  <a:gd name="T13" fmla="*/ 7 h 7"/>
                  <a:gd name="T14" fmla="*/ 4 w 9"/>
                  <a:gd name="T15" fmla="*/ 7 h 7"/>
                  <a:gd name="T16" fmla="*/ 9 w 9"/>
                  <a:gd name="T17" fmla="*/ 1 h 7"/>
                  <a:gd name="T18" fmla="*/ 7 w 9"/>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7">
                    <a:moveTo>
                      <a:pt x="7" y="0"/>
                    </a:moveTo>
                    <a:cubicBezTo>
                      <a:pt x="6" y="0"/>
                      <a:pt x="5" y="0"/>
                      <a:pt x="5" y="1"/>
                    </a:cubicBezTo>
                    <a:cubicBezTo>
                      <a:pt x="4" y="1"/>
                      <a:pt x="4" y="2"/>
                      <a:pt x="4" y="3"/>
                    </a:cubicBezTo>
                    <a:cubicBezTo>
                      <a:pt x="4" y="2"/>
                      <a:pt x="4" y="2"/>
                      <a:pt x="4" y="2"/>
                    </a:cubicBezTo>
                    <a:cubicBezTo>
                      <a:pt x="3" y="3"/>
                      <a:pt x="1" y="5"/>
                      <a:pt x="0" y="7"/>
                    </a:cubicBezTo>
                    <a:cubicBezTo>
                      <a:pt x="1" y="7"/>
                      <a:pt x="2" y="7"/>
                      <a:pt x="3" y="7"/>
                    </a:cubicBezTo>
                    <a:cubicBezTo>
                      <a:pt x="3" y="7"/>
                      <a:pt x="3" y="7"/>
                      <a:pt x="4" y="7"/>
                    </a:cubicBezTo>
                    <a:cubicBezTo>
                      <a:pt x="4" y="7"/>
                      <a:pt x="4" y="7"/>
                      <a:pt x="4" y="7"/>
                    </a:cubicBezTo>
                    <a:cubicBezTo>
                      <a:pt x="4" y="6"/>
                      <a:pt x="9" y="2"/>
                      <a:pt x="9" y="1"/>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6" name="Freeform 1148">
                <a:extLst>
                  <a:ext uri="{FF2B5EF4-FFF2-40B4-BE49-F238E27FC236}">
                    <a16:creationId xmlns:a16="http://schemas.microsoft.com/office/drawing/2014/main" id="{CC8660E2-3324-42FA-9ECD-F9DF64EAEF8E}"/>
                  </a:ext>
                </a:extLst>
              </p:cNvPr>
              <p:cNvSpPr>
                <a:spLocks/>
              </p:cNvSpPr>
              <p:nvPr/>
            </p:nvSpPr>
            <p:spPr bwMode="auto">
              <a:xfrm>
                <a:off x="5061" y="1773"/>
                <a:ext cx="23" cy="12"/>
              </a:xfrm>
              <a:custGeom>
                <a:avLst/>
                <a:gdLst>
                  <a:gd name="T0" fmla="*/ 5 w 10"/>
                  <a:gd name="T1" fmla="*/ 0 h 5"/>
                  <a:gd name="T2" fmla="*/ 4 w 10"/>
                  <a:gd name="T3" fmla="*/ 0 h 5"/>
                  <a:gd name="T4" fmla="*/ 0 w 10"/>
                  <a:gd name="T5" fmla="*/ 5 h 5"/>
                  <a:gd name="T6" fmla="*/ 4 w 10"/>
                  <a:gd name="T7" fmla="*/ 3 h 5"/>
                  <a:gd name="T8" fmla="*/ 5 w 10"/>
                  <a:gd name="T9" fmla="*/ 4 h 5"/>
                  <a:gd name="T10" fmla="*/ 5 w 10"/>
                  <a:gd name="T11" fmla="*/ 3 h 5"/>
                  <a:gd name="T12" fmla="*/ 7 w 10"/>
                  <a:gd name="T13" fmla="*/ 4 h 5"/>
                  <a:gd name="T14" fmla="*/ 9 w 10"/>
                  <a:gd name="T15" fmla="*/ 3 h 5"/>
                  <a:gd name="T16" fmla="*/ 10 w 10"/>
                  <a:gd name="T17" fmla="*/ 1 h 5"/>
                  <a:gd name="T18" fmla="*/ 5 w 1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5">
                    <a:moveTo>
                      <a:pt x="5" y="0"/>
                    </a:moveTo>
                    <a:cubicBezTo>
                      <a:pt x="4" y="0"/>
                      <a:pt x="4" y="0"/>
                      <a:pt x="4" y="0"/>
                    </a:cubicBezTo>
                    <a:cubicBezTo>
                      <a:pt x="2" y="0"/>
                      <a:pt x="1" y="1"/>
                      <a:pt x="0" y="5"/>
                    </a:cubicBezTo>
                    <a:cubicBezTo>
                      <a:pt x="2" y="5"/>
                      <a:pt x="3" y="3"/>
                      <a:pt x="4" y="3"/>
                    </a:cubicBezTo>
                    <a:cubicBezTo>
                      <a:pt x="4" y="3"/>
                      <a:pt x="5" y="3"/>
                      <a:pt x="5" y="4"/>
                    </a:cubicBezTo>
                    <a:cubicBezTo>
                      <a:pt x="5" y="3"/>
                      <a:pt x="5" y="3"/>
                      <a:pt x="5" y="3"/>
                    </a:cubicBezTo>
                    <a:cubicBezTo>
                      <a:pt x="6" y="3"/>
                      <a:pt x="6" y="4"/>
                      <a:pt x="7" y="4"/>
                    </a:cubicBezTo>
                    <a:cubicBezTo>
                      <a:pt x="7" y="4"/>
                      <a:pt x="8" y="3"/>
                      <a:pt x="9" y="3"/>
                    </a:cubicBezTo>
                    <a:cubicBezTo>
                      <a:pt x="9" y="2"/>
                      <a:pt x="9" y="1"/>
                      <a:pt x="10" y="1"/>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7" name="Freeform 1149">
                <a:extLst>
                  <a:ext uri="{FF2B5EF4-FFF2-40B4-BE49-F238E27FC236}">
                    <a16:creationId xmlns:a16="http://schemas.microsoft.com/office/drawing/2014/main" id="{85C61076-EC1F-4778-9670-8AB06AED2C5E}"/>
                  </a:ext>
                </a:extLst>
              </p:cNvPr>
              <p:cNvSpPr>
                <a:spLocks/>
              </p:cNvSpPr>
              <p:nvPr/>
            </p:nvSpPr>
            <p:spPr bwMode="auto">
              <a:xfrm>
                <a:off x="5129" y="1839"/>
                <a:ext cx="12" cy="7"/>
              </a:xfrm>
              <a:custGeom>
                <a:avLst/>
                <a:gdLst>
                  <a:gd name="T0" fmla="*/ 1 w 5"/>
                  <a:gd name="T1" fmla="*/ 0 h 3"/>
                  <a:gd name="T2" fmla="*/ 0 w 5"/>
                  <a:gd name="T3" fmla="*/ 0 h 3"/>
                  <a:gd name="T4" fmla="*/ 0 w 5"/>
                  <a:gd name="T5" fmla="*/ 0 h 3"/>
                  <a:gd name="T6" fmla="*/ 0 w 5"/>
                  <a:gd name="T7" fmla="*/ 0 h 3"/>
                  <a:gd name="T8" fmla="*/ 1 w 5"/>
                  <a:gd name="T9" fmla="*/ 3 h 3"/>
                  <a:gd name="T10" fmla="*/ 2 w 5"/>
                  <a:gd name="T11" fmla="*/ 3 h 3"/>
                  <a:gd name="T12" fmla="*/ 5 w 5"/>
                  <a:gd name="T13" fmla="*/ 3 h 3"/>
                  <a:gd name="T14" fmla="*/ 1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1" y="0"/>
                    </a:moveTo>
                    <a:cubicBezTo>
                      <a:pt x="1" y="0"/>
                      <a:pt x="0" y="0"/>
                      <a:pt x="0" y="0"/>
                    </a:cubicBezTo>
                    <a:cubicBezTo>
                      <a:pt x="0" y="0"/>
                      <a:pt x="0" y="0"/>
                      <a:pt x="0" y="0"/>
                    </a:cubicBezTo>
                    <a:cubicBezTo>
                      <a:pt x="0" y="0"/>
                      <a:pt x="0" y="0"/>
                      <a:pt x="0" y="0"/>
                    </a:cubicBezTo>
                    <a:cubicBezTo>
                      <a:pt x="0" y="1"/>
                      <a:pt x="1" y="2"/>
                      <a:pt x="1" y="3"/>
                    </a:cubicBezTo>
                    <a:cubicBezTo>
                      <a:pt x="2" y="3"/>
                      <a:pt x="2" y="3"/>
                      <a:pt x="2" y="3"/>
                    </a:cubicBezTo>
                    <a:cubicBezTo>
                      <a:pt x="3" y="3"/>
                      <a:pt x="4" y="3"/>
                      <a:pt x="5" y="3"/>
                    </a:cubicBezTo>
                    <a:cubicBezTo>
                      <a:pt x="4"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8" name="Freeform 1150">
                <a:extLst>
                  <a:ext uri="{FF2B5EF4-FFF2-40B4-BE49-F238E27FC236}">
                    <a16:creationId xmlns:a16="http://schemas.microsoft.com/office/drawing/2014/main" id="{48D7A5D8-E0E6-4175-B687-8EC6197B8ACA}"/>
                  </a:ext>
                </a:extLst>
              </p:cNvPr>
              <p:cNvSpPr>
                <a:spLocks/>
              </p:cNvSpPr>
              <p:nvPr/>
            </p:nvSpPr>
            <p:spPr bwMode="auto">
              <a:xfrm>
                <a:off x="795" y="943"/>
                <a:ext cx="22" cy="5"/>
              </a:xfrm>
              <a:custGeom>
                <a:avLst/>
                <a:gdLst>
                  <a:gd name="T0" fmla="*/ 7 w 9"/>
                  <a:gd name="T1" fmla="*/ 0 h 2"/>
                  <a:gd name="T2" fmla="*/ 0 w 9"/>
                  <a:gd name="T3" fmla="*/ 2 h 2"/>
                  <a:gd name="T4" fmla="*/ 9 w 9"/>
                  <a:gd name="T5" fmla="*/ 1 h 2"/>
                  <a:gd name="T6" fmla="*/ 7 w 9"/>
                  <a:gd name="T7" fmla="*/ 0 h 2"/>
                </a:gdLst>
                <a:ahLst/>
                <a:cxnLst>
                  <a:cxn ang="0">
                    <a:pos x="T0" y="T1"/>
                  </a:cxn>
                  <a:cxn ang="0">
                    <a:pos x="T2" y="T3"/>
                  </a:cxn>
                  <a:cxn ang="0">
                    <a:pos x="T4" y="T5"/>
                  </a:cxn>
                  <a:cxn ang="0">
                    <a:pos x="T6" y="T7"/>
                  </a:cxn>
                </a:cxnLst>
                <a:rect l="0" t="0" r="r" b="b"/>
                <a:pathLst>
                  <a:path w="9" h="2">
                    <a:moveTo>
                      <a:pt x="7" y="0"/>
                    </a:moveTo>
                    <a:cubicBezTo>
                      <a:pt x="5" y="0"/>
                      <a:pt x="1" y="0"/>
                      <a:pt x="0" y="2"/>
                    </a:cubicBezTo>
                    <a:cubicBezTo>
                      <a:pt x="3" y="2"/>
                      <a:pt x="6" y="1"/>
                      <a:pt x="9" y="1"/>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19" name="Freeform 1151">
                <a:extLst>
                  <a:ext uri="{FF2B5EF4-FFF2-40B4-BE49-F238E27FC236}">
                    <a16:creationId xmlns:a16="http://schemas.microsoft.com/office/drawing/2014/main" id="{F4A57982-99D5-4C8F-8E9B-E57502BD6F7C}"/>
                  </a:ext>
                </a:extLst>
              </p:cNvPr>
              <p:cNvSpPr>
                <a:spLocks noEditPoints="1"/>
              </p:cNvSpPr>
              <p:nvPr/>
            </p:nvSpPr>
            <p:spPr bwMode="auto">
              <a:xfrm>
                <a:off x="2175" y="338"/>
                <a:ext cx="60" cy="43"/>
              </a:xfrm>
              <a:custGeom>
                <a:avLst/>
                <a:gdLst>
                  <a:gd name="T0" fmla="*/ 2 w 25"/>
                  <a:gd name="T1" fmla="*/ 15 h 18"/>
                  <a:gd name="T2" fmla="*/ 2 w 25"/>
                  <a:gd name="T3" fmla="*/ 15 h 18"/>
                  <a:gd name="T4" fmla="*/ 2 w 25"/>
                  <a:gd name="T5" fmla="*/ 15 h 18"/>
                  <a:gd name="T6" fmla="*/ 1 w 25"/>
                  <a:gd name="T7" fmla="*/ 12 h 18"/>
                  <a:gd name="T8" fmla="*/ 1 w 25"/>
                  <a:gd name="T9" fmla="*/ 12 h 18"/>
                  <a:gd name="T10" fmla="*/ 1 w 25"/>
                  <a:gd name="T11" fmla="*/ 12 h 18"/>
                  <a:gd name="T12" fmla="*/ 14 w 25"/>
                  <a:gd name="T13" fmla="*/ 0 h 18"/>
                  <a:gd name="T14" fmla="*/ 8 w 25"/>
                  <a:gd name="T15" fmla="*/ 5 h 18"/>
                  <a:gd name="T16" fmla="*/ 1 w 25"/>
                  <a:gd name="T17" fmla="*/ 12 h 18"/>
                  <a:gd name="T18" fmla="*/ 1 w 25"/>
                  <a:gd name="T19" fmla="*/ 12 h 18"/>
                  <a:gd name="T20" fmla="*/ 2 w 25"/>
                  <a:gd name="T21" fmla="*/ 14 h 18"/>
                  <a:gd name="T22" fmla="*/ 2 w 25"/>
                  <a:gd name="T23" fmla="*/ 15 h 18"/>
                  <a:gd name="T24" fmla="*/ 2 w 25"/>
                  <a:gd name="T25" fmla="*/ 15 h 18"/>
                  <a:gd name="T26" fmla="*/ 9 w 25"/>
                  <a:gd name="T27" fmla="*/ 18 h 18"/>
                  <a:gd name="T28" fmla="*/ 22 w 25"/>
                  <a:gd name="T29" fmla="*/ 13 h 18"/>
                  <a:gd name="T30" fmla="*/ 24 w 25"/>
                  <a:gd name="T31" fmla="*/ 11 h 18"/>
                  <a:gd name="T32" fmla="*/ 23 w 25"/>
                  <a:gd name="T33" fmla="*/ 10 h 18"/>
                  <a:gd name="T34" fmla="*/ 23 w 25"/>
                  <a:gd name="T35" fmla="*/ 9 h 18"/>
                  <a:gd name="T36" fmla="*/ 22 w 25"/>
                  <a:gd name="T37" fmla="*/ 4 h 18"/>
                  <a:gd name="T38" fmla="*/ 15 w 25"/>
                  <a:gd name="T39" fmla="*/ 0 h 18"/>
                  <a:gd name="T40" fmla="*/ 14 w 25"/>
                  <a:gd name="T4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18">
                    <a:moveTo>
                      <a:pt x="2" y="15"/>
                    </a:moveTo>
                    <a:cubicBezTo>
                      <a:pt x="2" y="15"/>
                      <a:pt x="2" y="15"/>
                      <a:pt x="2" y="15"/>
                    </a:cubicBezTo>
                    <a:cubicBezTo>
                      <a:pt x="2" y="15"/>
                      <a:pt x="2" y="15"/>
                      <a:pt x="2" y="15"/>
                    </a:cubicBezTo>
                    <a:moveTo>
                      <a:pt x="1" y="12"/>
                    </a:moveTo>
                    <a:cubicBezTo>
                      <a:pt x="1" y="12"/>
                      <a:pt x="1" y="12"/>
                      <a:pt x="1" y="12"/>
                    </a:cubicBezTo>
                    <a:cubicBezTo>
                      <a:pt x="1" y="12"/>
                      <a:pt x="1" y="12"/>
                      <a:pt x="1" y="12"/>
                    </a:cubicBezTo>
                    <a:moveTo>
                      <a:pt x="14" y="0"/>
                    </a:moveTo>
                    <a:cubicBezTo>
                      <a:pt x="11" y="0"/>
                      <a:pt x="10" y="3"/>
                      <a:pt x="8" y="5"/>
                    </a:cubicBezTo>
                    <a:cubicBezTo>
                      <a:pt x="6" y="7"/>
                      <a:pt x="0" y="8"/>
                      <a:pt x="1" y="12"/>
                    </a:cubicBezTo>
                    <a:cubicBezTo>
                      <a:pt x="1" y="12"/>
                      <a:pt x="1" y="12"/>
                      <a:pt x="1" y="12"/>
                    </a:cubicBezTo>
                    <a:cubicBezTo>
                      <a:pt x="1" y="12"/>
                      <a:pt x="1" y="13"/>
                      <a:pt x="2" y="14"/>
                    </a:cubicBezTo>
                    <a:cubicBezTo>
                      <a:pt x="2" y="14"/>
                      <a:pt x="3" y="15"/>
                      <a:pt x="2" y="15"/>
                    </a:cubicBezTo>
                    <a:cubicBezTo>
                      <a:pt x="2" y="15"/>
                      <a:pt x="2" y="15"/>
                      <a:pt x="2" y="15"/>
                    </a:cubicBezTo>
                    <a:cubicBezTo>
                      <a:pt x="4" y="17"/>
                      <a:pt x="6" y="17"/>
                      <a:pt x="9" y="18"/>
                    </a:cubicBezTo>
                    <a:cubicBezTo>
                      <a:pt x="13" y="16"/>
                      <a:pt x="19" y="16"/>
                      <a:pt x="22" y="13"/>
                    </a:cubicBezTo>
                    <a:cubicBezTo>
                      <a:pt x="25" y="12"/>
                      <a:pt x="23" y="13"/>
                      <a:pt x="24" y="11"/>
                    </a:cubicBezTo>
                    <a:cubicBezTo>
                      <a:pt x="23" y="10"/>
                      <a:pt x="23" y="10"/>
                      <a:pt x="23" y="10"/>
                    </a:cubicBezTo>
                    <a:cubicBezTo>
                      <a:pt x="23" y="9"/>
                      <a:pt x="23" y="9"/>
                      <a:pt x="23" y="9"/>
                    </a:cubicBezTo>
                    <a:cubicBezTo>
                      <a:pt x="23" y="7"/>
                      <a:pt x="23" y="5"/>
                      <a:pt x="22" y="4"/>
                    </a:cubicBezTo>
                    <a:cubicBezTo>
                      <a:pt x="22" y="3"/>
                      <a:pt x="17" y="1"/>
                      <a:pt x="15" y="0"/>
                    </a:cubicBezTo>
                    <a:cubicBezTo>
                      <a:pt x="15" y="0"/>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0" name="Freeform 1152">
                <a:extLst>
                  <a:ext uri="{FF2B5EF4-FFF2-40B4-BE49-F238E27FC236}">
                    <a16:creationId xmlns:a16="http://schemas.microsoft.com/office/drawing/2014/main" id="{052169D3-2710-4227-9DD5-B39A333328EB}"/>
                  </a:ext>
                </a:extLst>
              </p:cNvPr>
              <p:cNvSpPr>
                <a:spLocks/>
              </p:cNvSpPr>
              <p:nvPr/>
            </p:nvSpPr>
            <p:spPr bwMode="auto">
              <a:xfrm>
                <a:off x="2209" y="171"/>
                <a:ext cx="96" cy="106"/>
              </a:xfrm>
              <a:custGeom>
                <a:avLst/>
                <a:gdLst>
                  <a:gd name="T0" fmla="*/ 23 w 41"/>
                  <a:gd name="T1" fmla="*/ 0 h 45"/>
                  <a:gd name="T2" fmla="*/ 18 w 41"/>
                  <a:gd name="T3" fmla="*/ 1 h 45"/>
                  <a:gd name="T4" fmla="*/ 0 w 41"/>
                  <a:gd name="T5" fmla="*/ 1 h 45"/>
                  <a:gd name="T6" fmla="*/ 11 w 41"/>
                  <a:gd name="T7" fmla="*/ 15 h 45"/>
                  <a:gd name="T8" fmla="*/ 23 w 41"/>
                  <a:gd name="T9" fmla="*/ 26 h 45"/>
                  <a:gd name="T10" fmla="*/ 22 w 41"/>
                  <a:gd name="T11" fmla="*/ 29 h 45"/>
                  <a:gd name="T12" fmla="*/ 23 w 41"/>
                  <a:gd name="T13" fmla="*/ 37 h 45"/>
                  <a:gd name="T14" fmla="*/ 28 w 41"/>
                  <a:gd name="T15" fmla="*/ 44 h 45"/>
                  <a:gd name="T16" fmla="*/ 29 w 41"/>
                  <a:gd name="T17" fmla="*/ 44 h 45"/>
                  <a:gd name="T18" fmla="*/ 30 w 41"/>
                  <a:gd name="T19" fmla="*/ 44 h 45"/>
                  <a:gd name="T20" fmla="*/ 31 w 41"/>
                  <a:gd name="T21" fmla="*/ 44 h 45"/>
                  <a:gd name="T22" fmla="*/ 32 w 41"/>
                  <a:gd name="T23" fmla="*/ 44 h 45"/>
                  <a:gd name="T24" fmla="*/ 37 w 41"/>
                  <a:gd name="T25" fmla="*/ 45 h 45"/>
                  <a:gd name="T26" fmla="*/ 37 w 41"/>
                  <a:gd name="T27" fmla="*/ 43 h 45"/>
                  <a:gd name="T28" fmla="*/ 38 w 41"/>
                  <a:gd name="T29" fmla="*/ 43 h 45"/>
                  <a:gd name="T30" fmla="*/ 39 w 41"/>
                  <a:gd name="T31" fmla="*/ 43 h 45"/>
                  <a:gd name="T32" fmla="*/ 41 w 41"/>
                  <a:gd name="T33" fmla="*/ 43 h 45"/>
                  <a:gd name="T34" fmla="*/ 37 w 41"/>
                  <a:gd name="T35" fmla="*/ 41 h 45"/>
                  <a:gd name="T36" fmla="*/ 40 w 41"/>
                  <a:gd name="T37" fmla="*/ 37 h 45"/>
                  <a:gd name="T38" fmla="*/ 38 w 41"/>
                  <a:gd name="T39" fmla="*/ 24 h 45"/>
                  <a:gd name="T40" fmla="*/ 37 w 41"/>
                  <a:gd name="T41" fmla="*/ 12 h 45"/>
                  <a:gd name="T42" fmla="*/ 37 w 41"/>
                  <a:gd name="T43" fmla="*/ 12 h 45"/>
                  <a:gd name="T44" fmla="*/ 33 w 41"/>
                  <a:gd name="T45" fmla="*/ 10 h 45"/>
                  <a:gd name="T46" fmla="*/ 31 w 41"/>
                  <a:gd name="T47" fmla="*/ 6 h 45"/>
                  <a:gd name="T48" fmla="*/ 32 w 41"/>
                  <a:gd name="T49" fmla="*/ 6 h 45"/>
                  <a:gd name="T50" fmla="*/ 27 w 41"/>
                  <a:gd name="T51" fmla="*/ 1 h 45"/>
                  <a:gd name="T52" fmla="*/ 23 w 41"/>
                  <a:gd name="T5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45">
                    <a:moveTo>
                      <a:pt x="23" y="0"/>
                    </a:moveTo>
                    <a:cubicBezTo>
                      <a:pt x="21" y="0"/>
                      <a:pt x="19" y="1"/>
                      <a:pt x="18" y="1"/>
                    </a:cubicBezTo>
                    <a:cubicBezTo>
                      <a:pt x="12" y="1"/>
                      <a:pt x="6" y="1"/>
                      <a:pt x="0" y="1"/>
                    </a:cubicBezTo>
                    <a:cubicBezTo>
                      <a:pt x="3" y="9"/>
                      <a:pt x="4" y="10"/>
                      <a:pt x="11" y="15"/>
                    </a:cubicBezTo>
                    <a:cubicBezTo>
                      <a:pt x="14" y="18"/>
                      <a:pt x="20" y="22"/>
                      <a:pt x="23" y="26"/>
                    </a:cubicBezTo>
                    <a:cubicBezTo>
                      <a:pt x="21" y="26"/>
                      <a:pt x="22" y="27"/>
                      <a:pt x="22" y="29"/>
                    </a:cubicBezTo>
                    <a:cubicBezTo>
                      <a:pt x="21" y="31"/>
                      <a:pt x="21" y="34"/>
                      <a:pt x="23" y="37"/>
                    </a:cubicBezTo>
                    <a:cubicBezTo>
                      <a:pt x="25" y="39"/>
                      <a:pt x="26" y="42"/>
                      <a:pt x="28" y="44"/>
                    </a:cubicBezTo>
                    <a:cubicBezTo>
                      <a:pt x="28" y="44"/>
                      <a:pt x="29" y="44"/>
                      <a:pt x="29" y="44"/>
                    </a:cubicBezTo>
                    <a:cubicBezTo>
                      <a:pt x="29" y="44"/>
                      <a:pt x="30" y="44"/>
                      <a:pt x="30" y="44"/>
                    </a:cubicBezTo>
                    <a:cubicBezTo>
                      <a:pt x="31" y="44"/>
                      <a:pt x="31" y="44"/>
                      <a:pt x="31" y="44"/>
                    </a:cubicBezTo>
                    <a:cubicBezTo>
                      <a:pt x="31" y="44"/>
                      <a:pt x="31" y="44"/>
                      <a:pt x="32" y="44"/>
                    </a:cubicBezTo>
                    <a:cubicBezTo>
                      <a:pt x="33" y="44"/>
                      <a:pt x="36" y="44"/>
                      <a:pt x="37" y="45"/>
                    </a:cubicBezTo>
                    <a:cubicBezTo>
                      <a:pt x="37" y="43"/>
                      <a:pt x="37" y="43"/>
                      <a:pt x="37" y="43"/>
                    </a:cubicBezTo>
                    <a:cubicBezTo>
                      <a:pt x="38" y="43"/>
                      <a:pt x="38" y="43"/>
                      <a:pt x="38" y="43"/>
                    </a:cubicBezTo>
                    <a:cubicBezTo>
                      <a:pt x="39" y="43"/>
                      <a:pt x="39" y="43"/>
                      <a:pt x="39" y="43"/>
                    </a:cubicBezTo>
                    <a:cubicBezTo>
                      <a:pt x="40" y="43"/>
                      <a:pt x="40" y="43"/>
                      <a:pt x="41" y="43"/>
                    </a:cubicBezTo>
                    <a:cubicBezTo>
                      <a:pt x="39" y="42"/>
                      <a:pt x="39" y="42"/>
                      <a:pt x="37" y="41"/>
                    </a:cubicBezTo>
                    <a:cubicBezTo>
                      <a:pt x="38" y="40"/>
                      <a:pt x="40" y="39"/>
                      <a:pt x="40" y="37"/>
                    </a:cubicBezTo>
                    <a:cubicBezTo>
                      <a:pt x="41" y="34"/>
                      <a:pt x="39" y="27"/>
                      <a:pt x="38" y="24"/>
                    </a:cubicBezTo>
                    <a:cubicBezTo>
                      <a:pt x="37" y="22"/>
                      <a:pt x="36" y="13"/>
                      <a:pt x="37" y="12"/>
                    </a:cubicBezTo>
                    <a:cubicBezTo>
                      <a:pt x="37" y="12"/>
                      <a:pt x="37" y="12"/>
                      <a:pt x="37" y="12"/>
                    </a:cubicBezTo>
                    <a:cubicBezTo>
                      <a:pt x="36" y="11"/>
                      <a:pt x="34" y="11"/>
                      <a:pt x="33" y="10"/>
                    </a:cubicBezTo>
                    <a:cubicBezTo>
                      <a:pt x="29" y="9"/>
                      <a:pt x="32" y="9"/>
                      <a:pt x="31" y="6"/>
                    </a:cubicBezTo>
                    <a:cubicBezTo>
                      <a:pt x="31" y="6"/>
                      <a:pt x="31" y="6"/>
                      <a:pt x="32" y="6"/>
                    </a:cubicBezTo>
                    <a:cubicBezTo>
                      <a:pt x="30" y="4"/>
                      <a:pt x="29" y="2"/>
                      <a:pt x="27" y="1"/>
                    </a:cubicBezTo>
                    <a:cubicBezTo>
                      <a:pt x="26" y="1"/>
                      <a:pt x="24"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1" name="Freeform 1153">
                <a:extLst>
                  <a:ext uri="{FF2B5EF4-FFF2-40B4-BE49-F238E27FC236}">
                    <a16:creationId xmlns:a16="http://schemas.microsoft.com/office/drawing/2014/main" id="{4AB6DEC9-4D9E-47FA-98C5-6D434EB94BD9}"/>
                  </a:ext>
                </a:extLst>
              </p:cNvPr>
              <p:cNvSpPr>
                <a:spLocks/>
              </p:cNvSpPr>
              <p:nvPr/>
            </p:nvSpPr>
            <p:spPr bwMode="auto">
              <a:xfrm>
                <a:off x="2211" y="246"/>
                <a:ext cx="66" cy="102"/>
              </a:xfrm>
              <a:custGeom>
                <a:avLst/>
                <a:gdLst>
                  <a:gd name="T0" fmla="*/ 0 w 28"/>
                  <a:gd name="T1" fmla="*/ 0 h 43"/>
                  <a:gd name="T2" fmla="*/ 3 w 28"/>
                  <a:gd name="T3" fmla="*/ 7 h 43"/>
                  <a:gd name="T4" fmla="*/ 3 w 28"/>
                  <a:gd name="T5" fmla="*/ 13 h 43"/>
                  <a:gd name="T6" fmla="*/ 3 w 28"/>
                  <a:gd name="T7" fmla="*/ 17 h 43"/>
                  <a:gd name="T8" fmla="*/ 4 w 28"/>
                  <a:gd name="T9" fmla="*/ 17 h 43"/>
                  <a:gd name="T10" fmla="*/ 5 w 28"/>
                  <a:gd name="T11" fmla="*/ 19 h 43"/>
                  <a:gd name="T12" fmla="*/ 7 w 28"/>
                  <a:gd name="T13" fmla="*/ 17 h 43"/>
                  <a:gd name="T14" fmla="*/ 9 w 28"/>
                  <a:gd name="T15" fmla="*/ 15 h 43"/>
                  <a:gd name="T16" fmla="*/ 9 w 28"/>
                  <a:gd name="T17" fmla="*/ 15 h 43"/>
                  <a:gd name="T18" fmla="*/ 14 w 28"/>
                  <a:gd name="T19" fmla="*/ 39 h 43"/>
                  <a:gd name="T20" fmla="*/ 22 w 28"/>
                  <a:gd name="T21" fmla="*/ 43 h 43"/>
                  <a:gd name="T22" fmla="*/ 21 w 28"/>
                  <a:gd name="T23" fmla="*/ 33 h 43"/>
                  <a:gd name="T24" fmla="*/ 25 w 28"/>
                  <a:gd name="T25" fmla="*/ 40 h 43"/>
                  <a:gd name="T26" fmla="*/ 28 w 28"/>
                  <a:gd name="T27" fmla="*/ 34 h 43"/>
                  <a:gd name="T28" fmla="*/ 25 w 28"/>
                  <a:gd name="T29" fmla="*/ 26 h 43"/>
                  <a:gd name="T30" fmla="*/ 20 w 28"/>
                  <a:gd name="T31" fmla="*/ 3 h 43"/>
                  <a:gd name="T32" fmla="*/ 11 w 28"/>
                  <a:gd name="T33" fmla="*/ 6 h 43"/>
                  <a:gd name="T34" fmla="*/ 8 w 28"/>
                  <a:gd name="T35" fmla="*/ 5 h 43"/>
                  <a:gd name="T36" fmla="*/ 0 w 28"/>
                  <a:gd name="T3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43">
                    <a:moveTo>
                      <a:pt x="0" y="0"/>
                    </a:moveTo>
                    <a:cubicBezTo>
                      <a:pt x="1" y="2"/>
                      <a:pt x="2" y="5"/>
                      <a:pt x="3" y="7"/>
                    </a:cubicBezTo>
                    <a:cubicBezTo>
                      <a:pt x="3" y="9"/>
                      <a:pt x="3" y="11"/>
                      <a:pt x="3" y="13"/>
                    </a:cubicBezTo>
                    <a:cubicBezTo>
                      <a:pt x="3" y="14"/>
                      <a:pt x="2" y="17"/>
                      <a:pt x="3" y="17"/>
                    </a:cubicBezTo>
                    <a:cubicBezTo>
                      <a:pt x="3" y="17"/>
                      <a:pt x="4" y="17"/>
                      <a:pt x="4" y="17"/>
                    </a:cubicBezTo>
                    <a:cubicBezTo>
                      <a:pt x="4" y="18"/>
                      <a:pt x="5" y="19"/>
                      <a:pt x="5" y="19"/>
                    </a:cubicBezTo>
                    <a:cubicBezTo>
                      <a:pt x="6" y="19"/>
                      <a:pt x="6" y="18"/>
                      <a:pt x="7" y="17"/>
                    </a:cubicBezTo>
                    <a:cubicBezTo>
                      <a:pt x="8" y="16"/>
                      <a:pt x="9" y="15"/>
                      <a:pt x="9" y="15"/>
                    </a:cubicBezTo>
                    <a:cubicBezTo>
                      <a:pt x="9" y="15"/>
                      <a:pt x="9" y="15"/>
                      <a:pt x="9" y="15"/>
                    </a:cubicBezTo>
                    <a:cubicBezTo>
                      <a:pt x="17" y="16"/>
                      <a:pt x="14" y="36"/>
                      <a:pt x="14" y="39"/>
                    </a:cubicBezTo>
                    <a:cubicBezTo>
                      <a:pt x="16" y="41"/>
                      <a:pt x="19" y="42"/>
                      <a:pt x="22" y="43"/>
                    </a:cubicBezTo>
                    <a:cubicBezTo>
                      <a:pt x="22" y="39"/>
                      <a:pt x="20" y="37"/>
                      <a:pt x="21" y="33"/>
                    </a:cubicBezTo>
                    <a:cubicBezTo>
                      <a:pt x="22" y="35"/>
                      <a:pt x="23" y="37"/>
                      <a:pt x="25" y="40"/>
                    </a:cubicBezTo>
                    <a:cubicBezTo>
                      <a:pt x="26" y="38"/>
                      <a:pt x="28" y="36"/>
                      <a:pt x="28" y="34"/>
                    </a:cubicBezTo>
                    <a:cubicBezTo>
                      <a:pt x="28" y="32"/>
                      <a:pt x="26" y="27"/>
                      <a:pt x="25" y="26"/>
                    </a:cubicBezTo>
                    <a:cubicBezTo>
                      <a:pt x="19" y="20"/>
                      <a:pt x="21" y="12"/>
                      <a:pt x="20" y="3"/>
                    </a:cubicBezTo>
                    <a:cubicBezTo>
                      <a:pt x="17" y="4"/>
                      <a:pt x="14" y="6"/>
                      <a:pt x="11" y="6"/>
                    </a:cubicBezTo>
                    <a:cubicBezTo>
                      <a:pt x="10" y="6"/>
                      <a:pt x="9" y="6"/>
                      <a:pt x="8" y="5"/>
                    </a:cubicBezTo>
                    <a:cubicBezTo>
                      <a:pt x="5" y="4"/>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2" name="Freeform 1154">
                <a:extLst>
                  <a:ext uri="{FF2B5EF4-FFF2-40B4-BE49-F238E27FC236}">
                    <a16:creationId xmlns:a16="http://schemas.microsoft.com/office/drawing/2014/main" id="{60987E26-E422-4195-AC7A-4498DE6DCE01}"/>
                  </a:ext>
                </a:extLst>
              </p:cNvPr>
              <p:cNvSpPr>
                <a:spLocks/>
              </p:cNvSpPr>
              <p:nvPr/>
            </p:nvSpPr>
            <p:spPr bwMode="auto">
              <a:xfrm>
                <a:off x="1920" y="0"/>
                <a:ext cx="284" cy="173"/>
              </a:xfrm>
              <a:custGeom>
                <a:avLst/>
                <a:gdLst>
                  <a:gd name="T0" fmla="*/ 0 w 120"/>
                  <a:gd name="T1" fmla="*/ 0 h 73"/>
                  <a:gd name="T2" fmla="*/ 2 w 120"/>
                  <a:gd name="T3" fmla="*/ 7 h 73"/>
                  <a:gd name="T4" fmla="*/ 10 w 120"/>
                  <a:gd name="T5" fmla="*/ 13 h 73"/>
                  <a:gd name="T6" fmla="*/ 12 w 120"/>
                  <a:gd name="T7" fmla="*/ 18 h 73"/>
                  <a:gd name="T8" fmla="*/ 15 w 120"/>
                  <a:gd name="T9" fmla="*/ 6 h 73"/>
                  <a:gd name="T10" fmla="*/ 28 w 120"/>
                  <a:gd name="T11" fmla="*/ 5 h 73"/>
                  <a:gd name="T12" fmla="*/ 28 w 120"/>
                  <a:gd name="T13" fmla="*/ 21 h 73"/>
                  <a:gd name="T14" fmla="*/ 16 w 120"/>
                  <a:gd name="T15" fmla="*/ 25 h 73"/>
                  <a:gd name="T16" fmla="*/ 20 w 120"/>
                  <a:gd name="T17" fmla="*/ 33 h 73"/>
                  <a:gd name="T18" fmla="*/ 24 w 120"/>
                  <a:gd name="T19" fmla="*/ 39 h 73"/>
                  <a:gd name="T20" fmla="*/ 35 w 120"/>
                  <a:gd name="T21" fmla="*/ 42 h 73"/>
                  <a:gd name="T22" fmla="*/ 42 w 120"/>
                  <a:gd name="T23" fmla="*/ 35 h 73"/>
                  <a:gd name="T24" fmla="*/ 55 w 120"/>
                  <a:gd name="T25" fmla="*/ 35 h 73"/>
                  <a:gd name="T26" fmla="*/ 66 w 120"/>
                  <a:gd name="T27" fmla="*/ 43 h 73"/>
                  <a:gd name="T28" fmla="*/ 66 w 120"/>
                  <a:gd name="T29" fmla="*/ 43 h 73"/>
                  <a:gd name="T30" fmla="*/ 71 w 120"/>
                  <a:gd name="T31" fmla="*/ 40 h 73"/>
                  <a:gd name="T32" fmla="*/ 71 w 120"/>
                  <a:gd name="T33" fmla="*/ 32 h 73"/>
                  <a:gd name="T34" fmla="*/ 91 w 120"/>
                  <a:gd name="T35" fmla="*/ 50 h 73"/>
                  <a:gd name="T36" fmla="*/ 101 w 120"/>
                  <a:gd name="T37" fmla="*/ 61 h 73"/>
                  <a:gd name="T38" fmla="*/ 111 w 120"/>
                  <a:gd name="T39" fmla="*/ 62 h 73"/>
                  <a:gd name="T40" fmla="*/ 113 w 120"/>
                  <a:gd name="T41" fmla="*/ 61 h 73"/>
                  <a:gd name="T42" fmla="*/ 115 w 120"/>
                  <a:gd name="T43" fmla="*/ 61 h 73"/>
                  <a:gd name="T44" fmla="*/ 113 w 120"/>
                  <a:gd name="T45" fmla="*/ 65 h 73"/>
                  <a:gd name="T46" fmla="*/ 112 w 120"/>
                  <a:gd name="T47" fmla="*/ 64 h 73"/>
                  <a:gd name="T48" fmla="*/ 110 w 120"/>
                  <a:gd name="T49" fmla="*/ 65 h 73"/>
                  <a:gd name="T50" fmla="*/ 120 w 120"/>
                  <a:gd name="T51" fmla="*/ 59 h 73"/>
                  <a:gd name="T52" fmla="*/ 112 w 120"/>
                  <a:gd name="T53" fmla="*/ 57 h 73"/>
                  <a:gd name="T54" fmla="*/ 111 w 120"/>
                  <a:gd name="T55" fmla="*/ 53 h 73"/>
                  <a:gd name="T56" fmla="*/ 102 w 120"/>
                  <a:gd name="T57" fmla="*/ 39 h 73"/>
                  <a:gd name="T58" fmla="*/ 107 w 120"/>
                  <a:gd name="T59" fmla="*/ 39 h 73"/>
                  <a:gd name="T60" fmla="*/ 110 w 120"/>
                  <a:gd name="T61" fmla="*/ 39 h 73"/>
                  <a:gd name="T62" fmla="*/ 114 w 120"/>
                  <a:gd name="T63" fmla="*/ 39 h 73"/>
                  <a:gd name="T64" fmla="*/ 96 w 120"/>
                  <a:gd name="T65" fmla="*/ 28 h 73"/>
                  <a:gd name="T66" fmla="*/ 95 w 120"/>
                  <a:gd name="T67" fmla="*/ 35 h 73"/>
                  <a:gd name="T68" fmla="*/ 87 w 120"/>
                  <a:gd name="T69" fmla="*/ 29 h 73"/>
                  <a:gd name="T70" fmla="*/ 73 w 120"/>
                  <a:gd name="T71" fmla="*/ 20 h 73"/>
                  <a:gd name="T72" fmla="*/ 64 w 120"/>
                  <a:gd name="T73" fmla="*/ 31 h 73"/>
                  <a:gd name="T74" fmla="*/ 63 w 120"/>
                  <a:gd name="T75" fmla="*/ 34 h 73"/>
                  <a:gd name="T76" fmla="*/ 49 w 120"/>
                  <a:gd name="T77" fmla="*/ 21 h 73"/>
                  <a:gd name="T78" fmla="*/ 44 w 120"/>
                  <a:gd name="T79" fmla="*/ 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0" h="73">
                    <a:moveTo>
                      <a:pt x="43" y="0"/>
                    </a:moveTo>
                    <a:cubicBezTo>
                      <a:pt x="0" y="0"/>
                      <a:pt x="0" y="0"/>
                      <a:pt x="0" y="0"/>
                    </a:cubicBezTo>
                    <a:cubicBezTo>
                      <a:pt x="0" y="2"/>
                      <a:pt x="1" y="5"/>
                      <a:pt x="1" y="7"/>
                    </a:cubicBezTo>
                    <a:cubicBezTo>
                      <a:pt x="2" y="7"/>
                      <a:pt x="2" y="7"/>
                      <a:pt x="2" y="7"/>
                    </a:cubicBezTo>
                    <a:cubicBezTo>
                      <a:pt x="4" y="7"/>
                      <a:pt x="6" y="7"/>
                      <a:pt x="7" y="7"/>
                    </a:cubicBezTo>
                    <a:cubicBezTo>
                      <a:pt x="4" y="12"/>
                      <a:pt x="8" y="10"/>
                      <a:pt x="10" y="13"/>
                    </a:cubicBezTo>
                    <a:cubicBezTo>
                      <a:pt x="10" y="14"/>
                      <a:pt x="9" y="15"/>
                      <a:pt x="10" y="16"/>
                    </a:cubicBezTo>
                    <a:cubicBezTo>
                      <a:pt x="10" y="17"/>
                      <a:pt x="10" y="17"/>
                      <a:pt x="12" y="18"/>
                    </a:cubicBezTo>
                    <a:cubicBezTo>
                      <a:pt x="12" y="18"/>
                      <a:pt x="13" y="18"/>
                      <a:pt x="13" y="18"/>
                    </a:cubicBezTo>
                    <a:cubicBezTo>
                      <a:pt x="17" y="18"/>
                      <a:pt x="15" y="9"/>
                      <a:pt x="15" y="6"/>
                    </a:cubicBezTo>
                    <a:cubicBezTo>
                      <a:pt x="17" y="7"/>
                      <a:pt x="19" y="8"/>
                      <a:pt x="21" y="9"/>
                    </a:cubicBezTo>
                    <a:cubicBezTo>
                      <a:pt x="23" y="7"/>
                      <a:pt x="25" y="5"/>
                      <a:pt x="28" y="5"/>
                    </a:cubicBezTo>
                    <a:cubicBezTo>
                      <a:pt x="32" y="5"/>
                      <a:pt x="36" y="9"/>
                      <a:pt x="36" y="13"/>
                    </a:cubicBezTo>
                    <a:cubicBezTo>
                      <a:pt x="36" y="18"/>
                      <a:pt x="32" y="21"/>
                      <a:pt x="28" y="21"/>
                    </a:cubicBezTo>
                    <a:cubicBezTo>
                      <a:pt x="26" y="21"/>
                      <a:pt x="24" y="20"/>
                      <a:pt x="23" y="19"/>
                    </a:cubicBezTo>
                    <a:cubicBezTo>
                      <a:pt x="20" y="21"/>
                      <a:pt x="16" y="23"/>
                      <a:pt x="16" y="25"/>
                    </a:cubicBezTo>
                    <a:cubicBezTo>
                      <a:pt x="17" y="29"/>
                      <a:pt x="17" y="33"/>
                      <a:pt x="18" y="37"/>
                    </a:cubicBezTo>
                    <a:cubicBezTo>
                      <a:pt x="19" y="35"/>
                      <a:pt x="20" y="33"/>
                      <a:pt x="20" y="33"/>
                    </a:cubicBezTo>
                    <a:cubicBezTo>
                      <a:pt x="21" y="33"/>
                      <a:pt x="22" y="34"/>
                      <a:pt x="25" y="36"/>
                    </a:cubicBezTo>
                    <a:cubicBezTo>
                      <a:pt x="27" y="38"/>
                      <a:pt x="23" y="38"/>
                      <a:pt x="24" y="39"/>
                    </a:cubicBezTo>
                    <a:cubicBezTo>
                      <a:pt x="25" y="40"/>
                      <a:pt x="29" y="42"/>
                      <a:pt x="31" y="42"/>
                    </a:cubicBezTo>
                    <a:cubicBezTo>
                      <a:pt x="32" y="42"/>
                      <a:pt x="33" y="42"/>
                      <a:pt x="35" y="42"/>
                    </a:cubicBezTo>
                    <a:cubicBezTo>
                      <a:pt x="35" y="42"/>
                      <a:pt x="36" y="42"/>
                      <a:pt x="36" y="42"/>
                    </a:cubicBezTo>
                    <a:cubicBezTo>
                      <a:pt x="39" y="41"/>
                      <a:pt x="40" y="37"/>
                      <a:pt x="42" y="35"/>
                    </a:cubicBezTo>
                    <a:cubicBezTo>
                      <a:pt x="45" y="34"/>
                      <a:pt x="47" y="33"/>
                      <a:pt x="49" y="33"/>
                    </a:cubicBezTo>
                    <a:cubicBezTo>
                      <a:pt x="50" y="33"/>
                      <a:pt x="52" y="33"/>
                      <a:pt x="55" y="35"/>
                    </a:cubicBezTo>
                    <a:cubicBezTo>
                      <a:pt x="56" y="36"/>
                      <a:pt x="58" y="36"/>
                      <a:pt x="60" y="38"/>
                    </a:cubicBezTo>
                    <a:cubicBezTo>
                      <a:pt x="62" y="39"/>
                      <a:pt x="62" y="43"/>
                      <a:pt x="66" y="43"/>
                    </a:cubicBezTo>
                    <a:cubicBezTo>
                      <a:pt x="66" y="43"/>
                      <a:pt x="66" y="43"/>
                      <a:pt x="66" y="43"/>
                    </a:cubicBezTo>
                    <a:cubicBezTo>
                      <a:pt x="66" y="43"/>
                      <a:pt x="66" y="43"/>
                      <a:pt x="66" y="43"/>
                    </a:cubicBezTo>
                    <a:cubicBezTo>
                      <a:pt x="71" y="43"/>
                      <a:pt x="71" y="53"/>
                      <a:pt x="74" y="55"/>
                    </a:cubicBezTo>
                    <a:cubicBezTo>
                      <a:pt x="73" y="50"/>
                      <a:pt x="72" y="45"/>
                      <a:pt x="71" y="40"/>
                    </a:cubicBezTo>
                    <a:cubicBezTo>
                      <a:pt x="71" y="38"/>
                      <a:pt x="71" y="34"/>
                      <a:pt x="69" y="33"/>
                    </a:cubicBezTo>
                    <a:cubicBezTo>
                      <a:pt x="70" y="33"/>
                      <a:pt x="71" y="32"/>
                      <a:pt x="71" y="32"/>
                    </a:cubicBezTo>
                    <a:cubicBezTo>
                      <a:pt x="74" y="32"/>
                      <a:pt x="75" y="34"/>
                      <a:pt x="77" y="36"/>
                    </a:cubicBezTo>
                    <a:cubicBezTo>
                      <a:pt x="82" y="41"/>
                      <a:pt x="87" y="45"/>
                      <a:pt x="91" y="50"/>
                    </a:cubicBezTo>
                    <a:cubicBezTo>
                      <a:pt x="94" y="53"/>
                      <a:pt x="95" y="53"/>
                      <a:pt x="94" y="58"/>
                    </a:cubicBezTo>
                    <a:cubicBezTo>
                      <a:pt x="94" y="59"/>
                      <a:pt x="100" y="61"/>
                      <a:pt x="101" y="61"/>
                    </a:cubicBezTo>
                    <a:cubicBezTo>
                      <a:pt x="105" y="62"/>
                      <a:pt x="107" y="63"/>
                      <a:pt x="108" y="63"/>
                    </a:cubicBezTo>
                    <a:cubicBezTo>
                      <a:pt x="109" y="63"/>
                      <a:pt x="110" y="63"/>
                      <a:pt x="111" y="62"/>
                    </a:cubicBezTo>
                    <a:cubicBezTo>
                      <a:pt x="112" y="62"/>
                      <a:pt x="111" y="61"/>
                      <a:pt x="112" y="61"/>
                    </a:cubicBezTo>
                    <a:cubicBezTo>
                      <a:pt x="112" y="61"/>
                      <a:pt x="112" y="61"/>
                      <a:pt x="113" y="61"/>
                    </a:cubicBezTo>
                    <a:cubicBezTo>
                      <a:pt x="113" y="61"/>
                      <a:pt x="113" y="61"/>
                      <a:pt x="114" y="61"/>
                    </a:cubicBezTo>
                    <a:cubicBezTo>
                      <a:pt x="114" y="61"/>
                      <a:pt x="115" y="61"/>
                      <a:pt x="115" y="61"/>
                    </a:cubicBezTo>
                    <a:cubicBezTo>
                      <a:pt x="115" y="61"/>
                      <a:pt x="115" y="61"/>
                      <a:pt x="115" y="61"/>
                    </a:cubicBezTo>
                    <a:cubicBezTo>
                      <a:pt x="115" y="62"/>
                      <a:pt x="114" y="64"/>
                      <a:pt x="113" y="65"/>
                    </a:cubicBezTo>
                    <a:cubicBezTo>
                      <a:pt x="113" y="65"/>
                      <a:pt x="112" y="65"/>
                      <a:pt x="112" y="65"/>
                    </a:cubicBezTo>
                    <a:cubicBezTo>
                      <a:pt x="112" y="65"/>
                      <a:pt x="112" y="65"/>
                      <a:pt x="112" y="64"/>
                    </a:cubicBezTo>
                    <a:cubicBezTo>
                      <a:pt x="111" y="64"/>
                      <a:pt x="111" y="64"/>
                      <a:pt x="111" y="64"/>
                    </a:cubicBezTo>
                    <a:cubicBezTo>
                      <a:pt x="111" y="64"/>
                      <a:pt x="111" y="64"/>
                      <a:pt x="110" y="65"/>
                    </a:cubicBezTo>
                    <a:cubicBezTo>
                      <a:pt x="109" y="68"/>
                      <a:pt x="116" y="72"/>
                      <a:pt x="118" y="73"/>
                    </a:cubicBezTo>
                    <a:cubicBezTo>
                      <a:pt x="118" y="71"/>
                      <a:pt x="120" y="59"/>
                      <a:pt x="120" y="59"/>
                    </a:cubicBezTo>
                    <a:cubicBezTo>
                      <a:pt x="118" y="58"/>
                      <a:pt x="116" y="57"/>
                      <a:pt x="114" y="57"/>
                    </a:cubicBezTo>
                    <a:cubicBezTo>
                      <a:pt x="113" y="57"/>
                      <a:pt x="113" y="57"/>
                      <a:pt x="112" y="57"/>
                    </a:cubicBezTo>
                    <a:cubicBezTo>
                      <a:pt x="109" y="59"/>
                      <a:pt x="109" y="59"/>
                      <a:pt x="109" y="59"/>
                    </a:cubicBezTo>
                    <a:cubicBezTo>
                      <a:pt x="107" y="58"/>
                      <a:pt x="109" y="53"/>
                      <a:pt x="111" y="53"/>
                    </a:cubicBezTo>
                    <a:cubicBezTo>
                      <a:pt x="111" y="53"/>
                      <a:pt x="111" y="53"/>
                      <a:pt x="111" y="53"/>
                    </a:cubicBezTo>
                    <a:cubicBezTo>
                      <a:pt x="109" y="51"/>
                      <a:pt x="99" y="42"/>
                      <a:pt x="102" y="39"/>
                    </a:cubicBezTo>
                    <a:cubicBezTo>
                      <a:pt x="103" y="39"/>
                      <a:pt x="103" y="39"/>
                      <a:pt x="104" y="39"/>
                    </a:cubicBezTo>
                    <a:cubicBezTo>
                      <a:pt x="105" y="39"/>
                      <a:pt x="106" y="39"/>
                      <a:pt x="107" y="39"/>
                    </a:cubicBezTo>
                    <a:cubicBezTo>
                      <a:pt x="107" y="39"/>
                      <a:pt x="107" y="39"/>
                      <a:pt x="107" y="39"/>
                    </a:cubicBezTo>
                    <a:cubicBezTo>
                      <a:pt x="108" y="39"/>
                      <a:pt x="109" y="39"/>
                      <a:pt x="110" y="39"/>
                    </a:cubicBezTo>
                    <a:cubicBezTo>
                      <a:pt x="111" y="39"/>
                      <a:pt x="112" y="39"/>
                      <a:pt x="113" y="39"/>
                    </a:cubicBezTo>
                    <a:cubicBezTo>
                      <a:pt x="113" y="39"/>
                      <a:pt x="114" y="39"/>
                      <a:pt x="114" y="39"/>
                    </a:cubicBezTo>
                    <a:cubicBezTo>
                      <a:pt x="113" y="32"/>
                      <a:pt x="99" y="32"/>
                      <a:pt x="96" y="30"/>
                    </a:cubicBezTo>
                    <a:cubicBezTo>
                      <a:pt x="96" y="29"/>
                      <a:pt x="96" y="29"/>
                      <a:pt x="96" y="28"/>
                    </a:cubicBezTo>
                    <a:cubicBezTo>
                      <a:pt x="95" y="29"/>
                      <a:pt x="95" y="31"/>
                      <a:pt x="95" y="33"/>
                    </a:cubicBezTo>
                    <a:cubicBezTo>
                      <a:pt x="95" y="35"/>
                      <a:pt x="95" y="35"/>
                      <a:pt x="95" y="35"/>
                    </a:cubicBezTo>
                    <a:cubicBezTo>
                      <a:pt x="94" y="38"/>
                      <a:pt x="91" y="38"/>
                      <a:pt x="89" y="40"/>
                    </a:cubicBezTo>
                    <a:cubicBezTo>
                      <a:pt x="86" y="36"/>
                      <a:pt x="89" y="33"/>
                      <a:pt x="87" y="29"/>
                    </a:cubicBezTo>
                    <a:cubicBezTo>
                      <a:pt x="86" y="28"/>
                      <a:pt x="85" y="25"/>
                      <a:pt x="83" y="24"/>
                    </a:cubicBezTo>
                    <a:cubicBezTo>
                      <a:pt x="80" y="22"/>
                      <a:pt x="77" y="20"/>
                      <a:pt x="73" y="20"/>
                    </a:cubicBezTo>
                    <a:cubicBezTo>
                      <a:pt x="73" y="20"/>
                      <a:pt x="72" y="20"/>
                      <a:pt x="71" y="21"/>
                    </a:cubicBezTo>
                    <a:cubicBezTo>
                      <a:pt x="67" y="22"/>
                      <a:pt x="67" y="31"/>
                      <a:pt x="64" y="31"/>
                    </a:cubicBezTo>
                    <a:cubicBezTo>
                      <a:pt x="63" y="31"/>
                      <a:pt x="63" y="31"/>
                      <a:pt x="62" y="31"/>
                    </a:cubicBezTo>
                    <a:cubicBezTo>
                      <a:pt x="63" y="31"/>
                      <a:pt x="63" y="33"/>
                      <a:pt x="63" y="34"/>
                    </a:cubicBezTo>
                    <a:cubicBezTo>
                      <a:pt x="60" y="33"/>
                      <a:pt x="57" y="32"/>
                      <a:pt x="54" y="30"/>
                    </a:cubicBezTo>
                    <a:cubicBezTo>
                      <a:pt x="50" y="28"/>
                      <a:pt x="50" y="25"/>
                      <a:pt x="49" y="21"/>
                    </a:cubicBezTo>
                    <a:cubicBezTo>
                      <a:pt x="49" y="18"/>
                      <a:pt x="49" y="13"/>
                      <a:pt x="49" y="10"/>
                    </a:cubicBezTo>
                    <a:cubicBezTo>
                      <a:pt x="48" y="7"/>
                      <a:pt x="45" y="4"/>
                      <a:pt x="44" y="1"/>
                    </a:cubicBezTo>
                    <a:cubicBezTo>
                      <a:pt x="44" y="1"/>
                      <a:pt x="44" y="0"/>
                      <a:pt x="4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3" name="Freeform 1155">
                <a:extLst>
                  <a:ext uri="{FF2B5EF4-FFF2-40B4-BE49-F238E27FC236}">
                    <a16:creationId xmlns:a16="http://schemas.microsoft.com/office/drawing/2014/main" id="{EA6122F4-27D6-4925-82CC-FE8C6D66986C}"/>
                  </a:ext>
                </a:extLst>
              </p:cNvPr>
              <p:cNvSpPr>
                <a:spLocks/>
              </p:cNvSpPr>
              <p:nvPr/>
            </p:nvSpPr>
            <p:spPr bwMode="auto">
              <a:xfrm>
                <a:off x="1724" y="251"/>
                <a:ext cx="173" cy="215"/>
              </a:xfrm>
              <a:custGeom>
                <a:avLst/>
                <a:gdLst>
                  <a:gd name="T0" fmla="*/ 66 w 73"/>
                  <a:gd name="T1" fmla="*/ 0 h 91"/>
                  <a:gd name="T2" fmla="*/ 62 w 73"/>
                  <a:gd name="T3" fmla="*/ 15 h 91"/>
                  <a:gd name="T4" fmla="*/ 66 w 73"/>
                  <a:gd name="T5" fmla="*/ 21 h 91"/>
                  <a:gd name="T6" fmla="*/ 65 w 73"/>
                  <a:gd name="T7" fmla="*/ 21 h 91"/>
                  <a:gd name="T8" fmla="*/ 61 w 73"/>
                  <a:gd name="T9" fmla="*/ 17 h 91"/>
                  <a:gd name="T10" fmla="*/ 59 w 73"/>
                  <a:gd name="T11" fmla="*/ 15 h 91"/>
                  <a:gd name="T12" fmla="*/ 59 w 73"/>
                  <a:gd name="T13" fmla="*/ 17 h 91"/>
                  <a:gd name="T14" fmla="*/ 60 w 73"/>
                  <a:gd name="T15" fmla="*/ 26 h 91"/>
                  <a:gd name="T16" fmla="*/ 56 w 73"/>
                  <a:gd name="T17" fmla="*/ 31 h 91"/>
                  <a:gd name="T18" fmla="*/ 56 w 73"/>
                  <a:gd name="T19" fmla="*/ 29 h 91"/>
                  <a:gd name="T20" fmla="*/ 48 w 73"/>
                  <a:gd name="T21" fmla="*/ 40 h 91"/>
                  <a:gd name="T22" fmla="*/ 46 w 73"/>
                  <a:gd name="T23" fmla="*/ 42 h 91"/>
                  <a:gd name="T24" fmla="*/ 46 w 73"/>
                  <a:gd name="T25" fmla="*/ 40 h 91"/>
                  <a:gd name="T26" fmla="*/ 32 w 73"/>
                  <a:gd name="T27" fmla="*/ 56 h 91"/>
                  <a:gd name="T28" fmla="*/ 24 w 73"/>
                  <a:gd name="T29" fmla="*/ 64 h 91"/>
                  <a:gd name="T30" fmla="*/ 23 w 73"/>
                  <a:gd name="T31" fmla="*/ 64 h 91"/>
                  <a:gd name="T32" fmla="*/ 12 w 73"/>
                  <a:gd name="T33" fmla="*/ 73 h 91"/>
                  <a:gd name="T34" fmla="*/ 3 w 73"/>
                  <a:gd name="T35" fmla="*/ 82 h 91"/>
                  <a:gd name="T36" fmla="*/ 0 w 73"/>
                  <a:gd name="T37" fmla="*/ 91 h 91"/>
                  <a:gd name="T38" fmla="*/ 20 w 73"/>
                  <a:gd name="T39" fmla="*/ 76 h 91"/>
                  <a:gd name="T40" fmla="*/ 38 w 73"/>
                  <a:gd name="T41" fmla="*/ 63 h 91"/>
                  <a:gd name="T42" fmla="*/ 42 w 73"/>
                  <a:gd name="T43" fmla="*/ 56 h 91"/>
                  <a:gd name="T44" fmla="*/ 45 w 73"/>
                  <a:gd name="T45" fmla="*/ 52 h 91"/>
                  <a:gd name="T46" fmla="*/ 50 w 73"/>
                  <a:gd name="T47" fmla="*/ 43 h 91"/>
                  <a:gd name="T48" fmla="*/ 55 w 73"/>
                  <a:gd name="T49" fmla="*/ 42 h 91"/>
                  <a:gd name="T50" fmla="*/ 64 w 73"/>
                  <a:gd name="T51" fmla="*/ 32 h 91"/>
                  <a:gd name="T52" fmla="*/ 73 w 73"/>
                  <a:gd name="T53" fmla="*/ 27 h 91"/>
                  <a:gd name="T54" fmla="*/ 72 w 73"/>
                  <a:gd name="T55" fmla="*/ 26 h 91"/>
                  <a:gd name="T56" fmla="*/ 71 w 73"/>
                  <a:gd name="T57" fmla="*/ 22 h 91"/>
                  <a:gd name="T58" fmla="*/ 69 w 73"/>
                  <a:gd name="T59" fmla="*/ 23 h 91"/>
                  <a:gd name="T60" fmla="*/ 70 w 73"/>
                  <a:gd name="T61" fmla="*/ 20 h 91"/>
                  <a:gd name="T62" fmla="*/ 69 w 73"/>
                  <a:gd name="T63" fmla="*/ 18 h 91"/>
                  <a:gd name="T64" fmla="*/ 69 w 73"/>
                  <a:gd name="T65" fmla="*/ 18 h 91"/>
                  <a:gd name="T66" fmla="*/ 68 w 73"/>
                  <a:gd name="T67" fmla="*/ 18 h 91"/>
                  <a:gd name="T68" fmla="*/ 68 w 73"/>
                  <a:gd name="T69" fmla="*/ 18 h 91"/>
                  <a:gd name="T70" fmla="*/ 67 w 73"/>
                  <a:gd name="T71" fmla="*/ 17 h 91"/>
                  <a:gd name="T72" fmla="*/ 69 w 73"/>
                  <a:gd name="T73" fmla="*/ 11 h 91"/>
                  <a:gd name="T74" fmla="*/ 68 w 73"/>
                  <a:gd name="T75" fmla="*/ 11 h 91"/>
                  <a:gd name="T76" fmla="*/ 69 w 73"/>
                  <a:gd name="T77" fmla="*/ 7 h 91"/>
                  <a:gd name="T78" fmla="*/ 66 w 73"/>
                  <a:gd name="T7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 h="91">
                    <a:moveTo>
                      <a:pt x="66" y="0"/>
                    </a:moveTo>
                    <a:cubicBezTo>
                      <a:pt x="65" y="4"/>
                      <a:pt x="61" y="10"/>
                      <a:pt x="62" y="15"/>
                    </a:cubicBezTo>
                    <a:cubicBezTo>
                      <a:pt x="62" y="16"/>
                      <a:pt x="65" y="19"/>
                      <a:pt x="66" y="21"/>
                    </a:cubicBezTo>
                    <a:cubicBezTo>
                      <a:pt x="65" y="21"/>
                      <a:pt x="65" y="21"/>
                      <a:pt x="65" y="21"/>
                    </a:cubicBezTo>
                    <a:cubicBezTo>
                      <a:pt x="65" y="20"/>
                      <a:pt x="62" y="17"/>
                      <a:pt x="61" y="17"/>
                    </a:cubicBezTo>
                    <a:cubicBezTo>
                      <a:pt x="60" y="16"/>
                      <a:pt x="60" y="15"/>
                      <a:pt x="59" y="15"/>
                    </a:cubicBezTo>
                    <a:cubicBezTo>
                      <a:pt x="59" y="15"/>
                      <a:pt x="59" y="16"/>
                      <a:pt x="59" y="17"/>
                    </a:cubicBezTo>
                    <a:cubicBezTo>
                      <a:pt x="58" y="19"/>
                      <a:pt x="60" y="24"/>
                      <a:pt x="60" y="26"/>
                    </a:cubicBezTo>
                    <a:cubicBezTo>
                      <a:pt x="60" y="28"/>
                      <a:pt x="57" y="31"/>
                      <a:pt x="56" y="31"/>
                    </a:cubicBezTo>
                    <a:cubicBezTo>
                      <a:pt x="56" y="31"/>
                      <a:pt x="56" y="30"/>
                      <a:pt x="56" y="29"/>
                    </a:cubicBezTo>
                    <a:cubicBezTo>
                      <a:pt x="54" y="32"/>
                      <a:pt x="51" y="38"/>
                      <a:pt x="48" y="40"/>
                    </a:cubicBezTo>
                    <a:cubicBezTo>
                      <a:pt x="47" y="41"/>
                      <a:pt x="46" y="42"/>
                      <a:pt x="46" y="42"/>
                    </a:cubicBezTo>
                    <a:cubicBezTo>
                      <a:pt x="46" y="42"/>
                      <a:pt x="46" y="41"/>
                      <a:pt x="46" y="40"/>
                    </a:cubicBezTo>
                    <a:cubicBezTo>
                      <a:pt x="41" y="45"/>
                      <a:pt x="36" y="51"/>
                      <a:pt x="32" y="56"/>
                    </a:cubicBezTo>
                    <a:cubicBezTo>
                      <a:pt x="31" y="57"/>
                      <a:pt x="26" y="64"/>
                      <a:pt x="24" y="64"/>
                    </a:cubicBezTo>
                    <a:cubicBezTo>
                      <a:pt x="23" y="64"/>
                      <a:pt x="23" y="64"/>
                      <a:pt x="23" y="64"/>
                    </a:cubicBezTo>
                    <a:cubicBezTo>
                      <a:pt x="19" y="64"/>
                      <a:pt x="16" y="70"/>
                      <a:pt x="12" y="73"/>
                    </a:cubicBezTo>
                    <a:cubicBezTo>
                      <a:pt x="9" y="76"/>
                      <a:pt x="6" y="79"/>
                      <a:pt x="3" y="82"/>
                    </a:cubicBezTo>
                    <a:cubicBezTo>
                      <a:pt x="1" y="85"/>
                      <a:pt x="1" y="88"/>
                      <a:pt x="0" y="91"/>
                    </a:cubicBezTo>
                    <a:cubicBezTo>
                      <a:pt x="7" y="86"/>
                      <a:pt x="13" y="81"/>
                      <a:pt x="20" y="76"/>
                    </a:cubicBezTo>
                    <a:cubicBezTo>
                      <a:pt x="25" y="72"/>
                      <a:pt x="34" y="68"/>
                      <a:pt x="38" y="63"/>
                    </a:cubicBezTo>
                    <a:cubicBezTo>
                      <a:pt x="39" y="60"/>
                      <a:pt x="41" y="58"/>
                      <a:pt x="42" y="56"/>
                    </a:cubicBezTo>
                    <a:cubicBezTo>
                      <a:pt x="43" y="55"/>
                      <a:pt x="47" y="52"/>
                      <a:pt x="45" y="52"/>
                    </a:cubicBezTo>
                    <a:cubicBezTo>
                      <a:pt x="49" y="48"/>
                      <a:pt x="43" y="45"/>
                      <a:pt x="50" y="43"/>
                    </a:cubicBezTo>
                    <a:cubicBezTo>
                      <a:pt x="51" y="43"/>
                      <a:pt x="53" y="42"/>
                      <a:pt x="55" y="42"/>
                    </a:cubicBezTo>
                    <a:cubicBezTo>
                      <a:pt x="60" y="40"/>
                      <a:pt x="59" y="34"/>
                      <a:pt x="64" y="32"/>
                    </a:cubicBezTo>
                    <a:cubicBezTo>
                      <a:pt x="66" y="31"/>
                      <a:pt x="73" y="29"/>
                      <a:pt x="73" y="27"/>
                    </a:cubicBezTo>
                    <a:cubicBezTo>
                      <a:pt x="73" y="27"/>
                      <a:pt x="72" y="26"/>
                      <a:pt x="72" y="26"/>
                    </a:cubicBezTo>
                    <a:cubicBezTo>
                      <a:pt x="72" y="24"/>
                      <a:pt x="72" y="22"/>
                      <a:pt x="71" y="22"/>
                    </a:cubicBezTo>
                    <a:cubicBezTo>
                      <a:pt x="71" y="22"/>
                      <a:pt x="70" y="23"/>
                      <a:pt x="69" y="23"/>
                    </a:cubicBezTo>
                    <a:cubicBezTo>
                      <a:pt x="70" y="22"/>
                      <a:pt x="70" y="21"/>
                      <a:pt x="70" y="20"/>
                    </a:cubicBezTo>
                    <a:cubicBezTo>
                      <a:pt x="69" y="18"/>
                      <a:pt x="69" y="18"/>
                      <a:pt x="69" y="18"/>
                    </a:cubicBezTo>
                    <a:cubicBezTo>
                      <a:pt x="69" y="18"/>
                      <a:pt x="69" y="18"/>
                      <a:pt x="69" y="18"/>
                    </a:cubicBezTo>
                    <a:cubicBezTo>
                      <a:pt x="69" y="18"/>
                      <a:pt x="68" y="18"/>
                      <a:pt x="68" y="18"/>
                    </a:cubicBezTo>
                    <a:cubicBezTo>
                      <a:pt x="68" y="18"/>
                      <a:pt x="68" y="18"/>
                      <a:pt x="68" y="18"/>
                    </a:cubicBezTo>
                    <a:cubicBezTo>
                      <a:pt x="68" y="18"/>
                      <a:pt x="67" y="17"/>
                      <a:pt x="67" y="17"/>
                    </a:cubicBezTo>
                    <a:cubicBezTo>
                      <a:pt x="67" y="14"/>
                      <a:pt x="70" y="13"/>
                      <a:pt x="69" y="11"/>
                    </a:cubicBezTo>
                    <a:cubicBezTo>
                      <a:pt x="69" y="11"/>
                      <a:pt x="68" y="11"/>
                      <a:pt x="68" y="11"/>
                    </a:cubicBezTo>
                    <a:cubicBezTo>
                      <a:pt x="66" y="11"/>
                      <a:pt x="68" y="8"/>
                      <a:pt x="69" y="7"/>
                    </a:cubicBezTo>
                    <a:cubicBezTo>
                      <a:pt x="69" y="2"/>
                      <a:pt x="67" y="5"/>
                      <a:pt x="6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4" name="Freeform 1156">
                <a:extLst>
                  <a:ext uri="{FF2B5EF4-FFF2-40B4-BE49-F238E27FC236}">
                    <a16:creationId xmlns:a16="http://schemas.microsoft.com/office/drawing/2014/main" id="{C8BB8CD4-DCB5-49B4-B693-8D9F6062F49A}"/>
                  </a:ext>
                </a:extLst>
              </p:cNvPr>
              <p:cNvSpPr>
                <a:spLocks/>
              </p:cNvSpPr>
              <p:nvPr/>
            </p:nvSpPr>
            <p:spPr bwMode="auto">
              <a:xfrm>
                <a:off x="2142" y="263"/>
                <a:ext cx="55" cy="130"/>
              </a:xfrm>
              <a:custGeom>
                <a:avLst/>
                <a:gdLst>
                  <a:gd name="T0" fmla="*/ 22 w 23"/>
                  <a:gd name="T1" fmla="*/ 0 h 55"/>
                  <a:gd name="T2" fmla="*/ 18 w 23"/>
                  <a:gd name="T3" fmla="*/ 8 h 55"/>
                  <a:gd name="T4" fmla="*/ 15 w 23"/>
                  <a:gd name="T5" fmla="*/ 17 h 55"/>
                  <a:gd name="T6" fmla="*/ 7 w 23"/>
                  <a:gd name="T7" fmla="*/ 32 h 55"/>
                  <a:gd name="T8" fmla="*/ 3 w 23"/>
                  <a:gd name="T9" fmla="*/ 41 h 55"/>
                  <a:gd name="T10" fmla="*/ 1 w 23"/>
                  <a:gd name="T11" fmla="*/ 55 h 55"/>
                  <a:gd name="T12" fmla="*/ 13 w 23"/>
                  <a:gd name="T13" fmla="*/ 33 h 55"/>
                  <a:gd name="T14" fmla="*/ 22 w 23"/>
                  <a:gd name="T15" fmla="*/ 23 h 55"/>
                  <a:gd name="T16" fmla="*/ 21 w 23"/>
                  <a:gd name="T17" fmla="*/ 17 h 55"/>
                  <a:gd name="T18" fmla="*/ 22 w 23"/>
                  <a:gd name="T19"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55">
                    <a:moveTo>
                      <a:pt x="22" y="0"/>
                    </a:moveTo>
                    <a:cubicBezTo>
                      <a:pt x="19" y="0"/>
                      <a:pt x="19" y="6"/>
                      <a:pt x="18" y="8"/>
                    </a:cubicBezTo>
                    <a:cubicBezTo>
                      <a:pt x="18" y="11"/>
                      <a:pt x="16" y="14"/>
                      <a:pt x="15" y="17"/>
                    </a:cubicBezTo>
                    <a:cubicBezTo>
                      <a:pt x="12" y="22"/>
                      <a:pt x="10" y="28"/>
                      <a:pt x="7" y="32"/>
                    </a:cubicBezTo>
                    <a:cubicBezTo>
                      <a:pt x="4" y="36"/>
                      <a:pt x="3" y="38"/>
                      <a:pt x="3" y="41"/>
                    </a:cubicBezTo>
                    <a:cubicBezTo>
                      <a:pt x="2" y="46"/>
                      <a:pt x="0" y="50"/>
                      <a:pt x="1" y="55"/>
                    </a:cubicBezTo>
                    <a:cubicBezTo>
                      <a:pt x="5" y="48"/>
                      <a:pt x="7" y="38"/>
                      <a:pt x="13" y="33"/>
                    </a:cubicBezTo>
                    <a:cubicBezTo>
                      <a:pt x="16" y="29"/>
                      <a:pt x="21" y="28"/>
                      <a:pt x="22" y="23"/>
                    </a:cubicBezTo>
                    <a:cubicBezTo>
                      <a:pt x="22" y="21"/>
                      <a:pt x="21" y="19"/>
                      <a:pt x="21" y="17"/>
                    </a:cubicBezTo>
                    <a:cubicBezTo>
                      <a:pt x="21" y="11"/>
                      <a:pt x="23" y="6"/>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5" name="Freeform 1157">
                <a:extLst>
                  <a:ext uri="{FF2B5EF4-FFF2-40B4-BE49-F238E27FC236}">
                    <a16:creationId xmlns:a16="http://schemas.microsoft.com/office/drawing/2014/main" id="{83AB3DA5-C84C-417B-BF67-2BF326DFCC84}"/>
                  </a:ext>
                </a:extLst>
              </p:cNvPr>
              <p:cNvSpPr>
                <a:spLocks/>
              </p:cNvSpPr>
              <p:nvPr/>
            </p:nvSpPr>
            <p:spPr bwMode="auto">
              <a:xfrm>
                <a:off x="2131" y="171"/>
                <a:ext cx="66" cy="61"/>
              </a:xfrm>
              <a:custGeom>
                <a:avLst/>
                <a:gdLst>
                  <a:gd name="T0" fmla="*/ 4 w 28"/>
                  <a:gd name="T1" fmla="*/ 0 h 26"/>
                  <a:gd name="T2" fmla="*/ 4 w 28"/>
                  <a:gd name="T3" fmla="*/ 7 h 26"/>
                  <a:gd name="T4" fmla="*/ 3 w 28"/>
                  <a:gd name="T5" fmla="*/ 11 h 26"/>
                  <a:gd name="T6" fmla="*/ 4 w 28"/>
                  <a:gd name="T7" fmla="*/ 11 h 26"/>
                  <a:gd name="T8" fmla="*/ 4 w 28"/>
                  <a:gd name="T9" fmla="*/ 11 h 26"/>
                  <a:gd name="T10" fmla="*/ 4 w 28"/>
                  <a:gd name="T11" fmla="*/ 11 h 26"/>
                  <a:gd name="T12" fmla="*/ 4 w 28"/>
                  <a:gd name="T13" fmla="*/ 11 h 26"/>
                  <a:gd name="T14" fmla="*/ 5 w 28"/>
                  <a:gd name="T15" fmla="*/ 11 h 26"/>
                  <a:gd name="T16" fmla="*/ 5 w 28"/>
                  <a:gd name="T17" fmla="*/ 12 h 26"/>
                  <a:gd name="T18" fmla="*/ 5 w 28"/>
                  <a:gd name="T19" fmla="*/ 13 h 26"/>
                  <a:gd name="T20" fmla="*/ 2 w 28"/>
                  <a:gd name="T21" fmla="*/ 20 h 26"/>
                  <a:gd name="T22" fmla="*/ 4 w 28"/>
                  <a:gd name="T23" fmla="*/ 19 h 26"/>
                  <a:gd name="T24" fmla="*/ 11 w 28"/>
                  <a:gd name="T25" fmla="*/ 12 h 26"/>
                  <a:gd name="T26" fmla="*/ 13 w 28"/>
                  <a:gd name="T27" fmla="*/ 13 h 26"/>
                  <a:gd name="T28" fmla="*/ 15 w 28"/>
                  <a:gd name="T29" fmla="*/ 16 h 26"/>
                  <a:gd name="T30" fmla="*/ 18 w 28"/>
                  <a:gd name="T31" fmla="*/ 20 h 26"/>
                  <a:gd name="T32" fmla="*/ 22 w 28"/>
                  <a:gd name="T33" fmla="*/ 21 h 26"/>
                  <a:gd name="T34" fmla="*/ 28 w 28"/>
                  <a:gd name="T35" fmla="*/ 26 h 26"/>
                  <a:gd name="T36" fmla="*/ 22 w 28"/>
                  <a:gd name="T37" fmla="*/ 11 h 26"/>
                  <a:gd name="T38" fmla="*/ 18 w 28"/>
                  <a:gd name="T39" fmla="*/ 9 h 26"/>
                  <a:gd name="T40" fmla="*/ 4 w 2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26">
                    <a:moveTo>
                      <a:pt x="4" y="0"/>
                    </a:moveTo>
                    <a:cubicBezTo>
                      <a:pt x="4" y="3"/>
                      <a:pt x="5" y="4"/>
                      <a:pt x="4" y="7"/>
                    </a:cubicBezTo>
                    <a:cubicBezTo>
                      <a:pt x="4" y="8"/>
                      <a:pt x="3" y="10"/>
                      <a:pt x="3" y="11"/>
                    </a:cubicBezTo>
                    <a:cubicBezTo>
                      <a:pt x="3" y="11"/>
                      <a:pt x="4" y="11"/>
                      <a:pt x="4" y="11"/>
                    </a:cubicBezTo>
                    <a:cubicBezTo>
                      <a:pt x="4" y="11"/>
                      <a:pt x="4" y="11"/>
                      <a:pt x="4" y="11"/>
                    </a:cubicBezTo>
                    <a:cubicBezTo>
                      <a:pt x="4" y="11"/>
                      <a:pt x="4" y="11"/>
                      <a:pt x="4" y="11"/>
                    </a:cubicBezTo>
                    <a:cubicBezTo>
                      <a:pt x="4" y="11"/>
                      <a:pt x="4" y="11"/>
                      <a:pt x="4" y="11"/>
                    </a:cubicBezTo>
                    <a:cubicBezTo>
                      <a:pt x="4" y="11"/>
                      <a:pt x="4" y="11"/>
                      <a:pt x="5" y="11"/>
                    </a:cubicBezTo>
                    <a:cubicBezTo>
                      <a:pt x="5" y="11"/>
                      <a:pt x="5" y="11"/>
                      <a:pt x="5" y="12"/>
                    </a:cubicBezTo>
                    <a:cubicBezTo>
                      <a:pt x="5" y="13"/>
                      <a:pt x="5" y="12"/>
                      <a:pt x="5" y="13"/>
                    </a:cubicBezTo>
                    <a:cubicBezTo>
                      <a:pt x="4" y="14"/>
                      <a:pt x="0" y="20"/>
                      <a:pt x="2" y="20"/>
                    </a:cubicBezTo>
                    <a:cubicBezTo>
                      <a:pt x="2" y="20"/>
                      <a:pt x="3" y="20"/>
                      <a:pt x="4" y="19"/>
                    </a:cubicBezTo>
                    <a:cubicBezTo>
                      <a:pt x="6" y="17"/>
                      <a:pt x="8" y="12"/>
                      <a:pt x="11" y="12"/>
                    </a:cubicBezTo>
                    <a:cubicBezTo>
                      <a:pt x="12" y="12"/>
                      <a:pt x="12" y="12"/>
                      <a:pt x="13" y="13"/>
                    </a:cubicBezTo>
                    <a:cubicBezTo>
                      <a:pt x="14" y="13"/>
                      <a:pt x="15" y="16"/>
                      <a:pt x="15" y="16"/>
                    </a:cubicBezTo>
                    <a:cubicBezTo>
                      <a:pt x="16" y="17"/>
                      <a:pt x="18" y="19"/>
                      <a:pt x="18" y="20"/>
                    </a:cubicBezTo>
                    <a:cubicBezTo>
                      <a:pt x="19" y="20"/>
                      <a:pt x="20" y="20"/>
                      <a:pt x="22" y="21"/>
                    </a:cubicBezTo>
                    <a:cubicBezTo>
                      <a:pt x="24" y="22"/>
                      <a:pt x="26" y="24"/>
                      <a:pt x="28" y="26"/>
                    </a:cubicBezTo>
                    <a:cubicBezTo>
                      <a:pt x="26" y="22"/>
                      <a:pt x="25" y="14"/>
                      <a:pt x="22" y="11"/>
                    </a:cubicBezTo>
                    <a:cubicBezTo>
                      <a:pt x="22" y="11"/>
                      <a:pt x="19" y="10"/>
                      <a:pt x="18" y="9"/>
                    </a:cubicBezTo>
                    <a:cubicBezTo>
                      <a:pt x="14" y="5"/>
                      <a:pt x="10"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6" name="Freeform 1158">
                <a:extLst>
                  <a:ext uri="{FF2B5EF4-FFF2-40B4-BE49-F238E27FC236}">
                    <a16:creationId xmlns:a16="http://schemas.microsoft.com/office/drawing/2014/main" id="{DAFCE51C-F30B-4BE6-B27C-1A24DFDF5346}"/>
                  </a:ext>
                </a:extLst>
              </p:cNvPr>
              <p:cNvSpPr>
                <a:spLocks/>
              </p:cNvSpPr>
              <p:nvPr/>
            </p:nvSpPr>
            <p:spPr bwMode="auto">
              <a:xfrm>
                <a:off x="1911" y="213"/>
                <a:ext cx="12" cy="24"/>
              </a:xfrm>
              <a:custGeom>
                <a:avLst/>
                <a:gdLst>
                  <a:gd name="T0" fmla="*/ 0 w 5"/>
                  <a:gd name="T1" fmla="*/ 0 h 10"/>
                  <a:gd name="T2" fmla="*/ 1 w 5"/>
                  <a:gd name="T3" fmla="*/ 10 h 10"/>
                  <a:gd name="T4" fmla="*/ 4 w 5"/>
                  <a:gd name="T5" fmla="*/ 4 h 10"/>
                  <a:gd name="T6" fmla="*/ 5 w 5"/>
                  <a:gd name="T7" fmla="*/ 4 h 10"/>
                  <a:gd name="T8" fmla="*/ 3 w 5"/>
                  <a:gd name="T9" fmla="*/ 2 h 10"/>
                  <a:gd name="T10" fmla="*/ 3 w 5"/>
                  <a:gd name="T11" fmla="*/ 2 h 10"/>
                  <a:gd name="T12" fmla="*/ 0 w 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 h="10">
                    <a:moveTo>
                      <a:pt x="0" y="0"/>
                    </a:moveTo>
                    <a:cubicBezTo>
                      <a:pt x="0" y="3"/>
                      <a:pt x="1" y="7"/>
                      <a:pt x="1" y="10"/>
                    </a:cubicBezTo>
                    <a:cubicBezTo>
                      <a:pt x="4" y="8"/>
                      <a:pt x="5" y="6"/>
                      <a:pt x="4" y="4"/>
                    </a:cubicBezTo>
                    <a:cubicBezTo>
                      <a:pt x="5" y="4"/>
                      <a:pt x="5" y="4"/>
                      <a:pt x="5" y="4"/>
                    </a:cubicBezTo>
                    <a:cubicBezTo>
                      <a:pt x="4" y="3"/>
                      <a:pt x="3" y="3"/>
                      <a:pt x="3" y="2"/>
                    </a:cubicBezTo>
                    <a:cubicBezTo>
                      <a:pt x="3" y="2"/>
                      <a:pt x="3" y="2"/>
                      <a:pt x="3" y="2"/>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7" name="Freeform 1159">
                <a:extLst>
                  <a:ext uri="{FF2B5EF4-FFF2-40B4-BE49-F238E27FC236}">
                    <a16:creationId xmlns:a16="http://schemas.microsoft.com/office/drawing/2014/main" id="{FEFB2B85-B761-40B2-B93A-B4125F38B495}"/>
                  </a:ext>
                </a:extLst>
              </p:cNvPr>
              <p:cNvSpPr>
                <a:spLocks/>
              </p:cNvSpPr>
              <p:nvPr/>
            </p:nvSpPr>
            <p:spPr bwMode="auto">
              <a:xfrm>
                <a:off x="2239" y="402"/>
                <a:ext cx="7" cy="12"/>
              </a:xfrm>
              <a:custGeom>
                <a:avLst/>
                <a:gdLst>
                  <a:gd name="T0" fmla="*/ 0 w 3"/>
                  <a:gd name="T1" fmla="*/ 0 h 5"/>
                  <a:gd name="T2" fmla="*/ 2 w 3"/>
                  <a:gd name="T3" fmla="*/ 5 h 5"/>
                  <a:gd name="T4" fmla="*/ 0 w 3"/>
                  <a:gd name="T5" fmla="*/ 0 h 5"/>
                </a:gdLst>
                <a:ahLst/>
                <a:cxnLst>
                  <a:cxn ang="0">
                    <a:pos x="T0" y="T1"/>
                  </a:cxn>
                  <a:cxn ang="0">
                    <a:pos x="T2" y="T3"/>
                  </a:cxn>
                  <a:cxn ang="0">
                    <a:pos x="T4" y="T5"/>
                  </a:cxn>
                </a:cxnLst>
                <a:rect l="0" t="0" r="r" b="b"/>
                <a:pathLst>
                  <a:path w="3" h="5">
                    <a:moveTo>
                      <a:pt x="0" y="0"/>
                    </a:moveTo>
                    <a:cubicBezTo>
                      <a:pt x="0" y="2"/>
                      <a:pt x="1" y="4"/>
                      <a:pt x="2" y="5"/>
                    </a:cubicBezTo>
                    <a:cubicBezTo>
                      <a:pt x="3" y="3"/>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8" name="Freeform 1160">
                <a:extLst>
                  <a:ext uri="{FF2B5EF4-FFF2-40B4-BE49-F238E27FC236}">
                    <a16:creationId xmlns:a16="http://schemas.microsoft.com/office/drawing/2014/main" id="{25D8F208-E2D0-46BE-A0F2-CEF951F2F789}"/>
                  </a:ext>
                </a:extLst>
              </p:cNvPr>
              <p:cNvSpPr>
                <a:spLocks/>
              </p:cNvSpPr>
              <p:nvPr/>
            </p:nvSpPr>
            <p:spPr bwMode="auto">
              <a:xfrm>
                <a:off x="2076" y="282"/>
                <a:ext cx="85" cy="134"/>
              </a:xfrm>
              <a:custGeom>
                <a:avLst/>
                <a:gdLst>
                  <a:gd name="T0" fmla="*/ 26 w 36"/>
                  <a:gd name="T1" fmla="*/ 0 h 57"/>
                  <a:gd name="T2" fmla="*/ 24 w 36"/>
                  <a:gd name="T3" fmla="*/ 1 h 57"/>
                  <a:gd name="T4" fmla="*/ 10 w 36"/>
                  <a:gd name="T5" fmla="*/ 25 h 57"/>
                  <a:gd name="T6" fmla="*/ 8 w 36"/>
                  <a:gd name="T7" fmla="*/ 30 h 57"/>
                  <a:gd name="T8" fmla="*/ 8 w 36"/>
                  <a:gd name="T9" fmla="*/ 30 h 57"/>
                  <a:gd name="T10" fmla="*/ 7 w 36"/>
                  <a:gd name="T11" fmla="*/ 30 h 57"/>
                  <a:gd name="T12" fmla="*/ 6 w 36"/>
                  <a:gd name="T13" fmla="*/ 30 h 57"/>
                  <a:gd name="T14" fmla="*/ 6 w 36"/>
                  <a:gd name="T15" fmla="*/ 30 h 57"/>
                  <a:gd name="T16" fmla="*/ 4 w 36"/>
                  <a:gd name="T17" fmla="*/ 31 h 57"/>
                  <a:gd name="T18" fmla="*/ 8 w 36"/>
                  <a:gd name="T19" fmla="*/ 46 h 57"/>
                  <a:gd name="T20" fmla="*/ 14 w 36"/>
                  <a:gd name="T21" fmla="*/ 48 h 57"/>
                  <a:gd name="T22" fmla="*/ 16 w 36"/>
                  <a:gd name="T23" fmla="*/ 51 h 57"/>
                  <a:gd name="T24" fmla="*/ 21 w 36"/>
                  <a:gd name="T25" fmla="*/ 57 h 57"/>
                  <a:gd name="T26" fmla="*/ 22 w 36"/>
                  <a:gd name="T27" fmla="*/ 57 h 57"/>
                  <a:gd name="T28" fmla="*/ 23 w 36"/>
                  <a:gd name="T29" fmla="*/ 42 h 57"/>
                  <a:gd name="T30" fmla="*/ 28 w 36"/>
                  <a:gd name="T31" fmla="*/ 23 h 57"/>
                  <a:gd name="T32" fmla="*/ 36 w 36"/>
                  <a:gd name="T33" fmla="*/ 5 h 57"/>
                  <a:gd name="T34" fmla="*/ 35 w 36"/>
                  <a:gd name="T35" fmla="*/ 3 h 57"/>
                  <a:gd name="T36" fmla="*/ 31 w 36"/>
                  <a:gd name="T37" fmla="*/ 2 h 57"/>
                  <a:gd name="T38" fmla="*/ 26 w 36"/>
                  <a:gd name="T3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57">
                    <a:moveTo>
                      <a:pt x="26" y="0"/>
                    </a:moveTo>
                    <a:cubicBezTo>
                      <a:pt x="25" y="0"/>
                      <a:pt x="25" y="0"/>
                      <a:pt x="24" y="1"/>
                    </a:cubicBezTo>
                    <a:cubicBezTo>
                      <a:pt x="15" y="3"/>
                      <a:pt x="14" y="16"/>
                      <a:pt x="10" y="25"/>
                    </a:cubicBezTo>
                    <a:cubicBezTo>
                      <a:pt x="10" y="26"/>
                      <a:pt x="9" y="29"/>
                      <a:pt x="8" y="30"/>
                    </a:cubicBezTo>
                    <a:cubicBezTo>
                      <a:pt x="8" y="30"/>
                      <a:pt x="8" y="30"/>
                      <a:pt x="8" y="30"/>
                    </a:cubicBezTo>
                    <a:cubicBezTo>
                      <a:pt x="7" y="30"/>
                      <a:pt x="7" y="30"/>
                      <a:pt x="7" y="30"/>
                    </a:cubicBezTo>
                    <a:cubicBezTo>
                      <a:pt x="7" y="30"/>
                      <a:pt x="7" y="30"/>
                      <a:pt x="6" y="30"/>
                    </a:cubicBezTo>
                    <a:cubicBezTo>
                      <a:pt x="6" y="30"/>
                      <a:pt x="6" y="30"/>
                      <a:pt x="6" y="30"/>
                    </a:cubicBezTo>
                    <a:cubicBezTo>
                      <a:pt x="5" y="30"/>
                      <a:pt x="5" y="30"/>
                      <a:pt x="4" y="31"/>
                    </a:cubicBezTo>
                    <a:cubicBezTo>
                      <a:pt x="0" y="34"/>
                      <a:pt x="6" y="43"/>
                      <a:pt x="8" y="46"/>
                    </a:cubicBezTo>
                    <a:cubicBezTo>
                      <a:pt x="10" y="48"/>
                      <a:pt x="12" y="47"/>
                      <a:pt x="14" y="48"/>
                    </a:cubicBezTo>
                    <a:cubicBezTo>
                      <a:pt x="16" y="49"/>
                      <a:pt x="15" y="49"/>
                      <a:pt x="16" y="51"/>
                    </a:cubicBezTo>
                    <a:cubicBezTo>
                      <a:pt x="17" y="54"/>
                      <a:pt x="17" y="57"/>
                      <a:pt x="21" y="57"/>
                    </a:cubicBezTo>
                    <a:cubicBezTo>
                      <a:pt x="21" y="57"/>
                      <a:pt x="21" y="57"/>
                      <a:pt x="22" y="57"/>
                    </a:cubicBezTo>
                    <a:cubicBezTo>
                      <a:pt x="29" y="57"/>
                      <a:pt x="24" y="47"/>
                      <a:pt x="23" y="42"/>
                    </a:cubicBezTo>
                    <a:cubicBezTo>
                      <a:pt x="22" y="37"/>
                      <a:pt x="26" y="29"/>
                      <a:pt x="28" y="23"/>
                    </a:cubicBezTo>
                    <a:cubicBezTo>
                      <a:pt x="30" y="17"/>
                      <a:pt x="33" y="11"/>
                      <a:pt x="36" y="5"/>
                    </a:cubicBezTo>
                    <a:cubicBezTo>
                      <a:pt x="35" y="4"/>
                      <a:pt x="36" y="4"/>
                      <a:pt x="35" y="3"/>
                    </a:cubicBezTo>
                    <a:cubicBezTo>
                      <a:pt x="34" y="2"/>
                      <a:pt x="33" y="2"/>
                      <a:pt x="31" y="2"/>
                    </a:cubicBezTo>
                    <a:cubicBezTo>
                      <a:pt x="29" y="1"/>
                      <a:pt x="28"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9" name="Freeform 1161">
                <a:extLst>
                  <a:ext uri="{FF2B5EF4-FFF2-40B4-BE49-F238E27FC236}">
                    <a16:creationId xmlns:a16="http://schemas.microsoft.com/office/drawing/2014/main" id="{A7878BD1-D14E-48EF-BE7F-7D4C223C2741}"/>
                  </a:ext>
                </a:extLst>
              </p:cNvPr>
              <p:cNvSpPr>
                <a:spLocks/>
              </p:cNvSpPr>
              <p:nvPr/>
            </p:nvSpPr>
            <p:spPr bwMode="auto">
              <a:xfrm>
                <a:off x="2041" y="364"/>
                <a:ext cx="331" cy="293"/>
              </a:xfrm>
              <a:custGeom>
                <a:avLst/>
                <a:gdLst>
                  <a:gd name="T0" fmla="*/ 108 w 140"/>
                  <a:gd name="T1" fmla="*/ 17 h 124"/>
                  <a:gd name="T2" fmla="*/ 99 w 140"/>
                  <a:gd name="T3" fmla="*/ 21 h 124"/>
                  <a:gd name="T4" fmla="*/ 93 w 140"/>
                  <a:gd name="T5" fmla="*/ 26 h 124"/>
                  <a:gd name="T6" fmla="*/ 89 w 140"/>
                  <a:gd name="T7" fmla="*/ 23 h 124"/>
                  <a:gd name="T8" fmla="*/ 77 w 140"/>
                  <a:gd name="T9" fmla="*/ 35 h 124"/>
                  <a:gd name="T10" fmla="*/ 68 w 140"/>
                  <a:gd name="T11" fmla="*/ 45 h 124"/>
                  <a:gd name="T12" fmla="*/ 54 w 140"/>
                  <a:gd name="T13" fmla="*/ 53 h 124"/>
                  <a:gd name="T14" fmla="*/ 57 w 140"/>
                  <a:gd name="T15" fmla="*/ 36 h 124"/>
                  <a:gd name="T16" fmla="*/ 46 w 140"/>
                  <a:gd name="T17" fmla="*/ 32 h 124"/>
                  <a:gd name="T18" fmla="*/ 34 w 140"/>
                  <a:gd name="T19" fmla="*/ 42 h 124"/>
                  <a:gd name="T20" fmla="*/ 28 w 140"/>
                  <a:gd name="T21" fmla="*/ 49 h 124"/>
                  <a:gd name="T22" fmla="*/ 9 w 140"/>
                  <a:gd name="T23" fmla="*/ 65 h 124"/>
                  <a:gd name="T24" fmla="*/ 5 w 140"/>
                  <a:gd name="T25" fmla="*/ 84 h 124"/>
                  <a:gd name="T26" fmla="*/ 11 w 140"/>
                  <a:gd name="T27" fmla="*/ 82 h 124"/>
                  <a:gd name="T28" fmla="*/ 17 w 140"/>
                  <a:gd name="T29" fmla="*/ 71 h 124"/>
                  <a:gd name="T30" fmla="*/ 18 w 140"/>
                  <a:gd name="T31" fmla="*/ 65 h 124"/>
                  <a:gd name="T32" fmla="*/ 29 w 140"/>
                  <a:gd name="T33" fmla="*/ 63 h 124"/>
                  <a:gd name="T34" fmla="*/ 37 w 140"/>
                  <a:gd name="T35" fmla="*/ 62 h 124"/>
                  <a:gd name="T36" fmla="*/ 40 w 140"/>
                  <a:gd name="T37" fmla="*/ 65 h 124"/>
                  <a:gd name="T38" fmla="*/ 40 w 140"/>
                  <a:gd name="T39" fmla="*/ 68 h 124"/>
                  <a:gd name="T40" fmla="*/ 46 w 140"/>
                  <a:gd name="T41" fmla="*/ 71 h 124"/>
                  <a:gd name="T42" fmla="*/ 51 w 140"/>
                  <a:gd name="T43" fmla="*/ 58 h 124"/>
                  <a:gd name="T44" fmla="*/ 69 w 140"/>
                  <a:gd name="T45" fmla="*/ 75 h 124"/>
                  <a:gd name="T46" fmla="*/ 65 w 140"/>
                  <a:gd name="T47" fmla="*/ 94 h 124"/>
                  <a:gd name="T48" fmla="*/ 87 w 140"/>
                  <a:gd name="T49" fmla="*/ 113 h 124"/>
                  <a:gd name="T50" fmla="*/ 96 w 140"/>
                  <a:gd name="T51" fmla="*/ 113 h 124"/>
                  <a:gd name="T52" fmla="*/ 100 w 140"/>
                  <a:gd name="T53" fmla="*/ 108 h 124"/>
                  <a:gd name="T54" fmla="*/ 103 w 140"/>
                  <a:gd name="T55" fmla="*/ 124 h 124"/>
                  <a:gd name="T56" fmla="*/ 112 w 140"/>
                  <a:gd name="T57" fmla="*/ 113 h 124"/>
                  <a:gd name="T58" fmla="*/ 105 w 140"/>
                  <a:gd name="T59" fmla="*/ 93 h 124"/>
                  <a:gd name="T60" fmla="*/ 105 w 140"/>
                  <a:gd name="T61" fmla="*/ 88 h 124"/>
                  <a:gd name="T62" fmla="*/ 116 w 140"/>
                  <a:gd name="T63" fmla="*/ 72 h 124"/>
                  <a:gd name="T64" fmla="*/ 124 w 140"/>
                  <a:gd name="T65" fmla="*/ 86 h 124"/>
                  <a:gd name="T66" fmla="*/ 127 w 140"/>
                  <a:gd name="T67" fmla="*/ 103 h 124"/>
                  <a:gd name="T68" fmla="*/ 128 w 140"/>
                  <a:gd name="T69" fmla="*/ 85 h 124"/>
                  <a:gd name="T70" fmla="*/ 130 w 140"/>
                  <a:gd name="T71" fmla="*/ 86 h 124"/>
                  <a:gd name="T72" fmla="*/ 133 w 140"/>
                  <a:gd name="T73" fmla="*/ 85 h 124"/>
                  <a:gd name="T74" fmla="*/ 138 w 140"/>
                  <a:gd name="T75" fmla="*/ 76 h 124"/>
                  <a:gd name="T76" fmla="*/ 132 w 140"/>
                  <a:gd name="T77" fmla="*/ 56 h 124"/>
                  <a:gd name="T78" fmla="*/ 132 w 140"/>
                  <a:gd name="T79" fmla="*/ 47 h 124"/>
                  <a:gd name="T80" fmla="*/ 130 w 140"/>
                  <a:gd name="T81" fmla="*/ 37 h 124"/>
                  <a:gd name="T82" fmla="*/ 127 w 140"/>
                  <a:gd name="T83" fmla="*/ 38 h 124"/>
                  <a:gd name="T84" fmla="*/ 130 w 140"/>
                  <a:gd name="T85" fmla="*/ 30 h 124"/>
                  <a:gd name="T86" fmla="*/ 124 w 140"/>
                  <a:gd name="T87" fmla="*/ 16 h 124"/>
                  <a:gd name="T88" fmla="*/ 105 w 140"/>
                  <a:gd name="T8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24">
                    <a:moveTo>
                      <a:pt x="105" y="0"/>
                    </a:moveTo>
                    <a:cubicBezTo>
                      <a:pt x="106" y="6"/>
                      <a:pt x="107" y="11"/>
                      <a:pt x="108" y="17"/>
                    </a:cubicBezTo>
                    <a:cubicBezTo>
                      <a:pt x="108" y="19"/>
                      <a:pt x="108" y="22"/>
                      <a:pt x="108" y="23"/>
                    </a:cubicBezTo>
                    <a:cubicBezTo>
                      <a:pt x="105" y="23"/>
                      <a:pt x="102" y="22"/>
                      <a:pt x="99" y="21"/>
                    </a:cubicBezTo>
                    <a:cubicBezTo>
                      <a:pt x="98" y="25"/>
                      <a:pt x="98" y="27"/>
                      <a:pt x="97" y="27"/>
                    </a:cubicBezTo>
                    <a:cubicBezTo>
                      <a:pt x="96" y="27"/>
                      <a:pt x="95" y="27"/>
                      <a:pt x="93" y="26"/>
                    </a:cubicBezTo>
                    <a:cubicBezTo>
                      <a:pt x="92" y="25"/>
                      <a:pt x="90" y="23"/>
                      <a:pt x="89" y="23"/>
                    </a:cubicBezTo>
                    <a:cubicBezTo>
                      <a:pt x="89" y="23"/>
                      <a:pt x="89" y="23"/>
                      <a:pt x="89" y="23"/>
                    </a:cubicBezTo>
                    <a:cubicBezTo>
                      <a:pt x="85" y="24"/>
                      <a:pt x="86" y="35"/>
                      <a:pt x="85" y="38"/>
                    </a:cubicBezTo>
                    <a:cubicBezTo>
                      <a:pt x="84" y="38"/>
                      <a:pt x="77" y="35"/>
                      <a:pt x="77" y="35"/>
                    </a:cubicBezTo>
                    <a:cubicBezTo>
                      <a:pt x="77" y="35"/>
                      <a:pt x="77" y="35"/>
                      <a:pt x="77" y="35"/>
                    </a:cubicBezTo>
                    <a:cubicBezTo>
                      <a:pt x="74" y="39"/>
                      <a:pt x="72" y="43"/>
                      <a:pt x="68" y="45"/>
                    </a:cubicBezTo>
                    <a:cubicBezTo>
                      <a:pt x="66" y="47"/>
                      <a:pt x="58" y="53"/>
                      <a:pt x="55" y="53"/>
                    </a:cubicBezTo>
                    <a:cubicBezTo>
                      <a:pt x="54" y="53"/>
                      <a:pt x="54" y="53"/>
                      <a:pt x="54" y="53"/>
                    </a:cubicBezTo>
                    <a:cubicBezTo>
                      <a:pt x="57" y="51"/>
                      <a:pt x="59" y="50"/>
                      <a:pt x="60" y="47"/>
                    </a:cubicBezTo>
                    <a:cubicBezTo>
                      <a:pt x="60" y="44"/>
                      <a:pt x="59" y="38"/>
                      <a:pt x="57" y="36"/>
                    </a:cubicBezTo>
                    <a:cubicBezTo>
                      <a:pt x="56" y="35"/>
                      <a:pt x="56" y="35"/>
                      <a:pt x="54" y="35"/>
                    </a:cubicBezTo>
                    <a:cubicBezTo>
                      <a:pt x="50" y="35"/>
                      <a:pt x="49" y="33"/>
                      <a:pt x="46" y="32"/>
                    </a:cubicBezTo>
                    <a:cubicBezTo>
                      <a:pt x="46" y="32"/>
                      <a:pt x="46" y="32"/>
                      <a:pt x="47" y="32"/>
                    </a:cubicBezTo>
                    <a:cubicBezTo>
                      <a:pt x="41" y="36"/>
                      <a:pt x="37" y="37"/>
                      <a:pt x="34" y="42"/>
                    </a:cubicBezTo>
                    <a:cubicBezTo>
                      <a:pt x="34" y="43"/>
                      <a:pt x="33" y="47"/>
                      <a:pt x="32" y="49"/>
                    </a:cubicBezTo>
                    <a:cubicBezTo>
                      <a:pt x="31" y="49"/>
                      <a:pt x="29" y="49"/>
                      <a:pt x="28" y="49"/>
                    </a:cubicBezTo>
                    <a:cubicBezTo>
                      <a:pt x="21" y="51"/>
                      <a:pt x="14" y="52"/>
                      <a:pt x="10" y="58"/>
                    </a:cubicBezTo>
                    <a:cubicBezTo>
                      <a:pt x="9" y="60"/>
                      <a:pt x="8" y="63"/>
                      <a:pt x="9" y="65"/>
                    </a:cubicBezTo>
                    <a:cubicBezTo>
                      <a:pt x="8" y="66"/>
                      <a:pt x="8" y="67"/>
                      <a:pt x="8" y="67"/>
                    </a:cubicBezTo>
                    <a:cubicBezTo>
                      <a:pt x="6" y="70"/>
                      <a:pt x="0" y="81"/>
                      <a:pt x="5" y="84"/>
                    </a:cubicBezTo>
                    <a:cubicBezTo>
                      <a:pt x="7" y="84"/>
                      <a:pt x="8" y="85"/>
                      <a:pt x="8" y="85"/>
                    </a:cubicBezTo>
                    <a:cubicBezTo>
                      <a:pt x="9" y="85"/>
                      <a:pt x="10" y="84"/>
                      <a:pt x="11" y="82"/>
                    </a:cubicBezTo>
                    <a:cubicBezTo>
                      <a:pt x="12" y="81"/>
                      <a:pt x="13" y="79"/>
                      <a:pt x="13" y="79"/>
                    </a:cubicBezTo>
                    <a:cubicBezTo>
                      <a:pt x="14" y="76"/>
                      <a:pt x="13" y="73"/>
                      <a:pt x="17" y="71"/>
                    </a:cubicBezTo>
                    <a:cubicBezTo>
                      <a:pt x="13" y="70"/>
                      <a:pt x="19" y="66"/>
                      <a:pt x="20" y="65"/>
                    </a:cubicBezTo>
                    <a:cubicBezTo>
                      <a:pt x="20" y="65"/>
                      <a:pt x="19" y="65"/>
                      <a:pt x="18" y="65"/>
                    </a:cubicBezTo>
                    <a:cubicBezTo>
                      <a:pt x="20" y="63"/>
                      <a:pt x="22" y="61"/>
                      <a:pt x="24" y="61"/>
                    </a:cubicBezTo>
                    <a:cubicBezTo>
                      <a:pt x="26" y="61"/>
                      <a:pt x="27" y="61"/>
                      <a:pt x="29" y="63"/>
                    </a:cubicBezTo>
                    <a:cubicBezTo>
                      <a:pt x="31" y="66"/>
                      <a:pt x="28" y="68"/>
                      <a:pt x="29" y="69"/>
                    </a:cubicBezTo>
                    <a:cubicBezTo>
                      <a:pt x="32" y="68"/>
                      <a:pt x="34" y="64"/>
                      <a:pt x="37" y="62"/>
                    </a:cubicBezTo>
                    <a:cubicBezTo>
                      <a:pt x="37" y="62"/>
                      <a:pt x="38" y="62"/>
                      <a:pt x="38" y="62"/>
                    </a:cubicBezTo>
                    <a:cubicBezTo>
                      <a:pt x="39" y="62"/>
                      <a:pt x="40" y="63"/>
                      <a:pt x="40" y="65"/>
                    </a:cubicBezTo>
                    <a:cubicBezTo>
                      <a:pt x="40" y="66"/>
                      <a:pt x="37" y="65"/>
                      <a:pt x="38" y="67"/>
                    </a:cubicBezTo>
                    <a:cubicBezTo>
                      <a:pt x="39" y="68"/>
                      <a:pt x="39" y="68"/>
                      <a:pt x="40" y="68"/>
                    </a:cubicBezTo>
                    <a:cubicBezTo>
                      <a:pt x="41" y="68"/>
                      <a:pt x="43" y="68"/>
                      <a:pt x="43" y="67"/>
                    </a:cubicBezTo>
                    <a:cubicBezTo>
                      <a:pt x="43" y="69"/>
                      <a:pt x="45" y="70"/>
                      <a:pt x="46" y="71"/>
                    </a:cubicBezTo>
                    <a:cubicBezTo>
                      <a:pt x="47" y="67"/>
                      <a:pt x="43" y="64"/>
                      <a:pt x="47" y="59"/>
                    </a:cubicBezTo>
                    <a:cubicBezTo>
                      <a:pt x="48" y="58"/>
                      <a:pt x="50" y="58"/>
                      <a:pt x="51" y="58"/>
                    </a:cubicBezTo>
                    <a:cubicBezTo>
                      <a:pt x="57" y="58"/>
                      <a:pt x="64" y="65"/>
                      <a:pt x="67" y="68"/>
                    </a:cubicBezTo>
                    <a:cubicBezTo>
                      <a:pt x="70" y="71"/>
                      <a:pt x="72" y="70"/>
                      <a:pt x="69" y="75"/>
                    </a:cubicBezTo>
                    <a:cubicBezTo>
                      <a:pt x="68" y="76"/>
                      <a:pt x="66" y="77"/>
                      <a:pt x="65" y="78"/>
                    </a:cubicBezTo>
                    <a:cubicBezTo>
                      <a:pt x="62" y="83"/>
                      <a:pt x="65" y="89"/>
                      <a:pt x="65" y="94"/>
                    </a:cubicBezTo>
                    <a:cubicBezTo>
                      <a:pt x="65" y="96"/>
                      <a:pt x="64" y="98"/>
                      <a:pt x="66" y="100"/>
                    </a:cubicBezTo>
                    <a:cubicBezTo>
                      <a:pt x="72" y="107"/>
                      <a:pt x="78" y="109"/>
                      <a:pt x="87" y="113"/>
                    </a:cubicBezTo>
                    <a:cubicBezTo>
                      <a:pt x="89" y="114"/>
                      <a:pt x="91" y="115"/>
                      <a:pt x="93" y="115"/>
                    </a:cubicBezTo>
                    <a:cubicBezTo>
                      <a:pt x="94" y="115"/>
                      <a:pt x="95" y="115"/>
                      <a:pt x="96" y="113"/>
                    </a:cubicBezTo>
                    <a:cubicBezTo>
                      <a:pt x="97" y="112"/>
                      <a:pt x="97" y="108"/>
                      <a:pt x="99" y="108"/>
                    </a:cubicBezTo>
                    <a:cubicBezTo>
                      <a:pt x="99" y="108"/>
                      <a:pt x="100" y="108"/>
                      <a:pt x="100" y="108"/>
                    </a:cubicBezTo>
                    <a:cubicBezTo>
                      <a:pt x="100" y="114"/>
                      <a:pt x="97" y="116"/>
                      <a:pt x="100" y="121"/>
                    </a:cubicBezTo>
                    <a:cubicBezTo>
                      <a:pt x="101" y="123"/>
                      <a:pt x="102" y="124"/>
                      <a:pt x="103" y="124"/>
                    </a:cubicBezTo>
                    <a:cubicBezTo>
                      <a:pt x="104" y="124"/>
                      <a:pt x="105" y="122"/>
                      <a:pt x="107" y="120"/>
                    </a:cubicBezTo>
                    <a:cubicBezTo>
                      <a:pt x="108" y="118"/>
                      <a:pt x="111" y="115"/>
                      <a:pt x="112" y="113"/>
                    </a:cubicBezTo>
                    <a:cubicBezTo>
                      <a:pt x="114" y="109"/>
                      <a:pt x="111" y="99"/>
                      <a:pt x="108" y="96"/>
                    </a:cubicBezTo>
                    <a:cubicBezTo>
                      <a:pt x="108" y="95"/>
                      <a:pt x="106" y="94"/>
                      <a:pt x="105" y="93"/>
                    </a:cubicBezTo>
                    <a:cubicBezTo>
                      <a:pt x="105" y="94"/>
                      <a:pt x="105" y="94"/>
                      <a:pt x="105" y="94"/>
                    </a:cubicBezTo>
                    <a:cubicBezTo>
                      <a:pt x="104" y="94"/>
                      <a:pt x="105" y="89"/>
                      <a:pt x="105" y="88"/>
                    </a:cubicBezTo>
                    <a:cubicBezTo>
                      <a:pt x="107" y="85"/>
                      <a:pt x="111" y="73"/>
                      <a:pt x="115" y="72"/>
                    </a:cubicBezTo>
                    <a:cubicBezTo>
                      <a:pt x="116" y="72"/>
                      <a:pt x="116" y="72"/>
                      <a:pt x="116" y="72"/>
                    </a:cubicBezTo>
                    <a:cubicBezTo>
                      <a:pt x="119" y="72"/>
                      <a:pt x="120" y="78"/>
                      <a:pt x="121" y="81"/>
                    </a:cubicBezTo>
                    <a:cubicBezTo>
                      <a:pt x="122" y="84"/>
                      <a:pt x="123" y="85"/>
                      <a:pt x="124" y="86"/>
                    </a:cubicBezTo>
                    <a:cubicBezTo>
                      <a:pt x="125" y="89"/>
                      <a:pt x="124" y="93"/>
                      <a:pt x="124" y="96"/>
                    </a:cubicBezTo>
                    <a:cubicBezTo>
                      <a:pt x="125" y="99"/>
                      <a:pt x="128" y="100"/>
                      <a:pt x="127" y="103"/>
                    </a:cubicBezTo>
                    <a:cubicBezTo>
                      <a:pt x="128" y="99"/>
                      <a:pt x="127" y="94"/>
                      <a:pt x="127" y="89"/>
                    </a:cubicBezTo>
                    <a:cubicBezTo>
                      <a:pt x="127" y="88"/>
                      <a:pt x="126" y="85"/>
                      <a:pt x="128" y="85"/>
                    </a:cubicBezTo>
                    <a:cubicBezTo>
                      <a:pt x="128" y="85"/>
                      <a:pt x="129" y="85"/>
                      <a:pt x="129" y="85"/>
                    </a:cubicBezTo>
                    <a:cubicBezTo>
                      <a:pt x="130" y="85"/>
                      <a:pt x="129" y="86"/>
                      <a:pt x="130" y="86"/>
                    </a:cubicBezTo>
                    <a:cubicBezTo>
                      <a:pt x="131" y="86"/>
                      <a:pt x="131" y="88"/>
                      <a:pt x="132" y="88"/>
                    </a:cubicBezTo>
                    <a:cubicBezTo>
                      <a:pt x="132" y="88"/>
                      <a:pt x="132" y="87"/>
                      <a:pt x="133" y="85"/>
                    </a:cubicBezTo>
                    <a:cubicBezTo>
                      <a:pt x="133" y="83"/>
                      <a:pt x="135" y="83"/>
                      <a:pt x="135" y="82"/>
                    </a:cubicBezTo>
                    <a:cubicBezTo>
                      <a:pt x="136" y="81"/>
                      <a:pt x="138" y="77"/>
                      <a:pt x="138" y="76"/>
                    </a:cubicBezTo>
                    <a:cubicBezTo>
                      <a:pt x="140" y="72"/>
                      <a:pt x="139" y="67"/>
                      <a:pt x="138" y="63"/>
                    </a:cubicBezTo>
                    <a:cubicBezTo>
                      <a:pt x="138" y="60"/>
                      <a:pt x="135" y="58"/>
                      <a:pt x="132" y="56"/>
                    </a:cubicBezTo>
                    <a:cubicBezTo>
                      <a:pt x="136" y="53"/>
                      <a:pt x="134" y="49"/>
                      <a:pt x="135" y="46"/>
                    </a:cubicBezTo>
                    <a:cubicBezTo>
                      <a:pt x="134" y="47"/>
                      <a:pt x="133" y="47"/>
                      <a:pt x="132" y="47"/>
                    </a:cubicBezTo>
                    <a:cubicBezTo>
                      <a:pt x="130" y="47"/>
                      <a:pt x="134" y="43"/>
                      <a:pt x="133" y="39"/>
                    </a:cubicBezTo>
                    <a:cubicBezTo>
                      <a:pt x="133" y="38"/>
                      <a:pt x="131" y="37"/>
                      <a:pt x="130" y="37"/>
                    </a:cubicBezTo>
                    <a:cubicBezTo>
                      <a:pt x="129" y="37"/>
                      <a:pt x="129" y="37"/>
                      <a:pt x="128" y="37"/>
                    </a:cubicBezTo>
                    <a:cubicBezTo>
                      <a:pt x="128" y="38"/>
                      <a:pt x="127" y="38"/>
                      <a:pt x="127" y="38"/>
                    </a:cubicBezTo>
                    <a:cubicBezTo>
                      <a:pt x="126" y="38"/>
                      <a:pt x="126" y="37"/>
                      <a:pt x="126" y="37"/>
                    </a:cubicBezTo>
                    <a:cubicBezTo>
                      <a:pt x="123" y="34"/>
                      <a:pt x="130" y="32"/>
                      <a:pt x="130" y="30"/>
                    </a:cubicBezTo>
                    <a:cubicBezTo>
                      <a:pt x="133" y="25"/>
                      <a:pt x="128" y="20"/>
                      <a:pt x="128" y="15"/>
                    </a:cubicBezTo>
                    <a:cubicBezTo>
                      <a:pt x="126" y="16"/>
                      <a:pt x="125" y="16"/>
                      <a:pt x="124" y="16"/>
                    </a:cubicBezTo>
                    <a:cubicBezTo>
                      <a:pt x="123" y="16"/>
                      <a:pt x="122" y="14"/>
                      <a:pt x="120" y="11"/>
                    </a:cubicBezTo>
                    <a:cubicBezTo>
                      <a:pt x="118" y="6"/>
                      <a:pt x="110" y="3"/>
                      <a:pt x="10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0" name="Freeform 1162">
                <a:extLst>
                  <a:ext uri="{FF2B5EF4-FFF2-40B4-BE49-F238E27FC236}">
                    <a16:creationId xmlns:a16="http://schemas.microsoft.com/office/drawing/2014/main" id="{D09C483C-4C60-4125-B33E-395756DB9536}"/>
                  </a:ext>
                </a:extLst>
              </p:cNvPr>
              <p:cNvSpPr>
                <a:spLocks/>
              </p:cNvSpPr>
              <p:nvPr/>
            </p:nvSpPr>
            <p:spPr bwMode="auto">
              <a:xfrm>
                <a:off x="2083" y="178"/>
                <a:ext cx="19" cy="16"/>
              </a:xfrm>
              <a:custGeom>
                <a:avLst/>
                <a:gdLst>
                  <a:gd name="T0" fmla="*/ 4 w 8"/>
                  <a:gd name="T1" fmla="*/ 0 h 7"/>
                  <a:gd name="T2" fmla="*/ 0 w 8"/>
                  <a:gd name="T3" fmla="*/ 1 h 7"/>
                  <a:gd name="T4" fmla="*/ 6 w 8"/>
                  <a:gd name="T5" fmla="*/ 7 h 7"/>
                  <a:gd name="T6" fmla="*/ 6 w 8"/>
                  <a:gd name="T7" fmla="*/ 0 h 7"/>
                  <a:gd name="T8" fmla="*/ 4 w 8"/>
                  <a:gd name="T9" fmla="*/ 0 h 7"/>
                </a:gdLst>
                <a:ahLst/>
                <a:cxnLst>
                  <a:cxn ang="0">
                    <a:pos x="T0" y="T1"/>
                  </a:cxn>
                  <a:cxn ang="0">
                    <a:pos x="T2" y="T3"/>
                  </a:cxn>
                  <a:cxn ang="0">
                    <a:pos x="T4" y="T5"/>
                  </a:cxn>
                  <a:cxn ang="0">
                    <a:pos x="T6" y="T7"/>
                  </a:cxn>
                  <a:cxn ang="0">
                    <a:pos x="T8" y="T9"/>
                  </a:cxn>
                </a:cxnLst>
                <a:rect l="0" t="0" r="r" b="b"/>
                <a:pathLst>
                  <a:path w="8" h="7">
                    <a:moveTo>
                      <a:pt x="4" y="0"/>
                    </a:moveTo>
                    <a:cubicBezTo>
                      <a:pt x="3" y="0"/>
                      <a:pt x="0" y="0"/>
                      <a:pt x="0" y="1"/>
                    </a:cubicBezTo>
                    <a:cubicBezTo>
                      <a:pt x="0" y="2"/>
                      <a:pt x="6" y="6"/>
                      <a:pt x="6" y="7"/>
                    </a:cubicBezTo>
                    <a:cubicBezTo>
                      <a:pt x="7" y="4"/>
                      <a:pt x="8" y="1"/>
                      <a:pt x="6"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1" name="Freeform 1163">
                <a:extLst>
                  <a:ext uri="{FF2B5EF4-FFF2-40B4-BE49-F238E27FC236}">
                    <a16:creationId xmlns:a16="http://schemas.microsoft.com/office/drawing/2014/main" id="{B6AC7BDC-BAE9-41CD-87FE-7E982D619402}"/>
                  </a:ext>
                </a:extLst>
              </p:cNvPr>
              <p:cNvSpPr>
                <a:spLocks/>
              </p:cNvSpPr>
              <p:nvPr/>
            </p:nvSpPr>
            <p:spPr bwMode="auto">
              <a:xfrm>
                <a:off x="2036" y="0"/>
                <a:ext cx="26" cy="29"/>
              </a:xfrm>
              <a:custGeom>
                <a:avLst/>
                <a:gdLst>
                  <a:gd name="T0" fmla="*/ 8 w 11"/>
                  <a:gd name="T1" fmla="*/ 0 h 12"/>
                  <a:gd name="T2" fmla="*/ 4 w 11"/>
                  <a:gd name="T3" fmla="*/ 0 h 12"/>
                  <a:gd name="T4" fmla="*/ 6 w 11"/>
                  <a:gd name="T5" fmla="*/ 12 h 12"/>
                  <a:gd name="T6" fmla="*/ 7 w 11"/>
                  <a:gd name="T7" fmla="*/ 5 h 12"/>
                  <a:gd name="T8" fmla="*/ 8 w 11"/>
                  <a:gd name="T9" fmla="*/ 2 h 12"/>
                  <a:gd name="T10" fmla="*/ 8 w 11"/>
                  <a:gd name="T11" fmla="*/ 0 h 12"/>
                </a:gdLst>
                <a:ahLst/>
                <a:cxnLst>
                  <a:cxn ang="0">
                    <a:pos x="T0" y="T1"/>
                  </a:cxn>
                  <a:cxn ang="0">
                    <a:pos x="T2" y="T3"/>
                  </a:cxn>
                  <a:cxn ang="0">
                    <a:pos x="T4" y="T5"/>
                  </a:cxn>
                  <a:cxn ang="0">
                    <a:pos x="T6" y="T7"/>
                  </a:cxn>
                  <a:cxn ang="0">
                    <a:pos x="T8" y="T9"/>
                  </a:cxn>
                  <a:cxn ang="0">
                    <a:pos x="T10" y="T11"/>
                  </a:cxn>
                </a:cxnLst>
                <a:rect l="0" t="0" r="r" b="b"/>
                <a:pathLst>
                  <a:path w="11" h="12">
                    <a:moveTo>
                      <a:pt x="8" y="0"/>
                    </a:moveTo>
                    <a:cubicBezTo>
                      <a:pt x="4" y="0"/>
                      <a:pt x="4" y="0"/>
                      <a:pt x="4" y="0"/>
                    </a:cubicBezTo>
                    <a:cubicBezTo>
                      <a:pt x="0" y="2"/>
                      <a:pt x="5" y="9"/>
                      <a:pt x="6" y="12"/>
                    </a:cubicBezTo>
                    <a:cubicBezTo>
                      <a:pt x="11" y="8"/>
                      <a:pt x="7" y="8"/>
                      <a:pt x="7" y="5"/>
                    </a:cubicBezTo>
                    <a:cubicBezTo>
                      <a:pt x="7" y="4"/>
                      <a:pt x="8" y="3"/>
                      <a:pt x="8" y="2"/>
                    </a:cubicBezTo>
                    <a:cubicBezTo>
                      <a:pt x="8" y="2"/>
                      <a:pt x="9"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2" name="Freeform 1164">
                <a:extLst>
                  <a:ext uri="{FF2B5EF4-FFF2-40B4-BE49-F238E27FC236}">
                    <a16:creationId xmlns:a16="http://schemas.microsoft.com/office/drawing/2014/main" id="{7AC22E94-7223-4AB6-AF26-884D67C3664C}"/>
                  </a:ext>
                </a:extLst>
              </p:cNvPr>
              <p:cNvSpPr>
                <a:spLocks noEditPoints="1"/>
              </p:cNvSpPr>
              <p:nvPr/>
            </p:nvSpPr>
            <p:spPr bwMode="auto">
              <a:xfrm>
                <a:off x="1880" y="702"/>
                <a:ext cx="0" cy="5"/>
              </a:xfrm>
              <a:custGeom>
                <a:avLst/>
                <a:gdLst>
                  <a:gd name="T0" fmla="*/ 2 h 2"/>
                  <a:gd name="T1" fmla="*/ 2 h 2"/>
                  <a:gd name="T2" fmla="*/ 2 h 2"/>
                  <a:gd name="T3" fmla="*/ 0 h 2"/>
                  <a:gd name="T4" fmla="*/ 2 h 2"/>
                  <a:gd name="T5" fmla="*/ 0 h 2"/>
                </a:gdLst>
                <a:ahLst/>
                <a:cxnLst>
                  <a:cxn ang="0">
                    <a:pos x="0" y="T0"/>
                  </a:cxn>
                  <a:cxn ang="0">
                    <a:pos x="0" y="T1"/>
                  </a:cxn>
                  <a:cxn ang="0">
                    <a:pos x="0" y="T2"/>
                  </a:cxn>
                  <a:cxn ang="0">
                    <a:pos x="0" y="T3"/>
                  </a:cxn>
                  <a:cxn ang="0">
                    <a:pos x="0" y="T4"/>
                  </a:cxn>
                  <a:cxn ang="0">
                    <a:pos x="0" y="T5"/>
                  </a:cxn>
                </a:cxnLst>
                <a:rect l="0" t="0" r="r" b="b"/>
                <a:pathLst>
                  <a:path h="2">
                    <a:moveTo>
                      <a:pt x="0" y="2"/>
                    </a:moveTo>
                    <a:cubicBezTo>
                      <a:pt x="0" y="2"/>
                      <a:pt x="0" y="2"/>
                      <a:pt x="0" y="2"/>
                    </a:cubicBezTo>
                    <a:cubicBezTo>
                      <a:pt x="0" y="2"/>
                      <a:pt x="0" y="2"/>
                      <a:pt x="0" y="2"/>
                    </a:cubicBezTo>
                    <a:moveTo>
                      <a:pt x="0" y="0"/>
                    </a:moveTo>
                    <a:cubicBezTo>
                      <a:pt x="0" y="1"/>
                      <a:pt x="0" y="1"/>
                      <a:pt x="0" y="2"/>
                    </a:cubicBezTo>
                    <a:cubicBezTo>
                      <a:pt x="0"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3" name="Freeform 1165">
                <a:extLst>
                  <a:ext uri="{FF2B5EF4-FFF2-40B4-BE49-F238E27FC236}">
                    <a16:creationId xmlns:a16="http://schemas.microsoft.com/office/drawing/2014/main" id="{EF2E2F10-6163-4288-857E-8CEEC8B622A5}"/>
                  </a:ext>
                </a:extLst>
              </p:cNvPr>
              <p:cNvSpPr>
                <a:spLocks/>
              </p:cNvSpPr>
              <p:nvPr/>
            </p:nvSpPr>
            <p:spPr bwMode="auto">
              <a:xfrm>
                <a:off x="2086" y="298"/>
                <a:ext cx="16" cy="26"/>
              </a:xfrm>
              <a:custGeom>
                <a:avLst/>
                <a:gdLst>
                  <a:gd name="T0" fmla="*/ 6 w 7"/>
                  <a:gd name="T1" fmla="*/ 0 h 11"/>
                  <a:gd name="T2" fmla="*/ 2 w 7"/>
                  <a:gd name="T3" fmla="*/ 6 h 11"/>
                  <a:gd name="T4" fmla="*/ 2 w 7"/>
                  <a:gd name="T5" fmla="*/ 11 h 11"/>
                  <a:gd name="T6" fmla="*/ 6 w 7"/>
                  <a:gd name="T7" fmla="*/ 0 h 11"/>
                </a:gdLst>
                <a:ahLst/>
                <a:cxnLst>
                  <a:cxn ang="0">
                    <a:pos x="T0" y="T1"/>
                  </a:cxn>
                  <a:cxn ang="0">
                    <a:pos x="T2" y="T3"/>
                  </a:cxn>
                  <a:cxn ang="0">
                    <a:pos x="T4" y="T5"/>
                  </a:cxn>
                  <a:cxn ang="0">
                    <a:pos x="T6" y="T7"/>
                  </a:cxn>
                </a:cxnLst>
                <a:rect l="0" t="0" r="r" b="b"/>
                <a:pathLst>
                  <a:path w="7" h="11">
                    <a:moveTo>
                      <a:pt x="6" y="0"/>
                    </a:moveTo>
                    <a:cubicBezTo>
                      <a:pt x="5" y="2"/>
                      <a:pt x="1" y="4"/>
                      <a:pt x="2" y="6"/>
                    </a:cubicBezTo>
                    <a:cubicBezTo>
                      <a:pt x="0" y="8"/>
                      <a:pt x="1" y="9"/>
                      <a:pt x="2" y="11"/>
                    </a:cubicBezTo>
                    <a:cubicBezTo>
                      <a:pt x="5" y="7"/>
                      <a:pt x="7" y="5"/>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4" name="Freeform 1166">
                <a:extLst>
                  <a:ext uri="{FF2B5EF4-FFF2-40B4-BE49-F238E27FC236}">
                    <a16:creationId xmlns:a16="http://schemas.microsoft.com/office/drawing/2014/main" id="{9C3F13F9-2735-4A0E-9AE8-BD76B031C325}"/>
                  </a:ext>
                </a:extLst>
              </p:cNvPr>
              <p:cNvSpPr>
                <a:spLocks/>
              </p:cNvSpPr>
              <p:nvPr/>
            </p:nvSpPr>
            <p:spPr bwMode="auto">
              <a:xfrm>
                <a:off x="2322" y="348"/>
                <a:ext cx="19" cy="21"/>
              </a:xfrm>
              <a:custGeom>
                <a:avLst/>
                <a:gdLst>
                  <a:gd name="T0" fmla="*/ 4 w 8"/>
                  <a:gd name="T1" fmla="*/ 0 h 9"/>
                  <a:gd name="T2" fmla="*/ 4 w 8"/>
                  <a:gd name="T3" fmla="*/ 9 h 9"/>
                  <a:gd name="T4" fmla="*/ 8 w 8"/>
                  <a:gd name="T5" fmla="*/ 7 h 9"/>
                  <a:gd name="T6" fmla="*/ 4 w 8"/>
                  <a:gd name="T7" fmla="*/ 0 h 9"/>
                </a:gdLst>
                <a:ahLst/>
                <a:cxnLst>
                  <a:cxn ang="0">
                    <a:pos x="T0" y="T1"/>
                  </a:cxn>
                  <a:cxn ang="0">
                    <a:pos x="T2" y="T3"/>
                  </a:cxn>
                  <a:cxn ang="0">
                    <a:pos x="T4" y="T5"/>
                  </a:cxn>
                  <a:cxn ang="0">
                    <a:pos x="T6" y="T7"/>
                  </a:cxn>
                </a:cxnLst>
                <a:rect l="0" t="0" r="r" b="b"/>
                <a:pathLst>
                  <a:path w="8" h="9">
                    <a:moveTo>
                      <a:pt x="4" y="0"/>
                    </a:moveTo>
                    <a:cubicBezTo>
                      <a:pt x="3" y="3"/>
                      <a:pt x="0" y="6"/>
                      <a:pt x="4" y="9"/>
                    </a:cubicBezTo>
                    <a:cubicBezTo>
                      <a:pt x="5" y="8"/>
                      <a:pt x="7" y="8"/>
                      <a:pt x="8" y="7"/>
                    </a:cubicBezTo>
                    <a:cubicBezTo>
                      <a:pt x="6" y="5"/>
                      <a:pt x="6"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5" name="Freeform 1167">
                <a:extLst>
                  <a:ext uri="{FF2B5EF4-FFF2-40B4-BE49-F238E27FC236}">
                    <a16:creationId xmlns:a16="http://schemas.microsoft.com/office/drawing/2014/main" id="{E93F0FA8-E58D-47C0-A52A-1828B2127CC3}"/>
                  </a:ext>
                </a:extLst>
              </p:cNvPr>
              <p:cNvSpPr>
                <a:spLocks/>
              </p:cNvSpPr>
              <p:nvPr/>
            </p:nvSpPr>
            <p:spPr bwMode="auto">
              <a:xfrm>
                <a:off x="2154" y="400"/>
                <a:ext cx="19" cy="14"/>
              </a:xfrm>
              <a:custGeom>
                <a:avLst/>
                <a:gdLst>
                  <a:gd name="T0" fmla="*/ 4 w 8"/>
                  <a:gd name="T1" fmla="*/ 0 h 6"/>
                  <a:gd name="T2" fmla="*/ 0 w 8"/>
                  <a:gd name="T3" fmla="*/ 3 h 6"/>
                  <a:gd name="T4" fmla="*/ 4 w 8"/>
                  <a:gd name="T5" fmla="*/ 6 h 6"/>
                  <a:gd name="T6" fmla="*/ 4 w 8"/>
                  <a:gd name="T7" fmla="*/ 0 h 6"/>
                </a:gdLst>
                <a:ahLst/>
                <a:cxnLst>
                  <a:cxn ang="0">
                    <a:pos x="T0" y="T1"/>
                  </a:cxn>
                  <a:cxn ang="0">
                    <a:pos x="T2" y="T3"/>
                  </a:cxn>
                  <a:cxn ang="0">
                    <a:pos x="T4" y="T5"/>
                  </a:cxn>
                  <a:cxn ang="0">
                    <a:pos x="T6" y="T7"/>
                  </a:cxn>
                </a:cxnLst>
                <a:rect l="0" t="0" r="r" b="b"/>
                <a:pathLst>
                  <a:path w="8" h="6">
                    <a:moveTo>
                      <a:pt x="4" y="0"/>
                    </a:moveTo>
                    <a:cubicBezTo>
                      <a:pt x="4" y="2"/>
                      <a:pt x="0" y="2"/>
                      <a:pt x="0" y="3"/>
                    </a:cubicBezTo>
                    <a:cubicBezTo>
                      <a:pt x="0" y="4"/>
                      <a:pt x="3" y="6"/>
                      <a:pt x="4" y="6"/>
                    </a:cubicBezTo>
                    <a:cubicBezTo>
                      <a:pt x="8" y="5"/>
                      <a:pt x="7"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6" name="Freeform 1168">
                <a:extLst>
                  <a:ext uri="{FF2B5EF4-FFF2-40B4-BE49-F238E27FC236}">
                    <a16:creationId xmlns:a16="http://schemas.microsoft.com/office/drawing/2014/main" id="{82D3E70B-BAE6-4D22-B59A-0DEF5CD56708}"/>
                  </a:ext>
                </a:extLst>
              </p:cNvPr>
              <p:cNvSpPr>
                <a:spLocks/>
              </p:cNvSpPr>
              <p:nvPr/>
            </p:nvSpPr>
            <p:spPr bwMode="auto">
              <a:xfrm>
                <a:off x="1708" y="483"/>
                <a:ext cx="11" cy="21"/>
              </a:xfrm>
              <a:custGeom>
                <a:avLst/>
                <a:gdLst>
                  <a:gd name="T0" fmla="*/ 2 w 5"/>
                  <a:gd name="T1" fmla="*/ 0 h 9"/>
                  <a:gd name="T2" fmla="*/ 2 w 5"/>
                  <a:gd name="T3" fmla="*/ 9 h 9"/>
                  <a:gd name="T4" fmla="*/ 3 w 5"/>
                  <a:gd name="T5" fmla="*/ 3 h 9"/>
                  <a:gd name="T6" fmla="*/ 4 w 5"/>
                  <a:gd name="T7" fmla="*/ 1 h 9"/>
                  <a:gd name="T8" fmla="*/ 2 w 5"/>
                  <a:gd name="T9" fmla="*/ 0 h 9"/>
                </a:gdLst>
                <a:ahLst/>
                <a:cxnLst>
                  <a:cxn ang="0">
                    <a:pos x="T0" y="T1"/>
                  </a:cxn>
                  <a:cxn ang="0">
                    <a:pos x="T2" y="T3"/>
                  </a:cxn>
                  <a:cxn ang="0">
                    <a:pos x="T4" y="T5"/>
                  </a:cxn>
                  <a:cxn ang="0">
                    <a:pos x="T6" y="T7"/>
                  </a:cxn>
                  <a:cxn ang="0">
                    <a:pos x="T8" y="T9"/>
                  </a:cxn>
                </a:cxnLst>
                <a:rect l="0" t="0" r="r" b="b"/>
                <a:pathLst>
                  <a:path w="5" h="9">
                    <a:moveTo>
                      <a:pt x="2" y="0"/>
                    </a:moveTo>
                    <a:cubicBezTo>
                      <a:pt x="0" y="0"/>
                      <a:pt x="2" y="7"/>
                      <a:pt x="2" y="9"/>
                    </a:cubicBezTo>
                    <a:cubicBezTo>
                      <a:pt x="3" y="6"/>
                      <a:pt x="5" y="5"/>
                      <a:pt x="3" y="3"/>
                    </a:cubicBezTo>
                    <a:cubicBezTo>
                      <a:pt x="3" y="3"/>
                      <a:pt x="4" y="1"/>
                      <a:pt x="4" y="1"/>
                    </a:cubicBezTo>
                    <a:cubicBezTo>
                      <a:pt x="3"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7" name="Freeform 1169">
                <a:extLst>
                  <a:ext uri="{FF2B5EF4-FFF2-40B4-BE49-F238E27FC236}">
                    <a16:creationId xmlns:a16="http://schemas.microsoft.com/office/drawing/2014/main" id="{75E415CB-703E-4734-93A0-1C86A200190C}"/>
                  </a:ext>
                </a:extLst>
              </p:cNvPr>
              <p:cNvSpPr>
                <a:spLocks/>
              </p:cNvSpPr>
              <p:nvPr/>
            </p:nvSpPr>
            <p:spPr bwMode="auto">
              <a:xfrm>
                <a:off x="2043" y="575"/>
                <a:ext cx="38" cy="23"/>
              </a:xfrm>
              <a:custGeom>
                <a:avLst/>
                <a:gdLst>
                  <a:gd name="T0" fmla="*/ 7 w 16"/>
                  <a:gd name="T1" fmla="*/ 0 h 10"/>
                  <a:gd name="T2" fmla="*/ 4 w 16"/>
                  <a:gd name="T3" fmla="*/ 2 h 10"/>
                  <a:gd name="T4" fmla="*/ 1 w 16"/>
                  <a:gd name="T5" fmla="*/ 3 h 10"/>
                  <a:gd name="T6" fmla="*/ 0 w 16"/>
                  <a:gd name="T7" fmla="*/ 2 h 10"/>
                  <a:gd name="T8" fmla="*/ 4 w 16"/>
                  <a:gd name="T9" fmla="*/ 10 h 10"/>
                  <a:gd name="T10" fmla="*/ 10 w 16"/>
                  <a:gd name="T11" fmla="*/ 9 h 10"/>
                  <a:gd name="T12" fmla="*/ 11 w 16"/>
                  <a:gd name="T13" fmla="*/ 6 h 10"/>
                  <a:gd name="T14" fmla="*/ 11 w 16"/>
                  <a:gd name="T15" fmla="*/ 3 h 10"/>
                  <a:gd name="T16" fmla="*/ 7 w 16"/>
                  <a:gd name="T17" fmla="*/ 0 h 10"/>
                  <a:gd name="T18" fmla="*/ 7 w 16"/>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7" y="0"/>
                    </a:moveTo>
                    <a:cubicBezTo>
                      <a:pt x="5" y="0"/>
                      <a:pt x="5" y="1"/>
                      <a:pt x="4" y="2"/>
                    </a:cubicBezTo>
                    <a:cubicBezTo>
                      <a:pt x="3" y="2"/>
                      <a:pt x="2" y="3"/>
                      <a:pt x="1" y="3"/>
                    </a:cubicBezTo>
                    <a:cubicBezTo>
                      <a:pt x="1" y="3"/>
                      <a:pt x="0" y="3"/>
                      <a:pt x="0" y="2"/>
                    </a:cubicBezTo>
                    <a:cubicBezTo>
                      <a:pt x="1" y="5"/>
                      <a:pt x="3" y="8"/>
                      <a:pt x="4" y="10"/>
                    </a:cubicBezTo>
                    <a:cubicBezTo>
                      <a:pt x="5" y="10"/>
                      <a:pt x="9" y="10"/>
                      <a:pt x="10" y="9"/>
                    </a:cubicBezTo>
                    <a:cubicBezTo>
                      <a:pt x="10" y="8"/>
                      <a:pt x="10" y="7"/>
                      <a:pt x="11" y="6"/>
                    </a:cubicBezTo>
                    <a:cubicBezTo>
                      <a:pt x="13" y="5"/>
                      <a:pt x="16" y="4"/>
                      <a:pt x="11" y="3"/>
                    </a:cubicBezTo>
                    <a:cubicBezTo>
                      <a:pt x="9" y="3"/>
                      <a:pt x="9" y="1"/>
                      <a:pt x="7"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8" name="Freeform 1170">
                <a:extLst>
                  <a:ext uri="{FF2B5EF4-FFF2-40B4-BE49-F238E27FC236}">
                    <a16:creationId xmlns:a16="http://schemas.microsoft.com/office/drawing/2014/main" id="{2CD151A4-C9AB-4058-87B6-F220E8B6E54C}"/>
                  </a:ext>
                </a:extLst>
              </p:cNvPr>
              <p:cNvSpPr>
                <a:spLocks/>
              </p:cNvSpPr>
              <p:nvPr/>
            </p:nvSpPr>
            <p:spPr bwMode="auto">
              <a:xfrm>
                <a:off x="2305" y="546"/>
                <a:ext cx="7" cy="19"/>
              </a:xfrm>
              <a:custGeom>
                <a:avLst/>
                <a:gdLst>
                  <a:gd name="T0" fmla="*/ 1 w 3"/>
                  <a:gd name="T1" fmla="*/ 0 h 8"/>
                  <a:gd name="T2" fmla="*/ 3 w 3"/>
                  <a:gd name="T3" fmla="*/ 8 h 8"/>
                  <a:gd name="T4" fmla="*/ 1 w 3"/>
                  <a:gd name="T5" fmla="*/ 0 h 8"/>
                </a:gdLst>
                <a:ahLst/>
                <a:cxnLst>
                  <a:cxn ang="0">
                    <a:pos x="T0" y="T1"/>
                  </a:cxn>
                  <a:cxn ang="0">
                    <a:pos x="T2" y="T3"/>
                  </a:cxn>
                  <a:cxn ang="0">
                    <a:pos x="T4" y="T5"/>
                  </a:cxn>
                </a:cxnLst>
                <a:rect l="0" t="0" r="r" b="b"/>
                <a:pathLst>
                  <a:path w="3" h="8">
                    <a:moveTo>
                      <a:pt x="1" y="0"/>
                    </a:moveTo>
                    <a:cubicBezTo>
                      <a:pt x="0" y="2"/>
                      <a:pt x="2" y="5"/>
                      <a:pt x="3" y="8"/>
                    </a:cubicBezTo>
                    <a:cubicBezTo>
                      <a:pt x="2" y="5"/>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9" name="Freeform 1171">
                <a:extLst>
                  <a:ext uri="{FF2B5EF4-FFF2-40B4-BE49-F238E27FC236}">
                    <a16:creationId xmlns:a16="http://schemas.microsoft.com/office/drawing/2014/main" id="{B02C28EF-C4D6-4245-8E48-4688D60991B5}"/>
                  </a:ext>
                </a:extLst>
              </p:cNvPr>
              <p:cNvSpPr>
                <a:spLocks/>
              </p:cNvSpPr>
              <p:nvPr/>
            </p:nvSpPr>
            <p:spPr bwMode="auto">
              <a:xfrm>
                <a:off x="2159" y="163"/>
                <a:ext cx="19" cy="24"/>
              </a:xfrm>
              <a:custGeom>
                <a:avLst/>
                <a:gdLst>
                  <a:gd name="T0" fmla="*/ 2 w 8"/>
                  <a:gd name="T1" fmla="*/ 0 h 10"/>
                  <a:gd name="T2" fmla="*/ 8 w 8"/>
                  <a:gd name="T3" fmla="*/ 10 h 10"/>
                  <a:gd name="T4" fmla="*/ 2 w 8"/>
                  <a:gd name="T5" fmla="*/ 0 h 10"/>
                </a:gdLst>
                <a:ahLst/>
                <a:cxnLst>
                  <a:cxn ang="0">
                    <a:pos x="T0" y="T1"/>
                  </a:cxn>
                  <a:cxn ang="0">
                    <a:pos x="T2" y="T3"/>
                  </a:cxn>
                  <a:cxn ang="0">
                    <a:pos x="T4" y="T5"/>
                  </a:cxn>
                </a:cxnLst>
                <a:rect l="0" t="0" r="r" b="b"/>
                <a:pathLst>
                  <a:path w="8" h="10">
                    <a:moveTo>
                      <a:pt x="2" y="0"/>
                    </a:moveTo>
                    <a:cubicBezTo>
                      <a:pt x="0" y="3"/>
                      <a:pt x="6" y="9"/>
                      <a:pt x="8" y="10"/>
                    </a:cubicBezTo>
                    <a:cubicBezTo>
                      <a:pt x="6" y="7"/>
                      <a:pt x="5" y="3"/>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0" name="Freeform 1172">
                <a:extLst>
                  <a:ext uri="{FF2B5EF4-FFF2-40B4-BE49-F238E27FC236}">
                    <a16:creationId xmlns:a16="http://schemas.microsoft.com/office/drawing/2014/main" id="{C95FD1D6-4219-4D44-B7F6-426A8150A381}"/>
                  </a:ext>
                </a:extLst>
              </p:cNvPr>
              <p:cNvSpPr>
                <a:spLocks/>
              </p:cNvSpPr>
              <p:nvPr/>
            </p:nvSpPr>
            <p:spPr bwMode="auto">
              <a:xfrm>
                <a:off x="2043" y="218"/>
                <a:ext cx="90" cy="101"/>
              </a:xfrm>
              <a:custGeom>
                <a:avLst/>
                <a:gdLst>
                  <a:gd name="T0" fmla="*/ 3 w 38"/>
                  <a:gd name="T1" fmla="*/ 0 h 43"/>
                  <a:gd name="T2" fmla="*/ 1 w 38"/>
                  <a:gd name="T3" fmla="*/ 4 h 43"/>
                  <a:gd name="T4" fmla="*/ 2 w 38"/>
                  <a:gd name="T5" fmla="*/ 5 h 43"/>
                  <a:gd name="T6" fmla="*/ 7 w 38"/>
                  <a:gd name="T7" fmla="*/ 13 h 43"/>
                  <a:gd name="T8" fmla="*/ 6 w 38"/>
                  <a:gd name="T9" fmla="*/ 21 h 43"/>
                  <a:gd name="T10" fmla="*/ 4 w 38"/>
                  <a:gd name="T11" fmla="*/ 31 h 43"/>
                  <a:gd name="T12" fmla="*/ 4 w 38"/>
                  <a:gd name="T13" fmla="*/ 43 h 43"/>
                  <a:gd name="T14" fmla="*/ 6 w 38"/>
                  <a:gd name="T15" fmla="*/ 43 h 43"/>
                  <a:gd name="T16" fmla="*/ 29 w 38"/>
                  <a:gd name="T17" fmla="*/ 30 h 43"/>
                  <a:gd name="T18" fmla="*/ 37 w 38"/>
                  <a:gd name="T19" fmla="*/ 22 h 43"/>
                  <a:gd name="T20" fmla="*/ 37 w 38"/>
                  <a:gd name="T21" fmla="*/ 20 h 43"/>
                  <a:gd name="T22" fmla="*/ 38 w 38"/>
                  <a:gd name="T23" fmla="*/ 15 h 43"/>
                  <a:gd name="T24" fmla="*/ 36 w 38"/>
                  <a:gd name="T25" fmla="*/ 12 h 43"/>
                  <a:gd name="T26" fmla="*/ 30 w 38"/>
                  <a:gd name="T27" fmla="*/ 14 h 43"/>
                  <a:gd name="T28" fmla="*/ 20 w 38"/>
                  <a:gd name="T29" fmla="*/ 10 h 43"/>
                  <a:gd name="T30" fmla="*/ 3 w 38"/>
                  <a:gd name="T3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43">
                    <a:moveTo>
                      <a:pt x="3" y="0"/>
                    </a:moveTo>
                    <a:cubicBezTo>
                      <a:pt x="1" y="0"/>
                      <a:pt x="1" y="2"/>
                      <a:pt x="1" y="4"/>
                    </a:cubicBezTo>
                    <a:cubicBezTo>
                      <a:pt x="1" y="4"/>
                      <a:pt x="2" y="5"/>
                      <a:pt x="2" y="5"/>
                    </a:cubicBezTo>
                    <a:cubicBezTo>
                      <a:pt x="8" y="7"/>
                      <a:pt x="8" y="7"/>
                      <a:pt x="7" y="13"/>
                    </a:cubicBezTo>
                    <a:cubicBezTo>
                      <a:pt x="7" y="15"/>
                      <a:pt x="6" y="18"/>
                      <a:pt x="6" y="21"/>
                    </a:cubicBezTo>
                    <a:cubicBezTo>
                      <a:pt x="6" y="26"/>
                      <a:pt x="5" y="27"/>
                      <a:pt x="4" y="31"/>
                    </a:cubicBezTo>
                    <a:cubicBezTo>
                      <a:pt x="4" y="34"/>
                      <a:pt x="0" y="43"/>
                      <a:pt x="4" y="43"/>
                    </a:cubicBezTo>
                    <a:cubicBezTo>
                      <a:pt x="4" y="43"/>
                      <a:pt x="5" y="43"/>
                      <a:pt x="6" y="43"/>
                    </a:cubicBezTo>
                    <a:cubicBezTo>
                      <a:pt x="13" y="39"/>
                      <a:pt x="23" y="36"/>
                      <a:pt x="29" y="30"/>
                    </a:cubicBezTo>
                    <a:cubicBezTo>
                      <a:pt x="31" y="28"/>
                      <a:pt x="36" y="25"/>
                      <a:pt x="37" y="22"/>
                    </a:cubicBezTo>
                    <a:cubicBezTo>
                      <a:pt x="38" y="21"/>
                      <a:pt x="36" y="21"/>
                      <a:pt x="37" y="20"/>
                    </a:cubicBezTo>
                    <a:cubicBezTo>
                      <a:pt x="37" y="18"/>
                      <a:pt x="38" y="17"/>
                      <a:pt x="38" y="15"/>
                    </a:cubicBezTo>
                    <a:cubicBezTo>
                      <a:pt x="38" y="13"/>
                      <a:pt x="37" y="12"/>
                      <a:pt x="36" y="12"/>
                    </a:cubicBezTo>
                    <a:cubicBezTo>
                      <a:pt x="35" y="12"/>
                      <a:pt x="33" y="13"/>
                      <a:pt x="30" y="14"/>
                    </a:cubicBezTo>
                    <a:cubicBezTo>
                      <a:pt x="28" y="12"/>
                      <a:pt x="23" y="12"/>
                      <a:pt x="20" y="10"/>
                    </a:cubicBezTo>
                    <a:cubicBezTo>
                      <a:pt x="14" y="6"/>
                      <a:pt x="9"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1" name="Freeform 1173">
                <a:extLst>
                  <a:ext uri="{FF2B5EF4-FFF2-40B4-BE49-F238E27FC236}">
                    <a16:creationId xmlns:a16="http://schemas.microsoft.com/office/drawing/2014/main" id="{D85E8D79-AF81-4D3D-8B0F-C9176732E351}"/>
                  </a:ext>
                </a:extLst>
              </p:cNvPr>
              <p:cNvSpPr>
                <a:spLocks/>
              </p:cNvSpPr>
              <p:nvPr/>
            </p:nvSpPr>
            <p:spPr bwMode="auto">
              <a:xfrm>
                <a:off x="2119" y="137"/>
                <a:ext cx="7" cy="5"/>
              </a:xfrm>
              <a:custGeom>
                <a:avLst/>
                <a:gdLst>
                  <a:gd name="T0" fmla="*/ 0 w 3"/>
                  <a:gd name="T1" fmla="*/ 0 h 2"/>
                  <a:gd name="T2" fmla="*/ 3 w 3"/>
                  <a:gd name="T3" fmla="*/ 2 h 2"/>
                  <a:gd name="T4" fmla="*/ 0 w 3"/>
                  <a:gd name="T5" fmla="*/ 0 h 2"/>
                </a:gdLst>
                <a:ahLst/>
                <a:cxnLst>
                  <a:cxn ang="0">
                    <a:pos x="T0" y="T1"/>
                  </a:cxn>
                  <a:cxn ang="0">
                    <a:pos x="T2" y="T3"/>
                  </a:cxn>
                  <a:cxn ang="0">
                    <a:pos x="T4" y="T5"/>
                  </a:cxn>
                </a:cxnLst>
                <a:rect l="0" t="0" r="r" b="b"/>
                <a:pathLst>
                  <a:path w="3" h="2">
                    <a:moveTo>
                      <a:pt x="0" y="0"/>
                    </a:moveTo>
                    <a:cubicBezTo>
                      <a:pt x="0" y="1"/>
                      <a:pt x="1" y="2"/>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2" name="Freeform 1174">
                <a:extLst>
                  <a:ext uri="{FF2B5EF4-FFF2-40B4-BE49-F238E27FC236}">
                    <a16:creationId xmlns:a16="http://schemas.microsoft.com/office/drawing/2014/main" id="{7F167B19-BF77-404C-9B68-FDBE9444E86A}"/>
                  </a:ext>
                </a:extLst>
              </p:cNvPr>
              <p:cNvSpPr>
                <a:spLocks/>
              </p:cNvSpPr>
              <p:nvPr/>
            </p:nvSpPr>
            <p:spPr bwMode="auto">
              <a:xfrm>
                <a:off x="1908" y="674"/>
                <a:ext cx="26" cy="19"/>
              </a:xfrm>
              <a:custGeom>
                <a:avLst/>
                <a:gdLst>
                  <a:gd name="T0" fmla="*/ 9 w 11"/>
                  <a:gd name="T1" fmla="*/ 1 h 8"/>
                  <a:gd name="T2" fmla="*/ 0 w 11"/>
                  <a:gd name="T3" fmla="*/ 8 h 8"/>
                  <a:gd name="T4" fmla="*/ 4 w 11"/>
                  <a:gd name="T5" fmla="*/ 6 h 8"/>
                  <a:gd name="T6" fmla="*/ 4 w 11"/>
                  <a:gd name="T7" fmla="*/ 4 h 8"/>
                  <a:gd name="T8" fmla="*/ 5 w 11"/>
                  <a:gd name="T9" fmla="*/ 4 h 8"/>
                  <a:gd name="T10" fmla="*/ 6 w 11"/>
                  <a:gd name="T11" fmla="*/ 4 h 8"/>
                  <a:gd name="T12" fmla="*/ 7 w 11"/>
                  <a:gd name="T13" fmla="*/ 4 h 8"/>
                  <a:gd name="T14" fmla="*/ 7 w 11"/>
                  <a:gd name="T15" fmla="*/ 3 h 8"/>
                  <a:gd name="T16" fmla="*/ 8 w 11"/>
                  <a:gd name="T17" fmla="*/ 4 h 8"/>
                  <a:gd name="T18" fmla="*/ 10 w 11"/>
                  <a:gd name="T19" fmla="*/ 6 h 8"/>
                  <a:gd name="T20" fmla="*/ 11 w 11"/>
                  <a:gd name="T21" fmla="*/ 2 h 8"/>
                  <a:gd name="T22" fmla="*/ 9 w 11"/>
                  <a:gd name="T23"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8">
                    <a:moveTo>
                      <a:pt x="9" y="1"/>
                    </a:moveTo>
                    <a:cubicBezTo>
                      <a:pt x="7" y="0"/>
                      <a:pt x="1" y="6"/>
                      <a:pt x="0" y="8"/>
                    </a:cubicBezTo>
                    <a:cubicBezTo>
                      <a:pt x="1" y="7"/>
                      <a:pt x="3" y="6"/>
                      <a:pt x="4" y="6"/>
                    </a:cubicBezTo>
                    <a:cubicBezTo>
                      <a:pt x="4" y="6"/>
                      <a:pt x="4" y="5"/>
                      <a:pt x="4" y="4"/>
                    </a:cubicBezTo>
                    <a:cubicBezTo>
                      <a:pt x="5" y="4"/>
                      <a:pt x="5" y="4"/>
                      <a:pt x="5" y="4"/>
                    </a:cubicBezTo>
                    <a:cubicBezTo>
                      <a:pt x="5" y="4"/>
                      <a:pt x="6" y="4"/>
                      <a:pt x="6" y="4"/>
                    </a:cubicBezTo>
                    <a:cubicBezTo>
                      <a:pt x="6" y="4"/>
                      <a:pt x="6" y="4"/>
                      <a:pt x="7" y="4"/>
                    </a:cubicBezTo>
                    <a:cubicBezTo>
                      <a:pt x="7" y="4"/>
                      <a:pt x="7" y="4"/>
                      <a:pt x="7" y="3"/>
                    </a:cubicBezTo>
                    <a:cubicBezTo>
                      <a:pt x="8" y="3"/>
                      <a:pt x="8" y="4"/>
                      <a:pt x="8" y="4"/>
                    </a:cubicBezTo>
                    <a:cubicBezTo>
                      <a:pt x="9" y="4"/>
                      <a:pt x="9" y="5"/>
                      <a:pt x="10" y="6"/>
                    </a:cubicBezTo>
                    <a:cubicBezTo>
                      <a:pt x="10" y="5"/>
                      <a:pt x="11" y="3"/>
                      <a:pt x="11" y="2"/>
                    </a:cubicBezTo>
                    <a:cubicBezTo>
                      <a:pt x="11" y="1"/>
                      <a:pt x="10" y="1"/>
                      <a:pt x="9"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3" name="Freeform 1175">
                <a:extLst>
                  <a:ext uri="{FF2B5EF4-FFF2-40B4-BE49-F238E27FC236}">
                    <a16:creationId xmlns:a16="http://schemas.microsoft.com/office/drawing/2014/main" id="{BADC9CAB-78A6-4999-BB1D-5E0336337AD9}"/>
                  </a:ext>
                </a:extLst>
              </p:cNvPr>
              <p:cNvSpPr>
                <a:spLocks/>
              </p:cNvSpPr>
              <p:nvPr/>
            </p:nvSpPr>
            <p:spPr bwMode="auto">
              <a:xfrm>
                <a:off x="2216" y="234"/>
                <a:ext cx="23" cy="15"/>
              </a:xfrm>
              <a:custGeom>
                <a:avLst/>
                <a:gdLst>
                  <a:gd name="T0" fmla="*/ 2 w 10"/>
                  <a:gd name="T1" fmla="*/ 0 h 6"/>
                  <a:gd name="T2" fmla="*/ 0 w 10"/>
                  <a:gd name="T3" fmla="*/ 0 h 6"/>
                  <a:gd name="T4" fmla="*/ 4 w 10"/>
                  <a:gd name="T5" fmla="*/ 6 h 6"/>
                  <a:gd name="T6" fmla="*/ 2 w 10"/>
                  <a:gd name="T7" fmla="*/ 0 h 6"/>
                </a:gdLst>
                <a:ahLst/>
                <a:cxnLst>
                  <a:cxn ang="0">
                    <a:pos x="T0" y="T1"/>
                  </a:cxn>
                  <a:cxn ang="0">
                    <a:pos x="T2" y="T3"/>
                  </a:cxn>
                  <a:cxn ang="0">
                    <a:pos x="T4" y="T5"/>
                  </a:cxn>
                  <a:cxn ang="0">
                    <a:pos x="T6" y="T7"/>
                  </a:cxn>
                </a:cxnLst>
                <a:rect l="0" t="0" r="r" b="b"/>
                <a:pathLst>
                  <a:path w="10" h="6">
                    <a:moveTo>
                      <a:pt x="2" y="0"/>
                    </a:moveTo>
                    <a:cubicBezTo>
                      <a:pt x="1" y="0"/>
                      <a:pt x="0" y="0"/>
                      <a:pt x="0" y="0"/>
                    </a:cubicBezTo>
                    <a:cubicBezTo>
                      <a:pt x="2" y="2"/>
                      <a:pt x="1" y="5"/>
                      <a:pt x="4" y="6"/>
                    </a:cubicBezTo>
                    <a:cubicBezTo>
                      <a:pt x="10" y="4"/>
                      <a:pt x="6"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4" name="Freeform 1176">
                <a:extLst>
                  <a:ext uri="{FF2B5EF4-FFF2-40B4-BE49-F238E27FC236}">
                    <a16:creationId xmlns:a16="http://schemas.microsoft.com/office/drawing/2014/main" id="{90CE49CD-46A4-481E-A61F-B499E110D4CE}"/>
                  </a:ext>
                </a:extLst>
              </p:cNvPr>
              <p:cNvSpPr>
                <a:spLocks/>
              </p:cNvSpPr>
              <p:nvPr/>
            </p:nvSpPr>
            <p:spPr bwMode="auto">
              <a:xfrm>
                <a:off x="2041" y="104"/>
                <a:ext cx="26" cy="24"/>
              </a:xfrm>
              <a:custGeom>
                <a:avLst/>
                <a:gdLst>
                  <a:gd name="T0" fmla="*/ 2 w 11"/>
                  <a:gd name="T1" fmla="*/ 0 h 10"/>
                  <a:gd name="T2" fmla="*/ 1 w 11"/>
                  <a:gd name="T3" fmla="*/ 4 h 10"/>
                  <a:gd name="T4" fmla="*/ 7 w 11"/>
                  <a:gd name="T5" fmla="*/ 10 h 10"/>
                  <a:gd name="T6" fmla="*/ 7 w 11"/>
                  <a:gd name="T7" fmla="*/ 1 h 10"/>
                  <a:gd name="T8" fmla="*/ 2 w 11"/>
                  <a:gd name="T9" fmla="*/ 0 h 10"/>
                </a:gdLst>
                <a:ahLst/>
                <a:cxnLst>
                  <a:cxn ang="0">
                    <a:pos x="T0" y="T1"/>
                  </a:cxn>
                  <a:cxn ang="0">
                    <a:pos x="T2" y="T3"/>
                  </a:cxn>
                  <a:cxn ang="0">
                    <a:pos x="T4" y="T5"/>
                  </a:cxn>
                  <a:cxn ang="0">
                    <a:pos x="T6" y="T7"/>
                  </a:cxn>
                  <a:cxn ang="0">
                    <a:pos x="T8" y="T9"/>
                  </a:cxn>
                </a:cxnLst>
                <a:rect l="0" t="0" r="r" b="b"/>
                <a:pathLst>
                  <a:path w="11" h="10">
                    <a:moveTo>
                      <a:pt x="2" y="0"/>
                    </a:moveTo>
                    <a:cubicBezTo>
                      <a:pt x="2" y="1"/>
                      <a:pt x="0" y="2"/>
                      <a:pt x="1" y="4"/>
                    </a:cubicBezTo>
                    <a:cubicBezTo>
                      <a:pt x="1" y="8"/>
                      <a:pt x="4" y="8"/>
                      <a:pt x="7" y="10"/>
                    </a:cubicBezTo>
                    <a:cubicBezTo>
                      <a:pt x="8" y="6"/>
                      <a:pt x="11" y="3"/>
                      <a:pt x="7" y="1"/>
                    </a:cubicBezTo>
                    <a:cubicBezTo>
                      <a:pt x="6" y="0"/>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5" name="Freeform 1177">
                <a:extLst>
                  <a:ext uri="{FF2B5EF4-FFF2-40B4-BE49-F238E27FC236}">
                    <a16:creationId xmlns:a16="http://schemas.microsoft.com/office/drawing/2014/main" id="{3F03BDF2-B6B2-4102-AF8D-55BDBEDF0C83}"/>
                  </a:ext>
                </a:extLst>
              </p:cNvPr>
              <p:cNvSpPr>
                <a:spLocks/>
              </p:cNvSpPr>
              <p:nvPr/>
            </p:nvSpPr>
            <p:spPr bwMode="auto">
              <a:xfrm>
                <a:off x="1906" y="192"/>
                <a:ext cx="33" cy="23"/>
              </a:xfrm>
              <a:custGeom>
                <a:avLst/>
                <a:gdLst>
                  <a:gd name="T0" fmla="*/ 1 w 14"/>
                  <a:gd name="T1" fmla="*/ 0 h 10"/>
                  <a:gd name="T2" fmla="*/ 1 w 14"/>
                  <a:gd name="T3" fmla="*/ 0 h 10"/>
                  <a:gd name="T4" fmla="*/ 0 w 14"/>
                  <a:gd name="T5" fmla="*/ 3 h 10"/>
                  <a:gd name="T6" fmla="*/ 1 w 14"/>
                  <a:gd name="T7" fmla="*/ 3 h 10"/>
                  <a:gd name="T8" fmla="*/ 3 w 14"/>
                  <a:gd name="T9" fmla="*/ 6 h 10"/>
                  <a:gd name="T10" fmla="*/ 7 w 14"/>
                  <a:gd name="T11" fmla="*/ 10 h 10"/>
                  <a:gd name="T12" fmla="*/ 14 w 14"/>
                  <a:gd name="T13" fmla="*/ 6 h 10"/>
                  <a:gd name="T14" fmla="*/ 11 w 14"/>
                  <a:gd name="T15" fmla="*/ 2 h 10"/>
                  <a:gd name="T16" fmla="*/ 11 w 14"/>
                  <a:gd name="T17" fmla="*/ 5 h 10"/>
                  <a:gd name="T18" fmla="*/ 11 w 14"/>
                  <a:gd name="T19" fmla="*/ 5 h 10"/>
                  <a:gd name="T20" fmla="*/ 6 w 14"/>
                  <a:gd name="T21" fmla="*/ 2 h 10"/>
                  <a:gd name="T22" fmla="*/ 1 w 14"/>
                  <a:gd name="T2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0">
                    <a:moveTo>
                      <a:pt x="1" y="0"/>
                    </a:moveTo>
                    <a:cubicBezTo>
                      <a:pt x="1" y="0"/>
                      <a:pt x="1" y="0"/>
                      <a:pt x="1" y="0"/>
                    </a:cubicBezTo>
                    <a:cubicBezTo>
                      <a:pt x="1" y="2"/>
                      <a:pt x="1" y="2"/>
                      <a:pt x="0" y="3"/>
                    </a:cubicBezTo>
                    <a:cubicBezTo>
                      <a:pt x="1" y="3"/>
                      <a:pt x="1" y="3"/>
                      <a:pt x="1" y="3"/>
                    </a:cubicBezTo>
                    <a:cubicBezTo>
                      <a:pt x="2" y="3"/>
                      <a:pt x="2" y="5"/>
                      <a:pt x="3" y="6"/>
                    </a:cubicBezTo>
                    <a:cubicBezTo>
                      <a:pt x="4" y="8"/>
                      <a:pt x="5" y="9"/>
                      <a:pt x="7" y="10"/>
                    </a:cubicBezTo>
                    <a:cubicBezTo>
                      <a:pt x="10" y="8"/>
                      <a:pt x="12" y="7"/>
                      <a:pt x="14" y="6"/>
                    </a:cubicBezTo>
                    <a:cubicBezTo>
                      <a:pt x="13" y="5"/>
                      <a:pt x="12" y="3"/>
                      <a:pt x="11" y="2"/>
                    </a:cubicBezTo>
                    <a:cubicBezTo>
                      <a:pt x="11" y="3"/>
                      <a:pt x="11" y="4"/>
                      <a:pt x="11" y="5"/>
                    </a:cubicBezTo>
                    <a:cubicBezTo>
                      <a:pt x="11" y="5"/>
                      <a:pt x="11" y="5"/>
                      <a:pt x="11" y="5"/>
                    </a:cubicBezTo>
                    <a:cubicBezTo>
                      <a:pt x="10" y="5"/>
                      <a:pt x="8" y="4"/>
                      <a:pt x="6" y="2"/>
                    </a:cubicBezTo>
                    <a:cubicBezTo>
                      <a:pt x="4"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6" name="Freeform 1178">
                <a:extLst>
                  <a:ext uri="{FF2B5EF4-FFF2-40B4-BE49-F238E27FC236}">
                    <a16:creationId xmlns:a16="http://schemas.microsoft.com/office/drawing/2014/main" id="{B8142A9E-82E1-426C-9557-35C1EF3BE269}"/>
                  </a:ext>
                </a:extLst>
              </p:cNvPr>
              <p:cNvSpPr>
                <a:spLocks/>
              </p:cNvSpPr>
              <p:nvPr/>
            </p:nvSpPr>
            <p:spPr bwMode="auto">
              <a:xfrm>
                <a:off x="2294" y="319"/>
                <a:ext cx="11" cy="36"/>
              </a:xfrm>
              <a:custGeom>
                <a:avLst/>
                <a:gdLst>
                  <a:gd name="T0" fmla="*/ 4 w 5"/>
                  <a:gd name="T1" fmla="*/ 0 h 15"/>
                  <a:gd name="T2" fmla="*/ 0 w 5"/>
                  <a:gd name="T3" fmla="*/ 7 h 15"/>
                  <a:gd name="T4" fmla="*/ 1 w 5"/>
                  <a:gd name="T5" fmla="*/ 11 h 15"/>
                  <a:gd name="T6" fmla="*/ 2 w 5"/>
                  <a:gd name="T7" fmla="*/ 14 h 15"/>
                  <a:gd name="T8" fmla="*/ 3 w 5"/>
                  <a:gd name="T9" fmla="*/ 14 h 15"/>
                  <a:gd name="T10" fmla="*/ 3 w 5"/>
                  <a:gd name="T11" fmla="*/ 15 h 15"/>
                  <a:gd name="T12" fmla="*/ 4 w 5"/>
                  <a:gd name="T13" fmla="*/ 15 h 15"/>
                  <a:gd name="T14" fmla="*/ 4 w 5"/>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5">
                    <a:moveTo>
                      <a:pt x="4" y="0"/>
                    </a:moveTo>
                    <a:cubicBezTo>
                      <a:pt x="3" y="3"/>
                      <a:pt x="1" y="4"/>
                      <a:pt x="0" y="7"/>
                    </a:cubicBezTo>
                    <a:cubicBezTo>
                      <a:pt x="0" y="9"/>
                      <a:pt x="0" y="10"/>
                      <a:pt x="1" y="11"/>
                    </a:cubicBezTo>
                    <a:cubicBezTo>
                      <a:pt x="1" y="12"/>
                      <a:pt x="5" y="11"/>
                      <a:pt x="2" y="14"/>
                    </a:cubicBezTo>
                    <a:cubicBezTo>
                      <a:pt x="3" y="14"/>
                      <a:pt x="3" y="14"/>
                      <a:pt x="3" y="14"/>
                    </a:cubicBezTo>
                    <a:cubicBezTo>
                      <a:pt x="3" y="14"/>
                      <a:pt x="3" y="14"/>
                      <a:pt x="3" y="15"/>
                    </a:cubicBezTo>
                    <a:cubicBezTo>
                      <a:pt x="4" y="15"/>
                      <a:pt x="4" y="15"/>
                      <a:pt x="4" y="15"/>
                    </a:cubicBezTo>
                    <a:cubicBezTo>
                      <a:pt x="4" y="10"/>
                      <a:pt x="5" y="5"/>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7" name="Freeform 1179">
                <a:extLst>
                  <a:ext uri="{FF2B5EF4-FFF2-40B4-BE49-F238E27FC236}">
                    <a16:creationId xmlns:a16="http://schemas.microsoft.com/office/drawing/2014/main" id="{5DFBC730-5878-47FE-948E-497881C40B69}"/>
                  </a:ext>
                </a:extLst>
              </p:cNvPr>
              <p:cNvSpPr>
                <a:spLocks/>
              </p:cNvSpPr>
              <p:nvPr/>
            </p:nvSpPr>
            <p:spPr bwMode="auto">
              <a:xfrm>
                <a:off x="1939" y="107"/>
                <a:ext cx="85" cy="90"/>
              </a:xfrm>
              <a:custGeom>
                <a:avLst/>
                <a:gdLst>
                  <a:gd name="T0" fmla="*/ 3 w 36"/>
                  <a:gd name="T1" fmla="*/ 0 h 38"/>
                  <a:gd name="T2" fmla="*/ 0 w 36"/>
                  <a:gd name="T3" fmla="*/ 2 h 38"/>
                  <a:gd name="T4" fmla="*/ 13 w 36"/>
                  <a:gd name="T5" fmla="*/ 19 h 38"/>
                  <a:gd name="T6" fmla="*/ 27 w 36"/>
                  <a:gd name="T7" fmla="*/ 38 h 38"/>
                  <a:gd name="T8" fmla="*/ 30 w 36"/>
                  <a:gd name="T9" fmla="*/ 35 h 38"/>
                  <a:gd name="T10" fmla="*/ 31 w 36"/>
                  <a:gd name="T11" fmla="*/ 36 h 38"/>
                  <a:gd name="T12" fmla="*/ 32 w 36"/>
                  <a:gd name="T13" fmla="*/ 34 h 38"/>
                  <a:gd name="T14" fmla="*/ 33 w 36"/>
                  <a:gd name="T15" fmla="*/ 34 h 38"/>
                  <a:gd name="T16" fmla="*/ 34 w 36"/>
                  <a:gd name="T17" fmla="*/ 29 h 38"/>
                  <a:gd name="T18" fmla="*/ 35 w 36"/>
                  <a:gd name="T19" fmla="*/ 20 h 38"/>
                  <a:gd name="T20" fmla="*/ 34 w 36"/>
                  <a:gd name="T21" fmla="*/ 15 h 38"/>
                  <a:gd name="T22" fmla="*/ 36 w 36"/>
                  <a:gd name="T23" fmla="*/ 12 h 38"/>
                  <a:gd name="T24" fmla="*/ 30 w 36"/>
                  <a:gd name="T25" fmla="*/ 8 h 38"/>
                  <a:gd name="T26" fmla="*/ 17 w 36"/>
                  <a:gd name="T27" fmla="*/ 0 h 38"/>
                  <a:gd name="T28" fmla="*/ 12 w 36"/>
                  <a:gd name="T29" fmla="*/ 1 h 38"/>
                  <a:gd name="T30" fmla="*/ 10 w 36"/>
                  <a:gd name="T31" fmla="*/ 1 h 38"/>
                  <a:gd name="T32" fmla="*/ 6 w 36"/>
                  <a:gd name="T33" fmla="*/ 0 h 38"/>
                  <a:gd name="T34" fmla="*/ 3 w 36"/>
                  <a:gd name="T3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38">
                    <a:moveTo>
                      <a:pt x="3" y="0"/>
                    </a:moveTo>
                    <a:cubicBezTo>
                      <a:pt x="2" y="0"/>
                      <a:pt x="0" y="0"/>
                      <a:pt x="0" y="2"/>
                    </a:cubicBezTo>
                    <a:cubicBezTo>
                      <a:pt x="8" y="3"/>
                      <a:pt x="10" y="12"/>
                      <a:pt x="13" y="19"/>
                    </a:cubicBezTo>
                    <a:cubicBezTo>
                      <a:pt x="15" y="27"/>
                      <a:pt x="21" y="32"/>
                      <a:pt x="27" y="38"/>
                    </a:cubicBezTo>
                    <a:cubicBezTo>
                      <a:pt x="28" y="37"/>
                      <a:pt x="29" y="35"/>
                      <a:pt x="30" y="35"/>
                    </a:cubicBezTo>
                    <a:cubicBezTo>
                      <a:pt x="30" y="35"/>
                      <a:pt x="31" y="36"/>
                      <a:pt x="31" y="36"/>
                    </a:cubicBezTo>
                    <a:cubicBezTo>
                      <a:pt x="31" y="35"/>
                      <a:pt x="31" y="34"/>
                      <a:pt x="32" y="34"/>
                    </a:cubicBezTo>
                    <a:cubicBezTo>
                      <a:pt x="32" y="34"/>
                      <a:pt x="32" y="34"/>
                      <a:pt x="33" y="34"/>
                    </a:cubicBezTo>
                    <a:cubicBezTo>
                      <a:pt x="31" y="31"/>
                      <a:pt x="33" y="31"/>
                      <a:pt x="34" y="29"/>
                    </a:cubicBezTo>
                    <a:cubicBezTo>
                      <a:pt x="36" y="25"/>
                      <a:pt x="36" y="25"/>
                      <a:pt x="35" y="20"/>
                    </a:cubicBezTo>
                    <a:cubicBezTo>
                      <a:pt x="34" y="19"/>
                      <a:pt x="34" y="16"/>
                      <a:pt x="34" y="15"/>
                    </a:cubicBezTo>
                    <a:cubicBezTo>
                      <a:pt x="34" y="14"/>
                      <a:pt x="36" y="13"/>
                      <a:pt x="36" y="12"/>
                    </a:cubicBezTo>
                    <a:cubicBezTo>
                      <a:pt x="36" y="11"/>
                      <a:pt x="31" y="9"/>
                      <a:pt x="30" y="8"/>
                    </a:cubicBezTo>
                    <a:cubicBezTo>
                      <a:pt x="25" y="5"/>
                      <a:pt x="21" y="3"/>
                      <a:pt x="17" y="0"/>
                    </a:cubicBezTo>
                    <a:cubicBezTo>
                      <a:pt x="17" y="1"/>
                      <a:pt x="14" y="1"/>
                      <a:pt x="12" y="1"/>
                    </a:cubicBezTo>
                    <a:cubicBezTo>
                      <a:pt x="11" y="1"/>
                      <a:pt x="10" y="1"/>
                      <a:pt x="10" y="1"/>
                    </a:cubicBezTo>
                    <a:cubicBezTo>
                      <a:pt x="9" y="1"/>
                      <a:pt x="8" y="0"/>
                      <a:pt x="6" y="0"/>
                    </a:cubicBezTo>
                    <a:cubicBezTo>
                      <a:pt x="5"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8" name="Freeform 1180">
                <a:extLst>
                  <a:ext uri="{FF2B5EF4-FFF2-40B4-BE49-F238E27FC236}">
                    <a16:creationId xmlns:a16="http://schemas.microsoft.com/office/drawing/2014/main" id="{105F4BE8-1E81-45E1-B10A-FDD0E5780CBB}"/>
                  </a:ext>
                </a:extLst>
              </p:cNvPr>
              <p:cNvSpPr>
                <a:spLocks/>
              </p:cNvSpPr>
              <p:nvPr/>
            </p:nvSpPr>
            <p:spPr bwMode="auto">
              <a:xfrm>
                <a:off x="2045" y="166"/>
                <a:ext cx="22" cy="40"/>
              </a:xfrm>
              <a:custGeom>
                <a:avLst/>
                <a:gdLst>
                  <a:gd name="T0" fmla="*/ 7 w 9"/>
                  <a:gd name="T1" fmla="*/ 0 h 17"/>
                  <a:gd name="T2" fmla="*/ 6 w 9"/>
                  <a:gd name="T3" fmla="*/ 0 h 17"/>
                  <a:gd name="T4" fmla="*/ 4 w 9"/>
                  <a:gd name="T5" fmla="*/ 17 h 17"/>
                  <a:gd name="T6" fmla="*/ 8 w 9"/>
                  <a:gd name="T7" fmla="*/ 3 h 17"/>
                  <a:gd name="T8" fmla="*/ 7 w 9"/>
                  <a:gd name="T9" fmla="*/ 0 h 17"/>
                </a:gdLst>
                <a:ahLst/>
                <a:cxnLst>
                  <a:cxn ang="0">
                    <a:pos x="T0" y="T1"/>
                  </a:cxn>
                  <a:cxn ang="0">
                    <a:pos x="T2" y="T3"/>
                  </a:cxn>
                  <a:cxn ang="0">
                    <a:pos x="T4" y="T5"/>
                  </a:cxn>
                  <a:cxn ang="0">
                    <a:pos x="T6" y="T7"/>
                  </a:cxn>
                  <a:cxn ang="0">
                    <a:pos x="T8" y="T9"/>
                  </a:cxn>
                </a:cxnLst>
                <a:rect l="0" t="0" r="r" b="b"/>
                <a:pathLst>
                  <a:path w="9" h="17">
                    <a:moveTo>
                      <a:pt x="7" y="0"/>
                    </a:moveTo>
                    <a:cubicBezTo>
                      <a:pt x="7" y="0"/>
                      <a:pt x="7" y="0"/>
                      <a:pt x="6" y="0"/>
                    </a:cubicBezTo>
                    <a:cubicBezTo>
                      <a:pt x="0" y="3"/>
                      <a:pt x="2" y="12"/>
                      <a:pt x="4" y="17"/>
                    </a:cubicBezTo>
                    <a:cubicBezTo>
                      <a:pt x="6" y="15"/>
                      <a:pt x="7" y="6"/>
                      <a:pt x="8" y="3"/>
                    </a:cubicBezTo>
                    <a:cubicBezTo>
                      <a:pt x="8" y="2"/>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9" name="Freeform 1181">
                <a:extLst>
                  <a:ext uri="{FF2B5EF4-FFF2-40B4-BE49-F238E27FC236}">
                    <a16:creationId xmlns:a16="http://schemas.microsoft.com/office/drawing/2014/main" id="{7BCFEA57-FB07-4E08-AB5F-0E8BEC0B7DF8}"/>
                  </a:ext>
                </a:extLst>
              </p:cNvPr>
              <p:cNvSpPr>
                <a:spLocks/>
              </p:cNvSpPr>
              <p:nvPr/>
            </p:nvSpPr>
            <p:spPr bwMode="auto">
              <a:xfrm>
                <a:off x="2192" y="69"/>
                <a:ext cx="31" cy="38"/>
              </a:xfrm>
              <a:custGeom>
                <a:avLst/>
                <a:gdLst>
                  <a:gd name="T0" fmla="*/ 5 w 13"/>
                  <a:gd name="T1" fmla="*/ 0 h 16"/>
                  <a:gd name="T2" fmla="*/ 4 w 13"/>
                  <a:gd name="T3" fmla="*/ 5 h 16"/>
                  <a:gd name="T4" fmla="*/ 1 w 13"/>
                  <a:gd name="T5" fmla="*/ 11 h 16"/>
                  <a:gd name="T6" fmla="*/ 6 w 13"/>
                  <a:gd name="T7" fmla="*/ 16 h 16"/>
                  <a:gd name="T8" fmla="*/ 11 w 13"/>
                  <a:gd name="T9" fmla="*/ 5 h 16"/>
                  <a:gd name="T10" fmla="*/ 10 w 13"/>
                  <a:gd name="T11" fmla="*/ 4 h 16"/>
                  <a:gd name="T12" fmla="*/ 9 w 13"/>
                  <a:gd name="T13" fmla="*/ 4 h 16"/>
                  <a:gd name="T14" fmla="*/ 5 w 13"/>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6">
                    <a:moveTo>
                      <a:pt x="5" y="0"/>
                    </a:moveTo>
                    <a:cubicBezTo>
                      <a:pt x="4" y="0"/>
                      <a:pt x="4" y="2"/>
                      <a:pt x="4" y="5"/>
                    </a:cubicBezTo>
                    <a:cubicBezTo>
                      <a:pt x="4" y="9"/>
                      <a:pt x="3" y="8"/>
                      <a:pt x="1" y="11"/>
                    </a:cubicBezTo>
                    <a:cubicBezTo>
                      <a:pt x="0" y="13"/>
                      <a:pt x="5" y="15"/>
                      <a:pt x="6" y="16"/>
                    </a:cubicBezTo>
                    <a:cubicBezTo>
                      <a:pt x="8" y="13"/>
                      <a:pt x="13" y="8"/>
                      <a:pt x="11" y="5"/>
                    </a:cubicBezTo>
                    <a:cubicBezTo>
                      <a:pt x="11" y="4"/>
                      <a:pt x="10" y="4"/>
                      <a:pt x="10" y="4"/>
                    </a:cubicBezTo>
                    <a:cubicBezTo>
                      <a:pt x="10" y="4"/>
                      <a:pt x="9" y="4"/>
                      <a:pt x="9" y="4"/>
                    </a:cubicBezTo>
                    <a:cubicBezTo>
                      <a:pt x="7"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0" name="Freeform 1182">
                <a:extLst>
                  <a:ext uri="{FF2B5EF4-FFF2-40B4-BE49-F238E27FC236}">
                    <a16:creationId xmlns:a16="http://schemas.microsoft.com/office/drawing/2014/main" id="{72D14599-F0EE-4685-A8B5-09EA89B171C8}"/>
                  </a:ext>
                </a:extLst>
              </p:cNvPr>
              <p:cNvSpPr>
                <a:spLocks/>
              </p:cNvSpPr>
              <p:nvPr/>
            </p:nvSpPr>
            <p:spPr bwMode="auto">
              <a:xfrm>
                <a:off x="1977" y="622"/>
                <a:ext cx="42" cy="14"/>
              </a:xfrm>
              <a:custGeom>
                <a:avLst/>
                <a:gdLst>
                  <a:gd name="T0" fmla="*/ 6 w 18"/>
                  <a:gd name="T1" fmla="*/ 0 h 6"/>
                  <a:gd name="T2" fmla="*/ 3 w 18"/>
                  <a:gd name="T3" fmla="*/ 1 h 6"/>
                  <a:gd name="T4" fmla="*/ 0 w 18"/>
                  <a:gd name="T5" fmla="*/ 2 h 6"/>
                  <a:gd name="T6" fmla="*/ 12 w 18"/>
                  <a:gd name="T7" fmla="*/ 6 h 6"/>
                  <a:gd name="T8" fmla="*/ 13 w 18"/>
                  <a:gd name="T9" fmla="*/ 2 h 6"/>
                  <a:gd name="T10" fmla="*/ 13 w 18"/>
                  <a:gd name="T11" fmla="*/ 2 h 6"/>
                  <a:gd name="T12" fmla="*/ 11 w 18"/>
                  <a:gd name="T13" fmla="*/ 2 h 6"/>
                  <a:gd name="T14" fmla="*/ 10 w 18"/>
                  <a:gd name="T15" fmla="*/ 2 h 6"/>
                  <a:gd name="T16" fmla="*/ 10 w 18"/>
                  <a:gd name="T17" fmla="*/ 2 h 6"/>
                  <a:gd name="T18" fmla="*/ 9 w 18"/>
                  <a:gd name="T19" fmla="*/ 1 h 6"/>
                  <a:gd name="T20" fmla="*/ 6 w 18"/>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6">
                    <a:moveTo>
                      <a:pt x="6" y="0"/>
                    </a:moveTo>
                    <a:cubicBezTo>
                      <a:pt x="5" y="0"/>
                      <a:pt x="4" y="0"/>
                      <a:pt x="3" y="1"/>
                    </a:cubicBezTo>
                    <a:cubicBezTo>
                      <a:pt x="2" y="1"/>
                      <a:pt x="1" y="2"/>
                      <a:pt x="0" y="2"/>
                    </a:cubicBezTo>
                    <a:cubicBezTo>
                      <a:pt x="0" y="5"/>
                      <a:pt x="11" y="6"/>
                      <a:pt x="12" y="6"/>
                    </a:cubicBezTo>
                    <a:cubicBezTo>
                      <a:pt x="16" y="5"/>
                      <a:pt x="18" y="3"/>
                      <a:pt x="13" y="2"/>
                    </a:cubicBezTo>
                    <a:cubicBezTo>
                      <a:pt x="13" y="2"/>
                      <a:pt x="13" y="2"/>
                      <a:pt x="13" y="2"/>
                    </a:cubicBezTo>
                    <a:cubicBezTo>
                      <a:pt x="12" y="2"/>
                      <a:pt x="12" y="2"/>
                      <a:pt x="11" y="2"/>
                    </a:cubicBezTo>
                    <a:cubicBezTo>
                      <a:pt x="11" y="2"/>
                      <a:pt x="10" y="2"/>
                      <a:pt x="10" y="2"/>
                    </a:cubicBezTo>
                    <a:cubicBezTo>
                      <a:pt x="10" y="2"/>
                      <a:pt x="10" y="2"/>
                      <a:pt x="10" y="2"/>
                    </a:cubicBezTo>
                    <a:cubicBezTo>
                      <a:pt x="9" y="2"/>
                      <a:pt x="9" y="1"/>
                      <a:pt x="9" y="1"/>
                    </a:cubicBezTo>
                    <a:cubicBezTo>
                      <a:pt x="7"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1" name="Freeform 1183">
                <a:extLst>
                  <a:ext uri="{FF2B5EF4-FFF2-40B4-BE49-F238E27FC236}">
                    <a16:creationId xmlns:a16="http://schemas.microsoft.com/office/drawing/2014/main" id="{C90D021D-FCFB-4C10-9ECC-23AE81A58122}"/>
                  </a:ext>
                </a:extLst>
              </p:cNvPr>
              <p:cNvSpPr>
                <a:spLocks/>
              </p:cNvSpPr>
              <p:nvPr/>
            </p:nvSpPr>
            <p:spPr bwMode="auto">
              <a:xfrm>
                <a:off x="2913" y="511"/>
                <a:ext cx="9" cy="24"/>
              </a:xfrm>
              <a:custGeom>
                <a:avLst/>
                <a:gdLst>
                  <a:gd name="T0" fmla="*/ 4 w 4"/>
                  <a:gd name="T1" fmla="*/ 0 h 10"/>
                  <a:gd name="T2" fmla="*/ 4 w 4"/>
                  <a:gd name="T3" fmla="*/ 0 h 10"/>
                  <a:gd name="T4" fmla="*/ 2 w 4"/>
                  <a:gd name="T5" fmla="*/ 2 h 10"/>
                  <a:gd name="T6" fmla="*/ 0 w 4"/>
                  <a:gd name="T7" fmla="*/ 8 h 10"/>
                  <a:gd name="T8" fmla="*/ 1 w 4"/>
                  <a:gd name="T9" fmla="*/ 10 h 10"/>
                  <a:gd name="T10" fmla="*/ 1 w 4"/>
                  <a:gd name="T11" fmla="*/ 9 h 10"/>
                  <a:gd name="T12" fmla="*/ 4 w 4"/>
                  <a:gd name="T13" fmla="*/ 2 h 10"/>
                  <a:gd name="T14" fmla="*/ 4 w 4"/>
                  <a:gd name="T15" fmla="*/ 0 h 10"/>
                  <a:gd name="T16" fmla="*/ 4 w 4"/>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0">
                    <a:moveTo>
                      <a:pt x="4" y="0"/>
                    </a:moveTo>
                    <a:cubicBezTo>
                      <a:pt x="4" y="0"/>
                      <a:pt x="4" y="0"/>
                      <a:pt x="4" y="0"/>
                    </a:cubicBezTo>
                    <a:cubicBezTo>
                      <a:pt x="3" y="1"/>
                      <a:pt x="3" y="1"/>
                      <a:pt x="2" y="2"/>
                    </a:cubicBezTo>
                    <a:cubicBezTo>
                      <a:pt x="1" y="4"/>
                      <a:pt x="0" y="6"/>
                      <a:pt x="0" y="8"/>
                    </a:cubicBezTo>
                    <a:cubicBezTo>
                      <a:pt x="0" y="8"/>
                      <a:pt x="0" y="9"/>
                      <a:pt x="1" y="10"/>
                    </a:cubicBezTo>
                    <a:cubicBezTo>
                      <a:pt x="1" y="9"/>
                      <a:pt x="1" y="9"/>
                      <a:pt x="1" y="9"/>
                    </a:cubicBezTo>
                    <a:cubicBezTo>
                      <a:pt x="3" y="7"/>
                      <a:pt x="4" y="5"/>
                      <a:pt x="4" y="2"/>
                    </a:cubicBezTo>
                    <a:cubicBezTo>
                      <a:pt x="4" y="2"/>
                      <a:pt x="4" y="1"/>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2" name="Freeform 1184">
                <a:extLst>
                  <a:ext uri="{FF2B5EF4-FFF2-40B4-BE49-F238E27FC236}">
                    <a16:creationId xmlns:a16="http://schemas.microsoft.com/office/drawing/2014/main" id="{514AA62F-B547-400F-B552-711829FA4280}"/>
                  </a:ext>
                </a:extLst>
              </p:cNvPr>
              <p:cNvSpPr>
                <a:spLocks/>
              </p:cNvSpPr>
              <p:nvPr/>
            </p:nvSpPr>
            <p:spPr bwMode="auto">
              <a:xfrm>
                <a:off x="2903" y="537"/>
                <a:ext cx="5" cy="7"/>
              </a:xfrm>
              <a:custGeom>
                <a:avLst/>
                <a:gdLst>
                  <a:gd name="T0" fmla="*/ 2 w 2"/>
                  <a:gd name="T1" fmla="*/ 0 h 3"/>
                  <a:gd name="T2" fmla="*/ 2 w 2"/>
                  <a:gd name="T3" fmla="*/ 1 h 3"/>
                  <a:gd name="T4" fmla="*/ 0 w 2"/>
                  <a:gd name="T5" fmla="*/ 3 h 3"/>
                  <a:gd name="T6" fmla="*/ 2 w 2"/>
                  <a:gd name="T7" fmla="*/ 1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cubicBezTo>
                      <a:pt x="2" y="1"/>
                      <a:pt x="2" y="1"/>
                      <a:pt x="2" y="1"/>
                    </a:cubicBezTo>
                    <a:cubicBezTo>
                      <a:pt x="1" y="1"/>
                      <a:pt x="0" y="2"/>
                      <a:pt x="0" y="3"/>
                    </a:cubicBezTo>
                    <a:cubicBezTo>
                      <a:pt x="1" y="2"/>
                      <a:pt x="1" y="2"/>
                      <a:pt x="2" y="1"/>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3" name="Freeform 1185">
                <a:extLst>
                  <a:ext uri="{FF2B5EF4-FFF2-40B4-BE49-F238E27FC236}">
                    <a16:creationId xmlns:a16="http://schemas.microsoft.com/office/drawing/2014/main" id="{669E9559-88C6-4C16-8259-B9D3DE65566D}"/>
                  </a:ext>
                </a:extLst>
              </p:cNvPr>
              <p:cNvSpPr>
                <a:spLocks/>
              </p:cNvSpPr>
              <p:nvPr/>
            </p:nvSpPr>
            <p:spPr bwMode="auto">
              <a:xfrm>
                <a:off x="5177" y="4496"/>
                <a:ext cx="49" cy="52"/>
              </a:xfrm>
              <a:custGeom>
                <a:avLst/>
                <a:gdLst>
                  <a:gd name="T0" fmla="*/ 10 w 21"/>
                  <a:gd name="T1" fmla="*/ 0 h 22"/>
                  <a:gd name="T2" fmla="*/ 6 w 21"/>
                  <a:gd name="T3" fmla="*/ 2 h 22"/>
                  <a:gd name="T4" fmla="*/ 7 w 21"/>
                  <a:gd name="T5" fmla="*/ 8 h 22"/>
                  <a:gd name="T6" fmla="*/ 0 w 21"/>
                  <a:gd name="T7" fmla="*/ 22 h 22"/>
                  <a:gd name="T8" fmla="*/ 5 w 21"/>
                  <a:gd name="T9" fmla="*/ 18 h 22"/>
                  <a:gd name="T10" fmla="*/ 6 w 21"/>
                  <a:gd name="T11" fmla="*/ 18 h 22"/>
                  <a:gd name="T12" fmla="*/ 8 w 21"/>
                  <a:gd name="T13" fmla="*/ 18 h 22"/>
                  <a:gd name="T14" fmla="*/ 10 w 21"/>
                  <a:gd name="T15" fmla="*/ 18 h 22"/>
                  <a:gd name="T16" fmla="*/ 12 w 21"/>
                  <a:gd name="T17" fmla="*/ 18 h 22"/>
                  <a:gd name="T18" fmla="*/ 20 w 21"/>
                  <a:gd name="T19" fmla="*/ 15 h 22"/>
                  <a:gd name="T20" fmla="*/ 20 w 21"/>
                  <a:gd name="T21" fmla="*/ 9 h 22"/>
                  <a:gd name="T22" fmla="*/ 18 w 21"/>
                  <a:gd name="T23" fmla="*/ 11 h 22"/>
                  <a:gd name="T24" fmla="*/ 13 w 21"/>
                  <a:gd name="T25" fmla="*/ 8 h 22"/>
                  <a:gd name="T26" fmla="*/ 15 w 21"/>
                  <a:gd name="T27" fmla="*/ 3 h 22"/>
                  <a:gd name="T28" fmla="*/ 10 w 21"/>
                  <a:gd name="T2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2">
                    <a:moveTo>
                      <a:pt x="10" y="0"/>
                    </a:moveTo>
                    <a:cubicBezTo>
                      <a:pt x="8" y="0"/>
                      <a:pt x="7" y="1"/>
                      <a:pt x="6" y="2"/>
                    </a:cubicBezTo>
                    <a:cubicBezTo>
                      <a:pt x="5" y="3"/>
                      <a:pt x="8" y="6"/>
                      <a:pt x="7" y="8"/>
                    </a:cubicBezTo>
                    <a:cubicBezTo>
                      <a:pt x="7" y="13"/>
                      <a:pt x="1" y="17"/>
                      <a:pt x="0" y="22"/>
                    </a:cubicBezTo>
                    <a:cubicBezTo>
                      <a:pt x="3" y="22"/>
                      <a:pt x="3" y="19"/>
                      <a:pt x="5" y="18"/>
                    </a:cubicBezTo>
                    <a:cubicBezTo>
                      <a:pt x="6" y="18"/>
                      <a:pt x="6" y="18"/>
                      <a:pt x="6" y="18"/>
                    </a:cubicBezTo>
                    <a:cubicBezTo>
                      <a:pt x="7" y="18"/>
                      <a:pt x="8" y="18"/>
                      <a:pt x="8" y="18"/>
                    </a:cubicBezTo>
                    <a:cubicBezTo>
                      <a:pt x="9" y="18"/>
                      <a:pt x="9" y="18"/>
                      <a:pt x="10" y="18"/>
                    </a:cubicBezTo>
                    <a:cubicBezTo>
                      <a:pt x="10" y="18"/>
                      <a:pt x="11" y="18"/>
                      <a:pt x="12" y="18"/>
                    </a:cubicBezTo>
                    <a:cubicBezTo>
                      <a:pt x="14" y="16"/>
                      <a:pt x="19" y="17"/>
                      <a:pt x="20" y="15"/>
                    </a:cubicBezTo>
                    <a:cubicBezTo>
                      <a:pt x="21" y="14"/>
                      <a:pt x="20" y="11"/>
                      <a:pt x="20" y="9"/>
                    </a:cubicBezTo>
                    <a:cubicBezTo>
                      <a:pt x="19" y="10"/>
                      <a:pt x="19" y="11"/>
                      <a:pt x="18" y="11"/>
                    </a:cubicBezTo>
                    <a:cubicBezTo>
                      <a:pt x="17" y="11"/>
                      <a:pt x="15" y="9"/>
                      <a:pt x="13" y="8"/>
                    </a:cubicBezTo>
                    <a:cubicBezTo>
                      <a:pt x="20" y="8"/>
                      <a:pt x="18" y="7"/>
                      <a:pt x="15" y="3"/>
                    </a:cubicBezTo>
                    <a:cubicBezTo>
                      <a:pt x="13" y="2"/>
                      <a:pt x="12"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4" name="Freeform 1186">
                <a:extLst>
                  <a:ext uri="{FF2B5EF4-FFF2-40B4-BE49-F238E27FC236}">
                    <a16:creationId xmlns:a16="http://schemas.microsoft.com/office/drawing/2014/main" id="{8F7F5C84-2161-41F4-8D48-B5EBA8AC51A5}"/>
                  </a:ext>
                </a:extLst>
              </p:cNvPr>
              <p:cNvSpPr>
                <a:spLocks/>
              </p:cNvSpPr>
              <p:nvPr/>
            </p:nvSpPr>
            <p:spPr bwMode="auto">
              <a:xfrm>
                <a:off x="5531" y="3496"/>
                <a:ext cx="404" cy="572"/>
              </a:xfrm>
              <a:custGeom>
                <a:avLst/>
                <a:gdLst>
                  <a:gd name="T0" fmla="*/ 4 w 171"/>
                  <a:gd name="T1" fmla="*/ 1 h 242"/>
                  <a:gd name="T2" fmla="*/ 0 w 171"/>
                  <a:gd name="T3" fmla="*/ 1 h 242"/>
                  <a:gd name="T4" fmla="*/ 20 w 171"/>
                  <a:gd name="T5" fmla="*/ 37 h 242"/>
                  <a:gd name="T6" fmla="*/ 25 w 171"/>
                  <a:gd name="T7" fmla="*/ 34 h 242"/>
                  <a:gd name="T8" fmla="*/ 28 w 171"/>
                  <a:gd name="T9" fmla="*/ 43 h 242"/>
                  <a:gd name="T10" fmla="*/ 42 w 171"/>
                  <a:gd name="T11" fmla="*/ 66 h 242"/>
                  <a:gd name="T12" fmla="*/ 38 w 171"/>
                  <a:gd name="T13" fmla="*/ 57 h 242"/>
                  <a:gd name="T14" fmla="*/ 45 w 171"/>
                  <a:gd name="T15" fmla="*/ 61 h 242"/>
                  <a:gd name="T16" fmla="*/ 47 w 171"/>
                  <a:gd name="T17" fmla="*/ 59 h 242"/>
                  <a:gd name="T18" fmla="*/ 48 w 171"/>
                  <a:gd name="T19" fmla="*/ 62 h 242"/>
                  <a:gd name="T20" fmla="*/ 46 w 171"/>
                  <a:gd name="T21" fmla="*/ 65 h 242"/>
                  <a:gd name="T22" fmla="*/ 44 w 171"/>
                  <a:gd name="T23" fmla="*/ 69 h 242"/>
                  <a:gd name="T24" fmla="*/ 47 w 171"/>
                  <a:gd name="T25" fmla="*/ 75 h 242"/>
                  <a:gd name="T26" fmla="*/ 53 w 171"/>
                  <a:gd name="T27" fmla="*/ 87 h 242"/>
                  <a:gd name="T28" fmla="*/ 57 w 171"/>
                  <a:gd name="T29" fmla="*/ 84 h 242"/>
                  <a:gd name="T30" fmla="*/ 57 w 171"/>
                  <a:gd name="T31" fmla="*/ 95 h 242"/>
                  <a:gd name="T32" fmla="*/ 61 w 171"/>
                  <a:gd name="T33" fmla="*/ 122 h 242"/>
                  <a:gd name="T34" fmla="*/ 63 w 171"/>
                  <a:gd name="T35" fmla="*/ 122 h 242"/>
                  <a:gd name="T36" fmla="*/ 64 w 171"/>
                  <a:gd name="T37" fmla="*/ 122 h 242"/>
                  <a:gd name="T38" fmla="*/ 46 w 171"/>
                  <a:gd name="T39" fmla="*/ 155 h 242"/>
                  <a:gd name="T40" fmla="*/ 42 w 171"/>
                  <a:gd name="T41" fmla="*/ 175 h 242"/>
                  <a:gd name="T42" fmla="*/ 61 w 171"/>
                  <a:gd name="T43" fmla="*/ 183 h 242"/>
                  <a:gd name="T44" fmla="*/ 69 w 171"/>
                  <a:gd name="T45" fmla="*/ 216 h 242"/>
                  <a:gd name="T46" fmla="*/ 57 w 171"/>
                  <a:gd name="T47" fmla="*/ 232 h 242"/>
                  <a:gd name="T48" fmla="*/ 61 w 171"/>
                  <a:gd name="T49" fmla="*/ 232 h 242"/>
                  <a:gd name="T50" fmla="*/ 63 w 171"/>
                  <a:gd name="T51" fmla="*/ 232 h 242"/>
                  <a:gd name="T52" fmla="*/ 66 w 171"/>
                  <a:gd name="T53" fmla="*/ 236 h 242"/>
                  <a:gd name="T54" fmla="*/ 72 w 171"/>
                  <a:gd name="T55" fmla="*/ 236 h 242"/>
                  <a:gd name="T56" fmla="*/ 96 w 171"/>
                  <a:gd name="T57" fmla="*/ 229 h 242"/>
                  <a:gd name="T58" fmla="*/ 117 w 171"/>
                  <a:gd name="T59" fmla="*/ 198 h 242"/>
                  <a:gd name="T60" fmla="*/ 127 w 171"/>
                  <a:gd name="T61" fmla="*/ 175 h 242"/>
                  <a:gd name="T62" fmla="*/ 134 w 171"/>
                  <a:gd name="T63" fmla="*/ 156 h 242"/>
                  <a:gd name="T64" fmla="*/ 150 w 171"/>
                  <a:gd name="T65" fmla="*/ 156 h 242"/>
                  <a:gd name="T66" fmla="*/ 152 w 171"/>
                  <a:gd name="T67" fmla="*/ 159 h 242"/>
                  <a:gd name="T68" fmla="*/ 159 w 171"/>
                  <a:gd name="T69" fmla="*/ 141 h 242"/>
                  <a:gd name="T70" fmla="*/ 166 w 171"/>
                  <a:gd name="T71" fmla="*/ 107 h 242"/>
                  <a:gd name="T72" fmla="*/ 154 w 171"/>
                  <a:gd name="T73" fmla="*/ 107 h 242"/>
                  <a:gd name="T74" fmla="*/ 132 w 171"/>
                  <a:gd name="T75" fmla="*/ 119 h 242"/>
                  <a:gd name="T76" fmla="*/ 101 w 171"/>
                  <a:gd name="T77" fmla="*/ 109 h 242"/>
                  <a:gd name="T78" fmla="*/ 93 w 171"/>
                  <a:gd name="T79" fmla="*/ 90 h 242"/>
                  <a:gd name="T80" fmla="*/ 87 w 171"/>
                  <a:gd name="T81" fmla="*/ 76 h 242"/>
                  <a:gd name="T82" fmla="*/ 87 w 171"/>
                  <a:gd name="T83" fmla="*/ 76 h 242"/>
                  <a:gd name="T84" fmla="*/ 82 w 171"/>
                  <a:gd name="T85" fmla="*/ 71 h 242"/>
                  <a:gd name="T86" fmla="*/ 83 w 171"/>
                  <a:gd name="T87" fmla="*/ 90 h 242"/>
                  <a:gd name="T88" fmla="*/ 67 w 171"/>
                  <a:gd name="T89" fmla="*/ 82 h 242"/>
                  <a:gd name="T90" fmla="*/ 66 w 171"/>
                  <a:gd name="T91" fmla="*/ 82 h 242"/>
                  <a:gd name="T92" fmla="*/ 64 w 171"/>
                  <a:gd name="T93" fmla="*/ 82 h 242"/>
                  <a:gd name="T94" fmla="*/ 58 w 171"/>
                  <a:gd name="T95" fmla="*/ 82 h 242"/>
                  <a:gd name="T96" fmla="*/ 60 w 171"/>
                  <a:gd name="T97" fmla="*/ 70 h 242"/>
                  <a:gd name="T98" fmla="*/ 57 w 171"/>
                  <a:gd name="T99" fmla="*/ 58 h 242"/>
                  <a:gd name="T100" fmla="*/ 48 w 171"/>
                  <a:gd name="T101" fmla="*/ 45 h 242"/>
                  <a:gd name="T102" fmla="*/ 50 w 171"/>
                  <a:gd name="T103" fmla="*/ 45 h 242"/>
                  <a:gd name="T104" fmla="*/ 45 w 171"/>
                  <a:gd name="T105" fmla="*/ 31 h 242"/>
                  <a:gd name="T106" fmla="*/ 31 w 171"/>
                  <a:gd name="T107" fmla="*/ 19 h 242"/>
                  <a:gd name="T108" fmla="*/ 26 w 171"/>
                  <a:gd name="T109" fmla="*/ 17 h 242"/>
                  <a:gd name="T110" fmla="*/ 21 w 171"/>
                  <a:gd name="T111" fmla="*/ 13 h 242"/>
                  <a:gd name="T112" fmla="*/ 18 w 171"/>
                  <a:gd name="T113" fmla="*/ 18 h 242"/>
                  <a:gd name="T114" fmla="*/ 13 w 171"/>
                  <a:gd name="T115" fmla="*/ 14 h 242"/>
                  <a:gd name="T116" fmla="*/ 7 w 171"/>
                  <a:gd name="T117" fmla="*/ 3 h 242"/>
                  <a:gd name="T118" fmla="*/ 9 w 171"/>
                  <a:gd name="T119"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1" h="242">
                    <a:moveTo>
                      <a:pt x="8" y="0"/>
                    </a:moveTo>
                    <a:cubicBezTo>
                      <a:pt x="7" y="0"/>
                      <a:pt x="6" y="0"/>
                      <a:pt x="4" y="1"/>
                    </a:cubicBezTo>
                    <a:cubicBezTo>
                      <a:pt x="2" y="1"/>
                      <a:pt x="1" y="1"/>
                      <a:pt x="0" y="1"/>
                    </a:cubicBezTo>
                    <a:cubicBezTo>
                      <a:pt x="0" y="1"/>
                      <a:pt x="0" y="1"/>
                      <a:pt x="0" y="1"/>
                    </a:cubicBezTo>
                    <a:cubicBezTo>
                      <a:pt x="4" y="7"/>
                      <a:pt x="9" y="12"/>
                      <a:pt x="12" y="19"/>
                    </a:cubicBezTo>
                    <a:cubicBezTo>
                      <a:pt x="15" y="24"/>
                      <a:pt x="17" y="31"/>
                      <a:pt x="20" y="37"/>
                    </a:cubicBezTo>
                    <a:cubicBezTo>
                      <a:pt x="21" y="32"/>
                      <a:pt x="23" y="33"/>
                      <a:pt x="26" y="32"/>
                    </a:cubicBezTo>
                    <a:cubicBezTo>
                      <a:pt x="25" y="32"/>
                      <a:pt x="25" y="33"/>
                      <a:pt x="25" y="34"/>
                    </a:cubicBezTo>
                    <a:cubicBezTo>
                      <a:pt x="24" y="33"/>
                      <a:pt x="24" y="33"/>
                      <a:pt x="24" y="33"/>
                    </a:cubicBezTo>
                    <a:cubicBezTo>
                      <a:pt x="24" y="36"/>
                      <a:pt x="27" y="40"/>
                      <a:pt x="28" y="43"/>
                    </a:cubicBezTo>
                    <a:cubicBezTo>
                      <a:pt x="32" y="50"/>
                      <a:pt x="35" y="56"/>
                      <a:pt x="38" y="63"/>
                    </a:cubicBezTo>
                    <a:cubicBezTo>
                      <a:pt x="39" y="64"/>
                      <a:pt x="40" y="66"/>
                      <a:pt x="42" y="66"/>
                    </a:cubicBezTo>
                    <a:cubicBezTo>
                      <a:pt x="42" y="66"/>
                      <a:pt x="43" y="66"/>
                      <a:pt x="43" y="65"/>
                    </a:cubicBezTo>
                    <a:cubicBezTo>
                      <a:pt x="44" y="63"/>
                      <a:pt x="39" y="58"/>
                      <a:pt x="38" y="57"/>
                    </a:cubicBezTo>
                    <a:cubicBezTo>
                      <a:pt x="39" y="58"/>
                      <a:pt x="40" y="57"/>
                      <a:pt x="41" y="58"/>
                    </a:cubicBezTo>
                    <a:cubicBezTo>
                      <a:pt x="43" y="59"/>
                      <a:pt x="43" y="60"/>
                      <a:pt x="45" y="61"/>
                    </a:cubicBezTo>
                    <a:cubicBezTo>
                      <a:pt x="45" y="60"/>
                      <a:pt x="44" y="59"/>
                      <a:pt x="44" y="58"/>
                    </a:cubicBezTo>
                    <a:cubicBezTo>
                      <a:pt x="45" y="58"/>
                      <a:pt x="46" y="59"/>
                      <a:pt x="47" y="59"/>
                    </a:cubicBezTo>
                    <a:cubicBezTo>
                      <a:pt x="48" y="59"/>
                      <a:pt x="49" y="59"/>
                      <a:pt x="49" y="58"/>
                    </a:cubicBezTo>
                    <a:cubicBezTo>
                      <a:pt x="48" y="61"/>
                      <a:pt x="47" y="62"/>
                      <a:pt x="48" y="62"/>
                    </a:cubicBezTo>
                    <a:cubicBezTo>
                      <a:pt x="49" y="62"/>
                      <a:pt x="50" y="62"/>
                      <a:pt x="52" y="61"/>
                    </a:cubicBezTo>
                    <a:cubicBezTo>
                      <a:pt x="50" y="62"/>
                      <a:pt x="47" y="63"/>
                      <a:pt x="46" y="65"/>
                    </a:cubicBezTo>
                    <a:cubicBezTo>
                      <a:pt x="49" y="65"/>
                      <a:pt x="50" y="71"/>
                      <a:pt x="50" y="73"/>
                    </a:cubicBezTo>
                    <a:cubicBezTo>
                      <a:pt x="48" y="72"/>
                      <a:pt x="47" y="69"/>
                      <a:pt x="44" y="69"/>
                    </a:cubicBezTo>
                    <a:cubicBezTo>
                      <a:pt x="44" y="69"/>
                      <a:pt x="44" y="69"/>
                      <a:pt x="43" y="69"/>
                    </a:cubicBezTo>
                    <a:cubicBezTo>
                      <a:pt x="44" y="71"/>
                      <a:pt x="46" y="73"/>
                      <a:pt x="47" y="75"/>
                    </a:cubicBezTo>
                    <a:cubicBezTo>
                      <a:pt x="50" y="79"/>
                      <a:pt x="50" y="83"/>
                      <a:pt x="53" y="87"/>
                    </a:cubicBezTo>
                    <a:cubicBezTo>
                      <a:pt x="53" y="87"/>
                      <a:pt x="53" y="87"/>
                      <a:pt x="53" y="87"/>
                    </a:cubicBezTo>
                    <a:cubicBezTo>
                      <a:pt x="54" y="87"/>
                      <a:pt x="56" y="85"/>
                      <a:pt x="57" y="85"/>
                    </a:cubicBezTo>
                    <a:cubicBezTo>
                      <a:pt x="57" y="84"/>
                      <a:pt x="57" y="84"/>
                      <a:pt x="57" y="84"/>
                    </a:cubicBezTo>
                    <a:cubicBezTo>
                      <a:pt x="59" y="84"/>
                      <a:pt x="62" y="87"/>
                      <a:pt x="64" y="88"/>
                    </a:cubicBezTo>
                    <a:cubicBezTo>
                      <a:pt x="60" y="89"/>
                      <a:pt x="60" y="91"/>
                      <a:pt x="57" y="95"/>
                    </a:cubicBezTo>
                    <a:cubicBezTo>
                      <a:pt x="63" y="98"/>
                      <a:pt x="64" y="107"/>
                      <a:pt x="66" y="113"/>
                    </a:cubicBezTo>
                    <a:cubicBezTo>
                      <a:pt x="63" y="113"/>
                      <a:pt x="62" y="119"/>
                      <a:pt x="61" y="122"/>
                    </a:cubicBezTo>
                    <a:cubicBezTo>
                      <a:pt x="61" y="122"/>
                      <a:pt x="62" y="122"/>
                      <a:pt x="62" y="122"/>
                    </a:cubicBezTo>
                    <a:cubicBezTo>
                      <a:pt x="62" y="122"/>
                      <a:pt x="62" y="122"/>
                      <a:pt x="63" y="122"/>
                    </a:cubicBezTo>
                    <a:cubicBezTo>
                      <a:pt x="63" y="122"/>
                      <a:pt x="64" y="122"/>
                      <a:pt x="64" y="122"/>
                    </a:cubicBezTo>
                    <a:cubicBezTo>
                      <a:pt x="64" y="122"/>
                      <a:pt x="64" y="122"/>
                      <a:pt x="64" y="122"/>
                    </a:cubicBezTo>
                    <a:cubicBezTo>
                      <a:pt x="58" y="128"/>
                      <a:pt x="60" y="137"/>
                      <a:pt x="56" y="144"/>
                    </a:cubicBezTo>
                    <a:cubicBezTo>
                      <a:pt x="53" y="149"/>
                      <a:pt x="51" y="152"/>
                      <a:pt x="46" y="155"/>
                    </a:cubicBezTo>
                    <a:cubicBezTo>
                      <a:pt x="41" y="158"/>
                      <a:pt x="36" y="161"/>
                      <a:pt x="31" y="163"/>
                    </a:cubicBezTo>
                    <a:cubicBezTo>
                      <a:pt x="34" y="169"/>
                      <a:pt x="37" y="172"/>
                      <a:pt x="42" y="175"/>
                    </a:cubicBezTo>
                    <a:cubicBezTo>
                      <a:pt x="46" y="177"/>
                      <a:pt x="51" y="179"/>
                      <a:pt x="55" y="181"/>
                    </a:cubicBezTo>
                    <a:cubicBezTo>
                      <a:pt x="56" y="182"/>
                      <a:pt x="60" y="182"/>
                      <a:pt x="61" y="183"/>
                    </a:cubicBezTo>
                    <a:cubicBezTo>
                      <a:pt x="67" y="186"/>
                      <a:pt x="73" y="189"/>
                      <a:pt x="74" y="197"/>
                    </a:cubicBezTo>
                    <a:cubicBezTo>
                      <a:pt x="75" y="204"/>
                      <a:pt x="72" y="211"/>
                      <a:pt x="69" y="216"/>
                    </a:cubicBezTo>
                    <a:cubicBezTo>
                      <a:pt x="67" y="219"/>
                      <a:pt x="64" y="222"/>
                      <a:pt x="62" y="225"/>
                    </a:cubicBezTo>
                    <a:cubicBezTo>
                      <a:pt x="61" y="226"/>
                      <a:pt x="56" y="231"/>
                      <a:pt x="57" y="232"/>
                    </a:cubicBezTo>
                    <a:cubicBezTo>
                      <a:pt x="57" y="234"/>
                      <a:pt x="58" y="234"/>
                      <a:pt x="58" y="234"/>
                    </a:cubicBezTo>
                    <a:cubicBezTo>
                      <a:pt x="60" y="234"/>
                      <a:pt x="61" y="233"/>
                      <a:pt x="61" y="232"/>
                    </a:cubicBezTo>
                    <a:cubicBezTo>
                      <a:pt x="62" y="231"/>
                      <a:pt x="62" y="230"/>
                      <a:pt x="62" y="230"/>
                    </a:cubicBezTo>
                    <a:cubicBezTo>
                      <a:pt x="63" y="230"/>
                      <a:pt x="63" y="231"/>
                      <a:pt x="63" y="232"/>
                    </a:cubicBezTo>
                    <a:cubicBezTo>
                      <a:pt x="63" y="235"/>
                      <a:pt x="63" y="236"/>
                      <a:pt x="66" y="236"/>
                    </a:cubicBezTo>
                    <a:cubicBezTo>
                      <a:pt x="66" y="236"/>
                      <a:pt x="66" y="236"/>
                      <a:pt x="66" y="236"/>
                    </a:cubicBezTo>
                    <a:cubicBezTo>
                      <a:pt x="67" y="236"/>
                      <a:pt x="69" y="235"/>
                      <a:pt x="70" y="235"/>
                    </a:cubicBezTo>
                    <a:cubicBezTo>
                      <a:pt x="71" y="235"/>
                      <a:pt x="72" y="235"/>
                      <a:pt x="72" y="236"/>
                    </a:cubicBezTo>
                    <a:cubicBezTo>
                      <a:pt x="74" y="237"/>
                      <a:pt x="74" y="240"/>
                      <a:pt x="74" y="242"/>
                    </a:cubicBezTo>
                    <a:cubicBezTo>
                      <a:pt x="82" y="238"/>
                      <a:pt x="89" y="234"/>
                      <a:pt x="96" y="229"/>
                    </a:cubicBezTo>
                    <a:cubicBezTo>
                      <a:pt x="100" y="226"/>
                      <a:pt x="102" y="218"/>
                      <a:pt x="105" y="214"/>
                    </a:cubicBezTo>
                    <a:cubicBezTo>
                      <a:pt x="108" y="208"/>
                      <a:pt x="114" y="204"/>
                      <a:pt x="117" y="198"/>
                    </a:cubicBezTo>
                    <a:cubicBezTo>
                      <a:pt x="121" y="190"/>
                      <a:pt x="125" y="183"/>
                      <a:pt x="128" y="175"/>
                    </a:cubicBezTo>
                    <a:cubicBezTo>
                      <a:pt x="127" y="175"/>
                      <a:pt x="127" y="175"/>
                      <a:pt x="127" y="175"/>
                    </a:cubicBezTo>
                    <a:cubicBezTo>
                      <a:pt x="122" y="175"/>
                      <a:pt x="123" y="166"/>
                      <a:pt x="125" y="163"/>
                    </a:cubicBezTo>
                    <a:cubicBezTo>
                      <a:pt x="127" y="160"/>
                      <a:pt x="130" y="158"/>
                      <a:pt x="134" y="156"/>
                    </a:cubicBezTo>
                    <a:cubicBezTo>
                      <a:pt x="136" y="156"/>
                      <a:pt x="141" y="155"/>
                      <a:pt x="145" y="155"/>
                    </a:cubicBezTo>
                    <a:cubicBezTo>
                      <a:pt x="147" y="155"/>
                      <a:pt x="149" y="155"/>
                      <a:pt x="150" y="156"/>
                    </a:cubicBezTo>
                    <a:cubicBezTo>
                      <a:pt x="151" y="156"/>
                      <a:pt x="149" y="160"/>
                      <a:pt x="151" y="160"/>
                    </a:cubicBezTo>
                    <a:cubicBezTo>
                      <a:pt x="151" y="160"/>
                      <a:pt x="152" y="160"/>
                      <a:pt x="152" y="159"/>
                    </a:cubicBezTo>
                    <a:cubicBezTo>
                      <a:pt x="155" y="158"/>
                      <a:pt x="154" y="156"/>
                      <a:pt x="153" y="155"/>
                    </a:cubicBezTo>
                    <a:cubicBezTo>
                      <a:pt x="149" y="151"/>
                      <a:pt x="155" y="144"/>
                      <a:pt x="159" y="141"/>
                    </a:cubicBezTo>
                    <a:cubicBezTo>
                      <a:pt x="168" y="133"/>
                      <a:pt x="162" y="123"/>
                      <a:pt x="167" y="114"/>
                    </a:cubicBezTo>
                    <a:cubicBezTo>
                      <a:pt x="169" y="110"/>
                      <a:pt x="171" y="109"/>
                      <a:pt x="166" y="107"/>
                    </a:cubicBezTo>
                    <a:cubicBezTo>
                      <a:pt x="162" y="106"/>
                      <a:pt x="160" y="105"/>
                      <a:pt x="158" y="105"/>
                    </a:cubicBezTo>
                    <a:cubicBezTo>
                      <a:pt x="157" y="105"/>
                      <a:pt x="156" y="105"/>
                      <a:pt x="154" y="107"/>
                    </a:cubicBezTo>
                    <a:cubicBezTo>
                      <a:pt x="151" y="109"/>
                      <a:pt x="147" y="112"/>
                      <a:pt x="143" y="115"/>
                    </a:cubicBezTo>
                    <a:cubicBezTo>
                      <a:pt x="140" y="118"/>
                      <a:pt x="136" y="119"/>
                      <a:pt x="132" y="119"/>
                    </a:cubicBezTo>
                    <a:cubicBezTo>
                      <a:pt x="122" y="119"/>
                      <a:pt x="111" y="111"/>
                      <a:pt x="102" y="108"/>
                    </a:cubicBezTo>
                    <a:cubicBezTo>
                      <a:pt x="101" y="109"/>
                      <a:pt x="101" y="109"/>
                      <a:pt x="101" y="109"/>
                    </a:cubicBezTo>
                    <a:cubicBezTo>
                      <a:pt x="99" y="109"/>
                      <a:pt x="96" y="105"/>
                      <a:pt x="95" y="103"/>
                    </a:cubicBezTo>
                    <a:cubicBezTo>
                      <a:pt x="95" y="99"/>
                      <a:pt x="93" y="95"/>
                      <a:pt x="93" y="90"/>
                    </a:cubicBezTo>
                    <a:cubicBezTo>
                      <a:pt x="93" y="86"/>
                      <a:pt x="93" y="82"/>
                      <a:pt x="89" y="80"/>
                    </a:cubicBezTo>
                    <a:cubicBezTo>
                      <a:pt x="87" y="78"/>
                      <a:pt x="96" y="76"/>
                      <a:pt x="87" y="76"/>
                    </a:cubicBezTo>
                    <a:cubicBezTo>
                      <a:pt x="87" y="76"/>
                      <a:pt x="87" y="76"/>
                      <a:pt x="87" y="76"/>
                    </a:cubicBezTo>
                    <a:cubicBezTo>
                      <a:pt x="87" y="76"/>
                      <a:pt x="87" y="76"/>
                      <a:pt x="87" y="76"/>
                    </a:cubicBezTo>
                    <a:cubicBezTo>
                      <a:pt x="82" y="76"/>
                      <a:pt x="86" y="73"/>
                      <a:pt x="82" y="71"/>
                    </a:cubicBezTo>
                    <a:cubicBezTo>
                      <a:pt x="82" y="71"/>
                      <a:pt x="82" y="71"/>
                      <a:pt x="82" y="71"/>
                    </a:cubicBezTo>
                    <a:cubicBezTo>
                      <a:pt x="80" y="71"/>
                      <a:pt x="81" y="81"/>
                      <a:pt x="81" y="83"/>
                    </a:cubicBezTo>
                    <a:cubicBezTo>
                      <a:pt x="81" y="85"/>
                      <a:pt x="82" y="88"/>
                      <a:pt x="83" y="90"/>
                    </a:cubicBezTo>
                    <a:cubicBezTo>
                      <a:pt x="82" y="91"/>
                      <a:pt x="81" y="91"/>
                      <a:pt x="81" y="91"/>
                    </a:cubicBezTo>
                    <a:cubicBezTo>
                      <a:pt x="75" y="91"/>
                      <a:pt x="72" y="85"/>
                      <a:pt x="67" y="82"/>
                    </a:cubicBezTo>
                    <a:cubicBezTo>
                      <a:pt x="67" y="83"/>
                      <a:pt x="67" y="83"/>
                      <a:pt x="66" y="83"/>
                    </a:cubicBezTo>
                    <a:cubicBezTo>
                      <a:pt x="66" y="83"/>
                      <a:pt x="66" y="83"/>
                      <a:pt x="66" y="82"/>
                    </a:cubicBezTo>
                    <a:cubicBezTo>
                      <a:pt x="65" y="82"/>
                      <a:pt x="65" y="82"/>
                      <a:pt x="65" y="82"/>
                    </a:cubicBezTo>
                    <a:cubicBezTo>
                      <a:pt x="64" y="82"/>
                      <a:pt x="64" y="82"/>
                      <a:pt x="64" y="82"/>
                    </a:cubicBezTo>
                    <a:cubicBezTo>
                      <a:pt x="63" y="81"/>
                      <a:pt x="62" y="81"/>
                      <a:pt x="61" y="81"/>
                    </a:cubicBezTo>
                    <a:cubicBezTo>
                      <a:pt x="60" y="81"/>
                      <a:pt x="59" y="81"/>
                      <a:pt x="58" y="82"/>
                    </a:cubicBezTo>
                    <a:cubicBezTo>
                      <a:pt x="61" y="79"/>
                      <a:pt x="64" y="78"/>
                      <a:pt x="62" y="73"/>
                    </a:cubicBezTo>
                    <a:cubicBezTo>
                      <a:pt x="61" y="71"/>
                      <a:pt x="58" y="74"/>
                      <a:pt x="60" y="70"/>
                    </a:cubicBezTo>
                    <a:cubicBezTo>
                      <a:pt x="60" y="68"/>
                      <a:pt x="61" y="66"/>
                      <a:pt x="63" y="65"/>
                    </a:cubicBezTo>
                    <a:cubicBezTo>
                      <a:pt x="62" y="62"/>
                      <a:pt x="59" y="60"/>
                      <a:pt x="57" y="58"/>
                    </a:cubicBezTo>
                    <a:cubicBezTo>
                      <a:pt x="55" y="55"/>
                      <a:pt x="55" y="51"/>
                      <a:pt x="52" y="49"/>
                    </a:cubicBezTo>
                    <a:cubicBezTo>
                      <a:pt x="51" y="47"/>
                      <a:pt x="48" y="48"/>
                      <a:pt x="48" y="45"/>
                    </a:cubicBezTo>
                    <a:cubicBezTo>
                      <a:pt x="48" y="45"/>
                      <a:pt x="48" y="45"/>
                      <a:pt x="48" y="45"/>
                    </a:cubicBezTo>
                    <a:cubicBezTo>
                      <a:pt x="49" y="45"/>
                      <a:pt x="49" y="45"/>
                      <a:pt x="50" y="45"/>
                    </a:cubicBezTo>
                    <a:cubicBezTo>
                      <a:pt x="50" y="39"/>
                      <a:pt x="49" y="32"/>
                      <a:pt x="47" y="26"/>
                    </a:cubicBezTo>
                    <a:cubicBezTo>
                      <a:pt x="46" y="28"/>
                      <a:pt x="43" y="28"/>
                      <a:pt x="45" y="31"/>
                    </a:cubicBezTo>
                    <a:cubicBezTo>
                      <a:pt x="42" y="30"/>
                      <a:pt x="40" y="28"/>
                      <a:pt x="38" y="27"/>
                    </a:cubicBezTo>
                    <a:cubicBezTo>
                      <a:pt x="45" y="22"/>
                      <a:pt x="33" y="21"/>
                      <a:pt x="31" y="19"/>
                    </a:cubicBezTo>
                    <a:cubicBezTo>
                      <a:pt x="30" y="18"/>
                      <a:pt x="27" y="17"/>
                      <a:pt x="26" y="17"/>
                    </a:cubicBezTo>
                    <a:cubicBezTo>
                      <a:pt x="26" y="17"/>
                      <a:pt x="26" y="17"/>
                      <a:pt x="26" y="17"/>
                    </a:cubicBezTo>
                    <a:cubicBezTo>
                      <a:pt x="24" y="17"/>
                      <a:pt x="23" y="18"/>
                      <a:pt x="22" y="18"/>
                    </a:cubicBezTo>
                    <a:cubicBezTo>
                      <a:pt x="21" y="18"/>
                      <a:pt x="21" y="17"/>
                      <a:pt x="21" y="13"/>
                    </a:cubicBezTo>
                    <a:cubicBezTo>
                      <a:pt x="21" y="14"/>
                      <a:pt x="19" y="14"/>
                      <a:pt x="19" y="15"/>
                    </a:cubicBezTo>
                    <a:cubicBezTo>
                      <a:pt x="18" y="16"/>
                      <a:pt x="19" y="17"/>
                      <a:pt x="18" y="18"/>
                    </a:cubicBezTo>
                    <a:cubicBezTo>
                      <a:pt x="18" y="18"/>
                      <a:pt x="18" y="19"/>
                      <a:pt x="17" y="19"/>
                    </a:cubicBezTo>
                    <a:cubicBezTo>
                      <a:pt x="15" y="19"/>
                      <a:pt x="14" y="15"/>
                      <a:pt x="13" y="14"/>
                    </a:cubicBezTo>
                    <a:cubicBezTo>
                      <a:pt x="11" y="11"/>
                      <a:pt x="7" y="7"/>
                      <a:pt x="6" y="4"/>
                    </a:cubicBezTo>
                    <a:cubicBezTo>
                      <a:pt x="6" y="4"/>
                      <a:pt x="7" y="3"/>
                      <a:pt x="7" y="3"/>
                    </a:cubicBezTo>
                    <a:cubicBezTo>
                      <a:pt x="8" y="3"/>
                      <a:pt x="8" y="4"/>
                      <a:pt x="9" y="4"/>
                    </a:cubicBezTo>
                    <a:cubicBezTo>
                      <a:pt x="10" y="4"/>
                      <a:pt x="11" y="1"/>
                      <a:pt x="9"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5" name="Freeform 1187">
                <a:extLst>
                  <a:ext uri="{FF2B5EF4-FFF2-40B4-BE49-F238E27FC236}">
                    <a16:creationId xmlns:a16="http://schemas.microsoft.com/office/drawing/2014/main" id="{31D8D130-8A87-4C3E-B3EC-301A164E0295}"/>
                  </a:ext>
                </a:extLst>
              </p:cNvPr>
              <p:cNvSpPr>
                <a:spLocks noEditPoints="1"/>
              </p:cNvSpPr>
              <p:nvPr/>
            </p:nvSpPr>
            <p:spPr bwMode="auto">
              <a:xfrm>
                <a:off x="5101" y="3978"/>
                <a:ext cx="544" cy="518"/>
              </a:xfrm>
              <a:custGeom>
                <a:avLst/>
                <a:gdLst>
                  <a:gd name="T0" fmla="*/ 187 w 230"/>
                  <a:gd name="T1" fmla="*/ 1 h 219"/>
                  <a:gd name="T2" fmla="*/ 166 w 230"/>
                  <a:gd name="T3" fmla="*/ 18 h 219"/>
                  <a:gd name="T4" fmla="*/ 150 w 230"/>
                  <a:gd name="T5" fmla="*/ 43 h 219"/>
                  <a:gd name="T6" fmla="*/ 148 w 230"/>
                  <a:gd name="T7" fmla="*/ 43 h 219"/>
                  <a:gd name="T8" fmla="*/ 138 w 230"/>
                  <a:gd name="T9" fmla="*/ 70 h 219"/>
                  <a:gd name="T10" fmla="*/ 80 w 230"/>
                  <a:gd name="T11" fmla="*/ 115 h 219"/>
                  <a:gd name="T12" fmla="*/ 49 w 230"/>
                  <a:gd name="T13" fmla="*/ 134 h 219"/>
                  <a:gd name="T14" fmla="*/ 28 w 230"/>
                  <a:gd name="T15" fmla="*/ 153 h 219"/>
                  <a:gd name="T16" fmla="*/ 24 w 230"/>
                  <a:gd name="T17" fmla="*/ 158 h 219"/>
                  <a:gd name="T18" fmla="*/ 25 w 230"/>
                  <a:gd name="T19" fmla="*/ 160 h 219"/>
                  <a:gd name="T20" fmla="*/ 20 w 230"/>
                  <a:gd name="T21" fmla="*/ 169 h 219"/>
                  <a:gd name="T22" fmla="*/ 16 w 230"/>
                  <a:gd name="T23" fmla="*/ 173 h 219"/>
                  <a:gd name="T24" fmla="*/ 10 w 230"/>
                  <a:gd name="T25" fmla="*/ 179 h 219"/>
                  <a:gd name="T26" fmla="*/ 16 w 230"/>
                  <a:gd name="T27" fmla="*/ 178 h 219"/>
                  <a:gd name="T28" fmla="*/ 15 w 230"/>
                  <a:gd name="T29" fmla="*/ 181 h 219"/>
                  <a:gd name="T30" fmla="*/ 16 w 230"/>
                  <a:gd name="T31" fmla="*/ 185 h 219"/>
                  <a:gd name="T32" fmla="*/ 8 w 230"/>
                  <a:gd name="T33" fmla="*/ 190 h 219"/>
                  <a:gd name="T34" fmla="*/ 10 w 230"/>
                  <a:gd name="T35" fmla="*/ 197 h 219"/>
                  <a:gd name="T36" fmla="*/ 18 w 230"/>
                  <a:gd name="T37" fmla="*/ 202 h 219"/>
                  <a:gd name="T38" fmla="*/ 42 w 230"/>
                  <a:gd name="T39" fmla="*/ 208 h 219"/>
                  <a:gd name="T40" fmla="*/ 59 w 230"/>
                  <a:gd name="T41" fmla="*/ 216 h 219"/>
                  <a:gd name="T42" fmla="*/ 93 w 230"/>
                  <a:gd name="T43" fmla="*/ 213 h 219"/>
                  <a:gd name="T44" fmla="*/ 123 w 230"/>
                  <a:gd name="T45" fmla="*/ 189 h 219"/>
                  <a:gd name="T46" fmla="*/ 138 w 230"/>
                  <a:gd name="T47" fmla="*/ 147 h 219"/>
                  <a:gd name="T48" fmla="*/ 154 w 230"/>
                  <a:gd name="T49" fmla="*/ 128 h 219"/>
                  <a:gd name="T50" fmla="*/ 181 w 230"/>
                  <a:gd name="T51" fmla="*/ 115 h 219"/>
                  <a:gd name="T52" fmla="*/ 178 w 230"/>
                  <a:gd name="T53" fmla="*/ 117 h 219"/>
                  <a:gd name="T54" fmla="*/ 189 w 230"/>
                  <a:gd name="T55" fmla="*/ 119 h 219"/>
                  <a:gd name="T56" fmla="*/ 189 w 230"/>
                  <a:gd name="T57" fmla="*/ 111 h 219"/>
                  <a:gd name="T58" fmla="*/ 185 w 230"/>
                  <a:gd name="T59" fmla="*/ 109 h 219"/>
                  <a:gd name="T60" fmla="*/ 193 w 230"/>
                  <a:gd name="T61" fmla="*/ 89 h 219"/>
                  <a:gd name="T62" fmla="*/ 228 w 230"/>
                  <a:gd name="T63" fmla="*/ 43 h 219"/>
                  <a:gd name="T64" fmla="*/ 228 w 230"/>
                  <a:gd name="T65" fmla="*/ 26 h 219"/>
                  <a:gd name="T66" fmla="*/ 219 w 230"/>
                  <a:gd name="T67" fmla="*/ 26 h 219"/>
                  <a:gd name="T68" fmla="*/ 226 w 230"/>
                  <a:gd name="T69" fmla="*/ 21 h 219"/>
                  <a:gd name="T70" fmla="*/ 227 w 230"/>
                  <a:gd name="T71" fmla="*/ 21 h 219"/>
                  <a:gd name="T72" fmla="*/ 228 w 230"/>
                  <a:gd name="T73" fmla="*/ 21 h 219"/>
                  <a:gd name="T74" fmla="*/ 217 w 230"/>
                  <a:gd name="T75" fmla="*/ 23 h 219"/>
                  <a:gd name="T76" fmla="*/ 223 w 230"/>
                  <a:gd name="T77" fmla="*/ 23 h 219"/>
                  <a:gd name="T78" fmla="*/ 217 w 230"/>
                  <a:gd name="T79" fmla="*/ 20 h 219"/>
                  <a:gd name="T80" fmla="*/ 193 w 230"/>
                  <a:gd name="T81" fmla="*/ 16 h 219"/>
                  <a:gd name="T82" fmla="*/ 187 w 230"/>
                  <a:gd name="T83" fmla="*/ 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0" h="219">
                    <a:moveTo>
                      <a:pt x="187" y="1"/>
                    </a:moveTo>
                    <a:cubicBezTo>
                      <a:pt x="187" y="1"/>
                      <a:pt x="187" y="1"/>
                      <a:pt x="188" y="1"/>
                    </a:cubicBezTo>
                    <a:cubicBezTo>
                      <a:pt x="187" y="1"/>
                      <a:pt x="187" y="1"/>
                      <a:pt x="187" y="1"/>
                    </a:cubicBezTo>
                    <a:moveTo>
                      <a:pt x="182" y="0"/>
                    </a:moveTo>
                    <a:cubicBezTo>
                      <a:pt x="178" y="3"/>
                      <a:pt x="174" y="6"/>
                      <a:pt x="170" y="9"/>
                    </a:cubicBezTo>
                    <a:cubicBezTo>
                      <a:pt x="168" y="11"/>
                      <a:pt x="167" y="15"/>
                      <a:pt x="166" y="18"/>
                    </a:cubicBezTo>
                    <a:cubicBezTo>
                      <a:pt x="165" y="22"/>
                      <a:pt x="166" y="25"/>
                      <a:pt x="165" y="28"/>
                    </a:cubicBezTo>
                    <a:cubicBezTo>
                      <a:pt x="164" y="34"/>
                      <a:pt x="158" y="38"/>
                      <a:pt x="153" y="41"/>
                    </a:cubicBezTo>
                    <a:cubicBezTo>
                      <a:pt x="152" y="42"/>
                      <a:pt x="151" y="43"/>
                      <a:pt x="150" y="43"/>
                    </a:cubicBezTo>
                    <a:cubicBezTo>
                      <a:pt x="150" y="43"/>
                      <a:pt x="150" y="43"/>
                      <a:pt x="149" y="43"/>
                    </a:cubicBezTo>
                    <a:cubicBezTo>
                      <a:pt x="149" y="43"/>
                      <a:pt x="149" y="43"/>
                      <a:pt x="149" y="43"/>
                    </a:cubicBezTo>
                    <a:cubicBezTo>
                      <a:pt x="148" y="43"/>
                      <a:pt x="148" y="43"/>
                      <a:pt x="148" y="43"/>
                    </a:cubicBezTo>
                    <a:cubicBezTo>
                      <a:pt x="148" y="43"/>
                      <a:pt x="148" y="43"/>
                      <a:pt x="148" y="43"/>
                    </a:cubicBezTo>
                    <a:cubicBezTo>
                      <a:pt x="146" y="45"/>
                      <a:pt x="146" y="49"/>
                      <a:pt x="145" y="52"/>
                    </a:cubicBezTo>
                    <a:cubicBezTo>
                      <a:pt x="143" y="58"/>
                      <a:pt x="141" y="64"/>
                      <a:pt x="138" y="70"/>
                    </a:cubicBezTo>
                    <a:cubicBezTo>
                      <a:pt x="137" y="75"/>
                      <a:pt x="129" y="79"/>
                      <a:pt x="125" y="83"/>
                    </a:cubicBezTo>
                    <a:cubicBezTo>
                      <a:pt x="118" y="88"/>
                      <a:pt x="111" y="94"/>
                      <a:pt x="104" y="99"/>
                    </a:cubicBezTo>
                    <a:cubicBezTo>
                      <a:pt x="96" y="104"/>
                      <a:pt x="88" y="110"/>
                      <a:pt x="80" y="115"/>
                    </a:cubicBezTo>
                    <a:cubicBezTo>
                      <a:pt x="74" y="119"/>
                      <a:pt x="70" y="122"/>
                      <a:pt x="64" y="123"/>
                    </a:cubicBezTo>
                    <a:cubicBezTo>
                      <a:pt x="61" y="123"/>
                      <a:pt x="56" y="123"/>
                      <a:pt x="55" y="126"/>
                    </a:cubicBezTo>
                    <a:cubicBezTo>
                      <a:pt x="53" y="129"/>
                      <a:pt x="51" y="132"/>
                      <a:pt x="49" y="134"/>
                    </a:cubicBezTo>
                    <a:cubicBezTo>
                      <a:pt x="45" y="139"/>
                      <a:pt x="38" y="141"/>
                      <a:pt x="43" y="147"/>
                    </a:cubicBezTo>
                    <a:cubicBezTo>
                      <a:pt x="40" y="147"/>
                      <a:pt x="38" y="149"/>
                      <a:pt x="35" y="150"/>
                    </a:cubicBezTo>
                    <a:cubicBezTo>
                      <a:pt x="33" y="151"/>
                      <a:pt x="29" y="152"/>
                      <a:pt x="28" y="153"/>
                    </a:cubicBezTo>
                    <a:cubicBezTo>
                      <a:pt x="27" y="154"/>
                      <a:pt x="30" y="156"/>
                      <a:pt x="28" y="158"/>
                    </a:cubicBezTo>
                    <a:cubicBezTo>
                      <a:pt x="28" y="158"/>
                      <a:pt x="27" y="158"/>
                      <a:pt x="25" y="158"/>
                    </a:cubicBezTo>
                    <a:cubicBezTo>
                      <a:pt x="25" y="158"/>
                      <a:pt x="24" y="158"/>
                      <a:pt x="24" y="158"/>
                    </a:cubicBezTo>
                    <a:cubicBezTo>
                      <a:pt x="23" y="158"/>
                      <a:pt x="23" y="158"/>
                      <a:pt x="22" y="158"/>
                    </a:cubicBezTo>
                    <a:cubicBezTo>
                      <a:pt x="22" y="158"/>
                      <a:pt x="22" y="158"/>
                      <a:pt x="21" y="158"/>
                    </a:cubicBezTo>
                    <a:cubicBezTo>
                      <a:pt x="23" y="159"/>
                      <a:pt x="24" y="160"/>
                      <a:pt x="25" y="160"/>
                    </a:cubicBezTo>
                    <a:cubicBezTo>
                      <a:pt x="22" y="162"/>
                      <a:pt x="16" y="160"/>
                      <a:pt x="21" y="165"/>
                    </a:cubicBezTo>
                    <a:cubicBezTo>
                      <a:pt x="20" y="164"/>
                      <a:pt x="19" y="164"/>
                      <a:pt x="19" y="164"/>
                    </a:cubicBezTo>
                    <a:cubicBezTo>
                      <a:pt x="16" y="164"/>
                      <a:pt x="17" y="169"/>
                      <a:pt x="20" y="169"/>
                    </a:cubicBezTo>
                    <a:cubicBezTo>
                      <a:pt x="14" y="170"/>
                      <a:pt x="25" y="174"/>
                      <a:pt x="19" y="176"/>
                    </a:cubicBezTo>
                    <a:cubicBezTo>
                      <a:pt x="21" y="174"/>
                      <a:pt x="20" y="173"/>
                      <a:pt x="18" y="173"/>
                    </a:cubicBezTo>
                    <a:cubicBezTo>
                      <a:pt x="18" y="173"/>
                      <a:pt x="17" y="173"/>
                      <a:pt x="16" y="173"/>
                    </a:cubicBezTo>
                    <a:cubicBezTo>
                      <a:pt x="18" y="172"/>
                      <a:pt x="16" y="171"/>
                      <a:pt x="15" y="171"/>
                    </a:cubicBezTo>
                    <a:cubicBezTo>
                      <a:pt x="12" y="171"/>
                      <a:pt x="8" y="173"/>
                      <a:pt x="8" y="177"/>
                    </a:cubicBezTo>
                    <a:cubicBezTo>
                      <a:pt x="8" y="179"/>
                      <a:pt x="9" y="179"/>
                      <a:pt x="10" y="179"/>
                    </a:cubicBezTo>
                    <a:cubicBezTo>
                      <a:pt x="10" y="179"/>
                      <a:pt x="11" y="179"/>
                      <a:pt x="12" y="178"/>
                    </a:cubicBezTo>
                    <a:cubicBezTo>
                      <a:pt x="13" y="178"/>
                      <a:pt x="13" y="178"/>
                      <a:pt x="14" y="178"/>
                    </a:cubicBezTo>
                    <a:cubicBezTo>
                      <a:pt x="15" y="178"/>
                      <a:pt x="16" y="178"/>
                      <a:pt x="16" y="178"/>
                    </a:cubicBezTo>
                    <a:cubicBezTo>
                      <a:pt x="15" y="179"/>
                      <a:pt x="9" y="180"/>
                      <a:pt x="9" y="181"/>
                    </a:cubicBezTo>
                    <a:cubicBezTo>
                      <a:pt x="10" y="182"/>
                      <a:pt x="10" y="182"/>
                      <a:pt x="11" y="182"/>
                    </a:cubicBezTo>
                    <a:cubicBezTo>
                      <a:pt x="12" y="182"/>
                      <a:pt x="14" y="181"/>
                      <a:pt x="15" y="181"/>
                    </a:cubicBezTo>
                    <a:cubicBezTo>
                      <a:pt x="13" y="182"/>
                      <a:pt x="11" y="183"/>
                      <a:pt x="10" y="184"/>
                    </a:cubicBezTo>
                    <a:cubicBezTo>
                      <a:pt x="11" y="184"/>
                      <a:pt x="11" y="184"/>
                      <a:pt x="12" y="184"/>
                    </a:cubicBezTo>
                    <a:cubicBezTo>
                      <a:pt x="13" y="184"/>
                      <a:pt x="14" y="184"/>
                      <a:pt x="16" y="185"/>
                    </a:cubicBezTo>
                    <a:cubicBezTo>
                      <a:pt x="13" y="186"/>
                      <a:pt x="10" y="186"/>
                      <a:pt x="8" y="187"/>
                    </a:cubicBezTo>
                    <a:cubicBezTo>
                      <a:pt x="2" y="189"/>
                      <a:pt x="0" y="188"/>
                      <a:pt x="2" y="195"/>
                    </a:cubicBezTo>
                    <a:cubicBezTo>
                      <a:pt x="4" y="193"/>
                      <a:pt x="6" y="192"/>
                      <a:pt x="8" y="190"/>
                    </a:cubicBezTo>
                    <a:cubicBezTo>
                      <a:pt x="9" y="193"/>
                      <a:pt x="5" y="194"/>
                      <a:pt x="5" y="197"/>
                    </a:cubicBezTo>
                    <a:cubicBezTo>
                      <a:pt x="8" y="196"/>
                      <a:pt x="10" y="194"/>
                      <a:pt x="13" y="193"/>
                    </a:cubicBezTo>
                    <a:cubicBezTo>
                      <a:pt x="11" y="194"/>
                      <a:pt x="11" y="196"/>
                      <a:pt x="10" y="197"/>
                    </a:cubicBezTo>
                    <a:cubicBezTo>
                      <a:pt x="9" y="198"/>
                      <a:pt x="6" y="199"/>
                      <a:pt x="6" y="200"/>
                    </a:cubicBezTo>
                    <a:cubicBezTo>
                      <a:pt x="6" y="202"/>
                      <a:pt x="10" y="203"/>
                      <a:pt x="13" y="203"/>
                    </a:cubicBezTo>
                    <a:cubicBezTo>
                      <a:pt x="15" y="203"/>
                      <a:pt x="17" y="202"/>
                      <a:pt x="18" y="202"/>
                    </a:cubicBezTo>
                    <a:cubicBezTo>
                      <a:pt x="24" y="202"/>
                      <a:pt x="29" y="202"/>
                      <a:pt x="35" y="202"/>
                    </a:cubicBezTo>
                    <a:cubicBezTo>
                      <a:pt x="35" y="202"/>
                      <a:pt x="35" y="202"/>
                      <a:pt x="35" y="202"/>
                    </a:cubicBezTo>
                    <a:cubicBezTo>
                      <a:pt x="37" y="202"/>
                      <a:pt x="38" y="208"/>
                      <a:pt x="42" y="208"/>
                    </a:cubicBezTo>
                    <a:cubicBezTo>
                      <a:pt x="45" y="209"/>
                      <a:pt x="52" y="209"/>
                      <a:pt x="55" y="211"/>
                    </a:cubicBezTo>
                    <a:cubicBezTo>
                      <a:pt x="58" y="213"/>
                      <a:pt x="56" y="213"/>
                      <a:pt x="56" y="217"/>
                    </a:cubicBezTo>
                    <a:cubicBezTo>
                      <a:pt x="57" y="216"/>
                      <a:pt x="57" y="216"/>
                      <a:pt x="59" y="216"/>
                    </a:cubicBezTo>
                    <a:cubicBezTo>
                      <a:pt x="61" y="216"/>
                      <a:pt x="65" y="217"/>
                      <a:pt x="67" y="218"/>
                    </a:cubicBezTo>
                    <a:cubicBezTo>
                      <a:pt x="70" y="218"/>
                      <a:pt x="72" y="219"/>
                      <a:pt x="74" y="219"/>
                    </a:cubicBezTo>
                    <a:cubicBezTo>
                      <a:pt x="81" y="219"/>
                      <a:pt x="87" y="216"/>
                      <a:pt x="93" y="213"/>
                    </a:cubicBezTo>
                    <a:cubicBezTo>
                      <a:pt x="102" y="209"/>
                      <a:pt x="105" y="200"/>
                      <a:pt x="112" y="195"/>
                    </a:cubicBezTo>
                    <a:cubicBezTo>
                      <a:pt x="116" y="192"/>
                      <a:pt x="121" y="192"/>
                      <a:pt x="125" y="190"/>
                    </a:cubicBezTo>
                    <a:cubicBezTo>
                      <a:pt x="125" y="189"/>
                      <a:pt x="124" y="189"/>
                      <a:pt x="123" y="189"/>
                    </a:cubicBezTo>
                    <a:cubicBezTo>
                      <a:pt x="122" y="189"/>
                      <a:pt x="121" y="190"/>
                      <a:pt x="120" y="190"/>
                    </a:cubicBezTo>
                    <a:cubicBezTo>
                      <a:pt x="120" y="180"/>
                      <a:pt x="130" y="168"/>
                      <a:pt x="136" y="159"/>
                    </a:cubicBezTo>
                    <a:cubicBezTo>
                      <a:pt x="138" y="156"/>
                      <a:pt x="139" y="152"/>
                      <a:pt x="138" y="147"/>
                    </a:cubicBezTo>
                    <a:cubicBezTo>
                      <a:pt x="138" y="145"/>
                      <a:pt x="138" y="143"/>
                      <a:pt x="139" y="141"/>
                    </a:cubicBezTo>
                    <a:cubicBezTo>
                      <a:pt x="140" y="139"/>
                      <a:pt x="140" y="137"/>
                      <a:pt x="141" y="135"/>
                    </a:cubicBezTo>
                    <a:cubicBezTo>
                      <a:pt x="143" y="132"/>
                      <a:pt x="150" y="129"/>
                      <a:pt x="154" y="128"/>
                    </a:cubicBezTo>
                    <a:cubicBezTo>
                      <a:pt x="159" y="125"/>
                      <a:pt x="164" y="122"/>
                      <a:pt x="169" y="119"/>
                    </a:cubicBezTo>
                    <a:cubicBezTo>
                      <a:pt x="172" y="117"/>
                      <a:pt x="175" y="114"/>
                      <a:pt x="178" y="114"/>
                    </a:cubicBezTo>
                    <a:cubicBezTo>
                      <a:pt x="179" y="114"/>
                      <a:pt x="180" y="115"/>
                      <a:pt x="181" y="115"/>
                    </a:cubicBezTo>
                    <a:cubicBezTo>
                      <a:pt x="179" y="117"/>
                      <a:pt x="176" y="116"/>
                      <a:pt x="174" y="117"/>
                    </a:cubicBezTo>
                    <a:cubicBezTo>
                      <a:pt x="174" y="117"/>
                      <a:pt x="175" y="117"/>
                      <a:pt x="175" y="117"/>
                    </a:cubicBezTo>
                    <a:cubicBezTo>
                      <a:pt x="176" y="117"/>
                      <a:pt x="177" y="117"/>
                      <a:pt x="178" y="117"/>
                    </a:cubicBezTo>
                    <a:cubicBezTo>
                      <a:pt x="179" y="117"/>
                      <a:pt x="180" y="117"/>
                      <a:pt x="181" y="117"/>
                    </a:cubicBezTo>
                    <a:cubicBezTo>
                      <a:pt x="182" y="117"/>
                      <a:pt x="182" y="117"/>
                      <a:pt x="183" y="117"/>
                    </a:cubicBezTo>
                    <a:cubicBezTo>
                      <a:pt x="185" y="117"/>
                      <a:pt x="187" y="119"/>
                      <a:pt x="189" y="119"/>
                    </a:cubicBezTo>
                    <a:cubicBezTo>
                      <a:pt x="189" y="119"/>
                      <a:pt x="189" y="119"/>
                      <a:pt x="189" y="119"/>
                    </a:cubicBezTo>
                    <a:cubicBezTo>
                      <a:pt x="196" y="118"/>
                      <a:pt x="193" y="110"/>
                      <a:pt x="190" y="110"/>
                    </a:cubicBezTo>
                    <a:cubicBezTo>
                      <a:pt x="190" y="110"/>
                      <a:pt x="189" y="110"/>
                      <a:pt x="189" y="111"/>
                    </a:cubicBezTo>
                    <a:cubicBezTo>
                      <a:pt x="189" y="110"/>
                      <a:pt x="188" y="109"/>
                      <a:pt x="188" y="109"/>
                    </a:cubicBezTo>
                    <a:cubicBezTo>
                      <a:pt x="187" y="109"/>
                      <a:pt x="187" y="109"/>
                      <a:pt x="186" y="110"/>
                    </a:cubicBezTo>
                    <a:cubicBezTo>
                      <a:pt x="186" y="109"/>
                      <a:pt x="185" y="109"/>
                      <a:pt x="185" y="109"/>
                    </a:cubicBezTo>
                    <a:cubicBezTo>
                      <a:pt x="184" y="109"/>
                      <a:pt x="183" y="110"/>
                      <a:pt x="182" y="110"/>
                    </a:cubicBezTo>
                    <a:cubicBezTo>
                      <a:pt x="182" y="108"/>
                      <a:pt x="182" y="103"/>
                      <a:pt x="183" y="101"/>
                    </a:cubicBezTo>
                    <a:cubicBezTo>
                      <a:pt x="184" y="97"/>
                      <a:pt x="190" y="92"/>
                      <a:pt x="193" y="89"/>
                    </a:cubicBezTo>
                    <a:cubicBezTo>
                      <a:pt x="200" y="80"/>
                      <a:pt x="207" y="72"/>
                      <a:pt x="214" y="63"/>
                    </a:cubicBezTo>
                    <a:cubicBezTo>
                      <a:pt x="217" y="58"/>
                      <a:pt x="220" y="54"/>
                      <a:pt x="223" y="50"/>
                    </a:cubicBezTo>
                    <a:cubicBezTo>
                      <a:pt x="224" y="48"/>
                      <a:pt x="228" y="45"/>
                      <a:pt x="228" y="43"/>
                    </a:cubicBezTo>
                    <a:cubicBezTo>
                      <a:pt x="229" y="41"/>
                      <a:pt x="225" y="36"/>
                      <a:pt x="224" y="34"/>
                    </a:cubicBezTo>
                    <a:cubicBezTo>
                      <a:pt x="221" y="27"/>
                      <a:pt x="226" y="30"/>
                      <a:pt x="229" y="26"/>
                    </a:cubicBezTo>
                    <a:cubicBezTo>
                      <a:pt x="229" y="26"/>
                      <a:pt x="229" y="26"/>
                      <a:pt x="228" y="26"/>
                    </a:cubicBezTo>
                    <a:cubicBezTo>
                      <a:pt x="227" y="26"/>
                      <a:pt x="226" y="26"/>
                      <a:pt x="225" y="26"/>
                    </a:cubicBezTo>
                    <a:cubicBezTo>
                      <a:pt x="223" y="27"/>
                      <a:pt x="222" y="27"/>
                      <a:pt x="221" y="27"/>
                    </a:cubicBezTo>
                    <a:cubicBezTo>
                      <a:pt x="220" y="27"/>
                      <a:pt x="220" y="27"/>
                      <a:pt x="219" y="26"/>
                    </a:cubicBezTo>
                    <a:cubicBezTo>
                      <a:pt x="221" y="25"/>
                      <a:pt x="223" y="26"/>
                      <a:pt x="224" y="25"/>
                    </a:cubicBezTo>
                    <a:cubicBezTo>
                      <a:pt x="227" y="23"/>
                      <a:pt x="224" y="23"/>
                      <a:pt x="226" y="21"/>
                    </a:cubicBezTo>
                    <a:cubicBezTo>
                      <a:pt x="226" y="21"/>
                      <a:pt x="226" y="21"/>
                      <a:pt x="226" y="21"/>
                    </a:cubicBezTo>
                    <a:cubicBezTo>
                      <a:pt x="226" y="21"/>
                      <a:pt x="226" y="21"/>
                      <a:pt x="226" y="21"/>
                    </a:cubicBezTo>
                    <a:cubicBezTo>
                      <a:pt x="226" y="22"/>
                      <a:pt x="226" y="22"/>
                      <a:pt x="227" y="22"/>
                    </a:cubicBezTo>
                    <a:cubicBezTo>
                      <a:pt x="227" y="22"/>
                      <a:pt x="227" y="22"/>
                      <a:pt x="227" y="21"/>
                    </a:cubicBezTo>
                    <a:cubicBezTo>
                      <a:pt x="227" y="22"/>
                      <a:pt x="227" y="22"/>
                      <a:pt x="227" y="22"/>
                    </a:cubicBezTo>
                    <a:cubicBezTo>
                      <a:pt x="227" y="22"/>
                      <a:pt x="227" y="21"/>
                      <a:pt x="227" y="21"/>
                    </a:cubicBezTo>
                    <a:cubicBezTo>
                      <a:pt x="228" y="21"/>
                      <a:pt x="228" y="21"/>
                      <a:pt x="228" y="21"/>
                    </a:cubicBezTo>
                    <a:cubicBezTo>
                      <a:pt x="228" y="21"/>
                      <a:pt x="228" y="21"/>
                      <a:pt x="228" y="21"/>
                    </a:cubicBezTo>
                    <a:cubicBezTo>
                      <a:pt x="229" y="20"/>
                      <a:pt x="229" y="19"/>
                      <a:pt x="230" y="18"/>
                    </a:cubicBezTo>
                    <a:cubicBezTo>
                      <a:pt x="228" y="18"/>
                      <a:pt x="218" y="22"/>
                      <a:pt x="217" y="23"/>
                    </a:cubicBezTo>
                    <a:cubicBezTo>
                      <a:pt x="217" y="24"/>
                      <a:pt x="218" y="24"/>
                      <a:pt x="219" y="24"/>
                    </a:cubicBezTo>
                    <a:cubicBezTo>
                      <a:pt x="220" y="24"/>
                      <a:pt x="221" y="24"/>
                      <a:pt x="222" y="24"/>
                    </a:cubicBezTo>
                    <a:cubicBezTo>
                      <a:pt x="222" y="24"/>
                      <a:pt x="223" y="23"/>
                      <a:pt x="223" y="23"/>
                    </a:cubicBezTo>
                    <a:cubicBezTo>
                      <a:pt x="223" y="23"/>
                      <a:pt x="223" y="23"/>
                      <a:pt x="224" y="23"/>
                    </a:cubicBezTo>
                    <a:cubicBezTo>
                      <a:pt x="221" y="25"/>
                      <a:pt x="218" y="24"/>
                      <a:pt x="216" y="27"/>
                    </a:cubicBezTo>
                    <a:cubicBezTo>
                      <a:pt x="216" y="24"/>
                      <a:pt x="217" y="22"/>
                      <a:pt x="217" y="20"/>
                    </a:cubicBezTo>
                    <a:cubicBezTo>
                      <a:pt x="218" y="19"/>
                      <a:pt x="217" y="17"/>
                      <a:pt x="219" y="15"/>
                    </a:cubicBezTo>
                    <a:cubicBezTo>
                      <a:pt x="210" y="18"/>
                      <a:pt x="204" y="23"/>
                      <a:pt x="197" y="28"/>
                    </a:cubicBezTo>
                    <a:cubicBezTo>
                      <a:pt x="196" y="24"/>
                      <a:pt x="195" y="19"/>
                      <a:pt x="193" y="16"/>
                    </a:cubicBezTo>
                    <a:cubicBezTo>
                      <a:pt x="192" y="12"/>
                      <a:pt x="191" y="13"/>
                      <a:pt x="187" y="12"/>
                    </a:cubicBezTo>
                    <a:cubicBezTo>
                      <a:pt x="185" y="11"/>
                      <a:pt x="184" y="10"/>
                      <a:pt x="184" y="7"/>
                    </a:cubicBezTo>
                    <a:cubicBezTo>
                      <a:pt x="185" y="5"/>
                      <a:pt x="185" y="1"/>
                      <a:pt x="187" y="1"/>
                    </a:cubicBezTo>
                    <a:cubicBezTo>
                      <a:pt x="187" y="1"/>
                      <a:pt x="187" y="1"/>
                      <a:pt x="187" y="1"/>
                    </a:cubicBezTo>
                    <a:cubicBezTo>
                      <a:pt x="186" y="1"/>
                      <a:pt x="184" y="0"/>
                      <a:pt x="1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6" name="Freeform 1188">
                <a:extLst>
                  <a:ext uri="{FF2B5EF4-FFF2-40B4-BE49-F238E27FC236}">
                    <a16:creationId xmlns:a16="http://schemas.microsoft.com/office/drawing/2014/main" id="{4AFCFCC9-7DC4-4417-B837-BE3196D93434}"/>
                  </a:ext>
                </a:extLst>
              </p:cNvPr>
              <p:cNvSpPr>
                <a:spLocks/>
              </p:cNvSpPr>
              <p:nvPr/>
            </p:nvSpPr>
            <p:spPr bwMode="auto">
              <a:xfrm>
                <a:off x="5947" y="4758"/>
                <a:ext cx="7" cy="5"/>
              </a:xfrm>
              <a:custGeom>
                <a:avLst/>
                <a:gdLst>
                  <a:gd name="T0" fmla="*/ 1 w 3"/>
                  <a:gd name="T1" fmla="*/ 0 h 2"/>
                  <a:gd name="T2" fmla="*/ 0 w 3"/>
                  <a:gd name="T3" fmla="*/ 1 h 2"/>
                  <a:gd name="T4" fmla="*/ 0 w 3"/>
                  <a:gd name="T5" fmla="*/ 2 h 2"/>
                  <a:gd name="T6" fmla="*/ 3 w 3"/>
                  <a:gd name="T7" fmla="*/ 0 h 2"/>
                  <a:gd name="T8" fmla="*/ 1 w 3"/>
                  <a:gd name="T9" fmla="*/ 0 h 2"/>
                </a:gdLst>
                <a:ahLst/>
                <a:cxnLst>
                  <a:cxn ang="0">
                    <a:pos x="T0" y="T1"/>
                  </a:cxn>
                  <a:cxn ang="0">
                    <a:pos x="T2" y="T3"/>
                  </a:cxn>
                  <a:cxn ang="0">
                    <a:pos x="T4" y="T5"/>
                  </a:cxn>
                  <a:cxn ang="0">
                    <a:pos x="T6" y="T7"/>
                  </a:cxn>
                  <a:cxn ang="0">
                    <a:pos x="T8" y="T9"/>
                  </a:cxn>
                </a:cxnLst>
                <a:rect l="0" t="0" r="r" b="b"/>
                <a:pathLst>
                  <a:path w="3" h="2">
                    <a:moveTo>
                      <a:pt x="1" y="0"/>
                    </a:moveTo>
                    <a:cubicBezTo>
                      <a:pt x="0" y="0"/>
                      <a:pt x="0" y="1"/>
                      <a:pt x="0" y="1"/>
                    </a:cubicBezTo>
                    <a:cubicBezTo>
                      <a:pt x="0" y="1"/>
                      <a:pt x="0" y="2"/>
                      <a:pt x="0" y="2"/>
                    </a:cubicBezTo>
                    <a:cubicBezTo>
                      <a:pt x="1" y="2"/>
                      <a:pt x="2" y="1"/>
                      <a:pt x="3"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7" name="Freeform 1189">
                <a:extLst>
                  <a:ext uri="{FF2B5EF4-FFF2-40B4-BE49-F238E27FC236}">
                    <a16:creationId xmlns:a16="http://schemas.microsoft.com/office/drawing/2014/main" id="{CCCB8D5B-9B64-47A5-AC34-85F51AAD9B17}"/>
                  </a:ext>
                </a:extLst>
              </p:cNvPr>
              <p:cNvSpPr>
                <a:spLocks/>
              </p:cNvSpPr>
              <p:nvPr/>
            </p:nvSpPr>
            <p:spPr bwMode="auto">
              <a:xfrm>
                <a:off x="5056" y="4836"/>
                <a:ext cx="38" cy="31"/>
              </a:xfrm>
              <a:custGeom>
                <a:avLst/>
                <a:gdLst>
                  <a:gd name="T0" fmla="*/ 12 w 16"/>
                  <a:gd name="T1" fmla="*/ 0 h 13"/>
                  <a:gd name="T2" fmla="*/ 10 w 16"/>
                  <a:gd name="T3" fmla="*/ 4 h 13"/>
                  <a:gd name="T4" fmla="*/ 7 w 16"/>
                  <a:gd name="T5" fmla="*/ 7 h 13"/>
                  <a:gd name="T6" fmla="*/ 13 w 16"/>
                  <a:gd name="T7" fmla="*/ 13 h 13"/>
                  <a:gd name="T8" fmla="*/ 12 w 16"/>
                  <a:gd name="T9" fmla="*/ 7 h 13"/>
                  <a:gd name="T10" fmla="*/ 16 w 16"/>
                  <a:gd name="T11" fmla="*/ 2 h 13"/>
                  <a:gd name="T12" fmla="*/ 12 w 1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6" h="13">
                    <a:moveTo>
                      <a:pt x="12" y="0"/>
                    </a:moveTo>
                    <a:cubicBezTo>
                      <a:pt x="11" y="0"/>
                      <a:pt x="10" y="1"/>
                      <a:pt x="10" y="4"/>
                    </a:cubicBezTo>
                    <a:cubicBezTo>
                      <a:pt x="10" y="6"/>
                      <a:pt x="8" y="6"/>
                      <a:pt x="7" y="7"/>
                    </a:cubicBezTo>
                    <a:cubicBezTo>
                      <a:pt x="0" y="13"/>
                      <a:pt x="9" y="10"/>
                      <a:pt x="13" y="13"/>
                    </a:cubicBezTo>
                    <a:cubicBezTo>
                      <a:pt x="13" y="11"/>
                      <a:pt x="12" y="9"/>
                      <a:pt x="12" y="7"/>
                    </a:cubicBezTo>
                    <a:cubicBezTo>
                      <a:pt x="12" y="5"/>
                      <a:pt x="14" y="3"/>
                      <a:pt x="16" y="2"/>
                    </a:cubicBezTo>
                    <a:cubicBezTo>
                      <a:pt x="14" y="0"/>
                      <a:pt x="13"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8" name="Freeform 1190">
                <a:extLst>
                  <a:ext uri="{FF2B5EF4-FFF2-40B4-BE49-F238E27FC236}">
                    <a16:creationId xmlns:a16="http://schemas.microsoft.com/office/drawing/2014/main" id="{A6936013-B90E-44EE-9E10-E050FEAE8991}"/>
                  </a:ext>
                </a:extLst>
              </p:cNvPr>
              <p:cNvSpPr>
                <a:spLocks/>
              </p:cNvSpPr>
              <p:nvPr/>
            </p:nvSpPr>
            <p:spPr bwMode="auto">
              <a:xfrm>
                <a:off x="5281" y="5014"/>
                <a:ext cx="11" cy="7"/>
              </a:xfrm>
              <a:custGeom>
                <a:avLst/>
                <a:gdLst>
                  <a:gd name="T0" fmla="*/ 5 w 5"/>
                  <a:gd name="T1" fmla="*/ 0 h 3"/>
                  <a:gd name="T2" fmla="*/ 0 w 5"/>
                  <a:gd name="T3" fmla="*/ 1 h 3"/>
                  <a:gd name="T4" fmla="*/ 0 w 5"/>
                  <a:gd name="T5" fmla="*/ 1 h 3"/>
                  <a:gd name="T6" fmla="*/ 3 w 5"/>
                  <a:gd name="T7" fmla="*/ 3 h 3"/>
                  <a:gd name="T8" fmla="*/ 5 w 5"/>
                  <a:gd name="T9" fmla="*/ 0 h 3"/>
                </a:gdLst>
                <a:ahLst/>
                <a:cxnLst>
                  <a:cxn ang="0">
                    <a:pos x="T0" y="T1"/>
                  </a:cxn>
                  <a:cxn ang="0">
                    <a:pos x="T2" y="T3"/>
                  </a:cxn>
                  <a:cxn ang="0">
                    <a:pos x="T4" y="T5"/>
                  </a:cxn>
                  <a:cxn ang="0">
                    <a:pos x="T6" y="T7"/>
                  </a:cxn>
                  <a:cxn ang="0">
                    <a:pos x="T8" y="T9"/>
                  </a:cxn>
                </a:cxnLst>
                <a:rect l="0" t="0" r="r" b="b"/>
                <a:pathLst>
                  <a:path w="5" h="3">
                    <a:moveTo>
                      <a:pt x="5" y="0"/>
                    </a:moveTo>
                    <a:cubicBezTo>
                      <a:pt x="3" y="0"/>
                      <a:pt x="2" y="1"/>
                      <a:pt x="0" y="1"/>
                    </a:cubicBezTo>
                    <a:cubicBezTo>
                      <a:pt x="0" y="1"/>
                      <a:pt x="0" y="1"/>
                      <a:pt x="0" y="1"/>
                    </a:cubicBezTo>
                    <a:cubicBezTo>
                      <a:pt x="1" y="2"/>
                      <a:pt x="2" y="3"/>
                      <a:pt x="3" y="3"/>
                    </a:cubicBezTo>
                    <a:cubicBezTo>
                      <a:pt x="4" y="3"/>
                      <a:pt x="5"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9" name="Freeform 1191">
                <a:extLst>
                  <a:ext uri="{FF2B5EF4-FFF2-40B4-BE49-F238E27FC236}">
                    <a16:creationId xmlns:a16="http://schemas.microsoft.com/office/drawing/2014/main" id="{68CEE342-825F-462F-9861-BD0CBE1FE9F6}"/>
                  </a:ext>
                </a:extLst>
              </p:cNvPr>
              <p:cNvSpPr>
                <a:spLocks/>
              </p:cNvSpPr>
              <p:nvPr/>
            </p:nvSpPr>
            <p:spPr bwMode="auto">
              <a:xfrm>
                <a:off x="5167" y="2017"/>
                <a:ext cx="17" cy="11"/>
              </a:xfrm>
              <a:custGeom>
                <a:avLst/>
                <a:gdLst>
                  <a:gd name="T0" fmla="*/ 4 w 7"/>
                  <a:gd name="T1" fmla="*/ 0 h 5"/>
                  <a:gd name="T2" fmla="*/ 2 w 7"/>
                  <a:gd name="T3" fmla="*/ 5 h 5"/>
                  <a:gd name="T4" fmla="*/ 3 w 7"/>
                  <a:gd name="T5" fmla="*/ 5 h 5"/>
                  <a:gd name="T6" fmla="*/ 4 w 7"/>
                  <a:gd name="T7" fmla="*/ 5 h 5"/>
                  <a:gd name="T8" fmla="*/ 5 w 7"/>
                  <a:gd name="T9" fmla="*/ 5 h 5"/>
                  <a:gd name="T10" fmla="*/ 5 w 7"/>
                  <a:gd name="T11" fmla="*/ 0 h 5"/>
                  <a:gd name="T12" fmla="*/ 4 w 7"/>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4" y="0"/>
                    </a:moveTo>
                    <a:cubicBezTo>
                      <a:pt x="2" y="0"/>
                      <a:pt x="0" y="3"/>
                      <a:pt x="2" y="5"/>
                    </a:cubicBezTo>
                    <a:cubicBezTo>
                      <a:pt x="2" y="5"/>
                      <a:pt x="2" y="5"/>
                      <a:pt x="3" y="5"/>
                    </a:cubicBezTo>
                    <a:cubicBezTo>
                      <a:pt x="4" y="5"/>
                      <a:pt x="4" y="5"/>
                      <a:pt x="4" y="5"/>
                    </a:cubicBezTo>
                    <a:cubicBezTo>
                      <a:pt x="5" y="5"/>
                      <a:pt x="5" y="5"/>
                      <a:pt x="5" y="5"/>
                    </a:cubicBezTo>
                    <a:cubicBezTo>
                      <a:pt x="6" y="3"/>
                      <a:pt x="7" y="1"/>
                      <a:pt x="5"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0" name="Freeform 1192">
                <a:extLst>
                  <a:ext uri="{FF2B5EF4-FFF2-40B4-BE49-F238E27FC236}">
                    <a16:creationId xmlns:a16="http://schemas.microsoft.com/office/drawing/2014/main" id="{52F1ED0B-8163-4E3B-B138-CF89859F0388}"/>
                  </a:ext>
                </a:extLst>
              </p:cNvPr>
              <p:cNvSpPr>
                <a:spLocks noEditPoints="1"/>
              </p:cNvSpPr>
              <p:nvPr/>
            </p:nvSpPr>
            <p:spPr bwMode="auto">
              <a:xfrm>
                <a:off x="5186" y="1981"/>
                <a:ext cx="5" cy="5"/>
              </a:xfrm>
              <a:custGeom>
                <a:avLst/>
                <a:gdLst>
                  <a:gd name="T0" fmla="*/ 0 w 2"/>
                  <a:gd name="T1" fmla="*/ 1 h 2"/>
                  <a:gd name="T2" fmla="*/ 0 w 2"/>
                  <a:gd name="T3" fmla="*/ 2 h 2"/>
                  <a:gd name="T4" fmla="*/ 0 w 2"/>
                  <a:gd name="T5" fmla="*/ 1 h 2"/>
                  <a:gd name="T6" fmla="*/ 1 w 2"/>
                  <a:gd name="T7" fmla="*/ 0 h 2"/>
                  <a:gd name="T8" fmla="*/ 0 w 2"/>
                  <a:gd name="T9" fmla="*/ 1 h 2"/>
                  <a:gd name="T10" fmla="*/ 2 w 2"/>
                  <a:gd name="T11" fmla="*/ 0 h 2"/>
                  <a:gd name="T12" fmla="*/ 1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0" y="2"/>
                      <a:pt x="0" y="2"/>
                    </a:cubicBezTo>
                    <a:cubicBezTo>
                      <a:pt x="0" y="2"/>
                      <a:pt x="0" y="1"/>
                      <a:pt x="0" y="1"/>
                    </a:cubicBezTo>
                    <a:moveTo>
                      <a:pt x="1" y="0"/>
                    </a:moveTo>
                    <a:cubicBezTo>
                      <a:pt x="1" y="0"/>
                      <a:pt x="1" y="1"/>
                      <a:pt x="0" y="1"/>
                    </a:cubicBezTo>
                    <a:cubicBezTo>
                      <a:pt x="1" y="1"/>
                      <a:pt x="1" y="1"/>
                      <a:pt x="2"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1" name="Freeform 1193">
                <a:extLst>
                  <a:ext uri="{FF2B5EF4-FFF2-40B4-BE49-F238E27FC236}">
                    <a16:creationId xmlns:a16="http://schemas.microsoft.com/office/drawing/2014/main" id="{3B154655-1889-41CA-9382-E5E9871C5AF6}"/>
                  </a:ext>
                </a:extLst>
              </p:cNvPr>
              <p:cNvSpPr>
                <a:spLocks/>
              </p:cNvSpPr>
              <p:nvPr/>
            </p:nvSpPr>
            <p:spPr bwMode="auto">
              <a:xfrm>
                <a:off x="5148" y="2121"/>
                <a:ext cx="12" cy="9"/>
              </a:xfrm>
              <a:custGeom>
                <a:avLst/>
                <a:gdLst>
                  <a:gd name="T0" fmla="*/ 2 w 5"/>
                  <a:gd name="T1" fmla="*/ 0 h 4"/>
                  <a:gd name="T2" fmla="*/ 1 w 5"/>
                  <a:gd name="T3" fmla="*/ 0 h 4"/>
                  <a:gd name="T4" fmla="*/ 0 w 5"/>
                  <a:gd name="T5" fmla="*/ 0 h 4"/>
                  <a:gd name="T6" fmla="*/ 0 w 5"/>
                  <a:gd name="T7" fmla="*/ 1 h 4"/>
                  <a:gd name="T8" fmla="*/ 3 w 5"/>
                  <a:gd name="T9" fmla="*/ 4 h 4"/>
                  <a:gd name="T10" fmla="*/ 2 w 5"/>
                  <a:gd name="T11" fmla="*/ 0 h 4"/>
                </a:gdLst>
                <a:ahLst/>
                <a:cxnLst>
                  <a:cxn ang="0">
                    <a:pos x="T0" y="T1"/>
                  </a:cxn>
                  <a:cxn ang="0">
                    <a:pos x="T2" y="T3"/>
                  </a:cxn>
                  <a:cxn ang="0">
                    <a:pos x="T4" y="T5"/>
                  </a:cxn>
                  <a:cxn ang="0">
                    <a:pos x="T6" y="T7"/>
                  </a:cxn>
                  <a:cxn ang="0">
                    <a:pos x="T8" y="T9"/>
                  </a:cxn>
                  <a:cxn ang="0">
                    <a:pos x="T10" y="T11"/>
                  </a:cxn>
                </a:cxnLst>
                <a:rect l="0" t="0" r="r" b="b"/>
                <a:pathLst>
                  <a:path w="5" h="4">
                    <a:moveTo>
                      <a:pt x="2" y="0"/>
                    </a:moveTo>
                    <a:cubicBezTo>
                      <a:pt x="1" y="0"/>
                      <a:pt x="1" y="0"/>
                      <a:pt x="1" y="0"/>
                    </a:cubicBezTo>
                    <a:cubicBezTo>
                      <a:pt x="0" y="0"/>
                      <a:pt x="0" y="0"/>
                      <a:pt x="0" y="0"/>
                    </a:cubicBezTo>
                    <a:cubicBezTo>
                      <a:pt x="0" y="1"/>
                      <a:pt x="0" y="1"/>
                      <a:pt x="0" y="1"/>
                    </a:cubicBezTo>
                    <a:cubicBezTo>
                      <a:pt x="1" y="2"/>
                      <a:pt x="2" y="3"/>
                      <a:pt x="3" y="4"/>
                    </a:cubicBezTo>
                    <a:cubicBezTo>
                      <a:pt x="5" y="1"/>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2" name="Freeform 1194">
                <a:extLst>
                  <a:ext uri="{FF2B5EF4-FFF2-40B4-BE49-F238E27FC236}">
                    <a16:creationId xmlns:a16="http://schemas.microsoft.com/office/drawing/2014/main" id="{D72E4FF2-E078-47F9-82B3-BCB26B38B373}"/>
                  </a:ext>
                </a:extLst>
              </p:cNvPr>
              <p:cNvSpPr>
                <a:spLocks/>
              </p:cNvSpPr>
              <p:nvPr/>
            </p:nvSpPr>
            <p:spPr bwMode="auto">
              <a:xfrm>
                <a:off x="5219" y="2187"/>
                <a:ext cx="24" cy="19"/>
              </a:xfrm>
              <a:custGeom>
                <a:avLst/>
                <a:gdLst>
                  <a:gd name="T0" fmla="*/ 0 w 10"/>
                  <a:gd name="T1" fmla="*/ 0 h 8"/>
                  <a:gd name="T2" fmla="*/ 0 w 10"/>
                  <a:gd name="T3" fmla="*/ 4 h 8"/>
                  <a:gd name="T4" fmla="*/ 0 w 10"/>
                  <a:gd name="T5" fmla="*/ 5 h 8"/>
                  <a:gd name="T6" fmla="*/ 10 w 10"/>
                  <a:gd name="T7" fmla="*/ 8 h 8"/>
                  <a:gd name="T8" fmla="*/ 5 w 10"/>
                  <a:gd name="T9" fmla="*/ 4 h 8"/>
                  <a:gd name="T10" fmla="*/ 5 w 10"/>
                  <a:gd name="T11" fmla="*/ 4 h 8"/>
                  <a:gd name="T12" fmla="*/ 4 w 10"/>
                  <a:gd name="T13" fmla="*/ 4 h 8"/>
                  <a:gd name="T14" fmla="*/ 3 w 10"/>
                  <a:gd name="T15" fmla="*/ 4 h 8"/>
                  <a:gd name="T16" fmla="*/ 3 w 10"/>
                  <a:gd name="T17" fmla="*/ 2 h 8"/>
                  <a:gd name="T18" fmla="*/ 0 w 10"/>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8">
                    <a:moveTo>
                      <a:pt x="0" y="0"/>
                    </a:moveTo>
                    <a:cubicBezTo>
                      <a:pt x="0" y="0"/>
                      <a:pt x="0" y="1"/>
                      <a:pt x="0" y="4"/>
                    </a:cubicBezTo>
                    <a:cubicBezTo>
                      <a:pt x="0" y="5"/>
                      <a:pt x="0" y="5"/>
                      <a:pt x="0" y="5"/>
                    </a:cubicBezTo>
                    <a:cubicBezTo>
                      <a:pt x="1" y="8"/>
                      <a:pt x="7" y="8"/>
                      <a:pt x="10" y="8"/>
                    </a:cubicBezTo>
                    <a:cubicBezTo>
                      <a:pt x="9" y="7"/>
                      <a:pt x="7" y="5"/>
                      <a:pt x="5" y="4"/>
                    </a:cubicBezTo>
                    <a:cubicBezTo>
                      <a:pt x="5" y="4"/>
                      <a:pt x="5" y="4"/>
                      <a:pt x="5" y="4"/>
                    </a:cubicBezTo>
                    <a:cubicBezTo>
                      <a:pt x="4" y="4"/>
                      <a:pt x="4" y="4"/>
                      <a:pt x="4" y="4"/>
                    </a:cubicBezTo>
                    <a:cubicBezTo>
                      <a:pt x="4" y="4"/>
                      <a:pt x="3" y="4"/>
                      <a:pt x="3" y="4"/>
                    </a:cubicBezTo>
                    <a:cubicBezTo>
                      <a:pt x="3" y="3"/>
                      <a:pt x="3" y="2"/>
                      <a:pt x="3" y="2"/>
                    </a:cubicBezTo>
                    <a:cubicBezTo>
                      <a:pt x="2"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3" name="Freeform 1195">
                <a:extLst>
                  <a:ext uri="{FF2B5EF4-FFF2-40B4-BE49-F238E27FC236}">
                    <a16:creationId xmlns:a16="http://schemas.microsoft.com/office/drawing/2014/main" id="{E949989F-22BF-41F3-AD06-B8CC9389E3B6}"/>
                  </a:ext>
                </a:extLst>
              </p:cNvPr>
              <p:cNvSpPr>
                <a:spLocks/>
              </p:cNvSpPr>
              <p:nvPr/>
            </p:nvSpPr>
            <p:spPr bwMode="auto">
              <a:xfrm>
                <a:off x="5108" y="2052"/>
                <a:ext cx="50" cy="69"/>
              </a:xfrm>
              <a:custGeom>
                <a:avLst/>
                <a:gdLst>
                  <a:gd name="T0" fmla="*/ 2 w 21"/>
                  <a:gd name="T1" fmla="*/ 0 h 29"/>
                  <a:gd name="T2" fmla="*/ 0 w 21"/>
                  <a:gd name="T3" fmla="*/ 4 h 29"/>
                  <a:gd name="T4" fmla="*/ 1 w 21"/>
                  <a:gd name="T5" fmla="*/ 7 h 29"/>
                  <a:gd name="T6" fmla="*/ 3 w 21"/>
                  <a:gd name="T7" fmla="*/ 13 h 29"/>
                  <a:gd name="T8" fmla="*/ 4 w 21"/>
                  <a:gd name="T9" fmla="*/ 20 h 29"/>
                  <a:gd name="T10" fmla="*/ 7 w 21"/>
                  <a:gd name="T11" fmla="*/ 29 h 29"/>
                  <a:gd name="T12" fmla="*/ 14 w 21"/>
                  <a:gd name="T13" fmla="*/ 28 h 29"/>
                  <a:gd name="T14" fmla="*/ 14 w 21"/>
                  <a:gd name="T15" fmla="*/ 28 h 29"/>
                  <a:gd name="T16" fmla="*/ 15 w 21"/>
                  <a:gd name="T17" fmla="*/ 28 h 29"/>
                  <a:gd name="T18" fmla="*/ 16 w 21"/>
                  <a:gd name="T19" fmla="*/ 28 h 29"/>
                  <a:gd name="T20" fmla="*/ 16 w 21"/>
                  <a:gd name="T21" fmla="*/ 28 h 29"/>
                  <a:gd name="T22" fmla="*/ 20 w 21"/>
                  <a:gd name="T23" fmla="*/ 26 h 29"/>
                  <a:gd name="T24" fmla="*/ 21 w 21"/>
                  <a:gd name="T25" fmla="*/ 26 h 29"/>
                  <a:gd name="T26" fmla="*/ 21 w 21"/>
                  <a:gd name="T27" fmla="*/ 26 h 29"/>
                  <a:gd name="T28" fmla="*/ 21 w 21"/>
                  <a:gd name="T29" fmla="*/ 26 h 29"/>
                  <a:gd name="T30" fmla="*/ 17 w 21"/>
                  <a:gd name="T31" fmla="*/ 14 h 29"/>
                  <a:gd name="T32" fmla="*/ 16 w 21"/>
                  <a:gd name="T33" fmla="*/ 8 h 29"/>
                  <a:gd name="T34" fmla="*/ 15 w 21"/>
                  <a:gd name="T35" fmla="*/ 8 h 29"/>
                  <a:gd name="T36" fmla="*/ 12 w 21"/>
                  <a:gd name="T37" fmla="*/ 15 h 29"/>
                  <a:gd name="T38" fmla="*/ 11 w 21"/>
                  <a:gd name="T39" fmla="*/ 15 h 29"/>
                  <a:gd name="T40" fmla="*/ 8 w 21"/>
                  <a:gd name="T41" fmla="*/ 13 h 29"/>
                  <a:gd name="T42" fmla="*/ 7 w 21"/>
                  <a:gd name="T43" fmla="*/ 7 h 29"/>
                  <a:gd name="T44" fmla="*/ 5 w 21"/>
                  <a:gd name="T45" fmla="*/ 4 h 29"/>
                  <a:gd name="T46" fmla="*/ 5 w 21"/>
                  <a:gd name="T47" fmla="*/ 3 h 29"/>
                  <a:gd name="T48" fmla="*/ 2 w 21"/>
                  <a:gd name="T4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29">
                    <a:moveTo>
                      <a:pt x="2" y="0"/>
                    </a:moveTo>
                    <a:cubicBezTo>
                      <a:pt x="1" y="0"/>
                      <a:pt x="1" y="1"/>
                      <a:pt x="0" y="4"/>
                    </a:cubicBezTo>
                    <a:cubicBezTo>
                      <a:pt x="0" y="5"/>
                      <a:pt x="1" y="6"/>
                      <a:pt x="1" y="7"/>
                    </a:cubicBezTo>
                    <a:cubicBezTo>
                      <a:pt x="1" y="9"/>
                      <a:pt x="2" y="11"/>
                      <a:pt x="3" y="13"/>
                    </a:cubicBezTo>
                    <a:cubicBezTo>
                      <a:pt x="3" y="16"/>
                      <a:pt x="3" y="17"/>
                      <a:pt x="4" y="20"/>
                    </a:cubicBezTo>
                    <a:cubicBezTo>
                      <a:pt x="4" y="23"/>
                      <a:pt x="8" y="27"/>
                      <a:pt x="7" y="29"/>
                    </a:cubicBezTo>
                    <a:cubicBezTo>
                      <a:pt x="9" y="29"/>
                      <a:pt x="11" y="28"/>
                      <a:pt x="14" y="28"/>
                    </a:cubicBezTo>
                    <a:cubicBezTo>
                      <a:pt x="14" y="28"/>
                      <a:pt x="14" y="28"/>
                      <a:pt x="14" y="28"/>
                    </a:cubicBezTo>
                    <a:cubicBezTo>
                      <a:pt x="14" y="28"/>
                      <a:pt x="14" y="28"/>
                      <a:pt x="15" y="28"/>
                    </a:cubicBezTo>
                    <a:cubicBezTo>
                      <a:pt x="15" y="28"/>
                      <a:pt x="15" y="28"/>
                      <a:pt x="16" y="28"/>
                    </a:cubicBezTo>
                    <a:cubicBezTo>
                      <a:pt x="16" y="28"/>
                      <a:pt x="16" y="28"/>
                      <a:pt x="16" y="28"/>
                    </a:cubicBezTo>
                    <a:cubicBezTo>
                      <a:pt x="17" y="28"/>
                      <a:pt x="18" y="26"/>
                      <a:pt x="20" y="26"/>
                    </a:cubicBezTo>
                    <a:cubicBezTo>
                      <a:pt x="20" y="26"/>
                      <a:pt x="20" y="26"/>
                      <a:pt x="21" y="26"/>
                    </a:cubicBezTo>
                    <a:cubicBezTo>
                      <a:pt x="21" y="26"/>
                      <a:pt x="21" y="26"/>
                      <a:pt x="21" y="26"/>
                    </a:cubicBezTo>
                    <a:cubicBezTo>
                      <a:pt x="21" y="26"/>
                      <a:pt x="21" y="26"/>
                      <a:pt x="21" y="26"/>
                    </a:cubicBezTo>
                    <a:cubicBezTo>
                      <a:pt x="20" y="22"/>
                      <a:pt x="19" y="18"/>
                      <a:pt x="17" y="14"/>
                    </a:cubicBezTo>
                    <a:cubicBezTo>
                      <a:pt x="16" y="12"/>
                      <a:pt x="15" y="10"/>
                      <a:pt x="16" y="8"/>
                    </a:cubicBezTo>
                    <a:cubicBezTo>
                      <a:pt x="16" y="8"/>
                      <a:pt x="15" y="8"/>
                      <a:pt x="15" y="8"/>
                    </a:cubicBezTo>
                    <a:cubicBezTo>
                      <a:pt x="12" y="8"/>
                      <a:pt x="14" y="14"/>
                      <a:pt x="12" y="15"/>
                    </a:cubicBezTo>
                    <a:cubicBezTo>
                      <a:pt x="11" y="15"/>
                      <a:pt x="11" y="15"/>
                      <a:pt x="11" y="15"/>
                    </a:cubicBezTo>
                    <a:cubicBezTo>
                      <a:pt x="9" y="15"/>
                      <a:pt x="9" y="14"/>
                      <a:pt x="8" y="13"/>
                    </a:cubicBezTo>
                    <a:cubicBezTo>
                      <a:pt x="7" y="11"/>
                      <a:pt x="8" y="9"/>
                      <a:pt x="7" y="7"/>
                    </a:cubicBezTo>
                    <a:cubicBezTo>
                      <a:pt x="7" y="6"/>
                      <a:pt x="6" y="5"/>
                      <a:pt x="5" y="4"/>
                    </a:cubicBezTo>
                    <a:cubicBezTo>
                      <a:pt x="5" y="4"/>
                      <a:pt x="5" y="4"/>
                      <a:pt x="5" y="3"/>
                    </a:cubicBezTo>
                    <a:cubicBezTo>
                      <a:pt x="4"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4" name="Freeform 1196">
                <a:extLst>
                  <a:ext uri="{FF2B5EF4-FFF2-40B4-BE49-F238E27FC236}">
                    <a16:creationId xmlns:a16="http://schemas.microsoft.com/office/drawing/2014/main" id="{1CFF889F-8417-45A0-BD59-44420D57163D}"/>
                  </a:ext>
                </a:extLst>
              </p:cNvPr>
              <p:cNvSpPr>
                <a:spLocks/>
              </p:cNvSpPr>
              <p:nvPr/>
            </p:nvSpPr>
            <p:spPr bwMode="auto">
              <a:xfrm>
                <a:off x="5151" y="2139"/>
                <a:ext cx="47" cy="50"/>
              </a:xfrm>
              <a:custGeom>
                <a:avLst/>
                <a:gdLst>
                  <a:gd name="T0" fmla="*/ 3 w 20"/>
                  <a:gd name="T1" fmla="*/ 0 h 21"/>
                  <a:gd name="T2" fmla="*/ 1 w 20"/>
                  <a:gd name="T3" fmla="*/ 2 h 21"/>
                  <a:gd name="T4" fmla="*/ 3 w 20"/>
                  <a:gd name="T5" fmla="*/ 8 h 21"/>
                  <a:gd name="T6" fmla="*/ 4 w 20"/>
                  <a:gd name="T7" fmla="*/ 8 h 21"/>
                  <a:gd name="T8" fmla="*/ 5 w 20"/>
                  <a:gd name="T9" fmla="*/ 8 h 21"/>
                  <a:gd name="T10" fmla="*/ 5 w 20"/>
                  <a:gd name="T11" fmla="*/ 7 h 21"/>
                  <a:gd name="T12" fmla="*/ 7 w 20"/>
                  <a:gd name="T13" fmla="*/ 9 h 21"/>
                  <a:gd name="T14" fmla="*/ 7 w 20"/>
                  <a:gd name="T15" fmla="*/ 12 h 21"/>
                  <a:gd name="T16" fmla="*/ 11 w 20"/>
                  <a:gd name="T17" fmla="*/ 21 h 21"/>
                  <a:gd name="T18" fmla="*/ 17 w 20"/>
                  <a:gd name="T19" fmla="*/ 18 h 21"/>
                  <a:gd name="T20" fmla="*/ 20 w 20"/>
                  <a:gd name="T21" fmla="*/ 16 h 21"/>
                  <a:gd name="T22" fmla="*/ 19 w 20"/>
                  <a:gd name="T23" fmla="*/ 16 h 21"/>
                  <a:gd name="T24" fmla="*/ 15 w 20"/>
                  <a:gd name="T25" fmla="*/ 10 h 21"/>
                  <a:gd name="T26" fmla="*/ 10 w 20"/>
                  <a:gd name="T27" fmla="*/ 6 h 21"/>
                  <a:gd name="T28" fmla="*/ 10 w 20"/>
                  <a:gd name="T29" fmla="*/ 7 h 21"/>
                  <a:gd name="T30" fmla="*/ 5 w 20"/>
                  <a:gd name="T31" fmla="*/ 1 h 21"/>
                  <a:gd name="T32" fmla="*/ 3 w 20"/>
                  <a:gd name="T3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1">
                    <a:moveTo>
                      <a:pt x="3" y="0"/>
                    </a:moveTo>
                    <a:cubicBezTo>
                      <a:pt x="2" y="0"/>
                      <a:pt x="2" y="1"/>
                      <a:pt x="1" y="2"/>
                    </a:cubicBezTo>
                    <a:cubicBezTo>
                      <a:pt x="0" y="5"/>
                      <a:pt x="0" y="7"/>
                      <a:pt x="3" y="8"/>
                    </a:cubicBezTo>
                    <a:cubicBezTo>
                      <a:pt x="3" y="8"/>
                      <a:pt x="3" y="8"/>
                      <a:pt x="4" y="8"/>
                    </a:cubicBezTo>
                    <a:cubicBezTo>
                      <a:pt x="4" y="8"/>
                      <a:pt x="4" y="8"/>
                      <a:pt x="5" y="8"/>
                    </a:cubicBezTo>
                    <a:cubicBezTo>
                      <a:pt x="5" y="7"/>
                      <a:pt x="5" y="7"/>
                      <a:pt x="5" y="7"/>
                    </a:cubicBezTo>
                    <a:cubicBezTo>
                      <a:pt x="6" y="7"/>
                      <a:pt x="6" y="8"/>
                      <a:pt x="7" y="9"/>
                    </a:cubicBezTo>
                    <a:cubicBezTo>
                      <a:pt x="7" y="10"/>
                      <a:pt x="7" y="11"/>
                      <a:pt x="7" y="12"/>
                    </a:cubicBezTo>
                    <a:cubicBezTo>
                      <a:pt x="8" y="15"/>
                      <a:pt x="8" y="20"/>
                      <a:pt x="11" y="21"/>
                    </a:cubicBezTo>
                    <a:cubicBezTo>
                      <a:pt x="12" y="20"/>
                      <a:pt x="15" y="19"/>
                      <a:pt x="17" y="18"/>
                    </a:cubicBezTo>
                    <a:cubicBezTo>
                      <a:pt x="18" y="17"/>
                      <a:pt x="19" y="17"/>
                      <a:pt x="20" y="16"/>
                    </a:cubicBezTo>
                    <a:cubicBezTo>
                      <a:pt x="20" y="16"/>
                      <a:pt x="20" y="16"/>
                      <a:pt x="19" y="16"/>
                    </a:cubicBezTo>
                    <a:cubicBezTo>
                      <a:pt x="19" y="14"/>
                      <a:pt x="17" y="12"/>
                      <a:pt x="15" y="10"/>
                    </a:cubicBezTo>
                    <a:cubicBezTo>
                      <a:pt x="13" y="9"/>
                      <a:pt x="11" y="8"/>
                      <a:pt x="10" y="6"/>
                    </a:cubicBezTo>
                    <a:cubicBezTo>
                      <a:pt x="10" y="7"/>
                      <a:pt x="10" y="7"/>
                      <a:pt x="10" y="7"/>
                    </a:cubicBezTo>
                    <a:cubicBezTo>
                      <a:pt x="8" y="6"/>
                      <a:pt x="7" y="3"/>
                      <a:pt x="5" y="1"/>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5" name="Freeform 1197">
                <a:extLst>
                  <a:ext uri="{FF2B5EF4-FFF2-40B4-BE49-F238E27FC236}">
                    <a16:creationId xmlns:a16="http://schemas.microsoft.com/office/drawing/2014/main" id="{93782951-4BA6-47ED-9790-B422B1AC3D08}"/>
                  </a:ext>
                </a:extLst>
              </p:cNvPr>
              <p:cNvSpPr>
                <a:spLocks/>
              </p:cNvSpPr>
              <p:nvPr/>
            </p:nvSpPr>
            <p:spPr bwMode="auto">
              <a:xfrm>
                <a:off x="5174" y="1986"/>
                <a:ext cx="7" cy="16"/>
              </a:xfrm>
              <a:custGeom>
                <a:avLst/>
                <a:gdLst>
                  <a:gd name="T0" fmla="*/ 0 w 3"/>
                  <a:gd name="T1" fmla="*/ 0 h 7"/>
                  <a:gd name="T2" fmla="*/ 0 w 3"/>
                  <a:gd name="T3" fmla="*/ 3 h 7"/>
                  <a:gd name="T4" fmla="*/ 0 w 3"/>
                  <a:gd name="T5" fmla="*/ 7 h 7"/>
                  <a:gd name="T6" fmla="*/ 2 w 3"/>
                  <a:gd name="T7" fmla="*/ 3 h 7"/>
                  <a:gd name="T8" fmla="*/ 0 w 3"/>
                  <a:gd name="T9" fmla="*/ 0 h 7"/>
                </a:gdLst>
                <a:ahLst/>
                <a:cxnLst>
                  <a:cxn ang="0">
                    <a:pos x="T0" y="T1"/>
                  </a:cxn>
                  <a:cxn ang="0">
                    <a:pos x="T2" y="T3"/>
                  </a:cxn>
                  <a:cxn ang="0">
                    <a:pos x="T4" y="T5"/>
                  </a:cxn>
                  <a:cxn ang="0">
                    <a:pos x="T6" y="T7"/>
                  </a:cxn>
                  <a:cxn ang="0">
                    <a:pos x="T8" y="T9"/>
                  </a:cxn>
                </a:cxnLst>
                <a:rect l="0" t="0" r="r" b="b"/>
                <a:pathLst>
                  <a:path w="3" h="7">
                    <a:moveTo>
                      <a:pt x="0" y="0"/>
                    </a:moveTo>
                    <a:cubicBezTo>
                      <a:pt x="0" y="1"/>
                      <a:pt x="0" y="2"/>
                      <a:pt x="0" y="3"/>
                    </a:cubicBezTo>
                    <a:cubicBezTo>
                      <a:pt x="0" y="4"/>
                      <a:pt x="0" y="6"/>
                      <a:pt x="0" y="7"/>
                    </a:cubicBezTo>
                    <a:cubicBezTo>
                      <a:pt x="2" y="6"/>
                      <a:pt x="3" y="4"/>
                      <a:pt x="2" y="3"/>
                    </a:cubicBezTo>
                    <a:cubicBezTo>
                      <a:pt x="2"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6" name="Freeform 1198">
                <a:extLst>
                  <a:ext uri="{FF2B5EF4-FFF2-40B4-BE49-F238E27FC236}">
                    <a16:creationId xmlns:a16="http://schemas.microsoft.com/office/drawing/2014/main" id="{17B69255-8519-45B8-A9A8-3645C8501D63}"/>
                  </a:ext>
                </a:extLst>
              </p:cNvPr>
              <p:cNvSpPr>
                <a:spLocks/>
              </p:cNvSpPr>
              <p:nvPr/>
            </p:nvSpPr>
            <p:spPr bwMode="auto">
              <a:xfrm>
                <a:off x="5188" y="2097"/>
                <a:ext cx="22" cy="14"/>
              </a:xfrm>
              <a:custGeom>
                <a:avLst/>
                <a:gdLst>
                  <a:gd name="T0" fmla="*/ 8 w 9"/>
                  <a:gd name="T1" fmla="*/ 0 h 6"/>
                  <a:gd name="T2" fmla="*/ 2 w 9"/>
                  <a:gd name="T3" fmla="*/ 3 h 6"/>
                  <a:gd name="T4" fmla="*/ 0 w 9"/>
                  <a:gd name="T5" fmla="*/ 4 h 6"/>
                  <a:gd name="T6" fmla="*/ 3 w 9"/>
                  <a:gd name="T7" fmla="*/ 5 h 6"/>
                  <a:gd name="T8" fmla="*/ 4 w 9"/>
                  <a:gd name="T9" fmla="*/ 6 h 6"/>
                  <a:gd name="T10" fmla="*/ 5 w 9"/>
                  <a:gd name="T11" fmla="*/ 6 h 6"/>
                  <a:gd name="T12" fmla="*/ 9 w 9"/>
                  <a:gd name="T13" fmla="*/ 0 h 6"/>
                  <a:gd name="T14" fmla="*/ 9 w 9"/>
                  <a:gd name="T15" fmla="*/ 0 h 6"/>
                  <a:gd name="T16" fmla="*/ 8 w 9"/>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6">
                    <a:moveTo>
                      <a:pt x="8" y="0"/>
                    </a:moveTo>
                    <a:cubicBezTo>
                      <a:pt x="5" y="0"/>
                      <a:pt x="4" y="1"/>
                      <a:pt x="2" y="3"/>
                    </a:cubicBezTo>
                    <a:cubicBezTo>
                      <a:pt x="1" y="3"/>
                      <a:pt x="1" y="4"/>
                      <a:pt x="0" y="4"/>
                    </a:cubicBezTo>
                    <a:cubicBezTo>
                      <a:pt x="1" y="5"/>
                      <a:pt x="2" y="5"/>
                      <a:pt x="3" y="5"/>
                    </a:cubicBezTo>
                    <a:cubicBezTo>
                      <a:pt x="4" y="6"/>
                      <a:pt x="4" y="6"/>
                      <a:pt x="4" y="6"/>
                    </a:cubicBezTo>
                    <a:cubicBezTo>
                      <a:pt x="4" y="6"/>
                      <a:pt x="4" y="6"/>
                      <a:pt x="5" y="6"/>
                    </a:cubicBezTo>
                    <a:cubicBezTo>
                      <a:pt x="7" y="4"/>
                      <a:pt x="7" y="2"/>
                      <a:pt x="9" y="0"/>
                    </a:cubicBezTo>
                    <a:cubicBezTo>
                      <a:pt x="9" y="0"/>
                      <a:pt x="9"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7" name="Freeform 1199">
                <a:extLst>
                  <a:ext uri="{FF2B5EF4-FFF2-40B4-BE49-F238E27FC236}">
                    <a16:creationId xmlns:a16="http://schemas.microsoft.com/office/drawing/2014/main" id="{8FB05616-3357-4F65-B518-42618251817C}"/>
                  </a:ext>
                </a:extLst>
              </p:cNvPr>
              <p:cNvSpPr>
                <a:spLocks/>
              </p:cNvSpPr>
              <p:nvPr/>
            </p:nvSpPr>
            <p:spPr bwMode="auto">
              <a:xfrm>
                <a:off x="5219" y="2071"/>
                <a:ext cx="5" cy="33"/>
              </a:xfrm>
              <a:custGeom>
                <a:avLst/>
                <a:gdLst>
                  <a:gd name="T0" fmla="*/ 0 w 2"/>
                  <a:gd name="T1" fmla="*/ 0 h 14"/>
                  <a:gd name="T2" fmla="*/ 0 w 2"/>
                  <a:gd name="T3" fmla="*/ 2 h 14"/>
                  <a:gd name="T4" fmla="*/ 0 w 2"/>
                  <a:gd name="T5" fmla="*/ 11 h 14"/>
                  <a:gd name="T6" fmla="*/ 0 w 2"/>
                  <a:gd name="T7" fmla="*/ 14 h 14"/>
                  <a:gd name="T8" fmla="*/ 2 w 2"/>
                  <a:gd name="T9" fmla="*/ 11 h 14"/>
                  <a:gd name="T10" fmla="*/ 1 w 2"/>
                  <a:gd name="T11" fmla="*/ 3 h 14"/>
                  <a:gd name="T12" fmla="*/ 0 w 2"/>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 h="14">
                    <a:moveTo>
                      <a:pt x="0" y="0"/>
                    </a:moveTo>
                    <a:cubicBezTo>
                      <a:pt x="0" y="1"/>
                      <a:pt x="0" y="2"/>
                      <a:pt x="0" y="2"/>
                    </a:cubicBezTo>
                    <a:cubicBezTo>
                      <a:pt x="0" y="5"/>
                      <a:pt x="0" y="8"/>
                      <a:pt x="0" y="11"/>
                    </a:cubicBezTo>
                    <a:cubicBezTo>
                      <a:pt x="0" y="12"/>
                      <a:pt x="0" y="13"/>
                      <a:pt x="0" y="14"/>
                    </a:cubicBezTo>
                    <a:cubicBezTo>
                      <a:pt x="1" y="13"/>
                      <a:pt x="1" y="12"/>
                      <a:pt x="2" y="11"/>
                    </a:cubicBezTo>
                    <a:cubicBezTo>
                      <a:pt x="2" y="8"/>
                      <a:pt x="1" y="6"/>
                      <a:pt x="1" y="3"/>
                    </a:cubicBezTo>
                    <a:cubicBezTo>
                      <a:pt x="0"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8" name="Freeform 1200">
                <a:extLst>
                  <a:ext uri="{FF2B5EF4-FFF2-40B4-BE49-F238E27FC236}">
                    <a16:creationId xmlns:a16="http://schemas.microsoft.com/office/drawing/2014/main" id="{B14EA656-427F-434F-8369-B802AC624C0D}"/>
                  </a:ext>
                </a:extLst>
              </p:cNvPr>
              <p:cNvSpPr>
                <a:spLocks/>
              </p:cNvSpPr>
              <p:nvPr/>
            </p:nvSpPr>
            <p:spPr bwMode="auto">
              <a:xfrm>
                <a:off x="5222" y="2113"/>
                <a:ext cx="7" cy="34"/>
              </a:xfrm>
              <a:custGeom>
                <a:avLst/>
                <a:gdLst>
                  <a:gd name="T0" fmla="*/ 0 w 3"/>
                  <a:gd name="T1" fmla="*/ 0 h 14"/>
                  <a:gd name="T2" fmla="*/ 1 w 3"/>
                  <a:gd name="T3" fmla="*/ 3 h 14"/>
                  <a:gd name="T4" fmla="*/ 1 w 3"/>
                  <a:gd name="T5" fmla="*/ 5 h 14"/>
                  <a:gd name="T6" fmla="*/ 1 w 3"/>
                  <a:gd name="T7" fmla="*/ 8 h 14"/>
                  <a:gd name="T8" fmla="*/ 1 w 3"/>
                  <a:gd name="T9" fmla="*/ 14 h 14"/>
                  <a:gd name="T10" fmla="*/ 2 w 3"/>
                  <a:gd name="T11" fmla="*/ 8 h 14"/>
                  <a:gd name="T12" fmla="*/ 2 w 3"/>
                  <a:gd name="T13" fmla="*/ 4 h 14"/>
                  <a:gd name="T14" fmla="*/ 2 w 3"/>
                  <a:gd name="T15" fmla="*/ 3 h 14"/>
                  <a:gd name="T16" fmla="*/ 2 w 3"/>
                  <a:gd name="T17" fmla="*/ 3 h 14"/>
                  <a:gd name="T18" fmla="*/ 0 w 3"/>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4">
                    <a:moveTo>
                      <a:pt x="0" y="0"/>
                    </a:moveTo>
                    <a:cubicBezTo>
                      <a:pt x="0" y="1"/>
                      <a:pt x="1" y="2"/>
                      <a:pt x="1" y="3"/>
                    </a:cubicBezTo>
                    <a:cubicBezTo>
                      <a:pt x="1" y="4"/>
                      <a:pt x="1" y="5"/>
                      <a:pt x="1" y="5"/>
                    </a:cubicBezTo>
                    <a:cubicBezTo>
                      <a:pt x="1" y="6"/>
                      <a:pt x="1" y="7"/>
                      <a:pt x="1" y="8"/>
                    </a:cubicBezTo>
                    <a:cubicBezTo>
                      <a:pt x="1" y="10"/>
                      <a:pt x="1" y="12"/>
                      <a:pt x="1" y="14"/>
                    </a:cubicBezTo>
                    <a:cubicBezTo>
                      <a:pt x="2" y="13"/>
                      <a:pt x="3" y="11"/>
                      <a:pt x="2" y="8"/>
                    </a:cubicBezTo>
                    <a:cubicBezTo>
                      <a:pt x="2" y="7"/>
                      <a:pt x="2" y="5"/>
                      <a:pt x="2" y="4"/>
                    </a:cubicBezTo>
                    <a:cubicBezTo>
                      <a:pt x="2" y="3"/>
                      <a:pt x="2" y="3"/>
                      <a:pt x="2" y="3"/>
                    </a:cubicBezTo>
                    <a:cubicBezTo>
                      <a:pt x="2" y="3"/>
                      <a:pt x="2" y="3"/>
                      <a:pt x="2" y="3"/>
                    </a:cubicBezTo>
                    <a:cubicBezTo>
                      <a:pt x="1"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9" name="Freeform 1201">
                <a:extLst>
                  <a:ext uri="{FF2B5EF4-FFF2-40B4-BE49-F238E27FC236}">
                    <a16:creationId xmlns:a16="http://schemas.microsoft.com/office/drawing/2014/main" id="{26B21694-A348-47CB-8A5E-F30881F839F5}"/>
                  </a:ext>
                </a:extLst>
              </p:cNvPr>
              <p:cNvSpPr>
                <a:spLocks/>
              </p:cNvSpPr>
              <p:nvPr/>
            </p:nvSpPr>
            <p:spPr bwMode="auto">
              <a:xfrm>
                <a:off x="5205" y="2154"/>
                <a:ext cx="28" cy="19"/>
              </a:xfrm>
              <a:custGeom>
                <a:avLst/>
                <a:gdLst>
                  <a:gd name="T0" fmla="*/ 7 w 12"/>
                  <a:gd name="T1" fmla="*/ 0 h 8"/>
                  <a:gd name="T2" fmla="*/ 5 w 12"/>
                  <a:gd name="T3" fmla="*/ 2 h 8"/>
                  <a:gd name="T4" fmla="*/ 2 w 12"/>
                  <a:gd name="T5" fmla="*/ 3 h 8"/>
                  <a:gd name="T6" fmla="*/ 2 w 12"/>
                  <a:gd name="T7" fmla="*/ 3 h 8"/>
                  <a:gd name="T8" fmla="*/ 2 w 12"/>
                  <a:gd name="T9" fmla="*/ 3 h 8"/>
                  <a:gd name="T10" fmla="*/ 1 w 12"/>
                  <a:gd name="T11" fmla="*/ 5 h 8"/>
                  <a:gd name="T12" fmla="*/ 2 w 12"/>
                  <a:gd name="T13" fmla="*/ 6 h 8"/>
                  <a:gd name="T14" fmla="*/ 2 w 12"/>
                  <a:gd name="T15" fmla="*/ 7 h 8"/>
                  <a:gd name="T16" fmla="*/ 2 w 12"/>
                  <a:gd name="T17" fmla="*/ 6 h 8"/>
                  <a:gd name="T18" fmla="*/ 6 w 12"/>
                  <a:gd name="T19" fmla="*/ 8 h 8"/>
                  <a:gd name="T20" fmla="*/ 10 w 12"/>
                  <a:gd name="T21" fmla="*/ 4 h 8"/>
                  <a:gd name="T22" fmla="*/ 9 w 12"/>
                  <a:gd name="T23" fmla="*/ 3 h 8"/>
                  <a:gd name="T24" fmla="*/ 9 w 12"/>
                  <a:gd name="T25" fmla="*/ 3 h 8"/>
                  <a:gd name="T26" fmla="*/ 7 w 12"/>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8">
                    <a:moveTo>
                      <a:pt x="7" y="0"/>
                    </a:moveTo>
                    <a:cubicBezTo>
                      <a:pt x="6" y="0"/>
                      <a:pt x="6" y="1"/>
                      <a:pt x="5" y="2"/>
                    </a:cubicBezTo>
                    <a:cubicBezTo>
                      <a:pt x="4" y="2"/>
                      <a:pt x="3" y="3"/>
                      <a:pt x="2" y="3"/>
                    </a:cubicBezTo>
                    <a:cubicBezTo>
                      <a:pt x="2" y="3"/>
                      <a:pt x="2" y="3"/>
                      <a:pt x="2" y="3"/>
                    </a:cubicBezTo>
                    <a:cubicBezTo>
                      <a:pt x="2" y="3"/>
                      <a:pt x="2" y="3"/>
                      <a:pt x="2" y="3"/>
                    </a:cubicBezTo>
                    <a:cubicBezTo>
                      <a:pt x="0" y="3"/>
                      <a:pt x="0" y="4"/>
                      <a:pt x="1" y="5"/>
                    </a:cubicBezTo>
                    <a:cubicBezTo>
                      <a:pt x="2" y="6"/>
                      <a:pt x="2" y="6"/>
                      <a:pt x="2" y="6"/>
                    </a:cubicBezTo>
                    <a:cubicBezTo>
                      <a:pt x="2" y="7"/>
                      <a:pt x="2" y="7"/>
                      <a:pt x="2" y="7"/>
                    </a:cubicBezTo>
                    <a:cubicBezTo>
                      <a:pt x="2" y="6"/>
                      <a:pt x="2" y="6"/>
                      <a:pt x="2" y="6"/>
                    </a:cubicBezTo>
                    <a:cubicBezTo>
                      <a:pt x="4" y="7"/>
                      <a:pt x="5" y="7"/>
                      <a:pt x="6" y="8"/>
                    </a:cubicBezTo>
                    <a:cubicBezTo>
                      <a:pt x="12" y="6"/>
                      <a:pt x="12" y="6"/>
                      <a:pt x="10" y="4"/>
                    </a:cubicBezTo>
                    <a:cubicBezTo>
                      <a:pt x="9" y="3"/>
                      <a:pt x="9" y="3"/>
                      <a:pt x="9" y="3"/>
                    </a:cubicBezTo>
                    <a:cubicBezTo>
                      <a:pt x="9" y="3"/>
                      <a:pt x="9" y="3"/>
                      <a:pt x="9" y="3"/>
                    </a:cubicBezTo>
                    <a:cubicBezTo>
                      <a:pt x="8" y="1"/>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0" name="Freeform 1202">
                <a:extLst>
                  <a:ext uri="{FF2B5EF4-FFF2-40B4-BE49-F238E27FC236}">
                    <a16:creationId xmlns:a16="http://schemas.microsoft.com/office/drawing/2014/main" id="{28C32BD4-D070-4B7F-A03A-BBF42292CA46}"/>
                  </a:ext>
                </a:extLst>
              </p:cNvPr>
              <p:cNvSpPr>
                <a:spLocks/>
              </p:cNvSpPr>
              <p:nvPr/>
            </p:nvSpPr>
            <p:spPr bwMode="auto">
              <a:xfrm>
                <a:off x="5278" y="2331"/>
                <a:ext cx="24" cy="24"/>
              </a:xfrm>
              <a:custGeom>
                <a:avLst/>
                <a:gdLst>
                  <a:gd name="T0" fmla="*/ 2 w 10"/>
                  <a:gd name="T1" fmla="*/ 0 h 10"/>
                  <a:gd name="T2" fmla="*/ 0 w 10"/>
                  <a:gd name="T3" fmla="*/ 7 h 10"/>
                  <a:gd name="T4" fmla="*/ 10 w 10"/>
                  <a:gd name="T5" fmla="*/ 10 h 10"/>
                  <a:gd name="T6" fmla="*/ 8 w 10"/>
                  <a:gd name="T7" fmla="*/ 6 h 10"/>
                  <a:gd name="T8" fmla="*/ 5 w 10"/>
                  <a:gd name="T9" fmla="*/ 1 h 10"/>
                  <a:gd name="T10" fmla="*/ 2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2" y="0"/>
                    </a:moveTo>
                    <a:cubicBezTo>
                      <a:pt x="0" y="0"/>
                      <a:pt x="0" y="4"/>
                      <a:pt x="0" y="7"/>
                    </a:cubicBezTo>
                    <a:cubicBezTo>
                      <a:pt x="3" y="8"/>
                      <a:pt x="7" y="9"/>
                      <a:pt x="10" y="10"/>
                    </a:cubicBezTo>
                    <a:cubicBezTo>
                      <a:pt x="9" y="9"/>
                      <a:pt x="8" y="7"/>
                      <a:pt x="8" y="6"/>
                    </a:cubicBezTo>
                    <a:cubicBezTo>
                      <a:pt x="8" y="5"/>
                      <a:pt x="6" y="2"/>
                      <a:pt x="5" y="1"/>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1" name="Freeform 1203">
                <a:extLst>
                  <a:ext uri="{FF2B5EF4-FFF2-40B4-BE49-F238E27FC236}">
                    <a16:creationId xmlns:a16="http://schemas.microsoft.com/office/drawing/2014/main" id="{52945894-B24F-4E6B-8A98-0D41A7AC8402}"/>
                  </a:ext>
                </a:extLst>
              </p:cNvPr>
              <p:cNvSpPr>
                <a:spLocks/>
              </p:cNvSpPr>
              <p:nvPr/>
            </p:nvSpPr>
            <p:spPr bwMode="auto">
              <a:xfrm>
                <a:off x="5328" y="2442"/>
                <a:ext cx="7" cy="7"/>
              </a:xfrm>
              <a:custGeom>
                <a:avLst/>
                <a:gdLst>
                  <a:gd name="T0" fmla="*/ 1 w 3"/>
                  <a:gd name="T1" fmla="*/ 0 h 3"/>
                  <a:gd name="T2" fmla="*/ 3 w 3"/>
                  <a:gd name="T3" fmla="*/ 3 h 3"/>
                  <a:gd name="T4" fmla="*/ 1 w 3"/>
                  <a:gd name="T5" fmla="*/ 0 h 3"/>
                </a:gdLst>
                <a:ahLst/>
                <a:cxnLst>
                  <a:cxn ang="0">
                    <a:pos x="T0" y="T1"/>
                  </a:cxn>
                  <a:cxn ang="0">
                    <a:pos x="T2" y="T3"/>
                  </a:cxn>
                  <a:cxn ang="0">
                    <a:pos x="T4" y="T5"/>
                  </a:cxn>
                </a:cxnLst>
                <a:rect l="0" t="0" r="r" b="b"/>
                <a:pathLst>
                  <a:path w="3" h="3">
                    <a:moveTo>
                      <a:pt x="1" y="0"/>
                    </a:moveTo>
                    <a:cubicBezTo>
                      <a:pt x="0" y="1"/>
                      <a:pt x="2" y="2"/>
                      <a:pt x="3" y="3"/>
                    </a:cubicBezTo>
                    <a:cubicBezTo>
                      <a:pt x="3"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2" name="Freeform 1204">
                <a:extLst>
                  <a:ext uri="{FF2B5EF4-FFF2-40B4-BE49-F238E27FC236}">
                    <a16:creationId xmlns:a16="http://schemas.microsoft.com/office/drawing/2014/main" id="{A1325BDD-2F04-4A92-8BE3-9E73BDE43ED6}"/>
                  </a:ext>
                </a:extLst>
              </p:cNvPr>
              <p:cNvSpPr>
                <a:spLocks/>
              </p:cNvSpPr>
              <p:nvPr/>
            </p:nvSpPr>
            <p:spPr bwMode="auto">
              <a:xfrm>
                <a:off x="5292" y="2383"/>
                <a:ext cx="24" cy="24"/>
              </a:xfrm>
              <a:custGeom>
                <a:avLst/>
                <a:gdLst>
                  <a:gd name="T0" fmla="*/ 1 w 10"/>
                  <a:gd name="T1" fmla="*/ 0 h 10"/>
                  <a:gd name="T2" fmla="*/ 1 w 10"/>
                  <a:gd name="T3" fmla="*/ 5 h 10"/>
                  <a:gd name="T4" fmla="*/ 7 w 10"/>
                  <a:gd name="T5" fmla="*/ 10 h 10"/>
                  <a:gd name="T6" fmla="*/ 1 w 10"/>
                  <a:gd name="T7" fmla="*/ 0 h 10"/>
                </a:gdLst>
                <a:ahLst/>
                <a:cxnLst>
                  <a:cxn ang="0">
                    <a:pos x="T0" y="T1"/>
                  </a:cxn>
                  <a:cxn ang="0">
                    <a:pos x="T2" y="T3"/>
                  </a:cxn>
                  <a:cxn ang="0">
                    <a:pos x="T4" y="T5"/>
                  </a:cxn>
                  <a:cxn ang="0">
                    <a:pos x="T6" y="T7"/>
                  </a:cxn>
                </a:cxnLst>
                <a:rect l="0" t="0" r="r" b="b"/>
                <a:pathLst>
                  <a:path w="10" h="10">
                    <a:moveTo>
                      <a:pt x="1" y="0"/>
                    </a:moveTo>
                    <a:cubicBezTo>
                      <a:pt x="1" y="2"/>
                      <a:pt x="0" y="3"/>
                      <a:pt x="1" y="5"/>
                    </a:cubicBezTo>
                    <a:cubicBezTo>
                      <a:pt x="2" y="7"/>
                      <a:pt x="5" y="9"/>
                      <a:pt x="7" y="10"/>
                    </a:cubicBezTo>
                    <a:cubicBezTo>
                      <a:pt x="10" y="5"/>
                      <a:pt x="6"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3" name="Freeform 1205">
                <a:extLst>
                  <a:ext uri="{FF2B5EF4-FFF2-40B4-BE49-F238E27FC236}">
                    <a16:creationId xmlns:a16="http://schemas.microsoft.com/office/drawing/2014/main" id="{F9312D80-9DBE-4512-9A9F-D529E9564569}"/>
                  </a:ext>
                </a:extLst>
              </p:cNvPr>
              <p:cNvSpPr>
                <a:spLocks/>
              </p:cNvSpPr>
              <p:nvPr/>
            </p:nvSpPr>
            <p:spPr bwMode="auto">
              <a:xfrm>
                <a:off x="5219" y="2255"/>
                <a:ext cx="31" cy="22"/>
              </a:xfrm>
              <a:custGeom>
                <a:avLst/>
                <a:gdLst>
                  <a:gd name="T0" fmla="*/ 7 w 13"/>
                  <a:gd name="T1" fmla="*/ 0 h 9"/>
                  <a:gd name="T2" fmla="*/ 1 w 13"/>
                  <a:gd name="T3" fmla="*/ 6 h 9"/>
                  <a:gd name="T4" fmla="*/ 3 w 13"/>
                  <a:gd name="T5" fmla="*/ 5 h 9"/>
                  <a:gd name="T6" fmla="*/ 4 w 13"/>
                  <a:gd name="T7" fmla="*/ 7 h 9"/>
                  <a:gd name="T8" fmla="*/ 5 w 13"/>
                  <a:gd name="T9" fmla="*/ 7 h 9"/>
                  <a:gd name="T10" fmla="*/ 7 w 13"/>
                  <a:gd name="T11" fmla="*/ 9 h 9"/>
                  <a:gd name="T12" fmla="*/ 13 w 13"/>
                  <a:gd name="T13" fmla="*/ 5 h 9"/>
                  <a:gd name="T14" fmla="*/ 9 w 13"/>
                  <a:gd name="T15" fmla="*/ 0 h 9"/>
                  <a:gd name="T16" fmla="*/ 7 w 13"/>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9">
                    <a:moveTo>
                      <a:pt x="7" y="0"/>
                    </a:moveTo>
                    <a:cubicBezTo>
                      <a:pt x="4" y="0"/>
                      <a:pt x="0" y="4"/>
                      <a:pt x="1" y="6"/>
                    </a:cubicBezTo>
                    <a:cubicBezTo>
                      <a:pt x="2" y="5"/>
                      <a:pt x="3" y="5"/>
                      <a:pt x="3" y="5"/>
                    </a:cubicBezTo>
                    <a:cubicBezTo>
                      <a:pt x="4" y="5"/>
                      <a:pt x="5" y="6"/>
                      <a:pt x="4" y="7"/>
                    </a:cubicBezTo>
                    <a:cubicBezTo>
                      <a:pt x="4" y="7"/>
                      <a:pt x="4" y="7"/>
                      <a:pt x="5" y="7"/>
                    </a:cubicBezTo>
                    <a:cubicBezTo>
                      <a:pt x="6" y="7"/>
                      <a:pt x="7" y="8"/>
                      <a:pt x="7" y="9"/>
                    </a:cubicBezTo>
                    <a:cubicBezTo>
                      <a:pt x="9" y="7"/>
                      <a:pt x="11" y="6"/>
                      <a:pt x="13" y="5"/>
                    </a:cubicBezTo>
                    <a:cubicBezTo>
                      <a:pt x="11" y="4"/>
                      <a:pt x="11" y="1"/>
                      <a:pt x="9" y="0"/>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4" name="Freeform 1206">
                <a:extLst>
                  <a:ext uri="{FF2B5EF4-FFF2-40B4-BE49-F238E27FC236}">
                    <a16:creationId xmlns:a16="http://schemas.microsoft.com/office/drawing/2014/main" id="{205E9E75-1159-4569-8755-288BB9FC87CB}"/>
                  </a:ext>
                </a:extLst>
              </p:cNvPr>
              <p:cNvSpPr>
                <a:spLocks/>
              </p:cNvSpPr>
              <p:nvPr/>
            </p:nvSpPr>
            <p:spPr bwMode="auto">
              <a:xfrm>
                <a:off x="533" y="610"/>
                <a:ext cx="0" cy="5"/>
              </a:xfrm>
              <a:custGeom>
                <a:avLst/>
                <a:gdLst>
                  <a:gd name="T0" fmla="*/ 0 h 2"/>
                  <a:gd name="T1" fmla="*/ 2 h 2"/>
                  <a:gd name="T2" fmla="*/ 2 h 2"/>
                  <a:gd name="T3" fmla="*/ 0 h 2"/>
                </a:gdLst>
                <a:ahLst/>
                <a:cxnLst>
                  <a:cxn ang="0">
                    <a:pos x="0" y="T0"/>
                  </a:cxn>
                  <a:cxn ang="0">
                    <a:pos x="0" y="T1"/>
                  </a:cxn>
                  <a:cxn ang="0">
                    <a:pos x="0" y="T2"/>
                  </a:cxn>
                  <a:cxn ang="0">
                    <a:pos x="0" y="T3"/>
                  </a:cxn>
                </a:cxnLst>
                <a:rect l="0" t="0" r="r" b="b"/>
                <a:pathLst>
                  <a:path h="2">
                    <a:moveTo>
                      <a:pt x="0" y="0"/>
                    </a:moveTo>
                    <a:cubicBezTo>
                      <a:pt x="0" y="0"/>
                      <a:pt x="0" y="1"/>
                      <a:pt x="0" y="2"/>
                    </a:cubicBezTo>
                    <a:cubicBezTo>
                      <a:pt x="0" y="2"/>
                      <a:pt x="0" y="2"/>
                      <a:pt x="0" y="2"/>
                    </a:cubicBezTo>
                    <a:cubicBezTo>
                      <a:pt x="0"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5" name="Freeform 1207">
                <a:extLst>
                  <a:ext uri="{FF2B5EF4-FFF2-40B4-BE49-F238E27FC236}">
                    <a16:creationId xmlns:a16="http://schemas.microsoft.com/office/drawing/2014/main" id="{1FCEE398-479D-440A-8116-1D0554C26713}"/>
                  </a:ext>
                </a:extLst>
              </p:cNvPr>
              <p:cNvSpPr>
                <a:spLocks/>
              </p:cNvSpPr>
              <p:nvPr/>
            </p:nvSpPr>
            <p:spPr bwMode="auto">
              <a:xfrm>
                <a:off x="1826" y="731"/>
                <a:ext cx="4" cy="2"/>
              </a:xfrm>
              <a:custGeom>
                <a:avLst/>
                <a:gdLst>
                  <a:gd name="T0" fmla="*/ 0 w 2"/>
                  <a:gd name="T1" fmla="*/ 0 h 1"/>
                  <a:gd name="T2" fmla="*/ 2 w 2"/>
                  <a:gd name="T3" fmla="*/ 1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1" y="0"/>
                      <a:pt x="1" y="1"/>
                      <a:pt x="2" y="1"/>
                    </a:cubicBezTo>
                    <a:cubicBezTo>
                      <a:pt x="2" y="1"/>
                      <a:pt x="2" y="1"/>
                      <a:pt x="2"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6" name="Freeform 1208">
                <a:extLst>
                  <a:ext uri="{FF2B5EF4-FFF2-40B4-BE49-F238E27FC236}">
                    <a16:creationId xmlns:a16="http://schemas.microsoft.com/office/drawing/2014/main" id="{7E939699-EDD8-4F10-9CBD-C8A9301ED34E}"/>
                  </a:ext>
                </a:extLst>
              </p:cNvPr>
              <p:cNvSpPr>
                <a:spLocks/>
              </p:cNvSpPr>
              <p:nvPr/>
            </p:nvSpPr>
            <p:spPr bwMode="auto">
              <a:xfrm>
                <a:off x="1585" y="669"/>
                <a:ext cx="7" cy="7"/>
              </a:xfrm>
              <a:custGeom>
                <a:avLst/>
                <a:gdLst>
                  <a:gd name="T0" fmla="*/ 3 w 3"/>
                  <a:gd name="T1" fmla="*/ 0 h 3"/>
                  <a:gd name="T2" fmla="*/ 0 w 3"/>
                  <a:gd name="T3" fmla="*/ 3 h 3"/>
                  <a:gd name="T4" fmla="*/ 3 w 3"/>
                  <a:gd name="T5" fmla="*/ 0 h 3"/>
                </a:gdLst>
                <a:ahLst/>
                <a:cxnLst>
                  <a:cxn ang="0">
                    <a:pos x="T0" y="T1"/>
                  </a:cxn>
                  <a:cxn ang="0">
                    <a:pos x="T2" y="T3"/>
                  </a:cxn>
                  <a:cxn ang="0">
                    <a:pos x="T4" y="T5"/>
                  </a:cxn>
                </a:cxnLst>
                <a:rect l="0" t="0" r="r" b="b"/>
                <a:pathLst>
                  <a:path w="3" h="3">
                    <a:moveTo>
                      <a:pt x="3" y="0"/>
                    </a:moveTo>
                    <a:cubicBezTo>
                      <a:pt x="2" y="1"/>
                      <a:pt x="1" y="2"/>
                      <a:pt x="0" y="3"/>
                    </a:cubicBezTo>
                    <a:cubicBezTo>
                      <a:pt x="2" y="3"/>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7" name="Freeform 1209">
                <a:extLst>
                  <a:ext uri="{FF2B5EF4-FFF2-40B4-BE49-F238E27FC236}">
                    <a16:creationId xmlns:a16="http://schemas.microsoft.com/office/drawing/2014/main" id="{AC075BFE-38DC-456F-BED2-954DD8A09CD5}"/>
                  </a:ext>
                </a:extLst>
              </p:cNvPr>
              <p:cNvSpPr>
                <a:spLocks/>
              </p:cNvSpPr>
              <p:nvPr/>
            </p:nvSpPr>
            <p:spPr bwMode="auto">
              <a:xfrm>
                <a:off x="521" y="596"/>
                <a:ext cx="19" cy="12"/>
              </a:xfrm>
              <a:custGeom>
                <a:avLst/>
                <a:gdLst>
                  <a:gd name="T0" fmla="*/ 6 w 8"/>
                  <a:gd name="T1" fmla="*/ 0 h 5"/>
                  <a:gd name="T2" fmla="*/ 2 w 8"/>
                  <a:gd name="T3" fmla="*/ 1 h 5"/>
                  <a:gd name="T4" fmla="*/ 0 w 8"/>
                  <a:gd name="T5" fmla="*/ 1 h 5"/>
                  <a:gd name="T6" fmla="*/ 4 w 8"/>
                  <a:gd name="T7" fmla="*/ 5 h 5"/>
                  <a:gd name="T8" fmla="*/ 6 w 8"/>
                  <a:gd name="T9" fmla="*/ 0 h 5"/>
                </a:gdLst>
                <a:ahLst/>
                <a:cxnLst>
                  <a:cxn ang="0">
                    <a:pos x="T0" y="T1"/>
                  </a:cxn>
                  <a:cxn ang="0">
                    <a:pos x="T2" y="T3"/>
                  </a:cxn>
                  <a:cxn ang="0">
                    <a:pos x="T4" y="T5"/>
                  </a:cxn>
                  <a:cxn ang="0">
                    <a:pos x="T6" y="T7"/>
                  </a:cxn>
                  <a:cxn ang="0">
                    <a:pos x="T8" y="T9"/>
                  </a:cxn>
                </a:cxnLst>
                <a:rect l="0" t="0" r="r" b="b"/>
                <a:pathLst>
                  <a:path w="8" h="5">
                    <a:moveTo>
                      <a:pt x="6" y="0"/>
                    </a:moveTo>
                    <a:cubicBezTo>
                      <a:pt x="4" y="1"/>
                      <a:pt x="3" y="1"/>
                      <a:pt x="2" y="1"/>
                    </a:cubicBezTo>
                    <a:cubicBezTo>
                      <a:pt x="1" y="1"/>
                      <a:pt x="1" y="1"/>
                      <a:pt x="0" y="1"/>
                    </a:cubicBezTo>
                    <a:cubicBezTo>
                      <a:pt x="0" y="4"/>
                      <a:pt x="2" y="5"/>
                      <a:pt x="4" y="5"/>
                    </a:cubicBezTo>
                    <a:cubicBezTo>
                      <a:pt x="6" y="5"/>
                      <a:pt x="8" y="4"/>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8" name="Freeform 1210">
                <a:extLst>
                  <a:ext uri="{FF2B5EF4-FFF2-40B4-BE49-F238E27FC236}">
                    <a16:creationId xmlns:a16="http://schemas.microsoft.com/office/drawing/2014/main" id="{7A633C1A-EDFF-4EEB-9382-75103A0AC2A3}"/>
                  </a:ext>
                </a:extLst>
              </p:cNvPr>
              <p:cNvSpPr>
                <a:spLocks/>
              </p:cNvSpPr>
              <p:nvPr/>
            </p:nvSpPr>
            <p:spPr bwMode="auto">
              <a:xfrm>
                <a:off x="1736" y="579"/>
                <a:ext cx="12" cy="5"/>
              </a:xfrm>
              <a:custGeom>
                <a:avLst/>
                <a:gdLst>
                  <a:gd name="T0" fmla="*/ 4 w 5"/>
                  <a:gd name="T1" fmla="*/ 0 h 2"/>
                  <a:gd name="T2" fmla="*/ 0 w 5"/>
                  <a:gd name="T3" fmla="*/ 1 h 2"/>
                  <a:gd name="T4" fmla="*/ 2 w 5"/>
                  <a:gd name="T5" fmla="*/ 2 h 2"/>
                  <a:gd name="T6" fmla="*/ 5 w 5"/>
                  <a:gd name="T7" fmla="*/ 0 h 2"/>
                  <a:gd name="T8" fmla="*/ 4 w 5"/>
                  <a:gd name="T9" fmla="*/ 0 h 2"/>
                </a:gdLst>
                <a:ahLst/>
                <a:cxnLst>
                  <a:cxn ang="0">
                    <a:pos x="T0" y="T1"/>
                  </a:cxn>
                  <a:cxn ang="0">
                    <a:pos x="T2" y="T3"/>
                  </a:cxn>
                  <a:cxn ang="0">
                    <a:pos x="T4" y="T5"/>
                  </a:cxn>
                  <a:cxn ang="0">
                    <a:pos x="T6" y="T7"/>
                  </a:cxn>
                  <a:cxn ang="0">
                    <a:pos x="T8" y="T9"/>
                  </a:cxn>
                </a:cxnLst>
                <a:rect l="0" t="0" r="r" b="b"/>
                <a:pathLst>
                  <a:path w="5" h="2">
                    <a:moveTo>
                      <a:pt x="4" y="0"/>
                    </a:moveTo>
                    <a:cubicBezTo>
                      <a:pt x="2" y="0"/>
                      <a:pt x="1" y="0"/>
                      <a:pt x="0" y="1"/>
                    </a:cubicBezTo>
                    <a:cubicBezTo>
                      <a:pt x="0" y="1"/>
                      <a:pt x="1" y="2"/>
                      <a:pt x="2" y="2"/>
                    </a:cubicBezTo>
                    <a:cubicBezTo>
                      <a:pt x="3" y="2"/>
                      <a:pt x="4" y="1"/>
                      <a:pt x="5"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9" name="Freeform 1211">
                <a:extLst>
                  <a:ext uri="{FF2B5EF4-FFF2-40B4-BE49-F238E27FC236}">
                    <a16:creationId xmlns:a16="http://schemas.microsoft.com/office/drawing/2014/main" id="{2A3AE446-7B5E-4912-B023-01C360F78DD2}"/>
                  </a:ext>
                </a:extLst>
              </p:cNvPr>
              <p:cNvSpPr>
                <a:spLocks/>
              </p:cNvSpPr>
              <p:nvPr/>
            </p:nvSpPr>
            <p:spPr bwMode="auto">
              <a:xfrm>
                <a:off x="1715" y="535"/>
                <a:ext cx="16" cy="16"/>
              </a:xfrm>
              <a:custGeom>
                <a:avLst/>
                <a:gdLst>
                  <a:gd name="T0" fmla="*/ 6 w 7"/>
                  <a:gd name="T1" fmla="*/ 0 h 7"/>
                  <a:gd name="T2" fmla="*/ 1 w 7"/>
                  <a:gd name="T3" fmla="*/ 1 h 7"/>
                  <a:gd name="T4" fmla="*/ 0 w 7"/>
                  <a:gd name="T5" fmla="*/ 7 h 7"/>
                  <a:gd name="T6" fmla="*/ 6 w 7"/>
                  <a:gd name="T7" fmla="*/ 4 h 7"/>
                  <a:gd name="T8" fmla="*/ 6 w 7"/>
                  <a:gd name="T9" fmla="*/ 0 h 7"/>
                </a:gdLst>
                <a:ahLst/>
                <a:cxnLst>
                  <a:cxn ang="0">
                    <a:pos x="T0" y="T1"/>
                  </a:cxn>
                  <a:cxn ang="0">
                    <a:pos x="T2" y="T3"/>
                  </a:cxn>
                  <a:cxn ang="0">
                    <a:pos x="T4" y="T5"/>
                  </a:cxn>
                  <a:cxn ang="0">
                    <a:pos x="T6" y="T7"/>
                  </a:cxn>
                  <a:cxn ang="0">
                    <a:pos x="T8" y="T9"/>
                  </a:cxn>
                </a:cxnLst>
                <a:rect l="0" t="0" r="r" b="b"/>
                <a:pathLst>
                  <a:path w="7" h="7">
                    <a:moveTo>
                      <a:pt x="6" y="0"/>
                    </a:moveTo>
                    <a:cubicBezTo>
                      <a:pt x="5" y="0"/>
                      <a:pt x="3" y="1"/>
                      <a:pt x="1" y="1"/>
                    </a:cubicBezTo>
                    <a:cubicBezTo>
                      <a:pt x="0" y="3"/>
                      <a:pt x="0" y="5"/>
                      <a:pt x="0" y="7"/>
                    </a:cubicBezTo>
                    <a:cubicBezTo>
                      <a:pt x="1" y="7"/>
                      <a:pt x="6" y="5"/>
                      <a:pt x="6" y="4"/>
                    </a:cubicBezTo>
                    <a:cubicBezTo>
                      <a:pt x="7"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0" name="Freeform 1212">
                <a:extLst>
                  <a:ext uri="{FF2B5EF4-FFF2-40B4-BE49-F238E27FC236}">
                    <a16:creationId xmlns:a16="http://schemas.microsoft.com/office/drawing/2014/main" id="{4406548B-02B3-4791-AC3C-E42C9600DF8C}"/>
                  </a:ext>
                </a:extLst>
              </p:cNvPr>
              <p:cNvSpPr>
                <a:spLocks/>
              </p:cNvSpPr>
              <p:nvPr/>
            </p:nvSpPr>
            <p:spPr bwMode="auto">
              <a:xfrm>
                <a:off x="826" y="842"/>
                <a:ext cx="7" cy="12"/>
              </a:xfrm>
              <a:custGeom>
                <a:avLst/>
                <a:gdLst>
                  <a:gd name="T0" fmla="*/ 3 w 3"/>
                  <a:gd name="T1" fmla="*/ 0 h 5"/>
                  <a:gd name="T2" fmla="*/ 2 w 3"/>
                  <a:gd name="T3" fmla="*/ 5 h 5"/>
                  <a:gd name="T4" fmla="*/ 3 w 3"/>
                  <a:gd name="T5" fmla="*/ 0 h 5"/>
                </a:gdLst>
                <a:ahLst/>
                <a:cxnLst>
                  <a:cxn ang="0">
                    <a:pos x="T0" y="T1"/>
                  </a:cxn>
                  <a:cxn ang="0">
                    <a:pos x="T2" y="T3"/>
                  </a:cxn>
                  <a:cxn ang="0">
                    <a:pos x="T4" y="T5"/>
                  </a:cxn>
                </a:cxnLst>
                <a:rect l="0" t="0" r="r" b="b"/>
                <a:pathLst>
                  <a:path w="3" h="5">
                    <a:moveTo>
                      <a:pt x="3" y="0"/>
                    </a:moveTo>
                    <a:cubicBezTo>
                      <a:pt x="1" y="2"/>
                      <a:pt x="0" y="3"/>
                      <a:pt x="2" y="5"/>
                    </a:cubicBezTo>
                    <a:cubicBezTo>
                      <a:pt x="2" y="3"/>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1" name="Freeform 1213">
                <a:extLst>
                  <a:ext uri="{FF2B5EF4-FFF2-40B4-BE49-F238E27FC236}">
                    <a16:creationId xmlns:a16="http://schemas.microsoft.com/office/drawing/2014/main" id="{AAD3BCD2-C117-449E-89C7-7AD4BA59B781}"/>
                  </a:ext>
                </a:extLst>
              </p:cNvPr>
              <p:cNvSpPr>
                <a:spLocks/>
              </p:cNvSpPr>
              <p:nvPr/>
            </p:nvSpPr>
            <p:spPr bwMode="auto">
              <a:xfrm>
                <a:off x="1320" y="849"/>
                <a:ext cx="9" cy="26"/>
              </a:xfrm>
              <a:custGeom>
                <a:avLst/>
                <a:gdLst>
                  <a:gd name="T0" fmla="*/ 1 w 4"/>
                  <a:gd name="T1" fmla="*/ 0 h 11"/>
                  <a:gd name="T2" fmla="*/ 0 w 4"/>
                  <a:gd name="T3" fmla="*/ 8 h 11"/>
                  <a:gd name="T4" fmla="*/ 2 w 4"/>
                  <a:gd name="T5" fmla="*/ 11 h 11"/>
                  <a:gd name="T6" fmla="*/ 1 w 4"/>
                  <a:gd name="T7" fmla="*/ 0 h 11"/>
                </a:gdLst>
                <a:ahLst/>
                <a:cxnLst>
                  <a:cxn ang="0">
                    <a:pos x="T0" y="T1"/>
                  </a:cxn>
                  <a:cxn ang="0">
                    <a:pos x="T2" y="T3"/>
                  </a:cxn>
                  <a:cxn ang="0">
                    <a:pos x="T4" y="T5"/>
                  </a:cxn>
                  <a:cxn ang="0">
                    <a:pos x="T6" y="T7"/>
                  </a:cxn>
                </a:cxnLst>
                <a:rect l="0" t="0" r="r" b="b"/>
                <a:pathLst>
                  <a:path w="4" h="11">
                    <a:moveTo>
                      <a:pt x="1" y="0"/>
                    </a:moveTo>
                    <a:cubicBezTo>
                      <a:pt x="0" y="3"/>
                      <a:pt x="1" y="5"/>
                      <a:pt x="0" y="8"/>
                    </a:cubicBezTo>
                    <a:cubicBezTo>
                      <a:pt x="1" y="10"/>
                      <a:pt x="2" y="11"/>
                      <a:pt x="2" y="11"/>
                    </a:cubicBezTo>
                    <a:cubicBezTo>
                      <a:pt x="4" y="11"/>
                      <a:pt x="3"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2" name="Freeform 1214">
                <a:extLst>
                  <a:ext uri="{FF2B5EF4-FFF2-40B4-BE49-F238E27FC236}">
                    <a16:creationId xmlns:a16="http://schemas.microsoft.com/office/drawing/2014/main" id="{2573D744-8E60-4FF5-BA57-27C628D762B1}"/>
                  </a:ext>
                </a:extLst>
              </p:cNvPr>
              <p:cNvSpPr>
                <a:spLocks/>
              </p:cNvSpPr>
              <p:nvPr/>
            </p:nvSpPr>
            <p:spPr bwMode="auto">
              <a:xfrm>
                <a:off x="1807" y="719"/>
                <a:ext cx="14" cy="5"/>
              </a:xfrm>
              <a:custGeom>
                <a:avLst/>
                <a:gdLst>
                  <a:gd name="T0" fmla="*/ 0 w 6"/>
                  <a:gd name="T1" fmla="*/ 0 h 2"/>
                  <a:gd name="T2" fmla="*/ 4 w 6"/>
                  <a:gd name="T3" fmla="*/ 2 h 2"/>
                  <a:gd name="T4" fmla="*/ 6 w 6"/>
                  <a:gd name="T5" fmla="*/ 1 h 2"/>
                  <a:gd name="T6" fmla="*/ 0 w 6"/>
                  <a:gd name="T7" fmla="*/ 0 h 2"/>
                </a:gdLst>
                <a:ahLst/>
                <a:cxnLst>
                  <a:cxn ang="0">
                    <a:pos x="T0" y="T1"/>
                  </a:cxn>
                  <a:cxn ang="0">
                    <a:pos x="T2" y="T3"/>
                  </a:cxn>
                  <a:cxn ang="0">
                    <a:pos x="T4" y="T5"/>
                  </a:cxn>
                  <a:cxn ang="0">
                    <a:pos x="T6" y="T7"/>
                  </a:cxn>
                </a:cxnLst>
                <a:rect l="0" t="0" r="r" b="b"/>
                <a:pathLst>
                  <a:path w="6" h="2">
                    <a:moveTo>
                      <a:pt x="0" y="0"/>
                    </a:moveTo>
                    <a:cubicBezTo>
                      <a:pt x="1" y="1"/>
                      <a:pt x="3" y="2"/>
                      <a:pt x="4" y="2"/>
                    </a:cubicBezTo>
                    <a:cubicBezTo>
                      <a:pt x="5" y="2"/>
                      <a:pt x="5" y="2"/>
                      <a:pt x="6" y="1"/>
                    </a:cubicBezTo>
                    <a:cubicBezTo>
                      <a:pt x="4"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3" name="Freeform 1215">
                <a:extLst>
                  <a:ext uri="{FF2B5EF4-FFF2-40B4-BE49-F238E27FC236}">
                    <a16:creationId xmlns:a16="http://schemas.microsoft.com/office/drawing/2014/main" id="{FB1715C3-88DA-4A21-AA87-4CA4A245DF98}"/>
                  </a:ext>
                </a:extLst>
              </p:cNvPr>
              <p:cNvSpPr>
                <a:spLocks/>
              </p:cNvSpPr>
              <p:nvPr/>
            </p:nvSpPr>
            <p:spPr bwMode="auto">
              <a:xfrm>
                <a:off x="202" y="646"/>
                <a:ext cx="7" cy="2"/>
              </a:xfrm>
              <a:custGeom>
                <a:avLst/>
                <a:gdLst>
                  <a:gd name="T0" fmla="*/ 1 w 3"/>
                  <a:gd name="T1" fmla="*/ 0 h 1"/>
                  <a:gd name="T2" fmla="*/ 0 w 3"/>
                  <a:gd name="T3" fmla="*/ 0 h 1"/>
                  <a:gd name="T4" fmla="*/ 3 w 3"/>
                  <a:gd name="T5" fmla="*/ 1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0"/>
                      <a:pt x="0" y="0"/>
                    </a:cubicBezTo>
                    <a:cubicBezTo>
                      <a:pt x="1" y="0"/>
                      <a:pt x="2" y="1"/>
                      <a:pt x="3" y="1"/>
                    </a:cubicBezTo>
                    <a:cubicBezTo>
                      <a:pt x="3"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4" name="Freeform 1216">
                <a:extLst>
                  <a:ext uri="{FF2B5EF4-FFF2-40B4-BE49-F238E27FC236}">
                    <a16:creationId xmlns:a16="http://schemas.microsoft.com/office/drawing/2014/main" id="{3C6D3ABA-365E-40BF-889E-B91EA4CA0B1D}"/>
                  </a:ext>
                </a:extLst>
              </p:cNvPr>
              <p:cNvSpPr>
                <a:spLocks/>
              </p:cNvSpPr>
              <p:nvPr/>
            </p:nvSpPr>
            <p:spPr bwMode="auto">
              <a:xfrm>
                <a:off x="847" y="1029"/>
                <a:ext cx="5" cy="9"/>
              </a:xfrm>
              <a:custGeom>
                <a:avLst/>
                <a:gdLst>
                  <a:gd name="T0" fmla="*/ 0 w 2"/>
                  <a:gd name="T1" fmla="*/ 0 h 4"/>
                  <a:gd name="T2" fmla="*/ 2 w 2"/>
                  <a:gd name="T3" fmla="*/ 4 h 4"/>
                  <a:gd name="T4" fmla="*/ 0 w 2"/>
                  <a:gd name="T5" fmla="*/ 0 h 4"/>
                </a:gdLst>
                <a:ahLst/>
                <a:cxnLst>
                  <a:cxn ang="0">
                    <a:pos x="T0" y="T1"/>
                  </a:cxn>
                  <a:cxn ang="0">
                    <a:pos x="T2" y="T3"/>
                  </a:cxn>
                  <a:cxn ang="0">
                    <a:pos x="T4" y="T5"/>
                  </a:cxn>
                </a:cxnLst>
                <a:rect l="0" t="0" r="r" b="b"/>
                <a:pathLst>
                  <a:path w="2" h="4">
                    <a:moveTo>
                      <a:pt x="0" y="0"/>
                    </a:moveTo>
                    <a:cubicBezTo>
                      <a:pt x="1" y="1"/>
                      <a:pt x="1" y="3"/>
                      <a:pt x="2" y="4"/>
                    </a:cubicBezTo>
                    <a:cubicBezTo>
                      <a:pt x="2"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5" name="Freeform 1217">
                <a:extLst>
                  <a:ext uri="{FF2B5EF4-FFF2-40B4-BE49-F238E27FC236}">
                    <a16:creationId xmlns:a16="http://schemas.microsoft.com/office/drawing/2014/main" id="{11489DE4-DEFA-4718-AE45-7C701A28979B}"/>
                  </a:ext>
                </a:extLst>
              </p:cNvPr>
              <p:cNvSpPr>
                <a:spLocks/>
              </p:cNvSpPr>
              <p:nvPr/>
            </p:nvSpPr>
            <p:spPr bwMode="auto">
              <a:xfrm>
                <a:off x="2617" y="1040"/>
                <a:ext cx="81" cy="31"/>
              </a:xfrm>
              <a:custGeom>
                <a:avLst/>
                <a:gdLst>
                  <a:gd name="T0" fmla="*/ 18 w 34"/>
                  <a:gd name="T1" fmla="*/ 0 h 13"/>
                  <a:gd name="T2" fmla="*/ 0 w 34"/>
                  <a:gd name="T3" fmla="*/ 6 h 13"/>
                  <a:gd name="T4" fmla="*/ 6 w 34"/>
                  <a:gd name="T5" fmla="*/ 7 h 13"/>
                  <a:gd name="T6" fmla="*/ 6 w 34"/>
                  <a:gd name="T7" fmla="*/ 7 h 13"/>
                  <a:gd name="T8" fmla="*/ 7 w 34"/>
                  <a:gd name="T9" fmla="*/ 7 h 13"/>
                  <a:gd name="T10" fmla="*/ 8 w 34"/>
                  <a:gd name="T11" fmla="*/ 7 h 13"/>
                  <a:gd name="T12" fmla="*/ 8 w 34"/>
                  <a:gd name="T13" fmla="*/ 7 h 13"/>
                  <a:gd name="T14" fmla="*/ 10 w 34"/>
                  <a:gd name="T15" fmla="*/ 12 h 13"/>
                  <a:gd name="T16" fmla="*/ 11 w 34"/>
                  <a:gd name="T17" fmla="*/ 9 h 13"/>
                  <a:gd name="T18" fmla="*/ 12 w 34"/>
                  <a:gd name="T19" fmla="*/ 9 h 13"/>
                  <a:gd name="T20" fmla="*/ 16 w 34"/>
                  <a:gd name="T21" fmla="*/ 13 h 13"/>
                  <a:gd name="T22" fmla="*/ 17 w 34"/>
                  <a:gd name="T23" fmla="*/ 13 h 13"/>
                  <a:gd name="T24" fmla="*/ 21 w 34"/>
                  <a:gd name="T25" fmla="*/ 9 h 13"/>
                  <a:gd name="T26" fmla="*/ 22 w 34"/>
                  <a:gd name="T27" fmla="*/ 10 h 13"/>
                  <a:gd name="T28" fmla="*/ 23 w 34"/>
                  <a:gd name="T29" fmla="*/ 10 h 13"/>
                  <a:gd name="T30" fmla="*/ 25 w 34"/>
                  <a:gd name="T31" fmla="*/ 10 h 13"/>
                  <a:gd name="T32" fmla="*/ 25 w 34"/>
                  <a:gd name="T33" fmla="*/ 10 h 13"/>
                  <a:gd name="T34" fmla="*/ 30 w 34"/>
                  <a:gd name="T35" fmla="*/ 11 h 13"/>
                  <a:gd name="T36" fmla="*/ 30 w 34"/>
                  <a:gd name="T37" fmla="*/ 11 h 13"/>
                  <a:gd name="T38" fmla="*/ 31 w 34"/>
                  <a:gd name="T39" fmla="*/ 4 h 13"/>
                  <a:gd name="T40" fmla="*/ 25 w 34"/>
                  <a:gd name="T41" fmla="*/ 2 h 13"/>
                  <a:gd name="T42" fmla="*/ 23 w 34"/>
                  <a:gd name="T43" fmla="*/ 1 h 13"/>
                  <a:gd name="T44" fmla="*/ 18 w 34"/>
                  <a:gd name="T4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13">
                    <a:moveTo>
                      <a:pt x="18" y="0"/>
                    </a:moveTo>
                    <a:cubicBezTo>
                      <a:pt x="12" y="2"/>
                      <a:pt x="6" y="3"/>
                      <a:pt x="0" y="6"/>
                    </a:cubicBezTo>
                    <a:cubicBezTo>
                      <a:pt x="3" y="6"/>
                      <a:pt x="4" y="7"/>
                      <a:pt x="6" y="7"/>
                    </a:cubicBezTo>
                    <a:cubicBezTo>
                      <a:pt x="6" y="7"/>
                      <a:pt x="6" y="7"/>
                      <a:pt x="6" y="7"/>
                    </a:cubicBezTo>
                    <a:cubicBezTo>
                      <a:pt x="6" y="7"/>
                      <a:pt x="6" y="7"/>
                      <a:pt x="7" y="7"/>
                    </a:cubicBezTo>
                    <a:cubicBezTo>
                      <a:pt x="7" y="7"/>
                      <a:pt x="8" y="7"/>
                      <a:pt x="8" y="7"/>
                    </a:cubicBezTo>
                    <a:cubicBezTo>
                      <a:pt x="8" y="7"/>
                      <a:pt x="8" y="7"/>
                      <a:pt x="8" y="7"/>
                    </a:cubicBezTo>
                    <a:cubicBezTo>
                      <a:pt x="10" y="8"/>
                      <a:pt x="9" y="10"/>
                      <a:pt x="10" y="12"/>
                    </a:cubicBezTo>
                    <a:cubicBezTo>
                      <a:pt x="10" y="11"/>
                      <a:pt x="10" y="9"/>
                      <a:pt x="11" y="9"/>
                    </a:cubicBezTo>
                    <a:cubicBezTo>
                      <a:pt x="12" y="9"/>
                      <a:pt x="12" y="9"/>
                      <a:pt x="12" y="9"/>
                    </a:cubicBezTo>
                    <a:cubicBezTo>
                      <a:pt x="14" y="9"/>
                      <a:pt x="14" y="12"/>
                      <a:pt x="16" y="13"/>
                    </a:cubicBezTo>
                    <a:cubicBezTo>
                      <a:pt x="16" y="13"/>
                      <a:pt x="16" y="13"/>
                      <a:pt x="17" y="13"/>
                    </a:cubicBezTo>
                    <a:cubicBezTo>
                      <a:pt x="19" y="13"/>
                      <a:pt x="22" y="11"/>
                      <a:pt x="21" y="9"/>
                    </a:cubicBezTo>
                    <a:cubicBezTo>
                      <a:pt x="21" y="10"/>
                      <a:pt x="22" y="10"/>
                      <a:pt x="22" y="10"/>
                    </a:cubicBezTo>
                    <a:cubicBezTo>
                      <a:pt x="23" y="10"/>
                      <a:pt x="23" y="10"/>
                      <a:pt x="23" y="10"/>
                    </a:cubicBezTo>
                    <a:cubicBezTo>
                      <a:pt x="24" y="10"/>
                      <a:pt x="24" y="10"/>
                      <a:pt x="25" y="10"/>
                    </a:cubicBezTo>
                    <a:cubicBezTo>
                      <a:pt x="25" y="10"/>
                      <a:pt x="25" y="10"/>
                      <a:pt x="25" y="10"/>
                    </a:cubicBezTo>
                    <a:cubicBezTo>
                      <a:pt x="26" y="10"/>
                      <a:pt x="29" y="11"/>
                      <a:pt x="30" y="11"/>
                    </a:cubicBezTo>
                    <a:cubicBezTo>
                      <a:pt x="30" y="11"/>
                      <a:pt x="30" y="11"/>
                      <a:pt x="30" y="11"/>
                    </a:cubicBezTo>
                    <a:cubicBezTo>
                      <a:pt x="34" y="10"/>
                      <a:pt x="32" y="6"/>
                      <a:pt x="31" y="4"/>
                    </a:cubicBezTo>
                    <a:cubicBezTo>
                      <a:pt x="30" y="3"/>
                      <a:pt x="27" y="2"/>
                      <a:pt x="25" y="2"/>
                    </a:cubicBezTo>
                    <a:cubicBezTo>
                      <a:pt x="24" y="1"/>
                      <a:pt x="24" y="1"/>
                      <a:pt x="23" y="1"/>
                    </a:cubicBezTo>
                    <a:cubicBezTo>
                      <a:pt x="22" y="1"/>
                      <a:pt x="20"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6" name="Freeform 1218">
                <a:extLst>
                  <a:ext uri="{FF2B5EF4-FFF2-40B4-BE49-F238E27FC236}">
                    <a16:creationId xmlns:a16="http://schemas.microsoft.com/office/drawing/2014/main" id="{DB6E4C52-FA7C-4F70-BA9C-950DB86E2A0A}"/>
                  </a:ext>
                </a:extLst>
              </p:cNvPr>
              <p:cNvSpPr>
                <a:spLocks/>
              </p:cNvSpPr>
              <p:nvPr/>
            </p:nvSpPr>
            <p:spPr bwMode="auto">
              <a:xfrm>
                <a:off x="2183" y="1605"/>
                <a:ext cx="30" cy="24"/>
              </a:xfrm>
              <a:custGeom>
                <a:avLst/>
                <a:gdLst>
                  <a:gd name="T0" fmla="*/ 13 w 13"/>
                  <a:gd name="T1" fmla="*/ 0 h 10"/>
                  <a:gd name="T2" fmla="*/ 3 w 13"/>
                  <a:gd name="T3" fmla="*/ 3 h 10"/>
                  <a:gd name="T4" fmla="*/ 5 w 13"/>
                  <a:gd name="T5" fmla="*/ 8 h 10"/>
                  <a:gd name="T6" fmla="*/ 7 w 13"/>
                  <a:gd name="T7" fmla="*/ 10 h 10"/>
                  <a:gd name="T8" fmla="*/ 8 w 13"/>
                  <a:gd name="T9" fmla="*/ 9 h 10"/>
                  <a:gd name="T10" fmla="*/ 13 w 13"/>
                  <a:gd name="T11" fmla="*/ 0 h 10"/>
                </a:gdLst>
                <a:ahLst/>
                <a:cxnLst>
                  <a:cxn ang="0">
                    <a:pos x="T0" y="T1"/>
                  </a:cxn>
                  <a:cxn ang="0">
                    <a:pos x="T2" y="T3"/>
                  </a:cxn>
                  <a:cxn ang="0">
                    <a:pos x="T4" y="T5"/>
                  </a:cxn>
                  <a:cxn ang="0">
                    <a:pos x="T6" y="T7"/>
                  </a:cxn>
                  <a:cxn ang="0">
                    <a:pos x="T8" y="T9"/>
                  </a:cxn>
                  <a:cxn ang="0">
                    <a:pos x="T10" y="T11"/>
                  </a:cxn>
                </a:cxnLst>
                <a:rect l="0" t="0" r="r" b="b"/>
                <a:pathLst>
                  <a:path w="13" h="10">
                    <a:moveTo>
                      <a:pt x="13" y="0"/>
                    </a:moveTo>
                    <a:cubicBezTo>
                      <a:pt x="9" y="0"/>
                      <a:pt x="6" y="2"/>
                      <a:pt x="3" y="3"/>
                    </a:cubicBezTo>
                    <a:cubicBezTo>
                      <a:pt x="0" y="8"/>
                      <a:pt x="2" y="7"/>
                      <a:pt x="5" y="8"/>
                    </a:cubicBezTo>
                    <a:cubicBezTo>
                      <a:pt x="6" y="8"/>
                      <a:pt x="6" y="10"/>
                      <a:pt x="7" y="10"/>
                    </a:cubicBezTo>
                    <a:cubicBezTo>
                      <a:pt x="7" y="10"/>
                      <a:pt x="7" y="10"/>
                      <a:pt x="8" y="9"/>
                    </a:cubicBezTo>
                    <a:cubicBezTo>
                      <a:pt x="10" y="8"/>
                      <a:pt x="13" y="2"/>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7" name="Freeform 1219">
                <a:extLst>
                  <a:ext uri="{FF2B5EF4-FFF2-40B4-BE49-F238E27FC236}">
                    <a16:creationId xmlns:a16="http://schemas.microsoft.com/office/drawing/2014/main" id="{80AE9882-01EA-46DC-880E-BBC5FB3417DD}"/>
                  </a:ext>
                </a:extLst>
              </p:cNvPr>
              <p:cNvSpPr>
                <a:spLocks/>
              </p:cNvSpPr>
              <p:nvPr/>
            </p:nvSpPr>
            <p:spPr bwMode="auto">
              <a:xfrm>
                <a:off x="838" y="1064"/>
                <a:ext cx="24" cy="21"/>
              </a:xfrm>
              <a:custGeom>
                <a:avLst/>
                <a:gdLst>
                  <a:gd name="T0" fmla="*/ 6 w 10"/>
                  <a:gd name="T1" fmla="*/ 0 h 9"/>
                  <a:gd name="T2" fmla="*/ 2 w 10"/>
                  <a:gd name="T3" fmla="*/ 2 h 9"/>
                  <a:gd name="T4" fmla="*/ 1 w 10"/>
                  <a:gd name="T5" fmla="*/ 1 h 9"/>
                  <a:gd name="T6" fmla="*/ 0 w 10"/>
                  <a:gd name="T7" fmla="*/ 2 h 9"/>
                  <a:gd name="T8" fmla="*/ 2 w 10"/>
                  <a:gd name="T9" fmla="*/ 7 h 9"/>
                  <a:gd name="T10" fmla="*/ 2 w 10"/>
                  <a:gd name="T11" fmla="*/ 9 h 9"/>
                  <a:gd name="T12" fmla="*/ 3 w 10"/>
                  <a:gd name="T13" fmla="*/ 9 h 9"/>
                  <a:gd name="T14" fmla="*/ 7 w 10"/>
                  <a:gd name="T15" fmla="*/ 7 h 9"/>
                  <a:gd name="T16" fmla="*/ 6 w 10"/>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9">
                    <a:moveTo>
                      <a:pt x="6" y="0"/>
                    </a:moveTo>
                    <a:cubicBezTo>
                      <a:pt x="4" y="1"/>
                      <a:pt x="3" y="1"/>
                      <a:pt x="2" y="2"/>
                    </a:cubicBezTo>
                    <a:cubicBezTo>
                      <a:pt x="2" y="1"/>
                      <a:pt x="1" y="1"/>
                      <a:pt x="1" y="1"/>
                    </a:cubicBezTo>
                    <a:cubicBezTo>
                      <a:pt x="0" y="1"/>
                      <a:pt x="0" y="1"/>
                      <a:pt x="0" y="2"/>
                    </a:cubicBezTo>
                    <a:cubicBezTo>
                      <a:pt x="0" y="4"/>
                      <a:pt x="1" y="6"/>
                      <a:pt x="2" y="7"/>
                    </a:cubicBezTo>
                    <a:cubicBezTo>
                      <a:pt x="3" y="7"/>
                      <a:pt x="2" y="9"/>
                      <a:pt x="2" y="9"/>
                    </a:cubicBezTo>
                    <a:cubicBezTo>
                      <a:pt x="3" y="9"/>
                      <a:pt x="3" y="9"/>
                      <a:pt x="3" y="9"/>
                    </a:cubicBezTo>
                    <a:cubicBezTo>
                      <a:pt x="4" y="9"/>
                      <a:pt x="6" y="8"/>
                      <a:pt x="7" y="7"/>
                    </a:cubicBezTo>
                    <a:cubicBezTo>
                      <a:pt x="10" y="5"/>
                      <a:pt x="8" y="2"/>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8" name="Freeform 1220">
                <a:extLst>
                  <a:ext uri="{FF2B5EF4-FFF2-40B4-BE49-F238E27FC236}">
                    <a16:creationId xmlns:a16="http://schemas.microsoft.com/office/drawing/2014/main" id="{8197698F-1493-4152-8423-FE44EF12DB61}"/>
                  </a:ext>
                </a:extLst>
              </p:cNvPr>
              <p:cNvSpPr>
                <a:spLocks/>
              </p:cNvSpPr>
              <p:nvPr/>
            </p:nvSpPr>
            <p:spPr bwMode="auto">
              <a:xfrm>
                <a:off x="921" y="1445"/>
                <a:ext cx="626" cy="198"/>
              </a:xfrm>
              <a:custGeom>
                <a:avLst/>
                <a:gdLst>
                  <a:gd name="T0" fmla="*/ 0 w 265"/>
                  <a:gd name="T1" fmla="*/ 26 h 84"/>
                  <a:gd name="T2" fmla="*/ 27 w 265"/>
                  <a:gd name="T3" fmla="*/ 43 h 84"/>
                  <a:gd name="T4" fmla="*/ 34 w 265"/>
                  <a:gd name="T5" fmla="*/ 44 h 84"/>
                  <a:gd name="T6" fmla="*/ 75 w 265"/>
                  <a:gd name="T7" fmla="*/ 54 h 84"/>
                  <a:gd name="T8" fmla="*/ 87 w 265"/>
                  <a:gd name="T9" fmla="*/ 54 h 84"/>
                  <a:gd name="T10" fmla="*/ 98 w 265"/>
                  <a:gd name="T11" fmla="*/ 52 h 84"/>
                  <a:gd name="T12" fmla="*/ 148 w 265"/>
                  <a:gd name="T13" fmla="*/ 65 h 84"/>
                  <a:gd name="T14" fmla="*/ 173 w 265"/>
                  <a:gd name="T15" fmla="*/ 69 h 84"/>
                  <a:gd name="T16" fmla="*/ 183 w 265"/>
                  <a:gd name="T17" fmla="*/ 70 h 84"/>
                  <a:gd name="T18" fmla="*/ 193 w 265"/>
                  <a:gd name="T19" fmla="*/ 71 h 84"/>
                  <a:gd name="T20" fmla="*/ 209 w 265"/>
                  <a:gd name="T21" fmla="*/ 74 h 84"/>
                  <a:gd name="T22" fmla="*/ 223 w 265"/>
                  <a:gd name="T23" fmla="*/ 71 h 84"/>
                  <a:gd name="T24" fmla="*/ 265 w 265"/>
                  <a:gd name="T25" fmla="*/ 84 h 84"/>
                  <a:gd name="T26" fmla="*/ 260 w 265"/>
                  <a:gd name="T27" fmla="*/ 63 h 84"/>
                  <a:gd name="T28" fmla="*/ 248 w 265"/>
                  <a:gd name="T29" fmla="*/ 50 h 84"/>
                  <a:gd name="T30" fmla="*/ 235 w 265"/>
                  <a:gd name="T31" fmla="*/ 53 h 84"/>
                  <a:gd name="T32" fmla="*/ 214 w 265"/>
                  <a:gd name="T33" fmla="*/ 49 h 84"/>
                  <a:gd name="T34" fmla="*/ 209 w 265"/>
                  <a:gd name="T35" fmla="*/ 40 h 84"/>
                  <a:gd name="T36" fmla="*/ 204 w 265"/>
                  <a:gd name="T37" fmla="*/ 28 h 84"/>
                  <a:gd name="T38" fmla="*/ 196 w 265"/>
                  <a:gd name="T39" fmla="*/ 29 h 84"/>
                  <a:gd name="T40" fmla="*/ 168 w 265"/>
                  <a:gd name="T41" fmla="*/ 24 h 84"/>
                  <a:gd name="T42" fmla="*/ 158 w 265"/>
                  <a:gd name="T43" fmla="*/ 15 h 84"/>
                  <a:gd name="T44" fmla="*/ 144 w 265"/>
                  <a:gd name="T45" fmla="*/ 31 h 84"/>
                  <a:gd name="T46" fmla="*/ 120 w 265"/>
                  <a:gd name="T47" fmla="*/ 28 h 84"/>
                  <a:gd name="T48" fmla="*/ 114 w 265"/>
                  <a:gd name="T49" fmla="*/ 28 h 84"/>
                  <a:gd name="T50" fmla="*/ 109 w 265"/>
                  <a:gd name="T51" fmla="*/ 28 h 84"/>
                  <a:gd name="T52" fmla="*/ 90 w 265"/>
                  <a:gd name="T53" fmla="*/ 23 h 84"/>
                  <a:gd name="T54" fmla="*/ 81 w 265"/>
                  <a:gd name="T55" fmla="*/ 11 h 84"/>
                  <a:gd name="T56" fmla="*/ 78 w 265"/>
                  <a:gd name="T57" fmla="*/ 11 h 84"/>
                  <a:gd name="T58" fmla="*/ 65 w 265"/>
                  <a:gd name="T59" fmla="*/ 10 h 84"/>
                  <a:gd name="T60" fmla="*/ 48 w 265"/>
                  <a:gd name="T61" fmla="*/ 1 h 84"/>
                  <a:gd name="T62" fmla="*/ 44 w 265"/>
                  <a:gd name="T63" fmla="*/ 16 h 84"/>
                  <a:gd name="T64" fmla="*/ 37 w 265"/>
                  <a:gd name="T65" fmla="*/ 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5" h="84">
                    <a:moveTo>
                      <a:pt x="16" y="0"/>
                    </a:moveTo>
                    <a:cubicBezTo>
                      <a:pt x="10" y="8"/>
                      <a:pt x="6" y="18"/>
                      <a:pt x="0" y="26"/>
                    </a:cubicBezTo>
                    <a:cubicBezTo>
                      <a:pt x="10" y="27"/>
                      <a:pt x="19" y="29"/>
                      <a:pt x="27" y="32"/>
                    </a:cubicBezTo>
                    <a:cubicBezTo>
                      <a:pt x="33" y="34"/>
                      <a:pt x="29" y="37"/>
                      <a:pt x="27" y="43"/>
                    </a:cubicBezTo>
                    <a:cubicBezTo>
                      <a:pt x="28" y="43"/>
                      <a:pt x="28" y="43"/>
                      <a:pt x="28" y="43"/>
                    </a:cubicBezTo>
                    <a:cubicBezTo>
                      <a:pt x="30" y="43"/>
                      <a:pt x="32" y="44"/>
                      <a:pt x="34" y="44"/>
                    </a:cubicBezTo>
                    <a:cubicBezTo>
                      <a:pt x="41" y="45"/>
                      <a:pt x="49" y="46"/>
                      <a:pt x="56" y="47"/>
                    </a:cubicBezTo>
                    <a:cubicBezTo>
                      <a:pt x="62" y="48"/>
                      <a:pt x="68" y="53"/>
                      <a:pt x="75" y="54"/>
                    </a:cubicBezTo>
                    <a:cubicBezTo>
                      <a:pt x="78" y="55"/>
                      <a:pt x="80" y="55"/>
                      <a:pt x="83" y="55"/>
                    </a:cubicBezTo>
                    <a:cubicBezTo>
                      <a:pt x="84" y="55"/>
                      <a:pt x="85" y="55"/>
                      <a:pt x="87" y="54"/>
                    </a:cubicBezTo>
                    <a:cubicBezTo>
                      <a:pt x="90" y="53"/>
                      <a:pt x="94" y="52"/>
                      <a:pt x="97" y="52"/>
                    </a:cubicBezTo>
                    <a:cubicBezTo>
                      <a:pt x="97" y="52"/>
                      <a:pt x="98" y="52"/>
                      <a:pt x="98" y="52"/>
                    </a:cubicBezTo>
                    <a:cubicBezTo>
                      <a:pt x="108" y="53"/>
                      <a:pt x="117" y="54"/>
                      <a:pt x="126" y="56"/>
                    </a:cubicBezTo>
                    <a:cubicBezTo>
                      <a:pt x="134" y="58"/>
                      <a:pt x="140" y="62"/>
                      <a:pt x="148" y="65"/>
                    </a:cubicBezTo>
                    <a:cubicBezTo>
                      <a:pt x="151" y="66"/>
                      <a:pt x="155" y="68"/>
                      <a:pt x="160" y="68"/>
                    </a:cubicBezTo>
                    <a:cubicBezTo>
                      <a:pt x="164" y="68"/>
                      <a:pt x="169" y="68"/>
                      <a:pt x="173" y="69"/>
                    </a:cubicBezTo>
                    <a:cubicBezTo>
                      <a:pt x="176" y="70"/>
                      <a:pt x="178" y="72"/>
                      <a:pt x="180" y="72"/>
                    </a:cubicBezTo>
                    <a:cubicBezTo>
                      <a:pt x="181" y="72"/>
                      <a:pt x="182" y="71"/>
                      <a:pt x="183" y="70"/>
                    </a:cubicBezTo>
                    <a:cubicBezTo>
                      <a:pt x="183" y="69"/>
                      <a:pt x="183" y="69"/>
                      <a:pt x="184" y="69"/>
                    </a:cubicBezTo>
                    <a:cubicBezTo>
                      <a:pt x="187" y="69"/>
                      <a:pt x="192" y="71"/>
                      <a:pt x="193" y="71"/>
                    </a:cubicBezTo>
                    <a:cubicBezTo>
                      <a:pt x="198" y="71"/>
                      <a:pt x="203" y="72"/>
                      <a:pt x="208" y="74"/>
                    </a:cubicBezTo>
                    <a:cubicBezTo>
                      <a:pt x="208" y="74"/>
                      <a:pt x="209" y="74"/>
                      <a:pt x="209" y="74"/>
                    </a:cubicBezTo>
                    <a:cubicBezTo>
                      <a:pt x="212" y="74"/>
                      <a:pt x="215" y="72"/>
                      <a:pt x="217" y="71"/>
                    </a:cubicBezTo>
                    <a:cubicBezTo>
                      <a:pt x="219" y="71"/>
                      <a:pt x="221" y="71"/>
                      <a:pt x="223" y="71"/>
                    </a:cubicBezTo>
                    <a:cubicBezTo>
                      <a:pt x="230" y="71"/>
                      <a:pt x="235" y="74"/>
                      <a:pt x="242" y="77"/>
                    </a:cubicBezTo>
                    <a:cubicBezTo>
                      <a:pt x="249" y="80"/>
                      <a:pt x="258" y="82"/>
                      <a:pt x="265" y="84"/>
                    </a:cubicBezTo>
                    <a:cubicBezTo>
                      <a:pt x="261" y="80"/>
                      <a:pt x="258" y="77"/>
                      <a:pt x="258" y="71"/>
                    </a:cubicBezTo>
                    <a:cubicBezTo>
                      <a:pt x="258" y="69"/>
                      <a:pt x="259" y="66"/>
                      <a:pt x="260" y="63"/>
                    </a:cubicBezTo>
                    <a:cubicBezTo>
                      <a:pt x="260" y="57"/>
                      <a:pt x="262" y="56"/>
                      <a:pt x="256" y="54"/>
                    </a:cubicBezTo>
                    <a:cubicBezTo>
                      <a:pt x="254" y="53"/>
                      <a:pt x="251" y="50"/>
                      <a:pt x="248" y="50"/>
                    </a:cubicBezTo>
                    <a:cubicBezTo>
                      <a:pt x="248" y="50"/>
                      <a:pt x="248" y="50"/>
                      <a:pt x="248" y="50"/>
                    </a:cubicBezTo>
                    <a:cubicBezTo>
                      <a:pt x="245" y="50"/>
                      <a:pt x="239" y="52"/>
                      <a:pt x="235" y="53"/>
                    </a:cubicBezTo>
                    <a:cubicBezTo>
                      <a:pt x="233" y="53"/>
                      <a:pt x="230" y="53"/>
                      <a:pt x="228" y="53"/>
                    </a:cubicBezTo>
                    <a:cubicBezTo>
                      <a:pt x="223" y="53"/>
                      <a:pt x="219" y="52"/>
                      <a:pt x="214" y="49"/>
                    </a:cubicBezTo>
                    <a:cubicBezTo>
                      <a:pt x="212" y="48"/>
                      <a:pt x="213" y="46"/>
                      <a:pt x="213" y="43"/>
                    </a:cubicBezTo>
                    <a:cubicBezTo>
                      <a:pt x="213" y="41"/>
                      <a:pt x="211" y="41"/>
                      <a:pt x="209" y="40"/>
                    </a:cubicBezTo>
                    <a:cubicBezTo>
                      <a:pt x="206" y="37"/>
                      <a:pt x="207" y="34"/>
                      <a:pt x="207" y="30"/>
                    </a:cubicBezTo>
                    <a:cubicBezTo>
                      <a:pt x="207" y="29"/>
                      <a:pt x="206" y="28"/>
                      <a:pt x="204" y="28"/>
                    </a:cubicBezTo>
                    <a:cubicBezTo>
                      <a:pt x="203" y="28"/>
                      <a:pt x="201" y="28"/>
                      <a:pt x="200" y="29"/>
                    </a:cubicBezTo>
                    <a:cubicBezTo>
                      <a:pt x="198" y="29"/>
                      <a:pt x="197" y="29"/>
                      <a:pt x="196" y="29"/>
                    </a:cubicBezTo>
                    <a:cubicBezTo>
                      <a:pt x="195" y="29"/>
                      <a:pt x="195" y="29"/>
                      <a:pt x="195" y="29"/>
                    </a:cubicBezTo>
                    <a:cubicBezTo>
                      <a:pt x="185" y="26"/>
                      <a:pt x="178" y="24"/>
                      <a:pt x="168" y="24"/>
                    </a:cubicBezTo>
                    <a:cubicBezTo>
                      <a:pt x="164" y="23"/>
                      <a:pt x="161" y="18"/>
                      <a:pt x="159" y="15"/>
                    </a:cubicBezTo>
                    <a:cubicBezTo>
                      <a:pt x="159" y="15"/>
                      <a:pt x="159" y="15"/>
                      <a:pt x="158" y="15"/>
                    </a:cubicBezTo>
                    <a:cubicBezTo>
                      <a:pt x="157" y="15"/>
                      <a:pt x="152" y="17"/>
                      <a:pt x="151" y="18"/>
                    </a:cubicBezTo>
                    <a:cubicBezTo>
                      <a:pt x="151" y="21"/>
                      <a:pt x="148" y="31"/>
                      <a:pt x="144" y="31"/>
                    </a:cubicBezTo>
                    <a:cubicBezTo>
                      <a:pt x="144" y="31"/>
                      <a:pt x="144" y="31"/>
                      <a:pt x="144" y="31"/>
                    </a:cubicBezTo>
                    <a:cubicBezTo>
                      <a:pt x="136" y="30"/>
                      <a:pt x="128" y="29"/>
                      <a:pt x="120" y="28"/>
                    </a:cubicBezTo>
                    <a:cubicBezTo>
                      <a:pt x="120" y="28"/>
                      <a:pt x="119" y="28"/>
                      <a:pt x="118" y="28"/>
                    </a:cubicBezTo>
                    <a:cubicBezTo>
                      <a:pt x="117" y="28"/>
                      <a:pt x="116" y="28"/>
                      <a:pt x="114" y="28"/>
                    </a:cubicBezTo>
                    <a:cubicBezTo>
                      <a:pt x="113" y="28"/>
                      <a:pt x="112" y="28"/>
                      <a:pt x="110" y="28"/>
                    </a:cubicBezTo>
                    <a:cubicBezTo>
                      <a:pt x="110" y="28"/>
                      <a:pt x="109" y="28"/>
                      <a:pt x="109" y="28"/>
                    </a:cubicBezTo>
                    <a:cubicBezTo>
                      <a:pt x="106" y="28"/>
                      <a:pt x="102" y="27"/>
                      <a:pt x="99" y="27"/>
                    </a:cubicBezTo>
                    <a:cubicBezTo>
                      <a:pt x="96" y="26"/>
                      <a:pt x="91" y="27"/>
                      <a:pt x="90" y="23"/>
                    </a:cubicBezTo>
                    <a:cubicBezTo>
                      <a:pt x="89" y="18"/>
                      <a:pt x="87" y="16"/>
                      <a:pt x="84" y="12"/>
                    </a:cubicBezTo>
                    <a:cubicBezTo>
                      <a:pt x="83" y="11"/>
                      <a:pt x="82" y="11"/>
                      <a:pt x="81" y="11"/>
                    </a:cubicBezTo>
                    <a:cubicBezTo>
                      <a:pt x="80" y="11"/>
                      <a:pt x="80" y="11"/>
                      <a:pt x="79" y="11"/>
                    </a:cubicBezTo>
                    <a:cubicBezTo>
                      <a:pt x="79" y="11"/>
                      <a:pt x="79" y="11"/>
                      <a:pt x="78" y="11"/>
                    </a:cubicBezTo>
                    <a:cubicBezTo>
                      <a:pt x="78" y="11"/>
                      <a:pt x="78" y="11"/>
                      <a:pt x="78" y="11"/>
                    </a:cubicBezTo>
                    <a:cubicBezTo>
                      <a:pt x="74" y="11"/>
                      <a:pt x="69" y="11"/>
                      <a:pt x="65" y="10"/>
                    </a:cubicBezTo>
                    <a:cubicBezTo>
                      <a:pt x="61" y="10"/>
                      <a:pt x="58" y="7"/>
                      <a:pt x="55" y="6"/>
                    </a:cubicBezTo>
                    <a:cubicBezTo>
                      <a:pt x="54" y="5"/>
                      <a:pt x="51" y="3"/>
                      <a:pt x="48" y="1"/>
                    </a:cubicBezTo>
                    <a:cubicBezTo>
                      <a:pt x="50" y="3"/>
                      <a:pt x="52" y="5"/>
                      <a:pt x="52" y="8"/>
                    </a:cubicBezTo>
                    <a:cubicBezTo>
                      <a:pt x="52" y="13"/>
                      <a:pt x="49" y="16"/>
                      <a:pt x="44" y="16"/>
                    </a:cubicBezTo>
                    <a:cubicBezTo>
                      <a:pt x="40" y="16"/>
                      <a:pt x="36" y="13"/>
                      <a:pt x="36" y="8"/>
                    </a:cubicBezTo>
                    <a:cubicBezTo>
                      <a:pt x="36" y="7"/>
                      <a:pt x="37" y="6"/>
                      <a:pt x="37" y="5"/>
                    </a:cubicBezTo>
                    <a:cubicBezTo>
                      <a:pt x="30" y="4"/>
                      <a:pt x="23" y="2"/>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9" name="Freeform 1221">
                <a:extLst>
                  <a:ext uri="{FF2B5EF4-FFF2-40B4-BE49-F238E27FC236}">
                    <a16:creationId xmlns:a16="http://schemas.microsoft.com/office/drawing/2014/main" id="{0BE88C47-83D1-453C-AA67-8356C1F4BFB9}"/>
                  </a:ext>
                </a:extLst>
              </p:cNvPr>
              <p:cNvSpPr>
                <a:spLocks/>
              </p:cNvSpPr>
              <p:nvPr/>
            </p:nvSpPr>
            <p:spPr bwMode="auto">
              <a:xfrm>
                <a:off x="689" y="943"/>
                <a:ext cx="28" cy="34"/>
              </a:xfrm>
              <a:custGeom>
                <a:avLst/>
                <a:gdLst>
                  <a:gd name="T0" fmla="*/ 4 w 12"/>
                  <a:gd name="T1" fmla="*/ 0 h 14"/>
                  <a:gd name="T2" fmla="*/ 8 w 12"/>
                  <a:gd name="T3" fmla="*/ 14 h 14"/>
                  <a:gd name="T4" fmla="*/ 8 w 12"/>
                  <a:gd name="T5" fmla="*/ 2 h 14"/>
                  <a:gd name="T6" fmla="*/ 4 w 12"/>
                  <a:gd name="T7" fmla="*/ 0 h 14"/>
                </a:gdLst>
                <a:ahLst/>
                <a:cxnLst>
                  <a:cxn ang="0">
                    <a:pos x="T0" y="T1"/>
                  </a:cxn>
                  <a:cxn ang="0">
                    <a:pos x="T2" y="T3"/>
                  </a:cxn>
                  <a:cxn ang="0">
                    <a:pos x="T4" y="T5"/>
                  </a:cxn>
                  <a:cxn ang="0">
                    <a:pos x="T6" y="T7"/>
                  </a:cxn>
                </a:cxnLst>
                <a:rect l="0" t="0" r="r" b="b"/>
                <a:pathLst>
                  <a:path w="12" h="14">
                    <a:moveTo>
                      <a:pt x="4" y="0"/>
                    </a:moveTo>
                    <a:cubicBezTo>
                      <a:pt x="0" y="2"/>
                      <a:pt x="6" y="11"/>
                      <a:pt x="8" y="14"/>
                    </a:cubicBezTo>
                    <a:cubicBezTo>
                      <a:pt x="10" y="9"/>
                      <a:pt x="12" y="6"/>
                      <a:pt x="8" y="2"/>
                    </a:cubicBezTo>
                    <a:cubicBezTo>
                      <a:pt x="7"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0" name="Freeform 1222">
                <a:extLst>
                  <a:ext uri="{FF2B5EF4-FFF2-40B4-BE49-F238E27FC236}">
                    <a16:creationId xmlns:a16="http://schemas.microsoft.com/office/drawing/2014/main" id="{2D105FCB-F1B9-4C76-BE01-D05F55444177}"/>
                  </a:ext>
                </a:extLst>
              </p:cNvPr>
              <p:cNvSpPr>
                <a:spLocks/>
              </p:cNvSpPr>
              <p:nvPr/>
            </p:nvSpPr>
            <p:spPr bwMode="auto">
              <a:xfrm>
                <a:off x="2218" y="1151"/>
                <a:ext cx="64" cy="26"/>
              </a:xfrm>
              <a:custGeom>
                <a:avLst/>
                <a:gdLst>
                  <a:gd name="T0" fmla="*/ 5 w 27"/>
                  <a:gd name="T1" fmla="*/ 0 h 11"/>
                  <a:gd name="T2" fmla="*/ 1 w 27"/>
                  <a:gd name="T3" fmla="*/ 1 h 11"/>
                  <a:gd name="T4" fmla="*/ 1 w 27"/>
                  <a:gd name="T5" fmla="*/ 11 h 11"/>
                  <a:gd name="T6" fmla="*/ 9 w 27"/>
                  <a:gd name="T7" fmla="*/ 10 h 11"/>
                  <a:gd name="T8" fmla="*/ 13 w 27"/>
                  <a:gd name="T9" fmla="*/ 8 h 11"/>
                  <a:gd name="T10" fmla="*/ 13 w 27"/>
                  <a:gd name="T11" fmla="*/ 8 h 11"/>
                  <a:gd name="T12" fmla="*/ 19 w 27"/>
                  <a:gd name="T13" fmla="*/ 9 h 11"/>
                  <a:gd name="T14" fmla="*/ 25 w 27"/>
                  <a:gd name="T15" fmla="*/ 8 h 11"/>
                  <a:gd name="T16" fmla="*/ 27 w 27"/>
                  <a:gd name="T17" fmla="*/ 5 h 11"/>
                  <a:gd name="T18" fmla="*/ 26 w 27"/>
                  <a:gd name="T19" fmla="*/ 3 h 11"/>
                  <a:gd name="T20" fmla="*/ 26 w 27"/>
                  <a:gd name="T21" fmla="*/ 3 h 11"/>
                  <a:gd name="T22" fmla="*/ 25 w 27"/>
                  <a:gd name="T23" fmla="*/ 4 h 11"/>
                  <a:gd name="T24" fmla="*/ 24 w 27"/>
                  <a:gd name="T25" fmla="*/ 5 h 11"/>
                  <a:gd name="T26" fmla="*/ 24 w 27"/>
                  <a:gd name="T27" fmla="*/ 5 h 11"/>
                  <a:gd name="T28" fmla="*/ 24 w 27"/>
                  <a:gd name="T29" fmla="*/ 3 h 11"/>
                  <a:gd name="T30" fmla="*/ 24 w 27"/>
                  <a:gd name="T31" fmla="*/ 3 h 11"/>
                  <a:gd name="T32" fmla="*/ 21 w 27"/>
                  <a:gd name="T33" fmla="*/ 2 h 11"/>
                  <a:gd name="T34" fmla="*/ 21 w 27"/>
                  <a:gd name="T35" fmla="*/ 2 h 11"/>
                  <a:gd name="T36" fmla="*/ 19 w 27"/>
                  <a:gd name="T37" fmla="*/ 4 h 11"/>
                  <a:gd name="T38" fmla="*/ 19 w 27"/>
                  <a:gd name="T39" fmla="*/ 4 h 11"/>
                  <a:gd name="T40" fmla="*/ 18 w 27"/>
                  <a:gd name="T41" fmla="*/ 3 h 11"/>
                  <a:gd name="T42" fmla="*/ 5 w 27"/>
                  <a:gd name="T4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11">
                    <a:moveTo>
                      <a:pt x="5" y="0"/>
                    </a:moveTo>
                    <a:cubicBezTo>
                      <a:pt x="4" y="0"/>
                      <a:pt x="2" y="0"/>
                      <a:pt x="1" y="1"/>
                    </a:cubicBezTo>
                    <a:cubicBezTo>
                      <a:pt x="1" y="4"/>
                      <a:pt x="0" y="8"/>
                      <a:pt x="1" y="11"/>
                    </a:cubicBezTo>
                    <a:cubicBezTo>
                      <a:pt x="4" y="11"/>
                      <a:pt x="6" y="11"/>
                      <a:pt x="9" y="10"/>
                    </a:cubicBezTo>
                    <a:cubicBezTo>
                      <a:pt x="11" y="9"/>
                      <a:pt x="11" y="8"/>
                      <a:pt x="13" y="8"/>
                    </a:cubicBezTo>
                    <a:cubicBezTo>
                      <a:pt x="13" y="8"/>
                      <a:pt x="13" y="8"/>
                      <a:pt x="13" y="8"/>
                    </a:cubicBezTo>
                    <a:cubicBezTo>
                      <a:pt x="15" y="9"/>
                      <a:pt x="17" y="9"/>
                      <a:pt x="19" y="9"/>
                    </a:cubicBezTo>
                    <a:cubicBezTo>
                      <a:pt x="21" y="9"/>
                      <a:pt x="23" y="8"/>
                      <a:pt x="25" y="8"/>
                    </a:cubicBezTo>
                    <a:cubicBezTo>
                      <a:pt x="27" y="7"/>
                      <a:pt x="27" y="7"/>
                      <a:pt x="27" y="5"/>
                    </a:cubicBezTo>
                    <a:cubicBezTo>
                      <a:pt x="26" y="3"/>
                      <a:pt x="26" y="3"/>
                      <a:pt x="26" y="3"/>
                    </a:cubicBezTo>
                    <a:cubicBezTo>
                      <a:pt x="26" y="3"/>
                      <a:pt x="26" y="3"/>
                      <a:pt x="26" y="3"/>
                    </a:cubicBezTo>
                    <a:cubicBezTo>
                      <a:pt x="25" y="3"/>
                      <a:pt x="24" y="3"/>
                      <a:pt x="25" y="4"/>
                    </a:cubicBezTo>
                    <a:cubicBezTo>
                      <a:pt x="25" y="4"/>
                      <a:pt x="24" y="5"/>
                      <a:pt x="24" y="5"/>
                    </a:cubicBezTo>
                    <a:cubicBezTo>
                      <a:pt x="24" y="5"/>
                      <a:pt x="24" y="5"/>
                      <a:pt x="24" y="5"/>
                    </a:cubicBezTo>
                    <a:cubicBezTo>
                      <a:pt x="24" y="4"/>
                      <a:pt x="24" y="3"/>
                      <a:pt x="24" y="3"/>
                    </a:cubicBezTo>
                    <a:cubicBezTo>
                      <a:pt x="24" y="3"/>
                      <a:pt x="24" y="3"/>
                      <a:pt x="24" y="3"/>
                    </a:cubicBezTo>
                    <a:cubicBezTo>
                      <a:pt x="22" y="3"/>
                      <a:pt x="22" y="2"/>
                      <a:pt x="21" y="2"/>
                    </a:cubicBezTo>
                    <a:cubicBezTo>
                      <a:pt x="21" y="2"/>
                      <a:pt x="21" y="2"/>
                      <a:pt x="21" y="2"/>
                    </a:cubicBezTo>
                    <a:cubicBezTo>
                      <a:pt x="21" y="2"/>
                      <a:pt x="20" y="4"/>
                      <a:pt x="19" y="4"/>
                    </a:cubicBezTo>
                    <a:cubicBezTo>
                      <a:pt x="19" y="4"/>
                      <a:pt x="19" y="4"/>
                      <a:pt x="19" y="4"/>
                    </a:cubicBezTo>
                    <a:cubicBezTo>
                      <a:pt x="18" y="4"/>
                      <a:pt x="19" y="3"/>
                      <a:pt x="18" y="3"/>
                    </a:cubicBezTo>
                    <a:cubicBezTo>
                      <a:pt x="15" y="2"/>
                      <a:pt x="9"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1" name="Freeform 1223">
                <a:extLst>
                  <a:ext uri="{FF2B5EF4-FFF2-40B4-BE49-F238E27FC236}">
                    <a16:creationId xmlns:a16="http://schemas.microsoft.com/office/drawing/2014/main" id="{B67ADAB1-2FF1-4D80-A37F-EAAC8AB84D0E}"/>
                  </a:ext>
                </a:extLst>
              </p:cNvPr>
              <p:cNvSpPr>
                <a:spLocks/>
              </p:cNvSpPr>
              <p:nvPr/>
            </p:nvSpPr>
            <p:spPr bwMode="auto">
              <a:xfrm>
                <a:off x="2138" y="1603"/>
                <a:ext cx="49" cy="26"/>
              </a:xfrm>
              <a:custGeom>
                <a:avLst/>
                <a:gdLst>
                  <a:gd name="T0" fmla="*/ 17 w 21"/>
                  <a:gd name="T1" fmla="*/ 0 h 11"/>
                  <a:gd name="T2" fmla="*/ 14 w 21"/>
                  <a:gd name="T3" fmla="*/ 2 h 11"/>
                  <a:gd name="T4" fmla="*/ 14 w 21"/>
                  <a:gd name="T5" fmla="*/ 2 h 11"/>
                  <a:gd name="T6" fmla="*/ 13 w 21"/>
                  <a:gd name="T7" fmla="*/ 1 h 11"/>
                  <a:gd name="T8" fmla="*/ 13 w 21"/>
                  <a:gd name="T9" fmla="*/ 1 h 11"/>
                  <a:gd name="T10" fmla="*/ 13 w 21"/>
                  <a:gd name="T11" fmla="*/ 1 h 11"/>
                  <a:gd name="T12" fmla="*/ 12 w 21"/>
                  <a:gd name="T13" fmla="*/ 3 h 11"/>
                  <a:gd name="T14" fmla="*/ 10 w 21"/>
                  <a:gd name="T15" fmla="*/ 5 h 11"/>
                  <a:gd name="T16" fmla="*/ 10 w 21"/>
                  <a:gd name="T17" fmla="*/ 5 h 11"/>
                  <a:gd name="T18" fmla="*/ 9 w 21"/>
                  <a:gd name="T19" fmla="*/ 2 h 11"/>
                  <a:gd name="T20" fmla="*/ 5 w 21"/>
                  <a:gd name="T21" fmla="*/ 2 h 11"/>
                  <a:gd name="T22" fmla="*/ 0 w 21"/>
                  <a:gd name="T23" fmla="*/ 10 h 11"/>
                  <a:gd name="T24" fmla="*/ 6 w 21"/>
                  <a:gd name="T25" fmla="*/ 11 h 11"/>
                  <a:gd name="T26" fmla="*/ 8 w 21"/>
                  <a:gd name="T27" fmla="*/ 11 h 11"/>
                  <a:gd name="T28" fmla="*/ 11 w 21"/>
                  <a:gd name="T29" fmla="*/ 11 h 11"/>
                  <a:gd name="T30" fmla="*/ 11 w 21"/>
                  <a:gd name="T31" fmla="*/ 9 h 11"/>
                  <a:gd name="T32" fmla="*/ 11 w 21"/>
                  <a:gd name="T33" fmla="*/ 9 h 11"/>
                  <a:gd name="T34" fmla="*/ 11 w 21"/>
                  <a:gd name="T35" fmla="*/ 8 h 11"/>
                  <a:gd name="T36" fmla="*/ 14 w 21"/>
                  <a:gd name="T37" fmla="*/ 7 h 11"/>
                  <a:gd name="T38" fmla="*/ 21 w 21"/>
                  <a:gd name="T39" fmla="*/ 1 h 11"/>
                  <a:gd name="T40" fmla="*/ 17 w 21"/>
                  <a:gd name="T4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11">
                    <a:moveTo>
                      <a:pt x="17" y="0"/>
                    </a:moveTo>
                    <a:cubicBezTo>
                      <a:pt x="16" y="0"/>
                      <a:pt x="15" y="1"/>
                      <a:pt x="14" y="2"/>
                    </a:cubicBezTo>
                    <a:cubicBezTo>
                      <a:pt x="14" y="2"/>
                      <a:pt x="14" y="2"/>
                      <a:pt x="14" y="2"/>
                    </a:cubicBezTo>
                    <a:cubicBezTo>
                      <a:pt x="14" y="2"/>
                      <a:pt x="13" y="2"/>
                      <a:pt x="13" y="1"/>
                    </a:cubicBezTo>
                    <a:cubicBezTo>
                      <a:pt x="13" y="1"/>
                      <a:pt x="13" y="1"/>
                      <a:pt x="13" y="1"/>
                    </a:cubicBezTo>
                    <a:cubicBezTo>
                      <a:pt x="13" y="1"/>
                      <a:pt x="13" y="1"/>
                      <a:pt x="13" y="1"/>
                    </a:cubicBezTo>
                    <a:cubicBezTo>
                      <a:pt x="12" y="2"/>
                      <a:pt x="13" y="3"/>
                      <a:pt x="12" y="3"/>
                    </a:cubicBezTo>
                    <a:cubicBezTo>
                      <a:pt x="11" y="4"/>
                      <a:pt x="11" y="5"/>
                      <a:pt x="10" y="5"/>
                    </a:cubicBezTo>
                    <a:cubicBezTo>
                      <a:pt x="10" y="5"/>
                      <a:pt x="10" y="5"/>
                      <a:pt x="10" y="5"/>
                    </a:cubicBezTo>
                    <a:cubicBezTo>
                      <a:pt x="7" y="5"/>
                      <a:pt x="11" y="2"/>
                      <a:pt x="9" y="2"/>
                    </a:cubicBezTo>
                    <a:cubicBezTo>
                      <a:pt x="8" y="2"/>
                      <a:pt x="7" y="2"/>
                      <a:pt x="5" y="2"/>
                    </a:cubicBezTo>
                    <a:cubicBezTo>
                      <a:pt x="11" y="6"/>
                      <a:pt x="3" y="8"/>
                      <a:pt x="0" y="10"/>
                    </a:cubicBezTo>
                    <a:cubicBezTo>
                      <a:pt x="2" y="11"/>
                      <a:pt x="5" y="11"/>
                      <a:pt x="6" y="11"/>
                    </a:cubicBezTo>
                    <a:cubicBezTo>
                      <a:pt x="7" y="11"/>
                      <a:pt x="8" y="11"/>
                      <a:pt x="8" y="11"/>
                    </a:cubicBezTo>
                    <a:cubicBezTo>
                      <a:pt x="9" y="11"/>
                      <a:pt x="10" y="11"/>
                      <a:pt x="11" y="11"/>
                    </a:cubicBezTo>
                    <a:cubicBezTo>
                      <a:pt x="11" y="10"/>
                      <a:pt x="11" y="9"/>
                      <a:pt x="11" y="9"/>
                    </a:cubicBezTo>
                    <a:cubicBezTo>
                      <a:pt x="11" y="9"/>
                      <a:pt x="11" y="9"/>
                      <a:pt x="11" y="9"/>
                    </a:cubicBezTo>
                    <a:cubicBezTo>
                      <a:pt x="11" y="9"/>
                      <a:pt x="11" y="8"/>
                      <a:pt x="11" y="8"/>
                    </a:cubicBezTo>
                    <a:cubicBezTo>
                      <a:pt x="12" y="7"/>
                      <a:pt x="13" y="7"/>
                      <a:pt x="14" y="7"/>
                    </a:cubicBezTo>
                    <a:cubicBezTo>
                      <a:pt x="16" y="6"/>
                      <a:pt x="19" y="3"/>
                      <a:pt x="21" y="1"/>
                    </a:cubicBezTo>
                    <a:cubicBezTo>
                      <a:pt x="19" y="1"/>
                      <a:pt x="18"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2" name="Freeform 1224">
                <a:extLst>
                  <a:ext uri="{FF2B5EF4-FFF2-40B4-BE49-F238E27FC236}">
                    <a16:creationId xmlns:a16="http://schemas.microsoft.com/office/drawing/2014/main" id="{21C4A3D2-472F-4D42-B8B1-81C61D5AD205}"/>
                  </a:ext>
                </a:extLst>
              </p:cNvPr>
              <p:cNvSpPr>
                <a:spLocks/>
              </p:cNvSpPr>
              <p:nvPr/>
            </p:nvSpPr>
            <p:spPr bwMode="auto">
              <a:xfrm>
                <a:off x="502" y="1177"/>
                <a:ext cx="33" cy="26"/>
              </a:xfrm>
              <a:custGeom>
                <a:avLst/>
                <a:gdLst>
                  <a:gd name="T0" fmla="*/ 7 w 14"/>
                  <a:gd name="T1" fmla="*/ 0 h 11"/>
                  <a:gd name="T2" fmla="*/ 6 w 14"/>
                  <a:gd name="T3" fmla="*/ 1 h 11"/>
                  <a:gd name="T4" fmla="*/ 14 w 14"/>
                  <a:gd name="T5" fmla="*/ 11 h 11"/>
                  <a:gd name="T6" fmla="*/ 9 w 14"/>
                  <a:gd name="T7" fmla="*/ 2 h 11"/>
                  <a:gd name="T8" fmla="*/ 7 w 14"/>
                  <a:gd name="T9" fmla="*/ 0 h 11"/>
                </a:gdLst>
                <a:ahLst/>
                <a:cxnLst>
                  <a:cxn ang="0">
                    <a:pos x="T0" y="T1"/>
                  </a:cxn>
                  <a:cxn ang="0">
                    <a:pos x="T2" y="T3"/>
                  </a:cxn>
                  <a:cxn ang="0">
                    <a:pos x="T4" y="T5"/>
                  </a:cxn>
                  <a:cxn ang="0">
                    <a:pos x="T6" y="T7"/>
                  </a:cxn>
                  <a:cxn ang="0">
                    <a:pos x="T8" y="T9"/>
                  </a:cxn>
                </a:cxnLst>
                <a:rect l="0" t="0" r="r" b="b"/>
                <a:pathLst>
                  <a:path w="14" h="11">
                    <a:moveTo>
                      <a:pt x="7" y="0"/>
                    </a:moveTo>
                    <a:cubicBezTo>
                      <a:pt x="6" y="0"/>
                      <a:pt x="6" y="0"/>
                      <a:pt x="6" y="1"/>
                    </a:cubicBezTo>
                    <a:cubicBezTo>
                      <a:pt x="0" y="5"/>
                      <a:pt x="13" y="10"/>
                      <a:pt x="14" y="11"/>
                    </a:cubicBezTo>
                    <a:cubicBezTo>
                      <a:pt x="13" y="9"/>
                      <a:pt x="10" y="3"/>
                      <a:pt x="9" y="2"/>
                    </a:cubicBezTo>
                    <a:cubicBezTo>
                      <a:pt x="8" y="1"/>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3" name="Freeform 1225">
                <a:extLst>
                  <a:ext uri="{FF2B5EF4-FFF2-40B4-BE49-F238E27FC236}">
                    <a16:creationId xmlns:a16="http://schemas.microsoft.com/office/drawing/2014/main" id="{E841AF44-53BD-4FAE-9BDC-3A41C08BFA56}"/>
                  </a:ext>
                </a:extLst>
              </p:cNvPr>
              <p:cNvSpPr>
                <a:spLocks/>
              </p:cNvSpPr>
              <p:nvPr/>
            </p:nvSpPr>
            <p:spPr bwMode="auto">
              <a:xfrm>
                <a:off x="1752" y="757"/>
                <a:ext cx="8" cy="9"/>
              </a:xfrm>
              <a:custGeom>
                <a:avLst/>
                <a:gdLst>
                  <a:gd name="T0" fmla="*/ 0 w 3"/>
                  <a:gd name="T1" fmla="*/ 0 h 4"/>
                  <a:gd name="T2" fmla="*/ 1 w 3"/>
                  <a:gd name="T3" fmla="*/ 3 h 4"/>
                  <a:gd name="T4" fmla="*/ 1 w 3"/>
                  <a:gd name="T5" fmla="*/ 3 h 4"/>
                  <a:gd name="T6" fmla="*/ 2 w 3"/>
                  <a:gd name="T7" fmla="*/ 4 h 4"/>
                  <a:gd name="T8" fmla="*/ 3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0" y="1"/>
                      <a:pt x="1" y="2"/>
                      <a:pt x="1" y="3"/>
                    </a:cubicBezTo>
                    <a:cubicBezTo>
                      <a:pt x="1" y="3"/>
                      <a:pt x="1" y="3"/>
                      <a:pt x="1" y="3"/>
                    </a:cubicBezTo>
                    <a:cubicBezTo>
                      <a:pt x="2" y="4"/>
                      <a:pt x="2" y="4"/>
                      <a:pt x="2" y="4"/>
                    </a:cubicBezTo>
                    <a:cubicBezTo>
                      <a:pt x="2" y="4"/>
                      <a:pt x="3" y="4"/>
                      <a:pt x="3" y="4"/>
                    </a:cubicBezTo>
                    <a:cubicBezTo>
                      <a:pt x="3" y="3"/>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4" name="Freeform 1226">
                <a:extLst>
                  <a:ext uri="{FF2B5EF4-FFF2-40B4-BE49-F238E27FC236}">
                    <a16:creationId xmlns:a16="http://schemas.microsoft.com/office/drawing/2014/main" id="{07EB7DC3-A100-4424-BAAC-2E277BE7ADF7}"/>
                  </a:ext>
                </a:extLst>
              </p:cNvPr>
              <p:cNvSpPr>
                <a:spLocks/>
              </p:cNvSpPr>
              <p:nvPr/>
            </p:nvSpPr>
            <p:spPr bwMode="auto">
              <a:xfrm>
                <a:off x="3128" y="1546"/>
                <a:ext cx="97" cy="73"/>
              </a:xfrm>
              <a:custGeom>
                <a:avLst/>
                <a:gdLst>
                  <a:gd name="T0" fmla="*/ 30 w 41"/>
                  <a:gd name="T1" fmla="*/ 0 h 31"/>
                  <a:gd name="T2" fmla="*/ 19 w 41"/>
                  <a:gd name="T3" fmla="*/ 2 h 31"/>
                  <a:gd name="T4" fmla="*/ 6 w 41"/>
                  <a:gd name="T5" fmla="*/ 15 h 31"/>
                  <a:gd name="T6" fmla="*/ 0 w 41"/>
                  <a:gd name="T7" fmla="*/ 31 h 31"/>
                  <a:gd name="T8" fmla="*/ 3 w 41"/>
                  <a:gd name="T9" fmla="*/ 30 h 31"/>
                  <a:gd name="T10" fmla="*/ 9 w 41"/>
                  <a:gd name="T11" fmla="*/ 30 h 31"/>
                  <a:gd name="T12" fmla="*/ 12 w 41"/>
                  <a:gd name="T13" fmla="*/ 30 h 31"/>
                  <a:gd name="T14" fmla="*/ 19 w 41"/>
                  <a:gd name="T15" fmla="*/ 31 h 31"/>
                  <a:gd name="T16" fmla="*/ 23 w 41"/>
                  <a:gd name="T17" fmla="*/ 30 h 31"/>
                  <a:gd name="T18" fmla="*/ 28 w 41"/>
                  <a:gd name="T19" fmla="*/ 25 h 31"/>
                  <a:gd name="T20" fmla="*/ 31 w 41"/>
                  <a:gd name="T21" fmla="*/ 23 h 31"/>
                  <a:gd name="T22" fmla="*/ 36 w 41"/>
                  <a:gd name="T23" fmla="*/ 20 h 31"/>
                  <a:gd name="T24" fmla="*/ 36 w 41"/>
                  <a:gd name="T25" fmla="*/ 17 h 31"/>
                  <a:gd name="T26" fmla="*/ 39 w 41"/>
                  <a:gd name="T27" fmla="*/ 14 h 31"/>
                  <a:gd name="T28" fmla="*/ 39 w 41"/>
                  <a:gd name="T29" fmla="*/ 11 h 31"/>
                  <a:gd name="T30" fmla="*/ 40 w 41"/>
                  <a:gd name="T31" fmla="*/ 7 h 31"/>
                  <a:gd name="T32" fmla="*/ 36 w 41"/>
                  <a:gd name="T33" fmla="*/ 4 h 31"/>
                  <a:gd name="T34" fmla="*/ 30 w 41"/>
                  <a:gd name="T35" fmla="*/ 0 h 31"/>
                  <a:gd name="T36" fmla="*/ 30 w 41"/>
                  <a:gd name="T3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1" h="31">
                    <a:moveTo>
                      <a:pt x="30" y="0"/>
                    </a:moveTo>
                    <a:cubicBezTo>
                      <a:pt x="27" y="0"/>
                      <a:pt x="22" y="1"/>
                      <a:pt x="19" y="2"/>
                    </a:cubicBezTo>
                    <a:cubicBezTo>
                      <a:pt x="13" y="6"/>
                      <a:pt x="10" y="8"/>
                      <a:pt x="6" y="15"/>
                    </a:cubicBezTo>
                    <a:cubicBezTo>
                      <a:pt x="4" y="20"/>
                      <a:pt x="1" y="26"/>
                      <a:pt x="0" y="31"/>
                    </a:cubicBezTo>
                    <a:cubicBezTo>
                      <a:pt x="1" y="31"/>
                      <a:pt x="2" y="30"/>
                      <a:pt x="3" y="30"/>
                    </a:cubicBezTo>
                    <a:cubicBezTo>
                      <a:pt x="5" y="30"/>
                      <a:pt x="7" y="30"/>
                      <a:pt x="9" y="30"/>
                    </a:cubicBezTo>
                    <a:cubicBezTo>
                      <a:pt x="10" y="30"/>
                      <a:pt x="11" y="30"/>
                      <a:pt x="12" y="30"/>
                    </a:cubicBezTo>
                    <a:cubicBezTo>
                      <a:pt x="14" y="30"/>
                      <a:pt x="17" y="31"/>
                      <a:pt x="19" y="31"/>
                    </a:cubicBezTo>
                    <a:cubicBezTo>
                      <a:pt x="20" y="31"/>
                      <a:pt x="21" y="30"/>
                      <a:pt x="23" y="30"/>
                    </a:cubicBezTo>
                    <a:cubicBezTo>
                      <a:pt x="24" y="29"/>
                      <a:pt x="26" y="27"/>
                      <a:pt x="28" y="25"/>
                    </a:cubicBezTo>
                    <a:cubicBezTo>
                      <a:pt x="29" y="24"/>
                      <a:pt x="29" y="24"/>
                      <a:pt x="31" y="23"/>
                    </a:cubicBezTo>
                    <a:cubicBezTo>
                      <a:pt x="32" y="22"/>
                      <a:pt x="35" y="23"/>
                      <a:pt x="36" y="20"/>
                    </a:cubicBezTo>
                    <a:cubicBezTo>
                      <a:pt x="37" y="20"/>
                      <a:pt x="36" y="18"/>
                      <a:pt x="36" y="17"/>
                    </a:cubicBezTo>
                    <a:cubicBezTo>
                      <a:pt x="36" y="15"/>
                      <a:pt x="38" y="15"/>
                      <a:pt x="39" y="14"/>
                    </a:cubicBezTo>
                    <a:cubicBezTo>
                      <a:pt x="39" y="13"/>
                      <a:pt x="38" y="12"/>
                      <a:pt x="39" y="11"/>
                    </a:cubicBezTo>
                    <a:cubicBezTo>
                      <a:pt x="40" y="10"/>
                      <a:pt x="41" y="8"/>
                      <a:pt x="40" y="7"/>
                    </a:cubicBezTo>
                    <a:cubicBezTo>
                      <a:pt x="39" y="5"/>
                      <a:pt x="37" y="5"/>
                      <a:pt x="36" y="4"/>
                    </a:cubicBezTo>
                    <a:cubicBezTo>
                      <a:pt x="34" y="1"/>
                      <a:pt x="34" y="0"/>
                      <a:pt x="30" y="0"/>
                    </a:cubicBezTo>
                    <a:cubicBezTo>
                      <a:pt x="30" y="0"/>
                      <a:pt x="30"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5" name="Freeform 1227">
                <a:extLst>
                  <a:ext uri="{FF2B5EF4-FFF2-40B4-BE49-F238E27FC236}">
                    <a16:creationId xmlns:a16="http://schemas.microsoft.com/office/drawing/2014/main" id="{C1784006-2FDC-4E5E-8519-157B8469C6AA}"/>
                  </a:ext>
                </a:extLst>
              </p:cNvPr>
              <p:cNvSpPr>
                <a:spLocks/>
              </p:cNvSpPr>
              <p:nvPr/>
            </p:nvSpPr>
            <p:spPr bwMode="auto">
              <a:xfrm>
                <a:off x="2880" y="1463"/>
                <a:ext cx="42" cy="50"/>
              </a:xfrm>
              <a:custGeom>
                <a:avLst/>
                <a:gdLst>
                  <a:gd name="T0" fmla="*/ 3 w 18"/>
                  <a:gd name="T1" fmla="*/ 0 h 21"/>
                  <a:gd name="T2" fmla="*/ 5 w 18"/>
                  <a:gd name="T3" fmla="*/ 9 h 21"/>
                  <a:gd name="T4" fmla="*/ 4 w 18"/>
                  <a:gd name="T5" fmla="*/ 9 h 21"/>
                  <a:gd name="T6" fmla="*/ 2 w 18"/>
                  <a:gd name="T7" fmla="*/ 20 h 21"/>
                  <a:gd name="T8" fmla="*/ 5 w 18"/>
                  <a:gd name="T9" fmla="*/ 21 h 21"/>
                  <a:gd name="T10" fmla="*/ 12 w 18"/>
                  <a:gd name="T11" fmla="*/ 14 h 21"/>
                  <a:gd name="T12" fmla="*/ 12 w 18"/>
                  <a:gd name="T13" fmla="*/ 14 h 21"/>
                  <a:gd name="T14" fmla="*/ 3 w 18"/>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1">
                    <a:moveTo>
                      <a:pt x="3" y="0"/>
                    </a:moveTo>
                    <a:cubicBezTo>
                      <a:pt x="2" y="4"/>
                      <a:pt x="2" y="8"/>
                      <a:pt x="5" y="9"/>
                    </a:cubicBezTo>
                    <a:cubicBezTo>
                      <a:pt x="5" y="9"/>
                      <a:pt x="5" y="9"/>
                      <a:pt x="4" y="9"/>
                    </a:cubicBezTo>
                    <a:cubicBezTo>
                      <a:pt x="0" y="9"/>
                      <a:pt x="0" y="17"/>
                      <a:pt x="2" y="20"/>
                    </a:cubicBezTo>
                    <a:cubicBezTo>
                      <a:pt x="3" y="21"/>
                      <a:pt x="4" y="21"/>
                      <a:pt x="5" y="21"/>
                    </a:cubicBezTo>
                    <a:cubicBezTo>
                      <a:pt x="8" y="21"/>
                      <a:pt x="11" y="17"/>
                      <a:pt x="12" y="14"/>
                    </a:cubicBezTo>
                    <a:cubicBezTo>
                      <a:pt x="12" y="14"/>
                      <a:pt x="12" y="14"/>
                      <a:pt x="12" y="14"/>
                    </a:cubicBezTo>
                    <a:cubicBezTo>
                      <a:pt x="18" y="14"/>
                      <a:pt x="4"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6" name="Freeform 1228">
                <a:extLst>
                  <a:ext uri="{FF2B5EF4-FFF2-40B4-BE49-F238E27FC236}">
                    <a16:creationId xmlns:a16="http://schemas.microsoft.com/office/drawing/2014/main" id="{82A13F74-B9D5-4B9F-9A92-7B30E36D8F81}"/>
                  </a:ext>
                </a:extLst>
              </p:cNvPr>
              <p:cNvSpPr>
                <a:spLocks/>
              </p:cNvSpPr>
              <p:nvPr/>
            </p:nvSpPr>
            <p:spPr bwMode="auto">
              <a:xfrm>
                <a:off x="1415" y="1511"/>
                <a:ext cx="99" cy="23"/>
              </a:xfrm>
              <a:custGeom>
                <a:avLst/>
                <a:gdLst>
                  <a:gd name="T0" fmla="*/ 16 w 42"/>
                  <a:gd name="T1" fmla="*/ 0 h 10"/>
                  <a:gd name="T2" fmla="*/ 2 w 42"/>
                  <a:gd name="T3" fmla="*/ 6 h 10"/>
                  <a:gd name="T4" fmla="*/ 5 w 42"/>
                  <a:gd name="T5" fmla="*/ 9 h 10"/>
                  <a:gd name="T6" fmla="*/ 14 w 42"/>
                  <a:gd name="T7" fmla="*/ 10 h 10"/>
                  <a:gd name="T8" fmla="*/ 42 w 42"/>
                  <a:gd name="T9" fmla="*/ 3 h 10"/>
                  <a:gd name="T10" fmla="*/ 34 w 42"/>
                  <a:gd name="T11" fmla="*/ 0 h 10"/>
                  <a:gd name="T12" fmla="*/ 28 w 42"/>
                  <a:gd name="T13" fmla="*/ 1 h 10"/>
                  <a:gd name="T14" fmla="*/ 16 w 4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10">
                    <a:moveTo>
                      <a:pt x="16" y="0"/>
                    </a:moveTo>
                    <a:cubicBezTo>
                      <a:pt x="10" y="0"/>
                      <a:pt x="4" y="1"/>
                      <a:pt x="2" y="6"/>
                    </a:cubicBezTo>
                    <a:cubicBezTo>
                      <a:pt x="0" y="10"/>
                      <a:pt x="2" y="8"/>
                      <a:pt x="5" y="9"/>
                    </a:cubicBezTo>
                    <a:cubicBezTo>
                      <a:pt x="8" y="10"/>
                      <a:pt x="11" y="10"/>
                      <a:pt x="14" y="10"/>
                    </a:cubicBezTo>
                    <a:cubicBezTo>
                      <a:pt x="24" y="10"/>
                      <a:pt x="33" y="7"/>
                      <a:pt x="42" y="3"/>
                    </a:cubicBezTo>
                    <a:cubicBezTo>
                      <a:pt x="39" y="1"/>
                      <a:pt x="37" y="0"/>
                      <a:pt x="34" y="0"/>
                    </a:cubicBezTo>
                    <a:cubicBezTo>
                      <a:pt x="32" y="0"/>
                      <a:pt x="30" y="1"/>
                      <a:pt x="28" y="1"/>
                    </a:cubicBezTo>
                    <a:cubicBezTo>
                      <a:pt x="25" y="1"/>
                      <a:pt x="20"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7" name="Freeform 1229">
                <a:extLst>
                  <a:ext uri="{FF2B5EF4-FFF2-40B4-BE49-F238E27FC236}">
                    <a16:creationId xmlns:a16="http://schemas.microsoft.com/office/drawing/2014/main" id="{10F68C05-4259-41E7-A574-5C41F5CF9B12}"/>
                  </a:ext>
                </a:extLst>
              </p:cNvPr>
              <p:cNvSpPr>
                <a:spLocks/>
              </p:cNvSpPr>
              <p:nvPr/>
            </p:nvSpPr>
            <p:spPr bwMode="auto">
              <a:xfrm>
                <a:off x="2809" y="1402"/>
                <a:ext cx="12" cy="24"/>
              </a:xfrm>
              <a:custGeom>
                <a:avLst/>
                <a:gdLst>
                  <a:gd name="T0" fmla="*/ 5 w 5"/>
                  <a:gd name="T1" fmla="*/ 0 h 10"/>
                  <a:gd name="T2" fmla="*/ 0 w 5"/>
                  <a:gd name="T3" fmla="*/ 10 h 10"/>
                  <a:gd name="T4" fmla="*/ 5 w 5"/>
                  <a:gd name="T5" fmla="*/ 0 h 10"/>
                </a:gdLst>
                <a:ahLst/>
                <a:cxnLst>
                  <a:cxn ang="0">
                    <a:pos x="T0" y="T1"/>
                  </a:cxn>
                  <a:cxn ang="0">
                    <a:pos x="T2" y="T3"/>
                  </a:cxn>
                  <a:cxn ang="0">
                    <a:pos x="T4" y="T5"/>
                  </a:cxn>
                </a:cxnLst>
                <a:rect l="0" t="0" r="r" b="b"/>
                <a:pathLst>
                  <a:path w="5" h="10">
                    <a:moveTo>
                      <a:pt x="5" y="0"/>
                    </a:moveTo>
                    <a:cubicBezTo>
                      <a:pt x="2" y="0"/>
                      <a:pt x="0" y="8"/>
                      <a:pt x="0" y="10"/>
                    </a:cubicBezTo>
                    <a:cubicBezTo>
                      <a:pt x="2" y="7"/>
                      <a:pt x="3" y="4"/>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8" name="Freeform 1230">
                <a:extLst>
                  <a:ext uri="{FF2B5EF4-FFF2-40B4-BE49-F238E27FC236}">
                    <a16:creationId xmlns:a16="http://schemas.microsoft.com/office/drawing/2014/main" id="{086D3555-D802-42BE-8A35-98A2E21562EB}"/>
                  </a:ext>
                </a:extLst>
              </p:cNvPr>
              <p:cNvSpPr>
                <a:spLocks/>
              </p:cNvSpPr>
              <p:nvPr/>
            </p:nvSpPr>
            <p:spPr bwMode="auto">
              <a:xfrm>
                <a:off x="2797" y="1428"/>
                <a:ext cx="12" cy="24"/>
              </a:xfrm>
              <a:custGeom>
                <a:avLst/>
                <a:gdLst>
                  <a:gd name="T0" fmla="*/ 5 w 5"/>
                  <a:gd name="T1" fmla="*/ 0 h 10"/>
                  <a:gd name="T2" fmla="*/ 0 w 5"/>
                  <a:gd name="T3" fmla="*/ 10 h 10"/>
                  <a:gd name="T4" fmla="*/ 5 w 5"/>
                  <a:gd name="T5" fmla="*/ 0 h 10"/>
                  <a:gd name="T6" fmla="*/ 5 w 5"/>
                  <a:gd name="T7" fmla="*/ 0 h 10"/>
                </a:gdLst>
                <a:ahLst/>
                <a:cxnLst>
                  <a:cxn ang="0">
                    <a:pos x="T0" y="T1"/>
                  </a:cxn>
                  <a:cxn ang="0">
                    <a:pos x="T2" y="T3"/>
                  </a:cxn>
                  <a:cxn ang="0">
                    <a:pos x="T4" y="T5"/>
                  </a:cxn>
                  <a:cxn ang="0">
                    <a:pos x="T6" y="T7"/>
                  </a:cxn>
                </a:cxnLst>
                <a:rect l="0" t="0" r="r" b="b"/>
                <a:pathLst>
                  <a:path w="5" h="10">
                    <a:moveTo>
                      <a:pt x="5" y="0"/>
                    </a:moveTo>
                    <a:cubicBezTo>
                      <a:pt x="3" y="0"/>
                      <a:pt x="1" y="8"/>
                      <a:pt x="0" y="10"/>
                    </a:cubicBezTo>
                    <a:cubicBezTo>
                      <a:pt x="2" y="7"/>
                      <a:pt x="4" y="3"/>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9" name="Freeform 1231">
                <a:extLst>
                  <a:ext uri="{FF2B5EF4-FFF2-40B4-BE49-F238E27FC236}">
                    <a16:creationId xmlns:a16="http://schemas.microsoft.com/office/drawing/2014/main" id="{D518181D-AFFF-4FCD-8C7D-78BDC7614ACD}"/>
                  </a:ext>
                </a:extLst>
              </p:cNvPr>
              <p:cNvSpPr>
                <a:spLocks/>
              </p:cNvSpPr>
              <p:nvPr/>
            </p:nvSpPr>
            <p:spPr bwMode="auto">
              <a:xfrm>
                <a:off x="1899" y="1593"/>
                <a:ext cx="227" cy="62"/>
              </a:xfrm>
              <a:custGeom>
                <a:avLst/>
                <a:gdLst>
                  <a:gd name="T0" fmla="*/ 91 w 96"/>
                  <a:gd name="T1" fmla="*/ 0 h 26"/>
                  <a:gd name="T2" fmla="*/ 93 w 96"/>
                  <a:gd name="T3" fmla="*/ 4 h 26"/>
                  <a:gd name="T4" fmla="*/ 80 w 96"/>
                  <a:gd name="T5" fmla="*/ 13 h 26"/>
                  <a:gd name="T6" fmla="*/ 80 w 96"/>
                  <a:gd name="T7" fmla="*/ 16 h 26"/>
                  <a:gd name="T8" fmla="*/ 76 w 96"/>
                  <a:gd name="T9" fmla="*/ 17 h 26"/>
                  <a:gd name="T10" fmla="*/ 72 w 96"/>
                  <a:gd name="T11" fmla="*/ 16 h 26"/>
                  <a:gd name="T12" fmla="*/ 59 w 96"/>
                  <a:gd name="T13" fmla="*/ 12 h 26"/>
                  <a:gd name="T14" fmla="*/ 55 w 96"/>
                  <a:gd name="T15" fmla="*/ 12 h 26"/>
                  <a:gd name="T16" fmla="*/ 51 w 96"/>
                  <a:gd name="T17" fmla="*/ 16 h 26"/>
                  <a:gd name="T18" fmla="*/ 51 w 96"/>
                  <a:gd name="T19" fmla="*/ 16 h 26"/>
                  <a:gd name="T20" fmla="*/ 40 w 96"/>
                  <a:gd name="T21" fmla="*/ 10 h 26"/>
                  <a:gd name="T22" fmla="*/ 23 w 96"/>
                  <a:gd name="T23" fmla="*/ 8 h 26"/>
                  <a:gd name="T24" fmla="*/ 17 w 96"/>
                  <a:gd name="T25" fmla="*/ 8 h 26"/>
                  <a:gd name="T26" fmla="*/ 2 w 96"/>
                  <a:gd name="T27" fmla="*/ 15 h 26"/>
                  <a:gd name="T28" fmla="*/ 12 w 96"/>
                  <a:gd name="T29" fmla="*/ 23 h 26"/>
                  <a:gd name="T30" fmla="*/ 16 w 96"/>
                  <a:gd name="T31" fmla="*/ 22 h 26"/>
                  <a:gd name="T32" fmla="*/ 27 w 96"/>
                  <a:gd name="T33" fmla="*/ 22 h 26"/>
                  <a:gd name="T34" fmla="*/ 31 w 96"/>
                  <a:gd name="T35" fmla="*/ 22 h 26"/>
                  <a:gd name="T36" fmla="*/ 35 w 96"/>
                  <a:gd name="T37" fmla="*/ 26 h 26"/>
                  <a:gd name="T38" fmla="*/ 37 w 96"/>
                  <a:gd name="T39" fmla="*/ 26 h 26"/>
                  <a:gd name="T40" fmla="*/ 47 w 96"/>
                  <a:gd name="T41" fmla="*/ 22 h 26"/>
                  <a:gd name="T42" fmla="*/ 48 w 96"/>
                  <a:gd name="T43" fmla="*/ 22 h 26"/>
                  <a:gd name="T44" fmla="*/ 52 w 96"/>
                  <a:gd name="T45" fmla="*/ 23 h 26"/>
                  <a:gd name="T46" fmla="*/ 56 w 96"/>
                  <a:gd name="T47" fmla="*/ 25 h 26"/>
                  <a:gd name="T48" fmla="*/ 56 w 96"/>
                  <a:gd name="T49" fmla="*/ 25 h 26"/>
                  <a:gd name="T50" fmla="*/ 66 w 96"/>
                  <a:gd name="T51" fmla="*/ 22 h 26"/>
                  <a:gd name="T52" fmla="*/ 82 w 96"/>
                  <a:gd name="T53" fmla="*/ 18 h 26"/>
                  <a:gd name="T54" fmla="*/ 89 w 96"/>
                  <a:gd name="T55" fmla="*/ 16 h 26"/>
                  <a:gd name="T56" fmla="*/ 91 w 96"/>
                  <a:gd name="T57" fmla="*/ 13 h 26"/>
                  <a:gd name="T58" fmla="*/ 94 w 96"/>
                  <a:gd name="T59" fmla="*/ 9 h 26"/>
                  <a:gd name="T60" fmla="*/ 94 w 96"/>
                  <a:gd name="T61" fmla="*/ 9 h 26"/>
                  <a:gd name="T62" fmla="*/ 96 w 96"/>
                  <a:gd name="T63" fmla="*/ 8 h 26"/>
                  <a:gd name="T64" fmla="*/ 91 w 96"/>
                  <a:gd name="T6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26">
                    <a:moveTo>
                      <a:pt x="91" y="0"/>
                    </a:moveTo>
                    <a:cubicBezTo>
                      <a:pt x="91" y="2"/>
                      <a:pt x="92" y="4"/>
                      <a:pt x="93" y="4"/>
                    </a:cubicBezTo>
                    <a:cubicBezTo>
                      <a:pt x="89" y="7"/>
                      <a:pt x="83" y="9"/>
                      <a:pt x="80" y="13"/>
                    </a:cubicBezTo>
                    <a:cubicBezTo>
                      <a:pt x="80" y="14"/>
                      <a:pt x="81" y="15"/>
                      <a:pt x="80" y="16"/>
                    </a:cubicBezTo>
                    <a:cubicBezTo>
                      <a:pt x="79" y="17"/>
                      <a:pt x="78" y="17"/>
                      <a:pt x="76" y="17"/>
                    </a:cubicBezTo>
                    <a:cubicBezTo>
                      <a:pt x="75" y="17"/>
                      <a:pt x="73" y="16"/>
                      <a:pt x="72" y="16"/>
                    </a:cubicBezTo>
                    <a:cubicBezTo>
                      <a:pt x="68" y="14"/>
                      <a:pt x="63" y="12"/>
                      <a:pt x="59" y="12"/>
                    </a:cubicBezTo>
                    <a:cubicBezTo>
                      <a:pt x="57" y="12"/>
                      <a:pt x="56" y="12"/>
                      <a:pt x="55" y="12"/>
                    </a:cubicBezTo>
                    <a:cubicBezTo>
                      <a:pt x="54" y="13"/>
                      <a:pt x="53" y="16"/>
                      <a:pt x="51" y="16"/>
                    </a:cubicBezTo>
                    <a:cubicBezTo>
                      <a:pt x="51" y="16"/>
                      <a:pt x="51" y="16"/>
                      <a:pt x="51" y="16"/>
                    </a:cubicBezTo>
                    <a:cubicBezTo>
                      <a:pt x="47" y="14"/>
                      <a:pt x="44" y="12"/>
                      <a:pt x="40" y="10"/>
                    </a:cubicBezTo>
                    <a:cubicBezTo>
                      <a:pt x="34" y="8"/>
                      <a:pt x="29" y="8"/>
                      <a:pt x="23" y="8"/>
                    </a:cubicBezTo>
                    <a:cubicBezTo>
                      <a:pt x="21" y="8"/>
                      <a:pt x="19" y="8"/>
                      <a:pt x="17" y="8"/>
                    </a:cubicBezTo>
                    <a:cubicBezTo>
                      <a:pt x="10" y="8"/>
                      <a:pt x="3" y="9"/>
                      <a:pt x="2" y="15"/>
                    </a:cubicBezTo>
                    <a:cubicBezTo>
                      <a:pt x="0" y="22"/>
                      <a:pt x="6" y="23"/>
                      <a:pt x="12" y="23"/>
                    </a:cubicBezTo>
                    <a:cubicBezTo>
                      <a:pt x="13" y="23"/>
                      <a:pt x="15" y="22"/>
                      <a:pt x="16" y="22"/>
                    </a:cubicBezTo>
                    <a:cubicBezTo>
                      <a:pt x="19" y="22"/>
                      <a:pt x="23" y="22"/>
                      <a:pt x="27" y="22"/>
                    </a:cubicBezTo>
                    <a:cubicBezTo>
                      <a:pt x="28" y="22"/>
                      <a:pt x="30" y="22"/>
                      <a:pt x="31" y="22"/>
                    </a:cubicBezTo>
                    <a:cubicBezTo>
                      <a:pt x="33" y="23"/>
                      <a:pt x="33" y="25"/>
                      <a:pt x="35" y="26"/>
                    </a:cubicBezTo>
                    <a:cubicBezTo>
                      <a:pt x="36" y="26"/>
                      <a:pt x="36" y="26"/>
                      <a:pt x="37" y="26"/>
                    </a:cubicBezTo>
                    <a:cubicBezTo>
                      <a:pt x="40" y="26"/>
                      <a:pt x="44" y="23"/>
                      <a:pt x="47" y="22"/>
                    </a:cubicBezTo>
                    <a:cubicBezTo>
                      <a:pt x="47" y="22"/>
                      <a:pt x="48" y="22"/>
                      <a:pt x="48" y="22"/>
                    </a:cubicBezTo>
                    <a:cubicBezTo>
                      <a:pt x="49" y="22"/>
                      <a:pt x="51" y="23"/>
                      <a:pt x="52" y="23"/>
                    </a:cubicBezTo>
                    <a:cubicBezTo>
                      <a:pt x="53" y="24"/>
                      <a:pt x="55" y="25"/>
                      <a:pt x="56" y="25"/>
                    </a:cubicBezTo>
                    <a:cubicBezTo>
                      <a:pt x="56" y="25"/>
                      <a:pt x="56" y="25"/>
                      <a:pt x="56" y="25"/>
                    </a:cubicBezTo>
                    <a:cubicBezTo>
                      <a:pt x="59" y="25"/>
                      <a:pt x="63" y="23"/>
                      <a:pt x="66" y="22"/>
                    </a:cubicBezTo>
                    <a:cubicBezTo>
                      <a:pt x="71" y="21"/>
                      <a:pt x="76" y="19"/>
                      <a:pt x="82" y="18"/>
                    </a:cubicBezTo>
                    <a:cubicBezTo>
                      <a:pt x="84" y="18"/>
                      <a:pt x="87" y="17"/>
                      <a:pt x="89" y="16"/>
                    </a:cubicBezTo>
                    <a:cubicBezTo>
                      <a:pt x="90" y="15"/>
                      <a:pt x="91" y="15"/>
                      <a:pt x="91" y="13"/>
                    </a:cubicBezTo>
                    <a:cubicBezTo>
                      <a:pt x="92" y="12"/>
                      <a:pt x="94" y="9"/>
                      <a:pt x="94" y="9"/>
                    </a:cubicBezTo>
                    <a:cubicBezTo>
                      <a:pt x="94" y="9"/>
                      <a:pt x="94" y="9"/>
                      <a:pt x="94" y="9"/>
                    </a:cubicBezTo>
                    <a:cubicBezTo>
                      <a:pt x="94" y="8"/>
                      <a:pt x="95" y="8"/>
                      <a:pt x="96" y="8"/>
                    </a:cubicBezTo>
                    <a:cubicBezTo>
                      <a:pt x="96" y="6"/>
                      <a:pt x="92" y="1"/>
                      <a:pt x="9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0" name="Freeform 1232">
                <a:extLst>
                  <a:ext uri="{FF2B5EF4-FFF2-40B4-BE49-F238E27FC236}">
                    <a16:creationId xmlns:a16="http://schemas.microsoft.com/office/drawing/2014/main" id="{ACF59F45-0245-4AB4-A8B5-85EFCFCF11EE}"/>
                  </a:ext>
                </a:extLst>
              </p:cNvPr>
              <p:cNvSpPr>
                <a:spLocks/>
              </p:cNvSpPr>
              <p:nvPr/>
            </p:nvSpPr>
            <p:spPr bwMode="auto">
              <a:xfrm>
                <a:off x="1537" y="1593"/>
                <a:ext cx="85" cy="55"/>
              </a:xfrm>
              <a:custGeom>
                <a:avLst/>
                <a:gdLst>
                  <a:gd name="T0" fmla="*/ 18 w 36"/>
                  <a:gd name="T1" fmla="*/ 0 h 23"/>
                  <a:gd name="T2" fmla="*/ 0 w 36"/>
                  <a:gd name="T3" fmla="*/ 3 h 23"/>
                  <a:gd name="T4" fmla="*/ 13 w 36"/>
                  <a:gd name="T5" fmla="*/ 12 h 23"/>
                  <a:gd name="T6" fmla="*/ 18 w 36"/>
                  <a:gd name="T7" fmla="*/ 17 h 23"/>
                  <a:gd name="T8" fmla="*/ 19 w 36"/>
                  <a:gd name="T9" fmla="*/ 23 h 23"/>
                  <a:gd name="T10" fmla="*/ 19 w 36"/>
                  <a:gd name="T11" fmla="*/ 23 h 23"/>
                  <a:gd name="T12" fmla="*/ 25 w 36"/>
                  <a:gd name="T13" fmla="*/ 17 h 23"/>
                  <a:gd name="T14" fmla="*/ 36 w 36"/>
                  <a:gd name="T15" fmla="*/ 9 h 23"/>
                  <a:gd name="T16" fmla="*/ 32 w 36"/>
                  <a:gd name="T17" fmla="*/ 5 h 23"/>
                  <a:gd name="T18" fmla="*/ 18 w 36"/>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23">
                    <a:moveTo>
                      <a:pt x="18" y="0"/>
                    </a:moveTo>
                    <a:cubicBezTo>
                      <a:pt x="12" y="0"/>
                      <a:pt x="6" y="2"/>
                      <a:pt x="0" y="3"/>
                    </a:cubicBezTo>
                    <a:cubicBezTo>
                      <a:pt x="4" y="9"/>
                      <a:pt x="5" y="10"/>
                      <a:pt x="13" y="12"/>
                    </a:cubicBezTo>
                    <a:cubicBezTo>
                      <a:pt x="14" y="12"/>
                      <a:pt x="18" y="16"/>
                      <a:pt x="18" y="17"/>
                    </a:cubicBezTo>
                    <a:cubicBezTo>
                      <a:pt x="18" y="18"/>
                      <a:pt x="18" y="23"/>
                      <a:pt x="19" y="23"/>
                    </a:cubicBezTo>
                    <a:cubicBezTo>
                      <a:pt x="19" y="23"/>
                      <a:pt x="19" y="23"/>
                      <a:pt x="19" y="23"/>
                    </a:cubicBezTo>
                    <a:cubicBezTo>
                      <a:pt x="21" y="23"/>
                      <a:pt x="23" y="18"/>
                      <a:pt x="25" y="17"/>
                    </a:cubicBezTo>
                    <a:cubicBezTo>
                      <a:pt x="27" y="15"/>
                      <a:pt x="36" y="12"/>
                      <a:pt x="36" y="9"/>
                    </a:cubicBezTo>
                    <a:cubicBezTo>
                      <a:pt x="32" y="5"/>
                      <a:pt x="32" y="5"/>
                      <a:pt x="32" y="5"/>
                    </a:cubicBezTo>
                    <a:cubicBezTo>
                      <a:pt x="28" y="2"/>
                      <a:pt x="23"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1" name="Freeform 1233">
                <a:extLst>
                  <a:ext uri="{FF2B5EF4-FFF2-40B4-BE49-F238E27FC236}">
                    <a16:creationId xmlns:a16="http://schemas.microsoft.com/office/drawing/2014/main" id="{DB2EF5D0-C026-4F90-9489-CF481DB7129B}"/>
                  </a:ext>
                </a:extLst>
              </p:cNvPr>
              <p:cNvSpPr>
                <a:spLocks/>
              </p:cNvSpPr>
              <p:nvPr/>
            </p:nvSpPr>
            <p:spPr bwMode="auto">
              <a:xfrm>
                <a:off x="436" y="922"/>
                <a:ext cx="12" cy="5"/>
              </a:xfrm>
              <a:custGeom>
                <a:avLst/>
                <a:gdLst>
                  <a:gd name="T0" fmla="*/ 1 w 5"/>
                  <a:gd name="T1" fmla="*/ 0 h 2"/>
                  <a:gd name="T2" fmla="*/ 0 w 5"/>
                  <a:gd name="T3" fmla="*/ 1 h 2"/>
                  <a:gd name="T4" fmla="*/ 5 w 5"/>
                  <a:gd name="T5" fmla="*/ 2 h 2"/>
                  <a:gd name="T6" fmla="*/ 1 w 5"/>
                  <a:gd name="T7" fmla="*/ 0 h 2"/>
                </a:gdLst>
                <a:ahLst/>
                <a:cxnLst>
                  <a:cxn ang="0">
                    <a:pos x="T0" y="T1"/>
                  </a:cxn>
                  <a:cxn ang="0">
                    <a:pos x="T2" y="T3"/>
                  </a:cxn>
                  <a:cxn ang="0">
                    <a:pos x="T4" y="T5"/>
                  </a:cxn>
                  <a:cxn ang="0">
                    <a:pos x="T6" y="T7"/>
                  </a:cxn>
                </a:cxnLst>
                <a:rect l="0" t="0" r="r" b="b"/>
                <a:pathLst>
                  <a:path w="5" h="2">
                    <a:moveTo>
                      <a:pt x="1" y="0"/>
                    </a:moveTo>
                    <a:cubicBezTo>
                      <a:pt x="1" y="0"/>
                      <a:pt x="1" y="0"/>
                      <a:pt x="0" y="1"/>
                    </a:cubicBezTo>
                    <a:cubicBezTo>
                      <a:pt x="2" y="1"/>
                      <a:pt x="3" y="2"/>
                      <a:pt x="5" y="2"/>
                    </a:cubicBezTo>
                    <a:cubicBezTo>
                      <a:pt x="3"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2" name="Freeform 1234">
                <a:extLst>
                  <a:ext uri="{FF2B5EF4-FFF2-40B4-BE49-F238E27FC236}">
                    <a16:creationId xmlns:a16="http://schemas.microsoft.com/office/drawing/2014/main" id="{169BC306-13E4-4A5E-BE06-F83D3899CAF7}"/>
                  </a:ext>
                </a:extLst>
              </p:cNvPr>
              <p:cNvSpPr>
                <a:spLocks/>
              </p:cNvSpPr>
              <p:nvPr/>
            </p:nvSpPr>
            <p:spPr bwMode="auto">
              <a:xfrm>
                <a:off x="1611" y="1636"/>
                <a:ext cx="4" cy="9"/>
              </a:xfrm>
              <a:custGeom>
                <a:avLst/>
                <a:gdLst>
                  <a:gd name="T0" fmla="*/ 0 w 2"/>
                  <a:gd name="T1" fmla="*/ 0 h 4"/>
                  <a:gd name="T2" fmla="*/ 0 w 2"/>
                  <a:gd name="T3" fmla="*/ 0 h 4"/>
                  <a:gd name="T4" fmla="*/ 2 w 2"/>
                  <a:gd name="T5" fmla="*/ 4 h 4"/>
                  <a:gd name="T6" fmla="*/ 0 w 2"/>
                  <a:gd name="T7" fmla="*/ 0 h 4"/>
                </a:gdLst>
                <a:ahLst/>
                <a:cxnLst>
                  <a:cxn ang="0">
                    <a:pos x="T0" y="T1"/>
                  </a:cxn>
                  <a:cxn ang="0">
                    <a:pos x="T2" y="T3"/>
                  </a:cxn>
                  <a:cxn ang="0">
                    <a:pos x="T4" y="T5"/>
                  </a:cxn>
                  <a:cxn ang="0">
                    <a:pos x="T6" y="T7"/>
                  </a:cxn>
                </a:cxnLst>
                <a:rect l="0" t="0" r="r" b="b"/>
                <a:pathLst>
                  <a:path w="2" h="4">
                    <a:moveTo>
                      <a:pt x="0" y="0"/>
                    </a:moveTo>
                    <a:cubicBezTo>
                      <a:pt x="0" y="0"/>
                      <a:pt x="0" y="0"/>
                      <a:pt x="0" y="0"/>
                    </a:cubicBezTo>
                    <a:cubicBezTo>
                      <a:pt x="0" y="1"/>
                      <a:pt x="1" y="3"/>
                      <a:pt x="2"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3" name="Freeform 1235">
                <a:extLst>
                  <a:ext uri="{FF2B5EF4-FFF2-40B4-BE49-F238E27FC236}">
                    <a16:creationId xmlns:a16="http://schemas.microsoft.com/office/drawing/2014/main" id="{DC239D3F-CB44-45CB-A81B-D9E161ECB052}"/>
                  </a:ext>
                </a:extLst>
              </p:cNvPr>
              <p:cNvSpPr>
                <a:spLocks/>
              </p:cNvSpPr>
              <p:nvPr/>
            </p:nvSpPr>
            <p:spPr bwMode="auto">
              <a:xfrm>
                <a:off x="1006" y="1239"/>
                <a:ext cx="11" cy="7"/>
              </a:xfrm>
              <a:custGeom>
                <a:avLst/>
                <a:gdLst>
                  <a:gd name="T0" fmla="*/ 3 w 5"/>
                  <a:gd name="T1" fmla="*/ 0 h 3"/>
                  <a:gd name="T2" fmla="*/ 0 w 5"/>
                  <a:gd name="T3" fmla="*/ 1 h 3"/>
                  <a:gd name="T4" fmla="*/ 4 w 5"/>
                  <a:gd name="T5" fmla="*/ 3 h 3"/>
                  <a:gd name="T6" fmla="*/ 3 w 5"/>
                  <a:gd name="T7" fmla="*/ 0 h 3"/>
                </a:gdLst>
                <a:ahLst/>
                <a:cxnLst>
                  <a:cxn ang="0">
                    <a:pos x="T0" y="T1"/>
                  </a:cxn>
                  <a:cxn ang="0">
                    <a:pos x="T2" y="T3"/>
                  </a:cxn>
                  <a:cxn ang="0">
                    <a:pos x="T4" y="T5"/>
                  </a:cxn>
                  <a:cxn ang="0">
                    <a:pos x="T6" y="T7"/>
                  </a:cxn>
                </a:cxnLst>
                <a:rect l="0" t="0" r="r" b="b"/>
                <a:pathLst>
                  <a:path w="5" h="3">
                    <a:moveTo>
                      <a:pt x="3" y="0"/>
                    </a:moveTo>
                    <a:cubicBezTo>
                      <a:pt x="2" y="0"/>
                      <a:pt x="1" y="1"/>
                      <a:pt x="0" y="1"/>
                    </a:cubicBezTo>
                    <a:cubicBezTo>
                      <a:pt x="1" y="3"/>
                      <a:pt x="3" y="3"/>
                      <a:pt x="4" y="3"/>
                    </a:cubicBezTo>
                    <a:cubicBezTo>
                      <a:pt x="5" y="3"/>
                      <a:pt x="5"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4" name="Freeform 1236">
                <a:extLst>
                  <a:ext uri="{FF2B5EF4-FFF2-40B4-BE49-F238E27FC236}">
                    <a16:creationId xmlns:a16="http://schemas.microsoft.com/office/drawing/2014/main" id="{E2700CCA-3B2B-4C39-9C07-312BA701A10A}"/>
                  </a:ext>
                </a:extLst>
              </p:cNvPr>
              <p:cNvSpPr>
                <a:spLocks/>
              </p:cNvSpPr>
              <p:nvPr/>
            </p:nvSpPr>
            <p:spPr bwMode="auto">
              <a:xfrm>
                <a:off x="781" y="1055"/>
                <a:ext cx="19" cy="9"/>
              </a:xfrm>
              <a:custGeom>
                <a:avLst/>
                <a:gdLst>
                  <a:gd name="T0" fmla="*/ 4 w 8"/>
                  <a:gd name="T1" fmla="*/ 0 h 4"/>
                  <a:gd name="T2" fmla="*/ 0 w 8"/>
                  <a:gd name="T3" fmla="*/ 4 h 4"/>
                  <a:gd name="T4" fmla="*/ 8 w 8"/>
                  <a:gd name="T5" fmla="*/ 2 h 4"/>
                  <a:gd name="T6" fmla="*/ 4 w 8"/>
                  <a:gd name="T7" fmla="*/ 0 h 4"/>
                </a:gdLst>
                <a:ahLst/>
                <a:cxnLst>
                  <a:cxn ang="0">
                    <a:pos x="T0" y="T1"/>
                  </a:cxn>
                  <a:cxn ang="0">
                    <a:pos x="T2" y="T3"/>
                  </a:cxn>
                  <a:cxn ang="0">
                    <a:pos x="T4" y="T5"/>
                  </a:cxn>
                  <a:cxn ang="0">
                    <a:pos x="T6" y="T7"/>
                  </a:cxn>
                </a:cxnLst>
                <a:rect l="0" t="0" r="r" b="b"/>
                <a:pathLst>
                  <a:path w="8" h="4">
                    <a:moveTo>
                      <a:pt x="4" y="0"/>
                    </a:moveTo>
                    <a:cubicBezTo>
                      <a:pt x="2" y="0"/>
                      <a:pt x="1" y="1"/>
                      <a:pt x="0" y="4"/>
                    </a:cubicBezTo>
                    <a:cubicBezTo>
                      <a:pt x="3" y="3"/>
                      <a:pt x="6" y="2"/>
                      <a:pt x="8" y="2"/>
                    </a:cubicBezTo>
                    <a:cubicBezTo>
                      <a:pt x="7"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5" name="Freeform 1237">
                <a:extLst>
                  <a:ext uri="{FF2B5EF4-FFF2-40B4-BE49-F238E27FC236}">
                    <a16:creationId xmlns:a16="http://schemas.microsoft.com/office/drawing/2014/main" id="{D8C05657-11F7-4AA2-866D-9E70B94A1BFD}"/>
                  </a:ext>
                </a:extLst>
              </p:cNvPr>
              <p:cNvSpPr>
                <a:spLocks/>
              </p:cNvSpPr>
              <p:nvPr/>
            </p:nvSpPr>
            <p:spPr bwMode="auto">
              <a:xfrm>
                <a:off x="890" y="1142"/>
                <a:ext cx="125" cy="111"/>
              </a:xfrm>
              <a:custGeom>
                <a:avLst/>
                <a:gdLst>
                  <a:gd name="T0" fmla="*/ 25 w 53"/>
                  <a:gd name="T1" fmla="*/ 0 h 47"/>
                  <a:gd name="T2" fmla="*/ 20 w 53"/>
                  <a:gd name="T3" fmla="*/ 1 h 47"/>
                  <a:gd name="T4" fmla="*/ 22 w 53"/>
                  <a:gd name="T5" fmla="*/ 9 h 47"/>
                  <a:gd name="T6" fmla="*/ 15 w 53"/>
                  <a:gd name="T7" fmla="*/ 1 h 47"/>
                  <a:gd name="T8" fmla="*/ 12 w 53"/>
                  <a:gd name="T9" fmla="*/ 2 h 47"/>
                  <a:gd name="T10" fmla="*/ 9 w 53"/>
                  <a:gd name="T11" fmla="*/ 5 h 47"/>
                  <a:gd name="T12" fmla="*/ 9 w 53"/>
                  <a:gd name="T13" fmla="*/ 10 h 47"/>
                  <a:gd name="T14" fmla="*/ 7 w 53"/>
                  <a:gd name="T15" fmla="*/ 17 h 47"/>
                  <a:gd name="T16" fmla="*/ 9 w 53"/>
                  <a:gd name="T17" fmla="*/ 18 h 47"/>
                  <a:gd name="T18" fmla="*/ 10 w 53"/>
                  <a:gd name="T19" fmla="*/ 18 h 47"/>
                  <a:gd name="T20" fmla="*/ 13 w 53"/>
                  <a:gd name="T21" fmla="*/ 18 h 47"/>
                  <a:gd name="T22" fmla="*/ 16 w 53"/>
                  <a:gd name="T23" fmla="*/ 17 h 47"/>
                  <a:gd name="T24" fmla="*/ 17 w 53"/>
                  <a:gd name="T25" fmla="*/ 18 h 47"/>
                  <a:gd name="T26" fmla="*/ 18 w 53"/>
                  <a:gd name="T27" fmla="*/ 18 h 47"/>
                  <a:gd name="T28" fmla="*/ 19 w 53"/>
                  <a:gd name="T29" fmla="*/ 18 h 47"/>
                  <a:gd name="T30" fmla="*/ 19 w 53"/>
                  <a:gd name="T31" fmla="*/ 18 h 47"/>
                  <a:gd name="T32" fmla="*/ 21 w 53"/>
                  <a:gd name="T33" fmla="*/ 19 h 47"/>
                  <a:gd name="T34" fmla="*/ 23 w 53"/>
                  <a:gd name="T35" fmla="*/ 25 h 47"/>
                  <a:gd name="T36" fmla="*/ 26 w 53"/>
                  <a:gd name="T37" fmla="*/ 30 h 47"/>
                  <a:gd name="T38" fmla="*/ 27 w 53"/>
                  <a:gd name="T39" fmla="*/ 37 h 47"/>
                  <a:gd name="T40" fmla="*/ 29 w 53"/>
                  <a:gd name="T41" fmla="*/ 39 h 47"/>
                  <a:gd name="T42" fmla="*/ 33 w 53"/>
                  <a:gd name="T43" fmla="*/ 40 h 47"/>
                  <a:gd name="T44" fmla="*/ 48 w 53"/>
                  <a:gd name="T45" fmla="*/ 47 h 47"/>
                  <a:gd name="T46" fmla="*/ 50 w 53"/>
                  <a:gd name="T47" fmla="*/ 46 h 47"/>
                  <a:gd name="T48" fmla="*/ 46 w 53"/>
                  <a:gd name="T49" fmla="*/ 42 h 47"/>
                  <a:gd name="T50" fmla="*/ 53 w 53"/>
                  <a:gd name="T51" fmla="*/ 31 h 47"/>
                  <a:gd name="T52" fmla="*/ 37 w 53"/>
                  <a:gd name="T53" fmla="*/ 26 h 47"/>
                  <a:gd name="T54" fmla="*/ 32 w 53"/>
                  <a:gd name="T55" fmla="*/ 14 h 47"/>
                  <a:gd name="T56" fmla="*/ 29 w 53"/>
                  <a:gd name="T57" fmla="*/ 2 h 47"/>
                  <a:gd name="T58" fmla="*/ 25 w 53"/>
                  <a:gd name="T5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47">
                    <a:moveTo>
                      <a:pt x="25" y="0"/>
                    </a:moveTo>
                    <a:cubicBezTo>
                      <a:pt x="23" y="0"/>
                      <a:pt x="21" y="1"/>
                      <a:pt x="20" y="1"/>
                    </a:cubicBezTo>
                    <a:cubicBezTo>
                      <a:pt x="21" y="3"/>
                      <a:pt x="21" y="6"/>
                      <a:pt x="22" y="9"/>
                    </a:cubicBezTo>
                    <a:cubicBezTo>
                      <a:pt x="20" y="5"/>
                      <a:pt x="18" y="1"/>
                      <a:pt x="15" y="1"/>
                    </a:cubicBezTo>
                    <a:cubicBezTo>
                      <a:pt x="14" y="1"/>
                      <a:pt x="13" y="2"/>
                      <a:pt x="12" y="2"/>
                    </a:cubicBezTo>
                    <a:cubicBezTo>
                      <a:pt x="11" y="3"/>
                      <a:pt x="9" y="4"/>
                      <a:pt x="9" y="5"/>
                    </a:cubicBezTo>
                    <a:cubicBezTo>
                      <a:pt x="9" y="7"/>
                      <a:pt x="12" y="8"/>
                      <a:pt x="9" y="10"/>
                    </a:cubicBezTo>
                    <a:cubicBezTo>
                      <a:pt x="4" y="14"/>
                      <a:pt x="0" y="16"/>
                      <a:pt x="7" y="17"/>
                    </a:cubicBezTo>
                    <a:cubicBezTo>
                      <a:pt x="7" y="17"/>
                      <a:pt x="8" y="18"/>
                      <a:pt x="9" y="18"/>
                    </a:cubicBezTo>
                    <a:cubicBezTo>
                      <a:pt x="9" y="18"/>
                      <a:pt x="10" y="18"/>
                      <a:pt x="10" y="18"/>
                    </a:cubicBezTo>
                    <a:cubicBezTo>
                      <a:pt x="11" y="18"/>
                      <a:pt x="12" y="18"/>
                      <a:pt x="13" y="18"/>
                    </a:cubicBezTo>
                    <a:cubicBezTo>
                      <a:pt x="14" y="18"/>
                      <a:pt x="15" y="17"/>
                      <a:pt x="16" y="17"/>
                    </a:cubicBezTo>
                    <a:cubicBezTo>
                      <a:pt x="17" y="18"/>
                      <a:pt x="17" y="18"/>
                      <a:pt x="17" y="18"/>
                    </a:cubicBezTo>
                    <a:cubicBezTo>
                      <a:pt x="17" y="18"/>
                      <a:pt x="18" y="18"/>
                      <a:pt x="18" y="18"/>
                    </a:cubicBezTo>
                    <a:cubicBezTo>
                      <a:pt x="18" y="18"/>
                      <a:pt x="18" y="18"/>
                      <a:pt x="19" y="18"/>
                    </a:cubicBezTo>
                    <a:cubicBezTo>
                      <a:pt x="19" y="18"/>
                      <a:pt x="19" y="18"/>
                      <a:pt x="19" y="18"/>
                    </a:cubicBezTo>
                    <a:cubicBezTo>
                      <a:pt x="20" y="18"/>
                      <a:pt x="21" y="18"/>
                      <a:pt x="21" y="19"/>
                    </a:cubicBezTo>
                    <a:cubicBezTo>
                      <a:pt x="22" y="21"/>
                      <a:pt x="22" y="24"/>
                      <a:pt x="23" y="25"/>
                    </a:cubicBezTo>
                    <a:cubicBezTo>
                      <a:pt x="24" y="27"/>
                      <a:pt x="26" y="28"/>
                      <a:pt x="26" y="30"/>
                    </a:cubicBezTo>
                    <a:cubicBezTo>
                      <a:pt x="27" y="32"/>
                      <a:pt x="27" y="34"/>
                      <a:pt x="27" y="37"/>
                    </a:cubicBezTo>
                    <a:cubicBezTo>
                      <a:pt x="28" y="38"/>
                      <a:pt x="28" y="38"/>
                      <a:pt x="29" y="39"/>
                    </a:cubicBezTo>
                    <a:cubicBezTo>
                      <a:pt x="29" y="39"/>
                      <a:pt x="32" y="40"/>
                      <a:pt x="33" y="40"/>
                    </a:cubicBezTo>
                    <a:cubicBezTo>
                      <a:pt x="34" y="41"/>
                      <a:pt x="43" y="47"/>
                      <a:pt x="48" y="47"/>
                    </a:cubicBezTo>
                    <a:cubicBezTo>
                      <a:pt x="49" y="47"/>
                      <a:pt x="49" y="47"/>
                      <a:pt x="50" y="46"/>
                    </a:cubicBezTo>
                    <a:cubicBezTo>
                      <a:pt x="51" y="43"/>
                      <a:pt x="46" y="43"/>
                      <a:pt x="46" y="42"/>
                    </a:cubicBezTo>
                    <a:cubicBezTo>
                      <a:pt x="44" y="38"/>
                      <a:pt x="51" y="33"/>
                      <a:pt x="53" y="31"/>
                    </a:cubicBezTo>
                    <a:cubicBezTo>
                      <a:pt x="48" y="30"/>
                      <a:pt x="39" y="31"/>
                      <a:pt x="37" y="26"/>
                    </a:cubicBezTo>
                    <a:cubicBezTo>
                      <a:pt x="35" y="22"/>
                      <a:pt x="34" y="18"/>
                      <a:pt x="32" y="14"/>
                    </a:cubicBezTo>
                    <a:cubicBezTo>
                      <a:pt x="31" y="11"/>
                      <a:pt x="31" y="5"/>
                      <a:pt x="29" y="2"/>
                    </a:cubicBezTo>
                    <a:cubicBezTo>
                      <a:pt x="27" y="1"/>
                      <a:pt x="26" y="0"/>
                      <a:pt x="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6" name="Freeform 1238">
                <a:extLst>
                  <a:ext uri="{FF2B5EF4-FFF2-40B4-BE49-F238E27FC236}">
                    <a16:creationId xmlns:a16="http://schemas.microsoft.com/office/drawing/2014/main" id="{091A275C-D240-4082-B352-23DF94E56809}"/>
                  </a:ext>
                </a:extLst>
              </p:cNvPr>
              <p:cNvSpPr>
                <a:spLocks/>
              </p:cNvSpPr>
              <p:nvPr/>
            </p:nvSpPr>
            <p:spPr bwMode="auto">
              <a:xfrm>
                <a:off x="1060" y="1213"/>
                <a:ext cx="54" cy="47"/>
              </a:xfrm>
              <a:custGeom>
                <a:avLst/>
                <a:gdLst>
                  <a:gd name="T0" fmla="*/ 8 w 23"/>
                  <a:gd name="T1" fmla="*/ 0 h 20"/>
                  <a:gd name="T2" fmla="*/ 4 w 23"/>
                  <a:gd name="T3" fmla="*/ 1 h 20"/>
                  <a:gd name="T4" fmla="*/ 4 w 23"/>
                  <a:gd name="T5" fmla="*/ 5 h 20"/>
                  <a:gd name="T6" fmla="*/ 2 w 23"/>
                  <a:gd name="T7" fmla="*/ 11 h 20"/>
                  <a:gd name="T8" fmla="*/ 2 w 23"/>
                  <a:gd name="T9" fmla="*/ 11 h 20"/>
                  <a:gd name="T10" fmla="*/ 3 w 23"/>
                  <a:gd name="T11" fmla="*/ 20 h 20"/>
                  <a:gd name="T12" fmla="*/ 4 w 23"/>
                  <a:gd name="T13" fmla="*/ 20 h 20"/>
                  <a:gd name="T14" fmla="*/ 11 w 23"/>
                  <a:gd name="T15" fmla="*/ 15 h 20"/>
                  <a:gd name="T16" fmla="*/ 17 w 23"/>
                  <a:gd name="T17" fmla="*/ 20 h 20"/>
                  <a:gd name="T18" fmla="*/ 20 w 23"/>
                  <a:gd name="T19" fmla="*/ 18 h 20"/>
                  <a:gd name="T20" fmla="*/ 22 w 23"/>
                  <a:gd name="T21" fmla="*/ 8 h 20"/>
                  <a:gd name="T22" fmla="*/ 19 w 23"/>
                  <a:gd name="T23" fmla="*/ 4 h 20"/>
                  <a:gd name="T24" fmla="*/ 8 w 23"/>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20">
                    <a:moveTo>
                      <a:pt x="8" y="0"/>
                    </a:moveTo>
                    <a:cubicBezTo>
                      <a:pt x="7" y="0"/>
                      <a:pt x="5" y="0"/>
                      <a:pt x="4" y="1"/>
                    </a:cubicBezTo>
                    <a:cubicBezTo>
                      <a:pt x="4" y="2"/>
                      <a:pt x="4" y="4"/>
                      <a:pt x="4" y="5"/>
                    </a:cubicBezTo>
                    <a:cubicBezTo>
                      <a:pt x="3" y="6"/>
                      <a:pt x="0" y="11"/>
                      <a:pt x="2" y="11"/>
                    </a:cubicBezTo>
                    <a:cubicBezTo>
                      <a:pt x="2" y="11"/>
                      <a:pt x="2" y="11"/>
                      <a:pt x="2" y="11"/>
                    </a:cubicBezTo>
                    <a:cubicBezTo>
                      <a:pt x="2" y="12"/>
                      <a:pt x="2" y="19"/>
                      <a:pt x="3" y="20"/>
                    </a:cubicBezTo>
                    <a:cubicBezTo>
                      <a:pt x="3" y="20"/>
                      <a:pt x="4" y="20"/>
                      <a:pt x="4" y="20"/>
                    </a:cubicBezTo>
                    <a:cubicBezTo>
                      <a:pt x="6" y="20"/>
                      <a:pt x="10" y="16"/>
                      <a:pt x="11" y="15"/>
                    </a:cubicBezTo>
                    <a:cubicBezTo>
                      <a:pt x="12" y="17"/>
                      <a:pt x="14" y="19"/>
                      <a:pt x="17" y="20"/>
                    </a:cubicBezTo>
                    <a:cubicBezTo>
                      <a:pt x="17" y="19"/>
                      <a:pt x="19" y="18"/>
                      <a:pt x="20" y="18"/>
                    </a:cubicBezTo>
                    <a:cubicBezTo>
                      <a:pt x="19" y="15"/>
                      <a:pt x="23" y="11"/>
                      <a:pt x="22" y="8"/>
                    </a:cubicBezTo>
                    <a:cubicBezTo>
                      <a:pt x="22" y="6"/>
                      <a:pt x="20" y="5"/>
                      <a:pt x="19" y="4"/>
                    </a:cubicBezTo>
                    <a:cubicBezTo>
                      <a:pt x="16" y="2"/>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7" name="Freeform 1239">
                <a:extLst>
                  <a:ext uri="{FF2B5EF4-FFF2-40B4-BE49-F238E27FC236}">
                    <a16:creationId xmlns:a16="http://schemas.microsoft.com/office/drawing/2014/main" id="{F20C124D-3C88-4A75-BB82-82F91CE1B748}"/>
                  </a:ext>
                </a:extLst>
              </p:cNvPr>
              <p:cNvSpPr>
                <a:spLocks/>
              </p:cNvSpPr>
              <p:nvPr/>
            </p:nvSpPr>
            <p:spPr bwMode="auto">
              <a:xfrm>
                <a:off x="2700" y="1312"/>
                <a:ext cx="2" cy="7"/>
              </a:xfrm>
              <a:custGeom>
                <a:avLst/>
                <a:gdLst>
                  <a:gd name="T0" fmla="*/ 0 w 1"/>
                  <a:gd name="T1" fmla="*/ 0 h 3"/>
                  <a:gd name="T2" fmla="*/ 0 w 1"/>
                  <a:gd name="T3" fmla="*/ 3 h 3"/>
                  <a:gd name="T4" fmla="*/ 0 w 1"/>
                  <a:gd name="T5" fmla="*/ 0 h 3"/>
                </a:gdLst>
                <a:ahLst/>
                <a:cxnLst>
                  <a:cxn ang="0">
                    <a:pos x="T0" y="T1"/>
                  </a:cxn>
                  <a:cxn ang="0">
                    <a:pos x="T2" y="T3"/>
                  </a:cxn>
                  <a:cxn ang="0">
                    <a:pos x="T4" y="T5"/>
                  </a:cxn>
                </a:cxnLst>
                <a:rect l="0" t="0" r="r" b="b"/>
                <a:pathLst>
                  <a:path w="1" h="3">
                    <a:moveTo>
                      <a:pt x="0" y="0"/>
                    </a:moveTo>
                    <a:cubicBezTo>
                      <a:pt x="0" y="1"/>
                      <a:pt x="0" y="2"/>
                      <a:pt x="0" y="3"/>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8" name="Freeform 1240">
                <a:extLst>
                  <a:ext uri="{FF2B5EF4-FFF2-40B4-BE49-F238E27FC236}">
                    <a16:creationId xmlns:a16="http://schemas.microsoft.com/office/drawing/2014/main" id="{690FB037-F2D5-4070-A9F9-85BD42341DED}"/>
                  </a:ext>
                </a:extLst>
              </p:cNvPr>
              <p:cNvSpPr>
                <a:spLocks/>
              </p:cNvSpPr>
              <p:nvPr/>
            </p:nvSpPr>
            <p:spPr bwMode="auto">
              <a:xfrm>
                <a:off x="2454" y="1232"/>
                <a:ext cx="211" cy="73"/>
              </a:xfrm>
              <a:custGeom>
                <a:avLst/>
                <a:gdLst>
                  <a:gd name="T0" fmla="*/ 48 w 89"/>
                  <a:gd name="T1" fmla="*/ 0 h 31"/>
                  <a:gd name="T2" fmla="*/ 43 w 89"/>
                  <a:gd name="T3" fmla="*/ 2 h 31"/>
                  <a:gd name="T4" fmla="*/ 39 w 89"/>
                  <a:gd name="T5" fmla="*/ 4 h 31"/>
                  <a:gd name="T6" fmla="*/ 36 w 89"/>
                  <a:gd name="T7" fmla="*/ 3 h 31"/>
                  <a:gd name="T8" fmla="*/ 35 w 89"/>
                  <a:gd name="T9" fmla="*/ 0 h 31"/>
                  <a:gd name="T10" fmla="*/ 35 w 89"/>
                  <a:gd name="T11" fmla="*/ 0 h 31"/>
                  <a:gd name="T12" fmla="*/ 32 w 89"/>
                  <a:gd name="T13" fmla="*/ 2 h 31"/>
                  <a:gd name="T14" fmla="*/ 26 w 89"/>
                  <a:gd name="T15" fmla="*/ 2 h 31"/>
                  <a:gd name="T16" fmla="*/ 21 w 89"/>
                  <a:gd name="T17" fmla="*/ 2 h 31"/>
                  <a:gd name="T18" fmla="*/ 17 w 89"/>
                  <a:gd name="T19" fmla="*/ 2 h 31"/>
                  <a:gd name="T20" fmla="*/ 15 w 89"/>
                  <a:gd name="T21" fmla="*/ 2 h 31"/>
                  <a:gd name="T22" fmla="*/ 7 w 89"/>
                  <a:gd name="T23" fmla="*/ 5 h 31"/>
                  <a:gd name="T24" fmla="*/ 0 w 89"/>
                  <a:gd name="T25" fmla="*/ 10 h 31"/>
                  <a:gd name="T26" fmla="*/ 3 w 89"/>
                  <a:gd name="T27" fmla="*/ 17 h 31"/>
                  <a:gd name="T28" fmla="*/ 2 w 89"/>
                  <a:gd name="T29" fmla="*/ 22 h 31"/>
                  <a:gd name="T30" fmla="*/ 6 w 89"/>
                  <a:gd name="T31" fmla="*/ 16 h 31"/>
                  <a:gd name="T32" fmla="*/ 7 w 89"/>
                  <a:gd name="T33" fmla="*/ 11 h 31"/>
                  <a:gd name="T34" fmla="*/ 9 w 89"/>
                  <a:gd name="T35" fmla="*/ 8 h 31"/>
                  <a:gd name="T36" fmla="*/ 10 w 89"/>
                  <a:gd name="T37" fmla="*/ 8 h 31"/>
                  <a:gd name="T38" fmla="*/ 10 w 89"/>
                  <a:gd name="T39" fmla="*/ 10 h 31"/>
                  <a:gd name="T40" fmla="*/ 10 w 89"/>
                  <a:gd name="T41" fmla="*/ 12 h 31"/>
                  <a:gd name="T42" fmla="*/ 13 w 89"/>
                  <a:gd name="T43" fmla="*/ 13 h 31"/>
                  <a:gd name="T44" fmla="*/ 18 w 89"/>
                  <a:gd name="T45" fmla="*/ 19 h 31"/>
                  <a:gd name="T46" fmla="*/ 19 w 89"/>
                  <a:gd name="T47" fmla="*/ 19 h 31"/>
                  <a:gd name="T48" fmla="*/ 28 w 89"/>
                  <a:gd name="T49" fmla="*/ 13 h 31"/>
                  <a:gd name="T50" fmla="*/ 30 w 89"/>
                  <a:gd name="T51" fmla="*/ 12 h 31"/>
                  <a:gd name="T52" fmla="*/ 31 w 89"/>
                  <a:gd name="T53" fmla="*/ 14 h 31"/>
                  <a:gd name="T54" fmla="*/ 45 w 89"/>
                  <a:gd name="T55" fmla="*/ 17 h 31"/>
                  <a:gd name="T56" fmla="*/ 47 w 89"/>
                  <a:gd name="T57" fmla="*/ 17 h 31"/>
                  <a:gd name="T58" fmla="*/ 49 w 89"/>
                  <a:gd name="T59" fmla="*/ 17 h 31"/>
                  <a:gd name="T60" fmla="*/ 50 w 89"/>
                  <a:gd name="T61" fmla="*/ 17 h 31"/>
                  <a:gd name="T62" fmla="*/ 51 w 89"/>
                  <a:gd name="T63" fmla="*/ 15 h 31"/>
                  <a:gd name="T64" fmla="*/ 55 w 89"/>
                  <a:gd name="T65" fmla="*/ 15 h 31"/>
                  <a:gd name="T66" fmla="*/ 87 w 89"/>
                  <a:gd name="T67" fmla="*/ 31 h 31"/>
                  <a:gd name="T68" fmla="*/ 86 w 89"/>
                  <a:gd name="T69" fmla="*/ 20 h 31"/>
                  <a:gd name="T70" fmla="*/ 84 w 89"/>
                  <a:gd name="T71" fmla="*/ 17 h 31"/>
                  <a:gd name="T72" fmla="*/ 81 w 89"/>
                  <a:gd name="T73" fmla="*/ 14 h 31"/>
                  <a:gd name="T74" fmla="*/ 71 w 89"/>
                  <a:gd name="T75" fmla="*/ 5 h 31"/>
                  <a:gd name="T76" fmla="*/ 58 w 89"/>
                  <a:gd name="T77" fmla="*/ 3 h 31"/>
                  <a:gd name="T78" fmla="*/ 51 w 89"/>
                  <a:gd name="T79" fmla="*/ 0 h 31"/>
                  <a:gd name="T80" fmla="*/ 48 w 89"/>
                  <a:gd name="T8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9" h="31">
                    <a:moveTo>
                      <a:pt x="48" y="0"/>
                    </a:moveTo>
                    <a:cubicBezTo>
                      <a:pt x="46" y="0"/>
                      <a:pt x="45" y="1"/>
                      <a:pt x="43" y="2"/>
                    </a:cubicBezTo>
                    <a:cubicBezTo>
                      <a:pt x="41" y="3"/>
                      <a:pt x="40" y="4"/>
                      <a:pt x="39" y="4"/>
                    </a:cubicBezTo>
                    <a:cubicBezTo>
                      <a:pt x="38" y="4"/>
                      <a:pt x="37" y="4"/>
                      <a:pt x="36" y="3"/>
                    </a:cubicBezTo>
                    <a:cubicBezTo>
                      <a:pt x="35" y="2"/>
                      <a:pt x="37" y="0"/>
                      <a:pt x="35" y="0"/>
                    </a:cubicBezTo>
                    <a:cubicBezTo>
                      <a:pt x="35" y="0"/>
                      <a:pt x="35" y="0"/>
                      <a:pt x="35" y="0"/>
                    </a:cubicBezTo>
                    <a:cubicBezTo>
                      <a:pt x="34" y="0"/>
                      <a:pt x="32" y="1"/>
                      <a:pt x="32" y="2"/>
                    </a:cubicBezTo>
                    <a:cubicBezTo>
                      <a:pt x="30" y="2"/>
                      <a:pt x="28" y="2"/>
                      <a:pt x="26" y="2"/>
                    </a:cubicBezTo>
                    <a:cubicBezTo>
                      <a:pt x="25" y="2"/>
                      <a:pt x="23" y="2"/>
                      <a:pt x="21" y="2"/>
                    </a:cubicBezTo>
                    <a:cubicBezTo>
                      <a:pt x="20" y="2"/>
                      <a:pt x="18" y="2"/>
                      <a:pt x="17" y="2"/>
                    </a:cubicBezTo>
                    <a:cubicBezTo>
                      <a:pt x="16" y="2"/>
                      <a:pt x="16" y="2"/>
                      <a:pt x="15" y="2"/>
                    </a:cubicBezTo>
                    <a:cubicBezTo>
                      <a:pt x="12" y="2"/>
                      <a:pt x="8" y="1"/>
                      <a:pt x="7" y="5"/>
                    </a:cubicBezTo>
                    <a:cubicBezTo>
                      <a:pt x="6" y="8"/>
                      <a:pt x="3" y="10"/>
                      <a:pt x="0" y="10"/>
                    </a:cubicBezTo>
                    <a:cubicBezTo>
                      <a:pt x="1" y="13"/>
                      <a:pt x="3" y="15"/>
                      <a:pt x="3" y="17"/>
                    </a:cubicBezTo>
                    <a:cubicBezTo>
                      <a:pt x="3" y="19"/>
                      <a:pt x="1" y="20"/>
                      <a:pt x="2" y="22"/>
                    </a:cubicBezTo>
                    <a:cubicBezTo>
                      <a:pt x="3" y="20"/>
                      <a:pt x="5" y="18"/>
                      <a:pt x="6" y="16"/>
                    </a:cubicBezTo>
                    <a:cubicBezTo>
                      <a:pt x="6" y="15"/>
                      <a:pt x="6" y="13"/>
                      <a:pt x="7" y="11"/>
                    </a:cubicBezTo>
                    <a:cubicBezTo>
                      <a:pt x="7" y="11"/>
                      <a:pt x="8" y="9"/>
                      <a:pt x="9" y="8"/>
                    </a:cubicBezTo>
                    <a:cubicBezTo>
                      <a:pt x="9" y="8"/>
                      <a:pt x="9" y="8"/>
                      <a:pt x="10" y="8"/>
                    </a:cubicBezTo>
                    <a:cubicBezTo>
                      <a:pt x="10" y="8"/>
                      <a:pt x="9" y="9"/>
                      <a:pt x="10" y="10"/>
                    </a:cubicBezTo>
                    <a:cubicBezTo>
                      <a:pt x="10" y="12"/>
                      <a:pt x="10" y="12"/>
                      <a:pt x="10" y="12"/>
                    </a:cubicBezTo>
                    <a:cubicBezTo>
                      <a:pt x="11" y="12"/>
                      <a:pt x="12" y="12"/>
                      <a:pt x="13" y="13"/>
                    </a:cubicBezTo>
                    <a:cubicBezTo>
                      <a:pt x="15" y="14"/>
                      <a:pt x="16" y="18"/>
                      <a:pt x="18" y="19"/>
                    </a:cubicBezTo>
                    <a:cubicBezTo>
                      <a:pt x="18" y="19"/>
                      <a:pt x="19" y="19"/>
                      <a:pt x="19" y="19"/>
                    </a:cubicBezTo>
                    <a:cubicBezTo>
                      <a:pt x="23" y="19"/>
                      <a:pt x="25" y="15"/>
                      <a:pt x="28" y="13"/>
                    </a:cubicBezTo>
                    <a:cubicBezTo>
                      <a:pt x="29" y="13"/>
                      <a:pt x="30" y="12"/>
                      <a:pt x="30" y="12"/>
                    </a:cubicBezTo>
                    <a:cubicBezTo>
                      <a:pt x="31" y="12"/>
                      <a:pt x="31" y="13"/>
                      <a:pt x="31" y="14"/>
                    </a:cubicBezTo>
                    <a:cubicBezTo>
                      <a:pt x="33" y="17"/>
                      <a:pt x="39" y="17"/>
                      <a:pt x="45" y="17"/>
                    </a:cubicBezTo>
                    <a:cubicBezTo>
                      <a:pt x="46" y="17"/>
                      <a:pt x="46" y="17"/>
                      <a:pt x="47" y="17"/>
                    </a:cubicBezTo>
                    <a:cubicBezTo>
                      <a:pt x="48" y="17"/>
                      <a:pt x="49" y="17"/>
                      <a:pt x="49" y="17"/>
                    </a:cubicBezTo>
                    <a:cubicBezTo>
                      <a:pt x="50" y="17"/>
                      <a:pt x="50" y="17"/>
                      <a:pt x="50" y="17"/>
                    </a:cubicBezTo>
                    <a:cubicBezTo>
                      <a:pt x="47" y="15"/>
                      <a:pt x="49" y="15"/>
                      <a:pt x="51" y="15"/>
                    </a:cubicBezTo>
                    <a:cubicBezTo>
                      <a:pt x="52" y="15"/>
                      <a:pt x="54" y="15"/>
                      <a:pt x="55" y="15"/>
                    </a:cubicBezTo>
                    <a:cubicBezTo>
                      <a:pt x="67" y="16"/>
                      <a:pt x="77" y="25"/>
                      <a:pt x="87" y="31"/>
                    </a:cubicBezTo>
                    <a:cubicBezTo>
                      <a:pt x="87" y="27"/>
                      <a:pt x="89" y="23"/>
                      <a:pt x="86" y="20"/>
                    </a:cubicBezTo>
                    <a:cubicBezTo>
                      <a:pt x="86" y="18"/>
                      <a:pt x="85" y="19"/>
                      <a:pt x="84" y="17"/>
                    </a:cubicBezTo>
                    <a:cubicBezTo>
                      <a:pt x="82" y="16"/>
                      <a:pt x="82" y="17"/>
                      <a:pt x="81" y="14"/>
                    </a:cubicBezTo>
                    <a:cubicBezTo>
                      <a:pt x="80" y="10"/>
                      <a:pt x="76" y="6"/>
                      <a:pt x="71" y="5"/>
                    </a:cubicBezTo>
                    <a:cubicBezTo>
                      <a:pt x="66" y="5"/>
                      <a:pt x="62" y="5"/>
                      <a:pt x="58" y="3"/>
                    </a:cubicBezTo>
                    <a:cubicBezTo>
                      <a:pt x="56" y="2"/>
                      <a:pt x="54" y="1"/>
                      <a:pt x="51" y="0"/>
                    </a:cubicBezTo>
                    <a:cubicBezTo>
                      <a:pt x="50" y="0"/>
                      <a:pt x="49" y="0"/>
                      <a:pt x="4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9" name="Freeform 1241">
                <a:extLst>
                  <a:ext uri="{FF2B5EF4-FFF2-40B4-BE49-F238E27FC236}">
                    <a16:creationId xmlns:a16="http://schemas.microsoft.com/office/drawing/2014/main" id="{74E1A0E3-B002-4398-87E0-C6BFE24E8997}"/>
                  </a:ext>
                </a:extLst>
              </p:cNvPr>
              <p:cNvSpPr>
                <a:spLocks/>
              </p:cNvSpPr>
              <p:nvPr/>
            </p:nvSpPr>
            <p:spPr bwMode="auto">
              <a:xfrm>
                <a:off x="774" y="962"/>
                <a:ext cx="7" cy="7"/>
              </a:xfrm>
              <a:custGeom>
                <a:avLst/>
                <a:gdLst>
                  <a:gd name="T0" fmla="*/ 1 w 3"/>
                  <a:gd name="T1" fmla="*/ 0 h 3"/>
                  <a:gd name="T2" fmla="*/ 0 w 3"/>
                  <a:gd name="T3" fmla="*/ 0 h 3"/>
                  <a:gd name="T4" fmla="*/ 3 w 3"/>
                  <a:gd name="T5" fmla="*/ 3 h 3"/>
                  <a:gd name="T6" fmla="*/ 1 w 3"/>
                  <a:gd name="T7" fmla="*/ 0 h 3"/>
                </a:gdLst>
                <a:ahLst/>
                <a:cxnLst>
                  <a:cxn ang="0">
                    <a:pos x="T0" y="T1"/>
                  </a:cxn>
                  <a:cxn ang="0">
                    <a:pos x="T2" y="T3"/>
                  </a:cxn>
                  <a:cxn ang="0">
                    <a:pos x="T4" y="T5"/>
                  </a:cxn>
                  <a:cxn ang="0">
                    <a:pos x="T6" y="T7"/>
                  </a:cxn>
                </a:cxnLst>
                <a:rect l="0" t="0" r="r" b="b"/>
                <a:pathLst>
                  <a:path w="3" h="3">
                    <a:moveTo>
                      <a:pt x="1" y="0"/>
                    </a:moveTo>
                    <a:cubicBezTo>
                      <a:pt x="0" y="0"/>
                      <a:pt x="0" y="0"/>
                      <a:pt x="0" y="0"/>
                    </a:cubicBezTo>
                    <a:cubicBezTo>
                      <a:pt x="1" y="1"/>
                      <a:pt x="2" y="2"/>
                      <a:pt x="3" y="3"/>
                    </a:cubicBezTo>
                    <a:cubicBezTo>
                      <a:pt x="2"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0" name="Freeform 1242">
                <a:extLst>
                  <a:ext uri="{FF2B5EF4-FFF2-40B4-BE49-F238E27FC236}">
                    <a16:creationId xmlns:a16="http://schemas.microsoft.com/office/drawing/2014/main" id="{DC6D0834-C355-404A-8948-069DBB5AA621}"/>
                  </a:ext>
                </a:extLst>
              </p:cNvPr>
              <p:cNvSpPr>
                <a:spLocks/>
              </p:cNvSpPr>
              <p:nvPr/>
            </p:nvSpPr>
            <p:spPr bwMode="auto">
              <a:xfrm>
                <a:off x="800" y="979"/>
                <a:ext cx="7" cy="7"/>
              </a:xfrm>
              <a:custGeom>
                <a:avLst/>
                <a:gdLst>
                  <a:gd name="T0" fmla="*/ 0 w 3"/>
                  <a:gd name="T1" fmla="*/ 0 h 3"/>
                  <a:gd name="T2" fmla="*/ 3 w 3"/>
                  <a:gd name="T3" fmla="*/ 3 h 3"/>
                  <a:gd name="T4" fmla="*/ 0 w 3"/>
                  <a:gd name="T5" fmla="*/ 0 h 3"/>
                </a:gdLst>
                <a:ahLst/>
                <a:cxnLst>
                  <a:cxn ang="0">
                    <a:pos x="T0" y="T1"/>
                  </a:cxn>
                  <a:cxn ang="0">
                    <a:pos x="T2" y="T3"/>
                  </a:cxn>
                  <a:cxn ang="0">
                    <a:pos x="T4" y="T5"/>
                  </a:cxn>
                </a:cxnLst>
                <a:rect l="0" t="0" r="r" b="b"/>
                <a:pathLst>
                  <a:path w="3" h="3">
                    <a:moveTo>
                      <a:pt x="0" y="0"/>
                    </a:moveTo>
                    <a:cubicBezTo>
                      <a:pt x="1" y="1"/>
                      <a:pt x="2" y="2"/>
                      <a:pt x="3" y="3"/>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1" name="Freeform 1243">
                <a:extLst>
                  <a:ext uri="{FF2B5EF4-FFF2-40B4-BE49-F238E27FC236}">
                    <a16:creationId xmlns:a16="http://schemas.microsoft.com/office/drawing/2014/main" id="{1CFEFBCA-BB10-4F37-93F1-583943B5FBD4}"/>
                  </a:ext>
                </a:extLst>
              </p:cNvPr>
              <p:cNvSpPr>
                <a:spLocks/>
              </p:cNvSpPr>
              <p:nvPr/>
            </p:nvSpPr>
            <p:spPr bwMode="auto">
              <a:xfrm>
                <a:off x="2320" y="1251"/>
                <a:ext cx="96" cy="52"/>
              </a:xfrm>
              <a:custGeom>
                <a:avLst/>
                <a:gdLst>
                  <a:gd name="T0" fmla="*/ 20 w 41"/>
                  <a:gd name="T1" fmla="*/ 0 h 22"/>
                  <a:gd name="T2" fmla="*/ 16 w 41"/>
                  <a:gd name="T3" fmla="*/ 0 h 22"/>
                  <a:gd name="T4" fmla="*/ 5 w 41"/>
                  <a:gd name="T5" fmla="*/ 10 h 22"/>
                  <a:gd name="T6" fmla="*/ 10 w 41"/>
                  <a:gd name="T7" fmla="*/ 15 h 22"/>
                  <a:gd name="T8" fmla="*/ 24 w 41"/>
                  <a:gd name="T9" fmla="*/ 22 h 22"/>
                  <a:gd name="T10" fmla="*/ 24 w 41"/>
                  <a:gd name="T11" fmla="*/ 22 h 22"/>
                  <a:gd name="T12" fmla="*/ 40 w 41"/>
                  <a:gd name="T13" fmla="*/ 15 h 22"/>
                  <a:gd name="T14" fmla="*/ 40 w 41"/>
                  <a:gd name="T15" fmla="*/ 8 h 22"/>
                  <a:gd name="T16" fmla="*/ 37 w 41"/>
                  <a:gd name="T17" fmla="*/ 6 h 22"/>
                  <a:gd name="T18" fmla="*/ 33 w 41"/>
                  <a:gd name="T19" fmla="*/ 2 h 22"/>
                  <a:gd name="T20" fmla="*/ 20 w 41"/>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22">
                    <a:moveTo>
                      <a:pt x="20" y="0"/>
                    </a:moveTo>
                    <a:cubicBezTo>
                      <a:pt x="18" y="0"/>
                      <a:pt x="17" y="0"/>
                      <a:pt x="16" y="0"/>
                    </a:cubicBezTo>
                    <a:cubicBezTo>
                      <a:pt x="10" y="1"/>
                      <a:pt x="0" y="1"/>
                      <a:pt x="5" y="10"/>
                    </a:cubicBezTo>
                    <a:cubicBezTo>
                      <a:pt x="6" y="11"/>
                      <a:pt x="9" y="14"/>
                      <a:pt x="10" y="15"/>
                    </a:cubicBezTo>
                    <a:cubicBezTo>
                      <a:pt x="12" y="18"/>
                      <a:pt x="20" y="22"/>
                      <a:pt x="24" y="22"/>
                    </a:cubicBezTo>
                    <a:cubicBezTo>
                      <a:pt x="24" y="22"/>
                      <a:pt x="24" y="22"/>
                      <a:pt x="24" y="22"/>
                    </a:cubicBezTo>
                    <a:cubicBezTo>
                      <a:pt x="27" y="22"/>
                      <a:pt x="38" y="18"/>
                      <a:pt x="40" y="15"/>
                    </a:cubicBezTo>
                    <a:cubicBezTo>
                      <a:pt x="41" y="14"/>
                      <a:pt x="40" y="9"/>
                      <a:pt x="40" y="8"/>
                    </a:cubicBezTo>
                    <a:cubicBezTo>
                      <a:pt x="39" y="7"/>
                      <a:pt x="38" y="8"/>
                      <a:pt x="37" y="6"/>
                    </a:cubicBezTo>
                    <a:cubicBezTo>
                      <a:pt x="36" y="4"/>
                      <a:pt x="35" y="3"/>
                      <a:pt x="33" y="2"/>
                    </a:cubicBezTo>
                    <a:cubicBezTo>
                      <a:pt x="29" y="0"/>
                      <a:pt x="25"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2" name="Freeform 1244">
                <a:extLst>
                  <a:ext uri="{FF2B5EF4-FFF2-40B4-BE49-F238E27FC236}">
                    <a16:creationId xmlns:a16="http://schemas.microsoft.com/office/drawing/2014/main" id="{CBD4F236-B6ED-42B2-BC06-7C36C3500D12}"/>
                  </a:ext>
                </a:extLst>
              </p:cNvPr>
              <p:cNvSpPr>
                <a:spLocks/>
              </p:cNvSpPr>
              <p:nvPr/>
            </p:nvSpPr>
            <p:spPr bwMode="auto">
              <a:xfrm>
                <a:off x="1845" y="1679"/>
                <a:ext cx="132" cy="70"/>
              </a:xfrm>
              <a:custGeom>
                <a:avLst/>
                <a:gdLst>
                  <a:gd name="T0" fmla="*/ 28 w 56"/>
                  <a:gd name="T1" fmla="*/ 1 h 30"/>
                  <a:gd name="T2" fmla="*/ 27 w 56"/>
                  <a:gd name="T3" fmla="*/ 2 h 30"/>
                  <a:gd name="T4" fmla="*/ 0 w 56"/>
                  <a:gd name="T5" fmla="*/ 8 h 30"/>
                  <a:gd name="T6" fmla="*/ 2 w 56"/>
                  <a:gd name="T7" fmla="*/ 11 h 30"/>
                  <a:gd name="T8" fmla="*/ 13 w 56"/>
                  <a:gd name="T9" fmla="*/ 14 h 30"/>
                  <a:gd name="T10" fmla="*/ 13 w 56"/>
                  <a:gd name="T11" fmla="*/ 14 h 30"/>
                  <a:gd name="T12" fmla="*/ 15 w 56"/>
                  <a:gd name="T13" fmla="*/ 14 h 30"/>
                  <a:gd name="T14" fmla="*/ 17 w 56"/>
                  <a:gd name="T15" fmla="*/ 14 h 30"/>
                  <a:gd name="T16" fmla="*/ 22 w 56"/>
                  <a:gd name="T17" fmla="*/ 16 h 30"/>
                  <a:gd name="T18" fmla="*/ 44 w 56"/>
                  <a:gd name="T19" fmla="*/ 30 h 30"/>
                  <a:gd name="T20" fmla="*/ 44 w 56"/>
                  <a:gd name="T21" fmla="*/ 30 h 30"/>
                  <a:gd name="T22" fmla="*/ 47 w 56"/>
                  <a:gd name="T23" fmla="*/ 28 h 30"/>
                  <a:gd name="T24" fmla="*/ 55 w 56"/>
                  <a:gd name="T25" fmla="*/ 21 h 30"/>
                  <a:gd name="T26" fmla="*/ 49 w 56"/>
                  <a:gd name="T27" fmla="*/ 17 h 30"/>
                  <a:gd name="T28" fmla="*/ 45 w 56"/>
                  <a:gd name="T29" fmla="*/ 11 h 30"/>
                  <a:gd name="T30" fmla="*/ 42 w 56"/>
                  <a:gd name="T31" fmla="*/ 10 h 30"/>
                  <a:gd name="T32" fmla="*/ 42 w 56"/>
                  <a:gd name="T33" fmla="*/ 10 h 30"/>
                  <a:gd name="T34" fmla="*/ 41 w 56"/>
                  <a:gd name="T35" fmla="*/ 11 h 30"/>
                  <a:gd name="T36" fmla="*/ 40 w 56"/>
                  <a:gd name="T37" fmla="*/ 11 h 30"/>
                  <a:gd name="T38" fmla="*/ 39 w 56"/>
                  <a:gd name="T39" fmla="*/ 11 h 30"/>
                  <a:gd name="T40" fmla="*/ 38 w 56"/>
                  <a:gd name="T41" fmla="*/ 7 h 30"/>
                  <a:gd name="T42" fmla="*/ 35 w 56"/>
                  <a:gd name="T43" fmla="*/ 6 h 30"/>
                  <a:gd name="T44" fmla="*/ 28 w 56"/>
                  <a:gd name="T45"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30">
                    <a:moveTo>
                      <a:pt x="28" y="1"/>
                    </a:moveTo>
                    <a:cubicBezTo>
                      <a:pt x="28" y="1"/>
                      <a:pt x="27" y="1"/>
                      <a:pt x="27" y="2"/>
                    </a:cubicBezTo>
                    <a:cubicBezTo>
                      <a:pt x="17" y="2"/>
                      <a:pt x="8" y="0"/>
                      <a:pt x="0" y="8"/>
                    </a:cubicBezTo>
                    <a:cubicBezTo>
                      <a:pt x="0" y="8"/>
                      <a:pt x="2" y="11"/>
                      <a:pt x="2" y="11"/>
                    </a:cubicBezTo>
                    <a:cubicBezTo>
                      <a:pt x="5" y="13"/>
                      <a:pt x="10" y="14"/>
                      <a:pt x="13" y="14"/>
                    </a:cubicBezTo>
                    <a:cubicBezTo>
                      <a:pt x="13" y="14"/>
                      <a:pt x="13" y="14"/>
                      <a:pt x="13" y="14"/>
                    </a:cubicBezTo>
                    <a:cubicBezTo>
                      <a:pt x="13" y="14"/>
                      <a:pt x="14" y="14"/>
                      <a:pt x="15" y="14"/>
                    </a:cubicBezTo>
                    <a:cubicBezTo>
                      <a:pt x="15" y="14"/>
                      <a:pt x="16" y="14"/>
                      <a:pt x="17" y="14"/>
                    </a:cubicBezTo>
                    <a:cubicBezTo>
                      <a:pt x="18" y="14"/>
                      <a:pt x="20" y="15"/>
                      <a:pt x="22" y="16"/>
                    </a:cubicBezTo>
                    <a:cubicBezTo>
                      <a:pt x="29" y="21"/>
                      <a:pt x="36" y="25"/>
                      <a:pt x="44" y="30"/>
                    </a:cubicBezTo>
                    <a:cubicBezTo>
                      <a:pt x="44" y="30"/>
                      <a:pt x="44" y="30"/>
                      <a:pt x="44" y="30"/>
                    </a:cubicBezTo>
                    <a:cubicBezTo>
                      <a:pt x="44" y="30"/>
                      <a:pt x="46" y="28"/>
                      <a:pt x="47" y="28"/>
                    </a:cubicBezTo>
                    <a:cubicBezTo>
                      <a:pt x="50" y="27"/>
                      <a:pt x="56" y="27"/>
                      <a:pt x="55" y="21"/>
                    </a:cubicBezTo>
                    <a:cubicBezTo>
                      <a:pt x="54" y="19"/>
                      <a:pt x="51" y="18"/>
                      <a:pt x="49" y="17"/>
                    </a:cubicBezTo>
                    <a:cubicBezTo>
                      <a:pt x="48" y="15"/>
                      <a:pt x="48" y="13"/>
                      <a:pt x="45" y="11"/>
                    </a:cubicBezTo>
                    <a:cubicBezTo>
                      <a:pt x="43" y="11"/>
                      <a:pt x="44" y="11"/>
                      <a:pt x="42" y="10"/>
                    </a:cubicBezTo>
                    <a:cubicBezTo>
                      <a:pt x="42" y="10"/>
                      <a:pt x="42" y="10"/>
                      <a:pt x="42" y="10"/>
                    </a:cubicBezTo>
                    <a:cubicBezTo>
                      <a:pt x="41" y="10"/>
                      <a:pt x="41" y="11"/>
                      <a:pt x="41" y="11"/>
                    </a:cubicBezTo>
                    <a:cubicBezTo>
                      <a:pt x="40" y="11"/>
                      <a:pt x="40" y="11"/>
                      <a:pt x="40" y="11"/>
                    </a:cubicBezTo>
                    <a:cubicBezTo>
                      <a:pt x="40" y="11"/>
                      <a:pt x="39" y="11"/>
                      <a:pt x="39" y="11"/>
                    </a:cubicBezTo>
                    <a:cubicBezTo>
                      <a:pt x="37" y="10"/>
                      <a:pt x="39" y="8"/>
                      <a:pt x="38" y="7"/>
                    </a:cubicBezTo>
                    <a:cubicBezTo>
                      <a:pt x="36" y="5"/>
                      <a:pt x="36" y="6"/>
                      <a:pt x="35" y="6"/>
                    </a:cubicBezTo>
                    <a:cubicBezTo>
                      <a:pt x="32" y="4"/>
                      <a:pt x="31" y="1"/>
                      <a:pt x="28"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3" name="Freeform 1245">
                <a:extLst>
                  <a:ext uri="{FF2B5EF4-FFF2-40B4-BE49-F238E27FC236}">
                    <a16:creationId xmlns:a16="http://schemas.microsoft.com/office/drawing/2014/main" id="{6C8039C1-3BF7-418E-8359-5B2AA59648F6}"/>
                  </a:ext>
                </a:extLst>
              </p:cNvPr>
              <p:cNvSpPr>
                <a:spLocks/>
              </p:cNvSpPr>
              <p:nvPr/>
            </p:nvSpPr>
            <p:spPr bwMode="auto">
              <a:xfrm>
                <a:off x="2093" y="1343"/>
                <a:ext cx="47" cy="85"/>
              </a:xfrm>
              <a:custGeom>
                <a:avLst/>
                <a:gdLst>
                  <a:gd name="T0" fmla="*/ 13 w 20"/>
                  <a:gd name="T1" fmla="*/ 0 h 36"/>
                  <a:gd name="T2" fmla="*/ 10 w 20"/>
                  <a:gd name="T3" fmla="*/ 2 h 36"/>
                  <a:gd name="T4" fmla="*/ 8 w 20"/>
                  <a:gd name="T5" fmla="*/ 10 h 36"/>
                  <a:gd name="T6" fmla="*/ 6 w 20"/>
                  <a:gd name="T7" fmla="*/ 20 h 36"/>
                  <a:gd name="T8" fmla="*/ 2 w 20"/>
                  <a:gd name="T9" fmla="*/ 29 h 36"/>
                  <a:gd name="T10" fmla="*/ 2 w 20"/>
                  <a:gd name="T11" fmla="*/ 33 h 36"/>
                  <a:gd name="T12" fmla="*/ 6 w 20"/>
                  <a:gd name="T13" fmla="*/ 36 h 36"/>
                  <a:gd name="T14" fmla="*/ 7 w 20"/>
                  <a:gd name="T15" fmla="*/ 36 h 36"/>
                  <a:gd name="T16" fmla="*/ 9 w 20"/>
                  <a:gd name="T17" fmla="*/ 35 h 36"/>
                  <a:gd name="T18" fmla="*/ 19 w 20"/>
                  <a:gd name="T19" fmla="*/ 25 h 36"/>
                  <a:gd name="T20" fmla="*/ 15 w 20"/>
                  <a:gd name="T21" fmla="*/ 22 h 36"/>
                  <a:gd name="T22" fmla="*/ 14 w 20"/>
                  <a:gd name="T23" fmla="*/ 10 h 36"/>
                  <a:gd name="T24" fmla="*/ 16 w 20"/>
                  <a:gd name="T25" fmla="*/ 9 h 36"/>
                  <a:gd name="T26" fmla="*/ 19 w 20"/>
                  <a:gd name="T27" fmla="*/ 11 h 36"/>
                  <a:gd name="T28" fmla="*/ 13 w 20"/>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6">
                    <a:moveTo>
                      <a:pt x="13" y="0"/>
                    </a:moveTo>
                    <a:cubicBezTo>
                      <a:pt x="12" y="0"/>
                      <a:pt x="11" y="0"/>
                      <a:pt x="10" y="2"/>
                    </a:cubicBezTo>
                    <a:cubicBezTo>
                      <a:pt x="8" y="5"/>
                      <a:pt x="9" y="8"/>
                      <a:pt x="8" y="10"/>
                    </a:cubicBezTo>
                    <a:cubicBezTo>
                      <a:pt x="8" y="13"/>
                      <a:pt x="6" y="17"/>
                      <a:pt x="6" y="20"/>
                    </a:cubicBezTo>
                    <a:cubicBezTo>
                      <a:pt x="5" y="23"/>
                      <a:pt x="4" y="26"/>
                      <a:pt x="2" y="29"/>
                    </a:cubicBezTo>
                    <a:cubicBezTo>
                      <a:pt x="1" y="31"/>
                      <a:pt x="0" y="32"/>
                      <a:pt x="2" y="33"/>
                    </a:cubicBezTo>
                    <a:cubicBezTo>
                      <a:pt x="3" y="34"/>
                      <a:pt x="5" y="36"/>
                      <a:pt x="6" y="36"/>
                    </a:cubicBezTo>
                    <a:cubicBezTo>
                      <a:pt x="7" y="36"/>
                      <a:pt x="7" y="36"/>
                      <a:pt x="7" y="36"/>
                    </a:cubicBezTo>
                    <a:cubicBezTo>
                      <a:pt x="8" y="36"/>
                      <a:pt x="8" y="36"/>
                      <a:pt x="9" y="35"/>
                    </a:cubicBezTo>
                    <a:cubicBezTo>
                      <a:pt x="11" y="33"/>
                      <a:pt x="20" y="28"/>
                      <a:pt x="19" y="25"/>
                    </a:cubicBezTo>
                    <a:cubicBezTo>
                      <a:pt x="18" y="24"/>
                      <a:pt x="15" y="22"/>
                      <a:pt x="15" y="22"/>
                    </a:cubicBezTo>
                    <a:cubicBezTo>
                      <a:pt x="12" y="19"/>
                      <a:pt x="12" y="12"/>
                      <a:pt x="14" y="10"/>
                    </a:cubicBezTo>
                    <a:cubicBezTo>
                      <a:pt x="15" y="9"/>
                      <a:pt x="16" y="9"/>
                      <a:pt x="16" y="9"/>
                    </a:cubicBezTo>
                    <a:cubicBezTo>
                      <a:pt x="17" y="9"/>
                      <a:pt x="18" y="10"/>
                      <a:pt x="19" y="11"/>
                    </a:cubicBezTo>
                    <a:cubicBezTo>
                      <a:pt x="19" y="7"/>
                      <a:pt x="17"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4" name="Freeform 1246">
                <a:extLst>
                  <a:ext uri="{FF2B5EF4-FFF2-40B4-BE49-F238E27FC236}">
                    <a16:creationId xmlns:a16="http://schemas.microsoft.com/office/drawing/2014/main" id="{A76389F1-1551-443C-9383-AB160125ACD6}"/>
                  </a:ext>
                </a:extLst>
              </p:cNvPr>
              <p:cNvSpPr>
                <a:spLocks/>
              </p:cNvSpPr>
              <p:nvPr/>
            </p:nvSpPr>
            <p:spPr bwMode="auto">
              <a:xfrm>
                <a:off x="559" y="1229"/>
                <a:ext cx="28" cy="38"/>
              </a:xfrm>
              <a:custGeom>
                <a:avLst/>
                <a:gdLst>
                  <a:gd name="T0" fmla="*/ 0 w 12"/>
                  <a:gd name="T1" fmla="*/ 0 h 16"/>
                  <a:gd name="T2" fmla="*/ 7 w 12"/>
                  <a:gd name="T3" fmla="*/ 16 h 16"/>
                  <a:gd name="T4" fmla="*/ 5 w 12"/>
                  <a:gd name="T5" fmla="*/ 11 h 16"/>
                  <a:gd name="T6" fmla="*/ 0 w 12"/>
                  <a:gd name="T7" fmla="*/ 0 h 16"/>
                </a:gdLst>
                <a:ahLst/>
                <a:cxnLst>
                  <a:cxn ang="0">
                    <a:pos x="T0" y="T1"/>
                  </a:cxn>
                  <a:cxn ang="0">
                    <a:pos x="T2" y="T3"/>
                  </a:cxn>
                  <a:cxn ang="0">
                    <a:pos x="T4" y="T5"/>
                  </a:cxn>
                  <a:cxn ang="0">
                    <a:pos x="T6" y="T7"/>
                  </a:cxn>
                </a:cxnLst>
                <a:rect l="0" t="0" r="r" b="b"/>
                <a:pathLst>
                  <a:path w="12" h="16">
                    <a:moveTo>
                      <a:pt x="0" y="0"/>
                    </a:moveTo>
                    <a:cubicBezTo>
                      <a:pt x="2" y="6"/>
                      <a:pt x="5" y="11"/>
                      <a:pt x="7" y="16"/>
                    </a:cubicBezTo>
                    <a:cubicBezTo>
                      <a:pt x="7" y="15"/>
                      <a:pt x="6" y="12"/>
                      <a:pt x="5" y="11"/>
                    </a:cubicBezTo>
                    <a:cubicBezTo>
                      <a:pt x="12" y="10"/>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5" name="Freeform 1247">
                <a:extLst>
                  <a:ext uri="{FF2B5EF4-FFF2-40B4-BE49-F238E27FC236}">
                    <a16:creationId xmlns:a16="http://schemas.microsoft.com/office/drawing/2014/main" id="{433B8A26-0C65-4648-8C31-18F9BF94D5EA}"/>
                  </a:ext>
                </a:extLst>
              </p:cNvPr>
              <p:cNvSpPr>
                <a:spLocks/>
              </p:cNvSpPr>
              <p:nvPr/>
            </p:nvSpPr>
            <p:spPr bwMode="auto">
              <a:xfrm>
                <a:off x="1663" y="1272"/>
                <a:ext cx="9" cy="17"/>
              </a:xfrm>
              <a:custGeom>
                <a:avLst/>
                <a:gdLst>
                  <a:gd name="T0" fmla="*/ 4 w 4"/>
                  <a:gd name="T1" fmla="*/ 0 h 7"/>
                  <a:gd name="T2" fmla="*/ 2 w 4"/>
                  <a:gd name="T3" fmla="*/ 2 h 7"/>
                  <a:gd name="T4" fmla="*/ 2 w 4"/>
                  <a:gd name="T5" fmla="*/ 2 h 7"/>
                  <a:gd name="T6" fmla="*/ 2 w 4"/>
                  <a:gd name="T7" fmla="*/ 3 h 7"/>
                  <a:gd name="T8" fmla="*/ 2 w 4"/>
                  <a:gd name="T9" fmla="*/ 7 h 7"/>
                  <a:gd name="T10" fmla="*/ 4 w 4"/>
                  <a:gd name="T11" fmla="*/ 0 h 7"/>
                </a:gdLst>
                <a:ahLst/>
                <a:cxnLst>
                  <a:cxn ang="0">
                    <a:pos x="T0" y="T1"/>
                  </a:cxn>
                  <a:cxn ang="0">
                    <a:pos x="T2" y="T3"/>
                  </a:cxn>
                  <a:cxn ang="0">
                    <a:pos x="T4" y="T5"/>
                  </a:cxn>
                  <a:cxn ang="0">
                    <a:pos x="T6" y="T7"/>
                  </a:cxn>
                  <a:cxn ang="0">
                    <a:pos x="T8" y="T9"/>
                  </a:cxn>
                  <a:cxn ang="0">
                    <a:pos x="T10" y="T11"/>
                  </a:cxn>
                </a:cxnLst>
                <a:rect l="0" t="0" r="r" b="b"/>
                <a:pathLst>
                  <a:path w="4" h="7">
                    <a:moveTo>
                      <a:pt x="4" y="0"/>
                    </a:moveTo>
                    <a:cubicBezTo>
                      <a:pt x="3" y="1"/>
                      <a:pt x="3" y="2"/>
                      <a:pt x="2" y="2"/>
                    </a:cubicBezTo>
                    <a:cubicBezTo>
                      <a:pt x="2" y="2"/>
                      <a:pt x="2" y="2"/>
                      <a:pt x="2" y="2"/>
                    </a:cubicBezTo>
                    <a:cubicBezTo>
                      <a:pt x="2" y="3"/>
                      <a:pt x="2" y="3"/>
                      <a:pt x="2" y="3"/>
                    </a:cubicBezTo>
                    <a:cubicBezTo>
                      <a:pt x="0" y="4"/>
                      <a:pt x="1" y="6"/>
                      <a:pt x="2" y="7"/>
                    </a:cubicBezTo>
                    <a:cubicBezTo>
                      <a:pt x="3" y="5"/>
                      <a:pt x="4"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6" name="Freeform 1248">
                <a:extLst>
                  <a:ext uri="{FF2B5EF4-FFF2-40B4-BE49-F238E27FC236}">
                    <a16:creationId xmlns:a16="http://schemas.microsoft.com/office/drawing/2014/main" id="{3DE9FFD4-ABF6-4D38-8BDB-880B310459D2}"/>
                  </a:ext>
                </a:extLst>
              </p:cNvPr>
              <p:cNvSpPr>
                <a:spLocks/>
              </p:cNvSpPr>
              <p:nvPr/>
            </p:nvSpPr>
            <p:spPr bwMode="auto">
              <a:xfrm>
                <a:off x="2889" y="1414"/>
                <a:ext cx="43" cy="61"/>
              </a:xfrm>
              <a:custGeom>
                <a:avLst/>
                <a:gdLst>
                  <a:gd name="T0" fmla="*/ 11 w 18"/>
                  <a:gd name="T1" fmla="*/ 0 h 26"/>
                  <a:gd name="T2" fmla="*/ 9 w 18"/>
                  <a:gd name="T3" fmla="*/ 1 h 26"/>
                  <a:gd name="T4" fmla="*/ 10 w 18"/>
                  <a:gd name="T5" fmla="*/ 3 h 26"/>
                  <a:gd name="T6" fmla="*/ 9 w 18"/>
                  <a:gd name="T7" fmla="*/ 3 h 26"/>
                  <a:gd name="T8" fmla="*/ 8 w 18"/>
                  <a:gd name="T9" fmla="*/ 4 h 26"/>
                  <a:gd name="T10" fmla="*/ 5 w 18"/>
                  <a:gd name="T11" fmla="*/ 7 h 26"/>
                  <a:gd name="T12" fmla="*/ 3 w 18"/>
                  <a:gd name="T13" fmla="*/ 9 h 26"/>
                  <a:gd name="T14" fmla="*/ 6 w 18"/>
                  <a:gd name="T15" fmla="*/ 11 h 26"/>
                  <a:gd name="T16" fmla="*/ 4 w 18"/>
                  <a:gd name="T17" fmla="*/ 14 h 26"/>
                  <a:gd name="T18" fmla="*/ 3 w 18"/>
                  <a:gd name="T19" fmla="*/ 19 h 26"/>
                  <a:gd name="T20" fmla="*/ 13 w 18"/>
                  <a:gd name="T21" fmla="*/ 26 h 26"/>
                  <a:gd name="T22" fmla="*/ 13 w 18"/>
                  <a:gd name="T23" fmla="*/ 26 h 26"/>
                  <a:gd name="T24" fmla="*/ 16 w 18"/>
                  <a:gd name="T25" fmla="*/ 21 h 26"/>
                  <a:gd name="T26" fmla="*/ 15 w 18"/>
                  <a:gd name="T27" fmla="*/ 22 h 26"/>
                  <a:gd name="T28" fmla="*/ 15 w 18"/>
                  <a:gd name="T29" fmla="*/ 16 h 26"/>
                  <a:gd name="T30" fmla="*/ 15 w 18"/>
                  <a:gd name="T31" fmla="*/ 2 h 26"/>
                  <a:gd name="T32" fmla="*/ 12 w 18"/>
                  <a:gd name="T33" fmla="*/ 0 h 26"/>
                  <a:gd name="T34" fmla="*/ 11 w 18"/>
                  <a:gd name="T3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6">
                    <a:moveTo>
                      <a:pt x="11" y="0"/>
                    </a:moveTo>
                    <a:cubicBezTo>
                      <a:pt x="10" y="0"/>
                      <a:pt x="10" y="0"/>
                      <a:pt x="9" y="1"/>
                    </a:cubicBezTo>
                    <a:cubicBezTo>
                      <a:pt x="9" y="1"/>
                      <a:pt x="10" y="2"/>
                      <a:pt x="10" y="3"/>
                    </a:cubicBezTo>
                    <a:cubicBezTo>
                      <a:pt x="10" y="3"/>
                      <a:pt x="10" y="3"/>
                      <a:pt x="9" y="3"/>
                    </a:cubicBezTo>
                    <a:cubicBezTo>
                      <a:pt x="9" y="3"/>
                      <a:pt x="8" y="3"/>
                      <a:pt x="8" y="4"/>
                    </a:cubicBezTo>
                    <a:cubicBezTo>
                      <a:pt x="7" y="5"/>
                      <a:pt x="7" y="6"/>
                      <a:pt x="5" y="7"/>
                    </a:cubicBezTo>
                    <a:cubicBezTo>
                      <a:pt x="2" y="9"/>
                      <a:pt x="0" y="7"/>
                      <a:pt x="3" y="9"/>
                    </a:cubicBezTo>
                    <a:cubicBezTo>
                      <a:pt x="4" y="10"/>
                      <a:pt x="6" y="9"/>
                      <a:pt x="6" y="11"/>
                    </a:cubicBezTo>
                    <a:cubicBezTo>
                      <a:pt x="6" y="12"/>
                      <a:pt x="4" y="12"/>
                      <a:pt x="4" y="14"/>
                    </a:cubicBezTo>
                    <a:cubicBezTo>
                      <a:pt x="3" y="19"/>
                      <a:pt x="3" y="19"/>
                      <a:pt x="3" y="19"/>
                    </a:cubicBezTo>
                    <a:cubicBezTo>
                      <a:pt x="3" y="22"/>
                      <a:pt x="9" y="26"/>
                      <a:pt x="13" y="26"/>
                    </a:cubicBezTo>
                    <a:cubicBezTo>
                      <a:pt x="13" y="26"/>
                      <a:pt x="13" y="26"/>
                      <a:pt x="13" y="26"/>
                    </a:cubicBezTo>
                    <a:cubicBezTo>
                      <a:pt x="15" y="26"/>
                      <a:pt x="18" y="21"/>
                      <a:pt x="16" y="21"/>
                    </a:cubicBezTo>
                    <a:cubicBezTo>
                      <a:pt x="15" y="21"/>
                      <a:pt x="15" y="22"/>
                      <a:pt x="15" y="22"/>
                    </a:cubicBezTo>
                    <a:cubicBezTo>
                      <a:pt x="18" y="20"/>
                      <a:pt x="17" y="18"/>
                      <a:pt x="15" y="16"/>
                    </a:cubicBezTo>
                    <a:cubicBezTo>
                      <a:pt x="16" y="11"/>
                      <a:pt x="18" y="6"/>
                      <a:pt x="15" y="2"/>
                    </a:cubicBezTo>
                    <a:cubicBezTo>
                      <a:pt x="13" y="1"/>
                      <a:pt x="14" y="0"/>
                      <a:pt x="12" y="0"/>
                    </a:cubicBezTo>
                    <a:cubicBezTo>
                      <a:pt x="11"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7" name="Freeform 1249">
                <a:extLst>
                  <a:ext uri="{FF2B5EF4-FFF2-40B4-BE49-F238E27FC236}">
                    <a16:creationId xmlns:a16="http://schemas.microsoft.com/office/drawing/2014/main" id="{186A7E5D-F544-451B-BF69-6C0A1AD17DAB}"/>
                  </a:ext>
                </a:extLst>
              </p:cNvPr>
              <p:cNvSpPr>
                <a:spLocks noEditPoints="1"/>
              </p:cNvSpPr>
              <p:nvPr/>
            </p:nvSpPr>
            <p:spPr bwMode="auto">
              <a:xfrm>
                <a:off x="2634" y="1069"/>
                <a:ext cx="14" cy="4"/>
              </a:xfrm>
              <a:custGeom>
                <a:avLst/>
                <a:gdLst>
                  <a:gd name="T0" fmla="*/ 5 w 6"/>
                  <a:gd name="T1" fmla="*/ 0 h 2"/>
                  <a:gd name="T2" fmla="*/ 0 w 6"/>
                  <a:gd name="T3" fmla="*/ 1 h 2"/>
                  <a:gd name="T4" fmla="*/ 0 w 6"/>
                  <a:gd name="T5" fmla="*/ 2 h 2"/>
                  <a:gd name="T6" fmla="*/ 5 w 6"/>
                  <a:gd name="T7" fmla="*/ 0 h 2"/>
                  <a:gd name="T8" fmla="*/ 6 w 6"/>
                  <a:gd name="T9" fmla="*/ 0 h 2"/>
                  <a:gd name="T10" fmla="*/ 5 w 6"/>
                  <a:gd name="T11" fmla="*/ 0 h 2"/>
                  <a:gd name="T12" fmla="*/ 6 w 6"/>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6" h="2">
                    <a:moveTo>
                      <a:pt x="5" y="0"/>
                    </a:moveTo>
                    <a:cubicBezTo>
                      <a:pt x="3" y="1"/>
                      <a:pt x="2" y="1"/>
                      <a:pt x="0" y="1"/>
                    </a:cubicBezTo>
                    <a:cubicBezTo>
                      <a:pt x="0" y="2"/>
                      <a:pt x="0" y="2"/>
                      <a:pt x="0" y="2"/>
                    </a:cubicBezTo>
                    <a:cubicBezTo>
                      <a:pt x="2" y="2"/>
                      <a:pt x="4" y="1"/>
                      <a:pt x="5" y="0"/>
                    </a:cubicBezTo>
                    <a:moveTo>
                      <a:pt x="6" y="0"/>
                    </a:moveTo>
                    <a:cubicBezTo>
                      <a:pt x="5" y="0"/>
                      <a:pt x="5" y="0"/>
                      <a:pt x="5" y="0"/>
                    </a:cubicBezTo>
                    <a:cubicBezTo>
                      <a:pt x="5" y="0"/>
                      <a:pt x="5"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8" name="Freeform 1250">
                <a:extLst>
                  <a:ext uri="{FF2B5EF4-FFF2-40B4-BE49-F238E27FC236}">
                    <a16:creationId xmlns:a16="http://schemas.microsoft.com/office/drawing/2014/main" id="{DE426BB6-4B1A-4107-A25B-5C839001E9E1}"/>
                  </a:ext>
                </a:extLst>
              </p:cNvPr>
              <p:cNvSpPr>
                <a:spLocks/>
              </p:cNvSpPr>
              <p:nvPr/>
            </p:nvSpPr>
            <p:spPr bwMode="auto">
              <a:xfrm>
                <a:off x="2109" y="1118"/>
                <a:ext cx="52" cy="33"/>
              </a:xfrm>
              <a:custGeom>
                <a:avLst/>
                <a:gdLst>
                  <a:gd name="T0" fmla="*/ 11 w 22"/>
                  <a:gd name="T1" fmla="*/ 0 h 14"/>
                  <a:gd name="T2" fmla="*/ 8 w 22"/>
                  <a:gd name="T3" fmla="*/ 0 h 14"/>
                  <a:gd name="T4" fmla="*/ 8 w 22"/>
                  <a:gd name="T5" fmla="*/ 0 h 14"/>
                  <a:gd name="T6" fmla="*/ 2 w 22"/>
                  <a:gd name="T7" fmla="*/ 2 h 14"/>
                  <a:gd name="T8" fmla="*/ 1 w 22"/>
                  <a:gd name="T9" fmla="*/ 9 h 14"/>
                  <a:gd name="T10" fmla="*/ 3 w 22"/>
                  <a:gd name="T11" fmla="*/ 12 h 14"/>
                  <a:gd name="T12" fmla="*/ 10 w 22"/>
                  <a:gd name="T13" fmla="*/ 5 h 14"/>
                  <a:gd name="T14" fmla="*/ 11 w 22"/>
                  <a:gd name="T15" fmla="*/ 9 h 14"/>
                  <a:gd name="T16" fmla="*/ 13 w 22"/>
                  <a:gd name="T17" fmla="*/ 14 h 14"/>
                  <a:gd name="T18" fmla="*/ 22 w 22"/>
                  <a:gd name="T19" fmla="*/ 4 h 14"/>
                  <a:gd name="T20" fmla="*/ 17 w 22"/>
                  <a:gd name="T21" fmla="*/ 2 h 14"/>
                  <a:gd name="T22" fmla="*/ 15 w 22"/>
                  <a:gd name="T23" fmla="*/ 4 h 14"/>
                  <a:gd name="T24" fmla="*/ 11 w 22"/>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14">
                    <a:moveTo>
                      <a:pt x="11" y="0"/>
                    </a:moveTo>
                    <a:cubicBezTo>
                      <a:pt x="12" y="0"/>
                      <a:pt x="9" y="0"/>
                      <a:pt x="8" y="0"/>
                    </a:cubicBezTo>
                    <a:cubicBezTo>
                      <a:pt x="8" y="0"/>
                      <a:pt x="8" y="0"/>
                      <a:pt x="8" y="0"/>
                    </a:cubicBezTo>
                    <a:cubicBezTo>
                      <a:pt x="6" y="1"/>
                      <a:pt x="4" y="1"/>
                      <a:pt x="2" y="2"/>
                    </a:cubicBezTo>
                    <a:cubicBezTo>
                      <a:pt x="0" y="4"/>
                      <a:pt x="0" y="7"/>
                      <a:pt x="1" y="9"/>
                    </a:cubicBezTo>
                    <a:cubicBezTo>
                      <a:pt x="1" y="12"/>
                      <a:pt x="2" y="12"/>
                      <a:pt x="3" y="12"/>
                    </a:cubicBezTo>
                    <a:cubicBezTo>
                      <a:pt x="5" y="12"/>
                      <a:pt x="8" y="6"/>
                      <a:pt x="10" y="5"/>
                    </a:cubicBezTo>
                    <a:cubicBezTo>
                      <a:pt x="10" y="6"/>
                      <a:pt x="11" y="8"/>
                      <a:pt x="11" y="9"/>
                    </a:cubicBezTo>
                    <a:cubicBezTo>
                      <a:pt x="10" y="13"/>
                      <a:pt x="8" y="12"/>
                      <a:pt x="13" y="14"/>
                    </a:cubicBezTo>
                    <a:cubicBezTo>
                      <a:pt x="14" y="7"/>
                      <a:pt x="15" y="8"/>
                      <a:pt x="22" y="4"/>
                    </a:cubicBezTo>
                    <a:cubicBezTo>
                      <a:pt x="20" y="3"/>
                      <a:pt x="19" y="2"/>
                      <a:pt x="17" y="2"/>
                    </a:cubicBezTo>
                    <a:cubicBezTo>
                      <a:pt x="16" y="2"/>
                      <a:pt x="15" y="3"/>
                      <a:pt x="15" y="4"/>
                    </a:cubicBezTo>
                    <a:cubicBezTo>
                      <a:pt x="14" y="3"/>
                      <a:pt x="13" y="1"/>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9" name="Freeform 1251">
                <a:extLst>
                  <a:ext uri="{FF2B5EF4-FFF2-40B4-BE49-F238E27FC236}">
                    <a16:creationId xmlns:a16="http://schemas.microsoft.com/office/drawing/2014/main" id="{597F1D82-DCF5-4480-A1FE-0A3FDBAD2590}"/>
                  </a:ext>
                </a:extLst>
              </p:cNvPr>
              <p:cNvSpPr>
                <a:spLocks/>
              </p:cNvSpPr>
              <p:nvPr/>
            </p:nvSpPr>
            <p:spPr bwMode="auto">
              <a:xfrm>
                <a:off x="2499" y="1525"/>
                <a:ext cx="10" cy="9"/>
              </a:xfrm>
              <a:custGeom>
                <a:avLst/>
                <a:gdLst>
                  <a:gd name="T0" fmla="*/ 4 w 4"/>
                  <a:gd name="T1" fmla="*/ 0 h 4"/>
                  <a:gd name="T2" fmla="*/ 4 w 4"/>
                  <a:gd name="T3" fmla="*/ 4 h 4"/>
                  <a:gd name="T4" fmla="*/ 4 w 4"/>
                  <a:gd name="T5" fmla="*/ 0 h 4"/>
                </a:gdLst>
                <a:ahLst/>
                <a:cxnLst>
                  <a:cxn ang="0">
                    <a:pos x="T0" y="T1"/>
                  </a:cxn>
                  <a:cxn ang="0">
                    <a:pos x="T2" y="T3"/>
                  </a:cxn>
                  <a:cxn ang="0">
                    <a:pos x="T4" y="T5"/>
                  </a:cxn>
                </a:cxnLst>
                <a:rect l="0" t="0" r="r" b="b"/>
                <a:pathLst>
                  <a:path w="4" h="4">
                    <a:moveTo>
                      <a:pt x="4" y="0"/>
                    </a:moveTo>
                    <a:cubicBezTo>
                      <a:pt x="0" y="1"/>
                      <a:pt x="1" y="3"/>
                      <a:pt x="4" y="4"/>
                    </a:cubicBezTo>
                    <a:cubicBezTo>
                      <a:pt x="4" y="3"/>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0" name="Freeform 1252">
                <a:extLst>
                  <a:ext uri="{FF2B5EF4-FFF2-40B4-BE49-F238E27FC236}">
                    <a16:creationId xmlns:a16="http://schemas.microsoft.com/office/drawing/2014/main" id="{C955EA5D-DB52-401B-9826-7ED784E790B0}"/>
                  </a:ext>
                </a:extLst>
              </p:cNvPr>
              <p:cNvSpPr>
                <a:spLocks/>
              </p:cNvSpPr>
              <p:nvPr/>
            </p:nvSpPr>
            <p:spPr bwMode="auto">
              <a:xfrm>
                <a:off x="2421" y="1135"/>
                <a:ext cx="57" cy="24"/>
              </a:xfrm>
              <a:custGeom>
                <a:avLst/>
                <a:gdLst>
                  <a:gd name="T0" fmla="*/ 11 w 24"/>
                  <a:gd name="T1" fmla="*/ 0 h 10"/>
                  <a:gd name="T2" fmla="*/ 3 w 24"/>
                  <a:gd name="T3" fmla="*/ 1 h 10"/>
                  <a:gd name="T4" fmla="*/ 1 w 24"/>
                  <a:gd name="T5" fmla="*/ 7 h 10"/>
                  <a:gd name="T6" fmla="*/ 6 w 24"/>
                  <a:gd name="T7" fmla="*/ 10 h 10"/>
                  <a:gd name="T8" fmla="*/ 9 w 24"/>
                  <a:gd name="T9" fmla="*/ 9 h 10"/>
                  <a:gd name="T10" fmla="*/ 16 w 24"/>
                  <a:gd name="T11" fmla="*/ 9 h 10"/>
                  <a:gd name="T12" fmla="*/ 18 w 24"/>
                  <a:gd name="T13" fmla="*/ 9 h 10"/>
                  <a:gd name="T14" fmla="*/ 20 w 24"/>
                  <a:gd name="T15" fmla="*/ 9 h 10"/>
                  <a:gd name="T16" fmla="*/ 19 w 24"/>
                  <a:gd name="T17" fmla="*/ 3 h 10"/>
                  <a:gd name="T18" fmla="*/ 11 w 24"/>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0">
                    <a:moveTo>
                      <a:pt x="11" y="0"/>
                    </a:moveTo>
                    <a:cubicBezTo>
                      <a:pt x="9" y="0"/>
                      <a:pt x="6" y="0"/>
                      <a:pt x="3" y="1"/>
                    </a:cubicBezTo>
                    <a:cubicBezTo>
                      <a:pt x="2" y="3"/>
                      <a:pt x="0" y="6"/>
                      <a:pt x="1" y="7"/>
                    </a:cubicBezTo>
                    <a:cubicBezTo>
                      <a:pt x="2" y="9"/>
                      <a:pt x="4" y="10"/>
                      <a:pt x="6" y="10"/>
                    </a:cubicBezTo>
                    <a:cubicBezTo>
                      <a:pt x="7" y="10"/>
                      <a:pt x="8" y="10"/>
                      <a:pt x="9" y="9"/>
                    </a:cubicBezTo>
                    <a:cubicBezTo>
                      <a:pt x="11" y="9"/>
                      <a:pt x="13" y="9"/>
                      <a:pt x="16" y="9"/>
                    </a:cubicBezTo>
                    <a:cubicBezTo>
                      <a:pt x="16" y="9"/>
                      <a:pt x="17" y="9"/>
                      <a:pt x="18" y="9"/>
                    </a:cubicBezTo>
                    <a:cubicBezTo>
                      <a:pt x="18" y="9"/>
                      <a:pt x="19" y="9"/>
                      <a:pt x="20" y="9"/>
                    </a:cubicBezTo>
                    <a:cubicBezTo>
                      <a:pt x="24" y="9"/>
                      <a:pt x="24" y="8"/>
                      <a:pt x="19" y="3"/>
                    </a:cubicBezTo>
                    <a:cubicBezTo>
                      <a:pt x="16" y="1"/>
                      <a:pt x="13"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1" name="Freeform 1253">
                <a:extLst>
                  <a:ext uri="{FF2B5EF4-FFF2-40B4-BE49-F238E27FC236}">
                    <a16:creationId xmlns:a16="http://schemas.microsoft.com/office/drawing/2014/main" id="{B3372147-5694-48F9-893C-0F26F5CD9C20}"/>
                  </a:ext>
                </a:extLst>
              </p:cNvPr>
              <p:cNvSpPr>
                <a:spLocks/>
              </p:cNvSpPr>
              <p:nvPr/>
            </p:nvSpPr>
            <p:spPr bwMode="auto">
              <a:xfrm>
                <a:off x="344" y="934"/>
                <a:ext cx="59" cy="66"/>
              </a:xfrm>
              <a:custGeom>
                <a:avLst/>
                <a:gdLst>
                  <a:gd name="T0" fmla="*/ 8 w 25"/>
                  <a:gd name="T1" fmla="*/ 0 h 28"/>
                  <a:gd name="T2" fmla="*/ 0 w 25"/>
                  <a:gd name="T3" fmla="*/ 4 h 28"/>
                  <a:gd name="T4" fmla="*/ 13 w 25"/>
                  <a:gd name="T5" fmla="*/ 18 h 28"/>
                  <a:gd name="T6" fmla="*/ 22 w 25"/>
                  <a:gd name="T7" fmla="*/ 28 h 28"/>
                  <a:gd name="T8" fmla="*/ 24 w 25"/>
                  <a:gd name="T9" fmla="*/ 22 h 28"/>
                  <a:gd name="T10" fmla="*/ 22 w 25"/>
                  <a:gd name="T11" fmla="*/ 15 h 28"/>
                  <a:gd name="T12" fmla="*/ 8 w 25"/>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25" h="28">
                    <a:moveTo>
                      <a:pt x="8" y="0"/>
                    </a:moveTo>
                    <a:cubicBezTo>
                      <a:pt x="8" y="4"/>
                      <a:pt x="2" y="2"/>
                      <a:pt x="0" y="4"/>
                    </a:cubicBezTo>
                    <a:cubicBezTo>
                      <a:pt x="5" y="5"/>
                      <a:pt x="8" y="14"/>
                      <a:pt x="13" y="18"/>
                    </a:cubicBezTo>
                    <a:cubicBezTo>
                      <a:pt x="16" y="22"/>
                      <a:pt x="18" y="25"/>
                      <a:pt x="22" y="28"/>
                    </a:cubicBezTo>
                    <a:cubicBezTo>
                      <a:pt x="24" y="27"/>
                      <a:pt x="23" y="25"/>
                      <a:pt x="24" y="22"/>
                    </a:cubicBezTo>
                    <a:cubicBezTo>
                      <a:pt x="24" y="19"/>
                      <a:pt x="25" y="18"/>
                      <a:pt x="22" y="15"/>
                    </a:cubicBezTo>
                    <a:cubicBezTo>
                      <a:pt x="17" y="10"/>
                      <a:pt x="13" y="5"/>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2" name="Freeform 1254">
                <a:extLst>
                  <a:ext uri="{FF2B5EF4-FFF2-40B4-BE49-F238E27FC236}">
                    <a16:creationId xmlns:a16="http://schemas.microsoft.com/office/drawing/2014/main" id="{83B4DE0B-3E1C-4BD1-9DEA-4F147BF7BE74}"/>
                  </a:ext>
                </a:extLst>
              </p:cNvPr>
              <p:cNvSpPr>
                <a:spLocks/>
              </p:cNvSpPr>
              <p:nvPr/>
            </p:nvSpPr>
            <p:spPr bwMode="auto">
              <a:xfrm>
                <a:off x="2899" y="1177"/>
                <a:ext cx="7" cy="10"/>
              </a:xfrm>
              <a:custGeom>
                <a:avLst/>
                <a:gdLst>
                  <a:gd name="T0" fmla="*/ 3 w 3"/>
                  <a:gd name="T1" fmla="*/ 0 h 4"/>
                  <a:gd name="T2" fmla="*/ 1 w 3"/>
                  <a:gd name="T3" fmla="*/ 4 h 4"/>
                  <a:gd name="T4" fmla="*/ 3 w 3"/>
                  <a:gd name="T5" fmla="*/ 0 h 4"/>
                </a:gdLst>
                <a:ahLst/>
                <a:cxnLst>
                  <a:cxn ang="0">
                    <a:pos x="T0" y="T1"/>
                  </a:cxn>
                  <a:cxn ang="0">
                    <a:pos x="T2" y="T3"/>
                  </a:cxn>
                  <a:cxn ang="0">
                    <a:pos x="T4" y="T5"/>
                  </a:cxn>
                </a:cxnLst>
                <a:rect l="0" t="0" r="r" b="b"/>
                <a:pathLst>
                  <a:path w="3" h="4">
                    <a:moveTo>
                      <a:pt x="3" y="0"/>
                    </a:moveTo>
                    <a:cubicBezTo>
                      <a:pt x="1" y="1"/>
                      <a:pt x="0" y="2"/>
                      <a:pt x="1" y="4"/>
                    </a:cubicBezTo>
                    <a:cubicBezTo>
                      <a:pt x="2" y="3"/>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3" name="Freeform 1255">
                <a:extLst>
                  <a:ext uri="{FF2B5EF4-FFF2-40B4-BE49-F238E27FC236}">
                    <a16:creationId xmlns:a16="http://schemas.microsoft.com/office/drawing/2014/main" id="{10ACF148-0CA9-4ABE-9227-BD74863A95F4}"/>
                  </a:ext>
                </a:extLst>
              </p:cNvPr>
              <p:cNvSpPr>
                <a:spLocks/>
              </p:cNvSpPr>
              <p:nvPr/>
            </p:nvSpPr>
            <p:spPr bwMode="auto">
              <a:xfrm>
                <a:off x="2419" y="981"/>
                <a:ext cx="2" cy="5"/>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0" y="1"/>
                      <a:pt x="0" y="2"/>
                      <a:pt x="0" y="2"/>
                    </a:cubicBezTo>
                    <a:cubicBezTo>
                      <a:pt x="0" y="2"/>
                      <a:pt x="0"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4" name="Freeform 1256">
                <a:extLst>
                  <a:ext uri="{FF2B5EF4-FFF2-40B4-BE49-F238E27FC236}">
                    <a16:creationId xmlns:a16="http://schemas.microsoft.com/office/drawing/2014/main" id="{5F258ECE-329D-4C32-81C9-EC80E629E7BF}"/>
                  </a:ext>
                </a:extLst>
              </p:cNvPr>
              <p:cNvSpPr>
                <a:spLocks/>
              </p:cNvSpPr>
              <p:nvPr/>
            </p:nvSpPr>
            <p:spPr bwMode="auto">
              <a:xfrm>
                <a:off x="2414" y="1062"/>
                <a:ext cx="45" cy="37"/>
              </a:xfrm>
              <a:custGeom>
                <a:avLst/>
                <a:gdLst>
                  <a:gd name="T0" fmla="*/ 8 w 19"/>
                  <a:gd name="T1" fmla="*/ 0 h 16"/>
                  <a:gd name="T2" fmla="*/ 6 w 19"/>
                  <a:gd name="T3" fmla="*/ 3 h 16"/>
                  <a:gd name="T4" fmla="*/ 6 w 19"/>
                  <a:gd name="T5" fmla="*/ 3 h 16"/>
                  <a:gd name="T6" fmla="*/ 5 w 19"/>
                  <a:gd name="T7" fmla="*/ 1 h 16"/>
                  <a:gd name="T8" fmla="*/ 4 w 19"/>
                  <a:gd name="T9" fmla="*/ 0 h 16"/>
                  <a:gd name="T10" fmla="*/ 4 w 19"/>
                  <a:gd name="T11" fmla="*/ 0 h 16"/>
                  <a:gd name="T12" fmla="*/ 3 w 19"/>
                  <a:gd name="T13" fmla="*/ 8 h 16"/>
                  <a:gd name="T14" fmla="*/ 6 w 19"/>
                  <a:gd name="T15" fmla="*/ 10 h 16"/>
                  <a:gd name="T16" fmla="*/ 6 w 19"/>
                  <a:gd name="T17" fmla="*/ 11 h 16"/>
                  <a:gd name="T18" fmla="*/ 7 w 19"/>
                  <a:gd name="T19" fmla="*/ 14 h 16"/>
                  <a:gd name="T20" fmla="*/ 8 w 19"/>
                  <a:gd name="T21" fmla="*/ 14 h 16"/>
                  <a:gd name="T22" fmla="*/ 11 w 19"/>
                  <a:gd name="T23" fmla="*/ 13 h 16"/>
                  <a:gd name="T24" fmla="*/ 14 w 19"/>
                  <a:gd name="T25" fmla="*/ 16 h 16"/>
                  <a:gd name="T26" fmla="*/ 15 w 19"/>
                  <a:gd name="T27" fmla="*/ 16 h 16"/>
                  <a:gd name="T28" fmla="*/ 18 w 19"/>
                  <a:gd name="T29" fmla="*/ 14 h 16"/>
                  <a:gd name="T30" fmla="*/ 13 w 19"/>
                  <a:gd name="T31" fmla="*/ 11 h 16"/>
                  <a:gd name="T32" fmla="*/ 13 w 19"/>
                  <a:gd name="T33" fmla="*/ 11 h 16"/>
                  <a:gd name="T34" fmla="*/ 13 w 19"/>
                  <a:gd name="T35" fmla="*/ 11 h 16"/>
                  <a:gd name="T36" fmla="*/ 12 w 19"/>
                  <a:gd name="T37" fmla="*/ 11 h 16"/>
                  <a:gd name="T38" fmla="*/ 12 w 19"/>
                  <a:gd name="T39" fmla="*/ 10 h 16"/>
                  <a:gd name="T40" fmla="*/ 8 w 19"/>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16">
                    <a:moveTo>
                      <a:pt x="8" y="0"/>
                    </a:moveTo>
                    <a:cubicBezTo>
                      <a:pt x="8" y="0"/>
                      <a:pt x="7" y="3"/>
                      <a:pt x="6" y="3"/>
                    </a:cubicBezTo>
                    <a:cubicBezTo>
                      <a:pt x="6" y="3"/>
                      <a:pt x="6" y="3"/>
                      <a:pt x="6" y="3"/>
                    </a:cubicBezTo>
                    <a:cubicBezTo>
                      <a:pt x="5" y="3"/>
                      <a:pt x="5" y="2"/>
                      <a:pt x="5" y="1"/>
                    </a:cubicBezTo>
                    <a:cubicBezTo>
                      <a:pt x="4" y="1"/>
                      <a:pt x="4" y="0"/>
                      <a:pt x="4" y="0"/>
                    </a:cubicBezTo>
                    <a:cubicBezTo>
                      <a:pt x="4" y="0"/>
                      <a:pt x="4" y="0"/>
                      <a:pt x="4" y="0"/>
                    </a:cubicBezTo>
                    <a:cubicBezTo>
                      <a:pt x="0" y="1"/>
                      <a:pt x="2" y="6"/>
                      <a:pt x="3" y="8"/>
                    </a:cubicBezTo>
                    <a:cubicBezTo>
                      <a:pt x="4" y="8"/>
                      <a:pt x="6" y="9"/>
                      <a:pt x="6" y="10"/>
                    </a:cubicBezTo>
                    <a:cubicBezTo>
                      <a:pt x="7" y="10"/>
                      <a:pt x="6" y="11"/>
                      <a:pt x="6" y="11"/>
                    </a:cubicBezTo>
                    <a:cubicBezTo>
                      <a:pt x="6" y="13"/>
                      <a:pt x="5" y="14"/>
                      <a:pt x="7" y="14"/>
                    </a:cubicBezTo>
                    <a:cubicBezTo>
                      <a:pt x="7" y="14"/>
                      <a:pt x="7" y="14"/>
                      <a:pt x="8" y="14"/>
                    </a:cubicBezTo>
                    <a:cubicBezTo>
                      <a:pt x="9" y="13"/>
                      <a:pt x="10" y="13"/>
                      <a:pt x="11" y="13"/>
                    </a:cubicBezTo>
                    <a:cubicBezTo>
                      <a:pt x="13" y="13"/>
                      <a:pt x="11" y="16"/>
                      <a:pt x="14" y="16"/>
                    </a:cubicBezTo>
                    <a:cubicBezTo>
                      <a:pt x="14" y="16"/>
                      <a:pt x="15" y="16"/>
                      <a:pt x="15" y="16"/>
                    </a:cubicBezTo>
                    <a:cubicBezTo>
                      <a:pt x="16" y="16"/>
                      <a:pt x="17" y="15"/>
                      <a:pt x="18" y="14"/>
                    </a:cubicBezTo>
                    <a:cubicBezTo>
                      <a:pt x="19" y="13"/>
                      <a:pt x="14" y="12"/>
                      <a:pt x="13" y="11"/>
                    </a:cubicBezTo>
                    <a:cubicBezTo>
                      <a:pt x="13" y="11"/>
                      <a:pt x="13" y="11"/>
                      <a:pt x="13" y="11"/>
                    </a:cubicBezTo>
                    <a:cubicBezTo>
                      <a:pt x="13" y="11"/>
                      <a:pt x="13" y="11"/>
                      <a:pt x="13" y="11"/>
                    </a:cubicBezTo>
                    <a:cubicBezTo>
                      <a:pt x="12" y="11"/>
                      <a:pt x="12" y="11"/>
                      <a:pt x="12" y="11"/>
                    </a:cubicBezTo>
                    <a:cubicBezTo>
                      <a:pt x="12" y="11"/>
                      <a:pt x="12" y="11"/>
                      <a:pt x="12" y="10"/>
                    </a:cubicBezTo>
                    <a:cubicBezTo>
                      <a:pt x="11" y="5"/>
                      <a:pt x="11" y="4"/>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5" name="Freeform 1257">
                <a:extLst>
                  <a:ext uri="{FF2B5EF4-FFF2-40B4-BE49-F238E27FC236}">
                    <a16:creationId xmlns:a16="http://schemas.microsoft.com/office/drawing/2014/main" id="{73502A1D-8088-4774-AB59-0968FEF4023B}"/>
                  </a:ext>
                </a:extLst>
              </p:cNvPr>
              <p:cNvSpPr>
                <a:spLocks/>
              </p:cNvSpPr>
              <p:nvPr/>
            </p:nvSpPr>
            <p:spPr bwMode="auto">
              <a:xfrm>
                <a:off x="1407" y="1433"/>
                <a:ext cx="10" cy="7"/>
              </a:xfrm>
              <a:custGeom>
                <a:avLst/>
                <a:gdLst>
                  <a:gd name="T0" fmla="*/ 4 w 4"/>
                  <a:gd name="T1" fmla="*/ 0 h 3"/>
                  <a:gd name="T2" fmla="*/ 0 w 4"/>
                  <a:gd name="T3" fmla="*/ 3 h 3"/>
                  <a:gd name="T4" fmla="*/ 4 w 4"/>
                  <a:gd name="T5" fmla="*/ 0 h 3"/>
                </a:gdLst>
                <a:ahLst/>
                <a:cxnLst>
                  <a:cxn ang="0">
                    <a:pos x="T0" y="T1"/>
                  </a:cxn>
                  <a:cxn ang="0">
                    <a:pos x="T2" y="T3"/>
                  </a:cxn>
                  <a:cxn ang="0">
                    <a:pos x="T4" y="T5"/>
                  </a:cxn>
                </a:cxnLst>
                <a:rect l="0" t="0" r="r" b="b"/>
                <a:pathLst>
                  <a:path w="4" h="3">
                    <a:moveTo>
                      <a:pt x="4" y="0"/>
                    </a:moveTo>
                    <a:cubicBezTo>
                      <a:pt x="2" y="1"/>
                      <a:pt x="0" y="1"/>
                      <a:pt x="0" y="3"/>
                    </a:cubicBezTo>
                    <a:cubicBezTo>
                      <a:pt x="2" y="2"/>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6" name="Freeform 1258">
                <a:extLst>
                  <a:ext uri="{FF2B5EF4-FFF2-40B4-BE49-F238E27FC236}">
                    <a16:creationId xmlns:a16="http://schemas.microsoft.com/office/drawing/2014/main" id="{9D3B4EE3-2520-4E2E-ADBC-3120F4E44699}"/>
                  </a:ext>
                </a:extLst>
              </p:cNvPr>
              <p:cNvSpPr>
                <a:spLocks/>
              </p:cNvSpPr>
              <p:nvPr/>
            </p:nvSpPr>
            <p:spPr bwMode="auto">
              <a:xfrm>
                <a:off x="214" y="653"/>
                <a:ext cx="747" cy="794"/>
              </a:xfrm>
              <a:custGeom>
                <a:avLst/>
                <a:gdLst>
                  <a:gd name="T0" fmla="*/ 2 w 316"/>
                  <a:gd name="T1" fmla="*/ 6 h 336"/>
                  <a:gd name="T2" fmla="*/ 55 w 316"/>
                  <a:gd name="T3" fmla="*/ 63 h 336"/>
                  <a:gd name="T4" fmla="*/ 71 w 316"/>
                  <a:gd name="T5" fmla="*/ 87 h 336"/>
                  <a:gd name="T6" fmla="*/ 91 w 316"/>
                  <a:gd name="T7" fmla="*/ 104 h 336"/>
                  <a:gd name="T8" fmla="*/ 104 w 316"/>
                  <a:gd name="T9" fmla="*/ 117 h 336"/>
                  <a:gd name="T10" fmla="*/ 124 w 316"/>
                  <a:gd name="T11" fmla="*/ 159 h 336"/>
                  <a:gd name="T12" fmla="*/ 162 w 316"/>
                  <a:gd name="T13" fmla="*/ 215 h 336"/>
                  <a:gd name="T14" fmla="*/ 204 w 316"/>
                  <a:gd name="T15" fmla="*/ 272 h 336"/>
                  <a:gd name="T16" fmla="*/ 239 w 316"/>
                  <a:gd name="T17" fmla="*/ 302 h 336"/>
                  <a:gd name="T18" fmla="*/ 274 w 316"/>
                  <a:gd name="T19" fmla="*/ 336 h 336"/>
                  <a:gd name="T20" fmla="*/ 276 w 316"/>
                  <a:gd name="T21" fmla="*/ 324 h 336"/>
                  <a:gd name="T22" fmla="*/ 289 w 316"/>
                  <a:gd name="T23" fmla="*/ 331 h 336"/>
                  <a:gd name="T24" fmla="*/ 295 w 316"/>
                  <a:gd name="T25" fmla="*/ 324 h 336"/>
                  <a:gd name="T26" fmla="*/ 310 w 316"/>
                  <a:gd name="T27" fmla="*/ 291 h 336"/>
                  <a:gd name="T28" fmla="*/ 311 w 316"/>
                  <a:gd name="T29" fmla="*/ 264 h 336"/>
                  <a:gd name="T30" fmla="*/ 293 w 316"/>
                  <a:gd name="T31" fmla="*/ 232 h 336"/>
                  <a:gd name="T32" fmla="*/ 279 w 316"/>
                  <a:gd name="T33" fmla="*/ 233 h 336"/>
                  <a:gd name="T34" fmla="*/ 274 w 316"/>
                  <a:gd name="T35" fmla="*/ 233 h 336"/>
                  <a:gd name="T36" fmla="*/ 270 w 316"/>
                  <a:gd name="T37" fmla="*/ 217 h 336"/>
                  <a:gd name="T38" fmla="*/ 265 w 316"/>
                  <a:gd name="T39" fmla="*/ 194 h 336"/>
                  <a:gd name="T40" fmla="*/ 261 w 316"/>
                  <a:gd name="T41" fmla="*/ 194 h 336"/>
                  <a:gd name="T42" fmla="*/ 238 w 316"/>
                  <a:gd name="T43" fmla="*/ 177 h 336"/>
                  <a:gd name="T44" fmla="*/ 237 w 316"/>
                  <a:gd name="T45" fmla="*/ 174 h 336"/>
                  <a:gd name="T46" fmla="*/ 235 w 316"/>
                  <a:gd name="T47" fmla="*/ 171 h 336"/>
                  <a:gd name="T48" fmla="*/ 245 w 316"/>
                  <a:gd name="T49" fmla="*/ 165 h 336"/>
                  <a:gd name="T50" fmla="*/ 245 w 316"/>
                  <a:gd name="T51" fmla="*/ 154 h 336"/>
                  <a:gd name="T52" fmla="*/ 226 w 316"/>
                  <a:gd name="T53" fmla="*/ 153 h 336"/>
                  <a:gd name="T54" fmla="*/ 215 w 316"/>
                  <a:gd name="T55" fmla="*/ 158 h 336"/>
                  <a:gd name="T56" fmla="*/ 230 w 316"/>
                  <a:gd name="T57" fmla="*/ 151 h 336"/>
                  <a:gd name="T58" fmla="*/ 209 w 316"/>
                  <a:gd name="T59" fmla="*/ 139 h 336"/>
                  <a:gd name="T60" fmla="*/ 183 w 316"/>
                  <a:gd name="T61" fmla="*/ 114 h 336"/>
                  <a:gd name="T62" fmla="*/ 165 w 316"/>
                  <a:gd name="T63" fmla="*/ 99 h 336"/>
                  <a:gd name="T64" fmla="*/ 167 w 316"/>
                  <a:gd name="T65" fmla="*/ 111 h 336"/>
                  <a:gd name="T66" fmla="*/ 152 w 316"/>
                  <a:gd name="T67" fmla="*/ 97 h 336"/>
                  <a:gd name="T68" fmla="*/ 140 w 316"/>
                  <a:gd name="T69" fmla="*/ 87 h 336"/>
                  <a:gd name="T70" fmla="*/ 109 w 316"/>
                  <a:gd name="T71" fmla="*/ 58 h 336"/>
                  <a:gd name="T72" fmla="*/ 93 w 316"/>
                  <a:gd name="T73" fmla="*/ 60 h 336"/>
                  <a:gd name="T74" fmla="*/ 94 w 316"/>
                  <a:gd name="T75" fmla="*/ 46 h 336"/>
                  <a:gd name="T76" fmla="*/ 89 w 316"/>
                  <a:gd name="T77" fmla="*/ 38 h 336"/>
                  <a:gd name="T78" fmla="*/ 69 w 316"/>
                  <a:gd name="T79" fmla="*/ 12 h 336"/>
                  <a:gd name="T80" fmla="*/ 58 w 316"/>
                  <a:gd name="T81" fmla="*/ 13 h 336"/>
                  <a:gd name="T82" fmla="*/ 39 w 316"/>
                  <a:gd name="T83" fmla="*/ 11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6" h="336">
                    <a:moveTo>
                      <a:pt x="12" y="0"/>
                    </a:moveTo>
                    <a:cubicBezTo>
                      <a:pt x="8" y="0"/>
                      <a:pt x="6" y="0"/>
                      <a:pt x="3" y="2"/>
                    </a:cubicBezTo>
                    <a:cubicBezTo>
                      <a:pt x="0" y="3"/>
                      <a:pt x="1" y="3"/>
                      <a:pt x="2" y="6"/>
                    </a:cubicBezTo>
                    <a:cubicBezTo>
                      <a:pt x="3" y="12"/>
                      <a:pt x="4" y="15"/>
                      <a:pt x="8" y="20"/>
                    </a:cubicBezTo>
                    <a:cubicBezTo>
                      <a:pt x="18" y="33"/>
                      <a:pt x="29" y="48"/>
                      <a:pt x="44" y="56"/>
                    </a:cubicBezTo>
                    <a:cubicBezTo>
                      <a:pt x="47" y="58"/>
                      <a:pt x="52" y="60"/>
                      <a:pt x="55" y="63"/>
                    </a:cubicBezTo>
                    <a:cubicBezTo>
                      <a:pt x="58" y="67"/>
                      <a:pt x="61" y="71"/>
                      <a:pt x="65" y="75"/>
                    </a:cubicBezTo>
                    <a:cubicBezTo>
                      <a:pt x="66" y="77"/>
                      <a:pt x="69" y="79"/>
                      <a:pt x="70" y="80"/>
                    </a:cubicBezTo>
                    <a:cubicBezTo>
                      <a:pt x="71" y="82"/>
                      <a:pt x="71" y="85"/>
                      <a:pt x="71" y="87"/>
                    </a:cubicBezTo>
                    <a:cubicBezTo>
                      <a:pt x="72" y="90"/>
                      <a:pt x="72" y="95"/>
                      <a:pt x="74" y="97"/>
                    </a:cubicBezTo>
                    <a:cubicBezTo>
                      <a:pt x="76" y="98"/>
                      <a:pt x="78" y="98"/>
                      <a:pt x="80" y="99"/>
                    </a:cubicBezTo>
                    <a:cubicBezTo>
                      <a:pt x="84" y="100"/>
                      <a:pt x="87" y="102"/>
                      <a:pt x="91" y="104"/>
                    </a:cubicBezTo>
                    <a:cubicBezTo>
                      <a:pt x="96" y="107"/>
                      <a:pt x="99" y="110"/>
                      <a:pt x="103" y="113"/>
                    </a:cubicBezTo>
                    <a:cubicBezTo>
                      <a:pt x="103" y="113"/>
                      <a:pt x="103" y="112"/>
                      <a:pt x="103" y="112"/>
                    </a:cubicBezTo>
                    <a:cubicBezTo>
                      <a:pt x="105" y="112"/>
                      <a:pt x="104" y="115"/>
                      <a:pt x="104" y="117"/>
                    </a:cubicBezTo>
                    <a:cubicBezTo>
                      <a:pt x="105" y="122"/>
                      <a:pt x="106" y="125"/>
                      <a:pt x="108" y="130"/>
                    </a:cubicBezTo>
                    <a:cubicBezTo>
                      <a:pt x="110" y="137"/>
                      <a:pt x="112" y="145"/>
                      <a:pt x="114" y="152"/>
                    </a:cubicBezTo>
                    <a:cubicBezTo>
                      <a:pt x="116" y="158"/>
                      <a:pt x="118" y="157"/>
                      <a:pt x="124" y="159"/>
                    </a:cubicBezTo>
                    <a:cubicBezTo>
                      <a:pt x="128" y="160"/>
                      <a:pt x="129" y="161"/>
                      <a:pt x="131" y="166"/>
                    </a:cubicBezTo>
                    <a:cubicBezTo>
                      <a:pt x="136" y="175"/>
                      <a:pt x="149" y="183"/>
                      <a:pt x="150" y="193"/>
                    </a:cubicBezTo>
                    <a:cubicBezTo>
                      <a:pt x="151" y="201"/>
                      <a:pt x="158" y="208"/>
                      <a:pt x="162" y="215"/>
                    </a:cubicBezTo>
                    <a:cubicBezTo>
                      <a:pt x="166" y="221"/>
                      <a:pt x="167" y="228"/>
                      <a:pt x="169" y="234"/>
                    </a:cubicBezTo>
                    <a:cubicBezTo>
                      <a:pt x="171" y="242"/>
                      <a:pt x="180" y="249"/>
                      <a:pt x="185" y="255"/>
                    </a:cubicBezTo>
                    <a:cubicBezTo>
                      <a:pt x="190" y="261"/>
                      <a:pt x="198" y="266"/>
                      <a:pt x="204" y="272"/>
                    </a:cubicBezTo>
                    <a:cubicBezTo>
                      <a:pt x="207" y="274"/>
                      <a:pt x="205" y="278"/>
                      <a:pt x="207" y="279"/>
                    </a:cubicBezTo>
                    <a:cubicBezTo>
                      <a:pt x="211" y="282"/>
                      <a:pt x="215" y="286"/>
                      <a:pt x="219" y="289"/>
                    </a:cubicBezTo>
                    <a:cubicBezTo>
                      <a:pt x="226" y="293"/>
                      <a:pt x="232" y="298"/>
                      <a:pt x="239" y="302"/>
                    </a:cubicBezTo>
                    <a:cubicBezTo>
                      <a:pt x="245" y="307"/>
                      <a:pt x="250" y="312"/>
                      <a:pt x="256" y="318"/>
                    </a:cubicBezTo>
                    <a:cubicBezTo>
                      <a:pt x="260" y="323"/>
                      <a:pt x="265" y="327"/>
                      <a:pt x="269" y="332"/>
                    </a:cubicBezTo>
                    <a:cubicBezTo>
                      <a:pt x="270" y="334"/>
                      <a:pt x="272" y="336"/>
                      <a:pt x="274" y="336"/>
                    </a:cubicBezTo>
                    <a:cubicBezTo>
                      <a:pt x="274" y="336"/>
                      <a:pt x="275" y="336"/>
                      <a:pt x="275" y="336"/>
                    </a:cubicBezTo>
                    <a:cubicBezTo>
                      <a:pt x="274" y="333"/>
                      <a:pt x="271" y="323"/>
                      <a:pt x="275" y="323"/>
                    </a:cubicBezTo>
                    <a:cubicBezTo>
                      <a:pt x="275" y="323"/>
                      <a:pt x="276" y="324"/>
                      <a:pt x="276" y="324"/>
                    </a:cubicBezTo>
                    <a:cubicBezTo>
                      <a:pt x="277" y="324"/>
                      <a:pt x="279" y="326"/>
                      <a:pt x="280" y="327"/>
                    </a:cubicBezTo>
                    <a:cubicBezTo>
                      <a:pt x="281" y="328"/>
                      <a:pt x="283" y="329"/>
                      <a:pt x="285" y="329"/>
                    </a:cubicBezTo>
                    <a:cubicBezTo>
                      <a:pt x="286" y="330"/>
                      <a:pt x="287" y="331"/>
                      <a:pt x="289" y="331"/>
                    </a:cubicBezTo>
                    <a:cubicBezTo>
                      <a:pt x="289" y="331"/>
                      <a:pt x="290" y="330"/>
                      <a:pt x="290" y="329"/>
                    </a:cubicBezTo>
                    <a:cubicBezTo>
                      <a:pt x="291" y="327"/>
                      <a:pt x="292" y="324"/>
                      <a:pt x="294" y="324"/>
                    </a:cubicBezTo>
                    <a:cubicBezTo>
                      <a:pt x="295" y="324"/>
                      <a:pt x="295" y="324"/>
                      <a:pt x="295" y="324"/>
                    </a:cubicBezTo>
                    <a:cubicBezTo>
                      <a:pt x="299" y="324"/>
                      <a:pt x="303" y="332"/>
                      <a:pt x="307" y="335"/>
                    </a:cubicBezTo>
                    <a:cubicBezTo>
                      <a:pt x="308" y="333"/>
                      <a:pt x="308" y="331"/>
                      <a:pt x="309" y="329"/>
                    </a:cubicBezTo>
                    <a:cubicBezTo>
                      <a:pt x="311" y="317"/>
                      <a:pt x="311" y="303"/>
                      <a:pt x="310" y="291"/>
                    </a:cubicBezTo>
                    <a:cubicBezTo>
                      <a:pt x="309" y="286"/>
                      <a:pt x="309" y="284"/>
                      <a:pt x="312" y="279"/>
                    </a:cubicBezTo>
                    <a:cubicBezTo>
                      <a:pt x="312" y="277"/>
                      <a:pt x="313" y="276"/>
                      <a:pt x="313" y="274"/>
                    </a:cubicBezTo>
                    <a:cubicBezTo>
                      <a:pt x="311" y="269"/>
                      <a:pt x="308" y="270"/>
                      <a:pt x="311" y="264"/>
                    </a:cubicBezTo>
                    <a:cubicBezTo>
                      <a:pt x="312" y="262"/>
                      <a:pt x="316" y="259"/>
                      <a:pt x="316" y="258"/>
                    </a:cubicBezTo>
                    <a:cubicBezTo>
                      <a:pt x="315" y="249"/>
                      <a:pt x="309" y="242"/>
                      <a:pt x="304" y="235"/>
                    </a:cubicBezTo>
                    <a:cubicBezTo>
                      <a:pt x="302" y="232"/>
                      <a:pt x="296" y="232"/>
                      <a:pt x="293" y="232"/>
                    </a:cubicBezTo>
                    <a:cubicBezTo>
                      <a:pt x="289" y="231"/>
                      <a:pt x="285" y="231"/>
                      <a:pt x="281" y="230"/>
                    </a:cubicBezTo>
                    <a:cubicBezTo>
                      <a:pt x="281" y="230"/>
                      <a:pt x="281" y="230"/>
                      <a:pt x="281" y="230"/>
                    </a:cubicBezTo>
                    <a:cubicBezTo>
                      <a:pt x="281" y="230"/>
                      <a:pt x="279" y="232"/>
                      <a:pt x="279" y="233"/>
                    </a:cubicBezTo>
                    <a:cubicBezTo>
                      <a:pt x="278" y="234"/>
                      <a:pt x="279" y="235"/>
                      <a:pt x="278" y="237"/>
                    </a:cubicBezTo>
                    <a:cubicBezTo>
                      <a:pt x="277" y="240"/>
                      <a:pt x="274" y="242"/>
                      <a:pt x="272" y="244"/>
                    </a:cubicBezTo>
                    <a:cubicBezTo>
                      <a:pt x="272" y="237"/>
                      <a:pt x="281" y="240"/>
                      <a:pt x="274" y="233"/>
                    </a:cubicBezTo>
                    <a:cubicBezTo>
                      <a:pt x="275" y="232"/>
                      <a:pt x="277" y="232"/>
                      <a:pt x="279" y="230"/>
                    </a:cubicBezTo>
                    <a:cubicBezTo>
                      <a:pt x="284" y="225"/>
                      <a:pt x="274" y="226"/>
                      <a:pt x="273" y="222"/>
                    </a:cubicBezTo>
                    <a:cubicBezTo>
                      <a:pt x="271" y="220"/>
                      <a:pt x="271" y="220"/>
                      <a:pt x="270" y="217"/>
                    </a:cubicBezTo>
                    <a:cubicBezTo>
                      <a:pt x="270" y="215"/>
                      <a:pt x="271" y="213"/>
                      <a:pt x="271" y="210"/>
                    </a:cubicBezTo>
                    <a:cubicBezTo>
                      <a:pt x="270" y="206"/>
                      <a:pt x="269" y="202"/>
                      <a:pt x="268" y="197"/>
                    </a:cubicBezTo>
                    <a:cubicBezTo>
                      <a:pt x="267" y="194"/>
                      <a:pt x="266" y="194"/>
                      <a:pt x="265" y="194"/>
                    </a:cubicBezTo>
                    <a:cubicBezTo>
                      <a:pt x="265" y="194"/>
                      <a:pt x="264" y="194"/>
                      <a:pt x="263" y="194"/>
                    </a:cubicBezTo>
                    <a:cubicBezTo>
                      <a:pt x="263" y="194"/>
                      <a:pt x="262" y="194"/>
                      <a:pt x="262" y="194"/>
                    </a:cubicBezTo>
                    <a:cubicBezTo>
                      <a:pt x="261" y="194"/>
                      <a:pt x="261" y="194"/>
                      <a:pt x="261" y="194"/>
                    </a:cubicBezTo>
                    <a:cubicBezTo>
                      <a:pt x="259" y="194"/>
                      <a:pt x="257" y="193"/>
                      <a:pt x="255" y="192"/>
                    </a:cubicBezTo>
                    <a:cubicBezTo>
                      <a:pt x="252" y="192"/>
                      <a:pt x="250" y="192"/>
                      <a:pt x="247" y="191"/>
                    </a:cubicBezTo>
                    <a:cubicBezTo>
                      <a:pt x="240" y="188"/>
                      <a:pt x="239" y="184"/>
                      <a:pt x="238" y="177"/>
                    </a:cubicBezTo>
                    <a:cubicBezTo>
                      <a:pt x="238" y="178"/>
                      <a:pt x="239" y="179"/>
                      <a:pt x="240" y="179"/>
                    </a:cubicBezTo>
                    <a:cubicBezTo>
                      <a:pt x="241" y="179"/>
                      <a:pt x="243" y="177"/>
                      <a:pt x="244" y="176"/>
                    </a:cubicBezTo>
                    <a:cubicBezTo>
                      <a:pt x="242" y="174"/>
                      <a:pt x="240" y="175"/>
                      <a:pt x="237" y="174"/>
                    </a:cubicBezTo>
                    <a:cubicBezTo>
                      <a:pt x="239" y="173"/>
                      <a:pt x="240" y="172"/>
                      <a:pt x="241" y="170"/>
                    </a:cubicBezTo>
                    <a:cubicBezTo>
                      <a:pt x="240" y="170"/>
                      <a:pt x="238" y="171"/>
                      <a:pt x="236" y="171"/>
                    </a:cubicBezTo>
                    <a:cubicBezTo>
                      <a:pt x="236" y="171"/>
                      <a:pt x="236" y="171"/>
                      <a:pt x="235" y="171"/>
                    </a:cubicBezTo>
                    <a:cubicBezTo>
                      <a:pt x="239" y="170"/>
                      <a:pt x="239" y="170"/>
                      <a:pt x="242" y="167"/>
                    </a:cubicBezTo>
                    <a:cubicBezTo>
                      <a:pt x="243" y="166"/>
                      <a:pt x="243" y="164"/>
                      <a:pt x="244" y="164"/>
                    </a:cubicBezTo>
                    <a:cubicBezTo>
                      <a:pt x="245" y="165"/>
                      <a:pt x="245" y="165"/>
                      <a:pt x="245" y="165"/>
                    </a:cubicBezTo>
                    <a:cubicBezTo>
                      <a:pt x="247" y="165"/>
                      <a:pt x="249" y="164"/>
                      <a:pt x="251" y="164"/>
                    </a:cubicBezTo>
                    <a:cubicBezTo>
                      <a:pt x="250" y="162"/>
                      <a:pt x="249" y="154"/>
                      <a:pt x="246" y="154"/>
                    </a:cubicBezTo>
                    <a:cubicBezTo>
                      <a:pt x="246" y="154"/>
                      <a:pt x="245" y="154"/>
                      <a:pt x="245" y="154"/>
                    </a:cubicBezTo>
                    <a:cubicBezTo>
                      <a:pt x="244" y="152"/>
                      <a:pt x="242" y="150"/>
                      <a:pt x="240" y="149"/>
                    </a:cubicBezTo>
                    <a:cubicBezTo>
                      <a:pt x="239" y="149"/>
                      <a:pt x="238" y="148"/>
                      <a:pt x="237" y="148"/>
                    </a:cubicBezTo>
                    <a:cubicBezTo>
                      <a:pt x="234" y="148"/>
                      <a:pt x="230" y="151"/>
                      <a:pt x="226" y="153"/>
                    </a:cubicBezTo>
                    <a:cubicBezTo>
                      <a:pt x="223" y="156"/>
                      <a:pt x="219" y="158"/>
                      <a:pt x="215" y="158"/>
                    </a:cubicBezTo>
                    <a:cubicBezTo>
                      <a:pt x="214" y="158"/>
                      <a:pt x="212" y="158"/>
                      <a:pt x="211" y="156"/>
                    </a:cubicBezTo>
                    <a:cubicBezTo>
                      <a:pt x="213" y="157"/>
                      <a:pt x="214" y="158"/>
                      <a:pt x="215" y="158"/>
                    </a:cubicBezTo>
                    <a:cubicBezTo>
                      <a:pt x="216" y="158"/>
                      <a:pt x="217" y="157"/>
                      <a:pt x="219" y="156"/>
                    </a:cubicBezTo>
                    <a:cubicBezTo>
                      <a:pt x="221" y="155"/>
                      <a:pt x="223" y="154"/>
                      <a:pt x="224" y="154"/>
                    </a:cubicBezTo>
                    <a:cubicBezTo>
                      <a:pt x="225" y="153"/>
                      <a:pt x="229" y="151"/>
                      <a:pt x="230" y="151"/>
                    </a:cubicBezTo>
                    <a:cubicBezTo>
                      <a:pt x="230" y="149"/>
                      <a:pt x="226" y="144"/>
                      <a:pt x="225" y="144"/>
                    </a:cubicBezTo>
                    <a:cubicBezTo>
                      <a:pt x="221" y="143"/>
                      <a:pt x="218" y="142"/>
                      <a:pt x="214" y="142"/>
                    </a:cubicBezTo>
                    <a:cubicBezTo>
                      <a:pt x="211" y="141"/>
                      <a:pt x="211" y="140"/>
                      <a:pt x="209" y="139"/>
                    </a:cubicBezTo>
                    <a:cubicBezTo>
                      <a:pt x="205" y="136"/>
                      <a:pt x="204" y="134"/>
                      <a:pt x="203" y="129"/>
                    </a:cubicBezTo>
                    <a:cubicBezTo>
                      <a:pt x="202" y="125"/>
                      <a:pt x="197" y="121"/>
                      <a:pt x="194" y="118"/>
                    </a:cubicBezTo>
                    <a:cubicBezTo>
                      <a:pt x="191" y="116"/>
                      <a:pt x="187" y="115"/>
                      <a:pt x="183" y="114"/>
                    </a:cubicBezTo>
                    <a:cubicBezTo>
                      <a:pt x="180" y="113"/>
                      <a:pt x="181" y="113"/>
                      <a:pt x="179" y="111"/>
                    </a:cubicBezTo>
                    <a:cubicBezTo>
                      <a:pt x="178" y="109"/>
                      <a:pt x="177" y="106"/>
                      <a:pt x="175" y="104"/>
                    </a:cubicBezTo>
                    <a:cubicBezTo>
                      <a:pt x="172" y="100"/>
                      <a:pt x="171" y="100"/>
                      <a:pt x="165" y="99"/>
                    </a:cubicBezTo>
                    <a:cubicBezTo>
                      <a:pt x="165" y="99"/>
                      <a:pt x="165" y="99"/>
                      <a:pt x="164" y="99"/>
                    </a:cubicBezTo>
                    <a:cubicBezTo>
                      <a:pt x="163" y="99"/>
                      <a:pt x="163" y="100"/>
                      <a:pt x="164" y="102"/>
                    </a:cubicBezTo>
                    <a:cubicBezTo>
                      <a:pt x="165" y="105"/>
                      <a:pt x="167" y="106"/>
                      <a:pt x="167" y="111"/>
                    </a:cubicBezTo>
                    <a:cubicBezTo>
                      <a:pt x="166" y="109"/>
                      <a:pt x="166" y="107"/>
                      <a:pt x="165" y="106"/>
                    </a:cubicBezTo>
                    <a:cubicBezTo>
                      <a:pt x="162" y="103"/>
                      <a:pt x="159" y="103"/>
                      <a:pt x="156" y="101"/>
                    </a:cubicBezTo>
                    <a:cubicBezTo>
                      <a:pt x="154" y="100"/>
                      <a:pt x="153" y="98"/>
                      <a:pt x="152" y="97"/>
                    </a:cubicBezTo>
                    <a:cubicBezTo>
                      <a:pt x="149" y="93"/>
                      <a:pt x="151" y="88"/>
                      <a:pt x="143" y="88"/>
                    </a:cubicBezTo>
                    <a:cubicBezTo>
                      <a:pt x="144" y="89"/>
                      <a:pt x="144" y="90"/>
                      <a:pt x="144" y="90"/>
                    </a:cubicBezTo>
                    <a:cubicBezTo>
                      <a:pt x="142" y="89"/>
                      <a:pt x="141" y="88"/>
                      <a:pt x="140" y="87"/>
                    </a:cubicBezTo>
                    <a:cubicBezTo>
                      <a:pt x="138" y="82"/>
                      <a:pt x="141" y="81"/>
                      <a:pt x="137" y="78"/>
                    </a:cubicBezTo>
                    <a:cubicBezTo>
                      <a:pt x="130" y="72"/>
                      <a:pt x="123" y="65"/>
                      <a:pt x="115" y="61"/>
                    </a:cubicBezTo>
                    <a:cubicBezTo>
                      <a:pt x="114" y="60"/>
                      <a:pt x="111" y="59"/>
                      <a:pt x="109" y="58"/>
                    </a:cubicBezTo>
                    <a:cubicBezTo>
                      <a:pt x="109" y="58"/>
                      <a:pt x="109" y="59"/>
                      <a:pt x="109" y="60"/>
                    </a:cubicBezTo>
                    <a:cubicBezTo>
                      <a:pt x="109" y="64"/>
                      <a:pt x="106" y="67"/>
                      <a:pt x="101" y="67"/>
                    </a:cubicBezTo>
                    <a:cubicBezTo>
                      <a:pt x="97" y="67"/>
                      <a:pt x="93" y="64"/>
                      <a:pt x="93" y="60"/>
                    </a:cubicBezTo>
                    <a:cubicBezTo>
                      <a:pt x="93" y="55"/>
                      <a:pt x="97" y="52"/>
                      <a:pt x="101" y="52"/>
                    </a:cubicBezTo>
                    <a:cubicBezTo>
                      <a:pt x="102" y="52"/>
                      <a:pt x="102" y="52"/>
                      <a:pt x="102" y="52"/>
                    </a:cubicBezTo>
                    <a:cubicBezTo>
                      <a:pt x="100" y="49"/>
                      <a:pt x="98" y="48"/>
                      <a:pt x="94" y="46"/>
                    </a:cubicBezTo>
                    <a:cubicBezTo>
                      <a:pt x="92" y="45"/>
                      <a:pt x="90" y="44"/>
                      <a:pt x="88" y="44"/>
                    </a:cubicBezTo>
                    <a:cubicBezTo>
                      <a:pt x="88" y="44"/>
                      <a:pt x="88" y="44"/>
                      <a:pt x="87" y="44"/>
                    </a:cubicBezTo>
                    <a:cubicBezTo>
                      <a:pt x="88" y="42"/>
                      <a:pt x="90" y="40"/>
                      <a:pt x="89" y="38"/>
                    </a:cubicBezTo>
                    <a:cubicBezTo>
                      <a:pt x="88" y="37"/>
                      <a:pt x="86" y="32"/>
                      <a:pt x="84" y="32"/>
                    </a:cubicBezTo>
                    <a:cubicBezTo>
                      <a:pt x="80" y="31"/>
                      <a:pt x="82" y="27"/>
                      <a:pt x="81" y="24"/>
                    </a:cubicBezTo>
                    <a:cubicBezTo>
                      <a:pt x="79" y="19"/>
                      <a:pt x="73" y="16"/>
                      <a:pt x="69" y="12"/>
                    </a:cubicBezTo>
                    <a:cubicBezTo>
                      <a:pt x="68" y="11"/>
                      <a:pt x="67" y="11"/>
                      <a:pt x="66" y="11"/>
                    </a:cubicBezTo>
                    <a:cubicBezTo>
                      <a:pt x="65" y="11"/>
                      <a:pt x="63" y="12"/>
                      <a:pt x="61" y="13"/>
                    </a:cubicBezTo>
                    <a:cubicBezTo>
                      <a:pt x="60" y="13"/>
                      <a:pt x="59" y="13"/>
                      <a:pt x="58" y="13"/>
                    </a:cubicBezTo>
                    <a:cubicBezTo>
                      <a:pt x="57" y="13"/>
                      <a:pt x="57" y="13"/>
                      <a:pt x="55" y="12"/>
                    </a:cubicBezTo>
                    <a:cubicBezTo>
                      <a:pt x="53" y="11"/>
                      <a:pt x="51" y="10"/>
                      <a:pt x="49" y="10"/>
                    </a:cubicBezTo>
                    <a:cubicBezTo>
                      <a:pt x="45" y="10"/>
                      <a:pt x="42" y="11"/>
                      <a:pt x="39" y="11"/>
                    </a:cubicBezTo>
                    <a:cubicBezTo>
                      <a:pt x="39" y="11"/>
                      <a:pt x="38" y="11"/>
                      <a:pt x="38" y="11"/>
                    </a:cubicBezTo>
                    <a:cubicBezTo>
                      <a:pt x="28" y="11"/>
                      <a:pt x="21" y="3"/>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7" name="Freeform 1259">
                <a:extLst>
                  <a:ext uri="{FF2B5EF4-FFF2-40B4-BE49-F238E27FC236}">
                    <a16:creationId xmlns:a16="http://schemas.microsoft.com/office/drawing/2014/main" id="{9963AB64-901D-4A92-900E-0A49731C57B9}"/>
                  </a:ext>
                </a:extLst>
              </p:cNvPr>
              <p:cNvSpPr>
                <a:spLocks/>
              </p:cNvSpPr>
              <p:nvPr/>
            </p:nvSpPr>
            <p:spPr bwMode="auto">
              <a:xfrm>
                <a:off x="2972" y="1083"/>
                <a:ext cx="33" cy="14"/>
              </a:xfrm>
              <a:custGeom>
                <a:avLst/>
                <a:gdLst>
                  <a:gd name="T0" fmla="*/ 0 w 14"/>
                  <a:gd name="T1" fmla="*/ 0 h 6"/>
                  <a:gd name="T2" fmla="*/ 9 w 14"/>
                  <a:gd name="T3" fmla="*/ 6 h 6"/>
                  <a:gd name="T4" fmla="*/ 0 w 14"/>
                  <a:gd name="T5" fmla="*/ 0 h 6"/>
                </a:gdLst>
                <a:ahLst/>
                <a:cxnLst>
                  <a:cxn ang="0">
                    <a:pos x="T0" y="T1"/>
                  </a:cxn>
                  <a:cxn ang="0">
                    <a:pos x="T2" y="T3"/>
                  </a:cxn>
                  <a:cxn ang="0">
                    <a:pos x="T4" y="T5"/>
                  </a:cxn>
                </a:cxnLst>
                <a:rect l="0" t="0" r="r" b="b"/>
                <a:pathLst>
                  <a:path w="14" h="6">
                    <a:moveTo>
                      <a:pt x="0" y="0"/>
                    </a:moveTo>
                    <a:cubicBezTo>
                      <a:pt x="3" y="2"/>
                      <a:pt x="6" y="4"/>
                      <a:pt x="9" y="6"/>
                    </a:cubicBezTo>
                    <a:cubicBezTo>
                      <a:pt x="14"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8" name="Freeform 1260">
                <a:extLst>
                  <a:ext uri="{FF2B5EF4-FFF2-40B4-BE49-F238E27FC236}">
                    <a16:creationId xmlns:a16="http://schemas.microsoft.com/office/drawing/2014/main" id="{8BDB39BF-D9AB-4C5A-932C-0357A004CF56}"/>
                  </a:ext>
                </a:extLst>
              </p:cNvPr>
              <p:cNvSpPr>
                <a:spLocks/>
              </p:cNvSpPr>
              <p:nvPr/>
            </p:nvSpPr>
            <p:spPr bwMode="auto">
              <a:xfrm>
                <a:off x="2424" y="889"/>
                <a:ext cx="104" cy="213"/>
              </a:xfrm>
              <a:custGeom>
                <a:avLst/>
                <a:gdLst>
                  <a:gd name="T0" fmla="*/ 20 w 44"/>
                  <a:gd name="T1" fmla="*/ 0 h 90"/>
                  <a:gd name="T2" fmla="*/ 10 w 44"/>
                  <a:gd name="T3" fmla="*/ 7 h 90"/>
                  <a:gd name="T4" fmla="*/ 5 w 44"/>
                  <a:gd name="T5" fmla="*/ 14 h 90"/>
                  <a:gd name="T6" fmla="*/ 2 w 44"/>
                  <a:gd name="T7" fmla="*/ 26 h 90"/>
                  <a:gd name="T8" fmla="*/ 2 w 44"/>
                  <a:gd name="T9" fmla="*/ 34 h 90"/>
                  <a:gd name="T10" fmla="*/ 6 w 44"/>
                  <a:gd name="T11" fmla="*/ 39 h 90"/>
                  <a:gd name="T12" fmla="*/ 5 w 44"/>
                  <a:gd name="T13" fmla="*/ 45 h 90"/>
                  <a:gd name="T14" fmla="*/ 10 w 44"/>
                  <a:gd name="T15" fmla="*/ 56 h 90"/>
                  <a:gd name="T16" fmla="*/ 8 w 44"/>
                  <a:gd name="T17" fmla="*/ 70 h 90"/>
                  <a:gd name="T18" fmla="*/ 17 w 44"/>
                  <a:gd name="T19" fmla="*/ 81 h 90"/>
                  <a:gd name="T20" fmla="*/ 31 w 44"/>
                  <a:gd name="T21" fmla="*/ 90 h 90"/>
                  <a:gd name="T22" fmla="*/ 16 w 44"/>
                  <a:gd name="T23" fmla="*/ 66 h 90"/>
                  <a:gd name="T24" fmla="*/ 15 w 44"/>
                  <a:gd name="T25" fmla="*/ 57 h 90"/>
                  <a:gd name="T26" fmla="*/ 17 w 44"/>
                  <a:gd name="T27" fmla="*/ 51 h 90"/>
                  <a:gd name="T28" fmla="*/ 18 w 44"/>
                  <a:gd name="T29" fmla="*/ 51 h 90"/>
                  <a:gd name="T30" fmla="*/ 36 w 44"/>
                  <a:gd name="T31" fmla="*/ 55 h 90"/>
                  <a:gd name="T32" fmla="*/ 44 w 44"/>
                  <a:gd name="T33" fmla="*/ 58 h 90"/>
                  <a:gd name="T34" fmla="*/ 31 w 44"/>
                  <a:gd name="T35" fmla="*/ 46 h 90"/>
                  <a:gd name="T36" fmla="*/ 28 w 44"/>
                  <a:gd name="T37" fmla="*/ 45 h 90"/>
                  <a:gd name="T38" fmla="*/ 35 w 44"/>
                  <a:gd name="T39" fmla="*/ 34 h 90"/>
                  <a:gd name="T40" fmla="*/ 38 w 44"/>
                  <a:gd name="T41" fmla="*/ 28 h 90"/>
                  <a:gd name="T42" fmla="*/ 40 w 44"/>
                  <a:gd name="T43" fmla="*/ 24 h 90"/>
                  <a:gd name="T44" fmla="*/ 39 w 44"/>
                  <a:gd name="T45" fmla="*/ 19 h 90"/>
                  <a:gd name="T46" fmla="*/ 36 w 44"/>
                  <a:gd name="T47" fmla="*/ 19 h 90"/>
                  <a:gd name="T48" fmla="*/ 29 w 44"/>
                  <a:gd name="T49" fmla="*/ 20 h 90"/>
                  <a:gd name="T50" fmla="*/ 23 w 44"/>
                  <a:gd name="T51" fmla="*/ 24 h 90"/>
                  <a:gd name="T52" fmla="*/ 21 w 44"/>
                  <a:gd name="T53" fmla="*/ 27 h 90"/>
                  <a:gd name="T54" fmla="*/ 23 w 44"/>
                  <a:gd name="T55" fmla="*/ 31 h 90"/>
                  <a:gd name="T56" fmla="*/ 17 w 44"/>
                  <a:gd name="T57" fmla="*/ 34 h 90"/>
                  <a:gd name="T58" fmla="*/ 14 w 44"/>
                  <a:gd name="T59" fmla="*/ 40 h 90"/>
                  <a:gd name="T60" fmla="*/ 12 w 44"/>
                  <a:gd name="T61" fmla="*/ 40 h 90"/>
                  <a:gd name="T62" fmla="*/ 8 w 44"/>
                  <a:gd name="T63" fmla="*/ 37 h 90"/>
                  <a:gd name="T64" fmla="*/ 13 w 44"/>
                  <a:gd name="T65" fmla="*/ 31 h 90"/>
                  <a:gd name="T66" fmla="*/ 13 w 44"/>
                  <a:gd name="T67" fmla="*/ 30 h 90"/>
                  <a:gd name="T68" fmla="*/ 14 w 44"/>
                  <a:gd name="T69" fmla="*/ 30 h 90"/>
                  <a:gd name="T70" fmla="*/ 14 w 44"/>
                  <a:gd name="T71" fmla="*/ 31 h 90"/>
                  <a:gd name="T72" fmla="*/ 15 w 44"/>
                  <a:gd name="T73" fmla="*/ 30 h 90"/>
                  <a:gd name="T74" fmla="*/ 15 w 44"/>
                  <a:gd name="T75" fmla="*/ 29 h 90"/>
                  <a:gd name="T76" fmla="*/ 17 w 44"/>
                  <a:gd name="T77" fmla="*/ 26 h 90"/>
                  <a:gd name="T78" fmla="*/ 16 w 44"/>
                  <a:gd name="T79" fmla="*/ 12 h 90"/>
                  <a:gd name="T80" fmla="*/ 16 w 44"/>
                  <a:gd name="T81" fmla="*/ 6 h 90"/>
                  <a:gd name="T82" fmla="*/ 20 w 44"/>
                  <a:gd name="T8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 h="90">
                    <a:moveTo>
                      <a:pt x="20" y="0"/>
                    </a:moveTo>
                    <a:cubicBezTo>
                      <a:pt x="16" y="2"/>
                      <a:pt x="13" y="5"/>
                      <a:pt x="10" y="7"/>
                    </a:cubicBezTo>
                    <a:cubicBezTo>
                      <a:pt x="8" y="9"/>
                      <a:pt x="6" y="12"/>
                      <a:pt x="5" y="14"/>
                    </a:cubicBezTo>
                    <a:cubicBezTo>
                      <a:pt x="4" y="18"/>
                      <a:pt x="3" y="22"/>
                      <a:pt x="2" y="26"/>
                    </a:cubicBezTo>
                    <a:cubicBezTo>
                      <a:pt x="1" y="29"/>
                      <a:pt x="0" y="31"/>
                      <a:pt x="2" y="34"/>
                    </a:cubicBezTo>
                    <a:cubicBezTo>
                      <a:pt x="3" y="35"/>
                      <a:pt x="6" y="38"/>
                      <a:pt x="6" y="39"/>
                    </a:cubicBezTo>
                    <a:cubicBezTo>
                      <a:pt x="7" y="40"/>
                      <a:pt x="5" y="42"/>
                      <a:pt x="5" y="45"/>
                    </a:cubicBezTo>
                    <a:cubicBezTo>
                      <a:pt x="4" y="49"/>
                      <a:pt x="10" y="51"/>
                      <a:pt x="10" y="56"/>
                    </a:cubicBezTo>
                    <a:cubicBezTo>
                      <a:pt x="10" y="60"/>
                      <a:pt x="7" y="66"/>
                      <a:pt x="8" y="70"/>
                    </a:cubicBezTo>
                    <a:cubicBezTo>
                      <a:pt x="9" y="74"/>
                      <a:pt x="15" y="78"/>
                      <a:pt x="17" y="81"/>
                    </a:cubicBezTo>
                    <a:cubicBezTo>
                      <a:pt x="21" y="86"/>
                      <a:pt x="26" y="87"/>
                      <a:pt x="31" y="90"/>
                    </a:cubicBezTo>
                    <a:cubicBezTo>
                      <a:pt x="26" y="82"/>
                      <a:pt x="21" y="74"/>
                      <a:pt x="16" y="66"/>
                    </a:cubicBezTo>
                    <a:cubicBezTo>
                      <a:pt x="14" y="63"/>
                      <a:pt x="16" y="60"/>
                      <a:pt x="15" y="57"/>
                    </a:cubicBezTo>
                    <a:cubicBezTo>
                      <a:pt x="15" y="55"/>
                      <a:pt x="13" y="51"/>
                      <a:pt x="17" y="51"/>
                    </a:cubicBezTo>
                    <a:cubicBezTo>
                      <a:pt x="17" y="51"/>
                      <a:pt x="18" y="51"/>
                      <a:pt x="18" y="51"/>
                    </a:cubicBezTo>
                    <a:cubicBezTo>
                      <a:pt x="25" y="51"/>
                      <a:pt x="30" y="53"/>
                      <a:pt x="36" y="55"/>
                    </a:cubicBezTo>
                    <a:cubicBezTo>
                      <a:pt x="39" y="56"/>
                      <a:pt x="42" y="56"/>
                      <a:pt x="44" y="58"/>
                    </a:cubicBezTo>
                    <a:cubicBezTo>
                      <a:pt x="40" y="53"/>
                      <a:pt x="37" y="48"/>
                      <a:pt x="31" y="46"/>
                    </a:cubicBezTo>
                    <a:cubicBezTo>
                      <a:pt x="30" y="46"/>
                      <a:pt x="29" y="45"/>
                      <a:pt x="28" y="45"/>
                    </a:cubicBezTo>
                    <a:cubicBezTo>
                      <a:pt x="20" y="40"/>
                      <a:pt x="31" y="36"/>
                      <a:pt x="35" y="34"/>
                    </a:cubicBezTo>
                    <a:cubicBezTo>
                      <a:pt x="39" y="32"/>
                      <a:pt x="38" y="32"/>
                      <a:pt x="38" y="28"/>
                    </a:cubicBezTo>
                    <a:cubicBezTo>
                      <a:pt x="39" y="26"/>
                      <a:pt x="40" y="25"/>
                      <a:pt x="40" y="24"/>
                    </a:cubicBezTo>
                    <a:cubicBezTo>
                      <a:pt x="40" y="22"/>
                      <a:pt x="37" y="20"/>
                      <a:pt x="39" y="19"/>
                    </a:cubicBezTo>
                    <a:cubicBezTo>
                      <a:pt x="38" y="19"/>
                      <a:pt x="37" y="19"/>
                      <a:pt x="36" y="19"/>
                    </a:cubicBezTo>
                    <a:cubicBezTo>
                      <a:pt x="34" y="19"/>
                      <a:pt x="31" y="19"/>
                      <a:pt x="29" y="20"/>
                    </a:cubicBezTo>
                    <a:cubicBezTo>
                      <a:pt x="27" y="20"/>
                      <a:pt x="25" y="23"/>
                      <a:pt x="23" y="24"/>
                    </a:cubicBezTo>
                    <a:cubicBezTo>
                      <a:pt x="21" y="27"/>
                      <a:pt x="21" y="27"/>
                      <a:pt x="21" y="27"/>
                    </a:cubicBezTo>
                    <a:cubicBezTo>
                      <a:pt x="21" y="29"/>
                      <a:pt x="25" y="28"/>
                      <a:pt x="23" y="31"/>
                    </a:cubicBezTo>
                    <a:cubicBezTo>
                      <a:pt x="21" y="32"/>
                      <a:pt x="18" y="31"/>
                      <a:pt x="17" y="34"/>
                    </a:cubicBezTo>
                    <a:cubicBezTo>
                      <a:pt x="15" y="36"/>
                      <a:pt x="16" y="39"/>
                      <a:pt x="14" y="40"/>
                    </a:cubicBezTo>
                    <a:cubicBezTo>
                      <a:pt x="13" y="40"/>
                      <a:pt x="13" y="40"/>
                      <a:pt x="12" y="40"/>
                    </a:cubicBezTo>
                    <a:cubicBezTo>
                      <a:pt x="10" y="40"/>
                      <a:pt x="8" y="39"/>
                      <a:pt x="8" y="37"/>
                    </a:cubicBezTo>
                    <a:cubicBezTo>
                      <a:pt x="9" y="34"/>
                      <a:pt x="11" y="32"/>
                      <a:pt x="13" y="31"/>
                    </a:cubicBezTo>
                    <a:cubicBezTo>
                      <a:pt x="13" y="31"/>
                      <a:pt x="13" y="30"/>
                      <a:pt x="13" y="30"/>
                    </a:cubicBezTo>
                    <a:cubicBezTo>
                      <a:pt x="13" y="30"/>
                      <a:pt x="14" y="30"/>
                      <a:pt x="14" y="30"/>
                    </a:cubicBezTo>
                    <a:cubicBezTo>
                      <a:pt x="14" y="31"/>
                      <a:pt x="14" y="31"/>
                      <a:pt x="14" y="31"/>
                    </a:cubicBezTo>
                    <a:cubicBezTo>
                      <a:pt x="14" y="31"/>
                      <a:pt x="14" y="30"/>
                      <a:pt x="15" y="30"/>
                    </a:cubicBezTo>
                    <a:cubicBezTo>
                      <a:pt x="15" y="30"/>
                      <a:pt x="15" y="29"/>
                      <a:pt x="15" y="29"/>
                    </a:cubicBezTo>
                    <a:cubicBezTo>
                      <a:pt x="16" y="28"/>
                      <a:pt x="17" y="27"/>
                      <a:pt x="17" y="26"/>
                    </a:cubicBezTo>
                    <a:cubicBezTo>
                      <a:pt x="20" y="21"/>
                      <a:pt x="18" y="17"/>
                      <a:pt x="16" y="12"/>
                    </a:cubicBezTo>
                    <a:cubicBezTo>
                      <a:pt x="14" y="8"/>
                      <a:pt x="15" y="9"/>
                      <a:pt x="16" y="6"/>
                    </a:cubicBezTo>
                    <a:cubicBezTo>
                      <a:pt x="17" y="4"/>
                      <a:pt x="19" y="2"/>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9" name="Freeform 1261">
                <a:extLst>
                  <a:ext uri="{FF2B5EF4-FFF2-40B4-BE49-F238E27FC236}">
                    <a16:creationId xmlns:a16="http://schemas.microsoft.com/office/drawing/2014/main" id="{C10AB158-1FC7-4CCD-BA5C-9D8B819B1661}"/>
                  </a:ext>
                </a:extLst>
              </p:cNvPr>
              <p:cNvSpPr>
                <a:spLocks/>
              </p:cNvSpPr>
              <p:nvPr/>
            </p:nvSpPr>
            <p:spPr bwMode="auto">
              <a:xfrm>
                <a:off x="1150" y="1567"/>
                <a:ext cx="14" cy="8"/>
              </a:xfrm>
              <a:custGeom>
                <a:avLst/>
                <a:gdLst>
                  <a:gd name="T0" fmla="*/ 0 w 6"/>
                  <a:gd name="T1" fmla="*/ 0 h 3"/>
                  <a:gd name="T2" fmla="*/ 6 w 6"/>
                  <a:gd name="T3" fmla="*/ 3 h 3"/>
                  <a:gd name="T4" fmla="*/ 0 w 6"/>
                  <a:gd name="T5" fmla="*/ 0 h 3"/>
                </a:gdLst>
                <a:ahLst/>
                <a:cxnLst>
                  <a:cxn ang="0">
                    <a:pos x="T0" y="T1"/>
                  </a:cxn>
                  <a:cxn ang="0">
                    <a:pos x="T2" y="T3"/>
                  </a:cxn>
                  <a:cxn ang="0">
                    <a:pos x="T4" y="T5"/>
                  </a:cxn>
                </a:cxnLst>
                <a:rect l="0" t="0" r="r" b="b"/>
                <a:pathLst>
                  <a:path w="6" h="3">
                    <a:moveTo>
                      <a:pt x="0" y="0"/>
                    </a:moveTo>
                    <a:cubicBezTo>
                      <a:pt x="2" y="2"/>
                      <a:pt x="4" y="3"/>
                      <a:pt x="6" y="3"/>
                    </a:cubicBezTo>
                    <a:cubicBezTo>
                      <a:pt x="5"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0" name="Freeform 1262">
                <a:extLst>
                  <a:ext uri="{FF2B5EF4-FFF2-40B4-BE49-F238E27FC236}">
                    <a16:creationId xmlns:a16="http://schemas.microsoft.com/office/drawing/2014/main" id="{972C95E0-116E-401E-97C7-BF31AE561F44}"/>
                  </a:ext>
                </a:extLst>
              </p:cNvPr>
              <p:cNvSpPr>
                <a:spLocks/>
              </p:cNvSpPr>
              <p:nvPr/>
            </p:nvSpPr>
            <p:spPr bwMode="auto">
              <a:xfrm>
                <a:off x="2783" y="1426"/>
                <a:ext cx="9" cy="21"/>
              </a:xfrm>
              <a:custGeom>
                <a:avLst/>
                <a:gdLst>
                  <a:gd name="T0" fmla="*/ 0 w 4"/>
                  <a:gd name="T1" fmla="*/ 0 h 9"/>
                  <a:gd name="T2" fmla="*/ 3 w 4"/>
                  <a:gd name="T3" fmla="*/ 9 h 9"/>
                  <a:gd name="T4" fmla="*/ 4 w 4"/>
                  <a:gd name="T5" fmla="*/ 2 h 9"/>
                  <a:gd name="T6" fmla="*/ 0 w 4"/>
                  <a:gd name="T7" fmla="*/ 0 h 9"/>
                </a:gdLst>
                <a:ahLst/>
                <a:cxnLst>
                  <a:cxn ang="0">
                    <a:pos x="T0" y="T1"/>
                  </a:cxn>
                  <a:cxn ang="0">
                    <a:pos x="T2" y="T3"/>
                  </a:cxn>
                  <a:cxn ang="0">
                    <a:pos x="T4" y="T5"/>
                  </a:cxn>
                  <a:cxn ang="0">
                    <a:pos x="T6" y="T7"/>
                  </a:cxn>
                </a:cxnLst>
                <a:rect l="0" t="0" r="r" b="b"/>
                <a:pathLst>
                  <a:path w="4" h="9">
                    <a:moveTo>
                      <a:pt x="0" y="0"/>
                    </a:moveTo>
                    <a:cubicBezTo>
                      <a:pt x="1" y="2"/>
                      <a:pt x="1" y="9"/>
                      <a:pt x="3" y="9"/>
                    </a:cubicBezTo>
                    <a:cubicBezTo>
                      <a:pt x="4" y="7"/>
                      <a:pt x="3" y="4"/>
                      <a:pt x="4"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1" name="Freeform 1263">
                <a:extLst>
                  <a:ext uri="{FF2B5EF4-FFF2-40B4-BE49-F238E27FC236}">
                    <a16:creationId xmlns:a16="http://schemas.microsoft.com/office/drawing/2014/main" id="{C25D5C25-F19C-47D7-86D5-41ABA853ECEC}"/>
                  </a:ext>
                </a:extLst>
              </p:cNvPr>
              <p:cNvSpPr>
                <a:spLocks/>
              </p:cNvSpPr>
              <p:nvPr/>
            </p:nvSpPr>
            <p:spPr bwMode="auto">
              <a:xfrm>
                <a:off x="446" y="1102"/>
                <a:ext cx="49" cy="61"/>
              </a:xfrm>
              <a:custGeom>
                <a:avLst/>
                <a:gdLst>
                  <a:gd name="T0" fmla="*/ 8 w 21"/>
                  <a:gd name="T1" fmla="*/ 0 h 26"/>
                  <a:gd name="T2" fmla="*/ 3 w 21"/>
                  <a:gd name="T3" fmla="*/ 3 h 26"/>
                  <a:gd name="T4" fmla="*/ 6 w 21"/>
                  <a:gd name="T5" fmla="*/ 16 h 26"/>
                  <a:gd name="T6" fmla="*/ 16 w 21"/>
                  <a:gd name="T7" fmla="*/ 26 h 26"/>
                  <a:gd name="T8" fmla="*/ 18 w 21"/>
                  <a:gd name="T9" fmla="*/ 15 h 26"/>
                  <a:gd name="T10" fmla="*/ 11 w 21"/>
                  <a:gd name="T11" fmla="*/ 2 h 26"/>
                  <a:gd name="T12" fmla="*/ 8 w 2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1" h="26">
                    <a:moveTo>
                      <a:pt x="8" y="0"/>
                    </a:moveTo>
                    <a:cubicBezTo>
                      <a:pt x="6" y="0"/>
                      <a:pt x="4" y="2"/>
                      <a:pt x="3" y="3"/>
                    </a:cubicBezTo>
                    <a:cubicBezTo>
                      <a:pt x="0" y="8"/>
                      <a:pt x="3" y="12"/>
                      <a:pt x="6" y="16"/>
                    </a:cubicBezTo>
                    <a:cubicBezTo>
                      <a:pt x="9" y="20"/>
                      <a:pt x="10" y="24"/>
                      <a:pt x="16" y="26"/>
                    </a:cubicBezTo>
                    <a:cubicBezTo>
                      <a:pt x="21" y="20"/>
                      <a:pt x="21" y="21"/>
                      <a:pt x="18" y="15"/>
                    </a:cubicBezTo>
                    <a:cubicBezTo>
                      <a:pt x="16" y="11"/>
                      <a:pt x="13" y="6"/>
                      <a:pt x="11" y="2"/>
                    </a:cubicBezTo>
                    <a:cubicBezTo>
                      <a:pt x="11"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2" name="Freeform 1264">
                <a:extLst>
                  <a:ext uri="{FF2B5EF4-FFF2-40B4-BE49-F238E27FC236}">
                    <a16:creationId xmlns:a16="http://schemas.microsoft.com/office/drawing/2014/main" id="{A7B3C5FC-2D44-4B49-A535-311E95465C71}"/>
                  </a:ext>
                </a:extLst>
              </p:cNvPr>
              <p:cNvSpPr>
                <a:spLocks/>
              </p:cNvSpPr>
              <p:nvPr/>
            </p:nvSpPr>
            <p:spPr bwMode="auto">
              <a:xfrm>
                <a:off x="2315" y="1560"/>
                <a:ext cx="75" cy="31"/>
              </a:xfrm>
              <a:custGeom>
                <a:avLst/>
                <a:gdLst>
                  <a:gd name="T0" fmla="*/ 23 w 32"/>
                  <a:gd name="T1" fmla="*/ 0 h 13"/>
                  <a:gd name="T2" fmla="*/ 21 w 32"/>
                  <a:gd name="T3" fmla="*/ 0 h 13"/>
                  <a:gd name="T4" fmla="*/ 17 w 32"/>
                  <a:gd name="T5" fmla="*/ 2 h 13"/>
                  <a:gd name="T6" fmla="*/ 11 w 32"/>
                  <a:gd name="T7" fmla="*/ 4 h 13"/>
                  <a:gd name="T8" fmla="*/ 10 w 32"/>
                  <a:gd name="T9" fmla="*/ 4 h 13"/>
                  <a:gd name="T10" fmla="*/ 6 w 32"/>
                  <a:gd name="T11" fmla="*/ 3 h 13"/>
                  <a:gd name="T12" fmla="*/ 3 w 32"/>
                  <a:gd name="T13" fmla="*/ 5 h 13"/>
                  <a:gd name="T14" fmla="*/ 0 w 32"/>
                  <a:gd name="T15" fmla="*/ 13 h 13"/>
                  <a:gd name="T16" fmla="*/ 10 w 32"/>
                  <a:gd name="T17" fmla="*/ 10 h 13"/>
                  <a:gd name="T18" fmla="*/ 14 w 32"/>
                  <a:gd name="T19" fmla="*/ 10 h 13"/>
                  <a:gd name="T20" fmla="*/ 18 w 32"/>
                  <a:gd name="T21" fmla="*/ 11 h 13"/>
                  <a:gd name="T22" fmla="*/ 27 w 32"/>
                  <a:gd name="T23" fmla="*/ 6 h 13"/>
                  <a:gd name="T24" fmla="*/ 25 w 32"/>
                  <a:gd name="T25" fmla="*/ 1 h 13"/>
                  <a:gd name="T26" fmla="*/ 23 w 32"/>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3">
                    <a:moveTo>
                      <a:pt x="23" y="0"/>
                    </a:moveTo>
                    <a:cubicBezTo>
                      <a:pt x="22" y="0"/>
                      <a:pt x="22" y="0"/>
                      <a:pt x="21" y="0"/>
                    </a:cubicBezTo>
                    <a:cubicBezTo>
                      <a:pt x="20" y="1"/>
                      <a:pt x="18" y="1"/>
                      <a:pt x="17" y="2"/>
                    </a:cubicBezTo>
                    <a:cubicBezTo>
                      <a:pt x="15" y="3"/>
                      <a:pt x="13" y="4"/>
                      <a:pt x="11" y="4"/>
                    </a:cubicBezTo>
                    <a:cubicBezTo>
                      <a:pt x="11" y="4"/>
                      <a:pt x="10" y="4"/>
                      <a:pt x="10" y="4"/>
                    </a:cubicBezTo>
                    <a:cubicBezTo>
                      <a:pt x="8" y="4"/>
                      <a:pt x="7" y="3"/>
                      <a:pt x="6" y="3"/>
                    </a:cubicBezTo>
                    <a:cubicBezTo>
                      <a:pt x="5" y="3"/>
                      <a:pt x="4" y="4"/>
                      <a:pt x="3" y="5"/>
                    </a:cubicBezTo>
                    <a:cubicBezTo>
                      <a:pt x="1" y="7"/>
                      <a:pt x="1" y="9"/>
                      <a:pt x="0" y="13"/>
                    </a:cubicBezTo>
                    <a:cubicBezTo>
                      <a:pt x="4" y="11"/>
                      <a:pt x="6" y="10"/>
                      <a:pt x="10" y="10"/>
                    </a:cubicBezTo>
                    <a:cubicBezTo>
                      <a:pt x="11" y="10"/>
                      <a:pt x="12" y="10"/>
                      <a:pt x="14" y="10"/>
                    </a:cubicBezTo>
                    <a:cubicBezTo>
                      <a:pt x="15" y="10"/>
                      <a:pt x="17" y="11"/>
                      <a:pt x="18" y="11"/>
                    </a:cubicBezTo>
                    <a:cubicBezTo>
                      <a:pt x="21" y="11"/>
                      <a:pt x="23" y="9"/>
                      <a:pt x="27" y="6"/>
                    </a:cubicBezTo>
                    <a:cubicBezTo>
                      <a:pt x="32" y="3"/>
                      <a:pt x="28" y="2"/>
                      <a:pt x="25" y="1"/>
                    </a:cubicBezTo>
                    <a:cubicBezTo>
                      <a:pt x="24" y="0"/>
                      <a:pt x="23"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3" name="Freeform 1265">
                <a:extLst>
                  <a:ext uri="{FF2B5EF4-FFF2-40B4-BE49-F238E27FC236}">
                    <a16:creationId xmlns:a16="http://schemas.microsoft.com/office/drawing/2014/main" id="{8E0F55A6-B55B-4D41-99AF-55E155B11E6F}"/>
                  </a:ext>
                </a:extLst>
              </p:cNvPr>
              <p:cNvSpPr>
                <a:spLocks/>
              </p:cNvSpPr>
              <p:nvPr/>
            </p:nvSpPr>
            <p:spPr bwMode="auto">
              <a:xfrm>
                <a:off x="2679" y="1530"/>
                <a:ext cx="42" cy="61"/>
              </a:xfrm>
              <a:custGeom>
                <a:avLst/>
                <a:gdLst>
                  <a:gd name="T0" fmla="*/ 16 w 18"/>
                  <a:gd name="T1" fmla="*/ 0 h 26"/>
                  <a:gd name="T2" fmla="*/ 4 w 18"/>
                  <a:gd name="T3" fmla="*/ 12 h 26"/>
                  <a:gd name="T4" fmla="*/ 1 w 18"/>
                  <a:gd name="T5" fmla="*/ 17 h 26"/>
                  <a:gd name="T6" fmla="*/ 0 w 18"/>
                  <a:gd name="T7" fmla="*/ 17 h 26"/>
                  <a:gd name="T8" fmla="*/ 0 w 18"/>
                  <a:gd name="T9" fmla="*/ 17 h 26"/>
                  <a:gd name="T10" fmla="*/ 0 w 18"/>
                  <a:gd name="T11" fmla="*/ 17 h 26"/>
                  <a:gd name="T12" fmla="*/ 1 w 18"/>
                  <a:gd name="T13" fmla="*/ 18 h 26"/>
                  <a:gd name="T14" fmla="*/ 1 w 18"/>
                  <a:gd name="T15" fmla="*/ 18 h 26"/>
                  <a:gd name="T16" fmla="*/ 1 w 18"/>
                  <a:gd name="T17" fmla="*/ 23 h 26"/>
                  <a:gd name="T18" fmla="*/ 2 w 18"/>
                  <a:gd name="T19" fmla="*/ 25 h 26"/>
                  <a:gd name="T20" fmla="*/ 4 w 18"/>
                  <a:gd name="T21" fmla="*/ 26 h 26"/>
                  <a:gd name="T22" fmla="*/ 7 w 18"/>
                  <a:gd name="T23" fmla="*/ 25 h 26"/>
                  <a:gd name="T24" fmla="*/ 8 w 18"/>
                  <a:gd name="T25" fmla="*/ 22 h 26"/>
                  <a:gd name="T26" fmla="*/ 10 w 18"/>
                  <a:gd name="T27" fmla="*/ 20 h 26"/>
                  <a:gd name="T28" fmla="*/ 15 w 18"/>
                  <a:gd name="T29" fmla="*/ 15 h 26"/>
                  <a:gd name="T30" fmla="*/ 17 w 18"/>
                  <a:gd name="T31" fmla="*/ 8 h 26"/>
                  <a:gd name="T32" fmla="*/ 18 w 18"/>
                  <a:gd name="T33" fmla="*/ 2 h 26"/>
                  <a:gd name="T34" fmla="*/ 16 w 18"/>
                  <a:gd name="T3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6">
                    <a:moveTo>
                      <a:pt x="16" y="0"/>
                    </a:moveTo>
                    <a:cubicBezTo>
                      <a:pt x="12" y="3"/>
                      <a:pt x="6" y="7"/>
                      <a:pt x="4" y="12"/>
                    </a:cubicBezTo>
                    <a:cubicBezTo>
                      <a:pt x="3" y="14"/>
                      <a:pt x="4" y="17"/>
                      <a:pt x="1" y="17"/>
                    </a:cubicBezTo>
                    <a:cubicBezTo>
                      <a:pt x="1" y="17"/>
                      <a:pt x="1" y="17"/>
                      <a:pt x="0" y="17"/>
                    </a:cubicBezTo>
                    <a:cubicBezTo>
                      <a:pt x="0" y="17"/>
                      <a:pt x="0" y="17"/>
                      <a:pt x="0" y="17"/>
                    </a:cubicBezTo>
                    <a:cubicBezTo>
                      <a:pt x="0" y="17"/>
                      <a:pt x="0" y="17"/>
                      <a:pt x="0" y="17"/>
                    </a:cubicBezTo>
                    <a:cubicBezTo>
                      <a:pt x="0" y="17"/>
                      <a:pt x="1" y="18"/>
                      <a:pt x="1" y="18"/>
                    </a:cubicBezTo>
                    <a:cubicBezTo>
                      <a:pt x="1" y="18"/>
                      <a:pt x="1" y="18"/>
                      <a:pt x="1" y="18"/>
                    </a:cubicBezTo>
                    <a:cubicBezTo>
                      <a:pt x="1" y="23"/>
                      <a:pt x="1" y="23"/>
                      <a:pt x="1" y="23"/>
                    </a:cubicBezTo>
                    <a:cubicBezTo>
                      <a:pt x="1" y="26"/>
                      <a:pt x="0" y="25"/>
                      <a:pt x="2" y="25"/>
                    </a:cubicBezTo>
                    <a:cubicBezTo>
                      <a:pt x="2" y="26"/>
                      <a:pt x="3" y="26"/>
                      <a:pt x="4" y="26"/>
                    </a:cubicBezTo>
                    <a:cubicBezTo>
                      <a:pt x="5" y="26"/>
                      <a:pt x="6" y="26"/>
                      <a:pt x="7" y="25"/>
                    </a:cubicBezTo>
                    <a:cubicBezTo>
                      <a:pt x="8" y="22"/>
                      <a:pt x="8" y="22"/>
                      <a:pt x="8" y="22"/>
                    </a:cubicBezTo>
                    <a:cubicBezTo>
                      <a:pt x="9" y="21"/>
                      <a:pt x="9" y="21"/>
                      <a:pt x="10" y="20"/>
                    </a:cubicBezTo>
                    <a:cubicBezTo>
                      <a:pt x="11" y="18"/>
                      <a:pt x="13" y="17"/>
                      <a:pt x="15" y="15"/>
                    </a:cubicBezTo>
                    <a:cubicBezTo>
                      <a:pt x="16" y="13"/>
                      <a:pt x="16" y="10"/>
                      <a:pt x="17" y="8"/>
                    </a:cubicBezTo>
                    <a:cubicBezTo>
                      <a:pt x="15" y="7"/>
                      <a:pt x="15" y="3"/>
                      <a:pt x="18" y="2"/>
                    </a:cubicBezTo>
                    <a:cubicBezTo>
                      <a:pt x="18" y="1"/>
                      <a:pt x="17"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4" name="Freeform 1266">
                <a:extLst>
                  <a:ext uri="{FF2B5EF4-FFF2-40B4-BE49-F238E27FC236}">
                    <a16:creationId xmlns:a16="http://schemas.microsoft.com/office/drawing/2014/main" id="{E413DD91-1012-4422-B8A4-B377E469D199}"/>
                  </a:ext>
                </a:extLst>
              </p:cNvPr>
              <p:cNvSpPr>
                <a:spLocks/>
              </p:cNvSpPr>
              <p:nvPr/>
            </p:nvSpPr>
            <p:spPr bwMode="auto">
              <a:xfrm>
                <a:off x="2981" y="1149"/>
                <a:ext cx="95" cy="21"/>
              </a:xfrm>
              <a:custGeom>
                <a:avLst/>
                <a:gdLst>
                  <a:gd name="T0" fmla="*/ 0 w 40"/>
                  <a:gd name="T1" fmla="*/ 0 h 9"/>
                  <a:gd name="T2" fmla="*/ 28 w 40"/>
                  <a:gd name="T3" fmla="*/ 9 h 9"/>
                  <a:gd name="T4" fmla="*/ 30 w 40"/>
                  <a:gd name="T5" fmla="*/ 8 h 9"/>
                  <a:gd name="T6" fmla="*/ 31 w 40"/>
                  <a:gd name="T7" fmla="*/ 8 h 9"/>
                  <a:gd name="T8" fmla="*/ 40 w 40"/>
                  <a:gd name="T9" fmla="*/ 6 h 9"/>
                  <a:gd name="T10" fmla="*/ 36 w 40"/>
                  <a:gd name="T11" fmla="*/ 4 h 9"/>
                  <a:gd name="T12" fmla="*/ 27 w 40"/>
                  <a:gd name="T13" fmla="*/ 4 h 9"/>
                  <a:gd name="T14" fmla="*/ 20 w 40"/>
                  <a:gd name="T15" fmla="*/ 2 h 9"/>
                  <a:gd name="T16" fmla="*/ 0 w 40"/>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9">
                    <a:moveTo>
                      <a:pt x="0" y="0"/>
                    </a:moveTo>
                    <a:cubicBezTo>
                      <a:pt x="1" y="1"/>
                      <a:pt x="21" y="9"/>
                      <a:pt x="28" y="9"/>
                    </a:cubicBezTo>
                    <a:cubicBezTo>
                      <a:pt x="29" y="9"/>
                      <a:pt x="30" y="9"/>
                      <a:pt x="30" y="8"/>
                    </a:cubicBezTo>
                    <a:cubicBezTo>
                      <a:pt x="30" y="8"/>
                      <a:pt x="31" y="8"/>
                      <a:pt x="31" y="8"/>
                    </a:cubicBezTo>
                    <a:cubicBezTo>
                      <a:pt x="34" y="8"/>
                      <a:pt x="38" y="7"/>
                      <a:pt x="40" y="6"/>
                    </a:cubicBezTo>
                    <a:cubicBezTo>
                      <a:pt x="39" y="5"/>
                      <a:pt x="38" y="5"/>
                      <a:pt x="36" y="4"/>
                    </a:cubicBezTo>
                    <a:cubicBezTo>
                      <a:pt x="33" y="4"/>
                      <a:pt x="30" y="4"/>
                      <a:pt x="27" y="4"/>
                    </a:cubicBezTo>
                    <a:cubicBezTo>
                      <a:pt x="25" y="3"/>
                      <a:pt x="22" y="2"/>
                      <a:pt x="20" y="2"/>
                    </a:cubicBezTo>
                    <a:cubicBezTo>
                      <a:pt x="13" y="1"/>
                      <a:pt x="6"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5" name="Freeform 1267">
                <a:extLst>
                  <a:ext uri="{FF2B5EF4-FFF2-40B4-BE49-F238E27FC236}">
                    <a16:creationId xmlns:a16="http://schemas.microsoft.com/office/drawing/2014/main" id="{661FF150-D1EB-4C8A-85A0-F88380B71DEB}"/>
                  </a:ext>
                </a:extLst>
              </p:cNvPr>
              <p:cNvSpPr>
                <a:spLocks/>
              </p:cNvSpPr>
              <p:nvPr/>
            </p:nvSpPr>
            <p:spPr bwMode="auto">
              <a:xfrm>
                <a:off x="2041" y="1388"/>
                <a:ext cx="12" cy="28"/>
              </a:xfrm>
              <a:custGeom>
                <a:avLst/>
                <a:gdLst>
                  <a:gd name="T0" fmla="*/ 4 w 5"/>
                  <a:gd name="T1" fmla="*/ 0 h 12"/>
                  <a:gd name="T2" fmla="*/ 0 w 5"/>
                  <a:gd name="T3" fmla="*/ 6 h 12"/>
                  <a:gd name="T4" fmla="*/ 4 w 5"/>
                  <a:gd name="T5" fmla="*/ 12 h 12"/>
                  <a:gd name="T6" fmla="*/ 5 w 5"/>
                  <a:gd name="T7" fmla="*/ 0 h 12"/>
                  <a:gd name="T8" fmla="*/ 4 w 5"/>
                  <a:gd name="T9" fmla="*/ 0 h 12"/>
                </a:gdLst>
                <a:ahLst/>
                <a:cxnLst>
                  <a:cxn ang="0">
                    <a:pos x="T0" y="T1"/>
                  </a:cxn>
                  <a:cxn ang="0">
                    <a:pos x="T2" y="T3"/>
                  </a:cxn>
                  <a:cxn ang="0">
                    <a:pos x="T4" y="T5"/>
                  </a:cxn>
                  <a:cxn ang="0">
                    <a:pos x="T6" y="T7"/>
                  </a:cxn>
                  <a:cxn ang="0">
                    <a:pos x="T8" y="T9"/>
                  </a:cxn>
                </a:cxnLst>
                <a:rect l="0" t="0" r="r" b="b"/>
                <a:pathLst>
                  <a:path w="5" h="12">
                    <a:moveTo>
                      <a:pt x="4" y="0"/>
                    </a:moveTo>
                    <a:cubicBezTo>
                      <a:pt x="2" y="0"/>
                      <a:pt x="0" y="3"/>
                      <a:pt x="0" y="6"/>
                    </a:cubicBezTo>
                    <a:cubicBezTo>
                      <a:pt x="1" y="9"/>
                      <a:pt x="4" y="10"/>
                      <a:pt x="4" y="12"/>
                    </a:cubicBezTo>
                    <a:cubicBezTo>
                      <a:pt x="5" y="8"/>
                      <a:pt x="5" y="4"/>
                      <a:pt x="5"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6" name="Freeform 1268">
                <a:extLst>
                  <a:ext uri="{FF2B5EF4-FFF2-40B4-BE49-F238E27FC236}">
                    <a16:creationId xmlns:a16="http://schemas.microsoft.com/office/drawing/2014/main" id="{47756204-06FB-4A48-B87D-70F826003C1E}"/>
                  </a:ext>
                </a:extLst>
              </p:cNvPr>
              <p:cNvSpPr>
                <a:spLocks/>
              </p:cNvSpPr>
              <p:nvPr/>
            </p:nvSpPr>
            <p:spPr bwMode="auto">
              <a:xfrm>
                <a:off x="1833" y="920"/>
                <a:ext cx="444" cy="510"/>
              </a:xfrm>
              <a:custGeom>
                <a:avLst/>
                <a:gdLst>
                  <a:gd name="T0" fmla="*/ 168 w 188"/>
                  <a:gd name="T1" fmla="*/ 11 h 216"/>
                  <a:gd name="T2" fmla="*/ 150 w 188"/>
                  <a:gd name="T3" fmla="*/ 26 h 216"/>
                  <a:gd name="T4" fmla="*/ 121 w 188"/>
                  <a:gd name="T5" fmla="*/ 26 h 216"/>
                  <a:gd name="T6" fmla="*/ 91 w 188"/>
                  <a:gd name="T7" fmla="*/ 20 h 216"/>
                  <a:gd name="T8" fmla="*/ 85 w 188"/>
                  <a:gd name="T9" fmla="*/ 20 h 216"/>
                  <a:gd name="T10" fmla="*/ 74 w 188"/>
                  <a:gd name="T11" fmla="*/ 14 h 216"/>
                  <a:gd name="T12" fmla="*/ 59 w 188"/>
                  <a:gd name="T13" fmla="*/ 19 h 216"/>
                  <a:gd name="T14" fmla="*/ 49 w 188"/>
                  <a:gd name="T15" fmla="*/ 27 h 216"/>
                  <a:gd name="T16" fmla="*/ 45 w 188"/>
                  <a:gd name="T17" fmla="*/ 22 h 216"/>
                  <a:gd name="T18" fmla="*/ 36 w 188"/>
                  <a:gd name="T19" fmla="*/ 31 h 216"/>
                  <a:gd name="T20" fmla="*/ 28 w 188"/>
                  <a:gd name="T21" fmla="*/ 51 h 216"/>
                  <a:gd name="T22" fmla="*/ 30 w 188"/>
                  <a:gd name="T23" fmla="*/ 57 h 216"/>
                  <a:gd name="T24" fmla="*/ 18 w 188"/>
                  <a:gd name="T25" fmla="*/ 84 h 216"/>
                  <a:gd name="T26" fmla="*/ 3 w 188"/>
                  <a:gd name="T27" fmla="*/ 128 h 216"/>
                  <a:gd name="T28" fmla="*/ 2 w 188"/>
                  <a:gd name="T29" fmla="*/ 133 h 216"/>
                  <a:gd name="T30" fmla="*/ 8 w 188"/>
                  <a:gd name="T31" fmla="*/ 153 h 216"/>
                  <a:gd name="T32" fmla="*/ 24 w 188"/>
                  <a:gd name="T33" fmla="*/ 164 h 216"/>
                  <a:gd name="T34" fmla="*/ 19 w 188"/>
                  <a:gd name="T35" fmla="*/ 213 h 216"/>
                  <a:gd name="T36" fmla="*/ 26 w 188"/>
                  <a:gd name="T37" fmla="*/ 216 h 216"/>
                  <a:gd name="T38" fmla="*/ 44 w 188"/>
                  <a:gd name="T39" fmla="*/ 211 h 216"/>
                  <a:gd name="T40" fmla="*/ 48 w 188"/>
                  <a:gd name="T41" fmla="*/ 184 h 216"/>
                  <a:gd name="T42" fmla="*/ 43 w 188"/>
                  <a:gd name="T43" fmla="*/ 138 h 216"/>
                  <a:gd name="T44" fmla="*/ 62 w 188"/>
                  <a:gd name="T45" fmla="*/ 127 h 216"/>
                  <a:gd name="T46" fmla="*/ 63 w 188"/>
                  <a:gd name="T47" fmla="*/ 154 h 216"/>
                  <a:gd name="T48" fmla="*/ 71 w 188"/>
                  <a:gd name="T49" fmla="*/ 161 h 216"/>
                  <a:gd name="T50" fmla="*/ 77 w 188"/>
                  <a:gd name="T51" fmla="*/ 166 h 216"/>
                  <a:gd name="T52" fmla="*/ 79 w 188"/>
                  <a:gd name="T53" fmla="*/ 184 h 216"/>
                  <a:gd name="T54" fmla="*/ 94 w 188"/>
                  <a:gd name="T55" fmla="*/ 192 h 216"/>
                  <a:gd name="T56" fmla="*/ 110 w 188"/>
                  <a:gd name="T57" fmla="*/ 179 h 216"/>
                  <a:gd name="T58" fmla="*/ 117 w 188"/>
                  <a:gd name="T59" fmla="*/ 170 h 216"/>
                  <a:gd name="T60" fmla="*/ 109 w 188"/>
                  <a:gd name="T61" fmla="*/ 166 h 216"/>
                  <a:gd name="T62" fmla="*/ 105 w 188"/>
                  <a:gd name="T63" fmla="*/ 159 h 216"/>
                  <a:gd name="T64" fmla="*/ 105 w 188"/>
                  <a:gd name="T65" fmla="*/ 159 h 216"/>
                  <a:gd name="T66" fmla="*/ 105 w 188"/>
                  <a:gd name="T67" fmla="*/ 144 h 216"/>
                  <a:gd name="T68" fmla="*/ 94 w 188"/>
                  <a:gd name="T69" fmla="*/ 129 h 216"/>
                  <a:gd name="T70" fmla="*/ 84 w 188"/>
                  <a:gd name="T71" fmla="*/ 114 h 216"/>
                  <a:gd name="T72" fmla="*/ 79 w 188"/>
                  <a:gd name="T73" fmla="*/ 110 h 216"/>
                  <a:gd name="T74" fmla="*/ 75 w 188"/>
                  <a:gd name="T75" fmla="*/ 105 h 216"/>
                  <a:gd name="T76" fmla="*/ 112 w 188"/>
                  <a:gd name="T77" fmla="*/ 85 h 216"/>
                  <a:gd name="T78" fmla="*/ 125 w 188"/>
                  <a:gd name="T79" fmla="*/ 76 h 216"/>
                  <a:gd name="T80" fmla="*/ 128 w 188"/>
                  <a:gd name="T81" fmla="*/ 67 h 216"/>
                  <a:gd name="T82" fmla="*/ 115 w 188"/>
                  <a:gd name="T83" fmla="*/ 73 h 216"/>
                  <a:gd name="T84" fmla="*/ 101 w 188"/>
                  <a:gd name="T85" fmla="*/ 73 h 216"/>
                  <a:gd name="T86" fmla="*/ 84 w 188"/>
                  <a:gd name="T87" fmla="*/ 75 h 216"/>
                  <a:gd name="T88" fmla="*/ 76 w 188"/>
                  <a:gd name="T89" fmla="*/ 79 h 216"/>
                  <a:gd name="T90" fmla="*/ 65 w 188"/>
                  <a:gd name="T91" fmla="*/ 92 h 216"/>
                  <a:gd name="T92" fmla="*/ 55 w 188"/>
                  <a:gd name="T93" fmla="*/ 91 h 216"/>
                  <a:gd name="T94" fmla="*/ 47 w 188"/>
                  <a:gd name="T95" fmla="*/ 77 h 216"/>
                  <a:gd name="T96" fmla="*/ 45 w 188"/>
                  <a:gd name="T97" fmla="*/ 78 h 216"/>
                  <a:gd name="T98" fmla="*/ 36 w 188"/>
                  <a:gd name="T99" fmla="*/ 57 h 216"/>
                  <a:gd name="T100" fmla="*/ 65 w 188"/>
                  <a:gd name="T101" fmla="*/ 36 h 216"/>
                  <a:gd name="T102" fmla="*/ 96 w 188"/>
                  <a:gd name="T103" fmla="*/ 37 h 216"/>
                  <a:gd name="T104" fmla="*/ 107 w 188"/>
                  <a:gd name="T105" fmla="*/ 36 h 216"/>
                  <a:gd name="T106" fmla="*/ 136 w 188"/>
                  <a:gd name="T107" fmla="*/ 42 h 216"/>
                  <a:gd name="T108" fmla="*/ 160 w 188"/>
                  <a:gd name="T109" fmla="*/ 39 h 216"/>
                  <a:gd name="T110" fmla="*/ 184 w 188"/>
                  <a:gd name="T111" fmla="*/ 1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216">
                    <a:moveTo>
                      <a:pt x="182" y="0"/>
                    </a:moveTo>
                    <a:cubicBezTo>
                      <a:pt x="179" y="0"/>
                      <a:pt x="177" y="3"/>
                      <a:pt x="176" y="5"/>
                    </a:cubicBezTo>
                    <a:cubicBezTo>
                      <a:pt x="174" y="9"/>
                      <a:pt x="173" y="9"/>
                      <a:pt x="168" y="11"/>
                    </a:cubicBezTo>
                    <a:cubicBezTo>
                      <a:pt x="170" y="14"/>
                      <a:pt x="170" y="14"/>
                      <a:pt x="168" y="17"/>
                    </a:cubicBezTo>
                    <a:cubicBezTo>
                      <a:pt x="165" y="19"/>
                      <a:pt x="160" y="21"/>
                      <a:pt x="157" y="23"/>
                    </a:cubicBezTo>
                    <a:cubicBezTo>
                      <a:pt x="155" y="23"/>
                      <a:pt x="151" y="25"/>
                      <a:pt x="150" y="26"/>
                    </a:cubicBezTo>
                    <a:cubicBezTo>
                      <a:pt x="145" y="26"/>
                      <a:pt x="140" y="25"/>
                      <a:pt x="134" y="25"/>
                    </a:cubicBezTo>
                    <a:cubicBezTo>
                      <a:pt x="132" y="25"/>
                      <a:pt x="130" y="24"/>
                      <a:pt x="129" y="24"/>
                    </a:cubicBezTo>
                    <a:cubicBezTo>
                      <a:pt x="126" y="24"/>
                      <a:pt x="124" y="25"/>
                      <a:pt x="121" y="26"/>
                    </a:cubicBezTo>
                    <a:cubicBezTo>
                      <a:pt x="120" y="26"/>
                      <a:pt x="119" y="26"/>
                      <a:pt x="117" y="26"/>
                    </a:cubicBezTo>
                    <a:cubicBezTo>
                      <a:pt x="112" y="26"/>
                      <a:pt x="105" y="23"/>
                      <a:pt x="99" y="21"/>
                    </a:cubicBezTo>
                    <a:cubicBezTo>
                      <a:pt x="97" y="20"/>
                      <a:pt x="94" y="20"/>
                      <a:pt x="91" y="20"/>
                    </a:cubicBezTo>
                    <a:cubicBezTo>
                      <a:pt x="90" y="20"/>
                      <a:pt x="89" y="20"/>
                      <a:pt x="88" y="20"/>
                    </a:cubicBezTo>
                    <a:cubicBezTo>
                      <a:pt x="87" y="20"/>
                      <a:pt x="86" y="20"/>
                      <a:pt x="86" y="20"/>
                    </a:cubicBezTo>
                    <a:cubicBezTo>
                      <a:pt x="85" y="20"/>
                      <a:pt x="85" y="20"/>
                      <a:pt x="85" y="20"/>
                    </a:cubicBezTo>
                    <a:cubicBezTo>
                      <a:pt x="80" y="20"/>
                      <a:pt x="81" y="17"/>
                      <a:pt x="78" y="14"/>
                    </a:cubicBezTo>
                    <a:cubicBezTo>
                      <a:pt x="77" y="14"/>
                      <a:pt x="77" y="13"/>
                      <a:pt x="76" y="13"/>
                    </a:cubicBezTo>
                    <a:cubicBezTo>
                      <a:pt x="76" y="13"/>
                      <a:pt x="75" y="13"/>
                      <a:pt x="74" y="14"/>
                    </a:cubicBezTo>
                    <a:cubicBezTo>
                      <a:pt x="73" y="14"/>
                      <a:pt x="72" y="14"/>
                      <a:pt x="71" y="14"/>
                    </a:cubicBezTo>
                    <a:cubicBezTo>
                      <a:pt x="67" y="14"/>
                      <a:pt x="64" y="13"/>
                      <a:pt x="60" y="12"/>
                    </a:cubicBezTo>
                    <a:cubicBezTo>
                      <a:pt x="60" y="14"/>
                      <a:pt x="60" y="17"/>
                      <a:pt x="59" y="19"/>
                    </a:cubicBezTo>
                    <a:cubicBezTo>
                      <a:pt x="58" y="21"/>
                      <a:pt x="56" y="22"/>
                      <a:pt x="54" y="25"/>
                    </a:cubicBezTo>
                    <a:cubicBezTo>
                      <a:pt x="53" y="26"/>
                      <a:pt x="53" y="27"/>
                      <a:pt x="52" y="27"/>
                    </a:cubicBezTo>
                    <a:cubicBezTo>
                      <a:pt x="51" y="27"/>
                      <a:pt x="50" y="27"/>
                      <a:pt x="49" y="27"/>
                    </a:cubicBezTo>
                    <a:cubicBezTo>
                      <a:pt x="47" y="26"/>
                      <a:pt x="46" y="25"/>
                      <a:pt x="46" y="24"/>
                    </a:cubicBezTo>
                    <a:cubicBezTo>
                      <a:pt x="45" y="24"/>
                      <a:pt x="46" y="22"/>
                      <a:pt x="46" y="22"/>
                    </a:cubicBezTo>
                    <a:cubicBezTo>
                      <a:pt x="45" y="22"/>
                      <a:pt x="45" y="22"/>
                      <a:pt x="45" y="22"/>
                    </a:cubicBezTo>
                    <a:cubicBezTo>
                      <a:pt x="44" y="22"/>
                      <a:pt x="44" y="23"/>
                      <a:pt x="43" y="24"/>
                    </a:cubicBezTo>
                    <a:cubicBezTo>
                      <a:pt x="42" y="26"/>
                      <a:pt x="41" y="28"/>
                      <a:pt x="39" y="29"/>
                    </a:cubicBezTo>
                    <a:cubicBezTo>
                      <a:pt x="38" y="29"/>
                      <a:pt x="37" y="30"/>
                      <a:pt x="36" y="31"/>
                    </a:cubicBezTo>
                    <a:cubicBezTo>
                      <a:pt x="36" y="33"/>
                      <a:pt x="35" y="35"/>
                      <a:pt x="35" y="36"/>
                    </a:cubicBezTo>
                    <a:cubicBezTo>
                      <a:pt x="34" y="37"/>
                      <a:pt x="33" y="37"/>
                      <a:pt x="33" y="37"/>
                    </a:cubicBezTo>
                    <a:cubicBezTo>
                      <a:pt x="30" y="41"/>
                      <a:pt x="29" y="46"/>
                      <a:pt x="28" y="51"/>
                    </a:cubicBezTo>
                    <a:cubicBezTo>
                      <a:pt x="27" y="50"/>
                      <a:pt x="27" y="50"/>
                      <a:pt x="26" y="50"/>
                    </a:cubicBezTo>
                    <a:cubicBezTo>
                      <a:pt x="26" y="50"/>
                      <a:pt x="25" y="50"/>
                      <a:pt x="25" y="51"/>
                    </a:cubicBezTo>
                    <a:cubicBezTo>
                      <a:pt x="28" y="53"/>
                      <a:pt x="29" y="53"/>
                      <a:pt x="30" y="57"/>
                    </a:cubicBezTo>
                    <a:cubicBezTo>
                      <a:pt x="31" y="61"/>
                      <a:pt x="33" y="71"/>
                      <a:pt x="30" y="73"/>
                    </a:cubicBezTo>
                    <a:cubicBezTo>
                      <a:pt x="29" y="72"/>
                      <a:pt x="28" y="71"/>
                      <a:pt x="28" y="69"/>
                    </a:cubicBezTo>
                    <a:cubicBezTo>
                      <a:pt x="23" y="73"/>
                      <a:pt x="21" y="79"/>
                      <a:pt x="18" y="84"/>
                    </a:cubicBezTo>
                    <a:cubicBezTo>
                      <a:pt x="17" y="85"/>
                      <a:pt x="16" y="86"/>
                      <a:pt x="16" y="87"/>
                    </a:cubicBezTo>
                    <a:cubicBezTo>
                      <a:pt x="14" y="93"/>
                      <a:pt x="18" y="100"/>
                      <a:pt x="15" y="106"/>
                    </a:cubicBezTo>
                    <a:cubicBezTo>
                      <a:pt x="11" y="113"/>
                      <a:pt x="7" y="120"/>
                      <a:pt x="3" y="128"/>
                    </a:cubicBezTo>
                    <a:cubicBezTo>
                      <a:pt x="2" y="127"/>
                      <a:pt x="2" y="127"/>
                      <a:pt x="1" y="127"/>
                    </a:cubicBezTo>
                    <a:cubicBezTo>
                      <a:pt x="1" y="127"/>
                      <a:pt x="1" y="127"/>
                      <a:pt x="1" y="128"/>
                    </a:cubicBezTo>
                    <a:cubicBezTo>
                      <a:pt x="0" y="129"/>
                      <a:pt x="2" y="132"/>
                      <a:pt x="2" y="133"/>
                    </a:cubicBezTo>
                    <a:cubicBezTo>
                      <a:pt x="4" y="137"/>
                      <a:pt x="1" y="137"/>
                      <a:pt x="1" y="140"/>
                    </a:cubicBezTo>
                    <a:cubicBezTo>
                      <a:pt x="0" y="142"/>
                      <a:pt x="3" y="146"/>
                      <a:pt x="4" y="149"/>
                    </a:cubicBezTo>
                    <a:cubicBezTo>
                      <a:pt x="6" y="152"/>
                      <a:pt x="6" y="153"/>
                      <a:pt x="8" y="153"/>
                    </a:cubicBezTo>
                    <a:cubicBezTo>
                      <a:pt x="9" y="153"/>
                      <a:pt x="10" y="153"/>
                      <a:pt x="11" y="153"/>
                    </a:cubicBezTo>
                    <a:cubicBezTo>
                      <a:pt x="14" y="153"/>
                      <a:pt x="17" y="152"/>
                      <a:pt x="21" y="152"/>
                    </a:cubicBezTo>
                    <a:cubicBezTo>
                      <a:pt x="20" y="158"/>
                      <a:pt x="20" y="159"/>
                      <a:pt x="24" y="164"/>
                    </a:cubicBezTo>
                    <a:cubicBezTo>
                      <a:pt x="26" y="168"/>
                      <a:pt x="24" y="177"/>
                      <a:pt x="24" y="182"/>
                    </a:cubicBezTo>
                    <a:cubicBezTo>
                      <a:pt x="24" y="187"/>
                      <a:pt x="22" y="193"/>
                      <a:pt x="20" y="198"/>
                    </a:cubicBezTo>
                    <a:cubicBezTo>
                      <a:pt x="18" y="204"/>
                      <a:pt x="17" y="208"/>
                      <a:pt x="19" y="213"/>
                    </a:cubicBezTo>
                    <a:cubicBezTo>
                      <a:pt x="20" y="212"/>
                      <a:pt x="21" y="212"/>
                      <a:pt x="21" y="212"/>
                    </a:cubicBezTo>
                    <a:cubicBezTo>
                      <a:pt x="23" y="212"/>
                      <a:pt x="24" y="215"/>
                      <a:pt x="26" y="216"/>
                    </a:cubicBezTo>
                    <a:cubicBezTo>
                      <a:pt x="26" y="216"/>
                      <a:pt x="26" y="216"/>
                      <a:pt x="26" y="216"/>
                    </a:cubicBezTo>
                    <a:cubicBezTo>
                      <a:pt x="28" y="216"/>
                      <a:pt x="29" y="215"/>
                      <a:pt x="30" y="214"/>
                    </a:cubicBezTo>
                    <a:cubicBezTo>
                      <a:pt x="34" y="213"/>
                      <a:pt x="37" y="214"/>
                      <a:pt x="41" y="212"/>
                    </a:cubicBezTo>
                    <a:cubicBezTo>
                      <a:pt x="43" y="212"/>
                      <a:pt x="44" y="211"/>
                      <a:pt x="44" y="211"/>
                    </a:cubicBezTo>
                    <a:cubicBezTo>
                      <a:pt x="46" y="211"/>
                      <a:pt x="47" y="212"/>
                      <a:pt x="49" y="214"/>
                    </a:cubicBezTo>
                    <a:cubicBezTo>
                      <a:pt x="47" y="208"/>
                      <a:pt x="43" y="202"/>
                      <a:pt x="45" y="196"/>
                    </a:cubicBezTo>
                    <a:cubicBezTo>
                      <a:pt x="46" y="192"/>
                      <a:pt x="49" y="187"/>
                      <a:pt x="48" y="184"/>
                    </a:cubicBezTo>
                    <a:cubicBezTo>
                      <a:pt x="47" y="176"/>
                      <a:pt x="47" y="171"/>
                      <a:pt x="48" y="164"/>
                    </a:cubicBezTo>
                    <a:cubicBezTo>
                      <a:pt x="49" y="158"/>
                      <a:pt x="49" y="152"/>
                      <a:pt x="47" y="146"/>
                    </a:cubicBezTo>
                    <a:cubicBezTo>
                      <a:pt x="47" y="143"/>
                      <a:pt x="43" y="141"/>
                      <a:pt x="43" y="138"/>
                    </a:cubicBezTo>
                    <a:cubicBezTo>
                      <a:pt x="44" y="135"/>
                      <a:pt x="45" y="135"/>
                      <a:pt x="48" y="133"/>
                    </a:cubicBezTo>
                    <a:cubicBezTo>
                      <a:pt x="52" y="130"/>
                      <a:pt x="55" y="127"/>
                      <a:pt x="60" y="127"/>
                    </a:cubicBezTo>
                    <a:cubicBezTo>
                      <a:pt x="60" y="127"/>
                      <a:pt x="61" y="127"/>
                      <a:pt x="62" y="127"/>
                    </a:cubicBezTo>
                    <a:cubicBezTo>
                      <a:pt x="69" y="128"/>
                      <a:pt x="67" y="137"/>
                      <a:pt x="66" y="142"/>
                    </a:cubicBezTo>
                    <a:cubicBezTo>
                      <a:pt x="66" y="145"/>
                      <a:pt x="63" y="146"/>
                      <a:pt x="62" y="149"/>
                    </a:cubicBezTo>
                    <a:cubicBezTo>
                      <a:pt x="61" y="151"/>
                      <a:pt x="60" y="151"/>
                      <a:pt x="63" y="154"/>
                    </a:cubicBezTo>
                    <a:cubicBezTo>
                      <a:pt x="65" y="156"/>
                      <a:pt x="67" y="159"/>
                      <a:pt x="70" y="161"/>
                    </a:cubicBezTo>
                    <a:cubicBezTo>
                      <a:pt x="70" y="161"/>
                      <a:pt x="70" y="161"/>
                      <a:pt x="70" y="161"/>
                    </a:cubicBezTo>
                    <a:cubicBezTo>
                      <a:pt x="70" y="161"/>
                      <a:pt x="70" y="161"/>
                      <a:pt x="71" y="161"/>
                    </a:cubicBezTo>
                    <a:cubicBezTo>
                      <a:pt x="71" y="161"/>
                      <a:pt x="71" y="161"/>
                      <a:pt x="71" y="161"/>
                    </a:cubicBezTo>
                    <a:cubicBezTo>
                      <a:pt x="71" y="161"/>
                      <a:pt x="71" y="161"/>
                      <a:pt x="72" y="161"/>
                    </a:cubicBezTo>
                    <a:cubicBezTo>
                      <a:pt x="74" y="163"/>
                      <a:pt x="74" y="165"/>
                      <a:pt x="77" y="166"/>
                    </a:cubicBezTo>
                    <a:cubicBezTo>
                      <a:pt x="78" y="167"/>
                      <a:pt x="79" y="167"/>
                      <a:pt x="80" y="167"/>
                    </a:cubicBezTo>
                    <a:cubicBezTo>
                      <a:pt x="82" y="169"/>
                      <a:pt x="83" y="168"/>
                      <a:pt x="82" y="172"/>
                    </a:cubicBezTo>
                    <a:cubicBezTo>
                      <a:pt x="81" y="175"/>
                      <a:pt x="77" y="182"/>
                      <a:pt x="79" y="184"/>
                    </a:cubicBezTo>
                    <a:cubicBezTo>
                      <a:pt x="83" y="188"/>
                      <a:pt x="84" y="191"/>
                      <a:pt x="89" y="191"/>
                    </a:cubicBezTo>
                    <a:cubicBezTo>
                      <a:pt x="90" y="192"/>
                      <a:pt x="91" y="192"/>
                      <a:pt x="93" y="192"/>
                    </a:cubicBezTo>
                    <a:cubicBezTo>
                      <a:pt x="93" y="192"/>
                      <a:pt x="94" y="192"/>
                      <a:pt x="94" y="192"/>
                    </a:cubicBezTo>
                    <a:cubicBezTo>
                      <a:pt x="98" y="190"/>
                      <a:pt x="98" y="186"/>
                      <a:pt x="99" y="181"/>
                    </a:cubicBezTo>
                    <a:cubicBezTo>
                      <a:pt x="99" y="181"/>
                      <a:pt x="105" y="180"/>
                      <a:pt x="107" y="179"/>
                    </a:cubicBezTo>
                    <a:cubicBezTo>
                      <a:pt x="110" y="179"/>
                      <a:pt x="110" y="179"/>
                      <a:pt x="110" y="179"/>
                    </a:cubicBezTo>
                    <a:cubicBezTo>
                      <a:pt x="113" y="179"/>
                      <a:pt x="113" y="181"/>
                      <a:pt x="115" y="181"/>
                    </a:cubicBezTo>
                    <a:cubicBezTo>
                      <a:pt x="115" y="181"/>
                      <a:pt x="116" y="180"/>
                      <a:pt x="118" y="179"/>
                    </a:cubicBezTo>
                    <a:cubicBezTo>
                      <a:pt x="121" y="177"/>
                      <a:pt x="121" y="170"/>
                      <a:pt x="117" y="170"/>
                    </a:cubicBezTo>
                    <a:cubicBezTo>
                      <a:pt x="116" y="170"/>
                      <a:pt x="115" y="170"/>
                      <a:pt x="114" y="171"/>
                    </a:cubicBezTo>
                    <a:cubicBezTo>
                      <a:pt x="113" y="169"/>
                      <a:pt x="113" y="166"/>
                      <a:pt x="110" y="166"/>
                    </a:cubicBezTo>
                    <a:cubicBezTo>
                      <a:pt x="110" y="166"/>
                      <a:pt x="110" y="166"/>
                      <a:pt x="109" y="166"/>
                    </a:cubicBezTo>
                    <a:cubicBezTo>
                      <a:pt x="111" y="166"/>
                      <a:pt x="111" y="165"/>
                      <a:pt x="112" y="165"/>
                    </a:cubicBezTo>
                    <a:cubicBezTo>
                      <a:pt x="111" y="163"/>
                      <a:pt x="108" y="160"/>
                      <a:pt x="106" y="159"/>
                    </a:cubicBezTo>
                    <a:cubicBezTo>
                      <a:pt x="106" y="159"/>
                      <a:pt x="106" y="159"/>
                      <a:pt x="105" y="159"/>
                    </a:cubicBezTo>
                    <a:cubicBezTo>
                      <a:pt x="105" y="159"/>
                      <a:pt x="105" y="159"/>
                      <a:pt x="105" y="159"/>
                    </a:cubicBezTo>
                    <a:cubicBezTo>
                      <a:pt x="105" y="159"/>
                      <a:pt x="105" y="159"/>
                      <a:pt x="105" y="159"/>
                    </a:cubicBezTo>
                    <a:cubicBezTo>
                      <a:pt x="105" y="159"/>
                      <a:pt x="105" y="159"/>
                      <a:pt x="105" y="159"/>
                    </a:cubicBezTo>
                    <a:cubicBezTo>
                      <a:pt x="104" y="159"/>
                      <a:pt x="102" y="158"/>
                      <a:pt x="101" y="157"/>
                    </a:cubicBezTo>
                    <a:cubicBezTo>
                      <a:pt x="99" y="153"/>
                      <a:pt x="103" y="154"/>
                      <a:pt x="104" y="151"/>
                    </a:cubicBezTo>
                    <a:cubicBezTo>
                      <a:pt x="106" y="148"/>
                      <a:pt x="102" y="145"/>
                      <a:pt x="105" y="144"/>
                    </a:cubicBezTo>
                    <a:cubicBezTo>
                      <a:pt x="106" y="144"/>
                      <a:pt x="107" y="143"/>
                      <a:pt x="107" y="143"/>
                    </a:cubicBezTo>
                    <a:cubicBezTo>
                      <a:pt x="102" y="139"/>
                      <a:pt x="103" y="139"/>
                      <a:pt x="99" y="134"/>
                    </a:cubicBezTo>
                    <a:cubicBezTo>
                      <a:pt x="98" y="131"/>
                      <a:pt x="96" y="131"/>
                      <a:pt x="94" y="129"/>
                    </a:cubicBezTo>
                    <a:cubicBezTo>
                      <a:pt x="92" y="124"/>
                      <a:pt x="90" y="117"/>
                      <a:pt x="85" y="114"/>
                    </a:cubicBezTo>
                    <a:cubicBezTo>
                      <a:pt x="85" y="114"/>
                      <a:pt x="85" y="114"/>
                      <a:pt x="84" y="114"/>
                    </a:cubicBezTo>
                    <a:cubicBezTo>
                      <a:pt x="84" y="114"/>
                      <a:pt x="84" y="114"/>
                      <a:pt x="84" y="114"/>
                    </a:cubicBezTo>
                    <a:cubicBezTo>
                      <a:pt x="83" y="114"/>
                      <a:pt x="83" y="114"/>
                      <a:pt x="83" y="114"/>
                    </a:cubicBezTo>
                    <a:cubicBezTo>
                      <a:pt x="82" y="114"/>
                      <a:pt x="82" y="114"/>
                      <a:pt x="82" y="114"/>
                    </a:cubicBezTo>
                    <a:cubicBezTo>
                      <a:pt x="80" y="113"/>
                      <a:pt x="79" y="110"/>
                      <a:pt x="79" y="110"/>
                    </a:cubicBezTo>
                    <a:cubicBezTo>
                      <a:pt x="78" y="108"/>
                      <a:pt x="77" y="107"/>
                      <a:pt x="76" y="107"/>
                    </a:cubicBezTo>
                    <a:cubicBezTo>
                      <a:pt x="76" y="107"/>
                      <a:pt x="75" y="107"/>
                      <a:pt x="75" y="108"/>
                    </a:cubicBezTo>
                    <a:cubicBezTo>
                      <a:pt x="74" y="107"/>
                      <a:pt x="74" y="106"/>
                      <a:pt x="75" y="105"/>
                    </a:cubicBezTo>
                    <a:cubicBezTo>
                      <a:pt x="78" y="105"/>
                      <a:pt x="80" y="106"/>
                      <a:pt x="82" y="106"/>
                    </a:cubicBezTo>
                    <a:cubicBezTo>
                      <a:pt x="83" y="106"/>
                      <a:pt x="85" y="106"/>
                      <a:pt x="88" y="103"/>
                    </a:cubicBezTo>
                    <a:cubicBezTo>
                      <a:pt x="96" y="96"/>
                      <a:pt x="106" y="92"/>
                      <a:pt x="112" y="85"/>
                    </a:cubicBezTo>
                    <a:cubicBezTo>
                      <a:pt x="114" y="83"/>
                      <a:pt x="115" y="81"/>
                      <a:pt x="117" y="79"/>
                    </a:cubicBezTo>
                    <a:cubicBezTo>
                      <a:pt x="119" y="77"/>
                      <a:pt x="119" y="77"/>
                      <a:pt x="123" y="76"/>
                    </a:cubicBezTo>
                    <a:cubicBezTo>
                      <a:pt x="124" y="76"/>
                      <a:pt x="124" y="76"/>
                      <a:pt x="125" y="76"/>
                    </a:cubicBezTo>
                    <a:cubicBezTo>
                      <a:pt x="128" y="76"/>
                      <a:pt x="130" y="78"/>
                      <a:pt x="133" y="80"/>
                    </a:cubicBezTo>
                    <a:cubicBezTo>
                      <a:pt x="134" y="75"/>
                      <a:pt x="137" y="70"/>
                      <a:pt x="131" y="68"/>
                    </a:cubicBezTo>
                    <a:cubicBezTo>
                      <a:pt x="130" y="67"/>
                      <a:pt x="129" y="67"/>
                      <a:pt x="128" y="67"/>
                    </a:cubicBezTo>
                    <a:cubicBezTo>
                      <a:pt x="128" y="67"/>
                      <a:pt x="127" y="67"/>
                      <a:pt x="127" y="67"/>
                    </a:cubicBezTo>
                    <a:cubicBezTo>
                      <a:pt x="124" y="67"/>
                      <a:pt x="122" y="68"/>
                      <a:pt x="120" y="72"/>
                    </a:cubicBezTo>
                    <a:cubicBezTo>
                      <a:pt x="124" y="73"/>
                      <a:pt x="118" y="73"/>
                      <a:pt x="115" y="73"/>
                    </a:cubicBezTo>
                    <a:cubicBezTo>
                      <a:pt x="114" y="73"/>
                      <a:pt x="114" y="73"/>
                      <a:pt x="113" y="73"/>
                    </a:cubicBezTo>
                    <a:cubicBezTo>
                      <a:pt x="111" y="73"/>
                      <a:pt x="108" y="72"/>
                      <a:pt x="105" y="72"/>
                    </a:cubicBezTo>
                    <a:cubicBezTo>
                      <a:pt x="103" y="72"/>
                      <a:pt x="102" y="72"/>
                      <a:pt x="101" y="73"/>
                    </a:cubicBezTo>
                    <a:cubicBezTo>
                      <a:pt x="97" y="73"/>
                      <a:pt x="94" y="76"/>
                      <a:pt x="91" y="78"/>
                    </a:cubicBezTo>
                    <a:cubicBezTo>
                      <a:pt x="90" y="78"/>
                      <a:pt x="90" y="78"/>
                      <a:pt x="89" y="78"/>
                    </a:cubicBezTo>
                    <a:cubicBezTo>
                      <a:pt x="88" y="78"/>
                      <a:pt x="86" y="76"/>
                      <a:pt x="84" y="75"/>
                    </a:cubicBezTo>
                    <a:cubicBezTo>
                      <a:pt x="83" y="75"/>
                      <a:pt x="84" y="74"/>
                      <a:pt x="83" y="74"/>
                    </a:cubicBezTo>
                    <a:cubicBezTo>
                      <a:pt x="83" y="74"/>
                      <a:pt x="83" y="74"/>
                      <a:pt x="82" y="75"/>
                    </a:cubicBezTo>
                    <a:cubicBezTo>
                      <a:pt x="80" y="76"/>
                      <a:pt x="78" y="78"/>
                      <a:pt x="76" y="79"/>
                    </a:cubicBezTo>
                    <a:cubicBezTo>
                      <a:pt x="75" y="81"/>
                      <a:pt x="73" y="82"/>
                      <a:pt x="72" y="84"/>
                    </a:cubicBezTo>
                    <a:cubicBezTo>
                      <a:pt x="71" y="86"/>
                      <a:pt x="70" y="89"/>
                      <a:pt x="68" y="90"/>
                    </a:cubicBezTo>
                    <a:cubicBezTo>
                      <a:pt x="68" y="91"/>
                      <a:pt x="66" y="92"/>
                      <a:pt x="65" y="92"/>
                    </a:cubicBezTo>
                    <a:cubicBezTo>
                      <a:pt x="64" y="92"/>
                      <a:pt x="63" y="91"/>
                      <a:pt x="62" y="91"/>
                    </a:cubicBezTo>
                    <a:cubicBezTo>
                      <a:pt x="61" y="91"/>
                      <a:pt x="59" y="90"/>
                      <a:pt x="58" y="90"/>
                    </a:cubicBezTo>
                    <a:cubicBezTo>
                      <a:pt x="57" y="90"/>
                      <a:pt x="56" y="90"/>
                      <a:pt x="55" y="91"/>
                    </a:cubicBezTo>
                    <a:cubicBezTo>
                      <a:pt x="53" y="87"/>
                      <a:pt x="53" y="80"/>
                      <a:pt x="48" y="78"/>
                    </a:cubicBezTo>
                    <a:cubicBezTo>
                      <a:pt x="48" y="78"/>
                      <a:pt x="48" y="77"/>
                      <a:pt x="47" y="77"/>
                    </a:cubicBezTo>
                    <a:cubicBezTo>
                      <a:pt x="47" y="77"/>
                      <a:pt x="47" y="77"/>
                      <a:pt x="47" y="77"/>
                    </a:cubicBezTo>
                    <a:cubicBezTo>
                      <a:pt x="46" y="77"/>
                      <a:pt x="46" y="77"/>
                      <a:pt x="46" y="77"/>
                    </a:cubicBezTo>
                    <a:cubicBezTo>
                      <a:pt x="46" y="78"/>
                      <a:pt x="45" y="78"/>
                      <a:pt x="45" y="78"/>
                    </a:cubicBezTo>
                    <a:cubicBezTo>
                      <a:pt x="45" y="78"/>
                      <a:pt x="45" y="78"/>
                      <a:pt x="45" y="78"/>
                    </a:cubicBezTo>
                    <a:cubicBezTo>
                      <a:pt x="43" y="77"/>
                      <a:pt x="41" y="74"/>
                      <a:pt x="40" y="72"/>
                    </a:cubicBezTo>
                    <a:cubicBezTo>
                      <a:pt x="38" y="70"/>
                      <a:pt x="38" y="68"/>
                      <a:pt x="37" y="65"/>
                    </a:cubicBezTo>
                    <a:cubicBezTo>
                      <a:pt x="37" y="63"/>
                      <a:pt x="36" y="60"/>
                      <a:pt x="36" y="57"/>
                    </a:cubicBezTo>
                    <a:cubicBezTo>
                      <a:pt x="36" y="51"/>
                      <a:pt x="40" y="41"/>
                      <a:pt x="46" y="37"/>
                    </a:cubicBezTo>
                    <a:cubicBezTo>
                      <a:pt x="49" y="35"/>
                      <a:pt x="52" y="35"/>
                      <a:pt x="55" y="35"/>
                    </a:cubicBezTo>
                    <a:cubicBezTo>
                      <a:pt x="58" y="35"/>
                      <a:pt x="61" y="35"/>
                      <a:pt x="65" y="36"/>
                    </a:cubicBezTo>
                    <a:cubicBezTo>
                      <a:pt x="68" y="37"/>
                      <a:pt x="71" y="37"/>
                      <a:pt x="74" y="37"/>
                    </a:cubicBezTo>
                    <a:cubicBezTo>
                      <a:pt x="74" y="37"/>
                      <a:pt x="74" y="37"/>
                      <a:pt x="74" y="37"/>
                    </a:cubicBezTo>
                    <a:cubicBezTo>
                      <a:pt x="82" y="37"/>
                      <a:pt x="89" y="37"/>
                      <a:pt x="96" y="37"/>
                    </a:cubicBezTo>
                    <a:cubicBezTo>
                      <a:pt x="97" y="37"/>
                      <a:pt x="98" y="37"/>
                      <a:pt x="99" y="37"/>
                    </a:cubicBezTo>
                    <a:cubicBezTo>
                      <a:pt x="99" y="37"/>
                      <a:pt x="99" y="37"/>
                      <a:pt x="100" y="37"/>
                    </a:cubicBezTo>
                    <a:cubicBezTo>
                      <a:pt x="102" y="37"/>
                      <a:pt x="104" y="37"/>
                      <a:pt x="107" y="36"/>
                    </a:cubicBezTo>
                    <a:cubicBezTo>
                      <a:pt x="109" y="36"/>
                      <a:pt x="112" y="36"/>
                      <a:pt x="114" y="36"/>
                    </a:cubicBezTo>
                    <a:cubicBezTo>
                      <a:pt x="118" y="36"/>
                      <a:pt x="122" y="36"/>
                      <a:pt x="125" y="38"/>
                    </a:cubicBezTo>
                    <a:cubicBezTo>
                      <a:pt x="129" y="39"/>
                      <a:pt x="133" y="41"/>
                      <a:pt x="136" y="42"/>
                    </a:cubicBezTo>
                    <a:cubicBezTo>
                      <a:pt x="138" y="42"/>
                      <a:pt x="140" y="43"/>
                      <a:pt x="141" y="43"/>
                    </a:cubicBezTo>
                    <a:cubicBezTo>
                      <a:pt x="143" y="43"/>
                      <a:pt x="145" y="42"/>
                      <a:pt x="148" y="42"/>
                    </a:cubicBezTo>
                    <a:cubicBezTo>
                      <a:pt x="151" y="41"/>
                      <a:pt x="158" y="41"/>
                      <a:pt x="160" y="39"/>
                    </a:cubicBezTo>
                    <a:cubicBezTo>
                      <a:pt x="164" y="35"/>
                      <a:pt x="167" y="31"/>
                      <a:pt x="171" y="28"/>
                    </a:cubicBezTo>
                    <a:cubicBezTo>
                      <a:pt x="173" y="25"/>
                      <a:pt x="177" y="24"/>
                      <a:pt x="178" y="21"/>
                    </a:cubicBezTo>
                    <a:cubicBezTo>
                      <a:pt x="180" y="18"/>
                      <a:pt x="183" y="14"/>
                      <a:pt x="184" y="10"/>
                    </a:cubicBezTo>
                    <a:cubicBezTo>
                      <a:pt x="186" y="5"/>
                      <a:pt x="188" y="3"/>
                      <a:pt x="182" y="1"/>
                    </a:cubicBezTo>
                    <a:cubicBezTo>
                      <a:pt x="182" y="0"/>
                      <a:pt x="182" y="0"/>
                      <a:pt x="1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7" name="Freeform 1269">
                <a:extLst>
                  <a:ext uri="{FF2B5EF4-FFF2-40B4-BE49-F238E27FC236}">
                    <a16:creationId xmlns:a16="http://schemas.microsoft.com/office/drawing/2014/main" id="{85420872-9B30-40AF-9450-568029524E36}"/>
                  </a:ext>
                </a:extLst>
              </p:cNvPr>
              <p:cNvSpPr>
                <a:spLocks/>
              </p:cNvSpPr>
              <p:nvPr/>
            </p:nvSpPr>
            <p:spPr bwMode="auto">
              <a:xfrm>
                <a:off x="2584" y="1118"/>
                <a:ext cx="10" cy="5"/>
              </a:xfrm>
              <a:custGeom>
                <a:avLst/>
                <a:gdLst>
                  <a:gd name="T0" fmla="*/ 4 w 4"/>
                  <a:gd name="T1" fmla="*/ 0 h 2"/>
                  <a:gd name="T2" fmla="*/ 0 w 4"/>
                  <a:gd name="T3" fmla="*/ 2 h 2"/>
                  <a:gd name="T4" fmla="*/ 4 w 4"/>
                  <a:gd name="T5" fmla="*/ 0 h 2"/>
                </a:gdLst>
                <a:ahLst/>
                <a:cxnLst>
                  <a:cxn ang="0">
                    <a:pos x="T0" y="T1"/>
                  </a:cxn>
                  <a:cxn ang="0">
                    <a:pos x="T2" y="T3"/>
                  </a:cxn>
                  <a:cxn ang="0">
                    <a:pos x="T4" y="T5"/>
                  </a:cxn>
                </a:cxnLst>
                <a:rect l="0" t="0" r="r" b="b"/>
                <a:pathLst>
                  <a:path w="4" h="2">
                    <a:moveTo>
                      <a:pt x="4" y="0"/>
                    </a:moveTo>
                    <a:cubicBezTo>
                      <a:pt x="3" y="0"/>
                      <a:pt x="1" y="0"/>
                      <a:pt x="0" y="2"/>
                    </a:cubicBezTo>
                    <a:cubicBezTo>
                      <a:pt x="2"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8" name="Freeform 1270">
                <a:extLst>
                  <a:ext uri="{FF2B5EF4-FFF2-40B4-BE49-F238E27FC236}">
                    <a16:creationId xmlns:a16="http://schemas.microsoft.com/office/drawing/2014/main" id="{281C32B4-65EB-4B5E-806F-705726F72BBD}"/>
                  </a:ext>
                </a:extLst>
              </p:cNvPr>
              <p:cNvSpPr>
                <a:spLocks/>
              </p:cNvSpPr>
              <p:nvPr/>
            </p:nvSpPr>
            <p:spPr bwMode="auto">
              <a:xfrm>
                <a:off x="1632" y="1608"/>
                <a:ext cx="73" cy="47"/>
              </a:xfrm>
              <a:custGeom>
                <a:avLst/>
                <a:gdLst>
                  <a:gd name="T0" fmla="*/ 18 w 31"/>
                  <a:gd name="T1" fmla="*/ 0 h 20"/>
                  <a:gd name="T2" fmla="*/ 7 w 31"/>
                  <a:gd name="T3" fmla="*/ 8 h 20"/>
                  <a:gd name="T4" fmla="*/ 0 w 31"/>
                  <a:gd name="T5" fmla="*/ 16 h 20"/>
                  <a:gd name="T6" fmla="*/ 3 w 31"/>
                  <a:gd name="T7" fmla="*/ 17 h 20"/>
                  <a:gd name="T8" fmla="*/ 3 w 31"/>
                  <a:gd name="T9" fmla="*/ 17 h 20"/>
                  <a:gd name="T10" fmla="*/ 4 w 31"/>
                  <a:gd name="T11" fmla="*/ 18 h 20"/>
                  <a:gd name="T12" fmla="*/ 5 w 31"/>
                  <a:gd name="T13" fmla="*/ 18 h 20"/>
                  <a:gd name="T14" fmla="*/ 5 w 31"/>
                  <a:gd name="T15" fmla="*/ 18 h 20"/>
                  <a:gd name="T16" fmla="*/ 12 w 31"/>
                  <a:gd name="T17" fmla="*/ 19 h 20"/>
                  <a:gd name="T18" fmla="*/ 15 w 31"/>
                  <a:gd name="T19" fmla="*/ 20 h 20"/>
                  <a:gd name="T20" fmla="*/ 17 w 31"/>
                  <a:gd name="T21" fmla="*/ 19 h 20"/>
                  <a:gd name="T22" fmla="*/ 18 w 31"/>
                  <a:gd name="T23" fmla="*/ 17 h 20"/>
                  <a:gd name="T24" fmla="*/ 19 w 31"/>
                  <a:gd name="T25" fmla="*/ 17 h 20"/>
                  <a:gd name="T26" fmla="*/ 22 w 31"/>
                  <a:gd name="T27" fmla="*/ 18 h 20"/>
                  <a:gd name="T28" fmla="*/ 23 w 31"/>
                  <a:gd name="T29" fmla="*/ 0 h 20"/>
                  <a:gd name="T30" fmla="*/ 18 w 31"/>
                  <a:gd name="T3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20">
                    <a:moveTo>
                      <a:pt x="18" y="0"/>
                    </a:moveTo>
                    <a:cubicBezTo>
                      <a:pt x="12" y="0"/>
                      <a:pt x="5" y="2"/>
                      <a:pt x="7" y="8"/>
                    </a:cubicBezTo>
                    <a:cubicBezTo>
                      <a:pt x="9" y="13"/>
                      <a:pt x="3" y="15"/>
                      <a:pt x="0" y="16"/>
                    </a:cubicBezTo>
                    <a:cubicBezTo>
                      <a:pt x="1" y="17"/>
                      <a:pt x="2" y="17"/>
                      <a:pt x="3" y="17"/>
                    </a:cubicBezTo>
                    <a:cubicBezTo>
                      <a:pt x="3" y="17"/>
                      <a:pt x="3" y="17"/>
                      <a:pt x="3" y="17"/>
                    </a:cubicBezTo>
                    <a:cubicBezTo>
                      <a:pt x="3" y="17"/>
                      <a:pt x="3" y="18"/>
                      <a:pt x="4" y="18"/>
                    </a:cubicBezTo>
                    <a:cubicBezTo>
                      <a:pt x="4" y="18"/>
                      <a:pt x="5" y="18"/>
                      <a:pt x="5" y="18"/>
                    </a:cubicBezTo>
                    <a:cubicBezTo>
                      <a:pt x="5" y="18"/>
                      <a:pt x="5" y="18"/>
                      <a:pt x="5" y="18"/>
                    </a:cubicBezTo>
                    <a:cubicBezTo>
                      <a:pt x="6" y="19"/>
                      <a:pt x="9" y="18"/>
                      <a:pt x="12" y="19"/>
                    </a:cubicBezTo>
                    <a:cubicBezTo>
                      <a:pt x="14" y="20"/>
                      <a:pt x="14" y="20"/>
                      <a:pt x="15" y="20"/>
                    </a:cubicBezTo>
                    <a:cubicBezTo>
                      <a:pt x="15" y="20"/>
                      <a:pt x="16" y="20"/>
                      <a:pt x="17" y="19"/>
                    </a:cubicBezTo>
                    <a:cubicBezTo>
                      <a:pt x="19" y="19"/>
                      <a:pt x="16" y="17"/>
                      <a:pt x="18" y="17"/>
                    </a:cubicBezTo>
                    <a:cubicBezTo>
                      <a:pt x="18" y="17"/>
                      <a:pt x="19" y="17"/>
                      <a:pt x="19" y="17"/>
                    </a:cubicBezTo>
                    <a:cubicBezTo>
                      <a:pt x="20" y="17"/>
                      <a:pt x="21" y="18"/>
                      <a:pt x="22" y="18"/>
                    </a:cubicBezTo>
                    <a:cubicBezTo>
                      <a:pt x="18" y="16"/>
                      <a:pt x="31" y="4"/>
                      <a:pt x="23" y="0"/>
                    </a:cubicBezTo>
                    <a:cubicBezTo>
                      <a:pt x="22" y="0"/>
                      <a:pt x="20"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9" name="Freeform 1271">
                <a:extLst>
                  <a:ext uri="{FF2B5EF4-FFF2-40B4-BE49-F238E27FC236}">
                    <a16:creationId xmlns:a16="http://schemas.microsoft.com/office/drawing/2014/main" id="{B7049AE7-E01A-428C-95F3-BC7E28FA747B}"/>
                  </a:ext>
                </a:extLst>
              </p:cNvPr>
              <p:cNvSpPr>
                <a:spLocks/>
              </p:cNvSpPr>
              <p:nvPr/>
            </p:nvSpPr>
            <p:spPr bwMode="auto">
              <a:xfrm>
                <a:off x="1691" y="1596"/>
                <a:ext cx="170" cy="71"/>
              </a:xfrm>
              <a:custGeom>
                <a:avLst/>
                <a:gdLst>
                  <a:gd name="T0" fmla="*/ 37 w 72"/>
                  <a:gd name="T1" fmla="*/ 0 h 30"/>
                  <a:gd name="T2" fmla="*/ 31 w 72"/>
                  <a:gd name="T3" fmla="*/ 2 h 30"/>
                  <a:gd name="T4" fmla="*/ 35 w 72"/>
                  <a:gd name="T5" fmla="*/ 9 h 30"/>
                  <a:gd name="T6" fmla="*/ 46 w 72"/>
                  <a:gd name="T7" fmla="*/ 15 h 30"/>
                  <a:gd name="T8" fmla="*/ 33 w 72"/>
                  <a:gd name="T9" fmla="*/ 18 h 30"/>
                  <a:gd name="T10" fmla="*/ 31 w 72"/>
                  <a:gd name="T11" fmla="*/ 18 h 30"/>
                  <a:gd name="T12" fmla="*/ 30 w 72"/>
                  <a:gd name="T13" fmla="*/ 16 h 30"/>
                  <a:gd name="T14" fmla="*/ 19 w 72"/>
                  <a:gd name="T15" fmla="*/ 11 h 30"/>
                  <a:gd name="T16" fmla="*/ 13 w 72"/>
                  <a:gd name="T17" fmla="*/ 9 h 30"/>
                  <a:gd name="T18" fmla="*/ 7 w 72"/>
                  <a:gd name="T19" fmla="*/ 11 h 30"/>
                  <a:gd name="T20" fmla="*/ 3 w 72"/>
                  <a:gd name="T21" fmla="*/ 15 h 30"/>
                  <a:gd name="T22" fmla="*/ 2 w 72"/>
                  <a:gd name="T23" fmla="*/ 21 h 30"/>
                  <a:gd name="T24" fmla="*/ 7 w 72"/>
                  <a:gd name="T25" fmla="*/ 29 h 30"/>
                  <a:gd name="T26" fmla="*/ 11 w 72"/>
                  <a:gd name="T27" fmla="*/ 30 h 30"/>
                  <a:gd name="T28" fmla="*/ 12 w 72"/>
                  <a:gd name="T29" fmla="*/ 30 h 30"/>
                  <a:gd name="T30" fmla="*/ 31 w 72"/>
                  <a:gd name="T31" fmla="*/ 26 h 30"/>
                  <a:gd name="T32" fmla="*/ 42 w 72"/>
                  <a:gd name="T33" fmla="*/ 21 h 30"/>
                  <a:gd name="T34" fmla="*/ 50 w 72"/>
                  <a:gd name="T35" fmla="*/ 15 h 30"/>
                  <a:gd name="T36" fmla="*/ 50 w 72"/>
                  <a:gd name="T37" fmla="*/ 18 h 30"/>
                  <a:gd name="T38" fmla="*/ 52 w 72"/>
                  <a:gd name="T39" fmla="*/ 23 h 30"/>
                  <a:gd name="T40" fmla="*/ 52 w 72"/>
                  <a:gd name="T41" fmla="*/ 23 h 30"/>
                  <a:gd name="T42" fmla="*/ 59 w 72"/>
                  <a:gd name="T43" fmla="*/ 21 h 30"/>
                  <a:gd name="T44" fmla="*/ 72 w 72"/>
                  <a:gd name="T45" fmla="*/ 18 h 30"/>
                  <a:gd name="T46" fmla="*/ 72 w 72"/>
                  <a:gd name="T47" fmla="*/ 15 h 30"/>
                  <a:gd name="T48" fmla="*/ 69 w 72"/>
                  <a:gd name="T49" fmla="*/ 16 h 30"/>
                  <a:gd name="T50" fmla="*/ 67 w 72"/>
                  <a:gd name="T51" fmla="*/ 14 h 30"/>
                  <a:gd name="T52" fmla="*/ 68 w 72"/>
                  <a:gd name="T53" fmla="*/ 11 h 30"/>
                  <a:gd name="T54" fmla="*/ 64 w 72"/>
                  <a:gd name="T55" fmla="*/ 7 h 30"/>
                  <a:gd name="T56" fmla="*/ 64 w 72"/>
                  <a:gd name="T57" fmla="*/ 7 h 30"/>
                  <a:gd name="T58" fmla="*/ 58 w 72"/>
                  <a:gd name="T59" fmla="*/ 12 h 30"/>
                  <a:gd name="T60" fmla="*/ 53 w 72"/>
                  <a:gd name="T61" fmla="*/ 5 h 30"/>
                  <a:gd name="T62" fmla="*/ 47 w 72"/>
                  <a:gd name="T63" fmla="*/ 8 h 30"/>
                  <a:gd name="T64" fmla="*/ 37 w 72"/>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30">
                    <a:moveTo>
                      <a:pt x="37" y="0"/>
                    </a:moveTo>
                    <a:cubicBezTo>
                      <a:pt x="35" y="0"/>
                      <a:pt x="33" y="1"/>
                      <a:pt x="31" y="2"/>
                    </a:cubicBezTo>
                    <a:cubicBezTo>
                      <a:pt x="32" y="5"/>
                      <a:pt x="32" y="7"/>
                      <a:pt x="35" y="9"/>
                    </a:cubicBezTo>
                    <a:cubicBezTo>
                      <a:pt x="36" y="11"/>
                      <a:pt x="46" y="14"/>
                      <a:pt x="46" y="15"/>
                    </a:cubicBezTo>
                    <a:cubicBezTo>
                      <a:pt x="46" y="16"/>
                      <a:pt x="36" y="18"/>
                      <a:pt x="33" y="18"/>
                    </a:cubicBezTo>
                    <a:cubicBezTo>
                      <a:pt x="32" y="18"/>
                      <a:pt x="32" y="18"/>
                      <a:pt x="31" y="18"/>
                    </a:cubicBezTo>
                    <a:cubicBezTo>
                      <a:pt x="31" y="18"/>
                      <a:pt x="30" y="16"/>
                      <a:pt x="30" y="16"/>
                    </a:cubicBezTo>
                    <a:cubicBezTo>
                      <a:pt x="26" y="14"/>
                      <a:pt x="23" y="12"/>
                      <a:pt x="19" y="11"/>
                    </a:cubicBezTo>
                    <a:cubicBezTo>
                      <a:pt x="16" y="9"/>
                      <a:pt x="15" y="9"/>
                      <a:pt x="13" y="9"/>
                    </a:cubicBezTo>
                    <a:cubicBezTo>
                      <a:pt x="12" y="9"/>
                      <a:pt x="10" y="9"/>
                      <a:pt x="7" y="11"/>
                    </a:cubicBezTo>
                    <a:cubicBezTo>
                      <a:pt x="5" y="12"/>
                      <a:pt x="4" y="13"/>
                      <a:pt x="3" y="15"/>
                    </a:cubicBezTo>
                    <a:cubicBezTo>
                      <a:pt x="2" y="17"/>
                      <a:pt x="2" y="18"/>
                      <a:pt x="2" y="21"/>
                    </a:cubicBezTo>
                    <a:cubicBezTo>
                      <a:pt x="2" y="27"/>
                      <a:pt x="0" y="27"/>
                      <a:pt x="7" y="29"/>
                    </a:cubicBezTo>
                    <a:cubicBezTo>
                      <a:pt x="9" y="29"/>
                      <a:pt x="10" y="30"/>
                      <a:pt x="11" y="30"/>
                    </a:cubicBezTo>
                    <a:cubicBezTo>
                      <a:pt x="11" y="30"/>
                      <a:pt x="11" y="30"/>
                      <a:pt x="12" y="30"/>
                    </a:cubicBezTo>
                    <a:cubicBezTo>
                      <a:pt x="18" y="29"/>
                      <a:pt x="25" y="27"/>
                      <a:pt x="31" y="26"/>
                    </a:cubicBezTo>
                    <a:cubicBezTo>
                      <a:pt x="35" y="25"/>
                      <a:pt x="38" y="23"/>
                      <a:pt x="42" y="21"/>
                    </a:cubicBezTo>
                    <a:cubicBezTo>
                      <a:pt x="46" y="19"/>
                      <a:pt x="47" y="18"/>
                      <a:pt x="50" y="15"/>
                    </a:cubicBezTo>
                    <a:cubicBezTo>
                      <a:pt x="50" y="16"/>
                      <a:pt x="50" y="17"/>
                      <a:pt x="50" y="18"/>
                    </a:cubicBezTo>
                    <a:cubicBezTo>
                      <a:pt x="51" y="19"/>
                      <a:pt x="51" y="23"/>
                      <a:pt x="52" y="23"/>
                    </a:cubicBezTo>
                    <a:cubicBezTo>
                      <a:pt x="52" y="23"/>
                      <a:pt x="52" y="23"/>
                      <a:pt x="52" y="23"/>
                    </a:cubicBezTo>
                    <a:cubicBezTo>
                      <a:pt x="54" y="22"/>
                      <a:pt x="57" y="22"/>
                      <a:pt x="59" y="21"/>
                    </a:cubicBezTo>
                    <a:cubicBezTo>
                      <a:pt x="62" y="21"/>
                      <a:pt x="70" y="20"/>
                      <a:pt x="72" y="18"/>
                    </a:cubicBezTo>
                    <a:cubicBezTo>
                      <a:pt x="72" y="17"/>
                      <a:pt x="72" y="15"/>
                      <a:pt x="72" y="15"/>
                    </a:cubicBezTo>
                    <a:cubicBezTo>
                      <a:pt x="71" y="16"/>
                      <a:pt x="70" y="16"/>
                      <a:pt x="69" y="16"/>
                    </a:cubicBezTo>
                    <a:cubicBezTo>
                      <a:pt x="68" y="16"/>
                      <a:pt x="68" y="15"/>
                      <a:pt x="67" y="14"/>
                    </a:cubicBezTo>
                    <a:cubicBezTo>
                      <a:pt x="67" y="13"/>
                      <a:pt x="68" y="11"/>
                      <a:pt x="68" y="11"/>
                    </a:cubicBezTo>
                    <a:cubicBezTo>
                      <a:pt x="68" y="8"/>
                      <a:pt x="67" y="7"/>
                      <a:pt x="64" y="7"/>
                    </a:cubicBezTo>
                    <a:cubicBezTo>
                      <a:pt x="64" y="7"/>
                      <a:pt x="64" y="7"/>
                      <a:pt x="64" y="7"/>
                    </a:cubicBezTo>
                    <a:cubicBezTo>
                      <a:pt x="59" y="7"/>
                      <a:pt x="59" y="7"/>
                      <a:pt x="58" y="12"/>
                    </a:cubicBezTo>
                    <a:cubicBezTo>
                      <a:pt x="57" y="8"/>
                      <a:pt x="55" y="5"/>
                      <a:pt x="53" y="5"/>
                    </a:cubicBezTo>
                    <a:cubicBezTo>
                      <a:pt x="51" y="5"/>
                      <a:pt x="49" y="6"/>
                      <a:pt x="47" y="8"/>
                    </a:cubicBezTo>
                    <a:cubicBezTo>
                      <a:pt x="43" y="3"/>
                      <a:pt x="41" y="0"/>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0" name="Freeform 1272">
                <a:extLst>
                  <a:ext uri="{FF2B5EF4-FFF2-40B4-BE49-F238E27FC236}">
                    <a16:creationId xmlns:a16="http://schemas.microsoft.com/office/drawing/2014/main" id="{0850C6D4-64E2-433D-8FD1-C43055DF4864}"/>
                  </a:ext>
                </a:extLst>
              </p:cNvPr>
              <p:cNvSpPr>
                <a:spLocks/>
              </p:cNvSpPr>
              <p:nvPr/>
            </p:nvSpPr>
            <p:spPr bwMode="auto">
              <a:xfrm>
                <a:off x="2421" y="1556"/>
                <a:ext cx="5" cy="9"/>
              </a:xfrm>
              <a:custGeom>
                <a:avLst/>
                <a:gdLst>
                  <a:gd name="T0" fmla="*/ 2 w 2"/>
                  <a:gd name="T1" fmla="*/ 0 h 4"/>
                  <a:gd name="T2" fmla="*/ 0 w 2"/>
                  <a:gd name="T3" fmla="*/ 4 h 4"/>
                  <a:gd name="T4" fmla="*/ 2 w 2"/>
                  <a:gd name="T5" fmla="*/ 0 h 4"/>
                </a:gdLst>
                <a:ahLst/>
                <a:cxnLst>
                  <a:cxn ang="0">
                    <a:pos x="T0" y="T1"/>
                  </a:cxn>
                  <a:cxn ang="0">
                    <a:pos x="T2" y="T3"/>
                  </a:cxn>
                  <a:cxn ang="0">
                    <a:pos x="T4" y="T5"/>
                  </a:cxn>
                </a:cxnLst>
                <a:rect l="0" t="0" r="r" b="b"/>
                <a:pathLst>
                  <a:path w="2" h="4">
                    <a:moveTo>
                      <a:pt x="2" y="0"/>
                    </a:moveTo>
                    <a:cubicBezTo>
                      <a:pt x="1" y="2"/>
                      <a:pt x="0" y="3"/>
                      <a:pt x="0" y="4"/>
                    </a:cubicBezTo>
                    <a:cubicBezTo>
                      <a:pt x="1"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1" name="Freeform 1273">
                <a:extLst>
                  <a:ext uri="{FF2B5EF4-FFF2-40B4-BE49-F238E27FC236}">
                    <a16:creationId xmlns:a16="http://schemas.microsoft.com/office/drawing/2014/main" id="{E38795C9-E7F9-4305-AB6A-1CFC354DC758}"/>
                  </a:ext>
                </a:extLst>
              </p:cNvPr>
              <p:cNvSpPr>
                <a:spLocks/>
              </p:cNvSpPr>
              <p:nvPr/>
            </p:nvSpPr>
            <p:spPr bwMode="auto">
              <a:xfrm>
                <a:off x="1585" y="1508"/>
                <a:ext cx="28" cy="12"/>
              </a:xfrm>
              <a:custGeom>
                <a:avLst/>
                <a:gdLst>
                  <a:gd name="T0" fmla="*/ 4 w 12"/>
                  <a:gd name="T1" fmla="*/ 0 h 5"/>
                  <a:gd name="T2" fmla="*/ 5 w 12"/>
                  <a:gd name="T3" fmla="*/ 5 h 5"/>
                  <a:gd name="T4" fmla="*/ 7 w 12"/>
                  <a:gd name="T5" fmla="*/ 5 h 5"/>
                  <a:gd name="T6" fmla="*/ 10 w 12"/>
                  <a:gd name="T7" fmla="*/ 3 h 5"/>
                  <a:gd name="T8" fmla="*/ 12 w 12"/>
                  <a:gd name="T9" fmla="*/ 3 h 5"/>
                  <a:gd name="T10" fmla="*/ 4 w 12"/>
                  <a:gd name="T11" fmla="*/ 0 h 5"/>
                </a:gdLst>
                <a:ahLst/>
                <a:cxnLst>
                  <a:cxn ang="0">
                    <a:pos x="T0" y="T1"/>
                  </a:cxn>
                  <a:cxn ang="0">
                    <a:pos x="T2" y="T3"/>
                  </a:cxn>
                  <a:cxn ang="0">
                    <a:pos x="T4" y="T5"/>
                  </a:cxn>
                  <a:cxn ang="0">
                    <a:pos x="T6" y="T7"/>
                  </a:cxn>
                  <a:cxn ang="0">
                    <a:pos x="T8" y="T9"/>
                  </a:cxn>
                  <a:cxn ang="0">
                    <a:pos x="T10" y="T11"/>
                  </a:cxn>
                </a:cxnLst>
                <a:rect l="0" t="0" r="r" b="b"/>
                <a:pathLst>
                  <a:path w="12" h="5">
                    <a:moveTo>
                      <a:pt x="4" y="0"/>
                    </a:moveTo>
                    <a:cubicBezTo>
                      <a:pt x="0" y="3"/>
                      <a:pt x="3" y="5"/>
                      <a:pt x="5" y="5"/>
                    </a:cubicBezTo>
                    <a:cubicBezTo>
                      <a:pt x="6" y="5"/>
                      <a:pt x="6" y="5"/>
                      <a:pt x="7" y="5"/>
                    </a:cubicBezTo>
                    <a:cubicBezTo>
                      <a:pt x="10" y="3"/>
                      <a:pt x="10" y="3"/>
                      <a:pt x="10" y="3"/>
                    </a:cubicBezTo>
                    <a:cubicBezTo>
                      <a:pt x="12" y="3"/>
                      <a:pt x="12" y="3"/>
                      <a:pt x="12" y="3"/>
                    </a:cubicBezTo>
                    <a:cubicBezTo>
                      <a:pt x="9" y="2"/>
                      <a:pt x="7"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2" name="Freeform 1274">
                <a:extLst>
                  <a:ext uri="{FF2B5EF4-FFF2-40B4-BE49-F238E27FC236}">
                    <a16:creationId xmlns:a16="http://schemas.microsoft.com/office/drawing/2014/main" id="{6D76C092-AD65-4CDD-A95C-3406BC6C2932}"/>
                  </a:ext>
                </a:extLst>
              </p:cNvPr>
              <p:cNvSpPr>
                <a:spLocks/>
              </p:cNvSpPr>
              <p:nvPr/>
            </p:nvSpPr>
            <p:spPr bwMode="auto">
              <a:xfrm>
                <a:off x="1849" y="1598"/>
                <a:ext cx="5" cy="10"/>
              </a:xfrm>
              <a:custGeom>
                <a:avLst/>
                <a:gdLst>
                  <a:gd name="T0" fmla="*/ 2 w 2"/>
                  <a:gd name="T1" fmla="*/ 0 h 4"/>
                  <a:gd name="T2" fmla="*/ 1 w 2"/>
                  <a:gd name="T3" fmla="*/ 4 h 4"/>
                  <a:gd name="T4" fmla="*/ 2 w 2"/>
                  <a:gd name="T5" fmla="*/ 0 h 4"/>
                </a:gdLst>
                <a:ahLst/>
                <a:cxnLst>
                  <a:cxn ang="0">
                    <a:pos x="T0" y="T1"/>
                  </a:cxn>
                  <a:cxn ang="0">
                    <a:pos x="T2" y="T3"/>
                  </a:cxn>
                  <a:cxn ang="0">
                    <a:pos x="T4" y="T5"/>
                  </a:cxn>
                </a:cxnLst>
                <a:rect l="0" t="0" r="r" b="b"/>
                <a:pathLst>
                  <a:path w="2" h="4">
                    <a:moveTo>
                      <a:pt x="2" y="0"/>
                    </a:moveTo>
                    <a:cubicBezTo>
                      <a:pt x="1" y="1"/>
                      <a:pt x="0" y="3"/>
                      <a:pt x="1" y="4"/>
                    </a:cubicBezTo>
                    <a:cubicBezTo>
                      <a:pt x="1"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3" name="Freeform 1275">
                <a:extLst>
                  <a:ext uri="{FF2B5EF4-FFF2-40B4-BE49-F238E27FC236}">
                    <a16:creationId xmlns:a16="http://schemas.microsoft.com/office/drawing/2014/main" id="{0309C7A9-D552-43D7-B928-0E70190B9BB7}"/>
                  </a:ext>
                </a:extLst>
              </p:cNvPr>
              <p:cNvSpPr>
                <a:spLocks/>
              </p:cNvSpPr>
              <p:nvPr/>
            </p:nvSpPr>
            <p:spPr bwMode="auto">
              <a:xfrm>
                <a:off x="1147" y="1147"/>
                <a:ext cx="12" cy="0"/>
              </a:xfrm>
              <a:custGeom>
                <a:avLst/>
                <a:gdLst>
                  <a:gd name="T0" fmla="*/ 2 w 5"/>
                  <a:gd name="T1" fmla="*/ 0 w 5"/>
                  <a:gd name="T2" fmla="*/ 2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1" y="0"/>
                      <a:pt x="2" y="0"/>
                    </a:cubicBezTo>
                    <a:cubicBezTo>
                      <a:pt x="3" y="0"/>
                      <a:pt x="4" y="0"/>
                      <a:pt x="5" y="0"/>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4" name="Freeform 1276">
                <a:extLst>
                  <a:ext uri="{FF2B5EF4-FFF2-40B4-BE49-F238E27FC236}">
                    <a16:creationId xmlns:a16="http://schemas.microsoft.com/office/drawing/2014/main" id="{C37715C8-5A11-4434-97D9-09F085334C2C}"/>
                  </a:ext>
                </a:extLst>
              </p:cNvPr>
              <p:cNvSpPr>
                <a:spLocks/>
              </p:cNvSpPr>
              <p:nvPr/>
            </p:nvSpPr>
            <p:spPr bwMode="auto">
              <a:xfrm>
                <a:off x="2655" y="1596"/>
                <a:ext cx="29" cy="19"/>
              </a:xfrm>
              <a:custGeom>
                <a:avLst/>
                <a:gdLst>
                  <a:gd name="T0" fmla="*/ 9 w 12"/>
                  <a:gd name="T1" fmla="*/ 0 h 8"/>
                  <a:gd name="T2" fmla="*/ 0 w 12"/>
                  <a:gd name="T3" fmla="*/ 8 h 8"/>
                  <a:gd name="T4" fmla="*/ 7 w 12"/>
                  <a:gd name="T5" fmla="*/ 4 h 8"/>
                  <a:gd name="T6" fmla="*/ 12 w 12"/>
                  <a:gd name="T7" fmla="*/ 1 h 8"/>
                  <a:gd name="T8" fmla="*/ 9 w 12"/>
                  <a:gd name="T9" fmla="*/ 0 h 8"/>
                </a:gdLst>
                <a:ahLst/>
                <a:cxnLst>
                  <a:cxn ang="0">
                    <a:pos x="T0" y="T1"/>
                  </a:cxn>
                  <a:cxn ang="0">
                    <a:pos x="T2" y="T3"/>
                  </a:cxn>
                  <a:cxn ang="0">
                    <a:pos x="T4" y="T5"/>
                  </a:cxn>
                  <a:cxn ang="0">
                    <a:pos x="T6" y="T7"/>
                  </a:cxn>
                  <a:cxn ang="0">
                    <a:pos x="T8" y="T9"/>
                  </a:cxn>
                </a:cxnLst>
                <a:rect l="0" t="0" r="r" b="b"/>
                <a:pathLst>
                  <a:path w="12" h="8">
                    <a:moveTo>
                      <a:pt x="9" y="0"/>
                    </a:moveTo>
                    <a:cubicBezTo>
                      <a:pt x="5" y="0"/>
                      <a:pt x="3" y="4"/>
                      <a:pt x="0" y="8"/>
                    </a:cubicBezTo>
                    <a:cubicBezTo>
                      <a:pt x="4" y="6"/>
                      <a:pt x="4" y="5"/>
                      <a:pt x="7" y="4"/>
                    </a:cubicBezTo>
                    <a:cubicBezTo>
                      <a:pt x="9" y="3"/>
                      <a:pt x="11" y="2"/>
                      <a:pt x="12" y="1"/>
                    </a:cubicBezTo>
                    <a:cubicBezTo>
                      <a:pt x="11" y="1"/>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5" name="Freeform 1277">
                <a:extLst>
                  <a:ext uri="{FF2B5EF4-FFF2-40B4-BE49-F238E27FC236}">
                    <a16:creationId xmlns:a16="http://schemas.microsoft.com/office/drawing/2014/main" id="{2EEB32C7-02E0-404B-8ED7-B18A5265D7D3}"/>
                  </a:ext>
                </a:extLst>
              </p:cNvPr>
              <p:cNvSpPr>
                <a:spLocks/>
              </p:cNvSpPr>
              <p:nvPr/>
            </p:nvSpPr>
            <p:spPr bwMode="auto">
              <a:xfrm>
                <a:off x="2421" y="988"/>
                <a:ext cx="7" cy="10"/>
              </a:xfrm>
              <a:custGeom>
                <a:avLst/>
                <a:gdLst>
                  <a:gd name="T0" fmla="*/ 3 w 3"/>
                  <a:gd name="T1" fmla="*/ 0 h 4"/>
                  <a:gd name="T2" fmla="*/ 1 w 3"/>
                  <a:gd name="T3" fmla="*/ 4 h 4"/>
                  <a:gd name="T4" fmla="*/ 3 w 3"/>
                  <a:gd name="T5" fmla="*/ 0 h 4"/>
                </a:gdLst>
                <a:ahLst/>
                <a:cxnLst>
                  <a:cxn ang="0">
                    <a:pos x="T0" y="T1"/>
                  </a:cxn>
                  <a:cxn ang="0">
                    <a:pos x="T2" y="T3"/>
                  </a:cxn>
                  <a:cxn ang="0">
                    <a:pos x="T4" y="T5"/>
                  </a:cxn>
                </a:cxnLst>
                <a:rect l="0" t="0" r="r" b="b"/>
                <a:pathLst>
                  <a:path w="3" h="4">
                    <a:moveTo>
                      <a:pt x="3" y="0"/>
                    </a:moveTo>
                    <a:cubicBezTo>
                      <a:pt x="1" y="1"/>
                      <a:pt x="0" y="2"/>
                      <a:pt x="1" y="4"/>
                    </a:cubicBezTo>
                    <a:cubicBezTo>
                      <a:pt x="2" y="3"/>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6" name="Freeform 1278">
                <a:extLst>
                  <a:ext uri="{FF2B5EF4-FFF2-40B4-BE49-F238E27FC236}">
                    <a16:creationId xmlns:a16="http://schemas.microsoft.com/office/drawing/2014/main" id="{589A6098-7F6C-4BF5-96F2-1662498F978C}"/>
                  </a:ext>
                </a:extLst>
              </p:cNvPr>
              <p:cNvSpPr>
                <a:spLocks/>
              </p:cNvSpPr>
              <p:nvPr/>
            </p:nvSpPr>
            <p:spPr bwMode="auto">
              <a:xfrm>
                <a:off x="2459" y="1286"/>
                <a:ext cx="26" cy="10"/>
              </a:xfrm>
              <a:custGeom>
                <a:avLst/>
                <a:gdLst>
                  <a:gd name="T0" fmla="*/ 6 w 11"/>
                  <a:gd name="T1" fmla="*/ 0 h 4"/>
                  <a:gd name="T2" fmla="*/ 1 w 11"/>
                  <a:gd name="T3" fmla="*/ 2 h 4"/>
                  <a:gd name="T4" fmla="*/ 2 w 11"/>
                  <a:gd name="T5" fmla="*/ 4 h 4"/>
                  <a:gd name="T6" fmla="*/ 5 w 11"/>
                  <a:gd name="T7" fmla="*/ 3 h 4"/>
                  <a:gd name="T8" fmla="*/ 11 w 11"/>
                  <a:gd name="T9" fmla="*/ 1 h 4"/>
                  <a:gd name="T10" fmla="*/ 6 w 11"/>
                  <a:gd name="T11" fmla="*/ 0 h 4"/>
                </a:gdLst>
                <a:ahLst/>
                <a:cxnLst>
                  <a:cxn ang="0">
                    <a:pos x="T0" y="T1"/>
                  </a:cxn>
                  <a:cxn ang="0">
                    <a:pos x="T2" y="T3"/>
                  </a:cxn>
                  <a:cxn ang="0">
                    <a:pos x="T4" y="T5"/>
                  </a:cxn>
                  <a:cxn ang="0">
                    <a:pos x="T6" y="T7"/>
                  </a:cxn>
                  <a:cxn ang="0">
                    <a:pos x="T8" y="T9"/>
                  </a:cxn>
                  <a:cxn ang="0">
                    <a:pos x="T10" y="T11"/>
                  </a:cxn>
                </a:cxnLst>
                <a:rect l="0" t="0" r="r" b="b"/>
                <a:pathLst>
                  <a:path w="11" h="4">
                    <a:moveTo>
                      <a:pt x="6" y="0"/>
                    </a:moveTo>
                    <a:cubicBezTo>
                      <a:pt x="4" y="0"/>
                      <a:pt x="2" y="0"/>
                      <a:pt x="1" y="2"/>
                    </a:cubicBezTo>
                    <a:cubicBezTo>
                      <a:pt x="0" y="4"/>
                      <a:pt x="1" y="4"/>
                      <a:pt x="2" y="4"/>
                    </a:cubicBezTo>
                    <a:cubicBezTo>
                      <a:pt x="3" y="4"/>
                      <a:pt x="4" y="4"/>
                      <a:pt x="5" y="3"/>
                    </a:cubicBezTo>
                    <a:cubicBezTo>
                      <a:pt x="7" y="2"/>
                      <a:pt x="9" y="2"/>
                      <a:pt x="11" y="1"/>
                    </a:cubicBezTo>
                    <a:cubicBezTo>
                      <a:pt x="9"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7" name="Freeform 1279">
                <a:extLst>
                  <a:ext uri="{FF2B5EF4-FFF2-40B4-BE49-F238E27FC236}">
                    <a16:creationId xmlns:a16="http://schemas.microsoft.com/office/drawing/2014/main" id="{9D968ACC-8B0E-4170-BDDD-7881B7A0946E}"/>
                  </a:ext>
                </a:extLst>
              </p:cNvPr>
              <p:cNvSpPr>
                <a:spLocks/>
              </p:cNvSpPr>
              <p:nvPr/>
            </p:nvSpPr>
            <p:spPr bwMode="auto">
              <a:xfrm>
                <a:off x="2379" y="728"/>
                <a:ext cx="11" cy="38"/>
              </a:xfrm>
              <a:custGeom>
                <a:avLst/>
                <a:gdLst>
                  <a:gd name="T0" fmla="*/ 1 w 5"/>
                  <a:gd name="T1" fmla="*/ 0 h 16"/>
                  <a:gd name="T2" fmla="*/ 1 w 5"/>
                  <a:gd name="T3" fmla="*/ 16 h 16"/>
                  <a:gd name="T4" fmla="*/ 4 w 5"/>
                  <a:gd name="T5" fmla="*/ 10 h 16"/>
                  <a:gd name="T6" fmla="*/ 5 w 5"/>
                  <a:gd name="T7" fmla="*/ 7 h 16"/>
                  <a:gd name="T8" fmla="*/ 4 w 5"/>
                  <a:gd name="T9" fmla="*/ 5 h 16"/>
                  <a:gd name="T10" fmla="*/ 4 w 5"/>
                  <a:gd name="T11" fmla="*/ 3 h 16"/>
                  <a:gd name="T12" fmla="*/ 1 w 5"/>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5" h="16">
                    <a:moveTo>
                      <a:pt x="1" y="0"/>
                    </a:moveTo>
                    <a:cubicBezTo>
                      <a:pt x="0" y="5"/>
                      <a:pt x="1" y="11"/>
                      <a:pt x="1" y="16"/>
                    </a:cubicBezTo>
                    <a:cubicBezTo>
                      <a:pt x="2" y="14"/>
                      <a:pt x="2" y="12"/>
                      <a:pt x="4" y="10"/>
                    </a:cubicBezTo>
                    <a:cubicBezTo>
                      <a:pt x="4" y="9"/>
                      <a:pt x="5" y="8"/>
                      <a:pt x="5" y="7"/>
                    </a:cubicBezTo>
                    <a:cubicBezTo>
                      <a:pt x="5" y="6"/>
                      <a:pt x="4" y="6"/>
                      <a:pt x="4" y="5"/>
                    </a:cubicBezTo>
                    <a:cubicBezTo>
                      <a:pt x="4" y="5"/>
                      <a:pt x="4" y="3"/>
                      <a:pt x="4" y="3"/>
                    </a:cubicBezTo>
                    <a:cubicBezTo>
                      <a:pt x="3"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8" name="Freeform 1280">
                <a:extLst>
                  <a:ext uri="{FF2B5EF4-FFF2-40B4-BE49-F238E27FC236}">
                    <a16:creationId xmlns:a16="http://schemas.microsoft.com/office/drawing/2014/main" id="{386F2F2A-D42C-4C70-A6CF-B9997EDF52E4}"/>
                  </a:ext>
                </a:extLst>
              </p:cNvPr>
              <p:cNvSpPr>
                <a:spLocks/>
              </p:cNvSpPr>
              <p:nvPr/>
            </p:nvSpPr>
            <p:spPr bwMode="auto">
              <a:xfrm>
                <a:off x="1093" y="750"/>
                <a:ext cx="31" cy="37"/>
              </a:xfrm>
              <a:custGeom>
                <a:avLst/>
                <a:gdLst>
                  <a:gd name="T0" fmla="*/ 7 w 13"/>
                  <a:gd name="T1" fmla="*/ 0 h 16"/>
                  <a:gd name="T2" fmla="*/ 1 w 13"/>
                  <a:gd name="T3" fmla="*/ 5 h 16"/>
                  <a:gd name="T4" fmla="*/ 2 w 13"/>
                  <a:gd name="T5" fmla="*/ 11 h 16"/>
                  <a:gd name="T6" fmla="*/ 8 w 13"/>
                  <a:gd name="T7" fmla="*/ 14 h 16"/>
                  <a:gd name="T8" fmla="*/ 3 w 13"/>
                  <a:gd name="T9" fmla="*/ 16 h 16"/>
                  <a:gd name="T10" fmla="*/ 6 w 13"/>
                  <a:gd name="T11" fmla="*/ 16 h 16"/>
                  <a:gd name="T12" fmla="*/ 8 w 13"/>
                  <a:gd name="T13" fmla="*/ 16 h 16"/>
                  <a:gd name="T14" fmla="*/ 12 w 13"/>
                  <a:gd name="T15" fmla="*/ 11 h 16"/>
                  <a:gd name="T16" fmla="*/ 7 w 13"/>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6">
                    <a:moveTo>
                      <a:pt x="7" y="0"/>
                    </a:moveTo>
                    <a:cubicBezTo>
                      <a:pt x="6" y="1"/>
                      <a:pt x="2" y="3"/>
                      <a:pt x="1" y="5"/>
                    </a:cubicBezTo>
                    <a:cubicBezTo>
                      <a:pt x="0" y="7"/>
                      <a:pt x="1" y="8"/>
                      <a:pt x="2" y="11"/>
                    </a:cubicBezTo>
                    <a:cubicBezTo>
                      <a:pt x="4" y="12"/>
                      <a:pt x="8" y="11"/>
                      <a:pt x="8" y="14"/>
                    </a:cubicBezTo>
                    <a:cubicBezTo>
                      <a:pt x="7" y="14"/>
                      <a:pt x="3" y="14"/>
                      <a:pt x="3" y="16"/>
                    </a:cubicBezTo>
                    <a:cubicBezTo>
                      <a:pt x="4" y="16"/>
                      <a:pt x="5" y="16"/>
                      <a:pt x="6" y="16"/>
                    </a:cubicBezTo>
                    <a:cubicBezTo>
                      <a:pt x="7" y="16"/>
                      <a:pt x="8" y="16"/>
                      <a:pt x="8" y="16"/>
                    </a:cubicBezTo>
                    <a:cubicBezTo>
                      <a:pt x="10" y="15"/>
                      <a:pt x="11" y="13"/>
                      <a:pt x="12" y="11"/>
                    </a:cubicBezTo>
                    <a:cubicBezTo>
                      <a:pt x="13" y="6"/>
                      <a:pt x="8" y="4"/>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9" name="Freeform 1281">
                <a:extLst>
                  <a:ext uri="{FF2B5EF4-FFF2-40B4-BE49-F238E27FC236}">
                    <a16:creationId xmlns:a16="http://schemas.microsoft.com/office/drawing/2014/main" id="{D3C8E2B6-ED9A-43EE-BD5F-B2F0E395715B}"/>
                  </a:ext>
                </a:extLst>
              </p:cNvPr>
              <p:cNvSpPr>
                <a:spLocks/>
              </p:cNvSpPr>
              <p:nvPr/>
            </p:nvSpPr>
            <p:spPr bwMode="auto">
              <a:xfrm>
                <a:off x="760" y="991"/>
                <a:ext cx="12" cy="9"/>
              </a:xfrm>
              <a:custGeom>
                <a:avLst/>
                <a:gdLst>
                  <a:gd name="T0" fmla="*/ 2 w 5"/>
                  <a:gd name="T1" fmla="*/ 0 h 4"/>
                  <a:gd name="T2" fmla="*/ 0 w 5"/>
                  <a:gd name="T3" fmla="*/ 4 h 4"/>
                  <a:gd name="T4" fmla="*/ 5 w 5"/>
                  <a:gd name="T5" fmla="*/ 3 h 4"/>
                  <a:gd name="T6" fmla="*/ 2 w 5"/>
                  <a:gd name="T7" fmla="*/ 0 h 4"/>
                </a:gdLst>
                <a:ahLst/>
                <a:cxnLst>
                  <a:cxn ang="0">
                    <a:pos x="T0" y="T1"/>
                  </a:cxn>
                  <a:cxn ang="0">
                    <a:pos x="T2" y="T3"/>
                  </a:cxn>
                  <a:cxn ang="0">
                    <a:pos x="T4" y="T5"/>
                  </a:cxn>
                  <a:cxn ang="0">
                    <a:pos x="T6" y="T7"/>
                  </a:cxn>
                </a:cxnLst>
                <a:rect l="0" t="0" r="r" b="b"/>
                <a:pathLst>
                  <a:path w="5" h="4">
                    <a:moveTo>
                      <a:pt x="2" y="0"/>
                    </a:moveTo>
                    <a:cubicBezTo>
                      <a:pt x="1" y="0"/>
                      <a:pt x="0" y="2"/>
                      <a:pt x="0" y="4"/>
                    </a:cubicBezTo>
                    <a:cubicBezTo>
                      <a:pt x="2" y="4"/>
                      <a:pt x="3" y="4"/>
                      <a:pt x="5" y="3"/>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0" name="Freeform 1282">
                <a:extLst>
                  <a:ext uri="{FF2B5EF4-FFF2-40B4-BE49-F238E27FC236}">
                    <a16:creationId xmlns:a16="http://schemas.microsoft.com/office/drawing/2014/main" id="{97929D85-C522-40B6-8164-409CDA84E80E}"/>
                  </a:ext>
                </a:extLst>
              </p:cNvPr>
              <p:cNvSpPr>
                <a:spLocks/>
              </p:cNvSpPr>
              <p:nvPr/>
            </p:nvSpPr>
            <p:spPr bwMode="auto">
              <a:xfrm>
                <a:off x="710" y="960"/>
                <a:ext cx="52" cy="26"/>
              </a:xfrm>
              <a:custGeom>
                <a:avLst/>
                <a:gdLst>
                  <a:gd name="T0" fmla="*/ 11 w 22"/>
                  <a:gd name="T1" fmla="*/ 0 h 11"/>
                  <a:gd name="T2" fmla="*/ 11 w 22"/>
                  <a:gd name="T3" fmla="*/ 0 h 11"/>
                  <a:gd name="T4" fmla="*/ 6 w 22"/>
                  <a:gd name="T5" fmla="*/ 4 h 11"/>
                  <a:gd name="T6" fmla="*/ 6 w 22"/>
                  <a:gd name="T7" fmla="*/ 3 h 11"/>
                  <a:gd name="T8" fmla="*/ 4 w 22"/>
                  <a:gd name="T9" fmla="*/ 1 h 11"/>
                  <a:gd name="T10" fmla="*/ 3 w 22"/>
                  <a:gd name="T11" fmla="*/ 1 h 11"/>
                  <a:gd name="T12" fmla="*/ 3 w 22"/>
                  <a:gd name="T13" fmla="*/ 6 h 11"/>
                  <a:gd name="T14" fmla="*/ 0 w 22"/>
                  <a:gd name="T15" fmla="*/ 8 h 11"/>
                  <a:gd name="T16" fmla="*/ 10 w 22"/>
                  <a:gd name="T17" fmla="*/ 11 h 11"/>
                  <a:gd name="T18" fmla="*/ 15 w 22"/>
                  <a:gd name="T19" fmla="*/ 11 h 11"/>
                  <a:gd name="T20" fmla="*/ 19 w 22"/>
                  <a:gd name="T21" fmla="*/ 11 h 11"/>
                  <a:gd name="T22" fmla="*/ 19 w 22"/>
                  <a:gd name="T23" fmla="*/ 11 h 11"/>
                  <a:gd name="T24" fmla="*/ 7 w 22"/>
                  <a:gd name="T25" fmla="*/ 5 h 11"/>
                  <a:gd name="T26" fmla="*/ 6 w 22"/>
                  <a:gd name="T27" fmla="*/ 4 h 11"/>
                  <a:gd name="T28" fmla="*/ 8 w 22"/>
                  <a:gd name="T29" fmla="*/ 5 h 11"/>
                  <a:gd name="T30" fmla="*/ 9 w 22"/>
                  <a:gd name="T31" fmla="*/ 4 h 11"/>
                  <a:gd name="T32" fmla="*/ 22 w 22"/>
                  <a:gd name="T33" fmla="*/ 9 h 11"/>
                  <a:gd name="T34" fmla="*/ 15 w 22"/>
                  <a:gd name="T35" fmla="*/ 1 h 11"/>
                  <a:gd name="T36" fmla="*/ 11 w 22"/>
                  <a:gd name="T3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1">
                    <a:moveTo>
                      <a:pt x="11" y="0"/>
                    </a:moveTo>
                    <a:cubicBezTo>
                      <a:pt x="11" y="0"/>
                      <a:pt x="11" y="0"/>
                      <a:pt x="11" y="0"/>
                    </a:cubicBezTo>
                    <a:cubicBezTo>
                      <a:pt x="8" y="0"/>
                      <a:pt x="8" y="2"/>
                      <a:pt x="6" y="4"/>
                    </a:cubicBezTo>
                    <a:cubicBezTo>
                      <a:pt x="6" y="3"/>
                      <a:pt x="6" y="3"/>
                      <a:pt x="6" y="3"/>
                    </a:cubicBezTo>
                    <a:cubicBezTo>
                      <a:pt x="5" y="2"/>
                      <a:pt x="4" y="1"/>
                      <a:pt x="4" y="1"/>
                    </a:cubicBezTo>
                    <a:cubicBezTo>
                      <a:pt x="3" y="1"/>
                      <a:pt x="3" y="1"/>
                      <a:pt x="3" y="1"/>
                    </a:cubicBezTo>
                    <a:cubicBezTo>
                      <a:pt x="0" y="1"/>
                      <a:pt x="3" y="4"/>
                      <a:pt x="3" y="6"/>
                    </a:cubicBezTo>
                    <a:cubicBezTo>
                      <a:pt x="2" y="7"/>
                      <a:pt x="0" y="6"/>
                      <a:pt x="0" y="8"/>
                    </a:cubicBezTo>
                    <a:cubicBezTo>
                      <a:pt x="0" y="11"/>
                      <a:pt x="5" y="11"/>
                      <a:pt x="10" y="11"/>
                    </a:cubicBezTo>
                    <a:cubicBezTo>
                      <a:pt x="12" y="11"/>
                      <a:pt x="14" y="11"/>
                      <a:pt x="15" y="11"/>
                    </a:cubicBezTo>
                    <a:cubicBezTo>
                      <a:pt x="17" y="11"/>
                      <a:pt x="18" y="11"/>
                      <a:pt x="19" y="11"/>
                    </a:cubicBezTo>
                    <a:cubicBezTo>
                      <a:pt x="19" y="11"/>
                      <a:pt x="19" y="11"/>
                      <a:pt x="19" y="11"/>
                    </a:cubicBezTo>
                    <a:cubicBezTo>
                      <a:pt x="15" y="6"/>
                      <a:pt x="12" y="7"/>
                      <a:pt x="7" y="5"/>
                    </a:cubicBezTo>
                    <a:cubicBezTo>
                      <a:pt x="7" y="4"/>
                      <a:pt x="7" y="4"/>
                      <a:pt x="6" y="4"/>
                    </a:cubicBezTo>
                    <a:cubicBezTo>
                      <a:pt x="7" y="4"/>
                      <a:pt x="8" y="4"/>
                      <a:pt x="8" y="5"/>
                    </a:cubicBezTo>
                    <a:cubicBezTo>
                      <a:pt x="8" y="4"/>
                      <a:pt x="9" y="4"/>
                      <a:pt x="9" y="4"/>
                    </a:cubicBezTo>
                    <a:cubicBezTo>
                      <a:pt x="12" y="4"/>
                      <a:pt x="20" y="8"/>
                      <a:pt x="22" y="9"/>
                    </a:cubicBezTo>
                    <a:cubicBezTo>
                      <a:pt x="20" y="5"/>
                      <a:pt x="18" y="3"/>
                      <a:pt x="15" y="1"/>
                    </a:cubicBezTo>
                    <a:cubicBezTo>
                      <a:pt x="14" y="1"/>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1" name="Freeform 1283">
                <a:extLst>
                  <a:ext uri="{FF2B5EF4-FFF2-40B4-BE49-F238E27FC236}">
                    <a16:creationId xmlns:a16="http://schemas.microsoft.com/office/drawing/2014/main" id="{0B611F14-51C7-40C4-936D-DEB677B52073}"/>
                  </a:ext>
                </a:extLst>
              </p:cNvPr>
              <p:cNvSpPr>
                <a:spLocks/>
              </p:cNvSpPr>
              <p:nvPr/>
            </p:nvSpPr>
            <p:spPr bwMode="auto">
              <a:xfrm>
                <a:off x="2832" y="1322"/>
                <a:ext cx="12" cy="9"/>
              </a:xfrm>
              <a:custGeom>
                <a:avLst/>
                <a:gdLst>
                  <a:gd name="T0" fmla="*/ 0 w 5"/>
                  <a:gd name="T1" fmla="*/ 0 h 4"/>
                  <a:gd name="T2" fmla="*/ 4 w 5"/>
                  <a:gd name="T3" fmla="*/ 4 h 4"/>
                  <a:gd name="T4" fmla="*/ 5 w 5"/>
                  <a:gd name="T5" fmla="*/ 4 h 4"/>
                  <a:gd name="T6" fmla="*/ 0 w 5"/>
                  <a:gd name="T7" fmla="*/ 0 h 4"/>
                </a:gdLst>
                <a:ahLst/>
                <a:cxnLst>
                  <a:cxn ang="0">
                    <a:pos x="T0" y="T1"/>
                  </a:cxn>
                  <a:cxn ang="0">
                    <a:pos x="T2" y="T3"/>
                  </a:cxn>
                  <a:cxn ang="0">
                    <a:pos x="T4" y="T5"/>
                  </a:cxn>
                  <a:cxn ang="0">
                    <a:pos x="T6" y="T7"/>
                  </a:cxn>
                </a:cxnLst>
                <a:rect l="0" t="0" r="r" b="b"/>
                <a:pathLst>
                  <a:path w="5" h="4">
                    <a:moveTo>
                      <a:pt x="0" y="0"/>
                    </a:moveTo>
                    <a:cubicBezTo>
                      <a:pt x="0" y="2"/>
                      <a:pt x="2" y="4"/>
                      <a:pt x="4" y="4"/>
                    </a:cubicBezTo>
                    <a:cubicBezTo>
                      <a:pt x="5" y="4"/>
                      <a:pt x="5" y="4"/>
                      <a:pt x="5" y="4"/>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2" name="Freeform 1284">
                <a:extLst>
                  <a:ext uri="{FF2B5EF4-FFF2-40B4-BE49-F238E27FC236}">
                    <a16:creationId xmlns:a16="http://schemas.microsoft.com/office/drawing/2014/main" id="{1556B9BB-7131-4037-AF9A-0E5DF5F9467C}"/>
                  </a:ext>
                </a:extLst>
              </p:cNvPr>
              <p:cNvSpPr>
                <a:spLocks/>
              </p:cNvSpPr>
              <p:nvPr/>
            </p:nvSpPr>
            <p:spPr bwMode="auto">
              <a:xfrm>
                <a:off x="2045" y="1062"/>
                <a:ext cx="10" cy="2"/>
              </a:xfrm>
              <a:custGeom>
                <a:avLst/>
                <a:gdLst>
                  <a:gd name="T0" fmla="*/ 3 w 4"/>
                  <a:gd name="T1" fmla="*/ 0 h 1"/>
                  <a:gd name="T2" fmla="*/ 0 w 4"/>
                  <a:gd name="T3" fmla="*/ 1 h 1"/>
                  <a:gd name="T4" fmla="*/ 4 w 4"/>
                  <a:gd name="T5" fmla="*/ 0 h 1"/>
                  <a:gd name="T6" fmla="*/ 3 w 4"/>
                  <a:gd name="T7" fmla="*/ 0 h 1"/>
                </a:gdLst>
                <a:ahLst/>
                <a:cxnLst>
                  <a:cxn ang="0">
                    <a:pos x="T0" y="T1"/>
                  </a:cxn>
                  <a:cxn ang="0">
                    <a:pos x="T2" y="T3"/>
                  </a:cxn>
                  <a:cxn ang="0">
                    <a:pos x="T4" y="T5"/>
                  </a:cxn>
                  <a:cxn ang="0">
                    <a:pos x="T6" y="T7"/>
                  </a:cxn>
                </a:cxnLst>
                <a:rect l="0" t="0" r="r" b="b"/>
                <a:pathLst>
                  <a:path w="4" h="1">
                    <a:moveTo>
                      <a:pt x="3" y="0"/>
                    </a:moveTo>
                    <a:cubicBezTo>
                      <a:pt x="1" y="0"/>
                      <a:pt x="0" y="0"/>
                      <a:pt x="0" y="1"/>
                    </a:cubicBezTo>
                    <a:cubicBezTo>
                      <a:pt x="1" y="1"/>
                      <a:pt x="3" y="1"/>
                      <a:pt x="4"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3" name="Freeform 1285">
                <a:extLst>
                  <a:ext uri="{FF2B5EF4-FFF2-40B4-BE49-F238E27FC236}">
                    <a16:creationId xmlns:a16="http://schemas.microsoft.com/office/drawing/2014/main" id="{70BE39B8-5788-4E8D-BBEF-435716440D72}"/>
                  </a:ext>
                </a:extLst>
              </p:cNvPr>
              <p:cNvSpPr>
                <a:spLocks/>
              </p:cNvSpPr>
              <p:nvPr/>
            </p:nvSpPr>
            <p:spPr bwMode="auto">
              <a:xfrm>
                <a:off x="2421" y="1014"/>
                <a:ext cx="5" cy="7"/>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cubicBezTo>
                      <a:pt x="1" y="1"/>
                      <a:pt x="1" y="1"/>
                      <a:pt x="0" y="3"/>
                    </a:cubicBezTo>
                    <a:cubicBezTo>
                      <a:pt x="1" y="2"/>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4" name="Freeform 1286">
                <a:extLst>
                  <a:ext uri="{FF2B5EF4-FFF2-40B4-BE49-F238E27FC236}">
                    <a16:creationId xmlns:a16="http://schemas.microsoft.com/office/drawing/2014/main" id="{B9B55D22-B0F1-4C9C-9EA0-DA1DCC0DE712}"/>
                  </a:ext>
                </a:extLst>
              </p:cNvPr>
              <p:cNvSpPr>
                <a:spLocks/>
              </p:cNvSpPr>
              <p:nvPr/>
            </p:nvSpPr>
            <p:spPr bwMode="auto">
              <a:xfrm>
                <a:off x="2175" y="1170"/>
                <a:ext cx="8" cy="3"/>
              </a:xfrm>
              <a:custGeom>
                <a:avLst/>
                <a:gdLst>
                  <a:gd name="T0" fmla="*/ 0 w 3"/>
                  <a:gd name="T1" fmla="*/ 0 h 1"/>
                  <a:gd name="T2" fmla="*/ 3 w 3"/>
                  <a:gd name="T3" fmla="*/ 1 h 1"/>
                  <a:gd name="T4" fmla="*/ 0 w 3"/>
                  <a:gd name="T5" fmla="*/ 0 h 1"/>
                </a:gdLst>
                <a:ahLst/>
                <a:cxnLst>
                  <a:cxn ang="0">
                    <a:pos x="T0" y="T1"/>
                  </a:cxn>
                  <a:cxn ang="0">
                    <a:pos x="T2" y="T3"/>
                  </a:cxn>
                  <a:cxn ang="0">
                    <a:pos x="T4" y="T5"/>
                  </a:cxn>
                </a:cxnLst>
                <a:rect l="0" t="0" r="r" b="b"/>
                <a:pathLst>
                  <a:path w="3" h="1">
                    <a:moveTo>
                      <a:pt x="0" y="0"/>
                    </a:moveTo>
                    <a:cubicBezTo>
                      <a:pt x="1" y="0"/>
                      <a:pt x="2" y="1"/>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5" name="Freeform 1287">
                <a:extLst>
                  <a:ext uri="{FF2B5EF4-FFF2-40B4-BE49-F238E27FC236}">
                    <a16:creationId xmlns:a16="http://schemas.microsoft.com/office/drawing/2014/main" id="{2EE040E3-6D31-469C-B1A3-AD9C9CA1DD1F}"/>
                  </a:ext>
                </a:extLst>
              </p:cNvPr>
              <p:cNvSpPr>
                <a:spLocks/>
              </p:cNvSpPr>
              <p:nvPr/>
            </p:nvSpPr>
            <p:spPr bwMode="auto">
              <a:xfrm>
                <a:off x="807" y="979"/>
                <a:ext cx="7" cy="7"/>
              </a:xfrm>
              <a:custGeom>
                <a:avLst/>
                <a:gdLst>
                  <a:gd name="T0" fmla="*/ 0 w 3"/>
                  <a:gd name="T1" fmla="*/ 0 h 3"/>
                  <a:gd name="T2" fmla="*/ 3 w 3"/>
                  <a:gd name="T3" fmla="*/ 3 h 3"/>
                  <a:gd name="T4" fmla="*/ 0 w 3"/>
                  <a:gd name="T5" fmla="*/ 0 h 3"/>
                </a:gdLst>
                <a:ahLst/>
                <a:cxnLst>
                  <a:cxn ang="0">
                    <a:pos x="T0" y="T1"/>
                  </a:cxn>
                  <a:cxn ang="0">
                    <a:pos x="T2" y="T3"/>
                  </a:cxn>
                  <a:cxn ang="0">
                    <a:pos x="T4" y="T5"/>
                  </a:cxn>
                </a:cxnLst>
                <a:rect l="0" t="0" r="r" b="b"/>
                <a:pathLst>
                  <a:path w="3" h="3">
                    <a:moveTo>
                      <a:pt x="0" y="0"/>
                    </a:moveTo>
                    <a:cubicBezTo>
                      <a:pt x="1" y="1"/>
                      <a:pt x="2" y="2"/>
                      <a:pt x="3" y="3"/>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6" name="Freeform 1288">
                <a:extLst>
                  <a:ext uri="{FF2B5EF4-FFF2-40B4-BE49-F238E27FC236}">
                    <a16:creationId xmlns:a16="http://schemas.microsoft.com/office/drawing/2014/main" id="{BF8AD873-EB8D-4083-9F59-366EDE5FC0B4}"/>
                  </a:ext>
                </a:extLst>
              </p:cNvPr>
              <p:cNvSpPr>
                <a:spLocks/>
              </p:cNvSpPr>
              <p:nvPr/>
            </p:nvSpPr>
            <p:spPr bwMode="auto">
              <a:xfrm>
                <a:off x="833" y="986"/>
                <a:ext cx="5" cy="5"/>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0" y="1"/>
                      <a:pt x="1" y="1"/>
                      <a:pt x="2"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7" name="Freeform 1289">
                <a:extLst>
                  <a:ext uri="{FF2B5EF4-FFF2-40B4-BE49-F238E27FC236}">
                    <a16:creationId xmlns:a16="http://schemas.microsoft.com/office/drawing/2014/main" id="{C7E50C87-D2BE-400C-942F-E54646E21D94}"/>
                  </a:ext>
                </a:extLst>
              </p:cNvPr>
              <p:cNvSpPr>
                <a:spLocks/>
              </p:cNvSpPr>
              <p:nvPr/>
            </p:nvSpPr>
            <p:spPr bwMode="auto">
              <a:xfrm>
                <a:off x="774" y="979"/>
                <a:ext cx="12" cy="14"/>
              </a:xfrm>
              <a:custGeom>
                <a:avLst/>
                <a:gdLst>
                  <a:gd name="T0" fmla="*/ 1 w 5"/>
                  <a:gd name="T1" fmla="*/ 0 h 6"/>
                  <a:gd name="T2" fmla="*/ 2 w 5"/>
                  <a:gd name="T3" fmla="*/ 6 h 6"/>
                  <a:gd name="T4" fmla="*/ 5 w 5"/>
                  <a:gd name="T5" fmla="*/ 4 h 6"/>
                  <a:gd name="T6" fmla="*/ 1 w 5"/>
                  <a:gd name="T7" fmla="*/ 0 h 6"/>
                </a:gdLst>
                <a:ahLst/>
                <a:cxnLst>
                  <a:cxn ang="0">
                    <a:pos x="T0" y="T1"/>
                  </a:cxn>
                  <a:cxn ang="0">
                    <a:pos x="T2" y="T3"/>
                  </a:cxn>
                  <a:cxn ang="0">
                    <a:pos x="T4" y="T5"/>
                  </a:cxn>
                  <a:cxn ang="0">
                    <a:pos x="T6" y="T7"/>
                  </a:cxn>
                </a:cxnLst>
                <a:rect l="0" t="0" r="r" b="b"/>
                <a:pathLst>
                  <a:path w="5" h="6">
                    <a:moveTo>
                      <a:pt x="1" y="0"/>
                    </a:moveTo>
                    <a:cubicBezTo>
                      <a:pt x="0" y="2"/>
                      <a:pt x="0" y="6"/>
                      <a:pt x="2" y="6"/>
                    </a:cubicBezTo>
                    <a:cubicBezTo>
                      <a:pt x="3" y="6"/>
                      <a:pt x="4" y="5"/>
                      <a:pt x="5" y="4"/>
                    </a:cubicBezTo>
                    <a:cubicBezTo>
                      <a:pt x="4"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8" name="Freeform 1290">
                <a:extLst>
                  <a:ext uri="{FF2B5EF4-FFF2-40B4-BE49-F238E27FC236}">
                    <a16:creationId xmlns:a16="http://schemas.microsoft.com/office/drawing/2014/main" id="{20A11A1E-6575-4880-87EF-50A13C593895}"/>
                  </a:ext>
                </a:extLst>
              </p:cNvPr>
              <p:cNvSpPr>
                <a:spLocks/>
              </p:cNvSpPr>
              <p:nvPr/>
            </p:nvSpPr>
            <p:spPr bwMode="auto">
              <a:xfrm>
                <a:off x="2452" y="1596"/>
                <a:ext cx="21" cy="12"/>
              </a:xfrm>
              <a:custGeom>
                <a:avLst/>
                <a:gdLst>
                  <a:gd name="T0" fmla="*/ 0 w 9"/>
                  <a:gd name="T1" fmla="*/ 0 h 5"/>
                  <a:gd name="T2" fmla="*/ 5 w 9"/>
                  <a:gd name="T3" fmla="*/ 5 h 5"/>
                  <a:gd name="T4" fmla="*/ 5 w 9"/>
                  <a:gd name="T5" fmla="*/ 5 h 5"/>
                  <a:gd name="T6" fmla="*/ 9 w 9"/>
                  <a:gd name="T7" fmla="*/ 3 h 5"/>
                  <a:gd name="T8" fmla="*/ 0 w 9"/>
                  <a:gd name="T9" fmla="*/ 0 h 5"/>
                </a:gdLst>
                <a:ahLst/>
                <a:cxnLst>
                  <a:cxn ang="0">
                    <a:pos x="T0" y="T1"/>
                  </a:cxn>
                  <a:cxn ang="0">
                    <a:pos x="T2" y="T3"/>
                  </a:cxn>
                  <a:cxn ang="0">
                    <a:pos x="T4" y="T5"/>
                  </a:cxn>
                  <a:cxn ang="0">
                    <a:pos x="T6" y="T7"/>
                  </a:cxn>
                  <a:cxn ang="0">
                    <a:pos x="T8" y="T9"/>
                  </a:cxn>
                </a:cxnLst>
                <a:rect l="0" t="0" r="r" b="b"/>
                <a:pathLst>
                  <a:path w="9" h="5">
                    <a:moveTo>
                      <a:pt x="0" y="0"/>
                    </a:moveTo>
                    <a:cubicBezTo>
                      <a:pt x="0" y="3"/>
                      <a:pt x="3" y="5"/>
                      <a:pt x="5" y="5"/>
                    </a:cubicBezTo>
                    <a:cubicBezTo>
                      <a:pt x="5" y="5"/>
                      <a:pt x="5" y="5"/>
                      <a:pt x="5" y="5"/>
                    </a:cubicBezTo>
                    <a:cubicBezTo>
                      <a:pt x="7" y="5"/>
                      <a:pt x="7" y="4"/>
                      <a:pt x="9" y="3"/>
                    </a:cubicBezTo>
                    <a:cubicBezTo>
                      <a:pt x="6"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9" name="Freeform 1291">
                <a:extLst>
                  <a:ext uri="{FF2B5EF4-FFF2-40B4-BE49-F238E27FC236}">
                    <a16:creationId xmlns:a16="http://schemas.microsoft.com/office/drawing/2014/main" id="{A268A064-13E3-4F7C-B0F2-BAB5317A2153}"/>
                  </a:ext>
                </a:extLst>
              </p:cNvPr>
              <p:cNvSpPr>
                <a:spLocks/>
              </p:cNvSpPr>
              <p:nvPr/>
            </p:nvSpPr>
            <p:spPr bwMode="auto">
              <a:xfrm>
                <a:off x="1944" y="1437"/>
                <a:ext cx="7" cy="48"/>
              </a:xfrm>
              <a:custGeom>
                <a:avLst/>
                <a:gdLst>
                  <a:gd name="T0" fmla="*/ 3 w 3"/>
                  <a:gd name="T1" fmla="*/ 0 h 20"/>
                  <a:gd name="T2" fmla="*/ 2 w 3"/>
                  <a:gd name="T3" fmla="*/ 20 h 20"/>
                  <a:gd name="T4" fmla="*/ 3 w 3"/>
                  <a:gd name="T5" fmla="*/ 0 h 20"/>
                </a:gdLst>
                <a:ahLst/>
                <a:cxnLst>
                  <a:cxn ang="0">
                    <a:pos x="T0" y="T1"/>
                  </a:cxn>
                  <a:cxn ang="0">
                    <a:pos x="T2" y="T3"/>
                  </a:cxn>
                  <a:cxn ang="0">
                    <a:pos x="T4" y="T5"/>
                  </a:cxn>
                </a:cxnLst>
                <a:rect l="0" t="0" r="r" b="b"/>
                <a:pathLst>
                  <a:path w="3" h="20">
                    <a:moveTo>
                      <a:pt x="3" y="0"/>
                    </a:moveTo>
                    <a:cubicBezTo>
                      <a:pt x="0" y="5"/>
                      <a:pt x="2" y="15"/>
                      <a:pt x="2" y="20"/>
                    </a:cubicBezTo>
                    <a:cubicBezTo>
                      <a:pt x="3" y="13"/>
                      <a:pt x="3" y="6"/>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0" name="Freeform 1292">
                <a:extLst>
                  <a:ext uri="{FF2B5EF4-FFF2-40B4-BE49-F238E27FC236}">
                    <a16:creationId xmlns:a16="http://schemas.microsoft.com/office/drawing/2014/main" id="{43F1E344-B37A-4D4E-BB36-9E6E5052B7CC}"/>
                  </a:ext>
                </a:extLst>
              </p:cNvPr>
              <p:cNvSpPr>
                <a:spLocks/>
              </p:cNvSpPr>
              <p:nvPr/>
            </p:nvSpPr>
            <p:spPr bwMode="auto">
              <a:xfrm>
                <a:off x="857" y="1026"/>
                <a:ext cx="9" cy="12"/>
              </a:xfrm>
              <a:custGeom>
                <a:avLst/>
                <a:gdLst>
                  <a:gd name="T0" fmla="*/ 0 w 4"/>
                  <a:gd name="T1" fmla="*/ 0 h 5"/>
                  <a:gd name="T2" fmla="*/ 4 w 4"/>
                  <a:gd name="T3" fmla="*/ 5 h 5"/>
                  <a:gd name="T4" fmla="*/ 0 w 4"/>
                  <a:gd name="T5" fmla="*/ 0 h 5"/>
                </a:gdLst>
                <a:ahLst/>
                <a:cxnLst>
                  <a:cxn ang="0">
                    <a:pos x="T0" y="T1"/>
                  </a:cxn>
                  <a:cxn ang="0">
                    <a:pos x="T2" y="T3"/>
                  </a:cxn>
                  <a:cxn ang="0">
                    <a:pos x="T4" y="T5"/>
                  </a:cxn>
                </a:cxnLst>
                <a:rect l="0" t="0" r="r" b="b"/>
                <a:pathLst>
                  <a:path w="4" h="5">
                    <a:moveTo>
                      <a:pt x="0" y="0"/>
                    </a:moveTo>
                    <a:cubicBezTo>
                      <a:pt x="0" y="3"/>
                      <a:pt x="2" y="3"/>
                      <a:pt x="4" y="5"/>
                    </a:cubicBezTo>
                    <a:cubicBezTo>
                      <a:pt x="3"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1" name="Freeform 1293">
                <a:extLst>
                  <a:ext uri="{FF2B5EF4-FFF2-40B4-BE49-F238E27FC236}">
                    <a16:creationId xmlns:a16="http://schemas.microsoft.com/office/drawing/2014/main" id="{1C509435-5B59-4541-83A0-D3F247377CFF}"/>
                  </a:ext>
                </a:extLst>
              </p:cNvPr>
              <p:cNvSpPr>
                <a:spLocks/>
              </p:cNvSpPr>
              <p:nvPr/>
            </p:nvSpPr>
            <p:spPr bwMode="auto">
              <a:xfrm>
                <a:off x="2733" y="1534"/>
                <a:ext cx="5" cy="5"/>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1" y="1"/>
                      <a:pt x="1" y="1"/>
                      <a:pt x="2"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2" name="Freeform 1294">
                <a:extLst>
                  <a:ext uri="{FF2B5EF4-FFF2-40B4-BE49-F238E27FC236}">
                    <a16:creationId xmlns:a16="http://schemas.microsoft.com/office/drawing/2014/main" id="{DC5A4724-8ED2-4AAB-A297-1AA053536B8B}"/>
                  </a:ext>
                </a:extLst>
              </p:cNvPr>
              <p:cNvSpPr>
                <a:spLocks noEditPoints="1"/>
              </p:cNvSpPr>
              <p:nvPr/>
            </p:nvSpPr>
            <p:spPr bwMode="auto">
              <a:xfrm>
                <a:off x="2724" y="1530"/>
                <a:ext cx="9" cy="4"/>
              </a:xfrm>
              <a:custGeom>
                <a:avLst/>
                <a:gdLst>
                  <a:gd name="T0" fmla="*/ 0 w 4"/>
                  <a:gd name="T1" fmla="*/ 0 h 2"/>
                  <a:gd name="T2" fmla="*/ 4 w 4"/>
                  <a:gd name="T3" fmla="*/ 2 h 2"/>
                  <a:gd name="T4" fmla="*/ 0 w 4"/>
                  <a:gd name="T5" fmla="*/ 0 h 2"/>
                  <a:gd name="T6" fmla="*/ 0 w 4"/>
                  <a:gd name="T7" fmla="*/ 0 h 2"/>
                  <a:gd name="T8" fmla="*/ 0 w 4"/>
                  <a:gd name="T9" fmla="*/ 0 h 2"/>
                  <a:gd name="T10" fmla="*/ 0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0" y="0"/>
                    </a:moveTo>
                    <a:cubicBezTo>
                      <a:pt x="1" y="0"/>
                      <a:pt x="3" y="1"/>
                      <a:pt x="4" y="2"/>
                    </a:cubicBezTo>
                    <a:cubicBezTo>
                      <a:pt x="4" y="0"/>
                      <a:pt x="2" y="1"/>
                      <a:pt x="0" y="0"/>
                    </a:cubicBezTo>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3" name="Freeform 1295">
                <a:extLst>
                  <a:ext uri="{FF2B5EF4-FFF2-40B4-BE49-F238E27FC236}">
                    <a16:creationId xmlns:a16="http://schemas.microsoft.com/office/drawing/2014/main" id="{DEC1CE28-ECFB-403A-BFD0-EB3B0E4DA840}"/>
                  </a:ext>
                </a:extLst>
              </p:cNvPr>
              <p:cNvSpPr>
                <a:spLocks/>
              </p:cNvSpPr>
              <p:nvPr/>
            </p:nvSpPr>
            <p:spPr bwMode="auto">
              <a:xfrm>
                <a:off x="2071" y="1357"/>
                <a:ext cx="38" cy="54"/>
              </a:xfrm>
              <a:custGeom>
                <a:avLst/>
                <a:gdLst>
                  <a:gd name="T0" fmla="*/ 13 w 16"/>
                  <a:gd name="T1" fmla="*/ 0 h 23"/>
                  <a:gd name="T2" fmla="*/ 8 w 16"/>
                  <a:gd name="T3" fmla="*/ 2 h 23"/>
                  <a:gd name="T4" fmla="*/ 3 w 16"/>
                  <a:gd name="T5" fmla="*/ 4 h 23"/>
                  <a:gd name="T6" fmla="*/ 2 w 16"/>
                  <a:gd name="T7" fmla="*/ 16 h 23"/>
                  <a:gd name="T8" fmla="*/ 5 w 16"/>
                  <a:gd name="T9" fmla="*/ 23 h 23"/>
                  <a:gd name="T10" fmla="*/ 8 w 16"/>
                  <a:gd name="T11" fmla="*/ 23 h 23"/>
                  <a:gd name="T12" fmla="*/ 11 w 16"/>
                  <a:gd name="T13" fmla="*/ 21 h 23"/>
                  <a:gd name="T14" fmla="*/ 12 w 16"/>
                  <a:gd name="T15" fmla="*/ 19 h 23"/>
                  <a:gd name="T16" fmla="*/ 12 w 16"/>
                  <a:gd name="T17" fmla="*/ 14 h 23"/>
                  <a:gd name="T18" fmla="*/ 15 w 16"/>
                  <a:gd name="T19" fmla="*/ 10 h 23"/>
                  <a:gd name="T20" fmla="*/ 13 w 16"/>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3">
                    <a:moveTo>
                      <a:pt x="13" y="0"/>
                    </a:moveTo>
                    <a:cubicBezTo>
                      <a:pt x="11" y="0"/>
                      <a:pt x="10" y="2"/>
                      <a:pt x="8" y="2"/>
                    </a:cubicBezTo>
                    <a:cubicBezTo>
                      <a:pt x="7" y="3"/>
                      <a:pt x="4" y="3"/>
                      <a:pt x="3" y="4"/>
                    </a:cubicBezTo>
                    <a:cubicBezTo>
                      <a:pt x="1" y="8"/>
                      <a:pt x="6" y="11"/>
                      <a:pt x="2" y="16"/>
                    </a:cubicBezTo>
                    <a:cubicBezTo>
                      <a:pt x="1" y="22"/>
                      <a:pt x="0" y="22"/>
                      <a:pt x="5" y="23"/>
                    </a:cubicBezTo>
                    <a:cubicBezTo>
                      <a:pt x="7" y="23"/>
                      <a:pt x="8" y="23"/>
                      <a:pt x="8" y="23"/>
                    </a:cubicBezTo>
                    <a:cubicBezTo>
                      <a:pt x="9" y="23"/>
                      <a:pt x="10" y="23"/>
                      <a:pt x="11" y="21"/>
                    </a:cubicBezTo>
                    <a:cubicBezTo>
                      <a:pt x="11" y="20"/>
                      <a:pt x="11" y="21"/>
                      <a:pt x="12" y="19"/>
                    </a:cubicBezTo>
                    <a:cubicBezTo>
                      <a:pt x="12" y="16"/>
                      <a:pt x="10" y="17"/>
                      <a:pt x="12" y="14"/>
                    </a:cubicBezTo>
                    <a:cubicBezTo>
                      <a:pt x="13" y="13"/>
                      <a:pt x="14" y="12"/>
                      <a:pt x="15" y="10"/>
                    </a:cubicBezTo>
                    <a:cubicBezTo>
                      <a:pt x="16" y="7"/>
                      <a:pt x="14" y="2"/>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4" name="Freeform 1296">
                <a:extLst>
                  <a:ext uri="{FF2B5EF4-FFF2-40B4-BE49-F238E27FC236}">
                    <a16:creationId xmlns:a16="http://schemas.microsoft.com/office/drawing/2014/main" id="{17E00D98-6444-4FAC-B40F-D787E982CA68}"/>
                  </a:ext>
                </a:extLst>
              </p:cNvPr>
              <p:cNvSpPr>
                <a:spLocks/>
              </p:cNvSpPr>
              <p:nvPr/>
            </p:nvSpPr>
            <p:spPr bwMode="auto">
              <a:xfrm>
                <a:off x="2121" y="1610"/>
                <a:ext cx="28" cy="7"/>
              </a:xfrm>
              <a:custGeom>
                <a:avLst/>
                <a:gdLst>
                  <a:gd name="T0" fmla="*/ 6 w 12"/>
                  <a:gd name="T1" fmla="*/ 0 h 3"/>
                  <a:gd name="T2" fmla="*/ 3 w 12"/>
                  <a:gd name="T3" fmla="*/ 0 h 3"/>
                  <a:gd name="T4" fmla="*/ 5 w 12"/>
                  <a:gd name="T5" fmla="*/ 3 h 3"/>
                  <a:gd name="T6" fmla="*/ 8 w 12"/>
                  <a:gd name="T7" fmla="*/ 3 h 3"/>
                  <a:gd name="T8" fmla="*/ 8 w 12"/>
                  <a:gd name="T9" fmla="*/ 3 h 3"/>
                  <a:gd name="T10" fmla="*/ 9 w 12"/>
                  <a:gd name="T11" fmla="*/ 3 h 3"/>
                  <a:gd name="T12" fmla="*/ 9 w 12"/>
                  <a:gd name="T13" fmla="*/ 3 h 3"/>
                  <a:gd name="T14" fmla="*/ 10 w 12"/>
                  <a:gd name="T15" fmla="*/ 3 h 3"/>
                  <a:gd name="T16" fmla="*/ 6 w 12"/>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3">
                    <a:moveTo>
                      <a:pt x="6" y="0"/>
                    </a:moveTo>
                    <a:cubicBezTo>
                      <a:pt x="5" y="0"/>
                      <a:pt x="4" y="0"/>
                      <a:pt x="3" y="0"/>
                    </a:cubicBezTo>
                    <a:cubicBezTo>
                      <a:pt x="0" y="3"/>
                      <a:pt x="2" y="3"/>
                      <a:pt x="5" y="3"/>
                    </a:cubicBezTo>
                    <a:cubicBezTo>
                      <a:pt x="6" y="3"/>
                      <a:pt x="7" y="3"/>
                      <a:pt x="8" y="3"/>
                    </a:cubicBezTo>
                    <a:cubicBezTo>
                      <a:pt x="8" y="3"/>
                      <a:pt x="8" y="3"/>
                      <a:pt x="8" y="3"/>
                    </a:cubicBezTo>
                    <a:cubicBezTo>
                      <a:pt x="8" y="3"/>
                      <a:pt x="8" y="3"/>
                      <a:pt x="9" y="3"/>
                    </a:cubicBezTo>
                    <a:cubicBezTo>
                      <a:pt x="9" y="3"/>
                      <a:pt x="9" y="3"/>
                      <a:pt x="9" y="3"/>
                    </a:cubicBezTo>
                    <a:cubicBezTo>
                      <a:pt x="9" y="3"/>
                      <a:pt x="10" y="3"/>
                      <a:pt x="10" y="3"/>
                    </a:cubicBezTo>
                    <a:cubicBezTo>
                      <a:pt x="12" y="0"/>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5" name="Freeform 1297">
                <a:extLst>
                  <a:ext uri="{FF2B5EF4-FFF2-40B4-BE49-F238E27FC236}">
                    <a16:creationId xmlns:a16="http://schemas.microsoft.com/office/drawing/2014/main" id="{38215EF2-562F-4D3D-BFD5-B775565397A3}"/>
                  </a:ext>
                </a:extLst>
              </p:cNvPr>
              <p:cNvSpPr>
                <a:spLocks/>
              </p:cNvSpPr>
              <p:nvPr/>
            </p:nvSpPr>
            <p:spPr bwMode="auto">
              <a:xfrm>
                <a:off x="2036" y="1759"/>
                <a:ext cx="19" cy="9"/>
              </a:xfrm>
              <a:custGeom>
                <a:avLst/>
                <a:gdLst>
                  <a:gd name="T0" fmla="*/ 8 w 8"/>
                  <a:gd name="T1" fmla="*/ 0 h 4"/>
                  <a:gd name="T2" fmla="*/ 0 w 8"/>
                  <a:gd name="T3" fmla="*/ 3 h 4"/>
                  <a:gd name="T4" fmla="*/ 4 w 8"/>
                  <a:gd name="T5" fmla="*/ 4 h 4"/>
                  <a:gd name="T6" fmla="*/ 8 w 8"/>
                  <a:gd name="T7" fmla="*/ 0 h 4"/>
                </a:gdLst>
                <a:ahLst/>
                <a:cxnLst>
                  <a:cxn ang="0">
                    <a:pos x="T0" y="T1"/>
                  </a:cxn>
                  <a:cxn ang="0">
                    <a:pos x="T2" y="T3"/>
                  </a:cxn>
                  <a:cxn ang="0">
                    <a:pos x="T4" y="T5"/>
                  </a:cxn>
                  <a:cxn ang="0">
                    <a:pos x="T6" y="T7"/>
                  </a:cxn>
                </a:cxnLst>
                <a:rect l="0" t="0" r="r" b="b"/>
                <a:pathLst>
                  <a:path w="8" h="4">
                    <a:moveTo>
                      <a:pt x="8" y="0"/>
                    </a:moveTo>
                    <a:cubicBezTo>
                      <a:pt x="5" y="1"/>
                      <a:pt x="2" y="2"/>
                      <a:pt x="0" y="3"/>
                    </a:cubicBezTo>
                    <a:cubicBezTo>
                      <a:pt x="1" y="4"/>
                      <a:pt x="2" y="4"/>
                      <a:pt x="4" y="4"/>
                    </a:cubicBezTo>
                    <a:cubicBezTo>
                      <a:pt x="6" y="4"/>
                      <a:pt x="8" y="3"/>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6" name="Freeform 1298">
                <a:extLst>
                  <a:ext uri="{FF2B5EF4-FFF2-40B4-BE49-F238E27FC236}">
                    <a16:creationId xmlns:a16="http://schemas.microsoft.com/office/drawing/2014/main" id="{2C03CAF1-5CAA-44FB-AF80-645720F4D5D6}"/>
                  </a:ext>
                </a:extLst>
              </p:cNvPr>
              <p:cNvSpPr>
                <a:spLocks/>
              </p:cNvSpPr>
              <p:nvPr/>
            </p:nvSpPr>
            <p:spPr bwMode="auto">
              <a:xfrm>
                <a:off x="2407" y="1081"/>
                <a:ext cx="12" cy="14"/>
              </a:xfrm>
              <a:custGeom>
                <a:avLst/>
                <a:gdLst>
                  <a:gd name="T0" fmla="*/ 3 w 5"/>
                  <a:gd name="T1" fmla="*/ 0 h 6"/>
                  <a:gd name="T2" fmla="*/ 0 w 5"/>
                  <a:gd name="T3" fmla="*/ 5 h 6"/>
                  <a:gd name="T4" fmla="*/ 3 w 5"/>
                  <a:gd name="T5" fmla="*/ 6 h 6"/>
                  <a:gd name="T6" fmla="*/ 4 w 5"/>
                  <a:gd name="T7" fmla="*/ 6 h 6"/>
                  <a:gd name="T8" fmla="*/ 3 w 5"/>
                  <a:gd name="T9" fmla="*/ 0 h 6"/>
                </a:gdLst>
                <a:ahLst/>
                <a:cxnLst>
                  <a:cxn ang="0">
                    <a:pos x="T0" y="T1"/>
                  </a:cxn>
                  <a:cxn ang="0">
                    <a:pos x="T2" y="T3"/>
                  </a:cxn>
                  <a:cxn ang="0">
                    <a:pos x="T4" y="T5"/>
                  </a:cxn>
                  <a:cxn ang="0">
                    <a:pos x="T6" y="T7"/>
                  </a:cxn>
                  <a:cxn ang="0">
                    <a:pos x="T8" y="T9"/>
                  </a:cxn>
                </a:cxnLst>
                <a:rect l="0" t="0" r="r" b="b"/>
                <a:pathLst>
                  <a:path w="5" h="6">
                    <a:moveTo>
                      <a:pt x="3" y="0"/>
                    </a:moveTo>
                    <a:cubicBezTo>
                      <a:pt x="2" y="1"/>
                      <a:pt x="0" y="4"/>
                      <a:pt x="0" y="5"/>
                    </a:cubicBezTo>
                    <a:cubicBezTo>
                      <a:pt x="1" y="6"/>
                      <a:pt x="3" y="6"/>
                      <a:pt x="3" y="6"/>
                    </a:cubicBezTo>
                    <a:cubicBezTo>
                      <a:pt x="4" y="6"/>
                      <a:pt x="4" y="6"/>
                      <a:pt x="4" y="6"/>
                    </a:cubicBezTo>
                    <a:cubicBezTo>
                      <a:pt x="5" y="5"/>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7" name="Freeform 1299">
                <a:extLst>
                  <a:ext uri="{FF2B5EF4-FFF2-40B4-BE49-F238E27FC236}">
                    <a16:creationId xmlns:a16="http://schemas.microsoft.com/office/drawing/2014/main" id="{208EAD48-A7A0-4453-8608-366AAC3CA76F}"/>
                  </a:ext>
                </a:extLst>
              </p:cNvPr>
              <p:cNvSpPr>
                <a:spLocks/>
              </p:cNvSpPr>
              <p:nvPr/>
            </p:nvSpPr>
            <p:spPr bwMode="auto">
              <a:xfrm>
                <a:off x="2556" y="1036"/>
                <a:ext cx="16" cy="19"/>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2" y="3"/>
                      <a:pt x="4" y="6"/>
                      <a:pt x="7" y="8"/>
                    </a:cubicBezTo>
                    <a:cubicBezTo>
                      <a:pt x="7" y="5"/>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8" name="Freeform 1300">
                <a:extLst>
                  <a:ext uri="{FF2B5EF4-FFF2-40B4-BE49-F238E27FC236}">
                    <a16:creationId xmlns:a16="http://schemas.microsoft.com/office/drawing/2014/main" id="{C15DB3CA-74A7-4FA6-8B73-A35107B563AC}"/>
                  </a:ext>
                </a:extLst>
              </p:cNvPr>
              <p:cNvSpPr>
                <a:spLocks/>
              </p:cNvSpPr>
              <p:nvPr/>
            </p:nvSpPr>
            <p:spPr bwMode="auto">
              <a:xfrm>
                <a:off x="219" y="634"/>
                <a:ext cx="9" cy="5"/>
              </a:xfrm>
              <a:custGeom>
                <a:avLst/>
                <a:gdLst>
                  <a:gd name="T0" fmla="*/ 0 w 4"/>
                  <a:gd name="T1" fmla="*/ 0 h 2"/>
                  <a:gd name="T2" fmla="*/ 4 w 4"/>
                  <a:gd name="T3" fmla="*/ 2 h 2"/>
                  <a:gd name="T4" fmla="*/ 4 w 4"/>
                  <a:gd name="T5" fmla="*/ 2 h 2"/>
                  <a:gd name="T6" fmla="*/ 0 w 4"/>
                  <a:gd name="T7" fmla="*/ 0 h 2"/>
                </a:gdLst>
                <a:ahLst/>
                <a:cxnLst>
                  <a:cxn ang="0">
                    <a:pos x="T0" y="T1"/>
                  </a:cxn>
                  <a:cxn ang="0">
                    <a:pos x="T2" y="T3"/>
                  </a:cxn>
                  <a:cxn ang="0">
                    <a:pos x="T4" y="T5"/>
                  </a:cxn>
                  <a:cxn ang="0">
                    <a:pos x="T6" y="T7"/>
                  </a:cxn>
                </a:cxnLst>
                <a:rect l="0" t="0" r="r" b="b"/>
                <a:pathLst>
                  <a:path w="4" h="2">
                    <a:moveTo>
                      <a:pt x="0" y="0"/>
                    </a:moveTo>
                    <a:cubicBezTo>
                      <a:pt x="1" y="1"/>
                      <a:pt x="2" y="2"/>
                      <a:pt x="4" y="2"/>
                    </a:cubicBezTo>
                    <a:cubicBezTo>
                      <a:pt x="4" y="2"/>
                      <a:pt x="4" y="2"/>
                      <a:pt x="4" y="2"/>
                    </a:cubicBezTo>
                    <a:cubicBezTo>
                      <a:pt x="3"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9" name="Freeform 1301">
                <a:extLst>
                  <a:ext uri="{FF2B5EF4-FFF2-40B4-BE49-F238E27FC236}">
                    <a16:creationId xmlns:a16="http://schemas.microsoft.com/office/drawing/2014/main" id="{74EF9268-9366-4F5A-9869-BB29A79DE51D}"/>
                  </a:ext>
                </a:extLst>
              </p:cNvPr>
              <p:cNvSpPr>
                <a:spLocks/>
              </p:cNvSpPr>
              <p:nvPr/>
            </p:nvSpPr>
            <p:spPr bwMode="auto">
              <a:xfrm>
                <a:off x="637" y="894"/>
                <a:ext cx="31" cy="28"/>
              </a:xfrm>
              <a:custGeom>
                <a:avLst/>
                <a:gdLst>
                  <a:gd name="T0" fmla="*/ 8 w 13"/>
                  <a:gd name="T1" fmla="*/ 0 h 12"/>
                  <a:gd name="T2" fmla="*/ 8 w 13"/>
                  <a:gd name="T3" fmla="*/ 0 h 12"/>
                  <a:gd name="T4" fmla="*/ 5 w 13"/>
                  <a:gd name="T5" fmla="*/ 2 h 12"/>
                  <a:gd name="T6" fmla="*/ 4 w 13"/>
                  <a:gd name="T7" fmla="*/ 2 h 12"/>
                  <a:gd name="T8" fmla="*/ 4 w 13"/>
                  <a:gd name="T9" fmla="*/ 2 h 12"/>
                  <a:gd name="T10" fmla="*/ 3 w 13"/>
                  <a:gd name="T11" fmla="*/ 2 h 12"/>
                  <a:gd name="T12" fmla="*/ 2 w 13"/>
                  <a:gd name="T13" fmla="*/ 2 h 12"/>
                  <a:gd name="T14" fmla="*/ 3 w 13"/>
                  <a:gd name="T15" fmla="*/ 11 h 12"/>
                  <a:gd name="T16" fmla="*/ 6 w 13"/>
                  <a:gd name="T17" fmla="*/ 12 h 12"/>
                  <a:gd name="T18" fmla="*/ 13 w 13"/>
                  <a:gd name="T19" fmla="*/ 5 h 12"/>
                  <a:gd name="T20" fmla="*/ 8 w 1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2">
                    <a:moveTo>
                      <a:pt x="8" y="0"/>
                    </a:moveTo>
                    <a:cubicBezTo>
                      <a:pt x="8" y="0"/>
                      <a:pt x="8" y="0"/>
                      <a:pt x="8" y="0"/>
                    </a:cubicBezTo>
                    <a:cubicBezTo>
                      <a:pt x="5" y="2"/>
                      <a:pt x="5" y="2"/>
                      <a:pt x="5" y="2"/>
                    </a:cubicBezTo>
                    <a:cubicBezTo>
                      <a:pt x="5" y="2"/>
                      <a:pt x="4" y="2"/>
                      <a:pt x="4" y="2"/>
                    </a:cubicBezTo>
                    <a:cubicBezTo>
                      <a:pt x="4" y="2"/>
                      <a:pt x="4" y="2"/>
                      <a:pt x="4" y="2"/>
                    </a:cubicBezTo>
                    <a:cubicBezTo>
                      <a:pt x="4" y="2"/>
                      <a:pt x="3" y="2"/>
                      <a:pt x="3" y="2"/>
                    </a:cubicBezTo>
                    <a:cubicBezTo>
                      <a:pt x="3" y="2"/>
                      <a:pt x="3" y="2"/>
                      <a:pt x="2" y="2"/>
                    </a:cubicBezTo>
                    <a:cubicBezTo>
                      <a:pt x="0" y="4"/>
                      <a:pt x="2" y="9"/>
                      <a:pt x="3" y="11"/>
                    </a:cubicBezTo>
                    <a:cubicBezTo>
                      <a:pt x="4" y="11"/>
                      <a:pt x="5" y="12"/>
                      <a:pt x="6" y="12"/>
                    </a:cubicBezTo>
                    <a:cubicBezTo>
                      <a:pt x="9" y="12"/>
                      <a:pt x="11" y="7"/>
                      <a:pt x="13" y="5"/>
                    </a:cubicBezTo>
                    <a:cubicBezTo>
                      <a:pt x="12" y="2"/>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0" name="Freeform 1302">
                <a:extLst>
                  <a:ext uri="{FF2B5EF4-FFF2-40B4-BE49-F238E27FC236}">
                    <a16:creationId xmlns:a16="http://schemas.microsoft.com/office/drawing/2014/main" id="{7A485447-391B-4373-B5CD-5277B781C3B9}"/>
                  </a:ext>
                </a:extLst>
              </p:cNvPr>
              <p:cNvSpPr>
                <a:spLocks/>
              </p:cNvSpPr>
              <p:nvPr/>
            </p:nvSpPr>
            <p:spPr bwMode="auto">
              <a:xfrm>
                <a:off x="2287" y="851"/>
                <a:ext cx="4" cy="7"/>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cubicBezTo>
                      <a:pt x="0" y="0"/>
                      <a:pt x="0" y="1"/>
                      <a:pt x="0" y="3"/>
                    </a:cubicBezTo>
                    <a:cubicBezTo>
                      <a:pt x="1" y="2"/>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1" name="Freeform 1303">
                <a:extLst>
                  <a:ext uri="{FF2B5EF4-FFF2-40B4-BE49-F238E27FC236}">
                    <a16:creationId xmlns:a16="http://schemas.microsoft.com/office/drawing/2014/main" id="{082E1569-770C-4C95-B61F-99091FE82262}"/>
                  </a:ext>
                </a:extLst>
              </p:cNvPr>
              <p:cNvSpPr>
                <a:spLocks/>
              </p:cNvSpPr>
              <p:nvPr/>
            </p:nvSpPr>
            <p:spPr bwMode="auto">
              <a:xfrm>
                <a:off x="1162" y="865"/>
                <a:ext cx="7" cy="3"/>
              </a:xfrm>
              <a:custGeom>
                <a:avLst/>
                <a:gdLst>
                  <a:gd name="T0" fmla="*/ 0 w 3"/>
                  <a:gd name="T1" fmla="*/ 0 h 1"/>
                  <a:gd name="T2" fmla="*/ 2 w 3"/>
                  <a:gd name="T3" fmla="*/ 1 h 1"/>
                  <a:gd name="T4" fmla="*/ 3 w 3"/>
                  <a:gd name="T5" fmla="*/ 1 h 1"/>
                  <a:gd name="T6" fmla="*/ 0 w 3"/>
                  <a:gd name="T7" fmla="*/ 0 h 1"/>
                </a:gdLst>
                <a:ahLst/>
                <a:cxnLst>
                  <a:cxn ang="0">
                    <a:pos x="T0" y="T1"/>
                  </a:cxn>
                  <a:cxn ang="0">
                    <a:pos x="T2" y="T3"/>
                  </a:cxn>
                  <a:cxn ang="0">
                    <a:pos x="T4" y="T5"/>
                  </a:cxn>
                  <a:cxn ang="0">
                    <a:pos x="T6" y="T7"/>
                  </a:cxn>
                </a:cxnLst>
                <a:rect l="0" t="0" r="r" b="b"/>
                <a:pathLst>
                  <a:path w="3" h="1">
                    <a:moveTo>
                      <a:pt x="0" y="0"/>
                    </a:moveTo>
                    <a:cubicBezTo>
                      <a:pt x="0" y="1"/>
                      <a:pt x="1" y="1"/>
                      <a:pt x="2" y="1"/>
                    </a:cubicBezTo>
                    <a:cubicBezTo>
                      <a:pt x="3" y="1"/>
                      <a:pt x="3" y="1"/>
                      <a:pt x="3" y="1"/>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2" name="Freeform 1304">
                <a:extLst>
                  <a:ext uri="{FF2B5EF4-FFF2-40B4-BE49-F238E27FC236}">
                    <a16:creationId xmlns:a16="http://schemas.microsoft.com/office/drawing/2014/main" id="{D92BC50B-41D0-4BED-AE68-D7161843F6D9}"/>
                  </a:ext>
                </a:extLst>
              </p:cNvPr>
              <p:cNvSpPr>
                <a:spLocks/>
              </p:cNvSpPr>
              <p:nvPr/>
            </p:nvSpPr>
            <p:spPr bwMode="auto">
              <a:xfrm>
                <a:off x="682" y="929"/>
                <a:ext cx="38" cy="24"/>
              </a:xfrm>
              <a:custGeom>
                <a:avLst/>
                <a:gdLst>
                  <a:gd name="T0" fmla="*/ 1 w 16"/>
                  <a:gd name="T1" fmla="*/ 0 h 10"/>
                  <a:gd name="T2" fmla="*/ 0 w 16"/>
                  <a:gd name="T3" fmla="*/ 0 h 10"/>
                  <a:gd name="T4" fmla="*/ 7 w 16"/>
                  <a:gd name="T5" fmla="*/ 6 h 10"/>
                  <a:gd name="T6" fmla="*/ 14 w 16"/>
                  <a:gd name="T7" fmla="*/ 10 h 10"/>
                  <a:gd name="T8" fmla="*/ 7 w 16"/>
                  <a:gd name="T9" fmla="*/ 1 h 10"/>
                  <a:gd name="T10" fmla="*/ 1 w 16"/>
                  <a:gd name="T11" fmla="*/ 0 h 10"/>
                </a:gdLst>
                <a:ahLst/>
                <a:cxnLst>
                  <a:cxn ang="0">
                    <a:pos x="T0" y="T1"/>
                  </a:cxn>
                  <a:cxn ang="0">
                    <a:pos x="T2" y="T3"/>
                  </a:cxn>
                  <a:cxn ang="0">
                    <a:pos x="T4" y="T5"/>
                  </a:cxn>
                  <a:cxn ang="0">
                    <a:pos x="T6" y="T7"/>
                  </a:cxn>
                  <a:cxn ang="0">
                    <a:pos x="T8" y="T9"/>
                  </a:cxn>
                  <a:cxn ang="0">
                    <a:pos x="T10" y="T11"/>
                  </a:cxn>
                </a:cxnLst>
                <a:rect l="0" t="0" r="r" b="b"/>
                <a:pathLst>
                  <a:path w="16" h="10">
                    <a:moveTo>
                      <a:pt x="1" y="0"/>
                    </a:moveTo>
                    <a:cubicBezTo>
                      <a:pt x="1" y="0"/>
                      <a:pt x="0" y="0"/>
                      <a:pt x="0" y="0"/>
                    </a:cubicBezTo>
                    <a:cubicBezTo>
                      <a:pt x="2" y="3"/>
                      <a:pt x="3" y="4"/>
                      <a:pt x="7" y="6"/>
                    </a:cubicBezTo>
                    <a:cubicBezTo>
                      <a:pt x="10" y="6"/>
                      <a:pt x="12" y="8"/>
                      <a:pt x="14" y="10"/>
                    </a:cubicBezTo>
                    <a:cubicBezTo>
                      <a:pt x="16" y="2"/>
                      <a:pt x="12" y="2"/>
                      <a:pt x="7" y="1"/>
                    </a:cubicBezTo>
                    <a:cubicBezTo>
                      <a:pt x="5"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3" name="Freeform 1305">
                <a:extLst>
                  <a:ext uri="{FF2B5EF4-FFF2-40B4-BE49-F238E27FC236}">
                    <a16:creationId xmlns:a16="http://schemas.microsoft.com/office/drawing/2014/main" id="{0B32E9F2-3AF1-4BFE-9209-39BC6C28F0AC}"/>
                  </a:ext>
                </a:extLst>
              </p:cNvPr>
              <p:cNvSpPr>
                <a:spLocks/>
              </p:cNvSpPr>
              <p:nvPr/>
            </p:nvSpPr>
            <p:spPr bwMode="auto">
              <a:xfrm>
                <a:off x="2492" y="1281"/>
                <a:ext cx="12" cy="8"/>
              </a:xfrm>
              <a:custGeom>
                <a:avLst/>
                <a:gdLst>
                  <a:gd name="T0" fmla="*/ 2 w 5"/>
                  <a:gd name="T1" fmla="*/ 0 h 3"/>
                  <a:gd name="T2" fmla="*/ 0 w 5"/>
                  <a:gd name="T3" fmla="*/ 3 h 3"/>
                  <a:gd name="T4" fmla="*/ 1 w 5"/>
                  <a:gd name="T5" fmla="*/ 3 h 3"/>
                  <a:gd name="T6" fmla="*/ 5 w 5"/>
                  <a:gd name="T7" fmla="*/ 2 h 3"/>
                  <a:gd name="T8" fmla="*/ 2 w 5"/>
                  <a:gd name="T9" fmla="*/ 0 h 3"/>
                </a:gdLst>
                <a:ahLst/>
                <a:cxnLst>
                  <a:cxn ang="0">
                    <a:pos x="T0" y="T1"/>
                  </a:cxn>
                  <a:cxn ang="0">
                    <a:pos x="T2" y="T3"/>
                  </a:cxn>
                  <a:cxn ang="0">
                    <a:pos x="T4" y="T5"/>
                  </a:cxn>
                  <a:cxn ang="0">
                    <a:pos x="T6" y="T7"/>
                  </a:cxn>
                  <a:cxn ang="0">
                    <a:pos x="T8" y="T9"/>
                  </a:cxn>
                </a:cxnLst>
                <a:rect l="0" t="0" r="r" b="b"/>
                <a:pathLst>
                  <a:path w="5" h="3">
                    <a:moveTo>
                      <a:pt x="2" y="0"/>
                    </a:moveTo>
                    <a:cubicBezTo>
                      <a:pt x="1" y="1"/>
                      <a:pt x="1" y="2"/>
                      <a:pt x="0" y="3"/>
                    </a:cubicBezTo>
                    <a:cubicBezTo>
                      <a:pt x="0" y="3"/>
                      <a:pt x="1" y="3"/>
                      <a:pt x="1" y="3"/>
                    </a:cubicBezTo>
                    <a:cubicBezTo>
                      <a:pt x="2" y="3"/>
                      <a:pt x="4" y="3"/>
                      <a:pt x="5" y="2"/>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4" name="Freeform 1306">
                <a:extLst>
                  <a:ext uri="{FF2B5EF4-FFF2-40B4-BE49-F238E27FC236}">
                    <a16:creationId xmlns:a16="http://schemas.microsoft.com/office/drawing/2014/main" id="{B53EC8E6-EEC3-45AC-BEFF-30CD5A2FEDE3}"/>
                  </a:ext>
                </a:extLst>
              </p:cNvPr>
              <p:cNvSpPr>
                <a:spLocks/>
              </p:cNvSpPr>
              <p:nvPr/>
            </p:nvSpPr>
            <p:spPr bwMode="auto">
              <a:xfrm>
                <a:off x="2929" y="1104"/>
                <a:ext cx="17" cy="12"/>
              </a:xfrm>
              <a:custGeom>
                <a:avLst/>
                <a:gdLst>
                  <a:gd name="T0" fmla="*/ 4 w 7"/>
                  <a:gd name="T1" fmla="*/ 0 h 5"/>
                  <a:gd name="T2" fmla="*/ 5 w 7"/>
                  <a:gd name="T3" fmla="*/ 5 h 5"/>
                  <a:gd name="T4" fmla="*/ 4 w 7"/>
                  <a:gd name="T5" fmla="*/ 0 h 5"/>
                </a:gdLst>
                <a:ahLst/>
                <a:cxnLst>
                  <a:cxn ang="0">
                    <a:pos x="T0" y="T1"/>
                  </a:cxn>
                  <a:cxn ang="0">
                    <a:pos x="T2" y="T3"/>
                  </a:cxn>
                  <a:cxn ang="0">
                    <a:pos x="T4" y="T5"/>
                  </a:cxn>
                </a:cxnLst>
                <a:rect l="0" t="0" r="r" b="b"/>
                <a:pathLst>
                  <a:path w="7" h="5">
                    <a:moveTo>
                      <a:pt x="4" y="0"/>
                    </a:moveTo>
                    <a:cubicBezTo>
                      <a:pt x="0" y="2"/>
                      <a:pt x="3" y="5"/>
                      <a:pt x="5" y="5"/>
                    </a:cubicBezTo>
                    <a:cubicBezTo>
                      <a:pt x="6" y="5"/>
                      <a:pt x="7" y="4"/>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5" name="Freeform 1307">
                <a:extLst>
                  <a:ext uri="{FF2B5EF4-FFF2-40B4-BE49-F238E27FC236}">
                    <a16:creationId xmlns:a16="http://schemas.microsoft.com/office/drawing/2014/main" id="{C3808170-4D17-4D0B-B4F9-61DCE418999F}"/>
                  </a:ext>
                </a:extLst>
              </p:cNvPr>
              <p:cNvSpPr>
                <a:spLocks/>
              </p:cNvSpPr>
              <p:nvPr/>
            </p:nvSpPr>
            <p:spPr bwMode="auto">
              <a:xfrm>
                <a:off x="2915" y="1199"/>
                <a:ext cx="2" cy="9"/>
              </a:xfrm>
              <a:custGeom>
                <a:avLst/>
                <a:gdLst>
                  <a:gd name="T0" fmla="*/ 1 w 1"/>
                  <a:gd name="T1" fmla="*/ 0 h 4"/>
                  <a:gd name="T2" fmla="*/ 0 w 1"/>
                  <a:gd name="T3" fmla="*/ 4 h 4"/>
                  <a:gd name="T4" fmla="*/ 1 w 1"/>
                  <a:gd name="T5" fmla="*/ 0 h 4"/>
                </a:gdLst>
                <a:ahLst/>
                <a:cxnLst>
                  <a:cxn ang="0">
                    <a:pos x="T0" y="T1"/>
                  </a:cxn>
                  <a:cxn ang="0">
                    <a:pos x="T2" y="T3"/>
                  </a:cxn>
                  <a:cxn ang="0">
                    <a:pos x="T4" y="T5"/>
                  </a:cxn>
                </a:cxnLst>
                <a:rect l="0" t="0" r="r" b="b"/>
                <a:pathLst>
                  <a:path w="1" h="4">
                    <a:moveTo>
                      <a:pt x="1" y="0"/>
                    </a:moveTo>
                    <a:cubicBezTo>
                      <a:pt x="0" y="1"/>
                      <a:pt x="0" y="3"/>
                      <a:pt x="0" y="4"/>
                    </a:cubicBezTo>
                    <a:cubicBezTo>
                      <a:pt x="0"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6" name="Freeform 1308">
                <a:extLst>
                  <a:ext uri="{FF2B5EF4-FFF2-40B4-BE49-F238E27FC236}">
                    <a16:creationId xmlns:a16="http://schemas.microsoft.com/office/drawing/2014/main" id="{438F542C-1248-47AF-8535-CCC66713AE47}"/>
                  </a:ext>
                </a:extLst>
              </p:cNvPr>
              <p:cNvSpPr>
                <a:spLocks/>
              </p:cNvSpPr>
              <p:nvPr/>
            </p:nvSpPr>
            <p:spPr bwMode="auto">
              <a:xfrm>
                <a:off x="812" y="960"/>
                <a:ext cx="19" cy="12"/>
              </a:xfrm>
              <a:custGeom>
                <a:avLst/>
                <a:gdLst>
                  <a:gd name="T0" fmla="*/ 3 w 8"/>
                  <a:gd name="T1" fmla="*/ 0 h 5"/>
                  <a:gd name="T2" fmla="*/ 1 w 8"/>
                  <a:gd name="T3" fmla="*/ 2 h 5"/>
                  <a:gd name="T4" fmla="*/ 0 w 8"/>
                  <a:gd name="T5" fmla="*/ 2 h 5"/>
                  <a:gd name="T6" fmla="*/ 4 w 8"/>
                  <a:gd name="T7" fmla="*/ 5 h 5"/>
                  <a:gd name="T8" fmla="*/ 8 w 8"/>
                  <a:gd name="T9" fmla="*/ 1 h 5"/>
                  <a:gd name="T10" fmla="*/ 3 w 8"/>
                  <a:gd name="T11" fmla="*/ 0 h 5"/>
                </a:gdLst>
                <a:ahLst/>
                <a:cxnLst>
                  <a:cxn ang="0">
                    <a:pos x="T0" y="T1"/>
                  </a:cxn>
                  <a:cxn ang="0">
                    <a:pos x="T2" y="T3"/>
                  </a:cxn>
                  <a:cxn ang="0">
                    <a:pos x="T4" y="T5"/>
                  </a:cxn>
                  <a:cxn ang="0">
                    <a:pos x="T6" y="T7"/>
                  </a:cxn>
                  <a:cxn ang="0">
                    <a:pos x="T8" y="T9"/>
                  </a:cxn>
                  <a:cxn ang="0">
                    <a:pos x="T10" y="T11"/>
                  </a:cxn>
                </a:cxnLst>
                <a:rect l="0" t="0" r="r" b="b"/>
                <a:pathLst>
                  <a:path w="8" h="5">
                    <a:moveTo>
                      <a:pt x="3" y="0"/>
                    </a:moveTo>
                    <a:cubicBezTo>
                      <a:pt x="2" y="0"/>
                      <a:pt x="1" y="0"/>
                      <a:pt x="1" y="2"/>
                    </a:cubicBezTo>
                    <a:cubicBezTo>
                      <a:pt x="1" y="2"/>
                      <a:pt x="1" y="2"/>
                      <a:pt x="0" y="2"/>
                    </a:cubicBezTo>
                    <a:cubicBezTo>
                      <a:pt x="2" y="4"/>
                      <a:pt x="3" y="5"/>
                      <a:pt x="4" y="5"/>
                    </a:cubicBezTo>
                    <a:cubicBezTo>
                      <a:pt x="5" y="5"/>
                      <a:pt x="6" y="3"/>
                      <a:pt x="8" y="1"/>
                    </a:cubicBezTo>
                    <a:cubicBezTo>
                      <a:pt x="6" y="0"/>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7" name="Freeform 1309">
                <a:extLst>
                  <a:ext uri="{FF2B5EF4-FFF2-40B4-BE49-F238E27FC236}">
                    <a16:creationId xmlns:a16="http://schemas.microsoft.com/office/drawing/2014/main" id="{D667E127-3635-4B83-9DFA-39A11554766C}"/>
                  </a:ext>
                </a:extLst>
              </p:cNvPr>
              <p:cNvSpPr>
                <a:spLocks/>
              </p:cNvSpPr>
              <p:nvPr/>
            </p:nvSpPr>
            <p:spPr bwMode="auto">
              <a:xfrm>
                <a:off x="836" y="955"/>
                <a:ext cx="28" cy="26"/>
              </a:xfrm>
              <a:custGeom>
                <a:avLst/>
                <a:gdLst>
                  <a:gd name="T0" fmla="*/ 9 w 12"/>
                  <a:gd name="T1" fmla="*/ 0 h 11"/>
                  <a:gd name="T2" fmla="*/ 0 w 12"/>
                  <a:gd name="T3" fmla="*/ 4 h 11"/>
                  <a:gd name="T4" fmla="*/ 4 w 12"/>
                  <a:gd name="T5" fmla="*/ 6 h 11"/>
                  <a:gd name="T6" fmla="*/ 9 w 12"/>
                  <a:gd name="T7" fmla="*/ 11 h 11"/>
                  <a:gd name="T8" fmla="*/ 11 w 12"/>
                  <a:gd name="T9" fmla="*/ 10 h 11"/>
                  <a:gd name="T10" fmla="*/ 12 w 12"/>
                  <a:gd name="T11" fmla="*/ 8 h 11"/>
                  <a:gd name="T12" fmla="*/ 12 w 12"/>
                  <a:gd name="T13" fmla="*/ 4 h 11"/>
                  <a:gd name="T14" fmla="*/ 12 w 12"/>
                  <a:gd name="T15" fmla="*/ 4 h 11"/>
                  <a:gd name="T16" fmla="*/ 11 w 12"/>
                  <a:gd name="T17" fmla="*/ 2 h 11"/>
                  <a:gd name="T18" fmla="*/ 10 w 12"/>
                  <a:gd name="T19" fmla="*/ 0 h 11"/>
                  <a:gd name="T20" fmla="*/ 10 w 12"/>
                  <a:gd name="T21" fmla="*/ 0 h 11"/>
                  <a:gd name="T22" fmla="*/ 9 w 12"/>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1">
                    <a:moveTo>
                      <a:pt x="9" y="0"/>
                    </a:moveTo>
                    <a:cubicBezTo>
                      <a:pt x="6" y="0"/>
                      <a:pt x="3" y="2"/>
                      <a:pt x="0" y="4"/>
                    </a:cubicBezTo>
                    <a:cubicBezTo>
                      <a:pt x="1" y="5"/>
                      <a:pt x="3" y="5"/>
                      <a:pt x="4" y="6"/>
                    </a:cubicBezTo>
                    <a:cubicBezTo>
                      <a:pt x="7" y="7"/>
                      <a:pt x="7" y="11"/>
                      <a:pt x="9" y="11"/>
                    </a:cubicBezTo>
                    <a:cubicBezTo>
                      <a:pt x="9" y="11"/>
                      <a:pt x="10" y="11"/>
                      <a:pt x="11" y="10"/>
                    </a:cubicBezTo>
                    <a:cubicBezTo>
                      <a:pt x="12" y="9"/>
                      <a:pt x="12" y="9"/>
                      <a:pt x="12" y="8"/>
                    </a:cubicBezTo>
                    <a:cubicBezTo>
                      <a:pt x="12" y="7"/>
                      <a:pt x="12" y="5"/>
                      <a:pt x="12" y="4"/>
                    </a:cubicBezTo>
                    <a:cubicBezTo>
                      <a:pt x="12" y="4"/>
                      <a:pt x="12" y="4"/>
                      <a:pt x="12" y="4"/>
                    </a:cubicBezTo>
                    <a:cubicBezTo>
                      <a:pt x="12" y="4"/>
                      <a:pt x="11" y="3"/>
                      <a:pt x="11" y="2"/>
                    </a:cubicBezTo>
                    <a:cubicBezTo>
                      <a:pt x="10" y="1"/>
                      <a:pt x="9" y="0"/>
                      <a:pt x="10" y="0"/>
                    </a:cubicBezTo>
                    <a:cubicBezTo>
                      <a:pt x="10" y="0"/>
                      <a:pt x="10" y="0"/>
                      <a:pt x="10" y="0"/>
                    </a:cubicBezTo>
                    <a:cubicBezTo>
                      <a:pt x="10"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8" name="Freeform 1310">
                <a:extLst>
                  <a:ext uri="{FF2B5EF4-FFF2-40B4-BE49-F238E27FC236}">
                    <a16:creationId xmlns:a16="http://schemas.microsoft.com/office/drawing/2014/main" id="{B79B36C7-463E-4F08-B980-7801D9A46717}"/>
                  </a:ext>
                </a:extLst>
              </p:cNvPr>
              <p:cNvSpPr>
                <a:spLocks/>
              </p:cNvSpPr>
              <p:nvPr/>
            </p:nvSpPr>
            <p:spPr bwMode="auto">
              <a:xfrm>
                <a:off x="429" y="1040"/>
                <a:ext cx="17" cy="26"/>
              </a:xfrm>
              <a:custGeom>
                <a:avLst/>
                <a:gdLst>
                  <a:gd name="T0" fmla="*/ 0 w 7"/>
                  <a:gd name="T1" fmla="*/ 0 h 11"/>
                  <a:gd name="T2" fmla="*/ 7 w 7"/>
                  <a:gd name="T3" fmla="*/ 11 h 11"/>
                  <a:gd name="T4" fmla="*/ 0 w 7"/>
                  <a:gd name="T5" fmla="*/ 0 h 11"/>
                </a:gdLst>
                <a:ahLst/>
                <a:cxnLst>
                  <a:cxn ang="0">
                    <a:pos x="T0" y="T1"/>
                  </a:cxn>
                  <a:cxn ang="0">
                    <a:pos x="T2" y="T3"/>
                  </a:cxn>
                  <a:cxn ang="0">
                    <a:pos x="T4" y="T5"/>
                  </a:cxn>
                </a:cxnLst>
                <a:rect l="0" t="0" r="r" b="b"/>
                <a:pathLst>
                  <a:path w="7" h="11">
                    <a:moveTo>
                      <a:pt x="0" y="0"/>
                    </a:moveTo>
                    <a:cubicBezTo>
                      <a:pt x="2" y="4"/>
                      <a:pt x="4" y="7"/>
                      <a:pt x="7" y="11"/>
                    </a:cubicBezTo>
                    <a:cubicBezTo>
                      <a:pt x="6" y="9"/>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9" name="Freeform 1311">
                <a:extLst>
                  <a:ext uri="{FF2B5EF4-FFF2-40B4-BE49-F238E27FC236}">
                    <a16:creationId xmlns:a16="http://schemas.microsoft.com/office/drawing/2014/main" id="{7F9D966E-DCB5-4CDA-A26C-ECF46EEEA2F5}"/>
                  </a:ext>
                </a:extLst>
              </p:cNvPr>
              <p:cNvSpPr>
                <a:spLocks/>
              </p:cNvSpPr>
              <p:nvPr/>
            </p:nvSpPr>
            <p:spPr bwMode="auto">
              <a:xfrm>
                <a:off x="2291" y="785"/>
                <a:ext cx="17" cy="24"/>
              </a:xfrm>
              <a:custGeom>
                <a:avLst/>
                <a:gdLst>
                  <a:gd name="T0" fmla="*/ 0 w 7"/>
                  <a:gd name="T1" fmla="*/ 0 h 10"/>
                  <a:gd name="T2" fmla="*/ 0 w 7"/>
                  <a:gd name="T3" fmla="*/ 0 h 10"/>
                  <a:gd name="T4" fmla="*/ 6 w 7"/>
                  <a:gd name="T5" fmla="*/ 10 h 10"/>
                  <a:gd name="T6" fmla="*/ 4 w 7"/>
                  <a:gd name="T7" fmla="*/ 4 h 10"/>
                  <a:gd name="T8" fmla="*/ 0 w 7"/>
                  <a:gd name="T9" fmla="*/ 0 h 10"/>
                </a:gdLst>
                <a:ahLst/>
                <a:cxnLst>
                  <a:cxn ang="0">
                    <a:pos x="T0" y="T1"/>
                  </a:cxn>
                  <a:cxn ang="0">
                    <a:pos x="T2" y="T3"/>
                  </a:cxn>
                  <a:cxn ang="0">
                    <a:pos x="T4" y="T5"/>
                  </a:cxn>
                  <a:cxn ang="0">
                    <a:pos x="T6" y="T7"/>
                  </a:cxn>
                  <a:cxn ang="0">
                    <a:pos x="T8" y="T9"/>
                  </a:cxn>
                </a:cxnLst>
                <a:rect l="0" t="0" r="r" b="b"/>
                <a:pathLst>
                  <a:path w="7" h="10">
                    <a:moveTo>
                      <a:pt x="0" y="0"/>
                    </a:moveTo>
                    <a:cubicBezTo>
                      <a:pt x="0" y="0"/>
                      <a:pt x="0" y="0"/>
                      <a:pt x="0" y="0"/>
                    </a:cubicBezTo>
                    <a:cubicBezTo>
                      <a:pt x="1" y="4"/>
                      <a:pt x="4" y="7"/>
                      <a:pt x="6" y="10"/>
                    </a:cubicBezTo>
                    <a:cubicBezTo>
                      <a:pt x="7" y="7"/>
                      <a:pt x="7" y="6"/>
                      <a:pt x="4" y="4"/>
                    </a:cubicBezTo>
                    <a:cubicBezTo>
                      <a:pt x="5" y="3"/>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0" name="Freeform 1312">
                <a:extLst>
                  <a:ext uri="{FF2B5EF4-FFF2-40B4-BE49-F238E27FC236}">
                    <a16:creationId xmlns:a16="http://schemas.microsoft.com/office/drawing/2014/main" id="{B15E8629-4EC0-4EFE-9A33-562141633704}"/>
                  </a:ext>
                </a:extLst>
              </p:cNvPr>
              <p:cNvSpPr>
                <a:spLocks/>
              </p:cNvSpPr>
              <p:nvPr/>
            </p:nvSpPr>
            <p:spPr bwMode="auto">
              <a:xfrm>
                <a:off x="2031" y="1071"/>
                <a:ext cx="17" cy="5"/>
              </a:xfrm>
              <a:custGeom>
                <a:avLst/>
                <a:gdLst>
                  <a:gd name="T0" fmla="*/ 1 w 7"/>
                  <a:gd name="T1" fmla="*/ 0 h 2"/>
                  <a:gd name="T2" fmla="*/ 0 w 7"/>
                  <a:gd name="T3" fmla="*/ 2 h 2"/>
                  <a:gd name="T4" fmla="*/ 7 w 7"/>
                  <a:gd name="T5" fmla="*/ 1 h 2"/>
                  <a:gd name="T6" fmla="*/ 1 w 7"/>
                  <a:gd name="T7" fmla="*/ 0 h 2"/>
                </a:gdLst>
                <a:ahLst/>
                <a:cxnLst>
                  <a:cxn ang="0">
                    <a:pos x="T0" y="T1"/>
                  </a:cxn>
                  <a:cxn ang="0">
                    <a:pos x="T2" y="T3"/>
                  </a:cxn>
                  <a:cxn ang="0">
                    <a:pos x="T4" y="T5"/>
                  </a:cxn>
                  <a:cxn ang="0">
                    <a:pos x="T6" y="T7"/>
                  </a:cxn>
                </a:cxnLst>
                <a:rect l="0" t="0" r="r" b="b"/>
                <a:pathLst>
                  <a:path w="7" h="2">
                    <a:moveTo>
                      <a:pt x="1" y="0"/>
                    </a:moveTo>
                    <a:cubicBezTo>
                      <a:pt x="0" y="1"/>
                      <a:pt x="0" y="1"/>
                      <a:pt x="0" y="2"/>
                    </a:cubicBezTo>
                    <a:cubicBezTo>
                      <a:pt x="2" y="2"/>
                      <a:pt x="5" y="2"/>
                      <a:pt x="7" y="1"/>
                    </a:cubicBezTo>
                    <a:cubicBezTo>
                      <a:pt x="5" y="0"/>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1" name="Freeform 1313">
                <a:extLst>
                  <a:ext uri="{FF2B5EF4-FFF2-40B4-BE49-F238E27FC236}">
                    <a16:creationId xmlns:a16="http://schemas.microsoft.com/office/drawing/2014/main" id="{4618C03F-B1BD-4228-A3A9-DAEBF4C7C3EB}"/>
                  </a:ext>
                </a:extLst>
              </p:cNvPr>
              <p:cNvSpPr>
                <a:spLocks/>
              </p:cNvSpPr>
              <p:nvPr/>
            </p:nvSpPr>
            <p:spPr bwMode="auto">
              <a:xfrm>
                <a:off x="1147" y="835"/>
                <a:ext cx="10" cy="7"/>
              </a:xfrm>
              <a:custGeom>
                <a:avLst/>
                <a:gdLst>
                  <a:gd name="T0" fmla="*/ 3 w 4"/>
                  <a:gd name="T1" fmla="*/ 0 h 3"/>
                  <a:gd name="T2" fmla="*/ 0 w 4"/>
                  <a:gd name="T3" fmla="*/ 2 h 3"/>
                  <a:gd name="T4" fmla="*/ 2 w 4"/>
                  <a:gd name="T5" fmla="*/ 3 h 3"/>
                  <a:gd name="T6" fmla="*/ 3 w 4"/>
                  <a:gd name="T7" fmla="*/ 0 h 3"/>
                </a:gdLst>
                <a:ahLst/>
                <a:cxnLst>
                  <a:cxn ang="0">
                    <a:pos x="T0" y="T1"/>
                  </a:cxn>
                  <a:cxn ang="0">
                    <a:pos x="T2" y="T3"/>
                  </a:cxn>
                  <a:cxn ang="0">
                    <a:pos x="T4" y="T5"/>
                  </a:cxn>
                  <a:cxn ang="0">
                    <a:pos x="T6" y="T7"/>
                  </a:cxn>
                </a:cxnLst>
                <a:rect l="0" t="0" r="r" b="b"/>
                <a:pathLst>
                  <a:path w="4" h="3">
                    <a:moveTo>
                      <a:pt x="3" y="0"/>
                    </a:moveTo>
                    <a:cubicBezTo>
                      <a:pt x="2" y="1"/>
                      <a:pt x="1" y="1"/>
                      <a:pt x="0" y="2"/>
                    </a:cubicBezTo>
                    <a:cubicBezTo>
                      <a:pt x="1" y="3"/>
                      <a:pt x="1" y="3"/>
                      <a:pt x="2" y="3"/>
                    </a:cubicBezTo>
                    <a:cubicBezTo>
                      <a:pt x="3"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2" name="Freeform 1314">
                <a:extLst>
                  <a:ext uri="{FF2B5EF4-FFF2-40B4-BE49-F238E27FC236}">
                    <a16:creationId xmlns:a16="http://schemas.microsoft.com/office/drawing/2014/main" id="{5072BDEE-51CD-4BFF-B31B-0A0BC837A1D1}"/>
                  </a:ext>
                </a:extLst>
              </p:cNvPr>
              <p:cNvSpPr>
                <a:spLocks noEditPoints="1"/>
              </p:cNvSpPr>
              <p:nvPr/>
            </p:nvSpPr>
            <p:spPr bwMode="auto">
              <a:xfrm>
                <a:off x="1819" y="882"/>
                <a:ext cx="4" cy="7"/>
              </a:xfrm>
              <a:custGeom>
                <a:avLst/>
                <a:gdLst>
                  <a:gd name="T0" fmla="*/ 2 w 2"/>
                  <a:gd name="T1" fmla="*/ 3 h 3"/>
                  <a:gd name="T2" fmla="*/ 2 w 2"/>
                  <a:gd name="T3" fmla="*/ 3 h 3"/>
                  <a:gd name="T4" fmla="*/ 2 w 2"/>
                  <a:gd name="T5" fmla="*/ 3 h 3"/>
                  <a:gd name="T6" fmla="*/ 0 w 2"/>
                  <a:gd name="T7" fmla="*/ 0 h 3"/>
                  <a:gd name="T8" fmla="*/ 2 w 2"/>
                  <a:gd name="T9" fmla="*/ 3 h 3"/>
                  <a:gd name="T10" fmla="*/ 0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2" y="3"/>
                    </a:moveTo>
                    <a:cubicBezTo>
                      <a:pt x="2" y="3"/>
                      <a:pt x="2" y="3"/>
                      <a:pt x="2" y="3"/>
                    </a:cubicBezTo>
                    <a:cubicBezTo>
                      <a:pt x="2" y="3"/>
                      <a:pt x="2" y="3"/>
                      <a:pt x="2" y="3"/>
                    </a:cubicBezTo>
                    <a:moveTo>
                      <a:pt x="0" y="0"/>
                    </a:moveTo>
                    <a:cubicBezTo>
                      <a:pt x="1" y="1"/>
                      <a:pt x="2" y="2"/>
                      <a:pt x="2"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3" name="Freeform 1315">
                <a:extLst>
                  <a:ext uri="{FF2B5EF4-FFF2-40B4-BE49-F238E27FC236}">
                    <a16:creationId xmlns:a16="http://schemas.microsoft.com/office/drawing/2014/main" id="{890443B7-2726-4ED3-BE7B-5CA4850E64C6}"/>
                  </a:ext>
                </a:extLst>
              </p:cNvPr>
              <p:cNvSpPr>
                <a:spLocks/>
              </p:cNvSpPr>
              <p:nvPr/>
            </p:nvSpPr>
            <p:spPr bwMode="auto">
              <a:xfrm>
                <a:off x="1190" y="1107"/>
                <a:ext cx="26" cy="18"/>
              </a:xfrm>
              <a:custGeom>
                <a:avLst/>
                <a:gdLst>
                  <a:gd name="T0" fmla="*/ 4 w 11"/>
                  <a:gd name="T1" fmla="*/ 0 h 8"/>
                  <a:gd name="T2" fmla="*/ 3 w 11"/>
                  <a:gd name="T3" fmla="*/ 0 h 8"/>
                  <a:gd name="T4" fmla="*/ 2 w 11"/>
                  <a:gd name="T5" fmla="*/ 0 h 8"/>
                  <a:gd name="T6" fmla="*/ 2 w 11"/>
                  <a:gd name="T7" fmla="*/ 0 h 8"/>
                  <a:gd name="T8" fmla="*/ 2 w 11"/>
                  <a:gd name="T9" fmla="*/ 0 h 8"/>
                  <a:gd name="T10" fmla="*/ 2 w 11"/>
                  <a:gd name="T11" fmla="*/ 0 h 8"/>
                  <a:gd name="T12" fmla="*/ 2 w 11"/>
                  <a:gd name="T13" fmla="*/ 1 h 8"/>
                  <a:gd name="T14" fmla="*/ 0 w 11"/>
                  <a:gd name="T15" fmla="*/ 8 h 8"/>
                  <a:gd name="T16" fmla="*/ 10 w 11"/>
                  <a:gd name="T17" fmla="*/ 5 h 8"/>
                  <a:gd name="T18" fmla="*/ 10 w 11"/>
                  <a:gd name="T19" fmla="*/ 4 h 8"/>
                  <a:gd name="T20" fmla="*/ 11 w 11"/>
                  <a:gd name="T21" fmla="*/ 3 h 8"/>
                  <a:gd name="T22" fmla="*/ 11 w 11"/>
                  <a:gd name="T23" fmla="*/ 3 h 8"/>
                  <a:gd name="T24" fmla="*/ 10 w 11"/>
                  <a:gd name="T25" fmla="*/ 2 h 8"/>
                  <a:gd name="T26" fmla="*/ 7 w 11"/>
                  <a:gd name="T27" fmla="*/ 1 h 8"/>
                  <a:gd name="T28" fmla="*/ 6 w 11"/>
                  <a:gd name="T29" fmla="*/ 0 h 8"/>
                  <a:gd name="T30" fmla="*/ 4 w 11"/>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8">
                    <a:moveTo>
                      <a:pt x="4" y="0"/>
                    </a:move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1"/>
                      <a:pt x="2" y="1"/>
                      <a:pt x="2" y="1"/>
                    </a:cubicBezTo>
                    <a:cubicBezTo>
                      <a:pt x="1" y="2"/>
                      <a:pt x="1" y="6"/>
                      <a:pt x="0" y="8"/>
                    </a:cubicBezTo>
                    <a:cubicBezTo>
                      <a:pt x="3" y="8"/>
                      <a:pt x="8" y="7"/>
                      <a:pt x="10" y="5"/>
                    </a:cubicBezTo>
                    <a:cubicBezTo>
                      <a:pt x="10" y="4"/>
                      <a:pt x="10" y="4"/>
                      <a:pt x="10" y="4"/>
                    </a:cubicBezTo>
                    <a:cubicBezTo>
                      <a:pt x="10" y="4"/>
                      <a:pt x="11" y="3"/>
                      <a:pt x="11" y="3"/>
                    </a:cubicBezTo>
                    <a:cubicBezTo>
                      <a:pt x="11" y="3"/>
                      <a:pt x="11" y="3"/>
                      <a:pt x="11" y="3"/>
                    </a:cubicBezTo>
                    <a:cubicBezTo>
                      <a:pt x="11" y="2"/>
                      <a:pt x="10" y="2"/>
                      <a:pt x="10" y="2"/>
                    </a:cubicBezTo>
                    <a:cubicBezTo>
                      <a:pt x="10" y="1"/>
                      <a:pt x="8" y="1"/>
                      <a:pt x="7" y="1"/>
                    </a:cubicBezTo>
                    <a:cubicBezTo>
                      <a:pt x="6" y="0"/>
                      <a:pt x="6" y="0"/>
                      <a:pt x="6"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4" name="Freeform 1316">
                <a:extLst>
                  <a:ext uri="{FF2B5EF4-FFF2-40B4-BE49-F238E27FC236}">
                    <a16:creationId xmlns:a16="http://schemas.microsoft.com/office/drawing/2014/main" id="{F6909640-CEAC-4FB5-A112-0BEB5F17C956}"/>
                  </a:ext>
                </a:extLst>
              </p:cNvPr>
              <p:cNvSpPr>
                <a:spLocks/>
              </p:cNvSpPr>
              <p:nvPr/>
            </p:nvSpPr>
            <p:spPr bwMode="auto">
              <a:xfrm>
                <a:off x="2402" y="1057"/>
                <a:ext cx="12" cy="19"/>
              </a:xfrm>
              <a:custGeom>
                <a:avLst/>
                <a:gdLst>
                  <a:gd name="T0" fmla="*/ 4 w 5"/>
                  <a:gd name="T1" fmla="*/ 0 h 8"/>
                  <a:gd name="T2" fmla="*/ 1 w 5"/>
                  <a:gd name="T3" fmla="*/ 5 h 8"/>
                  <a:gd name="T4" fmla="*/ 1 w 5"/>
                  <a:gd name="T5" fmla="*/ 5 h 8"/>
                  <a:gd name="T6" fmla="*/ 1 w 5"/>
                  <a:gd name="T7" fmla="*/ 6 h 8"/>
                  <a:gd name="T8" fmla="*/ 1 w 5"/>
                  <a:gd name="T9" fmla="*/ 7 h 8"/>
                  <a:gd name="T10" fmla="*/ 1 w 5"/>
                  <a:gd name="T11" fmla="*/ 7 h 8"/>
                  <a:gd name="T12" fmla="*/ 3 w 5"/>
                  <a:gd name="T13" fmla="*/ 8 h 8"/>
                  <a:gd name="T14" fmla="*/ 5 w 5"/>
                  <a:gd name="T15" fmla="*/ 0 h 8"/>
                  <a:gd name="T16" fmla="*/ 4 w 5"/>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8">
                    <a:moveTo>
                      <a:pt x="4" y="0"/>
                    </a:moveTo>
                    <a:cubicBezTo>
                      <a:pt x="1" y="0"/>
                      <a:pt x="0" y="2"/>
                      <a:pt x="1" y="5"/>
                    </a:cubicBezTo>
                    <a:cubicBezTo>
                      <a:pt x="1" y="5"/>
                      <a:pt x="1" y="5"/>
                      <a:pt x="1" y="5"/>
                    </a:cubicBezTo>
                    <a:cubicBezTo>
                      <a:pt x="1" y="5"/>
                      <a:pt x="1" y="6"/>
                      <a:pt x="1" y="6"/>
                    </a:cubicBezTo>
                    <a:cubicBezTo>
                      <a:pt x="1" y="7"/>
                      <a:pt x="1" y="7"/>
                      <a:pt x="1" y="7"/>
                    </a:cubicBezTo>
                    <a:cubicBezTo>
                      <a:pt x="1" y="7"/>
                      <a:pt x="1" y="7"/>
                      <a:pt x="1" y="7"/>
                    </a:cubicBezTo>
                    <a:cubicBezTo>
                      <a:pt x="2" y="8"/>
                      <a:pt x="2" y="8"/>
                      <a:pt x="3" y="8"/>
                    </a:cubicBezTo>
                    <a:cubicBezTo>
                      <a:pt x="5" y="8"/>
                      <a:pt x="5" y="2"/>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5" name="Freeform 1317">
                <a:extLst>
                  <a:ext uri="{FF2B5EF4-FFF2-40B4-BE49-F238E27FC236}">
                    <a16:creationId xmlns:a16="http://schemas.microsoft.com/office/drawing/2014/main" id="{8AF9965A-049F-491E-A4BF-6293EC68DB01}"/>
                  </a:ext>
                </a:extLst>
              </p:cNvPr>
              <p:cNvSpPr>
                <a:spLocks/>
              </p:cNvSpPr>
              <p:nvPr/>
            </p:nvSpPr>
            <p:spPr bwMode="auto">
              <a:xfrm>
                <a:off x="689" y="1402"/>
                <a:ext cx="21" cy="14"/>
              </a:xfrm>
              <a:custGeom>
                <a:avLst/>
                <a:gdLst>
                  <a:gd name="T0" fmla="*/ 2 w 9"/>
                  <a:gd name="T1" fmla="*/ 0 h 6"/>
                  <a:gd name="T2" fmla="*/ 0 w 9"/>
                  <a:gd name="T3" fmla="*/ 1 h 6"/>
                  <a:gd name="T4" fmla="*/ 8 w 9"/>
                  <a:gd name="T5" fmla="*/ 6 h 6"/>
                  <a:gd name="T6" fmla="*/ 2 w 9"/>
                  <a:gd name="T7" fmla="*/ 0 h 6"/>
                </a:gdLst>
                <a:ahLst/>
                <a:cxnLst>
                  <a:cxn ang="0">
                    <a:pos x="T0" y="T1"/>
                  </a:cxn>
                  <a:cxn ang="0">
                    <a:pos x="T2" y="T3"/>
                  </a:cxn>
                  <a:cxn ang="0">
                    <a:pos x="T4" y="T5"/>
                  </a:cxn>
                  <a:cxn ang="0">
                    <a:pos x="T6" y="T7"/>
                  </a:cxn>
                </a:cxnLst>
                <a:rect l="0" t="0" r="r" b="b"/>
                <a:pathLst>
                  <a:path w="9" h="6">
                    <a:moveTo>
                      <a:pt x="2" y="0"/>
                    </a:moveTo>
                    <a:cubicBezTo>
                      <a:pt x="2" y="0"/>
                      <a:pt x="1" y="1"/>
                      <a:pt x="0" y="1"/>
                    </a:cubicBezTo>
                    <a:cubicBezTo>
                      <a:pt x="3" y="3"/>
                      <a:pt x="5" y="5"/>
                      <a:pt x="8" y="6"/>
                    </a:cubicBezTo>
                    <a:cubicBezTo>
                      <a:pt x="9" y="3"/>
                      <a:pt x="5"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6" name="Freeform 1318">
                <a:extLst>
                  <a:ext uri="{FF2B5EF4-FFF2-40B4-BE49-F238E27FC236}">
                    <a16:creationId xmlns:a16="http://schemas.microsoft.com/office/drawing/2014/main" id="{A4DAE117-BF3A-4714-83B3-9E458532A726}"/>
                  </a:ext>
                </a:extLst>
              </p:cNvPr>
              <p:cNvSpPr>
                <a:spLocks/>
              </p:cNvSpPr>
              <p:nvPr/>
            </p:nvSpPr>
            <p:spPr bwMode="auto">
              <a:xfrm>
                <a:off x="2955" y="1142"/>
                <a:ext cx="14" cy="2"/>
              </a:xfrm>
              <a:custGeom>
                <a:avLst/>
                <a:gdLst>
                  <a:gd name="T0" fmla="*/ 0 w 6"/>
                  <a:gd name="T1" fmla="*/ 0 h 1"/>
                  <a:gd name="T2" fmla="*/ 4 w 6"/>
                  <a:gd name="T3" fmla="*/ 1 h 1"/>
                  <a:gd name="T4" fmla="*/ 6 w 6"/>
                  <a:gd name="T5" fmla="*/ 0 h 1"/>
                  <a:gd name="T6" fmla="*/ 0 w 6"/>
                  <a:gd name="T7" fmla="*/ 0 h 1"/>
                </a:gdLst>
                <a:ahLst/>
                <a:cxnLst>
                  <a:cxn ang="0">
                    <a:pos x="T0" y="T1"/>
                  </a:cxn>
                  <a:cxn ang="0">
                    <a:pos x="T2" y="T3"/>
                  </a:cxn>
                  <a:cxn ang="0">
                    <a:pos x="T4" y="T5"/>
                  </a:cxn>
                  <a:cxn ang="0">
                    <a:pos x="T6" y="T7"/>
                  </a:cxn>
                </a:cxnLst>
                <a:rect l="0" t="0" r="r" b="b"/>
                <a:pathLst>
                  <a:path w="6" h="1">
                    <a:moveTo>
                      <a:pt x="0" y="0"/>
                    </a:moveTo>
                    <a:cubicBezTo>
                      <a:pt x="1" y="0"/>
                      <a:pt x="2" y="1"/>
                      <a:pt x="4" y="1"/>
                    </a:cubicBezTo>
                    <a:cubicBezTo>
                      <a:pt x="4" y="1"/>
                      <a:pt x="5" y="1"/>
                      <a:pt x="6" y="0"/>
                    </a:cubicBezTo>
                    <a:cubicBezTo>
                      <a:pt x="4"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7" name="Freeform 1319">
                <a:extLst>
                  <a:ext uri="{FF2B5EF4-FFF2-40B4-BE49-F238E27FC236}">
                    <a16:creationId xmlns:a16="http://schemas.microsoft.com/office/drawing/2014/main" id="{F0EF7ECA-C292-4892-9414-FC18E029E5EE}"/>
                  </a:ext>
                </a:extLst>
              </p:cNvPr>
              <p:cNvSpPr>
                <a:spLocks noEditPoints="1"/>
              </p:cNvSpPr>
              <p:nvPr/>
            </p:nvSpPr>
            <p:spPr bwMode="auto">
              <a:xfrm>
                <a:off x="2142" y="1738"/>
                <a:ext cx="10" cy="14"/>
              </a:xfrm>
              <a:custGeom>
                <a:avLst/>
                <a:gdLst>
                  <a:gd name="T0" fmla="*/ 4 w 4"/>
                  <a:gd name="T1" fmla="*/ 0 h 6"/>
                  <a:gd name="T2" fmla="*/ 1 w 4"/>
                  <a:gd name="T3" fmla="*/ 6 h 6"/>
                  <a:gd name="T4" fmla="*/ 4 w 4"/>
                  <a:gd name="T5" fmla="*/ 0 h 6"/>
                  <a:gd name="T6" fmla="*/ 4 w 4"/>
                  <a:gd name="T7" fmla="*/ 0 h 6"/>
                  <a:gd name="T8" fmla="*/ 4 w 4"/>
                  <a:gd name="T9" fmla="*/ 0 h 6"/>
                  <a:gd name="T10" fmla="*/ 4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4" y="0"/>
                    </a:moveTo>
                    <a:cubicBezTo>
                      <a:pt x="3" y="2"/>
                      <a:pt x="0" y="3"/>
                      <a:pt x="1" y="6"/>
                    </a:cubicBezTo>
                    <a:cubicBezTo>
                      <a:pt x="2" y="4"/>
                      <a:pt x="3" y="2"/>
                      <a:pt x="4" y="0"/>
                    </a:cubicBezTo>
                    <a:moveTo>
                      <a:pt x="4" y="0"/>
                    </a:moveTo>
                    <a:cubicBezTo>
                      <a:pt x="4" y="0"/>
                      <a:pt x="4" y="0"/>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8" name="Freeform 1320">
                <a:extLst>
                  <a:ext uri="{FF2B5EF4-FFF2-40B4-BE49-F238E27FC236}">
                    <a16:creationId xmlns:a16="http://schemas.microsoft.com/office/drawing/2014/main" id="{D6DE8930-84A3-4629-B8DF-B0A1FD98717B}"/>
                  </a:ext>
                </a:extLst>
              </p:cNvPr>
              <p:cNvSpPr>
                <a:spLocks/>
              </p:cNvSpPr>
              <p:nvPr/>
            </p:nvSpPr>
            <p:spPr bwMode="auto">
              <a:xfrm>
                <a:off x="810" y="969"/>
                <a:ext cx="4" cy="8"/>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cubicBezTo>
                      <a:pt x="0" y="0"/>
                      <a:pt x="0" y="0"/>
                      <a:pt x="0" y="0"/>
                    </a:cubicBezTo>
                    <a:cubicBezTo>
                      <a:pt x="0" y="1"/>
                      <a:pt x="1" y="2"/>
                      <a:pt x="2" y="3"/>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9" name="Freeform 1321">
                <a:extLst>
                  <a:ext uri="{FF2B5EF4-FFF2-40B4-BE49-F238E27FC236}">
                    <a16:creationId xmlns:a16="http://schemas.microsoft.com/office/drawing/2014/main" id="{944BF4D8-82F8-4AA2-83D5-0A3A13018523}"/>
                  </a:ext>
                </a:extLst>
              </p:cNvPr>
              <p:cNvSpPr>
                <a:spLocks/>
              </p:cNvSpPr>
              <p:nvPr/>
            </p:nvSpPr>
            <p:spPr bwMode="auto">
              <a:xfrm>
                <a:off x="2887" y="1159"/>
                <a:ext cx="7" cy="14"/>
              </a:xfrm>
              <a:custGeom>
                <a:avLst/>
                <a:gdLst>
                  <a:gd name="T0" fmla="*/ 3 w 3"/>
                  <a:gd name="T1" fmla="*/ 0 h 6"/>
                  <a:gd name="T2" fmla="*/ 1 w 3"/>
                  <a:gd name="T3" fmla="*/ 6 h 6"/>
                  <a:gd name="T4" fmla="*/ 3 w 3"/>
                  <a:gd name="T5" fmla="*/ 0 h 6"/>
                </a:gdLst>
                <a:ahLst/>
                <a:cxnLst>
                  <a:cxn ang="0">
                    <a:pos x="T0" y="T1"/>
                  </a:cxn>
                  <a:cxn ang="0">
                    <a:pos x="T2" y="T3"/>
                  </a:cxn>
                  <a:cxn ang="0">
                    <a:pos x="T4" y="T5"/>
                  </a:cxn>
                </a:cxnLst>
                <a:rect l="0" t="0" r="r" b="b"/>
                <a:pathLst>
                  <a:path w="3" h="6">
                    <a:moveTo>
                      <a:pt x="3" y="0"/>
                    </a:moveTo>
                    <a:cubicBezTo>
                      <a:pt x="1" y="2"/>
                      <a:pt x="0" y="4"/>
                      <a:pt x="1" y="6"/>
                    </a:cubicBezTo>
                    <a:cubicBezTo>
                      <a:pt x="2" y="4"/>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0" name="Freeform 1322">
                <a:extLst>
                  <a:ext uri="{FF2B5EF4-FFF2-40B4-BE49-F238E27FC236}">
                    <a16:creationId xmlns:a16="http://schemas.microsoft.com/office/drawing/2014/main" id="{FE68681B-AA85-4BBA-B75A-35B97AE80E68}"/>
                  </a:ext>
                </a:extLst>
              </p:cNvPr>
              <p:cNvSpPr>
                <a:spLocks/>
              </p:cNvSpPr>
              <p:nvPr/>
            </p:nvSpPr>
            <p:spPr bwMode="auto">
              <a:xfrm>
                <a:off x="895" y="1489"/>
                <a:ext cx="11" cy="5"/>
              </a:xfrm>
              <a:custGeom>
                <a:avLst/>
                <a:gdLst>
                  <a:gd name="T0" fmla="*/ 5 w 5"/>
                  <a:gd name="T1" fmla="*/ 0 h 2"/>
                  <a:gd name="T2" fmla="*/ 0 w 5"/>
                  <a:gd name="T3" fmla="*/ 2 h 2"/>
                  <a:gd name="T4" fmla="*/ 5 w 5"/>
                  <a:gd name="T5" fmla="*/ 0 h 2"/>
                </a:gdLst>
                <a:ahLst/>
                <a:cxnLst>
                  <a:cxn ang="0">
                    <a:pos x="T0" y="T1"/>
                  </a:cxn>
                  <a:cxn ang="0">
                    <a:pos x="T2" y="T3"/>
                  </a:cxn>
                  <a:cxn ang="0">
                    <a:pos x="T4" y="T5"/>
                  </a:cxn>
                </a:cxnLst>
                <a:rect l="0" t="0" r="r" b="b"/>
                <a:pathLst>
                  <a:path w="5" h="2">
                    <a:moveTo>
                      <a:pt x="5" y="0"/>
                    </a:moveTo>
                    <a:cubicBezTo>
                      <a:pt x="3" y="0"/>
                      <a:pt x="2" y="1"/>
                      <a:pt x="0" y="2"/>
                    </a:cubicBezTo>
                    <a:cubicBezTo>
                      <a:pt x="2" y="1"/>
                      <a:pt x="3"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1" name="Freeform 1323">
                <a:extLst>
                  <a:ext uri="{FF2B5EF4-FFF2-40B4-BE49-F238E27FC236}">
                    <a16:creationId xmlns:a16="http://schemas.microsoft.com/office/drawing/2014/main" id="{18ED1841-1621-453D-AAD7-A37B3454F733}"/>
                  </a:ext>
                </a:extLst>
              </p:cNvPr>
              <p:cNvSpPr>
                <a:spLocks/>
              </p:cNvSpPr>
              <p:nvPr/>
            </p:nvSpPr>
            <p:spPr bwMode="auto">
              <a:xfrm>
                <a:off x="826" y="974"/>
                <a:ext cx="12" cy="12"/>
              </a:xfrm>
              <a:custGeom>
                <a:avLst/>
                <a:gdLst>
                  <a:gd name="T0" fmla="*/ 0 w 5"/>
                  <a:gd name="T1" fmla="*/ 0 h 5"/>
                  <a:gd name="T2" fmla="*/ 2 w 5"/>
                  <a:gd name="T3" fmla="*/ 5 h 5"/>
                  <a:gd name="T4" fmla="*/ 5 w 5"/>
                  <a:gd name="T5" fmla="*/ 3 h 5"/>
                  <a:gd name="T6" fmla="*/ 0 w 5"/>
                  <a:gd name="T7" fmla="*/ 0 h 5"/>
                </a:gdLst>
                <a:ahLst/>
                <a:cxnLst>
                  <a:cxn ang="0">
                    <a:pos x="T0" y="T1"/>
                  </a:cxn>
                  <a:cxn ang="0">
                    <a:pos x="T2" y="T3"/>
                  </a:cxn>
                  <a:cxn ang="0">
                    <a:pos x="T4" y="T5"/>
                  </a:cxn>
                  <a:cxn ang="0">
                    <a:pos x="T6" y="T7"/>
                  </a:cxn>
                </a:cxnLst>
                <a:rect l="0" t="0" r="r" b="b"/>
                <a:pathLst>
                  <a:path w="5" h="5">
                    <a:moveTo>
                      <a:pt x="0" y="0"/>
                    </a:moveTo>
                    <a:cubicBezTo>
                      <a:pt x="1" y="2"/>
                      <a:pt x="1" y="3"/>
                      <a:pt x="2" y="5"/>
                    </a:cubicBezTo>
                    <a:cubicBezTo>
                      <a:pt x="3" y="4"/>
                      <a:pt x="4" y="4"/>
                      <a:pt x="5" y="3"/>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2" name="Freeform 1324">
                <a:extLst>
                  <a:ext uri="{FF2B5EF4-FFF2-40B4-BE49-F238E27FC236}">
                    <a16:creationId xmlns:a16="http://schemas.microsoft.com/office/drawing/2014/main" id="{00FDDFB3-DFC2-4B7D-81A5-A0D4C5B929D7}"/>
                  </a:ext>
                </a:extLst>
              </p:cNvPr>
              <p:cNvSpPr>
                <a:spLocks/>
              </p:cNvSpPr>
              <p:nvPr/>
            </p:nvSpPr>
            <p:spPr bwMode="auto">
              <a:xfrm>
                <a:off x="2572" y="1575"/>
                <a:ext cx="24" cy="18"/>
              </a:xfrm>
              <a:custGeom>
                <a:avLst/>
                <a:gdLst>
                  <a:gd name="T0" fmla="*/ 2 w 10"/>
                  <a:gd name="T1" fmla="*/ 0 h 8"/>
                  <a:gd name="T2" fmla="*/ 4 w 10"/>
                  <a:gd name="T3" fmla="*/ 7 h 8"/>
                  <a:gd name="T4" fmla="*/ 5 w 10"/>
                  <a:gd name="T5" fmla="*/ 8 h 8"/>
                  <a:gd name="T6" fmla="*/ 9 w 10"/>
                  <a:gd name="T7" fmla="*/ 5 h 8"/>
                  <a:gd name="T8" fmla="*/ 2 w 10"/>
                  <a:gd name="T9" fmla="*/ 0 h 8"/>
                </a:gdLst>
                <a:ahLst/>
                <a:cxnLst>
                  <a:cxn ang="0">
                    <a:pos x="T0" y="T1"/>
                  </a:cxn>
                  <a:cxn ang="0">
                    <a:pos x="T2" y="T3"/>
                  </a:cxn>
                  <a:cxn ang="0">
                    <a:pos x="T4" y="T5"/>
                  </a:cxn>
                  <a:cxn ang="0">
                    <a:pos x="T6" y="T7"/>
                  </a:cxn>
                  <a:cxn ang="0">
                    <a:pos x="T8" y="T9"/>
                  </a:cxn>
                </a:cxnLst>
                <a:rect l="0" t="0" r="r" b="b"/>
                <a:pathLst>
                  <a:path w="10" h="8">
                    <a:moveTo>
                      <a:pt x="2" y="0"/>
                    </a:moveTo>
                    <a:cubicBezTo>
                      <a:pt x="0" y="2"/>
                      <a:pt x="1" y="6"/>
                      <a:pt x="4" y="7"/>
                    </a:cubicBezTo>
                    <a:cubicBezTo>
                      <a:pt x="4" y="8"/>
                      <a:pt x="5" y="8"/>
                      <a:pt x="5" y="8"/>
                    </a:cubicBezTo>
                    <a:cubicBezTo>
                      <a:pt x="7" y="8"/>
                      <a:pt x="8" y="7"/>
                      <a:pt x="9" y="5"/>
                    </a:cubicBezTo>
                    <a:cubicBezTo>
                      <a:pt x="10" y="1"/>
                      <a:pt x="6"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3" name="Freeform 1325">
                <a:extLst>
                  <a:ext uri="{FF2B5EF4-FFF2-40B4-BE49-F238E27FC236}">
                    <a16:creationId xmlns:a16="http://schemas.microsoft.com/office/drawing/2014/main" id="{20660E59-8C42-40EE-9A3D-88C54730F05D}"/>
                  </a:ext>
                </a:extLst>
              </p:cNvPr>
              <p:cNvSpPr>
                <a:spLocks/>
              </p:cNvSpPr>
              <p:nvPr/>
            </p:nvSpPr>
            <p:spPr bwMode="auto">
              <a:xfrm>
                <a:off x="2506" y="1279"/>
                <a:ext cx="10" cy="10"/>
              </a:xfrm>
              <a:custGeom>
                <a:avLst/>
                <a:gdLst>
                  <a:gd name="T0" fmla="*/ 0 w 4"/>
                  <a:gd name="T1" fmla="*/ 0 h 4"/>
                  <a:gd name="T2" fmla="*/ 2 w 4"/>
                  <a:gd name="T3" fmla="*/ 4 h 4"/>
                  <a:gd name="T4" fmla="*/ 4 w 4"/>
                  <a:gd name="T5" fmla="*/ 4 h 4"/>
                  <a:gd name="T6" fmla="*/ 0 w 4"/>
                  <a:gd name="T7" fmla="*/ 0 h 4"/>
                </a:gdLst>
                <a:ahLst/>
                <a:cxnLst>
                  <a:cxn ang="0">
                    <a:pos x="T0" y="T1"/>
                  </a:cxn>
                  <a:cxn ang="0">
                    <a:pos x="T2" y="T3"/>
                  </a:cxn>
                  <a:cxn ang="0">
                    <a:pos x="T4" y="T5"/>
                  </a:cxn>
                  <a:cxn ang="0">
                    <a:pos x="T6" y="T7"/>
                  </a:cxn>
                </a:cxnLst>
                <a:rect l="0" t="0" r="r" b="b"/>
                <a:pathLst>
                  <a:path w="4" h="4">
                    <a:moveTo>
                      <a:pt x="0" y="0"/>
                    </a:moveTo>
                    <a:cubicBezTo>
                      <a:pt x="0" y="2"/>
                      <a:pt x="1" y="4"/>
                      <a:pt x="2" y="4"/>
                    </a:cubicBezTo>
                    <a:cubicBezTo>
                      <a:pt x="3" y="4"/>
                      <a:pt x="3" y="4"/>
                      <a:pt x="4" y="4"/>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4" name="Freeform 1326">
                <a:extLst>
                  <a:ext uri="{FF2B5EF4-FFF2-40B4-BE49-F238E27FC236}">
                    <a16:creationId xmlns:a16="http://schemas.microsoft.com/office/drawing/2014/main" id="{4E35D4F3-AAAB-4426-9C85-3A8DB5A28AD1}"/>
                  </a:ext>
                </a:extLst>
              </p:cNvPr>
              <p:cNvSpPr>
                <a:spLocks/>
              </p:cNvSpPr>
              <p:nvPr/>
            </p:nvSpPr>
            <p:spPr bwMode="auto">
              <a:xfrm>
                <a:off x="935" y="830"/>
                <a:ext cx="12" cy="14"/>
              </a:xfrm>
              <a:custGeom>
                <a:avLst/>
                <a:gdLst>
                  <a:gd name="T0" fmla="*/ 1 w 5"/>
                  <a:gd name="T1" fmla="*/ 0 h 6"/>
                  <a:gd name="T2" fmla="*/ 1 w 5"/>
                  <a:gd name="T3" fmla="*/ 6 h 6"/>
                  <a:gd name="T4" fmla="*/ 5 w 5"/>
                  <a:gd name="T5" fmla="*/ 2 h 6"/>
                  <a:gd name="T6" fmla="*/ 1 w 5"/>
                  <a:gd name="T7" fmla="*/ 0 h 6"/>
                </a:gdLst>
                <a:ahLst/>
                <a:cxnLst>
                  <a:cxn ang="0">
                    <a:pos x="T0" y="T1"/>
                  </a:cxn>
                  <a:cxn ang="0">
                    <a:pos x="T2" y="T3"/>
                  </a:cxn>
                  <a:cxn ang="0">
                    <a:pos x="T4" y="T5"/>
                  </a:cxn>
                  <a:cxn ang="0">
                    <a:pos x="T6" y="T7"/>
                  </a:cxn>
                </a:cxnLst>
                <a:rect l="0" t="0" r="r" b="b"/>
                <a:pathLst>
                  <a:path w="5" h="6">
                    <a:moveTo>
                      <a:pt x="1" y="0"/>
                    </a:moveTo>
                    <a:cubicBezTo>
                      <a:pt x="0" y="2"/>
                      <a:pt x="1" y="4"/>
                      <a:pt x="1" y="6"/>
                    </a:cubicBezTo>
                    <a:cubicBezTo>
                      <a:pt x="3" y="4"/>
                      <a:pt x="4" y="4"/>
                      <a:pt x="5" y="2"/>
                    </a:cubicBezTo>
                    <a:cubicBezTo>
                      <a:pt x="3"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5" name="Freeform 1327">
                <a:extLst>
                  <a:ext uri="{FF2B5EF4-FFF2-40B4-BE49-F238E27FC236}">
                    <a16:creationId xmlns:a16="http://schemas.microsoft.com/office/drawing/2014/main" id="{2F6AC9D2-AA82-4508-AC18-7779369B491A}"/>
                  </a:ext>
                </a:extLst>
              </p:cNvPr>
              <p:cNvSpPr>
                <a:spLocks/>
              </p:cNvSpPr>
              <p:nvPr/>
            </p:nvSpPr>
            <p:spPr bwMode="auto">
              <a:xfrm>
                <a:off x="2428" y="1121"/>
                <a:ext cx="17" cy="4"/>
              </a:xfrm>
              <a:custGeom>
                <a:avLst/>
                <a:gdLst>
                  <a:gd name="T0" fmla="*/ 3 w 7"/>
                  <a:gd name="T1" fmla="*/ 0 h 2"/>
                  <a:gd name="T2" fmla="*/ 0 w 7"/>
                  <a:gd name="T3" fmla="*/ 1 h 2"/>
                  <a:gd name="T4" fmla="*/ 6 w 7"/>
                  <a:gd name="T5" fmla="*/ 2 h 2"/>
                  <a:gd name="T6" fmla="*/ 7 w 7"/>
                  <a:gd name="T7" fmla="*/ 2 h 2"/>
                  <a:gd name="T8" fmla="*/ 3 w 7"/>
                  <a:gd name="T9" fmla="*/ 0 h 2"/>
                </a:gdLst>
                <a:ahLst/>
                <a:cxnLst>
                  <a:cxn ang="0">
                    <a:pos x="T0" y="T1"/>
                  </a:cxn>
                  <a:cxn ang="0">
                    <a:pos x="T2" y="T3"/>
                  </a:cxn>
                  <a:cxn ang="0">
                    <a:pos x="T4" y="T5"/>
                  </a:cxn>
                  <a:cxn ang="0">
                    <a:pos x="T6" y="T7"/>
                  </a:cxn>
                  <a:cxn ang="0">
                    <a:pos x="T8" y="T9"/>
                  </a:cxn>
                </a:cxnLst>
                <a:rect l="0" t="0" r="r" b="b"/>
                <a:pathLst>
                  <a:path w="7" h="2">
                    <a:moveTo>
                      <a:pt x="3" y="0"/>
                    </a:moveTo>
                    <a:cubicBezTo>
                      <a:pt x="2" y="0"/>
                      <a:pt x="1" y="1"/>
                      <a:pt x="0" y="1"/>
                    </a:cubicBezTo>
                    <a:cubicBezTo>
                      <a:pt x="2" y="2"/>
                      <a:pt x="4" y="2"/>
                      <a:pt x="6" y="2"/>
                    </a:cubicBezTo>
                    <a:cubicBezTo>
                      <a:pt x="6" y="2"/>
                      <a:pt x="6" y="2"/>
                      <a:pt x="7" y="2"/>
                    </a:cubicBezTo>
                    <a:cubicBezTo>
                      <a:pt x="6" y="1"/>
                      <a:pt x="5"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6" name="Freeform 1328">
                <a:extLst>
                  <a:ext uri="{FF2B5EF4-FFF2-40B4-BE49-F238E27FC236}">
                    <a16:creationId xmlns:a16="http://schemas.microsoft.com/office/drawing/2014/main" id="{B72BA81D-B6E4-44CE-904D-DE22A25439A9}"/>
                  </a:ext>
                </a:extLst>
              </p:cNvPr>
              <p:cNvSpPr>
                <a:spLocks/>
              </p:cNvSpPr>
              <p:nvPr/>
            </p:nvSpPr>
            <p:spPr bwMode="auto">
              <a:xfrm>
                <a:off x="545" y="1211"/>
                <a:ext cx="16" cy="23"/>
              </a:xfrm>
              <a:custGeom>
                <a:avLst/>
                <a:gdLst>
                  <a:gd name="T0" fmla="*/ 0 w 7"/>
                  <a:gd name="T1" fmla="*/ 0 h 10"/>
                  <a:gd name="T2" fmla="*/ 1 w 7"/>
                  <a:gd name="T3" fmla="*/ 10 h 10"/>
                  <a:gd name="T4" fmla="*/ 1 w 7"/>
                  <a:gd name="T5" fmla="*/ 10 h 10"/>
                  <a:gd name="T6" fmla="*/ 5 w 7"/>
                  <a:gd name="T7" fmla="*/ 5 h 10"/>
                  <a:gd name="T8" fmla="*/ 0 w 7"/>
                  <a:gd name="T9" fmla="*/ 0 h 10"/>
                </a:gdLst>
                <a:ahLst/>
                <a:cxnLst>
                  <a:cxn ang="0">
                    <a:pos x="T0" y="T1"/>
                  </a:cxn>
                  <a:cxn ang="0">
                    <a:pos x="T2" y="T3"/>
                  </a:cxn>
                  <a:cxn ang="0">
                    <a:pos x="T4" y="T5"/>
                  </a:cxn>
                  <a:cxn ang="0">
                    <a:pos x="T6" y="T7"/>
                  </a:cxn>
                  <a:cxn ang="0">
                    <a:pos x="T8" y="T9"/>
                  </a:cxn>
                </a:cxnLst>
                <a:rect l="0" t="0" r="r" b="b"/>
                <a:pathLst>
                  <a:path w="7" h="10">
                    <a:moveTo>
                      <a:pt x="0" y="0"/>
                    </a:moveTo>
                    <a:cubicBezTo>
                      <a:pt x="0" y="3"/>
                      <a:pt x="0" y="7"/>
                      <a:pt x="1" y="10"/>
                    </a:cubicBezTo>
                    <a:cubicBezTo>
                      <a:pt x="1" y="10"/>
                      <a:pt x="1" y="10"/>
                      <a:pt x="1" y="10"/>
                    </a:cubicBezTo>
                    <a:cubicBezTo>
                      <a:pt x="4" y="10"/>
                      <a:pt x="7" y="8"/>
                      <a:pt x="5" y="5"/>
                    </a:cubicBezTo>
                    <a:cubicBezTo>
                      <a:pt x="4"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7" name="Freeform 1329">
                <a:extLst>
                  <a:ext uri="{FF2B5EF4-FFF2-40B4-BE49-F238E27FC236}">
                    <a16:creationId xmlns:a16="http://schemas.microsoft.com/office/drawing/2014/main" id="{FF72561B-531C-41BD-8862-EA5A613470B5}"/>
                  </a:ext>
                </a:extLst>
              </p:cNvPr>
              <p:cNvSpPr>
                <a:spLocks/>
              </p:cNvSpPr>
              <p:nvPr/>
            </p:nvSpPr>
            <p:spPr bwMode="auto">
              <a:xfrm>
                <a:off x="427" y="1057"/>
                <a:ext cx="16" cy="19"/>
              </a:xfrm>
              <a:custGeom>
                <a:avLst/>
                <a:gdLst>
                  <a:gd name="T0" fmla="*/ 5 w 7"/>
                  <a:gd name="T1" fmla="*/ 0 h 8"/>
                  <a:gd name="T2" fmla="*/ 3 w 7"/>
                  <a:gd name="T3" fmla="*/ 4 h 8"/>
                  <a:gd name="T4" fmla="*/ 0 w 7"/>
                  <a:gd name="T5" fmla="*/ 8 h 8"/>
                  <a:gd name="T6" fmla="*/ 2 w 7"/>
                  <a:gd name="T7" fmla="*/ 8 h 8"/>
                  <a:gd name="T8" fmla="*/ 7 w 7"/>
                  <a:gd name="T9" fmla="*/ 6 h 8"/>
                  <a:gd name="T10" fmla="*/ 5 w 7"/>
                  <a:gd name="T11" fmla="*/ 0 h 8"/>
                </a:gdLst>
                <a:ahLst/>
                <a:cxnLst>
                  <a:cxn ang="0">
                    <a:pos x="T0" y="T1"/>
                  </a:cxn>
                  <a:cxn ang="0">
                    <a:pos x="T2" y="T3"/>
                  </a:cxn>
                  <a:cxn ang="0">
                    <a:pos x="T4" y="T5"/>
                  </a:cxn>
                  <a:cxn ang="0">
                    <a:pos x="T6" y="T7"/>
                  </a:cxn>
                  <a:cxn ang="0">
                    <a:pos x="T8" y="T9"/>
                  </a:cxn>
                  <a:cxn ang="0">
                    <a:pos x="T10" y="T11"/>
                  </a:cxn>
                </a:cxnLst>
                <a:rect l="0" t="0" r="r" b="b"/>
                <a:pathLst>
                  <a:path w="7" h="8">
                    <a:moveTo>
                      <a:pt x="5" y="0"/>
                    </a:moveTo>
                    <a:cubicBezTo>
                      <a:pt x="4" y="0"/>
                      <a:pt x="3" y="1"/>
                      <a:pt x="3" y="4"/>
                    </a:cubicBezTo>
                    <a:cubicBezTo>
                      <a:pt x="2" y="6"/>
                      <a:pt x="3" y="8"/>
                      <a:pt x="0" y="8"/>
                    </a:cubicBezTo>
                    <a:cubicBezTo>
                      <a:pt x="1" y="8"/>
                      <a:pt x="2" y="8"/>
                      <a:pt x="2" y="8"/>
                    </a:cubicBezTo>
                    <a:cubicBezTo>
                      <a:pt x="4" y="8"/>
                      <a:pt x="5" y="8"/>
                      <a:pt x="7" y="6"/>
                    </a:cubicBezTo>
                    <a:cubicBezTo>
                      <a:pt x="7" y="4"/>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8" name="Freeform 1330">
                <a:extLst>
                  <a:ext uri="{FF2B5EF4-FFF2-40B4-BE49-F238E27FC236}">
                    <a16:creationId xmlns:a16="http://schemas.microsoft.com/office/drawing/2014/main" id="{44256BCC-5D01-42E5-9057-E9F50AF78396}"/>
                  </a:ext>
                </a:extLst>
              </p:cNvPr>
              <p:cNvSpPr>
                <a:spLocks/>
              </p:cNvSpPr>
              <p:nvPr/>
            </p:nvSpPr>
            <p:spPr bwMode="auto">
              <a:xfrm>
                <a:off x="2315" y="1175"/>
                <a:ext cx="16" cy="36"/>
              </a:xfrm>
              <a:custGeom>
                <a:avLst/>
                <a:gdLst>
                  <a:gd name="T0" fmla="*/ 5 w 7"/>
                  <a:gd name="T1" fmla="*/ 0 h 15"/>
                  <a:gd name="T2" fmla="*/ 4 w 7"/>
                  <a:gd name="T3" fmla="*/ 8 h 15"/>
                  <a:gd name="T4" fmla="*/ 7 w 7"/>
                  <a:gd name="T5" fmla="*/ 15 h 15"/>
                  <a:gd name="T6" fmla="*/ 5 w 7"/>
                  <a:gd name="T7" fmla="*/ 0 h 15"/>
                </a:gdLst>
                <a:ahLst/>
                <a:cxnLst>
                  <a:cxn ang="0">
                    <a:pos x="T0" y="T1"/>
                  </a:cxn>
                  <a:cxn ang="0">
                    <a:pos x="T2" y="T3"/>
                  </a:cxn>
                  <a:cxn ang="0">
                    <a:pos x="T4" y="T5"/>
                  </a:cxn>
                  <a:cxn ang="0">
                    <a:pos x="T6" y="T7"/>
                  </a:cxn>
                </a:cxnLst>
                <a:rect l="0" t="0" r="r" b="b"/>
                <a:pathLst>
                  <a:path w="7" h="15">
                    <a:moveTo>
                      <a:pt x="5" y="0"/>
                    </a:moveTo>
                    <a:cubicBezTo>
                      <a:pt x="0" y="2"/>
                      <a:pt x="3" y="5"/>
                      <a:pt x="4" y="8"/>
                    </a:cubicBezTo>
                    <a:cubicBezTo>
                      <a:pt x="5" y="11"/>
                      <a:pt x="5" y="14"/>
                      <a:pt x="7" y="15"/>
                    </a:cubicBezTo>
                    <a:cubicBezTo>
                      <a:pt x="7" y="10"/>
                      <a:pt x="6" y="5"/>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9" name="Freeform 1331">
                <a:extLst>
                  <a:ext uri="{FF2B5EF4-FFF2-40B4-BE49-F238E27FC236}">
                    <a16:creationId xmlns:a16="http://schemas.microsoft.com/office/drawing/2014/main" id="{94E7F21F-72A7-4D3A-A84A-44F9B1249E12}"/>
                  </a:ext>
                </a:extLst>
              </p:cNvPr>
              <p:cNvSpPr>
                <a:spLocks/>
              </p:cNvSpPr>
              <p:nvPr/>
            </p:nvSpPr>
            <p:spPr bwMode="auto">
              <a:xfrm>
                <a:off x="346" y="887"/>
                <a:ext cx="17" cy="12"/>
              </a:xfrm>
              <a:custGeom>
                <a:avLst/>
                <a:gdLst>
                  <a:gd name="T0" fmla="*/ 2 w 7"/>
                  <a:gd name="T1" fmla="*/ 0 h 5"/>
                  <a:gd name="T2" fmla="*/ 0 w 7"/>
                  <a:gd name="T3" fmla="*/ 0 h 5"/>
                  <a:gd name="T4" fmla="*/ 7 w 7"/>
                  <a:gd name="T5" fmla="*/ 5 h 5"/>
                  <a:gd name="T6" fmla="*/ 2 w 7"/>
                  <a:gd name="T7" fmla="*/ 0 h 5"/>
                </a:gdLst>
                <a:ahLst/>
                <a:cxnLst>
                  <a:cxn ang="0">
                    <a:pos x="T0" y="T1"/>
                  </a:cxn>
                  <a:cxn ang="0">
                    <a:pos x="T2" y="T3"/>
                  </a:cxn>
                  <a:cxn ang="0">
                    <a:pos x="T4" y="T5"/>
                  </a:cxn>
                  <a:cxn ang="0">
                    <a:pos x="T6" y="T7"/>
                  </a:cxn>
                </a:cxnLst>
                <a:rect l="0" t="0" r="r" b="b"/>
                <a:pathLst>
                  <a:path w="7" h="5">
                    <a:moveTo>
                      <a:pt x="2" y="0"/>
                    </a:moveTo>
                    <a:cubicBezTo>
                      <a:pt x="2" y="0"/>
                      <a:pt x="1" y="0"/>
                      <a:pt x="0" y="0"/>
                    </a:cubicBezTo>
                    <a:cubicBezTo>
                      <a:pt x="2" y="2"/>
                      <a:pt x="5" y="3"/>
                      <a:pt x="7" y="5"/>
                    </a:cubicBezTo>
                    <a:cubicBezTo>
                      <a:pt x="7" y="1"/>
                      <a:pt x="5"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0" name="Freeform 1332">
                <a:extLst>
                  <a:ext uri="{FF2B5EF4-FFF2-40B4-BE49-F238E27FC236}">
                    <a16:creationId xmlns:a16="http://schemas.microsoft.com/office/drawing/2014/main" id="{F9CE6B89-8211-4DBF-A074-C9CD04C19AE8}"/>
                  </a:ext>
                </a:extLst>
              </p:cNvPr>
              <p:cNvSpPr>
                <a:spLocks/>
              </p:cNvSpPr>
              <p:nvPr/>
            </p:nvSpPr>
            <p:spPr bwMode="auto">
              <a:xfrm>
                <a:off x="2154" y="1142"/>
                <a:ext cx="7" cy="17"/>
              </a:xfrm>
              <a:custGeom>
                <a:avLst/>
                <a:gdLst>
                  <a:gd name="T0" fmla="*/ 2 w 3"/>
                  <a:gd name="T1" fmla="*/ 0 h 7"/>
                  <a:gd name="T2" fmla="*/ 1 w 3"/>
                  <a:gd name="T3" fmla="*/ 6 h 7"/>
                  <a:gd name="T4" fmla="*/ 2 w 3"/>
                  <a:gd name="T5" fmla="*/ 7 h 7"/>
                  <a:gd name="T6" fmla="*/ 2 w 3"/>
                  <a:gd name="T7" fmla="*/ 0 h 7"/>
                </a:gdLst>
                <a:ahLst/>
                <a:cxnLst>
                  <a:cxn ang="0">
                    <a:pos x="T0" y="T1"/>
                  </a:cxn>
                  <a:cxn ang="0">
                    <a:pos x="T2" y="T3"/>
                  </a:cxn>
                  <a:cxn ang="0">
                    <a:pos x="T4" y="T5"/>
                  </a:cxn>
                  <a:cxn ang="0">
                    <a:pos x="T6" y="T7"/>
                  </a:cxn>
                </a:cxnLst>
                <a:rect l="0" t="0" r="r" b="b"/>
                <a:pathLst>
                  <a:path w="3" h="7">
                    <a:moveTo>
                      <a:pt x="2" y="0"/>
                    </a:moveTo>
                    <a:cubicBezTo>
                      <a:pt x="1" y="1"/>
                      <a:pt x="0" y="4"/>
                      <a:pt x="1" y="6"/>
                    </a:cubicBezTo>
                    <a:cubicBezTo>
                      <a:pt x="1" y="7"/>
                      <a:pt x="2" y="7"/>
                      <a:pt x="2" y="7"/>
                    </a:cubicBezTo>
                    <a:cubicBezTo>
                      <a:pt x="3" y="7"/>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1" name="Freeform 1333">
                <a:extLst>
                  <a:ext uri="{FF2B5EF4-FFF2-40B4-BE49-F238E27FC236}">
                    <a16:creationId xmlns:a16="http://schemas.microsoft.com/office/drawing/2014/main" id="{31BB803E-A344-4266-ADCB-ECCAAA6BD5F2}"/>
                  </a:ext>
                </a:extLst>
              </p:cNvPr>
              <p:cNvSpPr>
                <a:spLocks/>
              </p:cNvSpPr>
              <p:nvPr/>
            </p:nvSpPr>
            <p:spPr bwMode="auto">
              <a:xfrm>
                <a:off x="2119" y="1312"/>
                <a:ext cx="21" cy="19"/>
              </a:xfrm>
              <a:custGeom>
                <a:avLst/>
                <a:gdLst>
                  <a:gd name="T0" fmla="*/ 3 w 9"/>
                  <a:gd name="T1" fmla="*/ 0 h 8"/>
                  <a:gd name="T2" fmla="*/ 3 w 9"/>
                  <a:gd name="T3" fmla="*/ 7 h 8"/>
                  <a:gd name="T4" fmla="*/ 5 w 9"/>
                  <a:gd name="T5" fmla="*/ 8 h 8"/>
                  <a:gd name="T6" fmla="*/ 8 w 9"/>
                  <a:gd name="T7" fmla="*/ 5 h 8"/>
                  <a:gd name="T8" fmla="*/ 3 w 9"/>
                  <a:gd name="T9" fmla="*/ 0 h 8"/>
                </a:gdLst>
                <a:ahLst/>
                <a:cxnLst>
                  <a:cxn ang="0">
                    <a:pos x="T0" y="T1"/>
                  </a:cxn>
                  <a:cxn ang="0">
                    <a:pos x="T2" y="T3"/>
                  </a:cxn>
                  <a:cxn ang="0">
                    <a:pos x="T4" y="T5"/>
                  </a:cxn>
                  <a:cxn ang="0">
                    <a:pos x="T6" y="T7"/>
                  </a:cxn>
                  <a:cxn ang="0">
                    <a:pos x="T8" y="T9"/>
                  </a:cxn>
                </a:cxnLst>
                <a:rect l="0" t="0" r="r" b="b"/>
                <a:pathLst>
                  <a:path w="9" h="8">
                    <a:moveTo>
                      <a:pt x="3" y="0"/>
                    </a:moveTo>
                    <a:cubicBezTo>
                      <a:pt x="0" y="2"/>
                      <a:pt x="0" y="6"/>
                      <a:pt x="3" y="7"/>
                    </a:cubicBezTo>
                    <a:cubicBezTo>
                      <a:pt x="4" y="8"/>
                      <a:pt x="4" y="8"/>
                      <a:pt x="5" y="8"/>
                    </a:cubicBezTo>
                    <a:cubicBezTo>
                      <a:pt x="7" y="8"/>
                      <a:pt x="8" y="7"/>
                      <a:pt x="8" y="5"/>
                    </a:cubicBezTo>
                    <a:cubicBezTo>
                      <a:pt x="9" y="2"/>
                      <a:pt x="7"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2" name="Freeform 1334">
                <a:extLst>
                  <a:ext uri="{FF2B5EF4-FFF2-40B4-BE49-F238E27FC236}">
                    <a16:creationId xmlns:a16="http://schemas.microsoft.com/office/drawing/2014/main" id="{9CC626F6-9679-4B63-B9C6-A9AB4DA75FE4}"/>
                  </a:ext>
                </a:extLst>
              </p:cNvPr>
              <p:cNvSpPr>
                <a:spLocks/>
              </p:cNvSpPr>
              <p:nvPr/>
            </p:nvSpPr>
            <p:spPr bwMode="auto">
              <a:xfrm>
                <a:off x="1873" y="1619"/>
                <a:ext cx="16" cy="22"/>
              </a:xfrm>
              <a:custGeom>
                <a:avLst/>
                <a:gdLst>
                  <a:gd name="T0" fmla="*/ 3 w 7"/>
                  <a:gd name="T1" fmla="*/ 0 h 9"/>
                  <a:gd name="T2" fmla="*/ 1 w 7"/>
                  <a:gd name="T3" fmla="*/ 7 h 9"/>
                  <a:gd name="T4" fmla="*/ 2 w 7"/>
                  <a:gd name="T5" fmla="*/ 9 h 9"/>
                  <a:gd name="T6" fmla="*/ 4 w 7"/>
                  <a:gd name="T7" fmla="*/ 8 h 9"/>
                  <a:gd name="T8" fmla="*/ 3 w 7"/>
                  <a:gd name="T9" fmla="*/ 0 h 9"/>
                </a:gdLst>
                <a:ahLst/>
                <a:cxnLst>
                  <a:cxn ang="0">
                    <a:pos x="T0" y="T1"/>
                  </a:cxn>
                  <a:cxn ang="0">
                    <a:pos x="T2" y="T3"/>
                  </a:cxn>
                  <a:cxn ang="0">
                    <a:pos x="T4" y="T5"/>
                  </a:cxn>
                  <a:cxn ang="0">
                    <a:pos x="T6" y="T7"/>
                  </a:cxn>
                  <a:cxn ang="0">
                    <a:pos x="T8" y="T9"/>
                  </a:cxn>
                </a:cxnLst>
                <a:rect l="0" t="0" r="r" b="b"/>
                <a:pathLst>
                  <a:path w="7" h="9">
                    <a:moveTo>
                      <a:pt x="3" y="0"/>
                    </a:moveTo>
                    <a:cubicBezTo>
                      <a:pt x="2" y="4"/>
                      <a:pt x="0" y="4"/>
                      <a:pt x="1" y="7"/>
                    </a:cubicBezTo>
                    <a:cubicBezTo>
                      <a:pt x="1" y="8"/>
                      <a:pt x="1" y="9"/>
                      <a:pt x="2" y="9"/>
                    </a:cubicBezTo>
                    <a:cubicBezTo>
                      <a:pt x="2" y="9"/>
                      <a:pt x="3" y="9"/>
                      <a:pt x="4" y="8"/>
                    </a:cubicBezTo>
                    <a:cubicBezTo>
                      <a:pt x="7" y="4"/>
                      <a:pt x="7" y="4"/>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sp>
          <p:nvSpPr>
            <p:cNvPr id="7" name="Freeform 1336">
              <a:extLst>
                <a:ext uri="{FF2B5EF4-FFF2-40B4-BE49-F238E27FC236}">
                  <a16:creationId xmlns:a16="http://schemas.microsoft.com/office/drawing/2014/main" id="{65C5A6A4-A269-4833-B8AC-B8C30E732B02}"/>
                </a:ext>
              </a:extLst>
            </p:cNvPr>
            <p:cNvSpPr>
              <a:spLocks/>
            </p:cNvSpPr>
            <p:nvPr/>
          </p:nvSpPr>
          <p:spPr bwMode="auto">
            <a:xfrm>
              <a:off x="3187" y="1601"/>
              <a:ext cx="31" cy="16"/>
            </a:xfrm>
            <a:custGeom>
              <a:avLst/>
              <a:gdLst>
                <a:gd name="T0" fmla="*/ 9 w 13"/>
                <a:gd name="T1" fmla="*/ 0 h 7"/>
                <a:gd name="T2" fmla="*/ 1 w 13"/>
                <a:gd name="T3" fmla="*/ 5 h 7"/>
                <a:gd name="T4" fmla="*/ 8 w 13"/>
                <a:gd name="T5" fmla="*/ 7 h 7"/>
                <a:gd name="T6" fmla="*/ 8 w 13"/>
                <a:gd name="T7" fmla="*/ 7 h 7"/>
                <a:gd name="T8" fmla="*/ 9 w 13"/>
                <a:gd name="T9" fmla="*/ 0 h 7"/>
              </a:gdLst>
              <a:ahLst/>
              <a:cxnLst>
                <a:cxn ang="0">
                  <a:pos x="T0" y="T1"/>
                </a:cxn>
                <a:cxn ang="0">
                  <a:pos x="T2" y="T3"/>
                </a:cxn>
                <a:cxn ang="0">
                  <a:pos x="T4" y="T5"/>
                </a:cxn>
                <a:cxn ang="0">
                  <a:pos x="T6" y="T7"/>
                </a:cxn>
                <a:cxn ang="0">
                  <a:pos x="T8" y="T9"/>
                </a:cxn>
              </a:cxnLst>
              <a:rect l="0" t="0" r="r" b="b"/>
              <a:pathLst>
                <a:path w="13" h="7">
                  <a:moveTo>
                    <a:pt x="9" y="0"/>
                  </a:moveTo>
                  <a:cubicBezTo>
                    <a:pt x="8" y="0"/>
                    <a:pt x="0" y="3"/>
                    <a:pt x="1" y="5"/>
                  </a:cubicBezTo>
                  <a:cubicBezTo>
                    <a:pt x="1" y="6"/>
                    <a:pt x="6" y="7"/>
                    <a:pt x="8" y="7"/>
                  </a:cubicBezTo>
                  <a:cubicBezTo>
                    <a:pt x="8" y="7"/>
                    <a:pt x="8" y="7"/>
                    <a:pt x="8" y="7"/>
                  </a:cubicBezTo>
                  <a:cubicBezTo>
                    <a:pt x="13" y="7"/>
                    <a:pt x="11" y="5"/>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 name="Freeform 1337">
              <a:extLst>
                <a:ext uri="{FF2B5EF4-FFF2-40B4-BE49-F238E27FC236}">
                  <a16:creationId xmlns:a16="http://schemas.microsoft.com/office/drawing/2014/main" id="{6E2CC3F0-E0D4-420F-AF62-9204CEA73BCB}"/>
                </a:ext>
              </a:extLst>
            </p:cNvPr>
            <p:cNvSpPr>
              <a:spLocks/>
            </p:cNvSpPr>
            <p:nvPr/>
          </p:nvSpPr>
          <p:spPr bwMode="auto">
            <a:xfrm>
              <a:off x="3000" y="1090"/>
              <a:ext cx="40" cy="33"/>
            </a:xfrm>
            <a:custGeom>
              <a:avLst/>
              <a:gdLst>
                <a:gd name="T0" fmla="*/ 1 w 17"/>
                <a:gd name="T1" fmla="*/ 0 h 14"/>
                <a:gd name="T2" fmla="*/ 0 w 17"/>
                <a:gd name="T3" fmla="*/ 0 h 14"/>
                <a:gd name="T4" fmla="*/ 3 w 17"/>
                <a:gd name="T5" fmla="*/ 14 h 14"/>
                <a:gd name="T6" fmla="*/ 5 w 17"/>
                <a:gd name="T7" fmla="*/ 13 h 14"/>
                <a:gd name="T8" fmla="*/ 7 w 17"/>
                <a:gd name="T9" fmla="*/ 14 h 14"/>
                <a:gd name="T10" fmla="*/ 8 w 17"/>
                <a:gd name="T11" fmla="*/ 14 h 14"/>
                <a:gd name="T12" fmla="*/ 8 w 17"/>
                <a:gd name="T13" fmla="*/ 14 h 14"/>
                <a:gd name="T14" fmla="*/ 10 w 17"/>
                <a:gd name="T15" fmla="*/ 14 h 14"/>
                <a:gd name="T16" fmla="*/ 17 w 17"/>
                <a:gd name="T17" fmla="*/ 11 h 14"/>
                <a:gd name="T18" fmla="*/ 17 w 17"/>
                <a:gd name="T19" fmla="*/ 11 h 14"/>
                <a:gd name="T20" fmla="*/ 15 w 17"/>
                <a:gd name="T21" fmla="*/ 10 h 14"/>
                <a:gd name="T22" fmla="*/ 12 w 17"/>
                <a:gd name="T23" fmla="*/ 10 h 14"/>
                <a:gd name="T24" fmla="*/ 8 w 17"/>
                <a:gd name="T25" fmla="*/ 5 h 14"/>
                <a:gd name="T26" fmla="*/ 1 w 17"/>
                <a:gd name="T2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4">
                  <a:moveTo>
                    <a:pt x="1" y="0"/>
                  </a:moveTo>
                  <a:cubicBezTo>
                    <a:pt x="0" y="0"/>
                    <a:pt x="0" y="0"/>
                    <a:pt x="0" y="0"/>
                  </a:cubicBezTo>
                  <a:cubicBezTo>
                    <a:pt x="0" y="3"/>
                    <a:pt x="1" y="12"/>
                    <a:pt x="3" y="14"/>
                  </a:cubicBezTo>
                  <a:cubicBezTo>
                    <a:pt x="3" y="14"/>
                    <a:pt x="4" y="13"/>
                    <a:pt x="5" y="13"/>
                  </a:cubicBezTo>
                  <a:cubicBezTo>
                    <a:pt x="5" y="13"/>
                    <a:pt x="6" y="14"/>
                    <a:pt x="7" y="14"/>
                  </a:cubicBezTo>
                  <a:cubicBezTo>
                    <a:pt x="7" y="14"/>
                    <a:pt x="8" y="14"/>
                    <a:pt x="8" y="14"/>
                  </a:cubicBezTo>
                  <a:cubicBezTo>
                    <a:pt x="8" y="14"/>
                    <a:pt x="8" y="14"/>
                    <a:pt x="8" y="14"/>
                  </a:cubicBezTo>
                  <a:cubicBezTo>
                    <a:pt x="9" y="14"/>
                    <a:pt x="9" y="14"/>
                    <a:pt x="10" y="14"/>
                  </a:cubicBezTo>
                  <a:cubicBezTo>
                    <a:pt x="13" y="14"/>
                    <a:pt x="15" y="13"/>
                    <a:pt x="17" y="11"/>
                  </a:cubicBezTo>
                  <a:cubicBezTo>
                    <a:pt x="17" y="11"/>
                    <a:pt x="17" y="11"/>
                    <a:pt x="17" y="11"/>
                  </a:cubicBezTo>
                  <a:cubicBezTo>
                    <a:pt x="16" y="11"/>
                    <a:pt x="15" y="10"/>
                    <a:pt x="15" y="10"/>
                  </a:cubicBezTo>
                  <a:cubicBezTo>
                    <a:pt x="12" y="10"/>
                    <a:pt x="12" y="10"/>
                    <a:pt x="12" y="10"/>
                  </a:cubicBezTo>
                  <a:cubicBezTo>
                    <a:pt x="10" y="9"/>
                    <a:pt x="10" y="6"/>
                    <a:pt x="8" y="5"/>
                  </a:cubicBezTo>
                  <a:cubicBezTo>
                    <a:pt x="8" y="3"/>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 name="Freeform 1338">
              <a:extLst>
                <a:ext uri="{FF2B5EF4-FFF2-40B4-BE49-F238E27FC236}">
                  <a16:creationId xmlns:a16="http://schemas.microsoft.com/office/drawing/2014/main" id="{34BEE657-31BB-446E-BFD6-55EE4DBB0DFD}"/>
                </a:ext>
              </a:extLst>
            </p:cNvPr>
            <p:cNvSpPr>
              <a:spLocks/>
            </p:cNvSpPr>
            <p:nvPr/>
          </p:nvSpPr>
          <p:spPr bwMode="auto">
            <a:xfrm>
              <a:off x="2213" y="1598"/>
              <a:ext cx="59" cy="24"/>
            </a:xfrm>
            <a:custGeom>
              <a:avLst/>
              <a:gdLst>
                <a:gd name="T0" fmla="*/ 14 w 25"/>
                <a:gd name="T1" fmla="*/ 0 h 10"/>
                <a:gd name="T2" fmla="*/ 9 w 25"/>
                <a:gd name="T3" fmla="*/ 0 h 10"/>
                <a:gd name="T4" fmla="*/ 5 w 25"/>
                <a:gd name="T5" fmla="*/ 0 h 10"/>
                <a:gd name="T6" fmla="*/ 5 w 25"/>
                <a:gd name="T7" fmla="*/ 0 h 10"/>
                <a:gd name="T8" fmla="*/ 3 w 25"/>
                <a:gd name="T9" fmla="*/ 4 h 10"/>
                <a:gd name="T10" fmla="*/ 6 w 25"/>
                <a:gd name="T11" fmla="*/ 3 h 10"/>
                <a:gd name="T12" fmla="*/ 2 w 25"/>
                <a:gd name="T13" fmla="*/ 6 h 10"/>
                <a:gd name="T14" fmla="*/ 4 w 25"/>
                <a:gd name="T15" fmla="*/ 10 h 10"/>
                <a:gd name="T16" fmla="*/ 6 w 25"/>
                <a:gd name="T17" fmla="*/ 9 h 10"/>
                <a:gd name="T18" fmla="*/ 14 w 25"/>
                <a:gd name="T19" fmla="*/ 8 h 10"/>
                <a:gd name="T20" fmla="*/ 22 w 25"/>
                <a:gd name="T21" fmla="*/ 7 h 10"/>
                <a:gd name="T22" fmla="*/ 23 w 25"/>
                <a:gd name="T23" fmla="*/ 2 h 10"/>
                <a:gd name="T24" fmla="*/ 14 w 25"/>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10">
                  <a:moveTo>
                    <a:pt x="14" y="0"/>
                  </a:moveTo>
                  <a:cubicBezTo>
                    <a:pt x="13" y="0"/>
                    <a:pt x="11" y="0"/>
                    <a:pt x="9" y="0"/>
                  </a:cubicBezTo>
                  <a:cubicBezTo>
                    <a:pt x="8" y="0"/>
                    <a:pt x="6" y="0"/>
                    <a:pt x="5" y="0"/>
                  </a:cubicBezTo>
                  <a:cubicBezTo>
                    <a:pt x="5" y="0"/>
                    <a:pt x="5" y="0"/>
                    <a:pt x="5" y="0"/>
                  </a:cubicBezTo>
                  <a:cubicBezTo>
                    <a:pt x="2" y="2"/>
                    <a:pt x="2" y="4"/>
                    <a:pt x="3" y="4"/>
                  </a:cubicBezTo>
                  <a:cubicBezTo>
                    <a:pt x="4" y="4"/>
                    <a:pt x="5" y="4"/>
                    <a:pt x="6" y="3"/>
                  </a:cubicBezTo>
                  <a:cubicBezTo>
                    <a:pt x="5" y="4"/>
                    <a:pt x="3" y="5"/>
                    <a:pt x="2" y="6"/>
                  </a:cubicBezTo>
                  <a:cubicBezTo>
                    <a:pt x="0" y="9"/>
                    <a:pt x="1" y="10"/>
                    <a:pt x="4" y="10"/>
                  </a:cubicBezTo>
                  <a:cubicBezTo>
                    <a:pt x="4" y="10"/>
                    <a:pt x="5" y="9"/>
                    <a:pt x="6" y="9"/>
                  </a:cubicBezTo>
                  <a:cubicBezTo>
                    <a:pt x="9" y="9"/>
                    <a:pt x="11" y="9"/>
                    <a:pt x="14" y="8"/>
                  </a:cubicBezTo>
                  <a:cubicBezTo>
                    <a:pt x="16" y="8"/>
                    <a:pt x="21" y="8"/>
                    <a:pt x="22" y="7"/>
                  </a:cubicBezTo>
                  <a:cubicBezTo>
                    <a:pt x="24" y="6"/>
                    <a:pt x="25" y="4"/>
                    <a:pt x="23" y="2"/>
                  </a:cubicBezTo>
                  <a:cubicBezTo>
                    <a:pt x="22" y="0"/>
                    <a:pt x="18"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 name="Freeform 1339">
              <a:extLst>
                <a:ext uri="{FF2B5EF4-FFF2-40B4-BE49-F238E27FC236}">
                  <a16:creationId xmlns:a16="http://schemas.microsoft.com/office/drawing/2014/main" id="{9D1B5A3B-27A9-47E6-BB43-D71DC2FFEC36}"/>
                </a:ext>
              </a:extLst>
            </p:cNvPr>
            <p:cNvSpPr>
              <a:spLocks/>
            </p:cNvSpPr>
            <p:nvPr/>
          </p:nvSpPr>
          <p:spPr bwMode="auto">
            <a:xfrm>
              <a:off x="2648" y="1102"/>
              <a:ext cx="28" cy="28"/>
            </a:xfrm>
            <a:custGeom>
              <a:avLst/>
              <a:gdLst>
                <a:gd name="T0" fmla="*/ 7 w 12"/>
                <a:gd name="T1" fmla="*/ 0 h 12"/>
                <a:gd name="T2" fmla="*/ 6 w 12"/>
                <a:gd name="T3" fmla="*/ 0 h 12"/>
                <a:gd name="T4" fmla="*/ 2 w 12"/>
                <a:gd name="T5" fmla="*/ 6 h 12"/>
                <a:gd name="T6" fmla="*/ 6 w 12"/>
                <a:gd name="T7" fmla="*/ 12 h 12"/>
                <a:gd name="T8" fmla="*/ 6 w 12"/>
                <a:gd name="T9" fmla="*/ 12 h 12"/>
                <a:gd name="T10" fmla="*/ 12 w 12"/>
                <a:gd name="T11" fmla="*/ 3 h 12"/>
                <a:gd name="T12" fmla="*/ 7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7" y="0"/>
                  </a:moveTo>
                  <a:cubicBezTo>
                    <a:pt x="7" y="0"/>
                    <a:pt x="6" y="0"/>
                    <a:pt x="6" y="0"/>
                  </a:cubicBezTo>
                  <a:cubicBezTo>
                    <a:pt x="1" y="0"/>
                    <a:pt x="0" y="2"/>
                    <a:pt x="2" y="6"/>
                  </a:cubicBezTo>
                  <a:cubicBezTo>
                    <a:pt x="2" y="7"/>
                    <a:pt x="4" y="12"/>
                    <a:pt x="6" y="12"/>
                  </a:cubicBezTo>
                  <a:cubicBezTo>
                    <a:pt x="6" y="12"/>
                    <a:pt x="6" y="12"/>
                    <a:pt x="6" y="12"/>
                  </a:cubicBezTo>
                  <a:cubicBezTo>
                    <a:pt x="10" y="12"/>
                    <a:pt x="12" y="6"/>
                    <a:pt x="12" y="3"/>
                  </a:cubicBezTo>
                  <a:cubicBezTo>
                    <a:pt x="11" y="0"/>
                    <a:pt x="11"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 name="Freeform 1340">
              <a:extLst>
                <a:ext uri="{FF2B5EF4-FFF2-40B4-BE49-F238E27FC236}">
                  <a16:creationId xmlns:a16="http://schemas.microsoft.com/office/drawing/2014/main" id="{6152AE64-C3FA-4B71-ADBF-9F47C9037A9E}"/>
                </a:ext>
              </a:extLst>
            </p:cNvPr>
            <p:cNvSpPr>
              <a:spLocks/>
            </p:cNvSpPr>
            <p:nvPr/>
          </p:nvSpPr>
          <p:spPr bwMode="auto">
            <a:xfrm>
              <a:off x="2632" y="1095"/>
              <a:ext cx="18" cy="7"/>
            </a:xfrm>
            <a:custGeom>
              <a:avLst/>
              <a:gdLst>
                <a:gd name="T0" fmla="*/ 4 w 8"/>
                <a:gd name="T1" fmla="*/ 0 h 3"/>
                <a:gd name="T2" fmla="*/ 3 w 8"/>
                <a:gd name="T3" fmla="*/ 1 h 3"/>
                <a:gd name="T4" fmla="*/ 2 w 8"/>
                <a:gd name="T5" fmla="*/ 1 h 3"/>
                <a:gd name="T6" fmla="*/ 2 w 8"/>
                <a:gd name="T7" fmla="*/ 0 h 3"/>
                <a:gd name="T8" fmla="*/ 1 w 8"/>
                <a:gd name="T9" fmla="*/ 0 h 3"/>
                <a:gd name="T10" fmla="*/ 0 w 8"/>
                <a:gd name="T11" fmla="*/ 3 h 3"/>
                <a:gd name="T12" fmla="*/ 8 w 8"/>
                <a:gd name="T13" fmla="*/ 0 h 3"/>
                <a:gd name="T14" fmla="*/ 7 w 8"/>
                <a:gd name="T15" fmla="*/ 0 h 3"/>
                <a:gd name="T16" fmla="*/ 7 w 8"/>
                <a:gd name="T17" fmla="*/ 0 h 3"/>
                <a:gd name="T18" fmla="*/ 6 w 8"/>
                <a:gd name="T19" fmla="*/ 0 h 3"/>
                <a:gd name="T20" fmla="*/ 4 w 8"/>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3">
                  <a:moveTo>
                    <a:pt x="4" y="0"/>
                  </a:moveTo>
                  <a:cubicBezTo>
                    <a:pt x="4" y="1"/>
                    <a:pt x="4" y="1"/>
                    <a:pt x="3" y="1"/>
                  </a:cubicBezTo>
                  <a:cubicBezTo>
                    <a:pt x="3" y="1"/>
                    <a:pt x="3" y="1"/>
                    <a:pt x="2" y="1"/>
                  </a:cubicBezTo>
                  <a:cubicBezTo>
                    <a:pt x="2" y="0"/>
                    <a:pt x="2" y="0"/>
                    <a:pt x="2" y="0"/>
                  </a:cubicBezTo>
                  <a:cubicBezTo>
                    <a:pt x="2" y="0"/>
                    <a:pt x="1" y="0"/>
                    <a:pt x="1" y="0"/>
                  </a:cubicBezTo>
                  <a:cubicBezTo>
                    <a:pt x="1" y="1"/>
                    <a:pt x="1" y="2"/>
                    <a:pt x="0" y="3"/>
                  </a:cubicBezTo>
                  <a:cubicBezTo>
                    <a:pt x="3" y="2"/>
                    <a:pt x="5" y="1"/>
                    <a:pt x="8" y="0"/>
                  </a:cubicBezTo>
                  <a:cubicBezTo>
                    <a:pt x="8" y="0"/>
                    <a:pt x="8" y="0"/>
                    <a:pt x="7" y="0"/>
                  </a:cubicBezTo>
                  <a:cubicBezTo>
                    <a:pt x="7" y="0"/>
                    <a:pt x="7" y="0"/>
                    <a:pt x="7" y="0"/>
                  </a:cubicBezTo>
                  <a:cubicBezTo>
                    <a:pt x="6" y="0"/>
                    <a:pt x="6" y="0"/>
                    <a:pt x="6"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 name="Freeform 1341">
              <a:extLst>
                <a:ext uri="{FF2B5EF4-FFF2-40B4-BE49-F238E27FC236}">
                  <a16:creationId xmlns:a16="http://schemas.microsoft.com/office/drawing/2014/main" id="{BD65129E-65A0-4B91-B9E8-1EA2206C08A1}"/>
                </a:ext>
              </a:extLst>
            </p:cNvPr>
            <p:cNvSpPr>
              <a:spLocks/>
            </p:cNvSpPr>
            <p:nvPr/>
          </p:nvSpPr>
          <p:spPr bwMode="auto">
            <a:xfrm>
              <a:off x="850" y="1038"/>
              <a:ext cx="33" cy="24"/>
            </a:xfrm>
            <a:custGeom>
              <a:avLst/>
              <a:gdLst>
                <a:gd name="T0" fmla="*/ 2 w 14"/>
                <a:gd name="T1" fmla="*/ 0 h 10"/>
                <a:gd name="T2" fmla="*/ 0 w 14"/>
                <a:gd name="T3" fmla="*/ 7 h 10"/>
                <a:gd name="T4" fmla="*/ 4 w 14"/>
                <a:gd name="T5" fmla="*/ 8 h 10"/>
                <a:gd name="T6" fmla="*/ 4 w 14"/>
                <a:gd name="T7" fmla="*/ 8 h 10"/>
                <a:gd name="T8" fmla="*/ 8 w 14"/>
                <a:gd name="T9" fmla="*/ 7 h 10"/>
                <a:gd name="T10" fmla="*/ 8 w 14"/>
                <a:gd name="T11" fmla="*/ 7 h 10"/>
                <a:gd name="T12" fmla="*/ 14 w 14"/>
                <a:gd name="T13" fmla="*/ 10 h 10"/>
                <a:gd name="T14" fmla="*/ 2 w 1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0">
                  <a:moveTo>
                    <a:pt x="2" y="0"/>
                  </a:moveTo>
                  <a:cubicBezTo>
                    <a:pt x="2" y="3"/>
                    <a:pt x="0" y="5"/>
                    <a:pt x="0" y="7"/>
                  </a:cubicBezTo>
                  <a:cubicBezTo>
                    <a:pt x="0" y="8"/>
                    <a:pt x="3" y="8"/>
                    <a:pt x="4" y="8"/>
                  </a:cubicBezTo>
                  <a:cubicBezTo>
                    <a:pt x="4" y="8"/>
                    <a:pt x="4" y="8"/>
                    <a:pt x="4" y="8"/>
                  </a:cubicBezTo>
                  <a:cubicBezTo>
                    <a:pt x="5" y="8"/>
                    <a:pt x="6" y="7"/>
                    <a:pt x="8" y="7"/>
                  </a:cubicBezTo>
                  <a:cubicBezTo>
                    <a:pt x="8" y="7"/>
                    <a:pt x="8" y="7"/>
                    <a:pt x="8" y="7"/>
                  </a:cubicBezTo>
                  <a:cubicBezTo>
                    <a:pt x="10" y="7"/>
                    <a:pt x="12" y="10"/>
                    <a:pt x="14" y="10"/>
                  </a:cubicBezTo>
                  <a:cubicBezTo>
                    <a:pt x="10" y="7"/>
                    <a:pt x="6" y="3"/>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 name="Freeform 1342">
              <a:extLst>
                <a:ext uri="{FF2B5EF4-FFF2-40B4-BE49-F238E27FC236}">
                  <a16:creationId xmlns:a16="http://schemas.microsoft.com/office/drawing/2014/main" id="{4106961E-D30C-4CE3-A04A-018CAEDE33EC}"/>
                </a:ext>
              </a:extLst>
            </p:cNvPr>
            <p:cNvSpPr>
              <a:spLocks/>
            </p:cNvSpPr>
            <p:nvPr/>
          </p:nvSpPr>
          <p:spPr bwMode="auto">
            <a:xfrm>
              <a:off x="2480" y="858"/>
              <a:ext cx="31" cy="45"/>
            </a:xfrm>
            <a:custGeom>
              <a:avLst/>
              <a:gdLst>
                <a:gd name="T0" fmla="*/ 10 w 13"/>
                <a:gd name="T1" fmla="*/ 0 h 19"/>
                <a:gd name="T2" fmla="*/ 1 w 13"/>
                <a:gd name="T3" fmla="*/ 10 h 19"/>
                <a:gd name="T4" fmla="*/ 1 w 13"/>
                <a:gd name="T5" fmla="*/ 14 h 19"/>
                <a:gd name="T6" fmla="*/ 2 w 13"/>
                <a:gd name="T7" fmla="*/ 19 h 19"/>
                <a:gd name="T8" fmla="*/ 9 w 13"/>
                <a:gd name="T9" fmla="*/ 16 h 19"/>
                <a:gd name="T10" fmla="*/ 10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10" y="0"/>
                  </a:moveTo>
                  <a:cubicBezTo>
                    <a:pt x="7" y="2"/>
                    <a:pt x="2" y="5"/>
                    <a:pt x="1" y="10"/>
                  </a:cubicBezTo>
                  <a:cubicBezTo>
                    <a:pt x="0" y="11"/>
                    <a:pt x="0" y="12"/>
                    <a:pt x="1" y="14"/>
                  </a:cubicBezTo>
                  <a:cubicBezTo>
                    <a:pt x="2" y="16"/>
                    <a:pt x="2" y="17"/>
                    <a:pt x="2" y="19"/>
                  </a:cubicBezTo>
                  <a:cubicBezTo>
                    <a:pt x="4" y="18"/>
                    <a:pt x="8" y="18"/>
                    <a:pt x="9" y="16"/>
                  </a:cubicBezTo>
                  <a:cubicBezTo>
                    <a:pt x="13" y="14"/>
                    <a:pt x="12" y="3"/>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 name="Freeform 1343">
              <a:extLst>
                <a:ext uri="{FF2B5EF4-FFF2-40B4-BE49-F238E27FC236}">
                  <a16:creationId xmlns:a16="http://schemas.microsoft.com/office/drawing/2014/main" id="{CCE958D8-FF26-4FCE-853D-A7FDB41BACD7}"/>
                </a:ext>
              </a:extLst>
            </p:cNvPr>
            <p:cNvSpPr>
              <a:spLocks/>
            </p:cNvSpPr>
            <p:nvPr/>
          </p:nvSpPr>
          <p:spPr bwMode="auto">
            <a:xfrm>
              <a:off x="2275" y="1161"/>
              <a:ext cx="78" cy="12"/>
            </a:xfrm>
            <a:custGeom>
              <a:avLst/>
              <a:gdLst>
                <a:gd name="T0" fmla="*/ 6 w 33"/>
                <a:gd name="T1" fmla="*/ 0 h 5"/>
                <a:gd name="T2" fmla="*/ 6 w 33"/>
                <a:gd name="T3" fmla="*/ 5 h 5"/>
                <a:gd name="T4" fmla="*/ 15 w 33"/>
                <a:gd name="T5" fmla="*/ 4 h 5"/>
                <a:gd name="T6" fmla="*/ 15 w 33"/>
                <a:gd name="T7" fmla="*/ 4 h 5"/>
                <a:gd name="T8" fmla="*/ 18 w 33"/>
                <a:gd name="T9" fmla="*/ 5 h 5"/>
                <a:gd name="T10" fmla="*/ 20 w 33"/>
                <a:gd name="T11" fmla="*/ 5 h 5"/>
                <a:gd name="T12" fmla="*/ 21 w 33"/>
                <a:gd name="T13" fmla="*/ 5 h 5"/>
                <a:gd name="T14" fmla="*/ 33 w 33"/>
                <a:gd name="T15" fmla="*/ 2 h 5"/>
                <a:gd name="T16" fmla="*/ 6 w 33"/>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
                  <a:moveTo>
                    <a:pt x="6" y="0"/>
                  </a:moveTo>
                  <a:cubicBezTo>
                    <a:pt x="0" y="3"/>
                    <a:pt x="7" y="3"/>
                    <a:pt x="6" y="5"/>
                  </a:cubicBezTo>
                  <a:cubicBezTo>
                    <a:pt x="9" y="5"/>
                    <a:pt x="12" y="5"/>
                    <a:pt x="15" y="4"/>
                  </a:cubicBezTo>
                  <a:cubicBezTo>
                    <a:pt x="15" y="4"/>
                    <a:pt x="15" y="4"/>
                    <a:pt x="15" y="4"/>
                  </a:cubicBezTo>
                  <a:cubicBezTo>
                    <a:pt x="16" y="4"/>
                    <a:pt x="17" y="4"/>
                    <a:pt x="18" y="5"/>
                  </a:cubicBezTo>
                  <a:cubicBezTo>
                    <a:pt x="19" y="5"/>
                    <a:pt x="19" y="5"/>
                    <a:pt x="20" y="5"/>
                  </a:cubicBezTo>
                  <a:cubicBezTo>
                    <a:pt x="20" y="5"/>
                    <a:pt x="20" y="5"/>
                    <a:pt x="21" y="5"/>
                  </a:cubicBezTo>
                  <a:cubicBezTo>
                    <a:pt x="24" y="4"/>
                    <a:pt x="31" y="4"/>
                    <a:pt x="33" y="2"/>
                  </a:cubicBezTo>
                  <a:cubicBezTo>
                    <a:pt x="24" y="1"/>
                    <a:pt x="15"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 name="Freeform 1344">
              <a:extLst>
                <a:ext uri="{FF2B5EF4-FFF2-40B4-BE49-F238E27FC236}">
                  <a16:creationId xmlns:a16="http://schemas.microsoft.com/office/drawing/2014/main" id="{028904F7-135B-4DBF-AE5A-5DD9BF3F6A30}"/>
                </a:ext>
              </a:extLst>
            </p:cNvPr>
            <p:cNvSpPr>
              <a:spLocks/>
            </p:cNvSpPr>
            <p:nvPr/>
          </p:nvSpPr>
          <p:spPr bwMode="auto">
            <a:xfrm>
              <a:off x="2107" y="1759"/>
              <a:ext cx="45" cy="31"/>
            </a:xfrm>
            <a:custGeom>
              <a:avLst/>
              <a:gdLst>
                <a:gd name="T0" fmla="*/ 18 w 19"/>
                <a:gd name="T1" fmla="*/ 0 h 13"/>
                <a:gd name="T2" fmla="*/ 8 w 19"/>
                <a:gd name="T3" fmla="*/ 6 h 13"/>
                <a:gd name="T4" fmla="*/ 2 w 19"/>
                <a:gd name="T5" fmla="*/ 9 h 13"/>
                <a:gd name="T6" fmla="*/ 2 w 19"/>
                <a:gd name="T7" fmla="*/ 13 h 13"/>
                <a:gd name="T8" fmla="*/ 10 w 19"/>
                <a:gd name="T9" fmla="*/ 11 h 13"/>
                <a:gd name="T10" fmla="*/ 14 w 19"/>
                <a:gd name="T11" fmla="*/ 10 h 13"/>
                <a:gd name="T12" fmla="*/ 18 w 19"/>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9" h="13">
                  <a:moveTo>
                    <a:pt x="18" y="0"/>
                  </a:moveTo>
                  <a:cubicBezTo>
                    <a:pt x="15" y="2"/>
                    <a:pt x="11" y="4"/>
                    <a:pt x="8" y="6"/>
                  </a:cubicBezTo>
                  <a:cubicBezTo>
                    <a:pt x="6" y="7"/>
                    <a:pt x="3" y="8"/>
                    <a:pt x="2" y="9"/>
                  </a:cubicBezTo>
                  <a:cubicBezTo>
                    <a:pt x="0" y="12"/>
                    <a:pt x="1" y="13"/>
                    <a:pt x="2" y="13"/>
                  </a:cubicBezTo>
                  <a:cubicBezTo>
                    <a:pt x="5" y="13"/>
                    <a:pt x="9" y="12"/>
                    <a:pt x="10" y="11"/>
                  </a:cubicBezTo>
                  <a:cubicBezTo>
                    <a:pt x="12" y="11"/>
                    <a:pt x="12" y="11"/>
                    <a:pt x="14" y="10"/>
                  </a:cubicBezTo>
                  <a:cubicBezTo>
                    <a:pt x="19" y="6"/>
                    <a:pt x="18" y="7"/>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 name="Freeform 1345">
              <a:extLst>
                <a:ext uri="{FF2B5EF4-FFF2-40B4-BE49-F238E27FC236}">
                  <a16:creationId xmlns:a16="http://schemas.microsoft.com/office/drawing/2014/main" id="{F8978CDD-2D32-40C4-A5BB-83550F7E6859}"/>
                </a:ext>
              </a:extLst>
            </p:cNvPr>
            <p:cNvSpPr>
              <a:spLocks/>
            </p:cNvSpPr>
            <p:nvPr/>
          </p:nvSpPr>
          <p:spPr bwMode="auto">
            <a:xfrm>
              <a:off x="2584" y="1154"/>
              <a:ext cx="50" cy="28"/>
            </a:xfrm>
            <a:custGeom>
              <a:avLst/>
              <a:gdLst>
                <a:gd name="T0" fmla="*/ 17 w 21"/>
                <a:gd name="T1" fmla="*/ 0 h 12"/>
                <a:gd name="T2" fmla="*/ 7 w 21"/>
                <a:gd name="T3" fmla="*/ 3 h 12"/>
                <a:gd name="T4" fmla="*/ 0 w 21"/>
                <a:gd name="T5" fmla="*/ 6 h 12"/>
                <a:gd name="T6" fmla="*/ 11 w 21"/>
                <a:gd name="T7" fmla="*/ 12 h 12"/>
                <a:gd name="T8" fmla="*/ 15 w 21"/>
                <a:gd name="T9" fmla="*/ 11 h 12"/>
                <a:gd name="T10" fmla="*/ 17 w 21"/>
                <a:gd name="T11" fmla="*/ 9 h 12"/>
                <a:gd name="T12" fmla="*/ 17 w 21"/>
                <a:gd name="T13" fmla="*/ 9 h 12"/>
                <a:gd name="T14" fmla="*/ 18 w 21"/>
                <a:gd name="T15" fmla="*/ 9 h 12"/>
                <a:gd name="T16" fmla="*/ 19 w 21"/>
                <a:gd name="T17" fmla="*/ 10 h 12"/>
                <a:gd name="T18" fmla="*/ 20 w 21"/>
                <a:gd name="T19" fmla="*/ 9 h 12"/>
                <a:gd name="T20" fmla="*/ 21 w 21"/>
                <a:gd name="T21" fmla="*/ 5 h 12"/>
                <a:gd name="T22" fmla="*/ 18 w 21"/>
                <a:gd name="T23" fmla="*/ 1 h 12"/>
                <a:gd name="T24" fmla="*/ 18 w 21"/>
                <a:gd name="T25" fmla="*/ 1 h 12"/>
                <a:gd name="T26" fmla="*/ 17 w 21"/>
                <a:gd name="T2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2">
                  <a:moveTo>
                    <a:pt x="17" y="0"/>
                  </a:moveTo>
                  <a:cubicBezTo>
                    <a:pt x="15" y="0"/>
                    <a:pt x="9" y="2"/>
                    <a:pt x="7" y="3"/>
                  </a:cubicBezTo>
                  <a:cubicBezTo>
                    <a:pt x="5" y="4"/>
                    <a:pt x="2" y="5"/>
                    <a:pt x="0" y="6"/>
                  </a:cubicBezTo>
                  <a:cubicBezTo>
                    <a:pt x="4" y="8"/>
                    <a:pt x="8" y="10"/>
                    <a:pt x="11" y="12"/>
                  </a:cubicBezTo>
                  <a:cubicBezTo>
                    <a:pt x="12" y="12"/>
                    <a:pt x="14" y="12"/>
                    <a:pt x="15" y="11"/>
                  </a:cubicBezTo>
                  <a:cubicBezTo>
                    <a:pt x="16" y="11"/>
                    <a:pt x="16" y="9"/>
                    <a:pt x="17" y="9"/>
                  </a:cubicBezTo>
                  <a:cubicBezTo>
                    <a:pt x="17" y="9"/>
                    <a:pt x="17" y="9"/>
                    <a:pt x="17" y="9"/>
                  </a:cubicBezTo>
                  <a:cubicBezTo>
                    <a:pt x="18" y="9"/>
                    <a:pt x="18" y="9"/>
                    <a:pt x="18" y="9"/>
                  </a:cubicBezTo>
                  <a:cubicBezTo>
                    <a:pt x="18" y="10"/>
                    <a:pt x="19" y="10"/>
                    <a:pt x="19" y="10"/>
                  </a:cubicBezTo>
                  <a:cubicBezTo>
                    <a:pt x="19" y="10"/>
                    <a:pt x="19" y="10"/>
                    <a:pt x="20" y="9"/>
                  </a:cubicBezTo>
                  <a:cubicBezTo>
                    <a:pt x="20" y="9"/>
                    <a:pt x="21" y="5"/>
                    <a:pt x="21" y="5"/>
                  </a:cubicBezTo>
                  <a:cubicBezTo>
                    <a:pt x="20" y="4"/>
                    <a:pt x="18" y="1"/>
                    <a:pt x="18" y="1"/>
                  </a:cubicBezTo>
                  <a:cubicBezTo>
                    <a:pt x="18" y="1"/>
                    <a:pt x="18" y="1"/>
                    <a:pt x="18" y="1"/>
                  </a:cubicBezTo>
                  <a:cubicBezTo>
                    <a:pt x="18" y="0"/>
                    <a:pt x="18"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 name="Freeform 1346">
              <a:extLst>
                <a:ext uri="{FF2B5EF4-FFF2-40B4-BE49-F238E27FC236}">
                  <a16:creationId xmlns:a16="http://schemas.microsoft.com/office/drawing/2014/main" id="{C455E3C9-86B9-4534-B659-6B4731D3A2D7}"/>
                </a:ext>
              </a:extLst>
            </p:cNvPr>
            <p:cNvSpPr>
              <a:spLocks/>
            </p:cNvSpPr>
            <p:nvPr/>
          </p:nvSpPr>
          <p:spPr bwMode="auto">
            <a:xfrm>
              <a:off x="247" y="839"/>
              <a:ext cx="52" cy="41"/>
            </a:xfrm>
            <a:custGeom>
              <a:avLst/>
              <a:gdLst>
                <a:gd name="T0" fmla="*/ 4 w 22"/>
                <a:gd name="T1" fmla="*/ 0 h 17"/>
                <a:gd name="T2" fmla="*/ 2 w 22"/>
                <a:gd name="T3" fmla="*/ 4 h 17"/>
                <a:gd name="T4" fmla="*/ 2 w 22"/>
                <a:gd name="T5" fmla="*/ 4 h 17"/>
                <a:gd name="T6" fmla="*/ 5 w 22"/>
                <a:gd name="T7" fmla="*/ 8 h 17"/>
                <a:gd name="T8" fmla="*/ 10 w 22"/>
                <a:gd name="T9" fmla="*/ 9 h 17"/>
                <a:gd name="T10" fmla="*/ 22 w 22"/>
                <a:gd name="T11" fmla="*/ 17 h 17"/>
                <a:gd name="T12" fmla="*/ 22 w 22"/>
                <a:gd name="T13" fmla="*/ 17 h 17"/>
                <a:gd name="T14" fmla="*/ 17 w 22"/>
                <a:gd name="T15" fmla="*/ 9 h 17"/>
                <a:gd name="T16" fmla="*/ 4 w 22"/>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7">
                  <a:moveTo>
                    <a:pt x="4" y="0"/>
                  </a:moveTo>
                  <a:cubicBezTo>
                    <a:pt x="3" y="1"/>
                    <a:pt x="0" y="4"/>
                    <a:pt x="2" y="4"/>
                  </a:cubicBezTo>
                  <a:cubicBezTo>
                    <a:pt x="2" y="4"/>
                    <a:pt x="2" y="4"/>
                    <a:pt x="2" y="4"/>
                  </a:cubicBezTo>
                  <a:cubicBezTo>
                    <a:pt x="3" y="5"/>
                    <a:pt x="4" y="7"/>
                    <a:pt x="5" y="8"/>
                  </a:cubicBezTo>
                  <a:cubicBezTo>
                    <a:pt x="6" y="9"/>
                    <a:pt x="8" y="9"/>
                    <a:pt x="10" y="9"/>
                  </a:cubicBezTo>
                  <a:cubicBezTo>
                    <a:pt x="13" y="11"/>
                    <a:pt x="19" y="17"/>
                    <a:pt x="22" y="17"/>
                  </a:cubicBezTo>
                  <a:cubicBezTo>
                    <a:pt x="22" y="17"/>
                    <a:pt x="22" y="17"/>
                    <a:pt x="22" y="17"/>
                  </a:cubicBezTo>
                  <a:cubicBezTo>
                    <a:pt x="22" y="11"/>
                    <a:pt x="21" y="12"/>
                    <a:pt x="17" y="9"/>
                  </a:cubicBezTo>
                  <a:cubicBezTo>
                    <a:pt x="12" y="6"/>
                    <a:pt x="8"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 name="Freeform 1347">
              <a:extLst>
                <a:ext uri="{FF2B5EF4-FFF2-40B4-BE49-F238E27FC236}">
                  <a16:creationId xmlns:a16="http://schemas.microsoft.com/office/drawing/2014/main" id="{A3AABB3D-AB74-47D2-AC3F-F99E0A542101}"/>
                </a:ext>
              </a:extLst>
            </p:cNvPr>
            <p:cNvSpPr>
              <a:spLocks/>
            </p:cNvSpPr>
            <p:nvPr/>
          </p:nvSpPr>
          <p:spPr bwMode="auto">
            <a:xfrm>
              <a:off x="1644" y="1265"/>
              <a:ext cx="19" cy="54"/>
            </a:xfrm>
            <a:custGeom>
              <a:avLst/>
              <a:gdLst>
                <a:gd name="T0" fmla="*/ 7 w 8"/>
                <a:gd name="T1" fmla="*/ 0 h 23"/>
                <a:gd name="T2" fmla="*/ 5 w 8"/>
                <a:gd name="T3" fmla="*/ 0 h 23"/>
                <a:gd name="T4" fmla="*/ 4 w 8"/>
                <a:gd name="T5" fmla="*/ 1 h 23"/>
                <a:gd name="T6" fmla="*/ 4 w 8"/>
                <a:gd name="T7" fmla="*/ 1 h 23"/>
                <a:gd name="T8" fmla="*/ 3 w 8"/>
                <a:gd name="T9" fmla="*/ 2 h 23"/>
                <a:gd name="T10" fmla="*/ 2 w 8"/>
                <a:gd name="T11" fmla="*/ 3 h 23"/>
                <a:gd name="T12" fmla="*/ 2 w 8"/>
                <a:gd name="T13" fmla="*/ 4 h 23"/>
                <a:gd name="T14" fmla="*/ 0 w 8"/>
                <a:gd name="T15" fmla="*/ 13 h 23"/>
                <a:gd name="T16" fmla="*/ 2 w 8"/>
                <a:gd name="T17" fmla="*/ 19 h 23"/>
                <a:gd name="T18" fmla="*/ 2 w 8"/>
                <a:gd name="T19" fmla="*/ 19 h 23"/>
                <a:gd name="T20" fmla="*/ 1 w 8"/>
                <a:gd name="T21" fmla="*/ 20 h 23"/>
                <a:gd name="T22" fmla="*/ 1 w 8"/>
                <a:gd name="T23" fmla="*/ 22 h 23"/>
                <a:gd name="T24" fmla="*/ 2 w 8"/>
                <a:gd name="T25" fmla="*/ 23 h 23"/>
                <a:gd name="T26" fmla="*/ 2 w 8"/>
                <a:gd name="T27" fmla="*/ 22 h 23"/>
                <a:gd name="T28" fmla="*/ 2 w 8"/>
                <a:gd name="T29" fmla="*/ 22 h 23"/>
                <a:gd name="T30" fmla="*/ 2 w 8"/>
                <a:gd name="T31" fmla="*/ 22 h 23"/>
                <a:gd name="T32" fmla="*/ 8 w 8"/>
                <a:gd name="T33" fmla="*/ 18 h 23"/>
                <a:gd name="T34" fmla="*/ 7 w 8"/>
                <a:gd name="T3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3">
                  <a:moveTo>
                    <a:pt x="7" y="0"/>
                  </a:moveTo>
                  <a:cubicBezTo>
                    <a:pt x="7" y="0"/>
                    <a:pt x="6" y="0"/>
                    <a:pt x="5" y="0"/>
                  </a:cubicBezTo>
                  <a:cubicBezTo>
                    <a:pt x="5" y="1"/>
                    <a:pt x="4" y="1"/>
                    <a:pt x="4" y="1"/>
                  </a:cubicBezTo>
                  <a:cubicBezTo>
                    <a:pt x="4" y="1"/>
                    <a:pt x="4" y="1"/>
                    <a:pt x="4" y="1"/>
                  </a:cubicBezTo>
                  <a:cubicBezTo>
                    <a:pt x="3" y="2"/>
                    <a:pt x="3" y="2"/>
                    <a:pt x="3" y="2"/>
                  </a:cubicBezTo>
                  <a:cubicBezTo>
                    <a:pt x="2" y="3"/>
                    <a:pt x="2" y="3"/>
                    <a:pt x="2" y="3"/>
                  </a:cubicBezTo>
                  <a:cubicBezTo>
                    <a:pt x="2" y="4"/>
                    <a:pt x="2" y="4"/>
                    <a:pt x="2" y="4"/>
                  </a:cubicBezTo>
                  <a:cubicBezTo>
                    <a:pt x="0" y="7"/>
                    <a:pt x="0" y="11"/>
                    <a:pt x="0" y="13"/>
                  </a:cubicBezTo>
                  <a:cubicBezTo>
                    <a:pt x="1" y="15"/>
                    <a:pt x="1" y="17"/>
                    <a:pt x="2" y="19"/>
                  </a:cubicBezTo>
                  <a:cubicBezTo>
                    <a:pt x="2" y="19"/>
                    <a:pt x="2" y="19"/>
                    <a:pt x="2" y="19"/>
                  </a:cubicBezTo>
                  <a:cubicBezTo>
                    <a:pt x="2" y="20"/>
                    <a:pt x="1" y="20"/>
                    <a:pt x="1" y="20"/>
                  </a:cubicBezTo>
                  <a:cubicBezTo>
                    <a:pt x="1" y="21"/>
                    <a:pt x="1" y="22"/>
                    <a:pt x="1" y="22"/>
                  </a:cubicBezTo>
                  <a:cubicBezTo>
                    <a:pt x="1" y="22"/>
                    <a:pt x="1" y="23"/>
                    <a:pt x="2" y="23"/>
                  </a:cubicBezTo>
                  <a:cubicBezTo>
                    <a:pt x="2" y="23"/>
                    <a:pt x="2" y="23"/>
                    <a:pt x="2" y="22"/>
                  </a:cubicBezTo>
                  <a:cubicBezTo>
                    <a:pt x="2" y="22"/>
                    <a:pt x="2" y="22"/>
                    <a:pt x="2" y="22"/>
                  </a:cubicBezTo>
                  <a:cubicBezTo>
                    <a:pt x="2" y="22"/>
                    <a:pt x="2" y="22"/>
                    <a:pt x="2" y="22"/>
                  </a:cubicBezTo>
                  <a:cubicBezTo>
                    <a:pt x="4" y="22"/>
                    <a:pt x="7" y="19"/>
                    <a:pt x="8" y="18"/>
                  </a:cubicBezTo>
                  <a:cubicBezTo>
                    <a:pt x="8" y="12"/>
                    <a:pt x="8" y="6"/>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 name="Freeform 1348">
              <a:extLst>
                <a:ext uri="{FF2B5EF4-FFF2-40B4-BE49-F238E27FC236}">
                  <a16:creationId xmlns:a16="http://schemas.microsoft.com/office/drawing/2014/main" id="{DB03F4FA-91FB-47F7-9B61-9268F9087634}"/>
                </a:ext>
              </a:extLst>
            </p:cNvPr>
            <p:cNvSpPr>
              <a:spLocks/>
            </p:cNvSpPr>
            <p:nvPr/>
          </p:nvSpPr>
          <p:spPr bwMode="auto">
            <a:xfrm>
              <a:off x="3605" y="102"/>
              <a:ext cx="24" cy="24"/>
            </a:xfrm>
            <a:custGeom>
              <a:avLst/>
              <a:gdLst>
                <a:gd name="T0" fmla="*/ 10 w 10"/>
                <a:gd name="T1" fmla="*/ 0 h 10"/>
                <a:gd name="T2" fmla="*/ 6 w 10"/>
                <a:gd name="T3" fmla="*/ 1 h 10"/>
                <a:gd name="T4" fmla="*/ 1 w 10"/>
                <a:gd name="T5" fmla="*/ 4 h 10"/>
                <a:gd name="T6" fmla="*/ 1 w 10"/>
                <a:gd name="T7" fmla="*/ 4 h 10"/>
                <a:gd name="T8" fmla="*/ 2 w 10"/>
                <a:gd name="T9" fmla="*/ 10 h 10"/>
                <a:gd name="T10" fmla="*/ 2 w 10"/>
                <a:gd name="T11" fmla="*/ 10 h 10"/>
                <a:gd name="T12" fmla="*/ 10 w 1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0" y="0"/>
                  </a:moveTo>
                  <a:cubicBezTo>
                    <a:pt x="9" y="0"/>
                    <a:pt x="7" y="1"/>
                    <a:pt x="6" y="1"/>
                  </a:cubicBezTo>
                  <a:cubicBezTo>
                    <a:pt x="4" y="2"/>
                    <a:pt x="2" y="4"/>
                    <a:pt x="1" y="4"/>
                  </a:cubicBezTo>
                  <a:cubicBezTo>
                    <a:pt x="1" y="4"/>
                    <a:pt x="1" y="4"/>
                    <a:pt x="1" y="4"/>
                  </a:cubicBezTo>
                  <a:cubicBezTo>
                    <a:pt x="1" y="5"/>
                    <a:pt x="0" y="9"/>
                    <a:pt x="2" y="10"/>
                  </a:cubicBezTo>
                  <a:cubicBezTo>
                    <a:pt x="2" y="10"/>
                    <a:pt x="2" y="10"/>
                    <a:pt x="2" y="10"/>
                  </a:cubicBezTo>
                  <a:cubicBezTo>
                    <a:pt x="4" y="10"/>
                    <a:pt x="9" y="2"/>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 name="Freeform 1349">
              <a:extLst>
                <a:ext uri="{FF2B5EF4-FFF2-40B4-BE49-F238E27FC236}">
                  <a16:creationId xmlns:a16="http://schemas.microsoft.com/office/drawing/2014/main" id="{C7C768EE-0404-4ADA-9A44-C2A642C491E9}"/>
                </a:ext>
              </a:extLst>
            </p:cNvPr>
            <p:cNvSpPr>
              <a:spLocks/>
            </p:cNvSpPr>
            <p:nvPr/>
          </p:nvSpPr>
          <p:spPr bwMode="auto">
            <a:xfrm>
              <a:off x="3156" y="383"/>
              <a:ext cx="5" cy="7"/>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cubicBezTo>
                    <a:pt x="1" y="1"/>
                    <a:pt x="0"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 name="Freeform 1350">
              <a:extLst>
                <a:ext uri="{FF2B5EF4-FFF2-40B4-BE49-F238E27FC236}">
                  <a16:creationId xmlns:a16="http://schemas.microsoft.com/office/drawing/2014/main" id="{5B8E09F1-9611-46BA-9520-A88A66EAFCD2}"/>
                </a:ext>
              </a:extLst>
            </p:cNvPr>
            <p:cNvSpPr>
              <a:spLocks/>
            </p:cNvSpPr>
            <p:nvPr/>
          </p:nvSpPr>
          <p:spPr bwMode="auto">
            <a:xfrm>
              <a:off x="4862" y="672"/>
              <a:ext cx="7" cy="7"/>
            </a:xfrm>
            <a:custGeom>
              <a:avLst/>
              <a:gdLst>
                <a:gd name="T0" fmla="*/ 3 w 3"/>
                <a:gd name="T1" fmla="*/ 0 h 3"/>
                <a:gd name="T2" fmla="*/ 0 w 3"/>
                <a:gd name="T3" fmla="*/ 1 h 3"/>
                <a:gd name="T4" fmla="*/ 2 w 3"/>
                <a:gd name="T5" fmla="*/ 3 h 3"/>
                <a:gd name="T6" fmla="*/ 3 w 3"/>
                <a:gd name="T7" fmla="*/ 0 h 3"/>
              </a:gdLst>
              <a:ahLst/>
              <a:cxnLst>
                <a:cxn ang="0">
                  <a:pos x="T0" y="T1"/>
                </a:cxn>
                <a:cxn ang="0">
                  <a:pos x="T2" y="T3"/>
                </a:cxn>
                <a:cxn ang="0">
                  <a:pos x="T4" y="T5"/>
                </a:cxn>
                <a:cxn ang="0">
                  <a:pos x="T6" y="T7"/>
                </a:cxn>
              </a:cxnLst>
              <a:rect l="0" t="0" r="r" b="b"/>
              <a:pathLst>
                <a:path w="3" h="3">
                  <a:moveTo>
                    <a:pt x="3" y="0"/>
                  </a:moveTo>
                  <a:cubicBezTo>
                    <a:pt x="2" y="0"/>
                    <a:pt x="1" y="0"/>
                    <a:pt x="0" y="1"/>
                  </a:cubicBezTo>
                  <a:cubicBezTo>
                    <a:pt x="1" y="2"/>
                    <a:pt x="1" y="2"/>
                    <a:pt x="2" y="3"/>
                  </a:cubicBezTo>
                  <a:cubicBezTo>
                    <a:pt x="3" y="2"/>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 name="Freeform 1351">
              <a:extLst>
                <a:ext uri="{FF2B5EF4-FFF2-40B4-BE49-F238E27FC236}">
                  <a16:creationId xmlns:a16="http://schemas.microsoft.com/office/drawing/2014/main" id="{72AE6BCC-0007-4AE5-9DA4-51AE1E6B39C6}"/>
                </a:ext>
              </a:extLst>
            </p:cNvPr>
            <p:cNvSpPr>
              <a:spLocks/>
            </p:cNvSpPr>
            <p:nvPr/>
          </p:nvSpPr>
          <p:spPr bwMode="auto">
            <a:xfrm>
              <a:off x="4539" y="561"/>
              <a:ext cx="11" cy="11"/>
            </a:xfrm>
            <a:custGeom>
              <a:avLst/>
              <a:gdLst>
                <a:gd name="T0" fmla="*/ 0 w 5"/>
                <a:gd name="T1" fmla="*/ 0 h 5"/>
                <a:gd name="T2" fmla="*/ 1 w 5"/>
                <a:gd name="T3" fmla="*/ 5 h 5"/>
                <a:gd name="T4" fmla="*/ 3 w 5"/>
                <a:gd name="T5" fmla="*/ 3 h 5"/>
                <a:gd name="T6" fmla="*/ 0 w 5"/>
                <a:gd name="T7" fmla="*/ 0 h 5"/>
              </a:gdLst>
              <a:ahLst/>
              <a:cxnLst>
                <a:cxn ang="0">
                  <a:pos x="T0" y="T1"/>
                </a:cxn>
                <a:cxn ang="0">
                  <a:pos x="T2" y="T3"/>
                </a:cxn>
                <a:cxn ang="0">
                  <a:pos x="T4" y="T5"/>
                </a:cxn>
                <a:cxn ang="0">
                  <a:pos x="T6" y="T7"/>
                </a:cxn>
              </a:cxnLst>
              <a:rect l="0" t="0" r="r" b="b"/>
              <a:pathLst>
                <a:path w="5" h="5">
                  <a:moveTo>
                    <a:pt x="0" y="0"/>
                  </a:moveTo>
                  <a:cubicBezTo>
                    <a:pt x="0" y="2"/>
                    <a:pt x="0" y="4"/>
                    <a:pt x="1" y="5"/>
                  </a:cubicBezTo>
                  <a:cubicBezTo>
                    <a:pt x="2" y="5"/>
                    <a:pt x="3" y="4"/>
                    <a:pt x="3" y="3"/>
                  </a:cubicBezTo>
                  <a:cubicBezTo>
                    <a:pt x="5"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 name="Freeform 1352">
              <a:extLst>
                <a:ext uri="{FF2B5EF4-FFF2-40B4-BE49-F238E27FC236}">
                  <a16:creationId xmlns:a16="http://schemas.microsoft.com/office/drawing/2014/main" id="{515CA0A6-1DD0-4C69-9EEA-321D8F224C36}"/>
                </a:ext>
              </a:extLst>
            </p:cNvPr>
            <p:cNvSpPr>
              <a:spLocks/>
            </p:cNvSpPr>
            <p:nvPr/>
          </p:nvSpPr>
          <p:spPr bwMode="auto">
            <a:xfrm>
              <a:off x="5871" y="2324"/>
              <a:ext cx="3" cy="7"/>
            </a:xfrm>
            <a:custGeom>
              <a:avLst/>
              <a:gdLst>
                <a:gd name="T0" fmla="*/ 0 w 1"/>
                <a:gd name="T1" fmla="*/ 0 h 3"/>
                <a:gd name="T2" fmla="*/ 1 w 1"/>
                <a:gd name="T3" fmla="*/ 3 h 3"/>
                <a:gd name="T4" fmla="*/ 0 w 1"/>
                <a:gd name="T5" fmla="*/ 0 h 3"/>
              </a:gdLst>
              <a:ahLst/>
              <a:cxnLst>
                <a:cxn ang="0">
                  <a:pos x="T0" y="T1"/>
                </a:cxn>
                <a:cxn ang="0">
                  <a:pos x="T2" y="T3"/>
                </a:cxn>
                <a:cxn ang="0">
                  <a:pos x="T4" y="T5"/>
                </a:cxn>
              </a:cxnLst>
              <a:rect l="0" t="0" r="r" b="b"/>
              <a:pathLst>
                <a:path w="1" h="3">
                  <a:moveTo>
                    <a:pt x="0" y="0"/>
                  </a:moveTo>
                  <a:cubicBezTo>
                    <a:pt x="0" y="1"/>
                    <a:pt x="0" y="2"/>
                    <a:pt x="1" y="3"/>
                  </a:cubicBezTo>
                  <a:cubicBezTo>
                    <a:pt x="0"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 name="Freeform 1353">
              <a:extLst>
                <a:ext uri="{FF2B5EF4-FFF2-40B4-BE49-F238E27FC236}">
                  <a16:creationId xmlns:a16="http://schemas.microsoft.com/office/drawing/2014/main" id="{29735361-FE4B-448E-9661-0FB885C89804}"/>
                </a:ext>
              </a:extLst>
            </p:cNvPr>
            <p:cNvSpPr>
              <a:spLocks/>
            </p:cNvSpPr>
            <p:nvPr/>
          </p:nvSpPr>
          <p:spPr bwMode="auto">
            <a:xfrm>
              <a:off x="5836" y="2239"/>
              <a:ext cx="109" cy="66"/>
            </a:xfrm>
            <a:custGeom>
              <a:avLst/>
              <a:gdLst>
                <a:gd name="T0" fmla="*/ 31 w 46"/>
                <a:gd name="T1" fmla="*/ 0 h 28"/>
                <a:gd name="T2" fmla="*/ 19 w 46"/>
                <a:gd name="T3" fmla="*/ 3 h 28"/>
                <a:gd name="T4" fmla="*/ 5 w 46"/>
                <a:gd name="T5" fmla="*/ 22 h 28"/>
                <a:gd name="T6" fmla="*/ 11 w 46"/>
                <a:gd name="T7" fmla="*/ 26 h 28"/>
                <a:gd name="T8" fmla="*/ 19 w 46"/>
                <a:gd name="T9" fmla="*/ 28 h 28"/>
                <a:gd name="T10" fmla="*/ 20 w 46"/>
                <a:gd name="T11" fmla="*/ 28 h 28"/>
                <a:gd name="T12" fmla="*/ 41 w 46"/>
                <a:gd name="T13" fmla="*/ 24 h 28"/>
                <a:gd name="T14" fmla="*/ 46 w 46"/>
                <a:gd name="T15" fmla="*/ 21 h 28"/>
                <a:gd name="T16" fmla="*/ 45 w 46"/>
                <a:gd name="T17" fmla="*/ 21 h 28"/>
                <a:gd name="T18" fmla="*/ 43 w 46"/>
                <a:gd name="T19" fmla="*/ 14 h 28"/>
                <a:gd name="T20" fmla="*/ 42 w 46"/>
                <a:gd name="T21" fmla="*/ 13 h 28"/>
                <a:gd name="T22" fmla="*/ 43 w 46"/>
                <a:gd name="T23" fmla="*/ 10 h 28"/>
                <a:gd name="T24" fmla="*/ 40 w 46"/>
                <a:gd name="T25" fmla="*/ 9 h 28"/>
                <a:gd name="T26" fmla="*/ 31 w 46"/>
                <a:gd name="T2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8">
                  <a:moveTo>
                    <a:pt x="31" y="0"/>
                  </a:moveTo>
                  <a:cubicBezTo>
                    <a:pt x="30" y="3"/>
                    <a:pt x="21" y="2"/>
                    <a:pt x="19" y="3"/>
                  </a:cubicBezTo>
                  <a:cubicBezTo>
                    <a:pt x="13" y="6"/>
                    <a:pt x="0" y="14"/>
                    <a:pt x="5" y="22"/>
                  </a:cubicBezTo>
                  <a:cubicBezTo>
                    <a:pt x="6" y="24"/>
                    <a:pt x="8" y="25"/>
                    <a:pt x="11" y="26"/>
                  </a:cubicBezTo>
                  <a:cubicBezTo>
                    <a:pt x="13" y="26"/>
                    <a:pt x="17" y="28"/>
                    <a:pt x="19" y="28"/>
                  </a:cubicBezTo>
                  <a:cubicBezTo>
                    <a:pt x="20" y="28"/>
                    <a:pt x="20" y="28"/>
                    <a:pt x="20" y="28"/>
                  </a:cubicBezTo>
                  <a:cubicBezTo>
                    <a:pt x="27" y="28"/>
                    <a:pt x="34" y="25"/>
                    <a:pt x="41" y="24"/>
                  </a:cubicBezTo>
                  <a:cubicBezTo>
                    <a:pt x="43" y="23"/>
                    <a:pt x="46" y="24"/>
                    <a:pt x="46" y="21"/>
                  </a:cubicBezTo>
                  <a:cubicBezTo>
                    <a:pt x="46" y="21"/>
                    <a:pt x="46" y="21"/>
                    <a:pt x="45" y="21"/>
                  </a:cubicBezTo>
                  <a:cubicBezTo>
                    <a:pt x="43" y="21"/>
                    <a:pt x="43" y="16"/>
                    <a:pt x="43" y="14"/>
                  </a:cubicBezTo>
                  <a:cubicBezTo>
                    <a:pt x="43" y="14"/>
                    <a:pt x="42" y="13"/>
                    <a:pt x="42" y="13"/>
                  </a:cubicBezTo>
                  <a:cubicBezTo>
                    <a:pt x="42" y="12"/>
                    <a:pt x="43" y="11"/>
                    <a:pt x="43" y="10"/>
                  </a:cubicBezTo>
                  <a:cubicBezTo>
                    <a:pt x="43" y="9"/>
                    <a:pt x="41" y="9"/>
                    <a:pt x="40" y="9"/>
                  </a:cubicBezTo>
                  <a:cubicBezTo>
                    <a:pt x="37" y="6"/>
                    <a:pt x="34" y="3"/>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 name="Freeform 1354">
              <a:extLst>
                <a:ext uri="{FF2B5EF4-FFF2-40B4-BE49-F238E27FC236}">
                  <a16:creationId xmlns:a16="http://schemas.microsoft.com/office/drawing/2014/main" id="{E7840482-4C4C-4774-A013-6720694F783F}"/>
                </a:ext>
              </a:extLst>
            </p:cNvPr>
            <p:cNvSpPr>
              <a:spLocks/>
            </p:cNvSpPr>
            <p:nvPr/>
          </p:nvSpPr>
          <p:spPr bwMode="auto">
            <a:xfrm>
              <a:off x="5947" y="2260"/>
              <a:ext cx="5" cy="9"/>
            </a:xfrm>
            <a:custGeom>
              <a:avLst/>
              <a:gdLst>
                <a:gd name="T0" fmla="*/ 2 w 2"/>
                <a:gd name="T1" fmla="*/ 0 h 4"/>
                <a:gd name="T2" fmla="*/ 1 w 2"/>
                <a:gd name="T3" fmla="*/ 4 h 4"/>
                <a:gd name="T4" fmla="*/ 2 w 2"/>
                <a:gd name="T5" fmla="*/ 0 h 4"/>
              </a:gdLst>
              <a:ahLst/>
              <a:cxnLst>
                <a:cxn ang="0">
                  <a:pos x="T0" y="T1"/>
                </a:cxn>
                <a:cxn ang="0">
                  <a:pos x="T2" y="T3"/>
                </a:cxn>
                <a:cxn ang="0">
                  <a:pos x="T4" y="T5"/>
                </a:cxn>
              </a:cxnLst>
              <a:rect l="0" t="0" r="r" b="b"/>
              <a:pathLst>
                <a:path w="2" h="4">
                  <a:moveTo>
                    <a:pt x="2" y="0"/>
                  </a:moveTo>
                  <a:cubicBezTo>
                    <a:pt x="0" y="1"/>
                    <a:pt x="0" y="3"/>
                    <a:pt x="1" y="4"/>
                  </a:cubicBezTo>
                  <a:cubicBezTo>
                    <a:pt x="2"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 name="Freeform 1355">
              <a:extLst>
                <a:ext uri="{FF2B5EF4-FFF2-40B4-BE49-F238E27FC236}">
                  <a16:creationId xmlns:a16="http://schemas.microsoft.com/office/drawing/2014/main" id="{3ADB95B8-F74B-416A-A4E4-C6E595C5B3AA}"/>
                </a:ext>
              </a:extLst>
            </p:cNvPr>
            <p:cNvSpPr>
              <a:spLocks/>
            </p:cNvSpPr>
            <p:nvPr/>
          </p:nvSpPr>
          <p:spPr bwMode="auto">
            <a:xfrm>
              <a:off x="5930" y="2158"/>
              <a:ext cx="104" cy="59"/>
            </a:xfrm>
            <a:custGeom>
              <a:avLst/>
              <a:gdLst>
                <a:gd name="T0" fmla="*/ 44 w 44"/>
                <a:gd name="T1" fmla="*/ 0 h 25"/>
                <a:gd name="T2" fmla="*/ 39 w 44"/>
                <a:gd name="T3" fmla="*/ 2 h 25"/>
                <a:gd name="T4" fmla="*/ 37 w 44"/>
                <a:gd name="T5" fmla="*/ 1 h 25"/>
                <a:gd name="T6" fmla="*/ 37 w 44"/>
                <a:gd name="T7" fmla="*/ 1 h 25"/>
                <a:gd name="T8" fmla="*/ 33 w 44"/>
                <a:gd name="T9" fmla="*/ 3 h 25"/>
                <a:gd name="T10" fmla="*/ 31 w 44"/>
                <a:gd name="T11" fmla="*/ 2 h 25"/>
                <a:gd name="T12" fmla="*/ 30 w 44"/>
                <a:gd name="T13" fmla="*/ 3 h 25"/>
                <a:gd name="T14" fmla="*/ 30 w 44"/>
                <a:gd name="T15" fmla="*/ 3 h 25"/>
                <a:gd name="T16" fmla="*/ 25 w 44"/>
                <a:gd name="T17" fmla="*/ 7 h 25"/>
                <a:gd name="T18" fmla="*/ 17 w 44"/>
                <a:gd name="T19" fmla="*/ 8 h 25"/>
                <a:gd name="T20" fmla="*/ 13 w 44"/>
                <a:gd name="T21" fmla="*/ 9 h 25"/>
                <a:gd name="T22" fmla="*/ 10 w 44"/>
                <a:gd name="T23" fmla="*/ 12 h 25"/>
                <a:gd name="T24" fmla="*/ 9 w 44"/>
                <a:gd name="T25" fmla="*/ 14 h 25"/>
                <a:gd name="T26" fmla="*/ 8 w 44"/>
                <a:gd name="T27" fmla="*/ 13 h 25"/>
                <a:gd name="T28" fmla="*/ 6 w 44"/>
                <a:gd name="T29" fmla="*/ 14 h 25"/>
                <a:gd name="T30" fmla="*/ 6 w 44"/>
                <a:gd name="T31" fmla="*/ 14 h 25"/>
                <a:gd name="T32" fmla="*/ 5 w 44"/>
                <a:gd name="T33" fmla="*/ 14 h 25"/>
                <a:gd name="T34" fmla="*/ 4 w 44"/>
                <a:gd name="T35" fmla="*/ 14 h 25"/>
                <a:gd name="T36" fmla="*/ 4 w 44"/>
                <a:gd name="T37" fmla="*/ 14 h 25"/>
                <a:gd name="T38" fmla="*/ 4 w 44"/>
                <a:gd name="T39" fmla="*/ 14 h 25"/>
                <a:gd name="T40" fmla="*/ 3 w 44"/>
                <a:gd name="T41" fmla="*/ 14 h 25"/>
                <a:gd name="T42" fmla="*/ 2 w 44"/>
                <a:gd name="T43" fmla="*/ 14 h 25"/>
                <a:gd name="T44" fmla="*/ 1 w 44"/>
                <a:gd name="T45" fmla="*/ 14 h 25"/>
                <a:gd name="T46" fmla="*/ 0 w 44"/>
                <a:gd name="T47" fmla="*/ 18 h 25"/>
                <a:gd name="T48" fmla="*/ 5 w 44"/>
                <a:gd name="T49" fmla="*/ 23 h 25"/>
                <a:gd name="T50" fmla="*/ 6 w 44"/>
                <a:gd name="T51" fmla="*/ 25 h 25"/>
                <a:gd name="T52" fmla="*/ 7 w 44"/>
                <a:gd name="T53" fmla="*/ 25 h 25"/>
                <a:gd name="T54" fmla="*/ 15 w 44"/>
                <a:gd name="T55" fmla="*/ 22 h 25"/>
                <a:gd name="T56" fmla="*/ 30 w 44"/>
                <a:gd name="T57" fmla="*/ 19 h 25"/>
                <a:gd name="T58" fmla="*/ 38 w 44"/>
                <a:gd name="T59" fmla="*/ 17 h 25"/>
                <a:gd name="T60" fmla="*/ 39 w 44"/>
                <a:gd name="T61" fmla="*/ 17 h 25"/>
                <a:gd name="T62" fmla="*/ 40 w 44"/>
                <a:gd name="T63" fmla="*/ 18 h 25"/>
                <a:gd name="T64" fmla="*/ 39 w 44"/>
                <a:gd name="T65" fmla="*/ 11 h 25"/>
                <a:gd name="T66" fmla="*/ 29 w 44"/>
                <a:gd name="T67" fmla="*/ 18 h 25"/>
                <a:gd name="T68" fmla="*/ 29 w 44"/>
                <a:gd name="T69" fmla="*/ 18 h 25"/>
                <a:gd name="T70" fmla="*/ 44 w 44"/>
                <a:gd name="T7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 h="25">
                  <a:moveTo>
                    <a:pt x="44" y="0"/>
                  </a:moveTo>
                  <a:cubicBezTo>
                    <a:pt x="43" y="0"/>
                    <a:pt x="40" y="2"/>
                    <a:pt x="39" y="2"/>
                  </a:cubicBezTo>
                  <a:cubicBezTo>
                    <a:pt x="37" y="1"/>
                    <a:pt x="37" y="1"/>
                    <a:pt x="37" y="1"/>
                  </a:cubicBezTo>
                  <a:cubicBezTo>
                    <a:pt x="37" y="1"/>
                    <a:pt x="37" y="1"/>
                    <a:pt x="37" y="1"/>
                  </a:cubicBezTo>
                  <a:cubicBezTo>
                    <a:pt x="35" y="1"/>
                    <a:pt x="33" y="2"/>
                    <a:pt x="33" y="3"/>
                  </a:cubicBezTo>
                  <a:cubicBezTo>
                    <a:pt x="32" y="2"/>
                    <a:pt x="32" y="2"/>
                    <a:pt x="31" y="2"/>
                  </a:cubicBezTo>
                  <a:cubicBezTo>
                    <a:pt x="30" y="3"/>
                    <a:pt x="30" y="3"/>
                    <a:pt x="30" y="3"/>
                  </a:cubicBezTo>
                  <a:cubicBezTo>
                    <a:pt x="30" y="3"/>
                    <a:pt x="30" y="3"/>
                    <a:pt x="30" y="3"/>
                  </a:cubicBezTo>
                  <a:cubicBezTo>
                    <a:pt x="28" y="3"/>
                    <a:pt x="26" y="6"/>
                    <a:pt x="25" y="7"/>
                  </a:cubicBezTo>
                  <a:cubicBezTo>
                    <a:pt x="23" y="7"/>
                    <a:pt x="20" y="7"/>
                    <a:pt x="17" y="8"/>
                  </a:cubicBezTo>
                  <a:cubicBezTo>
                    <a:pt x="16" y="8"/>
                    <a:pt x="13" y="9"/>
                    <a:pt x="13" y="9"/>
                  </a:cubicBezTo>
                  <a:cubicBezTo>
                    <a:pt x="12" y="9"/>
                    <a:pt x="12" y="11"/>
                    <a:pt x="10" y="12"/>
                  </a:cubicBezTo>
                  <a:cubicBezTo>
                    <a:pt x="10" y="12"/>
                    <a:pt x="10" y="12"/>
                    <a:pt x="9" y="14"/>
                  </a:cubicBezTo>
                  <a:cubicBezTo>
                    <a:pt x="8" y="13"/>
                    <a:pt x="8" y="13"/>
                    <a:pt x="8" y="13"/>
                  </a:cubicBezTo>
                  <a:cubicBezTo>
                    <a:pt x="8" y="13"/>
                    <a:pt x="8" y="14"/>
                    <a:pt x="6" y="14"/>
                  </a:cubicBezTo>
                  <a:cubicBezTo>
                    <a:pt x="6" y="14"/>
                    <a:pt x="6" y="14"/>
                    <a:pt x="6" y="14"/>
                  </a:cubicBezTo>
                  <a:cubicBezTo>
                    <a:pt x="6" y="14"/>
                    <a:pt x="6" y="14"/>
                    <a:pt x="5" y="14"/>
                  </a:cubicBezTo>
                  <a:cubicBezTo>
                    <a:pt x="5" y="14"/>
                    <a:pt x="5" y="14"/>
                    <a:pt x="4" y="14"/>
                  </a:cubicBezTo>
                  <a:cubicBezTo>
                    <a:pt x="4" y="14"/>
                    <a:pt x="4" y="14"/>
                    <a:pt x="4" y="14"/>
                  </a:cubicBezTo>
                  <a:cubicBezTo>
                    <a:pt x="4" y="14"/>
                    <a:pt x="4" y="14"/>
                    <a:pt x="4" y="14"/>
                  </a:cubicBezTo>
                  <a:cubicBezTo>
                    <a:pt x="3" y="14"/>
                    <a:pt x="3" y="14"/>
                    <a:pt x="3" y="14"/>
                  </a:cubicBezTo>
                  <a:cubicBezTo>
                    <a:pt x="3" y="14"/>
                    <a:pt x="2" y="14"/>
                    <a:pt x="2" y="14"/>
                  </a:cubicBezTo>
                  <a:cubicBezTo>
                    <a:pt x="2" y="14"/>
                    <a:pt x="2" y="14"/>
                    <a:pt x="1" y="14"/>
                  </a:cubicBezTo>
                  <a:cubicBezTo>
                    <a:pt x="1" y="14"/>
                    <a:pt x="1" y="17"/>
                    <a:pt x="0" y="18"/>
                  </a:cubicBezTo>
                  <a:cubicBezTo>
                    <a:pt x="4" y="19"/>
                    <a:pt x="3" y="20"/>
                    <a:pt x="5" y="23"/>
                  </a:cubicBezTo>
                  <a:cubicBezTo>
                    <a:pt x="6" y="24"/>
                    <a:pt x="5" y="24"/>
                    <a:pt x="6" y="25"/>
                  </a:cubicBezTo>
                  <a:cubicBezTo>
                    <a:pt x="7" y="25"/>
                    <a:pt x="7" y="25"/>
                    <a:pt x="7" y="25"/>
                  </a:cubicBezTo>
                  <a:cubicBezTo>
                    <a:pt x="9" y="25"/>
                    <a:pt x="14" y="23"/>
                    <a:pt x="15" y="22"/>
                  </a:cubicBezTo>
                  <a:cubicBezTo>
                    <a:pt x="20" y="21"/>
                    <a:pt x="25" y="20"/>
                    <a:pt x="30" y="19"/>
                  </a:cubicBezTo>
                  <a:cubicBezTo>
                    <a:pt x="32" y="18"/>
                    <a:pt x="35" y="17"/>
                    <a:pt x="38" y="17"/>
                  </a:cubicBezTo>
                  <a:cubicBezTo>
                    <a:pt x="38" y="17"/>
                    <a:pt x="39" y="17"/>
                    <a:pt x="39" y="17"/>
                  </a:cubicBezTo>
                  <a:cubicBezTo>
                    <a:pt x="40" y="18"/>
                    <a:pt x="40" y="17"/>
                    <a:pt x="40" y="18"/>
                  </a:cubicBezTo>
                  <a:cubicBezTo>
                    <a:pt x="40" y="16"/>
                    <a:pt x="40" y="13"/>
                    <a:pt x="39" y="11"/>
                  </a:cubicBezTo>
                  <a:cubicBezTo>
                    <a:pt x="36" y="13"/>
                    <a:pt x="32" y="18"/>
                    <a:pt x="29" y="18"/>
                  </a:cubicBezTo>
                  <a:cubicBezTo>
                    <a:pt x="29" y="18"/>
                    <a:pt x="29" y="18"/>
                    <a:pt x="29" y="18"/>
                  </a:cubicBezTo>
                  <a:cubicBezTo>
                    <a:pt x="28" y="11"/>
                    <a:pt x="42" y="6"/>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 name="Freeform 1356">
              <a:extLst>
                <a:ext uri="{FF2B5EF4-FFF2-40B4-BE49-F238E27FC236}">
                  <a16:creationId xmlns:a16="http://schemas.microsoft.com/office/drawing/2014/main" id="{7A54B253-A75B-46B6-8453-71028A1D3B65}"/>
                </a:ext>
              </a:extLst>
            </p:cNvPr>
            <p:cNvSpPr>
              <a:spLocks/>
            </p:cNvSpPr>
            <p:nvPr/>
          </p:nvSpPr>
          <p:spPr bwMode="auto">
            <a:xfrm>
              <a:off x="5841" y="2222"/>
              <a:ext cx="7" cy="7"/>
            </a:xfrm>
            <a:custGeom>
              <a:avLst/>
              <a:gdLst>
                <a:gd name="T0" fmla="*/ 3 w 3"/>
                <a:gd name="T1" fmla="*/ 0 h 3"/>
                <a:gd name="T2" fmla="*/ 0 w 3"/>
                <a:gd name="T3" fmla="*/ 3 h 3"/>
                <a:gd name="T4" fmla="*/ 3 w 3"/>
                <a:gd name="T5" fmla="*/ 0 h 3"/>
                <a:gd name="T6" fmla="*/ 3 w 3"/>
                <a:gd name="T7" fmla="*/ 0 h 3"/>
              </a:gdLst>
              <a:ahLst/>
              <a:cxnLst>
                <a:cxn ang="0">
                  <a:pos x="T0" y="T1"/>
                </a:cxn>
                <a:cxn ang="0">
                  <a:pos x="T2" y="T3"/>
                </a:cxn>
                <a:cxn ang="0">
                  <a:pos x="T4" y="T5"/>
                </a:cxn>
                <a:cxn ang="0">
                  <a:pos x="T6" y="T7"/>
                </a:cxn>
              </a:cxnLst>
              <a:rect l="0" t="0" r="r" b="b"/>
              <a:pathLst>
                <a:path w="3" h="3">
                  <a:moveTo>
                    <a:pt x="3" y="0"/>
                  </a:moveTo>
                  <a:cubicBezTo>
                    <a:pt x="1" y="0"/>
                    <a:pt x="0" y="1"/>
                    <a:pt x="0" y="3"/>
                  </a:cubicBezTo>
                  <a:cubicBezTo>
                    <a:pt x="1" y="2"/>
                    <a:pt x="2" y="1"/>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 name="Freeform 1357">
              <a:extLst>
                <a:ext uri="{FF2B5EF4-FFF2-40B4-BE49-F238E27FC236}">
                  <a16:creationId xmlns:a16="http://schemas.microsoft.com/office/drawing/2014/main" id="{A17BACD8-A5B7-44E1-A487-E773E31EC556}"/>
                </a:ext>
              </a:extLst>
            </p:cNvPr>
            <p:cNvSpPr>
              <a:spLocks/>
            </p:cNvSpPr>
            <p:nvPr/>
          </p:nvSpPr>
          <p:spPr bwMode="auto">
            <a:xfrm>
              <a:off x="5992" y="2234"/>
              <a:ext cx="5" cy="12"/>
            </a:xfrm>
            <a:custGeom>
              <a:avLst/>
              <a:gdLst>
                <a:gd name="T0" fmla="*/ 1 w 2"/>
                <a:gd name="T1" fmla="*/ 0 h 5"/>
                <a:gd name="T2" fmla="*/ 0 w 2"/>
                <a:gd name="T3" fmla="*/ 5 h 5"/>
                <a:gd name="T4" fmla="*/ 1 w 2"/>
                <a:gd name="T5" fmla="*/ 0 h 5"/>
              </a:gdLst>
              <a:ahLst/>
              <a:cxnLst>
                <a:cxn ang="0">
                  <a:pos x="T0" y="T1"/>
                </a:cxn>
                <a:cxn ang="0">
                  <a:pos x="T2" y="T3"/>
                </a:cxn>
                <a:cxn ang="0">
                  <a:pos x="T4" y="T5"/>
                </a:cxn>
              </a:cxnLst>
              <a:rect l="0" t="0" r="r" b="b"/>
              <a:pathLst>
                <a:path w="2" h="5">
                  <a:moveTo>
                    <a:pt x="1" y="0"/>
                  </a:moveTo>
                  <a:cubicBezTo>
                    <a:pt x="1" y="2"/>
                    <a:pt x="0" y="3"/>
                    <a:pt x="0" y="5"/>
                  </a:cubicBezTo>
                  <a:cubicBezTo>
                    <a:pt x="1" y="4"/>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 name="Freeform 1358">
              <a:extLst>
                <a:ext uri="{FF2B5EF4-FFF2-40B4-BE49-F238E27FC236}">
                  <a16:creationId xmlns:a16="http://schemas.microsoft.com/office/drawing/2014/main" id="{6119C177-7B88-4B9C-A625-45F5B9DF9DF2}"/>
                </a:ext>
              </a:extLst>
            </p:cNvPr>
            <p:cNvSpPr>
              <a:spLocks/>
            </p:cNvSpPr>
            <p:nvPr/>
          </p:nvSpPr>
          <p:spPr bwMode="auto">
            <a:xfrm>
              <a:off x="5982" y="2284"/>
              <a:ext cx="8" cy="11"/>
            </a:xfrm>
            <a:custGeom>
              <a:avLst/>
              <a:gdLst>
                <a:gd name="T0" fmla="*/ 1 w 3"/>
                <a:gd name="T1" fmla="*/ 0 h 5"/>
                <a:gd name="T2" fmla="*/ 2 w 3"/>
                <a:gd name="T3" fmla="*/ 5 h 5"/>
                <a:gd name="T4" fmla="*/ 1 w 3"/>
                <a:gd name="T5" fmla="*/ 0 h 5"/>
              </a:gdLst>
              <a:ahLst/>
              <a:cxnLst>
                <a:cxn ang="0">
                  <a:pos x="T0" y="T1"/>
                </a:cxn>
                <a:cxn ang="0">
                  <a:pos x="T2" y="T3"/>
                </a:cxn>
                <a:cxn ang="0">
                  <a:pos x="T4" y="T5"/>
                </a:cxn>
              </a:cxnLst>
              <a:rect l="0" t="0" r="r" b="b"/>
              <a:pathLst>
                <a:path w="3" h="5">
                  <a:moveTo>
                    <a:pt x="1" y="0"/>
                  </a:moveTo>
                  <a:cubicBezTo>
                    <a:pt x="0" y="0"/>
                    <a:pt x="0" y="2"/>
                    <a:pt x="2" y="5"/>
                  </a:cubicBezTo>
                  <a:cubicBezTo>
                    <a:pt x="3" y="3"/>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 name="Freeform 1359">
              <a:extLst>
                <a:ext uri="{FF2B5EF4-FFF2-40B4-BE49-F238E27FC236}">
                  <a16:creationId xmlns:a16="http://schemas.microsoft.com/office/drawing/2014/main" id="{6AA2DDB6-1361-43E7-9624-72D88EFF8D4E}"/>
                </a:ext>
              </a:extLst>
            </p:cNvPr>
            <p:cNvSpPr>
              <a:spLocks/>
            </p:cNvSpPr>
            <p:nvPr/>
          </p:nvSpPr>
          <p:spPr bwMode="auto">
            <a:xfrm>
              <a:off x="5857" y="2199"/>
              <a:ext cx="7" cy="7"/>
            </a:xfrm>
            <a:custGeom>
              <a:avLst/>
              <a:gdLst>
                <a:gd name="T0" fmla="*/ 3 w 3"/>
                <a:gd name="T1" fmla="*/ 0 h 3"/>
                <a:gd name="T2" fmla="*/ 0 w 3"/>
                <a:gd name="T3" fmla="*/ 3 h 3"/>
                <a:gd name="T4" fmla="*/ 3 w 3"/>
                <a:gd name="T5" fmla="*/ 0 h 3"/>
              </a:gdLst>
              <a:ahLst/>
              <a:cxnLst>
                <a:cxn ang="0">
                  <a:pos x="T0" y="T1"/>
                </a:cxn>
                <a:cxn ang="0">
                  <a:pos x="T2" y="T3"/>
                </a:cxn>
                <a:cxn ang="0">
                  <a:pos x="T4" y="T5"/>
                </a:cxn>
              </a:cxnLst>
              <a:rect l="0" t="0" r="r" b="b"/>
              <a:pathLst>
                <a:path w="3" h="3">
                  <a:moveTo>
                    <a:pt x="3" y="0"/>
                  </a:moveTo>
                  <a:cubicBezTo>
                    <a:pt x="2" y="1"/>
                    <a:pt x="1" y="2"/>
                    <a:pt x="0" y="3"/>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 name="Freeform 1360">
              <a:extLst>
                <a:ext uri="{FF2B5EF4-FFF2-40B4-BE49-F238E27FC236}">
                  <a16:creationId xmlns:a16="http://schemas.microsoft.com/office/drawing/2014/main" id="{5E7F7121-41C8-4ED0-9D41-35B553EF9758}"/>
                </a:ext>
              </a:extLst>
            </p:cNvPr>
            <p:cNvSpPr>
              <a:spLocks/>
            </p:cNvSpPr>
            <p:nvPr/>
          </p:nvSpPr>
          <p:spPr bwMode="auto">
            <a:xfrm>
              <a:off x="5893" y="2355"/>
              <a:ext cx="40" cy="16"/>
            </a:xfrm>
            <a:custGeom>
              <a:avLst/>
              <a:gdLst>
                <a:gd name="T0" fmla="*/ 12 w 17"/>
                <a:gd name="T1" fmla="*/ 0 h 7"/>
                <a:gd name="T2" fmla="*/ 0 w 17"/>
                <a:gd name="T3" fmla="*/ 5 h 7"/>
                <a:gd name="T4" fmla="*/ 4 w 17"/>
                <a:gd name="T5" fmla="*/ 7 h 7"/>
                <a:gd name="T6" fmla="*/ 5 w 17"/>
                <a:gd name="T7" fmla="*/ 7 h 7"/>
                <a:gd name="T8" fmla="*/ 9 w 17"/>
                <a:gd name="T9" fmla="*/ 3 h 7"/>
                <a:gd name="T10" fmla="*/ 10 w 17"/>
                <a:gd name="T11" fmla="*/ 2 h 7"/>
                <a:gd name="T12" fmla="*/ 12 w 17"/>
                <a:gd name="T13" fmla="*/ 3 h 7"/>
                <a:gd name="T14" fmla="*/ 13 w 17"/>
                <a:gd name="T15" fmla="*/ 3 h 7"/>
                <a:gd name="T16" fmla="*/ 14 w 17"/>
                <a:gd name="T17" fmla="*/ 3 h 7"/>
                <a:gd name="T18" fmla="*/ 12 w 17"/>
                <a:gd name="T19" fmla="*/ 0 h 7"/>
                <a:gd name="T20" fmla="*/ 12 w 17"/>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7">
                  <a:moveTo>
                    <a:pt x="12" y="0"/>
                  </a:moveTo>
                  <a:cubicBezTo>
                    <a:pt x="8" y="0"/>
                    <a:pt x="4" y="4"/>
                    <a:pt x="0" y="5"/>
                  </a:cubicBezTo>
                  <a:cubicBezTo>
                    <a:pt x="2" y="6"/>
                    <a:pt x="3" y="6"/>
                    <a:pt x="4" y="7"/>
                  </a:cubicBezTo>
                  <a:cubicBezTo>
                    <a:pt x="4" y="7"/>
                    <a:pt x="5" y="7"/>
                    <a:pt x="5" y="7"/>
                  </a:cubicBezTo>
                  <a:cubicBezTo>
                    <a:pt x="8" y="7"/>
                    <a:pt x="6" y="3"/>
                    <a:pt x="9" y="3"/>
                  </a:cubicBezTo>
                  <a:cubicBezTo>
                    <a:pt x="9" y="2"/>
                    <a:pt x="10" y="2"/>
                    <a:pt x="10" y="2"/>
                  </a:cubicBezTo>
                  <a:cubicBezTo>
                    <a:pt x="11" y="2"/>
                    <a:pt x="11" y="3"/>
                    <a:pt x="12" y="3"/>
                  </a:cubicBezTo>
                  <a:cubicBezTo>
                    <a:pt x="12" y="3"/>
                    <a:pt x="13" y="3"/>
                    <a:pt x="13" y="3"/>
                  </a:cubicBezTo>
                  <a:cubicBezTo>
                    <a:pt x="13" y="3"/>
                    <a:pt x="14" y="3"/>
                    <a:pt x="14" y="3"/>
                  </a:cubicBezTo>
                  <a:cubicBezTo>
                    <a:pt x="17" y="3"/>
                    <a:pt x="16" y="0"/>
                    <a:pt x="12" y="0"/>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 name="Freeform 1361">
              <a:extLst>
                <a:ext uri="{FF2B5EF4-FFF2-40B4-BE49-F238E27FC236}">
                  <a16:creationId xmlns:a16="http://schemas.microsoft.com/office/drawing/2014/main" id="{89829755-19F9-4E50-881E-2F25CE50583F}"/>
                </a:ext>
              </a:extLst>
            </p:cNvPr>
            <p:cNvSpPr>
              <a:spLocks/>
            </p:cNvSpPr>
            <p:nvPr/>
          </p:nvSpPr>
          <p:spPr bwMode="auto">
            <a:xfrm>
              <a:off x="3645" y="59"/>
              <a:ext cx="7" cy="5"/>
            </a:xfrm>
            <a:custGeom>
              <a:avLst/>
              <a:gdLst>
                <a:gd name="T0" fmla="*/ 3 w 3"/>
                <a:gd name="T1" fmla="*/ 0 h 2"/>
                <a:gd name="T2" fmla="*/ 0 w 3"/>
                <a:gd name="T3" fmla="*/ 2 h 2"/>
                <a:gd name="T4" fmla="*/ 3 w 3"/>
                <a:gd name="T5" fmla="*/ 0 h 2"/>
              </a:gdLst>
              <a:ahLst/>
              <a:cxnLst>
                <a:cxn ang="0">
                  <a:pos x="T0" y="T1"/>
                </a:cxn>
                <a:cxn ang="0">
                  <a:pos x="T2" y="T3"/>
                </a:cxn>
                <a:cxn ang="0">
                  <a:pos x="T4" y="T5"/>
                </a:cxn>
              </a:cxnLst>
              <a:rect l="0" t="0" r="r" b="b"/>
              <a:pathLst>
                <a:path w="3" h="2">
                  <a:moveTo>
                    <a:pt x="3" y="0"/>
                  </a:moveTo>
                  <a:cubicBezTo>
                    <a:pt x="2" y="1"/>
                    <a:pt x="1" y="2"/>
                    <a:pt x="0" y="2"/>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 name="Freeform 1362">
              <a:extLst>
                <a:ext uri="{FF2B5EF4-FFF2-40B4-BE49-F238E27FC236}">
                  <a16:creationId xmlns:a16="http://schemas.microsoft.com/office/drawing/2014/main" id="{21443B02-E099-4E32-A23D-408DE19C9A17}"/>
                </a:ext>
              </a:extLst>
            </p:cNvPr>
            <p:cNvSpPr>
              <a:spLocks/>
            </p:cNvSpPr>
            <p:nvPr/>
          </p:nvSpPr>
          <p:spPr bwMode="auto">
            <a:xfrm>
              <a:off x="3676" y="0"/>
              <a:ext cx="0" cy="10"/>
            </a:xfrm>
            <a:custGeom>
              <a:avLst/>
              <a:gdLst>
                <a:gd name="T0" fmla="*/ 0 h 4"/>
                <a:gd name="T1" fmla="*/ 0 h 4"/>
                <a:gd name="T2" fmla="*/ 4 h 4"/>
                <a:gd name="T3" fmla="*/ 0 h 4"/>
              </a:gdLst>
              <a:ahLst/>
              <a:cxnLst>
                <a:cxn ang="0">
                  <a:pos x="0" y="T0"/>
                </a:cxn>
                <a:cxn ang="0">
                  <a:pos x="0" y="T1"/>
                </a:cxn>
                <a:cxn ang="0">
                  <a:pos x="0" y="T2"/>
                </a:cxn>
                <a:cxn ang="0">
                  <a:pos x="0" y="T3"/>
                </a:cxn>
              </a:cxnLst>
              <a:rect l="0" t="0" r="r" b="b"/>
              <a:pathLst>
                <a:path h="4">
                  <a:moveTo>
                    <a:pt x="0" y="0"/>
                  </a:moveTo>
                  <a:cubicBezTo>
                    <a:pt x="0" y="0"/>
                    <a:pt x="0" y="0"/>
                    <a:pt x="0" y="0"/>
                  </a:cubicBezTo>
                  <a:cubicBezTo>
                    <a:pt x="0" y="1"/>
                    <a:pt x="0" y="2"/>
                    <a:pt x="0" y="4"/>
                  </a:cubicBezTo>
                  <a:cubicBezTo>
                    <a:pt x="0"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 name="Freeform 1363">
              <a:extLst>
                <a:ext uri="{FF2B5EF4-FFF2-40B4-BE49-F238E27FC236}">
                  <a16:creationId xmlns:a16="http://schemas.microsoft.com/office/drawing/2014/main" id="{5BB3F775-D25D-4E61-89B2-89C68462D63D}"/>
                </a:ext>
              </a:extLst>
            </p:cNvPr>
            <p:cNvSpPr>
              <a:spLocks/>
            </p:cNvSpPr>
            <p:nvPr/>
          </p:nvSpPr>
          <p:spPr bwMode="auto">
            <a:xfrm>
              <a:off x="748" y="253"/>
              <a:ext cx="5" cy="12"/>
            </a:xfrm>
            <a:custGeom>
              <a:avLst/>
              <a:gdLst>
                <a:gd name="T0" fmla="*/ 2 w 2"/>
                <a:gd name="T1" fmla="*/ 0 h 5"/>
                <a:gd name="T2" fmla="*/ 2 w 2"/>
                <a:gd name="T3" fmla="*/ 5 h 5"/>
                <a:gd name="T4" fmla="*/ 2 w 2"/>
                <a:gd name="T5" fmla="*/ 0 h 5"/>
              </a:gdLst>
              <a:ahLst/>
              <a:cxnLst>
                <a:cxn ang="0">
                  <a:pos x="T0" y="T1"/>
                </a:cxn>
                <a:cxn ang="0">
                  <a:pos x="T2" y="T3"/>
                </a:cxn>
                <a:cxn ang="0">
                  <a:pos x="T4" y="T5"/>
                </a:cxn>
              </a:cxnLst>
              <a:rect l="0" t="0" r="r" b="b"/>
              <a:pathLst>
                <a:path w="2" h="5">
                  <a:moveTo>
                    <a:pt x="2" y="0"/>
                  </a:moveTo>
                  <a:cubicBezTo>
                    <a:pt x="1" y="2"/>
                    <a:pt x="0" y="4"/>
                    <a:pt x="2" y="5"/>
                  </a:cubicBezTo>
                  <a:cubicBezTo>
                    <a:pt x="2"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 name="Freeform 1364">
              <a:extLst>
                <a:ext uri="{FF2B5EF4-FFF2-40B4-BE49-F238E27FC236}">
                  <a16:creationId xmlns:a16="http://schemas.microsoft.com/office/drawing/2014/main" id="{EECCD5EB-336F-49FD-AADF-8B7C964266D9}"/>
                </a:ext>
              </a:extLst>
            </p:cNvPr>
            <p:cNvSpPr>
              <a:spLocks/>
            </p:cNvSpPr>
            <p:nvPr/>
          </p:nvSpPr>
          <p:spPr bwMode="auto">
            <a:xfrm>
              <a:off x="4553" y="1558"/>
              <a:ext cx="101" cy="69"/>
            </a:xfrm>
            <a:custGeom>
              <a:avLst/>
              <a:gdLst>
                <a:gd name="T0" fmla="*/ 2 w 43"/>
                <a:gd name="T1" fmla="*/ 0 h 29"/>
                <a:gd name="T2" fmla="*/ 1 w 43"/>
                <a:gd name="T3" fmla="*/ 0 h 29"/>
                <a:gd name="T4" fmla="*/ 2 w 43"/>
                <a:gd name="T5" fmla="*/ 1 h 29"/>
                <a:gd name="T6" fmla="*/ 5 w 43"/>
                <a:gd name="T7" fmla="*/ 3 h 29"/>
                <a:gd name="T8" fmla="*/ 5 w 43"/>
                <a:gd name="T9" fmla="*/ 7 h 29"/>
                <a:gd name="T10" fmla="*/ 8 w 43"/>
                <a:gd name="T11" fmla="*/ 8 h 29"/>
                <a:gd name="T12" fmla="*/ 20 w 43"/>
                <a:gd name="T13" fmla="*/ 17 h 29"/>
                <a:gd name="T14" fmla="*/ 34 w 43"/>
                <a:gd name="T15" fmla="*/ 25 h 29"/>
                <a:gd name="T16" fmla="*/ 35 w 43"/>
                <a:gd name="T17" fmla="*/ 25 h 29"/>
                <a:gd name="T18" fmla="*/ 43 w 43"/>
                <a:gd name="T19" fmla="*/ 29 h 29"/>
                <a:gd name="T20" fmla="*/ 41 w 43"/>
                <a:gd name="T21" fmla="*/ 27 h 29"/>
                <a:gd name="T22" fmla="*/ 40 w 43"/>
                <a:gd name="T23" fmla="*/ 26 h 29"/>
                <a:gd name="T24" fmla="*/ 41 w 43"/>
                <a:gd name="T25" fmla="*/ 24 h 29"/>
                <a:gd name="T26" fmla="*/ 39 w 43"/>
                <a:gd name="T27" fmla="*/ 21 h 29"/>
                <a:gd name="T28" fmla="*/ 32 w 43"/>
                <a:gd name="T29" fmla="*/ 16 h 29"/>
                <a:gd name="T30" fmla="*/ 22 w 43"/>
                <a:gd name="T31" fmla="*/ 11 h 29"/>
                <a:gd name="T32" fmla="*/ 22 w 43"/>
                <a:gd name="T33" fmla="*/ 11 h 29"/>
                <a:gd name="T34" fmla="*/ 21 w 43"/>
                <a:gd name="T35" fmla="*/ 11 h 29"/>
                <a:gd name="T36" fmla="*/ 21 w 43"/>
                <a:gd name="T37" fmla="*/ 11 h 29"/>
                <a:gd name="T38" fmla="*/ 20 w 43"/>
                <a:gd name="T39" fmla="*/ 11 h 29"/>
                <a:gd name="T40" fmla="*/ 15 w 43"/>
                <a:gd name="T41" fmla="*/ 6 h 29"/>
                <a:gd name="T42" fmla="*/ 7 w 43"/>
                <a:gd name="T43" fmla="*/ 1 h 29"/>
                <a:gd name="T44" fmla="*/ 2 w 43"/>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 h="29">
                  <a:moveTo>
                    <a:pt x="2" y="0"/>
                  </a:moveTo>
                  <a:cubicBezTo>
                    <a:pt x="1" y="0"/>
                    <a:pt x="1" y="0"/>
                    <a:pt x="1" y="0"/>
                  </a:cubicBezTo>
                  <a:cubicBezTo>
                    <a:pt x="0" y="1"/>
                    <a:pt x="2" y="1"/>
                    <a:pt x="2" y="1"/>
                  </a:cubicBezTo>
                  <a:cubicBezTo>
                    <a:pt x="2" y="2"/>
                    <a:pt x="4" y="3"/>
                    <a:pt x="5" y="3"/>
                  </a:cubicBezTo>
                  <a:cubicBezTo>
                    <a:pt x="5" y="5"/>
                    <a:pt x="4" y="5"/>
                    <a:pt x="5" y="7"/>
                  </a:cubicBezTo>
                  <a:cubicBezTo>
                    <a:pt x="6" y="8"/>
                    <a:pt x="7" y="8"/>
                    <a:pt x="8" y="8"/>
                  </a:cubicBezTo>
                  <a:cubicBezTo>
                    <a:pt x="12" y="11"/>
                    <a:pt x="15" y="14"/>
                    <a:pt x="20" y="17"/>
                  </a:cubicBezTo>
                  <a:cubicBezTo>
                    <a:pt x="25" y="20"/>
                    <a:pt x="29" y="22"/>
                    <a:pt x="34" y="25"/>
                  </a:cubicBezTo>
                  <a:cubicBezTo>
                    <a:pt x="34" y="25"/>
                    <a:pt x="35" y="25"/>
                    <a:pt x="35" y="25"/>
                  </a:cubicBezTo>
                  <a:cubicBezTo>
                    <a:pt x="38" y="27"/>
                    <a:pt x="40" y="28"/>
                    <a:pt x="43" y="29"/>
                  </a:cubicBezTo>
                  <a:cubicBezTo>
                    <a:pt x="42" y="28"/>
                    <a:pt x="42" y="28"/>
                    <a:pt x="41" y="27"/>
                  </a:cubicBezTo>
                  <a:cubicBezTo>
                    <a:pt x="41" y="26"/>
                    <a:pt x="40" y="26"/>
                    <a:pt x="40" y="26"/>
                  </a:cubicBezTo>
                  <a:cubicBezTo>
                    <a:pt x="39" y="25"/>
                    <a:pt x="41" y="24"/>
                    <a:pt x="41" y="24"/>
                  </a:cubicBezTo>
                  <a:cubicBezTo>
                    <a:pt x="41" y="23"/>
                    <a:pt x="41" y="23"/>
                    <a:pt x="39" y="21"/>
                  </a:cubicBezTo>
                  <a:cubicBezTo>
                    <a:pt x="38" y="19"/>
                    <a:pt x="34" y="18"/>
                    <a:pt x="32" y="16"/>
                  </a:cubicBezTo>
                  <a:cubicBezTo>
                    <a:pt x="28" y="13"/>
                    <a:pt x="26" y="12"/>
                    <a:pt x="22" y="11"/>
                  </a:cubicBezTo>
                  <a:cubicBezTo>
                    <a:pt x="22" y="11"/>
                    <a:pt x="22" y="11"/>
                    <a:pt x="22" y="11"/>
                  </a:cubicBezTo>
                  <a:cubicBezTo>
                    <a:pt x="22" y="11"/>
                    <a:pt x="21" y="11"/>
                    <a:pt x="21" y="11"/>
                  </a:cubicBezTo>
                  <a:cubicBezTo>
                    <a:pt x="21" y="11"/>
                    <a:pt x="21" y="11"/>
                    <a:pt x="21" y="11"/>
                  </a:cubicBezTo>
                  <a:cubicBezTo>
                    <a:pt x="20" y="11"/>
                    <a:pt x="20" y="11"/>
                    <a:pt x="20" y="11"/>
                  </a:cubicBezTo>
                  <a:cubicBezTo>
                    <a:pt x="18" y="10"/>
                    <a:pt x="16" y="7"/>
                    <a:pt x="15" y="6"/>
                  </a:cubicBezTo>
                  <a:cubicBezTo>
                    <a:pt x="12" y="4"/>
                    <a:pt x="10" y="2"/>
                    <a:pt x="7" y="1"/>
                  </a:cubicBezTo>
                  <a:cubicBezTo>
                    <a:pt x="6"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 name="Freeform 1365">
              <a:extLst>
                <a:ext uri="{FF2B5EF4-FFF2-40B4-BE49-F238E27FC236}">
                  <a16:creationId xmlns:a16="http://schemas.microsoft.com/office/drawing/2014/main" id="{1349AA29-41BC-4BBE-A47F-3DE49D269870}"/>
                </a:ext>
              </a:extLst>
            </p:cNvPr>
            <p:cNvSpPr>
              <a:spLocks/>
            </p:cNvSpPr>
            <p:nvPr/>
          </p:nvSpPr>
          <p:spPr bwMode="auto">
            <a:xfrm>
              <a:off x="4470" y="1589"/>
              <a:ext cx="47" cy="40"/>
            </a:xfrm>
            <a:custGeom>
              <a:avLst/>
              <a:gdLst>
                <a:gd name="T0" fmla="*/ 9 w 20"/>
                <a:gd name="T1" fmla="*/ 0 h 17"/>
                <a:gd name="T2" fmla="*/ 1 w 20"/>
                <a:gd name="T3" fmla="*/ 6 h 17"/>
                <a:gd name="T4" fmla="*/ 1 w 20"/>
                <a:gd name="T5" fmla="*/ 10 h 17"/>
                <a:gd name="T6" fmla="*/ 2 w 20"/>
                <a:gd name="T7" fmla="*/ 10 h 17"/>
                <a:gd name="T8" fmla="*/ 4 w 20"/>
                <a:gd name="T9" fmla="*/ 9 h 17"/>
                <a:gd name="T10" fmla="*/ 8 w 20"/>
                <a:gd name="T11" fmla="*/ 8 h 17"/>
                <a:gd name="T12" fmla="*/ 8 w 20"/>
                <a:gd name="T13" fmla="*/ 8 h 17"/>
                <a:gd name="T14" fmla="*/ 10 w 20"/>
                <a:gd name="T15" fmla="*/ 10 h 17"/>
                <a:gd name="T16" fmla="*/ 17 w 20"/>
                <a:gd name="T17" fmla="*/ 17 h 17"/>
                <a:gd name="T18" fmla="*/ 16 w 20"/>
                <a:gd name="T19" fmla="*/ 7 h 17"/>
                <a:gd name="T20" fmla="*/ 11 w 20"/>
                <a:gd name="T21" fmla="*/ 1 h 17"/>
                <a:gd name="T22" fmla="*/ 9 w 20"/>
                <a:gd name="T2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7">
                  <a:moveTo>
                    <a:pt x="9" y="0"/>
                  </a:moveTo>
                  <a:cubicBezTo>
                    <a:pt x="6" y="0"/>
                    <a:pt x="3" y="3"/>
                    <a:pt x="1" y="6"/>
                  </a:cubicBezTo>
                  <a:cubicBezTo>
                    <a:pt x="0" y="7"/>
                    <a:pt x="0" y="9"/>
                    <a:pt x="1" y="10"/>
                  </a:cubicBezTo>
                  <a:cubicBezTo>
                    <a:pt x="1" y="10"/>
                    <a:pt x="2" y="10"/>
                    <a:pt x="2" y="10"/>
                  </a:cubicBezTo>
                  <a:cubicBezTo>
                    <a:pt x="3" y="10"/>
                    <a:pt x="4" y="9"/>
                    <a:pt x="4" y="9"/>
                  </a:cubicBezTo>
                  <a:cubicBezTo>
                    <a:pt x="5" y="8"/>
                    <a:pt x="7" y="8"/>
                    <a:pt x="8" y="8"/>
                  </a:cubicBezTo>
                  <a:cubicBezTo>
                    <a:pt x="8" y="8"/>
                    <a:pt x="8" y="8"/>
                    <a:pt x="8" y="8"/>
                  </a:cubicBezTo>
                  <a:cubicBezTo>
                    <a:pt x="11" y="8"/>
                    <a:pt x="9" y="8"/>
                    <a:pt x="10" y="10"/>
                  </a:cubicBezTo>
                  <a:cubicBezTo>
                    <a:pt x="12" y="15"/>
                    <a:pt x="12" y="14"/>
                    <a:pt x="17" y="17"/>
                  </a:cubicBezTo>
                  <a:cubicBezTo>
                    <a:pt x="20" y="13"/>
                    <a:pt x="19" y="11"/>
                    <a:pt x="16" y="7"/>
                  </a:cubicBezTo>
                  <a:cubicBezTo>
                    <a:pt x="15" y="6"/>
                    <a:pt x="13" y="2"/>
                    <a:pt x="11" y="1"/>
                  </a:cubicBezTo>
                  <a:cubicBezTo>
                    <a:pt x="10"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 name="Freeform 1366">
              <a:extLst>
                <a:ext uri="{FF2B5EF4-FFF2-40B4-BE49-F238E27FC236}">
                  <a16:creationId xmlns:a16="http://schemas.microsoft.com/office/drawing/2014/main" id="{A4333C06-FE2A-45E4-B372-26F0022968FD}"/>
                </a:ext>
              </a:extLst>
            </p:cNvPr>
            <p:cNvSpPr>
              <a:spLocks/>
            </p:cNvSpPr>
            <p:nvPr/>
          </p:nvSpPr>
          <p:spPr bwMode="auto">
            <a:xfrm>
              <a:off x="4747" y="1742"/>
              <a:ext cx="78" cy="45"/>
            </a:xfrm>
            <a:custGeom>
              <a:avLst/>
              <a:gdLst>
                <a:gd name="T0" fmla="*/ 4 w 33"/>
                <a:gd name="T1" fmla="*/ 0 h 19"/>
                <a:gd name="T2" fmla="*/ 4 w 33"/>
                <a:gd name="T3" fmla="*/ 0 h 19"/>
                <a:gd name="T4" fmla="*/ 3 w 33"/>
                <a:gd name="T5" fmla="*/ 4 h 19"/>
                <a:gd name="T6" fmla="*/ 3 w 33"/>
                <a:gd name="T7" fmla="*/ 4 h 19"/>
                <a:gd name="T8" fmla="*/ 4 w 33"/>
                <a:gd name="T9" fmla="*/ 4 h 19"/>
                <a:gd name="T10" fmla="*/ 5 w 33"/>
                <a:gd name="T11" fmla="*/ 4 h 19"/>
                <a:gd name="T12" fmla="*/ 7 w 33"/>
                <a:gd name="T13" fmla="*/ 4 h 19"/>
                <a:gd name="T14" fmla="*/ 9 w 33"/>
                <a:gd name="T15" fmla="*/ 11 h 19"/>
                <a:gd name="T16" fmla="*/ 12 w 33"/>
                <a:gd name="T17" fmla="*/ 12 h 19"/>
                <a:gd name="T18" fmla="*/ 18 w 33"/>
                <a:gd name="T19" fmla="*/ 16 h 19"/>
                <a:gd name="T20" fmla="*/ 24 w 33"/>
                <a:gd name="T21" fmla="*/ 18 h 19"/>
                <a:gd name="T22" fmla="*/ 32 w 33"/>
                <a:gd name="T23" fmla="*/ 19 h 19"/>
                <a:gd name="T24" fmla="*/ 33 w 33"/>
                <a:gd name="T25" fmla="*/ 19 h 19"/>
                <a:gd name="T26" fmla="*/ 25 w 33"/>
                <a:gd name="T27" fmla="*/ 8 h 19"/>
                <a:gd name="T28" fmla="*/ 25 w 33"/>
                <a:gd name="T29" fmla="*/ 7 h 19"/>
                <a:gd name="T30" fmla="*/ 24 w 33"/>
                <a:gd name="T31" fmla="*/ 7 h 19"/>
                <a:gd name="T32" fmla="*/ 23 w 33"/>
                <a:gd name="T33" fmla="*/ 8 h 19"/>
                <a:gd name="T34" fmla="*/ 23 w 33"/>
                <a:gd name="T35" fmla="*/ 8 h 19"/>
                <a:gd name="T36" fmla="*/ 11 w 33"/>
                <a:gd name="T37" fmla="*/ 3 h 19"/>
                <a:gd name="T38" fmla="*/ 4 w 33"/>
                <a:gd name="T3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 h="19">
                  <a:moveTo>
                    <a:pt x="4" y="0"/>
                  </a:moveTo>
                  <a:cubicBezTo>
                    <a:pt x="4" y="0"/>
                    <a:pt x="4" y="0"/>
                    <a:pt x="4" y="0"/>
                  </a:cubicBezTo>
                  <a:cubicBezTo>
                    <a:pt x="1" y="0"/>
                    <a:pt x="0" y="2"/>
                    <a:pt x="3" y="4"/>
                  </a:cubicBezTo>
                  <a:cubicBezTo>
                    <a:pt x="3" y="4"/>
                    <a:pt x="3" y="4"/>
                    <a:pt x="3" y="4"/>
                  </a:cubicBezTo>
                  <a:cubicBezTo>
                    <a:pt x="3" y="4"/>
                    <a:pt x="4" y="4"/>
                    <a:pt x="4" y="4"/>
                  </a:cubicBezTo>
                  <a:cubicBezTo>
                    <a:pt x="5" y="4"/>
                    <a:pt x="5" y="4"/>
                    <a:pt x="5" y="4"/>
                  </a:cubicBezTo>
                  <a:cubicBezTo>
                    <a:pt x="6" y="4"/>
                    <a:pt x="6" y="4"/>
                    <a:pt x="7" y="4"/>
                  </a:cubicBezTo>
                  <a:cubicBezTo>
                    <a:pt x="8" y="5"/>
                    <a:pt x="8" y="9"/>
                    <a:pt x="9" y="11"/>
                  </a:cubicBezTo>
                  <a:cubicBezTo>
                    <a:pt x="10" y="11"/>
                    <a:pt x="12" y="12"/>
                    <a:pt x="12" y="12"/>
                  </a:cubicBezTo>
                  <a:cubicBezTo>
                    <a:pt x="14" y="14"/>
                    <a:pt x="16" y="15"/>
                    <a:pt x="18" y="16"/>
                  </a:cubicBezTo>
                  <a:cubicBezTo>
                    <a:pt x="20" y="16"/>
                    <a:pt x="22" y="17"/>
                    <a:pt x="24" y="18"/>
                  </a:cubicBezTo>
                  <a:cubicBezTo>
                    <a:pt x="26" y="18"/>
                    <a:pt x="29" y="19"/>
                    <a:pt x="32" y="19"/>
                  </a:cubicBezTo>
                  <a:cubicBezTo>
                    <a:pt x="32" y="19"/>
                    <a:pt x="33" y="19"/>
                    <a:pt x="33" y="19"/>
                  </a:cubicBezTo>
                  <a:cubicBezTo>
                    <a:pt x="32" y="15"/>
                    <a:pt x="28" y="11"/>
                    <a:pt x="25" y="8"/>
                  </a:cubicBezTo>
                  <a:cubicBezTo>
                    <a:pt x="25" y="7"/>
                    <a:pt x="25" y="7"/>
                    <a:pt x="25" y="7"/>
                  </a:cubicBezTo>
                  <a:cubicBezTo>
                    <a:pt x="24" y="7"/>
                    <a:pt x="24" y="7"/>
                    <a:pt x="24" y="7"/>
                  </a:cubicBezTo>
                  <a:cubicBezTo>
                    <a:pt x="24" y="8"/>
                    <a:pt x="24" y="8"/>
                    <a:pt x="23" y="8"/>
                  </a:cubicBezTo>
                  <a:cubicBezTo>
                    <a:pt x="23" y="8"/>
                    <a:pt x="23" y="8"/>
                    <a:pt x="23" y="8"/>
                  </a:cubicBezTo>
                  <a:cubicBezTo>
                    <a:pt x="19" y="7"/>
                    <a:pt x="15" y="4"/>
                    <a:pt x="11" y="3"/>
                  </a:cubicBezTo>
                  <a:cubicBezTo>
                    <a:pt x="9" y="2"/>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 name="Freeform 1367">
              <a:extLst>
                <a:ext uri="{FF2B5EF4-FFF2-40B4-BE49-F238E27FC236}">
                  <a16:creationId xmlns:a16="http://schemas.microsoft.com/office/drawing/2014/main" id="{A8818EC5-86E9-4468-BF96-C9C5C761906C}"/>
                </a:ext>
              </a:extLst>
            </p:cNvPr>
            <p:cNvSpPr>
              <a:spLocks/>
            </p:cNvSpPr>
            <p:nvPr/>
          </p:nvSpPr>
          <p:spPr bwMode="auto">
            <a:xfrm>
              <a:off x="4463" y="1601"/>
              <a:ext cx="7" cy="9"/>
            </a:xfrm>
            <a:custGeom>
              <a:avLst/>
              <a:gdLst>
                <a:gd name="T0" fmla="*/ 1 w 3"/>
                <a:gd name="T1" fmla="*/ 0 h 4"/>
                <a:gd name="T2" fmla="*/ 0 w 3"/>
                <a:gd name="T3" fmla="*/ 0 h 4"/>
                <a:gd name="T4" fmla="*/ 3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0" y="0"/>
                    <a:pt x="0" y="0"/>
                    <a:pt x="0" y="0"/>
                  </a:cubicBezTo>
                  <a:cubicBezTo>
                    <a:pt x="1" y="1"/>
                    <a:pt x="2" y="3"/>
                    <a:pt x="3" y="4"/>
                  </a:cubicBezTo>
                  <a:cubicBezTo>
                    <a:pt x="3"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 name="Freeform 1368">
              <a:extLst>
                <a:ext uri="{FF2B5EF4-FFF2-40B4-BE49-F238E27FC236}">
                  <a16:creationId xmlns:a16="http://schemas.microsoft.com/office/drawing/2014/main" id="{F3F2A90F-952E-4267-A04D-EB918C71770E}"/>
                </a:ext>
              </a:extLst>
            </p:cNvPr>
            <p:cNvSpPr>
              <a:spLocks/>
            </p:cNvSpPr>
            <p:nvPr/>
          </p:nvSpPr>
          <p:spPr bwMode="auto">
            <a:xfrm>
              <a:off x="4699" y="1610"/>
              <a:ext cx="57" cy="92"/>
            </a:xfrm>
            <a:custGeom>
              <a:avLst/>
              <a:gdLst>
                <a:gd name="T0" fmla="*/ 5 w 24"/>
                <a:gd name="T1" fmla="*/ 0 h 39"/>
                <a:gd name="T2" fmla="*/ 5 w 24"/>
                <a:gd name="T3" fmla="*/ 2 h 39"/>
                <a:gd name="T4" fmla="*/ 2 w 24"/>
                <a:gd name="T5" fmla="*/ 1 h 39"/>
                <a:gd name="T6" fmla="*/ 3 w 24"/>
                <a:gd name="T7" fmla="*/ 5 h 39"/>
                <a:gd name="T8" fmla="*/ 3 w 24"/>
                <a:gd name="T9" fmla="*/ 10 h 39"/>
                <a:gd name="T10" fmla="*/ 9 w 24"/>
                <a:gd name="T11" fmla="*/ 25 h 39"/>
                <a:gd name="T12" fmla="*/ 24 w 24"/>
                <a:gd name="T13" fmla="*/ 39 h 39"/>
                <a:gd name="T14" fmla="*/ 24 w 24"/>
                <a:gd name="T15" fmla="*/ 35 h 39"/>
                <a:gd name="T16" fmla="*/ 22 w 24"/>
                <a:gd name="T17" fmla="*/ 32 h 39"/>
                <a:gd name="T18" fmla="*/ 21 w 24"/>
                <a:gd name="T19" fmla="*/ 28 h 39"/>
                <a:gd name="T20" fmla="*/ 18 w 24"/>
                <a:gd name="T21" fmla="*/ 21 h 39"/>
                <a:gd name="T22" fmla="*/ 15 w 24"/>
                <a:gd name="T23" fmla="*/ 18 h 39"/>
                <a:gd name="T24" fmla="*/ 10 w 24"/>
                <a:gd name="T25" fmla="*/ 7 h 39"/>
                <a:gd name="T26" fmla="*/ 5 w 24"/>
                <a:gd name="T2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9">
                  <a:moveTo>
                    <a:pt x="5" y="0"/>
                  </a:moveTo>
                  <a:cubicBezTo>
                    <a:pt x="5" y="1"/>
                    <a:pt x="5" y="1"/>
                    <a:pt x="5" y="2"/>
                  </a:cubicBezTo>
                  <a:cubicBezTo>
                    <a:pt x="3" y="1"/>
                    <a:pt x="2" y="1"/>
                    <a:pt x="2" y="1"/>
                  </a:cubicBezTo>
                  <a:cubicBezTo>
                    <a:pt x="0" y="1"/>
                    <a:pt x="2" y="3"/>
                    <a:pt x="3" y="5"/>
                  </a:cubicBezTo>
                  <a:cubicBezTo>
                    <a:pt x="5" y="8"/>
                    <a:pt x="4" y="8"/>
                    <a:pt x="3" y="10"/>
                  </a:cubicBezTo>
                  <a:cubicBezTo>
                    <a:pt x="3" y="14"/>
                    <a:pt x="7" y="22"/>
                    <a:pt x="9" y="25"/>
                  </a:cubicBezTo>
                  <a:cubicBezTo>
                    <a:pt x="14" y="30"/>
                    <a:pt x="19" y="35"/>
                    <a:pt x="24" y="39"/>
                  </a:cubicBezTo>
                  <a:cubicBezTo>
                    <a:pt x="24" y="38"/>
                    <a:pt x="24" y="36"/>
                    <a:pt x="24" y="35"/>
                  </a:cubicBezTo>
                  <a:cubicBezTo>
                    <a:pt x="23" y="34"/>
                    <a:pt x="22" y="33"/>
                    <a:pt x="22" y="32"/>
                  </a:cubicBezTo>
                  <a:cubicBezTo>
                    <a:pt x="21" y="30"/>
                    <a:pt x="21" y="30"/>
                    <a:pt x="21" y="28"/>
                  </a:cubicBezTo>
                  <a:cubicBezTo>
                    <a:pt x="20" y="26"/>
                    <a:pt x="20" y="23"/>
                    <a:pt x="18" y="21"/>
                  </a:cubicBezTo>
                  <a:cubicBezTo>
                    <a:pt x="17" y="20"/>
                    <a:pt x="16" y="18"/>
                    <a:pt x="15" y="18"/>
                  </a:cubicBezTo>
                  <a:cubicBezTo>
                    <a:pt x="13" y="15"/>
                    <a:pt x="13" y="10"/>
                    <a:pt x="10" y="7"/>
                  </a:cubicBezTo>
                  <a:cubicBezTo>
                    <a:pt x="9" y="5"/>
                    <a:pt x="8"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1" name="Freeform 1369">
              <a:extLst>
                <a:ext uri="{FF2B5EF4-FFF2-40B4-BE49-F238E27FC236}">
                  <a16:creationId xmlns:a16="http://schemas.microsoft.com/office/drawing/2014/main" id="{C1FAFF2C-5B9F-47F6-A0D7-DC87B92E3105}"/>
                </a:ext>
              </a:extLst>
            </p:cNvPr>
            <p:cNvSpPr>
              <a:spLocks/>
            </p:cNvSpPr>
            <p:nvPr/>
          </p:nvSpPr>
          <p:spPr bwMode="auto">
            <a:xfrm>
              <a:off x="4425" y="1586"/>
              <a:ext cx="5" cy="17"/>
            </a:xfrm>
            <a:custGeom>
              <a:avLst/>
              <a:gdLst>
                <a:gd name="T0" fmla="*/ 0 w 2"/>
                <a:gd name="T1" fmla="*/ 0 h 7"/>
                <a:gd name="T2" fmla="*/ 1 w 2"/>
                <a:gd name="T3" fmla="*/ 7 h 7"/>
                <a:gd name="T4" fmla="*/ 0 w 2"/>
                <a:gd name="T5" fmla="*/ 0 h 7"/>
              </a:gdLst>
              <a:ahLst/>
              <a:cxnLst>
                <a:cxn ang="0">
                  <a:pos x="T0" y="T1"/>
                </a:cxn>
                <a:cxn ang="0">
                  <a:pos x="T2" y="T3"/>
                </a:cxn>
                <a:cxn ang="0">
                  <a:pos x="T4" y="T5"/>
                </a:cxn>
              </a:cxnLst>
              <a:rect l="0" t="0" r="r" b="b"/>
              <a:pathLst>
                <a:path w="2" h="7">
                  <a:moveTo>
                    <a:pt x="0" y="0"/>
                  </a:moveTo>
                  <a:cubicBezTo>
                    <a:pt x="0" y="2"/>
                    <a:pt x="1" y="5"/>
                    <a:pt x="1" y="7"/>
                  </a:cubicBezTo>
                  <a:cubicBezTo>
                    <a:pt x="2" y="5"/>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2" name="Freeform 1370">
              <a:extLst>
                <a:ext uri="{FF2B5EF4-FFF2-40B4-BE49-F238E27FC236}">
                  <a16:creationId xmlns:a16="http://schemas.microsoft.com/office/drawing/2014/main" id="{BDE49DD1-AD1A-4E6E-83CC-672C5A84B983}"/>
                </a:ext>
              </a:extLst>
            </p:cNvPr>
            <p:cNvSpPr>
              <a:spLocks/>
            </p:cNvSpPr>
            <p:nvPr/>
          </p:nvSpPr>
          <p:spPr bwMode="auto">
            <a:xfrm>
              <a:off x="4487" y="1638"/>
              <a:ext cx="11" cy="7"/>
            </a:xfrm>
            <a:custGeom>
              <a:avLst/>
              <a:gdLst>
                <a:gd name="T0" fmla="*/ 2 w 5"/>
                <a:gd name="T1" fmla="*/ 0 h 3"/>
                <a:gd name="T2" fmla="*/ 0 w 5"/>
                <a:gd name="T3" fmla="*/ 0 h 3"/>
                <a:gd name="T4" fmla="*/ 5 w 5"/>
                <a:gd name="T5" fmla="*/ 3 h 3"/>
                <a:gd name="T6" fmla="*/ 2 w 5"/>
                <a:gd name="T7" fmla="*/ 0 h 3"/>
              </a:gdLst>
              <a:ahLst/>
              <a:cxnLst>
                <a:cxn ang="0">
                  <a:pos x="T0" y="T1"/>
                </a:cxn>
                <a:cxn ang="0">
                  <a:pos x="T2" y="T3"/>
                </a:cxn>
                <a:cxn ang="0">
                  <a:pos x="T4" y="T5"/>
                </a:cxn>
                <a:cxn ang="0">
                  <a:pos x="T6" y="T7"/>
                </a:cxn>
              </a:cxnLst>
              <a:rect l="0" t="0" r="r" b="b"/>
              <a:pathLst>
                <a:path w="5" h="3">
                  <a:moveTo>
                    <a:pt x="2" y="0"/>
                  </a:moveTo>
                  <a:cubicBezTo>
                    <a:pt x="2" y="0"/>
                    <a:pt x="1" y="0"/>
                    <a:pt x="0" y="0"/>
                  </a:cubicBezTo>
                  <a:cubicBezTo>
                    <a:pt x="2" y="1"/>
                    <a:pt x="3" y="2"/>
                    <a:pt x="5" y="3"/>
                  </a:cubicBezTo>
                  <a:cubicBezTo>
                    <a:pt x="4" y="0"/>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3" name="Freeform 1371">
              <a:extLst>
                <a:ext uri="{FF2B5EF4-FFF2-40B4-BE49-F238E27FC236}">
                  <a16:creationId xmlns:a16="http://schemas.microsoft.com/office/drawing/2014/main" id="{D4FB7F3D-0B1C-461B-9E43-0DB0F9B58A53}"/>
                </a:ext>
              </a:extLst>
            </p:cNvPr>
            <p:cNvSpPr>
              <a:spLocks/>
            </p:cNvSpPr>
            <p:nvPr/>
          </p:nvSpPr>
          <p:spPr bwMode="auto">
            <a:xfrm>
              <a:off x="4468" y="1619"/>
              <a:ext cx="21" cy="22"/>
            </a:xfrm>
            <a:custGeom>
              <a:avLst/>
              <a:gdLst>
                <a:gd name="T0" fmla="*/ 5 w 9"/>
                <a:gd name="T1" fmla="*/ 0 h 9"/>
                <a:gd name="T2" fmla="*/ 2 w 9"/>
                <a:gd name="T3" fmla="*/ 2 h 9"/>
                <a:gd name="T4" fmla="*/ 6 w 9"/>
                <a:gd name="T5" fmla="*/ 9 h 9"/>
                <a:gd name="T6" fmla="*/ 6 w 9"/>
                <a:gd name="T7" fmla="*/ 0 h 9"/>
                <a:gd name="T8" fmla="*/ 5 w 9"/>
                <a:gd name="T9" fmla="*/ 0 h 9"/>
              </a:gdLst>
              <a:ahLst/>
              <a:cxnLst>
                <a:cxn ang="0">
                  <a:pos x="T0" y="T1"/>
                </a:cxn>
                <a:cxn ang="0">
                  <a:pos x="T2" y="T3"/>
                </a:cxn>
                <a:cxn ang="0">
                  <a:pos x="T4" y="T5"/>
                </a:cxn>
                <a:cxn ang="0">
                  <a:pos x="T6" y="T7"/>
                </a:cxn>
                <a:cxn ang="0">
                  <a:pos x="T8" y="T9"/>
                </a:cxn>
              </a:cxnLst>
              <a:rect l="0" t="0" r="r" b="b"/>
              <a:pathLst>
                <a:path w="9" h="9">
                  <a:moveTo>
                    <a:pt x="5" y="0"/>
                  </a:moveTo>
                  <a:cubicBezTo>
                    <a:pt x="4" y="0"/>
                    <a:pt x="2" y="1"/>
                    <a:pt x="2" y="2"/>
                  </a:cubicBezTo>
                  <a:cubicBezTo>
                    <a:pt x="0" y="5"/>
                    <a:pt x="3" y="7"/>
                    <a:pt x="6" y="9"/>
                  </a:cubicBezTo>
                  <a:cubicBezTo>
                    <a:pt x="2" y="4"/>
                    <a:pt x="9" y="4"/>
                    <a:pt x="6" y="0"/>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4" name="Freeform 1372">
              <a:extLst>
                <a:ext uri="{FF2B5EF4-FFF2-40B4-BE49-F238E27FC236}">
                  <a16:creationId xmlns:a16="http://schemas.microsoft.com/office/drawing/2014/main" id="{83BD6E48-58E4-40B9-9B8A-539C8A810F2E}"/>
                </a:ext>
              </a:extLst>
            </p:cNvPr>
            <p:cNvSpPr>
              <a:spLocks/>
            </p:cNvSpPr>
            <p:nvPr/>
          </p:nvSpPr>
          <p:spPr bwMode="auto">
            <a:xfrm>
              <a:off x="4416" y="1494"/>
              <a:ext cx="80" cy="52"/>
            </a:xfrm>
            <a:custGeom>
              <a:avLst/>
              <a:gdLst>
                <a:gd name="T0" fmla="*/ 3 w 34"/>
                <a:gd name="T1" fmla="*/ 0 h 22"/>
                <a:gd name="T2" fmla="*/ 1 w 34"/>
                <a:gd name="T3" fmla="*/ 3 h 22"/>
                <a:gd name="T4" fmla="*/ 7 w 34"/>
                <a:gd name="T5" fmla="*/ 8 h 22"/>
                <a:gd name="T6" fmla="*/ 12 w 34"/>
                <a:gd name="T7" fmla="*/ 15 h 22"/>
                <a:gd name="T8" fmla="*/ 24 w 34"/>
                <a:gd name="T9" fmla="*/ 22 h 22"/>
                <a:gd name="T10" fmla="*/ 27 w 34"/>
                <a:gd name="T11" fmla="*/ 22 h 22"/>
                <a:gd name="T12" fmla="*/ 32 w 34"/>
                <a:gd name="T13" fmla="*/ 20 h 22"/>
                <a:gd name="T14" fmla="*/ 26 w 34"/>
                <a:gd name="T15" fmla="*/ 19 h 22"/>
                <a:gd name="T16" fmla="*/ 22 w 34"/>
                <a:gd name="T17" fmla="*/ 16 h 22"/>
                <a:gd name="T18" fmla="*/ 17 w 34"/>
                <a:gd name="T19" fmla="*/ 8 h 22"/>
                <a:gd name="T20" fmla="*/ 10 w 34"/>
                <a:gd name="T21" fmla="*/ 4 h 22"/>
                <a:gd name="T22" fmla="*/ 5 w 34"/>
                <a:gd name="T23" fmla="*/ 1 h 22"/>
                <a:gd name="T24" fmla="*/ 3 w 34"/>
                <a:gd name="T2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22">
                  <a:moveTo>
                    <a:pt x="3" y="0"/>
                  </a:moveTo>
                  <a:cubicBezTo>
                    <a:pt x="1" y="0"/>
                    <a:pt x="0" y="1"/>
                    <a:pt x="1" y="3"/>
                  </a:cubicBezTo>
                  <a:cubicBezTo>
                    <a:pt x="2" y="5"/>
                    <a:pt x="5" y="6"/>
                    <a:pt x="7" y="8"/>
                  </a:cubicBezTo>
                  <a:cubicBezTo>
                    <a:pt x="9" y="10"/>
                    <a:pt x="10" y="12"/>
                    <a:pt x="12" y="15"/>
                  </a:cubicBezTo>
                  <a:cubicBezTo>
                    <a:pt x="17" y="18"/>
                    <a:pt x="19" y="20"/>
                    <a:pt x="24" y="22"/>
                  </a:cubicBezTo>
                  <a:cubicBezTo>
                    <a:pt x="25" y="22"/>
                    <a:pt x="26" y="22"/>
                    <a:pt x="27" y="22"/>
                  </a:cubicBezTo>
                  <a:cubicBezTo>
                    <a:pt x="30" y="22"/>
                    <a:pt x="34" y="22"/>
                    <a:pt x="32" y="20"/>
                  </a:cubicBezTo>
                  <a:cubicBezTo>
                    <a:pt x="31" y="20"/>
                    <a:pt x="28" y="20"/>
                    <a:pt x="26" y="19"/>
                  </a:cubicBezTo>
                  <a:cubicBezTo>
                    <a:pt x="25" y="19"/>
                    <a:pt x="23" y="17"/>
                    <a:pt x="22" y="16"/>
                  </a:cubicBezTo>
                  <a:cubicBezTo>
                    <a:pt x="20" y="13"/>
                    <a:pt x="21" y="10"/>
                    <a:pt x="17" y="8"/>
                  </a:cubicBezTo>
                  <a:cubicBezTo>
                    <a:pt x="15" y="7"/>
                    <a:pt x="12" y="6"/>
                    <a:pt x="10" y="4"/>
                  </a:cubicBezTo>
                  <a:cubicBezTo>
                    <a:pt x="8" y="3"/>
                    <a:pt x="7" y="2"/>
                    <a:pt x="5" y="1"/>
                  </a:cubicBezTo>
                  <a:cubicBezTo>
                    <a:pt x="4"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5" name="Freeform 1373">
              <a:extLst>
                <a:ext uri="{FF2B5EF4-FFF2-40B4-BE49-F238E27FC236}">
                  <a16:creationId xmlns:a16="http://schemas.microsoft.com/office/drawing/2014/main" id="{590DA3FD-1938-4B0B-84B4-C715B7F019AB}"/>
                </a:ext>
              </a:extLst>
            </p:cNvPr>
            <p:cNvSpPr>
              <a:spLocks/>
            </p:cNvSpPr>
            <p:nvPr/>
          </p:nvSpPr>
          <p:spPr bwMode="auto">
            <a:xfrm>
              <a:off x="4543" y="1553"/>
              <a:ext cx="10" cy="7"/>
            </a:xfrm>
            <a:custGeom>
              <a:avLst/>
              <a:gdLst>
                <a:gd name="T0" fmla="*/ 0 w 4"/>
                <a:gd name="T1" fmla="*/ 0 h 3"/>
                <a:gd name="T2" fmla="*/ 4 w 4"/>
                <a:gd name="T3" fmla="*/ 3 h 3"/>
                <a:gd name="T4" fmla="*/ 0 w 4"/>
                <a:gd name="T5" fmla="*/ 0 h 3"/>
              </a:gdLst>
              <a:ahLst/>
              <a:cxnLst>
                <a:cxn ang="0">
                  <a:pos x="T0" y="T1"/>
                </a:cxn>
                <a:cxn ang="0">
                  <a:pos x="T2" y="T3"/>
                </a:cxn>
                <a:cxn ang="0">
                  <a:pos x="T4" y="T5"/>
                </a:cxn>
              </a:cxnLst>
              <a:rect l="0" t="0" r="r" b="b"/>
              <a:pathLst>
                <a:path w="4" h="3">
                  <a:moveTo>
                    <a:pt x="0" y="0"/>
                  </a:moveTo>
                  <a:cubicBezTo>
                    <a:pt x="2" y="1"/>
                    <a:pt x="3" y="2"/>
                    <a:pt x="4" y="3"/>
                  </a:cubicBezTo>
                  <a:cubicBezTo>
                    <a:pt x="3"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6" name="Freeform 1374">
              <a:extLst>
                <a:ext uri="{FF2B5EF4-FFF2-40B4-BE49-F238E27FC236}">
                  <a16:creationId xmlns:a16="http://schemas.microsoft.com/office/drawing/2014/main" id="{F96085DF-0284-4936-A15C-B4B33237755A}"/>
                </a:ext>
              </a:extLst>
            </p:cNvPr>
            <p:cNvSpPr>
              <a:spLocks/>
            </p:cNvSpPr>
            <p:nvPr/>
          </p:nvSpPr>
          <p:spPr bwMode="auto">
            <a:xfrm>
              <a:off x="4794" y="1707"/>
              <a:ext cx="2" cy="12"/>
            </a:xfrm>
            <a:custGeom>
              <a:avLst/>
              <a:gdLst>
                <a:gd name="T0" fmla="*/ 1 w 1"/>
                <a:gd name="T1" fmla="*/ 0 h 5"/>
                <a:gd name="T2" fmla="*/ 1 w 1"/>
                <a:gd name="T3" fmla="*/ 5 h 5"/>
                <a:gd name="T4" fmla="*/ 1 w 1"/>
                <a:gd name="T5" fmla="*/ 0 h 5"/>
              </a:gdLst>
              <a:ahLst/>
              <a:cxnLst>
                <a:cxn ang="0">
                  <a:pos x="T0" y="T1"/>
                </a:cxn>
                <a:cxn ang="0">
                  <a:pos x="T2" y="T3"/>
                </a:cxn>
                <a:cxn ang="0">
                  <a:pos x="T4" y="T5"/>
                </a:cxn>
              </a:cxnLst>
              <a:rect l="0" t="0" r="r" b="b"/>
              <a:pathLst>
                <a:path w="1" h="5">
                  <a:moveTo>
                    <a:pt x="1" y="0"/>
                  </a:moveTo>
                  <a:cubicBezTo>
                    <a:pt x="0" y="1"/>
                    <a:pt x="1" y="3"/>
                    <a:pt x="1" y="5"/>
                  </a:cubicBezTo>
                  <a:cubicBezTo>
                    <a:pt x="1" y="3"/>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7" name="Freeform 1375">
              <a:extLst>
                <a:ext uri="{FF2B5EF4-FFF2-40B4-BE49-F238E27FC236}">
                  <a16:creationId xmlns:a16="http://schemas.microsoft.com/office/drawing/2014/main" id="{A7E47388-1A87-4C4F-A756-A6AF3EDCA0EB}"/>
                </a:ext>
              </a:extLst>
            </p:cNvPr>
            <p:cNvSpPr>
              <a:spLocks/>
            </p:cNvSpPr>
            <p:nvPr/>
          </p:nvSpPr>
          <p:spPr bwMode="auto">
            <a:xfrm>
              <a:off x="4631" y="1676"/>
              <a:ext cx="85" cy="47"/>
            </a:xfrm>
            <a:custGeom>
              <a:avLst/>
              <a:gdLst>
                <a:gd name="T0" fmla="*/ 4 w 36"/>
                <a:gd name="T1" fmla="*/ 0 h 20"/>
                <a:gd name="T2" fmla="*/ 1 w 36"/>
                <a:gd name="T3" fmla="*/ 2 h 20"/>
                <a:gd name="T4" fmla="*/ 3 w 36"/>
                <a:gd name="T5" fmla="*/ 10 h 20"/>
                <a:gd name="T6" fmla="*/ 14 w 36"/>
                <a:gd name="T7" fmla="*/ 17 h 20"/>
                <a:gd name="T8" fmla="*/ 15 w 36"/>
                <a:gd name="T9" fmla="*/ 17 h 20"/>
                <a:gd name="T10" fmla="*/ 17 w 36"/>
                <a:gd name="T11" fmla="*/ 16 h 20"/>
                <a:gd name="T12" fmla="*/ 20 w 36"/>
                <a:gd name="T13" fmla="*/ 16 h 20"/>
                <a:gd name="T14" fmla="*/ 23 w 36"/>
                <a:gd name="T15" fmla="*/ 17 h 20"/>
                <a:gd name="T16" fmla="*/ 25 w 36"/>
                <a:gd name="T17" fmla="*/ 19 h 20"/>
                <a:gd name="T18" fmla="*/ 32 w 36"/>
                <a:gd name="T19" fmla="*/ 20 h 20"/>
                <a:gd name="T20" fmla="*/ 35 w 36"/>
                <a:gd name="T21" fmla="*/ 14 h 20"/>
                <a:gd name="T22" fmla="*/ 34 w 36"/>
                <a:gd name="T23" fmla="*/ 13 h 20"/>
                <a:gd name="T24" fmla="*/ 30 w 36"/>
                <a:gd name="T25" fmla="*/ 9 h 20"/>
                <a:gd name="T26" fmla="*/ 18 w 36"/>
                <a:gd name="T27" fmla="*/ 5 h 20"/>
                <a:gd name="T28" fmla="*/ 18 w 36"/>
                <a:gd name="T29" fmla="*/ 5 h 20"/>
                <a:gd name="T30" fmla="*/ 16 w 36"/>
                <a:gd name="T31" fmla="*/ 5 h 20"/>
                <a:gd name="T32" fmla="*/ 15 w 36"/>
                <a:gd name="T33" fmla="*/ 5 h 20"/>
                <a:gd name="T34" fmla="*/ 14 w 36"/>
                <a:gd name="T35" fmla="*/ 5 h 20"/>
                <a:gd name="T36" fmla="*/ 4 w 36"/>
                <a:gd name="T3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20">
                  <a:moveTo>
                    <a:pt x="4" y="0"/>
                  </a:moveTo>
                  <a:cubicBezTo>
                    <a:pt x="3" y="0"/>
                    <a:pt x="2" y="1"/>
                    <a:pt x="1" y="2"/>
                  </a:cubicBezTo>
                  <a:cubicBezTo>
                    <a:pt x="0" y="5"/>
                    <a:pt x="2" y="8"/>
                    <a:pt x="3" y="10"/>
                  </a:cubicBezTo>
                  <a:cubicBezTo>
                    <a:pt x="6" y="15"/>
                    <a:pt x="9" y="16"/>
                    <a:pt x="14" y="17"/>
                  </a:cubicBezTo>
                  <a:cubicBezTo>
                    <a:pt x="14" y="17"/>
                    <a:pt x="15" y="17"/>
                    <a:pt x="15" y="17"/>
                  </a:cubicBezTo>
                  <a:cubicBezTo>
                    <a:pt x="16" y="17"/>
                    <a:pt x="17" y="17"/>
                    <a:pt x="17" y="16"/>
                  </a:cubicBezTo>
                  <a:cubicBezTo>
                    <a:pt x="18" y="16"/>
                    <a:pt x="19" y="16"/>
                    <a:pt x="20" y="16"/>
                  </a:cubicBezTo>
                  <a:cubicBezTo>
                    <a:pt x="21" y="16"/>
                    <a:pt x="22" y="16"/>
                    <a:pt x="23" y="17"/>
                  </a:cubicBezTo>
                  <a:cubicBezTo>
                    <a:pt x="24" y="17"/>
                    <a:pt x="25" y="18"/>
                    <a:pt x="25" y="19"/>
                  </a:cubicBezTo>
                  <a:cubicBezTo>
                    <a:pt x="27" y="19"/>
                    <a:pt x="30" y="19"/>
                    <a:pt x="32" y="20"/>
                  </a:cubicBezTo>
                  <a:cubicBezTo>
                    <a:pt x="34" y="18"/>
                    <a:pt x="36" y="16"/>
                    <a:pt x="35" y="14"/>
                  </a:cubicBezTo>
                  <a:cubicBezTo>
                    <a:pt x="34" y="13"/>
                    <a:pt x="34" y="13"/>
                    <a:pt x="34" y="13"/>
                  </a:cubicBezTo>
                  <a:cubicBezTo>
                    <a:pt x="33" y="12"/>
                    <a:pt x="31" y="10"/>
                    <a:pt x="30" y="9"/>
                  </a:cubicBezTo>
                  <a:cubicBezTo>
                    <a:pt x="26" y="5"/>
                    <a:pt x="22" y="5"/>
                    <a:pt x="18" y="5"/>
                  </a:cubicBezTo>
                  <a:cubicBezTo>
                    <a:pt x="18" y="5"/>
                    <a:pt x="18" y="5"/>
                    <a:pt x="18" y="5"/>
                  </a:cubicBezTo>
                  <a:cubicBezTo>
                    <a:pt x="17" y="5"/>
                    <a:pt x="17" y="5"/>
                    <a:pt x="16" y="5"/>
                  </a:cubicBezTo>
                  <a:cubicBezTo>
                    <a:pt x="16" y="5"/>
                    <a:pt x="16" y="5"/>
                    <a:pt x="15" y="5"/>
                  </a:cubicBezTo>
                  <a:cubicBezTo>
                    <a:pt x="15" y="5"/>
                    <a:pt x="15" y="5"/>
                    <a:pt x="14" y="5"/>
                  </a:cubicBezTo>
                  <a:cubicBezTo>
                    <a:pt x="12" y="4"/>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8" name="Freeform 1376">
              <a:extLst>
                <a:ext uri="{FF2B5EF4-FFF2-40B4-BE49-F238E27FC236}">
                  <a16:creationId xmlns:a16="http://schemas.microsoft.com/office/drawing/2014/main" id="{7BA7FBBC-D769-4B68-8AA8-5873D3F4BADF}"/>
                </a:ext>
              </a:extLst>
            </p:cNvPr>
            <p:cNvSpPr>
              <a:spLocks/>
            </p:cNvSpPr>
            <p:nvPr/>
          </p:nvSpPr>
          <p:spPr bwMode="auto">
            <a:xfrm>
              <a:off x="4754" y="1683"/>
              <a:ext cx="14" cy="31"/>
            </a:xfrm>
            <a:custGeom>
              <a:avLst/>
              <a:gdLst>
                <a:gd name="T0" fmla="*/ 0 w 6"/>
                <a:gd name="T1" fmla="*/ 0 h 13"/>
                <a:gd name="T2" fmla="*/ 6 w 6"/>
                <a:gd name="T3" fmla="*/ 13 h 13"/>
                <a:gd name="T4" fmla="*/ 0 w 6"/>
                <a:gd name="T5" fmla="*/ 0 h 13"/>
              </a:gdLst>
              <a:ahLst/>
              <a:cxnLst>
                <a:cxn ang="0">
                  <a:pos x="T0" y="T1"/>
                </a:cxn>
                <a:cxn ang="0">
                  <a:pos x="T2" y="T3"/>
                </a:cxn>
                <a:cxn ang="0">
                  <a:pos x="T4" y="T5"/>
                </a:cxn>
              </a:cxnLst>
              <a:rect l="0" t="0" r="r" b="b"/>
              <a:pathLst>
                <a:path w="6" h="13">
                  <a:moveTo>
                    <a:pt x="0" y="0"/>
                  </a:moveTo>
                  <a:cubicBezTo>
                    <a:pt x="2" y="4"/>
                    <a:pt x="4" y="9"/>
                    <a:pt x="6" y="13"/>
                  </a:cubicBezTo>
                  <a:cubicBezTo>
                    <a:pt x="6" y="8"/>
                    <a:pt x="4"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9" name="Freeform 1377">
              <a:extLst>
                <a:ext uri="{FF2B5EF4-FFF2-40B4-BE49-F238E27FC236}">
                  <a16:creationId xmlns:a16="http://schemas.microsoft.com/office/drawing/2014/main" id="{4041DAD1-58D4-43F4-8775-DCB873201743}"/>
                </a:ext>
              </a:extLst>
            </p:cNvPr>
            <p:cNvSpPr>
              <a:spLocks/>
            </p:cNvSpPr>
            <p:nvPr/>
          </p:nvSpPr>
          <p:spPr bwMode="auto">
            <a:xfrm>
              <a:off x="4633" y="1617"/>
              <a:ext cx="7" cy="10"/>
            </a:xfrm>
            <a:custGeom>
              <a:avLst/>
              <a:gdLst>
                <a:gd name="T0" fmla="*/ 0 w 3"/>
                <a:gd name="T1" fmla="*/ 0 h 4"/>
                <a:gd name="T2" fmla="*/ 3 w 3"/>
                <a:gd name="T3" fmla="*/ 4 h 4"/>
                <a:gd name="T4" fmla="*/ 1 w 3"/>
                <a:gd name="T5" fmla="*/ 0 h 4"/>
                <a:gd name="T6" fmla="*/ 0 w 3"/>
                <a:gd name="T7" fmla="*/ 0 h 4"/>
                <a:gd name="T8" fmla="*/ 0 w 3"/>
                <a:gd name="T9" fmla="*/ 0 h 4"/>
              </a:gdLst>
              <a:ahLst/>
              <a:cxnLst>
                <a:cxn ang="0">
                  <a:pos x="T0" y="T1"/>
                </a:cxn>
                <a:cxn ang="0">
                  <a:pos x="T2" y="T3"/>
                </a:cxn>
                <a:cxn ang="0">
                  <a:pos x="T4" y="T5"/>
                </a:cxn>
                <a:cxn ang="0">
                  <a:pos x="T6" y="T7"/>
                </a:cxn>
                <a:cxn ang="0">
                  <a:pos x="T8" y="T9"/>
                </a:cxn>
              </a:cxnLst>
              <a:rect l="0" t="0" r="r" b="b"/>
              <a:pathLst>
                <a:path w="3" h="4">
                  <a:moveTo>
                    <a:pt x="0" y="0"/>
                  </a:moveTo>
                  <a:cubicBezTo>
                    <a:pt x="0" y="1"/>
                    <a:pt x="2" y="3"/>
                    <a:pt x="3" y="4"/>
                  </a:cubicBezTo>
                  <a:cubicBezTo>
                    <a:pt x="2" y="3"/>
                    <a:pt x="2" y="1"/>
                    <a:pt x="1" y="0"/>
                  </a:cubicBezTo>
                  <a:cubicBezTo>
                    <a:pt x="1"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0" name="Freeform 1378">
              <a:extLst>
                <a:ext uri="{FF2B5EF4-FFF2-40B4-BE49-F238E27FC236}">
                  <a16:creationId xmlns:a16="http://schemas.microsoft.com/office/drawing/2014/main" id="{27761C8E-C970-45DF-BB2B-4F7E2DF7C859}"/>
                </a:ext>
              </a:extLst>
            </p:cNvPr>
            <p:cNvSpPr>
              <a:spLocks/>
            </p:cNvSpPr>
            <p:nvPr/>
          </p:nvSpPr>
          <p:spPr bwMode="auto">
            <a:xfrm>
              <a:off x="4546" y="1560"/>
              <a:ext cx="14" cy="5"/>
            </a:xfrm>
            <a:custGeom>
              <a:avLst/>
              <a:gdLst>
                <a:gd name="T0" fmla="*/ 1 w 6"/>
                <a:gd name="T1" fmla="*/ 0 h 2"/>
                <a:gd name="T2" fmla="*/ 0 w 6"/>
                <a:gd name="T3" fmla="*/ 0 h 2"/>
                <a:gd name="T4" fmla="*/ 6 w 6"/>
                <a:gd name="T5" fmla="*/ 2 h 2"/>
                <a:gd name="T6" fmla="*/ 1 w 6"/>
                <a:gd name="T7" fmla="*/ 0 h 2"/>
              </a:gdLst>
              <a:ahLst/>
              <a:cxnLst>
                <a:cxn ang="0">
                  <a:pos x="T0" y="T1"/>
                </a:cxn>
                <a:cxn ang="0">
                  <a:pos x="T2" y="T3"/>
                </a:cxn>
                <a:cxn ang="0">
                  <a:pos x="T4" y="T5"/>
                </a:cxn>
                <a:cxn ang="0">
                  <a:pos x="T6" y="T7"/>
                </a:cxn>
              </a:cxnLst>
              <a:rect l="0" t="0" r="r" b="b"/>
              <a:pathLst>
                <a:path w="6" h="2">
                  <a:moveTo>
                    <a:pt x="1" y="0"/>
                  </a:moveTo>
                  <a:cubicBezTo>
                    <a:pt x="1" y="0"/>
                    <a:pt x="1" y="0"/>
                    <a:pt x="0" y="0"/>
                  </a:cubicBezTo>
                  <a:cubicBezTo>
                    <a:pt x="2" y="1"/>
                    <a:pt x="4" y="2"/>
                    <a:pt x="6" y="2"/>
                  </a:cubicBezTo>
                  <a:cubicBezTo>
                    <a:pt x="4"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1" name="Freeform 1379">
              <a:extLst>
                <a:ext uri="{FF2B5EF4-FFF2-40B4-BE49-F238E27FC236}">
                  <a16:creationId xmlns:a16="http://schemas.microsoft.com/office/drawing/2014/main" id="{952D8BD4-C55F-4A7D-B973-557CC82B2126}"/>
                </a:ext>
              </a:extLst>
            </p:cNvPr>
            <p:cNvSpPr>
              <a:spLocks/>
            </p:cNvSpPr>
            <p:nvPr/>
          </p:nvSpPr>
          <p:spPr bwMode="auto">
            <a:xfrm>
              <a:off x="4449" y="1579"/>
              <a:ext cx="21" cy="22"/>
            </a:xfrm>
            <a:custGeom>
              <a:avLst/>
              <a:gdLst>
                <a:gd name="T0" fmla="*/ 5 w 9"/>
                <a:gd name="T1" fmla="*/ 0 h 9"/>
                <a:gd name="T2" fmla="*/ 2 w 9"/>
                <a:gd name="T3" fmla="*/ 3 h 9"/>
                <a:gd name="T4" fmla="*/ 7 w 9"/>
                <a:gd name="T5" fmla="*/ 9 h 9"/>
                <a:gd name="T6" fmla="*/ 7 w 9"/>
                <a:gd name="T7" fmla="*/ 1 h 9"/>
                <a:gd name="T8" fmla="*/ 5 w 9"/>
                <a:gd name="T9" fmla="*/ 0 h 9"/>
              </a:gdLst>
              <a:ahLst/>
              <a:cxnLst>
                <a:cxn ang="0">
                  <a:pos x="T0" y="T1"/>
                </a:cxn>
                <a:cxn ang="0">
                  <a:pos x="T2" y="T3"/>
                </a:cxn>
                <a:cxn ang="0">
                  <a:pos x="T4" y="T5"/>
                </a:cxn>
                <a:cxn ang="0">
                  <a:pos x="T6" y="T7"/>
                </a:cxn>
                <a:cxn ang="0">
                  <a:pos x="T8" y="T9"/>
                </a:cxn>
              </a:cxnLst>
              <a:rect l="0" t="0" r="r" b="b"/>
              <a:pathLst>
                <a:path w="9" h="9">
                  <a:moveTo>
                    <a:pt x="5" y="0"/>
                  </a:moveTo>
                  <a:cubicBezTo>
                    <a:pt x="4" y="0"/>
                    <a:pt x="3" y="1"/>
                    <a:pt x="2" y="3"/>
                  </a:cubicBezTo>
                  <a:cubicBezTo>
                    <a:pt x="0" y="5"/>
                    <a:pt x="6" y="8"/>
                    <a:pt x="7" y="9"/>
                  </a:cubicBezTo>
                  <a:cubicBezTo>
                    <a:pt x="9" y="7"/>
                    <a:pt x="9" y="2"/>
                    <a:pt x="7" y="1"/>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2" name="Freeform 1380">
              <a:extLst>
                <a:ext uri="{FF2B5EF4-FFF2-40B4-BE49-F238E27FC236}">
                  <a16:creationId xmlns:a16="http://schemas.microsoft.com/office/drawing/2014/main" id="{EA7914E0-A8E3-4FAB-9538-B0B4FB408137}"/>
                </a:ext>
              </a:extLst>
            </p:cNvPr>
            <p:cNvSpPr>
              <a:spLocks/>
            </p:cNvSpPr>
            <p:nvPr/>
          </p:nvSpPr>
          <p:spPr bwMode="auto">
            <a:xfrm>
              <a:off x="4536" y="1638"/>
              <a:ext cx="3" cy="10"/>
            </a:xfrm>
            <a:custGeom>
              <a:avLst/>
              <a:gdLst>
                <a:gd name="T0" fmla="*/ 1 w 1"/>
                <a:gd name="T1" fmla="*/ 0 h 4"/>
                <a:gd name="T2" fmla="*/ 0 w 1"/>
                <a:gd name="T3" fmla="*/ 4 h 4"/>
                <a:gd name="T4" fmla="*/ 1 w 1"/>
                <a:gd name="T5" fmla="*/ 0 h 4"/>
              </a:gdLst>
              <a:ahLst/>
              <a:cxnLst>
                <a:cxn ang="0">
                  <a:pos x="T0" y="T1"/>
                </a:cxn>
                <a:cxn ang="0">
                  <a:pos x="T2" y="T3"/>
                </a:cxn>
                <a:cxn ang="0">
                  <a:pos x="T4" y="T5"/>
                </a:cxn>
              </a:cxnLst>
              <a:rect l="0" t="0" r="r" b="b"/>
              <a:pathLst>
                <a:path w="1" h="4">
                  <a:moveTo>
                    <a:pt x="1" y="0"/>
                  </a:moveTo>
                  <a:cubicBezTo>
                    <a:pt x="1" y="1"/>
                    <a:pt x="1" y="2"/>
                    <a:pt x="0" y="4"/>
                  </a:cubicBezTo>
                  <a:cubicBezTo>
                    <a:pt x="1" y="3"/>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3" name="Freeform 1381">
              <a:extLst>
                <a:ext uri="{FF2B5EF4-FFF2-40B4-BE49-F238E27FC236}">
                  <a16:creationId xmlns:a16="http://schemas.microsoft.com/office/drawing/2014/main" id="{E04706A5-B259-4103-A390-50B1BC1C5225}"/>
                </a:ext>
              </a:extLst>
            </p:cNvPr>
            <p:cNvSpPr>
              <a:spLocks/>
            </p:cNvSpPr>
            <p:nvPr/>
          </p:nvSpPr>
          <p:spPr bwMode="auto">
            <a:xfrm>
              <a:off x="4368" y="1518"/>
              <a:ext cx="17" cy="12"/>
            </a:xfrm>
            <a:custGeom>
              <a:avLst/>
              <a:gdLst>
                <a:gd name="T0" fmla="*/ 0 w 7"/>
                <a:gd name="T1" fmla="*/ 0 h 5"/>
                <a:gd name="T2" fmla="*/ 1 w 7"/>
                <a:gd name="T3" fmla="*/ 5 h 5"/>
                <a:gd name="T4" fmla="*/ 0 w 7"/>
                <a:gd name="T5" fmla="*/ 0 h 5"/>
              </a:gdLst>
              <a:ahLst/>
              <a:cxnLst>
                <a:cxn ang="0">
                  <a:pos x="T0" y="T1"/>
                </a:cxn>
                <a:cxn ang="0">
                  <a:pos x="T2" y="T3"/>
                </a:cxn>
                <a:cxn ang="0">
                  <a:pos x="T4" y="T5"/>
                </a:cxn>
              </a:cxnLst>
              <a:rect l="0" t="0" r="r" b="b"/>
              <a:pathLst>
                <a:path w="7" h="5">
                  <a:moveTo>
                    <a:pt x="0" y="0"/>
                  </a:moveTo>
                  <a:cubicBezTo>
                    <a:pt x="0" y="2"/>
                    <a:pt x="1" y="3"/>
                    <a:pt x="1" y="5"/>
                  </a:cubicBezTo>
                  <a:cubicBezTo>
                    <a:pt x="7" y="3"/>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4" name="Freeform 1382">
              <a:extLst>
                <a:ext uri="{FF2B5EF4-FFF2-40B4-BE49-F238E27FC236}">
                  <a16:creationId xmlns:a16="http://schemas.microsoft.com/office/drawing/2014/main" id="{62451A0B-5E7F-4355-9E27-4F9A5C4776AC}"/>
                </a:ext>
              </a:extLst>
            </p:cNvPr>
            <p:cNvSpPr>
              <a:spLocks/>
            </p:cNvSpPr>
            <p:nvPr/>
          </p:nvSpPr>
          <p:spPr bwMode="auto">
            <a:xfrm>
              <a:off x="4678" y="1667"/>
              <a:ext cx="9" cy="4"/>
            </a:xfrm>
            <a:custGeom>
              <a:avLst/>
              <a:gdLst>
                <a:gd name="T0" fmla="*/ 3 w 4"/>
                <a:gd name="T1" fmla="*/ 0 h 2"/>
                <a:gd name="T2" fmla="*/ 0 w 4"/>
                <a:gd name="T3" fmla="*/ 2 h 2"/>
                <a:gd name="T4" fmla="*/ 1 w 4"/>
                <a:gd name="T5" fmla="*/ 2 h 2"/>
                <a:gd name="T6" fmla="*/ 4 w 4"/>
                <a:gd name="T7" fmla="*/ 1 h 2"/>
                <a:gd name="T8" fmla="*/ 3 w 4"/>
                <a:gd name="T9" fmla="*/ 0 h 2"/>
              </a:gdLst>
              <a:ahLst/>
              <a:cxnLst>
                <a:cxn ang="0">
                  <a:pos x="T0" y="T1"/>
                </a:cxn>
                <a:cxn ang="0">
                  <a:pos x="T2" y="T3"/>
                </a:cxn>
                <a:cxn ang="0">
                  <a:pos x="T4" y="T5"/>
                </a:cxn>
                <a:cxn ang="0">
                  <a:pos x="T6" y="T7"/>
                </a:cxn>
                <a:cxn ang="0">
                  <a:pos x="T8" y="T9"/>
                </a:cxn>
              </a:cxnLst>
              <a:rect l="0" t="0" r="r" b="b"/>
              <a:pathLst>
                <a:path w="4" h="2">
                  <a:moveTo>
                    <a:pt x="3" y="0"/>
                  </a:moveTo>
                  <a:cubicBezTo>
                    <a:pt x="2" y="0"/>
                    <a:pt x="1" y="1"/>
                    <a:pt x="0" y="2"/>
                  </a:cubicBezTo>
                  <a:cubicBezTo>
                    <a:pt x="0" y="2"/>
                    <a:pt x="1" y="2"/>
                    <a:pt x="1" y="2"/>
                  </a:cubicBezTo>
                  <a:cubicBezTo>
                    <a:pt x="3" y="2"/>
                    <a:pt x="4" y="2"/>
                    <a:pt x="4" y="1"/>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5" name="Freeform 1383">
              <a:extLst>
                <a:ext uri="{FF2B5EF4-FFF2-40B4-BE49-F238E27FC236}">
                  <a16:creationId xmlns:a16="http://schemas.microsoft.com/office/drawing/2014/main" id="{189C8008-B732-4565-BF15-9B7AE36C5E40}"/>
                </a:ext>
              </a:extLst>
            </p:cNvPr>
            <p:cNvSpPr>
              <a:spLocks/>
            </p:cNvSpPr>
            <p:nvPr/>
          </p:nvSpPr>
          <p:spPr bwMode="auto">
            <a:xfrm>
              <a:off x="4458" y="1603"/>
              <a:ext cx="7" cy="9"/>
            </a:xfrm>
            <a:custGeom>
              <a:avLst/>
              <a:gdLst>
                <a:gd name="T0" fmla="*/ 0 w 3"/>
                <a:gd name="T1" fmla="*/ 0 h 4"/>
                <a:gd name="T2" fmla="*/ 0 w 3"/>
                <a:gd name="T3" fmla="*/ 0 h 4"/>
                <a:gd name="T4" fmla="*/ 3 w 3"/>
                <a:gd name="T5" fmla="*/ 4 h 4"/>
                <a:gd name="T6" fmla="*/ 0 w 3"/>
                <a:gd name="T7" fmla="*/ 0 h 4"/>
              </a:gdLst>
              <a:ahLst/>
              <a:cxnLst>
                <a:cxn ang="0">
                  <a:pos x="T0" y="T1"/>
                </a:cxn>
                <a:cxn ang="0">
                  <a:pos x="T2" y="T3"/>
                </a:cxn>
                <a:cxn ang="0">
                  <a:pos x="T4" y="T5"/>
                </a:cxn>
                <a:cxn ang="0">
                  <a:pos x="T6" y="T7"/>
                </a:cxn>
              </a:cxnLst>
              <a:rect l="0" t="0" r="r" b="b"/>
              <a:pathLst>
                <a:path w="3" h="4">
                  <a:moveTo>
                    <a:pt x="0" y="0"/>
                  </a:moveTo>
                  <a:cubicBezTo>
                    <a:pt x="0" y="0"/>
                    <a:pt x="0" y="0"/>
                    <a:pt x="0" y="0"/>
                  </a:cubicBezTo>
                  <a:cubicBezTo>
                    <a:pt x="1" y="2"/>
                    <a:pt x="2" y="3"/>
                    <a:pt x="3"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6" name="Freeform 1384">
              <a:extLst>
                <a:ext uri="{FF2B5EF4-FFF2-40B4-BE49-F238E27FC236}">
                  <a16:creationId xmlns:a16="http://schemas.microsoft.com/office/drawing/2014/main" id="{C205125D-90BC-47BF-9403-A52389D30FC8}"/>
                </a:ext>
              </a:extLst>
            </p:cNvPr>
            <p:cNvSpPr>
              <a:spLocks/>
            </p:cNvSpPr>
            <p:nvPr/>
          </p:nvSpPr>
          <p:spPr bwMode="auto">
            <a:xfrm>
              <a:off x="4666" y="1660"/>
              <a:ext cx="17" cy="7"/>
            </a:xfrm>
            <a:custGeom>
              <a:avLst/>
              <a:gdLst>
                <a:gd name="T0" fmla="*/ 3 w 7"/>
                <a:gd name="T1" fmla="*/ 0 h 3"/>
                <a:gd name="T2" fmla="*/ 0 w 7"/>
                <a:gd name="T3" fmla="*/ 1 h 3"/>
                <a:gd name="T4" fmla="*/ 6 w 7"/>
                <a:gd name="T5" fmla="*/ 3 h 3"/>
                <a:gd name="T6" fmla="*/ 3 w 7"/>
                <a:gd name="T7" fmla="*/ 0 h 3"/>
              </a:gdLst>
              <a:ahLst/>
              <a:cxnLst>
                <a:cxn ang="0">
                  <a:pos x="T0" y="T1"/>
                </a:cxn>
                <a:cxn ang="0">
                  <a:pos x="T2" y="T3"/>
                </a:cxn>
                <a:cxn ang="0">
                  <a:pos x="T4" y="T5"/>
                </a:cxn>
                <a:cxn ang="0">
                  <a:pos x="T6" y="T7"/>
                </a:cxn>
              </a:cxnLst>
              <a:rect l="0" t="0" r="r" b="b"/>
              <a:pathLst>
                <a:path w="7" h="3">
                  <a:moveTo>
                    <a:pt x="3" y="0"/>
                  </a:moveTo>
                  <a:cubicBezTo>
                    <a:pt x="2" y="0"/>
                    <a:pt x="1" y="0"/>
                    <a:pt x="0" y="1"/>
                  </a:cubicBezTo>
                  <a:cubicBezTo>
                    <a:pt x="2" y="2"/>
                    <a:pt x="4" y="3"/>
                    <a:pt x="6" y="3"/>
                  </a:cubicBezTo>
                  <a:cubicBezTo>
                    <a:pt x="7" y="1"/>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7" name="Freeform 1385">
              <a:extLst>
                <a:ext uri="{FF2B5EF4-FFF2-40B4-BE49-F238E27FC236}">
                  <a16:creationId xmlns:a16="http://schemas.microsoft.com/office/drawing/2014/main" id="{95A0EBE0-A756-4059-82D5-C99FDBB23AAB}"/>
                </a:ext>
              </a:extLst>
            </p:cNvPr>
            <p:cNvSpPr>
              <a:spLocks noEditPoints="1"/>
            </p:cNvSpPr>
            <p:nvPr/>
          </p:nvSpPr>
          <p:spPr bwMode="auto">
            <a:xfrm>
              <a:off x="4517" y="1624"/>
              <a:ext cx="17" cy="19"/>
            </a:xfrm>
            <a:custGeom>
              <a:avLst/>
              <a:gdLst>
                <a:gd name="T0" fmla="*/ 7 w 7"/>
                <a:gd name="T1" fmla="*/ 2 h 8"/>
                <a:gd name="T2" fmla="*/ 7 w 7"/>
                <a:gd name="T3" fmla="*/ 2 h 8"/>
                <a:gd name="T4" fmla="*/ 7 w 7"/>
                <a:gd name="T5" fmla="*/ 2 h 8"/>
                <a:gd name="T6" fmla="*/ 4 w 7"/>
                <a:gd name="T7" fmla="*/ 0 h 8"/>
                <a:gd name="T8" fmla="*/ 0 w 7"/>
                <a:gd name="T9" fmla="*/ 2 h 8"/>
                <a:gd name="T10" fmla="*/ 3 w 7"/>
                <a:gd name="T11" fmla="*/ 8 h 8"/>
                <a:gd name="T12" fmla="*/ 6 w 7"/>
                <a:gd name="T13" fmla="*/ 4 h 8"/>
                <a:gd name="T14" fmla="*/ 6 w 7"/>
                <a:gd name="T15" fmla="*/ 4 h 8"/>
                <a:gd name="T16" fmla="*/ 6 w 7"/>
                <a:gd name="T17" fmla="*/ 3 h 8"/>
                <a:gd name="T18" fmla="*/ 7 w 7"/>
                <a:gd name="T19" fmla="*/ 2 h 8"/>
                <a:gd name="T20" fmla="*/ 7 w 7"/>
                <a:gd name="T21" fmla="*/ 2 h 8"/>
                <a:gd name="T22" fmla="*/ 4 w 7"/>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7" y="2"/>
                  </a:moveTo>
                  <a:cubicBezTo>
                    <a:pt x="7" y="2"/>
                    <a:pt x="7" y="2"/>
                    <a:pt x="7" y="2"/>
                  </a:cubicBezTo>
                  <a:cubicBezTo>
                    <a:pt x="7" y="2"/>
                    <a:pt x="7" y="2"/>
                    <a:pt x="7" y="2"/>
                  </a:cubicBezTo>
                  <a:moveTo>
                    <a:pt x="4" y="0"/>
                  </a:moveTo>
                  <a:cubicBezTo>
                    <a:pt x="3" y="0"/>
                    <a:pt x="1" y="1"/>
                    <a:pt x="0" y="2"/>
                  </a:cubicBezTo>
                  <a:cubicBezTo>
                    <a:pt x="1" y="4"/>
                    <a:pt x="2" y="6"/>
                    <a:pt x="3" y="8"/>
                  </a:cubicBezTo>
                  <a:cubicBezTo>
                    <a:pt x="6" y="6"/>
                    <a:pt x="5" y="6"/>
                    <a:pt x="6" y="4"/>
                  </a:cubicBezTo>
                  <a:cubicBezTo>
                    <a:pt x="6" y="4"/>
                    <a:pt x="6" y="4"/>
                    <a:pt x="6" y="4"/>
                  </a:cubicBezTo>
                  <a:cubicBezTo>
                    <a:pt x="6" y="4"/>
                    <a:pt x="6" y="4"/>
                    <a:pt x="6" y="3"/>
                  </a:cubicBezTo>
                  <a:cubicBezTo>
                    <a:pt x="6" y="2"/>
                    <a:pt x="7" y="2"/>
                    <a:pt x="7" y="2"/>
                  </a:cubicBezTo>
                  <a:cubicBezTo>
                    <a:pt x="7" y="2"/>
                    <a:pt x="7" y="2"/>
                    <a:pt x="7" y="2"/>
                  </a:cubicBezTo>
                  <a:cubicBezTo>
                    <a:pt x="6"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8" name="Freeform 1386">
              <a:extLst>
                <a:ext uri="{FF2B5EF4-FFF2-40B4-BE49-F238E27FC236}">
                  <a16:creationId xmlns:a16="http://schemas.microsoft.com/office/drawing/2014/main" id="{6ED45468-E3CA-427E-A391-7E0694397B09}"/>
                </a:ext>
              </a:extLst>
            </p:cNvPr>
            <p:cNvSpPr>
              <a:spLocks/>
            </p:cNvSpPr>
            <p:nvPr/>
          </p:nvSpPr>
          <p:spPr bwMode="auto">
            <a:xfrm>
              <a:off x="4428" y="1560"/>
              <a:ext cx="16" cy="26"/>
            </a:xfrm>
            <a:custGeom>
              <a:avLst/>
              <a:gdLst>
                <a:gd name="T0" fmla="*/ 0 w 7"/>
                <a:gd name="T1" fmla="*/ 0 h 11"/>
                <a:gd name="T2" fmla="*/ 3 w 7"/>
                <a:gd name="T3" fmla="*/ 11 h 11"/>
                <a:gd name="T4" fmla="*/ 5 w 7"/>
                <a:gd name="T5" fmla="*/ 4 h 11"/>
                <a:gd name="T6" fmla="*/ 0 w 7"/>
                <a:gd name="T7" fmla="*/ 0 h 11"/>
              </a:gdLst>
              <a:ahLst/>
              <a:cxnLst>
                <a:cxn ang="0">
                  <a:pos x="T0" y="T1"/>
                </a:cxn>
                <a:cxn ang="0">
                  <a:pos x="T2" y="T3"/>
                </a:cxn>
                <a:cxn ang="0">
                  <a:pos x="T4" y="T5"/>
                </a:cxn>
                <a:cxn ang="0">
                  <a:pos x="T6" y="T7"/>
                </a:cxn>
              </a:cxnLst>
              <a:rect l="0" t="0" r="r" b="b"/>
              <a:pathLst>
                <a:path w="7" h="11">
                  <a:moveTo>
                    <a:pt x="0" y="0"/>
                  </a:moveTo>
                  <a:cubicBezTo>
                    <a:pt x="0" y="4"/>
                    <a:pt x="2" y="7"/>
                    <a:pt x="3" y="11"/>
                  </a:cubicBezTo>
                  <a:cubicBezTo>
                    <a:pt x="3" y="7"/>
                    <a:pt x="7" y="7"/>
                    <a:pt x="5" y="4"/>
                  </a:cubicBezTo>
                  <a:cubicBezTo>
                    <a:pt x="5" y="3"/>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9" name="Freeform 1387">
              <a:extLst>
                <a:ext uri="{FF2B5EF4-FFF2-40B4-BE49-F238E27FC236}">
                  <a16:creationId xmlns:a16="http://schemas.microsoft.com/office/drawing/2014/main" id="{56BD9044-B32E-4202-97AC-FBF4DD59FAF9}"/>
                </a:ext>
              </a:extLst>
            </p:cNvPr>
            <p:cNvSpPr>
              <a:spLocks/>
            </p:cNvSpPr>
            <p:nvPr/>
          </p:nvSpPr>
          <p:spPr bwMode="auto">
            <a:xfrm>
              <a:off x="4659" y="1830"/>
              <a:ext cx="47" cy="26"/>
            </a:xfrm>
            <a:custGeom>
              <a:avLst/>
              <a:gdLst>
                <a:gd name="T0" fmla="*/ 1 w 20"/>
                <a:gd name="T1" fmla="*/ 0 h 11"/>
                <a:gd name="T2" fmla="*/ 0 w 20"/>
                <a:gd name="T3" fmla="*/ 1 h 11"/>
                <a:gd name="T4" fmla="*/ 15 w 20"/>
                <a:gd name="T5" fmla="*/ 11 h 11"/>
                <a:gd name="T6" fmla="*/ 8 w 20"/>
                <a:gd name="T7" fmla="*/ 4 h 11"/>
                <a:gd name="T8" fmla="*/ 1 w 20"/>
                <a:gd name="T9" fmla="*/ 0 h 11"/>
              </a:gdLst>
              <a:ahLst/>
              <a:cxnLst>
                <a:cxn ang="0">
                  <a:pos x="T0" y="T1"/>
                </a:cxn>
                <a:cxn ang="0">
                  <a:pos x="T2" y="T3"/>
                </a:cxn>
                <a:cxn ang="0">
                  <a:pos x="T4" y="T5"/>
                </a:cxn>
                <a:cxn ang="0">
                  <a:pos x="T6" y="T7"/>
                </a:cxn>
                <a:cxn ang="0">
                  <a:pos x="T8" y="T9"/>
                </a:cxn>
              </a:cxnLst>
              <a:rect l="0" t="0" r="r" b="b"/>
              <a:pathLst>
                <a:path w="20" h="11">
                  <a:moveTo>
                    <a:pt x="1" y="0"/>
                  </a:moveTo>
                  <a:cubicBezTo>
                    <a:pt x="1" y="0"/>
                    <a:pt x="1" y="1"/>
                    <a:pt x="0" y="1"/>
                  </a:cubicBezTo>
                  <a:cubicBezTo>
                    <a:pt x="5" y="5"/>
                    <a:pt x="10" y="8"/>
                    <a:pt x="15" y="11"/>
                  </a:cubicBezTo>
                  <a:cubicBezTo>
                    <a:pt x="20" y="8"/>
                    <a:pt x="10" y="5"/>
                    <a:pt x="8" y="4"/>
                  </a:cubicBezTo>
                  <a:cubicBezTo>
                    <a:pt x="7" y="3"/>
                    <a:pt x="4"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0" name="Freeform 1388">
              <a:extLst>
                <a:ext uri="{FF2B5EF4-FFF2-40B4-BE49-F238E27FC236}">
                  <a16:creationId xmlns:a16="http://schemas.microsoft.com/office/drawing/2014/main" id="{2DFE2E0A-B9FE-40E9-A2E9-FA3A9BA5F47C}"/>
                </a:ext>
              </a:extLst>
            </p:cNvPr>
            <p:cNvSpPr>
              <a:spLocks/>
            </p:cNvSpPr>
            <p:nvPr/>
          </p:nvSpPr>
          <p:spPr bwMode="auto">
            <a:xfrm>
              <a:off x="420" y="338"/>
              <a:ext cx="4" cy="10"/>
            </a:xfrm>
            <a:custGeom>
              <a:avLst/>
              <a:gdLst>
                <a:gd name="T0" fmla="*/ 1 w 2"/>
                <a:gd name="T1" fmla="*/ 0 h 4"/>
                <a:gd name="T2" fmla="*/ 0 w 2"/>
                <a:gd name="T3" fmla="*/ 4 h 4"/>
                <a:gd name="T4" fmla="*/ 1 w 2"/>
                <a:gd name="T5" fmla="*/ 0 h 4"/>
              </a:gdLst>
              <a:ahLst/>
              <a:cxnLst>
                <a:cxn ang="0">
                  <a:pos x="T0" y="T1"/>
                </a:cxn>
                <a:cxn ang="0">
                  <a:pos x="T2" y="T3"/>
                </a:cxn>
                <a:cxn ang="0">
                  <a:pos x="T4" y="T5"/>
                </a:cxn>
              </a:cxnLst>
              <a:rect l="0" t="0" r="r" b="b"/>
              <a:pathLst>
                <a:path w="2" h="4">
                  <a:moveTo>
                    <a:pt x="1" y="0"/>
                  </a:moveTo>
                  <a:cubicBezTo>
                    <a:pt x="0" y="1"/>
                    <a:pt x="0" y="3"/>
                    <a:pt x="0" y="4"/>
                  </a:cubicBezTo>
                  <a:cubicBezTo>
                    <a:pt x="1"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1" name="Freeform 1389">
              <a:extLst>
                <a:ext uri="{FF2B5EF4-FFF2-40B4-BE49-F238E27FC236}">
                  <a16:creationId xmlns:a16="http://schemas.microsoft.com/office/drawing/2014/main" id="{4AC9051A-58C8-4A5C-A791-D1C2BF35D1AC}"/>
                </a:ext>
              </a:extLst>
            </p:cNvPr>
            <p:cNvSpPr>
              <a:spLocks/>
            </p:cNvSpPr>
            <p:nvPr/>
          </p:nvSpPr>
          <p:spPr bwMode="auto">
            <a:xfrm>
              <a:off x="422" y="348"/>
              <a:ext cx="5" cy="7"/>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cubicBezTo>
                    <a:pt x="1" y="1"/>
                    <a:pt x="1"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2" name="Freeform 1390">
              <a:extLst>
                <a:ext uri="{FF2B5EF4-FFF2-40B4-BE49-F238E27FC236}">
                  <a16:creationId xmlns:a16="http://schemas.microsoft.com/office/drawing/2014/main" id="{CDE875A3-15F1-425F-A92B-2BFBB8DC89DE}"/>
                </a:ext>
              </a:extLst>
            </p:cNvPr>
            <p:cNvSpPr>
              <a:spLocks/>
            </p:cNvSpPr>
            <p:nvPr/>
          </p:nvSpPr>
          <p:spPr bwMode="auto">
            <a:xfrm>
              <a:off x="410" y="225"/>
              <a:ext cx="3" cy="12"/>
            </a:xfrm>
            <a:custGeom>
              <a:avLst/>
              <a:gdLst>
                <a:gd name="T0" fmla="*/ 0 w 1"/>
                <a:gd name="T1" fmla="*/ 0 h 5"/>
                <a:gd name="T2" fmla="*/ 0 w 1"/>
                <a:gd name="T3" fmla="*/ 5 h 5"/>
                <a:gd name="T4" fmla="*/ 0 w 1"/>
                <a:gd name="T5" fmla="*/ 0 h 5"/>
              </a:gdLst>
              <a:ahLst/>
              <a:cxnLst>
                <a:cxn ang="0">
                  <a:pos x="T0" y="T1"/>
                </a:cxn>
                <a:cxn ang="0">
                  <a:pos x="T2" y="T3"/>
                </a:cxn>
                <a:cxn ang="0">
                  <a:pos x="T4" y="T5"/>
                </a:cxn>
              </a:cxnLst>
              <a:rect l="0" t="0" r="r" b="b"/>
              <a:pathLst>
                <a:path w="1" h="5">
                  <a:moveTo>
                    <a:pt x="0" y="0"/>
                  </a:moveTo>
                  <a:cubicBezTo>
                    <a:pt x="0" y="2"/>
                    <a:pt x="0" y="3"/>
                    <a:pt x="0" y="5"/>
                  </a:cubicBezTo>
                  <a:cubicBezTo>
                    <a:pt x="1"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3" name="Freeform 1391">
              <a:extLst>
                <a:ext uri="{FF2B5EF4-FFF2-40B4-BE49-F238E27FC236}">
                  <a16:creationId xmlns:a16="http://schemas.microsoft.com/office/drawing/2014/main" id="{ED1B7358-D1C5-4DFD-B33C-C06FFEC49498}"/>
                </a:ext>
              </a:extLst>
            </p:cNvPr>
            <p:cNvSpPr>
              <a:spLocks/>
            </p:cNvSpPr>
            <p:nvPr/>
          </p:nvSpPr>
          <p:spPr bwMode="auto">
            <a:xfrm>
              <a:off x="424" y="128"/>
              <a:ext cx="5" cy="17"/>
            </a:xfrm>
            <a:custGeom>
              <a:avLst/>
              <a:gdLst>
                <a:gd name="T0" fmla="*/ 0 w 2"/>
                <a:gd name="T1" fmla="*/ 0 h 7"/>
                <a:gd name="T2" fmla="*/ 1 w 2"/>
                <a:gd name="T3" fmla="*/ 6 h 7"/>
                <a:gd name="T4" fmla="*/ 1 w 2"/>
                <a:gd name="T5" fmla="*/ 7 h 7"/>
                <a:gd name="T6" fmla="*/ 2 w 2"/>
                <a:gd name="T7" fmla="*/ 4 h 7"/>
                <a:gd name="T8" fmla="*/ 0 w 2"/>
                <a:gd name="T9" fmla="*/ 0 h 7"/>
              </a:gdLst>
              <a:ahLst/>
              <a:cxnLst>
                <a:cxn ang="0">
                  <a:pos x="T0" y="T1"/>
                </a:cxn>
                <a:cxn ang="0">
                  <a:pos x="T2" y="T3"/>
                </a:cxn>
                <a:cxn ang="0">
                  <a:pos x="T4" y="T5"/>
                </a:cxn>
                <a:cxn ang="0">
                  <a:pos x="T6" y="T7"/>
                </a:cxn>
                <a:cxn ang="0">
                  <a:pos x="T8" y="T9"/>
                </a:cxn>
              </a:cxnLst>
              <a:rect l="0" t="0" r="r" b="b"/>
              <a:pathLst>
                <a:path w="2" h="7">
                  <a:moveTo>
                    <a:pt x="0" y="0"/>
                  </a:moveTo>
                  <a:cubicBezTo>
                    <a:pt x="0" y="2"/>
                    <a:pt x="1" y="4"/>
                    <a:pt x="1" y="6"/>
                  </a:cubicBezTo>
                  <a:cubicBezTo>
                    <a:pt x="1" y="6"/>
                    <a:pt x="1" y="6"/>
                    <a:pt x="1" y="7"/>
                  </a:cubicBezTo>
                  <a:cubicBezTo>
                    <a:pt x="2" y="6"/>
                    <a:pt x="2" y="5"/>
                    <a:pt x="2" y="4"/>
                  </a:cubicBezTo>
                  <a:cubicBezTo>
                    <a:pt x="2"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4" name="Freeform 1392">
              <a:extLst>
                <a:ext uri="{FF2B5EF4-FFF2-40B4-BE49-F238E27FC236}">
                  <a16:creationId xmlns:a16="http://schemas.microsoft.com/office/drawing/2014/main" id="{816C4D7F-607C-4889-B038-91734A67AA5E}"/>
                </a:ext>
              </a:extLst>
            </p:cNvPr>
            <p:cNvSpPr>
              <a:spLocks/>
            </p:cNvSpPr>
            <p:nvPr/>
          </p:nvSpPr>
          <p:spPr bwMode="auto">
            <a:xfrm>
              <a:off x="429" y="166"/>
              <a:ext cx="14" cy="21"/>
            </a:xfrm>
            <a:custGeom>
              <a:avLst/>
              <a:gdLst>
                <a:gd name="T0" fmla="*/ 0 w 6"/>
                <a:gd name="T1" fmla="*/ 0 h 9"/>
                <a:gd name="T2" fmla="*/ 0 w 6"/>
                <a:gd name="T3" fmla="*/ 0 h 9"/>
                <a:gd name="T4" fmla="*/ 0 w 6"/>
                <a:gd name="T5" fmla="*/ 9 h 9"/>
                <a:gd name="T6" fmla="*/ 0 w 6"/>
                <a:gd name="T7" fmla="*/ 0 h 9"/>
                <a:gd name="T8" fmla="*/ 0 w 6"/>
                <a:gd name="T9" fmla="*/ 0 h 9"/>
              </a:gdLst>
              <a:ahLst/>
              <a:cxnLst>
                <a:cxn ang="0">
                  <a:pos x="T0" y="T1"/>
                </a:cxn>
                <a:cxn ang="0">
                  <a:pos x="T2" y="T3"/>
                </a:cxn>
                <a:cxn ang="0">
                  <a:pos x="T4" y="T5"/>
                </a:cxn>
                <a:cxn ang="0">
                  <a:pos x="T6" y="T7"/>
                </a:cxn>
                <a:cxn ang="0">
                  <a:pos x="T8" y="T9"/>
                </a:cxn>
              </a:cxnLst>
              <a:rect l="0" t="0" r="r" b="b"/>
              <a:pathLst>
                <a:path w="6" h="9">
                  <a:moveTo>
                    <a:pt x="0" y="0"/>
                  </a:moveTo>
                  <a:cubicBezTo>
                    <a:pt x="0" y="0"/>
                    <a:pt x="0" y="0"/>
                    <a:pt x="0" y="0"/>
                  </a:cubicBezTo>
                  <a:cubicBezTo>
                    <a:pt x="0" y="3"/>
                    <a:pt x="0" y="6"/>
                    <a:pt x="0" y="9"/>
                  </a:cubicBezTo>
                  <a:cubicBezTo>
                    <a:pt x="6" y="9"/>
                    <a:pt x="5"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5" name="Freeform 1393">
              <a:extLst>
                <a:ext uri="{FF2B5EF4-FFF2-40B4-BE49-F238E27FC236}">
                  <a16:creationId xmlns:a16="http://schemas.microsoft.com/office/drawing/2014/main" id="{F250EE75-BAD2-4792-AA77-EC8DB05BFB54}"/>
                </a:ext>
              </a:extLst>
            </p:cNvPr>
            <p:cNvSpPr>
              <a:spLocks/>
            </p:cNvSpPr>
            <p:nvPr/>
          </p:nvSpPr>
          <p:spPr bwMode="auto">
            <a:xfrm>
              <a:off x="420" y="227"/>
              <a:ext cx="11" cy="24"/>
            </a:xfrm>
            <a:custGeom>
              <a:avLst/>
              <a:gdLst>
                <a:gd name="T0" fmla="*/ 4 w 5"/>
                <a:gd name="T1" fmla="*/ 0 h 10"/>
                <a:gd name="T2" fmla="*/ 0 w 5"/>
                <a:gd name="T3" fmla="*/ 10 h 10"/>
                <a:gd name="T4" fmla="*/ 3 w 5"/>
                <a:gd name="T5" fmla="*/ 5 h 10"/>
                <a:gd name="T6" fmla="*/ 4 w 5"/>
                <a:gd name="T7" fmla="*/ 0 h 10"/>
              </a:gdLst>
              <a:ahLst/>
              <a:cxnLst>
                <a:cxn ang="0">
                  <a:pos x="T0" y="T1"/>
                </a:cxn>
                <a:cxn ang="0">
                  <a:pos x="T2" y="T3"/>
                </a:cxn>
                <a:cxn ang="0">
                  <a:pos x="T4" y="T5"/>
                </a:cxn>
                <a:cxn ang="0">
                  <a:pos x="T6" y="T7"/>
                </a:cxn>
              </a:cxnLst>
              <a:rect l="0" t="0" r="r" b="b"/>
              <a:pathLst>
                <a:path w="5" h="10">
                  <a:moveTo>
                    <a:pt x="4" y="0"/>
                  </a:moveTo>
                  <a:cubicBezTo>
                    <a:pt x="2" y="3"/>
                    <a:pt x="1" y="6"/>
                    <a:pt x="0" y="10"/>
                  </a:cubicBezTo>
                  <a:cubicBezTo>
                    <a:pt x="4" y="9"/>
                    <a:pt x="3" y="8"/>
                    <a:pt x="3" y="5"/>
                  </a:cubicBezTo>
                  <a:cubicBezTo>
                    <a:pt x="4" y="3"/>
                    <a:pt x="5"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6" name="Freeform 1394">
              <a:extLst>
                <a:ext uri="{FF2B5EF4-FFF2-40B4-BE49-F238E27FC236}">
                  <a16:creationId xmlns:a16="http://schemas.microsoft.com/office/drawing/2014/main" id="{1E81B26F-AD41-4944-9B57-F5A7F9963B56}"/>
                </a:ext>
              </a:extLst>
            </p:cNvPr>
            <p:cNvSpPr>
              <a:spLocks/>
            </p:cNvSpPr>
            <p:nvPr/>
          </p:nvSpPr>
          <p:spPr bwMode="auto">
            <a:xfrm>
              <a:off x="431" y="227"/>
              <a:ext cx="15" cy="17"/>
            </a:xfrm>
            <a:custGeom>
              <a:avLst/>
              <a:gdLst>
                <a:gd name="T0" fmla="*/ 4 w 6"/>
                <a:gd name="T1" fmla="*/ 0 h 7"/>
                <a:gd name="T2" fmla="*/ 2 w 6"/>
                <a:gd name="T3" fmla="*/ 0 h 7"/>
                <a:gd name="T4" fmla="*/ 2 w 6"/>
                <a:gd name="T5" fmla="*/ 5 h 7"/>
                <a:gd name="T6" fmla="*/ 2 w 6"/>
                <a:gd name="T7" fmla="*/ 5 h 7"/>
                <a:gd name="T8" fmla="*/ 5 w 6"/>
                <a:gd name="T9" fmla="*/ 7 h 7"/>
                <a:gd name="T10" fmla="*/ 6 w 6"/>
                <a:gd name="T11" fmla="*/ 1 h 7"/>
                <a:gd name="T12" fmla="*/ 6 w 6"/>
                <a:gd name="T13" fmla="*/ 0 h 7"/>
                <a:gd name="T14" fmla="*/ 4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4" y="0"/>
                  </a:moveTo>
                  <a:cubicBezTo>
                    <a:pt x="3" y="0"/>
                    <a:pt x="3" y="0"/>
                    <a:pt x="2" y="0"/>
                  </a:cubicBezTo>
                  <a:cubicBezTo>
                    <a:pt x="0" y="0"/>
                    <a:pt x="1" y="3"/>
                    <a:pt x="2" y="5"/>
                  </a:cubicBezTo>
                  <a:cubicBezTo>
                    <a:pt x="2" y="5"/>
                    <a:pt x="2" y="5"/>
                    <a:pt x="2" y="5"/>
                  </a:cubicBezTo>
                  <a:cubicBezTo>
                    <a:pt x="3" y="6"/>
                    <a:pt x="4" y="6"/>
                    <a:pt x="5" y="7"/>
                  </a:cubicBezTo>
                  <a:cubicBezTo>
                    <a:pt x="5" y="7"/>
                    <a:pt x="6" y="2"/>
                    <a:pt x="6" y="1"/>
                  </a:cubicBezTo>
                  <a:cubicBezTo>
                    <a:pt x="6" y="0"/>
                    <a:pt x="6" y="0"/>
                    <a:pt x="6" y="0"/>
                  </a:cubicBezTo>
                  <a:cubicBezTo>
                    <a:pt x="6"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7" name="Freeform 1395">
              <a:extLst>
                <a:ext uri="{FF2B5EF4-FFF2-40B4-BE49-F238E27FC236}">
                  <a16:creationId xmlns:a16="http://schemas.microsoft.com/office/drawing/2014/main" id="{11332552-A491-4FD8-A056-5636C8925313}"/>
                </a:ext>
              </a:extLst>
            </p:cNvPr>
            <p:cNvSpPr>
              <a:spLocks/>
            </p:cNvSpPr>
            <p:nvPr/>
          </p:nvSpPr>
          <p:spPr bwMode="auto">
            <a:xfrm>
              <a:off x="408" y="182"/>
              <a:ext cx="7" cy="10"/>
            </a:xfrm>
            <a:custGeom>
              <a:avLst/>
              <a:gdLst>
                <a:gd name="T0" fmla="*/ 3 w 3"/>
                <a:gd name="T1" fmla="*/ 0 h 4"/>
                <a:gd name="T2" fmla="*/ 0 w 3"/>
                <a:gd name="T3" fmla="*/ 4 h 4"/>
                <a:gd name="T4" fmla="*/ 3 w 3"/>
                <a:gd name="T5" fmla="*/ 0 h 4"/>
              </a:gdLst>
              <a:ahLst/>
              <a:cxnLst>
                <a:cxn ang="0">
                  <a:pos x="T0" y="T1"/>
                </a:cxn>
                <a:cxn ang="0">
                  <a:pos x="T2" y="T3"/>
                </a:cxn>
                <a:cxn ang="0">
                  <a:pos x="T4" y="T5"/>
                </a:cxn>
              </a:cxnLst>
              <a:rect l="0" t="0" r="r" b="b"/>
              <a:pathLst>
                <a:path w="3" h="4">
                  <a:moveTo>
                    <a:pt x="3" y="0"/>
                  </a:moveTo>
                  <a:cubicBezTo>
                    <a:pt x="1" y="1"/>
                    <a:pt x="1" y="3"/>
                    <a:pt x="0" y="4"/>
                  </a:cubicBezTo>
                  <a:cubicBezTo>
                    <a:pt x="1" y="2"/>
                    <a:pt x="3"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8" name="Freeform 1396">
              <a:extLst>
                <a:ext uri="{FF2B5EF4-FFF2-40B4-BE49-F238E27FC236}">
                  <a16:creationId xmlns:a16="http://schemas.microsoft.com/office/drawing/2014/main" id="{2836D4DF-0204-4A45-8310-77C4BC56CAB5}"/>
                </a:ext>
              </a:extLst>
            </p:cNvPr>
            <p:cNvSpPr>
              <a:spLocks/>
            </p:cNvSpPr>
            <p:nvPr/>
          </p:nvSpPr>
          <p:spPr bwMode="auto">
            <a:xfrm>
              <a:off x="3038" y="1983"/>
              <a:ext cx="43" cy="43"/>
            </a:xfrm>
            <a:custGeom>
              <a:avLst/>
              <a:gdLst>
                <a:gd name="T0" fmla="*/ 11 w 18"/>
                <a:gd name="T1" fmla="*/ 0 h 18"/>
                <a:gd name="T2" fmla="*/ 8 w 18"/>
                <a:gd name="T3" fmla="*/ 1 h 18"/>
                <a:gd name="T4" fmla="*/ 7 w 18"/>
                <a:gd name="T5" fmla="*/ 1 h 18"/>
                <a:gd name="T6" fmla="*/ 2 w 18"/>
                <a:gd name="T7" fmla="*/ 5 h 18"/>
                <a:gd name="T8" fmla="*/ 1 w 18"/>
                <a:gd name="T9" fmla="*/ 15 h 18"/>
                <a:gd name="T10" fmla="*/ 17 w 18"/>
                <a:gd name="T11" fmla="*/ 18 h 18"/>
                <a:gd name="T12" fmla="*/ 18 w 18"/>
                <a:gd name="T13" fmla="*/ 18 h 18"/>
                <a:gd name="T14" fmla="*/ 18 w 18"/>
                <a:gd name="T15" fmla="*/ 14 h 18"/>
                <a:gd name="T16" fmla="*/ 14 w 18"/>
                <a:gd name="T17" fmla="*/ 16 h 18"/>
                <a:gd name="T18" fmla="*/ 12 w 18"/>
                <a:gd name="T19" fmla="*/ 15 h 18"/>
                <a:gd name="T20" fmla="*/ 14 w 18"/>
                <a:gd name="T21" fmla="*/ 10 h 18"/>
                <a:gd name="T22" fmla="*/ 13 w 18"/>
                <a:gd name="T23" fmla="*/ 10 h 18"/>
                <a:gd name="T24" fmla="*/ 16 w 18"/>
                <a:gd name="T25" fmla="*/ 3 h 18"/>
                <a:gd name="T26" fmla="*/ 16 w 18"/>
                <a:gd name="T27" fmla="*/ 2 h 18"/>
                <a:gd name="T28" fmla="*/ 14 w 18"/>
                <a:gd name="T29" fmla="*/ 5 h 18"/>
                <a:gd name="T30" fmla="*/ 13 w 18"/>
                <a:gd name="T31" fmla="*/ 5 h 18"/>
                <a:gd name="T32" fmla="*/ 11 w 18"/>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8">
                  <a:moveTo>
                    <a:pt x="11" y="0"/>
                  </a:moveTo>
                  <a:cubicBezTo>
                    <a:pt x="10" y="0"/>
                    <a:pt x="9" y="1"/>
                    <a:pt x="8" y="1"/>
                  </a:cubicBezTo>
                  <a:cubicBezTo>
                    <a:pt x="7" y="1"/>
                    <a:pt x="7" y="1"/>
                    <a:pt x="7" y="1"/>
                  </a:cubicBezTo>
                  <a:cubicBezTo>
                    <a:pt x="10" y="5"/>
                    <a:pt x="4" y="3"/>
                    <a:pt x="2" y="5"/>
                  </a:cubicBezTo>
                  <a:cubicBezTo>
                    <a:pt x="0" y="8"/>
                    <a:pt x="5" y="13"/>
                    <a:pt x="1" y="15"/>
                  </a:cubicBezTo>
                  <a:cubicBezTo>
                    <a:pt x="6" y="16"/>
                    <a:pt x="12" y="18"/>
                    <a:pt x="17" y="18"/>
                  </a:cubicBezTo>
                  <a:cubicBezTo>
                    <a:pt x="17" y="18"/>
                    <a:pt x="17" y="18"/>
                    <a:pt x="18" y="18"/>
                  </a:cubicBezTo>
                  <a:cubicBezTo>
                    <a:pt x="17" y="16"/>
                    <a:pt x="18" y="15"/>
                    <a:pt x="18" y="14"/>
                  </a:cubicBezTo>
                  <a:cubicBezTo>
                    <a:pt x="17" y="15"/>
                    <a:pt x="15" y="16"/>
                    <a:pt x="14" y="16"/>
                  </a:cubicBezTo>
                  <a:cubicBezTo>
                    <a:pt x="13" y="16"/>
                    <a:pt x="12" y="16"/>
                    <a:pt x="12" y="15"/>
                  </a:cubicBezTo>
                  <a:cubicBezTo>
                    <a:pt x="10" y="13"/>
                    <a:pt x="11" y="13"/>
                    <a:pt x="14" y="10"/>
                  </a:cubicBezTo>
                  <a:cubicBezTo>
                    <a:pt x="13" y="10"/>
                    <a:pt x="13" y="10"/>
                    <a:pt x="13" y="10"/>
                  </a:cubicBezTo>
                  <a:cubicBezTo>
                    <a:pt x="13" y="9"/>
                    <a:pt x="17" y="3"/>
                    <a:pt x="16" y="3"/>
                  </a:cubicBezTo>
                  <a:cubicBezTo>
                    <a:pt x="16" y="2"/>
                    <a:pt x="16" y="2"/>
                    <a:pt x="16" y="2"/>
                  </a:cubicBezTo>
                  <a:cubicBezTo>
                    <a:pt x="15" y="2"/>
                    <a:pt x="14" y="5"/>
                    <a:pt x="14" y="5"/>
                  </a:cubicBezTo>
                  <a:cubicBezTo>
                    <a:pt x="14" y="5"/>
                    <a:pt x="13" y="5"/>
                    <a:pt x="13" y="5"/>
                  </a:cubicBezTo>
                  <a:cubicBezTo>
                    <a:pt x="11" y="5"/>
                    <a:pt x="11" y="2"/>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9" name="Freeform 1397">
              <a:extLst>
                <a:ext uri="{FF2B5EF4-FFF2-40B4-BE49-F238E27FC236}">
                  <a16:creationId xmlns:a16="http://schemas.microsoft.com/office/drawing/2014/main" id="{13517A52-989D-4B33-BC57-E2749C808F9D}"/>
                </a:ext>
              </a:extLst>
            </p:cNvPr>
            <p:cNvSpPr>
              <a:spLocks/>
            </p:cNvSpPr>
            <p:nvPr/>
          </p:nvSpPr>
          <p:spPr bwMode="auto">
            <a:xfrm>
              <a:off x="3026" y="1830"/>
              <a:ext cx="21" cy="16"/>
            </a:xfrm>
            <a:custGeom>
              <a:avLst/>
              <a:gdLst>
                <a:gd name="T0" fmla="*/ 9 w 9"/>
                <a:gd name="T1" fmla="*/ 0 h 7"/>
                <a:gd name="T2" fmla="*/ 0 w 9"/>
                <a:gd name="T3" fmla="*/ 7 h 7"/>
                <a:gd name="T4" fmla="*/ 9 w 9"/>
                <a:gd name="T5" fmla="*/ 0 h 7"/>
              </a:gdLst>
              <a:ahLst/>
              <a:cxnLst>
                <a:cxn ang="0">
                  <a:pos x="T0" y="T1"/>
                </a:cxn>
                <a:cxn ang="0">
                  <a:pos x="T2" y="T3"/>
                </a:cxn>
                <a:cxn ang="0">
                  <a:pos x="T4" y="T5"/>
                </a:cxn>
              </a:cxnLst>
              <a:rect l="0" t="0" r="r" b="b"/>
              <a:pathLst>
                <a:path w="9" h="7">
                  <a:moveTo>
                    <a:pt x="9" y="0"/>
                  </a:moveTo>
                  <a:cubicBezTo>
                    <a:pt x="6" y="2"/>
                    <a:pt x="3" y="4"/>
                    <a:pt x="0" y="7"/>
                  </a:cubicBezTo>
                  <a:cubicBezTo>
                    <a:pt x="2" y="6"/>
                    <a:pt x="9" y="3"/>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0" name="Freeform 1398">
              <a:extLst>
                <a:ext uri="{FF2B5EF4-FFF2-40B4-BE49-F238E27FC236}">
                  <a16:creationId xmlns:a16="http://schemas.microsoft.com/office/drawing/2014/main" id="{7B848545-16D6-4AA2-BD99-F4F44D2B6513}"/>
                </a:ext>
              </a:extLst>
            </p:cNvPr>
            <p:cNvSpPr>
              <a:spLocks/>
            </p:cNvSpPr>
            <p:nvPr/>
          </p:nvSpPr>
          <p:spPr bwMode="auto">
            <a:xfrm>
              <a:off x="3437" y="1733"/>
              <a:ext cx="3" cy="7"/>
            </a:xfrm>
            <a:custGeom>
              <a:avLst/>
              <a:gdLst>
                <a:gd name="T0" fmla="*/ 0 w 1"/>
                <a:gd name="T1" fmla="*/ 0 h 3"/>
                <a:gd name="T2" fmla="*/ 0 w 1"/>
                <a:gd name="T3" fmla="*/ 3 h 3"/>
                <a:gd name="T4" fmla="*/ 0 w 1"/>
                <a:gd name="T5" fmla="*/ 0 h 3"/>
              </a:gdLst>
              <a:ahLst/>
              <a:cxnLst>
                <a:cxn ang="0">
                  <a:pos x="T0" y="T1"/>
                </a:cxn>
                <a:cxn ang="0">
                  <a:pos x="T2" y="T3"/>
                </a:cxn>
                <a:cxn ang="0">
                  <a:pos x="T4" y="T5"/>
                </a:cxn>
              </a:cxnLst>
              <a:rect l="0" t="0" r="r" b="b"/>
              <a:pathLst>
                <a:path w="1" h="3">
                  <a:moveTo>
                    <a:pt x="0" y="0"/>
                  </a:moveTo>
                  <a:cubicBezTo>
                    <a:pt x="0" y="1"/>
                    <a:pt x="0" y="2"/>
                    <a:pt x="0"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1" name="Freeform 1399">
              <a:extLst>
                <a:ext uri="{FF2B5EF4-FFF2-40B4-BE49-F238E27FC236}">
                  <a16:creationId xmlns:a16="http://schemas.microsoft.com/office/drawing/2014/main" id="{855354C3-57F5-4388-BFF8-04E62451644D}"/>
                </a:ext>
              </a:extLst>
            </p:cNvPr>
            <p:cNvSpPr>
              <a:spLocks/>
            </p:cNvSpPr>
            <p:nvPr/>
          </p:nvSpPr>
          <p:spPr bwMode="auto">
            <a:xfrm>
              <a:off x="3707" y="2303"/>
              <a:ext cx="21" cy="21"/>
            </a:xfrm>
            <a:custGeom>
              <a:avLst/>
              <a:gdLst>
                <a:gd name="T0" fmla="*/ 4 w 9"/>
                <a:gd name="T1" fmla="*/ 0 h 9"/>
                <a:gd name="T2" fmla="*/ 0 w 9"/>
                <a:gd name="T3" fmla="*/ 1 h 9"/>
                <a:gd name="T4" fmla="*/ 6 w 9"/>
                <a:gd name="T5" fmla="*/ 9 h 9"/>
                <a:gd name="T6" fmla="*/ 6 w 9"/>
                <a:gd name="T7" fmla="*/ 1 h 9"/>
                <a:gd name="T8" fmla="*/ 4 w 9"/>
                <a:gd name="T9" fmla="*/ 0 h 9"/>
              </a:gdLst>
              <a:ahLst/>
              <a:cxnLst>
                <a:cxn ang="0">
                  <a:pos x="T0" y="T1"/>
                </a:cxn>
                <a:cxn ang="0">
                  <a:pos x="T2" y="T3"/>
                </a:cxn>
                <a:cxn ang="0">
                  <a:pos x="T4" y="T5"/>
                </a:cxn>
                <a:cxn ang="0">
                  <a:pos x="T6" y="T7"/>
                </a:cxn>
                <a:cxn ang="0">
                  <a:pos x="T8" y="T9"/>
                </a:cxn>
              </a:cxnLst>
              <a:rect l="0" t="0" r="r" b="b"/>
              <a:pathLst>
                <a:path w="9" h="9">
                  <a:moveTo>
                    <a:pt x="4" y="0"/>
                  </a:moveTo>
                  <a:cubicBezTo>
                    <a:pt x="3" y="0"/>
                    <a:pt x="2" y="1"/>
                    <a:pt x="0" y="1"/>
                  </a:cubicBezTo>
                  <a:cubicBezTo>
                    <a:pt x="2" y="4"/>
                    <a:pt x="4" y="6"/>
                    <a:pt x="6" y="9"/>
                  </a:cubicBezTo>
                  <a:cubicBezTo>
                    <a:pt x="9" y="5"/>
                    <a:pt x="4" y="4"/>
                    <a:pt x="6" y="1"/>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2" name="Freeform 1400">
              <a:extLst>
                <a:ext uri="{FF2B5EF4-FFF2-40B4-BE49-F238E27FC236}">
                  <a16:creationId xmlns:a16="http://schemas.microsoft.com/office/drawing/2014/main" id="{3005BFAC-526F-4F6C-AA24-D9460AF9BDEB}"/>
                </a:ext>
              </a:extLst>
            </p:cNvPr>
            <p:cNvSpPr>
              <a:spLocks/>
            </p:cNvSpPr>
            <p:nvPr/>
          </p:nvSpPr>
          <p:spPr bwMode="auto">
            <a:xfrm>
              <a:off x="3839" y="3967"/>
              <a:ext cx="31" cy="14"/>
            </a:xfrm>
            <a:custGeom>
              <a:avLst/>
              <a:gdLst>
                <a:gd name="T0" fmla="*/ 9 w 13"/>
                <a:gd name="T1" fmla="*/ 0 h 6"/>
                <a:gd name="T2" fmla="*/ 5 w 13"/>
                <a:gd name="T3" fmla="*/ 1 h 6"/>
                <a:gd name="T4" fmla="*/ 4 w 13"/>
                <a:gd name="T5" fmla="*/ 1 h 6"/>
                <a:gd name="T6" fmla="*/ 3 w 13"/>
                <a:gd name="T7" fmla="*/ 1 h 6"/>
                <a:gd name="T8" fmla="*/ 3 w 13"/>
                <a:gd name="T9" fmla="*/ 1 h 6"/>
                <a:gd name="T10" fmla="*/ 0 w 13"/>
                <a:gd name="T11" fmla="*/ 2 h 6"/>
                <a:gd name="T12" fmla="*/ 9 w 13"/>
                <a:gd name="T13" fmla="*/ 6 h 6"/>
                <a:gd name="T14" fmla="*/ 13 w 13"/>
                <a:gd name="T15" fmla="*/ 4 h 6"/>
                <a:gd name="T16" fmla="*/ 13 w 13"/>
                <a:gd name="T17" fmla="*/ 4 h 6"/>
                <a:gd name="T18" fmla="*/ 9 w 13"/>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6">
                  <a:moveTo>
                    <a:pt x="9" y="0"/>
                  </a:moveTo>
                  <a:cubicBezTo>
                    <a:pt x="8" y="0"/>
                    <a:pt x="7" y="0"/>
                    <a:pt x="5" y="1"/>
                  </a:cubicBezTo>
                  <a:cubicBezTo>
                    <a:pt x="4" y="1"/>
                    <a:pt x="4" y="1"/>
                    <a:pt x="4" y="1"/>
                  </a:cubicBezTo>
                  <a:cubicBezTo>
                    <a:pt x="3" y="1"/>
                    <a:pt x="3" y="1"/>
                    <a:pt x="3" y="1"/>
                  </a:cubicBezTo>
                  <a:cubicBezTo>
                    <a:pt x="3" y="1"/>
                    <a:pt x="3" y="1"/>
                    <a:pt x="3" y="1"/>
                  </a:cubicBezTo>
                  <a:cubicBezTo>
                    <a:pt x="2" y="1"/>
                    <a:pt x="1" y="1"/>
                    <a:pt x="0" y="2"/>
                  </a:cubicBezTo>
                  <a:cubicBezTo>
                    <a:pt x="3" y="3"/>
                    <a:pt x="6" y="4"/>
                    <a:pt x="9" y="6"/>
                  </a:cubicBezTo>
                  <a:cubicBezTo>
                    <a:pt x="11" y="5"/>
                    <a:pt x="12" y="4"/>
                    <a:pt x="13" y="4"/>
                  </a:cubicBezTo>
                  <a:cubicBezTo>
                    <a:pt x="13" y="4"/>
                    <a:pt x="13" y="4"/>
                    <a:pt x="13" y="4"/>
                  </a:cubicBezTo>
                  <a:cubicBezTo>
                    <a:pt x="13" y="1"/>
                    <a:pt x="11"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3" name="Freeform 1401">
              <a:extLst>
                <a:ext uri="{FF2B5EF4-FFF2-40B4-BE49-F238E27FC236}">
                  <a16:creationId xmlns:a16="http://schemas.microsoft.com/office/drawing/2014/main" id="{281361A2-9B18-4A5B-8D79-8EA73E21592C}"/>
                </a:ext>
              </a:extLst>
            </p:cNvPr>
            <p:cNvSpPr>
              <a:spLocks/>
            </p:cNvSpPr>
            <p:nvPr/>
          </p:nvSpPr>
          <p:spPr bwMode="auto">
            <a:xfrm>
              <a:off x="3903" y="2435"/>
              <a:ext cx="2" cy="7"/>
            </a:xfrm>
            <a:custGeom>
              <a:avLst/>
              <a:gdLst>
                <a:gd name="T0" fmla="*/ 1 w 1"/>
                <a:gd name="T1" fmla="*/ 0 h 3"/>
                <a:gd name="T2" fmla="*/ 0 w 1"/>
                <a:gd name="T3" fmla="*/ 3 h 3"/>
                <a:gd name="T4" fmla="*/ 1 w 1"/>
                <a:gd name="T5" fmla="*/ 0 h 3"/>
              </a:gdLst>
              <a:ahLst/>
              <a:cxnLst>
                <a:cxn ang="0">
                  <a:pos x="T0" y="T1"/>
                </a:cxn>
                <a:cxn ang="0">
                  <a:pos x="T2" y="T3"/>
                </a:cxn>
                <a:cxn ang="0">
                  <a:pos x="T4" y="T5"/>
                </a:cxn>
              </a:cxnLst>
              <a:rect l="0" t="0" r="r" b="b"/>
              <a:pathLst>
                <a:path w="1" h="3">
                  <a:moveTo>
                    <a:pt x="1" y="0"/>
                  </a:moveTo>
                  <a:cubicBezTo>
                    <a:pt x="0" y="1"/>
                    <a:pt x="0" y="2"/>
                    <a:pt x="0" y="3"/>
                  </a:cubicBezTo>
                  <a:cubicBezTo>
                    <a:pt x="0"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4" name="Freeform 1402">
              <a:extLst>
                <a:ext uri="{FF2B5EF4-FFF2-40B4-BE49-F238E27FC236}">
                  <a16:creationId xmlns:a16="http://schemas.microsoft.com/office/drawing/2014/main" id="{0D91978D-A1E5-4AD0-B0AF-A823918A1890}"/>
                </a:ext>
              </a:extLst>
            </p:cNvPr>
            <p:cNvSpPr>
              <a:spLocks/>
            </p:cNvSpPr>
            <p:nvPr/>
          </p:nvSpPr>
          <p:spPr bwMode="auto">
            <a:xfrm>
              <a:off x="2773" y="1794"/>
              <a:ext cx="10" cy="26"/>
            </a:xfrm>
            <a:custGeom>
              <a:avLst/>
              <a:gdLst>
                <a:gd name="T0" fmla="*/ 3 w 4"/>
                <a:gd name="T1" fmla="*/ 0 h 11"/>
                <a:gd name="T2" fmla="*/ 0 w 4"/>
                <a:gd name="T3" fmla="*/ 2 h 11"/>
                <a:gd name="T4" fmla="*/ 3 w 4"/>
                <a:gd name="T5" fmla="*/ 11 h 11"/>
                <a:gd name="T6" fmla="*/ 4 w 4"/>
                <a:gd name="T7" fmla="*/ 5 h 11"/>
                <a:gd name="T8" fmla="*/ 3 w 4"/>
                <a:gd name="T9" fmla="*/ 0 h 11"/>
              </a:gdLst>
              <a:ahLst/>
              <a:cxnLst>
                <a:cxn ang="0">
                  <a:pos x="T0" y="T1"/>
                </a:cxn>
                <a:cxn ang="0">
                  <a:pos x="T2" y="T3"/>
                </a:cxn>
                <a:cxn ang="0">
                  <a:pos x="T4" y="T5"/>
                </a:cxn>
                <a:cxn ang="0">
                  <a:pos x="T6" y="T7"/>
                </a:cxn>
                <a:cxn ang="0">
                  <a:pos x="T8" y="T9"/>
                </a:cxn>
              </a:cxnLst>
              <a:rect l="0" t="0" r="r" b="b"/>
              <a:pathLst>
                <a:path w="4" h="11">
                  <a:moveTo>
                    <a:pt x="3" y="0"/>
                  </a:moveTo>
                  <a:cubicBezTo>
                    <a:pt x="2" y="1"/>
                    <a:pt x="1" y="2"/>
                    <a:pt x="0" y="2"/>
                  </a:cubicBezTo>
                  <a:cubicBezTo>
                    <a:pt x="1" y="5"/>
                    <a:pt x="2" y="8"/>
                    <a:pt x="3" y="11"/>
                  </a:cubicBezTo>
                  <a:cubicBezTo>
                    <a:pt x="4" y="8"/>
                    <a:pt x="4" y="6"/>
                    <a:pt x="4" y="5"/>
                  </a:cubicBezTo>
                  <a:cubicBezTo>
                    <a:pt x="3" y="4"/>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5" name="Freeform 1403">
              <a:extLst>
                <a:ext uri="{FF2B5EF4-FFF2-40B4-BE49-F238E27FC236}">
                  <a16:creationId xmlns:a16="http://schemas.microsoft.com/office/drawing/2014/main" id="{B445DB55-5F46-4967-9A9C-EFD4543A455E}"/>
                </a:ext>
              </a:extLst>
            </p:cNvPr>
            <p:cNvSpPr>
              <a:spLocks/>
            </p:cNvSpPr>
            <p:nvPr/>
          </p:nvSpPr>
          <p:spPr bwMode="auto">
            <a:xfrm>
              <a:off x="3047" y="3588"/>
              <a:ext cx="114" cy="38"/>
            </a:xfrm>
            <a:custGeom>
              <a:avLst/>
              <a:gdLst>
                <a:gd name="T0" fmla="*/ 30 w 48"/>
                <a:gd name="T1" fmla="*/ 0 h 16"/>
                <a:gd name="T2" fmla="*/ 24 w 48"/>
                <a:gd name="T3" fmla="*/ 0 h 16"/>
                <a:gd name="T4" fmla="*/ 16 w 48"/>
                <a:gd name="T5" fmla="*/ 3 h 16"/>
                <a:gd name="T6" fmla="*/ 7 w 48"/>
                <a:gd name="T7" fmla="*/ 5 h 16"/>
                <a:gd name="T8" fmla="*/ 3 w 48"/>
                <a:gd name="T9" fmla="*/ 12 h 16"/>
                <a:gd name="T10" fmla="*/ 6 w 48"/>
                <a:gd name="T11" fmla="*/ 15 h 16"/>
                <a:gd name="T12" fmla="*/ 8 w 48"/>
                <a:gd name="T13" fmla="*/ 15 h 16"/>
                <a:gd name="T14" fmla="*/ 10 w 48"/>
                <a:gd name="T15" fmla="*/ 15 h 16"/>
                <a:gd name="T16" fmla="*/ 14 w 48"/>
                <a:gd name="T17" fmla="*/ 15 h 16"/>
                <a:gd name="T18" fmla="*/ 18 w 48"/>
                <a:gd name="T19" fmla="*/ 15 h 16"/>
                <a:gd name="T20" fmla="*/ 24 w 48"/>
                <a:gd name="T21" fmla="*/ 14 h 16"/>
                <a:gd name="T22" fmla="*/ 28 w 48"/>
                <a:gd name="T23" fmla="*/ 16 h 16"/>
                <a:gd name="T24" fmla="*/ 37 w 48"/>
                <a:gd name="T25" fmla="*/ 10 h 16"/>
                <a:gd name="T26" fmla="*/ 48 w 48"/>
                <a:gd name="T27" fmla="*/ 9 h 16"/>
                <a:gd name="T28" fmla="*/ 44 w 48"/>
                <a:gd name="T29" fmla="*/ 5 h 16"/>
                <a:gd name="T30" fmla="*/ 43 w 48"/>
                <a:gd name="T31" fmla="*/ 5 h 16"/>
                <a:gd name="T32" fmla="*/ 40 w 48"/>
                <a:gd name="T33" fmla="*/ 7 h 16"/>
                <a:gd name="T34" fmla="*/ 40 w 48"/>
                <a:gd name="T35" fmla="*/ 7 h 16"/>
                <a:gd name="T36" fmla="*/ 37 w 48"/>
                <a:gd name="T37" fmla="*/ 5 h 16"/>
                <a:gd name="T38" fmla="*/ 35 w 48"/>
                <a:gd name="T39" fmla="*/ 4 h 16"/>
                <a:gd name="T40" fmla="*/ 32 w 48"/>
                <a:gd name="T41" fmla="*/ 0 h 16"/>
                <a:gd name="T42" fmla="*/ 30 w 48"/>
                <a:gd name="T4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16">
                  <a:moveTo>
                    <a:pt x="30" y="0"/>
                  </a:moveTo>
                  <a:cubicBezTo>
                    <a:pt x="28" y="0"/>
                    <a:pt x="25" y="0"/>
                    <a:pt x="24" y="0"/>
                  </a:cubicBezTo>
                  <a:cubicBezTo>
                    <a:pt x="22" y="1"/>
                    <a:pt x="19" y="3"/>
                    <a:pt x="16" y="3"/>
                  </a:cubicBezTo>
                  <a:cubicBezTo>
                    <a:pt x="13" y="4"/>
                    <a:pt x="10" y="4"/>
                    <a:pt x="7" y="5"/>
                  </a:cubicBezTo>
                  <a:cubicBezTo>
                    <a:pt x="3" y="6"/>
                    <a:pt x="0" y="9"/>
                    <a:pt x="3" y="12"/>
                  </a:cubicBezTo>
                  <a:cubicBezTo>
                    <a:pt x="6" y="15"/>
                    <a:pt x="6" y="15"/>
                    <a:pt x="6" y="15"/>
                  </a:cubicBezTo>
                  <a:cubicBezTo>
                    <a:pt x="7" y="15"/>
                    <a:pt x="8" y="15"/>
                    <a:pt x="8" y="15"/>
                  </a:cubicBezTo>
                  <a:cubicBezTo>
                    <a:pt x="8" y="15"/>
                    <a:pt x="9" y="15"/>
                    <a:pt x="10" y="15"/>
                  </a:cubicBezTo>
                  <a:cubicBezTo>
                    <a:pt x="11" y="15"/>
                    <a:pt x="13" y="15"/>
                    <a:pt x="14" y="15"/>
                  </a:cubicBezTo>
                  <a:cubicBezTo>
                    <a:pt x="16" y="15"/>
                    <a:pt x="17" y="15"/>
                    <a:pt x="18" y="15"/>
                  </a:cubicBezTo>
                  <a:cubicBezTo>
                    <a:pt x="20" y="15"/>
                    <a:pt x="22" y="14"/>
                    <a:pt x="24" y="14"/>
                  </a:cubicBezTo>
                  <a:cubicBezTo>
                    <a:pt x="25" y="14"/>
                    <a:pt x="27" y="14"/>
                    <a:pt x="28" y="16"/>
                  </a:cubicBezTo>
                  <a:cubicBezTo>
                    <a:pt x="31" y="14"/>
                    <a:pt x="34" y="11"/>
                    <a:pt x="37" y="10"/>
                  </a:cubicBezTo>
                  <a:cubicBezTo>
                    <a:pt x="40" y="9"/>
                    <a:pt x="44" y="9"/>
                    <a:pt x="48" y="9"/>
                  </a:cubicBezTo>
                  <a:cubicBezTo>
                    <a:pt x="47" y="8"/>
                    <a:pt x="46" y="6"/>
                    <a:pt x="44" y="5"/>
                  </a:cubicBezTo>
                  <a:cubicBezTo>
                    <a:pt x="44" y="5"/>
                    <a:pt x="44" y="5"/>
                    <a:pt x="43" y="5"/>
                  </a:cubicBezTo>
                  <a:cubicBezTo>
                    <a:pt x="41" y="5"/>
                    <a:pt x="42" y="7"/>
                    <a:pt x="40" y="7"/>
                  </a:cubicBezTo>
                  <a:cubicBezTo>
                    <a:pt x="40" y="7"/>
                    <a:pt x="40" y="7"/>
                    <a:pt x="40" y="7"/>
                  </a:cubicBezTo>
                  <a:cubicBezTo>
                    <a:pt x="38" y="7"/>
                    <a:pt x="38" y="6"/>
                    <a:pt x="37" y="5"/>
                  </a:cubicBezTo>
                  <a:cubicBezTo>
                    <a:pt x="36" y="5"/>
                    <a:pt x="36" y="6"/>
                    <a:pt x="35" y="4"/>
                  </a:cubicBezTo>
                  <a:cubicBezTo>
                    <a:pt x="33" y="2"/>
                    <a:pt x="34" y="1"/>
                    <a:pt x="32" y="0"/>
                  </a:cubicBezTo>
                  <a:cubicBezTo>
                    <a:pt x="31" y="0"/>
                    <a:pt x="31"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6" name="Freeform 1404">
              <a:extLst>
                <a:ext uri="{FF2B5EF4-FFF2-40B4-BE49-F238E27FC236}">
                  <a16:creationId xmlns:a16="http://schemas.microsoft.com/office/drawing/2014/main" id="{FF1D9B07-9E7A-4FF6-B52F-76447486C9C2}"/>
                </a:ext>
              </a:extLst>
            </p:cNvPr>
            <p:cNvSpPr>
              <a:spLocks/>
            </p:cNvSpPr>
            <p:nvPr/>
          </p:nvSpPr>
          <p:spPr bwMode="auto">
            <a:xfrm>
              <a:off x="2847" y="3331"/>
              <a:ext cx="9" cy="7"/>
            </a:xfrm>
            <a:custGeom>
              <a:avLst/>
              <a:gdLst>
                <a:gd name="T0" fmla="*/ 4 w 4"/>
                <a:gd name="T1" fmla="*/ 0 h 3"/>
                <a:gd name="T2" fmla="*/ 0 w 4"/>
                <a:gd name="T3" fmla="*/ 3 h 3"/>
                <a:gd name="T4" fmla="*/ 4 w 4"/>
                <a:gd name="T5" fmla="*/ 0 h 3"/>
              </a:gdLst>
              <a:ahLst/>
              <a:cxnLst>
                <a:cxn ang="0">
                  <a:pos x="T0" y="T1"/>
                </a:cxn>
                <a:cxn ang="0">
                  <a:pos x="T2" y="T3"/>
                </a:cxn>
                <a:cxn ang="0">
                  <a:pos x="T4" y="T5"/>
                </a:cxn>
              </a:cxnLst>
              <a:rect l="0" t="0" r="r" b="b"/>
              <a:pathLst>
                <a:path w="4" h="3">
                  <a:moveTo>
                    <a:pt x="4" y="0"/>
                  </a:moveTo>
                  <a:cubicBezTo>
                    <a:pt x="2" y="1"/>
                    <a:pt x="1" y="2"/>
                    <a:pt x="0" y="3"/>
                  </a:cubicBezTo>
                  <a:cubicBezTo>
                    <a:pt x="1" y="2"/>
                    <a:pt x="2"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7" name="Freeform 1405">
              <a:extLst>
                <a:ext uri="{FF2B5EF4-FFF2-40B4-BE49-F238E27FC236}">
                  <a16:creationId xmlns:a16="http://schemas.microsoft.com/office/drawing/2014/main" id="{61AC46E7-0E62-4D86-BFD9-06C6B809C5F6}"/>
                </a:ext>
              </a:extLst>
            </p:cNvPr>
            <p:cNvSpPr>
              <a:spLocks/>
            </p:cNvSpPr>
            <p:nvPr/>
          </p:nvSpPr>
          <p:spPr bwMode="auto">
            <a:xfrm>
              <a:off x="3652" y="3804"/>
              <a:ext cx="15" cy="9"/>
            </a:xfrm>
            <a:custGeom>
              <a:avLst/>
              <a:gdLst>
                <a:gd name="T0" fmla="*/ 1 w 6"/>
                <a:gd name="T1" fmla="*/ 0 h 4"/>
                <a:gd name="T2" fmla="*/ 2 w 6"/>
                <a:gd name="T3" fmla="*/ 4 h 4"/>
                <a:gd name="T4" fmla="*/ 6 w 6"/>
                <a:gd name="T5" fmla="*/ 2 h 4"/>
                <a:gd name="T6" fmla="*/ 6 w 6"/>
                <a:gd name="T7" fmla="*/ 2 h 4"/>
                <a:gd name="T8" fmla="*/ 1 w 6"/>
                <a:gd name="T9" fmla="*/ 0 h 4"/>
              </a:gdLst>
              <a:ahLst/>
              <a:cxnLst>
                <a:cxn ang="0">
                  <a:pos x="T0" y="T1"/>
                </a:cxn>
                <a:cxn ang="0">
                  <a:pos x="T2" y="T3"/>
                </a:cxn>
                <a:cxn ang="0">
                  <a:pos x="T4" y="T5"/>
                </a:cxn>
                <a:cxn ang="0">
                  <a:pos x="T6" y="T7"/>
                </a:cxn>
                <a:cxn ang="0">
                  <a:pos x="T8" y="T9"/>
                </a:cxn>
              </a:cxnLst>
              <a:rect l="0" t="0" r="r" b="b"/>
              <a:pathLst>
                <a:path w="6" h="4">
                  <a:moveTo>
                    <a:pt x="1" y="0"/>
                  </a:moveTo>
                  <a:cubicBezTo>
                    <a:pt x="0" y="1"/>
                    <a:pt x="1" y="3"/>
                    <a:pt x="2" y="4"/>
                  </a:cubicBezTo>
                  <a:cubicBezTo>
                    <a:pt x="3" y="3"/>
                    <a:pt x="4" y="2"/>
                    <a:pt x="6" y="2"/>
                  </a:cubicBezTo>
                  <a:cubicBezTo>
                    <a:pt x="6" y="2"/>
                    <a:pt x="6" y="2"/>
                    <a:pt x="6" y="2"/>
                  </a:cubicBezTo>
                  <a:cubicBezTo>
                    <a:pt x="4" y="1"/>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8" name="Freeform 1406">
              <a:extLst>
                <a:ext uri="{FF2B5EF4-FFF2-40B4-BE49-F238E27FC236}">
                  <a16:creationId xmlns:a16="http://schemas.microsoft.com/office/drawing/2014/main" id="{630BBD45-69D2-492A-8A90-EC27504B7B19}"/>
                </a:ext>
              </a:extLst>
            </p:cNvPr>
            <p:cNvSpPr>
              <a:spLocks/>
            </p:cNvSpPr>
            <p:nvPr/>
          </p:nvSpPr>
          <p:spPr bwMode="auto">
            <a:xfrm>
              <a:off x="1599" y="2477"/>
              <a:ext cx="9" cy="17"/>
            </a:xfrm>
            <a:custGeom>
              <a:avLst/>
              <a:gdLst>
                <a:gd name="T0" fmla="*/ 3 w 4"/>
                <a:gd name="T1" fmla="*/ 0 h 7"/>
                <a:gd name="T2" fmla="*/ 0 w 4"/>
                <a:gd name="T3" fmla="*/ 7 h 7"/>
                <a:gd name="T4" fmla="*/ 3 w 4"/>
                <a:gd name="T5" fmla="*/ 0 h 7"/>
              </a:gdLst>
              <a:ahLst/>
              <a:cxnLst>
                <a:cxn ang="0">
                  <a:pos x="T0" y="T1"/>
                </a:cxn>
                <a:cxn ang="0">
                  <a:pos x="T2" y="T3"/>
                </a:cxn>
                <a:cxn ang="0">
                  <a:pos x="T4" y="T5"/>
                </a:cxn>
              </a:cxnLst>
              <a:rect l="0" t="0" r="r" b="b"/>
              <a:pathLst>
                <a:path w="4" h="7">
                  <a:moveTo>
                    <a:pt x="3" y="0"/>
                  </a:moveTo>
                  <a:cubicBezTo>
                    <a:pt x="2" y="2"/>
                    <a:pt x="1" y="5"/>
                    <a:pt x="0" y="7"/>
                  </a:cubicBezTo>
                  <a:cubicBezTo>
                    <a:pt x="2" y="5"/>
                    <a:pt x="4"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9" name="Freeform 1407">
              <a:extLst>
                <a:ext uri="{FF2B5EF4-FFF2-40B4-BE49-F238E27FC236}">
                  <a16:creationId xmlns:a16="http://schemas.microsoft.com/office/drawing/2014/main" id="{BDFE4D36-FC20-4A6E-AE23-E9924BB371AF}"/>
                </a:ext>
              </a:extLst>
            </p:cNvPr>
            <p:cNvSpPr>
              <a:spLocks/>
            </p:cNvSpPr>
            <p:nvPr/>
          </p:nvSpPr>
          <p:spPr bwMode="auto">
            <a:xfrm>
              <a:off x="4009" y="2589"/>
              <a:ext cx="3" cy="9"/>
            </a:xfrm>
            <a:custGeom>
              <a:avLst/>
              <a:gdLst>
                <a:gd name="T0" fmla="*/ 0 w 1"/>
                <a:gd name="T1" fmla="*/ 0 h 4"/>
                <a:gd name="T2" fmla="*/ 0 w 1"/>
                <a:gd name="T3" fmla="*/ 4 h 4"/>
                <a:gd name="T4" fmla="*/ 0 w 1"/>
                <a:gd name="T5" fmla="*/ 0 h 4"/>
              </a:gdLst>
              <a:ahLst/>
              <a:cxnLst>
                <a:cxn ang="0">
                  <a:pos x="T0" y="T1"/>
                </a:cxn>
                <a:cxn ang="0">
                  <a:pos x="T2" y="T3"/>
                </a:cxn>
                <a:cxn ang="0">
                  <a:pos x="T4" y="T5"/>
                </a:cxn>
              </a:cxnLst>
              <a:rect l="0" t="0" r="r" b="b"/>
              <a:pathLst>
                <a:path w="1" h="4">
                  <a:moveTo>
                    <a:pt x="0" y="0"/>
                  </a:moveTo>
                  <a:cubicBezTo>
                    <a:pt x="0" y="2"/>
                    <a:pt x="0" y="3"/>
                    <a:pt x="0" y="4"/>
                  </a:cubicBezTo>
                  <a:cubicBezTo>
                    <a:pt x="1"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0" name="Freeform 1408">
              <a:extLst>
                <a:ext uri="{FF2B5EF4-FFF2-40B4-BE49-F238E27FC236}">
                  <a16:creationId xmlns:a16="http://schemas.microsoft.com/office/drawing/2014/main" id="{66663E5F-4ED5-4DFD-A262-292309AB8D33}"/>
                </a:ext>
              </a:extLst>
            </p:cNvPr>
            <p:cNvSpPr>
              <a:spLocks noEditPoints="1"/>
            </p:cNvSpPr>
            <p:nvPr/>
          </p:nvSpPr>
          <p:spPr bwMode="auto">
            <a:xfrm>
              <a:off x="3823" y="3917"/>
              <a:ext cx="47" cy="43"/>
            </a:xfrm>
            <a:custGeom>
              <a:avLst/>
              <a:gdLst>
                <a:gd name="T0" fmla="*/ 14 w 20"/>
                <a:gd name="T1" fmla="*/ 17 h 18"/>
                <a:gd name="T2" fmla="*/ 14 w 20"/>
                <a:gd name="T3" fmla="*/ 17 h 18"/>
                <a:gd name="T4" fmla="*/ 14 w 20"/>
                <a:gd name="T5" fmla="*/ 17 h 18"/>
                <a:gd name="T6" fmla="*/ 5 w 20"/>
                <a:gd name="T7" fmla="*/ 0 h 18"/>
                <a:gd name="T8" fmla="*/ 2 w 20"/>
                <a:gd name="T9" fmla="*/ 4 h 18"/>
                <a:gd name="T10" fmla="*/ 0 w 20"/>
                <a:gd name="T11" fmla="*/ 5 h 18"/>
                <a:gd name="T12" fmla="*/ 7 w 20"/>
                <a:gd name="T13" fmla="*/ 16 h 18"/>
                <a:gd name="T14" fmla="*/ 10 w 20"/>
                <a:gd name="T15" fmla="*/ 18 h 18"/>
                <a:gd name="T16" fmla="*/ 12 w 20"/>
                <a:gd name="T17" fmla="*/ 18 h 18"/>
                <a:gd name="T18" fmla="*/ 12 w 20"/>
                <a:gd name="T19" fmla="*/ 18 h 18"/>
                <a:gd name="T20" fmla="*/ 13 w 20"/>
                <a:gd name="T21" fmla="*/ 17 h 18"/>
                <a:gd name="T22" fmla="*/ 14 w 20"/>
                <a:gd name="T23" fmla="*/ 17 h 18"/>
                <a:gd name="T24" fmla="*/ 14 w 20"/>
                <a:gd name="T25" fmla="*/ 17 h 18"/>
                <a:gd name="T26" fmla="*/ 14 w 20"/>
                <a:gd name="T27" fmla="*/ 17 h 18"/>
                <a:gd name="T28" fmla="*/ 15 w 20"/>
                <a:gd name="T29" fmla="*/ 17 h 18"/>
                <a:gd name="T30" fmla="*/ 15 w 20"/>
                <a:gd name="T31" fmla="*/ 18 h 18"/>
                <a:gd name="T32" fmla="*/ 16 w 20"/>
                <a:gd name="T33" fmla="*/ 17 h 18"/>
                <a:gd name="T34" fmla="*/ 5 w 20"/>
                <a:gd name="T3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18">
                  <a:moveTo>
                    <a:pt x="14" y="17"/>
                  </a:moveTo>
                  <a:cubicBezTo>
                    <a:pt x="14" y="17"/>
                    <a:pt x="14" y="17"/>
                    <a:pt x="14" y="17"/>
                  </a:cubicBezTo>
                  <a:cubicBezTo>
                    <a:pt x="14" y="17"/>
                    <a:pt x="14" y="17"/>
                    <a:pt x="14" y="17"/>
                  </a:cubicBezTo>
                  <a:moveTo>
                    <a:pt x="5" y="0"/>
                  </a:moveTo>
                  <a:cubicBezTo>
                    <a:pt x="3" y="0"/>
                    <a:pt x="2" y="2"/>
                    <a:pt x="2" y="4"/>
                  </a:cubicBezTo>
                  <a:cubicBezTo>
                    <a:pt x="1" y="4"/>
                    <a:pt x="0" y="4"/>
                    <a:pt x="0" y="5"/>
                  </a:cubicBezTo>
                  <a:cubicBezTo>
                    <a:pt x="0" y="8"/>
                    <a:pt x="6" y="14"/>
                    <a:pt x="7" y="16"/>
                  </a:cubicBezTo>
                  <a:cubicBezTo>
                    <a:pt x="8" y="18"/>
                    <a:pt x="9" y="18"/>
                    <a:pt x="10" y="18"/>
                  </a:cubicBezTo>
                  <a:cubicBezTo>
                    <a:pt x="10" y="18"/>
                    <a:pt x="11" y="18"/>
                    <a:pt x="12" y="18"/>
                  </a:cubicBezTo>
                  <a:cubicBezTo>
                    <a:pt x="12" y="18"/>
                    <a:pt x="12" y="18"/>
                    <a:pt x="12" y="18"/>
                  </a:cubicBezTo>
                  <a:cubicBezTo>
                    <a:pt x="12" y="18"/>
                    <a:pt x="12" y="17"/>
                    <a:pt x="13" y="17"/>
                  </a:cubicBezTo>
                  <a:cubicBezTo>
                    <a:pt x="13" y="17"/>
                    <a:pt x="14" y="17"/>
                    <a:pt x="14" y="17"/>
                  </a:cubicBezTo>
                  <a:cubicBezTo>
                    <a:pt x="14" y="17"/>
                    <a:pt x="14" y="17"/>
                    <a:pt x="14" y="17"/>
                  </a:cubicBezTo>
                  <a:cubicBezTo>
                    <a:pt x="14" y="17"/>
                    <a:pt x="14" y="17"/>
                    <a:pt x="14" y="17"/>
                  </a:cubicBezTo>
                  <a:cubicBezTo>
                    <a:pt x="14" y="17"/>
                    <a:pt x="14" y="17"/>
                    <a:pt x="15" y="17"/>
                  </a:cubicBezTo>
                  <a:cubicBezTo>
                    <a:pt x="15" y="17"/>
                    <a:pt x="15" y="18"/>
                    <a:pt x="15" y="18"/>
                  </a:cubicBezTo>
                  <a:cubicBezTo>
                    <a:pt x="16" y="18"/>
                    <a:pt x="16" y="17"/>
                    <a:pt x="16" y="17"/>
                  </a:cubicBezTo>
                  <a:cubicBezTo>
                    <a:pt x="20" y="13"/>
                    <a:pt x="7"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1" name="Freeform 1409">
              <a:extLst>
                <a:ext uri="{FF2B5EF4-FFF2-40B4-BE49-F238E27FC236}">
                  <a16:creationId xmlns:a16="http://schemas.microsoft.com/office/drawing/2014/main" id="{A103B59C-5CF7-4160-B951-7DA08F11B9B8}"/>
                </a:ext>
              </a:extLst>
            </p:cNvPr>
            <p:cNvSpPr>
              <a:spLocks/>
            </p:cNvSpPr>
            <p:nvPr/>
          </p:nvSpPr>
          <p:spPr bwMode="auto">
            <a:xfrm>
              <a:off x="3615" y="3974"/>
              <a:ext cx="4" cy="14"/>
            </a:xfrm>
            <a:custGeom>
              <a:avLst/>
              <a:gdLst>
                <a:gd name="T0" fmla="*/ 1 w 2"/>
                <a:gd name="T1" fmla="*/ 0 h 6"/>
                <a:gd name="T2" fmla="*/ 0 w 2"/>
                <a:gd name="T3" fmla="*/ 6 h 6"/>
                <a:gd name="T4" fmla="*/ 1 w 2"/>
                <a:gd name="T5" fmla="*/ 0 h 6"/>
              </a:gdLst>
              <a:ahLst/>
              <a:cxnLst>
                <a:cxn ang="0">
                  <a:pos x="T0" y="T1"/>
                </a:cxn>
                <a:cxn ang="0">
                  <a:pos x="T2" y="T3"/>
                </a:cxn>
                <a:cxn ang="0">
                  <a:pos x="T4" y="T5"/>
                </a:cxn>
              </a:cxnLst>
              <a:rect l="0" t="0" r="r" b="b"/>
              <a:pathLst>
                <a:path w="2" h="6">
                  <a:moveTo>
                    <a:pt x="1" y="0"/>
                  </a:moveTo>
                  <a:cubicBezTo>
                    <a:pt x="1" y="2"/>
                    <a:pt x="0" y="4"/>
                    <a:pt x="0" y="6"/>
                  </a:cubicBezTo>
                  <a:cubicBezTo>
                    <a:pt x="1" y="4"/>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2" name="Freeform 1410">
              <a:extLst>
                <a:ext uri="{FF2B5EF4-FFF2-40B4-BE49-F238E27FC236}">
                  <a16:creationId xmlns:a16="http://schemas.microsoft.com/office/drawing/2014/main" id="{8DBD43AD-FCE9-443D-8F86-CA4605BBFC80}"/>
                </a:ext>
              </a:extLst>
            </p:cNvPr>
            <p:cNvSpPr>
              <a:spLocks noEditPoints="1"/>
            </p:cNvSpPr>
            <p:nvPr/>
          </p:nvSpPr>
          <p:spPr bwMode="auto">
            <a:xfrm>
              <a:off x="3605" y="3993"/>
              <a:ext cx="258" cy="243"/>
            </a:xfrm>
            <a:custGeom>
              <a:avLst/>
              <a:gdLst>
                <a:gd name="T0" fmla="*/ 109 w 109"/>
                <a:gd name="T1" fmla="*/ 54 h 103"/>
                <a:gd name="T2" fmla="*/ 109 w 109"/>
                <a:gd name="T3" fmla="*/ 54 h 103"/>
                <a:gd name="T4" fmla="*/ 109 w 109"/>
                <a:gd name="T5" fmla="*/ 54 h 103"/>
                <a:gd name="T6" fmla="*/ 3 w 109"/>
                <a:gd name="T7" fmla="*/ 0 h 103"/>
                <a:gd name="T8" fmla="*/ 2 w 109"/>
                <a:gd name="T9" fmla="*/ 18 h 103"/>
                <a:gd name="T10" fmla="*/ 5 w 109"/>
                <a:gd name="T11" fmla="*/ 28 h 103"/>
                <a:gd name="T12" fmla="*/ 11 w 109"/>
                <a:gd name="T13" fmla="*/ 38 h 103"/>
                <a:gd name="T14" fmla="*/ 18 w 109"/>
                <a:gd name="T15" fmla="*/ 49 h 103"/>
                <a:gd name="T16" fmla="*/ 21 w 109"/>
                <a:gd name="T17" fmla="*/ 56 h 103"/>
                <a:gd name="T18" fmla="*/ 25 w 109"/>
                <a:gd name="T19" fmla="*/ 65 h 103"/>
                <a:gd name="T20" fmla="*/ 17 w 109"/>
                <a:gd name="T21" fmla="*/ 54 h 103"/>
                <a:gd name="T22" fmla="*/ 18 w 109"/>
                <a:gd name="T23" fmla="*/ 63 h 103"/>
                <a:gd name="T24" fmla="*/ 25 w 109"/>
                <a:gd name="T25" fmla="*/ 78 h 103"/>
                <a:gd name="T26" fmla="*/ 29 w 109"/>
                <a:gd name="T27" fmla="*/ 81 h 103"/>
                <a:gd name="T28" fmla="*/ 33 w 109"/>
                <a:gd name="T29" fmla="*/ 87 h 103"/>
                <a:gd name="T30" fmla="*/ 36 w 109"/>
                <a:gd name="T31" fmla="*/ 92 h 103"/>
                <a:gd name="T32" fmla="*/ 38 w 109"/>
                <a:gd name="T33" fmla="*/ 90 h 103"/>
                <a:gd name="T34" fmla="*/ 40 w 109"/>
                <a:gd name="T35" fmla="*/ 90 h 103"/>
                <a:gd name="T36" fmla="*/ 47 w 109"/>
                <a:gd name="T37" fmla="*/ 95 h 103"/>
                <a:gd name="T38" fmla="*/ 46 w 109"/>
                <a:gd name="T39" fmla="*/ 95 h 103"/>
                <a:gd name="T40" fmla="*/ 45 w 109"/>
                <a:gd name="T41" fmla="*/ 96 h 103"/>
                <a:gd name="T42" fmla="*/ 44 w 109"/>
                <a:gd name="T43" fmla="*/ 95 h 103"/>
                <a:gd name="T44" fmla="*/ 41 w 109"/>
                <a:gd name="T45" fmla="*/ 101 h 103"/>
                <a:gd name="T46" fmla="*/ 55 w 109"/>
                <a:gd name="T47" fmla="*/ 98 h 103"/>
                <a:gd name="T48" fmla="*/ 56 w 109"/>
                <a:gd name="T49" fmla="*/ 99 h 103"/>
                <a:gd name="T50" fmla="*/ 68 w 109"/>
                <a:gd name="T51" fmla="*/ 103 h 103"/>
                <a:gd name="T52" fmla="*/ 72 w 109"/>
                <a:gd name="T53" fmla="*/ 92 h 103"/>
                <a:gd name="T54" fmla="*/ 70 w 109"/>
                <a:gd name="T55" fmla="*/ 85 h 103"/>
                <a:gd name="T56" fmla="*/ 75 w 109"/>
                <a:gd name="T57" fmla="*/ 92 h 103"/>
                <a:gd name="T58" fmla="*/ 78 w 109"/>
                <a:gd name="T59" fmla="*/ 82 h 103"/>
                <a:gd name="T60" fmla="*/ 78 w 109"/>
                <a:gd name="T61" fmla="*/ 74 h 103"/>
                <a:gd name="T62" fmla="*/ 85 w 109"/>
                <a:gd name="T63" fmla="*/ 82 h 103"/>
                <a:gd name="T64" fmla="*/ 86 w 109"/>
                <a:gd name="T65" fmla="*/ 76 h 103"/>
                <a:gd name="T66" fmla="*/ 86 w 109"/>
                <a:gd name="T67" fmla="*/ 76 h 103"/>
                <a:gd name="T68" fmla="*/ 96 w 109"/>
                <a:gd name="T69" fmla="*/ 83 h 103"/>
                <a:gd name="T70" fmla="*/ 90 w 109"/>
                <a:gd name="T71" fmla="*/ 88 h 103"/>
                <a:gd name="T72" fmla="*/ 94 w 109"/>
                <a:gd name="T73" fmla="*/ 90 h 103"/>
                <a:gd name="T74" fmla="*/ 98 w 109"/>
                <a:gd name="T75" fmla="*/ 89 h 103"/>
                <a:gd name="T76" fmla="*/ 97 w 109"/>
                <a:gd name="T77" fmla="*/ 83 h 103"/>
                <a:gd name="T78" fmla="*/ 97 w 109"/>
                <a:gd name="T79" fmla="*/ 77 h 103"/>
                <a:gd name="T80" fmla="*/ 95 w 109"/>
                <a:gd name="T81" fmla="*/ 78 h 103"/>
                <a:gd name="T82" fmla="*/ 97 w 109"/>
                <a:gd name="T83" fmla="*/ 61 h 103"/>
                <a:gd name="T84" fmla="*/ 103 w 109"/>
                <a:gd name="T85" fmla="*/ 49 h 103"/>
                <a:gd name="T86" fmla="*/ 109 w 109"/>
                <a:gd name="T87" fmla="*/ 54 h 103"/>
                <a:gd name="T88" fmla="*/ 108 w 109"/>
                <a:gd name="T89" fmla="*/ 49 h 103"/>
                <a:gd name="T90" fmla="*/ 107 w 109"/>
                <a:gd name="T91" fmla="*/ 46 h 103"/>
                <a:gd name="T92" fmla="*/ 107 w 109"/>
                <a:gd name="T93" fmla="*/ 29 h 103"/>
                <a:gd name="T94" fmla="*/ 108 w 109"/>
                <a:gd name="T95" fmla="*/ 11 h 103"/>
                <a:gd name="T96" fmla="*/ 105 w 109"/>
                <a:gd name="T97" fmla="*/ 8 h 103"/>
                <a:gd name="T98" fmla="*/ 98 w 109"/>
                <a:gd name="T99" fmla="*/ 3 h 103"/>
                <a:gd name="T100" fmla="*/ 98 w 109"/>
                <a:gd name="T101" fmla="*/ 3 h 103"/>
                <a:gd name="T102" fmla="*/ 90 w 109"/>
                <a:gd name="T103" fmla="*/ 7 h 103"/>
                <a:gd name="T104" fmla="*/ 67 w 109"/>
                <a:gd name="T105" fmla="*/ 13 h 103"/>
                <a:gd name="T106" fmla="*/ 68 w 109"/>
                <a:gd name="T107" fmla="*/ 18 h 103"/>
                <a:gd name="T108" fmla="*/ 59 w 109"/>
                <a:gd name="T109" fmla="*/ 16 h 103"/>
                <a:gd name="T110" fmla="*/ 59 w 109"/>
                <a:gd name="T111" fmla="*/ 16 h 103"/>
                <a:gd name="T112" fmla="*/ 52 w 109"/>
                <a:gd name="T113" fmla="*/ 18 h 103"/>
                <a:gd name="T114" fmla="*/ 51 w 109"/>
                <a:gd name="T115" fmla="*/ 18 h 103"/>
                <a:gd name="T116" fmla="*/ 37 w 109"/>
                <a:gd name="T117" fmla="*/ 14 h 103"/>
                <a:gd name="T118" fmla="*/ 25 w 109"/>
                <a:gd name="T119" fmla="*/ 7 h 103"/>
                <a:gd name="T120" fmla="*/ 10 w 109"/>
                <a:gd name="T121" fmla="*/ 2 h 103"/>
                <a:gd name="T122" fmla="*/ 8 w 109"/>
                <a:gd name="T123" fmla="*/ 3 h 103"/>
                <a:gd name="T124" fmla="*/ 3 w 109"/>
                <a:gd name="T12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9" h="103">
                  <a:moveTo>
                    <a:pt x="109" y="54"/>
                  </a:moveTo>
                  <a:cubicBezTo>
                    <a:pt x="109" y="54"/>
                    <a:pt x="109" y="54"/>
                    <a:pt x="109" y="54"/>
                  </a:cubicBezTo>
                  <a:cubicBezTo>
                    <a:pt x="109" y="54"/>
                    <a:pt x="109" y="54"/>
                    <a:pt x="109" y="54"/>
                  </a:cubicBezTo>
                  <a:moveTo>
                    <a:pt x="3" y="0"/>
                  </a:moveTo>
                  <a:cubicBezTo>
                    <a:pt x="1" y="7"/>
                    <a:pt x="0" y="11"/>
                    <a:pt x="2" y="18"/>
                  </a:cubicBezTo>
                  <a:cubicBezTo>
                    <a:pt x="3" y="21"/>
                    <a:pt x="3" y="25"/>
                    <a:pt x="5" y="28"/>
                  </a:cubicBezTo>
                  <a:cubicBezTo>
                    <a:pt x="7" y="31"/>
                    <a:pt x="9" y="34"/>
                    <a:pt x="11" y="38"/>
                  </a:cubicBezTo>
                  <a:cubicBezTo>
                    <a:pt x="14" y="41"/>
                    <a:pt x="19" y="45"/>
                    <a:pt x="18" y="49"/>
                  </a:cubicBezTo>
                  <a:cubicBezTo>
                    <a:pt x="18" y="53"/>
                    <a:pt x="18" y="54"/>
                    <a:pt x="21" y="56"/>
                  </a:cubicBezTo>
                  <a:cubicBezTo>
                    <a:pt x="24" y="59"/>
                    <a:pt x="28" y="60"/>
                    <a:pt x="25" y="65"/>
                  </a:cubicBezTo>
                  <a:cubicBezTo>
                    <a:pt x="23" y="61"/>
                    <a:pt x="20" y="57"/>
                    <a:pt x="17" y="54"/>
                  </a:cubicBezTo>
                  <a:cubicBezTo>
                    <a:pt x="18" y="56"/>
                    <a:pt x="18" y="60"/>
                    <a:pt x="18" y="63"/>
                  </a:cubicBezTo>
                  <a:cubicBezTo>
                    <a:pt x="19" y="67"/>
                    <a:pt x="22" y="75"/>
                    <a:pt x="25" y="78"/>
                  </a:cubicBezTo>
                  <a:cubicBezTo>
                    <a:pt x="27" y="80"/>
                    <a:pt x="28" y="80"/>
                    <a:pt x="29" y="81"/>
                  </a:cubicBezTo>
                  <a:cubicBezTo>
                    <a:pt x="30" y="83"/>
                    <a:pt x="32" y="85"/>
                    <a:pt x="33" y="87"/>
                  </a:cubicBezTo>
                  <a:cubicBezTo>
                    <a:pt x="34" y="88"/>
                    <a:pt x="35" y="92"/>
                    <a:pt x="36" y="92"/>
                  </a:cubicBezTo>
                  <a:cubicBezTo>
                    <a:pt x="37" y="92"/>
                    <a:pt x="37" y="91"/>
                    <a:pt x="38" y="90"/>
                  </a:cubicBezTo>
                  <a:cubicBezTo>
                    <a:pt x="38" y="90"/>
                    <a:pt x="39" y="90"/>
                    <a:pt x="40" y="90"/>
                  </a:cubicBezTo>
                  <a:cubicBezTo>
                    <a:pt x="43" y="90"/>
                    <a:pt x="48" y="93"/>
                    <a:pt x="47" y="95"/>
                  </a:cubicBezTo>
                  <a:cubicBezTo>
                    <a:pt x="47" y="95"/>
                    <a:pt x="46" y="95"/>
                    <a:pt x="46" y="95"/>
                  </a:cubicBezTo>
                  <a:cubicBezTo>
                    <a:pt x="46" y="95"/>
                    <a:pt x="45" y="95"/>
                    <a:pt x="45" y="96"/>
                  </a:cubicBezTo>
                  <a:cubicBezTo>
                    <a:pt x="45" y="95"/>
                    <a:pt x="44" y="95"/>
                    <a:pt x="44" y="95"/>
                  </a:cubicBezTo>
                  <a:cubicBezTo>
                    <a:pt x="42" y="95"/>
                    <a:pt x="42" y="99"/>
                    <a:pt x="41" y="101"/>
                  </a:cubicBezTo>
                  <a:cubicBezTo>
                    <a:pt x="45" y="100"/>
                    <a:pt x="50" y="98"/>
                    <a:pt x="55" y="98"/>
                  </a:cubicBezTo>
                  <a:cubicBezTo>
                    <a:pt x="55" y="98"/>
                    <a:pt x="55" y="98"/>
                    <a:pt x="56" y="99"/>
                  </a:cubicBezTo>
                  <a:cubicBezTo>
                    <a:pt x="60" y="99"/>
                    <a:pt x="64" y="101"/>
                    <a:pt x="68" y="103"/>
                  </a:cubicBezTo>
                  <a:cubicBezTo>
                    <a:pt x="68" y="98"/>
                    <a:pt x="68" y="95"/>
                    <a:pt x="72" y="92"/>
                  </a:cubicBezTo>
                  <a:cubicBezTo>
                    <a:pt x="71" y="90"/>
                    <a:pt x="68" y="87"/>
                    <a:pt x="70" y="85"/>
                  </a:cubicBezTo>
                  <a:cubicBezTo>
                    <a:pt x="71" y="87"/>
                    <a:pt x="73" y="90"/>
                    <a:pt x="75" y="92"/>
                  </a:cubicBezTo>
                  <a:cubicBezTo>
                    <a:pt x="77" y="88"/>
                    <a:pt x="78" y="86"/>
                    <a:pt x="78" y="82"/>
                  </a:cubicBezTo>
                  <a:cubicBezTo>
                    <a:pt x="78" y="79"/>
                    <a:pt x="77" y="77"/>
                    <a:pt x="78" y="74"/>
                  </a:cubicBezTo>
                  <a:cubicBezTo>
                    <a:pt x="81" y="77"/>
                    <a:pt x="82" y="79"/>
                    <a:pt x="85" y="82"/>
                  </a:cubicBezTo>
                  <a:cubicBezTo>
                    <a:pt x="86" y="80"/>
                    <a:pt x="83" y="77"/>
                    <a:pt x="86" y="76"/>
                  </a:cubicBezTo>
                  <a:cubicBezTo>
                    <a:pt x="86" y="76"/>
                    <a:pt x="86" y="76"/>
                    <a:pt x="86" y="76"/>
                  </a:cubicBezTo>
                  <a:cubicBezTo>
                    <a:pt x="88" y="76"/>
                    <a:pt x="94" y="81"/>
                    <a:pt x="96" y="83"/>
                  </a:cubicBezTo>
                  <a:cubicBezTo>
                    <a:pt x="94" y="83"/>
                    <a:pt x="90" y="85"/>
                    <a:pt x="90" y="88"/>
                  </a:cubicBezTo>
                  <a:cubicBezTo>
                    <a:pt x="90" y="89"/>
                    <a:pt x="92" y="90"/>
                    <a:pt x="94" y="90"/>
                  </a:cubicBezTo>
                  <a:cubicBezTo>
                    <a:pt x="96" y="90"/>
                    <a:pt x="98" y="89"/>
                    <a:pt x="98" y="89"/>
                  </a:cubicBezTo>
                  <a:cubicBezTo>
                    <a:pt x="99" y="87"/>
                    <a:pt x="97" y="86"/>
                    <a:pt x="97" y="83"/>
                  </a:cubicBezTo>
                  <a:cubicBezTo>
                    <a:pt x="98" y="82"/>
                    <a:pt x="99" y="77"/>
                    <a:pt x="97" y="77"/>
                  </a:cubicBezTo>
                  <a:cubicBezTo>
                    <a:pt x="97" y="77"/>
                    <a:pt x="96" y="77"/>
                    <a:pt x="95" y="78"/>
                  </a:cubicBezTo>
                  <a:cubicBezTo>
                    <a:pt x="95" y="73"/>
                    <a:pt x="97" y="66"/>
                    <a:pt x="97" y="61"/>
                  </a:cubicBezTo>
                  <a:cubicBezTo>
                    <a:pt x="98" y="56"/>
                    <a:pt x="103" y="53"/>
                    <a:pt x="103" y="49"/>
                  </a:cubicBezTo>
                  <a:cubicBezTo>
                    <a:pt x="106" y="49"/>
                    <a:pt x="108" y="52"/>
                    <a:pt x="109" y="54"/>
                  </a:cubicBezTo>
                  <a:cubicBezTo>
                    <a:pt x="108" y="52"/>
                    <a:pt x="108" y="50"/>
                    <a:pt x="108" y="49"/>
                  </a:cubicBezTo>
                  <a:cubicBezTo>
                    <a:pt x="108" y="48"/>
                    <a:pt x="107" y="47"/>
                    <a:pt x="107" y="46"/>
                  </a:cubicBezTo>
                  <a:cubicBezTo>
                    <a:pt x="107" y="40"/>
                    <a:pt x="106" y="35"/>
                    <a:pt x="107" y="29"/>
                  </a:cubicBezTo>
                  <a:cubicBezTo>
                    <a:pt x="107" y="24"/>
                    <a:pt x="109" y="16"/>
                    <a:pt x="108" y="11"/>
                  </a:cubicBezTo>
                  <a:cubicBezTo>
                    <a:pt x="107" y="10"/>
                    <a:pt x="106" y="8"/>
                    <a:pt x="105" y="8"/>
                  </a:cubicBezTo>
                  <a:cubicBezTo>
                    <a:pt x="105" y="7"/>
                    <a:pt x="98" y="3"/>
                    <a:pt x="98" y="3"/>
                  </a:cubicBezTo>
                  <a:cubicBezTo>
                    <a:pt x="98" y="3"/>
                    <a:pt x="98" y="3"/>
                    <a:pt x="98" y="3"/>
                  </a:cubicBezTo>
                  <a:cubicBezTo>
                    <a:pt x="95" y="5"/>
                    <a:pt x="93" y="7"/>
                    <a:pt x="90" y="7"/>
                  </a:cubicBezTo>
                  <a:cubicBezTo>
                    <a:pt x="83" y="10"/>
                    <a:pt x="75" y="12"/>
                    <a:pt x="67" y="13"/>
                  </a:cubicBezTo>
                  <a:cubicBezTo>
                    <a:pt x="63" y="14"/>
                    <a:pt x="64" y="16"/>
                    <a:pt x="68" y="18"/>
                  </a:cubicBezTo>
                  <a:cubicBezTo>
                    <a:pt x="65" y="17"/>
                    <a:pt x="62" y="16"/>
                    <a:pt x="59" y="16"/>
                  </a:cubicBezTo>
                  <a:cubicBezTo>
                    <a:pt x="59" y="16"/>
                    <a:pt x="59" y="16"/>
                    <a:pt x="59" y="16"/>
                  </a:cubicBezTo>
                  <a:cubicBezTo>
                    <a:pt x="57" y="16"/>
                    <a:pt x="54" y="18"/>
                    <a:pt x="52" y="18"/>
                  </a:cubicBezTo>
                  <a:cubicBezTo>
                    <a:pt x="52" y="18"/>
                    <a:pt x="52" y="18"/>
                    <a:pt x="51" y="18"/>
                  </a:cubicBezTo>
                  <a:cubicBezTo>
                    <a:pt x="46" y="18"/>
                    <a:pt x="42" y="15"/>
                    <a:pt x="37" y="14"/>
                  </a:cubicBezTo>
                  <a:cubicBezTo>
                    <a:pt x="33" y="12"/>
                    <a:pt x="29" y="9"/>
                    <a:pt x="25" y="7"/>
                  </a:cubicBezTo>
                  <a:cubicBezTo>
                    <a:pt x="22" y="6"/>
                    <a:pt x="15" y="2"/>
                    <a:pt x="10" y="2"/>
                  </a:cubicBezTo>
                  <a:cubicBezTo>
                    <a:pt x="9" y="2"/>
                    <a:pt x="9" y="2"/>
                    <a:pt x="8" y="3"/>
                  </a:cubicBezTo>
                  <a:cubicBezTo>
                    <a:pt x="9" y="1"/>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3" name="Freeform 1411">
              <a:extLst>
                <a:ext uri="{FF2B5EF4-FFF2-40B4-BE49-F238E27FC236}">
                  <a16:creationId xmlns:a16="http://schemas.microsoft.com/office/drawing/2014/main" id="{CA4E5BDE-793B-4F0C-B997-A63CC75CF3A5}"/>
                </a:ext>
              </a:extLst>
            </p:cNvPr>
            <p:cNvSpPr>
              <a:spLocks/>
            </p:cNvSpPr>
            <p:nvPr/>
          </p:nvSpPr>
          <p:spPr bwMode="auto">
            <a:xfrm>
              <a:off x="2629" y="1811"/>
              <a:ext cx="81" cy="52"/>
            </a:xfrm>
            <a:custGeom>
              <a:avLst/>
              <a:gdLst>
                <a:gd name="T0" fmla="*/ 26 w 34"/>
                <a:gd name="T1" fmla="*/ 0 h 22"/>
                <a:gd name="T2" fmla="*/ 25 w 34"/>
                <a:gd name="T3" fmla="*/ 6 h 22"/>
                <a:gd name="T4" fmla="*/ 22 w 34"/>
                <a:gd name="T5" fmla="*/ 2 h 22"/>
                <a:gd name="T6" fmla="*/ 20 w 34"/>
                <a:gd name="T7" fmla="*/ 3 h 22"/>
                <a:gd name="T8" fmla="*/ 10 w 34"/>
                <a:gd name="T9" fmla="*/ 6 h 22"/>
                <a:gd name="T10" fmla="*/ 8 w 34"/>
                <a:gd name="T11" fmla="*/ 6 h 22"/>
                <a:gd name="T12" fmla="*/ 0 w 34"/>
                <a:gd name="T13" fmla="*/ 1 h 22"/>
                <a:gd name="T14" fmla="*/ 5 w 34"/>
                <a:gd name="T15" fmla="*/ 14 h 22"/>
                <a:gd name="T16" fmla="*/ 10 w 34"/>
                <a:gd name="T17" fmla="*/ 18 h 22"/>
                <a:gd name="T18" fmla="*/ 16 w 34"/>
                <a:gd name="T19" fmla="*/ 22 h 22"/>
                <a:gd name="T20" fmla="*/ 17 w 34"/>
                <a:gd name="T21" fmla="*/ 22 h 22"/>
                <a:gd name="T22" fmla="*/ 29 w 34"/>
                <a:gd name="T23" fmla="*/ 13 h 22"/>
                <a:gd name="T24" fmla="*/ 34 w 34"/>
                <a:gd name="T25" fmla="*/ 7 h 22"/>
                <a:gd name="T26" fmla="*/ 31 w 34"/>
                <a:gd name="T27" fmla="*/ 3 h 22"/>
                <a:gd name="T28" fmla="*/ 26 w 34"/>
                <a:gd name="T2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22">
                  <a:moveTo>
                    <a:pt x="26" y="0"/>
                  </a:moveTo>
                  <a:cubicBezTo>
                    <a:pt x="24" y="0"/>
                    <a:pt x="23" y="2"/>
                    <a:pt x="25" y="6"/>
                  </a:cubicBezTo>
                  <a:cubicBezTo>
                    <a:pt x="23" y="3"/>
                    <a:pt x="23" y="2"/>
                    <a:pt x="22" y="2"/>
                  </a:cubicBezTo>
                  <a:cubicBezTo>
                    <a:pt x="21" y="2"/>
                    <a:pt x="21" y="2"/>
                    <a:pt x="20" y="3"/>
                  </a:cubicBezTo>
                  <a:cubicBezTo>
                    <a:pt x="16" y="3"/>
                    <a:pt x="13" y="5"/>
                    <a:pt x="10" y="6"/>
                  </a:cubicBezTo>
                  <a:cubicBezTo>
                    <a:pt x="9" y="6"/>
                    <a:pt x="9" y="6"/>
                    <a:pt x="8" y="6"/>
                  </a:cubicBezTo>
                  <a:cubicBezTo>
                    <a:pt x="5" y="6"/>
                    <a:pt x="4" y="2"/>
                    <a:pt x="0" y="1"/>
                  </a:cubicBezTo>
                  <a:cubicBezTo>
                    <a:pt x="1" y="5"/>
                    <a:pt x="2" y="11"/>
                    <a:pt x="5" y="14"/>
                  </a:cubicBezTo>
                  <a:cubicBezTo>
                    <a:pt x="7" y="15"/>
                    <a:pt x="8" y="17"/>
                    <a:pt x="10" y="18"/>
                  </a:cubicBezTo>
                  <a:cubicBezTo>
                    <a:pt x="11" y="19"/>
                    <a:pt x="16" y="21"/>
                    <a:pt x="16" y="22"/>
                  </a:cubicBezTo>
                  <a:cubicBezTo>
                    <a:pt x="17" y="22"/>
                    <a:pt x="17" y="22"/>
                    <a:pt x="17" y="22"/>
                  </a:cubicBezTo>
                  <a:cubicBezTo>
                    <a:pt x="20" y="22"/>
                    <a:pt x="26" y="14"/>
                    <a:pt x="29" y="13"/>
                  </a:cubicBezTo>
                  <a:cubicBezTo>
                    <a:pt x="31" y="12"/>
                    <a:pt x="34" y="10"/>
                    <a:pt x="34" y="7"/>
                  </a:cubicBezTo>
                  <a:cubicBezTo>
                    <a:pt x="34" y="5"/>
                    <a:pt x="32" y="5"/>
                    <a:pt x="31" y="3"/>
                  </a:cubicBezTo>
                  <a:cubicBezTo>
                    <a:pt x="30" y="1"/>
                    <a:pt x="28"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4" name="Freeform 1412">
              <a:extLst>
                <a:ext uri="{FF2B5EF4-FFF2-40B4-BE49-F238E27FC236}">
                  <a16:creationId xmlns:a16="http://schemas.microsoft.com/office/drawing/2014/main" id="{4A23B08B-4BCC-4DF4-A113-2B5A017FECFC}"/>
                </a:ext>
              </a:extLst>
            </p:cNvPr>
            <p:cNvSpPr>
              <a:spLocks/>
            </p:cNvSpPr>
            <p:nvPr/>
          </p:nvSpPr>
          <p:spPr bwMode="auto">
            <a:xfrm>
              <a:off x="4177" y="2771"/>
              <a:ext cx="33" cy="78"/>
            </a:xfrm>
            <a:custGeom>
              <a:avLst/>
              <a:gdLst>
                <a:gd name="T0" fmla="*/ 9 w 14"/>
                <a:gd name="T1" fmla="*/ 0 h 33"/>
                <a:gd name="T2" fmla="*/ 6 w 14"/>
                <a:gd name="T3" fmla="*/ 3 h 33"/>
                <a:gd name="T4" fmla="*/ 2 w 14"/>
                <a:gd name="T5" fmla="*/ 16 h 33"/>
                <a:gd name="T6" fmla="*/ 1 w 14"/>
                <a:gd name="T7" fmla="*/ 24 h 33"/>
                <a:gd name="T8" fmla="*/ 4 w 14"/>
                <a:gd name="T9" fmla="*/ 33 h 33"/>
                <a:gd name="T10" fmla="*/ 11 w 14"/>
                <a:gd name="T11" fmla="*/ 13 h 33"/>
                <a:gd name="T12" fmla="*/ 11 w 14"/>
                <a:gd name="T13" fmla="*/ 5 h 33"/>
                <a:gd name="T14" fmla="*/ 9 w 14"/>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33">
                  <a:moveTo>
                    <a:pt x="9" y="0"/>
                  </a:moveTo>
                  <a:cubicBezTo>
                    <a:pt x="8" y="0"/>
                    <a:pt x="7" y="1"/>
                    <a:pt x="6" y="3"/>
                  </a:cubicBezTo>
                  <a:cubicBezTo>
                    <a:pt x="14" y="7"/>
                    <a:pt x="4" y="12"/>
                    <a:pt x="2" y="16"/>
                  </a:cubicBezTo>
                  <a:cubicBezTo>
                    <a:pt x="5" y="16"/>
                    <a:pt x="2" y="22"/>
                    <a:pt x="1" y="24"/>
                  </a:cubicBezTo>
                  <a:cubicBezTo>
                    <a:pt x="0" y="26"/>
                    <a:pt x="0" y="31"/>
                    <a:pt x="4" y="33"/>
                  </a:cubicBezTo>
                  <a:cubicBezTo>
                    <a:pt x="6" y="27"/>
                    <a:pt x="9" y="20"/>
                    <a:pt x="11" y="13"/>
                  </a:cubicBezTo>
                  <a:cubicBezTo>
                    <a:pt x="13" y="9"/>
                    <a:pt x="12" y="9"/>
                    <a:pt x="11" y="5"/>
                  </a:cubicBezTo>
                  <a:cubicBezTo>
                    <a:pt x="10" y="1"/>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5" name="Freeform 1413">
              <a:extLst>
                <a:ext uri="{FF2B5EF4-FFF2-40B4-BE49-F238E27FC236}">
                  <a16:creationId xmlns:a16="http://schemas.microsoft.com/office/drawing/2014/main" id="{E5734755-AD0D-4463-A54F-1D043EA34556}"/>
                </a:ext>
              </a:extLst>
            </p:cNvPr>
            <p:cNvSpPr>
              <a:spLocks/>
            </p:cNvSpPr>
            <p:nvPr/>
          </p:nvSpPr>
          <p:spPr bwMode="auto">
            <a:xfrm>
              <a:off x="3021" y="1962"/>
              <a:ext cx="8" cy="12"/>
            </a:xfrm>
            <a:custGeom>
              <a:avLst/>
              <a:gdLst>
                <a:gd name="T0" fmla="*/ 0 w 3"/>
                <a:gd name="T1" fmla="*/ 0 h 5"/>
                <a:gd name="T2" fmla="*/ 2 w 3"/>
                <a:gd name="T3" fmla="*/ 5 h 5"/>
                <a:gd name="T4" fmla="*/ 0 w 3"/>
                <a:gd name="T5" fmla="*/ 0 h 5"/>
              </a:gdLst>
              <a:ahLst/>
              <a:cxnLst>
                <a:cxn ang="0">
                  <a:pos x="T0" y="T1"/>
                </a:cxn>
                <a:cxn ang="0">
                  <a:pos x="T2" y="T3"/>
                </a:cxn>
                <a:cxn ang="0">
                  <a:pos x="T4" y="T5"/>
                </a:cxn>
              </a:cxnLst>
              <a:rect l="0" t="0" r="r" b="b"/>
              <a:pathLst>
                <a:path w="3" h="5">
                  <a:moveTo>
                    <a:pt x="0" y="0"/>
                  </a:moveTo>
                  <a:cubicBezTo>
                    <a:pt x="1" y="2"/>
                    <a:pt x="1" y="3"/>
                    <a:pt x="2" y="5"/>
                  </a:cubicBezTo>
                  <a:cubicBezTo>
                    <a:pt x="3"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6" name="Freeform 1414">
              <a:extLst>
                <a:ext uri="{FF2B5EF4-FFF2-40B4-BE49-F238E27FC236}">
                  <a16:creationId xmlns:a16="http://schemas.microsoft.com/office/drawing/2014/main" id="{5031CBBC-39AC-47D7-B2A7-0309330DD397}"/>
                </a:ext>
              </a:extLst>
            </p:cNvPr>
            <p:cNvSpPr>
              <a:spLocks/>
            </p:cNvSpPr>
            <p:nvPr/>
          </p:nvSpPr>
          <p:spPr bwMode="auto">
            <a:xfrm>
              <a:off x="3251" y="2217"/>
              <a:ext cx="9" cy="10"/>
            </a:xfrm>
            <a:custGeom>
              <a:avLst/>
              <a:gdLst>
                <a:gd name="T0" fmla="*/ 2 w 4"/>
                <a:gd name="T1" fmla="*/ 0 h 4"/>
                <a:gd name="T2" fmla="*/ 0 w 4"/>
                <a:gd name="T3" fmla="*/ 4 h 4"/>
                <a:gd name="T4" fmla="*/ 4 w 4"/>
                <a:gd name="T5" fmla="*/ 2 h 4"/>
                <a:gd name="T6" fmla="*/ 2 w 4"/>
                <a:gd name="T7" fmla="*/ 0 h 4"/>
              </a:gdLst>
              <a:ahLst/>
              <a:cxnLst>
                <a:cxn ang="0">
                  <a:pos x="T0" y="T1"/>
                </a:cxn>
                <a:cxn ang="0">
                  <a:pos x="T2" y="T3"/>
                </a:cxn>
                <a:cxn ang="0">
                  <a:pos x="T4" y="T5"/>
                </a:cxn>
                <a:cxn ang="0">
                  <a:pos x="T6" y="T7"/>
                </a:cxn>
              </a:cxnLst>
              <a:rect l="0" t="0" r="r" b="b"/>
              <a:pathLst>
                <a:path w="4" h="4">
                  <a:moveTo>
                    <a:pt x="2" y="0"/>
                  </a:moveTo>
                  <a:cubicBezTo>
                    <a:pt x="1" y="0"/>
                    <a:pt x="0" y="3"/>
                    <a:pt x="0" y="4"/>
                  </a:cubicBezTo>
                  <a:cubicBezTo>
                    <a:pt x="1" y="4"/>
                    <a:pt x="4" y="4"/>
                    <a:pt x="4" y="2"/>
                  </a:cubicBezTo>
                  <a:cubicBezTo>
                    <a:pt x="3"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7" name="Freeform 1415">
              <a:extLst>
                <a:ext uri="{FF2B5EF4-FFF2-40B4-BE49-F238E27FC236}">
                  <a16:creationId xmlns:a16="http://schemas.microsoft.com/office/drawing/2014/main" id="{57EBE0E7-14F9-40DF-9EB7-14A5D976A9A0}"/>
                </a:ext>
              </a:extLst>
            </p:cNvPr>
            <p:cNvSpPr>
              <a:spLocks/>
            </p:cNvSpPr>
            <p:nvPr/>
          </p:nvSpPr>
          <p:spPr bwMode="auto">
            <a:xfrm>
              <a:off x="3440" y="1768"/>
              <a:ext cx="9" cy="12"/>
            </a:xfrm>
            <a:custGeom>
              <a:avLst/>
              <a:gdLst>
                <a:gd name="T0" fmla="*/ 0 w 4"/>
                <a:gd name="T1" fmla="*/ 0 h 5"/>
                <a:gd name="T2" fmla="*/ 0 w 4"/>
                <a:gd name="T3" fmla="*/ 5 h 5"/>
                <a:gd name="T4" fmla="*/ 0 w 4"/>
                <a:gd name="T5" fmla="*/ 0 h 5"/>
              </a:gdLst>
              <a:ahLst/>
              <a:cxnLst>
                <a:cxn ang="0">
                  <a:pos x="T0" y="T1"/>
                </a:cxn>
                <a:cxn ang="0">
                  <a:pos x="T2" y="T3"/>
                </a:cxn>
                <a:cxn ang="0">
                  <a:pos x="T4" y="T5"/>
                </a:cxn>
              </a:cxnLst>
              <a:rect l="0" t="0" r="r" b="b"/>
              <a:pathLst>
                <a:path w="4" h="5">
                  <a:moveTo>
                    <a:pt x="0" y="0"/>
                  </a:moveTo>
                  <a:cubicBezTo>
                    <a:pt x="0" y="2"/>
                    <a:pt x="0" y="4"/>
                    <a:pt x="0" y="5"/>
                  </a:cubicBezTo>
                  <a:cubicBezTo>
                    <a:pt x="4" y="5"/>
                    <a:pt x="2"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8" name="Freeform 1416">
              <a:extLst>
                <a:ext uri="{FF2B5EF4-FFF2-40B4-BE49-F238E27FC236}">
                  <a16:creationId xmlns:a16="http://schemas.microsoft.com/office/drawing/2014/main" id="{2F8197A1-DDBA-4FCD-974B-E495A396F83D}"/>
                </a:ext>
              </a:extLst>
            </p:cNvPr>
            <p:cNvSpPr>
              <a:spLocks/>
            </p:cNvSpPr>
            <p:nvPr/>
          </p:nvSpPr>
          <p:spPr bwMode="auto">
            <a:xfrm>
              <a:off x="4208" y="2967"/>
              <a:ext cx="12" cy="26"/>
            </a:xfrm>
            <a:custGeom>
              <a:avLst/>
              <a:gdLst>
                <a:gd name="T0" fmla="*/ 3 w 5"/>
                <a:gd name="T1" fmla="*/ 0 h 11"/>
                <a:gd name="T2" fmla="*/ 1 w 5"/>
                <a:gd name="T3" fmla="*/ 11 h 11"/>
                <a:gd name="T4" fmla="*/ 4 w 5"/>
                <a:gd name="T5" fmla="*/ 3 h 11"/>
                <a:gd name="T6" fmla="*/ 3 w 5"/>
                <a:gd name="T7" fmla="*/ 0 h 11"/>
                <a:gd name="T8" fmla="*/ 3 w 5"/>
                <a:gd name="T9" fmla="*/ 0 h 11"/>
              </a:gdLst>
              <a:ahLst/>
              <a:cxnLst>
                <a:cxn ang="0">
                  <a:pos x="T0" y="T1"/>
                </a:cxn>
                <a:cxn ang="0">
                  <a:pos x="T2" y="T3"/>
                </a:cxn>
                <a:cxn ang="0">
                  <a:pos x="T4" y="T5"/>
                </a:cxn>
                <a:cxn ang="0">
                  <a:pos x="T6" y="T7"/>
                </a:cxn>
                <a:cxn ang="0">
                  <a:pos x="T8" y="T9"/>
                </a:cxn>
              </a:cxnLst>
              <a:rect l="0" t="0" r="r" b="b"/>
              <a:pathLst>
                <a:path w="5" h="11">
                  <a:moveTo>
                    <a:pt x="3" y="0"/>
                  </a:moveTo>
                  <a:cubicBezTo>
                    <a:pt x="0" y="0"/>
                    <a:pt x="1" y="9"/>
                    <a:pt x="1" y="11"/>
                  </a:cubicBezTo>
                  <a:cubicBezTo>
                    <a:pt x="2" y="9"/>
                    <a:pt x="4" y="5"/>
                    <a:pt x="4" y="3"/>
                  </a:cubicBezTo>
                  <a:cubicBezTo>
                    <a:pt x="4" y="2"/>
                    <a:pt x="5" y="1"/>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9" name="Freeform 1417">
              <a:extLst>
                <a:ext uri="{FF2B5EF4-FFF2-40B4-BE49-F238E27FC236}">
                  <a16:creationId xmlns:a16="http://schemas.microsoft.com/office/drawing/2014/main" id="{4D54580A-AD46-4AB6-97D0-A929BD174D47}"/>
                </a:ext>
              </a:extLst>
            </p:cNvPr>
            <p:cNvSpPr>
              <a:spLocks/>
            </p:cNvSpPr>
            <p:nvPr/>
          </p:nvSpPr>
          <p:spPr bwMode="auto">
            <a:xfrm>
              <a:off x="3624" y="3971"/>
              <a:ext cx="5" cy="7"/>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cubicBezTo>
                    <a:pt x="1" y="1"/>
                    <a:pt x="1"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0" name="Freeform 1418">
              <a:extLst>
                <a:ext uri="{FF2B5EF4-FFF2-40B4-BE49-F238E27FC236}">
                  <a16:creationId xmlns:a16="http://schemas.microsoft.com/office/drawing/2014/main" id="{955030A9-B33B-46A6-819D-80995954D223}"/>
                </a:ext>
              </a:extLst>
            </p:cNvPr>
            <p:cNvSpPr>
              <a:spLocks/>
            </p:cNvSpPr>
            <p:nvPr/>
          </p:nvSpPr>
          <p:spPr bwMode="auto">
            <a:xfrm>
              <a:off x="3021" y="3539"/>
              <a:ext cx="8" cy="9"/>
            </a:xfrm>
            <a:custGeom>
              <a:avLst/>
              <a:gdLst>
                <a:gd name="T0" fmla="*/ 0 w 3"/>
                <a:gd name="T1" fmla="*/ 0 h 4"/>
                <a:gd name="T2" fmla="*/ 3 w 3"/>
                <a:gd name="T3" fmla="*/ 4 h 4"/>
                <a:gd name="T4" fmla="*/ 0 w 3"/>
                <a:gd name="T5" fmla="*/ 0 h 4"/>
              </a:gdLst>
              <a:ahLst/>
              <a:cxnLst>
                <a:cxn ang="0">
                  <a:pos x="T0" y="T1"/>
                </a:cxn>
                <a:cxn ang="0">
                  <a:pos x="T2" y="T3"/>
                </a:cxn>
                <a:cxn ang="0">
                  <a:pos x="T4" y="T5"/>
                </a:cxn>
              </a:cxnLst>
              <a:rect l="0" t="0" r="r" b="b"/>
              <a:pathLst>
                <a:path w="3" h="4">
                  <a:moveTo>
                    <a:pt x="0" y="0"/>
                  </a:moveTo>
                  <a:cubicBezTo>
                    <a:pt x="1" y="2"/>
                    <a:pt x="2" y="3"/>
                    <a:pt x="3" y="4"/>
                  </a:cubicBezTo>
                  <a:cubicBezTo>
                    <a:pt x="2"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1" name="Freeform 1419">
              <a:extLst>
                <a:ext uri="{FF2B5EF4-FFF2-40B4-BE49-F238E27FC236}">
                  <a16:creationId xmlns:a16="http://schemas.microsoft.com/office/drawing/2014/main" id="{2354A1F1-EC47-473C-83C8-C13E3B1823B9}"/>
                </a:ext>
              </a:extLst>
            </p:cNvPr>
            <p:cNvSpPr>
              <a:spLocks/>
            </p:cNvSpPr>
            <p:nvPr/>
          </p:nvSpPr>
          <p:spPr bwMode="auto">
            <a:xfrm>
              <a:off x="3905" y="2442"/>
              <a:ext cx="10" cy="12"/>
            </a:xfrm>
            <a:custGeom>
              <a:avLst/>
              <a:gdLst>
                <a:gd name="T0" fmla="*/ 0 w 4"/>
                <a:gd name="T1" fmla="*/ 0 h 5"/>
                <a:gd name="T2" fmla="*/ 0 w 4"/>
                <a:gd name="T3" fmla="*/ 5 h 5"/>
                <a:gd name="T4" fmla="*/ 0 w 4"/>
                <a:gd name="T5" fmla="*/ 5 h 5"/>
                <a:gd name="T6" fmla="*/ 0 w 4"/>
                <a:gd name="T7" fmla="*/ 0 h 5"/>
              </a:gdLst>
              <a:ahLst/>
              <a:cxnLst>
                <a:cxn ang="0">
                  <a:pos x="T0" y="T1"/>
                </a:cxn>
                <a:cxn ang="0">
                  <a:pos x="T2" y="T3"/>
                </a:cxn>
                <a:cxn ang="0">
                  <a:pos x="T4" y="T5"/>
                </a:cxn>
                <a:cxn ang="0">
                  <a:pos x="T6" y="T7"/>
                </a:cxn>
              </a:cxnLst>
              <a:rect l="0" t="0" r="r" b="b"/>
              <a:pathLst>
                <a:path w="4" h="5">
                  <a:moveTo>
                    <a:pt x="0" y="0"/>
                  </a:moveTo>
                  <a:cubicBezTo>
                    <a:pt x="0" y="2"/>
                    <a:pt x="0" y="3"/>
                    <a:pt x="0" y="5"/>
                  </a:cubicBezTo>
                  <a:cubicBezTo>
                    <a:pt x="0" y="5"/>
                    <a:pt x="0" y="5"/>
                    <a:pt x="0" y="5"/>
                  </a:cubicBezTo>
                  <a:cubicBezTo>
                    <a:pt x="4" y="5"/>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2" name="Freeform 1420">
              <a:extLst>
                <a:ext uri="{FF2B5EF4-FFF2-40B4-BE49-F238E27FC236}">
                  <a16:creationId xmlns:a16="http://schemas.microsoft.com/office/drawing/2014/main" id="{9748B1C4-88EE-479A-8B74-A4B9AAE3BF1A}"/>
                </a:ext>
              </a:extLst>
            </p:cNvPr>
            <p:cNvSpPr>
              <a:spLocks/>
            </p:cNvSpPr>
            <p:nvPr/>
          </p:nvSpPr>
          <p:spPr bwMode="auto">
            <a:xfrm>
              <a:off x="3050" y="2113"/>
              <a:ext cx="7" cy="8"/>
            </a:xfrm>
            <a:custGeom>
              <a:avLst/>
              <a:gdLst>
                <a:gd name="T0" fmla="*/ 3 w 3"/>
                <a:gd name="T1" fmla="*/ 0 h 3"/>
                <a:gd name="T2" fmla="*/ 0 w 3"/>
                <a:gd name="T3" fmla="*/ 3 h 3"/>
                <a:gd name="T4" fmla="*/ 3 w 3"/>
                <a:gd name="T5" fmla="*/ 0 h 3"/>
              </a:gdLst>
              <a:ahLst/>
              <a:cxnLst>
                <a:cxn ang="0">
                  <a:pos x="T0" y="T1"/>
                </a:cxn>
                <a:cxn ang="0">
                  <a:pos x="T2" y="T3"/>
                </a:cxn>
                <a:cxn ang="0">
                  <a:pos x="T4" y="T5"/>
                </a:cxn>
              </a:cxnLst>
              <a:rect l="0" t="0" r="r" b="b"/>
              <a:pathLst>
                <a:path w="3" h="3">
                  <a:moveTo>
                    <a:pt x="3" y="0"/>
                  </a:moveTo>
                  <a:cubicBezTo>
                    <a:pt x="2" y="1"/>
                    <a:pt x="1" y="2"/>
                    <a:pt x="0" y="3"/>
                  </a:cubicBezTo>
                  <a:cubicBezTo>
                    <a:pt x="2" y="3"/>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3" name="Freeform 1421">
              <a:extLst>
                <a:ext uri="{FF2B5EF4-FFF2-40B4-BE49-F238E27FC236}">
                  <a16:creationId xmlns:a16="http://schemas.microsoft.com/office/drawing/2014/main" id="{5B606909-84AC-4BDD-9B22-EEE33B8A9E58}"/>
                </a:ext>
              </a:extLst>
            </p:cNvPr>
            <p:cNvSpPr>
              <a:spLocks/>
            </p:cNvSpPr>
            <p:nvPr/>
          </p:nvSpPr>
          <p:spPr bwMode="auto">
            <a:xfrm>
              <a:off x="3029" y="1983"/>
              <a:ext cx="7" cy="15"/>
            </a:xfrm>
            <a:custGeom>
              <a:avLst/>
              <a:gdLst>
                <a:gd name="T0" fmla="*/ 1 w 3"/>
                <a:gd name="T1" fmla="*/ 0 h 6"/>
                <a:gd name="T2" fmla="*/ 0 w 3"/>
                <a:gd name="T3" fmla="*/ 6 h 6"/>
                <a:gd name="T4" fmla="*/ 1 w 3"/>
                <a:gd name="T5" fmla="*/ 0 h 6"/>
              </a:gdLst>
              <a:ahLst/>
              <a:cxnLst>
                <a:cxn ang="0">
                  <a:pos x="T0" y="T1"/>
                </a:cxn>
                <a:cxn ang="0">
                  <a:pos x="T2" y="T3"/>
                </a:cxn>
                <a:cxn ang="0">
                  <a:pos x="T4" y="T5"/>
                </a:cxn>
              </a:cxnLst>
              <a:rect l="0" t="0" r="r" b="b"/>
              <a:pathLst>
                <a:path w="3" h="6">
                  <a:moveTo>
                    <a:pt x="1" y="0"/>
                  </a:moveTo>
                  <a:cubicBezTo>
                    <a:pt x="1" y="0"/>
                    <a:pt x="0" y="2"/>
                    <a:pt x="0" y="6"/>
                  </a:cubicBezTo>
                  <a:cubicBezTo>
                    <a:pt x="3" y="4"/>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4" name="Freeform 1422">
              <a:extLst>
                <a:ext uri="{FF2B5EF4-FFF2-40B4-BE49-F238E27FC236}">
                  <a16:creationId xmlns:a16="http://schemas.microsoft.com/office/drawing/2014/main" id="{D0A7C940-C7F8-4F87-AFBE-BA0205E337AF}"/>
                </a:ext>
              </a:extLst>
            </p:cNvPr>
            <p:cNvSpPr>
              <a:spLocks/>
            </p:cNvSpPr>
            <p:nvPr/>
          </p:nvSpPr>
          <p:spPr bwMode="auto">
            <a:xfrm>
              <a:off x="3085" y="2118"/>
              <a:ext cx="5" cy="17"/>
            </a:xfrm>
            <a:custGeom>
              <a:avLst/>
              <a:gdLst>
                <a:gd name="T0" fmla="*/ 0 w 2"/>
                <a:gd name="T1" fmla="*/ 0 h 7"/>
                <a:gd name="T2" fmla="*/ 1 w 2"/>
                <a:gd name="T3" fmla="*/ 7 h 7"/>
                <a:gd name="T4" fmla="*/ 0 w 2"/>
                <a:gd name="T5" fmla="*/ 0 h 7"/>
              </a:gdLst>
              <a:ahLst/>
              <a:cxnLst>
                <a:cxn ang="0">
                  <a:pos x="T0" y="T1"/>
                </a:cxn>
                <a:cxn ang="0">
                  <a:pos x="T2" y="T3"/>
                </a:cxn>
                <a:cxn ang="0">
                  <a:pos x="T4" y="T5"/>
                </a:cxn>
              </a:cxnLst>
              <a:rect l="0" t="0" r="r" b="b"/>
              <a:pathLst>
                <a:path w="2" h="7">
                  <a:moveTo>
                    <a:pt x="0" y="0"/>
                  </a:moveTo>
                  <a:cubicBezTo>
                    <a:pt x="0" y="2"/>
                    <a:pt x="0" y="5"/>
                    <a:pt x="1" y="7"/>
                  </a:cubicBezTo>
                  <a:cubicBezTo>
                    <a:pt x="1" y="4"/>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5" name="Freeform 1423">
              <a:extLst>
                <a:ext uri="{FF2B5EF4-FFF2-40B4-BE49-F238E27FC236}">
                  <a16:creationId xmlns:a16="http://schemas.microsoft.com/office/drawing/2014/main" id="{E5967EAD-DFBE-4DAF-BCED-108CF812DB72}"/>
                </a:ext>
              </a:extLst>
            </p:cNvPr>
            <p:cNvSpPr>
              <a:spLocks/>
            </p:cNvSpPr>
            <p:nvPr/>
          </p:nvSpPr>
          <p:spPr bwMode="auto">
            <a:xfrm>
              <a:off x="3641" y="3815"/>
              <a:ext cx="16" cy="10"/>
            </a:xfrm>
            <a:custGeom>
              <a:avLst/>
              <a:gdLst>
                <a:gd name="T0" fmla="*/ 3 w 7"/>
                <a:gd name="T1" fmla="*/ 0 h 4"/>
                <a:gd name="T2" fmla="*/ 0 w 7"/>
                <a:gd name="T3" fmla="*/ 2 h 4"/>
                <a:gd name="T4" fmla="*/ 7 w 7"/>
                <a:gd name="T5" fmla="*/ 4 h 4"/>
                <a:gd name="T6" fmla="*/ 3 w 7"/>
                <a:gd name="T7" fmla="*/ 0 h 4"/>
              </a:gdLst>
              <a:ahLst/>
              <a:cxnLst>
                <a:cxn ang="0">
                  <a:pos x="T0" y="T1"/>
                </a:cxn>
                <a:cxn ang="0">
                  <a:pos x="T2" y="T3"/>
                </a:cxn>
                <a:cxn ang="0">
                  <a:pos x="T4" y="T5"/>
                </a:cxn>
                <a:cxn ang="0">
                  <a:pos x="T6" y="T7"/>
                </a:cxn>
              </a:cxnLst>
              <a:rect l="0" t="0" r="r" b="b"/>
              <a:pathLst>
                <a:path w="7" h="4">
                  <a:moveTo>
                    <a:pt x="3" y="0"/>
                  </a:moveTo>
                  <a:cubicBezTo>
                    <a:pt x="2" y="0"/>
                    <a:pt x="1" y="1"/>
                    <a:pt x="0" y="2"/>
                  </a:cubicBezTo>
                  <a:cubicBezTo>
                    <a:pt x="2" y="3"/>
                    <a:pt x="4" y="3"/>
                    <a:pt x="7" y="4"/>
                  </a:cubicBezTo>
                  <a:cubicBezTo>
                    <a:pt x="6" y="2"/>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6" name="Freeform 1424">
              <a:extLst>
                <a:ext uri="{FF2B5EF4-FFF2-40B4-BE49-F238E27FC236}">
                  <a16:creationId xmlns:a16="http://schemas.microsoft.com/office/drawing/2014/main" id="{BF6A85F5-4BC6-42F9-8234-E2337E5F9BE4}"/>
                </a:ext>
              </a:extLst>
            </p:cNvPr>
            <p:cNvSpPr>
              <a:spLocks/>
            </p:cNvSpPr>
            <p:nvPr/>
          </p:nvSpPr>
          <p:spPr bwMode="auto">
            <a:xfrm>
              <a:off x="3442" y="1738"/>
              <a:ext cx="10" cy="9"/>
            </a:xfrm>
            <a:custGeom>
              <a:avLst/>
              <a:gdLst>
                <a:gd name="T0" fmla="*/ 2 w 4"/>
                <a:gd name="T1" fmla="*/ 0 h 4"/>
                <a:gd name="T2" fmla="*/ 2 w 4"/>
                <a:gd name="T3" fmla="*/ 4 h 4"/>
                <a:gd name="T4" fmla="*/ 2 w 4"/>
                <a:gd name="T5" fmla="*/ 0 h 4"/>
              </a:gdLst>
              <a:ahLst/>
              <a:cxnLst>
                <a:cxn ang="0">
                  <a:pos x="T0" y="T1"/>
                </a:cxn>
                <a:cxn ang="0">
                  <a:pos x="T2" y="T3"/>
                </a:cxn>
                <a:cxn ang="0">
                  <a:pos x="T4" y="T5"/>
                </a:cxn>
              </a:cxnLst>
              <a:rect l="0" t="0" r="r" b="b"/>
              <a:pathLst>
                <a:path w="4" h="4">
                  <a:moveTo>
                    <a:pt x="2" y="0"/>
                  </a:moveTo>
                  <a:cubicBezTo>
                    <a:pt x="1" y="0"/>
                    <a:pt x="0" y="1"/>
                    <a:pt x="2" y="4"/>
                  </a:cubicBezTo>
                  <a:cubicBezTo>
                    <a:pt x="4"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7" name="Freeform 1425">
              <a:extLst>
                <a:ext uri="{FF2B5EF4-FFF2-40B4-BE49-F238E27FC236}">
                  <a16:creationId xmlns:a16="http://schemas.microsoft.com/office/drawing/2014/main" id="{B569B8FE-7C8E-448E-A0D0-BC5C1C8771DA}"/>
                </a:ext>
              </a:extLst>
            </p:cNvPr>
            <p:cNvSpPr>
              <a:spLocks/>
            </p:cNvSpPr>
            <p:nvPr/>
          </p:nvSpPr>
          <p:spPr bwMode="auto">
            <a:xfrm>
              <a:off x="3969" y="2579"/>
              <a:ext cx="2" cy="12"/>
            </a:xfrm>
            <a:custGeom>
              <a:avLst/>
              <a:gdLst>
                <a:gd name="T0" fmla="*/ 0 w 1"/>
                <a:gd name="T1" fmla="*/ 0 h 5"/>
                <a:gd name="T2" fmla="*/ 0 w 1"/>
                <a:gd name="T3" fmla="*/ 5 h 5"/>
                <a:gd name="T4" fmla="*/ 0 w 1"/>
                <a:gd name="T5" fmla="*/ 0 h 5"/>
              </a:gdLst>
              <a:ahLst/>
              <a:cxnLst>
                <a:cxn ang="0">
                  <a:pos x="T0" y="T1"/>
                </a:cxn>
                <a:cxn ang="0">
                  <a:pos x="T2" y="T3"/>
                </a:cxn>
                <a:cxn ang="0">
                  <a:pos x="T4" y="T5"/>
                </a:cxn>
              </a:cxnLst>
              <a:rect l="0" t="0" r="r" b="b"/>
              <a:pathLst>
                <a:path w="1" h="5">
                  <a:moveTo>
                    <a:pt x="0" y="0"/>
                  </a:moveTo>
                  <a:cubicBezTo>
                    <a:pt x="0" y="1"/>
                    <a:pt x="0" y="3"/>
                    <a:pt x="0" y="5"/>
                  </a:cubicBezTo>
                  <a:cubicBezTo>
                    <a:pt x="1"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8" name="Freeform 1426">
              <a:extLst>
                <a:ext uri="{FF2B5EF4-FFF2-40B4-BE49-F238E27FC236}">
                  <a16:creationId xmlns:a16="http://schemas.microsoft.com/office/drawing/2014/main" id="{E889C6C8-3DAB-478D-8943-6DCB9F6F8FF4}"/>
                </a:ext>
              </a:extLst>
            </p:cNvPr>
            <p:cNvSpPr>
              <a:spLocks/>
            </p:cNvSpPr>
            <p:nvPr/>
          </p:nvSpPr>
          <p:spPr bwMode="auto">
            <a:xfrm>
              <a:off x="3775" y="4194"/>
              <a:ext cx="24" cy="35"/>
            </a:xfrm>
            <a:custGeom>
              <a:avLst/>
              <a:gdLst>
                <a:gd name="T0" fmla="*/ 8 w 10"/>
                <a:gd name="T1" fmla="*/ 0 h 15"/>
                <a:gd name="T2" fmla="*/ 4 w 10"/>
                <a:gd name="T3" fmla="*/ 10 h 15"/>
                <a:gd name="T4" fmla="*/ 4 w 10"/>
                <a:gd name="T5" fmla="*/ 9 h 15"/>
                <a:gd name="T6" fmla="*/ 3 w 10"/>
                <a:gd name="T7" fmla="*/ 11 h 15"/>
                <a:gd name="T8" fmla="*/ 3 w 10"/>
                <a:gd name="T9" fmla="*/ 13 h 15"/>
                <a:gd name="T10" fmla="*/ 0 w 10"/>
                <a:gd name="T11" fmla="*/ 12 h 15"/>
                <a:gd name="T12" fmla="*/ 3 w 10"/>
                <a:gd name="T13" fmla="*/ 14 h 15"/>
                <a:gd name="T14" fmla="*/ 5 w 10"/>
                <a:gd name="T15" fmla="*/ 15 h 15"/>
                <a:gd name="T16" fmla="*/ 8 w 10"/>
                <a:gd name="T17" fmla="*/ 6 h 15"/>
                <a:gd name="T18" fmla="*/ 8 w 10"/>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5">
                  <a:moveTo>
                    <a:pt x="8" y="0"/>
                  </a:moveTo>
                  <a:cubicBezTo>
                    <a:pt x="6" y="3"/>
                    <a:pt x="5" y="7"/>
                    <a:pt x="4" y="10"/>
                  </a:cubicBezTo>
                  <a:cubicBezTo>
                    <a:pt x="4" y="9"/>
                    <a:pt x="4" y="9"/>
                    <a:pt x="4" y="9"/>
                  </a:cubicBezTo>
                  <a:cubicBezTo>
                    <a:pt x="4" y="9"/>
                    <a:pt x="3" y="10"/>
                    <a:pt x="3" y="11"/>
                  </a:cubicBezTo>
                  <a:cubicBezTo>
                    <a:pt x="2" y="11"/>
                    <a:pt x="3" y="12"/>
                    <a:pt x="3" y="13"/>
                  </a:cubicBezTo>
                  <a:cubicBezTo>
                    <a:pt x="3" y="12"/>
                    <a:pt x="1" y="12"/>
                    <a:pt x="0" y="12"/>
                  </a:cubicBezTo>
                  <a:cubicBezTo>
                    <a:pt x="0" y="12"/>
                    <a:pt x="0" y="12"/>
                    <a:pt x="3" y="14"/>
                  </a:cubicBezTo>
                  <a:cubicBezTo>
                    <a:pt x="3" y="14"/>
                    <a:pt x="4" y="15"/>
                    <a:pt x="5" y="15"/>
                  </a:cubicBezTo>
                  <a:cubicBezTo>
                    <a:pt x="8" y="15"/>
                    <a:pt x="8" y="9"/>
                    <a:pt x="8" y="6"/>
                  </a:cubicBezTo>
                  <a:cubicBezTo>
                    <a:pt x="9" y="4"/>
                    <a:pt x="10"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9" name="Freeform 1427">
              <a:extLst>
                <a:ext uri="{FF2B5EF4-FFF2-40B4-BE49-F238E27FC236}">
                  <a16:creationId xmlns:a16="http://schemas.microsoft.com/office/drawing/2014/main" id="{1836AF70-5DC0-456D-BD31-5EA3C3E0442A}"/>
                </a:ext>
              </a:extLst>
            </p:cNvPr>
            <p:cNvSpPr>
              <a:spLocks/>
            </p:cNvSpPr>
            <p:nvPr/>
          </p:nvSpPr>
          <p:spPr bwMode="auto">
            <a:xfrm>
              <a:off x="3846" y="3981"/>
              <a:ext cx="7" cy="7"/>
            </a:xfrm>
            <a:custGeom>
              <a:avLst/>
              <a:gdLst>
                <a:gd name="T0" fmla="*/ 3 w 3"/>
                <a:gd name="T1" fmla="*/ 0 h 3"/>
                <a:gd name="T2" fmla="*/ 0 w 3"/>
                <a:gd name="T3" fmla="*/ 1 h 3"/>
                <a:gd name="T4" fmla="*/ 2 w 3"/>
                <a:gd name="T5" fmla="*/ 3 h 3"/>
                <a:gd name="T6" fmla="*/ 3 w 3"/>
                <a:gd name="T7" fmla="*/ 0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cubicBezTo>
                    <a:pt x="2" y="0"/>
                    <a:pt x="1" y="0"/>
                    <a:pt x="0" y="1"/>
                  </a:cubicBezTo>
                  <a:cubicBezTo>
                    <a:pt x="0" y="2"/>
                    <a:pt x="1" y="3"/>
                    <a:pt x="2" y="3"/>
                  </a:cubicBezTo>
                  <a:cubicBezTo>
                    <a:pt x="3" y="2"/>
                    <a:pt x="3" y="1"/>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0" name="Freeform 1428">
              <a:extLst>
                <a:ext uri="{FF2B5EF4-FFF2-40B4-BE49-F238E27FC236}">
                  <a16:creationId xmlns:a16="http://schemas.microsoft.com/office/drawing/2014/main" id="{70209A30-CFFD-4B23-A461-DC618F25D6C7}"/>
                </a:ext>
              </a:extLst>
            </p:cNvPr>
            <p:cNvSpPr>
              <a:spLocks/>
            </p:cNvSpPr>
            <p:nvPr/>
          </p:nvSpPr>
          <p:spPr bwMode="auto">
            <a:xfrm>
              <a:off x="3029" y="1865"/>
              <a:ext cx="7" cy="7"/>
            </a:xfrm>
            <a:custGeom>
              <a:avLst/>
              <a:gdLst>
                <a:gd name="T0" fmla="*/ 3 w 3"/>
                <a:gd name="T1" fmla="*/ 0 h 3"/>
                <a:gd name="T2" fmla="*/ 0 w 3"/>
                <a:gd name="T3" fmla="*/ 3 h 3"/>
                <a:gd name="T4" fmla="*/ 3 w 3"/>
                <a:gd name="T5" fmla="*/ 0 h 3"/>
              </a:gdLst>
              <a:ahLst/>
              <a:cxnLst>
                <a:cxn ang="0">
                  <a:pos x="T0" y="T1"/>
                </a:cxn>
                <a:cxn ang="0">
                  <a:pos x="T2" y="T3"/>
                </a:cxn>
                <a:cxn ang="0">
                  <a:pos x="T4" y="T5"/>
                </a:cxn>
              </a:cxnLst>
              <a:rect l="0" t="0" r="r" b="b"/>
              <a:pathLst>
                <a:path w="3" h="3">
                  <a:moveTo>
                    <a:pt x="3" y="0"/>
                  </a:moveTo>
                  <a:cubicBezTo>
                    <a:pt x="2" y="1"/>
                    <a:pt x="1" y="2"/>
                    <a:pt x="0" y="3"/>
                  </a:cubicBezTo>
                  <a:cubicBezTo>
                    <a:pt x="1" y="3"/>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1" name="Freeform 1429">
              <a:extLst>
                <a:ext uri="{FF2B5EF4-FFF2-40B4-BE49-F238E27FC236}">
                  <a16:creationId xmlns:a16="http://schemas.microsoft.com/office/drawing/2014/main" id="{C03502D0-0D88-45B0-AA54-C97173F55C01}"/>
                </a:ext>
              </a:extLst>
            </p:cNvPr>
            <p:cNvSpPr>
              <a:spLocks/>
            </p:cNvSpPr>
            <p:nvPr/>
          </p:nvSpPr>
          <p:spPr bwMode="auto">
            <a:xfrm>
              <a:off x="4047" y="2678"/>
              <a:ext cx="17" cy="24"/>
            </a:xfrm>
            <a:custGeom>
              <a:avLst/>
              <a:gdLst>
                <a:gd name="T0" fmla="*/ 0 w 7"/>
                <a:gd name="T1" fmla="*/ 0 h 10"/>
                <a:gd name="T2" fmla="*/ 4 w 7"/>
                <a:gd name="T3" fmla="*/ 8 h 10"/>
                <a:gd name="T4" fmla="*/ 6 w 7"/>
                <a:gd name="T5" fmla="*/ 10 h 10"/>
                <a:gd name="T6" fmla="*/ 5 w 7"/>
                <a:gd name="T7" fmla="*/ 3 h 10"/>
                <a:gd name="T8" fmla="*/ 0 w 7"/>
                <a:gd name="T9" fmla="*/ 0 h 10"/>
              </a:gdLst>
              <a:ahLst/>
              <a:cxnLst>
                <a:cxn ang="0">
                  <a:pos x="T0" y="T1"/>
                </a:cxn>
                <a:cxn ang="0">
                  <a:pos x="T2" y="T3"/>
                </a:cxn>
                <a:cxn ang="0">
                  <a:pos x="T4" y="T5"/>
                </a:cxn>
                <a:cxn ang="0">
                  <a:pos x="T6" y="T7"/>
                </a:cxn>
                <a:cxn ang="0">
                  <a:pos x="T8" y="T9"/>
                </a:cxn>
              </a:cxnLst>
              <a:rect l="0" t="0" r="r" b="b"/>
              <a:pathLst>
                <a:path w="7" h="10">
                  <a:moveTo>
                    <a:pt x="0" y="0"/>
                  </a:moveTo>
                  <a:cubicBezTo>
                    <a:pt x="1" y="3"/>
                    <a:pt x="3" y="6"/>
                    <a:pt x="4" y="8"/>
                  </a:cubicBezTo>
                  <a:cubicBezTo>
                    <a:pt x="5" y="9"/>
                    <a:pt x="5" y="9"/>
                    <a:pt x="6" y="10"/>
                  </a:cubicBezTo>
                  <a:cubicBezTo>
                    <a:pt x="7" y="9"/>
                    <a:pt x="6" y="4"/>
                    <a:pt x="5" y="3"/>
                  </a:cubicBezTo>
                  <a:cubicBezTo>
                    <a:pt x="4"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2" name="Freeform 1430">
              <a:extLst>
                <a:ext uri="{FF2B5EF4-FFF2-40B4-BE49-F238E27FC236}">
                  <a16:creationId xmlns:a16="http://schemas.microsoft.com/office/drawing/2014/main" id="{5552AA83-638B-4BEA-A594-8C4F4D4C41F0}"/>
                </a:ext>
              </a:extLst>
            </p:cNvPr>
            <p:cNvSpPr>
              <a:spLocks/>
            </p:cNvSpPr>
            <p:nvPr/>
          </p:nvSpPr>
          <p:spPr bwMode="auto">
            <a:xfrm>
              <a:off x="4210" y="2945"/>
              <a:ext cx="2" cy="19"/>
            </a:xfrm>
            <a:custGeom>
              <a:avLst/>
              <a:gdLst>
                <a:gd name="T0" fmla="*/ 1 w 1"/>
                <a:gd name="T1" fmla="*/ 0 h 8"/>
                <a:gd name="T2" fmla="*/ 0 w 1"/>
                <a:gd name="T3" fmla="*/ 8 h 8"/>
                <a:gd name="T4" fmla="*/ 1 w 1"/>
                <a:gd name="T5" fmla="*/ 0 h 8"/>
              </a:gdLst>
              <a:ahLst/>
              <a:cxnLst>
                <a:cxn ang="0">
                  <a:pos x="T0" y="T1"/>
                </a:cxn>
                <a:cxn ang="0">
                  <a:pos x="T2" y="T3"/>
                </a:cxn>
                <a:cxn ang="0">
                  <a:pos x="T4" y="T5"/>
                </a:cxn>
              </a:cxnLst>
              <a:rect l="0" t="0" r="r" b="b"/>
              <a:pathLst>
                <a:path w="1" h="8">
                  <a:moveTo>
                    <a:pt x="1" y="0"/>
                  </a:moveTo>
                  <a:cubicBezTo>
                    <a:pt x="0" y="3"/>
                    <a:pt x="0" y="5"/>
                    <a:pt x="0" y="8"/>
                  </a:cubicBezTo>
                  <a:cubicBezTo>
                    <a:pt x="0" y="5"/>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3" name="Freeform 1431">
              <a:extLst>
                <a:ext uri="{FF2B5EF4-FFF2-40B4-BE49-F238E27FC236}">
                  <a16:creationId xmlns:a16="http://schemas.microsoft.com/office/drawing/2014/main" id="{8493B97D-A825-4ED3-B53D-A821A2F70817}"/>
                </a:ext>
              </a:extLst>
            </p:cNvPr>
            <p:cNvSpPr>
              <a:spLocks/>
            </p:cNvSpPr>
            <p:nvPr/>
          </p:nvSpPr>
          <p:spPr bwMode="auto">
            <a:xfrm>
              <a:off x="3050" y="1799"/>
              <a:ext cx="19" cy="31"/>
            </a:xfrm>
            <a:custGeom>
              <a:avLst/>
              <a:gdLst>
                <a:gd name="T0" fmla="*/ 8 w 8"/>
                <a:gd name="T1" fmla="*/ 0 h 13"/>
                <a:gd name="T2" fmla="*/ 0 w 8"/>
                <a:gd name="T3" fmla="*/ 13 h 13"/>
                <a:gd name="T4" fmla="*/ 8 w 8"/>
                <a:gd name="T5" fmla="*/ 0 h 13"/>
              </a:gdLst>
              <a:ahLst/>
              <a:cxnLst>
                <a:cxn ang="0">
                  <a:pos x="T0" y="T1"/>
                </a:cxn>
                <a:cxn ang="0">
                  <a:pos x="T2" y="T3"/>
                </a:cxn>
                <a:cxn ang="0">
                  <a:pos x="T4" y="T5"/>
                </a:cxn>
              </a:cxnLst>
              <a:rect l="0" t="0" r="r" b="b"/>
              <a:pathLst>
                <a:path w="8" h="13">
                  <a:moveTo>
                    <a:pt x="8" y="0"/>
                  </a:moveTo>
                  <a:cubicBezTo>
                    <a:pt x="5" y="4"/>
                    <a:pt x="2" y="8"/>
                    <a:pt x="0" y="13"/>
                  </a:cubicBezTo>
                  <a:cubicBezTo>
                    <a:pt x="4" y="9"/>
                    <a:pt x="6" y="5"/>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4" name="Freeform 1432">
              <a:extLst>
                <a:ext uri="{FF2B5EF4-FFF2-40B4-BE49-F238E27FC236}">
                  <a16:creationId xmlns:a16="http://schemas.microsoft.com/office/drawing/2014/main" id="{0A52739C-E7FB-4D7D-AF60-332E29D4AC1B}"/>
                </a:ext>
              </a:extLst>
            </p:cNvPr>
            <p:cNvSpPr>
              <a:spLocks/>
            </p:cNvSpPr>
            <p:nvPr/>
          </p:nvSpPr>
          <p:spPr bwMode="auto">
            <a:xfrm>
              <a:off x="2601" y="1820"/>
              <a:ext cx="45" cy="36"/>
            </a:xfrm>
            <a:custGeom>
              <a:avLst/>
              <a:gdLst>
                <a:gd name="T0" fmla="*/ 10 w 19"/>
                <a:gd name="T1" fmla="*/ 0 h 15"/>
                <a:gd name="T2" fmla="*/ 6 w 19"/>
                <a:gd name="T3" fmla="*/ 4 h 15"/>
                <a:gd name="T4" fmla="*/ 7 w 19"/>
                <a:gd name="T5" fmla="*/ 10 h 15"/>
                <a:gd name="T6" fmla="*/ 5 w 19"/>
                <a:gd name="T7" fmla="*/ 11 h 15"/>
                <a:gd name="T8" fmla="*/ 5 w 19"/>
                <a:gd name="T9" fmla="*/ 10 h 15"/>
                <a:gd name="T10" fmla="*/ 4 w 19"/>
                <a:gd name="T11" fmla="*/ 10 h 15"/>
                <a:gd name="T12" fmla="*/ 4 w 19"/>
                <a:gd name="T13" fmla="*/ 10 h 15"/>
                <a:gd name="T14" fmla="*/ 2 w 19"/>
                <a:gd name="T15" fmla="*/ 13 h 15"/>
                <a:gd name="T16" fmla="*/ 3 w 19"/>
                <a:gd name="T17" fmla="*/ 14 h 15"/>
                <a:gd name="T18" fmla="*/ 15 w 19"/>
                <a:gd name="T19" fmla="*/ 15 h 15"/>
                <a:gd name="T20" fmla="*/ 16 w 19"/>
                <a:gd name="T21" fmla="*/ 15 h 15"/>
                <a:gd name="T22" fmla="*/ 19 w 19"/>
                <a:gd name="T23" fmla="*/ 13 h 15"/>
                <a:gd name="T24" fmla="*/ 15 w 19"/>
                <a:gd name="T25" fmla="*/ 11 h 15"/>
                <a:gd name="T26" fmla="*/ 14 w 19"/>
                <a:gd name="T27" fmla="*/ 11 h 15"/>
                <a:gd name="T28" fmla="*/ 12 w 19"/>
                <a:gd name="T29" fmla="*/ 4 h 15"/>
                <a:gd name="T30" fmla="*/ 11 w 19"/>
                <a:gd name="T31" fmla="*/ 1 h 15"/>
                <a:gd name="T32" fmla="*/ 10 w 19"/>
                <a:gd name="T3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15">
                  <a:moveTo>
                    <a:pt x="10" y="0"/>
                  </a:moveTo>
                  <a:cubicBezTo>
                    <a:pt x="8" y="0"/>
                    <a:pt x="6" y="2"/>
                    <a:pt x="6" y="4"/>
                  </a:cubicBezTo>
                  <a:cubicBezTo>
                    <a:pt x="5" y="5"/>
                    <a:pt x="8" y="8"/>
                    <a:pt x="7" y="10"/>
                  </a:cubicBezTo>
                  <a:cubicBezTo>
                    <a:pt x="6" y="10"/>
                    <a:pt x="6" y="11"/>
                    <a:pt x="5" y="11"/>
                  </a:cubicBezTo>
                  <a:cubicBezTo>
                    <a:pt x="5" y="11"/>
                    <a:pt x="5" y="10"/>
                    <a:pt x="5" y="10"/>
                  </a:cubicBezTo>
                  <a:cubicBezTo>
                    <a:pt x="4" y="10"/>
                    <a:pt x="4" y="10"/>
                    <a:pt x="4" y="10"/>
                  </a:cubicBezTo>
                  <a:cubicBezTo>
                    <a:pt x="4" y="10"/>
                    <a:pt x="4" y="10"/>
                    <a:pt x="4" y="10"/>
                  </a:cubicBezTo>
                  <a:cubicBezTo>
                    <a:pt x="2" y="13"/>
                    <a:pt x="2" y="13"/>
                    <a:pt x="2" y="13"/>
                  </a:cubicBezTo>
                  <a:cubicBezTo>
                    <a:pt x="2" y="13"/>
                    <a:pt x="0" y="13"/>
                    <a:pt x="3" y="14"/>
                  </a:cubicBezTo>
                  <a:cubicBezTo>
                    <a:pt x="7" y="14"/>
                    <a:pt x="11" y="14"/>
                    <a:pt x="15" y="15"/>
                  </a:cubicBezTo>
                  <a:cubicBezTo>
                    <a:pt x="15" y="15"/>
                    <a:pt x="15" y="15"/>
                    <a:pt x="16" y="15"/>
                  </a:cubicBezTo>
                  <a:cubicBezTo>
                    <a:pt x="19" y="15"/>
                    <a:pt x="19" y="14"/>
                    <a:pt x="19" y="13"/>
                  </a:cubicBezTo>
                  <a:cubicBezTo>
                    <a:pt x="18" y="12"/>
                    <a:pt x="16" y="11"/>
                    <a:pt x="15" y="11"/>
                  </a:cubicBezTo>
                  <a:cubicBezTo>
                    <a:pt x="15" y="11"/>
                    <a:pt x="14" y="11"/>
                    <a:pt x="14" y="11"/>
                  </a:cubicBezTo>
                  <a:cubicBezTo>
                    <a:pt x="15" y="8"/>
                    <a:pt x="13" y="6"/>
                    <a:pt x="12" y="4"/>
                  </a:cubicBezTo>
                  <a:cubicBezTo>
                    <a:pt x="12" y="3"/>
                    <a:pt x="12" y="1"/>
                    <a:pt x="11" y="1"/>
                  </a:cubicBezTo>
                  <a:cubicBezTo>
                    <a:pt x="11"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5" name="Freeform 1433">
              <a:extLst>
                <a:ext uri="{FF2B5EF4-FFF2-40B4-BE49-F238E27FC236}">
                  <a16:creationId xmlns:a16="http://schemas.microsoft.com/office/drawing/2014/main" id="{5EBF3E25-3675-40F4-A9E8-1CB5B67D2288}"/>
                </a:ext>
              </a:extLst>
            </p:cNvPr>
            <p:cNvSpPr>
              <a:spLocks noEditPoints="1"/>
            </p:cNvSpPr>
            <p:nvPr/>
          </p:nvSpPr>
          <p:spPr bwMode="auto">
            <a:xfrm>
              <a:off x="3232" y="2175"/>
              <a:ext cx="40" cy="24"/>
            </a:xfrm>
            <a:custGeom>
              <a:avLst/>
              <a:gdLst>
                <a:gd name="T0" fmla="*/ 7 w 17"/>
                <a:gd name="T1" fmla="*/ 8 h 10"/>
                <a:gd name="T2" fmla="*/ 7 w 17"/>
                <a:gd name="T3" fmla="*/ 8 h 10"/>
                <a:gd name="T4" fmla="*/ 7 w 17"/>
                <a:gd name="T5" fmla="*/ 8 h 10"/>
                <a:gd name="T6" fmla="*/ 7 w 17"/>
                <a:gd name="T7" fmla="*/ 8 h 10"/>
                <a:gd name="T8" fmla="*/ 7 w 17"/>
                <a:gd name="T9" fmla="*/ 8 h 10"/>
                <a:gd name="T10" fmla="*/ 7 w 17"/>
                <a:gd name="T11" fmla="*/ 8 h 10"/>
                <a:gd name="T12" fmla="*/ 13 w 17"/>
                <a:gd name="T13" fmla="*/ 0 h 10"/>
                <a:gd name="T14" fmla="*/ 7 w 17"/>
                <a:gd name="T15" fmla="*/ 1 h 10"/>
                <a:gd name="T16" fmla="*/ 0 w 17"/>
                <a:gd name="T17" fmla="*/ 8 h 10"/>
                <a:gd name="T18" fmla="*/ 3 w 17"/>
                <a:gd name="T19" fmla="*/ 10 h 10"/>
                <a:gd name="T20" fmla="*/ 5 w 17"/>
                <a:gd name="T21" fmla="*/ 9 h 10"/>
                <a:gd name="T22" fmla="*/ 8 w 17"/>
                <a:gd name="T23" fmla="*/ 8 h 10"/>
                <a:gd name="T24" fmla="*/ 7 w 17"/>
                <a:gd name="T25" fmla="*/ 8 h 10"/>
                <a:gd name="T26" fmla="*/ 11 w 17"/>
                <a:gd name="T27" fmla="*/ 3 h 10"/>
                <a:gd name="T28" fmla="*/ 11 w 17"/>
                <a:gd name="T29" fmla="*/ 3 h 10"/>
                <a:gd name="T30" fmla="*/ 12 w 17"/>
                <a:gd name="T31" fmla="*/ 4 h 10"/>
                <a:gd name="T32" fmla="*/ 13 w 17"/>
                <a:gd name="T33" fmla="*/ 4 h 10"/>
                <a:gd name="T34" fmla="*/ 13 w 17"/>
                <a:gd name="T35" fmla="*/ 4 h 10"/>
                <a:gd name="T36" fmla="*/ 14 w 17"/>
                <a:gd name="T37" fmla="*/ 4 h 10"/>
                <a:gd name="T38" fmla="*/ 17 w 17"/>
                <a:gd name="T39" fmla="*/ 2 h 10"/>
                <a:gd name="T40" fmla="*/ 13 w 17"/>
                <a:gd name="T4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10">
                  <a:moveTo>
                    <a:pt x="7" y="8"/>
                  </a:moveTo>
                  <a:cubicBezTo>
                    <a:pt x="7" y="8"/>
                    <a:pt x="7" y="8"/>
                    <a:pt x="7" y="8"/>
                  </a:cubicBezTo>
                  <a:cubicBezTo>
                    <a:pt x="7" y="8"/>
                    <a:pt x="7" y="8"/>
                    <a:pt x="7" y="8"/>
                  </a:cubicBezTo>
                  <a:moveTo>
                    <a:pt x="7" y="8"/>
                  </a:moveTo>
                  <a:cubicBezTo>
                    <a:pt x="7" y="8"/>
                    <a:pt x="7" y="8"/>
                    <a:pt x="7" y="8"/>
                  </a:cubicBezTo>
                  <a:cubicBezTo>
                    <a:pt x="7" y="8"/>
                    <a:pt x="7" y="8"/>
                    <a:pt x="7" y="8"/>
                  </a:cubicBezTo>
                  <a:moveTo>
                    <a:pt x="13" y="0"/>
                  </a:moveTo>
                  <a:cubicBezTo>
                    <a:pt x="11" y="0"/>
                    <a:pt x="9" y="1"/>
                    <a:pt x="7" y="1"/>
                  </a:cubicBezTo>
                  <a:cubicBezTo>
                    <a:pt x="3" y="3"/>
                    <a:pt x="3" y="4"/>
                    <a:pt x="0" y="8"/>
                  </a:cubicBezTo>
                  <a:cubicBezTo>
                    <a:pt x="1" y="9"/>
                    <a:pt x="2" y="10"/>
                    <a:pt x="3" y="10"/>
                  </a:cubicBezTo>
                  <a:cubicBezTo>
                    <a:pt x="3" y="10"/>
                    <a:pt x="4" y="9"/>
                    <a:pt x="5" y="9"/>
                  </a:cubicBezTo>
                  <a:cubicBezTo>
                    <a:pt x="5" y="9"/>
                    <a:pt x="7" y="8"/>
                    <a:pt x="8" y="8"/>
                  </a:cubicBezTo>
                  <a:cubicBezTo>
                    <a:pt x="8" y="8"/>
                    <a:pt x="8" y="8"/>
                    <a:pt x="7" y="8"/>
                  </a:cubicBezTo>
                  <a:cubicBezTo>
                    <a:pt x="8" y="7"/>
                    <a:pt x="10" y="3"/>
                    <a:pt x="11" y="3"/>
                  </a:cubicBezTo>
                  <a:cubicBezTo>
                    <a:pt x="11" y="3"/>
                    <a:pt x="11" y="3"/>
                    <a:pt x="11" y="3"/>
                  </a:cubicBezTo>
                  <a:cubicBezTo>
                    <a:pt x="12" y="3"/>
                    <a:pt x="12" y="3"/>
                    <a:pt x="12" y="4"/>
                  </a:cubicBezTo>
                  <a:cubicBezTo>
                    <a:pt x="12" y="4"/>
                    <a:pt x="13" y="4"/>
                    <a:pt x="13" y="4"/>
                  </a:cubicBezTo>
                  <a:cubicBezTo>
                    <a:pt x="13" y="4"/>
                    <a:pt x="13" y="4"/>
                    <a:pt x="13" y="4"/>
                  </a:cubicBezTo>
                  <a:cubicBezTo>
                    <a:pt x="13" y="4"/>
                    <a:pt x="14" y="4"/>
                    <a:pt x="14" y="4"/>
                  </a:cubicBezTo>
                  <a:cubicBezTo>
                    <a:pt x="15" y="4"/>
                    <a:pt x="17" y="3"/>
                    <a:pt x="17" y="2"/>
                  </a:cubicBezTo>
                  <a:cubicBezTo>
                    <a:pt x="16" y="1"/>
                    <a:pt x="15"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6" name="Freeform 1434">
              <a:extLst>
                <a:ext uri="{FF2B5EF4-FFF2-40B4-BE49-F238E27FC236}">
                  <a16:creationId xmlns:a16="http://schemas.microsoft.com/office/drawing/2014/main" id="{509C86E0-25F5-4D49-A92F-76E193483A09}"/>
                </a:ext>
              </a:extLst>
            </p:cNvPr>
            <p:cNvSpPr>
              <a:spLocks/>
            </p:cNvSpPr>
            <p:nvPr/>
          </p:nvSpPr>
          <p:spPr bwMode="auto">
            <a:xfrm>
              <a:off x="3553" y="3905"/>
              <a:ext cx="19" cy="40"/>
            </a:xfrm>
            <a:custGeom>
              <a:avLst/>
              <a:gdLst>
                <a:gd name="T0" fmla="*/ 4 w 8"/>
                <a:gd name="T1" fmla="*/ 0 h 17"/>
                <a:gd name="T2" fmla="*/ 0 w 8"/>
                <a:gd name="T3" fmla="*/ 12 h 17"/>
                <a:gd name="T4" fmla="*/ 1 w 8"/>
                <a:gd name="T5" fmla="*/ 17 h 17"/>
                <a:gd name="T6" fmla="*/ 3 w 8"/>
                <a:gd name="T7" fmla="*/ 17 h 17"/>
                <a:gd name="T8" fmla="*/ 8 w 8"/>
                <a:gd name="T9" fmla="*/ 16 h 17"/>
                <a:gd name="T10" fmla="*/ 8 w 8"/>
                <a:gd name="T11" fmla="*/ 6 h 17"/>
                <a:gd name="T12" fmla="*/ 4 w 8"/>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8" h="17">
                  <a:moveTo>
                    <a:pt x="4" y="0"/>
                  </a:moveTo>
                  <a:cubicBezTo>
                    <a:pt x="1" y="4"/>
                    <a:pt x="0" y="7"/>
                    <a:pt x="0" y="12"/>
                  </a:cubicBezTo>
                  <a:cubicBezTo>
                    <a:pt x="0" y="13"/>
                    <a:pt x="0" y="16"/>
                    <a:pt x="1" y="17"/>
                  </a:cubicBezTo>
                  <a:cubicBezTo>
                    <a:pt x="1" y="17"/>
                    <a:pt x="2" y="17"/>
                    <a:pt x="3" y="17"/>
                  </a:cubicBezTo>
                  <a:cubicBezTo>
                    <a:pt x="5" y="17"/>
                    <a:pt x="7" y="16"/>
                    <a:pt x="8" y="16"/>
                  </a:cubicBezTo>
                  <a:cubicBezTo>
                    <a:pt x="8" y="15"/>
                    <a:pt x="8" y="7"/>
                    <a:pt x="8" y="6"/>
                  </a:cubicBezTo>
                  <a:cubicBezTo>
                    <a:pt x="7" y="3"/>
                    <a:pt x="6"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7" name="Freeform 1435">
              <a:extLst>
                <a:ext uri="{FF2B5EF4-FFF2-40B4-BE49-F238E27FC236}">
                  <a16:creationId xmlns:a16="http://schemas.microsoft.com/office/drawing/2014/main" id="{FDB1AC3C-FD03-46BD-B88D-6A14B02DD34B}"/>
                </a:ext>
              </a:extLst>
            </p:cNvPr>
            <p:cNvSpPr>
              <a:spLocks/>
            </p:cNvSpPr>
            <p:nvPr/>
          </p:nvSpPr>
          <p:spPr bwMode="auto">
            <a:xfrm>
              <a:off x="3626" y="3990"/>
              <a:ext cx="10" cy="7"/>
            </a:xfrm>
            <a:custGeom>
              <a:avLst/>
              <a:gdLst>
                <a:gd name="T0" fmla="*/ 1 w 4"/>
                <a:gd name="T1" fmla="*/ 0 h 3"/>
                <a:gd name="T2" fmla="*/ 0 w 4"/>
                <a:gd name="T3" fmla="*/ 3 h 3"/>
                <a:gd name="T4" fmla="*/ 1 w 4"/>
                <a:gd name="T5" fmla="*/ 3 h 3"/>
                <a:gd name="T6" fmla="*/ 2 w 4"/>
                <a:gd name="T7" fmla="*/ 3 h 3"/>
                <a:gd name="T8" fmla="*/ 3 w 4"/>
                <a:gd name="T9" fmla="*/ 3 h 3"/>
                <a:gd name="T10" fmla="*/ 4 w 4"/>
                <a:gd name="T11" fmla="*/ 3 h 3"/>
                <a:gd name="T12" fmla="*/ 1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1" y="0"/>
                  </a:moveTo>
                  <a:cubicBezTo>
                    <a:pt x="0" y="0"/>
                    <a:pt x="0" y="1"/>
                    <a:pt x="0" y="3"/>
                  </a:cubicBezTo>
                  <a:cubicBezTo>
                    <a:pt x="0" y="3"/>
                    <a:pt x="1" y="3"/>
                    <a:pt x="1" y="3"/>
                  </a:cubicBezTo>
                  <a:cubicBezTo>
                    <a:pt x="1" y="3"/>
                    <a:pt x="2" y="3"/>
                    <a:pt x="2" y="3"/>
                  </a:cubicBezTo>
                  <a:cubicBezTo>
                    <a:pt x="2" y="3"/>
                    <a:pt x="2" y="3"/>
                    <a:pt x="3" y="3"/>
                  </a:cubicBezTo>
                  <a:cubicBezTo>
                    <a:pt x="3" y="3"/>
                    <a:pt x="4" y="3"/>
                    <a:pt x="4" y="3"/>
                  </a:cubicBezTo>
                  <a:cubicBezTo>
                    <a:pt x="3"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8" name="Freeform 1436">
              <a:extLst>
                <a:ext uri="{FF2B5EF4-FFF2-40B4-BE49-F238E27FC236}">
                  <a16:creationId xmlns:a16="http://schemas.microsoft.com/office/drawing/2014/main" id="{951861F8-93F6-437B-96A1-3DB6A253001E}"/>
                </a:ext>
              </a:extLst>
            </p:cNvPr>
            <p:cNvSpPr>
              <a:spLocks/>
            </p:cNvSpPr>
            <p:nvPr/>
          </p:nvSpPr>
          <p:spPr bwMode="auto">
            <a:xfrm>
              <a:off x="3839" y="4151"/>
              <a:ext cx="14" cy="14"/>
            </a:xfrm>
            <a:custGeom>
              <a:avLst/>
              <a:gdLst>
                <a:gd name="T0" fmla="*/ 3 w 6"/>
                <a:gd name="T1" fmla="*/ 0 h 6"/>
                <a:gd name="T2" fmla="*/ 0 w 6"/>
                <a:gd name="T3" fmla="*/ 6 h 6"/>
                <a:gd name="T4" fmla="*/ 3 w 6"/>
                <a:gd name="T5" fmla="*/ 3 h 6"/>
                <a:gd name="T6" fmla="*/ 3 w 6"/>
                <a:gd name="T7" fmla="*/ 0 h 6"/>
              </a:gdLst>
              <a:ahLst/>
              <a:cxnLst>
                <a:cxn ang="0">
                  <a:pos x="T0" y="T1"/>
                </a:cxn>
                <a:cxn ang="0">
                  <a:pos x="T2" y="T3"/>
                </a:cxn>
                <a:cxn ang="0">
                  <a:pos x="T4" y="T5"/>
                </a:cxn>
                <a:cxn ang="0">
                  <a:pos x="T6" y="T7"/>
                </a:cxn>
              </a:cxnLst>
              <a:rect l="0" t="0" r="r" b="b"/>
              <a:pathLst>
                <a:path w="6" h="6">
                  <a:moveTo>
                    <a:pt x="3" y="0"/>
                  </a:moveTo>
                  <a:cubicBezTo>
                    <a:pt x="2" y="2"/>
                    <a:pt x="1" y="4"/>
                    <a:pt x="0" y="6"/>
                  </a:cubicBezTo>
                  <a:cubicBezTo>
                    <a:pt x="2" y="6"/>
                    <a:pt x="3" y="4"/>
                    <a:pt x="3" y="3"/>
                  </a:cubicBezTo>
                  <a:cubicBezTo>
                    <a:pt x="3" y="2"/>
                    <a:pt x="6"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9" name="Freeform 1437">
              <a:extLst>
                <a:ext uri="{FF2B5EF4-FFF2-40B4-BE49-F238E27FC236}">
                  <a16:creationId xmlns:a16="http://schemas.microsoft.com/office/drawing/2014/main" id="{FC9395F8-86C2-4462-ADB9-DEEDCE8A6723}"/>
                </a:ext>
              </a:extLst>
            </p:cNvPr>
            <p:cNvSpPr>
              <a:spLocks/>
            </p:cNvSpPr>
            <p:nvPr/>
          </p:nvSpPr>
          <p:spPr bwMode="auto">
            <a:xfrm>
              <a:off x="3508" y="1619"/>
              <a:ext cx="31" cy="22"/>
            </a:xfrm>
            <a:custGeom>
              <a:avLst/>
              <a:gdLst>
                <a:gd name="T0" fmla="*/ 0 w 13"/>
                <a:gd name="T1" fmla="*/ 0 h 9"/>
                <a:gd name="T2" fmla="*/ 13 w 13"/>
                <a:gd name="T3" fmla="*/ 9 h 9"/>
                <a:gd name="T4" fmla="*/ 0 w 13"/>
                <a:gd name="T5" fmla="*/ 0 h 9"/>
              </a:gdLst>
              <a:ahLst/>
              <a:cxnLst>
                <a:cxn ang="0">
                  <a:pos x="T0" y="T1"/>
                </a:cxn>
                <a:cxn ang="0">
                  <a:pos x="T2" y="T3"/>
                </a:cxn>
                <a:cxn ang="0">
                  <a:pos x="T4" y="T5"/>
                </a:cxn>
              </a:cxnLst>
              <a:rect l="0" t="0" r="r" b="b"/>
              <a:pathLst>
                <a:path w="13" h="9">
                  <a:moveTo>
                    <a:pt x="0" y="0"/>
                  </a:moveTo>
                  <a:cubicBezTo>
                    <a:pt x="4" y="3"/>
                    <a:pt x="9" y="6"/>
                    <a:pt x="13" y="9"/>
                  </a:cubicBezTo>
                  <a:cubicBezTo>
                    <a:pt x="12" y="3"/>
                    <a:pt x="4"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0" name="Freeform 1438">
              <a:extLst>
                <a:ext uri="{FF2B5EF4-FFF2-40B4-BE49-F238E27FC236}">
                  <a16:creationId xmlns:a16="http://schemas.microsoft.com/office/drawing/2014/main" id="{B7F8FDF7-C7AF-460C-9988-AC8013035EF4}"/>
                </a:ext>
              </a:extLst>
            </p:cNvPr>
            <p:cNvSpPr>
              <a:spLocks noEditPoints="1"/>
            </p:cNvSpPr>
            <p:nvPr/>
          </p:nvSpPr>
          <p:spPr bwMode="auto">
            <a:xfrm>
              <a:off x="4038" y="1619"/>
              <a:ext cx="16" cy="29"/>
            </a:xfrm>
            <a:custGeom>
              <a:avLst/>
              <a:gdLst>
                <a:gd name="T0" fmla="*/ 6 w 7"/>
                <a:gd name="T1" fmla="*/ 10 h 12"/>
                <a:gd name="T2" fmla="*/ 7 w 7"/>
                <a:gd name="T3" fmla="*/ 12 h 12"/>
                <a:gd name="T4" fmla="*/ 6 w 7"/>
                <a:gd name="T5" fmla="*/ 10 h 12"/>
                <a:gd name="T6" fmla="*/ 6 w 7"/>
                <a:gd name="T7" fmla="*/ 0 h 12"/>
                <a:gd name="T8" fmla="*/ 6 w 7"/>
                <a:gd name="T9" fmla="*/ 10 h 12"/>
                <a:gd name="T10" fmla="*/ 7 w 7"/>
                <a:gd name="T11" fmla="*/ 4 h 12"/>
                <a:gd name="T12" fmla="*/ 6 w 7"/>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7" h="12">
                  <a:moveTo>
                    <a:pt x="6" y="10"/>
                  </a:moveTo>
                  <a:cubicBezTo>
                    <a:pt x="6" y="11"/>
                    <a:pt x="7" y="11"/>
                    <a:pt x="7" y="12"/>
                  </a:cubicBezTo>
                  <a:cubicBezTo>
                    <a:pt x="7" y="11"/>
                    <a:pt x="6" y="11"/>
                    <a:pt x="6" y="10"/>
                  </a:cubicBezTo>
                  <a:moveTo>
                    <a:pt x="6" y="0"/>
                  </a:moveTo>
                  <a:cubicBezTo>
                    <a:pt x="0" y="2"/>
                    <a:pt x="4" y="6"/>
                    <a:pt x="6" y="10"/>
                  </a:cubicBezTo>
                  <a:cubicBezTo>
                    <a:pt x="5" y="8"/>
                    <a:pt x="7" y="7"/>
                    <a:pt x="7" y="4"/>
                  </a:cubicBezTo>
                  <a:cubicBezTo>
                    <a:pt x="7" y="2"/>
                    <a:pt x="6" y="2"/>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1" name="Freeform 1439">
              <a:extLst>
                <a:ext uri="{FF2B5EF4-FFF2-40B4-BE49-F238E27FC236}">
                  <a16:creationId xmlns:a16="http://schemas.microsoft.com/office/drawing/2014/main" id="{75E92B8F-DBD3-4157-84DE-211B47008611}"/>
                </a:ext>
              </a:extLst>
            </p:cNvPr>
            <p:cNvSpPr>
              <a:spLocks/>
            </p:cNvSpPr>
            <p:nvPr/>
          </p:nvSpPr>
          <p:spPr bwMode="auto">
            <a:xfrm>
              <a:off x="4151" y="1771"/>
              <a:ext cx="21" cy="7"/>
            </a:xfrm>
            <a:custGeom>
              <a:avLst/>
              <a:gdLst>
                <a:gd name="T0" fmla="*/ 0 w 9"/>
                <a:gd name="T1" fmla="*/ 0 h 3"/>
                <a:gd name="T2" fmla="*/ 5 w 9"/>
                <a:gd name="T3" fmla="*/ 3 h 3"/>
                <a:gd name="T4" fmla="*/ 9 w 9"/>
                <a:gd name="T5" fmla="*/ 2 h 3"/>
                <a:gd name="T6" fmla="*/ 0 w 9"/>
                <a:gd name="T7" fmla="*/ 0 h 3"/>
              </a:gdLst>
              <a:ahLst/>
              <a:cxnLst>
                <a:cxn ang="0">
                  <a:pos x="T0" y="T1"/>
                </a:cxn>
                <a:cxn ang="0">
                  <a:pos x="T2" y="T3"/>
                </a:cxn>
                <a:cxn ang="0">
                  <a:pos x="T4" y="T5"/>
                </a:cxn>
                <a:cxn ang="0">
                  <a:pos x="T6" y="T7"/>
                </a:cxn>
              </a:cxnLst>
              <a:rect l="0" t="0" r="r" b="b"/>
              <a:pathLst>
                <a:path w="9" h="3">
                  <a:moveTo>
                    <a:pt x="0" y="0"/>
                  </a:moveTo>
                  <a:cubicBezTo>
                    <a:pt x="1" y="1"/>
                    <a:pt x="3" y="2"/>
                    <a:pt x="5" y="3"/>
                  </a:cubicBezTo>
                  <a:cubicBezTo>
                    <a:pt x="7" y="3"/>
                    <a:pt x="8" y="2"/>
                    <a:pt x="9" y="2"/>
                  </a:cubicBezTo>
                  <a:cubicBezTo>
                    <a:pt x="6"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2" name="Freeform 1440">
              <a:extLst>
                <a:ext uri="{FF2B5EF4-FFF2-40B4-BE49-F238E27FC236}">
                  <a16:creationId xmlns:a16="http://schemas.microsoft.com/office/drawing/2014/main" id="{0CA2CD3B-8F77-4C05-8FB3-108ECDDE7838}"/>
                </a:ext>
              </a:extLst>
            </p:cNvPr>
            <p:cNvSpPr>
              <a:spLocks/>
            </p:cNvSpPr>
            <p:nvPr/>
          </p:nvSpPr>
          <p:spPr bwMode="auto">
            <a:xfrm>
              <a:off x="3979" y="1674"/>
              <a:ext cx="23" cy="21"/>
            </a:xfrm>
            <a:custGeom>
              <a:avLst/>
              <a:gdLst>
                <a:gd name="T0" fmla="*/ 5 w 10"/>
                <a:gd name="T1" fmla="*/ 0 h 9"/>
                <a:gd name="T2" fmla="*/ 2 w 10"/>
                <a:gd name="T3" fmla="*/ 2 h 9"/>
                <a:gd name="T4" fmla="*/ 8 w 10"/>
                <a:gd name="T5" fmla="*/ 9 h 9"/>
                <a:gd name="T6" fmla="*/ 7 w 10"/>
                <a:gd name="T7" fmla="*/ 1 h 9"/>
                <a:gd name="T8" fmla="*/ 5 w 10"/>
                <a:gd name="T9" fmla="*/ 0 h 9"/>
              </a:gdLst>
              <a:ahLst/>
              <a:cxnLst>
                <a:cxn ang="0">
                  <a:pos x="T0" y="T1"/>
                </a:cxn>
                <a:cxn ang="0">
                  <a:pos x="T2" y="T3"/>
                </a:cxn>
                <a:cxn ang="0">
                  <a:pos x="T4" y="T5"/>
                </a:cxn>
                <a:cxn ang="0">
                  <a:pos x="T6" y="T7"/>
                </a:cxn>
                <a:cxn ang="0">
                  <a:pos x="T8" y="T9"/>
                </a:cxn>
              </a:cxnLst>
              <a:rect l="0" t="0" r="r" b="b"/>
              <a:pathLst>
                <a:path w="10" h="9">
                  <a:moveTo>
                    <a:pt x="5" y="0"/>
                  </a:moveTo>
                  <a:cubicBezTo>
                    <a:pt x="4" y="0"/>
                    <a:pt x="3" y="0"/>
                    <a:pt x="2" y="2"/>
                  </a:cubicBezTo>
                  <a:cubicBezTo>
                    <a:pt x="0" y="5"/>
                    <a:pt x="6" y="7"/>
                    <a:pt x="8" y="9"/>
                  </a:cubicBezTo>
                  <a:cubicBezTo>
                    <a:pt x="9" y="6"/>
                    <a:pt x="10" y="3"/>
                    <a:pt x="7" y="1"/>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3" name="Freeform 1441">
              <a:extLst>
                <a:ext uri="{FF2B5EF4-FFF2-40B4-BE49-F238E27FC236}">
                  <a16:creationId xmlns:a16="http://schemas.microsoft.com/office/drawing/2014/main" id="{CEC30719-EEF0-4113-9410-CEB1B43B41CA}"/>
                </a:ext>
              </a:extLst>
            </p:cNvPr>
            <p:cNvSpPr>
              <a:spLocks/>
            </p:cNvSpPr>
            <p:nvPr/>
          </p:nvSpPr>
          <p:spPr bwMode="auto">
            <a:xfrm>
              <a:off x="4196" y="1820"/>
              <a:ext cx="38" cy="22"/>
            </a:xfrm>
            <a:custGeom>
              <a:avLst/>
              <a:gdLst>
                <a:gd name="T0" fmla="*/ 0 w 16"/>
                <a:gd name="T1" fmla="*/ 0 h 9"/>
                <a:gd name="T2" fmla="*/ 10 w 16"/>
                <a:gd name="T3" fmla="*/ 9 h 9"/>
                <a:gd name="T4" fmla="*/ 16 w 16"/>
                <a:gd name="T5" fmla="*/ 8 h 9"/>
                <a:gd name="T6" fmla="*/ 0 w 16"/>
                <a:gd name="T7" fmla="*/ 0 h 9"/>
              </a:gdLst>
              <a:ahLst/>
              <a:cxnLst>
                <a:cxn ang="0">
                  <a:pos x="T0" y="T1"/>
                </a:cxn>
                <a:cxn ang="0">
                  <a:pos x="T2" y="T3"/>
                </a:cxn>
                <a:cxn ang="0">
                  <a:pos x="T4" y="T5"/>
                </a:cxn>
                <a:cxn ang="0">
                  <a:pos x="T6" y="T7"/>
                </a:cxn>
              </a:cxnLst>
              <a:rect l="0" t="0" r="r" b="b"/>
              <a:pathLst>
                <a:path w="16" h="9">
                  <a:moveTo>
                    <a:pt x="0" y="0"/>
                  </a:moveTo>
                  <a:cubicBezTo>
                    <a:pt x="3" y="3"/>
                    <a:pt x="7" y="6"/>
                    <a:pt x="10" y="9"/>
                  </a:cubicBezTo>
                  <a:cubicBezTo>
                    <a:pt x="12" y="9"/>
                    <a:pt x="14" y="8"/>
                    <a:pt x="16" y="8"/>
                  </a:cubicBezTo>
                  <a:cubicBezTo>
                    <a:pt x="13" y="4"/>
                    <a:pt x="5"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4" name="Freeform 1442">
              <a:extLst>
                <a:ext uri="{FF2B5EF4-FFF2-40B4-BE49-F238E27FC236}">
                  <a16:creationId xmlns:a16="http://schemas.microsoft.com/office/drawing/2014/main" id="{97268BA0-EFB6-46C1-9C0C-81C9702FD55D}"/>
                </a:ext>
              </a:extLst>
            </p:cNvPr>
            <p:cNvSpPr>
              <a:spLocks/>
            </p:cNvSpPr>
            <p:nvPr/>
          </p:nvSpPr>
          <p:spPr bwMode="auto">
            <a:xfrm>
              <a:off x="4028" y="1215"/>
              <a:ext cx="166" cy="156"/>
            </a:xfrm>
            <a:custGeom>
              <a:avLst/>
              <a:gdLst>
                <a:gd name="T0" fmla="*/ 1 w 70"/>
                <a:gd name="T1" fmla="*/ 0 h 66"/>
                <a:gd name="T2" fmla="*/ 0 w 70"/>
                <a:gd name="T3" fmla="*/ 6 h 66"/>
                <a:gd name="T4" fmla="*/ 1 w 70"/>
                <a:gd name="T5" fmla="*/ 6 h 66"/>
                <a:gd name="T6" fmla="*/ 2 w 70"/>
                <a:gd name="T7" fmla="*/ 7 h 66"/>
                <a:gd name="T8" fmla="*/ 3 w 70"/>
                <a:gd name="T9" fmla="*/ 6 h 66"/>
                <a:gd name="T10" fmla="*/ 4 w 70"/>
                <a:gd name="T11" fmla="*/ 6 h 66"/>
                <a:gd name="T12" fmla="*/ 5 w 70"/>
                <a:gd name="T13" fmla="*/ 7 h 66"/>
                <a:gd name="T14" fmla="*/ 32 w 70"/>
                <a:gd name="T15" fmla="*/ 23 h 66"/>
                <a:gd name="T16" fmla="*/ 53 w 70"/>
                <a:gd name="T17" fmla="*/ 41 h 66"/>
                <a:gd name="T18" fmla="*/ 56 w 70"/>
                <a:gd name="T19" fmla="*/ 49 h 66"/>
                <a:gd name="T20" fmla="*/ 56 w 70"/>
                <a:gd name="T21" fmla="*/ 53 h 66"/>
                <a:gd name="T22" fmla="*/ 62 w 70"/>
                <a:gd name="T23" fmla="*/ 66 h 66"/>
                <a:gd name="T24" fmla="*/ 69 w 70"/>
                <a:gd name="T25" fmla="*/ 49 h 66"/>
                <a:gd name="T26" fmla="*/ 67 w 70"/>
                <a:gd name="T27" fmla="*/ 47 h 66"/>
                <a:gd name="T28" fmla="*/ 59 w 70"/>
                <a:gd name="T29" fmla="*/ 38 h 66"/>
                <a:gd name="T30" fmla="*/ 59 w 70"/>
                <a:gd name="T31" fmla="*/ 38 h 66"/>
                <a:gd name="T32" fmla="*/ 58 w 70"/>
                <a:gd name="T33" fmla="*/ 38 h 66"/>
                <a:gd name="T34" fmla="*/ 57 w 70"/>
                <a:gd name="T35" fmla="*/ 39 h 66"/>
                <a:gd name="T36" fmla="*/ 56 w 70"/>
                <a:gd name="T37" fmla="*/ 38 h 66"/>
                <a:gd name="T38" fmla="*/ 48 w 70"/>
                <a:gd name="T39" fmla="*/ 31 h 66"/>
                <a:gd name="T40" fmla="*/ 40 w 70"/>
                <a:gd name="T41" fmla="*/ 23 h 66"/>
                <a:gd name="T42" fmla="*/ 29 w 70"/>
                <a:gd name="T43" fmla="*/ 17 h 66"/>
                <a:gd name="T44" fmla="*/ 19 w 70"/>
                <a:gd name="T45" fmla="*/ 10 h 66"/>
                <a:gd name="T46" fmla="*/ 14 w 70"/>
                <a:gd name="T47" fmla="*/ 9 h 66"/>
                <a:gd name="T48" fmla="*/ 1 w 70"/>
                <a:gd name="T4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0" h="66">
                  <a:moveTo>
                    <a:pt x="1" y="0"/>
                  </a:moveTo>
                  <a:cubicBezTo>
                    <a:pt x="4" y="5"/>
                    <a:pt x="4" y="3"/>
                    <a:pt x="0" y="6"/>
                  </a:cubicBezTo>
                  <a:cubicBezTo>
                    <a:pt x="0" y="6"/>
                    <a:pt x="1" y="6"/>
                    <a:pt x="1" y="6"/>
                  </a:cubicBezTo>
                  <a:cubicBezTo>
                    <a:pt x="1" y="7"/>
                    <a:pt x="2" y="7"/>
                    <a:pt x="2" y="7"/>
                  </a:cubicBezTo>
                  <a:cubicBezTo>
                    <a:pt x="2" y="7"/>
                    <a:pt x="3" y="6"/>
                    <a:pt x="3" y="6"/>
                  </a:cubicBezTo>
                  <a:cubicBezTo>
                    <a:pt x="3" y="6"/>
                    <a:pt x="4" y="6"/>
                    <a:pt x="4" y="6"/>
                  </a:cubicBezTo>
                  <a:cubicBezTo>
                    <a:pt x="4" y="6"/>
                    <a:pt x="5" y="6"/>
                    <a:pt x="5" y="7"/>
                  </a:cubicBezTo>
                  <a:cubicBezTo>
                    <a:pt x="14" y="12"/>
                    <a:pt x="23" y="18"/>
                    <a:pt x="32" y="23"/>
                  </a:cubicBezTo>
                  <a:cubicBezTo>
                    <a:pt x="41" y="28"/>
                    <a:pt x="48" y="32"/>
                    <a:pt x="53" y="41"/>
                  </a:cubicBezTo>
                  <a:cubicBezTo>
                    <a:pt x="54" y="44"/>
                    <a:pt x="56" y="46"/>
                    <a:pt x="56" y="49"/>
                  </a:cubicBezTo>
                  <a:cubicBezTo>
                    <a:pt x="56" y="50"/>
                    <a:pt x="56" y="52"/>
                    <a:pt x="56" y="53"/>
                  </a:cubicBezTo>
                  <a:cubicBezTo>
                    <a:pt x="56" y="58"/>
                    <a:pt x="59" y="62"/>
                    <a:pt x="62" y="66"/>
                  </a:cubicBezTo>
                  <a:cubicBezTo>
                    <a:pt x="64" y="62"/>
                    <a:pt x="70" y="54"/>
                    <a:pt x="69" y="49"/>
                  </a:cubicBezTo>
                  <a:cubicBezTo>
                    <a:pt x="68" y="48"/>
                    <a:pt x="67" y="48"/>
                    <a:pt x="67" y="47"/>
                  </a:cubicBezTo>
                  <a:cubicBezTo>
                    <a:pt x="65" y="44"/>
                    <a:pt x="63" y="39"/>
                    <a:pt x="59" y="38"/>
                  </a:cubicBezTo>
                  <a:cubicBezTo>
                    <a:pt x="59" y="38"/>
                    <a:pt x="59" y="38"/>
                    <a:pt x="59" y="38"/>
                  </a:cubicBezTo>
                  <a:cubicBezTo>
                    <a:pt x="59" y="38"/>
                    <a:pt x="59" y="38"/>
                    <a:pt x="58" y="38"/>
                  </a:cubicBezTo>
                  <a:cubicBezTo>
                    <a:pt x="58" y="38"/>
                    <a:pt x="58" y="39"/>
                    <a:pt x="57" y="39"/>
                  </a:cubicBezTo>
                  <a:cubicBezTo>
                    <a:pt x="57" y="39"/>
                    <a:pt x="57" y="39"/>
                    <a:pt x="56" y="38"/>
                  </a:cubicBezTo>
                  <a:cubicBezTo>
                    <a:pt x="54" y="37"/>
                    <a:pt x="50" y="33"/>
                    <a:pt x="48" y="31"/>
                  </a:cubicBezTo>
                  <a:cubicBezTo>
                    <a:pt x="46" y="28"/>
                    <a:pt x="43" y="26"/>
                    <a:pt x="40" y="23"/>
                  </a:cubicBezTo>
                  <a:cubicBezTo>
                    <a:pt x="37" y="19"/>
                    <a:pt x="33" y="19"/>
                    <a:pt x="29" y="17"/>
                  </a:cubicBezTo>
                  <a:cubicBezTo>
                    <a:pt x="26" y="15"/>
                    <a:pt x="22" y="11"/>
                    <a:pt x="19" y="10"/>
                  </a:cubicBezTo>
                  <a:cubicBezTo>
                    <a:pt x="18" y="9"/>
                    <a:pt x="15" y="10"/>
                    <a:pt x="14" y="9"/>
                  </a:cubicBezTo>
                  <a:cubicBezTo>
                    <a:pt x="10" y="6"/>
                    <a:pt x="6"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5" name="Freeform 1443">
              <a:extLst>
                <a:ext uri="{FF2B5EF4-FFF2-40B4-BE49-F238E27FC236}">
                  <a16:creationId xmlns:a16="http://schemas.microsoft.com/office/drawing/2014/main" id="{B33341B1-B8A9-4FAC-B457-54967E56DE12}"/>
                </a:ext>
              </a:extLst>
            </p:cNvPr>
            <p:cNvSpPr>
              <a:spLocks/>
            </p:cNvSpPr>
            <p:nvPr/>
          </p:nvSpPr>
          <p:spPr bwMode="auto">
            <a:xfrm>
              <a:off x="4255" y="1818"/>
              <a:ext cx="14" cy="9"/>
            </a:xfrm>
            <a:custGeom>
              <a:avLst/>
              <a:gdLst>
                <a:gd name="T0" fmla="*/ 2 w 6"/>
                <a:gd name="T1" fmla="*/ 0 h 4"/>
                <a:gd name="T2" fmla="*/ 1 w 6"/>
                <a:gd name="T3" fmla="*/ 4 h 4"/>
                <a:gd name="T4" fmla="*/ 6 w 6"/>
                <a:gd name="T5" fmla="*/ 3 h 4"/>
                <a:gd name="T6" fmla="*/ 2 w 6"/>
                <a:gd name="T7" fmla="*/ 0 h 4"/>
              </a:gdLst>
              <a:ahLst/>
              <a:cxnLst>
                <a:cxn ang="0">
                  <a:pos x="T0" y="T1"/>
                </a:cxn>
                <a:cxn ang="0">
                  <a:pos x="T2" y="T3"/>
                </a:cxn>
                <a:cxn ang="0">
                  <a:pos x="T4" y="T5"/>
                </a:cxn>
                <a:cxn ang="0">
                  <a:pos x="T6" y="T7"/>
                </a:cxn>
              </a:cxnLst>
              <a:rect l="0" t="0" r="r" b="b"/>
              <a:pathLst>
                <a:path w="6" h="4">
                  <a:moveTo>
                    <a:pt x="2" y="0"/>
                  </a:moveTo>
                  <a:cubicBezTo>
                    <a:pt x="1" y="0"/>
                    <a:pt x="0" y="1"/>
                    <a:pt x="1" y="4"/>
                  </a:cubicBezTo>
                  <a:cubicBezTo>
                    <a:pt x="2" y="3"/>
                    <a:pt x="6" y="4"/>
                    <a:pt x="6" y="3"/>
                  </a:cubicBezTo>
                  <a:cubicBezTo>
                    <a:pt x="6" y="2"/>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6" name="Freeform 1444">
              <a:extLst>
                <a:ext uri="{FF2B5EF4-FFF2-40B4-BE49-F238E27FC236}">
                  <a16:creationId xmlns:a16="http://schemas.microsoft.com/office/drawing/2014/main" id="{88416C5C-7AB6-4B1B-82AF-D1F339B7FC64}"/>
                </a:ext>
              </a:extLst>
            </p:cNvPr>
            <p:cNvSpPr>
              <a:spLocks/>
            </p:cNvSpPr>
            <p:nvPr/>
          </p:nvSpPr>
          <p:spPr bwMode="auto">
            <a:xfrm>
              <a:off x="4005" y="1683"/>
              <a:ext cx="35" cy="26"/>
            </a:xfrm>
            <a:custGeom>
              <a:avLst/>
              <a:gdLst>
                <a:gd name="T0" fmla="*/ 2 w 15"/>
                <a:gd name="T1" fmla="*/ 0 h 11"/>
                <a:gd name="T2" fmla="*/ 2 w 15"/>
                <a:gd name="T3" fmla="*/ 6 h 11"/>
                <a:gd name="T4" fmla="*/ 0 w 15"/>
                <a:gd name="T5" fmla="*/ 7 h 11"/>
                <a:gd name="T6" fmla="*/ 12 w 15"/>
                <a:gd name="T7" fmla="*/ 11 h 11"/>
                <a:gd name="T8" fmla="*/ 13 w 15"/>
                <a:gd name="T9" fmla="*/ 6 h 11"/>
                <a:gd name="T10" fmla="*/ 11 w 15"/>
                <a:gd name="T11" fmla="*/ 2 h 11"/>
                <a:gd name="T12" fmla="*/ 10 w 15"/>
                <a:gd name="T13" fmla="*/ 2 h 11"/>
                <a:gd name="T14" fmla="*/ 9 w 15"/>
                <a:gd name="T15" fmla="*/ 2 h 11"/>
                <a:gd name="T16" fmla="*/ 7 w 15"/>
                <a:gd name="T17" fmla="*/ 2 h 11"/>
                <a:gd name="T18" fmla="*/ 7 w 15"/>
                <a:gd name="T19" fmla="*/ 2 h 11"/>
                <a:gd name="T20" fmla="*/ 4 w 15"/>
                <a:gd name="T21" fmla="*/ 1 h 11"/>
                <a:gd name="T22" fmla="*/ 2 w 15"/>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1">
                  <a:moveTo>
                    <a:pt x="2" y="0"/>
                  </a:moveTo>
                  <a:cubicBezTo>
                    <a:pt x="0" y="0"/>
                    <a:pt x="2" y="2"/>
                    <a:pt x="2" y="6"/>
                  </a:cubicBezTo>
                  <a:cubicBezTo>
                    <a:pt x="2" y="7"/>
                    <a:pt x="0" y="7"/>
                    <a:pt x="0" y="7"/>
                  </a:cubicBezTo>
                  <a:cubicBezTo>
                    <a:pt x="1" y="10"/>
                    <a:pt x="10" y="10"/>
                    <a:pt x="12" y="11"/>
                  </a:cubicBezTo>
                  <a:cubicBezTo>
                    <a:pt x="15" y="10"/>
                    <a:pt x="15" y="8"/>
                    <a:pt x="13" y="6"/>
                  </a:cubicBezTo>
                  <a:cubicBezTo>
                    <a:pt x="13" y="5"/>
                    <a:pt x="12" y="3"/>
                    <a:pt x="11" y="2"/>
                  </a:cubicBezTo>
                  <a:cubicBezTo>
                    <a:pt x="10" y="2"/>
                    <a:pt x="10" y="2"/>
                    <a:pt x="10" y="2"/>
                  </a:cubicBezTo>
                  <a:cubicBezTo>
                    <a:pt x="9" y="2"/>
                    <a:pt x="9" y="2"/>
                    <a:pt x="9" y="2"/>
                  </a:cubicBezTo>
                  <a:cubicBezTo>
                    <a:pt x="8" y="2"/>
                    <a:pt x="8" y="2"/>
                    <a:pt x="7" y="2"/>
                  </a:cubicBezTo>
                  <a:cubicBezTo>
                    <a:pt x="7" y="2"/>
                    <a:pt x="7" y="2"/>
                    <a:pt x="7" y="2"/>
                  </a:cubicBezTo>
                  <a:cubicBezTo>
                    <a:pt x="6" y="2"/>
                    <a:pt x="5" y="1"/>
                    <a:pt x="4" y="1"/>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7" name="Freeform 1445">
              <a:extLst>
                <a:ext uri="{FF2B5EF4-FFF2-40B4-BE49-F238E27FC236}">
                  <a16:creationId xmlns:a16="http://schemas.microsoft.com/office/drawing/2014/main" id="{FBC34D67-1D70-4316-9057-D4B2E3A31639}"/>
                </a:ext>
              </a:extLst>
            </p:cNvPr>
            <p:cNvSpPr>
              <a:spLocks/>
            </p:cNvSpPr>
            <p:nvPr/>
          </p:nvSpPr>
          <p:spPr bwMode="auto">
            <a:xfrm>
              <a:off x="3858" y="1326"/>
              <a:ext cx="286" cy="149"/>
            </a:xfrm>
            <a:custGeom>
              <a:avLst/>
              <a:gdLst>
                <a:gd name="T0" fmla="*/ 111 w 121"/>
                <a:gd name="T1" fmla="*/ 0 h 63"/>
                <a:gd name="T2" fmla="*/ 110 w 121"/>
                <a:gd name="T3" fmla="*/ 1 h 63"/>
                <a:gd name="T4" fmla="*/ 109 w 121"/>
                <a:gd name="T5" fmla="*/ 1 h 63"/>
                <a:gd name="T6" fmla="*/ 108 w 121"/>
                <a:gd name="T7" fmla="*/ 0 h 63"/>
                <a:gd name="T8" fmla="*/ 95 w 121"/>
                <a:gd name="T9" fmla="*/ 0 h 63"/>
                <a:gd name="T10" fmla="*/ 93 w 121"/>
                <a:gd name="T11" fmla="*/ 21 h 63"/>
                <a:gd name="T12" fmla="*/ 73 w 121"/>
                <a:gd name="T13" fmla="*/ 37 h 63"/>
                <a:gd name="T14" fmla="*/ 68 w 121"/>
                <a:gd name="T15" fmla="*/ 40 h 63"/>
                <a:gd name="T16" fmla="*/ 63 w 121"/>
                <a:gd name="T17" fmla="*/ 37 h 63"/>
                <a:gd name="T18" fmla="*/ 57 w 121"/>
                <a:gd name="T19" fmla="*/ 40 h 63"/>
                <a:gd name="T20" fmla="*/ 52 w 121"/>
                <a:gd name="T21" fmla="*/ 36 h 63"/>
                <a:gd name="T22" fmla="*/ 53 w 121"/>
                <a:gd name="T23" fmla="*/ 24 h 63"/>
                <a:gd name="T24" fmla="*/ 49 w 121"/>
                <a:gd name="T25" fmla="*/ 32 h 63"/>
                <a:gd name="T26" fmla="*/ 49 w 121"/>
                <a:gd name="T27" fmla="*/ 37 h 63"/>
                <a:gd name="T28" fmla="*/ 41 w 121"/>
                <a:gd name="T29" fmla="*/ 40 h 63"/>
                <a:gd name="T30" fmla="*/ 40 w 121"/>
                <a:gd name="T31" fmla="*/ 38 h 63"/>
                <a:gd name="T32" fmla="*/ 30 w 121"/>
                <a:gd name="T33" fmla="*/ 41 h 63"/>
                <a:gd name="T34" fmla="*/ 23 w 121"/>
                <a:gd name="T35" fmla="*/ 39 h 63"/>
                <a:gd name="T36" fmla="*/ 16 w 121"/>
                <a:gd name="T37" fmla="*/ 39 h 63"/>
                <a:gd name="T38" fmla="*/ 13 w 121"/>
                <a:gd name="T39" fmla="*/ 38 h 63"/>
                <a:gd name="T40" fmla="*/ 11 w 121"/>
                <a:gd name="T41" fmla="*/ 39 h 63"/>
                <a:gd name="T42" fmla="*/ 9 w 121"/>
                <a:gd name="T43" fmla="*/ 39 h 63"/>
                <a:gd name="T44" fmla="*/ 4 w 121"/>
                <a:gd name="T45" fmla="*/ 37 h 63"/>
                <a:gd name="T46" fmla="*/ 3 w 121"/>
                <a:gd name="T47" fmla="*/ 46 h 63"/>
                <a:gd name="T48" fmla="*/ 22 w 121"/>
                <a:gd name="T49" fmla="*/ 55 h 63"/>
                <a:gd name="T50" fmla="*/ 30 w 121"/>
                <a:gd name="T51" fmla="*/ 56 h 63"/>
                <a:gd name="T52" fmla="*/ 37 w 121"/>
                <a:gd name="T53" fmla="*/ 61 h 63"/>
                <a:gd name="T54" fmla="*/ 54 w 121"/>
                <a:gd name="T55" fmla="*/ 61 h 63"/>
                <a:gd name="T56" fmla="*/ 80 w 121"/>
                <a:gd name="T57" fmla="*/ 54 h 63"/>
                <a:gd name="T58" fmla="*/ 89 w 121"/>
                <a:gd name="T59" fmla="*/ 48 h 63"/>
                <a:gd name="T60" fmla="*/ 99 w 121"/>
                <a:gd name="T61" fmla="*/ 40 h 63"/>
                <a:gd name="T62" fmla="*/ 103 w 121"/>
                <a:gd name="T63" fmla="*/ 41 h 63"/>
                <a:gd name="T64" fmla="*/ 111 w 121"/>
                <a:gd name="T65" fmla="*/ 37 h 63"/>
                <a:gd name="T66" fmla="*/ 108 w 121"/>
                <a:gd name="T67" fmla="*/ 23 h 63"/>
                <a:gd name="T68" fmla="*/ 112 w 121"/>
                <a:gd name="T69" fmla="*/ 24 h 63"/>
                <a:gd name="T70" fmla="*/ 118 w 121"/>
                <a:gd name="T71" fmla="*/ 19 h 63"/>
                <a:gd name="T72" fmla="*/ 113 w 121"/>
                <a:gd name="T73" fmla="*/ 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1" h="63">
                  <a:moveTo>
                    <a:pt x="114" y="0"/>
                  </a:moveTo>
                  <a:cubicBezTo>
                    <a:pt x="113" y="0"/>
                    <a:pt x="112" y="0"/>
                    <a:pt x="111" y="0"/>
                  </a:cubicBezTo>
                  <a:cubicBezTo>
                    <a:pt x="111" y="1"/>
                    <a:pt x="110" y="1"/>
                    <a:pt x="110" y="1"/>
                  </a:cubicBezTo>
                  <a:cubicBezTo>
                    <a:pt x="110" y="1"/>
                    <a:pt x="110" y="1"/>
                    <a:pt x="110" y="1"/>
                  </a:cubicBezTo>
                  <a:cubicBezTo>
                    <a:pt x="110" y="1"/>
                    <a:pt x="110" y="1"/>
                    <a:pt x="110" y="1"/>
                  </a:cubicBezTo>
                  <a:cubicBezTo>
                    <a:pt x="109" y="1"/>
                    <a:pt x="109" y="1"/>
                    <a:pt x="109" y="1"/>
                  </a:cubicBezTo>
                  <a:cubicBezTo>
                    <a:pt x="109" y="1"/>
                    <a:pt x="109" y="0"/>
                    <a:pt x="108" y="0"/>
                  </a:cubicBezTo>
                  <a:cubicBezTo>
                    <a:pt x="108" y="0"/>
                    <a:pt x="108" y="0"/>
                    <a:pt x="108" y="0"/>
                  </a:cubicBezTo>
                  <a:cubicBezTo>
                    <a:pt x="107" y="1"/>
                    <a:pt x="105" y="2"/>
                    <a:pt x="104" y="3"/>
                  </a:cubicBezTo>
                  <a:cubicBezTo>
                    <a:pt x="104" y="0"/>
                    <a:pt x="97" y="1"/>
                    <a:pt x="95" y="0"/>
                  </a:cubicBezTo>
                  <a:cubicBezTo>
                    <a:pt x="95" y="8"/>
                    <a:pt x="96" y="15"/>
                    <a:pt x="97" y="22"/>
                  </a:cubicBezTo>
                  <a:cubicBezTo>
                    <a:pt x="96" y="22"/>
                    <a:pt x="94" y="21"/>
                    <a:pt x="93" y="21"/>
                  </a:cubicBezTo>
                  <a:cubicBezTo>
                    <a:pt x="85" y="21"/>
                    <a:pt x="80" y="31"/>
                    <a:pt x="75" y="38"/>
                  </a:cubicBezTo>
                  <a:cubicBezTo>
                    <a:pt x="74" y="37"/>
                    <a:pt x="74" y="37"/>
                    <a:pt x="73" y="37"/>
                  </a:cubicBezTo>
                  <a:cubicBezTo>
                    <a:pt x="72" y="37"/>
                    <a:pt x="72" y="38"/>
                    <a:pt x="71" y="38"/>
                  </a:cubicBezTo>
                  <a:cubicBezTo>
                    <a:pt x="70" y="39"/>
                    <a:pt x="69" y="40"/>
                    <a:pt x="68" y="40"/>
                  </a:cubicBezTo>
                  <a:cubicBezTo>
                    <a:pt x="68" y="40"/>
                    <a:pt x="68" y="40"/>
                    <a:pt x="68" y="40"/>
                  </a:cubicBezTo>
                  <a:cubicBezTo>
                    <a:pt x="66" y="40"/>
                    <a:pt x="66" y="37"/>
                    <a:pt x="63" y="37"/>
                  </a:cubicBezTo>
                  <a:cubicBezTo>
                    <a:pt x="63" y="37"/>
                    <a:pt x="63" y="37"/>
                    <a:pt x="63" y="37"/>
                  </a:cubicBezTo>
                  <a:cubicBezTo>
                    <a:pt x="60" y="37"/>
                    <a:pt x="59" y="40"/>
                    <a:pt x="57" y="40"/>
                  </a:cubicBezTo>
                  <a:cubicBezTo>
                    <a:pt x="57" y="40"/>
                    <a:pt x="56" y="40"/>
                    <a:pt x="56" y="40"/>
                  </a:cubicBezTo>
                  <a:cubicBezTo>
                    <a:pt x="53" y="40"/>
                    <a:pt x="54" y="39"/>
                    <a:pt x="52" y="36"/>
                  </a:cubicBezTo>
                  <a:cubicBezTo>
                    <a:pt x="51" y="33"/>
                    <a:pt x="50" y="29"/>
                    <a:pt x="53" y="28"/>
                  </a:cubicBezTo>
                  <a:cubicBezTo>
                    <a:pt x="56" y="26"/>
                    <a:pt x="54" y="24"/>
                    <a:pt x="53" y="24"/>
                  </a:cubicBezTo>
                  <a:cubicBezTo>
                    <a:pt x="51" y="24"/>
                    <a:pt x="50" y="25"/>
                    <a:pt x="50" y="28"/>
                  </a:cubicBezTo>
                  <a:cubicBezTo>
                    <a:pt x="50" y="31"/>
                    <a:pt x="49" y="31"/>
                    <a:pt x="49" y="32"/>
                  </a:cubicBezTo>
                  <a:cubicBezTo>
                    <a:pt x="48" y="33"/>
                    <a:pt x="48" y="33"/>
                    <a:pt x="47" y="34"/>
                  </a:cubicBezTo>
                  <a:cubicBezTo>
                    <a:pt x="47" y="35"/>
                    <a:pt x="49" y="36"/>
                    <a:pt x="49" y="37"/>
                  </a:cubicBezTo>
                  <a:cubicBezTo>
                    <a:pt x="48" y="40"/>
                    <a:pt x="44" y="39"/>
                    <a:pt x="43" y="39"/>
                  </a:cubicBezTo>
                  <a:cubicBezTo>
                    <a:pt x="43" y="39"/>
                    <a:pt x="42" y="40"/>
                    <a:pt x="41" y="40"/>
                  </a:cubicBezTo>
                  <a:cubicBezTo>
                    <a:pt x="41" y="40"/>
                    <a:pt x="40" y="40"/>
                    <a:pt x="40" y="39"/>
                  </a:cubicBezTo>
                  <a:cubicBezTo>
                    <a:pt x="40" y="39"/>
                    <a:pt x="40" y="38"/>
                    <a:pt x="40" y="38"/>
                  </a:cubicBezTo>
                  <a:cubicBezTo>
                    <a:pt x="39" y="38"/>
                    <a:pt x="38" y="39"/>
                    <a:pt x="37" y="39"/>
                  </a:cubicBezTo>
                  <a:cubicBezTo>
                    <a:pt x="34" y="41"/>
                    <a:pt x="32" y="41"/>
                    <a:pt x="30" y="41"/>
                  </a:cubicBezTo>
                  <a:cubicBezTo>
                    <a:pt x="29" y="41"/>
                    <a:pt x="29" y="41"/>
                    <a:pt x="29" y="41"/>
                  </a:cubicBezTo>
                  <a:cubicBezTo>
                    <a:pt x="27" y="41"/>
                    <a:pt x="26" y="40"/>
                    <a:pt x="23" y="39"/>
                  </a:cubicBezTo>
                  <a:cubicBezTo>
                    <a:pt x="22" y="39"/>
                    <a:pt x="21" y="38"/>
                    <a:pt x="21" y="38"/>
                  </a:cubicBezTo>
                  <a:cubicBezTo>
                    <a:pt x="19" y="38"/>
                    <a:pt x="18" y="39"/>
                    <a:pt x="16" y="39"/>
                  </a:cubicBezTo>
                  <a:cubicBezTo>
                    <a:pt x="16" y="39"/>
                    <a:pt x="16" y="40"/>
                    <a:pt x="16" y="40"/>
                  </a:cubicBezTo>
                  <a:cubicBezTo>
                    <a:pt x="15" y="40"/>
                    <a:pt x="14" y="38"/>
                    <a:pt x="13" y="38"/>
                  </a:cubicBezTo>
                  <a:cubicBezTo>
                    <a:pt x="13" y="38"/>
                    <a:pt x="13" y="38"/>
                    <a:pt x="12" y="38"/>
                  </a:cubicBezTo>
                  <a:cubicBezTo>
                    <a:pt x="12" y="38"/>
                    <a:pt x="11" y="38"/>
                    <a:pt x="11" y="39"/>
                  </a:cubicBezTo>
                  <a:cubicBezTo>
                    <a:pt x="10" y="39"/>
                    <a:pt x="10" y="39"/>
                    <a:pt x="9" y="39"/>
                  </a:cubicBezTo>
                  <a:cubicBezTo>
                    <a:pt x="9" y="39"/>
                    <a:pt x="9" y="39"/>
                    <a:pt x="9" y="39"/>
                  </a:cubicBezTo>
                  <a:cubicBezTo>
                    <a:pt x="7" y="39"/>
                    <a:pt x="8" y="38"/>
                    <a:pt x="6" y="38"/>
                  </a:cubicBezTo>
                  <a:cubicBezTo>
                    <a:pt x="5" y="38"/>
                    <a:pt x="5" y="37"/>
                    <a:pt x="4" y="37"/>
                  </a:cubicBezTo>
                  <a:cubicBezTo>
                    <a:pt x="4" y="37"/>
                    <a:pt x="3" y="37"/>
                    <a:pt x="3" y="38"/>
                  </a:cubicBezTo>
                  <a:cubicBezTo>
                    <a:pt x="0" y="39"/>
                    <a:pt x="1" y="45"/>
                    <a:pt x="3" y="46"/>
                  </a:cubicBezTo>
                  <a:cubicBezTo>
                    <a:pt x="5" y="49"/>
                    <a:pt x="11" y="49"/>
                    <a:pt x="14" y="50"/>
                  </a:cubicBezTo>
                  <a:cubicBezTo>
                    <a:pt x="16" y="52"/>
                    <a:pt x="18" y="53"/>
                    <a:pt x="22" y="55"/>
                  </a:cubicBezTo>
                  <a:cubicBezTo>
                    <a:pt x="22" y="55"/>
                    <a:pt x="23" y="57"/>
                    <a:pt x="22" y="58"/>
                  </a:cubicBezTo>
                  <a:cubicBezTo>
                    <a:pt x="25" y="57"/>
                    <a:pt x="27" y="56"/>
                    <a:pt x="30" y="56"/>
                  </a:cubicBezTo>
                  <a:cubicBezTo>
                    <a:pt x="31" y="56"/>
                    <a:pt x="33" y="56"/>
                    <a:pt x="36" y="58"/>
                  </a:cubicBezTo>
                  <a:cubicBezTo>
                    <a:pt x="36" y="59"/>
                    <a:pt x="37" y="60"/>
                    <a:pt x="37" y="61"/>
                  </a:cubicBezTo>
                  <a:cubicBezTo>
                    <a:pt x="39" y="62"/>
                    <a:pt x="42" y="63"/>
                    <a:pt x="45" y="63"/>
                  </a:cubicBezTo>
                  <a:cubicBezTo>
                    <a:pt x="48" y="63"/>
                    <a:pt x="52" y="62"/>
                    <a:pt x="54" y="61"/>
                  </a:cubicBezTo>
                  <a:cubicBezTo>
                    <a:pt x="61" y="60"/>
                    <a:pt x="69" y="59"/>
                    <a:pt x="75" y="56"/>
                  </a:cubicBezTo>
                  <a:cubicBezTo>
                    <a:pt x="76" y="55"/>
                    <a:pt x="79" y="55"/>
                    <a:pt x="80" y="54"/>
                  </a:cubicBezTo>
                  <a:cubicBezTo>
                    <a:pt x="81" y="54"/>
                    <a:pt x="84" y="52"/>
                    <a:pt x="85" y="51"/>
                  </a:cubicBezTo>
                  <a:cubicBezTo>
                    <a:pt x="86" y="49"/>
                    <a:pt x="88" y="49"/>
                    <a:pt x="89" y="48"/>
                  </a:cubicBezTo>
                  <a:cubicBezTo>
                    <a:pt x="92" y="46"/>
                    <a:pt x="94" y="42"/>
                    <a:pt x="96" y="41"/>
                  </a:cubicBezTo>
                  <a:cubicBezTo>
                    <a:pt x="97" y="40"/>
                    <a:pt x="98" y="40"/>
                    <a:pt x="99" y="40"/>
                  </a:cubicBezTo>
                  <a:cubicBezTo>
                    <a:pt x="100" y="40"/>
                    <a:pt x="100" y="40"/>
                    <a:pt x="101" y="40"/>
                  </a:cubicBezTo>
                  <a:cubicBezTo>
                    <a:pt x="101" y="41"/>
                    <a:pt x="102" y="41"/>
                    <a:pt x="103" y="41"/>
                  </a:cubicBezTo>
                  <a:cubicBezTo>
                    <a:pt x="103" y="41"/>
                    <a:pt x="103" y="41"/>
                    <a:pt x="104" y="41"/>
                  </a:cubicBezTo>
                  <a:cubicBezTo>
                    <a:pt x="105" y="41"/>
                    <a:pt x="110" y="38"/>
                    <a:pt x="111" y="37"/>
                  </a:cubicBezTo>
                  <a:cubicBezTo>
                    <a:pt x="114" y="31"/>
                    <a:pt x="104" y="29"/>
                    <a:pt x="107" y="24"/>
                  </a:cubicBezTo>
                  <a:cubicBezTo>
                    <a:pt x="107" y="23"/>
                    <a:pt x="108" y="23"/>
                    <a:pt x="108" y="23"/>
                  </a:cubicBezTo>
                  <a:cubicBezTo>
                    <a:pt x="109" y="23"/>
                    <a:pt x="110" y="23"/>
                    <a:pt x="110" y="24"/>
                  </a:cubicBezTo>
                  <a:cubicBezTo>
                    <a:pt x="111" y="24"/>
                    <a:pt x="112" y="24"/>
                    <a:pt x="112" y="24"/>
                  </a:cubicBezTo>
                  <a:cubicBezTo>
                    <a:pt x="112" y="24"/>
                    <a:pt x="113" y="24"/>
                    <a:pt x="113" y="24"/>
                  </a:cubicBezTo>
                  <a:cubicBezTo>
                    <a:pt x="115" y="23"/>
                    <a:pt x="117" y="22"/>
                    <a:pt x="118" y="19"/>
                  </a:cubicBezTo>
                  <a:cubicBezTo>
                    <a:pt x="121" y="14"/>
                    <a:pt x="117" y="10"/>
                    <a:pt x="120" y="5"/>
                  </a:cubicBezTo>
                  <a:cubicBezTo>
                    <a:pt x="118" y="4"/>
                    <a:pt x="109" y="4"/>
                    <a:pt x="113" y="1"/>
                  </a:cubicBezTo>
                  <a:cubicBezTo>
                    <a:pt x="114" y="0"/>
                    <a:pt x="114" y="0"/>
                    <a:pt x="1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8" name="Freeform 1446">
              <a:extLst>
                <a:ext uri="{FF2B5EF4-FFF2-40B4-BE49-F238E27FC236}">
                  <a16:creationId xmlns:a16="http://schemas.microsoft.com/office/drawing/2014/main" id="{72B5BA6F-87B7-4AC6-8E1D-279E3771798E}"/>
                </a:ext>
              </a:extLst>
            </p:cNvPr>
            <p:cNvSpPr>
              <a:spLocks/>
            </p:cNvSpPr>
            <p:nvPr/>
          </p:nvSpPr>
          <p:spPr bwMode="auto">
            <a:xfrm>
              <a:off x="4286" y="1385"/>
              <a:ext cx="14" cy="29"/>
            </a:xfrm>
            <a:custGeom>
              <a:avLst/>
              <a:gdLst>
                <a:gd name="T0" fmla="*/ 4 w 6"/>
                <a:gd name="T1" fmla="*/ 0 h 12"/>
                <a:gd name="T2" fmla="*/ 0 w 6"/>
                <a:gd name="T3" fmla="*/ 2 h 12"/>
                <a:gd name="T4" fmla="*/ 3 w 6"/>
                <a:gd name="T5" fmla="*/ 12 h 12"/>
                <a:gd name="T6" fmla="*/ 6 w 6"/>
                <a:gd name="T7" fmla="*/ 6 h 12"/>
                <a:gd name="T8" fmla="*/ 5 w 6"/>
                <a:gd name="T9" fmla="*/ 3 h 12"/>
                <a:gd name="T10" fmla="*/ 4 w 6"/>
                <a:gd name="T11" fmla="*/ 0 h 12"/>
                <a:gd name="T12" fmla="*/ 4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4" y="0"/>
                  </a:moveTo>
                  <a:cubicBezTo>
                    <a:pt x="3" y="0"/>
                    <a:pt x="0" y="2"/>
                    <a:pt x="0" y="2"/>
                  </a:cubicBezTo>
                  <a:cubicBezTo>
                    <a:pt x="0" y="5"/>
                    <a:pt x="3" y="10"/>
                    <a:pt x="3" y="12"/>
                  </a:cubicBezTo>
                  <a:cubicBezTo>
                    <a:pt x="5" y="11"/>
                    <a:pt x="6" y="8"/>
                    <a:pt x="6" y="6"/>
                  </a:cubicBezTo>
                  <a:cubicBezTo>
                    <a:pt x="6" y="5"/>
                    <a:pt x="5" y="5"/>
                    <a:pt x="5" y="3"/>
                  </a:cubicBezTo>
                  <a:cubicBezTo>
                    <a:pt x="4" y="2"/>
                    <a:pt x="5" y="0"/>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9" name="Freeform 1447">
              <a:extLst>
                <a:ext uri="{FF2B5EF4-FFF2-40B4-BE49-F238E27FC236}">
                  <a16:creationId xmlns:a16="http://schemas.microsoft.com/office/drawing/2014/main" id="{535A975C-ED87-471B-AF46-DCF064A19B72}"/>
                </a:ext>
              </a:extLst>
            </p:cNvPr>
            <p:cNvSpPr>
              <a:spLocks/>
            </p:cNvSpPr>
            <p:nvPr/>
          </p:nvSpPr>
          <p:spPr bwMode="auto">
            <a:xfrm>
              <a:off x="4031" y="1766"/>
              <a:ext cx="7" cy="7"/>
            </a:xfrm>
            <a:custGeom>
              <a:avLst/>
              <a:gdLst>
                <a:gd name="T0" fmla="*/ 1 w 3"/>
                <a:gd name="T1" fmla="*/ 0 h 3"/>
                <a:gd name="T2" fmla="*/ 0 w 3"/>
                <a:gd name="T3" fmla="*/ 0 h 3"/>
                <a:gd name="T4" fmla="*/ 2 w 3"/>
                <a:gd name="T5" fmla="*/ 3 h 3"/>
                <a:gd name="T6" fmla="*/ 1 w 3"/>
                <a:gd name="T7" fmla="*/ 0 h 3"/>
              </a:gdLst>
              <a:ahLst/>
              <a:cxnLst>
                <a:cxn ang="0">
                  <a:pos x="T0" y="T1"/>
                </a:cxn>
                <a:cxn ang="0">
                  <a:pos x="T2" y="T3"/>
                </a:cxn>
                <a:cxn ang="0">
                  <a:pos x="T4" y="T5"/>
                </a:cxn>
                <a:cxn ang="0">
                  <a:pos x="T6" y="T7"/>
                </a:cxn>
              </a:cxnLst>
              <a:rect l="0" t="0" r="r" b="b"/>
              <a:pathLst>
                <a:path w="3" h="3">
                  <a:moveTo>
                    <a:pt x="1" y="0"/>
                  </a:moveTo>
                  <a:cubicBezTo>
                    <a:pt x="1" y="0"/>
                    <a:pt x="0" y="0"/>
                    <a:pt x="0" y="0"/>
                  </a:cubicBezTo>
                  <a:cubicBezTo>
                    <a:pt x="0" y="1"/>
                    <a:pt x="1" y="2"/>
                    <a:pt x="2" y="3"/>
                  </a:cubicBezTo>
                  <a:cubicBezTo>
                    <a:pt x="3"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0" name="Freeform 1448">
              <a:extLst>
                <a:ext uri="{FF2B5EF4-FFF2-40B4-BE49-F238E27FC236}">
                  <a16:creationId xmlns:a16="http://schemas.microsoft.com/office/drawing/2014/main" id="{FF94795E-4046-4241-ABD5-8F5FE8EA0603}"/>
                </a:ext>
              </a:extLst>
            </p:cNvPr>
            <p:cNvSpPr>
              <a:spLocks/>
            </p:cNvSpPr>
            <p:nvPr/>
          </p:nvSpPr>
          <p:spPr bwMode="auto">
            <a:xfrm>
              <a:off x="4298" y="1411"/>
              <a:ext cx="87" cy="102"/>
            </a:xfrm>
            <a:custGeom>
              <a:avLst/>
              <a:gdLst>
                <a:gd name="T0" fmla="*/ 1 w 37"/>
                <a:gd name="T1" fmla="*/ 0 h 43"/>
                <a:gd name="T2" fmla="*/ 1 w 37"/>
                <a:gd name="T3" fmla="*/ 12 h 43"/>
                <a:gd name="T4" fmla="*/ 14 w 37"/>
                <a:gd name="T5" fmla="*/ 32 h 43"/>
                <a:gd name="T6" fmla="*/ 13 w 37"/>
                <a:gd name="T7" fmla="*/ 32 h 43"/>
                <a:gd name="T8" fmla="*/ 15 w 37"/>
                <a:gd name="T9" fmla="*/ 34 h 43"/>
                <a:gd name="T10" fmla="*/ 29 w 37"/>
                <a:gd name="T11" fmla="*/ 43 h 43"/>
                <a:gd name="T12" fmla="*/ 34 w 37"/>
                <a:gd name="T13" fmla="*/ 39 h 43"/>
                <a:gd name="T14" fmla="*/ 36 w 37"/>
                <a:gd name="T15" fmla="*/ 39 h 43"/>
                <a:gd name="T16" fmla="*/ 36 w 37"/>
                <a:gd name="T17" fmla="*/ 39 h 43"/>
                <a:gd name="T18" fmla="*/ 36 w 37"/>
                <a:gd name="T19" fmla="*/ 32 h 43"/>
                <a:gd name="T20" fmla="*/ 30 w 37"/>
                <a:gd name="T21" fmla="*/ 26 h 43"/>
                <a:gd name="T22" fmla="*/ 27 w 37"/>
                <a:gd name="T23" fmla="*/ 22 h 43"/>
                <a:gd name="T24" fmla="*/ 24 w 37"/>
                <a:gd name="T25" fmla="*/ 21 h 43"/>
                <a:gd name="T26" fmla="*/ 21 w 37"/>
                <a:gd name="T27" fmla="*/ 19 h 43"/>
                <a:gd name="T28" fmla="*/ 19 w 37"/>
                <a:gd name="T29" fmla="*/ 16 h 43"/>
                <a:gd name="T30" fmla="*/ 15 w 37"/>
                <a:gd name="T31" fmla="*/ 13 h 43"/>
                <a:gd name="T32" fmla="*/ 14 w 37"/>
                <a:gd name="T33" fmla="*/ 9 h 43"/>
                <a:gd name="T34" fmla="*/ 9 w 37"/>
                <a:gd name="T35" fmla="*/ 4 h 43"/>
                <a:gd name="T36" fmla="*/ 1 w 37"/>
                <a:gd name="T3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3">
                  <a:moveTo>
                    <a:pt x="1" y="0"/>
                  </a:moveTo>
                  <a:cubicBezTo>
                    <a:pt x="0" y="4"/>
                    <a:pt x="0" y="8"/>
                    <a:pt x="1" y="12"/>
                  </a:cubicBezTo>
                  <a:cubicBezTo>
                    <a:pt x="2" y="19"/>
                    <a:pt x="10" y="26"/>
                    <a:pt x="14" y="32"/>
                  </a:cubicBezTo>
                  <a:cubicBezTo>
                    <a:pt x="14" y="32"/>
                    <a:pt x="14" y="32"/>
                    <a:pt x="13" y="32"/>
                  </a:cubicBezTo>
                  <a:cubicBezTo>
                    <a:pt x="13" y="32"/>
                    <a:pt x="14" y="33"/>
                    <a:pt x="15" y="34"/>
                  </a:cubicBezTo>
                  <a:cubicBezTo>
                    <a:pt x="19" y="38"/>
                    <a:pt x="24" y="40"/>
                    <a:pt x="29" y="43"/>
                  </a:cubicBezTo>
                  <a:cubicBezTo>
                    <a:pt x="31" y="40"/>
                    <a:pt x="32" y="40"/>
                    <a:pt x="34" y="39"/>
                  </a:cubicBezTo>
                  <a:cubicBezTo>
                    <a:pt x="34" y="39"/>
                    <a:pt x="35" y="39"/>
                    <a:pt x="36" y="39"/>
                  </a:cubicBezTo>
                  <a:cubicBezTo>
                    <a:pt x="36" y="39"/>
                    <a:pt x="36" y="39"/>
                    <a:pt x="36" y="39"/>
                  </a:cubicBezTo>
                  <a:cubicBezTo>
                    <a:pt x="37" y="38"/>
                    <a:pt x="36" y="33"/>
                    <a:pt x="36" y="32"/>
                  </a:cubicBezTo>
                  <a:cubicBezTo>
                    <a:pt x="35" y="30"/>
                    <a:pt x="32" y="28"/>
                    <a:pt x="30" y="26"/>
                  </a:cubicBezTo>
                  <a:cubicBezTo>
                    <a:pt x="30" y="26"/>
                    <a:pt x="27" y="22"/>
                    <a:pt x="27" y="22"/>
                  </a:cubicBezTo>
                  <a:cubicBezTo>
                    <a:pt x="26" y="21"/>
                    <a:pt x="25" y="21"/>
                    <a:pt x="24" y="21"/>
                  </a:cubicBezTo>
                  <a:cubicBezTo>
                    <a:pt x="23" y="21"/>
                    <a:pt x="22" y="21"/>
                    <a:pt x="21" y="19"/>
                  </a:cubicBezTo>
                  <a:cubicBezTo>
                    <a:pt x="20" y="17"/>
                    <a:pt x="20" y="17"/>
                    <a:pt x="19" y="16"/>
                  </a:cubicBezTo>
                  <a:cubicBezTo>
                    <a:pt x="18" y="15"/>
                    <a:pt x="16" y="14"/>
                    <a:pt x="15" y="13"/>
                  </a:cubicBezTo>
                  <a:cubicBezTo>
                    <a:pt x="14" y="12"/>
                    <a:pt x="15" y="11"/>
                    <a:pt x="14" y="9"/>
                  </a:cubicBezTo>
                  <a:cubicBezTo>
                    <a:pt x="12" y="7"/>
                    <a:pt x="11" y="4"/>
                    <a:pt x="9" y="4"/>
                  </a:cubicBezTo>
                  <a:cubicBezTo>
                    <a:pt x="5" y="2"/>
                    <a:pt x="3"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1" name="Freeform 1449">
              <a:extLst>
                <a:ext uri="{FF2B5EF4-FFF2-40B4-BE49-F238E27FC236}">
                  <a16:creationId xmlns:a16="http://schemas.microsoft.com/office/drawing/2014/main" id="{33BBF429-9EF8-44AC-A8C0-5A536C865431}"/>
                </a:ext>
              </a:extLst>
            </p:cNvPr>
            <p:cNvSpPr>
              <a:spLocks/>
            </p:cNvSpPr>
            <p:nvPr/>
          </p:nvSpPr>
          <p:spPr bwMode="auto">
            <a:xfrm>
              <a:off x="4108" y="1225"/>
              <a:ext cx="5" cy="9"/>
            </a:xfrm>
            <a:custGeom>
              <a:avLst/>
              <a:gdLst>
                <a:gd name="T0" fmla="*/ 0 w 2"/>
                <a:gd name="T1" fmla="*/ 0 h 4"/>
                <a:gd name="T2" fmla="*/ 1 w 2"/>
                <a:gd name="T3" fmla="*/ 4 h 4"/>
                <a:gd name="T4" fmla="*/ 0 w 2"/>
                <a:gd name="T5" fmla="*/ 0 h 4"/>
              </a:gdLst>
              <a:ahLst/>
              <a:cxnLst>
                <a:cxn ang="0">
                  <a:pos x="T0" y="T1"/>
                </a:cxn>
                <a:cxn ang="0">
                  <a:pos x="T2" y="T3"/>
                </a:cxn>
                <a:cxn ang="0">
                  <a:pos x="T4" y="T5"/>
                </a:cxn>
              </a:cxnLst>
              <a:rect l="0" t="0" r="r" b="b"/>
              <a:pathLst>
                <a:path w="2" h="4">
                  <a:moveTo>
                    <a:pt x="0" y="0"/>
                  </a:moveTo>
                  <a:cubicBezTo>
                    <a:pt x="0" y="2"/>
                    <a:pt x="0" y="3"/>
                    <a:pt x="1" y="4"/>
                  </a:cubicBezTo>
                  <a:cubicBezTo>
                    <a:pt x="2"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2" name="Freeform 1450">
              <a:extLst>
                <a:ext uri="{FF2B5EF4-FFF2-40B4-BE49-F238E27FC236}">
                  <a16:creationId xmlns:a16="http://schemas.microsoft.com/office/drawing/2014/main" id="{7E12F9A0-2E3B-431D-8D7F-74DA47C21E66}"/>
                </a:ext>
              </a:extLst>
            </p:cNvPr>
            <p:cNvSpPr>
              <a:spLocks/>
            </p:cNvSpPr>
            <p:nvPr/>
          </p:nvSpPr>
          <p:spPr bwMode="auto">
            <a:xfrm>
              <a:off x="3766" y="1397"/>
              <a:ext cx="21" cy="17"/>
            </a:xfrm>
            <a:custGeom>
              <a:avLst/>
              <a:gdLst>
                <a:gd name="T0" fmla="*/ 5 w 9"/>
                <a:gd name="T1" fmla="*/ 0 h 7"/>
                <a:gd name="T2" fmla="*/ 3 w 9"/>
                <a:gd name="T3" fmla="*/ 1 h 7"/>
                <a:gd name="T4" fmla="*/ 5 w 9"/>
                <a:gd name="T5" fmla="*/ 7 h 7"/>
                <a:gd name="T6" fmla="*/ 7 w 9"/>
                <a:gd name="T7" fmla="*/ 1 h 7"/>
                <a:gd name="T8" fmla="*/ 5 w 9"/>
                <a:gd name="T9" fmla="*/ 0 h 7"/>
              </a:gdLst>
              <a:ahLst/>
              <a:cxnLst>
                <a:cxn ang="0">
                  <a:pos x="T0" y="T1"/>
                </a:cxn>
                <a:cxn ang="0">
                  <a:pos x="T2" y="T3"/>
                </a:cxn>
                <a:cxn ang="0">
                  <a:pos x="T4" y="T5"/>
                </a:cxn>
                <a:cxn ang="0">
                  <a:pos x="T6" y="T7"/>
                </a:cxn>
                <a:cxn ang="0">
                  <a:pos x="T8" y="T9"/>
                </a:cxn>
              </a:cxnLst>
              <a:rect l="0" t="0" r="r" b="b"/>
              <a:pathLst>
                <a:path w="9" h="7">
                  <a:moveTo>
                    <a:pt x="5" y="0"/>
                  </a:moveTo>
                  <a:cubicBezTo>
                    <a:pt x="4" y="0"/>
                    <a:pt x="4" y="0"/>
                    <a:pt x="3" y="1"/>
                  </a:cubicBezTo>
                  <a:cubicBezTo>
                    <a:pt x="0" y="2"/>
                    <a:pt x="5" y="6"/>
                    <a:pt x="5" y="7"/>
                  </a:cubicBezTo>
                  <a:cubicBezTo>
                    <a:pt x="9" y="6"/>
                    <a:pt x="9" y="2"/>
                    <a:pt x="7" y="1"/>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3" name="Freeform 1451">
              <a:extLst>
                <a:ext uri="{FF2B5EF4-FFF2-40B4-BE49-F238E27FC236}">
                  <a16:creationId xmlns:a16="http://schemas.microsoft.com/office/drawing/2014/main" id="{27B42C8F-8B5E-4EAF-9EA3-4BBE50D89DC7}"/>
                </a:ext>
              </a:extLst>
            </p:cNvPr>
            <p:cNvSpPr>
              <a:spLocks/>
            </p:cNvSpPr>
            <p:nvPr/>
          </p:nvSpPr>
          <p:spPr bwMode="auto">
            <a:xfrm>
              <a:off x="3823" y="1196"/>
              <a:ext cx="7" cy="5"/>
            </a:xfrm>
            <a:custGeom>
              <a:avLst/>
              <a:gdLst>
                <a:gd name="T0" fmla="*/ 3 w 3"/>
                <a:gd name="T1" fmla="*/ 0 h 2"/>
                <a:gd name="T2" fmla="*/ 0 w 3"/>
                <a:gd name="T3" fmla="*/ 2 h 2"/>
                <a:gd name="T4" fmla="*/ 3 w 3"/>
                <a:gd name="T5" fmla="*/ 0 h 2"/>
              </a:gdLst>
              <a:ahLst/>
              <a:cxnLst>
                <a:cxn ang="0">
                  <a:pos x="T0" y="T1"/>
                </a:cxn>
                <a:cxn ang="0">
                  <a:pos x="T2" y="T3"/>
                </a:cxn>
                <a:cxn ang="0">
                  <a:pos x="T4" y="T5"/>
                </a:cxn>
              </a:cxnLst>
              <a:rect l="0" t="0" r="r" b="b"/>
              <a:pathLst>
                <a:path w="3" h="2">
                  <a:moveTo>
                    <a:pt x="3" y="0"/>
                  </a:moveTo>
                  <a:cubicBezTo>
                    <a:pt x="2" y="1"/>
                    <a:pt x="1" y="1"/>
                    <a:pt x="0" y="2"/>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4" name="Freeform 1452">
              <a:extLst>
                <a:ext uri="{FF2B5EF4-FFF2-40B4-BE49-F238E27FC236}">
                  <a16:creationId xmlns:a16="http://schemas.microsoft.com/office/drawing/2014/main" id="{EB8DD7AB-D8F6-4B09-9786-B85DB16312A6}"/>
                </a:ext>
              </a:extLst>
            </p:cNvPr>
            <p:cNvSpPr>
              <a:spLocks/>
            </p:cNvSpPr>
            <p:nvPr/>
          </p:nvSpPr>
          <p:spPr bwMode="auto">
            <a:xfrm>
              <a:off x="4146" y="1248"/>
              <a:ext cx="12" cy="12"/>
            </a:xfrm>
            <a:custGeom>
              <a:avLst/>
              <a:gdLst>
                <a:gd name="T0" fmla="*/ 4 w 5"/>
                <a:gd name="T1" fmla="*/ 0 h 5"/>
                <a:gd name="T2" fmla="*/ 4 w 5"/>
                <a:gd name="T3" fmla="*/ 5 h 5"/>
                <a:gd name="T4" fmla="*/ 4 w 5"/>
                <a:gd name="T5" fmla="*/ 0 h 5"/>
              </a:gdLst>
              <a:ahLst/>
              <a:cxnLst>
                <a:cxn ang="0">
                  <a:pos x="T0" y="T1"/>
                </a:cxn>
                <a:cxn ang="0">
                  <a:pos x="T2" y="T3"/>
                </a:cxn>
                <a:cxn ang="0">
                  <a:pos x="T4" y="T5"/>
                </a:cxn>
              </a:cxnLst>
              <a:rect l="0" t="0" r="r" b="b"/>
              <a:pathLst>
                <a:path w="5" h="5">
                  <a:moveTo>
                    <a:pt x="4" y="0"/>
                  </a:moveTo>
                  <a:cubicBezTo>
                    <a:pt x="0" y="0"/>
                    <a:pt x="3" y="4"/>
                    <a:pt x="4" y="5"/>
                  </a:cubicBezTo>
                  <a:cubicBezTo>
                    <a:pt x="5" y="4"/>
                    <a:pt x="5"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5" name="Freeform 1453">
              <a:extLst>
                <a:ext uri="{FF2B5EF4-FFF2-40B4-BE49-F238E27FC236}">
                  <a16:creationId xmlns:a16="http://schemas.microsoft.com/office/drawing/2014/main" id="{DC2FC4CA-67DB-4221-AF89-A316E62D6942}"/>
                </a:ext>
              </a:extLst>
            </p:cNvPr>
            <p:cNvSpPr>
              <a:spLocks/>
            </p:cNvSpPr>
            <p:nvPr/>
          </p:nvSpPr>
          <p:spPr bwMode="auto">
            <a:xfrm>
              <a:off x="3697" y="1350"/>
              <a:ext cx="10" cy="17"/>
            </a:xfrm>
            <a:custGeom>
              <a:avLst/>
              <a:gdLst>
                <a:gd name="T0" fmla="*/ 1 w 4"/>
                <a:gd name="T1" fmla="*/ 0 h 7"/>
                <a:gd name="T2" fmla="*/ 0 w 4"/>
                <a:gd name="T3" fmla="*/ 7 h 7"/>
                <a:gd name="T4" fmla="*/ 1 w 4"/>
                <a:gd name="T5" fmla="*/ 0 h 7"/>
              </a:gdLst>
              <a:ahLst/>
              <a:cxnLst>
                <a:cxn ang="0">
                  <a:pos x="T0" y="T1"/>
                </a:cxn>
                <a:cxn ang="0">
                  <a:pos x="T2" y="T3"/>
                </a:cxn>
                <a:cxn ang="0">
                  <a:pos x="T4" y="T5"/>
                </a:cxn>
              </a:cxnLst>
              <a:rect l="0" t="0" r="r" b="b"/>
              <a:pathLst>
                <a:path w="4" h="7">
                  <a:moveTo>
                    <a:pt x="1" y="0"/>
                  </a:moveTo>
                  <a:cubicBezTo>
                    <a:pt x="0" y="2"/>
                    <a:pt x="0" y="5"/>
                    <a:pt x="0" y="7"/>
                  </a:cubicBezTo>
                  <a:cubicBezTo>
                    <a:pt x="3" y="6"/>
                    <a:pt x="4"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6" name="Freeform 1454">
              <a:extLst>
                <a:ext uri="{FF2B5EF4-FFF2-40B4-BE49-F238E27FC236}">
                  <a16:creationId xmlns:a16="http://schemas.microsoft.com/office/drawing/2014/main" id="{EE010BA3-13BB-4B10-A387-0020012BA8AD}"/>
                </a:ext>
              </a:extLst>
            </p:cNvPr>
            <p:cNvSpPr>
              <a:spLocks/>
            </p:cNvSpPr>
            <p:nvPr/>
          </p:nvSpPr>
          <p:spPr bwMode="auto">
            <a:xfrm>
              <a:off x="3945" y="1133"/>
              <a:ext cx="15" cy="16"/>
            </a:xfrm>
            <a:custGeom>
              <a:avLst/>
              <a:gdLst>
                <a:gd name="T0" fmla="*/ 0 w 6"/>
                <a:gd name="T1" fmla="*/ 0 h 7"/>
                <a:gd name="T2" fmla="*/ 5 w 6"/>
                <a:gd name="T3" fmla="*/ 7 h 7"/>
                <a:gd name="T4" fmla="*/ 0 w 6"/>
                <a:gd name="T5" fmla="*/ 0 h 7"/>
              </a:gdLst>
              <a:ahLst/>
              <a:cxnLst>
                <a:cxn ang="0">
                  <a:pos x="T0" y="T1"/>
                </a:cxn>
                <a:cxn ang="0">
                  <a:pos x="T2" y="T3"/>
                </a:cxn>
                <a:cxn ang="0">
                  <a:pos x="T4" y="T5"/>
                </a:cxn>
              </a:cxnLst>
              <a:rect l="0" t="0" r="r" b="b"/>
              <a:pathLst>
                <a:path w="6" h="7">
                  <a:moveTo>
                    <a:pt x="0" y="0"/>
                  </a:moveTo>
                  <a:cubicBezTo>
                    <a:pt x="1" y="2"/>
                    <a:pt x="3" y="5"/>
                    <a:pt x="5" y="7"/>
                  </a:cubicBezTo>
                  <a:cubicBezTo>
                    <a:pt x="6" y="3"/>
                    <a:pt x="4"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7" name="Freeform 1455">
              <a:extLst>
                <a:ext uri="{FF2B5EF4-FFF2-40B4-BE49-F238E27FC236}">
                  <a16:creationId xmlns:a16="http://schemas.microsoft.com/office/drawing/2014/main" id="{757F18DD-4A42-4B12-89BF-23CC8395CDA2}"/>
                </a:ext>
              </a:extLst>
            </p:cNvPr>
            <p:cNvSpPr>
              <a:spLocks/>
            </p:cNvSpPr>
            <p:nvPr/>
          </p:nvSpPr>
          <p:spPr bwMode="auto">
            <a:xfrm>
              <a:off x="3518" y="1615"/>
              <a:ext cx="19" cy="9"/>
            </a:xfrm>
            <a:custGeom>
              <a:avLst/>
              <a:gdLst>
                <a:gd name="T0" fmla="*/ 4 w 8"/>
                <a:gd name="T1" fmla="*/ 0 h 4"/>
                <a:gd name="T2" fmla="*/ 0 w 8"/>
                <a:gd name="T3" fmla="*/ 0 h 4"/>
                <a:gd name="T4" fmla="*/ 7 w 8"/>
                <a:gd name="T5" fmla="*/ 4 h 4"/>
                <a:gd name="T6" fmla="*/ 4 w 8"/>
                <a:gd name="T7" fmla="*/ 0 h 4"/>
              </a:gdLst>
              <a:ahLst/>
              <a:cxnLst>
                <a:cxn ang="0">
                  <a:pos x="T0" y="T1"/>
                </a:cxn>
                <a:cxn ang="0">
                  <a:pos x="T2" y="T3"/>
                </a:cxn>
                <a:cxn ang="0">
                  <a:pos x="T4" y="T5"/>
                </a:cxn>
                <a:cxn ang="0">
                  <a:pos x="T6" y="T7"/>
                </a:cxn>
              </a:cxnLst>
              <a:rect l="0" t="0" r="r" b="b"/>
              <a:pathLst>
                <a:path w="8" h="4">
                  <a:moveTo>
                    <a:pt x="4" y="0"/>
                  </a:moveTo>
                  <a:cubicBezTo>
                    <a:pt x="2" y="0"/>
                    <a:pt x="1" y="0"/>
                    <a:pt x="0" y="0"/>
                  </a:cubicBezTo>
                  <a:cubicBezTo>
                    <a:pt x="2" y="2"/>
                    <a:pt x="5" y="3"/>
                    <a:pt x="7" y="4"/>
                  </a:cubicBezTo>
                  <a:cubicBezTo>
                    <a:pt x="8"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8" name="Freeform 1456">
              <a:extLst>
                <a:ext uri="{FF2B5EF4-FFF2-40B4-BE49-F238E27FC236}">
                  <a16:creationId xmlns:a16="http://schemas.microsoft.com/office/drawing/2014/main" id="{D21633A3-D100-411F-A70A-46B2E72A6108}"/>
                </a:ext>
              </a:extLst>
            </p:cNvPr>
            <p:cNvSpPr>
              <a:spLocks/>
            </p:cNvSpPr>
            <p:nvPr/>
          </p:nvSpPr>
          <p:spPr bwMode="auto">
            <a:xfrm>
              <a:off x="3825" y="1416"/>
              <a:ext cx="26" cy="26"/>
            </a:xfrm>
            <a:custGeom>
              <a:avLst/>
              <a:gdLst>
                <a:gd name="T0" fmla="*/ 0 w 11"/>
                <a:gd name="T1" fmla="*/ 0 h 11"/>
                <a:gd name="T2" fmla="*/ 0 w 11"/>
                <a:gd name="T3" fmla="*/ 0 h 11"/>
                <a:gd name="T4" fmla="*/ 5 w 11"/>
                <a:gd name="T5" fmla="*/ 11 h 11"/>
                <a:gd name="T6" fmla="*/ 0 w 11"/>
                <a:gd name="T7" fmla="*/ 0 h 11"/>
              </a:gdLst>
              <a:ahLst/>
              <a:cxnLst>
                <a:cxn ang="0">
                  <a:pos x="T0" y="T1"/>
                </a:cxn>
                <a:cxn ang="0">
                  <a:pos x="T2" y="T3"/>
                </a:cxn>
                <a:cxn ang="0">
                  <a:pos x="T4" y="T5"/>
                </a:cxn>
                <a:cxn ang="0">
                  <a:pos x="T6" y="T7"/>
                </a:cxn>
              </a:cxnLst>
              <a:rect l="0" t="0" r="r" b="b"/>
              <a:pathLst>
                <a:path w="11" h="11">
                  <a:moveTo>
                    <a:pt x="0" y="0"/>
                  </a:moveTo>
                  <a:cubicBezTo>
                    <a:pt x="0" y="0"/>
                    <a:pt x="0" y="0"/>
                    <a:pt x="0" y="0"/>
                  </a:cubicBezTo>
                  <a:cubicBezTo>
                    <a:pt x="1" y="4"/>
                    <a:pt x="3" y="7"/>
                    <a:pt x="5" y="11"/>
                  </a:cubicBezTo>
                  <a:cubicBezTo>
                    <a:pt x="11" y="6"/>
                    <a:pt x="5"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9" name="Freeform 1457">
              <a:extLst>
                <a:ext uri="{FF2B5EF4-FFF2-40B4-BE49-F238E27FC236}">
                  <a16:creationId xmlns:a16="http://schemas.microsoft.com/office/drawing/2014/main" id="{DB363798-1634-4AD1-9698-3A9F94CCBF99}"/>
                </a:ext>
              </a:extLst>
            </p:cNvPr>
            <p:cNvSpPr>
              <a:spLocks/>
            </p:cNvSpPr>
            <p:nvPr/>
          </p:nvSpPr>
          <p:spPr bwMode="auto">
            <a:xfrm>
              <a:off x="3938" y="1359"/>
              <a:ext cx="7" cy="5"/>
            </a:xfrm>
            <a:custGeom>
              <a:avLst/>
              <a:gdLst>
                <a:gd name="T0" fmla="*/ 0 w 3"/>
                <a:gd name="T1" fmla="*/ 0 h 2"/>
                <a:gd name="T2" fmla="*/ 3 w 3"/>
                <a:gd name="T3" fmla="*/ 2 h 2"/>
                <a:gd name="T4" fmla="*/ 0 w 3"/>
                <a:gd name="T5" fmla="*/ 0 h 2"/>
              </a:gdLst>
              <a:ahLst/>
              <a:cxnLst>
                <a:cxn ang="0">
                  <a:pos x="T0" y="T1"/>
                </a:cxn>
                <a:cxn ang="0">
                  <a:pos x="T2" y="T3"/>
                </a:cxn>
                <a:cxn ang="0">
                  <a:pos x="T4" y="T5"/>
                </a:cxn>
              </a:cxnLst>
              <a:rect l="0" t="0" r="r" b="b"/>
              <a:pathLst>
                <a:path w="3" h="2">
                  <a:moveTo>
                    <a:pt x="0" y="0"/>
                  </a:moveTo>
                  <a:cubicBezTo>
                    <a:pt x="1" y="1"/>
                    <a:pt x="2" y="1"/>
                    <a:pt x="3"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0" name="Freeform 1458">
              <a:extLst>
                <a:ext uri="{FF2B5EF4-FFF2-40B4-BE49-F238E27FC236}">
                  <a16:creationId xmlns:a16="http://schemas.microsoft.com/office/drawing/2014/main" id="{6F781A25-F52A-4D2A-A4B1-632C005063C0}"/>
                </a:ext>
              </a:extLst>
            </p:cNvPr>
            <p:cNvSpPr>
              <a:spLocks/>
            </p:cNvSpPr>
            <p:nvPr/>
          </p:nvSpPr>
          <p:spPr bwMode="auto">
            <a:xfrm>
              <a:off x="4146" y="1657"/>
              <a:ext cx="38" cy="17"/>
            </a:xfrm>
            <a:custGeom>
              <a:avLst/>
              <a:gdLst>
                <a:gd name="T0" fmla="*/ 5 w 16"/>
                <a:gd name="T1" fmla="*/ 0 h 7"/>
                <a:gd name="T2" fmla="*/ 0 w 16"/>
                <a:gd name="T3" fmla="*/ 1 h 7"/>
                <a:gd name="T4" fmla="*/ 10 w 16"/>
                <a:gd name="T5" fmla="*/ 7 h 7"/>
                <a:gd name="T6" fmla="*/ 12 w 16"/>
                <a:gd name="T7" fmla="*/ 7 h 7"/>
                <a:gd name="T8" fmla="*/ 14 w 16"/>
                <a:gd name="T9" fmla="*/ 7 h 7"/>
                <a:gd name="T10" fmla="*/ 14 w 16"/>
                <a:gd name="T11" fmla="*/ 5 h 7"/>
                <a:gd name="T12" fmla="*/ 15 w 16"/>
                <a:gd name="T13" fmla="*/ 5 h 7"/>
                <a:gd name="T14" fmla="*/ 13 w 16"/>
                <a:gd name="T15" fmla="*/ 2 h 7"/>
                <a:gd name="T16" fmla="*/ 13 w 16"/>
                <a:gd name="T17" fmla="*/ 2 h 7"/>
                <a:gd name="T18" fmla="*/ 11 w 16"/>
                <a:gd name="T19" fmla="*/ 1 h 7"/>
                <a:gd name="T20" fmla="*/ 10 w 16"/>
                <a:gd name="T21" fmla="*/ 0 h 7"/>
                <a:gd name="T22" fmla="*/ 10 w 16"/>
                <a:gd name="T23" fmla="*/ 0 h 7"/>
                <a:gd name="T24" fmla="*/ 5 w 16"/>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7">
                  <a:moveTo>
                    <a:pt x="5" y="0"/>
                  </a:moveTo>
                  <a:cubicBezTo>
                    <a:pt x="3" y="0"/>
                    <a:pt x="2" y="0"/>
                    <a:pt x="0" y="1"/>
                  </a:cubicBezTo>
                  <a:cubicBezTo>
                    <a:pt x="3" y="4"/>
                    <a:pt x="7" y="5"/>
                    <a:pt x="10" y="7"/>
                  </a:cubicBezTo>
                  <a:cubicBezTo>
                    <a:pt x="11" y="7"/>
                    <a:pt x="12" y="7"/>
                    <a:pt x="12" y="7"/>
                  </a:cubicBezTo>
                  <a:cubicBezTo>
                    <a:pt x="13" y="7"/>
                    <a:pt x="13" y="7"/>
                    <a:pt x="14" y="7"/>
                  </a:cubicBezTo>
                  <a:cubicBezTo>
                    <a:pt x="14" y="7"/>
                    <a:pt x="14" y="6"/>
                    <a:pt x="14" y="5"/>
                  </a:cubicBezTo>
                  <a:cubicBezTo>
                    <a:pt x="14" y="5"/>
                    <a:pt x="14" y="5"/>
                    <a:pt x="15" y="5"/>
                  </a:cubicBezTo>
                  <a:cubicBezTo>
                    <a:pt x="16" y="5"/>
                    <a:pt x="14" y="3"/>
                    <a:pt x="13" y="2"/>
                  </a:cubicBezTo>
                  <a:cubicBezTo>
                    <a:pt x="13" y="2"/>
                    <a:pt x="13" y="2"/>
                    <a:pt x="13" y="2"/>
                  </a:cubicBezTo>
                  <a:cubicBezTo>
                    <a:pt x="13" y="2"/>
                    <a:pt x="12" y="1"/>
                    <a:pt x="11" y="1"/>
                  </a:cubicBezTo>
                  <a:cubicBezTo>
                    <a:pt x="10" y="1"/>
                    <a:pt x="10" y="0"/>
                    <a:pt x="10" y="0"/>
                  </a:cubicBezTo>
                  <a:cubicBezTo>
                    <a:pt x="10" y="0"/>
                    <a:pt x="10" y="0"/>
                    <a:pt x="10" y="0"/>
                  </a:cubicBezTo>
                  <a:cubicBezTo>
                    <a:pt x="9" y="0"/>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1" name="Freeform 1459">
              <a:extLst>
                <a:ext uri="{FF2B5EF4-FFF2-40B4-BE49-F238E27FC236}">
                  <a16:creationId xmlns:a16="http://schemas.microsoft.com/office/drawing/2014/main" id="{519006D4-D900-488B-B64D-A908BC289AA8}"/>
                </a:ext>
              </a:extLst>
            </p:cNvPr>
            <p:cNvSpPr>
              <a:spLocks/>
            </p:cNvSpPr>
            <p:nvPr/>
          </p:nvSpPr>
          <p:spPr bwMode="auto">
            <a:xfrm>
              <a:off x="3730" y="1173"/>
              <a:ext cx="67" cy="21"/>
            </a:xfrm>
            <a:custGeom>
              <a:avLst/>
              <a:gdLst>
                <a:gd name="T0" fmla="*/ 17 w 28"/>
                <a:gd name="T1" fmla="*/ 0 h 9"/>
                <a:gd name="T2" fmla="*/ 10 w 28"/>
                <a:gd name="T3" fmla="*/ 1 h 9"/>
                <a:gd name="T4" fmla="*/ 10 w 28"/>
                <a:gd name="T5" fmla="*/ 1 h 9"/>
                <a:gd name="T6" fmla="*/ 9 w 28"/>
                <a:gd name="T7" fmla="*/ 1 h 9"/>
                <a:gd name="T8" fmla="*/ 7 w 28"/>
                <a:gd name="T9" fmla="*/ 1 h 9"/>
                <a:gd name="T10" fmla="*/ 4 w 28"/>
                <a:gd name="T11" fmla="*/ 2 h 9"/>
                <a:gd name="T12" fmla="*/ 6 w 28"/>
                <a:gd name="T13" fmla="*/ 5 h 9"/>
                <a:gd name="T14" fmla="*/ 4 w 28"/>
                <a:gd name="T15" fmla="*/ 9 h 9"/>
                <a:gd name="T16" fmla="*/ 11 w 28"/>
                <a:gd name="T17" fmla="*/ 6 h 9"/>
                <a:gd name="T18" fmla="*/ 18 w 28"/>
                <a:gd name="T19" fmla="*/ 6 h 9"/>
                <a:gd name="T20" fmla="*/ 21 w 28"/>
                <a:gd name="T21" fmla="*/ 7 h 9"/>
                <a:gd name="T22" fmla="*/ 28 w 28"/>
                <a:gd name="T23" fmla="*/ 3 h 9"/>
                <a:gd name="T24" fmla="*/ 22 w 28"/>
                <a:gd name="T25" fmla="*/ 2 h 9"/>
                <a:gd name="T26" fmla="*/ 21 w 28"/>
                <a:gd name="T27" fmla="*/ 2 h 9"/>
                <a:gd name="T28" fmla="*/ 17 w 28"/>
                <a:gd name="T2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9">
                  <a:moveTo>
                    <a:pt x="17" y="0"/>
                  </a:moveTo>
                  <a:cubicBezTo>
                    <a:pt x="14" y="0"/>
                    <a:pt x="12" y="1"/>
                    <a:pt x="10" y="1"/>
                  </a:cubicBezTo>
                  <a:cubicBezTo>
                    <a:pt x="10" y="1"/>
                    <a:pt x="10" y="1"/>
                    <a:pt x="10" y="1"/>
                  </a:cubicBezTo>
                  <a:cubicBezTo>
                    <a:pt x="10" y="1"/>
                    <a:pt x="9" y="1"/>
                    <a:pt x="9" y="1"/>
                  </a:cubicBezTo>
                  <a:cubicBezTo>
                    <a:pt x="8" y="1"/>
                    <a:pt x="8" y="1"/>
                    <a:pt x="7" y="1"/>
                  </a:cubicBezTo>
                  <a:cubicBezTo>
                    <a:pt x="6" y="1"/>
                    <a:pt x="5" y="1"/>
                    <a:pt x="4" y="2"/>
                  </a:cubicBezTo>
                  <a:cubicBezTo>
                    <a:pt x="4" y="3"/>
                    <a:pt x="6" y="4"/>
                    <a:pt x="6" y="5"/>
                  </a:cubicBezTo>
                  <a:cubicBezTo>
                    <a:pt x="5" y="6"/>
                    <a:pt x="0" y="5"/>
                    <a:pt x="4" y="9"/>
                  </a:cubicBezTo>
                  <a:cubicBezTo>
                    <a:pt x="7" y="6"/>
                    <a:pt x="9" y="6"/>
                    <a:pt x="11" y="6"/>
                  </a:cubicBezTo>
                  <a:cubicBezTo>
                    <a:pt x="13" y="6"/>
                    <a:pt x="15" y="6"/>
                    <a:pt x="18" y="6"/>
                  </a:cubicBezTo>
                  <a:cubicBezTo>
                    <a:pt x="19" y="7"/>
                    <a:pt x="20" y="7"/>
                    <a:pt x="21" y="7"/>
                  </a:cubicBezTo>
                  <a:cubicBezTo>
                    <a:pt x="24" y="7"/>
                    <a:pt x="25" y="6"/>
                    <a:pt x="28" y="3"/>
                  </a:cubicBezTo>
                  <a:cubicBezTo>
                    <a:pt x="27" y="3"/>
                    <a:pt x="24" y="2"/>
                    <a:pt x="22" y="2"/>
                  </a:cubicBezTo>
                  <a:cubicBezTo>
                    <a:pt x="22" y="2"/>
                    <a:pt x="21" y="2"/>
                    <a:pt x="21" y="2"/>
                  </a:cubicBezTo>
                  <a:cubicBezTo>
                    <a:pt x="20" y="1"/>
                    <a:pt x="18"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2" name="Freeform 1460">
              <a:extLst>
                <a:ext uri="{FF2B5EF4-FFF2-40B4-BE49-F238E27FC236}">
                  <a16:creationId xmlns:a16="http://schemas.microsoft.com/office/drawing/2014/main" id="{C7CFCE00-E77F-4295-925A-4A0C7D217313}"/>
                </a:ext>
              </a:extLst>
            </p:cNvPr>
            <p:cNvSpPr>
              <a:spLocks/>
            </p:cNvSpPr>
            <p:nvPr/>
          </p:nvSpPr>
          <p:spPr bwMode="auto">
            <a:xfrm>
              <a:off x="3971" y="1203"/>
              <a:ext cx="38" cy="22"/>
            </a:xfrm>
            <a:custGeom>
              <a:avLst/>
              <a:gdLst>
                <a:gd name="T0" fmla="*/ 7 w 16"/>
                <a:gd name="T1" fmla="*/ 0 h 9"/>
                <a:gd name="T2" fmla="*/ 4 w 16"/>
                <a:gd name="T3" fmla="*/ 1 h 9"/>
                <a:gd name="T4" fmla="*/ 1 w 16"/>
                <a:gd name="T5" fmla="*/ 2 h 9"/>
                <a:gd name="T6" fmla="*/ 0 w 16"/>
                <a:gd name="T7" fmla="*/ 2 h 9"/>
                <a:gd name="T8" fmla="*/ 12 w 16"/>
                <a:gd name="T9" fmla="*/ 9 h 9"/>
                <a:gd name="T10" fmla="*/ 15 w 16"/>
                <a:gd name="T11" fmla="*/ 3 h 9"/>
                <a:gd name="T12" fmla="*/ 9 w 16"/>
                <a:gd name="T13" fmla="*/ 0 h 9"/>
                <a:gd name="T14" fmla="*/ 7 w 16"/>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9">
                  <a:moveTo>
                    <a:pt x="7" y="0"/>
                  </a:moveTo>
                  <a:cubicBezTo>
                    <a:pt x="6" y="0"/>
                    <a:pt x="5" y="0"/>
                    <a:pt x="4" y="1"/>
                  </a:cubicBezTo>
                  <a:cubicBezTo>
                    <a:pt x="3" y="1"/>
                    <a:pt x="2" y="2"/>
                    <a:pt x="1" y="2"/>
                  </a:cubicBezTo>
                  <a:cubicBezTo>
                    <a:pt x="1" y="2"/>
                    <a:pt x="0" y="2"/>
                    <a:pt x="0" y="2"/>
                  </a:cubicBezTo>
                  <a:cubicBezTo>
                    <a:pt x="4" y="5"/>
                    <a:pt x="8" y="7"/>
                    <a:pt x="12" y="9"/>
                  </a:cubicBezTo>
                  <a:cubicBezTo>
                    <a:pt x="15" y="8"/>
                    <a:pt x="16" y="5"/>
                    <a:pt x="15" y="3"/>
                  </a:cubicBezTo>
                  <a:cubicBezTo>
                    <a:pt x="14" y="2"/>
                    <a:pt x="11" y="1"/>
                    <a:pt x="9"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3" name="Freeform 1461">
              <a:extLst>
                <a:ext uri="{FF2B5EF4-FFF2-40B4-BE49-F238E27FC236}">
                  <a16:creationId xmlns:a16="http://schemas.microsoft.com/office/drawing/2014/main" id="{E5470A36-9BE6-4D6D-A3B9-8B0E7E63903C}"/>
                </a:ext>
              </a:extLst>
            </p:cNvPr>
            <p:cNvSpPr>
              <a:spLocks/>
            </p:cNvSpPr>
            <p:nvPr/>
          </p:nvSpPr>
          <p:spPr bwMode="auto">
            <a:xfrm>
              <a:off x="4040" y="1244"/>
              <a:ext cx="2"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4" name="Freeform 1462">
              <a:extLst>
                <a:ext uri="{FF2B5EF4-FFF2-40B4-BE49-F238E27FC236}">
                  <a16:creationId xmlns:a16="http://schemas.microsoft.com/office/drawing/2014/main" id="{5D3ED077-9A11-471A-8A1D-5BF7A2490D0B}"/>
                </a:ext>
              </a:extLst>
            </p:cNvPr>
            <p:cNvSpPr>
              <a:spLocks/>
            </p:cNvSpPr>
            <p:nvPr/>
          </p:nvSpPr>
          <p:spPr bwMode="auto">
            <a:xfrm>
              <a:off x="4028" y="1244"/>
              <a:ext cx="10" cy="0"/>
            </a:xfrm>
            <a:custGeom>
              <a:avLst/>
              <a:gdLst>
                <a:gd name="T0" fmla="*/ 3 w 4"/>
                <a:gd name="T1" fmla="*/ 0 w 4"/>
                <a:gd name="T2" fmla="*/ 4 w 4"/>
                <a:gd name="T3" fmla="*/ 3 w 4"/>
              </a:gdLst>
              <a:ahLst/>
              <a:cxnLst>
                <a:cxn ang="0">
                  <a:pos x="T0" y="0"/>
                </a:cxn>
                <a:cxn ang="0">
                  <a:pos x="T1" y="0"/>
                </a:cxn>
                <a:cxn ang="0">
                  <a:pos x="T2" y="0"/>
                </a:cxn>
                <a:cxn ang="0">
                  <a:pos x="T3" y="0"/>
                </a:cxn>
              </a:cxnLst>
              <a:rect l="0" t="0" r="r" b="b"/>
              <a:pathLst>
                <a:path w="4">
                  <a:moveTo>
                    <a:pt x="3" y="0"/>
                  </a:moveTo>
                  <a:cubicBezTo>
                    <a:pt x="2" y="0"/>
                    <a:pt x="1" y="0"/>
                    <a:pt x="0" y="0"/>
                  </a:cubicBezTo>
                  <a:cubicBezTo>
                    <a:pt x="1" y="0"/>
                    <a:pt x="3" y="0"/>
                    <a:pt x="4"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5" name="Freeform 1463">
              <a:extLst>
                <a:ext uri="{FF2B5EF4-FFF2-40B4-BE49-F238E27FC236}">
                  <a16:creationId xmlns:a16="http://schemas.microsoft.com/office/drawing/2014/main" id="{23134A22-BEF4-4002-8B20-004793F8FC12}"/>
                </a:ext>
              </a:extLst>
            </p:cNvPr>
            <p:cNvSpPr>
              <a:spLocks/>
            </p:cNvSpPr>
            <p:nvPr/>
          </p:nvSpPr>
          <p:spPr bwMode="auto">
            <a:xfrm>
              <a:off x="4042" y="1244"/>
              <a:ext cx="3"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0" y="0"/>
                    <a:pt x="1" y="0"/>
                    <a:pt x="1" y="0"/>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6" name="Freeform 1464">
              <a:extLst>
                <a:ext uri="{FF2B5EF4-FFF2-40B4-BE49-F238E27FC236}">
                  <a16:creationId xmlns:a16="http://schemas.microsoft.com/office/drawing/2014/main" id="{0D6FA71A-9D1F-40AE-BDE4-0E251049B7DA}"/>
                </a:ext>
              </a:extLst>
            </p:cNvPr>
            <p:cNvSpPr>
              <a:spLocks/>
            </p:cNvSpPr>
            <p:nvPr/>
          </p:nvSpPr>
          <p:spPr bwMode="auto">
            <a:xfrm>
              <a:off x="4028" y="1707"/>
              <a:ext cx="38" cy="35"/>
            </a:xfrm>
            <a:custGeom>
              <a:avLst/>
              <a:gdLst>
                <a:gd name="T0" fmla="*/ 0 w 16"/>
                <a:gd name="T1" fmla="*/ 0 h 15"/>
                <a:gd name="T2" fmla="*/ 5 w 16"/>
                <a:gd name="T3" fmla="*/ 11 h 15"/>
                <a:gd name="T4" fmla="*/ 13 w 16"/>
                <a:gd name="T5" fmla="*/ 15 h 15"/>
                <a:gd name="T6" fmla="*/ 15 w 16"/>
                <a:gd name="T7" fmla="*/ 7 h 15"/>
                <a:gd name="T8" fmla="*/ 14 w 16"/>
                <a:gd name="T9" fmla="*/ 6 h 15"/>
                <a:gd name="T10" fmla="*/ 11 w 16"/>
                <a:gd name="T11" fmla="*/ 8 h 15"/>
                <a:gd name="T12" fmla="*/ 10 w 16"/>
                <a:gd name="T13" fmla="*/ 10 h 15"/>
                <a:gd name="T14" fmla="*/ 10 w 16"/>
                <a:gd name="T15" fmla="*/ 10 h 15"/>
                <a:gd name="T16" fmla="*/ 8 w 16"/>
                <a:gd name="T17" fmla="*/ 8 h 15"/>
                <a:gd name="T18" fmla="*/ 6 w 16"/>
                <a:gd name="T19" fmla="*/ 6 h 15"/>
                <a:gd name="T20" fmla="*/ 4 w 16"/>
                <a:gd name="T21" fmla="*/ 4 h 15"/>
                <a:gd name="T22" fmla="*/ 0 w 16"/>
                <a:gd name="T2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5">
                  <a:moveTo>
                    <a:pt x="0" y="0"/>
                  </a:moveTo>
                  <a:cubicBezTo>
                    <a:pt x="1" y="4"/>
                    <a:pt x="3" y="8"/>
                    <a:pt x="5" y="11"/>
                  </a:cubicBezTo>
                  <a:cubicBezTo>
                    <a:pt x="7" y="13"/>
                    <a:pt x="10" y="14"/>
                    <a:pt x="13" y="15"/>
                  </a:cubicBezTo>
                  <a:cubicBezTo>
                    <a:pt x="13" y="14"/>
                    <a:pt x="16" y="8"/>
                    <a:pt x="15" y="7"/>
                  </a:cubicBezTo>
                  <a:cubicBezTo>
                    <a:pt x="15" y="7"/>
                    <a:pt x="14" y="6"/>
                    <a:pt x="14" y="6"/>
                  </a:cubicBezTo>
                  <a:cubicBezTo>
                    <a:pt x="13" y="6"/>
                    <a:pt x="12" y="7"/>
                    <a:pt x="11" y="8"/>
                  </a:cubicBezTo>
                  <a:cubicBezTo>
                    <a:pt x="11" y="9"/>
                    <a:pt x="10" y="10"/>
                    <a:pt x="10" y="10"/>
                  </a:cubicBezTo>
                  <a:cubicBezTo>
                    <a:pt x="10" y="10"/>
                    <a:pt x="10" y="10"/>
                    <a:pt x="10" y="10"/>
                  </a:cubicBezTo>
                  <a:cubicBezTo>
                    <a:pt x="8" y="10"/>
                    <a:pt x="8" y="9"/>
                    <a:pt x="8" y="8"/>
                  </a:cubicBezTo>
                  <a:cubicBezTo>
                    <a:pt x="6" y="6"/>
                    <a:pt x="6" y="6"/>
                    <a:pt x="6" y="6"/>
                  </a:cubicBezTo>
                  <a:cubicBezTo>
                    <a:pt x="6" y="5"/>
                    <a:pt x="5" y="5"/>
                    <a:pt x="4" y="4"/>
                  </a:cubicBezTo>
                  <a:cubicBezTo>
                    <a:pt x="3"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7" name="Freeform 1465">
              <a:extLst>
                <a:ext uri="{FF2B5EF4-FFF2-40B4-BE49-F238E27FC236}">
                  <a16:creationId xmlns:a16="http://schemas.microsoft.com/office/drawing/2014/main" id="{15703683-105B-4787-94A4-9B5E0AC4FD93}"/>
                </a:ext>
              </a:extLst>
            </p:cNvPr>
            <p:cNvSpPr>
              <a:spLocks/>
            </p:cNvSpPr>
            <p:nvPr/>
          </p:nvSpPr>
          <p:spPr bwMode="auto">
            <a:xfrm>
              <a:off x="4040" y="1771"/>
              <a:ext cx="9" cy="4"/>
            </a:xfrm>
            <a:custGeom>
              <a:avLst/>
              <a:gdLst>
                <a:gd name="T0" fmla="*/ 4 w 4"/>
                <a:gd name="T1" fmla="*/ 0 h 2"/>
                <a:gd name="T2" fmla="*/ 0 w 4"/>
                <a:gd name="T3" fmla="*/ 2 h 2"/>
                <a:gd name="T4" fmla="*/ 0 w 4"/>
                <a:gd name="T5" fmla="*/ 2 h 2"/>
                <a:gd name="T6" fmla="*/ 4 w 4"/>
                <a:gd name="T7" fmla="*/ 0 h 2"/>
              </a:gdLst>
              <a:ahLst/>
              <a:cxnLst>
                <a:cxn ang="0">
                  <a:pos x="T0" y="T1"/>
                </a:cxn>
                <a:cxn ang="0">
                  <a:pos x="T2" y="T3"/>
                </a:cxn>
                <a:cxn ang="0">
                  <a:pos x="T4" y="T5"/>
                </a:cxn>
                <a:cxn ang="0">
                  <a:pos x="T6" y="T7"/>
                </a:cxn>
              </a:cxnLst>
              <a:rect l="0" t="0" r="r" b="b"/>
              <a:pathLst>
                <a:path w="4" h="2">
                  <a:moveTo>
                    <a:pt x="4" y="0"/>
                  </a:moveTo>
                  <a:cubicBezTo>
                    <a:pt x="2" y="0"/>
                    <a:pt x="1" y="1"/>
                    <a:pt x="0" y="2"/>
                  </a:cubicBezTo>
                  <a:cubicBezTo>
                    <a:pt x="0" y="2"/>
                    <a:pt x="0" y="2"/>
                    <a:pt x="0" y="2"/>
                  </a:cubicBezTo>
                  <a:cubicBezTo>
                    <a:pt x="2" y="2"/>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8" name="Freeform 1466">
              <a:extLst>
                <a:ext uri="{FF2B5EF4-FFF2-40B4-BE49-F238E27FC236}">
                  <a16:creationId xmlns:a16="http://schemas.microsoft.com/office/drawing/2014/main" id="{FBD2B013-F2BA-49C0-896E-CBF7BA0A1F65}"/>
                </a:ext>
              </a:extLst>
            </p:cNvPr>
            <p:cNvSpPr>
              <a:spLocks/>
            </p:cNvSpPr>
            <p:nvPr/>
          </p:nvSpPr>
          <p:spPr bwMode="auto">
            <a:xfrm>
              <a:off x="810" y="322"/>
              <a:ext cx="16" cy="26"/>
            </a:xfrm>
            <a:custGeom>
              <a:avLst/>
              <a:gdLst>
                <a:gd name="T0" fmla="*/ 5 w 7"/>
                <a:gd name="T1" fmla="*/ 0 h 11"/>
                <a:gd name="T2" fmla="*/ 3 w 7"/>
                <a:gd name="T3" fmla="*/ 1 h 11"/>
                <a:gd name="T4" fmla="*/ 0 w 7"/>
                <a:gd name="T5" fmla="*/ 1 h 11"/>
                <a:gd name="T6" fmla="*/ 0 w 7"/>
                <a:gd name="T7" fmla="*/ 1 h 11"/>
                <a:gd name="T8" fmla="*/ 4 w 7"/>
                <a:gd name="T9" fmla="*/ 11 h 11"/>
                <a:gd name="T10" fmla="*/ 7 w 7"/>
                <a:gd name="T11" fmla="*/ 2 h 11"/>
                <a:gd name="T12" fmla="*/ 5 w 7"/>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7" h="11">
                  <a:moveTo>
                    <a:pt x="5" y="0"/>
                  </a:moveTo>
                  <a:cubicBezTo>
                    <a:pt x="4" y="0"/>
                    <a:pt x="3" y="0"/>
                    <a:pt x="3" y="1"/>
                  </a:cubicBezTo>
                  <a:cubicBezTo>
                    <a:pt x="2" y="1"/>
                    <a:pt x="1" y="1"/>
                    <a:pt x="0" y="1"/>
                  </a:cubicBezTo>
                  <a:cubicBezTo>
                    <a:pt x="0" y="1"/>
                    <a:pt x="0" y="1"/>
                    <a:pt x="0" y="1"/>
                  </a:cubicBezTo>
                  <a:cubicBezTo>
                    <a:pt x="1" y="5"/>
                    <a:pt x="3" y="8"/>
                    <a:pt x="4" y="11"/>
                  </a:cubicBezTo>
                  <a:cubicBezTo>
                    <a:pt x="5" y="9"/>
                    <a:pt x="7" y="5"/>
                    <a:pt x="7" y="2"/>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9" name="Freeform 1467">
              <a:extLst>
                <a:ext uri="{FF2B5EF4-FFF2-40B4-BE49-F238E27FC236}">
                  <a16:creationId xmlns:a16="http://schemas.microsoft.com/office/drawing/2014/main" id="{9DFE9A5B-BECE-4FC2-AC10-2C2AB2757F43}"/>
                </a:ext>
              </a:extLst>
            </p:cNvPr>
            <p:cNvSpPr>
              <a:spLocks noEditPoints="1"/>
            </p:cNvSpPr>
            <p:nvPr/>
          </p:nvSpPr>
          <p:spPr bwMode="auto">
            <a:xfrm>
              <a:off x="911" y="315"/>
              <a:ext cx="104" cy="66"/>
            </a:xfrm>
            <a:custGeom>
              <a:avLst/>
              <a:gdLst>
                <a:gd name="T0" fmla="*/ 0 w 44"/>
                <a:gd name="T1" fmla="*/ 0 h 28"/>
                <a:gd name="T2" fmla="*/ 4 w 44"/>
                <a:gd name="T3" fmla="*/ 6 h 28"/>
                <a:gd name="T4" fmla="*/ 9 w 44"/>
                <a:gd name="T5" fmla="*/ 10 h 28"/>
                <a:gd name="T6" fmla="*/ 9 w 44"/>
                <a:gd name="T7" fmla="*/ 10 h 28"/>
                <a:gd name="T8" fmla="*/ 14 w 44"/>
                <a:gd name="T9" fmla="*/ 14 h 28"/>
                <a:gd name="T10" fmla="*/ 14 w 44"/>
                <a:gd name="T11" fmla="*/ 14 h 28"/>
                <a:gd name="T12" fmla="*/ 25 w 44"/>
                <a:gd name="T13" fmla="*/ 22 h 28"/>
                <a:gd name="T14" fmla="*/ 34 w 44"/>
                <a:gd name="T15" fmla="*/ 28 h 28"/>
                <a:gd name="T16" fmla="*/ 35 w 44"/>
                <a:gd name="T17" fmla="*/ 27 h 28"/>
                <a:gd name="T18" fmla="*/ 0 w 44"/>
                <a:gd name="T19" fmla="*/ 0 h 28"/>
                <a:gd name="T20" fmla="*/ 0 w 44"/>
                <a:gd name="T21" fmla="*/ 0 h 28"/>
                <a:gd name="T22" fmla="*/ 0 w 44"/>
                <a:gd name="T23" fmla="*/ 0 h 28"/>
                <a:gd name="T24" fmla="*/ 0 w 44"/>
                <a:gd name="T2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28">
                  <a:moveTo>
                    <a:pt x="0" y="0"/>
                  </a:moveTo>
                  <a:cubicBezTo>
                    <a:pt x="1" y="2"/>
                    <a:pt x="3" y="3"/>
                    <a:pt x="4" y="6"/>
                  </a:cubicBezTo>
                  <a:cubicBezTo>
                    <a:pt x="6" y="7"/>
                    <a:pt x="7" y="8"/>
                    <a:pt x="9" y="10"/>
                  </a:cubicBezTo>
                  <a:cubicBezTo>
                    <a:pt x="9" y="10"/>
                    <a:pt x="9" y="10"/>
                    <a:pt x="9" y="10"/>
                  </a:cubicBezTo>
                  <a:cubicBezTo>
                    <a:pt x="11" y="11"/>
                    <a:pt x="12" y="13"/>
                    <a:pt x="14" y="14"/>
                  </a:cubicBezTo>
                  <a:cubicBezTo>
                    <a:pt x="14" y="14"/>
                    <a:pt x="14" y="14"/>
                    <a:pt x="14" y="14"/>
                  </a:cubicBezTo>
                  <a:cubicBezTo>
                    <a:pt x="17" y="17"/>
                    <a:pt x="21" y="20"/>
                    <a:pt x="25" y="22"/>
                  </a:cubicBezTo>
                  <a:cubicBezTo>
                    <a:pt x="27" y="24"/>
                    <a:pt x="31" y="28"/>
                    <a:pt x="34" y="28"/>
                  </a:cubicBezTo>
                  <a:cubicBezTo>
                    <a:pt x="34" y="28"/>
                    <a:pt x="35" y="27"/>
                    <a:pt x="35" y="27"/>
                  </a:cubicBezTo>
                  <a:cubicBezTo>
                    <a:pt x="44" y="19"/>
                    <a:pt x="1" y="1"/>
                    <a:pt x="0" y="0"/>
                  </a:cubicBezTo>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0" name="Freeform 1468">
              <a:extLst>
                <a:ext uri="{FF2B5EF4-FFF2-40B4-BE49-F238E27FC236}">
                  <a16:creationId xmlns:a16="http://schemas.microsoft.com/office/drawing/2014/main" id="{7FE0140A-E854-49C1-9479-9365ECD5EB0A}"/>
                </a:ext>
              </a:extLst>
            </p:cNvPr>
            <p:cNvSpPr>
              <a:spLocks/>
            </p:cNvSpPr>
            <p:nvPr/>
          </p:nvSpPr>
          <p:spPr bwMode="auto">
            <a:xfrm>
              <a:off x="994" y="438"/>
              <a:ext cx="7" cy="7"/>
            </a:xfrm>
            <a:custGeom>
              <a:avLst/>
              <a:gdLst>
                <a:gd name="T0" fmla="*/ 3 w 3"/>
                <a:gd name="T1" fmla="*/ 0 h 3"/>
                <a:gd name="T2" fmla="*/ 1 w 3"/>
                <a:gd name="T3" fmla="*/ 3 h 3"/>
                <a:gd name="T4" fmla="*/ 3 w 3"/>
                <a:gd name="T5" fmla="*/ 0 h 3"/>
              </a:gdLst>
              <a:ahLst/>
              <a:cxnLst>
                <a:cxn ang="0">
                  <a:pos x="T0" y="T1"/>
                </a:cxn>
                <a:cxn ang="0">
                  <a:pos x="T2" y="T3"/>
                </a:cxn>
                <a:cxn ang="0">
                  <a:pos x="T4" y="T5"/>
                </a:cxn>
              </a:cxnLst>
              <a:rect l="0" t="0" r="r" b="b"/>
              <a:pathLst>
                <a:path w="3" h="3">
                  <a:moveTo>
                    <a:pt x="3" y="0"/>
                  </a:moveTo>
                  <a:cubicBezTo>
                    <a:pt x="2" y="0"/>
                    <a:pt x="0" y="1"/>
                    <a:pt x="1" y="3"/>
                  </a:cubicBezTo>
                  <a:cubicBezTo>
                    <a:pt x="2" y="2"/>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1" name="Freeform 1469">
              <a:extLst>
                <a:ext uri="{FF2B5EF4-FFF2-40B4-BE49-F238E27FC236}">
                  <a16:creationId xmlns:a16="http://schemas.microsoft.com/office/drawing/2014/main" id="{1D2CFE6A-45A3-47F3-A5AE-B4A76BFA744D}"/>
                </a:ext>
              </a:extLst>
            </p:cNvPr>
            <p:cNvSpPr>
              <a:spLocks/>
            </p:cNvSpPr>
            <p:nvPr/>
          </p:nvSpPr>
          <p:spPr bwMode="auto">
            <a:xfrm>
              <a:off x="961" y="331"/>
              <a:ext cx="42" cy="33"/>
            </a:xfrm>
            <a:custGeom>
              <a:avLst/>
              <a:gdLst>
                <a:gd name="T0" fmla="*/ 0 w 18"/>
                <a:gd name="T1" fmla="*/ 0 h 14"/>
                <a:gd name="T2" fmla="*/ 12 w 18"/>
                <a:gd name="T3" fmla="*/ 11 h 14"/>
                <a:gd name="T4" fmla="*/ 17 w 18"/>
                <a:gd name="T5" fmla="*/ 14 h 14"/>
                <a:gd name="T6" fmla="*/ 18 w 18"/>
                <a:gd name="T7" fmla="*/ 12 h 14"/>
                <a:gd name="T8" fmla="*/ 16 w 18"/>
                <a:gd name="T9" fmla="*/ 10 h 14"/>
                <a:gd name="T10" fmla="*/ 12 w 18"/>
                <a:gd name="T11" fmla="*/ 8 h 14"/>
                <a:gd name="T12" fmla="*/ 7 w 18"/>
                <a:gd name="T13" fmla="*/ 1 h 14"/>
                <a:gd name="T14" fmla="*/ 6 w 18"/>
                <a:gd name="T15" fmla="*/ 1 h 14"/>
                <a:gd name="T16" fmla="*/ 6 w 18"/>
                <a:gd name="T17" fmla="*/ 1 h 14"/>
                <a:gd name="T18" fmla="*/ 4 w 18"/>
                <a:gd name="T19" fmla="*/ 2 h 14"/>
                <a:gd name="T20" fmla="*/ 4 w 18"/>
                <a:gd name="T21" fmla="*/ 2 h 14"/>
                <a:gd name="T22" fmla="*/ 0 w 18"/>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4">
                  <a:moveTo>
                    <a:pt x="0" y="0"/>
                  </a:moveTo>
                  <a:cubicBezTo>
                    <a:pt x="2" y="5"/>
                    <a:pt x="9" y="8"/>
                    <a:pt x="12" y="11"/>
                  </a:cubicBezTo>
                  <a:cubicBezTo>
                    <a:pt x="13" y="11"/>
                    <a:pt x="16" y="14"/>
                    <a:pt x="17" y="14"/>
                  </a:cubicBezTo>
                  <a:cubicBezTo>
                    <a:pt x="18" y="14"/>
                    <a:pt x="18" y="13"/>
                    <a:pt x="18" y="12"/>
                  </a:cubicBezTo>
                  <a:cubicBezTo>
                    <a:pt x="18" y="11"/>
                    <a:pt x="16" y="11"/>
                    <a:pt x="16" y="10"/>
                  </a:cubicBezTo>
                  <a:cubicBezTo>
                    <a:pt x="15" y="9"/>
                    <a:pt x="13" y="9"/>
                    <a:pt x="12" y="8"/>
                  </a:cubicBezTo>
                  <a:cubicBezTo>
                    <a:pt x="10" y="6"/>
                    <a:pt x="9" y="2"/>
                    <a:pt x="7" y="1"/>
                  </a:cubicBezTo>
                  <a:cubicBezTo>
                    <a:pt x="6" y="1"/>
                    <a:pt x="6" y="1"/>
                    <a:pt x="6" y="1"/>
                  </a:cubicBezTo>
                  <a:cubicBezTo>
                    <a:pt x="6" y="1"/>
                    <a:pt x="6" y="1"/>
                    <a:pt x="6" y="1"/>
                  </a:cubicBezTo>
                  <a:cubicBezTo>
                    <a:pt x="6" y="1"/>
                    <a:pt x="5" y="2"/>
                    <a:pt x="4" y="2"/>
                  </a:cubicBezTo>
                  <a:cubicBezTo>
                    <a:pt x="4" y="2"/>
                    <a:pt x="4" y="2"/>
                    <a:pt x="4"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2" name="Freeform 1470">
              <a:extLst>
                <a:ext uri="{FF2B5EF4-FFF2-40B4-BE49-F238E27FC236}">
                  <a16:creationId xmlns:a16="http://schemas.microsoft.com/office/drawing/2014/main" id="{2A076A56-5791-4536-AAC0-7BAA9F9442D6}"/>
                </a:ext>
              </a:extLst>
            </p:cNvPr>
            <p:cNvSpPr>
              <a:spLocks/>
            </p:cNvSpPr>
            <p:nvPr/>
          </p:nvSpPr>
          <p:spPr bwMode="auto">
            <a:xfrm>
              <a:off x="968" y="331"/>
              <a:ext cx="40" cy="24"/>
            </a:xfrm>
            <a:custGeom>
              <a:avLst/>
              <a:gdLst>
                <a:gd name="T0" fmla="*/ 2 w 17"/>
                <a:gd name="T1" fmla="*/ 0 h 10"/>
                <a:gd name="T2" fmla="*/ 0 w 17"/>
                <a:gd name="T3" fmla="*/ 1 h 10"/>
                <a:gd name="T4" fmla="*/ 3 w 17"/>
                <a:gd name="T5" fmla="*/ 1 h 10"/>
                <a:gd name="T6" fmla="*/ 3 w 17"/>
                <a:gd name="T7" fmla="*/ 1 h 10"/>
                <a:gd name="T8" fmla="*/ 6 w 17"/>
                <a:gd name="T9" fmla="*/ 3 h 10"/>
                <a:gd name="T10" fmla="*/ 14 w 17"/>
                <a:gd name="T11" fmla="*/ 10 h 10"/>
                <a:gd name="T12" fmla="*/ 14 w 17"/>
                <a:gd name="T13" fmla="*/ 4 h 10"/>
                <a:gd name="T14" fmla="*/ 14 w 17"/>
                <a:gd name="T15" fmla="*/ 4 h 10"/>
                <a:gd name="T16" fmla="*/ 17 w 17"/>
                <a:gd name="T17" fmla="*/ 3 h 10"/>
                <a:gd name="T18" fmla="*/ 2 w 17"/>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0">
                  <a:moveTo>
                    <a:pt x="2" y="0"/>
                  </a:moveTo>
                  <a:cubicBezTo>
                    <a:pt x="1" y="0"/>
                    <a:pt x="1" y="0"/>
                    <a:pt x="0" y="1"/>
                  </a:cubicBezTo>
                  <a:cubicBezTo>
                    <a:pt x="1" y="1"/>
                    <a:pt x="2" y="1"/>
                    <a:pt x="3" y="1"/>
                  </a:cubicBezTo>
                  <a:cubicBezTo>
                    <a:pt x="3" y="1"/>
                    <a:pt x="3" y="1"/>
                    <a:pt x="3" y="1"/>
                  </a:cubicBezTo>
                  <a:cubicBezTo>
                    <a:pt x="4" y="1"/>
                    <a:pt x="5" y="1"/>
                    <a:pt x="6" y="3"/>
                  </a:cubicBezTo>
                  <a:cubicBezTo>
                    <a:pt x="8" y="6"/>
                    <a:pt x="11" y="8"/>
                    <a:pt x="14" y="10"/>
                  </a:cubicBezTo>
                  <a:cubicBezTo>
                    <a:pt x="14" y="8"/>
                    <a:pt x="14" y="6"/>
                    <a:pt x="14" y="4"/>
                  </a:cubicBezTo>
                  <a:cubicBezTo>
                    <a:pt x="14" y="4"/>
                    <a:pt x="14" y="4"/>
                    <a:pt x="14" y="4"/>
                  </a:cubicBezTo>
                  <a:cubicBezTo>
                    <a:pt x="15" y="4"/>
                    <a:pt x="16" y="4"/>
                    <a:pt x="17" y="3"/>
                  </a:cubicBezTo>
                  <a:cubicBezTo>
                    <a:pt x="13" y="1"/>
                    <a:pt x="7"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3" name="Freeform 1471">
              <a:extLst>
                <a:ext uri="{FF2B5EF4-FFF2-40B4-BE49-F238E27FC236}">
                  <a16:creationId xmlns:a16="http://schemas.microsoft.com/office/drawing/2014/main" id="{13ADE460-6FD8-43A1-9A4F-52A7395E3E9E}"/>
                </a:ext>
              </a:extLst>
            </p:cNvPr>
            <p:cNvSpPr>
              <a:spLocks/>
            </p:cNvSpPr>
            <p:nvPr/>
          </p:nvSpPr>
          <p:spPr bwMode="auto">
            <a:xfrm>
              <a:off x="1013" y="312"/>
              <a:ext cx="4" cy="12"/>
            </a:xfrm>
            <a:custGeom>
              <a:avLst/>
              <a:gdLst>
                <a:gd name="T0" fmla="*/ 1 w 2"/>
                <a:gd name="T1" fmla="*/ 0 h 5"/>
                <a:gd name="T2" fmla="*/ 0 w 2"/>
                <a:gd name="T3" fmla="*/ 1 h 5"/>
                <a:gd name="T4" fmla="*/ 2 w 2"/>
                <a:gd name="T5" fmla="*/ 5 h 5"/>
                <a:gd name="T6" fmla="*/ 1 w 2"/>
                <a:gd name="T7" fmla="*/ 0 h 5"/>
              </a:gdLst>
              <a:ahLst/>
              <a:cxnLst>
                <a:cxn ang="0">
                  <a:pos x="T0" y="T1"/>
                </a:cxn>
                <a:cxn ang="0">
                  <a:pos x="T2" y="T3"/>
                </a:cxn>
                <a:cxn ang="0">
                  <a:pos x="T4" y="T5"/>
                </a:cxn>
                <a:cxn ang="0">
                  <a:pos x="T6" y="T7"/>
                </a:cxn>
              </a:cxnLst>
              <a:rect l="0" t="0" r="r" b="b"/>
              <a:pathLst>
                <a:path w="2" h="5">
                  <a:moveTo>
                    <a:pt x="1" y="0"/>
                  </a:moveTo>
                  <a:cubicBezTo>
                    <a:pt x="1" y="0"/>
                    <a:pt x="0" y="1"/>
                    <a:pt x="0" y="1"/>
                  </a:cubicBezTo>
                  <a:cubicBezTo>
                    <a:pt x="0" y="2"/>
                    <a:pt x="1" y="4"/>
                    <a:pt x="2" y="5"/>
                  </a:cubicBezTo>
                  <a:cubicBezTo>
                    <a:pt x="2"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4" name="Freeform 1472">
              <a:extLst>
                <a:ext uri="{FF2B5EF4-FFF2-40B4-BE49-F238E27FC236}">
                  <a16:creationId xmlns:a16="http://schemas.microsoft.com/office/drawing/2014/main" id="{0B7F10FE-375E-4FDA-8B36-AEA4C8207101}"/>
                </a:ext>
              </a:extLst>
            </p:cNvPr>
            <p:cNvSpPr>
              <a:spLocks/>
            </p:cNvSpPr>
            <p:nvPr/>
          </p:nvSpPr>
          <p:spPr bwMode="auto">
            <a:xfrm>
              <a:off x="424" y="478"/>
              <a:ext cx="15" cy="28"/>
            </a:xfrm>
            <a:custGeom>
              <a:avLst/>
              <a:gdLst>
                <a:gd name="T0" fmla="*/ 3 w 6"/>
                <a:gd name="T1" fmla="*/ 0 h 12"/>
                <a:gd name="T2" fmla="*/ 1 w 6"/>
                <a:gd name="T3" fmla="*/ 8 h 12"/>
                <a:gd name="T4" fmla="*/ 2 w 6"/>
                <a:gd name="T5" fmla="*/ 12 h 12"/>
                <a:gd name="T6" fmla="*/ 2 w 6"/>
                <a:gd name="T7" fmla="*/ 12 h 12"/>
                <a:gd name="T8" fmla="*/ 6 w 6"/>
                <a:gd name="T9" fmla="*/ 8 h 12"/>
                <a:gd name="T10" fmla="*/ 3 w 6"/>
                <a:gd name="T11" fmla="*/ 0 h 12"/>
              </a:gdLst>
              <a:ahLst/>
              <a:cxnLst>
                <a:cxn ang="0">
                  <a:pos x="T0" y="T1"/>
                </a:cxn>
                <a:cxn ang="0">
                  <a:pos x="T2" y="T3"/>
                </a:cxn>
                <a:cxn ang="0">
                  <a:pos x="T4" y="T5"/>
                </a:cxn>
                <a:cxn ang="0">
                  <a:pos x="T6" y="T7"/>
                </a:cxn>
                <a:cxn ang="0">
                  <a:pos x="T8" y="T9"/>
                </a:cxn>
                <a:cxn ang="0">
                  <a:pos x="T10" y="T11"/>
                </a:cxn>
              </a:cxnLst>
              <a:rect l="0" t="0" r="r" b="b"/>
              <a:pathLst>
                <a:path w="6" h="12">
                  <a:moveTo>
                    <a:pt x="3" y="0"/>
                  </a:moveTo>
                  <a:cubicBezTo>
                    <a:pt x="1" y="2"/>
                    <a:pt x="0" y="7"/>
                    <a:pt x="1" y="8"/>
                  </a:cubicBezTo>
                  <a:cubicBezTo>
                    <a:pt x="1" y="9"/>
                    <a:pt x="1" y="12"/>
                    <a:pt x="2" y="12"/>
                  </a:cubicBezTo>
                  <a:cubicBezTo>
                    <a:pt x="2" y="12"/>
                    <a:pt x="2" y="12"/>
                    <a:pt x="2" y="12"/>
                  </a:cubicBezTo>
                  <a:cubicBezTo>
                    <a:pt x="2" y="12"/>
                    <a:pt x="5" y="9"/>
                    <a:pt x="6" y="8"/>
                  </a:cubicBezTo>
                  <a:cubicBezTo>
                    <a:pt x="6" y="6"/>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5" name="Freeform 1473">
              <a:extLst>
                <a:ext uri="{FF2B5EF4-FFF2-40B4-BE49-F238E27FC236}">
                  <a16:creationId xmlns:a16="http://schemas.microsoft.com/office/drawing/2014/main" id="{969DBCEF-1510-4266-82F4-31318613E02B}"/>
                </a:ext>
              </a:extLst>
            </p:cNvPr>
            <p:cNvSpPr>
              <a:spLocks/>
            </p:cNvSpPr>
            <p:nvPr/>
          </p:nvSpPr>
          <p:spPr bwMode="auto">
            <a:xfrm>
              <a:off x="450" y="478"/>
              <a:ext cx="0" cy="5"/>
            </a:xfrm>
            <a:custGeom>
              <a:avLst/>
              <a:gdLst>
                <a:gd name="T0" fmla="*/ 0 h 2"/>
                <a:gd name="T1" fmla="*/ 2 h 2"/>
                <a:gd name="T2" fmla="*/ 0 h 2"/>
                <a:gd name="T3" fmla="*/ 0 h 2"/>
              </a:gdLst>
              <a:ahLst/>
              <a:cxnLst>
                <a:cxn ang="0">
                  <a:pos x="0" y="T0"/>
                </a:cxn>
                <a:cxn ang="0">
                  <a:pos x="0" y="T1"/>
                </a:cxn>
                <a:cxn ang="0">
                  <a:pos x="0" y="T2"/>
                </a:cxn>
                <a:cxn ang="0">
                  <a:pos x="0" y="T3"/>
                </a:cxn>
              </a:cxnLst>
              <a:rect l="0" t="0" r="r" b="b"/>
              <a:pathLst>
                <a:path h="2">
                  <a:moveTo>
                    <a:pt x="0" y="0"/>
                  </a:moveTo>
                  <a:cubicBezTo>
                    <a:pt x="0" y="1"/>
                    <a:pt x="0" y="2"/>
                    <a:pt x="0" y="2"/>
                  </a:cubicBezTo>
                  <a:cubicBezTo>
                    <a:pt x="0" y="2"/>
                    <a:pt x="0"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6" name="Freeform 1474">
              <a:extLst>
                <a:ext uri="{FF2B5EF4-FFF2-40B4-BE49-F238E27FC236}">
                  <a16:creationId xmlns:a16="http://schemas.microsoft.com/office/drawing/2014/main" id="{9131CDE4-42CE-45A9-81D4-6FB00226089B}"/>
                </a:ext>
              </a:extLst>
            </p:cNvPr>
            <p:cNvSpPr>
              <a:spLocks/>
            </p:cNvSpPr>
            <p:nvPr/>
          </p:nvSpPr>
          <p:spPr bwMode="auto">
            <a:xfrm>
              <a:off x="559" y="665"/>
              <a:ext cx="12" cy="9"/>
            </a:xfrm>
            <a:custGeom>
              <a:avLst/>
              <a:gdLst>
                <a:gd name="T0" fmla="*/ 3 w 5"/>
                <a:gd name="T1" fmla="*/ 0 h 4"/>
                <a:gd name="T2" fmla="*/ 0 w 5"/>
                <a:gd name="T3" fmla="*/ 3 h 4"/>
                <a:gd name="T4" fmla="*/ 1 w 5"/>
                <a:gd name="T5" fmla="*/ 4 h 4"/>
                <a:gd name="T6" fmla="*/ 3 w 5"/>
                <a:gd name="T7" fmla="*/ 1 h 4"/>
                <a:gd name="T8" fmla="*/ 3 w 5"/>
                <a:gd name="T9" fmla="*/ 0 h 4"/>
              </a:gdLst>
              <a:ahLst/>
              <a:cxnLst>
                <a:cxn ang="0">
                  <a:pos x="T0" y="T1"/>
                </a:cxn>
                <a:cxn ang="0">
                  <a:pos x="T2" y="T3"/>
                </a:cxn>
                <a:cxn ang="0">
                  <a:pos x="T4" y="T5"/>
                </a:cxn>
                <a:cxn ang="0">
                  <a:pos x="T6" y="T7"/>
                </a:cxn>
                <a:cxn ang="0">
                  <a:pos x="T8" y="T9"/>
                </a:cxn>
              </a:cxnLst>
              <a:rect l="0" t="0" r="r" b="b"/>
              <a:pathLst>
                <a:path w="5" h="4">
                  <a:moveTo>
                    <a:pt x="3" y="0"/>
                  </a:moveTo>
                  <a:cubicBezTo>
                    <a:pt x="2" y="0"/>
                    <a:pt x="0" y="2"/>
                    <a:pt x="0" y="3"/>
                  </a:cubicBezTo>
                  <a:cubicBezTo>
                    <a:pt x="0" y="4"/>
                    <a:pt x="1" y="4"/>
                    <a:pt x="1" y="4"/>
                  </a:cubicBezTo>
                  <a:cubicBezTo>
                    <a:pt x="3" y="4"/>
                    <a:pt x="5" y="2"/>
                    <a:pt x="3" y="1"/>
                  </a:cubicBezTo>
                  <a:cubicBezTo>
                    <a:pt x="3"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7" name="Freeform 1475">
              <a:extLst>
                <a:ext uri="{FF2B5EF4-FFF2-40B4-BE49-F238E27FC236}">
                  <a16:creationId xmlns:a16="http://schemas.microsoft.com/office/drawing/2014/main" id="{AC0EA184-D9CB-4D6F-81A2-7A5972A92FAF}"/>
                </a:ext>
              </a:extLst>
            </p:cNvPr>
            <p:cNvSpPr>
              <a:spLocks/>
            </p:cNvSpPr>
            <p:nvPr/>
          </p:nvSpPr>
          <p:spPr bwMode="auto">
            <a:xfrm>
              <a:off x="698" y="201"/>
              <a:ext cx="12" cy="14"/>
            </a:xfrm>
            <a:custGeom>
              <a:avLst/>
              <a:gdLst>
                <a:gd name="T0" fmla="*/ 0 w 5"/>
                <a:gd name="T1" fmla="*/ 0 h 6"/>
                <a:gd name="T2" fmla="*/ 2 w 5"/>
                <a:gd name="T3" fmla="*/ 6 h 6"/>
                <a:gd name="T4" fmla="*/ 5 w 5"/>
                <a:gd name="T5" fmla="*/ 5 h 6"/>
                <a:gd name="T6" fmla="*/ 0 w 5"/>
                <a:gd name="T7" fmla="*/ 0 h 6"/>
              </a:gdLst>
              <a:ahLst/>
              <a:cxnLst>
                <a:cxn ang="0">
                  <a:pos x="T0" y="T1"/>
                </a:cxn>
                <a:cxn ang="0">
                  <a:pos x="T2" y="T3"/>
                </a:cxn>
                <a:cxn ang="0">
                  <a:pos x="T4" y="T5"/>
                </a:cxn>
                <a:cxn ang="0">
                  <a:pos x="T6" y="T7"/>
                </a:cxn>
              </a:cxnLst>
              <a:rect l="0" t="0" r="r" b="b"/>
              <a:pathLst>
                <a:path w="5" h="6">
                  <a:moveTo>
                    <a:pt x="0" y="0"/>
                  </a:moveTo>
                  <a:cubicBezTo>
                    <a:pt x="1" y="2"/>
                    <a:pt x="1" y="4"/>
                    <a:pt x="2" y="6"/>
                  </a:cubicBezTo>
                  <a:cubicBezTo>
                    <a:pt x="3" y="5"/>
                    <a:pt x="4" y="5"/>
                    <a:pt x="5" y="5"/>
                  </a:cubicBezTo>
                  <a:cubicBezTo>
                    <a:pt x="4" y="3"/>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8" name="Freeform 1476">
              <a:extLst>
                <a:ext uri="{FF2B5EF4-FFF2-40B4-BE49-F238E27FC236}">
                  <a16:creationId xmlns:a16="http://schemas.microsoft.com/office/drawing/2014/main" id="{82B851AC-86D2-4D4F-8FE8-F31D805481BA}"/>
                </a:ext>
              </a:extLst>
            </p:cNvPr>
            <p:cNvSpPr>
              <a:spLocks/>
            </p:cNvSpPr>
            <p:nvPr/>
          </p:nvSpPr>
          <p:spPr bwMode="auto">
            <a:xfrm>
              <a:off x="479" y="513"/>
              <a:ext cx="4" cy="14"/>
            </a:xfrm>
            <a:custGeom>
              <a:avLst/>
              <a:gdLst>
                <a:gd name="T0" fmla="*/ 0 w 2"/>
                <a:gd name="T1" fmla="*/ 0 h 6"/>
                <a:gd name="T2" fmla="*/ 2 w 2"/>
                <a:gd name="T3" fmla="*/ 6 h 6"/>
                <a:gd name="T4" fmla="*/ 0 w 2"/>
                <a:gd name="T5" fmla="*/ 0 h 6"/>
              </a:gdLst>
              <a:ahLst/>
              <a:cxnLst>
                <a:cxn ang="0">
                  <a:pos x="T0" y="T1"/>
                </a:cxn>
                <a:cxn ang="0">
                  <a:pos x="T2" y="T3"/>
                </a:cxn>
                <a:cxn ang="0">
                  <a:pos x="T4" y="T5"/>
                </a:cxn>
              </a:cxnLst>
              <a:rect l="0" t="0" r="r" b="b"/>
              <a:pathLst>
                <a:path w="2" h="6">
                  <a:moveTo>
                    <a:pt x="0" y="0"/>
                  </a:moveTo>
                  <a:cubicBezTo>
                    <a:pt x="0" y="2"/>
                    <a:pt x="1" y="4"/>
                    <a:pt x="2" y="6"/>
                  </a:cubicBezTo>
                  <a:cubicBezTo>
                    <a:pt x="1" y="4"/>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9" name="Freeform 1477">
              <a:extLst>
                <a:ext uri="{FF2B5EF4-FFF2-40B4-BE49-F238E27FC236}">
                  <a16:creationId xmlns:a16="http://schemas.microsoft.com/office/drawing/2014/main" id="{123752F3-A79B-44B8-9262-4D2E9922117C}"/>
                </a:ext>
              </a:extLst>
            </p:cNvPr>
            <p:cNvSpPr>
              <a:spLocks/>
            </p:cNvSpPr>
            <p:nvPr/>
          </p:nvSpPr>
          <p:spPr bwMode="auto">
            <a:xfrm>
              <a:off x="545" y="364"/>
              <a:ext cx="7" cy="10"/>
            </a:xfrm>
            <a:custGeom>
              <a:avLst/>
              <a:gdLst>
                <a:gd name="T0" fmla="*/ 0 w 3"/>
                <a:gd name="T1" fmla="*/ 0 h 4"/>
                <a:gd name="T2" fmla="*/ 0 w 3"/>
                <a:gd name="T3" fmla="*/ 0 h 4"/>
                <a:gd name="T4" fmla="*/ 3 w 3"/>
                <a:gd name="T5" fmla="*/ 4 h 4"/>
                <a:gd name="T6" fmla="*/ 0 w 3"/>
                <a:gd name="T7" fmla="*/ 0 h 4"/>
              </a:gdLst>
              <a:ahLst/>
              <a:cxnLst>
                <a:cxn ang="0">
                  <a:pos x="T0" y="T1"/>
                </a:cxn>
                <a:cxn ang="0">
                  <a:pos x="T2" y="T3"/>
                </a:cxn>
                <a:cxn ang="0">
                  <a:pos x="T4" y="T5"/>
                </a:cxn>
                <a:cxn ang="0">
                  <a:pos x="T6" y="T7"/>
                </a:cxn>
              </a:cxnLst>
              <a:rect l="0" t="0" r="r" b="b"/>
              <a:pathLst>
                <a:path w="3" h="4">
                  <a:moveTo>
                    <a:pt x="0" y="0"/>
                  </a:moveTo>
                  <a:cubicBezTo>
                    <a:pt x="0" y="0"/>
                    <a:pt x="0" y="0"/>
                    <a:pt x="0" y="0"/>
                  </a:cubicBezTo>
                  <a:cubicBezTo>
                    <a:pt x="1" y="2"/>
                    <a:pt x="2" y="3"/>
                    <a:pt x="3" y="4"/>
                  </a:cubicBezTo>
                  <a:cubicBezTo>
                    <a:pt x="3"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0" name="Freeform 1478">
              <a:extLst>
                <a:ext uri="{FF2B5EF4-FFF2-40B4-BE49-F238E27FC236}">
                  <a16:creationId xmlns:a16="http://schemas.microsoft.com/office/drawing/2014/main" id="{2A80936C-9A37-4468-AB9F-1A174603E51E}"/>
                </a:ext>
              </a:extLst>
            </p:cNvPr>
            <p:cNvSpPr>
              <a:spLocks/>
            </p:cNvSpPr>
            <p:nvPr/>
          </p:nvSpPr>
          <p:spPr bwMode="auto">
            <a:xfrm>
              <a:off x="517" y="579"/>
              <a:ext cx="4" cy="15"/>
            </a:xfrm>
            <a:custGeom>
              <a:avLst/>
              <a:gdLst>
                <a:gd name="T0" fmla="*/ 2 w 2"/>
                <a:gd name="T1" fmla="*/ 0 h 6"/>
                <a:gd name="T2" fmla="*/ 2 w 2"/>
                <a:gd name="T3" fmla="*/ 6 h 6"/>
                <a:gd name="T4" fmla="*/ 2 w 2"/>
                <a:gd name="T5" fmla="*/ 0 h 6"/>
              </a:gdLst>
              <a:ahLst/>
              <a:cxnLst>
                <a:cxn ang="0">
                  <a:pos x="T0" y="T1"/>
                </a:cxn>
                <a:cxn ang="0">
                  <a:pos x="T2" y="T3"/>
                </a:cxn>
                <a:cxn ang="0">
                  <a:pos x="T4" y="T5"/>
                </a:cxn>
              </a:cxnLst>
              <a:rect l="0" t="0" r="r" b="b"/>
              <a:pathLst>
                <a:path w="2" h="6">
                  <a:moveTo>
                    <a:pt x="2" y="0"/>
                  </a:moveTo>
                  <a:cubicBezTo>
                    <a:pt x="1" y="3"/>
                    <a:pt x="0" y="3"/>
                    <a:pt x="2" y="6"/>
                  </a:cubicBezTo>
                  <a:cubicBezTo>
                    <a:pt x="2" y="4"/>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1" name="Freeform 1479">
              <a:extLst>
                <a:ext uri="{FF2B5EF4-FFF2-40B4-BE49-F238E27FC236}">
                  <a16:creationId xmlns:a16="http://schemas.microsoft.com/office/drawing/2014/main" id="{4313153B-F8B7-4A0D-BA5B-01077BC28337}"/>
                </a:ext>
              </a:extLst>
            </p:cNvPr>
            <p:cNvSpPr>
              <a:spLocks/>
            </p:cNvSpPr>
            <p:nvPr/>
          </p:nvSpPr>
          <p:spPr bwMode="auto">
            <a:xfrm>
              <a:off x="446" y="490"/>
              <a:ext cx="2" cy="7"/>
            </a:xfrm>
            <a:custGeom>
              <a:avLst/>
              <a:gdLst>
                <a:gd name="T0" fmla="*/ 1 w 1"/>
                <a:gd name="T1" fmla="*/ 0 h 3"/>
                <a:gd name="T2" fmla="*/ 1 w 1"/>
                <a:gd name="T3" fmla="*/ 3 h 3"/>
                <a:gd name="T4" fmla="*/ 1 w 1"/>
                <a:gd name="T5" fmla="*/ 0 h 3"/>
              </a:gdLst>
              <a:ahLst/>
              <a:cxnLst>
                <a:cxn ang="0">
                  <a:pos x="T0" y="T1"/>
                </a:cxn>
                <a:cxn ang="0">
                  <a:pos x="T2" y="T3"/>
                </a:cxn>
                <a:cxn ang="0">
                  <a:pos x="T4" y="T5"/>
                </a:cxn>
              </a:cxnLst>
              <a:rect l="0" t="0" r="r" b="b"/>
              <a:pathLst>
                <a:path w="1" h="3">
                  <a:moveTo>
                    <a:pt x="1" y="0"/>
                  </a:moveTo>
                  <a:cubicBezTo>
                    <a:pt x="0" y="1"/>
                    <a:pt x="0" y="2"/>
                    <a:pt x="1"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2" name="Freeform 1480">
              <a:extLst>
                <a:ext uri="{FF2B5EF4-FFF2-40B4-BE49-F238E27FC236}">
                  <a16:creationId xmlns:a16="http://schemas.microsoft.com/office/drawing/2014/main" id="{0ACC6000-8AEF-4D26-BA49-3BFD14C4B432}"/>
                </a:ext>
              </a:extLst>
            </p:cNvPr>
            <p:cNvSpPr>
              <a:spLocks/>
            </p:cNvSpPr>
            <p:nvPr/>
          </p:nvSpPr>
          <p:spPr bwMode="auto">
            <a:xfrm>
              <a:off x="538" y="381"/>
              <a:ext cx="14" cy="9"/>
            </a:xfrm>
            <a:custGeom>
              <a:avLst/>
              <a:gdLst>
                <a:gd name="T0" fmla="*/ 4 w 6"/>
                <a:gd name="T1" fmla="*/ 0 h 4"/>
                <a:gd name="T2" fmla="*/ 2 w 6"/>
                <a:gd name="T3" fmla="*/ 0 h 4"/>
                <a:gd name="T4" fmla="*/ 2 w 6"/>
                <a:gd name="T5" fmla="*/ 4 h 4"/>
                <a:gd name="T6" fmla="*/ 6 w 6"/>
                <a:gd name="T7" fmla="*/ 0 h 4"/>
                <a:gd name="T8" fmla="*/ 4 w 6"/>
                <a:gd name="T9" fmla="*/ 0 h 4"/>
              </a:gdLst>
              <a:ahLst/>
              <a:cxnLst>
                <a:cxn ang="0">
                  <a:pos x="T0" y="T1"/>
                </a:cxn>
                <a:cxn ang="0">
                  <a:pos x="T2" y="T3"/>
                </a:cxn>
                <a:cxn ang="0">
                  <a:pos x="T4" y="T5"/>
                </a:cxn>
                <a:cxn ang="0">
                  <a:pos x="T6" y="T7"/>
                </a:cxn>
                <a:cxn ang="0">
                  <a:pos x="T8" y="T9"/>
                </a:cxn>
              </a:cxnLst>
              <a:rect l="0" t="0" r="r" b="b"/>
              <a:pathLst>
                <a:path w="6" h="4">
                  <a:moveTo>
                    <a:pt x="4" y="0"/>
                  </a:moveTo>
                  <a:cubicBezTo>
                    <a:pt x="3" y="0"/>
                    <a:pt x="3" y="0"/>
                    <a:pt x="2" y="0"/>
                  </a:cubicBezTo>
                  <a:cubicBezTo>
                    <a:pt x="0" y="0"/>
                    <a:pt x="2" y="3"/>
                    <a:pt x="2" y="4"/>
                  </a:cubicBezTo>
                  <a:cubicBezTo>
                    <a:pt x="3" y="4"/>
                    <a:pt x="6" y="2"/>
                    <a:pt x="6"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3" name="Freeform 1481">
              <a:extLst>
                <a:ext uri="{FF2B5EF4-FFF2-40B4-BE49-F238E27FC236}">
                  <a16:creationId xmlns:a16="http://schemas.microsoft.com/office/drawing/2014/main" id="{EB35F5E8-C535-4D7A-ACCA-B8AB586F852C}"/>
                </a:ext>
              </a:extLst>
            </p:cNvPr>
            <p:cNvSpPr>
              <a:spLocks/>
            </p:cNvSpPr>
            <p:nvPr/>
          </p:nvSpPr>
          <p:spPr bwMode="auto">
            <a:xfrm>
              <a:off x="717" y="230"/>
              <a:ext cx="5" cy="11"/>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0" y="2"/>
                    <a:pt x="0" y="4"/>
                    <a:pt x="2" y="5"/>
                  </a:cubicBezTo>
                  <a:cubicBezTo>
                    <a:pt x="2" y="3"/>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4" name="Freeform 1482">
              <a:extLst>
                <a:ext uri="{FF2B5EF4-FFF2-40B4-BE49-F238E27FC236}">
                  <a16:creationId xmlns:a16="http://schemas.microsoft.com/office/drawing/2014/main" id="{5801511F-50D2-479B-A948-0F806EB837BB}"/>
                </a:ext>
              </a:extLst>
            </p:cNvPr>
            <p:cNvSpPr>
              <a:spLocks/>
            </p:cNvSpPr>
            <p:nvPr/>
          </p:nvSpPr>
          <p:spPr bwMode="auto">
            <a:xfrm>
              <a:off x="2294" y="1598"/>
              <a:ext cx="9" cy="12"/>
            </a:xfrm>
            <a:custGeom>
              <a:avLst/>
              <a:gdLst>
                <a:gd name="T0" fmla="*/ 4 w 4"/>
                <a:gd name="T1" fmla="*/ 0 h 5"/>
                <a:gd name="T2" fmla="*/ 1 w 4"/>
                <a:gd name="T3" fmla="*/ 5 h 5"/>
                <a:gd name="T4" fmla="*/ 4 w 4"/>
                <a:gd name="T5" fmla="*/ 0 h 5"/>
              </a:gdLst>
              <a:ahLst/>
              <a:cxnLst>
                <a:cxn ang="0">
                  <a:pos x="T0" y="T1"/>
                </a:cxn>
                <a:cxn ang="0">
                  <a:pos x="T2" y="T3"/>
                </a:cxn>
                <a:cxn ang="0">
                  <a:pos x="T4" y="T5"/>
                </a:cxn>
              </a:cxnLst>
              <a:rect l="0" t="0" r="r" b="b"/>
              <a:pathLst>
                <a:path w="4" h="5">
                  <a:moveTo>
                    <a:pt x="4" y="0"/>
                  </a:moveTo>
                  <a:cubicBezTo>
                    <a:pt x="3" y="2"/>
                    <a:pt x="0" y="3"/>
                    <a:pt x="1" y="5"/>
                  </a:cubicBezTo>
                  <a:cubicBezTo>
                    <a:pt x="2" y="4"/>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5" name="Freeform 1483">
              <a:extLst>
                <a:ext uri="{FF2B5EF4-FFF2-40B4-BE49-F238E27FC236}">
                  <a16:creationId xmlns:a16="http://schemas.microsoft.com/office/drawing/2014/main" id="{4CAB7BC1-B340-42EF-A0C2-CBB739BD5045}"/>
                </a:ext>
              </a:extLst>
            </p:cNvPr>
            <p:cNvSpPr>
              <a:spLocks/>
            </p:cNvSpPr>
            <p:nvPr/>
          </p:nvSpPr>
          <p:spPr bwMode="auto">
            <a:xfrm>
              <a:off x="5108" y="2459"/>
              <a:ext cx="14" cy="23"/>
            </a:xfrm>
            <a:custGeom>
              <a:avLst/>
              <a:gdLst>
                <a:gd name="T0" fmla="*/ 3 w 6"/>
                <a:gd name="T1" fmla="*/ 0 h 10"/>
                <a:gd name="T2" fmla="*/ 0 w 6"/>
                <a:gd name="T3" fmla="*/ 10 h 10"/>
                <a:gd name="T4" fmla="*/ 3 w 6"/>
                <a:gd name="T5" fmla="*/ 3 h 10"/>
                <a:gd name="T6" fmla="*/ 3 w 6"/>
                <a:gd name="T7" fmla="*/ 0 h 10"/>
              </a:gdLst>
              <a:ahLst/>
              <a:cxnLst>
                <a:cxn ang="0">
                  <a:pos x="T0" y="T1"/>
                </a:cxn>
                <a:cxn ang="0">
                  <a:pos x="T2" y="T3"/>
                </a:cxn>
                <a:cxn ang="0">
                  <a:pos x="T4" y="T5"/>
                </a:cxn>
                <a:cxn ang="0">
                  <a:pos x="T6" y="T7"/>
                </a:cxn>
              </a:cxnLst>
              <a:rect l="0" t="0" r="r" b="b"/>
              <a:pathLst>
                <a:path w="6" h="10">
                  <a:moveTo>
                    <a:pt x="3" y="0"/>
                  </a:moveTo>
                  <a:cubicBezTo>
                    <a:pt x="1" y="3"/>
                    <a:pt x="1" y="6"/>
                    <a:pt x="0" y="10"/>
                  </a:cubicBezTo>
                  <a:cubicBezTo>
                    <a:pt x="4" y="7"/>
                    <a:pt x="2" y="7"/>
                    <a:pt x="3" y="3"/>
                  </a:cubicBezTo>
                  <a:cubicBezTo>
                    <a:pt x="3" y="1"/>
                    <a:pt x="6"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6" name="Freeform 1484">
              <a:extLst>
                <a:ext uri="{FF2B5EF4-FFF2-40B4-BE49-F238E27FC236}">
                  <a16:creationId xmlns:a16="http://schemas.microsoft.com/office/drawing/2014/main" id="{B9C2F377-7E15-43CF-B3DF-BC66564238D6}"/>
                </a:ext>
              </a:extLst>
            </p:cNvPr>
            <p:cNvSpPr>
              <a:spLocks/>
            </p:cNvSpPr>
            <p:nvPr/>
          </p:nvSpPr>
          <p:spPr bwMode="auto">
            <a:xfrm>
              <a:off x="4910" y="2404"/>
              <a:ext cx="2" cy="5"/>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7" name="Freeform 1485">
              <a:extLst>
                <a:ext uri="{FF2B5EF4-FFF2-40B4-BE49-F238E27FC236}">
                  <a16:creationId xmlns:a16="http://schemas.microsoft.com/office/drawing/2014/main" id="{99AE4892-F8D3-4B6E-8EDA-40800C4FE333}"/>
                </a:ext>
              </a:extLst>
            </p:cNvPr>
            <p:cNvSpPr>
              <a:spLocks/>
            </p:cNvSpPr>
            <p:nvPr/>
          </p:nvSpPr>
          <p:spPr bwMode="auto">
            <a:xfrm>
              <a:off x="5170" y="2612"/>
              <a:ext cx="7" cy="10"/>
            </a:xfrm>
            <a:custGeom>
              <a:avLst/>
              <a:gdLst>
                <a:gd name="T0" fmla="*/ 1 w 3"/>
                <a:gd name="T1" fmla="*/ 0 h 4"/>
                <a:gd name="T2" fmla="*/ 3 w 3"/>
                <a:gd name="T3" fmla="*/ 4 h 4"/>
                <a:gd name="T4" fmla="*/ 1 w 3"/>
                <a:gd name="T5" fmla="*/ 0 h 4"/>
              </a:gdLst>
              <a:ahLst/>
              <a:cxnLst>
                <a:cxn ang="0">
                  <a:pos x="T0" y="T1"/>
                </a:cxn>
                <a:cxn ang="0">
                  <a:pos x="T2" y="T3"/>
                </a:cxn>
                <a:cxn ang="0">
                  <a:pos x="T4" y="T5"/>
                </a:cxn>
              </a:cxnLst>
              <a:rect l="0" t="0" r="r" b="b"/>
              <a:pathLst>
                <a:path w="3" h="4">
                  <a:moveTo>
                    <a:pt x="1" y="0"/>
                  </a:moveTo>
                  <a:cubicBezTo>
                    <a:pt x="0" y="2"/>
                    <a:pt x="1" y="3"/>
                    <a:pt x="3" y="4"/>
                  </a:cubicBezTo>
                  <a:cubicBezTo>
                    <a:pt x="2"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8" name="Freeform 1486">
              <a:extLst>
                <a:ext uri="{FF2B5EF4-FFF2-40B4-BE49-F238E27FC236}">
                  <a16:creationId xmlns:a16="http://schemas.microsoft.com/office/drawing/2014/main" id="{C5BFB5B3-2DAD-40DD-BC2F-1EA45A92765B}"/>
                </a:ext>
              </a:extLst>
            </p:cNvPr>
            <p:cNvSpPr>
              <a:spLocks/>
            </p:cNvSpPr>
            <p:nvPr/>
          </p:nvSpPr>
          <p:spPr bwMode="auto">
            <a:xfrm>
              <a:off x="4657" y="2366"/>
              <a:ext cx="2" cy="17"/>
            </a:xfrm>
            <a:custGeom>
              <a:avLst/>
              <a:gdLst>
                <a:gd name="T0" fmla="*/ 0 w 1"/>
                <a:gd name="T1" fmla="*/ 0 h 7"/>
                <a:gd name="T2" fmla="*/ 0 w 1"/>
                <a:gd name="T3" fmla="*/ 7 h 7"/>
                <a:gd name="T4" fmla="*/ 0 w 1"/>
                <a:gd name="T5" fmla="*/ 0 h 7"/>
              </a:gdLst>
              <a:ahLst/>
              <a:cxnLst>
                <a:cxn ang="0">
                  <a:pos x="T0" y="T1"/>
                </a:cxn>
                <a:cxn ang="0">
                  <a:pos x="T2" y="T3"/>
                </a:cxn>
                <a:cxn ang="0">
                  <a:pos x="T4" y="T5"/>
                </a:cxn>
              </a:cxnLst>
              <a:rect l="0" t="0" r="r" b="b"/>
              <a:pathLst>
                <a:path w="1" h="7">
                  <a:moveTo>
                    <a:pt x="0" y="0"/>
                  </a:moveTo>
                  <a:cubicBezTo>
                    <a:pt x="0" y="3"/>
                    <a:pt x="0" y="5"/>
                    <a:pt x="0" y="7"/>
                  </a:cubicBezTo>
                  <a:cubicBezTo>
                    <a:pt x="0" y="5"/>
                    <a:pt x="1"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9" name="Freeform 1487">
              <a:extLst>
                <a:ext uri="{FF2B5EF4-FFF2-40B4-BE49-F238E27FC236}">
                  <a16:creationId xmlns:a16="http://schemas.microsoft.com/office/drawing/2014/main" id="{9D926A1D-2FDE-4608-840E-5A08ACAB1123}"/>
                </a:ext>
              </a:extLst>
            </p:cNvPr>
            <p:cNvSpPr>
              <a:spLocks/>
            </p:cNvSpPr>
            <p:nvPr/>
          </p:nvSpPr>
          <p:spPr bwMode="auto">
            <a:xfrm>
              <a:off x="5198" y="2527"/>
              <a:ext cx="21" cy="21"/>
            </a:xfrm>
            <a:custGeom>
              <a:avLst/>
              <a:gdLst>
                <a:gd name="T0" fmla="*/ 5 w 9"/>
                <a:gd name="T1" fmla="*/ 0 h 9"/>
                <a:gd name="T2" fmla="*/ 0 w 9"/>
                <a:gd name="T3" fmla="*/ 1 h 9"/>
                <a:gd name="T4" fmla="*/ 1 w 9"/>
                <a:gd name="T5" fmla="*/ 7 h 9"/>
                <a:gd name="T6" fmla="*/ 2 w 9"/>
                <a:gd name="T7" fmla="*/ 7 h 9"/>
                <a:gd name="T8" fmla="*/ 5 w 9"/>
                <a:gd name="T9" fmla="*/ 9 h 9"/>
                <a:gd name="T10" fmla="*/ 9 w 9"/>
                <a:gd name="T11" fmla="*/ 3 h 9"/>
                <a:gd name="T12" fmla="*/ 8 w 9"/>
                <a:gd name="T13" fmla="*/ 3 h 9"/>
                <a:gd name="T14" fmla="*/ 5 w 9"/>
                <a:gd name="T15" fmla="*/ 0 h 9"/>
                <a:gd name="T16" fmla="*/ 5 w 9"/>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5" y="0"/>
                  </a:moveTo>
                  <a:cubicBezTo>
                    <a:pt x="4" y="0"/>
                    <a:pt x="0" y="1"/>
                    <a:pt x="0" y="1"/>
                  </a:cubicBezTo>
                  <a:cubicBezTo>
                    <a:pt x="1" y="3"/>
                    <a:pt x="2" y="6"/>
                    <a:pt x="1" y="7"/>
                  </a:cubicBezTo>
                  <a:cubicBezTo>
                    <a:pt x="1" y="7"/>
                    <a:pt x="1" y="7"/>
                    <a:pt x="2" y="7"/>
                  </a:cubicBezTo>
                  <a:cubicBezTo>
                    <a:pt x="3" y="7"/>
                    <a:pt x="4" y="8"/>
                    <a:pt x="5" y="9"/>
                  </a:cubicBezTo>
                  <a:cubicBezTo>
                    <a:pt x="6" y="7"/>
                    <a:pt x="8" y="5"/>
                    <a:pt x="9" y="3"/>
                  </a:cubicBezTo>
                  <a:cubicBezTo>
                    <a:pt x="9" y="3"/>
                    <a:pt x="8" y="3"/>
                    <a:pt x="8" y="3"/>
                  </a:cubicBezTo>
                  <a:cubicBezTo>
                    <a:pt x="7" y="3"/>
                    <a:pt x="6" y="0"/>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0" name="Freeform 1488">
              <a:extLst>
                <a:ext uri="{FF2B5EF4-FFF2-40B4-BE49-F238E27FC236}">
                  <a16:creationId xmlns:a16="http://schemas.microsoft.com/office/drawing/2014/main" id="{BFC477D8-3D96-41B3-889F-C03F4D5C4B58}"/>
                </a:ext>
              </a:extLst>
            </p:cNvPr>
            <p:cNvSpPr>
              <a:spLocks/>
            </p:cNvSpPr>
            <p:nvPr/>
          </p:nvSpPr>
          <p:spPr bwMode="auto">
            <a:xfrm>
              <a:off x="5144" y="2480"/>
              <a:ext cx="30" cy="35"/>
            </a:xfrm>
            <a:custGeom>
              <a:avLst/>
              <a:gdLst>
                <a:gd name="T0" fmla="*/ 5 w 13"/>
                <a:gd name="T1" fmla="*/ 0 h 15"/>
                <a:gd name="T2" fmla="*/ 0 w 13"/>
                <a:gd name="T3" fmla="*/ 2 h 15"/>
                <a:gd name="T4" fmla="*/ 4 w 13"/>
                <a:gd name="T5" fmla="*/ 3 h 15"/>
                <a:gd name="T6" fmla="*/ 0 w 13"/>
                <a:gd name="T7" fmla="*/ 7 h 15"/>
                <a:gd name="T8" fmla="*/ 3 w 13"/>
                <a:gd name="T9" fmla="*/ 11 h 15"/>
                <a:gd name="T10" fmla="*/ 6 w 13"/>
                <a:gd name="T11" fmla="*/ 12 h 15"/>
                <a:gd name="T12" fmla="*/ 10 w 13"/>
                <a:gd name="T13" fmla="*/ 15 h 15"/>
                <a:gd name="T14" fmla="*/ 9 w 13"/>
                <a:gd name="T15" fmla="*/ 3 h 15"/>
                <a:gd name="T16" fmla="*/ 6 w 13"/>
                <a:gd name="T17" fmla="*/ 0 h 15"/>
                <a:gd name="T18" fmla="*/ 5 w 13"/>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5">
                  <a:moveTo>
                    <a:pt x="5" y="0"/>
                  </a:moveTo>
                  <a:cubicBezTo>
                    <a:pt x="3" y="0"/>
                    <a:pt x="0" y="1"/>
                    <a:pt x="0" y="2"/>
                  </a:cubicBezTo>
                  <a:cubicBezTo>
                    <a:pt x="0" y="2"/>
                    <a:pt x="4" y="2"/>
                    <a:pt x="4" y="3"/>
                  </a:cubicBezTo>
                  <a:cubicBezTo>
                    <a:pt x="6" y="5"/>
                    <a:pt x="1" y="6"/>
                    <a:pt x="0" y="7"/>
                  </a:cubicBezTo>
                  <a:cubicBezTo>
                    <a:pt x="1" y="8"/>
                    <a:pt x="1" y="10"/>
                    <a:pt x="3" y="11"/>
                  </a:cubicBezTo>
                  <a:cubicBezTo>
                    <a:pt x="4" y="12"/>
                    <a:pt x="5" y="11"/>
                    <a:pt x="6" y="12"/>
                  </a:cubicBezTo>
                  <a:cubicBezTo>
                    <a:pt x="7" y="13"/>
                    <a:pt x="8" y="14"/>
                    <a:pt x="10" y="15"/>
                  </a:cubicBezTo>
                  <a:cubicBezTo>
                    <a:pt x="13" y="10"/>
                    <a:pt x="11" y="8"/>
                    <a:pt x="9" y="3"/>
                  </a:cubicBezTo>
                  <a:cubicBezTo>
                    <a:pt x="8" y="1"/>
                    <a:pt x="8" y="0"/>
                    <a:pt x="6" y="0"/>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1" name="Freeform 1489">
              <a:extLst>
                <a:ext uri="{FF2B5EF4-FFF2-40B4-BE49-F238E27FC236}">
                  <a16:creationId xmlns:a16="http://schemas.microsoft.com/office/drawing/2014/main" id="{759E2208-11EE-4FE1-923B-AD35EA4BD4C1}"/>
                </a:ext>
              </a:extLst>
            </p:cNvPr>
            <p:cNvSpPr>
              <a:spLocks/>
            </p:cNvSpPr>
            <p:nvPr/>
          </p:nvSpPr>
          <p:spPr bwMode="auto">
            <a:xfrm>
              <a:off x="4933" y="2437"/>
              <a:ext cx="211" cy="163"/>
            </a:xfrm>
            <a:custGeom>
              <a:avLst/>
              <a:gdLst>
                <a:gd name="T0" fmla="*/ 1 w 89"/>
                <a:gd name="T1" fmla="*/ 0 h 69"/>
                <a:gd name="T2" fmla="*/ 1 w 89"/>
                <a:gd name="T3" fmla="*/ 0 h 69"/>
                <a:gd name="T4" fmla="*/ 10 w 89"/>
                <a:gd name="T5" fmla="*/ 16 h 69"/>
                <a:gd name="T6" fmla="*/ 47 w 89"/>
                <a:gd name="T7" fmla="*/ 49 h 69"/>
                <a:gd name="T8" fmla="*/ 49 w 89"/>
                <a:gd name="T9" fmla="*/ 50 h 69"/>
                <a:gd name="T10" fmla="*/ 50 w 89"/>
                <a:gd name="T11" fmla="*/ 50 h 69"/>
                <a:gd name="T12" fmla="*/ 51 w 89"/>
                <a:gd name="T13" fmla="*/ 50 h 69"/>
                <a:gd name="T14" fmla="*/ 52 w 89"/>
                <a:gd name="T15" fmla="*/ 50 h 69"/>
                <a:gd name="T16" fmla="*/ 56 w 89"/>
                <a:gd name="T17" fmla="*/ 54 h 69"/>
                <a:gd name="T18" fmla="*/ 68 w 89"/>
                <a:gd name="T19" fmla="*/ 62 h 69"/>
                <a:gd name="T20" fmla="*/ 85 w 89"/>
                <a:gd name="T21" fmla="*/ 69 h 69"/>
                <a:gd name="T22" fmla="*/ 89 w 89"/>
                <a:gd name="T23" fmla="*/ 66 h 69"/>
                <a:gd name="T24" fmla="*/ 79 w 89"/>
                <a:gd name="T25" fmla="*/ 55 h 69"/>
                <a:gd name="T26" fmla="*/ 61 w 89"/>
                <a:gd name="T27" fmla="*/ 42 h 69"/>
                <a:gd name="T28" fmla="*/ 41 w 89"/>
                <a:gd name="T29" fmla="*/ 27 h 69"/>
                <a:gd name="T30" fmla="*/ 22 w 89"/>
                <a:gd name="T31" fmla="*/ 12 h 69"/>
                <a:gd name="T32" fmla="*/ 14 w 89"/>
                <a:gd name="T33" fmla="*/ 6 h 69"/>
                <a:gd name="T34" fmla="*/ 13 w 89"/>
                <a:gd name="T35" fmla="*/ 6 h 69"/>
                <a:gd name="T36" fmla="*/ 12 w 89"/>
                <a:gd name="T37" fmla="*/ 6 h 69"/>
                <a:gd name="T38" fmla="*/ 11 w 89"/>
                <a:gd name="T39" fmla="*/ 7 h 69"/>
                <a:gd name="T40" fmla="*/ 11 w 89"/>
                <a:gd name="T41" fmla="*/ 7 h 69"/>
                <a:gd name="T42" fmla="*/ 6 w 89"/>
                <a:gd name="T43" fmla="*/ 5 h 69"/>
                <a:gd name="T44" fmla="*/ 4 w 89"/>
                <a:gd name="T45" fmla="*/ 2 h 69"/>
                <a:gd name="T46" fmla="*/ 1 w 89"/>
                <a:gd name="T4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9" h="69">
                  <a:moveTo>
                    <a:pt x="1" y="0"/>
                  </a:moveTo>
                  <a:cubicBezTo>
                    <a:pt x="1" y="0"/>
                    <a:pt x="1" y="0"/>
                    <a:pt x="1" y="0"/>
                  </a:cubicBezTo>
                  <a:cubicBezTo>
                    <a:pt x="0" y="0"/>
                    <a:pt x="9" y="14"/>
                    <a:pt x="10" y="16"/>
                  </a:cubicBezTo>
                  <a:cubicBezTo>
                    <a:pt x="22" y="28"/>
                    <a:pt x="31" y="42"/>
                    <a:pt x="47" y="49"/>
                  </a:cubicBezTo>
                  <a:cubicBezTo>
                    <a:pt x="48" y="50"/>
                    <a:pt x="49" y="50"/>
                    <a:pt x="49" y="50"/>
                  </a:cubicBezTo>
                  <a:cubicBezTo>
                    <a:pt x="50" y="50"/>
                    <a:pt x="50" y="50"/>
                    <a:pt x="50" y="50"/>
                  </a:cubicBezTo>
                  <a:cubicBezTo>
                    <a:pt x="50" y="50"/>
                    <a:pt x="50" y="50"/>
                    <a:pt x="51" y="50"/>
                  </a:cubicBezTo>
                  <a:cubicBezTo>
                    <a:pt x="51" y="50"/>
                    <a:pt x="52" y="50"/>
                    <a:pt x="52" y="50"/>
                  </a:cubicBezTo>
                  <a:cubicBezTo>
                    <a:pt x="54" y="52"/>
                    <a:pt x="55" y="53"/>
                    <a:pt x="56" y="54"/>
                  </a:cubicBezTo>
                  <a:cubicBezTo>
                    <a:pt x="61" y="56"/>
                    <a:pt x="65" y="59"/>
                    <a:pt x="68" y="62"/>
                  </a:cubicBezTo>
                  <a:cubicBezTo>
                    <a:pt x="71" y="63"/>
                    <a:pt x="79" y="69"/>
                    <a:pt x="85" y="69"/>
                  </a:cubicBezTo>
                  <a:cubicBezTo>
                    <a:pt x="87" y="69"/>
                    <a:pt x="88" y="68"/>
                    <a:pt x="89" y="66"/>
                  </a:cubicBezTo>
                  <a:cubicBezTo>
                    <a:pt x="89" y="61"/>
                    <a:pt x="82" y="57"/>
                    <a:pt x="79" y="55"/>
                  </a:cubicBezTo>
                  <a:cubicBezTo>
                    <a:pt x="73" y="51"/>
                    <a:pt x="67" y="46"/>
                    <a:pt x="61" y="42"/>
                  </a:cubicBezTo>
                  <a:cubicBezTo>
                    <a:pt x="53" y="38"/>
                    <a:pt x="46" y="33"/>
                    <a:pt x="41" y="27"/>
                  </a:cubicBezTo>
                  <a:cubicBezTo>
                    <a:pt x="36" y="20"/>
                    <a:pt x="28" y="16"/>
                    <a:pt x="22" y="12"/>
                  </a:cubicBezTo>
                  <a:cubicBezTo>
                    <a:pt x="19" y="10"/>
                    <a:pt x="17" y="8"/>
                    <a:pt x="14" y="6"/>
                  </a:cubicBezTo>
                  <a:cubicBezTo>
                    <a:pt x="14" y="6"/>
                    <a:pt x="13" y="6"/>
                    <a:pt x="13" y="6"/>
                  </a:cubicBezTo>
                  <a:cubicBezTo>
                    <a:pt x="13" y="6"/>
                    <a:pt x="12" y="6"/>
                    <a:pt x="12" y="6"/>
                  </a:cubicBezTo>
                  <a:cubicBezTo>
                    <a:pt x="12" y="7"/>
                    <a:pt x="12" y="7"/>
                    <a:pt x="11" y="7"/>
                  </a:cubicBezTo>
                  <a:cubicBezTo>
                    <a:pt x="11" y="7"/>
                    <a:pt x="11" y="7"/>
                    <a:pt x="11" y="7"/>
                  </a:cubicBezTo>
                  <a:cubicBezTo>
                    <a:pt x="9" y="7"/>
                    <a:pt x="8" y="5"/>
                    <a:pt x="6" y="5"/>
                  </a:cubicBezTo>
                  <a:cubicBezTo>
                    <a:pt x="5" y="4"/>
                    <a:pt x="5" y="3"/>
                    <a:pt x="4"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2" name="Freeform 1490">
              <a:extLst>
                <a:ext uri="{FF2B5EF4-FFF2-40B4-BE49-F238E27FC236}">
                  <a16:creationId xmlns:a16="http://schemas.microsoft.com/office/drawing/2014/main" id="{8763D832-0CFE-4AAF-9CC1-CE489C5580B4}"/>
                </a:ext>
              </a:extLst>
            </p:cNvPr>
            <p:cNvSpPr>
              <a:spLocks/>
            </p:cNvSpPr>
            <p:nvPr/>
          </p:nvSpPr>
          <p:spPr bwMode="auto">
            <a:xfrm>
              <a:off x="4066" y="3437"/>
              <a:ext cx="0" cy="2"/>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1"/>
                  </a:cubicBezTo>
                  <a:cubicBezTo>
                    <a:pt x="0" y="1"/>
                    <a:pt x="0" y="1"/>
                    <a:pt x="0" y="1"/>
                  </a:cubicBezTo>
                  <a:cubicBezTo>
                    <a:pt x="0"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3" name="Freeform 1491">
              <a:extLst>
                <a:ext uri="{FF2B5EF4-FFF2-40B4-BE49-F238E27FC236}">
                  <a16:creationId xmlns:a16="http://schemas.microsoft.com/office/drawing/2014/main" id="{795B3D7A-1C2B-4805-A90F-BF72CF1519CC}"/>
                </a:ext>
              </a:extLst>
            </p:cNvPr>
            <p:cNvSpPr>
              <a:spLocks/>
            </p:cNvSpPr>
            <p:nvPr/>
          </p:nvSpPr>
          <p:spPr bwMode="auto">
            <a:xfrm>
              <a:off x="1440" y="2794"/>
              <a:ext cx="5" cy="17"/>
            </a:xfrm>
            <a:custGeom>
              <a:avLst/>
              <a:gdLst>
                <a:gd name="T0" fmla="*/ 2 w 2"/>
                <a:gd name="T1" fmla="*/ 0 h 7"/>
                <a:gd name="T2" fmla="*/ 0 w 2"/>
                <a:gd name="T3" fmla="*/ 7 h 7"/>
                <a:gd name="T4" fmla="*/ 2 w 2"/>
                <a:gd name="T5" fmla="*/ 0 h 7"/>
              </a:gdLst>
              <a:ahLst/>
              <a:cxnLst>
                <a:cxn ang="0">
                  <a:pos x="T0" y="T1"/>
                </a:cxn>
                <a:cxn ang="0">
                  <a:pos x="T2" y="T3"/>
                </a:cxn>
                <a:cxn ang="0">
                  <a:pos x="T4" y="T5"/>
                </a:cxn>
              </a:cxnLst>
              <a:rect l="0" t="0" r="r" b="b"/>
              <a:pathLst>
                <a:path w="2" h="7">
                  <a:moveTo>
                    <a:pt x="2" y="0"/>
                  </a:moveTo>
                  <a:cubicBezTo>
                    <a:pt x="1" y="2"/>
                    <a:pt x="1" y="5"/>
                    <a:pt x="0" y="7"/>
                  </a:cubicBezTo>
                  <a:cubicBezTo>
                    <a:pt x="1" y="5"/>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4" name="Freeform 1492">
              <a:extLst>
                <a:ext uri="{FF2B5EF4-FFF2-40B4-BE49-F238E27FC236}">
                  <a16:creationId xmlns:a16="http://schemas.microsoft.com/office/drawing/2014/main" id="{D90046A3-A9BA-4562-8CDD-70D5448D59F9}"/>
                </a:ext>
              </a:extLst>
            </p:cNvPr>
            <p:cNvSpPr>
              <a:spLocks/>
            </p:cNvSpPr>
            <p:nvPr/>
          </p:nvSpPr>
          <p:spPr bwMode="auto">
            <a:xfrm>
              <a:off x="1431" y="2827"/>
              <a:ext cx="21" cy="48"/>
            </a:xfrm>
            <a:custGeom>
              <a:avLst/>
              <a:gdLst>
                <a:gd name="T0" fmla="*/ 1 w 9"/>
                <a:gd name="T1" fmla="*/ 0 h 20"/>
                <a:gd name="T2" fmla="*/ 8 w 9"/>
                <a:gd name="T3" fmla="*/ 20 h 20"/>
                <a:gd name="T4" fmla="*/ 6 w 9"/>
                <a:gd name="T5" fmla="*/ 14 h 20"/>
                <a:gd name="T6" fmla="*/ 5 w 9"/>
                <a:gd name="T7" fmla="*/ 12 h 20"/>
                <a:gd name="T8" fmla="*/ 5 w 9"/>
                <a:gd name="T9" fmla="*/ 9 h 20"/>
                <a:gd name="T10" fmla="*/ 3 w 9"/>
                <a:gd name="T11" fmla="*/ 0 h 20"/>
                <a:gd name="T12" fmla="*/ 1 w 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9" h="20">
                  <a:moveTo>
                    <a:pt x="1" y="0"/>
                  </a:moveTo>
                  <a:cubicBezTo>
                    <a:pt x="0" y="8"/>
                    <a:pt x="4" y="13"/>
                    <a:pt x="8" y="20"/>
                  </a:cubicBezTo>
                  <a:cubicBezTo>
                    <a:pt x="9" y="15"/>
                    <a:pt x="7" y="16"/>
                    <a:pt x="6" y="14"/>
                  </a:cubicBezTo>
                  <a:cubicBezTo>
                    <a:pt x="5" y="13"/>
                    <a:pt x="6" y="12"/>
                    <a:pt x="5" y="12"/>
                  </a:cubicBezTo>
                  <a:cubicBezTo>
                    <a:pt x="5" y="11"/>
                    <a:pt x="5" y="10"/>
                    <a:pt x="5" y="9"/>
                  </a:cubicBezTo>
                  <a:cubicBezTo>
                    <a:pt x="4" y="7"/>
                    <a:pt x="1" y="2"/>
                    <a:pt x="3"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5" name="Freeform 1493">
              <a:extLst>
                <a:ext uri="{FF2B5EF4-FFF2-40B4-BE49-F238E27FC236}">
                  <a16:creationId xmlns:a16="http://schemas.microsoft.com/office/drawing/2014/main" id="{1E40F261-36C9-42D6-9C1B-C3335543AFEC}"/>
                </a:ext>
              </a:extLst>
            </p:cNvPr>
            <p:cNvSpPr>
              <a:spLocks/>
            </p:cNvSpPr>
            <p:nvPr/>
          </p:nvSpPr>
          <p:spPr bwMode="auto">
            <a:xfrm>
              <a:off x="1445" y="1778"/>
              <a:ext cx="2779" cy="2092"/>
            </a:xfrm>
            <a:custGeom>
              <a:avLst/>
              <a:gdLst>
                <a:gd name="T0" fmla="*/ 828 w 1176"/>
                <a:gd name="T1" fmla="*/ 64 h 885"/>
                <a:gd name="T2" fmla="*/ 811 w 1176"/>
                <a:gd name="T3" fmla="*/ 183 h 885"/>
                <a:gd name="T4" fmla="*/ 691 w 1176"/>
                <a:gd name="T5" fmla="*/ 154 h 885"/>
                <a:gd name="T6" fmla="*/ 664 w 1176"/>
                <a:gd name="T7" fmla="*/ 76 h 885"/>
                <a:gd name="T8" fmla="*/ 693 w 1176"/>
                <a:gd name="T9" fmla="*/ 48 h 885"/>
                <a:gd name="T10" fmla="*/ 656 w 1176"/>
                <a:gd name="T11" fmla="*/ 46 h 885"/>
                <a:gd name="T12" fmla="*/ 628 w 1176"/>
                <a:gd name="T13" fmla="*/ 36 h 885"/>
                <a:gd name="T14" fmla="*/ 572 w 1176"/>
                <a:gd name="T15" fmla="*/ 20 h 885"/>
                <a:gd name="T16" fmla="*/ 548 w 1176"/>
                <a:gd name="T17" fmla="*/ 21 h 885"/>
                <a:gd name="T18" fmla="*/ 559 w 1176"/>
                <a:gd name="T19" fmla="*/ 49 h 885"/>
                <a:gd name="T20" fmla="*/ 517 w 1176"/>
                <a:gd name="T21" fmla="*/ 52 h 885"/>
                <a:gd name="T22" fmla="*/ 489 w 1176"/>
                <a:gd name="T23" fmla="*/ 83 h 885"/>
                <a:gd name="T24" fmla="*/ 481 w 1176"/>
                <a:gd name="T25" fmla="*/ 132 h 885"/>
                <a:gd name="T26" fmla="*/ 445 w 1176"/>
                <a:gd name="T27" fmla="*/ 122 h 885"/>
                <a:gd name="T28" fmla="*/ 433 w 1176"/>
                <a:gd name="T29" fmla="*/ 112 h 885"/>
                <a:gd name="T30" fmla="*/ 389 w 1176"/>
                <a:gd name="T31" fmla="*/ 99 h 885"/>
                <a:gd name="T32" fmla="*/ 377 w 1176"/>
                <a:gd name="T33" fmla="*/ 103 h 885"/>
                <a:gd name="T34" fmla="*/ 356 w 1176"/>
                <a:gd name="T35" fmla="*/ 113 h 885"/>
                <a:gd name="T36" fmla="*/ 357 w 1176"/>
                <a:gd name="T37" fmla="*/ 130 h 885"/>
                <a:gd name="T38" fmla="*/ 340 w 1176"/>
                <a:gd name="T39" fmla="*/ 137 h 885"/>
                <a:gd name="T40" fmla="*/ 328 w 1176"/>
                <a:gd name="T41" fmla="*/ 166 h 885"/>
                <a:gd name="T42" fmla="*/ 316 w 1176"/>
                <a:gd name="T43" fmla="*/ 167 h 885"/>
                <a:gd name="T44" fmla="*/ 306 w 1176"/>
                <a:gd name="T45" fmla="*/ 170 h 885"/>
                <a:gd name="T46" fmla="*/ 314 w 1176"/>
                <a:gd name="T47" fmla="*/ 180 h 885"/>
                <a:gd name="T48" fmla="*/ 286 w 1176"/>
                <a:gd name="T49" fmla="*/ 167 h 885"/>
                <a:gd name="T50" fmla="*/ 192 w 1176"/>
                <a:gd name="T51" fmla="*/ 276 h 885"/>
                <a:gd name="T52" fmla="*/ 117 w 1176"/>
                <a:gd name="T53" fmla="*/ 295 h 885"/>
                <a:gd name="T54" fmla="*/ 30 w 1176"/>
                <a:gd name="T55" fmla="*/ 353 h 885"/>
                <a:gd name="T56" fmla="*/ 26 w 1176"/>
                <a:gd name="T57" fmla="*/ 472 h 885"/>
                <a:gd name="T58" fmla="*/ 18 w 1176"/>
                <a:gd name="T59" fmla="*/ 478 h 885"/>
                <a:gd name="T60" fmla="*/ 0 w 1176"/>
                <a:gd name="T61" fmla="*/ 464 h 885"/>
                <a:gd name="T62" fmla="*/ 75 w 1176"/>
                <a:gd name="T63" fmla="*/ 674 h 885"/>
                <a:gd name="T64" fmla="*/ 110 w 1176"/>
                <a:gd name="T65" fmla="*/ 748 h 885"/>
                <a:gd name="T66" fmla="*/ 197 w 1176"/>
                <a:gd name="T67" fmla="*/ 715 h 885"/>
                <a:gd name="T68" fmla="*/ 291 w 1176"/>
                <a:gd name="T69" fmla="*/ 714 h 885"/>
                <a:gd name="T70" fmla="*/ 378 w 1176"/>
                <a:gd name="T71" fmla="*/ 658 h 885"/>
                <a:gd name="T72" fmla="*/ 528 w 1176"/>
                <a:gd name="T73" fmla="*/ 635 h 885"/>
                <a:gd name="T74" fmla="*/ 594 w 1176"/>
                <a:gd name="T75" fmla="*/ 653 h 885"/>
                <a:gd name="T76" fmla="*/ 622 w 1176"/>
                <a:gd name="T77" fmla="*/ 689 h 885"/>
                <a:gd name="T78" fmla="*/ 645 w 1176"/>
                <a:gd name="T79" fmla="*/ 736 h 885"/>
                <a:gd name="T80" fmla="*/ 697 w 1176"/>
                <a:gd name="T81" fmla="*/ 705 h 885"/>
                <a:gd name="T82" fmla="*/ 709 w 1176"/>
                <a:gd name="T83" fmla="*/ 717 h 885"/>
                <a:gd name="T84" fmla="*/ 708 w 1176"/>
                <a:gd name="T85" fmla="*/ 751 h 885"/>
                <a:gd name="T86" fmla="*/ 733 w 1176"/>
                <a:gd name="T87" fmla="*/ 768 h 885"/>
                <a:gd name="T88" fmla="*/ 749 w 1176"/>
                <a:gd name="T89" fmla="*/ 766 h 885"/>
                <a:gd name="T90" fmla="*/ 835 w 1176"/>
                <a:gd name="T91" fmla="*/ 857 h 885"/>
                <a:gd name="T92" fmla="*/ 909 w 1176"/>
                <a:gd name="T93" fmla="*/ 852 h 885"/>
                <a:gd name="T94" fmla="*/ 939 w 1176"/>
                <a:gd name="T95" fmla="*/ 855 h 885"/>
                <a:gd name="T96" fmla="*/ 963 w 1176"/>
                <a:gd name="T97" fmla="*/ 877 h 885"/>
                <a:gd name="T98" fmla="*/ 1067 w 1176"/>
                <a:gd name="T99" fmla="*/ 831 h 885"/>
                <a:gd name="T100" fmla="*/ 1094 w 1176"/>
                <a:gd name="T101" fmla="*/ 733 h 885"/>
                <a:gd name="T102" fmla="*/ 1144 w 1176"/>
                <a:gd name="T103" fmla="*/ 658 h 885"/>
                <a:gd name="T104" fmla="*/ 1161 w 1176"/>
                <a:gd name="T105" fmla="*/ 494 h 885"/>
                <a:gd name="T106" fmla="*/ 1141 w 1176"/>
                <a:gd name="T107" fmla="*/ 421 h 885"/>
                <a:gd name="T108" fmla="*/ 1093 w 1176"/>
                <a:gd name="T109" fmla="*/ 353 h 885"/>
                <a:gd name="T110" fmla="*/ 1064 w 1176"/>
                <a:gd name="T111" fmla="*/ 351 h 885"/>
                <a:gd name="T112" fmla="*/ 1025 w 1176"/>
                <a:gd name="T113" fmla="*/ 282 h 885"/>
                <a:gd name="T114" fmla="*/ 984 w 1176"/>
                <a:gd name="T115" fmla="*/ 252 h 885"/>
                <a:gd name="T116" fmla="*/ 939 w 1176"/>
                <a:gd name="T117" fmla="*/ 171 h 885"/>
                <a:gd name="T118" fmla="*/ 904 w 1176"/>
                <a:gd name="T119" fmla="*/ 105 h 885"/>
                <a:gd name="T120" fmla="*/ 872 w 1176"/>
                <a:gd name="T121" fmla="*/ 48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76" h="885">
                  <a:moveTo>
                    <a:pt x="853" y="0"/>
                  </a:moveTo>
                  <a:cubicBezTo>
                    <a:pt x="851" y="0"/>
                    <a:pt x="843" y="6"/>
                    <a:pt x="842" y="7"/>
                  </a:cubicBezTo>
                  <a:cubicBezTo>
                    <a:pt x="840" y="17"/>
                    <a:pt x="838" y="28"/>
                    <a:pt x="835" y="38"/>
                  </a:cubicBezTo>
                  <a:cubicBezTo>
                    <a:pt x="835" y="37"/>
                    <a:pt x="835" y="37"/>
                    <a:pt x="835" y="37"/>
                  </a:cubicBezTo>
                  <a:cubicBezTo>
                    <a:pt x="830" y="39"/>
                    <a:pt x="829" y="49"/>
                    <a:pt x="827" y="53"/>
                  </a:cubicBezTo>
                  <a:cubicBezTo>
                    <a:pt x="827" y="52"/>
                    <a:pt x="828" y="51"/>
                    <a:pt x="829" y="51"/>
                  </a:cubicBezTo>
                  <a:cubicBezTo>
                    <a:pt x="830" y="51"/>
                    <a:pt x="831" y="51"/>
                    <a:pt x="832" y="52"/>
                  </a:cubicBezTo>
                  <a:cubicBezTo>
                    <a:pt x="834" y="54"/>
                    <a:pt x="836" y="54"/>
                    <a:pt x="836" y="58"/>
                  </a:cubicBezTo>
                  <a:cubicBezTo>
                    <a:pt x="835" y="60"/>
                    <a:pt x="837" y="62"/>
                    <a:pt x="836" y="64"/>
                  </a:cubicBezTo>
                  <a:cubicBezTo>
                    <a:pt x="836" y="62"/>
                    <a:pt x="836" y="58"/>
                    <a:pt x="834" y="58"/>
                  </a:cubicBezTo>
                  <a:cubicBezTo>
                    <a:pt x="833" y="58"/>
                    <a:pt x="833" y="58"/>
                    <a:pt x="833" y="58"/>
                  </a:cubicBezTo>
                  <a:cubicBezTo>
                    <a:pt x="833" y="58"/>
                    <a:pt x="833" y="58"/>
                    <a:pt x="833" y="57"/>
                  </a:cubicBezTo>
                  <a:cubicBezTo>
                    <a:pt x="831" y="60"/>
                    <a:pt x="830" y="63"/>
                    <a:pt x="828" y="64"/>
                  </a:cubicBezTo>
                  <a:cubicBezTo>
                    <a:pt x="828" y="67"/>
                    <a:pt x="830" y="71"/>
                    <a:pt x="829" y="74"/>
                  </a:cubicBezTo>
                  <a:cubicBezTo>
                    <a:pt x="829" y="77"/>
                    <a:pt x="826" y="80"/>
                    <a:pt x="825" y="82"/>
                  </a:cubicBezTo>
                  <a:cubicBezTo>
                    <a:pt x="825" y="84"/>
                    <a:pt x="824" y="85"/>
                    <a:pt x="824" y="86"/>
                  </a:cubicBezTo>
                  <a:cubicBezTo>
                    <a:pt x="824" y="87"/>
                    <a:pt x="823" y="89"/>
                    <a:pt x="823" y="91"/>
                  </a:cubicBezTo>
                  <a:cubicBezTo>
                    <a:pt x="823" y="93"/>
                    <a:pt x="824" y="95"/>
                    <a:pt x="825" y="97"/>
                  </a:cubicBezTo>
                  <a:cubicBezTo>
                    <a:pt x="827" y="101"/>
                    <a:pt x="827" y="104"/>
                    <a:pt x="826" y="109"/>
                  </a:cubicBezTo>
                  <a:cubicBezTo>
                    <a:pt x="826" y="113"/>
                    <a:pt x="826" y="117"/>
                    <a:pt x="827" y="121"/>
                  </a:cubicBezTo>
                  <a:cubicBezTo>
                    <a:pt x="827" y="123"/>
                    <a:pt x="828" y="124"/>
                    <a:pt x="828" y="125"/>
                  </a:cubicBezTo>
                  <a:cubicBezTo>
                    <a:pt x="829" y="128"/>
                    <a:pt x="828" y="130"/>
                    <a:pt x="827" y="134"/>
                  </a:cubicBezTo>
                  <a:cubicBezTo>
                    <a:pt x="825" y="141"/>
                    <a:pt x="822" y="147"/>
                    <a:pt x="821" y="154"/>
                  </a:cubicBezTo>
                  <a:cubicBezTo>
                    <a:pt x="820" y="156"/>
                    <a:pt x="822" y="157"/>
                    <a:pt x="822" y="158"/>
                  </a:cubicBezTo>
                  <a:cubicBezTo>
                    <a:pt x="822" y="160"/>
                    <a:pt x="820" y="164"/>
                    <a:pt x="819" y="166"/>
                  </a:cubicBezTo>
                  <a:cubicBezTo>
                    <a:pt x="816" y="172"/>
                    <a:pt x="814" y="177"/>
                    <a:pt x="811" y="183"/>
                  </a:cubicBezTo>
                  <a:cubicBezTo>
                    <a:pt x="809" y="188"/>
                    <a:pt x="808" y="194"/>
                    <a:pt x="805" y="198"/>
                  </a:cubicBezTo>
                  <a:cubicBezTo>
                    <a:pt x="801" y="202"/>
                    <a:pt x="796" y="205"/>
                    <a:pt x="791" y="206"/>
                  </a:cubicBezTo>
                  <a:cubicBezTo>
                    <a:pt x="789" y="207"/>
                    <a:pt x="786" y="207"/>
                    <a:pt x="783" y="207"/>
                  </a:cubicBezTo>
                  <a:cubicBezTo>
                    <a:pt x="783" y="207"/>
                    <a:pt x="782" y="207"/>
                    <a:pt x="782" y="207"/>
                  </a:cubicBezTo>
                  <a:cubicBezTo>
                    <a:pt x="777" y="207"/>
                    <a:pt x="773" y="202"/>
                    <a:pt x="769" y="199"/>
                  </a:cubicBezTo>
                  <a:cubicBezTo>
                    <a:pt x="765" y="196"/>
                    <a:pt x="761" y="193"/>
                    <a:pt x="757" y="190"/>
                  </a:cubicBezTo>
                  <a:cubicBezTo>
                    <a:pt x="755" y="188"/>
                    <a:pt x="756" y="187"/>
                    <a:pt x="754" y="186"/>
                  </a:cubicBezTo>
                  <a:cubicBezTo>
                    <a:pt x="751" y="184"/>
                    <a:pt x="751" y="182"/>
                    <a:pt x="747" y="181"/>
                  </a:cubicBezTo>
                  <a:cubicBezTo>
                    <a:pt x="738" y="178"/>
                    <a:pt x="730" y="175"/>
                    <a:pt x="722" y="173"/>
                  </a:cubicBezTo>
                  <a:cubicBezTo>
                    <a:pt x="722" y="173"/>
                    <a:pt x="722" y="173"/>
                    <a:pt x="722" y="173"/>
                  </a:cubicBezTo>
                  <a:cubicBezTo>
                    <a:pt x="722" y="171"/>
                    <a:pt x="709" y="165"/>
                    <a:pt x="708" y="164"/>
                  </a:cubicBezTo>
                  <a:cubicBezTo>
                    <a:pt x="702" y="160"/>
                    <a:pt x="697" y="157"/>
                    <a:pt x="691" y="153"/>
                  </a:cubicBezTo>
                  <a:cubicBezTo>
                    <a:pt x="691" y="154"/>
                    <a:pt x="691" y="154"/>
                    <a:pt x="691" y="154"/>
                  </a:cubicBezTo>
                  <a:cubicBezTo>
                    <a:pt x="690" y="154"/>
                    <a:pt x="689" y="154"/>
                    <a:pt x="688" y="154"/>
                  </a:cubicBezTo>
                  <a:cubicBezTo>
                    <a:pt x="688" y="154"/>
                    <a:pt x="687" y="154"/>
                    <a:pt x="687" y="154"/>
                  </a:cubicBezTo>
                  <a:cubicBezTo>
                    <a:pt x="686" y="154"/>
                    <a:pt x="686" y="154"/>
                    <a:pt x="686" y="154"/>
                  </a:cubicBezTo>
                  <a:cubicBezTo>
                    <a:pt x="685" y="154"/>
                    <a:pt x="684" y="154"/>
                    <a:pt x="683" y="153"/>
                  </a:cubicBezTo>
                  <a:cubicBezTo>
                    <a:pt x="673" y="144"/>
                    <a:pt x="663" y="135"/>
                    <a:pt x="652" y="127"/>
                  </a:cubicBezTo>
                  <a:cubicBezTo>
                    <a:pt x="651" y="127"/>
                    <a:pt x="650" y="126"/>
                    <a:pt x="649" y="125"/>
                  </a:cubicBezTo>
                  <a:cubicBezTo>
                    <a:pt x="647" y="117"/>
                    <a:pt x="652" y="113"/>
                    <a:pt x="656" y="107"/>
                  </a:cubicBezTo>
                  <a:cubicBezTo>
                    <a:pt x="660" y="103"/>
                    <a:pt x="661" y="98"/>
                    <a:pt x="663" y="93"/>
                  </a:cubicBezTo>
                  <a:cubicBezTo>
                    <a:pt x="664" y="91"/>
                    <a:pt x="666" y="88"/>
                    <a:pt x="666" y="86"/>
                  </a:cubicBezTo>
                  <a:cubicBezTo>
                    <a:pt x="664" y="87"/>
                    <a:pt x="664" y="89"/>
                    <a:pt x="663" y="89"/>
                  </a:cubicBezTo>
                  <a:cubicBezTo>
                    <a:pt x="662" y="89"/>
                    <a:pt x="662" y="89"/>
                    <a:pt x="661" y="88"/>
                  </a:cubicBezTo>
                  <a:cubicBezTo>
                    <a:pt x="660" y="88"/>
                    <a:pt x="660" y="84"/>
                    <a:pt x="660" y="83"/>
                  </a:cubicBezTo>
                  <a:cubicBezTo>
                    <a:pt x="660" y="80"/>
                    <a:pt x="660" y="76"/>
                    <a:pt x="664" y="76"/>
                  </a:cubicBezTo>
                  <a:cubicBezTo>
                    <a:pt x="664" y="76"/>
                    <a:pt x="664" y="76"/>
                    <a:pt x="664" y="76"/>
                  </a:cubicBezTo>
                  <a:cubicBezTo>
                    <a:pt x="664" y="76"/>
                    <a:pt x="664" y="76"/>
                    <a:pt x="664" y="76"/>
                  </a:cubicBezTo>
                  <a:cubicBezTo>
                    <a:pt x="668" y="76"/>
                    <a:pt x="672" y="73"/>
                    <a:pt x="675" y="71"/>
                  </a:cubicBezTo>
                  <a:cubicBezTo>
                    <a:pt x="676" y="73"/>
                    <a:pt x="674" y="74"/>
                    <a:pt x="674" y="77"/>
                  </a:cubicBezTo>
                  <a:cubicBezTo>
                    <a:pt x="675" y="76"/>
                    <a:pt x="676" y="75"/>
                    <a:pt x="678" y="75"/>
                  </a:cubicBezTo>
                  <a:cubicBezTo>
                    <a:pt x="678" y="72"/>
                    <a:pt x="678" y="66"/>
                    <a:pt x="680" y="66"/>
                  </a:cubicBezTo>
                  <a:cubicBezTo>
                    <a:pt x="681" y="66"/>
                    <a:pt x="682" y="66"/>
                    <a:pt x="683" y="68"/>
                  </a:cubicBezTo>
                  <a:cubicBezTo>
                    <a:pt x="682" y="66"/>
                    <a:pt x="681" y="65"/>
                    <a:pt x="680" y="65"/>
                  </a:cubicBezTo>
                  <a:cubicBezTo>
                    <a:pt x="680" y="65"/>
                    <a:pt x="680" y="65"/>
                    <a:pt x="680" y="65"/>
                  </a:cubicBezTo>
                  <a:cubicBezTo>
                    <a:pt x="679" y="64"/>
                    <a:pt x="678" y="62"/>
                    <a:pt x="678" y="61"/>
                  </a:cubicBezTo>
                  <a:cubicBezTo>
                    <a:pt x="680" y="61"/>
                    <a:pt x="681" y="62"/>
                    <a:pt x="682" y="62"/>
                  </a:cubicBezTo>
                  <a:cubicBezTo>
                    <a:pt x="682" y="62"/>
                    <a:pt x="682" y="61"/>
                    <a:pt x="683" y="59"/>
                  </a:cubicBezTo>
                  <a:cubicBezTo>
                    <a:pt x="686" y="52"/>
                    <a:pt x="686" y="52"/>
                    <a:pt x="693" y="48"/>
                  </a:cubicBezTo>
                  <a:cubicBezTo>
                    <a:pt x="691" y="45"/>
                    <a:pt x="689" y="44"/>
                    <a:pt x="687" y="43"/>
                  </a:cubicBezTo>
                  <a:cubicBezTo>
                    <a:pt x="686" y="45"/>
                    <a:pt x="685" y="46"/>
                    <a:pt x="685" y="46"/>
                  </a:cubicBezTo>
                  <a:cubicBezTo>
                    <a:pt x="682" y="46"/>
                    <a:pt x="681" y="38"/>
                    <a:pt x="678" y="37"/>
                  </a:cubicBezTo>
                  <a:cubicBezTo>
                    <a:pt x="680" y="37"/>
                    <a:pt x="682" y="36"/>
                    <a:pt x="681" y="34"/>
                  </a:cubicBezTo>
                  <a:cubicBezTo>
                    <a:pt x="678" y="36"/>
                    <a:pt x="674" y="39"/>
                    <a:pt x="671" y="41"/>
                  </a:cubicBezTo>
                  <a:cubicBezTo>
                    <a:pt x="667" y="45"/>
                    <a:pt x="674" y="42"/>
                    <a:pt x="675" y="45"/>
                  </a:cubicBezTo>
                  <a:cubicBezTo>
                    <a:pt x="675" y="46"/>
                    <a:pt x="673" y="50"/>
                    <a:pt x="672" y="51"/>
                  </a:cubicBezTo>
                  <a:cubicBezTo>
                    <a:pt x="671" y="51"/>
                    <a:pt x="671" y="51"/>
                    <a:pt x="670" y="51"/>
                  </a:cubicBezTo>
                  <a:cubicBezTo>
                    <a:pt x="668" y="51"/>
                    <a:pt x="666" y="48"/>
                    <a:pt x="665" y="46"/>
                  </a:cubicBezTo>
                  <a:cubicBezTo>
                    <a:pt x="665" y="46"/>
                    <a:pt x="667" y="46"/>
                    <a:pt x="666" y="45"/>
                  </a:cubicBezTo>
                  <a:cubicBezTo>
                    <a:pt x="665" y="44"/>
                    <a:pt x="664" y="44"/>
                    <a:pt x="663" y="43"/>
                  </a:cubicBezTo>
                  <a:cubicBezTo>
                    <a:pt x="664" y="42"/>
                    <a:pt x="665" y="41"/>
                    <a:pt x="666" y="40"/>
                  </a:cubicBezTo>
                  <a:cubicBezTo>
                    <a:pt x="662" y="42"/>
                    <a:pt x="659" y="44"/>
                    <a:pt x="656" y="46"/>
                  </a:cubicBezTo>
                  <a:cubicBezTo>
                    <a:pt x="652" y="43"/>
                    <a:pt x="658" y="38"/>
                    <a:pt x="662" y="37"/>
                  </a:cubicBezTo>
                  <a:cubicBezTo>
                    <a:pt x="657" y="36"/>
                    <a:pt x="661" y="35"/>
                    <a:pt x="661" y="33"/>
                  </a:cubicBezTo>
                  <a:cubicBezTo>
                    <a:pt x="662" y="32"/>
                    <a:pt x="663" y="31"/>
                    <a:pt x="662" y="31"/>
                  </a:cubicBezTo>
                  <a:cubicBezTo>
                    <a:pt x="662" y="31"/>
                    <a:pt x="661" y="31"/>
                    <a:pt x="661" y="31"/>
                  </a:cubicBezTo>
                  <a:cubicBezTo>
                    <a:pt x="660" y="32"/>
                    <a:pt x="659" y="34"/>
                    <a:pt x="658" y="35"/>
                  </a:cubicBezTo>
                  <a:cubicBezTo>
                    <a:pt x="657" y="36"/>
                    <a:pt x="656" y="36"/>
                    <a:pt x="655" y="36"/>
                  </a:cubicBezTo>
                  <a:cubicBezTo>
                    <a:pt x="654" y="37"/>
                    <a:pt x="651" y="40"/>
                    <a:pt x="652" y="40"/>
                  </a:cubicBezTo>
                  <a:cubicBezTo>
                    <a:pt x="653" y="40"/>
                    <a:pt x="653" y="39"/>
                    <a:pt x="654" y="39"/>
                  </a:cubicBezTo>
                  <a:cubicBezTo>
                    <a:pt x="651" y="42"/>
                    <a:pt x="646" y="42"/>
                    <a:pt x="643" y="43"/>
                  </a:cubicBezTo>
                  <a:cubicBezTo>
                    <a:pt x="644" y="44"/>
                    <a:pt x="644" y="44"/>
                    <a:pt x="645" y="45"/>
                  </a:cubicBezTo>
                  <a:cubicBezTo>
                    <a:pt x="644" y="45"/>
                    <a:pt x="643" y="45"/>
                    <a:pt x="642" y="45"/>
                  </a:cubicBezTo>
                  <a:cubicBezTo>
                    <a:pt x="639" y="45"/>
                    <a:pt x="637" y="43"/>
                    <a:pt x="633" y="41"/>
                  </a:cubicBezTo>
                  <a:cubicBezTo>
                    <a:pt x="632" y="40"/>
                    <a:pt x="628" y="39"/>
                    <a:pt x="628" y="36"/>
                  </a:cubicBezTo>
                  <a:cubicBezTo>
                    <a:pt x="625" y="38"/>
                    <a:pt x="624" y="39"/>
                    <a:pt x="620" y="39"/>
                  </a:cubicBezTo>
                  <a:cubicBezTo>
                    <a:pt x="620" y="39"/>
                    <a:pt x="620" y="39"/>
                    <a:pt x="620" y="39"/>
                  </a:cubicBezTo>
                  <a:cubicBezTo>
                    <a:pt x="618" y="39"/>
                    <a:pt x="617" y="39"/>
                    <a:pt x="615" y="39"/>
                  </a:cubicBezTo>
                  <a:cubicBezTo>
                    <a:pt x="614" y="39"/>
                    <a:pt x="613" y="39"/>
                    <a:pt x="612" y="40"/>
                  </a:cubicBezTo>
                  <a:cubicBezTo>
                    <a:pt x="610" y="38"/>
                    <a:pt x="612" y="37"/>
                    <a:pt x="611" y="36"/>
                  </a:cubicBezTo>
                  <a:cubicBezTo>
                    <a:pt x="609" y="33"/>
                    <a:pt x="606" y="33"/>
                    <a:pt x="603" y="31"/>
                  </a:cubicBezTo>
                  <a:cubicBezTo>
                    <a:pt x="604" y="30"/>
                    <a:pt x="604" y="30"/>
                    <a:pt x="603" y="30"/>
                  </a:cubicBezTo>
                  <a:cubicBezTo>
                    <a:pt x="601" y="30"/>
                    <a:pt x="598" y="31"/>
                    <a:pt x="597" y="31"/>
                  </a:cubicBezTo>
                  <a:cubicBezTo>
                    <a:pt x="593" y="34"/>
                    <a:pt x="593" y="34"/>
                    <a:pt x="593" y="34"/>
                  </a:cubicBezTo>
                  <a:cubicBezTo>
                    <a:pt x="594" y="29"/>
                    <a:pt x="585" y="28"/>
                    <a:pt x="582" y="26"/>
                  </a:cubicBezTo>
                  <a:cubicBezTo>
                    <a:pt x="579" y="25"/>
                    <a:pt x="580" y="24"/>
                    <a:pt x="578" y="22"/>
                  </a:cubicBezTo>
                  <a:cubicBezTo>
                    <a:pt x="577" y="21"/>
                    <a:pt x="576" y="19"/>
                    <a:pt x="575" y="19"/>
                  </a:cubicBezTo>
                  <a:cubicBezTo>
                    <a:pt x="574" y="19"/>
                    <a:pt x="573" y="19"/>
                    <a:pt x="572" y="20"/>
                  </a:cubicBezTo>
                  <a:cubicBezTo>
                    <a:pt x="572" y="21"/>
                    <a:pt x="571" y="23"/>
                    <a:pt x="570" y="23"/>
                  </a:cubicBezTo>
                  <a:cubicBezTo>
                    <a:pt x="570" y="23"/>
                    <a:pt x="569" y="23"/>
                    <a:pt x="569" y="23"/>
                  </a:cubicBezTo>
                  <a:cubicBezTo>
                    <a:pt x="567" y="23"/>
                    <a:pt x="566" y="20"/>
                    <a:pt x="564" y="18"/>
                  </a:cubicBezTo>
                  <a:cubicBezTo>
                    <a:pt x="563" y="17"/>
                    <a:pt x="559" y="14"/>
                    <a:pt x="558" y="12"/>
                  </a:cubicBezTo>
                  <a:cubicBezTo>
                    <a:pt x="557" y="13"/>
                    <a:pt x="556" y="15"/>
                    <a:pt x="556" y="16"/>
                  </a:cubicBezTo>
                  <a:cubicBezTo>
                    <a:pt x="555" y="15"/>
                    <a:pt x="554" y="14"/>
                    <a:pt x="553" y="12"/>
                  </a:cubicBezTo>
                  <a:cubicBezTo>
                    <a:pt x="553" y="16"/>
                    <a:pt x="555" y="18"/>
                    <a:pt x="554" y="20"/>
                  </a:cubicBezTo>
                  <a:cubicBezTo>
                    <a:pt x="551" y="16"/>
                    <a:pt x="550" y="13"/>
                    <a:pt x="547" y="13"/>
                  </a:cubicBezTo>
                  <a:cubicBezTo>
                    <a:pt x="546" y="13"/>
                    <a:pt x="545" y="13"/>
                    <a:pt x="543" y="14"/>
                  </a:cubicBezTo>
                  <a:cubicBezTo>
                    <a:pt x="544" y="17"/>
                    <a:pt x="546" y="18"/>
                    <a:pt x="547" y="19"/>
                  </a:cubicBezTo>
                  <a:cubicBezTo>
                    <a:pt x="548" y="21"/>
                    <a:pt x="548" y="21"/>
                    <a:pt x="548" y="21"/>
                  </a:cubicBezTo>
                  <a:cubicBezTo>
                    <a:pt x="548" y="21"/>
                    <a:pt x="548" y="21"/>
                    <a:pt x="548" y="21"/>
                  </a:cubicBezTo>
                  <a:cubicBezTo>
                    <a:pt x="548" y="21"/>
                    <a:pt x="548" y="21"/>
                    <a:pt x="548" y="21"/>
                  </a:cubicBezTo>
                  <a:cubicBezTo>
                    <a:pt x="549" y="21"/>
                    <a:pt x="549" y="21"/>
                    <a:pt x="549" y="21"/>
                  </a:cubicBezTo>
                  <a:cubicBezTo>
                    <a:pt x="549" y="21"/>
                    <a:pt x="549" y="21"/>
                    <a:pt x="549" y="21"/>
                  </a:cubicBezTo>
                  <a:cubicBezTo>
                    <a:pt x="551" y="22"/>
                    <a:pt x="549" y="23"/>
                    <a:pt x="552" y="24"/>
                  </a:cubicBezTo>
                  <a:cubicBezTo>
                    <a:pt x="552" y="24"/>
                    <a:pt x="552" y="24"/>
                    <a:pt x="552" y="24"/>
                  </a:cubicBezTo>
                  <a:cubicBezTo>
                    <a:pt x="552" y="24"/>
                    <a:pt x="554" y="22"/>
                    <a:pt x="555" y="22"/>
                  </a:cubicBezTo>
                  <a:cubicBezTo>
                    <a:pt x="556" y="21"/>
                    <a:pt x="557" y="21"/>
                    <a:pt x="558" y="21"/>
                  </a:cubicBezTo>
                  <a:cubicBezTo>
                    <a:pt x="560" y="21"/>
                    <a:pt x="561" y="22"/>
                    <a:pt x="562" y="22"/>
                  </a:cubicBezTo>
                  <a:cubicBezTo>
                    <a:pt x="563" y="23"/>
                    <a:pt x="564" y="25"/>
                    <a:pt x="564" y="26"/>
                  </a:cubicBezTo>
                  <a:cubicBezTo>
                    <a:pt x="565" y="26"/>
                    <a:pt x="567" y="27"/>
                    <a:pt x="568" y="27"/>
                  </a:cubicBezTo>
                  <a:cubicBezTo>
                    <a:pt x="568" y="29"/>
                    <a:pt x="566" y="35"/>
                    <a:pt x="566" y="37"/>
                  </a:cubicBezTo>
                  <a:cubicBezTo>
                    <a:pt x="567" y="40"/>
                    <a:pt x="567" y="41"/>
                    <a:pt x="570" y="41"/>
                  </a:cubicBezTo>
                  <a:cubicBezTo>
                    <a:pt x="567" y="43"/>
                    <a:pt x="563" y="45"/>
                    <a:pt x="561" y="47"/>
                  </a:cubicBezTo>
                  <a:cubicBezTo>
                    <a:pt x="561" y="47"/>
                    <a:pt x="560" y="48"/>
                    <a:pt x="559" y="49"/>
                  </a:cubicBezTo>
                  <a:cubicBezTo>
                    <a:pt x="560" y="47"/>
                    <a:pt x="560" y="44"/>
                    <a:pt x="558" y="43"/>
                  </a:cubicBezTo>
                  <a:cubicBezTo>
                    <a:pt x="557" y="43"/>
                    <a:pt x="557" y="43"/>
                    <a:pt x="556" y="43"/>
                  </a:cubicBezTo>
                  <a:cubicBezTo>
                    <a:pt x="554" y="43"/>
                    <a:pt x="554" y="45"/>
                    <a:pt x="550" y="46"/>
                  </a:cubicBezTo>
                  <a:cubicBezTo>
                    <a:pt x="549" y="47"/>
                    <a:pt x="547" y="47"/>
                    <a:pt x="544" y="47"/>
                  </a:cubicBezTo>
                  <a:cubicBezTo>
                    <a:pt x="539" y="47"/>
                    <a:pt x="530" y="46"/>
                    <a:pt x="530" y="44"/>
                  </a:cubicBezTo>
                  <a:cubicBezTo>
                    <a:pt x="529" y="43"/>
                    <a:pt x="528" y="41"/>
                    <a:pt x="528" y="39"/>
                  </a:cubicBezTo>
                  <a:cubicBezTo>
                    <a:pt x="527" y="41"/>
                    <a:pt x="526" y="43"/>
                    <a:pt x="526" y="44"/>
                  </a:cubicBezTo>
                  <a:cubicBezTo>
                    <a:pt x="526" y="44"/>
                    <a:pt x="522" y="42"/>
                    <a:pt x="521" y="42"/>
                  </a:cubicBezTo>
                  <a:cubicBezTo>
                    <a:pt x="521" y="42"/>
                    <a:pt x="520" y="42"/>
                    <a:pt x="520" y="42"/>
                  </a:cubicBezTo>
                  <a:cubicBezTo>
                    <a:pt x="519" y="43"/>
                    <a:pt x="519" y="47"/>
                    <a:pt x="520" y="48"/>
                  </a:cubicBezTo>
                  <a:cubicBezTo>
                    <a:pt x="519" y="48"/>
                    <a:pt x="518" y="48"/>
                    <a:pt x="517" y="48"/>
                  </a:cubicBezTo>
                  <a:cubicBezTo>
                    <a:pt x="517" y="48"/>
                    <a:pt x="516" y="48"/>
                    <a:pt x="516" y="49"/>
                  </a:cubicBezTo>
                  <a:cubicBezTo>
                    <a:pt x="516" y="52"/>
                    <a:pt x="517" y="51"/>
                    <a:pt x="517" y="52"/>
                  </a:cubicBezTo>
                  <a:cubicBezTo>
                    <a:pt x="518" y="54"/>
                    <a:pt x="517" y="54"/>
                    <a:pt x="518" y="56"/>
                  </a:cubicBezTo>
                  <a:cubicBezTo>
                    <a:pt x="517" y="56"/>
                    <a:pt x="514" y="54"/>
                    <a:pt x="514" y="54"/>
                  </a:cubicBezTo>
                  <a:cubicBezTo>
                    <a:pt x="513" y="53"/>
                    <a:pt x="513" y="52"/>
                    <a:pt x="513" y="52"/>
                  </a:cubicBezTo>
                  <a:cubicBezTo>
                    <a:pt x="512" y="51"/>
                    <a:pt x="512" y="49"/>
                    <a:pt x="509" y="49"/>
                  </a:cubicBezTo>
                  <a:cubicBezTo>
                    <a:pt x="509" y="49"/>
                    <a:pt x="509" y="49"/>
                    <a:pt x="509" y="49"/>
                  </a:cubicBezTo>
                  <a:cubicBezTo>
                    <a:pt x="506" y="49"/>
                    <a:pt x="507" y="53"/>
                    <a:pt x="508" y="55"/>
                  </a:cubicBezTo>
                  <a:cubicBezTo>
                    <a:pt x="508" y="56"/>
                    <a:pt x="507" y="57"/>
                    <a:pt x="508" y="58"/>
                  </a:cubicBezTo>
                  <a:cubicBezTo>
                    <a:pt x="507" y="57"/>
                    <a:pt x="506" y="56"/>
                    <a:pt x="505" y="56"/>
                  </a:cubicBezTo>
                  <a:cubicBezTo>
                    <a:pt x="504" y="56"/>
                    <a:pt x="504" y="56"/>
                    <a:pt x="504" y="56"/>
                  </a:cubicBezTo>
                  <a:cubicBezTo>
                    <a:pt x="501" y="57"/>
                    <a:pt x="494" y="64"/>
                    <a:pt x="494" y="66"/>
                  </a:cubicBezTo>
                  <a:cubicBezTo>
                    <a:pt x="493" y="70"/>
                    <a:pt x="497" y="75"/>
                    <a:pt x="500" y="77"/>
                  </a:cubicBezTo>
                  <a:cubicBezTo>
                    <a:pt x="496" y="78"/>
                    <a:pt x="495" y="80"/>
                    <a:pt x="492" y="81"/>
                  </a:cubicBezTo>
                  <a:cubicBezTo>
                    <a:pt x="491" y="82"/>
                    <a:pt x="490" y="83"/>
                    <a:pt x="489" y="83"/>
                  </a:cubicBezTo>
                  <a:cubicBezTo>
                    <a:pt x="488" y="83"/>
                    <a:pt x="487" y="82"/>
                    <a:pt x="487" y="80"/>
                  </a:cubicBezTo>
                  <a:cubicBezTo>
                    <a:pt x="484" y="83"/>
                    <a:pt x="484" y="87"/>
                    <a:pt x="483" y="91"/>
                  </a:cubicBezTo>
                  <a:cubicBezTo>
                    <a:pt x="483" y="92"/>
                    <a:pt x="481" y="98"/>
                    <a:pt x="479" y="98"/>
                  </a:cubicBezTo>
                  <a:cubicBezTo>
                    <a:pt x="479" y="98"/>
                    <a:pt x="479" y="97"/>
                    <a:pt x="478" y="97"/>
                  </a:cubicBezTo>
                  <a:cubicBezTo>
                    <a:pt x="478" y="98"/>
                    <a:pt x="478" y="99"/>
                    <a:pt x="477" y="99"/>
                  </a:cubicBezTo>
                  <a:cubicBezTo>
                    <a:pt x="476" y="99"/>
                    <a:pt x="476" y="99"/>
                    <a:pt x="475" y="98"/>
                  </a:cubicBezTo>
                  <a:cubicBezTo>
                    <a:pt x="474" y="100"/>
                    <a:pt x="473" y="102"/>
                    <a:pt x="473" y="104"/>
                  </a:cubicBezTo>
                  <a:cubicBezTo>
                    <a:pt x="472" y="108"/>
                    <a:pt x="473" y="109"/>
                    <a:pt x="476" y="113"/>
                  </a:cubicBezTo>
                  <a:cubicBezTo>
                    <a:pt x="477" y="115"/>
                    <a:pt x="478" y="116"/>
                    <a:pt x="480" y="118"/>
                  </a:cubicBezTo>
                  <a:cubicBezTo>
                    <a:pt x="482" y="121"/>
                    <a:pt x="486" y="120"/>
                    <a:pt x="489" y="121"/>
                  </a:cubicBezTo>
                  <a:cubicBezTo>
                    <a:pt x="486" y="122"/>
                    <a:pt x="479" y="122"/>
                    <a:pt x="479" y="126"/>
                  </a:cubicBezTo>
                  <a:cubicBezTo>
                    <a:pt x="479" y="127"/>
                    <a:pt x="480" y="129"/>
                    <a:pt x="480" y="130"/>
                  </a:cubicBezTo>
                  <a:cubicBezTo>
                    <a:pt x="481" y="130"/>
                    <a:pt x="484" y="132"/>
                    <a:pt x="481" y="132"/>
                  </a:cubicBezTo>
                  <a:cubicBezTo>
                    <a:pt x="481" y="132"/>
                    <a:pt x="481" y="132"/>
                    <a:pt x="481" y="132"/>
                  </a:cubicBezTo>
                  <a:cubicBezTo>
                    <a:pt x="479" y="132"/>
                    <a:pt x="477" y="126"/>
                    <a:pt x="475" y="125"/>
                  </a:cubicBezTo>
                  <a:cubicBezTo>
                    <a:pt x="474" y="124"/>
                    <a:pt x="473" y="124"/>
                    <a:pt x="472" y="124"/>
                  </a:cubicBezTo>
                  <a:cubicBezTo>
                    <a:pt x="470" y="124"/>
                    <a:pt x="469" y="125"/>
                    <a:pt x="468" y="126"/>
                  </a:cubicBezTo>
                  <a:cubicBezTo>
                    <a:pt x="468" y="130"/>
                    <a:pt x="468" y="130"/>
                    <a:pt x="468" y="130"/>
                  </a:cubicBezTo>
                  <a:cubicBezTo>
                    <a:pt x="468" y="131"/>
                    <a:pt x="467" y="133"/>
                    <a:pt x="467" y="133"/>
                  </a:cubicBezTo>
                  <a:cubicBezTo>
                    <a:pt x="466" y="133"/>
                    <a:pt x="466" y="133"/>
                    <a:pt x="466" y="133"/>
                  </a:cubicBezTo>
                  <a:cubicBezTo>
                    <a:pt x="465" y="131"/>
                    <a:pt x="467" y="128"/>
                    <a:pt x="466" y="126"/>
                  </a:cubicBezTo>
                  <a:cubicBezTo>
                    <a:pt x="466" y="125"/>
                    <a:pt x="463" y="123"/>
                    <a:pt x="461" y="122"/>
                  </a:cubicBezTo>
                  <a:cubicBezTo>
                    <a:pt x="461" y="123"/>
                    <a:pt x="461" y="124"/>
                    <a:pt x="461" y="125"/>
                  </a:cubicBezTo>
                  <a:cubicBezTo>
                    <a:pt x="461" y="120"/>
                    <a:pt x="456" y="121"/>
                    <a:pt x="452" y="120"/>
                  </a:cubicBezTo>
                  <a:cubicBezTo>
                    <a:pt x="451" y="120"/>
                    <a:pt x="449" y="120"/>
                    <a:pt x="447" y="120"/>
                  </a:cubicBezTo>
                  <a:cubicBezTo>
                    <a:pt x="444" y="120"/>
                    <a:pt x="442" y="120"/>
                    <a:pt x="445" y="122"/>
                  </a:cubicBezTo>
                  <a:cubicBezTo>
                    <a:pt x="443" y="123"/>
                    <a:pt x="446" y="128"/>
                    <a:pt x="444" y="128"/>
                  </a:cubicBezTo>
                  <a:cubicBezTo>
                    <a:pt x="444" y="128"/>
                    <a:pt x="443" y="128"/>
                    <a:pt x="442" y="127"/>
                  </a:cubicBezTo>
                  <a:cubicBezTo>
                    <a:pt x="442" y="128"/>
                    <a:pt x="442" y="128"/>
                    <a:pt x="442" y="128"/>
                  </a:cubicBezTo>
                  <a:cubicBezTo>
                    <a:pt x="441" y="127"/>
                    <a:pt x="440" y="127"/>
                    <a:pt x="439" y="127"/>
                  </a:cubicBezTo>
                  <a:cubicBezTo>
                    <a:pt x="435" y="127"/>
                    <a:pt x="441" y="135"/>
                    <a:pt x="440" y="138"/>
                  </a:cubicBezTo>
                  <a:cubicBezTo>
                    <a:pt x="439" y="138"/>
                    <a:pt x="437" y="137"/>
                    <a:pt x="435" y="136"/>
                  </a:cubicBezTo>
                  <a:cubicBezTo>
                    <a:pt x="435" y="138"/>
                    <a:pt x="435" y="140"/>
                    <a:pt x="433" y="141"/>
                  </a:cubicBezTo>
                  <a:cubicBezTo>
                    <a:pt x="434" y="136"/>
                    <a:pt x="434" y="133"/>
                    <a:pt x="434" y="127"/>
                  </a:cubicBezTo>
                  <a:cubicBezTo>
                    <a:pt x="435" y="126"/>
                    <a:pt x="435" y="123"/>
                    <a:pt x="436" y="122"/>
                  </a:cubicBezTo>
                  <a:cubicBezTo>
                    <a:pt x="437" y="120"/>
                    <a:pt x="437" y="120"/>
                    <a:pt x="437" y="120"/>
                  </a:cubicBezTo>
                  <a:cubicBezTo>
                    <a:pt x="438" y="119"/>
                    <a:pt x="437" y="119"/>
                    <a:pt x="438" y="119"/>
                  </a:cubicBezTo>
                  <a:cubicBezTo>
                    <a:pt x="438" y="119"/>
                    <a:pt x="438" y="119"/>
                    <a:pt x="438" y="119"/>
                  </a:cubicBezTo>
                  <a:cubicBezTo>
                    <a:pt x="438" y="116"/>
                    <a:pt x="435" y="114"/>
                    <a:pt x="433" y="112"/>
                  </a:cubicBezTo>
                  <a:cubicBezTo>
                    <a:pt x="427" y="107"/>
                    <a:pt x="422" y="102"/>
                    <a:pt x="416" y="96"/>
                  </a:cubicBezTo>
                  <a:cubicBezTo>
                    <a:pt x="415" y="95"/>
                    <a:pt x="414" y="95"/>
                    <a:pt x="413" y="95"/>
                  </a:cubicBezTo>
                  <a:cubicBezTo>
                    <a:pt x="412" y="95"/>
                    <a:pt x="412" y="95"/>
                    <a:pt x="411" y="95"/>
                  </a:cubicBezTo>
                  <a:cubicBezTo>
                    <a:pt x="410" y="95"/>
                    <a:pt x="410" y="95"/>
                    <a:pt x="409" y="95"/>
                  </a:cubicBezTo>
                  <a:cubicBezTo>
                    <a:pt x="409" y="95"/>
                    <a:pt x="408" y="95"/>
                    <a:pt x="407" y="95"/>
                  </a:cubicBezTo>
                  <a:cubicBezTo>
                    <a:pt x="407" y="95"/>
                    <a:pt x="407" y="95"/>
                    <a:pt x="407" y="95"/>
                  </a:cubicBezTo>
                  <a:cubicBezTo>
                    <a:pt x="407" y="95"/>
                    <a:pt x="407" y="95"/>
                    <a:pt x="407" y="95"/>
                  </a:cubicBezTo>
                  <a:cubicBezTo>
                    <a:pt x="407" y="95"/>
                    <a:pt x="407" y="96"/>
                    <a:pt x="407" y="96"/>
                  </a:cubicBezTo>
                  <a:cubicBezTo>
                    <a:pt x="407" y="96"/>
                    <a:pt x="407" y="95"/>
                    <a:pt x="406" y="95"/>
                  </a:cubicBezTo>
                  <a:cubicBezTo>
                    <a:pt x="404" y="94"/>
                    <a:pt x="403" y="90"/>
                    <a:pt x="402" y="89"/>
                  </a:cubicBezTo>
                  <a:cubicBezTo>
                    <a:pt x="400" y="92"/>
                    <a:pt x="396" y="102"/>
                    <a:pt x="392" y="103"/>
                  </a:cubicBezTo>
                  <a:cubicBezTo>
                    <a:pt x="391" y="103"/>
                    <a:pt x="391" y="103"/>
                    <a:pt x="391" y="103"/>
                  </a:cubicBezTo>
                  <a:cubicBezTo>
                    <a:pt x="390" y="103"/>
                    <a:pt x="388" y="100"/>
                    <a:pt x="389" y="99"/>
                  </a:cubicBezTo>
                  <a:cubicBezTo>
                    <a:pt x="388" y="99"/>
                    <a:pt x="388" y="99"/>
                    <a:pt x="387" y="99"/>
                  </a:cubicBezTo>
                  <a:cubicBezTo>
                    <a:pt x="386" y="99"/>
                    <a:pt x="390" y="95"/>
                    <a:pt x="390" y="95"/>
                  </a:cubicBezTo>
                  <a:cubicBezTo>
                    <a:pt x="390" y="95"/>
                    <a:pt x="389" y="95"/>
                    <a:pt x="389" y="95"/>
                  </a:cubicBezTo>
                  <a:cubicBezTo>
                    <a:pt x="387" y="95"/>
                    <a:pt x="380" y="101"/>
                    <a:pt x="379" y="102"/>
                  </a:cubicBezTo>
                  <a:cubicBezTo>
                    <a:pt x="380" y="99"/>
                    <a:pt x="378" y="99"/>
                    <a:pt x="379" y="97"/>
                  </a:cubicBezTo>
                  <a:cubicBezTo>
                    <a:pt x="379" y="97"/>
                    <a:pt x="379" y="97"/>
                    <a:pt x="379" y="96"/>
                  </a:cubicBezTo>
                  <a:cubicBezTo>
                    <a:pt x="379" y="96"/>
                    <a:pt x="378" y="97"/>
                    <a:pt x="377" y="97"/>
                  </a:cubicBezTo>
                  <a:cubicBezTo>
                    <a:pt x="378" y="96"/>
                    <a:pt x="378" y="95"/>
                    <a:pt x="378" y="95"/>
                  </a:cubicBezTo>
                  <a:cubicBezTo>
                    <a:pt x="376" y="94"/>
                    <a:pt x="377" y="95"/>
                    <a:pt x="377" y="94"/>
                  </a:cubicBezTo>
                  <a:cubicBezTo>
                    <a:pt x="376" y="94"/>
                    <a:pt x="375" y="94"/>
                    <a:pt x="375" y="94"/>
                  </a:cubicBezTo>
                  <a:cubicBezTo>
                    <a:pt x="375" y="95"/>
                    <a:pt x="376" y="96"/>
                    <a:pt x="376" y="97"/>
                  </a:cubicBezTo>
                  <a:cubicBezTo>
                    <a:pt x="376" y="97"/>
                    <a:pt x="374" y="97"/>
                    <a:pt x="374" y="97"/>
                  </a:cubicBezTo>
                  <a:cubicBezTo>
                    <a:pt x="374" y="101"/>
                    <a:pt x="379" y="97"/>
                    <a:pt x="377" y="103"/>
                  </a:cubicBezTo>
                  <a:cubicBezTo>
                    <a:pt x="377" y="105"/>
                    <a:pt x="375" y="109"/>
                    <a:pt x="374" y="110"/>
                  </a:cubicBezTo>
                  <a:cubicBezTo>
                    <a:pt x="375" y="112"/>
                    <a:pt x="375" y="112"/>
                    <a:pt x="375" y="112"/>
                  </a:cubicBezTo>
                  <a:cubicBezTo>
                    <a:pt x="374" y="113"/>
                    <a:pt x="370" y="113"/>
                    <a:pt x="369" y="114"/>
                  </a:cubicBezTo>
                  <a:cubicBezTo>
                    <a:pt x="369" y="112"/>
                    <a:pt x="369" y="111"/>
                    <a:pt x="369" y="110"/>
                  </a:cubicBezTo>
                  <a:cubicBezTo>
                    <a:pt x="368" y="110"/>
                    <a:pt x="369" y="110"/>
                    <a:pt x="368" y="110"/>
                  </a:cubicBezTo>
                  <a:cubicBezTo>
                    <a:pt x="368" y="110"/>
                    <a:pt x="367" y="110"/>
                    <a:pt x="366" y="111"/>
                  </a:cubicBezTo>
                  <a:cubicBezTo>
                    <a:pt x="366" y="109"/>
                    <a:pt x="366" y="109"/>
                    <a:pt x="366" y="109"/>
                  </a:cubicBezTo>
                  <a:cubicBezTo>
                    <a:pt x="365" y="109"/>
                    <a:pt x="365" y="109"/>
                    <a:pt x="364" y="110"/>
                  </a:cubicBezTo>
                  <a:cubicBezTo>
                    <a:pt x="364" y="108"/>
                    <a:pt x="364" y="106"/>
                    <a:pt x="365" y="105"/>
                  </a:cubicBezTo>
                  <a:cubicBezTo>
                    <a:pt x="364" y="104"/>
                    <a:pt x="363" y="104"/>
                    <a:pt x="363" y="104"/>
                  </a:cubicBezTo>
                  <a:cubicBezTo>
                    <a:pt x="362" y="104"/>
                    <a:pt x="362" y="105"/>
                    <a:pt x="363" y="108"/>
                  </a:cubicBezTo>
                  <a:cubicBezTo>
                    <a:pt x="363" y="114"/>
                    <a:pt x="360" y="110"/>
                    <a:pt x="357" y="114"/>
                  </a:cubicBezTo>
                  <a:cubicBezTo>
                    <a:pt x="356" y="113"/>
                    <a:pt x="356" y="113"/>
                    <a:pt x="356" y="113"/>
                  </a:cubicBezTo>
                  <a:cubicBezTo>
                    <a:pt x="356" y="113"/>
                    <a:pt x="355" y="114"/>
                    <a:pt x="355" y="114"/>
                  </a:cubicBezTo>
                  <a:cubicBezTo>
                    <a:pt x="355" y="113"/>
                    <a:pt x="355" y="112"/>
                    <a:pt x="355" y="111"/>
                  </a:cubicBezTo>
                  <a:cubicBezTo>
                    <a:pt x="354" y="113"/>
                    <a:pt x="351" y="115"/>
                    <a:pt x="350" y="117"/>
                  </a:cubicBezTo>
                  <a:cubicBezTo>
                    <a:pt x="349" y="119"/>
                    <a:pt x="350" y="121"/>
                    <a:pt x="351" y="122"/>
                  </a:cubicBezTo>
                  <a:cubicBezTo>
                    <a:pt x="352" y="122"/>
                    <a:pt x="352" y="122"/>
                    <a:pt x="352" y="122"/>
                  </a:cubicBezTo>
                  <a:cubicBezTo>
                    <a:pt x="353" y="122"/>
                    <a:pt x="354" y="122"/>
                    <a:pt x="354" y="123"/>
                  </a:cubicBezTo>
                  <a:cubicBezTo>
                    <a:pt x="354" y="124"/>
                    <a:pt x="353" y="125"/>
                    <a:pt x="353" y="126"/>
                  </a:cubicBezTo>
                  <a:cubicBezTo>
                    <a:pt x="355" y="126"/>
                    <a:pt x="355" y="126"/>
                    <a:pt x="355" y="126"/>
                  </a:cubicBezTo>
                  <a:cubicBezTo>
                    <a:pt x="356" y="126"/>
                    <a:pt x="356" y="127"/>
                    <a:pt x="357" y="127"/>
                  </a:cubicBezTo>
                  <a:cubicBezTo>
                    <a:pt x="357" y="127"/>
                    <a:pt x="357" y="127"/>
                    <a:pt x="357" y="127"/>
                  </a:cubicBezTo>
                  <a:cubicBezTo>
                    <a:pt x="357" y="128"/>
                    <a:pt x="356" y="129"/>
                    <a:pt x="356" y="130"/>
                  </a:cubicBezTo>
                  <a:cubicBezTo>
                    <a:pt x="356" y="130"/>
                    <a:pt x="357" y="130"/>
                    <a:pt x="357" y="130"/>
                  </a:cubicBezTo>
                  <a:cubicBezTo>
                    <a:pt x="357" y="130"/>
                    <a:pt x="357" y="130"/>
                    <a:pt x="357" y="130"/>
                  </a:cubicBezTo>
                  <a:cubicBezTo>
                    <a:pt x="357" y="130"/>
                    <a:pt x="356" y="130"/>
                    <a:pt x="356" y="130"/>
                  </a:cubicBezTo>
                  <a:cubicBezTo>
                    <a:pt x="353" y="130"/>
                    <a:pt x="351" y="129"/>
                    <a:pt x="349" y="127"/>
                  </a:cubicBezTo>
                  <a:cubicBezTo>
                    <a:pt x="349" y="127"/>
                    <a:pt x="348" y="128"/>
                    <a:pt x="348" y="128"/>
                  </a:cubicBezTo>
                  <a:cubicBezTo>
                    <a:pt x="347" y="128"/>
                    <a:pt x="347" y="127"/>
                    <a:pt x="347" y="127"/>
                  </a:cubicBezTo>
                  <a:cubicBezTo>
                    <a:pt x="347" y="126"/>
                    <a:pt x="346" y="126"/>
                    <a:pt x="346" y="126"/>
                  </a:cubicBezTo>
                  <a:cubicBezTo>
                    <a:pt x="345" y="126"/>
                    <a:pt x="345" y="126"/>
                    <a:pt x="345" y="126"/>
                  </a:cubicBezTo>
                  <a:cubicBezTo>
                    <a:pt x="345" y="130"/>
                    <a:pt x="346" y="131"/>
                    <a:pt x="345" y="135"/>
                  </a:cubicBezTo>
                  <a:cubicBezTo>
                    <a:pt x="346" y="135"/>
                    <a:pt x="346" y="135"/>
                    <a:pt x="347" y="135"/>
                  </a:cubicBezTo>
                  <a:cubicBezTo>
                    <a:pt x="349" y="135"/>
                    <a:pt x="347" y="139"/>
                    <a:pt x="349" y="141"/>
                  </a:cubicBezTo>
                  <a:cubicBezTo>
                    <a:pt x="348" y="140"/>
                    <a:pt x="346" y="141"/>
                    <a:pt x="345" y="140"/>
                  </a:cubicBezTo>
                  <a:cubicBezTo>
                    <a:pt x="343" y="139"/>
                    <a:pt x="346" y="140"/>
                    <a:pt x="344" y="139"/>
                  </a:cubicBezTo>
                  <a:cubicBezTo>
                    <a:pt x="343" y="138"/>
                    <a:pt x="342" y="137"/>
                    <a:pt x="341" y="137"/>
                  </a:cubicBezTo>
                  <a:cubicBezTo>
                    <a:pt x="340" y="137"/>
                    <a:pt x="340" y="137"/>
                    <a:pt x="340" y="137"/>
                  </a:cubicBezTo>
                  <a:cubicBezTo>
                    <a:pt x="340" y="135"/>
                    <a:pt x="339" y="136"/>
                    <a:pt x="338" y="135"/>
                  </a:cubicBezTo>
                  <a:cubicBezTo>
                    <a:pt x="337" y="135"/>
                    <a:pt x="336" y="134"/>
                    <a:pt x="336" y="134"/>
                  </a:cubicBezTo>
                  <a:cubicBezTo>
                    <a:pt x="335" y="134"/>
                    <a:pt x="335" y="135"/>
                    <a:pt x="334" y="136"/>
                  </a:cubicBezTo>
                  <a:cubicBezTo>
                    <a:pt x="333" y="138"/>
                    <a:pt x="335" y="138"/>
                    <a:pt x="333" y="139"/>
                  </a:cubicBezTo>
                  <a:cubicBezTo>
                    <a:pt x="332" y="139"/>
                    <a:pt x="331" y="140"/>
                    <a:pt x="331" y="140"/>
                  </a:cubicBezTo>
                  <a:cubicBezTo>
                    <a:pt x="330" y="141"/>
                    <a:pt x="327" y="142"/>
                    <a:pt x="327" y="142"/>
                  </a:cubicBezTo>
                  <a:cubicBezTo>
                    <a:pt x="326" y="147"/>
                    <a:pt x="327" y="152"/>
                    <a:pt x="330" y="156"/>
                  </a:cubicBezTo>
                  <a:cubicBezTo>
                    <a:pt x="331" y="154"/>
                    <a:pt x="333" y="151"/>
                    <a:pt x="335" y="150"/>
                  </a:cubicBezTo>
                  <a:cubicBezTo>
                    <a:pt x="334" y="153"/>
                    <a:pt x="333" y="156"/>
                    <a:pt x="333" y="159"/>
                  </a:cubicBezTo>
                  <a:cubicBezTo>
                    <a:pt x="332" y="159"/>
                    <a:pt x="330" y="158"/>
                    <a:pt x="329" y="158"/>
                  </a:cubicBezTo>
                  <a:cubicBezTo>
                    <a:pt x="329" y="158"/>
                    <a:pt x="328" y="158"/>
                    <a:pt x="328" y="159"/>
                  </a:cubicBezTo>
                  <a:cubicBezTo>
                    <a:pt x="328" y="160"/>
                    <a:pt x="327" y="163"/>
                    <a:pt x="327" y="165"/>
                  </a:cubicBezTo>
                  <a:cubicBezTo>
                    <a:pt x="327" y="166"/>
                    <a:pt x="328" y="166"/>
                    <a:pt x="328" y="166"/>
                  </a:cubicBezTo>
                  <a:cubicBezTo>
                    <a:pt x="329" y="166"/>
                    <a:pt x="329" y="166"/>
                    <a:pt x="329" y="166"/>
                  </a:cubicBezTo>
                  <a:cubicBezTo>
                    <a:pt x="330" y="166"/>
                    <a:pt x="330" y="166"/>
                    <a:pt x="331" y="166"/>
                  </a:cubicBezTo>
                  <a:cubicBezTo>
                    <a:pt x="331" y="166"/>
                    <a:pt x="331" y="166"/>
                    <a:pt x="331" y="166"/>
                  </a:cubicBezTo>
                  <a:cubicBezTo>
                    <a:pt x="334" y="166"/>
                    <a:pt x="338" y="168"/>
                    <a:pt x="341" y="168"/>
                  </a:cubicBezTo>
                  <a:cubicBezTo>
                    <a:pt x="340" y="168"/>
                    <a:pt x="339" y="168"/>
                    <a:pt x="338" y="168"/>
                  </a:cubicBezTo>
                  <a:cubicBezTo>
                    <a:pt x="336" y="168"/>
                    <a:pt x="333" y="168"/>
                    <a:pt x="331" y="168"/>
                  </a:cubicBezTo>
                  <a:cubicBezTo>
                    <a:pt x="330" y="168"/>
                    <a:pt x="329" y="168"/>
                    <a:pt x="328" y="167"/>
                  </a:cubicBezTo>
                  <a:cubicBezTo>
                    <a:pt x="328" y="167"/>
                    <a:pt x="328" y="167"/>
                    <a:pt x="327" y="167"/>
                  </a:cubicBezTo>
                  <a:cubicBezTo>
                    <a:pt x="326" y="167"/>
                    <a:pt x="324" y="168"/>
                    <a:pt x="323" y="168"/>
                  </a:cubicBezTo>
                  <a:cubicBezTo>
                    <a:pt x="323" y="168"/>
                    <a:pt x="323" y="168"/>
                    <a:pt x="323" y="168"/>
                  </a:cubicBezTo>
                  <a:cubicBezTo>
                    <a:pt x="321" y="168"/>
                    <a:pt x="321" y="165"/>
                    <a:pt x="319" y="164"/>
                  </a:cubicBezTo>
                  <a:cubicBezTo>
                    <a:pt x="318" y="163"/>
                    <a:pt x="315" y="163"/>
                    <a:pt x="313" y="163"/>
                  </a:cubicBezTo>
                  <a:cubicBezTo>
                    <a:pt x="315" y="164"/>
                    <a:pt x="315" y="166"/>
                    <a:pt x="316" y="167"/>
                  </a:cubicBezTo>
                  <a:cubicBezTo>
                    <a:pt x="315" y="167"/>
                    <a:pt x="314" y="167"/>
                    <a:pt x="313" y="167"/>
                  </a:cubicBezTo>
                  <a:cubicBezTo>
                    <a:pt x="313" y="167"/>
                    <a:pt x="312" y="167"/>
                    <a:pt x="311" y="167"/>
                  </a:cubicBezTo>
                  <a:cubicBezTo>
                    <a:pt x="313" y="165"/>
                    <a:pt x="310" y="166"/>
                    <a:pt x="310" y="165"/>
                  </a:cubicBezTo>
                  <a:cubicBezTo>
                    <a:pt x="310" y="165"/>
                    <a:pt x="309" y="165"/>
                    <a:pt x="309" y="164"/>
                  </a:cubicBezTo>
                  <a:cubicBezTo>
                    <a:pt x="308" y="163"/>
                    <a:pt x="309" y="163"/>
                    <a:pt x="309" y="163"/>
                  </a:cubicBezTo>
                  <a:cubicBezTo>
                    <a:pt x="309" y="161"/>
                    <a:pt x="308" y="161"/>
                    <a:pt x="307" y="161"/>
                  </a:cubicBezTo>
                  <a:cubicBezTo>
                    <a:pt x="306" y="161"/>
                    <a:pt x="305" y="161"/>
                    <a:pt x="305" y="161"/>
                  </a:cubicBezTo>
                  <a:cubicBezTo>
                    <a:pt x="305" y="163"/>
                    <a:pt x="308" y="166"/>
                    <a:pt x="307" y="167"/>
                  </a:cubicBezTo>
                  <a:cubicBezTo>
                    <a:pt x="307" y="168"/>
                    <a:pt x="306" y="168"/>
                    <a:pt x="305" y="168"/>
                  </a:cubicBezTo>
                  <a:cubicBezTo>
                    <a:pt x="305" y="168"/>
                    <a:pt x="304" y="168"/>
                    <a:pt x="304" y="168"/>
                  </a:cubicBezTo>
                  <a:cubicBezTo>
                    <a:pt x="303" y="168"/>
                    <a:pt x="303" y="168"/>
                    <a:pt x="302" y="168"/>
                  </a:cubicBezTo>
                  <a:cubicBezTo>
                    <a:pt x="302" y="168"/>
                    <a:pt x="302" y="168"/>
                    <a:pt x="302" y="168"/>
                  </a:cubicBezTo>
                  <a:cubicBezTo>
                    <a:pt x="303" y="169"/>
                    <a:pt x="304" y="170"/>
                    <a:pt x="306" y="170"/>
                  </a:cubicBezTo>
                  <a:cubicBezTo>
                    <a:pt x="305" y="171"/>
                    <a:pt x="304" y="171"/>
                    <a:pt x="304" y="171"/>
                  </a:cubicBezTo>
                  <a:cubicBezTo>
                    <a:pt x="303" y="171"/>
                    <a:pt x="303" y="171"/>
                    <a:pt x="302" y="170"/>
                  </a:cubicBezTo>
                  <a:cubicBezTo>
                    <a:pt x="302" y="170"/>
                    <a:pt x="301" y="170"/>
                    <a:pt x="301" y="170"/>
                  </a:cubicBezTo>
                  <a:cubicBezTo>
                    <a:pt x="300" y="170"/>
                    <a:pt x="300" y="170"/>
                    <a:pt x="299" y="171"/>
                  </a:cubicBezTo>
                  <a:cubicBezTo>
                    <a:pt x="300" y="172"/>
                    <a:pt x="301" y="172"/>
                    <a:pt x="302" y="172"/>
                  </a:cubicBezTo>
                  <a:cubicBezTo>
                    <a:pt x="303" y="172"/>
                    <a:pt x="303" y="172"/>
                    <a:pt x="303" y="172"/>
                  </a:cubicBezTo>
                  <a:cubicBezTo>
                    <a:pt x="303" y="172"/>
                    <a:pt x="303" y="172"/>
                    <a:pt x="303" y="172"/>
                  </a:cubicBezTo>
                  <a:cubicBezTo>
                    <a:pt x="303" y="172"/>
                    <a:pt x="303" y="172"/>
                    <a:pt x="303" y="172"/>
                  </a:cubicBezTo>
                  <a:cubicBezTo>
                    <a:pt x="305" y="174"/>
                    <a:pt x="303" y="173"/>
                    <a:pt x="304" y="176"/>
                  </a:cubicBezTo>
                  <a:cubicBezTo>
                    <a:pt x="305" y="177"/>
                    <a:pt x="307" y="178"/>
                    <a:pt x="307" y="179"/>
                  </a:cubicBezTo>
                  <a:cubicBezTo>
                    <a:pt x="308" y="180"/>
                    <a:pt x="308" y="182"/>
                    <a:pt x="310" y="183"/>
                  </a:cubicBezTo>
                  <a:cubicBezTo>
                    <a:pt x="310" y="183"/>
                    <a:pt x="310" y="183"/>
                    <a:pt x="310" y="183"/>
                  </a:cubicBezTo>
                  <a:cubicBezTo>
                    <a:pt x="311" y="183"/>
                    <a:pt x="314" y="181"/>
                    <a:pt x="314" y="180"/>
                  </a:cubicBezTo>
                  <a:cubicBezTo>
                    <a:pt x="314" y="185"/>
                    <a:pt x="307" y="189"/>
                    <a:pt x="313" y="192"/>
                  </a:cubicBezTo>
                  <a:cubicBezTo>
                    <a:pt x="311" y="191"/>
                    <a:pt x="307" y="188"/>
                    <a:pt x="306" y="186"/>
                  </a:cubicBezTo>
                  <a:cubicBezTo>
                    <a:pt x="303" y="189"/>
                    <a:pt x="306" y="189"/>
                    <a:pt x="305" y="191"/>
                  </a:cubicBezTo>
                  <a:cubicBezTo>
                    <a:pt x="305" y="193"/>
                    <a:pt x="304" y="195"/>
                    <a:pt x="304" y="196"/>
                  </a:cubicBezTo>
                  <a:cubicBezTo>
                    <a:pt x="303" y="199"/>
                    <a:pt x="304" y="201"/>
                    <a:pt x="304" y="204"/>
                  </a:cubicBezTo>
                  <a:cubicBezTo>
                    <a:pt x="300" y="198"/>
                    <a:pt x="298" y="191"/>
                    <a:pt x="294" y="186"/>
                  </a:cubicBezTo>
                  <a:cubicBezTo>
                    <a:pt x="293" y="185"/>
                    <a:pt x="292" y="184"/>
                    <a:pt x="292" y="184"/>
                  </a:cubicBezTo>
                  <a:cubicBezTo>
                    <a:pt x="291" y="182"/>
                    <a:pt x="289" y="178"/>
                    <a:pt x="290" y="177"/>
                  </a:cubicBezTo>
                  <a:cubicBezTo>
                    <a:pt x="290" y="177"/>
                    <a:pt x="290" y="177"/>
                    <a:pt x="289" y="177"/>
                  </a:cubicBezTo>
                  <a:cubicBezTo>
                    <a:pt x="288" y="177"/>
                    <a:pt x="288" y="176"/>
                    <a:pt x="288" y="175"/>
                  </a:cubicBezTo>
                  <a:cubicBezTo>
                    <a:pt x="286" y="173"/>
                    <a:pt x="286" y="175"/>
                    <a:pt x="286" y="172"/>
                  </a:cubicBezTo>
                  <a:cubicBezTo>
                    <a:pt x="287" y="171"/>
                    <a:pt x="288" y="168"/>
                    <a:pt x="287" y="167"/>
                  </a:cubicBezTo>
                  <a:cubicBezTo>
                    <a:pt x="287" y="167"/>
                    <a:pt x="287" y="167"/>
                    <a:pt x="286" y="167"/>
                  </a:cubicBezTo>
                  <a:cubicBezTo>
                    <a:pt x="284" y="167"/>
                    <a:pt x="281" y="178"/>
                    <a:pt x="281" y="179"/>
                  </a:cubicBezTo>
                  <a:cubicBezTo>
                    <a:pt x="277" y="180"/>
                    <a:pt x="271" y="178"/>
                    <a:pt x="275" y="185"/>
                  </a:cubicBezTo>
                  <a:cubicBezTo>
                    <a:pt x="274" y="184"/>
                    <a:pt x="273" y="184"/>
                    <a:pt x="272" y="184"/>
                  </a:cubicBezTo>
                  <a:cubicBezTo>
                    <a:pt x="266" y="184"/>
                    <a:pt x="261" y="199"/>
                    <a:pt x="262" y="203"/>
                  </a:cubicBezTo>
                  <a:cubicBezTo>
                    <a:pt x="262" y="205"/>
                    <a:pt x="263" y="207"/>
                    <a:pt x="263" y="209"/>
                  </a:cubicBezTo>
                  <a:cubicBezTo>
                    <a:pt x="264" y="211"/>
                    <a:pt x="263" y="213"/>
                    <a:pt x="263" y="216"/>
                  </a:cubicBezTo>
                  <a:cubicBezTo>
                    <a:pt x="264" y="215"/>
                    <a:pt x="265" y="215"/>
                    <a:pt x="266" y="215"/>
                  </a:cubicBezTo>
                  <a:cubicBezTo>
                    <a:pt x="267" y="215"/>
                    <a:pt x="269" y="216"/>
                    <a:pt x="268" y="218"/>
                  </a:cubicBezTo>
                  <a:cubicBezTo>
                    <a:pt x="267" y="222"/>
                    <a:pt x="257" y="226"/>
                    <a:pt x="254" y="229"/>
                  </a:cubicBezTo>
                  <a:cubicBezTo>
                    <a:pt x="252" y="231"/>
                    <a:pt x="252" y="231"/>
                    <a:pt x="251" y="234"/>
                  </a:cubicBezTo>
                  <a:cubicBezTo>
                    <a:pt x="251" y="237"/>
                    <a:pt x="248" y="238"/>
                    <a:pt x="247" y="240"/>
                  </a:cubicBezTo>
                  <a:cubicBezTo>
                    <a:pt x="244" y="245"/>
                    <a:pt x="243" y="250"/>
                    <a:pt x="239" y="254"/>
                  </a:cubicBezTo>
                  <a:cubicBezTo>
                    <a:pt x="229" y="268"/>
                    <a:pt x="208" y="271"/>
                    <a:pt x="192" y="276"/>
                  </a:cubicBezTo>
                  <a:cubicBezTo>
                    <a:pt x="191" y="276"/>
                    <a:pt x="189" y="278"/>
                    <a:pt x="188" y="278"/>
                  </a:cubicBezTo>
                  <a:cubicBezTo>
                    <a:pt x="188" y="278"/>
                    <a:pt x="188" y="278"/>
                    <a:pt x="187" y="278"/>
                  </a:cubicBezTo>
                  <a:cubicBezTo>
                    <a:pt x="185" y="278"/>
                    <a:pt x="182" y="276"/>
                    <a:pt x="180" y="276"/>
                  </a:cubicBezTo>
                  <a:cubicBezTo>
                    <a:pt x="179" y="276"/>
                    <a:pt x="179" y="276"/>
                    <a:pt x="178" y="276"/>
                  </a:cubicBezTo>
                  <a:cubicBezTo>
                    <a:pt x="175" y="276"/>
                    <a:pt x="173" y="279"/>
                    <a:pt x="170" y="281"/>
                  </a:cubicBezTo>
                  <a:cubicBezTo>
                    <a:pt x="165" y="284"/>
                    <a:pt x="162" y="285"/>
                    <a:pt x="156" y="286"/>
                  </a:cubicBezTo>
                  <a:cubicBezTo>
                    <a:pt x="154" y="286"/>
                    <a:pt x="151" y="287"/>
                    <a:pt x="148" y="287"/>
                  </a:cubicBezTo>
                  <a:cubicBezTo>
                    <a:pt x="148" y="287"/>
                    <a:pt x="147" y="287"/>
                    <a:pt x="147" y="287"/>
                  </a:cubicBezTo>
                  <a:cubicBezTo>
                    <a:pt x="143" y="289"/>
                    <a:pt x="140" y="292"/>
                    <a:pt x="136" y="295"/>
                  </a:cubicBezTo>
                  <a:cubicBezTo>
                    <a:pt x="133" y="297"/>
                    <a:pt x="126" y="297"/>
                    <a:pt x="122" y="297"/>
                  </a:cubicBezTo>
                  <a:cubicBezTo>
                    <a:pt x="122" y="297"/>
                    <a:pt x="121" y="297"/>
                    <a:pt x="121" y="297"/>
                  </a:cubicBezTo>
                  <a:cubicBezTo>
                    <a:pt x="120" y="297"/>
                    <a:pt x="119" y="297"/>
                    <a:pt x="118" y="296"/>
                  </a:cubicBezTo>
                  <a:cubicBezTo>
                    <a:pt x="117" y="296"/>
                    <a:pt x="117" y="295"/>
                    <a:pt x="117" y="295"/>
                  </a:cubicBezTo>
                  <a:cubicBezTo>
                    <a:pt x="117" y="295"/>
                    <a:pt x="117" y="295"/>
                    <a:pt x="117" y="295"/>
                  </a:cubicBezTo>
                  <a:cubicBezTo>
                    <a:pt x="117" y="294"/>
                    <a:pt x="117" y="294"/>
                    <a:pt x="117" y="294"/>
                  </a:cubicBezTo>
                  <a:cubicBezTo>
                    <a:pt x="116" y="294"/>
                    <a:pt x="114" y="295"/>
                    <a:pt x="112" y="295"/>
                  </a:cubicBezTo>
                  <a:cubicBezTo>
                    <a:pt x="111" y="296"/>
                    <a:pt x="109" y="296"/>
                    <a:pt x="108" y="296"/>
                  </a:cubicBezTo>
                  <a:cubicBezTo>
                    <a:pt x="106" y="296"/>
                    <a:pt x="106" y="295"/>
                    <a:pt x="108" y="292"/>
                  </a:cubicBezTo>
                  <a:cubicBezTo>
                    <a:pt x="108" y="292"/>
                    <a:pt x="108" y="292"/>
                    <a:pt x="108" y="292"/>
                  </a:cubicBezTo>
                  <a:cubicBezTo>
                    <a:pt x="105" y="292"/>
                    <a:pt x="101" y="296"/>
                    <a:pt x="99" y="298"/>
                  </a:cubicBezTo>
                  <a:cubicBezTo>
                    <a:pt x="91" y="304"/>
                    <a:pt x="82" y="310"/>
                    <a:pt x="74" y="316"/>
                  </a:cubicBezTo>
                  <a:cubicBezTo>
                    <a:pt x="67" y="321"/>
                    <a:pt x="59" y="324"/>
                    <a:pt x="52" y="328"/>
                  </a:cubicBezTo>
                  <a:cubicBezTo>
                    <a:pt x="50" y="329"/>
                    <a:pt x="46" y="330"/>
                    <a:pt x="45" y="332"/>
                  </a:cubicBezTo>
                  <a:cubicBezTo>
                    <a:pt x="40" y="335"/>
                    <a:pt x="39" y="344"/>
                    <a:pt x="37" y="349"/>
                  </a:cubicBezTo>
                  <a:cubicBezTo>
                    <a:pt x="36" y="349"/>
                    <a:pt x="37" y="350"/>
                    <a:pt x="36" y="351"/>
                  </a:cubicBezTo>
                  <a:cubicBezTo>
                    <a:pt x="35" y="352"/>
                    <a:pt x="31" y="352"/>
                    <a:pt x="30" y="353"/>
                  </a:cubicBezTo>
                  <a:cubicBezTo>
                    <a:pt x="28" y="346"/>
                    <a:pt x="28" y="339"/>
                    <a:pt x="26" y="332"/>
                  </a:cubicBezTo>
                  <a:cubicBezTo>
                    <a:pt x="23" y="336"/>
                    <a:pt x="22" y="341"/>
                    <a:pt x="20" y="347"/>
                  </a:cubicBezTo>
                  <a:cubicBezTo>
                    <a:pt x="19" y="349"/>
                    <a:pt x="16" y="352"/>
                    <a:pt x="16" y="354"/>
                  </a:cubicBezTo>
                  <a:cubicBezTo>
                    <a:pt x="15" y="357"/>
                    <a:pt x="19" y="362"/>
                    <a:pt x="20" y="366"/>
                  </a:cubicBezTo>
                  <a:cubicBezTo>
                    <a:pt x="20" y="370"/>
                    <a:pt x="20" y="380"/>
                    <a:pt x="18" y="383"/>
                  </a:cubicBezTo>
                  <a:cubicBezTo>
                    <a:pt x="17" y="386"/>
                    <a:pt x="14" y="386"/>
                    <a:pt x="13" y="389"/>
                  </a:cubicBezTo>
                  <a:cubicBezTo>
                    <a:pt x="11" y="392"/>
                    <a:pt x="11" y="395"/>
                    <a:pt x="9" y="398"/>
                  </a:cubicBezTo>
                  <a:cubicBezTo>
                    <a:pt x="9" y="400"/>
                    <a:pt x="8" y="402"/>
                    <a:pt x="8" y="405"/>
                  </a:cubicBezTo>
                  <a:cubicBezTo>
                    <a:pt x="8" y="411"/>
                    <a:pt x="13" y="418"/>
                    <a:pt x="16" y="424"/>
                  </a:cubicBezTo>
                  <a:cubicBezTo>
                    <a:pt x="20" y="432"/>
                    <a:pt x="24" y="441"/>
                    <a:pt x="27" y="449"/>
                  </a:cubicBezTo>
                  <a:cubicBezTo>
                    <a:pt x="28" y="451"/>
                    <a:pt x="31" y="452"/>
                    <a:pt x="32" y="454"/>
                  </a:cubicBezTo>
                  <a:cubicBezTo>
                    <a:pt x="33" y="456"/>
                    <a:pt x="32" y="457"/>
                    <a:pt x="32" y="460"/>
                  </a:cubicBezTo>
                  <a:cubicBezTo>
                    <a:pt x="31" y="465"/>
                    <a:pt x="29" y="468"/>
                    <a:pt x="26" y="472"/>
                  </a:cubicBezTo>
                  <a:cubicBezTo>
                    <a:pt x="22" y="468"/>
                    <a:pt x="23" y="462"/>
                    <a:pt x="21" y="458"/>
                  </a:cubicBezTo>
                  <a:cubicBezTo>
                    <a:pt x="21" y="460"/>
                    <a:pt x="20" y="466"/>
                    <a:pt x="18" y="466"/>
                  </a:cubicBezTo>
                  <a:cubicBezTo>
                    <a:pt x="18" y="466"/>
                    <a:pt x="17" y="465"/>
                    <a:pt x="17" y="465"/>
                  </a:cubicBezTo>
                  <a:cubicBezTo>
                    <a:pt x="14" y="462"/>
                    <a:pt x="18" y="457"/>
                    <a:pt x="17" y="454"/>
                  </a:cubicBezTo>
                  <a:cubicBezTo>
                    <a:pt x="15" y="450"/>
                    <a:pt x="11" y="449"/>
                    <a:pt x="11" y="444"/>
                  </a:cubicBezTo>
                  <a:cubicBezTo>
                    <a:pt x="9" y="448"/>
                    <a:pt x="7" y="448"/>
                    <a:pt x="9" y="452"/>
                  </a:cubicBezTo>
                  <a:cubicBezTo>
                    <a:pt x="12" y="457"/>
                    <a:pt x="14" y="463"/>
                    <a:pt x="18" y="466"/>
                  </a:cubicBezTo>
                  <a:cubicBezTo>
                    <a:pt x="18" y="467"/>
                    <a:pt x="19" y="467"/>
                    <a:pt x="20" y="468"/>
                  </a:cubicBezTo>
                  <a:cubicBezTo>
                    <a:pt x="21" y="469"/>
                    <a:pt x="21" y="470"/>
                    <a:pt x="21" y="471"/>
                  </a:cubicBezTo>
                  <a:cubicBezTo>
                    <a:pt x="21" y="473"/>
                    <a:pt x="20" y="477"/>
                    <a:pt x="19" y="478"/>
                  </a:cubicBezTo>
                  <a:cubicBezTo>
                    <a:pt x="19" y="478"/>
                    <a:pt x="19" y="478"/>
                    <a:pt x="19" y="478"/>
                  </a:cubicBezTo>
                  <a:cubicBezTo>
                    <a:pt x="19" y="478"/>
                    <a:pt x="19" y="478"/>
                    <a:pt x="19" y="478"/>
                  </a:cubicBezTo>
                  <a:cubicBezTo>
                    <a:pt x="19" y="478"/>
                    <a:pt x="18" y="478"/>
                    <a:pt x="18" y="478"/>
                  </a:cubicBezTo>
                  <a:cubicBezTo>
                    <a:pt x="18" y="478"/>
                    <a:pt x="18" y="478"/>
                    <a:pt x="18" y="478"/>
                  </a:cubicBezTo>
                  <a:cubicBezTo>
                    <a:pt x="17" y="479"/>
                    <a:pt x="16" y="479"/>
                    <a:pt x="16" y="479"/>
                  </a:cubicBezTo>
                  <a:cubicBezTo>
                    <a:pt x="14" y="479"/>
                    <a:pt x="14" y="478"/>
                    <a:pt x="14" y="475"/>
                  </a:cubicBezTo>
                  <a:cubicBezTo>
                    <a:pt x="13" y="476"/>
                    <a:pt x="13" y="477"/>
                    <a:pt x="13" y="479"/>
                  </a:cubicBezTo>
                  <a:cubicBezTo>
                    <a:pt x="11" y="475"/>
                    <a:pt x="12" y="472"/>
                    <a:pt x="11" y="468"/>
                  </a:cubicBezTo>
                  <a:cubicBezTo>
                    <a:pt x="11" y="469"/>
                    <a:pt x="10" y="471"/>
                    <a:pt x="10" y="472"/>
                  </a:cubicBezTo>
                  <a:cubicBezTo>
                    <a:pt x="10" y="469"/>
                    <a:pt x="9" y="466"/>
                    <a:pt x="8" y="464"/>
                  </a:cubicBezTo>
                  <a:cubicBezTo>
                    <a:pt x="8" y="465"/>
                    <a:pt x="8" y="465"/>
                    <a:pt x="8" y="465"/>
                  </a:cubicBezTo>
                  <a:cubicBezTo>
                    <a:pt x="7" y="463"/>
                    <a:pt x="7" y="462"/>
                    <a:pt x="7" y="460"/>
                  </a:cubicBezTo>
                  <a:cubicBezTo>
                    <a:pt x="6" y="464"/>
                    <a:pt x="6" y="468"/>
                    <a:pt x="7" y="472"/>
                  </a:cubicBezTo>
                  <a:cubicBezTo>
                    <a:pt x="4" y="469"/>
                    <a:pt x="5" y="464"/>
                    <a:pt x="5" y="460"/>
                  </a:cubicBezTo>
                  <a:cubicBezTo>
                    <a:pt x="4" y="462"/>
                    <a:pt x="4" y="464"/>
                    <a:pt x="4" y="466"/>
                  </a:cubicBezTo>
                  <a:cubicBezTo>
                    <a:pt x="3" y="465"/>
                    <a:pt x="2" y="464"/>
                    <a:pt x="0" y="464"/>
                  </a:cubicBezTo>
                  <a:cubicBezTo>
                    <a:pt x="6" y="472"/>
                    <a:pt x="11" y="480"/>
                    <a:pt x="16" y="487"/>
                  </a:cubicBezTo>
                  <a:cubicBezTo>
                    <a:pt x="19" y="491"/>
                    <a:pt x="21" y="495"/>
                    <a:pt x="24" y="498"/>
                  </a:cubicBezTo>
                  <a:cubicBezTo>
                    <a:pt x="26" y="501"/>
                    <a:pt x="26" y="506"/>
                    <a:pt x="27" y="509"/>
                  </a:cubicBezTo>
                  <a:cubicBezTo>
                    <a:pt x="28" y="514"/>
                    <a:pt x="28" y="519"/>
                    <a:pt x="30" y="523"/>
                  </a:cubicBezTo>
                  <a:cubicBezTo>
                    <a:pt x="34" y="536"/>
                    <a:pt x="48" y="546"/>
                    <a:pt x="50" y="560"/>
                  </a:cubicBezTo>
                  <a:cubicBezTo>
                    <a:pt x="52" y="569"/>
                    <a:pt x="52" y="578"/>
                    <a:pt x="53" y="587"/>
                  </a:cubicBezTo>
                  <a:cubicBezTo>
                    <a:pt x="55" y="596"/>
                    <a:pt x="59" y="604"/>
                    <a:pt x="61" y="613"/>
                  </a:cubicBezTo>
                  <a:cubicBezTo>
                    <a:pt x="65" y="622"/>
                    <a:pt x="70" y="631"/>
                    <a:pt x="74" y="641"/>
                  </a:cubicBezTo>
                  <a:cubicBezTo>
                    <a:pt x="75" y="640"/>
                    <a:pt x="77" y="639"/>
                    <a:pt x="79" y="639"/>
                  </a:cubicBezTo>
                  <a:cubicBezTo>
                    <a:pt x="83" y="639"/>
                    <a:pt x="87" y="643"/>
                    <a:pt x="87" y="647"/>
                  </a:cubicBezTo>
                  <a:cubicBezTo>
                    <a:pt x="87" y="651"/>
                    <a:pt x="83" y="655"/>
                    <a:pt x="79" y="655"/>
                  </a:cubicBezTo>
                  <a:cubicBezTo>
                    <a:pt x="78" y="655"/>
                    <a:pt x="77" y="655"/>
                    <a:pt x="77" y="655"/>
                  </a:cubicBezTo>
                  <a:cubicBezTo>
                    <a:pt x="77" y="661"/>
                    <a:pt x="77" y="669"/>
                    <a:pt x="75" y="674"/>
                  </a:cubicBezTo>
                  <a:cubicBezTo>
                    <a:pt x="74" y="672"/>
                    <a:pt x="73" y="671"/>
                    <a:pt x="73" y="668"/>
                  </a:cubicBezTo>
                  <a:cubicBezTo>
                    <a:pt x="71" y="671"/>
                    <a:pt x="72" y="674"/>
                    <a:pt x="73" y="676"/>
                  </a:cubicBezTo>
                  <a:cubicBezTo>
                    <a:pt x="74" y="682"/>
                    <a:pt x="76" y="691"/>
                    <a:pt x="71" y="695"/>
                  </a:cubicBezTo>
                  <a:cubicBezTo>
                    <a:pt x="69" y="697"/>
                    <a:pt x="61" y="701"/>
                    <a:pt x="58" y="701"/>
                  </a:cubicBezTo>
                  <a:cubicBezTo>
                    <a:pt x="58" y="701"/>
                    <a:pt x="57" y="701"/>
                    <a:pt x="57" y="701"/>
                  </a:cubicBezTo>
                  <a:cubicBezTo>
                    <a:pt x="57" y="701"/>
                    <a:pt x="56" y="699"/>
                    <a:pt x="55" y="698"/>
                  </a:cubicBezTo>
                  <a:cubicBezTo>
                    <a:pt x="53" y="704"/>
                    <a:pt x="53" y="712"/>
                    <a:pt x="54" y="717"/>
                  </a:cubicBezTo>
                  <a:cubicBezTo>
                    <a:pt x="54" y="718"/>
                    <a:pt x="54" y="721"/>
                    <a:pt x="55" y="721"/>
                  </a:cubicBezTo>
                  <a:cubicBezTo>
                    <a:pt x="56" y="724"/>
                    <a:pt x="61" y="726"/>
                    <a:pt x="65" y="728"/>
                  </a:cubicBezTo>
                  <a:cubicBezTo>
                    <a:pt x="72" y="731"/>
                    <a:pt x="78" y="734"/>
                    <a:pt x="83" y="740"/>
                  </a:cubicBezTo>
                  <a:cubicBezTo>
                    <a:pt x="87" y="744"/>
                    <a:pt x="95" y="746"/>
                    <a:pt x="101" y="748"/>
                  </a:cubicBezTo>
                  <a:cubicBezTo>
                    <a:pt x="102" y="748"/>
                    <a:pt x="103" y="748"/>
                    <a:pt x="105" y="748"/>
                  </a:cubicBezTo>
                  <a:cubicBezTo>
                    <a:pt x="106" y="748"/>
                    <a:pt x="108" y="748"/>
                    <a:pt x="110" y="748"/>
                  </a:cubicBezTo>
                  <a:cubicBezTo>
                    <a:pt x="112" y="748"/>
                    <a:pt x="114" y="747"/>
                    <a:pt x="116" y="747"/>
                  </a:cubicBezTo>
                  <a:cubicBezTo>
                    <a:pt x="117" y="747"/>
                    <a:pt x="117" y="747"/>
                    <a:pt x="118" y="747"/>
                  </a:cubicBezTo>
                  <a:cubicBezTo>
                    <a:pt x="126" y="748"/>
                    <a:pt x="134" y="749"/>
                    <a:pt x="142" y="750"/>
                  </a:cubicBezTo>
                  <a:cubicBezTo>
                    <a:pt x="140" y="749"/>
                    <a:pt x="138" y="749"/>
                    <a:pt x="137" y="748"/>
                  </a:cubicBezTo>
                  <a:cubicBezTo>
                    <a:pt x="141" y="747"/>
                    <a:pt x="146" y="748"/>
                    <a:pt x="150" y="746"/>
                  </a:cubicBezTo>
                  <a:cubicBezTo>
                    <a:pt x="157" y="740"/>
                    <a:pt x="164" y="735"/>
                    <a:pt x="171" y="729"/>
                  </a:cubicBezTo>
                  <a:cubicBezTo>
                    <a:pt x="171" y="729"/>
                    <a:pt x="171" y="729"/>
                    <a:pt x="171" y="729"/>
                  </a:cubicBezTo>
                  <a:cubicBezTo>
                    <a:pt x="172" y="729"/>
                    <a:pt x="174" y="729"/>
                    <a:pt x="175" y="730"/>
                  </a:cubicBezTo>
                  <a:cubicBezTo>
                    <a:pt x="176" y="731"/>
                    <a:pt x="177" y="731"/>
                    <a:pt x="178" y="731"/>
                  </a:cubicBezTo>
                  <a:cubicBezTo>
                    <a:pt x="178" y="731"/>
                    <a:pt x="178" y="731"/>
                    <a:pt x="178" y="731"/>
                  </a:cubicBezTo>
                  <a:cubicBezTo>
                    <a:pt x="179" y="731"/>
                    <a:pt x="181" y="730"/>
                    <a:pt x="182" y="730"/>
                  </a:cubicBezTo>
                  <a:cubicBezTo>
                    <a:pt x="187" y="727"/>
                    <a:pt x="184" y="727"/>
                    <a:pt x="184" y="724"/>
                  </a:cubicBezTo>
                  <a:cubicBezTo>
                    <a:pt x="186" y="718"/>
                    <a:pt x="192" y="716"/>
                    <a:pt x="197" y="715"/>
                  </a:cubicBezTo>
                  <a:cubicBezTo>
                    <a:pt x="206" y="713"/>
                    <a:pt x="215" y="710"/>
                    <a:pt x="225" y="709"/>
                  </a:cubicBezTo>
                  <a:cubicBezTo>
                    <a:pt x="229" y="709"/>
                    <a:pt x="234" y="709"/>
                    <a:pt x="238" y="709"/>
                  </a:cubicBezTo>
                  <a:cubicBezTo>
                    <a:pt x="242" y="709"/>
                    <a:pt x="245" y="709"/>
                    <a:pt x="249" y="710"/>
                  </a:cubicBezTo>
                  <a:cubicBezTo>
                    <a:pt x="250" y="710"/>
                    <a:pt x="250" y="710"/>
                    <a:pt x="251" y="710"/>
                  </a:cubicBezTo>
                  <a:cubicBezTo>
                    <a:pt x="252" y="710"/>
                    <a:pt x="253" y="710"/>
                    <a:pt x="254" y="710"/>
                  </a:cubicBezTo>
                  <a:cubicBezTo>
                    <a:pt x="255" y="710"/>
                    <a:pt x="255" y="710"/>
                    <a:pt x="256" y="710"/>
                  </a:cubicBezTo>
                  <a:cubicBezTo>
                    <a:pt x="258" y="710"/>
                    <a:pt x="259" y="710"/>
                    <a:pt x="260" y="712"/>
                  </a:cubicBezTo>
                  <a:cubicBezTo>
                    <a:pt x="261" y="715"/>
                    <a:pt x="259" y="714"/>
                    <a:pt x="262" y="715"/>
                  </a:cubicBezTo>
                  <a:cubicBezTo>
                    <a:pt x="262" y="715"/>
                    <a:pt x="263" y="715"/>
                    <a:pt x="264" y="715"/>
                  </a:cubicBezTo>
                  <a:cubicBezTo>
                    <a:pt x="268" y="715"/>
                    <a:pt x="275" y="712"/>
                    <a:pt x="279" y="711"/>
                  </a:cubicBezTo>
                  <a:cubicBezTo>
                    <a:pt x="281" y="711"/>
                    <a:pt x="285" y="710"/>
                    <a:pt x="287" y="710"/>
                  </a:cubicBezTo>
                  <a:cubicBezTo>
                    <a:pt x="288" y="710"/>
                    <a:pt x="289" y="710"/>
                    <a:pt x="289" y="710"/>
                  </a:cubicBezTo>
                  <a:cubicBezTo>
                    <a:pt x="290" y="711"/>
                    <a:pt x="290" y="713"/>
                    <a:pt x="291" y="714"/>
                  </a:cubicBezTo>
                  <a:cubicBezTo>
                    <a:pt x="291" y="714"/>
                    <a:pt x="292" y="714"/>
                    <a:pt x="292" y="714"/>
                  </a:cubicBezTo>
                  <a:cubicBezTo>
                    <a:pt x="294" y="714"/>
                    <a:pt x="298" y="712"/>
                    <a:pt x="300" y="711"/>
                  </a:cubicBezTo>
                  <a:cubicBezTo>
                    <a:pt x="300" y="711"/>
                    <a:pt x="300" y="711"/>
                    <a:pt x="301" y="711"/>
                  </a:cubicBezTo>
                  <a:cubicBezTo>
                    <a:pt x="301" y="711"/>
                    <a:pt x="301" y="711"/>
                    <a:pt x="301" y="711"/>
                  </a:cubicBezTo>
                  <a:cubicBezTo>
                    <a:pt x="301" y="711"/>
                    <a:pt x="301" y="711"/>
                    <a:pt x="301" y="711"/>
                  </a:cubicBezTo>
                  <a:cubicBezTo>
                    <a:pt x="302" y="711"/>
                    <a:pt x="302" y="711"/>
                    <a:pt x="303" y="711"/>
                  </a:cubicBezTo>
                  <a:cubicBezTo>
                    <a:pt x="306" y="710"/>
                    <a:pt x="310" y="704"/>
                    <a:pt x="312" y="702"/>
                  </a:cubicBezTo>
                  <a:cubicBezTo>
                    <a:pt x="315" y="699"/>
                    <a:pt x="316" y="696"/>
                    <a:pt x="318" y="693"/>
                  </a:cubicBezTo>
                  <a:cubicBezTo>
                    <a:pt x="319" y="691"/>
                    <a:pt x="321" y="683"/>
                    <a:pt x="323" y="682"/>
                  </a:cubicBezTo>
                  <a:cubicBezTo>
                    <a:pt x="332" y="678"/>
                    <a:pt x="341" y="674"/>
                    <a:pt x="350" y="670"/>
                  </a:cubicBezTo>
                  <a:cubicBezTo>
                    <a:pt x="355" y="668"/>
                    <a:pt x="359" y="667"/>
                    <a:pt x="363" y="664"/>
                  </a:cubicBezTo>
                  <a:cubicBezTo>
                    <a:pt x="365" y="662"/>
                    <a:pt x="368" y="660"/>
                    <a:pt x="371" y="659"/>
                  </a:cubicBezTo>
                  <a:cubicBezTo>
                    <a:pt x="373" y="658"/>
                    <a:pt x="375" y="658"/>
                    <a:pt x="378" y="658"/>
                  </a:cubicBezTo>
                  <a:cubicBezTo>
                    <a:pt x="382" y="658"/>
                    <a:pt x="386" y="659"/>
                    <a:pt x="390" y="659"/>
                  </a:cubicBezTo>
                  <a:cubicBezTo>
                    <a:pt x="392" y="659"/>
                    <a:pt x="395" y="659"/>
                    <a:pt x="398" y="659"/>
                  </a:cubicBezTo>
                  <a:cubicBezTo>
                    <a:pt x="403" y="659"/>
                    <a:pt x="408" y="659"/>
                    <a:pt x="412" y="658"/>
                  </a:cubicBezTo>
                  <a:cubicBezTo>
                    <a:pt x="429" y="653"/>
                    <a:pt x="445" y="645"/>
                    <a:pt x="461" y="639"/>
                  </a:cubicBezTo>
                  <a:cubicBezTo>
                    <a:pt x="461" y="639"/>
                    <a:pt x="461" y="639"/>
                    <a:pt x="461" y="639"/>
                  </a:cubicBezTo>
                  <a:cubicBezTo>
                    <a:pt x="461" y="639"/>
                    <a:pt x="461" y="639"/>
                    <a:pt x="461" y="639"/>
                  </a:cubicBezTo>
                  <a:cubicBezTo>
                    <a:pt x="471" y="638"/>
                    <a:pt x="480" y="637"/>
                    <a:pt x="490" y="636"/>
                  </a:cubicBezTo>
                  <a:cubicBezTo>
                    <a:pt x="491" y="636"/>
                    <a:pt x="492" y="636"/>
                    <a:pt x="493" y="636"/>
                  </a:cubicBezTo>
                  <a:cubicBezTo>
                    <a:pt x="496" y="636"/>
                    <a:pt x="498" y="636"/>
                    <a:pt x="501" y="636"/>
                  </a:cubicBezTo>
                  <a:cubicBezTo>
                    <a:pt x="503" y="637"/>
                    <a:pt x="506" y="637"/>
                    <a:pt x="508" y="637"/>
                  </a:cubicBezTo>
                  <a:cubicBezTo>
                    <a:pt x="511" y="637"/>
                    <a:pt x="514" y="636"/>
                    <a:pt x="517" y="635"/>
                  </a:cubicBezTo>
                  <a:cubicBezTo>
                    <a:pt x="520" y="634"/>
                    <a:pt x="521" y="633"/>
                    <a:pt x="523" y="633"/>
                  </a:cubicBezTo>
                  <a:cubicBezTo>
                    <a:pt x="524" y="633"/>
                    <a:pt x="526" y="634"/>
                    <a:pt x="528" y="635"/>
                  </a:cubicBezTo>
                  <a:cubicBezTo>
                    <a:pt x="535" y="638"/>
                    <a:pt x="545" y="641"/>
                    <a:pt x="551" y="647"/>
                  </a:cubicBezTo>
                  <a:cubicBezTo>
                    <a:pt x="552" y="648"/>
                    <a:pt x="552" y="649"/>
                    <a:pt x="553" y="650"/>
                  </a:cubicBezTo>
                  <a:cubicBezTo>
                    <a:pt x="554" y="650"/>
                    <a:pt x="554" y="650"/>
                    <a:pt x="555" y="650"/>
                  </a:cubicBezTo>
                  <a:cubicBezTo>
                    <a:pt x="557" y="650"/>
                    <a:pt x="561" y="648"/>
                    <a:pt x="563" y="647"/>
                  </a:cubicBezTo>
                  <a:cubicBezTo>
                    <a:pt x="564" y="647"/>
                    <a:pt x="565" y="647"/>
                    <a:pt x="565" y="647"/>
                  </a:cubicBezTo>
                  <a:cubicBezTo>
                    <a:pt x="568" y="647"/>
                    <a:pt x="571" y="648"/>
                    <a:pt x="573" y="649"/>
                  </a:cubicBezTo>
                  <a:cubicBezTo>
                    <a:pt x="578" y="651"/>
                    <a:pt x="582" y="653"/>
                    <a:pt x="587" y="655"/>
                  </a:cubicBezTo>
                  <a:cubicBezTo>
                    <a:pt x="587" y="655"/>
                    <a:pt x="587" y="655"/>
                    <a:pt x="587" y="655"/>
                  </a:cubicBezTo>
                  <a:cubicBezTo>
                    <a:pt x="588" y="655"/>
                    <a:pt x="589" y="655"/>
                    <a:pt x="589" y="654"/>
                  </a:cubicBezTo>
                  <a:cubicBezTo>
                    <a:pt x="590" y="654"/>
                    <a:pt x="591" y="653"/>
                    <a:pt x="592" y="653"/>
                  </a:cubicBezTo>
                  <a:cubicBezTo>
                    <a:pt x="592" y="653"/>
                    <a:pt x="592" y="653"/>
                    <a:pt x="592" y="653"/>
                  </a:cubicBezTo>
                  <a:cubicBezTo>
                    <a:pt x="593" y="653"/>
                    <a:pt x="593" y="653"/>
                    <a:pt x="593" y="653"/>
                  </a:cubicBezTo>
                  <a:cubicBezTo>
                    <a:pt x="593" y="653"/>
                    <a:pt x="594" y="653"/>
                    <a:pt x="594" y="653"/>
                  </a:cubicBezTo>
                  <a:cubicBezTo>
                    <a:pt x="594" y="653"/>
                    <a:pt x="595" y="652"/>
                    <a:pt x="595" y="652"/>
                  </a:cubicBezTo>
                  <a:cubicBezTo>
                    <a:pt x="595" y="652"/>
                    <a:pt x="596" y="652"/>
                    <a:pt x="596" y="653"/>
                  </a:cubicBezTo>
                  <a:cubicBezTo>
                    <a:pt x="599" y="654"/>
                    <a:pt x="602" y="660"/>
                    <a:pt x="603" y="663"/>
                  </a:cubicBezTo>
                  <a:cubicBezTo>
                    <a:pt x="603" y="663"/>
                    <a:pt x="603" y="663"/>
                    <a:pt x="603" y="663"/>
                  </a:cubicBezTo>
                  <a:cubicBezTo>
                    <a:pt x="602" y="663"/>
                    <a:pt x="602" y="665"/>
                    <a:pt x="602" y="666"/>
                  </a:cubicBezTo>
                  <a:cubicBezTo>
                    <a:pt x="602" y="666"/>
                    <a:pt x="602" y="666"/>
                    <a:pt x="603" y="666"/>
                  </a:cubicBezTo>
                  <a:cubicBezTo>
                    <a:pt x="606" y="666"/>
                    <a:pt x="609" y="666"/>
                    <a:pt x="612" y="665"/>
                  </a:cubicBezTo>
                  <a:cubicBezTo>
                    <a:pt x="612" y="668"/>
                    <a:pt x="614" y="672"/>
                    <a:pt x="612" y="675"/>
                  </a:cubicBezTo>
                  <a:cubicBezTo>
                    <a:pt x="612" y="675"/>
                    <a:pt x="609" y="672"/>
                    <a:pt x="608" y="672"/>
                  </a:cubicBezTo>
                  <a:cubicBezTo>
                    <a:pt x="608" y="672"/>
                    <a:pt x="608" y="673"/>
                    <a:pt x="608" y="673"/>
                  </a:cubicBezTo>
                  <a:cubicBezTo>
                    <a:pt x="610" y="677"/>
                    <a:pt x="608" y="676"/>
                    <a:pt x="608" y="678"/>
                  </a:cubicBezTo>
                  <a:cubicBezTo>
                    <a:pt x="608" y="680"/>
                    <a:pt x="613" y="686"/>
                    <a:pt x="614" y="687"/>
                  </a:cubicBezTo>
                  <a:cubicBezTo>
                    <a:pt x="616" y="688"/>
                    <a:pt x="619" y="689"/>
                    <a:pt x="622" y="689"/>
                  </a:cubicBezTo>
                  <a:cubicBezTo>
                    <a:pt x="623" y="689"/>
                    <a:pt x="623" y="689"/>
                    <a:pt x="624" y="689"/>
                  </a:cubicBezTo>
                  <a:cubicBezTo>
                    <a:pt x="624" y="688"/>
                    <a:pt x="624" y="687"/>
                    <a:pt x="624" y="687"/>
                  </a:cubicBezTo>
                  <a:cubicBezTo>
                    <a:pt x="626" y="692"/>
                    <a:pt x="628" y="698"/>
                    <a:pt x="631" y="702"/>
                  </a:cubicBezTo>
                  <a:cubicBezTo>
                    <a:pt x="634" y="707"/>
                    <a:pt x="641" y="708"/>
                    <a:pt x="642" y="715"/>
                  </a:cubicBezTo>
                  <a:cubicBezTo>
                    <a:pt x="643" y="716"/>
                    <a:pt x="643" y="717"/>
                    <a:pt x="643" y="718"/>
                  </a:cubicBezTo>
                  <a:cubicBezTo>
                    <a:pt x="643" y="718"/>
                    <a:pt x="642" y="718"/>
                    <a:pt x="642" y="719"/>
                  </a:cubicBezTo>
                  <a:cubicBezTo>
                    <a:pt x="643" y="720"/>
                    <a:pt x="644" y="720"/>
                    <a:pt x="645" y="721"/>
                  </a:cubicBezTo>
                  <a:cubicBezTo>
                    <a:pt x="647" y="725"/>
                    <a:pt x="645" y="732"/>
                    <a:pt x="648" y="735"/>
                  </a:cubicBezTo>
                  <a:cubicBezTo>
                    <a:pt x="648" y="735"/>
                    <a:pt x="648" y="735"/>
                    <a:pt x="647" y="735"/>
                  </a:cubicBezTo>
                  <a:cubicBezTo>
                    <a:pt x="645" y="735"/>
                    <a:pt x="643" y="733"/>
                    <a:pt x="645" y="731"/>
                  </a:cubicBezTo>
                  <a:cubicBezTo>
                    <a:pt x="643" y="731"/>
                    <a:pt x="641" y="731"/>
                    <a:pt x="641" y="728"/>
                  </a:cubicBezTo>
                  <a:cubicBezTo>
                    <a:pt x="641" y="729"/>
                    <a:pt x="638" y="732"/>
                    <a:pt x="639" y="733"/>
                  </a:cubicBezTo>
                  <a:cubicBezTo>
                    <a:pt x="639" y="735"/>
                    <a:pt x="643" y="735"/>
                    <a:pt x="645" y="736"/>
                  </a:cubicBezTo>
                  <a:cubicBezTo>
                    <a:pt x="644" y="737"/>
                    <a:pt x="646" y="736"/>
                    <a:pt x="647" y="737"/>
                  </a:cubicBezTo>
                  <a:cubicBezTo>
                    <a:pt x="648" y="738"/>
                    <a:pt x="649" y="739"/>
                    <a:pt x="650" y="740"/>
                  </a:cubicBezTo>
                  <a:cubicBezTo>
                    <a:pt x="651" y="741"/>
                    <a:pt x="653" y="743"/>
                    <a:pt x="653" y="745"/>
                  </a:cubicBezTo>
                  <a:cubicBezTo>
                    <a:pt x="655" y="745"/>
                    <a:pt x="657" y="743"/>
                    <a:pt x="659" y="743"/>
                  </a:cubicBezTo>
                  <a:cubicBezTo>
                    <a:pt x="659" y="743"/>
                    <a:pt x="660" y="744"/>
                    <a:pt x="660" y="744"/>
                  </a:cubicBezTo>
                  <a:cubicBezTo>
                    <a:pt x="660" y="744"/>
                    <a:pt x="661" y="745"/>
                    <a:pt x="662" y="746"/>
                  </a:cubicBezTo>
                  <a:cubicBezTo>
                    <a:pt x="663" y="746"/>
                    <a:pt x="662" y="747"/>
                    <a:pt x="663" y="747"/>
                  </a:cubicBezTo>
                  <a:cubicBezTo>
                    <a:pt x="663" y="747"/>
                    <a:pt x="663" y="747"/>
                    <a:pt x="663" y="747"/>
                  </a:cubicBezTo>
                  <a:cubicBezTo>
                    <a:pt x="665" y="746"/>
                    <a:pt x="663" y="741"/>
                    <a:pt x="662" y="739"/>
                  </a:cubicBezTo>
                  <a:cubicBezTo>
                    <a:pt x="662" y="740"/>
                    <a:pt x="661" y="741"/>
                    <a:pt x="659" y="741"/>
                  </a:cubicBezTo>
                  <a:cubicBezTo>
                    <a:pt x="659" y="741"/>
                    <a:pt x="659" y="741"/>
                    <a:pt x="659" y="741"/>
                  </a:cubicBezTo>
                  <a:cubicBezTo>
                    <a:pt x="664" y="731"/>
                    <a:pt x="672" y="722"/>
                    <a:pt x="680" y="713"/>
                  </a:cubicBezTo>
                  <a:cubicBezTo>
                    <a:pt x="684" y="708"/>
                    <a:pt x="692" y="707"/>
                    <a:pt x="697" y="705"/>
                  </a:cubicBezTo>
                  <a:cubicBezTo>
                    <a:pt x="699" y="703"/>
                    <a:pt x="700" y="701"/>
                    <a:pt x="701" y="698"/>
                  </a:cubicBezTo>
                  <a:cubicBezTo>
                    <a:pt x="704" y="692"/>
                    <a:pt x="707" y="687"/>
                    <a:pt x="711" y="682"/>
                  </a:cubicBezTo>
                  <a:cubicBezTo>
                    <a:pt x="712" y="680"/>
                    <a:pt x="713" y="681"/>
                    <a:pt x="714" y="678"/>
                  </a:cubicBezTo>
                  <a:cubicBezTo>
                    <a:pt x="715" y="676"/>
                    <a:pt x="716" y="675"/>
                    <a:pt x="716" y="673"/>
                  </a:cubicBezTo>
                  <a:cubicBezTo>
                    <a:pt x="717" y="672"/>
                    <a:pt x="715" y="671"/>
                    <a:pt x="715" y="670"/>
                  </a:cubicBezTo>
                  <a:cubicBezTo>
                    <a:pt x="715" y="669"/>
                    <a:pt x="715" y="668"/>
                    <a:pt x="715" y="667"/>
                  </a:cubicBezTo>
                  <a:cubicBezTo>
                    <a:pt x="717" y="669"/>
                    <a:pt x="718" y="673"/>
                    <a:pt x="720" y="676"/>
                  </a:cubicBezTo>
                  <a:cubicBezTo>
                    <a:pt x="721" y="678"/>
                    <a:pt x="722" y="681"/>
                    <a:pt x="723" y="683"/>
                  </a:cubicBezTo>
                  <a:cubicBezTo>
                    <a:pt x="724" y="685"/>
                    <a:pt x="720" y="686"/>
                    <a:pt x="719" y="687"/>
                  </a:cubicBezTo>
                  <a:cubicBezTo>
                    <a:pt x="719" y="688"/>
                    <a:pt x="718" y="688"/>
                    <a:pt x="717" y="689"/>
                  </a:cubicBezTo>
                  <a:cubicBezTo>
                    <a:pt x="717" y="691"/>
                    <a:pt x="720" y="694"/>
                    <a:pt x="719" y="696"/>
                  </a:cubicBezTo>
                  <a:cubicBezTo>
                    <a:pt x="718" y="700"/>
                    <a:pt x="717" y="703"/>
                    <a:pt x="714" y="706"/>
                  </a:cubicBezTo>
                  <a:cubicBezTo>
                    <a:pt x="712" y="709"/>
                    <a:pt x="710" y="713"/>
                    <a:pt x="709" y="717"/>
                  </a:cubicBezTo>
                  <a:cubicBezTo>
                    <a:pt x="706" y="725"/>
                    <a:pt x="710" y="734"/>
                    <a:pt x="706" y="742"/>
                  </a:cubicBezTo>
                  <a:cubicBezTo>
                    <a:pt x="706" y="744"/>
                    <a:pt x="704" y="744"/>
                    <a:pt x="702" y="744"/>
                  </a:cubicBezTo>
                  <a:cubicBezTo>
                    <a:pt x="701" y="744"/>
                    <a:pt x="700" y="744"/>
                    <a:pt x="700" y="744"/>
                  </a:cubicBezTo>
                  <a:cubicBezTo>
                    <a:pt x="699" y="744"/>
                    <a:pt x="699" y="744"/>
                    <a:pt x="698" y="744"/>
                  </a:cubicBezTo>
                  <a:cubicBezTo>
                    <a:pt x="697" y="744"/>
                    <a:pt x="697" y="744"/>
                    <a:pt x="696" y="744"/>
                  </a:cubicBezTo>
                  <a:cubicBezTo>
                    <a:pt x="696" y="744"/>
                    <a:pt x="696" y="744"/>
                    <a:pt x="696" y="744"/>
                  </a:cubicBezTo>
                  <a:cubicBezTo>
                    <a:pt x="695" y="744"/>
                    <a:pt x="695" y="744"/>
                    <a:pt x="695" y="744"/>
                  </a:cubicBezTo>
                  <a:cubicBezTo>
                    <a:pt x="694" y="744"/>
                    <a:pt x="694" y="744"/>
                    <a:pt x="694" y="744"/>
                  </a:cubicBezTo>
                  <a:cubicBezTo>
                    <a:pt x="694" y="744"/>
                    <a:pt x="694" y="744"/>
                    <a:pt x="693" y="745"/>
                  </a:cubicBezTo>
                  <a:cubicBezTo>
                    <a:pt x="692" y="746"/>
                    <a:pt x="691" y="749"/>
                    <a:pt x="691" y="750"/>
                  </a:cubicBezTo>
                  <a:cubicBezTo>
                    <a:pt x="692" y="752"/>
                    <a:pt x="689" y="753"/>
                    <a:pt x="688" y="755"/>
                  </a:cubicBezTo>
                  <a:cubicBezTo>
                    <a:pt x="695" y="754"/>
                    <a:pt x="701" y="752"/>
                    <a:pt x="707" y="751"/>
                  </a:cubicBezTo>
                  <a:cubicBezTo>
                    <a:pt x="708" y="751"/>
                    <a:pt x="708" y="751"/>
                    <a:pt x="708" y="751"/>
                  </a:cubicBezTo>
                  <a:cubicBezTo>
                    <a:pt x="709" y="751"/>
                    <a:pt x="710" y="751"/>
                    <a:pt x="710" y="752"/>
                  </a:cubicBezTo>
                  <a:cubicBezTo>
                    <a:pt x="711" y="752"/>
                    <a:pt x="712" y="753"/>
                    <a:pt x="712" y="753"/>
                  </a:cubicBezTo>
                  <a:cubicBezTo>
                    <a:pt x="713" y="753"/>
                    <a:pt x="713" y="752"/>
                    <a:pt x="714" y="752"/>
                  </a:cubicBezTo>
                  <a:cubicBezTo>
                    <a:pt x="717" y="750"/>
                    <a:pt x="718" y="741"/>
                    <a:pt x="718" y="737"/>
                  </a:cubicBezTo>
                  <a:cubicBezTo>
                    <a:pt x="719" y="731"/>
                    <a:pt x="721" y="726"/>
                    <a:pt x="724" y="721"/>
                  </a:cubicBezTo>
                  <a:cubicBezTo>
                    <a:pt x="725" y="720"/>
                    <a:pt x="725" y="720"/>
                    <a:pt x="725" y="719"/>
                  </a:cubicBezTo>
                  <a:cubicBezTo>
                    <a:pt x="728" y="723"/>
                    <a:pt x="730" y="727"/>
                    <a:pt x="732" y="731"/>
                  </a:cubicBezTo>
                  <a:cubicBezTo>
                    <a:pt x="733" y="733"/>
                    <a:pt x="734" y="735"/>
                    <a:pt x="735" y="736"/>
                  </a:cubicBezTo>
                  <a:cubicBezTo>
                    <a:pt x="736" y="737"/>
                    <a:pt x="738" y="738"/>
                    <a:pt x="738" y="739"/>
                  </a:cubicBezTo>
                  <a:cubicBezTo>
                    <a:pt x="739" y="742"/>
                    <a:pt x="737" y="747"/>
                    <a:pt x="737" y="750"/>
                  </a:cubicBezTo>
                  <a:cubicBezTo>
                    <a:pt x="736" y="755"/>
                    <a:pt x="736" y="757"/>
                    <a:pt x="732" y="760"/>
                  </a:cubicBezTo>
                  <a:cubicBezTo>
                    <a:pt x="730" y="762"/>
                    <a:pt x="726" y="764"/>
                    <a:pt x="725" y="767"/>
                  </a:cubicBezTo>
                  <a:cubicBezTo>
                    <a:pt x="728" y="768"/>
                    <a:pt x="730" y="768"/>
                    <a:pt x="733" y="768"/>
                  </a:cubicBezTo>
                  <a:cubicBezTo>
                    <a:pt x="733" y="768"/>
                    <a:pt x="734" y="768"/>
                    <a:pt x="734" y="768"/>
                  </a:cubicBezTo>
                  <a:cubicBezTo>
                    <a:pt x="736" y="768"/>
                    <a:pt x="739" y="766"/>
                    <a:pt x="741" y="765"/>
                  </a:cubicBezTo>
                  <a:cubicBezTo>
                    <a:pt x="744" y="765"/>
                    <a:pt x="748" y="764"/>
                    <a:pt x="751" y="762"/>
                  </a:cubicBezTo>
                  <a:cubicBezTo>
                    <a:pt x="754" y="760"/>
                    <a:pt x="756" y="759"/>
                    <a:pt x="760" y="758"/>
                  </a:cubicBezTo>
                  <a:cubicBezTo>
                    <a:pt x="759" y="762"/>
                    <a:pt x="757" y="763"/>
                    <a:pt x="758" y="766"/>
                  </a:cubicBezTo>
                  <a:cubicBezTo>
                    <a:pt x="758" y="767"/>
                    <a:pt x="759" y="770"/>
                    <a:pt x="759" y="770"/>
                  </a:cubicBezTo>
                  <a:cubicBezTo>
                    <a:pt x="759" y="770"/>
                    <a:pt x="758" y="770"/>
                    <a:pt x="758" y="770"/>
                  </a:cubicBezTo>
                  <a:cubicBezTo>
                    <a:pt x="758" y="769"/>
                    <a:pt x="758" y="767"/>
                    <a:pt x="758" y="766"/>
                  </a:cubicBezTo>
                  <a:cubicBezTo>
                    <a:pt x="758" y="764"/>
                    <a:pt x="757" y="763"/>
                    <a:pt x="756" y="763"/>
                  </a:cubicBezTo>
                  <a:cubicBezTo>
                    <a:pt x="755" y="763"/>
                    <a:pt x="753" y="766"/>
                    <a:pt x="752" y="766"/>
                  </a:cubicBezTo>
                  <a:cubicBezTo>
                    <a:pt x="754" y="767"/>
                    <a:pt x="755" y="769"/>
                    <a:pt x="757" y="770"/>
                  </a:cubicBezTo>
                  <a:cubicBezTo>
                    <a:pt x="754" y="768"/>
                    <a:pt x="751" y="766"/>
                    <a:pt x="749" y="766"/>
                  </a:cubicBezTo>
                  <a:cubicBezTo>
                    <a:pt x="749" y="766"/>
                    <a:pt x="749" y="766"/>
                    <a:pt x="749" y="766"/>
                  </a:cubicBezTo>
                  <a:cubicBezTo>
                    <a:pt x="753" y="770"/>
                    <a:pt x="757" y="775"/>
                    <a:pt x="762" y="779"/>
                  </a:cubicBezTo>
                  <a:cubicBezTo>
                    <a:pt x="765" y="783"/>
                    <a:pt x="770" y="787"/>
                    <a:pt x="772" y="792"/>
                  </a:cubicBezTo>
                  <a:cubicBezTo>
                    <a:pt x="773" y="794"/>
                    <a:pt x="776" y="798"/>
                    <a:pt x="776" y="802"/>
                  </a:cubicBezTo>
                  <a:cubicBezTo>
                    <a:pt x="776" y="806"/>
                    <a:pt x="772" y="811"/>
                    <a:pt x="773" y="815"/>
                  </a:cubicBezTo>
                  <a:cubicBezTo>
                    <a:pt x="773" y="822"/>
                    <a:pt x="778" y="826"/>
                    <a:pt x="783" y="830"/>
                  </a:cubicBezTo>
                  <a:cubicBezTo>
                    <a:pt x="787" y="833"/>
                    <a:pt x="790" y="840"/>
                    <a:pt x="793" y="844"/>
                  </a:cubicBezTo>
                  <a:cubicBezTo>
                    <a:pt x="795" y="848"/>
                    <a:pt x="805" y="848"/>
                    <a:pt x="808" y="849"/>
                  </a:cubicBezTo>
                  <a:cubicBezTo>
                    <a:pt x="808" y="849"/>
                    <a:pt x="808" y="849"/>
                    <a:pt x="808" y="849"/>
                  </a:cubicBezTo>
                  <a:cubicBezTo>
                    <a:pt x="808" y="851"/>
                    <a:pt x="818" y="853"/>
                    <a:pt x="820" y="856"/>
                  </a:cubicBezTo>
                  <a:cubicBezTo>
                    <a:pt x="821" y="858"/>
                    <a:pt x="820" y="859"/>
                    <a:pt x="821" y="860"/>
                  </a:cubicBezTo>
                  <a:cubicBezTo>
                    <a:pt x="821" y="861"/>
                    <a:pt x="822" y="861"/>
                    <a:pt x="823" y="861"/>
                  </a:cubicBezTo>
                  <a:cubicBezTo>
                    <a:pt x="825" y="861"/>
                    <a:pt x="828" y="859"/>
                    <a:pt x="829" y="859"/>
                  </a:cubicBezTo>
                  <a:cubicBezTo>
                    <a:pt x="832" y="858"/>
                    <a:pt x="834" y="857"/>
                    <a:pt x="835" y="857"/>
                  </a:cubicBezTo>
                  <a:cubicBezTo>
                    <a:pt x="837" y="857"/>
                    <a:pt x="839" y="858"/>
                    <a:pt x="842" y="859"/>
                  </a:cubicBezTo>
                  <a:cubicBezTo>
                    <a:pt x="843" y="859"/>
                    <a:pt x="844" y="860"/>
                    <a:pt x="845" y="860"/>
                  </a:cubicBezTo>
                  <a:cubicBezTo>
                    <a:pt x="846" y="860"/>
                    <a:pt x="847" y="859"/>
                    <a:pt x="848" y="859"/>
                  </a:cubicBezTo>
                  <a:cubicBezTo>
                    <a:pt x="849" y="859"/>
                    <a:pt x="850" y="859"/>
                    <a:pt x="851" y="859"/>
                  </a:cubicBezTo>
                  <a:cubicBezTo>
                    <a:pt x="851" y="859"/>
                    <a:pt x="852" y="859"/>
                    <a:pt x="852" y="859"/>
                  </a:cubicBezTo>
                  <a:cubicBezTo>
                    <a:pt x="855" y="860"/>
                    <a:pt x="861" y="865"/>
                    <a:pt x="863" y="866"/>
                  </a:cubicBezTo>
                  <a:cubicBezTo>
                    <a:pt x="866" y="868"/>
                    <a:pt x="881" y="875"/>
                    <a:pt x="884" y="875"/>
                  </a:cubicBezTo>
                  <a:cubicBezTo>
                    <a:pt x="884" y="875"/>
                    <a:pt x="884" y="875"/>
                    <a:pt x="884" y="875"/>
                  </a:cubicBezTo>
                  <a:cubicBezTo>
                    <a:pt x="892" y="869"/>
                    <a:pt x="898" y="863"/>
                    <a:pt x="906" y="858"/>
                  </a:cubicBezTo>
                  <a:cubicBezTo>
                    <a:pt x="909" y="857"/>
                    <a:pt x="913" y="857"/>
                    <a:pt x="915" y="855"/>
                  </a:cubicBezTo>
                  <a:cubicBezTo>
                    <a:pt x="917" y="854"/>
                    <a:pt x="918" y="851"/>
                    <a:pt x="916" y="851"/>
                  </a:cubicBezTo>
                  <a:cubicBezTo>
                    <a:pt x="915" y="851"/>
                    <a:pt x="915" y="851"/>
                    <a:pt x="915" y="851"/>
                  </a:cubicBezTo>
                  <a:cubicBezTo>
                    <a:pt x="915" y="851"/>
                    <a:pt x="911" y="852"/>
                    <a:pt x="909" y="852"/>
                  </a:cubicBezTo>
                  <a:cubicBezTo>
                    <a:pt x="908" y="852"/>
                    <a:pt x="907" y="852"/>
                    <a:pt x="907" y="850"/>
                  </a:cubicBezTo>
                  <a:cubicBezTo>
                    <a:pt x="909" y="849"/>
                    <a:pt x="916" y="847"/>
                    <a:pt x="919" y="845"/>
                  </a:cubicBezTo>
                  <a:cubicBezTo>
                    <a:pt x="920" y="844"/>
                    <a:pt x="922" y="843"/>
                    <a:pt x="923" y="842"/>
                  </a:cubicBezTo>
                  <a:cubicBezTo>
                    <a:pt x="926" y="845"/>
                    <a:pt x="929" y="849"/>
                    <a:pt x="928" y="853"/>
                  </a:cubicBezTo>
                  <a:cubicBezTo>
                    <a:pt x="928" y="854"/>
                    <a:pt x="926" y="856"/>
                    <a:pt x="926" y="856"/>
                  </a:cubicBezTo>
                  <a:cubicBezTo>
                    <a:pt x="924" y="858"/>
                    <a:pt x="923" y="860"/>
                    <a:pt x="921" y="860"/>
                  </a:cubicBezTo>
                  <a:cubicBezTo>
                    <a:pt x="920" y="860"/>
                    <a:pt x="919" y="859"/>
                    <a:pt x="918" y="859"/>
                  </a:cubicBezTo>
                  <a:cubicBezTo>
                    <a:pt x="919" y="860"/>
                    <a:pt x="920" y="862"/>
                    <a:pt x="921" y="862"/>
                  </a:cubicBezTo>
                  <a:cubicBezTo>
                    <a:pt x="922" y="863"/>
                    <a:pt x="922" y="863"/>
                    <a:pt x="923" y="863"/>
                  </a:cubicBezTo>
                  <a:cubicBezTo>
                    <a:pt x="923" y="863"/>
                    <a:pt x="923" y="863"/>
                    <a:pt x="924" y="863"/>
                  </a:cubicBezTo>
                  <a:cubicBezTo>
                    <a:pt x="927" y="862"/>
                    <a:pt x="934" y="859"/>
                    <a:pt x="934" y="857"/>
                  </a:cubicBezTo>
                  <a:cubicBezTo>
                    <a:pt x="935" y="857"/>
                    <a:pt x="935" y="857"/>
                    <a:pt x="935" y="857"/>
                  </a:cubicBezTo>
                  <a:cubicBezTo>
                    <a:pt x="936" y="857"/>
                    <a:pt x="938" y="856"/>
                    <a:pt x="939" y="855"/>
                  </a:cubicBezTo>
                  <a:cubicBezTo>
                    <a:pt x="940" y="856"/>
                    <a:pt x="940" y="858"/>
                    <a:pt x="940" y="859"/>
                  </a:cubicBezTo>
                  <a:cubicBezTo>
                    <a:pt x="940" y="859"/>
                    <a:pt x="940" y="859"/>
                    <a:pt x="940" y="859"/>
                  </a:cubicBezTo>
                  <a:cubicBezTo>
                    <a:pt x="940" y="859"/>
                    <a:pt x="940" y="859"/>
                    <a:pt x="940" y="859"/>
                  </a:cubicBezTo>
                  <a:cubicBezTo>
                    <a:pt x="939" y="861"/>
                    <a:pt x="938" y="863"/>
                    <a:pt x="937" y="864"/>
                  </a:cubicBezTo>
                  <a:cubicBezTo>
                    <a:pt x="938" y="865"/>
                    <a:pt x="939" y="866"/>
                    <a:pt x="940" y="866"/>
                  </a:cubicBezTo>
                  <a:cubicBezTo>
                    <a:pt x="942" y="868"/>
                    <a:pt x="943" y="870"/>
                    <a:pt x="944" y="871"/>
                  </a:cubicBezTo>
                  <a:cubicBezTo>
                    <a:pt x="945" y="872"/>
                    <a:pt x="950" y="877"/>
                    <a:pt x="952" y="877"/>
                  </a:cubicBezTo>
                  <a:cubicBezTo>
                    <a:pt x="953" y="877"/>
                    <a:pt x="953" y="877"/>
                    <a:pt x="953" y="876"/>
                  </a:cubicBezTo>
                  <a:cubicBezTo>
                    <a:pt x="954" y="875"/>
                    <a:pt x="955" y="875"/>
                    <a:pt x="956" y="875"/>
                  </a:cubicBezTo>
                  <a:cubicBezTo>
                    <a:pt x="958" y="875"/>
                    <a:pt x="960" y="877"/>
                    <a:pt x="962" y="879"/>
                  </a:cubicBezTo>
                  <a:cubicBezTo>
                    <a:pt x="964" y="881"/>
                    <a:pt x="963" y="885"/>
                    <a:pt x="966" y="885"/>
                  </a:cubicBezTo>
                  <a:cubicBezTo>
                    <a:pt x="966" y="882"/>
                    <a:pt x="966" y="879"/>
                    <a:pt x="965" y="876"/>
                  </a:cubicBezTo>
                  <a:cubicBezTo>
                    <a:pt x="964" y="877"/>
                    <a:pt x="964" y="877"/>
                    <a:pt x="963" y="877"/>
                  </a:cubicBezTo>
                  <a:cubicBezTo>
                    <a:pt x="962" y="877"/>
                    <a:pt x="961" y="874"/>
                    <a:pt x="960" y="872"/>
                  </a:cubicBezTo>
                  <a:cubicBezTo>
                    <a:pt x="963" y="871"/>
                    <a:pt x="971" y="869"/>
                    <a:pt x="976" y="869"/>
                  </a:cubicBezTo>
                  <a:cubicBezTo>
                    <a:pt x="977" y="869"/>
                    <a:pt x="978" y="869"/>
                    <a:pt x="979" y="870"/>
                  </a:cubicBezTo>
                  <a:cubicBezTo>
                    <a:pt x="984" y="865"/>
                    <a:pt x="989" y="860"/>
                    <a:pt x="995" y="855"/>
                  </a:cubicBezTo>
                  <a:cubicBezTo>
                    <a:pt x="1001" y="851"/>
                    <a:pt x="1009" y="842"/>
                    <a:pt x="1017" y="842"/>
                  </a:cubicBezTo>
                  <a:cubicBezTo>
                    <a:pt x="1026" y="841"/>
                    <a:pt x="1034" y="840"/>
                    <a:pt x="1043" y="840"/>
                  </a:cubicBezTo>
                  <a:cubicBezTo>
                    <a:pt x="1043" y="840"/>
                    <a:pt x="1043" y="840"/>
                    <a:pt x="1044" y="840"/>
                  </a:cubicBezTo>
                  <a:cubicBezTo>
                    <a:pt x="1046" y="840"/>
                    <a:pt x="1048" y="840"/>
                    <a:pt x="1049" y="840"/>
                  </a:cubicBezTo>
                  <a:cubicBezTo>
                    <a:pt x="1049" y="840"/>
                    <a:pt x="1049" y="840"/>
                    <a:pt x="1049" y="840"/>
                  </a:cubicBezTo>
                  <a:cubicBezTo>
                    <a:pt x="1052" y="840"/>
                    <a:pt x="1055" y="839"/>
                    <a:pt x="1057" y="837"/>
                  </a:cubicBezTo>
                  <a:cubicBezTo>
                    <a:pt x="1059" y="836"/>
                    <a:pt x="1062" y="831"/>
                    <a:pt x="1063" y="831"/>
                  </a:cubicBezTo>
                  <a:cubicBezTo>
                    <a:pt x="1064" y="830"/>
                    <a:pt x="1064" y="830"/>
                    <a:pt x="1065" y="830"/>
                  </a:cubicBezTo>
                  <a:cubicBezTo>
                    <a:pt x="1066" y="830"/>
                    <a:pt x="1066" y="830"/>
                    <a:pt x="1067" y="831"/>
                  </a:cubicBezTo>
                  <a:cubicBezTo>
                    <a:pt x="1067" y="831"/>
                    <a:pt x="1068" y="831"/>
                    <a:pt x="1068" y="831"/>
                  </a:cubicBezTo>
                  <a:cubicBezTo>
                    <a:pt x="1069" y="831"/>
                    <a:pt x="1070" y="830"/>
                    <a:pt x="1071" y="828"/>
                  </a:cubicBezTo>
                  <a:cubicBezTo>
                    <a:pt x="1071" y="825"/>
                    <a:pt x="1072" y="823"/>
                    <a:pt x="1071" y="821"/>
                  </a:cubicBezTo>
                  <a:cubicBezTo>
                    <a:pt x="1071" y="818"/>
                    <a:pt x="1069" y="819"/>
                    <a:pt x="1068" y="817"/>
                  </a:cubicBezTo>
                  <a:cubicBezTo>
                    <a:pt x="1067" y="815"/>
                    <a:pt x="1068" y="813"/>
                    <a:pt x="1068" y="811"/>
                  </a:cubicBezTo>
                  <a:cubicBezTo>
                    <a:pt x="1068" y="807"/>
                    <a:pt x="1071" y="802"/>
                    <a:pt x="1072" y="797"/>
                  </a:cubicBezTo>
                  <a:cubicBezTo>
                    <a:pt x="1074" y="789"/>
                    <a:pt x="1075" y="778"/>
                    <a:pt x="1080" y="770"/>
                  </a:cubicBezTo>
                  <a:cubicBezTo>
                    <a:pt x="1082" y="765"/>
                    <a:pt x="1085" y="759"/>
                    <a:pt x="1088" y="754"/>
                  </a:cubicBezTo>
                  <a:cubicBezTo>
                    <a:pt x="1089" y="752"/>
                    <a:pt x="1096" y="753"/>
                    <a:pt x="1091" y="749"/>
                  </a:cubicBezTo>
                  <a:cubicBezTo>
                    <a:pt x="1096" y="749"/>
                    <a:pt x="1094" y="749"/>
                    <a:pt x="1094" y="747"/>
                  </a:cubicBezTo>
                  <a:cubicBezTo>
                    <a:pt x="1094" y="745"/>
                    <a:pt x="1093" y="743"/>
                    <a:pt x="1093" y="741"/>
                  </a:cubicBezTo>
                  <a:cubicBezTo>
                    <a:pt x="1093" y="739"/>
                    <a:pt x="1096" y="736"/>
                    <a:pt x="1097" y="734"/>
                  </a:cubicBezTo>
                  <a:cubicBezTo>
                    <a:pt x="1096" y="734"/>
                    <a:pt x="1095" y="733"/>
                    <a:pt x="1094" y="733"/>
                  </a:cubicBezTo>
                  <a:cubicBezTo>
                    <a:pt x="1096" y="729"/>
                    <a:pt x="1099" y="725"/>
                    <a:pt x="1101" y="721"/>
                  </a:cubicBezTo>
                  <a:cubicBezTo>
                    <a:pt x="1101" y="720"/>
                    <a:pt x="1102" y="719"/>
                    <a:pt x="1103" y="718"/>
                  </a:cubicBezTo>
                  <a:cubicBezTo>
                    <a:pt x="1100" y="716"/>
                    <a:pt x="1098" y="714"/>
                    <a:pt x="1098" y="710"/>
                  </a:cubicBezTo>
                  <a:cubicBezTo>
                    <a:pt x="1098" y="706"/>
                    <a:pt x="1102" y="702"/>
                    <a:pt x="1106" y="702"/>
                  </a:cubicBezTo>
                  <a:cubicBezTo>
                    <a:pt x="1107" y="702"/>
                    <a:pt x="1108" y="703"/>
                    <a:pt x="1109" y="703"/>
                  </a:cubicBezTo>
                  <a:cubicBezTo>
                    <a:pt x="1109" y="701"/>
                    <a:pt x="1108" y="700"/>
                    <a:pt x="1107" y="699"/>
                  </a:cubicBezTo>
                  <a:cubicBezTo>
                    <a:pt x="1107" y="700"/>
                    <a:pt x="1108" y="700"/>
                    <a:pt x="1108" y="700"/>
                  </a:cubicBezTo>
                  <a:cubicBezTo>
                    <a:pt x="1109" y="700"/>
                    <a:pt x="1109" y="698"/>
                    <a:pt x="1110" y="697"/>
                  </a:cubicBezTo>
                  <a:cubicBezTo>
                    <a:pt x="1113" y="693"/>
                    <a:pt x="1116" y="690"/>
                    <a:pt x="1119" y="685"/>
                  </a:cubicBezTo>
                  <a:cubicBezTo>
                    <a:pt x="1121" y="681"/>
                    <a:pt x="1122" y="678"/>
                    <a:pt x="1128" y="676"/>
                  </a:cubicBezTo>
                  <a:cubicBezTo>
                    <a:pt x="1130" y="675"/>
                    <a:pt x="1138" y="673"/>
                    <a:pt x="1131" y="672"/>
                  </a:cubicBezTo>
                  <a:cubicBezTo>
                    <a:pt x="1135" y="669"/>
                    <a:pt x="1143" y="666"/>
                    <a:pt x="1144" y="663"/>
                  </a:cubicBezTo>
                  <a:cubicBezTo>
                    <a:pt x="1145" y="661"/>
                    <a:pt x="1144" y="659"/>
                    <a:pt x="1144" y="658"/>
                  </a:cubicBezTo>
                  <a:cubicBezTo>
                    <a:pt x="1145" y="657"/>
                    <a:pt x="1144" y="652"/>
                    <a:pt x="1144" y="652"/>
                  </a:cubicBezTo>
                  <a:cubicBezTo>
                    <a:pt x="1144" y="652"/>
                    <a:pt x="1144" y="652"/>
                    <a:pt x="1144" y="652"/>
                  </a:cubicBezTo>
                  <a:cubicBezTo>
                    <a:pt x="1147" y="649"/>
                    <a:pt x="1149" y="645"/>
                    <a:pt x="1151" y="642"/>
                  </a:cubicBezTo>
                  <a:cubicBezTo>
                    <a:pt x="1155" y="637"/>
                    <a:pt x="1157" y="629"/>
                    <a:pt x="1157" y="623"/>
                  </a:cubicBezTo>
                  <a:cubicBezTo>
                    <a:pt x="1158" y="616"/>
                    <a:pt x="1157" y="608"/>
                    <a:pt x="1159" y="600"/>
                  </a:cubicBezTo>
                  <a:cubicBezTo>
                    <a:pt x="1162" y="593"/>
                    <a:pt x="1164" y="586"/>
                    <a:pt x="1166" y="579"/>
                  </a:cubicBezTo>
                  <a:cubicBezTo>
                    <a:pt x="1168" y="572"/>
                    <a:pt x="1167" y="565"/>
                    <a:pt x="1170" y="558"/>
                  </a:cubicBezTo>
                  <a:cubicBezTo>
                    <a:pt x="1171" y="554"/>
                    <a:pt x="1173" y="551"/>
                    <a:pt x="1174" y="548"/>
                  </a:cubicBezTo>
                  <a:cubicBezTo>
                    <a:pt x="1176" y="545"/>
                    <a:pt x="1175" y="541"/>
                    <a:pt x="1174" y="538"/>
                  </a:cubicBezTo>
                  <a:cubicBezTo>
                    <a:pt x="1173" y="529"/>
                    <a:pt x="1172" y="520"/>
                    <a:pt x="1167" y="512"/>
                  </a:cubicBezTo>
                  <a:cubicBezTo>
                    <a:pt x="1165" y="509"/>
                    <a:pt x="1159" y="502"/>
                    <a:pt x="1160" y="499"/>
                  </a:cubicBezTo>
                  <a:cubicBezTo>
                    <a:pt x="1160" y="498"/>
                    <a:pt x="1160" y="497"/>
                    <a:pt x="1160" y="495"/>
                  </a:cubicBezTo>
                  <a:cubicBezTo>
                    <a:pt x="1160" y="494"/>
                    <a:pt x="1160" y="494"/>
                    <a:pt x="1161" y="494"/>
                  </a:cubicBezTo>
                  <a:cubicBezTo>
                    <a:pt x="1161" y="494"/>
                    <a:pt x="1161" y="494"/>
                    <a:pt x="1161" y="494"/>
                  </a:cubicBezTo>
                  <a:cubicBezTo>
                    <a:pt x="1161" y="494"/>
                    <a:pt x="1161" y="494"/>
                    <a:pt x="1161" y="494"/>
                  </a:cubicBezTo>
                  <a:cubicBezTo>
                    <a:pt x="1161" y="494"/>
                    <a:pt x="1162" y="494"/>
                    <a:pt x="1162" y="494"/>
                  </a:cubicBezTo>
                  <a:cubicBezTo>
                    <a:pt x="1163" y="493"/>
                    <a:pt x="1163" y="494"/>
                    <a:pt x="1164" y="492"/>
                  </a:cubicBezTo>
                  <a:cubicBezTo>
                    <a:pt x="1165" y="490"/>
                    <a:pt x="1162" y="483"/>
                    <a:pt x="1161" y="480"/>
                  </a:cubicBezTo>
                  <a:cubicBezTo>
                    <a:pt x="1161" y="476"/>
                    <a:pt x="1159" y="470"/>
                    <a:pt x="1161" y="466"/>
                  </a:cubicBezTo>
                  <a:cubicBezTo>
                    <a:pt x="1161" y="463"/>
                    <a:pt x="1162" y="461"/>
                    <a:pt x="1164" y="458"/>
                  </a:cubicBezTo>
                  <a:cubicBezTo>
                    <a:pt x="1162" y="458"/>
                    <a:pt x="1159" y="458"/>
                    <a:pt x="1158" y="457"/>
                  </a:cubicBezTo>
                  <a:cubicBezTo>
                    <a:pt x="1157" y="454"/>
                    <a:pt x="1156" y="452"/>
                    <a:pt x="1155" y="450"/>
                  </a:cubicBezTo>
                  <a:cubicBezTo>
                    <a:pt x="1155" y="447"/>
                    <a:pt x="1154" y="444"/>
                    <a:pt x="1155" y="442"/>
                  </a:cubicBezTo>
                  <a:cubicBezTo>
                    <a:pt x="1155" y="441"/>
                    <a:pt x="1156" y="440"/>
                    <a:pt x="1155" y="439"/>
                  </a:cubicBezTo>
                  <a:cubicBezTo>
                    <a:pt x="1155" y="436"/>
                    <a:pt x="1150" y="436"/>
                    <a:pt x="1147" y="435"/>
                  </a:cubicBezTo>
                  <a:cubicBezTo>
                    <a:pt x="1144" y="434"/>
                    <a:pt x="1143" y="424"/>
                    <a:pt x="1141" y="421"/>
                  </a:cubicBezTo>
                  <a:cubicBezTo>
                    <a:pt x="1139" y="419"/>
                    <a:pt x="1135" y="417"/>
                    <a:pt x="1133" y="416"/>
                  </a:cubicBezTo>
                  <a:cubicBezTo>
                    <a:pt x="1130" y="414"/>
                    <a:pt x="1130" y="412"/>
                    <a:pt x="1129" y="409"/>
                  </a:cubicBezTo>
                  <a:cubicBezTo>
                    <a:pt x="1128" y="407"/>
                    <a:pt x="1128" y="405"/>
                    <a:pt x="1126" y="404"/>
                  </a:cubicBezTo>
                  <a:cubicBezTo>
                    <a:pt x="1124" y="401"/>
                    <a:pt x="1123" y="399"/>
                    <a:pt x="1119" y="399"/>
                  </a:cubicBezTo>
                  <a:cubicBezTo>
                    <a:pt x="1119" y="399"/>
                    <a:pt x="1119" y="399"/>
                    <a:pt x="1119" y="399"/>
                  </a:cubicBezTo>
                  <a:cubicBezTo>
                    <a:pt x="1119" y="399"/>
                    <a:pt x="1118" y="399"/>
                    <a:pt x="1118" y="399"/>
                  </a:cubicBezTo>
                  <a:cubicBezTo>
                    <a:pt x="1116" y="399"/>
                    <a:pt x="1114" y="397"/>
                    <a:pt x="1112" y="395"/>
                  </a:cubicBezTo>
                  <a:cubicBezTo>
                    <a:pt x="1110" y="393"/>
                    <a:pt x="1109" y="391"/>
                    <a:pt x="1107" y="391"/>
                  </a:cubicBezTo>
                  <a:cubicBezTo>
                    <a:pt x="1107" y="391"/>
                    <a:pt x="1106" y="391"/>
                    <a:pt x="1106" y="391"/>
                  </a:cubicBezTo>
                  <a:cubicBezTo>
                    <a:pt x="1104" y="386"/>
                    <a:pt x="1098" y="387"/>
                    <a:pt x="1095" y="383"/>
                  </a:cubicBezTo>
                  <a:cubicBezTo>
                    <a:pt x="1093" y="381"/>
                    <a:pt x="1093" y="375"/>
                    <a:pt x="1093" y="371"/>
                  </a:cubicBezTo>
                  <a:cubicBezTo>
                    <a:pt x="1092" y="369"/>
                    <a:pt x="1093" y="367"/>
                    <a:pt x="1092" y="365"/>
                  </a:cubicBezTo>
                  <a:cubicBezTo>
                    <a:pt x="1096" y="365"/>
                    <a:pt x="1093" y="355"/>
                    <a:pt x="1093" y="353"/>
                  </a:cubicBezTo>
                  <a:cubicBezTo>
                    <a:pt x="1093" y="354"/>
                    <a:pt x="1092" y="355"/>
                    <a:pt x="1092" y="355"/>
                  </a:cubicBezTo>
                  <a:cubicBezTo>
                    <a:pt x="1091" y="355"/>
                    <a:pt x="1091" y="354"/>
                    <a:pt x="1090" y="353"/>
                  </a:cubicBezTo>
                  <a:cubicBezTo>
                    <a:pt x="1090" y="352"/>
                    <a:pt x="1090" y="352"/>
                    <a:pt x="1091" y="352"/>
                  </a:cubicBezTo>
                  <a:cubicBezTo>
                    <a:pt x="1091" y="352"/>
                    <a:pt x="1091" y="352"/>
                    <a:pt x="1091" y="352"/>
                  </a:cubicBezTo>
                  <a:cubicBezTo>
                    <a:pt x="1091" y="352"/>
                    <a:pt x="1092" y="352"/>
                    <a:pt x="1092" y="352"/>
                  </a:cubicBezTo>
                  <a:cubicBezTo>
                    <a:pt x="1092" y="352"/>
                    <a:pt x="1092" y="352"/>
                    <a:pt x="1092" y="352"/>
                  </a:cubicBezTo>
                  <a:cubicBezTo>
                    <a:pt x="1092" y="350"/>
                    <a:pt x="1091" y="350"/>
                    <a:pt x="1090" y="348"/>
                  </a:cubicBezTo>
                  <a:cubicBezTo>
                    <a:pt x="1087" y="350"/>
                    <a:pt x="1087" y="352"/>
                    <a:pt x="1088" y="355"/>
                  </a:cubicBezTo>
                  <a:cubicBezTo>
                    <a:pt x="1085" y="353"/>
                    <a:pt x="1083" y="351"/>
                    <a:pt x="1080" y="350"/>
                  </a:cubicBezTo>
                  <a:cubicBezTo>
                    <a:pt x="1077" y="348"/>
                    <a:pt x="1077" y="348"/>
                    <a:pt x="1076" y="347"/>
                  </a:cubicBezTo>
                  <a:cubicBezTo>
                    <a:pt x="1075" y="345"/>
                    <a:pt x="1074" y="343"/>
                    <a:pt x="1072" y="341"/>
                  </a:cubicBezTo>
                  <a:cubicBezTo>
                    <a:pt x="1071" y="346"/>
                    <a:pt x="1070" y="351"/>
                    <a:pt x="1072" y="356"/>
                  </a:cubicBezTo>
                  <a:cubicBezTo>
                    <a:pt x="1069" y="354"/>
                    <a:pt x="1067" y="351"/>
                    <a:pt x="1064" y="351"/>
                  </a:cubicBezTo>
                  <a:cubicBezTo>
                    <a:pt x="1063" y="351"/>
                    <a:pt x="1062" y="351"/>
                    <a:pt x="1061" y="352"/>
                  </a:cubicBezTo>
                  <a:cubicBezTo>
                    <a:pt x="1058" y="343"/>
                    <a:pt x="1058" y="334"/>
                    <a:pt x="1054" y="326"/>
                  </a:cubicBezTo>
                  <a:cubicBezTo>
                    <a:pt x="1053" y="321"/>
                    <a:pt x="1049" y="318"/>
                    <a:pt x="1048" y="313"/>
                  </a:cubicBezTo>
                  <a:cubicBezTo>
                    <a:pt x="1048" y="309"/>
                    <a:pt x="1048" y="309"/>
                    <a:pt x="1044" y="307"/>
                  </a:cubicBezTo>
                  <a:cubicBezTo>
                    <a:pt x="1039" y="304"/>
                    <a:pt x="1037" y="302"/>
                    <a:pt x="1034" y="297"/>
                  </a:cubicBezTo>
                  <a:cubicBezTo>
                    <a:pt x="1033" y="296"/>
                    <a:pt x="1035" y="289"/>
                    <a:pt x="1036" y="289"/>
                  </a:cubicBezTo>
                  <a:cubicBezTo>
                    <a:pt x="1036" y="289"/>
                    <a:pt x="1036" y="289"/>
                    <a:pt x="1036" y="289"/>
                  </a:cubicBezTo>
                  <a:cubicBezTo>
                    <a:pt x="1036" y="289"/>
                    <a:pt x="1037" y="290"/>
                    <a:pt x="1037" y="291"/>
                  </a:cubicBezTo>
                  <a:cubicBezTo>
                    <a:pt x="1038" y="291"/>
                    <a:pt x="1038" y="292"/>
                    <a:pt x="1039" y="292"/>
                  </a:cubicBezTo>
                  <a:cubicBezTo>
                    <a:pt x="1039" y="292"/>
                    <a:pt x="1039" y="292"/>
                    <a:pt x="1039" y="292"/>
                  </a:cubicBezTo>
                  <a:cubicBezTo>
                    <a:pt x="1036" y="287"/>
                    <a:pt x="1031" y="283"/>
                    <a:pt x="1029" y="278"/>
                  </a:cubicBezTo>
                  <a:cubicBezTo>
                    <a:pt x="1027" y="279"/>
                    <a:pt x="1024" y="280"/>
                    <a:pt x="1026" y="282"/>
                  </a:cubicBezTo>
                  <a:cubicBezTo>
                    <a:pt x="1026" y="282"/>
                    <a:pt x="1025" y="282"/>
                    <a:pt x="1025" y="282"/>
                  </a:cubicBezTo>
                  <a:cubicBezTo>
                    <a:pt x="1023" y="282"/>
                    <a:pt x="1022" y="276"/>
                    <a:pt x="1020" y="275"/>
                  </a:cubicBezTo>
                  <a:cubicBezTo>
                    <a:pt x="1017" y="273"/>
                    <a:pt x="1013" y="271"/>
                    <a:pt x="1009" y="269"/>
                  </a:cubicBezTo>
                  <a:cubicBezTo>
                    <a:pt x="1008" y="269"/>
                    <a:pt x="1007" y="268"/>
                    <a:pt x="1007" y="268"/>
                  </a:cubicBezTo>
                  <a:cubicBezTo>
                    <a:pt x="1006" y="268"/>
                    <a:pt x="1006" y="269"/>
                    <a:pt x="1004" y="271"/>
                  </a:cubicBezTo>
                  <a:cubicBezTo>
                    <a:pt x="1002" y="267"/>
                    <a:pt x="1000" y="263"/>
                    <a:pt x="998" y="260"/>
                  </a:cubicBezTo>
                  <a:cubicBezTo>
                    <a:pt x="997" y="259"/>
                    <a:pt x="997" y="256"/>
                    <a:pt x="996" y="256"/>
                  </a:cubicBezTo>
                  <a:cubicBezTo>
                    <a:pt x="996" y="256"/>
                    <a:pt x="996" y="256"/>
                    <a:pt x="996" y="256"/>
                  </a:cubicBezTo>
                  <a:cubicBezTo>
                    <a:pt x="995" y="256"/>
                    <a:pt x="994" y="256"/>
                    <a:pt x="993" y="257"/>
                  </a:cubicBezTo>
                  <a:cubicBezTo>
                    <a:pt x="993" y="258"/>
                    <a:pt x="992" y="259"/>
                    <a:pt x="991" y="259"/>
                  </a:cubicBezTo>
                  <a:cubicBezTo>
                    <a:pt x="991" y="259"/>
                    <a:pt x="991" y="258"/>
                    <a:pt x="991" y="258"/>
                  </a:cubicBezTo>
                  <a:cubicBezTo>
                    <a:pt x="989" y="258"/>
                    <a:pt x="986" y="257"/>
                    <a:pt x="985" y="255"/>
                  </a:cubicBezTo>
                  <a:cubicBezTo>
                    <a:pt x="985" y="255"/>
                    <a:pt x="986" y="252"/>
                    <a:pt x="985" y="252"/>
                  </a:cubicBezTo>
                  <a:cubicBezTo>
                    <a:pt x="984" y="252"/>
                    <a:pt x="984" y="252"/>
                    <a:pt x="984" y="252"/>
                  </a:cubicBezTo>
                  <a:cubicBezTo>
                    <a:pt x="983" y="252"/>
                    <a:pt x="983" y="253"/>
                    <a:pt x="982" y="253"/>
                  </a:cubicBezTo>
                  <a:cubicBezTo>
                    <a:pt x="981" y="254"/>
                    <a:pt x="981" y="255"/>
                    <a:pt x="980" y="255"/>
                  </a:cubicBezTo>
                  <a:cubicBezTo>
                    <a:pt x="980" y="255"/>
                    <a:pt x="980" y="255"/>
                    <a:pt x="980" y="255"/>
                  </a:cubicBezTo>
                  <a:cubicBezTo>
                    <a:pt x="976" y="253"/>
                    <a:pt x="972" y="251"/>
                    <a:pt x="969" y="248"/>
                  </a:cubicBezTo>
                  <a:cubicBezTo>
                    <a:pt x="964" y="244"/>
                    <a:pt x="963" y="244"/>
                    <a:pt x="963" y="237"/>
                  </a:cubicBezTo>
                  <a:cubicBezTo>
                    <a:pt x="964" y="236"/>
                    <a:pt x="964" y="235"/>
                    <a:pt x="964" y="234"/>
                  </a:cubicBezTo>
                  <a:cubicBezTo>
                    <a:pt x="964" y="230"/>
                    <a:pt x="957" y="228"/>
                    <a:pt x="957" y="225"/>
                  </a:cubicBezTo>
                  <a:cubicBezTo>
                    <a:pt x="957" y="216"/>
                    <a:pt x="958" y="207"/>
                    <a:pt x="956" y="199"/>
                  </a:cubicBezTo>
                  <a:cubicBezTo>
                    <a:pt x="956" y="195"/>
                    <a:pt x="953" y="192"/>
                    <a:pt x="953" y="188"/>
                  </a:cubicBezTo>
                  <a:cubicBezTo>
                    <a:pt x="952" y="187"/>
                    <a:pt x="953" y="184"/>
                    <a:pt x="953" y="184"/>
                  </a:cubicBezTo>
                  <a:cubicBezTo>
                    <a:pt x="952" y="183"/>
                    <a:pt x="953" y="183"/>
                    <a:pt x="953" y="183"/>
                  </a:cubicBezTo>
                  <a:cubicBezTo>
                    <a:pt x="951" y="183"/>
                    <a:pt x="950" y="184"/>
                    <a:pt x="948" y="185"/>
                  </a:cubicBezTo>
                  <a:cubicBezTo>
                    <a:pt x="949" y="181"/>
                    <a:pt x="941" y="174"/>
                    <a:pt x="939" y="171"/>
                  </a:cubicBezTo>
                  <a:cubicBezTo>
                    <a:pt x="938" y="170"/>
                    <a:pt x="938" y="171"/>
                    <a:pt x="937" y="168"/>
                  </a:cubicBezTo>
                  <a:cubicBezTo>
                    <a:pt x="936" y="164"/>
                    <a:pt x="937" y="159"/>
                    <a:pt x="937" y="155"/>
                  </a:cubicBezTo>
                  <a:cubicBezTo>
                    <a:pt x="936" y="148"/>
                    <a:pt x="932" y="141"/>
                    <a:pt x="934" y="135"/>
                  </a:cubicBezTo>
                  <a:cubicBezTo>
                    <a:pt x="935" y="133"/>
                    <a:pt x="936" y="135"/>
                    <a:pt x="934" y="131"/>
                  </a:cubicBezTo>
                  <a:cubicBezTo>
                    <a:pt x="933" y="128"/>
                    <a:pt x="935" y="129"/>
                    <a:pt x="935" y="126"/>
                  </a:cubicBezTo>
                  <a:cubicBezTo>
                    <a:pt x="934" y="124"/>
                    <a:pt x="933" y="123"/>
                    <a:pt x="929" y="121"/>
                  </a:cubicBezTo>
                  <a:cubicBezTo>
                    <a:pt x="928" y="121"/>
                    <a:pt x="927" y="120"/>
                    <a:pt x="925" y="119"/>
                  </a:cubicBezTo>
                  <a:cubicBezTo>
                    <a:pt x="923" y="118"/>
                    <a:pt x="920" y="116"/>
                    <a:pt x="918" y="114"/>
                  </a:cubicBezTo>
                  <a:cubicBezTo>
                    <a:pt x="918" y="113"/>
                    <a:pt x="916" y="113"/>
                    <a:pt x="915" y="112"/>
                  </a:cubicBezTo>
                  <a:cubicBezTo>
                    <a:pt x="913" y="110"/>
                    <a:pt x="912" y="106"/>
                    <a:pt x="909" y="104"/>
                  </a:cubicBezTo>
                  <a:cubicBezTo>
                    <a:pt x="908" y="105"/>
                    <a:pt x="907" y="106"/>
                    <a:pt x="906" y="106"/>
                  </a:cubicBezTo>
                  <a:cubicBezTo>
                    <a:pt x="906" y="106"/>
                    <a:pt x="906" y="106"/>
                    <a:pt x="906" y="106"/>
                  </a:cubicBezTo>
                  <a:cubicBezTo>
                    <a:pt x="905" y="106"/>
                    <a:pt x="905" y="105"/>
                    <a:pt x="904" y="105"/>
                  </a:cubicBezTo>
                  <a:cubicBezTo>
                    <a:pt x="904" y="105"/>
                    <a:pt x="903" y="104"/>
                    <a:pt x="903" y="104"/>
                  </a:cubicBezTo>
                  <a:cubicBezTo>
                    <a:pt x="903" y="104"/>
                    <a:pt x="903" y="104"/>
                    <a:pt x="902" y="105"/>
                  </a:cubicBezTo>
                  <a:cubicBezTo>
                    <a:pt x="902" y="105"/>
                    <a:pt x="901" y="108"/>
                    <a:pt x="899" y="110"/>
                  </a:cubicBezTo>
                  <a:cubicBezTo>
                    <a:pt x="898" y="111"/>
                    <a:pt x="896" y="111"/>
                    <a:pt x="895" y="111"/>
                  </a:cubicBezTo>
                  <a:cubicBezTo>
                    <a:pt x="894" y="111"/>
                    <a:pt x="893" y="111"/>
                    <a:pt x="892" y="110"/>
                  </a:cubicBezTo>
                  <a:cubicBezTo>
                    <a:pt x="889" y="108"/>
                    <a:pt x="889" y="102"/>
                    <a:pt x="888" y="99"/>
                  </a:cubicBezTo>
                  <a:cubicBezTo>
                    <a:pt x="887" y="91"/>
                    <a:pt x="885" y="83"/>
                    <a:pt x="883" y="75"/>
                  </a:cubicBezTo>
                  <a:cubicBezTo>
                    <a:pt x="882" y="72"/>
                    <a:pt x="881" y="65"/>
                    <a:pt x="883" y="63"/>
                  </a:cubicBezTo>
                  <a:cubicBezTo>
                    <a:pt x="883" y="63"/>
                    <a:pt x="883" y="63"/>
                    <a:pt x="882" y="63"/>
                  </a:cubicBezTo>
                  <a:cubicBezTo>
                    <a:pt x="881" y="63"/>
                    <a:pt x="879" y="63"/>
                    <a:pt x="878" y="63"/>
                  </a:cubicBezTo>
                  <a:cubicBezTo>
                    <a:pt x="879" y="58"/>
                    <a:pt x="881" y="57"/>
                    <a:pt x="877" y="53"/>
                  </a:cubicBezTo>
                  <a:cubicBezTo>
                    <a:pt x="876" y="51"/>
                    <a:pt x="874" y="49"/>
                    <a:pt x="872" y="48"/>
                  </a:cubicBezTo>
                  <a:cubicBezTo>
                    <a:pt x="872" y="48"/>
                    <a:pt x="872" y="48"/>
                    <a:pt x="872" y="48"/>
                  </a:cubicBezTo>
                  <a:cubicBezTo>
                    <a:pt x="872" y="48"/>
                    <a:pt x="872" y="48"/>
                    <a:pt x="872" y="48"/>
                  </a:cubicBezTo>
                  <a:cubicBezTo>
                    <a:pt x="871" y="48"/>
                    <a:pt x="871" y="48"/>
                    <a:pt x="871" y="48"/>
                  </a:cubicBezTo>
                  <a:cubicBezTo>
                    <a:pt x="871" y="48"/>
                    <a:pt x="871" y="48"/>
                    <a:pt x="870" y="48"/>
                  </a:cubicBezTo>
                  <a:cubicBezTo>
                    <a:pt x="869" y="46"/>
                    <a:pt x="871" y="38"/>
                    <a:pt x="874" y="37"/>
                  </a:cubicBezTo>
                  <a:cubicBezTo>
                    <a:pt x="871" y="34"/>
                    <a:pt x="867" y="37"/>
                    <a:pt x="865" y="34"/>
                  </a:cubicBezTo>
                  <a:cubicBezTo>
                    <a:pt x="861" y="30"/>
                    <a:pt x="862" y="22"/>
                    <a:pt x="861" y="17"/>
                  </a:cubicBezTo>
                  <a:cubicBezTo>
                    <a:pt x="861" y="15"/>
                    <a:pt x="860" y="5"/>
                    <a:pt x="856" y="5"/>
                  </a:cubicBezTo>
                  <a:cubicBezTo>
                    <a:pt x="855" y="5"/>
                    <a:pt x="854" y="6"/>
                    <a:pt x="853" y="7"/>
                  </a:cubicBezTo>
                  <a:cubicBezTo>
                    <a:pt x="855" y="3"/>
                    <a:pt x="858" y="2"/>
                    <a:pt x="854" y="0"/>
                  </a:cubicBezTo>
                  <a:cubicBezTo>
                    <a:pt x="854" y="0"/>
                    <a:pt x="853" y="0"/>
                    <a:pt x="8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6" name="Freeform 1494">
              <a:extLst>
                <a:ext uri="{FF2B5EF4-FFF2-40B4-BE49-F238E27FC236}">
                  <a16:creationId xmlns:a16="http://schemas.microsoft.com/office/drawing/2014/main" id="{77B492D4-C590-44CB-95B3-A011F1BE5B32}"/>
                </a:ext>
              </a:extLst>
            </p:cNvPr>
            <p:cNvSpPr>
              <a:spLocks/>
            </p:cNvSpPr>
            <p:nvPr/>
          </p:nvSpPr>
          <p:spPr bwMode="auto">
            <a:xfrm>
              <a:off x="91" y="475"/>
              <a:ext cx="10" cy="15"/>
            </a:xfrm>
            <a:custGeom>
              <a:avLst/>
              <a:gdLst>
                <a:gd name="T0" fmla="*/ 4 w 4"/>
                <a:gd name="T1" fmla="*/ 0 h 6"/>
                <a:gd name="T2" fmla="*/ 3 w 4"/>
                <a:gd name="T3" fmla="*/ 6 h 6"/>
                <a:gd name="T4" fmla="*/ 4 w 4"/>
                <a:gd name="T5" fmla="*/ 0 h 6"/>
              </a:gdLst>
              <a:ahLst/>
              <a:cxnLst>
                <a:cxn ang="0">
                  <a:pos x="T0" y="T1"/>
                </a:cxn>
                <a:cxn ang="0">
                  <a:pos x="T2" y="T3"/>
                </a:cxn>
                <a:cxn ang="0">
                  <a:pos x="T4" y="T5"/>
                </a:cxn>
              </a:cxnLst>
              <a:rect l="0" t="0" r="r" b="b"/>
              <a:pathLst>
                <a:path w="4" h="6">
                  <a:moveTo>
                    <a:pt x="4" y="0"/>
                  </a:moveTo>
                  <a:cubicBezTo>
                    <a:pt x="0" y="1"/>
                    <a:pt x="3" y="4"/>
                    <a:pt x="3" y="6"/>
                  </a:cubicBezTo>
                  <a:cubicBezTo>
                    <a:pt x="3" y="4"/>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7" name="Freeform 1495">
              <a:extLst>
                <a:ext uri="{FF2B5EF4-FFF2-40B4-BE49-F238E27FC236}">
                  <a16:creationId xmlns:a16="http://schemas.microsoft.com/office/drawing/2014/main" id="{456B22B0-B212-4F01-A331-A70DF6CF0338}"/>
                </a:ext>
              </a:extLst>
            </p:cNvPr>
            <p:cNvSpPr>
              <a:spLocks/>
            </p:cNvSpPr>
            <p:nvPr/>
          </p:nvSpPr>
          <p:spPr bwMode="auto">
            <a:xfrm>
              <a:off x="105" y="530"/>
              <a:ext cx="7" cy="12"/>
            </a:xfrm>
            <a:custGeom>
              <a:avLst/>
              <a:gdLst>
                <a:gd name="T0" fmla="*/ 3 w 3"/>
                <a:gd name="T1" fmla="*/ 0 h 5"/>
                <a:gd name="T2" fmla="*/ 1 w 3"/>
                <a:gd name="T3" fmla="*/ 5 h 5"/>
                <a:gd name="T4" fmla="*/ 3 w 3"/>
                <a:gd name="T5" fmla="*/ 0 h 5"/>
              </a:gdLst>
              <a:ahLst/>
              <a:cxnLst>
                <a:cxn ang="0">
                  <a:pos x="T0" y="T1"/>
                </a:cxn>
                <a:cxn ang="0">
                  <a:pos x="T2" y="T3"/>
                </a:cxn>
                <a:cxn ang="0">
                  <a:pos x="T4" y="T5"/>
                </a:cxn>
              </a:cxnLst>
              <a:rect l="0" t="0" r="r" b="b"/>
              <a:pathLst>
                <a:path w="3" h="5">
                  <a:moveTo>
                    <a:pt x="3" y="0"/>
                  </a:moveTo>
                  <a:cubicBezTo>
                    <a:pt x="1" y="1"/>
                    <a:pt x="0" y="3"/>
                    <a:pt x="1" y="5"/>
                  </a:cubicBezTo>
                  <a:cubicBezTo>
                    <a:pt x="2" y="3"/>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8" name="Freeform 1496">
              <a:extLst>
                <a:ext uri="{FF2B5EF4-FFF2-40B4-BE49-F238E27FC236}">
                  <a16:creationId xmlns:a16="http://schemas.microsoft.com/office/drawing/2014/main" id="{E79E172A-6166-449B-B52C-A44448E09A6D}"/>
                </a:ext>
              </a:extLst>
            </p:cNvPr>
            <p:cNvSpPr>
              <a:spLocks/>
            </p:cNvSpPr>
            <p:nvPr/>
          </p:nvSpPr>
          <p:spPr bwMode="auto">
            <a:xfrm>
              <a:off x="42" y="145"/>
              <a:ext cx="4" cy="11"/>
            </a:xfrm>
            <a:custGeom>
              <a:avLst/>
              <a:gdLst>
                <a:gd name="T0" fmla="*/ 2 w 2"/>
                <a:gd name="T1" fmla="*/ 0 h 5"/>
                <a:gd name="T2" fmla="*/ 0 w 2"/>
                <a:gd name="T3" fmla="*/ 4 h 5"/>
                <a:gd name="T4" fmla="*/ 1 w 2"/>
                <a:gd name="T5" fmla="*/ 5 h 5"/>
                <a:gd name="T6" fmla="*/ 1 w 2"/>
                <a:gd name="T7" fmla="*/ 3 h 5"/>
                <a:gd name="T8" fmla="*/ 2 w 2"/>
                <a:gd name="T9" fmla="*/ 0 h 5"/>
              </a:gdLst>
              <a:ahLst/>
              <a:cxnLst>
                <a:cxn ang="0">
                  <a:pos x="T0" y="T1"/>
                </a:cxn>
                <a:cxn ang="0">
                  <a:pos x="T2" y="T3"/>
                </a:cxn>
                <a:cxn ang="0">
                  <a:pos x="T4" y="T5"/>
                </a:cxn>
                <a:cxn ang="0">
                  <a:pos x="T6" y="T7"/>
                </a:cxn>
                <a:cxn ang="0">
                  <a:pos x="T8" y="T9"/>
                </a:cxn>
              </a:cxnLst>
              <a:rect l="0" t="0" r="r" b="b"/>
              <a:pathLst>
                <a:path w="2" h="5">
                  <a:moveTo>
                    <a:pt x="2" y="0"/>
                  </a:moveTo>
                  <a:cubicBezTo>
                    <a:pt x="1" y="1"/>
                    <a:pt x="0" y="2"/>
                    <a:pt x="0" y="4"/>
                  </a:cubicBezTo>
                  <a:cubicBezTo>
                    <a:pt x="0" y="4"/>
                    <a:pt x="0" y="5"/>
                    <a:pt x="1" y="5"/>
                  </a:cubicBezTo>
                  <a:cubicBezTo>
                    <a:pt x="1" y="4"/>
                    <a:pt x="1" y="3"/>
                    <a:pt x="1" y="3"/>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9" name="Freeform 1497">
              <a:extLst>
                <a:ext uri="{FF2B5EF4-FFF2-40B4-BE49-F238E27FC236}">
                  <a16:creationId xmlns:a16="http://schemas.microsoft.com/office/drawing/2014/main" id="{5044B0CA-BE21-4849-BD62-3B0A7DD5EB22}"/>
                </a:ext>
              </a:extLst>
            </p:cNvPr>
            <p:cNvSpPr>
              <a:spLocks/>
            </p:cNvSpPr>
            <p:nvPr/>
          </p:nvSpPr>
          <p:spPr bwMode="auto">
            <a:xfrm>
              <a:off x="72" y="466"/>
              <a:ext cx="5" cy="9"/>
            </a:xfrm>
            <a:custGeom>
              <a:avLst/>
              <a:gdLst>
                <a:gd name="T0" fmla="*/ 0 w 2"/>
                <a:gd name="T1" fmla="*/ 0 h 4"/>
                <a:gd name="T2" fmla="*/ 0 w 2"/>
                <a:gd name="T3" fmla="*/ 1 h 4"/>
                <a:gd name="T4" fmla="*/ 2 w 2"/>
                <a:gd name="T5" fmla="*/ 4 h 4"/>
                <a:gd name="T6" fmla="*/ 0 w 2"/>
                <a:gd name="T7" fmla="*/ 1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1"/>
                    <a:pt x="0" y="1"/>
                    <a:pt x="0" y="1"/>
                  </a:cubicBezTo>
                  <a:cubicBezTo>
                    <a:pt x="1" y="2"/>
                    <a:pt x="1" y="3"/>
                    <a:pt x="2" y="4"/>
                  </a:cubicBezTo>
                  <a:cubicBezTo>
                    <a:pt x="1" y="3"/>
                    <a:pt x="1" y="2"/>
                    <a:pt x="0" y="1"/>
                  </a:cubicBezTo>
                  <a:cubicBezTo>
                    <a:pt x="0"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0" name="Freeform 1498">
              <a:extLst>
                <a:ext uri="{FF2B5EF4-FFF2-40B4-BE49-F238E27FC236}">
                  <a16:creationId xmlns:a16="http://schemas.microsoft.com/office/drawing/2014/main" id="{CDFEB38B-F2B7-473C-B570-B96069E40EE8}"/>
                </a:ext>
              </a:extLst>
            </p:cNvPr>
            <p:cNvSpPr>
              <a:spLocks/>
            </p:cNvSpPr>
            <p:nvPr/>
          </p:nvSpPr>
          <p:spPr bwMode="auto">
            <a:xfrm>
              <a:off x="20" y="291"/>
              <a:ext cx="14" cy="24"/>
            </a:xfrm>
            <a:custGeom>
              <a:avLst/>
              <a:gdLst>
                <a:gd name="T0" fmla="*/ 4 w 6"/>
                <a:gd name="T1" fmla="*/ 0 h 10"/>
                <a:gd name="T2" fmla="*/ 0 w 6"/>
                <a:gd name="T3" fmla="*/ 3 h 10"/>
                <a:gd name="T4" fmla="*/ 0 w 6"/>
                <a:gd name="T5" fmla="*/ 7 h 10"/>
                <a:gd name="T6" fmla="*/ 0 w 6"/>
                <a:gd name="T7" fmla="*/ 9 h 10"/>
                <a:gd name="T8" fmla="*/ 3 w 6"/>
                <a:gd name="T9" fmla="*/ 10 h 10"/>
                <a:gd name="T10" fmla="*/ 6 w 6"/>
                <a:gd name="T11" fmla="*/ 2 h 10"/>
                <a:gd name="T12" fmla="*/ 6 w 6"/>
                <a:gd name="T13" fmla="*/ 2 h 10"/>
                <a:gd name="T14" fmla="*/ 4 w 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0">
                  <a:moveTo>
                    <a:pt x="4" y="0"/>
                  </a:moveTo>
                  <a:cubicBezTo>
                    <a:pt x="2" y="0"/>
                    <a:pt x="0" y="2"/>
                    <a:pt x="0" y="3"/>
                  </a:cubicBezTo>
                  <a:cubicBezTo>
                    <a:pt x="0" y="4"/>
                    <a:pt x="0" y="6"/>
                    <a:pt x="0" y="7"/>
                  </a:cubicBezTo>
                  <a:cubicBezTo>
                    <a:pt x="0" y="8"/>
                    <a:pt x="0" y="9"/>
                    <a:pt x="0" y="9"/>
                  </a:cubicBezTo>
                  <a:cubicBezTo>
                    <a:pt x="1" y="10"/>
                    <a:pt x="2" y="10"/>
                    <a:pt x="3" y="10"/>
                  </a:cubicBezTo>
                  <a:cubicBezTo>
                    <a:pt x="5" y="10"/>
                    <a:pt x="6" y="5"/>
                    <a:pt x="6" y="2"/>
                  </a:cubicBezTo>
                  <a:cubicBezTo>
                    <a:pt x="6" y="2"/>
                    <a:pt x="6" y="2"/>
                    <a:pt x="6" y="2"/>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1" name="Freeform 1499">
              <a:extLst>
                <a:ext uri="{FF2B5EF4-FFF2-40B4-BE49-F238E27FC236}">
                  <a16:creationId xmlns:a16="http://schemas.microsoft.com/office/drawing/2014/main" id="{01382A22-CBFB-46E9-8C96-667460663FB4}"/>
                </a:ext>
              </a:extLst>
            </p:cNvPr>
            <p:cNvSpPr>
              <a:spLocks/>
            </p:cNvSpPr>
            <p:nvPr/>
          </p:nvSpPr>
          <p:spPr bwMode="auto">
            <a:xfrm>
              <a:off x="82" y="490"/>
              <a:ext cx="14" cy="9"/>
            </a:xfrm>
            <a:custGeom>
              <a:avLst/>
              <a:gdLst>
                <a:gd name="T0" fmla="*/ 4 w 6"/>
                <a:gd name="T1" fmla="*/ 0 h 4"/>
                <a:gd name="T2" fmla="*/ 5 w 6"/>
                <a:gd name="T3" fmla="*/ 4 h 4"/>
                <a:gd name="T4" fmla="*/ 6 w 6"/>
                <a:gd name="T5" fmla="*/ 4 h 4"/>
                <a:gd name="T6" fmla="*/ 4 w 6"/>
                <a:gd name="T7" fmla="*/ 0 h 4"/>
              </a:gdLst>
              <a:ahLst/>
              <a:cxnLst>
                <a:cxn ang="0">
                  <a:pos x="T0" y="T1"/>
                </a:cxn>
                <a:cxn ang="0">
                  <a:pos x="T2" y="T3"/>
                </a:cxn>
                <a:cxn ang="0">
                  <a:pos x="T4" y="T5"/>
                </a:cxn>
                <a:cxn ang="0">
                  <a:pos x="T6" y="T7"/>
                </a:cxn>
              </a:cxnLst>
              <a:rect l="0" t="0" r="r" b="b"/>
              <a:pathLst>
                <a:path w="6" h="4">
                  <a:moveTo>
                    <a:pt x="4" y="0"/>
                  </a:moveTo>
                  <a:cubicBezTo>
                    <a:pt x="0" y="1"/>
                    <a:pt x="2" y="4"/>
                    <a:pt x="5" y="4"/>
                  </a:cubicBezTo>
                  <a:cubicBezTo>
                    <a:pt x="5" y="4"/>
                    <a:pt x="5" y="4"/>
                    <a:pt x="6" y="4"/>
                  </a:cubicBezTo>
                  <a:cubicBezTo>
                    <a:pt x="5" y="2"/>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2" name="Freeform 1500">
              <a:extLst>
                <a:ext uri="{FF2B5EF4-FFF2-40B4-BE49-F238E27FC236}">
                  <a16:creationId xmlns:a16="http://schemas.microsoft.com/office/drawing/2014/main" id="{40A88444-0BB4-4731-BCD3-796A5A2ACD82}"/>
                </a:ext>
              </a:extLst>
            </p:cNvPr>
            <p:cNvSpPr>
              <a:spLocks noEditPoints="1"/>
            </p:cNvSpPr>
            <p:nvPr/>
          </p:nvSpPr>
          <p:spPr bwMode="auto">
            <a:xfrm>
              <a:off x="49" y="102"/>
              <a:ext cx="21" cy="90"/>
            </a:xfrm>
            <a:custGeom>
              <a:avLst/>
              <a:gdLst>
                <a:gd name="T0" fmla="*/ 6 w 9"/>
                <a:gd name="T1" fmla="*/ 7 h 38"/>
                <a:gd name="T2" fmla="*/ 6 w 9"/>
                <a:gd name="T3" fmla="*/ 7 h 38"/>
                <a:gd name="T4" fmla="*/ 6 w 9"/>
                <a:gd name="T5" fmla="*/ 7 h 38"/>
                <a:gd name="T6" fmla="*/ 8 w 9"/>
                <a:gd name="T7" fmla="*/ 0 h 38"/>
                <a:gd name="T8" fmla="*/ 3 w 9"/>
                <a:gd name="T9" fmla="*/ 17 h 38"/>
                <a:gd name="T10" fmla="*/ 1 w 9"/>
                <a:gd name="T11" fmla="*/ 20 h 38"/>
                <a:gd name="T12" fmla="*/ 2 w 9"/>
                <a:gd name="T13" fmla="*/ 20 h 38"/>
                <a:gd name="T14" fmla="*/ 0 w 9"/>
                <a:gd name="T15" fmla="*/ 30 h 38"/>
                <a:gd name="T16" fmla="*/ 0 w 9"/>
                <a:gd name="T17" fmla="*/ 38 h 38"/>
                <a:gd name="T18" fmla="*/ 1 w 9"/>
                <a:gd name="T19" fmla="*/ 38 h 38"/>
                <a:gd name="T20" fmla="*/ 1 w 9"/>
                <a:gd name="T21" fmla="*/ 38 h 38"/>
                <a:gd name="T22" fmla="*/ 2 w 9"/>
                <a:gd name="T23" fmla="*/ 37 h 38"/>
                <a:gd name="T24" fmla="*/ 6 w 9"/>
                <a:gd name="T25" fmla="*/ 31 h 38"/>
                <a:gd name="T26" fmla="*/ 5 w 9"/>
                <a:gd name="T27" fmla="*/ 25 h 38"/>
                <a:gd name="T28" fmla="*/ 3 w 9"/>
                <a:gd name="T29" fmla="*/ 20 h 38"/>
                <a:gd name="T30" fmla="*/ 3 w 9"/>
                <a:gd name="T31" fmla="*/ 20 h 38"/>
                <a:gd name="T32" fmla="*/ 5 w 9"/>
                <a:gd name="T33" fmla="*/ 15 h 38"/>
                <a:gd name="T34" fmla="*/ 8 w 9"/>
                <a:gd name="T35" fmla="*/ 13 h 38"/>
                <a:gd name="T36" fmla="*/ 9 w 9"/>
                <a:gd name="T37" fmla="*/ 10 h 38"/>
                <a:gd name="T38" fmla="*/ 8 w 9"/>
                <a:gd name="T39" fmla="*/ 8 h 38"/>
                <a:gd name="T40" fmla="*/ 6 w 9"/>
                <a:gd name="T41" fmla="*/ 7 h 38"/>
                <a:gd name="T42" fmla="*/ 7 w 9"/>
                <a:gd name="T43" fmla="*/ 7 h 38"/>
                <a:gd name="T44" fmla="*/ 8 w 9"/>
                <a:gd name="T45" fmla="*/ 6 h 38"/>
                <a:gd name="T46" fmla="*/ 9 w 9"/>
                <a:gd name="T47" fmla="*/ 5 h 38"/>
                <a:gd name="T48" fmla="*/ 9 w 9"/>
                <a:gd name="T49" fmla="*/ 5 h 38"/>
                <a:gd name="T50" fmla="*/ 8 w 9"/>
                <a:gd name="T5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 h="38">
                  <a:moveTo>
                    <a:pt x="6" y="7"/>
                  </a:moveTo>
                  <a:cubicBezTo>
                    <a:pt x="6" y="7"/>
                    <a:pt x="6" y="7"/>
                    <a:pt x="6" y="7"/>
                  </a:cubicBezTo>
                  <a:cubicBezTo>
                    <a:pt x="6" y="7"/>
                    <a:pt x="6" y="7"/>
                    <a:pt x="6" y="7"/>
                  </a:cubicBezTo>
                  <a:moveTo>
                    <a:pt x="8" y="0"/>
                  </a:moveTo>
                  <a:cubicBezTo>
                    <a:pt x="6" y="6"/>
                    <a:pt x="4" y="11"/>
                    <a:pt x="3" y="17"/>
                  </a:cubicBezTo>
                  <a:cubicBezTo>
                    <a:pt x="2" y="18"/>
                    <a:pt x="2" y="19"/>
                    <a:pt x="1" y="20"/>
                  </a:cubicBezTo>
                  <a:cubicBezTo>
                    <a:pt x="2" y="20"/>
                    <a:pt x="2" y="20"/>
                    <a:pt x="2" y="20"/>
                  </a:cubicBezTo>
                  <a:cubicBezTo>
                    <a:pt x="1" y="21"/>
                    <a:pt x="0" y="26"/>
                    <a:pt x="0" y="30"/>
                  </a:cubicBezTo>
                  <a:cubicBezTo>
                    <a:pt x="0" y="33"/>
                    <a:pt x="0" y="36"/>
                    <a:pt x="0" y="38"/>
                  </a:cubicBezTo>
                  <a:cubicBezTo>
                    <a:pt x="1" y="38"/>
                    <a:pt x="1" y="38"/>
                    <a:pt x="1" y="38"/>
                  </a:cubicBezTo>
                  <a:cubicBezTo>
                    <a:pt x="1" y="38"/>
                    <a:pt x="1" y="38"/>
                    <a:pt x="1" y="38"/>
                  </a:cubicBezTo>
                  <a:cubicBezTo>
                    <a:pt x="2" y="37"/>
                    <a:pt x="2" y="37"/>
                    <a:pt x="2" y="37"/>
                  </a:cubicBezTo>
                  <a:cubicBezTo>
                    <a:pt x="4" y="37"/>
                    <a:pt x="6" y="34"/>
                    <a:pt x="6" y="31"/>
                  </a:cubicBezTo>
                  <a:cubicBezTo>
                    <a:pt x="7" y="30"/>
                    <a:pt x="6" y="27"/>
                    <a:pt x="5" y="25"/>
                  </a:cubicBezTo>
                  <a:cubicBezTo>
                    <a:pt x="5" y="23"/>
                    <a:pt x="4" y="22"/>
                    <a:pt x="3" y="20"/>
                  </a:cubicBezTo>
                  <a:cubicBezTo>
                    <a:pt x="3" y="20"/>
                    <a:pt x="3" y="20"/>
                    <a:pt x="3" y="20"/>
                  </a:cubicBezTo>
                  <a:cubicBezTo>
                    <a:pt x="5" y="19"/>
                    <a:pt x="4" y="16"/>
                    <a:pt x="5" y="15"/>
                  </a:cubicBezTo>
                  <a:cubicBezTo>
                    <a:pt x="6" y="14"/>
                    <a:pt x="7" y="15"/>
                    <a:pt x="8" y="13"/>
                  </a:cubicBezTo>
                  <a:cubicBezTo>
                    <a:pt x="9" y="12"/>
                    <a:pt x="9" y="11"/>
                    <a:pt x="9" y="10"/>
                  </a:cubicBezTo>
                  <a:cubicBezTo>
                    <a:pt x="8" y="10"/>
                    <a:pt x="8" y="9"/>
                    <a:pt x="8" y="8"/>
                  </a:cubicBezTo>
                  <a:cubicBezTo>
                    <a:pt x="8" y="7"/>
                    <a:pt x="6" y="8"/>
                    <a:pt x="6" y="7"/>
                  </a:cubicBezTo>
                  <a:cubicBezTo>
                    <a:pt x="6" y="7"/>
                    <a:pt x="6" y="7"/>
                    <a:pt x="7" y="7"/>
                  </a:cubicBezTo>
                  <a:cubicBezTo>
                    <a:pt x="7" y="7"/>
                    <a:pt x="7" y="6"/>
                    <a:pt x="8" y="6"/>
                  </a:cubicBezTo>
                  <a:cubicBezTo>
                    <a:pt x="8" y="5"/>
                    <a:pt x="8" y="5"/>
                    <a:pt x="9" y="5"/>
                  </a:cubicBezTo>
                  <a:cubicBezTo>
                    <a:pt x="9" y="5"/>
                    <a:pt x="9" y="5"/>
                    <a:pt x="9" y="5"/>
                  </a:cubicBezTo>
                  <a:cubicBezTo>
                    <a:pt x="9" y="4"/>
                    <a:pt x="8"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3" name="Freeform 1501">
              <a:extLst>
                <a:ext uri="{FF2B5EF4-FFF2-40B4-BE49-F238E27FC236}">
                  <a16:creationId xmlns:a16="http://schemas.microsoft.com/office/drawing/2014/main" id="{5E7883AB-2731-45AE-B140-B08451B4FC03}"/>
                </a:ext>
              </a:extLst>
            </p:cNvPr>
            <p:cNvSpPr>
              <a:spLocks/>
            </p:cNvSpPr>
            <p:nvPr/>
          </p:nvSpPr>
          <p:spPr bwMode="auto">
            <a:xfrm>
              <a:off x="30" y="189"/>
              <a:ext cx="26" cy="57"/>
            </a:xfrm>
            <a:custGeom>
              <a:avLst/>
              <a:gdLst>
                <a:gd name="T0" fmla="*/ 10 w 11"/>
                <a:gd name="T1" fmla="*/ 0 h 24"/>
                <a:gd name="T2" fmla="*/ 9 w 11"/>
                <a:gd name="T3" fmla="*/ 1 h 24"/>
                <a:gd name="T4" fmla="*/ 9 w 11"/>
                <a:gd name="T5" fmla="*/ 1 h 24"/>
                <a:gd name="T6" fmla="*/ 8 w 11"/>
                <a:gd name="T7" fmla="*/ 5 h 24"/>
                <a:gd name="T8" fmla="*/ 8 w 11"/>
                <a:gd name="T9" fmla="*/ 5 h 24"/>
                <a:gd name="T10" fmla="*/ 6 w 11"/>
                <a:gd name="T11" fmla="*/ 4 h 24"/>
                <a:gd name="T12" fmla="*/ 4 w 11"/>
                <a:gd name="T13" fmla="*/ 6 h 24"/>
                <a:gd name="T14" fmla="*/ 4 w 11"/>
                <a:gd name="T15" fmla="*/ 9 h 24"/>
                <a:gd name="T16" fmla="*/ 3 w 11"/>
                <a:gd name="T17" fmla="*/ 13 h 24"/>
                <a:gd name="T18" fmla="*/ 2 w 11"/>
                <a:gd name="T19" fmla="*/ 12 h 24"/>
                <a:gd name="T20" fmla="*/ 1 w 11"/>
                <a:gd name="T21" fmla="*/ 13 h 24"/>
                <a:gd name="T22" fmla="*/ 3 w 11"/>
                <a:gd name="T23" fmla="*/ 19 h 24"/>
                <a:gd name="T24" fmla="*/ 4 w 11"/>
                <a:gd name="T25" fmla="*/ 20 h 24"/>
                <a:gd name="T26" fmla="*/ 6 w 11"/>
                <a:gd name="T27" fmla="*/ 24 h 24"/>
                <a:gd name="T28" fmla="*/ 7 w 11"/>
                <a:gd name="T29" fmla="*/ 17 h 24"/>
                <a:gd name="T30" fmla="*/ 8 w 11"/>
                <a:gd name="T31" fmla="*/ 8 h 24"/>
                <a:gd name="T32" fmla="*/ 10 w 11"/>
                <a:gd name="T33" fmla="*/ 2 h 24"/>
                <a:gd name="T34" fmla="*/ 11 w 11"/>
                <a:gd name="T35" fmla="*/ 1 h 24"/>
                <a:gd name="T36" fmla="*/ 10 w 11"/>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24">
                  <a:moveTo>
                    <a:pt x="10" y="0"/>
                  </a:moveTo>
                  <a:cubicBezTo>
                    <a:pt x="9" y="1"/>
                    <a:pt x="9" y="1"/>
                    <a:pt x="9" y="1"/>
                  </a:cubicBezTo>
                  <a:cubicBezTo>
                    <a:pt x="9" y="1"/>
                    <a:pt x="9" y="1"/>
                    <a:pt x="9" y="1"/>
                  </a:cubicBezTo>
                  <a:cubicBezTo>
                    <a:pt x="8" y="1"/>
                    <a:pt x="8" y="3"/>
                    <a:pt x="8" y="5"/>
                  </a:cubicBezTo>
                  <a:cubicBezTo>
                    <a:pt x="8" y="5"/>
                    <a:pt x="8" y="5"/>
                    <a:pt x="8" y="5"/>
                  </a:cubicBezTo>
                  <a:cubicBezTo>
                    <a:pt x="7" y="4"/>
                    <a:pt x="7" y="4"/>
                    <a:pt x="6" y="4"/>
                  </a:cubicBezTo>
                  <a:cubicBezTo>
                    <a:pt x="5" y="4"/>
                    <a:pt x="4" y="5"/>
                    <a:pt x="4" y="6"/>
                  </a:cubicBezTo>
                  <a:cubicBezTo>
                    <a:pt x="4" y="7"/>
                    <a:pt x="4" y="8"/>
                    <a:pt x="4" y="9"/>
                  </a:cubicBezTo>
                  <a:cubicBezTo>
                    <a:pt x="4" y="10"/>
                    <a:pt x="4" y="12"/>
                    <a:pt x="3" y="13"/>
                  </a:cubicBezTo>
                  <a:cubicBezTo>
                    <a:pt x="3" y="12"/>
                    <a:pt x="3" y="12"/>
                    <a:pt x="2" y="12"/>
                  </a:cubicBezTo>
                  <a:cubicBezTo>
                    <a:pt x="2" y="12"/>
                    <a:pt x="1" y="12"/>
                    <a:pt x="1" y="13"/>
                  </a:cubicBezTo>
                  <a:cubicBezTo>
                    <a:pt x="0" y="16"/>
                    <a:pt x="3" y="18"/>
                    <a:pt x="3" y="19"/>
                  </a:cubicBezTo>
                  <a:cubicBezTo>
                    <a:pt x="4" y="19"/>
                    <a:pt x="4" y="20"/>
                    <a:pt x="4" y="20"/>
                  </a:cubicBezTo>
                  <a:cubicBezTo>
                    <a:pt x="4" y="22"/>
                    <a:pt x="5" y="23"/>
                    <a:pt x="6" y="24"/>
                  </a:cubicBezTo>
                  <a:cubicBezTo>
                    <a:pt x="7" y="22"/>
                    <a:pt x="7" y="19"/>
                    <a:pt x="7" y="17"/>
                  </a:cubicBezTo>
                  <a:cubicBezTo>
                    <a:pt x="7" y="14"/>
                    <a:pt x="7" y="11"/>
                    <a:pt x="8" y="8"/>
                  </a:cubicBezTo>
                  <a:cubicBezTo>
                    <a:pt x="9" y="6"/>
                    <a:pt x="9" y="4"/>
                    <a:pt x="10" y="2"/>
                  </a:cubicBezTo>
                  <a:cubicBezTo>
                    <a:pt x="11" y="2"/>
                    <a:pt x="11" y="1"/>
                    <a:pt x="11" y="1"/>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4" name="Freeform 1502">
              <a:extLst>
                <a:ext uri="{FF2B5EF4-FFF2-40B4-BE49-F238E27FC236}">
                  <a16:creationId xmlns:a16="http://schemas.microsoft.com/office/drawing/2014/main" id="{6A23F688-FBFB-4A41-BB32-D05B2F5AFE41}"/>
                </a:ext>
              </a:extLst>
            </p:cNvPr>
            <p:cNvSpPr>
              <a:spLocks/>
            </p:cNvSpPr>
            <p:nvPr/>
          </p:nvSpPr>
          <p:spPr bwMode="auto">
            <a:xfrm>
              <a:off x="39" y="246"/>
              <a:ext cx="7" cy="12"/>
            </a:xfrm>
            <a:custGeom>
              <a:avLst/>
              <a:gdLst>
                <a:gd name="T0" fmla="*/ 1 w 3"/>
                <a:gd name="T1" fmla="*/ 0 h 5"/>
                <a:gd name="T2" fmla="*/ 0 w 3"/>
                <a:gd name="T3" fmla="*/ 5 h 5"/>
                <a:gd name="T4" fmla="*/ 1 w 3"/>
                <a:gd name="T5" fmla="*/ 0 h 5"/>
              </a:gdLst>
              <a:ahLst/>
              <a:cxnLst>
                <a:cxn ang="0">
                  <a:pos x="T0" y="T1"/>
                </a:cxn>
                <a:cxn ang="0">
                  <a:pos x="T2" y="T3"/>
                </a:cxn>
                <a:cxn ang="0">
                  <a:pos x="T4" y="T5"/>
                </a:cxn>
              </a:cxnLst>
              <a:rect l="0" t="0" r="r" b="b"/>
              <a:pathLst>
                <a:path w="3" h="5">
                  <a:moveTo>
                    <a:pt x="1" y="0"/>
                  </a:moveTo>
                  <a:cubicBezTo>
                    <a:pt x="0" y="2"/>
                    <a:pt x="0" y="3"/>
                    <a:pt x="0" y="5"/>
                  </a:cubicBezTo>
                  <a:cubicBezTo>
                    <a:pt x="1" y="3"/>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5" name="Freeform 1503">
              <a:extLst>
                <a:ext uri="{FF2B5EF4-FFF2-40B4-BE49-F238E27FC236}">
                  <a16:creationId xmlns:a16="http://schemas.microsoft.com/office/drawing/2014/main" id="{B0A0D087-AD98-40B1-8CA7-D7A08452A60D}"/>
                </a:ext>
              </a:extLst>
            </p:cNvPr>
            <p:cNvSpPr>
              <a:spLocks/>
            </p:cNvSpPr>
            <p:nvPr/>
          </p:nvSpPr>
          <p:spPr bwMode="auto">
            <a:xfrm>
              <a:off x="44" y="405"/>
              <a:ext cx="7" cy="7"/>
            </a:xfrm>
            <a:custGeom>
              <a:avLst/>
              <a:gdLst>
                <a:gd name="T0" fmla="*/ 3 w 3"/>
                <a:gd name="T1" fmla="*/ 0 h 3"/>
                <a:gd name="T2" fmla="*/ 1 w 3"/>
                <a:gd name="T3" fmla="*/ 3 h 3"/>
                <a:gd name="T4" fmla="*/ 3 w 3"/>
                <a:gd name="T5" fmla="*/ 0 h 3"/>
              </a:gdLst>
              <a:ahLst/>
              <a:cxnLst>
                <a:cxn ang="0">
                  <a:pos x="T0" y="T1"/>
                </a:cxn>
                <a:cxn ang="0">
                  <a:pos x="T2" y="T3"/>
                </a:cxn>
                <a:cxn ang="0">
                  <a:pos x="T4" y="T5"/>
                </a:cxn>
              </a:cxnLst>
              <a:rect l="0" t="0" r="r" b="b"/>
              <a:pathLst>
                <a:path w="3" h="3">
                  <a:moveTo>
                    <a:pt x="3" y="0"/>
                  </a:moveTo>
                  <a:cubicBezTo>
                    <a:pt x="1" y="0"/>
                    <a:pt x="0" y="1"/>
                    <a:pt x="1" y="3"/>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6" name="Freeform 1504">
              <a:extLst>
                <a:ext uri="{FF2B5EF4-FFF2-40B4-BE49-F238E27FC236}">
                  <a16:creationId xmlns:a16="http://schemas.microsoft.com/office/drawing/2014/main" id="{7A05F566-E13D-477D-853F-AA2AB497B001}"/>
                </a:ext>
              </a:extLst>
            </p:cNvPr>
            <p:cNvSpPr>
              <a:spLocks/>
            </p:cNvSpPr>
            <p:nvPr/>
          </p:nvSpPr>
          <p:spPr bwMode="auto">
            <a:xfrm>
              <a:off x="105" y="544"/>
              <a:ext cx="19" cy="31"/>
            </a:xfrm>
            <a:custGeom>
              <a:avLst/>
              <a:gdLst>
                <a:gd name="T0" fmla="*/ 5 w 8"/>
                <a:gd name="T1" fmla="*/ 0 h 13"/>
                <a:gd name="T2" fmla="*/ 2 w 8"/>
                <a:gd name="T3" fmla="*/ 5 h 13"/>
                <a:gd name="T4" fmla="*/ 3 w 8"/>
                <a:gd name="T5" fmla="*/ 7 h 13"/>
                <a:gd name="T6" fmla="*/ 5 w 8"/>
                <a:gd name="T7" fmla="*/ 10 h 13"/>
                <a:gd name="T8" fmla="*/ 6 w 8"/>
                <a:gd name="T9" fmla="*/ 13 h 13"/>
                <a:gd name="T10" fmla="*/ 8 w 8"/>
                <a:gd name="T11" fmla="*/ 3 h 13"/>
                <a:gd name="T12" fmla="*/ 8 w 8"/>
                <a:gd name="T13" fmla="*/ 1 h 13"/>
                <a:gd name="T14" fmla="*/ 5 w 8"/>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3">
                  <a:moveTo>
                    <a:pt x="5" y="0"/>
                  </a:moveTo>
                  <a:cubicBezTo>
                    <a:pt x="3" y="0"/>
                    <a:pt x="0" y="2"/>
                    <a:pt x="2" y="5"/>
                  </a:cubicBezTo>
                  <a:cubicBezTo>
                    <a:pt x="2" y="6"/>
                    <a:pt x="3" y="7"/>
                    <a:pt x="3" y="7"/>
                  </a:cubicBezTo>
                  <a:cubicBezTo>
                    <a:pt x="4" y="8"/>
                    <a:pt x="5" y="9"/>
                    <a:pt x="5" y="10"/>
                  </a:cubicBezTo>
                  <a:cubicBezTo>
                    <a:pt x="6" y="11"/>
                    <a:pt x="6" y="12"/>
                    <a:pt x="6" y="13"/>
                  </a:cubicBezTo>
                  <a:cubicBezTo>
                    <a:pt x="7" y="10"/>
                    <a:pt x="7" y="6"/>
                    <a:pt x="8" y="3"/>
                  </a:cubicBezTo>
                  <a:cubicBezTo>
                    <a:pt x="8" y="2"/>
                    <a:pt x="8" y="1"/>
                    <a:pt x="8" y="1"/>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7" name="Freeform 1505">
              <a:extLst>
                <a:ext uri="{FF2B5EF4-FFF2-40B4-BE49-F238E27FC236}">
                  <a16:creationId xmlns:a16="http://schemas.microsoft.com/office/drawing/2014/main" id="{D3CD35CA-2C3F-4BCD-ACEF-CDD6FF78B4FE}"/>
                </a:ext>
              </a:extLst>
            </p:cNvPr>
            <p:cNvSpPr>
              <a:spLocks/>
            </p:cNvSpPr>
            <p:nvPr/>
          </p:nvSpPr>
          <p:spPr bwMode="auto">
            <a:xfrm>
              <a:off x="2778" y="1844"/>
              <a:ext cx="7" cy="5"/>
            </a:xfrm>
            <a:custGeom>
              <a:avLst/>
              <a:gdLst>
                <a:gd name="T0" fmla="*/ 3 w 3"/>
                <a:gd name="T1" fmla="*/ 0 h 2"/>
                <a:gd name="T2" fmla="*/ 2 w 3"/>
                <a:gd name="T3" fmla="*/ 0 h 2"/>
                <a:gd name="T4" fmla="*/ 0 w 3"/>
                <a:gd name="T5" fmla="*/ 2 h 2"/>
                <a:gd name="T6" fmla="*/ 0 w 3"/>
                <a:gd name="T7" fmla="*/ 1 h 2"/>
                <a:gd name="T8" fmla="*/ 3 w 3"/>
                <a:gd name="T9" fmla="*/ 0 h 2"/>
              </a:gdLst>
              <a:ahLst/>
              <a:cxnLst>
                <a:cxn ang="0">
                  <a:pos x="T0" y="T1"/>
                </a:cxn>
                <a:cxn ang="0">
                  <a:pos x="T2" y="T3"/>
                </a:cxn>
                <a:cxn ang="0">
                  <a:pos x="T4" y="T5"/>
                </a:cxn>
                <a:cxn ang="0">
                  <a:pos x="T6" y="T7"/>
                </a:cxn>
                <a:cxn ang="0">
                  <a:pos x="T8" y="T9"/>
                </a:cxn>
              </a:cxnLst>
              <a:rect l="0" t="0" r="r" b="b"/>
              <a:pathLst>
                <a:path w="3" h="2">
                  <a:moveTo>
                    <a:pt x="3" y="0"/>
                  </a:moveTo>
                  <a:cubicBezTo>
                    <a:pt x="2" y="0"/>
                    <a:pt x="2" y="0"/>
                    <a:pt x="2" y="0"/>
                  </a:cubicBezTo>
                  <a:cubicBezTo>
                    <a:pt x="1" y="1"/>
                    <a:pt x="1" y="1"/>
                    <a:pt x="0" y="2"/>
                  </a:cubicBezTo>
                  <a:cubicBezTo>
                    <a:pt x="0" y="1"/>
                    <a:pt x="0" y="1"/>
                    <a:pt x="0" y="1"/>
                  </a:cubicBezTo>
                  <a:cubicBezTo>
                    <a:pt x="1" y="1"/>
                    <a:pt x="2"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8" name="Freeform 1506">
              <a:extLst>
                <a:ext uri="{FF2B5EF4-FFF2-40B4-BE49-F238E27FC236}">
                  <a16:creationId xmlns:a16="http://schemas.microsoft.com/office/drawing/2014/main" id="{9560F357-F646-48B4-A68E-EDB9E9E14903}"/>
                </a:ext>
              </a:extLst>
            </p:cNvPr>
            <p:cNvSpPr>
              <a:spLocks/>
            </p:cNvSpPr>
            <p:nvPr/>
          </p:nvSpPr>
          <p:spPr bwMode="auto">
            <a:xfrm>
              <a:off x="2270" y="2038"/>
              <a:ext cx="5" cy="14"/>
            </a:xfrm>
            <a:custGeom>
              <a:avLst/>
              <a:gdLst>
                <a:gd name="T0" fmla="*/ 1 w 2"/>
                <a:gd name="T1" fmla="*/ 0 h 6"/>
                <a:gd name="T2" fmla="*/ 0 w 2"/>
                <a:gd name="T3" fmla="*/ 6 h 6"/>
                <a:gd name="T4" fmla="*/ 1 w 2"/>
                <a:gd name="T5" fmla="*/ 3 h 6"/>
                <a:gd name="T6" fmla="*/ 1 w 2"/>
                <a:gd name="T7" fmla="*/ 3 h 6"/>
                <a:gd name="T8" fmla="*/ 2 w 2"/>
                <a:gd name="T9" fmla="*/ 1 h 6"/>
                <a:gd name="T10" fmla="*/ 2 w 2"/>
                <a:gd name="T11" fmla="*/ 1 h 6"/>
                <a:gd name="T12" fmla="*/ 1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1" y="0"/>
                  </a:moveTo>
                  <a:cubicBezTo>
                    <a:pt x="0" y="2"/>
                    <a:pt x="0" y="4"/>
                    <a:pt x="0" y="6"/>
                  </a:cubicBezTo>
                  <a:cubicBezTo>
                    <a:pt x="0" y="5"/>
                    <a:pt x="1" y="4"/>
                    <a:pt x="1" y="3"/>
                  </a:cubicBezTo>
                  <a:cubicBezTo>
                    <a:pt x="1" y="3"/>
                    <a:pt x="1" y="3"/>
                    <a:pt x="1" y="3"/>
                  </a:cubicBezTo>
                  <a:cubicBezTo>
                    <a:pt x="1" y="3"/>
                    <a:pt x="2" y="2"/>
                    <a:pt x="2" y="1"/>
                  </a:cubicBezTo>
                  <a:cubicBezTo>
                    <a:pt x="2" y="1"/>
                    <a:pt x="2" y="1"/>
                    <a:pt x="2" y="1"/>
                  </a:cubicBezTo>
                  <a:cubicBezTo>
                    <a:pt x="1"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9" name="Freeform 1507">
              <a:extLst>
                <a:ext uri="{FF2B5EF4-FFF2-40B4-BE49-F238E27FC236}">
                  <a16:creationId xmlns:a16="http://schemas.microsoft.com/office/drawing/2014/main" id="{319CD2E0-C1E9-47A3-B9F6-EFB8C9A5639B}"/>
                </a:ext>
              </a:extLst>
            </p:cNvPr>
            <p:cNvSpPr>
              <a:spLocks/>
            </p:cNvSpPr>
            <p:nvPr/>
          </p:nvSpPr>
          <p:spPr bwMode="auto">
            <a:xfrm>
              <a:off x="2227" y="2097"/>
              <a:ext cx="5" cy="12"/>
            </a:xfrm>
            <a:custGeom>
              <a:avLst/>
              <a:gdLst>
                <a:gd name="T0" fmla="*/ 1 w 2"/>
                <a:gd name="T1" fmla="*/ 0 h 5"/>
                <a:gd name="T2" fmla="*/ 0 w 2"/>
                <a:gd name="T3" fmla="*/ 5 h 5"/>
                <a:gd name="T4" fmla="*/ 1 w 2"/>
                <a:gd name="T5" fmla="*/ 4 h 5"/>
                <a:gd name="T6" fmla="*/ 2 w 2"/>
                <a:gd name="T7" fmla="*/ 4 h 5"/>
                <a:gd name="T8" fmla="*/ 2 w 2"/>
                <a:gd name="T9" fmla="*/ 3 h 5"/>
                <a:gd name="T10" fmla="*/ 2 w 2"/>
                <a:gd name="T11" fmla="*/ 3 h 5"/>
                <a:gd name="T12" fmla="*/ 2 w 2"/>
                <a:gd name="T13" fmla="*/ 1 h 5"/>
                <a:gd name="T14" fmla="*/ 2 w 2"/>
                <a:gd name="T15" fmla="*/ 1 h 5"/>
                <a:gd name="T16" fmla="*/ 1 w 2"/>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1" y="0"/>
                  </a:moveTo>
                  <a:cubicBezTo>
                    <a:pt x="1" y="2"/>
                    <a:pt x="0" y="3"/>
                    <a:pt x="0" y="5"/>
                  </a:cubicBezTo>
                  <a:cubicBezTo>
                    <a:pt x="0" y="4"/>
                    <a:pt x="1" y="4"/>
                    <a:pt x="1" y="4"/>
                  </a:cubicBezTo>
                  <a:cubicBezTo>
                    <a:pt x="2" y="4"/>
                    <a:pt x="2" y="4"/>
                    <a:pt x="2" y="4"/>
                  </a:cubicBezTo>
                  <a:cubicBezTo>
                    <a:pt x="2" y="3"/>
                    <a:pt x="2" y="3"/>
                    <a:pt x="2" y="3"/>
                  </a:cubicBezTo>
                  <a:cubicBezTo>
                    <a:pt x="2" y="3"/>
                    <a:pt x="2" y="3"/>
                    <a:pt x="2" y="3"/>
                  </a:cubicBezTo>
                  <a:cubicBezTo>
                    <a:pt x="2" y="2"/>
                    <a:pt x="2" y="2"/>
                    <a:pt x="2" y="1"/>
                  </a:cubicBezTo>
                  <a:cubicBezTo>
                    <a:pt x="2" y="1"/>
                    <a:pt x="2" y="1"/>
                    <a:pt x="2" y="1"/>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0" name="Freeform 1508">
              <a:extLst>
                <a:ext uri="{FF2B5EF4-FFF2-40B4-BE49-F238E27FC236}">
                  <a16:creationId xmlns:a16="http://schemas.microsoft.com/office/drawing/2014/main" id="{57457525-CF82-4B9A-9E3B-5FE68191D3A5}"/>
                </a:ext>
              </a:extLst>
            </p:cNvPr>
            <p:cNvSpPr>
              <a:spLocks/>
            </p:cNvSpPr>
            <p:nvPr/>
          </p:nvSpPr>
          <p:spPr bwMode="auto">
            <a:xfrm>
              <a:off x="1757" y="752"/>
              <a:ext cx="17" cy="9"/>
            </a:xfrm>
            <a:custGeom>
              <a:avLst/>
              <a:gdLst>
                <a:gd name="T0" fmla="*/ 7 w 7"/>
                <a:gd name="T1" fmla="*/ 0 h 4"/>
                <a:gd name="T2" fmla="*/ 0 w 7"/>
                <a:gd name="T3" fmla="*/ 1 h 4"/>
                <a:gd name="T4" fmla="*/ 4 w 7"/>
                <a:gd name="T5" fmla="*/ 4 h 4"/>
                <a:gd name="T6" fmla="*/ 5 w 7"/>
                <a:gd name="T7" fmla="*/ 4 h 4"/>
                <a:gd name="T8" fmla="*/ 7 w 7"/>
                <a:gd name="T9" fmla="*/ 0 h 4"/>
              </a:gdLst>
              <a:ahLst/>
              <a:cxnLst>
                <a:cxn ang="0">
                  <a:pos x="T0" y="T1"/>
                </a:cxn>
                <a:cxn ang="0">
                  <a:pos x="T2" y="T3"/>
                </a:cxn>
                <a:cxn ang="0">
                  <a:pos x="T4" y="T5"/>
                </a:cxn>
                <a:cxn ang="0">
                  <a:pos x="T6" y="T7"/>
                </a:cxn>
                <a:cxn ang="0">
                  <a:pos x="T8" y="T9"/>
                </a:cxn>
              </a:cxnLst>
              <a:rect l="0" t="0" r="r" b="b"/>
              <a:pathLst>
                <a:path w="7" h="4">
                  <a:moveTo>
                    <a:pt x="7" y="0"/>
                  </a:moveTo>
                  <a:cubicBezTo>
                    <a:pt x="5" y="0"/>
                    <a:pt x="3" y="0"/>
                    <a:pt x="0" y="1"/>
                  </a:cubicBezTo>
                  <a:cubicBezTo>
                    <a:pt x="2" y="2"/>
                    <a:pt x="3" y="3"/>
                    <a:pt x="4" y="4"/>
                  </a:cubicBezTo>
                  <a:cubicBezTo>
                    <a:pt x="5" y="4"/>
                    <a:pt x="5" y="4"/>
                    <a:pt x="5" y="4"/>
                  </a:cubicBezTo>
                  <a:cubicBezTo>
                    <a:pt x="6" y="4"/>
                    <a:pt x="6"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1" name="Freeform 1509">
              <a:extLst>
                <a:ext uri="{FF2B5EF4-FFF2-40B4-BE49-F238E27FC236}">
                  <a16:creationId xmlns:a16="http://schemas.microsoft.com/office/drawing/2014/main" id="{A3D26EA4-680A-43CC-AC79-087E4EA90D43}"/>
                </a:ext>
              </a:extLst>
            </p:cNvPr>
            <p:cNvSpPr>
              <a:spLocks/>
            </p:cNvSpPr>
            <p:nvPr/>
          </p:nvSpPr>
          <p:spPr bwMode="auto">
            <a:xfrm>
              <a:off x="1764" y="795"/>
              <a:ext cx="7" cy="7"/>
            </a:xfrm>
            <a:custGeom>
              <a:avLst/>
              <a:gdLst>
                <a:gd name="T0" fmla="*/ 0 w 3"/>
                <a:gd name="T1" fmla="*/ 0 h 3"/>
                <a:gd name="T2" fmla="*/ 3 w 3"/>
                <a:gd name="T3" fmla="*/ 3 h 3"/>
                <a:gd name="T4" fmla="*/ 0 w 3"/>
                <a:gd name="T5" fmla="*/ 0 h 3"/>
              </a:gdLst>
              <a:ahLst/>
              <a:cxnLst>
                <a:cxn ang="0">
                  <a:pos x="T0" y="T1"/>
                </a:cxn>
                <a:cxn ang="0">
                  <a:pos x="T2" y="T3"/>
                </a:cxn>
                <a:cxn ang="0">
                  <a:pos x="T4" y="T5"/>
                </a:cxn>
              </a:cxnLst>
              <a:rect l="0" t="0" r="r" b="b"/>
              <a:pathLst>
                <a:path w="3" h="3">
                  <a:moveTo>
                    <a:pt x="0" y="0"/>
                  </a:moveTo>
                  <a:cubicBezTo>
                    <a:pt x="1" y="1"/>
                    <a:pt x="2" y="3"/>
                    <a:pt x="3" y="3"/>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2" name="Freeform 1510">
              <a:extLst>
                <a:ext uri="{FF2B5EF4-FFF2-40B4-BE49-F238E27FC236}">
                  <a16:creationId xmlns:a16="http://schemas.microsoft.com/office/drawing/2014/main" id="{5D4C4C96-669B-416A-82A8-43DF9C8DA0F1}"/>
                </a:ext>
              </a:extLst>
            </p:cNvPr>
            <p:cNvSpPr>
              <a:spLocks/>
            </p:cNvSpPr>
            <p:nvPr/>
          </p:nvSpPr>
          <p:spPr bwMode="auto">
            <a:xfrm>
              <a:off x="1748" y="804"/>
              <a:ext cx="7" cy="12"/>
            </a:xfrm>
            <a:custGeom>
              <a:avLst/>
              <a:gdLst>
                <a:gd name="T0" fmla="*/ 1 w 3"/>
                <a:gd name="T1" fmla="*/ 0 h 5"/>
                <a:gd name="T2" fmla="*/ 3 w 3"/>
                <a:gd name="T3" fmla="*/ 5 h 5"/>
                <a:gd name="T4" fmla="*/ 1 w 3"/>
                <a:gd name="T5" fmla="*/ 0 h 5"/>
              </a:gdLst>
              <a:ahLst/>
              <a:cxnLst>
                <a:cxn ang="0">
                  <a:pos x="T0" y="T1"/>
                </a:cxn>
                <a:cxn ang="0">
                  <a:pos x="T2" y="T3"/>
                </a:cxn>
                <a:cxn ang="0">
                  <a:pos x="T4" y="T5"/>
                </a:cxn>
              </a:cxnLst>
              <a:rect l="0" t="0" r="r" b="b"/>
              <a:pathLst>
                <a:path w="3" h="5">
                  <a:moveTo>
                    <a:pt x="1" y="0"/>
                  </a:moveTo>
                  <a:cubicBezTo>
                    <a:pt x="0" y="3"/>
                    <a:pt x="2" y="4"/>
                    <a:pt x="3" y="5"/>
                  </a:cubicBezTo>
                  <a:cubicBezTo>
                    <a:pt x="3" y="3"/>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3" name="Freeform 1511">
              <a:extLst>
                <a:ext uri="{FF2B5EF4-FFF2-40B4-BE49-F238E27FC236}">
                  <a16:creationId xmlns:a16="http://schemas.microsoft.com/office/drawing/2014/main" id="{6ACEBF19-73E9-4FF6-8380-C375C28CE4A4}"/>
                </a:ext>
              </a:extLst>
            </p:cNvPr>
            <p:cNvSpPr>
              <a:spLocks/>
            </p:cNvSpPr>
            <p:nvPr/>
          </p:nvSpPr>
          <p:spPr bwMode="auto">
            <a:xfrm>
              <a:off x="1726" y="795"/>
              <a:ext cx="22" cy="7"/>
            </a:xfrm>
            <a:custGeom>
              <a:avLst/>
              <a:gdLst>
                <a:gd name="T0" fmla="*/ 0 w 9"/>
                <a:gd name="T1" fmla="*/ 0 h 3"/>
                <a:gd name="T2" fmla="*/ 2 w 9"/>
                <a:gd name="T3" fmla="*/ 2 h 3"/>
                <a:gd name="T4" fmla="*/ 3 w 9"/>
                <a:gd name="T5" fmla="*/ 2 h 3"/>
                <a:gd name="T6" fmla="*/ 4 w 9"/>
                <a:gd name="T7" fmla="*/ 2 h 3"/>
                <a:gd name="T8" fmla="*/ 7 w 9"/>
                <a:gd name="T9" fmla="*/ 3 h 3"/>
                <a:gd name="T10" fmla="*/ 8 w 9"/>
                <a:gd name="T11" fmla="*/ 3 h 3"/>
                <a:gd name="T12" fmla="*/ 9 w 9"/>
                <a:gd name="T13" fmla="*/ 3 h 3"/>
                <a:gd name="T14" fmla="*/ 0 w 9"/>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3">
                  <a:moveTo>
                    <a:pt x="0" y="0"/>
                  </a:moveTo>
                  <a:cubicBezTo>
                    <a:pt x="1" y="0"/>
                    <a:pt x="2" y="1"/>
                    <a:pt x="2" y="2"/>
                  </a:cubicBezTo>
                  <a:cubicBezTo>
                    <a:pt x="3" y="2"/>
                    <a:pt x="3" y="2"/>
                    <a:pt x="3" y="2"/>
                  </a:cubicBezTo>
                  <a:cubicBezTo>
                    <a:pt x="3" y="2"/>
                    <a:pt x="4" y="2"/>
                    <a:pt x="4" y="2"/>
                  </a:cubicBezTo>
                  <a:cubicBezTo>
                    <a:pt x="5" y="3"/>
                    <a:pt x="6" y="3"/>
                    <a:pt x="7" y="3"/>
                  </a:cubicBezTo>
                  <a:cubicBezTo>
                    <a:pt x="7" y="3"/>
                    <a:pt x="7" y="3"/>
                    <a:pt x="8" y="3"/>
                  </a:cubicBezTo>
                  <a:cubicBezTo>
                    <a:pt x="8" y="3"/>
                    <a:pt x="8" y="3"/>
                    <a:pt x="9" y="3"/>
                  </a:cubicBezTo>
                  <a:cubicBezTo>
                    <a:pt x="6"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4" name="Freeform 1512">
              <a:extLst>
                <a:ext uri="{FF2B5EF4-FFF2-40B4-BE49-F238E27FC236}">
                  <a16:creationId xmlns:a16="http://schemas.microsoft.com/office/drawing/2014/main" id="{85754640-4D6F-43AC-B390-C19394208DD7}"/>
                </a:ext>
              </a:extLst>
            </p:cNvPr>
            <p:cNvSpPr>
              <a:spLocks/>
            </p:cNvSpPr>
            <p:nvPr/>
          </p:nvSpPr>
          <p:spPr bwMode="auto">
            <a:xfrm>
              <a:off x="2185" y="1669"/>
              <a:ext cx="40" cy="24"/>
            </a:xfrm>
            <a:custGeom>
              <a:avLst/>
              <a:gdLst>
                <a:gd name="T0" fmla="*/ 17 w 17"/>
                <a:gd name="T1" fmla="*/ 0 h 10"/>
                <a:gd name="T2" fmla="*/ 0 w 17"/>
                <a:gd name="T3" fmla="*/ 9 h 10"/>
                <a:gd name="T4" fmla="*/ 12 w 17"/>
                <a:gd name="T5" fmla="*/ 10 h 10"/>
                <a:gd name="T6" fmla="*/ 15 w 17"/>
                <a:gd name="T7" fmla="*/ 5 h 10"/>
                <a:gd name="T8" fmla="*/ 17 w 17"/>
                <a:gd name="T9" fmla="*/ 0 h 10"/>
              </a:gdLst>
              <a:ahLst/>
              <a:cxnLst>
                <a:cxn ang="0">
                  <a:pos x="T0" y="T1"/>
                </a:cxn>
                <a:cxn ang="0">
                  <a:pos x="T2" y="T3"/>
                </a:cxn>
                <a:cxn ang="0">
                  <a:pos x="T4" y="T5"/>
                </a:cxn>
                <a:cxn ang="0">
                  <a:pos x="T6" y="T7"/>
                </a:cxn>
                <a:cxn ang="0">
                  <a:pos x="T8" y="T9"/>
                </a:cxn>
              </a:cxnLst>
              <a:rect l="0" t="0" r="r" b="b"/>
              <a:pathLst>
                <a:path w="17" h="10">
                  <a:moveTo>
                    <a:pt x="17" y="0"/>
                  </a:moveTo>
                  <a:cubicBezTo>
                    <a:pt x="17" y="0"/>
                    <a:pt x="0" y="7"/>
                    <a:pt x="0" y="9"/>
                  </a:cubicBezTo>
                  <a:cubicBezTo>
                    <a:pt x="12" y="10"/>
                    <a:pt x="12" y="10"/>
                    <a:pt x="12" y="10"/>
                  </a:cubicBezTo>
                  <a:cubicBezTo>
                    <a:pt x="12" y="10"/>
                    <a:pt x="14" y="6"/>
                    <a:pt x="15" y="5"/>
                  </a:cubicBezTo>
                  <a:cubicBezTo>
                    <a:pt x="16" y="2"/>
                    <a:pt x="17"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5" name="Freeform 1513">
              <a:extLst>
                <a:ext uri="{FF2B5EF4-FFF2-40B4-BE49-F238E27FC236}">
                  <a16:creationId xmlns:a16="http://schemas.microsoft.com/office/drawing/2014/main" id="{AA5319FA-7A74-485E-A1F3-58C553EDD6D0}"/>
                </a:ext>
              </a:extLst>
            </p:cNvPr>
            <p:cNvSpPr>
              <a:spLocks/>
            </p:cNvSpPr>
            <p:nvPr/>
          </p:nvSpPr>
          <p:spPr bwMode="auto">
            <a:xfrm>
              <a:off x="3359" y="1222"/>
              <a:ext cx="676" cy="556"/>
            </a:xfrm>
            <a:custGeom>
              <a:avLst/>
              <a:gdLst>
                <a:gd name="T0" fmla="*/ 3 w 286"/>
                <a:gd name="T1" fmla="*/ 64 h 235"/>
                <a:gd name="T2" fmla="*/ 3 w 286"/>
                <a:gd name="T3" fmla="*/ 76 h 235"/>
                <a:gd name="T4" fmla="*/ 2 w 286"/>
                <a:gd name="T5" fmla="*/ 120 h 235"/>
                <a:gd name="T6" fmla="*/ 10 w 286"/>
                <a:gd name="T7" fmla="*/ 191 h 235"/>
                <a:gd name="T8" fmla="*/ 36 w 286"/>
                <a:gd name="T9" fmla="*/ 190 h 235"/>
                <a:gd name="T10" fmla="*/ 59 w 286"/>
                <a:gd name="T11" fmla="*/ 189 h 235"/>
                <a:gd name="T12" fmla="*/ 54 w 286"/>
                <a:gd name="T13" fmla="*/ 168 h 235"/>
                <a:gd name="T14" fmla="*/ 45 w 286"/>
                <a:gd name="T15" fmla="*/ 165 h 235"/>
                <a:gd name="T16" fmla="*/ 42 w 286"/>
                <a:gd name="T17" fmla="*/ 165 h 235"/>
                <a:gd name="T18" fmla="*/ 53 w 286"/>
                <a:gd name="T19" fmla="*/ 164 h 235"/>
                <a:gd name="T20" fmla="*/ 68 w 286"/>
                <a:gd name="T21" fmla="*/ 163 h 235"/>
                <a:gd name="T22" fmla="*/ 69 w 286"/>
                <a:gd name="T23" fmla="*/ 152 h 235"/>
                <a:gd name="T24" fmla="*/ 73 w 286"/>
                <a:gd name="T25" fmla="*/ 155 h 235"/>
                <a:gd name="T26" fmla="*/ 79 w 286"/>
                <a:gd name="T27" fmla="*/ 156 h 235"/>
                <a:gd name="T28" fmla="*/ 85 w 286"/>
                <a:gd name="T29" fmla="*/ 155 h 235"/>
                <a:gd name="T30" fmla="*/ 84 w 286"/>
                <a:gd name="T31" fmla="*/ 146 h 235"/>
                <a:gd name="T32" fmla="*/ 94 w 286"/>
                <a:gd name="T33" fmla="*/ 144 h 235"/>
                <a:gd name="T34" fmla="*/ 97 w 286"/>
                <a:gd name="T35" fmla="*/ 148 h 235"/>
                <a:gd name="T36" fmla="*/ 102 w 286"/>
                <a:gd name="T37" fmla="*/ 145 h 235"/>
                <a:gd name="T38" fmla="*/ 108 w 286"/>
                <a:gd name="T39" fmla="*/ 143 h 235"/>
                <a:gd name="T40" fmla="*/ 111 w 286"/>
                <a:gd name="T41" fmla="*/ 148 h 235"/>
                <a:gd name="T42" fmla="*/ 147 w 286"/>
                <a:gd name="T43" fmla="*/ 158 h 235"/>
                <a:gd name="T44" fmla="*/ 161 w 286"/>
                <a:gd name="T45" fmla="*/ 179 h 235"/>
                <a:gd name="T46" fmla="*/ 173 w 286"/>
                <a:gd name="T47" fmla="*/ 186 h 235"/>
                <a:gd name="T48" fmla="*/ 185 w 286"/>
                <a:gd name="T49" fmla="*/ 204 h 235"/>
                <a:gd name="T50" fmla="*/ 204 w 286"/>
                <a:gd name="T51" fmla="*/ 218 h 235"/>
                <a:gd name="T52" fmla="*/ 215 w 286"/>
                <a:gd name="T53" fmla="*/ 220 h 235"/>
                <a:gd name="T54" fmla="*/ 218 w 286"/>
                <a:gd name="T55" fmla="*/ 219 h 235"/>
                <a:gd name="T56" fmla="*/ 232 w 286"/>
                <a:gd name="T57" fmla="*/ 221 h 235"/>
                <a:gd name="T58" fmla="*/ 271 w 286"/>
                <a:gd name="T59" fmla="*/ 234 h 235"/>
                <a:gd name="T60" fmla="*/ 271 w 286"/>
                <a:gd name="T61" fmla="*/ 223 h 235"/>
                <a:gd name="T62" fmla="*/ 278 w 286"/>
                <a:gd name="T63" fmla="*/ 224 h 235"/>
                <a:gd name="T64" fmla="*/ 277 w 286"/>
                <a:gd name="T65" fmla="*/ 220 h 235"/>
                <a:gd name="T66" fmla="*/ 273 w 286"/>
                <a:gd name="T67" fmla="*/ 220 h 235"/>
                <a:gd name="T68" fmla="*/ 254 w 286"/>
                <a:gd name="T69" fmla="*/ 208 h 235"/>
                <a:gd name="T70" fmla="*/ 257 w 286"/>
                <a:gd name="T71" fmla="*/ 203 h 235"/>
                <a:gd name="T72" fmla="*/ 238 w 286"/>
                <a:gd name="T73" fmla="*/ 194 h 235"/>
                <a:gd name="T74" fmla="*/ 227 w 286"/>
                <a:gd name="T75" fmla="*/ 187 h 235"/>
                <a:gd name="T76" fmla="*/ 209 w 286"/>
                <a:gd name="T77" fmla="*/ 170 h 235"/>
                <a:gd name="T78" fmla="*/ 178 w 286"/>
                <a:gd name="T79" fmla="*/ 136 h 235"/>
                <a:gd name="T80" fmla="*/ 183 w 286"/>
                <a:gd name="T81" fmla="*/ 118 h 235"/>
                <a:gd name="T82" fmla="*/ 198 w 286"/>
                <a:gd name="T83" fmla="*/ 116 h 235"/>
                <a:gd name="T84" fmla="*/ 185 w 286"/>
                <a:gd name="T85" fmla="*/ 96 h 235"/>
                <a:gd name="T86" fmla="*/ 179 w 286"/>
                <a:gd name="T87" fmla="*/ 96 h 235"/>
                <a:gd name="T88" fmla="*/ 146 w 286"/>
                <a:gd name="T89" fmla="*/ 83 h 235"/>
                <a:gd name="T90" fmla="*/ 138 w 286"/>
                <a:gd name="T91" fmla="*/ 68 h 235"/>
                <a:gd name="T92" fmla="*/ 102 w 286"/>
                <a:gd name="T93" fmla="*/ 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6" h="235">
                  <a:moveTo>
                    <a:pt x="3" y="0"/>
                  </a:moveTo>
                  <a:cubicBezTo>
                    <a:pt x="3" y="7"/>
                    <a:pt x="3" y="15"/>
                    <a:pt x="3" y="24"/>
                  </a:cubicBezTo>
                  <a:cubicBezTo>
                    <a:pt x="3" y="36"/>
                    <a:pt x="3" y="51"/>
                    <a:pt x="3" y="64"/>
                  </a:cubicBezTo>
                  <a:cubicBezTo>
                    <a:pt x="3" y="68"/>
                    <a:pt x="3" y="68"/>
                    <a:pt x="3" y="68"/>
                  </a:cubicBezTo>
                  <a:cubicBezTo>
                    <a:pt x="3" y="70"/>
                    <a:pt x="3" y="72"/>
                    <a:pt x="3" y="73"/>
                  </a:cubicBezTo>
                  <a:cubicBezTo>
                    <a:pt x="3" y="76"/>
                    <a:pt x="3" y="76"/>
                    <a:pt x="3" y="76"/>
                  </a:cubicBezTo>
                  <a:cubicBezTo>
                    <a:pt x="3" y="81"/>
                    <a:pt x="2" y="86"/>
                    <a:pt x="2" y="91"/>
                  </a:cubicBezTo>
                  <a:cubicBezTo>
                    <a:pt x="0" y="119"/>
                    <a:pt x="0" y="119"/>
                    <a:pt x="0" y="119"/>
                  </a:cubicBezTo>
                  <a:cubicBezTo>
                    <a:pt x="1" y="119"/>
                    <a:pt x="1" y="120"/>
                    <a:pt x="2" y="120"/>
                  </a:cubicBezTo>
                  <a:cubicBezTo>
                    <a:pt x="3" y="122"/>
                    <a:pt x="3" y="123"/>
                    <a:pt x="3" y="124"/>
                  </a:cubicBezTo>
                  <a:cubicBezTo>
                    <a:pt x="3" y="191"/>
                    <a:pt x="3" y="191"/>
                    <a:pt x="3" y="191"/>
                  </a:cubicBezTo>
                  <a:cubicBezTo>
                    <a:pt x="5" y="191"/>
                    <a:pt x="7" y="191"/>
                    <a:pt x="10" y="191"/>
                  </a:cubicBezTo>
                  <a:cubicBezTo>
                    <a:pt x="14" y="191"/>
                    <a:pt x="19" y="191"/>
                    <a:pt x="24" y="191"/>
                  </a:cubicBezTo>
                  <a:cubicBezTo>
                    <a:pt x="28" y="190"/>
                    <a:pt x="32" y="190"/>
                    <a:pt x="35" y="190"/>
                  </a:cubicBezTo>
                  <a:cubicBezTo>
                    <a:pt x="35" y="190"/>
                    <a:pt x="36" y="190"/>
                    <a:pt x="36" y="190"/>
                  </a:cubicBezTo>
                  <a:cubicBezTo>
                    <a:pt x="40" y="191"/>
                    <a:pt x="43" y="193"/>
                    <a:pt x="47" y="194"/>
                  </a:cubicBezTo>
                  <a:cubicBezTo>
                    <a:pt x="47" y="194"/>
                    <a:pt x="47" y="194"/>
                    <a:pt x="48" y="194"/>
                  </a:cubicBezTo>
                  <a:cubicBezTo>
                    <a:pt x="50" y="194"/>
                    <a:pt x="57" y="190"/>
                    <a:pt x="59" y="189"/>
                  </a:cubicBezTo>
                  <a:cubicBezTo>
                    <a:pt x="61" y="188"/>
                    <a:pt x="67" y="186"/>
                    <a:pt x="68" y="185"/>
                  </a:cubicBezTo>
                  <a:cubicBezTo>
                    <a:pt x="70" y="182"/>
                    <a:pt x="69" y="178"/>
                    <a:pt x="67" y="175"/>
                  </a:cubicBezTo>
                  <a:cubicBezTo>
                    <a:pt x="63" y="170"/>
                    <a:pt x="60" y="170"/>
                    <a:pt x="54" y="168"/>
                  </a:cubicBezTo>
                  <a:cubicBezTo>
                    <a:pt x="52" y="167"/>
                    <a:pt x="51" y="165"/>
                    <a:pt x="48" y="165"/>
                  </a:cubicBezTo>
                  <a:cubicBezTo>
                    <a:pt x="48" y="165"/>
                    <a:pt x="48" y="165"/>
                    <a:pt x="48" y="165"/>
                  </a:cubicBezTo>
                  <a:cubicBezTo>
                    <a:pt x="47" y="165"/>
                    <a:pt x="46" y="165"/>
                    <a:pt x="45" y="165"/>
                  </a:cubicBezTo>
                  <a:cubicBezTo>
                    <a:pt x="44" y="166"/>
                    <a:pt x="43" y="166"/>
                    <a:pt x="42" y="166"/>
                  </a:cubicBezTo>
                  <a:cubicBezTo>
                    <a:pt x="41" y="166"/>
                    <a:pt x="41" y="166"/>
                    <a:pt x="40" y="165"/>
                  </a:cubicBezTo>
                  <a:cubicBezTo>
                    <a:pt x="41" y="165"/>
                    <a:pt x="42" y="165"/>
                    <a:pt x="42" y="165"/>
                  </a:cubicBezTo>
                  <a:cubicBezTo>
                    <a:pt x="44" y="165"/>
                    <a:pt x="45" y="165"/>
                    <a:pt x="47" y="164"/>
                  </a:cubicBezTo>
                  <a:cubicBezTo>
                    <a:pt x="48" y="164"/>
                    <a:pt x="50" y="164"/>
                    <a:pt x="51" y="164"/>
                  </a:cubicBezTo>
                  <a:cubicBezTo>
                    <a:pt x="52" y="164"/>
                    <a:pt x="53" y="164"/>
                    <a:pt x="53" y="164"/>
                  </a:cubicBezTo>
                  <a:cubicBezTo>
                    <a:pt x="55" y="164"/>
                    <a:pt x="56" y="165"/>
                    <a:pt x="57" y="165"/>
                  </a:cubicBezTo>
                  <a:cubicBezTo>
                    <a:pt x="58" y="165"/>
                    <a:pt x="59" y="165"/>
                    <a:pt x="60" y="164"/>
                  </a:cubicBezTo>
                  <a:cubicBezTo>
                    <a:pt x="63" y="164"/>
                    <a:pt x="66" y="163"/>
                    <a:pt x="68" y="163"/>
                  </a:cubicBezTo>
                  <a:cubicBezTo>
                    <a:pt x="72" y="162"/>
                    <a:pt x="77" y="164"/>
                    <a:pt x="74" y="158"/>
                  </a:cubicBezTo>
                  <a:cubicBezTo>
                    <a:pt x="73" y="156"/>
                    <a:pt x="70" y="154"/>
                    <a:pt x="68" y="152"/>
                  </a:cubicBezTo>
                  <a:cubicBezTo>
                    <a:pt x="68" y="152"/>
                    <a:pt x="68" y="152"/>
                    <a:pt x="69" y="152"/>
                  </a:cubicBezTo>
                  <a:cubicBezTo>
                    <a:pt x="71" y="152"/>
                    <a:pt x="70" y="154"/>
                    <a:pt x="71" y="155"/>
                  </a:cubicBezTo>
                  <a:cubicBezTo>
                    <a:pt x="72" y="155"/>
                    <a:pt x="72" y="155"/>
                    <a:pt x="73" y="155"/>
                  </a:cubicBezTo>
                  <a:cubicBezTo>
                    <a:pt x="73" y="155"/>
                    <a:pt x="73" y="155"/>
                    <a:pt x="73" y="155"/>
                  </a:cubicBezTo>
                  <a:cubicBezTo>
                    <a:pt x="74" y="155"/>
                    <a:pt x="74" y="155"/>
                    <a:pt x="74" y="155"/>
                  </a:cubicBezTo>
                  <a:cubicBezTo>
                    <a:pt x="74" y="155"/>
                    <a:pt x="75" y="155"/>
                    <a:pt x="75" y="155"/>
                  </a:cubicBezTo>
                  <a:cubicBezTo>
                    <a:pt x="76" y="155"/>
                    <a:pt x="77" y="156"/>
                    <a:pt x="79" y="156"/>
                  </a:cubicBezTo>
                  <a:cubicBezTo>
                    <a:pt x="79" y="156"/>
                    <a:pt x="80" y="156"/>
                    <a:pt x="81" y="156"/>
                  </a:cubicBezTo>
                  <a:cubicBezTo>
                    <a:pt x="83" y="156"/>
                    <a:pt x="85" y="155"/>
                    <a:pt x="83" y="154"/>
                  </a:cubicBezTo>
                  <a:cubicBezTo>
                    <a:pt x="83" y="155"/>
                    <a:pt x="84" y="155"/>
                    <a:pt x="85" y="155"/>
                  </a:cubicBezTo>
                  <a:cubicBezTo>
                    <a:pt x="82" y="150"/>
                    <a:pt x="79" y="145"/>
                    <a:pt x="76" y="139"/>
                  </a:cubicBezTo>
                  <a:cubicBezTo>
                    <a:pt x="77" y="141"/>
                    <a:pt x="79" y="141"/>
                    <a:pt x="80" y="143"/>
                  </a:cubicBezTo>
                  <a:cubicBezTo>
                    <a:pt x="82" y="144"/>
                    <a:pt x="82" y="145"/>
                    <a:pt x="84" y="146"/>
                  </a:cubicBezTo>
                  <a:cubicBezTo>
                    <a:pt x="85" y="147"/>
                    <a:pt x="85" y="147"/>
                    <a:pt x="86" y="147"/>
                  </a:cubicBezTo>
                  <a:cubicBezTo>
                    <a:pt x="88" y="147"/>
                    <a:pt x="89" y="146"/>
                    <a:pt x="90" y="146"/>
                  </a:cubicBezTo>
                  <a:cubicBezTo>
                    <a:pt x="91" y="145"/>
                    <a:pt x="93" y="144"/>
                    <a:pt x="94" y="144"/>
                  </a:cubicBezTo>
                  <a:cubicBezTo>
                    <a:pt x="94" y="144"/>
                    <a:pt x="95" y="144"/>
                    <a:pt x="95" y="145"/>
                  </a:cubicBezTo>
                  <a:cubicBezTo>
                    <a:pt x="96" y="145"/>
                    <a:pt x="96" y="145"/>
                    <a:pt x="97" y="146"/>
                  </a:cubicBezTo>
                  <a:cubicBezTo>
                    <a:pt x="97" y="148"/>
                    <a:pt x="97" y="148"/>
                    <a:pt x="97" y="148"/>
                  </a:cubicBezTo>
                  <a:cubicBezTo>
                    <a:pt x="98" y="148"/>
                    <a:pt x="100" y="148"/>
                    <a:pt x="101" y="149"/>
                  </a:cubicBezTo>
                  <a:cubicBezTo>
                    <a:pt x="99" y="147"/>
                    <a:pt x="99" y="144"/>
                    <a:pt x="98" y="141"/>
                  </a:cubicBezTo>
                  <a:cubicBezTo>
                    <a:pt x="99" y="143"/>
                    <a:pt x="100" y="144"/>
                    <a:pt x="102" y="145"/>
                  </a:cubicBezTo>
                  <a:cubicBezTo>
                    <a:pt x="101" y="144"/>
                    <a:pt x="101" y="142"/>
                    <a:pt x="102" y="141"/>
                  </a:cubicBezTo>
                  <a:cubicBezTo>
                    <a:pt x="102" y="143"/>
                    <a:pt x="103" y="144"/>
                    <a:pt x="105" y="144"/>
                  </a:cubicBezTo>
                  <a:cubicBezTo>
                    <a:pt x="106" y="144"/>
                    <a:pt x="107" y="143"/>
                    <a:pt x="108" y="143"/>
                  </a:cubicBezTo>
                  <a:cubicBezTo>
                    <a:pt x="109" y="143"/>
                    <a:pt x="110" y="143"/>
                    <a:pt x="111" y="143"/>
                  </a:cubicBezTo>
                  <a:cubicBezTo>
                    <a:pt x="111" y="143"/>
                    <a:pt x="111" y="143"/>
                    <a:pt x="111" y="143"/>
                  </a:cubicBezTo>
                  <a:cubicBezTo>
                    <a:pt x="113" y="143"/>
                    <a:pt x="111" y="147"/>
                    <a:pt x="111" y="148"/>
                  </a:cubicBezTo>
                  <a:cubicBezTo>
                    <a:pt x="112" y="149"/>
                    <a:pt x="116" y="149"/>
                    <a:pt x="118" y="150"/>
                  </a:cubicBezTo>
                  <a:cubicBezTo>
                    <a:pt x="125" y="151"/>
                    <a:pt x="132" y="152"/>
                    <a:pt x="138" y="153"/>
                  </a:cubicBezTo>
                  <a:cubicBezTo>
                    <a:pt x="136" y="157"/>
                    <a:pt x="145" y="157"/>
                    <a:pt x="147" y="158"/>
                  </a:cubicBezTo>
                  <a:cubicBezTo>
                    <a:pt x="147" y="160"/>
                    <a:pt x="148" y="161"/>
                    <a:pt x="150" y="163"/>
                  </a:cubicBezTo>
                  <a:cubicBezTo>
                    <a:pt x="151" y="165"/>
                    <a:pt x="151" y="165"/>
                    <a:pt x="152" y="168"/>
                  </a:cubicBezTo>
                  <a:cubicBezTo>
                    <a:pt x="154" y="172"/>
                    <a:pt x="158" y="176"/>
                    <a:pt x="161" y="179"/>
                  </a:cubicBezTo>
                  <a:cubicBezTo>
                    <a:pt x="163" y="182"/>
                    <a:pt x="161" y="184"/>
                    <a:pt x="165" y="186"/>
                  </a:cubicBezTo>
                  <a:cubicBezTo>
                    <a:pt x="166" y="187"/>
                    <a:pt x="168" y="187"/>
                    <a:pt x="169" y="187"/>
                  </a:cubicBezTo>
                  <a:cubicBezTo>
                    <a:pt x="171" y="187"/>
                    <a:pt x="172" y="187"/>
                    <a:pt x="173" y="186"/>
                  </a:cubicBezTo>
                  <a:cubicBezTo>
                    <a:pt x="172" y="187"/>
                    <a:pt x="172" y="188"/>
                    <a:pt x="173" y="190"/>
                  </a:cubicBezTo>
                  <a:cubicBezTo>
                    <a:pt x="174" y="193"/>
                    <a:pt x="175" y="198"/>
                    <a:pt x="178" y="199"/>
                  </a:cubicBezTo>
                  <a:cubicBezTo>
                    <a:pt x="182" y="200"/>
                    <a:pt x="182" y="200"/>
                    <a:pt x="185" y="204"/>
                  </a:cubicBezTo>
                  <a:cubicBezTo>
                    <a:pt x="188" y="209"/>
                    <a:pt x="192" y="215"/>
                    <a:pt x="197" y="217"/>
                  </a:cubicBezTo>
                  <a:cubicBezTo>
                    <a:pt x="199" y="218"/>
                    <a:pt x="201" y="218"/>
                    <a:pt x="202" y="218"/>
                  </a:cubicBezTo>
                  <a:cubicBezTo>
                    <a:pt x="203" y="218"/>
                    <a:pt x="203" y="218"/>
                    <a:pt x="204" y="218"/>
                  </a:cubicBezTo>
                  <a:cubicBezTo>
                    <a:pt x="204" y="218"/>
                    <a:pt x="205" y="218"/>
                    <a:pt x="205" y="218"/>
                  </a:cubicBezTo>
                  <a:cubicBezTo>
                    <a:pt x="208" y="218"/>
                    <a:pt x="211" y="219"/>
                    <a:pt x="214" y="220"/>
                  </a:cubicBezTo>
                  <a:cubicBezTo>
                    <a:pt x="214" y="220"/>
                    <a:pt x="214" y="220"/>
                    <a:pt x="215" y="220"/>
                  </a:cubicBezTo>
                  <a:cubicBezTo>
                    <a:pt x="215" y="220"/>
                    <a:pt x="216" y="220"/>
                    <a:pt x="216" y="219"/>
                  </a:cubicBezTo>
                  <a:cubicBezTo>
                    <a:pt x="217" y="219"/>
                    <a:pt x="218" y="219"/>
                    <a:pt x="218" y="219"/>
                  </a:cubicBezTo>
                  <a:cubicBezTo>
                    <a:pt x="218" y="219"/>
                    <a:pt x="218" y="219"/>
                    <a:pt x="218" y="219"/>
                  </a:cubicBezTo>
                  <a:cubicBezTo>
                    <a:pt x="221" y="219"/>
                    <a:pt x="223" y="220"/>
                    <a:pt x="225" y="221"/>
                  </a:cubicBezTo>
                  <a:cubicBezTo>
                    <a:pt x="227" y="221"/>
                    <a:pt x="228" y="221"/>
                    <a:pt x="229" y="221"/>
                  </a:cubicBezTo>
                  <a:cubicBezTo>
                    <a:pt x="230" y="221"/>
                    <a:pt x="231" y="221"/>
                    <a:pt x="232" y="221"/>
                  </a:cubicBezTo>
                  <a:cubicBezTo>
                    <a:pt x="232" y="221"/>
                    <a:pt x="233" y="221"/>
                    <a:pt x="233" y="221"/>
                  </a:cubicBezTo>
                  <a:cubicBezTo>
                    <a:pt x="242" y="221"/>
                    <a:pt x="259" y="223"/>
                    <a:pt x="264" y="230"/>
                  </a:cubicBezTo>
                  <a:cubicBezTo>
                    <a:pt x="267" y="235"/>
                    <a:pt x="266" y="233"/>
                    <a:pt x="271" y="234"/>
                  </a:cubicBezTo>
                  <a:cubicBezTo>
                    <a:pt x="271" y="234"/>
                    <a:pt x="271" y="234"/>
                    <a:pt x="271" y="234"/>
                  </a:cubicBezTo>
                  <a:cubicBezTo>
                    <a:pt x="274" y="234"/>
                    <a:pt x="277" y="232"/>
                    <a:pt x="279" y="231"/>
                  </a:cubicBezTo>
                  <a:cubicBezTo>
                    <a:pt x="276" y="229"/>
                    <a:pt x="273" y="226"/>
                    <a:pt x="271" y="223"/>
                  </a:cubicBezTo>
                  <a:cubicBezTo>
                    <a:pt x="272" y="223"/>
                    <a:pt x="272" y="223"/>
                    <a:pt x="273" y="223"/>
                  </a:cubicBezTo>
                  <a:cubicBezTo>
                    <a:pt x="274" y="223"/>
                    <a:pt x="275" y="224"/>
                    <a:pt x="277" y="224"/>
                  </a:cubicBezTo>
                  <a:cubicBezTo>
                    <a:pt x="277" y="224"/>
                    <a:pt x="277" y="224"/>
                    <a:pt x="278" y="224"/>
                  </a:cubicBezTo>
                  <a:cubicBezTo>
                    <a:pt x="281" y="224"/>
                    <a:pt x="283" y="222"/>
                    <a:pt x="286" y="220"/>
                  </a:cubicBezTo>
                  <a:cubicBezTo>
                    <a:pt x="284" y="221"/>
                    <a:pt x="283" y="221"/>
                    <a:pt x="282" y="221"/>
                  </a:cubicBezTo>
                  <a:cubicBezTo>
                    <a:pt x="281" y="221"/>
                    <a:pt x="280" y="221"/>
                    <a:pt x="277" y="220"/>
                  </a:cubicBezTo>
                  <a:cubicBezTo>
                    <a:pt x="277" y="220"/>
                    <a:pt x="276" y="220"/>
                    <a:pt x="275" y="220"/>
                  </a:cubicBezTo>
                  <a:cubicBezTo>
                    <a:pt x="275" y="220"/>
                    <a:pt x="275" y="220"/>
                    <a:pt x="274" y="220"/>
                  </a:cubicBezTo>
                  <a:cubicBezTo>
                    <a:pt x="274" y="220"/>
                    <a:pt x="273" y="220"/>
                    <a:pt x="273" y="220"/>
                  </a:cubicBezTo>
                  <a:cubicBezTo>
                    <a:pt x="272" y="220"/>
                    <a:pt x="271" y="220"/>
                    <a:pt x="270" y="220"/>
                  </a:cubicBezTo>
                  <a:cubicBezTo>
                    <a:pt x="266" y="218"/>
                    <a:pt x="261" y="214"/>
                    <a:pt x="257" y="212"/>
                  </a:cubicBezTo>
                  <a:cubicBezTo>
                    <a:pt x="253" y="210"/>
                    <a:pt x="252" y="210"/>
                    <a:pt x="254" y="208"/>
                  </a:cubicBezTo>
                  <a:cubicBezTo>
                    <a:pt x="257" y="206"/>
                    <a:pt x="260" y="209"/>
                    <a:pt x="261" y="203"/>
                  </a:cubicBezTo>
                  <a:cubicBezTo>
                    <a:pt x="260" y="203"/>
                    <a:pt x="259" y="203"/>
                    <a:pt x="258" y="203"/>
                  </a:cubicBezTo>
                  <a:cubicBezTo>
                    <a:pt x="258" y="203"/>
                    <a:pt x="257" y="203"/>
                    <a:pt x="257" y="203"/>
                  </a:cubicBezTo>
                  <a:cubicBezTo>
                    <a:pt x="253" y="203"/>
                    <a:pt x="245" y="203"/>
                    <a:pt x="243" y="201"/>
                  </a:cubicBezTo>
                  <a:cubicBezTo>
                    <a:pt x="241" y="200"/>
                    <a:pt x="237" y="197"/>
                    <a:pt x="237" y="195"/>
                  </a:cubicBezTo>
                  <a:cubicBezTo>
                    <a:pt x="237" y="194"/>
                    <a:pt x="238" y="194"/>
                    <a:pt x="238" y="194"/>
                  </a:cubicBezTo>
                  <a:cubicBezTo>
                    <a:pt x="239" y="192"/>
                    <a:pt x="241" y="187"/>
                    <a:pt x="240" y="186"/>
                  </a:cubicBezTo>
                  <a:cubicBezTo>
                    <a:pt x="240" y="185"/>
                    <a:pt x="239" y="184"/>
                    <a:pt x="238" y="184"/>
                  </a:cubicBezTo>
                  <a:cubicBezTo>
                    <a:pt x="234" y="184"/>
                    <a:pt x="229" y="187"/>
                    <a:pt x="227" y="187"/>
                  </a:cubicBezTo>
                  <a:cubicBezTo>
                    <a:pt x="226" y="187"/>
                    <a:pt x="225" y="187"/>
                    <a:pt x="224" y="187"/>
                  </a:cubicBezTo>
                  <a:cubicBezTo>
                    <a:pt x="220" y="187"/>
                    <a:pt x="219" y="185"/>
                    <a:pt x="217" y="181"/>
                  </a:cubicBezTo>
                  <a:cubicBezTo>
                    <a:pt x="215" y="177"/>
                    <a:pt x="210" y="174"/>
                    <a:pt x="209" y="170"/>
                  </a:cubicBezTo>
                  <a:cubicBezTo>
                    <a:pt x="209" y="169"/>
                    <a:pt x="210" y="169"/>
                    <a:pt x="209" y="168"/>
                  </a:cubicBezTo>
                  <a:cubicBezTo>
                    <a:pt x="208" y="165"/>
                    <a:pt x="206" y="162"/>
                    <a:pt x="204" y="159"/>
                  </a:cubicBezTo>
                  <a:cubicBezTo>
                    <a:pt x="198" y="149"/>
                    <a:pt x="182" y="147"/>
                    <a:pt x="178" y="136"/>
                  </a:cubicBezTo>
                  <a:cubicBezTo>
                    <a:pt x="176" y="132"/>
                    <a:pt x="169" y="122"/>
                    <a:pt x="173" y="119"/>
                  </a:cubicBezTo>
                  <a:cubicBezTo>
                    <a:pt x="175" y="118"/>
                    <a:pt x="176" y="118"/>
                    <a:pt x="177" y="118"/>
                  </a:cubicBezTo>
                  <a:cubicBezTo>
                    <a:pt x="179" y="118"/>
                    <a:pt x="181" y="118"/>
                    <a:pt x="183" y="118"/>
                  </a:cubicBezTo>
                  <a:cubicBezTo>
                    <a:pt x="185" y="119"/>
                    <a:pt x="187" y="119"/>
                    <a:pt x="188" y="119"/>
                  </a:cubicBezTo>
                  <a:cubicBezTo>
                    <a:pt x="188" y="119"/>
                    <a:pt x="188" y="119"/>
                    <a:pt x="189" y="119"/>
                  </a:cubicBezTo>
                  <a:cubicBezTo>
                    <a:pt x="191" y="119"/>
                    <a:pt x="196" y="118"/>
                    <a:pt x="198" y="116"/>
                  </a:cubicBezTo>
                  <a:cubicBezTo>
                    <a:pt x="199" y="115"/>
                    <a:pt x="198" y="109"/>
                    <a:pt x="197" y="107"/>
                  </a:cubicBezTo>
                  <a:cubicBezTo>
                    <a:pt x="197" y="106"/>
                    <a:pt x="195" y="105"/>
                    <a:pt x="194" y="104"/>
                  </a:cubicBezTo>
                  <a:cubicBezTo>
                    <a:pt x="192" y="101"/>
                    <a:pt x="189" y="97"/>
                    <a:pt x="185" y="96"/>
                  </a:cubicBezTo>
                  <a:cubicBezTo>
                    <a:pt x="184" y="96"/>
                    <a:pt x="184" y="95"/>
                    <a:pt x="183" y="95"/>
                  </a:cubicBezTo>
                  <a:cubicBezTo>
                    <a:pt x="182" y="95"/>
                    <a:pt x="182" y="96"/>
                    <a:pt x="181" y="96"/>
                  </a:cubicBezTo>
                  <a:cubicBezTo>
                    <a:pt x="180" y="96"/>
                    <a:pt x="180" y="96"/>
                    <a:pt x="179" y="96"/>
                  </a:cubicBezTo>
                  <a:cubicBezTo>
                    <a:pt x="179" y="96"/>
                    <a:pt x="178" y="96"/>
                    <a:pt x="178" y="96"/>
                  </a:cubicBezTo>
                  <a:cubicBezTo>
                    <a:pt x="171" y="96"/>
                    <a:pt x="165" y="88"/>
                    <a:pt x="159" y="86"/>
                  </a:cubicBezTo>
                  <a:cubicBezTo>
                    <a:pt x="155" y="85"/>
                    <a:pt x="150" y="84"/>
                    <a:pt x="146" y="83"/>
                  </a:cubicBezTo>
                  <a:cubicBezTo>
                    <a:pt x="144" y="83"/>
                    <a:pt x="138" y="83"/>
                    <a:pt x="137" y="81"/>
                  </a:cubicBezTo>
                  <a:cubicBezTo>
                    <a:pt x="135" y="79"/>
                    <a:pt x="138" y="77"/>
                    <a:pt x="138" y="75"/>
                  </a:cubicBezTo>
                  <a:cubicBezTo>
                    <a:pt x="139" y="73"/>
                    <a:pt x="139" y="70"/>
                    <a:pt x="138" y="68"/>
                  </a:cubicBezTo>
                  <a:cubicBezTo>
                    <a:pt x="136" y="62"/>
                    <a:pt x="130" y="57"/>
                    <a:pt x="127" y="52"/>
                  </a:cubicBezTo>
                  <a:cubicBezTo>
                    <a:pt x="124" y="49"/>
                    <a:pt x="124" y="51"/>
                    <a:pt x="121" y="49"/>
                  </a:cubicBezTo>
                  <a:cubicBezTo>
                    <a:pt x="114" y="46"/>
                    <a:pt x="105" y="42"/>
                    <a:pt x="102" y="35"/>
                  </a:cubicBezTo>
                  <a:cubicBezTo>
                    <a:pt x="101" y="33"/>
                    <a:pt x="99" y="34"/>
                    <a:pt x="97" y="33"/>
                  </a:cubicBezTo>
                  <a:cubicBezTo>
                    <a:pt x="66" y="22"/>
                    <a:pt x="34" y="1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6" name="Freeform 1514">
              <a:extLst>
                <a:ext uri="{FF2B5EF4-FFF2-40B4-BE49-F238E27FC236}">
                  <a16:creationId xmlns:a16="http://schemas.microsoft.com/office/drawing/2014/main" id="{2BEA6C3E-F70D-419C-9BD9-90620B934C24}"/>
                </a:ext>
              </a:extLst>
            </p:cNvPr>
            <p:cNvSpPr>
              <a:spLocks/>
            </p:cNvSpPr>
            <p:nvPr/>
          </p:nvSpPr>
          <p:spPr bwMode="auto">
            <a:xfrm>
              <a:off x="2667" y="1064"/>
              <a:ext cx="683" cy="596"/>
            </a:xfrm>
            <a:custGeom>
              <a:avLst/>
              <a:gdLst>
                <a:gd name="T0" fmla="*/ 15 w 289"/>
                <a:gd name="T1" fmla="*/ 12 h 252"/>
                <a:gd name="T2" fmla="*/ 21 w 289"/>
                <a:gd name="T3" fmla="*/ 33 h 252"/>
                <a:gd name="T4" fmla="*/ 29 w 289"/>
                <a:gd name="T5" fmla="*/ 43 h 252"/>
                <a:gd name="T6" fmla="*/ 41 w 289"/>
                <a:gd name="T7" fmla="*/ 55 h 252"/>
                <a:gd name="T8" fmla="*/ 53 w 289"/>
                <a:gd name="T9" fmla="*/ 55 h 252"/>
                <a:gd name="T10" fmla="*/ 67 w 289"/>
                <a:gd name="T11" fmla="*/ 54 h 252"/>
                <a:gd name="T12" fmla="*/ 77 w 289"/>
                <a:gd name="T13" fmla="*/ 54 h 252"/>
                <a:gd name="T14" fmla="*/ 83 w 289"/>
                <a:gd name="T15" fmla="*/ 56 h 252"/>
                <a:gd name="T16" fmla="*/ 85 w 289"/>
                <a:gd name="T17" fmla="*/ 56 h 252"/>
                <a:gd name="T18" fmla="*/ 86 w 289"/>
                <a:gd name="T19" fmla="*/ 58 h 252"/>
                <a:gd name="T20" fmla="*/ 89 w 289"/>
                <a:gd name="T21" fmla="*/ 59 h 252"/>
                <a:gd name="T22" fmla="*/ 78 w 289"/>
                <a:gd name="T23" fmla="*/ 64 h 252"/>
                <a:gd name="T24" fmla="*/ 71 w 289"/>
                <a:gd name="T25" fmla="*/ 67 h 252"/>
                <a:gd name="T26" fmla="*/ 52 w 289"/>
                <a:gd name="T27" fmla="*/ 71 h 252"/>
                <a:gd name="T28" fmla="*/ 45 w 289"/>
                <a:gd name="T29" fmla="*/ 69 h 252"/>
                <a:gd name="T30" fmla="*/ 39 w 289"/>
                <a:gd name="T31" fmla="*/ 67 h 252"/>
                <a:gd name="T32" fmla="*/ 52 w 289"/>
                <a:gd name="T33" fmla="*/ 86 h 252"/>
                <a:gd name="T34" fmla="*/ 53 w 289"/>
                <a:gd name="T35" fmla="*/ 95 h 252"/>
                <a:gd name="T36" fmla="*/ 62 w 289"/>
                <a:gd name="T37" fmla="*/ 108 h 252"/>
                <a:gd name="T38" fmla="*/ 66 w 289"/>
                <a:gd name="T39" fmla="*/ 108 h 252"/>
                <a:gd name="T40" fmla="*/ 81 w 289"/>
                <a:gd name="T41" fmla="*/ 83 h 252"/>
                <a:gd name="T42" fmla="*/ 82 w 289"/>
                <a:gd name="T43" fmla="*/ 95 h 252"/>
                <a:gd name="T44" fmla="*/ 90 w 289"/>
                <a:gd name="T45" fmla="*/ 101 h 252"/>
                <a:gd name="T46" fmla="*/ 107 w 289"/>
                <a:gd name="T47" fmla="*/ 105 h 252"/>
                <a:gd name="T48" fmla="*/ 116 w 289"/>
                <a:gd name="T49" fmla="*/ 104 h 252"/>
                <a:gd name="T50" fmla="*/ 108 w 289"/>
                <a:gd name="T51" fmla="*/ 108 h 252"/>
                <a:gd name="T52" fmla="*/ 206 w 289"/>
                <a:gd name="T53" fmla="*/ 148 h 252"/>
                <a:gd name="T54" fmla="*/ 215 w 289"/>
                <a:gd name="T55" fmla="*/ 154 h 252"/>
                <a:gd name="T56" fmla="*/ 217 w 289"/>
                <a:gd name="T57" fmla="*/ 170 h 252"/>
                <a:gd name="T58" fmla="*/ 233 w 289"/>
                <a:gd name="T59" fmla="*/ 189 h 252"/>
                <a:gd name="T60" fmla="*/ 224 w 289"/>
                <a:gd name="T61" fmla="*/ 193 h 252"/>
                <a:gd name="T62" fmla="*/ 229 w 289"/>
                <a:gd name="T63" fmla="*/ 199 h 252"/>
                <a:gd name="T64" fmla="*/ 225 w 289"/>
                <a:gd name="T65" fmla="*/ 199 h 252"/>
                <a:gd name="T66" fmla="*/ 236 w 289"/>
                <a:gd name="T67" fmla="*/ 210 h 252"/>
                <a:gd name="T68" fmla="*/ 230 w 289"/>
                <a:gd name="T69" fmla="*/ 227 h 252"/>
                <a:gd name="T70" fmla="*/ 240 w 289"/>
                <a:gd name="T71" fmla="*/ 222 h 252"/>
                <a:gd name="T72" fmla="*/ 254 w 289"/>
                <a:gd name="T73" fmla="*/ 226 h 252"/>
                <a:gd name="T74" fmla="*/ 263 w 289"/>
                <a:gd name="T75" fmla="*/ 225 h 252"/>
                <a:gd name="T76" fmla="*/ 271 w 289"/>
                <a:gd name="T77" fmla="*/ 235 h 252"/>
                <a:gd name="T78" fmla="*/ 287 w 289"/>
                <a:gd name="T79" fmla="*/ 190 h 252"/>
                <a:gd name="T80" fmla="*/ 289 w 289"/>
                <a:gd name="T81" fmla="*/ 139 h 252"/>
                <a:gd name="T82" fmla="*/ 289 w 289"/>
                <a:gd name="T83" fmla="*/ 65 h 252"/>
                <a:gd name="T84" fmla="*/ 266 w 289"/>
                <a:gd name="T85" fmla="*/ 58 h 252"/>
                <a:gd name="T86" fmla="*/ 250 w 289"/>
                <a:gd name="T87" fmla="*/ 55 h 252"/>
                <a:gd name="T88" fmla="*/ 195 w 289"/>
                <a:gd name="T89" fmla="*/ 35 h 252"/>
                <a:gd name="T90" fmla="*/ 183 w 289"/>
                <a:gd name="T91" fmla="*/ 49 h 252"/>
                <a:gd name="T92" fmla="*/ 162 w 289"/>
                <a:gd name="T93" fmla="*/ 53 h 252"/>
                <a:gd name="T94" fmla="*/ 140 w 289"/>
                <a:gd name="T95" fmla="*/ 79 h 252"/>
                <a:gd name="T96" fmla="*/ 127 w 289"/>
                <a:gd name="T97" fmla="*/ 88 h 252"/>
                <a:gd name="T98" fmla="*/ 108 w 289"/>
                <a:gd name="T99" fmla="*/ 72 h 252"/>
                <a:gd name="T100" fmla="*/ 104 w 289"/>
                <a:gd name="T101" fmla="*/ 72 h 252"/>
                <a:gd name="T102" fmla="*/ 92 w 289"/>
                <a:gd name="T103" fmla="*/ 40 h 252"/>
                <a:gd name="T104" fmla="*/ 92 w 289"/>
                <a:gd name="T105" fmla="*/ 21 h 252"/>
                <a:gd name="T106" fmla="*/ 48 w 289"/>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9" h="252">
                  <a:moveTo>
                    <a:pt x="46" y="0"/>
                  </a:moveTo>
                  <a:cubicBezTo>
                    <a:pt x="43" y="0"/>
                    <a:pt x="41" y="1"/>
                    <a:pt x="39" y="2"/>
                  </a:cubicBezTo>
                  <a:cubicBezTo>
                    <a:pt x="35" y="4"/>
                    <a:pt x="31" y="8"/>
                    <a:pt x="28" y="10"/>
                  </a:cubicBezTo>
                  <a:cubicBezTo>
                    <a:pt x="24" y="11"/>
                    <a:pt x="19" y="11"/>
                    <a:pt x="15" y="12"/>
                  </a:cubicBezTo>
                  <a:cubicBezTo>
                    <a:pt x="14" y="12"/>
                    <a:pt x="10" y="13"/>
                    <a:pt x="9" y="13"/>
                  </a:cubicBezTo>
                  <a:cubicBezTo>
                    <a:pt x="8" y="15"/>
                    <a:pt x="10" y="17"/>
                    <a:pt x="10" y="18"/>
                  </a:cubicBezTo>
                  <a:cubicBezTo>
                    <a:pt x="9" y="22"/>
                    <a:pt x="3" y="28"/>
                    <a:pt x="0" y="31"/>
                  </a:cubicBezTo>
                  <a:cubicBezTo>
                    <a:pt x="7" y="32"/>
                    <a:pt x="14" y="32"/>
                    <a:pt x="21" y="33"/>
                  </a:cubicBezTo>
                  <a:cubicBezTo>
                    <a:pt x="23" y="34"/>
                    <a:pt x="26" y="35"/>
                    <a:pt x="29" y="35"/>
                  </a:cubicBezTo>
                  <a:cubicBezTo>
                    <a:pt x="29" y="35"/>
                    <a:pt x="29" y="35"/>
                    <a:pt x="30" y="35"/>
                  </a:cubicBezTo>
                  <a:cubicBezTo>
                    <a:pt x="28" y="36"/>
                    <a:pt x="27" y="37"/>
                    <a:pt x="29" y="39"/>
                  </a:cubicBezTo>
                  <a:cubicBezTo>
                    <a:pt x="30" y="42"/>
                    <a:pt x="29" y="41"/>
                    <a:pt x="29" y="43"/>
                  </a:cubicBezTo>
                  <a:cubicBezTo>
                    <a:pt x="31" y="49"/>
                    <a:pt x="34" y="51"/>
                    <a:pt x="39" y="55"/>
                  </a:cubicBezTo>
                  <a:cubicBezTo>
                    <a:pt x="39" y="55"/>
                    <a:pt x="40" y="55"/>
                    <a:pt x="40" y="55"/>
                  </a:cubicBezTo>
                  <a:cubicBezTo>
                    <a:pt x="40" y="55"/>
                    <a:pt x="40" y="55"/>
                    <a:pt x="40" y="55"/>
                  </a:cubicBezTo>
                  <a:cubicBezTo>
                    <a:pt x="41" y="55"/>
                    <a:pt x="41" y="55"/>
                    <a:pt x="41" y="55"/>
                  </a:cubicBezTo>
                  <a:cubicBezTo>
                    <a:pt x="41" y="55"/>
                    <a:pt x="41" y="55"/>
                    <a:pt x="41" y="55"/>
                  </a:cubicBezTo>
                  <a:cubicBezTo>
                    <a:pt x="43" y="55"/>
                    <a:pt x="45" y="53"/>
                    <a:pt x="47" y="53"/>
                  </a:cubicBezTo>
                  <a:cubicBezTo>
                    <a:pt x="47" y="53"/>
                    <a:pt x="47" y="53"/>
                    <a:pt x="47" y="53"/>
                  </a:cubicBezTo>
                  <a:cubicBezTo>
                    <a:pt x="49" y="53"/>
                    <a:pt x="52" y="54"/>
                    <a:pt x="53" y="55"/>
                  </a:cubicBezTo>
                  <a:cubicBezTo>
                    <a:pt x="55" y="55"/>
                    <a:pt x="57" y="56"/>
                    <a:pt x="59" y="56"/>
                  </a:cubicBezTo>
                  <a:cubicBezTo>
                    <a:pt x="59" y="56"/>
                    <a:pt x="59" y="56"/>
                    <a:pt x="59" y="56"/>
                  </a:cubicBezTo>
                  <a:cubicBezTo>
                    <a:pt x="61" y="56"/>
                    <a:pt x="64" y="54"/>
                    <a:pt x="66" y="54"/>
                  </a:cubicBezTo>
                  <a:cubicBezTo>
                    <a:pt x="66" y="54"/>
                    <a:pt x="67" y="54"/>
                    <a:pt x="67" y="54"/>
                  </a:cubicBezTo>
                  <a:cubicBezTo>
                    <a:pt x="67" y="54"/>
                    <a:pt x="68" y="54"/>
                    <a:pt x="70" y="54"/>
                  </a:cubicBezTo>
                  <a:cubicBezTo>
                    <a:pt x="71" y="54"/>
                    <a:pt x="72" y="54"/>
                    <a:pt x="73" y="54"/>
                  </a:cubicBezTo>
                  <a:cubicBezTo>
                    <a:pt x="74" y="54"/>
                    <a:pt x="75" y="54"/>
                    <a:pt x="75" y="54"/>
                  </a:cubicBezTo>
                  <a:cubicBezTo>
                    <a:pt x="75" y="54"/>
                    <a:pt x="76" y="54"/>
                    <a:pt x="77" y="54"/>
                  </a:cubicBezTo>
                  <a:cubicBezTo>
                    <a:pt x="78" y="54"/>
                    <a:pt x="80" y="53"/>
                    <a:pt x="82" y="52"/>
                  </a:cubicBezTo>
                  <a:cubicBezTo>
                    <a:pt x="83" y="52"/>
                    <a:pt x="85" y="51"/>
                    <a:pt x="87" y="51"/>
                  </a:cubicBezTo>
                  <a:cubicBezTo>
                    <a:pt x="87" y="51"/>
                    <a:pt x="87" y="51"/>
                    <a:pt x="87" y="51"/>
                  </a:cubicBezTo>
                  <a:cubicBezTo>
                    <a:pt x="86" y="52"/>
                    <a:pt x="83" y="55"/>
                    <a:pt x="83" y="56"/>
                  </a:cubicBezTo>
                  <a:cubicBezTo>
                    <a:pt x="84" y="56"/>
                    <a:pt x="84" y="56"/>
                    <a:pt x="84" y="56"/>
                  </a:cubicBezTo>
                  <a:cubicBezTo>
                    <a:pt x="84" y="56"/>
                    <a:pt x="84" y="56"/>
                    <a:pt x="85" y="56"/>
                  </a:cubicBezTo>
                  <a:cubicBezTo>
                    <a:pt x="85" y="56"/>
                    <a:pt x="85" y="56"/>
                    <a:pt x="85" y="56"/>
                  </a:cubicBezTo>
                  <a:cubicBezTo>
                    <a:pt x="85" y="56"/>
                    <a:pt x="85" y="56"/>
                    <a:pt x="85" y="56"/>
                  </a:cubicBezTo>
                  <a:cubicBezTo>
                    <a:pt x="85" y="56"/>
                    <a:pt x="85" y="56"/>
                    <a:pt x="85" y="56"/>
                  </a:cubicBezTo>
                  <a:cubicBezTo>
                    <a:pt x="86" y="56"/>
                    <a:pt x="86" y="56"/>
                    <a:pt x="86" y="56"/>
                  </a:cubicBezTo>
                  <a:cubicBezTo>
                    <a:pt x="86" y="56"/>
                    <a:pt x="87" y="56"/>
                    <a:pt x="87" y="56"/>
                  </a:cubicBezTo>
                  <a:cubicBezTo>
                    <a:pt x="88" y="56"/>
                    <a:pt x="88" y="56"/>
                    <a:pt x="86" y="58"/>
                  </a:cubicBezTo>
                  <a:cubicBezTo>
                    <a:pt x="87" y="57"/>
                    <a:pt x="87" y="58"/>
                    <a:pt x="88" y="57"/>
                  </a:cubicBezTo>
                  <a:cubicBezTo>
                    <a:pt x="87" y="58"/>
                    <a:pt x="87" y="58"/>
                    <a:pt x="86" y="59"/>
                  </a:cubicBezTo>
                  <a:cubicBezTo>
                    <a:pt x="87" y="59"/>
                    <a:pt x="88" y="59"/>
                    <a:pt x="89" y="59"/>
                  </a:cubicBezTo>
                  <a:cubicBezTo>
                    <a:pt x="89" y="59"/>
                    <a:pt x="89" y="59"/>
                    <a:pt x="89" y="59"/>
                  </a:cubicBezTo>
                  <a:cubicBezTo>
                    <a:pt x="86" y="61"/>
                    <a:pt x="84" y="63"/>
                    <a:pt x="84" y="66"/>
                  </a:cubicBezTo>
                  <a:cubicBezTo>
                    <a:pt x="83" y="65"/>
                    <a:pt x="82" y="64"/>
                    <a:pt x="81" y="63"/>
                  </a:cubicBezTo>
                  <a:cubicBezTo>
                    <a:pt x="81" y="65"/>
                    <a:pt x="80" y="66"/>
                    <a:pt x="80" y="68"/>
                  </a:cubicBezTo>
                  <a:cubicBezTo>
                    <a:pt x="79" y="65"/>
                    <a:pt x="79" y="64"/>
                    <a:pt x="78" y="64"/>
                  </a:cubicBezTo>
                  <a:cubicBezTo>
                    <a:pt x="77" y="64"/>
                    <a:pt x="76" y="65"/>
                    <a:pt x="74" y="66"/>
                  </a:cubicBezTo>
                  <a:cubicBezTo>
                    <a:pt x="73" y="65"/>
                    <a:pt x="73" y="64"/>
                    <a:pt x="73" y="62"/>
                  </a:cubicBezTo>
                  <a:cubicBezTo>
                    <a:pt x="72" y="64"/>
                    <a:pt x="72" y="66"/>
                    <a:pt x="72" y="67"/>
                  </a:cubicBezTo>
                  <a:cubicBezTo>
                    <a:pt x="71" y="67"/>
                    <a:pt x="71" y="67"/>
                    <a:pt x="71" y="67"/>
                  </a:cubicBezTo>
                  <a:cubicBezTo>
                    <a:pt x="71" y="64"/>
                    <a:pt x="72" y="62"/>
                    <a:pt x="68" y="61"/>
                  </a:cubicBezTo>
                  <a:cubicBezTo>
                    <a:pt x="67" y="61"/>
                    <a:pt x="67" y="61"/>
                    <a:pt x="66" y="61"/>
                  </a:cubicBezTo>
                  <a:cubicBezTo>
                    <a:pt x="61" y="61"/>
                    <a:pt x="59" y="65"/>
                    <a:pt x="56" y="68"/>
                  </a:cubicBezTo>
                  <a:cubicBezTo>
                    <a:pt x="54" y="70"/>
                    <a:pt x="54" y="71"/>
                    <a:pt x="52" y="71"/>
                  </a:cubicBezTo>
                  <a:cubicBezTo>
                    <a:pt x="52" y="71"/>
                    <a:pt x="51" y="71"/>
                    <a:pt x="50" y="70"/>
                  </a:cubicBezTo>
                  <a:cubicBezTo>
                    <a:pt x="49" y="70"/>
                    <a:pt x="48" y="69"/>
                    <a:pt x="47" y="68"/>
                  </a:cubicBezTo>
                  <a:cubicBezTo>
                    <a:pt x="47" y="68"/>
                    <a:pt x="47" y="68"/>
                    <a:pt x="47" y="68"/>
                  </a:cubicBezTo>
                  <a:cubicBezTo>
                    <a:pt x="46" y="68"/>
                    <a:pt x="45" y="69"/>
                    <a:pt x="45" y="69"/>
                  </a:cubicBezTo>
                  <a:cubicBezTo>
                    <a:pt x="44" y="69"/>
                    <a:pt x="44" y="69"/>
                    <a:pt x="44" y="69"/>
                  </a:cubicBezTo>
                  <a:cubicBezTo>
                    <a:pt x="44" y="69"/>
                    <a:pt x="44" y="69"/>
                    <a:pt x="44" y="69"/>
                  </a:cubicBezTo>
                  <a:cubicBezTo>
                    <a:pt x="43" y="69"/>
                    <a:pt x="41" y="68"/>
                    <a:pt x="40" y="68"/>
                  </a:cubicBezTo>
                  <a:cubicBezTo>
                    <a:pt x="40" y="67"/>
                    <a:pt x="39" y="67"/>
                    <a:pt x="39" y="67"/>
                  </a:cubicBezTo>
                  <a:cubicBezTo>
                    <a:pt x="38" y="67"/>
                    <a:pt x="37" y="67"/>
                    <a:pt x="36" y="68"/>
                  </a:cubicBezTo>
                  <a:cubicBezTo>
                    <a:pt x="34" y="68"/>
                    <a:pt x="32" y="69"/>
                    <a:pt x="30" y="70"/>
                  </a:cubicBezTo>
                  <a:cubicBezTo>
                    <a:pt x="34" y="74"/>
                    <a:pt x="39" y="74"/>
                    <a:pt x="43" y="77"/>
                  </a:cubicBezTo>
                  <a:cubicBezTo>
                    <a:pt x="47" y="80"/>
                    <a:pt x="49" y="83"/>
                    <a:pt x="52" y="86"/>
                  </a:cubicBezTo>
                  <a:cubicBezTo>
                    <a:pt x="52" y="85"/>
                    <a:pt x="53" y="85"/>
                    <a:pt x="53" y="85"/>
                  </a:cubicBezTo>
                  <a:cubicBezTo>
                    <a:pt x="54" y="85"/>
                    <a:pt x="54" y="85"/>
                    <a:pt x="55" y="86"/>
                  </a:cubicBezTo>
                  <a:cubicBezTo>
                    <a:pt x="55" y="88"/>
                    <a:pt x="58" y="92"/>
                    <a:pt x="58" y="93"/>
                  </a:cubicBezTo>
                  <a:cubicBezTo>
                    <a:pt x="57" y="94"/>
                    <a:pt x="54" y="94"/>
                    <a:pt x="53" y="95"/>
                  </a:cubicBezTo>
                  <a:cubicBezTo>
                    <a:pt x="52" y="97"/>
                    <a:pt x="54" y="103"/>
                    <a:pt x="56" y="106"/>
                  </a:cubicBezTo>
                  <a:cubicBezTo>
                    <a:pt x="57" y="109"/>
                    <a:pt x="57" y="109"/>
                    <a:pt x="57" y="109"/>
                  </a:cubicBezTo>
                  <a:cubicBezTo>
                    <a:pt x="58" y="109"/>
                    <a:pt x="58" y="109"/>
                    <a:pt x="59" y="109"/>
                  </a:cubicBezTo>
                  <a:cubicBezTo>
                    <a:pt x="60" y="109"/>
                    <a:pt x="61" y="108"/>
                    <a:pt x="62" y="108"/>
                  </a:cubicBezTo>
                  <a:cubicBezTo>
                    <a:pt x="62" y="108"/>
                    <a:pt x="62" y="108"/>
                    <a:pt x="63" y="108"/>
                  </a:cubicBezTo>
                  <a:cubicBezTo>
                    <a:pt x="63" y="108"/>
                    <a:pt x="64" y="108"/>
                    <a:pt x="64" y="108"/>
                  </a:cubicBezTo>
                  <a:cubicBezTo>
                    <a:pt x="65" y="108"/>
                    <a:pt x="65" y="108"/>
                    <a:pt x="66" y="108"/>
                  </a:cubicBezTo>
                  <a:cubicBezTo>
                    <a:pt x="66" y="108"/>
                    <a:pt x="66" y="108"/>
                    <a:pt x="66" y="108"/>
                  </a:cubicBezTo>
                  <a:cubicBezTo>
                    <a:pt x="71" y="107"/>
                    <a:pt x="72" y="100"/>
                    <a:pt x="74" y="96"/>
                  </a:cubicBezTo>
                  <a:cubicBezTo>
                    <a:pt x="77" y="89"/>
                    <a:pt x="79" y="80"/>
                    <a:pt x="86" y="76"/>
                  </a:cubicBezTo>
                  <a:cubicBezTo>
                    <a:pt x="85" y="78"/>
                    <a:pt x="84" y="79"/>
                    <a:pt x="83" y="81"/>
                  </a:cubicBezTo>
                  <a:cubicBezTo>
                    <a:pt x="82" y="82"/>
                    <a:pt x="81" y="82"/>
                    <a:pt x="81" y="83"/>
                  </a:cubicBezTo>
                  <a:cubicBezTo>
                    <a:pt x="80" y="85"/>
                    <a:pt x="81" y="86"/>
                    <a:pt x="80" y="89"/>
                  </a:cubicBezTo>
                  <a:cubicBezTo>
                    <a:pt x="80" y="90"/>
                    <a:pt x="79" y="90"/>
                    <a:pt x="79" y="91"/>
                  </a:cubicBezTo>
                  <a:cubicBezTo>
                    <a:pt x="79" y="94"/>
                    <a:pt x="79" y="95"/>
                    <a:pt x="80" y="95"/>
                  </a:cubicBezTo>
                  <a:cubicBezTo>
                    <a:pt x="80" y="95"/>
                    <a:pt x="81" y="95"/>
                    <a:pt x="82" y="95"/>
                  </a:cubicBezTo>
                  <a:cubicBezTo>
                    <a:pt x="82" y="94"/>
                    <a:pt x="83" y="94"/>
                    <a:pt x="83" y="94"/>
                  </a:cubicBezTo>
                  <a:cubicBezTo>
                    <a:pt x="84" y="94"/>
                    <a:pt x="84" y="94"/>
                    <a:pt x="84" y="94"/>
                  </a:cubicBezTo>
                  <a:cubicBezTo>
                    <a:pt x="87" y="95"/>
                    <a:pt x="86" y="101"/>
                    <a:pt x="89" y="101"/>
                  </a:cubicBezTo>
                  <a:cubicBezTo>
                    <a:pt x="89" y="101"/>
                    <a:pt x="90" y="101"/>
                    <a:pt x="90" y="101"/>
                  </a:cubicBezTo>
                  <a:cubicBezTo>
                    <a:pt x="92" y="101"/>
                    <a:pt x="93" y="101"/>
                    <a:pt x="93" y="99"/>
                  </a:cubicBezTo>
                  <a:cubicBezTo>
                    <a:pt x="95" y="101"/>
                    <a:pt x="96" y="104"/>
                    <a:pt x="98" y="106"/>
                  </a:cubicBezTo>
                  <a:cubicBezTo>
                    <a:pt x="99" y="105"/>
                    <a:pt x="100" y="104"/>
                    <a:pt x="99" y="102"/>
                  </a:cubicBezTo>
                  <a:cubicBezTo>
                    <a:pt x="101" y="103"/>
                    <a:pt x="104" y="105"/>
                    <a:pt x="107" y="105"/>
                  </a:cubicBezTo>
                  <a:cubicBezTo>
                    <a:pt x="107" y="105"/>
                    <a:pt x="107" y="105"/>
                    <a:pt x="107" y="105"/>
                  </a:cubicBezTo>
                  <a:cubicBezTo>
                    <a:pt x="108" y="105"/>
                    <a:pt x="108" y="103"/>
                    <a:pt x="109" y="103"/>
                  </a:cubicBezTo>
                  <a:cubicBezTo>
                    <a:pt x="109" y="103"/>
                    <a:pt x="110" y="103"/>
                    <a:pt x="110" y="103"/>
                  </a:cubicBezTo>
                  <a:cubicBezTo>
                    <a:pt x="112" y="103"/>
                    <a:pt x="115" y="104"/>
                    <a:pt x="116" y="104"/>
                  </a:cubicBezTo>
                  <a:cubicBezTo>
                    <a:pt x="115" y="104"/>
                    <a:pt x="114" y="104"/>
                    <a:pt x="113" y="104"/>
                  </a:cubicBezTo>
                  <a:cubicBezTo>
                    <a:pt x="113" y="104"/>
                    <a:pt x="112" y="104"/>
                    <a:pt x="112" y="104"/>
                  </a:cubicBezTo>
                  <a:cubicBezTo>
                    <a:pt x="112" y="104"/>
                    <a:pt x="111" y="104"/>
                    <a:pt x="111" y="104"/>
                  </a:cubicBezTo>
                  <a:cubicBezTo>
                    <a:pt x="110" y="104"/>
                    <a:pt x="109" y="105"/>
                    <a:pt x="108" y="108"/>
                  </a:cubicBezTo>
                  <a:cubicBezTo>
                    <a:pt x="107" y="112"/>
                    <a:pt x="133" y="119"/>
                    <a:pt x="134" y="120"/>
                  </a:cubicBezTo>
                  <a:cubicBezTo>
                    <a:pt x="152" y="125"/>
                    <a:pt x="170" y="131"/>
                    <a:pt x="187" y="136"/>
                  </a:cubicBezTo>
                  <a:cubicBezTo>
                    <a:pt x="195" y="139"/>
                    <a:pt x="201" y="143"/>
                    <a:pt x="206" y="148"/>
                  </a:cubicBezTo>
                  <a:cubicBezTo>
                    <a:pt x="206" y="148"/>
                    <a:pt x="206" y="148"/>
                    <a:pt x="206" y="148"/>
                  </a:cubicBezTo>
                  <a:cubicBezTo>
                    <a:pt x="207" y="147"/>
                    <a:pt x="207" y="148"/>
                    <a:pt x="207" y="147"/>
                  </a:cubicBezTo>
                  <a:cubicBezTo>
                    <a:pt x="207" y="149"/>
                    <a:pt x="205" y="156"/>
                    <a:pt x="209" y="156"/>
                  </a:cubicBezTo>
                  <a:cubicBezTo>
                    <a:pt x="209" y="156"/>
                    <a:pt x="209" y="156"/>
                    <a:pt x="209" y="156"/>
                  </a:cubicBezTo>
                  <a:cubicBezTo>
                    <a:pt x="211" y="155"/>
                    <a:pt x="213" y="155"/>
                    <a:pt x="215" y="154"/>
                  </a:cubicBezTo>
                  <a:cubicBezTo>
                    <a:pt x="214" y="155"/>
                    <a:pt x="212" y="156"/>
                    <a:pt x="210" y="157"/>
                  </a:cubicBezTo>
                  <a:cubicBezTo>
                    <a:pt x="212" y="158"/>
                    <a:pt x="214" y="159"/>
                    <a:pt x="216" y="159"/>
                  </a:cubicBezTo>
                  <a:cubicBezTo>
                    <a:pt x="216" y="159"/>
                    <a:pt x="217" y="159"/>
                    <a:pt x="217" y="159"/>
                  </a:cubicBezTo>
                  <a:cubicBezTo>
                    <a:pt x="210" y="162"/>
                    <a:pt x="214" y="164"/>
                    <a:pt x="217" y="170"/>
                  </a:cubicBezTo>
                  <a:cubicBezTo>
                    <a:pt x="219" y="176"/>
                    <a:pt x="224" y="180"/>
                    <a:pt x="229" y="184"/>
                  </a:cubicBezTo>
                  <a:cubicBezTo>
                    <a:pt x="228" y="184"/>
                    <a:pt x="226" y="184"/>
                    <a:pt x="225" y="184"/>
                  </a:cubicBezTo>
                  <a:cubicBezTo>
                    <a:pt x="225" y="184"/>
                    <a:pt x="225" y="184"/>
                    <a:pt x="225" y="184"/>
                  </a:cubicBezTo>
                  <a:cubicBezTo>
                    <a:pt x="225" y="184"/>
                    <a:pt x="229" y="187"/>
                    <a:pt x="233" y="189"/>
                  </a:cubicBezTo>
                  <a:cubicBezTo>
                    <a:pt x="232" y="189"/>
                    <a:pt x="232" y="189"/>
                    <a:pt x="231" y="189"/>
                  </a:cubicBezTo>
                  <a:cubicBezTo>
                    <a:pt x="230" y="189"/>
                    <a:pt x="229" y="189"/>
                    <a:pt x="228" y="189"/>
                  </a:cubicBezTo>
                  <a:cubicBezTo>
                    <a:pt x="227" y="189"/>
                    <a:pt x="223" y="189"/>
                    <a:pt x="222" y="190"/>
                  </a:cubicBezTo>
                  <a:cubicBezTo>
                    <a:pt x="220" y="191"/>
                    <a:pt x="223" y="192"/>
                    <a:pt x="224" y="193"/>
                  </a:cubicBezTo>
                  <a:cubicBezTo>
                    <a:pt x="229" y="195"/>
                    <a:pt x="234" y="197"/>
                    <a:pt x="240" y="200"/>
                  </a:cubicBezTo>
                  <a:cubicBezTo>
                    <a:pt x="239" y="200"/>
                    <a:pt x="238" y="200"/>
                    <a:pt x="237" y="200"/>
                  </a:cubicBezTo>
                  <a:cubicBezTo>
                    <a:pt x="236" y="200"/>
                    <a:pt x="235" y="200"/>
                    <a:pt x="233" y="199"/>
                  </a:cubicBezTo>
                  <a:cubicBezTo>
                    <a:pt x="232" y="199"/>
                    <a:pt x="231" y="199"/>
                    <a:pt x="229" y="199"/>
                  </a:cubicBezTo>
                  <a:cubicBezTo>
                    <a:pt x="228" y="199"/>
                    <a:pt x="228" y="199"/>
                    <a:pt x="227" y="199"/>
                  </a:cubicBezTo>
                  <a:cubicBezTo>
                    <a:pt x="227" y="199"/>
                    <a:pt x="227" y="199"/>
                    <a:pt x="227" y="199"/>
                  </a:cubicBezTo>
                  <a:cubicBezTo>
                    <a:pt x="227" y="199"/>
                    <a:pt x="226" y="199"/>
                    <a:pt x="226" y="199"/>
                  </a:cubicBezTo>
                  <a:cubicBezTo>
                    <a:pt x="226" y="199"/>
                    <a:pt x="225" y="199"/>
                    <a:pt x="225" y="199"/>
                  </a:cubicBezTo>
                  <a:cubicBezTo>
                    <a:pt x="225" y="199"/>
                    <a:pt x="225" y="199"/>
                    <a:pt x="225" y="199"/>
                  </a:cubicBezTo>
                  <a:cubicBezTo>
                    <a:pt x="224" y="200"/>
                    <a:pt x="228" y="204"/>
                    <a:pt x="229" y="205"/>
                  </a:cubicBezTo>
                  <a:cubicBezTo>
                    <a:pt x="231" y="206"/>
                    <a:pt x="233" y="208"/>
                    <a:pt x="234" y="209"/>
                  </a:cubicBezTo>
                  <a:cubicBezTo>
                    <a:pt x="235" y="210"/>
                    <a:pt x="236" y="209"/>
                    <a:pt x="236" y="210"/>
                  </a:cubicBezTo>
                  <a:cubicBezTo>
                    <a:pt x="236" y="211"/>
                    <a:pt x="234" y="217"/>
                    <a:pt x="234" y="218"/>
                  </a:cubicBezTo>
                  <a:cubicBezTo>
                    <a:pt x="233" y="220"/>
                    <a:pt x="232" y="219"/>
                    <a:pt x="232" y="221"/>
                  </a:cubicBezTo>
                  <a:cubicBezTo>
                    <a:pt x="231" y="222"/>
                    <a:pt x="232" y="224"/>
                    <a:pt x="232" y="225"/>
                  </a:cubicBezTo>
                  <a:cubicBezTo>
                    <a:pt x="231" y="226"/>
                    <a:pt x="230" y="225"/>
                    <a:pt x="230" y="227"/>
                  </a:cubicBezTo>
                  <a:cubicBezTo>
                    <a:pt x="230" y="228"/>
                    <a:pt x="231" y="230"/>
                    <a:pt x="232" y="231"/>
                  </a:cubicBezTo>
                  <a:cubicBezTo>
                    <a:pt x="233" y="229"/>
                    <a:pt x="235" y="228"/>
                    <a:pt x="237" y="227"/>
                  </a:cubicBezTo>
                  <a:cubicBezTo>
                    <a:pt x="237" y="226"/>
                    <a:pt x="240" y="226"/>
                    <a:pt x="241" y="225"/>
                  </a:cubicBezTo>
                  <a:cubicBezTo>
                    <a:pt x="241" y="224"/>
                    <a:pt x="240" y="222"/>
                    <a:pt x="240" y="222"/>
                  </a:cubicBezTo>
                  <a:cubicBezTo>
                    <a:pt x="240" y="221"/>
                    <a:pt x="241" y="221"/>
                    <a:pt x="241" y="221"/>
                  </a:cubicBezTo>
                  <a:cubicBezTo>
                    <a:pt x="242" y="221"/>
                    <a:pt x="241" y="226"/>
                    <a:pt x="242" y="226"/>
                  </a:cubicBezTo>
                  <a:cubicBezTo>
                    <a:pt x="243" y="228"/>
                    <a:pt x="244" y="228"/>
                    <a:pt x="245" y="228"/>
                  </a:cubicBezTo>
                  <a:cubicBezTo>
                    <a:pt x="248" y="228"/>
                    <a:pt x="252" y="226"/>
                    <a:pt x="254" y="226"/>
                  </a:cubicBezTo>
                  <a:cubicBezTo>
                    <a:pt x="255" y="226"/>
                    <a:pt x="255" y="226"/>
                    <a:pt x="256" y="226"/>
                  </a:cubicBezTo>
                  <a:cubicBezTo>
                    <a:pt x="256" y="226"/>
                    <a:pt x="257" y="226"/>
                    <a:pt x="257" y="226"/>
                  </a:cubicBezTo>
                  <a:cubicBezTo>
                    <a:pt x="258" y="226"/>
                    <a:pt x="259" y="226"/>
                    <a:pt x="259" y="226"/>
                  </a:cubicBezTo>
                  <a:cubicBezTo>
                    <a:pt x="260" y="226"/>
                    <a:pt x="262" y="226"/>
                    <a:pt x="263" y="225"/>
                  </a:cubicBezTo>
                  <a:cubicBezTo>
                    <a:pt x="265" y="224"/>
                    <a:pt x="264" y="220"/>
                    <a:pt x="266" y="220"/>
                  </a:cubicBezTo>
                  <a:cubicBezTo>
                    <a:pt x="264" y="222"/>
                    <a:pt x="266" y="222"/>
                    <a:pt x="265" y="224"/>
                  </a:cubicBezTo>
                  <a:cubicBezTo>
                    <a:pt x="265" y="225"/>
                    <a:pt x="263" y="225"/>
                    <a:pt x="263" y="226"/>
                  </a:cubicBezTo>
                  <a:cubicBezTo>
                    <a:pt x="262" y="229"/>
                    <a:pt x="269" y="233"/>
                    <a:pt x="271" y="235"/>
                  </a:cubicBezTo>
                  <a:cubicBezTo>
                    <a:pt x="277" y="241"/>
                    <a:pt x="283" y="246"/>
                    <a:pt x="289" y="252"/>
                  </a:cubicBezTo>
                  <a:cubicBezTo>
                    <a:pt x="289" y="192"/>
                    <a:pt x="289" y="192"/>
                    <a:pt x="289" y="192"/>
                  </a:cubicBezTo>
                  <a:cubicBezTo>
                    <a:pt x="288" y="192"/>
                    <a:pt x="288" y="192"/>
                    <a:pt x="288" y="192"/>
                  </a:cubicBezTo>
                  <a:cubicBezTo>
                    <a:pt x="288" y="191"/>
                    <a:pt x="287" y="191"/>
                    <a:pt x="287" y="190"/>
                  </a:cubicBezTo>
                  <a:cubicBezTo>
                    <a:pt x="286" y="189"/>
                    <a:pt x="286" y="188"/>
                    <a:pt x="286" y="187"/>
                  </a:cubicBezTo>
                  <a:cubicBezTo>
                    <a:pt x="288" y="158"/>
                    <a:pt x="288" y="158"/>
                    <a:pt x="288" y="158"/>
                  </a:cubicBezTo>
                  <a:cubicBezTo>
                    <a:pt x="288" y="153"/>
                    <a:pt x="289" y="148"/>
                    <a:pt x="289" y="143"/>
                  </a:cubicBezTo>
                  <a:cubicBezTo>
                    <a:pt x="289" y="139"/>
                    <a:pt x="289" y="139"/>
                    <a:pt x="289" y="139"/>
                  </a:cubicBezTo>
                  <a:cubicBezTo>
                    <a:pt x="289" y="137"/>
                    <a:pt x="289" y="136"/>
                    <a:pt x="289" y="135"/>
                  </a:cubicBezTo>
                  <a:cubicBezTo>
                    <a:pt x="289" y="131"/>
                    <a:pt x="289" y="131"/>
                    <a:pt x="289" y="131"/>
                  </a:cubicBezTo>
                  <a:cubicBezTo>
                    <a:pt x="289" y="118"/>
                    <a:pt x="289" y="103"/>
                    <a:pt x="289" y="91"/>
                  </a:cubicBezTo>
                  <a:cubicBezTo>
                    <a:pt x="289" y="82"/>
                    <a:pt x="289" y="74"/>
                    <a:pt x="289" y="65"/>
                  </a:cubicBezTo>
                  <a:cubicBezTo>
                    <a:pt x="287" y="65"/>
                    <a:pt x="286" y="65"/>
                    <a:pt x="285" y="66"/>
                  </a:cubicBezTo>
                  <a:cubicBezTo>
                    <a:pt x="284" y="65"/>
                    <a:pt x="283" y="61"/>
                    <a:pt x="282" y="61"/>
                  </a:cubicBezTo>
                  <a:cubicBezTo>
                    <a:pt x="278" y="60"/>
                    <a:pt x="273" y="59"/>
                    <a:pt x="269" y="59"/>
                  </a:cubicBezTo>
                  <a:cubicBezTo>
                    <a:pt x="268" y="58"/>
                    <a:pt x="267" y="58"/>
                    <a:pt x="266" y="58"/>
                  </a:cubicBezTo>
                  <a:cubicBezTo>
                    <a:pt x="265" y="58"/>
                    <a:pt x="264" y="58"/>
                    <a:pt x="263" y="58"/>
                  </a:cubicBezTo>
                  <a:cubicBezTo>
                    <a:pt x="262" y="59"/>
                    <a:pt x="261" y="59"/>
                    <a:pt x="260" y="59"/>
                  </a:cubicBezTo>
                  <a:cubicBezTo>
                    <a:pt x="260" y="59"/>
                    <a:pt x="259" y="59"/>
                    <a:pt x="258" y="58"/>
                  </a:cubicBezTo>
                  <a:cubicBezTo>
                    <a:pt x="255" y="58"/>
                    <a:pt x="253" y="56"/>
                    <a:pt x="250" y="55"/>
                  </a:cubicBezTo>
                  <a:cubicBezTo>
                    <a:pt x="242" y="51"/>
                    <a:pt x="234" y="48"/>
                    <a:pt x="226" y="44"/>
                  </a:cubicBezTo>
                  <a:cubicBezTo>
                    <a:pt x="219" y="40"/>
                    <a:pt x="212" y="37"/>
                    <a:pt x="204" y="34"/>
                  </a:cubicBezTo>
                  <a:cubicBezTo>
                    <a:pt x="204" y="33"/>
                    <a:pt x="203" y="33"/>
                    <a:pt x="202" y="33"/>
                  </a:cubicBezTo>
                  <a:cubicBezTo>
                    <a:pt x="199" y="33"/>
                    <a:pt x="197" y="34"/>
                    <a:pt x="195" y="35"/>
                  </a:cubicBezTo>
                  <a:cubicBezTo>
                    <a:pt x="191" y="36"/>
                    <a:pt x="188" y="38"/>
                    <a:pt x="185" y="40"/>
                  </a:cubicBezTo>
                  <a:cubicBezTo>
                    <a:pt x="183" y="41"/>
                    <a:pt x="180" y="41"/>
                    <a:pt x="180" y="43"/>
                  </a:cubicBezTo>
                  <a:cubicBezTo>
                    <a:pt x="181" y="45"/>
                    <a:pt x="182" y="46"/>
                    <a:pt x="182" y="48"/>
                  </a:cubicBezTo>
                  <a:cubicBezTo>
                    <a:pt x="183" y="49"/>
                    <a:pt x="183" y="49"/>
                    <a:pt x="183" y="49"/>
                  </a:cubicBezTo>
                  <a:cubicBezTo>
                    <a:pt x="182" y="51"/>
                    <a:pt x="179" y="51"/>
                    <a:pt x="177" y="52"/>
                  </a:cubicBezTo>
                  <a:cubicBezTo>
                    <a:pt x="173" y="53"/>
                    <a:pt x="169" y="55"/>
                    <a:pt x="166" y="55"/>
                  </a:cubicBezTo>
                  <a:cubicBezTo>
                    <a:pt x="165" y="55"/>
                    <a:pt x="165" y="55"/>
                    <a:pt x="165" y="55"/>
                  </a:cubicBezTo>
                  <a:cubicBezTo>
                    <a:pt x="163" y="55"/>
                    <a:pt x="163" y="53"/>
                    <a:pt x="162" y="53"/>
                  </a:cubicBezTo>
                  <a:cubicBezTo>
                    <a:pt x="158" y="53"/>
                    <a:pt x="157" y="57"/>
                    <a:pt x="155" y="60"/>
                  </a:cubicBezTo>
                  <a:cubicBezTo>
                    <a:pt x="152" y="64"/>
                    <a:pt x="147" y="69"/>
                    <a:pt x="145" y="74"/>
                  </a:cubicBezTo>
                  <a:cubicBezTo>
                    <a:pt x="145" y="74"/>
                    <a:pt x="145" y="75"/>
                    <a:pt x="144" y="77"/>
                  </a:cubicBezTo>
                  <a:cubicBezTo>
                    <a:pt x="143" y="78"/>
                    <a:pt x="141" y="78"/>
                    <a:pt x="140" y="79"/>
                  </a:cubicBezTo>
                  <a:cubicBezTo>
                    <a:pt x="139" y="79"/>
                    <a:pt x="141" y="80"/>
                    <a:pt x="139" y="81"/>
                  </a:cubicBezTo>
                  <a:cubicBezTo>
                    <a:pt x="138" y="82"/>
                    <a:pt x="137" y="82"/>
                    <a:pt x="136" y="82"/>
                  </a:cubicBezTo>
                  <a:cubicBezTo>
                    <a:pt x="135" y="83"/>
                    <a:pt x="135" y="85"/>
                    <a:pt x="134" y="86"/>
                  </a:cubicBezTo>
                  <a:cubicBezTo>
                    <a:pt x="132" y="87"/>
                    <a:pt x="130" y="88"/>
                    <a:pt x="127" y="88"/>
                  </a:cubicBezTo>
                  <a:cubicBezTo>
                    <a:pt x="125" y="88"/>
                    <a:pt x="123" y="88"/>
                    <a:pt x="121" y="87"/>
                  </a:cubicBezTo>
                  <a:cubicBezTo>
                    <a:pt x="115" y="86"/>
                    <a:pt x="114" y="81"/>
                    <a:pt x="114" y="74"/>
                  </a:cubicBezTo>
                  <a:cubicBezTo>
                    <a:pt x="112" y="75"/>
                    <a:pt x="111" y="76"/>
                    <a:pt x="111" y="76"/>
                  </a:cubicBezTo>
                  <a:cubicBezTo>
                    <a:pt x="110" y="76"/>
                    <a:pt x="109" y="75"/>
                    <a:pt x="108" y="72"/>
                  </a:cubicBezTo>
                  <a:cubicBezTo>
                    <a:pt x="108" y="71"/>
                    <a:pt x="109" y="65"/>
                    <a:pt x="108" y="64"/>
                  </a:cubicBezTo>
                  <a:cubicBezTo>
                    <a:pt x="107" y="63"/>
                    <a:pt x="106" y="62"/>
                    <a:pt x="106" y="62"/>
                  </a:cubicBezTo>
                  <a:cubicBezTo>
                    <a:pt x="104" y="62"/>
                    <a:pt x="103" y="64"/>
                    <a:pt x="103" y="66"/>
                  </a:cubicBezTo>
                  <a:cubicBezTo>
                    <a:pt x="103" y="68"/>
                    <a:pt x="105" y="71"/>
                    <a:pt x="104" y="72"/>
                  </a:cubicBezTo>
                  <a:cubicBezTo>
                    <a:pt x="104" y="73"/>
                    <a:pt x="104" y="73"/>
                    <a:pt x="103" y="73"/>
                  </a:cubicBezTo>
                  <a:cubicBezTo>
                    <a:pt x="103" y="73"/>
                    <a:pt x="102" y="72"/>
                    <a:pt x="102" y="71"/>
                  </a:cubicBezTo>
                  <a:cubicBezTo>
                    <a:pt x="100" y="65"/>
                    <a:pt x="98" y="60"/>
                    <a:pt x="96" y="54"/>
                  </a:cubicBezTo>
                  <a:cubicBezTo>
                    <a:pt x="94" y="50"/>
                    <a:pt x="92" y="45"/>
                    <a:pt x="92" y="40"/>
                  </a:cubicBezTo>
                  <a:cubicBezTo>
                    <a:pt x="92" y="38"/>
                    <a:pt x="92" y="39"/>
                    <a:pt x="93" y="37"/>
                  </a:cubicBezTo>
                  <a:cubicBezTo>
                    <a:pt x="95" y="35"/>
                    <a:pt x="96" y="34"/>
                    <a:pt x="96" y="31"/>
                  </a:cubicBezTo>
                  <a:cubicBezTo>
                    <a:pt x="96" y="28"/>
                    <a:pt x="97" y="30"/>
                    <a:pt x="96" y="27"/>
                  </a:cubicBezTo>
                  <a:cubicBezTo>
                    <a:pt x="95" y="25"/>
                    <a:pt x="93" y="23"/>
                    <a:pt x="92" y="21"/>
                  </a:cubicBezTo>
                  <a:cubicBezTo>
                    <a:pt x="90" y="18"/>
                    <a:pt x="90" y="15"/>
                    <a:pt x="94" y="15"/>
                  </a:cubicBezTo>
                  <a:cubicBezTo>
                    <a:pt x="94" y="15"/>
                    <a:pt x="94" y="15"/>
                    <a:pt x="94" y="15"/>
                  </a:cubicBezTo>
                  <a:cubicBezTo>
                    <a:pt x="86" y="13"/>
                    <a:pt x="77" y="13"/>
                    <a:pt x="70" y="10"/>
                  </a:cubicBezTo>
                  <a:cubicBezTo>
                    <a:pt x="62" y="6"/>
                    <a:pt x="56" y="1"/>
                    <a:pt x="48" y="0"/>
                  </a:cubicBezTo>
                  <a:cubicBezTo>
                    <a:pt x="47" y="0"/>
                    <a:pt x="46" y="0"/>
                    <a:pt x="4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7" name="Freeform 1515">
              <a:extLst>
                <a:ext uri="{FF2B5EF4-FFF2-40B4-BE49-F238E27FC236}">
                  <a16:creationId xmlns:a16="http://schemas.microsoft.com/office/drawing/2014/main" id="{731A09A1-AEB7-49C4-98E7-0E8353D43F48}"/>
                </a:ext>
              </a:extLst>
            </p:cNvPr>
            <p:cNvSpPr>
              <a:spLocks/>
            </p:cNvSpPr>
            <p:nvPr/>
          </p:nvSpPr>
          <p:spPr bwMode="auto">
            <a:xfrm>
              <a:off x="1155" y="745"/>
              <a:ext cx="694" cy="581"/>
            </a:xfrm>
            <a:custGeom>
              <a:avLst/>
              <a:gdLst>
                <a:gd name="T0" fmla="*/ 206 w 294"/>
                <a:gd name="T1" fmla="*/ 2 h 246"/>
                <a:gd name="T2" fmla="*/ 190 w 294"/>
                <a:gd name="T3" fmla="*/ 40 h 246"/>
                <a:gd name="T4" fmla="*/ 184 w 294"/>
                <a:gd name="T5" fmla="*/ 46 h 246"/>
                <a:gd name="T6" fmla="*/ 188 w 294"/>
                <a:gd name="T7" fmla="*/ 50 h 246"/>
                <a:gd name="T8" fmla="*/ 179 w 294"/>
                <a:gd name="T9" fmla="*/ 59 h 246"/>
                <a:gd name="T10" fmla="*/ 176 w 294"/>
                <a:gd name="T11" fmla="*/ 62 h 246"/>
                <a:gd name="T12" fmla="*/ 173 w 294"/>
                <a:gd name="T13" fmla="*/ 74 h 246"/>
                <a:gd name="T14" fmla="*/ 162 w 294"/>
                <a:gd name="T15" fmla="*/ 87 h 246"/>
                <a:gd name="T16" fmla="*/ 159 w 294"/>
                <a:gd name="T17" fmla="*/ 86 h 246"/>
                <a:gd name="T18" fmla="*/ 153 w 294"/>
                <a:gd name="T19" fmla="*/ 87 h 246"/>
                <a:gd name="T20" fmla="*/ 138 w 294"/>
                <a:gd name="T21" fmla="*/ 92 h 246"/>
                <a:gd name="T22" fmla="*/ 113 w 294"/>
                <a:gd name="T23" fmla="*/ 84 h 246"/>
                <a:gd name="T24" fmla="*/ 99 w 294"/>
                <a:gd name="T25" fmla="*/ 86 h 246"/>
                <a:gd name="T26" fmla="*/ 82 w 294"/>
                <a:gd name="T27" fmla="*/ 99 h 246"/>
                <a:gd name="T28" fmla="*/ 64 w 294"/>
                <a:gd name="T29" fmla="*/ 99 h 246"/>
                <a:gd name="T30" fmla="*/ 48 w 294"/>
                <a:gd name="T31" fmla="*/ 103 h 246"/>
                <a:gd name="T32" fmla="*/ 39 w 294"/>
                <a:gd name="T33" fmla="*/ 97 h 246"/>
                <a:gd name="T34" fmla="*/ 17 w 294"/>
                <a:gd name="T35" fmla="*/ 67 h 246"/>
                <a:gd name="T36" fmla="*/ 1 w 294"/>
                <a:gd name="T37" fmla="*/ 90 h 246"/>
                <a:gd name="T38" fmla="*/ 8 w 294"/>
                <a:gd name="T39" fmla="*/ 120 h 246"/>
                <a:gd name="T40" fmla="*/ 9 w 294"/>
                <a:gd name="T41" fmla="*/ 131 h 246"/>
                <a:gd name="T42" fmla="*/ 14 w 294"/>
                <a:gd name="T43" fmla="*/ 150 h 246"/>
                <a:gd name="T44" fmla="*/ 32 w 294"/>
                <a:gd name="T45" fmla="*/ 175 h 246"/>
                <a:gd name="T46" fmla="*/ 36 w 294"/>
                <a:gd name="T47" fmla="*/ 184 h 246"/>
                <a:gd name="T48" fmla="*/ 48 w 294"/>
                <a:gd name="T49" fmla="*/ 213 h 246"/>
                <a:gd name="T50" fmla="*/ 54 w 294"/>
                <a:gd name="T51" fmla="*/ 213 h 246"/>
                <a:gd name="T52" fmla="*/ 61 w 294"/>
                <a:gd name="T53" fmla="*/ 214 h 246"/>
                <a:gd name="T54" fmla="*/ 75 w 294"/>
                <a:gd name="T55" fmla="*/ 211 h 246"/>
                <a:gd name="T56" fmla="*/ 83 w 294"/>
                <a:gd name="T57" fmla="*/ 205 h 246"/>
                <a:gd name="T58" fmla="*/ 121 w 294"/>
                <a:gd name="T59" fmla="*/ 210 h 246"/>
                <a:gd name="T60" fmla="*/ 137 w 294"/>
                <a:gd name="T61" fmla="*/ 217 h 246"/>
                <a:gd name="T62" fmla="*/ 152 w 294"/>
                <a:gd name="T63" fmla="*/ 218 h 246"/>
                <a:gd name="T64" fmla="*/ 162 w 294"/>
                <a:gd name="T65" fmla="*/ 226 h 246"/>
                <a:gd name="T66" fmla="*/ 167 w 294"/>
                <a:gd name="T67" fmla="*/ 246 h 246"/>
                <a:gd name="T68" fmla="*/ 184 w 294"/>
                <a:gd name="T69" fmla="*/ 238 h 246"/>
                <a:gd name="T70" fmla="*/ 214 w 294"/>
                <a:gd name="T71" fmla="*/ 215 h 246"/>
                <a:gd name="T72" fmla="*/ 215 w 294"/>
                <a:gd name="T73" fmla="*/ 198 h 246"/>
                <a:gd name="T74" fmla="*/ 213 w 294"/>
                <a:gd name="T75" fmla="*/ 176 h 246"/>
                <a:gd name="T76" fmla="*/ 232 w 294"/>
                <a:gd name="T77" fmla="*/ 161 h 246"/>
                <a:gd name="T78" fmla="*/ 254 w 294"/>
                <a:gd name="T79" fmla="*/ 147 h 246"/>
                <a:gd name="T80" fmla="*/ 250 w 294"/>
                <a:gd name="T81" fmla="*/ 125 h 246"/>
                <a:gd name="T82" fmla="*/ 263 w 294"/>
                <a:gd name="T83" fmla="*/ 101 h 246"/>
                <a:gd name="T84" fmla="*/ 262 w 294"/>
                <a:gd name="T85" fmla="*/ 92 h 246"/>
                <a:gd name="T86" fmla="*/ 294 w 294"/>
                <a:gd name="T87" fmla="*/ 94 h 246"/>
                <a:gd name="T88" fmla="*/ 260 w 294"/>
                <a:gd name="T89" fmla="*/ 63 h 246"/>
                <a:gd name="T90" fmla="*/ 253 w 294"/>
                <a:gd name="T91" fmla="*/ 42 h 246"/>
                <a:gd name="T92" fmla="*/ 249 w 294"/>
                <a:gd name="T93" fmla="*/ 34 h 246"/>
                <a:gd name="T94" fmla="*/ 244 w 294"/>
                <a:gd name="T95" fmla="*/ 30 h 246"/>
                <a:gd name="T96" fmla="*/ 246 w 294"/>
                <a:gd name="T97" fmla="*/ 30 h 246"/>
                <a:gd name="T98" fmla="*/ 245 w 294"/>
                <a:gd name="T99" fmla="*/ 24 h 246"/>
                <a:gd name="T100" fmla="*/ 240 w 294"/>
                <a:gd name="T101" fmla="*/ 20 h 246"/>
                <a:gd name="T102" fmla="*/ 246 w 294"/>
                <a:gd name="T103" fmla="*/ 20 h 246"/>
                <a:gd name="T104" fmla="*/ 255 w 294"/>
                <a:gd name="T105" fmla="*/ 12 h 246"/>
                <a:gd name="T106" fmla="*/ 246 w 294"/>
                <a:gd name="T107" fmla="*/ 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4" h="246">
                  <a:moveTo>
                    <a:pt x="224" y="0"/>
                  </a:moveTo>
                  <a:cubicBezTo>
                    <a:pt x="223" y="0"/>
                    <a:pt x="222" y="0"/>
                    <a:pt x="221" y="1"/>
                  </a:cubicBezTo>
                  <a:cubicBezTo>
                    <a:pt x="216" y="1"/>
                    <a:pt x="212" y="2"/>
                    <a:pt x="209" y="2"/>
                  </a:cubicBezTo>
                  <a:cubicBezTo>
                    <a:pt x="207" y="2"/>
                    <a:pt x="207" y="2"/>
                    <a:pt x="206" y="2"/>
                  </a:cubicBezTo>
                  <a:cubicBezTo>
                    <a:pt x="205" y="2"/>
                    <a:pt x="205" y="1"/>
                    <a:pt x="204" y="1"/>
                  </a:cubicBezTo>
                  <a:cubicBezTo>
                    <a:pt x="200" y="5"/>
                    <a:pt x="197" y="10"/>
                    <a:pt x="198" y="13"/>
                  </a:cubicBezTo>
                  <a:cubicBezTo>
                    <a:pt x="199" y="21"/>
                    <a:pt x="199" y="27"/>
                    <a:pt x="197" y="34"/>
                  </a:cubicBezTo>
                  <a:cubicBezTo>
                    <a:pt x="196" y="36"/>
                    <a:pt x="195" y="40"/>
                    <a:pt x="190" y="40"/>
                  </a:cubicBezTo>
                  <a:cubicBezTo>
                    <a:pt x="190" y="40"/>
                    <a:pt x="189" y="40"/>
                    <a:pt x="189" y="40"/>
                  </a:cubicBezTo>
                  <a:cubicBezTo>
                    <a:pt x="189" y="40"/>
                    <a:pt x="189" y="40"/>
                    <a:pt x="189" y="40"/>
                  </a:cubicBezTo>
                  <a:cubicBezTo>
                    <a:pt x="187" y="40"/>
                    <a:pt x="186" y="40"/>
                    <a:pt x="185" y="42"/>
                  </a:cubicBezTo>
                  <a:cubicBezTo>
                    <a:pt x="184" y="43"/>
                    <a:pt x="184" y="44"/>
                    <a:pt x="184" y="46"/>
                  </a:cubicBezTo>
                  <a:cubicBezTo>
                    <a:pt x="185" y="46"/>
                    <a:pt x="186" y="47"/>
                    <a:pt x="187" y="48"/>
                  </a:cubicBezTo>
                  <a:cubicBezTo>
                    <a:pt x="190" y="47"/>
                    <a:pt x="190" y="47"/>
                    <a:pt x="190" y="47"/>
                  </a:cubicBezTo>
                  <a:cubicBezTo>
                    <a:pt x="187" y="49"/>
                    <a:pt x="187" y="49"/>
                    <a:pt x="187" y="49"/>
                  </a:cubicBezTo>
                  <a:cubicBezTo>
                    <a:pt x="188" y="50"/>
                    <a:pt x="188" y="50"/>
                    <a:pt x="188" y="50"/>
                  </a:cubicBezTo>
                  <a:cubicBezTo>
                    <a:pt x="189" y="52"/>
                    <a:pt x="189" y="52"/>
                    <a:pt x="189" y="52"/>
                  </a:cubicBezTo>
                  <a:cubicBezTo>
                    <a:pt x="187" y="54"/>
                    <a:pt x="187" y="54"/>
                    <a:pt x="187" y="54"/>
                  </a:cubicBezTo>
                  <a:cubicBezTo>
                    <a:pt x="185" y="55"/>
                    <a:pt x="183" y="56"/>
                    <a:pt x="181" y="58"/>
                  </a:cubicBezTo>
                  <a:cubicBezTo>
                    <a:pt x="180" y="58"/>
                    <a:pt x="179" y="58"/>
                    <a:pt x="179" y="59"/>
                  </a:cubicBezTo>
                  <a:cubicBezTo>
                    <a:pt x="179" y="59"/>
                    <a:pt x="178" y="59"/>
                    <a:pt x="177" y="60"/>
                  </a:cubicBezTo>
                  <a:cubicBezTo>
                    <a:pt x="177" y="60"/>
                    <a:pt x="177" y="60"/>
                    <a:pt x="177" y="60"/>
                  </a:cubicBezTo>
                  <a:cubicBezTo>
                    <a:pt x="176" y="60"/>
                    <a:pt x="176" y="61"/>
                    <a:pt x="176" y="61"/>
                  </a:cubicBezTo>
                  <a:cubicBezTo>
                    <a:pt x="176" y="61"/>
                    <a:pt x="176" y="62"/>
                    <a:pt x="176" y="62"/>
                  </a:cubicBezTo>
                  <a:cubicBezTo>
                    <a:pt x="176" y="63"/>
                    <a:pt x="177" y="64"/>
                    <a:pt x="177" y="64"/>
                  </a:cubicBezTo>
                  <a:cubicBezTo>
                    <a:pt x="177" y="66"/>
                    <a:pt x="178" y="68"/>
                    <a:pt x="177" y="70"/>
                  </a:cubicBezTo>
                  <a:cubicBezTo>
                    <a:pt x="176" y="72"/>
                    <a:pt x="174" y="73"/>
                    <a:pt x="173" y="74"/>
                  </a:cubicBezTo>
                  <a:cubicBezTo>
                    <a:pt x="173" y="74"/>
                    <a:pt x="173" y="74"/>
                    <a:pt x="173" y="74"/>
                  </a:cubicBezTo>
                  <a:cubicBezTo>
                    <a:pt x="172" y="74"/>
                    <a:pt x="172" y="75"/>
                    <a:pt x="172" y="75"/>
                  </a:cubicBezTo>
                  <a:cubicBezTo>
                    <a:pt x="172" y="75"/>
                    <a:pt x="171" y="76"/>
                    <a:pt x="171" y="77"/>
                  </a:cubicBezTo>
                  <a:cubicBezTo>
                    <a:pt x="170" y="81"/>
                    <a:pt x="170" y="81"/>
                    <a:pt x="170" y="81"/>
                  </a:cubicBezTo>
                  <a:cubicBezTo>
                    <a:pt x="168" y="85"/>
                    <a:pt x="166" y="86"/>
                    <a:pt x="162" y="87"/>
                  </a:cubicBezTo>
                  <a:cubicBezTo>
                    <a:pt x="162" y="87"/>
                    <a:pt x="162" y="87"/>
                    <a:pt x="161" y="87"/>
                  </a:cubicBezTo>
                  <a:cubicBezTo>
                    <a:pt x="161" y="87"/>
                    <a:pt x="160" y="87"/>
                    <a:pt x="160" y="86"/>
                  </a:cubicBezTo>
                  <a:cubicBezTo>
                    <a:pt x="159" y="85"/>
                    <a:pt x="159" y="85"/>
                    <a:pt x="159" y="85"/>
                  </a:cubicBezTo>
                  <a:cubicBezTo>
                    <a:pt x="159" y="86"/>
                    <a:pt x="159" y="86"/>
                    <a:pt x="159" y="86"/>
                  </a:cubicBezTo>
                  <a:cubicBezTo>
                    <a:pt x="159" y="86"/>
                    <a:pt x="158" y="86"/>
                    <a:pt x="158" y="86"/>
                  </a:cubicBezTo>
                  <a:cubicBezTo>
                    <a:pt x="158" y="86"/>
                    <a:pt x="157" y="86"/>
                    <a:pt x="157" y="87"/>
                  </a:cubicBezTo>
                  <a:cubicBezTo>
                    <a:pt x="156" y="87"/>
                    <a:pt x="156" y="87"/>
                    <a:pt x="156" y="87"/>
                  </a:cubicBezTo>
                  <a:cubicBezTo>
                    <a:pt x="153" y="87"/>
                    <a:pt x="153" y="87"/>
                    <a:pt x="153" y="87"/>
                  </a:cubicBezTo>
                  <a:cubicBezTo>
                    <a:pt x="149" y="88"/>
                    <a:pt x="147" y="88"/>
                    <a:pt x="144" y="90"/>
                  </a:cubicBezTo>
                  <a:cubicBezTo>
                    <a:pt x="144" y="90"/>
                    <a:pt x="144" y="90"/>
                    <a:pt x="144" y="90"/>
                  </a:cubicBezTo>
                  <a:cubicBezTo>
                    <a:pt x="143" y="90"/>
                    <a:pt x="142" y="91"/>
                    <a:pt x="141" y="92"/>
                  </a:cubicBezTo>
                  <a:cubicBezTo>
                    <a:pt x="140" y="92"/>
                    <a:pt x="139" y="92"/>
                    <a:pt x="138" y="92"/>
                  </a:cubicBezTo>
                  <a:cubicBezTo>
                    <a:pt x="134" y="92"/>
                    <a:pt x="130" y="90"/>
                    <a:pt x="126" y="88"/>
                  </a:cubicBezTo>
                  <a:cubicBezTo>
                    <a:pt x="125" y="88"/>
                    <a:pt x="125" y="88"/>
                    <a:pt x="125" y="88"/>
                  </a:cubicBezTo>
                  <a:cubicBezTo>
                    <a:pt x="123" y="87"/>
                    <a:pt x="121" y="86"/>
                    <a:pt x="119" y="86"/>
                  </a:cubicBezTo>
                  <a:cubicBezTo>
                    <a:pt x="113" y="84"/>
                    <a:pt x="113" y="84"/>
                    <a:pt x="113" y="84"/>
                  </a:cubicBezTo>
                  <a:cubicBezTo>
                    <a:pt x="113" y="83"/>
                    <a:pt x="113" y="83"/>
                    <a:pt x="113" y="83"/>
                  </a:cubicBezTo>
                  <a:cubicBezTo>
                    <a:pt x="111" y="84"/>
                    <a:pt x="108" y="84"/>
                    <a:pt x="103" y="85"/>
                  </a:cubicBezTo>
                  <a:cubicBezTo>
                    <a:pt x="100" y="86"/>
                    <a:pt x="100" y="86"/>
                    <a:pt x="100" y="86"/>
                  </a:cubicBezTo>
                  <a:cubicBezTo>
                    <a:pt x="100" y="86"/>
                    <a:pt x="100" y="86"/>
                    <a:pt x="99" y="86"/>
                  </a:cubicBezTo>
                  <a:cubicBezTo>
                    <a:pt x="99" y="86"/>
                    <a:pt x="99" y="87"/>
                    <a:pt x="99" y="88"/>
                  </a:cubicBezTo>
                  <a:cubicBezTo>
                    <a:pt x="99" y="88"/>
                    <a:pt x="99" y="88"/>
                    <a:pt x="99" y="88"/>
                  </a:cubicBezTo>
                  <a:cubicBezTo>
                    <a:pt x="99" y="88"/>
                    <a:pt x="98" y="90"/>
                    <a:pt x="98" y="91"/>
                  </a:cubicBezTo>
                  <a:cubicBezTo>
                    <a:pt x="95" y="95"/>
                    <a:pt x="87" y="99"/>
                    <a:pt x="82" y="99"/>
                  </a:cubicBezTo>
                  <a:cubicBezTo>
                    <a:pt x="82" y="99"/>
                    <a:pt x="81" y="99"/>
                    <a:pt x="81" y="99"/>
                  </a:cubicBezTo>
                  <a:cubicBezTo>
                    <a:pt x="80" y="98"/>
                    <a:pt x="78" y="98"/>
                    <a:pt x="77" y="98"/>
                  </a:cubicBezTo>
                  <a:cubicBezTo>
                    <a:pt x="74" y="98"/>
                    <a:pt x="72" y="97"/>
                    <a:pt x="70" y="97"/>
                  </a:cubicBezTo>
                  <a:cubicBezTo>
                    <a:pt x="68" y="97"/>
                    <a:pt x="66" y="98"/>
                    <a:pt x="64" y="99"/>
                  </a:cubicBezTo>
                  <a:cubicBezTo>
                    <a:pt x="64" y="99"/>
                    <a:pt x="63" y="99"/>
                    <a:pt x="62" y="100"/>
                  </a:cubicBezTo>
                  <a:cubicBezTo>
                    <a:pt x="61" y="100"/>
                    <a:pt x="61" y="100"/>
                    <a:pt x="61" y="100"/>
                  </a:cubicBezTo>
                  <a:cubicBezTo>
                    <a:pt x="58" y="102"/>
                    <a:pt x="54" y="103"/>
                    <a:pt x="50" y="103"/>
                  </a:cubicBezTo>
                  <a:cubicBezTo>
                    <a:pt x="49" y="103"/>
                    <a:pt x="48" y="103"/>
                    <a:pt x="48" y="103"/>
                  </a:cubicBezTo>
                  <a:cubicBezTo>
                    <a:pt x="45" y="103"/>
                    <a:pt x="43" y="101"/>
                    <a:pt x="41" y="99"/>
                  </a:cubicBezTo>
                  <a:cubicBezTo>
                    <a:pt x="41" y="98"/>
                    <a:pt x="41" y="98"/>
                    <a:pt x="41" y="98"/>
                  </a:cubicBezTo>
                  <a:cubicBezTo>
                    <a:pt x="40" y="98"/>
                    <a:pt x="40" y="98"/>
                    <a:pt x="40" y="98"/>
                  </a:cubicBezTo>
                  <a:cubicBezTo>
                    <a:pt x="39" y="97"/>
                    <a:pt x="39" y="97"/>
                    <a:pt x="39" y="97"/>
                  </a:cubicBezTo>
                  <a:cubicBezTo>
                    <a:pt x="36" y="94"/>
                    <a:pt x="33" y="92"/>
                    <a:pt x="30" y="89"/>
                  </a:cubicBezTo>
                  <a:cubicBezTo>
                    <a:pt x="28" y="88"/>
                    <a:pt x="28" y="88"/>
                    <a:pt x="28" y="88"/>
                  </a:cubicBezTo>
                  <a:cubicBezTo>
                    <a:pt x="24" y="84"/>
                    <a:pt x="18" y="79"/>
                    <a:pt x="17" y="73"/>
                  </a:cubicBezTo>
                  <a:cubicBezTo>
                    <a:pt x="16" y="70"/>
                    <a:pt x="17" y="68"/>
                    <a:pt x="17" y="67"/>
                  </a:cubicBezTo>
                  <a:cubicBezTo>
                    <a:pt x="15" y="68"/>
                    <a:pt x="13" y="69"/>
                    <a:pt x="12" y="71"/>
                  </a:cubicBezTo>
                  <a:cubicBezTo>
                    <a:pt x="7" y="78"/>
                    <a:pt x="5" y="79"/>
                    <a:pt x="7" y="87"/>
                  </a:cubicBezTo>
                  <a:cubicBezTo>
                    <a:pt x="5" y="88"/>
                    <a:pt x="4" y="90"/>
                    <a:pt x="1" y="90"/>
                  </a:cubicBezTo>
                  <a:cubicBezTo>
                    <a:pt x="1" y="90"/>
                    <a:pt x="1" y="90"/>
                    <a:pt x="1" y="90"/>
                  </a:cubicBezTo>
                  <a:cubicBezTo>
                    <a:pt x="1" y="92"/>
                    <a:pt x="3" y="95"/>
                    <a:pt x="3" y="96"/>
                  </a:cubicBezTo>
                  <a:cubicBezTo>
                    <a:pt x="0" y="100"/>
                    <a:pt x="0" y="101"/>
                    <a:pt x="1" y="105"/>
                  </a:cubicBezTo>
                  <a:cubicBezTo>
                    <a:pt x="1" y="107"/>
                    <a:pt x="0" y="115"/>
                    <a:pt x="1" y="115"/>
                  </a:cubicBezTo>
                  <a:cubicBezTo>
                    <a:pt x="4" y="117"/>
                    <a:pt x="6" y="117"/>
                    <a:pt x="8" y="120"/>
                  </a:cubicBezTo>
                  <a:cubicBezTo>
                    <a:pt x="9" y="122"/>
                    <a:pt x="10" y="123"/>
                    <a:pt x="12" y="124"/>
                  </a:cubicBezTo>
                  <a:cubicBezTo>
                    <a:pt x="10" y="124"/>
                    <a:pt x="9" y="124"/>
                    <a:pt x="9" y="124"/>
                  </a:cubicBezTo>
                  <a:cubicBezTo>
                    <a:pt x="8" y="124"/>
                    <a:pt x="8" y="125"/>
                    <a:pt x="8" y="127"/>
                  </a:cubicBezTo>
                  <a:cubicBezTo>
                    <a:pt x="8" y="128"/>
                    <a:pt x="9" y="130"/>
                    <a:pt x="9" y="131"/>
                  </a:cubicBezTo>
                  <a:cubicBezTo>
                    <a:pt x="8" y="131"/>
                    <a:pt x="7" y="131"/>
                    <a:pt x="7" y="131"/>
                  </a:cubicBezTo>
                  <a:cubicBezTo>
                    <a:pt x="4" y="131"/>
                    <a:pt x="6" y="135"/>
                    <a:pt x="7" y="138"/>
                  </a:cubicBezTo>
                  <a:cubicBezTo>
                    <a:pt x="8" y="141"/>
                    <a:pt x="9" y="145"/>
                    <a:pt x="11" y="148"/>
                  </a:cubicBezTo>
                  <a:cubicBezTo>
                    <a:pt x="12" y="149"/>
                    <a:pt x="11" y="149"/>
                    <a:pt x="14" y="150"/>
                  </a:cubicBezTo>
                  <a:cubicBezTo>
                    <a:pt x="16" y="151"/>
                    <a:pt x="19" y="152"/>
                    <a:pt x="21" y="152"/>
                  </a:cubicBezTo>
                  <a:cubicBezTo>
                    <a:pt x="23" y="152"/>
                    <a:pt x="25" y="152"/>
                    <a:pt x="26" y="150"/>
                  </a:cubicBezTo>
                  <a:cubicBezTo>
                    <a:pt x="29" y="155"/>
                    <a:pt x="35" y="161"/>
                    <a:pt x="34" y="167"/>
                  </a:cubicBezTo>
                  <a:cubicBezTo>
                    <a:pt x="33" y="170"/>
                    <a:pt x="33" y="173"/>
                    <a:pt x="32" y="175"/>
                  </a:cubicBezTo>
                  <a:cubicBezTo>
                    <a:pt x="32" y="175"/>
                    <a:pt x="31" y="175"/>
                    <a:pt x="31" y="176"/>
                  </a:cubicBezTo>
                  <a:cubicBezTo>
                    <a:pt x="31" y="176"/>
                    <a:pt x="29" y="176"/>
                    <a:pt x="30" y="177"/>
                  </a:cubicBezTo>
                  <a:cubicBezTo>
                    <a:pt x="31" y="179"/>
                    <a:pt x="33" y="179"/>
                    <a:pt x="34" y="180"/>
                  </a:cubicBezTo>
                  <a:cubicBezTo>
                    <a:pt x="35" y="181"/>
                    <a:pt x="36" y="183"/>
                    <a:pt x="36" y="184"/>
                  </a:cubicBezTo>
                  <a:cubicBezTo>
                    <a:pt x="37" y="188"/>
                    <a:pt x="39" y="191"/>
                    <a:pt x="39" y="195"/>
                  </a:cubicBezTo>
                  <a:cubicBezTo>
                    <a:pt x="40" y="199"/>
                    <a:pt x="38" y="198"/>
                    <a:pt x="37" y="200"/>
                  </a:cubicBezTo>
                  <a:cubicBezTo>
                    <a:pt x="37" y="203"/>
                    <a:pt x="39" y="207"/>
                    <a:pt x="39" y="209"/>
                  </a:cubicBezTo>
                  <a:cubicBezTo>
                    <a:pt x="41" y="214"/>
                    <a:pt x="43" y="212"/>
                    <a:pt x="48" y="213"/>
                  </a:cubicBezTo>
                  <a:cubicBezTo>
                    <a:pt x="49" y="213"/>
                    <a:pt x="51" y="214"/>
                    <a:pt x="51" y="214"/>
                  </a:cubicBezTo>
                  <a:cubicBezTo>
                    <a:pt x="51" y="214"/>
                    <a:pt x="51" y="214"/>
                    <a:pt x="51" y="214"/>
                  </a:cubicBezTo>
                  <a:cubicBezTo>
                    <a:pt x="52" y="214"/>
                    <a:pt x="53" y="213"/>
                    <a:pt x="55" y="212"/>
                  </a:cubicBezTo>
                  <a:cubicBezTo>
                    <a:pt x="54" y="213"/>
                    <a:pt x="54" y="213"/>
                    <a:pt x="54" y="213"/>
                  </a:cubicBezTo>
                  <a:cubicBezTo>
                    <a:pt x="54" y="213"/>
                    <a:pt x="55" y="213"/>
                    <a:pt x="55" y="213"/>
                  </a:cubicBezTo>
                  <a:cubicBezTo>
                    <a:pt x="56" y="213"/>
                    <a:pt x="57" y="213"/>
                    <a:pt x="58" y="213"/>
                  </a:cubicBezTo>
                  <a:cubicBezTo>
                    <a:pt x="59" y="214"/>
                    <a:pt x="60" y="214"/>
                    <a:pt x="61" y="214"/>
                  </a:cubicBezTo>
                  <a:cubicBezTo>
                    <a:pt x="61" y="214"/>
                    <a:pt x="61" y="214"/>
                    <a:pt x="61" y="214"/>
                  </a:cubicBezTo>
                  <a:cubicBezTo>
                    <a:pt x="63" y="214"/>
                    <a:pt x="65" y="213"/>
                    <a:pt x="66" y="212"/>
                  </a:cubicBezTo>
                  <a:cubicBezTo>
                    <a:pt x="68" y="211"/>
                    <a:pt x="70" y="210"/>
                    <a:pt x="72" y="210"/>
                  </a:cubicBezTo>
                  <a:cubicBezTo>
                    <a:pt x="72" y="210"/>
                    <a:pt x="72" y="210"/>
                    <a:pt x="72" y="210"/>
                  </a:cubicBezTo>
                  <a:cubicBezTo>
                    <a:pt x="73" y="210"/>
                    <a:pt x="74" y="210"/>
                    <a:pt x="75" y="211"/>
                  </a:cubicBezTo>
                  <a:cubicBezTo>
                    <a:pt x="76" y="211"/>
                    <a:pt x="77" y="212"/>
                    <a:pt x="78" y="212"/>
                  </a:cubicBezTo>
                  <a:cubicBezTo>
                    <a:pt x="78" y="212"/>
                    <a:pt x="78" y="212"/>
                    <a:pt x="78" y="212"/>
                  </a:cubicBezTo>
                  <a:cubicBezTo>
                    <a:pt x="79" y="212"/>
                    <a:pt x="79" y="211"/>
                    <a:pt x="81" y="211"/>
                  </a:cubicBezTo>
                  <a:cubicBezTo>
                    <a:pt x="82" y="210"/>
                    <a:pt x="82" y="207"/>
                    <a:pt x="83" y="205"/>
                  </a:cubicBezTo>
                  <a:cubicBezTo>
                    <a:pt x="83" y="208"/>
                    <a:pt x="85" y="210"/>
                    <a:pt x="86" y="214"/>
                  </a:cubicBezTo>
                  <a:cubicBezTo>
                    <a:pt x="86" y="218"/>
                    <a:pt x="86" y="224"/>
                    <a:pt x="86" y="228"/>
                  </a:cubicBezTo>
                  <a:cubicBezTo>
                    <a:pt x="91" y="225"/>
                    <a:pt x="95" y="221"/>
                    <a:pt x="101" y="221"/>
                  </a:cubicBezTo>
                  <a:cubicBezTo>
                    <a:pt x="111" y="220"/>
                    <a:pt x="119" y="221"/>
                    <a:pt x="121" y="210"/>
                  </a:cubicBezTo>
                  <a:cubicBezTo>
                    <a:pt x="121" y="212"/>
                    <a:pt x="122" y="213"/>
                    <a:pt x="124" y="214"/>
                  </a:cubicBezTo>
                  <a:cubicBezTo>
                    <a:pt x="126" y="215"/>
                    <a:pt x="128" y="219"/>
                    <a:pt x="131" y="219"/>
                  </a:cubicBezTo>
                  <a:cubicBezTo>
                    <a:pt x="131" y="219"/>
                    <a:pt x="131" y="219"/>
                    <a:pt x="131" y="219"/>
                  </a:cubicBezTo>
                  <a:cubicBezTo>
                    <a:pt x="133" y="219"/>
                    <a:pt x="136" y="217"/>
                    <a:pt x="137" y="217"/>
                  </a:cubicBezTo>
                  <a:cubicBezTo>
                    <a:pt x="138" y="221"/>
                    <a:pt x="137" y="225"/>
                    <a:pt x="142" y="225"/>
                  </a:cubicBezTo>
                  <a:cubicBezTo>
                    <a:pt x="142" y="225"/>
                    <a:pt x="142" y="225"/>
                    <a:pt x="142" y="225"/>
                  </a:cubicBezTo>
                  <a:cubicBezTo>
                    <a:pt x="143" y="225"/>
                    <a:pt x="144" y="225"/>
                    <a:pt x="146" y="224"/>
                  </a:cubicBezTo>
                  <a:cubicBezTo>
                    <a:pt x="149" y="223"/>
                    <a:pt x="150" y="221"/>
                    <a:pt x="152" y="218"/>
                  </a:cubicBezTo>
                  <a:cubicBezTo>
                    <a:pt x="152" y="220"/>
                    <a:pt x="154" y="221"/>
                    <a:pt x="155" y="223"/>
                  </a:cubicBezTo>
                  <a:cubicBezTo>
                    <a:pt x="156" y="221"/>
                    <a:pt x="157" y="220"/>
                    <a:pt x="159" y="218"/>
                  </a:cubicBezTo>
                  <a:cubicBezTo>
                    <a:pt x="157" y="220"/>
                    <a:pt x="157" y="222"/>
                    <a:pt x="157" y="224"/>
                  </a:cubicBezTo>
                  <a:cubicBezTo>
                    <a:pt x="158" y="225"/>
                    <a:pt x="161" y="226"/>
                    <a:pt x="162" y="226"/>
                  </a:cubicBezTo>
                  <a:cubicBezTo>
                    <a:pt x="162" y="226"/>
                    <a:pt x="162" y="226"/>
                    <a:pt x="162" y="226"/>
                  </a:cubicBezTo>
                  <a:cubicBezTo>
                    <a:pt x="163" y="226"/>
                    <a:pt x="163" y="224"/>
                    <a:pt x="163" y="223"/>
                  </a:cubicBezTo>
                  <a:cubicBezTo>
                    <a:pt x="165" y="225"/>
                    <a:pt x="164" y="230"/>
                    <a:pt x="165" y="233"/>
                  </a:cubicBezTo>
                  <a:cubicBezTo>
                    <a:pt x="165" y="235"/>
                    <a:pt x="165" y="245"/>
                    <a:pt x="167" y="246"/>
                  </a:cubicBezTo>
                  <a:cubicBezTo>
                    <a:pt x="167" y="246"/>
                    <a:pt x="168" y="246"/>
                    <a:pt x="168" y="246"/>
                  </a:cubicBezTo>
                  <a:cubicBezTo>
                    <a:pt x="169" y="246"/>
                    <a:pt x="170" y="245"/>
                    <a:pt x="171" y="245"/>
                  </a:cubicBezTo>
                  <a:cubicBezTo>
                    <a:pt x="173" y="244"/>
                    <a:pt x="175" y="242"/>
                    <a:pt x="177" y="241"/>
                  </a:cubicBezTo>
                  <a:cubicBezTo>
                    <a:pt x="179" y="240"/>
                    <a:pt x="181" y="239"/>
                    <a:pt x="184" y="238"/>
                  </a:cubicBezTo>
                  <a:cubicBezTo>
                    <a:pt x="186" y="237"/>
                    <a:pt x="189" y="237"/>
                    <a:pt x="192" y="235"/>
                  </a:cubicBezTo>
                  <a:cubicBezTo>
                    <a:pt x="195" y="234"/>
                    <a:pt x="203" y="232"/>
                    <a:pt x="206" y="229"/>
                  </a:cubicBezTo>
                  <a:cubicBezTo>
                    <a:pt x="208" y="227"/>
                    <a:pt x="208" y="221"/>
                    <a:pt x="210" y="219"/>
                  </a:cubicBezTo>
                  <a:cubicBezTo>
                    <a:pt x="212" y="217"/>
                    <a:pt x="214" y="217"/>
                    <a:pt x="214" y="215"/>
                  </a:cubicBezTo>
                  <a:cubicBezTo>
                    <a:pt x="214" y="213"/>
                    <a:pt x="212" y="210"/>
                    <a:pt x="211" y="208"/>
                  </a:cubicBezTo>
                  <a:cubicBezTo>
                    <a:pt x="212" y="209"/>
                    <a:pt x="213" y="209"/>
                    <a:pt x="214" y="209"/>
                  </a:cubicBezTo>
                  <a:cubicBezTo>
                    <a:pt x="215" y="209"/>
                    <a:pt x="216" y="209"/>
                    <a:pt x="217" y="207"/>
                  </a:cubicBezTo>
                  <a:cubicBezTo>
                    <a:pt x="218" y="205"/>
                    <a:pt x="217" y="199"/>
                    <a:pt x="215" y="198"/>
                  </a:cubicBezTo>
                  <a:cubicBezTo>
                    <a:pt x="218" y="198"/>
                    <a:pt x="219" y="196"/>
                    <a:pt x="221" y="195"/>
                  </a:cubicBezTo>
                  <a:cubicBezTo>
                    <a:pt x="227" y="190"/>
                    <a:pt x="219" y="190"/>
                    <a:pt x="215" y="187"/>
                  </a:cubicBezTo>
                  <a:cubicBezTo>
                    <a:pt x="216" y="186"/>
                    <a:pt x="219" y="186"/>
                    <a:pt x="219" y="183"/>
                  </a:cubicBezTo>
                  <a:cubicBezTo>
                    <a:pt x="220" y="175"/>
                    <a:pt x="219" y="176"/>
                    <a:pt x="213" y="176"/>
                  </a:cubicBezTo>
                  <a:cubicBezTo>
                    <a:pt x="215" y="176"/>
                    <a:pt x="216" y="174"/>
                    <a:pt x="218" y="173"/>
                  </a:cubicBezTo>
                  <a:cubicBezTo>
                    <a:pt x="220" y="172"/>
                    <a:pt x="221" y="172"/>
                    <a:pt x="223" y="170"/>
                  </a:cubicBezTo>
                  <a:cubicBezTo>
                    <a:pt x="228" y="166"/>
                    <a:pt x="229" y="163"/>
                    <a:pt x="228" y="157"/>
                  </a:cubicBezTo>
                  <a:cubicBezTo>
                    <a:pt x="229" y="159"/>
                    <a:pt x="230" y="161"/>
                    <a:pt x="232" y="161"/>
                  </a:cubicBezTo>
                  <a:cubicBezTo>
                    <a:pt x="232" y="161"/>
                    <a:pt x="233" y="161"/>
                    <a:pt x="234" y="161"/>
                  </a:cubicBezTo>
                  <a:cubicBezTo>
                    <a:pt x="238" y="159"/>
                    <a:pt x="241" y="152"/>
                    <a:pt x="244" y="148"/>
                  </a:cubicBezTo>
                  <a:cubicBezTo>
                    <a:pt x="245" y="149"/>
                    <a:pt x="245" y="149"/>
                    <a:pt x="246" y="149"/>
                  </a:cubicBezTo>
                  <a:cubicBezTo>
                    <a:pt x="249" y="149"/>
                    <a:pt x="252" y="147"/>
                    <a:pt x="254" y="147"/>
                  </a:cubicBezTo>
                  <a:cubicBezTo>
                    <a:pt x="249" y="145"/>
                    <a:pt x="256" y="138"/>
                    <a:pt x="254" y="137"/>
                  </a:cubicBezTo>
                  <a:cubicBezTo>
                    <a:pt x="254" y="137"/>
                    <a:pt x="254" y="137"/>
                    <a:pt x="253" y="137"/>
                  </a:cubicBezTo>
                  <a:cubicBezTo>
                    <a:pt x="252" y="137"/>
                    <a:pt x="249" y="139"/>
                    <a:pt x="249" y="140"/>
                  </a:cubicBezTo>
                  <a:cubicBezTo>
                    <a:pt x="249" y="134"/>
                    <a:pt x="249" y="131"/>
                    <a:pt x="250" y="125"/>
                  </a:cubicBezTo>
                  <a:cubicBezTo>
                    <a:pt x="250" y="120"/>
                    <a:pt x="251" y="114"/>
                    <a:pt x="254" y="110"/>
                  </a:cubicBezTo>
                  <a:cubicBezTo>
                    <a:pt x="255" y="108"/>
                    <a:pt x="257" y="102"/>
                    <a:pt x="260" y="101"/>
                  </a:cubicBezTo>
                  <a:cubicBezTo>
                    <a:pt x="260" y="101"/>
                    <a:pt x="261" y="101"/>
                    <a:pt x="261" y="101"/>
                  </a:cubicBezTo>
                  <a:cubicBezTo>
                    <a:pt x="262" y="101"/>
                    <a:pt x="262" y="101"/>
                    <a:pt x="263" y="101"/>
                  </a:cubicBezTo>
                  <a:cubicBezTo>
                    <a:pt x="264" y="101"/>
                    <a:pt x="264" y="101"/>
                    <a:pt x="265" y="101"/>
                  </a:cubicBezTo>
                  <a:cubicBezTo>
                    <a:pt x="265" y="101"/>
                    <a:pt x="265" y="101"/>
                    <a:pt x="265" y="101"/>
                  </a:cubicBezTo>
                  <a:cubicBezTo>
                    <a:pt x="266" y="100"/>
                    <a:pt x="265" y="100"/>
                    <a:pt x="265" y="99"/>
                  </a:cubicBezTo>
                  <a:cubicBezTo>
                    <a:pt x="264" y="96"/>
                    <a:pt x="262" y="94"/>
                    <a:pt x="262" y="92"/>
                  </a:cubicBezTo>
                  <a:cubicBezTo>
                    <a:pt x="266" y="94"/>
                    <a:pt x="265" y="98"/>
                    <a:pt x="270" y="99"/>
                  </a:cubicBezTo>
                  <a:cubicBezTo>
                    <a:pt x="273" y="100"/>
                    <a:pt x="276" y="100"/>
                    <a:pt x="279" y="100"/>
                  </a:cubicBezTo>
                  <a:cubicBezTo>
                    <a:pt x="281" y="100"/>
                    <a:pt x="283" y="101"/>
                    <a:pt x="285" y="101"/>
                  </a:cubicBezTo>
                  <a:cubicBezTo>
                    <a:pt x="289" y="101"/>
                    <a:pt x="291" y="100"/>
                    <a:pt x="294" y="94"/>
                  </a:cubicBezTo>
                  <a:cubicBezTo>
                    <a:pt x="291" y="93"/>
                    <a:pt x="289" y="92"/>
                    <a:pt x="287" y="91"/>
                  </a:cubicBezTo>
                  <a:cubicBezTo>
                    <a:pt x="277" y="83"/>
                    <a:pt x="266" y="75"/>
                    <a:pt x="257" y="65"/>
                  </a:cubicBezTo>
                  <a:cubicBezTo>
                    <a:pt x="258" y="65"/>
                    <a:pt x="258" y="66"/>
                    <a:pt x="259" y="66"/>
                  </a:cubicBezTo>
                  <a:cubicBezTo>
                    <a:pt x="260" y="66"/>
                    <a:pt x="261" y="65"/>
                    <a:pt x="260" y="63"/>
                  </a:cubicBezTo>
                  <a:cubicBezTo>
                    <a:pt x="260" y="64"/>
                    <a:pt x="261" y="64"/>
                    <a:pt x="261" y="64"/>
                  </a:cubicBezTo>
                  <a:cubicBezTo>
                    <a:pt x="263" y="64"/>
                    <a:pt x="264" y="62"/>
                    <a:pt x="264" y="61"/>
                  </a:cubicBezTo>
                  <a:cubicBezTo>
                    <a:pt x="266" y="56"/>
                    <a:pt x="263" y="52"/>
                    <a:pt x="259" y="49"/>
                  </a:cubicBezTo>
                  <a:cubicBezTo>
                    <a:pt x="259" y="48"/>
                    <a:pt x="253" y="44"/>
                    <a:pt x="253" y="42"/>
                  </a:cubicBezTo>
                  <a:cubicBezTo>
                    <a:pt x="256" y="40"/>
                    <a:pt x="256" y="40"/>
                    <a:pt x="256" y="40"/>
                  </a:cubicBezTo>
                  <a:cubicBezTo>
                    <a:pt x="255" y="40"/>
                    <a:pt x="253" y="40"/>
                    <a:pt x="251" y="40"/>
                  </a:cubicBezTo>
                  <a:cubicBezTo>
                    <a:pt x="253" y="39"/>
                    <a:pt x="253" y="37"/>
                    <a:pt x="253" y="35"/>
                  </a:cubicBezTo>
                  <a:cubicBezTo>
                    <a:pt x="252" y="35"/>
                    <a:pt x="250" y="34"/>
                    <a:pt x="249" y="34"/>
                  </a:cubicBezTo>
                  <a:cubicBezTo>
                    <a:pt x="248" y="33"/>
                    <a:pt x="243" y="31"/>
                    <a:pt x="243" y="30"/>
                  </a:cubicBezTo>
                  <a:cubicBezTo>
                    <a:pt x="243" y="30"/>
                    <a:pt x="243" y="30"/>
                    <a:pt x="243" y="30"/>
                  </a:cubicBezTo>
                  <a:cubicBezTo>
                    <a:pt x="244" y="30"/>
                    <a:pt x="244" y="30"/>
                    <a:pt x="244" y="30"/>
                  </a:cubicBezTo>
                  <a:cubicBezTo>
                    <a:pt x="244" y="30"/>
                    <a:pt x="244" y="30"/>
                    <a:pt x="244" y="30"/>
                  </a:cubicBezTo>
                  <a:cubicBezTo>
                    <a:pt x="244" y="30"/>
                    <a:pt x="244" y="30"/>
                    <a:pt x="244" y="30"/>
                  </a:cubicBezTo>
                  <a:cubicBezTo>
                    <a:pt x="244" y="31"/>
                    <a:pt x="244" y="31"/>
                    <a:pt x="244" y="31"/>
                  </a:cubicBezTo>
                  <a:cubicBezTo>
                    <a:pt x="245" y="31"/>
                    <a:pt x="245" y="30"/>
                    <a:pt x="245" y="30"/>
                  </a:cubicBezTo>
                  <a:cubicBezTo>
                    <a:pt x="246" y="30"/>
                    <a:pt x="246" y="30"/>
                    <a:pt x="246" y="30"/>
                  </a:cubicBezTo>
                  <a:cubicBezTo>
                    <a:pt x="246" y="30"/>
                    <a:pt x="246" y="30"/>
                    <a:pt x="246" y="30"/>
                  </a:cubicBezTo>
                  <a:cubicBezTo>
                    <a:pt x="247" y="29"/>
                    <a:pt x="248" y="26"/>
                    <a:pt x="248" y="25"/>
                  </a:cubicBezTo>
                  <a:cubicBezTo>
                    <a:pt x="248" y="25"/>
                    <a:pt x="248" y="25"/>
                    <a:pt x="248" y="25"/>
                  </a:cubicBezTo>
                  <a:cubicBezTo>
                    <a:pt x="247" y="25"/>
                    <a:pt x="246" y="25"/>
                    <a:pt x="245" y="24"/>
                  </a:cubicBezTo>
                  <a:cubicBezTo>
                    <a:pt x="245" y="24"/>
                    <a:pt x="244" y="23"/>
                    <a:pt x="244" y="23"/>
                  </a:cubicBezTo>
                  <a:cubicBezTo>
                    <a:pt x="244" y="22"/>
                    <a:pt x="243" y="22"/>
                    <a:pt x="243" y="22"/>
                  </a:cubicBezTo>
                  <a:cubicBezTo>
                    <a:pt x="243" y="22"/>
                    <a:pt x="244" y="22"/>
                    <a:pt x="244" y="23"/>
                  </a:cubicBezTo>
                  <a:cubicBezTo>
                    <a:pt x="242" y="21"/>
                    <a:pt x="242" y="21"/>
                    <a:pt x="240" y="20"/>
                  </a:cubicBezTo>
                  <a:cubicBezTo>
                    <a:pt x="241" y="20"/>
                    <a:pt x="241" y="20"/>
                    <a:pt x="241" y="20"/>
                  </a:cubicBezTo>
                  <a:cubicBezTo>
                    <a:pt x="241" y="20"/>
                    <a:pt x="241" y="20"/>
                    <a:pt x="241" y="20"/>
                  </a:cubicBezTo>
                  <a:cubicBezTo>
                    <a:pt x="242" y="20"/>
                    <a:pt x="243" y="20"/>
                    <a:pt x="244" y="20"/>
                  </a:cubicBezTo>
                  <a:cubicBezTo>
                    <a:pt x="245" y="20"/>
                    <a:pt x="246" y="20"/>
                    <a:pt x="246" y="20"/>
                  </a:cubicBezTo>
                  <a:cubicBezTo>
                    <a:pt x="247" y="20"/>
                    <a:pt x="249" y="20"/>
                    <a:pt x="250" y="20"/>
                  </a:cubicBezTo>
                  <a:cubicBezTo>
                    <a:pt x="252" y="20"/>
                    <a:pt x="250" y="16"/>
                    <a:pt x="249" y="15"/>
                  </a:cubicBezTo>
                  <a:cubicBezTo>
                    <a:pt x="252" y="16"/>
                    <a:pt x="256" y="17"/>
                    <a:pt x="260" y="17"/>
                  </a:cubicBezTo>
                  <a:cubicBezTo>
                    <a:pt x="258" y="16"/>
                    <a:pt x="258" y="13"/>
                    <a:pt x="255" y="12"/>
                  </a:cubicBezTo>
                  <a:cubicBezTo>
                    <a:pt x="256" y="11"/>
                    <a:pt x="252" y="7"/>
                    <a:pt x="250" y="7"/>
                  </a:cubicBezTo>
                  <a:cubicBezTo>
                    <a:pt x="249" y="7"/>
                    <a:pt x="249" y="7"/>
                    <a:pt x="249" y="7"/>
                  </a:cubicBezTo>
                  <a:cubicBezTo>
                    <a:pt x="249" y="7"/>
                    <a:pt x="249" y="6"/>
                    <a:pt x="249" y="6"/>
                  </a:cubicBezTo>
                  <a:cubicBezTo>
                    <a:pt x="248" y="6"/>
                    <a:pt x="247" y="5"/>
                    <a:pt x="246" y="5"/>
                  </a:cubicBezTo>
                  <a:cubicBezTo>
                    <a:pt x="239" y="3"/>
                    <a:pt x="230" y="0"/>
                    <a:pt x="2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8" name="Freeform 1516">
              <a:extLst>
                <a:ext uri="{FF2B5EF4-FFF2-40B4-BE49-F238E27FC236}">
                  <a16:creationId xmlns:a16="http://schemas.microsoft.com/office/drawing/2014/main" id="{EE76FD0D-BD9B-445B-B8FF-B9E160BCB0F1}"/>
                </a:ext>
              </a:extLst>
            </p:cNvPr>
            <p:cNvSpPr>
              <a:spLocks noEditPoints="1"/>
            </p:cNvSpPr>
            <p:nvPr/>
          </p:nvSpPr>
          <p:spPr bwMode="auto">
            <a:xfrm>
              <a:off x="1592" y="556"/>
              <a:ext cx="276" cy="194"/>
            </a:xfrm>
            <a:custGeom>
              <a:avLst/>
              <a:gdLst>
                <a:gd name="T0" fmla="*/ 94 w 117"/>
                <a:gd name="T1" fmla="*/ 72 h 82"/>
                <a:gd name="T2" fmla="*/ 94 w 117"/>
                <a:gd name="T3" fmla="*/ 72 h 82"/>
                <a:gd name="T4" fmla="*/ 39 w 117"/>
                <a:gd name="T5" fmla="*/ 11 h 82"/>
                <a:gd name="T6" fmla="*/ 16 w 117"/>
                <a:gd name="T7" fmla="*/ 44 h 82"/>
                <a:gd name="T8" fmla="*/ 7 w 117"/>
                <a:gd name="T9" fmla="*/ 44 h 82"/>
                <a:gd name="T10" fmla="*/ 4 w 117"/>
                <a:gd name="T11" fmla="*/ 50 h 82"/>
                <a:gd name="T12" fmla="*/ 5 w 117"/>
                <a:gd name="T13" fmla="*/ 58 h 82"/>
                <a:gd name="T14" fmla="*/ 3 w 117"/>
                <a:gd name="T15" fmla="*/ 68 h 82"/>
                <a:gd name="T16" fmla="*/ 6 w 117"/>
                <a:gd name="T17" fmla="*/ 77 h 82"/>
                <a:gd name="T18" fmla="*/ 16 w 117"/>
                <a:gd name="T19" fmla="*/ 74 h 82"/>
                <a:gd name="T20" fmla="*/ 21 w 117"/>
                <a:gd name="T21" fmla="*/ 74 h 82"/>
                <a:gd name="T22" fmla="*/ 23 w 117"/>
                <a:gd name="T23" fmla="*/ 75 h 82"/>
                <a:gd name="T24" fmla="*/ 35 w 117"/>
                <a:gd name="T25" fmla="*/ 73 h 82"/>
                <a:gd name="T26" fmla="*/ 39 w 117"/>
                <a:gd name="T27" fmla="*/ 73 h 82"/>
                <a:gd name="T28" fmla="*/ 69 w 117"/>
                <a:gd name="T29" fmla="*/ 80 h 82"/>
                <a:gd name="T30" fmla="*/ 76 w 117"/>
                <a:gd name="T31" fmla="*/ 79 h 82"/>
                <a:gd name="T32" fmla="*/ 98 w 117"/>
                <a:gd name="T33" fmla="*/ 75 h 82"/>
                <a:gd name="T34" fmla="*/ 95 w 117"/>
                <a:gd name="T35" fmla="*/ 74 h 82"/>
                <a:gd name="T36" fmla="*/ 94 w 117"/>
                <a:gd name="T37" fmla="*/ 74 h 82"/>
                <a:gd name="T38" fmla="*/ 91 w 117"/>
                <a:gd name="T39" fmla="*/ 71 h 82"/>
                <a:gd name="T40" fmla="*/ 90 w 117"/>
                <a:gd name="T41" fmla="*/ 59 h 82"/>
                <a:gd name="T42" fmla="*/ 95 w 117"/>
                <a:gd name="T43" fmla="*/ 61 h 82"/>
                <a:gd name="T44" fmla="*/ 110 w 117"/>
                <a:gd name="T45" fmla="*/ 54 h 82"/>
                <a:gd name="T46" fmla="*/ 115 w 117"/>
                <a:gd name="T47" fmla="*/ 48 h 82"/>
                <a:gd name="T48" fmla="*/ 107 w 117"/>
                <a:gd name="T49" fmla="*/ 48 h 82"/>
                <a:gd name="T50" fmla="*/ 96 w 117"/>
                <a:gd name="T51" fmla="*/ 44 h 82"/>
                <a:gd name="T52" fmla="*/ 86 w 117"/>
                <a:gd name="T53" fmla="*/ 36 h 82"/>
                <a:gd name="T54" fmla="*/ 80 w 117"/>
                <a:gd name="T55" fmla="*/ 39 h 82"/>
                <a:gd name="T56" fmla="*/ 78 w 117"/>
                <a:gd name="T57" fmla="*/ 36 h 82"/>
                <a:gd name="T58" fmla="*/ 81 w 117"/>
                <a:gd name="T59" fmla="*/ 36 h 82"/>
                <a:gd name="T60" fmla="*/ 79 w 117"/>
                <a:gd name="T61" fmla="*/ 29 h 82"/>
                <a:gd name="T62" fmla="*/ 77 w 117"/>
                <a:gd name="T63" fmla="*/ 31 h 82"/>
                <a:gd name="T64" fmla="*/ 68 w 117"/>
                <a:gd name="T65" fmla="*/ 32 h 82"/>
                <a:gd name="T66" fmla="*/ 69 w 117"/>
                <a:gd name="T67" fmla="*/ 26 h 82"/>
                <a:gd name="T68" fmla="*/ 72 w 117"/>
                <a:gd name="T69" fmla="*/ 21 h 82"/>
                <a:gd name="T70" fmla="*/ 62 w 117"/>
                <a:gd name="T71" fmla="*/ 12 h 82"/>
                <a:gd name="T72" fmla="*/ 53 w 117"/>
                <a:gd name="T73" fmla="*/ 1 h 82"/>
                <a:gd name="T74" fmla="*/ 44 w 117"/>
                <a:gd name="T75" fmla="*/ 13 h 82"/>
                <a:gd name="T76" fmla="*/ 44 w 117"/>
                <a:gd name="T7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7" h="82">
                  <a:moveTo>
                    <a:pt x="94" y="72"/>
                  </a:moveTo>
                  <a:cubicBezTo>
                    <a:pt x="94" y="72"/>
                    <a:pt x="94" y="72"/>
                    <a:pt x="94" y="72"/>
                  </a:cubicBezTo>
                  <a:cubicBezTo>
                    <a:pt x="94" y="72"/>
                    <a:pt x="94" y="72"/>
                    <a:pt x="94" y="72"/>
                  </a:cubicBezTo>
                  <a:cubicBezTo>
                    <a:pt x="94" y="72"/>
                    <a:pt x="94" y="72"/>
                    <a:pt x="94" y="72"/>
                  </a:cubicBezTo>
                  <a:moveTo>
                    <a:pt x="44" y="0"/>
                  </a:moveTo>
                  <a:cubicBezTo>
                    <a:pt x="42" y="3"/>
                    <a:pt x="42" y="8"/>
                    <a:pt x="39" y="11"/>
                  </a:cubicBezTo>
                  <a:cubicBezTo>
                    <a:pt x="35" y="15"/>
                    <a:pt x="32" y="19"/>
                    <a:pt x="28" y="23"/>
                  </a:cubicBezTo>
                  <a:cubicBezTo>
                    <a:pt x="22" y="29"/>
                    <a:pt x="19" y="37"/>
                    <a:pt x="16" y="44"/>
                  </a:cubicBezTo>
                  <a:cubicBezTo>
                    <a:pt x="13" y="43"/>
                    <a:pt x="12" y="42"/>
                    <a:pt x="11" y="42"/>
                  </a:cubicBezTo>
                  <a:cubicBezTo>
                    <a:pt x="10" y="42"/>
                    <a:pt x="9" y="42"/>
                    <a:pt x="7" y="44"/>
                  </a:cubicBezTo>
                  <a:cubicBezTo>
                    <a:pt x="6" y="46"/>
                    <a:pt x="3" y="47"/>
                    <a:pt x="3" y="50"/>
                  </a:cubicBezTo>
                  <a:cubicBezTo>
                    <a:pt x="4" y="50"/>
                    <a:pt x="4" y="50"/>
                    <a:pt x="4" y="50"/>
                  </a:cubicBezTo>
                  <a:cubicBezTo>
                    <a:pt x="4" y="51"/>
                    <a:pt x="6" y="51"/>
                    <a:pt x="6" y="52"/>
                  </a:cubicBezTo>
                  <a:cubicBezTo>
                    <a:pt x="6" y="54"/>
                    <a:pt x="6" y="56"/>
                    <a:pt x="5" y="58"/>
                  </a:cubicBezTo>
                  <a:cubicBezTo>
                    <a:pt x="5" y="61"/>
                    <a:pt x="3" y="61"/>
                    <a:pt x="0" y="62"/>
                  </a:cubicBezTo>
                  <a:cubicBezTo>
                    <a:pt x="1" y="64"/>
                    <a:pt x="2" y="66"/>
                    <a:pt x="3" y="68"/>
                  </a:cubicBezTo>
                  <a:cubicBezTo>
                    <a:pt x="3" y="69"/>
                    <a:pt x="3" y="69"/>
                    <a:pt x="3" y="69"/>
                  </a:cubicBezTo>
                  <a:cubicBezTo>
                    <a:pt x="4" y="72"/>
                    <a:pt x="5" y="75"/>
                    <a:pt x="6" y="77"/>
                  </a:cubicBezTo>
                  <a:cubicBezTo>
                    <a:pt x="9" y="82"/>
                    <a:pt x="9" y="82"/>
                    <a:pt x="9" y="82"/>
                  </a:cubicBezTo>
                  <a:cubicBezTo>
                    <a:pt x="11" y="79"/>
                    <a:pt x="14" y="77"/>
                    <a:pt x="16" y="74"/>
                  </a:cubicBezTo>
                  <a:cubicBezTo>
                    <a:pt x="20" y="71"/>
                    <a:pt x="20" y="71"/>
                    <a:pt x="20" y="71"/>
                  </a:cubicBezTo>
                  <a:cubicBezTo>
                    <a:pt x="21" y="74"/>
                    <a:pt x="21" y="74"/>
                    <a:pt x="21" y="74"/>
                  </a:cubicBezTo>
                  <a:cubicBezTo>
                    <a:pt x="21" y="74"/>
                    <a:pt x="21" y="74"/>
                    <a:pt x="21" y="74"/>
                  </a:cubicBezTo>
                  <a:cubicBezTo>
                    <a:pt x="22" y="75"/>
                    <a:pt x="22" y="75"/>
                    <a:pt x="23" y="75"/>
                  </a:cubicBezTo>
                  <a:cubicBezTo>
                    <a:pt x="23" y="75"/>
                    <a:pt x="23" y="75"/>
                    <a:pt x="23" y="75"/>
                  </a:cubicBezTo>
                  <a:cubicBezTo>
                    <a:pt x="25" y="74"/>
                    <a:pt x="29" y="74"/>
                    <a:pt x="35" y="73"/>
                  </a:cubicBezTo>
                  <a:cubicBezTo>
                    <a:pt x="35" y="73"/>
                    <a:pt x="35" y="73"/>
                    <a:pt x="35" y="73"/>
                  </a:cubicBezTo>
                  <a:cubicBezTo>
                    <a:pt x="36" y="73"/>
                    <a:pt x="37" y="73"/>
                    <a:pt x="39" y="73"/>
                  </a:cubicBezTo>
                  <a:cubicBezTo>
                    <a:pt x="47" y="73"/>
                    <a:pt x="55" y="76"/>
                    <a:pt x="63" y="78"/>
                  </a:cubicBezTo>
                  <a:cubicBezTo>
                    <a:pt x="65" y="79"/>
                    <a:pt x="67" y="80"/>
                    <a:pt x="69" y="80"/>
                  </a:cubicBezTo>
                  <a:cubicBezTo>
                    <a:pt x="69" y="79"/>
                    <a:pt x="69" y="77"/>
                    <a:pt x="70" y="76"/>
                  </a:cubicBezTo>
                  <a:cubicBezTo>
                    <a:pt x="71" y="78"/>
                    <a:pt x="73" y="79"/>
                    <a:pt x="76" y="79"/>
                  </a:cubicBezTo>
                  <a:cubicBezTo>
                    <a:pt x="77" y="79"/>
                    <a:pt x="80" y="79"/>
                    <a:pt x="83" y="79"/>
                  </a:cubicBezTo>
                  <a:cubicBezTo>
                    <a:pt x="90" y="79"/>
                    <a:pt x="98" y="79"/>
                    <a:pt x="98" y="75"/>
                  </a:cubicBezTo>
                  <a:cubicBezTo>
                    <a:pt x="98" y="74"/>
                    <a:pt x="97" y="74"/>
                    <a:pt x="96" y="74"/>
                  </a:cubicBezTo>
                  <a:cubicBezTo>
                    <a:pt x="96" y="74"/>
                    <a:pt x="95" y="74"/>
                    <a:pt x="95" y="74"/>
                  </a:cubicBezTo>
                  <a:cubicBezTo>
                    <a:pt x="95" y="74"/>
                    <a:pt x="95" y="74"/>
                    <a:pt x="94" y="74"/>
                  </a:cubicBezTo>
                  <a:cubicBezTo>
                    <a:pt x="94" y="74"/>
                    <a:pt x="94" y="74"/>
                    <a:pt x="94" y="74"/>
                  </a:cubicBezTo>
                  <a:cubicBezTo>
                    <a:pt x="94" y="73"/>
                    <a:pt x="94" y="72"/>
                    <a:pt x="94" y="72"/>
                  </a:cubicBezTo>
                  <a:cubicBezTo>
                    <a:pt x="93" y="71"/>
                    <a:pt x="92" y="71"/>
                    <a:pt x="91" y="71"/>
                  </a:cubicBezTo>
                  <a:cubicBezTo>
                    <a:pt x="90" y="70"/>
                    <a:pt x="87" y="68"/>
                    <a:pt x="86" y="66"/>
                  </a:cubicBezTo>
                  <a:cubicBezTo>
                    <a:pt x="84" y="62"/>
                    <a:pt x="87" y="59"/>
                    <a:pt x="90" y="59"/>
                  </a:cubicBezTo>
                  <a:cubicBezTo>
                    <a:pt x="91" y="59"/>
                    <a:pt x="92" y="59"/>
                    <a:pt x="92" y="59"/>
                  </a:cubicBezTo>
                  <a:cubicBezTo>
                    <a:pt x="94" y="60"/>
                    <a:pt x="93" y="61"/>
                    <a:pt x="95" y="61"/>
                  </a:cubicBezTo>
                  <a:cubicBezTo>
                    <a:pt x="95" y="61"/>
                    <a:pt x="95" y="61"/>
                    <a:pt x="96" y="61"/>
                  </a:cubicBezTo>
                  <a:cubicBezTo>
                    <a:pt x="100" y="61"/>
                    <a:pt x="107" y="56"/>
                    <a:pt x="110" y="54"/>
                  </a:cubicBezTo>
                  <a:cubicBezTo>
                    <a:pt x="111" y="54"/>
                    <a:pt x="116" y="53"/>
                    <a:pt x="116" y="52"/>
                  </a:cubicBezTo>
                  <a:cubicBezTo>
                    <a:pt x="117" y="50"/>
                    <a:pt x="116" y="48"/>
                    <a:pt x="115" y="48"/>
                  </a:cubicBezTo>
                  <a:cubicBezTo>
                    <a:pt x="113" y="48"/>
                    <a:pt x="112" y="48"/>
                    <a:pt x="110" y="48"/>
                  </a:cubicBezTo>
                  <a:cubicBezTo>
                    <a:pt x="109" y="48"/>
                    <a:pt x="107" y="48"/>
                    <a:pt x="107" y="48"/>
                  </a:cubicBezTo>
                  <a:cubicBezTo>
                    <a:pt x="104" y="46"/>
                    <a:pt x="101" y="41"/>
                    <a:pt x="98" y="41"/>
                  </a:cubicBezTo>
                  <a:cubicBezTo>
                    <a:pt x="97" y="41"/>
                    <a:pt x="97" y="42"/>
                    <a:pt x="96" y="44"/>
                  </a:cubicBezTo>
                  <a:cubicBezTo>
                    <a:pt x="97" y="40"/>
                    <a:pt x="91" y="36"/>
                    <a:pt x="87" y="36"/>
                  </a:cubicBezTo>
                  <a:cubicBezTo>
                    <a:pt x="87" y="36"/>
                    <a:pt x="86" y="36"/>
                    <a:pt x="86" y="36"/>
                  </a:cubicBezTo>
                  <a:cubicBezTo>
                    <a:pt x="84" y="36"/>
                    <a:pt x="85" y="38"/>
                    <a:pt x="82" y="38"/>
                  </a:cubicBezTo>
                  <a:cubicBezTo>
                    <a:pt x="82" y="38"/>
                    <a:pt x="81" y="39"/>
                    <a:pt x="80" y="39"/>
                  </a:cubicBezTo>
                  <a:cubicBezTo>
                    <a:pt x="78" y="39"/>
                    <a:pt x="76" y="38"/>
                    <a:pt x="77" y="36"/>
                  </a:cubicBezTo>
                  <a:cubicBezTo>
                    <a:pt x="77" y="36"/>
                    <a:pt x="78" y="36"/>
                    <a:pt x="78" y="36"/>
                  </a:cubicBezTo>
                  <a:cubicBezTo>
                    <a:pt x="79" y="36"/>
                    <a:pt x="79" y="36"/>
                    <a:pt x="80" y="36"/>
                  </a:cubicBezTo>
                  <a:cubicBezTo>
                    <a:pt x="80" y="36"/>
                    <a:pt x="80" y="36"/>
                    <a:pt x="81" y="36"/>
                  </a:cubicBezTo>
                  <a:cubicBezTo>
                    <a:pt x="82" y="36"/>
                    <a:pt x="83" y="36"/>
                    <a:pt x="83" y="34"/>
                  </a:cubicBezTo>
                  <a:cubicBezTo>
                    <a:pt x="84" y="33"/>
                    <a:pt x="80" y="29"/>
                    <a:pt x="79" y="29"/>
                  </a:cubicBezTo>
                  <a:cubicBezTo>
                    <a:pt x="79" y="29"/>
                    <a:pt x="79" y="29"/>
                    <a:pt x="79" y="29"/>
                  </a:cubicBezTo>
                  <a:cubicBezTo>
                    <a:pt x="78" y="29"/>
                    <a:pt x="77" y="31"/>
                    <a:pt x="77" y="31"/>
                  </a:cubicBezTo>
                  <a:cubicBezTo>
                    <a:pt x="73" y="33"/>
                    <a:pt x="70" y="33"/>
                    <a:pt x="64" y="34"/>
                  </a:cubicBezTo>
                  <a:cubicBezTo>
                    <a:pt x="65" y="33"/>
                    <a:pt x="67" y="33"/>
                    <a:pt x="68" y="32"/>
                  </a:cubicBezTo>
                  <a:cubicBezTo>
                    <a:pt x="70" y="31"/>
                    <a:pt x="69" y="32"/>
                    <a:pt x="69" y="30"/>
                  </a:cubicBezTo>
                  <a:cubicBezTo>
                    <a:pt x="69" y="28"/>
                    <a:pt x="69" y="27"/>
                    <a:pt x="69" y="26"/>
                  </a:cubicBezTo>
                  <a:cubicBezTo>
                    <a:pt x="69" y="24"/>
                    <a:pt x="68" y="25"/>
                    <a:pt x="70" y="23"/>
                  </a:cubicBezTo>
                  <a:cubicBezTo>
                    <a:pt x="71" y="22"/>
                    <a:pt x="72" y="23"/>
                    <a:pt x="72" y="21"/>
                  </a:cubicBezTo>
                  <a:cubicBezTo>
                    <a:pt x="72" y="19"/>
                    <a:pt x="69" y="16"/>
                    <a:pt x="68" y="14"/>
                  </a:cubicBezTo>
                  <a:cubicBezTo>
                    <a:pt x="66" y="12"/>
                    <a:pt x="65" y="12"/>
                    <a:pt x="62" y="12"/>
                  </a:cubicBezTo>
                  <a:cubicBezTo>
                    <a:pt x="57" y="12"/>
                    <a:pt x="57" y="1"/>
                    <a:pt x="54" y="1"/>
                  </a:cubicBezTo>
                  <a:cubicBezTo>
                    <a:pt x="53" y="1"/>
                    <a:pt x="53" y="1"/>
                    <a:pt x="53" y="1"/>
                  </a:cubicBezTo>
                  <a:cubicBezTo>
                    <a:pt x="52" y="2"/>
                    <a:pt x="52" y="4"/>
                    <a:pt x="52" y="5"/>
                  </a:cubicBezTo>
                  <a:cubicBezTo>
                    <a:pt x="50" y="9"/>
                    <a:pt x="49" y="11"/>
                    <a:pt x="44" y="13"/>
                  </a:cubicBezTo>
                  <a:cubicBezTo>
                    <a:pt x="44" y="11"/>
                    <a:pt x="45" y="10"/>
                    <a:pt x="46" y="9"/>
                  </a:cubicBezTo>
                  <a:cubicBezTo>
                    <a:pt x="46" y="6"/>
                    <a:pt x="45" y="4"/>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9" name="Freeform 1517">
              <a:extLst>
                <a:ext uri="{FF2B5EF4-FFF2-40B4-BE49-F238E27FC236}">
                  <a16:creationId xmlns:a16="http://schemas.microsoft.com/office/drawing/2014/main" id="{3D7DCB26-E55C-473C-8BB5-6902B022B9D5}"/>
                </a:ext>
              </a:extLst>
            </p:cNvPr>
            <p:cNvSpPr>
              <a:spLocks/>
            </p:cNvSpPr>
            <p:nvPr/>
          </p:nvSpPr>
          <p:spPr bwMode="auto">
            <a:xfrm>
              <a:off x="1209" y="717"/>
              <a:ext cx="404" cy="255"/>
            </a:xfrm>
            <a:custGeom>
              <a:avLst/>
              <a:gdLst>
                <a:gd name="T0" fmla="*/ 152 w 171"/>
                <a:gd name="T1" fmla="*/ 1 h 108"/>
                <a:gd name="T2" fmla="*/ 153 w 171"/>
                <a:gd name="T3" fmla="*/ 8 h 108"/>
                <a:gd name="T4" fmla="*/ 153 w 171"/>
                <a:gd name="T5" fmla="*/ 11 h 108"/>
                <a:gd name="T6" fmla="*/ 151 w 171"/>
                <a:gd name="T7" fmla="*/ 19 h 108"/>
                <a:gd name="T8" fmla="*/ 143 w 171"/>
                <a:gd name="T9" fmla="*/ 23 h 108"/>
                <a:gd name="T10" fmla="*/ 133 w 171"/>
                <a:gd name="T11" fmla="*/ 13 h 108"/>
                <a:gd name="T12" fmla="*/ 131 w 171"/>
                <a:gd name="T13" fmla="*/ 11 h 108"/>
                <a:gd name="T14" fmla="*/ 126 w 171"/>
                <a:gd name="T15" fmla="*/ 7 h 108"/>
                <a:gd name="T16" fmla="*/ 99 w 171"/>
                <a:gd name="T17" fmla="*/ 43 h 108"/>
                <a:gd name="T18" fmla="*/ 60 w 171"/>
                <a:gd name="T19" fmla="*/ 54 h 108"/>
                <a:gd name="T20" fmla="*/ 51 w 171"/>
                <a:gd name="T21" fmla="*/ 68 h 108"/>
                <a:gd name="T22" fmla="*/ 46 w 171"/>
                <a:gd name="T23" fmla="*/ 67 h 108"/>
                <a:gd name="T24" fmla="*/ 45 w 171"/>
                <a:gd name="T25" fmla="*/ 67 h 108"/>
                <a:gd name="T26" fmla="*/ 45 w 171"/>
                <a:gd name="T27" fmla="*/ 69 h 108"/>
                <a:gd name="T28" fmla="*/ 46 w 171"/>
                <a:gd name="T29" fmla="*/ 90 h 108"/>
                <a:gd name="T30" fmla="*/ 49 w 171"/>
                <a:gd name="T31" fmla="*/ 98 h 108"/>
                <a:gd name="T32" fmla="*/ 39 w 171"/>
                <a:gd name="T33" fmla="*/ 96 h 108"/>
                <a:gd name="T34" fmla="*/ 29 w 171"/>
                <a:gd name="T35" fmla="*/ 95 h 108"/>
                <a:gd name="T36" fmla="*/ 24 w 171"/>
                <a:gd name="T37" fmla="*/ 86 h 108"/>
                <a:gd name="T38" fmla="*/ 23 w 171"/>
                <a:gd name="T39" fmla="*/ 86 h 108"/>
                <a:gd name="T40" fmla="*/ 13 w 171"/>
                <a:gd name="T41" fmla="*/ 88 h 108"/>
                <a:gd name="T42" fmla="*/ 1 w 171"/>
                <a:gd name="T43" fmla="*/ 80 h 108"/>
                <a:gd name="T44" fmla="*/ 1 w 171"/>
                <a:gd name="T45" fmla="*/ 83 h 108"/>
                <a:gd name="T46" fmla="*/ 12 w 171"/>
                <a:gd name="T47" fmla="*/ 96 h 108"/>
                <a:gd name="T48" fmla="*/ 21 w 171"/>
                <a:gd name="T49" fmla="*/ 104 h 108"/>
                <a:gd name="T50" fmla="*/ 26 w 171"/>
                <a:gd name="T51" fmla="*/ 108 h 108"/>
                <a:gd name="T52" fmla="*/ 35 w 171"/>
                <a:gd name="T53" fmla="*/ 105 h 108"/>
                <a:gd name="T54" fmla="*/ 39 w 171"/>
                <a:gd name="T55" fmla="*/ 104 h 108"/>
                <a:gd name="T56" fmla="*/ 55 w 171"/>
                <a:gd name="T57" fmla="*/ 103 h 108"/>
                <a:gd name="T58" fmla="*/ 59 w 171"/>
                <a:gd name="T59" fmla="*/ 104 h 108"/>
                <a:gd name="T60" fmla="*/ 68 w 171"/>
                <a:gd name="T61" fmla="*/ 100 h 108"/>
                <a:gd name="T62" fmla="*/ 69 w 171"/>
                <a:gd name="T63" fmla="*/ 99 h 108"/>
                <a:gd name="T64" fmla="*/ 78 w 171"/>
                <a:gd name="T65" fmla="*/ 90 h 108"/>
                <a:gd name="T66" fmla="*/ 101 w 171"/>
                <a:gd name="T67" fmla="*/ 91 h 108"/>
                <a:gd name="T68" fmla="*/ 105 w 171"/>
                <a:gd name="T69" fmla="*/ 93 h 108"/>
                <a:gd name="T70" fmla="*/ 115 w 171"/>
                <a:gd name="T71" fmla="*/ 97 h 108"/>
                <a:gd name="T72" fmla="*/ 116 w 171"/>
                <a:gd name="T73" fmla="*/ 97 h 108"/>
                <a:gd name="T74" fmla="*/ 118 w 171"/>
                <a:gd name="T75" fmla="*/ 95 h 108"/>
                <a:gd name="T76" fmla="*/ 130 w 171"/>
                <a:gd name="T77" fmla="*/ 92 h 108"/>
                <a:gd name="T78" fmla="*/ 136 w 171"/>
                <a:gd name="T79" fmla="*/ 91 h 108"/>
                <a:gd name="T80" fmla="*/ 137 w 171"/>
                <a:gd name="T81" fmla="*/ 91 h 108"/>
                <a:gd name="T82" fmla="*/ 140 w 171"/>
                <a:gd name="T83" fmla="*/ 90 h 108"/>
                <a:gd name="T84" fmla="*/ 142 w 171"/>
                <a:gd name="T85" fmla="*/ 84 h 108"/>
                <a:gd name="T86" fmla="*/ 145 w 171"/>
                <a:gd name="T87" fmla="*/ 80 h 108"/>
                <a:gd name="T88" fmla="*/ 147 w 171"/>
                <a:gd name="T89" fmla="*/ 79 h 108"/>
                <a:gd name="T90" fmla="*/ 146 w 171"/>
                <a:gd name="T91" fmla="*/ 77 h 108"/>
                <a:gd name="T92" fmla="*/ 151 w 171"/>
                <a:gd name="T93" fmla="*/ 66 h 108"/>
                <a:gd name="T94" fmla="*/ 154 w 171"/>
                <a:gd name="T95" fmla="*/ 63 h 108"/>
                <a:gd name="T96" fmla="*/ 155 w 171"/>
                <a:gd name="T97" fmla="*/ 62 h 108"/>
                <a:gd name="T98" fmla="*/ 166 w 171"/>
                <a:gd name="T99" fmla="*/ 45 h 108"/>
                <a:gd name="T100" fmla="*/ 167 w 171"/>
                <a:gd name="T101" fmla="*/ 44 h 108"/>
                <a:gd name="T102" fmla="*/ 171 w 171"/>
                <a:gd name="T103" fmla="*/ 15 h 108"/>
                <a:gd name="T104" fmla="*/ 162 w 171"/>
                <a:gd name="T105" fmla="*/ 14 h 108"/>
                <a:gd name="T106" fmla="*/ 154 w 171"/>
                <a:gd name="T107" fmla="*/ 10 h 108"/>
                <a:gd name="T108" fmla="*/ 152 w 171"/>
                <a:gd name="T109"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1" h="108">
                  <a:moveTo>
                    <a:pt x="152" y="0"/>
                  </a:moveTo>
                  <a:cubicBezTo>
                    <a:pt x="152" y="1"/>
                    <a:pt x="152" y="1"/>
                    <a:pt x="152" y="1"/>
                  </a:cubicBezTo>
                  <a:cubicBezTo>
                    <a:pt x="152" y="1"/>
                    <a:pt x="152" y="1"/>
                    <a:pt x="152" y="2"/>
                  </a:cubicBezTo>
                  <a:cubicBezTo>
                    <a:pt x="153" y="4"/>
                    <a:pt x="153" y="6"/>
                    <a:pt x="153" y="8"/>
                  </a:cubicBezTo>
                  <a:cubicBezTo>
                    <a:pt x="153" y="8"/>
                    <a:pt x="153" y="8"/>
                    <a:pt x="153" y="8"/>
                  </a:cubicBezTo>
                  <a:cubicBezTo>
                    <a:pt x="153" y="9"/>
                    <a:pt x="153" y="10"/>
                    <a:pt x="153" y="11"/>
                  </a:cubicBezTo>
                  <a:cubicBezTo>
                    <a:pt x="153" y="12"/>
                    <a:pt x="153" y="14"/>
                    <a:pt x="153" y="15"/>
                  </a:cubicBezTo>
                  <a:cubicBezTo>
                    <a:pt x="152" y="17"/>
                    <a:pt x="152" y="18"/>
                    <a:pt x="151" y="19"/>
                  </a:cubicBezTo>
                  <a:cubicBezTo>
                    <a:pt x="149" y="22"/>
                    <a:pt x="146" y="23"/>
                    <a:pt x="144" y="23"/>
                  </a:cubicBezTo>
                  <a:cubicBezTo>
                    <a:pt x="144" y="23"/>
                    <a:pt x="143" y="23"/>
                    <a:pt x="143" y="23"/>
                  </a:cubicBezTo>
                  <a:cubicBezTo>
                    <a:pt x="140" y="23"/>
                    <a:pt x="137" y="19"/>
                    <a:pt x="134" y="15"/>
                  </a:cubicBezTo>
                  <a:cubicBezTo>
                    <a:pt x="133" y="14"/>
                    <a:pt x="133" y="13"/>
                    <a:pt x="133" y="13"/>
                  </a:cubicBezTo>
                  <a:cubicBezTo>
                    <a:pt x="132" y="13"/>
                    <a:pt x="132" y="12"/>
                    <a:pt x="132" y="12"/>
                  </a:cubicBezTo>
                  <a:cubicBezTo>
                    <a:pt x="131" y="11"/>
                    <a:pt x="131" y="11"/>
                    <a:pt x="131" y="11"/>
                  </a:cubicBezTo>
                  <a:cubicBezTo>
                    <a:pt x="131" y="11"/>
                    <a:pt x="131" y="10"/>
                    <a:pt x="130" y="9"/>
                  </a:cubicBezTo>
                  <a:cubicBezTo>
                    <a:pt x="130" y="9"/>
                    <a:pt x="129" y="8"/>
                    <a:pt x="126" y="7"/>
                  </a:cubicBezTo>
                  <a:cubicBezTo>
                    <a:pt x="121" y="13"/>
                    <a:pt x="115" y="20"/>
                    <a:pt x="110" y="27"/>
                  </a:cubicBezTo>
                  <a:cubicBezTo>
                    <a:pt x="106" y="32"/>
                    <a:pt x="103" y="38"/>
                    <a:pt x="99" y="43"/>
                  </a:cubicBezTo>
                  <a:cubicBezTo>
                    <a:pt x="96" y="45"/>
                    <a:pt x="92" y="46"/>
                    <a:pt x="89" y="48"/>
                  </a:cubicBezTo>
                  <a:cubicBezTo>
                    <a:pt x="79" y="50"/>
                    <a:pt x="70" y="52"/>
                    <a:pt x="60" y="54"/>
                  </a:cubicBezTo>
                  <a:cubicBezTo>
                    <a:pt x="55" y="55"/>
                    <a:pt x="56" y="56"/>
                    <a:pt x="54" y="61"/>
                  </a:cubicBezTo>
                  <a:cubicBezTo>
                    <a:pt x="54" y="64"/>
                    <a:pt x="54" y="68"/>
                    <a:pt x="51" y="68"/>
                  </a:cubicBezTo>
                  <a:cubicBezTo>
                    <a:pt x="49" y="68"/>
                    <a:pt x="48" y="67"/>
                    <a:pt x="46" y="67"/>
                  </a:cubicBezTo>
                  <a:cubicBezTo>
                    <a:pt x="46" y="67"/>
                    <a:pt x="46" y="67"/>
                    <a:pt x="46" y="67"/>
                  </a:cubicBezTo>
                  <a:cubicBezTo>
                    <a:pt x="46" y="67"/>
                    <a:pt x="46" y="67"/>
                    <a:pt x="46" y="67"/>
                  </a:cubicBezTo>
                  <a:cubicBezTo>
                    <a:pt x="45" y="67"/>
                    <a:pt x="45" y="67"/>
                    <a:pt x="45" y="67"/>
                  </a:cubicBezTo>
                  <a:cubicBezTo>
                    <a:pt x="45" y="67"/>
                    <a:pt x="45" y="67"/>
                    <a:pt x="45" y="67"/>
                  </a:cubicBezTo>
                  <a:cubicBezTo>
                    <a:pt x="45" y="67"/>
                    <a:pt x="45" y="67"/>
                    <a:pt x="45" y="69"/>
                  </a:cubicBezTo>
                  <a:cubicBezTo>
                    <a:pt x="46" y="71"/>
                    <a:pt x="47" y="74"/>
                    <a:pt x="48" y="75"/>
                  </a:cubicBezTo>
                  <a:cubicBezTo>
                    <a:pt x="43" y="78"/>
                    <a:pt x="37" y="88"/>
                    <a:pt x="46" y="90"/>
                  </a:cubicBezTo>
                  <a:cubicBezTo>
                    <a:pt x="42" y="90"/>
                    <a:pt x="36" y="89"/>
                    <a:pt x="40" y="94"/>
                  </a:cubicBezTo>
                  <a:cubicBezTo>
                    <a:pt x="42" y="97"/>
                    <a:pt x="47" y="96"/>
                    <a:pt x="49" y="98"/>
                  </a:cubicBezTo>
                  <a:cubicBezTo>
                    <a:pt x="48" y="98"/>
                    <a:pt x="48" y="98"/>
                    <a:pt x="47" y="98"/>
                  </a:cubicBezTo>
                  <a:cubicBezTo>
                    <a:pt x="44" y="98"/>
                    <a:pt x="42" y="97"/>
                    <a:pt x="39" y="96"/>
                  </a:cubicBezTo>
                  <a:cubicBezTo>
                    <a:pt x="37" y="95"/>
                    <a:pt x="34" y="94"/>
                    <a:pt x="32" y="94"/>
                  </a:cubicBezTo>
                  <a:cubicBezTo>
                    <a:pt x="31" y="94"/>
                    <a:pt x="30" y="94"/>
                    <a:pt x="29" y="95"/>
                  </a:cubicBezTo>
                  <a:cubicBezTo>
                    <a:pt x="32" y="92"/>
                    <a:pt x="30" y="92"/>
                    <a:pt x="28" y="90"/>
                  </a:cubicBezTo>
                  <a:cubicBezTo>
                    <a:pt x="28" y="90"/>
                    <a:pt x="24" y="86"/>
                    <a:pt x="24" y="86"/>
                  </a:cubicBezTo>
                  <a:cubicBezTo>
                    <a:pt x="24" y="86"/>
                    <a:pt x="24" y="86"/>
                    <a:pt x="24" y="86"/>
                  </a:cubicBezTo>
                  <a:cubicBezTo>
                    <a:pt x="24" y="86"/>
                    <a:pt x="23" y="86"/>
                    <a:pt x="23" y="86"/>
                  </a:cubicBezTo>
                  <a:cubicBezTo>
                    <a:pt x="20" y="86"/>
                    <a:pt x="17" y="88"/>
                    <a:pt x="15" y="88"/>
                  </a:cubicBezTo>
                  <a:cubicBezTo>
                    <a:pt x="14" y="88"/>
                    <a:pt x="14" y="88"/>
                    <a:pt x="13" y="88"/>
                  </a:cubicBezTo>
                  <a:cubicBezTo>
                    <a:pt x="11" y="88"/>
                    <a:pt x="10" y="88"/>
                    <a:pt x="9" y="88"/>
                  </a:cubicBezTo>
                  <a:cubicBezTo>
                    <a:pt x="6" y="87"/>
                    <a:pt x="4" y="83"/>
                    <a:pt x="1" y="80"/>
                  </a:cubicBezTo>
                  <a:cubicBezTo>
                    <a:pt x="1" y="80"/>
                    <a:pt x="1" y="80"/>
                    <a:pt x="1" y="80"/>
                  </a:cubicBezTo>
                  <a:cubicBezTo>
                    <a:pt x="1" y="81"/>
                    <a:pt x="0" y="83"/>
                    <a:pt x="1" y="83"/>
                  </a:cubicBezTo>
                  <a:cubicBezTo>
                    <a:pt x="1" y="87"/>
                    <a:pt x="6" y="91"/>
                    <a:pt x="10" y="94"/>
                  </a:cubicBezTo>
                  <a:cubicBezTo>
                    <a:pt x="12" y="96"/>
                    <a:pt x="12" y="96"/>
                    <a:pt x="12" y="96"/>
                  </a:cubicBezTo>
                  <a:cubicBezTo>
                    <a:pt x="14" y="98"/>
                    <a:pt x="17" y="100"/>
                    <a:pt x="19" y="102"/>
                  </a:cubicBezTo>
                  <a:cubicBezTo>
                    <a:pt x="21" y="104"/>
                    <a:pt x="21" y="104"/>
                    <a:pt x="21" y="104"/>
                  </a:cubicBezTo>
                  <a:cubicBezTo>
                    <a:pt x="22" y="105"/>
                    <a:pt x="22" y="105"/>
                    <a:pt x="23" y="106"/>
                  </a:cubicBezTo>
                  <a:cubicBezTo>
                    <a:pt x="24" y="106"/>
                    <a:pt x="26" y="108"/>
                    <a:pt x="26" y="108"/>
                  </a:cubicBezTo>
                  <a:cubicBezTo>
                    <a:pt x="26" y="108"/>
                    <a:pt x="27" y="108"/>
                    <a:pt x="27" y="108"/>
                  </a:cubicBezTo>
                  <a:cubicBezTo>
                    <a:pt x="29" y="108"/>
                    <a:pt x="33" y="106"/>
                    <a:pt x="35" y="105"/>
                  </a:cubicBezTo>
                  <a:cubicBezTo>
                    <a:pt x="36" y="105"/>
                    <a:pt x="36" y="105"/>
                    <a:pt x="36" y="105"/>
                  </a:cubicBezTo>
                  <a:cubicBezTo>
                    <a:pt x="37" y="105"/>
                    <a:pt x="38" y="104"/>
                    <a:pt x="39" y="104"/>
                  </a:cubicBezTo>
                  <a:cubicBezTo>
                    <a:pt x="42" y="103"/>
                    <a:pt x="45" y="102"/>
                    <a:pt x="47" y="102"/>
                  </a:cubicBezTo>
                  <a:cubicBezTo>
                    <a:pt x="50" y="102"/>
                    <a:pt x="52" y="103"/>
                    <a:pt x="55" y="103"/>
                  </a:cubicBezTo>
                  <a:cubicBezTo>
                    <a:pt x="56" y="103"/>
                    <a:pt x="56" y="103"/>
                    <a:pt x="56" y="103"/>
                  </a:cubicBezTo>
                  <a:cubicBezTo>
                    <a:pt x="57" y="103"/>
                    <a:pt x="58" y="103"/>
                    <a:pt x="59" y="104"/>
                  </a:cubicBezTo>
                  <a:cubicBezTo>
                    <a:pt x="59" y="104"/>
                    <a:pt x="59" y="104"/>
                    <a:pt x="59" y="104"/>
                  </a:cubicBezTo>
                  <a:cubicBezTo>
                    <a:pt x="62" y="104"/>
                    <a:pt x="67" y="101"/>
                    <a:pt x="68" y="100"/>
                  </a:cubicBezTo>
                  <a:cubicBezTo>
                    <a:pt x="68" y="100"/>
                    <a:pt x="68" y="100"/>
                    <a:pt x="68" y="100"/>
                  </a:cubicBezTo>
                  <a:cubicBezTo>
                    <a:pt x="69" y="99"/>
                    <a:pt x="69" y="99"/>
                    <a:pt x="69" y="99"/>
                  </a:cubicBezTo>
                  <a:cubicBezTo>
                    <a:pt x="70" y="93"/>
                    <a:pt x="71" y="91"/>
                    <a:pt x="76" y="91"/>
                  </a:cubicBezTo>
                  <a:cubicBezTo>
                    <a:pt x="78" y="90"/>
                    <a:pt x="78" y="90"/>
                    <a:pt x="78" y="90"/>
                  </a:cubicBezTo>
                  <a:cubicBezTo>
                    <a:pt x="86" y="89"/>
                    <a:pt x="91" y="88"/>
                    <a:pt x="94" y="88"/>
                  </a:cubicBezTo>
                  <a:cubicBezTo>
                    <a:pt x="99" y="88"/>
                    <a:pt x="100" y="89"/>
                    <a:pt x="101" y="91"/>
                  </a:cubicBezTo>
                  <a:cubicBezTo>
                    <a:pt x="101" y="91"/>
                    <a:pt x="101" y="91"/>
                    <a:pt x="101" y="92"/>
                  </a:cubicBezTo>
                  <a:cubicBezTo>
                    <a:pt x="103" y="92"/>
                    <a:pt x="104" y="93"/>
                    <a:pt x="105" y="93"/>
                  </a:cubicBezTo>
                  <a:cubicBezTo>
                    <a:pt x="106" y="94"/>
                    <a:pt x="106" y="94"/>
                    <a:pt x="106" y="94"/>
                  </a:cubicBezTo>
                  <a:cubicBezTo>
                    <a:pt x="109" y="95"/>
                    <a:pt x="112" y="97"/>
                    <a:pt x="115" y="97"/>
                  </a:cubicBezTo>
                  <a:cubicBezTo>
                    <a:pt x="115" y="97"/>
                    <a:pt x="116" y="97"/>
                    <a:pt x="116" y="97"/>
                  </a:cubicBezTo>
                  <a:cubicBezTo>
                    <a:pt x="116" y="97"/>
                    <a:pt x="116" y="97"/>
                    <a:pt x="116" y="97"/>
                  </a:cubicBezTo>
                  <a:cubicBezTo>
                    <a:pt x="116" y="97"/>
                    <a:pt x="116" y="97"/>
                    <a:pt x="117" y="96"/>
                  </a:cubicBezTo>
                  <a:cubicBezTo>
                    <a:pt x="117" y="96"/>
                    <a:pt x="118" y="95"/>
                    <a:pt x="118" y="95"/>
                  </a:cubicBezTo>
                  <a:cubicBezTo>
                    <a:pt x="121" y="94"/>
                    <a:pt x="125" y="93"/>
                    <a:pt x="129" y="92"/>
                  </a:cubicBezTo>
                  <a:cubicBezTo>
                    <a:pt x="129" y="92"/>
                    <a:pt x="130" y="92"/>
                    <a:pt x="130" y="92"/>
                  </a:cubicBezTo>
                  <a:cubicBezTo>
                    <a:pt x="136" y="90"/>
                    <a:pt x="136" y="90"/>
                    <a:pt x="136" y="90"/>
                  </a:cubicBezTo>
                  <a:cubicBezTo>
                    <a:pt x="136" y="91"/>
                    <a:pt x="136" y="91"/>
                    <a:pt x="136" y="91"/>
                  </a:cubicBezTo>
                  <a:cubicBezTo>
                    <a:pt x="136" y="91"/>
                    <a:pt x="136" y="91"/>
                    <a:pt x="136" y="91"/>
                  </a:cubicBezTo>
                  <a:cubicBezTo>
                    <a:pt x="137" y="91"/>
                    <a:pt x="137" y="91"/>
                    <a:pt x="137" y="91"/>
                  </a:cubicBezTo>
                  <a:cubicBezTo>
                    <a:pt x="137" y="91"/>
                    <a:pt x="138" y="91"/>
                    <a:pt x="139" y="91"/>
                  </a:cubicBezTo>
                  <a:cubicBezTo>
                    <a:pt x="140" y="91"/>
                    <a:pt x="140" y="91"/>
                    <a:pt x="140" y="90"/>
                  </a:cubicBezTo>
                  <a:cubicBezTo>
                    <a:pt x="141" y="87"/>
                    <a:pt x="141" y="87"/>
                    <a:pt x="141" y="87"/>
                  </a:cubicBezTo>
                  <a:cubicBezTo>
                    <a:pt x="142" y="86"/>
                    <a:pt x="142" y="85"/>
                    <a:pt x="142" y="84"/>
                  </a:cubicBezTo>
                  <a:cubicBezTo>
                    <a:pt x="142" y="83"/>
                    <a:pt x="143" y="83"/>
                    <a:pt x="143" y="83"/>
                  </a:cubicBezTo>
                  <a:cubicBezTo>
                    <a:pt x="144" y="82"/>
                    <a:pt x="145" y="81"/>
                    <a:pt x="145" y="80"/>
                  </a:cubicBezTo>
                  <a:cubicBezTo>
                    <a:pt x="146" y="80"/>
                    <a:pt x="146" y="80"/>
                    <a:pt x="146" y="80"/>
                  </a:cubicBezTo>
                  <a:cubicBezTo>
                    <a:pt x="147" y="79"/>
                    <a:pt x="147" y="79"/>
                    <a:pt x="147" y="79"/>
                  </a:cubicBezTo>
                  <a:cubicBezTo>
                    <a:pt x="147" y="79"/>
                    <a:pt x="147" y="79"/>
                    <a:pt x="147" y="78"/>
                  </a:cubicBezTo>
                  <a:cubicBezTo>
                    <a:pt x="147" y="78"/>
                    <a:pt x="147" y="77"/>
                    <a:pt x="146" y="77"/>
                  </a:cubicBezTo>
                  <a:cubicBezTo>
                    <a:pt x="146" y="75"/>
                    <a:pt x="145" y="72"/>
                    <a:pt x="146" y="70"/>
                  </a:cubicBezTo>
                  <a:cubicBezTo>
                    <a:pt x="146" y="68"/>
                    <a:pt x="147" y="68"/>
                    <a:pt x="151" y="66"/>
                  </a:cubicBezTo>
                  <a:cubicBezTo>
                    <a:pt x="152" y="65"/>
                    <a:pt x="152" y="65"/>
                    <a:pt x="152" y="65"/>
                  </a:cubicBezTo>
                  <a:cubicBezTo>
                    <a:pt x="152" y="64"/>
                    <a:pt x="153" y="64"/>
                    <a:pt x="154" y="63"/>
                  </a:cubicBezTo>
                  <a:cubicBezTo>
                    <a:pt x="155" y="63"/>
                    <a:pt x="155" y="63"/>
                    <a:pt x="155" y="63"/>
                  </a:cubicBezTo>
                  <a:cubicBezTo>
                    <a:pt x="155" y="62"/>
                    <a:pt x="155" y="62"/>
                    <a:pt x="155" y="62"/>
                  </a:cubicBezTo>
                  <a:cubicBezTo>
                    <a:pt x="153" y="57"/>
                    <a:pt x="154" y="53"/>
                    <a:pt x="157" y="49"/>
                  </a:cubicBezTo>
                  <a:cubicBezTo>
                    <a:pt x="159" y="46"/>
                    <a:pt x="162" y="45"/>
                    <a:pt x="166" y="45"/>
                  </a:cubicBezTo>
                  <a:cubicBezTo>
                    <a:pt x="166" y="45"/>
                    <a:pt x="166" y="45"/>
                    <a:pt x="167" y="45"/>
                  </a:cubicBezTo>
                  <a:cubicBezTo>
                    <a:pt x="167" y="45"/>
                    <a:pt x="167" y="44"/>
                    <a:pt x="167" y="44"/>
                  </a:cubicBezTo>
                  <a:cubicBezTo>
                    <a:pt x="169" y="38"/>
                    <a:pt x="169" y="33"/>
                    <a:pt x="168" y="26"/>
                  </a:cubicBezTo>
                  <a:cubicBezTo>
                    <a:pt x="167" y="22"/>
                    <a:pt x="169" y="18"/>
                    <a:pt x="171" y="15"/>
                  </a:cubicBezTo>
                  <a:cubicBezTo>
                    <a:pt x="164" y="14"/>
                    <a:pt x="164" y="14"/>
                    <a:pt x="164" y="14"/>
                  </a:cubicBezTo>
                  <a:cubicBezTo>
                    <a:pt x="164" y="14"/>
                    <a:pt x="163" y="14"/>
                    <a:pt x="162" y="14"/>
                  </a:cubicBezTo>
                  <a:cubicBezTo>
                    <a:pt x="161" y="14"/>
                    <a:pt x="161" y="14"/>
                    <a:pt x="161" y="14"/>
                  </a:cubicBezTo>
                  <a:cubicBezTo>
                    <a:pt x="158" y="14"/>
                    <a:pt x="155" y="12"/>
                    <a:pt x="154" y="10"/>
                  </a:cubicBezTo>
                  <a:cubicBezTo>
                    <a:pt x="154" y="8"/>
                    <a:pt x="154" y="8"/>
                    <a:pt x="154" y="8"/>
                  </a:cubicBezTo>
                  <a:cubicBezTo>
                    <a:pt x="153" y="6"/>
                    <a:pt x="152" y="3"/>
                    <a:pt x="15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0" name="Freeform 1518">
              <a:extLst>
                <a:ext uri="{FF2B5EF4-FFF2-40B4-BE49-F238E27FC236}">
                  <a16:creationId xmlns:a16="http://schemas.microsoft.com/office/drawing/2014/main" id="{3248F50D-7241-4DEC-98EB-BAA0EC62CADC}"/>
                </a:ext>
              </a:extLst>
            </p:cNvPr>
            <p:cNvSpPr>
              <a:spLocks/>
            </p:cNvSpPr>
            <p:nvPr/>
          </p:nvSpPr>
          <p:spPr bwMode="auto">
            <a:xfrm>
              <a:off x="1502" y="714"/>
              <a:ext cx="2" cy="3"/>
            </a:xfrm>
            <a:custGeom>
              <a:avLst/>
              <a:gdLst>
                <a:gd name="T0" fmla="*/ 0 w 2"/>
                <a:gd name="T1" fmla="*/ 0 h 3"/>
                <a:gd name="T2" fmla="*/ 0 w 2"/>
                <a:gd name="T3" fmla="*/ 3 h 3"/>
                <a:gd name="T4" fmla="*/ 2 w 2"/>
                <a:gd name="T5" fmla="*/ 0 h 3"/>
                <a:gd name="T6" fmla="*/ 0 w 2"/>
                <a:gd name="T7" fmla="*/ 0 h 3"/>
              </a:gdLst>
              <a:ahLst/>
              <a:cxnLst>
                <a:cxn ang="0">
                  <a:pos x="T0" y="T1"/>
                </a:cxn>
                <a:cxn ang="0">
                  <a:pos x="T2" y="T3"/>
                </a:cxn>
                <a:cxn ang="0">
                  <a:pos x="T4" y="T5"/>
                </a:cxn>
                <a:cxn ang="0">
                  <a:pos x="T6" y="T7"/>
                </a:cxn>
              </a:cxnLst>
              <a:rect l="0" t="0" r="r" b="b"/>
              <a:pathLst>
                <a:path w="2" h="3">
                  <a:moveTo>
                    <a:pt x="0" y="0"/>
                  </a:moveTo>
                  <a:lnTo>
                    <a:pt x="0" y="3"/>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1" name="Freeform 1519">
              <a:extLst>
                <a:ext uri="{FF2B5EF4-FFF2-40B4-BE49-F238E27FC236}">
                  <a16:creationId xmlns:a16="http://schemas.microsoft.com/office/drawing/2014/main" id="{221932E5-F86A-459C-975D-E73CF88AF666}"/>
                </a:ext>
              </a:extLst>
            </p:cNvPr>
            <p:cNvSpPr>
              <a:spLocks/>
            </p:cNvSpPr>
            <p:nvPr/>
          </p:nvSpPr>
          <p:spPr bwMode="auto">
            <a:xfrm>
              <a:off x="1502" y="714"/>
              <a:ext cx="2" cy="3"/>
            </a:xfrm>
            <a:custGeom>
              <a:avLst/>
              <a:gdLst>
                <a:gd name="T0" fmla="*/ 0 w 2"/>
                <a:gd name="T1" fmla="*/ 0 h 3"/>
                <a:gd name="T2" fmla="*/ 0 w 2"/>
                <a:gd name="T3" fmla="*/ 3 h 3"/>
                <a:gd name="T4" fmla="*/ 2 w 2"/>
                <a:gd name="T5" fmla="*/ 0 h 3"/>
                <a:gd name="T6" fmla="*/ 0 w 2"/>
                <a:gd name="T7" fmla="*/ 0 h 3"/>
              </a:gdLst>
              <a:ahLst/>
              <a:cxnLst>
                <a:cxn ang="0">
                  <a:pos x="T0" y="T1"/>
                </a:cxn>
                <a:cxn ang="0">
                  <a:pos x="T2" y="T3"/>
                </a:cxn>
                <a:cxn ang="0">
                  <a:pos x="T4" y="T5"/>
                </a:cxn>
                <a:cxn ang="0">
                  <a:pos x="T6" y="T7"/>
                </a:cxn>
              </a:cxnLst>
              <a:rect l="0" t="0" r="r" b="b"/>
              <a:pathLst>
                <a:path w="2" h="3">
                  <a:moveTo>
                    <a:pt x="0" y="0"/>
                  </a:moveTo>
                  <a:lnTo>
                    <a:pt x="0" y="3"/>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2" name="Freeform 1520">
              <a:extLst>
                <a:ext uri="{FF2B5EF4-FFF2-40B4-BE49-F238E27FC236}">
                  <a16:creationId xmlns:a16="http://schemas.microsoft.com/office/drawing/2014/main" id="{A98162C4-3E91-42D4-9F7D-3B4DEB233F3E}"/>
                </a:ext>
              </a:extLst>
            </p:cNvPr>
            <p:cNvSpPr>
              <a:spLocks/>
            </p:cNvSpPr>
            <p:nvPr/>
          </p:nvSpPr>
          <p:spPr bwMode="auto">
            <a:xfrm>
              <a:off x="1523" y="695"/>
              <a:ext cx="47" cy="59"/>
            </a:xfrm>
            <a:custGeom>
              <a:avLst/>
              <a:gdLst>
                <a:gd name="T0" fmla="*/ 20 w 20"/>
                <a:gd name="T1" fmla="*/ 0 h 25"/>
                <a:gd name="T2" fmla="*/ 10 w 20"/>
                <a:gd name="T3" fmla="*/ 7 h 25"/>
                <a:gd name="T4" fmla="*/ 0 w 20"/>
                <a:gd name="T5" fmla="*/ 12 h 25"/>
                <a:gd name="T6" fmla="*/ 3 w 20"/>
                <a:gd name="T7" fmla="*/ 14 h 25"/>
                <a:gd name="T8" fmla="*/ 5 w 20"/>
                <a:gd name="T9" fmla="*/ 17 h 25"/>
                <a:gd name="T10" fmla="*/ 5 w 20"/>
                <a:gd name="T11" fmla="*/ 17 h 25"/>
                <a:gd name="T12" fmla="*/ 7 w 20"/>
                <a:gd name="T13" fmla="*/ 19 h 25"/>
                <a:gd name="T14" fmla="*/ 11 w 20"/>
                <a:gd name="T15" fmla="*/ 25 h 25"/>
                <a:gd name="T16" fmla="*/ 12 w 20"/>
                <a:gd name="T17" fmla="*/ 24 h 25"/>
                <a:gd name="T18" fmla="*/ 13 w 20"/>
                <a:gd name="T19" fmla="*/ 23 h 25"/>
                <a:gd name="T20" fmla="*/ 13 w 20"/>
                <a:gd name="T21" fmla="*/ 22 h 25"/>
                <a:gd name="T22" fmla="*/ 13 w 20"/>
                <a:gd name="T23" fmla="*/ 20 h 25"/>
                <a:gd name="T24" fmla="*/ 13 w 20"/>
                <a:gd name="T25" fmla="*/ 18 h 25"/>
                <a:gd name="T26" fmla="*/ 12 w 20"/>
                <a:gd name="T27" fmla="*/ 12 h 25"/>
                <a:gd name="T28" fmla="*/ 12 w 20"/>
                <a:gd name="T29" fmla="*/ 11 h 25"/>
                <a:gd name="T30" fmla="*/ 12 w 20"/>
                <a:gd name="T31" fmla="*/ 7 h 25"/>
                <a:gd name="T32" fmla="*/ 12 w 20"/>
                <a:gd name="T33" fmla="*/ 6 h 25"/>
                <a:gd name="T34" fmla="*/ 13 w 20"/>
                <a:gd name="T35" fmla="*/ 5 h 25"/>
                <a:gd name="T36" fmla="*/ 14 w 20"/>
                <a:gd name="T37" fmla="*/ 4 h 25"/>
                <a:gd name="T38" fmla="*/ 16 w 20"/>
                <a:gd name="T39" fmla="*/ 3 h 25"/>
                <a:gd name="T40" fmla="*/ 17 w 20"/>
                <a:gd name="T41" fmla="*/ 2 h 25"/>
                <a:gd name="T42" fmla="*/ 19 w 20"/>
                <a:gd name="T43" fmla="*/ 1 h 25"/>
                <a:gd name="T44" fmla="*/ 20 w 20"/>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25">
                  <a:moveTo>
                    <a:pt x="20" y="0"/>
                  </a:moveTo>
                  <a:cubicBezTo>
                    <a:pt x="16" y="2"/>
                    <a:pt x="12" y="4"/>
                    <a:pt x="10" y="7"/>
                  </a:cubicBezTo>
                  <a:cubicBezTo>
                    <a:pt x="7" y="10"/>
                    <a:pt x="4" y="11"/>
                    <a:pt x="0" y="12"/>
                  </a:cubicBezTo>
                  <a:cubicBezTo>
                    <a:pt x="2" y="13"/>
                    <a:pt x="3" y="14"/>
                    <a:pt x="3" y="14"/>
                  </a:cubicBezTo>
                  <a:cubicBezTo>
                    <a:pt x="4" y="15"/>
                    <a:pt x="4" y="16"/>
                    <a:pt x="5" y="17"/>
                  </a:cubicBezTo>
                  <a:cubicBezTo>
                    <a:pt x="5" y="17"/>
                    <a:pt x="5" y="17"/>
                    <a:pt x="5" y="17"/>
                  </a:cubicBezTo>
                  <a:cubicBezTo>
                    <a:pt x="5" y="18"/>
                    <a:pt x="6" y="18"/>
                    <a:pt x="7" y="19"/>
                  </a:cubicBezTo>
                  <a:cubicBezTo>
                    <a:pt x="9" y="23"/>
                    <a:pt x="11" y="24"/>
                    <a:pt x="11" y="25"/>
                  </a:cubicBezTo>
                  <a:cubicBezTo>
                    <a:pt x="12" y="24"/>
                    <a:pt x="12" y="24"/>
                    <a:pt x="12" y="24"/>
                  </a:cubicBezTo>
                  <a:cubicBezTo>
                    <a:pt x="13" y="23"/>
                    <a:pt x="13" y="23"/>
                    <a:pt x="13" y="23"/>
                  </a:cubicBezTo>
                  <a:cubicBezTo>
                    <a:pt x="13" y="22"/>
                    <a:pt x="13" y="22"/>
                    <a:pt x="13" y="22"/>
                  </a:cubicBezTo>
                  <a:cubicBezTo>
                    <a:pt x="13" y="21"/>
                    <a:pt x="13" y="20"/>
                    <a:pt x="13" y="20"/>
                  </a:cubicBezTo>
                  <a:cubicBezTo>
                    <a:pt x="13" y="20"/>
                    <a:pt x="13" y="19"/>
                    <a:pt x="13" y="18"/>
                  </a:cubicBezTo>
                  <a:cubicBezTo>
                    <a:pt x="13" y="16"/>
                    <a:pt x="13" y="14"/>
                    <a:pt x="12" y="12"/>
                  </a:cubicBezTo>
                  <a:cubicBezTo>
                    <a:pt x="12" y="12"/>
                    <a:pt x="12" y="11"/>
                    <a:pt x="12" y="11"/>
                  </a:cubicBezTo>
                  <a:cubicBezTo>
                    <a:pt x="11" y="10"/>
                    <a:pt x="11" y="8"/>
                    <a:pt x="12" y="7"/>
                  </a:cubicBezTo>
                  <a:cubicBezTo>
                    <a:pt x="12" y="7"/>
                    <a:pt x="12" y="6"/>
                    <a:pt x="12" y="6"/>
                  </a:cubicBezTo>
                  <a:cubicBezTo>
                    <a:pt x="13" y="5"/>
                    <a:pt x="13" y="5"/>
                    <a:pt x="13" y="5"/>
                  </a:cubicBezTo>
                  <a:cubicBezTo>
                    <a:pt x="14" y="4"/>
                    <a:pt x="14" y="4"/>
                    <a:pt x="14" y="4"/>
                  </a:cubicBezTo>
                  <a:cubicBezTo>
                    <a:pt x="15" y="4"/>
                    <a:pt x="15" y="3"/>
                    <a:pt x="16" y="3"/>
                  </a:cubicBezTo>
                  <a:cubicBezTo>
                    <a:pt x="17" y="2"/>
                    <a:pt x="17" y="2"/>
                    <a:pt x="17" y="2"/>
                  </a:cubicBezTo>
                  <a:cubicBezTo>
                    <a:pt x="18" y="2"/>
                    <a:pt x="19" y="2"/>
                    <a:pt x="19" y="1"/>
                  </a:cubicBezTo>
                  <a:cubicBezTo>
                    <a:pt x="20" y="0"/>
                    <a:pt x="20"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3" name="Freeform 1521">
              <a:extLst>
                <a:ext uri="{FF2B5EF4-FFF2-40B4-BE49-F238E27FC236}">
                  <a16:creationId xmlns:a16="http://schemas.microsoft.com/office/drawing/2014/main" id="{22EC851D-C52E-4585-B19D-E7E25F763680}"/>
                </a:ext>
              </a:extLst>
            </p:cNvPr>
            <p:cNvSpPr>
              <a:spLocks/>
            </p:cNvSpPr>
            <p:nvPr/>
          </p:nvSpPr>
          <p:spPr bwMode="auto">
            <a:xfrm>
              <a:off x="394" y="0"/>
              <a:ext cx="118" cy="338"/>
            </a:xfrm>
            <a:custGeom>
              <a:avLst/>
              <a:gdLst>
                <a:gd name="T0" fmla="*/ 0 w 50"/>
                <a:gd name="T1" fmla="*/ 0 h 143"/>
                <a:gd name="T2" fmla="*/ 1 w 50"/>
                <a:gd name="T3" fmla="*/ 5 h 143"/>
                <a:gd name="T4" fmla="*/ 7 w 50"/>
                <a:gd name="T5" fmla="*/ 11 h 143"/>
                <a:gd name="T6" fmla="*/ 6 w 50"/>
                <a:gd name="T7" fmla="*/ 11 h 143"/>
                <a:gd name="T8" fmla="*/ 7 w 50"/>
                <a:gd name="T9" fmla="*/ 22 h 143"/>
                <a:gd name="T10" fmla="*/ 10 w 50"/>
                <a:gd name="T11" fmla="*/ 42 h 143"/>
                <a:gd name="T12" fmla="*/ 11 w 50"/>
                <a:gd name="T13" fmla="*/ 44 h 143"/>
                <a:gd name="T14" fmla="*/ 11 w 50"/>
                <a:gd name="T15" fmla="*/ 39 h 143"/>
                <a:gd name="T16" fmla="*/ 15 w 50"/>
                <a:gd name="T17" fmla="*/ 36 h 143"/>
                <a:gd name="T18" fmla="*/ 20 w 50"/>
                <a:gd name="T19" fmla="*/ 50 h 143"/>
                <a:gd name="T20" fmla="*/ 24 w 50"/>
                <a:gd name="T21" fmla="*/ 61 h 143"/>
                <a:gd name="T22" fmla="*/ 26 w 50"/>
                <a:gd name="T23" fmla="*/ 70 h 143"/>
                <a:gd name="T24" fmla="*/ 21 w 50"/>
                <a:gd name="T25" fmla="*/ 82 h 143"/>
                <a:gd name="T26" fmla="*/ 26 w 50"/>
                <a:gd name="T27" fmla="*/ 83 h 143"/>
                <a:gd name="T28" fmla="*/ 25 w 50"/>
                <a:gd name="T29" fmla="*/ 88 h 143"/>
                <a:gd name="T30" fmla="*/ 20 w 50"/>
                <a:gd name="T31" fmla="*/ 88 h 143"/>
                <a:gd name="T32" fmla="*/ 19 w 50"/>
                <a:gd name="T33" fmla="*/ 89 h 143"/>
                <a:gd name="T34" fmla="*/ 20 w 50"/>
                <a:gd name="T35" fmla="*/ 93 h 143"/>
                <a:gd name="T36" fmla="*/ 25 w 50"/>
                <a:gd name="T37" fmla="*/ 92 h 143"/>
                <a:gd name="T38" fmla="*/ 23 w 50"/>
                <a:gd name="T39" fmla="*/ 96 h 143"/>
                <a:gd name="T40" fmla="*/ 26 w 50"/>
                <a:gd name="T41" fmla="*/ 99 h 143"/>
                <a:gd name="T42" fmla="*/ 29 w 50"/>
                <a:gd name="T43" fmla="*/ 99 h 143"/>
                <a:gd name="T44" fmla="*/ 28 w 50"/>
                <a:gd name="T45" fmla="*/ 103 h 143"/>
                <a:gd name="T46" fmla="*/ 27 w 50"/>
                <a:gd name="T47" fmla="*/ 118 h 143"/>
                <a:gd name="T48" fmla="*/ 20 w 50"/>
                <a:gd name="T49" fmla="*/ 133 h 143"/>
                <a:gd name="T50" fmla="*/ 21 w 50"/>
                <a:gd name="T51" fmla="*/ 143 h 143"/>
                <a:gd name="T52" fmla="*/ 27 w 50"/>
                <a:gd name="T53" fmla="*/ 130 h 143"/>
                <a:gd name="T54" fmla="*/ 40 w 50"/>
                <a:gd name="T55" fmla="*/ 111 h 143"/>
                <a:gd name="T56" fmla="*/ 50 w 50"/>
                <a:gd name="T57" fmla="*/ 95 h 143"/>
                <a:gd name="T58" fmla="*/ 48 w 50"/>
                <a:gd name="T59" fmla="*/ 90 h 143"/>
                <a:gd name="T60" fmla="*/ 46 w 50"/>
                <a:gd name="T61" fmla="*/ 87 h 143"/>
                <a:gd name="T62" fmla="*/ 45 w 50"/>
                <a:gd name="T63" fmla="*/ 77 h 143"/>
                <a:gd name="T64" fmla="*/ 40 w 50"/>
                <a:gd name="T65" fmla="*/ 68 h 143"/>
                <a:gd name="T66" fmla="*/ 38 w 50"/>
                <a:gd name="T67" fmla="*/ 64 h 143"/>
                <a:gd name="T68" fmla="*/ 37 w 50"/>
                <a:gd name="T69" fmla="*/ 53 h 143"/>
                <a:gd name="T70" fmla="*/ 37 w 50"/>
                <a:gd name="T71" fmla="*/ 52 h 143"/>
                <a:gd name="T72" fmla="*/ 37 w 50"/>
                <a:gd name="T73" fmla="*/ 47 h 143"/>
                <a:gd name="T74" fmla="*/ 36 w 50"/>
                <a:gd name="T75" fmla="*/ 39 h 143"/>
                <a:gd name="T76" fmla="*/ 34 w 50"/>
                <a:gd name="T77" fmla="*/ 36 h 143"/>
                <a:gd name="T78" fmla="*/ 32 w 50"/>
                <a:gd name="T79" fmla="*/ 34 h 143"/>
                <a:gd name="T80" fmla="*/ 26 w 50"/>
                <a:gd name="T81" fmla="*/ 27 h 143"/>
                <a:gd name="T82" fmla="*/ 12 w 50"/>
                <a:gd name="T83" fmla="*/ 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 h="143">
                  <a:moveTo>
                    <a:pt x="9" y="0"/>
                  </a:moveTo>
                  <a:cubicBezTo>
                    <a:pt x="0" y="0"/>
                    <a:pt x="0" y="0"/>
                    <a:pt x="0" y="0"/>
                  </a:cubicBezTo>
                  <a:cubicBezTo>
                    <a:pt x="0" y="1"/>
                    <a:pt x="0" y="2"/>
                    <a:pt x="0" y="2"/>
                  </a:cubicBezTo>
                  <a:cubicBezTo>
                    <a:pt x="0" y="4"/>
                    <a:pt x="0" y="4"/>
                    <a:pt x="1" y="5"/>
                  </a:cubicBezTo>
                  <a:cubicBezTo>
                    <a:pt x="2" y="7"/>
                    <a:pt x="5" y="9"/>
                    <a:pt x="6" y="11"/>
                  </a:cubicBezTo>
                  <a:cubicBezTo>
                    <a:pt x="7" y="11"/>
                    <a:pt x="7" y="11"/>
                    <a:pt x="7" y="11"/>
                  </a:cubicBezTo>
                  <a:cubicBezTo>
                    <a:pt x="6" y="11"/>
                    <a:pt x="6" y="11"/>
                    <a:pt x="6" y="11"/>
                  </a:cubicBezTo>
                  <a:cubicBezTo>
                    <a:pt x="6" y="11"/>
                    <a:pt x="6" y="11"/>
                    <a:pt x="6" y="11"/>
                  </a:cubicBezTo>
                  <a:cubicBezTo>
                    <a:pt x="6" y="12"/>
                    <a:pt x="6" y="12"/>
                    <a:pt x="6" y="12"/>
                  </a:cubicBezTo>
                  <a:cubicBezTo>
                    <a:pt x="6" y="15"/>
                    <a:pt x="6" y="19"/>
                    <a:pt x="7" y="22"/>
                  </a:cubicBezTo>
                  <a:cubicBezTo>
                    <a:pt x="7" y="25"/>
                    <a:pt x="7" y="29"/>
                    <a:pt x="8" y="32"/>
                  </a:cubicBezTo>
                  <a:cubicBezTo>
                    <a:pt x="8" y="35"/>
                    <a:pt x="9" y="38"/>
                    <a:pt x="10" y="42"/>
                  </a:cubicBezTo>
                  <a:cubicBezTo>
                    <a:pt x="10" y="42"/>
                    <a:pt x="10" y="43"/>
                    <a:pt x="10" y="44"/>
                  </a:cubicBezTo>
                  <a:cubicBezTo>
                    <a:pt x="10" y="44"/>
                    <a:pt x="11" y="44"/>
                    <a:pt x="11" y="44"/>
                  </a:cubicBezTo>
                  <a:cubicBezTo>
                    <a:pt x="10" y="43"/>
                    <a:pt x="11" y="41"/>
                    <a:pt x="11" y="40"/>
                  </a:cubicBezTo>
                  <a:cubicBezTo>
                    <a:pt x="11" y="39"/>
                    <a:pt x="11" y="39"/>
                    <a:pt x="11" y="39"/>
                  </a:cubicBezTo>
                  <a:cubicBezTo>
                    <a:pt x="12" y="36"/>
                    <a:pt x="11" y="33"/>
                    <a:pt x="11" y="30"/>
                  </a:cubicBezTo>
                  <a:cubicBezTo>
                    <a:pt x="13" y="30"/>
                    <a:pt x="14" y="33"/>
                    <a:pt x="15" y="36"/>
                  </a:cubicBezTo>
                  <a:cubicBezTo>
                    <a:pt x="16" y="39"/>
                    <a:pt x="17" y="42"/>
                    <a:pt x="18" y="45"/>
                  </a:cubicBezTo>
                  <a:cubicBezTo>
                    <a:pt x="19" y="47"/>
                    <a:pt x="19" y="49"/>
                    <a:pt x="20" y="50"/>
                  </a:cubicBezTo>
                  <a:cubicBezTo>
                    <a:pt x="20" y="51"/>
                    <a:pt x="21" y="52"/>
                    <a:pt x="21" y="53"/>
                  </a:cubicBezTo>
                  <a:cubicBezTo>
                    <a:pt x="22" y="55"/>
                    <a:pt x="23" y="58"/>
                    <a:pt x="24" y="61"/>
                  </a:cubicBezTo>
                  <a:cubicBezTo>
                    <a:pt x="25" y="64"/>
                    <a:pt x="26" y="66"/>
                    <a:pt x="26" y="68"/>
                  </a:cubicBezTo>
                  <a:cubicBezTo>
                    <a:pt x="26" y="69"/>
                    <a:pt x="26" y="70"/>
                    <a:pt x="26" y="70"/>
                  </a:cubicBezTo>
                  <a:cubicBezTo>
                    <a:pt x="25" y="73"/>
                    <a:pt x="23" y="76"/>
                    <a:pt x="24" y="79"/>
                  </a:cubicBezTo>
                  <a:cubicBezTo>
                    <a:pt x="24" y="80"/>
                    <a:pt x="23" y="81"/>
                    <a:pt x="21" y="82"/>
                  </a:cubicBezTo>
                  <a:cubicBezTo>
                    <a:pt x="22" y="82"/>
                    <a:pt x="24" y="82"/>
                    <a:pt x="25" y="82"/>
                  </a:cubicBezTo>
                  <a:cubicBezTo>
                    <a:pt x="26" y="83"/>
                    <a:pt x="26" y="83"/>
                    <a:pt x="26" y="83"/>
                  </a:cubicBezTo>
                  <a:cubicBezTo>
                    <a:pt x="26" y="83"/>
                    <a:pt x="26" y="83"/>
                    <a:pt x="26" y="83"/>
                  </a:cubicBezTo>
                  <a:cubicBezTo>
                    <a:pt x="26" y="83"/>
                    <a:pt x="25" y="88"/>
                    <a:pt x="25" y="88"/>
                  </a:cubicBezTo>
                  <a:cubicBezTo>
                    <a:pt x="25" y="90"/>
                    <a:pt x="25" y="91"/>
                    <a:pt x="25" y="91"/>
                  </a:cubicBezTo>
                  <a:cubicBezTo>
                    <a:pt x="23" y="90"/>
                    <a:pt x="22" y="89"/>
                    <a:pt x="20" y="88"/>
                  </a:cubicBezTo>
                  <a:cubicBezTo>
                    <a:pt x="19" y="87"/>
                    <a:pt x="19" y="87"/>
                    <a:pt x="19" y="87"/>
                  </a:cubicBezTo>
                  <a:cubicBezTo>
                    <a:pt x="19" y="88"/>
                    <a:pt x="19" y="88"/>
                    <a:pt x="19" y="89"/>
                  </a:cubicBezTo>
                  <a:cubicBezTo>
                    <a:pt x="19" y="90"/>
                    <a:pt x="19" y="90"/>
                    <a:pt x="19" y="90"/>
                  </a:cubicBezTo>
                  <a:cubicBezTo>
                    <a:pt x="19" y="92"/>
                    <a:pt x="19" y="93"/>
                    <a:pt x="20" y="93"/>
                  </a:cubicBezTo>
                  <a:cubicBezTo>
                    <a:pt x="22" y="93"/>
                    <a:pt x="23" y="92"/>
                    <a:pt x="25" y="91"/>
                  </a:cubicBezTo>
                  <a:cubicBezTo>
                    <a:pt x="25" y="92"/>
                    <a:pt x="25" y="92"/>
                    <a:pt x="25" y="92"/>
                  </a:cubicBezTo>
                  <a:cubicBezTo>
                    <a:pt x="23" y="92"/>
                    <a:pt x="23" y="92"/>
                    <a:pt x="23" y="92"/>
                  </a:cubicBezTo>
                  <a:cubicBezTo>
                    <a:pt x="23" y="93"/>
                    <a:pt x="22" y="95"/>
                    <a:pt x="23" y="96"/>
                  </a:cubicBezTo>
                  <a:cubicBezTo>
                    <a:pt x="23" y="97"/>
                    <a:pt x="23" y="97"/>
                    <a:pt x="24" y="98"/>
                  </a:cubicBezTo>
                  <a:cubicBezTo>
                    <a:pt x="24" y="98"/>
                    <a:pt x="25" y="99"/>
                    <a:pt x="26" y="99"/>
                  </a:cubicBezTo>
                  <a:cubicBezTo>
                    <a:pt x="27" y="99"/>
                    <a:pt x="28" y="96"/>
                    <a:pt x="30" y="95"/>
                  </a:cubicBezTo>
                  <a:cubicBezTo>
                    <a:pt x="32" y="99"/>
                    <a:pt x="30" y="97"/>
                    <a:pt x="29" y="99"/>
                  </a:cubicBezTo>
                  <a:cubicBezTo>
                    <a:pt x="28" y="100"/>
                    <a:pt x="28" y="101"/>
                    <a:pt x="28" y="103"/>
                  </a:cubicBezTo>
                  <a:cubicBezTo>
                    <a:pt x="28" y="103"/>
                    <a:pt x="28" y="103"/>
                    <a:pt x="28" y="103"/>
                  </a:cubicBezTo>
                  <a:cubicBezTo>
                    <a:pt x="27" y="107"/>
                    <a:pt x="27" y="110"/>
                    <a:pt x="27" y="114"/>
                  </a:cubicBezTo>
                  <a:cubicBezTo>
                    <a:pt x="27" y="115"/>
                    <a:pt x="27" y="117"/>
                    <a:pt x="27" y="118"/>
                  </a:cubicBezTo>
                  <a:cubicBezTo>
                    <a:pt x="26" y="122"/>
                    <a:pt x="24" y="124"/>
                    <a:pt x="20" y="127"/>
                  </a:cubicBezTo>
                  <a:cubicBezTo>
                    <a:pt x="19" y="127"/>
                    <a:pt x="19" y="130"/>
                    <a:pt x="20" y="133"/>
                  </a:cubicBezTo>
                  <a:cubicBezTo>
                    <a:pt x="21" y="135"/>
                    <a:pt x="21" y="136"/>
                    <a:pt x="21" y="137"/>
                  </a:cubicBezTo>
                  <a:cubicBezTo>
                    <a:pt x="21" y="139"/>
                    <a:pt x="21" y="141"/>
                    <a:pt x="21" y="143"/>
                  </a:cubicBezTo>
                  <a:cubicBezTo>
                    <a:pt x="21" y="143"/>
                    <a:pt x="21" y="143"/>
                    <a:pt x="21" y="143"/>
                  </a:cubicBezTo>
                  <a:cubicBezTo>
                    <a:pt x="27" y="130"/>
                    <a:pt x="27" y="130"/>
                    <a:pt x="27" y="130"/>
                  </a:cubicBezTo>
                  <a:cubicBezTo>
                    <a:pt x="28" y="126"/>
                    <a:pt x="30" y="122"/>
                    <a:pt x="34" y="118"/>
                  </a:cubicBezTo>
                  <a:cubicBezTo>
                    <a:pt x="36" y="116"/>
                    <a:pt x="38" y="114"/>
                    <a:pt x="40" y="111"/>
                  </a:cubicBezTo>
                  <a:cubicBezTo>
                    <a:pt x="42" y="108"/>
                    <a:pt x="44" y="105"/>
                    <a:pt x="46" y="102"/>
                  </a:cubicBezTo>
                  <a:cubicBezTo>
                    <a:pt x="47" y="99"/>
                    <a:pt x="49" y="97"/>
                    <a:pt x="50" y="95"/>
                  </a:cubicBezTo>
                  <a:cubicBezTo>
                    <a:pt x="49" y="93"/>
                    <a:pt x="49" y="91"/>
                    <a:pt x="48" y="90"/>
                  </a:cubicBezTo>
                  <a:cubicBezTo>
                    <a:pt x="48" y="90"/>
                    <a:pt x="48" y="90"/>
                    <a:pt x="48" y="90"/>
                  </a:cubicBezTo>
                  <a:cubicBezTo>
                    <a:pt x="48" y="90"/>
                    <a:pt x="48" y="90"/>
                    <a:pt x="48" y="90"/>
                  </a:cubicBezTo>
                  <a:cubicBezTo>
                    <a:pt x="46" y="87"/>
                    <a:pt x="46" y="87"/>
                    <a:pt x="46" y="87"/>
                  </a:cubicBezTo>
                  <a:cubicBezTo>
                    <a:pt x="46" y="84"/>
                    <a:pt x="45" y="81"/>
                    <a:pt x="45" y="78"/>
                  </a:cubicBezTo>
                  <a:cubicBezTo>
                    <a:pt x="45" y="77"/>
                    <a:pt x="45" y="77"/>
                    <a:pt x="45" y="77"/>
                  </a:cubicBezTo>
                  <a:cubicBezTo>
                    <a:pt x="45" y="77"/>
                    <a:pt x="44" y="76"/>
                    <a:pt x="44" y="75"/>
                  </a:cubicBezTo>
                  <a:cubicBezTo>
                    <a:pt x="44" y="73"/>
                    <a:pt x="42" y="70"/>
                    <a:pt x="40" y="68"/>
                  </a:cubicBezTo>
                  <a:cubicBezTo>
                    <a:pt x="40" y="67"/>
                    <a:pt x="39" y="66"/>
                    <a:pt x="38" y="65"/>
                  </a:cubicBezTo>
                  <a:cubicBezTo>
                    <a:pt x="38" y="64"/>
                    <a:pt x="38" y="64"/>
                    <a:pt x="38" y="64"/>
                  </a:cubicBezTo>
                  <a:cubicBezTo>
                    <a:pt x="36" y="62"/>
                    <a:pt x="35" y="60"/>
                    <a:pt x="35" y="57"/>
                  </a:cubicBezTo>
                  <a:cubicBezTo>
                    <a:pt x="35" y="55"/>
                    <a:pt x="36" y="54"/>
                    <a:pt x="37" y="53"/>
                  </a:cubicBezTo>
                  <a:cubicBezTo>
                    <a:pt x="37" y="53"/>
                    <a:pt x="37" y="53"/>
                    <a:pt x="37" y="53"/>
                  </a:cubicBezTo>
                  <a:cubicBezTo>
                    <a:pt x="37" y="53"/>
                    <a:pt x="37" y="52"/>
                    <a:pt x="37" y="52"/>
                  </a:cubicBezTo>
                  <a:cubicBezTo>
                    <a:pt x="37" y="51"/>
                    <a:pt x="37" y="51"/>
                    <a:pt x="37" y="50"/>
                  </a:cubicBezTo>
                  <a:cubicBezTo>
                    <a:pt x="37" y="49"/>
                    <a:pt x="37" y="48"/>
                    <a:pt x="37" y="47"/>
                  </a:cubicBezTo>
                  <a:cubicBezTo>
                    <a:pt x="37" y="43"/>
                    <a:pt x="37" y="41"/>
                    <a:pt x="37" y="40"/>
                  </a:cubicBezTo>
                  <a:cubicBezTo>
                    <a:pt x="36" y="39"/>
                    <a:pt x="36" y="39"/>
                    <a:pt x="36" y="39"/>
                  </a:cubicBezTo>
                  <a:cubicBezTo>
                    <a:pt x="36" y="39"/>
                    <a:pt x="36" y="39"/>
                    <a:pt x="35" y="38"/>
                  </a:cubicBezTo>
                  <a:cubicBezTo>
                    <a:pt x="35" y="37"/>
                    <a:pt x="34" y="37"/>
                    <a:pt x="34" y="36"/>
                  </a:cubicBezTo>
                  <a:cubicBezTo>
                    <a:pt x="33" y="36"/>
                    <a:pt x="33" y="36"/>
                    <a:pt x="33" y="36"/>
                  </a:cubicBezTo>
                  <a:cubicBezTo>
                    <a:pt x="33" y="35"/>
                    <a:pt x="32" y="35"/>
                    <a:pt x="32" y="34"/>
                  </a:cubicBezTo>
                  <a:cubicBezTo>
                    <a:pt x="28" y="30"/>
                    <a:pt x="28" y="30"/>
                    <a:pt x="28" y="30"/>
                  </a:cubicBezTo>
                  <a:cubicBezTo>
                    <a:pt x="27" y="29"/>
                    <a:pt x="26" y="28"/>
                    <a:pt x="26" y="27"/>
                  </a:cubicBezTo>
                  <a:cubicBezTo>
                    <a:pt x="24" y="25"/>
                    <a:pt x="24" y="25"/>
                    <a:pt x="24" y="25"/>
                  </a:cubicBezTo>
                  <a:cubicBezTo>
                    <a:pt x="20" y="20"/>
                    <a:pt x="15" y="15"/>
                    <a:pt x="12" y="8"/>
                  </a:cubicBezTo>
                  <a:cubicBezTo>
                    <a:pt x="10" y="5"/>
                    <a:pt x="9" y="3"/>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4" name="Freeform 1522">
              <a:extLst>
                <a:ext uri="{FF2B5EF4-FFF2-40B4-BE49-F238E27FC236}">
                  <a16:creationId xmlns:a16="http://schemas.microsoft.com/office/drawing/2014/main" id="{78F92DF9-83D4-4228-A85C-129DF5CA5A3F}"/>
                </a:ext>
              </a:extLst>
            </p:cNvPr>
            <p:cNvSpPr>
              <a:spLocks/>
            </p:cNvSpPr>
            <p:nvPr/>
          </p:nvSpPr>
          <p:spPr bwMode="auto">
            <a:xfrm>
              <a:off x="420" y="0"/>
              <a:ext cx="498" cy="641"/>
            </a:xfrm>
            <a:custGeom>
              <a:avLst/>
              <a:gdLst>
                <a:gd name="T0" fmla="*/ 7 w 211"/>
                <a:gd name="T1" fmla="*/ 5 h 271"/>
                <a:gd name="T2" fmla="*/ 22 w 211"/>
                <a:gd name="T3" fmla="*/ 25 h 271"/>
                <a:gd name="T4" fmla="*/ 27 w 211"/>
                <a:gd name="T5" fmla="*/ 31 h 271"/>
                <a:gd name="T6" fmla="*/ 33 w 211"/>
                <a:gd name="T7" fmla="*/ 47 h 271"/>
                <a:gd name="T8" fmla="*/ 33 w 211"/>
                <a:gd name="T9" fmla="*/ 51 h 271"/>
                <a:gd name="T10" fmla="*/ 31 w 211"/>
                <a:gd name="T11" fmla="*/ 58 h 271"/>
                <a:gd name="T12" fmla="*/ 33 w 211"/>
                <a:gd name="T13" fmla="*/ 61 h 271"/>
                <a:gd name="T14" fmla="*/ 41 w 211"/>
                <a:gd name="T15" fmla="*/ 77 h 271"/>
                <a:gd name="T16" fmla="*/ 45 w 211"/>
                <a:gd name="T17" fmla="*/ 89 h 271"/>
                <a:gd name="T18" fmla="*/ 46 w 211"/>
                <a:gd name="T19" fmla="*/ 96 h 271"/>
                <a:gd name="T20" fmla="*/ 28 w 211"/>
                <a:gd name="T21" fmla="*/ 123 h 271"/>
                <a:gd name="T22" fmla="*/ 12 w 211"/>
                <a:gd name="T23" fmla="*/ 151 h 271"/>
                <a:gd name="T24" fmla="*/ 4 w 211"/>
                <a:gd name="T25" fmla="*/ 175 h 271"/>
                <a:gd name="T26" fmla="*/ 4 w 211"/>
                <a:gd name="T27" fmla="*/ 175 h 271"/>
                <a:gd name="T28" fmla="*/ 1 w 211"/>
                <a:gd name="T29" fmla="*/ 190 h 271"/>
                <a:gd name="T30" fmla="*/ 7 w 211"/>
                <a:gd name="T31" fmla="*/ 198 h 271"/>
                <a:gd name="T32" fmla="*/ 26 w 211"/>
                <a:gd name="T33" fmla="*/ 209 h 271"/>
                <a:gd name="T34" fmla="*/ 32 w 211"/>
                <a:gd name="T35" fmla="*/ 218 h 271"/>
                <a:gd name="T36" fmla="*/ 38 w 211"/>
                <a:gd name="T37" fmla="*/ 226 h 271"/>
                <a:gd name="T38" fmla="*/ 45 w 211"/>
                <a:gd name="T39" fmla="*/ 232 h 271"/>
                <a:gd name="T40" fmla="*/ 54 w 211"/>
                <a:gd name="T41" fmla="*/ 248 h 271"/>
                <a:gd name="T42" fmla="*/ 61 w 211"/>
                <a:gd name="T43" fmla="*/ 242 h 271"/>
                <a:gd name="T44" fmla="*/ 76 w 211"/>
                <a:gd name="T45" fmla="*/ 248 h 271"/>
                <a:gd name="T46" fmla="*/ 81 w 211"/>
                <a:gd name="T47" fmla="*/ 255 h 271"/>
                <a:gd name="T48" fmla="*/ 88 w 211"/>
                <a:gd name="T49" fmla="*/ 256 h 271"/>
                <a:gd name="T50" fmla="*/ 86 w 211"/>
                <a:gd name="T51" fmla="*/ 270 h 271"/>
                <a:gd name="T52" fmla="*/ 90 w 211"/>
                <a:gd name="T53" fmla="*/ 268 h 271"/>
                <a:gd name="T54" fmla="*/ 103 w 211"/>
                <a:gd name="T55" fmla="*/ 268 h 271"/>
                <a:gd name="T56" fmla="*/ 111 w 211"/>
                <a:gd name="T57" fmla="*/ 256 h 271"/>
                <a:gd name="T58" fmla="*/ 90 w 211"/>
                <a:gd name="T59" fmla="*/ 237 h 271"/>
                <a:gd name="T60" fmla="*/ 88 w 211"/>
                <a:gd name="T61" fmla="*/ 240 h 271"/>
                <a:gd name="T62" fmla="*/ 70 w 211"/>
                <a:gd name="T63" fmla="*/ 230 h 271"/>
                <a:gd name="T64" fmla="*/ 65 w 211"/>
                <a:gd name="T65" fmla="*/ 231 h 271"/>
                <a:gd name="T66" fmla="*/ 59 w 211"/>
                <a:gd name="T67" fmla="*/ 214 h 271"/>
                <a:gd name="T68" fmla="*/ 63 w 211"/>
                <a:gd name="T69" fmla="*/ 209 h 271"/>
                <a:gd name="T70" fmla="*/ 45 w 211"/>
                <a:gd name="T71" fmla="*/ 168 h 271"/>
                <a:gd name="T72" fmla="*/ 30 w 211"/>
                <a:gd name="T73" fmla="*/ 168 h 271"/>
                <a:gd name="T74" fmla="*/ 28 w 211"/>
                <a:gd name="T75" fmla="*/ 153 h 271"/>
                <a:gd name="T76" fmla="*/ 40 w 211"/>
                <a:gd name="T77" fmla="*/ 115 h 271"/>
                <a:gd name="T78" fmla="*/ 52 w 211"/>
                <a:gd name="T79" fmla="*/ 71 h 271"/>
                <a:gd name="T80" fmla="*/ 64 w 211"/>
                <a:gd name="T81" fmla="*/ 46 h 271"/>
                <a:gd name="T82" fmla="*/ 69 w 211"/>
                <a:gd name="T83" fmla="*/ 30 h 271"/>
                <a:gd name="T84" fmla="*/ 81 w 211"/>
                <a:gd name="T85" fmla="*/ 46 h 271"/>
                <a:gd name="T86" fmla="*/ 83 w 211"/>
                <a:gd name="T87" fmla="*/ 71 h 271"/>
                <a:gd name="T88" fmla="*/ 106 w 211"/>
                <a:gd name="T89" fmla="*/ 70 h 271"/>
                <a:gd name="T90" fmla="*/ 123 w 211"/>
                <a:gd name="T91" fmla="*/ 85 h 271"/>
                <a:gd name="T92" fmla="*/ 131 w 211"/>
                <a:gd name="T93" fmla="*/ 88 h 271"/>
                <a:gd name="T94" fmla="*/ 130 w 211"/>
                <a:gd name="T95" fmla="*/ 79 h 271"/>
                <a:gd name="T96" fmla="*/ 125 w 211"/>
                <a:gd name="T97" fmla="*/ 74 h 271"/>
                <a:gd name="T98" fmla="*/ 123 w 211"/>
                <a:gd name="T99" fmla="*/ 63 h 271"/>
                <a:gd name="T100" fmla="*/ 120 w 211"/>
                <a:gd name="T101" fmla="*/ 43 h 271"/>
                <a:gd name="T102" fmla="*/ 132 w 211"/>
                <a:gd name="T103" fmla="*/ 29 h 271"/>
                <a:gd name="T104" fmla="*/ 151 w 211"/>
                <a:gd name="T105" fmla="*/ 16 h 271"/>
                <a:gd name="T106" fmla="*/ 167 w 211"/>
                <a:gd name="T107" fmla="*/ 16 h 271"/>
                <a:gd name="T108" fmla="*/ 176 w 211"/>
                <a:gd name="T109" fmla="*/ 16 h 271"/>
                <a:gd name="T110" fmla="*/ 194 w 211"/>
                <a:gd name="T111" fmla="*/ 15 h 271"/>
                <a:gd name="T112" fmla="*/ 200 w 211"/>
                <a:gd name="T113" fmla="*/ 16 h 271"/>
                <a:gd name="T114" fmla="*/ 205 w 211"/>
                <a:gd name="T115" fmla="*/ 16 h 271"/>
                <a:gd name="T116" fmla="*/ 209 w 211"/>
                <a:gd name="T117" fmla="*/ 4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1" h="271">
                  <a:moveTo>
                    <a:pt x="208" y="0"/>
                  </a:moveTo>
                  <a:cubicBezTo>
                    <a:pt x="5" y="0"/>
                    <a:pt x="5" y="0"/>
                    <a:pt x="5" y="0"/>
                  </a:cubicBezTo>
                  <a:cubicBezTo>
                    <a:pt x="5" y="1"/>
                    <a:pt x="6" y="3"/>
                    <a:pt x="7" y="5"/>
                  </a:cubicBezTo>
                  <a:cubicBezTo>
                    <a:pt x="10" y="10"/>
                    <a:pt x="14" y="15"/>
                    <a:pt x="19" y="21"/>
                  </a:cubicBezTo>
                  <a:cubicBezTo>
                    <a:pt x="20" y="23"/>
                    <a:pt x="20" y="23"/>
                    <a:pt x="20" y="23"/>
                  </a:cubicBezTo>
                  <a:cubicBezTo>
                    <a:pt x="21" y="23"/>
                    <a:pt x="22" y="24"/>
                    <a:pt x="22" y="25"/>
                  </a:cubicBezTo>
                  <a:cubicBezTo>
                    <a:pt x="26" y="29"/>
                    <a:pt x="26" y="29"/>
                    <a:pt x="26" y="29"/>
                  </a:cubicBezTo>
                  <a:cubicBezTo>
                    <a:pt x="27" y="30"/>
                    <a:pt x="27" y="30"/>
                    <a:pt x="27" y="30"/>
                  </a:cubicBezTo>
                  <a:cubicBezTo>
                    <a:pt x="27" y="31"/>
                    <a:pt x="27" y="31"/>
                    <a:pt x="27" y="31"/>
                  </a:cubicBezTo>
                  <a:cubicBezTo>
                    <a:pt x="28" y="32"/>
                    <a:pt x="29" y="32"/>
                    <a:pt x="30" y="33"/>
                  </a:cubicBezTo>
                  <a:cubicBezTo>
                    <a:pt x="31" y="35"/>
                    <a:pt x="32" y="36"/>
                    <a:pt x="32" y="37"/>
                  </a:cubicBezTo>
                  <a:cubicBezTo>
                    <a:pt x="33" y="39"/>
                    <a:pt x="33" y="42"/>
                    <a:pt x="33" y="47"/>
                  </a:cubicBezTo>
                  <a:cubicBezTo>
                    <a:pt x="33" y="48"/>
                    <a:pt x="33" y="48"/>
                    <a:pt x="33" y="48"/>
                  </a:cubicBezTo>
                  <a:cubicBezTo>
                    <a:pt x="33" y="48"/>
                    <a:pt x="33" y="49"/>
                    <a:pt x="33" y="50"/>
                  </a:cubicBezTo>
                  <a:cubicBezTo>
                    <a:pt x="33" y="51"/>
                    <a:pt x="33" y="51"/>
                    <a:pt x="33" y="51"/>
                  </a:cubicBezTo>
                  <a:cubicBezTo>
                    <a:pt x="34" y="52"/>
                    <a:pt x="34" y="55"/>
                    <a:pt x="32" y="57"/>
                  </a:cubicBezTo>
                  <a:cubicBezTo>
                    <a:pt x="32" y="58"/>
                    <a:pt x="32" y="58"/>
                    <a:pt x="32" y="58"/>
                  </a:cubicBezTo>
                  <a:cubicBezTo>
                    <a:pt x="31" y="58"/>
                    <a:pt x="31" y="58"/>
                    <a:pt x="31" y="58"/>
                  </a:cubicBezTo>
                  <a:cubicBezTo>
                    <a:pt x="31" y="59"/>
                    <a:pt x="32" y="59"/>
                    <a:pt x="32" y="60"/>
                  </a:cubicBezTo>
                  <a:cubicBezTo>
                    <a:pt x="32" y="60"/>
                    <a:pt x="32" y="60"/>
                    <a:pt x="32" y="60"/>
                  </a:cubicBezTo>
                  <a:cubicBezTo>
                    <a:pt x="33" y="60"/>
                    <a:pt x="33" y="61"/>
                    <a:pt x="33" y="61"/>
                  </a:cubicBezTo>
                  <a:cubicBezTo>
                    <a:pt x="34" y="62"/>
                    <a:pt x="34" y="63"/>
                    <a:pt x="35" y="64"/>
                  </a:cubicBezTo>
                  <a:cubicBezTo>
                    <a:pt x="37" y="67"/>
                    <a:pt x="40" y="70"/>
                    <a:pt x="40" y="74"/>
                  </a:cubicBezTo>
                  <a:cubicBezTo>
                    <a:pt x="41" y="75"/>
                    <a:pt x="41" y="76"/>
                    <a:pt x="41" y="77"/>
                  </a:cubicBezTo>
                  <a:cubicBezTo>
                    <a:pt x="41" y="78"/>
                    <a:pt x="41" y="78"/>
                    <a:pt x="41" y="78"/>
                  </a:cubicBezTo>
                  <a:cubicBezTo>
                    <a:pt x="41" y="79"/>
                    <a:pt x="41" y="81"/>
                    <a:pt x="42" y="83"/>
                  </a:cubicBezTo>
                  <a:cubicBezTo>
                    <a:pt x="44" y="84"/>
                    <a:pt x="44" y="87"/>
                    <a:pt x="45" y="89"/>
                  </a:cubicBezTo>
                  <a:cubicBezTo>
                    <a:pt x="45" y="90"/>
                    <a:pt x="45" y="91"/>
                    <a:pt x="45" y="92"/>
                  </a:cubicBezTo>
                  <a:cubicBezTo>
                    <a:pt x="48" y="93"/>
                    <a:pt x="48" y="93"/>
                    <a:pt x="48" y="93"/>
                  </a:cubicBezTo>
                  <a:cubicBezTo>
                    <a:pt x="46" y="96"/>
                    <a:pt x="46" y="96"/>
                    <a:pt x="46" y="96"/>
                  </a:cubicBezTo>
                  <a:cubicBezTo>
                    <a:pt x="45" y="99"/>
                    <a:pt x="43" y="102"/>
                    <a:pt x="41" y="106"/>
                  </a:cubicBezTo>
                  <a:cubicBezTo>
                    <a:pt x="39" y="109"/>
                    <a:pt x="37" y="112"/>
                    <a:pt x="35" y="115"/>
                  </a:cubicBezTo>
                  <a:cubicBezTo>
                    <a:pt x="32" y="118"/>
                    <a:pt x="30" y="121"/>
                    <a:pt x="28" y="123"/>
                  </a:cubicBezTo>
                  <a:cubicBezTo>
                    <a:pt x="25" y="126"/>
                    <a:pt x="24" y="130"/>
                    <a:pt x="22" y="133"/>
                  </a:cubicBezTo>
                  <a:cubicBezTo>
                    <a:pt x="14" y="152"/>
                    <a:pt x="14" y="152"/>
                    <a:pt x="14" y="152"/>
                  </a:cubicBezTo>
                  <a:cubicBezTo>
                    <a:pt x="12" y="151"/>
                    <a:pt x="12" y="151"/>
                    <a:pt x="12" y="151"/>
                  </a:cubicBezTo>
                  <a:cubicBezTo>
                    <a:pt x="12" y="151"/>
                    <a:pt x="12" y="151"/>
                    <a:pt x="12" y="151"/>
                  </a:cubicBezTo>
                  <a:cubicBezTo>
                    <a:pt x="10" y="157"/>
                    <a:pt x="5" y="165"/>
                    <a:pt x="4" y="172"/>
                  </a:cubicBezTo>
                  <a:cubicBezTo>
                    <a:pt x="4" y="173"/>
                    <a:pt x="4" y="174"/>
                    <a:pt x="4" y="175"/>
                  </a:cubicBezTo>
                  <a:cubicBezTo>
                    <a:pt x="4" y="175"/>
                    <a:pt x="3" y="174"/>
                    <a:pt x="3" y="173"/>
                  </a:cubicBezTo>
                  <a:cubicBezTo>
                    <a:pt x="3" y="173"/>
                    <a:pt x="3" y="173"/>
                    <a:pt x="3" y="173"/>
                  </a:cubicBezTo>
                  <a:cubicBezTo>
                    <a:pt x="3" y="174"/>
                    <a:pt x="4" y="175"/>
                    <a:pt x="4" y="175"/>
                  </a:cubicBezTo>
                  <a:cubicBezTo>
                    <a:pt x="4" y="177"/>
                    <a:pt x="4" y="179"/>
                    <a:pt x="3" y="182"/>
                  </a:cubicBezTo>
                  <a:cubicBezTo>
                    <a:pt x="1" y="185"/>
                    <a:pt x="2" y="188"/>
                    <a:pt x="1" y="191"/>
                  </a:cubicBezTo>
                  <a:cubicBezTo>
                    <a:pt x="1" y="190"/>
                    <a:pt x="1" y="190"/>
                    <a:pt x="1" y="190"/>
                  </a:cubicBezTo>
                  <a:cubicBezTo>
                    <a:pt x="0" y="192"/>
                    <a:pt x="2" y="197"/>
                    <a:pt x="3" y="199"/>
                  </a:cubicBezTo>
                  <a:cubicBezTo>
                    <a:pt x="4" y="201"/>
                    <a:pt x="6" y="202"/>
                    <a:pt x="7" y="202"/>
                  </a:cubicBezTo>
                  <a:cubicBezTo>
                    <a:pt x="8" y="202"/>
                    <a:pt x="8" y="201"/>
                    <a:pt x="7" y="198"/>
                  </a:cubicBezTo>
                  <a:cubicBezTo>
                    <a:pt x="9" y="197"/>
                    <a:pt x="11" y="197"/>
                    <a:pt x="12" y="197"/>
                  </a:cubicBezTo>
                  <a:cubicBezTo>
                    <a:pt x="14" y="197"/>
                    <a:pt x="16" y="198"/>
                    <a:pt x="18" y="201"/>
                  </a:cubicBezTo>
                  <a:cubicBezTo>
                    <a:pt x="19" y="203"/>
                    <a:pt x="24" y="209"/>
                    <a:pt x="26" y="209"/>
                  </a:cubicBezTo>
                  <a:cubicBezTo>
                    <a:pt x="26" y="209"/>
                    <a:pt x="26" y="209"/>
                    <a:pt x="26" y="209"/>
                  </a:cubicBezTo>
                  <a:cubicBezTo>
                    <a:pt x="26" y="211"/>
                    <a:pt x="25" y="215"/>
                    <a:pt x="25" y="215"/>
                  </a:cubicBezTo>
                  <a:cubicBezTo>
                    <a:pt x="27" y="216"/>
                    <a:pt x="31" y="216"/>
                    <a:pt x="32" y="218"/>
                  </a:cubicBezTo>
                  <a:cubicBezTo>
                    <a:pt x="32" y="220"/>
                    <a:pt x="33" y="224"/>
                    <a:pt x="34" y="225"/>
                  </a:cubicBezTo>
                  <a:cubicBezTo>
                    <a:pt x="35" y="226"/>
                    <a:pt x="35" y="226"/>
                    <a:pt x="36" y="226"/>
                  </a:cubicBezTo>
                  <a:cubicBezTo>
                    <a:pt x="36" y="226"/>
                    <a:pt x="37" y="226"/>
                    <a:pt x="38" y="226"/>
                  </a:cubicBezTo>
                  <a:cubicBezTo>
                    <a:pt x="38" y="225"/>
                    <a:pt x="39" y="225"/>
                    <a:pt x="40" y="225"/>
                  </a:cubicBezTo>
                  <a:cubicBezTo>
                    <a:pt x="40" y="225"/>
                    <a:pt x="41" y="225"/>
                    <a:pt x="41" y="225"/>
                  </a:cubicBezTo>
                  <a:cubicBezTo>
                    <a:pt x="39" y="230"/>
                    <a:pt x="40" y="232"/>
                    <a:pt x="45" y="232"/>
                  </a:cubicBezTo>
                  <a:cubicBezTo>
                    <a:pt x="44" y="234"/>
                    <a:pt x="43" y="236"/>
                    <a:pt x="44" y="239"/>
                  </a:cubicBezTo>
                  <a:cubicBezTo>
                    <a:pt x="45" y="242"/>
                    <a:pt x="50" y="247"/>
                    <a:pt x="54" y="250"/>
                  </a:cubicBezTo>
                  <a:cubicBezTo>
                    <a:pt x="54" y="248"/>
                    <a:pt x="54" y="248"/>
                    <a:pt x="54" y="248"/>
                  </a:cubicBezTo>
                  <a:cubicBezTo>
                    <a:pt x="54" y="247"/>
                    <a:pt x="55" y="246"/>
                    <a:pt x="55" y="245"/>
                  </a:cubicBezTo>
                  <a:cubicBezTo>
                    <a:pt x="57" y="238"/>
                    <a:pt x="57" y="238"/>
                    <a:pt x="57" y="238"/>
                  </a:cubicBezTo>
                  <a:cubicBezTo>
                    <a:pt x="61" y="242"/>
                    <a:pt x="61" y="242"/>
                    <a:pt x="61" y="242"/>
                  </a:cubicBezTo>
                  <a:cubicBezTo>
                    <a:pt x="65" y="245"/>
                    <a:pt x="66" y="246"/>
                    <a:pt x="68" y="246"/>
                  </a:cubicBezTo>
                  <a:cubicBezTo>
                    <a:pt x="71" y="246"/>
                    <a:pt x="73" y="246"/>
                    <a:pt x="75" y="247"/>
                  </a:cubicBezTo>
                  <a:cubicBezTo>
                    <a:pt x="76" y="248"/>
                    <a:pt x="76" y="248"/>
                    <a:pt x="76" y="248"/>
                  </a:cubicBezTo>
                  <a:cubicBezTo>
                    <a:pt x="77" y="248"/>
                    <a:pt x="77" y="248"/>
                    <a:pt x="78" y="249"/>
                  </a:cubicBezTo>
                  <a:cubicBezTo>
                    <a:pt x="78" y="249"/>
                    <a:pt x="78" y="249"/>
                    <a:pt x="78" y="249"/>
                  </a:cubicBezTo>
                  <a:cubicBezTo>
                    <a:pt x="80" y="251"/>
                    <a:pt x="81" y="253"/>
                    <a:pt x="81" y="255"/>
                  </a:cubicBezTo>
                  <a:cubicBezTo>
                    <a:pt x="81" y="255"/>
                    <a:pt x="81" y="255"/>
                    <a:pt x="81" y="255"/>
                  </a:cubicBezTo>
                  <a:cubicBezTo>
                    <a:pt x="82" y="254"/>
                    <a:pt x="83" y="254"/>
                    <a:pt x="84" y="254"/>
                  </a:cubicBezTo>
                  <a:cubicBezTo>
                    <a:pt x="85" y="254"/>
                    <a:pt x="87" y="255"/>
                    <a:pt x="88" y="256"/>
                  </a:cubicBezTo>
                  <a:cubicBezTo>
                    <a:pt x="90" y="258"/>
                    <a:pt x="90" y="260"/>
                    <a:pt x="89" y="263"/>
                  </a:cubicBezTo>
                  <a:cubicBezTo>
                    <a:pt x="89" y="265"/>
                    <a:pt x="88" y="266"/>
                    <a:pt x="87" y="268"/>
                  </a:cubicBezTo>
                  <a:cubicBezTo>
                    <a:pt x="86" y="269"/>
                    <a:pt x="86" y="270"/>
                    <a:pt x="86" y="270"/>
                  </a:cubicBezTo>
                  <a:cubicBezTo>
                    <a:pt x="87" y="271"/>
                    <a:pt x="87" y="271"/>
                    <a:pt x="87" y="271"/>
                  </a:cubicBezTo>
                  <a:cubicBezTo>
                    <a:pt x="87" y="271"/>
                    <a:pt x="88" y="271"/>
                    <a:pt x="88" y="270"/>
                  </a:cubicBezTo>
                  <a:cubicBezTo>
                    <a:pt x="90" y="268"/>
                    <a:pt x="90" y="268"/>
                    <a:pt x="90" y="268"/>
                  </a:cubicBezTo>
                  <a:cubicBezTo>
                    <a:pt x="91" y="267"/>
                    <a:pt x="94" y="265"/>
                    <a:pt x="97" y="265"/>
                  </a:cubicBezTo>
                  <a:cubicBezTo>
                    <a:pt x="99" y="265"/>
                    <a:pt x="101" y="267"/>
                    <a:pt x="102" y="268"/>
                  </a:cubicBezTo>
                  <a:cubicBezTo>
                    <a:pt x="103" y="268"/>
                    <a:pt x="103" y="268"/>
                    <a:pt x="103" y="268"/>
                  </a:cubicBezTo>
                  <a:cubicBezTo>
                    <a:pt x="106" y="267"/>
                    <a:pt x="107" y="266"/>
                    <a:pt x="108" y="264"/>
                  </a:cubicBezTo>
                  <a:cubicBezTo>
                    <a:pt x="109" y="262"/>
                    <a:pt x="110" y="259"/>
                    <a:pt x="111" y="256"/>
                  </a:cubicBezTo>
                  <a:cubicBezTo>
                    <a:pt x="111" y="256"/>
                    <a:pt x="111" y="256"/>
                    <a:pt x="111" y="256"/>
                  </a:cubicBezTo>
                  <a:cubicBezTo>
                    <a:pt x="110" y="255"/>
                    <a:pt x="109" y="254"/>
                    <a:pt x="108" y="253"/>
                  </a:cubicBezTo>
                  <a:cubicBezTo>
                    <a:pt x="106" y="251"/>
                    <a:pt x="103" y="249"/>
                    <a:pt x="102" y="247"/>
                  </a:cubicBezTo>
                  <a:cubicBezTo>
                    <a:pt x="99" y="242"/>
                    <a:pt x="96" y="238"/>
                    <a:pt x="90" y="237"/>
                  </a:cubicBezTo>
                  <a:cubicBezTo>
                    <a:pt x="91" y="238"/>
                    <a:pt x="92" y="239"/>
                    <a:pt x="92" y="240"/>
                  </a:cubicBezTo>
                  <a:cubicBezTo>
                    <a:pt x="92" y="239"/>
                    <a:pt x="92" y="239"/>
                    <a:pt x="91" y="239"/>
                  </a:cubicBezTo>
                  <a:cubicBezTo>
                    <a:pt x="90" y="239"/>
                    <a:pt x="89" y="240"/>
                    <a:pt x="88" y="240"/>
                  </a:cubicBezTo>
                  <a:cubicBezTo>
                    <a:pt x="87" y="240"/>
                    <a:pt x="86" y="240"/>
                    <a:pt x="85" y="240"/>
                  </a:cubicBezTo>
                  <a:cubicBezTo>
                    <a:pt x="85" y="240"/>
                    <a:pt x="84" y="240"/>
                    <a:pt x="84" y="240"/>
                  </a:cubicBezTo>
                  <a:cubicBezTo>
                    <a:pt x="82" y="240"/>
                    <a:pt x="73" y="230"/>
                    <a:pt x="70" y="230"/>
                  </a:cubicBezTo>
                  <a:cubicBezTo>
                    <a:pt x="70" y="230"/>
                    <a:pt x="70" y="230"/>
                    <a:pt x="70" y="230"/>
                  </a:cubicBezTo>
                  <a:cubicBezTo>
                    <a:pt x="69" y="231"/>
                    <a:pt x="68" y="231"/>
                    <a:pt x="67" y="231"/>
                  </a:cubicBezTo>
                  <a:cubicBezTo>
                    <a:pt x="66" y="231"/>
                    <a:pt x="66" y="231"/>
                    <a:pt x="65" y="231"/>
                  </a:cubicBezTo>
                  <a:cubicBezTo>
                    <a:pt x="64" y="230"/>
                    <a:pt x="65" y="228"/>
                    <a:pt x="64" y="227"/>
                  </a:cubicBezTo>
                  <a:cubicBezTo>
                    <a:pt x="62" y="225"/>
                    <a:pt x="61" y="224"/>
                    <a:pt x="59" y="222"/>
                  </a:cubicBezTo>
                  <a:cubicBezTo>
                    <a:pt x="57" y="219"/>
                    <a:pt x="58" y="217"/>
                    <a:pt x="59" y="214"/>
                  </a:cubicBezTo>
                  <a:cubicBezTo>
                    <a:pt x="62" y="219"/>
                    <a:pt x="66" y="225"/>
                    <a:pt x="70" y="230"/>
                  </a:cubicBezTo>
                  <a:cubicBezTo>
                    <a:pt x="69" y="229"/>
                    <a:pt x="69" y="229"/>
                    <a:pt x="68" y="227"/>
                  </a:cubicBezTo>
                  <a:cubicBezTo>
                    <a:pt x="65" y="221"/>
                    <a:pt x="65" y="215"/>
                    <a:pt x="63" y="209"/>
                  </a:cubicBezTo>
                  <a:cubicBezTo>
                    <a:pt x="60" y="200"/>
                    <a:pt x="56" y="191"/>
                    <a:pt x="52" y="183"/>
                  </a:cubicBezTo>
                  <a:cubicBezTo>
                    <a:pt x="50" y="178"/>
                    <a:pt x="49" y="174"/>
                    <a:pt x="47" y="169"/>
                  </a:cubicBezTo>
                  <a:cubicBezTo>
                    <a:pt x="47" y="169"/>
                    <a:pt x="46" y="168"/>
                    <a:pt x="45" y="168"/>
                  </a:cubicBezTo>
                  <a:cubicBezTo>
                    <a:pt x="43" y="168"/>
                    <a:pt x="39" y="170"/>
                    <a:pt x="38" y="170"/>
                  </a:cubicBezTo>
                  <a:cubicBezTo>
                    <a:pt x="37" y="170"/>
                    <a:pt x="35" y="171"/>
                    <a:pt x="33" y="171"/>
                  </a:cubicBezTo>
                  <a:cubicBezTo>
                    <a:pt x="31" y="171"/>
                    <a:pt x="30" y="170"/>
                    <a:pt x="30" y="168"/>
                  </a:cubicBezTo>
                  <a:cubicBezTo>
                    <a:pt x="31" y="167"/>
                    <a:pt x="32" y="166"/>
                    <a:pt x="33" y="166"/>
                  </a:cubicBezTo>
                  <a:cubicBezTo>
                    <a:pt x="32" y="165"/>
                    <a:pt x="31" y="163"/>
                    <a:pt x="30" y="161"/>
                  </a:cubicBezTo>
                  <a:cubicBezTo>
                    <a:pt x="29" y="159"/>
                    <a:pt x="28" y="156"/>
                    <a:pt x="28" y="153"/>
                  </a:cubicBezTo>
                  <a:cubicBezTo>
                    <a:pt x="30" y="148"/>
                    <a:pt x="31" y="143"/>
                    <a:pt x="29" y="137"/>
                  </a:cubicBezTo>
                  <a:cubicBezTo>
                    <a:pt x="30" y="137"/>
                    <a:pt x="32" y="132"/>
                    <a:pt x="33" y="130"/>
                  </a:cubicBezTo>
                  <a:cubicBezTo>
                    <a:pt x="35" y="125"/>
                    <a:pt x="38" y="120"/>
                    <a:pt x="40" y="115"/>
                  </a:cubicBezTo>
                  <a:cubicBezTo>
                    <a:pt x="44" y="106"/>
                    <a:pt x="48" y="96"/>
                    <a:pt x="52" y="87"/>
                  </a:cubicBezTo>
                  <a:cubicBezTo>
                    <a:pt x="54" y="84"/>
                    <a:pt x="53" y="84"/>
                    <a:pt x="53" y="82"/>
                  </a:cubicBezTo>
                  <a:cubicBezTo>
                    <a:pt x="53" y="78"/>
                    <a:pt x="52" y="74"/>
                    <a:pt x="52" y="71"/>
                  </a:cubicBezTo>
                  <a:cubicBezTo>
                    <a:pt x="52" y="66"/>
                    <a:pt x="56" y="62"/>
                    <a:pt x="55" y="58"/>
                  </a:cubicBezTo>
                  <a:cubicBezTo>
                    <a:pt x="55" y="55"/>
                    <a:pt x="51" y="52"/>
                    <a:pt x="53" y="50"/>
                  </a:cubicBezTo>
                  <a:cubicBezTo>
                    <a:pt x="56" y="47"/>
                    <a:pt x="59" y="47"/>
                    <a:pt x="64" y="46"/>
                  </a:cubicBezTo>
                  <a:cubicBezTo>
                    <a:pt x="64" y="46"/>
                    <a:pt x="65" y="46"/>
                    <a:pt x="66" y="45"/>
                  </a:cubicBezTo>
                  <a:cubicBezTo>
                    <a:pt x="63" y="44"/>
                    <a:pt x="61" y="41"/>
                    <a:pt x="61" y="38"/>
                  </a:cubicBezTo>
                  <a:cubicBezTo>
                    <a:pt x="61" y="34"/>
                    <a:pt x="64" y="30"/>
                    <a:pt x="69" y="30"/>
                  </a:cubicBezTo>
                  <a:cubicBezTo>
                    <a:pt x="73" y="30"/>
                    <a:pt x="77" y="34"/>
                    <a:pt x="77" y="38"/>
                  </a:cubicBezTo>
                  <a:cubicBezTo>
                    <a:pt x="77" y="41"/>
                    <a:pt x="75" y="43"/>
                    <a:pt x="73" y="44"/>
                  </a:cubicBezTo>
                  <a:cubicBezTo>
                    <a:pt x="76" y="46"/>
                    <a:pt x="79" y="46"/>
                    <a:pt x="81" y="46"/>
                  </a:cubicBezTo>
                  <a:cubicBezTo>
                    <a:pt x="80" y="53"/>
                    <a:pt x="79" y="60"/>
                    <a:pt x="78" y="67"/>
                  </a:cubicBezTo>
                  <a:cubicBezTo>
                    <a:pt x="77" y="70"/>
                    <a:pt x="79" y="71"/>
                    <a:pt x="80" y="71"/>
                  </a:cubicBezTo>
                  <a:cubicBezTo>
                    <a:pt x="81" y="71"/>
                    <a:pt x="82" y="71"/>
                    <a:pt x="83" y="71"/>
                  </a:cubicBezTo>
                  <a:cubicBezTo>
                    <a:pt x="88" y="70"/>
                    <a:pt x="93" y="70"/>
                    <a:pt x="98" y="70"/>
                  </a:cubicBezTo>
                  <a:cubicBezTo>
                    <a:pt x="100" y="69"/>
                    <a:pt x="101" y="69"/>
                    <a:pt x="103" y="69"/>
                  </a:cubicBezTo>
                  <a:cubicBezTo>
                    <a:pt x="104" y="69"/>
                    <a:pt x="105" y="69"/>
                    <a:pt x="106" y="70"/>
                  </a:cubicBezTo>
                  <a:cubicBezTo>
                    <a:pt x="109" y="72"/>
                    <a:pt x="115" y="80"/>
                    <a:pt x="119" y="80"/>
                  </a:cubicBezTo>
                  <a:cubicBezTo>
                    <a:pt x="120" y="80"/>
                    <a:pt x="121" y="80"/>
                    <a:pt x="121" y="79"/>
                  </a:cubicBezTo>
                  <a:cubicBezTo>
                    <a:pt x="119" y="85"/>
                    <a:pt x="119" y="83"/>
                    <a:pt x="123" y="85"/>
                  </a:cubicBezTo>
                  <a:cubicBezTo>
                    <a:pt x="125" y="86"/>
                    <a:pt x="126" y="87"/>
                    <a:pt x="127" y="88"/>
                  </a:cubicBezTo>
                  <a:cubicBezTo>
                    <a:pt x="128" y="88"/>
                    <a:pt x="129" y="88"/>
                    <a:pt x="129" y="88"/>
                  </a:cubicBezTo>
                  <a:cubicBezTo>
                    <a:pt x="130" y="88"/>
                    <a:pt x="130" y="88"/>
                    <a:pt x="131" y="88"/>
                  </a:cubicBezTo>
                  <a:cubicBezTo>
                    <a:pt x="130" y="86"/>
                    <a:pt x="130" y="83"/>
                    <a:pt x="130" y="81"/>
                  </a:cubicBezTo>
                  <a:cubicBezTo>
                    <a:pt x="130" y="80"/>
                    <a:pt x="130" y="80"/>
                    <a:pt x="130" y="79"/>
                  </a:cubicBezTo>
                  <a:cubicBezTo>
                    <a:pt x="130" y="79"/>
                    <a:pt x="130" y="79"/>
                    <a:pt x="130" y="79"/>
                  </a:cubicBezTo>
                  <a:cubicBezTo>
                    <a:pt x="130" y="78"/>
                    <a:pt x="130" y="78"/>
                    <a:pt x="130" y="78"/>
                  </a:cubicBezTo>
                  <a:cubicBezTo>
                    <a:pt x="130" y="77"/>
                    <a:pt x="129" y="77"/>
                    <a:pt x="128" y="76"/>
                  </a:cubicBezTo>
                  <a:cubicBezTo>
                    <a:pt x="125" y="74"/>
                    <a:pt x="125" y="74"/>
                    <a:pt x="125" y="74"/>
                  </a:cubicBezTo>
                  <a:cubicBezTo>
                    <a:pt x="125" y="73"/>
                    <a:pt x="124" y="72"/>
                    <a:pt x="124" y="72"/>
                  </a:cubicBezTo>
                  <a:cubicBezTo>
                    <a:pt x="122" y="69"/>
                    <a:pt x="122" y="67"/>
                    <a:pt x="123" y="64"/>
                  </a:cubicBezTo>
                  <a:cubicBezTo>
                    <a:pt x="123" y="63"/>
                    <a:pt x="123" y="63"/>
                    <a:pt x="123" y="63"/>
                  </a:cubicBezTo>
                  <a:cubicBezTo>
                    <a:pt x="122" y="62"/>
                    <a:pt x="122" y="61"/>
                    <a:pt x="121" y="59"/>
                  </a:cubicBezTo>
                  <a:cubicBezTo>
                    <a:pt x="121" y="58"/>
                    <a:pt x="121" y="58"/>
                    <a:pt x="121" y="58"/>
                  </a:cubicBezTo>
                  <a:cubicBezTo>
                    <a:pt x="118" y="54"/>
                    <a:pt x="115" y="47"/>
                    <a:pt x="120" y="43"/>
                  </a:cubicBezTo>
                  <a:cubicBezTo>
                    <a:pt x="121" y="41"/>
                    <a:pt x="121" y="41"/>
                    <a:pt x="121" y="41"/>
                  </a:cubicBezTo>
                  <a:cubicBezTo>
                    <a:pt x="122" y="41"/>
                    <a:pt x="123" y="40"/>
                    <a:pt x="123" y="39"/>
                  </a:cubicBezTo>
                  <a:cubicBezTo>
                    <a:pt x="127" y="36"/>
                    <a:pt x="129" y="33"/>
                    <a:pt x="132" y="29"/>
                  </a:cubicBezTo>
                  <a:cubicBezTo>
                    <a:pt x="133" y="27"/>
                    <a:pt x="134" y="25"/>
                    <a:pt x="136" y="23"/>
                  </a:cubicBezTo>
                  <a:cubicBezTo>
                    <a:pt x="136" y="22"/>
                    <a:pt x="137" y="22"/>
                    <a:pt x="138" y="21"/>
                  </a:cubicBezTo>
                  <a:cubicBezTo>
                    <a:pt x="140" y="18"/>
                    <a:pt x="145" y="16"/>
                    <a:pt x="151" y="16"/>
                  </a:cubicBezTo>
                  <a:cubicBezTo>
                    <a:pt x="152" y="16"/>
                    <a:pt x="153" y="16"/>
                    <a:pt x="155" y="15"/>
                  </a:cubicBezTo>
                  <a:cubicBezTo>
                    <a:pt x="156" y="15"/>
                    <a:pt x="157" y="15"/>
                    <a:pt x="158" y="15"/>
                  </a:cubicBezTo>
                  <a:cubicBezTo>
                    <a:pt x="161" y="15"/>
                    <a:pt x="164" y="16"/>
                    <a:pt x="167" y="16"/>
                  </a:cubicBezTo>
                  <a:cubicBezTo>
                    <a:pt x="168" y="16"/>
                    <a:pt x="168" y="16"/>
                    <a:pt x="168" y="16"/>
                  </a:cubicBezTo>
                  <a:cubicBezTo>
                    <a:pt x="171" y="16"/>
                    <a:pt x="173" y="16"/>
                    <a:pt x="175" y="16"/>
                  </a:cubicBezTo>
                  <a:cubicBezTo>
                    <a:pt x="176" y="16"/>
                    <a:pt x="176" y="16"/>
                    <a:pt x="176" y="16"/>
                  </a:cubicBezTo>
                  <a:cubicBezTo>
                    <a:pt x="179" y="16"/>
                    <a:pt x="182" y="16"/>
                    <a:pt x="185" y="16"/>
                  </a:cubicBezTo>
                  <a:cubicBezTo>
                    <a:pt x="187" y="16"/>
                    <a:pt x="187" y="16"/>
                    <a:pt x="187" y="16"/>
                  </a:cubicBezTo>
                  <a:cubicBezTo>
                    <a:pt x="189" y="15"/>
                    <a:pt x="191" y="15"/>
                    <a:pt x="194" y="15"/>
                  </a:cubicBezTo>
                  <a:cubicBezTo>
                    <a:pt x="194" y="15"/>
                    <a:pt x="194" y="15"/>
                    <a:pt x="194" y="15"/>
                  </a:cubicBezTo>
                  <a:cubicBezTo>
                    <a:pt x="195" y="15"/>
                    <a:pt x="195" y="15"/>
                    <a:pt x="195" y="15"/>
                  </a:cubicBezTo>
                  <a:cubicBezTo>
                    <a:pt x="197" y="15"/>
                    <a:pt x="199" y="15"/>
                    <a:pt x="200" y="16"/>
                  </a:cubicBezTo>
                  <a:cubicBezTo>
                    <a:pt x="201" y="17"/>
                    <a:pt x="201" y="17"/>
                    <a:pt x="201" y="18"/>
                  </a:cubicBezTo>
                  <a:cubicBezTo>
                    <a:pt x="205" y="16"/>
                    <a:pt x="205" y="16"/>
                    <a:pt x="205" y="16"/>
                  </a:cubicBezTo>
                  <a:cubicBezTo>
                    <a:pt x="205" y="16"/>
                    <a:pt x="205" y="16"/>
                    <a:pt x="205" y="16"/>
                  </a:cubicBezTo>
                  <a:cubicBezTo>
                    <a:pt x="207" y="15"/>
                    <a:pt x="208" y="15"/>
                    <a:pt x="209" y="14"/>
                  </a:cubicBezTo>
                  <a:cubicBezTo>
                    <a:pt x="210" y="14"/>
                    <a:pt x="210" y="14"/>
                    <a:pt x="210" y="14"/>
                  </a:cubicBezTo>
                  <a:cubicBezTo>
                    <a:pt x="211" y="11"/>
                    <a:pt x="210" y="8"/>
                    <a:pt x="209" y="4"/>
                  </a:cubicBezTo>
                  <a:cubicBezTo>
                    <a:pt x="209" y="3"/>
                    <a:pt x="209" y="1"/>
                    <a:pt x="20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5" name="Freeform 1523">
              <a:extLst>
                <a:ext uri="{FF2B5EF4-FFF2-40B4-BE49-F238E27FC236}">
                  <a16:creationId xmlns:a16="http://schemas.microsoft.com/office/drawing/2014/main" id="{DE571E70-C057-4260-9C8C-094410CEB93E}"/>
                </a:ext>
              </a:extLst>
            </p:cNvPr>
            <p:cNvSpPr>
              <a:spLocks/>
            </p:cNvSpPr>
            <p:nvPr/>
          </p:nvSpPr>
          <p:spPr bwMode="auto">
            <a:xfrm>
              <a:off x="916" y="0"/>
              <a:ext cx="137" cy="69"/>
            </a:xfrm>
            <a:custGeom>
              <a:avLst/>
              <a:gdLst>
                <a:gd name="T0" fmla="*/ 57 w 58"/>
                <a:gd name="T1" fmla="*/ 0 h 29"/>
                <a:gd name="T2" fmla="*/ 6 w 58"/>
                <a:gd name="T3" fmla="*/ 0 h 29"/>
                <a:gd name="T4" fmla="*/ 6 w 58"/>
                <a:gd name="T5" fmla="*/ 3 h 29"/>
                <a:gd name="T6" fmla="*/ 7 w 58"/>
                <a:gd name="T7" fmla="*/ 16 h 29"/>
                <a:gd name="T8" fmla="*/ 6 w 58"/>
                <a:gd name="T9" fmla="*/ 17 h 29"/>
                <a:gd name="T10" fmla="*/ 3 w 58"/>
                <a:gd name="T11" fmla="*/ 20 h 29"/>
                <a:gd name="T12" fmla="*/ 0 w 58"/>
                <a:gd name="T13" fmla="*/ 22 h 29"/>
                <a:gd name="T14" fmla="*/ 0 w 58"/>
                <a:gd name="T15" fmla="*/ 22 h 29"/>
                <a:gd name="T16" fmla="*/ 2 w 58"/>
                <a:gd name="T17" fmla="*/ 24 h 29"/>
                <a:gd name="T18" fmla="*/ 2 w 58"/>
                <a:gd name="T19" fmla="*/ 24 h 29"/>
                <a:gd name="T20" fmla="*/ 4 w 58"/>
                <a:gd name="T21" fmla="*/ 24 h 29"/>
                <a:gd name="T22" fmla="*/ 7 w 58"/>
                <a:gd name="T23" fmla="*/ 24 h 29"/>
                <a:gd name="T24" fmla="*/ 7 w 58"/>
                <a:gd name="T25" fmla="*/ 24 h 29"/>
                <a:gd name="T26" fmla="*/ 9 w 58"/>
                <a:gd name="T27" fmla="*/ 24 h 29"/>
                <a:gd name="T28" fmla="*/ 14 w 58"/>
                <a:gd name="T29" fmla="*/ 26 h 29"/>
                <a:gd name="T30" fmla="*/ 15 w 58"/>
                <a:gd name="T31" fmla="*/ 27 h 29"/>
                <a:gd name="T32" fmla="*/ 16 w 58"/>
                <a:gd name="T33" fmla="*/ 29 h 29"/>
                <a:gd name="T34" fmla="*/ 16 w 58"/>
                <a:gd name="T35" fmla="*/ 29 h 29"/>
                <a:gd name="T36" fmla="*/ 17 w 58"/>
                <a:gd name="T37" fmla="*/ 29 h 29"/>
                <a:gd name="T38" fmla="*/ 17 w 58"/>
                <a:gd name="T39" fmla="*/ 29 h 29"/>
                <a:gd name="T40" fmla="*/ 18 w 58"/>
                <a:gd name="T41" fmla="*/ 29 h 29"/>
                <a:gd name="T42" fmla="*/ 18 w 58"/>
                <a:gd name="T43" fmla="*/ 29 h 29"/>
                <a:gd name="T44" fmla="*/ 18 w 58"/>
                <a:gd name="T45" fmla="*/ 29 h 29"/>
                <a:gd name="T46" fmla="*/ 16 w 58"/>
                <a:gd name="T47" fmla="*/ 25 h 29"/>
                <a:gd name="T48" fmla="*/ 14 w 58"/>
                <a:gd name="T49" fmla="*/ 21 h 29"/>
                <a:gd name="T50" fmla="*/ 9 w 58"/>
                <a:gd name="T51" fmla="*/ 12 h 29"/>
                <a:gd name="T52" fmla="*/ 19 w 58"/>
                <a:gd name="T53" fmla="*/ 16 h 29"/>
                <a:gd name="T54" fmla="*/ 19 w 58"/>
                <a:gd name="T55" fmla="*/ 16 h 29"/>
                <a:gd name="T56" fmla="*/ 22 w 58"/>
                <a:gd name="T57" fmla="*/ 14 h 29"/>
                <a:gd name="T58" fmla="*/ 23 w 58"/>
                <a:gd name="T59" fmla="*/ 14 h 29"/>
                <a:gd name="T60" fmla="*/ 29 w 58"/>
                <a:gd name="T61" fmla="*/ 10 h 29"/>
                <a:gd name="T62" fmla="*/ 31 w 58"/>
                <a:gd name="T63" fmla="*/ 10 h 29"/>
                <a:gd name="T64" fmla="*/ 31 w 58"/>
                <a:gd name="T65" fmla="*/ 9 h 29"/>
                <a:gd name="T66" fmla="*/ 33 w 58"/>
                <a:gd name="T67" fmla="*/ 9 h 29"/>
                <a:gd name="T68" fmla="*/ 34 w 58"/>
                <a:gd name="T69" fmla="*/ 9 h 29"/>
                <a:gd name="T70" fmla="*/ 37 w 58"/>
                <a:gd name="T71" fmla="*/ 13 h 29"/>
                <a:gd name="T72" fmla="*/ 38 w 58"/>
                <a:gd name="T73" fmla="*/ 14 h 29"/>
                <a:gd name="T74" fmla="*/ 44 w 58"/>
                <a:gd name="T75" fmla="*/ 16 h 29"/>
                <a:gd name="T76" fmla="*/ 45 w 58"/>
                <a:gd name="T77" fmla="*/ 16 h 29"/>
                <a:gd name="T78" fmla="*/ 46 w 58"/>
                <a:gd name="T79" fmla="*/ 16 h 29"/>
                <a:gd name="T80" fmla="*/ 46 w 58"/>
                <a:gd name="T81" fmla="*/ 16 h 29"/>
                <a:gd name="T82" fmla="*/ 52 w 58"/>
                <a:gd name="T83" fmla="*/ 12 h 29"/>
                <a:gd name="T84" fmla="*/ 56 w 58"/>
                <a:gd name="T85" fmla="*/ 9 h 29"/>
                <a:gd name="T86" fmla="*/ 57 w 58"/>
                <a:gd name="T87" fmla="*/ 8 h 29"/>
                <a:gd name="T88" fmla="*/ 58 w 58"/>
                <a:gd name="T89" fmla="*/ 8 h 29"/>
                <a:gd name="T90" fmla="*/ 58 w 58"/>
                <a:gd name="T91" fmla="*/ 7 h 29"/>
                <a:gd name="T92" fmla="*/ 57 w 58"/>
                <a:gd name="T93" fmla="*/ 5 h 29"/>
                <a:gd name="T94" fmla="*/ 57 w 58"/>
                <a:gd name="T95" fmla="*/ 5 h 29"/>
                <a:gd name="T96" fmla="*/ 57 w 58"/>
                <a:gd name="T97" fmla="*/ 3 h 29"/>
                <a:gd name="T98" fmla="*/ 57 w 58"/>
                <a:gd name="T9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 h="29">
                  <a:moveTo>
                    <a:pt x="57" y="0"/>
                  </a:moveTo>
                  <a:cubicBezTo>
                    <a:pt x="6" y="0"/>
                    <a:pt x="6" y="0"/>
                    <a:pt x="6" y="0"/>
                  </a:cubicBezTo>
                  <a:cubicBezTo>
                    <a:pt x="6" y="1"/>
                    <a:pt x="6" y="2"/>
                    <a:pt x="6" y="3"/>
                  </a:cubicBezTo>
                  <a:cubicBezTo>
                    <a:pt x="7" y="7"/>
                    <a:pt x="8" y="12"/>
                    <a:pt x="7" y="16"/>
                  </a:cubicBezTo>
                  <a:cubicBezTo>
                    <a:pt x="6" y="16"/>
                    <a:pt x="6" y="17"/>
                    <a:pt x="6" y="17"/>
                  </a:cubicBezTo>
                  <a:cubicBezTo>
                    <a:pt x="5" y="18"/>
                    <a:pt x="4" y="19"/>
                    <a:pt x="3" y="20"/>
                  </a:cubicBezTo>
                  <a:cubicBezTo>
                    <a:pt x="2" y="21"/>
                    <a:pt x="1" y="21"/>
                    <a:pt x="0" y="22"/>
                  </a:cubicBezTo>
                  <a:cubicBezTo>
                    <a:pt x="0" y="22"/>
                    <a:pt x="0" y="22"/>
                    <a:pt x="0" y="22"/>
                  </a:cubicBezTo>
                  <a:cubicBezTo>
                    <a:pt x="1" y="23"/>
                    <a:pt x="1" y="23"/>
                    <a:pt x="2" y="24"/>
                  </a:cubicBezTo>
                  <a:cubicBezTo>
                    <a:pt x="2" y="24"/>
                    <a:pt x="2" y="24"/>
                    <a:pt x="2" y="24"/>
                  </a:cubicBezTo>
                  <a:cubicBezTo>
                    <a:pt x="2" y="24"/>
                    <a:pt x="3" y="24"/>
                    <a:pt x="4" y="24"/>
                  </a:cubicBezTo>
                  <a:cubicBezTo>
                    <a:pt x="5" y="24"/>
                    <a:pt x="6" y="24"/>
                    <a:pt x="7" y="24"/>
                  </a:cubicBezTo>
                  <a:cubicBezTo>
                    <a:pt x="7" y="24"/>
                    <a:pt x="7" y="24"/>
                    <a:pt x="7" y="24"/>
                  </a:cubicBezTo>
                  <a:cubicBezTo>
                    <a:pt x="8" y="24"/>
                    <a:pt x="8" y="24"/>
                    <a:pt x="9" y="24"/>
                  </a:cubicBezTo>
                  <a:cubicBezTo>
                    <a:pt x="11" y="24"/>
                    <a:pt x="12" y="25"/>
                    <a:pt x="14" y="26"/>
                  </a:cubicBezTo>
                  <a:cubicBezTo>
                    <a:pt x="15" y="27"/>
                    <a:pt x="15" y="27"/>
                    <a:pt x="15" y="27"/>
                  </a:cubicBezTo>
                  <a:cubicBezTo>
                    <a:pt x="15" y="28"/>
                    <a:pt x="16" y="28"/>
                    <a:pt x="16" y="29"/>
                  </a:cubicBezTo>
                  <a:cubicBezTo>
                    <a:pt x="16" y="29"/>
                    <a:pt x="16" y="29"/>
                    <a:pt x="16" y="29"/>
                  </a:cubicBezTo>
                  <a:cubicBezTo>
                    <a:pt x="17" y="29"/>
                    <a:pt x="17" y="29"/>
                    <a:pt x="17" y="29"/>
                  </a:cubicBezTo>
                  <a:cubicBezTo>
                    <a:pt x="17" y="29"/>
                    <a:pt x="17" y="29"/>
                    <a:pt x="17" y="29"/>
                  </a:cubicBezTo>
                  <a:cubicBezTo>
                    <a:pt x="18" y="29"/>
                    <a:pt x="18" y="29"/>
                    <a:pt x="18" y="29"/>
                  </a:cubicBezTo>
                  <a:cubicBezTo>
                    <a:pt x="18" y="29"/>
                    <a:pt x="18" y="29"/>
                    <a:pt x="18" y="29"/>
                  </a:cubicBezTo>
                  <a:cubicBezTo>
                    <a:pt x="18" y="29"/>
                    <a:pt x="18" y="29"/>
                    <a:pt x="18" y="29"/>
                  </a:cubicBezTo>
                  <a:cubicBezTo>
                    <a:pt x="18" y="28"/>
                    <a:pt x="18" y="27"/>
                    <a:pt x="16" y="25"/>
                  </a:cubicBezTo>
                  <a:cubicBezTo>
                    <a:pt x="15" y="23"/>
                    <a:pt x="14" y="22"/>
                    <a:pt x="14" y="21"/>
                  </a:cubicBezTo>
                  <a:cubicBezTo>
                    <a:pt x="9" y="12"/>
                    <a:pt x="9" y="12"/>
                    <a:pt x="9" y="12"/>
                  </a:cubicBezTo>
                  <a:cubicBezTo>
                    <a:pt x="19" y="16"/>
                    <a:pt x="19" y="16"/>
                    <a:pt x="19" y="16"/>
                  </a:cubicBezTo>
                  <a:cubicBezTo>
                    <a:pt x="19" y="16"/>
                    <a:pt x="19" y="16"/>
                    <a:pt x="19" y="16"/>
                  </a:cubicBezTo>
                  <a:cubicBezTo>
                    <a:pt x="19" y="16"/>
                    <a:pt x="20" y="16"/>
                    <a:pt x="22" y="14"/>
                  </a:cubicBezTo>
                  <a:cubicBezTo>
                    <a:pt x="23" y="14"/>
                    <a:pt x="23" y="14"/>
                    <a:pt x="23" y="14"/>
                  </a:cubicBezTo>
                  <a:cubicBezTo>
                    <a:pt x="24" y="13"/>
                    <a:pt x="26" y="11"/>
                    <a:pt x="29" y="10"/>
                  </a:cubicBezTo>
                  <a:cubicBezTo>
                    <a:pt x="29" y="10"/>
                    <a:pt x="30" y="10"/>
                    <a:pt x="31" y="10"/>
                  </a:cubicBezTo>
                  <a:cubicBezTo>
                    <a:pt x="31" y="9"/>
                    <a:pt x="31" y="9"/>
                    <a:pt x="31" y="9"/>
                  </a:cubicBezTo>
                  <a:cubicBezTo>
                    <a:pt x="32" y="9"/>
                    <a:pt x="32" y="9"/>
                    <a:pt x="33" y="9"/>
                  </a:cubicBezTo>
                  <a:cubicBezTo>
                    <a:pt x="34" y="9"/>
                    <a:pt x="34" y="9"/>
                    <a:pt x="34" y="9"/>
                  </a:cubicBezTo>
                  <a:cubicBezTo>
                    <a:pt x="36" y="10"/>
                    <a:pt x="37" y="12"/>
                    <a:pt x="37" y="13"/>
                  </a:cubicBezTo>
                  <a:cubicBezTo>
                    <a:pt x="37" y="13"/>
                    <a:pt x="38" y="13"/>
                    <a:pt x="38" y="14"/>
                  </a:cubicBezTo>
                  <a:cubicBezTo>
                    <a:pt x="44" y="16"/>
                    <a:pt x="44" y="16"/>
                    <a:pt x="44" y="16"/>
                  </a:cubicBezTo>
                  <a:cubicBezTo>
                    <a:pt x="45" y="16"/>
                    <a:pt x="45" y="16"/>
                    <a:pt x="45" y="16"/>
                  </a:cubicBezTo>
                  <a:cubicBezTo>
                    <a:pt x="45" y="16"/>
                    <a:pt x="46" y="16"/>
                    <a:pt x="46" y="16"/>
                  </a:cubicBezTo>
                  <a:cubicBezTo>
                    <a:pt x="46" y="16"/>
                    <a:pt x="46" y="16"/>
                    <a:pt x="46" y="16"/>
                  </a:cubicBezTo>
                  <a:cubicBezTo>
                    <a:pt x="48" y="15"/>
                    <a:pt x="50" y="13"/>
                    <a:pt x="52" y="12"/>
                  </a:cubicBezTo>
                  <a:cubicBezTo>
                    <a:pt x="56" y="9"/>
                    <a:pt x="56" y="9"/>
                    <a:pt x="56" y="9"/>
                  </a:cubicBezTo>
                  <a:cubicBezTo>
                    <a:pt x="56" y="9"/>
                    <a:pt x="57" y="9"/>
                    <a:pt x="57" y="8"/>
                  </a:cubicBezTo>
                  <a:cubicBezTo>
                    <a:pt x="58" y="8"/>
                    <a:pt x="58" y="8"/>
                    <a:pt x="58" y="8"/>
                  </a:cubicBezTo>
                  <a:cubicBezTo>
                    <a:pt x="58" y="7"/>
                    <a:pt x="58" y="7"/>
                    <a:pt x="58" y="7"/>
                  </a:cubicBezTo>
                  <a:cubicBezTo>
                    <a:pt x="58" y="6"/>
                    <a:pt x="58" y="6"/>
                    <a:pt x="57" y="5"/>
                  </a:cubicBezTo>
                  <a:cubicBezTo>
                    <a:pt x="57" y="5"/>
                    <a:pt x="57" y="5"/>
                    <a:pt x="57" y="5"/>
                  </a:cubicBezTo>
                  <a:cubicBezTo>
                    <a:pt x="57" y="4"/>
                    <a:pt x="57" y="4"/>
                    <a:pt x="57" y="3"/>
                  </a:cubicBezTo>
                  <a:cubicBezTo>
                    <a:pt x="57" y="2"/>
                    <a:pt x="57" y="1"/>
                    <a:pt x="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6" name="Freeform 1524">
              <a:extLst>
                <a:ext uri="{FF2B5EF4-FFF2-40B4-BE49-F238E27FC236}">
                  <a16:creationId xmlns:a16="http://schemas.microsoft.com/office/drawing/2014/main" id="{3BA7F098-D865-4E32-9AD8-F63DFE2350D5}"/>
                </a:ext>
              </a:extLst>
            </p:cNvPr>
            <p:cNvSpPr>
              <a:spLocks/>
            </p:cNvSpPr>
            <p:nvPr/>
          </p:nvSpPr>
          <p:spPr bwMode="auto">
            <a:xfrm>
              <a:off x="909" y="0"/>
              <a:ext cx="286" cy="331"/>
            </a:xfrm>
            <a:custGeom>
              <a:avLst/>
              <a:gdLst>
                <a:gd name="T0" fmla="*/ 69 w 121"/>
                <a:gd name="T1" fmla="*/ 0 h 140"/>
                <a:gd name="T2" fmla="*/ 67 w 121"/>
                <a:gd name="T3" fmla="*/ 2 h 140"/>
                <a:gd name="T4" fmla="*/ 67 w 121"/>
                <a:gd name="T5" fmla="*/ 4 h 140"/>
                <a:gd name="T6" fmla="*/ 68 w 121"/>
                <a:gd name="T7" fmla="*/ 8 h 140"/>
                <a:gd name="T8" fmla="*/ 68 w 121"/>
                <a:gd name="T9" fmla="*/ 12 h 140"/>
                <a:gd name="T10" fmla="*/ 64 w 121"/>
                <a:gd name="T11" fmla="*/ 23 h 140"/>
                <a:gd name="T12" fmla="*/ 65 w 121"/>
                <a:gd name="T13" fmla="*/ 29 h 140"/>
                <a:gd name="T14" fmla="*/ 66 w 121"/>
                <a:gd name="T15" fmla="*/ 34 h 140"/>
                <a:gd name="T16" fmla="*/ 68 w 121"/>
                <a:gd name="T17" fmla="*/ 40 h 140"/>
                <a:gd name="T18" fmla="*/ 71 w 121"/>
                <a:gd name="T19" fmla="*/ 51 h 140"/>
                <a:gd name="T20" fmla="*/ 68 w 121"/>
                <a:gd name="T21" fmla="*/ 61 h 140"/>
                <a:gd name="T22" fmla="*/ 69 w 121"/>
                <a:gd name="T23" fmla="*/ 67 h 140"/>
                <a:gd name="T24" fmla="*/ 70 w 121"/>
                <a:gd name="T25" fmla="*/ 74 h 140"/>
                <a:gd name="T26" fmla="*/ 70 w 121"/>
                <a:gd name="T27" fmla="*/ 76 h 140"/>
                <a:gd name="T28" fmla="*/ 63 w 121"/>
                <a:gd name="T29" fmla="*/ 85 h 140"/>
                <a:gd name="T30" fmla="*/ 58 w 121"/>
                <a:gd name="T31" fmla="*/ 85 h 140"/>
                <a:gd name="T32" fmla="*/ 56 w 121"/>
                <a:gd name="T33" fmla="*/ 84 h 140"/>
                <a:gd name="T34" fmla="*/ 54 w 121"/>
                <a:gd name="T35" fmla="*/ 88 h 140"/>
                <a:gd name="T36" fmla="*/ 45 w 121"/>
                <a:gd name="T37" fmla="*/ 91 h 140"/>
                <a:gd name="T38" fmla="*/ 37 w 121"/>
                <a:gd name="T39" fmla="*/ 96 h 140"/>
                <a:gd name="T40" fmla="*/ 37 w 121"/>
                <a:gd name="T41" fmla="*/ 99 h 140"/>
                <a:gd name="T42" fmla="*/ 21 w 121"/>
                <a:gd name="T43" fmla="*/ 100 h 140"/>
                <a:gd name="T44" fmla="*/ 19 w 121"/>
                <a:gd name="T45" fmla="*/ 104 h 140"/>
                <a:gd name="T46" fmla="*/ 25 w 121"/>
                <a:gd name="T47" fmla="*/ 114 h 140"/>
                <a:gd name="T48" fmla="*/ 37 w 121"/>
                <a:gd name="T49" fmla="*/ 125 h 140"/>
                <a:gd name="T50" fmla="*/ 29 w 121"/>
                <a:gd name="T51" fmla="*/ 124 h 140"/>
                <a:gd name="T52" fmla="*/ 25 w 121"/>
                <a:gd name="T53" fmla="*/ 129 h 140"/>
                <a:gd name="T54" fmla="*/ 14 w 121"/>
                <a:gd name="T55" fmla="*/ 123 h 140"/>
                <a:gd name="T56" fmla="*/ 12 w 121"/>
                <a:gd name="T57" fmla="*/ 123 h 140"/>
                <a:gd name="T58" fmla="*/ 5 w 121"/>
                <a:gd name="T59" fmla="*/ 124 h 140"/>
                <a:gd name="T60" fmla="*/ 0 w 121"/>
                <a:gd name="T61" fmla="*/ 125 h 140"/>
                <a:gd name="T62" fmla="*/ 23 w 121"/>
                <a:gd name="T63" fmla="*/ 140 h 140"/>
                <a:gd name="T64" fmla="*/ 31 w 121"/>
                <a:gd name="T65" fmla="*/ 139 h 140"/>
                <a:gd name="T66" fmla="*/ 39 w 121"/>
                <a:gd name="T67" fmla="*/ 140 h 140"/>
                <a:gd name="T68" fmla="*/ 40 w 121"/>
                <a:gd name="T69" fmla="*/ 134 h 140"/>
                <a:gd name="T70" fmla="*/ 37 w 121"/>
                <a:gd name="T71" fmla="*/ 132 h 140"/>
                <a:gd name="T72" fmla="*/ 42 w 121"/>
                <a:gd name="T73" fmla="*/ 126 h 140"/>
                <a:gd name="T74" fmla="*/ 47 w 121"/>
                <a:gd name="T75" fmla="*/ 126 h 140"/>
                <a:gd name="T76" fmla="*/ 50 w 121"/>
                <a:gd name="T77" fmla="*/ 134 h 140"/>
                <a:gd name="T78" fmla="*/ 53 w 121"/>
                <a:gd name="T79" fmla="*/ 137 h 140"/>
                <a:gd name="T80" fmla="*/ 53 w 121"/>
                <a:gd name="T81" fmla="*/ 138 h 140"/>
                <a:gd name="T82" fmla="*/ 85 w 121"/>
                <a:gd name="T83" fmla="*/ 121 h 140"/>
                <a:gd name="T84" fmla="*/ 113 w 121"/>
                <a:gd name="T85" fmla="*/ 96 h 140"/>
                <a:gd name="T86" fmla="*/ 116 w 121"/>
                <a:gd name="T87" fmla="*/ 93 h 140"/>
                <a:gd name="T88" fmla="*/ 114 w 121"/>
                <a:gd name="T89" fmla="*/ 82 h 140"/>
                <a:gd name="T90" fmla="*/ 112 w 121"/>
                <a:gd name="T91" fmla="*/ 76 h 140"/>
                <a:gd name="T92" fmla="*/ 117 w 121"/>
                <a:gd name="T93" fmla="*/ 78 h 140"/>
                <a:gd name="T94" fmla="*/ 116 w 121"/>
                <a:gd name="T95" fmla="*/ 76 h 140"/>
                <a:gd name="T96" fmla="*/ 120 w 121"/>
                <a:gd name="T97" fmla="*/ 73 h 140"/>
                <a:gd name="T98" fmla="*/ 119 w 121"/>
                <a:gd name="T99" fmla="*/ 67 h 140"/>
                <a:gd name="T100" fmla="*/ 121 w 121"/>
                <a:gd name="T101" fmla="*/ 64 h 140"/>
                <a:gd name="T102" fmla="*/ 114 w 121"/>
                <a:gd name="T103" fmla="*/ 40 h 140"/>
                <a:gd name="T104" fmla="*/ 115 w 121"/>
                <a:gd name="T105" fmla="*/ 31 h 140"/>
                <a:gd name="T106" fmla="*/ 106 w 121"/>
                <a:gd name="T107"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1" h="140">
                  <a:moveTo>
                    <a:pt x="106" y="0"/>
                  </a:moveTo>
                  <a:cubicBezTo>
                    <a:pt x="69" y="0"/>
                    <a:pt x="69" y="0"/>
                    <a:pt x="69" y="0"/>
                  </a:cubicBezTo>
                  <a:cubicBezTo>
                    <a:pt x="68" y="0"/>
                    <a:pt x="68" y="0"/>
                    <a:pt x="68" y="0"/>
                  </a:cubicBezTo>
                  <a:cubicBezTo>
                    <a:pt x="68" y="0"/>
                    <a:pt x="67" y="1"/>
                    <a:pt x="67" y="2"/>
                  </a:cubicBezTo>
                  <a:cubicBezTo>
                    <a:pt x="67" y="2"/>
                    <a:pt x="67" y="3"/>
                    <a:pt x="67" y="3"/>
                  </a:cubicBezTo>
                  <a:cubicBezTo>
                    <a:pt x="67" y="4"/>
                    <a:pt x="67" y="4"/>
                    <a:pt x="67" y="4"/>
                  </a:cubicBezTo>
                  <a:cubicBezTo>
                    <a:pt x="68" y="4"/>
                    <a:pt x="68" y="5"/>
                    <a:pt x="68" y="5"/>
                  </a:cubicBezTo>
                  <a:cubicBezTo>
                    <a:pt x="68" y="8"/>
                    <a:pt x="68" y="8"/>
                    <a:pt x="68" y="8"/>
                  </a:cubicBezTo>
                  <a:cubicBezTo>
                    <a:pt x="70" y="10"/>
                    <a:pt x="70" y="10"/>
                    <a:pt x="70" y="10"/>
                  </a:cubicBezTo>
                  <a:cubicBezTo>
                    <a:pt x="68" y="12"/>
                    <a:pt x="68" y="12"/>
                    <a:pt x="68" y="12"/>
                  </a:cubicBezTo>
                  <a:cubicBezTo>
                    <a:pt x="68" y="13"/>
                    <a:pt x="68" y="13"/>
                    <a:pt x="68" y="13"/>
                  </a:cubicBezTo>
                  <a:cubicBezTo>
                    <a:pt x="67" y="17"/>
                    <a:pt x="65" y="20"/>
                    <a:pt x="64" y="23"/>
                  </a:cubicBezTo>
                  <a:cubicBezTo>
                    <a:pt x="63" y="27"/>
                    <a:pt x="63" y="27"/>
                    <a:pt x="63" y="27"/>
                  </a:cubicBezTo>
                  <a:cubicBezTo>
                    <a:pt x="63" y="28"/>
                    <a:pt x="64" y="28"/>
                    <a:pt x="65" y="29"/>
                  </a:cubicBezTo>
                  <a:cubicBezTo>
                    <a:pt x="65" y="30"/>
                    <a:pt x="65" y="30"/>
                    <a:pt x="65" y="30"/>
                  </a:cubicBezTo>
                  <a:cubicBezTo>
                    <a:pt x="66" y="31"/>
                    <a:pt x="67" y="33"/>
                    <a:pt x="66" y="34"/>
                  </a:cubicBezTo>
                  <a:cubicBezTo>
                    <a:pt x="66" y="36"/>
                    <a:pt x="67" y="37"/>
                    <a:pt x="67" y="38"/>
                  </a:cubicBezTo>
                  <a:cubicBezTo>
                    <a:pt x="68" y="40"/>
                    <a:pt x="68" y="40"/>
                    <a:pt x="68" y="40"/>
                  </a:cubicBezTo>
                  <a:cubicBezTo>
                    <a:pt x="70" y="43"/>
                    <a:pt x="72" y="46"/>
                    <a:pt x="71" y="49"/>
                  </a:cubicBezTo>
                  <a:cubicBezTo>
                    <a:pt x="71" y="51"/>
                    <a:pt x="71" y="51"/>
                    <a:pt x="71" y="51"/>
                  </a:cubicBezTo>
                  <a:cubicBezTo>
                    <a:pt x="70" y="53"/>
                    <a:pt x="69" y="57"/>
                    <a:pt x="69" y="59"/>
                  </a:cubicBezTo>
                  <a:cubicBezTo>
                    <a:pt x="68" y="61"/>
                    <a:pt x="68" y="61"/>
                    <a:pt x="68" y="61"/>
                  </a:cubicBezTo>
                  <a:cubicBezTo>
                    <a:pt x="68" y="62"/>
                    <a:pt x="69" y="65"/>
                    <a:pt x="69" y="66"/>
                  </a:cubicBezTo>
                  <a:cubicBezTo>
                    <a:pt x="69" y="67"/>
                    <a:pt x="69" y="67"/>
                    <a:pt x="69" y="67"/>
                  </a:cubicBezTo>
                  <a:cubicBezTo>
                    <a:pt x="69" y="69"/>
                    <a:pt x="70" y="72"/>
                    <a:pt x="70" y="74"/>
                  </a:cubicBezTo>
                  <a:cubicBezTo>
                    <a:pt x="70" y="74"/>
                    <a:pt x="70" y="74"/>
                    <a:pt x="70" y="74"/>
                  </a:cubicBezTo>
                  <a:cubicBezTo>
                    <a:pt x="77" y="75"/>
                    <a:pt x="77" y="75"/>
                    <a:pt x="77" y="75"/>
                  </a:cubicBezTo>
                  <a:cubicBezTo>
                    <a:pt x="70" y="76"/>
                    <a:pt x="70" y="76"/>
                    <a:pt x="70" y="76"/>
                  </a:cubicBezTo>
                  <a:cubicBezTo>
                    <a:pt x="70" y="77"/>
                    <a:pt x="70" y="77"/>
                    <a:pt x="69" y="78"/>
                  </a:cubicBezTo>
                  <a:cubicBezTo>
                    <a:pt x="69" y="83"/>
                    <a:pt x="66" y="85"/>
                    <a:pt x="63" y="85"/>
                  </a:cubicBezTo>
                  <a:cubicBezTo>
                    <a:pt x="63" y="85"/>
                    <a:pt x="62" y="86"/>
                    <a:pt x="62" y="86"/>
                  </a:cubicBezTo>
                  <a:cubicBezTo>
                    <a:pt x="60" y="86"/>
                    <a:pt x="59" y="85"/>
                    <a:pt x="58" y="85"/>
                  </a:cubicBezTo>
                  <a:cubicBezTo>
                    <a:pt x="57" y="85"/>
                    <a:pt x="57" y="84"/>
                    <a:pt x="56" y="84"/>
                  </a:cubicBezTo>
                  <a:cubicBezTo>
                    <a:pt x="56" y="84"/>
                    <a:pt x="56" y="84"/>
                    <a:pt x="56" y="84"/>
                  </a:cubicBezTo>
                  <a:cubicBezTo>
                    <a:pt x="56" y="85"/>
                    <a:pt x="55" y="86"/>
                    <a:pt x="55" y="86"/>
                  </a:cubicBezTo>
                  <a:cubicBezTo>
                    <a:pt x="54" y="88"/>
                    <a:pt x="54" y="88"/>
                    <a:pt x="54" y="88"/>
                  </a:cubicBezTo>
                  <a:cubicBezTo>
                    <a:pt x="52" y="90"/>
                    <a:pt x="48" y="90"/>
                    <a:pt x="46" y="91"/>
                  </a:cubicBezTo>
                  <a:cubicBezTo>
                    <a:pt x="45" y="91"/>
                    <a:pt x="45" y="91"/>
                    <a:pt x="45" y="91"/>
                  </a:cubicBezTo>
                  <a:cubicBezTo>
                    <a:pt x="42" y="91"/>
                    <a:pt x="39" y="92"/>
                    <a:pt x="36" y="93"/>
                  </a:cubicBezTo>
                  <a:cubicBezTo>
                    <a:pt x="36" y="94"/>
                    <a:pt x="36" y="95"/>
                    <a:pt x="37" y="96"/>
                  </a:cubicBezTo>
                  <a:cubicBezTo>
                    <a:pt x="37" y="97"/>
                    <a:pt x="37" y="97"/>
                    <a:pt x="37" y="97"/>
                  </a:cubicBezTo>
                  <a:cubicBezTo>
                    <a:pt x="37" y="98"/>
                    <a:pt x="37" y="99"/>
                    <a:pt x="37" y="99"/>
                  </a:cubicBezTo>
                  <a:cubicBezTo>
                    <a:pt x="37" y="104"/>
                    <a:pt x="37" y="104"/>
                    <a:pt x="37" y="104"/>
                  </a:cubicBezTo>
                  <a:cubicBezTo>
                    <a:pt x="21" y="100"/>
                    <a:pt x="21" y="100"/>
                    <a:pt x="21" y="100"/>
                  </a:cubicBezTo>
                  <a:cubicBezTo>
                    <a:pt x="20" y="101"/>
                    <a:pt x="19" y="102"/>
                    <a:pt x="19" y="102"/>
                  </a:cubicBezTo>
                  <a:cubicBezTo>
                    <a:pt x="19" y="104"/>
                    <a:pt x="19" y="104"/>
                    <a:pt x="19" y="104"/>
                  </a:cubicBezTo>
                  <a:cubicBezTo>
                    <a:pt x="19" y="107"/>
                    <a:pt x="20" y="109"/>
                    <a:pt x="21" y="110"/>
                  </a:cubicBezTo>
                  <a:cubicBezTo>
                    <a:pt x="22" y="112"/>
                    <a:pt x="23" y="113"/>
                    <a:pt x="25" y="114"/>
                  </a:cubicBezTo>
                  <a:cubicBezTo>
                    <a:pt x="26" y="115"/>
                    <a:pt x="28" y="116"/>
                    <a:pt x="29" y="117"/>
                  </a:cubicBezTo>
                  <a:cubicBezTo>
                    <a:pt x="37" y="125"/>
                    <a:pt x="37" y="125"/>
                    <a:pt x="37" y="125"/>
                  </a:cubicBezTo>
                  <a:cubicBezTo>
                    <a:pt x="29" y="124"/>
                    <a:pt x="29" y="124"/>
                    <a:pt x="29" y="124"/>
                  </a:cubicBezTo>
                  <a:cubicBezTo>
                    <a:pt x="29" y="124"/>
                    <a:pt x="29" y="124"/>
                    <a:pt x="29" y="124"/>
                  </a:cubicBezTo>
                  <a:cubicBezTo>
                    <a:pt x="31" y="130"/>
                    <a:pt x="31" y="130"/>
                    <a:pt x="31" y="130"/>
                  </a:cubicBezTo>
                  <a:cubicBezTo>
                    <a:pt x="25" y="129"/>
                    <a:pt x="25" y="129"/>
                    <a:pt x="25" y="129"/>
                  </a:cubicBezTo>
                  <a:cubicBezTo>
                    <a:pt x="21" y="128"/>
                    <a:pt x="18" y="126"/>
                    <a:pt x="15" y="124"/>
                  </a:cubicBezTo>
                  <a:cubicBezTo>
                    <a:pt x="14" y="123"/>
                    <a:pt x="14" y="123"/>
                    <a:pt x="14" y="123"/>
                  </a:cubicBezTo>
                  <a:cubicBezTo>
                    <a:pt x="14" y="123"/>
                    <a:pt x="14" y="123"/>
                    <a:pt x="14" y="123"/>
                  </a:cubicBezTo>
                  <a:cubicBezTo>
                    <a:pt x="14" y="123"/>
                    <a:pt x="14" y="123"/>
                    <a:pt x="12" y="123"/>
                  </a:cubicBezTo>
                  <a:cubicBezTo>
                    <a:pt x="12" y="123"/>
                    <a:pt x="11" y="123"/>
                    <a:pt x="11" y="123"/>
                  </a:cubicBezTo>
                  <a:cubicBezTo>
                    <a:pt x="9" y="123"/>
                    <a:pt x="7" y="124"/>
                    <a:pt x="5" y="124"/>
                  </a:cubicBezTo>
                  <a:cubicBezTo>
                    <a:pt x="5" y="124"/>
                    <a:pt x="5" y="124"/>
                    <a:pt x="5" y="124"/>
                  </a:cubicBezTo>
                  <a:cubicBezTo>
                    <a:pt x="3" y="124"/>
                    <a:pt x="2" y="125"/>
                    <a:pt x="0" y="125"/>
                  </a:cubicBezTo>
                  <a:cubicBezTo>
                    <a:pt x="5" y="129"/>
                    <a:pt x="9" y="133"/>
                    <a:pt x="14" y="138"/>
                  </a:cubicBezTo>
                  <a:cubicBezTo>
                    <a:pt x="16" y="139"/>
                    <a:pt x="19" y="140"/>
                    <a:pt x="23" y="140"/>
                  </a:cubicBezTo>
                  <a:cubicBezTo>
                    <a:pt x="25" y="140"/>
                    <a:pt x="27" y="140"/>
                    <a:pt x="29" y="139"/>
                  </a:cubicBezTo>
                  <a:cubicBezTo>
                    <a:pt x="30" y="139"/>
                    <a:pt x="30" y="139"/>
                    <a:pt x="31" y="139"/>
                  </a:cubicBezTo>
                  <a:cubicBezTo>
                    <a:pt x="33" y="139"/>
                    <a:pt x="36" y="140"/>
                    <a:pt x="39" y="140"/>
                  </a:cubicBezTo>
                  <a:cubicBezTo>
                    <a:pt x="39" y="140"/>
                    <a:pt x="39" y="140"/>
                    <a:pt x="39" y="140"/>
                  </a:cubicBezTo>
                  <a:cubicBezTo>
                    <a:pt x="46" y="140"/>
                    <a:pt x="43" y="138"/>
                    <a:pt x="38" y="136"/>
                  </a:cubicBezTo>
                  <a:cubicBezTo>
                    <a:pt x="39" y="135"/>
                    <a:pt x="39" y="135"/>
                    <a:pt x="40" y="134"/>
                  </a:cubicBezTo>
                  <a:cubicBezTo>
                    <a:pt x="40" y="134"/>
                    <a:pt x="40" y="134"/>
                    <a:pt x="40" y="134"/>
                  </a:cubicBezTo>
                  <a:cubicBezTo>
                    <a:pt x="37" y="132"/>
                    <a:pt x="37" y="132"/>
                    <a:pt x="37" y="132"/>
                  </a:cubicBezTo>
                  <a:cubicBezTo>
                    <a:pt x="39" y="130"/>
                    <a:pt x="39" y="130"/>
                    <a:pt x="39" y="130"/>
                  </a:cubicBezTo>
                  <a:cubicBezTo>
                    <a:pt x="42" y="126"/>
                    <a:pt x="42" y="126"/>
                    <a:pt x="42" y="126"/>
                  </a:cubicBezTo>
                  <a:cubicBezTo>
                    <a:pt x="44" y="128"/>
                    <a:pt x="44" y="128"/>
                    <a:pt x="44" y="128"/>
                  </a:cubicBezTo>
                  <a:cubicBezTo>
                    <a:pt x="47" y="126"/>
                    <a:pt x="47" y="126"/>
                    <a:pt x="47" y="126"/>
                  </a:cubicBezTo>
                  <a:cubicBezTo>
                    <a:pt x="47" y="128"/>
                    <a:pt x="47" y="129"/>
                    <a:pt x="46" y="131"/>
                  </a:cubicBezTo>
                  <a:cubicBezTo>
                    <a:pt x="48" y="132"/>
                    <a:pt x="49" y="133"/>
                    <a:pt x="50" y="134"/>
                  </a:cubicBezTo>
                  <a:cubicBezTo>
                    <a:pt x="50" y="132"/>
                    <a:pt x="50" y="131"/>
                    <a:pt x="50" y="130"/>
                  </a:cubicBezTo>
                  <a:cubicBezTo>
                    <a:pt x="51" y="134"/>
                    <a:pt x="49" y="135"/>
                    <a:pt x="53" y="137"/>
                  </a:cubicBezTo>
                  <a:cubicBezTo>
                    <a:pt x="53" y="137"/>
                    <a:pt x="51" y="138"/>
                    <a:pt x="52" y="138"/>
                  </a:cubicBezTo>
                  <a:cubicBezTo>
                    <a:pt x="52" y="138"/>
                    <a:pt x="52" y="138"/>
                    <a:pt x="53" y="138"/>
                  </a:cubicBezTo>
                  <a:cubicBezTo>
                    <a:pt x="55" y="138"/>
                    <a:pt x="60" y="135"/>
                    <a:pt x="62" y="134"/>
                  </a:cubicBezTo>
                  <a:cubicBezTo>
                    <a:pt x="70" y="130"/>
                    <a:pt x="77" y="125"/>
                    <a:pt x="85" y="121"/>
                  </a:cubicBezTo>
                  <a:cubicBezTo>
                    <a:pt x="93" y="116"/>
                    <a:pt x="103" y="113"/>
                    <a:pt x="107" y="105"/>
                  </a:cubicBezTo>
                  <a:cubicBezTo>
                    <a:pt x="108" y="103"/>
                    <a:pt x="116" y="98"/>
                    <a:pt x="113" y="96"/>
                  </a:cubicBezTo>
                  <a:cubicBezTo>
                    <a:pt x="110" y="94"/>
                    <a:pt x="112" y="89"/>
                    <a:pt x="113" y="86"/>
                  </a:cubicBezTo>
                  <a:cubicBezTo>
                    <a:pt x="113" y="88"/>
                    <a:pt x="114" y="91"/>
                    <a:pt x="116" y="93"/>
                  </a:cubicBezTo>
                  <a:cubicBezTo>
                    <a:pt x="116" y="91"/>
                    <a:pt x="114" y="91"/>
                    <a:pt x="114" y="90"/>
                  </a:cubicBezTo>
                  <a:cubicBezTo>
                    <a:pt x="114" y="87"/>
                    <a:pt x="115" y="84"/>
                    <a:pt x="114" y="82"/>
                  </a:cubicBezTo>
                  <a:cubicBezTo>
                    <a:pt x="114" y="80"/>
                    <a:pt x="112" y="78"/>
                    <a:pt x="112" y="77"/>
                  </a:cubicBezTo>
                  <a:cubicBezTo>
                    <a:pt x="112" y="77"/>
                    <a:pt x="112" y="76"/>
                    <a:pt x="112" y="76"/>
                  </a:cubicBezTo>
                  <a:cubicBezTo>
                    <a:pt x="113" y="76"/>
                    <a:pt x="114" y="77"/>
                    <a:pt x="115" y="77"/>
                  </a:cubicBezTo>
                  <a:cubicBezTo>
                    <a:pt x="116" y="77"/>
                    <a:pt x="117" y="78"/>
                    <a:pt x="117" y="78"/>
                  </a:cubicBezTo>
                  <a:cubicBezTo>
                    <a:pt x="117" y="78"/>
                    <a:pt x="117" y="78"/>
                    <a:pt x="117" y="78"/>
                  </a:cubicBezTo>
                  <a:cubicBezTo>
                    <a:pt x="117" y="78"/>
                    <a:pt x="116" y="77"/>
                    <a:pt x="116" y="76"/>
                  </a:cubicBezTo>
                  <a:cubicBezTo>
                    <a:pt x="116" y="71"/>
                    <a:pt x="112" y="70"/>
                    <a:pt x="118" y="66"/>
                  </a:cubicBezTo>
                  <a:cubicBezTo>
                    <a:pt x="118" y="68"/>
                    <a:pt x="119" y="71"/>
                    <a:pt x="120" y="73"/>
                  </a:cubicBezTo>
                  <a:cubicBezTo>
                    <a:pt x="121" y="70"/>
                    <a:pt x="120" y="71"/>
                    <a:pt x="119" y="69"/>
                  </a:cubicBezTo>
                  <a:cubicBezTo>
                    <a:pt x="119" y="68"/>
                    <a:pt x="119" y="68"/>
                    <a:pt x="119" y="67"/>
                  </a:cubicBezTo>
                  <a:cubicBezTo>
                    <a:pt x="119" y="66"/>
                    <a:pt x="118" y="65"/>
                    <a:pt x="119" y="65"/>
                  </a:cubicBezTo>
                  <a:cubicBezTo>
                    <a:pt x="121" y="64"/>
                    <a:pt x="121" y="64"/>
                    <a:pt x="121" y="64"/>
                  </a:cubicBezTo>
                  <a:cubicBezTo>
                    <a:pt x="120" y="60"/>
                    <a:pt x="119" y="56"/>
                    <a:pt x="118" y="52"/>
                  </a:cubicBezTo>
                  <a:cubicBezTo>
                    <a:pt x="116" y="48"/>
                    <a:pt x="115" y="44"/>
                    <a:pt x="114" y="40"/>
                  </a:cubicBezTo>
                  <a:cubicBezTo>
                    <a:pt x="114" y="38"/>
                    <a:pt x="116" y="36"/>
                    <a:pt x="116" y="35"/>
                  </a:cubicBezTo>
                  <a:cubicBezTo>
                    <a:pt x="116" y="34"/>
                    <a:pt x="115" y="32"/>
                    <a:pt x="115" y="31"/>
                  </a:cubicBezTo>
                  <a:cubicBezTo>
                    <a:pt x="114" y="23"/>
                    <a:pt x="111" y="15"/>
                    <a:pt x="108" y="8"/>
                  </a:cubicBezTo>
                  <a:cubicBezTo>
                    <a:pt x="107" y="5"/>
                    <a:pt x="106" y="3"/>
                    <a:pt x="10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7" name="Freeform 1525">
              <a:extLst>
                <a:ext uri="{FF2B5EF4-FFF2-40B4-BE49-F238E27FC236}">
                  <a16:creationId xmlns:a16="http://schemas.microsoft.com/office/drawing/2014/main" id="{0AFC2B14-EFD7-4465-A7D4-8354BE27D80D}"/>
                </a:ext>
              </a:extLst>
            </p:cNvPr>
            <p:cNvSpPr>
              <a:spLocks/>
            </p:cNvSpPr>
            <p:nvPr/>
          </p:nvSpPr>
          <p:spPr bwMode="auto">
            <a:xfrm>
              <a:off x="854" y="296"/>
              <a:ext cx="116" cy="151"/>
            </a:xfrm>
            <a:custGeom>
              <a:avLst/>
              <a:gdLst>
                <a:gd name="T0" fmla="*/ 22 w 49"/>
                <a:gd name="T1" fmla="*/ 0 h 64"/>
                <a:gd name="T2" fmla="*/ 19 w 49"/>
                <a:gd name="T3" fmla="*/ 0 h 64"/>
                <a:gd name="T4" fmla="*/ 18 w 49"/>
                <a:gd name="T5" fmla="*/ 0 h 64"/>
                <a:gd name="T6" fmla="*/ 18 w 49"/>
                <a:gd name="T7" fmla="*/ 1 h 64"/>
                <a:gd name="T8" fmla="*/ 7 w 49"/>
                <a:gd name="T9" fmla="*/ 11 h 64"/>
                <a:gd name="T10" fmla="*/ 0 w 49"/>
                <a:gd name="T11" fmla="*/ 14 h 64"/>
                <a:gd name="T12" fmla="*/ 3 w 49"/>
                <a:gd name="T13" fmla="*/ 19 h 64"/>
                <a:gd name="T14" fmla="*/ 17 w 49"/>
                <a:gd name="T15" fmla="*/ 27 h 64"/>
                <a:gd name="T16" fmla="*/ 16 w 49"/>
                <a:gd name="T17" fmla="*/ 26 h 64"/>
                <a:gd name="T18" fmla="*/ 11 w 49"/>
                <a:gd name="T19" fmla="*/ 29 h 64"/>
                <a:gd name="T20" fmla="*/ 9 w 49"/>
                <a:gd name="T21" fmla="*/ 47 h 64"/>
                <a:gd name="T22" fmla="*/ 11 w 49"/>
                <a:gd name="T23" fmla="*/ 62 h 64"/>
                <a:gd name="T24" fmla="*/ 13 w 49"/>
                <a:gd name="T25" fmla="*/ 61 h 64"/>
                <a:gd name="T26" fmla="*/ 6 w 49"/>
                <a:gd name="T27" fmla="*/ 64 h 64"/>
                <a:gd name="T28" fmla="*/ 20 w 49"/>
                <a:gd name="T29" fmla="*/ 61 h 64"/>
                <a:gd name="T30" fmla="*/ 25 w 49"/>
                <a:gd name="T31" fmla="*/ 55 h 64"/>
                <a:gd name="T32" fmla="*/ 42 w 49"/>
                <a:gd name="T33" fmla="*/ 44 h 64"/>
                <a:gd name="T34" fmla="*/ 46 w 49"/>
                <a:gd name="T35" fmla="*/ 37 h 64"/>
                <a:gd name="T36" fmla="*/ 40 w 49"/>
                <a:gd name="T37" fmla="*/ 26 h 64"/>
                <a:gd name="T38" fmla="*/ 38 w 49"/>
                <a:gd name="T39" fmla="*/ 22 h 64"/>
                <a:gd name="T40" fmla="*/ 38 w 49"/>
                <a:gd name="T41" fmla="*/ 22 h 64"/>
                <a:gd name="T42" fmla="*/ 33 w 49"/>
                <a:gd name="T43" fmla="*/ 18 h 64"/>
                <a:gd name="T44" fmla="*/ 33 w 49"/>
                <a:gd name="T45" fmla="*/ 18 h 64"/>
                <a:gd name="T46" fmla="*/ 26 w 49"/>
                <a:gd name="T47" fmla="*/ 11 h 64"/>
                <a:gd name="T48" fmla="*/ 22 w 49"/>
                <a:gd name="T49" fmla="*/ 7 h 64"/>
                <a:gd name="T50" fmla="*/ 23 w 49"/>
                <a:gd name="T51" fmla="*/ 7 h 64"/>
                <a:gd name="T52" fmla="*/ 23 w 49"/>
                <a:gd name="T53" fmla="*/ 7 h 64"/>
                <a:gd name="T54" fmla="*/ 22 w 49"/>
                <a:gd name="T5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9" h="64">
                  <a:moveTo>
                    <a:pt x="22" y="0"/>
                  </a:moveTo>
                  <a:cubicBezTo>
                    <a:pt x="21" y="0"/>
                    <a:pt x="20" y="0"/>
                    <a:pt x="19" y="0"/>
                  </a:cubicBezTo>
                  <a:cubicBezTo>
                    <a:pt x="19" y="0"/>
                    <a:pt x="19" y="0"/>
                    <a:pt x="18" y="0"/>
                  </a:cubicBezTo>
                  <a:cubicBezTo>
                    <a:pt x="18" y="1"/>
                    <a:pt x="18" y="1"/>
                    <a:pt x="18" y="1"/>
                  </a:cubicBezTo>
                  <a:cubicBezTo>
                    <a:pt x="19" y="5"/>
                    <a:pt x="12" y="10"/>
                    <a:pt x="7" y="11"/>
                  </a:cubicBezTo>
                  <a:cubicBezTo>
                    <a:pt x="3" y="12"/>
                    <a:pt x="1" y="14"/>
                    <a:pt x="0" y="14"/>
                  </a:cubicBezTo>
                  <a:cubicBezTo>
                    <a:pt x="1" y="16"/>
                    <a:pt x="2" y="18"/>
                    <a:pt x="3" y="19"/>
                  </a:cubicBezTo>
                  <a:cubicBezTo>
                    <a:pt x="7" y="21"/>
                    <a:pt x="18" y="21"/>
                    <a:pt x="17" y="27"/>
                  </a:cubicBezTo>
                  <a:cubicBezTo>
                    <a:pt x="17" y="26"/>
                    <a:pt x="17" y="26"/>
                    <a:pt x="16" y="26"/>
                  </a:cubicBezTo>
                  <a:cubicBezTo>
                    <a:pt x="14" y="26"/>
                    <a:pt x="12" y="28"/>
                    <a:pt x="11" y="29"/>
                  </a:cubicBezTo>
                  <a:cubicBezTo>
                    <a:pt x="8" y="34"/>
                    <a:pt x="9" y="42"/>
                    <a:pt x="9" y="47"/>
                  </a:cubicBezTo>
                  <a:cubicBezTo>
                    <a:pt x="9" y="50"/>
                    <a:pt x="6" y="62"/>
                    <a:pt x="11" y="62"/>
                  </a:cubicBezTo>
                  <a:cubicBezTo>
                    <a:pt x="12" y="62"/>
                    <a:pt x="12" y="61"/>
                    <a:pt x="13" y="61"/>
                  </a:cubicBezTo>
                  <a:cubicBezTo>
                    <a:pt x="10" y="62"/>
                    <a:pt x="9" y="63"/>
                    <a:pt x="6" y="64"/>
                  </a:cubicBezTo>
                  <a:cubicBezTo>
                    <a:pt x="13" y="64"/>
                    <a:pt x="16" y="64"/>
                    <a:pt x="20" y="61"/>
                  </a:cubicBezTo>
                  <a:cubicBezTo>
                    <a:pt x="23" y="59"/>
                    <a:pt x="24" y="58"/>
                    <a:pt x="25" y="55"/>
                  </a:cubicBezTo>
                  <a:cubicBezTo>
                    <a:pt x="28" y="48"/>
                    <a:pt x="37" y="47"/>
                    <a:pt x="42" y="44"/>
                  </a:cubicBezTo>
                  <a:cubicBezTo>
                    <a:pt x="47" y="41"/>
                    <a:pt x="49" y="42"/>
                    <a:pt x="46" y="37"/>
                  </a:cubicBezTo>
                  <a:cubicBezTo>
                    <a:pt x="44" y="34"/>
                    <a:pt x="42" y="30"/>
                    <a:pt x="40" y="26"/>
                  </a:cubicBezTo>
                  <a:cubicBezTo>
                    <a:pt x="40" y="25"/>
                    <a:pt x="39" y="23"/>
                    <a:pt x="38" y="22"/>
                  </a:cubicBezTo>
                  <a:cubicBezTo>
                    <a:pt x="38" y="22"/>
                    <a:pt x="38" y="22"/>
                    <a:pt x="38" y="22"/>
                  </a:cubicBezTo>
                  <a:cubicBezTo>
                    <a:pt x="36" y="21"/>
                    <a:pt x="35" y="19"/>
                    <a:pt x="33" y="18"/>
                  </a:cubicBezTo>
                  <a:cubicBezTo>
                    <a:pt x="33" y="18"/>
                    <a:pt x="33" y="18"/>
                    <a:pt x="33" y="18"/>
                  </a:cubicBezTo>
                  <a:cubicBezTo>
                    <a:pt x="30" y="16"/>
                    <a:pt x="28" y="13"/>
                    <a:pt x="26" y="11"/>
                  </a:cubicBezTo>
                  <a:cubicBezTo>
                    <a:pt x="24" y="9"/>
                    <a:pt x="23" y="8"/>
                    <a:pt x="22" y="7"/>
                  </a:cubicBezTo>
                  <a:cubicBezTo>
                    <a:pt x="22" y="7"/>
                    <a:pt x="23" y="7"/>
                    <a:pt x="23" y="7"/>
                  </a:cubicBezTo>
                  <a:cubicBezTo>
                    <a:pt x="23" y="7"/>
                    <a:pt x="23" y="7"/>
                    <a:pt x="23" y="7"/>
                  </a:cubicBezTo>
                  <a:cubicBezTo>
                    <a:pt x="26" y="7"/>
                    <a:pt x="24" y="3"/>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8" name="Freeform 1526">
              <a:extLst>
                <a:ext uri="{FF2B5EF4-FFF2-40B4-BE49-F238E27FC236}">
                  <a16:creationId xmlns:a16="http://schemas.microsoft.com/office/drawing/2014/main" id="{80A9CA28-EA77-4C9F-9735-CBF37F9923BE}"/>
                </a:ext>
              </a:extLst>
            </p:cNvPr>
            <p:cNvSpPr>
              <a:spLocks/>
            </p:cNvSpPr>
            <p:nvPr/>
          </p:nvSpPr>
          <p:spPr bwMode="auto">
            <a:xfrm>
              <a:off x="743" y="230"/>
              <a:ext cx="3" cy="7"/>
            </a:xfrm>
            <a:custGeom>
              <a:avLst/>
              <a:gdLst>
                <a:gd name="T0" fmla="*/ 0 w 1"/>
                <a:gd name="T1" fmla="*/ 0 h 3"/>
                <a:gd name="T2" fmla="*/ 0 w 1"/>
                <a:gd name="T3" fmla="*/ 0 h 3"/>
                <a:gd name="T4" fmla="*/ 0 w 1"/>
                <a:gd name="T5" fmla="*/ 0 h 3"/>
                <a:gd name="T6" fmla="*/ 1 w 1"/>
                <a:gd name="T7" fmla="*/ 3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cubicBezTo>
                    <a:pt x="0" y="0"/>
                    <a:pt x="0" y="0"/>
                    <a:pt x="0" y="0"/>
                  </a:cubicBezTo>
                  <a:cubicBezTo>
                    <a:pt x="0" y="0"/>
                    <a:pt x="0" y="0"/>
                    <a:pt x="0" y="0"/>
                  </a:cubicBezTo>
                  <a:cubicBezTo>
                    <a:pt x="0" y="1"/>
                    <a:pt x="0" y="2"/>
                    <a:pt x="1" y="3"/>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9" name="Freeform 1527">
              <a:extLst>
                <a:ext uri="{FF2B5EF4-FFF2-40B4-BE49-F238E27FC236}">
                  <a16:creationId xmlns:a16="http://schemas.microsoft.com/office/drawing/2014/main" id="{FEB31F2B-A8F9-4112-9FF1-1E8E8C0F4F77}"/>
                </a:ext>
              </a:extLst>
            </p:cNvPr>
            <p:cNvSpPr>
              <a:spLocks noEditPoints="1"/>
            </p:cNvSpPr>
            <p:nvPr/>
          </p:nvSpPr>
          <p:spPr bwMode="auto">
            <a:xfrm>
              <a:off x="713" y="41"/>
              <a:ext cx="347" cy="276"/>
            </a:xfrm>
            <a:custGeom>
              <a:avLst/>
              <a:gdLst>
                <a:gd name="T0" fmla="*/ 16 w 147"/>
                <a:gd name="T1" fmla="*/ 86 h 117"/>
                <a:gd name="T2" fmla="*/ 112 w 147"/>
                <a:gd name="T3" fmla="*/ 3 h 117"/>
                <a:gd name="T4" fmla="*/ 112 w 147"/>
                <a:gd name="T5" fmla="*/ 12 h 117"/>
                <a:gd name="T6" fmla="*/ 105 w 147"/>
                <a:gd name="T7" fmla="*/ 23 h 117"/>
                <a:gd name="T8" fmla="*/ 101 w 147"/>
                <a:gd name="T9" fmla="*/ 19 h 117"/>
                <a:gd name="T10" fmla="*/ 97 w 147"/>
                <a:gd name="T11" fmla="*/ 17 h 117"/>
                <a:gd name="T12" fmla="*/ 94 w 147"/>
                <a:gd name="T13" fmla="*/ 14 h 117"/>
                <a:gd name="T14" fmla="*/ 91 w 147"/>
                <a:gd name="T15" fmla="*/ 14 h 117"/>
                <a:gd name="T16" fmla="*/ 87 w 147"/>
                <a:gd name="T17" fmla="*/ 14 h 117"/>
                <a:gd name="T18" fmla="*/ 80 w 147"/>
                <a:gd name="T19" fmla="*/ 9 h 117"/>
                <a:gd name="T20" fmla="*/ 72 w 147"/>
                <a:gd name="T21" fmla="*/ 6 h 117"/>
                <a:gd name="T22" fmla="*/ 71 w 147"/>
                <a:gd name="T23" fmla="*/ 5 h 117"/>
                <a:gd name="T24" fmla="*/ 64 w 147"/>
                <a:gd name="T25" fmla="*/ 6 h 117"/>
                <a:gd name="T26" fmla="*/ 51 w 147"/>
                <a:gd name="T27" fmla="*/ 6 h 117"/>
                <a:gd name="T28" fmla="*/ 33 w 147"/>
                <a:gd name="T29" fmla="*/ 6 h 117"/>
                <a:gd name="T30" fmla="*/ 18 w 147"/>
                <a:gd name="T31" fmla="*/ 10 h 117"/>
                <a:gd name="T32" fmla="*/ 4 w 147"/>
                <a:gd name="T33" fmla="*/ 28 h 117"/>
                <a:gd name="T34" fmla="*/ 3 w 147"/>
                <a:gd name="T35" fmla="*/ 38 h 117"/>
                <a:gd name="T36" fmla="*/ 6 w 147"/>
                <a:gd name="T37" fmla="*/ 48 h 117"/>
                <a:gd name="T38" fmla="*/ 8 w 147"/>
                <a:gd name="T39" fmla="*/ 54 h 117"/>
                <a:gd name="T40" fmla="*/ 13 w 147"/>
                <a:gd name="T41" fmla="*/ 60 h 117"/>
                <a:gd name="T42" fmla="*/ 13 w 147"/>
                <a:gd name="T43" fmla="*/ 64 h 117"/>
                <a:gd name="T44" fmla="*/ 15 w 147"/>
                <a:gd name="T45" fmla="*/ 79 h 117"/>
                <a:gd name="T46" fmla="*/ 20 w 147"/>
                <a:gd name="T47" fmla="*/ 94 h 117"/>
                <a:gd name="T48" fmla="*/ 28 w 147"/>
                <a:gd name="T49" fmla="*/ 105 h 117"/>
                <a:gd name="T50" fmla="*/ 33 w 147"/>
                <a:gd name="T51" fmla="*/ 111 h 117"/>
                <a:gd name="T52" fmla="*/ 55 w 147"/>
                <a:gd name="T53" fmla="*/ 117 h 117"/>
                <a:gd name="T54" fmla="*/ 65 w 147"/>
                <a:gd name="T55" fmla="*/ 112 h 117"/>
                <a:gd name="T56" fmla="*/ 75 w 147"/>
                <a:gd name="T57" fmla="*/ 101 h 117"/>
                <a:gd name="T58" fmla="*/ 80 w 147"/>
                <a:gd name="T59" fmla="*/ 101 h 117"/>
                <a:gd name="T60" fmla="*/ 95 w 147"/>
                <a:gd name="T61" fmla="*/ 99 h 117"/>
                <a:gd name="T62" fmla="*/ 99 w 147"/>
                <a:gd name="T63" fmla="*/ 98 h 117"/>
                <a:gd name="T64" fmla="*/ 94 w 147"/>
                <a:gd name="T65" fmla="*/ 85 h 117"/>
                <a:gd name="T66" fmla="*/ 105 w 147"/>
                <a:gd name="T67" fmla="*/ 76 h 117"/>
                <a:gd name="T68" fmla="*/ 127 w 147"/>
                <a:gd name="T69" fmla="*/ 67 h 117"/>
                <a:gd name="T70" fmla="*/ 132 w 147"/>
                <a:gd name="T71" fmla="*/ 65 h 117"/>
                <a:gd name="T72" fmla="*/ 140 w 147"/>
                <a:gd name="T73" fmla="*/ 60 h 117"/>
                <a:gd name="T74" fmla="*/ 145 w 147"/>
                <a:gd name="T75" fmla="*/ 61 h 117"/>
                <a:gd name="T76" fmla="*/ 146 w 147"/>
                <a:gd name="T77" fmla="*/ 58 h 117"/>
                <a:gd name="T78" fmla="*/ 144 w 147"/>
                <a:gd name="T79" fmla="*/ 42 h 117"/>
                <a:gd name="T80" fmla="*/ 147 w 147"/>
                <a:gd name="T81" fmla="*/ 30 h 117"/>
                <a:gd name="T82" fmla="*/ 142 w 147"/>
                <a:gd name="T83" fmla="*/ 18 h 117"/>
                <a:gd name="T84" fmla="*/ 139 w 147"/>
                <a:gd name="T85" fmla="*/ 9 h 117"/>
                <a:gd name="T86" fmla="*/ 140 w 147"/>
                <a:gd name="T87" fmla="*/ 3 h 117"/>
                <a:gd name="T88" fmla="*/ 131 w 147"/>
                <a:gd name="T89" fmla="*/ 6 h 117"/>
                <a:gd name="T90" fmla="*/ 118 w 147"/>
                <a:gd name="T91" fmla="*/ 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7" h="117">
                  <a:moveTo>
                    <a:pt x="16" y="86"/>
                  </a:moveTo>
                  <a:cubicBezTo>
                    <a:pt x="16" y="86"/>
                    <a:pt x="16" y="86"/>
                    <a:pt x="16" y="86"/>
                  </a:cubicBezTo>
                  <a:cubicBezTo>
                    <a:pt x="16" y="86"/>
                    <a:pt x="16" y="86"/>
                    <a:pt x="16" y="86"/>
                  </a:cubicBezTo>
                  <a:moveTo>
                    <a:pt x="117" y="0"/>
                  </a:moveTo>
                  <a:cubicBezTo>
                    <a:pt x="116" y="1"/>
                    <a:pt x="114" y="2"/>
                    <a:pt x="113" y="3"/>
                  </a:cubicBezTo>
                  <a:cubicBezTo>
                    <a:pt x="112" y="3"/>
                    <a:pt x="112" y="3"/>
                    <a:pt x="112" y="3"/>
                  </a:cubicBezTo>
                  <a:cubicBezTo>
                    <a:pt x="112" y="4"/>
                    <a:pt x="111" y="4"/>
                    <a:pt x="110" y="5"/>
                  </a:cubicBezTo>
                  <a:cubicBezTo>
                    <a:pt x="110" y="5"/>
                    <a:pt x="110" y="5"/>
                    <a:pt x="109" y="5"/>
                  </a:cubicBezTo>
                  <a:cubicBezTo>
                    <a:pt x="110" y="7"/>
                    <a:pt x="112" y="10"/>
                    <a:pt x="112" y="12"/>
                  </a:cubicBezTo>
                  <a:cubicBezTo>
                    <a:pt x="112" y="13"/>
                    <a:pt x="111" y="14"/>
                    <a:pt x="111" y="15"/>
                  </a:cubicBezTo>
                  <a:cubicBezTo>
                    <a:pt x="109" y="18"/>
                    <a:pt x="107" y="19"/>
                    <a:pt x="105" y="19"/>
                  </a:cubicBezTo>
                  <a:cubicBezTo>
                    <a:pt x="105" y="23"/>
                    <a:pt x="105" y="23"/>
                    <a:pt x="105" y="23"/>
                  </a:cubicBezTo>
                  <a:cubicBezTo>
                    <a:pt x="103" y="19"/>
                    <a:pt x="103" y="19"/>
                    <a:pt x="103" y="19"/>
                  </a:cubicBezTo>
                  <a:cubicBezTo>
                    <a:pt x="102" y="19"/>
                    <a:pt x="102" y="19"/>
                    <a:pt x="102" y="19"/>
                  </a:cubicBezTo>
                  <a:cubicBezTo>
                    <a:pt x="101" y="19"/>
                    <a:pt x="101" y="19"/>
                    <a:pt x="101" y="19"/>
                  </a:cubicBezTo>
                  <a:cubicBezTo>
                    <a:pt x="101" y="19"/>
                    <a:pt x="100" y="19"/>
                    <a:pt x="100" y="19"/>
                  </a:cubicBezTo>
                  <a:cubicBezTo>
                    <a:pt x="99" y="18"/>
                    <a:pt x="99" y="18"/>
                    <a:pt x="99" y="18"/>
                  </a:cubicBezTo>
                  <a:cubicBezTo>
                    <a:pt x="98" y="18"/>
                    <a:pt x="98" y="18"/>
                    <a:pt x="97" y="17"/>
                  </a:cubicBezTo>
                  <a:cubicBezTo>
                    <a:pt x="97" y="16"/>
                    <a:pt x="96" y="16"/>
                    <a:pt x="96" y="15"/>
                  </a:cubicBezTo>
                  <a:cubicBezTo>
                    <a:pt x="95" y="14"/>
                    <a:pt x="95" y="14"/>
                    <a:pt x="95" y="14"/>
                  </a:cubicBezTo>
                  <a:cubicBezTo>
                    <a:pt x="94" y="14"/>
                    <a:pt x="94" y="14"/>
                    <a:pt x="94" y="14"/>
                  </a:cubicBezTo>
                  <a:cubicBezTo>
                    <a:pt x="94" y="14"/>
                    <a:pt x="94" y="14"/>
                    <a:pt x="94" y="14"/>
                  </a:cubicBezTo>
                  <a:cubicBezTo>
                    <a:pt x="93" y="14"/>
                    <a:pt x="93" y="14"/>
                    <a:pt x="93" y="14"/>
                  </a:cubicBezTo>
                  <a:cubicBezTo>
                    <a:pt x="93" y="14"/>
                    <a:pt x="92" y="14"/>
                    <a:pt x="91" y="14"/>
                  </a:cubicBezTo>
                  <a:cubicBezTo>
                    <a:pt x="91" y="14"/>
                    <a:pt x="91" y="14"/>
                    <a:pt x="91" y="14"/>
                  </a:cubicBezTo>
                  <a:cubicBezTo>
                    <a:pt x="90" y="14"/>
                    <a:pt x="89" y="14"/>
                    <a:pt x="88" y="14"/>
                  </a:cubicBezTo>
                  <a:cubicBezTo>
                    <a:pt x="87" y="14"/>
                    <a:pt x="87" y="14"/>
                    <a:pt x="87" y="14"/>
                  </a:cubicBezTo>
                  <a:cubicBezTo>
                    <a:pt x="87" y="14"/>
                    <a:pt x="86" y="14"/>
                    <a:pt x="86" y="14"/>
                  </a:cubicBezTo>
                  <a:cubicBezTo>
                    <a:pt x="86" y="14"/>
                    <a:pt x="84" y="14"/>
                    <a:pt x="83" y="12"/>
                  </a:cubicBezTo>
                  <a:cubicBezTo>
                    <a:pt x="82" y="11"/>
                    <a:pt x="81" y="10"/>
                    <a:pt x="80" y="9"/>
                  </a:cubicBezTo>
                  <a:cubicBezTo>
                    <a:pt x="80" y="10"/>
                    <a:pt x="79" y="10"/>
                    <a:pt x="77" y="10"/>
                  </a:cubicBezTo>
                  <a:cubicBezTo>
                    <a:pt x="75" y="10"/>
                    <a:pt x="74" y="9"/>
                    <a:pt x="73" y="8"/>
                  </a:cubicBezTo>
                  <a:cubicBezTo>
                    <a:pt x="72" y="8"/>
                    <a:pt x="72" y="7"/>
                    <a:pt x="72" y="6"/>
                  </a:cubicBezTo>
                  <a:cubicBezTo>
                    <a:pt x="71" y="6"/>
                    <a:pt x="71" y="6"/>
                    <a:pt x="71" y="6"/>
                  </a:cubicBezTo>
                  <a:cubicBezTo>
                    <a:pt x="71" y="5"/>
                    <a:pt x="71" y="5"/>
                    <a:pt x="71" y="5"/>
                  </a:cubicBezTo>
                  <a:cubicBezTo>
                    <a:pt x="71" y="5"/>
                    <a:pt x="71" y="5"/>
                    <a:pt x="71" y="5"/>
                  </a:cubicBezTo>
                  <a:cubicBezTo>
                    <a:pt x="71" y="5"/>
                    <a:pt x="70" y="5"/>
                    <a:pt x="70" y="5"/>
                  </a:cubicBezTo>
                  <a:cubicBezTo>
                    <a:pt x="70" y="5"/>
                    <a:pt x="70" y="5"/>
                    <a:pt x="70" y="5"/>
                  </a:cubicBezTo>
                  <a:cubicBezTo>
                    <a:pt x="68" y="5"/>
                    <a:pt x="66" y="5"/>
                    <a:pt x="64" y="6"/>
                  </a:cubicBezTo>
                  <a:cubicBezTo>
                    <a:pt x="63" y="6"/>
                    <a:pt x="62" y="6"/>
                    <a:pt x="62" y="6"/>
                  </a:cubicBezTo>
                  <a:cubicBezTo>
                    <a:pt x="58" y="6"/>
                    <a:pt x="56" y="6"/>
                    <a:pt x="53" y="6"/>
                  </a:cubicBezTo>
                  <a:cubicBezTo>
                    <a:pt x="52" y="6"/>
                    <a:pt x="51" y="6"/>
                    <a:pt x="51" y="6"/>
                  </a:cubicBezTo>
                  <a:cubicBezTo>
                    <a:pt x="49" y="6"/>
                    <a:pt x="47" y="6"/>
                    <a:pt x="45" y="6"/>
                  </a:cubicBezTo>
                  <a:cubicBezTo>
                    <a:pt x="43" y="6"/>
                    <a:pt x="43" y="6"/>
                    <a:pt x="43" y="6"/>
                  </a:cubicBezTo>
                  <a:cubicBezTo>
                    <a:pt x="40" y="6"/>
                    <a:pt x="37" y="6"/>
                    <a:pt x="33" y="6"/>
                  </a:cubicBezTo>
                  <a:cubicBezTo>
                    <a:pt x="32" y="6"/>
                    <a:pt x="32" y="6"/>
                    <a:pt x="31" y="6"/>
                  </a:cubicBezTo>
                  <a:cubicBezTo>
                    <a:pt x="30" y="6"/>
                    <a:pt x="29" y="6"/>
                    <a:pt x="28" y="6"/>
                  </a:cubicBezTo>
                  <a:cubicBezTo>
                    <a:pt x="24" y="6"/>
                    <a:pt x="20" y="8"/>
                    <a:pt x="18" y="10"/>
                  </a:cubicBezTo>
                  <a:cubicBezTo>
                    <a:pt x="17" y="10"/>
                    <a:pt x="17" y="11"/>
                    <a:pt x="17" y="11"/>
                  </a:cubicBezTo>
                  <a:cubicBezTo>
                    <a:pt x="16" y="12"/>
                    <a:pt x="15" y="14"/>
                    <a:pt x="14" y="16"/>
                  </a:cubicBezTo>
                  <a:cubicBezTo>
                    <a:pt x="11" y="20"/>
                    <a:pt x="8" y="24"/>
                    <a:pt x="4" y="28"/>
                  </a:cubicBezTo>
                  <a:cubicBezTo>
                    <a:pt x="3" y="28"/>
                    <a:pt x="3" y="29"/>
                    <a:pt x="2" y="29"/>
                  </a:cubicBezTo>
                  <a:cubicBezTo>
                    <a:pt x="0" y="31"/>
                    <a:pt x="0" y="31"/>
                    <a:pt x="0" y="31"/>
                  </a:cubicBezTo>
                  <a:cubicBezTo>
                    <a:pt x="0" y="31"/>
                    <a:pt x="1" y="34"/>
                    <a:pt x="3" y="38"/>
                  </a:cubicBezTo>
                  <a:cubicBezTo>
                    <a:pt x="4" y="39"/>
                    <a:pt x="4" y="39"/>
                    <a:pt x="4" y="39"/>
                  </a:cubicBezTo>
                  <a:cubicBezTo>
                    <a:pt x="5" y="42"/>
                    <a:pt x="5" y="44"/>
                    <a:pt x="6" y="46"/>
                  </a:cubicBezTo>
                  <a:cubicBezTo>
                    <a:pt x="6" y="48"/>
                    <a:pt x="6" y="48"/>
                    <a:pt x="6" y="48"/>
                  </a:cubicBezTo>
                  <a:cubicBezTo>
                    <a:pt x="6" y="49"/>
                    <a:pt x="6" y="51"/>
                    <a:pt x="6" y="51"/>
                  </a:cubicBezTo>
                  <a:cubicBezTo>
                    <a:pt x="6" y="52"/>
                    <a:pt x="6" y="52"/>
                    <a:pt x="6" y="52"/>
                  </a:cubicBezTo>
                  <a:cubicBezTo>
                    <a:pt x="8" y="54"/>
                    <a:pt x="8" y="54"/>
                    <a:pt x="8" y="54"/>
                  </a:cubicBezTo>
                  <a:cubicBezTo>
                    <a:pt x="10" y="55"/>
                    <a:pt x="11" y="56"/>
                    <a:pt x="12" y="57"/>
                  </a:cubicBezTo>
                  <a:cubicBezTo>
                    <a:pt x="12" y="58"/>
                    <a:pt x="12" y="58"/>
                    <a:pt x="12" y="58"/>
                  </a:cubicBezTo>
                  <a:cubicBezTo>
                    <a:pt x="13" y="59"/>
                    <a:pt x="13" y="59"/>
                    <a:pt x="13" y="60"/>
                  </a:cubicBezTo>
                  <a:cubicBezTo>
                    <a:pt x="13" y="60"/>
                    <a:pt x="13" y="60"/>
                    <a:pt x="13" y="60"/>
                  </a:cubicBezTo>
                  <a:cubicBezTo>
                    <a:pt x="13" y="61"/>
                    <a:pt x="13" y="61"/>
                    <a:pt x="13" y="62"/>
                  </a:cubicBezTo>
                  <a:cubicBezTo>
                    <a:pt x="13" y="62"/>
                    <a:pt x="13" y="63"/>
                    <a:pt x="13" y="64"/>
                  </a:cubicBezTo>
                  <a:cubicBezTo>
                    <a:pt x="13" y="68"/>
                    <a:pt x="14" y="73"/>
                    <a:pt x="15" y="77"/>
                  </a:cubicBezTo>
                  <a:cubicBezTo>
                    <a:pt x="15" y="79"/>
                    <a:pt x="15" y="79"/>
                    <a:pt x="15" y="79"/>
                  </a:cubicBezTo>
                  <a:cubicBezTo>
                    <a:pt x="15" y="79"/>
                    <a:pt x="15" y="79"/>
                    <a:pt x="15" y="79"/>
                  </a:cubicBezTo>
                  <a:cubicBezTo>
                    <a:pt x="16" y="81"/>
                    <a:pt x="18" y="84"/>
                    <a:pt x="16" y="86"/>
                  </a:cubicBezTo>
                  <a:cubicBezTo>
                    <a:pt x="17" y="85"/>
                    <a:pt x="17" y="85"/>
                    <a:pt x="17" y="85"/>
                  </a:cubicBezTo>
                  <a:cubicBezTo>
                    <a:pt x="20" y="85"/>
                    <a:pt x="22" y="92"/>
                    <a:pt x="20" y="94"/>
                  </a:cubicBezTo>
                  <a:cubicBezTo>
                    <a:pt x="16" y="96"/>
                    <a:pt x="20" y="102"/>
                    <a:pt x="21" y="106"/>
                  </a:cubicBezTo>
                  <a:cubicBezTo>
                    <a:pt x="21" y="106"/>
                    <a:pt x="22" y="106"/>
                    <a:pt x="22" y="106"/>
                  </a:cubicBezTo>
                  <a:cubicBezTo>
                    <a:pt x="24" y="106"/>
                    <a:pt x="28" y="105"/>
                    <a:pt x="28" y="105"/>
                  </a:cubicBezTo>
                  <a:cubicBezTo>
                    <a:pt x="30" y="104"/>
                    <a:pt x="31" y="99"/>
                    <a:pt x="32" y="97"/>
                  </a:cubicBezTo>
                  <a:cubicBezTo>
                    <a:pt x="33" y="101"/>
                    <a:pt x="35" y="105"/>
                    <a:pt x="36" y="109"/>
                  </a:cubicBezTo>
                  <a:cubicBezTo>
                    <a:pt x="36" y="110"/>
                    <a:pt x="34" y="110"/>
                    <a:pt x="33" y="111"/>
                  </a:cubicBezTo>
                  <a:cubicBezTo>
                    <a:pt x="31" y="111"/>
                    <a:pt x="32" y="114"/>
                    <a:pt x="32" y="115"/>
                  </a:cubicBezTo>
                  <a:cubicBezTo>
                    <a:pt x="36" y="114"/>
                    <a:pt x="39" y="114"/>
                    <a:pt x="42" y="114"/>
                  </a:cubicBezTo>
                  <a:cubicBezTo>
                    <a:pt x="47" y="114"/>
                    <a:pt x="51" y="115"/>
                    <a:pt x="55" y="117"/>
                  </a:cubicBezTo>
                  <a:cubicBezTo>
                    <a:pt x="55" y="117"/>
                    <a:pt x="55" y="117"/>
                    <a:pt x="55" y="117"/>
                  </a:cubicBezTo>
                  <a:cubicBezTo>
                    <a:pt x="56" y="116"/>
                    <a:pt x="56" y="116"/>
                    <a:pt x="56" y="116"/>
                  </a:cubicBezTo>
                  <a:cubicBezTo>
                    <a:pt x="58" y="115"/>
                    <a:pt x="61" y="113"/>
                    <a:pt x="65" y="112"/>
                  </a:cubicBezTo>
                  <a:cubicBezTo>
                    <a:pt x="69" y="112"/>
                    <a:pt x="71" y="109"/>
                    <a:pt x="71" y="109"/>
                  </a:cubicBezTo>
                  <a:cubicBezTo>
                    <a:pt x="71" y="106"/>
                    <a:pt x="71" y="104"/>
                    <a:pt x="73" y="102"/>
                  </a:cubicBezTo>
                  <a:cubicBezTo>
                    <a:pt x="74" y="101"/>
                    <a:pt x="75" y="101"/>
                    <a:pt x="75" y="101"/>
                  </a:cubicBezTo>
                  <a:cubicBezTo>
                    <a:pt x="76" y="101"/>
                    <a:pt x="76" y="101"/>
                    <a:pt x="77" y="101"/>
                  </a:cubicBezTo>
                  <a:cubicBezTo>
                    <a:pt x="77" y="101"/>
                    <a:pt x="78" y="101"/>
                    <a:pt x="78" y="101"/>
                  </a:cubicBezTo>
                  <a:cubicBezTo>
                    <a:pt x="79" y="101"/>
                    <a:pt x="79" y="101"/>
                    <a:pt x="80" y="101"/>
                  </a:cubicBezTo>
                  <a:cubicBezTo>
                    <a:pt x="82" y="101"/>
                    <a:pt x="85" y="100"/>
                    <a:pt x="86" y="100"/>
                  </a:cubicBezTo>
                  <a:cubicBezTo>
                    <a:pt x="87" y="100"/>
                    <a:pt x="87" y="100"/>
                    <a:pt x="87" y="100"/>
                  </a:cubicBezTo>
                  <a:cubicBezTo>
                    <a:pt x="89" y="100"/>
                    <a:pt x="95" y="99"/>
                    <a:pt x="95" y="99"/>
                  </a:cubicBezTo>
                  <a:cubicBezTo>
                    <a:pt x="95" y="99"/>
                    <a:pt x="95" y="99"/>
                    <a:pt x="95" y="99"/>
                  </a:cubicBezTo>
                  <a:cubicBezTo>
                    <a:pt x="97" y="99"/>
                    <a:pt x="99" y="99"/>
                    <a:pt x="100" y="100"/>
                  </a:cubicBezTo>
                  <a:cubicBezTo>
                    <a:pt x="100" y="99"/>
                    <a:pt x="99" y="99"/>
                    <a:pt x="99" y="98"/>
                  </a:cubicBezTo>
                  <a:cubicBezTo>
                    <a:pt x="96" y="95"/>
                    <a:pt x="95" y="91"/>
                    <a:pt x="95" y="88"/>
                  </a:cubicBezTo>
                  <a:cubicBezTo>
                    <a:pt x="95" y="87"/>
                    <a:pt x="95" y="87"/>
                    <a:pt x="95" y="87"/>
                  </a:cubicBezTo>
                  <a:cubicBezTo>
                    <a:pt x="95" y="87"/>
                    <a:pt x="95" y="86"/>
                    <a:pt x="94" y="85"/>
                  </a:cubicBezTo>
                  <a:cubicBezTo>
                    <a:pt x="94" y="82"/>
                    <a:pt x="99" y="78"/>
                    <a:pt x="101" y="77"/>
                  </a:cubicBezTo>
                  <a:cubicBezTo>
                    <a:pt x="102" y="76"/>
                    <a:pt x="103" y="76"/>
                    <a:pt x="104" y="76"/>
                  </a:cubicBezTo>
                  <a:cubicBezTo>
                    <a:pt x="104" y="76"/>
                    <a:pt x="105" y="76"/>
                    <a:pt x="105" y="76"/>
                  </a:cubicBezTo>
                  <a:cubicBezTo>
                    <a:pt x="112" y="78"/>
                    <a:pt x="112" y="78"/>
                    <a:pt x="112" y="78"/>
                  </a:cubicBezTo>
                  <a:cubicBezTo>
                    <a:pt x="112" y="75"/>
                    <a:pt x="112" y="71"/>
                    <a:pt x="115" y="70"/>
                  </a:cubicBezTo>
                  <a:cubicBezTo>
                    <a:pt x="119" y="69"/>
                    <a:pt x="123" y="68"/>
                    <a:pt x="127" y="67"/>
                  </a:cubicBezTo>
                  <a:cubicBezTo>
                    <a:pt x="128" y="67"/>
                    <a:pt x="128" y="67"/>
                    <a:pt x="128" y="67"/>
                  </a:cubicBezTo>
                  <a:cubicBezTo>
                    <a:pt x="130" y="66"/>
                    <a:pt x="131" y="66"/>
                    <a:pt x="131" y="66"/>
                  </a:cubicBezTo>
                  <a:cubicBezTo>
                    <a:pt x="132" y="65"/>
                    <a:pt x="132" y="65"/>
                    <a:pt x="132" y="65"/>
                  </a:cubicBezTo>
                  <a:cubicBezTo>
                    <a:pt x="133" y="64"/>
                    <a:pt x="134" y="63"/>
                    <a:pt x="135" y="62"/>
                  </a:cubicBezTo>
                  <a:cubicBezTo>
                    <a:pt x="136" y="61"/>
                    <a:pt x="137" y="61"/>
                    <a:pt x="137" y="61"/>
                  </a:cubicBezTo>
                  <a:cubicBezTo>
                    <a:pt x="138" y="60"/>
                    <a:pt x="139" y="60"/>
                    <a:pt x="140" y="60"/>
                  </a:cubicBezTo>
                  <a:cubicBezTo>
                    <a:pt x="141" y="60"/>
                    <a:pt x="142" y="61"/>
                    <a:pt x="143" y="61"/>
                  </a:cubicBezTo>
                  <a:cubicBezTo>
                    <a:pt x="144" y="61"/>
                    <a:pt x="144" y="61"/>
                    <a:pt x="145" y="61"/>
                  </a:cubicBezTo>
                  <a:cubicBezTo>
                    <a:pt x="145" y="61"/>
                    <a:pt x="145" y="61"/>
                    <a:pt x="145" y="61"/>
                  </a:cubicBezTo>
                  <a:cubicBezTo>
                    <a:pt x="145" y="61"/>
                    <a:pt x="145" y="61"/>
                    <a:pt x="145" y="59"/>
                  </a:cubicBezTo>
                  <a:cubicBezTo>
                    <a:pt x="146" y="59"/>
                    <a:pt x="146" y="59"/>
                    <a:pt x="146" y="59"/>
                  </a:cubicBezTo>
                  <a:cubicBezTo>
                    <a:pt x="146" y="58"/>
                    <a:pt x="146" y="58"/>
                    <a:pt x="146" y="58"/>
                  </a:cubicBezTo>
                  <a:cubicBezTo>
                    <a:pt x="146" y="57"/>
                    <a:pt x="146" y="57"/>
                    <a:pt x="146" y="57"/>
                  </a:cubicBezTo>
                  <a:cubicBezTo>
                    <a:pt x="145" y="55"/>
                    <a:pt x="145" y="53"/>
                    <a:pt x="145" y="51"/>
                  </a:cubicBezTo>
                  <a:cubicBezTo>
                    <a:pt x="144" y="47"/>
                    <a:pt x="144" y="45"/>
                    <a:pt x="144" y="42"/>
                  </a:cubicBezTo>
                  <a:cubicBezTo>
                    <a:pt x="145" y="40"/>
                    <a:pt x="145" y="40"/>
                    <a:pt x="145" y="40"/>
                  </a:cubicBezTo>
                  <a:cubicBezTo>
                    <a:pt x="145" y="38"/>
                    <a:pt x="146" y="35"/>
                    <a:pt x="146" y="33"/>
                  </a:cubicBezTo>
                  <a:cubicBezTo>
                    <a:pt x="147" y="30"/>
                    <a:pt x="147" y="30"/>
                    <a:pt x="147" y="30"/>
                  </a:cubicBezTo>
                  <a:cubicBezTo>
                    <a:pt x="147" y="30"/>
                    <a:pt x="146" y="27"/>
                    <a:pt x="145" y="26"/>
                  </a:cubicBezTo>
                  <a:cubicBezTo>
                    <a:pt x="144" y="25"/>
                    <a:pt x="144" y="25"/>
                    <a:pt x="144" y="24"/>
                  </a:cubicBezTo>
                  <a:cubicBezTo>
                    <a:pt x="143" y="22"/>
                    <a:pt x="142" y="20"/>
                    <a:pt x="142" y="18"/>
                  </a:cubicBezTo>
                  <a:cubicBezTo>
                    <a:pt x="142" y="17"/>
                    <a:pt x="142" y="17"/>
                    <a:pt x="142" y="17"/>
                  </a:cubicBezTo>
                  <a:cubicBezTo>
                    <a:pt x="142" y="17"/>
                    <a:pt x="142" y="17"/>
                    <a:pt x="142" y="17"/>
                  </a:cubicBezTo>
                  <a:cubicBezTo>
                    <a:pt x="140" y="14"/>
                    <a:pt x="138" y="11"/>
                    <a:pt x="139" y="9"/>
                  </a:cubicBezTo>
                  <a:cubicBezTo>
                    <a:pt x="140" y="4"/>
                    <a:pt x="140" y="4"/>
                    <a:pt x="140" y="4"/>
                  </a:cubicBezTo>
                  <a:cubicBezTo>
                    <a:pt x="141" y="3"/>
                    <a:pt x="141" y="2"/>
                    <a:pt x="142" y="1"/>
                  </a:cubicBezTo>
                  <a:cubicBezTo>
                    <a:pt x="141" y="2"/>
                    <a:pt x="140" y="2"/>
                    <a:pt x="140" y="3"/>
                  </a:cubicBezTo>
                  <a:cubicBezTo>
                    <a:pt x="138" y="4"/>
                    <a:pt x="137" y="4"/>
                    <a:pt x="136" y="5"/>
                  </a:cubicBezTo>
                  <a:cubicBezTo>
                    <a:pt x="135" y="6"/>
                    <a:pt x="135" y="6"/>
                    <a:pt x="135" y="6"/>
                  </a:cubicBezTo>
                  <a:cubicBezTo>
                    <a:pt x="134" y="6"/>
                    <a:pt x="132" y="6"/>
                    <a:pt x="131" y="6"/>
                  </a:cubicBezTo>
                  <a:cubicBezTo>
                    <a:pt x="130" y="6"/>
                    <a:pt x="129" y="6"/>
                    <a:pt x="127" y="6"/>
                  </a:cubicBezTo>
                  <a:cubicBezTo>
                    <a:pt x="119" y="2"/>
                    <a:pt x="119" y="2"/>
                    <a:pt x="119" y="2"/>
                  </a:cubicBezTo>
                  <a:cubicBezTo>
                    <a:pt x="119" y="2"/>
                    <a:pt x="118" y="2"/>
                    <a:pt x="118" y="1"/>
                  </a:cubicBezTo>
                  <a:cubicBezTo>
                    <a:pt x="117" y="0"/>
                    <a:pt x="117" y="0"/>
                    <a:pt x="1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0" name="Freeform 1528">
              <a:extLst>
                <a:ext uri="{FF2B5EF4-FFF2-40B4-BE49-F238E27FC236}">
                  <a16:creationId xmlns:a16="http://schemas.microsoft.com/office/drawing/2014/main" id="{6B21095A-3F9F-47CC-A0CA-7EE96F3CDF03}"/>
                </a:ext>
              </a:extLst>
            </p:cNvPr>
            <p:cNvSpPr>
              <a:spLocks/>
            </p:cNvSpPr>
            <p:nvPr/>
          </p:nvSpPr>
          <p:spPr bwMode="auto">
            <a:xfrm>
              <a:off x="2261" y="1612"/>
              <a:ext cx="158" cy="76"/>
            </a:xfrm>
            <a:custGeom>
              <a:avLst/>
              <a:gdLst>
                <a:gd name="T0" fmla="*/ 64 w 67"/>
                <a:gd name="T1" fmla="*/ 0 h 32"/>
                <a:gd name="T2" fmla="*/ 22 w 67"/>
                <a:gd name="T3" fmla="*/ 6 h 32"/>
                <a:gd name="T4" fmla="*/ 8 w 67"/>
                <a:gd name="T5" fmla="*/ 8 h 32"/>
                <a:gd name="T6" fmla="*/ 0 w 67"/>
                <a:gd name="T7" fmla="*/ 15 h 32"/>
                <a:gd name="T8" fmla="*/ 1 w 67"/>
                <a:gd name="T9" fmla="*/ 15 h 32"/>
                <a:gd name="T10" fmla="*/ 1 w 67"/>
                <a:gd name="T11" fmla="*/ 15 h 32"/>
                <a:gd name="T12" fmla="*/ 5 w 67"/>
                <a:gd name="T13" fmla="*/ 16 h 32"/>
                <a:gd name="T14" fmla="*/ 5 w 67"/>
                <a:gd name="T15" fmla="*/ 17 h 32"/>
                <a:gd name="T16" fmla="*/ 6 w 67"/>
                <a:gd name="T17" fmla="*/ 17 h 32"/>
                <a:gd name="T18" fmla="*/ 7 w 67"/>
                <a:gd name="T19" fmla="*/ 19 h 32"/>
                <a:gd name="T20" fmla="*/ 8 w 67"/>
                <a:gd name="T21" fmla="*/ 19 h 32"/>
                <a:gd name="T22" fmla="*/ 8 w 67"/>
                <a:gd name="T23" fmla="*/ 20 h 32"/>
                <a:gd name="T24" fmla="*/ 8 w 67"/>
                <a:gd name="T25" fmla="*/ 23 h 32"/>
                <a:gd name="T26" fmla="*/ 8 w 67"/>
                <a:gd name="T27" fmla="*/ 24 h 32"/>
                <a:gd name="T28" fmla="*/ 7 w 67"/>
                <a:gd name="T29" fmla="*/ 26 h 32"/>
                <a:gd name="T30" fmla="*/ 7 w 67"/>
                <a:gd name="T31" fmla="*/ 26 h 32"/>
                <a:gd name="T32" fmla="*/ 6 w 67"/>
                <a:gd name="T33" fmla="*/ 30 h 32"/>
                <a:gd name="T34" fmla="*/ 6 w 67"/>
                <a:gd name="T35" fmla="*/ 32 h 32"/>
                <a:gd name="T36" fmla="*/ 40 w 67"/>
                <a:gd name="T37" fmla="*/ 18 h 32"/>
                <a:gd name="T38" fmla="*/ 57 w 67"/>
                <a:gd name="T39" fmla="*/ 11 h 32"/>
                <a:gd name="T40" fmla="*/ 65 w 67"/>
                <a:gd name="T41" fmla="*/ 4 h 32"/>
                <a:gd name="T42" fmla="*/ 64 w 67"/>
                <a:gd name="T4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32">
                  <a:moveTo>
                    <a:pt x="64" y="0"/>
                  </a:moveTo>
                  <a:cubicBezTo>
                    <a:pt x="50" y="2"/>
                    <a:pt x="36" y="4"/>
                    <a:pt x="22" y="6"/>
                  </a:cubicBezTo>
                  <a:cubicBezTo>
                    <a:pt x="17" y="6"/>
                    <a:pt x="13" y="7"/>
                    <a:pt x="8" y="8"/>
                  </a:cubicBezTo>
                  <a:cubicBezTo>
                    <a:pt x="4" y="9"/>
                    <a:pt x="2" y="12"/>
                    <a:pt x="0" y="15"/>
                  </a:cubicBezTo>
                  <a:cubicBezTo>
                    <a:pt x="1" y="15"/>
                    <a:pt x="1" y="15"/>
                    <a:pt x="1" y="15"/>
                  </a:cubicBezTo>
                  <a:cubicBezTo>
                    <a:pt x="1" y="15"/>
                    <a:pt x="1" y="15"/>
                    <a:pt x="1" y="15"/>
                  </a:cubicBezTo>
                  <a:cubicBezTo>
                    <a:pt x="3" y="16"/>
                    <a:pt x="4" y="16"/>
                    <a:pt x="5" y="16"/>
                  </a:cubicBezTo>
                  <a:cubicBezTo>
                    <a:pt x="5" y="17"/>
                    <a:pt x="5" y="17"/>
                    <a:pt x="5" y="17"/>
                  </a:cubicBezTo>
                  <a:cubicBezTo>
                    <a:pt x="6" y="17"/>
                    <a:pt x="6" y="17"/>
                    <a:pt x="6" y="17"/>
                  </a:cubicBezTo>
                  <a:cubicBezTo>
                    <a:pt x="6" y="17"/>
                    <a:pt x="7" y="18"/>
                    <a:pt x="7" y="19"/>
                  </a:cubicBezTo>
                  <a:cubicBezTo>
                    <a:pt x="8" y="19"/>
                    <a:pt x="8" y="19"/>
                    <a:pt x="8" y="19"/>
                  </a:cubicBezTo>
                  <a:cubicBezTo>
                    <a:pt x="8" y="20"/>
                    <a:pt x="8" y="20"/>
                    <a:pt x="8" y="20"/>
                  </a:cubicBezTo>
                  <a:cubicBezTo>
                    <a:pt x="8" y="21"/>
                    <a:pt x="8" y="22"/>
                    <a:pt x="8" y="23"/>
                  </a:cubicBezTo>
                  <a:cubicBezTo>
                    <a:pt x="8" y="24"/>
                    <a:pt x="8" y="24"/>
                    <a:pt x="8" y="24"/>
                  </a:cubicBezTo>
                  <a:cubicBezTo>
                    <a:pt x="8" y="24"/>
                    <a:pt x="8" y="25"/>
                    <a:pt x="7" y="26"/>
                  </a:cubicBezTo>
                  <a:cubicBezTo>
                    <a:pt x="7" y="26"/>
                    <a:pt x="7" y="26"/>
                    <a:pt x="7" y="26"/>
                  </a:cubicBezTo>
                  <a:cubicBezTo>
                    <a:pt x="7" y="27"/>
                    <a:pt x="6" y="29"/>
                    <a:pt x="6" y="30"/>
                  </a:cubicBezTo>
                  <a:cubicBezTo>
                    <a:pt x="6" y="32"/>
                    <a:pt x="6" y="32"/>
                    <a:pt x="6" y="32"/>
                  </a:cubicBezTo>
                  <a:cubicBezTo>
                    <a:pt x="17" y="27"/>
                    <a:pt x="29" y="21"/>
                    <a:pt x="40" y="18"/>
                  </a:cubicBezTo>
                  <a:cubicBezTo>
                    <a:pt x="46" y="17"/>
                    <a:pt x="51" y="13"/>
                    <a:pt x="57" y="11"/>
                  </a:cubicBezTo>
                  <a:cubicBezTo>
                    <a:pt x="59" y="10"/>
                    <a:pt x="64" y="7"/>
                    <a:pt x="65" y="4"/>
                  </a:cubicBezTo>
                  <a:cubicBezTo>
                    <a:pt x="66" y="2"/>
                    <a:pt x="67" y="2"/>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1" name="Freeform 1529">
              <a:extLst>
                <a:ext uri="{FF2B5EF4-FFF2-40B4-BE49-F238E27FC236}">
                  <a16:creationId xmlns:a16="http://schemas.microsoft.com/office/drawing/2014/main" id="{38ED7F76-4ADE-4BD5-ACF3-E7646D223175}"/>
                </a:ext>
              </a:extLst>
            </p:cNvPr>
            <p:cNvSpPr>
              <a:spLocks/>
            </p:cNvSpPr>
            <p:nvPr/>
          </p:nvSpPr>
          <p:spPr bwMode="auto">
            <a:xfrm>
              <a:off x="2154" y="1657"/>
              <a:ext cx="111" cy="97"/>
            </a:xfrm>
            <a:custGeom>
              <a:avLst/>
              <a:gdLst>
                <a:gd name="T0" fmla="*/ 42 w 47"/>
                <a:gd name="T1" fmla="*/ 0 h 41"/>
                <a:gd name="T2" fmla="*/ 33 w 47"/>
                <a:gd name="T3" fmla="*/ 4 h 41"/>
                <a:gd name="T4" fmla="*/ 34 w 47"/>
                <a:gd name="T5" fmla="*/ 4 h 41"/>
                <a:gd name="T6" fmla="*/ 33 w 47"/>
                <a:gd name="T7" fmla="*/ 5 h 41"/>
                <a:gd name="T8" fmla="*/ 31 w 47"/>
                <a:gd name="T9" fmla="*/ 12 h 41"/>
                <a:gd name="T10" fmla="*/ 28 w 47"/>
                <a:gd name="T11" fmla="*/ 17 h 41"/>
                <a:gd name="T12" fmla="*/ 27 w 47"/>
                <a:gd name="T13" fmla="*/ 19 h 41"/>
                <a:gd name="T14" fmla="*/ 10 w 47"/>
                <a:gd name="T15" fmla="*/ 16 h 41"/>
                <a:gd name="T16" fmla="*/ 10 w 47"/>
                <a:gd name="T17" fmla="*/ 16 h 41"/>
                <a:gd name="T18" fmla="*/ 7 w 47"/>
                <a:gd name="T19" fmla="*/ 19 h 41"/>
                <a:gd name="T20" fmla="*/ 6 w 47"/>
                <a:gd name="T21" fmla="*/ 26 h 41"/>
                <a:gd name="T22" fmla="*/ 7 w 47"/>
                <a:gd name="T23" fmla="*/ 31 h 41"/>
                <a:gd name="T24" fmla="*/ 9 w 47"/>
                <a:gd name="T25" fmla="*/ 32 h 41"/>
                <a:gd name="T26" fmla="*/ 0 w 47"/>
                <a:gd name="T27" fmla="*/ 41 h 41"/>
                <a:gd name="T28" fmla="*/ 18 w 47"/>
                <a:gd name="T29" fmla="*/ 36 h 41"/>
                <a:gd name="T30" fmla="*/ 29 w 47"/>
                <a:gd name="T31" fmla="*/ 34 h 41"/>
                <a:gd name="T32" fmla="*/ 46 w 47"/>
                <a:gd name="T33" fmla="*/ 16 h 41"/>
                <a:gd name="T34" fmla="*/ 44 w 47"/>
                <a:gd name="T35" fmla="*/ 15 h 41"/>
                <a:gd name="T36" fmla="*/ 44 w 47"/>
                <a:gd name="T37" fmla="*/ 14 h 41"/>
                <a:gd name="T38" fmla="*/ 44 w 47"/>
                <a:gd name="T39" fmla="*/ 13 h 41"/>
                <a:gd name="T40" fmla="*/ 44 w 47"/>
                <a:gd name="T41" fmla="*/ 11 h 41"/>
                <a:gd name="T42" fmla="*/ 46 w 47"/>
                <a:gd name="T43" fmla="*/ 5 h 41"/>
                <a:gd name="T44" fmla="*/ 46 w 47"/>
                <a:gd name="T45" fmla="*/ 4 h 41"/>
                <a:gd name="T46" fmla="*/ 46 w 47"/>
                <a:gd name="T47" fmla="*/ 4 h 41"/>
                <a:gd name="T48" fmla="*/ 47 w 47"/>
                <a:gd name="T49" fmla="*/ 3 h 41"/>
                <a:gd name="T50" fmla="*/ 47 w 47"/>
                <a:gd name="T51" fmla="*/ 3 h 41"/>
                <a:gd name="T52" fmla="*/ 45 w 47"/>
                <a:gd name="T53" fmla="*/ 3 h 41"/>
                <a:gd name="T54" fmla="*/ 44 w 47"/>
                <a:gd name="T55" fmla="*/ 2 h 41"/>
                <a:gd name="T56" fmla="*/ 43 w 47"/>
                <a:gd name="T57" fmla="*/ 2 h 41"/>
                <a:gd name="T58" fmla="*/ 41 w 47"/>
                <a:gd name="T59" fmla="*/ 1 h 41"/>
                <a:gd name="T60" fmla="*/ 42 w 47"/>
                <a:gd name="T61"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7" h="41">
                  <a:moveTo>
                    <a:pt x="42" y="0"/>
                  </a:moveTo>
                  <a:cubicBezTo>
                    <a:pt x="39" y="1"/>
                    <a:pt x="36" y="3"/>
                    <a:pt x="33" y="4"/>
                  </a:cubicBezTo>
                  <a:cubicBezTo>
                    <a:pt x="34" y="4"/>
                    <a:pt x="34" y="4"/>
                    <a:pt x="34" y="4"/>
                  </a:cubicBezTo>
                  <a:cubicBezTo>
                    <a:pt x="33" y="5"/>
                    <a:pt x="33" y="5"/>
                    <a:pt x="33" y="5"/>
                  </a:cubicBezTo>
                  <a:cubicBezTo>
                    <a:pt x="33" y="6"/>
                    <a:pt x="32" y="9"/>
                    <a:pt x="31" y="12"/>
                  </a:cubicBezTo>
                  <a:cubicBezTo>
                    <a:pt x="30" y="13"/>
                    <a:pt x="28" y="17"/>
                    <a:pt x="28" y="17"/>
                  </a:cubicBezTo>
                  <a:cubicBezTo>
                    <a:pt x="27" y="19"/>
                    <a:pt x="27" y="19"/>
                    <a:pt x="27" y="19"/>
                  </a:cubicBezTo>
                  <a:cubicBezTo>
                    <a:pt x="10" y="16"/>
                    <a:pt x="10" y="16"/>
                    <a:pt x="10" y="16"/>
                  </a:cubicBezTo>
                  <a:cubicBezTo>
                    <a:pt x="10" y="16"/>
                    <a:pt x="10" y="16"/>
                    <a:pt x="10" y="16"/>
                  </a:cubicBezTo>
                  <a:cubicBezTo>
                    <a:pt x="9" y="16"/>
                    <a:pt x="7" y="18"/>
                    <a:pt x="7" y="19"/>
                  </a:cubicBezTo>
                  <a:cubicBezTo>
                    <a:pt x="6" y="21"/>
                    <a:pt x="6" y="24"/>
                    <a:pt x="6" y="26"/>
                  </a:cubicBezTo>
                  <a:cubicBezTo>
                    <a:pt x="6" y="28"/>
                    <a:pt x="7" y="30"/>
                    <a:pt x="7" y="31"/>
                  </a:cubicBezTo>
                  <a:cubicBezTo>
                    <a:pt x="8" y="32"/>
                    <a:pt x="10" y="31"/>
                    <a:pt x="9" y="32"/>
                  </a:cubicBezTo>
                  <a:cubicBezTo>
                    <a:pt x="6" y="35"/>
                    <a:pt x="3" y="38"/>
                    <a:pt x="0" y="41"/>
                  </a:cubicBezTo>
                  <a:cubicBezTo>
                    <a:pt x="6" y="39"/>
                    <a:pt x="12" y="38"/>
                    <a:pt x="18" y="36"/>
                  </a:cubicBezTo>
                  <a:cubicBezTo>
                    <a:pt x="21" y="35"/>
                    <a:pt x="27" y="36"/>
                    <a:pt x="29" y="34"/>
                  </a:cubicBezTo>
                  <a:cubicBezTo>
                    <a:pt x="33" y="30"/>
                    <a:pt x="43" y="23"/>
                    <a:pt x="46" y="16"/>
                  </a:cubicBezTo>
                  <a:cubicBezTo>
                    <a:pt x="44" y="15"/>
                    <a:pt x="44" y="15"/>
                    <a:pt x="44" y="15"/>
                  </a:cubicBezTo>
                  <a:cubicBezTo>
                    <a:pt x="44" y="14"/>
                    <a:pt x="44" y="14"/>
                    <a:pt x="44" y="14"/>
                  </a:cubicBezTo>
                  <a:cubicBezTo>
                    <a:pt x="44" y="14"/>
                    <a:pt x="44" y="13"/>
                    <a:pt x="44" y="13"/>
                  </a:cubicBezTo>
                  <a:cubicBezTo>
                    <a:pt x="44" y="11"/>
                    <a:pt x="44" y="11"/>
                    <a:pt x="44" y="11"/>
                  </a:cubicBezTo>
                  <a:cubicBezTo>
                    <a:pt x="45" y="9"/>
                    <a:pt x="45" y="7"/>
                    <a:pt x="46" y="5"/>
                  </a:cubicBezTo>
                  <a:cubicBezTo>
                    <a:pt x="46" y="4"/>
                    <a:pt x="46" y="4"/>
                    <a:pt x="46" y="4"/>
                  </a:cubicBezTo>
                  <a:cubicBezTo>
                    <a:pt x="46" y="4"/>
                    <a:pt x="46" y="4"/>
                    <a:pt x="46" y="4"/>
                  </a:cubicBezTo>
                  <a:cubicBezTo>
                    <a:pt x="47" y="3"/>
                    <a:pt x="47" y="3"/>
                    <a:pt x="47" y="3"/>
                  </a:cubicBezTo>
                  <a:cubicBezTo>
                    <a:pt x="47" y="3"/>
                    <a:pt x="47" y="3"/>
                    <a:pt x="47" y="3"/>
                  </a:cubicBezTo>
                  <a:cubicBezTo>
                    <a:pt x="47" y="3"/>
                    <a:pt x="46" y="3"/>
                    <a:pt x="45" y="3"/>
                  </a:cubicBezTo>
                  <a:cubicBezTo>
                    <a:pt x="44" y="2"/>
                    <a:pt x="44" y="2"/>
                    <a:pt x="44" y="2"/>
                  </a:cubicBezTo>
                  <a:cubicBezTo>
                    <a:pt x="44" y="2"/>
                    <a:pt x="43" y="2"/>
                    <a:pt x="43" y="2"/>
                  </a:cubicBezTo>
                  <a:cubicBezTo>
                    <a:pt x="41" y="1"/>
                    <a:pt x="41" y="1"/>
                    <a:pt x="41" y="1"/>
                  </a:cubicBezTo>
                  <a:cubicBezTo>
                    <a:pt x="42" y="0"/>
                    <a:pt x="42" y="0"/>
                    <a:pt x="4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2" name="Freeform 1530">
              <a:extLst>
                <a:ext uri="{FF2B5EF4-FFF2-40B4-BE49-F238E27FC236}">
                  <a16:creationId xmlns:a16="http://schemas.microsoft.com/office/drawing/2014/main" id="{7C809C56-D6E4-41E6-B9A8-02488031B0F2}"/>
                </a:ext>
              </a:extLst>
            </p:cNvPr>
            <p:cNvSpPr>
              <a:spLocks noEditPoints="1"/>
            </p:cNvSpPr>
            <p:nvPr/>
          </p:nvSpPr>
          <p:spPr bwMode="auto">
            <a:xfrm>
              <a:off x="557" y="594"/>
              <a:ext cx="288" cy="359"/>
            </a:xfrm>
            <a:custGeom>
              <a:avLst/>
              <a:gdLst>
                <a:gd name="T0" fmla="*/ 38 w 122"/>
                <a:gd name="T1" fmla="*/ 21 h 152"/>
                <a:gd name="T2" fmla="*/ 3 w 122"/>
                <a:gd name="T3" fmla="*/ 0 h 152"/>
                <a:gd name="T4" fmla="*/ 0 w 122"/>
                <a:gd name="T5" fmla="*/ 5 h 152"/>
                <a:gd name="T6" fmla="*/ 5 w 122"/>
                <a:gd name="T7" fmla="*/ 15 h 152"/>
                <a:gd name="T8" fmla="*/ 7 w 122"/>
                <a:gd name="T9" fmla="*/ 39 h 152"/>
                <a:gd name="T10" fmla="*/ 12 w 122"/>
                <a:gd name="T11" fmla="*/ 61 h 152"/>
                <a:gd name="T12" fmla="*/ 15 w 122"/>
                <a:gd name="T13" fmla="*/ 75 h 152"/>
                <a:gd name="T14" fmla="*/ 26 w 122"/>
                <a:gd name="T15" fmla="*/ 87 h 152"/>
                <a:gd name="T16" fmla="*/ 35 w 122"/>
                <a:gd name="T17" fmla="*/ 107 h 152"/>
                <a:gd name="T18" fmla="*/ 55 w 122"/>
                <a:gd name="T19" fmla="*/ 121 h 152"/>
                <a:gd name="T20" fmla="*/ 85 w 122"/>
                <a:gd name="T21" fmla="*/ 140 h 152"/>
                <a:gd name="T22" fmla="*/ 104 w 122"/>
                <a:gd name="T23" fmla="*/ 147 h 152"/>
                <a:gd name="T24" fmla="*/ 108 w 122"/>
                <a:gd name="T25" fmla="*/ 147 h 152"/>
                <a:gd name="T26" fmla="*/ 111 w 122"/>
                <a:gd name="T27" fmla="*/ 142 h 152"/>
                <a:gd name="T28" fmla="*/ 116 w 122"/>
                <a:gd name="T29" fmla="*/ 150 h 152"/>
                <a:gd name="T30" fmla="*/ 114 w 122"/>
                <a:gd name="T31" fmla="*/ 133 h 152"/>
                <a:gd name="T32" fmla="*/ 95 w 122"/>
                <a:gd name="T33" fmla="*/ 102 h 152"/>
                <a:gd name="T34" fmla="*/ 95 w 122"/>
                <a:gd name="T35" fmla="*/ 64 h 152"/>
                <a:gd name="T36" fmla="*/ 73 w 122"/>
                <a:gd name="T37" fmla="*/ 22 h 152"/>
                <a:gd name="T38" fmla="*/ 59 w 122"/>
                <a:gd name="T39" fmla="*/ 9 h 152"/>
                <a:gd name="T40" fmla="*/ 58 w 122"/>
                <a:gd name="T41" fmla="*/ 12 h 152"/>
                <a:gd name="T42" fmla="*/ 57 w 122"/>
                <a:gd name="T43" fmla="*/ 15 h 152"/>
                <a:gd name="T44" fmla="*/ 45 w 122"/>
                <a:gd name="T45" fmla="*/ 25 h 152"/>
                <a:gd name="T46" fmla="*/ 38 w 122"/>
                <a:gd name="T47" fmla="*/ 21 h 152"/>
                <a:gd name="T48" fmla="*/ 35 w 122"/>
                <a:gd name="T49" fmla="*/ 24 h 152"/>
                <a:gd name="T50" fmla="*/ 33 w 122"/>
                <a:gd name="T51" fmla="*/ 26 h 152"/>
                <a:gd name="T52" fmla="*/ 31 w 122"/>
                <a:gd name="T53" fmla="*/ 27 h 152"/>
                <a:gd name="T54" fmla="*/ 27 w 122"/>
                <a:gd name="T55" fmla="*/ 28 h 152"/>
                <a:gd name="T56" fmla="*/ 23 w 122"/>
                <a:gd name="T57" fmla="*/ 14 h 152"/>
                <a:gd name="T58" fmla="*/ 22 w 122"/>
                <a:gd name="T59" fmla="*/ 11 h 152"/>
                <a:gd name="T60" fmla="*/ 16 w 122"/>
                <a:gd name="T61" fmla="*/ 7 h 152"/>
                <a:gd name="T62" fmla="*/ 16 w 122"/>
                <a:gd name="T63" fmla="*/ 3 h 152"/>
                <a:gd name="T64" fmla="*/ 14 w 122"/>
                <a:gd name="T65" fmla="*/ 3 h 152"/>
                <a:gd name="T66" fmla="*/ 10 w 122"/>
                <a:gd name="T67"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152">
                  <a:moveTo>
                    <a:pt x="38" y="21"/>
                  </a:moveTo>
                  <a:cubicBezTo>
                    <a:pt x="38" y="21"/>
                    <a:pt x="38" y="21"/>
                    <a:pt x="38" y="21"/>
                  </a:cubicBezTo>
                  <a:cubicBezTo>
                    <a:pt x="38" y="21"/>
                    <a:pt x="38" y="21"/>
                    <a:pt x="38" y="21"/>
                  </a:cubicBezTo>
                  <a:moveTo>
                    <a:pt x="3" y="0"/>
                  </a:moveTo>
                  <a:cubicBezTo>
                    <a:pt x="2" y="5"/>
                    <a:pt x="2" y="5"/>
                    <a:pt x="2" y="5"/>
                  </a:cubicBezTo>
                  <a:cubicBezTo>
                    <a:pt x="0" y="5"/>
                    <a:pt x="0" y="5"/>
                    <a:pt x="0" y="5"/>
                  </a:cubicBezTo>
                  <a:cubicBezTo>
                    <a:pt x="0" y="5"/>
                    <a:pt x="0" y="5"/>
                    <a:pt x="0" y="5"/>
                  </a:cubicBezTo>
                  <a:cubicBezTo>
                    <a:pt x="1" y="9"/>
                    <a:pt x="4" y="11"/>
                    <a:pt x="5" y="15"/>
                  </a:cubicBezTo>
                  <a:cubicBezTo>
                    <a:pt x="6" y="18"/>
                    <a:pt x="6" y="23"/>
                    <a:pt x="5" y="26"/>
                  </a:cubicBezTo>
                  <a:cubicBezTo>
                    <a:pt x="5" y="30"/>
                    <a:pt x="6" y="35"/>
                    <a:pt x="7" y="39"/>
                  </a:cubicBezTo>
                  <a:cubicBezTo>
                    <a:pt x="7" y="43"/>
                    <a:pt x="9" y="46"/>
                    <a:pt x="11" y="50"/>
                  </a:cubicBezTo>
                  <a:cubicBezTo>
                    <a:pt x="13" y="55"/>
                    <a:pt x="13" y="56"/>
                    <a:pt x="12" y="61"/>
                  </a:cubicBezTo>
                  <a:cubicBezTo>
                    <a:pt x="11" y="65"/>
                    <a:pt x="15" y="68"/>
                    <a:pt x="19" y="72"/>
                  </a:cubicBezTo>
                  <a:cubicBezTo>
                    <a:pt x="17" y="72"/>
                    <a:pt x="14" y="73"/>
                    <a:pt x="15" y="75"/>
                  </a:cubicBezTo>
                  <a:cubicBezTo>
                    <a:pt x="16" y="76"/>
                    <a:pt x="19" y="77"/>
                    <a:pt x="21" y="78"/>
                  </a:cubicBezTo>
                  <a:cubicBezTo>
                    <a:pt x="23" y="81"/>
                    <a:pt x="25" y="84"/>
                    <a:pt x="26" y="87"/>
                  </a:cubicBezTo>
                  <a:cubicBezTo>
                    <a:pt x="29" y="91"/>
                    <a:pt x="33" y="94"/>
                    <a:pt x="33" y="100"/>
                  </a:cubicBezTo>
                  <a:cubicBezTo>
                    <a:pt x="33" y="103"/>
                    <a:pt x="32" y="104"/>
                    <a:pt x="35" y="107"/>
                  </a:cubicBezTo>
                  <a:cubicBezTo>
                    <a:pt x="37" y="108"/>
                    <a:pt x="39" y="111"/>
                    <a:pt x="42" y="112"/>
                  </a:cubicBezTo>
                  <a:cubicBezTo>
                    <a:pt x="46" y="115"/>
                    <a:pt x="51" y="118"/>
                    <a:pt x="55" y="121"/>
                  </a:cubicBezTo>
                  <a:cubicBezTo>
                    <a:pt x="60" y="124"/>
                    <a:pt x="65" y="127"/>
                    <a:pt x="70" y="130"/>
                  </a:cubicBezTo>
                  <a:cubicBezTo>
                    <a:pt x="75" y="134"/>
                    <a:pt x="80" y="137"/>
                    <a:pt x="85" y="140"/>
                  </a:cubicBezTo>
                  <a:cubicBezTo>
                    <a:pt x="90" y="143"/>
                    <a:pt x="93" y="148"/>
                    <a:pt x="97" y="152"/>
                  </a:cubicBezTo>
                  <a:cubicBezTo>
                    <a:pt x="98" y="150"/>
                    <a:pt x="102" y="147"/>
                    <a:pt x="104" y="147"/>
                  </a:cubicBezTo>
                  <a:cubicBezTo>
                    <a:pt x="105" y="146"/>
                    <a:pt x="105" y="146"/>
                    <a:pt x="106" y="146"/>
                  </a:cubicBezTo>
                  <a:cubicBezTo>
                    <a:pt x="106" y="146"/>
                    <a:pt x="107" y="147"/>
                    <a:pt x="108" y="147"/>
                  </a:cubicBezTo>
                  <a:cubicBezTo>
                    <a:pt x="108" y="147"/>
                    <a:pt x="109" y="147"/>
                    <a:pt x="109" y="147"/>
                  </a:cubicBezTo>
                  <a:cubicBezTo>
                    <a:pt x="111" y="147"/>
                    <a:pt x="112" y="146"/>
                    <a:pt x="111" y="142"/>
                  </a:cubicBezTo>
                  <a:cubicBezTo>
                    <a:pt x="116" y="144"/>
                    <a:pt x="114" y="144"/>
                    <a:pt x="115" y="149"/>
                  </a:cubicBezTo>
                  <a:cubicBezTo>
                    <a:pt x="115" y="149"/>
                    <a:pt x="115" y="150"/>
                    <a:pt x="116" y="150"/>
                  </a:cubicBezTo>
                  <a:cubicBezTo>
                    <a:pt x="117" y="150"/>
                    <a:pt x="118" y="148"/>
                    <a:pt x="119" y="148"/>
                  </a:cubicBezTo>
                  <a:cubicBezTo>
                    <a:pt x="122" y="143"/>
                    <a:pt x="115" y="136"/>
                    <a:pt x="114" y="133"/>
                  </a:cubicBezTo>
                  <a:cubicBezTo>
                    <a:pt x="111" y="125"/>
                    <a:pt x="105" y="118"/>
                    <a:pt x="101" y="111"/>
                  </a:cubicBezTo>
                  <a:cubicBezTo>
                    <a:pt x="99" y="109"/>
                    <a:pt x="95" y="105"/>
                    <a:pt x="95" y="102"/>
                  </a:cubicBezTo>
                  <a:cubicBezTo>
                    <a:pt x="94" y="97"/>
                    <a:pt x="94" y="92"/>
                    <a:pt x="94" y="87"/>
                  </a:cubicBezTo>
                  <a:cubicBezTo>
                    <a:pt x="93" y="79"/>
                    <a:pt x="95" y="72"/>
                    <a:pt x="95" y="64"/>
                  </a:cubicBezTo>
                  <a:cubicBezTo>
                    <a:pt x="96" y="54"/>
                    <a:pt x="94" y="48"/>
                    <a:pt x="90" y="39"/>
                  </a:cubicBezTo>
                  <a:cubicBezTo>
                    <a:pt x="85" y="31"/>
                    <a:pt x="80" y="27"/>
                    <a:pt x="73" y="22"/>
                  </a:cubicBezTo>
                  <a:cubicBezTo>
                    <a:pt x="69" y="20"/>
                    <a:pt x="67" y="17"/>
                    <a:pt x="65" y="13"/>
                  </a:cubicBezTo>
                  <a:cubicBezTo>
                    <a:pt x="65" y="12"/>
                    <a:pt x="62" y="10"/>
                    <a:pt x="59" y="9"/>
                  </a:cubicBezTo>
                  <a:cubicBezTo>
                    <a:pt x="59" y="9"/>
                    <a:pt x="59" y="9"/>
                    <a:pt x="59" y="9"/>
                  </a:cubicBezTo>
                  <a:cubicBezTo>
                    <a:pt x="59" y="10"/>
                    <a:pt x="58" y="11"/>
                    <a:pt x="58" y="12"/>
                  </a:cubicBezTo>
                  <a:cubicBezTo>
                    <a:pt x="58" y="12"/>
                    <a:pt x="58" y="12"/>
                    <a:pt x="58" y="12"/>
                  </a:cubicBezTo>
                  <a:cubicBezTo>
                    <a:pt x="58" y="13"/>
                    <a:pt x="57" y="15"/>
                    <a:pt x="57" y="15"/>
                  </a:cubicBezTo>
                  <a:cubicBezTo>
                    <a:pt x="55" y="18"/>
                    <a:pt x="53" y="23"/>
                    <a:pt x="47" y="24"/>
                  </a:cubicBezTo>
                  <a:cubicBezTo>
                    <a:pt x="46" y="24"/>
                    <a:pt x="45" y="25"/>
                    <a:pt x="45" y="25"/>
                  </a:cubicBezTo>
                  <a:cubicBezTo>
                    <a:pt x="42" y="25"/>
                    <a:pt x="41" y="23"/>
                    <a:pt x="39" y="22"/>
                  </a:cubicBezTo>
                  <a:cubicBezTo>
                    <a:pt x="38" y="21"/>
                    <a:pt x="38" y="21"/>
                    <a:pt x="38" y="21"/>
                  </a:cubicBezTo>
                  <a:cubicBezTo>
                    <a:pt x="39" y="21"/>
                    <a:pt x="38" y="21"/>
                    <a:pt x="37" y="23"/>
                  </a:cubicBezTo>
                  <a:cubicBezTo>
                    <a:pt x="35" y="24"/>
                    <a:pt x="35" y="24"/>
                    <a:pt x="35" y="24"/>
                  </a:cubicBezTo>
                  <a:cubicBezTo>
                    <a:pt x="34" y="25"/>
                    <a:pt x="34" y="25"/>
                    <a:pt x="34" y="25"/>
                  </a:cubicBezTo>
                  <a:cubicBezTo>
                    <a:pt x="33" y="26"/>
                    <a:pt x="33" y="26"/>
                    <a:pt x="33" y="26"/>
                  </a:cubicBezTo>
                  <a:cubicBezTo>
                    <a:pt x="33" y="26"/>
                    <a:pt x="32" y="27"/>
                    <a:pt x="32" y="27"/>
                  </a:cubicBezTo>
                  <a:cubicBezTo>
                    <a:pt x="31" y="27"/>
                    <a:pt x="31" y="27"/>
                    <a:pt x="31" y="27"/>
                  </a:cubicBezTo>
                  <a:cubicBezTo>
                    <a:pt x="30" y="28"/>
                    <a:pt x="29" y="28"/>
                    <a:pt x="28" y="28"/>
                  </a:cubicBezTo>
                  <a:cubicBezTo>
                    <a:pt x="27" y="28"/>
                    <a:pt x="27" y="28"/>
                    <a:pt x="27" y="28"/>
                  </a:cubicBezTo>
                  <a:cubicBezTo>
                    <a:pt x="26" y="27"/>
                    <a:pt x="24" y="26"/>
                    <a:pt x="23" y="24"/>
                  </a:cubicBezTo>
                  <a:cubicBezTo>
                    <a:pt x="19" y="21"/>
                    <a:pt x="21" y="16"/>
                    <a:pt x="23" y="14"/>
                  </a:cubicBezTo>
                  <a:cubicBezTo>
                    <a:pt x="23" y="12"/>
                    <a:pt x="24" y="11"/>
                    <a:pt x="24" y="11"/>
                  </a:cubicBezTo>
                  <a:cubicBezTo>
                    <a:pt x="23" y="11"/>
                    <a:pt x="23" y="11"/>
                    <a:pt x="22" y="11"/>
                  </a:cubicBezTo>
                  <a:cubicBezTo>
                    <a:pt x="22" y="11"/>
                    <a:pt x="22" y="11"/>
                    <a:pt x="22" y="11"/>
                  </a:cubicBezTo>
                  <a:cubicBezTo>
                    <a:pt x="18" y="11"/>
                    <a:pt x="17" y="8"/>
                    <a:pt x="16" y="7"/>
                  </a:cubicBezTo>
                  <a:cubicBezTo>
                    <a:pt x="16" y="6"/>
                    <a:pt x="16" y="6"/>
                    <a:pt x="16" y="5"/>
                  </a:cubicBezTo>
                  <a:cubicBezTo>
                    <a:pt x="16" y="4"/>
                    <a:pt x="16" y="4"/>
                    <a:pt x="16" y="3"/>
                  </a:cubicBezTo>
                  <a:cubicBezTo>
                    <a:pt x="15" y="3"/>
                    <a:pt x="15" y="3"/>
                    <a:pt x="15" y="3"/>
                  </a:cubicBezTo>
                  <a:cubicBezTo>
                    <a:pt x="14" y="3"/>
                    <a:pt x="14" y="3"/>
                    <a:pt x="14" y="3"/>
                  </a:cubicBezTo>
                  <a:cubicBezTo>
                    <a:pt x="13" y="3"/>
                    <a:pt x="12" y="2"/>
                    <a:pt x="10" y="2"/>
                  </a:cubicBezTo>
                  <a:cubicBezTo>
                    <a:pt x="10" y="2"/>
                    <a:pt x="10" y="2"/>
                    <a:pt x="10" y="2"/>
                  </a:cubicBezTo>
                  <a:cubicBezTo>
                    <a:pt x="7" y="2"/>
                    <a:pt x="5"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South-East Asia and Australia</a:t>
            </a:r>
            <a:endParaRPr lang="de-DE" dirty="0"/>
          </a:p>
        </p:txBody>
      </p:sp>
      <p:sp>
        <p:nvSpPr>
          <p:cNvPr id="3" name="TextBox 2">
            <a:extLst>
              <a:ext uri="{FF2B5EF4-FFF2-40B4-BE49-F238E27FC236}">
                <a16:creationId xmlns:a16="http://schemas.microsoft.com/office/drawing/2014/main" id="{EAD83992-2067-4D9F-B805-85EB24B340A0}"/>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shade one or more countries</a:t>
            </a:r>
          </a:p>
        </p:txBody>
      </p:sp>
      <p:sp>
        <p:nvSpPr>
          <p:cNvPr id="404" name="Footer Placeholder 403">
            <a:extLst>
              <a:ext uri="{FF2B5EF4-FFF2-40B4-BE49-F238E27FC236}">
                <a16:creationId xmlns:a16="http://schemas.microsoft.com/office/drawing/2014/main" id="{7DF06701-2258-4DA5-9210-BF7E993A23C6}"/>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405" name="Slide Number Placeholder 404">
            <a:extLst>
              <a:ext uri="{FF2B5EF4-FFF2-40B4-BE49-F238E27FC236}">
                <a16:creationId xmlns:a16="http://schemas.microsoft.com/office/drawing/2014/main" id="{6E79030F-6030-40BD-83F9-731E86836663}"/>
              </a:ext>
            </a:extLst>
          </p:cNvPr>
          <p:cNvSpPr>
            <a:spLocks noGrp="1"/>
          </p:cNvSpPr>
          <p:nvPr>
            <p:ph type="sldNum" sz="quarter" idx="10"/>
          </p:nvPr>
        </p:nvSpPr>
        <p:spPr/>
        <p:txBody>
          <a:bodyPr/>
          <a:lstStyle/>
          <a:p>
            <a:fld id="{1F90F471-3972-4120-B8B3-0237DE626C35}" type="slidenum">
              <a:rPr lang="en-US" smtClean="0"/>
              <a:pPr/>
              <a:t>366</a:t>
            </a:fld>
            <a:endParaRPr lang="en-US" dirty="0"/>
          </a:p>
        </p:txBody>
      </p:sp>
    </p:spTree>
    <p:extLst>
      <p:ext uri="{BB962C8B-B14F-4D97-AF65-F5344CB8AC3E}">
        <p14:creationId xmlns:p14="http://schemas.microsoft.com/office/powerpoint/2010/main" val="1106861804"/>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China</a:t>
            </a:r>
            <a:endParaRPr lang="de-DE" dirty="0"/>
          </a:p>
        </p:txBody>
      </p:sp>
      <p:sp>
        <p:nvSpPr>
          <p:cNvPr id="3" name="TextBox 2">
            <a:extLst>
              <a:ext uri="{FF2B5EF4-FFF2-40B4-BE49-F238E27FC236}">
                <a16:creationId xmlns:a16="http://schemas.microsoft.com/office/drawing/2014/main" id="{EAD83992-2067-4D9F-B805-85EB24B340A0}"/>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shade one or more countries</a:t>
            </a:r>
          </a:p>
        </p:txBody>
      </p:sp>
      <p:grpSp>
        <p:nvGrpSpPr>
          <p:cNvPr id="5" name="Group 4" descr="Describe the map">
            <a:extLst>
              <a:ext uri="{FF2B5EF4-FFF2-40B4-BE49-F238E27FC236}">
                <a16:creationId xmlns:a16="http://schemas.microsoft.com/office/drawing/2014/main" id="{D17DC7ED-B3D2-4D70-B275-EF8C02B9E25F}"/>
              </a:ext>
            </a:extLst>
          </p:cNvPr>
          <p:cNvGrpSpPr/>
          <p:nvPr/>
        </p:nvGrpSpPr>
        <p:grpSpPr>
          <a:xfrm>
            <a:off x="3339044" y="1406539"/>
            <a:ext cx="5751551" cy="4681537"/>
            <a:chOff x="1696224" y="1665288"/>
            <a:chExt cx="5751551" cy="4681537"/>
          </a:xfrm>
          <a:solidFill>
            <a:srgbClr val="96968C">
              <a:lumMod val="40000"/>
              <a:lumOff val="60000"/>
            </a:srgbClr>
          </a:solidFill>
        </p:grpSpPr>
        <p:sp>
          <p:nvSpPr>
            <p:cNvPr id="6" name="Freeform 7">
              <a:extLst>
                <a:ext uri="{FF2B5EF4-FFF2-40B4-BE49-F238E27FC236}">
                  <a16:creationId xmlns:a16="http://schemas.microsoft.com/office/drawing/2014/main" id="{E13BFAC2-AB69-4D19-A933-4F8BA6E21C49}"/>
                </a:ext>
              </a:extLst>
            </p:cNvPr>
            <p:cNvSpPr>
              <a:spLocks/>
            </p:cNvSpPr>
            <p:nvPr/>
          </p:nvSpPr>
          <p:spPr bwMode="auto">
            <a:xfrm>
              <a:off x="6208812" y="1665288"/>
              <a:ext cx="1238963" cy="1204446"/>
            </a:xfrm>
            <a:custGeom>
              <a:avLst/>
              <a:gdLst/>
              <a:ahLst/>
              <a:cxnLst>
                <a:cxn ang="0">
                  <a:pos x="1252" y="1031"/>
                </a:cxn>
                <a:cxn ang="0">
                  <a:pos x="1295" y="958"/>
                </a:cxn>
                <a:cxn ang="0">
                  <a:pos x="1325" y="861"/>
                </a:cxn>
                <a:cxn ang="0">
                  <a:pos x="1321" y="751"/>
                </a:cxn>
                <a:cxn ang="0">
                  <a:pos x="1329" y="678"/>
                </a:cxn>
                <a:cxn ang="0">
                  <a:pos x="1344" y="598"/>
                </a:cxn>
                <a:cxn ang="0">
                  <a:pos x="1331" y="529"/>
                </a:cxn>
                <a:cxn ang="0">
                  <a:pos x="1213" y="598"/>
                </a:cxn>
                <a:cxn ang="0">
                  <a:pos x="1097" y="686"/>
                </a:cxn>
                <a:cxn ang="0">
                  <a:pos x="992" y="686"/>
                </a:cxn>
                <a:cxn ang="0">
                  <a:pos x="970" y="622"/>
                </a:cxn>
                <a:cxn ang="0">
                  <a:pos x="942" y="553"/>
                </a:cxn>
                <a:cxn ang="0">
                  <a:pos x="860" y="529"/>
                </a:cxn>
                <a:cxn ang="0">
                  <a:pos x="792" y="512"/>
                </a:cxn>
                <a:cxn ang="0">
                  <a:pos x="693" y="497"/>
                </a:cxn>
                <a:cxn ang="0">
                  <a:pos x="619" y="430"/>
                </a:cxn>
                <a:cxn ang="0">
                  <a:pos x="583" y="360"/>
                </a:cxn>
                <a:cxn ang="0">
                  <a:pos x="538" y="288"/>
                </a:cxn>
                <a:cxn ang="0">
                  <a:pos x="478" y="188"/>
                </a:cxn>
                <a:cxn ang="0">
                  <a:pos x="462" y="151"/>
                </a:cxn>
                <a:cxn ang="0">
                  <a:pos x="389" y="54"/>
                </a:cxn>
                <a:cxn ang="0">
                  <a:pos x="303" y="39"/>
                </a:cxn>
                <a:cxn ang="0">
                  <a:pos x="144" y="5"/>
                </a:cxn>
                <a:cxn ang="0">
                  <a:pos x="67" y="24"/>
                </a:cxn>
                <a:cxn ang="0">
                  <a:pos x="32" y="101"/>
                </a:cxn>
                <a:cxn ang="0">
                  <a:pos x="24" y="175"/>
                </a:cxn>
                <a:cxn ang="0">
                  <a:pos x="82" y="164"/>
                </a:cxn>
                <a:cxn ang="0">
                  <a:pos x="135" y="202"/>
                </a:cxn>
                <a:cxn ang="0">
                  <a:pos x="172" y="312"/>
                </a:cxn>
                <a:cxn ang="0">
                  <a:pos x="247" y="312"/>
                </a:cxn>
                <a:cxn ang="0">
                  <a:pos x="355" y="259"/>
                </a:cxn>
                <a:cxn ang="0">
                  <a:pos x="450" y="316"/>
                </a:cxn>
                <a:cxn ang="0">
                  <a:pos x="413" y="484"/>
                </a:cxn>
                <a:cxn ang="0">
                  <a:pos x="406" y="607"/>
                </a:cxn>
                <a:cxn ang="0">
                  <a:pos x="381" y="695"/>
                </a:cxn>
                <a:cxn ang="0">
                  <a:pos x="383" y="758"/>
                </a:cxn>
                <a:cxn ang="0">
                  <a:pos x="353" y="708"/>
                </a:cxn>
                <a:cxn ang="0">
                  <a:pos x="222" y="856"/>
                </a:cxn>
                <a:cxn ang="0">
                  <a:pos x="245" y="945"/>
                </a:cxn>
                <a:cxn ang="0">
                  <a:pos x="290" y="953"/>
                </a:cxn>
                <a:cxn ang="0">
                  <a:pos x="323" y="955"/>
                </a:cxn>
                <a:cxn ang="0">
                  <a:pos x="275" y="1001"/>
                </a:cxn>
                <a:cxn ang="0">
                  <a:pos x="321" y="1044"/>
                </a:cxn>
                <a:cxn ang="0">
                  <a:pos x="383" y="1091"/>
                </a:cxn>
                <a:cxn ang="0">
                  <a:pos x="452" y="1140"/>
                </a:cxn>
                <a:cxn ang="0">
                  <a:pos x="523" y="1128"/>
                </a:cxn>
                <a:cxn ang="0">
                  <a:pos x="602" y="1160"/>
                </a:cxn>
                <a:cxn ang="0">
                  <a:pos x="697" y="1151"/>
                </a:cxn>
                <a:cxn ang="0">
                  <a:pos x="708" y="1211"/>
                </a:cxn>
                <a:cxn ang="0">
                  <a:pos x="766" y="1239"/>
                </a:cxn>
                <a:cxn ang="0">
                  <a:pos x="828" y="1265"/>
                </a:cxn>
                <a:cxn ang="0">
                  <a:pos x="847" y="1203"/>
                </a:cxn>
                <a:cxn ang="0">
                  <a:pos x="901" y="1298"/>
                </a:cxn>
                <a:cxn ang="0">
                  <a:pos x="951" y="1298"/>
                </a:cxn>
                <a:cxn ang="0">
                  <a:pos x="1019" y="1248"/>
                </a:cxn>
                <a:cxn ang="0">
                  <a:pos x="1060" y="1244"/>
                </a:cxn>
                <a:cxn ang="0">
                  <a:pos x="1161" y="1289"/>
                </a:cxn>
                <a:cxn ang="0">
                  <a:pos x="1099" y="1102"/>
                </a:cxn>
              </a:cxnLst>
              <a:rect l="0" t="0" r="r" b="b"/>
              <a:pathLst>
                <a:path w="1364" h="1326">
                  <a:moveTo>
                    <a:pt x="1149" y="1055"/>
                  </a:moveTo>
                  <a:lnTo>
                    <a:pt x="1149" y="1055"/>
                  </a:lnTo>
                  <a:lnTo>
                    <a:pt x="1153" y="1044"/>
                  </a:lnTo>
                  <a:lnTo>
                    <a:pt x="1159" y="1037"/>
                  </a:lnTo>
                  <a:lnTo>
                    <a:pt x="1166" y="1031"/>
                  </a:lnTo>
                  <a:lnTo>
                    <a:pt x="1176" y="1029"/>
                  </a:lnTo>
                  <a:lnTo>
                    <a:pt x="1187" y="1027"/>
                  </a:lnTo>
                  <a:lnTo>
                    <a:pt x="1200" y="1027"/>
                  </a:lnTo>
                  <a:lnTo>
                    <a:pt x="1226" y="1029"/>
                  </a:lnTo>
                  <a:lnTo>
                    <a:pt x="1252" y="1031"/>
                  </a:lnTo>
                  <a:lnTo>
                    <a:pt x="1263" y="1031"/>
                  </a:lnTo>
                  <a:lnTo>
                    <a:pt x="1275" y="1031"/>
                  </a:lnTo>
                  <a:lnTo>
                    <a:pt x="1282" y="1029"/>
                  </a:lnTo>
                  <a:lnTo>
                    <a:pt x="1290" y="1026"/>
                  </a:lnTo>
                  <a:lnTo>
                    <a:pt x="1293" y="1020"/>
                  </a:lnTo>
                  <a:lnTo>
                    <a:pt x="1293" y="1011"/>
                  </a:lnTo>
                  <a:lnTo>
                    <a:pt x="1293" y="1011"/>
                  </a:lnTo>
                  <a:lnTo>
                    <a:pt x="1293" y="984"/>
                  </a:lnTo>
                  <a:lnTo>
                    <a:pt x="1293" y="968"/>
                  </a:lnTo>
                  <a:lnTo>
                    <a:pt x="1295" y="958"/>
                  </a:lnTo>
                  <a:lnTo>
                    <a:pt x="1297" y="953"/>
                  </a:lnTo>
                  <a:lnTo>
                    <a:pt x="1301" y="949"/>
                  </a:lnTo>
                  <a:lnTo>
                    <a:pt x="1303" y="945"/>
                  </a:lnTo>
                  <a:lnTo>
                    <a:pt x="1304" y="938"/>
                  </a:lnTo>
                  <a:lnTo>
                    <a:pt x="1306" y="923"/>
                  </a:lnTo>
                  <a:lnTo>
                    <a:pt x="1306" y="923"/>
                  </a:lnTo>
                  <a:lnTo>
                    <a:pt x="1306" y="913"/>
                  </a:lnTo>
                  <a:lnTo>
                    <a:pt x="1310" y="900"/>
                  </a:lnTo>
                  <a:lnTo>
                    <a:pt x="1321" y="874"/>
                  </a:lnTo>
                  <a:lnTo>
                    <a:pt x="1325" y="861"/>
                  </a:lnTo>
                  <a:lnTo>
                    <a:pt x="1329" y="846"/>
                  </a:lnTo>
                  <a:lnTo>
                    <a:pt x="1331" y="831"/>
                  </a:lnTo>
                  <a:lnTo>
                    <a:pt x="1327" y="818"/>
                  </a:lnTo>
                  <a:lnTo>
                    <a:pt x="1327" y="818"/>
                  </a:lnTo>
                  <a:lnTo>
                    <a:pt x="1325" y="807"/>
                  </a:lnTo>
                  <a:lnTo>
                    <a:pt x="1325" y="796"/>
                  </a:lnTo>
                  <a:lnTo>
                    <a:pt x="1323" y="779"/>
                  </a:lnTo>
                  <a:lnTo>
                    <a:pt x="1321" y="758"/>
                  </a:lnTo>
                  <a:lnTo>
                    <a:pt x="1321" y="758"/>
                  </a:lnTo>
                  <a:lnTo>
                    <a:pt x="1321" y="751"/>
                  </a:lnTo>
                  <a:lnTo>
                    <a:pt x="1321" y="743"/>
                  </a:lnTo>
                  <a:lnTo>
                    <a:pt x="1325" y="730"/>
                  </a:lnTo>
                  <a:lnTo>
                    <a:pt x="1327" y="717"/>
                  </a:lnTo>
                  <a:lnTo>
                    <a:pt x="1327" y="710"/>
                  </a:lnTo>
                  <a:lnTo>
                    <a:pt x="1325" y="702"/>
                  </a:lnTo>
                  <a:lnTo>
                    <a:pt x="1325" y="702"/>
                  </a:lnTo>
                  <a:lnTo>
                    <a:pt x="1323" y="697"/>
                  </a:lnTo>
                  <a:lnTo>
                    <a:pt x="1323" y="689"/>
                  </a:lnTo>
                  <a:lnTo>
                    <a:pt x="1325" y="684"/>
                  </a:lnTo>
                  <a:lnTo>
                    <a:pt x="1329" y="678"/>
                  </a:lnTo>
                  <a:lnTo>
                    <a:pt x="1340" y="665"/>
                  </a:lnTo>
                  <a:lnTo>
                    <a:pt x="1351" y="654"/>
                  </a:lnTo>
                  <a:lnTo>
                    <a:pt x="1361" y="643"/>
                  </a:lnTo>
                  <a:lnTo>
                    <a:pt x="1362" y="637"/>
                  </a:lnTo>
                  <a:lnTo>
                    <a:pt x="1364" y="629"/>
                  </a:lnTo>
                  <a:lnTo>
                    <a:pt x="1362" y="622"/>
                  </a:lnTo>
                  <a:lnTo>
                    <a:pt x="1359" y="615"/>
                  </a:lnTo>
                  <a:lnTo>
                    <a:pt x="1353" y="607"/>
                  </a:lnTo>
                  <a:lnTo>
                    <a:pt x="1344" y="598"/>
                  </a:lnTo>
                  <a:lnTo>
                    <a:pt x="1344" y="598"/>
                  </a:lnTo>
                  <a:lnTo>
                    <a:pt x="1340" y="594"/>
                  </a:lnTo>
                  <a:lnTo>
                    <a:pt x="1338" y="590"/>
                  </a:lnTo>
                  <a:lnTo>
                    <a:pt x="1336" y="581"/>
                  </a:lnTo>
                  <a:lnTo>
                    <a:pt x="1338" y="570"/>
                  </a:lnTo>
                  <a:lnTo>
                    <a:pt x="1338" y="558"/>
                  </a:lnTo>
                  <a:lnTo>
                    <a:pt x="1340" y="547"/>
                  </a:lnTo>
                  <a:lnTo>
                    <a:pt x="1340" y="538"/>
                  </a:lnTo>
                  <a:lnTo>
                    <a:pt x="1336" y="532"/>
                  </a:lnTo>
                  <a:lnTo>
                    <a:pt x="1334" y="529"/>
                  </a:lnTo>
                  <a:lnTo>
                    <a:pt x="1331" y="529"/>
                  </a:lnTo>
                  <a:lnTo>
                    <a:pt x="1331" y="529"/>
                  </a:lnTo>
                  <a:lnTo>
                    <a:pt x="1323" y="527"/>
                  </a:lnTo>
                  <a:lnTo>
                    <a:pt x="1316" y="529"/>
                  </a:lnTo>
                  <a:lnTo>
                    <a:pt x="1301" y="534"/>
                  </a:lnTo>
                  <a:lnTo>
                    <a:pt x="1286" y="544"/>
                  </a:lnTo>
                  <a:lnTo>
                    <a:pt x="1269" y="555"/>
                  </a:lnTo>
                  <a:lnTo>
                    <a:pt x="1241" y="579"/>
                  </a:lnTo>
                  <a:lnTo>
                    <a:pt x="1226" y="590"/>
                  </a:lnTo>
                  <a:lnTo>
                    <a:pt x="1213" y="598"/>
                  </a:lnTo>
                  <a:lnTo>
                    <a:pt x="1213" y="598"/>
                  </a:lnTo>
                  <a:lnTo>
                    <a:pt x="1196" y="605"/>
                  </a:lnTo>
                  <a:lnTo>
                    <a:pt x="1183" y="616"/>
                  </a:lnTo>
                  <a:lnTo>
                    <a:pt x="1174" y="628"/>
                  </a:lnTo>
                  <a:lnTo>
                    <a:pt x="1166" y="639"/>
                  </a:lnTo>
                  <a:lnTo>
                    <a:pt x="1155" y="661"/>
                  </a:lnTo>
                  <a:lnTo>
                    <a:pt x="1151" y="667"/>
                  </a:lnTo>
                  <a:lnTo>
                    <a:pt x="1147" y="671"/>
                  </a:lnTo>
                  <a:lnTo>
                    <a:pt x="1147" y="671"/>
                  </a:lnTo>
                  <a:lnTo>
                    <a:pt x="1118" y="680"/>
                  </a:lnTo>
                  <a:lnTo>
                    <a:pt x="1097" y="686"/>
                  </a:lnTo>
                  <a:lnTo>
                    <a:pt x="1067" y="691"/>
                  </a:lnTo>
                  <a:lnTo>
                    <a:pt x="1050" y="691"/>
                  </a:lnTo>
                  <a:lnTo>
                    <a:pt x="1035" y="693"/>
                  </a:lnTo>
                  <a:lnTo>
                    <a:pt x="1035" y="693"/>
                  </a:lnTo>
                  <a:lnTo>
                    <a:pt x="1022" y="699"/>
                  </a:lnTo>
                  <a:lnTo>
                    <a:pt x="1015" y="702"/>
                  </a:lnTo>
                  <a:lnTo>
                    <a:pt x="1011" y="706"/>
                  </a:lnTo>
                  <a:lnTo>
                    <a:pt x="1009" y="708"/>
                  </a:lnTo>
                  <a:lnTo>
                    <a:pt x="1002" y="699"/>
                  </a:lnTo>
                  <a:lnTo>
                    <a:pt x="992" y="686"/>
                  </a:lnTo>
                  <a:lnTo>
                    <a:pt x="974" y="667"/>
                  </a:lnTo>
                  <a:lnTo>
                    <a:pt x="974" y="667"/>
                  </a:lnTo>
                  <a:lnTo>
                    <a:pt x="964" y="654"/>
                  </a:lnTo>
                  <a:lnTo>
                    <a:pt x="962" y="650"/>
                  </a:lnTo>
                  <a:lnTo>
                    <a:pt x="964" y="648"/>
                  </a:lnTo>
                  <a:lnTo>
                    <a:pt x="966" y="644"/>
                  </a:lnTo>
                  <a:lnTo>
                    <a:pt x="968" y="641"/>
                  </a:lnTo>
                  <a:lnTo>
                    <a:pt x="970" y="633"/>
                  </a:lnTo>
                  <a:lnTo>
                    <a:pt x="970" y="622"/>
                  </a:lnTo>
                  <a:lnTo>
                    <a:pt x="970" y="622"/>
                  </a:lnTo>
                  <a:lnTo>
                    <a:pt x="968" y="609"/>
                  </a:lnTo>
                  <a:lnTo>
                    <a:pt x="964" y="603"/>
                  </a:lnTo>
                  <a:lnTo>
                    <a:pt x="959" y="600"/>
                  </a:lnTo>
                  <a:lnTo>
                    <a:pt x="953" y="598"/>
                  </a:lnTo>
                  <a:lnTo>
                    <a:pt x="949" y="596"/>
                  </a:lnTo>
                  <a:lnTo>
                    <a:pt x="946" y="590"/>
                  </a:lnTo>
                  <a:lnTo>
                    <a:pt x="942" y="581"/>
                  </a:lnTo>
                  <a:lnTo>
                    <a:pt x="942" y="564"/>
                  </a:lnTo>
                  <a:lnTo>
                    <a:pt x="942" y="564"/>
                  </a:lnTo>
                  <a:lnTo>
                    <a:pt x="942" y="553"/>
                  </a:lnTo>
                  <a:lnTo>
                    <a:pt x="940" y="549"/>
                  </a:lnTo>
                  <a:lnTo>
                    <a:pt x="938" y="549"/>
                  </a:lnTo>
                  <a:lnTo>
                    <a:pt x="931" y="549"/>
                  </a:lnTo>
                  <a:lnTo>
                    <a:pt x="921" y="551"/>
                  </a:lnTo>
                  <a:lnTo>
                    <a:pt x="908" y="551"/>
                  </a:lnTo>
                  <a:lnTo>
                    <a:pt x="901" y="549"/>
                  </a:lnTo>
                  <a:lnTo>
                    <a:pt x="891" y="547"/>
                  </a:lnTo>
                  <a:lnTo>
                    <a:pt x="882" y="544"/>
                  </a:lnTo>
                  <a:lnTo>
                    <a:pt x="871" y="536"/>
                  </a:lnTo>
                  <a:lnTo>
                    <a:pt x="860" y="529"/>
                  </a:lnTo>
                  <a:lnTo>
                    <a:pt x="845" y="515"/>
                  </a:lnTo>
                  <a:lnTo>
                    <a:pt x="845" y="515"/>
                  </a:lnTo>
                  <a:lnTo>
                    <a:pt x="830" y="502"/>
                  </a:lnTo>
                  <a:lnTo>
                    <a:pt x="824" y="501"/>
                  </a:lnTo>
                  <a:lnTo>
                    <a:pt x="819" y="499"/>
                  </a:lnTo>
                  <a:lnTo>
                    <a:pt x="813" y="499"/>
                  </a:lnTo>
                  <a:lnTo>
                    <a:pt x="809" y="499"/>
                  </a:lnTo>
                  <a:lnTo>
                    <a:pt x="804" y="502"/>
                  </a:lnTo>
                  <a:lnTo>
                    <a:pt x="798" y="508"/>
                  </a:lnTo>
                  <a:lnTo>
                    <a:pt x="792" y="512"/>
                  </a:lnTo>
                  <a:lnTo>
                    <a:pt x="791" y="514"/>
                  </a:lnTo>
                  <a:lnTo>
                    <a:pt x="787" y="514"/>
                  </a:lnTo>
                  <a:lnTo>
                    <a:pt x="781" y="512"/>
                  </a:lnTo>
                  <a:lnTo>
                    <a:pt x="776" y="508"/>
                  </a:lnTo>
                  <a:lnTo>
                    <a:pt x="776" y="508"/>
                  </a:lnTo>
                  <a:lnTo>
                    <a:pt x="759" y="495"/>
                  </a:lnTo>
                  <a:lnTo>
                    <a:pt x="744" y="489"/>
                  </a:lnTo>
                  <a:lnTo>
                    <a:pt x="731" y="489"/>
                  </a:lnTo>
                  <a:lnTo>
                    <a:pt x="720" y="491"/>
                  </a:lnTo>
                  <a:lnTo>
                    <a:pt x="693" y="497"/>
                  </a:lnTo>
                  <a:lnTo>
                    <a:pt x="677" y="499"/>
                  </a:lnTo>
                  <a:lnTo>
                    <a:pt x="658" y="499"/>
                  </a:lnTo>
                  <a:lnTo>
                    <a:pt x="658" y="499"/>
                  </a:lnTo>
                  <a:lnTo>
                    <a:pt x="650" y="497"/>
                  </a:lnTo>
                  <a:lnTo>
                    <a:pt x="643" y="495"/>
                  </a:lnTo>
                  <a:lnTo>
                    <a:pt x="637" y="489"/>
                  </a:lnTo>
                  <a:lnTo>
                    <a:pt x="634" y="484"/>
                  </a:lnTo>
                  <a:lnTo>
                    <a:pt x="628" y="473"/>
                  </a:lnTo>
                  <a:lnTo>
                    <a:pt x="622" y="458"/>
                  </a:lnTo>
                  <a:lnTo>
                    <a:pt x="619" y="430"/>
                  </a:lnTo>
                  <a:lnTo>
                    <a:pt x="617" y="418"/>
                  </a:lnTo>
                  <a:lnTo>
                    <a:pt x="615" y="415"/>
                  </a:lnTo>
                  <a:lnTo>
                    <a:pt x="611" y="413"/>
                  </a:lnTo>
                  <a:lnTo>
                    <a:pt x="611" y="413"/>
                  </a:lnTo>
                  <a:lnTo>
                    <a:pt x="604" y="405"/>
                  </a:lnTo>
                  <a:lnTo>
                    <a:pt x="598" y="400"/>
                  </a:lnTo>
                  <a:lnTo>
                    <a:pt x="596" y="396"/>
                  </a:lnTo>
                  <a:lnTo>
                    <a:pt x="594" y="388"/>
                  </a:lnTo>
                  <a:lnTo>
                    <a:pt x="589" y="372"/>
                  </a:lnTo>
                  <a:lnTo>
                    <a:pt x="583" y="360"/>
                  </a:lnTo>
                  <a:lnTo>
                    <a:pt x="574" y="344"/>
                  </a:lnTo>
                  <a:lnTo>
                    <a:pt x="574" y="344"/>
                  </a:lnTo>
                  <a:lnTo>
                    <a:pt x="566" y="332"/>
                  </a:lnTo>
                  <a:lnTo>
                    <a:pt x="559" y="325"/>
                  </a:lnTo>
                  <a:lnTo>
                    <a:pt x="549" y="317"/>
                  </a:lnTo>
                  <a:lnTo>
                    <a:pt x="546" y="316"/>
                  </a:lnTo>
                  <a:lnTo>
                    <a:pt x="542" y="310"/>
                  </a:lnTo>
                  <a:lnTo>
                    <a:pt x="540" y="301"/>
                  </a:lnTo>
                  <a:lnTo>
                    <a:pt x="538" y="288"/>
                  </a:lnTo>
                  <a:lnTo>
                    <a:pt x="538" y="288"/>
                  </a:lnTo>
                  <a:lnTo>
                    <a:pt x="536" y="284"/>
                  </a:lnTo>
                  <a:lnTo>
                    <a:pt x="535" y="278"/>
                  </a:lnTo>
                  <a:lnTo>
                    <a:pt x="529" y="271"/>
                  </a:lnTo>
                  <a:lnTo>
                    <a:pt x="521" y="263"/>
                  </a:lnTo>
                  <a:lnTo>
                    <a:pt x="518" y="254"/>
                  </a:lnTo>
                  <a:lnTo>
                    <a:pt x="518" y="254"/>
                  </a:lnTo>
                  <a:lnTo>
                    <a:pt x="514" y="243"/>
                  </a:lnTo>
                  <a:lnTo>
                    <a:pt x="508" y="231"/>
                  </a:lnTo>
                  <a:lnTo>
                    <a:pt x="495" y="211"/>
                  </a:lnTo>
                  <a:lnTo>
                    <a:pt x="478" y="188"/>
                  </a:lnTo>
                  <a:lnTo>
                    <a:pt x="478" y="188"/>
                  </a:lnTo>
                  <a:lnTo>
                    <a:pt x="477" y="181"/>
                  </a:lnTo>
                  <a:lnTo>
                    <a:pt x="477" y="172"/>
                  </a:lnTo>
                  <a:lnTo>
                    <a:pt x="478" y="162"/>
                  </a:lnTo>
                  <a:lnTo>
                    <a:pt x="475" y="155"/>
                  </a:lnTo>
                  <a:lnTo>
                    <a:pt x="475" y="155"/>
                  </a:lnTo>
                  <a:lnTo>
                    <a:pt x="475" y="153"/>
                  </a:lnTo>
                  <a:lnTo>
                    <a:pt x="471" y="153"/>
                  </a:lnTo>
                  <a:lnTo>
                    <a:pt x="465" y="153"/>
                  </a:lnTo>
                  <a:lnTo>
                    <a:pt x="462" y="151"/>
                  </a:lnTo>
                  <a:lnTo>
                    <a:pt x="458" y="149"/>
                  </a:lnTo>
                  <a:lnTo>
                    <a:pt x="456" y="144"/>
                  </a:lnTo>
                  <a:lnTo>
                    <a:pt x="454" y="136"/>
                  </a:lnTo>
                  <a:lnTo>
                    <a:pt x="454" y="136"/>
                  </a:lnTo>
                  <a:lnTo>
                    <a:pt x="447" y="123"/>
                  </a:lnTo>
                  <a:lnTo>
                    <a:pt x="434" y="101"/>
                  </a:lnTo>
                  <a:lnTo>
                    <a:pt x="415" y="71"/>
                  </a:lnTo>
                  <a:lnTo>
                    <a:pt x="415" y="71"/>
                  </a:lnTo>
                  <a:lnTo>
                    <a:pt x="402" y="63"/>
                  </a:lnTo>
                  <a:lnTo>
                    <a:pt x="389" y="54"/>
                  </a:lnTo>
                  <a:lnTo>
                    <a:pt x="376" y="45"/>
                  </a:lnTo>
                  <a:lnTo>
                    <a:pt x="364" y="35"/>
                  </a:lnTo>
                  <a:lnTo>
                    <a:pt x="351" y="30"/>
                  </a:lnTo>
                  <a:lnTo>
                    <a:pt x="336" y="28"/>
                  </a:lnTo>
                  <a:lnTo>
                    <a:pt x="331" y="28"/>
                  </a:lnTo>
                  <a:lnTo>
                    <a:pt x="323" y="30"/>
                  </a:lnTo>
                  <a:lnTo>
                    <a:pt x="316" y="32"/>
                  </a:lnTo>
                  <a:lnTo>
                    <a:pt x="308" y="35"/>
                  </a:lnTo>
                  <a:lnTo>
                    <a:pt x="308" y="35"/>
                  </a:lnTo>
                  <a:lnTo>
                    <a:pt x="303" y="39"/>
                  </a:lnTo>
                  <a:lnTo>
                    <a:pt x="295" y="39"/>
                  </a:lnTo>
                  <a:lnTo>
                    <a:pt x="290" y="37"/>
                  </a:lnTo>
                  <a:lnTo>
                    <a:pt x="282" y="33"/>
                  </a:lnTo>
                  <a:lnTo>
                    <a:pt x="243" y="13"/>
                  </a:lnTo>
                  <a:lnTo>
                    <a:pt x="221" y="4"/>
                  </a:lnTo>
                  <a:lnTo>
                    <a:pt x="207" y="2"/>
                  </a:lnTo>
                  <a:lnTo>
                    <a:pt x="193" y="0"/>
                  </a:lnTo>
                  <a:lnTo>
                    <a:pt x="178" y="0"/>
                  </a:lnTo>
                  <a:lnTo>
                    <a:pt x="161" y="2"/>
                  </a:lnTo>
                  <a:lnTo>
                    <a:pt x="144" y="5"/>
                  </a:lnTo>
                  <a:lnTo>
                    <a:pt x="127" y="13"/>
                  </a:lnTo>
                  <a:lnTo>
                    <a:pt x="127" y="13"/>
                  </a:lnTo>
                  <a:lnTo>
                    <a:pt x="120" y="15"/>
                  </a:lnTo>
                  <a:lnTo>
                    <a:pt x="110" y="17"/>
                  </a:lnTo>
                  <a:lnTo>
                    <a:pt x="95" y="17"/>
                  </a:lnTo>
                  <a:lnTo>
                    <a:pt x="80" y="17"/>
                  </a:lnTo>
                  <a:lnTo>
                    <a:pt x="75" y="18"/>
                  </a:lnTo>
                  <a:lnTo>
                    <a:pt x="71" y="20"/>
                  </a:lnTo>
                  <a:lnTo>
                    <a:pt x="71" y="20"/>
                  </a:lnTo>
                  <a:lnTo>
                    <a:pt x="67" y="24"/>
                  </a:lnTo>
                  <a:lnTo>
                    <a:pt x="60" y="28"/>
                  </a:lnTo>
                  <a:lnTo>
                    <a:pt x="41" y="33"/>
                  </a:lnTo>
                  <a:lnTo>
                    <a:pt x="0" y="41"/>
                  </a:lnTo>
                  <a:lnTo>
                    <a:pt x="0" y="41"/>
                  </a:lnTo>
                  <a:lnTo>
                    <a:pt x="17" y="52"/>
                  </a:lnTo>
                  <a:lnTo>
                    <a:pt x="28" y="63"/>
                  </a:lnTo>
                  <a:lnTo>
                    <a:pt x="34" y="73"/>
                  </a:lnTo>
                  <a:lnTo>
                    <a:pt x="36" y="84"/>
                  </a:lnTo>
                  <a:lnTo>
                    <a:pt x="36" y="91"/>
                  </a:lnTo>
                  <a:lnTo>
                    <a:pt x="32" y="101"/>
                  </a:lnTo>
                  <a:lnTo>
                    <a:pt x="26" y="110"/>
                  </a:lnTo>
                  <a:lnTo>
                    <a:pt x="21" y="117"/>
                  </a:lnTo>
                  <a:lnTo>
                    <a:pt x="7" y="132"/>
                  </a:lnTo>
                  <a:lnTo>
                    <a:pt x="4" y="140"/>
                  </a:lnTo>
                  <a:lnTo>
                    <a:pt x="0" y="147"/>
                  </a:lnTo>
                  <a:lnTo>
                    <a:pt x="0" y="155"/>
                  </a:lnTo>
                  <a:lnTo>
                    <a:pt x="4" y="160"/>
                  </a:lnTo>
                  <a:lnTo>
                    <a:pt x="11" y="168"/>
                  </a:lnTo>
                  <a:lnTo>
                    <a:pt x="24" y="175"/>
                  </a:lnTo>
                  <a:lnTo>
                    <a:pt x="24" y="175"/>
                  </a:lnTo>
                  <a:lnTo>
                    <a:pt x="34" y="179"/>
                  </a:lnTo>
                  <a:lnTo>
                    <a:pt x="41" y="185"/>
                  </a:lnTo>
                  <a:lnTo>
                    <a:pt x="47" y="188"/>
                  </a:lnTo>
                  <a:lnTo>
                    <a:pt x="52" y="190"/>
                  </a:lnTo>
                  <a:lnTo>
                    <a:pt x="58" y="190"/>
                  </a:lnTo>
                  <a:lnTo>
                    <a:pt x="62" y="188"/>
                  </a:lnTo>
                  <a:lnTo>
                    <a:pt x="69" y="181"/>
                  </a:lnTo>
                  <a:lnTo>
                    <a:pt x="77" y="170"/>
                  </a:lnTo>
                  <a:lnTo>
                    <a:pt x="77" y="170"/>
                  </a:lnTo>
                  <a:lnTo>
                    <a:pt x="82" y="164"/>
                  </a:lnTo>
                  <a:lnTo>
                    <a:pt x="84" y="162"/>
                  </a:lnTo>
                  <a:lnTo>
                    <a:pt x="88" y="162"/>
                  </a:lnTo>
                  <a:lnTo>
                    <a:pt x="93" y="166"/>
                  </a:lnTo>
                  <a:lnTo>
                    <a:pt x="101" y="170"/>
                  </a:lnTo>
                  <a:lnTo>
                    <a:pt x="112" y="185"/>
                  </a:lnTo>
                  <a:lnTo>
                    <a:pt x="118" y="190"/>
                  </a:lnTo>
                  <a:lnTo>
                    <a:pt x="123" y="194"/>
                  </a:lnTo>
                  <a:lnTo>
                    <a:pt x="123" y="194"/>
                  </a:lnTo>
                  <a:lnTo>
                    <a:pt x="136" y="200"/>
                  </a:lnTo>
                  <a:lnTo>
                    <a:pt x="135" y="202"/>
                  </a:lnTo>
                  <a:lnTo>
                    <a:pt x="133" y="202"/>
                  </a:lnTo>
                  <a:lnTo>
                    <a:pt x="131" y="205"/>
                  </a:lnTo>
                  <a:lnTo>
                    <a:pt x="129" y="213"/>
                  </a:lnTo>
                  <a:lnTo>
                    <a:pt x="129" y="222"/>
                  </a:lnTo>
                  <a:lnTo>
                    <a:pt x="136" y="239"/>
                  </a:lnTo>
                  <a:lnTo>
                    <a:pt x="136" y="239"/>
                  </a:lnTo>
                  <a:lnTo>
                    <a:pt x="150" y="273"/>
                  </a:lnTo>
                  <a:lnTo>
                    <a:pt x="157" y="289"/>
                  </a:lnTo>
                  <a:lnTo>
                    <a:pt x="166" y="306"/>
                  </a:lnTo>
                  <a:lnTo>
                    <a:pt x="172" y="312"/>
                  </a:lnTo>
                  <a:lnTo>
                    <a:pt x="178" y="317"/>
                  </a:lnTo>
                  <a:lnTo>
                    <a:pt x="183" y="321"/>
                  </a:lnTo>
                  <a:lnTo>
                    <a:pt x="191" y="325"/>
                  </a:lnTo>
                  <a:lnTo>
                    <a:pt x="198" y="327"/>
                  </a:lnTo>
                  <a:lnTo>
                    <a:pt x="207" y="325"/>
                  </a:lnTo>
                  <a:lnTo>
                    <a:pt x="217" y="323"/>
                  </a:lnTo>
                  <a:lnTo>
                    <a:pt x="228" y="317"/>
                  </a:lnTo>
                  <a:lnTo>
                    <a:pt x="228" y="317"/>
                  </a:lnTo>
                  <a:lnTo>
                    <a:pt x="237" y="314"/>
                  </a:lnTo>
                  <a:lnTo>
                    <a:pt x="247" y="312"/>
                  </a:lnTo>
                  <a:lnTo>
                    <a:pt x="267" y="308"/>
                  </a:lnTo>
                  <a:lnTo>
                    <a:pt x="292" y="304"/>
                  </a:lnTo>
                  <a:lnTo>
                    <a:pt x="308" y="301"/>
                  </a:lnTo>
                  <a:lnTo>
                    <a:pt x="329" y="293"/>
                  </a:lnTo>
                  <a:lnTo>
                    <a:pt x="329" y="293"/>
                  </a:lnTo>
                  <a:lnTo>
                    <a:pt x="338" y="289"/>
                  </a:lnTo>
                  <a:lnTo>
                    <a:pt x="344" y="284"/>
                  </a:lnTo>
                  <a:lnTo>
                    <a:pt x="348" y="278"/>
                  </a:lnTo>
                  <a:lnTo>
                    <a:pt x="351" y="271"/>
                  </a:lnTo>
                  <a:lnTo>
                    <a:pt x="355" y="259"/>
                  </a:lnTo>
                  <a:lnTo>
                    <a:pt x="357" y="250"/>
                  </a:lnTo>
                  <a:lnTo>
                    <a:pt x="361" y="246"/>
                  </a:lnTo>
                  <a:lnTo>
                    <a:pt x="363" y="245"/>
                  </a:lnTo>
                  <a:lnTo>
                    <a:pt x="366" y="245"/>
                  </a:lnTo>
                  <a:lnTo>
                    <a:pt x="374" y="246"/>
                  </a:lnTo>
                  <a:lnTo>
                    <a:pt x="391" y="259"/>
                  </a:lnTo>
                  <a:lnTo>
                    <a:pt x="419" y="284"/>
                  </a:lnTo>
                  <a:lnTo>
                    <a:pt x="419" y="284"/>
                  </a:lnTo>
                  <a:lnTo>
                    <a:pt x="437" y="301"/>
                  </a:lnTo>
                  <a:lnTo>
                    <a:pt x="450" y="316"/>
                  </a:lnTo>
                  <a:lnTo>
                    <a:pt x="454" y="323"/>
                  </a:lnTo>
                  <a:lnTo>
                    <a:pt x="456" y="330"/>
                  </a:lnTo>
                  <a:lnTo>
                    <a:pt x="458" y="338"/>
                  </a:lnTo>
                  <a:lnTo>
                    <a:pt x="458" y="345"/>
                  </a:lnTo>
                  <a:lnTo>
                    <a:pt x="456" y="364"/>
                  </a:lnTo>
                  <a:lnTo>
                    <a:pt x="447" y="388"/>
                  </a:lnTo>
                  <a:lnTo>
                    <a:pt x="417" y="465"/>
                  </a:lnTo>
                  <a:lnTo>
                    <a:pt x="417" y="465"/>
                  </a:lnTo>
                  <a:lnTo>
                    <a:pt x="413" y="474"/>
                  </a:lnTo>
                  <a:lnTo>
                    <a:pt x="413" y="484"/>
                  </a:lnTo>
                  <a:lnTo>
                    <a:pt x="413" y="495"/>
                  </a:lnTo>
                  <a:lnTo>
                    <a:pt x="413" y="506"/>
                  </a:lnTo>
                  <a:lnTo>
                    <a:pt x="419" y="527"/>
                  </a:lnTo>
                  <a:lnTo>
                    <a:pt x="422" y="547"/>
                  </a:lnTo>
                  <a:lnTo>
                    <a:pt x="426" y="568"/>
                  </a:lnTo>
                  <a:lnTo>
                    <a:pt x="424" y="577"/>
                  </a:lnTo>
                  <a:lnTo>
                    <a:pt x="422" y="586"/>
                  </a:lnTo>
                  <a:lnTo>
                    <a:pt x="421" y="594"/>
                  </a:lnTo>
                  <a:lnTo>
                    <a:pt x="415" y="601"/>
                  </a:lnTo>
                  <a:lnTo>
                    <a:pt x="406" y="607"/>
                  </a:lnTo>
                  <a:lnTo>
                    <a:pt x="394" y="613"/>
                  </a:lnTo>
                  <a:lnTo>
                    <a:pt x="394" y="613"/>
                  </a:lnTo>
                  <a:lnTo>
                    <a:pt x="391" y="615"/>
                  </a:lnTo>
                  <a:lnTo>
                    <a:pt x="389" y="618"/>
                  </a:lnTo>
                  <a:lnTo>
                    <a:pt x="385" y="628"/>
                  </a:lnTo>
                  <a:lnTo>
                    <a:pt x="383" y="639"/>
                  </a:lnTo>
                  <a:lnTo>
                    <a:pt x="383" y="652"/>
                  </a:lnTo>
                  <a:lnTo>
                    <a:pt x="383" y="680"/>
                  </a:lnTo>
                  <a:lnTo>
                    <a:pt x="383" y="691"/>
                  </a:lnTo>
                  <a:lnTo>
                    <a:pt x="381" y="695"/>
                  </a:lnTo>
                  <a:lnTo>
                    <a:pt x="378" y="699"/>
                  </a:lnTo>
                  <a:lnTo>
                    <a:pt x="378" y="699"/>
                  </a:lnTo>
                  <a:lnTo>
                    <a:pt x="378" y="704"/>
                  </a:lnTo>
                  <a:lnTo>
                    <a:pt x="378" y="710"/>
                  </a:lnTo>
                  <a:lnTo>
                    <a:pt x="385" y="728"/>
                  </a:lnTo>
                  <a:lnTo>
                    <a:pt x="389" y="736"/>
                  </a:lnTo>
                  <a:lnTo>
                    <a:pt x="391" y="745"/>
                  </a:lnTo>
                  <a:lnTo>
                    <a:pt x="389" y="753"/>
                  </a:lnTo>
                  <a:lnTo>
                    <a:pt x="387" y="757"/>
                  </a:lnTo>
                  <a:lnTo>
                    <a:pt x="383" y="758"/>
                  </a:lnTo>
                  <a:lnTo>
                    <a:pt x="383" y="758"/>
                  </a:lnTo>
                  <a:lnTo>
                    <a:pt x="379" y="758"/>
                  </a:lnTo>
                  <a:lnTo>
                    <a:pt x="376" y="758"/>
                  </a:lnTo>
                  <a:lnTo>
                    <a:pt x="372" y="755"/>
                  </a:lnTo>
                  <a:lnTo>
                    <a:pt x="370" y="751"/>
                  </a:lnTo>
                  <a:lnTo>
                    <a:pt x="366" y="738"/>
                  </a:lnTo>
                  <a:lnTo>
                    <a:pt x="363" y="725"/>
                  </a:lnTo>
                  <a:lnTo>
                    <a:pt x="357" y="714"/>
                  </a:lnTo>
                  <a:lnTo>
                    <a:pt x="355" y="710"/>
                  </a:lnTo>
                  <a:lnTo>
                    <a:pt x="353" y="708"/>
                  </a:lnTo>
                  <a:lnTo>
                    <a:pt x="349" y="708"/>
                  </a:lnTo>
                  <a:lnTo>
                    <a:pt x="346" y="712"/>
                  </a:lnTo>
                  <a:lnTo>
                    <a:pt x="342" y="715"/>
                  </a:lnTo>
                  <a:lnTo>
                    <a:pt x="336" y="725"/>
                  </a:lnTo>
                  <a:lnTo>
                    <a:pt x="336" y="725"/>
                  </a:lnTo>
                  <a:lnTo>
                    <a:pt x="323" y="745"/>
                  </a:lnTo>
                  <a:lnTo>
                    <a:pt x="307" y="768"/>
                  </a:lnTo>
                  <a:lnTo>
                    <a:pt x="284" y="790"/>
                  </a:lnTo>
                  <a:lnTo>
                    <a:pt x="264" y="814"/>
                  </a:lnTo>
                  <a:lnTo>
                    <a:pt x="222" y="856"/>
                  </a:lnTo>
                  <a:lnTo>
                    <a:pt x="209" y="870"/>
                  </a:lnTo>
                  <a:lnTo>
                    <a:pt x="200" y="884"/>
                  </a:lnTo>
                  <a:lnTo>
                    <a:pt x="200" y="884"/>
                  </a:lnTo>
                  <a:lnTo>
                    <a:pt x="200" y="889"/>
                  </a:lnTo>
                  <a:lnTo>
                    <a:pt x="200" y="893"/>
                  </a:lnTo>
                  <a:lnTo>
                    <a:pt x="202" y="902"/>
                  </a:lnTo>
                  <a:lnTo>
                    <a:pt x="209" y="912"/>
                  </a:lnTo>
                  <a:lnTo>
                    <a:pt x="217" y="919"/>
                  </a:lnTo>
                  <a:lnTo>
                    <a:pt x="237" y="936"/>
                  </a:lnTo>
                  <a:lnTo>
                    <a:pt x="245" y="945"/>
                  </a:lnTo>
                  <a:lnTo>
                    <a:pt x="252" y="955"/>
                  </a:lnTo>
                  <a:lnTo>
                    <a:pt x="252" y="955"/>
                  </a:lnTo>
                  <a:lnTo>
                    <a:pt x="258" y="966"/>
                  </a:lnTo>
                  <a:lnTo>
                    <a:pt x="262" y="971"/>
                  </a:lnTo>
                  <a:lnTo>
                    <a:pt x="267" y="975"/>
                  </a:lnTo>
                  <a:lnTo>
                    <a:pt x="271" y="975"/>
                  </a:lnTo>
                  <a:lnTo>
                    <a:pt x="275" y="975"/>
                  </a:lnTo>
                  <a:lnTo>
                    <a:pt x="278" y="971"/>
                  </a:lnTo>
                  <a:lnTo>
                    <a:pt x="284" y="964"/>
                  </a:lnTo>
                  <a:lnTo>
                    <a:pt x="290" y="953"/>
                  </a:lnTo>
                  <a:lnTo>
                    <a:pt x="295" y="947"/>
                  </a:lnTo>
                  <a:lnTo>
                    <a:pt x="297" y="945"/>
                  </a:lnTo>
                  <a:lnTo>
                    <a:pt x="299" y="945"/>
                  </a:lnTo>
                  <a:lnTo>
                    <a:pt x="303" y="949"/>
                  </a:lnTo>
                  <a:lnTo>
                    <a:pt x="307" y="955"/>
                  </a:lnTo>
                  <a:lnTo>
                    <a:pt x="307" y="955"/>
                  </a:lnTo>
                  <a:lnTo>
                    <a:pt x="308" y="956"/>
                  </a:lnTo>
                  <a:lnTo>
                    <a:pt x="310" y="956"/>
                  </a:lnTo>
                  <a:lnTo>
                    <a:pt x="320" y="955"/>
                  </a:lnTo>
                  <a:lnTo>
                    <a:pt x="323" y="955"/>
                  </a:lnTo>
                  <a:lnTo>
                    <a:pt x="327" y="956"/>
                  </a:lnTo>
                  <a:lnTo>
                    <a:pt x="329" y="962"/>
                  </a:lnTo>
                  <a:lnTo>
                    <a:pt x="327" y="968"/>
                  </a:lnTo>
                  <a:lnTo>
                    <a:pt x="327" y="968"/>
                  </a:lnTo>
                  <a:lnTo>
                    <a:pt x="325" y="973"/>
                  </a:lnTo>
                  <a:lnTo>
                    <a:pt x="323" y="977"/>
                  </a:lnTo>
                  <a:lnTo>
                    <a:pt x="312" y="983"/>
                  </a:lnTo>
                  <a:lnTo>
                    <a:pt x="288" y="992"/>
                  </a:lnTo>
                  <a:lnTo>
                    <a:pt x="278" y="998"/>
                  </a:lnTo>
                  <a:lnTo>
                    <a:pt x="275" y="1001"/>
                  </a:lnTo>
                  <a:lnTo>
                    <a:pt x="273" y="1005"/>
                  </a:lnTo>
                  <a:lnTo>
                    <a:pt x="273" y="1011"/>
                  </a:lnTo>
                  <a:lnTo>
                    <a:pt x="277" y="1018"/>
                  </a:lnTo>
                  <a:lnTo>
                    <a:pt x="280" y="1026"/>
                  </a:lnTo>
                  <a:lnTo>
                    <a:pt x="288" y="1037"/>
                  </a:lnTo>
                  <a:lnTo>
                    <a:pt x="288" y="1037"/>
                  </a:lnTo>
                  <a:lnTo>
                    <a:pt x="292" y="1042"/>
                  </a:lnTo>
                  <a:lnTo>
                    <a:pt x="292" y="1042"/>
                  </a:lnTo>
                  <a:lnTo>
                    <a:pt x="312" y="1044"/>
                  </a:lnTo>
                  <a:lnTo>
                    <a:pt x="321" y="1044"/>
                  </a:lnTo>
                  <a:lnTo>
                    <a:pt x="333" y="1042"/>
                  </a:lnTo>
                  <a:lnTo>
                    <a:pt x="333" y="1042"/>
                  </a:lnTo>
                  <a:lnTo>
                    <a:pt x="353" y="1039"/>
                  </a:lnTo>
                  <a:lnTo>
                    <a:pt x="361" y="1039"/>
                  </a:lnTo>
                  <a:lnTo>
                    <a:pt x="366" y="1039"/>
                  </a:lnTo>
                  <a:lnTo>
                    <a:pt x="370" y="1041"/>
                  </a:lnTo>
                  <a:lnTo>
                    <a:pt x="374" y="1044"/>
                  </a:lnTo>
                  <a:lnTo>
                    <a:pt x="376" y="1052"/>
                  </a:lnTo>
                  <a:lnTo>
                    <a:pt x="379" y="1076"/>
                  </a:lnTo>
                  <a:lnTo>
                    <a:pt x="383" y="1091"/>
                  </a:lnTo>
                  <a:lnTo>
                    <a:pt x="387" y="1098"/>
                  </a:lnTo>
                  <a:lnTo>
                    <a:pt x="392" y="1108"/>
                  </a:lnTo>
                  <a:lnTo>
                    <a:pt x="392" y="1108"/>
                  </a:lnTo>
                  <a:lnTo>
                    <a:pt x="402" y="1119"/>
                  </a:lnTo>
                  <a:lnTo>
                    <a:pt x="411" y="1126"/>
                  </a:lnTo>
                  <a:lnTo>
                    <a:pt x="419" y="1134"/>
                  </a:lnTo>
                  <a:lnTo>
                    <a:pt x="426" y="1138"/>
                  </a:lnTo>
                  <a:lnTo>
                    <a:pt x="434" y="1140"/>
                  </a:lnTo>
                  <a:lnTo>
                    <a:pt x="441" y="1141"/>
                  </a:lnTo>
                  <a:lnTo>
                    <a:pt x="452" y="1140"/>
                  </a:lnTo>
                  <a:lnTo>
                    <a:pt x="463" y="1136"/>
                  </a:lnTo>
                  <a:lnTo>
                    <a:pt x="475" y="1132"/>
                  </a:lnTo>
                  <a:lnTo>
                    <a:pt x="484" y="1130"/>
                  </a:lnTo>
                  <a:lnTo>
                    <a:pt x="488" y="1130"/>
                  </a:lnTo>
                  <a:lnTo>
                    <a:pt x="493" y="1134"/>
                  </a:lnTo>
                  <a:lnTo>
                    <a:pt x="493" y="1134"/>
                  </a:lnTo>
                  <a:lnTo>
                    <a:pt x="501" y="1138"/>
                  </a:lnTo>
                  <a:lnTo>
                    <a:pt x="510" y="1136"/>
                  </a:lnTo>
                  <a:lnTo>
                    <a:pt x="518" y="1134"/>
                  </a:lnTo>
                  <a:lnTo>
                    <a:pt x="523" y="1128"/>
                  </a:lnTo>
                  <a:lnTo>
                    <a:pt x="538" y="1117"/>
                  </a:lnTo>
                  <a:lnTo>
                    <a:pt x="546" y="1115"/>
                  </a:lnTo>
                  <a:lnTo>
                    <a:pt x="553" y="1115"/>
                  </a:lnTo>
                  <a:lnTo>
                    <a:pt x="553" y="1115"/>
                  </a:lnTo>
                  <a:lnTo>
                    <a:pt x="559" y="1125"/>
                  </a:lnTo>
                  <a:lnTo>
                    <a:pt x="566" y="1134"/>
                  </a:lnTo>
                  <a:lnTo>
                    <a:pt x="576" y="1143"/>
                  </a:lnTo>
                  <a:lnTo>
                    <a:pt x="585" y="1153"/>
                  </a:lnTo>
                  <a:lnTo>
                    <a:pt x="596" y="1158"/>
                  </a:lnTo>
                  <a:lnTo>
                    <a:pt x="602" y="1160"/>
                  </a:lnTo>
                  <a:lnTo>
                    <a:pt x="607" y="1160"/>
                  </a:lnTo>
                  <a:lnTo>
                    <a:pt x="615" y="1158"/>
                  </a:lnTo>
                  <a:lnTo>
                    <a:pt x="620" y="1155"/>
                  </a:lnTo>
                  <a:lnTo>
                    <a:pt x="620" y="1155"/>
                  </a:lnTo>
                  <a:lnTo>
                    <a:pt x="634" y="1145"/>
                  </a:lnTo>
                  <a:lnTo>
                    <a:pt x="649" y="1140"/>
                  </a:lnTo>
                  <a:lnTo>
                    <a:pt x="663" y="1140"/>
                  </a:lnTo>
                  <a:lnTo>
                    <a:pt x="677" y="1140"/>
                  </a:lnTo>
                  <a:lnTo>
                    <a:pt x="690" y="1145"/>
                  </a:lnTo>
                  <a:lnTo>
                    <a:pt x="697" y="1151"/>
                  </a:lnTo>
                  <a:lnTo>
                    <a:pt x="701" y="1156"/>
                  </a:lnTo>
                  <a:lnTo>
                    <a:pt x="703" y="1160"/>
                  </a:lnTo>
                  <a:lnTo>
                    <a:pt x="703" y="1166"/>
                  </a:lnTo>
                  <a:lnTo>
                    <a:pt x="703" y="1171"/>
                  </a:lnTo>
                  <a:lnTo>
                    <a:pt x="703" y="1171"/>
                  </a:lnTo>
                  <a:lnTo>
                    <a:pt x="701" y="1184"/>
                  </a:lnTo>
                  <a:lnTo>
                    <a:pt x="701" y="1194"/>
                  </a:lnTo>
                  <a:lnTo>
                    <a:pt x="703" y="1201"/>
                  </a:lnTo>
                  <a:lnTo>
                    <a:pt x="705" y="1207"/>
                  </a:lnTo>
                  <a:lnTo>
                    <a:pt x="708" y="1211"/>
                  </a:lnTo>
                  <a:lnTo>
                    <a:pt x="714" y="1212"/>
                  </a:lnTo>
                  <a:lnTo>
                    <a:pt x="725" y="1212"/>
                  </a:lnTo>
                  <a:lnTo>
                    <a:pt x="749" y="1207"/>
                  </a:lnTo>
                  <a:lnTo>
                    <a:pt x="753" y="1207"/>
                  </a:lnTo>
                  <a:lnTo>
                    <a:pt x="757" y="1209"/>
                  </a:lnTo>
                  <a:lnTo>
                    <a:pt x="759" y="1211"/>
                  </a:lnTo>
                  <a:lnTo>
                    <a:pt x="761" y="1214"/>
                  </a:lnTo>
                  <a:lnTo>
                    <a:pt x="761" y="1214"/>
                  </a:lnTo>
                  <a:lnTo>
                    <a:pt x="763" y="1227"/>
                  </a:lnTo>
                  <a:lnTo>
                    <a:pt x="766" y="1239"/>
                  </a:lnTo>
                  <a:lnTo>
                    <a:pt x="770" y="1248"/>
                  </a:lnTo>
                  <a:lnTo>
                    <a:pt x="776" y="1255"/>
                  </a:lnTo>
                  <a:lnTo>
                    <a:pt x="781" y="1263"/>
                  </a:lnTo>
                  <a:lnTo>
                    <a:pt x="787" y="1267"/>
                  </a:lnTo>
                  <a:lnTo>
                    <a:pt x="792" y="1270"/>
                  </a:lnTo>
                  <a:lnTo>
                    <a:pt x="800" y="1272"/>
                  </a:lnTo>
                  <a:lnTo>
                    <a:pt x="811" y="1274"/>
                  </a:lnTo>
                  <a:lnTo>
                    <a:pt x="822" y="1270"/>
                  </a:lnTo>
                  <a:lnTo>
                    <a:pt x="824" y="1268"/>
                  </a:lnTo>
                  <a:lnTo>
                    <a:pt x="828" y="1265"/>
                  </a:lnTo>
                  <a:lnTo>
                    <a:pt x="828" y="1261"/>
                  </a:lnTo>
                  <a:lnTo>
                    <a:pt x="828" y="1257"/>
                  </a:lnTo>
                  <a:lnTo>
                    <a:pt x="828" y="1257"/>
                  </a:lnTo>
                  <a:lnTo>
                    <a:pt x="824" y="1244"/>
                  </a:lnTo>
                  <a:lnTo>
                    <a:pt x="826" y="1231"/>
                  </a:lnTo>
                  <a:lnTo>
                    <a:pt x="828" y="1218"/>
                  </a:lnTo>
                  <a:lnTo>
                    <a:pt x="834" y="1209"/>
                  </a:lnTo>
                  <a:lnTo>
                    <a:pt x="839" y="1203"/>
                  </a:lnTo>
                  <a:lnTo>
                    <a:pt x="843" y="1203"/>
                  </a:lnTo>
                  <a:lnTo>
                    <a:pt x="847" y="1203"/>
                  </a:lnTo>
                  <a:lnTo>
                    <a:pt x="850" y="1203"/>
                  </a:lnTo>
                  <a:lnTo>
                    <a:pt x="852" y="1207"/>
                  </a:lnTo>
                  <a:lnTo>
                    <a:pt x="856" y="1212"/>
                  </a:lnTo>
                  <a:lnTo>
                    <a:pt x="858" y="1220"/>
                  </a:lnTo>
                  <a:lnTo>
                    <a:pt x="858" y="1220"/>
                  </a:lnTo>
                  <a:lnTo>
                    <a:pt x="867" y="1246"/>
                  </a:lnTo>
                  <a:lnTo>
                    <a:pt x="877" y="1261"/>
                  </a:lnTo>
                  <a:lnTo>
                    <a:pt x="886" y="1276"/>
                  </a:lnTo>
                  <a:lnTo>
                    <a:pt x="901" y="1298"/>
                  </a:lnTo>
                  <a:lnTo>
                    <a:pt x="901" y="1298"/>
                  </a:lnTo>
                  <a:lnTo>
                    <a:pt x="910" y="1313"/>
                  </a:lnTo>
                  <a:lnTo>
                    <a:pt x="921" y="1323"/>
                  </a:lnTo>
                  <a:lnTo>
                    <a:pt x="931" y="1326"/>
                  </a:lnTo>
                  <a:lnTo>
                    <a:pt x="940" y="1326"/>
                  </a:lnTo>
                  <a:lnTo>
                    <a:pt x="948" y="1325"/>
                  </a:lnTo>
                  <a:lnTo>
                    <a:pt x="951" y="1319"/>
                  </a:lnTo>
                  <a:lnTo>
                    <a:pt x="955" y="1315"/>
                  </a:lnTo>
                  <a:lnTo>
                    <a:pt x="955" y="1310"/>
                  </a:lnTo>
                  <a:lnTo>
                    <a:pt x="955" y="1310"/>
                  </a:lnTo>
                  <a:lnTo>
                    <a:pt x="951" y="1298"/>
                  </a:lnTo>
                  <a:lnTo>
                    <a:pt x="953" y="1291"/>
                  </a:lnTo>
                  <a:lnTo>
                    <a:pt x="957" y="1285"/>
                  </a:lnTo>
                  <a:lnTo>
                    <a:pt x="962" y="1282"/>
                  </a:lnTo>
                  <a:lnTo>
                    <a:pt x="979" y="1274"/>
                  </a:lnTo>
                  <a:lnTo>
                    <a:pt x="987" y="1270"/>
                  </a:lnTo>
                  <a:lnTo>
                    <a:pt x="994" y="1263"/>
                  </a:lnTo>
                  <a:lnTo>
                    <a:pt x="994" y="1263"/>
                  </a:lnTo>
                  <a:lnTo>
                    <a:pt x="1004" y="1254"/>
                  </a:lnTo>
                  <a:lnTo>
                    <a:pt x="1011" y="1248"/>
                  </a:lnTo>
                  <a:lnTo>
                    <a:pt x="1019" y="1248"/>
                  </a:lnTo>
                  <a:lnTo>
                    <a:pt x="1024" y="1252"/>
                  </a:lnTo>
                  <a:lnTo>
                    <a:pt x="1028" y="1254"/>
                  </a:lnTo>
                  <a:lnTo>
                    <a:pt x="1033" y="1255"/>
                  </a:lnTo>
                  <a:lnTo>
                    <a:pt x="1039" y="1254"/>
                  </a:lnTo>
                  <a:lnTo>
                    <a:pt x="1045" y="1248"/>
                  </a:lnTo>
                  <a:lnTo>
                    <a:pt x="1045" y="1248"/>
                  </a:lnTo>
                  <a:lnTo>
                    <a:pt x="1050" y="1240"/>
                  </a:lnTo>
                  <a:lnTo>
                    <a:pt x="1052" y="1240"/>
                  </a:lnTo>
                  <a:lnTo>
                    <a:pt x="1056" y="1240"/>
                  </a:lnTo>
                  <a:lnTo>
                    <a:pt x="1060" y="1244"/>
                  </a:lnTo>
                  <a:lnTo>
                    <a:pt x="1065" y="1252"/>
                  </a:lnTo>
                  <a:lnTo>
                    <a:pt x="1076" y="1270"/>
                  </a:lnTo>
                  <a:lnTo>
                    <a:pt x="1082" y="1278"/>
                  </a:lnTo>
                  <a:lnTo>
                    <a:pt x="1090" y="1283"/>
                  </a:lnTo>
                  <a:lnTo>
                    <a:pt x="1090" y="1283"/>
                  </a:lnTo>
                  <a:lnTo>
                    <a:pt x="1112" y="1291"/>
                  </a:lnTo>
                  <a:lnTo>
                    <a:pt x="1123" y="1295"/>
                  </a:lnTo>
                  <a:lnTo>
                    <a:pt x="1134" y="1295"/>
                  </a:lnTo>
                  <a:lnTo>
                    <a:pt x="1161" y="1289"/>
                  </a:lnTo>
                  <a:lnTo>
                    <a:pt x="1161" y="1289"/>
                  </a:lnTo>
                  <a:lnTo>
                    <a:pt x="1159" y="1283"/>
                  </a:lnTo>
                  <a:lnTo>
                    <a:pt x="1159" y="1283"/>
                  </a:lnTo>
                  <a:lnTo>
                    <a:pt x="1155" y="1265"/>
                  </a:lnTo>
                  <a:lnTo>
                    <a:pt x="1153" y="1248"/>
                  </a:lnTo>
                  <a:lnTo>
                    <a:pt x="1153" y="1235"/>
                  </a:lnTo>
                  <a:lnTo>
                    <a:pt x="1151" y="1218"/>
                  </a:lnTo>
                  <a:lnTo>
                    <a:pt x="1147" y="1199"/>
                  </a:lnTo>
                  <a:lnTo>
                    <a:pt x="1138" y="1175"/>
                  </a:lnTo>
                  <a:lnTo>
                    <a:pt x="1123" y="1143"/>
                  </a:lnTo>
                  <a:lnTo>
                    <a:pt x="1099" y="1102"/>
                  </a:lnTo>
                  <a:lnTo>
                    <a:pt x="1099" y="1102"/>
                  </a:lnTo>
                  <a:lnTo>
                    <a:pt x="1099" y="1100"/>
                  </a:lnTo>
                  <a:lnTo>
                    <a:pt x="1099" y="1098"/>
                  </a:lnTo>
                  <a:lnTo>
                    <a:pt x="1105" y="1093"/>
                  </a:lnTo>
                  <a:lnTo>
                    <a:pt x="1121" y="1082"/>
                  </a:lnTo>
                  <a:lnTo>
                    <a:pt x="1140" y="1069"/>
                  </a:lnTo>
                  <a:lnTo>
                    <a:pt x="1147" y="1063"/>
                  </a:lnTo>
                  <a:lnTo>
                    <a:pt x="1149" y="1055"/>
                  </a:lnTo>
                  <a:lnTo>
                    <a:pt x="1149" y="1055"/>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 name="Freeform 8">
              <a:extLst>
                <a:ext uri="{FF2B5EF4-FFF2-40B4-BE49-F238E27FC236}">
                  <a16:creationId xmlns:a16="http://schemas.microsoft.com/office/drawing/2014/main" id="{952C3C93-3EF6-4C63-94F7-34DAA776CF2A}"/>
                </a:ext>
              </a:extLst>
            </p:cNvPr>
            <p:cNvSpPr>
              <a:spLocks/>
            </p:cNvSpPr>
            <p:nvPr/>
          </p:nvSpPr>
          <p:spPr bwMode="auto">
            <a:xfrm>
              <a:off x="6346878" y="2608135"/>
              <a:ext cx="917415" cy="653998"/>
            </a:xfrm>
            <a:custGeom>
              <a:avLst/>
              <a:gdLst/>
              <a:ahLst/>
              <a:cxnLst>
                <a:cxn ang="0">
                  <a:pos x="658" y="235"/>
                </a:cxn>
                <a:cxn ang="0">
                  <a:pos x="613" y="200"/>
                </a:cxn>
                <a:cxn ang="0">
                  <a:pos x="596" y="168"/>
                </a:cxn>
                <a:cxn ang="0">
                  <a:pos x="548" y="145"/>
                </a:cxn>
                <a:cxn ang="0">
                  <a:pos x="537" y="106"/>
                </a:cxn>
                <a:cxn ang="0">
                  <a:pos x="462" y="119"/>
                </a:cxn>
                <a:cxn ang="0">
                  <a:pos x="406" y="86"/>
                </a:cxn>
                <a:cxn ang="0">
                  <a:pos x="357" y="97"/>
                </a:cxn>
                <a:cxn ang="0">
                  <a:pos x="310" y="97"/>
                </a:cxn>
                <a:cxn ang="0">
                  <a:pos x="249" y="80"/>
                </a:cxn>
                <a:cxn ang="0">
                  <a:pos x="221" y="5"/>
                </a:cxn>
                <a:cxn ang="0">
                  <a:pos x="168" y="5"/>
                </a:cxn>
                <a:cxn ang="0">
                  <a:pos x="131" y="28"/>
                </a:cxn>
                <a:cxn ang="0">
                  <a:pos x="111" y="52"/>
                </a:cxn>
                <a:cxn ang="0">
                  <a:pos x="107" y="86"/>
                </a:cxn>
                <a:cxn ang="0">
                  <a:pos x="68" y="71"/>
                </a:cxn>
                <a:cxn ang="0">
                  <a:pos x="26" y="59"/>
                </a:cxn>
                <a:cxn ang="0">
                  <a:pos x="4" y="93"/>
                </a:cxn>
                <a:cxn ang="0">
                  <a:pos x="32" y="114"/>
                </a:cxn>
                <a:cxn ang="0">
                  <a:pos x="60" y="162"/>
                </a:cxn>
                <a:cxn ang="0">
                  <a:pos x="60" y="196"/>
                </a:cxn>
                <a:cxn ang="0">
                  <a:pos x="58" y="226"/>
                </a:cxn>
                <a:cxn ang="0">
                  <a:pos x="96" y="299"/>
                </a:cxn>
                <a:cxn ang="0">
                  <a:pos x="159" y="258"/>
                </a:cxn>
                <a:cxn ang="0">
                  <a:pos x="187" y="282"/>
                </a:cxn>
                <a:cxn ang="0">
                  <a:pos x="206" y="319"/>
                </a:cxn>
                <a:cxn ang="0">
                  <a:pos x="223" y="372"/>
                </a:cxn>
                <a:cxn ang="0">
                  <a:pos x="230" y="398"/>
                </a:cxn>
                <a:cxn ang="0">
                  <a:pos x="254" y="388"/>
                </a:cxn>
                <a:cxn ang="0">
                  <a:pos x="282" y="403"/>
                </a:cxn>
                <a:cxn ang="0">
                  <a:pos x="327" y="450"/>
                </a:cxn>
                <a:cxn ang="0">
                  <a:pos x="352" y="441"/>
                </a:cxn>
                <a:cxn ang="0">
                  <a:pos x="376" y="429"/>
                </a:cxn>
                <a:cxn ang="0">
                  <a:pos x="432" y="530"/>
                </a:cxn>
                <a:cxn ang="0">
                  <a:pos x="456" y="545"/>
                </a:cxn>
                <a:cxn ang="0">
                  <a:pos x="449" y="605"/>
                </a:cxn>
                <a:cxn ang="0">
                  <a:pos x="488" y="656"/>
                </a:cxn>
                <a:cxn ang="0">
                  <a:pos x="501" y="697"/>
                </a:cxn>
                <a:cxn ang="0">
                  <a:pos x="520" y="715"/>
                </a:cxn>
                <a:cxn ang="0">
                  <a:pos x="572" y="642"/>
                </a:cxn>
                <a:cxn ang="0">
                  <a:pos x="604" y="577"/>
                </a:cxn>
                <a:cxn ang="0">
                  <a:pos x="638" y="594"/>
                </a:cxn>
                <a:cxn ang="0">
                  <a:pos x="722" y="603"/>
                </a:cxn>
                <a:cxn ang="0">
                  <a:pos x="757" y="588"/>
                </a:cxn>
                <a:cxn ang="0">
                  <a:pos x="729" y="525"/>
                </a:cxn>
                <a:cxn ang="0">
                  <a:pos x="795" y="499"/>
                </a:cxn>
                <a:cxn ang="0">
                  <a:pos x="841" y="441"/>
                </a:cxn>
                <a:cxn ang="0">
                  <a:pos x="864" y="433"/>
                </a:cxn>
                <a:cxn ang="0">
                  <a:pos x="880" y="401"/>
                </a:cxn>
                <a:cxn ang="0">
                  <a:pos x="892" y="343"/>
                </a:cxn>
                <a:cxn ang="0">
                  <a:pos x="968" y="401"/>
                </a:cxn>
                <a:cxn ang="0">
                  <a:pos x="948" y="372"/>
                </a:cxn>
                <a:cxn ang="0">
                  <a:pos x="993" y="336"/>
                </a:cxn>
                <a:cxn ang="0">
                  <a:pos x="1008" y="276"/>
                </a:cxn>
                <a:cxn ang="0">
                  <a:pos x="937" y="244"/>
                </a:cxn>
                <a:cxn ang="0">
                  <a:pos x="899" y="201"/>
                </a:cxn>
                <a:cxn ang="0">
                  <a:pos x="871" y="213"/>
                </a:cxn>
                <a:cxn ang="0">
                  <a:pos x="826" y="237"/>
                </a:cxn>
                <a:cxn ang="0">
                  <a:pos x="802" y="276"/>
                </a:cxn>
                <a:cxn ang="0">
                  <a:pos x="748" y="259"/>
                </a:cxn>
                <a:cxn ang="0">
                  <a:pos x="703" y="173"/>
                </a:cxn>
                <a:cxn ang="0">
                  <a:pos x="675" y="181"/>
                </a:cxn>
              </a:cxnLst>
              <a:rect l="0" t="0" r="r" b="b"/>
              <a:pathLst>
                <a:path w="1009" h="719">
                  <a:moveTo>
                    <a:pt x="675" y="218"/>
                  </a:moveTo>
                  <a:lnTo>
                    <a:pt x="675" y="218"/>
                  </a:lnTo>
                  <a:lnTo>
                    <a:pt x="675" y="222"/>
                  </a:lnTo>
                  <a:lnTo>
                    <a:pt x="675" y="226"/>
                  </a:lnTo>
                  <a:lnTo>
                    <a:pt x="671" y="229"/>
                  </a:lnTo>
                  <a:lnTo>
                    <a:pt x="669" y="231"/>
                  </a:lnTo>
                  <a:lnTo>
                    <a:pt x="658" y="235"/>
                  </a:lnTo>
                  <a:lnTo>
                    <a:pt x="647" y="233"/>
                  </a:lnTo>
                  <a:lnTo>
                    <a:pt x="639" y="231"/>
                  </a:lnTo>
                  <a:lnTo>
                    <a:pt x="634" y="228"/>
                  </a:lnTo>
                  <a:lnTo>
                    <a:pt x="628" y="224"/>
                  </a:lnTo>
                  <a:lnTo>
                    <a:pt x="623" y="216"/>
                  </a:lnTo>
                  <a:lnTo>
                    <a:pt x="617" y="209"/>
                  </a:lnTo>
                  <a:lnTo>
                    <a:pt x="613" y="200"/>
                  </a:lnTo>
                  <a:lnTo>
                    <a:pt x="610" y="188"/>
                  </a:lnTo>
                  <a:lnTo>
                    <a:pt x="608" y="175"/>
                  </a:lnTo>
                  <a:lnTo>
                    <a:pt x="608" y="175"/>
                  </a:lnTo>
                  <a:lnTo>
                    <a:pt x="606" y="172"/>
                  </a:lnTo>
                  <a:lnTo>
                    <a:pt x="604" y="170"/>
                  </a:lnTo>
                  <a:lnTo>
                    <a:pt x="600" y="168"/>
                  </a:lnTo>
                  <a:lnTo>
                    <a:pt x="596" y="168"/>
                  </a:lnTo>
                  <a:lnTo>
                    <a:pt x="572" y="173"/>
                  </a:lnTo>
                  <a:lnTo>
                    <a:pt x="561" y="173"/>
                  </a:lnTo>
                  <a:lnTo>
                    <a:pt x="555" y="172"/>
                  </a:lnTo>
                  <a:lnTo>
                    <a:pt x="552" y="168"/>
                  </a:lnTo>
                  <a:lnTo>
                    <a:pt x="550" y="162"/>
                  </a:lnTo>
                  <a:lnTo>
                    <a:pt x="548" y="155"/>
                  </a:lnTo>
                  <a:lnTo>
                    <a:pt x="548" y="145"/>
                  </a:lnTo>
                  <a:lnTo>
                    <a:pt x="550" y="132"/>
                  </a:lnTo>
                  <a:lnTo>
                    <a:pt x="550" y="132"/>
                  </a:lnTo>
                  <a:lnTo>
                    <a:pt x="550" y="127"/>
                  </a:lnTo>
                  <a:lnTo>
                    <a:pt x="550" y="121"/>
                  </a:lnTo>
                  <a:lnTo>
                    <a:pt x="548" y="117"/>
                  </a:lnTo>
                  <a:lnTo>
                    <a:pt x="544" y="112"/>
                  </a:lnTo>
                  <a:lnTo>
                    <a:pt x="537" y="106"/>
                  </a:lnTo>
                  <a:lnTo>
                    <a:pt x="524" y="101"/>
                  </a:lnTo>
                  <a:lnTo>
                    <a:pt x="510" y="101"/>
                  </a:lnTo>
                  <a:lnTo>
                    <a:pt x="496" y="101"/>
                  </a:lnTo>
                  <a:lnTo>
                    <a:pt x="481" y="106"/>
                  </a:lnTo>
                  <a:lnTo>
                    <a:pt x="467" y="116"/>
                  </a:lnTo>
                  <a:lnTo>
                    <a:pt x="467" y="116"/>
                  </a:lnTo>
                  <a:lnTo>
                    <a:pt x="462" y="119"/>
                  </a:lnTo>
                  <a:lnTo>
                    <a:pt x="454" y="121"/>
                  </a:lnTo>
                  <a:lnTo>
                    <a:pt x="449" y="121"/>
                  </a:lnTo>
                  <a:lnTo>
                    <a:pt x="443" y="119"/>
                  </a:lnTo>
                  <a:lnTo>
                    <a:pt x="432" y="114"/>
                  </a:lnTo>
                  <a:lnTo>
                    <a:pt x="423" y="104"/>
                  </a:lnTo>
                  <a:lnTo>
                    <a:pt x="413" y="95"/>
                  </a:lnTo>
                  <a:lnTo>
                    <a:pt x="406" y="86"/>
                  </a:lnTo>
                  <a:lnTo>
                    <a:pt x="400" y="76"/>
                  </a:lnTo>
                  <a:lnTo>
                    <a:pt x="400" y="76"/>
                  </a:lnTo>
                  <a:lnTo>
                    <a:pt x="393" y="76"/>
                  </a:lnTo>
                  <a:lnTo>
                    <a:pt x="385" y="78"/>
                  </a:lnTo>
                  <a:lnTo>
                    <a:pt x="370" y="89"/>
                  </a:lnTo>
                  <a:lnTo>
                    <a:pt x="365" y="95"/>
                  </a:lnTo>
                  <a:lnTo>
                    <a:pt x="357" y="97"/>
                  </a:lnTo>
                  <a:lnTo>
                    <a:pt x="348" y="99"/>
                  </a:lnTo>
                  <a:lnTo>
                    <a:pt x="340" y="95"/>
                  </a:lnTo>
                  <a:lnTo>
                    <a:pt x="340" y="95"/>
                  </a:lnTo>
                  <a:lnTo>
                    <a:pt x="335" y="91"/>
                  </a:lnTo>
                  <a:lnTo>
                    <a:pt x="331" y="91"/>
                  </a:lnTo>
                  <a:lnTo>
                    <a:pt x="322" y="93"/>
                  </a:lnTo>
                  <a:lnTo>
                    <a:pt x="310" y="97"/>
                  </a:lnTo>
                  <a:lnTo>
                    <a:pt x="299" y="101"/>
                  </a:lnTo>
                  <a:lnTo>
                    <a:pt x="288" y="102"/>
                  </a:lnTo>
                  <a:lnTo>
                    <a:pt x="281" y="101"/>
                  </a:lnTo>
                  <a:lnTo>
                    <a:pt x="273" y="99"/>
                  </a:lnTo>
                  <a:lnTo>
                    <a:pt x="266" y="95"/>
                  </a:lnTo>
                  <a:lnTo>
                    <a:pt x="258" y="87"/>
                  </a:lnTo>
                  <a:lnTo>
                    <a:pt x="249" y="80"/>
                  </a:lnTo>
                  <a:lnTo>
                    <a:pt x="239" y="69"/>
                  </a:lnTo>
                  <a:lnTo>
                    <a:pt x="239" y="69"/>
                  </a:lnTo>
                  <a:lnTo>
                    <a:pt x="234" y="59"/>
                  </a:lnTo>
                  <a:lnTo>
                    <a:pt x="230" y="52"/>
                  </a:lnTo>
                  <a:lnTo>
                    <a:pt x="226" y="37"/>
                  </a:lnTo>
                  <a:lnTo>
                    <a:pt x="223" y="13"/>
                  </a:lnTo>
                  <a:lnTo>
                    <a:pt x="221" y="5"/>
                  </a:lnTo>
                  <a:lnTo>
                    <a:pt x="217" y="2"/>
                  </a:lnTo>
                  <a:lnTo>
                    <a:pt x="213" y="0"/>
                  </a:lnTo>
                  <a:lnTo>
                    <a:pt x="208" y="0"/>
                  </a:lnTo>
                  <a:lnTo>
                    <a:pt x="200" y="0"/>
                  </a:lnTo>
                  <a:lnTo>
                    <a:pt x="180" y="3"/>
                  </a:lnTo>
                  <a:lnTo>
                    <a:pt x="180" y="3"/>
                  </a:lnTo>
                  <a:lnTo>
                    <a:pt x="168" y="5"/>
                  </a:lnTo>
                  <a:lnTo>
                    <a:pt x="159" y="5"/>
                  </a:lnTo>
                  <a:lnTo>
                    <a:pt x="139" y="3"/>
                  </a:lnTo>
                  <a:lnTo>
                    <a:pt x="139" y="3"/>
                  </a:lnTo>
                  <a:lnTo>
                    <a:pt x="137" y="13"/>
                  </a:lnTo>
                  <a:lnTo>
                    <a:pt x="135" y="18"/>
                  </a:lnTo>
                  <a:lnTo>
                    <a:pt x="133" y="24"/>
                  </a:lnTo>
                  <a:lnTo>
                    <a:pt x="131" y="28"/>
                  </a:lnTo>
                  <a:lnTo>
                    <a:pt x="124" y="31"/>
                  </a:lnTo>
                  <a:lnTo>
                    <a:pt x="116" y="35"/>
                  </a:lnTo>
                  <a:lnTo>
                    <a:pt x="111" y="35"/>
                  </a:lnTo>
                  <a:lnTo>
                    <a:pt x="107" y="39"/>
                  </a:lnTo>
                  <a:lnTo>
                    <a:pt x="107" y="41"/>
                  </a:lnTo>
                  <a:lnTo>
                    <a:pt x="107" y="43"/>
                  </a:lnTo>
                  <a:lnTo>
                    <a:pt x="111" y="52"/>
                  </a:lnTo>
                  <a:lnTo>
                    <a:pt x="111" y="52"/>
                  </a:lnTo>
                  <a:lnTo>
                    <a:pt x="112" y="56"/>
                  </a:lnTo>
                  <a:lnTo>
                    <a:pt x="114" y="63"/>
                  </a:lnTo>
                  <a:lnTo>
                    <a:pt x="114" y="71"/>
                  </a:lnTo>
                  <a:lnTo>
                    <a:pt x="114" y="78"/>
                  </a:lnTo>
                  <a:lnTo>
                    <a:pt x="111" y="84"/>
                  </a:lnTo>
                  <a:lnTo>
                    <a:pt x="107" y="86"/>
                  </a:lnTo>
                  <a:lnTo>
                    <a:pt x="103" y="86"/>
                  </a:lnTo>
                  <a:lnTo>
                    <a:pt x="94" y="82"/>
                  </a:lnTo>
                  <a:lnTo>
                    <a:pt x="79" y="73"/>
                  </a:lnTo>
                  <a:lnTo>
                    <a:pt x="79" y="73"/>
                  </a:lnTo>
                  <a:lnTo>
                    <a:pt x="73" y="67"/>
                  </a:lnTo>
                  <a:lnTo>
                    <a:pt x="69" y="67"/>
                  </a:lnTo>
                  <a:lnTo>
                    <a:pt x="68" y="71"/>
                  </a:lnTo>
                  <a:lnTo>
                    <a:pt x="68" y="74"/>
                  </a:lnTo>
                  <a:lnTo>
                    <a:pt x="66" y="78"/>
                  </a:lnTo>
                  <a:lnTo>
                    <a:pt x="60" y="78"/>
                  </a:lnTo>
                  <a:lnTo>
                    <a:pt x="51" y="74"/>
                  </a:lnTo>
                  <a:lnTo>
                    <a:pt x="36" y="65"/>
                  </a:lnTo>
                  <a:lnTo>
                    <a:pt x="36" y="65"/>
                  </a:lnTo>
                  <a:lnTo>
                    <a:pt x="26" y="59"/>
                  </a:lnTo>
                  <a:lnTo>
                    <a:pt x="21" y="56"/>
                  </a:lnTo>
                  <a:lnTo>
                    <a:pt x="17" y="58"/>
                  </a:lnTo>
                  <a:lnTo>
                    <a:pt x="15" y="63"/>
                  </a:lnTo>
                  <a:lnTo>
                    <a:pt x="11" y="76"/>
                  </a:lnTo>
                  <a:lnTo>
                    <a:pt x="10" y="86"/>
                  </a:lnTo>
                  <a:lnTo>
                    <a:pt x="4" y="93"/>
                  </a:lnTo>
                  <a:lnTo>
                    <a:pt x="4" y="93"/>
                  </a:lnTo>
                  <a:lnTo>
                    <a:pt x="0" y="97"/>
                  </a:lnTo>
                  <a:lnTo>
                    <a:pt x="2" y="99"/>
                  </a:lnTo>
                  <a:lnTo>
                    <a:pt x="11" y="99"/>
                  </a:lnTo>
                  <a:lnTo>
                    <a:pt x="17" y="101"/>
                  </a:lnTo>
                  <a:lnTo>
                    <a:pt x="23" y="101"/>
                  </a:lnTo>
                  <a:lnTo>
                    <a:pt x="28" y="106"/>
                  </a:lnTo>
                  <a:lnTo>
                    <a:pt x="32" y="114"/>
                  </a:lnTo>
                  <a:lnTo>
                    <a:pt x="32" y="114"/>
                  </a:lnTo>
                  <a:lnTo>
                    <a:pt x="36" y="119"/>
                  </a:lnTo>
                  <a:lnTo>
                    <a:pt x="40" y="127"/>
                  </a:lnTo>
                  <a:lnTo>
                    <a:pt x="53" y="138"/>
                  </a:lnTo>
                  <a:lnTo>
                    <a:pt x="58" y="145"/>
                  </a:lnTo>
                  <a:lnTo>
                    <a:pt x="62" y="153"/>
                  </a:lnTo>
                  <a:lnTo>
                    <a:pt x="60" y="162"/>
                  </a:lnTo>
                  <a:lnTo>
                    <a:pt x="56" y="173"/>
                  </a:lnTo>
                  <a:lnTo>
                    <a:pt x="56" y="173"/>
                  </a:lnTo>
                  <a:lnTo>
                    <a:pt x="53" y="179"/>
                  </a:lnTo>
                  <a:lnTo>
                    <a:pt x="53" y="185"/>
                  </a:lnTo>
                  <a:lnTo>
                    <a:pt x="54" y="188"/>
                  </a:lnTo>
                  <a:lnTo>
                    <a:pt x="58" y="192"/>
                  </a:lnTo>
                  <a:lnTo>
                    <a:pt x="60" y="196"/>
                  </a:lnTo>
                  <a:lnTo>
                    <a:pt x="62" y="200"/>
                  </a:lnTo>
                  <a:lnTo>
                    <a:pt x="62" y="205"/>
                  </a:lnTo>
                  <a:lnTo>
                    <a:pt x="58" y="211"/>
                  </a:lnTo>
                  <a:lnTo>
                    <a:pt x="58" y="211"/>
                  </a:lnTo>
                  <a:lnTo>
                    <a:pt x="56" y="215"/>
                  </a:lnTo>
                  <a:lnTo>
                    <a:pt x="56" y="218"/>
                  </a:lnTo>
                  <a:lnTo>
                    <a:pt x="58" y="226"/>
                  </a:lnTo>
                  <a:lnTo>
                    <a:pt x="64" y="235"/>
                  </a:lnTo>
                  <a:lnTo>
                    <a:pt x="69" y="246"/>
                  </a:lnTo>
                  <a:lnTo>
                    <a:pt x="84" y="269"/>
                  </a:lnTo>
                  <a:lnTo>
                    <a:pt x="90" y="280"/>
                  </a:lnTo>
                  <a:lnTo>
                    <a:pt x="94" y="291"/>
                  </a:lnTo>
                  <a:lnTo>
                    <a:pt x="94" y="291"/>
                  </a:lnTo>
                  <a:lnTo>
                    <a:pt x="96" y="299"/>
                  </a:lnTo>
                  <a:lnTo>
                    <a:pt x="97" y="299"/>
                  </a:lnTo>
                  <a:lnTo>
                    <a:pt x="99" y="300"/>
                  </a:lnTo>
                  <a:lnTo>
                    <a:pt x="105" y="299"/>
                  </a:lnTo>
                  <a:lnTo>
                    <a:pt x="112" y="293"/>
                  </a:lnTo>
                  <a:lnTo>
                    <a:pt x="133" y="276"/>
                  </a:lnTo>
                  <a:lnTo>
                    <a:pt x="159" y="258"/>
                  </a:lnTo>
                  <a:lnTo>
                    <a:pt x="159" y="258"/>
                  </a:lnTo>
                  <a:lnTo>
                    <a:pt x="174" y="248"/>
                  </a:lnTo>
                  <a:lnTo>
                    <a:pt x="174" y="248"/>
                  </a:lnTo>
                  <a:lnTo>
                    <a:pt x="172" y="252"/>
                  </a:lnTo>
                  <a:lnTo>
                    <a:pt x="172" y="258"/>
                  </a:lnTo>
                  <a:lnTo>
                    <a:pt x="172" y="265"/>
                  </a:lnTo>
                  <a:lnTo>
                    <a:pt x="178" y="272"/>
                  </a:lnTo>
                  <a:lnTo>
                    <a:pt x="187" y="282"/>
                  </a:lnTo>
                  <a:lnTo>
                    <a:pt x="187" y="282"/>
                  </a:lnTo>
                  <a:lnTo>
                    <a:pt x="191" y="284"/>
                  </a:lnTo>
                  <a:lnTo>
                    <a:pt x="195" y="287"/>
                  </a:lnTo>
                  <a:lnTo>
                    <a:pt x="196" y="297"/>
                  </a:lnTo>
                  <a:lnTo>
                    <a:pt x="198" y="302"/>
                  </a:lnTo>
                  <a:lnTo>
                    <a:pt x="200" y="310"/>
                  </a:lnTo>
                  <a:lnTo>
                    <a:pt x="206" y="319"/>
                  </a:lnTo>
                  <a:lnTo>
                    <a:pt x="213" y="329"/>
                  </a:lnTo>
                  <a:lnTo>
                    <a:pt x="213" y="329"/>
                  </a:lnTo>
                  <a:lnTo>
                    <a:pt x="221" y="347"/>
                  </a:lnTo>
                  <a:lnTo>
                    <a:pt x="223" y="362"/>
                  </a:lnTo>
                  <a:lnTo>
                    <a:pt x="223" y="368"/>
                  </a:lnTo>
                  <a:lnTo>
                    <a:pt x="223" y="372"/>
                  </a:lnTo>
                  <a:lnTo>
                    <a:pt x="223" y="372"/>
                  </a:lnTo>
                  <a:lnTo>
                    <a:pt x="213" y="379"/>
                  </a:lnTo>
                  <a:lnTo>
                    <a:pt x="210" y="383"/>
                  </a:lnTo>
                  <a:lnTo>
                    <a:pt x="210" y="386"/>
                  </a:lnTo>
                  <a:lnTo>
                    <a:pt x="211" y="388"/>
                  </a:lnTo>
                  <a:lnTo>
                    <a:pt x="219" y="392"/>
                  </a:lnTo>
                  <a:lnTo>
                    <a:pt x="225" y="394"/>
                  </a:lnTo>
                  <a:lnTo>
                    <a:pt x="230" y="398"/>
                  </a:lnTo>
                  <a:lnTo>
                    <a:pt x="230" y="398"/>
                  </a:lnTo>
                  <a:lnTo>
                    <a:pt x="234" y="400"/>
                  </a:lnTo>
                  <a:lnTo>
                    <a:pt x="236" y="400"/>
                  </a:lnTo>
                  <a:lnTo>
                    <a:pt x="239" y="400"/>
                  </a:lnTo>
                  <a:lnTo>
                    <a:pt x="249" y="400"/>
                  </a:lnTo>
                  <a:lnTo>
                    <a:pt x="249" y="400"/>
                  </a:lnTo>
                  <a:lnTo>
                    <a:pt x="254" y="388"/>
                  </a:lnTo>
                  <a:lnTo>
                    <a:pt x="256" y="386"/>
                  </a:lnTo>
                  <a:lnTo>
                    <a:pt x="258" y="386"/>
                  </a:lnTo>
                  <a:lnTo>
                    <a:pt x="262" y="388"/>
                  </a:lnTo>
                  <a:lnTo>
                    <a:pt x="264" y="390"/>
                  </a:lnTo>
                  <a:lnTo>
                    <a:pt x="264" y="390"/>
                  </a:lnTo>
                  <a:lnTo>
                    <a:pt x="273" y="398"/>
                  </a:lnTo>
                  <a:lnTo>
                    <a:pt x="282" y="403"/>
                  </a:lnTo>
                  <a:lnTo>
                    <a:pt x="301" y="411"/>
                  </a:lnTo>
                  <a:lnTo>
                    <a:pt x="309" y="413"/>
                  </a:lnTo>
                  <a:lnTo>
                    <a:pt x="316" y="416"/>
                  </a:lnTo>
                  <a:lnTo>
                    <a:pt x="320" y="422"/>
                  </a:lnTo>
                  <a:lnTo>
                    <a:pt x="324" y="429"/>
                  </a:lnTo>
                  <a:lnTo>
                    <a:pt x="324" y="429"/>
                  </a:lnTo>
                  <a:lnTo>
                    <a:pt x="327" y="450"/>
                  </a:lnTo>
                  <a:lnTo>
                    <a:pt x="329" y="456"/>
                  </a:lnTo>
                  <a:lnTo>
                    <a:pt x="333" y="459"/>
                  </a:lnTo>
                  <a:lnTo>
                    <a:pt x="335" y="461"/>
                  </a:lnTo>
                  <a:lnTo>
                    <a:pt x="339" y="461"/>
                  </a:lnTo>
                  <a:lnTo>
                    <a:pt x="342" y="456"/>
                  </a:lnTo>
                  <a:lnTo>
                    <a:pt x="348" y="448"/>
                  </a:lnTo>
                  <a:lnTo>
                    <a:pt x="352" y="441"/>
                  </a:lnTo>
                  <a:lnTo>
                    <a:pt x="355" y="429"/>
                  </a:lnTo>
                  <a:lnTo>
                    <a:pt x="355" y="429"/>
                  </a:lnTo>
                  <a:lnTo>
                    <a:pt x="363" y="420"/>
                  </a:lnTo>
                  <a:lnTo>
                    <a:pt x="368" y="414"/>
                  </a:lnTo>
                  <a:lnTo>
                    <a:pt x="372" y="414"/>
                  </a:lnTo>
                  <a:lnTo>
                    <a:pt x="374" y="418"/>
                  </a:lnTo>
                  <a:lnTo>
                    <a:pt x="376" y="429"/>
                  </a:lnTo>
                  <a:lnTo>
                    <a:pt x="376" y="444"/>
                  </a:lnTo>
                  <a:lnTo>
                    <a:pt x="376" y="444"/>
                  </a:lnTo>
                  <a:lnTo>
                    <a:pt x="378" y="450"/>
                  </a:lnTo>
                  <a:lnTo>
                    <a:pt x="383" y="459"/>
                  </a:lnTo>
                  <a:lnTo>
                    <a:pt x="400" y="485"/>
                  </a:lnTo>
                  <a:lnTo>
                    <a:pt x="419" y="512"/>
                  </a:lnTo>
                  <a:lnTo>
                    <a:pt x="432" y="530"/>
                  </a:lnTo>
                  <a:lnTo>
                    <a:pt x="432" y="530"/>
                  </a:lnTo>
                  <a:lnTo>
                    <a:pt x="438" y="540"/>
                  </a:lnTo>
                  <a:lnTo>
                    <a:pt x="445" y="543"/>
                  </a:lnTo>
                  <a:lnTo>
                    <a:pt x="451" y="543"/>
                  </a:lnTo>
                  <a:lnTo>
                    <a:pt x="456" y="543"/>
                  </a:lnTo>
                  <a:lnTo>
                    <a:pt x="462" y="540"/>
                  </a:lnTo>
                  <a:lnTo>
                    <a:pt x="456" y="545"/>
                  </a:lnTo>
                  <a:lnTo>
                    <a:pt x="456" y="545"/>
                  </a:lnTo>
                  <a:lnTo>
                    <a:pt x="453" y="553"/>
                  </a:lnTo>
                  <a:lnTo>
                    <a:pt x="447" y="571"/>
                  </a:lnTo>
                  <a:lnTo>
                    <a:pt x="445" y="583"/>
                  </a:lnTo>
                  <a:lnTo>
                    <a:pt x="443" y="592"/>
                  </a:lnTo>
                  <a:lnTo>
                    <a:pt x="447" y="601"/>
                  </a:lnTo>
                  <a:lnTo>
                    <a:pt x="449" y="605"/>
                  </a:lnTo>
                  <a:lnTo>
                    <a:pt x="451" y="609"/>
                  </a:lnTo>
                  <a:lnTo>
                    <a:pt x="451" y="609"/>
                  </a:lnTo>
                  <a:lnTo>
                    <a:pt x="460" y="614"/>
                  </a:lnTo>
                  <a:lnTo>
                    <a:pt x="467" y="622"/>
                  </a:lnTo>
                  <a:lnTo>
                    <a:pt x="475" y="633"/>
                  </a:lnTo>
                  <a:lnTo>
                    <a:pt x="481" y="644"/>
                  </a:lnTo>
                  <a:lnTo>
                    <a:pt x="488" y="656"/>
                  </a:lnTo>
                  <a:lnTo>
                    <a:pt x="488" y="656"/>
                  </a:lnTo>
                  <a:lnTo>
                    <a:pt x="503" y="670"/>
                  </a:lnTo>
                  <a:lnTo>
                    <a:pt x="510" y="682"/>
                  </a:lnTo>
                  <a:lnTo>
                    <a:pt x="510" y="685"/>
                  </a:lnTo>
                  <a:lnTo>
                    <a:pt x="510" y="689"/>
                  </a:lnTo>
                  <a:lnTo>
                    <a:pt x="507" y="693"/>
                  </a:lnTo>
                  <a:lnTo>
                    <a:pt x="501" y="697"/>
                  </a:lnTo>
                  <a:lnTo>
                    <a:pt x="499" y="702"/>
                  </a:lnTo>
                  <a:lnTo>
                    <a:pt x="499" y="704"/>
                  </a:lnTo>
                  <a:lnTo>
                    <a:pt x="501" y="708"/>
                  </a:lnTo>
                  <a:lnTo>
                    <a:pt x="512" y="719"/>
                  </a:lnTo>
                  <a:lnTo>
                    <a:pt x="512" y="719"/>
                  </a:lnTo>
                  <a:lnTo>
                    <a:pt x="516" y="717"/>
                  </a:lnTo>
                  <a:lnTo>
                    <a:pt x="520" y="715"/>
                  </a:lnTo>
                  <a:lnTo>
                    <a:pt x="520" y="715"/>
                  </a:lnTo>
                  <a:lnTo>
                    <a:pt x="529" y="712"/>
                  </a:lnTo>
                  <a:lnTo>
                    <a:pt x="537" y="704"/>
                  </a:lnTo>
                  <a:lnTo>
                    <a:pt x="544" y="697"/>
                  </a:lnTo>
                  <a:lnTo>
                    <a:pt x="550" y="685"/>
                  </a:lnTo>
                  <a:lnTo>
                    <a:pt x="561" y="663"/>
                  </a:lnTo>
                  <a:lnTo>
                    <a:pt x="572" y="642"/>
                  </a:lnTo>
                  <a:lnTo>
                    <a:pt x="572" y="642"/>
                  </a:lnTo>
                  <a:lnTo>
                    <a:pt x="578" y="633"/>
                  </a:lnTo>
                  <a:lnTo>
                    <a:pt x="581" y="620"/>
                  </a:lnTo>
                  <a:lnTo>
                    <a:pt x="587" y="605"/>
                  </a:lnTo>
                  <a:lnTo>
                    <a:pt x="593" y="592"/>
                  </a:lnTo>
                  <a:lnTo>
                    <a:pt x="600" y="581"/>
                  </a:lnTo>
                  <a:lnTo>
                    <a:pt x="604" y="577"/>
                  </a:lnTo>
                  <a:lnTo>
                    <a:pt x="610" y="575"/>
                  </a:lnTo>
                  <a:lnTo>
                    <a:pt x="613" y="575"/>
                  </a:lnTo>
                  <a:lnTo>
                    <a:pt x="619" y="577"/>
                  </a:lnTo>
                  <a:lnTo>
                    <a:pt x="624" y="581"/>
                  </a:lnTo>
                  <a:lnTo>
                    <a:pt x="630" y="586"/>
                  </a:lnTo>
                  <a:lnTo>
                    <a:pt x="630" y="586"/>
                  </a:lnTo>
                  <a:lnTo>
                    <a:pt x="638" y="594"/>
                  </a:lnTo>
                  <a:lnTo>
                    <a:pt x="643" y="599"/>
                  </a:lnTo>
                  <a:lnTo>
                    <a:pt x="651" y="603"/>
                  </a:lnTo>
                  <a:lnTo>
                    <a:pt x="656" y="607"/>
                  </a:lnTo>
                  <a:lnTo>
                    <a:pt x="669" y="609"/>
                  </a:lnTo>
                  <a:lnTo>
                    <a:pt x="682" y="609"/>
                  </a:lnTo>
                  <a:lnTo>
                    <a:pt x="709" y="605"/>
                  </a:lnTo>
                  <a:lnTo>
                    <a:pt x="722" y="603"/>
                  </a:lnTo>
                  <a:lnTo>
                    <a:pt x="737" y="605"/>
                  </a:lnTo>
                  <a:lnTo>
                    <a:pt x="737" y="605"/>
                  </a:lnTo>
                  <a:lnTo>
                    <a:pt x="744" y="605"/>
                  </a:lnTo>
                  <a:lnTo>
                    <a:pt x="750" y="605"/>
                  </a:lnTo>
                  <a:lnTo>
                    <a:pt x="755" y="601"/>
                  </a:lnTo>
                  <a:lnTo>
                    <a:pt x="757" y="596"/>
                  </a:lnTo>
                  <a:lnTo>
                    <a:pt x="757" y="588"/>
                  </a:lnTo>
                  <a:lnTo>
                    <a:pt x="755" y="577"/>
                  </a:lnTo>
                  <a:lnTo>
                    <a:pt x="750" y="566"/>
                  </a:lnTo>
                  <a:lnTo>
                    <a:pt x="740" y="553"/>
                  </a:lnTo>
                  <a:lnTo>
                    <a:pt x="740" y="553"/>
                  </a:lnTo>
                  <a:lnTo>
                    <a:pt x="733" y="543"/>
                  </a:lnTo>
                  <a:lnTo>
                    <a:pt x="729" y="532"/>
                  </a:lnTo>
                  <a:lnTo>
                    <a:pt x="729" y="525"/>
                  </a:lnTo>
                  <a:lnTo>
                    <a:pt x="731" y="519"/>
                  </a:lnTo>
                  <a:lnTo>
                    <a:pt x="735" y="515"/>
                  </a:lnTo>
                  <a:lnTo>
                    <a:pt x="740" y="514"/>
                  </a:lnTo>
                  <a:lnTo>
                    <a:pt x="740" y="514"/>
                  </a:lnTo>
                  <a:lnTo>
                    <a:pt x="763" y="510"/>
                  </a:lnTo>
                  <a:lnTo>
                    <a:pt x="780" y="504"/>
                  </a:lnTo>
                  <a:lnTo>
                    <a:pt x="795" y="499"/>
                  </a:lnTo>
                  <a:lnTo>
                    <a:pt x="806" y="493"/>
                  </a:lnTo>
                  <a:lnTo>
                    <a:pt x="815" y="485"/>
                  </a:lnTo>
                  <a:lnTo>
                    <a:pt x="823" y="480"/>
                  </a:lnTo>
                  <a:lnTo>
                    <a:pt x="828" y="472"/>
                  </a:lnTo>
                  <a:lnTo>
                    <a:pt x="834" y="465"/>
                  </a:lnTo>
                  <a:lnTo>
                    <a:pt x="838" y="452"/>
                  </a:lnTo>
                  <a:lnTo>
                    <a:pt x="841" y="441"/>
                  </a:lnTo>
                  <a:lnTo>
                    <a:pt x="845" y="433"/>
                  </a:lnTo>
                  <a:lnTo>
                    <a:pt x="847" y="431"/>
                  </a:lnTo>
                  <a:lnTo>
                    <a:pt x="851" y="429"/>
                  </a:lnTo>
                  <a:lnTo>
                    <a:pt x="851" y="429"/>
                  </a:lnTo>
                  <a:lnTo>
                    <a:pt x="858" y="429"/>
                  </a:lnTo>
                  <a:lnTo>
                    <a:pt x="862" y="431"/>
                  </a:lnTo>
                  <a:lnTo>
                    <a:pt x="864" y="433"/>
                  </a:lnTo>
                  <a:lnTo>
                    <a:pt x="866" y="433"/>
                  </a:lnTo>
                  <a:lnTo>
                    <a:pt x="879" y="424"/>
                  </a:lnTo>
                  <a:lnTo>
                    <a:pt x="879" y="424"/>
                  </a:lnTo>
                  <a:lnTo>
                    <a:pt x="882" y="420"/>
                  </a:lnTo>
                  <a:lnTo>
                    <a:pt x="884" y="414"/>
                  </a:lnTo>
                  <a:lnTo>
                    <a:pt x="884" y="407"/>
                  </a:lnTo>
                  <a:lnTo>
                    <a:pt x="880" y="401"/>
                  </a:lnTo>
                  <a:lnTo>
                    <a:pt x="875" y="386"/>
                  </a:lnTo>
                  <a:lnTo>
                    <a:pt x="875" y="379"/>
                  </a:lnTo>
                  <a:lnTo>
                    <a:pt x="877" y="372"/>
                  </a:lnTo>
                  <a:lnTo>
                    <a:pt x="877" y="372"/>
                  </a:lnTo>
                  <a:lnTo>
                    <a:pt x="884" y="355"/>
                  </a:lnTo>
                  <a:lnTo>
                    <a:pt x="888" y="345"/>
                  </a:lnTo>
                  <a:lnTo>
                    <a:pt x="892" y="343"/>
                  </a:lnTo>
                  <a:lnTo>
                    <a:pt x="894" y="342"/>
                  </a:lnTo>
                  <a:lnTo>
                    <a:pt x="894" y="342"/>
                  </a:lnTo>
                  <a:lnTo>
                    <a:pt x="907" y="351"/>
                  </a:lnTo>
                  <a:lnTo>
                    <a:pt x="931" y="372"/>
                  </a:lnTo>
                  <a:lnTo>
                    <a:pt x="968" y="403"/>
                  </a:lnTo>
                  <a:lnTo>
                    <a:pt x="968" y="403"/>
                  </a:lnTo>
                  <a:lnTo>
                    <a:pt x="968" y="401"/>
                  </a:lnTo>
                  <a:lnTo>
                    <a:pt x="968" y="394"/>
                  </a:lnTo>
                  <a:lnTo>
                    <a:pt x="966" y="390"/>
                  </a:lnTo>
                  <a:lnTo>
                    <a:pt x="965" y="385"/>
                  </a:lnTo>
                  <a:lnTo>
                    <a:pt x="961" y="381"/>
                  </a:lnTo>
                  <a:lnTo>
                    <a:pt x="955" y="375"/>
                  </a:lnTo>
                  <a:lnTo>
                    <a:pt x="955" y="375"/>
                  </a:lnTo>
                  <a:lnTo>
                    <a:pt x="948" y="372"/>
                  </a:lnTo>
                  <a:lnTo>
                    <a:pt x="946" y="368"/>
                  </a:lnTo>
                  <a:lnTo>
                    <a:pt x="944" y="364"/>
                  </a:lnTo>
                  <a:lnTo>
                    <a:pt x="946" y="362"/>
                  </a:lnTo>
                  <a:lnTo>
                    <a:pt x="953" y="357"/>
                  </a:lnTo>
                  <a:lnTo>
                    <a:pt x="965" y="351"/>
                  </a:lnTo>
                  <a:lnTo>
                    <a:pt x="980" y="345"/>
                  </a:lnTo>
                  <a:lnTo>
                    <a:pt x="993" y="336"/>
                  </a:lnTo>
                  <a:lnTo>
                    <a:pt x="998" y="330"/>
                  </a:lnTo>
                  <a:lnTo>
                    <a:pt x="1002" y="323"/>
                  </a:lnTo>
                  <a:lnTo>
                    <a:pt x="1006" y="315"/>
                  </a:lnTo>
                  <a:lnTo>
                    <a:pt x="1006" y="304"/>
                  </a:lnTo>
                  <a:lnTo>
                    <a:pt x="1006" y="304"/>
                  </a:lnTo>
                  <a:lnTo>
                    <a:pt x="1006" y="291"/>
                  </a:lnTo>
                  <a:lnTo>
                    <a:pt x="1008" y="276"/>
                  </a:lnTo>
                  <a:lnTo>
                    <a:pt x="1009" y="263"/>
                  </a:lnTo>
                  <a:lnTo>
                    <a:pt x="1008" y="250"/>
                  </a:lnTo>
                  <a:lnTo>
                    <a:pt x="1008" y="250"/>
                  </a:lnTo>
                  <a:lnTo>
                    <a:pt x="981" y="256"/>
                  </a:lnTo>
                  <a:lnTo>
                    <a:pt x="970" y="256"/>
                  </a:lnTo>
                  <a:lnTo>
                    <a:pt x="959" y="252"/>
                  </a:lnTo>
                  <a:lnTo>
                    <a:pt x="937" y="244"/>
                  </a:lnTo>
                  <a:lnTo>
                    <a:pt x="937" y="244"/>
                  </a:lnTo>
                  <a:lnTo>
                    <a:pt x="929" y="239"/>
                  </a:lnTo>
                  <a:lnTo>
                    <a:pt x="923" y="231"/>
                  </a:lnTo>
                  <a:lnTo>
                    <a:pt x="912" y="213"/>
                  </a:lnTo>
                  <a:lnTo>
                    <a:pt x="907" y="205"/>
                  </a:lnTo>
                  <a:lnTo>
                    <a:pt x="903" y="201"/>
                  </a:lnTo>
                  <a:lnTo>
                    <a:pt x="899" y="201"/>
                  </a:lnTo>
                  <a:lnTo>
                    <a:pt x="897" y="201"/>
                  </a:lnTo>
                  <a:lnTo>
                    <a:pt x="892" y="209"/>
                  </a:lnTo>
                  <a:lnTo>
                    <a:pt x="892" y="209"/>
                  </a:lnTo>
                  <a:lnTo>
                    <a:pt x="886" y="215"/>
                  </a:lnTo>
                  <a:lnTo>
                    <a:pt x="880" y="216"/>
                  </a:lnTo>
                  <a:lnTo>
                    <a:pt x="875" y="215"/>
                  </a:lnTo>
                  <a:lnTo>
                    <a:pt x="871" y="213"/>
                  </a:lnTo>
                  <a:lnTo>
                    <a:pt x="866" y="209"/>
                  </a:lnTo>
                  <a:lnTo>
                    <a:pt x="858" y="209"/>
                  </a:lnTo>
                  <a:lnTo>
                    <a:pt x="851" y="215"/>
                  </a:lnTo>
                  <a:lnTo>
                    <a:pt x="841" y="224"/>
                  </a:lnTo>
                  <a:lnTo>
                    <a:pt x="841" y="224"/>
                  </a:lnTo>
                  <a:lnTo>
                    <a:pt x="834" y="231"/>
                  </a:lnTo>
                  <a:lnTo>
                    <a:pt x="826" y="237"/>
                  </a:lnTo>
                  <a:lnTo>
                    <a:pt x="809" y="243"/>
                  </a:lnTo>
                  <a:lnTo>
                    <a:pt x="804" y="246"/>
                  </a:lnTo>
                  <a:lnTo>
                    <a:pt x="800" y="252"/>
                  </a:lnTo>
                  <a:lnTo>
                    <a:pt x="798" y="259"/>
                  </a:lnTo>
                  <a:lnTo>
                    <a:pt x="802" y="271"/>
                  </a:lnTo>
                  <a:lnTo>
                    <a:pt x="802" y="271"/>
                  </a:lnTo>
                  <a:lnTo>
                    <a:pt x="802" y="276"/>
                  </a:lnTo>
                  <a:lnTo>
                    <a:pt x="798" y="280"/>
                  </a:lnTo>
                  <a:lnTo>
                    <a:pt x="795" y="286"/>
                  </a:lnTo>
                  <a:lnTo>
                    <a:pt x="787" y="287"/>
                  </a:lnTo>
                  <a:lnTo>
                    <a:pt x="778" y="287"/>
                  </a:lnTo>
                  <a:lnTo>
                    <a:pt x="768" y="284"/>
                  </a:lnTo>
                  <a:lnTo>
                    <a:pt x="757" y="274"/>
                  </a:lnTo>
                  <a:lnTo>
                    <a:pt x="748" y="259"/>
                  </a:lnTo>
                  <a:lnTo>
                    <a:pt x="748" y="259"/>
                  </a:lnTo>
                  <a:lnTo>
                    <a:pt x="733" y="237"/>
                  </a:lnTo>
                  <a:lnTo>
                    <a:pt x="724" y="222"/>
                  </a:lnTo>
                  <a:lnTo>
                    <a:pt x="714" y="207"/>
                  </a:lnTo>
                  <a:lnTo>
                    <a:pt x="705" y="181"/>
                  </a:lnTo>
                  <a:lnTo>
                    <a:pt x="705" y="181"/>
                  </a:lnTo>
                  <a:lnTo>
                    <a:pt x="703" y="173"/>
                  </a:lnTo>
                  <a:lnTo>
                    <a:pt x="699" y="168"/>
                  </a:lnTo>
                  <a:lnTo>
                    <a:pt x="697" y="164"/>
                  </a:lnTo>
                  <a:lnTo>
                    <a:pt x="694" y="164"/>
                  </a:lnTo>
                  <a:lnTo>
                    <a:pt x="690" y="164"/>
                  </a:lnTo>
                  <a:lnTo>
                    <a:pt x="686" y="164"/>
                  </a:lnTo>
                  <a:lnTo>
                    <a:pt x="681" y="170"/>
                  </a:lnTo>
                  <a:lnTo>
                    <a:pt x="675" y="181"/>
                  </a:lnTo>
                  <a:lnTo>
                    <a:pt x="673" y="192"/>
                  </a:lnTo>
                  <a:lnTo>
                    <a:pt x="671" y="205"/>
                  </a:lnTo>
                  <a:lnTo>
                    <a:pt x="675" y="218"/>
                  </a:lnTo>
                  <a:lnTo>
                    <a:pt x="675" y="218"/>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 name="Freeform 9">
              <a:extLst>
                <a:ext uri="{FF2B5EF4-FFF2-40B4-BE49-F238E27FC236}">
                  <a16:creationId xmlns:a16="http://schemas.microsoft.com/office/drawing/2014/main" id="{F1ADCBE6-030A-41A2-ABD1-2372918F3131}"/>
                </a:ext>
              </a:extLst>
            </p:cNvPr>
            <p:cNvSpPr>
              <a:spLocks noEditPoints="1"/>
            </p:cNvSpPr>
            <p:nvPr/>
          </p:nvSpPr>
          <p:spPr bwMode="auto">
            <a:xfrm>
              <a:off x="6152495" y="2960567"/>
              <a:ext cx="659449" cy="630381"/>
            </a:xfrm>
            <a:custGeom>
              <a:avLst/>
              <a:gdLst/>
              <a:ahLst/>
              <a:cxnLst>
                <a:cxn ang="0">
                  <a:pos x="591" y="58"/>
                </a:cxn>
                <a:cxn ang="0">
                  <a:pos x="567" y="55"/>
                </a:cxn>
                <a:cxn ang="0">
                  <a:pos x="539" y="43"/>
                </a:cxn>
                <a:cxn ang="0">
                  <a:pos x="479" y="4"/>
                </a:cxn>
                <a:cxn ang="0">
                  <a:pos x="464" y="45"/>
                </a:cxn>
                <a:cxn ang="0">
                  <a:pos x="436" y="66"/>
                </a:cxn>
                <a:cxn ang="0">
                  <a:pos x="406" y="109"/>
                </a:cxn>
                <a:cxn ang="0">
                  <a:pos x="339" y="113"/>
                </a:cxn>
                <a:cxn ang="0">
                  <a:pos x="307" y="128"/>
                </a:cxn>
                <a:cxn ang="0">
                  <a:pos x="281" y="165"/>
                </a:cxn>
                <a:cxn ang="0">
                  <a:pos x="219" y="195"/>
                </a:cxn>
                <a:cxn ang="0">
                  <a:pos x="139" y="264"/>
                </a:cxn>
                <a:cxn ang="0">
                  <a:pos x="92" y="243"/>
                </a:cxn>
                <a:cxn ang="0">
                  <a:pos x="53" y="213"/>
                </a:cxn>
                <a:cxn ang="0">
                  <a:pos x="30" y="241"/>
                </a:cxn>
                <a:cxn ang="0">
                  <a:pos x="47" y="327"/>
                </a:cxn>
                <a:cxn ang="0">
                  <a:pos x="32" y="365"/>
                </a:cxn>
                <a:cxn ang="0">
                  <a:pos x="2" y="436"/>
                </a:cxn>
                <a:cxn ang="0">
                  <a:pos x="56" y="466"/>
                </a:cxn>
                <a:cxn ang="0">
                  <a:pos x="92" y="497"/>
                </a:cxn>
                <a:cxn ang="0">
                  <a:pos x="114" y="535"/>
                </a:cxn>
                <a:cxn ang="0">
                  <a:pos x="226" y="410"/>
                </a:cxn>
                <a:cxn ang="0">
                  <a:pos x="286" y="385"/>
                </a:cxn>
                <a:cxn ang="0">
                  <a:pos x="322" y="369"/>
                </a:cxn>
                <a:cxn ang="0">
                  <a:pos x="355" y="417"/>
                </a:cxn>
                <a:cxn ang="0">
                  <a:pos x="335" y="499"/>
                </a:cxn>
                <a:cxn ang="0">
                  <a:pos x="299" y="557"/>
                </a:cxn>
                <a:cxn ang="0">
                  <a:pos x="273" y="595"/>
                </a:cxn>
                <a:cxn ang="0">
                  <a:pos x="320" y="604"/>
                </a:cxn>
                <a:cxn ang="0">
                  <a:pos x="327" y="638"/>
                </a:cxn>
                <a:cxn ang="0">
                  <a:pos x="400" y="587"/>
                </a:cxn>
                <a:cxn ang="0">
                  <a:pos x="486" y="527"/>
                </a:cxn>
                <a:cxn ang="0">
                  <a:pos x="561" y="503"/>
                </a:cxn>
                <a:cxn ang="0">
                  <a:pos x="613" y="447"/>
                </a:cxn>
                <a:cxn ang="0">
                  <a:pos x="669" y="387"/>
                </a:cxn>
                <a:cxn ang="0">
                  <a:pos x="727" y="333"/>
                </a:cxn>
                <a:cxn ang="0">
                  <a:pos x="725" y="296"/>
                </a:cxn>
                <a:cxn ang="0">
                  <a:pos x="666" y="223"/>
                </a:cxn>
                <a:cxn ang="0">
                  <a:pos x="671" y="159"/>
                </a:cxn>
                <a:cxn ang="0">
                  <a:pos x="647" y="144"/>
                </a:cxn>
                <a:cxn ang="0">
                  <a:pos x="271" y="690"/>
                </a:cxn>
                <a:cxn ang="0">
                  <a:pos x="305" y="681"/>
                </a:cxn>
                <a:cxn ang="0">
                  <a:pos x="305" y="651"/>
                </a:cxn>
                <a:cxn ang="0">
                  <a:pos x="440" y="632"/>
                </a:cxn>
                <a:cxn ang="0">
                  <a:pos x="458" y="625"/>
                </a:cxn>
                <a:cxn ang="0">
                  <a:pos x="484" y="625"/>
                </a:cxn>
                <a:cxn ang="0">
                  <a:pos x="486" y="615"/>
                </a:cxn>
                <a:cxn ang="0">
                  <a:pos x="397" y="626"/>
                </a:cxn>
                <a:cxn ang="0">
                  <a:pos x="402" y="610"/>
                </a:cxn>
                <a:cxn ang="0">
                  <a:pos x="449" y="606"/>
                </a:cxn>
                <a:cxn ang="0">
                  <a:pos x="413" y="595"/>
                </a:cxn>
                <a:cxn ang="0">
                  <a:pos x="462" y="595"/>
                </a:cxn>
                <a:cxn ang="0">
                  <a:pos x="473" y="589"/>
                </a:cxn>
                <a:cxn ang="0">
                  <a:pos x="462" y="595"/>
                </a:cxn>
                <a:cxn ang="0">
                  <a:pos x="475" y="578"/>
                </a:cxn>
                <a:cxn ang="0">
                  <a:pos x="468" y="557"/>
                </a:cxn>
                <a:cxn ang="0">
                  <a:pos x="468" y="563"/>
                </a:cxn>
                <a:cxn ang="0">
                  <a:pos x="228" y="456"/>
                </a:cxn>
                <a:cxn ang="0">
                  <a:pos x="213" y="462"/>
                </a:cxn>
              </a:cxnLst>
              <a:rect l="0" t="0" r="r" b="b"/>
              <a:pathLst>
                <a:path w="727" h="696">
                  <a:moveTo>
                    <a:pt x="647" y="144"/>
                  </a:moveTo>
                  <a:lnTo>
                    <a:pt x="647" y="144"/>
                  </a:lnTo>
                  <a:lnTo>
                    <a:pt x="634" y="126"/>
                  </a:lnTo>
                  <a:lnTo>
                    <a:pt x="615" y="99"/>
                  </a:lnTo>
                  <a:lnTo>
                    <a:pt x="598" y="73"/>
                  </a:lnTo>
                  <a:lnTo>
                    <a:pt x="593" y="64"/>
                  </a:lnTo>
                  <a:lnTo>
                    <a:pt x="591" y="58"/>
                  </a:lnTo>
                  <a:lnTo>
                    <a:pt x="591" y="58"/>
                  </a:lnTo>
                  <a:lnTo>
                    <a:pt x="591" y="43"/>
                  </a:lnTo>
                  <a:lnTo>
                    <a:pt x="589" y="32"/>
                  </a:lnTo>
                  <a:lnTo>
                    <a:pt x="587" y="28"/>
                  </a:lnTo>
                  <a:lnTo>
                    <a:pt x="583" y="28"/>
                  </a:lnTo>
                  <a:lnTo>
                    <a:pt x="578" y="34"/>
                  </a:lnTo>
                  <a:lnTo>
                    <a:pt x="570" y="43"/>
                  </a:lnTo>
                  <a:lnTo>
                    <a:pt x="570" y="43"/>
                  </a:lnTo>
                  <a:lnTo>
                    <a:pt x="567" y="55"/>
                  </a:lnTo>
                  <a:lnTo>
                    <a:pt x="563" y="62"/>
                  </a:lnTo>
                  <a:lnTo>
                    <a:pt x="557" y="70"/>
                  </a:lnTo>
                  <a:lnTo>
                    <a:pt x="554" y="75"/>
                  </a:lnTo>
                  <a:lnTo>
                    <a:pt x="550" y="75"/>
                  </a:lnTo>
                  <a:lnTo>
                    <a:pt x="548" y="73"/>
                  </a:lnTo>
                  <a:lnTo>
                    <a:pt x="544" y="70"/>
                  </a:lnTo>
                  <a:lnTo>
                    <a:pt x="542" y="64"/>
                  </a:lnTo>
                  <a:lnTo>
                    <a:pt x="539" y="43"/>
                  </a:lnTo>
                  <a:lnTo>
                    <a:pt x="539" y="43"/>
                  </a:lnTo>
                  <a:lnTo>
                    <a:pt x="535" y="36"/>
                  </a:lnTo>
                  <a:lnTo>
                    <a:pt x="531" y="30"/>
                  </a:lnTo>
                  <a:lnTo>
                    <a:pt x="524" y="27"/>
                  </a:lnTo>
                  <a:lnTo>
                    <a:pt x="516" y="25"/>
                  </a:lnTo>
                  <a:lnTo>
                    <a:pt x="497" y="17"/>
                  </a:lnTo>
                  <a:lnTo>
                    <a:pt x="488" y="12"/>
                  </a:lnTo>
                  <a:lnTo>
                    <a:pt x="479" y="4"/>
                  </a:lnTo>
                  <a:lnTo>
                    <a:pt x="479" y="4"/>
                  </a:lnTo>
                  <a:lnTo>
                    <a:pt x="477" y="2"/>
                  </a:lnTo>
                  <a:lnTo>
                    <a:pt x="473" y="0"/>
                  </a:lnTo>
                  <a:lnTo>
                    <a:pt x="471" y="0"/>
                  </a:lnTo>
                  <a:lnTo>
                    <a:pt x="469" y="2"/>
                  </a:lnTo>
                  <a:lnTo>
                    <a:pt x="464" y="14"/>
                  </a:lnTo>
                  <a:lnTo>
                    <a:pt x="464" y="14"/>
                  </a:lnTo>
                  <a:lnTo>
                    <a:pt x="464" y="45"/>
                  </a:lnTo>
                  <a:lnTo>
                    <a:pt x="460" y="62"/>
                  </a:lnTo>
                  <a:lnTo>
                    <a:pt x="458" y="66"/>
                  </a:lnTo>
                  <a:lnTo>
                    <a:pt x="456" y="68"/>
                  </a:lnTo>
                  <a:lnTo>
                    <a:pt x="454" y="70"/>
                  </a:lnTo>
                  <a:lnTo>
                    <a:pt x="451" y="68"/>
                  </a:lnTo>
                  <a:lnTo>
                    <a:pt x="445" y="66"/>
                  </a:lnTo>
                  <a:lnTo>
                    <a:pt x="441" y="66"/>
                  </a:lnTo>
                  <a:lnTo>
                    <a:pt x="436" y="66"/>
                  </a:lnTo>
                  <a:lnTo>
                    <a:pt x="432" y="70"/>
                  </a:lnTo>
                  <a:lnTo>
                    <a:pt x="428" y="75"/>
                  </a:lnTo>
                  <a:lnTo>
                    <a:pt x="423" y="83"/>
                  </a:lnTo>
                  <a:lnTo>
                    <a:pt x="419" y="96"/>
                  </a:lnTo>
                  <a:lnTo>
                    <a:pt x="419" y="96"/>
                  </a:lnTo>
                  <a:lnTo>
                    <a:pt x="415" y="101"/>
                  </a:lnTo>
                  <a:lnTo>
                    <a:pt x="411" y="105"/>
                  </a:lnTo>
                  <a:lnTo>
                    <a:pt x="406" y="109"/>
                  </a:lnTo>
                  <a:lnTo>
                    <a:pt x="400" y="111"/>
                  </a:lnTo>
                  <a:lnTo>
                    <a:pt x="385" y="113"/>
                  </a:lnTo>
                  <a:lnTo>
                    <a:pt x="370" y="111"/>
                  </a:lnTo>
                  <a:lnTo>
                    <a:pt x="346" y="107"/>
                  </a:lnTo>
                  <a:lnTo>
                    <a:pt x="339" y="109"/>
                  </a:lnTo>
                  <a:lnTo>
                    <a:pt x="339" y="111"/>
                  </a:lnTo>
                  <a:lnTo>
                    <a:pt x="339" y="113"/>
                  </a:lnTo>
                  <a:lnTo>
                    <a:pt x="339" y="113"/>
                  </a:lnTo>
                  <a:lnTo>
                    <a:pt x="340" y="114"/>
                  </a:lnTo>
                  <a:lnTo>
                    <a:pt x="344" y="116"/>
                  </a:lnTo>
                  <a:lnTo>
                    <a:pt x="346" y="118"/>
                  </a:lnTo>
                  <a:lnTo>
                    <a:pt x="348" y="120"/>
                  </a:lnTo>
                  <a:lnTo>
                    <a:pt x="344" y="122"/>
                  </a:lnTo>
                  <a:lnTo>
                    <a:pt x="339" y="124"/>
                  </a:lnTo>
                  <a:lnTo>
                    <a:pt x="307" y="128"/>
                  </a:lnTo>
                  <a:lnTo>
                    <a:pt x="307" y="128"/>
                  </a:lnTo>
                  <a:lnTo>
                    <a:pt x="301" y="129"/>
                  </a:lnTo>
                  <a:lnTo>
                    <a:pt x="297" y="131"/>
                  </a:lnTo>
                  <a:lnTo>
                    <a:pt x="294" y="137"/>
                  </a:lnTo>
                  <a:lnTo>
                    <a:pt x="292" y="144"/>
                  </a:lnTo>
                  <a:lnTo>
                    <a:pt x="292" y="150"/>
                  </a:lnTo>
                  <a:lnTo>
                    <a:pt x="290" y="157"/>
                  </a:lnTo>
                  <a:lnTo>
                    <a:pt x="284" y="163"/>
                  </a:lnTo>
                  <a:lnTo>
                    <a:pt x="281" y="165"/>
                  </a:lnTo>
                  <a:lnTo>
                    <a:pt x="275" y="165"/>
                  </a:lnTo>
                  <a:lnTo>
                    <a:pt x="260" y="165"/>
                  </a:lnTo>
                  <a:lnTo>
                    <a:pt x="260" y="165"/>
                  </a:lnTo>
                  <a:lnTo>
                    <a:pt x="255" y="165"/>
                  </a:lnTo>
                  <a:lnTo>
                    <a:pt x="249" y="169"/>
                  </a:lnTo>
                  <a:lnTo>
                    <a:pt x="236" y="180"/>
                  </a:lnTo>
                  <a:lnTo>
                    <a:pt x="228" y="187"/>
                  </a:lnTo>
                  <a:lnTo>
                    <a:pt x="219" y="195"/>
                  </a:lnTo>
                  <a:lnTo>
                    <a:pt x="208" y="202"/>
                  </a:lnTo>
                  <a:lnTo>
                    <a:pt x="195" y="210"/>
                  </a:lnTo>
                  <a:lnTo>
                    <a:pt x="195" y="210"/>
                  </a:lnTo>
                  <a:lnTo>
                    <a:pt x="185" y="213"/>
                  </a:lnTo>
                  <a:lnTo>
                    <a:pt x="176" y="219"/>
                  </a:lnTo>
                  <a:lnTo>
                    <a:pt x="161" y="232"/>
                  </a:lnTo>
                  <a:lnTo>
                    <a:pt x="148" y="247"/>
                  </a:lnTo>
                  <a:lnTo>
                    <a:pt x="139" y="264"/>
                  </a:lnTo>
                  <a:lnTo>
                    <a:pt x="129" y="277"/>
                  </a:lnTo>
                  <a:lnTo>
                    <a:pt x="124" y="286"/>
                  </a:lnTo>
                  <a:lnTo>
                    <a:pt x="120" y="288"/>
                  </a:lnTo>
                  <a:lnTo>
                    <a:pt x="118" y="290"/>
                  </a:lnTo>
                  <a:lnTo>
                    <a:pt x="116" y="288"/>
                  </a:lnTo>
                  <a:lnTo>
                    <a:pt x="112" y="284"/>
                  </a:lnTo>
                  <a:lnTo>
                    <a:pt x="112" y="284"/>
                  </a:lnTo>
                  <a:lnTo>
                    <a:pt x="92" y="243"/>
                  </a:lnTo>
                  <a:lnTo>
                    <a:pt x="86" y="234"/>
                  </a:lnTo>
                  <a:lnTo>
                    <a:pt x="81" y="228"/>
                  </a:lnTo>
                  <a:lnTo>
                    <a:pt x="77" y="227"/>
                  </a:lnTo>
                  <a:lnTo>
                    <a:pt x="73" y="225"/>
                  </a:lnTo>
                  <a:lnTo>
                    <a:pt x="68" y="221"/>
                  </a:lnTo>
                  <a:lnTo>
                    <a:pt x="56" y="215"/>
                  </a:lnTo>
                  <a:lnTo>
                    <a:pt x="56" y="215"/>
                  </a:lnTo>
                  <a:lnTo>
                    <a:pt x="53" y="213"/>
                  </a:lnTo>
                  <a:lnTo>
                    <a:pt x="47" y="212"/>
                  </a:lnTo>
                  <a:lnTo>
                    <a:pt x="40" y="213"/>
                  </a:lnTo>
                  <a:lnTo>
                    <a:pt x="32" y="215"/>
                  </a:lnTo>
                  <a:lnTo>
                    <a:pt x="27" y="219"/>
                  </a:lnTo>
                  <a:lnTo>
                    <a:pt x="25" y="225"/>
                  </a:lnTo>
                  <a:lnTo>
                    <a:pt x="25" y="232"/>
                  </a:lnTo>
                  <a:lnTo>
                    <a:pt x="30" y="241"/>
                  </a:lnTo>
                  <a:lnTo>
                    <a:pt x="30" y="241"/>
                  </a:lnTo>
                  <a:lnTo>
                    <a:pt x="36" y="249"/>
                  </a:lnTo>
                  <a:lnTo>
                    <a:pt x="38" y="255"/>
                  </a:lnTo>
                  <a:lnTo>
                    <a:pt x="38" y="271"/>
                  </a:lnTo>
                  <a:lnTo>
                    <a:pt x="38" y="281"/>
                  </a:lnTo>
                  <a:lnTo>
                    <a:pt x="38" y="294"/>
                  </a:lnTo>
                  <a:lnTo>
                    <a:pt x="41" y="309"/>
                  </a:lnTo>
                  <a:lnTo>
                    <a:pt x="47" y="327"/>
                  </a:lnTo>
                  <a:lnTo>
                    <a:pt x="47" y="327"/>
                  </a:lnTo>
                  <a:lnTo>
                    <a:pt x="49" y="333"/>
                  </a:lnTo>
                  <a:lnTo>
                    <a:pt x="51" y="339"/>
                  </a:lnTo>
                  <a:lnTo>
                    <a:pt x="51" y="342"/>
                  </a:lnTo>
                  <a:lnTo>
                    <a:pt x="47" y="346"/>
                  </a:lnTo>
                  <a:lnTo>
                    <a:pt x="41" y="352"/>
                  </a:lnTo>
                  <a:lnTo>
                    <a:pt x="32" y="357"/>
                  </a:lnTo>
                  <a:lnTo>
                    <a:pt x="32" y="357"/>
                  </a:lnTo>
                  <a:lnTo>
                    <a:pt x="32" y="365"/>
                  </a:lnTo>
                  <a:lnTo>
                    <a:pt x="30" y="372"/>
                  </a:lnTo>
                  <a:lnTo>
                    <a:pt x="21" y="387"/>
                  </a:lnTo>
                  <a:lnTo>
                    <a:pt x="21" y="387"/>
                  </a:lnTo>
                  <a:lnTo>
                    <a:pt x="8" y="410"/>
                  </a:lnTo>
                  <a:lnTo>
                    <a:pt x="2" y="425"/>
                  </a:lnTo>
                  <a:lnTo>
                    <a:pt x="0" y="430"/>
                  </a:lnTo>
                  <a:lnTo>
                    <a:pt x="2" y="434"/>
                  </a:lnTo>
                  <a:lnTo>
                    <a:pt x="2" y="436"/>
                  </a:lnTo>
                  <a:lnTo>
                    <a:pt x="6" y="438"/>
                  </a:lnTo>
                  <a:lnTo>
                    <a:pt x="12" y="441"/>
                  </a:lnTo>
                  <a:lnTo>
                    <a:pt x="21" y="445"/>
                  </a:lnTo>
                  <a:lnTo>
                    <a:pt x="32" y="449"/>
                  </a:lnTo>
                  <a:lnTo>
                    <a:pt x="41" y="456"/>
                  </a:lnTo>
                  <a:lnTo>
                    <a:pt x="41" y="456"/>
                  </a:lnTo>
                  <a:lnTo>
                    <a:pt x="49" y="462"/>
                  </a:lnTo>
                  <a:lnTo>
                    <a:pt x="56" y="466"/>
                  </a:lnTo>
                  <a:lnTo>
                    <a:pt x="62" y="464"/>
                  </a:lnTo>
                  <a:lnTo>
                    <a:pt x="68" y="464"/>
                  </a:lnTo>
                  <a:lnTo>
                    <a:pt x="73" y="462"/>
                  </a:lnTo>
                  <a:lnTo>
                    <a:pt x="77" y="464"/>
                  </a:lnTo>
                  <a:lnTo>
                    <a:pt x="81" y="469"/>
                  </a:lnTo>
                  <a:lnTo>
                    <a:pt x="86" y="479"/>
                  </a:lnTo>
                  <a:lnTo>
                    <a:pt x="86" y="479"/>
                  </a:lnTo>
                  <a:lnTo>
                    <a:pt x="92" y="497"/>
                  </a:lnTo>
                  <a:lnTo>
                    <a:pt x="98" y="509"/>
                  </a:lnTo>
                  <a:lnTo>
                    <a:pt x="101" y="514"/>
                  </a:lnTo>
                  <a:lnTo>
                    <a:pt x="105" y="516"/>
                  </a:lnTo>
                  <a:lnTo>
                    <a:pt x="107" y="518"/>
                  </a:lnTo>
                  <a:lnTo>
                    <a:pt x="109" y="520"/>
                  </a:lnTo>
                  <a:lnTo>
                    <a:pt x="112" y="526"/>
                  </a:lnTo>
                  <a:lnTo>
                    <a:pt x="114" y="535"/>
                  </a:lnTo>
                  <a:lnTo>
                    <a:pt x="114" y="535"/>
                  </a:lnTo>
                  <a:lnTo>
                    <a:pt x="135" y="522"/>
                  </a:lnTo>
                  <a:lnTo>
                    <a:pt x="159" y="505"/>
                  </a:lnTo>
                  <a:lnTo>
                    <a:pt x="159" y="505"/>
                  </a:lnTo>
                  <a:lnTo>
                    <a:pt x="165" y="499"/>
                  </a:lnTo>
                  <a:lnTo>
                    <a:pt x="172" y="494"/>
                  </a:lnTo>
                  <a:lnTo>
                    <a:pt x="185" y="475"/>
                  </a:lnTo>
                  <a:lnTo>
                    <a:pt x="212" y="430"/>
                  </a:lnTo>
                  <a:lnTo>
                    <a:pt x="226" y="410"/>
                  </a:lnTo>
                  <a:lnTo>
                    <a:pt x="234" y="400"/>
                  </a:lnTo>
                  <a:lnTo>
                    <a:pt x="241" y="393"/>
                  </a:lnTo>
                  <a:lnTo>
                    <a:pt x="249" y="387"/>
                  </a:lnTo>
                  <a:lnTo>
                    <a:pt x="258" y="383"/>
                  </a:lnTo>
                  <a:lnTo>
                    <a:pt x="266" y="382"/>
                  </a:lnTo>
                  <a:lnTo>
                    <a:pt x="275" y="382"/>
                  </a:lnTo>
                  <a:lnTo>
                    <a:pt x="275" y="382"/>
                  </a:lnTo>
                  <a:lnTo>
                    <a:pt x="286" y="385"/>
                  </a:lnTo>
                  <a:lnTo>
                    <a:pt x="296" y="383"/>
                  </a:lnTo>
                  <a:lnTo>
                    <a:pt x="301" y="380"/>
                  </a:lnTo>
                  <a:lnTo>
                    <a:pt x="305" y="374"/>
                  </a:lnTo>
                  <a:lnTo>
                    <a:pt x="309" y="369"/>
                  </a:lnTo>
                  <a:lnTo>
                    <a:pt x="311" y="367"/>
                  </a:lnTo>
                  <a:lnTo>
                    <a:pt x="316" y="365"/>
                  </a:lnTo>
                  <a:lnTo>
                    <a:pt x="322" y="369"/>
                  </a:lnTo>
                  <a:lnTo>
                    <a:pt x="322" y="369"/>
                  </a:lnTo>
                  <a:lnTo>
                    <a:pt x="326" y="372"/>
                  </a:lnTo>
                  <a:lnTo>
                    <a:pt x="327" y="374"/>
                  </a:lnTo>
                  <a:lnTo>
                    <a:pt x="329" y="382"/>
                  </a:lnTo>
                  <a:lnTo>
                    <a:pt x="333" y="391"/>
                  </a:lnTo>
                  <a:lnTo>
                    <a:pt x="339" y="398"/>
                  </a:lnTo>
                  <a:lnTo>
                    <a:pt x="348" y="406"/>
                  </a:lnTo>
                  <a:lnTo>
                    <a:pt x="348" y="406"/>
                  </a:lnTo>
                  <a:lnTo>
                    <a:pt x="355" y="417"/>
                  </a:lnTo>
                  <a:lnTo>
                    <a:pt x="361" y="426"/>
                  </a:lnTo>
                  <a:lnTo>
                    <a:pt x="363" y="438"/>
                  </a:lnTo>
                  <a:lnTo>
                    <a:pt x="361" y="447"/>
                  </a:lnTo>
                  <a:lnTo>
                    <a:pt x="357" y="458"/>
                  </a:lnTo>
                  <a:lnTo>
                    <a:pt x="354" y="469"/>
                  </a:lnTo>
                  <a:lnTo>
                    <a:pt x="340" y="490"/>
                  </a:lnTo>
                  <a:lnTo>
                    <a:pt x="340" y="490"/>
                  </a:lnTo>
                  <a:lnTo>
                    <a:pt x="335" y="499"/>
                  </a:lnTo>
                  <a:lnTo>
                    <a:pt x="327" y="509"/>
                  </a:lnTo>
                  <a:lnTo>
                    <a:pt x="309" y="526"/>
                  </a:lnTo>
                  <a:lnTo>
                    <a:pt x="301" y="535"/>
                  </a:lnTo>
                  <a:lnTo>
                    <a:pt x="296" y="542"/>
                  </a:lnTo>
                  <a:lnTo>
                    <a:pt x="296" y="550"/>
                  </a:lnTo>
                  <a:lnTo>
                    <a:pt x="297" y="554"/>
                  </a:lnTo>
                  <a:lnTo>
                    <a:pt x="299" y="557"/>
                  </a:lnTo>
                  <a:lnTo>
                    <a:pt x="299" y="557"/>
                  </a:lnTo>
                  <a:lnTo>
                    <a:pt x="299" y="559"/>
                  </a:lnTo>
                  <a:lnTo>
                    <a:pt x="299" y="561"/>
                  </a:lnTo>
                  <a:lnTo>
                    <a:pt x="296" y="567"/>
                  </a:lnTo>
                  <a:lnTo>
                    <a:pt x="281" y="578"/>
                  </a:lnTo>
                  <a:lnTo>
                    <a:pt x="275" y="585"/>
                  </a:lnTo>
                  <a:lnTo>
                    <a:pt x="273" y="589"/>
                  </a:lnTo>
                  <a:lnTo>
                    <a:pt x="273" y="591"/>
                  </a:lnTo>
                  <a:lnTo>
                    <a:pt x="273" y="595"/>
                  </a:lnTo>
                  <a:lnTo>
                    <a:pt x="277" y="598"/>
                  </a:lnTo>
                  <a:lnTo>
                    <a:pt x="281" y="600"/>
                  </a:lnTo>
                  <a:lnTo>
                    <a:pt x="288" y="604"/>
                  </a:lnTo>
                  <a:lnTo>
                    <a:pt x="288" y="604"/>
                  </a:lnTo>
                  <a:lnTo>
                    <a:pt x="294" y="604"/>
                  </a:lnTo>
                  <a:lnTo>
                    <a:pt x="301" y="604"/>
                  </a:lnTo>
                  <a:lnTo>
                    <a:pt x="314" y="604"/>
                  </a:lnTo>
                  <a:lnTo>
                    <a:pt x="320" y="604"/>
                  </a:lnTo>
                  <a:lnTo>
                    <a:pt x="324" y="606"/>
                  </a:lnTo>
                  <a:lnTo>
                    <a:pt x="322" y="610"/>
                  </a:lnTo>
                  <a:lnTo>
                    <a:pt x="318" y="615"/>
                  </a:lnTo>
                  <a:lnTo>
                    <a:pt x="318" y="615"/>
                  </a:lnTo>
                  <a:lnTo>
                    <a:pt x="318" y="619"/>
                  </a:lnTo>
                  <a:lnTo>
                    <a:pt x="318" y="625"/>
                  </a:lnTo>
                  <a:lnTo>
                    <a:pt x="322" y="632"/>
                  </a:lnTo>
                  <a:lnTo>
                    <a:pt x="327" y="638"/>
                  </a:lnTo>
                  <a:lnTo>
                    <a:pt x="333" y="643"/>
                  </a:lnTo>
                  <a:lnTo>
                    <a:pt x="340" y="647"/>
                  </a:lnTo>
                  <a:lnTo>
                    <a:pt x="346" y="647"/>
                  </a:lnTo>
                  <a:lnTo>
                    <a:pt x="350" y="645"/>
                  </a:lnTo>
                  <a:lnTo>
                    <a:pt x="354" y="641"/>
                  </a:lnTo>
                  <a:lnTo>
                    <a:pt x="383" y="606"/>
                  </a:lnTo>
                  <a:lnTo>
                    <a:pt x="383" y="606"/>
                  </a:lnTo>
                  <a:lnTo>
                    <a:pt x="400" y="587"/>
                  </a:lnTo>
                  <a:lnTo>
                    <a:pt x="423" y="567"/>
                  </a:lnTo>
                  <a:lnTo>
                    <a:pt x="449" y="548"/>
                  </a:lnTo>
                  <a:lnTo>
                    <a:pt x="460" y="542"/>
                  </a:lnTo>
                  <a:lnTo>
                    <a:pt x="471" y="539"/>
                  </a:lnTo>
                  <a:lnTo>
                    <a:pt x="471" y="539"/>
                  </a:lnTo>
                  <a:lnTo>
                    <a:pt x="477" y="535"/>
                  </a:lnTo>
                  <a:lnTo>
                    <a:pt x="481" y="533"/>
                  </a:lnTo>
                  <a:lnTo>
                    <a:pt x="486" y="527"/>
                  </a:lnTo>
                  <a:lnTo>
                    <a:pt x="494" y="522"/>
                  </a:lnTo>
                  <a:lnTo>
                    <a:pt x="497" y="520"/>
                  </a:lnTo>
                  <a:lnTo>
                    <a:pt x="503" y="518"/>
                  </a:lnTo>
                  <a:lnTo>
                    <a:pt x="503" y="518"/>
                  </a:lnTo>
                  <a:lnTo>
                    <a:pt x="518" y="516"/>
                  </a:lnTo>
                  <a:lnTo>
                    <a:pt x="531" y="511"/>
                  </a:lnTo>
                  <a:lnTo>
                    <a:pt x="546" y="507"/>
                  </a:lnTo>
                  <a:lnTo>
                    <a:pt x="561" y="503"/>
                  </a:lnTo>
                  <a:lnTo>
                    <a:pt x="561" y="503"/>
                  </a:lnTo>
                  <a:lnTo>
                    <a:pt x="572" y="501"/>
                  </a:lnTo>
                  <a:lnTo>
                    <a:pt x="582" y="497"/>
                  </a:lnTo>
                  <a:lnTo>
                    <a:pt x="585" y="492"/>
                  </a:lnTo>
                  <a:lnTo>
                    <a:pt x="589" y="486"/>
                  </a:lnTo>
                  <a:lnTo>
                    <a:pt x="597" y="469"/>
                  </a:lnTo>
                  <a:lnTo>
                    <a:pt x="604" y="460"/>
                  </a:lnTo>
                  <a:lnTo>
                    <a:pt x="613" y="447"/>
                  </a:lnTo>
                  <a:lnTo>
                    <a:pt x="613" y="447"/>
                  </a:lnTo>
                  <a:lnTo>
                    <a:pt x="625" y="432"/>
                  </a:lnTo>
                  <a:lnTo>
                    <a:pt x="632" y="421"/>
                  </a:lnTo>
                  <a:lnTo>
                    <a:pt x="641" y="412"/>
                  </a:lnTo>
                  <a:lnTo>
                    <a:pt x="658" y="398"/>
                  </a:lnTo>
                  <a:lnTo>
                    <a:pt x="658" y="398"/>
                  </a:lnTo>
                  <a:lnTo>
                    <a:pt x="666" y="393"/>
                  </a:lnTo>
                  <a:lnTo>
                    <a:pt x="669" y="387"/>
                  </a:lnTo>
                  <a:lnTo>
                    <a:pt x="675" y="382"/>
                  </a:lnTo>
                  <a:lnTo>
                    <a:pt x="692" y="369"/>
                  </a:lnTo>
                  <a:lnTo>
                    <a:pt x="692" y="369"/>
                  </a:lnTo>
                  <a:lnTo>
                    <a:pt x="701" y="361"/>
                  </a:lnTo>
                  <a:lnTo>
                    <a:pt x="711" y="352"/>
                  </a:lnTo>
                  <a:lnTo>
                    <a:pt x="718" y="342"/>
                  </a:lnTo>
                  <a:lnTo>
                    <a:pt x="727" y="333"/>
                  </a:lnTo>
                  <a:lnTo>
                    <a:pt x="727" y="333"/>
                  </a:lnTo>
                  <a:lnTo>
                    <a:pt x="716" y="322"/>
                  </a:lnTo>
                  <a:lnTo>
                    <a:pt x="714" y="318"/>
                  </a:lnTo>
                  <a:lnTo>
                    <a:pt x="714" y="316"/>
                  </a:lnTo>
                  <a:lnTo>
                    <a:pt x="716" y="311"/>
                  </a:lnTo>
                  <a:lnTo>
                    <a:pt x="722" y="307"/>
                  </a:lnTo>
                  <a:lnTo>
                    <a:pt x="725" y="303"/>
                  </a:lnTo>
                  <a:lnTo>
                    <a:pt x="725" y="299"/>
                  </a:lnTo>
                  <a:lnTo>
                    <a:pt x="725" y="296"/>
                  </a:lnTo>
                  <a:lnTo>
                    <a:pt x="718" y="284"/>
                  </a:lnTo>
                  <a:lnTo>
                    <a:pt x="703" y="270"/>
                  </a:lnTo>
                  <a:lnTo>
                    <a:pt x="703" y="270"/>
                  </a:lnTo>
                  <a:lnTo>
                    <a:pt x="696" y="258"/>
                  </a:lnTo>
                  <a:lnTo>
                    <a:pt x="690" y="247"/>
                  </a:lnTo>
                  <a:lnTo>
                    <a:pt x="682" y="236"/>
                  </a:lnTo>
                  <a:lnTo>
                    <a:pt x="675" y="228"/>
                  </a:lnTo>
                  <a:lnTo>
                    <a:pt x="666" y="223"/>
                  </a:lnTo>
                  <a:lnTo>
                    <a:pt x="666" y="223"/>
                  </a:lnTo>
                  <a:lnTo>
                    <a:pt x="664" y="219"/>
                  </a:lnTo>
                  <a:lnTo>
                    <a:pt x="662" y="215"/>
                  </a:lnTo>
                  <a:lnTo>
                    <a:pt x="658" y="206"/>
                  </a:lnTo>
                  <a:lnTo>
                    <a:pt x="660" y="197"/>
                  </a:lnTo>
                  <a:lnTo>
                    <a:pt x="662" y="185"/>
                  </a:lnTo>
                  <a:lnTo>
                    <a:pt x="668" y="167"/>
                  </a:lnTo>
                  <a:lnTo>
                    <a:pt x="671" y="159"/>
                  </a:lnTo>
                  <a:lnTo>
                    <a:pt x="671" y="159"/>
                  </a:lnTo>
                  <a:lnTo>
                    <a:pt x="677" y="154"/>
                  </a:lnTo>
                  <a:lnTo>
                    <a:pt x="671" y="157"/>
                  </a:lnTo>
                  <a:lnTo>
                    <a:pt x="666" y="157"/>
                  </a:lnTo>
                  <a:lnTo>
                    <a:pt x="660" y="157"/>
                  </a:lnTo>
                  <a:lnTo>
                    <a:pt x="653" y="154"/>
                  </a:lnTo>
                  <a:lnTo>
                    <a:pt x="647" y="144"/>
                  </a:lnTo>
                  <a:lnTo>
                    <a:pt x="647" y="144"/>
                  </a:lnTo>
                  <a:close/>
                  <a:moveTo>
                    <a:pt x="284" y="658"/>
                  </a:moveTo>
                  <a:lnTo>
                    <a:pt x="284" y="658"/>
                  </a:lnTo>
                  <a:lnTo>
                    <a:pt x="273" y="669"/>
                  </a:lnTo>
                  <a:lnTo>
                    <a:pt x="269" y="671"/>
                  </a:lnTo>
                  <a:lnTo>
                    <a:pt x="271" y="675"/>
                  </a:lnTo>
                  <a:lnTo>
                    <a:pt x="271" y="681"/>
                  </a:lnTo>
                  <a:lnTo>
                    <a:pt x="271" y="690"/>
                  </a:lnTo>
                  <a:lnTo>
                    <a:pt x="271" y="690"/>
                  </a:lnTo>
                  <a:lnTo>
                    <a:pt x="271" y="694"/>
                  </a:lnTo>
                  <a:lnTo>
                    <a:pt x="273" y="696"/>
                  </a:lnTo>
                  <a:lnTo>
                    <a:pt x="275" y="696"/>
                  </a:lnTo>
                  <a:lnTo>
                    <a:pt x="279" y="694"/>
                  </a:lnTo>
                  <a:lnTo>
                    <a:pt x="286" y="688"/>
                  </a:lnTo>
                  <a:lnTo>
                    <a:pt x="296" y="684"/>
                  </a:lnTo>
                  <a:lnTo>
                    <a:pt x="296" y="684"/>
                  </a:lnTo>
                  <a:lnTo>
                    <a:pt x="305" y="681"/>
                  </a:lnTo>
                  <a:lnTo>
                    <a:pt x="316" y="673"/>
                  </a:lnTo>
                  <a:lnTo>
                    <a:pt x="331" y="666"/>
                  </a:lnTo>
                  <a:lnTo>
                    <a:pt x="331" y="666"/>
                  </a:lnTo>
                  <a:lnTo>
                    <a:pt x="329" y="660"/>
                  </a:lnTo>
                  <a:lnTo>
                    <a:pt x="327" y="656"/>
                  </a:lnTo>
                  <a:lnTo>
                    <a:pt x="322" y="649"/>
                  </a:lnTo>
                  <a:lnTo>
                    <a:pt x="322" y="649"/>
                  </a:lnTo>
                  <a:lnTo>
                    <a:pt x="305" y="651"/>
                  </a:lnTo>
                  <a:lnTo>
                    <a:pt x="294" y="654"/>
                  </a:lnTo>
                  <a:lnTo>
                    <a:pt x="284" y="658"/>
                  </a:lnTo>
                  <a:lnTo>
                    <a:pt x="284" y="658"/>
                  </a:lnTo>
                  <a:close/>
                  <a:moveTo>
                    <a:pt x="447" y="625"/>
                  </a:moveTo>
                  <a:lnTo>
                    <a:pt x="447" y="625"/>
                  </a:lnTo>
                  <a:lnTo>
                    <a:pt x="443" y="625"/>
                  </a:lnTo>
                  <a:lnTo>
                    <a:pt x="441" y="626"/>
                  </a:lnTo>
                  <a:lnTo>
                    <a:pt x="440" y="632"/>
                  </a:lnTo>
                  <a:lnTo>
                    <a:pt x="441" y="636"/>
                  </a:lnTo>
                  <a:lnTo>
                    <a:pt x="447" y="639"/>
                  </a:lnTo>
                  <a:lnTo>
                    <a:pt x="447" y="639"/>
                  </a:lnTo>
                  <a:lnTo>
                    <a:pt x="453" y="634"/>
                  </a:lnTo>
                  <a:lnTo>
                    <a:pt x="460" y="628"/>
                  </a:lnTo>
                  <a:lnTo>
                    <a:pt x="464" y="626"/>
                  </a:lnTo>
                  <a:lnTo>
                    <a:pt x="462" y="625"/>
                  </a:lnTo>
                  <a:lnTo>
                    <a:pt x="458" y="625"/>
                  </a:lnTo>
                  <a:lnTo>
                    <a:pt x="451" y="625"/>
                  </a:lnTo>
                  <a:lnTo>
                    <a:pt x="451" y="625"/>
                  </a:lnTo>
                  <a:lnTo>
                    <a:pt x="447" y="625"/>
                  </a:lnTo>
                  <a:lnTo>
                    <a:pt x="447" y="625"/>
                  </a:lnTo>
                  <a:close/>
                  <a:moveTo>
                    <a:pt x="484" y="617"/>
                  </a:moveTo>
                  <a:lnTo>
                    <a:pt x="484" y="617"/>
                  </a:lnTo>
                  <a:lnTo>
                    <a:pt x="483" y="623"/>
                  </a:lnTo>
                  <a:lnTo>
                    <a:pt x="484" y="625"/>
                  </a:lnTo>
                  <a:lnTo>
                    <a:pt x="490" y="626"/>
                  </a:lnTo>
                  <a:lnTo>
                    <a:pt x="496" y="623"/>
                  </a:lnTo>
                  <a:lnTo>
                    <a:pt x="496" y="623"/>
                  </a:lnTo>
                  <a:lnTo>
                    <a:pt x="497" y="621"/>
                  </a:lnTo>
                  <a:lnTo>
                    <a:pt x="497" y="621"/>
                  </a:lnTo>
                  <a:lnTo>
                    <a:pt x="496" y="619"/>
                  </a:lnTo>
                  <a:lnTo>
                    <a:pt x="492" y="617"/>
                  </a:lnTo>
                  <a:lnTo>
                    <a:pt x="486" y="615"/>
                  </a:lnTo>
                  <a:lnTo>
                    <a:pt x="484" y="617"/>
                  </a:lnTo>
                  <a:lnTo>
                    <a:pt x="484" y="617"/>
                  </a:lnTo>
                  <a:close/>
                  <a:moveTo>
                    <a:pt x="402" y="610"/>
                  </a:moveTo>
                  <a:lnTo>
                    <a:pt x="402" y="610"/>
                  </a:lnTo>
                  <a:lnTo>
                    <a:pt x="397" y="615"/>
                  </a:lnTo>
                  <a:lnTo>
                    <a:pt x="395" y="621"/>
                  </a:lnTo>
                  <a:lnTo>
                    <a:pt x="395" y="623"/>
                  </a:lnTo>
                  <a:lnTo>
                    <a:pt x="397" y="626"/>
                  </a:lnTo>
                  <a:lnTo>
                    <a:pt x="400" y="626"/>
                  </a:lnTo>
                  <a:lnTo>
                    <a:pt x="404" y="625"/>
                  </a:lnTo>
                  <a:lnTo>
                    <a:pt x="406" y="619"/>
                  </a:lnTo>
                  <a:lnTo>
                    <a:pt x="408" y="613"/>
                  </a:lnTo>
                  <a:lnTo>
                    <a:pt x="408" y="613"/>
                  </a:lnTo>
                  <a:lnTo>
                    <a:pt x="408" y="611"/>
                  </a:lnTo>
                  <a:lnTo>
                    <a:pt x="406" y="610"/>
                  </a:lnTo>
                  <a:lnTo>
                    <a:pt x="402" y="610"/>
                  </a:lnTo>
                  <a:lnTo>
                    <a:pt x="402" y="610"/>
                  </a:lnTo>
                  <a:close/>
                  <a:moveTo>
                    <a:pt x="423" y="602"/>
                  </a:moveTo>
                  <a:lnTo>
                    <a:pt x="423" y="602"/>
                  </a:lnTo>
                  <a:lnTo>
                    <a:pt x="428" y="608"/>
                  </a:lnTo>
                  <a:lnTo>
                    <a:pt x="434" y="610"/>
                  </a:lnTo>
                  <a:lnTo>
                    <a:pt x="440" y="610"/>
                  </a:lnTo>
                  <a:lnTo>
                    <a:pt x="445" y="610"/>
                  </a:lnTo>
                  <a:lnTo>
                    <a:pt x="449" y="606"/>
                  </a:lnTo>
                  <a:lnTo>
                    <a:pt x="451" y="604"/>
                  </a:lnTo>
                  <a:lnTo>
                    <a:pt x="451" y="602"/>
                  </a:lnTo>
                  <a:lnTo>
                    <a:pt x="449" y="602"/>
                  </a:lnTo>
                  <a:lnTo>
                    <a:pt x="449" y="602"/>
                  </a:lnTo>
                  <a:lnTo>
                    <a:pt x="432" y="598"/>
                  </a:lnTo>
                  <a:lnTo>
                    <a:pt x="425" y="597"/>
                  </a:lnTo>
                  <a:lnTo>
                    <a:pt x="419" y="593"/>
                  </a:lnTo>
                  <a:lnTo>
                    <a:pt x="413" y="595"/>
                  </a:lnTo>
                  <a:lnTo>
                    <a:pt x="413" y="595"/>
                  </a:lnTo>
                  <a:lnTo>
                    <a:pt x="413" y="595"/>
                  </a:lnTo>
                  <a:lnTo>
                    <a:pt x="413" y="597"/>
                  </a:lnTo>
                  <a:lnTo>
                    <a:pt x="417" y="598"/>
                  </a:lnTo>
                  <a:lnTo>
                    <a:pt x="423" y="602"/>
                  </a:lnTo>
                  <a:lnTo>
                    <a:pt x="423" y="602"/>
                  </a:lnTo>
                  <a:close/>
                  <a:moveTo>
                    <a:pt x="462" y="595"/>
                  </a:moveTo>
                  <a:lnTo>
                    <a:pt x="462" y="595"/>
                  </a:lnTo>
                  <a:lnTo>
                    <a:pt x="460" y="597"/>
                  </a:lnTo>
                  <a:lnTo>
                    <a:pt x="462" y="598"/>
                  </a:lnTo>
                  <a:lnTo>
                    <a:pt x="464" y="600"/>
                  </a:lnTo>
                  <a:lnTo>
                    <a:pt x="469" y="600"/>
                  </a:lnTo>
                  <a:lnTo>
                    <a:pt x="473" y="600"/>
                  </a:lnTo>
                  <a:lnTo>
                    <a:pt x="475" y="598"/>
                  </a:lnTo>
                  <a:lnTo>
                    <a:pt x="477" y="595"/>
                  </a:lnTo>
                  <a:lnTo>
                    <a:pt x="473" y="589"/>
                  </a:lnTo>
                  <a:lnTo>
                    <a:pt x="473" y="589"/>
                  </a:lnTo>
                  <a:lnTo>
                    <a:pt x="471" y="587"/>
                  </a:lnTo>
                  <a:lnTo>
                    <a:pt x="469" y="587"/>
                  </a:lnTo>
                  <a:lnTo>
                    <a:pt x="469" y="587"/>
                  </a:lnTo>
                  <a:lnTo>
                    <a:pt x="468" y="589"/>
                  </a:lnTo>
                  <a:lnTo>
                    <a:pt x="469" y="587"/>
                  </a:lnTo>
                  <a:lnTo>
                    <a:pt x="469" y="589"/>
                  </a:lnTo>
                  <a:lnTo>
                    <a:pt x="462" y="595"/>
                  </a:lnTo>
                  <a:lnTo>
                    <a:pt x="462" y="595"/>
                  </a:lnTo>
                  <a:close/>
                  <a:moveTo>
                    <a:pt x="471" y="565"/>
                  </a:moveTo>
                  <a:lnTo>
                    <a:pt x="471" y="565"/>
                  </a:lnTo>
                  <a:lnTo>
                    <a:pt x="469" y="568"/>
                  </a:lnTo>
                  <a:lnTo>
                    <a:pt x="469" y="574"/>
                  </a:lnTo>
                  <a:lnTo>
                    <a:pt x="471" y="578"/>
                  </a:lnTo>
                  <a:lnTo>
                    <a:pt x="473" y="578"/>
                  </a:lnTo>
                  <a:lnTo>
                    <a:pt x="475" y="578"/>
                  </a:lnTo>
                  <a:lnTo>
                    <a:pt x="475" y="578"/>
                  </a:lnTo>
                  <a:lnTo>
                    <a:pt x="475" y="568"/>
                  </a:lnTo>
                  <a:lnTo>
                    <a:pt x="475" y="565"/>
                  </a:lnTo>
                  <a:lnTo>
                    <a:pt x="473" y="565"/>
                  </a:lnTo>
                  <a:lnTo>
                    <a:pt x="471" y="565"/>
                  </a:lnTo>
                  <a:lnTo>
                    <a:pt x="471" y="565"/>
                  </a:lnTo>
                  <a:close/>
                  <a:moveTo>
                    <a:pt x="468" y="557"/>
                  </a:moveTo>
                  <a:lnTo>
                    <a:pt x="468" y="557"/>
                  </a:lnTo>
                  <a:lnTo>
                    <a:pt x="460" y="555"/>
                  </a:lnTo>
                  <a:lnTo>
                    <a:pt x="456" y="555"/>
                  </a:lnTo>
                  <a:lnTo>
                    <a:pt x="454" y="557"/>
                  </a:lnTo>
                  <a:lnTo>
                    <a:pt x="454" y="561"/>
                  </a:lnTo>
                  <a:lnTo>
                    <a:pt x="456" y="563"/>
                  </a:lnTo>
                  <a:lnTo>
                    <a:pt x="458" y="565"/>
                  </a:lnTo>
                  <a:lnTo>
                    <a:pt x="462" y="565"/>
                  </a:lnTo>
                  <a:lnTo>
                    <a:pt x="468" y="563"/>
                  </a:lnTo>
                  <a:lnTo>
                    <a:pt x="468" y="563"/>
                  </a:lnTo>
                  <a:lnTo>
                    <a:pt x="468" y="559"/>
                  </a:lnTo>
                  <a:lnTo>
                    <a:pt x="468" y="557"/>
                  </a:lnTo>
                  <a:lnTo>
                    <a:pt x="468" y="557"/>
                  </a:lnTo>
                  <a:close/>
                  <a:moveTo>
                    <a:pt x="223" y="462"/>
                  </a:moveTo>
                  <a:lnTo>
                    <a:pt x="223" y="462"/>
                  </a:lnTo>
                  <a:lnTo>
                    <a:pt x="225" y="460"/>
                  </a:lnTo>
                  <a:lnTo>
                    <a:pt x="228" y="456"/>
                  </a:lnTo>
                  <a:lnTo>
                    <a:pt x="228" y="455"/>
                  </a:lnTo>
                  <a:lnTo>
                    <a:pt x="228" y="455"/>
                  </a:lnTo>
                  <a:lnTo>
                    <a:pt x="223" y="453"/>
                  </a:lnTo>
                  <a:lnTo>
                    <a:pt x="215" y="453"/>
                  </a:lnTo>
                  <a:lnTo>
                    <a:pt x="215" y="453"/>
                  </a:lnTo>
                  <a:lnTo>
                    <a:pt x="213" y="453"/>
                  </a:lnTo>
                  <a:lnTo>
                    <a:pt x="213" y="453"/>
                  </a:lnTo>
                  <a:lnTo>
                    <a:pt x="213" y="462"/>
                  </a:lnTo>
                  <a:lnTo>
                    <a:pt x="215" y="464"/>
                  </a:lnTo>
                  <a:lnTo>
                    <a:pt x="215" y="464"/>
                  </a:lnTo>
                  <a:lnTo>
                    <a:pt x="219" y="464"/>
                  </a:lnTo>
                  <a:lnTo>
                    <a:pt x="223" y="462"/>
                  </a:lnTo>
                  <a:lnTo>
                    <a:pt x="223" y="462"/>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 name="Freeform 10">
              <a:extLst>
                <a:ext uri="{FF2B5EF4-FFF2-40B4-BE49-F238E27FC236}">
                  <a16:creationId xmlns:a16="http://schemas.microsoft.com/office/drawing/2014/main" id="{4F9B241B-A3D5-4A68-8762-37800AA333C7}"/>
                </a:ext>
              </a:extLst>
            </p:cNvPr>
            <p:cNvSpPr>
              <a:spLocks noEditPoints="1"/>
            </p:cNvSpPr>
            <p:nvPr/>
          </p:nvSpPr>
          <p:spPr bwMode="auto">
            <a:xfrm>
              <a:off x="5638380" y="3129517"/>
              <a:ext cx="617665" cy="864731"/>
            </a:xfrm>
            <a:custGeom>
              <a:avLst/>
              <a:gdLst/>
              <a:ahLst/>
              <a:cxnLst>
                <a:cxn ang="0">
                  <a:pos x="566" y="243"/>
                </a:cxn>
                <a:cxn ang="0">
                  <a:pos x="583" y="170"/>
                </a:cxn>
                <a:cxn ang="0">
                  <a:pos x="503" y="178"/>
                </a:cxn>
                <a:cxn ang="0">
                  <a:pos x="493" y="107"/>
                </a:cxn>
                <a:cxn ang="0">
                  <a:pos x="449" y="23"/>
                </a:cxn>
                <a:cxn ang="0">
                  <a:pos x="383" y="19"/>
                </a:cxn>
                <a:cxn ang="0">
                  <a:pos x="342" y="60"/>
                </a:cxn>
                <a:cxn ang="0">
                  <a:pos x="314" y="103"/>
                </a:cxn>
                <a:cxn ang="0">
                  <a:pos x="258" y="122"/>
                </a:cxn>
                <a:cxn ang="0">
                  <a:pos x="191" y="137"/>
                </a:cxn>
                <a:cxn ang="0">
                  <a:pos x="123" y="146"/>
                </a:cxn>
                <a:cxn ang="0">
                  <a:pos x="73" y="122"/>
                </a:cxn>
                <a:cxn ang="0">
                  <a:pos x="26" y="206"/>
                </a:cxn>
                <a:cxn ang="0">
                  <a:pos x="39" y="268"/>
                </a:cxn>
                <a:cxn ang="0">
                  <a:pos x="77" y="342"/>
                </a:cxn>
                <a:cxn ang="0">
                  <a:pos x="37" y="380"/>
                </a:cxn>
                <a:cxn ang="0">
                  <a:pos x="86" y="424"/>
                </a:cxn>
                <a:cxn ang="0">
                  <a:pos x="105" y="462"/>
                </a:cxn>
                <a:cxn ang="0">
                  <a:pos x="49" y="529"/>
                </a:cxn>
                <a:cxn ang="0">
                  <a:pos x="28" y="565"/>
                </a:cxn>
                <a:cxn ang="0">
                  <a:pos x="0" y="623"/>
                </a:cxn>
                <a:cxn ang="0">
                  <a:pos x="51" y="695"/>
                </a:cxn>
                <a:cxn ang="0">
                  <a:pos x="24" y="850"/>
                </a:cxn>
                <a:cxn ang="0">
                  <a:pos x="36" y="920"/>
                </a:cxn>
                <a:cxn ang="0">
                  <a:pos x="189" y="938"/>
                </a:cxn>
                <a:cxn ang="0">
                  <a:pos x="224" y="946"/>
                </a:cxn>
                <a:cxn ang="0">
                  <a:pos x="215" y="890"/>
                </a:cxn>
                <a:cxn ang="0">
                  <a:pos x="254" y="839"/>
                </a:cxn>
                <a:cxn ang="0">
                  <a:pos x="305" y="761"/>
                </a:cxn>
                <a:cxn ang="0">
                  <a:pos x="331" y="735"/>
                </a:cxn>
                <a:cxn ang="0">
                  <a:pos x="385" y="692"/>
                </a:cxn>
                <a:cxn ang="0">
                  <a:pos x="452" y="658"/>
                </a:cxn>
                <a:cxn ang="0">
                  <a:pos x="479" y="636"/>
                </a:cxn>
                <a:cxn ang="0">
                  <a:pos x="454" y="581"/>
                </a:cxn>
                <a:cxn ang="0">
                  <a:pos x="351" y="546"/>
                </a:cxn>
                <a:cxn ang="0">
                  <a:pos x="372" y="501"/>
                </a:cxn>
                <a:cxn ang="0">
                  <a:pos x="323" y="443"/>
                </a:cxn>
                <a:cxn ang="0">
                  <a:pos x="273" y="449"/>
                </a:cxn>
                <a:cxn ang="0">
                  <a:pos x="221" y="449"/>
                </a:cxn>
                <a:cxn ang="0">
                  <a:pos x="198" y="389"/>
                </a:cxn>
                <a:cxn ang="0">
                  <a:pos x="245" y="346"/>
                </a:cxn>
                <a:cxn ang="0">
                  <a:pos x="236" y="301"/>
                </a:cxn>
                <a:cxn ang="0">
                  <a:pos x="307" y="245"/>
                </a:cxn>
                <a:cxn ang="0">
                  <a:pos x="359" y="275"/>
                </a:cxn>
                <a:cxn ang="0">
                  <a:pos x="406" y="290"/>
                </a:cxn>
                <a:cxn ang="0">
                  <a:pos x="421" y="344"/>
                </a:cxn>
                <a:cxn ang="0">
                  <a:pos x="436" y="378"/>
                </a:cxn>
                <a:cxn ang="0">
                  <a:pos x="464" y="434"/>
                </a:cxn>
                <a:cxn ang="0">
                  <a:pos x="480" y="466"/>
                </a:cxn>
                <a:cxn ang="0">
                  <a:pos x="523" y="497"/>
                </a:cxn>
                <a:cxn ang="0">
                  <a:pos x="581" y="481"/>
                </a:cxn>
                <a:cxn ang="0">
                  <a:pos x="635" y="400"/>
                </a:cxn>
                <a:cxn ang="0">
                  <a:pos x="667" y="327"/>
                </a:cxn>
                <a:cxn ang="0">
                  <a:pos x="628" y="277"/>
                </a:cxn>
                <a:cxn ang="0">
                  <a:pos x="391" y="395"/>
                </a:cxn>
                <a:cxn ang="0">
                  <a:pos x="348" y="381"/>
                </a:cxn>
                <a:cxn ang="0">
                  <a:pos x="366" y="415"/>
                </a:cxn>
                <a:cxn ang="0">
                  <a:pos x="389" y="432"/>
                </a:cxn>
              </a:cxnLst>
              <a:rect l="0" t="0" r="r" b="b"/>
              <a:pathLst>
                <a:path w="680" h="951">
                  <a:moveTo>
                    <a:pt x="607" y="269"/>
                  </a:moveTo>
                  <a:lnTo>
                    <a:pt x="607" y="269"/>
                  </a:lnTo>
                  <a:lnTo>
                    <a:pt x="598" y="262"/>
                  </a:lnTo>
                  <a:lnTo>
                    <a:pt x="587" y="258"/>
                  </a:lnTo>
                  <a:lnTo>
                    <a:pt x="578" y="254"/>
                  </a:lnTo>
                  <a:lnTo>
                    <a:pt x="572" y="251"/>
                  </a:lnTo>
                  <a:lnTo>
                    <a:pt x="568" y="249"/>
                  </a:lnTo>
                  <a:lnTo>
                    <a:pt x="568" y="247"/>
                  </a:lnTo>
                  <a:lnTo>
                    <a:pt x="566" y="243"/>
                  </a:lnTo>
                  <a:lnTo>
                    <a:pt x="568" y="238"/>
                  </a:lnTo>
                  <a:lnTo>
                    <a:pt x="574" y="223"/>
                  </a:lnTo>
                  <a:lnTo>
                    <a:pt x="587" y="200"/>
                  </a:lnTo>
                  <a:lnTo>
                    <a:pt x="587" y="200"/>
                  </a:lnTo>
                  <a:lnTo>
                    <a:pt x="596" y="185"/>
                  </a:lnTo>
                  <a:lnTo>
                    <a:pt x="598" y="178"/>
                  </a:lnTo>
                  <a:lnTo>
                    <a:pt x="598" y="170"/>
                  </a:lnTo>
                  <a:lnTo>
                    <a:pt x="591" y="170"/>
                  </a:lnTo>
                  <a:lnTo>
                    <a:pt x="583" y="170"/>
                  </a:lnTo>
                  <a:lnTo>
                    <a:pt x="570" y="172"/>
                  </a:lnTo>
                  <a:lnTo>
                    <a:pt x="557" y="172"/>
                  </a:lnTo>
                  <a:lnTo>
                    <a:pt x="551" y="167"/>
                  </a:lnTo>
                  <a:lnTo>
                    <a:pt x="546" y="170"/>
                  </a:lnTo>
                  <a:lnTo>
                    <a:pt x="538" y="170"/>
                  </a:lnTo>
                  <a:lnTo>
                    <a:pt x="531" y="170"/>
                  </a:lnTo>
                  <a:lnTo>
                    <a:pt x="518" y="172"/>
                  </a:lnTo>
                  <a:lnTo>
                    <a:pt x="512" y="178"/>
                  </a:lnTo>
                  <a:lnTo>
                    <a:pt x="503" y="178"/>
                  </a:lnTo>
                  <a:lnTo>
                    <a:pt x="501" y="168"/>
                  </a:lnTo>
                  <a:lnTo>
                    <a:pt x="501" y="157"/>
                  </a:lnTo>
                  <a:lnTo>
                    <a:pt x="499" y="148"/>
                  </a:lnTo>
                  <a:lnTo>
                    <a:pt x="492" y="140"/>
                  </a:lnTo>
                  <a:lnTo>
                    <a:pt x="480" y="137"/>
                  </a:lnTo>
                  <a:lnTo>
                    <a:pt x="475" y="127"/>
                  </a:lnTo>
                  <a:lnTo>
                    <a:pt x="477" y="116"/>
                  </a:lnTo>
                  <a:lnTo>
                    <a:pt x="484" y="111"/>
                  </a:lnTo>
                  <a:lnTo>
                    <a:pt x="493" y="107"/>
                  </a:lnTo>
                  <a:lnTo>
                    <a:pt x="493" y="99"/>
                  </a:lnTo>
                  <a:lnTo>
                    <a:pt x="482" y="92"/>
                  </a:lnTo>
                  <a:lnTo>
                    <a:pt x="477" y="81"/>
                  </a:lnTo>
                  <a:lnTo>
                    <a:pt x="469" y="73"/>
                  </a:lnTo>
                  <a:lnTo>
                    <a:pt x="465" y="62"/>
                  </a:lnTo>
                  <a:lnTo>
                    <a:pt x="458" y="53"/>
                  </a:lnTo>
                  <a:lnTo>
                    <a:pt x="454" y="41"/>
                  </a:lnTo>
                  <a:lnTo>
                    <a:pt x="454" y="32"/>
                  </a:lnTo>
                  <a:lnTo>
                    <a:pt x="449" y="23"/>
                  </a:lnTo>
                  <a:lnTo>
                    <a:pt x="443" y="17"/>
                  </a:lnTo>
                  <a:lnTo>
                    <a:pt x="437" y="10"/>
                  </a:lnTo>
                  <a:lnTo>
                    <a:pt x="430" y="2"/>
                  </a:lnTo>
                  <a:lnTo>
                    <a:pt x="421" y="0"/>
                  </a:lnTo>
                  <a:lnTo>
                    <a:pt x="409" y="0"/>
                  </a:lnTo>
                  <a:lnTo>
                    <a:pt x="400" y="2"/>
                  </a:lnTo>
                  <a:lnTo>
                    <a:pt x="394" y="8"/>
                  </a:lnTo>
                  <a:lnTo>
                    <a:pt x="389" y="13"/>
                  </a:lnTo>
                  <a:lnTo>
                    <a:pt x="383" y="19"/>
                  </a:lnTo>
                  <a:lnTo>
                    <a:pt x="372" y="23"/>
                  </a:lnTo>
                  <a:lnTo>
                    <a:pt x="359" y="23"/>
                  </a:lnTo>
                  <a:lnTo>
                    <a:pt x="350" y="23"/>
                  </a:lnTo>
                  <a:lnTo>
                    <a:pt x="342" y="30"/>
                  </a:lnTo>
                  <a:lnTo>
                    <a:pt x="338" y="38"/>
                  </a:lnTo>
                  <a:lnTo>
                    <a:pt x="336" y="45"/>
                  </a:lnTo>
                  <a:lnTo>
                    <a:pt x="338" y="49"/>
                  </a:lnTo>
                  <a:lnTo>
                    <a:pt x="342" y="53"/>
                  </a:lnTo>
                  <a:lnTo>
                    <a:pt x="342" y="60"/>
                  </a:lnTo>
                  <a:lnTo>
                    <a:pt x="338" y="66"/>
                  </a:lnTo>
                  <a:lnTo>
                    <a:pt x="333" y="71"/>
                  </a:lnTo>
                  <a:lnTo>
                    <a:pt x="336" y="75"/>
                  </a:lnTo>
                  <a:lnTo>
                    <a:pt x="340" y="79"/>
                  </a:lnTo>
                  <a:lnTo>
                    <a:pt x="342" y="84"/>
                  </a:lnTo>
                  <a:lnTo>
                    <a:pt x="336" y="92"/>
                  </a:lnTo>
                  <a:lnTo>
                    <a:pt x="335" y="99"/>
                  </a:lnTo>
                  <a:lnTo>
                    <a:pt x="325" y="103"/>
                  </a:lnTo>
                  <a:lnTo>
                    <a:pt x="314" y="103"/>
                  </a:lnTo>
                  <a:lnTo>
                    <a:pt x="303" y="103"/>
                  </a:lnTo>
                  <a:lnTo>
                    <a:pt x="294" y="103"/>
                  </a:lnTo>
                  <a:lnTo>
                    <a:pt x="286" y="96"/>
                  </a:lnTo>
                  <a:lnTo>
                    <a:pt x="282" y="96"/>
                  </a:lnTo>
                  <a:lnTo>
                    <a:pt x="279" y="97"/>
                  </a:lnTo>
                  <a:lnTo>
                    <a:pt x="275" y="103"/>
                  </a:lnTo>
                  <a:lnTo>
                    <a:pt x="269" y="109"/>
                  </a:lnTo>
                  <a:lnTo>
                    <a:pt x="262" y="116"/>
                  </a:lnTo>
                  <a:lnTo>
                    <a:pt x="258" y="122"/>
                  </a:lnTo>
                  <a:lnTo>
                    <a:pt x="254" y="124"/>
                  </a:lnTo>
                  <a:lnTo>
                    <a:pt x="251" y="127"/>
                  </a:lnTo>
                  <a:lnTo>
                    <a:pt x="239" y="122"/>
                  </a:lnTo>
                  <a:lnTo>
                    <a:pt x="236" y="114"/>
                  </a:lnTo>
                  <a:lnTo>
                    <a:pt x="232" y="109"/>
                  </a:lnTo>
                  <a:lnTo>
                    <a:pt x="219" y="112"/>
                  </a:lnTo>
                  <a:lnTo>
                    <a:pt x="209" y="122"/>
                  </a:lnTo>
                  <a:lnTo>
                    <a:pt x="200" y="127"/>
                  </a:lnTo>
                  <a:lnTo>
                    <a:pt x="191" y="137"/>
                  </a:lnTo>
                  <a:lnTo>
                    <a:pt x="181" y="142"/>
                  </a:lnTo>
                  <a:lnTo>
                    <a:pt x="172" y="150"/>
                  </a:lnTo>
                  <a:lnTo>
                    <a:pt x="166" y="159"/>
                  </a:lnTo>
                  <a:lnTo>
                    <a:pt x="163" y="168"/>
                  </a:lnTo>
                  <a:lnTo>
                    <a:pt x="153" y="174"/>
                  </a:lnTo>
                  <a:lnTo>
                    <a:pt x="142" y="174"/>
                  </a:lnTo>
                  <a:lnTo>
                    <a:pt x="129" y="174"/>
                  </a:lnTo>
                  <a:lnTo>
                    <a:pt x="123" y="159"/>
                  </a:lnTo>
                  <a:lnTo>
                    <a:pt x="123" y="146"/>
                  </a:lnTo>
                  <a:lnTo>
                    <a:pt x="129" y="131"/>
                  </a:lnTo>
                  <a:lnTo>
                    <a:pt x="133" y="118"/>
                  </a:lnTo>
                  <a:lnTo>
                    <a:pt x="125" y="109"/>
                  </a:lnTo>
                  <a:lnTo>
                    <a:pt x="118" y="99"/>
                  </a:lnTo>
                  <a:lnTo>
                    <a:pt x="108" y="94"/>
                  </a:lnTo>
                  <a:lnTo>
                    <a:pt x="99" y="90"/>
                  </a:lnTo>
                  <a:lnTo>
                    <a:pt x="90" y="99"/>
                  </a:lnTo>
                  <a:lnTo>
                    <a:pt x="82" y="111"/>
                  </a:lnTo>
                  <a:lnTo>
                    <a:pt x="73" y="122"/>
                  </a:lnTo>
                  <a:lnTo>
                    <a:pt x="66" y="131"/>
                  </a:lnTo>
                  <a:lnTo>
                    <a:pt x="60" y="139"/>
                  </a:lnTo>
                  <a:lnTo>
                    <a:pt x="58" y="150"/>
                  </a:lnTo>
                  <a:lnTo>
                    <a:pt x="54" y="159"/>
                  </a:lnTo>
                  <a:lnTo>
                    <a:pt x="51" y="170"/>
                  </a:lnTo>
                  <a:lnTo>
                    <a:pt x="45" y="180"/>
                  </a:lnTo>
                  <a:lnTo>
                    <a:pt x="32" y="180"/>
                  </a:lnTo>
                  <a:lnTo>
                    <a:pt x="28" y="191"/>
                  </a:lnTo>
                  <a:lnTo>
                    <a:pt x="26" y="206"/>
                  </a:lnTo>
                  <a:lnTo>
                    <a:pt x="23" y="213"/>
                  </a:lnTo>
                  <a:lnTo>
                    <a:pt x="26" y="221"/>
                  </a:lnTo>
                  <a:lnTo>
                    <a:pt x="30" y="230"/>
                  </a:lnTo>
                  <a:lnTo>
                    <a:pt x="30" y="236"/>
                  </a:lnTo>
                  <a:lnTo>
                    <a:pt x="26" y="241"/>
                  </a:lnTo>
                  <a:lnTo>
                    <a:pt x="26" y="249"/>
                  </a:lnTo>
                  <a:lnTo>
                    <a:pt x="30" y="254"/>
                  </a:lnTo>
                  <a:lnTo>
                    <a:pt x="36" y="260"/>
                  </a:lnTo>
                  <a:lnTo>
                    <a:pt x="39" y="268"/>
                  </a:lnTo>
                  <a:lnTo>
                    <a:pt x="43" y="277"/>
                  </a:lnTo>
                  <a:lnTo>
                    <a:pt x="43" y="277"/>
                  </a:lnTo>
                  <a:lnTo>
                    <a:pt x="54" y="297"/>
                  </a:lnTo>
                  <a:lnTo>
                    <a:pt x="60" y="305"/>
                  </a:lnTo>
                  <a:lnTo>
                    <a:pt x="66" y="314"/>
                  </a:lnTo>
                  <a:lnTo>
                    <a:pt x="73" y="337"/>
                  </a:lnTo>
                  <a:lnTo>
                    <a:pt x="73" y="337"/>
                  </a:lnTo>
                  <a:lnTo>
                    <a:pt x="75" y="339"/>
                  </a:lnTo>
                  <a:lnTo>
                    <a:pt x="77" y="342"/>
                  </a:lnTo>
                  <a:lnTo>
                    <a:pt x="84" y="344"/>
                  </a:lnTo>
                  <a:lnTo>
                    <a:pt x="95" y="346"/>
                  </a:lnTo>
                  <a:lnTo>
                    <a:pt x="97" y="348"/>
                  </a:lnTo>
                  <a:lnTo>
                    <a:pt x="97" y="348"/>
                  </a:lnTo>
                  <a:lnTo>
                    <a:pt x="92" y="352"/>
                  </a:lnTo>
                  <a:lnTo>
                    <a:pt x="52" y="370"/>
                  </a:lnTo>
                  <a:lnTo>
                    <a:pt x="52" y="370"/>
                  </a:lnTo>
                  <a:lnTo>
                    <a:pt x="43" y="376"/>
                  </a:lnTo>
                  <a:lnTo>
                    <a:pt x="37" y="380"/>
                  </a:lnTo>
                  <a:lnTo>
                    <a:pt x="34" y="383"/>
                  </a:lnTo>
                  <a:lnTo>
                    <a:pt x="34" y="387"/>
                  </a:lnTo>
                  <a:lnTo>
                    <a:pt x="36" y="391"/>
                  </a:lnTo>
                  <a:lnTo>
                    <a:pt x="37" y="395"/>
                  </a:lnTo>
                  <a:lnTo>
                    <a:pt x="47" y="402"/>
                  </a:lnTo>
                  <a:lnTo>
                    <a:pt x="71" y="413"/>
                  </a:lnTo>
                  <a:lnTo>
                    <a:pt x="82" y="419"/>
                  </a:lnTo>
                  <a:lnTo>
                    <a:pt x="84" y="423"/>
                  </a:lnTo>
                  <a:lnTo>
                    <a:pt x="86" y="424"/>
                  </a:lnTo>
                  <a:lnTo>
                    <a:pt x="86" y="424"/>
                  </a:lnTo>
                  <a:lnTo>
                    <a:pt x="94" y="445"/>
                  </a:lnTo>
                  <a:lnTo>
                    <a:pt x="99" y="454"/>
                  </a:lnTo>
                  <a:lnTo>
                    <a:pt x="101" y="456"/>
                  </a:lnTo>
                  <a:lnTo>
                    <a:pt x="103" y="456"/>
                  </a:lnTo>
                  <a:lnTo>
                    <a:pt x="105" y="456"/>
                  </a:lnTo>
                  <a:lnTo>
                    <a:pt x="105" y="454"/>
                  </a:lnTo>
                  <a:lnTo>
                    <a:pt x="105" y="456"/>
                  </a:lnTo>
                  <a:lnTo>
                    <a:pt x="105" y="462"/>
                  </a:lnTo>
                  <a:lnTo>
                    <a:pt x="95" y="509"/>
                  </a:lnTo>
                  <a:lnTo>
                    <a:pt x="95" y="509"/>
                  </a:lnTo>
                  <a:lnTo>
                    <a:pt x="94" y="514"/>
                  </a:lnTo>
                  <a:lnTo>
                    <a:pt x="90" y="520"/>
                  </a:lnTo>
                  <a:lnTo>
                    <a:pt x="86" y="522"/>
                  </a:lnTo>
                  <a:lnTo>
                    <a:pt x="82" y="523"/>
                  </a:lnTo>
                  <a:lnTo>
                    <a:pt x="71" y="527"/>
                  </a:lnTo>
                  <a:lnTo>
                    <a:pt x="60" y="527"/>
                  </a:lnTo>
                  <a:lnTo>
                    <a:pt x="49" y="529"/>
                  </a:lnTo>
                  <a:lnTo>
                    <a:pt x="36" y="531"/>
                  </a:lnTo>
                  <a:lnTo>
                    <a:pt x="32" y="533"/>
                  </a:lnTo>
                  <a:lnTo>
                    <a:pt x="26" y="537"/>
                  </a:lnTo>
                  <a:lnTo>
                    <a:pt x="23" y="542"/>
                  </a:lnTo>
                  <a:lnTo>
                    <a:pt x="21" y="548"/>
                  </a:lnTo>
                  <a:lnTo>
                    <a:pt x="21" y="548"/>
                  </a:lnTo>
                  <a:lnTo>
                    <a:pt x="19" y="552"/>
                  </a:lnTo>
                  <a:lnTo>
                    <a:pt x="23" y="555"/>
                  </a:lnTo>
                  <a:lnTo>
                    <a:pt x="28" y="565"/>
                  </a:lnTo>
                  <a:lnTo>
                    <a:pt x="30" y="570"/>
                  </a:lnTo>
                  <a:lnTo>
                    <a:pt x="28" y="576"/>
                  </a:lnTo>
                  <a:lnTo>
                    <a:pt x="24" y="583"/>
                  </a:lnTo>
                  <a:lnTo>
                    <a:pt x="15" y="591"/>
                  </a:lnTo>
                  <a:lnTo>
                    <a:pt x="15" y="591"/>
                  </a:lnTo>
                  <a:lnTo>
                    <a:pt x="11" y="596"/>
                  </a:lnTo>
                  <a:lnTo>
                    <a:pt x="6" y="602"/>
                  </a:lnTo>
                  <a:lnTo>
                    <a:pt x="2" y="611"/>
                  </a:lnTo>
                  <a:lnTo>
                    <a:pt x="0" y="623"/>
                  </a:lnTo>
                  <a:lnTo>
                    <a:pt x="0" y="632"/>
                  </a:lnTo>
                  <a:lnTo>
                    <a:pt x="2" y="641"/>
                  </a:lnTo>
                  <a:lnTo>
                    <a:pt x="8" y="651"/>
                  </a:lnTo>
                  <a:lnTo>
                    <a:pt x="11" y="654"/>
                  </a:lnTo>
                  <a:lnTo>
                    <a:pt x="17" y="656"/>
                  </a:lnTo>
                  <a:lnTo>
                    <a:pt x="17" y="656"/>
                  </a:lnTo>
                  <a:lnTo>
                    <a:pt x="24" y="662"/>
                  </a:lnTo>
                  <a:lnTo>
                    <a:pt x="32" y="669"/>
                  </a:lnTo>
                  <a:lnTo>
                    <a:pt x="51" y="695"/>
                  </a:lnTo>
                  <a:lnTo>
                    <a:pt x="71" y="733"/>
                  </a:lnTo>
                  <a:lnTo>
                    <a:pt x="71" y="733"/>
                  </a:lnTo>
                  <a:lnTo>
                    <a:pt x="51" y="778"/>
                  </a:lnTo>
                  <a:lnTo>
                    <a:pt x="34" y="811"/>
                  </a:lnTo>
                  <a:lnTo>
                    <a:pt x="30" y="826"/>
                  </a:lnTo>
                  <a:lnTo>
                    <a:pt x="26" y="839"/>
                  </a:lnTo>
                  <a:lnTo>
                    <a:pt x="26" y="839"/>
                  </a:lnTo>
                  <a:lnTo>
                    <a:pt x="26" y="845"/>
                  </a:lnTo>
                  <a:lnTo>
                    <a:pt x="24" y="850"/>
                  </a:lnTo>
                  <a:lnTo>
                    <a:pt x="19" y="858"/>
                  </a:lnTo>
                  <a:lnTo>
                    <a:pt x="11" y="862"/>
                  </a:lnTo>
                  <a:lnTo>
                    <a:pt x="6" y="865"/>
                  </a:lnTo>
                  <a:lnTo>
                    <a:pt x="4" y="869"/>
                  </a:lnTo>
                  <a:lnTo>
                    <a:pt x="4" y="871"/>
                  </a:lnTo>
                  <a:lnTo>
                    <a:pt x="4" y="875"/>
                  </a:lnTo>
                  <a:lnTo>
                    <a:pt x="6" y="880"/>
                  </a:lnTo>
                  <a:lnTo>
                    <a:pt x="15" y="895"/>
                  </a:lnTo>
                  <a:lnTo>
                    <a:pt x="36" y="920"/>
                  </a:lnTo>
                  <a:lnTo>
                    <a:pt x="36" y="920"/>
                  </a:lnTo>
                  <a:lnTo>
                    <a:pt x="107" y="935"/>
                  </a:lnTo>
                  <a:lnTo>
                    <a:pt x="170" y="950"/>
                  </a:lnTo>
                  <a:lnTo>
                    <a:pt x="170" y="950"/>
                  </a:lnTo>
                  <a:lnTo>
                    <a:pt x="174" y="951"/>
                  </a:lnTo>
                  <a:lnTo>
                    <a:pt x="178" y="951"/>
                  </a:lnTo>
                  <a:lnTo>
                    <a:pt x="181" y="948"/>
                  </a:lnTo>
                  <a:lnTo>
                    <a:pt x="185" y="944"/>
                  </a:lnTo>
                  <a:lnTo>
                    <a:pt x="189" y="938"/>
                  </a:lnTo>
                  <a:lnTo>
                    <a:pt x="193" y="933"/>
                  </a:lnTo>
                  <a:lnTo>
                    <a:pt x="198" y="931"/>
                  </a:lnTo>
                  <a:lnTo>
                    <a:pt x="200" y="931"/>
                  </a:lnTo>
                  <a:lnTo>
                    <a:pt x="204" y="933"/>
                  </a:lnTo>
                  <a:lnTo>
                    <a:pt x="211" y="940"/>
                  </a:lnTo>
                  <a:lnTo>
                    <a:pt x="211" y="940"/>
                  </a:lnTo>
                  <a:lnTo>
                    <a:pt x="219" y="946"/>
                  </a:lnTo>
                  <a:lnTo>
                    <a:pt x="221" y="946"/>
                  </a:lnTo>
                  <a:lnTo>
                    <a:pt x="224" y="946"/>
                  </a:lnTo>
                  <a:lnTo>
                    <a:pt x="228" y="940"/>
                  </a:lnTo>
                  <a:lnTo>
                    <a:pt x="237" y="935"/>
                  </a:lnTo>
                  <a:lnTo>
                    <a:pt x="237" y="935"/>
                  </a:lnTo>
                  <a:lnTo>
                    <a:pt x="237" y="931"/>
                  </a:lnTo>
                  <a:lnTo>
                    <a:pt x="236" y="927"/>
                  </a:lnTo>
                  <a:lnTo>
                    <a:pt x="230" y="918"/>
                  </a:lnTo>
                  <a:lnTo>
                    <a:pt x="224" y="907"/>
                  </a:lnTo>
                  <a:lnTo>
                    <a:pt x="217" y="895"/>
                  </a:lnTo>
                  <a:lnTo>
                    <a:pt x="215" y="890"/>
                  </a:lnTo>
                  <a:lnTo>
                    <a:pt x="215" y="884"/>
                  </a:lnTo>
                  <a:lnTo>
                    <a:pt x="215" y="877"/>
                  </a:lnTo>
                  <a:lnTo>
                    <a:pt x="217" y="871"/>
                  </a:lnTo>
                  <a:lnTo>
                    <a:pt x="221" y="864"/>
                  </a:lnTo>
                  <a:lnTo>
                    <a:pt x="226" y="856"/>
                  </a:lnTo>
                  <a:lnTo>
                    <a:pt x="236" y="850"/>
                  </a:lnTo>
                  <a:lnTo>
                    <a:pt x="249" y="843"/>
                  </a:lnTo>
                  <a:lnTo>
                    <a:pt x="249" y="843"/>
                  </a:lnTo>
                  <a:lnTo>
                    <a:pt x="254" y="839"/>
                  </a:lnTo>
                  <a:lnTo>
                    <a:pt x="258" y="836"/>
                  </a:lnTo>
                  <a:lnTo>
                    <a:pt x="265" y="824"/>
                  </a:lnTo>
                  <a:lnTo>
                    <a:pt x="271" y="813"/>
                  </a:lnTo>
                  <a:lnTo>
                    <a:pt x="275" y="802"/>
                  </a:lnTo>
                  <a:lnTo>
                    <a:pt x="279" y="789"/>
                  </a:lnTo>
                  <a:lnTo>
                    <a:pt x="284" y="778"/>
                  </a:lnTo>
                  <a:lnTo>
                    <a:pt x="294" y="768"/>
                  </a:lnTo>
                  <a:lnTo>
                    <a:pt x="299" y="765"/>
                  </a:lnTo>
                  <a:lnTo>
                    <a:pt x="305" y="761"/>
                  </a:lnTo>
                  <a:lnTo>
                    <a:pt x="305" y="761"/>
                  </a:lnTo>
                  <a:lnTo>
                    <a:pt x="308" y="759"/>
                  </a:lnTo>
                  <a:lnTo>
                    <a:pt x="312" y="755"/>
                  </a:lnTo>
                  <a:lnTo>
                    <a:pt x="316" y="744"/>
                  </a:lnTo>
                  <a:lnTo>
                    <a:pt x="320" y="735"/>
                  </a:lnTo>
                  <a:lnTo>
                    <a:pt x="323" y="733"/>
                  </a:lnTo>
                  <a:lnTo>
                    <a:pt x="327" y="733"/>
                  </a:lnTo>
                  <a:lnTo>
                    <a:pt x="327" y="733"/>
                  </a:lnTo>
                  <a:lnTo>
                    <a:pt x="331" y="735"/>
                  </a:lnTo>
                  <a:lnTo>
                    <a:pt x="333" y="737"/>
                  </a:lnTo>
                  <a:lnTo>
                    <a:pt x="333" y="740"/>
                  </a:lnTo>
                  <a:lnTo>
                    <a:pt x="335" y="740"/>
                  </a:lnTo>
                  <a:lnTo>
                    <a:pt x="342" y="733"/>
                  </a:lnTo>
                  <a:lnTo>
                    <a:pt x="366" y="701"/>
                  </a:lnTo>
                  <a:lnTo>
                    <a:pt x="366" y="701"/>
                  </a:lnTo>
                  <a:lnTo>
                    <a:pt x="370" y="697"/>
                  </a:lnTo>
                  <a:lnTo>
                    <a:pt x="376" y="695"/>
                  </a:lnTo>
                  <a:lnTo>
                    <a:pt x="385" y="692"/>
                  </a:lnTo>
                  <a:lnTo>
                    <a:pt x="398" y="690"/>
                  </a:lnTo>
                  <a:lnTo>
                    <a:pt x="411" y="688"/>
                  </a:lnTo>
                  <a:lnTo>
                    <a:pt x="424" y="688"/>
                  </a:lnTo>
                  <a:lnTo>
                    <a:pt x="434" y="684"/>
                  </a:lnTo>
                  <a:lnTo>
                    <a:pt x="443" y="680"/>
                  </a:lnTo>
                  <a:lnTo>
                    <a:pt x="447" y="677"/>
                  </a:lnTo>
                  <a:lnTo>
                    <a:pt x="447" y="673"/>
                  </a:lnTo>
                  <a:lnTo>
                    <a:pt x="447" y="673"/>
                  </a:lnTo>
                  <a:lnTo>
                    <a:pt x="452" y="658"/>
                  </a:lnTo>
                  <a:lnTo>
                    <a:pt x="452" y="656"/>
                  </a:lnTo>
                  <a:lnTo>
                    <a:pt x="454" y="654"/>
                  </a:lnTo>
                  <a:lnTo>
                    <a:pt x="460" y="654"/>
                  </a:lnTo>
                  <a:lnTo>
                    <a:pt x="465" y="652"/>
                  </a:lnTo>
                  <a:lnTo>
                    <a:pt x="471" y="649"/>
                  </a:lnTo>
                  <a:lnTo>
                    <a:pt x="471" y="649"/>
                  </a:lnTo>
                  <a:lnTo>
                    <a:pt x="475" y="645"/>
                  </a:lnTo>
                  <a:lnTo>
                    <a:pt x="477" y="639"/>
                  </a:lnTo>
                  <a:lnTo>
                    <a:pt x="479" y="636"/>
                  </a:lnTo>
                  <a:lnTo>
                    <a:pt x="482" y="630"/>
                  </a:lnTo>
                  <a:lnTo>
                    <a:pt x="482" y="630"/>
                  </a:lnTo>
                  <a:lnTo>
                    <a:pt x="475" y="624"/>
                  </a:lnTo>
                  <a:lnTo>
                    <a:pt x="475" y="619"/>
                  </a:lnTo>
                  <a:lnTo>
                    <a:pt x="475" y="615"/>
                  </a:lnTo>
                  <a:lnTo>
                    <a:pt x="471" y="608"/>
                  </a:lnTo>
                  <a:lnTo>
                    <a:pt x="465" y="596"/>
                  </a:lnTo>
                  <a:lnTo>
                    <a:pt x="454" y="581"/>
                  </a:lnTo>
                  <a:lnTo>
                    <a:pt x="454" y="581"/>
                  </a:lnTo>
                  <a:lnTo>
                    <a:pt x="452" y="576"/>
                  </a:lnTo>
                  <a:lnTo>
                    <a:pt x="452" y="576"/>
                  </a:lnTo>
                  <a:lnTo>
                    <a:pt x="430" y="576"/>
                  </a:lnTo>
                  <a:lnTo>
                    <a:pt x="408" y="574"/>
                  </a:lnTo>
                  <a:lnTo>
                    <a:pt x="387" y="568"/>
                  </a:lnTo>
                  <a:lnTo>
                    <a:pt x="368" y="561"/>
                  </a:lnTo>
                  <a:lnTo>
                    <a:pt x="361" y="557"/>
                  </a:lnTo>
                  <a:lnTo>
                    <a:pt x="355" y="552"/>
                  </a:lnTo>
                  <a:lnTo>
                    <a:pt x="351" y="546"/>
                  </a:lnTo>
                  <a:lnTo>
                    <a:pt x="350" y="540"/>
                  </a:lnTo>
                  <a:lnTo>
                    <a:pt x="350" y="535"/>
                  </a:lnTo>
                  <a:lnTo>
                    <a:pt x="351" y="529"/>
                  </a:lnTo>
                  <a:lnTo>
                    <a:pt x="355" y="522"/>
                  </a:lnTo>
                  <a:lnTo>
                    <a:pt x="363" y="516"/>
                  </a:lnTo>
                  <a:lnTo>
                    <a:pt x="363" y="516"/>
                  </a:lnTo>
                  <a:lnTo>
                    <a:pt x="368" y="510"/>
                  </a:lnTo>
                  <a:lnTo>
                    <a:pt x="372" y="505"/>
                  </a:lnTo>
                  <a:lnTo>
                    <a:pt x="372" y="501"/>
                  </a:lnTo>
                  <a:lnTo>
                    <a:pt x="368" y="495"/>
                  </a:lnTo>
                  <a:lnTo>
                    <a:pt x="365" y="486"/>
                  </a:lnTo>
                  <a:lnTo>
                    <a:pt x="361" y="477"/>
                  </a:lnTo>
                  <a:lnTo>
                    <a:pt x="359" y="462"/>
                  </a:lnTo>
                  <a:lnTo>
                    <a:pt x="357" y="441"/>
                  </a:lnTo>
                  <a:lnTo>
                    <a:pt x="357" y="441"/>
                  </a:lnTo>
                  <a:lnTo>
                    <a:pt x="340" y="439"/>
                  </a:lnTo>
                  <a:lnTo>
                    <a:pt x="331" y="439"/>
                  </a:lnTo>
                  <a:lnTo>
                    <a:pt x="323" y="443"/>
                  </a:lnTo>
                  <a:lnTo>
                    <a:pt x="323" y="443"/>
                  </a:lnTo>
                  <a:lnTo>
                    <a:pt x="299" y="464"/>
                  </a:lnTo>
                  <a:lnTo>
                    <a:pt x="295" y="466"/>
                  </a:lnTo>
                  <a:lnTo>
                    <a:pt x="295" y="464"/>
                  </a:lnTo>
                  <a:lnTo>
                    <a:pt x="294" y="460"/>
                  </a:lnTo>
                  <a:lnTo>
                    <a:pt x="292" y="454"/>
                  </a:lnTo>
                  <a:lnTo>
                    <a:pt x="290" y="452"/>
                  </a:lnTo>
                  <a:lnTo>
                    <a:pt x="286" y="451"/>
                  </a:lnTo>
                  <a:lnTo>
                    <a:pt x="273" y="449"/>
                  </a:lnTo>
                  <a:lnTo>
                    <a:pt x="273" y="449"/>
                  </a:lnTo>
                  <a:lnTo>
                    <a:pt x="258" y="449"/>
                  </a:lnTo>
                  <a:lnTo>
                    <a:pt x="251" y="451"/>
                  </a:lnTo>
                  <a:lnTo>
                    <a:pt x="249" y="452"/>
                  </a:lnTo>
                  <a:lnTo>
                    <a:pt x="249" y="454"/>
                  </a:lnTo>
                  <a:lnTo>
                    <a:pt x="247" y="456"/>
                  </a:lnTo>
                  <a:lnTo>
                    <a:pt x="243" y="456"/>
                  </a:lnTo>
                  <a:lnTo>
                    <a:pt x="221" y="449"/>
                  </a:lnTo>
                  <a:lnTo>
                    <a:pt x="221" y="449"/>
                  </a:lnTo>
                  <a:lnTo>
                    <a:pt x="209" y="443"/>
                  </a:lnTo>
                  <a:lnTo>
                    <a:pt x="204" y="439"/>
                  </a:lnTo>
                  <a:lnTo>
                    <a:pt x="202" y="434"/>
                  </a:lnTo>
                  <a:lnTo>
                    <a:pt x="202" y="430"/>
                  </a:lnTo>
                  <a:lnTo>
                    <a:pt x="206" y="421"/>
                  </a:lnTo>
                  <a:lnTo>
                    <a:pt x="208" y="417"/>
                  </a:lnTo>
                  <a:lnTo>
                    <a:pt x="206" y="411"/>
                  </a:lnTo>
                  <a:lnTo>
                    <a:pt x="206" y="411"/>
                  </a:lnTo>
                  <a:lnTo>
                    <a:pt x="198" y="389"/>
                  </a:lnTo>
                  <a:lnTo>
                    <a:pt x="198" y="383"/>
                  </a:lnTo>
                  <a:lnTo>
                    <a:pt x="200" y="381"/>
                  </a:lnTo>
                  <a:lnTo>
                    <a:pt x="213" y="376"/>
                  </a:lnTo>
                  <a:lnTo>
                    <a:pt x="224" y="370"/>
                  </a:lnTo>
                  <a:lnTo>
                    <a:pt x="241" y="357"/>
                  </a:lnTo>
                  <a:lnTo>
                    <a:pt x="241" y="357"/>
                  </a:lnTo>
                  <a:lnTo>
                    <a:pt x="245" y="353"/>
                  </a:lnTo>
                  <a:lnTo>
                    <a:pt x="245" y="350"/>
                  </a:lnTo>
                  <a:lnTo>
                    <a:pt x="245" y="346"/>
                  </a:lnTo>
                  <a:lnTo>
                    <a:pt x="245" y="342"/>
                  </a:lnTo>
                  <a:lnTo>
                    <a:pt x="239" y="333"/>
                  </a:lnTo>
                  <a:lnTo>
                    <a:pt x="234" y="324"/>
                  </a:lnTo>
                  <a:lnTo>
                    <a:pt x="228" y="314"/>
                  </a:lnTo>
                  <a:lnTo>
                    <a:pt x="226" y="310"/>
                  </a:lnTo>
                  <a:lnTo>
                    <a:pt x="226" y="309"/>
                  </a:lnTo>
                  <a:lnTo>
                    <a:pt x="228" y="305"/>
                  </a:lnTo>
                  <a:lnTo>
                    <a:pt x="232" y="303"/>
                  </a:lnTo>
                  <a:lnTo>
                    <a:pt x="236" y="301"/>
                  </a:lnTo>
                  <a:lnTo>
                    <a:pt x="243" y="299"/>
                  </a:lnTo>
                  <a:lnTo>
                    <a:pt x="243" y="299"/>
                  </a:lnTo>
                  <a:lnTo>
                    <a:pt x="249" y="297"/>
                  </a:lnTo>
                  <a:lnTo>
                    <a:pt x="256" y="294"/>
                  </a:lnTo>
                  <a:lnTo>
                    <a:pt x="273" y="281"/>
                  </a:lnTo>
                  <a:lnTo>
                    <a:pt x="295" y="264"/>
                  </a:lnTo>
                  <a:lnTo>
                    <a:pt x="295" y="264"/>
                  </a:lnTo>
                  <a:lnTo>
                    <a:pt x="301" y="253"/>
                  </a:lnTo>
                  <a:lnTo>
                    <a:pt x="307" y="245"/>
                  </a:lnTo>
                  <a:lnTo>
                    <a:pt x="312" y="239"/>
                  </a:lnTo>
                  <a:lnTo>
                    <a:pt x="316" y="236"/>
                  </a:lnTo>
                  <a:lnTo>
                    <a:pt x="322" y="236"/>
                  </a:lnTo>
                  <a:lnTo>
                    <a:pt x="325" y="238"/>
                  </a:lnTo>
                  <a:lnTo>
                    <a:pt x="333" y="245"/>
                  </a:lnTo>
                  <a:lnTo>
                    <a:pt x="340" y="254"/>
                  </a:lnTo>
                  <a:lnTo>
                    <a:pt x="348" y="266"/>
                  </a:lnTo>
                  <a:lnTo>
                    <a:pt x="353" y="271"/>
                  </a:lnTo>
                  <a:lnTo>
                    <a:pt x="359" y="275"/>
                  </a:lnTo>
                  <a:lnTo>
                    <a:pt x="365" y="277"/>
                  </a:lnTo>
                  <a:lnTo>
                    <a:pt x="372" y="277"/>
                  </a:lnTo>
                  <a:lnTo>
                    <a:pt x="372" y="277"/>
                  </a:lnTo>
                  <a:lnTo>
                    <a:pt x="400" y="277"/>
                  </a:lnTo>
                  <a:lnTo>
                    <a:pt x="408" y="277"/>
                  </a:lnTo>
                  <a:lnTo>
                    <a:pt x="413" y="279"/>
                  </a:lnTo>
                  <a:lnTo>
                    <a:pt x="413" y="281"/>
                  </a:lnTo>
                  <a:lnTo>
                    <a:pt x="413" y="282"/>
                  </a:lnTo>
                  <a:lnTo>
                    <a:pt x="406" y="290"/>
                  </a:lnTo>
                  <a:lnTo>
                    <a:pt x="398" y="299"/>
                  </a:lnTo>
                  <a:lnTo>
                    <a:pt x="394" y="305"/>
                  </a:lnTo>
                  <a:lnTo>
                    <a:pt x="393" y="312"/>
                  </a:lnTo>
                  <a:lnTo>
                    <a:pt x="393" y="318"/>
                  </a:lnTo>
                  <a:lnTo>
                    <a:pt x="396" y="325"/>
                  </a:lnTo>
                  <a:lnTo>
                    <a:pt x="404" y="335"/>
                  </a:lnTo>
                  <a:lnTo>
                    <a:pt x="413" y="342"/>
                  </a:lnTo>
                  <a:lnTo>
                    <a:pt x="413" y="342"/>
                  </a:lnTo>
                  <a:lnTo>
                    <a:pt x="421" y="344"/>
                  </a:lnTo>
                  <a:lnTo>
                    <a:pt x="428" y="348"/>
                  </a:lnTo>
                  <a:lnTo>
                    <a:pt x="441" y="357"/>
                  </a:lnTo>
                  <a:lnTo>
                    <a:pt x="447" y="363"/>
                  </a:lnTo>
                  <a:lnTo>
                    <a:pt x="450" y="367"/>
                  </a:lnTo>
                  <a:lnTo>
                    <a:pt x="450" y="372"/>
                  </a:lnTo>
                  <a:lnTo>
                    <a:pt x="445" y="374"/>
                  </a:lnTo>
                  <a:lnTo>
                    <a:pt x="445" y="374"/>
                  </a:lnTo>
                  <a:lnTo>
                    <a:pt x="439" y="376"/>
                  </a:lnTo>
                  <a:lnTo>
                    <a:pt x="436" y="378"/>
                  </a:lnTo>
                  <a:lnTo>
                    <a:pt x="432" y="381"/>
                  </a:lnTo>
                  <a:lnTo>
                    <a:pt x="430" y="385"/>
                  </a:lnTo>
                  <a:lnTo>
                    <a:pt x="430" y="395"/>
                  </a:lnTo>
                  <a:lnTo>
                    <a:pt x="434" y="404"/>
                  </a:lnTo>
                  <a:lnTo>
                    <a:pt x="439" y="413"/>
                  </a:lnTo>
                  <a:lnTo>
                    <a:pt x="447" y="423"/>
                  </a:lnTo>
                  <a:lnTo>
                    <a:pt x="454" y="430"/>
                  </a:lnTo>
                  <a:lnTo>
                    <a:pt x="464" y="434"/>
                  </a:lnTo>
                  <a:lnTo>
                    <a:pt x="464" y="434"/>
                  </a:lnTo>
                  <a:lnTo>
                    <a:pt x="475" y="436"/>
                  </a:lnTo>
                  <a:lnTo>
                    <a:pt x="479" y="439"/>
                  </a:lnTo>
                  <a:lnTo>
                    <a:pt x="479" y="443"/>
                  </a:lnTo>
                  <a:lnTo>
                    <a:pt x="477" y="447"/>
                  </a:lnTo>
                  <a:lnTo>
                    <a:pt x="473" y="451"/>
                  </a:lnTo>
                  <a:lnTo>
                    <a:pt x="473" y="454"/>
                  </a:lnTo>
                  <a:lnTo>
                    <a:pt x="475" y="460"/>
                  </a:lnTo>
                  <a:lnTo>
                    <a:pt x="480" y="466"/>
                  </a:lnTo>
                  <a:lnTo>
                    <a:pt x="480" y="466"/>
                  </a:lnTo>
                  <a:lnTo>
                    <a:pt x="484" y="467"/>
                  </a:lnTo>
                  <a:lnTo>
                    <a:pt x="486" y="469"/>
                  </a:lnTo>
                  <a:lnTo>
                    <a:pt x="486" y="475"/>
                  </a:lnTo>
                  <a:lnTo>
                    <a:pt x="486" y="475"/>
                  </a:lnTo>
                  <a:lnTo>
                    <a:pt x="492" y="475"/>
                  </a:lnTo>
                  <a:lnTo>
                    <a:pt x="495" y="477"/>
                  </a:lnTo>
                  <a:lnTo>
                    <a:pt x="495" y="477"/>
                  </a:lnTo>
                  <a:lnTo>
                    <a:pt x="514" y="490"/>
                  </a:lnTo>
                  <a:lnTo>
                    <a:pt x="523" y="497"/>
                  </a:lnTo>
                  <a:lnTo>
                    <a:pt x="529" y="503"/>
                  </a:lnTo>
                  <a:lnTo>
                    <a:pt x="531" y="503"/>
                  </a:lnTo>
                  <a:lnTo>
                    <a:pt x="536" y="495"/>
                  </a:lnTo>
                  <a:lnTo>
                    <a:pt x="544" y="490"/>
                  </a:lnTo>
                  <a:lnTo>
                    <a:pt x="559" y="481"/>
                  </a:lnTo>
                  <a:lnTo>
                    <a:pt x="559" y="481"/>
                  </a:lnTo>
                  <a:lnTo>
                    <a:pt x="563" y="479"/>
                  </a:lnTo>
                  <a:lnTo>
                    <a:pt x="566" y="479"/>
                  </a:lnTo>
                  <a:lnTo>
                    <a:pt x="581" y="481"/>
                  </a:lnTo>
                  <a:lnTo>
                    <a:pt x="591" y="479"/>
                  </a:lnTo>
                  <a:lnTo>
                    <a:pt x="598" y="477"/>
                  </a:lnTo>
                  <a:lnTo>
                    <a:pt x="607" y="469"/>
                  </a:lnTo>
                  <a:lnTo>
                    <a:pt x="619" y="458"/>
                  </a:lnTo>
                  <a:lnTo>
                    <a:pt x="619" y="458"/>
                  </a:lnTo>
                  <a:lnTo>
                    <a:pt x="622" y="447"/>
                  </a:lnTo>
                  <a:lnTo>
                    <a:pt x="626" y="438"/>
                  </a:lnTo>
                  <a:lnTo>
                    <a:pt x="630" y="415"/>
                  </a:lnTo>
                  <a:lnTo>
                    <a:pt x="635" y="400"/>
                  </a:lnTo>
                  <a:lnTo>
                    <a:pt x="645" y="385"/>
                  </a:lnTo>
                  <a:lnTo>
                    <a:pt x="660" y="368"/>
                  </a:lnTo>
                  <a:lnTo>
                    <a:pt x="680" y="348"/>
                  </a:lnTo>
                  <a:lnTo>
                    <a:pt x="680" y="348"/>
                  </a:lnTo>
                  <a:lnTo>
                    <a:pt x="678" y="339"/>
                  </a:lnTo>
                  <a:lnTo>
                    <a:pt x="675" y="333"/>
                  </a:lnTo>
                  <a:lnTo>
                    <a:pt x="673" y="331"/>
                  </a:lnTo>
                  <a:lnTo>
                    <a:pt x="671" y="329"/>
                  </a:lnTo>
                  <a:lnTo>
                    <a:pt x="667" y="327"/>
                  </a:lnTo>
                  <a:lnTo>
                    <a:pt x="664" y="322"/>
                  </a:lnTo>
                  <a:lnTo>
                    <a:pt x="658" y="310"/>
                  </a:lnTo>
                  <a:lnTo>
                    <a:pt x="652" y="292"/>
                  </a:lnTo>
                  <a:lnTo>
                    <a:pt x="652" y="292"/>
                  </a:lnTo>
                  <a:lnTo>
                    <a:pt x="647" y="282"/>
                  </a:lnTo>
                  <a:lnTo>
                    <a:pt x="643" y="277"/>
                  </a:lnTo>
                  <a:lnTo>
                    <a:pt x="639" y="275"/>
                  </a:lnTo>
                  <a:lnTo>
                    <a:pt x="634" y="277"/>
                  </a:lnTo>
                  <a:lnTo>
                    <a:pt x="628" y="277"/>
                  </a:lnTo>
                  <a:lnTo>
                    <a:pt x="622" y="279"/>
                  </a:lnTo>
                  <a:lnTo>
                    <a:pt x="615" y="275"/>
                  </a:lnTo>
                  <a:lnTo>
                    <a:pt x="607" y="269"/>
                  </a:lnTo>
                  <a:lnTo>
                    <a:pt x="607" y="269"/>
                  </a:lnTo>
                  <a:close/>
                  <a:moveTo>
                    <a:pt x="396" y="406"/>
                  </a:moveTo>
                  <a:lnTo>
                    <a:pt x="396" y="406"/>
                  </a:lnTo>
                  <a:lnTo>
                    <a:pt x="394" y="400"/>
                  </a:lnTo>
                  <a:lnTo>
                    <a:pt x="394" y="398"/>
                  </a:lnTo>
                  <a:lnTo>
                    <a:pt x="391" y="395"/>
                  </a:lnTo>
                  <a:lnTo>
                    <a:pt x="389" y="393"/>
                  </a:lnTo>
                  <a:lnTo>
                    <a:pt x="387" y="389"/>
                  </a:lnTo>
                  <a:lnTo>
                    <a:pt x="387" y="381"/>
                  </a:lnTo>
                  <a:lnTo>
                    <a:pt x="387" y="372"/>
                  </a:lnTo>
                  <a:lnTo>
                    <a:pt x="387" y="372"/>
                  </a:lnTo>
                  <a:lnTo>
                    <a:pt x="374" y="372"/>
                  </a:lnTo>
                  <a:lnTo>
                    <a:pt x="357" y="374"/>
                  </a:lnTo>
                  <a:lnTo>
                    <a:pt x="351" y="378"/>
                  </a:lnTo>
                  <a:lnTo>
                    <a:pt x="348" y="381"/>
                  </a:lnTo>
                  <a:lnTo>
                    <a:pt x="348" y="387"/>
                  </a:lnTo>
                  <a:lnTo>
                    <a:pt x="351" y="396"/>
                  </a:lnTo>
                  <a:lnTo>
                    <a:pt x="351" y="396"/>
                  </a:lnTo>
                  <a:lnTo>
                    <a:pt x="353" y="400"/>
                  </a:lnTo>
                  <a:lnTo>
                    <a:pt x="357" y="402"/>
                  </a:lnTo>
                  <a:lnTo>
                    <a:pt x="363" y="406"/>
                  </a:lnTo>
                  <a:lnTo>
                    <a:pt x="365" y="408"/>
                  </a:lnTo>
                  <a:lnTo>
                    <a:pt x="366" y="410"/>
                  </a:lnTo>
                  <a:lnTo>
                    <a:pt x="366" y="415"/>
                  </a:lnTo>
                  <a:lnTo>
                    <a:pt x="365" y="421"/>
                  </a:lnTo>
                  <a:lnTo>
                    <a:pt x="365" y="421"/>
                  </a:lnTo>
                  <a:lnTo>
                    <a:pt x="365" y="424"/>
                  </a:lnTo>
                  <a:lnTo>
                    <a:pt x="365" y="426"/>
                  </a:lnTo>
                  <a:lnTo>
                    <a:pt x="365" y="426"/>
                  </a:lnTo>
                  <a:lnTo>
                    <a:pt x="374" y="430"/>
                  </a:lnTo>
                  <a:lnTo>
                    <a:pt x="379" y="432"/>
                  </a:lnTo>
                  <a:lnTo>
                    <a:pt x="385" y="432"/>
                  </a:lnTo>
                  <a:lnTo>
                    <a:pt x="389" y="432"/>
                  </a:lnTo>
                  <a:lnTo>
                    <a:pt x="393" y="426"/>
                  </a:lnTo>
                  <a:lnTo>
                    <a:pt x="396" y="419"/>
                  </a:lnTo>
                  <a:lnTo>
                    <a:pt x="396" y="406"/>
                  </a:lnTo>
                  <a:lnTo>
                    <a:pt x="396" y="406"/>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 name="Freeform 11">
              <a:extLst>
                <a:ext uri="{FF2B5EF4-FFF2-40B4-BE49-F238E27FC236}">
                  <a16:creationId xmlns:a16="http://schemas.microsoft.com/office/drawing/2014/main" id="{D90DD264-5531-4A48-813D-8CA0CCD6FFEE}"/>
                </a:ext>
              </a:extLst>
            </p:cNvPr>
            <p:cNvSpPr>
              <a:spLocks noEditPoints="1"/>
            </p:cNvSpPr>
            <p:nvPr/>
          </p:nvSpPr>
          <p:spPr bwMode="auto">
            <a:xfrm>
              <a:off x="5789162" y="3641816"/>
              <a:ext cx="781165" cy="539548"/>
            </a:xfrm>
            <a:custGeom>
              <a:avLst/>
              <a:gdLst/>
              <a:ahLst/>
              <a:cxnLst>
                <a:cxn ang="0">
                  <a:pos x="415" y="76"/>
                </a:cxn>
                <a:cxn ang="0">
                  <a:pos x="367" y="87"/>
                </a:cxn>
                <a:cxn ang="0">
                  <a:pos x="326" y="71"/>
                </a:cxn>
                <a:cxn ang="0">
                  <a:pos x="305" y="84"/>
                </a:cxn>
                <a:cxn ang="0">
                  <a:pos x="281" y="112"/>
                </a:cxn>
                <a:cxn ang="0">
                  <a:pos x="204" y="132"/>
                </a:cxn>
                <a:cxn ang="0">
                  <a:pos x="161" y="168"/>
                </a:cxn>
                <a:cxn ang="0">
                  <a:pos x="139" y="196"/>
                </a:cxn>
                <a:cxn ang="0">
                  <a:pos x="92" y="271"/>
                </a:cxn>
                <a:cxn ang="0">
                  <a:pos x="49" y="312"/>
                </a:cxn>
                <a:cxn ang="0">
                  <a:pos x="71" y="370"/>
                </a:cxn>
                <a:cxn ang="0">
                  <a:pos x="56" y="405"/>
                </a:cxn>
                <a:cxn ang="0">
                  <a:pos x="96" y="403"/>
                </a:cxn>
                <a:cxn ang="0">
                  <a:pos x="133" y="385"/>
                </a:cxn>
                <a:cxn ang="0">
                  <a:pos x="113" y="413"/>
                </a:cxn>
                <a:cxn ang="0">
                  <a:pos x="55" y="472"/>
                </a:cxn>
                <a:cxn ang="0">
                  <a:pos x="6" y="521"/>
                </a:cxn>
                <a:cxn ang="0">
                  <a:pos x="43" y="541"/>
                </a:cxn>
                <a:cxn ang="0">
                  <a:pos x="73" y="562"/>
                </a:cxn>
                <a:cxn ang="0">
                  <a:pos x="98" y="592"/>
                </a:cxn>
                <a:cxn ang="0">
                  <a:pos x="191" y="575"/>
                </a:cxn>
                <a:cxn ang="0">
                  <a:pos x="213" y="540"/>
                </a:cxn>
                <a:cxn ang="0">
                  <a:pos x="234" y="532"/>
                </a:cxn>
                <a:cxn ang="0">
                  <a:pos x="219" y="484"/>
                </a:cxn>
                <a:cxn ang="0">
                  <a:pos x="273" y="551"/>
                </a:cxn>
                <a:cxn ang="0">
                  <a:pos x="333" y="590"/>
                </a:cxn>
                <a:cxn ang="0">
                  <a:pos x="382" y="562"/>
                </a:cxn>
                <a:cxn ang="0">
                  <a:pos x="423" y="592"/>
                </a:cxn>
                <a:cxn ang="0">
                  <a:pos x="443" y="549"/>
                </a:cxn>
                <a:cxn ang="0">
                  <a:pos x="477" y="502"/>
                </a:cxn>
                <a:cxn ang="0">
                  <a:pos x="535" y="472"/>
                </a:cxn>
                <a:cxn ang="0">
                  <a:pos x="570" y="405"/>
                </a:cxn>
                <a:cxn ang="0">
                  <a:pos x="608" y="345"/>
                </a:cxn>
                <a:cxn ang="0">
                  <a:pos x="621" y="319"/>
                </a:cxn>
                <a:cxn ang="0">
                  <a:pos x="656" y="328"/>
                </a:cxn>
                <a:cxn ang="0">
                  <a:pos x="662" y="284"/>
                </a:cxn>
                <a:cxn ang="0">
                  <a:pos x="683" y="261"/>
                </a:cxn>
                <a:cxn ang="0">
                  <a:pos x="705" y="244"/>
                </a:cxn>
                <a:cxn ang="0">
                  <a:pos x="817" y="194"/>
                </a:cxn>
                <a:cxn ang="0">
                  <a:pos x="853" y="194"/>
                </a:cxn>
                <a:cxn ang="0">
                  <a:pos x="854" y="153"/>
                </a:cxn>
                <a:cxn ang="0">
                  <a:pos x="858" y="119"/>
                </a:cxn>
                <a:cxn ang="0">
                  <a:pos x="806" y="114"/>
                </a:cxn>
                <a:cxn ang="0">
                  <a:pos x="755" y="129"/>
                </a:cxn>
                <a:cxn ang="0">
                  <a:pos x="716" y="114"/>
                </a:cxn>
                <a:cxn ang="0">
                  <a:pos x="655" y="86"/>
                </a:cxn>
                <a:cxn ang="0">
                  <a:pos x="602" y="112"/>
                </a:cxn>
                <a:cxn ang="0">
                  <a:pos x="565" y="160"/>
                </a:cxn>
                <a:cxn ang="0">
                  <a:pos x="520" y="203"/>
                </a:cxn>
                <a:cxn ang="0">
                  <a:pos x="445" y="181"/>
                </a:cxn>
                <a:cxn ang="0">
                  <a:pos x="456" y="119"/>
                </a:cxn>
                <a:cxn ang="0">
                  <a:pos x="451" y="93"/>
                </a:cxn>
                <a:cxn ang="0">
                  <a:pos x="651" y="13"/>
                </a:cxn>
                <a:cxn ang="0">
                  <a:pos x="651" y="0"/>
                </a:cxn>
                <a:cxn ang="0">
                  <a:pos x="638" y="16"/>
                </a:cxn>
                <a:cxn ang="0">
                  <a:pos x="649" y="37"/>
                </a:cxn>
                <a:cxn ang="0">
                  <a:pos x="628" y="50"/>
                </a:cxn>
                <a:cxn ang="0">
                  <a:pos x="658" y="52"/>
                </a:cxn>
                <a:cxn ang="0">
                  <a:pos x="666" y="58"/>
                </a:cxn>
                <a:cxn ang="0">
                  <a:pos x="640" y="78"/>
                </a:cxn>
                <a:cxn ang="0">
                  <a:pos x="632" y="65"/>
                </a:cxn>
                <a:cxn ang="0">
                  <a:pos x="626" y="72"/>
                </a:cxn>
              </a:cxnLst>
              <a:rect l="0" t="0" r="r" b="b"/>
              <a:pathLst>
                <a:path w="862" h="594">
                  <a:moveTo>
                    <a:pt x="141" y="377"/>
                  </a:moveTo>
                  <a:lnTo>
                    <a:pt x="141" y="377"/>
                  </a:lnTo>
                  <a:close/>
                  <a:moveTo>
                    <a:pt x="440" y="78"/>
                  </a:moveTo>
                  <a:lnTo>
                    <a:pt x="440" y="78"/>
                  </a:lnTo>
                  <a:lnTo>
                    <a:pt x="430" y="72"/>
                  </a:lnTo>
                  <a:lnTo>
                    <a:pt x="425" y="71"/>
                  </a:lnTo>
                  <a:lnTo>
                    <a:pt x="419" y="72"/>
                  </a:lnTo>
                  <a:lnTo>
                    <a:pt x="415" y="76"/>
                  </a:lnTo>
                  <a:lnTo>
                    <a:pt x="412" y="82"/>
                  </a:lnTo>
                  <a:lnTo>
                    <a:pt x="406" y="86"/>
                  </a:lnTo>
                  <a:lnTo>
                    <a:pt x="398" y="87"/>
                  </a:lnTo>
                  <a:lnTo>
                    <a:pt x="389" y="84"/>
                  </a:lnTo>
                  <a:lnTo>
                    <a:pt x="389" y="84"/>
                  </a:lnTo>
                  <a:lnTo>
                    <a:pt x="380" y="82"/>
                  </a:lnTo>
                  <a:lnTo>
                    <a:pt x="372" y="84"/>
                  </a:lnTo>
                  <a:lnTo>
                    <a:pt x="367" y="87"/>
                  </a:lnTo>
                  <a:lnTo>
                    <a:pt x="361" y="91"/>
                  </a:lnTo>
                  <a:lnTo>
                    <a:pt x="357" y="95"/>
                  </a:lnTo>
                  <a:lnTo>
                    <a:pt x="352" y="95"/>
                  </a:lnTo>
                  <a:lnTo>
                    <a:pt x="346" y="93"/>
                  </a:lnTo>
                  <a:lnTo>
                    <a:pt x="341" y="86"/>
                  </a:lnTo>
                  <a:lnTo>
                    <a:pt x="341" y="86"/>
                  </a:lnTo>
                  <a:lnTo>
                    <a:pt x="333" y="78"/>
                  </a:lnTo>
                  <a:lnTo>
                    <a:pt x="326" y="71"/>
                  </a:lnTo>
                  <a:lnTo>
                    <a:pt x="326" y="71"/>
                  </a:lnTo>
                  <a:lnTo>
                    <a:pt x="316" y="65"/>
                  </a:lnTo>
                  <a:lnTo>
                    <a:pt x="316" y="65"/>
                  </a:lnTo>
                  <a:lnTo>
                    <a:pt x="313" y="71"/>
                  </a:lnTo>
                  <a:lnTo>
                    <a:pt x="311" y="74"/>
                  </a:lnTo>
                  <a:lnTo>
                    <a:pt x="309" y="80"/>
                  </a:lnTo>
                  <a:lnTo>
                    <a:pt x="305" y="84"/>
                  </a:lnTo>
                  <a:lnTo>
                    <a:pt x="305" y="84"/>
                  </a:lnTo>
                  <a:lnTo>
                    <a:pt x="299" y="87"/>
                  </a:lnTo>
                  <a:lnTo>
                    <a:pt x="294" y="89"/>
                  </a:lnTo>
                  <a:lnTo>
                    <a:pt x="288" y="89"/>
                  </a:lnTo>
                  <a:lnTo>
                    <a:pt x="286" y="91"/>
                  </a:lnTo>
                  <a:lnTo>
                    <a:pt x="286" y="93"/>
                  </a:lnTo>
                  <a:lnTo>
                    <a:pt x="281" y="108"/>
                  </a:lnTo>
                  <a:lnTo>
                    <a:pt x="281" y="108"/>
                  </a:lnTo>
                  <a:lnTo>
                    <a:pt x="281" y="112"/>
                  </a:lnTo>
                  <a:lnTo>
                    <a:pt x="277" y="115"/>
                  </a:lnTo>
                  <a:lnTo>
                    <a:pt x="268" y="119"/>
                  </a:lnTo>
                  <a:lnTo>
                    <a:pt x="258" y="123"/>
                  </a:lnTo>
                  <a:lnTo>
                    <a:pt x="245" y="123"/>
                  </a:lnTo>
                  <a:lnTo>
                    <a:pt x="232" y="125"/>
                  </a:lnTo>
                  <a:lnTo>
                    <a:pt x="219" y="127"/>
                  </a:lnTo>
                  <a:lnTo>
                    <a:pt x="210" y="130"/>
                  </a:lnTo>
                  <a:lnTo>
                    <a:pt x="204" y="132"/>
                  </a:lnTo>
                  <a:lnTo>
                    <a:pt x="200" y="136"/>
                  </a:lnTo>
                  <a:lnTo>
                    <a:pt x="200" y="136"/>
                  </a:lnTo>
                  <a:lnTo>
                    <a:pt x="176" y="168"/>
                  </a:lnTo>
                  <a:lnTo>
                    <a:pt x="169" y="175"/>
                  </a:lnTo>
                  <a:lnTo>
                    <a:pt x="167" y="175"/>
                  </a:lnTo>
                  <a:lnTo>
                    <a:pt x="167" y="172"/>
                  </a:lnTo>
                  <a:lnTo>
                    <a:pt x="165" y="170"/>
                  </a:lnTo>
                  <a:lnTo>
                    <a:pt x="161" y="168"/>
                  </a:lnTo>
                  <a:lnTo>
                    <a:pt x="161" y="168"/>
                  </a:lnTo>
                  <a:lnTo>
                    <a:pt x="157" y="168"/>
                  </a:lnTo>
                  <a:lnTo>
                    <a:pt x="154" y="170"/>
                  </a:lnTo>
                  <a:lnTo>
                    <a:pt x="150" y="179"/>
                  </a:lnTo>
                  <a:lnTo>
                    <a:pt x="146" y="190"/>
                  </a:lnTo>
                  <a:lnTo>
                    <a:pt x="142" y="194"/>
                  </a:lnTo>
                  <a:lnTo>
                    <a:pt x="139" y="196"/>
                  </a:lnTo>
                  <a:lnTo>
                    <a:pt x="139" y="196"/>
                  </a:lnTo>
                  <a:lnTo>
                    <a:pt x="133" y="200"/>
                  </a:lnTo>
                  <a:lnTo>
                    <a:pt x="128" y="203"/>
                  </a:lnTo>
                  <a:lnTo>
                    <a:pt x="118" y="213"/>
                  </a:lnTo>
                  <a:lnTo>
                    <a:pt x="113" y="224"/>
                  </a:lnTo>
                  <a:lnTo>
                    <a:pt x="109" y="237"/>
                  </a:lnTo>
                  <a:lnTo>
                    <a:pt x="105" y="248"/>
                  </a:lnTo>
                  <a:lnTo>
                    <a:pt x="99" y="259"/>
                  </a:lnTo>
                  <a:lnTo>
                    <a:pt x="92" y="271"/>
                  </a:lnTo>
                  <a:lnTo>
                    <a:pt x="88" y="274"/>
                  </a:lnTo>
                  <a:lnTo>
                    <a:pt x="83" y="278"/>
                  </a:lnTo>
                  <a:lnTo>
                    <a:pt x="83" y="278"/>
                  </a:lnTo>
                  <a:lnTo>
                    <a:pt x="70" y="285"/>
                  </a:lnTo>
                  <a:lnTo>
                    <a:pt x="60" y="291"/>
                  </a:lnTo>
                  <a:lnTo>
                    <a:pt x="55" y="299"/>
                  </a:lnTo>
                  <a:lnTo>
                    <a:pt x="51" y="306"/>
                  </a:lnTo>
                  <a:lnTo>
                    <a:pt x="49" y="312"/>
                  </a:lnTo>
                  <a:lnTo>
                    <a:pt x="49" y="319"/>
                  </a:lnTo>
                  <a:lnTo>
                    <a:pt x="49" y="325"/>
                  </a:lnTo>
                  <a:lnTo>
                    <a:pt x="51" y="330"/>
                  </a:lnTo>
                  <a:lnTo>
                    <a:pt x="58" y="342"/>
                  </a:lnTo>
                  <a:lnTo>
                    <a:pt x="64" y="353"/>
                  </a:lnTo>
                  <a:lnTo>
                    <a:pt x="70" y="362"/>
                  </a:lnTo>
                  <a:lnTo>
                    <a:pt x="71" y="366"/>
                  </a:lnTo>
                  <a:lnTo>
                    <a:pt x="71" y="370"/>
                  </a:lnTo>
                  <a:lnTo>
                    <a:pt x="71" y="370"/>
                  </a:lnTo>
                  <a:lnTo>
                    <a:pt x="73" y="377"/>
                  </a:lnTo>
                  <a:lnTo>
                    <a:pt x="73" y="383"/>
                  </a:lnTo>
                  <a:lnTo>
                    <a:pt x="71" y="388"/>
                  </a:lnTo>
                  <a:lnTo>
                    <a:pt x="70" y="392"/>
                  </a:lnTo>
                  <a:lnTo>
                    <a:pt x="62" y="399"/>
                  </a:lnTo>
                  <a:lnTo>
                    <a:pt x="56" y="405"/>
                  </a:lnTo>
                  <a:lnTo>
                    <a:pt x="56" y="405"/>
                  </a:lnTo>
                  <a:lnTo>
                    <a:pt x="55" y="414"/>
                  </a:lnTo>
                  <a:lnTo>
                    <a:pt x="55" y="420"/>
                  </a:lnTo>
                  <a:lnTo>
                    <a:pt x="58" y="422"/>
                  </a:lnTo>
                  <a:lnTo>
                    <a:pt x="64" y="420"/>
                  </a:lnTo>
                  <a:lnTo>
                    <a:pt x="75" y="413"/>
                  </a:lnTo>
                  <a:lnTo>
                    <a:pt x="83" y="407"/>
                  </a:lnTo>
                  <a:lnTo>
                    <a:pt x="83" y="407"/>
                  </a:lnTo>
                  <a:lnTo>
                    <a:pt x="96" y="403"/>
                  </a:lnTo>
                  <a:lnTo>
                    <a:pt x="99" y="401"/>
                  </a:lnTo>
                  <a:lnTo>
                    <a:pt x="99" y="399"/>
                  </a:lnTo>
                  <a:lnTo>
                    <a:pt x="103" y="396"/>
                  </a:lnTo>
                  <a:lnTo>
                    <a:pt x="105" y="394"/>
                  </a:lnTo>
                  <a:lnTo>
                    <a:pt x="111" y="392"/>
                  </a:lnTo>
                  <a:lnTo>
                    <a:pt x="111" y="392"/>
                  </a:lnTo>
                  <a:lnTo>
                    <a:pt x="124" y="388"/>
                  </a:lnTo>
                  <a:lnTo>
                    <a:pt x="133" y="385"/>
                  </a:lnTo>
                  <a:lnTo>
                    <a:pt x="137" y="379"/>
                  </a:lnTo>
                  <a:lnTo>
                    <a:pt x="141" y="377"/>
                  </a:lnTo>
                  <a:lnTo>
                    <a:pt x="141" y="377"/>
                  </a:lnTo>
                  <a:lnTo>
                    <a:pt x="139" y="381"/>
                  </a:lnTo>
                  <a:lnTo>
                    <a:pt x="139" y="381"/>
                  </a:lnTo>
                  <a:lnTo>
                    <a:pt x="133" y="392"/>
                  </a:lnTo>
                  <a:lnTo>
                    <a:pt x="124" y="401"/>
                  </a:lnTo>
                  <a:lnTo>
                    <a:pt x="113" y="413"/>
                  </a:lnTo>
                  <a:lnTo>
                    <a:pt x="99" y="422"/>
                  </a:lnTo>
                  <a:lnTo>
                    <a:pt x="75" y="439"/>
                  </a:lnTo>
                  <a:lnTo>
                    <a:pt x="68" y="446"/>
                  </a:lnTo>
                  <a:lnTo>
                    <a:pt x="64" y="454"/>
                  </a:lnTo>
                  <a:lnTo>
                    <a:pt x="64" y="454"/>
                  </a:lnTo>
                  <a:lnTo>
                    <a:pt x="64" y="463"/>
                  </a:lnTo>
                  <a:lnTo>
                    <a:pt x="60" y="469"/>
                  </a:lnTo>
                  <a:lnTo>
                    <a:pt x="55" y="472"/>
                  </a:lnTo>
                  <a:lnTo>
                    <a:pt x="49" y="476"/>
                  </a:lnTo>
                  <a:lnTo>
                    <a:pt x="36" y="480"/>
                  </a:lnTo>
                  <a:lnTo>
                    <a:pt x="32" y="484"/>
                  </a:lnTo>
                  <a:lnTo>
                    <a:pt x="28" y="489"/>
                  </a:lnTo>
                  <a:lnTo>
                    <a:pt x="28" y="489"/>
                  </a:lnTo>
                  <a:lnTo>
                    <a:pt x="25" y="495"/>
                  </a:lnTo>
                  <a:lnTo>
                    <a:pt x="19" y="502"/>
                  </a:lnTo>
                  <a:lnTo>
                    <a:pt x="6" y="521"/>
                  </a:lnTo>
                  <a:lnTo>
                    <a:pt x="2" y="528"/>
                  </a:lnTo>
                  <a:lnTo>
                    <a:pt x="0" y="536"/>
                  </a:lnTo>
                  <a:lnTo>
                    <a:pt x="2" y="538"/>
                  </a:lnTo>
                  <a:lnTo>
                    <a:pt x="4" y="540"/>
                  </a:lnTo>
                  <a:lnTo>
                    <a:pt x="10" y="541"/>
                  </a:lnTo>
                  <a:lnTo>
                    <a:pt x="15" y="541"/>
                  </a:lnTo>
                  <a:lnTo>
                    <a:pt x="15" y="541"/>
                  </a:lnTo>
                  <a:lnTo>
                    <a:pt x="43" y="541"/>
                  </a:lnTo>
                  <a:lnTo>
                    <a:pt x="47" y="543"/>
                  </a:lnTo>
                  <a:lnTo>
                    <a:pt x="49" y="545"/>
                  </a:lnTo>
                  <a:lnTo>
                    <a:pt x="49" y="549"/>
                  </a:lnTo>
                  <a:lnTo>
                    <a:pt x="51" y="551"/>
                  </a:lnTo>
                  <a:lnTo>
                    <a:pt x="56" y="553"/>
                  </a:lnTo>
                  <a:lnTo>
                    <a:pt x="56" y="553"/>
                  </a:lnTo>
                  <a:lnTo>
                    <a:pt x="66" y="556"/>
                  </a:lnTo>
                  <a:lnTo>
                    <a:pt x="73" y="562"/>
                  </a:lnTo>
                  <a:lnTo>
                    <a:pt x="77" y="566"/>
                  </a:lnTo>
                  <a:lnTo>
                    <a:pt x="79" y="569"/>
                  </a:lnTo>
                  <a:lnTo>
                    <a:pt x="79" y="577"/>
                  </a:lnTo>
                  <a:lnTo>
                    <a:pt x="79" y="584"/>
                  </a:lnTo>
                  <a:lnTo>
                    <a:pt x="81" y="586"/>
                  </a:lnTo>
                  <a:lnTo>
                    <a:pt x="85" y="588"/>
                  </a:lnTo>
                  <a:lnTo>
                    <a:pt x="90" y="592"/>
                  </a:lnTo>
                  <a:lnTo>
                    <a:pt x="98" y="592"/>
                  </a:lnTo>
                  <a:lnTo>
                    <a:pt x="124" y="594"/>
                  </a:lnTo>
                  <a:lnTo>
                    <a:pt x="169" y="594"/>
                  </a:lnTo>
                  <a:lnTo>
                    <a:pt x="169" y="594"/>
                  </a:lnTo>
                  <a:lnTo>
                    <a:pt x="178" y="588"/>
                  </a:lnTo>
                  <a:lnTo>
                    <a:pt x="180" y="586"/>
                  </a:lnTo>
                  <a:lnTo>
                    <a:pt x="187" y="579"/>
                  </a:lnTo>
                  <a:lnTo>
                    <a:pt x="187" y="579"/>
                  </a:lnTo>
                  <a:lnTo>
                    <a:pt x="191" y="575"/>
                  </a:lnTo>
                  <a:lnTo>
                    <a:pt x="193" y="569"/>
                  </a:lnTo>
                  <a:lnTo>
                    <a:pt x="191" y="556"/>
                  </a:lnTo>
                  <a:lnTo>
                    <a:pt x="193" y="551"/>
                  </a:lnTo>
                  <a:lnTo>
                    <a:pt x="195" y="545"/>
                  </a:lnTo>
                  <a:lnTo>
                    <a:pt x="199" y="541"/>
                  </a:lnTo>
                  <a:lnTo>
                    <a:pt x="206" y="540"/>
                  </a:lnTo>
                  <a:lnTo>
                    <a:pt x="206" y="540"/>
                  </a:lnTo>
                  <a:lnTo>
                    <a:pt x="213" y="540"/>
                  </a:lnTo>
                  <a:lnTo>
                    <a:pt x="219" y="538"/>
                  </a:lnTo>
                  <a:lnTo>
                    <a:pt x="225" y="534"/>
                  </a:lnTo>
                  <a:lnTo>
                    <a:pt x="227" y="532"/>
                  </a:lnTo>
                  <a:lnTo>
                    <a:pt x="228" y="530"/>
                  </a:lnTo>
                  <a:lnTo>
                    <a:pt x="230" y="528"/>
                  </a:lnTo>
                  <a:lnTo>
                    <a:pt x="232" y="530"/>
                  </a:lnTo>
                  <a:lnTo>
                    <a:pt x="232" y="530"/>
                  </a:lnTo>
                  <a:lnTo>
                    <a:pt x="234" y="532"/>
                  </a:lnTo>
                  <a:lnTo>
                    <a:pt x="234" y="532"/>
                  </a:lnTo>
                  <a:lnTo>
                    <a:pt x="217" y="515"/>
                  </a:lnTo>
                  <a:lnTo>
                    <a:pt x="208" y="506"/>
                  </a:lnTo>
                  <a:lnTo>
                    <a:pt x="206" y="500"/>
                  </a:lnTo>
                  <a:lnTo>
                    <a:pt x="208" y="497"/>
                  </a:lnTo>
                  <a:lnTo>
                    <a:pt x="212" y="491"/>
                  </a:lnTo>
                  <a:lnTo>
                    <a:pt x="219" y="484"/>
                  </a:lnTo>
                  <a:lnTo>
                    <a:pt x="219" y="484"/>
                  </a:lnTo>
                  <a:lnTo>
                    <a:pt x="223" y="482"/>
                  </a:lnTo>
                  <a:lnTo>
                    <a:pt x="225" y="482"/>
                  </a:lnTo>
                  <a:lnTo>
                    <a:pt x="228" y="491"/>
                  </a:lnTo>
                  <a:lnTo>
                    <a:pt x="236" y="508"/>
                  </a:lnTo>
                  <a:lnTo>
                    <a:pt x="243" y="517"/>
                  </a:lnTo>
                  <a:lnTo>
                    <a:pt x="255" y="530"/>
                  </a:lnTo>
                  <a:lnTo>
                    <a:pt x="273" y="551"/>
                  </a:lnTo>
                  <a:lnTo>
                    <a:pt x="273" y="551"/>
                  </a:lnTo>
                  <a:lnTo>
                    <a:pt x="294" y="569"/>
                  </a:lnTo>
                  <a:lnTo>
                    <a:pt x="294" y="569"/>
                  </a:lnTo>
                  <a:lnTo>
                    <a:pt x="301" y="577"/>
                  </a:lnTo>
                  <a:lnTo>
                    <a:pt x="301" y="577"/>
                  </a:lnTo>
                  <a:lnTo>
                    <a:pt x="311" y="584"/>
                  </a:lnTo>
                  <a:lnTo>
                    <a:pt x="318" y="588"/>
                  </a:lnTo>
                  <a:lnTo>
                    <a:pt x="326" y="590"/>
                  </a:lnTo>
                  <a:lnTo>
                    <a:pt x="333" y="590"/>
                  </a:lnTo>
                  <a:lnTo>
                    <a:pt x="339" y="588"/>
                  </a:lnTo>
                  <a:lnTo>
                    <a:pt x="344" y="584"/>
                  </a:lnTo>
                  <a:lnTo>
                    <a:pt x="354" y="575"/>
                  </a:lnTo>
                  <a:lnTo>
                    <a:pt x="363" y="566"/>
                  </a:lnTo>
                  <a:lnTo>
                    <a:pt x="367" y="562"/>
                  </a:lnTo>
                  <a:lnTo>
                    <a:pt x="372" y="560"/>
                  </a:lnTo>
                  <a:lnTo>
                    <a:pt x="376" y="560"/>
                  </a:lnTo>
                  <a:lnTo>
                    <a:pt x="382" y="562"/>
                  </a:lnTo>
                  <a:lnTo>
                    <a:pt x="385" y="566"/>
                  </a:lnTo>
                  <a:lnTo>
                    <a:pt x="391" y="573"/>
                  </a:lnTo>
                  <a:lnTo>
                    <a:pt x="391" y="573"/>
                  </a:lnTo>
                  <a:lnTo>
                    <a:pt x="398" y="584"/>
                  </a:lnTo>
                  <a:lnTo>
                    <a:pt x="406" y="590"/>
                  </a:lnTo>
                  <a:lnTo>
                    <a:pt x="412" y="594"/>
                  </a:lnTo>
                  <a:lnTo>
                    <a:pt x="417" y="594"/>
                  </a:lnTo>
                  <a:lnTo>
                    <a:pt x="423" y="592"/>
                  </a:lnTo>
                  <a:lnTo>
                    <a:pt x="427" y="590"/>
                  </a:lnTo>
                  <a:lnTo>
                    <a:pt x="428" y="584"/>
                  </a:lnTo>
                  <a:lnTo>
                    <a:pt x="430" y="581"/>
                  </a:lnTo>
                  <a:lnTo>
                    <a:pt x="430" y="581"/>
                  </a:lnTo>
                  <a:lnTo>
                    <a:pt x="434" y="564"/>
                  </a:lnTo>
                  <a:lnTo>
                    <a:pt x="436" y="553"/>
                  </a:lnTo>
                  <a:lnTo>
                    <a:pt x="440" y="549"/>
                  </a:lnTo>
                  <a:lnTo>
                    <a:pt x="443" y="549"/>
                  </a:lnTo>
                  <a:lnTo>
                    <a:pt x="451" y="551"/>
                  </a:lnTo>
                  <a:lnTo>
                    <a:pt x="455" y="551"/>
                  </a:lnTo>
                  <a:lnTo>
                    <a:pt x="458" y="545"/>
                  </a:lnTo>
                  <a:lnTo>
                    <a:pt x="458" y="545"/>
                  </a:lnTo>
                  <a:lnTo>
                    <a:pt x="466" y="530"/>
                  </a:lnTo>
                  <a:lnTo>
                    <a:pt x="469" y="519"/>
                  </a:lnTo>
                  <a:lnTo>
                    <a:pt x="473" y="506"/>
                  </a:lnTo>
                  <a:lnTo>
                    <a:pt x="477" y="502"/>
                  </a:lnTo>
                  <a:lnTo>
                    <a:pt x="484" y="498"/>
                  </a:lnTo>
                  <a:lnTo>
                    <a:pt x="518" y="489"/>
                  </a:lnTo>
                  <a:lnTo>
                    <a:pt x="518" y="489"/>
                  </a:lnTo>
                  <a:lnTo>
                    <a:pt x="522" y="487"/>
                  </a:lnTo>
                  <a:lnTo>
                    <a:pt x="522" y="487"/>
                  </a:lnTo>
                  <a:lnTo>
                    <a:pt x="526" y="485"/>
                  </a:lnTo>
                  <a:lnTo>
                    <a:pt x="529" y="482"/>
                  </a:lnTo>
                  <a:lnTo>
                    <a:pt x="535" y="472"/>
                  </a:lnTo>
                  <a:lnTo>
                    <a:pt x="541" y="459"/>
                  </a:lnTo>
                  <a:lnTo>
                    <a:pt x="544" y="446"/>
                  </a:lnTo>
                  <a:lnTo>
                    <a:pt x="550" y="431"/>
                  </a:lnTo>
                  <a:lnTo>
                    <a:pt x="554" y="420"/>
                  </a:lnTo>
                  <a:lnTo>
                    <a:pt x="561" y="411"/>
                  </a:lnTo>
                  <a:lnTo>
                    <a:pt x="565" y="407"/>
                  </a:lnTo>
                  <a:lnTo>
                    <a:pt x="570" y="405"/>
                  </a:lnTo>
                  <a:lnTo>
                    <a:pt x="570" y="405"/>
                  </a:lnTo>
                  <a:lnTo>
                    <a:pt x="576" y="401"/>
                  </a:lnTo>
                  <a:lnTo>
                    <a:pt x="583" y="396"/>
                  </a:lnTo>
                  <a:lnTo>
                    <a:pt x="591" y="388"/>
                  </a:lnTo>
                  <a:lnTo>
                    <a:pt x="598" y="377"/>
                  </a:lnTo>
                  <a:lnTo>
                    <a:pt x="604" y="368"/>
                  </a:lnTo>
                  <a:lnTo>
                    <a:pt x="608" y="356"/>
                  </a:lnTo>
                  <a:lnTo>
                    <a:pt x="610" y="349"/>
                  </a:lnTo>
                  <a:lnTo>
                    <a:pt x="608" y="345"/>
                  </a:lnTo>
                  <a:lnTo>
                    <a:pt x="606" y="342"/>
                  </a:lnTo>
                  <a:lnTo>
                    <a:pt x="606" y="342"/>
                  </a:lnTo>
                  <a:lnTo>
                    <a:pt x="600" y="334"/>
                  </a:lnTo>
                  <a:lnTo>
                    <a:pt x="600" y="327"/>
                  </a:lnTo>
                  <a:lnTo>
                    <a:pt x="604" y="323"/>
                  </a:lnTo>
                  <a:lnTo>
                    <a:pt x="608" y="319"/>
                  </a:lnTo>
                  <a:lnTo>
                    <a:pt x="615" y="317"/>
                  </a:lnTo>
                  <a:lnTo>
                    <a:pt x="621" y="319"/>
                  </a:lnTo>
                  <a:lnTo>
                    <a:pt x="625" y="325"/>
                  </a:lnTo>
                  <a:lnTo>
                    <a:pt x="625" y="334"/>
                  </a:lnTo>
                  <a:lnTo>
                    <a:pt x="625" y="334"/>
                  </a:lnTo>
                  <a:lnTo>
                    <a:pt x="626" y="338"/>
                  </a:lnTo>
                  <a:lnTo>
                    <a:pt x="630" y="340"/>
                  </a:lnTo>
                  <a:lnTo>
                    <a:pt x="636" y="340"/>
                  </a:lnTo>
                  <a:lnTo>
                    <a:pt x="643" y="336"/>
                  </a:lnTo>
                  <a:lnTo>
                    <a:pt x="656" y="328"/>
                  </a:lnTo>
                  <a:lnTo>
                    <a:pt x="662" y="325"/>
                  </a:lnTo>
                  <a:lnTo>
                    <a:pt x="664" y="321"/>
                  </a:lnTo>
                  <a:lnTo>
                    <a:pt x="664" y="321"/>
                  </a:lnTo>
                  <a:lnTo>
                    <a:pt x="662" y="310"/>
                  </a:lnTo>
                  <a:lnTo>
                    <a:pt x="660" y="299"/>
                  </a:lnTo>
                  <a:lnTo>
                    <a:pt x="658" y="293"/>
                  </a:lnTo>
                  <a:lnTo>
                    <a:pt x="660" y="287"/>
                  </a:lnTo>
                  <a:lnTo>
                    <a:pt x="662" y="284"/>
                  </a:lnTo>
                  <a:lnTo>
                    <a:pt x="668" y="280"/>
                  </a:lnTo>
                  <a:lnTo>
                    <a:pt x="668" y="280"/>
                  </a:lnTo>
                  <a:lnTo>
                    <a:pt x="673" y="280"/>
                  </a:lnTo>
                  <a:lnTo>
                    <a:pt x="683" y="280"/>
                  </a:lnTo>
                  <a:lnTo>
                    <a:pt x="686" y="280"/>
                  </a:lnTo>
                  <a:lnTo>
                    <a:pt x="688" y="276"/>
                  </a:lnTo>
                  <a:lnTo>
                    <a:pt x="688" y="271"/>
                  </a:lnTo>
                  <a:lnTo>
                    <a:pt x="683" y="261"/>
                  </a:lnTo>
                  <a:lnTo>
                    <a:pt x="683" y="261"/>
                  </a:lnTo>
                  <a:lnTo>
                    <a:pt x="681" y="257"/>
                  </a:lnTo>
                  <a:lnTo>
                    <a:pt x="677" y="256"/>
                  </a:lnTo>
                  <a:lnTo>
                    <a:pt x="668" y="256"/>
                  </a:lnTo>
                  <a:lnTo>
                    <a:pt x="664" y="256"/>
                  </a:lnTo>
                  <a:lnTo>
                    <a:pt x="675" y="252"/>
                  </a:lnTo>
                  <a:lnTo>
                    <a:pt x="675" y="252"/>
                  </a:lnTo>
                  <a:lnTo>
                    <a:pt x="705" y="244"/>
                  </a:lnTo>
                  <a:lnTo>
                    <a:pt x="731" y="233"/>
                  </a:lnTo>
                  <a:lnTo>
                    <a:pt x="757" y="218"/>
                  </a:lnTo>
                  <a:lnTo>
                    <a:pt x="782" y="201"/>
                  </a:lnTo>
                  <a:lnTo>
                    <a:pt x="782" y="201"/>
                  </a:lnTo>
                  <a:lnTo>
                    <a:pt x="793" y="196"/>
                  </a:lnTo>
                  <a:lnTo>
                    <a:pt x="806" y="192"/>
                  </a:lnTo>
                  <a:lnTo>
                    <a:pt x="811" y="192"/>
                  </a:lnTo>
                  <a:lnTo>
                    <a:pt x="817" y="194"/>
                  </a:lnTo>
                  <a:lnTo>
                    <a:pt x="821" y="198"/>
                  </a:lnTo>
                  <a:lnTo>
                    <a:pt x="826" y="201"/>
                  </a:lnTo>
                  <a:lnTo>
                    <a:pt x="826" y="201"/>
                  </a:lnTo>
                  <a:lnTo>
                    <a:pt x="830" y="205"/>
                  </a:lnTo>
                  <a:lnTo>
                    <a:pt x="838" y="205"/>
                  </a:lnTo>
                  <a:lnTo>
                    <a:pt x="843" y="203"/>
                  </a:lnTo>
                  <a:lnTo>
                    <a:pt x="849" y="200"/>
                  </a:lnTo>
                  <a:lnTo>
                    <a:pt x="853" y="194"/>
                  </a:lnTo>
                  <a:lnTo>
                    <a:pt x="854" y="188"/>
                  </a:lnTo>
                  <a:lnTo>
                    <a:pt x="853" y="183"/>
                  </a:lnTo>
                  <a:lnTo>
                    <a:pt x="847" y="179"/>
                  </a:lnTo>
                  <a:lnTo>
                    <a:pt x="847" y="179"/>
                  </a:lnTo>
                  <a:lnTo>
                    <a:pt x="845" y="175"/>
                  </a:lnTo>
                  <a:lnTo>
                    <a:pt x="845" y="172"/>
                  </a:lnTo>
                  <a:lnTo>
                    <a:pt x="849" y="162"/>
                  </a:lnTo>
                  <a:lnTo>
                    <a:pt x="854" y="153"/>
                  </a:lnTo>
                  <a:lnTo>
                    <a:pt x="856" y="147"/>
                  </a:lnTo>
                  <a:lnTo>
                    <a:pt x="856" y="143"/>
                  </a:lnTo>
                  <a:lnTo>
                    <a:pt x="856" y="143"/>
                  </a:lnTo>
                  <a:lnTo>
                    <a:pt x="858" y="138"/>
                  </a:lnTo>
                  <a:lnTo>
                    <a:pt x="860" y="132"/>
                  </a:lnTo>
                  <a:lnTo>
                    <a:pt x="862" y="123"/>
                  </a:lnTo>
                  <a:lnTo>
                    <a:pt x="862" y="119"/>
                  </a:lnTo>
                  <a:lnTo>
                    <a:pt x="858" y="119"/>
                  </a:lnTo>
                  <a:lnTo>
                    <a:pt x="853" y="119"/>
                  </a:lnTo>
                  <a:lnTo>
                    <a:pt x="841" y="123"/>
                  </a:lnTo>
                  <a:lnTo>
                    <a:pt x="841" y="123"/>
                  </a:lnTo>
                  <a:lnTo>
                    <a:pt x="832" y="125"/>
                  </a:lnTo>
                  <a:lnTo>
                    <a:pt x="825" y="123"/>
                  </a:lnTo>
                  <a:lnTo>
                    <a:pt x="817" y="121"/>
                  </a:lnTo>
                  <a:lnTo>
                    <a:pt x="811" y="117"/>
                  </a:lnTo>
                  <a:lnTo>
                    <a:pt x="806" y="114"/>
                  </a:lnTo>
                  <a:lnTo>
                    <a:pt x="800" y="112"/>
                  </a:lnTo>
                  <a:lnTo>
                    <a:pt x="795" y="112"/>
                  </a:lnTo>
                  <a:lnTo>
                    <a:pt x="789" y="114"/>
                  </a:lnTo>
                  <a:lnTo>
                    <a:pt x="789" y="114"/>
                  </a:lnTo>
                  <a:lnTo>
                    <a:pt x="783" y="119"/>
                  </a:lnTo>
                  <a:lnTo>
                    <a:pt x="778" y="123"/>
                  </a:lnTo>
                  <a:lnTo>
                    <a:pt x="767" y="127"/>
                  </a:lnTo>
                  <a:lnTo>
                    <a:pt x="755" y="129"/>
                  </a:lnTo>
                  <a:lnTo>
                    <a:pt x="742" y="129"/>
                  </a:lnTo>
                  <a:lnTo>
                    <a:pt x="742" y="129"/>
                  </a:lnTo>
                  <a:lnTo>
                    <a:pt x="739" y="129"/>
                  </a:lnTo>
                  <a:lnTo>
                    <a:pt x="735" y="129"/>
                  </a:lnTo>
                  <a:lnTo>
                    <a:pt x="729" y="121"/>
                  </a:lnTo>
                  <a:lnTo>
                    <a:pt x="726" y="119"/>
                  </a:lnTo>
                  <a:lnTo>
                    <a:pt x="722" y="115"/>
                  </a:lnTo>
                  <a:lnTo>
                    <a:pt x="716" y="114"/>
                  </a:lnTo>
                  <a:lnTo>
                    <a:pt x="709" y="114"/>
                  </a:lnTo>
                  <a:lnTo>
                    <a:pt x="709" y="114"/>
                  </a:lnTo>
                  <a:lnTo>
                    <a:pt x="699" y="112"/>
                  </a:lnTo>
                  <a:lnTo>
                    <a:pt x="692" y="108"/>
                  </a:lnTo>
                  <a:lnTo>
                    <a:pt x="675" y="95"/>
                  </a:lnTo>
                  <a:lnTo>
                    <a:pt x="668" y="89"/>
                  </a:lnTo>
                  <a:lnTo>
                    <a:pt x="658" y="86"/>
                  </a:lnTo>
                  <a:lnTo>
                    <a:pt x="655" y="86"/>
                  </a:lnTo>
                  <a:lnTo>
                    <a:pt x="649" y="86"/>
                  </a:lnTo>
                  <a:lnTo>
                    <a:pt x="643" y="87"/>
                  </a:lnTo>
                  <a:lnTo>
                    <a:pt x="638" y="91"/>
                  </a:lnTo>
                  <a:lnTo>
                    <a:pt x="638" y="91"/>
                  </a:lnTo>
                  <a:lnTo>
                    <a:pt x="625" y="99"/>
                  </a:lnTo>
                  <a:lnTo>
                    <a:pt x="613" y="104"/>
                  </a:lnTo>
                  <a:lnTo>
                    <a:pt x="608" y="108"/>
                  </a:lnTo>
                  <a:lnTo>
                    <a:pt x="602" y="112"/>
                  </a:lnTo>
                  <a:lnTo>
                    <a:pt x="598" y="117"/>
                  </a:lnTo>
                  <a:lnTo>
                    <a:pt x="597" y="125"/>
                  </a:lnTo>
                  <a:lnTo>
                    <a:pt x="597" y="125"/>
                  </a:lnTo>
                  <a:lnTo>
                    <a:pt x="593" y="132"/>
                  </a:lnTo>
                  <a:lnTo>
                    <a:pt x="587" y="138"/>
                  </a:lnTo>
                  <a:lnTo>
                    <a:pt x="576" y="149"/>
                  </a:lnTo>
                  <a:lnTo>
                    <a:pt x="570" y="155"/>
                  </a:lnTo>
                  <a:lnTo>
                    <a:pt x="565" y="160"/>
                  </a:lnTo>
                  <a:lnTo>
                    <a:pt x="559" y="168"/>
                  </a:lnTo>
                  <a:lnTo>
                    <a:pt x="555" y="179"/>
                  </a:lnTo>
                  <a:lnTo>
                    <a:pt x="555" y="179"/>
                  </a:lnTo>
                  <a:lnTo>
                    <a:pt x="552" y="186"/>
                  </a:lnTo>
                  <a:lnTo>
                    <a:pt x="546" y="194"/>
                  </a:lnTo>
                  <a:lnTo>
                    <a:pt x="539" y="198"/>
                  </a:lnTo>
                  <a:lnTo>
                    <a:pt x="529" y="201"/>
                  </a:lnTo>
                  <a:lnTo>
                    <a:pt x="520" y="203"/>
                  </a:lnTo>
                  <a:lnTo>
                    <a:pt x="509" y="205"/>
                  </a:lnTo>
                  <a:lnTo>
                    <a:pt x="498" y="203"/>
                  </a:lnTo>
                  <a:lnTo>
                    <a:pt x="486" y="201"/>
                  </a:lnTo>
                  <a:lnTo>
                    <a:pt x="475" y="200"/>
                  </a:lnTo>
                  <a:lnTo>
                    <a:pt x="466" y="196"/>
                  </a:lnTo>
                  <a:lnTo>
                    <a:pt x="456" y="192"/>
                  </a:lnTo>
                  <a:lnTo>
                    <a:pt x="451" y="186"/>
                  </a:lnTo>
                  <a:lnTo>
                    <a:pt x="445" y="181"/>
                  </a:lnTo>
                  <a:lnTo>
                    <a:pt x="443" y="173"/>
                  </a:lnTo>
                  <a:lnTo>
                    <a:pt x="445" y="168"/>
                  </a:lnTo>
                  <a:lnTo>
                    <a:pt x="449" y="160"/>
                  </a:lnTo>
                  <a:lnTo>
                    <a:pt x="449" y="160"/>
                  </a:lnTo>
                  <a:lnTo>
                    <a:pt x="453" y="151"/>
                  </a:lnTo>
                  <a:lnTo>
                    <a:pt x="456" y="138"/>
                  </a:lnTo>
                  <a:lnTo>
                    <a:pt x="458" y="125"/>
                  </a:lnTo>
                  <a:lnTo>
                    <a:pt x="456" y="119"/>
                  </a:lnTo>
                  <a:lnTo>
                    <a:pt x="455" y="117"/>
                  </a:lnTo>
                  <a:lnTo>
                    <a:pt x="455" y="117"/>
                  </a:lnTo>
                  <a:lnTo>
                    <a:pt x="449" y="112"/>
                  </a:lnTo>
                  <a:lnTo>
                    <a:pt x="447" y="108"/>
                  </a:lnTo>
                  <a:lnTo>
                    <a:pt x="447" y="104"/>
                  </a:lnTo>
                  <a:lnTo>
                    <a:pt x="449" y="100"/>
                  </a:lnTo>
                  <a:lnTo>
                    <a:pt x="451" y="97"/>
                  </a:lnTo>
                  <a:lnTo>
                    <a:pt x="451" y="93"/>
                  </a:lnTo>
                  <a:lnTo>
                    <a:pt x="447" y="86"/>
                  </a:lnTo>
                  <a:lnTo>
                    <a:pt x="440" y="78"/>
                  </a:lnTo>
                  <a:lnTo>
                    <a:pt x="440" y="78"/>
                  </a:lnTo>
                  <a:close/>
                  <a:moveTo>
                    <a:pt x="651" y="0"/>
                  </a:moveTo>
                  <a:lnTo>
                    <a:pt x="651" y="0"/>
                  </a:lnTo>
                  <a:lnTo>
                    <a:pt x="651" y="3"/>
                  </a:lnTo>
                  <a:lnTo>
                    <a:pt x="651" y="9"/>
                  </a:lnTo>
                  <a:lnTo>
                    <a:pt x="651" y="13"/>
                  </a:lnTo>
                  <a:lnTo>
                    <a:pt x="653" y="13"/>
                  </a:lnTo>
                  <a:lnTo>
                    <a:pt x="656" y="11"/>
                  </a:lnTo>
                  <a:lnTo>
                    <a:pt x="662" y="5"/>
                  </a:lnTo>
                  <a:lnTo>
                    <a:pt x="662" y="5"/>
                  </a:lnTo>
                  <a:lnTo>
                    <a:pt x="664" y="3"/>
                  </a:lnTo>
                  <a:lnTo>
                    <a:pt x="664" y="1"/>
                  </a:lnTo>
                  <a:lnTo>
                    <a:pt x="660" y="0"/>
                  </a:lnTo>
                  <a:lnTo>
                    <a:pt x="651" y="0"/>
                  </a:lnTo>
                  <a:lnTo>
                    <a:pt x="651" y="0"/>
                  </a:lnTo>
                  <a:close/>
                  <a:moveTo>
                    <a:pt x="649" y="15"/>
                  </a:moveTo>
                  <a:lnTo>
                    <a:pt x="649" y="15"/>
                  </a:lnTo>
                  <a:lnTo>
                    <a:pt x="643" y="15"/>
                  </a:lnTo>
                  <a:lnTo>
                    <a:pt x="640" y="15"/>
                  </a:lnTo>
                  <a:lnTo>
                    <a:pt x="638" y="15"/>
                  </a:lnTo>
                  <a:lnTo>
                    <a:pt x="638" y="15"/>
                  </a:lnTo>
                  <a:lnTo>
                    <a:pt x="638" y="16"/>
                  </a:lnTo>
                  <a:lnTo>
                    <a:pt x="640" y="20"/>
                  </a:lnTo>
                  <a:lnTo>
                    <a:pt x="647" y="26"/>
                  </a:lnTo>
                  <a:lnTo>
                    <a:pt x="651" y="28"/>
                  </a:lnTo>
                  <a:lnTo>
                    <a:pt x="653" y="26"/>
                  </a:lnTo>
                  <a:lnTo>
                    <a:pt x="653" y="22"/>
                  </a:lnTo>
                  <a:lnTo>
                    <a:pt x="649" y="15"/>
                  </a:lnTo>
                  <a:lnTo>
                    <a:pt x="649" y="15"/>
                  </a:lnTo>
                  <a:close/>
                  <a:moveTo>
                    <a:pt x="649" y="37"/>
                  </a:moveTo>
                  <a:lnTo>
                    <a:pt x="649" y="37"/>
                  </a:lnTo>
                  <a:lnTo>
                    <a:pt x="641" y="35"/>
                  </a:lnTo>
                  <a:lnTo>
                    <a:pt x="634" y="37"/>
                  </a:lnTo>
                  <a:lnTo>
                    <a:pt x="626" y="39"/>
                  </a:lnTo>
                  <a:lnTo>
                    <a:pt x="623" y="43"/>
                  </a:lnTo>
                  <a:lnTo>
                    <a:pt x="621" y="48"/>
                  </a:lnTo>
                  <a:lnTo>
                    <a:pt x="623" y="50"/>
                  </a:lnTo>
                  <a:lnTo>
                    <a:pt x="628" y="50"/>
                  </a:lnTo>
                  <a:lnTo>
                    <a:pt x="638" y="44"/>
                  </a:lnTo>
                  <a:lnTo>
                    <a:pt x="638" y="44"/>
                  </a:lnTo>
                  <a:lnTo>
                    <a:pt x="649" y="43"/>
                  </a:lnTo>
                  <a:lnTo>
                    <a:pt x="651" y="41"/>
                  </a:lnTo>
                  <a:lnTo>
                    <a:pt x="651" y="39"/>
                  </a:lnTo>
                  <a:lnTo>
                    <a:pt x="649" y="37"/>
                  </a:lnTo>
                  <a:lnTo>
                    <a:pt x="649" y="37"/>
                  </a:lnTo>
                  <a:close/>
                  <a:moveTo>
                    <a:pt x="658" y="52"/>
                  </a:moveTo>
                  <a:lnTo>
                    <a:pt x="658" y="52"/>
                  </a:lnTo>
                  <a:lnTo>
                    <a:pt x="656" y="56"/>
                  </a:lnTo>
                  <a:lnTo>
                    <a:pt x="660" y="61"/>
                  </a:lnTo>
                  <a:lnTo>
                    <a:pt x="662" y="61"/>
                  </a:lnTo>
                  <a:lnTo>
                    <a:pt x="664" y="63"/>
                  </a:lnTo>
                  <a:lnTo>
                    <a:pt x="666" y="61"/>
                  </a:lnTo>
                  <a:lnTo>
                    <a:pt x="666" y="58"/>
                  </a:lnTo>
                  <a:lnTo>
                    <a:pt x="666" y="58"/>
                  </a:lnTo>
                  <a:lnTo>
                    <a:pt x="668" y="54"/>
                  </a:lnTo>
                  <a:lnTo>
                    <a:pt x="668" y="52"/>
                  </a:lnTo>
                  <a:lnTo>
                    <a:pt x="666" y="50"/>
                  </a:lnTo>
                  <a:lnTo>
                    <a:pt x="664" y="50"/>
                  </a:lnTo>
                  <a:lnTo>
                    <a:pt x="660" y="50"/>
                  </a:lnTo>
                  <a:lnTo>
                    <a:pt x="658" y="52"/>
                  </a:lnTo>
                  <a:lnTo>
                    <a:pt x="658" y="52"/>
                  </a:lnTo>
                  <a:close/>
                  <a:moveTo>
                    <a:pt x="640" y="78"/>
                  </a:moveTo>
                  <a:lnTo>
                    <a:pt x="640" y="78"/>
                  </a:lnTo>
                  <a:lnTo>
                    <a:pt x="643" y="84"/>
                  </a:lnTo>
                  <a:lnTo>
                    <a:pt x="645" y="84"/>
                  </a:lnTo>
                  <a:lnTo>
                    <a:pt x="647" y="80"/>
                  </a:lnTo>
                  <a:lnTo>
                    <a:pt x="647" y="76"/>
                  </a:lnTo>
                  <a:lnTo>
                    <a:pt x="643" y="71"/>
                  </a:lnTo>
                  <a:lnTo>
                    <a:pt x="640" y="67"/>
                  </a:lnTo>
                  <a:lnTo>
                    <a:pt x="632" y="65"/>
                  </a:lnTo>
                  <a:lnTo>
                    <a:pt x="621" y="65"/>
                  </a:lnTo>
                  <a:lnTo>
                    <a:pt x="621" y="65"/>
                  </a:lnTo>
                  <a:lnTo>
                    <a:pt x="619" y="67"/>
                  </a:lnTo>
                  <a:lnTo>
                    <a:pt x="619" y="69"/>
                  </a:lnTo>
                  <a:lnTo>
                    <a:pt x="619" y="69"/>
                  </a:lnTo>
                  <a:lnTo>
                    <a:pt x="621" y="72"/>
                  </a:lnTo>
                  <a:lnTo>
                    <a:pt x="623" y="72"/>
                  </a:lnTo>
                  <a:lnTo>
                    <a:pt x="626" y="72"/>
                  </a:lnTo>
                  <a:lnTo>
                    <a:pt x="634" y="74"/>
                  </a:lnTo>
                  <a:lnTo>
                    <a:pt x="636" y="76"/>
                  </a:lnTo>
                  <a:lnTo>
                    <a:pt x="640" y="78"/>
                  </a:lnTo>
                  <a:lnTo>
                    <a:pt x="640" y="78"/>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 name="Line 12">
              <a:extLst>
                <a:ext uri="{FF2B5EF4-FFF2-40B4-BE49-F238E27FC236}">
                  <a16:creationId xmlns:a16="http://schemas.microsoft.com/office/drawing/2014/main" id="{07EC955B-F115-4678-B727-3136159C1162}"/>
                </a:ext>
              </a:extLst>
            </p:cNvPr>
            <p:cNvSpPr>
              <a:spLocks noChangeShapeType="1"/>
            </p:cNvSpPr>
            <p:nvPr/>
          </p:nvSpPr>
          <p:spPr bwMode="auto">
            <a:xfrm>
              <a:off x="5916329" y="3985165"/>
              <a:ext cx="1817" cy="1816"/>
            </a:xfrm>
            <a:prstGeom prst="line">
              <a:avLst/>
            </a:pr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 name="Freeform 13">
              <a:extLst>
                <a:ext uri="{FF2B5EF4-FFF2-40B4-BE49-F238E27FC236}">
                  <a16:creationId xmlns:a16="http://schemas.microsoft.com/office/drawing/2014/main" id="{9E11D270-90A2-4D5E-969A-FE1EAA66FF9A}"/>
                </a:ext>
              </a:extLst>
            </p:cNvPr>
            <p:cNvSpPr>
              <a:spLocks/>
            </p:cNvSpPr>
            <p:nvPr/>
          </p:nvSpPr>
          <p:spPr bwMode="auto">
            <a:xfrm>
              <a:off x="5789162" y="3701765"/>
              <a:ext cx="781165" cy="479599"/>
            </a:xfrm>
            <a:custGeom>
              <a:avLst/>
              <a:gdLst/>
              <a:ahLst/>
              <a:cxnLst>
                <a:cxn ang="0">
                  <a:pos x="412" y="17"/>
                </a:cxn>
                <a:cxn ang="0">
                  <a:pos x="367" y="22"/>
                </a:cxn>
                <a:cxn ang="0">
                  <a:pos x="333" y="13"/>
                </a:cxn>
                <a:cxn ang="0">
                  <a:pos x="309" y="15"/>
                </a:cxn>
                <a:cxn ang="0">
                  <a:pos x="286" y="28"/>
                </a:cxn>
                <a:cxn ang="0">
                  <a:pos x="245" y="58"/>
                </a:cxn>
                <a:cxn ang="0">
                  <a:pos x="176" y="103"/>
                </a:cxn>
                <a:cxn ang="0">
                  <a:pos x="157" y="103"/>
                </a:cxn>
                <a:cxn ang="0">
                  <a:pos x="133" y="135"/>
                </a:cxn>
                <a:cxn ang="0">
                  <a:pos x="92" y="206"/>
                </a:cxn>
                <a:cxn ang="0">
                  <a:pos x="51" y="241"/>
                </a:cxn>
                <a:cxn ang="0">
                  <a:pos x="70" y="297"/>
                </a:cxn>
                <a:cxn ang="0">
                  <a:pos x="70" y="327"/>
                </a:cxn>
                <a:cxn ang="0">
                  <a:pos x="64" y="355"/>
                </a:cxn>
                <a:cxn ang="0">
                  <a:pos x="103" y="331"/>
                </a:cxn>
                <a:cxn ang="0">
                  <a:pos x="141" y="312"/>
                </a:cxn>
                <a:cxn ang="0">
                  <a:pos x="99" y="357"/>
                </a:cxn>
                <a:cxn ang="0">
                  <a:pos x="55" y="407"/>
                </a:cxn>
                <a:cxn ang="0">
                  <a:pos x="19" y="437"/>
                </a:cxn>
                <a:cxn ang="0">
                  <a:pos x="15" y="476"/>
                </a:cxn>
                <a:cxn ang="0">
                  <a:pos x="56" y="488"/>
                </a:cxn>
                <a:cxn ang="0">
                  <a:pos x="79" y="519"/>
                </a:cxn>
                <a:cxn ang="0">
                  <a:pos x="169" y="529"/>
                </a:cxn>
                <a:cxn ang="0">
                  <a:pos x="191" y="491"/>
                </a:cxn>
                <a:cxn ang="0">
                  <a:pos x="219" y="473"/>
                </a:cxn>
                <a:cxn ang="0">
                  <a:pos x="234" y="467"/>
                </a:cxn>
                <a:cxn ang="0">
                  <a:pos x="219" y="419"/>
                </a:cxn>
                <a:cxn ang="0">
                  <a:pos x="255" y="465"/>
                </a:cxn>
                <a:cxn ang="0">
                  <a:pos x="311" y="519"/>
                </a:cxn>
                <a:cxn ang="0">
                  <a:pos x="363" y="501"/>
                </a:cxn>
                <a:cxn ang="0">
                  <a:pos x="391" y="508"/>
                </a:cxn>
                <a:cxn ang="0">
                  <a:pos x="428" y="519"/>
                </a:cxn>
                <a:cxn ang="0">
                  <a:pos x="451" y="486"/>
                </a:cxn>
                <a:cxn ang="0">
                  <a:pos x="477" y="437"/>
                </a:cxn>
                <a:cxn ang="0">
                  <a:pos x="529" y="417"/>
                </a:cxn>
                <a:cxn ang="0">
                  <a:pos x="565" y="342"/>
                </a:cxn>
                <a:cxn ang="0">
                  <a:pos x="604" y="303"/>
                </a:cxn>
                <a:cxn ang="0">
                  <a:pos x="600" y="262"/>
                </a:cxn>
                <a:cxn ang="0">
                  <a:pos x="625" y="269"/>
                </a:cxn>
                <a:cxn ang="0">
                  <a:pos x="664" y="256"/>
                </a:cxn>
                <a:cxn ang="0">
                  <a:pos x="668" y="215"/>
                </a:cxn>
                <a:cxn ang="0">
                  <a:pos x="683" y="196"/>
                </a:cxn>
                <a:cxn ang="0">
                  <a:pos x="675" y="187"/>
                </a:cxn>
                <a:cxn ang="0">
                  <a:pos x="806" y="127"/>
                </a:cxn>
                <a:cxn ang="0">
                  <a:pos x="838" y="140"/>
                </a:cxn>
                <a:cxn ang="0">
                  <a:pos x="847" y="114"/>
                </a:cxn>
                <a:cxn ang="0">
                  <a:pos x="856" y="78"/>
                </a:cxn>
                <a:cxn ang="0">
                  <a:pos x="841" y="58"/>
                </a:cxn>
                <a:cxn ang="0">
                  <a:pos x="800" y="47"/>
                </a:cxn>
                <a:cxn ang="0">
                  <a:pos x="755" y="64"/>
                </a:cxn>
                <a:cxn ang="0">
                  <a:pos x="722" y="50"/>
                </a:cxn>
                <a:cxn ang="0">
                  <a:pos x="668" y="24"/>
                </a:cxn>
                <a:cxn ang="0">
                  <a:pos x="625" y="34"/>
                </a:cxn>
                <a:cxn ang="0">
                  <a:pos x="593" y="67"/>
                </a:cxn>
                <a:cxn ang="0">
                  <a:pos x="555" y="114"/>
                </a:cxn>
                <a:cxn ang="0">
                  <a:pos x="498" y="138"/>
                </a:cxn>
                <a:cxn ang="0">
                  <a:pos x="443" y="108"/>
                </a:cxn>
                <a:cxn ang="0">
                  <a:pos x="456" y="54"/>
                </a:cxn>
                <a:cxn ang="0">
                  <a:pos x="451" y="32"/>
                </a:cxn>
              </a:cxnLst>
              <a:rect l="0" t="0" r="r" b="b"/>
              <a:pathLst>
                <a:path w="862" h="529">
                  <a:moveTo>
                    <a:pt x="440" y="13"/>
                  </a:moveTo>
                  <a:lnTo>
                    <a:pt x="440" y="13"/>
                  </a:lnTo>
                  <a:lnTo>
                    <a:pt x="430" y="7"/>
                  </a:lnTo>
                  <a:lnTo>
                    <a:pt x="425" y="6"/>
                  </a:lnTo>
                  <a:lnTo>
                    <a:pt x="419" y="7"/>
                  </a:lnTo>
                  <a:lnTo>
                    <a:pt x="415" y="11"/>
                  </a:lnTo>
                  <a:lnTo>
                    <a:pt x="412" y="17"/>
                  </a:lnTo>
                  <a:lnTo>
                    <a:pt x="406" y="21"/>
                  </a:lnTo>
                  <a:lnTo>
                    <a:pt x="398" y="22"/>
                  </a:lnTo>
                  <a:lnTo>
                    <a:pt x="389" y="19"/>
                  </a:lnTo>
                  <a:lnTo>
                    <a:pt x="389" y="19"/>
                  </a:lnTo>
                  <a:lnTo>
                    <a:pt x="380" y="17"/>
                  </a:lnTo>
                  <a:lnTo>
                    <a:pt x="372" y="19"/>
                  </a:lnTo>
                  <a:lnTo>
                    <a:pt x="367" y="22"/>
                  </a:lnTo>
                  <a:lnTo>
                    <a:pt x="361" y="26"/>
                  </a:lnTo>
                  <a:lnTo>
                    <a:pt x="357" y="30"/>
                  </a:lnTo>
                  <a:lnTo>
                    <a:pt x="352" y="30"/>
                  </a:lnTo>
                  <a:lnTo>
                    <a:pt x="346" y="28"/>
                  </a:lnTo>
                  <a:lnTo>
                    <a:pt x="341" y="21"/>
                  </a:lnTo>
                  <a:lnTo>
                    <a:pt x="341" y="21"/>
                  </a:lnTo>
                  <a:lnTo>
                    <a:pt x="333" y="13"/>
                  </a:lnTo>
                  <a:lnTo>
                    <a:pt x="326" y="6"/>
                  </a:lnTo>
                  <a:lnTo>
                    <a:pt x="326" y="6"/>
                  </a:lnTo>
                  <a:lnTo>
                    <a:pt x="316" y="0"/>
                  </a:lnTo>
                  <a:lnTo>
                    <a:pt x="316" y="0"/>
                  </a:lnTo>
                  <a:lnTo>
                    <a:pt x="313" y="6"/>
                  </a:lnTo>
                  <a:lnTo>
                    <a:pt x="311" y="9"/>
                  </a:lnTo>
                  <a:lnTo>
                    <a:pt x="309" y="15"/>
                  </a:lnTo>
                  <a:lnTo>
                    <a:pt x="305" y="19"/>
                  </a:lnTo>
                  <a:lnTo>
                    <a:pt x="305" y="19"/>
                  </a:lnTo>
                  <a:lnTo>
                    <a:pt x="299" y="22"/>
                  </a:lnTo>
                  <a:lnTo>
                    <a:pt x="294" y="24"/>
                  </a:lnTo>
                  <a:lnTo>
                    <a:pt x="288" y="24"/>
                  </a:lnTo>
                  <a:lnTo>
                    <a:pt x="286" y="26"/>
                  </a:lnTo>
                  <a:lnTo>
                    <a:pt x="286" y="28"/>
                  </a:lnTo>
                  <a:lnTo>
                    <a:pt x="281" y="43"/>
                  </a:lnTo>
                  <a:lnTo>
                    <a:pt x="281" y="43"/>
                  </a:lnTo>
                  <a:lnTo>
                    <a:pt x="281" y="47"/>
                  </a:lnTo>
                  <a:lnTo>
                    <a:pt x="277" y="50"/>
                  </a:lnTo>
                  <a:lnTo>
                    <a:pt x="268" y="54"/>
                  </a:lnTo>
                  <a:lnTo>
                    <a:pt x="258" y="58"/>
                  </a:lnTo>
                  <a:lnTo>
                    <a:pt x="245" y="58"/>
                  </a:lnTo>
                  <a:lnTo>
                    <a:pt x="232" y="60"/>
                  </a:lnTo>
                  <a:lnTo>
                    <a:pt x="219" y="62"/>
                  </a:lnTo>
                  <a:lnTo>
                    <a:pt x="210" y="65"/>
                  </a:lnTo>
                  <a:lnTo>
                    <a:pt x="204" y="67"/>
                  </a:lnTo>
                  <a:lnTo>
                    <a:pt x="200" y="71"/>
                  </a:lnTo>
                  <a:lnTo>
                    <a:pt x="200" y="71"/>
                  </a:lnTo>
                  <a:lnTo>
                    <a:pt x="176" y="103"/>
                  </a:lnTo>
                  <a:lnTo>
                    <a:pt x="169" y="110"/>
                  </a:lnTo>
                  <a:lnTo>
                    <a:pt x="167" y="110"/>
                  </a:lnTo>
                  <a:lnTo>
                    <a:pt x="167" y="107"/>
                  </a:lnTo>
                  <a:lnTo>
                    <a:pt x="165" y="105"/>
                  </a:lnTo>
                  <a:lnTo>
                    <a:pt x="161" y="103"/>
                  </a:lnTo>
                  <a:lnTo>
                    <a:pt x="161" y="103"/>
                  </a:lnTo>
                  <a:lnTo>
                    <a:pt x="157" y="103"/>
                  </a:lnTo>
                  <a:lnTo>
                    <a:pt x="154" y="105"/>
                  </a:lnTo>
                  <a:lnTo>
                    <a:pt x="150" y="114"/>
                  </a:lnTo>
                  <a:lnTo>
                    <a:pt x="146" y="125"/>
                  </a:lnTo>
                  <a:lnTo>
                    <a:pt x="142" y="129"/>
                  </a:lnTo>
                  <a:lnTo>
                    <a:pt x="139" y="131"/>
                  </a:lnTo>
                  <a:lnTo>
                    <a:pt x="139" y="131"/>
                  </a:lnTo>
                  <a:lnTo>
                    <a:pt x="133" y="135"/>
                  </a:lnTo>
                  <a:lnTo>
                    <a:pt x="128" y="138"/>
                  </a:lnTo>
                  <a:lnTo>
                    <a:pt x="118" y="148"/>
                  </a:lnTo>
                  <a:lnTo>
                    <a:pt x="113" y="159"/>
                  </a:lnTo>
                  <a:lnTo>
                    <a:pt x="109" y="172"/>
                  </a:lnTo>
                  <a:lnTo>
                    <a:pt x="105" y="183"/>
                  </a:lnTo>
                  <a:lnTo>
                    <a:pt x="99" y="194"/>
                  </a:lnTo>
                  <a:lnTo>
                    <a:pt x="92" y="206"/>
                  </a:lnTo>
                  <a:lnTo>
                    <a:pt x="88" y="209"/>
                  </a:lnTo>
                  <a:lnTo>
                    <a:pt x="83" y="213"/>
                  </a:lnTo>
                  <a:lnTo>
                    <a:pt x="83" y="213"/>
                  </a:lnTo>
                  <a:lnTo>
                    <a:pt x="70" y="220"/>
                  </a:lnTo>
                  <a:lnTo>
                    <a:pt x="60" y="226"/>
                  </a:lnTo>
                  <a:lnTo>
                    <a:pt x="55" y="234"/>
                  </a:lnTo>
                  <a:lnTo>
                    <a:pt x="51" y="241"/>
                  </a:lnTo>
                  <a:lnTo>
                    <a:pt x="49" y="247"/>
                  </a:lnTo>
                  <a:lnTo>
                    <a:pt x="49" y="254"/>
                  </a:lnTo>
                  <a:lnTo>
                    <a:pt x="49" y="260"/>
                  </a:lnTo>
                  <a:lnTo>
                    <a:pt x="51" y="265"/>
                  </a:lnTo>
                  <a:lnTo>
                    <a:pt x="58" y="277"/>
                  </a:lnTo>
                  <a:lnTo>
                    <a:pt x="64" y="288"/>
                  </a:lnTo>
                  <a:lnTo>
                    <a:pt x="70" y="297"/>
                  </a:lnTo>
                  <a:lnTo>
                    <a:pt x="71" y="301"/>
                  </a:lnTo>
                  <a:lnTo>
                    <a:pt x="71" y="305"/>
                  </a:lnTo>
                  <a:lnTo>
                    <a:pt x="71" y="305"/>
                  </a:lnTo>
                  <a:lnTo>
                    <a:pt x="73" y="312"/>
                  </a:lnTo>
                  <a:lnTo>
                    <a:pt x="73" y="318"/>
                  </a:lnTo>
                  <a:lnTo>
                    <a:pt x="71" y="323"/>
                  </a:lnTo>
                  <a:lnTo>
                    <a:pt x="70" y="327"/>
                  </a:lnTo>
                  <a:lnTo>
                    <a:pt x="62" y="334"/>
                  </a:lnTo>
                  <a:lnTo>
                    <a:pt x="56" y="340"/>
                  </a:lnTo>
                  <a:lnTo>
                    <a:pt x="56" y="340"/>
                  </a:lnTo>
                  <a:lnTo>
                    <a:pt x="55" y="349"/>
                  </a:lnTo>
                  <a:lnTo>
                    <a:pt x="55" y="355"/>
                  </a:lnTo>
                  <a:lnTo>
                    <a:pt x="58" y="357"/>
                  </a:lnTo>
                  <a:lnTo>
                    <a:pt x="64" y="355"/>
                  </a:lnTo>
                  <a:lnTo>
                    <a:pt x="75" y="348"/>
                  </a:lnTo>
                  <a:lnTo>
                    <a:pt x="83" y="342"/>
                  </a:lnTo>
                  <a:lnTo>
                    <a:pt x="83" y="342"/>
                  </a:lnTo>
                  <a:lnTo>
                    <a:pt x="96" y="338"/>
                  </a:lnTo>
                  <a:lnTo>
                    <a:pt x="99" y="336"/>
                  </a:lnTo>
                  <a:lnTo>
                    <a:pt x="99" y="334"/>
                  </a:lnTo>
                  <a:lnTo>
                    <a:pt x="103" y="331"/>
                  </a:lnTo>
                  <a:lnTo>
                    <a:pt x="105" y="329"/>
                  </a:lnTo>
                  <a:lnTo>
                    <a:pt x="111" y="327"/>
                  </a:lnTo>
                  <a:lnTo>
                    <a:pt x="111" y="327"/>
                  </a:lnTo>
                  <a:lnTo>
                    <a:pt x="124" y="323"/>
                  </a:lnTo>
                  <a:lnTo>
                    <a:pt x="133" y="320"/>
                  </a:lnTo>
                  <a:lnTo>
                    <a:pt x="137" y="314"/>
                  </a:lnTo>
                  <a:lnTo>
                    <a:pt x="141" y="312"/>
                  </a:lnTo>
                  <a:lnTo>
                    <a:pt x="141" y="312"/>
                  </a:lnTo>
                  <a:lnTo>
                    <a:pt x="139" y="316"/>
                  </a:lnTo>
                  <a:lnTo>
                    <a:pt x="139" y="316"/>
                  </a:lnTo>
                  <a:lnTo>
                    <a:pt x="133" y="327"/>
                  </a:lnTo>
                  <a:lnTo>
                    <a:pt x="124" y="336"/>
                  </a:lnTo>
                  <a:lnTo>
                    <a:pt x="113" y="348"/>
                  </a:lnTo>
                  <a:lnTo>
                    <a:pt x="99" y="357"/>
                  </a:lnTo>
                  <a:lnTo>
                    <a:pt x="75" y="374"/>
                  </a:lnTo>
                  <a:lnTo>
                    <a:pt x="68" y="381"/>
                  </a:lnTo>
                  <a:lnTo>
                    <a:pt x="64" y="389"/>
                  </a:lnTo>
                  <a:lnTo>
                    <a:pt x="64" y="389"/>
                  </a:lnTo>
                  <a:lnTo>
                    <a:pt x="64" y="398"/>
                  </a:lnTo>
                  <a:lnTo>
                    <a:pt x="60" y="404"/>
                  </a:lnTo>
                  <a:lnTo>
                    <a:pt x="55" y="407"/>
                  </a:lnTo>
                  <a:lnTo>
                    <a:pt x="49" y="411"/>
                  </a:lnTo>
                  <a:lnTo>
                    <a:pt x="36" y="415"/>
                  </a:lnTo>
                  <a:lnTo>
                    <a:pt x="32" y="419"/>
                  </a:lnTo>
                  <a:lnTo>
                    <a:pt x="28" y="424"/>
                  </a:lnTo>
                  <a:lnTo>
                    <a:pt x="28" y="424"/>
                  </a:lnTo>
                  <a:lnTo>
                    <a:pt x="25" y="430"/>
                  </a:lnTo>
                  <a:lnTo>
                    <a:pt x="19" y="437"/>
                  </a:lnTo>
                  <a:lnTo>
                    <a:pt x="6" y="456"/>
                  </a:lnTo>
                  <a:lnTo>
                    <a:pt x="2" y="463"/>
                  </a:lnTo>
                  <a:lnTo>
                    <a:pt x="0" y="471"/>
                  </a:lnTo>
                  <a:lnTo>
                    <a:pt x="2" y="473"/>
                  </a:lnTo>
                  <a:lnTo>
                    <a:pt x="4" y="475"/>
                  </a:lnTo>
                  <a:lnTo>
                    <a:pt x="10" y="476"/>
                  </a:lnTo>
                  <a:lnTo>
                    <a:pt x="15" y="476"/>
                  </a:lnTo>
                  <a:lnTo>
                    <a:pt x="15" y="476"/>
                  </a:lnTo>
                  <a:lnTo>
                    <a:pt x="43" y="476"/>
                  </a:lnTo>
                  <a:lnTo>
                    <a:pt x="47" y="478"/>
                  </a:lnTo>
                  <a:lnTo>
                    <a:pt x="49" y="480"/>
                  </a:lnTo>
                  <a:lnTo>
                    <a:pt x="49" y="484"/>
                  </a:lnTo>
                  <a:lnTo>
                    <a:pt x="51" y="486"/>
                  </a:lnTo>
                  <a:lnTo>
                    <a:pt x="56" y="488"/>
                  </a:lnTo>
                  <a:lnTo>
                    <a:pt x="56" y="488"/>
                  </a:lnTo>
                  <a:lnTo>
                    <a:pt x="66" y="491"/>
                  </a:lnTo>
                  <a:lnTo>
                    <a:pt x="73" y="497"/>
                  </a:lnTo>
                  <a:lnTo>
                    <a:pt x="77" y="501"/>
                  </a:lnTo>
                  <a:lnTo>
                    <a:pt x="79" y="504"/>
                  </a:lnTo>
                  <a:lnTo>
                    <a:pt x="79" y="512"/>
                  </a:lnTo>
                  <a:lnTo>
                    <a:pt x="79" y="519"/>
                  </a:lnTo>
                  <a:lnTo>
                    <a:pt x="81" y="521"/>
                  </a:lnTo>
                  <a:lnTo>
                    <a:pt x="85" y="523"/>
                  </a:lnTo>
                  <a:lnTo>
                    <a:pt x="90" y="527"/>
                  </a:lnTo>
                  <a:lnTo>
                    <a:pt x="98" y="527"/>
                  </a:lnTo>
                  <a:lnTo>
                    <a:pt x="124" y="529"/>
                  </a:lnTo>
                  <a:lnTo>
                    <a:pt x="169" y="529"/>
                  </a:lnTo>
                  <a:lnTo>
                    <a:pt x="169" y="529"/>
                  </a:lnTo>
                  <a:lnTo>
                    <a:pt x="178" y="523"/>
                  </a:lnTo>
                  <a:lnTo>
                    <a:pt x="180" y="521"/>
                  </a:lnTo>
                  <a:lnTo>
                    <a:pt x="187" y="514"/>
                  </a:lnTo>
                  <a:lnTo>
                    <a:pt x="187" y="514"/>
                  </a:lnTo>
                  <a:lnTo>
                    <a:pt x="191" y="510"/>
                  </a:lnTo>
                  <a:lnTo>
                    <a:pt x="193" y="504"/>
                  </a:lnTo>
                  <a:lnTo>
                    <a:pt x="191" y="491"/>
                  </a:lnTo>
                  <a:lnTo>
                    <a:pt x="193" y="486"/>
                  </a:lnTo>
                  <a:lnTo>
                    <a:pt x="195" y="480"/>
                  </a:lnTo>
                  <a:lnTo>
                    <a:pt x="199" y="476"/>
                  </a:lnTo>
                  <a:lnTo>
                    <a:pt x="206" y="475"/>
                  </a:lnTo>
                  <a:lnTo>
                    <a:pt x="206" y="475"/>
                  </a:lnTo>
                  <a:lnTo>
                    <a:pt x="213" y="475"/>
                  </a:lnTo>
                  <a:lnTo>
                    <a:pt x="219" y="473"/>
                  </a:lnTo>
                  <a:lnTo>
                    <a:pt x="225" y="469"/>
                  </a:lnTo>
                  <a:lnTo>
                    <a:pt x="227" y="467"/>
                  </a:lnTo>
                  <a:lnTo>
                    <a:pt x="228" y="465"/>
                  </a:lnTo>
                  <a:lnTo>
                    <a:pt x="230" y="463"/>
                  </a:lnTo>
                  <a:lnTo>
                    <a:pt x="232" y="465"/>
                  </a:lnTo>
                  <a:lnTo>
                    <a:pt x="232" y="465"/>
                  </a:lnTo>
                  <a:lnTo>
                    <a:pt x="234" y="467"/>
                  </a:lnTo>
                  <a:lnTo>
                    <a:pt x="234" y="467"/>
                  </a:lnTo>
                  <a:lnTo>
                    <a:pt x="217" y="450"/>
                  </a:lnTo>
                  <a:lnTo>
                    <a:pt x="208" y="441"/>
                  </a:lnTo>
                  <a:lnTo>
                    <a:pt x="206" y="435"/>
                  </a:lnTo>
                  <a:lnTo>
                    <a:pt x="208" y="432"/>
                  </a:lnTo>
                  <a:lnTo>
                    <a:pt x="212" y="426"/>
                  </a:lnTo>
                  <a:lnTo>
                    <a:pt x="219" y="419"/>
                  </a:lnTo>
                  <a:lnTo>
                    <a:pt x="219" y="419"/>
                  </a:lnTo>
                  <a:lnTo>
                    <a:pt x="223" y="417"/>
                  </a:lnTo>
                  <a:lnTo>
                    <a:pt x="225" y="417"/>
                  </a:lnTo>
                  <a:lnTo>
                    <a:pt x="228" y="426"/>
                  </a:lnTo>
                  <a:lnTo>
                    <a:pt x="236" y="443"/>
                  </a:lnTo>
                  <a:lnTo>
                    <a:pt x="243" y="452"/>
                  </a:lnTo>
                  <a:lnTo>
                    <a:pt x="255" y="465"/>
                  </a:lnTo>
                  <a:lnTo>
                    <a:pt x="273" y="486"/>
                  </a:lnTo>
                  <a:lnTo>
                    <a:pt x="273" y="486"/>
                  </a:lnTo>
                  <a:lnTo>
                    <a:pt x="294" y="504"/>
                  </a:lnTo>
                  <a:lnTo>
                    <a:pt x="294" y="504"/>
                  </a:lnTo>
                  <a:lnTo>
                    <a:pt x="301" y="512"/>
                  </a:lnTo>
                  <a:lnTo>
                    <a:pt x="301" y="512"/>
                  </a:lnTo>
                  <a:lnTo>
                    <a:pt x="311" y="519"/>
                  </a:lnTo>
                  <a:lnTo>
                    <a:pt x="318" y="523"/>
                  </a:lnTo>
                  <a:lnTo>
                    <a:pt x="326" y="525"/>
                  </a:lnTo>
                  <a:lnTo>
                    <a:pt x="333" y="525"/>
                  </a:lnTo>
                  <a:lnTo>
                    <a:pt x="339" y="523"/>
                  </a:lnTo>
                  <a:lnTo>
                    <a:pt x="344" y="519"/>
                  </a:lnTo>
                  <a:lnTo>
                    <a:pt x="354" y="510"/>
                  </a:lnTo>
                  <a:lnTo>
                    <a:pt x="363" y="501"/>
                  </a:lnTo>
                  <a:lnTo>
                    <a:pt x="367" y="497"/>
                  </a:lnTo>
                  <a:lnTo>
                    <a:pt x="372" y="495"/>
                  </a:lnTo>
                  <a:lnTo>
                    <a:pt x="376" y="495"/>
                  </a:lnTo>
                  <a:lnTo>
                    <a:pt x="382" y="497"/>
                  </a:lnTo>
                  <a:lnTo>
                    <a:pt x="385" y="501"/>
                  </a:lnTo>
                  <a:lnTo>
                    <a:pt x="391" y="508"/>
                  </a:lnTo>
                  <a:lnTo>
                    <a:pt x="391" y="508"/>
                  </a:lnTo>
                  <a:lnTo>
                    <a:pt x="398" y="519"/>
                  </a:lnTo>
                  <a:lnTo>
                    <a:pt x="406" y="525"/>
                  </a:lnTo>
                  <a:lnTo>
                    <a:pt x="412" y="529"/>
                  </a:lnTo>
                  <a:lnTo>
                    <a:pt x="417" y="529"/>
                  </a:lnTo>
                  <a:lnTo>
                    <a:pt x="423" y="527"/>
                  </a:lnTo>
                  <a:lnTo>
                    <a:pt x="427" y="525"/>
                  </a:lnTo>
                  <a:lnTo>
                    <a:pt x="428" y="519"/>
                  </a:lnTo>
                  <a:lnTo>
                    <a:pt x="430" y="516"/>
                  </a:lnTo>
                  <a:lnTo>
                    <a:pt x="430" y="516"/>
                  </a:lnTo>
                  <a:lnTo>
                    <a:pt x="434" y="499"/>
                  </a:lnTo>
                  <a:lnTo>
                    <a:pt x="436" y="488"/>
                  </a:lnTo>
                  <a:lnTo>
                    <a:pt x="440" y="484"/>
                  </a:lnTo>
                  <a:lnTo>
                    <a:pt x="443" y="484"/>
                  </a:lnTo>
                  <a:lnTo>
                    <a:pt x="451" y="486"/>
                  </a:lnTo>
                  <a:lnTo>
                    <a:pt x="455" y="486"/>
                  </a:lnTo>
                  <a:lnTo>
                    <a:pt x="458" y="480"/>
                  </a:lnTo>
                  <a:lnTo>
                    <a:pt x="458" y="480"/>
                  </a:lnTo>
                  <a:lnTo>
                    <a:pt x="466" y="465"/>
                  </a:lnTo>
                  <a:lnTo>
                    <a:pt x="469" y="454"/>
                  </a:lnTo>
                  <a:lnTo>
                    <a:pt x="473" y="441"/>
                  </a:lnTo>
                  <a:lnTo>
                    <a:pt x="477" y="437"/>
                  </a:lnTo>
                  <a:lnTo>
                    <a:pt x="484" y="433"/>
                  </a:lnTo>
                  <a:lnTo>
                    <a:pt x="518" y="424"/>
                  </a:lnTo>
                  <a:lnTo>
                    <a:pt x="518" y="424"/>
                  </a:lnTo>
                  <a:lnTo>
                    <a:pt x="522" y="422"/>
                  </a:lnTo>
                  <a:lnTo>
                    <a:pt x="522" y="422"/>
                  </a:lnTo>
                  <a:lnTo>
                    <a:pt x="526" y="420"/>
                  </a:lnTo>
                  <a:lnTo>
                    <a:pt x="529" y="417"/>
                  </a:lnTo>
                  <a:lnTo>
                    <a:pt x="535" y="407"/>
                  </a:lnTo>
                  <a:lnTo>
                    <a:pt x="541" y="394"/>
                  </a:lnTo>
                  <a:lnTo>
                    <a:pt x="544" y="381"/>
                  </a:lnTo>
                  <a:lnTo>
                    <a:pt x="550" y="366"/>
                  </a:lnTo>
                  <a:lnTo>
                    <a:pt x="554" y="355"/>
                  </a:lnTo>
                  <a:lnTo>
                    <a:pt x="561" y="346"/>
                  </a:lnTo>
                  <a:lnTo>
                    <a:pt x="565" y="342"/>
                  </a:lnTo>
                  <a:lnTo>
                    <a:pt x="570" y="340"/>
                  </a:lnTo>
                  <a:lnTo>
                    <a:pt x="570" y="340"/>
                  </a:lnTo>
                  <a:lnTo>
                    <a:pt x="576" y="336"/>
                  </a:lnTo>
                  <a:lnTo>
                    <a:pt x="583" y="331"/>
                  </a:lnTo>
                  <a:lnTo>
                    <a:pt x="591" y="323"/>
                  </a:lnTo>
                  <a:lnTo>
                    <a:pt x="598" y="312"/>
                  </a:lnTo>
                  <a:lnTo>
                    <a:pt x="604" y="303"/>
                  </a:lnTo>
                  <a:lnTo>
                    <a:pt x="608" y="291"/>
                  </a:lnTo>
                  <a:lnTo>
                    <a:pt x="610" y="284"/>
                  </a:lnTo>
                  <a:lnTo>
                    <a:pt x="608" y="280"/>
                  </a:lnTo>
                  <a:lnTo>
                    <a:pt x="606" y="277"/>
                  </a:lnTo>
                  <a:lnTo>
                    <a:pt x="606" y="277"/>
                  </a:lnTo>
                  <a:lnTo>
                    <a:pt x="600" y="269"/>
                  </a:lnTo>
                  <a:lnTo>
                    <a:pt x="600" y="262"/>
                  </a:lnTo>
                  <a:lnTo>
                    <a:pt x="604" y="258"/>
                  </a:lnTo>
                  <a:lnTo>
                    <a:pt x="608" y="254"/>
                  </a:lnTo>
                  <a:lnTo>
                    <a:pt x="615" y="252"/>
                  </a:lnTo>
                  <a:lnTo>
                    <a:pt x="621" y="254"/>
                  </a:lnTo>
                  <a:lnTo>
                    <a:pt x="625" y="260"/>
                  </a:lnTo>
                  <a:lnTo>
                    <a:pt x="625" y="269"/>
                  </a:lnTo>
                  <a:lnTo>
                    <a:pt x="625" y="269"/>
                  </a:lnTo>
                  <a:lnTo>
                    <a:pt x="626" y="273"/>
                  </a:lnTo>
                  <a:lnTo>
                    <a:pt x="630" y="275"/>
                  </a:lnTo>
                  <a:lnTo>
                    <a:pt x="636" y="275"/>
                  </a:lnTo>
                  <a:lnTo>
                    <a:pt x="643" y="271"/>
                  </a:lnTo>
                  <a:lnTo>
                    <a:pt x="656" y="263"/>
                  </a:lnTo>
                  <a:lnTo>
                    <a:pt x="662" y="260"/>
                  </a:lnTo>
                  <a:lnTo>
                    <a:pt x="664" y="256"/>
                  </a:lnTo>
                  <a:lnTo>
                    <a:pt x="664" y="256"/>
                  </a:lnTo>
                  <a:lnTo>
                    <a:pt x="662" y="245"/>
                  </a:lnTo>
                  <a:lnTo>
                    <a:pt x="660" y="234"/>
                  </a:lnTo>
                  <a:lnTo>
                    <a:pt x="658" y="228"/>
                  </a:lnTo>
                  <a:lnTo>
                    <a:pt x="660" y="222"/>
                  </a:lnTo>
                  <a:lnTo>
                    <a:pt x="662" y="219"/>
                  </a:lnTo>
                  <a:lnTo>
                    <a:pt x="668" y="215"/>
                  </a:lnTo>
                  <a:lnTo>
                    <a:pt x="668" y="215"/>
                  </a:lnTo>
                  <a:lnTo>
                    <a:pt x="673" y="215"/>
                  </a:lnTo>
                  <a:lnTo>
                    <a:pt x="683" y="215"/>
                  </a:lnTo>
                  <a:lnTo>
                    <a:pt x="686" y="215"/>
                  </a:lnTo>
                  <a:lnTo>
                    <a:pt x="688" y="211"/>
                  </a:lnTo>
                  <a:lnTo>
                    <a:pt x="688" y="206"/>
                  </a:lnTo>
                  <a:lnTo>
                    <a:pt x="683" y="196"/>
                  </a:lnTo>
                  <a:lnTo>
                    <a:pt x="683" y="196"/>
                  </a:lnTo>
                  <a:lnTo>
                    <a:pt x="681" y="192"/>
                  </a:lnTo>
                  <a:lnTo>
                    <a:pt x="677" y="191"/>
                  </a:lnTo>
                  <a:lnTo>
                    <a:pt x="668" y="191"/>
                  </a:lnTo>
                  <a:lnTo>
                    <a:pt x="664" y="191"/>
                  </a:lnTo>
                  <a:lnTo>
                    <a:pt x="675" y="187"/>
                  </a:lnTo>
                  <a:lnTo>
                    <a:pt x="675" y="187"/>
                  </a:lnTo>
                  <a:lnTo>
                    <a:pt x="705" y="179"/>
                  </a:lnTo>
                  <a:lnTo>
                    <a:pt x="731" y="168"/>
                  </a:lnTo>
                  <a:lnTo>
                    <a:pt x="757" y="153"/>
                  </a:lnTo>
                  <a:lnTo>
                    <a:pt x="782" y="136"/>
                  </a:lnTo>
                  <a:lnTo>
                    <a:pt x="782" y="136"/>
                  </a:lnTo>
                  <a:lnTo>
                    <a:pt x="793" y="131"/>
                  </a:lnTo>
                  <a:lnTo>
                    <a:pt x="806" y="127"/>
                  </a:lnTo>
                  <a:lnTo>
                    <a:pt x="811" y="127"/>
                  </a:lnTo>
                  <a:lnTo>
                    <a:pt x="817" y="129"/>
                  </a:lnTo>
                  <a:lnTo>
                    <a:pt x="821" y="133"/>
                  </a:lnTo>
                  <a:lnTo>
                    <a:pt x="826" y="136"/>
                  </a:lnTo>
                  <a:lnTo>
                    <a:pt x="826" y="136"/>
                  </a:lnTo>
                  <a:lnTo>
                    <a:pt x="830" y="140"/>
                  </a:lnTo>
                  <a:lnTo>
                    <a:pt x="838" y="140"/>
                  </a:lnTo>
                  <a:lnTo>
                    <a:pt x="843" y="138"/>
                  </a:lnTo>
                  <a:lnTo>
                    <a:pt x="849" y="135"/>
                  </a:lnTo>
                  <a:lnTo>
                    <a:pt x="853" y="129"/>
                  </a:lnTo>
                  <a:lnTo>
                    <a:pt x="854" y="123"/>
                  </a:lnTo>
                  <a:lnTo>
                    <a:pt x="853" y="118"/>
                  </a:lnTo>
                  <a:lnTo>
                    <a:pt x="847" y="114"/>
                  </a:lnTo>
                  <a:lnTo>
                    <a:pt x="847" y="114"/>
                  </a:lnTo>
                  <a:lnTo>
                    <a:pt x="845" y="110"/>
                  </a:lnTo>
                  <a:lnTo>
                    <a:pt x="845" y="107"/>
                  </a:lnTo>
                  <a:lnTo>
                    <a:pt x="849" y="97"/>
                  </a:lnTo>
                  <a:lnTo>
                    <a:pt x="854" y="88"/>
                  </a:lnTo>
                  <a:lnTo>
                    <a:pt x="856" y="82"/>
                  </a:lnTo>
                  <a:lnTo>
                    <a:pt x="856" y="78"/>
                  </a:lnTo>
                  <a:lnTo>
                    <a:pt x="856" y="78"/>
                  </a:lnTo>
                  <a:lnTo>
                    <a:pt x="858" y="73"/>
                  </a:lnTo>
                  <a:lnTo>
                    <a:pt x="860" y="67"/>
                  </a:lnTo>
                  <a:lnTo>
                    <a:pt x="862" y="58"/>
                  </a:lnTo>
                  <a:lnTo>
                    <a:pt x="862" y="54"/>
                  </a:lnTo>
                  <a:lnTo>
                    <a:pt x="858" y="54"/>
                  </a:lnTo>
                  <a:lnTo>
                    <a:pt x="853" y="54"/>
                  </a:lnTo>
                  <a:lnTo>
                    <a:pt x="841" y="58"/>
                  </a:lnTo>
                  <a:lnTo>
                    <a:pt x="841" y="58"/>
                  </a:lnTo>
                  <a:lnTo>
                    <a:pt x="832" y="60"/>
                  </a:lnTo>
                  <a:lnTo>
                    <a:pt x="825" y="58"/>
                  </a:lnTo>
                  <a:lnTo>
                    <a:pt x="817" y="56"/>
                  </a:lnTo>
                  <a:lnTo>
                    <a:pt x="811" y="52"/>
                  </a:lnTo>
                  <a:lnTo>
                    <a:pt x="806" y="49"/>
                  </a:lnTo>
                  <a:lnTo>
                    <a:pt x="800" y="47"/>
                  </a:lnTo>
                  <a:lnTo>
                    <a:pt x="795" y="47"/>
                  </a:lnTo>
                  <a:lnTo>
                    <a:pt x="789" y="49"/>
                  </a:lnTo>
                  <a:lnTo>
                    <a:pt x="789" y="49"/>
                  </a:lnTo>
                  <a:lnTo>
                    <a:pt x="783" y="54"/>
                  </a:lnTo>
                  <a:lnTo>
                    <a:pt x="778" y="58"/>
                  </a:lnTo>
                  <a:lnTo>
                    <a:pt x="767" y="62"/>
                  </a:lnTo>
                  <a:lnTo>
                    <a:pt x="755" y="64"/>
                  </a:lnTo>
                  <a:lnTo>
                    <a:pt x="742" y="64"/>
                  </a:lnTo>
                  <a:lnTo>
                    <a:pt x="742" y="64"/>
                  </a:lnTo>
                  <a:lnTo>
                    <a:pt x="739" y="64"/>
                  </a:lnTo>
                  <a:lnTo>
                    <a:pt x="735" y="64"/>
                  </a:lnTo>
                  <a:lnTo>
                    <a:pt x="729" y="56"/>
                  </a:lnTo>
                  <a:lnTo>
                    <a:pt x="726" y="54"/>
                  </a:lnTo>
                  <a:lnTo>
                    <a:pt x="722" y="50"/>
                  </a:lnTo>
                  <a:lnTo>
                    <a:pt x="716" y="49"/>
                  </a:lnTo>
                  <a:lnTo>
                    <a:pt x="709" y="49"/>
                  </a:lnTo>
                  <a:lnTo>
                    <a:pt x="709" y="49"/>
                  </a:lnTo>
                  <a:lnTo>
                    <a:pt x="699" y="47"/>
                  </a:lnTo>
                  <a:lnTo>
                    <a:pt x="692" y="43"/>
                  </a:lnTo>
                  <a:lnTo>
                    <a:pt x="675" y="30"/>
                  </a:lnTo>
                  <a:lnTo>
                    <a:pt x="668" y="24"/>
                  </a:lnTo>
                  <a:lnTo>
                    <a:pt x="658" y="21"/>
                  </a:lnTo>
                  <a:lnTo>
                    <a:pt x="655" y="21"/>
                  </a:lnTo>
                  <a:lnTo>
                    <a:pt x="649" y="21"/>
                  </a:lnTo>
                  <a:lnTo>
                    <a:pt x="643" y="22"/>
                  </a:lnTo>
                  <a:lnTo>
                    <a:pt x="638" y="26"/>
                  </a:lnTo>
                  <a:lnTo>
                    <a:pt x="638" y="26"/>
                  </a:lnTo>
                  <a:lnTo>
                    <a:pt x="625" y="34"/>
                  </a:lnTo>
                  <a:lnTo>
                    <a:pt x="613" y="39"/>
                  </a:lnTo>
                  <a:lnTo>
                    <a:pt x="608" y="43"/>
                  </a:lnTo>
                  <a:lnTo>
                    <a:pt x="602" y="47"/>
                  </a:lnTo>
                  <a:lnTo>
                    <a:pt x="598" y="52"/>
                  </a:lnTo>
                  <a:lnTo>
                    <a:pt x="597" y="60"/>
                  </a:lnTo>
                  <a:lnTo>
                    <a:pt x="597" y="60"/>
                  </a:lnTo>
                  <a:lnTo>
                    <a:pt x="593" y="67"/>
                  </a:lnTo>
                  <a:lnTo>
                    <a:pt x="587" y="73"/>
                  </a:lnTo>
                  <a:lnTo>
                    <a:pt x="576" y="84"/>
                  </a:lnTo>
                  <a:lnTo>
                    <a:pt x="570" y="90"/>
                  </a:lnTo>
                  <a:lnTo>
                    <a:pt x="565" y="95"/>
                  </a:lnTo>
                  <a:lnTo>
                    <a:pt x="559" y="103"/>
                  </a:lnTo>
                  <a:lnTo>
                    <a:pt x="555" y="114"/>
                  </a:lnTo>
                  <a:lnTo>
                    <a:pt x="555" y="114"/>
                  </a:lnTo>
                  <a:lnTo>
                    <a:pt x="552" y="121"/>
                  </a:lnTo>
                  <a:lnTo>
                    <a:pt x="546" y="129"/>
                  </a:lnTo>
                  <a:lnTo>
                    <a:pt x="539" y="133"/>
                  </a:lnTo>
                  <a:lnTo>
                    <a:pt x="529" y="136"/>
                  </a:lnTo>
                  <a:lnTo>
                    <a:pt x="520" y="138"/>
                  </a:lnTo>
                  <a:lnTo>
                    <a:pt x="509" y="140"/>
                  </a:lnTo>
                  <a:lnTo>
                    <a:pt x="498" y="138"/>
                  </a:lnTo>
                  <a:lnTo>
                    <a:pt x="486" y="136"/>
                  </a:lnTo>
                  <a:lnTo>
                    <a:pt x="475" y="135"/>
                  </a:lnTo>
                  <a:lnTo>
                    <a:pt x="466" y="131"/>
                  </a:lnTo>
                  <a:lnTo>
                    <a:pt x="456" y="127"/>
                  </a:lnTo>
                  <a:lnTo>
                    <a:pt x="451" y="121"/>
                  </a:lnTo>
                  <a:lnTo>
                    <a:pt x="445" y="116"/>
                  </a:lnTo>
                  <a:lnTo>
                    <a:pt x="443" y="108"/>
                  </a:lnTo>
                  <a:lnTo>
                    <a:pt x="445" y="103"/>
                  </a:lnTo>
                  <a:lnTo>
                    <a:pt x="449" y="95"/>
                  </a:lnTo>
                  <a:lnTo>
                    <a:pt x="449" y="95"/>
                  </a:lnTo>
                  <a:lnTo>
                    <a:pt x="453" y="86"/>
                  </a:lnTo>
                  <a:lnTo>
                    <a:pt x="456" y="73"/>
                  </a:lnTo>
                  <a:lnTo>
                    <a:pt x="458" y="60"/>
                  </a:lnTo>
                  <a:lnTo>
                    <a:pt x="456" y="54"/>
                  </a:lnTo>
                  <a:lnTo>
                    <a:pt x="455" y="52"/>
                  </a:lnTo>
                  <a:lnTo>
                    <a:pt x="455" y="52"/>
                  </a:lnTo>
                  <a:lnTo>
                    <a:pt x="449" y="47"/>
                  </a:lnTo>
                  <a:lnTo>
                    <a:pt x="447" y="43"/>
                  </a:lnTo>
                  <a:lnTo>
                    <a:pt x="447" y="39"/>
                  </a:lnTo>
                  <a:lnTo>
                    <a:pt x="449" y="35"/>
                  </a:lnTo>
                  <a:lnTo>
                    <a:pt x="451" y="32"/>
                  </a:lnTo>
                  <a:lnTo>
                    <a:pt x="451" y="28"/>
                  </a:lnTo>
                  <a:lnTo>
                    <a:pt x="447" y="21"/>
                  </a:lnTo>
                  <a:lnTo>
                    <a:pt x="440" y="13"/>
                  </a:lnTo>
                  <a:lnTo>
                    <a:pt x="440" y="13"/>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 name="Freeform 14">
              <a:extLst>
                <a:ext uri="{FF2B5EF4-FFF2-40B4-BE49-F238E27FC236}">
                  <a16:creationId xmlns:a16="http://schemas.microsoft.com/office/drawing/2014/main" id="{95C06FC3-DD42-42F6-8A2E-93ABE46B1B4A}"/>
                </a:ext>
              </a:extLst>
            </p:cNvPr>
            <p:cNvSpPr>
              <a:spLocks/>
            </p:cNvSpPr>
            <p:nvPr/>
          </p:nvSpPr>
          <p:spPr bwMode="auto">
            <a:xfrm>
              <a:off x="6379578" y="3641816"/>
              <a:ext cx="10900" cy="12716"/>
            </a:xfrm>
            <a:custGeom>
              <a:avLst/>
              <a:gdLst/>
              <a:ahLst/>
              <a:cxnLst>
                <a:cxn ang="0">
                  <a:pos x="0" y="0"/>
                </a:cxn>
                <a:cxn ang="0">
                  <a:pos x="0" y="0"/>
                </a:cxn>
                <a:cxn ang="0">
                  <a:pos x="0" y="3"/>
                </a:cxn>
                <a:cxn ang="0">
                  <a:pos x="0" y="9"/>
                </a:cxn>
                <a:cxn ang="0">
                  <a:pos x="0" y="13"/>
                </a:cxn>
                <a:cxn ang="0">
                  <a:pos x="2" y="13"/>
                </a:cxn>
                <a:cxn ang="0">
                  <a:pos x="5" y="11"/>
                </a:cxn>
                <a:cxn ang="0">
                  <a:pos x="11" y="5"/>
                </a:cxn>
                <a:cxn ang="0">
                  <a:pos x="11" y="5"/>
                </a:cxn>
                <a:cxn ang="0">
                  <a:pos x="13" y="3"/>
                </a:cxn>
                <a:cxn ang="0">
                  <a:pos x="13" y="1"/>
                </a:cxn>
                <a:cxn ang="0">
                  <a:pos x="9" y="0"/>
                </a:cxn>
                <a:cxn ang="0">
                  <a:pos x="0" y="0"/>
                </a:cxn>
                <a:cxn ang="0">
                  <a:pos x="0" y="0"/>
                </a:cxn>
              </a:cxnLst>
              <a:rect l="0" t="0" r="r" b="b"/>
              <a:pathLst>
                <a:path w="13" h="13">
                  <a:moveTo>
                    <a:pt x="0" y="0"/>
                  </a:moveTo>
                  <a:lnTo>
                    <a:pt x="0" y="0"/>
                  </a:lnTo>
                  <a:lnTo>
                    <a:pt x="0" y="3"/>
                  </a:lnTo>
                  <a:lnTo>
                    <a:pt x="0" y="9"/>
                  </a:lnTo>
                  <a:lnTo>
                    <a:pt x="0" y="13"/>
                  </a:lnTo>
                  <a:lnTo>
                    <a:pt x="2" y="13"/>
                  </a:lnTo>
                  <a:lnTo>
                    <a:pt x="5" y="11"/>
                  </a:lnTo>
                  <a:lnTo>
                    <a:pt x="11" y="5"/>
                  </a:lnTo>
                  <a:lnTo>
                    <a:pt x="11" y="5"/>
                  </a:lnTo>
                  <a:lnTo>
                    <a:pt x="13" y="3"/>
                  </a:lnTo>
                  <a:lnTo>
                    <a:pt x="13" y="1"/>
                  </a:lnTo>
                  <a:lnTo>
                    <a:pt x="9" y="0"/>
                  </a:lnTo>
                  <a:lnTo>
                    <a:pt x="0" y="0"/>
                  </a:lnTo>
                  <a:lnTo>
                    <a:pt x="0" y="0"/>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 name="Freeform 15">
              <a:extLst>
                <a:ext uri="{FF2B5EF4-FFF2-40B4-BE49-F238E27FC236}">
                  <a16:creationId xmlns:a16="http://schemas.microsoft.com/office/drawing/2014/main" id="{9A7585CE-5636-4C1D-A252-0F895A85D31D}"/>
                </a:ext>
              </a:extLst>
            </p:cNvPr>
            <p:cNvSpPr>
              <a:spLocks/>
            </p:cNvSpPr>
            <p:nvPr/>
          </p:nvSpPr>
          <p:spPr bwMode="auto">
            <a:xfrm>
              <a:off x="6366861" y="3656349"/>
              <a:ext cx="14533" cy="10900"/>
            </a:xfrm>
            <a:custGeom>
              <a:avLst/>
              <a:gdLst/>
              <a:ahLst/>
              <a:cxnLst>
                <a:cxn ang="0">
                  <a:pos x="11" y="0"/>
                </a:cxn>
                <a:cxn ang="0">
                  <a:pos x="11" y="0"/>
                </a:cxn>
                <a:cxn ang="0">
                  <a:pos x="5" y="0"/>
                </a:cxn>
                <a:cxn ang="0">
                  <a:pos x="2" y="0"/>
                </a:cxn>
                <a:cxn ang="0">
                  <a:pos x="0" y="0"/>
                </a:cxn>
                <a:cxn ang="0">
                  <a:pos x="0" y="0"/>
                </a:cxn>
                <a:cxn ang="0">
                  <a:pos x="0" y="1"/>
                </a:cxn>
                <a:cxn ang="0">
                  <a:pos x="2" y="5"/>
                </a:cxn>
                <a:cxn ang="0">
                  <a:pos x="9" y="11"/>
                </a:cxn>
                <a:cxn ang="0">
                  <a:pos x="13" y="13"/>
                </a:cxn>
                <a:cxn ang="0">
                  <a:pos x="15" y="11"/>
                </a:cxn>
                <a:cxn ang="0">
                  <a:pos x="15" y="7"/>
                </a:cxn>
                <a:cxn ang="0">
                  <a:pos x="11" y="0"/>
                </a:cxn>
                <a:cxn ang="0">
                  <a:pos x="11" y="0"/>
                </a:cxn>
              </a:cxnLst>
              <a:rect l="0" t="0" r="r" b="b"/>
              <a:pathLst>
                <a:path w="15" h="13">
                  <a:moveTo>
                    <a:pt x="11" y="0"/>
                  </a:moveTo>
                  <a:lnTo>
                    <a:pt x="11" y="0"/>
                  </a:lnTo>
                  <a:lnTo>
                    <a:pt x="5" y="0"/>
                  </a:lnTo>
                  <a:lnTo>
                    <a:pt x="2" y="0"/>
                  </a:lnTo>
                  <a:lnTo>
                    <a:pt x="0" y="0"/>
                  </a:lnTo>
                  <a:lnTo>
                    <a:pt x="0" y="0"/>
                  </a:lnTo>
                  <a:lnTo>
                    <a:pt x="0" y="1"/>
                  </a:lnTo>
                  <a:lnTo>
                    <a:pt x="2" y="5"/>
                  </a:lnTo>
                  <a:lnTo>
                    <a:pt x="9" y="11"/>
                  </a:lnTo>
                  <a:lnTo>
                    <a:pt x="13" y="13"/>
                  </a:lnTo>
                  <a:lnTo>
                    <a:pt x="15" y="11"/>
                  </a:lnTo>
                  <a:lnTo>
                    <a:pt x="15" y="7"/>
                  </a:lnTo>
                  <a:lnTo>
                    <a:pt x="11" y="0"/>
                  </a:lnTo>
                  <a:lnTo>
                    <a:pt x="11" y="0"/>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 name="Freeform 16">
              <a:extLst>
                <a:ext uri="{FF2B5EF4-FFF2-40B4-BE49-F238E27FC236}">
                  <a16:creationId xmlns:a16="http://schemas.microsoft.com/office/drawing/2014/main" id="{1475A420-487D-4514-AB5C-8BDCD1730152}"/>
                </a:ext>
              </a:extLst>
            </p:cNvPr>
            <p:cNvSpPr>
              <a:spLocks/>
            </p:cNvSpPr>
            <p:nvPr/>
          </p:nvSpPr>
          <p:spPr bwMode="auto">
            <a:xfrm>
              <a:off x="6352327" y="3674516"/>
              <a:ext cx="27250" cy="14533"/>
            </a:xfrm>
            <a:custGeom>
              <a:avLst/>
              <a:gdLst/>
              <a:ahLst/>
              <a:cxnLst>
                <a:cxn ang="0">
                  <a:pos x="28" y="2"/>
                </a:cxn>
                <a:cxn ang="0">
                  <a:pos x="28" y="2"/>
                </a:cxn>
                <a:cxn ang="0">
                  <a:pos x="20" y="0"/>
                </a:cxn>
                <a:cxn ang="0">
                  <a:pos x="13" y="2"/>
                </a:cxn>
                <a:cxn ang="0">
                  <a:pos x="5" y="4"/>
                </a:cxn>
                <a:cxn ang="0">
                  <a:pos x="2" y="8"/>
                </a:cxn>
                <a:cxn ang="0">
                  <a:pos x="0" y="13"/>
                </a:cxn>
                <a:cxn ang="0">
                  <a:pos x="2" y="15"/>
                </a:cxn>
                <a:cxn ang="0">
                  <a:pos x="7" y="15"/>
                </a:cxn>
                <a:cxn ang="0">
                  <a:pos x="17" y="9"/>
                </a:cxn>
                <a:cxn ang="0">
                  <a:pos x="17" y="9"/>
                </a:cxn>
                <a:cxn ang="0">
                  <a:pos x="28" y="8"/>
                </a:cxn>
                <a:cxn ang="0">
                  <a:pos x="30" y="6"/>
                </a:cxn>
                <a:cxn ang="0">
                  <a:pos x="30" y="4"/>
                </a:cxn>
                <a:cxn ang="0">
                  <a:pos x="28" y="2"/>
                </a:cxn>
                <a:cxn ang="0">
                  <a:pos x="28" y="2"/>
                </a:cxn>
              </a:cxnLst>
              <a:rect l="0" t="0" r="r" b="b"/>
              <a:pathLst>
                <a:path w="30" h="15">
                  <a:moveTo>
                    <a:pt x="28" y="2"/>
                  </a:moveTo>
                  <a:lnTo>
                    <a:pt x="28" y="2"/>
                  </a:lnTo>
                  <a:lnTo>
                    <a:pt x="20" y="0"/>
                  </a:lnTo>
                  <a:lnTo>
                    <a:pt x="13" y="2"/>
                  </a:lnTo>
                  <a:lnTo>
                    <a:pt x="5" y="4"/>
                  </a:lnTo>
                  <a:lnTo>
                    <a:pt x="2" y="8"/>
                  </a:lnTo>
                  <a:lnTo>
                    <a:pt x="0" y="13"/>
                  </a:lnTo>
                  <a:lnTo>
                    <a:pt x="2" y="15"/>
                  </a:lnTo>
                  <a:lnTo>
                    <a:pt x="7" y="15"/>
                  </a:lnTo>
                  <a:lnTo>
                    <a:pt x="17" y="9"/>
                  </a:lnTo>
                  <a:lnTo>
                    <a:pt x="17" y="9"/>
                  </a:lnTo>
                  <a:lnTo>
                    <a:pt x="28" y="8"/>
                  </a:lnTo>
                  <a:lnTo>
                    <a:pt x="30" y="6"/>
                  </a:lnTo>
                  <a:lnTo>
                    <a:pt x="30" y="4"/>
                  </a:lnTo>
                  <a:lnTo>
                    <a:pt x="28" y="2"/>
                  </a:lnTo>
                  <a:lnTo>
                    <a:pt x="28" y="2"/>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 name="Freeform 17">
              <a:extLst>
                <a:ext uri="{FF2B5EF4-FFF2-40B4-BE49-F238E27FC236}">
                  <a16:creationId xmlns:a16="http://schemas.microsoft.com/office/drawing/2014/main" id="{20B859E4-0F0C-48FF-803D-756DC522A745}"/>
                </a:ext>
              </a:extLst>
            </p:cNvPr>
            <p:cNvSpPr>
              <a:spLocks/>
            </p:cNvSpPr>
            <p:nvPr/>
          </p:nvSpPr>
          <p:spPr bwMode="auto">
            <a:xfrm>
              <a:off x="6385027" y="3689049"/>
              <a:ext cx="9084" cy="10900"/>
            </a:xfrm>
            <a:custGeom>
              <a:avLst/>
              <a:gdLst/>
              <a:ahLst/>
              <a:cxnLst>
                <a:cxn ang="0">
                  <a:pos x="2" y="2"/>
                </a:cxn>
                <a:cxn ang="0">
                  <a:pos x="2" y="2"/>
                </a:cxn>
                <a:cxn ang="0">
                  <a:pos x="0" y="6"/>
                </a:cxn>
                <a:cxn ang="0">
                  <a:pos x="4" y="11"/>
                </a:cxn>
                <a:cxn ang="0">
                  <a:pos x="6" y="11"/>
                </a:cxn>
                <a:cxn ang="0">
                  <a:pos x="8" y="13"/>
                </a:cxn>
                <a:cxn ang="0">
                  <a:pos x="10" y="11"/>
                </a:cxn>
                <a:cxn ang="0">
                  <a:pos x="10" y="8"/>
                </a:cxn>
                <a:cxn ang="0">
                  <a:pos x="10" y="8"/>
                </a:cxn>
                <a:cxn ang="0">
                  <a:pos x="12" y="4"/>
                </a:cxn>
                <a:cxn ang="0">
                  <a:pos x="12" y="2"/>
                </a:cxn>
                <a:cxn ang="0">
                  <a:pos x="10" y="0"/>
                </a:cxn>
                <a:cxn ang="0">
                  <a:pos x="8" y="0"/>
                </a:cxn>
                <a:cxn ang="0">
                  <a:pos x="4" y="0"/>
                </a:cxn>
                <a:cxn ang="0">
                  <a:pos x="2" y="2"/>
                </a:cxn>
                <a:cxn ang="0">
                  <a:pos x="2" y="2"/>
                </a:cxn>
              </a:cxnLst>
              <a:rect l="0" t="0" r="r" b="b"/>
              <a:pathLst>
                <a:path w="12" h="13">
                  <a:moveTo>
                    <a:pt x="2" y="2"/>
                  </a:moveTo>
                  <a:lnTo>
                    <a:pt x="2" y="2"/>
                  </a:lnTo>
                  <a:lnTo>
                    <a:pt x="0" y="6"/>
                  </a:lnTo>
                  <a:lnTo>
                    <a:pt x="4" y="11"/>
                  </a:lnTo>
                  <a:lnTo>
                    <a:pt x="6" y="11"/>
                  </a:lnTo>
                  <a:lnTo>
                    <a:pt x="8" y="13"/>
                  </a:lnTo>
                  <a:lnTo>
                    <a:pt x="10" y="11"/>
                  </a:lnTo>
                  <a:lnTo>
                    <a:pt x="10" y="8"/>
                  </a:lnTo>
                  <a:lnTo>
                    <a:pt x="10" y="8"/>
                  </a:lnTo>
                  <a:lnTo>
                    <a:pt x="12" y="4"/>
                  </a:lnTo>
                  <a:lnTo>
                    <a:pt x="12" y="2"/>
                  </a:lnTo>
                  <a:lnTo>
                    <a:pt x="10" y="0"/>
                  </a:lnTo>
                  <a:lnTo>
                    <a:pt x="8" y="0"/>
                  </a:lnTo>
                  <a:lnTo>
                    <a:pt x="4" y="0"/>
                  </a:lnTo>
                  <a:lnTo>
                    <a:pt x="2" y="2"/>
                  </a:lnTo>
                  <a:lnTo>
                    <a:pt x="2" y="2"/>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 name="Freeform 18">
              <a:extLst>
                <a:ext uri="{FF2B5EF4-FFF2-40B4-BE49-F238E27FC236}">
                  <a16:creationId xmlns:a16="http://schemas.microsoft.com/office/drawing/2014/main" id="{BFF7A506-B1D0-44C6-BBCC-2C23317F93F5}"/>
                </a:ext>
              </a:extLst>
            </p:cNvPr>
            <p:cNvSpPr>
              <a:spLocks/>
            </p:cNvSpPr>
            <p:nvPr/>
          </p:nvSpPr>
          <p:spPr bwMode="auto">
            <a:xfrm>
              <a:off x="6350511" y="3701765"/>
              <a:ext cx="25433" cy="16349"/>
            </a:xfrm>
            <a:custGeom>
              <a:avLst/>
              <a:gdLst/>
              <a:ahLst/>
              <a:cxnLst>
                <a:cxn ang="0">
                  <a:pos x="21" y="13"/>
                </a:cxn>
                <a:cxn ang="0">
                  <a:pos x="21" y="13"/>
                </a:cxn>
                <a:cxn ang="0">
                  <a:pos x="24" y="19"/>
                </a:cxn>
                <a:cxn ang="0">
                  <a:pos x="26" y="19"/>
                </a:cxn>
                <a:cxn ang="0">
                  <a:pos x="28" y="15"/>
                </a:cxn>
                <a:cxn ang="0">
                  <a:pos x="28" y="11"/>
                </a:cxn>
                <a:cxn ang="0">
                  <a:pos x="24" y="6"/>
                </a:cxn>
                <a:cxn ang="0">
                  <a:pos x="21" y="2"/>
                </a:cxn>
                <a:cxn ang="0">
                  <a:pos x="13" y="0"/>
                </a:cxn>
                <a:cxn ang="0">
                  <a:pos x="2" y="0"/>
                </a:cxn>
                <a:cxn ang="0">
                  <a:pos x="2" y="0"/>
                </a:cxn>
                <a:cxn ang="0">
                  <a:pos x="0" y="2"/>
                </a:cxn>
                <a:cxn ang="0">
                  <a:pos x="0" y="4"/>
                </a:cxn>
                <a:cxn ang="0">
                  <a:pos x="0" y="4"/>
                </a:cxn>
                <a:cxn ang="0">
                  <a:pos x="2" y="7"/>
                </a:cxn>
                <a:cxn ang="0">
                  <a:pos x="4" y="7"/>
                </a:cxn>
                <a:cxn ang="0">
                  <a:pos x="7" y="7"/>
                </a:cxn>
                <a:cxn ang="0">
                  <a:pos x="15" y="9"/>
                </a:cxn>
                <a:cxn ang="0">
                  <a:pos x="17" y="11"/>
                </a:cxn>
                <a:cxn ang="0">
                  <a:pos x="21" y="13"/>
                </a:cxn>
                <a:cxn ang="0">
                  <a:pos x="21" y="13"/>
                </a:cxn>
              </a:cxnLst>
              <a:rect l="0" t="0" r="r" b="b"/>
              <a:pathLst>
                <a:path w="28" h="19">
                  <a:moveTo>
                    <a:pt x="21" y="13"/>
                  </a:moveTo>
                  <a:lnTo>
                    <a:pt x="21" y="13"/>
                  </a:lnTo>
                  <a:lnTo>
                    <a:pt x="24" y="19"/>
                  </a:lnTo>
                  <a:lnTo>
                    <a:pt x="26" y="19"/>
                  </a:lnTo>
                  <a:lnTo>
                    <a:pt x="28" y="15"/>
                  </a:lnTo>
                  <a:lnTo>
                    <a:pt x="28" y="11"/>
                  </a:lnTo>
                  <a:lnTo>
                    <a:pt x="24" y="6"/>
                  </a:lnTo>
                  <a:lnTo>
                    <a:pt x="21" y="2"/>
                  </a:lnTo>
                  <a:lnTo>
                    <a:pt x="13" y="0"/>
                  </a:lnTo>
                  <a:lnTo>
                    <a:pt x="2" y="0"/>
                  </a:lnTo>
                  <a:lnTo>
                    <a:pt x="2" y="0"/>
                  </a:lnTo>
                  <a:lnTo>
                    <a:pt x="0" y="2"/>
                  </a:lnTo>
                  <a:lnTo>
                    <a:pt x="0" y="4"/>
                  </a:lnTo>
                  <a:lnTo>
                    <a:pt x="0" y="4"/>
                  </a:lnTo>
                  <a:lnTo>
                    <a:pt x="2" y="7"/>
                  </a:lnTo>
                  <a:lnTo>
                    <a:pt x="4" y="7"/>
                  </a:lnTo>
                  <a:lnTo>
                    <a:pt x="7" y="7"/>
                  </a:lnTo>
                  <a:lnTo>
                    <a:pt x="15" y="9"/>
                  </a:lnTo>
                  <a:lnTo>
                    <a:pt x="17" y="11"/>
                  </a:lnTo>
                  <a:lnTo>
                    <a:pt x="21" y="13"/>
                  </a:lnTo>
                  <a:lnTo>
                    <a:pt x="21" y="13"/>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8" name="Freeform 19">
              <a:extLst>
                <a:ext uri="{FF2B5EF4-FFF2-40B4-BE49-F238E27FC236}">
                  <a16:creationId xmlns:a16="http://schemas.microsoft.com/office/drawing/2014/main" id="{90D4EABE-5754-41E3-91B8-BD28BF80342B}"/>
                </a:ext>
              </a:extLst>
            </p:cNvPr>
            <p:cNvSpPr>
              <a:spLocks noEditPoints="1"/>
            </p:cNvSpPr>
            <p:nvPr/>
          </p:nvSpPr>
          <p:spPr bwMode="auto">
            <a:xfrm>
              <a:off x="5958112" y="4086898"/>
              <a:ext cx="630382" cy="535915"/>
            </a:xfrm>
            <a:custGeom>
              <a:avLst/>
              <a:gdLst/>
              <a:ahLst/>
              <a:cxnLst>
                <a:cxn ang="0">
                  <a:pos x="253" y="60"/>
                </a:cxn>
                <a:cxn ang="0">
                  <a:pos x="230" y="105"/>
                </a:cxn>
                <a:cxn ang="0">
                  <a:pos x="189" y="71"/>
                </a:cxn>
                <a:cxn ang="0">
                  <a:pos x="139" y="101"/>
                </a:cxn>
                <a:cxn ang="0">
                  <a:pos x="109" y="103"/>
                </a:cxn>
                <a:cxn ang="0">
                  <a:pos x="79" y="75"/>
                </a:cxn>
                <a:cxn ang="0">
                  <a:pos x="43" y="39"/>
                </a:cxn>
                <a:cxn ang="0">
                  <a:pos x="12" y="52"/>
                </a:cxn>
                <a:cxn ang="0">
                  <a:pos x="19" y="103"/>
                </a:cxn>
                <a:cxn ang="0">
                  <a:pos x="90" y="157"/>
                </a:cxn>
                <a:cxn ang="0">
                  <a:pos x="150" y="172"/>
                </a:cxn>
                <a:cxn ang="0">
                  <a:pos x="183" y="206"/>
                </a:cxn>
                <a:cxn ang="0">
                  <a:pos x="215" y="230"/>
                </a:cxn>
                <a:cxn ang="0">
                  <a:pos x="223" y="284"/>
                </a:cxn>
                <a:cxn ang="0">
                  <a:pos x="251" y="269"/>
                </a:cxn>
                <a:cxn ang="0">
                  <a:pos x="275" y="258"/>
                </a:cxn>
                <a:cxn ang="0">
                  <a:pos x="262" y="215"/>
                </a:cxn>
                <a:cxn ang="0">
                  <a:pos x="290" y="239"/>
                </a:cxn>
                <a:cxn ang="0">
                  <a:pos x="296" y="295"/>
                </a:cxn>
                <a:cxn ang="0">
                  <a:pos x="275" y="303"/>
                </a:cxn>
                <a:cxn ang="0">
                  <a:pos x="258" y="292"/>
                </a:cxn>
                <a:cxn ang="0">
                  <a:pos x="243" y="316"/>
                </a:cxn>
                <a:cxn ang="0">
                  <a:pos x="292" y="340"/>
                </a:cxn>
                <a:cxn ang="0">
                  <a:pos x="329" y="303"/>
                </a:cxn>
                <a:cxn ang="0">
                  <a:pos x="359" y="346"/>
                </a:cxn>
                <a:cxn ang="0">
                  <a:pos x="322" y="363"/>
                </a:cxn>
                <a:cxn ang="0">
                  <a:pos x="286" y="370"/>
                </a:cxn>
                <a:cxn ang="0">
                  <a:pos x="303" y="404"/>
                </a:cxn>
                <a:cxn ang="0">
                  <a:pos x="273" y="460"/>
                </a:cxn>
                <a:cxn ang="0">
                  <a:pos x="333" y="510"/>
                </a:cxn>
                <a:cxn ang="0">
                  <a:pos x="322" y="546"/>
                </a:cxn>
                <a:cxn ang="0">
                  <a:pos x="410" y="551"/>
                </a:cxn>
                <a:cxn ang="0">
                  <a:pos x="460" y="544"/>
                </a:cxn>
                <a:cxn ang="0">
                  <a:pos x="522" y="501"/>
                </a:cxn>
                <a:cxn ang="0">
                  <a:pos x="520" y="512"/>
                </a:cxn>
                <a:cxn ang="0">
                  <a:pos x="520" y="525"/>
                </a:cxn>
                <a:cxn ang="0">
                  <a:pos x="527" y="542"/>
                </a:cxn>
                <a:cxn ang="0">
                  <a:pos x="527" y="559"/>
                </a:cxn>
                <a:cxn ang="0">
                  <a:pos x="563" y="570"/>
                </a:cxn>
                <a:cxn ang="0">
                  <a:pos x="589" y="538"/>
                </a:cxn>
                <a:cxn ang="0">
                  <a:pos x="624" y="484"/>
                </a:cxn>
                <a:cxn ang="0">
                  <a:pos x="572" y="447"/>
                </a:cxn>
                <a:cxn ang="0">
                  <a:pos x="535" y="411"/>
                </a:cxn>
                <a:cxn ang="0">
                  <a:pos x="477" y="434"/>
                </a:cxn>
                <a:cxn ang="0">
                  <a:pos x="529" y="406"/>
                </a:cxn>
                <a:cxn ang="0">
                  <a:pos x="587" y="436"/>
                </a:cxn>
                <a:cxn ang="0">
                  <a:pos x="651" y="436"/>
                </a:cxn>
                <a:cxn ang="0">
                  <a:pos x="692" y="430"/>
                </a:cxn>
                <a:cxn ang="0">
                  <a:pos x="639" y="391"/>
                </a:cxn>
                <a:cxn ang="0">
                  <a:pos x="613" y="355"/>
                </a:cxn>
                <a:cxn ang="0">
                  <a:pos x="559" y="307"/>
                </a:cxn>
                <a:cxn ang="0">
                  <a:pos x="490" y="153"/>
                </a:cxn>
                <a:cxn ang="0">
                  <a:pos x="443" y="90"/>
                </a:cxn>
                <a:cxn ang="0">
                  <a:pos x="339" y="45"/>
                </a:cxn>
                <a:cxn ang="0">
                  <a:pos x="331" y="0"/>
                </a:cxn>
                <a:cxn ang="0">
                  <a:pos x="271" y="56"/>
                </a:cxn>
              </a:cxnLst>
              <a:rect l="0" t="0" r="r" b="b"/>
              <a:pathLst>
                <a:path w="694" h="591">
                  <a:moveTo>
                    <a:pt x="533" y="546"/>
                  </a:moveTo>
                  <a:lnTo>
                    <a:pt x="533" y="546"/>
                  </a:lnTo>
                  <a:close/>
                  <a:moveTo>
                    <a:pt x="271" y="56"/>
                  </a:moveTo>
                  <a:lnTo>
                    <a:pt x="271" y="56"/>
                  </a:lnTo>
                  <a:lnTo>
                    <a:pt x="268" y="62"/>
                  </a:lnTo>
                  <a:lnTo>
                    <a:pt x="264" y="62"/>
                  </a:lnTo>
                  <a:lnTo>
                    <a:pt x="256" y="60"/>
                  </a:lnTo>
                  <a:lnTo>
                    <a:pt x="253" y="60"/>
                  </a:lnTo>
                  <a:lnTo>
                    <a:pt x="249" y="64"/>
                  </a:lnTo>
                  <a:lnTo>
                    <a:pt x="247" y="75"/>
                  </a:lnTo>
                  <a:lnTo>
                    <a:pt x="243" y="92"/>
                  </a:lnTo>
                  <a:lnTo>
                    <a:pt x="243" y="92"/>
                  </a:lnTo>
                  <a:lnTo>
                    <a:pt x="241" y="95"/>
                  </a:lnTo>
                  <a:lnTo>
                    <a:pt x="240" y="101"/>
                  </a:lnTo>
                  <a:lnTo>
                    <a:pt x="236" y="103"/>
                  </a:lnTo>
                  <a:lnTo>
                    <a:pt x="230" y="105"/>
                  </a:lnTo>
                  <a:lnTo>
                    <a:pt x="225" y="105"/>
                  </a:lnTo>
                  <a:lnTo>
                    <a:pt x="219" y="101"/>
                  </a:lnTo>
                  <a:lnTo>
                    <a:pt x="211" y="95"/>
                  </a:lnTo>
                  <a:lnTo>
                    <a:pt x="204" y="84"/>
                  </a:lnTo>
                  <a:lnTo>
                    <a:pt x="204" y="84"/>
                  </a:lnTo>
                  <a:lnTo>
                    <a:pt x="198" y="77"/>
                  </a:lnTo>
                  <a:lnTo>
                    <a:pt x="195" y="73"/>
                  </a:lnTo>
                  <a:lnTo>
                    <a:pt x="189" y="71"/>
                  </a:lnTo>
                  <a:lnTo>
                    <a:pt x="185" y="71"/>
                  </a:lnTo>
                  <a:lnTo>
                    <a:pt x="180" y="73"/>
                  </a:lnTo>
                  <a:lnTo>
                    <a:pt x="176" y="77"/>
                  </a:lnTo>
                  <a:lnTo>
                    <a:pt x="167" y="86"/>
                  </a:lnTo>
                  <a:lnTo>
                    <a:pt x="157" y="95"/>
                  </a:lnTo>
                  <a:lnTo>
                    <a:pt x="152" y="99"/>
                  </a:lnTo>
                  <a:lnTo>
                    <a:pt x="146" y="101"/>
                  </a:lnTo>
                  <a:lnTo>
                    <a:pt x="139" y="101"/>
                  </a:lnTo>
                  <a:lnTo>
                    <a:pt x="131" y="99"/>
                  </a:lnTo>
                  <a:lnTo>
                    <a:pt x="124" y="95"/>
                  </a:lnTo>
                  <a:lnTo>
                    <a:pt x="114" y="88"/>
                  </a:lnTo>
                  <a:lnTo>
                    <a:pt x="107" y="80"/>
                  </a:lnTo>
                  <a:lnTo>
                    <a:pt x="107" y="80"/>
                  </a:lnTo>
                  <a:lnTo>
                    <a:pt x="111" y="90"/>
                  </a:lnTo>
                  <a:lnTo>
                    <a:pt x="111" y="97"/>
                  </a:lnTo>
                  <a:lnTo>
                    <a:pt x="109" y="103"/>
                  </a:lnTo>
                  <a:lnTo>
                    <a:pt x="105" y="105"/>
                  </a:lnTo>
                  <a:lnTo>
                    <a:pt x="101" y="107"/>
                  </a:lnTo>
                  <a:lnTo>
                    <a:pt x="97" y="105"/>
                  </a:lnTo>
                  <a:lnTo>
                    <a:pt x="96" y="103"/>
                  </a:lnTo>
                  <a:lnTo>
                    <a:pt x="94" y="97"/>
                  </a:lnTo>
                  <a:lnTo>
                    <a:pt x="94" y="97"/>
                  </a:lnTo>
                  <a:lnTo>
                    <a:pt x="88" y="90"/>
                  </a:lnTo>
                  <a:lnTo>
                    <a:pt x="79" y="75"/>
                  </a:lnTo>
                  <a:lnTo>
                    <a:pt x="66" y="54"/>
                  </a:lnTo>
                  <a:lnTo>
                    <a:pt x="60" y="52"/>
                  </a:lnTo>
                  <a:lnTo>
                    <a:pt x="60" y="52"/>
                  </a:lnTo>
                  <a:lnTo>
                    <a:pt x="47" y="43"/>
                  </a:lnTo>
                  <a:lnTo>
                    <a:pt x="47" y="43"/>
                  </a:lnTo>
                  <a:lnTo>
                    <a:pt x="45" y="41"/>
                  </a:lnTo>
                  <a:lnTo>
                    <a:pt x="45" y="41"/>
                  </a:lnTo>
                  <a:lnTo>
                    <a:pt x="43" y="39"/>
                  </a:lnTo>
                  <a:lnTo>
                    <a:pt x="41" y="41"/>
                  </a:lnTo>
                  <a:lnTo>
                    <a:pt x="40" y="43"/>
                  </a:lnTo>
                  <a:lnTo>
                    <a:pt x="36" y="45"/>
                  </a:lnTo>
                  <a:lnTo>
                    <a:pt x="32" y="49"/>
                  </a:lnTo>
                  <a:lnTo>
                    <a:pt x="26" y="51"/>
                  </a:lnTo>
                  <a:lnTo>
                    <a:pt x="19" y="51"/>
                  </a:lnTo>
                  <a:lnTo>
                    <a:pt x="19" y="51"/>
                  </a:lnTo>
                  <a:lnTo>
                    <a:pt x="12" y="52"/>
                  </a:lnTo>
                  <a:lnTo>
                    <a:pt x="8" y="56"/>
                  </a:lnTo>
                  <a:lnTo>
                    <a:pt x="6" y="62"/>
                  </a:lnTo>
                  <a:lnTo>
                    <a:pt x="4" y="67"/>
                  </a:lnTo>
                  <a:lnTo>
                    <a:pt x="6" y="80"/>
                  </a:lnTo>
                  <a:lnTo>
                    <a:pt x="4" y="86"/>
                  </a:lnTo>
                  <a:lnTo>
                    <a:pt x="0" y="90"/>
                  </a:lnTo>
                  <a:lnTo>
                    <a:pt x="0" y="90"/>
                  </a:lnTo>
                  <a:lnTo>
                    <a:pt x="19" y="103"/>
                  </a:lnTo>
                  <a:lnTo>
                    <a:pt x="32" y="109"/>
                  </a:lnTo>
                  <a:lnTo>
                    <a:pt x="51" y="116"/>
                  </a:lnTo>
                  <a:lnTo>
                    <a:pt x="56" y="120"/>
                  </a:lnTo>
                  <a:lnTo>
                    <a:pt x="64" y="125"/>
                  </a:lnTo>
                  <a:lnTo>
                    <a:pt x="73" y="135"/>
                  </a:lnTo>
                  <a:lnTo>
                    <a:pt x="86" y="151"/>
                  </a:lnTo>
                  <a:lnTo>
                    <a:pt x="86" y="151"/>
                  </a:lnTo>
                  <a:lnTo>
                    <a:pt x="90" y="157"/>
                  </a:lnTo>
                  <a:lnTo>
                    <a:pt x="96" y="161"/>
                  </a:lnTo>
                  <a:lnTo>
                    <a:pt x="101" y="165"/>
                  </a:lnTo>
                  <a:lnTo>
                    <a:pt x="107" y="165"/>
                  </a:lnTo>
                  <a:lnTo>
                    <a:pt x="118" y="166"/>
                  </a:lnTo>
                  <a:lnTo>
                    <a:pt x="129" y="166"/>
                  </a:lnTo>
                  <a:lnTo>
                    <a:pt x="140" y="166"/>
                  </a:lnTo>
                  <a:lnTo>
                    <a:pt x="146" y="168"/>
                  </a:lnTo>
                  <a:lnTo>
                    <a:pt x="150" y="172"/>
                  </a:lnTo>
                  <a:lnTo>
                    <a:pt x="155" y="178"/>
                  </a:lnTo>
                  <a:lnTo>
                    <a:pt x="161" y="183"/>
                  </a:lnTo>
                  <a:lnTo>
                    <a:pt x="165" y="193"/>
                  </a:lnTo>
                  <a:lnTo>
                    <a:pt x="168" y="204"/>
                  </a:lnTo>
                  <a:lnTo>
                    <a:pt x="168" y="204"/>
                  </a:lnTo>
                  <a:lnTo>
                    <a:pt x="170" y="206"/>
                  </a:lnTo>
                  <a:lnTo>
                    <a:pt x="174" y="208"/>
                  </a:lnTo>
                  <a:lnTo>
                    <a:pt x="183" y="206"/>
                  </a:lnTo>
                  <a:lnTo>
                    <a:pt x="195" y="204"/>
                  </a:lnTo>
                  <a:lnTo>
                    <a:pt x="206" y="202"/>
                  </a:lnTo>
                  <a:lnTo>
                    <a:pt x="210" y="202"/>
                  </a:lnTo>
                  <a:lnTo>
                    <a:pt x="213" y="204"/>
                  </a:lnTo>
                  <a:lnTo>
                    <a:pt x="215" y="206"/>
                  </a:lnTo>
                  <a:lnTo>
                    <a:pt x="217" y="211"/>
                  </a:lnTo>
                  <a:lnTo>
                    <a:pt x="217" y="219"/>
                  </a:lnTo>
                  <a:lnTo>
                    <a:pt x="215" y="230"/>
                  </a:lnTo>
                  <a:lnTo>
                    <a:pt x="202" y="262"/>
                  </a:lnTo>
                  <a:lnTo>
                    <a:pt x="202" y="262"/>
                  </a:lnTo>
                  <a:lnTo>
                    <a:pt x="198" y="273"/>
                  </a:lnTo>
                  <a:lnTo>
                    <a:pt x="198" y="282"/>
                  </a:lnTo>
                  <a:lnTo>
                    <a:pt x="202" y="286"/>
                  </a:lnTo>
                  <a:lnTo>
                    <a:pt x="208" y="286"/>
                  </a:lnTo>
                  <a:lnTo>
                    <a:pt x="215" y="286"/>
                  </a:lnTo>
                  <a:lnTo>
                    <a:pt x="223" y="284"/>
                  </a:lnTo>
                  <a:lnTo>
                    <a:pt x="234" y="279"/>
                  </a:lnTo>
                  <a:lnTo>
                    <a:pt x="234" y="279"/>
                  </a:lnTo>
                  <a:lnTo>
                    <a:pt x="228" y="275"/>
                  </a:lnTo>
                  <a:lnTo>
                    <a:pt x="228" y="273"/>
                  </a:lnTo>
                  <a:lnTo>
                    <a:pt x="230" y="271"/>
                  </a:lnTo>
                  <a:lnTo>
                    <a:pt x="234" y="271"/>
                  </a:lnTo>
                  <a:lnTo>
                    <a:pt x="245" y="269"/>
                  </a:lnTo>
                  <a:lnTo>
                    <a:pt x="251" y="269"/>
                  </a:lnTo>
                  <a:lnTo>
                    <a:pt x="256" y="267"/>
                  </a:lnTo>
                  <a:lnTo>
                    <a:pt x="256" y="267"/>
                  </a:lnTo>
                  <a:lnTo>
                    <a:pt x="262" y="262"/>
                  </a:lnTo>
                  <a:lnTo>
                    <a:pt x="269" y="262"/>
                  </a:lnTo>
                  <a:lnTo>
                    <a:pt x="275" y="262"/>
                  </a:lnTo>
                  <a:lnTo>
                    <a:pt x="281" y="262"/>
                  </a:lnTo>
                  <a:lnTo>
                    <a:pt x="282" y="264"/>
                  </a:lnTo>
                  <a:lnTo>
                    <a:pt x="275" y="258"/>
                  </a:lnTo>
                  <a:lnTo>
                    <a:pt x="275" y="258"/>
                  </a:lnTo>
                  <a:lnTo>
                    <a:pt x="271" y="252"/>
                  </a:lnTo>
                  <a:lnTo>
                    <a:pt x="268" y="247"/>
                  </a:lnTo>
                  <a:lnTo>
                    <a:pt x="264" y="237"/>
                  </a:lnTo>
                  <a:lnTo>
                    <a:pt x="260" y="230"/>
                  </a:lnTo>
                  <a:lnTo>
                    <a:pt x="260" y="223"/>
                  </a:lnTo>
                  <a:lnTo>
                    <a:pt x="260" y="217"/>
                  </a:lnTo>
                  <a:lnTo>
                    <a:pt x="262" y="215"/>
                  </a:lnTo>
                  <a:lnTo>
                    <a:pt x="264" y="215"/>
                  </a:lnTo>
                  <a:lnTo>
                    <a:pt x="271" y="215"/>
                  </a:lnTo>
                  <a:lnTo>
                    <a:pt x="271" y="215"/>
                  </a:lnTo>
                  <a:lnTo>
                    <a:pt x="277" y="219"/>
                  </a:lnTo>
                  <a:lnTo>
                    <a:pt x="281" y="224"/>
                  </a:lnTo>
                  <a:lnTo>
                    <a:pt x="281" y="224"/>
                  </a:lnTo>
                  <a:lnTo>
                    <a:pt x="284" y="234"/>
                  </a:lnTo>
                  <a:lnTo>
                    <a:pt x="290" y="239"/>
                  </a:lnTo>
                  <a:lnTo>
                    <a:pt x="303" y="249"/>
                  </a:lnTo>
                  <a:lnTo>
                    <a:pt x="307" y="252"/>
                  </a:lnTo>
                  <a:lnTo>
                    <a:pt x="311" y="256"/>
                  </a:lnTo>
                  <a:lnTo>
                    <a:pt x="312" y="262"/>
                  </a:lnTo>
                  <a:lnTo>
                    <a:pt x="309" y="271"/>
                  </a:lnTo>
                  <a:lnTo>
                    <a:pt x="309" y="271"/>
                  </a:lnTo>
                  <a:lnTo>
                    <a:pt x="303" y="286"/>
                  </a:lnTo>
                  <a:lnTo>
                    <a:pt x="296" y="295"/>
                  </a:lnTo>
                  <a:lnTo>
                    <a:pt x="292" y="301"/>
                  </a:lnTo>
                  <a:lnTo>
                    <a:pt x="288" y="303"/>
                  </a:lnTo>
                  <a:lnTo>
                    <a:pt x="284" y="303"/>
                  </a:lnTo>
                  <a:lnTo>
                    <a:pt x="282" y="301"/>
                  </a:lnTo>
                  <a:lnTo>
                    <a:pt x="281" y="299"/>
                  </a:lnTo>
                  <a:lnTo>
                    <a:pt x="281" y="299"/>
                  </a:lnTo>
                  <a:lnTo>
                    <a:pt x="277" y="301"/>
                  </a:lnTo>
                  <a:lnTo>
                    <a:pt x="275" y="303"/>
                  </a:lnTo>
                  <a:lnTo>
                    <a:pt x="269" y="308"/>
                  </a:lnTo>
                  <a:lnTo>
                    <a:pt x="268" y="310"/>
                  </a:lnTo>
                  <a:lnTo>
                    <a:pt x="264" y="310"/>
                  </a:lnTo>
                  <a:lnTo>
                    <a:pt x="262" y="310"/>
                  </a:lnTo>
                  <a:lnTo>
                    <a:pt x="260" y="305"/>
                  </a:lnTo>
                  <a:lnTo>
                    <a:pt x="260" y="305"/>
                  </a:lnTo>
                  <a:lnTo>
                    <a:pt x="258" y="297"/>
                  </a:lnTo>
                  <a:lnTo>
                    <a:pt x="258" y="292"/>
                  </a:lnTo>
                  <a:lnTo>
                    <a:pt x="258" y="292"/>
                  </a:lnTo>
                  <a:lnTo>
                    <a:pt x="251" y="290"/>
                  </a:lnTo>
                  <a:lnTo>
                    <a:pt x="251" y="290"/>
                  </a:lnTo>
                  <a:lnTo>
                    <a:pt x="240" y="282"/>
                  </a:lnTo>
                  <a:lnTo>
                    <a:pt x="240" y="282"/>
                  </a:lnTo>
                  <a:lnTo>
                    <a:pt x="241" y="292"/>
                  </a:lnTo>
                  <a:lnTo>
                    <a:pt x="241" y="303"/>
                  </a:lnTo>
                  <a:lnTo>
                    <a:pt x="243" y="316"/>
                  </a:lnTo>
                  <a:lnTo>
                    <a:pt x="247" y="329"/>
                  </a:lnTo>
                  <a:lnTo>
                    <a:pt x="253" y="338"/>
                  </a:lnTo>
                  <a:lnTo>
                    <a:pt x="256" y="342"/>
                  </a:lnTo>
                  <a:lnTo>
                    <a:pt x="260" y="346"/>
                  </a:lnTo>
                  <a:lnTo>
                    <a:pt x="266" y="346"/>
                  </a:lnTo>
                  <a:lnTo>
                    <a:pt x="273" y="346"/>
                  </a:lnTo>
                  <a:lnTo>
                    <a:pt x="281" y="344"/>
                  </a:lnTo>
                  <a:lnTo>
                    <a:pt x="292" y="340"/>
                  </a:lnTo>
                  <a:lnTo>
                    <a:pt x="292" y="340"/>
                  </a:lnTo>
                  <a:lnTo>
                    <a:pt x="296" y="335"/>
                  </a:lnTo>
                  <a:lnTo>
                    <a:pt x="301" y="327"/>
                  </a:lnTo>
                  <a:lnTo>
                    <a:pt x="307" y="318"/>
                  </a:lnTo>
                  <a:lnTo>
                    <a:pt x="316" y="308"/>
                  </a:lnTo>
                  <a:lnTo>
                    <a:pt x="320" y="307"/>
                  </a:lnTo>
                  <a:lnTo>
                    <a:pt x="324" y="305"/>
                  </a:lnTo>
                  <a:lnTo>
                    <a:pt x="329" y="303"/>
                  </a:lnTo>
                  <a:lnTo>
                    <a:pt x="333" y="305"/>
                  </a:lnTo>
                  <a:lnTo>
                    <a:pt x="339" y="308"/>
                  </a:lnTo>
                  <a:lnTo>
                    <a:pt x="344" y="312"/>
                  </a:lnTo>
                  <a:lnTo>
                    <a:pt x="350" y="322"/>
                  </a:lnTo>
                  <a:lnTo>
                    <a:pt x="355" y="331"/>
                  </a:lnTo>
                  <a:lnTo>
                    <a:pt x="355" y="331"/>
                  </a:lnTo>
                  <a:lnTo>
                    <a:pt x="357" y="338"/>
                  </a:lnTo>
                  <a:lnTo>
                    <a:pt x="359" y="346"/>
                  </a:lnTo>
                  <a:lnTo>
                    <a:pt x="359" y="353"/>
                  </a:lnTo>
                  <a:lnTo>
                    <a:pt x="357" y="361"/>
                  </a:lnTo>
                  <a:lnTo>
                    <a:pt x="354" y="366"/>
                  </a:lnTo>
                  <a:lnTo>
                    <a:pt x="348" y="368"/>
                  </a:lnTo>
                  <a:lnTo>
                    <a:pt x="340" y="368"/>
                  </a:lnTo>
                  <a:lnTo>
                    <a:pt x="329" y="365"/>
                  </a:lnTo>
                  <a:lnTo>
                    <a:pt x="329" y="365"/>
                  </a:lnTo>
                  <a:lnTo>
                    <a:pt x="322" y="363"/>
                  </a:lnTo>
                  <a:lnTo>
                    <a:pt x="312" y="359"/>
                  </a:lnTo>
                  <a:lnTo>
                    <a:pt x="301" y="359"/>
                  </a:lnTo>
                  <a:lnTo>
                    <a:pt x="292" y="359"/>
                  </a:lnTo>
                  <a:lnTo>
                    <a:pt x="286" y="361"/>
                  </a:lnTo>
                  <a:lnTo>
                    <a:pt x="284" y="363"/>
                  </a:lnTo>
                  <a:lnTo>
                    <a:pt x="284" y="365"/>
                  </a:lnTo>
                  <a:lnTo>
                    <a:pt x="284" y="366"/>
                  </a:lnTo>
                  <a:lnTo>
                    <a:pt x="286" y="370"/>
                  </a:lnTo>
                  <a:lnTo>
                    <a:pt x="296" y="378"/>
                  </a:lnTo>
                  <a:lnTo>
                    <a:pt x="296" y="378"/>
                  </a:lnTo>
                  <a:lnTo>
                    <a:pt x="301" y="383"/>
                  </a:lnTo>
                  <a:lnTo>
                    <a:pt x="305" y="389"/>
                  </a:lnTo>
                  <a:lnTo>
                    <a:pt x="307" y="393"/>
                  </a:lnTo>
                  <a:lnTo>
                    <a:pt x="307" y="396"/>
                  </a:lnTo>
                  <a:lnTo>
                    <a:pt x="305" y="400"/>
                  </a:lnTo>
                  <a:lnTo>
                    <a:pt x="303" y="404"/>
                  </a:lnTo>
                  <a:lnTo>
                    <a:pt x="294" y="409"/>
                  </a:lnTo>
                  <a:lnTo>
                    <a:pt x="277" y="421"/>
                  </a:lnTo>
                  <a:lnTo>
                    <a:pt x="269" y="424"/>
                  </a:lnTo>
                  <a:lnTo>
                    <a:pt x="266" y="428"/>
                  </a:lnTo>
                  <a:lnTo>
                    <a:pt x="266" y="428"/>
                  </a:lnTo>
                  <a:lnTo>
                    <a:pt x="268" y="441"/>
                  </a:lnTo>
                  <a:lnTo>
                    <a:pt x="269" y="450"/>
                  </a:lnTo>
                  <a:lnTo>
                    <a:pt x="273" y="460"/>
                  </a:lnTo>
                  <a:lnTo>
                    <a:pt x="279" y="467"/>
                  </a:lnTo>
                  <a:lnTo>
                    <a:pt x="286" y="475"/>
                  </a:lnTo>
                  <a:lnTo>
                    <a:pt x="294" y="480"/>
                  </a:lnTo>
                  <a:lnTo>
                    <a:pt x="309" y="488"/>
                  </a:lnTo>
                  <a:lnTo>
                    <a:pt x="322" y="495"/>
                  </a:lnTo>
                  <a:lnTo>
                    <a:pt x="327" y="501"/>
                  </a:lnTo>
                  <a:lnTo>
                    <a:pt x="331" y="505"/>
                  </a:lnTo>
                  <a:lnTo>
                    <a:pt x="333" y="510"/>
                  </a:lnTo>
                  <a:lnTo>
                    <a:pt x="333" y="516"/>
                  </a:lnTo>
                  <a:lnTo>
                    <a:pt x="329" y="523"/>
                  </a:lnTo>
                  <a:lnTo>
                    <a:pt x="324" y="533"/>
                  </a:lnTo>
                  <a:lnTo>
                    <a:pt x="324" y="533"/>
                  </a:lnTo>
                  <a:lnTo>
                    <a:pt x="320" y="538"/>
                  </a:lnTo>
                  <a:lnTo>
                    <a:pt x="318" y="542"/>
                  </a:lnTo>
                  <a:lnTo>
                    <a:pt x="318" y="544"/>
                  </a:lnTo>
                  <a:lnTo>
                    <a:pt x="322" y="546"/>
                  </a:lnTo>
                  <a:lnTo>
                    <a:pt x="329" y="548"/>
                  </a:lnTo>
                  <a:lnTo>
                    <a:pt x="344" y="546"/>
                  </a:lnTo>
                  <a:lnTo>
                    <a:pt x="372" y="542"/>
                  </a:lnTo>
                  <a:lnTo>
                    <a:pt x="385" y="540"/>
                  </a:lnTo>
                  <a:lnTo>
                    <a:pt x="393" y="542"/>
                  </a:lnTo>
                  <a:lnTo>
                    <a:pt x="393" y="542"/>
                  </a:lnTo>
                  <a:lnTo>
                    <a:pt x="402" y="548"/>
                  </a:lnTo>
                  <a:lnTo>
                    <a:pt x="410" y="551"/>
                  </a:lnTo>
                  <a:lnTo>
                    <a:pt x="419" y="551"/>
                  </a:lnTo>
                  <a:lnTo>
                    <a:pt x="430" y="551"/>
                  </a:lnTo>
                  <a:lnTo>
                    <a:pt x="430" y="551"/>
                  </a:lnTo>
                  <a:lnTo>
                    <a:pt x="436" y="548"/>
                  </a:lnTo>
                  <a:lnTo>
                    <a:pt x="441" y="546"/>
                  </a:lnTo>
                  <a:lnTo>
                    <a:pt x="451" y="544"/>
                  </a:lnTo>
                  <a:lnTo>
                    <a:pt x="460" y="544"/>
                  </a:lnTo>
                  <a:lnTo>
                    <a:pt x="460" y="544"/>
                  </a:lnTo>
                  <a:lnTo>
                    <a:pt x="462" y="529"/>
                  </a:lnTo>
                  <a:lnTo>
                    <a:pt x="468" y="518"/>
                  </a:lnTo>
                  <a:lnTo>
                    <a:pt x="475" y="508"/>
                  </a:lnTo>
                  <a:lnTo>
                    <a:pt x="484" y="501"/>
                  </a:lnTo>
                  <a:lnTo>
                    <a:pt x="494" y="497"/>
                  </a:lnTo>
                  <a:lnTo>
                    <a:pt x="505" y="495"/>
                  </a:lnTo>
                  <a:lnTo>
                    <a:pt x="514" y="497"/>
                  </a:lnTo>
                  <a:lnTo>
                    <a:pt x="522" y="501"/>
                  </a:lnTo>
                  <a:lnTo>
                    <a:pt x="522" y="501"/>
                  </a:lnTo>
                  <a:lnTo>
                    <a:pt x="524" y="503"/>
                  </a:lnTo>
                  <a:lnTo>
                    <a:pt x="522" y="503"/>
                  </a:lnTo>
                  <a:lnTo>
                    <a:pt x="518" y="503"/>
                  </a:lnTo>
                  <a:lnTo>
                    <a:pt x="516" y="503"/>
                  </a:lnTo>
                  <a:lnTo>
                    <a:pt x="516" y="505"/>
                  </a:lnTo>
                  <a:lnTo>
                    <a:pt x="516" y="507"/>
                  </a:lnTo>
                  <a:lnTo>
                    <a:pt x="520" y="512"/>
                  </a:lnTo>
                  <a:lnTo>
                    <a:pt x="520" y="512"/>
                  </a:lnTo>
                  <a:lnTo>
                    <a:pt x="522" y="516"/>
                  </a:lnTo>
                  <a:lnTo>
                    <a:pt x="522" y="518"/>
                  </a:lnTo>
                  <a:lnTo>
                    <a:pt x="516" y="520"/>
                  </a:lnTo>
                  <a:lnTo>
                    <a:pt x="514" y="520"/>
                  </a:lnTo>
                  <a:lnTo>
                    <a:pt x="514" y="521"/>
                  </a:lnTo>
                  <a:lnTo>
                    <a:pt x="516" y="523"/>
                  </a:lnTo>
                  <a:lnTo>
                    <a:pt x="520" y="525"/>
                  </a:lnTo>
                  <a:lnTo>
                    <a:pt x="520" y="525"/>
                  </a:lnTo>
                  <a:lnTo>
                    <a:pt x="529" y="533"/>
                  </a:lnTo>
                  <a:lnTo>
                    <a:pt x="531" y="535"/>
                  </a:lnTo>
                  <a:lnTo>
                    <a:pt x="531" y="536"/>
                  </a:lnTo>
                  <a:lnTo>
                    <a:pt x="527" y="538"/>
                  </a:lnTo>
                  <a:lnTo>
                    <a:pt x="527" y="540"/>
                  </a:lnTo>
                  <a:lnTo>
                    <a:pt x="527" y="542"/>
                  </a:lnTo>
                  <a:lnTo>
                    <a:pt x="527" y="542"/>
                  </a:lnTo>
                  <a:lnTo>
                    <a:pt x="531" y="546"/>
                  </a:lnTo>
                  <a:lnTo>
                    <a:pt x="533" y="546"/>
                  </a:lnTo>
                  <a:lnTo>
                    <a:pt x="533" y="546"/>
                  </a:lnTo>
                  <a:lnTo>
                    <a:pt x="525" y="549"/>
                  </a:lnTo>
                  <a:lnTo>
                    <a:pt x="525" y="549"/>
                  </a:lnTo>
                  <a:lnTo>
                    <a:pt x="525" y="551"/>
                  </a:lnTo>
                  <a:lnTo>
                    <a:pt x="525" y="551"/>
                  </a:lnTo>
                  <a:lnTo>
                    <a:pt x="527" y="559"/>
                  </a:lnTo>
                  <a:lnTo>
                    <a:pt x="529" y="576"/>
                  </a:lnTo>
                  <a:lnTo>
                    <a:pt x="527" y="581"/>
                  </a:lnTo>
                  <a:lnTo>
                    <a:pt x="537" y="591"/>
                  </a:lnTo>
                  <a:lnTo>
                    <a:pt x="544" y="591"/>
                  </a:lnTo>
                  <a:lnTo>
                    <a:pt x="544" y="591"/>
                  </a:lnTo>
                  <a:lnTo>
                    <a:pt x="550" y="583"/>
                  </a:lnTo>
                  <a:lnTo>
                    <a:pt x="557" y="578"/>
                  </a:lnTo>
                  <a:lnTo>
                    <a:pt x="563" y="570"/>
                  </a:lnTo>
                  <a:lnTo>
                    <a:pt x="567" y="563"/>
                  </a:lnTo>
                  <a:lnTo>
                    <a:pt x="567" y="563"/>
                  </a:lnTo>
                  <a:lnTo>
                    <a:pt x="572" y="559"/>
                  </a:lnTo>
                  <a:lnTo>
                    <a:pt x="578" y="555"/>
                  </a:lnTo>
                  <a:lnTo>
                    <a:pt x="582" y="551"/>
                  </a:lnTo>
                  <a:lnTo>
                    <a:pt x="589" y="549"/>
                  </a:lnTo>
                  <a:lnTo>
                    <a:pt x="589" y="538"/>
                  </a:lnTo>
                  <a:lnTo>
                    <a:pt x="589" y="538"/>
                  </a:lnTo>
                  <a:lnTo>
                    <a:pt x="598" y="533"/>
                  </a:lnTo>
                  <a:lnTo>
                    <a:pt x="602" y="525"/>
                  </a:lnTo>
                  <a:lnTo>
                    <a:pt x="606" y="516"/>
                  </a:lnTo>
                  <a:lnTo>
                    <a:pt x="608" y="508"/>
                  </a:lnTo>
                  <a:lnTo>
                    <a:pt x="608" y="501"/>
                  </a:lnTo>
                  <a:lnTo>
                    <a:pt x="611" y="495"/>
                  </a:lnTo>
                  <a:lnTo>
                    <a:pt x="615" y="488"/>
                  </a:lnTo>
                  <a:lnTo>
                    <a:pt x="624" y="484"/>
                  </a:lnTo>
                  <a:lnTo>
                    <a:pt x="636" y="477"/>
                  </a:lnTo>
                  <a:lnTo>
                    <a:pt x="636" y="477"/>
                  </a:lnTo>
                  <a:lnTo>
                    <a:pt x="632" y="469"/>
                  </a:lnTo>
                  <a:lnTo>
                    <a:pt x="628" y="467"/>
                  </a:lnTo>
                  <a:lnTo>
                    <a:pt x="624" y="464"/>
                  </a:lnTo>
                  <a:lnTo>
                    <a:pt x="617" y="460"/>
                  </a:lnTo>
                  <a:lnTo>
                    <a:pt x="606" y="456"/>
                  </a:lnTo>
                  <a:lnTo>
                    <a:pt x="572" y="447"/>
                  </a:lnTo>
                  <a:lnTo>
                    <a:pt x="572" y="447"/>
                  </a:lnTo>
                  <a:lnTo>
                    <a:pt x="567" y="447"/>
                  </a:lnTo>
                  <a:lnTo>
                    <a:pt x="565" y="443"/>
                  </a:lnTo>
                  <a:lnTo>
                    <a:pt x="557" y="436"/>
                  </a:lnTo>
                  <a:lnTo>
                    <a:pt x="548" y="419"/>
                  </a:lnTo>
                  <a:lnTo>
                    <a:pt x="542" y="413"/>
                  </a:lnTo>
                  <a:lnTo>
                    <a:pt x="539" y="411"/>
                  </a:lnTo>
                  <a:lnTo>
                    <a:pt x="535" y="411"/>
                  </a:lnTo>
                  <a:lnTo>
                    <a:pt x="529" y="413"/>
                  </a:lnTo>
                  <a:lnTo>
                    <a:pt x="524" y="415"/>
                  </a:lnTo>
                  <a:lnTo>
                    <a:pt x="509" y="428"/>
                  </a:lnTo>
                  <a:lnTo>
                    <a:pt x="509" y="428"/>
                  </a:lnTo>
                  <a:lnTo>
                    <a:pt x="501" y="430"/>
                  </a:lnTo>
                  <a:lnTo>
                    <a:pt x="490" y="432"/>
                  </a:lnTo>
                  <a:lnTo>
                    <a:pt x="477" y="434"/>
                  </a:lnTo>
                  <a:lnTo>
                    <a:pt x="477" y="434"/>
                  </a:lnTo>
                  <a:lnTo>
                    <a:pt x="481" y="430"/>
                  </a:lnTo>
                  <a:lnTo>
                    <a:pt x="488" y="428"/>
                  </a:lnTo>
                  <a:lnTo>
                    <a:pt x="497" y="424"/>
                  </a:lnTo>
                  <a:lnTo>
                    <a:pt x="503" y="421"/>
                  </a:lnTo>
                  <a:lnTo>
                    <a:pt x="503" y="421"/>
                  </a:lnTo>
                  <a:lnTo>
                    <a:pt x="512" y="413"/>
                  </a:lnTo>
                  <a:lnTo>
                    <a:pt x="522" y="409"/>
                  </a:lnTo>
                  <a:lnTo>
                    <a:pt x="529" y="406"/>
                  </a:lnTo>
                  <a:lnTo>
                    <a:pt x="537" y="406"/>
                  </a:lnTo>
                  <a:lnTo>
                    <a:pt x="542" y="407"/>
                  </a:lnTo>
                  <a:lnTo>
                    <a:pt x="548" y="409"/>
                  </a:lnTo>
                  <a:lnTo>
                    <a:pt x="559" y="417"/>
                  </a:lnTo>
                  <a:lnTo>
                    <a:pt x="568" y="424"/>
                  </a:lnTo>
                  <a:lnTo>
                    <a:pt x="578" y="432"/>
                  </a:lnTo>
                  <a:lnTo>
                    <a:pt x="583" y="436"/>
                  </a:lnTo>
                  <a:lnTo>
                    <a:pt x="587" y="436"/>
                  </a:lnTo>
                  <a:lnTo>
                    <a:pt x="593" y="436"/>
                  </a:lnTo>
                  <a:lnTo>
                    <a:pt x="598" y="434"/>
                  </a:lnTo>
                  <a:lnTo>
                    <a:pt x="598" y="434"/>
                  </a:lnTo>
                  <a:lnTo>
                    <a:pt x="608" y="430"/>
                  </a:lnTo>
                  <a:lnTo>
                    <a:pt x="615" y="428"/>
                  </a:lnTo>
                  <a:lnTo>
                    <a:pt x="624" y="428"/>
                  </a:lnTo>
                  <a:lnTo>
                    <a:pt x="634" y="430"/>
                  </a:lnTo>
                  <a:lnTo>
                    <a:pt x="651" y="436"/>
                  </a:lnTo>
                  <a:lnTo>
                    <a:pt x="667" y="441"/>
                  </a:lnTo>
                  <a:lnTo>
                    <a:pt x="681" y="447"/>
                  </a:lnTo>
                  <a:lnTo>
                    <a:pt x="686" y="449"/>
                  </a:lnTo>
                  <a:lnTo>
                    <a:pt x="690" y="449"/>
                  </a:lnTo>
                  <a:lnTo>
                    <a:pt x="694" y="447"/>
                  </a:lnTo>
                  <a:lnTo>
                    <a:pt x="694" y="443"/>
                  </a:lnTo>
                  <a:lnTo>
                    <a:pt x="694" y="437"/>
                  </a:lnTo>
                  <a:lnTo>
                    <a:pt x="692" y="430"/>
                  </a:lnTo>
                  <a:lnTo>
                    <a:pt x="692" y="430"/>
                  </a:lnTo>
                  <a:lnTo>
                    <a:pt x="690" y="421"/>
                  </a:lnTo>
                  <a:lnTo>
                    <a:pt x="684" y="413"/>
                  </a:lnTo>
                  <a:lnTo>
                    <a:pt x="681" y="407"/>
                  </a:lnTo>
                  <a:lnTo>
                    <a:pt x="675" y="404"/>
                  </a:lnTo>
                  <a:lnTo>
                    <a:pt x="664" y="398"/>
                  </a:lnTo>
                  <a:lnTo>
                    <a:pt x="651" y="394"/>
                  </a:lnTo>
                  <a:lnTo>
                    <a:pt x="639" y="391"/>
                  </a:lnTo>
                  <a:lnTo>
                    <a:pt x="628" y="387"/>
                  </a:lnTo>
                  <a:lnTo>
                    <a:pt x="624" y="383"/>
                  </a:lnTo>
                  <a:lnTo>
                    <a:pt x="621" y="378"/>
                  </a:lnTo>
                  <a:lnTo>
                    <a:pt x="619" y="372"/>
                  </a:lnTo>
                  <a:lnTo>
                    <a:pt x="617" y="366"/>
                  </a:lnTo>
                  <a:lnTo>
                    <a:pt x="617" y="366"/>
                  </a:lnTo>
                  <a:lnTo>
                    <a:pt x="615" y="361"/>
                  </a:lnTo>
                  <a:lnTo>
                    <a:pt x="613" y="355"/>
                  </a:lnTo>
                  <a:lnTo>
                    <a:pt x="608" y="350"/>
                  </a:lnTo>
                  <a:lnTo>
                    <a:pt x="598" y="344"/>
                  </a:lnTo>
                  <a:lnTo>
                    <a:pt x="587" y="340"/>
                  </a:lnTo>
                  <a:lnTo>
                    <a:pt x="578" y="336"/>
                  </a:lnTo>
                  <a:lnTo>
                    <a:pt x="568" y="329"/>
                  </a:lnTo>
                  <a:lnTo>
                    <a:pt x="565" y="323"/>
                  </a:lnTo>
                  <a:lnTo>
                    <a:pt x="561" y="316"/>
                  </a:lnTo>
                  <a:lnTo>
                    <a:pt x="559" y="307"/>
                  </a:lnTo>
                  <a:lnTo>
                    <a:pt x="557" y="297"/>
                  </a:lnTo>
                  <a:lnTo>
                    <a:pt x="557" y="297"/>
                  </a:lnTo>
                  <a:lnTo>
                    <a:pt x="555" y="286"/>
                  </a:lnTo>
                  <a:lnTo>
                    <a:pt x="548" y="269"/>
                  </a:lnTo>
                  <a:lnTo>
                    <a:pt x="527" y="232"/>
                  </a:lnTo>
                  <a:lnTo>
                    <a:pt x="505" y="189"/>
                  </a:lnTo>
                  <a:lnTo>
                    <a:pt x="496" y="170"/>
                  </a:lnTo>
                  <a:lnTo>
                    <a:pt x="490" y="153"/>
                  </a:lnTo>
                  <a:lnTo>
                    <a:pt x="490" y="153"/>
                  </a:lnTo>
                  <a:lnTo>
                    <a:pt x="486" y="142"/>
                  </a:lnTo>
                  <a:lnTo>
                    <a:pt x="473" y="122"/>
                  </a:lnTo>
                  <a:lnTo>
                    <a:pt x="466" y="110"/>
                  </a:lnTo>
                  <a:lnTo>
                    <a:pt x="458" y="99"/>
                  </a:lnTo>
                  <a:lnTo>
                    <a:pt x="451" y="92"/>
                  </a:lnTo>
                  <a:lnTo>
                    <a:pt x="443" y="90"/>
                  </a:lnTo>
                  <a:lnTo>
                    <a:pt x="443" y="90"/>
                  </a:lnTo>
                  <a:lnTo>
                    <a:pt x="426" y="86"/>
                  </a:lnTo>
                  <a:lnTo>
                    <a:pt x="410" y="80"/>
                  </a:lnTo>
                  <a:lnTo>
                    <a:pt x="395" y="73"/>
                  </a:lnTo>
                  <a:lnTo>
                    <a:pt x="380" y="66"/>
                  </a:lnTo>
                  <a:lnTo>
                    <a:pt x="355" y="51"/>
                  </a:lnTo>
                  <a:lnTo>
                    <a:pt x="346" y="47"/>
                  </a:lnTo>
                  <a:lnTo>
                    <a:pt x="339" y="45"/>
                  </a:lnTo>
                  <a:lnTo>
                    <a:pt x="339" y="45"/>
                  </a:lnTo>
                  <a:lnTo>
                    <a:pt x="333" y="43"/>
                  </a:lnTo>
                  <a:lnTo>
                    <a:pt x="329" y="39"/>
                  </a:lnTo>
                  <a:lnTo>
                    <a:pt x="325" y="34"/>
                  </a:lnTo>
                  <a:lnTo>
                    <a:pt x="324" y="26"/>
                  </a:lnTo>
                  <a:lnTo>
                    <a:pt x="324" y="19"/>
                  </a:lnTo>
                  <a:lnTo>
                    <a:pt x="325" y="11"/>
                  </a:lnTo>
                  <a:lnTo>
                    <a:pt x="327" y="6"/>
                  </a:lnTo>
                  <a:lnTo>
                    <a:pt x="331" y="0"/>
                  </a:lnTo>
                  <a:lnTo>
                    <a:pt x="331" y="0"/>
                  </a:lnTo>
                  <a:lnTo>
                    <a:pt x="297" y="9"/>
                  </a:lnTo>
                  <a:lnTo>
                    <a:pt x="290" y="13"/>
                  </a:lnTo>
                  <a:lnTo>
                    <a:pt x="286" y="17"/>
                  </a:lnTo>
                  <a:lnTo>
                    <a:pt x="282" y="30"/>
                  </a:lnTo>
                  <a:lnTo>
                    <a:pt x="279" y="41"/>
                  </a:lnTo>
                  <a:lnTo>
                    <a:pt x="271" y="56"/>
                  </a:lnTo>
                  <a:lnTo>
                    <a:pt x="271" y="56"/>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 name="Line 20">
              <a:extLst>
                <a:ext uri="{FF2B5EF4-FFF2-40B4-BE49-F238E27FC236}">
                  <a16:creationId xmlns:a16="http://schemas.microsoft.com/office/drawing/2014/main" id="{7F8572B9-AA6C-4025-90FE-47A8945A5909}"/>
                </a:ext>
              </a:extLst>
            </p:cNvPr>
            <p:cNvSpPr>
              <a:spLocks noChangeShapeType="1"/>
            </p:cNvSpPr>
            <p:nvPr/>
          </p:nvSpPr>
          <p:spPr bwMode="auto">
            <a:xfrm>
              <a:off x="6441344" y="4582847"/>
              <a:ext cx="1817" cy="1816"/>
            </a:xfrm>
            <a:prstGeom prst="line">
              <a:avLst/>
            </a:pr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 name="Freeform 21">
              <a:extLst>
                <a:ext uri="{FF2B5EF4-FFF2-40B4-BE49-F238E27FC236}">
                  <a16:creationId xmlns:a16="http://schemas.microsoft.com/office/drawing/2014/main" id="{A645E6E8-FFB9-47D4-B105-880F0F5AE8B6}"/>
                </a:ext>
              </a:extLst>
            </p:cNvPr>
            <p:cNvSpPr>
              <a:spLocks/>
            </p:cNvSpPr>
            <p:nvPr/>
          </p:nvSpPr>
          <p:spPr bwMode="auto">
            <a:xfrm>
              <a:off x="5958112" y="4086898"/>
              <a:ext cx="630382" cy="535915"/>
            </a:xfrm>
            <a:custGeom>
              <a:avLst/>
              <a:gdLst/>
              <a:ahLst/>
              <a:cxnLst>
                <a:cxn ang="0">
                  <a:pos x="249" y="64"/>
                </a:cxn>
                <a:cxn ang="0">
                  <a:pos x="230" y="105"/>
                </a:cxn>
                <a:cxn ang="0">
                  <a:pos x="195" y="73"/>
                </a:cxn>
                <a:cxn ang="0">
                  <a:pos x="152" y="99"/>
                </a:cxn>
                <a:cxn ang="0">
                  <a:pos x="107" y="80"/>
                </a:cxn>
                <a:cxn ang="0">
                  <a:pos x="96" y="103"/>
                </a:cxn>
                <a:cxn ang="0">
                  <a:pos x="60" y="52"/>
                </a:cxn>
                <a:cxn ang="0">
                  <a:pos x="40" y="43"/>
                </a:cxn>
                <a:cxn ang="0">
                  <a:pos x="8" y="56"/>
                </a:cxn>
                <a:cxn ang="0">
                  <a:pos x="19" y="103"/>
                </a:cxn>
                <a:cxn ang="0">
                  <a:pos x="86" y="151"/>
                </a:cxn>
                <a:cxn ang="0">
                  <a:pos x="140" y="166"/>
                </a:cxn>
                <a:cxn ang="0">
                  <a:pos x="168" y="204"/>
                </a:cxn>
                <a:cxn ang="0">
                  <a:pos x="213" y="204"/>
                </a:cxn>
                <a:cxn ang="0">
                  <a:pos x="198" y="273"/>
                </a:cxn>
                <a:cxn ang="0">
                  <a:pos x="234" y="279"/>
                </a:cxn>
                <a:cxn ang="0">
                  <a:pos x="256" y="267"/>
                </a:cxn>
                <a:cxn ang="0">
                  <a:pos x="275" y="258"/>
                </a:cxn>
                <a:cxn ang="0">
                  <a:pos x="260" y="217"/>
                </a:cxn>
                <a:cxn ang="0">
                  <a:pos x="281" y="224"/>
                </a:cxn>
                <a:cxn ang="0">
                  <a:pos x="309" y="271"/>
                </a:cxn>
                <a:cxn ang="0">
                  <a:pos x="282" y="301"/>
                </a:cxn>
                <a:cxn ang="0">
                  <a:pos x="264" y="310"/>
                </a:cxn>
                <a:cxn ang="0">
                  <a:pos x="251" y="290"/>
                </a:cxn>
                <a:cxn ang="0">
                  <a:pos x="247" y="329"/>
                </a:cxn>
                <a:cxn ang="0">
                  <a:pos x="292" y="340"/>
                </a:cxn>
                <a:cxn ang="0">
                  <a:pos x="324" y="305"/>
                </a:cxn>
                <a:cxn ang="0">
                  <a:pos x="355" y="331"/>
                </a:cxn>
                <a:cxn ang="0">
                  <a:pos x="340" y="368"/>
                </a:cxn>
                <a:cxn ang="0">
                  <a:pos x="286" y="361"/>
                </a:cxn>
                <a:cxn ang="0">
                  <a:pos x="301" y="383"/>
                </a:cxn>
                <a:cxn ang="0">
                  <a:pos x="277" y="421"/>
                </a:cxn>
                <a:cxn ang="0">
                  <a:pos x="279" y="467"/>
                </a:cxn>
                <a:cxn ang="0">
                  <a:pos x="333" y="510"/>
                </a:cxn>
                <a:cxn ang="0">
                  <a:pos x="318" y="544"/>
                </a:cxn>
                <a:cxn ang="0">
                  <a:pos x="393" y="542"/>
                </a:cxn>
                <a:cxn ang="0">
                  <a:pos x="441" y="546"/>
                </a:cxn>
                <a:cxn ang="0">
                  <a:pos x="484" y="501"/>
                </a:cxn>
                <a:cxn ang="0">
                  <a:pos x="522" y="503"/>
                </a:cxn>
                <a:cxn ang="0">
                  <a:pos x="522" y="516"/>
                </a:cxn>
                <a:cxn ang="0">
                  <a:pos x="520" y="525"/>
                </a:cxn>
                <a:cxn ang="0">
                  <a:pos x="527" y="542"/>
                </a:cxn>
                <a:cxn ang="0">
                  <a:pos x="525" y="551"/>
                </a:cxn>
                <a:cxn ang="0">
                  <a:pos x="550" y="583"/>
                </a:cxn>
                <a:cxn ang="0">
                  <a:pos x="582" y="551"/>
                </a:cxn>
                <a:cxn ang="0">
                  <a:pos x="608" y="508"/>
                </a:cxn>
                <a:cxn ang="0">
                  <a:pos x="632" y="469"/>
                </a:cxn>
                <a:cxn ang="0">
                  <a:pos x="567" y="447"/>
                </a:cxn>
                <a:cxn ang="0">
                  <a:pos x="529" y="413"/>
                </a:cxn>
                <a:cxn ang="0">
                  <a:pos x="477" y="434"/>
                </a:cxn>
                <a:cxn ang="0">
                  <a:pos x="522" y="409"/>
                </a:cxn>
                <a:cxn ang="0">
                  <a:pos x="578" y="432"/>
                </a:cxn>
                <a:cxn ang="0">
                  <a:pos x="615" y="428"/>
                </a:cxn>
                <a:cxn ang="0">
                  <a:pos x="690" y="449"/>
                </a:cxn>
                <a:cxn ang="0">
                  <a:pos x="684" y="413"/>
                </a:cxn>
                <a:cxn ang="0">
                  <a:pos x="624" y="383"/>
                </a:cxn>
                <a:cxn ang="0">
                  <a:pos x="608" y="350"/>
                </a:cxn>
                <a:cxn ang="0">
                  <a:pos x="559" y="307"/>
                </a:cxn>
                <a:cxn ang="0">
                  <a:pos x="496" y="170"/>
                </a:cxn>
                <a:cxn ang="0">
                  <a:pos x="451" y="92"/>
                </a:cxn>
                <a:cxn ang="0">
                  <a:pos x="355" y="51"/>
                </a:cxn>
                <a:cxn ang="0">
                  <a:pos x="324" y="26"/>
                </a:cxn>
                <a:cxn ang="0">
                  <a:pos x="290" y="13"/>
                </a:cxn>
              </a:cxnLst>
              <a:rect l="0" t="0" r="r" b="b"/>
              <a:pathLst>
                <a:path w="694" h="591">
                  <a:moveTo>
                    <a:pt x="271" y="56"/>
                  </a:moveTo>
                  <a:lnTo>
                    <a:pt x="271" y="56"/>
                  </a:lnTo>
                  <a:lnTo>
                    <a:pt x="268" y="62"/>
                  </a:lnTo>
                  <a:lnTo>
                    <a:pt x="264" y="62"/>
                  </a:lnTo>
                  <a:lnTo>
                    <a:pt x="256" y="60"/>
                  </a:lnTo>
                  <a:lnTo>
                    <a:pt x="253" y="60"/>
                  </a:lnTo>
                  <a:lnTo>
                    <a:pt x="249" y="64"/>
                  </a:lnTo>
                  <a:lnTo>
                    <a:pt x="247" y="75"/>
                  </a:lnTo>
                  <a:lnTo>
                    <a:pt x="243" y="92"/>
                  </a:lnTo>
                  <a:lnTo>
                    <a:pt x="243" y="92"/>
                  </a:lnTo>
                  <a:lnTo>
                    <a:pt x="241" y="95"/>
                  </a:lnTo>
                  <a:lnTo>
                    <a:pt x="240" y="101"/>
                  </a:lnTo>
                  <a:lnTo>
                    <a:pt x="236" y="103"/>
                  </a:lnTo>
                  <a:lnTo>
                    <a:pt x="230" y="105"/>
                  </a:lnTo>
                  <a:lnTo>
                    <a:pt x="225" y="105"/>
                  </a:lnTo>
                  <a:lnTo>
                    <a:pt x="219" y="101"/>
                  </a:lnTo>
                  <a:lnTo>
                    <a:pt x="211" y="95"/>
                  </a:lnTo>
                  <a:lnTo>
                    <a:pt x="204" y="84"/>
                  </a:lnTo>
                  <a:lnTo>
                    <a:pt x="204" y="84"/>
                  </a:lnTo>
                  <a:lnTo>
                    <a:pt x="198" y="77"/>
                  </a:lnTo>
                  <a:lnTo>
                    <a:pt x="195" y="73"/>
                  </a:lnTo>
                  <a:lnTo>
                    <a:pt x="189" y="71"/>
                  </a:lnTo>
                  <a:lnTo>
                    <a:pt x="185" y="71"/>
                  </a:lnTo>
                  <a:lnTo>
                    <a:pt x="180" y="73"/>
                  </a:lnTo>
                  <a:lnTo>
                    <a:pt x="176" y="77"/>
                  </a:lnTo>
                  <a:lnTo>
                    <a:pt x="167" y="86"/>
                  </a:lnTo>
                  <a:lnTo>
                    <a:pt x="157" y="95"/>
                  </a:lnTo>
                  <a:lnTo>
                    <a:pt x="152" y="99"/>
                  </a:lnTo>
                  <a:lnTo>
                    <a:pt x="146" y="101"/>
                  </a:lnTo>
                  <a:lnTo>
                    <a:pt x="139" y="101"/>
                  </a:lnTo>
                  <a:lnTo>
                    <a:pt x="131" y="99"/>
                  </a:lnTo>
                  <a:lnTo>
                    <a:pt x="124" y="95"/>
                  </a:lnTo>
                  <a:lnTo>
                    <a:pt x="114" y="88"/>
                  </a:lnTo>
                  <a:lnTo>
                    <a:pt x="107" y="80"/>
                  </a:lnTo>
                  <a:lnTo>
                    <a:pt x="107" y="80"/>
                  </a:lnTo>
                  <a:lnTo>
                    <a:pt x="111" y="90"/>
                  </a:lnTo>
                  <a:lnTo>
                    <a:pt x="111" y="97"/>
                  </a:lnTo>
                  <a:lnTo>
                    <a:pt x="109" y="103"/>
                  </a:lnTo>
                  <a:lnTo>
                    <a:pt x="105" y="105"/>
                  </a:lnTo>
                  <a:lnTo>
                    <a:pt x="101" y="107"/>
                  </a:lnTo>
                  <a:lnTo>
                    <a:pt x="97" y="105"/>
                  </a:lnTo>
                  <a:lnTo>
                    <a:pt x="96" y="103"/>
                  </a:lnTo>
                  <a:lnTo>
                    <a:pt x="94" y="97"/>
                  </a:lnTo>
                  <a:lnTo>
                    <a:pt x="94" y="97"/>
                  </a:lnTo>
                  <a:lnTo>
                    <a:pt x="88" y="90"/>
                  </a:lnTo>
                  <a:lnTo>
                    <a:pt x="79" y="75"/>
                  </a:lnTo>
                  <a:lnTo>
                    <a:pt x="66" y="54"/>
                  </a:lnTo>
                  <a:lnTo>
                    <a:pt x="60" y="52"/>
                  </a:lnTo>
                  <a:lnTo>
                    <a:pt x="60" y="52"/>
                  </a:lnTo>
                  <a:lnTo>
                    <a:pt x="47" y="43"/>
                  </a:lnTo>
                  <a:lnTo>
                    <a:pt x="47" y="43"/>
                  </a:lnTo>
                  <a:lnTo>
                    <a:pt x="45" y="41"/>
                  </a:lnTo>
                  <a:lnTo>
                    <a:pt x="45" y="41"/>
                  </a:lnTo>
                  <a:lnTo>
                    <a:pt x="43" y="39"/>
                  </a:lnTo>
                  <a:lnTo>
                    <a:pt x="41" y="41"/>
                  </a:lnTo>
                  <a:lnTo>
                    <a:pt x="40" y="43"/>
                  </a:lnTo>
                  <a:lnTo>
                    <a:pt x="36" y="45"/>
                  </a:lnTo>
                  <a:lnTo>
                    <a:pt x="32" y="49"/>
                  </a:lnTo>
                  <a:lnTo>
                    <a:pt x="26" y="51"/>
                  </a:lnTo>
                  <a:lnTo>
                    <a:pt x="19" y="51"/>
                  </a:lnTo>
                  <a:lnTo>
                    <a:pt x="19" y="51"/>
                  </a:lnTo>
                  <a:lnTo>
                    <a:pt x="12" y="52"/>
                  </a:lnTo>
                  <a:lnTo>
                    <a:pt x="8" y="56"/>
                  </a:lnTo>
                  <a:lnTo>
                    <a:pt x="6" y="62"/>
                  </a:lnTo>
                  <a:lnTo>
                    <a:pt x="4" y="67"/>
                  </a:lnTo>
                  <a:lnTo>
                    <a:pt x="6" y="80"/>
                  </a:lnTo>
                  <a:lnTo>
                    <a:pt x="4" y="86"/>
                  </a:lnTo>
                  <a:lnTo>
                    <a:pt x="0" y="90"/>
                  </a:lnTo>
                  <a:lnTo>
                    <a:pt x="0" y="90"/>
                  </a:lnTo>
                  <a:lnTo>
                    <a:pt x="19" y="103"/>
                  </a:lnTo>
                  <a:lnTo>
                    <a:pt x="32" y="109"/>
                  </a:lnTo>
                  <a:lnTo>
                    <a:pt x="51" y="116"/>
                  </a:lnTo>
                  <a:lnTo>
                    <a:pt x="56" y="120"/>
                  </a:lnTo>
                  <a:lnTo>
                    <a:pt x="64" y="125"/>
                  </a:lnTo>
                  <a:lnTo>
                    <a:pt x="73" y="135"/>
                  </a:lnTo>
                  <a:lnTo>
                    <a:pt x="86" y="151"/>
                  </a:lnTo>
                  <a:lnTo>
                    <a:pt x="86" y="151"/>
                  </a:lnTo>
                  <a:lnTo>
                    <a:pt x="90" y="157"/>
                  </a:lnTo>
                  <a:lnTo>
                    <a:pt x="96" y="161"/>
                  </a:lnTo>
                  <a:lnTo>
                    <a:pt x="101" y="165"/>
                  </a:lnTo>
                  <a:lnTo>
                    <a:pt x="107" y="165"/>
                  </a:lnTo>
                  <a:lnTo>
                    <a:pt x="118" y="166"/>
                  </a:lnTo>
                  <a:lnTo>
                    <a:pt x="129" y="166"/>
                  </a:lnTo>
                  <a:lnTo>
                    <a:pt x="140" y="166"/>
                  </a:lnTo>
                  <a:lnTo>
                    <a:pt x="146" y="168"/>
                  </a:lnTo>
                  <a:lnTo>
                    <a:pt x="150" y="172"/>
                  </a:lnTo>
                  <a:lnTo>
                    <a:pt x="155" y="178"/>
                  </a:lnTo>
                  <a:lnTo>
                    <a:pt x="161" y="183"/>
                  </a:lnTo>
                  <a:lnTo>
                    <a:pt x="165" y="193"/>
                  </a:lnTo>
                  <a:lnTo>
                    <a:pt x="168" y="204"/>
                  </a:lnTo>
                  <a:lnTo>
                    <a:pt x="168" y="204"/>
                  </a:lnTo>
                  <a:lnTo>
                    <a:pt x="170" y="206"/>
                  </a:lnTo>
                  <a:lnTo>
                    <a:pt x="174" y="208"/>
                  </a:lnTo>
                  <a:lnTo>
                    <a:pt x="183" y="206"/>
                  </a:lnTo>
                  <a:lnTo>
                    <a:pt x="195" y="204"/>
                  </a:lnTo>
                  <a:lnTo>
                    <a:pt x="206" y="202"/>
                  </a:lnTo>
                  <a:lnTo>
                    <a:pt x="210" y="202"/>
                  </a:lnTo>
                  <a:lnTo>
                    <a:pt x="213" y="204"/>
                  </a:lnTo>
                  <a:lnTo>
                    <a:pt x="215" y="206"/>
                  </a:lnTo>
                  <a:lnTo>
                    <a:pt x="217" y="211"/>
                  </a:lnTo>
                  <a:lnTo>
                    <a:pt x="217" y="219"/>
                  </a:lnTo>
                  <a:lnTo>
                    <a:pt x="215" y="230"/>
                  </a:lnTo>
                  <a:lnTo>
                    <a:pt x="202" y="262"/>
                  </a:lnTo>
                  <a:lnTo>
                    <a:pt x="202" y="262"/>
                  </a:lnTo>
                  <a:lnTo>
                    <a:pt x="198" y="273"/>
                  </a:lnTo>
                  <a:lnTo>
                    <a:pt x="198" y="282"/>
                  </a:lnTo>
                  <a:lnTo>
                    <a:pt x="202" y="286"/>
                  </a:lnTo>
                  <a:lnTo>
                    <a:pt x="208" y="286"/>
                  </a:lnTo>
                  <a:lnTo>
                    <a:pt x="215" y="286"/>
                  </a:lnTo>
                  <a:lnTo>
                    <a:pt x="223" y="284"/>
                  </a:lnTo>
                  <a:lnTo>
                    <a:pt x="234" y="279"/>
                  </a:lnTo>
                  <a:lnTo>
                    <a:pt x="234" y="279"/>
                  </a:lnTo>
                  <a:lnTo>
                    <a:pt x="228" y="275"/>
                  </a:lnTo>
                  <a:lnTo>
                    <a:pt x="228" y="273"/>
                  </a:lnTo>
                  <a:lnTo>
                    <a:pt x="230" y="271"/>
                  </a:lnTo>
                  <a:lnTo>
                    <a:pt x="234" y="271"/>
                  </a:lnTo>
                  <a:lnTo>
                    <a:pt x="245" y="269"/>
                  </a:lnTo>
                  <a:lnTo>
                    <a:pt x="251" y="269"/>
                  </a:lnTo>
                  <a:lnTo>
                    <a:pt x="256" y="267"/>
                  </a:lnTo>
                  <a:lnTo>
                    <a:pt x="256" y="267"/>
                  </a:lnTo>
                  <a:lnTo>
                    <a:pt x="262" y="262"/>
                  </a:lnTo>
                  <a:lnTo>
                    <a:pt x="269" y="262"/>
                  </a:lnTo>
                  <a:lnTo>
                    <a:pt x="275" y="262"/>
                  </a:lnTo>
                  <a:lnTo>
                    <a:pt x="281" y="262"/>
                  </a:lnTo>
                  <a:lnTo>
                    <a:pt x="282" y="264"/>
                  </a:lnTo>
                  <a:lnTo>
                    <a:pt x="275" y="258"/>
                  </a:lnTo>
                  <a:lnTo>
                    <a:pt x="275" y="258"/>
                  </a:lnTo>
                  <a:lnTo>
                    <a:pt x="271" y="252"/>
                  </a:lnTo>
                  <a:lnTo>
                    <a:pt x="268" y="247"/>
                  </a:lnTo>
                  <a:lnTo>
                    <a:pt x="264" y="237"/>
                  </a:lnTo>
                  <a:lnTo>
                    <a:pt x="260" y="230"/>
                  </a:lnTo>
                  <a:lnTo>
                    <a:pt x="260" y="223"/>
                  </a:lnTo>
                  <a:lnTo>
                    <a:pt x="260" y="217"/>
                  </a:lnTo>
                  <a:lnTo>
                    <a:pt x="262" y="215"/>
                  </a:lnTo>
                  <a:lnTo>
                    <a:pt x="264" y="215"/>
                  </a:lnTo>
                  <a:lnTo>
                    <a:pt x="271" y="215"/>
                  </a:lnTo>
                  <a:lnTo>
                    <a:pt x="271" y="215"/>
                  </a:lnTo>
                  <a:lnTo>
                    <a:pt x="277" y="219"/>
                  </a:lnTo>
                  <a:lnTo>
                    <a:pt x="281" y="224"/>
                  </a:lnTo>
                  <a:lnTo>
                    <a:pt x="281" y="224"/>
                  </a:lnTo>
                  <a:lnTo>
                    <a:pt x="284" y="234"/>
                  </a:lnTo>
                  <a:lnTo>
                    <a:pt x="290" y="239"/>
                  </a:lnTo>
                  <a:lnTo>
                    <a:pt x="303" y="249"/>
                  </a:lnTo>
                  <a:lnTo>
                    <a:pt x="307" y="252"/>
                  </a:lnTo>
                  <a:lnTo>
                    <a:pt x="311" y="256"/>
                  </a:lnTo>
                  <a:lnTo>
                    <a:pt x="312" y="262"/>
                  </a:lnTo>
                  <a:lnTo>
                    <a:pt x="309" y="271"/>
                  </a:lnTo>
                  <a:lnTo>
                    <a:pt x="309" y="271"/>
                  </a:lnTo>
                  <a:lnTo>
                    <a:pt x="303" y="286"/>
                  </a:lnTo>
                  <a:lnTo>
                    <a:pt x="296" y="295"/>
                  </a:lnTo>
                  <a:lnTo>
                    <a:pt x="292" y="301"/>
                  </a:lnTo>
                  <a:lnTo>
                    <a:pt x="288" y="303"/>
                  </a:lnTo>
                  <a:lnTo>
                    <a:pt x="284" y="303"/>
                  </a:lnTo>
                  <a:lnTo>
                    <a:pt x="282" y="301"/>
                  </a:lnTo>
                  <a:lnTo>
                    <a:pt x="281" y="299"/>
                  </a:lnTo>
                  <a:lnTo>
                    <a:pt x="281" y="299"/>
                  </a:lnTo>
                  <a:lnTo>
                    <a:pt x="277" y="301"/>
                  </a:lnTo>
                  <a:lnTo>
                    <a:pt x="275" y="303"/>
                  </a:lnTo>
                  <a:lnTo>
                    <a:pt x="269" y="308"/>
                  </a:lnTo>
                  <a:lnTo>
                    <a:pt x="268" y="310"/>
                  </a:lnTo>
                  <a:lnTo>
                    <a:pt x="264" y="310"/>
                  </a:lnTo>
                  <a:lnTo>
                    <a:pt x="262" y="310"/>
                  </a:lnTo>
                  <a:lnTo>
                    <a:pt x="260" y="305"/>
                  </a:lnTo>
                  <a:lnTo>
                    <a:pt x="260" y="305"/>
                  </a:lnTo>
                  <a:lnTo>
                    <a:pt x="258" y="297"/>
                  </a:lnTo>
                  <a:lnTo>
                    <a:pt x="258" y="292"/>
                  </a:lnTo>
                  <a:lnTo>
                    <a:pt x="258" y="292"/>
                  </a:lnTo>
                  <a:lnTo>
                    <a:pt x="251" y="290"/>
                  </a:lnTo>
                  <a:lnTo>
                    <a:pt x="251" y="290"/>
                  </a:lnTo>
                  <a:lnTo>
                    <a:pt x="240" y="282"/>
                  </a:lnTo>
                  <a:lnTo>
                    <a:pt x="240" y="282"/>
                  </a:lnTo>
                  <a:lnTo>
                    <a:pt x="241" y="292"/>
                  </a:lnTo>
                  <a:lnTo>
                    <a:pt x="241" y="303"/>
                  </a:lnTo>
                  <a:lnTo>
                    <a:pt x="243" y="316"/>
                  </a:lnTo>
                  <a:lnTo>
                    <a:pt x="247" y="329"/>
                  </a:lnTo>
                  <a:lnTo>
                    <a:pt x="253" y="338"/>
                  </a:lnTo>
                  <a:lnTo>
                    <a:pt x="256" y="342"/>
                  </a:lnTo>
                  <a:lnTo>
                    <a:pt x="260" y="346"/>
                  </a:lnTo>
                  <a:lnTo>
                    <a:pt x="266" y="346"/>
                  </a:lnTo>
                  <a:lnTo>
                    <a:pt x="273" y="346"/>
                  </a:lnTo>
                  <a:lnTo>
                    <a:pt x="281" y="344"/>
                  </a:lnTo>
                  <a:lnTo>
                    <a:pt x="292" y="340"/>
                  </a:lnTo>
                  <a:lnTo>
                    <a:pt x="292" y="340"/>
                  </a:lnTo>
                  <a:lnTo>
                    <a:pt x="296" y="335"/>
                  </a:lnTo>
                  <a:lnTo>
                    <a:pt x="301" y="327"/>
                  </a:lnTo>
                  <a:lnTo>
                    <a:pt x="307" y="318"/>
                  </a:lnTo>
                  <a:lnTo>
                    <a:pt x="316" y="308"/>
                  </a:lnTo>
                  <a:lnTo>
                    <a:pt x="320" y="307"/>
                  </a:lnTo>
                  <a:lnTo>
                    <a:pt x="324" y="305"/>
                  </a:lnTo>
                  <a:lnTo>
                    <a:pt x="329" y="303"/>
                  </a:lnTo>
                  <a:lnTo>
                    <a:pt x="333" y="305"/>
                  </a:lnTo>
                  <a:lnTo>
                    <a:pt x="339" y="308"/>
                  </a:lnTo>
                  <a:lnTo>
                    <a:pt x="344" y="312"/>
                  </a:lnTo>
                  <a:lnTo>
                    <a:pt x="350" y="322"/>
                  </a:lnTo>
                  <a:lnTo>
                    <a:pt x="355" y="331"/>
                  </a:lnTo>
                  <a:lnTo>
                    <a:pt x="355" y="331"/>
                  </a:lnTo>
                  <a:lnTo>
                    <a:pt x="357" y="338"/>
                  </a:lnTo>
                  <a:lnTo>
                    <a:pt x="359" y="346"/>
                  </a:lnTo>
                  <a:lnTo>
                    <a:pt x="359" y="353"/>
                  </a:lnTo>
                  <a:lnTo>
                    <a:pt x="357" y="361"/>
                  </a:lnTo>
                  <a:lnTo>
                    <a:pt x="354" y="366"/>
                  </a:lnTo>
                  <a:lnTo>
                    <a:pt x="348" y="368"/>
                  </a:lnTo>
                  <a:lnTo>
                    <a:pt x="340" y="368"/>
                  </a:lnTo>
                  <a:lnTo>
                    <a:pt x="329" y="365"/>
                  </a:lnTo>
                  <a:lnTo>
                    <a:pt x="329" y="365"/>
                  </a:lnTo>
                  <a:lnTo>
                    <a:pt x="322" y="363"/>
                  </a:lnTo>
                  <a:lnTo>
                    <a:pt x="312" y="359"/>
                  </a:lnTo>
                  <a:lnTo>
                    <a:pt x="301" y="359"/>
                  </a:lnTo>
                  <a:lnTo>
                    <a:pt x="292" y="359"/>
                  </a:lnTo>
                  <a:lnTo>
                    <a:pt x="286" y="361"/>
                  </a:lnTo>
                  <a:lnTo>
                    <a:pt x="284" y="363"/>
                  </a:lnTo>
                  <a:lnTo>
                    <a:pt x="284" y="365"/>
                  </a:lnTo>
                  <a:lnTo>
                    <a:pt x="284" y="366"/>
                  </a:lnTo>
                  <a:lnTo>
                    <a:pt x="286" y="370"/>
                  </a:lnTo>
                  <a:lnTo>
                    <a:pt x="296" y="378"/>
                  </a:lnTo>
                  <a:lnTo>
                    <a:pt x="296" y="378"/>
                  </a:lnTo>
                  <a:lnTo>
                    <a:pt x="301" y="383"/>
                  </a:lnTo>
                  <a:lnTo>
                    <a:pt x="305" y="389"/>
                  </a:lnTo>
                  <a:lnTo>
                    <a:pt x="307" y="393"/>
                  </a:lnTo>
                  <a:lnTo>
                    <a:pt x="307" y="396"/>
                  </a:lnTo>
                  <a:lnTo>
                    <a:pt x="305" y="400"/>
                  </a:lnTo>
                  <a:lnTo>
                    <a:pt x="303" y="404"/>
                  </a:lnTo>
                  <a:lnTo>
                    <a:pt x="294" y="409"/>
                  </a:lnTo>
                  <a:lnTo>
                    <a:pt x="277" y="421"/>
                  </a:lnTo>
                  <a:lnTo>
                    <a:pt x="269" y="424"/>
                  </a:lnTo>
                  <a:lnTo>
                    <a:pt x="266" y="428"/>
                  </a:lnTo>
                  <a:lnTo>
                    <a:pt x="266" y="428"/>
                  </a:lnTo>
                  <a:lnTo>
                    <a:pt x="268" y="441"/>
                  </a:lnTo>
                  <a:lnTo>
                    <a:pt x="269" y="450"/>
                  </a:lnTo>
                  <a:lnTo>
                    <a:pt x="273" y="460"/>
                  </a:lnTo>
                  <a:lnTo>
                    <a:pt x="279" y="467"/>
                  </a:lnTo>
                  <a:lnTo>
                    <a:pt x="286" y="475"/>
                  </a:lnTo>
                  <a:lnTo>
                    <a:pt x="294" y="480"/>
                  </a:lnTo>
                  <a:lnTo>
                    <a:pt x="309" y="488"/>
                  </a:lnTo>
                  <a:lnTo>
                    <a:pt x="322" y="495"/>
                  </a:lnTo>
                  <a:lnTo>
                    <a:pt x="327" y="501"/>
                  </a:lnTo>
                  <a:lnTo>
                    <a:pt x="331" y="505"/>
                  </a:lnTo>
                  <a:lnTo>
                    <a:pt x="333" y="510"/>
                  </a:lnTo>
                  <a:lnTo>
                    <a:pt x="333" y="516"/>
                  </a:lnTo>
                  <a:lnTo>
                    <a:pt x="329" y="523"/>
                  </a:lnTo>
                  <a:lnTo>
                    <a:pt x="324" y="533"/>
                  </a:lnTo>
                  <a:lnTo>
                    <a:pt x="324" y="533"/>
                  </a:lnTo>
                  <a:lnTo>
                    <a:pt x="320" y="538"/>
                  </a:lnTo>
                  <a:lnTo>
                    <a:pt x="318" y="542"/>
                  </a:lnTo>
                  <a:lnTo>
                    <a:pt x="318" y="544"/>
                  </a:lnTo>
                  <a:lnTo>
                    <a:pt x="322" y="546"/>
                  </a:lnTo>
                  <a:lnTo>
                    <a:pt x="329" y="548"/>
                  </a:lnTo>
                  <a:lnTo>
                    <a:pt x="344" y="546"/>
                  </a:lnTo>
                  <a:lnTo>
                    <a:pt x="372" y="542"/>
                  </a:lnTo>
                  <a:lnTo>
                    <a:pt x="385" y="540"/>
                  </a:lnTo>
                  <a:lnTo>
                    <a:pt x="393" y="542"/>
                  </a:lnTo>
                  <a:lnTo>
                    <a:pt x="393" y="542"/>
                  </a:lnTo>
                  <a:lnTo>
                    <a:pt x="402" y="548"/>
                  </a:lnTo>
                  <a:lnTo>
                    <a:pt x="410" y="551"/>
                  </a:lnTo>
                  <a:lnTo>
                    <a:pt x="419" y="551"/>
                  </a:lnTo>
                  <a:lnTo>
                    <a:pt x="430" y="551"/>
                  </a:lnTo>
                  <a:lnTo>
                    <a:pt x="430" y="551"/>
                  </a:lnTo>
                  <a:lnTo>
                    <a:pt x="436" y="548"/>
                  </a:lnTo>
                  <a:lnTo>
                    <a:pt x="441" y="546"/>
                  </a:lnTo>
                  <a:lnTo>
                    <a:pt x="451" y="544"/>
                  </a:lnTo>
                  <a:lnTo>
                    <a:pt x="460" y="544"/>
                  </a:lnTo>
                  <a:lnTo>
                    <a:pt x="460" y="544"/>
                  </a:lnTo>
                  <a:lnTo>
                    <a:pt x="462" y="529"/>
                  </a:lnTo>
                  <a:lnTo>
                    <a:pt x="468" y="518"/>
                  </a:lnTo>
                  <a:lnTo>
                    <a:pt x="475" y="508"/>
                  </a:lnTo>
                  <a:lnTo>
                    <a:pt x="484" y="501"/>
                  </a:lnTo>
                  <a:lnTo>
                    <a:pt x="494" y="497"/>
                  </a:lnTo>
                  <a:lnTo>
                    <a:pt x="505" y="495"/>
                  </a:lnTo>
                  <a:lnTo>
                    <a:pt x="514" y="497"/>
                  </a:lnTo>
                  <a:lnTo>
                    <a:pt x="522" y="501"/>
                  </a:lnTo>
                  <a:lnTo>
                    <a:pt x="522" y="501"/>
                  </a:lnTo>
                  <a:lnTo>
                    <a:pt x="524" y="503"/>
                  </a:lnTo>
                  <a:lnTo>
                    <a:pt x="522" y="503"/>
                  </a:lnTo>
                  <a:lnTo>
                    <a:pt x="518" y="503"/>
                  </a:lnTo>
                  <a:lnTo>
                    <a:pt x="516" y="503"/>
                  </a:lnTo>
                  <a:lnTo>
                    <a:pt x="516" y="505"/>
                  </a:lnTo>
                  <a:lnTo>
                    <a:pt x="516" y="507"/>
                  </a:lnTo>
                  <a:lnTo>
                    <a:pt x="520" y="512"/>
                  </a:lnTo>
                  <a:lnTo>
                    <a:pt x="520" y="512"/>
                  </a:lnTo>
                  <a:lnTo>
                    <a:pt x="522" y="516"/>
                  </a:lnTo>
                  <a:lnTo>
                    <a:pt x="522" y="518"/>
                  </a:lnTo>
                  <a:lnTo>
                    <a:pt x="516" y="520"/>
                  </a:lnTo>
                  <a:lnTo>
                    <a:pt x="514" y="520"/>
                  </a:lnTo>
                  <a:lnTo>
                    <a:pt x="514" y="521"/>
                  </a:lnTo>
                  <a:lnTo>
                    <a:pt x="516" y="523"/>
                  </a:lnTo>
                  <a:lnTo>
                    <a:pt x="520" y="525"/>
                  </a:lnTo>
                  <a:lnTo>
                    <a:pt x="520" y="525"/>
                  </a:lnTo>
                  <a:lnTo>
                    <a:pt x="529" y="533"/>
                  </a:lnTo>
                  <a:lnTo>
                    <a:pt x="531" y="535"/>
                  </a:lnTo>
                  <a:lnTo>
                    <a:pt x="531" y="536"/>
                  </a:lnTo>
                  <a:lnTo>
                    <a:pt x="527" y="538"/>
                  </a:lnTo>
                  <a:lnTo>
                    <a:pt x="527" y="540"/>
                  </a:lnTo>
                  <a:lnTo>
                    <a:pt x="527" y="542"/>
                  </a:lnTo>
                  <a:lnTo>
                    <a:pt x="527" y="542"/>
                  </a:lnTo>
                  <a:lnTo>
                    <a:pt x="531" y="546"/>
                  </a:lnTo>
                  <a:lnTo>
                    <a:pt x="533" y="546"/>
                  </a:lnTo>
                  <a:lnTo>
                    <a:pt x="533" y="546"/>
                  </a:lnTo>
                  <a:lnTo>
                    <a:pt x="525" y="549"/>
                  </a:lnTo>
                  <a:lnTo>
                    <a:pt x="525" y="549"/>
                  </a:lnTo>
                  <a:lnTo>
                    <a:pt x="525" y="551"/>
                  </a:lnTo>
                  <a:lnTo>
                    <a:pt x="525" y="551"/>
                  </a:lnTo>
                  <a:lnTo>
                    <a:pt x="527" y="559"/>
                  </a:lnTo>
                  <a:lnTo>
                    <a:pt x="529" y="576"/>
                  </a:lnTo>
                  <a:lnTo>
                    <a:pt x="527" y="581"/>
                  </a:lnTo>
                  <a:lnTo>
                    <a:pt x="537" y="591"/>
                  </a:lnTo>
                  <a:lnTo>
                    <a:pt x="544" y="591"/>
                  </a:lnTo>
                  <a:lnTo>
                    <a:pt x="544" y="591"/>
                  </a:lnTo>
                  <a:lnTo>
                    <a:pt x="550" y="583"/>
                  </a:lnTo>
                  <a:lnTo>
                    <a:pt x="557" y="578"/>
                  </a:lnTo>
                  <a:lnTo>
                    <a:pt x="563" y="570"/>
                  </a:lnTo>
                  <a:lnTo>
                    <a:pt x="567" y="563"/>
                  </a:lnTo>
                  <a:lnTo>
                    <a:pt x="567" y="563"/>
                  </a:lnTo>
                  <a:lnTo>
                    <a:pt x="572" y="559"/>
                  </a:lnTo>
                  <a:lnTo>
                    <a:pt x="578" y="555"/>
                  </a:lnTo>
                  <a:lnTo>
                    <a:pt x="582" y="551"/>
                  </a:lnTo>
                  <a:lnTo>
                    <a:pt x="589" y="549"/>
                  </a:lnTo>
                  <a:lnTo>
                    <a:pt x="589" y="538"/>
                  </a:lnTo>
                  <a:lnTo>
                    <a:pt x="589" y="538"/>
                  </a:lnTo>
                  <a:lnTo>
                    <a:pt x="598" y="533"/>
                  </a:lnTo>
                  <a:lnTo>
                    <a:pt x="602" y="525"/>
                  </a:lnTo>
                  <a:lnTo>
                    <a:pt x="606" y="516"/>
                  </a:lnTo>
                  <a:lnTo>
                    <a:pt x="608" y="508"/>
                  </a:lnTo>
                  <a:lnTo>
                    <a:pt x="608" y="501"/>
                  </a:lnTo>
                  <a:lnTo>
                    <a:pt x="611" y="495"/>
                  </a:lnTo>
                  <a:lnTo>
                    <a:pt x="615" y="488"/>
                  </a:lnTo>
                  <a:lnTo>
                    <a:pt x="624" y="484"/>
                  </a:lnTo>
                  <a:lnTo>
                    <a:pt x="636" y="477"/>
                  </a:lnTo>
                  <a:lnTo>
                    <a:pt x="636" y="477"/>
                  </a:lnTo>
                  <a:lnTo>
                    <a:pt x="632" y="469"/>
                  </a:lnTo>
                  <a:lnTo>
                    <a:pt x="628" y="467"/>
                  </a:lnTo>
                  <a:lnTo>
                    <a:pt x="624" y="464"/>
                  </a:lnTo>
                  <a:lnTo>
                    <a:pt x="617" y="460"/>
                  </a:lnTo>
                  <a:lnTo>
                    <a:pt x="606" y="456"/>
                  </a:lnTo>
                  <a:lnTo>
                    <a:pt x="572" y="447"/>
                  </a:lnTo>
                  <a:lnTo>
                    <a:pt x="572" y="447"/>
                  </a:lnTo>
                  <a:lnTo>
                    <a:pt x="567" y="447"/>
                  </a:lnTo>
                  <a:lnTo>
                    <a:pt x="565" y="443"/>
                  </a:lnTo>
                  <a:lnTo>
                    <a:pt x="557" y="436"/>
                  </a:lnTo>
                  <a:lnTo>
                    <a:pt x="548" y="419"/>
                  </a:lnTo>
                  <a:lnTo>
                    <a:pt x="542" y="413"/>
                  </a:lnTo>
                  <a:lnTo>
                    <a:pt x="539" y="411"/>
                  </a:lnTo>
                  <a:lnTo>
                    <a:pt x="535" y="411"/>
                  </a:lnTo>
                  <a:lnTo>
                    <a:pt x="529" y="413"/>
                  </a:lnTo>
                  <a:lnTo>
                    <a:pt x="524" y="415"/>
                  </a:lnTo>
                  <a:lnTo>
                    <a:pt x="509" y="428"/>
                  </a:lnTo>
                  <a:lnTo>
                    <a:pt x="509" y="428"/>
                  </a:lnTo>
                  <a:lnTo>
                    <a:pt x="501" y="430"/>
                  </a:lnTo>
                  <a:lnTo>
                    <a:pt x="490" y="432"/>
                  </a:lnTo>
                  <a:lnTo>
                    <a:pt x="477" y="434"/>
                  </a:lnTo>
                  <a:lnTo>
                    <a:pt x="477" y="434"/>
                  </a:lnTo>
                  <a:lnTo>
                    <a:pt x="481" y="430"/>
                  </a:lnTo>
                  <a:lnTo>
                    <a:pt x="488" y="428"/>
                  </a:lnTo>
                  <a:lnTo>
                    <a:pt x="497" y="424"/>
                  </a:lnTo>
                  <a:lnTo>
                    <a:pt x="503" y="421"/>
                  </a:lnTo>
                  <a:lnTo>
                    <a:pt x="503" y="421"/>
                  </a:lnTo>
                  <a:lnTo>
                    <a:pt x="512" y="413"/>
                  </a:lnTo>
                  <a:lnTo>
                    <a:pt x="522" y="409"/>
                  </a:lnTo>
                  <a:lnTo>
                    <a:pt x="529" y="406"/>
                  </a:lnTo>
                  <a:lnTo>
                    <a:pt x="537" y="406"/>
                  </a:lnTo>
                  <a:lnTo>
                    <a:pt x="542" y="407"/>
                  </a:lnTo>
                  <a:lnTo>
                    <a:pt x="548" y="409"/>
                  </a:lnTo>
                  <a:lnTo>
                    <a:pt x="559" y="417"/>
                  </a:lnTo>
                  <a:lnTo>
                    <a:pt x="568" y="424"/>
                  </a:lnTo>
                  <a:lnTo>
                    <a:pt x="578" y="432"/>
                  </a:lnTo>
                  <a:lnTo>
                    <a:pt x="583" y="436"/>
                  </a:lnTo>
                  <a:lnTo>
                    <a:pt x="587" y="436"/>
                  </a:lnTo>
                  <a:lnTo>
                    <a:pt x="593" y="436"/>
                  </a:lnTo>
                  <a:lnTo>
                    <a:pt x="598" y="434"/>
                  </a:lnTo>
                  <a:lnTo>
                    <a:pt x="598" y="434"/>
                  </a:lnTo>
                  <a:lnTo>
                    <a:pt x="608" y="430"/>
                  </a:lnTo>
                  <a:lnTo>
                    <a:pt x="615" y="428"/>
                  </a:lnTo>
                  <a:lnTo>
                    <a:pt x="624" y="428"/>
                  </a:lnTo>
                  <a:lnTo>
                    <a:pt x="634" y="430"/>
                  </a:lnTo>
                  <a:lnTo>
                    <a:pt x="651" y="436"/>
                  </a:lnTo>
                  <a:lnTo>
                    <a:pt x="667" y="441"/>
                  </a:lnTo>
                  <a:lnTo>
                    <a:pt x="681" y="447"/>
                  </a:lnTo>
                  <a:lnTo>
                    <a:pt x="686" y="449"/>
                  </a:lnTo>
                  <a:lnTo>
                    <a:pt x="690" y="449"/>
                  </a:lnTo>
                  <a:lnTo>
                    <a:pt x="694" y="447"/>
                  </a:lnTo>
                  <a:lnTo>
                    <a:pt x="694" y="443"/>
                  </a:lnTo>
                  <a:lnTo>
                    <a:pt x="694" y="437"/>
                  </a:lnTo>
                  <a:lnTo>
                    <a:pt x="692" y="430"/>
                  </a:lnTo>
                  <a:lnTo>
                    <a:pt x="692" y="430"/>
                  </a:lnTo>
                  <a:lnTo>
                    <a:pt x="690" y="421"/>
                  </a:lnTo>
                  <a:lnTo>
                    <a:pt x="684" y="413"/>
                  </a:lnTo>
                  <a:lnTo>
                    <a:pt x="681" y="407"/>
                  </a:lnTo>
                  <a:lnTo>
                    <a:pt x="675" y="404"/>
                  </a:lnTo>
                  <a:lnTo>
                    <a:pt x="664" y="398"/>
                  </a:lnTo>
                  <a:lnTo>
                    <a:pt x="651" y="394"/>
                  </a:lnTo>
                  <a:lnTo>
                    <a:pt x="639" y="391"/>
                  </a:lnTo>
                  <a:lnTo>
                    <a:pt x="628" y="387"/>
                  </a:lnTo>
                  <a:lnTo>
                    <a:pt x="624" y="383"/>
                  </a:lnTo>
                  <a:lnTo>
                    <a:pt x="621" y="378"/>
                  </a:lnTo>
                  <a:lnTo>
                    <a:pt x="619" y="372"/>
                  </a:lnTo>
                  <a:lnTo>
                    <a:pt x="617" y="366"/>
                  </a:lnTo>
                  <a:lnTo>
                    <a:pt x="617" y="366"/>
                  </a:lnTo>
                  <a:lnTo>
                    <a:pt x="615" y="361"/>
                  </a:lnTo>
                  <a:lnTo>
                    <a:pt x="613" y="355"/>
                  </a:lnTo>
                  <a:lnTo>
                    <a:pt x="608" y="350"/>
                  </a:lnTo>
                  <a:lnTo>
                    <a:pt x="598" y="344"/>
                  </a:lnTo>
                  <a:lnTo>
                    <a:pt x="587" y="340"/>
                  </a:lnTo>
                  <a:lnTo>
                    <a:pt x="578" y="336"/>
                  </a:lnTo>
                  <a:lnTo>
                    <a:pt x="568" y="329"/>
                  </a:lnTo>
                  <a:lnTo>
                    <a:pt x="565" y="323"/>
                  </a:lnTo>
                  <a:lnTo>
                    <a:pt x="561" y="316"/>
                  </a:lnTo>
                  <a:lnTo>
                    <a:pt x="559" y="307"/>
                  </a:lnTo>
                  <a:lnTo>
                    <a:pt x="557" y="297"/>
                  </a:lnTo>
                  <a:lnTo>
                    <a:pt x="557" y="297"/>
                  </a:lnTo>
                  <a:lnTo>
                    <a:pt x="555" y="286"/>
                  </a:lnTo>
                  <a:lnTo>
                    <a:pt x="548" y="269"/>
                  </a:lnTo>
                  <a:lnTo>
                    <a:pt x="527" y="232"/>
                  </a:lnTo>
                  <a:lnTo>
                    <a:pt x="505" y="189"/>
                  </a:lnTo>
                  <a:lnTo>
                    <a:pt x="496" y="170"/>
                  </a:lnTo>
                  <a:lnTo>
                    <a:pt x="490" y="153"/>
                  </a:lnTo>
                  <a:lnTo>
                    <a:pt x="490" y="153"/>
                  </a:lnTo>
                  <a:lnTo>
                    <a:pt x="486" y="142"/>
                  </a:lnTo>
                  <a:lnTo>
                    <a:pt x="473" y="122"/>
                  </a:lnTo>
                  <a:lnTo>
                    <a:pt x="466" y="110"/>
                  </a:lnTo>
                  <a:lnTo>
                    <a:pt x="458" y="99"/>
                  </a:lnTo>
                  <a:lnTo>
                    <a:pt x="451" y="92"/>
                  </a:lnTo>
                  <a:lnTo>
                    <a:pt x="443" y="90"/>
                  </a:lnTo>
                  <a:lnTo>
                    <a:pt x="443" y="90"/>
                  </a:lnTo>
                  <a:lnTo>
                    <a:pt x="426" y="86"/>
                  </a:lnTo>
                  <a:lnTo>
                    <a:pt x="410" y="80"/>
                  </a:lnTo>
                  <a:lnTo>
                    <a:pt x="395" y="73"/>
                  </a:lnTo>
                  <a:lnTo>
                    <a:pt x="380" y="66"/>
                  </a:lnTo>
                  <a:lnTo>
                    <a:pt x="355" y="51"/>
                  </a:lnTo>
                  <a:lnTo>
                    <a:pt x="346" y="47"/>
                  </a:lnTo>
                  <a:lnTo>
                    <a:pt x="339" y="45"/>
                  </a:lnTo>
                  <a:lnTo>
                    <a:pt x="339" y="45"/>
                  </a:lnTo>
                  <a:lnTo>
                    <a:pt x="333" y="43"/>
                  </a:lnTo>
                  <a:lnTo>
                    <a:pt x="329" y="39"/>
                  </a:lnTo>
                  <a:lnTo>
                    <a:pt x="325" y="34"/>
                  </a:lnTo>
                  <a:lnTo>
                    <a:pt x="324" y="26"/>
                  </a:lnTo>
                  <a:lnTo>
                    <a:pt x="324" y="19"/>
                  </a:lnTo>
                  <a:lnTo>
                    <a:pt x="325" y="11"/>
                  </a:lnTo>
                  <a:lnTo>
                    <a:pt x="327" y="6"/>
                  </a:lnTo>
                  <a:lnTo>
                    <a:pt x="331" y="0"/>
                  </a:lnTo>
                  <a:lnTo>
                    <a:pt x="331" y="0"/>
                  </a:lnTo>
                  <a:lnTo>
                    <a:pt x="297" y="9"/>
                  </a:lnTo>
                  <a:lnTo>
                    <a:pt x="290" y="13"/>
                  </a:lnTo>
                  <a:lnTo>
                    <a:pt x="286" y="17"/>
                  </a:lnTo>
                  <a:lnTo>
                    <a:pt x="282" y="30"/>
                  </a:lnTo>
                  <a:lnTo>
                    <a:pt x="279" y="41"/>
                  </a:lnTo>
                  <a:lnTo>
                    <a:pt x="271" y="56"/>
                  </a:lnTo>
                  <a:lnTo>
                    <a:pt x="271" y="56"/>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2" name="Freeform 22">
              <a:extLst>
                <a:ext uri="{FF2B5EF4-FFF2-40B4-BE49-F238E27FC236}">
                  <a16:creationId xmlns:a16="http://schemas.microsoft.com/office/drawing/2014/main" id="{961178D8-1EDE-46B5-99D9-C4DDBB4C2239}"/>
                </a:ext>
              </a:extLst>
            </p:cNvPr>
            <p:cNvSpPr>
              <a:spLocks noEditPoints="1"/>
            </p:cNvSpPr>
            <p:nvPr/>
          </p:nvSpPr>
          <p:spPr bwMode="auto">
            <a:xfrm>
              <a:off x="6190645" y="4537430"/>
              <a:ext cx="543182" cy="554081"/>
            </a:xfrm>
            <a:custGeom>
              <a:avLst/>
              <a:gdLst/>
              <a:ahLst/>
              <a:cxnLst>
                <a:cxn ang="0">
                  <a:pos x="527" y="68"/>
                </a:cxn>
                <a:cxn ang="0">
                  <a:pos x="546" y="54"/>
                </a:cxn>
                <a:cxn ang="0">
                  <a:pos x="550" y="53"/>
                </a:cxn>
                <a:cxn ang="0">
                  <a:pos x="580" y="73"/>
                </a:cxn>
                <a:cxn ang="0">
                  <a:pos x="598" y="105"/>
                </a:cxn>
                <a:cxn ang="0">
                  <a:pos x="580" y="154"/>
                </a:cxn>
                <a:cxn ang="0">
                  <a:pos x="567" y="144"/>
                </a:cxn>
                <a:cxn ang="0">
                  <a:pos x="525" y="112"/>
                </a:cxn>
                <a:cxn ang="0">
                  <a:pos x="477" y="150"/>
                </a:cxn>
                <a:cxn ang="0">
                  <a:pos x="501" y="133"/>
                </a:cxn>
                <a:cxn ang="0">
                  <a:pos x="525" y="139"/>
                </a:cxn>
                <a:cxn ang="0">
                  <a:pos x="509" y="189"/>
                </a:cxn>
                <a:cxn ang="0">
                  <a:pos x="488" y="159"/>
                </a:cxn>
                <a:cxn ang="0">
                  <a:pos x="529" y="226"/>
                </a:cxn>
                <a:cxn ang="0">
                  <a:pos x="520" y="204"/>
                </a:cxn>
                <a:cxn ang="0">
                  <a:pos x="507" y="234"/>
                </a:cxn>
                <a:cxn ang="0">
                  <a:pos x="516" y="256"/>
                </a:cxn>
                <a:cxn ang="0">
                  <a:pos x="499" y="309"/>
                </a:cxn>
                <a:cxn ang="0">
                  <a:pos x="490" y="329"/>
                </a:cxn>
                <a:cxn ang="0">
                  <a:pos x="475" y="324"/>
                </a:cxn>
                <a:cxn ang="0">
                  <a:pos x="484" y="372"/>
                </a:cxn>
                <a:cxn ang="0">
                  <a:pos x="509" y="410"/>
                </a:cxn>
                <a:cxn ang="0">
                  <a:pos x="471" y="447"/>
                </a:cxn>
                <a:cxn ang="0">
                  <a:pos x="415" y="495"/>
                </a:cxn>
                <a:cxn ang="0">
                  <a:pos x="404" y="509"/>
                </a:cxn>
                <a:cxn ang="0">
                  <a:pos x="415" y="507"/>
                </a:cxn>
                <a:cxn ang="0">
                  <a:pos x="425" y="510"/>
                </a:cxn>
                <a:cxn ang="0">
                  <a:pos x="228" y="6"/>
                </a:cxn>
                <a:cxn ang="0">
                  <a:pos x="174" y="73"/>
                </a:cxn>
                <a:cxn ang="0">
                  <a:pos x="137" y="135"/>
                </a:cxn>
                <a:cxn ang="0">
                  <a:pos x="120" y="182"/>
                </a:cxn>
                <a:cxn ang="0">
                  <a:pos x="99" y="226"/>
                </a:cxn>
                <a:cxn ang="0">
                  <a:pos x="75" y="275"/>
                </a:cxn>
                <a:cxn ang="0">
                  <a:pos x="21" y="320"/>
                </a:cxn>
                <a:cxn ang="0">
                  <a:pos x="15" y="380"/>
                </a:cxn>
                <a:cxn ang="0">
                  <a:pos x="77" y="482"/>
                </a:cxn>
                <a:cxn ang="0">
                  <a:pos x="129" y="576"/>
                </a:cxn>
                <a:cxn ang="0">
                  <a:pos x="172" y="594"/>
                </a:cxn>
                <a:cxn ang="0">
                  <a:pos x="241" y="587"/>
                </a:cxn>
                <a:cxn ang="0">
                  <a:pos x="337" y="611"/>
                </a:cxn>
                <a:cxn ang="0">
                  <a:pos x="368" y="516"/>
                </a:cxn>
                <a:cxn ang="0">
                  <a:pos x="389" y="486"/>
                </a:cxn>
                <a:cxn ang="0">
                  <a:pos x="398" y="438"/>
                </a:cxn>
                <a:cxn ang="0">
                  <a:pos x="449" y="438"/>
                </a:cxn>
                <a:cxn ang="0">
                  <a:pos x="438" y="387"/>
                </a:cxn>
                <a:cxn ang="0">
                  <a:pos x="460" y="355"/>
                </a:cxn>
                <a:cxn ang="0">
                  <a:pos x="438" y="322"/>
                </a:cxn>
                <a:cxn ang="0">
                  <a:pos x="466" y="314"/>
                </a:cxn>
                <a:cxn ang="0">
                  <a:pos x="490" y="310"/>
                </a:cxn>
                <a:cxn ang="0">
                  <a:pos x="451" y="266"/>
                </a:cxn>
                <a:cxn ang="0">
                  <a:pos x="473" y="232"/>
                </a:cxn>
                <a:cxn ang="0">
                  <a:pos x="398" y="157"/>
                </a:cxn>
                <a:cxn ang="0">
                  <a:pos x="327" y="185"/>
                </a:cxn>
                <a:cxn ang="0">
                  <a:pos x="260" y="182"/>
                </a:cxn>
                <a:cxn ang="0">
                  <a:pos x="350" y="133"/>
                </a:cxn>
                <a:cxn ang="0">
                  <a:pos x="363" y="84"/>
                </a:cxn>
                <a:cxn ang="0">
                  <a:pos x="326" y="56"/>
                </a:cxn>
                <a:cxn ang="0">
                  <a:pos x="273" y="81"/>
                </a:cxn>
                <a:cxn ang="0">
                  <a:pos x="277" y="51"/>
                </a:cxn>
                <a:cxn ang="0">
                  <a:pos x="258" y="26"/>
                </a:cxn>
                <a:cxn ang="0">
                  <a:pos x="268" y="8"/>
                </a:cxn>
              </a:cxnLst>
              <a:rect l="0" t="0" r="r" b="b"/>
              <a:pathLst>
                <a:path w="598" h="611">
                  <a:moveTo>
                    <a:pt x="475" y="299"/>
                  </a:moveTo>
                  <a:lnTo>
                    <a:pt x="475" y="299"/>
                  </a:lnTo>
                  <a:close/>
                  <a:moveTo>
                    <a:pt x="535" y="84"/>
                  </a:moveTo>
                  <a:lnTo>
                    <a:pt x="535" y="84"/>
                  </a:lnTo>
                  <a:lnTo>
                    <a:pt x="537" y="88"/>
                  </a:lnTo>
                  <a:lnTo>
                    <a:pt x="539" y="88"/>
                  </a:lnTo>
                  <a:lnTo>
                    <a:pt x="540" y="88"/>
                  </a:lnTo>
                  <a:lnTo>
                    <a:pt x="542" y="86"/>
                  </a:lnTo>
                  <a:lnTo>
                    <a:pt x="542" y="83"/>
                  </a:lnTo>
                  <a:lnTo>
                    <a:pt x="540" y="77"/>
                  </a:lnTo>
                  <a:lnTo>
                    <a:pt x="537" y="73"/>
                  </a:lnTo>
                  <a:lnTo>
                    <a:pt x="527" y="68"/>
                  </a:lnTo>
                  <a:lnTo>
                    <a:pt x="527" y="68"/>
                  </a:lnTo>
                  <a:lnTo>
                    <a:pt x="524" y="71"/>
                  </a:lnTo>
                  <a:lnTo>
                    <a:pt x="522" y="75"/>
                  </a:lnTo>
                  <a:lnTo>
                    <a:pt x="522" y="75"/>
                  </a:lnTo>
                  <a:lnTo>
                    <a:pt x="522" y="81"/>
                  </a:lnTo>
                  <a:lnTo>
                    <a:pt x="525" y="83"/>
                  </a:lnTo>
                  <a:lnTo>
                    <a:pt x="537" y="84"/>
                  </a:lnTo>
                  <a:lnTo>
                    <a:pt x="537" y="84"/>
                  </a:lnTo>
                  <a:lnTo>
                    <a:pt x="535" y="84"/>
                  </a:lnTo>
                  <a:lnTo>
                    <a:pt x="535" y="84"/>
                  </a:lnTo>
                  <a:lnTo>
                    <a:pt x="535" y="84"/>
                  </a:lnTo>
                  <a:close/>
                  <a:moveTo>
                    <a:pt x="546" y="54"/>
                  </a:moveTo>
                  <a:lnTo>
                    <a:pt x="546" y="54"/>
                  </a:lnTo>
                  <a:lnTo>
                    <a:pt x="544" y="56"/>
                  </a:lnTo>
                  <a:lnTo>
                    <a:pt x="544" y="58"/>
                  </a:lnTo>
                  <a:lnTo>
                    <a:pt x="550" y="60"/>
                  </a:lnTo>
                  <a:lnTo>
                    <a:pt x="559" y="60"/>
                  </a:lnTo>
                  <a:lnTo>
                    <a:pt x="559" y="60"/>
                  </a:lnTo>
                  <a:lnTo>
                    <a:pt x="559" y="53"/>
                  </a:lnTo>
                  <a:lnTo>
                    <a:pt x="557" y="51"/>
                  </a:lnTo>
                  <a:lnTo>
                    <a:pt x="555" y="49"/>
                  </a:lnTo>
                  <a:lnTo>
                    <a:pt x="555" y="49"/>
                  </a:lnTo>
                  <a:lnTo>
                    <a:pt x="552" y="51"/>
                  </a:lnTo>
                  <a:lnTo>
                    <a:pt x="550" y="53"/>
                  </a:lnTo>
                  <a:lnTo>
                    <a:pt x="546" y="54"/>
                  </a:lnTo>
                  <a:lnTo>
                    <a:pt x="546" y="54"/>
                  </a:lnTo>
                  <a:close/>
                  <a:moveTo>
                    <a:pt x="570" y="68"/>
                  </a:moveTo>
                  <a:lnTo>
                    <a:pt x="570" y="68"/>
                  </a:lnTo>
                  <a:lnTo>
                    <a:pt x="565" y="69"/>
                  </a:lnTo>
                  <a:lnTo>
                    <a:pt x="563" y="71"/>
                  </a:lnTo>
                  <a:lnTo>
                    <a:pt x="563" y="73"/>
                  </a:lnTo>
                  <a:lnTo>
                    <a:pt x="565" y="75"/>
                  </a:lnTo>
                  <a:lnTo>
                    <a:pt x="572" y="77"/>
                  </a:lnTo>
                  <a:lnTo>
                    <a:pt x="580" y="75"/>
                  </a:lnTo>
                  <a:lnTo>
                    <a:pt x="580" y="75"/>
                  </a:lnTo>
                  <a:lnTo>
                    <a:pt x="580" y="73"/>
                  </a:lnTo>
                  <a:lnTo>
                    <a:pt x="576" y="69"/>
                  </a:lnTo>
                  <a:lnTo>
                    <a:pt x="570" y="68"/>
                  </a:lnTo>
                  <a:lnTo>
                    <a:pt x="570" y="68"/>
                  </a:lnTo>
                  <a:close/>
                  <a:moveTo>
                    <a:pt x="589" y="107"/>
                  </a:moveTo>
                  <a:lnTo>
                    <a:pt x="589" y="107"/>
                  </a:lnTo>
                  <a:lnTo>
                    <a:pt x="587" y="111"/>
                  </a:lnTo>
                  <a:lnTo>
                    <a:pt x="589" y="112"/>
                  </a:lnTo>
                  <a:lnTo>
                    <a:pt x="591" y="114"/>
                  </a:lnTo>
                  <a:lnTo>
                    <a:pt x="593" y="112"/>
                  </a:lnTo>
                  <a:lnTo>
                    <a:pt x="596" y="112"/>
                  </a:lnTo>
                  <a:lnTo>
                    <a:pt x="598" y="109"/>
                  </a:lnTo>
                  <a:lnTo>
                    <a:pt x="598" y="105"/>
                  </a:lnTo>
                  <a:lnTo>
                    <a:pt x="595" y="103"/>
                  </a:lnTo>
                  <a:lnTo>
                    <a:pt x="595" y="103"/>
                  </a:lnTo>
                  <a:lnTo>
                    <a:pt x="593" y="101"/>
                  </a:lnTo>
                  <a:lnTo>
                    <a:pt x="593" y="103"/>
                  </a:lnTo>
                  <a:lnTo>
                    <a:pt x="589" y="107"/>
                  </a:lnTo>
                  <a:lnTo>
                    <a:pt x="589" y="107"/>
                  </a:lnTo>
                  <a:close/>
                  <a:moveTo>
                    <a:pt x="576" y="152"/>
                  </a:moveTo>
                  <a:lnTo>
                    <a:pt x="576" y="165"/>
                  </a:lnTo>
                  <a:lnTo>
                    <a:pt x="576" y="165"/>
                  </a:lnTo>
                  <a:lnTo>
                    <a:pt x="580" y="161"/>
                  </a:lnTo>
                  <a:lnTo>
                    <a:pt x="582" y="157"/>
                  </a:lnTo>
                  <a:lnTo>
                    <a:pt x="580" y="154"/>
                  </a:lnTo>
                  <a:lnTo>
                    <a:pt x="578" y="152"/>
                  </a:lnTo>
                  <a:lnTo>
                    <a:pt x="576" y="152"/>
                  </a:lnTo>
                  <a:lnTo>
                    <a:pt x="576" y="152"/>
                  </a:lnTo>
                  <a:close/>
                  <a:moveTo>
                    <a:pt x="559" y="144"/>
                  </a:moveTo>
                  <a:lnTo>
                    <a:pt x="559" y="144"/>
                  </a:lnTo>
                  <a:lnTo>
                    <a:pt x="559" y="146"/>
                  </a:lnTo>
                  <a:lnTo>
                    <a:pt x="559" y="148"/>
                  </a:lnTo>
                  <a:lnTo>
                    <a:pt x="563" y="150"/>
                  </a:lnTo>
                  <a:lnTo>
                    <a:pt x="574" y="150"/>
                  </a:lnTo>
                  <a:lnTo>
                    <a:pt x="574" y="150"/>
                  </a:lnTo>
                  <a:lnTo>
                    <a:pt x="570" y="146"/>
                  </a:lnTo>
                  <a:lnTo>
                    <a:pt x="567" y="144"/>
                  </a:lnTo>
                  <a:lnTo>
                    <a:pt x="561" y="142"/>
                  </a:lnTo>
                  <a:lnTo>
                    <a:pt x="559" y="144"/>
                  </a:lnTo>
                  <a:lnTo>
                    <a:pt x="559" y="144"/>
                  </a:lnTo>
                  <a:close/>
                  <a:moveTo>
                    <a:pt x="509" y="122"/>
                  </a:moveTo>
                  <a:lnTo>
                    <a:pt x="509" y="122"/>
                  </a:lnTo>
                  <a:lnTo>
                    <a:pt x="514" y="122"/>
                  </a:lnTo>
                  <a:lnTo>
                    <a:pt x="524" y="122"/>
                  </a:lnTo>
                  <a:lnTo>
                    <a:pt x="533" y="122"/>
                  </a:lnTo>
                  <a:lnTo>
                    <a:pt x="539" y="118"/>
                  </a:lnTo>
                  <a:lnTo>
                    <a:pt x="539" y="118"/>
                  </a:lnTo>
                  <a:lnTo>
                    <a:pt x="531" y="116"/>
                  </a:lnTo>
                  <a:lnTo>
                    <a:pt x="525" y="112"/>
                  </a:lnTo>
                  <a:lnTo>
                    <a:pt x="524" y="111"/>
                  </a:lnTo>
                  <a:lnTo>
                    <a:pt x="522" y="107"/>
                  </a:lnTo>
                  <a:lnTo>
                    <a:pt x="522" y="107"/>
                  </a:lnTo>
                  <a:lnTo>
                    <a:pt x="514" y="107"/>
                  </a:lnTo>
                  <a:lnTo>
                    <a:pt x="509" y="109"/>
                  </a:lnTo>
                  <a:lnTo>
                    <a:pt x="509" y="109"/>
                  </a:lnTo>
                  <a:lnTo>
                    <a:pt x="507" y="114"/>
                  </a:lnTo>
                  <a:lnTo>
                    <a:pt x="509" y="122"/>
                  </a:lnTo>
                  <a:lnTo>
                    <a:pt x="509" y="122"/>
                  </a:lnTo>
                  <a:close/>
                  <a:moveTo>
                    <a:pt x="475" y="150"/>
                  </a:moveTo>
                  <a:lnTo>
                    <a:pt x="475" y="150"/>
                  </a:lnTo>
                  <a:lnTo>
                    <a:pt x="477" y="150"/>
                  </a:lnTo>
                  <a:lnTo>
                    <a:pt x="477" y="146"/>
                  </a:lnTo>
                  <a:lnTo>
                    <a:pt x="479" y="139"/>
                  </a:lnTo>
                  <a:lnTo>
                    <a:pt x="471" y="137"/>
                  </a:lnTo>
                  <a:lnTo>
                    <a:pt x="471" y="137"/>
                  </a:lnTo>
                  <a:lnTo>
                    <a:pt x="471" y="140"/>
                  </a:lnTo>
                  <a:lnTo>
                    <a:pt x="471" y="146"/>
                  </a:lnTo>
                  <a:lnTo>
                    <a:pt x="471" y="150"/>
                  </a:lnTo>
                  <a:lnTo>
                    <a:pt x="473" y="152"/>
                  </a:lnTo>
                  <a:lnTo>
                    <a:pt x="475" y="150"/>
                  </a:lnTo>
                  <a:lnTo>
                    <a:pt x="475" y="150"/>
                  </a:lnTo>
                  <a:close/>
                  <a:moveTo>
                    <a:pt x="501" y="133"/>
                  </a:moveTo>
                  <a:lnTo>
                    <a:pt x="501" y="133"/>
                  </a:lnTo>
                  <a:lnTo>
                    <a:pt x="494" y="135"/>
                  </a:lnTo>
                  <a:lnTo>
                    <a:pt x="492" y="137"/>
                  </a:lnTo>
                  <a:lnTo>
                    <a:pt x="490" y="142"/>
                  </a:lnTo>
                  <a:lnTo>
                    <a:pt x="494" y="146"/>
                  </a:lnTo>
                  <a:lnTo>
                    <a:pt x="499" y="150"/>
                  </a:lnTo>
                  <a:lnTo>
                    <a:pt x="509" y="154"/>
                  </a:lnTo>
                  <a:lnTo>
                    <a:pt x="520" y="152"/>
                  </a:lnTo>
                  <a:lnTo>
                    <a:pt x="533" y="148"/>
                  </a:lnTo>
                  <a:lnTo>
                    <a:pt x="533" y="148"/>
                  </a:lnTo>
                  <a:lnTo>
                    <a:pt x="529" y="140"/>
                  </a:lnTo>
                  <a:lnTo>
                    <a:pt x="525" y="139"/>
                  </a:lnTo>
                  <a:lnTo>
                    <a:pt x="525" y="139"/>
                  </a:lnTo>
                  <a:lnTo>
                    <a:pt x="525" y="140"/>
                  </a:lnTo>
                  <a:lnTo>
                    <a:pt x="525" y="140"/>
                  </a:lnTo>
                  <a:lnTo>
                    <a:pt x="522" y="144"/>
                  </a:lnTo>
                  <a:lnTo>
                    <a:pt x="518" y="142"/>
                  </a:lnTo>
                  <a:lnTo>
                    <a:pt x="511" y="137"/>
                  </a:lnTo>
                  <a:lnTo>
                    <a:pt x="511" y="137"/>
                  </a:lnTo>
                  <a:lnTo>
                    <a:pt x="501" y="133"/>
                  </a:lnTo>
                  <a:lnTo>
                    <a:pt x="501" y="133"/>
                  </a:lnTo>
                  <a:close/>
                  <a:moveTo>
                    <a:pt x="488" y="185"/>
                  </a:moveTo>
                  <a:lnTo>
                    <a:pt x="488" y="185"/>
                  </a:lnTo>
                  <a:lnTo>
                    <a:pt x="499" y="185"/>
                  </a:lnTo>
                  <a:lnTo>
                    <a:pt x="509" y="189"/>
                  </a:lnTo>
                  <a:lnTo>
                    <a:pt x="518" y="193"/>
                  </a:lnTo>
                  <a:lnTo>
                    <a:pt x="529" y="197"/>
                  </a:lnTo>
                  <a:lnTo>
                    <a:pt x="529" y="197"/>
                  </a:lnTo>
                  <a:lnTo>
                    <a:pt x="539" y="195"/>
                  </a:lnTo>
                  <a:lnTo>
                    <a:pt x="540" y="193"/>
                  </a:lnTo>
                  <a:lnTo>
                    <a:pt x="542" y="191"/>
                  </a:lnTo>
                  <a:lnTo>
                    <a:pt x="537" y="185"/>
                  </a:lnTo>
                  <a:lnTo>
                    <a:pt x="529" y="180"/>
                  </a:lnTo>
                  <a:lnTo>
                    <a:pt x="509" y="167"/>
                  </a:lnTo>
                  <a:lnTo>
                    <a:pt x="494" y="159"/>
                  </a:lnTo>
                  <a:lnTo>
                    <a:pt x="494" y="159"/>
                  </a:lnTo>
                  <a:lnTo>
                    <a:pt x="488" y="159"/>
                  </a:lnTo>
                  <a:lnTo>
                    <a:pt x="484" y="163"/>
                  </a:lnTo>
                  <a:lnTo>
                    <a:pt x="479" y="167"/>
                  </a:lnTo>
                  <a:lnTo>
                    <a:pt x="475" y="172"/>
                  </a:lnTo>
                  <a:lnTo>
                    <a:pt x="473" y="176"/>
                  </a:lnTo>
                  <a:lnTo>
                    <a:pt x="475" y="182"/>
                  </a:lnTo>
                  <a:lnTo>
                    <a:pt x="479" y="183"/>
                  </a:lnTo>
                  <a:lnTo>
                    <a:pt x="488" y="185"/>
                  </a:lnTo>
                  <a:lnTo>
                    <a:pt x="488" y="185"/>
                  </a:lnTo>
                  <a:close/>
                  <a:moveTo>
                    <a:pt x="514" y="232"/>
                  </a:moveTo>
                  <a:lnTo>
                    <a:pt x="514" y="232"/>
                  </a:lnTo>
                  <a:lnTo>
                    <a:pt x="527" y="228"/>
                  </a:lnTo>
                  <a:lnTo>
                    <a:pt x="529" y="226"/>
                  </a:lnTo>
                  <a:lnTo>
                    <a:pt x="529" y="226"/>
                  </a:lnTo>
                  <a:lnTo>
                    <a:pt x="524" y="223"/>
                  </a:lnTo>
                  <a:lnTo>
                    <a:pt x="524" y="223"/>
                  </a:lnTo>
                  <a:lnTo>
                    <a:pt x="524" y="219"/>
                  </a:lnTo>
                  <a:lnTo>
                    <a:pt x="525" y="217"/>
                  </a:lnTo>
                  <a:lnTo>
                    <a:pt x="529" y="215"/>
                  </a:lnTo>
                  <a:lnTo>
                    <a:pt x="531" y="211"/>
                  </a:lnTo>
                  <a:lnTo>
                    <a:pt x="531" y="211"/>
                  </a:lnTo>
                  <a:lnTo>
                    <a:pt x="529" y="208"/>
                  </a:lnTo>
                  <a:lnTo>
                    <a:pt x="525" y="206"/>
                  </a:lnTo>
                  <a:lnTo>
                    <a:pt x="522" y="204"/>
                  </a:lnTo>
                  <a:lnTo>
                    <a:pt x="520" y="204"/>
                  </a:lnTo>
                  <a:lnTo>
                    <a:pt x="520" y="204"/>
                  </a:lnTo>
                  <a:lnTo>
                    <a:pt x="516" y="208"/>
                  </a:lnTo>
                  <a:lnTo>
                    <a:pt x="514" y="213"/>
                  </a:lnTo>
                  <a:lnTo>
                    <a:pt x="512" y="219"/>
                  </a:lnTo>
                  <a:lnTo>
                    <a:pt x="511" y="221"/>
                  </a:lnTo>
                  <a:lnTo>
                    <a:pt x="509" y="221"/>
                  </a:lnTo>
                  <a:lnTo>
                    <a:pt x="509" y="221"/>
                  </a:lnTo>
                  <a:lnTo>
                    <a:pt x="499" y="223"/>
                  </a:lnTo>
                  <a:lnTo>
                    <a:pt x="499" y="223"/>
                  </a:lnTo>
                  <a:lnTo>
                    <a:pt x="499" y="225"/>
                  </a:lnTo>
                  <a:lnTo>
                    <a:pt x="507" y="234"/>
                  </a:lnTo>
                  <a:lnTo>
                    <a:pt x="507" y="234"/>
                  </a:lnTo>
                  <a:lnTo>
                    <a:pt x="511" y="236"/>
                  </a:lnTo>
                  <a:lnTo>
                    <a:pt x="512" y="236"/>
                  </a:lnTo>
                  <a:lnTo>
                    <a:pt x="514" y="232"/>
                  </a:lnTo>
                  <a:lnTo>
                    <a:pt x="514" y="232"/>
                  </a:lnTo>
                  <a:close/>
                  <a:moveTo>
                    <a:pt x="512" y="269"/>
                  </a:moveTo>
                  <a:lnTo>
                    <a:pt x="512" y="269"/>
                  </a:lnTo>
                  <a:lnTo>
                    <a:pt x="520" y="269"/>
                  </a:lnTo>
                  <a:lnTo>
                    <a:pt x="522" y="269"/>
                  </a:lnTo>
                  <a:lnTo>
                    <a:pt x="524" y="266"/>
                  </a:lnTo>
                  <a:lnTo>
                    <a:pt x="524" y="264"/>
                  </a:lnTo>
                  <a:lnTo>
                    <a:pt x="520" y="258"/>
                  </a:lnTo>
                  <a:lnTo>
                    <a:pt x="516" y="256"/>
                  </a:lnTo>
                  <a:lnTo>
                    <a:pt x="514" y="256"/>
                  </a:lnTo>
                  <a:lnTo>
                    <a:pt x="514" y="256"/>
                  </a:lnTo>
                  <a:lnTo>
                    <a:pt x="514" y="260"/>
                  </a:lnTo>
                  <a:lnTo>
                    <a:pt x="514" y="264"/>
                  </a:lnTo>
                  <a:lnTo>
                    <a:pt x="514" y="264"/>
                  </a:lnTo>
                  <a:lnTo>
                    <a:pt x="512" y="269"/>
                  </a:lnTo>
                  <a:lnTo>
                    <a:pt x="512" y="269"/>
                  </a:lnTo>
                  <a:close/>
                  <a:moveTo>
                    <a:pt x="497" y="297"/>
                  </a:moveTo>
                  <a:lnTo>
                    <a:pt x="497" y="297"/>
                  </a:lnTo>
                  <a:lnTo>
                    <a:pt x="496" y="299"/>
                  </a:lnTo>
                  <a:lnTo>
                    <a:pt x="496" y="303"/>
                  </a:lnTo>
                  <a:lnTo>
                    <a:pt x="499" y="309"/>
                  </a:lnTo>
                  <a:lnTo>
                    <a:pt x="505" y="310"/>
                  </a:lnTo>
                  <a:lnTo>
                    <a:pt x="507" y="310"/>
                  </a:lnTo>
                  <a:lnTo>
                    <a:pt x="507" y="307"/>
                  </a:lnTo>
                  <a:lnTo>
                    <a:pt x="507" y="307"/>
                  </a:lnTo>
                  <a:lnTo>
                    <a:pt x="503" y="299"/>
                  </a:lnTo>
                  <a:lnTo>
                    <a:pt x="501" y="297"/>
                  </a:lnTo>
                  <a:lnTo>
                    <a:pt x="497" y="297"/>
                  </a:lnTo>
                  <a:lnTo>
                    <a:pt x="497" y="297"/>
                  </a:lnTo>
                  <a:close/>
                  <a:moveTo>
                    <a:pt x="475" y="324"/>
                  </a:moveTo>
                  <a:lnTo>
                    <a:pt x="475" y="324"/>
                  </a:lnTo>
                  <a:lnTo>
                    <a:pt x="484" y="327"/>
                  </a:lnTo>
                  <a:lnTo>
                    <a:pt x="490" y="329"/>
                  </a:lnTo>
                  <a:lnTo>
                    <a:pt x="494" y="327"/>
                  </a:lnTo>
                  <a:lnTo>
                    <a:pt x="496" y="325"/>
                  </a:lnTo>
                  <a:lnTo>
                    <a:pt x="496" y="322"/>
                  </a:lnTo>
                  <a:lnTo>
                    <a:pt x="494" y="318"/>
                  </a:lnTo>
                  <a:lnTo>
                    <a:pt x="490" y="316"/>
                  </a:lnTo>
                  <a:lnTo>
                    <a:pt x="486" y="316"/>
                  </a:lnTo>
                  <a:lnTo>
                    <a:pt x="486" y="316"/>
                  </a:lnTo>
                  <a:lnTo>
                    <a:pt x="484" y="316"/>
                  </a:lnTo>
                  <a:lnTo>
                    <a:pt x="484" y="316"/>
                  </a:lnTo>
                  <a:lnTo>
                    <a:pt x="479" y="320"/>
                  </a:lnTo>
                  <a:lnTo>
                    <a:pt x="475" y="324"/>
                  </a:lnTo>
                  <a:lnTo>
                    <a:pt x="475" y="324"/>
                  </a:lnTo>
                  <a:close/>
                  <a:moveTo>
                    <a:pt x="479" y="372"/>
                  </a:moveTo>
                  <a:lnTo>
                    <a:pt x="479" y="372"/>
                  </a:lnTo>
                  <a:lnTo>
                    <a:pt x="475" y="374"/>
                  </a:lnTo>
                  <a:lnTo>
                    <a:pt x="477" y="378"/>
                  </a:lnTo>
                  <a:lnTo>
                    <a:pt x="477" y="380"/>
                  </a:lnTo>
                  <a:lnTo>
                    <a:pt x="481" y="381"/>
                  </a:lnTo>
                  <a:lnTo>
                    <a:pt x="486" y="381"/>
                  </a:lnTo>
                  <a:lnTo>
                    <a:pt x="488" y="381"/>
                  </a:lnTo>
                  <a:lnTo>
                    <a:pt x="488" y="378"/>
                  </a:lnTo>
                  <a:lnTo>
                    <a:pt x="488" y="378"/>
                  </a:lnTo>
                  <a:lnTo>
                    <a:pt x="486" y="374"/>
                  </a:lnTo>
                  <a:lnTo>
                    <a:pt x="484" y="372"/>
                  </a:lnTo>
                  <a:lnTo>
                    <a:pt x="479" y="372"/>
                  </a:lnTo>
                  <a:lnTo>
                    <a:pt x="479" y="372"/>
                  </a:lnTo>
                  <a:close/>
                  <a:moveTo>
                    <a:pt x="492" y="400"/>
                  </a:moveTo>
                  <a:lnTo>
                    <a:pt x="492" y="400"/>
                  </a:lnTo>
                  <a:lnTo>
                    <a:pt x="494" y="411"/>
                  </a:lnTo>
                  <a:lnTo>
                    <a:pt x="499" y="424"/>
                  </a:lnTo>
                  <a:lnTo>
                    <a:pt x="501" y="428"/>
                  </a:lnTo>
                  <a:lnTo>
                    <a:pt x="505" y="428"/>
                  </a:lnTo>
                  <a:lnTo>
                    <a:pt x="507" y="426"/>
                  </a:lnTo>
                  <a:lnTo>
                    <a:pt x="509" y="417"/>
                  </a:lnTo>
                  <a:lnTo>
                    <a:pt x="509" y="417"/>
                  </a:lnTo>
                  <a:lnTo>
                    <a:pt x="509" y="410"/>
                  </a:lnTo>
                  <a:lnTo>
                    <a:pt x="507" y="406"/>
                  </a:lnTo>
                  <a:lnTo>
                    <a:pt x="505" y="400"/>
                  </a:lnTo>
                  <a:lnTo>
                    <a:pt x="499" y="398"/>
                  </a:lnTo>
                  <a:lnTo>
                    <a:pt x="492" y="400"/>
                  </a:lnTo>
                  <a:lnTo>
                    <a:pt x="492" y="400"/>
                  </a:lnTo>
                  <a:close/>
                  <a:moveTo>
                    <a:pt x="462" y="438"/>
                  </a:moveTo>
                  <a:lnTo>
                    <a:pt x="462" y="438"/>
                  </a:lnTo>
                  <a:lnTo>
                    <a:pt x="462" y="443"/>
                  </a:lnTo>
                  <a:lnTo>
                    <a:pt x="462" y="447"/>
                  </a:lnTo>
                  <a:lnTo>
                    <a:pt x="466" y="449"/>
                  </a:lnTo>
                  <a:lnTo>
                    <a:pt x="468" y="449"/>
                  </a:lnTo>
                  <a:lnTo>
                    <a:pt x="471" y="447"/>
                  </a:lnTo>
                  <a:lnTo>
                    <a:pt x="473" y="445"/>
                  </a:lnTo>
                  <a:lnTo>
                    <a:pt x="473" y="441"/>
                  </a:lnTo>
                  <a:lnTo>
                    <a:pt x="469" y="438"/>
                  </a:lnTo>
                  <a:lnTo>
                    <a:pt x="469" y="438"/>
                  </a:lnTo>
                  <a:lnTo>
                    <a:pt x="466" y="438"/>
                  </a:lnTo>
                  <a:lnTo>
                    <a:pt x="462" y="438"/>
                  </a:lnTo>
                  <a:lnTo>
                    <a:pt x="462" y="438"/>
                  </a:lnTo>
                  <a:close/>
                  <a:moveTo>
                    <a:pt x="404" y="490"/>
                  </a:moveTo>
                  <a:lnTo>
                    <a:pt x="404" y="490"/>
                  </a:lnTo>
                  <a:lnTo>
                    <a:pt x="406" y="492"/>
                  </a:lnTo>
                  <a:lnTo>
                    <a:pt x="411" y="494"/>
                  </a:lnTo>
                  <a:lnTo>
                    <a:pt x="415" y="495"/>
                  </a:lnTo>
                  <a:lnTo>
                    <a:pt x="421" y="495"/>
                  </a:lnTo>
                  <a:lnTo>
                    <a:pt x="425" y="494"/>
                  </a:lnTo>
                  <a:lnTo>
                    <a:pt x="428" y="490"/>
                  </a:lnTo>
                  <a:lnTo>
                    <a:pt x="426" y="484"/>
                  </a:lnTo>
                  <a:lnTo>
                    <a:pt x="423" y="475"/>
                  </a:lnTo>
                  <a:lnTo>
                    <a:pt x="423" y="475"/>
                  </a:lnTo>
                  <a:lnTo>
                    <a:pt x="419" y="477"/>
                  </a:lnTo>
                  <a:lnTo>
                    <a:pt x="404" y="490"/>
                  </a:lnTo>
                  <a:lnTo>
                    <a:pt x="404" y="490"/>
                  </a:lnTo>
                  <a:close/>
                  <a:moveTo>
                    <a:pt x="400" y="514"/>
                  </a:moveTo>
                  <a:lnTo>
                    <a:pt x="400" y="514"/>
                  </a:lnTo>
                  <a:lnTo>
                    <a:pt x="404" y="509"/>
                  </a:lnTo>
                  <a:lnTo>
                    <a:pt x="404" y="505"/>
                  </a:lnTo>
                  <a:lnTo>
                    <a:pt x="400" y="501"/>
                  </a:lnTo>
                  <a:lnTo>
                    <a:pt x="395" y="501"/>
                  </a:lnTo>
                  <a:lnTo>
                    <a:pt x="395" y="501"/>
                  </a:lnTo>
                  <a:lnTo>
                    <a:pt x="395" y="505"/>
                  </a:lnTo>
                  <a:lnTo>
                    <a:pt x="397" y="509"/>
                  </a:lnTo>
                  <a:lnTo>
                    <a:pt x="400" y="514"/>
                  </a:lnTo>
                  <a:lnTo>
                    <a:pt x="400" y="514"/>
                  </a:lnTo>
                  <a:close/>
                  <a:moveTo>
                    <a:pt x="419" y="505"/>
                  </a:moveTo>
                  <a:lnTo>
                    <a:pt x="419" y="505"/>
                  </a:lnTo>
                  <a:lnTo>
                    <a:pt x="417" y="507"/>
                  </a:lnTo>
                  <a:lnTo>
                    <a:pt x="415" y="507"/>
                  </a:lnTo>
                  <a:lnTo>
                    <a:pt x="413" y="509"/>
                  </a:lnTo>
                  <a:lnTo>
                    <a:pt x="410" y="510"/>
                  </a:lnTo>
                  <a:lnTo>
                    <a:pt x="410" y="510"/>
                  </a:lnTo>
                  <a:lnTo>
                    <a:pt x="406" y="510"/>
                  </a:lnTo>
                  <a:lnTo>
                    <a:pt x="406" y="514"/>
                  </a:lnTo>
                  <a:lnTo>
                    <a:pt x="408" y="516"/>
                  </a:lnTo>
                  <a:lnTo>
                    <a:pt x="411" y="520"/>
                  </a:lnTo>
                  <a:lnTo>
                    <a:pt x="417" y="522"/>
                  </a:lnTo>
                  <a:lnTo>
                    <a:pt x="421" y="522"/>
                  </a:lnTo>
                  <a:lnTo>
                    <a:pt x="425" y="518"/>
                  </a:lnTo>
                  <a:lnTo>
                    <a:pt x="425" y="510"/>
                  </a:lnTo>
                  <a:lnTo>
                    <a:pt x="425" y="510"/>
                  </a:lnTo>
                  <a:lnTo>
                    <a:pt x="423" y="505"/>
                  </a:lnTo>
                  <a:lnTo>
                    <a:pt x="421" y="503"/>
                  </a:lnTo>
                  <a:lnTo>
                    <a:pt x="419" y="505"/>
                  </a:lnTo>
                  <a:lnTo>
                    <a:pt x="419" y="505"/>
                  </a:lnTo>
                  <a:close/>
                  <a:moveTo>
                    <a:pt x="269" y="56"/>
                  </a:moveTo>
                  <a:lnTo>
                    <a:pt x="269" y="56"/>
                  </a:lnTo>
                  <a:close/>
                  <a:moveTo>
                    <a:pt x="266" y="6"/>
                  </a:moveTo>
                  <a:lnTo>
                    <a:pt x="266" y="6"/>
                  </a:lnTo>
                  <a:lnTo>
                    <a:pt x="258" y="2"/>
                  </a:lnTo>
                  <a:lnTo>
                    <a:pt x="249" y="0"/>
                  </a:lnTo>
                  <a:lnTo>
                    <a:pt x="238" y="2"/>
                  </a:lnTo>
                  <a:lnTo>
                    <a:pt x="228" y="6"/>
                  </a:lnTo>
                  <a:lnTo>
                    <a:pt x="219" y="13"/>
                  </a:lnTo>
                  <a:lnTo>
                    <a:pt x="212" y="23"/>
                  </a:lnTo>
                  <a:lnTo>
                    <a:pt x="206" y="34"/>
                  </a:lnTo>
                  <a:lnTo>
                    <a:pt x="204" y="49"/>
                  </a:lnTo>
                  <a:lnTo>
                    <a:pt x="204" y="49"/>
                  </a:lnTo>
                  <a:lnTo>
                    <a:pt x="195" y="49"/>
                  </a:lnTo>
                  <a:lnTo>
                    <a:pt x="185" y="51"/>
                  </a:lnTo>
                  <a:lnTo>
                    <a:pt x="180" y="53"/>
                  </a:lnTo>
                  <a:lnTo>
                    <a:pt x="174" y="56"/>
                  </a:lnTo>
                  <a:lnTo>
                    <a:pt x="174" y="62"/>
                  </a:lnTo>
                  <a:lnTo>
                    <a:pt x="174" y="68"/>
                  </a:lnTo>
                  <a:lnTo>
                    <a:pt x="174" y="73"/>
                  </a:lnTo>
                  <a:lnTo>
                    <a:pt x="170" y="81"/>
                  </a:lnTo>
                  <a:lnTo>
                    <a:pt x="170" y="86"/>
                  </a:lnTo>
                  <a:lnTo>
                    <a:pt x="167" y="94"/>
                  </a:lnTo>
                  <a:lnTo>
                    <a:pt x="167" y="97"/>
                  </a:lnTo>
                  <a:lnTo>
                    <a:pt x="165" y="105"/>
                  </a:lnTo>
                  <a:lnTo>
                    <a:pt x="163" y="109"/>
                  </a:lnTo>
                  <a:lnTo>
                    <a:pt x="161" y="114"/>
                  </a:lnTo>
                  <a:lnTo>
                    <a:pt x="159" y="122"/>
                  </a:lnTo>
                  <a:lnTo>
                    <a:pt x="155" y="125"/>
                  </a:lnTo>
                  <a:lnTo>
                    <a:pt x="148" y="127"/>
                  </a:lnTo>
                  <a:lnTo>
                    <a:pt x="142" y="131"/>
                  </a:lnTo>
                  <a:lnTo>
                    <a:pt x="137" y="135"/>
                  </a:lnTo>
                  <a:lnTo>
                    <a:pt x="131" y="139"/>
                  </a:lnTo>
                  <a:lnTo>
                    <a:pt x="139" y="144"/>
                  </a:lnTo>
                  <a:lnTo>
                    <a:pt x="140" y="146"/>
                  </a:lnTo>
                  <a:lnTo>
                    <a:pt x="146" y="154"/>
                  </a:lnTo>
                  <a:lnTo>
                    <a:pt x="150" y="159"/>
                  </a:lnTo>
                  <a:lnTo>
                    <a:pt x="152" y="163"/>
                  </a:lnTo>
                  <a:lnTo>
                    <a:pt x="148" y="170"/>
                  </a:lnTo>
                  <a:lnTo>
                    <a:pt x="144" y="176"/>
                  </a:lnTo>
                  <a:lnTo>
                    <a:pt x="140" y="180"/>
                  </a:lnTo>
                  <a:lnTo>
                    <a:pt x="133" y="183"/>
                  </a:lnTo>
                  <a:lnTo>
                    <a:pt x="126" y="183"/>
                  </a:lnTo>
                  <a:lnTo>
                    <a:pt x="120" y="182"/>
                  </a:lnTo>
                  <a:lnTo>
                    <a:pt x="112" y="178"/>
                  </a:lnTo>
                  <a:lnTo>
                    <a:pt x="107" y="176"/>
                  </a:lnTo>
                  <a:lnTo>
                    <a:pt x="101" y="178"/>
                  </a:lnTo>
                  <a:lnTo>
                    <a:pt x="96" y="183"/>
                  </a:lnTo>
                  <a:lnTo>
                    <a:pt x="92" y="189"/>
                  </a:lnTo>
                  <a:lnTo>
                    <a:pt x="90" y="195"/>
                  </a:lnTo>
                  <a:lnTo>
                    <a:pt x="90" y="204"/>
                  </a:lnTo>
                  <a:lnTo>
                    <a:pt x="90" y="206"/>
                  </a:lnTo>
                  <a:lnTo>
                    <a:pt x="94" y="213"/>
                  </a:lnTo>
                  <a:lnTo>
                    <a:pt x="96" y="219"/>
                  </a:lnTo>
                  <a:lnTo>
                    <a:pt x="99" y="223"/>
                  </a:lnTo>
                  <a:lnTo>
                    <a:pt x="99" y="226"/>
                  </a:lnTo>
                  <a:lnTo>
                    <a:pt x="99" y="232"/>
                  </a:lnTo>
                  <a:lnTo>
                    <a:pt x="99" y="238"/>
                  </a:lnTo>
                  <a:lnTo>
                    <a:pt x="96" y="241"/>
                  </a:lnTo>
                  <a:lnTo>
                    <a:pt x="92" y="245"/>
                  </a:lnTo>
                  <a:lnTo>
                    <a:pt x="90" y="249"/>
                  </a:lnTo>
                  <a:lnTo>
                    <a:pt x="88" y="254"/>
                  </a:lnTo>
                  <a:lnTo>
                    <a:pt x="86" y="258"/>
                  </a:lnTo>
                  <a:lnTo>
                    <a:pt x="84" y="260"/>
                  </a:lnTo>
                  <a:lnTo>
                    <a:pt x="83" y="262"/>
                  </a:lnTo>
                  <a:lnTo>
                    <a:pt x="81" y="266"/>
                  </a:lnTo>
                  <a:lnTo>
                    <a:pt x="79" y="269"/>
                  </a:lnTo>
                  <a:lnTo>
                    <a:pt x="75" y="275"/>
                  </a:lnTo>
                  <a:lnTo>
                    <a:pt x="71" y="279"/>
                  </a:lnTo>
                  <a:lnTo>
                    <a:pt x="69" y="284"/>
                  </a:lnTo>
                  <a:lnTo>
                    <a:pt x="64" y="288"/>
                  </a:lnTo>
                  <a:lnTo>
                    <a:pt x="60" y="294"/>
                  </a:lnTo>
                  <a:lnTo>
                    <a:pt x="56" y="297"/>
                  </a:lnTo>
                  <a:lnTo>
                    <a:pt x="51" y="303"/>
                  </a:lnTo>
                  <a:lnTo>
                    <a:pt x="47" y="307"/>
                  </a:lnTo>
                  <a:lnTo>
                    <a:pt x="40" y="310"/>
                  </a:lnTo>
                  <a:lnTo>
                    <a:pt x="36" y="312"/>
                  </a:lnTo>
                  <a:lnTo>
                    <a:pt x="30" y="316"/>
                  </a:lnTo>
                  <a:lnTo>
                    <a:pt x="26" y="318"/>
                  </a:lnTo>
                  <a:lnTo>
                    <a:pt x="21" y="320"/>
                  </a:lnTo>
                  <a:lnTo>
                    <a:pt x="17" y="320"/>
                  </a:lnTo>
                  <a:lnTo>
                    <a:pt x="17" y="320"/>
                  </a:lnTo>
                  <a:lnTo>
                    <a:pt x="17" y="325"/>
                  </a:lnTo>
                  <a:lnTo>
                    <a:pt x="15" y="329"/>
                  </a:lnTo>
                  <a:lnTo>
                    <a:pt x="10" y="339"/>
                  </a:lnTo>
                  <a:lnTo>
                    <a:pt x="2" y="348"/>
                  </a:lnTo>
                  <a:lnTo>
                    <a:pt x="2" y="348"/>
                  </a:lnTo>
                  <a:lnTo>
                    <a:pt x="0" y="353"/>
                  </a:lnTo>
                  <a:lnTo>
                    <a:pt x="0" y="359"/>
                  </a:lnTo>
                  <a:lnTo>
                    <a:pt x="2" y="363"/>
                  </a:lnTo>
                  <a:lnTo>
                    <a:pt x="6" y="368"/>
                  </a:lnTo>
                  <a:lnTo>
                    <a:pt x="15" y="380"/>
                  </a:lnTo>
                  <a:lnTo>
                    <a:pt x="26" y="391"/>
                  </a:lnTo>
                  <a:lnTo>
                    <a:pt x="38" y="404"/>
                  </a:lnTo>
                  <a:lnTo>
                    <a:pt x="49" y="417"/>
                  </a:lnTo>
                  <a:lnTo>
                    <a:pt x="58" y="434"/>
                  </a:lnTo>
                  <a:lnTo>
                    <a:pt x="60" y="443"/>
                  </a:lnTo>
                  <a:lnTo>
                    <a:pt x="62" y="454"/>
                  </a:lnTo>
                  <a:lnTo>
                    <a:pt x="62" y="454"/>
                  </a:lnTo>
                  <a:lnTo>
                    <a:pt x="66" y="471"/>
                  </a:lnTo>
                  <a:lnTo>
                    <a:pt x="68" y="475"/>
                  </a:lnTo>
                  <a:lnTo>
                    <a:pt x="71" y="479"/>
                  </a:lnTo>
                  <a:lnTo>
                    <a:pt x="71" y="479"/>
                  </a:lnTo>
                  <a:lnTo>
                    <a:pt x="77" y="482"/>
                  </a:lnTo>
                  <a:lnTo>
                    <a:pt x="83" y="481"/>
                  </a:lnTo>
                  <a:lnTo>
                    <a:pt x="94" y="479"/>
                  </a:lnTo>
                  <a:lnTo>
                    <a:pt x="99" y="479"/>
                  </a:lnTo>
                  <a:lnTo>
                    <a:pt x="103" y="484"/>
                  </a:lnTo>
                  <a:lnTo>
                    <a:pt x="107" y="495"/>
                  </a:lnTo>
                  <a:lnTo>
                    <a:pt x="109" y="514"/>
                  </a:lnTo>
                  <a:lnTo>
                    <a:pt x="109" y="514"/>
                  </a:lnTo>
                  <a:lnTo>
                    <a:pt x="109" y="523"/>
                  </a:lnTo>
                  <a:lnTo>
                    <a:pt x="112" y="531"/>
                  </a:lnTo>
                  <a:lnTo>
                    <a:pt x="120" y="548"/>
                  </a:lnTo>
                  <a:lnTo>
                    <a:pt x="127" y="566"/>
                  </a:lnTo>
                  <a:lnTo>
                    <a:pt x="129" y="576"/>
                  </a:lnTo>
                  <a:lnTo>
                    <a:pt x="131" y="585"/>
                  </a:lnTo>
                  <a:lnTo>
                    <a:pt x="131" y="585"/>
                  </a:lnTo>
                  <a:lnTo>
                    <a:pt x="131" y="591"/>
                  </a:lnTo>
                  <a:lnTo>
                    <a:pt x="135" y="593"/>
                  </a:lnTo>
                  <a:lnTo>
                    <a:pt x="139" y="594"/>
                  </a:lnTo>
                  <a:lnTo>
                    <a:pt x="142" y="593"/>
                  </a:lnTo>
                  <a:lnTo>
                    <a:pt x="154" y="591"/>
                  </a:lnTo>
                  <a:lnTo>
                    <a:pt x="159" y="591"/>
                  </a:lnTo>
                  <a:lnTo>
                    <a:pt x="165" y="593"/>
                  </a:lnTo>
                  <a:lnTo>
                    <a:pt x="165" y="593"/>
                  </a:lnTo>
                  <a:lnTo>
                    <a:pt x="169" y="594"/>
                  </a:lnTo>
                  <a:lnTo>
                    <a:pt x="172" y="594"/>
                  </a:lnTo>
                  <a:lnTo>
                    <a:pt x="178" y="594"/>
                  </a:lnTo>
                  <a:lnTo>
                    <a:pt x="182" y="593"/>
                  </a:lnTo>
                  <a:lnTo>
                    <a:pt x="189" y="585"/>
                  </a:lnTo>
                  <a:lnTo>
                    <a:pt x="198" y="576"/>
                  </a:lnTo>
                  <a:lnTo>
                    <a:pt x="206" y="566"/>
                  </a:lnTo>
                  <a:lnTo>
                    <a:pt x="213" y="561"/>
                  </a:lnTo>
                  <a:lnTo>
                    <a:pt x="217" y="559"/>
                  </a:lnTo>
                  <a:lnTo>
                    <a:pt x="221" y="559"/>
                  </a:lnTo>
                  <a:lnTo>
                    <a:pt x="223" y="559"/>
                  </a:lnTo>
                  <a:lnTo>
                    <a:pt x="226" y="563"/>
                  </a:lnTo>
                  <a:lnTo>
                    <a:pt x="226" y="563"/>
                  </a:lnTo>
                  <a:lnTo>
                    <a:pt x="241" y="587"/>
                  </a:lnTo>
                  <a:lnTo>
                    <a:pt x="245" y="594"/>
                  </a:lnTo>
                  <a:lnTo>
                    <a:pt x="249" y="600"/>
                  </a:lnTo>
                  <a:lnTo>
                    <a:pt x="254" y="600"/>
                  </a:lnTo>
                  <a:lnTo>
                    <a:pt x="262" y="600"/>
                  </a:lnTo>
                  <a:lnTo>
                    <a:pt x="292" y="589"/>
                  </a:lnTo>
                  <a:lnTo>
                    <a:pt x="292" y="589"/>
                  </a:lnTo>
                  <a:lnTo>
                    <a:pt x="299" y="587"/>
                  </a:lnTo>
                  <a:lnTo>
                    <a:pt x="305" y="587"/>
                  </a:lnTo>
                  <a:lnTo>
                    <a:pt x="312" y="589"/>
                  </a:lnTo>
                  <a:lnTo>
                    <a:pt x="318" y="591"/>
                  </a:lnTo>
                  <a:lnTo>
                    <a:pt x="327" y="600"/>
                  </a:lnTo>
                  <a:lnTo>
                    <a:pt x="337" y="611"/>
                  </a:lnTo>
                  <a:lnTo>
                    <a:pt x="337" y="611"/>
                  </a:lnTo>
                  <a:lnTo>
                    <a:pt x="340" y="609"/>
                  </a:lnTo>
                  <a:lnTo>
                    <a:pt x="344" y="606"/>
                  </a:lnTo>
                  <a:lnTo>
                    <a:pt x="350" y="600"/>
                  </a:lnTo>
                  <a:lnTo>
                    <a:pt x="352" y="591"/>
                  </a:lnTo>
                  <a:lnTo>
                    <a:pt x="352" y="581"/>
                  </a:lnTo>
                  <a:lnTo>
                    <a:pt x="350" y="563"/>
                  </a:lnTo>
                  <a:lnTo>
                    <a:pt x="348" y="552"/>
                  </a:lnTo>
                  <a:lnTo>
                    <a:pt x="348" y="552"/>
                  </a:lnTo>
                  <a:lnTo>
                    <a:pt x="357" y="537"/>
                  </a:lnTo>
                  <a:lnTo>
                    <a:pt x="365" y="523"/>
                  </a:lnTo>
                  <a:lnTo>
                    <a:pt x="368" y="516"/>
                  </a:lnTo>
                  <a:lnTo>
                    <a:pt x="367" y="510"/>
                  </a:lnTo>
                  <a:lnTo>
                    <a:pt x="363" y="505"/>
                  </a:lnTo>
                  <a:lnTo>
                    <a:pt x="354" y="499"/>
                  </a:lnTo>
                  <a:lnTo>
                    <a:pt x="354" y="499"/>
                  </a:lnTo>
                  <a:lnTo>
                    <a:pt x="340" y="494"/>
                  </a:lnTo>
                  <a:lnTo>
                    <a:pt x="337" y="490"/>
                  </a:lnTo>
                  <a:lnTo>
                    <a:pt x="340" y="488"/>
                  </a:lnTo>
                  <a:lnTo>
                    <a:pt x="350" y="490"/>
                  </a:lnTo>
                  <a:lnTo>
                    <a:pt x="363" y="490"/>
                  </a:lnTo>
                  <a:lnTo>
                    <a:pt x="376" y="490"/>
                  </a:lnTo>
                  <a:lnTo>
                    <a:pt x="385" y="488"/>
                  </a:lnTo>
                  <a:lnTo>
                    <a:pt x="389" y="486"/>
                  </a:lnTo>
                  <a:lnTo>
                    <a:pt x="391" y="482"/>
                  </a:lnTo>
                  <a:lnTo>
                    <a:pt x="391" y="482"/>
                  </a:lnTo>
                  <a:lnTo>
                    <a:pt x="395" y="475"/>
                  </a:lnTo>
                  <a:lnTo>
                    <a:pt x="397" y="471"/>
                  </a:lnTo>
                  <a:lnTo>
                    <a:pt x="400" y="466"/>
                  </a:lnTo>
                  <a:lnTo>
                    <a:pt x="402" y="462"/>
                  </a:lnTo>
                  <a:lnTo>
                    <a:pt x="402" y="460"/>
                  </a:lnTo>
                  <a:lnTo>
                    <a:pt x="397" y="449"/>
                  </a:lnTo>
                  <a:lnTo>
                    <a:pt x="397" y="449"/>
                  </a:lnTo>
                  <a:lnTo>
                    <a:pt x="395" y="445"/>
                  </a:lnTo>
                  <a:lnTo>
                    <a:pt x="395" y="441"/>
                  </a:lnTo>
                  <a:lnTo>
                    <a:pt x="398" y="438"/>
                  </a:lnTo>
                  <a:lnTo>
                    <a:pt x="402" y="438"/>
                  </a:lnTo>
                  <a:lnTo>
                    <a:pt x="408" y="438"/>
                  </a:lnTo>
                  <a:lnTo>
                    <a:pt x="413" y="441"/>
                  </a:lnTo>
                  <a:lnTo>
                    <a:pt x="419" y="445"/>
                  </a:lnTo>
                  <a:lnTo>
                    <a:pt x="425" y="452"/>
                  </a:lnTo>
                  <a:lnTo>
                    <a:pt x="425" y="452"/>
                  </a:lnTo>
                  <a:lnTo>
                    <a:pt x="430" y="458"/>
                  </a:lnTo>
                  <a:lnTo>
                    <a:pt x="432" y="458"/>
                  </a:lnTo>
                  <a:lnTo>
                    <a:pt x="436" y="454"/>
                  </a:lnTo>
                  <a:lnTo>
                    <a:pt x="440" y="449"/>
                  </a:lnTo>
                  <a:lnTo>
                    <a:pt x="443" y="443"/>
                  </a:lnTo>
                  <a:lnTo>
                    <a:pt x="449" y="438"/>
                  </a:lnTo>
                  <a:lnTo>
                    <a:pt x="454" y="432"/>
                  </a:lnTo>
                  <a:lnTo>
                    <a:pt x="462" y="430"/>
                  </a:lnTo>
                  <a:lnTo>
                    <a:pt x="462" y="430"/>
                  </a:lnTo>
                  <a:lnTo>
                    <a:pt x="468" y="432"/>
                  </a:lnTo>
                  <a:lnTo>
                    <a:pt x="469" y="432"/>
                  </a:lnTo>
                  <a:lnTo>
                    <a:pt x="471" y="430"/>
                  </a:lnTo>
                  <a:lnTo>
                    <a:pt x="471" y="428"/>
                  </a:lnTo>
                  <a:lnTo>
                    <a:pt x="469" y="423"/>
                  </a:lnTo>
                  <a:lnTo>
                    <a:pt x="456" y="404"/>
                  </a:lnTo>
                  <a:lnTo>
                    <a:pt x="456" y="404"/>
                  </a:lnTo>
                  <a:lnTo>
                    <a:pt x="447" y="393"/>
                  </a:lnTo>
                  <a:lnTo>
                    <a:pt x="438" y="387"/>
                  </a:lnTo>
                  <a:lnTo>
                    <a:pt x="425" y="381"/>
                  </a:lnTo>
                  <a:lnTo>
                    <a:pt x="425" y="380"/>
                  </a:lnTo>
                  <a:lnTo>
                    <a:pt x="426" y="380"/>
                  </a:lnTo>
                  <a:lnTo>
                    <a:pt x="453" y="376"/>
                  </a:lnTo>
                  <a:lnTo>
                    <a:pt x="453" y="376"/>
                  </a:lnTo>
                  <a:lnTo>
                    <a:pt x="458" y="374"/>
                  </a:lnTo>
                  <a:lnTo>
                    <a:pt x="462" y="372"/>
                  </a:lnTo>
                  <a:lnTo>
                    <a:pt x="464" y="368"/>
                  </a:lnTo>
                  <a:lnTo>
                    <a:pt x="466" y="365"/>
                  </a:lnTo>
                  <a:lnTo>
                    <a:pt x="466" y="361"/>
                  </a:lnTo>
                  <a:lnTo>
                    <a:pt x="464" y="359"/>
                  </a:lnTo>
                  <a:lnTo>
                    <a:pt x="460" y="355"/>
                  </a:lnTo>
                  <a:lnTo>
                    <a:pt x="456" y="353"/>
                  </a:lnTo>
                  <a:lnTo>
                    <a:pt x="456" y="353"/>
                  </a:lnTo>
                  <a:lnTo>
                    <a:pt x="445" y="350"/>
                  </a:lnTo>
                  <a:lnTo>
                    <a:pt x="443" y="350"/>
                  </a:lnTo>
                  <a:lnTo>
                    <a:pt x="445" y="350"/>
                  </a:lnTo>
                  <a:lnTo>
                    <a:pt x="458" y="348"/>
                  </a:lnTo>
                  <a:lnTo>
                    <a:pt x="466" y="346"/>
                  </a:lnTo>
                  <a:lnTo>
                    <a:pt x="466" y="346"/>
                  </a:lnTo>
                  <a:lnTo>
                    <a:pt x="466" y="342"/>
                  </a:lnTo>
                  <a:lnTo>
                    <a:pt x="464" y="339"/>
                  </a:lnTo>
                  <a:lnTo>
                    <a:pt x="458" y="335"/>
                  </a:lnTo>
                  <a:lnTo>
                    <a:pt x="438" y="322"/>
                  </a:lnTo>
                  <a:lnTo>
                    <a:pt x="438" y="322"/>
                  </a:lnTo>
                  <a:lnTo>
                    <a:pt x="434" y="320"/>
                  </a:lnTo>
                  <a:lnTo>
                    <a:pt x="434" y="316"/>
                  </a:lnTo>
                  <a:lnTo>
                    <a:pt x="438" y="310"/>
                  </a:lnTo>
                  <a:lnTo>
                    <a:pt x="443" y="303"/>
                  </a:lnTo>
                  <a:lnTo>
                    <a:pt x="449" y="296"/>
                  </a:lnTo>
                  <a:lnTo>
                    <a:pt x="449" y="296"/>
                  </a:lnTo>
                  <a:lnTo>
                    <a:pt x="451" y="294"/>
                  </a:lnTo>
                  <a:lnTo>
                    <a:pt x="453" y="296"/>
                  </a:lnTo>
                  <a:lnTo>
                    <a:pt x="458" y="307"/>
                  </a:lnTo>
                  <a:lnTo>
                    <a:pt x="462" y="310"/>
                  </a:lnTo>
                  <a:lnTo>
                    <a:pt x="466" y="314"/>
                  </a:lnTo>
                  <a:lnTo>
                    <a:pt x="468" y="314"/>
                  </a:lnTo>
                  <a:lnTo>
                    <a:pt x="469" y="312"/>
                  </a:lnTo>
                  <a:lnTo>
                    <a:pt x="473" y="307"/>
                  </a:lnTo>
                  <a:lnTo>
                    <a:pt x="473" y="307"/>
                  </a:lnTo>
                  <a:lnTo>
                    <a:pt x="475" y="299"/>
                  </a:lnTo>
                  <a:lnTo>
                    <a:pt x="475" y="299"/>
                  </a:lnTo>
                  <a:lnTo>
                    <a:pt x="475" y="305"/>
                  </a:lnTo>
                  <a:lnTo>
                    <a:pt x="475" y="305"/>
                  </a:lnTo>
                  <a:lnTo>
                    <a:pt x="479" y="310"/>
                  </a:lnTo>
                  <a:lnTo>
                    <a:pt x="482" y="310"/>
                  </a:lnTo>
                  <a:lnTo>
                    <a:pt x="486" y="312"/>
                  </a:lnTo>
                  <a:lnTo>
                    <a:pt x="490" y="310"/>
                  </a:lnTo>
                  <a:lnTo>
                    <a:pt x="492" y="305"/>
                  </a:lnTo>
                  <a:lnTo>
                    <a:pt x="492" y="296"/>
                  </a:lnTo>
                  <a:lnTo>
                    <a:pt x="490" y="284"/>
                  </a:lnTo>
                  <a:lnTo>
                    <a:pt x="490" y="284"/>
                  </a:lnTo>
                  <a:lnTo>
                    <a:pt x="484" y="251"/>
                  </a:lnTo>
                  <a:lnTo>
                    <a:pt x="482" y="245"/>
                  </a:lnTo>
                  <a:lnTo>
                    <a:pt x="481" y="243"/>
                  </a:lnTo>
                  <a:lnTo>
                    <a:pt x="479" y="243"/>
                  </a:lnTo>
                  <a:lnTo>
                    <a:pt x="471" y="253"/>
                  </a:lnTo>
                  <a:lnTo>
                    <a:pt x="464" y="258"/>
                  </a:lnTo>
                  <a:lnTo>
                    <a:pt x="451" y="266"/>
                  </a:lnTo>
                  <a:lnTo>
                    <a:pt x="451" y="266"/>
                  </a:lnTo>
                  <a:lnTo>
                    <a:pt x="445" y="269"/>
                  </a:lnTo>
                  <a:lnTo>
                    <a:pt x="434" y="277"/>
                  </a:lnTo>
                  <a:lnTo>
                    <a:pt x="428" y="279"/>
                  </a:lnTo>
                  <a:lnTo>
                    <a:pt x="423" y="279"/>
                  </a:lnTo>
                  <a:lnTo>
                    <a:pt x="421" y="277"/>
                  </a:lnTo>
                  <a:lnTo>
                    <a:pt x="423" y="269"/>
                  </a:lnTo>
                  <a:lnTo>
                    <a:pt x="423" y="269"/>
                  </a:lnTo>
                  <a:lnTo>
                    <a:pt x="426" y="269"/>
                  </a:lnTo>
                  <a:lnTo>
                    <a:pt x="436" y="264"/>
                  </a:lnTo>
                  <a:lnTo>
                    <a:pt x="451" y="253"/>
                  </a:lnTo>
                  <a:lnTo>
                    <a:pt x="473" y="232"/>
                  </a:lnTo>
                  <a:lnTo>
                    <a:pt x="473" y="232"/>
                  </a:lnTo>
                  <a:lnTo>
                    <a:pt x="488" y="217"/>
                  </a:lnTo>
                  <a:lnTo>
                    <a:pt x="492" y="213"/>
                  </a:lnTo>
                  <a:lnTo>
                    <a:pt x="492" y="211"/>
                  </a:lnTo>
                  <a:lnTo>
                    <a:pt x="490" y="210"/>
                  </a:lnTo>
                  <a:lnTo>
                    <a:pt x="482" y="208"/>
                  </a:lnTo>
                  <a:lnTo>
                    <a:pt x="451" y="198"/>
                  </a:lnTo>
                  <a:lnTo>
                    <a:pt x="451" y="198"/>
                  </a:lnTo>
                  <a:lnTo>
                    <a:pt x="443" y="195"/>
                  </a:lnTo>
                  <a:lnTo>
                    <a:pt x="438" y="191"/>
                  </a:lnTo>
                  <a:lnTo>
                    <a:pt x="426" y="182"/>
                  </a:lnTo>
                  <a:lnTo>
                    <a:pt x="408" y="163"/>
                  </a:lnTo>
                  <a:lnTo>
                    <a:pt x="398" y="157"/>
                  </a:lnTo>
                  <a:lnTo>
                    <a:pt x="393" y="155"/>
                  </a:lnTo>
                  <a:lnTo>
                    <a:pt x="387" y="155"/>
                  </a:lnTo>
                  <a:lnTo>
                    <a:pt x="382" y="157"/>
                  </a:lnTo>
                  <a:lnTo>
                    <a:pt x="374" y="161"/>
                  </a:lnTo>
                  <a:lnTo>
                    <a:pt x="367" y="167"/>
                  </a:lnTo>
                  <a:lnTo>
                    <a:pt x="357" y="174"/>
                  </a:lnTo>
                  <a:lnTo>
                    <a:pt x="357" y="174"/>
                  </a:lnTo>
                  <a:lnTo>
                    <a:pt x="348" y="180"/>
                  </a:lnTo>
                  <a:lnTo>
                    <a:pt x="342" y="185"/>
                  </a:lnTo>
                  <a:lnTo>
                    <a:pt x="337" y="187"/>
                  </a:lnTo>
                  <a:lnTo>
                    <a:pt x="331" y="187"/>
                  </a:lnTo>
                  <a:lnTo>
                    <a:pt x="327" y="185"/>
                  </a:lnTo>
                  <a:lnTo>
                    <a:pt x="324" y="183"/>
                  </a:lnTo>
                  <a:lnTo>
                    <a:pt x="318" y="178"/>
                  </a:lnTo>
                  <a:lnTo>
                    <a:pt x="311" y="170"/>
                  </a:lnTo>
                  <a:lnTo>
                    <a:pt x="307" y="168"/>
                  </a:lnTo>
                  <a:lnTo>
                    <a:pt x="301" y="167"/>
                  </a:lnTo>
                  <a:lnTo>
                    <a:pt x="296" y="167"/>
                  </a:lnTo>
                  <a:lnTo>
                    <a:pt x="290" y="167"/>
                  </a:lnTo>
                  <a:lnTo>
                    <a:pt x="283" y="170"/>
                  </a:lnTo>
                  <a:lnTo>
                    <a:pt x="271" y="176"/>
                  </a:lnTo>
                  <a:lnTo>
                    <a:pt x="271" y="176"/>
                  </a:lnTo>
                  <a:lnTo>
                    <a:pt x="264" y="180"/>
                  </a:lnTo>
                  <a:lnTo>
                    <a:pt x="260" y="182"/>
                  </a:lnTo>
                  <a:lnTo>
                    <a:pt x="262" y="178"/>
                  </a:lnTo>
                  <a:lnTo>
                    <a:pt x="266" y="172"/>
                  </a:lnTo>
                  <a:lnTo>
                    <a:pt x="275" y="167"/>
                  </a:lnTo>
                  <a:lnTo>
                    <a:pt x="284" y="161"/>
                  </a:lnTo>
                  <a:lnTo>
                    <a:pt x="297" y="157"/>
                  </a:lnTo>
                  <a:lnTo>
                    <a:pt x="309" y="155"/>
                  </a:lnTo>
                  <a:lnTo>
                    <a:pt x="309" y="155"/>
                  </a:lnTo>
                  <a:lnTo>
                    <a:pt x="326" y="155"/>
                  </a:lnTo>
                  <a:lnTo>
                    <a:pt x="337" y="154"/>
                  </a:lnTo>
                  <a:lnTo>
                    <a:pt x="342" y="150"/>
                  </a:lnTo>
                  <a:lnTo>
                    <a:pt x="344" y="146"/>
                  </a:lnTo>
                  <a:lnTo>
                    <a:pt x="350" y="133"/>
                  </a:lnTo>
                  <a:lnTo>
                    <a:pt x="355" y="125"/>
                  </a:lnTo>
                  <a:lnTo>
                    <a:pt x="365" y="118"/>
                  </a:lnTo>
                  <a:lnTo>
                    <a:pt x="365" y="118"/>
                  </a:lnTo>
                  <a:lnTo>
                    <a:pt x="378" y="107"/>
                  </a:lnTo>
                  <a:lnTo>
                    <a:pt x="391" y="96"/>
                  </a:lnTo>
                  <a:lnTo>
                    <a:pt x="391" y="96"/>
                  </a:lnTo>
                  <a:lnTo>
                    <a:pt x="380" y="94"/>
                  </a:lnTo>
                  <a:lnTo>
                    <a:pt x="378" y="92"/>
                  </a:lnTo>
                  <a:lnTo>
                    <a:pt x="374" y="86"/>
                  </a:lnTo>
                  <a:lnTo>
                    <a:pt x="374" y="86"/>
                  </a:lnTo>
                  <a:lnTo>
                    <a:pt x="365" y="86"/>
                  </a:lnTo>
                  <a:lnTo>
                    <a:pt x="363" y="84"/>
                  </a:lnTo>
                  <a:lnTo>
                    <a:pt x="361" y="81"/>
                  </a:lnTo>
                  <a:lnTo>
                    <a:pt x="350" y="81"/>
                  </a:lnTo>
                  <a:lnTo>
                    <a:pt x="350" y="81"/>
                  </a:lnTo>
                  <a:lnTo>
                    <a:pt x="346" y="75"/>
                  </a:lnTo>
                  <a:lnTo>
                    <a:pt x="346" y="71"/>
                  </a:lnTo>
                  <a:lnTo>
                    <a:pt x="346" y="64"/>
                  </a:lnTo>
                  <a:lnTo>
                    <a:pt x="346" y="62"/>
                  </a:lnTo>
                  <a:lnTo>
                    <a:pt x="344" y="58"/>
                  </a:lnTo>
                  <a:lnTo>
                    <a:pt x="340" y="56"/>
                  </a:lnTo>
                  <a:lnTo>
                    <a:pt x="333" y="54"/>
                  </a:lnTo>
                  <a:lnTo>
                    <a:pt x="333" y="54"/>
                  </a:lnTo>
                  <a:lnTo>
                    <a:pt x="326" y="56"/>
                  </a:lnTo>
                  <a:lnTo>
                    <a:pt x="322" y="60"/>
                  </a:lnTo>
                  <a:lnTo>
                    <a:pt x="316" y="64"/>
                  </a:lnTo>
                  <a:lnTo>
                    <a:pt x="311" y="68"/>
                  </a:lnTo>
                  <a:lnTo>
                    <a:pt x="311" y="68"/>
                  </a:lnTo>
                  <a:lnTo>
                    <a:pt x="307" y="75"/>
                  </a:lnTo>
                  <a:lnTo>
                    <a:pt x="301" y="83"/>
                  </a:lnTo>
                  <a:lnTo>
                    <a:pt x="294" y="88"/>
                  </a:lnTo>
                  <a:lnTo>
                    <a:pt x="288" y="96"/>
                  </a:lnTo>
                  <a:lnTo>
                    <a:pt x="281" y="96"/>
                  </a:lnTo>
                  <a:lnTo>
                    <a:pt x="271" y="86"/>
                  </a:lnTo>
                  <a:lnTo>
                    <a:pt x="273" y="81"/>
                  </a:lnTo>
                  <a:lnTo>
                    <a:pt x="273" y="81"/>
                  </a:lnTo>
                  <a:lnTo>
                    <a:pt x="271" y="64"/>
                  </a:lnTo>
                  <a:lnTo>
                    <a:pt x="269" y="56"/>
                  </a:lnTo>
                  <a:lnTo>
                    <a:pt x="269" y="56"/>
                  </a:lnTo>
                  <a:lnTo>
                    <a:pt x="269" y="56"/>
                  </a:lnTo>
                  <a:lnTo>
                    <a:pt x="269" y="54"/>
                  </a:lnTo>
                  <a:lnTo>
                    <a:pt x="269" y="54"/>
                  </a:lnTo>
                  <a:lnTo>
                    <a:pt x="273" y="53"/>
                  </a:lnTo>
                  <a:lnTo>
                    <a:pt x="273" y="53"/>
                  </a:lnTo>
                  <a:lnTo>
                    <a:pt x="275" y="53"/>
                  </a:lnTo>
                  <a:lnTo>
                    <a:pt x="275" y="53"/>
                  </a:lnTo>
                  <a:lnTo>
                    <a:pt x="277" y="51"/>
                  </a:lnTo>
                  <a:lnTo>
                    <a:pt x="277" y="51"/>
                  </a:lnTo>
                  <a:lnTo>
                    <a:pt x="275" y="51"/>
                  </a:lnTo>
                  <a:lnTo>
                    <a:pt x="271" y="47"/>
                  </a:lnTo>
                  <a:lnTo>
                    <a:pt x="271" y="47"/>
                  </a:lnTo>
                  <a:lnTo>
                    <a:pt x="271" y="45"/>
                  </a:lnTo>
                  <a:lnTo>
                    <a:pt x="271" y="43"/>
                  </a:lnTo>
                  <a:lnTo>
                    <a:pt x="275" y="41"/>
                  </a:lnTo>
                  <a:lnTo>
                    <a:pt x="275" y="40"/>
                  </a:lnTo>
                  <a:lnTo>
                    <a:pt x="273" y="38"/>
                  </a:lnTo>
                  <a:lnTo>
                    <a:pt x="264" y="30"/>
                  </a:lnTo>
                  <a:lnTo>
                    <a:pt x="264" y="30"/>
                  </a:lnTo>
                  <a:lnTo>
                    <a:pt x="260" y="28"/>
                  </a:lnTo>
                  <a:lnTo>
                    <a:pt x="258" y="26"/>
                  </a:lnTo>
                  <a:lnTo>
                    <a:pt x="258" y="25"/>
                  </a:lnTo>
                  <a:lnTo>
                    <a:pt x="260" y="25"/>
                  </a:lnTo>
                  <a:lnTo>
                    <a:pt x="266" y="23"/>
                  </a:lnTo>
                  <a:lnTo>
                    <a:pt x="266" y="21"/>
                  </a:lnTo>
                  <a:lnTo>
                    <a:pt x="264" y="17"/>
                  </a:lnTo>
                  <a:lnTo>
                    <a:pt x="264" y="17"/>
                  </a:lnTo>
                  <a:lnTo>
                    <a:pt x="260" y="12"/>
                  </a:lnTo>
                  <a:lnTo>
                    <a:pt x="260" y="10"/>
                  </a:lnTo>
                  <a:lnTo>
                    <a:pt x="260" y="8"/>
                  </a:lnTo>
                  <a:lnTo>
                    <a:pt x="262" y="8"/>
                  </a:lnTo>
                  <a:lnTo>
                    <a:pt x="266" y="8"/>
                  </a:lnTo>
                  <a:lnTo>
                    <a:pt x="268" y="8"/>
                  </a:lnTo>
                  <a:lnTo>
                    <a:pt x="266" y="6"/>
                  </a:lnTo>
                  <a:lnTo>
                    <a:pt x="266" y="6"/>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3" name="Line 23">
              <a:extLst>
                <a:ext uri="{FF2B5EF4-FFF2-40B4-BE49-F238E27FC236}">
                  <a16:creationId xmlns:a16="http://schemas.microsoft.com/office/drawing/2014/main" id="{996FC531-EA1E-47A7-A253-6DB6496C1451}"/>
                </a:ext>
              </a:extLst>
            </p:cNvPr>
            <p:cNvSpPr>
              <a:spLocks noChangeShapeType="1"/>
            </p:cNvSpPr>
            <p:nvPr/>
          </p:nvSpPr>
          <p:spPr bwMode="auto">
            <a:xfrm>
              <a:off x="6623011" y="4808113"/>
              <a:ext cx="1817" cy="1816"/>
            </a:xfrm>
            <a:prstGeom prst="line">
              <a:avLst/>
            </a:pr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4" name="Freeform 24">
              <a:extLst>
                <a:ext uri="{FF2B5EF4-FFF2-40B4-BE49-F238E27FC236}">
                  <a16:creationId xmlns:a16="http://schemas.microsoft.com/office/drawing/2014/main" id="{FC26826F-7AA9-46E9-A9E6-0F7188EDA9D0}"/>
                </a:ext>
              </a:extLst>
            </p:cNvPr>
            <p:cNvSpPr>
              <a:spLocks/>
            </p:cNvSpPr>
            <p:nvPr/>
          </p:nvSpPr>
          <p:spPr bwMode="auto">
            <a:xfrm>
              <a:off x="6664793" y="4597380"/>
              <a:ext cx="18167" cy="19983"/>
            </a:xfrm>
            <a:custGeom>
              <a:avLst/>
              <a:gdLst/>
              <a:ahLst/>
              <a:cxnLst>
                <a:cxn ang="0">
                  <a:pos x="13" y="16"/>
                </a:cxn>
                <a:cxn ang="0">
                  <a:pos x="13" y="16"/>
                </a:cxn>
                <a:cxn ang="0">
                  <a:pos x="15" y="20"/>
                </a:cxn>
                <a:cxn ang="0">
                  <a:pos x="17" y="20"/>
                </a:cxn>
                <a:cxn ang="0">
                  <a:pos x="18" y="20"/>
                </a:cxn>
                <a:cxn ang="0">
                  <a:pos x="20" y="18"/>
                </a:cxn>
                <a:cxn ang="0">
                  <a:pos x="20" y="15"/>
                </a:cxn>
                <a:cxn ang="0">
                  <a:pos x="18" y="9"/>
                </a:cxn>
                <a:cxn ang="0">
                  <a:pos x="15" y="5"/>
                </a:cxn>
                <a:cxn ang="0">
                  <a:pos x="5" y="0"/>
                </a:cxn>
                <a:cxn ang="0">
                  <a:pos x="5" y="0"/>
                </a:cxn>
                <a:cxn ang="0">
                  <a:pos x="2" y="3"/>
                </a:cxn>
                <a:cxn ang="0">
                  <a:pos x="0" y="7"/>
                </a:cxn>
                <a:cxn ang="0">
                  <a:pos x="0" y="7"/>
                </a:cxn>
                <a:cxn ang="0">
                  <a:pos x="0" y="13"/>
                </a:cxn>
                <a:cxn ang="0">
                  <a:pos x="3" y="15"/>
                </a:cxn>
                <a:cxn ang="0">
                  <a:pos x="15" y="16"/>
                </a:cxn>
                <a:cxn ang="0">
                  <a:pos x="15" y="16"/>
                </a:cxn>
                <a:cxn ang="0">
                  <a:pos x="13" y="16"/>
                </a:cxn>
                <a:cxn ang="0">
                  <a:pos x="13" y="16"/>
                </a:cxn>
                <a:cxn ang="0">
                  <a:pos x="13" y="16"/>
                </a:cxn>
              </a:cxnLst>
              <a:rect l="0" t="0" r="r" b="b"/>
              <a:pathLst>
                <a:path w="20" h="20">
                  <a:moveTo>
                    <a:pt x="13" y="16"/>
                  </a:moveTo>
                  <a:lnTo>
                    <a:pt x="13" y="16"/>
                  </a:lnTo>
                  <a:lnTo>
                    <a:pt x="15" y="20"/>
                  </a:lnTo>
                  <a:lnTo>
                    <a:pt x="17" y="20"/>
                  </a:lnTo>
                  <a:lnTo>
                    <a:pt x="18" y="20"/>
                  </a:lnTo>
                  <a:lnTo>
                    <a:pt x="20" y="18"/>
                  </a:lnTo>
                  <a:lnTo>
                    <a:pt x="20" y="15"/>
                  </a:lnTo>
                  <a:lnTo>
                    <a:pt x="18" y="9"/>
                  </a:lnTo>
                  <a:lnTo>
                    <a:pt x="15" y="5"/>
                  </a:lnTo>
                  <a:lnTo>
                    <a:pt x="5" y="0"/>
                  </a:lnTo>
                  <a:lnTo>
                    <a:pt x="5" y="0"/>
                  </a:lnTo>
                  <a:lnTo>
                    <a:pt x="2" y="3"/>
                  </a:lnTo>
                  <a:lnTo>
                    <a:pt x="0" y="7"/>
                  </a:lnTo>
                  <a:lnTo>
                    <a:pt x="0" y="7"/>
                  </a:lnTo>
                  <a:lnTo>
                    <a:pt x="0" y="13"/>
                  </a:lnTo>
                  <a:lnTo>
                    <a:pt x="3" y="15"/>
                  </a:lnTo>
                  <a:lnTo>
                    <a:pt x="15" y="16"/>
                  </a:lnTo>
                  <a:lnTo>
                    <a:pt x="15" y="16"/>
                  </a:lnTo>
                  <a:lnTo>
                    <a:pt x="13" y="16"/>
                  </a:lnTo>
                  <a:lnTo>
                    <a:pt x="13" y="16"/>
                  </a:lnTo>
                  <a:lnTo>
                    <a:pt x="13" y="16"/>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5" name="Freeform 25">
              <a:extLst>
                <a:ext uri="{FF2B5EF4-FFF2-40B4-BE49-F238E27FC236}">
                  <a16:creationId xmlns:a16="http://schemas.microsoft.com/office/drawing/2014/main" id="{5D4B845C-5C6C-4811-8928-572903B46482}"/>
                </a:ext>
              </a:extLst>
            </p:cNvPr>
            <p:cNvSpPr>
              <a:spLocks/>
            </p:cNvSpPr>
            <p:nvPr/>
          </p:nvSpPr>
          <p:spPr bwMode="auto">
            <a:xfrm>
              <a:off x="6684777" y="4581030"/>
              <a:ext cx="14533" cy="10900"/>
            </a:xfrm>
            <a:custGeom>
              <a:avLst/>
              <a:gdLst/>
              <a:ahLst/>
              <a:cxnLst>
                <a:cxn ang="0">
                  <a:pos x="2" y="5"/>
                </a:cxn>
                <a:cxn ang="0">
                  <a:pos x="2" y="5"/>
                </a:cxn>
                <a:cxn ang="0">
                  <a:pos x="0" y="7"/>
                </a:cxn>
                <a:cxn ang="0">
                  <a:pos x="0" y="9"/>
                </a:cxn>
                <a:cxn ang="0">
                  <a:pos x="6" y="11"/>
                </a:cxn>
                <a:cxn ang="0">
                  <a:pos x="15" y="11"/>
                </a:cxn>
                <a:cxn ang="0">
                  <a:pos x="15" y="11"/>
                </a:cxn>
                <a:cxn ang="0">
                  <a:pos x="15" y="4"/>
                </a:cxn>
                <a:cxn ang="0">
                  <a:pos x="13" y="2"/>
                </a:cxn>
                <a:cxn ang="0">
                  <a:pos x="11" y="0"/>
                </a:cxn>
                <a:cxn ang="0">
                  <a:pos x="11" y="0"/>
                </a:cxn>
                <a:cxn ang="0">
                  <a:pos x="8" y="2"/>
                </a:cxn>
                <a:cxn ang="0">
                  <a:pos x="6" y="4"/>
                </a:cxn>
                <a:cxn ang="0">
                  <a:pos x="2" y="5"/>
                </a:cxn>
                <a:cxn ang="0">
                  <a:pos x="2" y="5"/>
                </a:cxn>
              </a:cxnLst>
              <a:rect l="0" t="0" r="r" b="b"/>
              <a:pathLst>
                <a:path w="15" h="11">
                  <a:moveTo>
                    <a:pt x="2" y="5"/>
                  </a:moveTo>
                  <a:lnTo>
                    <a:pt x="2" y="5"/>
                  </a:lnTo>
                  <a:lnTo>
                    <a:pt x="0" y="7"/>
                  </a:lnTo>
                  <a:lnTo>
                    <a:pt x="0" y="9"/>
                  </a:lnTo>
                  <a:lnTo>
                    <a:pt x="6" y="11"/>
                  </a:lnTo>
                  <a:lnTo>
                    <a:pt x="15" y="11"/>
                  </a:lnTo>
                  <a:lnTo>
                    <a:pt x="15" y="11"/>
                  </a:lnTo>
                  <a:lnTo>
                    <a:pt x="15" y="4"/>
                  </a:lnTo>
                  <a:lnTo>
                    <a:pt x="13" y="2"/>
                  </a:lnTo>
                  <a:lnTo>
                    <a:pt x="11" y="0"/>
                  </a:lnTo>
                  <a:lnTo>
                    <a:pt x="11" y="0"/>
                  </a:lnTo>
                  <a:lnTo>
                    <a:pt x="8" y="2"/>
                  </a:lnTo>
                  <a:lnTo>
                    <a:pt x="6" y="4"/>
                  </a:lnTo>
                  <a:lnTo>
                    <a:pt x="2" y="5"/>
                  </a:lnTo>
                  <a:lnTo>
                    <a:pt x="2" y="5"/>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 name="Freeform 26">
              <a:extLst>
                <a:ext uri="{FF2B5EF4-FFF2-40B4-BE49-F238E27FC236}">
                  <a16:creationId xmlns:a16="http://schemas.microsoft.com/office/drawing/2014/main" id="{77584860-FCFB-4138-BB17-AD370A7D84C5}"/>
                </a:ext>
              </a:extLst>
            </p:cNvPr>
            <p:cNvSpPr>
              <a:spLocks/>
            </p:cNvSpPr>
            <p:nvPr/>
          </p:nvSpPr>
          <p:spPr bwMode="auto">
            <a:xfrm>
              <a:off x="6701126" y="4597380"/>
              <a:ext cx="16351" cy="9083"/>
            </a:xfrm>
            <a:custGeom>
              <a:avLst/>
              <a:gdLst/>
              <a:ahLst/>
              <a:cxnLst>
                <a:cxn ang="0">
                  <a:pos x="7" y="0"/>
                </a:cxn>
                <a:cxn ang="0">
                  <a:pos x="7" y="0"/>
                </a:cxn>
                <a:cxn ang="0">
                  <a:pos x="2" y="1"/>
                </a:cxn>
                <a:cxn ang="0">
                  <a:pos x="0" y="3"/>
                </a:cxn>
                <a:cxn ang="0">
                  <a:pos x="0" y="5"/>
                </a:cxn>
                <a:cxn ang="0">
                  <a:pos x="2" y="7"/>
                </a:cxn>
                <a:cxn ang="0">
                  <a:pos x="9" y="9"/>
                </a:cxn>
                <a:cxn ang="0">
                  <a:pos x="17" y="7"/>
                </a:cxn>
                <a:cxn ang="0">
                  <a:pos x="17" y="7"/>
                </a:cxn>
                <a:cxn ang="0">
                  <a:pos x="17" y="5"/>
                </a:cxn>
                <a:cxn ang="0">
                  <a:pos x="13" y="1"/>
                </a:cxn>
                <a:cxn ang="0">
                  <a:pos x="7" y="0"/>
                </a:cxn>
                <a:cxn ang="0">
                  <a:pos x="7" y="0"/>
                </a:cxn>
              </a:cxnLst>
              <a:rect l="0" t="0" r="r" b="b"/>
              <a:pathLst>
                <a:path w="17" h="9">
                  <a:moveTo>
                    <a:pt x="7" y="0"/>
                  </a:moveTo>
                  <a:lnTo>
                    <a:pt x="7" y="0"/>
                  </a:lnTo>
                  <a:lnTo>
                    <a:pt x="2" y="1"/>
                  </a:lnTo>
                  <a:lnTo>
                    <a:pt x="0" y="3"/>
                  </a:lnTo>
                  <a:lnTo>
                    <a:pt x="0" y="5"/>
                  </a:lnTo>
                  <a:lnTo>
                    <a:pt x="2" y="7"/>
                  </a:lnTo>
                  <a:lnTo>
                    <a:pt x="9" y="9"/>
                  </a:lnTo>
                  <a:lnTo>
                    <a:pt x="17" y="7"/>
                  </a:lnTo>
                  <a:lnTo>
                    <a:pt x="17" y="7"/>
                  </a:lnTo>
                  <a:lnTo>
                    <a:pt x="17" y="5"/>
                  </a:lnTo>
                  <a:lnTo>
                    <a:pt x="13" y="1"/>
                  </a:lnTo>
                  <a:lnTo>
                    <a:pt x="7" y="0"/>
                  </a:lnTo>
                  <a:lnTo>
                    <a:pt x="7" y="0"/>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 name="Freeform 27">
              <a:extLst>
                <a:ext uri="{FF2B5EF4-FFF2-40B4-BE49-F238E27FC236}">
                  <a16:creationId xmlns:a16="http://schemas.microsoft.com/office/drawing/2014/main" id="{0501C1B5-6E8B-4CDE-BFDF-90A2750E8AB5}"/>
                </a:ext>
              </a:extLst>
            </p:cNvPr>
            <p:cNvSpPr>
              <a:spLocks/>
            </p:cNvSpPr>
            <p:nvPr/>
          </p:nvSpPr>
          <p:spPr bwMode="auto">
            <a:xfrm>
              <a:off x="6724744" y="4628263"/>
              <a:ext cx="9084" cy="12716"/>
            </a:xfrm>
            <a:custGeom>
              <a:avLst/>
              <a:gdLst/>
              <a:ahLst/>
              <a:cxnLst>
                <a:cxn ang="0">
                  <a:pos x="2" y="6"/>
                </a:cxn>
                <a:cxn ang="0">
                  <a:pos x="2" y="6"/>
                </a:cxn>
                <a:cxn ang="0">
                  <a:pos x="0" y="10"/>
                </a:cxn>
                <a:cxn ang="0">
                  <a:pos x="2" y="11"/>
                </a:cxn>
                <a:cxn ang="0">
                  <a:pos x="4" y="13"/>
                </a:cxn>
                <a:cxn ang="0">
                  <a:pos x="6" y="11"/>
                </a:cxn>
                <a:cxn ang="0">
                  <a:pos x="9" y="11"/>
                </a:cxn>
                <a:cxn ang="0">
                  <a:pos x="11" y="8"/>
                </a:cxn>
                <a:cxn ang="0">
                  <a:pos x="11" y="4"/>
                </a:cxn>
                <a:cxn ang="0">
                  <a:pos x="8" y="2"/>
                </a:cxn>
                <a:cxn ang="0">
                  <a:pos x="8" y="2"/>
                </a:cxn>
                <a:cxn ang="0">
                  <a:pos x="6" y="0"/>
                </a:cxn>
                <a:cxn ang="0">
                  <a:pos x="6" y="2"/>
                </a:cxn>
                <a:cxn ang="0">
                  <a:pos x="2" y="6"/>
                </a:cxn>
                <a:cxn ang="0">
                  <a:pos x="2" y="6"/>
                </a:cxn>
              </a:cxnLst>
              <a:rect l="0" t="0" r="r" b="b"/>
              <a:pathLst>
                <a:path w="11" h="13">
                  <a:moveTo>
                    <a:pt x="2" y="6"/>
                  </a:moveTo>
                  <a:lnTo>
                    <a:pt x="2" y="6"/>
                  </a:lnTo>
                  <a:lnTo>
                    <a:pt x="0" y="10"/>
                  </a:lnTo>
                  <a:lnTo>
                    <a:pt x="2" y="11"/>
                  </a:lnTo>
                  <a:lnTo>
                    <a:pt x="4" y="13"/>
                  </a:lnTo>
                  <a:lnTo>
                    <a:pt x="6" y="11"/>
                  </a:lnTo>
                  <a:lnTo>
                    <a:pt x="9" y="11"/>
                  </a:lnTo>
                  <a:lnTo>
                    <a:pt x="11" y="8"/>
                  </a:lnTo>
                  <a:lnTo>
                    <a:pt x="11" y="4"/>
                  </a:lnTo>
                  <a:lnTo>
                    <a:pt x="8" y="2"/>
                  </a:lnTo>
                  <a:lnTo>
                    <a:pt x="8" y="2"/>
                  </a:lnTo>
                  <a:lnTo>
                    <a:pt x="6" y="0"/>
                  </a:lnTo>
                  <a:lnTo>
                    <a:pt x="6" y="2"/>
                  </a:lnTo>
                  <a:lnTo>
                    <a:pt x="2" y="6"/>
                  </a:lnTo>
                  <a:lnTo>
                    <a:pt x="2" y="6"/>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 name="Freeform 28">
              <a:extLst>
                <a:ext uri="{FF2B5EF4-FFF2-40B4-BE49-F238E27FC236}">
                  <a16:creationId xmlns:a16="http://schemas.microsoft.com/office/drawing/2014/main" id="{98B1B4D4-5310-4DF9-885E-40627D077FD5}"/>
                </a:ext>
              </a:extLst>
            </p:cNvPr>
            <p:cNvSpPr>
              <a:spLocks/>
            </p:cNvSpPr>
            <p:nvPr/>
          </p:nvSpPr>
          <p:spPr bwMode="auto">
            <a:xfrm>
              <a:off x="6713844" y="4673680"/>
              <a:ext cx="5451" cy="12716"/>
            </a:xfrm>
            <a:custGeom>
              <a:avLst/>
              <a:gdLst/>
              <a:ahLst/>
              <a:cxnLst>
                <a:cxn ang="0">
                  <a:pos x="0" y="0"/>
                </a:cxn>
                <a:cxn ang="0">
                  <a:pos x="0" y="13"/>
                </a:cxn>
                <a:cxn ang="0">
                  <a:pos x="0" y="13"/>
                </a:cxn>
                <a:cxn ang="0">
                  <a:pos x="4" y="9"/>
                </a:cxn>
                <a:cxn ang="0">
                  <a:pos x="6" y="5"/>
                </a:cxn>
                <a:cxn ang="0">
                  <a:pos x="4" y="2"/>
                </a:cxn>
                <a:cxn ang="0">
                  <a:pos x="2" y="0"/>
                </a:cxn>
                <a:cxn ang="0">
                  <a:pos x="0" y="0"/>
                </a:cxn>
                <a:cxn ang="0">
                  <a:pos x="0" y="0"/>
                </a:cxn>
              </a:cxnLst>
              <a:rect l="0" t="0" r="r" b="b"/>
              <a:pathLst>
                <a:path w="6" h="13">
                  <a:moveTo>
                    <a:pt x="0" y="0"/>
                  </a:moveTo>
                  <a:lnTo>
                    <a:pt x="0" y="13"/>
                  </a:lnTo>
                  <a:lnTo>
                    <a:pt x="0" y="13"/>
                  </a:lnTo>
                  <a:lnTo>
                    <a:pt x="4" y="9"/>
                  </a:lnTo>
                  <a:lnTo>
                    <a:pt x="6" y="5"/>
                  </a:lnTo>
                  <a:lnTo>
                    <a:pt x="4" y="2"/>
                  </a:lnTo>
                  <a:lnTo>
                    <a:pt x="2" y="0"/>
                  </a:lnTo>
                  <a:lnTo>
                    <a:pt x="0" y="0"/>
                  </a:lnTo>
                  <a:lnTo>
                    <a:pt x="0" y="0"/>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 name="Freeform 29">
              <a:extLst>
                <a:ext uri="{FF2B5EF4-FFF2-40B4-BE49-F238E27FC236}">
                  <a16:creationId xmlns:a16="http://schemas.microsoft.com/office/drawing/2014/main" id="{B7E30019-AF16-497D-800A-6E57C0A8C3B8}"/>
                </a:ext>
              </a:extLst>
            </p:cNvPr>
            <p:cNvSpPr>
              <a:spLocks/>
            </p:cNvSpPr>
            <p:nvPr/>
          </p:nvSpPr>
          <p:spPr bwMode="auto">
            <a:xfrm>
              <a:off x="6699310" y="4666413"/>
              <a:ext cx="12717" cy="5449"/>
            </a:xfrm>
            <a:custGeom>
              <a:avLst/>
              <a:gdLst/>
              <a:ahLst/>
              <a:cxnLst>
                <a:cxn ang="0">
                  <a:pos x="0" y="2"/>
                </a:cxn>
                <a:cxn ang="0">
                  <a:pos x="0" y="2"/>
                </a:cxn>
                <a:cxn ang="0">
                  <a:pos x="0" y="4"/>
                </a:cxn>
                <a:cxn ang="0">
                  <a:pos x="0" y="6"/>
                </a:cxn>
                <a:cxn ang="0">
                  <a:pos x="4" y="8"/>
                </a:cxn>
                <a:cxn ang="0">
                  <a:pos x="15" y="8"/>
                </a:cxn>
                <a:cxn ang="0">
                  <a:pos x="15" y="8"/>
                </a:cxn>
                <a:cxn ang="0">
                  <a:pos x="11" y="4"/>
                </a:cxn>
                <a:cxn ang="0">
                  <a:pos x="8" y="2"/>
                </a:cxn>
                <a:cxn ang="0">
                  <a:pos x="2" y="0"/>
                </a:cxn>
                <a:cxn ang="0">
                  <a:pos x="0" y="2"/>
                </a:cxn>
                <a:cxn ang="0">
                  <a:pos x="0" y="2"/>
                </a:cxn>
              </a:cxnLst>
              <a:rect l="0" t="0" r="r" b="b"/>
              <a:pathLst>
                <a:path w="15" h="8">
                  <a:moveTo>
                    <a:pt x="0" y="2"/>
                  </a:moveTo>
                  <a:lnTo>
                    <a:pt x="0" y="2"/>
                  </a:lnTo>
                  <a:lnTo>
                    <a:pt x="0" y="4"/>
                  </a:lnTo>
                  <a:lnTo>
                    <a:pt x="0" y="6"/>
                  </a:lnTo>
                  <a:lnTo>
                    <a:pt x="4" y="8"/>
                  </a:lnTo>
                  <a:lnTo>
                    <a:pt x="15" y="8"/>
                  </a:lnTo>
                  <a:lnTo>
                    <a:pt x="15" y="8"/>
                  </a:lnTo>
                  <a:lnTo>
                    <a:pt x="11" y="4"/>
                  </a:lnTo>
                  <a:lnTo>
                    <a:pt x="8" y="2"/>
                  </a:lnTo>
                  <a:lnTo>
                    <a:pt x="2" y="0"/>
                  </a:lnTo>
                  <a:lnTo>
                    <a:pt x="0" y="2"/>
                  </a:lnTo>
                  <a:lnTo>
                    <a:pt x="0" y="2"/>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 name="Freeform 30">
              <a:extLst>
                <a:ext uri="{FF2B5EF4-FFF2-40B4-BE49-F238E27FC236}">
                  <a16:creationId xmlns:a16="http://schemas.microsoft.com/office/drawing/2014/main" id="{24CBAAEF-B835-4CEB-A9A9-C1A31A4728AA}"/>
                </a:ext>
              </a:extLst>
            </p:cNvPr>
            <p:cNvSpPr>
              <a:spLocks/>
            </p:cNvSpPr>
            <p:nvPr/>
          </p:nvSpPr>
          <p:spPr bwMode="auto">
            <a:xfrm>
              <a:off x="6650260" y="4633713"/>
              <a:ext cx="29067" cy="12716"/>
            </a:xfrm>
            <a:custGeom>
              <a:avLst/>
              <a:gdLst/>
              <a:ahLst/>
              <a:cxnLst>
                <a:cxn ang="0">
                  <a:pos x="2" y="15"/>
                </a:cxn>
                <a:cxn ang="0">
                  <a:pos x="2" y="15"/>
                </a:cxn>
                <a:cxn ang="0">
                  <a:pos x="7" y="15"/>
                </a:cxn>
                <a:cxn ang="0">
                  <a:pos x="17" y="15"/>
                </a:cxn>
                <a:cxn ang="0">
                  <a:pos x="26" y="15"/>
                </a:cxn>
                <a:cxn ang="0">
                  <a:pos x="32" y="11"/>
                </a:cxn>
                <a:cxn ang="0">
                  <a:pos x="32" y="11"/>
                </a:cxn>
                <a:cxn ang="0">
                  <a:pos x="24" y="9"/>
                </a:cxn>
                <a:cxn ang="0">
                  <a:pos x="18" y="5"/>
                </a:cxn>
                <a:cxn ang="0">
                  <a:pos x="17" y="4"/>
                </a:cxn>
                <a:cxn ang="0">
                  <a:pos x="15" y="0"/>
                </a:cxn>
                <a:cxn ang="0">
                  <a:pos x="15" y="0"/>
                </a:cxn>
                <a:cxn ang="0">
                  <a:pos x="7" y="0"/>
                </a:cxn>
                <a:cxn ang="0">
                  <a:pos x="2" y="2"/>
                </a:cxn>
                <a:cxn ang="0">
                  <a:pos x="2" y="2"/>
                </a:cxn>
                <a:cxn ang="0">
                  <a:pos x="0" y="7"/>
                </a:cxn>
                <a:cxn ang="0">
                  <a:pos x="2" y="15"/>
                </a:cxn>
                <a:cxn ang="0">
                  <a:pos x="2" y="15"/>
                </a:cxn>
              </a:cxnLst>
              <a:rect l="0" t="0" r="r" b="b"/>
              <a:pathLst>
                <a:path w="32" h="15">
                  <a:moveTo>
                    <a:pt x="2" y="15"/>
                  </a:moveTo>
                  <a:lnTo>
                    <a:pt x="2" y="15"/>
                  </a:lnTo>
                  <a:lnTo>
                    <a:pt x="7" y="15"/>
                  </a:lnTo>
                  <a:lnTo>
                    <a:pt x="17" y="15"/>
                  </a:lnTo>
                  <a:lnTo>
                    <a:pt x="26" y="15"/>
                  </a:lnTo>
                  <a:lnTo>
                    <a:pt x="32" y="11"/>
                  </a:lnTo>
                  <a:lnTo>
                    <a:pt x="32" y="11"/>
                  </a:lnTo>
                  <a:lnTo>
                    <a:pt x="24" y="9"/>
                  </a:lnTo>
                  <a:lnTo>
                    <a:pt x="18" y="5"/>
                  </a:lnTo>
                  <a:lnTo>
                    <a:pt x="17" y="4"/>
                  </a:lnTo>
                  <a:lnTo>
                    <a:pt x="15" y="0"/>
                  </a:lnTo>
                  <a:lnTo>
                    <a:pt x="15" y="0"/>
                  </a:lnTo>
                  <a:lnTo>
                    <a:pt x="7" y="0"/>
                  </a:lnTo>
                  <a:lnTo>
                    <a:pt x="2" y="2"/>
                  </a:lnTo>
                  <a:lnTo>
                    <a:pt x="2" y="2"/>
                  </a:lnTo>
                  <a:lnTo>
                    <a:pt x="0" y="7"/>
                  </a:lnTo>
                  <a:lnTo>
                    <a:pt x="2" y="15"/>
                  </a:lnTo>
                  <a:lnTo>
                    <a:pt x="2" y="15"/>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 name="Freeform 31">
              <a:extLst>
                <a:ext uri="{FF2B5EF4-FFF2-40B4-BE49-F238E27FC236}">
                  <a16:creationId xmlns:a16="http://schemas.microsoft.com/office/drawing/2014/main" id="{F7323604-2459-4EBF-924A-8C14AFC37F67}"/>
                </a:ext>
              </a:extLst>
            </p:cNvPr>
            <p:cNvSpPr>
              <a:spLocks/>
            </p:cNvSpPr>
            <p:nvPr/>
          </p:nvSpPr>
          <p:spPr bwMode="auto">
            <a:xfrm>
              <a:off x="6619377" y="4660963"/>
              <a:ext cx="5451" cy="12716"/>
            </a:xfrm>
            <a:custGeom>
              <a:avLst/>
              <a:gdLst/>
              <a:ahLst/>
              <a:cxnLst>
                <a:cxn ang="0">
                  <a:pos x="4" y="13"/>
                </a:cxn>
                <a:cxn ang="0">
                  <a:pos x="4" y="13"/>
                </a:cxn>
                <a:cxn ang="0">
                  <a:pos x="6" y="13"/>
                </a:cxn>
                <a:cxn ang="0">
                  <a:pos x="6" y="9"/>
                </a:cxn>
                <a:cxn ang="0">
                  <a:pos x="8" y="2"/>
                </a:cxn>
                <a:cxn ang="0">
                  <a:pos x="0" y="0"/>
                </a:cxn>
                <a:cxn ang="0">
                  <a:pos x="0" y="0"/>
                </a:cxn>
                <a:cxn ang="0">
                  <a:pos x="0" y="3"/>
                </a:cxn>
                <a:cxn ang="0">
                  <a:pos x="0" y="9"/>
                </a:cxn>
                <a:cxn ang="0">
                  <a:pos x="0" y="13"/>
                </a:cxn>
                <a:cxn ang="0">
                  <a:pos x="2" y="15"/>
                </a:cxn>
                <a:cxn ang="0">
                  <a:pos x="4" y="13"/>
                </a:cxn>
                <a:cxn ang="0">
                  <a:pos x="4" y="13"/>
                </a:cxn>
              </a:cxnLst>
              <a:rect l="0" t="0" r="r" b="b"/>
              <a:pathLst>
                <a:path w="8" h="15">
                  <a:moveTo>
                    <a:pt x="4" y="13"/>
                  </a:moveTo>
                  <a:lnTo>
                    <a:pt x="4" y="13"/>
                  </a:lnTo>
                  <a:lnTo>
                    <a:pt x="6" y="13"/>
                  </a:lnTo>
                  <a:lnTo>
                    <a:pt x="6" y="9"/>
                  </a:lnTo>
                  <a:lnTo>
                    <a:pt x="8" y="2"/>
                  </a:lnTo>
                  <a:lnTo>
                    <a:pt x="0" y="0"/>
                  </a:lnTo>
                  <a:lnTo>
                    <a:pt x="0" y="0"/>
                  </a:lnTo>
                  <a:lnTo>
                    <a:pt x="0" y="3"/>
                  </a:lnTo>
                  <a:lnTo>
                    <a:pt x="0" y="9"/>
                  </a:lnTo>
                  <a:lnTo>
                    <a:pt x="0" y="13"/>
                  </a:lnTo>
                  <a:lnTo>
                    <a:pt x="2" y="15"/>
                  </a:lnTo>
                  <a:lnTo>
                    <a:pt x="4" y="13"/>
                  </a:lnTo>
                  <a:lnTo>
                    <a:pt x="4" y="13"/>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 name="Freeform 32">
              <a:extLst>
                <a:ext uri="{FF2B5EF4-FFF2-40B4-BE49-F238E27FC236}">
                  <a16:creationId xmlns:a16="http://schemas.microsoft.com/office/drawing/2014/main" id="{A04D6E49-8261-4C8D-9A93-D5E943BE85E4}"/>
                </a:ext>
              </a:extLst>
            </p:cNvPr>
            <p:cNvSpPr>
              <a:spLocks/>
            </p:cNvSpPr>
            <p:nvPr/>
          </p:nvSpPr>
          <p:spPr bwMode="auto">
            <a:xfrm>
              <a:off x="6635727" y="4657329"/>
              <a:ext cx="38150" cy="18167"/>
            </a:xfrm>
            <a:custGeom>
              <a:avLst/>
              <a:gdLst/>
              <a:ahLst/>
              <a:cxnLst>
                <a:cxn ang="0">
                  <a:pos x="11" y="0"/>
                </a:cxn>
                <a:cxn ang="0">
                  <a:pos x="11" y="0"/>
                </a:cxn>
                <a:cxn ang="0">
                  <a:pos x="4" y="2"/>
                </a:cxn>
                <a:cxn ang="0">
                  <a:pos x="2" y="4"/>
                </a:cxn>
                <a:cxn ang="0">
                  <a:pos x="0" y="9"/>
                </a:cxn>
                <a:cxn ang="0">
                  <a:pos x="4" y="13"/>
                </a:cxn>
                <a:cxn ang="0">
                  <a:pos x="9" y="17"/>
                </a:cxn>
                <a:cxn ang="0">
                  <a:pos x="19" y="21"/>
                </a:cxn>
                <a:cxn ang="0">
                  <a:pos x="30" y="19"/>
                </a:cxn>
                <a:cxn ang="0">
                  <a:pos x="43" y="15"/>
                </a:cxn>
                <a:cxn ang="0">
                  <a:pos x="43" y="15"/>
                </a:cxn>
                <a:cxn ang="0">
                  <a:pos x="39" y="7"/>
                </a:cxn>
                <a:cxn ang="0">
                  <a:pos x="35" y="6"/>
                </a:cxn>
                <a:cxn ang="0">
                  <a:pos x="35" y="6"/>
                </a:cxn>
                <a:cxn ang="0">
                  <a:pos x="35" y="7"/>
                </a:cxn>
                <a:cxn ang="0">
                  <a:pos x="35" y="7"/>
                </a:cxn>
                <a:cxn ang="0">
                  <a:pos x="32" y="11"/>
                </a:cxn>
                <a:cxn ang="0">
                  <a:pos x="28" y="9"/>
                </a:cxn>
                <a:cxn ang="0">
                  <a:pos x="21" y="4"/>
                </a:cxn>
                <a:cxn ang="0">
                  <a:pos x="21" y="4"/>
                </a:cxn>
                <a:cxn ang="0">
                  <a:pos x="11" y="0"/>
                </a:cxn>
                <a:cxn ang="0">
                  <a:pos x="11" y="0"/>
                </a:cxn>
              </a:cxnLst>
              <a:rect l="0" t="0" r="r" b="b"/>
              <a:pathLst>
                <a:path w="43" h="21">
                  <a:moveTo>
                    <a:pt x="11" y="0"/>
                  </a:moveTo>
                  <a:lnTo>
                    <a:pt x="11" y="0"/>
                  </a:lnTo>
                  <a:lnTo>
                    <a:pt x="4" y="2"/>
                  </a:lnTo>
                  <a:lnTo>
                    <a:pt x="2" y="4"/>
                  </a:lnTo>
                  <a:lnTo>
                    <a:pt x="0" y="9"/>
                  </a:lnTo>
                  <a:lnTo>
                    <a:pt x="4" y="13"/>
                  </a:lnTo>
                  <a:lnTo>
                    <a:pt x="9" y="17"/>
                  </a:lnTo>
                  <a:lnTo>
                    <a:pt x="19" y="21"/>
                  </a:lnTo>
                  <a:lnTo>
                    <a:pt x="30" y="19"/>
                  </a:lnTo>
                  <a:lnTo>
                    <a:pt x="43" y="15"/>
                  </a:lnTo>
                  <a:lnTo>
                    <a:pt x="43" y="15"/>
                  </a:lnTo>
                  <a:lnTo>
                    <a:pt x="39" y="7"/>
                  </a:lnTo>
                  <a:lnTo>
                    <a:pt x="35" y="6"/>
                  </a:lnTo>
                  <a:lnTo>
                    <a:pt x="35" y="6"/>
                  </a:lnTo>
                  <a:lnTo>
                    <a:pt x="35" y="7"/>
                  </a:lnTo>
                  <a:lnTo>
                    <a:pt x="35" y="7"/>
                  </a:lnTo>
                  <a:lnTo>
                    <a:pt x="32" y="11"/>
                  </a:lnTo>
                  <a:lnTo>
                    <a:pt x="28" y="9"/>
                  </a:lnTo>
                  <a:lnTo>
                    <a:pt x="21" y="4"/>
                  </a:lnTo>
                  <a:lnTo>
                    <a:pt x="21" y="4"/>
                  </a:lnTo>
                  <a:lnTo>
                    <a:pt x="11" y="0"/>
                  </a:lnTo>
                  <a:lnTo>
                    <a:pt x="11" y="0"/>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 name="Freeform 33">
              <a:extLst>
                <a:ext uri="{FF2B5EF4-FFF2-40B4-BE49-F238E27FC236}">
                  <a16:creationId xmlns:a16="http://schemas.microsoft.com/office/drawing/2014/main" id="{EBA7D4FD-0820-4F19-B760-E8948C59D5D4}"/>
                </a:ext>
              </a:extLst>
            </p:cNvPr>
            <p:cNvSpPr>
              <a:spLocks/>
            </p:cNvSpPr>
            <p:nvPr/>
          </p:nvSpPr>
          <p:spPr bwMode="auto">
            <a:xfrm>
              <a:off x="6621193" y="4680947"/>
              <a:ext cx="61766" cy="34516"/>
            </a:xfrm>
            <a:custGeom>
              <a:avLst/>
              <a:gdLst/>
              <a:ahLst/>
              <a:cxnLst>
                <a:cxn ang="0">
                  <a:pos x="15" y="26"/>
                </a:cxn>
                <a:cxn ang="0">
                  <a:pos x="15" y="26"/>
                </a:cxn>
                <a:cxn ang="0">
                  <a:pos x="26" y="26"/>
                </a:cxn>
                <a:cxn ang="0">
                  <a:pos x="36" y="30"/>
                </a:cxn>
                <a:cxn ang="0">
                  <a:pos x="45" y="34"/>
                </a:cxn>
                <a:cxn ang="0">
                  <a:pos x="56" y="38"/>
                </a:cxn>
                <a:cxn ang="0">
                  <a:pos x="56" y="38"/>
                </a:cxn>
                <a:cxn ang="0">
                  <a:pos x="66" y="36"/>
                </a:cxn>
                <a:cxn ang="0">
                  <a:pos x="67" y="34"/>
                </a:cxn>
                <a:cxn ang="0">
                  <a:pos x="69" y="32"/>
                </a:cxn>
                <a:cxn ang="0">
                  <a:pos x="64" y="26"/>
                </a:cxn>
                <a:cxn ang="0">
                  <a:pos x="56" y="21"/>
                </a:cxn>
                <a:cxn ang="0">
                  <a:pos x="36" y="8"/>
                </a:cxn>
                <a:cxn ang="0">
                  <a:pos x="21" y="0"/>
                </a:cxn>
                <a:cxn ang="0">
                  <a:pos x="21" y="0"/>
                </a:cxn>
                <a:cxn ang="0">
                  <a:pos x="15" y="0"/>
                </a:cxn>
                <a:cxn ang="0">
                  <a:pos x="11" y="4"/>
                </a:cxn>
                <a:cxn ang="0">
                  <a:pos x="6" y="8"/>
                </a:cxn>
                <a:cxn ang="0">
                  <a:pos x="2" y="13"/>
                </a:cxn>
                <a:cxn ang="0">
                  <a:pos x="0" y="17"/>
                </a:cxn>
                <a:cxn ang="0">
                  <a:pos x="2" y="23"/>
                </a:cxn>
                <a:cxn ang="0">
                  <a:pos x="6" y="24"/>
                </a:cxn>
                <a:cxn ang="0">
                  <a:pos x="15" y="26"/>
                </a:cxn>
                <a:cxn ang="0">
                  <a:pos x="15" y="26"/>
                </a:cxn>
              </a:cxnLst>
              <a:rect l="0" t="0" r="r" b="b"/>
              <a:pathLst>
                <a:path w="69" h="38">
                  <a:moveTo>
                    <a:pt x="15" y="26"/>
                  </a:moveTo>
                  <a:lnTo>
                    <a:pt x="15" y="26"/>
                  </a:lnTo>
                  <a:lnTo>
                    <a:pt x="26" y="26"/>
                  </a:lnTo>
                  <a:lnTo>
                    <a:pt x="36" y="30"/>
                  </a:lnTo>
                  <a:lnTo>
                    <a:pt x="45" y="34"/>
                  </a:lnTo>
                  <a:lnTo>
                    <a:pt x="56" y="38"/>
                  </a:lnTo>
                  <a:lnTo>
                    <a:pt x="56" y="38"/>
                  </a:lnTo>
                  <a:lnTo>
                    <a:pt x="66" y="36"/>
                  </a:lnTo>
                  <a:lnTo>
                    <a:pt x="67" y="34"/>
                  </a:lnTo>
                  <a:lnTo>
                    <a:pt x="69" y="32"/>
                  </a:lnTo>
                  <a:lnTo>
                    <a:pt x="64" y="26"/>
                  </a:lnTo>
                  <a:lnTo>
                    <a:pt x="56" y="21"/>
                  </a:lnTo>
                  <a:lnTo>
                    <a:pt x="36" y="8"/>
                  </a:lnTo>
                  <a:lnTo>
                    <a:pt x="21" y="0"/>
                  </a:lnTo>
                  <a:lnTo>
                    <a:pt x="21" y="0"/>
                  </a:lnTo>
                  <a:lnTo>
                    <a:pt x="15" y="0"/>
                  </a:lnTo>
                  <a:lnTo>
                    <a:pt x="11" y="4"/>
                  </a:lnTo>
                  <a:lnTo>
                    <a:pt x="6" y="8"/>
                  </a:lnTo>
                  <a:lnTo>
                    <a:pt x="2" y="13"/>
                  </a:lnTo>
                  <a:lnTo>
                    <a:pt x="0" y="17"/>
                  </a:lnTo>
                  <a:lnTo>
                    <a:pt x="2" y="23"/>
                  </a:lnTo>
                  <a:lnTo>
                    <a:pt x="6" y="24"/>
                  </a:lnTo>
                  <a:lnTo>
                    <a:pt x="15" y="26"/>
                  </a:lnTo>
                  <a:lnTo>
                    <a:pt x="15" y="26"/>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4" name="Freeform 34">
              <a:extLst>
                <a:ext uri="{FF2B5EF4-FFF2-40B4-BE49-F238E27FC236}">
                  <a16:creationId xmlns:a16="http://schemas.microsoft.com/office/drawing/2014/main" id="{FFA1CC8E-90ED-48F6-8521-1A8A080D72AA}"/>
                </a:ext>
              </a:extLst>
            </p:cNvPr>
            <p:cNvSpPr>
              <a:spLocks/>
            </p:cNvSpPr>
            <p:nvPr/>
          </p:nvSpPr>
          <p:spPr bwMode="auto">
            <a:xfrm>
              <a:off x="6644811" y="4720913"/>
              <a:ext cx="29067" cy="29067"/>
            </a:xfrm>
            <a:custGeom>
              <a:avLst/>
              <a:gdLst/>
              <a:ahLst/>
              <a:cxnLst>
                <a:cxn ang="0">
                  <a:pos x="15" y="28"/>
                </a:cxn>
                <a:cxn ang="0">
                  <a:pos x="15" y="28"/>
                </a:cxn>
                <a:cxn ang="0">
                  <a:pos x="28" y="24"/>
                </a:cxn>
                <a:cxn ang="0">
                  <a:pos x="30" y="22"/>
                </a:cxn>
                <a:cxn ang="0">
                  <a:pos x="30" y="22"/>
                </a:cxn>
                <a:cxn ang="0">
                  <a:pos x="25" y="19"/>
                </a:cxn>
                <a:cxn ang="0">
                  <a:pos x="25" y="19"/>
                </a:cxn>
                <a:cxn ang="0">
                  <a:pos x="25" y="15"/>
                </a:cxn>
                <a:cxn ang="0">
                  <a:pos x="26" y="13"/>
                </a:cxn>
                <a:cxn ang="0">
                  <a:pos x="30" y="11"/>
                </a:cxn>
                <a:cxn ang="0">
                  <a:pos x="32" y="7"/>
                </a:cxn>
                <a:cxn ang="0">
                  <a:pos x="32" y="7"/>
                </a:cxn>
                <a:cxn ang="0">
                  <a:pos x="30" y="4"/>
                </a:cxn>
                <a:cxn ang="0">
                  <a:pos x="26" y="2"/>
                </a:cxn>
                <a:cxn ang="0">
                  <a:pos x="23" y="0"/>
                </a:cxn>
                <a:cxn ang="0">
                  <a:pos x="21" y="0"/>
                </a:cxn>
                <a:cxn ang="0">
                  <a:pos x="21" y="0"/>
                </a:cxn>
                <a:cxn ang="0">
                  <a:pos x="17" y="4"/>
                </a:cxn>
                <a:cxn ang="0">
                  <a:pos x="15" y="9"/>
                </a:cxn>
                <a:cxn ang="0">
                  <a:pos x="13" y="15"/>
                </a:cxn>
                <a:cxn ang="0">
                  <a:pos x="12" y="17"/>
                </a:cxn>
                <a:cxn ang="0">
                  <a:pos x="10" y="17"/>
                </a:cxn>
                <a:cxn ang="0">
                  <a:pos x="10" y="17"/>
                </a:cxn>
                <a:cxn ang="0">
                  <a:pos x="0" y="19"/>
                </a:cxn>
                <a:cxn ang="0">
                  <a:pos x="0" y="19"/>
                </a:cxn>
                <a:cxn ang="0">
                  <a:pos x="0" y="21"/>
                </a:cxn>
                <a:cxn ang="0">
                  <a:pos x="8" y="30"/>
                </a:cxn>
                <a:cxn ang="0">
                  <a:pos x="8" y="30"/>
                </a:cxn>
                <a:cxn ang="0">
                  <a:pos x="12" y="32"/>
                </a:cxn>
                <a:cxn ang="0">
                  <a:pos x="13" y="32"/>
                </a:cxn>
                <a:cxn ang="0">
                  <a:pos x="15" y="28"/>
                </a:cxn>
                <a:cxn ang="0">
                  <a:pos x="15" y="28"/>
                </a:cxn>
              </a:cxnLst>
              <a:rect l="0" t="0" r="r" b="b"/>
              <a:pathLst>
                <a:path w="32" h="32">
                  <a:moveTo>
                    <a:pt x="15" y="28"/>
                  </a:moveTo>
                  <a:lnTo>
                    <a:pt x="15" y="28"/>
                  </a:lnTo>
                  <a:lnTo>
                    <a:pt x="28" y="24"/>
                  </a:lnTo>
                  <a:lnTo>
                    <a:pt x="30" y="22"/>
                  </a:lnTo>
                  <a:lnTo>
                    <a:pt x="30" y="22"/>
                  </a:lnTo>
                  <a:lnTo>
                    <a:pt x="25" y="19"/>
                  </a:lnTo>
                  <a:lnTo>
                    <a:pt x="25" y="19"/>
                  </a:lnTo>
                  <a:lnTo>
                    <a:pt x="25" y="15"/>
                  </a:lnTo>
                  <a:lnTo>
                    <a:pt x="26" y="13"/>
                  </a:lnTo>
                  <a:lnTo>
                    <a:pt x="30" y="11"/>
                  </a:lnTo>
                  <a:lnTo>
                    <a:pt x="32" y="7"/>
                  </a:lnTo>
                  <a:lnTo>
                    <a:pt x="32" y="7"/>
                  </a:lnTo>
                  <a:lnTo>
                    <a:pt x="30" y="4"/>
                  </a:lnTo>
                  <a:lnTo>
                    <a:pt x="26" y="2"/>
                  </a:lnTo>
                  <a:lnTo>
                    <a:pt x="23" y="0"/>
                  </a:lnTo>
                  <a:lnTo>
                    <a:pt x="21" y="0"/>
                  </a:lnTo>
                  <a:lnTo>
                    <a:pt x="21" y="0"/>
                  </a:lnTo>
                  <a:lnTo>
                    <a:pt x="17" y="4"/>
                  </a:lnTo>
                  <a:lnTo>
                    <a:pt x="15" y="9"/>
                  </a:lnTo>
                  <a:lnTo>
                    <a:pt x="13" y="15"/>
                  </a:lnTo>
                  <a:lnTo>
                    <a:pt x="12" y="17"/>
                  </a:lnTo>
                  <a:lnTo>
                    <a:pt x="10" y="17"/>
                  </a:lnTo>
                  <a:lnTo>
                    <a:pt x="10" y="17"/>
                  </a:lnTo>
                  <a:lnTo>
                    <a:pt x="0" y="19"/>
                  </a:lnTo>
                  <a:lnTo>
                    <a:pt x="0" y="19"/>
                  </a:lnTo>
                  <a:lnTo>
                    <a:pt x="0" y="21"/>
                  </a:lnTo>
                  <a:lnTo>
                    <a:pt x="8" y="30"/>
                  </a:lnTo>
                  <a:lnTo>
                    <a:pt x="8" y="30"/>
                  </a:lnTo>
                  <a:lnTo>
                    <a:pt x="12" y="32"/>
                  </a:lnTo>
                  <a:lnTo>
                    <a:pt x="13" y="32"/>
                  </a:lnTo>
                  <a:lnTo>
                    <a:pt x="15" y="28"/>
                  </a:lnTo>
                  <a:lnTo>
                    <a:pt x="15" y="28"/>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 name="Freeform 35">
              <a:extLst>
                <a:ext uri="{FF2B5EF4-FFF2-40B4-BE49-F238E27FC236}">
                  <a16:creationId xmlns:a16="http://schemas.microsoft.com/office/drawing/2014/main" id="{B63EDAB3-7C1F-4CB9-A92C-697C93D1A1F9}"/>
                </a:ext>
              </a:extLst>
            </p:cNvPr>
            <p:cNvSpPr>
              <a:spLocks/>
            </p:cNvSpPr>
            <p:nvPr/>
          </p:nvSpPr>
          <p:spPr bwMode="auto">
            <a:xfrm>
              <a:off x="6655710" y="4769963"/>
              <a:ext cx="10900" cy="10900"/>
            </a:xfrm>
            <a:custGeom>
              <a:avLst/>
              <a:gdLst/>
              <a:ahLst/>
              <a:cxnLst>
                <a:cxn ang="0">
                  <a:pos x="0" y="13"/>
                </a:cxn>
                <a:cxn ang="0">
                  <a:pos x="0" y="13"/>
                </a:cxn>
                <a:cxn ang="0">
                  <a:pos x="8" y="13"/>
                </a:cxn>
                <a:cxn ang="0">
                  <a:pos x="10" y="13"/>
                </a:cxn>
                <a:cxn ang="0">
                  <a:pos x="12" y="10"/>
                </a:cxn>
                <a:cxn ang="0">
                  <a:pos x="12" y="8"/>
                </a:cxn>
                <a:cxn ang="0">
                  <a:pos x="8" y="2"/>
                </a:cxn>
                <a:cxn ang="0">
                  <a:pos x="4" y="0"/>
                </a:cxn>
                <a:cxn ang="0">
                  <a:pos x="2" y="0"/>
                </a:cxn>
                <a:cxn ang="0">
                  <a:pos x="2" y="0"/>
                </a:cxn>
                <a:cxn ang="0">
                  <a:pos x="2" y="4"/>
                </a:cxn>
                <a:cxn ang="0">
                  <a:pos x="2" y="8"/>
                </a:cxn>
                <a:cxn ang="0">
                  <a:pos x="2" y="8"/>
                </a:cxn>
                <a:cxn ang="0">
                  <a:pos x="0" y="13"/>
                </a:cxn>
                <a:cxn ang="0">
                  <a:pos x="0" y="13"/>
                </a:cxn>
              </a:cxnLst>
              <a:rect l="0" t="0" r="r" b="b"/>
              <a:pathLst>
                <a:path w="12" h="13">
                  <a:moveTo>
                    <a:pt x="0" y="13"/>
                  </a:moveTo>
                  <a:lnTo>
                    <a:pt x="0" y="13"/>
                  </a:lnTo>
                  <a:lnTo>
                    <a:pt x="8" y="13"/>
                  </a:lnTo>
                  <a:lnTo>
                    <a:pt x="10" y="13"/>
                  </a:lnTo>
                  <a:lnTo>
                    <a:pt x="12" y="10"/>
                  </a:lnTo>
                  <a:lnTo>
                    <a:pt x="12" y="8"/>
                  </a:lnTo>
                  <a:lnTo>
                    <a:pt x="8" y="2"/>
                  </a:lnTo>
                  <a:lnTo>
                    <a:pt x="4" y="0"/>
                  </a:lnTo>
                  <a:lnTo>
                    <a:pt x="2" y="0"/>
                  </a:lnTo>
                  <a:lnTo>
                    <a:pt x="2" y="0"/>
                  </a:lnTo>
                  <a:lnTo>
                    <a:pt x="2" y="4"/>
                  </a:lnTo>
                  <a:lnTo>
                    <a:pt x="2" y="8"/>
                  </a:lnTo>
                  <a:lnTo>
                    <a:pt x="2" y="8"/>
                  </a:lnTo>
                  <a:lnTo>
                    <a:pt x="0" y="13"/>
                  </a:lnTo>
                  <a:lnTo>
                    <a:pt x="0" y="13"/>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6" name="Freeform 36">
              <a:extLst>
                <a:ext uri="{FF2B5EF4-FFF2-40B4-BE49-F238E27FC236}">
                  <a16:creationId xmlns:a16="http://schemas.microsoft.com/office/drawing/2014/main" id="{D5239A24-7BA2-4458-B0EC-C7E3384B405F}"/>
                </a:ext>
              </a:extLst>
            </p:cNvPr>
            <p:cNvSpPr>
              <a:spLocks/>
            </p:cNvSpPr>
            <p:nvPr/>
          </p:nvSpPr>
          <p:spPr bwMode="auto">
            <a:xfrm>
              <a:off x="6641177" y="4806296"/>
              <a:ext cx="9084" cy="12716"/>
            </a:xfrm>
            <a:custGeom>
              <a:avLst/>
              <a:gdLst/>
              <a:ahLst/>
              <a:cxnLst>
                <a:cxn ang="0">
                  <a:pos x="1" y="0"/>
                </a:cxn>
                <a:cxn ang="0">
                  <a:pos x="1" y="0"/>
                </a:cxn>
                <a:cxn ang="0">
                  <a:pos x="0" y="2"/>
                </a:cxn>
                <a:cxn ang="0">
                  <a:pos x="0" y="6"/>
                </a:cxn>
                <a:cxn ang="0">
                  <a:pos x="3" y="12"/>
                </a:cxn>
                <a:cxn ang="0">
                  <a:pos x="9" y="13"/>
                </a:cxn>
                <a:cxn ang="0">
                  <a:pos x="11" y="13"/>
                </a:cxn>
                <a:cxn ang="0">
                  <a:pos x="11" y="10"/>
                </a:cxn>
                <a:cxn ang="0">
                  <a:pos x="11" y="10"/>
                </a:cxn>
                <a:cxn ang="0">
                  <a:pos x="7" y="2"/>
                </a:cxn>
                <a:cxn ang="0">
                  <a:pos x="5" y="0"/>
                </a:cxn>
                <a:cxn ang="0">
                  <a:pos x="1" y="0"/>
                </a:cxn>
                <a:cxn ang="0">
                  <a:pos x="1" y="0"/>
                </a:cxn>
              </a:cxnLst>
              <a:rect l="0" t="0" r="r" b="b"/>
              <a:pathLst>
                <a:path w="11" h="13">
                  <a:moveTo>
                    <a:pt x="1" y="0"/>
                  </a:moveTo>
                  <a:lnTo>
                    <a:pt x="1" y="0"/>
                  </a:lnTo>
                  <a:lnTo>
                    <a:pt x="0" y="2"/>
                  </a:lnTo>
                  <a:lnTo>
                    <a:pt x="0" y="6"/>
                  </a:lnTo>
                  <a:lnTo>
                    <a:pt x="3" y="12"/>
                  </a:lnTo>
                  <a:lnTo>
                    <a:pt x="9" y="13"/>
                  </a:lnTo>
                  <a:lnTo>
                    <a:pt x="11" y="13"/>
                  </a:lnTo>
                  <a:lnTo>
                    <a:pt x="11" y="10"/>
                  </a:lnTo>
                  <a:lnTo>
                    <a:pt x="11" y="10"/>
                  </a:lnTo>
                  <a:lnTo>
                    <a:pt x="7" y="2"/>
                  </a:lnTo>
                  <a:lnTo>
                    <a:pt x="5" y="0"/>
                  </a:lnTo>
                  <a:lnTo>
                    <a:pt x="1" y="0"/>
                  </a:lnTo>
                  <a:lnTo>
                    <a:pt x="1" y="0"/>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 name="Freeform 37">
              <a:extLst>
                <a:ext uri="{FF2B5EF4-FFF2-40B4-BE49-F238E27FC236}">
                  <a16:creationId xmlns:a16="http://schemas.microsoft.com/office/drawing/2014/main" id="{24F15992-066C-40AE-AAD5-12F5744223D4}"/>
                </a:ext>
              </a:extLst>
            </p:cNvPr>
            <p:cNvSpPr>
              <a:spLocks/>
            </p:cNvSpPr>
            <p:nvPr/>
          </p:nvSpPr>
          <p:spPr bwMode="auto">
            <a:xfrm>
              <a:off x="6623011" y="4824462"/>
              <a:ext cx="18167" cy="10900"/>
            </a:xfrm>
            <a:custGeom>
              <a:avLst/>
              <a:gdLst/>
              <a:ahLst/>
              <a:cxnLst>
                <a:cxn ang="0">
                  <a:pos x="0" y="8"/>
                </a:cxn>
                <a:cxn ang="0">
                  <a:pos x="0" y="8"/>
                </a:cxn>
                <a:cxn ang="0">
                  <a:pos x="9" y="11"/>
                </a:cxn>
                <a:cxn ang="0">
                  <a:pos x="15" y="13"/>
                </a:cxn>
                <a:cxn ang="0">
                  <a:pos x="19" y="11"/>
                </a:cxn>
                <a:cxn ang="0">
                  <a:pos x="21" y="9"/>
                </a:cxn>
                <a:cxn ang="0">
                  <a:pos x="21" y="6"/>
                </a:cxn>
                <a:cxn ang="0">
                  <a:pos x="19" y="2"/>
                </a:cxn>
                <a:cxn ang="0">
                  <a:pos x="15" y="0"/>
                </a:cxn>
                <a:cxn ang="0">
                  <a:pos x="11" y="0"/>
                </a:cxn>
                <a:cxn ang="0">
                  <a:pos x="11" y="0"/>
                </a:cxn>
                <a:cxn ang="0">
                  <a:pos x="9" y="0"/>
                </a:cxn>
                <a:cxn ang="0">
                  <a:pos x="9" y="0"/>
                </a:cxn>
                <a:cxn ang="0">
                  <a:pos x="4" y="4"/>
                </a:cxn>
                <a:cxn ang="0">
                  <a:pos x="0" y="8"/>
                </a:cxn>
                <a:cxn ang="0">
                  <a:pos x="0" y="8"/>
                </a:cxn>
              </a:cxnLst>
              <a:rect l="0" t="0" r="r" b="b"/>
              <a:pathLst>
                <a:path w="21" h="13">
                  <a:moveTo>
                    <a:pt x="0" y="8"/>
                  </a:moveTo>
                  <a:lnTo>
                    <a:pt x="0" y="8"/>
                  </a:lnTo>
                  <a:lnTo>
                    <a:pt x="9" y="11"/>
                  </a:lnTo>
                  <a:lnTo>
                    <a:pt x="15" y="13"/>
                  </a:lnTo>
                  <a:lnTo>
                    <a:pt x="19" y="11"/>
                  </a:lnTo>
                  <a:lnTo>
                    <a:pt x="21" y="9"/>
                  </a:lnTo>
                  <a:lnTo>
                    <a:pt x="21" y="6"/>
                  </a:lnTo>
                  <a:lnTo>
                    <a:pt x="19" y="2"/>
                  </a:lnTo>
                  <a:lnTo>
                    <a:pt x="15" y="0"/>
                  </a:lnTo>
                  <a:lnTo>
                    <a:pt x="11" y="0"/>
                  </a:lnTo>
                  <a:lnTo>
                    <a:pt x="11" y="0"/>
                  </a:lnTo>
                  <a:lnTo>
                    <a:pt x="9" y="0"/>
                  </a:lnTo>
                  <a:lnTo>
                    <a:pt x="9" y="0"/>
                  </a:lnTo>
                  <a:lnTo>
                    <a:pt x="4" y="4"/>
                  </a:lnTo>
                  <a:lnTo>
                    <a:pt x="0" y="8"/>
                  </a:lnTo>
                  <a:lnTo>
                    <a:pt x="0" y="8"/>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 name="Freeform 38">
              <a:extLst>
                <a:ext uri="{FF2B5EF4-FFF2-40B4-BE49-F238E27FC236}">
                  <a16:creationId xmlns:a16="http://schemas.microsoft.com/office/drawing/2014/main" id="{E00A8E00-6F45-448F-86DB-2619FAA99CFA}"/>
                </a:ext>
              </a:extLst>
            </p:cNvPr>
            <p:cNvSpPr>
              <a:spLocks/>
            </p:cNvSpPr>
            <p:nvPr/>
          </p:nvSpPr>
          <p:spPr bwMode="auto">
            <a:xfrm>
              <a:off x="6623011" y="4875329"/>
              <a:ext cx="10900" cy="7267"/>
            </a:xfrm>
            <a:custGeom>
              <a:avLst/>
              <a:gdLst/>
              <a:ahLst/>
              <a:cxnLst>
                <a:cxn ang="0">
                  <a:pos x="4" y="0"/>
                </a:cxn>
                <a:cxn ang="0">
                  <a:pos x="4" y="0"/>
                </a:cxn>
                <a:cxn ang="0">
                  <a:pos x="0" y="2"/>
                </a:cxn>
                <a:cxn ang="0">
                  <a:pos x="2" y="6"/>
                </a:cxn>
                <a:cxn ang="0">
                  <a:pos x="2" y="8"/>
                </a:cxn>
                <a:cxn ang="0">
                  <a:pos x="6" y="9"/>
                </a:cxn>
                <a:cxn ang="0">
                  <a:pos x="11" y="9"/>
                </a:cxn>
                <a:cxn ang="0">
                  <a:pos x="13" y="9"/>
                </a:cxn>
                <a:cxn ang="0">
                  <a:pos x="13" y="6"/>
                </a:cxn>
                <a:cxn ang="0">
                  <a:pos x="13" y="6"/>
                </a:cxn>
                <a:cxn ang="0">
                  <a:pos x="11" y="2"/>
                </a:cxn>
                <a:cxn ang="0">
                  <a:pos x="9" y="0"/>
                </a:cxn>
                <a:cxn ang="0">
                  <a:pos x="4" y="0"/>
                </a:cxn>
                <a:cxn ang="0">
                  <a:pos x="4" y="0"/>
                </a:cxn>
              </a:cxnLst>
              <a:rect l="0" t="0" r="r" b="b"/>
              <a:pathLst>
                <a:path w="13" h="9">
                  <a:moveTo>
                    <a:pt x="4" y="0"/>
                  </a:moveTo>
                  <a:lnTo>
                    <a:pt x="4" y="0"/>
                  </a:lnTo>
                  <a:lnTo>
                    <a:pt x="0" y="2"/>
                  </a:lnTo>
                  <a:lnTo>
                    <a:pt x="2" y="6"/>
                  </a:lnTo>
                  <a:lnTo>
                    <a:pt x="2" y="8"/>
                  </a:lnTo>
                  <a:lnTo>
                    <a:pt x="6" y="9"/>
                  </a:lnTo>
                  <a:lnTo>
                    <a:pt x="11" y="9"/>
                  </a:lnTo>
                  <a:lnTo>
                    <a:pt x="13" y="9"/>
                  </a:lnTo>
                  <a:lnTo>
                    <a:pt x="13" y="6"/>
                  </a:lnTo>
                  <a:lnTo>
                    <a:pt x="13" y="6"/>
                  </a:lnTo>
                  <a:lnTo>
                    <a:pt x="11" y="2"/>
                  </a:lnTo>
                  <a:lnTo>
                    <a:pt x="9" y="0"/>
                  </a:lnTo>
                  <a:lnTo>
                    <a:pt x="4" y="0"/>
                  </a:lnTo>
                  <a:lnTo>
                    <a:pt x="4" y="0"/>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 name="Freeform 39">
              <a:extLst>
                <a:ext uri="{FF2B5EF4-FFF2-40B4-BE49-F238E27FC236}">
                  <a16:creationId xmlns:a16="http://schemas.microsoft.com/office/drawing/2014/main" id="{DA85F433-89ED-4279-812E-00778FD5AA88}"/>
                </a:ext>
              </a:extLst>
            </p:cNvPr>
            <p:cNvSpPr>
              <a:spLocks/>
            </p:cNvSpPr>
            <p:nvPr/>
          </p:nvSpPr>
          <p:spPr bwMode="auto">
            <a:xfrm>
              <a:off x="6637544" y="4898946"/>
              <a:ext cx="14533" cy="27249"/>
            </a:xfrm>
            <a:custGeom>
              <a:avLst/>
              <a:gdLst/>
              <a:ahLst/>
              <a:cxnLst>
                <a:cxn ang="0">
                  <a:pos x="0" y="2"/>
                </a:cxn>
                <a:cxn ang="0">
                  <a:pos x="0" y="2"/>
                </a:cxn>
                <a:cxn ang="0">
                  <a:pos x="2" y="13"/>
                </a:cxn>
                <a:cxn ang="0">
                  <a:pos x="7" y="26"/>
                </a:cxn>
                <a:cxn ang="0">
                  <a:pos x="9" y="30"/>
                </a:cxn>
                <a:cxn ang="0">
                  <a:pos x="13" y="30"/>
                </a:cxn>
                <a:cxn ang="0">
                  <a:pos x="15" y="28"/>
                </a:cxn>
                <a:cxn ang="0">
                  <a:pos x="17" y="19"/>
                </a:cxn>
                <a:cxn ang="0">
                  <a:pos x="17" y="19"/>
                </a:cxn>
                <a:cxn ang="0">
                  <a:pos x="17" y="12"/>
                </a:cxn>
                <a:cxn ang="0">
                  <a:pos x="15" y="8"/>
                </a:cxn>
                <a:cxn ang="0">
                  <a:pos x="13" y="2"/>
                </a:cxn>
                <a:cxn ang="0">
                  <a:pos x="7" y="0"/>
                </a:cxn>
                <a:cxn ang="0">
                  <a:pos x="0" y="2"/>
                </a:cxn>
                <a:cxn ang="0">
                  <a:pos x="0" y="2"/>
                </a:cxn>
              </a:cxnLst>
              <a:rect l="0" t="0" r="r" b="b"/>
              <a:pathLst>
                <a:path w="17" h="30">
                  <a:moveTo>
                    <a:pt x="0" y="2"/>
                  </a:moveTo>
                  <a:lnTo>
                    <a:pt x="0" y="2"/>
                  </a:lnTo>
                  <a:lnTo>
                    <a:pt x="2" y="13"/>
                  </a:lnTo>
                  <a:lnTo>
                    <a:pt x="7" y="26"/>
                  </a:lnTo>
                  <a:lnTo>
                    <a:pt x="9" y="30"/>
                  </a:lnTo>
                  <a:lnTo>
                    <a:pt x="13" y="30"/>
                  </a:lnTo>
                  <a:lnTo>
                    <a:pt x="15" y="28"/>
                  </a:lnTo>
                  <a:lnTo>
                    <a:pt x="17" y="19"/>
                  </a:lnTo>
                  <a:lnTo>
                    <a:pt x="17" y="19"/>
                  </a:lnTo>
                  <a:lnTo>
                    <a:pt x="17" y="12"/>
                  </a:lnTo>
                  <a:lnTo>
                    <a:pt x="15" y="8"/>
                  </a:lnTo>
                  <a:lnTo>
                    <a:pt x="13" y="2"/>
                  </a:lnTo>
                  <a:lnTo>
                    <a:pt x="7" y="0"/>
                  </a:lnTo>
                  <a:lnTo>
                    <a:pt x="0" y="2"/>
                  </a:lnTo>
                  <a:lnTo>
                    <a:pt x="0" y="2"/>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 name="Freeform 40">
              <a:extLst>
                <a:ext uri="{FF2B5EF4-FFF2-40B4-BE49-F238E27FC236}">
                  <a16:creationId xmlns:a16="http://schemas.microsoft.com/office/drawing/2014/main" id="{20DDEBE1-1A77-4085-AD55-2536820DAF2D}"/>
                </a:ext>
              </a:extLst>
            </p:cNvPr>
            <p:cNvSpPr>
              <a:spLocks/>
            </p:cNvSpPr>
            <p:nvPr/>
          </p:nvSpPr>
          <p:spPr bwMode="auto">
            <a:xfrm>
              <a:off x="6610293" y="4933462"/>
              <a:ext cx="10900" cy="10900"/>
            </a:xfrm>
            <a:custGeom>
              <a:avLst/>
              <a:gdLst/>
              <a:ahLst/>
              <a:cxnLst>
                <a:cxn ang="0">
                  <a:pos x="0" y="0"/>
                </a:cxn>
                <a:cxn ang="0">
                  <a:pos x="0" y="0"/>
                </a:cxn>
                <a:cxn ang="0">
                  <a:pos x="0" y="5"/>
                </a:cxn>
                <a:cxn ang="0">
                  <a:pos x="0" y="9"/>
                </a:cxn>
                <a:cxn ang="0">
                  <a:pos x="4" y="11"/>
                </a:cxn>
                <a:cxn ang="0">
                  <a:pos x="6" y="11"/>
                </a:cxn>
                <a:cxn ang="0">
                  <a:pos x="9" y="9"/>
                </a:cxn>
                <a:cxn ang="0">
                  <a:pos x="11" y="7"/>
                </a:cxn>
                <a:cxn ang="0">
                  <a:pos x="11" y="3"/>
                </a:cxn>
                <a:cxn ang="0">
                  <a:pos x="7" y="0"/>
                </a:cxn>
                <a:cxn ang="0">
                  <a:pos x="7" y="0"/>
                </a:cxn>
                <a:cxn ang="0">
                  <a:pos x="4" y="0"/>
                </a:cxn>
                <a:cxn ang="0">
                  <a:pos x="0" y="0"/>
                </a:cxn>
                <a:cxn ang="0">
                  <a:pos x="0" y="0"/>
                </a:cxn>
              </a:cxnLst>
              <a:rect l="0" t="0" r="r" b="b"/>
              <a:pathLst>
                <a:path w="11" h="11">
                  <a:moveTo>
                    <a:pt x="0" y="0"/>
                  </a:moveTo>
                  <a:lnTo>
                    <a:pt x="0" y="0"/>
                  </a:lnTo>
                  <a:lnTo>
                    <a:pt x="0" y="5"/>
                  </a:lnTo>
                  <a:lnTo>
                    <a:pt x="0" y="9"/>
                  </a:lnTo>
                  <a:lnTo>
                    <a:pt x="4" y="11"/>
                  </a:lnTo>
                  <a:lnTo>
                    <a:pt x="6" y="11"/>
                  </a:lnTo>
                  <a:lnTo>
                    <a:pt x="9" y="9"/>
                  </a:lnTo>
                  <a:lnTo>
                    <a:pt x="11" y="7"/>
                  </a:lnTo>
                  <a:lnTo>
                    <a:pt x="11" y="3"/>
                  </a:lnTo>
                  <a:lnTo>
                    <a:pt x="7" y="0"/>
                  </a:lnTo>
                  <a:lnTo>
                    <a:pt x="7" y="0"/>
                  </a:lnTo>
                  <a:lnTo>
                    <a:pt x="4" y="0"/>
                  </a:lnTo>
                  <a:lnTo>
                    <a:pt x="0" y="0"/>
                  </a:lnTo>
                  <a:lnTo>
                    <a:pt x="0" y="0"/>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1" name="Freeform 41">
              <a:extLst>
                <a:ext uri="{FF2B5EF4-FFF2-40B4-BE49-F238E27FC236}">
                  <a16:creationId xmlns:a16="http://schemas.microsoft.com/office/drawing/2014/main" id="{384E0959-B45F-48D1-AA1C-0EBA248B043C}"/>
                </a:ext>
              </a:extLst>
            </p:cNvPr>
            <p:cNvSpPr>
              <a:spLocks/>
            </p:cNvSpPr>
            <p:nvPr/>
          </p:nvSpPr>
          <p:spPr bwMode="auto">
            <a:xfrm>
              <a:off x="6557611" y="4967979"/>
              <a:ext cx="21800" cy="18167"/>
            </a:xfrm>
            <a:custGeom>
              <a:avLst/>
              <a:gdLst/>
              <a:ahLst/>
              <a:cxnLst>
                <a:cxn ang="0">
                  <a:pos x="0" y="15"/>
                </a:cxn>
                <a:cxn ang="0">
                  <a:pos x="0" y="15"/>
                </a:cxn>
                <a:cxn ang="0">
                  <a:pos x="2" y="17"/>
                </a:cxn>
                <a:cxn ang="0">
                  <a:pos x="7" y="19"/>
                </a:cxn>
                <a:cxn ang="0">
                  <a:pos x="11" y="20"/>
                </a:cxn>
                <a:cxn ang="0">
                  <a:pos x="17" y="20"/>
                </a:cxn>
                <a:cxn ang="0">
                  <a:pos x="21" y="19"/>
                </a:cxn>
                <a:cxn ang="0">
                  <a:pos x="24" y="15"/>
                </a:cxn>
                <a:cxn ang="0">
                  <a:pos x="22" y="9"/>
                </a:cxn>
                <a:cxn ang="0">
                  <a:pos x="19" y="0"/>
                </a:cxn>
                <a:cxn ang="0">
                  <a:pos x="19" y="0"/>
                </a:cxn>
                <a:cxn ang="0">
                  <a:pos x="15" y="2"/>
                </a:cxn>
                <a:cxn ang="0">
                  <a:pos x="0" y="15"/>
                </a:cxn>
                <a:cxn ang="0">
                  <a:pos x="0" y="15"/>
                </a:cxn>
              </a:cxnLst>
              <a:rect l="0" t="0" r="r" b="b"/>
              <a:pathLst>
                <a:path w="24" h="20">
                  <a:moveTo>
                    <a:pt x="0" y="15"/>
                  </a:moveTo>
                  <a:lnTo>
                    <a:pt x="0" y="15"/>
                  </a:lnTo>
                  <a:lnTo>
                    <a:pt x="2" y="17"/>
                  </a:lnTo>
                  <a:lnTo>
                    <a:pt x="7" y="19"/>
                  </a:lnTo>
                  <a:lnTo>
                    <a:pt x="11" y="20"/>
                  </a:lnTo>
                  <a:lnTo>
                    <a:pt x="17" y="20"/>
                  </a:lnTo>
                  <a:lnTo>
                    <a:pt x="21" y="19"/>
                  </a:lnTo>
                  <a:lnTo>
                    <a:pt x="24" y="15"/>
                  </a:lnTo>
                  <a:lnTo>
                    <a:pt x="22" y="9"/>
                  </a:lnTo>
                  <a:lnTo>
                    <a:pt x="19" y="0"/>
                  </a:lnTo>
                  <a:lnTo>
                    <a:pt x="19" y="0"/>
                  </a:lnTo>
                  <a:lnTo>
                    <a:pt x="15" y="2"/>
                  </a:lnTo>
                  <a:lnTo>
                    <a:pt x="0" y="15"/>
                  </a:lnTo>
                  <a:lnTo>
                    <a:pt x="0" y="15"/>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2" name="Freeform 42">
              <a:extLst>
                <a:ext uri="{FF2B5EF4-FFF2-40B4-BE49-F238E27FC236}">
                  <a16:creationId xmlns:a16="http://schemas.microsoft.com/office/drawing/2014/main" id="{A29E92B9-FF15-4026-9EAE-52E590FB4A48}"/>
                </a:ext>
              </a:extLst>
            </p:cNvPr>
            <p:cNvSpPr>
              <a:spLocks/>
            </p:cNvSpPr>
            <p:nvPr/>
          </p:nvSpPr>
          <p:spPr bwMode="auto">
            <a:xfrm>
              <a:off x="6548527" y="4991595"/>
              <a:ext cx="9084" cy="12716"/>
            </a:xfrm>
            <a:custGeom>
              <a:avLst/>
              <a:gdLst/>
              <a:ahLst/>
              <a:cxnLst>
                <a:cxn ang="0">
                  <a:pos x="5" y="13"/>
                </a:cxn>
                <a:cxn ang="0">
                  <a:pos x="5" y="13"/>
                </a:cxn>
                <a:cxn ang="0">
                  <a:pos x="9" y="8"/>
                </a:cxn>
                <a:cxn ang="0">
                  <a:pos x="9" y="4"/>
                </a:cxn>
                <a:cxn ang="0">
                  <a:pos x="5" y="0"/>
                </a:cxn>
                <a:cxn ang="0">
                  <a:pos x="0" y="0"/>
                </a:cxn>
                <a:cxn ang="0">
                  <a:pos x="0" y="0"/>
                </a:cxn>
                <a:cxn ang="0">
                  <a:pos x="0" y="4"/>
                </a:cxn>
                <a:cxn ang="0">
                  <a:pos x="2" y="8"/>
                </a:cxn>
                <a:cxn ang="0">
                  <a:pos x="5" y="13"/>
                </a:cxn>
                <a:cxn ang="0">
                  <a:pos x="5" y="13"/>
                </a:cxn>
              </a:cxnLst>
              <a:rect l="0" t="0" r="r" b="b"/>
              <a:pathLst>
                <a:path w="9" h="13">
                  <a:moveTo>
                    <a:pt x="5" y="13"/>
                  </a:moveTo>
                  <a:lnTo>
                    <a:pt x="5" y="13"/>
                  </a:lnTo>
                  <a:lnTo>
                    <a:pt x="9" y="8"/>
                  </a:lnTo>
                  <a:lnTo>
                    <a:pt x="9" y="4"/>
                  </a:lnTo>
                  <a:lnTo>
                    <a:pt x="5" y="0"/>
                  </a:lnTo>
                  <a:lnTo>
                    <a:pt x="0" y="0"/>
                  </a:lnTo>
                  <a:lnTo>
                    <a:pt x="0" y="0"/>
                  </a:lnTo>
                  <a:lnTo>
                    <a:pt x="0" y="4"/>
                  </a:lnTo>
                  <a:lnTo>
                    <a:pt x="2" y="8"/>
                  </a:lnTo>
                  <a:lnTo>
                    <a:pt x="5" y="13"/>
                  </a:lnTo>
                  <a:lnTo>
                    <a:pt x="5" y="13"/>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3" name="Freeform 43">
              <a:extLst>
                <a:ext uri="{FF2B5EF4-FFF2-40B4-BE49-F238E27FC236}">
                  <a16:creationId xmlns:a16="http://schemas.microsoft.com/office/drawing/2014/main" id="{17A70BE6-AD33-4FAC-A26B-4782D72A0583}"/>
                </a:ext>
              </a:extLst>
            </p:cNvPr>
            <p:cNvSpPr>
              <a:spLocks/>
            </p:cNvSpPr>
            <p:nvPr/>
          </p:nvSpPr>
          <p:spPr bwMode="auto">
            <a:xfrm>
              <a:off x="6559427" y="4993412"/>
              <a:ext cx="16351" cy="16349"/>
            </a:xfrm>
            <a:custGeom>
              <a:avLst/>
              <a:gdLst/>
              <a:ahLst/>
              <a:cxnLst>
                <a:cxn ang="0">
                  <a:pos x="13" y="2"/>
                </a:cxn>
                <a:cxn ang="0">
                  <a:pos x="13" y="2"/>
                </a:cxn>
                <a:cxn ang="0">
                  <a:pos x="11" y="4"/>
                </a:cxn>
                <a:cxn ang="0">
                  <a:pos x="9" y="4"/>
                </a:cxn>
                <a:cxn ang="0">
                  <a:pos x="7" y="6"/>
                </a:cxn>
                <a:cxn ang="0">
                  <a:pos x="4" y="7"/>
                </a:cxn>
                <a:cxn ang="0">
                  <a:pos x="4" y="7"/>
                </a:cxn>
                <a:cxn ang="0">
                  <a:pos x="0" y="7"/>
                </a:cxn>
                <a:cxn ang="0">
                  <a:pos x="0" y="11"/>
                </a:cxn>
                <a:cxn ang="0">
                  <a:pos x="2" y="13"/>
                </a:cxn>
                <a:cxn ang="0">
                  <a:pos x="5" y="17"/>
                </a:cxn>
                <a:cxn ang="0">
                  <a:pos x="11" y="19"/>
                </a:cxn>
                <a:cxn ang="0">
                  <a:pos x="15" y="19"/>
                </a:cxn>
                <a:cxn ang="0">
                  <a:pos x="19" y="15"/>
                </a:cxn>
                <a:cxn ang="0">
                  <a:pos x="19" y="7"/>
                </a:cxn>
                <a:cxn ang="0">
                  <a:pos x="19" y="7"/>
                </a:cxn>
                <a:cxn ang="0">
                  <a:pos x="17" y="2"/>
                </a:cxn>
                <a:cxn ang="0">
                  <a:pos x="15" y="0"/>
                </a:cxn>
                <a:cxn ang="0">
                  <a:pos x="13" y="2"/>
                </a:cxn>
                <a:cxn ang="0">
                  <a:pos x="13" y="2"/>
                </a:cxn>
              </a:cxnLst>
              <a:rect l="0" t="0" r="r" b="b"/>
              <a:pathLst>
                <a:path w="19" h="19">
                  <a:moveTo>
                    <a:pt x="13" y="2"/>
                  </a:moveTo>
                  <a:lnTo>
                    <a:pt x="13" y="2"/>
                  </a:lnTo>
                  <a:lnTo>
                    <a:pt x="11" y="4"/>
                  </a:lnTo>
                  <a:lnTo>
                    <a:pt x="9" y="4"/>
                  </a:lnTo>
                  <a:lnTo>
                    <a:pt x="7" y="6"/>
                  </a:lnTo>
                  <a:lnTo>
                    <a:pt x="4" y="7"/>
                  </a:lnTo>
                  <a:lnTo>
                    <a:pt x="4" y="7"/>
                  </a:lnTo>
                  <a:lnTo>
                    <a:pt x="0" y="7"/>
                  </a:lnTo>
                  <a:lnTo>
                    <a:pt x="0" y="11"/>
                  </a:lnTo>
                  <a:lnTo>
                    <a:pt x="2" y="13"/>
                  </a:lnTo>
                  <a:lnTo>
                    <a:pt x="5" y="17"/>
                  </a:lnTo>
                  <a:lnTo>
                    <a:pt x="11" y="19"/>
                  </a:lnTo>
                  <a:lnTo>
                    <a:pt x="15" y="19"/>
                  </a:lnTo>
                  <a:lnTo>
                    <a:pt x="19" y="15"/>
                  </a:lnTo>
                  <a:lnTo>
                    <a:pt x="19" y="7"/>
                  </a:lnTo>
                  <a:lnTo>
                    <a:pt x="19" y="7"/>
                  </a:lnTo>
                  <a:lnTo>
                    <a:pt x="17" y="2"/>
                  </a:lnTo>
                  <a:lnTo>
                    <a:pt x="15" y="0"/>
                  </a:lnTo>
                  <a:lnTo>
                    <a:pt x="13" y="2"/>
                  </a:lnTo>
                  <a:lnTo>
                    <a:pt x="13" y="2"/>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4" name="Line 44">
              <a:extLst>
                <a:ext uri="{FF2B5EF4-FFF2-40B4-BE49-F238E27FC236}">
                  <a16:creationId xmlns:a16="http://schemas.microsoft.com/office/drawing/2014/main" id="{8F3D8CC0-DEAA-4118-B14A-9EB002EC2BE0}"/>
                </a:ext>
              </a:extLst>
            </p:cNvPr>
            <p:cNvSpPr>
              <a:spLocks noChangeShapeType="1"/>
            </p:cNvSpPr>
            <p:nvPr/>
          </p:nvSpPr>
          <p:spPr bwMode="auto">
            <a:xfrm>
              <a:off x="6435894" y="4588296"/>
              <a:ext cx="1817" cy="1816"/>
            </a:xfrm>
            <a:prstGeom prst="line">
              <a:avLst/>
            </a:pr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5" name="Freeform 45">
              <a:extLst>
                <a:ext uri="{FF2B5EF4-FFF2-40B4-BE49-F238E27FC236}">
                  <a16:creationId xmlns:a16="http://schemas.microsoft.com/office/drawing/2014/main" id="{EF656057-D735-4989-8F7C-E2AD08C5E04D}"/>
                </a:ext>
              </a:extLst>
            </p:cNvPr>
            <p:cNvSpPr>
              <a:spLocks/>
            </p:cNvSpPr>
            <p:nvPr/>
          </p:nvSpPr>
          <p:spPr bwMode="auto">
            <a:xfrm>
              <a:off x="6190645" y="4537430"/>
              <a:ext cx="446899" cy="554081"/>
            </a:xfrm>
            <a:custGeom>
              <a:avLst/>
              <a:gdLst/>
              <a:ahLst/>
              <a:cxnLst>
                <a:cxn ang="0">
                  <a:pos x="219" y="13"/>
                </a:cxn>
                <a:cxn ang="0">
                  <a:pos x="180" y="53"/>
                </a:cxn>
                <a:cxn ang="0">
                  <a:pos x="167" y="94"/>
                </a:cxn>
                <a:cxn ang="0">
                  <a:pos x="148" y="127"/>
                </a:cxn>
                <a:cxn ang="0">
                  <a:pos x="150" y="159"/>
                </a:cxn>
                <a:cxn ang="0">
                  <a:pos x="120" y="182"/>
                </a:cxn>
                <a:cxn ang="0">
                  <a:pos x="90" y="204"/>
                </a:cxn>
                <a:cxn ang="0">
                  <a:pos x="99" y="238"/>
                </a:cxn>
                <a:cxn ang="0">
                  <a:pos x="83" y="262"/>
                </a:cxn>
                <a:cxn ang="0">
                  <a:pos x="60" y="294"/>
                </a:cxn>
                <a:cxn ang="0">
                  <a:pos x="26" y="318"/>
                </a:cxn>
                <a:cxn ang="0">
                  <a:pos x="2" y="348"/>
                </a:cxn>
                <a:cxn ang="0">
                  <a:pos x="26" y="391"/>
                </a:cxn>
                <a:cxn ang="0">
                  <a:pos x="66" y="471"/>
                </a:cxn>
                <a:cxn ang="0">
                  <a:pos x="99" y="479"/>
                </a:cxn>
                <a:cxn ang="0">
                  <a:pos x="120" y="548"/>
                </a:cxn>
                <a:cxn ang="0">
                  <a:pos x="139" y="594"/>
                </a:cxn>
                <a:cxn ang="0">
                  <a:pos x="172" y="594"/>
                </a:cxn>
                <a:cxn ang="0">
                  <a:pos x="217" y="559"/>
                </a:cxn>
                <a:cxn ang="0">
                  <a:pos x="249" y="600"/>
                </a:cxn>
                <a:cxn ang="0">
                  <a:pos x="312" y="589"/>
                </a:cxn>
                <a:cxn ang="0">
                  <a:pos x="350" y="600"/>
                </a:cxn>
                <a:cxn ang="0">
                  <a:pos x="365" y="523"/>
                </a:cxn>
                <a:cxn ang="0">
                  <a:pos x="337" y="490"/>
                </a:cxn>
                <a:cxn ang="0">
                  <a:pos x="391" y="482"/>
                </a:cxn>
                <a:cxn ang="0">
                  <a:pos x="397" y="449"/>
                </a:cxn>
                <a:cxn ang="0">
                  <a:pos x="413" y="441"/>
                </a:cxn>
                <a:cxn ang="0">
                  <a:pos x="440" y="449"/>
                </a:cxn>
                <a:cxn ang="0">
                  <a:pos x="469" y="432"/>
                </a:cxn>
                <a:cxn ang="0">
                  <a:pos x="438" y="387"/>
                </a:cxn>
                <a:cxn ang="0">
                  <a:pos x="462" y="372"/>
                </a:cxn>
                <a:cxn ang="0">
                  <a:pos x="456" y="353"/>
                </a:cxn>
                <a:cxn ang="0">
                  <a:pos x="466" y="342"/>
                </a:cxn>
                <a:cxn ang="0">
                  <a:pos x="438" y="310"/>
                </a:cxn>
                <a:cxn ang="0">
                  <a:pos x="462" y="310"/>
                </a:cxn>
                <a:cxn ang="0">
                  <a:pos x="475" y="299"/>
                </a:cxn>
                <a:cxn ang="0">
                  <a:pos x="492" y="305"/>
                </a:cxn>
                <a:cxn ang="0">
                  <a:pos x="479" y="243"/>
                </a:cxn>
                <a:cxn ang="0">
                  <a:pos x="428" y="279"/>
                </a:cxn>
                <a:cxn ang="0">
                  <a:pos x="451" y="253"/>
                </a:cxn>
                <a:cxn ang="0">
                  <a:pos x="482" y="208"/>
                </a:cxn>
                <a:cxn ang="0">
                  <a:pos x="398" y="157"/>
                </a:cxn>
                <a:cxn ang="0">
                  <a:pos x="357" y="174"/>
                </a:cxn>
                <a:cxn ang="0">
                  <a:pos x="318" y="178"/>
                </a:cxn>
                <a:cxn ang="0">
                  <a:pos x="271" y="176"/>
                </a:cxn>
                <a:cxn ang="0">
                  <a:pos x="284" y="161"/>
                </a:cxn>
                <a:cxn ang="0">
                  <a:pos x="344" y="146"/>
                </a:cxn>
                <a:cxn ang="0">
                  <a:pos x="391" y="96"/>
                </a:cxn>
                <a:cxn ang="0">
                  <a:pos x="361" y="81"/>
                </a:cxn>
                <a:cxn ang="0">
                  <a:pos x="344" y="58"/>
                </a:cxn>
                <a:cxn ang="0">
                  <a:pos x="311" y="68"/>
                </a:cxn>
                <a:cxn ang="0">
                  <a:pos x="271" y="86"/>
                </a:cxn>
                <a:cxn ang="0">
                  <a:pos x="269" y="54"/>
                </a:cxn>
                <a:cxn ang="0">
                  <a:pos x="277" y="51"/>
                </a:cxn>
                <a:cxn ang="0">
                  <a:pos x="275" y="40"/>
                </a:cxn>
                <a:cxn ang="0">
                  <a:pos x="260" y="25"/>
                </a:cxn>
                <a:cxn ang="0">
                  <a:pos x="260" y="8"/>
                </a:cxn>
              </a:cxnLst>
              <a:rect l="0" t="0" r="r" b="b"/>
              <a:pathLst>
                <a:path w="492" h="611">
                  <a:moveTo>
                    <a:pt x="266" y="6"/>
                  </a:moveTo>
                  <a:lnTo>
                    <a:pt x="266" y="6"/>
                  </a:lnTo>
                  <a:lnTo>
                    <a:pt x="258" y="2"/>
                  </a:lnTo>
                  <a:lnTo>
                    <a:pt x="249" y="0"/>
                  </a:lnTo>
                  <a:lnTo>
                    <a:pt x="238" y="2"/>
                  </a:lnTo>
                  <a:lnTo>
                    <a:pt x="228" y="6"/>
                  </a:lnTo>
                  <a:lnTo>
                    <a:pt x="219" y="13"/>
                  </a:lnTo>
                  <a:lnTo>
                    <a:pt x="212" y="23"/>
                  </a:lnTo>
                  <a:lnTo>
                    <a:pt x="206" y="34"/>
                  </a:lnTo>
                  <a:lnTo>
                    <a:pt x="204" y="49"/>
                  </a:lnTo>
                  <a:lnTo>
                    <a:pt x="204" y="49"/>
                  </a:lnTo>
                  <a:lnTo>
                    <a:pt x="195" y="49"/>
                  </a:lnTo>
                  <a:lnTo>
                    <a:pt x="185" y="51"/>
                  </a:lnTo>
                  <a:lnTo>
                    <a:pt x="180" y="53"/>
                  </a:lnTo>
                  <a:lnTo>
                    <a:pt x="174" y="56"/>
                  </a:lnTo>
                  <a:lnTo>
                    <a:pt x="174" y="62"/>
                  </a:lnTo>
                  <a:lnTo>
                    <a:pt x="174" y="68"/>
                  </a:lnTo>
                  <a:lnTo>
                    <a:pt x="174" y="73"/>
                  </a:lnTo>
                  <a:lnTo>
                    <a:pt x="170" y="81"/>
                  </a:lnTo>
                  <a:lnTo>
                    <a:pt x="170" y="86"/>
                  </a:lnTo>
                  <a:lnTo>
                    <a:pt x="167" y="94"/>
                  </a:lnTo>
                  <a:lnTo>
                    <a:pt x="167" y="97"/>
                  </a:lnTo>
                  <a:lnTo>
                    <a:pt x="165" y="105"/>
                  </a:lnTo>
                  <a:lnTo>
                    <a:pt x="163" y="109"/>
                  </a:lnTo>
                  <a:lnTo>
                    <a:pt x="161" y="114"/>
                  </a:lnTo>
                  <a:lnTo>
                    <a:pt x="159" y="122"/>
                  </a:lnTo>
                  <a:lnTo>
                    <a:pt x="155" y="125"/>
                  </a:lnTo>
                  <a:lnTo>
                    <a:pt x="148" y="127"/>
                  </a:lnTo>
                  <a:lnTo>
                    <a:pt x="142" y="131"/>
                  </a:lnTo>
                  <a:lnTo>
                    <a:pt x="137" y="135"/>
                  </a:lnTo>
                  <a:lnTo>
                    <a:pt x="131" y="139"/>
                  </a:lnTo>
                  <a:lnTo>
                    <a:pt x="139" y="144"/>
                  </a:lnTo>
                  <a:lnTo>
                    <a:pt x="140" y="146"/>
                  </a:lnTo>
                  <a:lnTo>
                    <a:pt x="146" y="154"/>
                  </a:lnTo>
                  <a:lnTo>
                    <a:pt x="150" y="159"/>
                  </a:lnTo>
                  <a:lnTo>
                    <a:pt x="152" y="163"/>
                  </a:lnTo>
                  <a:lnTo>
                    <a:pt x="148" y="170"/>
                  </a:lnTo>
                  <a:lnTo>
                    <a:pt x="144" y="176"/>
                  </a:lnTo>
                  <a:lnTo>
                    <a:pt x="140" y="180"/>
                  </a:lnTo>
                  <a:lnTo>
                    <a:pt x="133" y="183"/>
                  </a:lnTo>
                  <a:lnTo>
                    <a:pt x="126" y="183"/>
                  </a:lnTo>
                  <a:lnTo>
                    <a:pt x="120" y="182"/>
                  </a:lnTo>
                  <a:lnTo>
                    <a:pt x="112" y="178"/>
                  </a:lnTo>
                  <a:lnTo>
                    <a:pt x="107" y="176"/>
                  </a:lnTo>
                  <a:lnTo>
                    <a:pt x="101" y="178"/>
                  </a:lnTo>
                  <a:lnTo>
                    <a:pt x="96" y="183"/>
                  </a:lnTo>
                  <a:lnTo>
                    <a:pt x="92" y="189"/>
                  </a:lnTo>
                  <a:lnTo>
                    <a:pt x="90" y="195"/>
                  </a:lnTo>
                  <a:lnTo>
                    <a:pt x="90" y="204"/>
                  </a:lnTo>
                  <a:lnTo>
                    <a:pt x="90" y="206"/>
                  </a:lnTo>
                  <a:lnTo>
                    <a:pt x="94" y="213"/>
                  </a:lnTo>
                  <a:lnTo>
                    <a:pt x="96" y="219"/>
                  </a:lnTo>
                  <a:lnTo>
                    <a:pt x="99" y="223"/>
                  </a:lnTo>
                  <a:lnTo>
                    <a:pt x="99" y="226"/>
                  </a:lnTo>
                  <a:lnTo>
                    <a:pt x="99" y="232"/>
                  </a:lnTo>
                  <a:lnTo>
                    <a:pt x="99" y="238"/>
                  </a:lnTo>
                  <a:lnTo>
                    <a:pt x="96" y="241"/>
                  </a:lnTo>
                  <a:lnTo>
                    <a:pt x="92" y="245"/>
                  </a:lnTo>
                  <a:lnTo>
                    <a:pt x="90" y="249"/>
                  </a:lnTo>
                  <a:lnTo>
                    <a:pt x="88" y="254"/>
                  </a:lnTo>
                  <a:lnTo>
                    <a:pt x="86" y="258"/>
                  </a:lnTo>
                  <a:lnTo>
                    <a:pt x="84" y="260"/>
                  </a:lnTo>
                  <a:lnTo>
                    <a:pt x="83" y="262"/>
                  </a:lnTo>
                  <a:lnTo>
                    <a:pt x="81" y="266"/>
                  </a:lnTo>
                  <a:lnTo>
                    <a:pt x="79" y="269"/>
                  </a:lnTo>
                  <a:lnTo>
                    <a:pt x="75" y="275"/>
                  </a:lnTo>
                  <a:lnTo>
                    <a:pt x="71" y="279"/>
                  </a:lnTo>
                  <a:lnTo>
                    <a:pt x="69" y="284"/>
                  </a:lnTo>
                  <a:lnTo>
                    <a:pt x="64" y="288"/>
                  </a:lnTo>
                  <a:lnTo>
                    <a:pt x="60" y="294"/>
                  </a:lnTo>
                  <a:lnTo>
                    <a:pt x="56" y="297"/>
                  </a:lnTo>
                  <a:lnTo>
                    <a:pt x="51" y="303"/>
                  </a:lnTo>
                  <a:lnTo>
                    <a:pt x="47" y="307"/>
                  </a:lnTo>
                  <a:lnTo>
                    <a:pt x="40" y="310"/>
                  </a:lnTo>
                  <a:lnTo>
                    <a:pt x="36" y="312"/>
                  </a:lnTo>
                  <a:lnTo>
                    <a:pt x="30" y="316"/>
                  </a:lnTo>
                  <a:lnTo>
                    <a:pt x="26" y="318"/>
                  </a:lnTo>
                  <a:lnTo>
                    <a:pt x="21" y="320"/>
                  </a:lnTo>
                  <a:lnTo>
                    <a:pt x="17" y="320"/>
                  </a:lnTo>
                  <a:lnTo>
                    <a:pt x="17" y="320"/>
                  </a:lnTo>
                  <a:lnTo>
                    <a:pt x="17" y="325"/>
                  </a:lnTo>
                  <a:lnTo>
                    <a:pt x="15" y="329"/>
                  </a:lnTo>
                  <a:lnTo>
                    <a:pt x="10" y="339"/>
                  </a:lnTo>
                  <a:lnTo>
                    <a:pt x="2" y="348"/>
                  </a:lnTo>
                  <a:lnTo>
                    <a:pt x="2" y="348"/>
                  </a:lnTo>
                  <a:lnTo>
                    <a:pt x="0" y="353"/>
                  </a:lnTo>
                  <a:lnTo>
                    <a:pt x="0" y="359"/>
                  </a:lnTo>
                  <a:lnTo>
                    <a:pt x="2" y="363"/>
                  </a:lnTo>
                  <a:lnTo>
                    <a:pt x="6" y="368"/>
                  </a:lnTo>
                  <a:lnTo>
                    <a:pt x="15" y="380"/>
                  </a:lnTo>
                  <a:lnTo>
                    <a:pt x="26" y="391"/>
                  </a:lnTo>
                  <a:lnTo>
                    <a:pt x="38" y="404"/>
                  </a:lnTo>
                  <a:lnTo>
                    <a:pt x="49" y="417"/>
                  </a:lnTo>
                  <a:lnTo>
                    <a:pt x="58" y="434"/>
                  </a:lnTo>
                  <a:lnTo>
                    <a:pt x="60" y="443"/>
                  </a:lnTo>
                  <a:lnTo>
                    <a:pt x="62" y="454"/>
                  </a:lnTo>
                  <a:lnTo>
                    <a:pt x="62" y="454"/>
                  </a:lnTo>
                  <a:lnTo>
                    <a:pt x="66" y="471"/>
                  </a:lnTo>
                  <a:lnTo>
                    <a:pt x="68" y="475"/>
                  </a:lnTo>
                  <a:lnTo>
                    <a:pt x="71" y="479"/>
                  </a:lnTo>
                  <a:lnTo>
                    <a:pt x="71" y="479"/>
                  </a:lnTo>
                  <a:lnTo>
                    <a:pt x="77" y="482"/>
                  </a:lnTo>
                  <a:lnTo>
                    <a:pt x="83" y="481"/>
                  </a:lnTo>
                  <a:lnTo>
                    <a:pt x="94" y="479"/>
                  </a:lnTo>
                  <a:lnTo>
                    <a:pt x="99" y="479"/>
                  </a:lnTo>
                  <a:lnTo>
                    <a:pt x="103" y="484"/>
                  </a:lnTo>
                  <a:lnTo>
                    <a:pt x="107" y="495"/>
                  </a:lnTo>
                  <a:lnTo>
                    <a:pt x="109" y="514"/>
                  </a:lnTo>
                  <a:lnTo>
                    <a:pt x="109" y="514"/>
                  </a:lnTo>
                  <a:lnTo>
                    <a:pt x="109" y="523"/>
                  </a:lnTo>
                  <a:lnTo>
                    <a:pt x="112" y="531"/>
                  </a:lnTo>
                  <a:lnTo>
                    <a:pt x="120" y="548"/>
                  </a:lnTo>
                  <a:lnTo>
                    <a:pt x="127" y="566"/>
                  </a:lnTo>
                  <a:lnTo>
                    <a:pt x="129" y="576"/>
                  </a:lnTo>
                  <a:lnTo>
                    <a:pt x="131" y="585"/>
                  </a:lnTo>
                  <a:lnTo>
                    <a:pt x="131" y="585"/>
                  </a:lnTo>
                  <a:lnTo>
                    <a:pt x="131" y="591"/>
                  </a:lnTo>
                  <a:lnTo>
                    <a:pt x="135" y="593"/>
                  </a:lnTo>
                  <a:lnTo>
                    <a:pt x="139" y="594"/>
                  </a:lnTo>
                  <a:lnTo>
                    <a:pt x="142" y="593"/>
                  </a:lnTo>
                  <a:lnTo>
                    <a:pt x="154" y="591"/>
                  </a:lnTo>
                  <a:lnTo>
                    <a:pt x="159" y="591"/>
                  </a:lnTo>
                  <a:lnTo>
                    <a:pt x="165" y="593"/>
                  </a:lnTo>
                  <a:lnTo>
                    <a:pt x="165" y="593"/>
                  </a:lnTo>
                  <a:lnTo>
                    <a:pt x="169" y="594"/>
                  </a:lnTo>
                  <a:lnTo>
                    <a:pt x="172" y="594"/>
                  </a:lnTo>
                  <a:lnTo>
                    <a:pt x="178" y="594"/>
                  </a:lnTo>
                  <a:lnTo>
                    <a:pt x="182" y="593"/>
                  </a:lnTo>
                  <a:lnTo>
                    <a:pt x="189" y="585"/>
                  </a:lnTo>
                  <a:lnTo>
                    <a:pt x="198" y="576"/>
                  </a:lnTo>
                  <a:lnTo>
                    <a:pt x="206" y="566"/>
                  </a:lnTo>
                  <a:lnTo>
                    <a:pt x="213" y="561"/>
                  </a:lnTo>
                  <a:lnTo>
                    <a:pt x="217" y="559"/>
                  </a:lnTo>
                  <a:lnTo>
                    <a:pt x="221" y="559"/>
                  </a:lnTo>
                  <a:lnTo>
                    <a:pt x="223" y="559"/>
                  </a:lnTo>
                  <a:lnTo>
                    <a:pt x="226" y="563"/>
                  </a:lnTo>
                  <a:lnTo>
                    <a:pt x="226" y="563"/>
                  </a:lnTo>
                  <a:lnTo>
                    <a:pt x="241" y="587"/>
                  </a:lnTo>
                  <a:lnTo>
                    <a:pt x="245" y="594"/>
                  </a:lnTo>
                  <a:lnTo>
                    <a:pt x="249" y="600"/>
                  </a:lnTo>
                  <a:lnTo>
                    <a:pt x="254" y="600"/>
                  </a:lnTo>
                  <a:lnTo>
                    <a:pt x="262" y="600"/>
                  </a:lnTo>
                  <a:lnTo>
                    <a:pt x="292" y="589"/>
                  </a:lnTo>
                  <a:lnTo>
                    <a:pt x="292" y="589"/>
                  </a:lnTo>
                  <a:lnTo>
                    <a:pt x="299" y="587"/>
                  </a:lnTo>
                  <a:lnTo>
                    <a:pt x="305" y="587"/>
                  </a:lnTo>
                  <a:lnTo>
                    <a:pt x="312" y="589"/>
                  </a:lnTo>
                  <a:lnTo>
                    <a:pt x="318" y="591"/>
                  </a:lnTo>
                  <a:lnTo>
                    <a:pt x="327" y="600"/>
                  </a:lnTo>
                  <a:lnTo>
                    <a:pt x="337" y="611"/>
                  </a:lnTo>
                  <a:lnTo>
                    <a:pt x="337" y="611"/>
                  </a:lnTo>
                  <a:lnTo>
                    <a:pt x="340" y="609"/>
                  </a:lnTo>
                  <a:lnTo>
                    <a:pt x="344" y="606"/>
                  </a:lnTo>
                  <a:lnTo>
                    <a:pt x="350" y="600"/>
                  </a:lnTo>
                  <a:lnTo>
                    <a:pt x="352" y="591"/>
                  </a:lnTo>
                  <a:lnTo>
                    <a:pt x="352" y="581"/>
                  </a:lnTo>
                  <a:lnTo>
                    <a:pt x="350" y="563"/>
                  </a:lnTo>
                  <a:lnTo>
                    <a:pt x="348" y="552"/>
                  </a:lnTo>
                  <a:lnTo>
                    <a:pt x="348" y="552"/>
                  </a:lnTo>
                  <a:lnTo>
                    <a:pt x="357" y="537"/>
                  </a:lnTo>
                  <a:lnTo>
                    <a:pt x="365" y="523"/>
                  </a:lnTo>
                  <a:lnTo>
                    <a:pt x="368" y="516"/>
                  </a:lnTo>
                  <a:lnTo>
                    <a:pt x="367" y="510"/>
                  </a:lnTo>
                  <a:lnTo>
                    <a:pt x="363" y="505"/>
                  </a:lnTo>
                  <a:lnTo>
                    <a:pt x="354" y="499"/>
                  </a:lnTo>
                  <a:lnTo>
                    <a:pt x="354" y="499"/>
                  </a:lnTo>
                  <a:lnTo>
                    <a:pt x="340" y="494"/>
                  </a:lnTo>
                  <a:lnTo>
                    <a:pt x="337" y="490"/>
                  </a:lnTo>
                  <a:lnTo>
                    <a:pt x="340" y="488"/>
                  </a:lnTo>
                  <a:lnTo>
                    <a:pt x="350" y="490"/>
                  </a:lnTo>
                  <a:lnTo>
                    <a:pt x="363" y="490"/>
                  </a:lnTo>
                  <a:lnTo>
                    <a:pt x="376" y="490"/>
                  </a:lnTo>
                  <a:lnTo>
                    <a:pt x="385" y="488"/>
                  </a:lnTo>
                  <a:lnTo>
                    <a:pt x="389" y="486"/>
                  </a:lnTo>
                  <a:lnTo>
                    <a:pt x="391" y="482"/>
                  </a:lnTo>
                  <a:lnTo>
                    <a:pt x="391" y="482"/>
                  </a:lnTo>
                  <a:lnTo>
                    <a:pt x="395" y="475"/>
                  </a:lnTo>
                  <a:lnTo>
                    <a:pt x="397" y="471"/>
                  </a:lnTo>
                  <a:lnTo>
                    <a:pt x="400" y="466"/>
                  </a:lnTo>
                  <a:lnTo>
                    <a:pt x="402" y="462"/>
                  </a:lnTo>
                  <a:lnTo>
                    <a:pt x="402" y="460"/>
                  </a:lnTo>
                  <a:lnTo>
                    <a:pt x="397" y="449"/>
                  </a:lnTo>
                  <a:lnTo>
                    <a:pt x="397" y="449"/>
                  </a:lnTo>
                  <a:lnTo>
                    <a:pt x="395" y="445"/>
                  </a:lnTo>
                  <a:lnTo>
                    <a:pt x="395" y="441"/>
                  </a:lnTo>
                  <a:lnTo>
                    <a:pt x="398" y="438"/>
                  </a:lnTo>
                  <a:lnTo>
                    <a:pt x="402" y="438"/>
                  </a:lnTo>
                  <a:lnTo>
                    <a:pt x="408" y="438"/>
                  </a:lnTo>
                  <a:lnTo>
                    <a:pt x="413" y="441"/>
                  </a:lnTo>
                  <a:lnTo>
                    <a:pt x="419" y="445"/>
                  </a:lnTo>
                  <a:lnTo>
                    <a:pt x="425" y="452"/>
                  </a:lnTo>
                  <a:lnTo>
                    <a:pt x="425" y="452"/>
                  </a:lnTo>
                  <a:lnTo>
                    <a:pt x="430" y="458"/>
                  </a:lnTo>
                  <a:lnTo>
                    <a:pt x="432" y="458"/>
                  </a:lnTo>
                  <a:lnTo>
                    <a:pt x="436" y="454"/>
                  </a:lnTo>
                  <a:lnTo>
                    <a:pt x="440" y="449"/>
                  </a:lnTo>
                  <a:lnTo>
                    <a:pt x="443" y="443"/>
                  </a:lnTo>
                  <a:lnTo>
                    <a:pt x="449" y="438"/>
                  </a:lnTo>
                  <a:lnTo>
                    <a:pt x="454" y="432"/>
                  </a:lnTo>
                  <a:lnTo>
                    <a:pt x="462" y="430"/>
                  </a:lnTo>
                  <a:lnTo>
                    <a:pt x="462" y="430"/>
                  </a:lnTo>
                  <a:lnTo>
                    <a:pt x="468" y="432"/>
                  </a:lnTo>
                  <a:lnTo>
                    <a:pt x="469" y="432"/>
                  </a:lnTo>
                  <a:lnTo>
                    <a:pt x="471" y="430"/>
                  </a:lnTo>
                  <a:lnTo>
                    <a:pt x="471" y="428"/>
                  </a:lnTo>
                  <a:lnTo>
                    <a:pt x="469" y="423"/>
                  </a:lnTo>
                  <a:lnTo>
                    <a:pt x="456" y="404"/>
                  </a:lnTo>
                  <a:lnTo>
                    <a:pt x="456" y="404"/>
                  </a:lnTo>
                  <a:lnTo>
                    <a:pt x="447" y="393"/>
                  </a:lnTo>
                  <a:lnTo>
                    <a:pt x="438" y="387"/>
                  </a:lnTo>
                  <a:lnTo>
                    <a:pt x="425" y="381"/>
                  </a:lnTo>
                  <a:lnTo>
                    <a:pt x="425" y="380"/>
                  </a:lnTo>
                  <a:lnTo>
                    <a:pt x="426" y="380"/>
                  </a:lnTo>
                  <a:lnTo>
                    <a:pt x="453" y="376"/>
                  </a:lnTo>
                  <a:lnTo>
                    <a:pt x="453" y="376"/>
                  </a:lnTo>
                  <a:lnTo>
                    <a:pt x="458" y="374"/>
                  </a:lnTo>
                  <a:lnTo>
                    <a:pt x="462" y="372"/>
                  </a:lnTo>
                  <a:lnTo>
                    <a:pt x="464" y="368"/>
                  </a:lnTo>
                  <a:lnTo>
                    <a:pt x="466" y="365"/>
                  </a:lnTo>
                  <a:lnTo>
                    <a:pt x="466" y="361"/>
                  </a:lnTo>
                  <a:lnTo>
                    <a:pt x="464" y="359"/>
                  </a:lnTo>
                  <a:lnTo>
                    <a:pt x="460" y="355"/>
                  </a:lnTo>
                  <a:lnTo>
                    <a:pt x="456" y="353"/>
                  </a:lnTo>
                  <a:lnTo>
                    <a:pt x="456" y="353"/>
                  </a:lnTo>
                  <a:lnTo>
                    <a:pt x="445" y="350"/>
                  </a:lnTo>
                  <a:lnTo>
                    <a:pt x="443" y="350"/>
                  </a:lnTo>
                  <a:lnTo>
                    <a:pt x="445" y="350"/>
                  </a:lnTo>
                  <a:lnTo>
                    <a:pt x="458" y="348"/>
                  </a:lnTo>
                  <a:lnTo>
                    <a:pt x="466" y="346"/>
                  </a:lnTo>
                  <a:lnTo>
                    <a:pt x="466" y="346"/>
                  </a:lnTo>
                  <a:lnTo>
                    <a:pt x="466" y="342"/>
                  </a:lnTo>
                  <a:lnTo>
                    <a:pt x="464" y="339"/>
                  </a:lnTo>
                  <a:lnTo>
                    <a:pt x="458" y="335"/>
                  </a:lnTo>
                  <a:lnTo>
                    <a:pt x="438" y="322"/>
                  </a:lnTo>
                  <a:lnTo>
                    <a:pt x="438" y="322"/>
                  </a:lnTo>
                  <a:lnTo>
                    <a:pt x="434" y="320"/>
                  </a:lnTo>
                  <a:lnTo>
                    <a:pt x="434" y="316"/>
                  </a:lnTo>
                  <a:lnTo>
                    <a:pt x="438" y="310"/>
                  </a:lnTo>
                  <a:lnTo>
                    <a:pt x="443" y="303"/>
                  </a:lnTo>
                  <a:lnTo>
                    <a:pt x="449" y="296"/>
                  </a:lnTo>
                  <a:lnTo>
                    <a:pt x="449" y="296"/>
                  </a:lnTo>
                  <a:lnTo>
                    <a:pt x="451" y="294"/>
                  </a:lnTo>
                  <a:lnTo>
                    <a:pt x="453" y="296"/>
                  </a:lnTo>
                  <a:lnTo>
                    <a:pt x="458" y="307"/>
                  </a:lnTo>
                  <a:lnTo>
                    <a:pt x="462" y="310"/>
                  </a:lnTo>
                  <a:lnTo>
                    <a:pt x="466" y="314"/>
                  </a:lnTo>
                  <a:lnTo>
                    <a:pt x="468" y="314"/>
                  </a:lnTo>
                  <a:lnTo>
                    <a:pt x="469" y="312"/>
                  </a:lnTo>
                  <a:lnTo>
                    <a:pt x="473" y="307"/>
                  </a:lnTo>
                  <a:lnTo>
                    <a:pt x="473" y="307"/>
                  </a:lnTo>
                  <a:lnTo>
                    <a:pt x="475" y="299"/>
                  </a:lnTo>
                  <a:lnTo>
                    <a:pt x="475" y="299"/>
                  </a:lnTo>
                  <a:lnTo>
                    <a:pt x="475" y="305"/>
                  </a:lnTo>
                  <a:lnTo>
                    <a:pt x="475" y="305"/>
                  </a:lnTo>
                  <a:lnTo>
                    <a:pt x="479" y="310"/>
                  </a:lnTo>
                  <a:lnTo>
                    <a:pt x="482" y="310"/>
                  </a:lnTo>
                  <a:lnTo>
                    <a:pt x="486" y="312"/>
                  </a:lnTo>
                  <a:lnTo>
                    <a:pt x="490" y="310"/>
                  </a:lnTo>
                  <a:lnTo>
                    <a:pt x="492" y="305"/>
                  </a:lnTo>
                  <a:lnTo>
                    <a:pt x="492" y="296"/>
                  </a:lnTo>
                  <a:lnTo>
                    <a:pt x="490" y="284"/>
                  </a:lnTo>
                  <a:lnTo>
                    <a:pt x="490" y="284"/>
                  </a:lnTo>
                  <a:lnTo>
                    <a:pt x="484" y="251"/>
                  </a:lnTo>
                  <a:lnTo>
                    <a:pt x="482" y="245"/>
                  </a:lnTo>
                  <a:lnTo>
                    <a:pt x="481" y="243"/>
                  </a:lnTo>
                  <a:lnTo>
                    <a:pt x="479" y="243"/>
                  </a:lnTo>
                  <a:lnTo>
                    <a:pt x="471" y="253"/>
                  </a:lnTo>
                  <a:lnTo>
                    <a:pt x="464" y="258"/>
                  </a:lnTo>
                  <a:lnTo>
                    <a:pt x="451" y="266"/>
                  </a:lnTo>
                  <a:lnTo>
                    <a:pt x="451" y="266"/>
                  </a:lnTo>
                  <a:lnTo>
                    <a:pt x="445" y="269"/>
                  </a:lnTo>
                  <a:lnTo>
                    <a:pt x="434" y="277"/>
                  </a:lnTo>
                  <a:lnTo>
                    <a:pt x="428" y="279"/>
                  </a:lnTo>
                  <a:lnTo>
                    <a:pt x="423" y="279"/>
                  </a:lnTo>
                  <a:lnTo>
                    <a:pt x="421" y="277"/>
                  </a:lnTo>
                  <a:lnTo>
                    <a:pt x="423" y="269"/>
                  </a:lnTo>
                  <a:lnTo>
                    <a:pt x="423" y="269"/>
                  </a:lnTo>
                  <a:lnTo>
                    <a:pt x="426" y="269"/>
                  </a:lnTo>
                  <a:lnTo>
                    <a:pt x="436" y="264"/>
                  </a:lnTo>
                  <a:lnTo>
                    <a:pt x="451" y="253"/>
                  </a:lnTo>
                  <a:lnTo>
                    <a:pt x="473" y="232"/>
                  </a:lnTo>
                  <a:lnTo>
                    <a:pt x="473" y="232"/>
                  </a:lnTo>
                  <a:lnTo>
                    <a:pt x="488" y="217"/>
                  </a:lnTo>
                  <a:lnTo>
                    <a:pt x="492" y="213"/>
                  </a:lnTo>
                  <a:lnTo>
                    <a:pt x="492" y="211"/>
                  </a:lnTo>
                  <a:lnTo>
                    <a:pt x="490" y="210"/>
                  </a:lnTo>
                  <a:lnTo>
                    <a:pt x="482" y="208"/>
                  </a:lnTo>
                  <a:lnTo>
                    <a:pt x="451" y="198"/>
                  </a:lnTo>
                  <a:lnTo>
                    <a:pt x="451" y="198"/>
                  </a:lnTo>
                  <a:lnTo>
                    <a:pt x="443" y="195"/>
                  </a:lnTo>
                  <a:lnTo>
                    <a:pt x="438" y="191"/>
                  </a:lnTo>
                  <a:lnTo>
                    <a:pt x="426" y="182"/>
                  </a:lnTo>
                  <a:lnTo>
                    <a:pt x="408" y="163"/>
                  </a:lnTo>
                  <a:lnTo>
                    <a:pt x="398" y="157"/>
                  </a:lnTo>
                  <a:lnTo>
                    <a:pt x="393" y="155"/>
                  </a:lnTo>
                  <a:lnTo>
                    <a:pt x="387" y="155"/>
                  </a:lnTo>
                  <a:lnTo>
                    <a:pt x="382" y="157"/>
                  </a:lnTo>
                  <a:lnTo>
                    <a:pt x="374" y="161"/>
                  </a:lnTo>
                  <a:lnTo>
                    <a:pt x="367" y="167"/>
                  </a:lnTo>
                  <a:lnTo>
                    <a:pt x="357" y="174"/>
                  </a:lnTo>
                  <a:lnTo>
                    <a:pt x="357" y="174"/>
                  </a:lnTo>
                  <a:lnTo>
                    <a:pt x="348" y="180"/>
                  </a:lnTo>
                  <a:lnTo>
                    <a:pt x="342" y="185"/>
                  </a:lnTo>
                  <a:lnTo>
                    <a:pt x="337" y="187"/>
                  </a:lnTo>
                  <a:lnTo>
                    <a:pt x="331" y="187"/>
                  </a:lnTo>
                  <a:lnTo>
                    <a:pt x="327" y="185"/>
                  </a:lnTo>
                  <a:lnTo>
                    <a:pt x="324" y="183"/>
                  </a:lnTo>
                  <a:lnTo>
                    <a:pt x="318" y="178"/>
                  </a:lnTo>
                  <a:lnTo>
                    <a:pt x="311" y="170"/>
                  </a:lnTo>
                  <a:lnTo>
                    <a:pt x="307" y="168"/>
                  </a:lnTo>
                  <a:lnTo>
                    <a:pt x="301" y="167"/>
                  </a:lnTo>
                  <a:lnTo>
                    <a:pt x="296" y="167"/>
                  </a:lnTo>
                  <a:lnTo>
                    <a:pt x="290" y="167"/>
                  </a:lnTo>
                  <a:lnTo>
                    <a:pt x="283" y="170"/>
                  </a:lnTo>
                  <a:lnTo>
                    <a:pt x="271" y="176"/>
                  </a:lnTo>
                  <a:lnTo>
                    <a:pt x="271" y="176"/>
                  </a:lnTo>
                  <a:lnTo>
                    <a:pt x="264" y="180"/>
                  </a:lnTo>
                  <a:lnTo>
                    <a:pt x="260" y="182"/>
                  </a:lnTo>
                  <a:lnTo>
                    <a:pt x="262" y="178"/>
                  </a:lnTo>
                  <a:lnTo>
                    <a:pt x="266" y="172"/>
                  </a:lnTo>
                  <a:lnTo>
                    <a:pt x="275" y="167"/>
                  </a:lnTo>
                  <a:lnTo>
                    <a:pt x="284" y="161"/>
                  </a:lnTo>
                  <a:lnTo>
                    <a:pt x="297" y="157"/>
                  </a:lnTo>
                  <a:lnTo>
                    <a:pt x="309" y="155"/>
                  </a:lnTo>
                  <a:lnTo>
                    <a:pt x="309" y="155"/>
                  </a:lnTo>
                  <a:lnTo>
                    <a:pt x="326" y="155"/>
                  </a:lnTo>
                  <a:lnTo>
                    <a:pt x="337" y="154"/>
                  </a:lnTo>
                  <a:lnTo>
                    <a:pt x="342" y="150"/>
                  </a:lnTo>
                  <a:lnTo>
                    <a:pt x="344" y="146"/>
                  </a:lnTo>
                  <a:lnTo>
                    <a:pt x="350" y="133"/>
                  </a:lnTo>
                  <a:lnTo>
                    <a:pt x="355" y="125"/>
                  </a:lnTo>
                  <a:lnTo>
                    <a:pt x="365" y="118"/>
                  </a:lnTo>
                  <a:lnTo>
                    <a:pt x="365" y="118"/>
                  </a:lnTo>
                  <a:lnTo>
                    <a:pt x="378" y="107"/>
                  </a:lnTo>
                  <a:lnTo>
                    <a:pt x="391" y="96"/>
                  </a:lnTo>
                  <a:lnTo>
                    <a:pt x="391" y="96"/>
                  </a:lnTo>
                  <a:lnTo>
                    <a:pt x="380" y="94"/>
                  </a:lnTo>
                  <a:lnTo>
                    <a:pt x="378" y="92"/>
                  </a:lnTo>
                  <a:lnTo>
                    <a:pt x="374" y="86"/>
                  </a:lnTo>
                  <a:lnTo>
                    <a:pt x="374" y="86"/>
                  </a:lnTo>
                  <a:lnTo>
                    <a:pt x="365" y="86"/>
                  </a:lnTo>
                  <a:lnTo>
                    <a:pt x="363" y="84"/>
                  </a:lnTo>
                  <a:lnTo>
                    <a:pt x="361" y="81"/>
                  </a:lnTo>
                  <a:lnTo>
                    <a:pt x="350" y="81"/>
                  </a:lnTo>
                  <a:lnTo>
                    <a:pt x="350" y="81"/>
                  </a:lnTo>
                  <a:lnTo>
                    <a:pt x="346" y="75"/>
                  </a:lnTo>
                  <a:lnTo>
                    <a:pt x="346" y="71"/>
                  </a:lnTo>
                  <a:lnTo>
                    <a:pt x="346" y="64"/>
                  </a:lnTo>
                  <a:lnTo>
                    <a:pt x="346" y="62"/>
                  </a:lnTo>
                  <a:lnTo>
                    <a:pt x="344" y="58"/>
                  </a:lnTo>
                  <a:lnTo>
                    <a:pt x="340" y="56"/>
                  </a:lnTo>
                  <a:lnTo>
                    <a:pt x="333" y="54"/>
                  </a:lnTo>
                  <a:lnTo>
                    <a:pt x="333" y="54"/>
                  </a:lnTo>
                  <a:lnTo>
                    <a:pt x="326" y="56"/>
                  </a:lnTo>
                  <a:lnTo>
                    <a:pt x="322" y="60"/>
                  </a:lnTo>
                  <a:lnTo>
                    <a:pt x="316" y="64"/>
                  </a:lnTo>
                  <a:lnTo>
                    <a:pt x="311" y="68"/>
                  </a:lnTo>
                  <a:lnTo>
                    <a:pt x="311" y="68"/>
                  </a:lnTo>
                  <a:lnTo>
                    <a:pt x="307" y="75"/>
                  </a:lnTo>
                  <a:lnTo>
                    <a:pt x="301" y="83"/>
                  </a:lnTo>
                  <a:lnTo>
                    <a:pt x="294" y="88"/>
                  </a:lnTo>
                  <a:lnTo>
                    <a:pt x="288" y="96"/>
                  </a:lnTo>
                  <a:lnTo>
                    <a:pt x="281" y="96"/>
                  </a:lnTo>
                  <a:lnTo>
                    <a:pt x="271" y="86"/>
                  </a:lnTo>
                  <a:lnTo>
                    <a:pt x="273" y="81"/>
                  </a:lnTo>
                  <a:lnTo>
                    <a:pt x="273" y="81"/>
                  </a:lnTo>
                  <a:lnTo>
                    <a:pt x="271" y="64"/>
                  </a:lnTo>
                  <a:lnTo>
                    <a:pt x="269" y="56"/>
                  </a:lnTo>
                  <a:lnTo>
                    <a:pt x="269" y="56"/>
                  </a:lnTo>
                  <a:lnTo>
                    <a:pt x="269" y="56"/>
                  </a:lnTo>
                  <a:lnTo>
                    <a:pt x="269" y="54"/>
                  </a:lnTo>
                  <a:lnTo>
                    <a:pt x="269" y="54"/>
                  </a:lnTo>
                  <a:lnTo>
                    <a:pt x="273" y="53"/>
                  </a:lnTo>
                  <a:lnTo>
                    <a:pt x="273" y="53"/>
                  </a:lnTo>
                  <a:lnTo>
                    <a:pt x="275" y="53"/>
                  </a:lnTo>
                  <a:lnTo>
                    <a:pt x="275" y="53"/>
                  </a:lnTo>
                  <a:lnTo>
                    <a:pt x="277" y="51"/>
                  </a:lnTo>
                  <a:lnTo>
                    <a:pt x="277" y="51"/>
                  </a:lnTo>
                  <a:lnTo>
                    <a:pt x="275" y="51"/>
                  </a:lnTo>
                  <a:lnTo>
                    <a:pt x="271" y="47"/>
                  </a:lnTo>
                  <a:lnTo>
                    <a:pt x="271" y="47"/>
                  </a:lnTo>
                  <a:lnTo>
                    <a:pt x="271" y="45"/>
                  </a:lnTo>
                  <a:lnTo>
                    <a:pt x="271" y="43"/>
                  </a:lnTo>
                  <a:lnTo>
                    <a:pt x="275" y="41"/>
                  </a:lnTo>
                  <a:lnTo>
                    <a:pt x="275" y="40"/>
                  </a:lnTo>
                  <a:lnTo>
                    <a:pt x="273" y="38"/>
                  </a:lnTo>
                  <a:lnTo>
                    <a:pt x="264" y="30"/>
                  </a:lnTo>
                  <a:lnTo>
                    <a:pt x="264" y="30"/>
                  </a:lnTo>
                  <a:lnTo>
                    <a:pt x="260" y="28"/>
                  </a:lnTo>
                  <a:lnTo>
                    <a:pt x="258" y="26"/>
                  </a:lnTo>
                  <a:lnTo>
                    <a:pt x="258" y="25"/>
                  </a:lnTo>
                  <a:lnTo>
                    <a:pt x="260" y="25"/>
                  </a:lnTo>
                  <a:lnTo>
                    <a:pt x="266" y="23"/>
                  </a:lnTo>
                  <a:lnTo>
                    <a:pt x="266" y="21"/>
                  </a:lnTo>
                  <a:lnTo>
                    <a:pt x="264" y="17"/>
                  </a:lnTo>
                  <a:lnTo>
                    <a:pt x="264" y="17"/>
                  </a:lnTo>
                  <a:lnTo>
                    <a:pt x="260" y="12"/>
                  </a:lnTo>
                  <a:lnTo>
                    <a:pt x="260" y="10"/>
                  </a:lnTo>
                  <a:lnTo>
                    <a:pt x="260" y="8"/>
                  </a:lnTo>
                  <a:lnTo>
                    <a:pt x="262" y="8"/>
                  </a:lnTo>
                  <a:lnTo>
                    <a:pt x="266" y="8"/>
                  </a:lnTo>
                  <a:lnTo>
                    <a:pt x="268" y="8"/>
                  </a:lnTo>
                  <a:lnTo>
                    <a:pt x="266" y="6"/>
                  </a:lnTo>
                  <a:lnTo>
                    <a:pt x="266" y="6"/>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6" name="Freeform 46">
              <a:extLst>
                <a:ext uri="{FF2B5EF4-FFF2-40B4-BE49-F238E27FC236}">
                  <a16:creationId xmlns:a16="http://schemas.microsoft.com/office/drawing/2014/main" id="{877726C6-8FB9-4074-A2F0-88C0FF86D713}"/>
                </a:ext>
              </a:extLst>
            </p:cNvPr>
            <p:cNvSpPr>
              <a:spLocks/>
            </p:cNvSpPr>
            <p:nvPr/>
          </p:nvSpPr>
          <p:spPr bwMode="auto">
            <a:xfrm>
              <a:off x="5809146" y="4168648"/>
              <a:ext cx="539549" cy="657632"/>
            </a:xfrm>
            <a:custGeom>
              <a:avLst/>
              <a:gdLst/>
              <a:ahLst/>
              <a:cxnLst>
                <a:cxn ang="0">
                  <a:pos x="540" y="587"/>
                </a:cxn>
                <a:cxn ang="0">
                  <a:pos x="570" y="564"/>
                </a:cxn>
                <a:cxn ang="0">
                  <a:pos x="568" y="532"/>
                </a:cxn>
                <a:cxn ang="0">
                  <a:pos x="587" y="499"/>
                </a:cxn>
                <a:cxn ang="0">
                  <a:pos x="594" y="461"/>
                </a:cxn>
                <a:cxn ang="0">
                  <a:pos x="536" y="452"/>
                </a:cxn>
                <a:cxn ang="0">
                  <a:pos x="488" y="443"/>
                </a:cxn>
                <a:cxn ang="0">
                  <a:pos x="486" y="405"/>
                </a:cxn>
                <a:cxn ang="0">
                  <a:pos x="432" y="351"/>
                </a:cxn>
                <a:cxn ang="0">
                  <a:pos x="469" y="310"/>
                </a:cxn>
                <a:cxn ang="0">
                  <a:pos x="450" y="280"/>
                </a:cxn>
                <a:cxn ang="0">
                  <a:pos x="476" y="269"/>
                </a:cxn>
                <a:cxn ang="0">
                  <a:pos x="521" y="271"/>
                </a:cxn>
                <a:cxn ang="0">
                  <a:pos x="508" y="222"/>
                </a:cxn>
                <a:cxn ang="0">
                  <a:pos x="471" y="228"/>
                </a:cxn>
                <a:cxn ang="0">
                  <a:pos x="430" y="256"/>
                </a:cxn>
                <a:cxn ang="0">
                  <a:pos x="405" y="202"/>
                </a:cxn>
                <a:cxn ang="0">
                  <a:pos x="372" y="196"/>
                </a:cxn>
                <a:cxn ang="0">
                  <a:pos x="381" y="129"/>
                </a:cxn>
                <a:cxn ang="0">
                  <a:pos x="347" y="116"/>
                </a:cxn>
                <a:cxn ang="0">
                  <a:pos x="319" y="88"/>
                </a:cxn>
                <a:cxn ang="0">
                  <a:pos x="265" y="75"/>
                </a:cxn>
                <a:cxn ang="0">
                  <a:pos x="220" y="30"/>
                </a:cxn>
                <a:cxn ang="0">
                  <a:pos x="155" y="9"/>
                </a:cxn>
                <a:cxn ang="0">
                  <a:pos x="155" y="47"/>
                </a:cxn>
                <a:cxn ang="0">
                  <a:pos x="190" y="63"/>
                </a:cxn>
                <a:cxn ang="0">
                  <a:pos x="202" y="101"/>
                </a:cxn>
                <a:cxn ang="0">
                  <a:pos x="142" y="133"/>
                </a:cxn>
                <a:cxn ang="0">
                  <a:pos x="101" y="86"/>
                </a:cxn>
                <a:cxn ang="0">
                  <a:pos x="75" y="106"/>
                </a:cxn>
                <a:cxn ang="0">
                  <a:pos x="76" y="157"/>
                </a:cxn>
                <a:cxn ang="0">
                  <a:pos x="50" y="175"/>
                </a:cxn>
                <a:cxn ang="0">
                  <a:pos x="41" y="226"/>
                </a:cxn>
                <a:cxn ang="0">
                  <a:pos x="0" y="228"/>
                </a:cxn>
                <a:cxn ang="0">
                  <a:pos x="30" y="258"/>
                </a:cxn>
                <a:cxn ang="0">
                  <a:pos x="47" y="297"/>
                </a:cxn>
                <a:cxn ang="0">
                  <a:pos x="86" y="319"/>
                </a:cxn>
                <a:cxn ang="0">
                  <a:pos x="118" y="306"/>
                </a:cxn>
                <a:cxn ang="0">
                  <a:pos x="138" y="387"/>
                </a:cxn>
                <a:cxn ang="0">
                  <a:pos x="95" y="417"/>
                </a:cxn>
                <a:cxn ang="0">
                  <a:pos x="84" y="478"/>
                </a:cxn>
                <a:cxn ang="0">
                  <a:pos x="129" y="499"/>
                </a:cxn>
                <a:cxn ang="0">
                  <a:pos x="147" y="530"/>
                </a:cxn>
                <a:cxn ang="0">
                  <a:pos x="144" y="592"/>
                </a:cxn>
                <a:cxn ang="0">
                  <a:pos x="157" y="620"/>
                </a:cxn>
                <a:cxn ang="0">
                  <a:pos x="185" y="686"/>
                </a:cxn>
                <a:cxn ang="0">
                  <a:pos x="237" y="654"/>
                </a:cxn>
                <a:cxn ang="0">
                  <a:pos x="273" y="663"/>
                </a:cxn>
                <a:cxn ang="0">
                  <a:pos x="248" y="702"/>
                </a:cxn>
                <a:cxn ang="0">
                  <a:pos x="269" y="714"/>
                </a:cxn>
                <a:cxn ang="0">
                  <a:pos x="299" y="678"/>
                </a:cxn>
                <a:cxn ang="0">
                  <a:pos x="314" y="663"/>
                </a:cxn>
                <a:cxn ang="0">
                  <a:pos x="327" y="673"/>
                </a:cxn>
                <a:cxn ang="0">
                  <a:pos x="351" y="701"/>
                </a:cxn>
                <a:cxn ang="0">
                  <a:pos x="428" y="714"/>
                </a:cxn>
                <a:cxn ang="0">
                  <a:pos x="460" y="715"/>
                </a:cxn>
                <a:cxn ang="0">
                  <a:pos x="491" y="684"/>
                </a:cxn>
                <a:cxn ang="0">
                  <a:pos x="508" y="659"/>
                </a:cxn>
                <a:cxn ang="0">
                  <a:pos x="519" y="628"/>
                </a:cxn>
              </a:cxnLst>
              <a:rect l="0" t="0" r="r" b="b"/>
              <a:pathLst>
                <a:path w="594" h="725">
                  <a:moveTo>
                    <a:pt x="510" y="600"/>
                  </a:moveTo>
                  <a:lnTo>
                    <a:pt x="512" y="594"/>
                  </a:lnTo>
                  <a:lnTo>
                    <a:pt x="516" y="588"/>
                  </a:lnTo>
                  <a:lnTo>
                    <a:pt x="521" y="583"/>
                  </a:lnTo>
                  <a:lnTo>
                    <a:pt x="527" y="581"/>
                  </a:lnTo>
                  <a:lnTo>
                    <a:pt x="532" y="583"/>
                  </a:lnTo>
                  <a:lnTo>
                    <a:pt x="540" y="587"/>
                  </a:lnTo>
                  <a:lnTo>
                    <a:pt x="546" y="588"/>
                  </a:lnTo>
                  <a:lnTo>
                    <a:pt x="553" y="588"/>
                  </a:lnTo>
                  <a:lnTo>
                    <a:pt x="560" y="585"/>
                  </a:lnTo>
                  <a:lnTo>
                    <a:pt x="564" y="581"/>
                  </a:lnTo>
                  <a:lnTo>
                    <a:pt x="568" y="575"/>
                  </a:lnTo>
                  <a:lnTo>
                    <a:pt x="572" y="568"/>
                  </a:lnTo>
                  <a:lnTo>
                    <a:pt x="570" y="564"/>
                  </a:lnTo>
                  <a:lnTo>
                    <a:pt x="566" y="559"/>
                  </a:lnTo>
                  <a:lnTo>
                    <a:pt x="560" y="551"/>
                  </a:lnTo>
                  <a:lnTo>
                    <a:pt x="559" y="549"/>
                  </a:lnTo>
                  <a:lnTo>
                    <a:pt x="551" y="544"/>
                  </a:lnTo>
                  <a:lnTo>
                    <a:pt x="557" y="540"/>
                  </a:lnTo>
                  <a:lnTo>
                    <a:pt x="562" y="536"/>
                  </a:lnTo>
                  <a:lnTo>
                    <a:pt x="568" y="532"/>
                  </a:lnTo>
                  <a:lnTo>
                    <a:pt x="575" y="530"/>
                  </a:lnTo>
                  <a:lnTo>
                    <a:pt x="579" y="527"/>
                  </a:lnTo>
                  <a:lnTo>
                    <a:pt x="581" y="519"/>
                  </a:lnTo>
                  <a:lnTo>
                    <a:pt x="583" y="514"/>
                  </a:lnTo>
                  <a:lnTo>
                    <a:pt x="585" y="510"/>
                  </a:lnTo>
                  <a:lnTo>
                    <a:pt x="587" y="502"/>
                  </a:lnTo>
                  <a:lnTo>
                    <a:pt x="587" y="499"/>
                  </a:lnTo>
                  <a:lnTo>
                    <a:pt x="590" y="491"/>
                  </a:lnTo>
                  <a:lnTo>
                    <a:pt x="590" y="486"/>
                  </a:lnTo>
                  <a:lnTo>
                    <a:pt x="594" y="478"/>
                  </a:lnTo>
                  <a:lnTo>
                    <a:pt x="594" y="473"/>
                  </a:lnTo>
                  <a:lnTo>
                    <a:pt x="594" y="467"/>
                  </a:lnTo>
                  <a:lnTo>
                    <a:pt x="594" y="461"/>
                  </a:lnTo>
                  <a:lnTo>
                    <a:pt x="594" y="461"/>
                  </a:lnTo>
                  <a:lnTo>
                    <a:pt x="583" y="461"/>
                  </a:lnTo>
                  <a:lnTo>
                    <a:pt x="574" y="461"/>
                  </a:lnTo>
                  <a:lnTo>
                    <a:pt x="566" y="458"/>
                  </a:lnTo>
                  <a:lnTo>
                    <a:pt x="557" y="452"/>
                  </a:lnTo>
                  <a:lnTo>
                    <a:pt x="557" y="452"/>
                  </a:lnTo>
                  <a:lnTo>
                    <a:pt x="549" y="450"/>
                  </a:lnTo>
                  <a:lnTo>
                    <a:pt x="536" y="452"/>
                  </a:lnTo>
                  <a:lnTo>
                    <a:pt x="508" y="456"/>
                  </a:lnTo>
                  <a:lnTo>
                    <a:pt x="493" y="458"/>
                  </a:lnTo>
                  <a:lnTo>
                    <a:pt x="486" y="456"/>
                  </a:lnTo>
                  <a:lnTo>
                    <a:pt x="482" y="454"/>
                  </a:lnTo>
                  <a:lnTo>
                    <a:pt x="482" y="452"/>
                  </a:lnTo>
                  <a:lnTo>
                    <a:pt x="484" y="448"/>
                  </a:lnTo>
                  <a:lnTo>
                    <a:pt x="488" y="443"/>
                  </a:lnTo>
                  <a:lnTo>
                    <a:pt x="488" y="443"/>
                  </a:lnTo>
                  <a:lnTo>
                    <a:pt x="493" y="433"/>
                  </a:lnTo>
                  <a:lnTo>
                    <a:pt x="497" y="426"/>
                  </a:lnTo>
                  <a:lnTo>
                    <a:pt x="497" y="420"/>
                  </a:lnTo>
                  <a:lnTo>
                    <a:pt x="495" y="415"/>
                  </a:lnTo>
                  <a:lnTo>
                    <a:pt x="491" y="411"/>
                  </a:lnTo>
                  <a:lnTo>
                    <a:pt x="486" y="405"/>
                  </a:lnTo>
                  <a:lnTo>
                    <a:pt x="473" y="398"/>
                  </a:lnTo>
                  <a:lnTo>
                    <a:pt x="458" y="390"/>
                  </a:lnTo>
                  <a:lnTo>
                    <a:pt x="450" y="385"/>
                  </a:lnTo>
                  <a:lnTo>
                    <a:pt x="443" y="377"/>
                  </a:lnTo>
                  <a:lnTo>
                    <a:pt x="437" y="370"/>
                  </a:lnTo>
                  <a:lnTo>
                    <a:pt x="433" y="360"/>
                  </a:lnTo>
                  <a:lnTo>
                    <a:pt x="432" y="351"/>
                  </a:lnTo>
                  <a:lnTo>
                    <a:pt x="430" y="338"/>
                  </a:lnTo>
                  <a:lnTo>
                    <a:pt x="430" y="338"/>
                  </a:lnTo>
                  <a:lnTo>
                    <a:pt x="433" y="334"/>
                  </a:lnTo>
                  <a:lnTo>
                    <a:pt x="441" y="331"/>
                  </a:lnTo>
                  <a:lnTo>
                    <a:pt x="458" y="319"/>
                  </a:lnTo>
                  <a:lnTo>
                    <a:pt x="467" y="314"/>
                  </a:lnTo>
                  <a:lnTo>
                    <a:pt x="469" y="310"/>
                  </a:lnTo>
                  <a:lnTo>
                    <a:pt x="471" y="306"/>
                  </a:lnTo>
                  <a:lnTo>
                    <a:pt x="471" y="303"/>
                  </a:lnTo>
                  <a:lnTo>
                    <a:pt x="469" y="299"/>
                  </a:lnTo>
                  <a:lnTo>
                    <a:pt x="465" y="293"/>
                  </a:lnTo>
                  <a:lnTo>
                    <a:pt x="460" y="288"/>
                  </a:lnTo>
                  <a:lnTo>
                    <a:pt x="460" y="288"/>
                  </a:lnTo>
                  <a:lnTo>
                    <a:pt x="450" y="280"/>
                  </a:lnTo>
                  <a:lnTo>
                    <a:pt x="448" y="276"/>
                  </a:lnTo>
                  <a:lnTo>
                    <a:pt x="448" y="275"/>
                  </a:lnTo>
                  <a:lnTo>
                    <a:pt x="448" y="273"/>
                  </a:lnTo>
                  <a:lnTo>
                    <a:pt x="450" y="271"/>
                  </a:lnTo>
                  <a:lnTo>
                    <a:pt x="456" y="269"/>
                  </a:lnTo>
                  <a:lnTo>
                    <a:pt x="465" y="269"/>
                  </a:lnTo>
                  <a:lnTo>
                    <a:pt x="476" y="269"/>
                  </a:lnTo>
                  <a:lnTo>
                    <a:pt x="486" y="273"/>
                  </a:lnTo>
                  <a:lnTo>
                    <a:pt x="493" y="275"/>
                  </a:lnTo>
                  <a:lnTo>
                    <a:pt x="493" y="275"/>
                  </a:lnTo>
                  <a:lnTo>
                    <a:pt x="504" y="278"/>
                  </a:lnTo>
                  <a:lnTo>
                    <a:pt x="512" y="278"/>
                  </a:lnTo>
                  <a:lnTo>
                    <a:pt x="518" y="276"/>
                  </a:lnTo>
                  <a:lnTo>
                    <a:pt x="521" y="271"/>
                  </a:lnTo>
                  <a:lnTo>
                    <a:pt x="523" y="263"/>
                  </a:lnTo>
                  <a:lnTo>
                    <a:pt x="523" y="256"/>
                  </a:lnTo>
                  <a:lnTo>
                    <a:pt x="521" y="248"/>
                  </a:lnTo>
                  <a:lnTo>
                    <a:pt x="519" y="241"/>
                  </a:lnTo>
                  <a:lnTo>
                    <a:pt x="519" y="241"/>
                  </a:lnTo>
                  <a:lnTo>
                    <a:pt x="514" y="232"/>
                  </a:lnTo>
                  <a:lnTo>
                    <a:pt x="508" y="222"/>
                  </a:lnTo>
                  <a:lnTo>
                    <a:pt x="503" y="218"/>
                  </a:lnTo>
                  <a:lnTo>
                    <a:pt x="497" y="215"/>
                  </a:lnTo>
                  <a:lnTo>
                    <a:pt x="493" y="213"/>
                  </a:lnTo>
                  <a:lnTo>
                    <a:pt x="488" y="215"/>
                  </a:lnTo>
                  <a:lnTo>
                    <a:pt x="484" y="217"/>
                  </a:lnTo>
                  <a:lnTo>
                    <a:pt x="480" y="218"/>
                  </a:lnTo>
                  <a:lnTo>
                    <a:pt x="471" y="228"/>
                  </a:lnTo>
                  <a:lnTo>
                    <a:pt x="465" y="237"/>
                  </a:lnTo>
                  <a:lnTo>
                    <a:pt x="460" y="245"/>
                  </a:lnTo>
                  <a:lnTo>
                    <a:pt x="456" y="250"/>
                  </a:lnTo>
                  <a:lnTo>
                    <a:pt x="456" y="250"/>
                  </a:lnTo>
                  <a:lnTo>
                    <a:pt x="445" y="254"/>
                  </a:lnTo>
                  <a:lnTo>
                    <a:pt x="437" y="256"/>
                  </a:lnTo>
                  <a:lnTo>
                    <a:pt x="430" y="256"/>
                  </a:lnTo>
                  <a:lnTo>
                    <a:pt x="424" y="256"/>
                  </a:lnTo>
                  <a:lnTo>
                    <a:pt x="420" y="252"/>
                  </a:lnTo>
                  <a:lnTo>
                    <a:pt x="417" y="248"/>
                  </a:lnTo>
                  <a:lnTo>
                    <a:pt x="411" y="239"/>
                  </a:lnTo>
                  <a:lnTo>
                    <a:pt x="407" y="226"/>
                  </a:lnTo>
                  <a:lnTo>
                    <a:pt x="405" y="213"/>
                  </a:lnTo>
                  <a:lnTo>
                    <a:pt x="405" y="202"/>
                  </a:lnTo>
                  <a:lnTo>
                    <a:pt x="404" y="192"/>
                  </a:lnTo>
                  <a:lnTo>
                    <a:pt x="404" y="192"/>
                  </a:lnTo>
                  <a:lnTo>
                    <a:pt x="398" y="189"/>
                  </a:lnTo>
                  <a:lnTo>
                    <a:pt x="398" y="189"/>
                  </a:lnTo>
                  <a:lnTo>
                    <a:pt x="387" y="194"/>
                  </a:lnTo>
                  <a:lnTo>
                    <a:pt x="379" y="196"/>
                  </a:lnTo>
                  <a:lnTo>
                    <a:pt x="372" y="196"/>
                  </a:lnTo>
                  <a:lnTo>
                    <a:pt x="366" y="196"/>
                  </a:lnTo>
                  <a:lnTo>
                    <a:pt x="362" y="192"/>
                  </a:lnTo>
                  <a:lnTo>
                    <a:pt x="362" y="183"/>
                  </a:lnTo>
                  <a:lnTo>
                    <a:pt x="366" y="172"/>
                  </a:lnTo>
                  <a:lnTo>
                    <a:pt x="366" y="172"/>
                  </a:lnTo>
                  <a:lnTo>
                    <a:pt x="379" y="140"/>
                  </a:lnTo>
                  <a:lnTo>
                    <a:pt x="381" y="129"/>
                  </a:lnTo>
                  <a:lnTo>
                    <a:pt x="381" y="121"/>
                  </a:lnTo>
                  <a:lnTo>
                    <a:pt x="379" y="116"/>
                  </a:lnTo>
                  <a:lnTo>
                    <a:pt x="377" y="114"/>
                  </a:lnTo>
                  <a:lnTo>
                    <a:pt x="374" y="112"/>
                  </a:lnTo>
                  <a:lnTo>
                    <a:pt x="370" y="112"/>
                  </a:lnTo>
                  <a:lnTo>
                    <a:pt x="359" y="114"/>
                  </a:lnTo>
                  <a:lnTo>
                    <a:pt x="347" y="116"/>
                  </a:lnTo>
                  <a:lnTo>
                    <a:pt x="338" y="118"/>
                  </a:lnTo>
                  <a:lnTo>
                    <a:pt x="334" y="116"/>
                  </a:lnTo>
                  <a:lnTo>
                    <a:pt x="332" y="114"/>
                  </a:lnTo>
                  <a:lnTo>
                    <a:pt x="332" y="114"/>
                  </a:lnTo>
                  <a:lnTo>
                    <a:pt x="329" y="103"/>
                  </a:lnTo>
                  <a:lnTo>
                    <a:pt x="325" y="93"/>
                  </a:lnTo>
                  <a:lnTo>
                    <a:pt x="319" y="88"/>
                  </a:lnTo>
                  <a:lnTo>
                    <a:pt x="314" y="82"/>
                  </a:lnTo>
                  <a:lnTo>
                    <a:pt x="310" y="78"/>
                  </a:lnTo>
                  <a:lnTo>
                    <a:pt x="304" y="76"/>
                  </a:lnTo>
                  <a:lnTo>
                    <a:pt x="293" y="76"/>
                  </a:lnTo>
                  <a:lnTo>
                    <a:pt x="282" y="76"/>
                  </a:lnTo>
                  <a:lnTo>
                    <a:pt x="271" y="75"/>
                  </a:lnTo>
                  <a:lnTo>
                    <a:pt x="265" y="75"/>
                  </a:lnTo>
                  <a:lnTo>
                    <a:pt x="260" y="71"/>
                  </a:lnTo>
                  <a:lnTo>
                    <a:pt x="254" y="67"/>
                  </a:lnTo>
                  <a:lnTo>
                    <a:pt x="250" y="60"/>
                  </a:lnTo>
                  <a:lnTo>
                    <a:pt x="250" y="60"/>
                  </a:lnTo>
                  <a:lnTo>
                    <a:pt x="237" y="45"/>
                  </a:lnTo>
                  <a:lnTo>
                    <a:pt x="228" y="35"/>
                  </a:lnTo>
                  <a:lnTo>
                    <a:pt x="220" y="30"/>
                  </a:lnTo>
                  <a:lnTo>
                    <a:pt x="215" y="26"/>
                  </a:lnTo>
                  <a:lnTo>
                    <a:pt x="196" y="19"/>
                  </a:lnTo>
                  <a:lnTo>
                    <a:pt x="183" y="13"/>
                  </a:lnTo>
                  <a:lnTo>
                    <a:pt x="164" y="0"/>
                  </a:lnTo>
                  <a:lnTo>
                    <a:pt x="164" y="0"/>
                  </a:lnTo>
                  <a:lnTo>
                    <a:pt x="157" y="7"/>
                  </a:lnTo>
                  <a:lnTo>
                    <a:pt x="155" y="9"/>
                  </a:lnTo>
                  <a:lnTo>
                    <a:pt x="146" y="15"/>
                  </a:lnTo>
                  <a:lnTo>
                    <a:pt x="146" y="15"/>
                  </a:lnTo>
                  <a:lnTo>
                    <a:pt x="146" y="24"/>
                  </a:lnTo>
                  <a:lnTo>
                    <a:pt x="147" y="33"/>
                  </a:lnTo>
                  <a:lnTo>
                    <a:pt x="149" y="39"/>
                  </a:lnTo>
                  <a:lnTo>
                    <a:pt x="151" y="43"/>
                  </a:lnTo>
                  <a:lnTo>
                    <a:pt x="155" y="47"/>
                  </a:lnTo>
                  <a:lnTo>
                    <a:pt x="159" y="48"/>
                  </a:lnTo>
                  <a:lnTo>
                    <a:pt x="166" y="50"/>
                  </a:lnTo>
                  <a:lnTo>
                    <a:pt x="176" y="52"/>
                  </a:lnTo>
                  <a:lnTo>
                    <a:pt x="183" y="54"/>
                  </a:lnTo>
                  <a:lnTo>
                    <a:pt x="185" y="56"/>
                  </a:lnTo>
                  <a:lnTo>
                    <a:pt x="189" y="60"/>
                  </a:lnTo>
                  <a:lnTo>
                    <a:pt x="190" y="63"/>
                  </a:lnTo>
                  <a:lnTo>
                    <a:pt x="190" y="69"/>
                  </a:lnTo>
                  <a:lnTo>
                    <a:pt x="190" y="69"/>
                  </a:lnTo>
                  <a:lnTo>
                    <a:pt x="194" y="82"/>
                  </a:lnTo>
                  <a:lnTo>
                    <a:pt x="198" y="90"/>
                  </a:lnTo>
                  <a:lnTo>
                    <a:pt x="202" y="93"/>
                  </a:lnTo>
                  <a:lnTo>
                    <a:pt x="204" y="97"/>
                  </a:lnTo>
                  <a:lnTo>
                    <a:pt x="202" y="101"/>
                  </a:lnTo>
                  <a:lnTo>
                    <a:pt x="196" y="104"/>
                  </a:lnTo>
                  <a:lnTo>
                    <a:pt x="168" y="127"/>
                  </a:lnTo>
                  <a:lnTo>
                    <a:pt x="168" y="127"/>
                  </a:lnTo>
                  <a:lnTo>
                    <a:pt x="161" y="131"/>
                  </a:lnTo>
                  <a:lnTo>
                    <a:pt x="153" y="134"/>
                  </a:lnTo>
                  <a:lnTo>
                    <a:pt x="147" y="134"/>
                  </a:lnTo>
                  <a:lnTo>
                    <a:pt x="142" y="133"/>
                  </a:lnTo>
                  <a:lnTo>
                    <a:pt x="138" y="129"/>
                  </a:lnTo>
                  <a:lnTo>
                    <a:pt x="134" y="123"/>
                  </a:lnTo>
                  <a:lnTo>
                    <a:pt x="127" y="112"/>
                  </a:lnTo>
                  <a:lnTo>
                    <a:pt x="119" y="101"/>
                  </a:lnTo>
                  <a:lnTo>
                    <a:pt x="112" y="91"/>
                  </a:lnTo>
                  <a:lnTo>
                    <a:pt x="106" y="88"/>
                  </a:lnTo>
                  <a:lnTo>
                    <a:pt x="101" y="86"/>
                  </a:lnTo>
                  <a:lnTo>
                    <a:pt x="93" y="88"/>
                  </a:lnTo>
                  <a:lnTo>
                    <a:pt x="86" y="90"/>
                  </a:lnTo>
                  <a:lnTo>
                    <a:pt x="86" y="90"/>
                  </a:lnTo>
                  <a:lnTo>
                    <a:pt x="80" y="93"/>
                  </a:lnTo>
                  <a:lnTo>
                    <a:pt x="76" y="97"/>
                  </a:lnTo>
                  <a:lnTo>
                    <a:pt x="75" y="103"/>
                  </a:lnTo>
                  <a:lnTo>
                    <a:pt x="75" y="106"/>
                  </a:lnTo>
                  <a:lnTo>
                    <a:pt x="76" y="118"/>
                  </a:lnTo>
                  <a:lnTo>
                    <a:pt x="80" y="129"/>
                  </a:lnTo>
                  <a:lnTo>
                    <a:pt x="84" y="140"/>
                  </a:lnTo>
                  <a:lnTo>
                    <a:pt x="84" y="146"/>
                  </a:lnTo>
                  <a:lnTo>
                    <a:pt x="82" y="149"/>
                  </a:lnTo>
                  <a:lnTo>
                    <a:pt x="80" y="153"/>
                  </a:lnTo>
                  <a:lnTo>
                    <a:pt x="76" y="157"/>
                  </a:lnTo>
                  <a:lnTo>
                    <a:pt x="71" y="161"/>
                  </a:lnTo>
                  <a:lnTo>
                    <a:pt x="62" y="162"/>
                  </a:lnTo>
                  <a:lnTo>
                    <a:pt x="62" y="162"/>
                  </a:lnTo>
                  <a:lnTo>
                    <a:pt x="56" y="164"/>
                  </a:lnTo>
                  <a:lnTo>
                    <a:pt x="52" y="168"/>
                  </a:lnTo>
                  <a:lnTo>
                    <a:pt x="50" y="172"/>
                  </a:lnTo>
                  <a:lnTo>
                    <a:pt x="50" y="175"/>
                  </a:lnTo>
                  <a:lnTo>
                    <a:pt x="50" y="187"/>
                  </a:lnTo>
                  <a:lnTo>
                    <a:pt x="54" y="198"/>
                  </a:lnTo>
                  <a:lnTo>
                    <a:pt x="54" y="209"/>
                  </a:lnTo>
                  <a:lnTo>
                    <a:pt x="54" y="215"/>
                  </a:lnTo>
                  <a:lnTo>
                    <a:pt x="52" y="220"/>
                  </a:lnTo>
                  <a:lnTo>
                    <a:pt x="47" y="224"/>
                  </a:lnTo>
                  <a:lnTo>
                    <a:pt x="41" y="226"/>
                  </a:lnTo>
                  <a:lnTo>
                    <a:pt x="32" y="228"/>
                  </a:lnTo>
                  <a:lnTo>
                    <a:pt x="20" y="230"/>
                  </a:lnTo>
                  <a:lnTo>
                    <a:pt x="20" y="230"/>
                  </a:lnTo>
                  <a:lnTo>
                    <a:pt x="13" y="226"/>
                  </a:lnTo>
                  <a:lnTo>
                    <a:pt x="5" y="224"/>
                  </a:lnTo>
                  <a:lnTo>
                    <a:pt x="2" y="226"/>
                  </a:lnTo>
                  <a:lnTo>
                    <a:pt x="0" y="228"/>
                  </a:lnTo>
                  <a:lnTo>
                    <a:pt x="2" y="233"/>
                  </a:lnTo>
                  <a:lnTo>
                    <a:pt x="4" y="243"/>
                  </a:lnTo>
                  <a:lnTo>
                    <a:pt x="4" y="243"/>
                  </a:lnTo>
                  <a:lnTo>
                    <a:pt x="7" y="248"/>
                  </a:lnTo>
                  <a:lnTo>
                    <a:pt x="13" y="252"/>
                  </a:lnTo>
                  <a:lnTo>
                    <a:pt x="24" y="256"/>
                  </a:lnTo>
                  <a:lnTo>
                    <a:pt x="30" y="258"/>
                  </a:lnTo>
                  <a:lnTo>
                    <a:pt x="35" y="263"/>
                  </a:lnTo>
                  <a:lnTo>
                    <a:pt x="37" y="269"/>
                  </a:lnTo>
                  <a:lnTo>
                    <a:pt x="39" y="280"/>
                  </a:lnTo>
                  <a:lnTo>
                    <a:pt x="39" y="280"/>
                  </a:lnTo>
                  <a:lnTo>
                    <a:pt x="41" y="289"/>
                  </a:lnTo>
                  <a:lnTo>
                    <a:pt x="43" y="295"/>
                  </a:lnTo>
                  <a:lnTo>
                    <a:pt x="47" y="297"/>
                  </a:lnTo>
                  <a:lnTo>
                    <a:pt x="50" y="297"/>
                  </a:lnTo>
                  <a:lnTo>
                    <a:pt x="56" y="299"/>
                  </a:lnTo>
                  <a:lnTo>
                    <a:pt x="63" y="301"/>
                  </a:lnTo>
                  <a:lnTo>
                    <a:pt x="71" y="306"/>
                  </a:lnTo>
                  <a:lnTo>
                    <a:pt x="82" y="316"/>
                  </a:lnTo>
                  <a:lnTo>
                    <a:pt x="82" y="316"/>
                  </a:lnTo>
                  <a:lnTo>
                    <a:pt x="86" y="319"/>
                  </a:lnTo>
                  <a:lnTo>
                    <a:pt x="90" y="321"/>
                  </a:lnTo>
                  <a:lnTo>
                    <a:pt x="95" y="321"/>
                  </a:lnTo>
                  <a:lnTo>
                    <a:pt x="99" y="319"/>
                  </a:lnTo>
                  <a:lnTo>
                    <a:pt x="105" y="314"/>
                  </a:lnTo>
                  <a:lnTo>
                    <a:pt x="112" y="308"/>
                  </a:lnTo>
                  <a:lnTo>
                    <a:pt x="116" y="306"/>
                  </a:lnTo>
                  <a:lnTo>
                    <a:pt x="118" y="306"/>
                  </a:lnTo>
                  <a:lnTo>
                    <a:pt x="121" y="308"/>
                  </a:lnTo>
                  <a:lnTo>
                    <a:pt x="123" y="312"/>
                  </a:lnTo>
                  <a:lnTo>
                    <a:pt x="131" y="329"/>
                  </a:lnTo>
                  <a:lnTo>
                    <a:pt x="136" y="360"/>
                  </a:lnTo>
                  <a:lnTo>
                    <a:pt x="136" y="360"/>
                  </a:lnTo>
                  <a:lnTo>
                    <a:pt x="138" y="375"/>
                  </a:lnTo>
                  <a:lnTo>
                    <a:pt x="138" y="387"/>
                  </a:lnTo>
                  <a:lnTo>
                    <a:pt x="136" y="394"/>
                  </a:lnTo>
                  <a:lnTo>
                    <a:pt x="134" y="402"/>
                  </a:lnTo>
                  <a:lnTo>
                    <a:pt x="131" y="405"/>
                  </a:lnTo>
                  <a:lnTo>
                    <a:pt x="125" y="407"/>
                  </a:lnTo>
                  <a:lnTo>
                    <a:pt x="116" y="411"/>
                  </a:lnTo>
                  <a:lnTo>
                    <a:pt x="103" y="415"/>
                  </a:lnTo>
                  <a:lnTo>
                    <a:pt x="95" y="417"/>
                  </a:lnTo>
                  <a:lnTo>
                    <a:pt x="90" y="422"/>
                  </a:lnTo>
                  <a:lnTo>
                    <a:pt x="84" y="430"/>
                  </a:lnTo>
                  <a:lnTo>
                    <a:pt x="78" y="441"/>
                  </a:lnTo>
                  <a:lnTo>
                    <a:pt x="75" y="454"/>
                  </a:lnTo>
                  <a:lnTo>
                    <a:pt x="71" y="471"/>
                  </a:lnTo>
                  <a:lnTo>
                    <a:pt x="71" y="471"/>
                  </a:lnTo>
                  <a:lnTo>
                    <a:pt x="84" y="478"/>
                  </a:lnTo>
                  <a:lnTo>
                    <a:pt x="90" y="484"/>
                  </a:lnTo>
                  <a:lnTo>
                    <a:pt x="95" y="491"/>
                  </a:lnTo>
                  <a:lnTo>
                    <a:pt x="95" y="491"/>
                  </a:lnTo>
                  <a:lnTo>
                    <a:pt x="97" y="493"/>
                  </a:lnTo>
                  <a:lnTo>
                    <a:pt x="103" y="495"/>
                  </a:lnTo>
                  <a:lnTo>
                    <a:pt x="114" y="495"/>
                  </a:lnTo>
                  <a:lnTo>
                    <a:pt x="129" y="499"/>
                  </a:lnTo>
                  <a:lnTo>
                    <a:pt x="136" y="501"/>
                  </a:lnTo>
                  <a:lnTo>
                    <a:pt x="144" y="506"/>
                  </a:lnTo>
                  <a:lnTo>
                    <a:pt x="144" y="506"/>
                  </a:lnTo>
                  <a:lnTo>
                    <a:pt x="157" y="517"/>
                  </a:lnTo>
                  <a:lnTo>
                    <a:pt x="159" y="519"/>
                  </a:lnTo>
                  <a:lnTo>
                    <a:pt x="157" y="523"/>
                  </a:lnTo>
                  <a:lnTo>
                    <a:pt x="147" y="530"/>
                  </a:lnTo>
                  <a:lnTo>
                    <a:pt x="140" y="540"/>
                  </a:lnTo>
                  <a:lnTo>
                    <a:pt x="133" y="551"/>
                  </a:lnTo>
                  <a:lnTo>
                    <a:pt x="133" y="551"/>
                  </a:lnTo>
                  <a:lnTo>
                    <a:pt x="131" y="557"/>
                  </a:lnTo>
                  <a:lnTo>
                    <a:pt x="131" y="564"/>
                  </a:lnTo>
                  <a:lnTo>
                    <a:pt x="136" y="577"/>
                  </a:lnTo>
                  <a:lnTo>
                    <a:pt x="144" y="592"/>
                  </a:lnTo>
                  <a:lnTo>
                    <a:pt x="146" y="600"/>
                  </a:lnTo>
                  <a:lnTo>
                    <a:pt x="147" y="607"/>
                  </a:lnTo>
                  <a:lnTo>
                    <a:pt x="147" y="607"/>
                  </a:lnTo>
                  <a:lnTo>
                    <a:pt x="149" y="615"/>
                  </a:lnTo>
                  <a:lnTo>
                    <a:pt x="151" y="618"/>
                  </a:lnTo>
                  <a:lnTo>
                    <a:pt x="155" y="620"/>
                  </a:lnTo>
                  <a:lnTo>
                    <a:pt x="157" y="620"/>
                  </a:lnTo>
                  <a:lnTo>
                    <a:pt x="161" y="622"/>
                  </a:lnTo>
                  <a:lnTo>
                    <a:pt x="164" y="630"/>
                  </a:lnTo>
                  <a:lnTo>
                    <a:pt x="170" y="644"/>
                  </a:lnTo>
                  <a:lnTo>
                    <a:pt x="176" y="667"/>
                  </a:lnTo>
                  <a:lnTo>
                    <a:pt x="176" y="667"/>
                  </a:lnTo>
                  <a:lnTo>
                    <a:pt x="179" y="678"/>
                  </a:lnTo>
                  <a:lnTo>
                    <a:pt x="185" y="686"/>
                  </a:lnTo>
                  <a:lnTo>
                    <a:pt x="185" y="686"/>
                  </a:lnTo>
                  <a:lnTo>
                    <a:pt x="189" y="687"/>
                  </a:lnTo>
                  <a:lnTo>
                    <a:pt x="192" y="687"/>
                  </a:lnTo>
                  <a:lnTo>
                    <a:pt x="200" y="686"/>
                  </a:lnTo>
                  <a:lnTo>
                    <a:pt x="209" y="680"/>
                  </a:lnTo>
                  <a:lnTo>
                    <a:pt x="219" y="671"/>
                  </a:lnTo>
                  <a:lnTo>
                    <a:pt x="237" y="654"/>
                  </a:lnTo>
                  <a:lnTo>
                    <a:pt x="245" y="650"/>
                  </a:lnTo>
                  <a:lnTo>
                    <a:pt x="248" y="648"/>
                  </a:lnTo>
                  <a:lnTo>
                    <a:pt x="252" y="650"/>
                  </a:lnTo>
                  <a:lnTo>
                    <a:pt x="252" y="650"/>
                  </a:lnTo>
                  <a:lnTo>
                    <a:pt x="267" y="656"/>
                  </a:lnTo>
                  <a:lnTo>
                    <a:pt x="271" y="659"/>
                  </a:lnTo>
                  <a:lnTo>
                    <a:pt x="273" y="663"/>
                  </a:lnTo>
                  <a:lnTo>
                    <a:pt x="273" y="665"/>
                  </a:lnTo>
                  <a:lnTo>
                    <a:pt x="271" y="669"/>
                  </a:lnTo>
                  <a:lnTo>
                    <a:pt x="267" y="674"/>
                  </a:lnTo>
                  <a:lnTo>
                    <a:pt x="260" y="680"/>
                  </a:lnTo>
                  <a:lnTo>
                    <a:pt x="254" y="687"/>
                  </a:lnTo>
                  <a:lnTo>
                    <a:pt x="248" y="697"/>
                  </a:lnTo>
                  <a:lnTo>
                    <a:pt x="248" y="702"/>
                  </a:lnTo>
                  <a:lnTo>
                    <a:pt x="248" y="708"/>
                  </a:lnTo>
                  <a:lnTo>
                    <a:pt x="248" y="708"/>
                  </a:lnTo>
                  <a:lnTo>
                    <a:pt x="250" y="712"/>
                  </a:lnTo>
                  <a:lnTo>
                    <a:pt x="252" y="714"/>
                  </a:lnTo>
                  <a:lnTo>
                    <a:pt x="256" y="715"/>
                  </a:lnTo>
                  <a:lnTo>
                    <a:pt x="260" y="715"/>
                  </a:lnTo>
                  <a:lnTo>
                    <a:pt x="269" y="714"/>
                  </a:lnTo>
                  <a:lnTo>
                    <a:pt x="280" y="708"/>
                  </a:lnTo>
                  <a:lnTo>
                    <a:pt x="290" y="701"/>
                  </a:lnTo>
                  <a:lnTo>
                    <a:pt x="295" y="693"/>
                  </a:lnTo>
                  <a:lnTo>
                    <a:pt x="301" y="686"/>
                  </a:lnTo>
                  <a:lnTo>
                    <a:pt x="301" y="682"/>
                  </a:lnTo>
                  <a:lnTo>
                    <a:pt x="299" y="678"/>
                  </a:lnTo>
                  <a:lnTo>
                    <a:pt x="299" y="678"/>
                  </a:lnTo>
                  <a:lnTo>
                    <a:pt x="297" y="676"/>
                  </a:lnTo>
                  <a:lnTo>
                    <a:pt x="299" y="673"/>
                  </a:lnTo>
                  <a:lnTo>
                    <a:pt x="301" y="669"/>
                  </a:lnTo>
                  <a:lnTo>
                    <a:pt x="303" y="667"/>
                  </a:lnTo>
                  <a:lnTo>
                    <a:pt x="306" y="663"/>
                  </a:lnTo>
                  <a:lnTo>
                    <a:pt x="310" y="663"/>
                  </a:lnTo>
                  <a:lnTo>
                    <a:pt x="314" y="663"/>
                  </a:lnTo>
                  <a:lnTo>
                    <a:pt x="318" y="667"/>
                  </a:lnTo>
                  <a:lnTo>
                    <a:pt x="318" y="667"/>
                  </a:lnTo>
                  <a:lnTo>
                    <a:pt x="319" y="671"/>
                  </a:lnTo>
                  <a:lnTo>
                    <a:pt x="319" y="673"/>
                  </a:lnTo>
                  <a:lnTo>
                    <a:pt x="321" y="673"/>
                  </a:lnTo>
                  <a:lnTo>
                    <a:pt x="327" y="673"/>
                  </a:lnTo>
                  <a:lnTo>
                    <a:pt x="327" y="673"/>
                  </a:lnTo>
                  <a:lnTo>
                    <a:pt x="336" y="674"/>
                  </a:lnTo>
                  <a:lnTo>
                    <a:pt x="340" y="676"/>
                  </a:lnTo>
                  <a:lnTo>
                    <a:pt x="342" y="678"/>
                  </a:lnTo>
                  <a:lnTo>
                    <a:pt x="344" y="684"/>
                  </a:lnTo>
                  <a:lnTo>
                    <a:pt x="346" y="691"/>
                  </a:lnTo>
                  <a:lnTo>
                    <a:pt x="349" y="699"/>
                  </a:lnTo>
                  <a:lnTo>
                    <a:pt x="351" y="701"/>
                  </a:lnTo>
                  <a:lnTo>
                    <a:pt x="357" y="704"/>
                  </a:lnTo>
                  <a:lnTo>
                    <a:pt x="362" y="706"/>
                  </a:lnTo>
                  <a:lnTo>
                    <a:pt x="372" y="708"/>
                  </a:lnTo>
                  <a:lnTo>
                    <a:pt x="394" y="710"/>
                  </a:lnTo>
                  <a:lnTo>
                    <a:pt x="394" y="710"/>
                  </a:lnTo>
                  <a:lnTo>
                    <a:pt x="415" y="710"/>
                  </a:lnTo>
                  <a:lnTo>
                    <a:pt x="428" y="714"/>
                  </a:lnTo>
                  <a:lnTo>
                    <a:pt x="433" y="719"/>
                  </a:lnTo>
                  <a:lnTo>
                    <a:pt x="437" y="725"/>
                  </a:lnTo>
                  <a:lnTo>
                    <a:pt x="441" y="725"/>
                  </a:lnTo>
                  <a:lnTo>
                    <a:pt x="446" y="723"/>
                  </a:lnTo>
                  <a:lnTo>
                    <a:pt x="450" y="721"/>
                  </a:lnTo>
                  <a:lnTo>
                    <a:pt x="456" y="717"/>
                  </a:lnTo>
                  <a:lnTo>
                    <a:pt x="460" y="715"/>
                  </a:lnTo>
                  <a:lnTo>
                    <a:pt x="467" y="712"/>
                  </a:lnTo>
                  <a:lnTo>
                    <a:pt x="471" y="708"/>
                  </a:lnTo>
                  <a:lnTo>
                    <a:pt x="476" y="702"/>
                  </a:lnTo>
                  <a:lnTo>
                    <a:pt x="480" y="699"/>
                  </a:lnTo>
                  <a:lnTo>
                    <a:pt x="484" y="693"/>
                  </a:lnTo>
                  <a:lnTo>
                    <a:pt x="489" y="689"/>
                  </a:lnTo>
                  <a:lnTo>
                    <a:pt x="491" y="684"/>
                  </a:lnTo>
                  <a:lnTo>
                    <a:pt x="495" y="680"/>
                  </a:lnTo>
                  <a:lnTo>
                    <a:pt x="499" y="674"/>
                  </a:lnTo>
                  <a:lnTo>
                    <a:pt x="501" y="671"/>
                  </a:lnTo>
                  <a:lnTo>
                    <a:pt x="503" y="667"/>
                  </a:lnTo>
                  <a:lnTo>
                    <a:pt x="504" y="665"/>
                  </a:lnTo>
                  <a:lnTo>
                    <a:pt x="506" y="663"/>
                  </a:lnTo>
                  <a:lnTo>
                    <a:pt x="508" y="659"/>
                  </a:lnTo>
                  <a:lnTo>
                    <a:pt x="510" y="654"/>
                  </a:lnTo>
                  <a:lnTo>
                    <a:pt x="512" y="650"/>
                  </a:lnTo>
                  <a:lnTo>
                    <a:pt x="516" y="646"/>
                  </a:lnTo>
                  <a:lnTo>
                    <a:pt x="519" y="643"/>
                  </a:lnTo>
                  <a:lnTo>
                    <a:pt x="519" y="637"/>
                  </a:lnTo>
                  <a:lnTo>
                    <a:pt x="521" y="631"/>
                  </a:lnTo>
                  <a:lnTo>
                    <a:pt x="519" y="628"/>
                  </a:lnTo>
                  <a:lnTo>
                    <a:pt x="516" y="624"/>
                  </a:lnTo>
                  <a:lnTo>
                    <a:pt x="514" y="618"/>
                  </a:lnTo>
                  <a:lnTo>
                    <a:pt x="510" y="611"/>
                  </a:lnTo>
                  <a:lnTo>
                    <a:pt x="510" y="609"/>
                  </a:lnTo>
                  <a:lnTo>
                    <a:pt x="510" y="600"/>
                  </a:lnTo>
                  <a:lnTo>
                    <a:pt x="510" y="600"/>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7" name="Freeform 47">
              <a:extLst>
                <a:ext uri="{FF2B5EF4-FFF2-40B4-BE49-F238E27FC236}">
                  <a16:creationId xmlns:a16="http://schemas.microsoft.com/office/drawing/2014/main" id="{4704784A-7C95-44D1-BCD9-27472D6D5D2F}"/>
                </a:ext>
              </a:extLst>
            </p:cNvPr>
            <p:cNvSpPr>
              <a:spLocks/>
            </p:cNvSpPr>
            <p:nvPr/>
          </p:nvSpPr>
          <p:spPr bwMode="auto">
            <a:xfrm>
              <a:off x="5316830" y="3965182"/>
              <a:ext cx="677615" cy="630381"/>
            </a:xfrm>
            <a:custGeom>
              <a:avLst/>
              <a:gdLst/>
              <a:ahLst/>
              <a:cxnLst>
                <a:cxn ang="0">
                  <a:pos x="660" y="530"/>
                </a:cxn>
                <a:cxn ang="0">
                  <a:pos x="632" y="545"/>
                </a:cxn>
                <a:cxn ang="0">
                  <a:pos x="598" y="523"/>
                </a:cxn>
                <a:cxn ang="0">
                  <a:pos x="581" y="504"/>
                </a:cxn>
                <a:cxn ang="0">
                  <a:pos x="549" y="472"/>
                </a:cxn>
                <a:cxn ang="0">
                  <a:pos x="547" y="448"/>
                </a:cxn>
                <a:cxn ang="0">
                  <a:pos x="589" y="448"/>
                </a:cxn>
                <a:cxn ang="0">
                  <a:pos x="592" y="399"/>
                </a:cxn>
                <a:cxn ang="0">
                  <a:pos x="613" y="385"/>
                </a:cxn>
                <a:cxn ang="0">
                  <a:pos x="622" y="353"/>
                </a:cxn>
                <a:cxn ang="0">
                  <a:pos x="628" y="314"/>
                </a:cxn>
                <a:cxn ang="0">
                  <a:pos x="661" y="325"/>
                </a:cxn>
                <a:cxn ang="0">
                  <a:pos x="695" y="358"/>
                </a:cxn>
                <a:cxn ang="0">
                  <a:pos x="746" y="321"/>
                </a:cxn>
                <a:cxn ang="0">
                  <a:pos x="732" y="287"/>
                </a:cxn>
                <a:cxn ang="0">
                  <a:pos x="701" y="272"/>
                </a:cxn>
                <a:cxn ang="0">
                  <a:pos x="688" y="239"/>
                </a:cxn>
                <a:cxn ang="0">
                  <a:pos x="600" y="231"/>
                </a:cxn>
                <a:cxn ang="0">
                  <a:pos x="585" y="201"/>
                </a:cxn>
                <a:cxn ang="0">
                  <a:pos x="566" y="188"/>
                </a:cxn>
                <a:cxn ang="0">
                  <a:pos x="521" y="183"/>
                </a:cxn>
                <a:cxn ang="0">
                  <a:pos x="547" y="134"/>
                </a:cxn>
                <a:cxn ang="0">
                  <a:pos x="579" y="114"/>
                </a:cxn>
                <a:cxn ang="0">
                  <a:pos x="618" y="67"/>
                </a:cxn>
                <a:cxn ang="0">
                  <a:pos x="658" y="26"/>
                </a:cxn>
                <a:cxn ang="0">
                  <a:pos x="656" y="24"/>
                </a:cxn>
                <a:cxn ang="0">
                  <a:pos x="622" y="41"/>
                </a:cxn>
                <a:cxn ang="0">
                  <a:pos x="594" y="58"/>
                </a:cxn>
                <a:cxn ang="0">
                  <a:pos x="575" y="50"/>
                </a:cxn>
                <a:cxn ang="0">
                  <a:pos x="590" y="15"/>
                </a:cxn>
                <a:cxn ang="0">
                  <a:pos x="564" y="20"/>
                </a:cxn>
                <a:cxn ang="0">
                  <a:pos x="542" y="18"/>
                </a:cxn>
                <a:cxn ang="0">
                  <a:pos x="523" y="30"/>
                </a:cxn>
                <a:cxn ang="0">
                  <a:pos x="376" y="97"/>
                </a:cxn>
                <a:cxn ang="0">
                  <a:pos x="312" y="147"/>
                </a:cxn>
                <a:cxn ang="0">
                  <a:pos x="293" y="160"/>
                </a:cxn>
                <a:cxn ang="0">
                  <a:pos x="202" y="168"/>
                </a:cxn>
                <a:cxn ang="0">
                  <a:pos x="185" y="185"/>
                </a:cxn>
                <a:cxn ang="0">
                  <a:pos x="144" y="218"/>
                </a:cxn>
                <a:cxn ang="0">
                  <a:pos x="73" y="239"/>
                </a:cxn>
                <a:cxn ang="0">
                  <a:pos x="0" y="263"/>
                </a:cxn>
                <a:cxn ang="0">
                  <a:pos x="19" y="310"/>
                </a:cxn>
                <a:cxn ang="0">
                  <a:pos x="37" y="353"/>
                </a:cxn>
                <a:cxn ang="0">
                  <a:pos x="54" y="379"/>
                </a:cxn>
                <a:cxn ang="0">
                  <a:pos x="73" y="398"/>
                </a:cxn>
                <a:cxn ang="0">
                  <a:pos x="75" y="444"/>
                </a:cxn>
                <a:cxn ang="0">
                  <a:pos x="103" y="476"/>
                </a:cxn>
                <a:cxn ang="0">
                  <a:pos x="136" y="525"/>
                </a:cxn>
                <a:cxn ang="0">
                  <a:pos x="181" y="543"/>
                </a:cxn>
                <a:cxn ang="0">
                  <a:pos x="248" y="570"/>
                </a:cxn>
                <a:cxn ang="0">
                  <a:pos x="290" y="568"/>
                </a:cxn>
                <a:cxn ang="0">
                  <a:pos x="329" y="558"/>
                </a:cxn>
                <a:cxn ang="0">
                  <a:pos x="376" y="573"/>
                </a:cxn>
                <a:cxn ang="0">
                  <a:pos x="407" y="556"/>
                </a:cxn>
                <a:cxn ang="0">
                  <a:pos x="411" y="611"/>
                </a:cxn>
                <a:cxn ang="0">
                  <a:pos x="441" y="642"/>
                </a:cxn>
                <a:cxn ang="0">
                  <a:pos x="476" y="641"/>
                </a:cxn>
                <a:cxn ang="0">
                  <a:pos x="525" y="670"/>
                </a:cxn>
                <a:cxn ang="0">
                  <a:pos x="561" y="685"/>
                </a:cxn>
                <a:cxn ang="0">
                  <a:pos x="592" y="665"/>
                </a:cxn>
                <a:cxn ang="0">
                  <a:pos x="613" y="695"/>
                </a:cxn>
                <a:cxn ang="0">
                  <a:pos x="637" y="641"/>
                </a:cxn>
                <a:cxn ang="0">
                  <a:pos x="678" y="618"/>
                </a:cxn>
              </a:cxnLst>
              <a:rect l="0" t="0" r="r" b="b"/>
              <a:pathLst>
                <a:path w="746" h="695">
                  <a:moveTo>
                    <a:pt x="678" y="584"/>
                  </a:moveTo>
                  <a:lnTo>
                    <a:pt x="678" y="584"/>
                  </a:lnTo>
                  <a:lnTo>
                    <a:pt x="673" y="553"/>
                  </a:lnTo>
                  <a:lnTo>
                    <a:pt x="665" y="536"/>
                  </a:lnTo>
                  <a:lnTo>
                    <a:pt x="663" y="532"/>
                  </a:lnTo>
                  <a:lnTo>
                    <a:pt x="660" y="530"/>
                  </a:lnTo>
                  <a:lnTo>
                    <a:pt x="658" y="530"/>
                  </a:lnTo>
                  <a:lnTo>
                    <a:pt x="654" y="532"/>
                  </a:lnTo>
                  <a:lnTo>
                    <a:pt x="647" y="538"/>
                  </a:lnTo>
                  <a:lnTo>
                    <a:pt x="641" y="543"/>
                  </a:lnTo>
                  <a:lnTo>
                    <a:pt x="637" y="545"/>
                  </a:lnTo>
                  <a:lnTo>
                    <a:pt x="632" y="545"/>
                  </a:lnTo>
                  <a:lnTo>
                    <a:pt x="628" y="543"/>
                  </a:lnTo>
                  <a:lnTo>
                    <a:pt x="624" y="540"/>
                  </a:lnTo>
                  <a:lnTo>
                    <a:pt x="624" y="540"/>
                  </a:lnTo>
                  <a:lnTo>
                    <a:pt x="613" y="530"/>
                  </a:lnTo>
                  <a:lnTo>
                    <a:pt x="605" y="525"/>
                  </a:lnTo>
                  <a:lnTo>
                    <a:pt x="598" y="523"/>
                  </a:lnTo>
                  <a:lnTo>
                    <a:pt x="592" y="521"/>
                  </a:lnTo>
                  <a:lnTo>
                    <a:pt x="589" y="521"/>
                  </a:lnTo>
                  <a:lnTo>
                    <a:pt x="585" y="519"/>
                  </a:lnTo>
                  <a:lnTo>
                    <a:pt x="583" y="513"/>
                  </a:lnTo>
                  <a:lnTo>
                    <a:pt x="581" y="504"/>
                  </a:lnTo>
                  <a:lnTo>
                    <a:pt x="581" y="504"/>
                  </a:lnTo>
                  <a:lnTo>
                    <a:pt x="579" y="493"/>
                  </a:lnTo>
                  <a:lnTo>
                    <a:pt x="577" y="487"/>
                  </a:lnTo>
                  <a:lnTo>
                    <a:pt x="572" y="482"/>
                  </a:lnTo>
                  <a:lnTo>
                    <a:pt x="566" y="480"/>
                  </a:lnTo>
                  <a:lnTo>
                    <a:pt x="555" y="476"/>
                  </a:lnTo>
                  <a:lnTo>
                    <a:pt x="549" y="472"/>
                  </a:lnTo>
                  <a:lnTo>
                    <a:pt x="546" y="467"/>
                  </a:lnTo>
                  <a:lnTo>
                    <a:pt x="546" y="467"/>
                  </a:lnTo>
                  <a:lnTo>
                    <a:pt x="544" y="457"/>
                  </a:lnTo>
                  <a:lnTo>
                    <a:pt x="542" y="452"/>
                  </a:lnTo>
                  <a:lnTo>
                    <a:pt x="544" y="450"/>
                  </a:lnTo>
                  <a:lnTo>
                    <a:pt x="547" y="448"/>
                  </a:lnTo>
                  <a:lnTo>
                    <a:pt x="555" y="450"/>
                  </a:lnTo>
                  <a:lnTo>
                    <a:pt x="562" y="454"/>
                  </a:lnTo>
                  <a:lnTo>
                    <a:pt x="562" y="454"/>
                  </a:lnTo>
                  <a:lnTo>
                    <a:pt x="574" y="452"/>
                  </a:lnTo>
                  <a:lnTo>
                    <a:pt x="583" y="450"/>
                  </a:lnTo>
                  <a:lnTo>
                    <a:pt x="589" y="448"/>
                  </a:lnTo>
                  <a:lnTo>
                    <a:pt x="594" y="444"/>
                  </a:lnTo>
                  <a:lnTo>
                    <a:pt x="596" y="439"/>
                  </a:lnTo>
                  <a:lnTo>
                    <a:pt x="596" y="433"/>
                  </a:lnTo>
                  <a:lnTo>
                    <a:pt x="596" y="422"/>
                  </a:lnTo>
                  <a:lnTo>
                    <a:pt x="592" y="411"/>
                  </a:lnTo>
                  <a:lnTo>
                    <a:pt x="592" y="399"/>
                  </a:lnTo>
                  <a:lnTo>
                    <a:pt x="592" y="396"/>
                  </a:lnTo>
                  <a:lnTo>
                    <a:pt x="594" y="392"/>
                  </a:lnTo>
                  <a:lnTo>
                    <a:pt x="598" y="388"/>
                  </a:lnTo>
                  <a:lnTo>
                    <a:pt x="604" y="386"/>
                  </a:lnTo>
                  <a:lnTo>
                    <a:pt x="604" y="386"/>
                  </a:lnTo>
                  <a:lnTo>
                    <a:pt x="613" y="385"/>
                  </a:lnTo>
                  <a:lnTo>
                    <a:pt x="618" y="381"/>
                  </a:lnTo>
                  <a:lnTo>
                    <a:pt x="622" y="377"/>
                  </a:lnTo>
                  <a:lnTo>
                    <a:pt x="624" y="373"/>
                  </a:lnTo>
                  <a:lnTo>
                    <a:pt x="626" y="370"/>
                  </a:lnTo>
                  <a:lnTo>
                    <a:pt x="626" y="364"/>
                  </a:lnTo>
                  <a:lnTo>
                    <a:pt x="622" y="353"/>
                  </a:lnTo>
                  <a:lnTo>
                    <a:pt x="618" y="342"/>
                  </a:lnTo>
                  <a:lnTo>
                    <a:pt x="617" y="330"/>
                  </a:lnTo>
                  <a:lnTo>
                    <a:pt x="617" y="327"/>
                  </a:lnTo>
                  <a:lnTo>
                    <a:pt x="618" y="321"/>
                  </a:lnTo>
                  <a:lnTo>
                    <a:pt x="622" y="317"/>
                  </a:lnTo>
                  <a:lnTo>
                    <a:pt x="628" y="314"/>
                  </a:lnTo>
                  <a:lnTo>
                    <a:pt x="628" y="314"/>
                  </a:lnTo>
                  <a:lnTo>
                    <a:pt x="635" y="312"/>
                  </a:lnTo>
                  <a:lnTo>
                    <a:pt x="643" y="310"/>
                  </a:lnTo>
                  <a:lnTo>
                    <a:pt x="648" y="312"/>
                  </a:lnTo>
                  <a:lnTo>
                    <a:pt x="654" y="315"/>
                  </a:lnTo>
                  <a:lnTo>
                    <a:pt x="661" y="325"/>
                  </a:lnTo>
                  <a:lnTo>
                    <a:pt x="669" y="336"/>
                  </a:lnTo>
                  <a:lnTo>
                    <a:pt x="676" y="347"/>
                  </a:lnTo>
                  <a:lnTo>
                    <a:pt x="680" y="353"/>
                  </a:lnTo>
                  <a:lnTo>
                    <a:pt x="684" y="357"/>
                  </a:lnTo>
                  <a:lnTo>
                    <a:pt x="689" y="358"/>
                  </a:lnTo>
                  <a:lnTo>
                    <a:pt x="695" y="358"/>
                  </a:lnTo>
                  <a:lnTo>
                    <a:pt x="703" y="355"/>
                  </a:lnTo>
                  <a:lnTo>
                    <a:pt x="710" y="351"/>
                  </a:lnTo>
                  <a:lnTo>
                    <a:pt x="710" y="351"/>
                  </a:lnTo>
                  <a:lnTo>
                    <a:pt x="738" y="328"/>
                  </a:lnTo>
                  <a:lnTo>
                    <a:pt x="744" y="325"/>
                  </a:lnTo>
                  <a:lnTo>
                    <a:pt x="746" y="321"/>
                  </a:lnTo>
                  <a:lnTo>
                    <a:pt x="744" y="317"/>
                  </a:lnTo>
                  <a:lnTo>
                    <a:pt x="740" y="314"/>
                  </a:lnTo>
                  <a:lnTo>
                    <a:pt x="736" y="306"/>
                  </a:lnTo>
                  <a:lnTo>
                    <a:pt x="732" y="293"/>
                  </a:lnTo>
                  <a:lnTo>
                    <a:pt x="732" y="293"/>
                  </a:lnTo>
                  <a:lnTo>
                    <a:pt x="732" y="287"/>
                  </a:lnTo>
                  <a:lnTo>
                    <a:pt x="731" y="284"/>
                  </a:lnTo>
                  <a:lnTo>
                    <a:pt x="727" y="280"/>
                  </a:lnTo>
                  <a:lnTo>
                    <a:pt x="725" y="278"/>
                  </a:lnTo>
                  <a:lnTo>
                    <a:pt x="718" y="276"/>
                  </a:lnTo>
                  <a:lnTo>
                    <a:pt x="708" y="274"/>
                  </a:lnTo>
                  <a:lnTo>
                    <a:pt x="701" y="272"/>
                  </a:lnTo>
                  <a:lnTo>
                    <a:pt x="697" y="271"/>
                  </a:lnTo>
                  <a:lnTo>
                    <a:pt x="693" y="267"/>
                  </a:lnTo>
                  <a:lnTo>
                    <a:pt x="691" y="263"/>
                  </a:lnTo>
                  <a:lnTo>
                    <a:pt x="689" y="257"/>
                  </a:lnTo>
                  <a:lnTo>
                    <a:pt x="688" y="248"/>
                  </a:lnTo>
                  <a:lnTo>
                    <a:pt x="688" y="239"/>
                  </a:lnTo>
                  <a:lnTo>
                    <a:pt x="688" y="239"/>
                  </a:lnTo>
                  <a:lnTo>
                    <a:pt x="643" y="239"/>
                  </a:lnTo>
                  <a:lnTo>
                    <a:pt x="617" y="237"/>
                  </a:lnTo>
                  <a:lnTo>
                    <a:pt x="609" y="237"/>
                  </a:lnTo>
                  <a:lnTo>
                    <a:pt x="604" y="233"/>
                  </a:lnTo>
                  <a:lnTo>
                    <a:pt x="600" y="231"/>
                  </a:lnTo>
                  <a:lnTo>
                    <a:pt x="598" y="229"/>
                  </a:lnTo>
                  <a:lnTo>
                    <a:pt x="598" y="222"/>
                  </a:lnTo>
                  <a:lnTo>
                    <a:pt x="598" y="214"/>
                  </a:lnTo>
                  <a:lnTo>
                    <a:pt x="596" y="211"/>
                  </a:lnTo>
                  <a:lnTo>
                    <a:pt x="592" y="207"/>
                  </a:lnTo>
                  <a:lnTo>
                    <a:pt x="585" y="201"/>
                  </a:lnTo>
                  <a:lnTo>
                    <a:pt x="575" y="198"/>
                  </a:lnTo>
                  <a:lnTo>
                    <a:pt x="575" y="198"/>
                  </a:lnTo>
                  <a:lnTo>
                    <a:pt x="570" y="196"/>
                  </a:lnTo>
                  <a:lnTo>
                    <a:pt x="568" y="194"/>
                  </a:lnTo>
                  <a:lnTo>
                    <a:pt x="568" y="190"/>
                  </a:lnTo>
                  <a:lnTo>
                    <a:pt x="566" y="188"/>
                  </a:lnTo>
                  <a:lnTo>
                    <a:pt x="562" y="186"/>
                  </a:lnTo>
                  <a:lnTo>
                    <a:pt x="534" y="186"/>
                  </a:lnTo>
                  <a:lnTo>
                    <a:pt x="534" y="186"/>
                  </a:lnTo>
                  <a:lnTo>
                    <a:pt x="529" y="186"/>
                  </a:lnTo>
                  <a:lnTo>
                    <a:pt x="523" y="185"/>
                  </a:lnTo>
                  <a:lnTo>
                    <a:pt x="521" y="183"/>
                  </a:lnTo>
                  <a:lnTo>
                    <a:pt x="519" y="181"/>
                  </a:lnTo>
                  <a:lnTo>
                    <a:pt x="521" y="173"/>
                  </a:lnTo>
                  <a:lnTo>
                    <a:pt x="525" y="166"/>
                  </a:lnTo>
                  <a:lnTo>
                    <a:pt x="538" y="147"/>
                  </a:lnTo>
                  <a:lnTo>
                    <a:pt x="544" y="140"/>
                  </a:lnTo>
                  <a:lnTo>
                    <a:pt x="547" y="134"/>
                  </a:lnTo>
                  <a:lnTo>
                    <a:pt x="547" y="134"/>
                  </a:lnTo>
                  <a:lnTo>
                    <a:pt x="551" y="129"/>
                  </a:lnTo>
                  <a:lnTo>
                    <a:pt x="555" y="125"/>
                  </a:lnTo>
                  <a:lnTo>
                    <a:pt x="568" y="121"/>
                  </a:lnTo>
                  <a:lnTo>
                    <a:pt x="574" y="117"/>
                  </a:lnTo>
                  <a:lnTo>
                    <a:pt x="579" y="114"/>
                  </a:lnTo>
                  <a:lnTo>
                    <a:pt x="583" y="108"/>
                  </a:lnTo>
                  <a:lnTo>
                    <a:pt x="583" y="99"/>
                  </a:lnTo>
                  <a:lnTo>
                    <a:pt x="583" y="99"/>
                  </a:lnTo>
                  <a:lnTo>
                    <a:pt x="587" y="91"/>
                  </a:lnTo>
                  <a:lnTo>
                    <a:pt x="594" y="84"/>
                  </a:lnTo>
                  <a:lnTo>
                    <a:pt x="618" y="67"/>
                  </a:lnTo>
                  <a:lnTo>
                    <a:pt x="632" y="58"/>
                  </a:lnTo>
                  <a:lnTo>
                    <a:pt x="643" y="46"/>
                  </a:lnTo>
                  <a:lnTo>
                    <a:pt x="652" y="37"/>
                  </a:lnTo>
                  <a:lnTo>
                    <a:pt x="658" y="26"/>
                  </a:lnTo>
                  <a:lnTo>
                    <a:pt x="658" y="26"/>
                  </a:lnTo>
                  <a:lnTo>
                    <a:pt x="658" y="26"/>
                  </a:lnTo>
                  <a:lnTo>
                    <a:pt x="658" y="26"/>
                  </a:lnTo>
                  <a:lnTo>
                    <a:pt x="660" y="22"/>
                  </a:lnTo>
                  <a:lnTo>
                    <a:pt x="660" y="22"/>
                  </a:lnTo>
                  <a:lnTo>
                    <a:pt x="660" y="22"/>
                  </a:lnTo>
                  <a:lnTo>
                    <a:pt x="660" y="22"/>
                  </a:lnTo>
                  <a:lnTo>
                    <a:pt x="656" y="24"/>
                  </a:lnTo>
                  <a:lnTo>
                    <a:pt x="652" y="30"/>
                  </a:lnTo>
                  <a:lnTo>
                    <a:pt x="643" y="33"/>
                  </a:lnTo>
                  <a:lnTo>
                    <a:pt x="630" y="37"/>
                  </a:lnTo>
                  <a:lnTo>
                    <a:pt x="630" y="37"/>
                  </a:lnTo>
                  <a:lnTo>
                    <a:pt x="624" y="39"/>
                  </a:lnTo>
                  <a:lnTo>
                    <a:pt x="622" y="41"/>
                  </a:lnTo>
                  <a:lnTo>
                    <a:pt x="618" y="44"/>
                  </a:lnTo>
                  <a:lnTo>
                    <a:pt x="618" y="46"/>
                  </a:lnTo>
                  <a:lnTo>
                    <a:pt x="615" y="48"/>
                  </a:lnTo>
                  <a:lnTo>
                    <a:pt x="602" y="52"/>
                  </a:lnTo>
                  <a:lnTo>
                    <a:pt x="602" y="52"/>
                  </a:lnTo>
                  <a:lnTo>
                    <a:pt x="594" y="58"/>
                  </a:lnTo>
                  <a:lnTo>
                    <a:pt x="583" y="65"/>
                  </a:lnTo>
                  <a:lnTo>
                    <a:pt x="577" y="67"/>
                  </a:lnTo>
                  <a:lnTo>
                    <a:pt x="574" y="65"/>
                  </a:lnTo>
                  <a:lnTo>
                    <a:pt x="574" y="59"/>
                  </a:lnTo>
                  <a:lnTo>
                    <a:pt x="575" y="50"/>
                  </a:lnTo>
                  <a:lnTo>
                    <a:pt x="575" y="50"/>
                  </a:lnTo>
                  <a:lnTo>
                    <a:pt x="581" y="44"/>
                  </a:lnTo>
                  <a:lnTo>
                    <a:pt x="589" y="37"/>
                  </a:lnTo>
                  <a:lnTo>
                    <a:pt x="590" y="33"/>
                  </a:lnTo>
                  <a:lnTo>
                    <a:pt x="592" y="28"/>
                  </a:lnTo>
                  <a:lnTo>
                    <a:pt x="592" y="22"/>
                  </a:lnTo>
                  <a:lnTo>
                    <a:pt x="590" y="15"/>
                  </a:lnTo>
                  <a:lnTo>
                    <a:pt x="590" y="15"/>
                  </a:lnTo>
                  <a:lnTo>
                    <a:pt x="581" y="20"/>
                  </a:lnTo>
                  <a:lnTo>
                    <a:pt x="577" y="26"/>
                  </a:lnTo>
                  <a:lnTo>
                    <a:pt x="574" y="26"/>
                  </a:lnTo>
                  <a:lnTo>
                    <a:pt x="572" y="26"/>
                  </a:lnTo>
                  <a:lnTo>
                    <a:pt x="564" y="20"/>
                  </a:lnTo>
                  <a:lnTo>
                    <a:pt x="564" y="20"/>
                  </a:lnTo>
                  <a:lnTo>
                    <a:pt x="557" y="13"/>
                  </a:lnTo>
                  <a:lnTo>
                    <a:pt x="553" y="11"/>
                  </a:lnTo>
                  <a:lnTo>
                    <a:pt x="551" y="11"/>
                  </a:lnTo>
                  <a:lnTo>
                    <a:pt x="546" y="13"/>
                  </a:lnTo>
                  <a:lnTo>
                    <a:pt x="542" y="18"/>
                  </a:lnTo>
                  <a:lnTo>
                    <a:pt x="538" y="24"/>
                  </a:lnTo>
                  <a:lnTo>
                    <a:pt x="534" y="28"/>
                  </a:lnTo>
                  <a:lnTo>
                    <a:pt x="531" y="31"/>
                  </a:lnTo>
                  <a:lnTo>
                    <a:pt x="527" y="31"/>
                  </a:lnTo>
                  <a:lnTo>
                    <a:pt x="523" y="30"/>
                  </a:lnTo>
                  <a:lnTo>
                    <a:pt x="523" y="30"/>
                  </a:lnTo>
                  <a:lnTo>
                    <a:pt x="460" y="15"/>
                  </a:lnTo>
                  <a:lnTo>
                    <a:pt x="389" y="0"/>
                  </a:lnTo>
                  <a:lnTo>
                    <a:pt x="389" y="0"/>
                  </a:lnTo>
                  <a:lnTo>
                    <a:pt x="383" y="58"/>
                  </a:lnTo>
                  <a:lnTo>
                    <a:pt x="379" y="78"/>
                  </a:lnTo>
                  <a:lnTo>
                    <a:pt x="376" y="97"/>
                  </a:lnTo>
                  <a:lnTo>
                    <a:pt x="372" y="106"/>
                  </a:lnTo>
                  <a:lnTo>
                    <a:pt x="366" y="114"/>
                  </a:lnTo>
                  <a:lnTo>
                    <a:pt x="361" y="119"/>
                  </a:lnTo>
                  <a:lnTo>
                    <a:pt x="355" y="125"/>
                  </a:lnTo>
                  <a:lnTo>
                    <a:pt x="336" y="136"/>
                  </a:lnTo>
                  <a:lnTo>
                    <a:pt x="312" y="147"/>
                  </a:lnTo>
                  <a:lnTo>
                    <a:pt x="312" y="147"/>
                  </a:lnTo>
                  <a:lnTo>
                    <a:pt x="299" y="151"/>
                  </a:lnTo>
                  <a:lnTo>
                    <a:pt x="295" y="155"/>
                  </a:lnTo>
                  <a:lnTo>
                    <a:pt x="295" y="158"/>
                  </a:lnTo>
                  <a:lnTo>
                    <a:pt x="295" y="160"/>
                  </a:lnTo>
                  <a:lnTo>
                    <a:pt x="293" y="160"/>
                  </a:lnTo>
                  <a:lnTo>
                    <a:pt x="284" y="160"/>
                  </a:lnTo>
                  <a:lnTo>
                    <a:pt x="232" y="162"/>
                  </a:lnTo>
                  <a:lnTo>
                    <a:pt x="232" y="162"/>
                  </a:lnTo>
                  <a:lnTo>
                    <a:pt x="213" y="164"/>
                  </a:lnTo>
                  <a:lnTo>
                    <a:pt x="204" y="166"/>
                  </a:lnTo>
                  <a:lnTo>
                    <a:pt x="202" y="168"/>
                  </a:lnTo>
                  <a:lnTo>
                    <a:pt x="202" y="170"/>
                  </a:lnTo>
                  <a:lnTo>
                    <a:pt x="204" y="172"/>
                  </a:lnTo>
                  <a:lnTo>
                    <a:pt x="204" y="175"/>
                  </a:lnTo>
                  <a:lnTo>
                    <a:pt x="198" y="181"/>
                  </a:lnTo>
                  <a:lnTo>
                    <a:pt x="185" y="185"/>
                  </a:lnTo>
                  <a:lnTo>
                    <a:pt x="185" y="185"/>
                  </a:lnTo>
                  <a:lnTo>
                    <a:pt x="166" y="192"/>
                  </a:lnTo>
                  <a:lnTo>
                    <a:pt x="157" y="198"/>
                  </a:lnTo>
                  <a:lnTo>
                    <a:pt x="153" y="203"/>
                  </a:lnTo>
                  <a:lnTo>
                    <a:pt x="151" y="209"/>
                  </a:lnTo>
                  <a:lnTo>
                    <a:pt x="149" y="213"/>
                  </a:lnTo>
                  <a:lnTo>
                    <a:pt x="144" y="218"/>
                  </a:lnTo>
                  <a:lnTo>
                    <a:pt x="129" y="222"/>
                  </a:lnTo>
                  <a:lnTo>
                    <a:pt x="105" y="226"/>
                  </a:lnTo>
                  <a:lnTo>
                    <a:pt x="105" y="226"/>
                  </a:lnTo>
                  <a:lnTo>
                    <a:pt x="95" y="229"/>
                  </a:lnTo>
                  <a:lnTo>
                    <a:pt x="86" y="231"/>
                  </a:lnTo>
                  <a:lnTo>
                    <a:pt x="73" y="239"/>
                  </a:lnTo>
                  <a:lnTo>
                    <a:pt x="63" y="244"/>
                  </a:lnTo>
                  <a:lnTo>
                    <a:pt x="50" y="250"/>
                  </a:lnTo>
                  <a:lnTo>
                    <a:pt x="32" y="256"/>
                  </a:lnTo>
                  <a:lnTo>
                    <a:pt x="5" y="259"/>
                  </a:lnTo>
                  <a:lnTo>
                    <a:pt x="5" y="259"/>
                  </a:lnTo>
                  <a:lnTo>
                    <a:pt x="0" y="263"/>
                  </a:lnTo>
                  <a:lnTo>
                    <a:pt x="0" y="263"/>
                  </a:lnTo>
                  <a:lnTo>
                    <a:pt x="4" y="271"/>
                  </a:lnTo>
                  <a:lnTo>
                    <a:pt x="7" y="278"/>
                  </a:lnTo>
                  <a:lnTo>
                    <a:pt x="13" y="293"/>
                  </a:lnTo>
                  <a:lnTo>
                    <a:pt x="17" y="304"/>
                  </a:lnTo>
                  <a:lnTo>
                    <a:pt x="19" y="310"/>
                  </a:lnTo>
                  <a:lnTo>
                    <a:pt x="22" y="312"/>
                  </a:lnTo>
                  <a:lnTo>
                    <a:pt x="22" y="312"/>
                  </a:lnTo>
                  <a:lnTo>
                    <a:pt x="28" y="319"/>
                  </a:lnTo>
                  <a:lnTo>
                    <a:pt x="34" y="332"/>
                  </a:lnTo>
                  <a:lnTo>
                    <a:pt x="37" y="347"/>
                  </a:lnTo>
                  <a:lnTo>
                    <a:pt x="37" y="353"/>
                  </a:lnTo>
                  <a:lnTo>
                    <a:pt x="35" y="357"/>
                  </a:lnTo>
                  <a:lnTo>
                    <a:pt x="35" y="357"/>
                  </a:lnTo>
                  <a:lnTo>
                    <a:pt x="35" y="358"/>
                  </a:lnTo>
                  <a:lnTo>
                    <a:pt x="39" y="362"/>
                  </a:lnTo>
                  <a:lnTo>
                    <a:pt x="47" y="370"/>
                  </a:lnTo>
                  <a:lnTo>
                    <a:pt x="54" y="379"/>
                  </a:lnTo>
                  <a:lnTo>
                    <a:pt x="54" y="379"/>
                  </a:lnTo>
                  <a:lnTo>
                    <a:pt x="62" y="390"/>
                  </a:lnTo>
                  <a:lnTo>
                    <a:pt x="67" y="394"/>
                  </a:lnTo>
                  <a:lnTo>
                    <a:pt x="69" y="396"/>
                  </a:lnTo>
                  <a:lnTo>
                    <a:pt x="73" y="396"/>
                  </a:lnTo>
                  <a:lnTo>
                    <a:pt x="73" y="398"/>
                  </a:lnTo>
                  <a:lnTo>
                    <a:pt x="75" y="403"/>
                  </a:lnTo>
                  <a:lnTo>
                    <a:pt x="75" y="439"/>
                  </a:lnTo>
                  <a:lnTo>
                    <a:pt x="75" y="439"/>
                  </a:lnTo>
                  <a:lnTo>
                    <a:pt x="75" y="444"/>
                  </a:lnTo>
                  <a:lnTo>
                    <a:pt x="75" y="444"/>
                  </a:lnTo>
                  <a:lnTo>
                    <a:pt x="75" y="444"/>
                  </a:lnTo>
                  <a:lnTo>
                    <a:pt x="78" y="448"/>
                  </a:lnTo>
                  <a:lnTo>
                    <a:pt x="80" y="450"/>
                  </a:lnTo>
                  <a:lnTo>
                    <a:pt x="88" y="457"/>
                  </a:lnTo>
                  <a:lnTo>
                    <a:pt x="93" y="461"/>
                  </a:lnTo>
                  <a:lnTo>
                    <a:pt x="97" y="467"/>
                  </a:lnTo>
                  <a:lnTo>
                    <a:pt x="103" y="476"/>
                  </a:lnTo>
                  <a:lnTo>
                    <a:pt x="106" y="485"/>
                  </a:lnTo>
                  <a:lnTo>
                    <a:pt x="106" y="485"/>
                  </a:lnTo>
                  <a:lnTo>
                    <a:pt x="108" y="493"/>
                  </a:lnTo>
                  <a:lnTo>
                    <a:pt x="114" y="500"/>
                  </a:lnTo>
                  <a:lnTo>
                    <a:pt x="127" y="517"/>
                  </a:lnTo>
                  <a:lnTo>
                    <a:pt x="136" y="525"/>
                  </a:lnTo>
                  <a:lnTo>
                    <a:pt x="144" y="530"/>
                  </a:lnTo>
                  <a:lnTo>
                    <a:pt x="151" y="536"/>
                  </a:lnTo>
                  <a:lnTo>
                    <a:pt x="159" y="538"/>
                  </a:lnTo>
                  <a:lnTo>
                    <a:pt x="159" y="538"/>
                  </a:lnTo>
                  <a:lnTo>
                    <a:pt x="170" y="540"/>
                  </a:lnTo>
                  <a:lnTo>
                    <a:pt x="181" y="543"/>
                  </a:lnTo>
                  <a:lnTo>
                    <a:pt x="204" y="558"/>
                  </a:lnTo>
                  <a:lnTo>
                    <a:pt x="215" y="566"/>
                  </a:lnTo>
                  <a:lnTo>
                    <a:pt x="226" y="570"/>
                  </a:lnTo>
                  <a:lnTo>
                    <a:pt x="237" y="571"/>
                  </a:lnTo>
                  <a:lnTo>
                    <a:pt x="243" y="571"/>
                  </a:lnTo>
                  <a:lnTo>
                    <a:pt x="248" y="570"/>
                  </a:lnTo>
                  <a:lnTo>
                    <a:pt x="248" y="570"/>
                  </a:lnTo>
                  <a:lnTo>
                    <a:pt x="258" y="566"/>
                  </a:lnTo>
                  <a:lnTo>
                    <a:pt x="265" y="564"/>
                  </a:lnTo>
                  <a:lnTo>
                    <a:pt x="271" y="564"/>
                  </a:lnTo>
                  <a:lnTo>
                    <a:pt x="276" y="566"/>
                  </a:lnTo>
                  <a:lnTo>
                    <a:pt x="290" y="568"/>
                  </a:lnTo>
                  <a:lnTo>
                    <a:pt x="297" y="566"/>
                  </a:lnTo>
                  <a:lnTo>
                    <a:pt x="306" y="562"/>
                  </a:lnTo>
                  <a:lnTo>
                    <a:pt x="306" y="562"/>
                  </a:lnTo>
                  <a:lnTo>
                    <a:pt x="314" y="560"/>
                  </a:lnTo>
                  <a:lnTo>
                    <a:pt x="321" y="558"/>
                  </a:lnTo>
                  <a:lnTo>
                    <a:pt x="329" y="558"/>
                  </a:lnTo>
                  <a:lnTo>
                    <a:pt x="334" y="558"/>
                  </a:lnTo>
                  <a:lnTo>
                    <a:pt x="344" y="562"/>
                  </a:lnTo>
                  <a:lnTo>
                    <a:pt x="351" y="568"/>
                  </a:lnTo>
                  <a:lnTo>
                    <a:pt x="361" y="571"/>
                  </a:lnTo>
                  <a:lnTo>
                    <a:pt x="370" y="573"/>
                  </a:lnTo>
                  <a:lnTo>
                    <a:pt x="376" y="573"/>
                  </a:lnTo>
                  <a:lnTo>
                    <a:pt x="381" y="571"/>
                  </a:lnTo>
                  <a:lnTo>
                    <a:pt x="396" y="562"/>
                  </a:lnTo>
                  <a:lnTo>
                    <a:pt x="396" y="562"/>
                  </a:lnTo>
                  <a:lnTo>
                    <a:pt x="400" y="558"/>
                  </a:lnTo>
                  <a:lnTo>
                    <a:pt x="405" y="556"/>
                  </a:lnTo>
                  <a:lnTo>
                    <a:pt x="407" y="556"/>
                  </a:lnTo>
                  <a:lnTo>
                    <a:pt x="409" y="558"/>
                  </a:lnTo>
                  <a:lnTo>
                    <a:pt x="413" y="566"/>
                  </a:lnTo>
                  <a:lnTo>
                    <a:pt x="413" y="575"/>
                  </a:lnTo>
                  <a:lnTo>
                    <a:pt x="411" y="598"/>
                  </a:lnTo>
                  <a:lnTo>
                    <a:pt x="411" y="605"/>
                  </a:lnTo>
                  <a:lnTo>
                    <a:pt x="411" y="611"/>
                  </a:lnTo>
                  <a:lnTo>
                    <a:pt x="411" y="611"/>
                  </a:lnTo>
                  <a:lnTo>
                    <a:pt x="422" y="624"/>
                  </a:lnTo>
                  <a:lnTo>
                    <a:pt x="428" y="631"/>
                  </a:lnTo>
                  <a:lnTo>
                    <a:pt x="433" y="637"/>
                  </a:lnTo>
                  <a:lnTo>
                    <a:pt x="433" y="637"/>
                  </a:lnTo>
                  <a:lnTo>
                    <a:pt x="441" y="642"/>
                  </a:lnTo>
                  <a:lnTo>
                    <a:pt x="443" y="646"/>
                  </a:lnTo>
                  <a:lnTo>
                    <a:pt x="445" y="648"/>
                  </a:lnTo>
                  <a:lnTo>
                    <a:pt x="450" y="646"/>
                  </a:lnTo>
                  <a:lnTo>
                    <a:pt x="467" y="639"/>
                  </a:lnTo>
                  <a:lnTo>
                    <a:pt x="467" y="639"/>
                  </a:lnTo>
                  <a:lnTo>
                    <a:pt x="476" y="641"/>
                  </a:lnTo>
                  <a:lnTo>
                    <a:pt x="493" y="644"/>
                  </a:lnTo>
                  <a:lnTo>
                    <a:pt x="510" y="650"/>
                  </a:lnTo>
                  <a:lnTo>
                    <a:pt x="518" y="654"/>
                  </a:lnTo>
                  <a:lnTo>
                    <a:pt x="518" y="654"/>
                  </a:lnTo>
                  <a:lnTo>
                    <a:pt x="521" y="667"/>
                  </a:lnTo>
                  <a:lnTo>
                    <a:pt x="525" y="670"/>
                  </a:lnTo>
                  <a:lnTo>
                    <a:pt x="529" y="674"/>
                  </a:lnTo>
                  <a:lnTo>
                    <a:pt x="538" y="678"/>
                  </a:lnTo>
                  <a:lnTo>
                    <a:pt x="551" y="683"/>
                  </a:lnTo>
                  <a:lnTo>
                    <a:pt x="551" y="683"/>
                  </a:lnTo>
                  <a:lnTo>
                    <a:pt x="557" y="685"/>
                  </a:lnTo>
                  <a:lnTo>
                    <a:pt x="561" y="685"/>
                  </a:lnTo>
                  <a:lnTo>
                    <a:pt x="570" y="682"/>
                  </a:lnTo>
                  <a:lnTo>
                    <a:pt x="577" y="676"/>
                  </a:lnTo>
                  <a:lnTo>
                    <a:pt x="583" y="670"/>
                  </a:lnTo>
                  <a:lnTo>
                    <a:pt x="589" y="665"/>
                  </a:lnTo>
                  <a:lnTo>
                    <a:pt x="590" y="665"/>
                  </a:lnTo>
                  <a:lnTo>
                    <a:pt x="592" y="665"/>
                  </a:lnTo>
                  <a:lnTo>
                    <a:pt x="594" y="669"/>
                  </a:lnTo>
                  <a:lnTo>
                    <a:pt x="596" y="672"/>
                  </a:lnTo>
                  <a:lnTo>
                    <a:pt x="600" y="687"/>
                  </a:lnTo>
                  <a:lnTo>
                    <a:pt x="600" y="687"/>
                  </a:lnTo>
                  <a:lnTo>
                    <a:pt x="604" y="691"/>
                  </a:lnTo>
                  <a:lnTo>
                    <a:pt x="613" y="695"/>
                  </a:lnTo>
                  <a:lnTo>
                    <a:pt x="613" y="695"/>
                  </a:lnTo>
                  <a:lnTo>
                    <a:pt x="617" y="678"/>
                  </a:lnTo>
                  <a:lnTo>
                    <a:pt x="620" y="665"/>
                  </a:lnTo>
                  <a:lnTo>
                    <a:pt x="626" y="654"/>
                  </a:lnTo>
                  <a:lnTo>
                    <a:pt x="632" y="646"/>
                  </a:lnTo>
                  <a:lnTo>
                    <a:pt x="637" y="641"/>
                  </a:lnTo>
                  <a:lnTo>
                    <a:pt x="645" y="639"/>
                  </a:lnTo>
                  <a:lnTo>
                    <a:pt x="658" y="635"/>
                  </a:lnTo>
                  <a:lnTo>
                    <a:pt x="667" y="631"/>
                  </a:lnTo>
                  <a:lnTo>
                    <a:pt x="673" y="629"/>
                  </a:lnTo>
                  <a:lnTo>
                    <a:pt x="676" y="626"/>
                  </a:lnTo>
                  <a:lnTo>
                    <a:pt x="678" y="618"/>
                  </a:lnTo>
                  <a:lnTo>
                    <a:pt x="680" y="611"/>
                  </a:lnTo>
                  <a:lnTo>
                    <a:pt x="680" y="599"/>
                  </a:lnTo>
                  <a:lnTo>
                    <a:pt x="678" y="584"/>
                  </a:lnTo>
                  <a:lnTo>
                    <a:pt x="678" y="584"/>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8" name="Freeform 48">
              <a:extLst>
                <a:ext uri="{FF2B5EF4-FFF2-40B4-BE49-F238E27FC236}">
                  <a16:creationId xmlns:a16="http://schemas.microsoft.com/office/drawing/2014/main" id="{C992FB03-248E-42E2-8C89-B58EAE94E73B}"/>
                </a:ext>
              </a:extLst>
            </p:cNvPr>
            <p:cNvSpPr>
              <a:spLocks/>
            </p:cNvSpPr>
            <p:nvPr/>
          </p:nvSpPr>
          <p:spPr bwMode="auto">
            <a:xfrm>
              <a:off x="5302297" y="3380217"/>
              <a:ext cx="430549" cy="824764"/>
            </a:xfrm>
            <a:custGeom>
              <a:avLst/>
              <a:gdLst/>
              <a:ahLst/>
              <a:cxnLst>
                <a:cxn ang="0">
                  <a:pos x="378" y="762"/>
                </a:cxn>
                <a:cxn ang="0">
                  <a:pos x="400" y="701"/>
                </a:cxn>
                <a:cxn ang="0">
                  <a:pos x="374" y="598"/>
                </a:cxn>
                <a:cxn ang="0">
                  <a:pos x="389" y="581"/>
                </a:cxn>
                <a:cxn ang="0">
                  <a:pos x="400" y="549"/>
                </a:cxn>
                <a:cxn ang="0">
                  <a:pos x="421" y="418"/>
                </a:cxn>
                <a:cxn ang="0">
                  <a:pos x="381" y="377"/>
                </a:cxn>
                <a:cxn ang="0">
                  <a:pos x="372" y="334"/>
                </a:cxn>
                <a:cxn ang="0">
                  <a:pos x="394" y="306"/>
                </a:cxn>
                <a:cxn ang="0">
                  <a:pos x="389" y="275"/>
                </a:cxn>
                <a:cxn ang="0">
                  <a:pos x="402" y="256"/>
                </a:cxn>
                <a:cxn ang="0">
                  <a:pos x="452" y="246"/>
                </a:cxn>
                <a:cxn ang="0">
                  <a:pos x="465" y="232"/>
                </a:cxn>
                <a:cxn ang="0">
                  <a:pos x="473" y="179"/>
                </a:cxn>
                <a:cxn ang="0">
                  <a:pos x="456" y="147"/>
                </a:cxn>
                <a:cxn ang="0">
                  <a:pos x="407" y="118"/>
                </a:cxn>
                <a:cxn ang="0">
                  <a:pos x="413" y="99"/>
                </a:cxn>
                <a:cxn ang="0">
                  <a:pos x="467" y="71"/>
                </a:cxn>
                <a:cxn ang="0">
                  <a:pos x="443" y="60"/>
                </a:cxn>
                <a:cxn ang="0">
                  <a:pos x="413" y="0"/>
                </a:cxn>
                <a:cxn ang="0">
                  <a:pos x="404" y="45"/>
                </a:cxn>
                <a:cxn ang="0">
                  <a:pos x="364" y="71"/>
                </a:cxn>
                <a:cxn ang="0">
                  <a:pos x="320" y="73"/>
                </a:cxn>
                <a:cxn ang="0">
                  <a:pos x="293" y="84"/>
                </a:cxn>
                <a:cxn ang="0">
                  <a:pos x="262" y="93"/>
                </a:cxn>
                <a:cxn ang="0">
                  <a:pos x="221" y="95"/>
                </a:cxn>
                <a:cxn ang="0">
                  <a:pos x="200" y="144"/>
                </a:cxn>
                <a:cxn ang="0">
                  <a:pos x="176" y="187"/>
                </a:cxn>
                <a:cxn ang="0">
                  <a:pos x="135" y="189"/>
                </a:cxn>
                <a:cxn ang="0">
                  <a:pos x="110" y="209"/>
                </a:cxn>
                <a:cxn ang="0">
                  <a:pos x="94" y="218"/>
                </a:cxn>
                <a:cxn ang="0">
                  <a:pos x="95" y="256"/>
                </a:cxn>
                <a:cxn ang="0">
                  <a:pos x="77" y="317"/>
                </a:cxn>
                <a:cxn ang="0">
                  <a:pos x="41" y="368"/>
                </a:cxn>
                <a:cxn ang="0">
                  <a:pos x="32" y="407"/>
                </a:cxn>
                <a:cxn ang="0">
                  <a:pos x="54" y="448"/>
                </a:cxn>
                <a:cxn ang="0">
                  <a:pos x="51" y="488"/>
                </a:cxn>
                <a:cxn ang="0">
                  <a:pos x="49" y="516"/>
                </a:cxn>
                <a:cxn ang="0">
                  <a:pos x="22" y="573"/>
                </a:cxn>
                <a:cxn ang="0">
                  <a:pos x="28" y="626"/>
                </a:cxn>
                <a:cxn ang="0">
                  <a:pos x="26" y="695"/>
                </a:cxn>
                <a:cxn ang="0">
                  <a:pos x="41" y="734"/>
                </a:cxn>
                <a:cxn ang="0">
                  <a:pos x="8" y="837"/>
                </a:cxn>
                <a:cxn ang="0">
                  <a:pos x="9" y="899"/>
                </a:cxn>
                <a:cxn ang="0">
                  <a:pos x="22" y="902"/>
                </a:cxn>
                <a:cxn ang="0">
                  <a:pos x="103" y="874"/>
                </a:cxn>
                <a:cxn ang="0">
                  <a:pos x="161" y="861"/>
                </a:cxn>
                <a:cxn ang="0">
                  <a:pos x="183" y="835"/>
                </a:cxn>
                <a:cxn ang="0">
                  <a:pos x="221" y="815"/>
                </a:cxn>
                <a:cxn ang="0">
                  <a:pos x="249" y="805"/>
                </a:cxn>
                <a:cxn ang="0">
                  <a:pos x="312" y="801"/>
                </a:cxn>
              </a:cxnLst>
              <a:rect l="0" t="0" r="r" b="b"/>
              <a:pathLst>
                <a:path w="475" h="906">
                  <a:moveTo>
                    <a:pt x="329" y="790"/>
                  </a:moveTo>
                  <a:lnTo>
                    <a:pt x="329" y="790"/>
                  </a:lnTo>
                  <a:lnTo>
                    <a:pt x="353" y="779"/>
                  </a:lnTo>
                  <a:lnTo>
                    <a:pt x="372" y="768"/>
                  </a:lnTo>
                  <a:lnTo>
                    <a:pt x="378" y="762"/>
                  </a:lnTo>
                  <a:lnTo>
                    <a:pt x="383" y="757"/>
                  </a:lnTo>
                  <a:lnTo>
                    <a:pt x="389" y="749"/>
                  </a:lnTo>
                  <a:lnTo>
                    <a:pt x="393" y="740"/>
                  </a:lnTo>
                  <a:lnTo>
                    <a:pt x="396" y="721"/>
                  </a:lnTo>
                  <a:lnTo>
                    <a:pt x="400" y="701"/>
                  </a:lnTo>
                  <a:lnTo>
                    <a:pt x="406" y="643"/>
                  </a:lnTo>
                  <a:lnTo>
                    <a:pt x="406" y="643"/>
                  </a:lnTo>
                  <a:lnTo>
                    <a:pt x="385" y="618"/>
                  </a:lnTo>
                  <a:lnTo>
                    <a:pt x="376" y="603"/>
                  </a:lnTo>
                  <a:lnTo>
                    <a:pt x="374" y="598"/>
                  </a:lnTo>
                  <a:lnTo>
                    <a:pt x="374" y="594"/>
                  </a:lnTo>
                  <a:lnTo>
                    <a:pt x="374" y="592"/>
                  </a:lnTo>
                  <a:lnTo>
                    <a:pt x="376" y="588"/>
                  </a:lnTo>
                  <a:lnTo>
                    <a:pt x="381" y="585"/>
                  </a:lnTo>
                  <a:lnTo>
                    <a:pt x="389" y="581"/>
                  </a:lnTo>
                  <a:lnTo>
                    <a:pt x="394" y="573"/>
                  </a:lnTo>
                  <a:lnTo>
                    <a:pt x="396" y="568"/>
                  </a:lnTo>
                  <a:lnTo>
                    <a:pt x="396" y="562"/>
                  </a:lnTo>
                  <a:lnTo>
                    <a:pt x="396" y="562"/>
                  </a:lnTo>
                  <a:lnTo>
                    <a:pt x="400" y="549"/>
                  </a:lnTo>
                  <a:lnTo>
                    <a:pt x="404" y="534"/>
                  </a:lnTo>
                  <a:lnTo>
                    <a:pt x="421" y="501"/>
                  </a:lnTo>
                  <a:lnTo>
                    <a:pt x="441" y="456"/>
                  </a:lnTo>
                  <a:lnTo>
                    <a:pt x="441" y="456"/>
                  </a:lnTo>
                  <a:lnTo>
                    <a:pt x="421" y="418"/>
                  </a:lnTo>
                  <a:lnTo>
                    <a:pt x="402" y="392"/>
                  </a:lnTo>
                  <a:lnTo>
                    <a:pt x="394" y="385"/>
                  </a:lnTo>
                  <a:lnTo>
                    <a:pt x="387" y="379"/>
                  </a:lnTo>
                  <a:lnTo>
                    <a:pt x="387" y="379"/>
                  </a:lnTo>
                  <a:lnTo>
                    <a:pt x="381" y="377"/>
                  </a:lnTo>
                  <a:lnTo>
                    <a:pt x="378" y="374"/>
                  </a:lnTo>
                  <a:lnTo>
                    <a:pt x="372" y="364"/>
                  </a:lnTo>
                  <a:lnTo>
                    <a:pt x="370" y="355"/>
                  </a:lnTo>
                  <a:lnTo>
                    <a:pt x="370" y="346"/>
                  </a:lnTo>
                  <a:lnTo>
                    <a:pt x="372" y="334"/>
                  </a:lnTo>
                  <a:lnTo>
                    <a:pt x="376" y="325"/>
                  </a:lnTo>
                  <a:lnTo>
                    <a:pt x="381" y="319"/>
                  </a:lnTo>
                  <a:lnTo>
                    <a:pt x="385" y="314"/>
                  </a:lnTo>
                  <a:lnTo>
                    <a:pt x="385" y="314"/>
                  </a:lnTo>
                  <a:lnTo>
                    <a:pt x="394" y="306"/>
                  </a:lnTo>
                  <a:lnTo>
                    <a:pt x="398" y="299"/>
                  </a:lnTo>
                  <a:lnTo>
                    <a:pt x="400" y="293"/>
                  </a:lnTo>
                  <a:lnTo>
                    <a:pt x="398" y="288"/>
                  </a:lnTo>
                  <a:lnTo>
                    <a:pt x="393" y="278"/>
                  </a:lnTo>
                  <a:lnTo>
                    <a:pt x="389" y="275"/>
                  </a:lnTo>
                  <a:lnTo>
                    <a:pt x="391" y="271"/>
                  </a:lnTo>
                  <a:lnTo>
                    <a:pt x="391" y="271"/>
                  </a:lnTo>
                  <a:lnTo>
                    <a:pt x="393" y="265"/>
                  </a:lnTo>
                  <a:lnTo>
                    <a:pt x="396" y="260"/>
                  </a:lnTo>
                  <a:lnTo>
                    <a:pt x="402" y="256"/>
                  </a:lnTo>
                  <a:lnTo>
                    <a:pt x="406" y="254"/>
                  </a:lnTo>
                  <a:lnTo>
                    <a:pt x="419" y="252"/>
                  </a:lnTo>
                  <a:lnTo>
                    <a:pt x="430" y="250"/>
                  </a:lnTo>
                  <a:lnTo>
                    <a:pt x="441" y="250"/>
                  </a:lnTo>
                  <a:lnTo>
                    <a:pt x="452" y="246"/>
                  </a:lnTo>
                  <a:lnTo>
                    <a:pt x="456" y="245"/>
                  </a:lnTo>
                  <a:lnTo>
                    <a:pt x="460" y="243"/>
                  </a:lnTo>
                  <a:lnTo>
                    <a:pt x="464" y="237"/>
                  </a:lnTo>
                  <a:lnTo>
                    <a:pt x="465" y="232"/>
                  </a:lnTo>
                  <a:lnTo>
                    <a:pt x="465" y="232"/>
                  </a:lnTo>
                  <a:lnTo>
                    <a:pt x="475" y="185"/>
                  </a:lnTo>
                  <a:lnTo>
                    <a:pt x="475" y="179"/>
                  </a:lnTo>
                  <a:lnTo>
                    <a:pt x="475" y="177"/>
                  </a:lnTo>
                  <a:lnTo>
                    <a:pt x="475" y="179"/>
                  </a:lnTo>
                  <a:lnTo>
                    <a:pt x="473" y="179"/>
                  </a:lnTo>
                  <a:lnTo>
                    <a:pt x="471" y="179"/>
                  </a:lnTo>
                  <a:lnTo>
                    <a:pt x="469" y="177"/>
                  </a:lnTo>
                  <a:lnTo>
                    <a:pt x="464" y="168"/>
                  </a:lnTo>
                  <a:lnTo>
                    <a:pt x="456" y="147"/>
                  </a:lnTo>
                  <a:lnTo>
                    <a:pt x="456" y="147"/>
                  </a:lnTo>
                  <a:lnTo>
                    <a:pt x="454" y="146"/>
                  </a:lnTo>
                  <a:lnTo>
                    <a:pt x="452" y="142"/>
                  </a:lnTo>
                  <a:lnTo>
                    <a:pt x="441" y="136"/>
                  </a:lnTo>
                  <a:lnTo>
                    <a:pt x="417" y="125"/>
                  </a:lnTo>
                  <a:lnTo>
                    <a:pt x="407" y="118"/>
                  </a:lnTo>
                  <a:lnTo>
                    <a:pt x="406" y="114"/>
                  </a:lnTo>
                  <a:lnTo>
                    <a:pt x="404" y="110"/>
                  </a:lnTo>
                  <a:lnTo>
                    <a:pt x="404" y="106"/>
                  </a:lnTo>
                  <a:lnTo>
                    <a:pt x="407" y="103"/>
                  </a:lnTo>
                  <a:lnTo>
                    <a:pt x="413" y="99"/>
                  </a:lnTo>
                  <a:lnTo>
                    <a:pt x="422" y="93"/>
                  </a:lnTo>
                  <a:lnTo>
                    <a:pt x="422" y="93"/>
                  </a:lnTo>
                  <a:lnTo>
                    <a:pt x="462" y="75"/>
                  </a:lnTo>
                  <a:lnTo>
                    <a:pt x="467" y="71"/>
                  </a:lnTo>
                  <a:lnTo>
                    <a:pt x="467" y="71"/>
                  </a:lnTo>
                  <a:lnTo>
                    <a:pt x="465" y="69"/>
                  </a:lnTo>
                  <a:lnTo>
                    <a:pt x="454" y="67"/>
                  </a:lnTo>
                  <a:lnTo>
                    <a:pt x="447" y="65"/>
                  </a:lnTo>
                  <a:lnTo>
                    <a:pt x="445" y="62"/>
                  </a:lnTo>
                  <a:lnTo>
                    <a:pt x="443" y="60"/>
                  </a:lnTo>
                  <a:lnTo>
                    <a:pt x="443" y="60"/>
                  </a:lnTo>
                  <a:lnTo>
                    <a:pt x="436" y="37"/>
                  </a:lnTo>
                  <a:lnTo>
                    <a:pt x="430" y="28"/>
                  </a:lnTo>
                  <a:lnTo>
                    <a:pt x="424" y="20"/>
                  </a:lnTo>
                  <a:lnTo>
                    <a:pt x="413" y="0"/>
                  </a:lnTo>
                  <a:lnTo>
                    <a:pt x="413" y="0"/>
                  </a:lnTo>
                  <a:lnTo>
                    <a:pt x="415" y="20"/>
                  </a:lnTo>
                  <a:lnTo>
                    <a:pt x="413" y="33"/>
                  </a:lnTo>
                  <a:lnTo>
                    <a:pt x="409" y="41"/>
                  </a:lnTo>
                  <a:lnTo>
                    <a:pt x="404" y="45"/>
                  </a:lnTo>
                  <a:lnTo>
                    <a:pt x="389" y="52"/>
                  </a:lnTo>
                  <a:lnTo>
                    <a:pt x="379" y="58"/>
                  </a:lnTo>
                  <a:lnTo>
                    <a:pt x="370" y="67"/>
                  </a:lnTo>
                  <a:lnTo>
                    <a:pt x="370" y="67"/>
                  </a:lnTo>
                  <a:lnTo>
                    <a:pt x="364" y="71"/>
                  </a:lnTo>
                  <a:lnTo>
                    <a:pt x="361" y="73"/>
                  </a:lnTo>
                  <a:lnTo>
                    <a:pt x="351" y="75"/>
                  </a:lnTo>
                  <a:lnTo>
                    <a:pt x="342" y="75"/>
                  </a:lnTo>
                  <a:lnTo>
                    <a:pt x="331" y="75"/>
                  </a:lnTo>
                  <a:lnTo>
                    <a:pt x="320" y="73"/>
                  </a:lnTo>
                  <a:lnTo>
                    <a:pt x="310" y="75"/>
                  </a:lnTo>
                  <a:lnTo>
                    <a:pt x="301" y="76"/>
                  </a:lnTo>
                  <a:lnTo>
                    <a:pt x="297" y="80"/>
                  </a:lnTo>
                  <a:lnTo>
                    <a:pt x="293" y="84"/>
                  </a:lnTo>
                  <a:lnTo>
                    <a:pt x="293" y="84"/>
                  </a:lnTo>
                  <a:lnTo>
                    <a:pt x="288" y="90"/>
                  </a:lnTo>
                  <a:lnTo>
                    <a:pt x="284" y="93"/>
                  </a:lnTo>
                  <a:lnTo>
                    <a:pt x="279" y="95"/>
                  </a:lnTo>
                  <a:lnTo>
                    <a:pt x="273" y="95"/>
                  </a:lnTo>
                  <a:lnTo>
                    <a:pt x="262" y="93"/>
                  </a:lnTo>
                  <a:lnTo>
                    <a:pt x="252" y="91"/>
                  </a:lnTo>
                  <a:lnTo>
                    <a:pt x="241" y="90"/>
                  </a:lnTo>
                  <a:lnTo>
                    <a:pt x="230" y="90"/>
                  </a:lnTo>
                  <a:lnTo>
                    <a:pt x="226" y="91"/>
                  </a:lnTo>
                  <a:lnTo>
                    <a:pt x="221" y="95"/>
                  </a:lnTo>
                  <a:lnTo>
                    <a:pt x="217" y="101"/>
                  </a:lnTo>
                  <a:lnTo>
                    <a:pt x="211" y="108"/>
                  </a:lnTo>
                  <a:lnTo>
                    <a:pt x="211" y="108"/>
                  </a:lnTo>
                  <a:lnTo>
                    <a:pt x="206" y="123"/>
                  </a:lnTo>
                  <a:lnTo>
                    <a:pt x="200" y="144"/>
                  </a:lnTo>
                  <a:lnTo>
                    <a:pt x="189" y="179"/>
                  </a:lnTo>
                  <a:lnTo>
                    <a:pt x="189" y="179"/>
                  </a:lnTo>
                  <a:lnTo>
                    <a:pt x="187" y="185"/>
                  </a:lnTo>
                  <a:lnTo>
                    <a:pt x="181" y="187"/>
                  </a:lnTo>
                  <a:lnTo>
                    <a:pt x="176" y="187"/>
                  </a:lnTo>
                  <a:lnTo>
                    <a:pt x="168" y="185"/>
                  </a:lnTo>
                  <a:lnTo>
                    <a:pt x="159" y="181"/>
                  </a:lnTo>
                  <a:lnTo>
                    <a:pt x="150" y="181"/>
                  </a:lnTo>
                  <a:lnTo>
                    <a:pt x="140" y="185"/>
                  </a:lnTo>
                  <a:lnTo>
                    <a:pt x="135" y="189"/>
                  </a:lnTo>
                  <a:lnTo>
                    <a:pt x="129" y="194"/>
                  </a:lnTo>
                  <a:lnTo>
                    <a:pt x="129" y="194"/>
                  </a:lnTo>
                  <a:lnTo>
                    <a:pt x="116" y="207"/>
                  </a:lnTo>
                  <a:lnTo>
                    <a:pt x="112" y="209"/>
                  </a:lnTo>
                  <a:lnTo>
                    <a:pt x="110" y="209"/>
                  </a:lnTo>
                  <a:lnTo>
                    <a:pt x="105" y="207"/>
                  </a:lnTo>
                  <a:lnTo>
                    <a:pt x="101" y="207"/>
                  </a:lnTo>
                  <a:lnTo>
                    <a:pt x="94" y="209"/>
                  </a:lnTo>
                  <a:lnTo>
                    <a:pt x="94" y="209"/>
                  </a:lnTo>
                  <a:lnTo>
                    <a:pt x="94" y="218"/>
                  </a:lnTo>
                  <a:lnTo>
                    <a:pt x="97" y="224"/>
                  </a:lnTo>
                  <a:lnTo>
                    <a:pt x="103" y="232"/>
                  </a:lnTo>
                  <a:lnTo>
                    <a:pt x="103" y="235"/>
                  </a:lnTo>
                  <a:lnTo>
                    <a:pt x="101" y="243"/>
                  </a:lnTo>
                  <a:lnTo>
                    <a:pt x="95" y="256"/>
                  </a:lnTo>
                  <a:lnTo>
                    <a:pt x="86" y="275"/>
                  </a:lnTo>
                  <a:lnTo>
                    <a:pt x="86" y="275"/>
                  </a:lnTo>
                  <a:lnTo>
                    <a:pt x="82" y="284"/>
                  </a:lnTo>
                  <a:lnTo>
                    <a:pt x="80" y="293"/>
                  </a:lnTo>
                  <a:lnTo>
                    <a:pt x="77" y="317"/>
                  </a:lnTo>
                  <a:lnTo>
                    <a:pt x="73" y="331"/>
                  </a:lnTo>
                  <a:lnTo>
                    <a:pt x="65" y="344"/>
                  </a:lnTo>
                  <a:lnTo>
                    <a:pt x="56" y="357"/>
                  </a:lnTo>
                  <a:lnTo>
                    <a:pt x="41" y="368"/>
                  </a:lnTo>
                  <a:lnTo>
                    <a:pt x="41" y="368"/>
                  </a:lnTo>
                  <a:lnTo>
                    <a:pt x="36" y="374"/>
                  </a:lnTo>
                  <a:lnTo>
                    <a:pt x="34" y="381"/>
                  </a:lnTo>
                  <a:lnTo>
                    <a:pt x="32" y="388"/>
                  </a:lnTo>
                  <a:lnTo>
                    <a:pt x="32" y="398"/>
                  </a:lnTo>
                  <a:lnTo>
                    <a:pt x="32" y="407"/>
                  </a:lnTo>
                  <a:lnTo>
                    <a:pt x="34" y="417"/>
                  </a:lnTo>
                  <a:lnTo>
                    <a:pt x="37" y="424"/>
                  </a:lnTo>
                  <a:lnTo>
                    <a:pt x="41" y="430"/>
                  </a:lnTo>
                  <a:lnTo>
                    <a:pt x="41" y="430"/>
                  </a:lnTo>
                  <a:lnTo>
                    <a:pt x="54" y="448"/>
                  </a:lnTo>
                  <a:lnTo>
                    <a:pt x="60" y="461"/>
                  </a:lnTo>
                  <a:lnTo>
                    <a:pt x="60" y="469"/>
                  </a:lnTo>
                  <a:lnTo>
                    <a:pt x="58" y="476"/>
                  </a:lnTo>
                  <a:lnTo>
                    <a:pt x="54" y="482"/>
                  </a:lnTo>
                  <a:lnTo>
                    <a:pt x="51" y="488"/>
                  </a:lnTo>
                  <a:lnTo>
                    <a:pt x="47" y="497"/>
                  </a:lnTo>
                  <a:lnTo>
                    <a:pt x="49" y="508"/>
                  </a:lnTo>
                  <a:lnTo>
                    <a:pt x="49" y="508"/>
                  </a:lnTo>
                  <a:lnTo>
                    <a:pt x="49" y="512"/>
                  </a:lnTo>
                  <a:lnTo>
                    <a:pt x="49" y="516"/>
                  </a:lnTo>
                  <a:lnTo>
                    <a:pt x="45" y="523"/>
                  </a:lnTo>
                  <a:lnTo>
                    <a:pt x="37" y="531"/>
                  </a:lnTo>
                  <a:lnTo>
                    <a:pt x="32" y="542"/>
                  </a:lnTo>
                  <a:lnTo>
                    <a:pt x="24" y="555"/>
                  </a:lnTo>
                  <a:lnTo>
                    <a:pt x="22" y="573"/>
                  </a:lnTo>
                  <a:lnTo>
                    <a:pt x="21" y="585"/>
                  </a:lnTo>
                  <a:lnTo>
                    <a:pt x="22" y="596"/>
                  </a:lnTo>
                  <a:lnTo>
                    <a:pt x="24" y="611"/>
                  </a:lnTo>
                  <a:lnTo>
                    <a:pt x="28" y="626"/>
                  </a:lnTo>
                  <a:lnTo>
                    <a:pt x="28" y="626"/>
                  </a:lnTo>
                  <a:lnTo>
                    <a:pt x="30" y="637"/>
                  </a:lnTo>
                  <a:lnTo>
                    <a:pt x="30" y="648"/>
                  </a:lnTo>
                  <a:lnTo>
                    <a:pt x="26" y="671"/>
                  </a:lnTo>
                  <a:lnTo>
                    <a:pt x="26" y="684"/>
                  </a:lnTo>
                  <a:lnTo>
                    <a:pt x="26" y="695"/>
                  </a:lnTo>
                  <a:lnTo>
                    <a:pt x="30" y="706"/>
                  </a:lnTo>
                  <a:lnTo>
                    <a:pt x="36" y="715"/>
                  </a:lnTo>
                  <a:lnTo>
                    <a:pt x="36" y="715"/>
                  </a:lnTo>
                  <a:lnTo>
                    <a:pt x="39" y="725"/>
                  </a:lnTo>
                  <a:lnTo>
                    <a:pt x="41" y="734"/>
                  </a:lnTo>
                  <a:lnTo>
                    <a:pt x="41" y="744"/>
                  </a:lnTo>
                  <a:lnTo>
                    <a:pt x="39" y="757"/>
                  </a:lnTo>
                  <a:lnTo>
                    <a:pt x="30" y="783"/>
                  </a:lnTo>
                  <a:lnTo>
                    <a:pt x="19" y="809"/>
                  </a:lnTo>
                  <a:lnTo>
                    <a:pt x="8" y="837"/>
                  </a:lnTo>
                  <a:lnTo>
                    <a:pt x="0" y="861"/>
                  </a:lnTo>
                  <a:lnTo>
                    <a:pt x="0" y="872"/>
                  </a:lnTo>
                  <a:lnTo>
                    <a:pt x="0" y="884"/>
                  </a:lnTo>
                  <a:lnTo>
                    <a:pt x="4" y="891"/>
                  </a:lnTo>
                  <a:lnTo>
                    <a:pt x="9" y="899"/>
                  </a:lnTo>
                  <a:lnTo>
                    <a:pt x="9" y="899"/>
                  </a:lnTo>
                  <a:lnTo>
                    <a:pt x="17" y="906"/>
                  </a:lnTo>
                  <a:lnTo>
                    <a:pt x="17" y="906"/>
                  </a:lnTo>
                  <a:lnTo>
                    <a:pt x="22" y="902"/>
                  </a:lnTo>
                  <a:lnTo>
                    <a:pt x="22" y="902"/>
                  </a:lnTo>
                  <a:lnTo>
                    <a:pt x="49" y="899"/>
                  </a:lnTo>
                  <a:lnTo>
                    <a:pt x="67" y="893"/>
                  </a:lnTo>
                  <a:lnTo>
                    <a:pt x="80" y="887"/>
                  </a:lnTo>
                  <a:lnTo>
                    <a:pt x="90" y="882"/>
                  </a:lnTo>
                  <a:lnTo>
                    <a:pt x="103" y="874"/>
                  </a:lnTo>
                  <a:lnTo>
                    <a:pt x="112" y="872"/>
                  </a:lnTo>
                  <a:lnTo>
                    <a:pt x="122" y="869"/>
                  </a:lnTo>
                  <a:lnTo>
                    <a:pt x="122" y="869"/>
                  </a:lnTo>
                  <a:lnTo>
                    <a:pt x="146" y="865"/>
                  </a:lnTo>
                  <a:lnTo>
                    <a:pt x="161" y="861"/>
                  </a:lnTo>
                  <a:lnTo>
                    <a:pt x="166" y="856"/>
                  </a:lnTo>
                  <a:lnTo>
                    <a:pt x="168" y="852"/>
                  </a:lnTo>
                  <a:lnTo>
                    <a:pt x="170" y="846"/>
                  </a:lnTo>
                  <a:lnTo>
                    <a:pt x="174" y="841"/>
                  </a:lnTo>
                  <a:lnTo>
                    <a:pt x="183" y="835"/>
                  </a:lnTo>
                  <a:lnTo>
                    <a:pt x="202" y="828"/>
                  </a:lnTo>
                  <a:lnTo>
                    <a:pt x="202" y="828"/>
                  </a:lnTo>
                  <a:lnTo>
                    <a:pt x="215" y="824"/>
                  </a:lnTo>
                  <a:lnTo>
                    <a:pt x="221" y="818"/>
                  </a:lnTo>
                  <a:lnTo>
                    <a:pt x="221" y="815"/>
                  </a:lnTo>
                  <a:lnTo>
                    <a:pt x="219" y="813"/>
                  </a:lnTo>
                  <a:lnTo>
                    <a:pt x="219" y="811"/>
                  </a:lnTo>
                  <a:lnTo>
                    <a:pt x="221" y="809"/>
                  </a:lnTo>
                  <a:lnTo>
                    <a:pt x="230" y="807"/>
                  </a:lnTo>
                  <a:lnTo>
                    <a:pt x="249" y="805"/>
                  </a:lnTo>
                  <a:lnTo>
                    <a:pt x="249" y="805"/>
                  </a:lnTo>
                  <a:lnTo>
                    <a:pt x="301" y="803"/>
                  </a:lnTo>
                  <a:lnTo>
                    <a:pt x="310" y="803"/>
                  </a:lnTo>
                  <a:lnTo>
                    <a:pt x="312" y="803"/>
                  </a:lnTo>
                  <a:lnTo>
                    <a:pt x="312" y="801"/>
                  </a:lnTo>
                  <a:lnTo>
                    <a:pt x="312" y="798"/>
                  </a:lnTo>
                  <a:lnTo>
                    <a:pt x="316" y="794"/>
                  </a:lnTo>
                  <a:lnTo>
                    <a:pt x="329" y="790"/>
                  </a:lnTo>
                  <a:lnTo>
                    <a:pt x="329" y="790"/>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9" name="Freeform 49">
              <a:extLst>
                <a:ext uri="{FF2B5EF4-FFF2-40B4-BE49-F238E27FC236}">
                  <a16:creationId xmlns:a16="http://schemas.microsoft.com/office/drawing/2014/main" id="{D2F789A0-DC99-43E3-A889-8643B7F1E29C}"/>
                </a:ext>
              </a:extLst>
            </p:cNvPr>
            <p:cNvSpPr>
              <a:spLocks noEditPoints="1"/>
            </p:cNvSpPr>
            <p:nvPr/>
          </p:nvSpPr>
          <p:spPr bwMode="auto">
            <a:xfrm>
              <a:off x="4784549" y="3556432"/>
              <a:ext cx="610398" cy="1011880"/>
            </a:xfrm>
            <a:custGeom>
              <a:avLst/>
              <a:gdLst/>
              <a:ahLst/>
              <a:cxnLst>
                <a:cxn ang="0">
                  <a:pos x="570" y="669"/>
                </a:cxn>
                <a:cxn ang="0">
                  <a:pos x="606" y="523"/>
                </a:cxn>
                <a:cxn ang="0">
                  <a:pos x="598" y="434"/>
                </a:cxn>
                <a:cxn ang="0">
                  <a:pos x="607" y="339"/>
                </a:cxn>
                <a:cxn ang="0">
                  <a:pos x="624" y="290"/>
                </a:cxn>
                <a:cxn ang="0">
                  <a:pos x="604" y="225"/>
                </a:cxn>
                <a:cxn ang="0">
                  <a:pos x="626" y="165"/>
                </a:cxn>
                <a:cxn ang="0">
                  <a:pos x="665" y="64"/>
                </a:cxn>
                <a:cxn ang="0">
                  <a:pos x="665" y="8"/>
                </a:cxn>
                <a:cxn ang="0">
                  <a:pos x="622" y="30"/>
                </a:cxn>
                <a:cxn ang="0">
                  <a:pos x="589" y="28"/>
                </a:cxn>
                <a:cxn ang="0">
                  <a:pos x="564" y="36"/>
                </a:cxn>
                <a:cxn ang="0">
                  <a:pos x="533" y="51"/>
                </a:cxn>
                <a:cxn ang="0">
                  <a:pos x="497" y="99"/>
                </a:cxn>
                <a:cxn ang="0">
                  <a:pos x="422" y="196"/>
                </a:cxn>
                <a:cxn ang="0">
                  <a:pos x="411" y="219"/>
                </a:cxn>
                <a:cxn ang="0">
                  <a:pos x="406" y="268"/>
                </a:cxn>
                <a:cxn ang="0">
                  <a:pos x="353" y="269"/>
                </a:cxn>
                <a:cxn ang="0">
                  <a:pos x="286" y="243"/>
                </a:cxn>
                <a:cxn ang="0">
                  <a:pos x="245" y="279"/>
                </a:cxn>
                <a:cxn ang="0">
                  <a:pos x="239" y="374"/>
                </a:cxn>
                <a:cxn ang="0">
                  <a:pos x="336" y="426"/>
                </a:cxn>
                <a:cxn ang="0">
                  <a:pos x="396" y="482"/>
                </a:cxn>
                <a:cxn ang="0">
                  <a:pos x="372" y="555"/>
                </a:cxn>
                <a:cxn ang="0">
                  <a:pos x="353" y="606"/>
                </a:cxn>
                <a:cxn ang="0">
                  <a:pos x="271" y="617"/>
                </a:cxn>
                <a:cxn ang="0">
                  <a:pos x="265" y="654"/>
                </a:cxn>
                <a:cxn ang="0">
                  <a:pos x="165" y="626"/>
                </a:cxn>
                <a:cxn ang="0">
                  <a:pos x="129" y="647"/>
                </a:cxn>
                <a:cxn ang="0">
                  <a:pos x="112" y="701"/>
                </a:cxn>
                <a:cxn ang="0">
                  <a:pos x="151" y="725"/>
                </a:cxn>
                <a:cxn ang="0">
                  <a:pos x="135" y="750"/>
                </a:cxn>
                <a:cxn ang="0">
                  <a:pos x="138" y="837"/>
                </a:cxn>
                <a:cxn ang="0">
                  <a:pos x="80" y="839"/>
                </a:cxn>
                <a:cxn ang="0">
                  <a:pos x="36" y="875"/>
                </a:cxn>
                <a:cxn ang="0">
                  <a:pos x="51" y="929"/>
                </a:cxn>
                <a:cxn ang="0">
                  <a:pos x="2" y="936"/>
                </a:cxn>
                <a:cxn ang="0">
                  <a:pos x="21" y="966"/>
                </a:cxn>
                <a:cxn ang="0">
                  <a:pos x="80" y="964"/>
                </a:cxn>
                <a:cxn ang="0">
                  <a:pos x="153" y="972"/>
                </a:cxn>
                <a:cxn ang="0">
                  <a:pos x="198" y="1000"/>
                </a:cxn>
                <a:cxn ang="0">
                  <a:pos x="236" y="1006"/>
                </a:cxn>
                <a:cxn ang="0">
                  <a:pos x="273" y="1032"/>
                </a:cxn>
                <a:cxn ang="0">
                  <a:pos x="318" y="1037"/>
                </a:cxn>
                <a:cxn ang="0">
                  <a:pos x="398" y="1067"/>
                </a:cxn>
                <a:cxn ang="0">
                  <a:pos x="436" y="1093"/>
                </a:cxn>
                <a:cxn ang="0">
                  <a:pos x="497" y="1116"/>
                </a:cxn>
                <a:cxn ang="0">
                  <a:pos x="497" y="1067"/>
                </a:cxn>
                <a:cxn ang="0">
                  <a:pos x="484" y="1017"/>
                </a:cxn>
                <a:cxn ang="0">
                  <a:pos x="536" y="992"/>
                </a:cxn>
                <a:cxn ang="0">
                  <a:pos x="563" y="964"/>
                </a:cxn>
                <a:cxn ang="0">
                  <a:pos x="521" y="936"/>
                </a:cxn>
                <a:cxn ang="0">
                  <a:pos x="480" y="908"/>
                </a:cxn>
                <a:cxn ang="0">
                  <a:pos x="564" y="905"/>
                </a:cxn>
                <a:cxn ang="0">
                  <a:pos x="615" y="908"/>
                </a:cxn>
                <a:cxn ang="0">
                  <a:pos x="662" y="895"/>
                </a:cxn>
                <a:cxn ang="0">
                  <a:pos x="654" y="845"/>
                </a:cxn>
                <a:cxn ang="0">
                  <a:pos x="622" y="808"/>
                </a:cxn>
                <a:cxn ang="0">
                  <a:pos x="604" y="755"/>
                </a:cxn>
              </a:cxnLst>
              <a:rect l="0" t="0" r="r" b="b"/>
              <a:pathLst>
                <a:path w="673" h="1116">
                  <a:moveTo>
                    <a:pt x="436" y="219"/>
                  </a:moveTo>
                  <a:lnTo>
                    <a:pt x="436" y="219"/>
                  </a:lnTo>
                  <a:close/>
                  <a:moveTo>
                    <a:pt x="579" y="707"/>
                  </a:moveTo>
                  <a:lnTo>
                    <a:pt x="579" y="707"/>
                  </a:lnTo>
                  <a:lnTo>
                    <a:pt x="574" y="699"/>
                  </a:lnTo>
                  <a:lnTo>
                    <a:pt x="570" y="692"/>
                  </a:lnTo>
                  <a:lnTo>
                    <a:pt x="570" y="680"/>
                  </a:lnTo>
                  <a:lnTo>
                    <a:pt x="570" y="669"/>
                  </a:lnTo>
                  <a:lnTo>
                    <a:pt x="578" y="645"/>
                  </a:lnTo>
                  <a:lnTo>
                    <a:pt x="589" y="617"/>
                  </a:lnTo>
                  <a:lnTo>
                    <a:pt x="600" y="591"/>
                  </a:lnTo>
                  <a:lnTo>
                    <a:pt x="609" y="565"/>
                  </a:lnTo>
                  <a:lnTo>
                    <a:pt x="611" y="552"/>
                  </a:lnTo>
                  <a:lnTo>
                    <a:pt x="611" y="542"/>
                  </a:lnTo>
                  <a:lnTo>
                    <a:pt x="609" y="533"/>
                  </a:lnTo>
                  <a:lnTo>
                    <a:pt x="606" y="523"/>
                  </a:lnTo>
                  <a:lnTo>
                    <a:pt x="606" y="523"/>
                  </a:lnTo>
                  <a:lnTo>
                    <a:pt x="600" y="514"/>
                  </a:lnTo>
                  <a:lnTo>
                    <a:pt x="596" y="503"/>
                  </a:lnTo>
                  <a:lnTo>
                    <a:pt x="596" y="492"/>
                  </a:lnTo>
                  <a:lnTo>
                    <a:pt x="596" y="479"/>
                  </a:lnTo>
                  <a:lnTo>
                    <a:pt x="600" y="456"/>
                  </a:lnTo>
                  <a:lnTo>
                    <a:pt x="600" y="445"/>
                  </a:lnTo>
                  <a:lnTo>
                    <a:pt x="598" y="434"/>
                  </a:lnTo>
                  <a:lnTo>
                    <a:pt x="598" y="434"/>
                  </a:lnTo>
                  <a:lnTo>
                    <a:pt x="594" y="419"/>
                  </a:lnTo>
                  <a:lnTo>
                    <a:pt x="592" y="404"/>
                  </a:lnTo>
                  <a:lnTo>
                    <a:pt x="591" y="393"/>
                  </a:lnTo>
                  <a:lnTo>
                    <a:pt x="592" y="381"/>
                  </a:lnTo>
                  <a:lnTo>
                    <a:pt x="594" y="363"/>
                  </a:lnTo>
                  <a:lnTo>
                    <a:pt x="602" y="350"/>
                  </a:lnTo>
                  <a:lnTo>
                    <a:pt x="607" y="339"/>
                  </a:lnTo>
                  <a:lnTo>
                    <a:pt x="615" y="331"/>
                  </a:lnTo>
                  <a:lnTo>
                    <a:pt x="619" y="324"/>
                  </a:lnTo>
                  <a:lnTo>
                    <a:pt x="619" y="320"/>
                  </a:lnTo>
                  <a:lnTo>
                    <a:pt x="619" y="316"/>
                  </a:lnTo>
                  <a:lnTo>
                    <a:pt x="619" y="316"/>
                  </a:lnTo>
                  <a:lnTo>
                    <a:pt x="617" y="305"/>
                  </a:lnTo>
                  <a:lnTo>
                    <a:pt x="621" y="296"/>
                  </a:lnTo>
                  <a:lnTo>
                    <a:pt x="624" y="290"/>
                  </a:lnTo>
                  <a:lnTo>
                    <a:pt x="628" y="284"/>
                  </a:lnTo>
                  <a:lnTo>
                    <a:pt x="630" y="277"/>
                  </a:lnTo>
                  <a:lnTo>
                    <a:pt x="630" y="269"/>
                  </a:lnTo>
                  <a:lnTo>
                    <a:pt x="624" y="256"/>
                  </a:lnTo>
                  <a:lnTo>
                    <a:pt x="611" y="238"/>
                  </a:lnTo>
                  <a:lnTo>
                    <a:pt x="611" y="238"/>
                  </a:lnTo>
                  <a:lnTo>
                    <a:pt x="607" y="232"/>
                  </a:lnTo>
                  <a:lnTo>
                    <a:pt x="604" y="225"/>
                  </a:lnTo>
                  <a:lnTo>
                    <a:pt x="602" y="215"/>
                  </a:lnTo>
                  <a:lnTo>
                    <a:pt x="602" y="206"/>
                  </a:lnTo>
                  <a:lnTo>
                    <a:pt x="602" y="196"/>
                  </a:lnTo>
                  <a:lnTo>
                    <a:pt x="604" y="189"/>
                  </a:lnTo>
                  <a:lnTo>
                    <a:pt x="606" y="182"/>
                  </a:lnTo>
                  <a:lnTo>
                    <a:pt x="611" y="176"/>
                  </a:lnTo>
                  <a:lnTo>
                    <a:pt x="611" y="176"/>
                  </a:lnTo>
                  <a:lnTo>
                    <a:pt x="626" y="165"/>
                  </a:lnTo>
                  <a:lnTo>
                    <a:pt x="635" y="152"/>
                  </a:lnTo>
                  <a:lnTo>
                    <a:pt x="643" y="139"/>
                  </a:lnTo>
                  <a:lnTo>
                    <a:pt x="647" y="125"/>
                  </a:lnTo>
                  <a:lnTo>
                    <a:pt x="650" y="101"/>
                  </a:lnTo>
                  <a:lnTo>
                    <a:pt x="652" y="92"/>
                  </a:lnTo>
                  <a:lnTo>
                    <a:pt x="656" y="83"/>
                  </a:lnTo>
                  <a:lnTo>
                    <a:pt x="656" y="83"/>
                  </a:lnTo>
                  <a:lnTo>
                    <a:pt x="665" y="64"/>
                  </a:lnTo>
                  <a:lnTo>
                    <a:pt x="671" y="51"/>
                  </a:lnTo>
                  <a:lnTo>
                    <a:pt x="673" y="43"/>
                  </a:lnTo>
                  <a:lnTo>
                    <a:pt x="673" y="40"/>
                  </a:lnTo>
                  <a:lnTo>
                    <a:pt x="667" y="32"/>
                  </a:lnTo>
                  <a:lnTo>
                    <a:pt x="664" y="26"/>
                  </a:lnTo>
                  <a:lnTo>
                    <a:pt x="664" y="17"/>
                  </a:lnTo>
                  <a:lnTo>
                    <a:pt x="664" y="17"/>
                  </a:lnTo>
                  <a:lnTo>
                    <a:pt x="665" y="8"/>
                  </a:lnTo>
                  <a:lnTo>
                    <a:pt x="664" y="2"/>
                  </a:lnTo>
                  <a:lnTo>
                    <a:pt x="660" y="0"/>
                  </a:lnTo>
                  <a:lnTo>
                    <a:pt x="652" y="0"/>
                  </a:lnTo>
                  <a:lnTo>
                    <a:pt x="645" y="4"/>
                  </a:lnTo>
                  <a:lnTo>
                    <a:pt x="637" y="12"/>
                  </a:lnTo>
                  <a:lnTo>
                    <a:pt x="630" y="19"/>
                  </a:lnTo>
                  <a:lnTo>
                    <a:pt x="622" y="30"/>
                  </a:lnTo>
                  <a:lnTo>
                    <a:pt x="622" y="30"/>
                  </a:lnTo>
                  <a:lnTo>
                    <a:pt x="617" y="38"/>
                  </a:lnTo>
                  <a:lnTo>
                    <a:pt x="615" y="38"/>
                  </a:lnTo>
                  <a:lnTo>
                    <a:pt x="613" y="36"/>
                  </a:lnTo>
                  <a:lnTo>
                    <a:pt x="611" y="32"/>
                  </a:lnTo>
                  <a:lnTo>
                    <a:pt x="606" y="30"/>
                  </a:lnTo>
                  <a:lnTo>
                    <a:pt x="598" y="28"/>
                  </a:lnTo>
                  <a:lnTo>
                    <a:pt x="589" y="28"/>
                  </a:lnTo>
                  <a:lnTo>
                    <a:pt x="589" y="28"/>
                  </a:lnTo>
                  <a:lnTo>
                    <a:pt x="566" y="21"/>
                  </a:lnTo>
                  <a:lnTo>
                    <a:pt x="555" y="19"/>
                  </a:lnTo>
                  <a:lnTo>
                    <a:pt x="551" y="19"/>
                  </a:lnTo>
                  <a:lnTo>
                    <a:pt x="551" y="23"/>
                  </a:lnTo>
                  <a:lnTo>
                    <a:pt x="551" y="23"/>
                  </a:lnTo>
                  <a:lnTo>
                    <a:pt x="555" y="26"/>
                  </a:lnTo>
                  <a:lnTo>
                    <a:pt x="563" y="32"/>
                  </a:lnTo>
                  <a:lnTo>
                    <a:pt x="564" y="36"/>
                  </a:lnTo>
                  <a:lnTo>
                    <a:pt x="564" y="40"/>
                  </a:lnTo>
                  <a:lnTo>
                    <a:pt x="559" y="43"/>
                  </a:lnTo>
                  <a:lnTo>
                    <a:pt x="550" y="45"/>
                  </a:lnTo>
                  <a:lnTo>
                    <a:pt x="550" y="45"/>
                  </a:lnTo>
                  <a:lnTo>
                    <a:pt x="544" y="45"/>
                  </a:lnTo>
                  <a:lnTo>
                    <a:pt x="540" y="45"/>
                  </a:lnTo>
                  <a:lnTo>
                    <a:pt x="538" y="45"/>
                  </a:lnTo>
                  <a:lnTo>
                    <a:pt x="533" y="51"/>
                  </a:lnTo>
                  <a:lnTo>
                    <a:pt x="514" y="71"/>
                  </a:lnTo>
                  <a:lnTo>
                    <a:pt x="514" y="71"/>
                  </a:lnTo>
                  <a:lnTo>
                    <a:pt x="510" y="77"/>
                  </a:lnTo>
                  <a:lnTo>
                    <a:pt x="508" y="79"/>
                  </a:lnTo>
                  <a:lnTo>
                    <a:pt x="508" y="86"/>
                  </a:lnTo>
                  <a:lnTo>
                    <a:pt x="508" y="90"/>
                  </a:lnTo>
                  <a:lnTo>
                    <a:pt x="505" y="94"/>
                  </a:lnTo>
                  <a:lnTo>
                    <a:pt x="497" y="99"/>
                  </a:lnTo>
                  <a:lnTo>
                    <a:pt x="484" y="105"/>
                  </a:lnTo>
                  <a:lnTo>
                    <a:pt x="484" y="105"/>
                  </a:lnTo>
                  <a:lnTo>
                    <a:pt x="473" y="118"/>
                  </a:lnTo>
                  <a:lnTo>
                    <a:pt x="449" y="146"/>
                  </a:lnTo>
                  <a:lnTo>
                    <a:pt x="437" y="163"/>
                  </a:lnTo>
                  <a:lnTo>
                    <a:pt x="428" y="178"/>
                  </a:lnTo>
                  <a:lnTo>
                    <a:pt x="422" y="191"/>
                  </a:lnTo>
                  <a:lnTo>
                    <a:pt x="422" y="196"/>
                  </a:lnTo>
                  <a:lnTo>
                    <a:pt x="422" y="200"/>
                  </a:lnTo>
                  <a:lnTo>
                    <a:pt x="422" y="200"/>
                  </a:lnTo>
                  <a:lnTo>
                    <a:pt x="430" y="213"/>
                  </a:lnTo>
                  <a:lnTo>
                    <a:pt x="436" y="219"/>
                  </a:lnTo>
                  <a:lnTo>
                    <a:pt x="436" y="219"/>
                  </a:lnTo>
                  <a:lnTo>
                    <a:pt x="428" y="217"/>
                  </a:lnTo>
                  <a:lnTo>
                    <a:pt x="421" y="217"/>
                  </a:lnTo>
                  <a:lnTo>
                    <a:pt x="411" y="219"/>
                  </a:lnTo>
                  <a:lnTo>
                    <a:pt x="411" y="219"/>
                  </a:lnTo>
                  <a:lnTo>
                    <a:pt x="407" y="221"/>
                  </a:lnTo>
                  <a:lnTo>
                    <a:pt x="406" y="223"/>
                  </a:lnTo>
                  <a:lnTo>
                    <a:pt x="406" y="232"/>
                  </a:lnTo>
                  <a:lnTo>
                    <a:pt x="411" y="253"/>
                  </a:lnTo>
                  <a:lnTo>
                    <a:pt x="411" y="262"/>
                  </a:lnTo>
                  <a:lnTo>
                    <a:pt x="409" y="266"/>
                  </a:lnTo>
                  <a:lnTo>
                    <a:pt x="406" y="268"/>
                  </a:lnTo>
                  <a:lnTo>
                    <a:pt x="400" y="269"/>
                  </a:lnTo>
                  <a:lnTo>
                    <a:pt x="393" y="269"/>
                  </a:lnTo>
                  <a:lnTo>
                    <a:pt x="383" y="268"/>
                  </a:lnTo>
                  <a:lnTo>
                    <a:pt x="372" y="264"/>
                  </a:lnTo>
                  <a:lnTo>
                    <a:pt x="372" y="264"/>
                  </a:lnTo>
                  <a:lnTo>
                    <a:pt x="364" y="262"/>
                  </a:lnTo>
                  <a:lnTo>
                    <a:pt x="359" y="264"/>
                  </a:lnTo>
                  <a:lnTo>
                    <a:pt x="353" y="269"/>
                  </a:lnTo>
                  <a:lnTo>
                    <a:pt x="348" y="271"/>
                  </a:lnTo>
                  <a:lnTo>
                    <a:pt x="340" y="271"/>
                  </a:lnTo>
                  <a:lnTo>
                    <a:pt x="329" y="266"/>
                  </a:lnTo>
                  <a:lnTo>
                    <a:pt x="310" y="254"/>
                  </a:lnTo>
                  <a:lnTo>
                    <a:pt x="310" y="254"/>
                  </a:lnTo>
                  <a:lnTo>
                    <a:pt x="301" y="249"/>
                  </a:lnTo>
                  <a:lnTo>
                    <a:pt x="293" y="245"/>
                  </a:lnTo>
                  <a:lnTo>
                    <a:pt x="286" y="243"/>
                  </a:lnTo>
                  <a:lnTo>
                    <a:pt x="279" y="243"/>
                  </a:lnTo>
                  <a:lnTo>
                    <a:pt x="279" y="243"/>
                  </a:lnTo>
                  <a:lnTo>
                    <a:pt x="273" y="247"/>
                  </a:lnTo>
                  <a:lnTo>
                    <a:pt x="265" y="253"/>
                  </a:lnTo>
                  <a:lnTo>
                    <a:pt x="258" y="260"/>
                  </a:lnTo>
                  <a:lnTo>
                    <a:pt x="250" y="269"/>
                  </a:lnTo>
                  <a:lnTo>
                    <a:pt x="250" y="269"/>
                  </a:lnTo>
                  <a:lnTo>
                    <a:pt x="245" y="279"/>
                  </a:lnTo>
                  <a:lnTo>
                    <a:pt x="241" y="288"/>
                  </a:lnTo>
                  <a:lnTo>
                    <a:pt x="237" y="297"/>
                  </a:lnTo>
                  <a:lnTo>
                    <a:pt x="237" y="307"/>
                  </a:lnTo>
                  <a:lnTo>
                    <a:pt x="236" y="344"/>
                  </a:lnTo>
                  <a:lnTo>
                    <a:pt x="236" y="344"/>
                  </a:lnTo>
                  <a:lnTo>
                    <a:pt x="234" y="361"/>
                  </a:lnTo>
                  <a:lnTo>
                    <a:pt x="237" y="370"/>
                  </a:lnTo>
                  <a:lnTo>
                    <a:pt x="239" y="374"/>
                  </a:lnTo>
                  <a:lnTo>
                    <a:pt x="241" y="378"/>
                  </a:lnTo>
                  <a:lnTo>
                    <a:pt x="249" y="381"/>
                  </a:lnTo>
                  <a:lnTo>
                    <a:pt x="260" y="383"/>
                  </a:lnTo>
                  <a:lnTo>
                    <a:pt x="275" y="389"/>
                  </a:lnTo>
                  <a:lnTo>
                    <a:pt x="293" y="398"/>
                  </a:lnTo>
                  <a:lnTo>
                    <a:pt x="316" y="413"/>
                  </a:lnTo>
                  <a:lnTo>
                    <a:pt x="316" y="413"/>
                  </a:lnTo>
                  <a:lnTo>
                    <a:pt x="336" y="426"/>
                  </a:lnTo>
                  <a:lnTo>
                    <a:pt x="353" y="436"/>
                  </a:lnTo>
                  <a:lnTo>
                    <a:pt x="370" y="441"/>
                  </a:lnTo>
                  <a:lnTo>
                    <a:pt x="383" y="449"/>
                  </a:lnTo>
                  <a:lnTo>
                    <a:pt x="393" y="456"/>
                  </a:lnTo>
                  <a:lnTo>
                    <a:pt x="394" y="460"/>
                  </a:lnTo>
                  <a:lnTo>
                    <a:pt x="396" y="466"/>
                  </a:lnTo>
                  <a:lnTo>
                    <a:pt x="398" y="473"/>
                  </a:lnTo>
                  <a:lnTo>
                    <a:pt x="396" y="482"/>
                  </a:lnTo>
                  <a:lnTo>
                    <a:pt x="391" y="503"/>
                  </a:lnTo>
                  <a:lnTo>
                    <a:pt x="391" y="503"/>
                  </a:lnTo>
                  <a:lnTo>
                    <a:pt x="387" y="514"/>
                  </a:lnTo>
                  <a:lnTo>
                    <a:pt x="381" y="520"/>
                  </a:lnTo>
                  <a:lnTo>
                    <a:pt x="370" y="525"/>
                  </a:lnTo>
                  <a:lnTo>
                    <a:pt x="366" y="531"/>
                  </a:lnTo>
                  <a:lnTo>
                    <a:pt x="366" y="538"/>
                  </a:lnTo>
                  <a:lnTo>
                    <a:pt x="372" y="555"/>
                  </a:lnTo>
                  <a:lnTo>
                    <a:pt x="379" y="578"/>
                  </a:lnTo>
                  <a:lnTo>
                    <a:pt x="379" y="578"/>
                  </a:lnTo>
                  <a:lnTo>
                    <a:pt x="381" y="587"/>
                  </a:lnTo>
                  <a:lnTo>
                    <a:pt x="381" y="594"/>
                  </a:lnTo>
                  <a:lnTo>
                    <a:pt x="378" y="600"/>
                  </a:lnTo>
                  <a:lnTo>
                    <a:pt x="370" y="602"/>
                  </a:lnTo>
                  <a:lnTo>
                    <a:pt x="363" y="606"/>
                  </a:lnTo>
                  <a:lnTo>
                    <a:pt x="353" y="606"/>
                  </a:lnTo>
                  <a:lnTo>
                    <a:pt x="331" y="608"/>
                  </a:lnTo>
                  <a:lnTo>
                    <a:pt x="308" y="606"/>
                  </a:lnTo>
                  <a:lnTo>
                    <a:pt x="288" y="606"/>
                  </a:lnTo>
                  <a:lnTo>
                    <a:pt x="280" y="608"/>
                  </a:lnTo>
                  <a:lnTo>
                    <a:pt x="275" y="609"/>
                  </a:lnTo>
                  <a:lnTo>
                    <a:pt x="271" y="611"/>
                  </a:lnTo>
                  <a:lnTo>
                    <a:pt x="271" y="617"/>
                  </a:lnTo>
                  <a:lnTo>
                    <a:pt x="271" y="617"/>
                  </a:lnTo>
                  <a:lnTo>
                    <a:pt x="277" y="624"/>
                  </a:lnTo>
                  <a:lnTo>
                    <a:pt x="282" y="630"/>
                  </a:lnTo>
                  <a:lnTo>
                    <a:pt x="284" y="639"/>
                  </a:lnTo>
                  <a:lnTo>
                    <a:pt x="284" y="643"/>
                  </a:lnTo>
                  <a:lnTo>
                    <a:pt x="282" y="647"/>
                  </a:lnTo>
                  <a:lnTo>
                    <a:pt x="279" y="649"/>
                  </a:lnTo>
                  <a:lnTo>
                    <a:pt x="273" y="652"/>
                  </a:lnTo>
                  <a:lnTo>
                    <a:pt x="265" y="654"/>
                  </a:lnTo>
                  <a:lnTo>
                    <a:pt x="256" y="656"/>
                  </a:lnTo>
                  <a:lnTo>
                    <a:pt x="228" y="658"/>
                  </a:lnTo>
                  <a:lnTo>
                    <a:pt x="228" y="658"/>
                  </a:lnTo>
                  <a:lnTo>
                    <a:pt x="217" y="656"/>
                  </a:lnTo>
                  <a:lnTo>
                    <a:pt x="206" y="651"/>
                  </a:lnTo>
                  <a:lnTo>
                    <a:pt x="185" y="636"/>
                  </a:lnTo>
                  <a:lnTo>
                    <a:pt x="176" y="630"/>
                  </a:lnTo>
                  <a:lnTo>
                    <a:pt x="165" y="626"/>
                  </a:lnTo>
                  <a:lnTo>
                    <a:pt x="157" y="626"/>
                  </a:lnTo>
                  <a:lnTo>
                    <a:pt x="151" y="626"/>
                  </a:lnTo>
                  <a:lnTo>
                    <a:pt x="144" y="628"/>
                  </a:lnTo>
                  <a:lnTo>
                    <a:pt x="136" y="632"/>
                  </a:lnTo>
                  <a:lnTo>
                    <a:pt x="136" y="632"/>
                  </a:lnTo>
                  <a:lnTo>
                    <a:pt x="129" y="637"/>
                  </a:lnTo>
                  <a:lnTo>
                    <a:pt x="127" y="643"/>
                  </a:lnTo>
                  <a:lnTo>
                    <a:pt x="129" y="647"/>
                  </a:lnTo>
                  <a:lnTo>
                    <a:pt x="131" y="651"/>
                  </a:lnTo>
                  <a:lnTo>
                    <a:pt x="135" y="656"/>
                  </a:lnTo>
                  <a:lnTo>
                    <a:pt x="136" y="662"/>
                  </a:lnTo>
                  <a:lnTo>
                    <a:pt x="135" y="671"/>
                  </a:lnTo>
                  <a:lnTo>
                    <a:pt x="125" y="680"/>
                  </a:lnTo>
                  <a:lnTo>
                    <a:pt x="125" y="680"/>
                  </a:lnTo>
                  <a:lnTo>
                    <a:pt x="114" y="695"/>
                  </a:lnTo>
                  <a:lnTo>
                    <a:pt x="112" y="701"/>
                  </a:lnTo>
                  <a:lnTo>
                    <a:pt x="112" y="705"/>
                  </a:lnTo>
                  <a:lnTo>
                    <a:pt x="112" y="707"/>
                  </a:lnTo>
                  <a:lnTo>
                    <a:pt x="116" y="710"/>
                  </a:lnTo>
                  <a:lnTo>
                    <a:pt x="123" y="712"/>
                  </a:lnTo>
                  <a:lnTo>
                    <a:pt x="133" y="716"/>
                  </a:lnTo>
                  <a:lnTo>
                    <a:pt x="144" y="718"/>
                  </a:lnTo>
                  <a:lnTo>
                    <a:pt x="148" y="722"/>
                  </a:lnTo>
                  <a:lnTo>
                    <a:pt x="151" y="725"/>
                  </a:lnTo>
                  <a:lnTo>
                    <a:pt x="155" y="729"/>
                  </a:lnTo>
                  <a:lnTo>
                    <a:pt x="157" y="735"/>
                  </a:lnTo>
                  <a:lnTo>
                    <a:pt x="157" y="735"/>
                  </a:lnTo>
                  <a:lnTo>
                    <a:pt x="157" y="738"/>
                  </a:lnTo>
                  <a:lnTo>
                    <a:pt x="153" y="740"/>
                  </a:lnTo>
                  <a:lnTo>
                    <a:pt x="148" y="742"/>
                  </a:lnTo>
                  <a:lnTo>
                    <a:pt x="140" y="744"/>
                  </a:lnTo>
                  <a:lnTo>
                    <a:pt x="135" y="750"/>
                  </a:lnTo>
                  <a:lnTo>
                    <a:pt x="127" y="759"/>
                  </a:lnTo>
                  <a:lnTo>
                    <a:pt x="123" y="776"/>
                  </a:lnTo>
                  <a:lnTo>
                    <a:pt x="122" y="800"/>
                  </a:lnTo>
                  <a:lnTo>
                    <a:pt x="122" y="800"/>
                  </a:lnTo>
                  <a:lnTo>
                    <a:pt x="123" y="809"/>
                  </a:lnTo>
                  <a:lnTo>
                    <a:pt x="125" y="817"/>
                  </a:lnTo>
                  <a:lnTo>
                    <a:pt x="131" y="830"/>
                  </a:lnTo>
                  <a:lnTo>
                    <a:pt x="138" y="837"/>
                  </a:lnTo>
                  <a:lnTo>
                    <a:pt x="142" y="843"/>
                  </a:lnTo>
                  <a:lnTo>
                    <a:pt x="144" y="843"/>
                  </a:lnTo>
                  <a:lnTo>
                    <a:pt x="144" y="845"/>
                  </a:lnTo>
                  <a:lnTo>
                    <a:pt x="136" y="845"/>
                  </a:lnTo>
                  <a:lnTo>
                    <a:pt x="92" y="843"/>
                  </a:lnTo>
                  <a:lnTo>
                    <a:pt x="92" y="843"/>
                  </a:lnTo>
                  <a:lnTo>
                    <a:pt x="86" y="841"/>
                  </a:lnTo>
                  <a:lnTo>
                    <a:pt x="80" y="839"/>
                  </a:lnTo>
                  <a:lnTo>
                    <a:pt x="77" y="837"/>
                  </a:lnTo>
                  <a:lnTo>
                    <a:pt x="71" y="837"/>
                  </a:lnTo>
                  <a:lnTo>
                    <a:pt x="65" y="839"/>
                  </a:lnTo>
                  <a:lnTo>
                    <a:pt x="56" y="845"/>
                  </a:lnTo>
                  <a:lnTo>
                    <a:pt x="45" y="854"/>
                  </a:lnTo>
                  <a:lnTo>
                    <a:pt x="32" y="869"/>
                  </a:lnTo>
                  <a:lnTo>
                    <a:pt x="32" y="869"/>
                  </a:lnTo>
                  <a:lnTo>
                    <a:pt x="36" y="875"/>
                  </a:lnTo>
                  <a:lnTo>
                    <a:pt x="41" y="882"/>
                  </a:lnTo>
                  <a:lnTo>
                    <a:pt x="49" y="892"/>
                  </a:lnTo>
                  <a:lnTo>
                    <a:pt x="56" y="901"/>
                  </a:lnTo>
                  <a:lnTo>
                    <a:pt x="60" y="912"/>
                  </a:lnTo>
                  <a:lnTo>
                    <a:pt x="60" y="916"/>
                  </a:lnTo>
                  <a:lnTo>
                    <a:pt x="58" y="921"/>
                  </a:lnTo>
                  <a:lnTo>
                    <a:pt x="56" y="925"/>
                  </a:lnTo>
                  <a:lnTo>
                    <a:pt x="51" y="929"/>
                  </a:lnTo>
                  <a:lnTo>
                    <a:pt x="45" y="931"/>
                  </a:lnTo>
                  <a:lnTo>
                    <a:pt x="36" y="935"/>
                  </a:lnTo>
                  <a:lnTo>
                    <a:pt x="36" y="935"/>
                  </a:lnTo>
                  <a:lnTo>
                    <a:pt x="28" y="935"/>
                  </a:lnTo>
                  <a:lnTo>
                    <a:pt x="22" y="935"/>
                  </a:lnTo>
                  <a:lnTo>
                    <a:pt x="11" y="933"/>
                  </a:lnTo>
                  <a:lnTo>
                    <a:pt x="6" y="935"/>
                  </a:lnTo>
                  <a:lnTo>
                    <a:pt x="2" y="936"/>
                  </a:lnTo>
                  <a:lnTo>
                    <a:pt x="0" y="942"/>
                  </a:lnTo>
                  <a:lnTo>
                    <a:pt x="0" y="951"/>
                  </a:lnTo>
                  <a:lnTo>
                    <a:pt x="0" y="951"/>
                  </a:lnTo>
                  <a:lnTo>
                    <a:pt x="2" y="951"/>
                  </a:lnTo>
                  <a:lnTo>
                    <a:pt x="6" y="955"/>
                  </a:lnTo>
                  <a:lnTo>
                    <a:pt x="17" y="966"/>
                  </a:lnTo>
                  <a:lnTo>
                    <a:pt x="17" y="966"/>
                  </a:lnTo>
                  <a:lnTo>
                    <a:pt x="21" y="966"/>
                  </a:lnTo>
                  <a:lnTo>
                    <a:pt x="28" y="963"/>
                  </a:lnTo>
                  <a:lnTo>
                    <a:pt x="47" y="951"/>
                  </a:lnTo>
                  <a:lnTo>
                    <a:pt x="56" y="948"/>
                  </a:lnTo>
                  <a:lnTo>
                    <a:pt x="67" y="948"/>
                  </a:lnTo>
                  <a:lnTo>
                    <a:pt x="71" y="950"/>
                  </a:lnTo>
                  <a:lnTo>
                    <a:pt x="75" y="953"/>
                  </a:lnTo>
                  <a:lnTo>
                    <a:pt x="77" y="957"/>
                  </a:lnTo>
                  <a:lnTo>
                    <a:pt x="80" y="964"/>
                  </a:lnTo>
                  <a:lnTo>
                    <a:pt x="80" y="964"/>
                  </a:lnTo>
                  <a:lnTo>
                    <a:pt x="82" y="970"/>
                  </a:lnTo>
                  <a:lnTo>
                    <a:pt x="86" y="974"/>
                  </a:lnTo>
                  <a:lnTo>
                    <a:pt x="92" y="976"/>
                  </a:lnTo>
                  <a:lnTo>
                    <a:pt x="99" y="978"/>
                  </a:lnTo>
                  <a:lnTo>
                    <a:pt x="116" y="976"/>
                  </a:lnTo>
                  <a:lnTo>
                    <a:pt x="135" y="974"/>
                  </a:lnTo>
                  <a:lnTo>
                    <a:pt x="153" y="972"/>
                  </a:lnTo>
                  <a:lnTo>
                    <a:pt x="170" y="970"/>
                  </a:lnTo>
                  <a:lnTo>
                    <a:pt x="178" y="972"/>
                  </a:lnTo>
                  <a:lnTo>
                    <a:pt x="183" y="974"/>
                  </a:lnTo>
                  <a:lnTo>
                    <a:pt x="187" y="976"/>
                  </a:lnTo>
                  <a:lnTo>
                    <a:pt x="189" y="981"/>
                  </a:lnTo>
                  <a:lnTo>
                    <a:pt x="189" y="981"/>
                  </a:lnTo>
                  <a:lnTo>
                    <a:pt x="194" y="996"/>
                  </a:lnTo>
                  <a:lnTo>
                    <a:pt x="198" y="1000"/>
                  </a:lnTo>
                  <a:lnTo>
                    <a:pt x="202" y="1004"/>
                  </a:lnTo>
                  <a:lnTo>
                    <a:pt x="209" y="1007"/>
                  </a:lnTo>
                  <a:lnTo>
                    <a:pt x="217" y="1006"/>
                  </a:lnTo>
                  <a:lnTo>
                    <a:pt x="228" y="1002"/>
                  </a:lnTo>
                  <a:lnTo>
                    <a:pt x="234" y="1002"/>
                  </a:lnTo>
                  <a:lnTo>
                    <a:pt x="236" y="1002"/>
                  </a:lnTo>
                  <a:lnTo>
                    <a:pt x="236" y="1006"/>
                  </a:lnTo>
                  <a:lnTo>
                    <a:pt x="236" y="1006"/>
                  </a:lnTo>
                  <a:lnTo>
                    <a:pt x="237" y="1011"/>
                  </a:lnTo>
                  <a:lnTo>
                    <a:pt x="241" y="1015"/>
                  </a:lnTo>
                  <a:lnTo>
                    <a:pt x="245" y="1017"/>
                  </a:lnTo>
                  <a:lnTo>
                    <a:pt x="249" y="1019"/>
                  </a:lnTo>
                  <a:lnTo>
                    <a:pt x="260" y="1022"/>
                  </a:lnTo>
                  <a:lnTo>
                    <a:pt x="265" y="1026"/>
                  </a:lnTo>
                  <a:lnTo>
                    <a:pt x="273" y="1032"/>
                  </a:lnTo>
                  <a:lnTo>
                    <a:pt x="273" y="1032"/>
                  </a:lnTo>
                  <a:lnTo>
                    <a:pt x="284" y="1045"/>
                  </a:lnTo>
                  <a:lnTo>
                    <a:pt x="290" y="1047"/>
                  </a:lnTo>
                  <a:lnTo>
                    <a:pt x="293" y="1047"/>
                  </a:lnTo>
                  <a:lnTo>
                    <a:pt x="295" y="1047"/>
                  </a:lnTo>
                  <a:lnTo>
                    <a:pt x="299" y="1045"/>
                  </a:lnTo>
                  <a:lnTo>
                    <a:pt x="310" y="1039"/>
                  </a:lnTo>
                  <a:lnTo>
                    <a:pt x="310" y="1039"/>
                  </a:lnTo>
                  <a:lnTo>
                    <a:pt x="318" y="1037"/>
                  </a:lnTo>
                  <a:lnTo>
                    <a:pt x="327" y="1037"/>
                  </a:lnTo>
                  <a:lnTo>
                    <a:pt x="336" y="1039"/>
                  </a:lnTo>
                  <a:lnTo>
                    <a:pt x="348" y="1041"/>
                  </a:lnTo>
                  <a:lnTo>
                    <a:pt x="348" y="1041"/>
                  </a:lnTo>
                  <a:lnTo>
                    <a:pt x="372" y="1050"/>
                  </a:lnTo>
                  <a:lnTo>
                    <a:pt x="387" y="1058"/>
                  </a:lnTo>
                  <a:lnTo>
                    <a:pt x="394" y="1063"/>
                  </a:lnTo>
                  <a:lnTo>
                    <a:pt x="398" y="1067"/>
                  </a:lnTo>
                  <a:lnTo>
                    <a:pt x="398" y="1071"/>
                  </a:lnTo>
                  <a:lnTo>
                    <a:pt x="400" y="1075"/>
                  </a:lnTo>
                  <a:lnTo>
                    <a:pt x="404" y="1077"/>
                  </a:lnTo>
                  <a:lnTo>
                    <a:pt x="415" y="1080"/>
                  </a:lnTo>
                  <a:lnTo>
                    <a:pt x="415" y="1080"/>
                  </a:lnTo>
                  <a:lnTo>
                    <a:pt x="426" y="1084"/>
                  </a:lnTo>
                  <a:lnTo>
                    <a:pt x="430" y="1086"/>
                  </a:lnTo>
                  <a:lnTo>
                    <a:pt x="436" y="1093"/>
                  </a:lnTo>
                  <a:lnTo>
                    <a:pt x="436" y="1093"/>
                  </a:lnTo>
                  <a:lnTo>
                    <a:pt x="445" y="1105"/>
                  </a:lnTo>
                  <a:lnTo>
                    <a:pt x="454" y="1110"/>
                  </a:lnTo>
                  <a:lnTo>
                    <a:pt x="462" y="1114"/>
                  </a:lnTo>
                  <a:lnTo>
                    <a:pt x="471" y="1116"/>
                  </a:lnTo>
                  <a:lnTo>
                    <a:pt x="486" y="1116"/>
                  </a:lnTo>
                  <a:lnTo>
                    <a:pt x="497" y="1116"/>
                  </a:lnTo>
                  <a:lnTo>
                    <a:pt x="497" y="1116"/>
                  </a:lnTo>
                  <a:lnTo>
                    <a:pt x="499" y="1103"/>
                  </a:lnTo>
                  <a:lnTo>
                    <a:pt x="497" y="1095"/>
                  </a:lnTo>
                  <a:lnTo>
                    <a:pt x="493" y="1090"/>
                  </a:lnTo>
                  <a:lnTo>
                    <a:pt x="492" y="1088"/>
                  </a:lnTo>
                  <a:lnTo>
                    <a:pt x="490" y="1084"/>
                  </a:lnTo>
                  <a:lnTo>
                    <a:pt x="490" y="1080"/>
                  </a:lnTo>
                  <a:lnTo>
                    <a:pt x="492" y="1075"/>
                  </a:lnTo>
                  <a:lnTo>
                    <a:pt x="497" y="1067"/>
                  </a:lnTo>
                  <a:lnTo>
                    <a:pt x="497" y="1067"/>
                  </a:lnTo>
                  <a:lnTo>
                    <a:pt x="497" y="1063"/>
                  </a:lnTo>
                  <a:lnTo>
                    <a:pt x="497" y="1060"/>
                  </a:lnTo>
                  <a:lnTo>
                    <a:pt x="495" y="1054"/>
                  </a:lnTo>
                  <a:lnTo>
                    <a:pt x="488" y="1039"/>
                  </a:lnTo>
                  <a:lnTo>
                    <a:pt x="484" y="1032"/>
                  </a:lnTo>
                  <a:lnTo>
                    <a:pt x="482" y="1022"/>
                  </a:lnTo>
                  <a:lnTo>
                    <a:pt x="484" y="1017"/>
                  </a:lnTo>
                  <a:lnTo>
                    <a:pt x="486" y="1009"/>
                  </a:lnTo>
                  <a:lnTo>
                    <a:pt x="490" y="1004"/>
                  </a:lnTo>
                  <a:lnTo>
                    <a:pt x="495" y="996"/>
                  </a:lnTo>
                  <a:lnTo>
                    <a:pt x="495" y="996"/>
                  </a:lnTo>
                  <a:lnTo>
                    <a:pt x="499" y="994"/>
                  </a:lnTo>
                  <a:lnTo>
                    <a:pt x="503" y="992"/>
                  </a:lnTo>
                  <a:lnTo>
                    <a:pt x="512" y="991"/>
                  </a:lnTo>
                  <a:lnTo>
                    <a:pt x="536" y="992"/>
                  </a:lnTo>
                  <a:lnTo>
                    <a:pt x="548" y="992"/>
                  </a:lnTo>
                  <a:lnTo>
                    <a:pt x="557" y="991"/>
                  </a:lnTo>
                  <a:lnTo>
                    <a:pt x="561" y="989"/>
                  </a:lnTo>
                  <a:lnTo>
                    <a:pt x="564" y="985"/>
                  </a:lnTo>
                  <a:lnTo>
                    <a:pt x="566" y="981"/>
                  </a:lnTo>
                  <a:lnTo>
                    <a:pt x="566" y="978"/>
                  </a:lnTo>
                  <a:lnTo>
                    <a:pt x="566" y="978"/>
                  </a:lnTo>
                  <a:lnTo>
                    <a:pt x="563" y="964"/>
                  </a:lnTo>
                  <a:lnTo>
                    <a:pt x="559" y="957"/>
                  </a:lnTo>
                  <a:lnTo>
                    <a:pt x="551" y="953"/>
                  </a:lnTo>
                  <a:lnTo>
                    <a:pt x="544" y="951"/>
                  </a:lnTo>
                  <a:lnTo>
                    <a:pt x="536" y="950"/>
                  </a:lnTo>
                  <a:lnTo>
                    <a:pt x="531" y="948"/>
                  </a:lnTo>
                  <a:lnTo>
                    <a:pt x="525" y="944"/>
                  </a:lnTo>
                  <a:lnTo>
                    <a:pt x="521" y="936"/>
                  </a:lnTo>
                  <a:lnTo>
                    <a:pt x="521" y="936"/>
                  </a:lnTo>
                  <a:lnTo>
                    <a:pt x="520" y="927"/>
                  </a:lnTo>
                  <a:lnTo>
                    <a:pt x="514" y="920"/>
                  </a:lnTo>
                  <a:lnTo>
                    <a:pt x="507" y="916"/>
                  </a:lnTo>
                  <a:lnTo>
                    <a:pt x="501" y="914"/>
                  </a:lnTo>
                  <a:lnTo>
                    <a:pt x="486" y="912"/>
                  </a:lnTo>
                  <a:lnTo>
                    <a:pt x="482" y="910"/>
                  </a:lnTo>
                  <a:lnTo>
                    <a:pt x="480" y="908"/>
                  </a:lnTo>
                  <a:lnTo>
                    <a:pt x="480" y="908"/>
                  </a:lnTo>
                  <a:lnTo>
                    <a:pt x="478" y="907"/>
                  </a:lnTo>
                  <a:lnTo>
                    <a:pt x="480" y="903"/>
                  </a:lnTo>
                  <a:lnTo>
                    <a:pt x="484" y="901"/>
                  </a:lnTo>
                  <a:lnTo>
                    <a:pt x="488" y="901"/>
                  </a:lnTo>
                  <a:lnTo>
                    <a:pt x="501" y="899"/>
                  </a:lnTo>
                  <a:lnTo>
                    <a:pt x="516" y="899"/>
                  </a:lnTo>
                  <a:lnTo>
                    <a:pt x="546" y="901"/>
                  </a:lnTo>
                  <a:lnTo>
                    <a:pt x="564" y="905"/>
                  </a:lnTo>
                  <a:lnTo>
                    <a:pt x="564" y="905"/>
                  </a:lnTo>
                  <a:lnTo>
                    <a:pt x="583" y="907"/>
                  </a:lnTo>
                  <a:lnTo>
                    <a:pt x="596" y="907"/>
                  </a:lnTo>
                  <a:lnTo>
                    <a:pt x="602" y="903"/>
                  </a:lnTo>
                  <a:lnTo>
                    <a:pt x="604" y="899"/>
                  </a:lnTo>
                  <a:lnTo>
                    <a:pt x="604" y="897"/>
                  </a:lnTo>
                  <a:lnTo>
                    <a:pt x="604" y="897"/>
                  </a:lnTo>
                  <a:lnTo>
                    <a:pt x="615" y="908"/>
                  </a:lnTo>
                  <a:lnTo>
                    <a:pt x="615" y="908"/>
                  </a:lnTo>
                  <a:lnTo>
                    <a:pt x="621" y="914"/>
                  </a:lnTo>
                  <a:lnTo>
                    <a:pt x="626" y="914"/>
                  </a:lnTo>
                  <a:lnTo>
                    <a:pt x="634" y="914"/>
                  </a:lnTo>
                  <a:lnTo>
                    <a:pt x="639" y="910"/>
                  </a:lnTo>
                  <a:lnTo>
                    <a:pt x="650" y="903"/>
                  </a:lnTo>
                  <a:lnTo>
                    <a:pt x="662" y="895"/>
                  </a:lnTo>
                  <a:lnTo>
                    <a:pt x="662" y="895"/>
                  </a:lnTo>
                  <a:lnTo>
                    <a:pt x="662" y="895"/>
                  </a:lnTo>
                  <a:lnTo>
                    <a:pt x="662" y="890"/>
                  </a:lnTo>
                  <a:lnTo>
                    <a:pt x="662" y="890"/>
                  </a:lnTo>
                  <a:lnTo>
                    <a:pt x="662" y="854"/>
                  </a:lnTo>
                  <a:lnTo>
                    <a:pt x="660" y="849"/>
                  </a:lnTo>
                  <a:lnTo>
                    <a:pt x="660" y="847"/>
                  </a:lnTo>
                  <a:lnTo>
                    <a:pt x="656" y="847"/>
                  </a:lnTo>
                  <a:lnTo>
                    <a:pt x="654" y="845"/>
                  </a:lnTo>
                  <a:lnTo>
                    <a:pt x="649" y="841"/>
                  </a:lnTo>
                  <a:lnTo>
                    <a:pt x="641" y="830"/>
                  </a:lnTo>
                  <a:lnTo>
                    <a:pt x="641" y="830"/>
                  </a:lnTo>
                  <a:lnTo>
                    <a:pt x="634" y="821"/>
                  </a:lnTo>
                  <a:lnTo>
                    <a:pt x="626" y="813"/>
                  </a:lnTo>
                  <a:lnTo>
                    <a:pt x="622" y="809"/>
                  </a:lnTo>
                  <a:lnTo>
                    <a:pt x="622" y="808"/>
                  </a:lnTo>
                  <a:lnTo>
                    <a:pt x="622" y="808"/>
                  </a:lnTo>
                  <a:lnTo>
                    <a:pt x="624" y="804"/>
                  </a:lnTo>
                  <a:lnTo>
                    <a:pt x="624" y="798"/>
                  </a:lnTo>
                  <a:lnTo>
                    <a:pt x="621" y="783"/>
                  </a:lnTo>
                  <a:lnTo>
                    <a:pt x="615" y="770"/>
                  </a:lnTo>
                  <a:lnTo>
                    <a:pt x="609" y="763"/>
                  </a:lnTo>
                  <a:lnTo>
                    <a:pt x="609" y="763"/>
                  </a:lnTo>
                  <a:lnTo>
                    <a:pt x="606" y="761"/>
                  </a:lnTo>
                  <a:lnTo>
                    <a:pt x="604" y="755"/>
                  </a:lnTo>
                  <a:lnTo>
                    <a:pt x="600" y="744"/>
                  </a:lnTo>
                  <a:lnTo>
                    <a:pt x="594" y="729"/>
                  </a:lnTo>
                  <a:lnTo>
                    <a:pt x="591" y="722"/>
                  </a:lnTo>
                  <a:lnTo>
                    <a:pt x="587" y="714"/>
                  </a:lnTo>
                  <a:lnTo>
                    <a:pt x="587" y="714"/>
                  </a:lnTo>
                  <a:lnTo>
                    <a:pt x="579" y="707"/>
                  </a:lnTo>
                  <a:lnTo>
                    <a:pt x="579" y="707"/>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0" name="Line 50">
              <a:extLst>
                <a:ext uri="{FF2B5EF4-FFF2-40B4-BE49-F238E27FC236}">
                  <a16:creationId xmlns:a16="http://schemas.microsoft.com/office/drawing/2014/main" id="{E32E1DA6-25A7-431D-BBAD-5B4E99741A4C}"/>
                </a:ext>
              </a:extLst>
            </p:cNvPr>
            <p:cNvSpPr>
              <a:spLocks noChangeShapeType="1"/>
            </p:cNvSpPr>
            <p:nvPr/>
          </p:nvSpPr>
          <p:spPr bwMode="auto">
            <a:xfrm>
              <a:off x="5178764" y="3754449"/>
              <a:ext cx="1817" cy="1816"/>
            </a:xfrm>
            <a:prstGeom prst="line">
              <a:avLst/>
            </a:pr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1" name="Freeform 51">
              <a:extLst>
                <a:ext uri="{FF2B5EF4-FFF2-40B4-BE49-F238E27FC236}">
                  <a16:creationId xmlns:a16="http://schemas.microsoft.com/office/drawing/2014/main" id="{64867BD4-C56A-4884-A787-575C4F0CC1DE}"/>
                </a:ext>
              </a:extLst>
            </p:cNvPr>
            <p:cNvSpPr>
              <a:spLocks/>
            </p:cNvSpPr>
            <p:nvPr/>
          </p:nvSpPr>
          <p:spPr bwMode="auto">
            <a:xfrm>
              <a:off x="4784549" y="3556432"/>
              <a:ext cx="610398" cy="1011880"/>
            </a:xfrm>
            <a:custGeom>
              <a:avLst/>
              <a:gdLst/>
              <a:ahLst/>
              <a:cxnLst>
                <a:cxn ang="0">
                  <a:pos x="589" y="617"/>
                </a:cxn>
                <a:cxn ang="0">
                  <a:pos x="600" y="514"/>
                </a:cxn>
                <a:cxn ang="0">
                  <a:pos x="594" y="419"/>
                </a:cxn>
                <a:cxn ang="0">
                  <a:pos x="619" y="324"/>
                </a:cxn>
                <a:cxn ang="0">
                  <a:pos x="630" y="277"/>
                </a:cxn>
                <a:cxn ang="0">
                  <a:pos x="602" y="206"/>
                </a:cxn>
                <a:cxn ang="0">
                  <a:pos x="643" y="139"/>
                </a:cxn>
                <a:cxn ang="0">
                  <a:pos x="673" y="43"/>
                </a:cxn>
                <a:cxn ang="0">
                  <a:pos x="660" y="0"/>
                </a:cxn>
                <a:cxn ang="0">
                  <a:pos x="615" y="38"/>
                </a:cxn>
                <a:cxn ang="0">
                  <a:pos x="555" y="19"/>
                </a:cxn>
                <a:cxn ang="0">
                  <a:pos x="559" y="43"/>
                </a:cxn>
                <a:cxn ang="0">
                  <a:pos x="514" y="71"/>
                </a:cxn>
                <a:cxn ang="0">
                  <a:pos x="484" y="105"/>
                </a:cxn>
                <a:cxn ang="0">
                  <a:pos x="422" y="200"/>
                </a:cxn>
                <a:cxn ang="0">
                  <a:pos x="407" y="221"/>
                </a:cxn>
                <a:cxn ang="0">
                  <a:pos x="393" y="269"/>
                </a:cxn>
                <a:cxn ang="0">
                  <a:pos x="340" y="271"/>
                </a:cxn>
                <a:cxn ang="0">
                  <a:pos x="279" y="243"/>
                </a:cxn>
                <a:cxn ang="0">
                  <a:pos x="237" y="297"/>
                </a:cxn>
                <a:cxn ang="0">
                  <a:pos x="249" y="381"/>
                </a:cxn>
                <a:cxn ang="0">
                  <a:pos x="370" y="441"/>
                </a:cxn>
                <a:cxn ang="0">
                  <a:pos x="391" y="503"/>
                </a:cxn>
                <a:cxn ang="0">
                  <a:pos x="379" y="578"/>
                </a:cxn>
                <a:cxn ang="0">
                  <a:pos x="308" y="606"/>
                </a:cxn>
                <a:cxn ang="0">
                  <a:pos x="282" y="630"/>
                </a:cxn>
                <a:cxn ang="0">
                  <a:pos x="228" y="658"/>
                </a:cxn>
                <a:cxn ang="0">
                  <a:pos x="151" y="626"/>
                </a:cxn>
                <a:cxn ang="0">
                  <a:pos x="135" y="656"/>
                </a:cxn>
                <a:cxn ang="0">
                  <a:pos x="112" y="707"/>
                </a:cxn>
                <a:cxn ang="0">
                  <a:pos x="157" y="735"/>
                </a:cxn>
                <a:cxn ang="0">
                  <a:pos x="123" y="776"/>
                </a:cxn>
                <a:cxn ang="0">
                  <a:pos x="144" y="843"/>
                </a:cxn>
                <a:cxn ang="0">
                  <a:pos x="71" y="837"/>
                </a:cxn>
                <a:cxn ang="0">
                  <a:pos x="49" y="892"/>
                </a:cxn>
                <a:cxn ang="0">
                  <a:pos x="36" y="935"/>
                </a:cxn>
                <a:cxn ang="0">
                  <a:pos x="0" y="951"/>
                </a:cxn>
                <a:cxn ang="0">
                  <a:pos x="47" y="951"/>
                </a:cxn>
                <a:cxn ang="0">
                  <a:pos x="82" y="970"/>
                </a:cxn>
                <a:cxn ang="0">
                  <a:pos x="178" y="972"/>
                </a:cxn>
                <a:cxn ang="0">
                  <a:pos x="209" y="1007"/>
                </a:cxn>
                <a:cxn ang="0">
                  <a:pos x="241" y="1015"/>
                </a:cxn>
                <a:cxn ang="0">
                  <a:pos x="290" y="1047"/>
                </a:cxn>
                <a:cxn ang="0">
                  <a:pos x="336" y="1039"/>
                </a:cxn>
                <a:cxn ang="0">
                  <a:pos x="400" y="1075"/>
                </a:cxn>
                <a:cxn ang="0">
                  <a:pos x="445" y="1105"/>
                </a:cxn>
                <a:cxn ang="0">
                  <a:pos x="497" y="1095"/>
                </a:cxn>
                <a:cxn ang="0">
                  <a:pos x="497" y="1063"/>
                </a:cxn>
                <a:cxn ang="0">
                  <a:pos x="490" y="1004"/>
                </a:cxn>
                <a:cxn ang="0">
                  <a:pos x="557" y="991"/>
                </a:cxn>
                <a:cxn ang="0">
                  <a:pos x="551" y="953"/>
                </a:cxn>
                <a:cxn ang="0">
                  <a:pos x="514" y="920"/>
                </a:cxn>
                <a:cxn ang="0">
                  <a:pos x="480" y="903"/>
                </a:cxn>
                <a:cxn ang="0">
                  <a:pos x="583" y="907"/>
                </a:cxn>
                <a:cxn ang="0">
                  <a:pos x="621" y="914"/>
                </a:cxn>
                <a:cxn ang="0">
                  <a:pos x="662" y="890"/>
                </a:cxn>
                <a:cxn ang="0">
                  <a:pos x="641" y="830"/>
                </a:cxn>
                <a:cxn ang="0">
                  <a:pos x="624" y="798"/>
                </a:cxn>
                <a:cxn ang="0">
                  <a:pos x="594" y="729"/>
                </a:cxn>
              </a:cxnLst>
              <a:rect l="0" t="0" r="r" b="b"/>
              <a:pathLst>
                <a:path w="673" h="1116">
                  <a:moveTo>
                    <a:pt x="579" y="707"/>
                  </a:moveTo>
                  <a:lnTo>
                    <a:pt x="579" y="707"/>
                  </a:lnTo>
                  <a:lnTo>
                    <a:pt x="574" y="699"/>
                  </a:lnTo>
                  <a:lnTo>
                    <a:pt x="570" y="692"/>
                  </a:lnTo>
                  <a:lnTo>
                    <a:pt x="570" y="680"/>
                  </a:lnTo>
                  <a:lnTo>
                    <a:pt x="570" y="669"/>
                  </a:lnTo>
                  <a:lnTo>
                    <a:pt x="578" y="645"/>
                  </a:lnTo>
                  <a:lnTo>
                    <a:pt x="589" y="617"/>
                  </a:lnTo>
                  <a:lnTo>
                    <a:pt x="600" y="591"/>
                  </a:lnTo>
                  <a:lnTo>
                    <a:pt x="609" y="565"/>
                  </a:lnTo>
                  <a:lnTo>
                    <a:pt x="611" y="552"/>
                  </a:lnTo>
                  <a:lnTo>
                    <a:pt x="611" y="542"/>
                  </a:lnTo>
                  <a:lnTo>
                    <a:pt x="609" y="533"/>
                  </a:lnTo>
                  <a:lnTo>
                    <a:pt x="606" y="523"/>
                  </a:lnTo>
                  <a:lnTo>
                    <a:pt x="606" y="523"/>
                  </a:lnTo>
                  <a:lnTo>
                    <a:pt x="600" y="514"/>
                  </a:lnTo>
                  <a:lnTo>
                    <a:pt x="596" y="503"/>
                  </a:lnTo>
                  <a:lnTo>
                    <a:pt x="596" y="492"/>
                  </a:lnTo>
                  <a:lnTo>
                    <a:pt x="596" y="479"/>
                  </a:lnTo>
                  <a:lnTo>
                    <a:pt x="600" y="456"/>
                  </a:lnTo>
                  <a:lnTo>
                    <a:pt x="600" y="445"/>
                  </a:lnTo>
                  <a:lnTo>
                    <a:pt x="598" y="434"/>
                  </a:lnTo>
                  <a:lnTo>
                    <a:pt x="598" y="434"/>
                  </a:lnTo>
                  <a:lnTo>
                    <a:pt x="594" y="419"/>
                  </a:lnTo>
                  <a:lnTo>
                    <a:pt x="592" y="404"/>
                  </a:lnTo>
                  <a:lnTo>
                    <a:pt x="591" y="393"/>
                  </a:lnTo>
                  <a:lnTo>
                    <a:pt x="592" y="381"/>
                  </a:lnTo>
                  <a:lnTo>
                    <a:pt x="594" y="363"/>
                  </a:lnTo>
                  <a:lnTo>
                    <a:pt x="602" y="350"/>
                  </a:lnTo>
                  <a:lnTo>
                    <a:pt x="607" y="339"/>
                  </a:lnTo>
                  <a:lnTo>
                    <a:pt x="615" y="331"/>
                  </a:lnTo>
                  <a:lnTo>
                    <a:pt x="619" y="324"/>
                  </a:lnTo>
                  <a:lnTo>
                    <a:pt x="619" y="320"/>
                  </a:lnTo>
                  <a:lnTo>
                    <a:pt x="619" y="316"/>
                  </a:lnTo>
                  <a:lnTo>
                    <a:pt x="619" y="316"/>
                  </a:lnTo>
                  <a:lnTo>
                    <a:pt x="617" y="305"/>
                  </a:lnTo>
                  <a:lnTo>
                    <a:pt x="621" y="296"/>
                  </a:lnTo>
                  <a:lnTo>
                    <a:pt x="624" y="290"/>
                  </a:lnTo>
                  <a:lnTo>
                    <a:pt x="628" y="284"/>
                  </a:lnTo>
                  <a:lnTo>
                    <a:pt x="630" y="277"/>
                  </a:lnTo>
                  <a:lnTo>
                    <a:pt x="630" y="269"/>
                  </a:lnTo>
                  <a:lnTo>
                    <a:pt x="624" y="256"/>
                  </a:lnTo>
                  <a:lnTo>
                    <a:pt x="611" y="238"/>
                  </a:lnTo>
                  <a:lnTo>
                    <a:pt x="611" y="238"/>
                  </a:lnTo>
                  <a:lnTo>
                    <a:pt x="607" y="232"/>
                  </a:lnTo>
                  <a:lnTo>
                    <a:pt x="604" y="225"/>
                  </a:lnTo>
                  <a:lnTo>
                    <a:pt x="602" y="215"/>
                  </a:lnTo>
                  <a:lnTo>
                    <a:pt x="602" y="206"/>
                  </a:lnTo>
                  <a:lnTo>
                    <a:pt x="602" y="196"/>
                  </a:lnTo>
                  <a:lnTo>
                    <a:pt x="604" y="189"/>
                  </a:lnTo>
                  <a:lnTo>
                    <a:pt x="606" y="182"/>
                  </a:lnTo>
                  <a:lnTo>
                    <a:pt x="611" y="176"/>
                  </a:lnTo>
                  <a:lnTo>
                    <a:pt x="611" y="176"/>
                  </a:lnTo>
                  <a:lnTo>
                    <a:pt x="626" y="165"/>
                  </a:lnTo>
                  <a:lnTo>
                    <a:pt x="635" y="152"/>
                  </a:lnTo>
                  <a:lnTo>
                    <a:pt x="643" y="139"/>
                  </a:lnTo>
                  <a:lnTo>
                    <a:pt x="647" y="125"/>
                  </a:lnTo>
                  <a:lnTo>
                    <a:pt x="650" y="101"/>
                  </a:lnTo>
                  <a:lnTo>
                    <a:pt x="652" y="92"/>
                  </a:lnTo>
                  <a:lnTo>
                    <a:pt x="656" y="83"/>
                  </a:lnTo>
                  <a:lnTo>
                    <a:pt x="656" y="83"/>
                  </a:lnTo>
                  <a:lnTo>
                    <a:pt x="665" y="64"/>
                  </a:lnTo>
                  <a:lnTo>
                    <a:pt x="671" y="51"/>
                  </a:lnTo>
                  <a:lnTo>
                    <a:pt x="673" y="43"/>
                  </a:lnTo>
                  <a:lnTo>
                    <a:pt x="673" y="40"/>
                  </a:lnTo>
                  <a:lnTo>
                    <a:pt x="667" y="32"/>
                  </a:lnTo>
                  <a:lnTo>
                    <a:pt x="664" y="26"/>
                  </a:lnTo>
                  <a:lnTo>
                    <a:pt x="664" y="17"/>
                  </a:lnTo>
                  <a:lnTo>
                    <a:pt x="664" y="17"/>
                  </a:lnTo>
                  <a:lnTo>
                    <a:pt x="665" y="8"/>
                  </a:lnTo>
                  <a:lnTo>
                    <a:pt x="664" y="2"/>
                  </a:lnTo>
                  <a:lnTo>
                    <a:pt x="660" y="0"/>
                  </a:lnTo>
                  <a:lnTo>
                    <a:pt x="652" y="0"/>
                  </a:lnTo>
                  <a:lnTo>
                    <a:pt x="645" y="4"/>
                  </a:lnTo>
                  <a:lnTo>
                    <a:pt x="637" y="12"/>
                  </a:lnTo>
                  <a:lnTo>
                    <a:pt x="630" y="19"/>
                  </a:lnTo>
                  <a:lnTo>
                    <a:pt x="622" y="30"/>
                  </a:lnTo>
                  <a:lnTo>
                    <a:pt x="622" y="30"/>
                  </a:lnTo>
                  <a:lnTo>
                    <a:pt x="617" y="38"/>
                  </a:lnTo>
                  <a:lnTo>
                    <a:pt x="615" y="38"/>
                  </a:lnTo>
                  <a:lnTo>
                    <a:pt x="613" y="36"/>
                  </a:lnTo>
                  <a:lnTo>
                    <a:pt x="611" y="32"/>
                  </a:lnTo>
                  <a:lnTo>
                    <a:pt x="606" y="30"/>
                  </a:lnTo>
                  <a:lnTo>
                    <a:pt x="598" y="28"/>
                  </a:lnTo>
                  <a:lnTo>
                    <a:pt x="589" y="28"/>
                  </a:lnTo>
                  <a:lnTo>
                    <a:pt x="589" y="28"/>
                  </a:lnTo>
                  <a:lnTo>
                    <a:pt x="566" y="21"/>
                  </a:lnTo>
                  <a:lnTo>
                    <a:pt x="555" y="19"/>
                  </a:lnTo>
                  <a:lnTo>
                    <a:pt x="551" y="19"/>
                  </a:lnTo>
                  <a:lnTo>
                    <a:pt x="551" y="23"/>
                  </a:lnTo>
                  <a:lnTo>
                    <a:pt x="551" y="23"/>
                  </a:lnTo>
                  <a:lnTo>
                    <a:pt x="555" y="26"/>
                  </a:lnTo>
                  <a:lnTo>
                    <a:pt x="563" y="32"/>
                  </a:lnTo>
                  <a:lnTo>
                    <a:pt x="564" y="36"/>
                  </a:lnTo>
                  <a:lnTo>
                    <a:pt x="564" y="40"/>
                  </a:lnTo>
                  <a:lnTo>
                    <a:pt x="559" y="43"/>
                  </a:lnTo>
                  <a:lnTo>
                    <a:pt x="550" y="45"/>
                  </a:lnTo>
                  <a:lnTo>
                    <a:pt x="550" y="45"/>
                  </a:lnTo>
                  <a:lnTo>
                    <a:pt x="544" y="45"/>
                  </a:lnTo>
                  <a:lnTo>
                    <a:pt x="540" y="45"/>
                  </a:lnTo>
                  <a:lnTo>
                    <a:pt x="538" y="45"/>
                  </a:lnTo>
                  <a:lnTo>
                    <a:pt x="533" y="51"/>
                  </a:lnTo>
                  <a:lnTo>
                    <a:pt x="514" y="71"/>
                  </a:lnTo>
                  <a:lnTo>
                    <a:pt x="514" y="71"/>
                  </a:lnTo>
                  <a:lnTo>
                    <a:pt x="510" y="77"/>
                  </a:lnTo>
                  <a:lnTo>
                    <a:pt x="508" y="79"/>
                  </a:lnTo>
                  <a:lnTo>
                    <a:pt x="508" y="86"/>
                  </a:lnTo>
                  <a:lnTo>
                    <a:pt x="508" y="90"/>
                  </a:lnTo>
                  <a:lnTo>
                    <a:pt x="505" y="94"/>
                  </a:lnTo>
                  <a:lnTo>
                    <a:pt x="497" y="99"/>
                  </a:lnTo>
                  <a:lnTo>
                    <a:pt x="484" y="105"/>
                  </a:lnTo>
                  <a:lnTo>
                    <a:pt x="484" y="105"/>
                  </a:lnTo>
                  <a:lnTo>
                    <a:pt x="473" y="118"/>
                  </a:lnTo>
                  <a:lnTo>
                    <a:pt x="449" y="146"/>
                  </a:lnTo>
                  <a:lnTo>
                    <a:pt x="437" y="163"/>
                  </a:lnTo>
                  <a:lnTo>
                    <a:pt x="428" y="178"/>
                  </a:lnTo>
                  <a:lnTo>
                    <a:pt x="422" y="191"/>
                  </a:lnTo>
                  <a:lnTo>
                    <a:pt x="422" y="196"/>
                  </a:lnTo>
                  <a:lnTo>
                    <a:pt x="422" y="200"/>
                  </a:lnTo>
                  <a:lnTo>
                    <a:pt x="422" y="200"/>
                  </a:lnTo>
                  <a:lnTo>
                    <a:pt x="430" y="213"/>
                  </a:lnTo>
                  <a:lnTo>
                    <a:pt x="436" y="219"/>
                  </a:lnTo>
                  <a:lnTo>
                    <a:pt x="436" y="219"/>
                  </a:lnTo>
                  <a:lnTo>
                    <a:pt x="428" y="217"/>
                  </a:lnTo>
                  <a:lnTo>
                    <a:pt x="421" y="217"/>
                  </a:lnTo>
                  <a:lnTo>
                    <a:pt x="411" y="219"/>
                  </a:lnTo>
                  <a:lnTo>
                    <a:pt x="411" y="219"/>
                  </a:lnTo>
                  <a:lnTo>
                    <a:pt x="407" y="221"/>
                  </a:lnTo>
                  <a:lnTo>
                    <a:pt x="406" y="223"/>
                  </a:lnTo>
                  <a:lnTo>
                    <a:pt x="406" y="232"/>
                  </a:lnTo>
                  <a:lnTo>
                    <a:pt x="411" y="253"/>
                  </a:lnTo>
                  <a:lnTo>
                    <a:pt x="411" y="262"/>
                  </a:lnTo>
                  <a:lnTo>
                    <a:pt x="409" y="266"/>
                  </a:lnTo>
                  <a:lnTo>
                    <a:pt x="406" y="268"/>
                  </a:lnTo>
                  <a:lnTo>
                    <a:pt x="400" y="269"/>
                  </a:lnTo>
                  <a:lnTo>
                    <a:pt x="393" y="269"/>
                  </a:lnTo>
                  <a:lnTo>
                    <a:pt x="383" y="268"/>
                  </a:lnTo>
                  <a:lnTo>
                    <a:pt x="372" y="264"/>
                  </a:lnTo>
                  <a:lnTo>
                    <a:pt x="372" y="264"/>
                  </a:lnTo>
                  <a:lnTo>
                    <a:pt x="364" y="262"/>
                  </a:lnTo>
                  <a:lnTo>
                    <a:pt x="359" y="264"/>
                  </a:lnTo>
                  <a:lnTo>
                    <a:pt x="353" y="269"/>
                  </a:lnTo>
                  <a:lnTo>
                    <a:pt x="348" y="271"/>
                  </a:lnTo>
                  <a:lnTo>
                    <a:pt x="340" y="271"/>
                  </a:lnTo>
                  <a:lnTo>
                    <a:pt x="329" y="266"/>
                  </a:lnTo>
                  <a:lnTo>
                    <a:pt x="310" y="254"/>
                  </a:lnTo>
                  <a:lnTo>
                    <a:pt x="310" y="254"/>
                  </a:lnTo>
                  <a:lnTo>
                    <a:pt x="301" y="249"/>
                  </a:lnTo>
                  <a:lnTo>
                    <a:pt x="293" y="245"/>
                  </a:lnTo>
                  <a:lnTo>
                    <a:pt x="286" y="243"/>
                  </a:lnTo>
                  <a:lnTo>
                    <a:pt x="279" y="243"/>
                  </a:lnTo>
                  <a:lnTo>
                    <a:pt x="279" y="243"/>
                  </a:lnTo>
                  <a:lnTo>
                    <a:pt x="273" y="247"/>
                  </a:lnTo>
                  <a:lnTo>
                    <a:pt x="265" y="253"/>
                  </a:lnTo>
                  <a:lnTo>
                    <a:pt x="258" y="260"/>
                  </a:lnTo>
                  <a:lnTo>
                    <a:pt x="250" y="269"/>
                  </a:lnTo>
                  <a:lnTo>
                    <a:pt x="250" y="269"/>
                  </a:lnTo>
                  <a:lnTo>
                    <a:pt x="245" y="279"/>
                  </a:lnTo>
                  <a:lnTo>
                    <a:pt x="241" y="288"/>
                  </a:lnTo>
                  <a:lnTo>
                    <a:pt x="237" y="297"/>
                  </a:lnTo>
                  <a:lnTo>
                    <a:pt x="237" y="307"/>
                  </a:lnTo>
                  <a:lnTo>
                    <a:pt x="236" y="344"/>
                  </a:lnTo>
                  <a:lnTo>
                    <a:pt x="236" y="344"/>
                  </a:lnTo>
                  <a:lnTo>
                    <a:pt x="234" y="361"/>
                  </a:lnTo>
                  <a:lnTo>
                    <a:pt x="237" y="370"/>
                  </a:lnTo>
                  <a:lnTo>
                    <a:pt x="239" y="374"/>
                  </a:lnTo>
                  <a:lnTo>
                    <a:pt x="241" y="378"/>
                  </a:lnTo>
                  <a:lnTo>
                    <a:pt x="249" y="381"/>
                  </a:lnTo>
                  <a:lnTo>
                    <a:pt x="260" y="383"/>
                  </a:lnTo>
                  <a:lnTo>
                    <a:pt x="275" y="389"/>
                  </a:lnTo>
                  <a:lnTo>
                    <a:pt x="293" y="398"/>
                  </a:lnTo>
                  <a:lnTo>
                    <a:pt x="316" y="413"/>
                  </a:lnTo>
                  <a:lnTo>
                    <a:pt x="316" y="413"/>
                  </a:lnTo>
                  <a:lnTo>
                    <a:pt x="336" y="426"/>
                  </a:lnTo>
                  <a:lnTo>
                    <a:pt x="353" y="436"/>
                  </a:lnTo>
                  <a:lnTo>
                    <a:pt x="370" y="441"/>
                  </a:lnTo>
                  <a:lnTo>
                    <a:pt x="383" y="449"/>
                  </a:lnTo>
                  <a:lnTo>
                    <a:pt x="393" y="456"/>
                  </a:lnTo>
                  <a:lnTo>
                    <a:pt x="394" y="460"/>
                  </a:lnTo>
                  <a:lnTo>
                    <a:pt x="396" y="466"/>
                  </a:lnTo>
                  <a:lnTo>
                    <a:pt x="398" y="473"/>
                  </a:lnTo>
                  <a:lnTo>
                    <a:pt x="396" y="482"/>
                  </a:lnTo>
                  <a:lnTo>
                    <a:pt x="391" y="503"/>
                  </a:lnTo>
                  <a:lnTo>
                    <a:pt x="391" y="503"/>
                  </a:lnTo>
                  <a:lnTo>
                    <a:pt x="387" y="514"/>
                  </a:lnTo>
                  <a:lnTo>
                    <a:pt x="381" y="520"/>
                  </a:lnTo>
                  <a:lnTo>
                    <a:pt x="370" y="525"/>
                  </a:lnTo>
                  <a:lnTo>
                    <a:pt x="366" y="531"/>
                  </a:lnTo>
                  <a:lnTo>
                    <a:pt x="366" y="538"/>
                  </a:lnTo>
                  <a:lnTo>
                    <a:pt x="372" y="555"/>
                  </a:lnTo>
                  <a:lnTo>
                    <a:pt x="379" y="578"/>
                  </a:lnTo>
                  <a:lnTo>
                    <a:pt x="379" y="578"/>
                  </a:lnTo>
                  <a:lnTo>
                    <a:pt x="381" y="587"/>
                  </a:lnTo>
                  <a:lnTo>
                    <a:pt x="381" y="594"/>
                  </a:lnTo>
                  <a:lnTo>
                    <a:pt x="378" y="600"/>
                  </a:lnTo>
                  <a:lnTo>
                    <a:pt x="370" y="602"/>
                  </a:lnTo>
                  <a:lnTo>
                    <a:pt x="363" y="606"/>
                  </a:lnTo>
                  <a:lnTo>
                    <a:pt x="353" y="606"/>
                  </a:lnTo>
                  <a:lnTo>
                    <a:pt x="331" y="608"/>
                  </a:lnTo>
                  <a:lnTo>
                    <a:pt x="308" y="606"/>
                  </a:lnTo>
                  <a:lnTo>
                    <a:pt x="288" y="606"/>
                  </a:lnTo>
                  <a:lnTo>
                    <a:pt x="280" y="608"/>
                  </a:lnTo>
                  <a:lnTo>
                    <a:pt x="275" y="609"/>
                  </a:lnTo>
                  <a:lnTo>
                    <a:pt x="271" y="611"/>
                  </a:lnTo>
                  <a:lnTo>
                    <a:pt x="271" y="617"/>
                  </a:lnTo>
                  <a:lnTo>
                    <a:pt x="271" y="617"/>
                  </a:lnTo>
                  <a:lnTo>
                    <a:pt x="277" y="624"/>
                  </a:lnTo>
                  <a:lnTo>
                    <a:pt x="282" y="630"/>
                  </a:lnTo>
                  <a:lnTo>
                    <a:pt x="284" y="639"/>
                  </a:lnTo>
                  <a:lnTo>
                    <a:pt x="284" y="643"/>
                  </a:lnTo>
                  <a:lnTo>
                    <a:pt x="282" y="647"/>
                  </a:lnTo>
                  <a:lnTo>
                    <a:pt x="279" y="649"/>
                  </a:lnTo>
                  <a:lnTo>
                    <a:pt x="273" y="652"/>
                  </a:lnTo>
                  <a:lnTo>
                    <a:pt x="265" y="654"/>
                  </a:lnTo>
                  <a:lnTo>
                    <a:pt x="256" y="656"/>
                  </a:lnTo>
                  <a:lnTo>
                    <a:pt x="228" y="658"/>
                  </a:lnTo>
                  <a:lnTo>
                    <a:pt x="228" y="658"/>
                  </a:lnTo>
                  <a:lnTo>
                    <a:pt x="217" y="656"/>
                  </a:lnTo>
                  <a:lnTo>
                    <a:pt x="206" y="651"/>
                  </a:lnTo>
                  <a:lnTo>
                    <a:pt x="185" y="636"/>
                  </a:lnTo>
                  <a:lnTo>
                    <a:pt x="176" y="630"/>
                  </a:lnTo>
                  <a:lnTo>
                    <a:pt x="165" y="626"/>
                  </a:lnTo>
                  <a:lnTo>
                    <a:pt x="157" y="626"/>
                  </a:lnTo>
                  <a:lnTo>
                    <a:pt x="151" y="626"/>
                  </a:lnTo>
                  <a:lnTo>
                    <a:pt x="144" y="628"/>
                  </a:lnTo>
                  <a:lnTo>
                    <a:pt x="136" y="632"/>
                  </a:lnTo>
                  <a:lnTo>
                    <a:pt x="136" y="632"/>
                  </a:lnTo>
                  <a:lnTo>
                    <a:pt x="129" y="637"/>
                  </a:lnTo>
                  <a:lnTo>
                    <a:pt x="127" y="643"/>
                  </a:lnTo>
                  <a:lnTo>
                    <a:pt x="129" y="647"/>
                  </a:lnTo>
                  <a:lnTo>
                    <a:pt x="131" y="651"/>
                  </a:lnTo>
                  <a:lnTo>
                    <a:pt x="135" y="656"/>
                  </a:lnTo>
                  <a:lnTo>
                    <a:pt x="136" y="662"/>
                  </a:lnTo>
                  <a:lnTo>
                    <a:pt x="135" y="671"/>
                  </a:lnTo>
                  <a:lnTo>
                    <a:pt x="125" y="680"/>
                  </a:lnTo>
                  <a:lnTo>
                    <a:pt x="125" y="680"/>
                  </a:lnTo>
                  <a:lnTo>
                    <a:pt x="114" y="695"/>
                  </a:lnTo>
                  <a:lnTo>
                    <a:pt x="112" y="701"/>
                  </a:lnTo>
                  <a:lnTo>
                    <a:pt x="112" y="705"/>
                  </a:lnTo>
                  <a:lnTo>
                    <a:pt x="112" y="707"/>
                  </a:lnTo>
                  <a:lnTo>
                    <a:pt x="116" y="710"/>
                  </a:lnTo>
                  <a:lnTo>
                    <a:pt x="123" y="712"/>
                  </a:lnTo>
                  <a:lnTo>
                    <a:pt x="133" y="716"/>
                  </a:lnTo>
                  <a:lnTo>
                    <a:pt x="144" y="718"/>
                  </a:lnTo>
                  <a:lnTo>
                    <a:pt x="148" y="722"/>
                  </a:lnTo>
                  <a:lnTo>
                    <a:pt x="151" y="725"/>
                  </a:lnTo>
                  <a:lnTo>
                    <a:pt x="155" y="729"/>
                  </a:lnTo>
                  <a:lnTo>
                    <a:pt x="157" y="735"/>
                  </a:lnTo>
                  <a:lnTo>
                    <a:pt x="157" y="735"/>
                  </a:lnTo>
                  <a:lnTo>
                    <a:pt x="157" y="738"/>
                  </a:lnTo>
                  <a:lnTo>
                    <a:pt x="153" y="740"/>
                  </a:lnTo>
                  <a:lnTo>
                    <a:pt x="148" y="742"/>
                  </a:lnTo>
                  <a:lnTo>
                    <a:pt x="140" y="744"/>
                  </a:lnTo>
                  <a:lnTo>
                    <a:pt x="135" y="750"/>
                  </a:lnTo>
                  <a:lnTo>
                    <a:pt x="127" y="759"/>
                  </a:lnTo>
                  <a:lnTo>
                    <a:pt x="123" y="776"/>
                  </a:lnTo>
                  <a:lnTo>
                    <a:pt x="122" y="800"/>
                  </a:lnTo>
                  <a:lnTo>
                    <a:pt x="122" y="800"/>
                  </a:lnTo>
                  <a:lnTo>
                    <a:pt x="123" y="809"/>
                  </a:lnTo>
                  <a:lnTo>
                    <a:pt x="125" y="817"/>
                  </a:lnTo>
                  <a:lnTo>
                    <a:pt x="131" y="830"/>
                  </a:lnTo>
                  <a:lnTo>
                    <a:pt x="138" y="837"/>
                  </a:lnTo>
                  <a:lnTo>
                    <a:pt x="142" y="843"/>
                  </a:lnTo>
                  <a:lnTo>
                    <a:pt x="144" y="843"/>
                  </a:lnTo>
                  <a:lnTo>
                    <a:pt x="144" y="845"/>
                  </a:lnTo>
                  <a:lnTo>
                    <a:pt x="136" y="845"/>
                  </a:lnTo>
                  <a:lnTo>
                    <a:pt x="92" y="843"/>
                  </a:lnTo>
                  <a:lnTo>
                    <a:pt x="92" y="843"/>
                  </a:lnTo>
                  <a:lnTo>
                    <a:pt x="86" y="841"/>
                  </a:lnTo>
                  <a:lnTo>
                    <a:pt x="80" y="839"/>
                  </a:lnTo>
                  <a:lnTo>
                    <a:pt x="77" y="837"/>
                  </a:lnTo>
                  <a:lnTo>
                    <a:pt x="71" y="837"/>
                  </a:lnTo>
                  <a:lnTo>
                    <a:pt x="65" y="839"/>
                  </a:lnTo>
                  <a:lnTo>
                    <a:pt x="56" y="845"/>
                  </a:lnTo>
                  <a:lnTo>
                    <a:pt x="45" y="854"/>
                  </a:lnTo>
                  <a:lnTo>
                    <a:pt x="32" y="869"/>
                  </a:lnTo>
                  <a:lnTo>
                    <a:pt x="32" y="869"/>
                  </a:lnTo>
                  <a:lnTo>
                    <a:pt x="36" y="875"/>
                  </a:lnTo>
                  <a:lnTo>
                    <a:pt x="41" y="882"/>
                  </a:lnTo>
                  <a:lnTo>
                    <a:pt x="49" y="892"/>
                  </a:lnTo>
                  <a:lnTo>
                    <a:pt x="56" y="901"/>
                  </a:lnTo>
                  <a:lnTo>
                    <a:pt x="60" y="912"/>
                  </a:lnTo>
                  <a:lnTo>
                    <a:pt x="60" y="916"/>
                  </a:lnTo>
                  <a:lnTo>
                    <a:pt x="58" y="921"/>
                  </a:lnTo>
                  <a:lnTo>
                    <a:pt x="56" y="925"/>
                  </a:lnTo>
                  <a:lnTo>
                    <a:pt x="51" y="929"/>
                  </a:lnTo>
                  <a:lnTo>
                    <a:pt x="45" y="931"/>
                  </a:lnTo>
                  <a:lnTo>
                    <a:pt x="36" y="935"/>
                  </a:lnTo>
                  <a:lnTo>
                    <a:pt x="36" y="935"/>
                  </a:lnTo>
                  <a:lnTo>
                    <a:pt x="28" y="935"/>
                  </a:lnTo>
                  <a:lnTo>
                    <a:pt x="22" y="935"/>
                  </a:lnTo>
                  <a:lnTo>
                    <a:pt x="11" y="933"/>
                  </a:lnTo>
                  <a:lnTo>
                    <a:pt x="6" y="935"/>
                  </a:lnTo>
                  <a:lnTo>
                    <a:pt x="2" y="936"/>
                  </a:lnTo>
                  <a:lnTo>
                    <a:pt x="0" y="942"/>
                  </a:lnTo>
                  <a:lnTo>
                    <a:pt x="0" y="951"/>
                  </a:lnTo>
                  <a:lnTo>
                    <a:pt x="0" y="951"/>
                  </a:lnTo>
                  <a:lnTo>
                    <a:pt x="2" y="951"/>
                  </a:lnTo>
                  <a:lnTo>
                    <a:pt x="6" y="955"/>
                  </a:lnTo>
                  <a:lnTo>
                    <a:pt x="17" y="966"/>
                  </a:lnTo>
                  <a:lnTo>
                    <a:pt x="17" y="966"/>
                  </a:lnTo>
                  <a:lnTo>
                    <a:pt x="21" y="966"/>
                  </a:lnTo>
                  <a:lnTo>
                    <a:pt x="28" y="963"/>
                  </a:lnTo>
                  <a:lnTo>
                    <a:pt x="47" y="951"/>
                  </a:lnTo>
                  <a:lnTo>
                    <a:pt x="56" y="948"/>
                  </a:lnTo>
                  <a:lnTo>
                    <a:pt x="67" y="948"/>
                  </a:lnTo>
                  <a:lnTo>
                    <a:pt x="71" y="950"/>
                  </a:lnTo>
                  <a:lnTo>
                    <a:pt x="75" y="953"/>
                  </a:lnTo>
                  <a:lnTo>
                    <a:pt x="77" y="957"/>
                  </a:lnTo>
                  <a:lnTo>
                    <a:pt x="80" y="964"/>
                  </a:lnTo>
                  <a:lnTo>
                    <a:pt x="80" y="964"/>
                  </a:lnTo>
                  <a:lnTo>
                    <a:pt x="82" y="970"/>
                  </a:lnTo>
                  <a:lnTo>
                    <a:pt x="86" y="974"/>
                  </a:lnTo>
                  <a:lnTo>
                    <a:pt x="92" y="976"/>
                  </a:lnTo>
                  <a:lnTo>
                    <a:pt x="99" y="978"/>
                  </a:lnTo>
                  <a:lnTo>
                    <a:pt x="116" y="976"/>
                  </a:lnTo>
                  <a:lnTo>
                    <a:pt x="135" y="974"/>
                  </a:lnTo>
                  <a:lnTo>
                    <a:pt x="153" y="972"/>
                  </a:lnTo>
                  <a:lnTo>
                    <a:pt x="170" y="970"/>
                  </a:lnTo>
                  <a:lnTo>
                    <a:pt x="178" y="972"/>
                  </a:lnTo>
                  <a:lnTo>
                    <a:pt x="183" y="974"/>
                  </a:lnTo>
                  <a:lnTo>
                    <a:pt x="187" y="976"/>
                  </a:lnTo>
                  <a:lnTo>
                    <a:pt x="189" y="981"/>
                  </a:lnTo>
                  <a:lnTo>
                    <a:pt x="189" y="981"/>
                  </a:lnTo>
                  <a:lnTo>
                    <a:pt x="194" y="996"/>
                  </a:lnTo>
                  <a:lnTo>
                    <a:pt x="198" y="1000"/>
                  </a:lnTo>
                  <a:lnTo>
                    <a:pt x="202" y="1004"/>
                  </a:lnTo>
                  <a:lnTo>
                    <a:pt x="209" y="1007"/>
                  </a:lnTo>
                  <a:lnTo>
                    <a:pt x="217" y="1006"/>
                  </a:lnTo>
                  <a:lnTo>
                    <a:pt x="228" y="1002"/>
                  </a:lnTo>
                  <a:lnTo>
                    <a:pt x="234" y="1002"/>
                  </a:lnTo>
                  <a:lnTo>
                    <a:pt x="236" y="1002"/>
                  </a:lnTo>
                  <a:lnTo>
                    <a:pt x="236" y="1006"/>
                  </a:lnTo>
                  <a:lnTo>
                    <a:pt x="236" y="1006"/>
                  </a:lnTo>
                  <a:lnTo>
                    <a:pt x="237" y="1011"/>
                  </a:lnTo>
                  <a:lnTo>
                    <a:pt x="241" y="1015"/>
                  </a:lnTo>
                  <a:lnTo>
                    <a:pt x="245" y="1017"/>
                  </a:lnTo>
                  <a:lnTo>
                    <a:pt x="249" y="1019"/>
                  </a:lnTo>
                  <a:lnTo>
                    <a:pt x="260" y="1022"/>
                  </a:lnTo>
                  <a:lnTo>
                    <a:pt x="265" y="1026"/>
                  </a:lnTo>
                  <a:lnTo>
                    <a:pt x="273" y="1032"/>
                  </a:lnTo>
                  <a:lnTo>
                    <a:pt x="273" y="1032"/>
                  </a:lnTo>
                  <a:lnTo>
                    <a:pt x="284" y="1045"/>
                  </a:lnTo>
                  <a:lnTo>
                    <a:pt x="290" y="1047"/>
                  </a:lnTo>
                  <a:lnTo>
                    <a:pt x="293" y="1047"/>
                  </a:lnTo>
                  <a:lnTo>
                    <a:pt x="295" y="1047"/>
                  </a:lnTo>
                  <a:lnTo>
                    <a:pt x="299" y="1045"/>
                  </a:lnTo>
                  <a:lnTo>
                    <a:pt x="310" y="1039"/>
                  </a:lnTo>
                  <a:lnTo>
                    <a:pt x="310" y="1039"/>
                  </a:lnTo>
                  <a:lnTo>
                    <a:pt x="318" y="1037"/>
                  </a:lnTo>
                  <a:lnTo>
                    <a:pt x="327" y="1037"/>
                  </a:lnTo>
                  <a:lnTo>
                    <a:pt x="336" y="1039"/>
                  </a:lnTo>
                  <a:lnTo>
                    <a:pt x="348" y="1041"/>
                  </a:lnTo>
                  <a:lnTo>
                    <a:pt x="348" y="1041"/>
                  </a:lnTo>
                  <a:lnTo>
                    <a:pt x="372" y="1050"/>
                  </a:lnTo>
                  <a:lnTo>
                    <a:pt x="387" y="1058"/>
                  </a:lnTo>
                  <a:lnTo>
                    <a:pt x="394" y="1063"/>
                  </a:lnTo>
                  <a:lnTo>
                    <a:pt x="398" y="1067"/>
                  </a:lnTo>
                  <a:lnTo>
                    <a:pt x="398" y="1071"/>
                  </a:lnTo>
                  <a:lnTo>
                    <a:pt x="400" y="1075"/>
                  </a:lnTo>
                  <a:lnTo>
                    <a:pt x="404" y="1077"/>
                  </a:lnTo>
                  <a:lnTo>
                    <a:pt x="415" y="1080"/>
                  </a:lnTo>
                  <a:lnTo>
                    <a:pt x="415" y="1080"/>
                  </a:lnTo>
                  <a:lnTo>
                    <a:pt x="426" y="1084"/>
                  </a:lnTo>
                  <a:lnTo>
                    <a:pt x="430" y="1086"/>
                  </a:lnTo>
                  <a:lnTo>
                    <a:pt x="436" y="1093"/>
                  </a:lnTo>
                  <a:lnTo>
                    <a:pt x="436" y="1093"/>
                  </a:lnTo>
                  <a:lnTo>
                    <a:pt x="445" y="1105"/>
                  </a:lnTo>
                  <a:lnTo>
                    <a:pt x="454" y="1110"/>
                  </a:lnTo>
                  <a:lnTo>
                    <a:pt x="462" y="1114"/>
                  </a:lnTo>
                  <a:lnTo>
                    <a:pt x="471" y="1116"/>
                  </a:lnTo>
                  <a:lnTo>
                    <a:pt x="486" y="1116"/>
                  </a:lnTo>
                  <a:lnTo>
                    <a:pt x="497" y="1116"/>
                  </a:lnTo>
                  <a:lnTo>
                    <a:pt x="497" y="1116"/>
                  </a:lnTo>
                  <a:lnTo>
                    <a:pt x="499" y="1103"/>
                  </a:lnTo>
                  <a:lnTo>
                    <a:pt x="497" y="1095"/>
                  </a:lnTo>
                  <a:lnTo>
                    <a:pt x="493" y="1090"/>
                  </a:lnTo>
                  <a:lnTo>
                    <a:pt x="492" y="1088"/>
                  </a:lnTo>
                  <a:lnTo>
                    <a:pt x="490" y="1084"/>
                  </a:lnTo>
                  <a:lnTo>
                    <a:pt x="490" y="1080"/>
                  </a:lnTo>
                  <a:lnTo>
                    <a:pt x="492" y="1075"/>
                  </a:lnTo>
                  <a:lnTo>
                    <a:pt x="497" y="1067"/>
                  </a:lnTo>
                  <a:lnTo>
                    <a:pt x="497" y="1067"/>
                  </a:lnTo>
                  <a:lnTo>
                    <a:pt x="497" y="1063"/>
                  </a:lnTo>
                  <a:lnTo>
                    <a:pt x="497" y="1060"/>
                  </a:lnTo>
                  <a:lnTo>
                    <a:pt x="495" y="1054"/>
                  </a:lnTo>
                  <a:lnTo>
                    <a:pt x="488" y="1039"/>
                  </a:lnTo>
                  <a:lnTo>
                    <a:pt x="484" y="1032"/>
                  </a:lnTo>
                  <a:lnTo>
                    <a:pt x="482" y="1022"/>
                  </a:lnTo>
                  <a:lnTo>
                    <a:pt x="484" y="1017"/>
                  </a:lnTo>
                  <a:lnTo>
                    <a:pt x="486" y="1009"/>
                  </a:lnTo>
                  <a:lnTo>
                    <a:pt x="490" y="1004"/>
                  </a:lnTo>
                  <a:lnTo>
                    <a:pt x="495" y="996"/>
                  </a:lnTo>
                  <a:lnTo>
                    <a:pt x="495" y="996"/>
                  </a:lnTo>
                  <a:lnTo>
                    <a:pt x="499" y="994"/>
                  </a:lnTo>
                  <a:lnTo>
                    <a:pt x="503" y="992"/>
                  </a:lnTo>
                  <a:lnTo>
                    <a:pt x="512" y="991"/>
                  </a:lnTo>
                  <a:lnTo>
                    <a:pt x="536" y="992"/>
                  </a:lnTo>
                  <a:lnTo>
                    <a:pt x="548" y="992"/>
                  </a:lnTo>
                  <a:lnTo>
                    <a:pt x="557" y="991"/>
                  </a:lnTo>
                  <a:lnTo>
                    <a:pt x="561" y="989"/>
                  </a:lnTo>
                  <a:lnTo>
                    <a:pt x="564" y="985"/>
                  </a:lnTo>
                  <a:lnTo>
                    <a:pt x="566" y="981"/>
                  </a:lnTo>
                  <a:lnTo>
                    <a:pt x="566" y="978"/>
                  </a:lnTo>
                  <a:lnTo>
                    <a:pt x="566" y="978"/>
                  </a:lnTo>
                  <a:lnTo>
                    <a:pt x="563" y="964"/>
                  </a:lnTo>
                  <a:lnTo>
                    <a:pt x="559" y="957"/>
                  </a:lnTo>
                  <a:lnTo>
                    <a:pt x="551" y="953"/>
                  </a:lnTo>
                  <a:lnTo>
                    <a:pt x="544" y="951"/>
                  </a:lnTo>
                  <a:lnTo>
                    <a:pt x="536" y="950"/>
                  </a:lnTo>
                  <a:lnTo>
                    <a:pt x="531" y="948"/>
                  </a:lnTo>
                  <a:lnTo>
                    <a:pt x="525" y="944"/>
                  </a:lnTo>
                  <a:lnTo>
                    <a:pt x="521" y="936"/>
                  </a:lnTo>
                  <a:lnTo>
                    <a:pt x="521" y="936"/>
                  </a:lnTo>
                  <a:lnTo>
                    <a:pt x="520" y="927"/>
                  </a:lnTo>
                  <a:lnTo>
                    <a:pt x="514" y="920"/>
                  </a:lnTo>
                  <a:lnTo>
                    <a:pt x="507" y="916"/>
                  </a:lnTo>
                  <a:lnTo>
                    <a:pt x="501" y="914"/>
                  </a:lnTo>
                  <a:lnTo>
                    <a:pt x="486" y="912"/>
                  </a:lnTo>
                  <a:lnTo>
                    <a:pt x="482" y="910"/>
                  </a:lnTo>
                  <a:lnTo>
                    <a:pt x="480" y="908"/>
                  </a:lnTo>
                  <a:lnTo>
                    <a:pt x="480" y="908"/>
                  </a:lnTo>
                  <a:lnTo>
                    <a:pt x="478" y="907"/>
                  </a:lnTo>
                  <a:lnTo>
                    <a:pt x="480" y="903"/>
                  </a:lnTo>
                  <a:lnTo>
                    <a:pt x="484" y="901"/>
                  </a:lnTo>
                  <a:lnTo>
                    <a:pt x="488" y="901"/>
                  </a:lnTo>
                  <a:lnTo>
                    <a:pt x="501" y="899"/>
                  </a:lnTo>
                  <a:lnTo>
                    <a:pt x="516" y="899"/>
                  </a:lnTo>
                  <a:lnTo>
                    <a:pt x="546" y="901"/>
                  </a:lnTo>
                  <a:lnTo>
                    <a:pt x="564" y="905"/>
                  </a:lnTo>
                  <a:lnTo>
                    <a:pt x="564" y="905"/>
                  </a:lnTo>
                  <a:lnTo>
                    <a:pt x="583" y="907"/>
                  </a:lnTo>
                  <a:lnTo>
                    <a:pt x="596" y="907"/>
                  </a:lnTo>
                  <a:lnTo>
                    <a:pt x="602" y="903"/>
                  </a:lnTo>
                  <a:lnTo>
                    <a:pt x="604" y="899"/>
                  </a:lnTo>
                  <a:lnTo>
                    <a:pt x="604" y="897"/>
                  </a:lnTo>
                  <a:lnTo>
                    <a:pt x="604" y="897"/>
                  </a:lnTo>
                  <a:lnTo>
                    <a:pt x="615" y="908"/>
                  </a:lnTo>
                  <a:lnTo>
                    <a:pt x="615" y="908"/>
                  </a:lnTo>
                  <a:lnTo>
                    <a:pt x="621" y="914"/>
                  </a:lnTo>
                  <a:lnTo>
                    <a:pt x="626" y="914"/>
                  </a:lnTo>
                  <a:lnTo>
                    <a:pt x="634" y="914"/>
                  </a:lnTo>
                  <a:lnTo>
                    <a:pt x="639" y="910"/>
                  </a:lnTo>
                  <a:lnTo>
                    <a:pt x="650" y="903"/>
                  </a:lnTo>
                  <a:lnTo>
                    <a:pt x="662" y="895"/>
                  </a:lnTo>
                  <a:lnTo>
                    <a:pt x="662" y="895"/>
                  </a:lnTo>
                  <a:lnTo>
                    <a:pt x="662" y="895"/>
                  </a:lnTo>
                  <a:lnTo>
                    <a:pt x="662" y="890"/>
                  </a:lnTo>
                  <a:lnTo>
                    <a:pt x="662" y="890"/>
                  </a:lnTo>
                  <a:lnTo>
                    <a:pt x="662" y="854"/>
                  </a:lnTo>
                  <a:lnTo>
                    <a:pt x="660" y="849"/>
                  </a:lnTo>
                  <a:lnTo>
                    <a:pt x="660" y="847"/>
                  </a:lnTo>
                  <a:lnTo>
                    <a:pt x="656" y="847"/>
                  </a:lnTo>
                  <a:lnTo>
                    <a:pt x="654" y="845"/>
                  </a:lnTo>
                  <a:lnTo>
                    <a:pt x="649" y="841"/>
                  </a:lnTo>
                  <a:lnTo>
                    <a:pt x="641" y="830"/>
                  </a:lnTo>
                  <a:lnTo>
                    <a:pt x="641" y="830"/>
                  </a:lnTo>
                  <a:lnTo>
                    <a:pt x="634" y="821"/>
                  </a:lnTo>
                  <a:lnTo>
                    <a:pt x="626" y="813"/>
                  </a:lnTo>
                  <a:lnTo>
                    <a:pt x="622" y="809"/>
                  </a:lnTo>
                  <a:lnTo>
                    <a:pt x="622" y="808"/>
                  </a:lnTo>
                  <a:lnTo>
                    <a:pt x="622" y="808"/>
                  </a:lnTo>
                  <a:lnTo>
                    <a:pt x="624" y="804"/>
                  </a:lnTo>
                  <a:lnTo>
                    <a:pt x="624" y="798"/>
                  </a:lnTo>
                  <a:lnTo>
                    <a:pt x="621" y="783"/>
                  </a:lnTo>
                  <a:lnTo>
                    <a:pt x="615" y="770"/>
                  </a:lnTo>
                  <a:lnTo>
                    <a:pt x="609" y="763"/>
                  </a:lnTo>
                  <a:lnTo>
                    <a:pt x="609" y="763"/>
                  </a:lnTo>
                  <a:lnTo>
                    <a:pt x="606" y="761"/>
                  </a:lnTo>
                  <a:lnTo>
                    <a:pt x="604" y="755"/>
                  </a:lnTo>
                  <a:lnTo>
                    <a:pt x="600" y="744"/>
                  </a:lnTo>
                  <a:lnTo>
                    <a:pt x="594" y="729"/>
                  </a:lnTo>
                  <a:lnTo>
                    <a:pt x="591" y="722"/>
                  </a:lnTo>
                  <a:lnTo>
                    <a:pt x="587" y="714"/>
                  </a:lnTo>
                  <a:lnTo>
                    <a:pt x="587" y="714"/>
                  </a:lnTo>
                  <a:lnTo>
                    <a:pt x="579" y="707"/>
                  </a:lnTo>
                  <a:lnTo>
                    <a:pt x="579" y="707"/>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2" name="Freeform 52">
              <a:extLst>
                <a:ext uri="{FF2B5EF4-FFF2-40B4-BE49-F238E27FC236}">
                  <a16:creationId xmlns:a16="http://schemas.microsoft.com/office/drawing/2014/main" id="{C719756D-BF6F-4DDC-9934-DEE3DEF27905}"/>
                </a:ext>
              </a:extLst>
            </p:cNvPr>
            <p:cNvSpPr>
              <a:spLocks/>
            </p:cNvSpPr>
            <p:nvPr/>
          </p:nvSpPr>
          <p:spPr bwMode="auto">
            <a:xfrm>
              <a:off x="3538319" y="3064118"/>
              <a:ext cx="1607746" cy="1373396"/>
            </a:xfrm>
            <a:custGeom>
              <a:avLst/>
              <a:gdLst/>
              <a:ahLst/>
              <a:cxnLst>
                <a:cxn ang="0">
                  <a:pos x="1421" y="1079"/>
                </a:cxn>
                <a:cxn ang="0">
                  <a:pos x="1406" y="1009"/>
                </a:cxn>
                <a:cxn ang="0">
                  <a:pos x="1389" y="925"/>
                </a:cxn>
                <a:cxn ang="0">
                  <a:pos x="1318" y="852"/>
                </a:cxn>
                <a:cxn ang="0">
                  <a:pos x="1221" y="795"/>
                </a:cxn>
                <a:cxn ang="0">
                  <a:pos x="1195" y="699"/>
                </a:cxn>
                <a:cxn ang="0">
                  <a:pos x="1275" y="589"/>
                </a:cxn>
                <a:cxn ang="0">
                  <a:pos x="1140" y="585"/>
                </a:cxn>
                <a:cxn ang="0">
                  <a:pos x="1026" y="582"/>
                </a:cxn>
                <a:cxn ang="0">
                  <a:pos x="942" y="596"/>
                </a:cxn>
                <a:cxn ang="0">
                  <a:pos x="884" y="516"/>
                </a:cxn>
                <a:cxn ang="0">
                  <a:pos x="810" y="451"/>
                </a:cxn>
                <a:cxn ang="0">
                  <a:pos x="869" y="331"/>
                </a:cxn>
                <a:cxn ang="0">
                  <a:pos x="694" y="316"/>
                </a:cxn>
                <a:cxn ang="0">
                  <a:pos x="664" y="307"/>
                </a:cxn>
                <a:cxn ang="0">
                  <a:pos x="617" y="176"/>
                </a:cxn>
                <a:cxn ang="0">
                  <a:pos x="464" y="19"/>
                </a:cxn>
                <a:cxn ang="0">
                  <a:pos x="421" y="111"/>
                </a:cxn>
                <a:cxn ang="0">
                  <a:pos x="312" y="120"/>
                </a:cxn>
                <a:cxn ang="0">
                  <a:pos x="114" y="266"/>
                </a:cxn>
                <a:cxn ang="0">
                  <a:pos x="45" y="361"/>
                </a:cxn>
                <a:cxn ang="0">
                  <a:pos x="38" y="475"/>
                </a:cxn>
                <a:cxn ang="0">
                  <a:pos x="137" y="520"/>
                </a:cxn>
                <a:cxn ang="0">
                  <a:pos x="185" y="554"/>
                </a:cxn>
                <a:cxn ang="0">
                  <a:pos x="301" y="610"/>
                </a:cxn>
                <a:cxn ang="0">
                  <a:pos x="410" y="645"/>
                </a:cxn>
                <a:cxn ang="0">
                  <a:pos x="454" y="591"/>
                </a:cxn>
                <a:cxn ang="0">
                  <a:pos x="520" y="509"/>
                </a:cxn>
                <a:cxn ang="0">
                  <a:pos x="660" y="555"/>
                </a:cxn>
                <a:cxn ang="0">
                  <a:pos x="817" y="669"/>
                </a:cxn>
                <a:cxn ang="0">
                  <a:pos x="864" y="682"/>
                </a:cxn>
                <a:cxn ang="0">
                  <a:pos x="983" y="787"/>
                </a:cxn>
                <a:cxn ang="0">
                  <a:pos x="1026" y="787"/>
                </a:cxn>
                <a:cxn ang="0">
                  <a:pos x="1073" y="884"/>
                </a:cxn>
                <a:cxn ang="0">
                  <a:pos x="1097" y="946"/>
                </a:cxn>
                <a:cxn ang="0">
                  <a:pos x="1107" y="1034"/>
                </a:cxn>
                <a:cxn ang="0">
                  <a:pos x="1052" y="1092"/>
                </a:cxn>
                <a:cxn ang="0">
                  <a:pos x="980" y="1170"/>
                </a:cxn>
                <a:cxn ang="0">
                  <a:pos x="991" y="1256"/>
                </a:cxn>
                <a:cxn ang="0">
                  <a:pos x="843" y="1243"/>
                </a:cxn>
                <a:cxn ang="0">
                  <a:pos x="938" y="1361"/>
                </a:cxn>
                <a:cxn ang="0">
                  <a:pos x="953" y="1415"/>
                </a:cxn>
                <a:cxn ang="0">
                  <a:pos x="1000" y="1316"/>
                </a:cxn>
                <a:cxn ang="0">
                  <a:pos x="1064" y="1265"/>
                </a:cxn>
                <a:cxn ang="0">
                  <a:pos x="1109" y="1318"/>
                </a:cxn>
                <a:cxn ang="0">
                  <a:pos x="1204" y="1355"/>
                </a:cxn>
                <a:cxn ang="0">
                  <a:pos x="1241" y="1480"/>
                </a:cxn>
                <a:cxn ang="0">
                  <a:pos x="1378" y="1477"/>
                </a:cxn>
                <a:cxn ang="0">
                  <a:pos x="1413" y="1424"/>
                </a:cxn>
                <a:cxn ang="0">
                  <a:pos x="1516" y="1387"/>
                </a:cxn>
                <a:cxn ang="0">
                  <a:pos x="1525" y="1282"/>
                </a:cxn>
                <a:cxn ang="0">
                  <a:pos x="1486" y="1237"/>
                </a:cxn>
                <a:cxn ang="0">
                  <a:pos x="1529" y="1168"/>
                </a:cxn>
                <a:cxn ang="0">
                  <a:pos x="1656" y="1181"/>
                </a:cxn>
                <a:cxn ang="0">
                  <a:pos x="1750" y="1142"/>
                </a:cxn>
                <a:cxn ang="0">
                  <a:pos x="1770" y="1015"/>
                </a:cxn>
                <a:cxn ang="0">
                  <a:pos x="1613" y="920"/>
                </a:cxn>
                <a:cxn ang="0">
                  <a:pos x="1535" y="927"/>
                </a:cxn>
                <a:cxn ang="0">
                  <a:pos x="1512" y="994"/>
                </a:cxn>
                <a:cxn ang="0">
                  <a:pos x="1557" y="1069"/>
                </a:cxn>
                <a:cxn ang="0">
                  <a:pos x="1507" y="1112"/>
                </a:cxn>
              </a:cxnLst>
              <a:rect l="0" t="0" r="r" b="b"/>
              <a:pathLst>
                <a:path w="1770" h="1514">
                  <a:moveTo>
                    <a:pt x="1495" y="1140"/>
                  </a:moveTo>
                  <a:lnTo>
                    <a:pt x="1495" y="1140"/>
                  </a:lnTo>
                  <a:lnTo>
                    <a:pt x="1492" y="1138"/>
                  </a:lnTo>
                  <a:lnTo>
                    <a:pt x="1484" y="1133"/>
                  </a:lnTo>
                  <a:lnTo>
                    <a:pt x="1467" y="1120"/>
                  </a:lnTo>
                  <a:lnTo>
                    <a:pt x="1445" y="1097"/>
                  </a:lnTo>
                  <a:lnTo>
                    <a:pt x="1445" y="1097"/>
                  </a:lnTo>
                  <a:lnTo>
                    <a:pt x="1434" y="1094"/>
                  </a:lnTo>
                  <a:lnTo>
                    <a:pt x="1428" y="1092"/>
                  </a:lnTo>
                  <a:lnTo>
                    <a:pt x="1428" y="1090"/>
                  </a:lnTo>
                  <a:lnTo>
                    <a:pt x="1430" y="1088"/>
                  </a:lnTo>
                  <a:lnTo>
                    <a:pt x="1430" y="1086"/>
                  </a:lnTo>
                  <a:lnTo>
                    <a:pt x="1428" y="1084"/>
                  </a:lnTo>
                  <a:lnTo>
                    <a:pt x="1421" y="1079"/>
                  </a:lnTo>
                  <a:lnTo>
                    <a:pt x="1406" y="1073"/>
                  </a:lnTo>
                  <a:lnTo>
                    <a:pt x="1406" y="1073"/>
                  </a:lnTo>
                  <a:lnTo>
                    <a:pt x="1398" y="1069"/>
                  </a:lnTo>
                  <a:lnTo>
                    <a:pt x="1391" y="1065"/>
                  </a:lnTo>
                  <a:lnTo>
                    <a:pt x="1387" y="1060"/>
                  </a:lnTo>
                  <a:lnTo>
                    <a:pt x="1383" y="1056"/>
                  </a:lnTo>
                  <a:lnTo>
                    <a:pt x="1381" y="1051"/>
                  </a:lnTo>
                  <a:lnTo>
                    <a:pt x="1381" y="1047"/>
                  </a:lnTo>
                  <a:lnTo>
                    <a:pt x="1385" y="1037"/>
                  </a:lnTo>
                  <a:lnTo>
                    <a:pt x="1391" y="1028"/>
                  </a:lnTo>
                  <a:lnTo>
                    <a:pt x="1398" y="1021"/>
                  </a:lnTo>
                  <a:lnTo>
                    <a:pt x="1404" y="1013"/>
                  </a:lnTo>
                  <a:lnTo>
                    <a:pt x="1406" y="1009"/>
                  </a:lnTo>
                  <a:lnTo>
                    <a:pt x="1406" y="1009"/>
                  </a:lnTo>
                  <a:lnTo>
                    <a:pt x="1406" y="1000"/>
                  </a:lnTo>
                  <a:lnTo>
                    <a:pt x="1404" y="993"/>
                  </a:lnTo>
                  <a:lnTo>
                    <a:pt x="1402" y="985"/>
                  </a:lnTo>
                  <a:lnTo>
                    <a:pt x="1398" y="980"/>
                  </a:lnTo>
                  <a:lnTo>
                    <a:pt x="1391" y="972"/>
                  </a:lnTo>
                  <a:lnTo>
                    <a:pt x="1383" y="965"/>
                  </a:lnTo>
                  <a:lnTo>
                    <a:pt x="1378" y="957"/>
                  </a:lnTo>
                  <a:lnTo>
                    <a:pt x="1376" y="953"/>
                  </a:lnTo>
                  <a:lnTo>
                    <a:pt x="1374" y="950"/>
                  </a:lnTo>
                  <a:lnTo>
                    <a:pt x="1376" y="946"/>
                  </a:lnTo>
                  <a:lnTo>
                    <a:pt x="1378" y="940"/>
                  </a:lnTo>
                  <a:lnTo>
                    <a:pt x="1387" y="927"/>
                  </a:lnTo>
                  <a:lnTo>
                    <a:pt x="1387" y="927"/>
                  </a:lnTo>
                  <a:lnTo>
                    <a:pt x="1389" y="925"/>
                  </a:lnTo>
                  <a:lnTo>
                    <a:pt x="1389" y="922"/>
                  </a:lnTo>
                  <a:lnTo>
                    <a:pt x="1387" y="916"/>
                  </a:lnTo>
                  <a:lnTo>
                    <a:pt x="1381" y="909"/>
                  </a:lnTo>
                  <a:lnTo>
                    <a:pt x="1372" y="901"/>
                  </a:lnTo>
                  <a:lnTo>
                    <a:pt x="1355" y="884"/>
                  </a:lnTo>
                  <a:lnTo>
                    <a:pt x="1348" y="877"/>
                  </a:lnTo>
                  <a:lnTo>
                    <a:pt x="1342" y="867"/>
                  </a:lnTo>
                  <a:lnTo>
                    <a:pt x="1342" y="867"/>
                  </a:lnTo>
                  <a:lnTo>
                    <a:pt x="1338" y="862"/>
                  </a:lnTo>
                  <a:lnTo>
                    <a:pt x="1331" y="860"/>
                  </a:lnTo>
                  <a:lnTo>
                    <a:pt x="1318" y="858"/>
                  </a:lnTo>
                  <a:lnTo>
                    <a:pt x="1310" y="858"/>
                  </a:lnTo>
                  <a:lnTo>
                    <a:pt x="1312" y="856"/>
                  </a:lnTo>
                  <a:lnTo>
                    <a:pt x="1318" y="852"/>
                  </a:lnTo>
                  <a:lnTo>
                    <a:pt x="1318" y="852"/>
                  </a:lnTo>
                  <a:lnTo>
                    <a:pt x="1323" y="849"/>
                  </a:lnTo>
                  <a:lnTo>
                    <a:pt x="1325" y="843"/>
                  </a:lnTo>
                  <a:lnTo>
                    <a:pt x="1323" y="839"/>
                  </a:lnTo>
                  <a:lnTo>
                    <a:pt x="1322" y="836"/>
                  </a:lnTo>
                  <a:lnTo>
                    <a:pt x="1316" y="832"/>
                  </a:lnTo>
                  <a:lnTo>
                    <a:pt x="1310" y="828"/>
                  </a:lnTo>
                  <a:lnTo>
                    <a:pt x="1297" y="824"/>
                  </a:lnTo>
                  <a:lnTo>
                    <a:pt x="1297" y="824"/>
                  </a:lnTo>
                  <a:lnTo>
                    <a:pt x="1277" y="824"/>
                  </a:lnTo>
                  <a:lnTo>
                    <a:pt x="1260" y="823"/>
                  </a:lnTo>
                  <a:lnTo>
                    <a:pt x="1249" y="819"/>
                  </a:lnTo>
                  <a:lnTo>
                    <a:pt x="1239" y="811"/>
                  </a:lnTo>
                  <a:lnTo>
                    <a:pt x="1221" y="795"/>
                  </a:lnTo>
                  <a:lnTo>
                    <a:pt x="1209" y="785"/>
                  </a:lnTo>
                  <a:lnTo>
                    <a:pt x="1195" y="772"/>
                  </a:lnTo>
                  <a:lnTo>
                    <a:pt x="1195" y="772"/>
                  </a:lnTo>
                  <a:lnTo>
                    <a:pt x="1185" y="767"/>
                  </a:lnTo>
                  <a:lnTo>
                    <a:pt x="1180" y="763"/>
                  </a:lnTo>
                  <a:lnTo>
                    <a:pt x="1178" y="757"/>
                  </a:lnTo>
                  <a:lnTo>
                    <a:pt x="1178" y="757"/>
                  </a:lnTo>
                  <a:lnTo>
                    <a:pt x="1174" y="748"/>
                  </a:lnTo>
                  <a:lnTo>
                    <a:pt x="1176" y="740"/>
                  </a:lnTo>
                  <a:lnTo>
                    <a:pt x="1180" y="731"/>
                  </a:lnTo>
                  <a:lnTo>
                    <a:pt x="1183" y="724"/>
                  </a:lnTo>
                  <a:lnTo>
                    <a:pt x="1189" y="716"/>
                  </a:lnTo>
                  <a:lnTo>
                    <a:pt x="1193" y="709"/>
                  </a:lnTo>
                  <a:lnTo>
                    <a:pt x="1195" y="699"/>
                  </a:lnTo>
                  <a:lnTo>
                    <a:pt x="1191" y="690"/>
                  </a:lnTo>
                  <a:lnTo>
                    <a:pt x="1191" y="690"/>
                  </a:lnTo>
                  <a:lnTo>
                    <a:pt x="1191" y="684"/>
                  </a:lnTo>
                  <a:lnTo>
                    <a:pt x="1195" y="681"/>
                  </a:lnTo>
                  <a:lnTo>
                    <a:pt x="1211" y="673"/>
                  </a:lnTo>
                  <a:lnTo>
                    <a:pt x="1223" y="667"/>
                  </a:lnTo>
                  <a:lnTo>
                    <a:pt x="1236" y="658"/>
                  </a:lnTo>
                  <a:lnTo>
                    <a:pt x="1251" y="645"/>
                  </a:lnTo>
                  <a:lnTo>
                    <a:pt x="1264" y="625"/>
                  </a:lnTo>
                  <a:lnTo>
                    <a:pt x="1264" y="625"/>
                  </a:lnTo>
                  <a:lnTo>
                    <a:pt x="1273" y="611"/>
                  </a:lnTo>
                  <a:lnTo>
                    <a:pt x="1277" y="600"/>
                  </a:lnTo>
                  <a:lnTo>
                    <a:pt x="1277" y="595"/>
                  </a:lnTo>
                  <a:lnTo>
                    <a:pt x="1275" y="589"/>
                  </a:lnTo>
                  <a:lnTo>
                    <a:pt x="1269" y="580"/>
                  </a:lnTo>
                  <a:lnTo>
                    <a:pt x="1266" y="570"/>
                  </a:lnTo>
                  <a:lnTo>
                    <a:pt x="1264" y="557"/>
                  </a:lnTo>
                  <a:lnTo>
                    <a:pt x="1264" y="557"/>
                  </a:lnTo>
                  <a:lnTo>
                    <a:pt x="1262" y="550"/>
                  </a:lnTo>
                  <a:lnTo>
                    <a:pt x="1258" y="544"/>
                  </a:lnTo>
                  <a:lnTo>
                    <a:pt x="1252" y="542"/>
                  </a:lnTo>
                  <a:lnTo>
                    <a:pt x="1245" y="542"/>
                  </a:lnTo>
                  <a:lnTo>
                    <a:pt x="1238" y="544"/>
                  </a:lnTo>
                  <a:lnTo>
                    <a:pt x="1226" y="548"/>
                  </a:lnTo>
                  <a:lnTo>
                    <a:pt x="1204" y="557"/>
                  </a:lnTo>
                  <a:lnTo>
                    <a:pt x="1181" y="568"/>
                  </a:lnTo>
                  <a:lnTo>
                    <a:pt x="1159" y="580"/>
                  </a:lnTo>
                  <a:lnTo>
                    <a:pt x="1140" y="585"/>
                  </a:lnTo>
                  <a:lnTo>
                    <a:pt x="1133" y="587"/>
                  </a:lnTo>
                  <a:lnTo>
                    <a:pt x="1127" y="585"/>
                  </a:lnTo>
                  <a:lnTo>
                    <a:pt x="1127" y="585"/>
                  </a:lnTo>
                  <a:lnTo>
                    <a:pt x="1112" y="578"/>
                  </a:lnTo>
                  <a:lnTo>
                    <a:pt x="1101" y="572"/>
                  </a:lnTo>
                  <a:lnTo>
                    <a:pt x="1092" y="570"/>
                  </a:lnTo>
                  <a:lnTo>
                    <a:pt x="1084" y="568"/>
                  </a:lnTo>
                  <a:lnTo>
                    <a:pt x="1073" y="570"/>
                  </a:lnTo>
                  <a:lnTo>
                    <a:pt x="1062" y="572"/>
                  </a:lnTo>
                  <a:lnTo>
                    <a:pt x="1062" y="572"/>
                  </a:lnTo>
                  <a:lnTo>
                    <a:pt x="1039" y="574"/>
                  </a:lnTo>
                  <a:lnTo>
                    <a:pt x="1028" y="578"/>
                  </a:lnTo>
                  <a:lnTo>
                    <a:pt x="1026" y="580"/>
                  </a:lnTo>
                  <a:lnTo>
                    <a:pt x="1026" y="582"/>
                  </a:lnTo>
                  <a:lnTo>
                    <a:pt x="1030" y="587"/>
                  </a:lnTo>
                  <a:lnTo>
                    <a:pt x="1041" y="598"/>
                  </a:lnTo>
                  <a:lnTo>
                    <a:pt x="1045" y="606"/>
                  </a:lnTo>
                  <a:lnTo>
                    <a:pt x="1045" y="608"/>
                  </a:lnTo>
                  <a:lnTo>
                    <a:pt x="1043" y="611"/>
                  </a:lnTo>
                  <a:lnTo>
                    <a:pt x="1043" y="611"/>
                  </a:lnTo>
                  <a:lnTo>
                    <a:pt x="1021" y="634"/>
                  </a:lnTo>
                  <a:lnTo>
                    <a:pt x="1013" y="641"/>
                  </a:lnTo>
                  <a:lnTo>
                    <a:pt x="1010" y="641"/>
                  </a:lnTo>
                  <a:lnTo>
                    <a:pt x="1004" y="641"/>
                  </a:lnTo>
                  <a:lnTo>
                    <a:pt x="995" y="639"/>
                  </a:lnTo>
                  <a:lnTo>
                    <a:pt x="983" y="630"/>
                  </a:lnTo>
                  <a:lnTo>
                    <a:pt x="942" y="596"/>
                  </a:lnTo>
                  <a:lnTo>
                    <a:pt x="942" y="596"/>
                  </a:lnTo>
                  <a:lnTo>
                    <a:pt x="935" y="591"/>
                  </a:lnTo>
                  <a:lnTo>
                    <a:pt x="927" y="587"/>
                  </a:lnTo>
                  <a:lnTo>
                    <a:pt x="916" y="585"/>
                  </a:lnTo>
                  <a:lnTo>
                    <a:pt x="912" y="583"/>
                  </a:lnTo>
                  <a:lnTo>
                    <a:pt x="912" y="580"/>
                  </a:lnTo>
                  <a:lnTo>
                    <a:pt x="912" y="574"/>
                  </a:lnTo>
                  <a:lnTo>
                    <a:pt x="914" y="565"/>
                  </a:lnTo>
                  <a:lnTo>
                    <a:pt x="914" y="565"/>
                  </a:lnTo>
                  <a:lnTo>
                    <a:pt x="916" y="550"/>
                  </a:lnTo>
                  <a:lnTo>
                    <a:pt x="916" y="540"/>
                  </a:lnTo>
                  <a:lnTo>
                    <a:pt x="912" y="533"/>
                  </a:lnTo>
                  <a:lnTo>
                    <a:pt x="907" y="527"/>
                  </a:lnTo>
                  <a:lnTo>
                    <a:pt x="894" y="520"/>
                  </a:lnTo>
                  <a:lnTo>
                    <a:pt x="884" y="516"/>
                  </a:lnTo>
                  <a:lnTo>
                    <a:pt x="877" y="509"/>
                  </a:lnTo>
                  <a:lnTo>
                    <a:pt x="877" y="509"/>
                  </a:lnTo>
                  <a:lnTo>
                    <a:pt x="871" y="503"/>
                  </a:lnTo>
                  <a:lnTo>
                    <a:pt x="867" y="501"/>
                  </a:lnTo>
                  <a:lnTo>
                    <a:pt x="864" y="497"/>
                  </a:lnTo>
                  <a:lnTo>
                    <a:pt x="862" y="490"/>
                  </a:lnTo>
                  <a:lnTo>
                    <a:pt x="862" y="490"/>
                  </a:lnTo>
                  <a:lnTo>
                    <a:pt x="860" y="486"/>
                  </a:lnTo>
                  <a:lnTo>
                    <a:pt x="858" y="483"/>
                  </a:lnTo>
                  <a:lnTo>
                    <a:pt x="849" y="477"/>
                  </a:lnTo>
                  <a:lnTo>
                    <a:pt x="828" y="462"/>
                  </a:lnTo>
                  <a:lnTo>
                    <a:pt x="828" y="462"/>
                  </a:lnTo>
                  <a:lnTo>
                    <a:pt x="819" y="456"/>
                  </a:lnTo>
                  <a:lnTo>
                    <a:pt x="810" y="451"/>
                  </a:lnTo>
                  <a:lnTo>
                    <a:pt x="793" y="445"/>
                  </a:lnTo>
                  <a:lnTo>
                    <a:pt x="782" y="443"/>
                  </a:lnTo>
                  <a:lnTo>
                    <a:pt x="776" y="441"/>
                  </a:lnTo>
                  <a:lnTo>
                    <a:pt x="776" y="440"/>
                  </a:lnTo>
                  <a:lnTo>
                    <a:pt x="778" y="438"/>
                  </a:lnTo>
                  <a:lnTo>
                    <a:pt x="789" y="428"/>
                  </a:lnTo>
                  <a:lnTo>
                    <a:pt x="810" y="410"/>
                  </a:lnTo>
                  <a:lnTo>
                    <a:pt x="841" y="378"/>
                  </a:lnTo>
                  <a:lnTo>
                    <a:pt x="841" y="378"/>
                  </a:lnTo>
                  <a:lnTo>
                    <a:pt x="853" y="369"/>
                  </a:lnTo>
                  <a:lnTo>
                    <a:pt x="860" y="357"/>
                  </a:lnTo>
                  <a:lnTo>
                    <a:pt x="866" y="348"/>
                  </a:lnTo>
                  <a:lnTo>
                    <a:pt x="869" y="341"/>
                  </a:lnTo>
                  <a:lnTo>
                    <a:pt x="869" y="331"/>
                  </a:lnTo>
                  <a:lnTo>
                    <a:pt x="867" y="326"/>
                  </a:lnTo>
                  <a:lnTo>
                    <a:pt x="866" y="318"/>
                  </a:lnTo>
                  <a:lnTo>
                    <a:pt x="860" y="312"/>
                  </a:lnTo>
                  <a:lnTo>
                    <a:pt x="853" y="309"/>
                  </a:lnTo>
                  <a:lnTo>
                    <a:pt x="843" y="305"/>
                  </a:lnTo>
                  <a:lnTo>
                    <a:pt x="834" y="303"/>
                  </a:lnTo>
                  <a:lnTo>
                    <a:pt x="823" y="301"/>
                  </a:lnTo>
                  <a:lnTo>
                    <a:pt x="795" y="299"/>
                  </a:lnTo>
                  <a:lnTo>
                    <a:pt x="765" y="301"/>
                  </a:lnTo>
                  <a:lnTo>
                    <a:pt x="765" y="301"/>
                  </a:lnTo>
                  <a:lnTo>
                    <a:pt x="709" y="309"/>
                  </a:lnTo>
                  <a:lnTo>
                    <a:pt x="697" y="311"/>
                  </a:lnTo>
                  <a:lnTo>
                    <a:pt x="694" y="312"/>
                  </a:lnTo>
                  <a:lnTo>
                    <a:pt x="694" y="316"/>
                  </a:lnTo>
                  <a:lnTo>
                    <a:pt x="697" y="320"/>
                  </a:lnTo>
                  <a:lnTo>
                    <a:pt x="697" y="327"/>
                  </a:lnTo>
                  <a:lnTo>
                    <a:pt x="697" y="337"/>
                  </a:lnTo>
                  <a:lnTo>
                    <a:pt x="697" y="337"/>
                  </a:lnTo>
                  <a:lnTo>
                    <a:pt x="694" y="341"/>
                  </a:lnTo>
                  <a:lnTo>
                    <a:pt x="686" y="342"/>
                  </a:lnTo>
                  <a:lnTo>
                    <a:pt x="679" y="342"/>
                  </a:lnTo>
                  <a:lnTo>
                    <a:pt x="671" y="341"/>
                  </a:lnTo>
                  <a:lnTo>
                    <a:pt x="666" y="335"/>
                  </a:lnTo>
                  <a:lnTo>
                    <a:pt x="660" y="327"/>
                  </a:lnTo>
                  <a:lnTo>
                    <a:pt x="660" y="318"/>
                  </a:lnTo>
                  <a:lnTo>
                    <a:pt x="660" y="312"/>
                  </a:lnTo>
                  <a:lnTo>
                    <a:pt x="664" y="307"/>
                  </a:lnTo>
                  <a:lnTo>
                    <a:pt x="664" y="307"/>
                  </a:lnTo>
                  <a:lnTo>
                    <a:pt x="664" y="303"/>
                  </a:lnTo>
                  <a:lnTo>
                    <a:pt x="664" y="299"/>
                  </a:lnTo>
                  <a:lnTo>
                    <a:pt x="660" y="290"/>
                  </a:lnTo>
                  <a:lnTo>
                    <a:pt x="654" y="279"/>
                  </a:lnTo>
                  <a:lnTo>
                    <a:pt x="647" y="266"/>
                  </a:lnTo>
                  <a:lnTo>
                    <a:pt x="628" y="243"/>
                  </a:lnTo>
                  <a:lnTo>
                    <a:pt x="615" y="225"/>
                  </a:lnTo>
                  <a:lnTo>
                    <a:pt x="615" y="225"/>
                  </a:lnTo>
                  <a:lnTo>
                    <a:pt x="604" y="208"/>
                  </a:lnTo>
                  <a:lnTo>
                    <a:pt x="600" y="198"/>
                  </a:lnTo>
                  <a:lnTo>
                    <a:pt x="598" y="193"/>
                  </a:lnTo>
                  <a:lnTo>
                    <a:pt x="602" y="189"/>
                  </a:lnTo>
                  <a:lnTo>
                    <a:pt x="611" y="184"/>
                  </a:lnTo>
                  <a:lnTo>
                    <a:pt x="617" y="176"/>
                  </a:lnTo>
                  <a:lnTo>
                    <a:pt x="621" y="165"/>
                  </a:lnTo>
                  <a:lnTo>
                    <a:pt x="621" y="165"/>
                  </a:lnTo>
                  <a:lnTo>
                    <a:pt x="621" y="156"/>
                  </a:lnTo>
                  <a:lnTo>
                    <a:pt x="617" y="139"/>
                  </a:lnTo>
                  <a:lnTo>
                    <a:pt x="604" y="92"/>
                  </a:lnTo>
                  <a:lnTo>
                    <a:pt x="576" y="12"/>
                  </a:lnTo>
                  <a:lnTo>
                    <a:pt x="576" y="12"/>
                  </a:lnTo>
                  <a:lnTo>
                    <a:pt x="533" y="6"/>
                  </a:lnTo>
                  <a:lnTo>
                    <a:pt x="501" y="4"/>
                  </a:lnTo>
                  <a:lnTo>
                    <a:pt x="501" y="4"/>
                  </a:lnTo>
                  <a:lnTo>
                    <a:pt x="490" y="4"/>
                  </a:lnTo>
                  <a:lnTo>
                    <a:pt x="484" y="0"/>
                  </a:lnTo>
                  <a:lnTo>
                    <a:pt x="484" y="0"/>
                  </a:lnTo>
                  <a:lnTo>
                    <a:pt x="464" y="19"/>
                  </a:lnTo>
                  <a:lnTo>
                    <a:pt x="458" y="27"/>
                  </a:lnTo>
                  <a:lnTo>
                    <a:pt x="454" y="32"/>
                  </a:lnTo>
                  <a:lnTo>
                    <a:pt x="453" y="40"/>
                  </a:lnTo>
                  <a:lnTo>
                    <a:pt x="453" y="47"/>
                  </a:lnTo>
                  <a:lnTo>
                    <a:pt x="458" y="73"/>
                  </a:lnTo>
                  <a:lnTo>
                    <a:pt x="458" y="73"/>
                  </a:lnTo>
                  <a:lnTo>
                    <a:pt x="460" y="86"/>
                  </a:lnTo>
                  <a:lnTo>
                    <a:pt x="462" y="92"/>
                  </a:lnTo>
                  <a:lnTo>
                    <a:pt x="460" y="98"/>
                  </a:lnTo>
                  <a:lnTo>
                    <a:pt x="456" y="101"/>
                  </a:lnTo>
                  <a:lnTo>
                    <a:pt x="449" y="107"/>
                  </a:lnTo>
                  <a:lnTo>
                    <a:pt x="438" y="109"/>
                  </a:lnTo>
                  <a:lnTo>
                    <a:pt x="421" y="111"/>
                  </a:lnTo>
                  <a:lnTo>
                    <a:pt x="421" y="111"/>
                  </a:lnTo>
                  <a:lnTo>
                    <a:pt x="408" y="111"/>
                  </a:lnTo>
                  <a:lnTo>
                    <a:pt x="397" y="114"/>
                  </a:lnTo>
                  <a:lnTo>
                    <a:pt x="389" y="118"/>
                  </a:lnTo>
                  <a:lnTo>
                    <a:pt x="383" y="122"/>
                  </a:lnTo>
                  <a:lnTo>
                    <a:pt x="378" y="126"/>
                  </a:lnTo>
                  <a:lnTo>
                    <a:pt x="374" y="127"/>
                  </a:lnTo>
                  <a:lnTo>
                    <a:pt x="368" y="127"/>
                  </a:lnTo>
                  <a:lnTo>
                    <a:pt x="363" y="124"/>
                  </a:lnTo>
                  <a:lnTo>
                    <a:pt x="363" y="124"/>
                  </a:lnTo>
                  <a:lnTo>
                    <a:pt x="354" y="120"/>
                  </a:lnTo>
                  <a:lnTo>
                    <a:pt x="344" y="116"/>
                  </a:lnTo>
                  <a:lnTo>
                    <a:pt x="333" y="116"/>
                  </a:lnTo>
                  <a:lnTo>
                    <a:pt x="324" y="118"/>
                  </a:lnTo>
                  <a:lnTo>
                    <a:pt x="312" y="120"/>
                  </a:lnTo>
                  <a:lnTo>
                    <a:pt x="301" y="126"/>
                  </a:lnTo>
                  <a:lnTo>
                    <a:pt x="279" y="137"/>
                  </a:lnTo>
                  <a:lnTo>
                    <a:pt x="258" y="152"/>
                  </a:lnTo>
                  <a:lnTo>
                    <a:pt x="240" y="167"/>
                  </a:lnTo>
                  <a:lnTo>
                    <a:pt x="223" y="182"/>
                  </a:lnTo>
                  <a:lnTo>
                    <a:pt x="210" y="197"/>
                  </a:lnTo>
                  <a:lnTo>
                    <a:pt x="210" y="197"/>
                  </a:lnTo>
                  <a:lnTo>
                    <a:pt x="193" y="215"/>
                  </a:lnTo>
                  <a:lnTo>
                    <a:pt x="165" y="241"/>
                  </a:lnTo>
                  <a:lnTo>
                    <a:pt x="152" y="253"/>
                  </a:lnTo>
                  <a:lnTo>
                    <a:pt x="137" y="262"/>
                  </a:lnTo>
                  <a:lnTo>
                    <a:pt x="126" y="266"/>
                  </a:lnTo>
                  <a:lnTo>
                    <a:pt x="120" y="268"/>
                  </a:lnTo>
                  <a:lnTo>
                    <a:pt x="114" y="266"/>
                  </a:lnTo>
                  <a:lnTo>
                    <a:pt x="114" y="266"/>
                  </a:lnTo>
                  <a:lnTo>
                    <a:pt x="94" y="258"/>
                  </a:lnTo>
                  <a:lnTo>
                    <a:pt x="81" y="256"/>
                  </a:lnTo>
                  <a:lnTo>
                    <a:pt x="75" y="256"/>
                  </a:lnTo>
                  <a:lnTo>
                    <a:pt x="71" y="258"/>
                  </a:lnTo>
                  <a:lnTo>
                    <a:pt x="69" y="260"/>
                  </a:lnTo>
                  <a:lnTo>
                    <a:pt x="68" y="264"/>
                  </a:lnTo>
                  <a:lnTo>
                    <a:pt x="64" y="275"/>
                  </a:lnTo>
                  <a:lnTo>
                    <a:pt x="62" y="292"/>
                  </a:lnTo>
                  <a:lnTo>
                    <a:pt x="56" y="311"/>
                  </a:lnTo>
                  <a:lnTo>
                    <a:pt x="51" y="333"/>
                  </a:lnTo>
                  <a:lnTo>
                    <a:pt x="51" y="333"/>
                  </a:lnTo>
                  <a:lnTo>
                    <a:pt x="45" y="348"/>
                  </a:lnTo>
                  <a:lnTo>
                    <a:pt x="45" y="361"/>
                  </a:lnTo>
                  <a:lnTo>
                    <a:pt x="43" y="387"/>
                  </a:lnTo>
                  <a:lnTo>
                    <a:pt x="43" y="398"/>
                  </a:lnTo>
                  <a:lnTo>
                    <a:pt x="40" y="410"/>
                  </a:lnTo>
                  <a:lnTo>
                    <a:pt x="32" y="421"/>
                  </a:lnTo>
                  <a:lnTo>
                    <a:pt x="21" y="432"/>
                  </a:lnTo>
                  <a:lnTo>
                    <a:pt x="21" y="432"/>
                  </a:lnTo>
                  <a:lnTo>
                    <a:pt x="8" y="443"/>
                  </a:lnTo>
                  <a:lnTo>
                    <a:pt x="2" y="451"/>
                  </a:lnTo>
                  <a:lnTo>
                    <a:pt x="0" y="454"/>
                  </a:lnTo>
                  <a:lnTo>
                    <a:pt x="2" y="456"/>
                  </a:lnTo>
                  <a:lnTo>
                    <a:pt x="2" y="456"/>
                  </a:lnTo>
                  <a:lnTo>
                    <a:pt x="10" y="462"/>
                  </a:lnTo>
                  <a:lnTo>
                    <a:pt x="19" y="466"/>
                  </a:lnTo>
                  <a:lnTo>
                    <a:pt x="38" y="475"/>
                  </a:lnTo>
                  <a:lnTo>
                    <a:pt x="47" y="479"/>
                  </a:lnTo>
                  <a:lnTo>
                    <a:pt x="55" y="486"/>
                  </a:lnTo>
                  <a:lnTo>
                    <a:pt x="58" y="494"/>
                  </a:lnTo>
                  <a:lnTo>
                    <a:pt x="62" y="503"/>
                  </a:lnTo>
                  <a:lnTo>
                    <a:pt x="62" y="503"/>
                  </a:lnTo>
                  <a:lnTo>
                    <a:pt x="64" y="505"/>
                  </a:lnTo>
                  <a:lnTo>
                    <a:pt x="66" y="509"/>
                  </a:lnTo>
                  <a:lnTo>
                    <a:pt x="79" y="511"/>
                  </a:lnTo>
                  <a:lnTo>
                    <a:pt x="94" y="514"/>
                  </a:lnTo>
                  <a:lnTo>
                    <a:pt x="109" y="514"/>
                  </a:lnTo>
                  <a:lnTo>
                    <a:pt x="124" y="516"/>
                  </a:lnTo>
                  <a:lnTo>
                    <a:pt x="135" y="518"/>
                  </a:lnTo>
                  <a:lnTo>
                    <a:pt x="137" y="518"/>
                  </a:lnTo>
                  <a:lnTo>
                    <a:pt x="137" y="520"/>
                  </a:lnTo>
                  <a:lnTo>
                    <a:pt x="129" y="525"/>
                  </a:lnTo>
                  <a:lnTo>
                    <a:pt x="129" y="525"/>
                  </a:lnTo>
                  <a:lnTo>
                    <a:pt x="122" y="529"/>
                  </a:lnTo>
                  <a:lnTo>
                    <a:pt x="120" y="533"/>
                  </a:lnTo>
                  <a:lnTo>
                    <a:pt x="122" y="535"/>
                  </a:lnTo>
                  <a:lnTo>
                    <a:pt x="127" y="537"/>
                  </a:lnTo>
                  <a:lnTo>
                    <a:pt x="146" y="539"/>
                  </a:lnTo>
                  <a:lnTo>
                    <a:pt x="165" y="537"/>
                  </a:lnTo>
                  <a:lnTo>
                    <a:pt x="165" y="537"/>
                  </a:lnTo>
                  <a:lnTo>
                    <a:pt x="170" y="537"/>
                  </a:lnTo>
                  <a:lnTo>
                    <a:pt x="174" y="537"/>
                  </a:lnTo>
                  <a:lnTo>
                    <a:pt x="178" y="540"/>
                  </a:lnTo>
                  <a:lnTo>
                    <a:pt x="182" y="544"/>
                  </a:lnTo>
                  <a:lnTo>
                    <a:pt x="185" y="554"/>
                  </a:lnTo>
                  <a:lnTo>
                    <a:pt x="189" y="567"/>
                  </a:lnTo>
                  <a:lnTo>
                    <a:pt x="193" y="578"/>
                  </a:lnTo>
                  <a:lnTo>
                    <a:pt x="198" y="589"/>
                  </a:lnTo>
                  <a:lnTo>
                    <a:pt x="202" y="593"/>
                  </a:lnTo>
                  <a:lnTo>
                    <a:pt x="206" y="596"/>
                  </a:lnTo>
                  <a:lnTo>
                    <a:pt x="212" y="596"/>
                  </a:lnTo>
                  <a:lnTo>
                    <a:pt x="219" y="596"/>
                  </a:lnTo>
                  <a:lnTo>
                    <a:pt x="219" y="596"/>
                  </a:lnTo>
                  <a:lnTo>
                    <a:pt x="249" y="593"/>
                  </a:lnTo>
                  <a:lnTo>
                    <a:pt x="269" y="593"/>
                  </a:lnTo>
                  <a:lnTo>
                    <a:pt x="279" y="595"/>
                  </a:lnTo>
                  <a:lnTo>
                    <a:pt x="286" y="598"/>
                  </a:lnTo>
                  <a:lnTo>
                    <a:pt x="292" y="604"/>
                  </a:lnTo>
                  <a:lnTo>
                    <a:pt x="301" y="610"/>
                  </a:lnTo>
                  <a:lnTo>
                    <a:pt x="316" y="615"/>
                  </a:lnTo>
                  <a:lnTo>
                    <a:pt x="342" y="623"/>
                  </a:lnTo>
                  <a:lnTo>
                    <a:pt x="342" y="623"/>
                  </a:lnTo>
                  <a:lnTo>
                    <a:pt x="350" y="623"/>
                  </a:lnTo>
                  <a:lnTo>
                    <a:pt x="355" y="623"/>
                  </a:lnTo>
                  <a:lnTo>
                    <a:pt x="367" y="621"/>
                  </a:lnTo>
                  <a:lnTo>
                    <a:pt x="372" y="621"/>
                  </a:lnTo>
                  <a:lnTo>
                    <a:pt x="376" y="623"/>
                  </a:lnTo>
                  <a:lnTo>
                    <a:pt x="382" y="626"/>
                  </a:lnTo>
                  <a:lnTo>
                    <a:pt x="389" y="634"/>
                  </a:lnTo>
                  <a:lnTo>
                    <a:pt x="389" y="634"/>
                  </a:lnTo>
                  <a:lnTo>
                    <a:pt x="398" y="641"/>
                  </a:lnTo>
                  <a:lnTo>
                    <a:pt x="404" y="645"/>
                  </a:lnTo>
                  <a:lnTo>
                    <a:pt x="410" y="645"/>
                  </a:lnTo>
                  <a:lnTo>
                    <a:pt x="415" y="643"/>
                  </a:lnTo>
                  <a:lnTo>
                    <a:pt x="423" y="636"/>
                  </a:lnTo>
                  <a:lnTo>
                    <a:pt x="428" y="634"/>
                  </a:lnTo>
                  <a:lnTo>
                    <a:pt x="436" y="634"/>
                  </a:lnTo>
                  <a:lnTo>
                    <a:pt x="436" y="634"/>
                  </a:lnTo>
                  <a:lnTo>
                    <a:pt x="443" y="636"/>
                  </a:lnTo>
                  <a:lnTo>
                    <a:pt x="445" y="634"/>
                  </a:lnTo>
                  <a:lnTo>
                    <a:pt x="447" y="632"/>
                  </a:lnTo>
                  <a:lnTo>
                    <a:pt x="449" y="626"/>
                  </a:lnTo>
                  <a:lnTo>
                    <a:pt x="449" y="619"/>
                  </a:lnTo>
                  <a:lnTo>
                    <a:pt x="449" y="610"/>
                  </a:lnTo>
                  <a:lnTo>
                    <a:pt x="449" y="602"/>
                  </a:lnTo>
                  <a:lnTo>
                    <a:pt x="453" y="595"/>
                  </a:lnTo>
                  <a:lnTo>
                    <a:pt x="454" y="591"/>
                  </a:lnTo>
                  <a:lnTo>
                    <a:pt x="458" y="589"/>
                  </a:lnTo>
                  <a:lnTo>
                    <a:pt x="458" y="589"/>
                  </a:lnTo>
                  <a:lnTo>
                    <a:pt x="466" y="583"/>
                  </a:lnTo>
                  <a:lnTo>
                    <a:pt x="471" y="576"/>
                  </a:lnTo>
                  <a:lnTo>
                    <a:pt x="477" y="567"/>
                  </a:lnTo>
                  <a:lnTo>
                    <a:pt x="479" y="557"/>
                  </a:lnTo>
                  <a:lnTo>
                    <a:pt x="482" y="537"/>
                  </a:lnTo>
                  <a:lnTo>
                    <a:pt x="484" y="518"/>
                  </a:lnTo>
                  <a:lnTo>
                    <a:pt x="486" y="511"/>
                  </a:lnTo>
                  <a:lnTo>
                    <a:pt x="490" y="505"/>
                  </a:lnTo>
                  <a:lnTo>
                    <a:pt x="494" y="501"/>
                  </a:lnTo>
                  <a:lnTo>
                    <a:pt x="501" y="501"/>
                  </a:lnTo>
                  <a:lnTo>
                    <a:pt x="509" y="503"/>
                  </a:lnTo>
                  <a:lnTo>
                    <a:pt x="520" y="509"/>
                  </a:lnTo>
                  <a:lnTo>
                    <a:pt x="535" y="520"/>
                  </a:lnTo>
                  <a:lnTo>
                    <a:pt x="552" y="535"/>
                  </a:lnTo>
                  <a:lnTo>
                    <a:pt x="602" y="574"/>
                  </a:lnTo>
                  <a:lnTo>
                    <a:pt x="602" y="574"/>
                  </a:lnTo>
                  <a:lnTo>
                    <a:pt x="608" y="574"/>
                  </a:lnTo>
                  <a:lnTo>
                    <a:pt x="613" y="570"/>
                  </a:lnTo>
                  <a:lnTo>
                    <a:pt x="621" y="561"/>
                  </a:lnTo>
                  <a:lnTo>
                    <a:pt x="625" y="555"/>
                  </a:lnTo>
                  <a:lnTo>
                    <a:pt x="628" y="552"/>
                  </a:lnTo>
                  <a:lnTo>
                    <a:pt x="634" y="550"/>
                  </a:lnTo>
                  <a:lnTo>
                    <a:pt x="641" y="552"/>
                  </a:lnTo>
                  <a:lnTo>
                    <a:pt x="641" y="552"/>
                  </a:lnTo>
                  <a:lnTo>
                    <a:pt x="651" y="555"/>
                  </a:lnTo>
                  <a:lnTo>
                    <a:pt x="660" y="555"/>
                  </a:lnTo>
                  <a:lnTo>
                    <a:pt x="668" y="554"/>
                  </a:lnTo>
                  <a:lnTo>
                    <a:pt x="673" y="550"/>
                  </a:lnTo>
                  <a:lnTo>
                    <a:pt x="679" y="546"/>
                  </a:lnTo>
                  <a:lnTo>
                    <a:pt x="686" y="546"/>
                  </a:lnTo>
                  <a:lnTo>
                    <a:pt x="692" y="550"/>
                  </a:lnTo>
                  <a:lnTo>
                    <a:pt x="699" y="557"/>
                  </a:lnTo>
                  <a:lnTo>
                    <a:pt x="699" y="557"/>
                  </a:lnTo>
                  <a:lnTo>
                    <a:pt x="722" y="585"/>
                  </a:lnTo>
                  <a:lnTo>
                    <a:pt x="742" y="608"/>
                  </a:lnTo>
                  <a:lnTo>
                    <a:pt x="765" y="630"/>
                  </a:lnTo>
                  <a:lnTo>
                    <a:pt x="785" y="651"/>
                  </a:lnTo>
                  <a:lnTo>
                    <a:pt x="804" y="666"/>
                  </a:lnTo>
                  <a:lnTo>
                    <a:pt x="811" y="669"/>
                  </a:lnTo>
                  <a:lnTo>
                    <a:pt x="817" y="669"/>
                  </a:lnTo>
                  <a:lnTo>
                    <a:pt x="821" y="667"/>
                  </a:lnTo>
                  <a:lnTo>
                    <a:pt x="821" y="662"/>
                  </a:lnTo>
                  <a:lnTo>
                    <a:pt x="821" y="662"/>
                  </a:lnTo>
                  <a:lnTo>
                    <a:pt x="823" y="649"/>
                  </a:lnTo>
                  <a:lnTo>
                    <a:pt x="823" y="645"/>
                  </a:lnTo>
                  <a:lnTo>
                    <a:pt x="824" y="645"/>
                  </a:lnTo>
                  <a:lnTo>
                    <a:pt x="826" y="645"/>
                  </a:lnTo>
                  <a:lnTo>
                    <a:pt x="828" y="645"/>
                  </a:lnTo>
                  <a:lnTo>
                    <a:pt x="834" y="651"/>
                  </a:lnTo>
                  <a:lnTo>
                    <a:pt x="845" y="667"/>
                  </a:lnTo>
                  <a:lnTo>
                    <a:pt x="853" y="675"/>
                  </a:lnTo>
                  <a:lnTo>
                    <a:pt x="858" y="681"/>
                  </a:lnTo>
                  <a:lnTo>
                    <a:pt x="858" y="681"/>
                  </a:lnTo>
                  <a:lnTo>
                    <a:pt x="864" y="682"/>
                  </a:lnTo>
                  <a:lnTo>
                    <a:pt x="866" y="684"/>
                  </a:lnTo>
                  <a:lnTo>
                    <a:pt x="869" y="690"/>
                  </a:lnTo>
                  <a:lnTo>
                    <a:pt x="873" y="696"/>
                  </a:lnTo>
                  <a:lnTo>
                    <a:pt x="877" y="701"/>
                  </a:lnTo>
                  <a:lnTo>
                    <a:pt x="886" y="709"/>
                  </a:lnTo>
                  <a:lnTo>
                    <a:pt x="897" y="718"/>
                  </a:lnTo>
                  <a:lnTo>
                    <a:pt x="897" y="718"/>
                  </a:lnTo>
                  <a:lnTo>
                    <a:pt x="912" y="727"/>
                  </a:lnTo>
                  <a:lnTo>
                    <a:pt x="920" y="733"/>
                  </a:lnTo>
                  <a:lnTo>
                    <a:pt x="931" y="740"/>
                  </a:lnTo>
                  <a:lnTo>
                    <a:pt x="953" y="763"/>
                  </a:lnTo>
                  <a:lnTo>
                    <a:pt x="953" y="763"/>
                  </a:lnTo>
                  <a:lnTo>
                    <a:pt x="972" y="778"/>
                  </a:lnTo>
                  <a:lnTo>
                    <a:pt x="983" y="787"/>
                  </a:lnTo>
                  <a:lnTo>
                    <a:pt x="989" y="787"/>
                  </a:lnTo>
                  <a:lnTo>
                    <a:pt x="993" y="789"/>
                  </a:lnTo>
                  <a:lnTo>
                    <a:pt x="995" y="787"/>
                  </a:lnTo>
                  <a:lnTo>
                    <a:pt x="996" y="785"/>
                  </a:lnTo>
                  <a:lnTo>
                    <a:pt x="1000" y="781"/>
                  </a:lnTo>
                  <a:lnTo>
                    <a:pt x="1004" y="776"/>
                  </a:lnTo>
                  <a:lnTo>
                    <a:pt x="1010" y="770"/>
                  </a:lnTo>
                  <a:lnTo>
                    <a:pt x="1013" y="768"/>
                  </a:lnTo>
                  <a:lnTo>
                    <a:pt x="1017" y="768"/>
                  </a:lnTo>
                  <a:lnTo>
                    <a:pt x="1017" y="768"/>
                  </a:lnTo>
                  <a:lnTo>
                    <a:pt x="1023" y="768"/>
                  </a:lnTo>
                  <a:lnTo>
                    <a:pt x="1024" y="774"/>
                  </a:lnTo>
                  <a:lnTo>
                    <a:pt x="1026" y="780"/>
                  </a:lnTo>
                  <a:lnTo>
                    <a:pt x="1026" y="787"/>
                  </a:lnTo>
                  <a:lnTo>
                    <a:pt x="1026" y="802"/>
                  </a:lnTo>
                  <a:lnTo>
                    <a:pt x="1028" y="808"/>
                  </a:lnTo>
                  <a:lnTo>
                    <a:pt x="1030" y="811"/>
                  </a:lnTo>
                  <a:lnTo>
                    <a:pt x="1030" y="811"/>
                  </a:lnTo>
                  <a:lnTo>
                    <a:pt x="1058" y="830"/>
                  </a:lnTo>
                  <a:lnTo>
                    <a:pt x="1067" y="838"/>
                  </a:lnTo>
                  <a:lnTo>
                    <a:pt x="1073" y="845"/>
                  </a:lnTo>
                  <a:lnTo>
                    <a:pt x="1077" y="851"/>
                  </a:lnTo>
                  <a:lnTo>
                    <a:pt x="1079" y="856"/>
                  </a:lnTo>
                  <a:lnTo>
                    <a:pt x="1079" y="860"/>
                  </a:lnTo>
                  <a:lnTo>
                    <a:pt x="1077" y="864"/>
                  </a:lnTo>
                  <a:lnTo>
                    <a:pt x="1075" y="871"/>
                  </a:lnTo>
                  <a:lnTo>
                    <a:pt x="1073" y="879"/>
                  </a:lnTo>
                  <a:lnTo>
                    <a:pt x="1073" y="884"/>
                  </a:lnTo>
                  <a:lnTo>
                    <a:pt x="1075" y="890"/>
                  </a:lnTo>
                  <a:lnTo>
                    <a:pt x="1081" y="897"/>
                  </a:lnTo>
                  <a:lnTo>
                    <a:pt x="1086" y="905"/>
                  </a:lnTo>
                  <a:lnTo>
                    <a:pt x="1086" y="905"/>
                  </a:lnTo>
                  <a:lnTo>
                    <a:pt x="1090" y="909"/>
                  </a:lnTo>
                  <a:lnTo>
                    <a:pt x="1088" y="910"/>
                  </a:lnTo>
                  <a:lnTo>
                    <a:pt x="1084" y="916"/>
                  </a:lnTo>
                  <a:lnTo>
                    <a:pt x="1082" y="918"/>
                  </a:lnTo>
                  <a:lnTo>
                    <a:pt x="1082" y="923"/>
                  </a:lnTo>
                  <a:lnTo>
                    <a:pt x="1084" y="927"/>
                  </a:lnTo>
                  <a:lnTo>
                    <a:pt x="1090" y="935"/>
                  </a:lnTo>
                  <a:lnTo>
                    <a:pt x="1090" y="935"/>
                  </a:lnTo>
                  <a:lnTo>
                    <a:pt x="1094" y="940"/>
                  </a:lnTo>
                  <a:lnTo>
                    <a:pt x="1097" y="946"/>
                  </a:lnTo>
                  <a:lnTo>
                    <a:pt x="1099" y="955"/>
                  </a:lnTo>
                  <a:lnTo>
                    <a:pt x="1103" y="966"/>
                  </a:lnTo>
                  <a:lnTo>
                    <a:pt x="1107" y="970"/>
                  </a:lnTo>
                  <a:lnTo>
                    <a:pt x="1112" y="976"/>
                  </a:lnTo>
                  <a:lnTo>
                    <a:pt x="1112" y="976"/>
                  </a:lnTo>
                  <a:lnTo>
                    <a:pt x="1118" y="981"/>
                  </a:lnTo>
                  <a:lnTo>
                    <a:pt x="1122" y="987"/>
                  </a:lnTo>
                  <a:lnTo>
                    <a:pt x="1120" y="993"/>
                  </a:lnTo>
                  <a:lnTo>
                    <a:pt x="1118" y="998"/>
                  </a:lnTo>
                  <a:lnTo>
                    <a:pt x="1110" y="1011"/>
                  </a:lnTo>
                  <a:lnTo>
                    <a:pt x="1109" y="1019"/>
                  </a:lnTo>
                  <a:lnTo>
                    <a:pt x="1107" y="1026"/>
                  </a:lnTo>
                  <a:lnTo>
                    <a:pt x="1107" y="1026"/>
                  </a:lnTo>
                  <a:lnTo>
                    <a:pt x="1107" y="1034"/>
                  </a:lnTo>
                  <a:lnTo>
                    <a:pt x="1105" y="1037"/>
                  </a:lnTo>
                  <a:lnTo>
                    <a:pt x="1101" y="1041"/>
                  </a:lnTo>
                  <a:lnTo>
                    <a:pt x="1095" y="1043"/>
                  </a:lnTo>
                  <a:lnTo>
                    <a:pt x="1092" y="1047"/>
                  </a:lnTo>
                  <a:lnTo>
                    <a:pt x="1088" y="1051"/>
                  </a:lnTo>
                  <a:lnTo>
                    <a:pt x="1084" y="1056"/>
                  </a:lnTo>
                  <a:lnTo>
                    <a:pt x="1084" y="1067"/>
                  </a:lnTo>
                  <a:lnTo>
                    <a:pt x="1084" y="1067"/>
                  </a:lnTo>
                  <a:lnTo>
                    <a:pt x="1082" y="1073"/>
                  </a:lnTo>
                  <a:lnTo>
                    <a:pt x="1081" y="1077"/>
                  </a:lnTo>
                  <a:lnTo>
                    <a:pt x="1077" y="1080"/>
                  </a:lnTo>
                  <a:lnTo>
                    <a:pt x="1073" y="1084"/>
                  </a:lnTo>
                  <a:lnTo>
                    <a:pt x="1064" y="1088"/>
                  </a:lnTo>
                  <a:lnTo>
                    <a:pt x="1052" y="1092"/>
                  </a:lnTo>
                  <a:lnTo>
                    <a:pt x="1043" y="1095"/>
                  </a:lnTo>
                  <a:lnTo>
                    <a:pt x="1038" y="1099"/>
                  </a:lnTo>
                  <a:lnTo>
                    <a:pt x="1036" y="1103"/>
                  </a:lnTo>
                  <a:lnTo>
                    <a:pt x="1032" y="1107"/>
                  </a:lnTo>
                  <a:lnTo>
                    <a:pt x="1032" y="1112"/>
                  </a:lnTo>
                  <a:lnTo>
                    <a:pt x="1032" y="1120"/>
                  </a:lnTo>
                  <a:lnTo>
                    <a:pt x="1034" y="1129"/>
                  </a:lnTo>
                  <a:lnTo>
                    <a:pt x="1034" y="1129"/>
                  </a:lnTo>
                  <a:lnTo>
                    <a:pt x="1034" y="1133"/>
                  </a:lnTo>
                  <a:lnTo>
                    <a:pt x="1032" y="1136"/>
                  </a:lnTo>
                  <a:lnTo>
                    <a:pt x="1028" y="1140"/>
                  </a:lnTo>
                  <a:lnTo>
                    <a:pt x="1023" y="1146"/>
                  </a:lnTo>
                  <a:lnTo>
                    <a:pt x="993" y="1161"/>
                  </a:lnTo>
                  <a:lnTo>
                    <a:pt x="980" y="1170"/>
                  </a:lnTo>
                  <a:lnTo>
                    <a:pt x="974" y="1176"/>
                  </a:lnTo>
                  <a:lnTo>
                    <a:pt x="970" y="1179"/>
                  </a:lnTo>
                  <a:lnTo>
                    <a:pt x="968" y="1187"/>
                  </a:lnTo>
                  <a:lnTo>
                    <a:pt x="968" y="1193"/>
                  </a:lnTo>
                  <a:lnTo>
                    <a:pt x="970" y="1200"/>
                  </a:lnTo>
                  <a:lnTo>
                    <a:pt x="976" y="1207"/>
                  </a:lnTo>
                  <a:lnTo>
                    <a:pt x="976" y="1207"/>
                  </a:lnTo>
                  <a:lnTo>
                    <a:pt x="989" y="1222"/>
                  </a:lnTo>
                  <a:lnTo>
                    <a:pt x="1000" y="1232"/>
                  </a:lnTo>
                  <a:lnTo>
                    <a:pt x="1006" y="1237"/>
                  </a:lnTo>
                  <a:lnTo>
                    <a:pt x="1008" y="1241"/>
                  </a:lnTo>
                  <a:lnTo>
                    <a:pt x="1006" y="1243"/>
                  </a:lnTo>
                  <a:lnTo>
                    <a:pt x="1000" y="1249"/>
                  </a:lnTo>
                  <a:lnTo>
                    <a:pt x="991" y="1256"/>
                  </a:lnTo>
                  <a:lnTo>
                    <a:pt x="978" y="1271"/>
                  </a:lnTo>
                  <a:lnTo>
                    <a:pt x="978" y="1271"/>
                  </a:lnTo>
                  <a:lnTo>
                    <a:pt x="970" y="1277"/>
                  </a:lnTo>
                  <a:lnTo>
                    <a:pt x="963" y="1278"/>
                  </a:lnTo>
                  <a:lnTo>
                    <a:pt x="953" y="1277"/>
                  </a:lnTo>
                  <a:lnTo>
                    <a:pt x="944" y="1275"/>
                  </a:lnTo>
                  <a:lnTo>
                    <a:pt x="925" y="1265"/>
                  </a:lnTo>
                  <a:lnTo>
                    <a:pt x="903" y="1252"/>
                  </a:lnTo>
                  <a:lnTo>
                    <a:pt x="882" y="1239"/>
                  </a:lnTo>
                  <a:lnTo>
                    <a:pt x="873" y="1236"/>
                  </a:lnTo>
                  <a:lnTo>
                    <a:pt x="864" y="1234"/>
                  </a:lnTo>
                  <a:lnTo>
                    <a:pt x="856" y="1234"/>
                  </a:lnTo>
                  <a:lnTo>
                    <a:pt x="849" y="1237"/>
                  </a:lnTo>
                  <a:lnTo>
                    <a:pt x="843" y="1243"/>
                  </a:lnTo>
                  <a:lnTo>
                    <a:pt x="838" y="1254"/>
                  </a:lnTo>
                  <a:lnTo>
                    <a:pt x="838" y="1254"/>
                  </a:lnTo>
                  <a:lnTo>
                    <a:pt x="839" y="1258"/>
                  </a:lnTo>
                  <a:lnTo>
                    <a:pt x="845" y="1269"/>
                  </a:lnTo>
                  <a:lnTo>
                    <a:pt x="862" y="1295"/>
                  </a:lnTo>
                  <a:lnTo>
                    <a:pt x="882" y="1323"/>
                  </a:lnTo>
                  <a:lnTo>
                    <a:pt x="890" y="1331"/>
                  </a:lnTo>
                  <a:lnTo>
                    <a:pt x="894" y="1335"/>
                  </a:lnTo>
                  <a:lnTo>
                    <a:pt x="894" y="1335"/>
                  </a:lnTo>
                  <a:lnTo>
                    <a:pt x="910" y="1338"/>
                  </a:lnTo>
                  <a:lnTo>
                    <a:pt x="922" y="1340"/>
                  </a:lnTo>
                  <a:lnTo>
                    <a:pt x="925" y="1342"/>
                  </a:lnTo>
                  <a:lnTo>
                    <a:pt x="929" y="1346"/>
                  </a:lnTo>
                  <a:lnTo>
                    <a:pt x="938" y="1361"/>
                  </a:lnTo>
                  <a:lnTo>
                    <a:pt x="938" y="1361"/>
                  </a:lnTo>
                  <a:lnTo>
                    <a:pt x="940" y="1357"/>
                  </a:lnTo>
                  <a:lnTo>
                    <a:pt x="942" y="1355"/>
                  </a:lnTo>
                  <a:lnTo>
                    <a:pt x="946" y="1353"/>
                  </a:lnTo>
                  <a:lnTo>
                    <a:pt x="952" y="1353"/>
                  </a:lnTo>
                  <a:lnTo>
                    <a:pt x="952" y="1353"/>
                  </a:lnTo>
                  <a:lnTo>
                    <a:pt x="955" y="1355"/>
                  </a:lnTo>
                  <a:lnTo>
                    <a:pt x="957" y="1359"/>
                  </a:lnTo>
                  <a:lnTo>
                    <a:pt x="957" y="1368"/>
                  </a:lnTo>
                  <a:lnTo>
                    <a:pt x="952" y="1394"/>
                  </a:lnTo>
                  <a:lnTo>
                    <a:pt x="950" y="1406"/>
                  </a:lnTo>
                  <a:lnTo>
                    <a:pt x="950" y="1411"/>
                  </a:lnTo>
                  <a:lnTo>
                    <a:pt x="952" y="1413"/>
                  </a:lnTo>
                  <a:lnTo>
                    <a:pt x="953" y="1415"/>
                  </a:lnTo>
                  <a:lnTo>
                    <a:pt x="957" y="1413"/>
                  </a:lnTo>
                  <a:lnTo>
                    <a:pt x="965" y="1411"/>
                  </a:lnTo>
                  <a:lnTo>
                    <a:pt x="972" y="1406"/>
                  </a:lnTo>
                  <a:lnTo>
                    <a:pt x="972" y="1406"/>
                  </a:lnTo>
                  <a:lnTo>
                    <a:pt x="1000" y="1387"/>
                  </a:lnTo>
                  <a:lnTo>
                    <a:pt x="1017" y="1376"/>
                  </a:lnTo>
                  <a:lnTo>
                    <a:pt x="1023" y="1370"/>
                  </a:lnTo>
                  <a:lnTo>
                    <a:pt x="1024" y="1366"/>
                  </a:lnTo>
                  <a:lnTo>
                    <a:pt x="1023" y="1361"/>
                  </a:lnTo>
                  <a:lnTo>
                    <a:pt x="1019" y="1355"/>
                  </a:lnTo>
                  <a:lnTo>
                    <a:pt x="1019" y="1355"/>
                  </a:lnTo>
                  <a:lnTo>
                    <a:pt x="1006" y="1338"/>
                  </a:lnTo>
                  <a:lnTo>
                    <a:pt x="1000" y="1325"/>
                  </a:lnTo>
                  <a:lnTo>
                    <a:pt x="1000" y="1316"/>
                  </a:lnTo>
                  <a:lnTo>
                    <a:pt x="1004" y="1310"/>
                  </a:lnTo>
                  <a:lnTo>
                    <a:pt x="1008" y="1305"/>
                  </a:lnTo>
                  <a:lnTo>
                    <a:pt x="1015" y="1301"/>
                  </a:lnTo>
                  <a:lnTo>
                    <a:pt x="1024" y="1297"/>
                  </a:lnTo>
                  <a:lnTo>
                    <a:pt x="1024" y="1297"/>
                  </a:lnTo>
                  <a:lnTo>
                    <a:pt x="1026" y="1293"/>
                  </a:lnTo>
                  <a:lnTo>
                    <a:pt x="1026" y="1292"/>
                  </a:lnTo>
                  <a:lnTo>
                    <a:pt x="1028" y="1288"/>
                  </a:lnTo>
                  <a:lnTo>
                    <a:pt x="1036" y="1286"/>
                  </a:lnTo>
                  <a:lnTo>
                    <a:pt x="1036" y="1286"/>
                  </a:lnTo>
                  <a:lnTo>
                    <a:pt x="1047" y="1282"/>
                  </a:lnTo>
                  <a:lnTo>
                    <a:pt x="1054" y="1277"/>
                  </a:lnTo>
                  <a:lnTo>
                    <a:pt x="1060" y="1271"/>
                  </a:lnTo>
                  <a:lnTo>
                    <a:pt x="1064" y="1265"/>
                  </a:lnTo>
                  <a:lnTo>
                    <a:pt x="1067" y="1262"/>
                  </a:lnTo>
                  <a:lnTo>
                    <a:pt x="1073" y="1260"/>
                  </a:lnTo>
                  <a:lnTo>
                    <a:pt x="1081" y="1262"/>
                  </a:lnTo>
                  <a:lnTo>
                    <a:pt x="1092" y="1269"/>
                  </a:lnTo>
                  <a:lnTo>
                    <a:pt x="1092" y="1269"/>
                  </a:lnTo>
                  <a:lnTo>
                    <a:pt x="1101" y="1278"/>
                  </a:lnTo>
                  <a:lnTo>
                    <a:pt x="1109" y="1284"/>
                  </a:lnTo>
                  <a:lnTo>
                    <a:pt x="1110" y="1288"/>
                  </a:lnTo>
                  <a:lnTo>
                    <a:pt x="1112" y="1292"/>
                  </a:lnTo>
                  <a:lnTo>
                    <a:pt x="1112" y="1297"/>
                  </a:lnTo>
                  <a:lnTo>
                    <a:pt x="1112" y="1303"/>
                  </a:lnTo>
                  <a:lnTo>
                    <a:pt x="1112" y="1303"/>
                  </a:lnTo>
                  <a:lnTo>
                    <a:pt x="1109" y="1310"/>
                  </a:lnTo>
                  <a:lnTo>
                    <a:pt x="1109" y="1318"/>
                  </a:lnTo>
                  <a:lnTo>
                    <a:pt x="1109" y="1323"/>
                  </a:lnTo>
                  <a:lnTo>
                    <a:pt x="1110" y="1327"/>
                  </a:lnTo>
                  <a:lnTo>
                    <a:pt x="1116" y="1335"/>
                  </a:lnTo>
                  <a:lnTo>
                    <a:pt x="1124" y="1340"/>
                  </a:lnTo>
                  <a:lnTo>
                    <a:pt x="1131" y="1342"/>
                  </a:lnTo>
                  <a:lnTo>
                    <a:pt x="1140" y="1344"/>
                  </a:lnTo>
                  <a:lnTo>
                    <a:pt x="1150" y="1348"/>
                  </a:lnTo>
                  <a:lnTo>
                    <a:pt x="1150" y="1348"/>
                  </a:lnTo>
                  <a:lnTo>
                    <a:pt x="1157" y="1351"/>
                  </a:lnTo>
                  <a:lnTo>
                    <a:pt x="1165" y="1353"/>
                  </a:lnTo>
                  <a:lnTo>
                    <a:pt x="1176" y="1355"/>
                  </a:lnTo>
                  <a:lnTo>
                    <a:pt x="1191" y="1353"/>
                  </a:lnTo>
                  <a:lnTo>
                    <a:pt x="1204" y="1355"/>
                  </a:lnTo>
                  <a:lnTo>
                    <a:pt x="1204" y="1355"/>
                  </a:lnTo>
                  <a:lnTo>
                    <a:pt x="1209" y="1357"/>
                  </a:lnTo>
                  <a:lnTo>
                    <a:pt x="1213" y="1361"/>
                  </a:lnTo>
                  <a:lnTo>
                    <a:pt x="1223" y="1370"/>
                  </a:lnTo>
                  <a:lnTo>
                    <a:pt x="1230" y="1385"/>
                  </a:lnTo>
                  <a:lnTo>
                    <a:pt x="1238" y="1402"/>
                  </a:lnTo>
                  <a:lnTo>
                    <a:pt x="1241" y="1421"/>
                  </a:lnTo>
                  <a:lnTo>
                    <a:pt x="1245" y="1437"/>
                  </a:lnTo>
                  <a:lnTo>
                    <a:pt x="1243" y="1454"/>
                  </a:lnTo>
                  <a:lnTo>
                    <a:pt x="1241" y="1460"/>
                  </a:lnTo>
                  <a:lnTo>
                    <a:pt x="1239" y="1465"/>
                  </a:lnTo>
                  <a:lnTo>
                    <a:pt x="1239" y="1465"/>
                  </a:lnTo>
                  <a:lnTo>
                    <a:pt x="1238" y="1471"/>
                  </a:lnTo>
                  <a:lnTo>
                    <a:pt x="1238" y="1475"/>
                  </a:lnTo>
                  <a:lnTo>
                    <a:pt x="1241" y="1480"/>
                  </a:lnTo>
                  <a:lnTo>
                    <a:pt x="1245" y="1486"/>
                  </a:lnTo>
                  <a:lnTo>
                    <a:pt x="1260" y="1495"/>
                  </a:lnTo>
                  <a:lnTo>
                    <a:pt x="1277" y="1503"/>
                  </a:lnTo>
                  <a:lnTo>
                    <a:pt x="1295" y="1510"/>
                  </a:lnTo>
                  <a:lnTo>
                    <a:pt x="1316" y="1514"/>
                  </a:lnTo>
                  <a:lnTo>
                    <a:pt x="1333" y="1514"/>
                  </a:lnTo>
                  <a:lnTo>
                    <a:pt x="1338" y="1512"/>
                  </a:lnTo>
                  <a:lnTo>
                    <a:pt x="1344" y="1510"/>
                  </a:lnTo>
                  <a:lnTo>
                    <a:pt x="1344" y="1510"/>
                  </a:lnTo>
                  <a:lnTo>
                    <a:pt x="1372" y="1493"/>
                  </a:lnTo>
                  <a:lnTo>
                    <a:pt x="1372" y="1493"/>
                  </a:lnTo>
                  <a:lnTo>
                    <a:pt x="1372" y="1484"/>
                  </a:lnTo>
                  <a:lnTo>
                    <a:pt x="1374" y="1478"/>
                  </a:lnTo>
                  <a:lnTo>
                    <a:pt x="1378" y="1477"/>
                  </a:lnTo>
                  <a:lnTo>
                    <a:pt x="1383" y="1475"/>
                  </a:lnTo>
                  <a:lnTo>
                    <a:pt x="1394" y="1477"/>
                  </a:lnTo>
                  <a:lnTo>
                    <a:pt x="1400" y="1477"/>
                  </a:lnTo>
                  <a:lnTo>
                    <a:pt x="1408" y="1477"/>
                  </a:lnTo>
                  <a:lnTo>
                    <a:pt x="1408" y="1477"/>
                  </a:lnTo>
                  <a:lnTo>
                    <a:pt x="1417" y="1473"/>
                  </a:lnTo>
                  <a:lnTo>
                    <a:pt x="1423" y="1471"/>
                  </a:lnTo>
                  <a:lnTo>
                    <a:pt x="1428" y="1467"/>
                  </a:lnTo>
                  <a:lnTo>
                    <a:pt x="1430" y="1463"/>
                  </a:lnTo>
                  <a:lnTo>
                    <a:pt x="1432" y="1458"/>
                  </a:lnTo>
                  <a:lnTo>
                    <a:pt x="1432" y="1454"/>
                  </a:lnTo>
                  <a:lnTo>
                    <a:pt x="1428" y="1443"/>
                  </a:lnTo>
                  <a:lnTo>
                    <a:pt x="1421" y="1434"/>
                  </a:lnTo>
                  <a:lnTo>
                    <a:pt x="1413" y="1424"/>
                  </a:lnTo>
                  <a:lnTo>
                    <a:pt x="1408" y="1417"/>
                  </a:lnTo>
                  <a:lnTo>
                    <a:pt x="1404" y="1411"/>
                  </a:lnTo>
                  <a:lnTo>
                    <a:pt x="1404" y="1411"/>
                  </a:lnTo>
                  <a:lnTo>
                    <a:pt x="1417" y="1396"/>
                  </a:lnTo>
                  <a:lnTo>
                    <a:pt x="1428" y="1387"/>
                  </a:lnTo>
                  <a:lnTo>
                    <a:pt x="1437" y="1381"/>
                  </a:lnTo>
                  <a:lnTo>
                    <a:pt x="1443" y="1379"/>
                  </a:lnTo>
                  <a:lnTo>
                    <a:pt x="1449" y="1379"/>
                  </a:lnTo>
                  <a:lnTo>
                    <a:pt x="1452" y="1381"/>
                  </a:lnTo>
                  <a:lnTo>
                    <a:pt x="1458" y="1383"/>
                  </a:lnTo>
                  <a:lnTo>
                    <a:pt x="1464" y="1385"/>
                  </a:lnTo>
                  <a:lnTo>
                    <a:pt x="1464" y="1385"/>
                  </a:lnTo>
                  <a:lnTo>
                    <a:pt x="1508" y="1387"/>
                  </a:lnTo>
                  <a:lnTo>
                    <a:pt x="1516" y="1387"/>
                  </a:lnTo>
                  <a:lnTo>
                    <a:pt x="1516" y="1385"/>
                  </a:lnTo>
                  <a:lnTo>
                    <a:pt x="1514" y="1385"/>
                  </a:lnTo>
                  <a:lnTo>
                    <a:pt x="1510" y="1379"/>
                  </a:lnTo>
                  <a:lnTo>
                    <a:pt x="1503" y="1372"/>
                  </a:lnTo>
                  <a:lnTo>
                    <a:pt x="1497" y="1359"/>
                  </a:lnTo>
                  <a:lnTo>
                    <a:pt x="1495" y="1351"/>
                  </a:lnTo>
                  <a:lnTo>
                    <a:pt x="1494" y="1340"/>
                  </a:lnTo>
                  <a:lnTo>
                    <a:pt x="1494" y="1340"/>
                  </a:lnTo>
                  <a:lnTo>
                    <a:pt x="1495" y="1318"/>
                  </a:lnTo>
                  <a:lnTo>
                    <a:pt x="1499" y="1301"/>
                  </a:lnTo>
                  <a:lnTo>
                    <a:pt x="1507" y="1292"/>
                  </a:lnTo>
                  <a:lnTo>
                    <a:pt x="1512" y="1286"/>
                  </a:lnTo>
                  <a:lnTo>
                    <a:pt x="1520" y="1284"/>
                  </a:lnTo>
                  <a:lnTo>
                    <a:pt x="1525" y="1282"/>
                  </a:lnTo>
                  <a:lnTo>
                    <a:pt x="1529" y="1280"/>
                  </a:lnTo>
                  <a:lnTo>
                    <a:pt x="1529" y="1277"/>
                  </a:lnTo>
                  <a:lnTo>
                    <a:pt x="1529" y="1277"/>
                  </a:lnTo>
                  <a:lnTo>
                    <a:pt x="1527" y="1271"/>
                  </a:lnTo>
                  <a:lnTo>
                    <a:pt x="1523" y="1267"/>
                  </a:lnTo>
                  <a:lnTo>
                    <a:pt x="1520" y="1264"/>
                  </a:lnTo>
                  <a:lnTo>
                    <a:pt x="1516" y="1260"/>
                  </a:lnTo>
                  <a:lnTo>
                    <a:pt x="1505" y="1258"/>
                  </a:lnTo>
                  <a:lnTo>
                    <a:pt x="1495" y="1254"/>
                  </a:lnTo>
                  <a:lnTo>
                    <a:pt x="1488" y="1252"/>
                  </a:lnTo>
                  <a:lnTo>
                    <a:pt x="1484" y="1249"/>
                  </a:lnTo>
                  <a:lnTo>
                    <a:pt x="1484" y="1247"/>
                  </a:lnTo>
                  <a:lnTo>
                    <a:pt x="1484" y="1243"/>
                  </a:lnTo>
                  <a:lnTo>
                    <a:pt x="1486" y="1237"/>
                  </a:lnTo>
                  <a:lnTo>
                    <a:pt x="1497" y="1222"/>
                  </a:lnTo>
                  <a:lnTo>
                    <a:pt x="1497" y="1222"/>
                  </a:lnTo>
                  <a:lnTo>
                    <a:pt x="1507" y="1213"/>
                  </a:lnTo>
                  <a:lnTo>
                    <a:pt x="1508" y="1204"/>
                  </a:lnTo>
                  <a:lnTo>
                    <a:pt x="1507" y="1198"/>
                  </a:lnTo>
                  <a:lnTo>
                    <a:pt x="1503" y="1193"/>
                  </a:lnTo>
                  <a:lnTo>
                    <a:pt x="1501" y="1189"/>
                  </a:lnTo>
                  <a:lnTo>
                    <a:pt x="1499" y="1185"/>
                  </a:lnTo>
                  <a:lnTo>
                    <a:pt x="1501" y="1179"/>
                  </a:lnTo>
                  <a:lnTo>
                    <a:pt x="1508" y="1174"/>
                  </a:lnTo>
                  <a:lnTo>
                    <a:pt x="1508" y="1174"/>
                  </a:lnTo>
                  <a:lnTo>
                    <a:pt x="1516" y="1170"/>
                  </a:lnTo>
                  <a:lnTo>
                    <a:pt x="1523" y="1168"/>
                  </a:lnTo>
                  <a:lnTo>
                    <a:pt x="1529" y="1168"/>
                  </a:lnTo>
                  <a:lnTo>
                    <a:pt x="1537" y="1168"/>
                  </a:lnTo>
                  <a:lnTo>
                    <a:pt x="1548" y="1172"/>
                  </a:lnTo>
                  <a:lnTo>
                    <a:pt x="1557" y="1178"/>
                  </a:lnTo>
                  <a:lnTo>
                    <a:pt x="1578" y="1193"/>
                  </a:lnTo>
                  <a:lnTo>
                    <a:pt x="1589" y="1198"/>
                  </a:lnTo>
                  <a:lnTo>
                    <a:pt x="1600" y="1200"/>
                  </a:lnTo>
                  <a:lnTo>
                    <a:pt x="1600" y="1200"/>
                  </a:lnTo>
                  <a:lnTo>
                    <a:pt x="1628" y="1198"/>
                  </a:lnTo>
                  <a:lnTo>
                    <a:pt x="1637" y="1196"/>
                  </a:lnTo>
                  <a:lnTo>
                    <a:pt x="1645" y="1194"/>
                  </a:lnTo>
                  <a:lnTo>
                    <a:pt x="1651" y="1191"/>
                  </a:lnTo>
                  <a:lnTo>
                    <a:pt x="1654" y="1189"/>
                  </a:lnTo>
                  <a:lnTo>
                    <a:pt x="1656" y="1185"/>
                  </a:lnTo>
                  <a:lnTo>
                    <a:pt x="1656" y="1181"/>
                  </a:lnTo>
                  <a:lnTo>
                    <a:pt x="1654" y="1172"/>
                  </a:lnTo>
                  <a:lnTo>
                    <a:pt x="1649" y="1166"/>
                  </a:lnTo>
                  <a:lnTo>
                    <a:pt x="1643" y="1159"/>
                  </a:lnTo>
                  <a:lnTo>
                    <a:pt x="1643" y="1159"/>
                  </a:lnTo>
                  <a:lnTo>
                    <a:pt x="1643" y="1153"/>
                  </a:lnTo>
                  <a:lnTo>
                    <a:pt x="1647" y="1151"/>
                  </a:lnTo>
                  <a:lnTo>
                    <a:pt x="1652" y="1150"/>
                  </a:lnTo>
                  <a:lnTo>
                    <a:pt x="1660" y="1148"/>
                  </a:lnTo>
                  <a:lnTo>
                    <a:pt x="1680" y="1148"/>
                  </a:lnTo>
                  <a:lnTo>
                    <a:pt x="1703" y="1150"/>
                  </a:lnTo>
                  <a:lnTo>
                    <a:pt x="1725" y="1148"/>
                  </a:lnTo>
                  <a:lnTo>
                    <a:pt x="1735" y="1148"/>
                  </a:lnTo>
                  <a:lnTo>
                    <a:pt x="1742" y="1144"/>
                  </a:lnTo>
                  <a:lnTo>
                    <a:pt x="1750" y="1142"/>
                  </a:lnTo>
                  <a:lnTo>
                    <a:pt x="1753" y="1136"/>
                  </a:lnTo>
                  <a:lnTo>
                    <a:pt x="1753" y="1129"/>
                  </a:lnTo>
                  <a:lnTo>
                    <a:pt x="1751" y="1120"/>
                  </a:lnTo>
                  <a:lnTo>
                    <a:pt x="1751" y="1120"/>
                  </a:lnTo>
                  <a:lnTo>
                    <a:pt x="1744" y="1097"/>
                  </a:lnTo>
                  <a:lnTo>
                    <a:pt x="1738" y="1080"/>
                  </a:lnTo>
                  <a:lnTo>
                    <a:pt x="1738" y="1073"/>
                  </a:lnTo>
                  <a:lnTo>
                    <a:pt x="1742" y="1067"/>
                  </a:lnTo>
                  <a:lnTo>
                    <a:pt x="1753" y="1062"/>
                  </a:lnTo>
                  <a:lnTo>
                    <a:pt x="1759" y="1056"/>
                  </a:lnTo>
                  <a:lnTo>
                    <a:pt x="1763" y="1045"/>
                  </a:lnTo>
                  <a:lnTo>
                    <a:pt x="1763" y="1045"/>
                  </a:lnTo>
                  <a:lnTo>
                    <a:pt x="1768" y="1024"/>
                  </a:lnTo>
                  <a:lnTo>
                    <a:pt x="1770" y="1015"/>
                  </a:lnTo>
                  <a:lnTo>
                    <a:pt x="1768" y="1008"/>
                  </a:lnTo>
                  <a:lnTo>
                    <a:pt x="1766" y="1002"/>
                  </a:lnTo>
                  <a:lnTo>
                    <a:pt x="1765" y="998"/>
                  </a:lnTo>
                  <a:lnTo>
                    <a:pt x="1755" y="991"/>
                  </a:lnTo>
                  <a:lnTo>
                    <a:pt x="1742" y="983"/>
                  </a:lnTo>
                  <a:lnTo>
                    <a:pt x="1725" y="978"/>
                  </a:lnTo>
                  <a:lnTo>
                    <a:pt x="1708" y="968"/>
                  </a:lnTo>
                  <a:lnTo>
                    <a:pt x="1688" y="955"/>
                  </a:lnTo>
                  <a:lnTo>
                    <a:pt x="1688" y="955"/>
                  </a:lnTo>
                  <a:lnTo>
                    <a:pt x="1665" y="940"/>
                  </a:lnTo>
                  <a:lnTo>
                    <a:pt x="1647" y="931"/>
                  </a:lnTo>
                  <a:lnTo>
                    <a:pt x="1632" y="925"/>
                  </a:lnTo>
                  <a:lnTo>
                    <a:pt x="1621" y="923"/>
                  </a:lnTo>
                  <a:lnTo>
                    <a:pt x="1613" y="920"/>
                  </a:lnTo>
                  <a:lnTo>
                    <a:pt x="1611" y="916"/>
                  </a:lnTo>
                  <a:lnTo>
                    <a:pt x="1609" y="912"/>
                  </a:lnTo>
                  <a:lnTo>
                    <a:pt x="1606" y="903"/>
                  </a:lnTo>
                  <a:lnTo>
                    <a:pt x="1608" y="886"/>
                  </a:lnTo>
                  <a:lnTo>
                    <a:pt x="1608" y="886"/>
                  </a:lnTo>
                  <a:lnTo>
                    <a:pt x="1576" y="888"/>
                  </a:lnTo>
                  <a:lnTo>
                    <a:pt x="1555" y="888"/>
                  </a:lnTo>
                  <a:lnTo>
                    <a:pt x="1542" y="886"/>
                  </a:lnTo>
                  <a:lnTo>
                    <a:pt x="1537" y="888"/>
                  </a:lnTo>
                  <a:lnTo>
                    <a:pt x="1535" y="888"/>
                  </a:lnTo>
                  <a:lnTo>
                    <a:pt x="1535" y="890"/>
                  </a:lnTo>
                  <a:lnTo>
                    <a:pt x="1535" y="897"/>
                  </a:lnTo>
                  <a:lnTo>
                    <a:pt x="1535" y="909"/>
                  </a:lnTo>
                  <a:lnTo>
                    <a:pt x="1535" y="927"/>
                  </a:lnTo>
                  <a:lnTo>
                    <a:pt x="1535" y="927"/>
                  </a:lnTo>
                  <a:lnTo>
                    <a:pt x="1533" y="933"/>
                  </a:lnTo>
                  <a:lnTo>
                    <a:pt x="1527" y="938"/>
                  </a:lnTo>
                  <a:lnTo>
                    <a:pt x="1516" y="948"/>
                  </a:lnTo>
                  <a:lnTo>
                    <a:pt x="1512" y="952"/>
                  </a:lnTo>
                  <a:lnTo>
                    <a:pt x="1508" y="957"/>
                  </a:lnTo>
                  <a:lnTo>
                    <a:pt x="1507" y="961"/>
                  </a:lnTo>
                  <a:lnTo>
                    <a:pt x="1510" y="966"/>
                  </a:lnTo>
                  <a:lnTo>
                    <a:pt x="1510" y="966"/>
                  </a:lnTo>
                  <a:lnTo>
                    <a:pt x="1518" y="974"/>
                  </a:lnTo>
                  <a:lnTo>
                    <a:pt x="1518" y="981"/>
                  </a:lnTo>
                  <a:lnTo>
                    <a:pt x="1518" y="987"/>
                  </a:lnTo>
                  <a:lnTo>
                    <a:pt x="1514" y="991"/>
                  </a:lnTo>
                  <a:lnTo>
                    <a:pt x="1512" y="994"/>
                  </a:lnTo>
                  <a:lnTo>
                    <a:pt x="1512" y="998"/>
                  </a:lnTo>
                  <a:lnTo>
                    <a:pt x="1516" y="1000"/>
                  </a:lnTo>
                  <a:lnTo>
                    <a:pt x="1523" y="1000"/>
                  </a:lnTo>
                  <a:lnTo>
                    <a:pt x="1523" y="1000"/>
                  </a:lnTo>
                  <a:lnTo>
                    <a:pt x="1535" y="1002"/>
                  </a:lnTo>
                  <a:lnTo>
                    <a:pt x="1544" y="1006"/>
                  </a:lnTo>
                  <a:lnTo>
                    <a:pt x="1551" y="1009"/>
                  </a:lnTo>
                  <a:lnTo>
                    <a:pt x="1557" y="1015"/>
                  </a:lnTo>
                  <a:lnTo>
                    <a:pt x="1561" y="1023"/>
                  </a:lnTo>
                  <a:lnTo>
                    <a:pt x="1563" y="1028"/>
                  </a:lnTo>
                  <a:lnTo>
                    <a:pt x="1565" y="1036"/>
                  </a:lnTo>
                  <a:lnTo>
                    <a:pt x="1565" y="1043"/>
                  </a:lnTo>
                  <a:lnTo>
                    <a:pt x="1563" y="1058"/>
                  </a:lnTo>
                  <a:lnTo>
                    <a:pt x="1557" y="1069"/>
                  </a:lnTo>
                  <a:lnTo>
                    <a:pt x="1553" y="1073"/>
                  </a:lnTo>
                  <a:lnTo>
                    <a:pt x="1550" y="1077"/>
                  </a:lnTo>
                  <a:lnTo>
                    <a:pt x="1546" y="1079"/>
                  </a:lnTo>
                  <a:lnTo>
                    <a:pt x="1540" y="1080"/>
                  </a:lnTo>
                  <a:lnTo>
                    <a:pt x="1540" y="1080"/>
                  </a:lnTo>
                  <a:lnTo>
                    <a:pt x="1531" y="1079"/>
                  </a:lnTo>
                  <a:lnTo>
                    <a:pt x="1525" y="1077"/>
                  </a:lnTo>
                  <a:lnTo>
                    <a:pt x="1520" y="1075"/>
                  </a:lnTo>
                  <a:lnTo>
                    <a:pt x="1516" y="1075"/>
                  </a:lnTo>
                  <a:lnTo>
                    <a:pt x="1512" y="1077"/>
                  </a:lnTo>
                  <a:lnTo>
                    <a:pt x="1510" y="1080"/>
                  </a:lnTo>
                  <a:lnTo>
                    <a:pt x="1505" y="1107"/>
                  </a:lnTo>
                  <a:lnTo>
                    <a:pt x="1505" y="1107"/>
                  </a:lnTo>
                  <a:lnTo>
                    <a:pt x="1507" y="1112"/>
                  </a:lnTo>
                  <a:lnTo>
                    <a:pt x="1510" y="1123"/>
                  </a:lnTo>
                  <a:lnTo>
                    <a:pt x="1510" y="1131"/>
                  </a:lnTo>
                  <a:lnTo>
                    <a:pt x="1508" y="1135"/>
                  </a:lnTo>
                  <a:lnTo>
                    <a:pt x="1503" y="1138"/>
                  </a:lnTo>
                  <a:lnTo>
                    <a:pt x="1495" y="1140"/>
                  </a:lnTo>
                  <a:lnTo>
                    <a:pt x="1495" y="1140"/>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3" name="Freeform 53">
              <a:extLst>
                <a:ext uri="{FF2B5EF4-FFF2-40B4-BE49-F238E27FC236}">
                  <a16:creationId xmlns:a16="http://schemas.microsoft.com/office/drawing/2014/main" id="{ADB04611-DF6F-4EB5-952B-5E5118FF120E}"/>
                </a:ext>
              </a:extLst>
            </p:cNvPr>
            <p:cNvSpPr>
              <a:spLocks/>
            </p:cNvSpPr>
            <p:nvPr/>
          </p:nvSpPr>
          <p:spPr bwMode="auto">
            <a:xfrm>
              <a:off x="5098831" y="4368481"/>
              <a:ext cx="877448" cy="544999"/>
            </a:xfrm>
            <a:custGeom>
              <a:avLst/>
              <a:gdLst/>
              <a:ahLst/>
              <a:cxnLst>
                <a:cxn ang="0">
                  <a:pos x="140" y="144"/>
                </a:cxn>
                <a:cxn ang="0">
                  <a:pos x="142" y="189"/>
                </a:cxn>
                <a:cxn ang="0">
                  <a:pos x="160" y="225"/>
                </a:cxn>
                <a:cxn ang="0">
                  <a:pos x="172" y="243"/>
                </a:cxn>
                <a:cxn ang="0">
                  <a:pos x="216" y="294"/>
                </a:cxn>
                <a:cxn ang="0">
                  <a:pos x="200" y="344"/>
                </a:cxn>
                <a:cxn ang="0">
                  <a:pos x="149" y="361"/>
                </a:cxn>
                <a:cxn ang="0">
                  <a:pos x="82" y="383"/>
                </a:cxn>
                <a:cxn ang="0">
                  <a:pos x="52" y="393"/>
                </a:cxn>
                <a:cxn ang="0">
                  <a:pos x="2" y="404"/>
                </a:cxn>
                <a:cxn ang="0">
                  <a:pos x="16" y="451"/>
                </a:cxn>
                <a:cxn ang="0">
                  <a:pos x="3" y="499"/>
                </a:cxn>
                <a:cxn ang="0">
                  <a:pos x="26" y="492"/>
                </a:cxn>
                <a:cxn ang="0">
                  <a:pos x="52" y="537"/>
                </a:cxn>
                <a:cxn ang="0">
                  <a:pos x="84" y="570"/>
                </a:cxn>
                <a:cxn ang="0">
                  <a:pos x="106" y="578"/>
                </a:cxn>
                <a:cxn ang="0">
                  <a:pos x="183" y="503"/>
                </a:cxn>
                <a:cxn ang="0">
                  <a:pos x="235" y="514"/>
                </a:cxn>
                <a:cxn ang="0">
                  <a:pos x="273" y="494"/>
                </a:cxn>
                <a:cxn ang="0">
                  <a:pos x="287" y="458"/>
                </a:cxn>
                <a:cxn ang="0">
                  <a:pos x="323" y="458"/>
                </a:cxn>
                <a:cxn ang="0">
                  <a:pos x="411" y="482"/>
                </a:cxn>
                <a:cxn ang="0">
                  <a:pos x="489" y="525"/>
                </a:cxn>
                <a:cxn ang="0">
                  <a:pos x="540" y="510"/>
                </a:cxn>
                <a:cxn ang="0">
                  <a:pos x="573" y="495"/>
                </a:cxn>
                <a:cxn ang="0">
                  <a:pos x="577" y="542"/>
                </a:cxn>
                <a:cxn ang="0">
                  <a:pos x="639" y="482"/>
                </a:cxn>
                <a:cxn ang="0">
                  <a:pos x="659" y="514"/>
                </a:cxn>
                <a:cxn ang="0">
                  <a:pos x="659" y="578"/>
                </a:cxn>
                <a:cxn ang="0">
                  <a:pos x="702" y="578"/>
                </a:cxn>
                <a:cxn ang="0">
                  <a:pos x="775" y="540"/>
                </a:cxn>
                <a:cxn ang="0">
                  <a:pos x="828" y="509"/>
                </a:cxn>
                <a:cxn ang="0">
                  <a:pos x="844" y="501"/>
                </a:cxn>
                <a:cxn ang="0">
                  <a:pos x="882" y="477"/>
                </a:cxn>
                <a:cxn ang="0">
                  <a:pos x="914" y="471"/>
                </a:cxn>
                <a:cxn ang="0">
                  <a:pos x="966" y="466"/>
                </a:cxn>
                <a:cxn ang="0">
                  <a:pos x="936" y="400"/>
                </a:cxn>
                <a:cxn ang="0">
                  <a:pos x="912" y="344"/>
                </a:cxn>
                <a:cxn ang="0">
                  <a:pos x="938" y="297"/>
                </a:cxn>
                <a:cxn ang="0">
                  <a:pos x="876" y="271"/>
                </a:cxn>
                <a:cxn ang="0">
                  <a:pos x="839" y="243"/>
                </a:cxn>
                <a:cxn ang="0">
                  <a:pos x="809" y="238"/>
                </a:cxn>
                <a:cxn ang="0">
                  <a:pos x="760" y="223"/>
                </a:cxn>
                <a:cxn ang="0">
                  <a:pos x="689" y="202"/>
                </a:cxn>
                <a:cxn ang="0">
                  <a:pos x="650" y="165"/>
                </a:cxn>
                <a:cxn ang="0">
                  <a:pos x="643" y="112"/>
                </a:cxn>
                <a:cxn ang="0">
                  <a:pos x="590" y="124"/>
                </a:cxn>
                <a:cxn ang="0">
                  <a:pos x="536" y="122"/>
                </a:cxn>
                <a:cxn ang="0">
                  <a:pos x="482" y="127"/>
                </a:cxn>
                <a:cxn ang="0">
                  <a:pos x="398" y="94"/>
                </a:cxn>
                <a:cxn ang="0">
                  <a:pos x="345" y="41"/>
                </a:cxn>
                <a:cxn ang="0">
                  <a:pos x="314" y="0"/>
                </a:cxn>
                <a:cxn ang="0">
                  <a:pos x="256" y="2"/>
                </a:cxn>
                <a:cxn ang="0">
                  <a:pos x="198" y="6"/>
                </a:cxn>
                <a:cxn ang="0">
                  <a:pos x="132" y="13"/>
                </a:cxn>
                <a:cxn ang="0">
                  <a:pos x="173" y="41"/>
                </a:cxn>
                <a:cxn ang="0">
                  <a:pos x="218" y="83"/>
                </a:cxn>
                <a:cxn ang="0">
                  <a:pos x="164" y="96"/>
                </a:cxn>
              </a:cxnLst>
              <a:rect l="0" t="0" r="r" b="b"/>
              <a:pathLst>
                <a:path w="966" h="600">
                  <a:moveTo>
                    <a:pt x="147" y="101"/>
                  </a:moveTo>
                  <a:lnTo>
                    <a:pt x="147" y="101"/>
                  </a:lnTo>
                  <a:lnTo>
                    <a:pt x="142" y="109"/>
                  </a:lnTo>
                  <a:lnTo>
                    <a:pt x="138" y="114"/>
                  </a:lnTo>
                  <a:lnTo>
                    <a:pt x="136" y="122"/>
                  </a:lnTo>
                  <a:lnTo>
                    <a:pt x="134" y="127"/>
                  </a:lnTo>
                  <a:lnTo>
                    <a:pt x="136" y="137"/>
                  </a:lnTo>
                  <a:lnTo>
                    <a:pt x="140" y="144"/>
                  </a:lnTo>
                  <a:lnTo>
                    <a:pt x="147" y="159"/>
                  </a:lnTo>
                  <a:lnTo>
                    <a:pt x="149" y="165"/>
                  </a:lnTo>
                  <a:lnTo>
                    <a:pt x="149" y="168"/>
                  </a:lnTo>
                  <a:lnTo>
                    <a:pt x="149" y="172"/>
                  </a:lnTo>
                  <a:lnTo>
                    <a:pt x="149" y="172"/>
                  </a:lnTo>
                  <a:lnTo>
                    <a:pt x="144" y="180"/>
                  </a:lnTo>
                  <a:lnTo>
                    <a:pt x="142" y="185"/>
                  </a:lnTo>
                  <a:lnTo>
                    <a:pt x="142" y="189"/>
                  </a:lnTo>
                  <a:lnTo>
                    <a:pt x="144" y="193"/>
                  </a:lnTo>
                  <a:lnTo>
                    <a:pt x="145" y="195"/>
                  </a:lnTo>
                  <a:lnTo>
                    <a:pt x="149" y="200"/>
                  </a:lnTo>
                  <a:lnTo>
                    <a:pt x="151" y="208"/>
                  </a:lnTo>
                  <a:lnTo>
                    <a:pt x="149" y="221"/>
                  </a:lnTo>
                  <a:lnTo>
                    <a:pt x="149" y="221"/>
                  </a:lnTo>
                  <a:lnTo>
                    <a:pt x="157" y="223"/>
                  </a:lnTo>
                  <a:lnTo>
                    <a:pt x="160" y="225"/>
                  </a:lnTo>
                  <a:lnTo>
                    <a:pt x="162" y="226"/>
                  </a:lnTo>
                  <a:lnTo>
                    <a:pt x="162" y="226"/>
                  </a:lnTo>
                  <a:lnTo>
                    <a:pt x="164" y="234"/>
                  </a:lnTo>
                  <a:lnTo>
                    <a:pt x="166" y="238"/>
                  </a:lnTo>
                  <a:lnTo>
                    <a:pt x="164" y="241"/>
                  </a:lnTo>
                  <a:lnTo>
                    <a:pt x="164" y="243"/>
                  </a:lnTo>
                  <a:lnTo>
                    <a:pt x="164" y="243"/>
                  </a:lnTo>
                  <a:lnTo>
                    <a:pt x="172" y="243"/>
                  </a:lnTo>
                  <a:lnTo>
                    <a:pt x="172" y="243"/>
                  </a:lnTo>
                  <a:lnTo>
                    <a:pt x="177" y="243"/>
                  </a:lnTo>
                  <a:lnTo>
                    <a:pt x="185" y="249"/>
                  </a:lnTo>
                  <a:lnTo>
                    <a:pt x="192" y="254"/>
                  </a:lnTo>
                  <a:lnTo>
                    <a:pt x="202" y="262"/>
                  </a:lnTo>
                  <a:lnTo>
                    <a:pt x="209" y="271"/>
                  </a:lnTo>
                  <a:lnTo>
                    <a:pt x="215" y="282"/>
                  </a:lnTo>
                  <a:lnTo>
                    <a:pt x="216" y="294"/>
                  </a:lnTo>
                  <a:lnTo>
                    <a:pt x="216" y="299"/>
                  </a:lnTo>
                  <a:lnTo>
                    <a:pt x="215" y="307"/>
                  </a:lnTo>
                  <a:lnTo>
                    <a:pt x="215" y="307"/>
                  </a:lnTo>
                  <a:lnTo>
                    <a:pt x="213" y="314"/>
                  </a:lnTo>
                  <a:lnTo>
                    <a:pt x="211" y="322"/>
                  </a:lnTo>
                  <a:lnTo>
                    <a:pt x="207" y="335"/>
                  </a:lnTo>
                  <a:lnTo>
                    <a:pt x="205" y="340"/>
                  </a:lnTo>
                  <a:lnTo>
                    <a:pt x="200" y="344"/>
                  </a:lnTo>
                  <a:lnTo>
                    <a:pt x="194" y="344"/>
                  </a:lnTo>
                  <a:lnTo>
                    <a:pt x="185" y="342"/>
                  </a:lnTo>
                  <a:lnTo>
                    <a:pt x="185" y="342"/>
                  </a:lnTo>
                  <a:lnTo>
                    <a:pt x="177" y="342"/>
                  </a:lnTo>
                  <a:lnTo>
                    <a:pt x="172" y="344"/>
                  </a:lnTo>
                  <a:lnTo>
                    <a:pt x="166" y="346"/>
                  </a:lnTo>
                  <a:lnTo>
                    <a:pt x="160" y="350"/>
                  </a:lnTo>
                  <a:lnTo>
                    <a:pt x="149" y="361"/>
                  </a:lnTo>
                  <a:lnTo>
                    <a:pt x="138" y="372"/>
                  </a:lnTo>
                  <a:lnTo>
                    <a:pt x="127" y="382"/>
                  </a:lnTo>
                  <a:lnTo>
                    <a:pt x="119" y="387"/>
                  </a:lnTo>
                  <a:lnTo>
                    <a:pt x="114" y="389"/>
                  </a:lnTo>
                  <a:lnTo>
                    <a:pt x="106" y="391"/>
                  </a:lnTo>
                  <a:lnTo>
                    <a:pt x="99" y="391"/>
                  </a:lnTo>
                  <a:lnTo>
                    <a:pt x="89" y="389"/>
                  </a:lnTo>
                  <a:lnTo>
                    <a:pt x="82" y="383"/>
                  </a:lnTo>
                  <a:lnTo>
                    <a:pt x="82" y="383"/>
                  </a:lnTo>
                  <a:lnTo>
                    <a:pt x="76" y="380"/>
                  </a:lnTo>
                  <a:lnTo>
                    <a:pt x="71" y="378"/>
                  </a:lnTo>
                  <a:lnTo>
                    <a:pt x="67" y="380"/>
                  </a:lnTo>
                  <a:lnTo>
                    <a:pt x="61" y="383"/>
                  </a:lnTo>
                  <a:lnTo>
                    <a:pt x="61" y="383"/>
                  </a:lnTo>
                  <a:lnTo>
                    <a:pt x="56" y="391"/>
                  </a:lnTo>
                  <a:lnTo>
                    <a:pt x="52" y="393"/>
                  </a:lnTo>
                  <a:lnTo>
                    <a:pt x="46" y="395"/>
                  </a:lnTo>
                  <a:lnTo>
                    <a:pt x="43" y="395"/>
                  </a:lnTo>
                  <a:lnTo>
                    <a:pt x="30" y="393"/>
                  </a:lnTo>
                  <a:lnTo>
                    <a:pt x="22" y="393"/>
                  </a:lnTo>
                  <a:lnTo>
                    <a:pt x="13" y="396"/>
                  </a:lnTo>
                  <a:lnTo>
                    <a:pt x="13" y="396"/>
                  </a:lnTo>
                  <a:lnTo>
                    <a:pt x="5" y="400"/>
                  </a:lnTo>
                  <a:lnTo>
                    <a:pt x="2" y="404"/>
                  </a:lnTo>
                  <a:lnTo>
                    <a:pt x="0" y="408"/>
                  </a:lnTo>
                  <a:lnTo>
                    <a:pt x="0" y="410"/>
                  </a:lnTo>
                  <a:lnTo>
                    <a:pt x="5" y="417"/>
                  </a:lnTo>
                  <a:lnTo>
                    <a:pt x="13" y="424"/>
                  </a:lnTo>
                  <a:lnTo>
                    <a:pt x="13" y="424"/>
                  </a:lnTo>
                  <a:lnTo>
                    <a:pt x="15" y="430"/>
                  </a:lnTo>
                  <a:lnTo>
                    <a:pt x="16" y="436"/>
                  </a:lnTo>
                  <a:lnTo>
                    <a:pt x="16" y="451"/>
                  </a:lnTo>
                  <a:lnTo>
                    <a:pt x="15" y="466"/>
                  </a:lnTo>
                  <a:lnTo>
                    <a:pt x="13" y="473"/>
                  </a:lnTo>
                  <a:lnTo>
                    <a:pt x="9" y="477"/>
                  </a:lnTo>
                  <a:lnTo>
                    <a:pt x="9" y="477"/>
                  </a:lnTo>
                  <a:lnTo>
                    <a:pt x="3" y="484"/>
                  </a:lnTo>
                  <a:lnTo>
                    <a:pt x="2" y="490"/>
                  </a:lnTo>
                  <a:lnTo>
                    <a:pt x="2" y="495"/>
                  </a:lnTo>
                  <a:lnTo>
                    <a:pt x="3" y="499"/>
                  </a:lnTo>
                  <a:lnTo>
                    <a:pt x="5" y="501"/>
                  </a:lnTo>
                  <a:lnTo>
                    <a:pt x="9" y="501"/>
                  </a:lnTo>
                  <a:lnTo>
                    <a:pt x="13" y="499"/>
                  </a:lnTo>
                  <a:lnTo>
                    <a:pt x="18" y="494"/>
                  </a:lnTo>
                  <a:lnTo>
                    <a:pt x="18" y="494"/>
                  </a:lnTo>
                  <a:lnTo>
                    <a:pt x="22" y="490"/>
                  </a:lnTo>
                  <a:lnTo>
                    <a:pt x="24" y="490"/>
                  </a:lnTo>
                  <a:lnTo>
                    <a:pt x="26" y="492"/>
                  </a:lnTo>
                  <a:lnTo>
                    <a:pt x="28" y="494"/>
                  </a:lnTo>
                  <a:lnTo>
                    <a:pt x="31" y="503"/>
                  </a:lnTo>
                  <a:lnTo>
                    <a:pt x="33" y="507"/>
                  </a:lnTo>
                  <a:lnTo>
                    <a:pt x="35" y="510"/>
                  </a:lnTo>
                  <a:lnTo>
                    <a:pt x="35" y="510"/>
                  </a:lnTo>
                  <a:lnTo>
                    <a:pt x="41" y="516"/>
                  </a:lnTo>
                  <a:lnTo>
                    <a:pt x="46" y="522"/>
                  </a:lnTo>
                  <a:lnTo>
                    <a:pt x="52" y="537"/>
                  </a:lnTo>
                  <a:lnTo>
                    <a:pt x="56" y="544"/>
                  </a:lnTo>
                  <a:lnTo>
                    <a:pt x="61" y="550"/>
                  </a:lnTo>
                  <a:lnTo>
                    <a:pt x="67" y="553"/>
                  </a:lnTo>
                  <a:lnTo>
                    <a:pt x="73" y="555"/>
                  </a:lnTo>
                  <a:lnTo>
                    <a:pt x="73" y="555"/>
                  </a:lnTo>
                  <a:lnTo>
                    <a:pt x="76" y="557"/>
                  </a:lnTo>
                  <a:lnTo>
                    <a:pt x="80" y="561"/>
                  </a:lnTo>
                  <a:lnTo>
                    <a:pt x="84" y="570"/>
                  </a:lnTo>
                  <a:lnTo>
                    <a:pt x="86" y="581"/>
                  </a:lnTo>
                  <a:lnTo>
                    <a:pt x="89" y="585"/>
                  </a:lnTo>
                  <a:lnTo>
                    <a:pt x="93" y="589"/>
                  </a:lnTo>
                  <a:lnTo>
                    <a:pt x="93" y="589"/>
                  </a:lnTo>
                  <a:lnTo>
                    <a:pt x="97" y="593"/>
                  </a:lnTo>
                  <a:lnTo>
                    <a:pt x="97" y="593"/>
                  </a:lnTo>
                  <a:lnTo>
                    <a:pt x="101" y="587"/>
                  </a:lnTo>
                  <a:lnTo>
                    <a:pt x="106" y="578"/>
                  </a:lnTo>
                  <a:lnTo>
                    <a:pt x="117" y="555"/>
                  </a:lnTo>
                  <a:lnTo>
                    <a:pt x="129" y="533"/>
                  </a:lnTo>
                  <a:lnTo>
                    <a:pt x="134" y="527"/>
                  </a:lnTo>
                  <a:lnTo>
                    <a:pt x="138" y="524"/>
                  </a:lnTo>
                  <a:lnTo>
                    <a:pt x="138" y="524"/>
                  </a:lnTo>
                  <a:lnTo>
                    <a:pt x="147" y="520"/>
                  </a:lnTo>
                  <a:lnTo>
                    <a:pt x="159" y="516"/>
                  </a:lnTo>
                  <a:lnTo>
                    <a:pt x="183" y="503"/>
                  </a:lnTo>
                  <a:lnTo>
                    <a:pt x="194" y="499"/>
                  </a:lnTo>
                  <a:lnTo>
                    <a:pt x="207" y="497"/>
                  </a:lnTo>
                  <a:lnTo>
                    <a:pt x="213" y="497"/>
                  </a:lnTo>
                  <a:lnTo>
                    <a:pt x="218" y="501"/>
                  </a:lnTo>
                  <a:lnTo>
                    <a:pt x="224" y="503"/>
                  </a:lnTo>
                  <a:lnTo>
                    <a:pt x="228" y="509"/>
                  </a:lnTo>
                  <a:lnTo>
                    <a:pt x="228" y="509"/>
                  </a:lnTo>
                  <a:lnTo>
                    <a:pt x="235" y="514"/>
                  </a:lnTo>
                  <a:lnTo>
                    <a:pt x="244" y="516"/>
                  </a:lnTo>
                  <a:lnTo>
                    <a:pt x="252" y="516"/>
                  </a:lnTo>
                  <a:lnTo>
                    <a:pt x="259" y="512"/>
                  </a:lnTo>
                  <a:lnTo>
                    <a:pt x="271" y="505"/>
                  </a:lnTo>
                  <a:lnTo>
                    <a:pt x="274" y="501"/>
                  </a:lnTo>
                  <a:lnTo>
                    <a:pt x="274" y="501"/>
                  </a:lnTo>
                  <a:lnTo>
                    <a:pt x="274" y="497"/>
                  </a:lnTo>
                  <a:lnTo>
                    <a:pt x="273" y="494"/>
                  </a:lnTo>
                  <a:lnTo>
                    <a:pt x="267" y="488"/>
                  </a:lnTo>
                  <a:lnTo>
                    <a:pt x="265" y="482"/>
                  </a:lnTo>
                  <a:lnTo>
                    <a:pt x="263" y="479"/>
                  </a:lnTo>
                  <a:lnTo>
                    <a:pt x="261" y="471"/>
                  </a:lnTo>
                  <a:lnTo>
                    <a:pt x="261" y="462"/>
                  </a:lnTo>
                  <a:lnTo>
                    <a:pt x="261" y="462"/>
                  </a:lnTo>
                  <a:lnTo>
                    <a:pt x="274" y="460"/>
                  </a:lnTo>
                  <a:lnTo>
                    <a:pt x="287" y="458"/>
                  </a:lnTo>
                  <a:lnTo>
                    <a:pt x="287" y="458"/>
                  </a:lnTo>
                  <a:lnTo>
                    <a:pt x="291" y="454"/>
                  </a:lnTo>
                  <a:lnTo>
                    <a:pt x="295" y="453"/>
                  </a:lnTo>
                  <a:lnTo>
                    <a:pt x="299" y="453"/>
                  </a:lnTo>
                  <a:lnTo>
                    <a:pt x="304" y="453"/>
                  </a:lnTo>
                  <a:lnTo>
                    <a:pt x="316" y="456"/>
                  </a:lnTo>
                  <a:lnTo>
                    <a:pt x="323" y="458"/>
                  </a:lnTo>
                  <a:lnTo>
                    <a:pt x="323" y="458"/>
                  </a:lnTo>
                  <a:lnTo>
                    <a:pt x="334" y="460"/>
                  </a:lnTo>
                  <a:lnTo>
                    <a:pt x="344" y="464"/>
                  </a:lnTo>
                  <a:lnTo>
                    <a:pt x="362" y="471"/>
                  </a:lnTo>
                  <a:lnTo>
                    <a:pt x="381" y="477"/>
                  </a:lnTo>
                  <a:lnTo>
                    <a:pt x="390" y="481"/>
                  </a:lnTo>
                  <a:lnTo>
                    <a:pt x="401" y="481"/>
                  </a:lnTo>
                  <a:lnTo>
                    <a:pt x="401" y="481"/>
                  </a:lnTo>
                  <a:lnTo>
                    <a:pt x="411" y="482"/>
                  </a:lnTo>
                  <a:lnTo>
                    <a:pt x="422" y="484"/>
                  </a:lnTo>
                  <a:lnTo>
                    <a:pt x="444" y="495"/>
                  </a:lnTo>
                  <a:lnTo>
                    <a:pt x="465" y="507"/>
                  </a:lnTo>
                  <a:lnTo>
                    <a:pt x="476" y="516"/>
                  </a:lnTo>
                  <a:lnTo>
                    <a:pt x="476" y="516"/>
                  </a:lnTo>
                  <a:lnTo>
                    <a:pt x="480" y="522"/>
                  </a:lnTo>
                  <a:lnTo>
                    <a:pt x="486" y="525"/>
                  </a:lnTo>
                  <a:lnTo>
                    <a:pt x="489" y="525"/>
                  </a:lnTo>
                  <a:lnTo>
                    <a:pt x="493" y="524"/>
                  </a:lnTo>
                  <a:lnTo>
                    <a:pt x="502" y="520"/>
                  </a:lnTo>
                  <a:lnTo>
                    <a:pt x="508" y="518"/>
                  </a:lnTo>
                  <a:lnTo>
                    <a:pt x="514" y="518"/>
                  </a:lnTo>
                  <a:lnTo>
                    <a:pt x="514" y="518"/>
                  </a:lnTo>
                  <a:lnTo>
                    <a:pt x="527" y="516"/>
                  </a:lnTo>
                  <a:lnTo>
                    <a:pt x="534" y="514"/>
                  </a:lnTo>
                  <a:lnTo>
                    <a:pt x="540" y="510"/>
                  </a:lnTo>
                  <a:lnTo>
                    <a:pt x="544" y="507"/>
                  </a:lnTo>
                  <a:lnTo>
                    <a:pt x="547" y="497"/>
                  </a:lnTo>
                  <a:lnTo>
                    <a:pt x="549" y="495"/>
                  </a:lnTo>
                  <a:lnTo>
                    <a:pt x="555" y="492"/>
                  </a:lnTo>
                  <a:lnTo>
                    <a:pt x="555" y="492"/>
                  </a:lnTo>
                  <a:lnTo>
                    <a:pt x="564" y="492"/>
                  </a:lnTo>
                  <a:lnTo>
                    <a:pt x="570" y="492"/>
                  </a:lnTo>
                  <a:lnTo>
                    <a:pt x="573" y="495"/>
                  </a:lnTo>
                  <a:lnTo>
                    <a:pt x="573" y="499"/>
                  </a:lnTo>
                  <a:lnTo>
                    <a:pt x="572" y="510"/>
                  </a:lnTo>
                  <a:lnTo>
                    <a:pt x="570" y="518"/>
                  </a:lnTo>
                  <a:lnTo>
                    <a:pt x="570" y="518"/>
                  </a:lnTo>
                  <a:lnTo>
                    <a:pt x="570" y="529"/>
                  </a:lnTo>
                  <a:lnTo>
                    <a:pt x="572" y="537"/>
                  </a:lnTo>
                  <a:lnTo>
                    <a:pt x="573" y="540"/>
                  </a:lnTo>
                  <a:lnTo>
                    <a:pt x="577" y="542"/>
                  </a:lnTo>
                  <a:lnTo>
                    <a:pt x="583" y="542"/>
                  </a:lnTo>
                  <a:lnTo>
                    <a:pt x="586" y="540"/>
                  </a:lnTo>
                  <a:lnTo>
                    <a:pt x="598" y="533"/>
                  </a:lnTo>
                  <a:lnTo>
                    <a:pt x="609" y="520"/>
                  </a:lnTo>
                  <a:lnTo>
                    <a:pt x="620" y="509"/>
                  </a:lnTo>
                  <a:lnTo>
                    <a:pt x="633" y="488"/>
                  </a:lnTo>
                  <a:lnTo>
                    <a:pt x="633" y="488"/>
                  </a:lnTo>
                  <a:lnTo>
                    <a:pt x="639" y="482"/>
                  </a:lnTo>
                  <a:lnTo>
                    <a:pt x="643" y="481"/>
                  </a:lnTo>
                  <a:lnTo>
                    <a:pt x="643" y="481"/>
                  </a:lnTo>
                  <a:lnTo>
                    <a:pt x="643" y="484"/>
                  </a:lnTo>
                  <a:lnTo>
                    <a:pt x="643" y="495"/>
                  </a:lnTo>
                  <a:lnTo>
                    <a:pt x="643" y="501"/>
                  </a:lnTo>
                  <a:lnTo>
                    <a:pt x="646" y="505"/>
                  </a:lnTo>
                  <a:lnTo>
                    <a:pt x="646" y="505"/>
                  </a:lnTo>
                  <a:lnTo>
                    <a:pt x="659" y="514"/>
                  </a:lnTo>
                  <a:lnTo>
                    <a:pt x="667" y="522"/>
                  </a:lnTo>
                  <a:lnTo>
                    <a:pt x="669" y="529"/>
                  </a:lnTo>
                  <a:lnTo>
                    <a:pt x="669" y="535"/>
                  </a:lnTo>
                  <a:lnTo>
                    <a:pt x="663" y="552"/>
                  </a:lnTo>
                  <a:lnTo>
                    <a:pt x="659" y="561"/>
                  </a:lnTo>
                  <a:lnTo>
                    <a:pt x="659" y="576"/>
                  </a:lnTo>
                  <a:lnTo>
                    <a:pt x="659" y="576"/>
                  </a:lnTo>
                  <a:lnTo>
                    <a:pt x="659" y="578"/>
                  </a:lnTo>
                  <a:lnTo>
                    <a:pt x="661" y="581"/>
                  </a:lnTo>
                  <a:lnTo>
                    <a:pt x="671" y="587"/>
                  </a:lnTo>
                  <a:lnTo>
                    <a:pt x="682" y="593"/>
                  </a:lnTo>
                  <a:lnTo>
                    <a:pt x="695" y="600"/>
                  </a:lnTo>
                  <a:lnTo>
                    <a:pt x="695" y="600"/>
                  </a:lnTo>
                  <a:lnTo>
                    <a:pt x="695" y="591"/>
                  </a:lnTo>
                  <a:lnTo>
                    <a:pt x="699" y="583"/>
                  </a:lnTo>
                  <a:lnTo>
                    <a:pt x="702" y="578"/>
                  </a:lnTo>
                  <a:lnTo>
                    <a:pt x="706" y="574"/>
                  </a:lnTo>
                  <a:lnTo>
                    <a:pt x="719" y="566"/>
                  </a:lnTo>
                  <a:lnTo>
                    <a:pt x="727" y="561"/>
                  </a:lnTo>
                  <a:lnTo>
                    <a:pt x="732" y="555"/>
                  </a:lnTo>
                  <a:lnTo>
                    <a:pt x="732" y="555"/>
                  </a:lnTo>
                  <a:lnTo>
                    <a:pt x="755" y="548"/>
                  </a:lnTo>
                  <a:lnTo>
                    <a:pt x="775" y="540"/>
                  </a:lnTo>
                  <a:lnTo>
                    <a:pt x="775" y="540"/>
                  </a:lnTo>
                  <a:lnTo>
                    <a:pt x="783" y="540"/>
                  </a:lnTo>
                  <a:lnTo>
                    <a:pt x="788" y="538"/>
                  </a:lnTo>
                  <a:lnTo>
                    <a:pt x="800" y="533"/>
                  </a:lnTo>
                  <a:lnTo>
                    <a:pt x="807" y="527"/>
                  </a:lnTo>
                  <a:lnTo>
                    <a:pt x="814" y="520"/>
                  </a:lnTo>
                  <a:lnTo>
                    <a:pt x="820" y="512"/>
                  </a:lnTo>
                  <a:lnTo>
                    <a:pt x="824" y="509"/>
                  </a:lnTo>
                  <a:lnTo>
                    <a:pt x="828" y="509"/>
                  </a:lnTo>
                  <a:lnTo>
                    <a:pt x="829" y="509"/>
                  </a:lnTo>
                  <a:lnTo>
                    <a:pt x="837" y="514"/>
                  </a:lnTo>
                  <a:lnTo>
                    <a:pt x="837" y="514"/>
                  </a:lnTo>
                  <a:lnTo>
                    <a:pt x="841" y="516"/>
                  </a:lnTo>
                  <a:lnTo>
                    <a:pt x="843" y="516"/>
                  </a:lnTo>
                  <a:lnTo>
                    <a:pt x="843" y="514"/>
                  </a:lnTo>
                  <a:lnTo>
                    <a:pt x="844" y="510"/>
                  </a:lnTo>
                  <a:lnTo>
                    <a:pt x="844" y="501"/>
                  </a:lnTo>
                  <a:lnTo>
                    <a:pt x="848" y="499"/>
                  </a:lnTo>
                  <a:lnTo>
                    <a:pt x="852" y="497"/>
                  </a:lnTo>
                  <a:lnTo>
                    <a:pt x="852" y="497"/>
                  </a:lnTo>
                  <a:lnTo>
                    <a:pt x="863" y="495"/>
                  </a:lnTo>
                  <a:lnTo>
                    <a:pt x="872" y="494"/>
                  </a:lnTo>
                  <a:lnTo>
                    <a:pt x="876" y="490"/>
                  </a:lnTo>
                  <a:lnTo>
                    <a:pt x="880" y="486"/>
                  </a:lnTo>
                  <a:lnTo>
                    <a:pt x="882" y="477"/>
                  </a:lnTo>
                  <a:lnTo>
                    <a:pt x="884" y="473"/>
                  </a:lnTo>
                  <a:lnTo>
                    <a:pt x="887" y="469"/>
                  </a:lnTo>
                  <a:lnTo>
                    <a:pt x="887" y="469"/>
                  </a:lnTo>
                  <a:lnTo>
                    <a:pt x="895" y="466"/>
                  </a:lnTo>
                  <a:lnTo>
                    <a:pt x="900" y="466"/>
                  </a:lnTo>
                  <a:lnTo>
                    <a:pt x="904" y="466"/>
                  </a:lnTo>
                  <a:lnTo>
                    <a:pt x="908" y="466"/>
                  </a:lnTo>
                  <a:lnTo>
                    <a:pt x="914" y="471"/>
                  </a:lnTo>
                  <a:lnTo>
                    <a:pt x="921" y="477"/>
                  </a:lnTo>
                  <a:lnTo>
                    <a:pt x="927" y="481"/>
                  </a:lnTo>
                  <a:lnTo>
                    <a:pt x="930" y="482"/>
                  </a:lnTo>
                  <a:lnTo>
                    <a:pt x="936" y="482"/>
                  </a:lnTo>
                  <a:lnTo>
                    <a:pt x="942" y="481"/>
                  </a:lnTo>
                  <a:lnTo>
                    <a:pt x="947" y="479"/>
                  </a:lnTo>
                  <a:lnTo>
                    <a:pt x="966" y="466"/>
                  </a:lnTo>
                  <a:lnTo>
                    <a:pt x="966" y="466"/>
                  </a:lnTo>
                  <a:lnTo>
                    <a:pt x="960" y="458"/>
                  </a:lnTo>
                  <a:lnTo>
                    <a:pt x="957" y="447"/>
                  </a:lnTo>
                  <a:lnTo>
                    <a:pt x="957" y="447"/>
                  </a:lnTo>
                  <a:lnTo>
                    <a:pt x="951" y="424"/>
                  </a:lnTo>
                  <a:lnTo>
                    <a:pt x="945" y="410"/>
                  </a:lnTo>
                  <a:lnTo>
                    <a:pt x="942" y="402"/>
                  </a:lnTo>
                  <a:lnTo>
                    <a:pt x="938" y="400"/>
                  </a:lnTo>
                  <a:lnTo>
                    <a:pt x="936" y="400"/>
                  </a:lnTo>
                  <a:lnTo>
                    <a:pt x="932" y="398"/>
                  </a:lnTo>
                  <a:lnTo>
                    <a:pt x="930" y="395"/>
                  </a:lnTo>
                  <a:lnTo>
                    <a:pt x="928" y="387"/>
                  </a:lnTo>
                  <a:lnTo>
                    <a:pt x="928" y="387"/>
                  </a:lnTo>
                  <a:lnTo>
                    <a:pt x="927" y="380"/>
                  </a:lnTo>
                  <a:lnTo>
                    <a:pt x="925" y="372"/>
                  </a:lnTo>
                  <a:lnTo>
                    <a:pt x="917" y="357"/>
                  </a:lnTo>
                  <a:lnTo>
                    <a:pt x="912" y="344"/>
                  </a:lnTo>
                  <a:lnTo>
                    <a:pt x="912" y="337"/>
                  </a:lnTo>
                  <a:lnTo>
                    <a:pt x="914" y="331"/>
                  </a:lnTo>
                  <a:lnTo>
                    <a:pt x="914" y="331"/>
                  </a:lnTo>
                  <a:lnTo>
                    <a:pt x="921" y="320"/>
                  </a:lnTo>
                  <a:lnTo>
                    <a:pt x="928" y="310"/>
                  </a:lnTo>
                  <a:lnTo>
                    <a:pt x="938" y="303"/>
                  </a:lnTo>
                  <a:lnTo>
                    <a:pt x="940" y="299"/>
                  </a:lnTo>
                  <a:lnTo>
                    <a:pt x="938" y="297"/>
                  </a:lnTo>
                  <a:lnTo>
                    <a:pt x="925" y="286"/>
                  </a:lnTo>
                  <a:lnTo>
                    <a:pt x="925" y="286"/>
                  </a:lnTo>
                  <a:lnTo>
                    <a:pt x="917" y="281"/>
                  </a:lnTo>
                  <a:lnTo>
                    <a:pt x="910" y="279"/>
                  </a:lnTo>
                  <a:lnTo>
                    <a:pt x="895" y="275"/>
                  </a:lnTo>
                  <a:lnTo>
                    <a:pt x="884" y="275"/>
                  </a:lnTo>
                  <a:lnTo>
                    <a:pt x="878" y="273"/>
                  </a:lnTo>
                  <a:lnTo>
                    <a:pt x="876" y="271"/>
                  </a:lnTo>
                  <a:lnTo>
                    <a:pt x="876" y="271"/>
                  </a:lnTo>
                  <a:lnTo>
                    <a:pt x="871" y="264"/>
                  </a:lnTo>
                  <a:lnTo>
                    <a:pt x="865" y="258"/>
                  </a:lnTo>
                  <a:lnTo>
                    <a:pt x="852" y="251"/>
                  </a:lnTo>
                  <a:lnTo>
                    <a:pt x="852" y="251"/>
                  </a:lnTo>
                  <a:lnTo>
                    <a:pt x="843" y="247"/>
                  </a:lnTo>
                  <a:lnTo>
                    <a:pt x="839" y="243"/>
                  </a:lnTo>
                  <a:lnTo>
                    <a:pt x="839" y="243"/>
                  </a:lnTo>
                  <a:lnTo>
                    <a:pt x="835" y="228"/>
                  </a:lnTo>
                  <a:lnTo>
                    <a:pt x="833" y="225"/>
                  </a:lnTo>
                  <a:lnTo>
                    <a:pt x="831" y="221"/>
                  </a:lnTo>
                  <a:lnTo>
                    <a:pt x="829" y="221"/>
                  </a:lnTo>
                  <a:lnTo>
                    <a:pt x="828" y="221"/>
                  </a:lnTo>
                  <a:lnTo>
                    <a:pt x="822" y="226"/>
                  </a:lnTo>
                  <a:lnTo>
                    <a:pt x="816" y="232"/>
                  </a:lnTo>
                  <a:lnTo>
                    <a:pt x="809" y="238"/>
                  </a:lnTo>
                  <a:lnTo>
                    <a:pt x="800" y="241"/>
                  </a:lnTo>
                  <a:lnTo>
                    <a:pt x="796" y="241"/>
                  </a:lnTo>
                  <a:lnTo>
                    <a:pt x="790" y="239"/>
                  </a:lnTo>
                  <a:lnTo>
                    <a:pt x="790" y="239"/>
                  </a:lnTo>
                  <a:lnTo>
                    <a:pt x="777" y="234"/>
                  </a:lnTo>
                  <a:lnTo>
                    <a:pt x="768" y="230"/>
                  </a:lnTo>
                  <a:lnTo>
                    <a:pt x="764" y="226"/>
                  </a:lnTo>
                  <a:lnTo>
                    <a:pt x="760" y="223"/>
                  </a:lnTo>
                  <a:lnTo>
                    <a:pt x="757" y="210"/>
                  </a:lnTo>
                  <a:lnTo>
                    <a:pt x="757" y="210"/>
                  </a:lnTo>
                  <a:lnTo>
                    <a:pt x="749" y="206"/>
                  </a:lnTo>
                  <a:lnTo>
                    <a:pt x="732" y="200"/>
                  </a:lnTo>
                  <a:lnTo>
                    <a:pt x="715" y="197"/>
                  </a:lnTo>
                  <a:lnTo>
                    <a:pt x="706" y="195"/>
                  </a:lnTo>
                  <a:lnTo>
                    <a:pt x="706" y="195"/>
                  </a:lnTo>
                  <a:lnTo>
                    <a:pt x="689" y="202"/>
                  </a:lnTo>
                  <a:lnTo>
                    <a:pt x="684" y="204"/>
                  </a:lnTo>
                  <a:lnTo>
                    <a:pt x="682" y="202"/>
                  </a:lnTo>
                  <a:lnTo>
                    <a:pt x="680" y="198"/>
                  </a:lnTo>
                  <a:lnTo>
                    <a:pt x="672" y="193"/>
                  </a:lnTo>
                  <a:lnTo>
                    <a:pt x="672" y="193"/>
                  </a:lnTo>
                  <a:lnTo>
                    <a:pt x="667" y="187"/>
                  </a:lnTo>
                  <a:lnTo>
                    <a:pt x="661" y="180"/>
                  </a:lnTo>
                  <a:lnTo>
                    <a:pt x="650" y="165"/>
                  </a:lnTo>
                  <a:lnTo>
                    <a:pt x="650" y="165"/>
                  </a:lnTo>
                  <a:lnTo>
                    <a:pt x="650" y="161"/>
                  </a:lnTo>
                  <a:lnTo>
                    <a:pt x="650" y="154"/>
                  </a:lnTo>
                  <a:lnTo>
                    <a:pt x="652" y="131"/>
                  </a:lnTo>
                  <a:lnTo>
                    <a:pt x="652" y="122"/>
                  </a:lnTo>
                  <a:lnTo>
                    <a:pt x="648" y="114"/>
                  </a:lnTo>
                  <a:lnTo>
                    <a:pt x="646" y="112"/>
                  </a:lnTo>
                  <a:lnTo>
                    <a:pt x="643" y="112"/>
                  </a:lnTo>
                  <a:lnTo>
                    <a:pt x="639" y="114"/>
                  </a:lnTo>
                  <a:lnTo>
                    <a:pt x="635" y="118"/>
                  </a:lnTo>
                  <a:lnTo>
                    <a:pt x="635" y="118"/>
                  </a:lnTo>
                  <a:lnTo>
                    <a:pt x="620" y="127"/>
                  </a:lnTo>
                  <a:lnTo>
                    <a:pt x="615" y="129"/>
                  </a:lnTo>
                  <a:lnTo>
                    <a:pt x="609" y="129"/>
                  </a:lnTo>
                  <a:lnTo>
                    <a:pt x="600" y="127"/>
                  </a:lnTo>
                  <a:lnTo>
                    <a:pt x="590" y="124"/>
                  </a:lnTo>
                  <a:lnTo>
                    <a:pt x="583" y="118"/>
                  </a:lnTo>
                  <a:lnTo>
                    <a:pt x="573" y="114"/>
                  </a:lnTo>
                  <a:lnTo>
                    <a:pt x="568" y="114"/>
                  </a:lnTo>
                  <a:lnTo>
                    <a:pt x="560" y="114"/>
                  </a:lnTo>
                  <a:lnTo>
                    <a:pt x="553" y="116"/>
                  </a:lnTo>
                  <a:lnTo>
                    <a:pt x="545" y="118"/>
                  </a:lnTo>
                  <a:lnTo>
                    <a:pt x="545" y="118"/>
                  </a:lnTo>
                  <a:lnTo>
                    <a:pt x="536" y="122"/>
                  </a:lnTo>
                  <a:lnTo>
                    <a:pt x="529" y="124"/>
                  </a:lnTo>
                  <a:lnTo>
                    <a:pt x="515" y="122"/>
                  </a:lnTo>
                  <a:lnTo>
                    <a:pt x="510" y="120"/>
                  </a:lnTo>
                  <a:lnTo>
                    <a:pt x="504" y="120"/>
                  </a:lnTo>
                  <a:lnTo>
                    <a:pt x="497" y="122"/>
                  </a:lnTo>
                  <a:lnTo>
                    <a:pt x="487" y="126"/>
                  </a:lnTo>
                  <a:lnTo>
                    <a:pt x="487" y="126"/>
                  </a:lnTo>
                  <a:lnTo>
                    <a:pt x="482" y="127"/>
                  </a:lnTo>
                  <a:lnTo>
                    <a:pt x="476" y="127"/>
                  </a:lnTo>
                  <a:lnTo>
                    <a:pt x="465" y="126"/>
                  </a:lnTo>
                  <a:lnTo>
                    <a:pt x="454" y="122"/>
                  </a:lnTo>
                  <a:lnTo>
                    <a:pt x="443" y="114"/>
                  </a:lnTo>
                  <a:lnTo>
                    <a:pt x="420" y="99"/>
                  </a:lnTo>
                  <a:lnTo>
                    <a:pt x="409" y="96"/>
                  </a:lnTo>
                  <a:lnTo>
                    <a:pt x="398" y="94"/>
                  </a:lnTo>
                  <a:lnTo>
                    <a:pt x="398" y="94"/>
                  </a:lnTo>
                  <a:lnTo>
                    <a:pt x="390" y="92"/>
                  </a:lnTo>
                  <a:lnTo>
                    <a:pt x="383" y="86"/>
                  </a:lnTo>
                  <a:lnTo>
                    <a:pt x="375" y="81"/>
                  </a:lnTo>
                  <a:lnTo>
                    <a:pt x="366" y="73"/>
                  </a:lnTo>
                  <a:lnTo>
                    <a:pt x="353" y="56"/>
                  </a:lnTo>
                  <a:lnTo>
                    <a:pt x="347" y="49"/>
                  </a:lnTo>
                  <a:lnTo>
                    <a:pt x="345" y="41"/>
                  </a:lnTo>
                  <a:lnTo>
                    <a:pt x="345" y="41"/>
                  </a:lnTo>
                  <a:lnTo>
                    <a:pt x="342" y="32"/>
                  </a:lnTo>
                  <a:lnTo>
                    <a:pt x="336" y="23"/>
                  </a:lnTo>
                  <a:lnTo>
                    <a:pt x="332" y="17"/>
                  </a:lnTo>
                  <a:lnTo>
                    <a:pt x="327" y="13"/>
                  </a:lnTo>
                  <a:lnTo>
                    <a:pt x="319" y="6"/>
                  </a:lnTo>
                  <a:lnTo>
                    <a:pt x="317" y="4"/>
                  </a:lnTo>
                  <a:lnTo>
                    <a:pt x="314" y="0"/>
                  </a:lnTo>
                  <a:lnTo>
                    <a:pt x="314" y="0"/>
                  </a:lnTo>
                  <a:lnTo>
                    <a:pt x="302" y="8"/>
                  </a:lnTo>
                  <a:lnTo>
                    <a:pt x="291" y="15"/>
                  </a:lnTo>
                  <a:lnTo>
                    <a:pt x="286" y="19"/>
                  </a:lnTo>
                  <a:lnTo>
                    <a:pt x="278" y="19"/>
                  </a:lnTo>
                  <a:lnTo>
                    <a:pt x="273" y="19"/>
                  </a:lnTo>
                  <a:lnTo>
                    <a:pt x="267" y="13"/>
                  </a:lnTo>
                  <a:lnTo>
                    <a:pt x="267" y="13"/>
                  </a:lnTo>
                  <a:lnTo>
                    <a:pt x="256" y="2"/>
                  </a:lnTo>
                  <a:lnTo>
                    <a:pt x="256" y="2"/>
                  </a:lnTo>
                  <a:lnTo>
                    <a:pt x="256" y="4"/>
                  </a:lnTo>
                  <a:lnTo>
                    <a:pt x="254" y="8"/>
                  </a:lnTo>
                  <a:lnTo>
                    <a:pt x="248" y="12"/>
                  </a:lnTo>
                  <a:lnTo>
                    <a:pt x="235" y="12"/>
                  </a:lnTo>
                  <a:lnTo>
                    <a:pt x="216" y="10"/>
                  </a:lnTo>
                  <a:lnTo>
                    <a:pt x="216" y="10"/>
                  </a:lnTo>
                  <a:lnTo>
                    <a:pt x="198" y="6"/>
                  </a:lnTo>
                  <a:lnTo>
                    <a:pt x="168" y="4"/>
                  </a:lnTo>
                  <a:lnTo>
                    <a:pt x="153" y="4"/>
                  </a:lnTo>
                  <a:lnTo>
                    <a:pt x="140" y="6"/>
                  </a:lnTo>
                  <a:lnTo>
                    <a:pt x="136" y="6"/>
                  </a:lnTo>
                  <a:lnTo>
                    <a:pt x="132" y="8"/>
                  </a:lnTo>
                  <a:lnTo>
                    <a:pt x="130" y="12"/>
                  </a:lnTo>
                  <a:lnTo>
                    <a:pt x="132" y="13"/>
                  </a:lnTo>
                  <a:lnTo>
                    <a:pt x="132" y="13"/>
                  </a:lnTo>
                  <a:lnTo>
                    <a:pt x="134" y="15"/>
                  </a:lnTo>
                  <a:lnTo>
                    <a:pt x="138" y="17"/>
                  </a:lnTo>
                  <a:lnTo>
                    <a:pt x="153" y="19"/>
                  </a:lnTo>
                  <a:lnTo>
                    <a:pt x="159" y="21"/>
                  </a:lnTo>
                  <a:lnTo>
                    <a:pt x="166" y="25"/>
                  </a:lnTo>
                  <a:lnTo>
                    <a:pt x="172" y="32"/>
                  </a:lnTo>
                  <a:lnTo>
                    <a:pt x="173" y="41"/>
                  </a:lnTo>
                  <a:lnTo>
                    <a:pt x="173" y="41"/>
                  </a:lnTo>
                  <a:lnTo>
                    <a:pt x="177" y="49"/>
                  </a:lnTo>
                  <a:lnTo>
                    <a:pt x="183" y="53"/>
                  </a:lnTo>
                  <a:lnTo>
                    <a:pt x="188" y="55"/>
                  </a:lnTo>
                  <a:lnTo>
                    <a:pt x="196" y="56"/>
                  </a:lnTo>
                  <a:lnTo>
                    <a:pt x="203" y="58"/>
                  </a:lnTo>
                  <a:lnTo>
                    <a:pt x="211" y="62"/>
                  </a:lnTo>
                  <a:lnTo>
                    <a:pt x="215" y="69"/>
                  </a:lnTo>
                  <a:lnTo>
                    <a:pt x="218" y="83"/>
                  </a:lnTo>
                  <a:lnTo>
                    <a:pt x="218" y="83"/>
                  </a:lnTo>
                  <a:lnTo>
                    <a:pt x="218" y="86"/>
                  </a:lnTo>
                  <a:lnTo>
                    <a:pt x="216" y="90"/>
                  </a:lnTo>
                  <a:lnTo>
                    <a:pt x="213" y="94"/>
                  </a:lnTo>
                  <a:lnTo>
                    <a:pt x="209" y="96"/>
                  </a:lnTo>
                  <a:lnTo>
                    <a:pt x="200" y="97"/>
                  </a:lnTo>
                  <a:lnTo>
                    <a:pt x="188" y="97"/>
                  </a:lnTo>
                  <a:lnTo>
                    <a:pt x="164" y="96"/>
                  </a:lnTo>
                  <a:lnTo>
                    <a:pt x="155" y="97"/>
                  </a:lnTo>
                  <a:lnTo>
                    <a:pt x="151" y="99"/>
                  </a:lnTo>
                  <a:lnTo>
                    <a:pt x="147" y="101"/>
                  </a:lnTo>
                  <a:lnTo>
                    <a:pt x="147" y="101"/>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4" name="Freeform 54">
              <a:extLst>
                <a:ext uri="{FF2B5EF4-FFF2-40B4-BE49-F238E27FC236}">
                  <a16:creationId xmlns:a16="http://schemas.microsoft.com/office/drawing/2014/main" id="{5260C6F8-1D96-4B9A-BFBA-057B9F056B5B}"/>
                </a:ext>
              </a:extLst>
            </p:cNvPr>
            <p:cNvSpPr>
              <a:spLocks/>
            </p:cNvSpPr>
            <p:nvPr/>
          </p:nvSpPr>
          <p:spPr bwMode="auto">
            <a:xfrm>
              <a:off x="5694696" y="4757246"/>
              <a:ext cx="561349" cy="739381"/>
            </a:xfrm>
            <a:custGeom>
              <a:avLst/>
              <a:gdLst/>
              <a:ahLst/>
              <a:cxnLst>
                <a:cxn ang="0">
                  <a:pos x="76" y="260"/>
                </a:cxn>
                <a:cxn ang="0">
                  <a:pos x="56" y="290"/>
                </a:cxn>
                <a:cxn ang="0">
                  <a:pos x="28" y="329"/>
                </a:cxn>
                <a:cxn ang="0">
                  <a:pos x="11" y="361"/>
                </a:cxn>
                <a:cxn ang="0">
                  <a:pos x="9" y="411"/>
                </a:cxn>
                <a:cxn ang="0">
                  <a:pos x="41" y="419"/>
                </a:cxn>
                <a:cxn ang="0">
                  <a:pos x="37" y="458"/>
                </a:cxn>
                <a:cxn ang="0">
                  <a:pos x="39" y="503"/>
                </a:cxn>
                <a:cxn ang="0">
                  <a:pos x="65" y="522"/>
                </a:cxn>
                <a:cxn ang="0">
                  <a:pos x="67" y="551"/>
                </a:cxn>
                <a:cxn ang="0">
                  <a:pos x="67" y="585"/>
                </a:cxn>
                <a:cxn ang="0">
                  <a:pos x="89" y="570"/>
                </a:cxn>
                <a:cxn ang="0">
                  <a:pos x="71" y="596"/>
                </a:cxn>
                <a:cxn ang="0">
                  <a:pos x="59" y="671"/>
                </a:cxn>
                <a:cxn ang="0">
                  <a:pos x="76" y="710"/>
                </a:cxn>
                <a:cxn ang="0">
                  <a:pos x="138" y="692"/>
                </a:cxn>
                <a:cxn ang="0">
                  <a:pos x="157" y="731"/>
                </a:cxn>
                <a:cxn ang="0">
                  <a:pos x="123" y="768"/>
                </a:cxn>
                <a:cxn ang="0">
                  <a:pos x="97" y="806"/>
                </a:cxn>
                <a:cxn ang="0">
                  <a:pos x="158" y="809"/>
                </a:cxn>
                <a:cxn ang="0">
                  <a:pos x="198" y="791"/>
                </a:cxn>
                <a:cxn ang="0">
                  <a:pos x="237" y="779"/>
                </a:cxn>
                <a:cxn ang="0">
                  <a:pos x="301" y="807"/>
                </a:cxn>
                <a:cxn ang="0">
                  <a:pos x="304" y="789"/>
                </a:cxn>
                <a:cxn ang="0">
                  <a:pos x="315" y="749"/>
                </a:cxn>
                <a:cxn ang="0">
                  <a:pos x="330" y="654"/>
                </a:cxn>
                <a:cxn ang="0">
                  <a:pos x="360" y="593"/>
                </a:cxn>
                <a:cxn ang="0">
                  <a:pos x="381" y="565"/>
                </a:cxn>
                <a:cxn ang="0">
                  <a:pos x="385" y="535"/>
                </a:cxn>
                <a:cxn ang="0">
                  <a:pos x="398" y="516"/>
                </a:cxn>
                <a:cxn ang="0">
                  <a:pos x="392" y="454"/>
                </a:cxn>
                <a:cxn ang="0">
                  <a:pos x="443" y="426"/>
                </a:cxn>
                <a:cxn ang="0">
                  <a:pos x="452" y="381"/>
                </a:cxn>
                <a:cxn ang="0">
                  <a:pos x="444" y="344"/>
                </a:cxn>
                <a:cxn ang="0">
                  <a:pos x="486" y="301"/>
                </a:cxn>
                <a:cxn ang="0">
                  <a:pos x="506" y="297"/>
                </a:cxn>
                <a:cxn ang="0">
                  <a:pos x="545" y="290"/>
                </a:cxn>
                <a:cxn ang="0">
                  <a:pos x="575" y="277"/>
                </a:cxn>
                <a:cxn ang="0">
                  <a:pos x="598" y="267"/>
                </a:cxn>
                <a:cxn ang="0">
                  <a:pos x="616" y="236"/>
                </a:cxn>
                <a:cxn ang="0">
                  <a:pos x="605" y="200"/>
                </a:cxn>
                <a:cxn ang="0">
                  <a:pos x="551" y="125"/>
                </a:cxn>
                <a:cxn ang="0">
                  <a:pos x="555" y="96"/>
                </a:cxn>
                <a:cxn ang="0">
                  <a:pos x="553" y="66"/>
                </a:cxn>
                <a:cxn ang="0">
                  <a:pos x="482" y="56"/>
                </a:cxn>
                <a:cxn ang="0">
                  <a:pos x="465" y="28"/>
                </a:cxn>
                <a:cxn ang="0">
                  <a:pos x="444" y="23"/>
                </a:cxn>
                <a:cxn ang="0">
                  <a:pos x="428" y="19"/>
                </a:cxn>
                <a:cxn ang="0">
                  <a:pos x="426" y="34"/>
                </a:cxn>
                <a:cxn ang="0">
                  <a:pos x="385" y="67"/>
                </a:cxn>
                <a:cxn ang="0">
                  <a:pos x="373" y="54"/>
                </a:cxn>
                <a:cxn ang="0">
                  <a:pos x="398" y="17"/>
                </a:cxn>
                <a:cxn ang="0">
                  <a:pos x="373" y="0"/>
                </a:cxn>
                <a:cxn ang="0">
                  <a:pos x="317" y="39"/>
                </a:cxn>
                <a:cxn ang="0">
                  <a:pos x="280" y="54"/>
                </a:cxn>
                <a:cxn ang="0">
                  <a:pos x="248" y="38"/>
                </a:cxn>
                <a:cxn ang="0">
                  <a:pos x="226" y="49"/>
                </a:cxn>
                <a:cxn ang="0">
                  <a:pos x="196" y="69"/>
                </a:cxn>
                <a:cxn ang="0">
                  <a:pos x="185" y="88"/>
                </a:cxn>
                <a:cxn ang="0">
                  <a:pos x="164" y="84"/>
                </a:cxn>
                <a:cxn ang="0">
                  <a:pos x="119" y="112"/>
                </a:cxn>
                <a:cxn ang="0">
                  <a:pos x="63" y="138"/>
                </a:cxn>
                <a:cxn ang="0">
                  <a:pos x="39" y="172"/>
                </a:cxn>
              </a:cxnLst>
              <a:rect l="0" t="0" r="r" b="b"/>
              <a:pathLst>
                <a:path w="616" h="813">
                  <a:moveTo>
                    <a:pt x="65" y="215"/>
                  </a:moveTo>
                  <a:lnTo>
                    <a:pt x="65" y="215"/>
                  </a:lnTo>
                  <a:lnTo>
                    <a:pt x="67" y="224"/>
                  </a:lnTo>
                  <a:lnTo>
                    <a:pt x="69" y="234"/>
                  </a:lnTo>
                  <a:lnTo>
                    <a:pt x="74" y="251"/>
                  </a:lnTo>
                  <a:lnTo>
                    <a:pt x="76" y="260"/>
                  </a:lnTo>
                  <a:lnTo>
                    <a:pt x="74" y="267"/>
                  </a:lnTo>
                  <a:lnTo>
                    <a:pt x="71" y="275"/>
                  </a:lnTo>
                  <a:lnTo>
                    <a:pt x="63" y="282"/>
                  </a:lnTo>
                  <a:lnTo>
                    <a:pt x="63" y="282"/>
                  </a:lnTo>
                  <a:lnTo>
                    <a:pt x="59" y="286"/>
                  </a:lnTo>
                  <a:lnTo>
                    <a:pt x="56" y="290"/>
                  </a:lnTo>
                  <a:lnTo>
                    <a:pt x="54" y="299"/>
                  </a:lnTo>
                  <a:lnTo>
                    <a:pt x="50" y="309"/>
                  </a:lnTo>
                  <a:lnTo>
                    <a:pt x="46" y="312"/>
                  </a:lnTo>
                  <a:lnTo>
                    <a:pt x="43" y="316"/>
                  </a:lnTo>
                  <a:lnTo>
                    <a:pt x="43" y="316"/>
                  </a:lnTo>
                  <a:lnTo>
                    <a:pt x="28" y="329"/>
                  </a:lnTo>
                  <a:lnTo>
                    <a:pt x="24" y="333"/>
                  </a:lnTo>
                  <a:lnTo>
                    <a:pt x="22" y="337"/>
                  </a:lnTo>
                  <a:lnTo>
                    <a:pt x="18" y="348"/>
                  </a:lnTo>
                  <a:lnTo>
                    <a:pt x="15" y="353"/>
                  </a:lnTo>
                  <a:lnTo>
                    <a:pt x="11" y="361"/>
                  </a:lnTo>
                  <a:lnTo>
                    <a:pt x="11" y="361"/>
                  </a:lnTo>
                  <a:lnTo>
                    <a:pt x="3" y="376"/>
                  </a:lnTo>
                  <a:lnTo>
                    <a:pt x="2" y="383"/>
                  </a:lnTo>
                  <a:lnTo>
                    <a:pt x="0" y="393"/>
                  </a:lnTo>
                  <a:lnTo>
                    <a:pt x="2" y="400"/>
                  </a:lnTo>
                  <a:lnTo>
                    <a:pt x="3" y="406"/>
                  </a:lnTo>
                  <a:lnTo>
                    <a:pt x="9" y="411"/>
                  </a:lnTo>
                  <a:lnTo>
                    <a:pt x="16" y="413"/>
                  </a:lnTo>
                  <a:lnTo>
                    <a:pt x="16" y="413"/>
                  </a:lnTo>
                  <a:lnTo>
                    <a:pt x="31" y="413"/>
                  </a:lnTo>
                  <a:lnTo>
                    <a:pt x="39" y="415"/>
                  </a:lnTo>
                  <a:lnTo>
                    <a:pt x="39" y="417"/>
                  </a:lnTo>
                  <a:lnTo>
                    <a:pt x="41" y="419"/>
                  </a:lnTo>
                  <a:lnTo>
                    <a:pt x="39" y="424"/>
                  </a:lnTo>
                  <a:lnTo>
                    <a:pt x="35" y="432"/>
                  </a:lnTo>
                  <a:lnTo>
                    <a:pt x="33" y="441"/>
                  </a:lnTo>
                  <a:lnTo>
                    <a:pt x="33" y="447"/>
                  </a:lnTo>
                  <a:lnTo>
                    <a:pt x="35" y="452"/>
                  </a:lnTo>
                  <a:lnTo>
                    <a:pt x="37" y="458"/>
                  </a:lnTo>
                  <a:lnTo>
                    <a:pt x="43" y="464"/>
                  </a:lnTo>
                  <a:lnTo>
                    <a:pt x="43" y="464"/>
                  </a:lnTo>
                  <a:lnTo>
                    <a:pt x="44" y="469"/>
                  </a:lnTo>
                  <a:lnTo>
                    <a:pt x="44" y="477"/>
                  </a:lnTo>
                  <a:lnTo>
                    <a:pt x="41" y="494"/>
                  </a:lnTo>
                  <a:lnTo>
                    <a:pt x="39" y="503"/>
                  </a:lnTo>
                  <a:lnTo>
                    <a:pt x="41" y="510"/>
                  </a:lnTo>
                  <a:lnTo>
                    <a:pt x="43" y="514"/>
                  </a:lnTo>
                  <a:lnTo>
                    <a:pt x="50" y="516"/>
                  </a:lnTo>
                  <a:lnTo>
                    <a:pt x="50" y="516"/>
                  </a:lnTo>
                  <a:lnTo>
                    <a:pt x="61" y="520"/>
                  </a:lnTo>
                  <a:lnTo>
                    <a:pt x="65" y="522"/>
                  </a:lnTo>
                  <a:lnTo>
                    <a:pt x="67" y="523"/>
                  </a:lnTo>
                  <a:lnTo>
                    <a:pt x="67" y="531"/>
                  </a:lnTo>
                  <a:lnTo>
                    <a:pt x="69" y="542"/>
                  </a:lnTo>
                  <a:lnTo>
                    <a:pt x="69" y="542"/>
                  </a:lnTo>
                  <a:lnTo>
                    <a:pt x="69" y="546"/>
                  </a:lnTo>
                  <a:lnTo>
                    <a:pt x="67" y="551"/>
                  </a:lnTo>
                  <a:lnTo>
                    <a:pt x="63" y="563"/>
                  </a:lnTo>
                  <a:lnTo>
                    <a:pt x="59" y="574"/>
                  </a:lnTo>
                  <a:lnTo>
                    <a:pt x="58" y="579"/>
                  </a:lnTo>
                  <a:lnTo>
                    <a:pt x="58" y="579"/>
                  </a:lnTo>
                  <a:lnTo>
                    <a:pt x="61" y="583"/>
                  </a:lnTo>
                  <a:lnTo>
                    <a:pt x="67" y="585"/>
                  </a:lnTo>
                  <a:lnTo>
                    <a:pt x="71" y="583"/>
                  </a:lnTo>
                  <a:lnTo>
                    <a:pt x="76" y="581"/>
                  </a:lnTo>
                  <a:lnTo>
                    <a:pt x="84" y="574"/>
                  </a:lnTo>
                  <a:lnTo>
                    <a:pt x="87" y="570"/>
                  </a:lnTo>
                  <a:lnTo>
                    <a:pt x="89" y="570"/>
                  </a:lnTo>
                  <a:lnTo>
                    <a:pt x="89" y="570"/>
                  </a:lnTo>
                  <a:lnTo>
                    <a:pt x="91" y="574"/>
                  </a:lnTo>
                  <a:lnTo>
                    <a:pt x="89" y="576"/>
                  </a:lnTo>
                  <a:lnTo>
                    <a:pt x="82" y="583"/>
                  </a:lnTo>
                  <a:lnTo>
                    <a:pt x="74" y="591"/>
                  </a:lnTo>
                  <a:lnTo>
                    <a:pt x="71" y="596"/>
                  </a:lnTo>
                  <a:lnTo>
                    <a:pt x="71" y="596"/>
                  </a:lnTo>
                  <a:lnTo>
                    <a:pt x="69" y="609"/>
                  </a:lnTo>
                  <a:lnTo>
                    <a:pt x="65" y="619"/>
                  </a:lnTo>
                  <a:lnTo>
                    <a:pt x="54" y="637"/>
                  </a:lnTo>
                  <a:lnTo>
                    <a:pt x="54" y="637"/>
                  </a:lnTo>
                  <a:lnTo>
                    <a:pt x="56" y="654"/>
                  </a:lnTo>
                  <a:lnTo>
                    <a:pt x="59" y="671"/>
                  </a:lnTo>
                  <a:lnTo>
                    <a:pt x="63" y="688"/>
                  </a:lnTo>
                  <a:lnTo>
                    <a:pt x="63" y="688"/>
                  </a:lnTo>
                  <a:lnTo>
                    <a:pt x="69" y="703"/>
                  </a:lnTo>
                  <a:lnTo>
                    <a:pt x="73" y="708"/>
                  </a:lnTo>
                  <a:lnTo>
                    <a:pt x="76" y="710"/>
                  </a:lnTo>
                  <a:lnTo>
                    <a:pt x="76" y="710"/>
                  </a:lnTo>
                  <a:lnTo>
                    <a:pt x="95" y="708"/>
                  </a:lnTo>
                  <a:lnTo>
                    <a:pt x="110" y="703"/>
                  </a:lnTo>
                  <a:lnTo>
                    <a:pt x="119" y="699"/>
                  </a:lnTo>
                  <a:lnTo>
                    <a:pt x="127" y="693"/>
                  </a:lnTo>
                  <a:lnTo>
                    <a:pt x="132" y="692"/>
                  </a:lnTo>
                  <a:lnTo>
                    <a:pt x="138" y="692"/>
                  </a:lnTo>
                  <a:lnTo>
                    <a:pt x="147" y="697"/>
                  </a:lnTo>
                  <a:lnTo>
                    <a:pt x="160" y="708"/>
                  </a:lnTo>
                  <a:lnTo>
                    <a:pt x="160" y="716"/>
                  </a:lnTo>
                  <a:lnTo>
                    <a:pt x="160" y="716"/>
                  </a:lnTo>
                  <a:lnTo>
                    <a:pt x="160" y="725"/>
                  </a:lnTo>
                  <a:lnTo>
                    <a:pt x="157" y="731"/>
                  </a:lnTo>
                  <a:lnTo>
                    <a:pt x="153" y="735"/>
                  </a:lnTo>
                  <a:lnTo>
                    <a:pt x="147" y="738"/>
                  </a:lnTo>
                  <a:lnTo>
                    <a:pt x="142" y="742"/>
                  </a:lnTo>
                  <a:lnTo>
                    <a:pt x="134" y="748"/>
                  </a:lnTo>
                  <a:lnTo>
                    <a:pt x="129" y="755"/>
                  </a:lnTo>
                  <a:lnTo>
                    <a:pt x="123" y="768"/>
                  </a:lnTo>
                  <a:lnTo>
                    <a:pt x="123" y="768"/>
                  </a:lnTo>
                  <a:lnTo>
                    <a:pt x="117" y="778"/>
                  </a:lnTo>
                  <a:lnTo>
                    <a:pt x="108" y="789"/>
                  </a:lnTo>
                  <a:lnTo>
                    <a:pt x="95" y="802"/>
                  </a:lnTo>
                  <a:lnTo>
                    <a:pt x="95" y="802"/>
                  </a:lnTo>
                  <a:lnTo>
                    <a:pt x="97" y="806"/>
                  </a:lnTo>
                  <a:lnTo>
                    <a:pt x="99" y="807"/>
                  </a:lnTo>
                  <a:lnTo>
                    <a:pt x="106" y="811"/>
                  </a:lnTo>
                  <a:lnTo>
                    <a:pt x="114" y="813"/>
                  </a:lnTo>
                  <a:lnTo>
                    <a:pt x="125" y="813"/>
                  </a:lnTo>
                  <a:lnTo>
                    <a:pt x="144" y="811"/>
                  </a:lnTo>
                  <a:lnTo>
                    <a:pt x="158" y="809"/>
                  </a:lnTo>
                  <a:lnTo>
                    <a:pt x="158" y="809"/>
                  </a:lnTo>
                  <a:lnTo>
                    <a:pt x="172" y="807"/>
                  </a:lnTo>
                  <a:lnTo>
                    <a:pt x="181" y="804"/>
                  </a:lnTo>
                  <a:lnTo>
                    <a:pt x="187" y="800"/>
                  </a:lnTo>
                  <a:lnTo>
                    <a:pt x="192" y="798"/>
                  </a:lnTo>
                  <a:lnTo>
                    <a:pt x="198" y="791"/>
                  </a:lnTo>
                  <a:lnTo>
                    <a:pt x="201" y="789"/>
                  </a:lnTo>
                  <a:lnTo>
                    <a:pt x="207" y="787"/>
                  </a:lnTo>
                  <a:lnTo>
                    <a:pt x="207" y="787"/>
                  </a:lnTo>
                  <a:lnTo>
                    <a:pt x="216" y="787"/>
                  </a:lnTo>
                  <a:lnTo>
                    <a:pt x="224" y="785"/>
                  </a:lnTo>
                  <a:lnTo>
                    <a:pt x="237" y="779"/>
                  </a:lnTo>
                  <a:lnTo>
                    <a:pt x="248" y="776"/>
                  </a:lnTo>
                  <a:lnTo>
                    <a:pt x="258" y="772"/>
                  </a:lnTo>
                  <a:lnTo>
                    <a:pt x="258" y="772"/>
                  </a:lnTo>
                  <a:lnTo>
                    <a:pt x="278" y="792"/>
                  </a:lnTo>
                  <a:lnTo>
                    <a:pt x="291" y="804"/>
                  </a:lnTo>
                  <a:lnTo>
                    <a:pt x="301" y="807"/>
                  </a:lnTo>
                  <a:lnTo>
                    <a:pt x="301" y="807"/>
                  </a:lnTo>
                  <a:lnTo>
                    <a:pt x="306" y="807"/>
                  </a:lnTo>
                  <a:lnTo>
                    <a:pt x="308" y="806"/>
                  </a:lnTo>
                  <a:lnTo>
                    <a:pt x="310" y="802"/>
                  </a:lnTo>
                  <a:lnTo>
                    <a:pt x="308" y="796"/>
                  </a:lnTo>
                  <a:lnTo>
                    <a:pt x="304" y="789"/>
                  </a:lnTo>
                  <a:lnTo>
                    <a:pt x="302" y="783"/>
                  </a:lnTo>
                  <a:lnTo>
                    <a:pt x="302" y="783"/>
                  </a:lnTo>
                  <a:lnTo>
                    <a:pt x="301" y="768"/>
                  </a:lnTo>
                  <a:lnTo>
                    <a:pt x="302" y="759"/>
                  </a:lnTo>
                  <a:lnTo>
                    <a:pt x="308" y="753"/>
                  </a:lnTo>
                  <a:lnTo>
                    <a:pt x="315" y="749"/>
                  </a:lnTo>
                  <a:lnTo>
                    <a:pt x="315" y="749"/>
                  </a:lnTo>
                  <a:lnTo>
                    <a:pt x="317" y="712"/>
                  </a:lnTo>
                  <a:lnTo>
                    <a:pt x="319" y="697"/>
                  </a:lnTo>
                  <a:lnTo>
                    <a:pt x="325" y="684"/>
                  </a:lnTo>
                  <a:lnTo>
                    <a:pt x="330" y="654"/>
                  </a:lnTo>
                  <a:lnTo>
                    <a:pt x="330" y="654"/>
                  </a:lnTo>
                  <a:lnTo>
                    <a:pt x="334" y="639"/>
                  </a:lnTo>
                  <a:lnTo>
                    <a:pt x="338" y="624"/>
                  </a:lnTo>
                  <a:lnTo>
                    <a:pt x="344" y="613"/>
                  </a:lnTo>
                  <a:lnTo>
                    <a:pt x="349" y="606"/>
                  </a:lnTo>
                  <a:lnTo>
                    <a:pt x="355" y="598"/>
                  </a:lnTo>
                  <a:lnTo>
                    <a:pt x="360" y="593"/>
                  </a:lnTo>
                  <a:lnTo>
                    <a:pt x="370" y="585"/>
                  </a:lnTo>
                  <a:lnTo>
                    <a:pt x="379" y="579"/>
                  </a:lnTo>
                  <a:lnTo>
                    <a:pt x="385" y="576"/>
                  </a:lnTo>
                  <a:lnTo>
                    <a:pt x="385" y="574"/>
                  </a:lnTo>
                  <a:lnTo>
                    <a:pt x="385" y="572"/>
                  </a:lnTo>
                  <a:lnTo>
                    <a:pt x="381" y="565"/>
                  </a:lnTo>
                  <a:lnTo>
                    <a:pt x="381" y="565"/>
                  </a:lnTo>
                  <a:lnTo>
                    <a:pt x="375" y="551"/>
                  </a:lnTo>
                  <a:lnTo>
                    <a:pt x="373" y="548"/>
                  </a:lnTo>
                  <a:lnTo>
                    <a:pt x="375" y="544"/>
                  </a:lnTo>
                  <a:lnTo>
                    <a:pt x="377" y="538"/>
                  </a:lnTo>
                  <a:lnTo>
                    <a:pt x="385" y="535"/>
                  </a:lnTo>
                  <a:lnTo>
                    <a:pt x="390" y="531"/>
                  </a:lnTo>
                  <a:lnTo>
                    <a:pt x="396" y="527"/>
                  </a:lnTo>
                  <a:lnTo>
                    <a:pt x="400" y="523"/>
                  </a:lnTo>
                  <a:lnTo>
                    <a:pt x="400" y="520"/>
                  </a:lnTo>
                  <a:lnTo>
                    <a:pt x="398" y="516"/>
                  </a:lnTo>
                  <a:lnTo>
                    <a:pt x="398" y="516"/>
                  </a:lnTo>
                  <a:lnTo>
                    <a:pt x="388" y="492"/>
                  </a:lnTo>
                  <a:lnTo>
                    <a:pt x="385" y="475"/>
                  </a:lnTo>
                  <a:lnTo>
                    <a:pt x="386" y="469"/>
                  </a:lnTo>
                  <a:lnTo>
                    <a:pt x="386" y="464"/>
                  </a:lnTo>
                  <a:lnTo>
                    <a:pt x="388" y="458"/>
                  </a:lnTo>
                  <a:lnTo>
                    <a:pt x="392" y="454"/>
                  </a:lnTo>
                  <a:lnTo>
                    <a:pt x="400" y="449"/>
                  </a:lnTo>
                  <a:lnTo>
                    <a:pt x="409" y="443"/>
                  </a:lnTo>
                  <a:lnTo>
                    <a:pt x="420" y="439"/>
                  </a:lnTo>
                  <a:lnTo>
                    <a:pt x="431" y="434"/>
                  </a:lnTo>
                  <a:lnTo>
                    <a:pt x="431" y="434"/>
                  </a:lnTo>
                  <a:lnTo>
                    <a:pt x="443" y="426"/>
                  </a:lnTo>
                  <a:lnTo>
                    <a:pt x="450" y="417"/>
                  </a:lnTo>
                  <a:lnTo>
                    <a:pt x="454" y="409"/>
                  </a:lnTo>
                  <a:lnTo>
                    <a:pt x="456" y="400"/>
                  </a:lnTo>
                  <a:lnTo>
                    <a:pt x="456" y="393"/>
                  </a:lnTo>
                  <a:lnTo>
                    <a:pt x="454" y="387"/>
                  </a:lnTo>
                  <a:lnTo>
                    <a:pt x="452" y="381"/>
                  </a:lnTo>
                  <a:lnTo>
                    <a:pt x="452" y="381"/>
                  </a:lnTo>
                  <a:lnTo>
                    <a:pt x="450" y="370"/>
                  </a:lnTo>
                  <a:lnTo>
                    <a:pt x="448" y="361"/>
                  </a:lnTo>
                  <a:lnTo>
                    <a:pt x="443" y="350"/>
                  </a:lnTo>
                  <a:lnTo>
                    <a:pt x="443" y="346"/>
                  </a:lnTo>
                  <a:lnTo>
                    <a:pt x="444" y="344"/>
                  </a:lnTo>
                  <a:lnTo>
                    <a:pt x="454" y="340"/>
                  </a:lnTo>
                  <a:lnTo>
                    <a:pt x="454" y="340"/>
                  </a:lnTo>
                  <a:lnTo>
                    <a:pt x="457" y="337"/>
                  </a:lnTo>
                  <a:lnTo>
                    <a:pt x="465" y="329"/>
                  </a:lnTo>
                  <a:lnTo>
                    <a:pt x="478" y="310"/>
                  </a:lnTo>
                  <a:lnTo>
                    <a:pt x="486" y="301"/>
                  </a:lnTo>
                  <a:lnTo>
                    <a:pt x="493" y="295"/>
                  </a:lnTo>
                  <a:lnTo>
                    <a:pt x="497" y="294"/>
                  </a:lnTo>
                  <a:lnTo>
                    <a:pt x="499" y="294"/>
                  </a:lnTo>
                  <a:lnTo>
                    <a:pt x="502" y="295"/>
                  </a:lnTo>
                  <a:lnTo>
                    <a:pt x="506" y="297"/>
                  </a:lnTo>
                  <a:lnTo>
                    <a:pt x="506" y="297"/>
                  </a:lnTo>
                  <a:lnTo>
                    <a:pt x="515" y="307"/>
                  </a:lnTo>
                  <a:lnTo>
                    <a:pt x="521" y="310"/>
                  </a:lnTo>
                  <a:lnTo>
                    <a:pt x="525" y="310"/>
                  </a:lnTo>
                  <a:lnTo>
                    <a:pt x="529" y="307"/>
                  </a:lnTo>
                  <a:lnTo>
                    <a:pt x="538" y="295"/>
                  </a:lnTo>
                  <a:lnTo>
                    <a:pt x="545" y="290"/>
                  </a:lnTo>
                  <a:lnTo>
                    <a:pt x="557" y="286"/>
                  </a:lnTo>
                  <a:lnTo>
                    <a:pt x="557" y="286"/>
                  </a:lnTo>
                  <a:lnTo>
                    <a:pt x="564" y="284"/>
                  </a:lnTo>
                  <a:lnTo>
                    <a:pt x="570" y="280"/>
                  </a:lnTo>
                  <a:lnTo>
                    <a:pt x="573" y="279"/>
                  </a:lnTo>
                  <a:lnTo>
                    <a:pt x="575" y="277"/>
                  </a:lnTo>
                  <a:lnTo>
                    <a:pt x="577" y="273"/>
                  </a:lnTo>
                  <a:lnTo>
                    <a:pt x="579" y="271"/>
                  </a:lnTo>
                  <a:lnTo>
                    <a:pt x="583" y="271"/>
                  </a:lnTo>
                  <a:lnTo>
                    <a:pt x="583" y="271"/>
                  </a:lnTo>
                  <a:lnTo>
                    <a:pt x="594" y="269"/>
                  </a:lnTo>
                  <a:lnTo>
                    <a:pt x="598" y="267"/>
                  </a:lnTo>
                  <a:lnTo>
                    <a:pt x="600" y="266"/>
                  </a:lnTo>
                  <a:lnTo>
                    <a:pt x="598" y="262"/>
                  </a:lnTo>
                  <a:lnTo>
                    <a:pt x="598" y="256"/>
                  </a:lnTo>
                  <a:lnTo>
                    <a:pt x="598" y="251"/>
                  </a:lnTo>
                  <a:lnTo>
                    <a:pt x="603" y="245"/>
                  </a:lnTo>
                  <a:lnTo>
                    <a:pt x="616" y="236"/>
                  </a:lnTo>
                  <a:lnTo>
                    <a:pt x="616" y="236"/>
                  </a:lnTo>
                  <a:lnTo>
                    <a:pt x="613" y="232"/>
                  </a:lnTo>
                  <a:lnTo>
                    <a:pt x="611" y="228"/>
                  </a:lnTo>
                  <a:lnTo>
                    <a:pt x="607" y="211"/>
                  </a:lnTo>
                  <a:lnTo>
                    <a:pt x="607" y="211"/>
                  </a:lnTo>
                  <a:lnTo>
                    <a:pt x="605" y="200"/>
                  </a:lnTo>
                  <a:lnTo>
                    <a:pt x="603" y="191"/>
                  </a:lnTo>
                  <a:lnTo>
                    <a:pt x="594" y="174"/>
                  </a:lnTo>
                  <a:lnTo>
                    <a:pt x="583" y="161"/>
                  </a:lnTo>
                  <a:lnTo>
                    <a:pt x="571" y="148"/>
                  </a:lnTo>
                  <a:lnTo>
                    <a:pt x="560" y="137"/>
                  </a:lnTo>
                  <a:lnTo>
                    <a:pt x="551" y="125"/>
                  </a:lnTo>
                  <a:lnTo>
                    <a:pt x="547" y="120"/>
                  </a:lnTo>
                  <a:lnTo>
                    <a:pt x="545" y="116"/>
                  </a:lnTo>
                  <a:lnTo>
                    <a:pt x="545" y="110"/>
                  </a:lnTo>
                  <a:lnTo>
                    <a:pt x="547" y="105"/>
                  </a:lnTo>
                  <a:lnTo>
                    <a:pt x="547" y="105"/>
                  </a:lnTo>
                  <a:lnTo>
                    <a:pt x="555" y="96"/>
                  </a:lnTo>
                  <a:lnTo>
                    <a:pt x="560" y="86"/>
                  </a:lnTo>
                  <a:lnTo>
                    <a:pt x="562" y="82"/>
                  </a:lnTo>
                  <a:lnTo>
                    <a:pt x="562" y="77"/>
                  </a:lnTo>
                  <a:lnTo>
                    <a:pt x="562" y="77"/>
                  </a:lnTo>
                  <a:lnTo>
                    <a:pt x="558" y="71"/>
                  </a:lnTo>
                  <a:lnTo>
                    <a:pt x="553" y="66"/>
                  </a:lnTo>
                  <a:lnTo>
                    <a:pt x="540" y="62"/>
                  </a:lnTo>
                  <a:lnTo>
                    <a:pt x="519" y="62"/>
                  </a:lnTo>
                  <a:lnTo>
                    <a:pt x="519" y="62"/>
                  </a:lnTo>
                  <a:lnTo>
                    <a:pt x="497" y="60"/>
                  </a:lnTo>
                  <a:lnTo>
                    <a:pt x="487" y="58"/>
                  </a:lnTo>
                  <a:lnTo>
                    <a:pt x="482" y="56"/>
                  </a:lnTo>
                  <a:lnTo>
                    <a:pt x="476" y="53"/>
                  </a:lnTo>
                  <a:lnTo>
                    <a:pt x="474" y="51"/>
                  </a:lnTo>
                  <a:lnTo>
                    <a:pt x="471" y="43"/>
                  </a:lnTo>
                  <a:lnTo>
                    <a:pt x="469" y="36"/>
                  </a:lnTo>
                  <a:lnTo>
                    <a:pt x="467" y="30"/>
                  </a:lnTo>
                  <a:lnTo>
                    <a:pt x="465" y="28"/>
                  </a:lnTo>
                  <a:lnTo>
                    <a:pt x="461" y="26"/>
                  </a:lnTo>
                  <a:lnTo>
                    <a:pt x="452" y="25"/>
                  </a:lnTo>
                  <a:lnTo>
                    <a:pt x="452" y="25"/>
                  </a:lnTo>
                  <a:lnTo>
                    <a:pt x="446" y="25"/>
                  </a:lnTo>
                  <a:lnTo>
                    <a:pt x="444" y="25"/>
                  </a:lnTo>
                  <a:lnTo>
                    <a:pt x="444" y="23"/>
                  </a:lnTo>
                  <a:lnTo>
                    <a:pt x="443" y="19"/>
                  </a:lnTo>
                  <a:lnTo>
                    <a:pt x="443" y="19"/>
                  </a:lnTo>
                  <a:lnTo>
                    <a:pt x="439" y="15"/>
                  </a:lnTo>
                  <a:lnTo>
                    <a:pt x="435" y="15"/>
                  </a:lnTo>
                  <a:lnTo>
                    <a:pt x="431" y="15"/>
                  </a:lnTo>
                  <a:lnTo>
                    <a:pt x="428" y="19"/>
                  </a:lnTo>
                  <a:lnTo>
                    <a:pt x="426" y="21"/>
                  </a:lnTo>
                  <a:lnTo>
                    <a:pt x="424" y="25"/>
                  </a:lnTo>
                  <a:lnTo>
                    <a:pt x="422" y="28"/>
                  </a:lnTo>
                  <a:lnTo>
                    <a:pt x="424" y="30"/>
                  </a:lnTo>
                  <a:lnTo>
                    <a:pt x="424" y="30"/>
                  </a:lnTo>
                  <a:lnTo>
                    <a:pt x="426" y="34"/>
                  </a:lnTo>
                  <a:lnTo>
                    <a:pt x="426" y="38"/>
                  </a:lnTo>
                  <a:lnTo>
                    <a:pt x="420" y="45"/>
                  </a:lnTo>
                  <a:lnTo>
                    <a:pt x="415" y="53"/>
                  </a:lnTo>
                  <a:lnTo>
                    <a:pt x="405" y="60"/>
                  </a:lnTo>
                  <a:lnTo>
                    <a:pt x="394" y="66"/>
                  </a:lnTo>
                  <a:lnTo>
                    <a:pt x="385" y="67"/>
                  </a:lnTo>
                  <a:lnTo>
                    <a:pt x="381" y="67"/>
                  </a:lnTo>
                  <a:lnTo>
                    <a:pt x="377" y="66"/>
                  </a:lnTo>
                  <a:lnTo>
                    <a:pt x="375" y="64"/>
                  </a:lnTo>
                  <a:lnTo>
                    <a:pt x="373" y="60"/>
                  </a:lnTo>
                  <a:lnTo>
                    <a:pt x="373" y="60"/>
                  </a:lnTo>
                  <a:lnTo>
                    <a:pt x="373" y="54"/>
                  </a:lnTo>
                  <a:lnTo>
                    <a:pt x="373" y="49"/>
                  </a:lnTo>
                  <a:lnTo>
                    <a:pt x="379" y="39"/>
                  </a:lnTo>
                  <a:lnTo>
                    <a:pt x="385" y="32"/>
                  </a:lnTo>
                  <a:lnTo>
                    <a:pt x="392" y="26"/>
                  </a:lnTo>
                  <a:lnTo>
                    <a:pt x="396" y="21"/>
                  </a:lnTo>
                  <a:lnTo>
                    <a:pt x="398" y="17"/>
                  </a:lnTo>
                  <a:lnTo>
                    <a:pt x="398" y="15"/>
                  </a:lnTo>
                  <a:lnTo>
                    <a:pt x="396" y="11"/>
                  </a:lnTo>
                  <a:lnTo>
                    <a:pt x="392" y="8"/>
                  </a:lnTo>
                  <a:lnTo>
                    <a:pt x="377" y="2"/>
                  </a:lnTo>
                  <a:lnTo>
                    <a:pt x="377" y="2"/>
                  </a:lnTo>
                  <a:lnTo>
                    <a:pt x="373" y="0"/>
                  </a:lnTo>
                  <a:lnTo>
                    <a:pt x="370" y="2"/>
                  </a:lnTo>
                  <a:lnTo>
                    <a:pt x="362" y="6"/>
                  </a:lnTo>
                  <a:lnTo>
                    <a:pt x="344" y="23"/>
                  </a:lnTo>
                  <a:lnTo>
                    <a:pt x="334" y="32"/>
                  </a:lnTo>
                  <a:lnTo>
                    <a:pt x="325" y="38"/>
                  </a:lnTo>
                  <a:lnTo>
                    <a:pt x="317" y="39"/>
                  </a:lnTo>
                  <a:lnTo>
                    <a:pt x="314" y="39"/>
                  </a:lnTo>
                  <a:lnTo>
                    <a:pt x="310" y="38"/>
                  </a:lnTo>
                  <a:lnTo>
                    <a:pt x="310" y="38"/>
                  </a:lnTo>
                  <a:lnTo>
                    <a:pt x="291" y="51"/>
                  </a:lnTo>
                  <a:lnTo>
                    <a:pt x="286" y="53"/>
                  </a:lnTo>
                  <a:lnTo>
                    <a:pt x="280" y="54"/>
                  </a:lnTo>
                  <a:lnTo>
                    <a:pt x="274" y="54"/>
                  </a:lnTo>
                  <a:lnTo>
                    <a:pt x="271" y="53"/>
                  </a:lnTo>
                  <a:lnTo>
                    <a:pt x="265" y="49"/>
                  </a:lnTo>
                  <a:lnTo>
                    <a:pt x="258" y="43"/>
                  </a:lnTo>
                  <a:lnTo>
                    <a:pt x="252" y="38"/>
                  </a:lnTo>
                  <a:lnTo>
                    <a:pt x="248" y="38"/>
                  </a:lnTo>
                  <a:lnTo>
                    <a:pt x="244" y="38"/>
                  </a:lnTo>
                  <a:lnTo>
                    <a:pt x="239" y="38"/>
                  </a:lnTo>
                  <a:lnTo>
                    <a:pt x="231" y="41"/>
                  </a:lnTo>
                  <a:lnTo>
                    <a:pt x="231" y="41"/>
                  </a:lnTo>
                  <a:lnTo>
                    <a:pt x="228" y="45"/>
                  </a:lnTo>
                  <a:lnTo>
                    <a:pt x="226" y="49"/>
                  </a:lnTo>
                  <a:lnTo>
                    <a:pt x="224" y="58"/>
                  </a:lnTo>
                  <a:lnTo>
                    <a:pt x="220" y="62"/>
                  </a:lnTo>
                  <a:lnTo>
                    <a:pt x="216" y="66"/>
                  </a:lnTo>
                  <a:lnTo>
                    <a:pt x="207" y="67"/>
                  </a:lnTo>
                  <a:lnTo>
                    <a:pt x="196" y="69"/>
                  </a:lnTo>
                  <a:lnTo>
                    <a:pt x="196" y="69"/>
                  </a:lnTo>
                  <a:lnTo>
                    <a:pt x="192" y="71"/>
                  </a:lnTo>
                  <a:lnTo>
                    <a:pt x="188" y="73"/>
                  </a:lnTo>
                  <a:lnTo>
                    <a:pt x="188" y="82"/>
                  </a:lnTo>
                  <a:lnTo>
                    <a:pt x="187" y="86"/>
                  </a:lnTo>
                  <a:lnTo>
                    <a:pt x="187" y="88"/>
                  </a:lnTo>
                  <a:lnTo>
                    <a:pt x="185" y="88"/>
                  </a:lnTo>
                  <a:lnTo>
                    <a:pt x="181" y="86"/>
                  </a:lnTo>
                  <a:lnTo>
                    <a:pt x="181" y="86"/>
                  </a:lnTo>
                  <a:lnTo>
                    <a:pt x="173" y="81"/>
                  </a:lnTo>
                  <a:lnTo>
                    <a:pt x="172" y="81"/>
                  </a:lnTo>
                  <a:lnTo>
                    <a:pt x="168" y="81"/>
                  </a:lnTo>
                  <a:lnTo>
                    <a:pt x="164" y="84"/>
                  </a:lnTo>
                  <a:lnTo>
                    <a:pt x="158" y="92"/>
                  </a:lnTo>
                  <a:lnTo>
                    <a:pt x="151" y="99"/>
                  </a:lnTo>
                  <a:lnTo>
                    <a:pt x="144" y="105"/>
                  </a:lnTo>
                  <a:lnTo>
                    <a:pt x="132" y="110"/>
                  </a:lnTo>
                  <a:lnTo>
                    <a:pt x="127" y="112"/>
                  </a:lnTo>
                  <a:lnTo>
                    <a:pt x="119" y="112"/>
                  </a:lnTo>
                  <a:lnTo>
                    <a:pt x="119" y="112"/>
                  </a:lnTo>
                  <a:lnTo>
                    <a:pt x="99" y="120"/>
                  </a:lnTo>
                  <a:lnTo>
                    <a:pt x="76" y="127"/>
                  </a:lnTo>
                  <a:lnTo>
                    <a:pt x="76" y="127"/>
                  </a:lnTo>
                  <a:lnTo>
                    <a:pt x="71" y="133"/>
                  </a:lnTo>
                  <a:lnTo>
                    <a:pt x="63" y="138"/>
                  </a:lnTo>
                  <a:lnTo>
                    <a:pt x="50" y="146"/>
                  </a:lnTo>
                  <a:lnTo>
                    <a:pt x="46" y="150"/>
                  </a:lnTo>
                  <a:lnTo>
                    <a:pt x="43" y="155"/>
                  </a:lnTo>
                  <a:lnTo>
                    <a:pt x="39" y="163"/>
                  </a:lnTo>
                  <a:lnTo>
                    <a:pt x="39" y="172"/>
                  </a:lnTo>
                  <a:lnTo>
                    <a:pt x="39" y="172"/>
                  </a:lnTo>
                  <a:lnTo>
                    <a:pt x="48" y="180"/>
                  </a:lnTo>
                  <a:lnTo>
                    <a:pt x="56" y="189"/>
                  </a:lnTo>
                  <a:lnTo>
                    <a:pt x="61" y="202"/>
                  </a:lnTo>
                  <a:lnTo>
                    <a:pt x="65" y="215"/>
                  </a:lnTo>
                  <a:lnTo>
                    <a:pt x="65" y="215"/>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5" name="Freeform 55">
              <a:extLst>
                <a:ext uri="{FF2B5EF4-FFF2-40B4-BE49-F238E27FC236}">
                  <a16:creationId xmlns:a16="http://schemas.microsoft.com/office/drawing/2014/main" id="{C1A9FAAF-D29D-4BF3-9B7B-7528CD5FF2CA}"/>
                </a:ext>
              </a:extLst>
            </p:cNvPr>
            <p:cNvSpPr>
              <a:spLocks/>
            </p:cNvSpPr>
            <p:nvPr/>
          </p:nvSpPr>
          <p:spPr bwMode="auto">
            <a:xfrm>
              <a:off x="5156964" y="5961693"/>
              <a:ext cx="12717" cy="14533"/>
            </a:xfrm>
            <a:custGeom>
              <a:avLst/>
              <a:gdLst/>
              <a:ahLst/>
              <a:cxnLst>
                <a:cxn ang="0">
                  <a:pos x="13" y="7"/>
                </a:cxn>
                <a:cxn ang="0">
                  <a:pos x="13" y="7"/>
                </a:cxn>
                <a:cxn ang="0">
                  <a:pos x="13" y="5"/>
                </a:cxn>
                <a:cxn ang="0">
                  <a:pos x="11" y="2"/>
                </a:cxn>
                <a:cxn ang="0">
                  <a:pos x="8" y="0"/>
                </a:cxn>
                <a:cxn ang="0">
                  <a:pos x="4" y="2"/>
                </a:cxn>
                <a:cxn ang="0">
                  <a:pos x="4" y="2"/>
                </a:cxn>
                <a:cxn ang="0">
                  <a:pos x="0" y="5"/>
                </a:cxn>
                <a:cxn ang="0">
                  <a:pos x="0" y="9"/>
                </a:cxn>
                <a:cxn ang="0">
                  <a:pos x="0" y="11"/>
                </a:cxn>
                <a:cxn ang="0">
                  <a:pos x="2" y="13"/>
                </a:cxn>
                <a:cxn ang="0">
                  <a:pos x="4" y="15"/>
                </a:cxn>
                <a:cxn ang="0">
                  <a:pos x="6" y="15"/>
                </a:cxn>
                <a:cxn ang="0">
                  <a:pos x="10" y="11"/>
                </a:cxn>
                <a:cxn ang="0">
                  <a:pos x="13" y="7"/>
                </a:cxn>
                <a:cxn ang="0">
                  <a:pos x="13" y="7"/>
                </a:cxn>
              </a:cxnLst>
              <a:rect l="0" t="0" r="r" b="b"/>
              <a:pathLst>
                <a:path w="13" h="15">
                  <a:moveTo>
                    <a:pt x="13" y="7"/>
                  </a:moveTo>
                  <a:lnTo>
                    <a:pt x="13" y="7"/>
                  </a:lnTo>
                  <a:lnTo>
                    <a:pt x="13" y="5"/>
                  </a:lnTo>
                  <a:lnTo>
                    <a:pt x="11" y="2"/>
                  </a:lnTo>
                  <a:lnTo>
                    <a:pt x="8" y="0"/>
                  </a:lnTo>
                  <a:lnTo>
                    <a:pt x="4" y="2"/>
                  </a:lnTo>
                  <a:lnTo>
                    <a:pt x="4" y="2"/>
                  </a:lnTo>
                  <a:lnTo>
                    <a:pt x="0" y="5"/>
                  </a:lnTo>
                  <a:lnTo>
                    <a:pt x="0" y="9"/>
                  </a:lnTo>
                  <a:lnTo>
                    <a:pt x="0" y="11"/>
                  </a:lnTo>
                  <a:lnTo>
                    <a:pt x="2" y="13"/>
                  </a:lnTo>
                  <a:lnTo>
                    <a:pt x="4" y="15"/>
                  </a:lnTo>
                  <a:lnTo>
                    <a:pt x="6" y="15"/>
                  </a:lnTo>
                  <a:lnTo>
                    <a:pt x="10" y="11"/>
                  </a:lnTo>
                  <a:lnTo>
                    <a:pt x="13" y="7"/>
                  </a:lnTo>
                  <a:lnTo>
                    <a:pt x="13" y="7"/>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6" name="Freeform 56">
              <a:extLst>
                <a:ext uri="{FF2B5EF4-FFF2-40B4-BE49-F238E27FC236}">
                  <a16:creationId xmlns:a16="http://schemas.microsoft.com/office/drawing/2014/main" id="{E5BD1FF5-AB24-4D1F-AD7C-11D8762EBDAA}"/>
                </a:ext>
              </a:extLst>
            </p:cNvPr>
            <p:cNvSpPr>
              <a:spLocks/>
            </p:cNvSpPr>
            <p:nvPr/>
          </p:nvSpPr>
          <p:spPr bwMode="auto">
            <a:xfrm>
              <a:off x="5173315" y="5987126"/>
              <a:ext cx="9084" cy="3633"/>
            </a:xfrm>
            <a:custGeom>
              <a:avLst/>
              <a:gdLst/>
              <a:ahLst/>
              <a:cxnLst>
                <a:cxn ang="0">
                  <a:pos x="0" y="4"/>
                </a:cxn>
                <a:cxn ang="0">
                  <a:pos x="0" y="4"/>
                </a:cxn>
                <a:cxn ang="0">
                  <a:pos x="6" y="6"/>
                </a:cxn>
                <a:cxn ang="0">
                  <a:pos x="8" y="6"/>
                </a:cxn>
                <a:cxn ang="0">
                  <a:pos x="9" y="4"/>
                </a:cxn>
                <a:cxn ang="0">
                  <a:pos x="11" y="4"/>
                </a:cxn>
                <a:cxn ang="0">
                  <a:pos x="9" y="2"/>
                </a:cxn>
                <a:cxn ang="0">
                  <a:pos x="8" y="0"/>
                </a:cxn>
                <a:cxn ang="0">
                  <a:pos x="6" y="0"/>
                </a:cxn>
                <a:cxn ang="0">
                  <a:pos x="0" y="0"/>
                </a:cxn>
                <a:cxn ang="0">
                  <a:pos x="0" y="4"/>
                </a:cxn>
              </a:cxnLst>
              <a:rect l="0" t="0" r="r" b="b"/>
              <a:pathLst>
                <a:path w="11" h="6">
                  <a:moveTo>
                    <a:pt x="0" y="4"/>
                  </a:moveTo>
                  <a:lnTo>
                    <a:pt x="0" y="4"/>
                  </a:lnTo>
                  <a:lnTo>
                    <a:pt x="6" y="6"/>
                  </a:lnTo>
                  <a:lnTo>
                    <a:pt x="8" y="6"/>
                  </a:lnTo>
                  <a:lnTo>
                    <a:pt x="9" y="4"/>
                  </a:lnTo>
                  <a:lnTo>
                    <a:pt x="11" y="4"/>
                  </a:lnTo>
                  <a:lnTo>
                    <a:pt x="9" y="2"/>
                  </a:lnTo>
                  <a:lnTo>
                    <a:pt x="8" y="0"/>
                  </a:lnTo>
                  <a:lnTo>
                    <a:pt x="6" y="0"/>
                  </a:lnTo>
                  <a:lnTo>
                    <a:pt x="0" y="0"/>
                  </a:lnTo>
                  <a:lnTo>
                    <a:pt x="0" y="4"/>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7" name="Freeform 57">
              <a:extLst>
                <a:ext uri="{FF2B5EF4-FFF2-40B4-BE49-F238E27FC236}">
                  <a16:creationId xmlns:a16="http://schemas.microsoft.com/office/drawing/2014/main" id="{C24C6A7D-AF80-4132-9CEF-AB6DE3F2CC2E}"/>
                </a:ext>
              </a:extLst>
            </p:cNvPr>
            <p:cNvSpPr>
              <a:spLocks/>
            </p:cNvSpPr>
            <p:nvPr/>
          </p:nvSpPr>
          <p:spPr bwMode="auto">
            <a:xfrm>
              <a:off x="5135164" y="4779046"/>
              <a:ext cx="643098" cy="713948"/>
            </a:xfrm>
            <a:custGeom>
              <a:avLst/>
              <a:gdLst/>
              <a:ahLst/>
              <a:cxnLst>
                <a:cxn ang="0">
                  <a:pos x="686" y="584"/>
                </a:cxn>
                <a:cxn ang="0">
                  <a:pos x="706" y="545"/>
                </a:cxn>
                <a:cxn ang="0">
                  <a:pos x="675" y="554"/>
                </a:cxn>
                <a:cxn ang="0">
                  <a:pos x="684" y="498"/>
                </a:cxn>
                <a:cxn ang="0">
                  <a:pos x="658" y="469"/>
                </a:cxn>
                <a:cxn ang="0">
                  <a:pos x="650" y="416"/>
                </a:cxn>
                <a:cxn ang="0">
                  <a:pos x="633" y="388"/>
                </a:cxn>
                <a:cxn ang="0">
                  <a:pos x="628" y="336"/>
                </a:cxn>
                <a:cxn ang="0">
                  <a:pos x="663" y="287"/>
                </a:cxn>
                <a:cxn ang="0">
                  <a:pos x="691" y="242"/>
                </a:cxn>
                <a:cxn ang="0">
                  <a:pos x="673" y="164"/>
                </a:cxn>
                <a:cxn ang="0">
                  <a:pos x="620" y="123"/>
                </a:cxn>
                <a:cxn ang="0">
                  <a:pos x="607" y="52"/>
                </a:cxn>
                <a:cxn ang="0">
                  <a:pos x="594" y="35"/>
                </a:cxn>
                <a:cxn ang="0">
                  <a:pos x="534" y="87"/>
                </a:cxn>
                <a:cxn ang="0">
                  <a:pos x="531" y="39"/>
                </a:cxn>
                <a:cxn ang="0">
                  <a:pos x="495" y="61"/>
                </a:cxn>
                <a:cxn ang="0">
                  <a:pos x="447" y="72"/>
                </a:cxn>
                <a:cxn ang="0">
                  <a:pos x="362" y="28"/>
                </a:cxn>
                <a:cxn ang="0">
                  <a:pos x="284" y="5"/>
                </a:cxn>
                <a:cxn ang="0">
                  <a:pos x="235" y="7"/>
                </a:cxn>
                <a:cxn ang="0">
                  <a:pos x="235" y="44"/>
                </a:cxn>
                <a:cxn ang="0">
                  <a:pos x="189" y="56"/>
                </a:cxn>
                <a:cxn ang="0">
                  <a:pos x="120" y="63"/>
                </a:cxn>
                <a:cxn ang="0">
                  <a:pos x="62" y="134"/>
                </a:cxn>
                <a:cxn ang="0">
                  <a:pos x="58" y="175"/>
                </a:cxn>
                <a:cxn ang="0">
                  <a:pos x="63" y="198"/>
                </a:cxn>
                <a:cxn ang="0">
                  <a:pos x="60" y="229"/>
                </a:cxn>
                <a:cxn ang="0">
                  <a:pos x="75" y="274"/>
                </a:cxn>
                <a:cxn ang="0">
                  <a:pos x="67" y="328"/>
                </a:cxn>
                <a:cxn ang="0">
                  <a:pos x="73" y="379"/>
                </a:cxn>
                <a:cxn ang="0">
                  <a:pos x="2" y="437"/>
                </a:cxn>
                <a:cxn ang="0">
                  <a:pos x="73" y="427"/>
                </a:cxn>
                <a:cxn ang="0">
                  <a:pos x="95" y="452"/>
                </a:cxn>
                <a:cxn ang="0">
                  <a:pos x="82" y="483"/>
                </a:cxn>
                <a:cxn ang="0">
                  <a:pos x="75" y="525"/>
                </a:cxn>
                <a:cxn ang="0">
                  <a:pos x="88" y="562"/>
                </a:cxn>
                <a:cxn ang="0">
                  <a:pos x="118" y="597"/>
                </a:cxn>
                <a:cxn ang="0">
                  <a:pos x="136" y="584"/>
                </a:cxn>
                <a:cxn ang="0">
                  <a:pos x="170" y="581"/>
                </a:cxn>
                <a:cxn ang="0">
                  <a:pos x="219" y="564"/>
                </a:cxn>
                <a:cxn ang="0">
                  <a:pos x="267" y="547"/>
                </a:cxn>
                <a:cxn ang="0">
                  <a:pos x="319" y="568"/>
                </a:cxn>
                <a:cxn ang="0">
                  <a:pos x="338" y="599"/>
                </a:cxn>
                <a:cxn ang="0">
                  <a:pos x="327" y="657"/>
                </a:cxn>
                <a:cxn ang="0">
                  <a:pos x="284" y="738"/>
                </a:cxn>
                <a:cxn ang="0">
                  <a:pos x="334" y="713"/>
                </a:cxn>
                <a:cxn ang="0">
                  <a:pos x="349" y="767"/>
                </a:cxn>
                <a:cxn ang="0">
                  <a:pos x="379" y="773"/>
                </a:cxn>
                <a:cxn ang="0">
                  <a:pos x="428" y="767"/>
                </a:cxn>
                <a:cxn ang="0">
                  <a:pos x="448" y="710"/>
                </a:cxn>
                <a:cxn ang="0">
                  <a:pos x="521" y="736"/>
                </a:cxn>
                <a:cxn ang="0">
                  <a:pos x="551" y="728"/>
                </a:cxn>
                <a:cxn ang="0">
                  <a:pos x="538" y="689"/>
                </a:cxn>
                <a:cxn ang="0">
                  <a:pos x="581" y="659"/>
                </a:cxn>
                <a:cxn ang="0">
                  <a:pos x="648" y="678"/>
                </a:cxn>
              </a:cxnLst>
              <a:rect l="0" t="0" r="r" b="b"/>
              <a:pathLst>
                <a:path w="708" h="784">
                  <a:moveTo>
                    <a:pt x="680" y="663"/>
                  </a:moveTo>
                  <a:lnTo>
                    <a:pt x="680" y="663"/>
                  </a:lnTo>
                  <a:lnTo>
                    <a:pt x="676" y="646"/>
                  </a:lnTo>
                  <a:lnTo>
                    <a:pt x="673" y="629"/>
                  </a:lnTo>
                  <a:lnTo>
                    <a:pt x="671" y="612"/>
                  </a:lnTo>
                  <a:lnTo>
                    <a:pt x="671" y="612"/>
                  </a:lnTo>
                  <a:lnTo>
                    <a:pt x="682" y="594"/>
                  </a:lnTo>
                  <a:lnTo>
                    <a:pt x="686" y="584"/>
                  </a:lnTo>
                  <a:lnTo>
                    <a:pt x="688" y="571"/>
                  </a:lnTo>
                  <a:lnTo>
                    <a:pt x="688" y="571"/>
                  </a:lnTo>
                  <a:lnTo>
                    <a:pt x="691" y="566"/>
                  </a:lnTo>
                  <a:lnTo>
                    <a:pt x="699" y="558"/>
                  </a:lnTo>
                  <a:lnTo>
                    <a:pt x="706" y="551"/>
                  </a:lnTo>
                  <a:lnTo>
                    <a:pt x="708" y="549"/>
                  </a:lnTo>
                  <a:lnTo>
                    <a:pt x="706" y="545"/>
                  </a:lnTo>
                  <a:lnTo>
                    <a:pt x="706" y="545"/>
                  </a:lnTo>
                  <a:lnTo>
                    <a:pt x="704" y="545"/>
                  </a:lnTo>
                  <a:lnTo>
                    <a:pt x="701" y="549"/>
                  </a:lnTo>
                  <a:lnTo>
                    <a:pt x="693" y="556"/>
                  </a:lnTo>
                  <a:lnTo>
                    <a:pt x="688" y="558"/>
                  </a:lnTo>
                  <a:lnTo>
                    <a:pt x="684" y="560"/>
                  </a:lnTo>
                  <a:lnTo>
                    <a:pt x="678" y="558"/>
                  </a:lnTo>
                  <a:lnTo>
                    <a:pt x="675" y="554"/>
                  </a:lnTo>
                  <a:lnTo>
                    <a:pt x="675" y="554"/>
                  </a:lnTo>
                  <a:lnTo>
                    <a:pt x="676" y="549"/>
                  </a:lnTo>
                  <a:lnTo>
                    <a:pt x="680" y="538"/>
                  </a:lnTo>
                  <a:lnTo>
                    <a:pt x="684" y="526"/>
                  </a:lnTo>
                  <a:lnTo>
                    <a:pt x="686" y="521"/>
                  </a:lnTo>
                  <a:lnTo>
                    <a:pt x="686" y="517"/>
                  </a:lnTo>
                  <a:lnTo>
                    <a:pt x="686" y="517"/>
                  </a:lnTo>
                  <a:lnTo>
                    <a:pt x="684" y="506"/>
                  </a:lnTo>
                  <a:lnTo>
                    <a:pt x="684" y="498"/>
                  </a:lnTo>
                  <a:lnTo>
                    <a:pt x="682" y="497"/>
                  </a:lnTo>
                  <a:lnTo>
                    <a:pt x="678" y="495"/>
                  </a:lnTo>
                  <a:lnTo>
                    <a:pt x="667" y="491"/>
                  </a:lnTo>
                  <a:lnTo>
                    <a:pt x="667" y="491"/>
                  </a:lnTo>
                  <a:lnTo>
                    <a:pt x="660" y="489"/>
                  </a:lnTo>
                  <a:lnTo>
                    <a:pt x="658" y="485"/>
                  </a:lnTo>
                  <a:lnTo>
                    <a:pt x="656" y="478"/>
                  </a:lnTo>
                  <a:lnTo>
                    <a:pt x="658" y="469"/>
                  </a:lnTo>
                  <a:lnTo>
                    <a:pt x="661" y="452"/>
                  </a:lnTo>
                  <a:lnTo>
                    <a:pt x="661" y="444"/>
                  </a:lnTo>
                  <a:lnTo>
                    <a:pt x="660" y="439"/>
                  </a:lnTo>
                  <a:lnTo>
                    <a:pt x="660" y="439"/>
                  </a:lnTo>
                  <a:lnTo>
                    <a:pt x="654" y="433"/>
                  </a:lnTo>
                  <a:lnTo>
                    <a:pt x="652" y="427"/>
                  </a:lnTo>
                  <a:lnTo>
                    <a:pt x="650" y="422"/>
                  </a:lnTo>
                  <a:lnTo>
                    <a:pt x="650" y="416"/>
                  </a:lnTo>
                  <a:lnTo>
                    <a:pt x="652" y="407"/>
                  </a:lnTo>
                  <a:lnTo>
                    <a:pt x="656" y="399"/>
                  </a:lnTo>
                  <a:lnTo>
                    <a:pt x="658" y="394"/>
                  </a:lnTo>
                  <a:lnTo>
                    <a:pt x="656" y="392"/>
                  </a:lnTo>
                  <a:lnTo>
                    <a:pt x="656" y="390"/>
                  </a:lnTo>
                  <a:lnTo>
                    <a:pt x="648" y="388"/>
                  </a:lnTo>
                  <a:lnTo>
                    <a:pt x="633" y="388"/>
                  </a:lnTo>
                  <a:lnTo>
                    <a:pt x="633" y="388"/>
                  </a:lnTo>
                  <a:lnTo>
                    <a:pt x="626" y="386"/>
                  </a:lnTo>
                  <a:lnTo>
                    <a:pt x="620" y="381"/>
                  </a:lnTo>
                  <a:lnTo>
                    <a:pt x="619" y="375"/>
                  </a:lnTo>
                  <a:lnTo>
                    <a:pt x="617" y="368"/>
                  </a:lnTo>
                  <a:lnTo>
                    <a:pt x="619" y="358"/>
                  </a:lnTo>
                  <a:lnTo>
                    <a:pt x="620" y="351"/>
                  </a:lnTo>
                  <a:lnTo>
                    <a:pt x="628" y="336"/>
                  </a:lnTo>
                  <a:lnTo>
                    <a:pt x="628" y="336"/>
                  </a:lnTo>
                  <a:lnTo>
                    <a:pt x="632" y="328"/>
                  </a:lnTo>
                  <a:lnTo>
                    <a:pt x="635" y="323"/>
                  </a:lnTo>
                  <a:lnTo>
                    <a:pt x="639" y="312"/>
                  </a:lnTo>
                  <a:lnTo>
                    <a:pt x="641" y="308"/>
                  </a:lnTo>
                  <a:lnTo>
                    <a:pt x="645" y="304"/>
                  </a:lnTo>
                  <a:lnTo>
                    <a:pt x="660" y="291"/>
                  </a:lnTo>
                  <a:lnTo>
                    <a:pt x="660" y="291"/>
                  </a:lnTo>
                  <a:lnTo>
                    <a:pt x="663" y="287"/>
                  </a:lnTo>
                  <a:lnTo>
                    <a:pt x="667" y="284"/>
                  </a:lnTo>
                  <a:lnTo>
                    <a:pt x="671" y="274"/>
                  </a:lnTo>
                  <a:lnTo>
                    <a:pt x="673" y="265"/>
                  </a:lnTo>
                  <a:lnTo>
                    <a:pt x="676" y="261"/>
                  </a:lnTo>
                  <a:lnTo>
                    <a:pt x="680" y="257"/>
                  </a:lnTo>
                  <a:lnTo>
                    <a:pt x="680" y="257"/>
                  </a:lnTo>
                  <a:lnTo>
                    <a:pt x="688" y="250"/>
                  </a:lnTo>
                  <a:lnTo>
                    <a:pt x="691" y="242"/>
                  </a:lnTo>
                  <a:lnTo>
                    <a:pt x="693" y="235"/>
                  </a:lnTo>
                  <a:lnTo>
                    <a:pt x="691" y="226"/>
                  </a:lnTo>
                  <a:lnTo>
                    <a:pt x="686" y="209"/>
                  </a:lnTo>
                  <a:lnTo>
                    <a:pt x="684" y="199"/>
                  </a:lnTo>
                  <a:lnTo>
                    <a:pt x="682" y="190"/>
                  </a:lnTo>
                  <a:lnTo>
                    <a:pt x="682" y="190"/>
                  </a:lnTo>
                  <a:lnTo>
                    <a:pt x="678" y="177"/>
                  </a:lnTo>
                  <a:lnTo>
                    <a:pt x="673" y="164"/>
                  </a:lnTo>
                  <a:lnTo>
                    <a:pt x="665" y="155"/>
                  </a:lnTo>
                  <a:lnTo>
                    <a:pt x="656" y="147"/>
                  </a:lnTo>
                  <a:lnTo>
                    <a:pt x="656" y="147"/>
                  </a:lnTo>
                  <a:lnTo>
                    <a:pt x="643" y="140"/>
                  </a:lnTo>
                  <a:lnTo>
                    <a:pt x="632" y="134"/>
                  </a:lnTo>
                  <a:lnTo>
                    <a:pt x="622" y="128"/>
                  </a:lnTo>
                  <a:lnTo>
                    <a:pt x="620" y="125"/>
                  </a:lnTo>
                  <a:lnTo>
                    <a:pt x="620" y="123"/>
                  </a:lnTo>
                  <a:lnTo>
                    <a:pt x="620" y="123"/>
                  </a:lnTo>
                  <a:lnTo>
                    <a:pt x="620" y="108"/>
                  </a:lnTo>
                  <a:lnTo>
                    <a:pt x="624" y="99"/>
                  </a:lnTo>
                  <a:lnTo>
                    <a:pt x="630" y="82"/>
                  </a:lnTo>
                  <a:lnTo>
                    <a:pt x="630" y="76"/>
                  </a:lnTo>
                  <a:lnTo>
                    <a:pt x="628" y="69"/>
                  </a:lnTo>
                  <a:lnTo>
                    <a:pt x="620" y="61"/>
                  </a:lnTo>
                  <a:lnTo>
                    <a:pt x="607" y="52"/>
                  </a:lnTo>
                  <a:lnTo>
                    <a:pt x="607" y="52"/>
                  </a:lnTo>
                  <a:lnTo>
                    <a:pt x="604" y="48"/>
                  </a:lnTo>
                  <a:lnTo>
                    <a:pt x="604" y="42"/>
                  </a:lnTo>
                  <a:lnTo>
                    <a:pt x="604" y="31"/>
                  </a:lnTo>
                  <a:lnTo>
                    <a:pt x="604" y="28"/>
                  </a:lnTo>
                  <a:lnTo>
                    <a:pt x="604" y="28"/>
                  </a:lnTo>
                  <a:lnTo>
                    <a:pt x="600" y="29"/>
                  </a:lnTo>
                  <a:lnTo>
                    <a:pt x="594" y="35"/>
                  </a:lnTo>
                  <a:lnTo>
                    <a:pt x="594" y="35"/>
                  </a:lnTo>
                  <a:lnTo>
                    <a:pt x="581" y="56"/>
                  </a:lnTo>
                  <a:lnTo>
                    <a:pt x="570" y="67"/>
                  </a:lnTo>
                  <a:lnTo>
                    <a:pt x="559" y="80"/>
                  </a:lnTo>
                  <a:lnTo>
                    <a:pt x="547" y="87"/>
                  </a:lnTo>
                  <a:lnTo>
                    <a:pt x="544" y="89"/>
                  </a:lnTo>
                  <a:lnTo>
                    <a:pt x="538" y="89"/>
                  </a:lnTo>
                  <a:lnTo>
                    <a:pt x="534" y="87"/>
                  </a:lnTo>
                  <a:lnTo>
                    <a:pt x="533" y="84"/>
                  </a:lnTo>
                  <a:lnTo>
                    <a:pt x="531" y="76"/>
                  </a:lnTo>
                  <a:lnTo>
                    <a:pt x="531" y="65"/>
                  </a:lnTo>
                  <a:lnTo>
                    <a:pt x="531" y="65"/>
                  </a:lnTo>
                  <a:lnTo>
                    <a:pt x="533" y="57"/>
                  </a:lnTo>
                  <a:lnTo>
                    <a:pt x="534" y="46"/>
                  </a:lnTo>
                  <a:lnTo>
                    <a:pt x="534" y="42"/>
                  </a:lnTo>
                  <a:lnTo>
                    <a:pt x="531" y="39"/>
                  </a:lnTo>
                  <a:lnTo>
                    <a:pt x="525" y="39"/>
                  </a:lnTo>
                  <a:lnTo>
                    <a:pt x="516" y="39"/>
                  </a:lnTo>
                  <a:lnTo>
                    <a:pt x="516" y="39"/>
                  </a:lnTo>
                  <a:lnTo>
                    <a:pt x="510" y="42"/>
                  </a:lnTo>
                  <a:lnTo>
                    <a:pt x="508" y="44"/>
                  </a:lnTo>
                  <a:lnTo>
                    <a:pt x="505" y="54"/>
                  </a:lnTo>
                  <a:lnTo>
                    <a:pt x="501" y="57"/>
                  </a:lnTo>
                  <a:lnTo>
                    <a:pt x="495" y="61"/>
                  </a:lnTo>
                  <a:lnTo>
                    <a:pt x="488" y="63"/>
                  </a:lnTo>
                  <a:lnTo>
                    <a:pt x="475" y="65"/>
                  </a:lnTo>
                  <a:lnTo>
                    <a:pt x="475" y="65"/>
                  </a:lnTo>
                  <a:lnTo>
                    <a:pt x="469" y="65"/>
                  </a:lnTo>
                  <a:lnTo>
                    <a:pt x="463" y="67"/>
                  </a:lnTo>
                  <a:lnTo>
                    <a:pt x="454" y="71"/>
                  </a:lnTo>
                  <a:lnTo>
                    <a:pt x="450" y="72"/>
                  </a:lnTo>
                  <a:lnTo>
                    <a:pt x="447" y="72"/>
                  </a:lnTo>
                  <a:lnTo>
                    <a:pt x="441" y="69"/>
                  </a:lnTo>
                  <a:lnTo>
                    <a:pt x="437" y="63"/>
                  </a:lnTo>
                  <a:lnTo>
                    <a:pt x="437" y="63"/>
                  </a:lnTo>
                  <a:lnTo>
                    <a:pt x="426" y="54"/>
                  </a:lnTo>
                  <a:lnTo>
                    <a:pt x="405" y="42"/>
                  </a:lnTo>
                  <a:lnTo>
                    <a:pt x="383" y="31"/>
                  </a:lnTo>
                  <a:lnTo>
                    <a:pt x="372" y="29"/>
                  </a:lnTo>
                  <a:lnTo>
                    <a:pt x="362" y="28"/>
                  </a:lnTo>
                  <a:lnTo>
                    <a:pt x="362" y="28"/>
                  </a:lnTo>
                  <a:lnTo>
                    <a:pt x="351" y="28"/>
                  </a:lnTo>
                  <a:lnTo>
                    <a:pt x="342" y="24"/>
                  </a:lnTo>
                  <a:lnTo>
                    <a:pt x="323" y="18"/>
                  </a:lnTo>
                  <a:lnTo>
                    <a:pt x="305" y="11"/>
                  </a:lnTo>
                  <a:lnTo>
                    <a:pt x="295" y="7"/>
                  </a:lnTo>
                  <a:lnTo>
                    <a:pt x="284" y="5"/>
                  </a:lnTo>
                  <a:lnTo>
                    <a:pt x="284" y="5"/>
                  </a:lnTo>
                  <a:lnTo>
                    <a:pt x="277" y="3"/>
                  </a:lnTo>
                  <a:lnTo>
                    <a:pt x="265" y="0"/>
                  </a:lnTo>
                  <a:lnTo>
                    <a:pt x="260" y="0"/>
                  </a:lnTo>
                  <a:lnTo>
                    <a:pt x="256" y="0"/>
                  </a:lnTo>
                  <a:lnTo>
                    <a:pt x="252" y="1"/>
                  </a:lnTo>
                  <a:lnTo>
                    <a:pt x="248" y="5"/>
                  </a:lnTo>
                  <a:lnTo>
                    <a:pt x="248" y="5"/>
                  </a:lnTo>
                  <a:lnTo>
                    <a:pt x="235" y="7"/>
                  </a:lnTo>
                  <a:lnTo>
                    <a:pt x="222" y="9"/>
                  </a:lnTo>
                  <a:lnTo>
                    <a:pt x="222" y="9"/>
                  </a:lnTo>
                  <a:lnTo>
                    <a:pt x="222" y="18"/>
                  </a:lnTo>
                  <a:lnTo>
                    <a:pt x="224" y="26"/>
                  </a:lnTo>
                  <a:lnTo>
                    <a:pt x="226" y="29"/>
                  </a:lnTo>
                  <a:lnTo>
                    <a:pt x="228" y="35"/>
                  </a:lnTo>
                  <a:lnTo>
                    <a:pt x="234" y="41"/>
                  </a:lnTo>
                  <a:lnTo>
                    <a:pt x="235" y="44"/>
                  </a:lnTo>
                  <a:lnTo>
                    <a:pt x="235" y="48"/>
                  </a:lnTo>
                  <a:lnTo>
                    <a:pt x="235" y="48"/>
                  </a:lnTo>
                  <a:lnTo>
                    <a:pt x="232" y="52"/>
                  </a:lnTo>
                  <a:lnTo>
                    <a:pt x="220" y="59"/>
                  </a:lnTo>
                  <a:lnTo>
                    <a:pt x="213" y="63"/>
                  </a:lnTo>
                  <a:lnTo>
                    <a:pt x="205" y="63"/>
                  </a:lnTo>
                  <a:lnTo>
                    <a:pt x="196" y="61"/>
                  </a:lnTo>
                  <a:lnTo>
                    <a:pt x="189" y="56"/>
                  </a:lnTo>
                  <a:lnTo>
                    <a:pt x="189" y="56"/>
                  </a:lnTo>
                  <a:lnTo>
                    <a:pt x="185" y="50"/>
                  </a:lnTo>
                  <a:lnTo>
                    <a:pt x="179" y="48"/>
                  </a:lnTo>
                  <a:lnTo>
                    <a:pt x="174" y="44"/>
                  </a:lnTo>
                  <a:lnTo>
                    <a:pt x="168" y="44"/>
                  </a:lnTo>
                  <a:lnTo>
                    <a:pt x="155" y="46"/>
                  </a:lnTo>
                  <a:lnTo>
                    <a:pt x="144" y="50"/>
                  </a:lnTo>
                  <a:lnTo>
                    <a:pt x="120" y="63"/>
                  </a:lnTo>
                  <a:lnTo>
                    <a:pt x="108" y="67"/>
                  </a:lnTo>
                  <a:lnTo>
                    <a:pt x="99" y="71"/>
                  </a:lnTo>
                  <a:lnTo>
                    <a:pt x="99" y="71"/>
                  </a:lnTo>
                  <a:lnTo>
                    <a:pt x="95" y="74"/>
                  </a:lnTo>
                  <a:lnTo>
                    <a:pt x="90" y="80"/>
                  </a:lnTo>
                  <a:lnTo>
                    <a:pt x="78" y="102"/>
                  </a:lnTo>
                  <a:lnTo>
                    <a:pt x="67" y="125"/>
                  </a:lnTo>
                  <a:lnTo>
                    <a:pt x="62" y="134"/>
                  </a:lnTo>
                  <a:lnTo>
                    <a:pt x="58" y="140"/>
                  </a:lnTo>
                  <a:lnTo>
                    <a:pt x="58" y="140"/>
                  </a:lnTo>
                  <a:lnTo>
                    <a:pt x="62" y="143"/>
                  </a:lnTo>
                  <a:lnTo>
                    <a:pt x="65" y="149"/>
                  </a:lnTo>
                  <a:lnTo>
                    <a:pt x="65" y="155"/>
                  </a:lnTo>
                  <a:lnTo>
                    <a:pt x="63" y="158"/>
                  </a:lnTo>
                  <a:lnTo>
                    <a:pt x="60" y="170"/>
                  </a:lnTo>
                  <a:lnTo>
                    <a:pt x="58" y="175"/>
                  </a:lnTo>
                  <a:lnTo>
                    <a:pt x="58" y="183"/>
                  </a:lnTo>
                  <a:lnTo>
                    <a:pt x="58" y="183"/>
                  </a:lnTo>
                  <a:lnTo>
                    <a:pt x="60" y="188"/>
                  </a:lnTo>
                  <a:lnTo>
                    <a:pt x="62" y="192"/>
                  </a:lnTo>
                  <a:lnTo>
                    <a:pt x="63" y="196"/>
                  </a:lnTo>
                  <a:lnTo>
                    <a:pt x="63" y="196"/>
                  </a:lnTo>
                  <a:lnTo>
                    <a:pt x="63" y="198"/>
                  </a:lnTo>
                  <a:lnTo>
                    <a:pt x="63" y="198"/>
                  </a:lnTo>
                  <a:lnTo>
                    <a:pt x="60" y="201"/>
                  </a:lnTo>
                  <a:lnTo>
                    <a:pt x="58" y="205"/>
                  </a:lnTo>
                  <a:lnTo>
                    <a:pt x="56" y="211"/>
                  </a:lnTo>
                  <a:lnTo>
                    <a:pt x="58" y="216"/>
                  </a:lnTo>
                  <a:lnTo>
                    <a:pt x="58" y="216"/>
                  </a:lnTo>
                  <a:lnTo>
                    <a:pt x="63" y="222"/>
                  </a:lnTo>
                  <a:lnTo>
                    <a:pt x="63" y="226"/>
                  </a:lnTo>
                  <a:lnTo>
                    <a:pt x="60" y="229"/>
                  </a:lnTo>
                  <a:lnTo>
                    <a:pt x="58" y="237"/>
                  </a:lnTo>
                  <a:lnTo>
                    <a:pt x="58" y="237"/>
                  </a:lnTo>
                  <a:lnTo>
                    <a:pt x="60" y="248"/>
                  </a:lnTo>
                  <a:lnTo>
                    <a:pt x="63" y="255"/>
                  </a:lnTo>
                  <a:lnTo>
                    <a:pt x="67" y="261"/>
                  </a:lnTo>
                  <a:lnTo>
                    <a:pt x="69" y="265"/>
                  </a:lnTo>
                  <a:lnTo>
                    <a:pt x="75" y="270"/>
                  </a:lnTo>
                  <a:lnTo>
                    <a:pt x="75" y="274"/>
                  </a:lnTo>
                  <a:lnTo>
                    <a:pt x="73" y="280"/>
                  </a:lnTo>
                  <a:lnTo>
                    <a:pt x="73" y="280"/>
                  </a:lnTo>
                  <a:lnTo>
                    <a:pt x="69" y="291"/>
                  </a:lnTo>
                  <a:lnTo>
                    <a:pt x="65" y="300"/>
                  </a:lnTo>
                  <a:lnTo>
                    <a:pt x="65" y="310"/>
                  </a:lnTo>
                  <a:lnTo>
                    <a:pt x="65" y="317"/>
                  </a:lnTo>
                  <a:lnTo>
                    <a:pt x="65" y="323"/>
                  </a:lnTo>
                  <a:lnTo>
                    <a:pt x="67" y="328"/>
                  </a:lnTo>
                  <a:lnTo>
                    <a:pt x="73" y="336"/>
                  </a:lnTo>
                  <a:lnTo>
                    <a:pt x="86" y="347"/>
                  </a:lnTo>
                  <a:lnTo>
                    <a:pt x="90" y="355"/>
                  </a:lnTo>
                  <a:lnTo>
                    <a:pt x="88" y="358"/>
                  </a:lnTo>
                  <a:lnTo>
                    <a:pt x="88" y="362"/>
                  </a:lnTo>
                  <a:lnTo>
                    <a:pt x="88" y="362"/>
                  </a:lnTo>
                  <a:lnTo>
                    <a:pt x="80" y="371"/>
                  </a:lnTo>
                  <a:lnTo>
                    <a:pt x="73" y="379"/>
                  </a:lnTo>
                  <a:lnTo>
                    <a:pt x="65" y="383"/>
                  </a:lnTo>
                  <a:lnTo>
                    <a:pt x="56" y="386"/>
                  </a:lnTo>
                  <a:lnTo>
                    <a:pt x="45" y="392"/>
                  </a:lnTo>
                  <a:lnTo>
                    <a:pt x="34" y="399"/>
                  </a:lnTo>
                  <a:lnTo>
                    <a:pt x="20" y="412"/>
                  </a:lnTo>
                  <a:lnTo>
                    <a:pt x="6" y="431"/>
                  </a:lnTo>
                  <a:lnTo>
                    <a:pt x="6" y="431"/>
                  </a:lnTo>
                  <a:lnTo>
                    <a:pt x="2" y="437"/>
                  </a:lnTo>
                  <a:lnTo>
                    <a:pt x="0" y="440"/>
                  </a:lnTo>
                  <a:lnTo>
                    <a:pt x="2" y="442"/>
                  </a:lnTo>
                  <a:lnTo>
                    <a:pt x="4" y="444"/>
                  </a:lnTo>
                  <a:lnTo>
                    <a:pt x="15" y="440"/>
                  </a:lnTo>
                  <a:lnTo>
                    <a:pt x="28" y="437"/>
                  </a:lnTo>
                  <a:lnTo>
                    <a:pt x="45" y="431"/>
                  </a:lnTo>
                  <a:lnTo>
                    <a:pt x="63" y="427"/>
                  </a:lnTo>
                  <a:lnTo>
                    <a:pt x="73" y="427"/>
                  </a:lnTo>
                  <a:lnTo>
                    <a:pt x="80" y="429"/>
                  </a:lnTo>
                  <a:lnTo>
                    <a:pt x="88" y="431"/>
                  </a:lnTo>
                  <a:lnTo>
                    <a:pt x="93" y="437"/>
                  </a:lnTo>
                  <a:lnTo>
                    <a:pt x="93" y="437"/>
                  </a:lnTo>
                  <a:lnTo>
                    <a:pt x="97" y="442"/>
                  </a:lnTo>
                  <a:lnTo>
                    <a:pt x="99" y="446"/>
                  </a:lnTo>
                  <a:lnTo>
                    <a:pt x="97" y="450"/>
                  </a:lnTo>
                  <a:lnTo>
                    <a:pt x="95" y="452"/>
                  </a:lnTo>
                  <a:lnTo>
                    <a:pt x="90" y="455"/>
                  </a:lnTo>
                  <a:lnTo>
                    <a:pt x="90" y="459"/>
                  </a:lnTo>
                  <a:lnTo>
                    <a:pt x="91" y="463"/>
                  </a:lnTo>
                  <a:lnTo>
                    <a:pt x="91" y="463"/>
                  </a:lnTo>
                  <a:lnTo>
                    <a:pt x="93" y="469"/>
                  </a:lnTo>
                  <a:lnTo>
                    <a:pt x="91" y="474"/>
                  </a:lnTo>
                  <a:lnTo>
                    <a:pt x="88" y="478"/>
                  </a:lnTo>
                  <a:lnTo>
                    <a:pt x="82" y="483"/>
                  </a:lnTo>
                  <a:lnTo>
                    <a:pt x="73" y="491"/>
                  </a:lnTo>
                  <a:lnTo>
                    <a:pt x="71" y="495"/>
                  </a:lnTo>
                  <a:lnTo>
                    <a:pt x="71" y="498"/>
                  </a:lnTo>
                  <a:lnTo>
                    <a:pt x="71" y="498"/>
                  </a:lnTo>
                  <a:lnTo>
                    <a:pt x="77" y="506"/>
                  </a:lnTo>
                  <a:lnTo>
                    <a:pt x="78" y="513"/>
                  </a:lnTo>
                  <a:lnTo>
                    <a:pt x="78" y="521"/>
                  </a:lnTo>
                  <a:lnTo>
                    <a:pt x="75" y="525"/>
                  </a:lnTo>
                  <a:lnTo>
                    <a:pt x="69" y="536"/>
                  </a:lnTo>
                  <a:lnTo>
                    <a:pt x="67" y="543"/>
                  </a:lnTo>
                  <a:lnTo>
                    <a:pt x="67" y="551"/>
                  </a:lnTo>
                  <a:lnTo>
                    <a:pt x="67" y="551"/>
                  </a:lnTo>
                  <a:lnTo>
                    <a:pt x="77" y="551"/>
                  </a:lnTo>
                  <a:lnTo>
                    <a:pt x="86" y="551"/>
                  </a:lnTo>
                  <a:lnTo>
                    <a:pt x="86" y="551"/>
                  </a:lnTo>
                  <a:lnTo>
                    <a:pt x="88" y="562"/>
                  </a:lnTo>
                  <a:lnTo>
                    <a:pt x="90" y="571"/>
                  </a:lnTo>
                  <a:lnTo>
                    <a:pt x="88" y="592"/>
                  </a:lnTo>
                  <a:lnTo>
                    <a:pt x="88" y="592"/>
                  </a:lnTo>
                  <a:lnTo>
                    <a:pt x="95" y="590"/>
                  </a:lnTo>
                  <a:lnTo>
                    <a:pt x="101" y="590"/>
                  </a:lnTo>
                  <a:lnTo>
                    <a:pt x="108" y="592"/>
                  </a:lnTo>
                  <a:lnTo>
                    <a:pt x="118" y="597"/>
                  </a:lnTo>
                  <a:lnTo>
                    <a:pt x="118" y="597"/>
                  </a:lnTo>
                  <a:lnTo>
                    <a:pt x="120" y="603"/>
                  </a:lnTo>
                  <a:lnTo>
                    <a:pt x="123" y="611"/>
                  </a:lnTo>
                  <a:lnTo>
                    <a:pt x="125" y="612"/>
                  </a:lnTo>
                  <a:lnTo>
                    <a:pt x="129" y="611"/>
                  </a:lnTo>
                  <a:lnTo>
                    <a:pt x="131" y="605"/>
                  </a:lnTo>
                  <a:lnTo>
                    <a:pt x="134" y="592"/>
                  </a:lnTo>
                  <a:lnTo>
                    <a:pt x="134" y="592"/>
                  </a:lnTo>
                  <a:lnTo>
                    <a:pt x="136" y="584"/>
                  </a:lnTo>
                  <a:lnTo>
                    <a:pt x="140" y="577"/>
                  </a:lnTo>
                  <a:lnTo>
                    <a:pt x="144" y="571"/>
                  </a:lnTo>
                  <a:lnTo>
                    <a:pt x="149" y="568"/>
                  </a:lnTo>
                  <a:lnTo>
                    <a:pt x="155" y="568"/>
                  </a:lnTo>
                  <a:lnTo>
                    <a:pt x="159" y="569"/>
                  </a:lnTo>
                  <a:lnTo>
                    <a:pt x="164" y="573"/>
                  </a:lnTo>
                  <a:lnTo>
                    <a:pt x="170" y="581"/>
                  </a:lnTo>
                  <a:lnTo>
                    <a:pt x="170" y="581"/>
                  </a:lnTo>
                  <a:lnTo>
                    <a:pt x="176" y="588"/>
                  </a:lnTo>
                  <a:lnTo>
                    <a:pt x="179" y="592"/>
                  </a:lnTo>
                  <a:lnTo>
                    <a:pt x="185" y="594"/>
                  </a:lnTo>
                  <a:lnTo>
                    <a:pt x="189" y="594"/>
                  </a:lnTo>
                  <a:lnTo>
                    <a:pt x="194" y="592"/>
                  </a:lnTo>
                  <a:lnTo>
                    <a:pt x="198" y="588"/>
                  </a:lnTo>
                  <a:lnTo>
                    <a:pt x="207" y="577"/>
                  </a:lnTo>
                  <a:lnTo>
                    <a:pt x="219" y="564"/>
                  </a:lnTo>
                  <a:lnTo>
                    <a:pt x="228" y="554"/>
                  </a:lnTo>
                  <a:lnTo>
                    <a:pt x="234" y="549"/>
                  </a:lnTo>
                  <a:lnTo>
                    <a:pt x="239" y="547"/>
                  </a:lnTo>
                  <a:lnTo>
                    <a:pt x="245" y="547"/>
                  </a:lnTo>
                  <a:lnTo>
                    <a:pt x="250" y="547"/>
                  </a:lnTo>
                  <a:lnTo>
                    <a:pt x="250" y="547"/>
                  </a:lnTo>
                  <a:lnTo>
                    <a:pt x="258" y="549"/>
                  </a:lnTo>
                  <a:lnTo>
                    <a:pt x="267" y="547"/>
                  </a:lnTo>
                  <a:lnTo>
                    <a:pt x="286" y="543"/>
                  </a:lnTo>
                  <a:lnTo>
                    <a:pt x="295" y="543"/>
                  </a:lnTo>
                  <a:lnTo>
                    <a:pt x="305" y="543"/>
                  </a:lnTo>
                  <a:lnTo>
                    <a:pt x="312" y="545"/>
                  </a:lnTo>
                  <a:lnTo>
                    <a:pt x="318" y="553"/>
                  </a:lnTo>
                  <a:lnTo>
                    <a:pt x="318" y="553"/>
                  </a:lnTo>
                  <a:lnTo>
                    <a:pt x="319" y="558"/>
                  </a:lnTo>
                  <a:lnTo>
                    <a:pt x="319" y="568"/>
                  </a:lnTo>
                  <a:lnTo>
                    <a:pt x="314" y="588"/>
                  </a:lnTo>
                  <a:lnTo>
                    <a:pt x="314" y="596"/>
                  </a:lnTo>
                  <a:lnTo>
                    <a:pt x="316" y="603"/>
                  </a:lnTo>
                  <a:lnTo>
                    <a:pt x="318" y="605"/>
                  </a:lnTo>
                  <a:lnTo>
                    <a:pt x="321" y="605"/>
                  </a:lnTo>
                  <a:lnTo>
                    <a:pt x="333" y="601"/>
                  </a:lnTo>
                  <a:lnTo>
                    <a:pt x="333" y="601"/>
                  </a:lnTo>
                  <a:lnTo>
                    <a:pt x="338" y="599"/>
                  </a:lnTo>
                  <a:lnTo>
                    <a:pt x="340" y="601"/>
                  </a:lnTo>
                  <a:lnTo>
                    <a:pt x="340" y="603"/>
                  </a:lnTo>
                  <a:lnTo>
                    <a:pt x="340" y="609"/>
                  </a:lnTo>
                  <a:lnTo>
                    <a:pt x="336" y="616"/>
                  </a:lnTo>
                  <a:lnTo>
                    <a:pt x="331" y="637"/>
                  </a:lnTo>
                  <a:lnTo>
                    <a:pt x="327" y="648"/>
                  </a:lnTo>
                  <a:lnTo>
                    <a:pt x="327" y="657"/>
                  </a:lnTo>
                  <a:lnTo>
                    <a:pt x="327" y="657"/>
                  </a:lnTo>
                  <a:lnTo>
                    <a:pt x="323" y="665"/>
                  </a:lnTo>
                  <a:lnTo>
                    <a:pt x="316" y="676"/>
                  </a:lnTo>
                  <a:lnTo>
                    <a:pt x="297" y="700"/>
                  </a:lnTo>
                  <a:lnTo>
                    <a:pt x="288" y="713"/>
                  </a:lnTo>
                  <a:lnTo>
                    <a:pt x="282" y="724"/>
                  </a:lnTo>
                  <a:lnTo>
                    <a:pt x="282" y="730"/>
                  </a:lnTo>
                  <a:lnTo>
                    <a:pt x="282" y="734"/>
                  </a:lnTo>
                  <a:lnTo>
                    <a:pt x="284" y="738"/>
                  </a:lnTo>
                  <a:lnTo>
                    <a:pt x="290" y="739"/>
                  </a:lnTo>
                  <a:lnTo>
                    <a:pt x="290" y="739"/>
                  </a:lnTo>
                  <a:lnTo>
                    <a:pt x="293" y="738"/>
                  </a:lnTo>
                  <a:lnTo>
                    <a:pt x="301" y="732"/>
                  </a:lnTo>
                  <a:lnTo>
                    <a:pt x="318" y="719"/>
                  </a:lnTo>
                  <a:lnTo>
                    <a:pt x="327" y="713"/>
                  </a:lnTo>
                  <a:lnTo>
                    <a:pt x="331" y="713"/>
                  </a:lnTo>
                  <a:lnTo>
                    <a:pt x="334" y="713"/>
                  </a:lnTo>
                  <a:lnTo>
                    <a:pt x="340" y="715"/>
                  </a:lnTo>
                  <a:lnTo>
                    <a:pt x="344" y="719"/>
                  </a:lnTo>
                  <a:lnTo>
                    <a:pt x="346" y="724"/>
                  </a:lnTo>
                  <a:lnTo>
                    <a:pt x="349" y="734"/>
                  </a:lnTo>
                  <a:lnTo>
                    <a:pt x="349" y="734"/>
                  </a:lnTo>
                  <a:lnTo>
                    <a:pt x="349" y="739"/>
                  </a:lnTo>
                  <a:lnTo>
                    <a:pt x="349" y="749"/>
                  </a:lnTo>
                  <a:lnTo>
                    <a:pt x="349" y="767"/>
                  </a:lnTo>
                  <a:lnTo>
                    <a:pt x="349" y="777"/>
                  </a:lnTo>
                  <a:lnTo>
                    <a:pt x="353" y="782"/>
                  </a:lnTo>
                  <a:lnTo>
                    <a:pt x="355" y="784"/>
                  </a:lnTo>
                  <a:lnTo>
                    <a:pt x="359" y="784"/>
                  </a:lnTo>
                  <a:lnTo>
                    <a:pt x="368" y="781"/>
                  </a:lnTo>
                  <a:lnTo>
                    <a:pt x="368" y="781"/>
                  </a:lnTo>
                  <a:lnTo>
                    <a:pt x="376" y="777"/>
                  </a:lnTo>
                  <a:lnTo>
                    <a:pt x="379" y="773"/>
                  </a:lnTo>
                  <a:lnTo>
                    <a:pt x="381" y="766"/>
                  </a:lnTo>
                  <a:lnTo>
                    <a:pt x="385" y="766"/>
                  </a:lnTo>
                  <a:lnTo>
                    <a:pt x="391" y="764"/>
                  </a:lnTo>
                  <a:lnTo>
                    <a:pt x="415" y="769"/>
                  </a:lnTo>
                  <a:lnTo>
                    <a:pt x="415" y="769"/>
                  </a:lnTo>
                  <a:lnTo>
                    <a:pt x="420" y="771"/>
                  </a:lnTo>
                  <a:lnTo>
                    <a:pt x="426" y="769"/>
                  </a:lnTo>
                  <a:lnTo>
                    <a:pt x="428" y="767"/>
                  </a:lnTo>
                  <a:lnTo>
                    <a:pt x="432" y="764"/>
                  </a:lnTo>
                  <a:lnTo>
                    <a:pt x="435" y="754"/>
                  </a:lnTo>
                  <a:lnTo>
                    <a:pt x="437" y="743"/>
                  </a:lnTo>
                  <a:lnTo>
                    <a:pt x="441" y="721"/>
                  </a:lnTo>
                  <a:lnTo>
                    <a:pt x="443" y="713"/>
                  </a:lnTo>
                  <a:lnTo>
                    <a:pt x="445" y="711"/>
                  </a:lnTo>
                  <a:lnTo>
                    <a:pt x="448" y="710"/>
                  </a:lnTo>
                  <a:lnTo>
                    <a:pt x="448" y="710"/>
                  </a:lnTo>
                  <a:lnTo>
                    <a:pt x="462" y="708"/>
                  </a:lnTo>
                  <a:lnTo>
                    <a:pt x="473" y="708"/>
                  </a:lnTo>
                  <a:lnTo>
                    <a:pt x="482" y="708"/>
                  </a:lnTo>
                  <a:lnTo>
                    <a:pt x="491" y="710"/>
                  </a:lnTo>
                  <a:lnTo>
                    <a:pt x="497" y="713"/>
                  </a:lnTo>
                  <a:lnTo>
                    <a:pt x="505" y="717"/>
                  </a:lnTo>
                  <a:lnTo>
                    <a:pt x="514" y="726"/>
                  </a:lnTo>
                  <a:lnTo>
                    <a:pt x="521" y="736"/>
                  </a:lnTo>
                  <a:lnTo>
                    <a:pt x="529" y="741"/>
                  </a:lnTo>
                  <a:lnTo>
                    <a:pt x="533" y="743"/>
                  </a:lnTo>
                  <a:lnTo>
                    <a:pt x="536" y="743"/>
                  </a:lnTo>
                  <a:lnTo>
                    <a:pt x="540" y="741"/>
                  </a:lnTo>
                  <a:lnTo>
                    <a:pt x="546" y="738"/>
                  </a:lnTo>
                  <a:lnTo>
                    <a:pt x="546" y="738"/>
                  </a:lnTo>
                  <a:lnTo>
                    <a:pt x="549" y="734"/>
                  </a:lnTo>
                  <a:lnTo>
                    <a:pt x="551" y="728"/>
                  </a:lnTo>
                  <a:lnTo>
                    <a:pt x="553" y="713"/>
                  </a:lnTo>
                  <a:lnTo>
                    <a:pt x="553" y="706"/>
                  </a:lnTo>
                  <a:lnTo>
                    <a:pt x="551" y="700"/>
                  </a:lnTo>
                  <a:lnTo>
                    <a:pt x="547" y="695"/>
                  </a:lnTo>
                  <a:lnTo>
                    <a:pt x="544" y="693"/>
                  </a:lnTo>
                  <a:lnTo>
                    <a:pt x="544" y="693"/>
                  </a:lnTo>
                  <a:lnTo>
                    <a:pt x="538" y="691"/>
                  </a:lnTo>
                  <a:lnTo>
                    <a:pt x="538" y="689"/>
                  </a:lnTo>
                  <a:lnTo>
                    <a:pt x="542" y="685"/>
                  </a:lnTo>
                  <a:lnTo>
                    <a:pt x="546" y="682"/>
                  </a:lnTo>
                  <a:lnTo>
                    <a:pt x="559" y="672"/>
                  </a:lnTo>
                  <a:lnTo>
                    <a:pt x="566" y="665"/>
                  </a:lnTo>
                  <a:lnTo>
                    <a:pt x="566" y="665"/>
                  </a:lnTo>
                  <a:lnTo>
                    <a:pt x="572" y="661"/>
                  </a:lnTo>
                  <a:lnTo>
                    <a:pt x="576" y="659"/>
                  </a:lnTo>
                  <a:lnTo>
                    <a:pt x="581" y="659"/>
                  </a:lnTo>
                  <a:lnTo>
                    <a:pt x="587" y="659"/>
                  </a:lnTo>
                  <a:lnTo>
                    <a:pt x="596" y="665"/>
                  </a:lnTo>
                  <a:lnTo>
                    <a:pt x="609" y="670"/>
                  </a:lnTo>
                  <a:lnTo>
                    <a:pt x="620" y="676"/>
                  </a:lnTo>
                  <a:lnTo>
                    <a:pt x="628" y="678"/>
                  </a:lnTo>
                  <a:lnTo>
                    <a:pt x="633" y="680"/>
                  </a:lnTo>
                  <a:lnTo>
                    <a:pt x="641" y="680"/>
                  </a:lnTo>
                  <a:lnTo>
                    <a:pt x="648" y="678"/>
                  </a:lnTo>
                  <a:lnTo>
                    <a:pt x="658" y="674"/>
                  </a:lnTo>
                  <a:lnTo>
                    <a:pt x="665" y="668"/>
                  </a:lnTo>
                  <a:lnTo>
                    <a:pt x="665" y="668"/>
                  </a:lnTo>
                  <a:lnTo>
                    <a:pt x="673" y="665"/>
                  </a:lnTo>
                  <a:lnTo>
                    <a:pt x="680" y="663"/>
                  </a:lnTo>
                  <a:lnTo>
                    <a:pt x="680" y="663"/>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8" name="Freeform 58">
              <a:extLst>
                <a:ext uri="{FF2B5EF4-FFF2-40B4-BE49-F238E27FC236}">
                  <a16:creationId xmlns:a16="http://schemas.microsoft.com/office/drawing/2014/main" id="{671B977A-23D3-4565-93CF-DF4FC22C8804}"/>
                </a:ext>
              </a:extLst>
            </p:cNvPr>
            <p:cNvSpPr>
              <a:spLocks/>
            </p:cNvSpPr>
            <p:nvPr/>
          </p:nvSpPr>
          <p:spPr bwMode="auto">
            <a:xfrm>
              <a:off x="4537483" y="4898946"/>
              <a:ext cx="686698" cy="581332"/>
            </a:xfrm>
            <a:custGeom>
              <a:avLst/>
              <a:gdLst/>
              <a:ahLst/>
              <a:cxnLst>
                <a:cxn ang="0">
                  <a:pos x="735" y="421"/>
                </a:cxn>
                <a:cxn ang="0">
                  <a:pos x="736" y="383"/>
                </a:cxn>
                <a:cxn ang="0">
                  <a:pos x="746" y="348"/>
                </a:cxn>
                <a:cxn ang="0">
                  <a:pos x="753" y="322"/>
                </a:cxn>
                <a:cxn ang="0">
                  <a:pos x="738" y="299"/>
                </a:cxn>
                <a:cxn ang="0">
                  <a:pos x="660" y="312"/>
                </a:cxn>
                <a:cxn ang="0">
                  <a:pos x="703" y="262"/>
                </a:cxn>
                <a:cxn ang="0">
                  <a:pos x="746" y="228"/>
                </a:cxn>
                <a:cxn ang="0">
                  <a:pos x="723" y="180"/>
                </a:cxn>
                <a:cxn ang="0">
                  <a:pos x="727" y="135"/>
                </a:cxn>
                <a:cxn ang="0">
                  <a:pos x="708" y="112"/>
                </a:cxn>
                <a:cxn ang="0">
                  <a:pos x="686" y="148"/>
                </a:cxn>
                <a:cxn ang="0">
                  <a:pos x="654" y="120"/>
                </a:cxn>
                <a:cxn ang="0">
                  <a:pos x="637" y="118"/>
                </a:cxn>
                <a:cxn ang="0">
                  <a:pos x="621" y="77"/>
                </a:cxn>
                <a:cxn ang="0">
                  <a:pos x="600" y="25"/>
                </a:cxn>
                <a:cxn ang="0">
                  <a:pos x="563" y="21"/>
                </a:cxn>
                <a:cxn ang="0">
                  <a:pos x="531" y="13"/>
                </a:cxn>
                <a:cxn ang="0">
                  <a:pos x="486" y="6"/>
                </a:cxn>
                <a:cxn ang="0">
                  <a:pos x="482" y="40"/>
                </a:cxn>
                <a:cxn ang="0">
                  <a:pos x="447" y="38"/>
                </a:cxn>
                <a:cxn ang="0">
                  <a:pos x="417" y="51"/>
                </a:cxn>
                <a:cxn ang="0">
                  <a:pos x="406" y="86"/>
                </a:cxn>
                <a:cxn ang="0">
                  <a:pos x="389" y="73"/>
                </a:cxn>
                <a:cxn ang="0">
                  <a:pos x="374" y="71"/>
                </a:cxn>
                <a:cxn ang="0">
                  <a:pos x="350" y="86"/>
                </a:cxn>
                <a:cxn ang="0">
                  <a:pos x="293" y="68"/>
                </a:cxn>
                <a:cxn ang="0">
                  <a:pos x="260" y="109"/>
                </a:cxn>
                <a:cxn ang="0">
                  <a:pos x="301" y="139"/>
                </a:cxn>
                <a:cxn ang="0">
                  <a:pos x="351" y="170"/>
                </a:cxn>
                <a:cxn ang="0">
                  <a:pos x="297" y="200"/>
                </a:cxn>
                <a:cxn ang="0">
                  <a:pos x="224" y="196"/>
                </a:cxn>
                <a:cxn ang="0">
                  <a:pos x="189" y="247"/>
                </a:cxn>
                <a:cxn ang="0">
                  <a:pos x="105" y="238"/>
                </a:cxn>
                <a:cxn ang="0">
                  <a:pos x="73" y="251"/>
                </a:cxn>
                <a:cxn ang="0">
                  <a:pos x="41" y="238"/>
                </a:cxn>
                <a:cxn ang="0">
                  <a:pos x="0" y="277"/>
                </a:cxn>
                <a:cxn ang="0">
                  <a:pos x="13" y="301"/>
                </a:cxn>
                <a:cxn ang="0">
                  <a:pos x="13" y="335"/>
                </a:cxn>
                <a:cxn ang="0">
                  <a:pos x="47" y="361"/>
                </a:cxn>
                <a:cxn ang="0">
                  <a:pos x="86" y="348"/>
                </a:cxn>
                <a:cxn ang="0">
                  <a:pos x="122" y="372"/>
                </a:cxn>
                <a:cxn ang="0">
                  <a:pos x="105" y="417"/>
                </a:cxn>
                <a:cxn ang="0">
                  <a:pos x="79" y="499"/>
                </a:cxn>
                <a:cxn ang="0">
                  <a:pos x="116" y="540"/>
                </a:cxn>
                <a:cxn ang="0">
                  <a:pos x="118" y="568"/>
                </a:cxn>
                <a:cxn ang="0">
                  <a:pos x="94" y="611"/>
                </a:cxn>
                <a:cxn ang="0">
                  <a:pos x="137" y="623"/>
                </a:cxn>
                <a:cxn ang="0">
                  <a:pos x="208" y="602"/>
                </a:cxn>
                <a:cxn ang="0">
                  <a:pos x="284" y="639"/>
                </a:cxn>
                <a:cxn ang="0">
                  <a:pos x="316" y="600"/>
                </a:cxn>
                <a:cxn ang="0">
                  <a:pos x="372" y="576"/>
                </a:cxn>
                <a:cxn ang="0">
                  <a:pos x="421" y="546"/>
                </a:cxn>
                <a:cxn ang="0">
                  <a:pos x="436" y="514"/>
                </a:cxn>
                <a:cxn ang="0">
                  <a:pos x="465" y="538"/>
                </a:cxn>
                <a:cxn ang="0">
                  <a:pos x="505" y="557"/>
                </a:cxn>
                <a:cxn ang="0">
                  <a:pos x="542" y="580"/>
                </a:cxn>
                <a:cxn ang="0">
                  <a:pos x="593" y="525"/>
                </a:cxn>
                <a:cxn ang="0">
                  <a:pos x="628" y="548"/>
                </a:cxn>
                <a:cxn ang="0">
                  <a:pos x="645" y="512"/>
                </a:cxn>
                <a:cxn ang="0">
                  <a:pos x="682" y="520"/>
                </a:cxn>
                <a:cxn ang="0">
                  <a:pos x="671" y="499"/>
                </a:cxn>
                <a:cxn ang="0">
                  <a:pos x="718" y="492"/>
                </a:cxn>
              </a:cxnLst>
              <a:rect l="0" t="0" r="r" b="b"/>
              <a:pathLst>
                <a:path w="757" h="641">
                  <a:moveTo>
                    <a:pt x="746" y="462"/>
                  </a:moveTo>
                  <a:lnTo>
                    <a:pt x="746" y="462"/>
                  </a:lnTo>
                  <a:lnTo>
                    <a:pt x="748" y="441"/>
                  </a:lnTo>
                  <a:lnTo>
                    <a:pt x="746" y="432"/>
                  </a:lnTo>
                  <a:lnTo>
                    <a:pt x="744" y="421"/>
                  </a:lnTo>
                  <a:lnTo>
                    <a:pt x="744" y="421"/>
                  </a:lnTo>
                  <a:lnTo>
                    <a:pt x="735" y="421"/>
                  </a:lnTo>
                  <a:lnTo>
                    <a:pt x="725" y="421"/>
                  </a:lnTo>
                  <a:lnTo>
                    <a:pt x="725" y="421"/>
                  </a:lnTo>
                  <a:lnTo>
                    <a:pt x="725" y="411"/>
                  </a:lnTo>
                  <a:lnTo>
                    <a:pt x="727" y="406"/>
                  </a:lnTo>
                  <a:lnTo>
                    <a:pt x="733" y="395"/>
                  </a:lnTo>
                  <a:lnTo>
                    <a:pt x="736" y="391"/>
                  </a:lnTo>
                  <a:lnTo>
                    <a:pt x="736" y="383"/>
                  </a:lnTo>
                  <a:lnTo>
                    <a:pt x="735" y="376"/>
                  </a:lnTo>
                  <a:lnTo>
                    <a:pt x="729" y="368"/>
                  </a:lnTo>
                  <a:lnTo>
                    <a:pt x="729" y="368"/>
                  </a:lnTo>
                  <a:lnTo>
                    <a:pt x="729" y="365"/>
                  </a:lnTo>
                  <a:lnTo>
                    <a:pt x="731" y="361"/>
                  </a:lnTo>
                  <a:lnTo>
                    <a:pt x="740" y="353"/>
                  </a:lnTo>
                  <a:lnTo>
                    <a:pt x="746" y="348"/>
                  </a:lnTo>
                  <a:lnTo>
                    <a:pt x="749" y="344"/>
                  </a:lnTo>
                  <a:lnTo>
                    <a:pt x="751" y="339"/>
                  </a:lnTo>
                  <a:lnTo>
                    <a:pt x="749" y="333"/>
                  </a:lnTo>
                  <a:lnTo>
                    <a:pt x="749" y="333"/>
                  </a:lnTo>
                  <a:lnTo>
                    <a:pt x="748" y="329"/>
                  </a:lnTo>
                  <a:lnTo>
                    <a:pt x="748" y="325"/>
                  </a:lnTo>
                  <a:lnTo>
                    <a:pt x="753" y="322"/>
                  </a:lnTo>
                  <a:lnTo>
                    <a:pt x="755" y="320"/>
                  </a:lnTo>
                  <a:lnTo>
                    <a:pt x="757" y="316"/>
                  </a:lnTo>
                  <a:lnTo>
                    <a:pt x="755" y="312"/>
                  </a:lnTo>
                  <a:lnTo>
                    <a:pt x="751" y="307"/>
                  </a:lnTo>
                  <a:lnTo>
                    <a:pt x="751" y="307"/>
                  </a:lnTo>
                  <a:lnTo>
                    <a:pt x="746" y="301"/>
                  </a:lnTo>
                  <a:lnTo>
                    <a:pt x="738" y="299"/>
                  </a:lnTo>
                  <a:lnTo>
                    <a:pt x="731" y="297"/>
                  </a:lnTo>
                  <a:lnTo>
                    <a:pt x="721" y="297"/>
                  </a:lnTo>
                  <a:lnTo>
                    <a:pt x="703" y="301"/>
                  </a:lnTo>
                  <a:lnTo>
                    <a:pt x="686" y="307"/>
                  </a:lnTo>
                  <a:lnTo>
                    <a:pt x="673" y="310"/>
                  </a:lnTo>
                  <a:lnTo>
                    <a:pt x="662" y="314"/>
                  </a:lnTo>
                  <a:lnTo>
                    <a:pt x="660" y="312"/>
                  </a:lnTo>
                  <a:lnTo>
                    <a:pt x="658" y="310"/>
                  </a:lnTo>
                  <a:lnTo>
                    <a:pt x="660" y="307"/>
                  </a:lnTo>
                  <a:lnTo>
                    <a:pt x="664" y="301"/>
                  </a:lnTo>
                  <a:lnTo>
                    <a:pt x="664" y="301"/>
                  </a:lnTo>
                  <a:lnTo>
                    <a:pt x="678" y="282"/>
                  </a:lnTo>
                  <a:lnTo>
                    <a:pt x="692" y="269"/>
                  </a:lnTo>
                  <a:lnTo>
                    <a:pt x="703" y="262"/>
                  </a:lnTo>
                  <a:lnTo>
                    <a:pt x="714" y="256"/>
                  </a:lnTo>
                  <a:lnTo>
                    <a:pt x="723" y="253"/>
                  </a:lnTo>
                  <a:lnTo>
                    <a:pt x="731" y="249"/>
                  </a:lnTo>
                  <a:lnTo>
                    <a:pt x="738" y="241"/>
                  </a:lnTo>
                  <a:lnTo>
                    <a:pt x="746" y="232"/>
                  </a:lnTo>
                  <a:lnTo>
                    <a:pt x="746" y="232"/>
                  </a:lnTo>
                  <a:lnTo>
                    <a:pt x="746" y="228"/>
                  </a:lnTo>
                  <a:lnTo>
                    <a:pt x="748" y="225"/>
                  </a:lnTo>
                  <a:lnTo>
                    <a:pt x="744" y="217"/>
                  </a:lnTo>
                  <a:lnTo>
                    <a:pt x="731" y="206"/>
                  </a:lnTo>
                  <a:lnTo>
                    <a:pt x="725" y="198"/>
                  </a:lnTo>
                  <a:lnTo>
                    <a:pt x="723" y="193"/>
                  </a:lnTo>
                  <a:lnTo>
                    <a:pt x="723" y="187"/>
                  </a:lnTo>
                  <a:lnTo>
                    <a:pt x="723" y="180"/>
                  </a:lnTo>
                  <a:lnTo>
                    <a:pt x="723" y="170"/>
                  </a:lnTo>
                  <a:lnTo>
                    <a:pt x="727" y="161"/>
                  </a:lnTo>
                  <a:lnTo>
                    <a:pt x="731" y="150"/>
                  </a:lnTo>
                  <a:lnTo>
                    <a:pt x="731" y="150"/>
                  </a:lnTo>
                  <a:lnTo>
                    <a:pt x="733" y="144"/>
                  </a:lnTo>
                  <a:lnTo>
                    <a:pt x="733" y="140"/>
                  </a:lnTo>
                  <a:lnTo>
                    <a:pt x="727" y="135"/>
                  </a:lnTo>
                  <a:lnTo>
                    <a:pt x="725" y="131"/>
                  </a:lnTo>
                  <a:lnTo>
                    <a:pt x="721" y="125"/>
                  </a:lnTo>
                  <a:lnTo>
                    <a:pt x="718" y="118"/>
                  </a:lnTo>
                  <a:lnTo>
                    <a:pt x="716" y="107"/>
                  </a:lnTo>
                  <a:lnTo>
                    <a:pt x="716" y="107"/>
                  </a:lnTo>
                  <a:lnTo>
                    <a:pt x="712" y="111"/>
                  </a:lnTo>
                  <a:lnTo>
                    <a:pt x="708" y="112"/>
                  </a:lnTo>
                  <a:lnTo>
                    <a:pt x="705" y="116"/>
                  </a:lnTo>
                  <a:lnTo>
                    <a:pt x="703" y="120"/>
                  </a:lnTo>
                  <a:lnTo>
                    <a:pt x="703" y="120"/>
                  </a:lnTo>
                  <a:lnTo>
                    <a:pt x="697" y="135"/>
                  </a:lnTo>
                  <a:lnTo>
                    <a:pt x="693" y="144"/>
                  </a:lnTo>
                  <a:lnTo>
                    <a:pt x="690" y="148"/>
                  </a:lnTo>
                  <a:lnTo>
                    <a:pt x="686" y="148"/>
                  </a:lnTo>
                  <a:lnTo>
                    <a:pt x="682" y="142"/>
                  </a:lnTo>
                  <a:lnTo>
                    <a:pt x="678" y="139"/>
                  </a:lnTo>
                  <a:lnTo>
                    <a:pt x="673" y="137"/>
                  </a:lnTo>
                  <a:lnTo>
                    <a:pt x="673" y="137"/>
                  </a:lnTo>
                  <a:lnTo>
                    <a:pt x="664" y="133"/>
                  </a:lnTo>
                  <a:lnTo>
                    <a:pt x="658" y="127"/>
                  </a:lnTo>
                  <a:lnTo>
                    <a:pt x="654" y="120"/>
                  </a:lnTo>
                  <a:lnTo>
                    <a:pt x="652" y="114"/>
                  </a:lnTo>
                  <a:lnTo>
                    <a:pt x="650" y="103"/>
                  </a:lnTo>
                  <a:lnTo>
                    <a:pt x="649" y="103"/>
                  </a:lnTo>
                  <a:lnTo>
                    <a:pt x="645" y="105"/>
                  </a:lnTo>
                  <a:lnTo>
                    <a:pt x="645" y="105"/>
                  </a:lnTo>
                  <a:lnTo>
                    <a:pt x="639" y="112"/>
                  </a:lnTo>
                  <a:lnTo>
                    <a:pt x="637" y="118"/>
                  </a:lnTo>
                  <a:lnTo>
                    <a:pt x="635" y="116"/>
                  </a:lnTo>
                  <a:lnTo>
                    <a:pt x="635" y="112"/>
                  </a:lnTo>
                  <a:lnTo>
                    <a:pt x="635" y="88"/>
                  </a:lnTo>
                  <a:lnTo>
                    <a:pt x="635" y="88"/>
                  </a:lnTo>
                  <a:lnTo>
                    <a:pt x="634" y="84"/>
                  </a:lnTo>
                  <a:lnTo>
                    <a:pt x="630" y="81"/>
                  </a:lnTo>
                  <a:lnTo>
                    <a:pt x="621" y="77"/>
                  </a:lnTo>
                  <a:lnTo>
                    <a:pt x="615" y="75"/>
                  </a:lnTo>
                  <a:lnTo>
                    <a:pt x="609" y="71"/>
                  </a:lnTo>
                  <a:lnTo>
                    <a:pt x="606" y="66"/>
                  </a:lnTo>
                  <a:lnTo>
                    <a:pt x="604" y="58"/>
                  </a:lnTo>
                  <a:lnTo>
                    <a:pt x="604" y="58"/>
                  </a:lnTo>
                  <a:lnTo>
                    <a:pt x="602" y="30"/>
                  </a:lnTo>
                  <a:lnTo>
                    <a:pt x="600" y="25"/>
                  </a:lnTo>
                  <a:lnTo>
                    <a:pt x="600" y="23"/>
                  </a:lnTo>
                  <a:lnTo>
                    <a:pt x="593" y="25"/>
                  </a:lnTo>
                  <a:lnTo>
                    <a:pt x="587" y="25"/>
                  </a:lnTo>
                  <a:lnTo>
                    <a:pt x="579" y="23"/>
                  </a:lnTo>
                  <a:lnTo>
                    <a:pt x="579" y="23"/>
                  </a:lnTo>
                  <a:lnTo>
                    <a:pt x="570" y="19"/>
                  </a:lnTo>
                  <a:lnTo>
                    <a:pt x="563" y="21"/>
                  </a:lnTo>
                  <a:lnTo>
                    <a:pt x="557" y="23"/>
                  </a:lnTo>
                  <a:lnTo>
                    <a:pt x="551" y="26"/>
                  </a:lnTo>
                  <a:lnTo>
                    <a:pt x="546" y="28"/>
                  </a:lnTo>
                  <a:lnTo>
                    <a:pt x="542" y="28"/>
                  </a:lnTo>
                  <a:lnTo>
                    <a:pt x="536" y="25"/>
                  </a:lnTo>
                  <a:lnTo>
                    <a:pt x="531" y="13"/>
                  </a:lnTo>
                  <a:lnTo>
                    <a:pt x="531" y="13"/>
                  </a:lnTo>
                  <a:lnTo>
                    <a:pt x="527" y="6"/>
                  </a:lnTo>
                  <a:lnTo>
                    <a:pt x="520" y="2"/>
                  </a:lnTo>
                  <a:lnTo>
                    <a:pt x="512" y="0"/>
                  </a:lnTo>
                  <a:lnTo>
                    <a:pt x="505" y="0"/>
                  </a:lnTo>
                  <a:lnTo>
                    <a:pt x="497" y="2"/>
                  </a:lnTo>
                  <a:lnTo>
                    <a:pt x="492" y="4"/>
                  </a:lnTo>
                  <a:lnTo>
                    <a:pt x="486" y="6"/>
                  </a:lnTo>
                  <a:lnTo>
                    <a:pt x="484" y="8"/>
                  </a:lnTo>
                  <a:lnTo>
                    <a:pt x="484" y="8"/>
                  </a:lnTo>
                  <a:lnTo>
                    <a:pt x="486" y="19"/>
                  </a:lnTo>
                  <a:lnTo>
                    <a:pt x="488" y="26"/>
                  </a:lnTo>
                  <a:lnTo>
                    <a:pt x="488" y="32"/>
                  </a:lnTo>
                  <a:lnTo>
                    <a:pt x="486" y="36"/>
                  </a:lnTo>
                  <a:lnTo>
                    <a:pt x="482" y="40"/>
                  </a:lnTo>
                  <a:lnTo>
                    <a:pt x="482" y="40"/>
                  </a:lnTo>
                  <a:lnTo>
                    <a:pt x="473" y="49"/>
                  </a:lnTo>
                  <a:lnTo>
                    <a:pt x="465" y="51"/>
                  </a:lnTo>
                  <a:lnTo>
                    <a:pt x="460" y="49"/>
                  </a:lnTo>
                  <a:lnTo>
                    <a:pt x="454" y="45"/>
                  </a:lnTo>
                  <a:lnTo>
                    <a:pt x="450" y="41"/>
                  </a:lnTo>
                  <a:lnTo>
                    <a:pt x="447" y="38"/>
                  </a:lnTo>
                  <a:lnTo>
                    <a:pt x="441" y="40"/>
                  </a:lnTo>
                  <a:lnTo>
                    <a:pt x="434" y="45"/>
                  </a:lnTo>
                  <a:lnTo>
                    <a:pt x="434" y="45"/>
                  </a:lnTo>
                  <a:lnTo>
                    <a:pt x="428" y="51"/>
                  </a:lnTo>
                  <a:lnTo>
                    <a:pt x="422" y="53"/>
                  </a:lnTo>
                  <a:lnTo>
                    <a:pt x="419" y="53"/>
                  </a:lnTo>
                  <a:lnTo>
                    <a:pt x="417" y="51"/>
                  </a:lnTo>
                  <a:lnTo>
                    <a:pt x="413" y="49"/>
                  </a:lnTo>
                  <a:lnTo>
                    <a:pt x="417" y="60"/>
                  </a:lnTo>
                  <a:lnTo>
                    <a:pt x="417" y="60"/>
                  </a:lnTo>
                  <a:lnTo>
                    <a:pt x="417" y="64"/>
                  </a:lnTo>
                  <a:lnTo>
                    <a:pt x="415" y="71"/>
                  </a:lnTo>
                  <a:lnTo>
                    <a:pt x="411" y="79"/>
                  </a:lnTo>
                  <a:lnTo>
                    <a:pt x="406" y="86"/>
                  </a:lnTo>
                  <a:lnTo>
                    <a:pt x="398" y="90"/>
                  </a:lnTo>
                  <a:lnTo>
                    <a:pt x="394" y="92"/>
                  </a:lnTo>
                  <a:lnTo>
                    <a:pt x="393" y="92"/>
                  </a:lnTo>
                  <a:lnTo>
                    <a:pt x="391" y="90"/>
                  </a:lnTo>
                  <a:lnTo>
                    <a:pt x="389" y="81"/>
                  </a:lnTo>
                  <a:lnTo>
                    <a:pt x="389" y="81"/>
                  </a:lnTo>
                  <a:lnTo>
                    <a:pt x="389" y="73"/>
                  </a:lnTo>
                  <a:lnTo>
                    <a:pt x="387" y="66"/>
                  </a:lnTo>
                  <a:lnTo>
                    <a:pt x="379" y="53"/>
                  </a:lnTo>
                  <a:lnTo>
                    <a:pt x="378" y="51"/>
                  </a:lnTo>
                  <a:lnTo>
                    <a:pt x="374" y="53"/>
                  </a:lnTo>
                  <a:lnTo>
                    <a:pt x="374" y="58"/>
                  </a:lnTo>
                  <a:lnTo>
                    <a:pt x="374" y="71"/>
                  </a:lnTo>
                  <a:lnTo>
                    <a:pt x="374" y="71"/>
                  </a:lnTo>
                  <a:lnTo>
                    <a:pt x="372" y="77"/>
                  </a:lnTo>
                  <a:lnTo>
                    <a:pt x="372" y="81"/>
                  </a:lnTo>
                  <a:lnTo>
                    <a:pt x="368" y="84"/>
                  </a:lnTo>
                  <a:lnTo>
                    <a:pt x="366" y="86"/>
                  </a:lnTo>
                  <a:lnTo>
                    <a:pt x="359" y="88"/>
                  </a:lnTo>
                  <a:lnTo>
                    <a:pt x="350" y="86"/>
                  </a:lnTo>
                  <a:lnTo>
                    <a:pt x="350" y="86"/>
                  </a:lnTo>
                  <a:lnTo>
                    <a:pt x="344" y="83"/>
                  </a:lnTo>
                  <a:lnTo>
                    <a:pt x="338" y="79"/>
                  </a:lnTo>
                  <a:lnTo>
                    <a:pt x="338" y="79"/>
                  </a:lnTo>
                  <a:lnTo>
                    <a:pt x="329" y="73"/>
                  </a:lnTo>
                  <a:lnTo>
                    <a:pt x="318" y="69"/>
                  </a:lnTo>
                  <a:lnTo>
                    <a:pt x="307" y="68"/>
                  </a:lnTo>
                  <a:lnTo>
                    <a:pt x="293" y="68"/>
                  </a:lnTo>
                  <a:lnTo>
                    <a:pt x="282" y="71"/>
                  </a:lnTo>
                  <a:lnTo>
                    <a:pt x="273" y="75"/>
                  </a:lnTo>
                  <a:lnTo>
                    <a:pt x="265" y="83"/>
                  </a:lnTo>
                  <a:lnTo>
                    <a:pt x="260" y="90"/>
                  </a:lnTo>
                  <a:lnTo>
                    <a:pt x="260" y="90"/>
                  </a:lnTo>
                  <a:lnTo>
                    <a:pt x="260" y="101"/>
                  </a:lnTo>
                  <a:lnTo>
                    <a:pt x="260" y="109"/>
                  </a:lnTo>
                  <a:lnTo>
                    <a:pt x="264" y="114"/>
                  </a:lnTo>
                  <a:lnTo>
                    <a:pt x="269" y="118"/>
                  </a:lnTo>
                  <a:lnTo>
                    <a:pt x="282" y="125"/>
                  </a:lnTo>
                  <a:lnTo>
                    <a:pt x="290" y="129"/>
                  </a:lnTo>
                  <a:lnTo>
                    <a:pt x="295" y="135"/>
                  </a:lnTo>
                  <a:lnTo>
                    <a:pt x="295" y="135"/>
                  </a:lnTo>
                  <a:lnTo>
                    <a:pt x="301" y="139"/>
                  </a:lnTo>
                  <a:lnTo>
                    <a:pt x="310" y="142"/>
                  </a:lnTo>
                  <a:lnTo>
                    <a:pt x="322" y="146"/>
                  </a:lnTo>
                  <a:lnTo>
                    <a:pt x="335" y="152"/>
                  </a:lnTo>
                  <a:lnTo>
                    <a:pt x="344" y="157"/>
                  </a:lnTo>
                  <a:lnTo>
                    <a:pt x="348" y="161"/>
                  </a:lnTo>
                  <a:lnTo>
                    <a:pt x="350" y="167"/>
                  </a:lnTo>
                  <a:lnTo>
                    <a:pt x="351" y="170"/>
                  </a:lnTo>
                  <a:lnTo>
                    <a:pt x="351" y="176"/>
                  </a:lnTo>
                  <a:lnTo>
                    <a:pt x="348" y="182"/>
                  </a:lnTo>
                  <a:lnTo>
                    <a:pt x="344" y="189"/>
                  </a:lnTo>
                  <a:lnTo>
                    <a:pt x="344" y="189"/>
                  </a:lnTo>
                  <a:lnTo>
                    <a:pt x="336" y="193"/>
                  </a:lnTo>
                  <a:lnTo>
                    <a:pt x="327" y="196"/>
                  </a:lnTo>
                  <a:lnTo>
                    <a:pt x="297" y="200"/>
                  </a:lnTo>
                  <a:lnTo>
                    <a:pt x="267" y="202"/>
                  </a:lnTo>
                  <a:lnTo>
                    <a:pt x="256" y="202"/>
                  </a:lnTo>
                  <a:lnTo>
                    <a:pt x="251" y="200"/>
                  </a:lnTo>
                  <a:lnTo>
                    <a:pt x="251" y="200"/>
                  </a:lnTo>
                  <a:lnTo>
                    <a:pt x="243" y="196"/>
                  </a:lnTo>
                  <a:lnTo>
                    <a:pt x="237" y="196"/>
                  </a:lnTo>
                  <a:lnTo>
                    <a:pt x="224" y="196"/>
                  </a:lnTo>
                  <a:lnTo>
                    <a:pt x="224" y="196"/>
                  </a:lnTo>
                  <a:lnTo>
                    <a:pt x="219" y="202"/>
                  </a:lnTo>
                  <a:lnTo>
                    <a:pt x="215" y="210"/>
                  </a:lnTo>
                  <a:lnTo>
                    <a:pt x="209" y="226"/>
                  </a:lnTo>
                  <a:lnTo>
                    <a:pt x="206" y="234"/>
                  </a:lnTo>
                  <a:lnTo>
                    <a:pt x="198" y="241"/>
                  </a:lnTo>
                  <a:lnTo>
                    <a:pt x="189" y="247"/>
                  </a:lnTo>
                  <a:lnTo>
                    <a:pt x="174" y="251"/>
                  </a:lnTo>
                  <a:lnTo>
                    <a:pt x="174" y="251"/>
                  </a:lnTo>
                  <a:lnTo>
                    <a:pt x="148" y="254"/>
                  </a:lnTo>
                  <a:lnTo>
                    <a:pt x="129" y="253"/>
                  </a:lnTo>
                  <a:lnTo>
                    <a:pt x="118" y="251"/>
                  </a:lnTo>
                  <a:lnTo>
                    <a:pt x="112" y="247"/>
                  </a:lnTo>
                  <a:lnTo>
                    <a:pt x="105" y="238"/>
                  </a:lnTo>
                  <a:lnTo>
                    <a:pt x="101" y="236"/>
                  </a:lnTo>
                  <a:lnTo>
                    <a:pt x="94" y="234"/>
                  </a:lnTo>
                  <a:lnTo>
                    <a:pt x="94" y="234"/>
                  </a:lnTo>
                  <a:lnTo>
                    <a:pt x="86" y="236"/>
                  </a:lnTo>
                  <a:lnTo>
                    <a:pt x="80" y="239"/>
                  </a:lnTo>
                  <a:lnTo>
                    <a:pt x="77" y="249"/>
                  </a:lnTo>
                  <a:lnTo>
                    <a:pt x="73" y="251"/>
                  </a:lnTo>
                  <a:lnTo>
                    <a:pt x="69" y="251"/>
                  </a:lnTo>
                  <a:lnTo>
                    <a:pt x="64" y="247"/>
                  </a:lnTo>
                  <a:lnTo>
                    <a:pt x="54" y="239"/>
                  </a:lnTo>
                  <a:lnTo>
                    <a:pt x="54" y="239"/>
                  </a:lnTo>
                  <a:lnTo>
                    <a:pt x="49" y="236"/>
                  </a:lnTo>
                  <a:lnTo>
                    <a:pt x="45" y="236"/>
                  </a:lnTo>
                  <a:lnTo>
                    <a:pt x="41" y="238"/>
                  </a:lnTo>
                  <a:lnTo>
                    <a:pt x="37" y="238"/>
                  </a:lnTo>
                  <a:lnTo>
                    <a:pt x="37" y="238"/>
                  </a:lnTo>
                  <a:lnTo>
                    <a:pt x="34" y="247"/>
                  </a:lnTo>
                  <a:lnTo>
                    <a:pt x="28" y="253"/>
                  </a:lnTo>
                  <a:lnTo>
                    <a:pt x="11" y="266"/>
                  </a:lnTo>
                  <a:lnTo>
                    <a:pt x="6" y="271"/>
                  </a:lnTo>
                  <a:lnTo>
                    <a:pt x="0" y="277"/>
                  </a:lnTo>
                  <a:lnTo>
                    <a:pt x="0" y="279"/>
                  </a:lnTo>
                  <a:lnTo>
                    <a:pt x="0" y="282"/>
                  </a:lnTo>
                  <a:lnTo>
                    <a:pt x="2" y="284"/>
                  </a:lnTo>
                  <a:lnTo>
                    <a:pt x="6" y="288"/>
                  </a:lnTo>
                  <a:lnTo>
                    <a:pt x="6" y="288"/>
                  </a:lnTo>
                  <a:lnTo>
                    <a:pt x="11" y="294"/>
                  </a:lnTo>
                  <a:lnTo>
                    <a:pt x="13" y="301"/>
                  </a:lnTo>
                  <a:lnTo>
                    <a:pt x="11" y="307"/>
                  </a:lnTo>
                  <a:lnTo>
                    <a:pt x="9" y="314"/>
                  </a:lnTo>
                  <a:lnTo>
                    <a:pt x="8" y="320"/>
                  </a:lnTo>
                  <a:lnTo>
                    <a:pt x="6" y="325"/>
                  </a:lnTo>
                  <a:lnTo>
                    <a:pt x="8" y="331"/>
                  </a:lnTo>
                  <a:lnTo>
                    <a:pt x="13" y="335"/>
                  </a:lnTo>
                  <a:lnTo>
                    <a:pt x="13" y="335"/>
                  </a:lnTo>
                  <a:lnTo>
                    <a:pt x="13" y="342"/>
                  </a:lnTo>
                  <a:lnTo>
                    <a:pt x="15" y="348"/>
                  </a:lnTo>
                  <a:lnTo>
                    <a:pt x="17" y="355"/>
                  </a:lnTo>
                  <a:lnTo>
                    <a:pt x="23" y="361"/>
                  </a:lnTo>
                  <a:lnTo>
                    <a:pt x="28" y="365"/>
                  </a:lnTo>
                  <a:lnTo>
                    <a:pt x="36" y="365"/>
                  </a:lnTo>
                  <a:lnTo>
                    <a:pt x="47" y="361"/>
                  </a:lnTo>
                  <a:lnTo>
                    <a:pt x="47" y="361"/>
                  </a:lnTo>
                  <a:lnTo>
                    <a:pt x="54" y="355"/>
                  </a:lnTo>
                  <a:lnTo>
                    <a:pt x="58" y="348"/>
                  </a:lnTo>
                  <a:lnTo>
                    <a:pt x="58" y="348"/>
                  </a:lnTo>
                  <a:lnTo>
                    <a:pt x="73" y="350"/>
                  </a:lnTo>
                  <a:lnTo>
                    <a:pt x="79" y="350"/>
                  </a:lnTo>
                  <a:lnTo>
                    <a:pt x="86" y="348"/>
                  </a:lnTo>
                  <a:lnTo>
                    <a:pt x="86" y="348"/>
                  </a:lnTo>
                  <a:lnTo>
                    <a:pt x="90" y="346"/>
                  </a:lnTo>
                  <a:lnTo>
                    <a:pt x="94" y="346"/>
                  </a:lnTo>
                  <a:lnTo>
                    <a:pt x="103" y="348"/>
                  </a:lnTo>
                  <a:lnTo>
                    <a:pt x="110" y="353"/>
                  </a:lnTo>
                  <a:lnTo>
                    <a:pt x="118" y="363"/>
                  </a:lnTo>
                  <a:lnTo>
                    <a:pt x="122" y="372"/>
                  </a:lnTo>
                  <a:lnTo>
                    <a:pt x="125" y="383"/>
                  </a:lnTo>
                  <a:lnTo>
                    <a:pt x="123" y="393"/>
                  </a:lnTo>
                  <a:lnTo>
                    <a:pt x="122" y="396"/>
                  </a:lnTo>
                  <a:lnTo>
                    <a:pt x="118" y="400"/>
                  </a:lnTo>
                  <a:lnTo>
                    <a:pt x="118" y="400"/>
                  </a:lnTo>
                  <a:lnTo>
                    <a:pt x="112" y="406"/>
                  </a:lnTo>
                  <a:lnTo>
                    <a:pt x="105" y="417"/>
                  </a:lnTo>
                  <a:lnTo>
                    <a:pt x="88" y="445"/>
                  </a:lnTo>
                  <a:lnTo>
                    <a:pt x="80" y="462"/>
                  </a:lnTo>
                  <a:lnTo>
                    <a:pt x="77" y="477"/>
                  </a:lnTo>
                  <a:lnTo>
                    <a:pt x="75" y="490"/>
                  </a:lnTo>
                  <a:lnTo>
                    <a:pt x="75" y="495"/>
                  </a:lnTo>
                  <a:lnTo>
                    <a:pt x="79" y="499"/>
                  </a:lnTo>
                  <a:lnTo>
                    <a:pt x="79" y="499"/>
                  </a:lnTo>
                  <a:lnTo>
                    <a:pt x="86" y="507"/>
                  </a:lnTo>
                  <a:lnTo>
                    <a:pt x="94" y="512"/>
                  </a:lnTo>
                  <a:lnTo>
                    <a:pt x="99" y="520"/>
                  </a:lnTo>
                  <a:lnTo>
                    <a:pt x="105" y="529"/>
                  </a:lnTo>
                  <a:lnTo>
                    <a:pt x="105" y="529"/>
                  </a:lnTo>
                  <a:lnTo>
                    <a:pt x="110" y="535"/>
                  </a:lnTo>
                  <a:lnTo>
                    <a:pt x="116" y="540"/>
                  </a:lnTo>
                  <a:lnTo>
                    <a:pt x="125" y="546"/>
                  </a:lnTo>
                  <a:lnTo>
                    <a:pt x="129" y="550"/>
                  </a:lnTo>
                  <a:lnTo>
                    <a:pt x="131" y="553"/>
                  </a:lnTo>
                  <a:lnTo>
                    <a:pt x="129" y="557"/>
                  </a:lnTo>
                  <a:lnTo>
                    <a:pt x="122" y="563"/>
                  </a:lnTo>
                  <a:lnTo>
                    <a:pt x="122" y="563"/>
                  </a:lnTo>
                  <a:lnTo>
                    <a:pt x="118" y="568"/>
                  </a:lnTo>
                  <a:lnTo>
                    <a:pt x="116" y="578"/>
                  </a:lnTo>
                  <a:lnTo>
                    <a:pt x="112" y="585"/>
                  </a:lnTo>
                  <a:lnTo>
                    <a:pt x="108" y="593"/>
                  </a:lnTo>
                  <a:lnTo>
                    <a:pt x="108" y="593"/>
                  </a:lnTo>
                  <a:lnTo>
                    <a:pt x="99" y="602"/>
                  </a:lnTo>
                  <a:lnTo>
                    <a:pt x="94" y="611"/>
                  </a:lnTo>
                  <a:lnTo>
                    <a:pt x="94" y="611"/>
                  </a:lnTo>
                  <a:lnTo>
                    <a:pt x="97" y="621"/>
                  </a:lnTo>
                  <a:lnTo>
                    <a:pt x="101" y="628"/>
                  </a:lnTo>
                  <a:lnTo>
                    <a:pt x="107" y="632"/>
                  </a:lnTo>
                  <a:lnTo>
                    <a:pt x="112" y="634"/>
                  </a:lnTo>
                  <a:lnTo>
                    <a:pt x="118" y="634"/>
                  </a:lnTo>
                  <a:lnTo>
                    <a:pt x="123" y="630"/>
                  </a:lnTo>
                  <a:lnTo>
                    <a:pt x="137" y="623"/>
                  </a:lnTo>
                  <a:lnTo>
                    <a:pt x="165" y="600"/>
                  </a:lnTo>
                  <a:lnTo>
                    <a:pt x="176" y="593"/>
                  </a:lnTo>
                  <a:lnTo>
                    <a:pt x="181" y="591"/>
                  </a:lnTo>
                  <a:lnTo>
                    <a:pt x="185" y="591"/>
                  </a:lnTo>
                  <a:lnTo>
                    <a:pt x="185" y="591"/>
                  </a:lnTo>
                  <a:lnTo>
                    <a:pt x="198" y="596"/>
                  </a:lnTo>
                  <a:lnTo>
                    <a:pt x="208" y="602"/>
                  </a:lnTo>
                  <a:lnTo>
                    <a:pt x="230" y="615"/>
                  </a:lnTo>
                  <a:lnTo>
                    <a:pt x="251" y="626"/>
                  </a:lnTo>
                  <a:lnTo>
                    <a:pt x="262" y="630"/>
                  </a:lnTo>
                  <a:lnTo>
                    <a:pt x="275" y="634"/>
                  </a:lnTo>
                  <a:lnTo>
                    <a:pt x="275" y="634"/>
                  </a:lnTo>
                  <a:lnTo>
                    <a:pt x="279" y="637"/>
                  </a:lnTo>
                  <a:lnTo>
                    <a:pt x="284" y="639"/>
                  </a:lnTo>
                  <a:lnTo>
                    <a:pt x="292" y="641"/>
                  </a:lnTo>
                  <a:lnTo>
                    <a:pt x="297" y="641"/>
                  </a:lnTo>
                  <a:lnTo>
                    <a:pt x="303" y="636"/>
                  </a:lnTo>
                  <a:lnTo>
                    <a:pt x="308" y="623"/>
                  </a:lnTo>
                  <a:lnTo>
                    <a:pt x="314" y="604"/>
                  </a:lnTo>
                  <a:lnTo>
                    <a:pt x="314" y="604"/>
                  </a:lnTo>
                  <a:lnTo>
                    <a:pt x="316" y="600"/>
                  </a:lnTo>
                  <a:lnTo>
                    <a:pt x="320" y="596"/>
                  </a:lnTo>
                  <a:lnTo>
                    <a:pt x="331" y="594"/>
                  </a:lnTo>
                  <a:lnTo>
                    <a:pt x="348" y="589"/>
                  </a:lnTo>
                  <a:lnTo>
                    <a:pt x="357" y="585"/>
                  </a:lnTo>
                  <a:lnTo>
                    <a:pt x="366" y="580"/>
                  </a:lnTo>
                  <a:lnTo>
                    <a:pt x="366" y="580"/>
                  </a:lnTo>
                  <a:lnTo>
                    <a:pt x="372" y="576"/>
                  </a:lnTo>
                  <a:lnTo>
                    <a:pt x="381" y="574"/>
                  </a:lnTo>
                  <a:lnTo>
                    <a:pt x="402" y="568"/>
                  </a:lnTo>
                  <a:lnTo>
                    <a:pt x="411" y="565"/>
                  </a:lnTo>
                  <a:lnTo>
                    <a:pt x="419" y="559"/>
                  </a:lnTo>
                  <a:lnTo>
                    <a:pt x="421" y="555"/>
                  </a:lnTo>
                  <a:lnTo>
                    <a:pt x="422" y="552"/>
                  </a:lnTo>
                  <a:lnTo>
                    <a:pt x="421" y="546"/>
                  </a:lnTo>
                  <a:lnTo>
                    <a:pt x="421" y="540"/>
                  </a:lnTo>
                  <a:lnTo>
                    <a:pt x="421" y="540"/>
                  </a:lnTo>
                  <a:lnTo>
                    <a:pt x="419" y="537"/>
                  </a:lnTo>
                  <a:lnTo>
                    <a:pt x="419" y="531"/>
                  </a:lnTo>
                  <a:lnTo>
                    <a:pt x="421" y="523"/>
                  </a:lnTo>
                  <a:lnTo>
                    <a:pt x="428" y="516"/>
                  </a:lnTo>
                  <a:lnTo>
                    <a:pt x="436" y="514"/>
                  </a:lnTo>
                  <a:lnTo>
                    <a:pt x="443" y="512"/>
                  </a:lnTo>
                  <a:lnTo>
                    <a:pt x="452" y="514"/>
                  </a:lnTo>
                  <a:lnTo>
                    <a:pt x="458" y="520"/>
                  </a:lnTo>
                  <a:lnTo>
                    <a:pt x="462" y="523"/>
                  </a:lnTo>
                  <a:lnTo>
                    <a:pt x="462" y="529"/>
                  </a:lnTo>
                  <a:lnTo>
                    <a:pt x="462" y="529"/>
                  </a:lnTo>
                  <a:lnTo>
                    <a:pt x="465" y="538"/>
                  </a:lnTo>
                  <a:lnTo>
                    <a:pt x="473" y="552"/>
                  </a:lnTo>
                  <a:lnTo>
                    <a:pt x="482" y="561"/>
                  </a:lnTo>
                  <a:lnTo>
                    <a:pt x="486" y="565"/>
                  </a:lnTo>
                  <a:lnTo>
                    <a:pt x="490" y="565"/>
                  </a:lnTo>
                  <a:lnTo>
                    <a:pt x="490" y="565"/>
                  </a:lnTo>
                  <a:lnTo>
                    <a:pt x="501" y="559"/>
                  </a:lnTo>
                  <a:lnTo>
                    <a:pt x="505" y="557"/>
                  </a:lnTo>
                  <a:lnTo>
                    <a:pt x="507" y="561"/>
                  </a:lnTo>
                  <a:lnTo>
                    <a:pt x="518" y="574"/>
                  </a:lnTo>
                  <a:lnTo>
                    <a:pt x="518" y="574"/>
                  </a:lnTo>
                  <a:lnTo>
                    <a:pt x="523" y="578"/>
                  </a:lnTo>
                  <a:lnTo>
                    <a:pt x="531" y="580"/>
                  </a:lnTo>
                  <a:lnTo>
                    <a:pt x="536" y="581"/>
                  </a:lnTo>
                  <a:lnTo>
                    <a:pt x="542" y="580"/>
                  </a:lnTo>
                  <a:lnTo>
                    <a:pt x="548" y="578"/>
                  </a:lnTo>
                  <a:lnTo>
                    <a:pt x="553" y="574"/>
                  </a:lnTo>
                  <a:lnTo>
                    <a:pt x="563" y="563"/>
                  </a:lnTo>
                  <a:lnTo>
                    <a:pt x="579" y="540"/>
                  </a:lnTo>
                  <a:lnTo>
                    <a:pt x="587" y="531"/>
                  </a:lnTo>
                  <a:lnTo>
                    <a:pt x="593" y="525"/>
                  </a:lnTo>
                  <a:lnTo>
                    <a:pt x="593" y="525"/>
                  </a:lnTo>
                  <a:lnTo>
                    <a:pt x="594" y="525"/>
                  </a:lnTo>
                  <a:lnTo>
                    <a:pt x="598" y="525"/>
                  </a:lnTo>
                  <a:lnTo>
                    <a:pt x="606" y="529"/>
                  </a:lnTo>
                  <a:lnTo>
                    <a:pt x="617" y="540"/>
                  </a:lnTo>
                  <a:lnTo>
                    <a:pt x="622" y="546"/>
                  </a:lnTo>
                  <a:lnTo>
                    <a:pt x="626" y="548"/>
                  </a:lnTo>
                  <a:lnTo>
                    <a:pt x="628" y="548"/>
                  </a:lnTo>
                  <a:lnTo>
                    <a:pt x="630" y="546"/>
                  </a:lnTo>
                  <a:lnTo>
                    <a:pt x="630" y="540"/>
                  </a:lnTo>
                  <a:lnTo>
                    <a:pt x="630" y="540"/>
                  </a:lnTo>
                  <a:lnTo>
                    <a:pt x="634" y="529"/>
                  </a:lnTo>
                  <a:lnTo>
                    <a:pt x="637" y="520"/>
                  </a:lnTo>
                  <a:lnTo>
                    <a:pt x="641" y="516"/>
                  </a:lnTo>
                  <a:lnTo>
                    <a:pt x="645" y="512"/>
                  </a:lnTo>
                  <a:lnTo>
                    <a:pt x="649" y="512"/>
                  </a:lnTo>
                  <a:lnTo>
                    <a:pt x="652" y="514"/>
                  </a:lnTo>
                  <a:lnTo>
                    <a:pt x="652" y="514"/>
                  </a:lnTo>
                  <a:lnTo>
                    <a:pt x="660" y="520"/>
                  </a:lnTo>
                  <a:lnTo>
                    <a:pt x="669" y="523"/>
                  </a:lnTo>
                  <a:lnTo>
                    <a:pt x="677" y="522"/>
                  </a:lnTo>
                  <a:lnTo>
                    <a:pt x="682" y="520"/>
                  </a:lnTo>
                  <a:lnTo>
                    <a:pt x="686" y="516"/>
                  </a:lnTo>
                  <a:lnTo>
                    <a:pt x="688" y="510"/>
                  </a:lnTo>
                  <a:lnTo>
                    <a:pt x="686" y="507"/>
                  </a:lnTo>
                  <a:lnTo>
                    <a:pt x="680" y="503"/>
                  </a:lnTo>
                  <a:lnTo>
                    <a:pt x="680" y="503"/>
                  </a:lnTo>
                  <a:lnTo>
                    <a:pt x="673" y="499"/>
                  </a:lnTo>
                  <a:lnTo>
                    <a:pt x="671" y="499"/>
                  </a:lnTo>
                  <a:lnTo>
                    <a:pt x="671" y="497"/>
                  </a:lnTo>
                  <a:lnTo>
                    <a:pt x="675" y="495"/>
                  </a:lnTo>
                  <a:lnTo>
                    <a:pt x="682" y="494"/>
                  </a:lnTo>
                  <a:lnTo>
                    <a:pt x="701" y="492"/>
                  </a:lnTo>
                  <a:lnTo>
                    <a:pt x="714" y="492"/>
                  </a:lnTo>
                  <a:lnTo>
                    <a:pt x="714" y="492"/>
                  </a:lnTo>
                  <a:lnTo>
                    <a:pt x="718" y="492"/>
                  </a:lnTo>
                  <a:lnTo>
                    <a:pt x="721" y="490"/>
                  </a:lnTo>
                  <a:lnTo>
                    <a:pt x="729" y="481"/>
                  </a:lnTo>
                  <a:lnTo>
                    <a:pt x="736" y="471"/>
                  </a:lnTo>
                  <a:lnTo>
                    <a:pt x="746" y="462"/>
                  </a:lnTo>
                  <a:lnTo>
                    <a:pt x="746" y="462"/>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9" name="Freeform 59">
              <a:extLst>
                <a:ext uri="{FF2B5EF4-FFF2-40B4-BE49-F238E27FC236}">
                  <a16:creationId xmlns:a16="http://schemas.microsoft.com/office/drawing/2014/main" id="{7DADDDDE-693F-4C25-A111-DC5A9B405D45}"/>
                </a:ext>
              </a:extLst>
            </p:cNvPr>
            <p:cNvSpPr>
              <a:spLocks/>
            </p:cNvSpPr>
            <p:nvPr/>
          </p:nvSpPr>
          <p:spPr bwMode="auto">
            <a:xfrm>
              <a:off x="3916185" y="4197715"/>
              <a:ext cx="1195363" cy="1064564"/>
            </a:xfrm>
            <a:custGeom>
              <a:avLst/>
              <a:gdLst/>
              <a:ahLst/>
              <a:cxnLst>
                <a:cxn ang="0">
                  <a:pos x="1028" y="854"/>
                </a:cxn>
                <a:cxn ang="0">
                  <a:pos x="992" y="794"/>
                </a:cxn>
                <a:cxn ang="0">
                  <a:pos x="931" y="740"/>
                </a:cxn>
                <a:cxn ang="0">
                  <a:pos x="963" y="635"/>
                </a:cxn>
                <a:cxn ang="0">
                  <a:pos x="1007" y="596"/>
                </a:cxn>
                <a:cxn ang="0">
                  <a:pos x="1075" y="607"/>
                </a:cxn>
                <a:cxn ang="0">
                  <a:pos x="1161" y="607"/>
                </a:cxn>
                <a:cxn ang="0">
                  <a:pos x="1232" y="534"/>
                </a:cxn>
                <a:cxn ang="0">
                  <a:pos x="1312" y="418"/>
                </a:cxn>
                <a:cxn ang="0">
                  <a:pos x="1297" y="364"/>
                </a:cxn>
                <a:cxn ang="0">
                  <a:pos x="1265" y="332"/>
                </a:cxn>
                <a:cxn ang="0">
                  <a:pos x="1196" y="308"/>
                </a:cxn>
                <a:cxn ang="0">
                  <a:pos x="1144" y="274"/>
                </a:cxn>
                <a:cxn ang="0">
                  <a:pos x="1037" y="263"/>
                </a:cxn>
                <a:cxn ang="0">
                  <a:pos x="972" y="259"/>
                </a:cxn>
                <a:cxn ang="0">
                  <a:pos x="843" y="246"/>
                </a:cxn>
                <a:cxn ang="0">
                  <a:pos x="813" y="136"/>
                </a:cxn>
                <a:cxn ang="0">
                  <a:pos x="723" y="95"/>
                </a:cxn>
                <a:cxn ang="0">
                  <a:pos x="693" y="39"/>
                </a:cxn>
                <a:cxn ang="0">
                  <a:pos x="619" y="37"/>
                </a:cxn>
                <a:cxn ang="0">
                  <a:pos x="589" y="89"/>
                </a:cxn>
                <a:cxn ang="0">
                  <a:pos x="536" y="166"/>
                </a:cxn>
                <a:cxn ang="0">
                  <a:pos x="523" y="108"/>
                </a:cxn>
                <a:cxn ang="0">
                  <a:pos x="493" y="158"/>
                </a:cxn>
                <a:cxn ang="0">
                  <a:pos x="449" y="222"/>
                </a:cxn>
                <a:cxn ang="0">
                  <a:pos x="381" y="244"/>
                </a:cxn>
                <a:cxn ang="0">
                  <a:pos x="370" y="220"/>
                </a:cxn>
                <a:cxn ang="0">
                  <a:pos x="318" y="214"/>
                </a:cxn>
                <a:cxn ang="0">
                  <a:pos x="292" y="170"/>
                </a:cxn>
                <a:cxn ang="0">
                  <a:pos x="204" y="147"/>
                </a:cxn>
                <a:cxn ang="0">
                  <a:pos x="148" y="29"/>
                </a:cxn>
                <a:cxn ang="0">
                  <a:pos x="28" y="18"/>
                </a:cxn>
                <a:cxn ang="0">
                  <a:pos x="51" y="86"/>
                </a:cxn>
                <a:cxn ang="0">
                  <a:pos x="4" y="142"/>
                </a:cxn>
                <a:cxn ang="0">
                  <a:pos x="47" y="207"/>
                </a:cxn>
                <a:cxn ang="0">
                  <a:pos x="107" y="300"/>
                </a:cxn>
                <a:cxn ang="0">
                  <a:pos x="148" y="394"/>
                </a:cxn>
                <a:cxn ang="0">
                  <a:pos x="137" y="444"/>
                </a:cxn>
                <a:cxn ang="0">
                  <a:pos x="153" y="568"/>
                </a:cxn>
                <a:cxn ang="0">
                  <a:pos x="157" y="835"/>
                </a:cxn>
                <a:cxn ang="0">
                  <a:pos x="179" y="792"/>
                </a:cxn>
                <a:cxn ang="0">
                  <a:pos x="237" y="807"/>
                </a:cxn>
                <a:cxn ang="0">
                  <a:pos x="260" y="896"/>
                </a:cxn>
                <a:cxn ang="0">
                  <a:pos x="323" y="906"/>
                </a:cxn>
                <a:cxn ang="0">
                  <a:pos x="407" y="1085"/>
                </a:cxn>
                <a:cxn ang="0">
                  <a:pos x="426" y="1151"/>
                </a:cxn>
                <a:cxn ang="0">
                  <a:pos x="538" y="1141"/>
                </a:cxn>
                <a:cxn ang="0">
                  <a:pos x="583" y="1147"/>
                </a:cxn>
                <a:cxn ang="0">
                  <a:pos x="593" y="1010"/>
                </a:cxn>
                <a:cxn ang="0">
                  <a:pos x="673" y="941"/>
                </a:cxn>
                <a:cxn ang="0">
                  <a:pos x="701" y="883"/>
                </a:cxn>
                <a:cxn ang="0">
                  <a:pos x="712" y="842"/>
                </a:cxn>
                <a:cxn ang="0">
                  <a:pos x="785" y="842"/>
                </a:cxn>
                <a:cxn ang="0">
                  <a:pos x="791" y="908"/>
                </a:cxn>
                <a:cxn ang="0">
                  <a:pos x="847" y="934"/>
                </a:cxn>
                <a:cxn ang="0">
                  <a:pos x="895" y="947"/>
                </a:cxn>
                <a:cxn ang="0">
                  <a:pos x="951" y="973"/>
                </a:cxn>
                <a:cxn ang="0">
                  <a:pos x="1019" y="923"/>
                </a:cxn>
                <a:cxn ang="0">
                  <a:pos x="944" y="861"/>
                </a:cxn>
              </a:cxnLst>
              <a:rect l="0" t="0" r="r" b="b"/>
              <a:pathLst>
                <a:path w="1316" h="1171">
                  <a:moveTo>
                    <a:pt x="944" y="861"/>
                  </a:moveTo>
                  <a:lnTo>
                    <a:pt x="944" y="861"/>
                  </a:lnTo>
                  <a:lnTo>
                    <a:pt x="949" y="854"/>
                  </a:lnTo>
                  <a:lnTo>
                    <a:pt x="957" y="846"/>
                  </a:lnTo>
                  <a:lnTo>
                    <a:pt x="966" y="842"/>
                  </a:lnTo>
                  <a:lnTo>
                    <a:pt x="977" y="839"/>
                  </a:lnTo>
                  <a:lnTo>
                    <a:pt x="991" y="839"/>
                  </a:lnTo>
                  <a:lnTo>
                    <a:pt x="1002" y="840"/>
                  </a:lnTo>
                  <a:lnTo>
                    <a:pt x="1013" y="844"/>
                  </a:lnTo>
                  <a:lnTo>
                    <a:pt x="1022" y="850"/>
                  </a:lnTo>
                  <a:lnTo>
                    <a:pt x="1022" y="850"/>
                  </a:lnTo>
                  <a:lnTo>
                    <a:pt x="1028" y="854"/>
                  </a:lnTo>
                  <a:lnTo>
                    <a:pt x="1034" y="857"/>
                  </a:lnTo>
                  <a:lnTo>
                    <a:pt x="1034" y="857"/>
                  </a:lnTo>
                  <a:lnTo>
                    <a:pt x="1035" y="854"/>
                  </a:lnTo>
                  <a:lnTo>
                    <a:pt x="1035" y="854"/>
                  </a:lnTo>
                  <a:lnTo>
                    <a:pt x="1035" y="840"/>
                  </a:lnTo>
                  <a:lnTo>
                    <a:pt x="1035" y="829"/>
                  </a:lnTo>
                  <a:lnTo>
                    <a:pt x="1032" y="820"/>
                  </a:lnTo>
                  <a:lnTo>
                    <a:pt x="1028" y="812"/>
                  </a:lnTo>
                  <a:lnTo>
                    <a:pt x="1024" y="807"/>
                  </a:lnTo>
                  <a:lnTo>
                    <a:pt x="1019" y="801"/>
                  </a:lnTo>
                  <a:lnTo>
                    <a:pt x="1006" y="797"/>
                  </a:lnTo>
                  <a:lnTo>
                    <a:pt x="992" y="794"/>
                  </a:lnTo>
                  <a:lnTo>
                    <a:pt x="981" y="792"/>
                  </a:lnTo>
                  <a:lnTo>
                    <a:pt x="972" y="790"/>
                  </a:lnTo>
                  <a:lnTo>
                    <a:pt x="970" y="788"/>
                  </a:lnTo>
                  <a:lnTo>
                    <a:pt x="968" y="786"/>
                  </a:lnTo>
                  <a:lnTo>
                    <a:pt x="968" y="786"/>
                  </a:lnTo>
                  <a:lnTo>
                    <a:pt x="966" y="766"/>
                  </a:lnTo>
                  <a:lnTo>
                    <a:pt x="963" y="754"/>
                  </a:lnTo>
                  <a:lnTo>
                    <a:pt x="957" y="749"/>
                  </a:lnTo>
                  <a:lnTo>
                    <a:pt x="953" y="747"/>
                  </a:lnTo>
                  <a:lnTo>
                    <a:pt x="942" y="747"/>
                  </a:lnTo>
                  <a:lnTo>
                    <a:pt x="936" y="745"/>
                  </a:lnTo>
                  <a:lnTo>
                    <a:pt x="931" y="740"/>
                  </a:lnTo>
                  <a:lnTo>
                    <a:pt x="906" y="706"/>
                  </a:lnTo>
                  <a:lnTo>
                    <a:pt x="906" y="706"/>
                  </a:lnTo>
                  <a:lnTo>
                    <a:pt x="927" y="689"/>
                  </a:lnTo>
                  <a:lnTo>
                    <a:pt x="953" y="669"/>
                  </a:lnTo>
                  <a:lnTo>
                    <a:pt x="953" y="669"/>
                  </a:lnTo>
                  <a:lnTo>
                    <a:pt x="966" y="661"/>
                  </a:lnTo>
                  <a:lnTo>
                    <a:pt x="970" y="657"/>
                  </a:lnTo>
                  <a:lnTo>
                    <a:pt x="972" y="654"/>
                  </a:lnTo>
                  <a:lnTo>
                    <a:pt x="972" y="650"/>
                  </a:lnTo>
                  <a:lnTo>
                    <a:pt x="972" y="646"/>
                  </a:lnTo>
                  <a:lnTo>
                    <a:pt x="968" y="641"/>
                  </a:lnTo>
                  <a:lnTo>
                    <a:pt x="963" y="635"/>
                  </a:lnTo>
                  <a:lnTo>
                    <a:pt x="957" y="629"/>
                  </a:lnTo>
                  <a:lnTo>
                    <a:pt x="955" y="624"/>
                  </a:lnTo>
                  <a:lnTo>
                    <a:pt x="955" y="618"/>
                  </a:lnTo>
                  <a:lnTo>
                    <a:pt x="957" y="614"/>
                  </a:lnTo>
                  <a:lnTo>
                    <a:pt x="957" y="614"/>
                  </a:lnTo>
                  <a:lnTo>
                    <a:pt x="964" y="603"/>
                  </a:lnTo>
                  <a:lnTo>
                    <a:pt x="970" y="594"/>
                  </a:lnTo>
                  <a:lnTo>
                    <a:pt x="977" y="590"/>
                  </a:lnTo>
                  <a:lnTo>
                    <a:pt x="983" y="586"/>
                  </a:lnTo>
                  <a:lnTo>
                    <a:pt x="991" y="586"/>
                  </a:lnTo>
                  <a:lnTo>
                    <a:pt x="996" y="588"/>
                  </a:lnTo>
                  <a:lnTo>
                    <a:pt x="1007" y="596"/>
                  </a:lnTo>
                  <a:lnTo>
                    <a:pt x="1020" y="603"/>
                  </a:lnTo>
                  <a:lnTo>
                    <a:pt x="1032" y="611"/>
                  </a:lnTo>
                  <a:lnTo>
                    <a:pt x="1037" y="614"/>
                  </a:lnTo>
                  <a:lnTo>
                    <a:pt x="1043" y="614"/>
                  </a:lnTo>
                  <a:lnTo>
                    <a:pt x="1049" y="612"/>
                  </a:lnTo>
                  <a:lnTo>
                    <a:pt x="1054" y="609"/>
                  </a:lnTo>
                  <a:lnTo>
                    <a:pt x="1054" y="609"/>
                  </a:lnTo>
                  <a:lnTo>
                    <a:pt x="1058" y="603"/>
                  </a:lnTo>
                  <a:lnTo>
                    <a:pt x="1063" y="601"/>
                  </a:lnTo>
                  <a:lnTo>
                    <a:pt x="1065" y="601"/>
                  </a:lnTo>
                  <a:lnTo>
                    <a:pt x="1069" y="601"/>
                  </a:lnTo>
                  <a:lnTo>
                    <a:pt x="1075" y="607"/>
                  </a:lnTo>
                  <a:lnTo>
                    <a:pt x="1080" y="616"/>
                  </a:lnTo>
                  <a:lnTo>
                    <a:pt x="1086" y="627"/>
                  </a:lnTo>
                  <a:lnTo>
                    <a:pt x="1091" y="631"/>
                  </a:lnTo>
                  <a:lnTo>
                    <a:pt x="1095" y="637"/>
                  </a:lnTo>
                  <a:lnTo>
                    <a:pt x="1103" y="639"/>
                  </a:lnTo>
                  <a:lnTo>
                    <a:pt x="1110" y="641"/>
                  </a:lnTo>
                  <a:lnTo>
                    <a:pt x="1120" y="642"/>
                  </a:lnTo>
                  <a:lnTo>
                    <a:pt x="1129" y="641"/>
                  </a:lnTo>
                  <a:lnTo>
                    <a:pt x="1129" y="641"/>
                  </a:lnTo>
                  <a:lnTo>
                    <a:pt x="1136" y="639"/>
                  </a:lnTo>
                  <a:lnTo>
                    <a:pt x="1144" y="631"/>
                  </a:lnTo>
                  <a:lnTo>
                    <a:pt x="1161" y="607"/>
                  </a:lnTo>
                  <a:lnTo>
                    <a:pt x="1176" y="583"/>
                  </a:lnTo>
                  <a:lnTo>
                    <a:pt x="1179" y="573"/>
                  </a:lnTo>
                  <a:lnTo>
                    <a:pt x="1181" y="568"/>
                  </a:lnTo>
                  <a:lnTo>
                    <a:pt x="1181" y="568"/>
                  </a:lnTo>
                  <a:lnTo>
                    <a:pt x="1183" y="551"/>
                  </a:lnTo>
                  <a:lnTo>
                    <a:pt x="1185" y="540"/>
                  </a:lnTo>
                  <a:lnTo>
                    <a:pt x="1191" y="534"/>
                  </a:lnTo>
                  <a:lnTo>
                    <a:pt x="1196" y="532"/>
                  </a:lnTo>
                  <a:lnTo>
                    <a:pt x="1204" y="530"/>
                  </a:lnTo>
                  <a:lnTo>
                    <a:pt x="1213" y="532"/>
                  </a:lnTo>
                  <a:lnTo>
                    <a:pt x="1222" y="534"/>
                  </a:lnTo>
                  <a:lnTo>
                    <a:pt x="1232" y="534"/>
                  </a:lnTo>
                  <a:lnTo>
                    <a:pt x="1232" y="534"/>
                  </a:lnTo>
                  <a:lnTo>
                    <a:pt x="1235" y="534"/>
                  </a:lnTo>
                  <a:lnTo>
                    <a:pt x="1237" y="530"/>
                  </a:lnTo>
                  <a:lnTo>
                    <a:pt x="1245" y="519"/>
                  </a:lnTo>
                  <a:lnTo>
                    <a:pt x="1262" y="487"/>
                  </a:lnTo>
                  <a:lnTo>
                    <a:pt x="1278" y="450"/>
                  </a:lnTo>
                  <a:lnTo>
                    <a:pt x="1288" y="437"/>
                  </a:lnTo>
                  <a:lnTo>
                    <a:pt x="1291" y="431"/>
                  </a:lnTo>
                  <a:lnTo>
                    <a:pt x="1297" y="427"/>
                  </a:lnTo>
                  <a:lnTo>
                    <a:pt x="1297" y="427"/>
                  </a:lnTo>
                  <a:lnTo>
                    <a:pt x="1305" y="422"/>
                  </a:lnTo>
                  <a:lnTo>
                    <a:pt x="1312" y="418"/>
                  </a:lnTo>
                  <a:lnTo>
                    <a:pt x="1316" y="413"/>
                  </a:lnTo>
                  <a:lnTo>
                    <a:pt x="1316" y="409"/>
                  </a:lnTo>
                  <a:lnTo>
                    <a:pt x="1316" y="405"/>
                  </a:lnTo>
                  <a:lnTo>
                    <a:pt x="1314" y="401"/>
                  </a:lnTo>
                  <a:lnTo>
                    <a:pt x="1308" y="396"/>
                  </a:lnTo>
                  <a:lnTo>
                    <a:pt x="1293" y="385"/>
                  </a:lnTo>
                  <a:lnTo>
                    <a:pt x="1291" y="383"/>
                  </a:lnTo>
                  <a:lnTo>
                    <a:pt x="1290" y="379"/>
                  </a:lnTo>
                  <a:lnTo>
                    <a:pt x="1290" y="375"/>
                  </a:lnTo>
                  <a:lnTo>
                    <a:pt x="1291" y="371"/>
                  </a:lnTo>
                  <a:lnTo>
                    <a:pt x="1291" y="371"/>
                  </a:lnTo>
                  <a:lnTo>
                    <a:pt x="1297" y="364"/>
                  </a:lnTo>
                  <a:lnTo>
                    <a:pt x="1303" y="360"/>
                  </a:lnTo>
                  <a:lnTo>
                    <a:pt x="1305" y="358"/>
                  </a:lnTo>
                  <a:lnTo>
                    <a:pt x="1306" y="360"/>
                  </a:lnTo>
                  <a:lnTo>
                    <a:pt x="1306" y="360"/>
                  </a:lnTo>
                  <a:lnTo>
                    <a:pt x="1305" y="353"/>
                  </a:lnTo>
                  <a:lnTo>
                    <a:pt x="1303" y="334"/>
                  </a:lnTo>
                  <a:lnTo>
                    <a:pt x="1303" y="334"/>
                  </a:lnTo>
                  <a:lnTo>
                    <a:pt x="1291" y="332"/>
                  </a:lnTo>
                  <a:lnTo>
                    <a:pt x="1282" y="330"/>
                  </a:lnTo>
                  <a:lnTo>
                    <a:pt x="1273" y="330"/>
                  </a:lnTo>
                  <a:lnTo>
                    <a:pt x="1265" y="332"/>
                  </a:lnTo>
                  <a:lnTo>
                    <a:pt x="1265" y="332"/>
                  </a:lnTo>
                  <a:lnTo>
                    <a:pt x="1254" y="338"/>
                  </a:lnTo>
                  <a:lnTo>
                    <a:pt x="1250" y="340"/>
                  </a:lnTo>
                  <a:lnTo>
                    <a:pt x="1248" y="340"/>
                  </a:lnTo>
                  <a:lnTo>
                    <a:pt x="1245" y="340"/>
                  </a:lnTo>
                  <a:lnTo>
                    <a:pt x="1239" y="338"/>
                  </a:lnTo>
                  <a:lnTo>
                    <a:pt x="1228" y="325"/>
                  </a:lnTo>
                  <a:lnTo>
                    <a:pt x="1228" y="325"/>
                  </a:lnTo>
                  <a:lnTo>
                    <a:pt x="1220" y="319"/>
                  </a:lnTo>
                  <a:lnTo>
                    <a:pt x="1215" y="315"/>
                  </a:lnTo>
                  <a:lnTo>
                    <a:pt x="1205" y="312"/>
                  </a:lnTo>
                  <a:lnTo>
                    <a:pt x="1200" y="310"/>
                  </a:lnTo>
                  <a:lnTo>
                    <a:pt x="1196" y="308"/>
                  </a:lnTo>
                  <a:lnTo>
                    <a:pt x="1192" y="304"/>
                  </a:lnTo>
                  <a:lnTo>
                    <a:pt x="1191" y="299"/>
                  </a:lnTo>
                  <a:lnTo>
                    <a:pt x="1191" y="299"/>
                  </a:lnTo>
                  <a:lnTo>
                    <a:pt x="1191" y="295"/>
                  </a:lnTo>
                  <a:lnTo>
                    <a:pt x="1189" y="295"/>
                  </a:lnTo>
                  <a:lnTo>
                    <a:pt x="1183" y="295"/>
                  </a:lnTo>
                  <a:lnTo>
                    <a:pt x="1172" y="299"/>
                  </a:lnTo>
                  <a:lnTo>
                    <a:pt x="1164" y="300"/>
                  </a:lnTo>
                  <a:lnTo>
                    <a:pt x="1157" y="297"/>
                  </a:lnTo>
                  <a:lnTo>
                    <a:pt x="1153" y="293"/>
                  </a:lnTo>
                  <a:lnTo>
                    <a:pt x="1149" y="289"/>
                  </a:lnTo>
                  <a:lnTo>
                    <a:pt x="1144" y="274"/>
                  </a:lnTo>
                  <a:lnTo>
                    <a:pt x="1144" y="274"/>
                  </a:lnTo>
                  <a:lnTo>
                    <a:pt x="1142" y="269"/>
                  </a:lnTo>
                  <a:lnTo>
                    <a:pt x="1138" y="267"/>
                  </a:lnTo>
                  <a:lnTo>
                    <a:pt x="1133" y="265"/>
                  </a:lnTo>
                  <a:lnTo>
                    <a:pt x="1125" y="263"/>
                  </a:lnTo>
                  <a:lnTo>
                    <a:pt x="1108" y="265"/>
                  </a:lnTo>
                  <a:lnTo>
                    <a:pt x="1090" y="267"/>
                  </a:lnTo>
                  <a:lnTo>
                    <a:pt x="1071" y="269"/>
                  </a:lnTo>
                  <a:lnTo>
                    <a:pt x="1054" y="271"/>
                  </a:lnTo>
                  <a:lnTo>
                    <a:pt x="1047" y="269"/>
                  </a:lnTo>
                  <a:lnTo>
                    <a:pt x="1041" y="267"/>
                  </a:lnTo>
                  <a:lnTo>
                    <a:pt x="1037" y="263"/>
                  </a:lnTo>
                  <a:lnTo>
                    <a:pt x="1035" y="257"/>
                  </a:lnTo>
                  <a:lnTo>
                    <a:pt x="1035" y="257"/>
                  </a:lnTo>
                  <a:lnTo>
                    <a:pt x="1032" y="250"/>
                  </a:lnTo>
                  <a:lnTo>
                    <a:pt x="1030" y="246"/>
                  </a:lnTo>
                  <a:lnTo>
                    <a:pt x="1026" y="243"/>
                  </a:lnTo>
                  <a:lnTo>
                    <a:pt x="1022" y="241"/>
                  </a:lnTo>
                  <a:lnTo>
                    <a:pt x="1011" y="241"/>
                  </a:lnTo>
                  <a:lnTo>
                    <a:pt x="1002" y="244"/>
                  </a:lnTo>
                  <a:lnTo>
                    <a:pt x="983" y="256"/>
                  </a:lnTo>
                  <a:lnTo>
                    <a:pt x="976" y="259"/>
                  </a:lnTo>
                  <a:lnTo>
                    <a:pt x="972" y="259"/>
                  </a:lnTo>
                  <a:lnTo>
                    <a:pt x="972" y="259"/>
                  </a:lnTo>
                  <a:lnTo>
                    <a:pt x="961" y="248"/>
                  </a:lnTo>
                  <a:lnTo>
                    <a:pt x="957" y="244"/>
                  </a:lnTo>
                  <a:lnTo>
                    <a:pt x="955" y="244"/>
                  </a:lnTo>
                  <a:lnTo>
                    <a:pt x="955" y="244"/>
                  </a:lnTo>
                  <a:lnTo>
                    <a:pt x="927" y="261"/>
                  </a:lnTo>
                  <a:lnTo>
                    <a:pt x="927" y="261"/>
                  </a:lnTo>
                  <a:lnTo>
                    <a:pt x="921" y="263"/>
                  </a:lnTo>
                  <a:lnTo>
                    <a:pt x="916" y="265"/>
                  </a:lnTo>
                  <a:lnTo>
                    <a:pt x="899" y="265"/>
                  </a:lnTo>
                  <a:lnTo>
                    <a:pt x="878" y="261"/>
                  </a:lnTo>
                  <a:lnTo>
                    <a:pt x="860" y="254"/>
                  </a:lnTo>
                  <a:lnTo>
                    <a:pt x="843" y="246"/>
                  </a:lnTo>
                  <a:lnTo>
                    <a:pt x="828" y="237"/>
                  </a:lnTo>
                  <a:lnTo>
                    <a:pt x="824" y="231"/>
                  </a:lnTo>
                  <a:lnTo>
                    <a:pt x="821" y="226"/>
                  </a:lnTo>
                  <a:lnTo>
                    <a:pt x="821" y="222"/>
                  </a:lnTo>
                  <a:lnTo>
                    <a:pt x="822" y="216"/>
                  </a:lnTo>
                  <a:lnTo>
                    <a:pt x="822" y="216"/>
                  </a:lnTo>
                  <a:lnTo>
                    <a:pt x="824" y="211"/>
                  </a:lnTo>
                  <a:lnTo>
                    <a:pt x="826" y="205"/>
                  </a:lnTo>
                  <a:lnTo>
                    <a:pt x="828" y="188"/>
                  </a:lnTo>
                  <a:lnTo>
                    <a:pt x="824" y="172"/>
                  </a:lnTo>
                  <a:lnTo>
                    <a:pt x="821" y="153"/>
                  </a:lnTo>
                  <a:lnTo>
                    <a:pt x="813" y="136"/>
                  </a:lnTo>
                  <a:lnTo>
                    <a:pt x="806" y="121"/>
                  </a:lnTo>
                  <a:lnTo>
                    <a:pt x="796" y="112"/>
                  </a:lnTo>
                  <a:lnTo>
                    <a:pt x="792" y="108"/>
                  </a:lnTo>
                  <a:lnTo>
                    <a:pt x="787" y="106"/>
                  </a:lnTo>
                  <a:lnTo>
                    <a:pt x="787" y="106"/>
                  </a:lnTo>
                  <a:lnTo>
                    <a:pt x="774" y="104"/>
                  </a:lnTo>
                  <a:lnTo>
                    <a:pt x="759" y="106"/>
                  </a:lnTo>
                  <a:lnTo>
                    <a:pt x="748" y="104"/>
                  </a:lnTo>
                  <a:lnTo>
                    <a:pt x="740" y="102"/>
                  </a:lnTo>
                  <a:lnTo>
                    <a:pt x="733" y="99"/>
                  </a:lnTo>
                  <a:lnTo>
                    <a:pt x="733" y="99"/>
                  </a:lnTo>
                  <a:lnTo>
                    <a:pt x="723" y="95"/>
                  </a:lnTo>
                  <a:lnTo>
                    <a:pt x="714" y="93"/>
                  </a:lnTo>
                  <a:lnTo>
                    <a:pt x="707" y="91"/>
                  </a:lnTo>
                  <a:lnTo>
                    <a:pt x="699" y="86"/>
                  </a:lnTo>
                  <a:lnTo>
                    <a:pt x="693" y="78"/>
                  </a:lnTo>
                  <a:lnTo>
                    <a:pt x="692" y="74"/>
                  </a:lnTo>
                  <a:lnTo>
                    <a:pt x="692" y="69"/>
                  </a:lnTo>
                  <a:lnTo>
                    <a:pt x="692" y="61"/>
                  </a:lnTo>
                  <a:lnTo>
                    <a:pt x="695" y="54"/>
                  </a:lnTo>
                  <a:lnTo>
                    <a:pt x="695" y="54"/>
                  </a:lnTo>
                  <a:lnTo>
                    <a:pt x="695" y="48"/>
                  </a:lnTo>
                  <a:lnTo>
                    <a:pt x="695" y="43"/>
                  </a:lnTo>
                  <a:lnTo>
                    <a:pt x="693" y="39"/>
                  </a:lnTo>
                  <a:lnTo>
                    <a:pt x="692" y="35"/>
                  </a:lnTo>
                  <a:lnTo>
                    <a:pt x="684" y="29"/>
                  </a:lnTo>
                  <a:lnTo>
                    <a:pt x="675" y="20"/>
                  </a:lnTo>
                  <a:lnTo>
                    <a:pt x="675" y="20"/>
                  </a:lnTo>
                  <a:lnTo>
                    <a:pt x="664" y="13"/>
                  </a:lnTo>
                  <a:lnTo>
                    <a:pt x="656" y="11"/>
                  </a:lnTo>
                  <a:lnTo>
                    <a:pt x="650" y="13"/>
                  </a:lnTo>
                  <a:lnTo>
                    <a:pt x="647" y="16"/>
                  </a:lnTo>
                  <a:lnTo>
                    <a:pt x="643" y="22"/>
                  </a:lnTo>
                  <a:lnTo>
                    <a:pt x="637" y="28"/>
                  </a:lnTo>
                  <a:lnTo>
                    <a:pt x="630" y="33"/>
                  </a:lnTo>
                  <a:lnTo>
                    <a:pt x="619" y="37"/>
                  </a:lnTo>
                  <a:lnTo>
                    <a:pt x="619" y="37"/>
                  </a:lnTo>
                  <a:lnTo>
                    <a:pt x="611" y="39"/>
                  </a:lnTo>
                  <a:lnTo>
                    <a:pt x="609" y="43"/>
                  </a:lnTo>
                  <a:lnTo>
                    <a:pt x="609" y="44"/>
                  </a:lnTo>
                  <a:lnTo>
                    <a:pt x="607" y="48"/>
                  </a:lnTo>
                  <a:lnTo>
                    <a:pt x="607" y="48"/>
                  </a:lnTo>
                  <a:lnTo>
                    <a:pt x="598" y="52"/>
                  </a:lnTo>
                  <a:lnTo>
                    <a:pt x="591" y="56"/>
                  </a:lnTo>
                  <a:lnTo>
                    <a:pt x="587" y="61"/>
                  </a:lnTo>
                  <a:lnTo>
                    <a:pt x="583" y="67"/>
                  </a:lnTo>
                  <a:lnTo>
                    <a:pt x="583" y="76"/>
                  </a:lnTo>
                  <a:lnTo>
                    <a:pt x="589" y="89"/>
                  </a:lnTo>
                  <a:lnTo>
                    <a:pt x="602" y="106"/>
                  </a:lnTo>
                  <a:lnTo>
                    <a:pt x="602" y="106"/>
                  </a:lnTo>
                  <a:lnTo>
                    <a:pt x="606" y="112"/>
                  </a:lnTo>
                  <a:lnTo>
                    <a:pt x="607" y="117"/>
                  </a:lnTo>
                  <a:lnTo>
                    <a:pt x="606" y="121"/>
                  </a:lnTo>
                  <a:lnTo>
                    <a:pt x="600" y="127"/>
                  </a:lnTo>
                  <a:lnTo>
                    <a:pt x="583" y="138"/>
                  </a:lnTo>
                  <a:lnTo>
                    <a:pt x="555" y="157"/>
                  </a:lnTo>
                  <a:lnTo>
                    <a:pt x="555" y="157"/>
                  </a:lnTo>
                  <a:lnTo>
                    <a:pt x="548" y="162"/>
                  </a:lnTo>
                  <a:lnTo>
                    <a:pt x="540" y="166"/>
                  </a:lnTo>
                  <a:lnTo>
                    <a:pt x="536" y="166"/>
                  </a:lnTo>
                  <a:lnTo>
                    <a:pt x="535" y="164"/>
                  </a:lnTo>
                  <a:lnTo>
                    <a:pt x="533" y="162"/>
                  </a:lnTo>
                  <a:lnTo>
                    <a:pt x="533" y="157"/>
                  </a:lnTo>
                  <a:lnTo>
                    <a:pt x="535" y="145"/>
                  </a:lnTo>
                  <a:lnTo>
                    <a:pt x="540" y="119"/>
                  </a:lnTo>
                  <a:lnTo>
                    <a:pt x="540" y="110"/>
                  </a:lnTo>
                  <a:lnTo>
                    <a:pt x="538" y="106"/>
                  </a:lnTo>
                  <a:lnTo>
                    <a:pt x="535" y="104"/>
                  </a:lnTo>
                  <a:lnTo>
                    <a:pt x="535" y="104"/>
                  </a:lnTo>
                  <a:lnTo>
                    <a:pt x="529" y="104"/>
                  </a:lnTo>
                  <a:lnTo>
                    <a:pt x="525" y="106"/>
                  </a:lnTo>
                  <a:lnTo>
                    <a:pt x="523" y="108"/>
                  </a:lnTo>
                  <a:lnTo>
                    <a:pt x="521" y="112"/>
                  </a:lnTo>
                  <a:lnTo>
                    <a:pt x="521" y="112"/>
                  </a:lnTo>
                  <a:lnTo>
                    <a:pt x="520" y="121"/>
                  </a:lnTo>
                  <a:lnTo>
                    <a:pt x="520" y="130"/>
                  </a:lnTo>
                  <a:lnTo>
                    <a:pt x="520" y="153"/>
                  </a:lnTo>
                  <a:lnTo>
                    <a:pt x="518" y="160"/>
                  </a:lnTo>
                  <a:lnTo>
                    <a:pt x="516" y="164"/>
                  </a:lnTo>
                  <a:lnTo>
                    <a:pt x="514" y="166"/>
                  </a:lnTo>
                  <a:lnTo>
                    <a:pt x="510" y="166"/>
                  </a:lnTo>
                  <a:lnTo>
                    <a:pt x="507" y="164"/>
                  </a:lnTo>
                  <a:lnTo>
                    <a:pt x="493" y="158"/>
                  </a:lnTo>
                  <a:lnTo>
                    <a:pt x="493" y="158"/>
                  </a:lnTo>
                  <a:lnTo>
                    <a:pt x="484" y="155"/>
                  </a:lnTo>
                  <a:lnTo>
                    <a:pt x="473" y="153"/>
                  </a:lnTo>
                  <a:lnTo>
                    <a:pt x="465" y="157"/>
                  </a:lnTo>
                  <a:lnTo>
                    <a:pt x="458" y="162"/>
                  </a:lnTo>
                  <a:lnTo>
                    <a:pt x="452" y="170"/>
                  </a:lnTo>
                  <a:lnTo>
                    <a:pt x="450" y="179"/>
                  </a:lnTo>
                  <a:lnTo>
                    <a:pt x="450" y="190"/>
                  </a:lnTo>
                  <a:lnTo>
                    <a:pt x="454" y="201"/>
                  </a:lnTo>
                  <a:lnTo>
                    <a:pt x="454" y="201"/>
                  </a:lnTo>
                  <a:lnTo>
                    <a:pt x="456" y="209"/>
                  </a:lnTo>
                  <a:lnTo>
                    <a:pt x="454" y="216"/>
                  </a:lnTo>
                  <a:lnTo>
                    <a:pt x="449" y="222"/>
                  </a:lnTo>
                  <a:lnTo>
                    <a:pt x="439" y="228"/>
                  </a:lnTo>
                  <a:lnTo>
                    <a:pt x="430" y="229"/>
                  </a:lnTo>
                  <a:lnTo>
                    <a:pt x="421" y="231"/>
                  </a:lnTo>
                  <a:lnTo>
                    <a:pt x="402" y="231"/>
                  </a:lnTo>
                  <a:lnTo>
                    <a:pt x="402" y="231"/>
                  </a:lnTo>
                  <a:lnTo>
                    <a:pt x="393" y="229"/>
                  </a:lnTo>
                  <a:lnTo>
                    <a:pt x="393" y="229"/>
                  </a:lnTo>
                  <a:lnTo>
                    <a:pt x="391" y="231"/>
                  </a:lnTo>
                  <a:lnTo>
                    <a:pt x="391" y="235"/>
                  </a:lnTo>
                  <a:lnTo>
                    <a:pt x="387" y="239"/>
                  </a:lnTo>
                  <a:lnTo>
                    <a:pt x="381" y="244"/>
                  </a:lnTo>
                  <a:lnTo>
                    <a:pt x="381" y="244"/>
                  </a:lnTo>
                  <a:lnTo>
                    <a:pt x="374" y="248"/>
                  </a:lnTo>
                  <a:lnTo>
                    <a:pt x="366" y="250"/>
                  </a:lnTo>
                  <a:lnTo>
                    <a:pt x="361" y="250"/>
                  </a:lnTo>
                  <a:lnTo>
                    <a:pt x="359" y="248"/>
                  </a:lnTo>
                  <a:lnTo>
                    <a:pt x="357" y="246"/>
                  </a:lnTo>
                  <a:lnTo>
                    <a:pt x="359" y="243"/>
                  </a:lnTo>
                  <a:lnTo>
                    <a:pt x="359" y="243"/>
                  </a:lnTo>
                  <a:lnTo>
                    <a:pt x="365" y="237"/>
                  </a:lnTo>
                  <a:lnTo>
                    <a:pt x="368" y="233"/>
                  </a:lnTo>
                  <a:lnTo>
                    <a:pt x="370" y="229"/>
                  </a:lnTo>
                  <a:lnTo>
                    <a:pt x="372" y="226"/>
                  </a:lnTo>
                  <a:lnTo>
                    <a:pt x="370" y="220"/>
                  </a:lnTo>
                  <a:lnTo>
                    <a:pt x="365" y="214"/>
                  </a:lnTo>
                  <a:lnTo>
                    <a:pt x="353" y="209"/>
                  </a:lnTo>
                  <a:lnTo>
                    <a:pt x="353" y="209"/>
                  </a:lnTo>
                  <a:lnTo>
                    <a:pt x="350" y="209"/>
                  </a:lnTo>
                  <a:lnTo>
                    <a:pt x="344" y="213"/>
                  </a:lnTo>
                  <a:lnTo>
                    <a:pt x="331" y="222"/>
                  </a:lnTo>
                  <a:lnTo>
                    <a:pt x="325" y="228"/>
                  </a:lnTo>
                  <a:lnTo>
                    <a:pt x="320" y="228"/>
                  </a:lnTo>
                  <a:lnTo>
                    <a:pt x="318" y="228"/>
                  </a:lnTo>
                  <a:lnTo>
                    <a:pt x="318" y="224"/>
                  </a:lnTo>
                  <a:lnTo>
                    <a:pt x="318" y="214"/>
                  </a:lnTo>
                  <a:lnTo>
                    <a:pt x="318" y="214"/>
                  </a:lnTo>
                  <a:lnTo>
                    <a:pt x="320" y="209"/>
                  </a:lnTo>
                  <a:lnTo>
                    <a:pt x="322" y="203"/>
                  </a:lnTo>
                  <a:lnTo>
                    <a:pt x="327" y="198"/>
                  </a:lnTo>
                  <a:lnTo>
                    <a:pt x="327" y="194"/>
                  </a:lnTo>
                  <a:lnTo>
                    <a:pt x="325" y="188"/>
                  </a:lnTo>
                  <a:lnTo>
                    <a:pt x="318" y="181"/>
                  </a:lnTo>
                  <a:lnTo>
                    <a:pt x="305" y="170"/>
                  </a:lnTo>
                  <a:lnTo>
                    <a:pt x="305" y="170"/>
                  </a:lnTo>
                  <a:lnTo>
                    <a:pt x="301" y="168"/>
                  </a:lnTo>
                  <a:lnTo>
                    <a:pt x="297" y="166"/>
                  </a:lnTo>
                  <a:lnTo>
                    <a:pt x="293" y="168"/>
                  </a:lnTo>
                  <a:lnTo>
                    <a:pt x="292" y="170"/>
                  </a:lnTo>
                  <a:lnTo>
                    <a:pt x="284" y="188"/>
                  </a:lnTo>
                  <a:lnTo>
                    <a:pt x="282" y="192"/>
                  </a:lnTo>
                  <a:lnTo>
                    <a:pt x="279" y="196"/>
                  </a:lnTo>
                  <a:lnTo>
                    <a:pt x="273" y="198"/>
                  </a:lnTo>
                  <a:lnTo>
                    <a:pt x="267" y="198"/>
                  </a:lnTo>
                  <a:lnTo>
                    <a:pt x="262" y="196"/>
                  </a:lnTo>
                  <a:lnTo>
                    <a:pt x="252" y="192"/>
                  </a:lnTo>
                  <a:lnTo>
                    <a:pt x="243" y="185"/>
                  </a:lnTo>
                  <a:lnTo>
                    <a:pt x="230" y="175"/>
                  </a:lnTo>
                  <a:lnTo>
                    <a:pt x="230" y="175"/>
                  </a:lnTo>
                  <a:lnTo>
                    <a:pt x="213" y="157"/>
                  </a:lnTo>
                  <a:lnTo>
                    <a:pt x="204" y="147"/>
                  </a:lnTo>
                  <a:lnTo>
                    <a:pt x="193" y="140"/>
                  </a:lnTo>
                  <a:lnTo>
                    <a:pt x="193" y="140"/>
                  </a:lnTo>
                  <a:lnTo>
                    <a:pt x="185" y="136"/>
                  </a:lnTo>
                  <a:lnTo>
                    <a:pt x="179" y="129"/>
                  </a:lnTo>
                  <a:lnTo>
                    <a:pt x="176" y="121"/>
                  </a:lnTo>
                  <a:lnTo>
                    <a:pt x="172" y="112"/>
                  </a:lnTo>
                  <a:lnTo>
                    <a:pt x="168" y="91"/>
                  </a:lnTo>
                  <a:lnTo>
                    <a:pt x="165" y="69"/>
                  </a:lnTo>
                  <a:lnTo>
                    <a:pt x="163" y="58"/>
                  </a:lnTo>
                  <a:lnTo>
                    <a:pt x="159" y="48"/>
                  </a:lnTo>
                  <a:lnTo>
                    <a:pt x="153" y="39"/>
                  </a:lnTo>
                  <a:lnTo>
                    <a:pt x="148" y="29"/>
                  </a:lnTo>
                  <a:lnTo>
                    <a:pt x="140" y="22"/>
                  </a:lnTo>
                  <a:lnTo>
                    <a:pt x="129" y="16"/>
                  </a:lnTo>
                  <a:lnTo>
                    <a:pt x="116" y="13"/>
                  </a:lnTo>
                  <a:lnTo>
                    <a:pt x="101" y="11"/>
                  </a:lnTo>
                  <a:lnTo>
                    <a:pt x="101" y="11"/>
                  </a:lnTo>
                  <a:lnTo>
                    <a:pt x="86" y="9"/>
                  </a:lnTo>
                  <a:lnTo>
                    <a:pt x="75" y="7"/>
                  </a:lnTo>
                  <a:lnTo>
                    <a:pt x="60" y="1"/>
                  </a:lnTo>
                  <a:lnTo>
                    <a:pt x="54" y="0"/>
                  </a:lnTo>
                  <a:lnTo>
                    <a:pt x="49" y="1"/>
                  </a:lnTo>
                  <a:lnTo>
                    <a:pt x="39" y="7"/>
                  </a:lnTo>
                  <a:lnTo>
                    <a:pt x="28" y="18"/>
                  </a:lnTo>
                  <a:lnTo>
                    <a:pt x="28" y="18"/>
                  </a:lnTo>
                  <a:lnTo>
                    <a:pt x="24" y="24"/>
                  </a:lnTo>
                  <a:lnTo>
                    <a:pt x="21" y="29"/>
                  </a:lnTo>
                  <a:lnTo>
                    <a:pt x="19" y="35"/>
                  </a:lnTo>
                  <a:lnTo>
                    <a:pt x="19" y="41"/>
                  </a:lnTo>
                  <a:lnTo>
                    <a:pt x="21" y="46"/>
                  </a:lnTo>
                  <a:lnTo>
                    <a:pt x="24" y="50"/>
                  </a:lnTo>
                  <a:lnTo>
                    <a:pt x="32" y="59"/>
                  </a:lnTo>
                  <a:lnTo>
                    <a:pt x="49" y="74"/>
                  </a:lnTo>
                  <a:lnTo>
                    <a:pt x="52" y="80"/>
                  </a:lnTo>
                  <a:lnTo>
                    <a:pt x="52" y="82"/>
                  </a:lnTo>
                  <a:lnTo>
                    <a:pt x="51" y="86"/>
                  </a:lnTo>
                  <a:lnTo>
                    <a:pt x="51" y="86"/>
                  </a:lnTo>
                  <a:lnTo>
                    <a:pt x="51" y="86"/>
                  </a:lnTo>
                  <a:lnTo>
                    <a:pt x="45" y="87"/>
                  </a:lnTo>
                  <a:lnTo>
                    <a:pt x="36" y="97"/>
                  </a:lnTo>
                  <a:lnTo>
                    <a:pt x="24" y="112"/>
                  </a:lnTo>
                  <a:lnTo>
                    <a:pt x="24" y="112"/>
                  </a:lnTo>
                  <a:lnTo>
                    <a:pt x="19" y="119"/>
                  </a:lnTo>
                  <a:lnTo>
                    <a:pt x="17" y="125"/>
                  </a:lnTo>
                  <a:lnTo>
                    <a:pt x="15" y="130"/>
                  </a:lnTo>
                  <a:lnTo>
                    <a:pt x="9" y="138"/>
                  </a:lnTo>
                  <a:lnTo>
                    <a:pt x="9" y="138"/>
                  </a:lnTo>
                  <a:lnTo>
                    <a:pt x="4" y="142"/>
                  </a:lnTo>
                  <a:lnTo>
                    <a:pt x="2" y="145"/>
                  </a:lnTo>
                  <a:lnTo>
                    <a:pt x="0" y="151"/>
                  </a:lnTo>
                  <a:lnTo>
                    <a:pt x="0" y="157"/>
                  </a:lnTo>
                  <a:lnTo>
                    <a:pt x="2" y="166"/>
                  </a:lnTo>
                  <a:lnTo>
                    <a:pt x="8" y="175"/>
                  </a:lnTo>
                  <a:lnTo>
                    <a:pt x="15" y="185"/>
                  </a:lnTo>
                  <a:lnTo>
                    <a:pt x="24" y="192"/>
                  </a:lnTo>
                  <a:lnTo>
                    <a:pt x="32" y="200"/>
                  </a:lnTo>
                  <a:lnTo>
                    <a:pt x="41" y="203"/>
                  </a:lnTo>
                  <a:lnTo>
                    <a:pt x="41" y="203"/>
                  </a:lnTo>
                  <a:lnTo>
                    <a:pt x="47" y="207"/>
                  </a:lnTo>
                  <a:lnTo>
                    <a:pt x="47" y="207"/>
                  </a:lnTo>
                  <a:lnTo>
                    <a:pt x="54" y="211"/>
                  </a:lnTo>
                  <a:lnTo>
                    <a:pt x="60" y="214"/>
                  </a:lnTo>
                  <a:lnTo>
                    <a:pt x="75" y="226"/>
                  </a:lnTo>
                  <a:lnTo>
                    <a:pt x="80" y="235"/>
                  </a:lnTo>
                  <a:lnTo>
                    <a:pt x="86" y="243"/>
                  </a:lnTo>
                  <a:lnTo>
                    <a:pt x="92" y="252"/>
                  </a:lnTo>
                  <a:lnTo>
                    <a:pt x="94" y="259"/>
                  </a:lnTo>
                  <a:lnTo>
                    <a:pt x="94" y="259"/>
                  </a:lnTo>
                  <a:lnTo>
                    <a:pt x="95" y="267"/>
                  </a:lnTo>
                  <a:lnTo>
                    <a:pt x="101" y="278"/>
                  </a:lnTo>
                  <a:lnTo>
                    <a:pt x="105" y="291"/>
                  </a:lnTo>
                  <a:lnTo>
                    <a:pt x="107" y="300"/>
                  </a:lnTo>
                  <a:lnTo>
                    <a:pt x="107" y="314"/>
                  </a:lnTo>
                  <a:lnTo>
                    <a:pt x="107" y="314"/>
                  </a:lnTo>
                  <a:lnTo>
                    <a:pt x="108" y="321"/>
                  </a:lnTo>
                  <a:lnTo>
                    <a:pt x="116" y="332"/>
                  </a:lnTo>
                  <a:lnTo>
                    <a:pt x="123" y="343"/>
                  </a:lnTo>
                  <a:lnTo>
                    <a:pt x="129" y="353"/>
                  </a:lnTo>
                  <a:lnTo>
                    <a:pt x="129" y="353"/>
                  </a:lnTo>
                  <a:lnTo>
                    <a:pt x="137" y="362"/>
                  </a:lnTo>
                  <a:lnTo>
                    <a:pt x="146" y="379"/>
                  </a:lnTo>
                  <a:lnTo>
                    <a:pt x="150" y="386"/>
                  </a:lnTo>
                  <a:lnTo>
                    <a:pt x="150" y="392"/>
                  </a:lnTo>
                  <a:lnTo>
                    <a:pt x="148" y="394"/>
                  </a:lnTo>
                  <a:lnTo>
                    <a:pt x="146" y="394"/>
                  </a:lnTo>
                  <a:lnTo>
                    <a:pt x="137" y="392"/>
                  </a:lnTo>
                  <a:lnTo>
                    <a:pt x="137" y="392"/>
                  </a:lnTo>
                  <a:lnTo>
                    <a:pt x="127" y="390"/>
                  </a:lnTo>
                  <a:lnTo>
                    <a:pt x="123" y="392"/>
                  </a:lnTo>
                  <a:lnTo>
                    <a:pt x="123" y="394"/>
                  </a:lnTo>
                  <a:lnTo>
                    <a:pt x="122" y="399"/>
                  </a:lnTo>
                  <a:lnTo>
                    <a:pt x="125" y="409"/>
                  </a:lnTo>
                  <a:lnTo>
                    <a:pt x="133" y="429"/>
                  </a:lnTo>
                  <a:lnTo>
                    <a:pt x="137" y="437"/>
                  </a:lnTo>
                  <a:lnTo>
                    <a:pt x="137" y="444"/>
                  </a:lnTo>
                  <a:lnTo>
                    <a:pt x="137" y="444"/>
                  </a:lnTo>
                  <a:lnTo>
                    <a:pt x="137" y="448"/>
                  </a:lnTo>
                  <a:lnTo>
                    <a:pt x="138" y="452"/>
                  </a:lnTo>
                  <a:lnTo>
                    <a:pt x="144" y="457"/>
                  </a:lnTo>
                  <a:lnTo>
                    <a:pt x="148" y="465"/>
                  </a:lnTo>
                  <a:lnTo>
                    <a:pt x="150" y="472"/>
                  </a:lnTo>
                  <a:lnTo>
                    <a:pt x="150" y="484"/>
                  </a:lnTo>
                  <a:lnTo>
                    <a:pt x="146" y="500"/>
                  </a:lnTo>
                  <a:lnTo>
                    <a:pt x="146" y="500"/>
                  </a:lnTo>
                  <a:lnTo>
                    <a:pt x="144" y="513"/>
                  </a:lnTo>
                  <a:lnTo>
                    <a:pt x="144" y="527"/>
                  </a:lnTo>
                  <a:lnTo>
                    <a:pt x="150" y="555"/>
                  </a:lnTo>
                  <a:lnTo>
                    <a:pt x="153" y="568"/>
                  </a:lnTo>
                  <a:lnTo>
                    <a:pt x="153" y="581"/>
                  </a:lnTo>
                  <a:lnTo>
                    <a:pt x="151" y="594"/>
                  </a:lnTo>
                  <a:lnTo>
                    <a:pt x="146" y="605"/>
                  </a:lnTo>
                  <a:lnTo>
                    <a:pt x="146" y="605"/>
                  </a:lnTo>
                  <a:lnTo>
                    <a:pt x="144" y="635"/>
                  </a:lnTo>
                  <a:lnTo>
                    <a:pt x="144" y="698"/>
                  </a:lnTo>
                  <a:lnTo>
                    <a:pt x="144" y="698"/>
                  </a:lnTo>
                  <a:lnTo>
                    <a:pt x="144" y="743"/>
                  </a:lnTo>
                  <a:lnTo>
                    <a:pt x="148" y="784"/>
                  </a:lnTo>
                  <a:lnTo>
                    <a:pt x="151" y="818"/>
                  </a:lnTo>
                  <a:lnTo>
                    <a:pt x="153" y="829"/>
                  </a:lnTo>
                  <a:lnTo>
                    <a:pt x="157" y="835"/>
                  </a:lnTo>
                  <a:lnTo>
                    <a:pt x="157" y="835"/>
                  </a:lnTo>
                  <a:lnTo>
                    <a:pt x="163" y="840"/>
                  </a:lnTo>
                  <a:lnTo>
                    <a:pt x="165" y="842"/>
                  </a:lnTo>
                  <a:lnTo>
                    <a:pt x="166" y="842"/>
                  </a:lnTo>
                  <a:lnTo>
                    <a:pt x="166" y="839"/>
                  </a:lnTo>
                  <a:lnTo>
                    <a:pt x="166" y="831"/>
                  </a:lnTo>
                  <a:lnTo>
                    <a:pt x="166" y="822"/>
                  </a:lnTo>
                  <a:lnTo>
                    <a:pt x="166" y="811"/>
                  </a:lnTo>
                  <a:lnTo>
                    <a:pt x="172" y="801"/>
                  </a:lnTo>
                  <a:lnTo>
                    <a:pt x="176" y="796"/>
                  </a:lnTo>
                  <a:lnTo>
                    <a:pt x="179" y="792"/>
                  </a:lnTo>
                  <a:lnTo>
                    <a:pt x="179" y="792"/>
                  </a:lnTo>
                  <a:lnTo>
                    <a:pt x="187" y="784"/>
                  </a:lnTo>
                  <a:lnTo>
                    <a:pt x="194" y="777"/>
                  </a:lnTo>
                  <a:lnTo>
                    <a:pt x="200" y="771"/>
                  </a:lnTo>
                  <a:lnTo>
                    <a:pt x="208" y="766"/>
                  </a:lnTo>
                  <a:lnTo>
                    <a:pt x="213" y="764"/>
                  </a:lnTo>
                  <a:lnTo>
                    <a:pt x="215" y="764"/>
                  </a:lnTo>
                  <a:lnTo>
                    <a:pt x="217" y="766"/>
                  </a:lnTo>
                  <a:lnTo>
                    <a:pt x="222" y="773"/>
                  </a:lnTo>
                  <a:lnTo>
                    <a:pt x="228" y="788"/>
                  </a:lnTo>
                  <a:lnTo>
                    <a:pt x="228" y="788"/>
                  </a:lnTo>
                  <a:lnTo>
                    <a:pt x="232" y="799"/>
                  </a:lnTo>
                  <a:lnTo>
                    <a:pt x="237" y="807"/>
                  </a:lnTo>
                  <a:lnTo>
                    <a:pt x="252" y="824"/>
                  </a:lnTo>
                  <a:lnTo>
                    <a:pt x="258" y="831"/>
                  </a:lnTo>
                  <a:lnTo>
                    <a:pt x="262" y="839"/>
                  </a:lnTo>
                  <a:lnTo>
                    <a:pt x="262" y="844"/>
                  </a:lnTo>
                  <a:lnTo>
                    <a:pt x="260" y="848"/>
                  </a:lnTo>
                  <a:lnTo>
                    <a:pt x="252" y="859"/>
                  </a:lnTo>
                  <a:lnTo>
                    <a:pt x="252" y="859"/>
                  </a:lnTo>
                  <a:lnTo>
                    <a:pt x="249" y="863"/>
                  </a:lnTo>
                  <a:lnTo>
                    <a:pt x="249" y="867"/>
                  </a:lnTo>
                  <a:lnTo>
                    <a:pt x="249" y="876"/>
                  </a:lnTo>
                  <a:lnTo>
                    <a:pt x="252" y="887"/>
                  </a:lnTo>
                  <a:lnTo>
                    <a:pt x="260" y="896"/>
                  </a:lnTo>
                  <a:lnTo>
                    <a:pt x="267" y="906"/>
                  </a:lnTo>
                  <a:lnTo>
                    <a:pt x="275" y="911"/>
                  </a:lnTo>
                  <a:lnTo>
                    <a:pt x="282" y="913"/>
                  </a:lnTo>
                  <a:lnTo>
                    <a:pt x="284" y="913"/>
                  </a:lnTo>
                  <a:lnTo>
                    <a:pt x="288" y="911"/>
                  </a:lnTo>
                  <a:lnTo>
                    <a:pt x="288" y="911"/>
                  </a:lnTo>
                  <a:lnTo>
                    <a:pt x="295" y="908"/>
                  </a:lnTo>
                  <a:lnTo>
                    <a:pt x="307" y="906"/>
                  </a:lnTo>
                  <a:lnTo>
                    <a:pt x="318" y="904"/>
                  </a:lnTo>
                  <a:lnTo>
                    <a:pt x="322" y="904"/>
                  </a:lnTo>
                  <a:lnTo>
                    <a:pt x="323" y="906"/>
                  </a:lnTo>
                  <a:lnTo>
                    <a:pt x="323" y="906"/>
                  </a:lnTo>
                  <a:lnTo>
                    <a:pt x="348" y="966"/>
                  </a:lnTo>
                  <a:lnTo>
                    <a:pt x="363" y="1001"/>
                  </a:lnTo>
                  <a:lnTo>
                    <a:pt x="370" y="1022"/>
                  </a:lnTo>
                  <a:lnTo>
                    <a:pt x="370" y="1022"/>
                  </a:lnTo>
                  <a:lnTo>
                    <a:pt x="372" y="1031"/>
                  </a:lnTo>
                  <a:lnTo>
                    <a:pt x="378" y="1039"/>
                  </a:lnTo>
                  <a:lnTo>
                    <a:pt x="393" y="1055"/>
                  </a:lnTo>
                  <a:lnTo>
                    <a:pt x="400" y="1063"/>
                  </a:lnTo>
                  <a:lnTo>
                    <a:pt x="406" y="1072"/>
                  </a:lnTo>
                  <a:lnTo>
                    <a:pt x="407" y="1078"/>
                  </a:lnTo>
                  <a:lnTo>
                    <a:pt x="407" y="1081"/>
                  </a:lnTo>
                  <a:lnTo>
                    <a:pt x="407" y="1085"/>
                  </a:lnTo>
                  <a:lnTo>
                    <a:pt x="407" y="1085"/>
                  </a:lnTo>
                  <a:lnTo>
                    <a:pt x="400" y="1096"/>
                  </a:lnTo>
                  <a:lnTo>
                    <a:pt x="400" y="1104"/>
                  </a:lnTo>
                  <a:lnTo>
                    <a:pt x="402" y="1110"/>
                  </a:lnTo>
                  <a:lnTo>
                    <a:pt x="406" y="1113"/>
                  </a:lnTo>
                  <a:lnTo>
                    <a:pt x="411" y="1117"/>
                  </a:lnTo>
                  <a:lnTo>
                    <a:pt x="417" y="1123"/>
                  </a:lnTo>
                  <a:lnTo>
                    <a:pt x="421" y="1128"/>
                  </a:lnTo>
                  <a:lnTo>
                    <a:pt x="424" y="1138"/>
                  </a:lnTo>
                  <a:lnTo>
                    <a:pt x="424" y="1138"/>
                  </a:lnTo>
                  <a:lnTo>
                    <a:pt x="424" y="1145"/>
                  </a:lnTo>
                  <a:lnTo>
                    <a:pt x="426" y="1151"/>
                  </a:lnTo>
                  <a:lnTo>
                    <a:pt x="434" y="1160"/>
                  </a:lnTo>
                  <a:lnTo>
                    <a:pt x="443" y="1166"/>
                  </a:lnTo>
                  <a:lnTo>
                    <a:pt x="454" y="1169"/>
                  </a:lnTo>
                  <a:lnTo>
                    <a:pt x="467" y="1171"/>
                  </a:lnTo>
                  <a:lnTo>
                    <a:pt x="480" y="1169"/>
                  </a:lnTo>
                  <a:lnTo>
                    <a:pt x="493" y="1166"/>
                  </a:lnTo>
                  <a:lnTo>
                    <a:pt x="505" y="1158"/>
                  </a:lnTo>
                  <a:lnTo>
                    <a:pt x="505" y="1158"/>
                  </a:lnTo>
                  <a:lnTo>
                    <a:pt x="516" y="1151"/>
                  </a:lnTo>
                  <a:lnTo>
                    <a:pt x="525" y="1145"/>
                  </a:lnTo>
                  <a:lnTo>
                    <a:pt x="533" y="1141"/>
                  </a:lnTo>
                  <a:lnTo>
                    <a:pt x="538" y="1141"/>
                  </a:lnTo>
                  <a:lnTo>
                    <a:pt x="542" y="1141"/>
                  </a:lnTo>
                  <a:lnTo>
                    <a:pt x="544" y="1145"/>
                  </a:lnTo>
                  <a:lnTo>
                    <a:pt x="548" y="1152"/>
                  </a:lnTo>
                  <a:lnTo>
                    <a:pt x="551" y="1169"/>
                  </a:lnTo>
                  <a:lnTo>
                    <a:pt x="551" y="1171"/>
                  </a:lnTo>
                  <a:lnTo>
                    <a:pt x="553" y="1171"/>
                  </a:lnTo>
                  <a:lnTo>
                    <a:pt x="561" y="1166"/>
                  </a:lnTo>
                  <a:lnTo>
                    <a:pt x="561" y="1166"/>
                  </a:lnTo>
                  <a:lnTo>
                    <a:pt x="570" y="1152"/>
                  </a:lnTo>
                  <a:lnTo>
                    <a:pt x="574" y="1149"/>
                  </a:lnTo>
                  <a:lnTo>
                    <a:pt x="583" y="1147"/>
                  </a:lnTo>
                  <a:lnTo>
                    <a:pt x="583" y="1147"/>
                  </a:lnTo>
                  <a:lnTo>
                    <a:pt x="589" y="1145"/>
                  </a:lnTo>
                  <a:lnTo>
                    <a:pt x="593" y="1139"/>
                  </a:lnTo>
                  <a:lnTo>
                    <a:pt x="594" y="1132"/>
                  </a:lnTo>
                  <a:lnTo>
                    <a:pt x="596" y="1123"/>
                  </a:lnTo>
                  <a:lnTo>
                    <a:pt x="598" y="1111"/>
                  </a:lnTo>
                  <a:lnTo>
                    <a:pt x="598" y="1100"/>
                  </a:lnTo>
                  <a:lnTo>
                    <a:pt x="596" y="1085"/>
                  </a:lnTo>
                  <a:lnTo>
                    <a:pt x="593" y="1072"/>
                  </a:lnTo>
                  <a:lnTo>
                    <a:pt x="593" y="1072"/>
                  </a:lnTo>
                  <a:lnTo>
                    <a:pt x="593" y="1057"/>
                  </a:lnTo>
                  <a:lnTo>
                    <a:pt x="591" y="1035"/>
                  </a:lnTo>
                  <a:lnTo>
                    <a:pt x="593" y="1010"/>
                  </a:lnTo>
                  <a:lnTo>
                    <a:pt x="594" y="999"/>
                  </a:lnTo>
                  <a:lnTo>
                    <a:pt x="594" y="999"/>
                  </a:lnTo>
                  <a:lnTo>
                    <a:pt x="604" y="996"/>
                  </a:lnTo>
                  <a:lnTo>
                    <a:pt x="615" y="992"/>
                  </a:lnTo>
                  <a:lnTo>
                    <a:pt x="622" y="988"/>
                  </a:lnTo>
                  <a:lnTo>
                    <a:pt x="628" y="984"/>
                  </a:lnTo>
                  <a:lnTo>
                    <a:pt x="632" y="979"/>
                  </a:lnTo>
                  <a:lnTo>
                    <a:pt x="632" y="979"/>
                  </a:lnTo>
                  <a:lnTo>
                    <a:pt x="639" y="967"/>
                  </a:lnTo>
                  <a:lnTo>
                    <a:pt x="649" y="960"/>
                  </a:lnTo>
                  <a:lnTo>
                    <a:pt x="665" y="949"/>
                  </a:lnTo>
                  <a:lnTo>
                    <a:pt x="673" y="941"/>
                  </a:lnTo>
                  <a:lnTo>
                    <a:pt x="677" y="932"/>
                  </a:lnTo>
                  <a:lnTo>
                    <a:pt x="677" y="921"/>
                  </a:lnTo>
                  <a:lnTo>
                    <a:pt x="673" y="908"/>
                  </a:lnTo>
                  <a:lnTo>
                    <a:pt x="673" y="908"/>
                  </a:lnTo>
                  <a:lnTo>
                    <a:pt x="673" y="902"/>
                  </a:lnTo>
                  <a:lnTo>
                    <a:pt x="675" y="896"/>
                  </a:lnTo>
                  <a:lnTo>
                    <a:pt x="677" y="891"/>
                  </a:lnTo>
                  <a:lnTo>
                    <a:pt x="680" y="885"/>
                  </a:lnTo>
                  <a:lnTo>
                    <a:pt x="686" y="882"/>
                  </a:lnTo>
                  <a:lnTo>
                    <a:pt x="692" y="880"/>
                  </a:lnTo>
                  <a:lnTo>
                    <a:pt x="697" y="880"/>
                  </a:lnTo>
                  <a:lnTo>
                    <a:pt x="701" y="883"/>
                  </a:lnTo>
                  <a:lnTo>
                    <a:pt x="701" y="883"/>
                  </a:lnTo>
                  <a:lnTo>
                    <a:pt x="707" y="885"/>
                  </a:lnTo>
                  <a:lnTo>
                    <a:pt x="710" y="885"/>
                  </a:lnTo>
                  <a:lnTo>
                    <a:pt x="716" y="883"/>
                  </a:lnTo>
                  <a:lnTo>
                    <a:pt x="721" y="878"/>
                  </a:lnTo>
                  <a:lnTo>
                    <a:pt x="723" y="872"/>
                  </a:lnTo>
                  <a:lnTo>
                    <a:pt x="725" y="867"/>
                  </a:lnTo>
                  <a:lnTo>
                    <a:pt x="725" y="859"/>
                  </a:lnTo>
                  <a:lnTo>
                    <a:pt x="721" y="855"/>
                  </a:lnTo>
                  <a:lnTo>
                    <a:pt x="721" y="855"/>
                  </a:lnTo>
                  <a:lnTo>
                    <a:pt x="714" y="848"/>
                  </a:lnTo>
                  <a:lnTo>
                    <a:pt x="712" y="842"/>
                  </a:lnTo>
                  <a:lnTo>
                    <a:pt x="714" y="839"/>
                  </a:lnTo>
                  <a:lnTo>
                    <a:pt x="718" y="833"/>
                  </a:lnTo>
                  <a:lnTo>
                    <a:pt x="723" y="831"/>
                  </a:lnTo>
                  <a:lnTo>
                    <a:pt x="731" y="829"/>
                  </a:lnTo>
                  <a:lnTo>
                    <a:pt x="749" y="827"/>
                  </a:lnTo>
                  <a:lnTo>
                    <a:pt x="768" y="827"/>
                  </a:lnTo>
                  <a:lnTo>
                    <a:pt x="785" y="829"/>
                  </a:lnTo>
                  <a:lnTo>
                    <a:pt x="789" y="833"/>
                  </a:lnTo>
                  <a:lnTo>
                    <a:pt x="791" y="835"/>
                  </a:lnTo>
                  <a:lnTo>
                    <a:pt x="791" y="839"/>
                  </a:lnTo>
                  <a:lnTo>
                    <a:pt x="785" y="842"/>
                  </a:lnTo>
                  <a:lnTo>
                    <a:pt x="785" y="842"/>
                  </a:lnTo>
                  <a:lnTo>
                    <a:pt x="779" y="846"/>
                  </a:lnTo>
                  <a:lnTo>
                    <a:pt x="774" y="852"/>
                  </a:lnTo>
                  <a:lnTo>
                    <a:pt x="772" y="855"/>
                  </a:lnTo>
                  <a:lnTo>
                    <a:pt x="772" y="857"/>
                  </a:lnTo>
                  <a:lnTo>
                    <a:pt x="772" y="861"/>
                  </a:lnTo>
                  <a:lnTo>
                    <a:pt x="774" y="865"/>
                  </a:lnTo>
                  <a:lnTo>
                    <a:pt x="779" y="872"/>
                  </a:lnTo>
                  <a:lnTo>
                    <a:pt x="787" y="880"/>
                  </a:lnTo>
                  <a:lnTo>
                    <a:pt x="792" y="889"/>
                  </a:lnTo>
                  <a:lnTo>
                    <a:pt x="792" y="895"/>
                  </a:lnTo>
                  <a:lnTo>
                    <a:pt x="792" y="902"/>
                  </a:lnTo>
                  <a:lnTo>
                    <a:pt x="791" y="908"/>
                  </a:lnTo>
                  <a:lnTo>
                    <a:pt x="787" y="915"/>
                  </a:lnTo>
                  <a:lnTo>
                    <a:pt x="787" y="915"/>
                  </a:lnTo>
                  <a:lnTo>
                    <a:pt x="785" y="921"/>
                  </a:lnTo>
                  <a:lnTo>
                    <a:pt x="783" y="926"/>
                  </a:lnTo>
                  <a:lnTo>
                    <a:pt x="785" y="932"/>
                  </a:lnTo>
                  <a:lnTo>
                    <a:pt x="787" y="936"/>
                  </a:lnTo>
                  <a:lnTo>
                    <a:pt x="789" y="939"/>
                  </a:lnTo>
                  <a:lnTo>
                    <a:pt x="794" y="941"/>
                  </a:lnTo>
                  <a:lnTo>
                    <a:pt x="806" y="945"/>
                  </a:lnTo>
                  <a:lnTo>
                    <a:pt x="819" y="945"/>
                  </a:lnTo>
                  <a:lnTo>
                    <a:pt x="834" y="941"/>
                  </a:lnTo>
                  <a:lnTo>
                    <a:pt x="847" y="934"/>
                  </a:lnTo>
                  <a:lnTo>
                    <a:pt x="854" y="928"/>
                  </a:lnTo>
                  <a:lnTo>
                    <a:pt x="860" y="923"/>
                  </a:lnTo>
                  <a:lnTo>
                    <a:pt x="860" y="923"/>
                  </a:lnTo>
                  <a:lnTo>
                    <a:pt x="867" y="915"/>
                  </a:lnTo>
                  <a:lnTo>
                    <a:pt x="875" y="913"/>
                  </a:lnTo>
                  <a:lnTo>
                    <a:pt x="882" y="913"/>
                  </a:lnTo>
                  <a:lnTo>
                    <a:pt x="890" y="917"/>
                  </a:lnTo>
                  <a:lnTo>
                    <a:pt x="893" y="923"/>
                  </a:lnTo>
                  <a:lnTo>
                    <a:pt x="897" y="930"/>
                  </a:lnTo>
                  <a:lnTo>
                    <a:pt x="897" y="938"/>
                  </a:lnTo>
                  <a:lnTo>
                    <a:pt x="895" y="947"/>
                  </a:lnTo>
                  <a:lnTo>
                    <a:pt x="895" y="947"/>
                  </a:lnTo>
                  <a:lnTo>
                    <a:pt x="893" y="960"/>
                  </a:lnTo>
                  <a:lnTo>
                    <a:pt x="893" y="964"/>
                  </a:lnTo>
                  <a:lnTo>
                    <a:pt x="895" y="966"/>
                  </a:lnTo>
                  <a:lnTo>
                    <a:pt x="899" y="967"/>
                  </a:lnTo>
                  <a:lnTo>
                    <a:pt x="908" y="967"/>
                  </a:lnTo>
                  <a:lnTo>
                    <a:pt x="908" y="967"/>
                  </a:lnTo>
                  <a:lnTo>
                    <a:pt x="921" y="967"/>
                  </a:lnTo>
                  <a:lnTo>
                    <a:pt x="927" y="967"/>
                  </a:lnTo>
                  <a:lnTo>
                    <a:pt x="935" y="971"/>
                  </a:lnTo>
                  <a:lnTo>
                    <a:pt x="935" y="971"/>
                  </a:lnTo>
                  <a:lnTo>
                    <a:pt x="940" y="973"/>
                  </a:lnTo>
                  <a:lnTo>
                    <a:pt x="951" y="973"/>
                  </a:lnTo>
                  <a:lnTo>
                    <a:pt x="981" y="971"/>
                  </a:lnTo>
                  <a:lnTo>
                    <a:pt x="1011" y="967"/>
                  </a:lnTo>
                  <a:lnTo>
                    <a:pt x="1020" y="964"/>
                  </a:lnTo>
                  <a:lnTo>
                    <a:pt x="1028" y="960"/>
                  </a:lnTo>
                  <a:lnTo>
                    <a:pt x="1028" y="960"/>
                  </a:lnTo>
                  <a:lnTo>
                    <a:pt x="1032" y="953"/>
                  </a:lnTo>
                  <a:lnTo>
                    <a:pt x="1035" y="947"/>
                  </a:lnTo>
                  <a:lnTo>
                    <a:pt x="1035" y="941"/>
                  </a:lnTo>
                  <a:lnTo>
                    <a:pt x="1034" y="938"/>
                  </a:lnTo>
                  <a:lnTo>
                    <a:pt x="1032" y="932"/>
                  </a:lnTo>
                  <a:lnTo>
                    <a:pt x="1028" y="928"/>
                  </a:lnTo>
                  <a:lnTo>
                    <a:pt x="1019" y="923"/>
                  </a:lnTo>
                  <a:lnTo>
                    <a:pt x="1006" y="917"/>
                  </a:lnTo>
                  <a:lnTo>
                    <a:pt x="994" y="913"/>
                  </a:lnTo>
                  <a:lnTo>
                    <a:pt x="985" y="910"/>
                  </a:lnTo>
                  <a:lnTo>
                    <a:pt x="979" y="906"/>
                  </a:lnTo>
                  <a:lnTo>
                    <a:pt x="979" y="906"/>
                  </a:lnTo>
                  <a:lnTo>
                    <a:pt x="974" y="900"/>
                  </a:lnTo>
                  <a:lnTo>
                    <a:pt x="966" y="896"/>
                  </a:lnTo>
                  <a:lnTo>
                    <a:pt x="953" y="889"/>
                  </a:lnTo>
                  <a:lnTo>
                    <a:pt x="948" y="885"/>
                  </a:lnTo>
                  <a:lnTo>
                    <a:pt x="944" y="880"/>
                  </a:lnTo>
                  <a:lnTo>
                    <a:pt x="944" y="872"/>
                  </a:lnTo>
                  <a:lnTo>
                    <a:pt x="944" y="861"/>
                  </a:lnTo>
                  <a:lnTo>
                    <a:pt x="944" y="861"/>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0" name="Freeform 60">
              <a:extLst>
                <a:ext uri="{FF2B5EF4-FFF2-40B4-BE49-F238E27FC236}">
                  <a16:creationId xmlns:a16="http://schemas.microsoft.com/office/drawing/2014/main" id="{272DE064-B02E-4211-834A-E40CF8E1A8FF}"/>
                </a:ext>
              </a:extLst>
            </p:cNvPr>
            <p:cNvSpPr>
              <a:spLocks/>
            </p:cNvSpPr>
            <p:nvPr/>
          </p:nvSpPr>
          <p:spPr bwMode="auto">
            <a:xfrm>
              <a:off x="3789018" y="4831729"/>
              <a:ext cx="1020964" cy="1071830"/>
            </a:xfrm>
            <a:custGeom>
              <a:avLst/>
              <a:gdLst/>
              <a:ahLst/>
              <a:cxnLst>
                <a:cxn ang="0">
                  <a:pos x="826" y="357"/>
                </a:cxn>
                <a:cxn ang="0">
                  <a:pos x="873" y="309"/>
                </a:cxn>
                <a:cxn ang="0">
                  <a:pos x="929" y="311"/>
                </a:cxn>
                <a:cxn ang="0">
                  <a:pos x="1043" y="275"/>
                </a:cxn>
                <a:cxn ang="0">
                  <a:pos x="1030" y="219"/>
                </a:cxn>
                <a:cxn ang="0">
                  <a:pos x="929" y="241"/>
                </a:cxn>
                <a:cxn ang="0">
                  <a:pos x="919" y="174"/>
                </a:cxn>
                <a:cxn ang="0">
                  <a:pos x="925" y="131"/>
                </a:cxn>
                <a:cxn ang="0">
                  <a:pos x="865" y="169"/>
                </a:cxn>
                <a:cxn ang="0">
                  <a:pos x="817" y="193"/>
                </a:cxn>
                <a:cxn ang="0">
                  <a:pos x="772" y="281"/>
                </a:cxn>
                <a:cxn ang="0">
                  <a:pos x="736" y="387"/>
                </a:cxn>
                <a:cxn ang="0">
                  <a:pos x="701" y="468"/>
                </a:cxn>
                <a:cxn ang="0">
                  <a:pos x="645" y="460"/>
                </a:cxn>
                <a:cxn ang="0">
                  <a:pos x="557" y="425"/>
                </a:cxn>
                <a:cxn ang="0">
                  <a:pos x="533" y="357"/>
                </a:cxn>
                <a:cxn ang="0">
                  <a:pos x="435" y="210"/>
                </a:cxn>
                <a:cxn ang="0">
                  <a:pos x="392" y="161"/>
                </a:cxn>
                <a:cxn ang="0">
                  <a:pos x="357" y="68"/>
                </a:cxn>
                <a:cxn ang="0">
                  <a:pos x="306" y="124"/>
                </a:cxn>
                <a:cxn ang="0">
                  <a:pos x="284" y="0"/>
                </a:cxn>
                <a:cxn ang="0">
                  <a:pos x="248" y="55"/>
                </a:cxn>
                <a:cxn ang="0">
                  <a:pos x="222" y="70"/>
                </a:cxn>
                <a:cxn ang="0">
                  <a:pos x="183" y="142"/>
                </a:cxn>
                <a:cxn ang="0">
                  <a:pos x="146" y="146"/>
                </a:cxn>
                <a:cxn ang="0">
                  <a:pos x="191" y="219"/>
                </a:cxn>
                <a:cxn ang="0">
                  <a:pos x="202" y="320"/>
                </a:cxn>
                <a:cxn ang="0">
                  <a:pos x="191" y="425"/>
                </a:cxn>
                <a:cxn ang="0">
                  <a:pos x="185" y="462"/>
                </a:cxn>
                <a:cxn ang="0">
                  <a:pos x="116" y="501"/>
                </a:cxn>
                <a:cxn ang="0">
                  <a:pos x="41" y="567"/>
                </a:cxn>
                <a:cxn ang="0">
                  <a:pos x="9" y="643"/>
                </a:cxn>
                <a:cxn ang="0">
                  <a:pos x="9" y="712"/>
                </a:cxn>
                <a:cxn ang="0">
                  <a:pos x="121" y="714"/>
                </a:cxn>
                <a:cxn ang="0">
                  <a:pos x="146" y="757"/>
                </a:cxn>
                <a:cxn ang="0">
                  <a:pos x="164" y="810"/>
                </a:cxn>
                <a:cxn ang="0">
                  <a:pos x="209" y="869"/>
                </a:cxn>
                <a:cxn ang="0">
                  <a:pos x="215" y="935"/>
                </a:cxn>
                <a:cxn ang="0">
                  <a:pos x="222" y="1015"/>
                </a:cxn>
                <a:cxn ang="0">
                  <a:pos x="305" y="1086"/>
                </a:cxn>
                <a:cxn ang="0">
                  <a:pos x="351" y="1118"/>
                </a:cxn>
                <a:cxn ang="0">
                  <a:pos x="441" y="1092"/>
                </a:cxn>
                <a:cxn ang="0">
                  <a:pos x="467" y="1166"/>
                </a:cxn>
                <a:cxn ang="0">
                  <a:pos x="518" y="1161"/>
                </a:cxn>
                <a:cxn ang="0">
                  <a:pos x="514" y="1067"/>
                </a:cxn>
                <a:cxn ang="0">
                  <a:pos x="540" y="996"/>
                </a:cxn>
                <a:cxn ang="0">
                  <a:pos x="633" y="961"/>
                </a:cxn>
                <a:cxn ang="0">
                  <a:pos x="729" y="981"/>
                </a:cxn>
                <a:cxn ang="0">
                  <a:pos x="777" y="972"/>
                </a:cxn>
                <a:cxn ang="0">
                  <a:pos x="824" y="1000"/>
                </a:cxn>
                <a:cxn ang="0">
                  <a:pos x="884" y="985"/>
                </a:cxn>
                <a:cxn ang="0">
                  <a:pos x="944" y="935"/>
                </a:cxn>
                <a:cxn ang="0">
                  <a:pos x="1024" y="910"/>
                </a:cxn>
                <a:cxn ang="0">
                  <a:pos x="1104" y="884"/>
                </a:cxn>
                <a:cxn ang="0">
                  <a:pos x="1097" y="787"/>
                </a:cxn>
                <a:cxn ang="0">
                  <a:pos x="1028" y="798"/>
                </a:cxn>
                <a:cxn ang="0">
                  <a:pos x="987" y="746"/>
                </a:cxn>
                <a:cxn ang="0">
                  <a:pos x="914" y="697"/>
                </a:cxn>
                <a:cxn ang="0">
                  <a:pos x="955" y="626"/>
                </a:cxn>
                <a:cxn ang="0">
                  <a:pos x="899" y="568"/>
                </a:cxn>
                <a:cxn ang="0">
                  <a:pos x="946" y="445"/>
                </a:cxn>
                <a:cxn ang="0">
                  <a:pos x="878" y="428"/>
                </a:cxn>
              </a:cxnLst>
              <a:rect l="0" t="0" r="r" b="b"/>
              <a:pathLst>
                <a:path w="1123" h="1179">
                  <a:moveTo>
                    <a:pt x="837" y="408"/>
                  </a:moveTo>
                  <a:lnTo>
                    <a:pt x="837" y="408"/>
                  </a:lnTo>
                  <a:lnTo>
                    <a:pt x="832" y="404"/>
                  </a:lnTo>
                  <a:lnTo>
                    <a:pt x="830" y="398"/>
                  </a:lnTo>
                  <a:lnTo>
                    <a:pt x="832" y="393"/>
                  </a:lnTo>
                  <a:lnTo>
                    <a:pt x="833" y="387"/>
                  </a:lnTo>
                  <a:lnTo>
                    <a:pt x="835" y="380"/>
                  </a:lnTo>
                  <a:lnTo>
                    <a:pt x="837" y="374"/>
                  </a:lnTo>
                  <a:lnTo>
                    <a:pt x="835" y="367"/>
                  </a:lnTo>
                  <a:lnTo>
                    <a:pt x="830" y="361"/>
                  </a:lnTo>
                  <a:lnTo>
                    <a:pt x="830" y="361"/>
                  </a:lnTo>
                  <a:lnTo>
                    <a:pt x="826" y="357"/>
                  </a:lnTo>
                  <a:lnTo>
                    <a:pt x="824" y="355"/>
                  </a:lnTo>
                  <a:lnTo>
                    <a:pt x="824" y="352"/>
                  </a:lnTo>
                  <a:lnTo>
                    <a:pt x="824" y="350"/>
                  </a:lnTo>
                  <a:lnTo>
                    <a:pt x="830" y="344"/>
                  </a:lnTo>
                  <a:lnTo>
                    <a:pt x="835" y="339"/>
                  </a:lnTo>
                  <a:lnTo>
                    <a:pt x="852" y="326"/>
                  </a:lnTo>
                  <a:lnTo>
                    <a:pt x="858" y="320"/>
                  </a:lnTo>
                  <a:lnTo>
                    <a:pt x="861" y="311"/>
                  </a:lnTo>
                  <a:lnTo>
                    <a:pt x="861" y="311"/>
                  </a:lnTo>
                  <a:lnTo>
                    <a:pt x="865" y="311"/>
                  </a:lnTo>
                  <a:lnTo>
                    <a:pt x="869" y="309"/>
                  </a:lnTo>
                  <a:lnTo>
                    <a:pt x="873" y="309"/>
                  </a:lnTo>
                  <a:lnTo>
                    <a:pt x="878" y="312"/>
                  </a:lnTo>
                  <a:lnTo>
                    <a:pt x="878" y="312"/>
                  </a:lnTo>
                  <a:lnTo>
                    <a:pt x="888" y="320"/>
                  </a:lnTo>
                  <a:lnTo>
                    <a:pt x="893" y="324"/>
                  </a:lnTo>
                  <a:lnTo>
                    <a:pt x="897" y="324"/>
                  </a:lnTo>
                  <a:lnTo>
                    <a:pt x="901" y="322"/>
                  </a:lnTo>
                  <a:lnTo>
                    <a:pt x="904" y="312"/>
                  </a:lnTo>
                  <a:lnTo>
                    <a:pt x="910" y="309"/>
                  </a:lnTo>
                  <a:lnTo>
                    <a:pt x="918" y="307"/>
                  </a:lnTo>
                  <a:lnTo>
                    <a:pt x="918" y="307"/>
                  </a:lnTo>
                  <a:lnTo>
                    <a:pt x="925" y="309"/>
                  </a:lnTo>
                  <a:lnTo>
                    <a:pt x="929" y="311"/>
                  </a:lnTo>
                  <a:lnTo>
                    <a:pt x="936" y="320"/>
                  </a:lnTo>
                  <a:lnTo>
                    <a:pt x="942" y="324"/>
                  </a:lnTo>
                  <a:lnTo>
                    <a:pt x="953" y="326"/>
                  </a:lnTo>
                  <a:lnTo>
                    <a:pt x="972" y="327"/>
                  </a:lnTo>
                  <a:lnTo>
                    <a:pt x="998" y="324"/>
                  </a:lnTo>
                  <a:lnTo>
                    <a:pt x="998" y="324"/>
                  </a:lnTo>
                  <a:lnTo>
                    <a:pt x="1013" y="320"/>
                  </a:lnTo>
                  <a:lnTo>
                    <a:pt x="1022" y="314"/>
                  </a:lnTo>
                  <a:lnTo>
                    <a:pt x="1030" y="307"/>
                  </a:lnTo>
                  <a:lnTo>
                    <a:pt x="1033" y="299"/>
                  </a:lnTo>
                  <a:lnTo>
                    <a:pt x="1039" y="283"/>
                  </a:lnTo>
                  <a:lnTo>
                    <a:pt x="1043" y="275"/>
                  </a:lnTo>
                  <a:lnTo>
                    <a:pt x="1048" y="269"/>
                  </a:lnTo>
                  <a:lnTo>
                    <a:pt x="1048" y="269"/>
                  </a:lnTo>
                  <a:lnTo>
                    <a:pt x="1039" y="269"/>
                  </a:lnTo>
                  <a:lnTo>
                    <a:pt x="1035" y="268"/>
                  </a:lnTo>
                  <a:lnTo>
                    <a:pt x="1033" y="266"/>
                  </a:lnTo>
                  <a:lnTo>
                    <a:pt x="1033" y="262"/>
                  </a:lnTo>
                  <a:lnTo>
                    <a:pt x="1035" y="249"/>
                  </a:lnTo>
                  <a:lnTo>
                    <a:pt x="1035" y="249"/>
                  </a:lnTo>
                  <a:lnTo>
                    <a:pt x="1037" y="240"/>
                  </a:lnTo>
                  <a:lnTo>
                    <a:pt x="1037" y="232"/>
                  </a:lnTo>
                  <a:lnTo>
                    <a:pt x="1033" y="225"/>
                  </a:lnTo>
                  <a:lnTo>
                    <a:pt x="1030" y="219"/>
                  </a:lnTo>
                  <a:lnTo>
                    <a:pt x="1022" y="215"/>
                  </a:lnTo>
                  <a:lnTo>
                    <a:pt x="1015" y="215"/>
                  </a:lnTo>
                  <a:lnTo>
                    <a:pt x="1007" y="217"/>
                  </a:lnTo>
                  <a:lnTo>
                    <a:pt x="1000" y="225"/>
                  </a:lnTo>
                  <a:lnTo>
                    <a:pt x="1000" y="225"/>
                  </a:lnTo>
                  <a:lnTo>
                    <a:pt x="994" y="230"/>
                  </a:lnTo>
                  <a:lnTo>
                    <a:pt x="987" y="236"/>
                  </a:lnTo>
                  <a:lnTo>
                    <a:pt x="974" y="243"/>
                  </a:lnTo>
                  <a:lnTo>
                    <a:pt x="959" y="247"/>
                  </a:lnTo>
                  <a:lnTo>
                    <a:pt x="946" y="247"/>
                  </a:lnTo>
                  <a:lnTo>
                    <a:pt x="934" y="243"/>
                  </a:lnTo>
                  <a:lnTo>
                    <a:pt x="929" y="241"/>
                  </a:lnTo>
                  <a:lnTo>
                    <a:pt x="927" y="238"/>
                  </a:lnTo>
                  <a:lnTo>
                    <a:pt x="925" y="234"/>
                  </a:lnTo>
                  <a:lnTo>
                    <a:pt x="923" y="228"/>
                  </a:lnTo>
                  <a:lnTo>
                    <a:pt x="925" y="223"/>
                  </a:lnTo>
                  <a:lnTo>
                    <a:pt x="927" y="217"/>
                  </a:lnTo>
                  <a:lnTo>
                    <a:pt x="927" y="217"/>
                  </a:lnTo>
                  <a:lnTo>
                    <a:pt x="931" y="210"/>
                  </a:lnTo>
                  <a:lnTo>
                    <a:pt x="932" y="204"/>
                  </a:lnTo>
                  <a:lnTo>
                    <a:pt x="932" y="197"/>
                  </a:lnTo>
                  <a:lnTo>
                    <a:pt x="932" y="191"/>
                  </a:lnTo>
                  <a:lnTo>
                    <a:pt x="927" y="182"/>
                  </a:lnTo>
                  <a:lnTo>
                    <a:pt x="919" y="174"/>
                  </a:lnTo>
                  <a:lnTo>
                    <a:pt x="914" y="167"/>
                  </a:lnTo>
                  <a:lnTo>
                    <a:pt x="912" y="163"/>
                  </a:lnTo>
                  <a:lnTo>
                    <a:pt x="912" y="159"/>
                  </a:lnTo>
                  <a:lnTo>
                    <a:pt x="912" y="157"/>
                  </a:lnTo>
                  <a:lnTo>
                    <a:pt x="914" y="154"/>
                  </a:lnTo>
                  <a:lnTo>
                    <a:pt x="919" y="148"/>
                  </a:lnTo>
                  <a:lnTo>
                    <a:pt x="925" y="144"/>
                  </a:lnTo>
                  <a:lnTo>
                    <a:pt x="925" y="144"/>
                  </a:lnTo>
                  <a:lnTo>
                    <a:pt x="931" y="141"/>
                  </a:lnTo>
                  <a:lnTo>
                    <a:pt x="931" y="137"/>
                  </a:lnTo>
                  <a:lnTo>
                    <a:pt x="929" y="135"/>
                  </a:lnTo>
                  <a:lnTo>
                    <a:pt x="925" y="131"/>
                  </a:lnTo>
                  <a:lnTo>
                    <a:pt x="908" y="129"/>
                  </a:lnTo>
                  <a:lnTo>
                    <a:pt x="889" y="129"/>
                  </a:lnTo>
                  <a:lnTo>
                    <a:pt x="871" y="131"/>
                  </a:lnTo>
                  <a:lnTo>
                    <a:pt x="863" y="133"/>
                  </a:lnTo>
                  <a:lnTo>
                    <a:pt x="858" y="135"/>
                  </a:lnTo>
                  <a:lnTo>
                    <a:pt x="854" y="141"/>
                  </a:lnTo>
                  <a:lnTo>
                    <a:pt x="852" y="144"/>
                  </a:lnTo>
                  <a:lnTo>
                    <a:pt x="854" y="150"/>
                  </a:lnTo>
                  <a:lnTo>
                    <a:pt x="861" y="157"/>
                  </a:lnTo>
                  <a:lnTo>
                    <a:pt x="861" y="157"/>
                  </a:lnTo>
                  <a:lnTo>
                    <a:pt x="865" y="161"/>
                  </a:lnTo>
                  <a:lnTo>
                    <a:pt x="865" y="169"/>
                  </a:lnTo>
                  <a:lnTo>
                    <a:pt x="863" y="174"/>
                  </a:lnTo>
                  <a:lnTo>
                    <a:pt x="861" y="180"/>
                  </a:lnTo>
                  <a:lnTo>
                    <a:pt x="856" y="185"/>
                  </a:lnTo>
                  <a:lnTo>
                    <a:pt x="850" y="187"/>
                  </a:lnTo>
                  <a:lnTo>
                    <a:pt x="847" y="187"/>
                  </a:lnTo>
                  <a:lnTo>
                    <a:pt x="841" y="185"/>
                  </a:lnTo>
                  <a:lnTo>
                    <a:pt x="841" y="185"/>
                  </a:lnTo>
                  <a:lnTo>
                    <a:pt x="837" y="182"/>
                  </a:lnTo>
                  <a:lnTo>
                    <a:pt x="832" y="182"/>
                  </a:lnTo>
                  <a:lnTo>
                    <a:pt x="826" y="184"/>
                  </a:lnTo>
                  <a:lnTo>
                    <a:pt x="820" y="187"/>
                  </a:lnTo>
                  <a:lnTo>
                    <a:pt x="817" y="193"/>
                  </a:lnTo>
                  <a:lnTo>
                    <a:pt x="815" y="198"/>
                  </a:lnTo>
                  <a:lnTo>
                    <a:pt x="813" y="204"/>
                  </a:lnTo>
                  <a:lnTo>
                    <a:pt x="813" y="210"/>
                  </a:lnTo>
                  <a:lnTo>
                    <a:pt x="813" y="210"/>
                  </a:lnTo>
                  <a:lnTo>
                    <a:pt x="817" y="223"/>
                  </a:lnTo>
                  <a:lnTo>
                    <a:pt x="817" y="234"/>
                  </a:lnTo>
                  <a:lnTo>
                    <a:pt x="813" y="243"/>
                  </a:lnTo>
                  <a:lnTo>
                    <a:pt x="805" y="251"/>
                  </a:lnTo>
                  <a:lnTo>
                    <a:pt x="789" y="262"/>
                  </a:lnTo>
                  <a:lnTo>
                    <a:pt x="779" y="269"/>
                  </a:lnTo>
                  <a:lnTo>
                    <a:pt x="772" y="281"/>
                  </a:lnTo>
                  <a:lnTo>
                    <a:pt x="772" y="281"/>
                  </a:lnTo>
                  <a:lnTo>
                    <a:pt x="768" y="286"/>
                  </a:lnTo>
                  <a:lnTo>
                    <a:pt x="762" y="290"/>
                  </a:lnTo>
                  <a:lnTo>
                    <a:pt x="755" y="294"/>
                  </a:lnTo>
                  <a:lnTo>
                    <a:pt x="744" y="298"/>
                  </a:lnTo>
                  <a:lnTo>
                    <a:pt x="734" y="301"/>
                  </a:lnTo>
                  <a:lnTo>
                    <a:pt x="734" y="301"/>
                  </a:lnTo>
                  <a:lnTo>
                    <a:pt x="733" y="312"/>
                  </a:lnTo>
                  <a:lnTo>
                    <a:pt x="731" y="337"/>
                  </a:lnTo>
                  <a:lnTo>
                    <a:pt x="733" y="359"/>
                  </a:lnTo>
                  <a:lnTo>
                    <a:pt x="733" y="374"/>
                  </a:lnTo>
                  <a:lnTo>
                    <a:pt x="733" y="374"/>
                  </a:lnTo>
                  <a:lnTo>
                    <a:pt x="736" y="387"/>
                  </a:lnTo>
                  <a:lnTo>
                    <a:pt x="738" y="402"/>
                  </a:lnTo>
                  <a:lnTo>
                    <a:pt x="738" y="413"/>
                  </a:lnTo>
                  <a:lnTo>
                    <a:pt x="736" y="425"/>
                  </a:lnTo>
                  <a:lnTo>
                    <a:pt x="734" y="434"/>
                  </a:lnTo>
                  <a:lnTo>
                    <a:pt x="733" y="441"/>
                  </a:lnTo>
                  <a:lnTo>
                    <a:pt x="729" y="447"/>
                  </a:lnTo>
                  <a:lnTo>
                    <a:pt x="723" y="449"/>
                  </a:lnTo>
                  <a:lnTo>
                    <a:pt x="723" y="449"/>
                  </a:lnTo>
                  <a:lnTo>
                    <a:pt x="714" y="451"/>
                  </a:lnTo>
                  <a:lnTo>
                    <a:pt x="710" y="454"/>
                  </a:lnTo>
                  <a:lnTo>
                    <a:pt x="701" y="468"/>
                  </a:lnTo>
                  <a:lnTo>
                    <a:pt x="701" y="468"/>
                  </a:lnTo>
                  <a:lnTo>
                    <a:pt x="693" y="473"/>
                  </a:lnTo>
                  <a:lnTo>
                    <a:pt x="691" y="473"/>
                  </a:lnTo>
                  <a:lnTo>
                    <a:pt x="691" y="471"/>
                  </a:lnTo>
                  <a:lnTo>
                    <a:pt x="688" y="454"/>
                  </a:lnTo>
                  <a:lnTo>
                    <a:pt x="684" y="447"/>
                  </a:lnTo>
                  <a:lnTo>
                    <a:pt x="682" y="443"/>
                  </a:lnTo>
                  <a:lnTo>
                    <a:pt x="678" y="443"/>
                  </a:lnTo>
                  <a:lnTo>
                    <a:pt x="673" y="443"/>
                  </a:lnTo>
                  <a:lnTo>
                    <a:pt x="665" y="447"/>
                  </a:lnTo>
                  <a:lnTo>
                    <a:pt x="656" y="453"/>
                  </a:lnTo>
                  <a:lnTo>
                    <a:pt x="645" y="460"/>
                  </a:lnTo>
                  <a:lnTo>
                    <a:pt x="645" y="460"/>
                  </a:lnTo>
                  <a:lnTo>
                    <a:pt x="633" y="468"/>
                  </a:lnTo>
                  <a:lnTo>
                    <a:pt x="620" y="471"/>
                  </a:lnTo>
                  <a:lnTo>
                    <a:pt x="607" y="473"/>
                  </a:lnTo>
                  <a:lnTo>
                    <a:pt x="594" y="471"/>
                  </a:lnTo>
                  <a:lnTo>
                    <a:pt x="583" y="468"/>
                  </a:lnTo>
                  <a:lnTo>
                    <a:pt x="574" y="462"/>
                  </a:lnTo>
                  <a:lnTo>
                    <a:pt x="566" y="453"/>
                  </a:lnTo>
                  <a:lnTo>
                    <a:pt x="564" y="447"/>
                  </a:lnTo>
                  <a:lnTo>
                    <a:pt x="564" y="440"/>
                  </a:lnTo>
                  <a:lnTo>
                    <a:pt x="564" y="440"/>
                  </a:lnTo>
                  <a:lnTo>
                    <a:pt x="561" y="430"/>
                  </a:lnTo>
                  <a:lnTo>
                    <a:pt x="557" y="425"/>
                  </a:lnTo>
                  <a:lnTo>
                    <a:pt x="551" y="419"/>
                  </a:lnTo>
                  <a:lnTo>
                    <a:pt x="546" y="415"/>
                  </a:lnTo>
                  <a:lnTo>
                    <a:pt x="542" y="412"/>
                  </a:lnTo>
                  <a:lnTo>
                    <a:pt x="540" y="406"/>
                  </a:lnTo>
                  <a:lnTo>
                    <a:pt x="540" y="398"/>
                  </a:lnTo>
                  <a:lnTo>
                    <a:pt x="547" y="387"/>
                  </a:lnTo>
                  <a:lnTo>
                    <a:pt x="547" y="387"/>
                  </a:lnTo>
                  <a:lnTo>
                    <a:pt x="547" y="383"/>
                  </a:lnTo>
                  <a:lnTo>
                    <a:pt x="547" y="380"/>
                  </a:lnTo>
                  <a:lnTo>
                    <a:pt x="546" y="374"/>
                  </a:lnTo>
                  <a:lnTo>
                    <a:pt x="540" y="365"/>
                  </a:lnTo>
                  <a:lnTo>
                    <a:pt x="533" y="357"/>
                  </a:lnTo>
                  <a:lnTo>
                    <a:pt x="518" y="341"/>
                  </a:lnTo>
                  <a:lnTo>
                    <a:pt x="512" y="333"/>
                  </a:lnTo>
                  <a:lnTo>
                    <a:pt x="510" y="324"/>
                  </a:lnTo>
                  <a:lnTo>
                    <a:pt x="510" y="324"/>
                  </a:lnTo>
                  <a:lnTo>
                    <a:pt x="503" y="303"/>
                  </a:lnTo>
                  <a:lnTo>
                    <a:pt x="488" y="268"/>
                  </a:lnTo>
                  <a:lnTo>
                    <a:pt x="463" y="208"/>
                  </a:lnTo>
                  <a:lnTo>
                    <a:pt x="463" y="208"/>
                  </a:lnTo>
                  <a:lnTo>
                    <a:pt x="462" y="206"/>
                  </a:lnTo>
                  <a:lnTo>
                    <a:pt x="458" y="206"/>
                  </a:lnTo>
                  <a:lnTo>
                    <a:pt x="447" y="208"/>
                  </a:lnTo>
                  <a:lnTo>
                    <a:pt x="435" y="210"/>
                  </a:lnTo>
                  <a:lnTo>
                    <a:pt x="428" y="213"/>
                  </a:lnTo>
                  <a:lnTo>
                    <a:pt x="428" y="213"/>
                  </a:lnTo>
                  <a:lnTo>
                    <a:pt x="424" y="215"/>
                  </a:lnTo>
                  <a:lnTo>
                    <a:pt x="422" y="215"/>
                  </a:lnTo>
                  <a:lnTo>
                    <a:pt x="415" y="213"/>
                  </a:lnTo>
                  <a:lnTo>
                    <a:pt x="407" y="208"/>
                  </a:lnTo>
                  <a:lnTo>
                    <a:pt x="400" y="198"/>
                  </a:lnTo>
                  <a:lnTo>
                    <a:pt x="392" y="189"/>
                  </a:lnTo>
                  <a:lnTo>
                    <a:pt x="389" y="178"/>
                  </a:lnTo>
                  <a:lnTo>
                    <a:pt x="389" y="169"/>
                  </a:lnTo>
                  <a:lnTo>
                    <a:pt x="389" y="165"/>
                  </a:lnTo>
                  <a:lnTo>
                    <a:pt x="392" y="161"/>
                  </a:lnTo>
                  <a:lnTo>
                    <a:pt x="392" y="161"/>
                  </a:lnTo>
                  <a:lnTo>
                    <a:pt x="400" y="150"/>
                  </a:lnTo>
                  <a:lnTo>
                    <a:pt x="402" y="146"/>
                  </a:lnTo>
                  <a:lnTo>
                    <a:pt x="402" y="141"/>
                  </a:lnTo>
                  <a:lnTo>
                    <a:pt x="398" y="133"/>
                  </a:lnTo>
                  <a:lnTo>
                    <a:pt x="392" y="126"/>
                  </a:lnTo>
                  <a:lnTo>
                    <a:pt x="377" y="109"/>
                  </a:lnTo>
                  <a:lnTo>
                    <a:pt x="372" y="101"/>
                  </a:lnTo>
                  <a:lnTo>
                    <a:pt x="368" y="90"/>
                  </a:lnTo>
                  <a:lnTo>
                    <a:pt x="368" y="90"/>
                  </a:lnTo>
                  <a:lnTo>
                    <a:pt x="362" y="75"/>
                  </a:lnTo>
                  <a:lnTo>
                    <a:pt x="357" y="68"/>
                  </a:lnTo>
                  <a:lnTo>
                    <a:pt x="355" y="66"/>
                  </a:lnTo>
                  <a:lnTo>
                    <a:pt x="353" y="66"/>
                  </a:lnTo>
                  <a:lnTo>
                    <a:pt x="348" y="68"/>
                  </a:lnTo>
                  <a:lnTo>
                    <a:pt x="340" y="73"/>
                  </a:lnTo>
                  <a:lnTo>
                    <a:pt x="334" y="79"/>
                  </a:lnTo>
                  <a:lnTo>
                    <a:pt x="327" y="86"/>
                  </a:lnTo>
                  <a:lnTo>
                    <a:pt x="319" y="94"/>
                  </a:lnTo>
                  <a:lnTo>
                    <a:pt x="319" y="94"/>
                  </a:lnTo>
                  <a:lnTo>
                    <a:pt x="316" y="98"/>
                  </a:lnTo>
                  <a:lnTo>
                    <a:pt x="312" y="103"/>
                  </a:lnTo>
                  <a:lnTo>
                    <a:pt x="306" y="113"/>
                  </a:lnTo>
                  <a:lnTo>
                    <a:pt x="306" y="124"/>
                  </a:lnTo>
                  <a:lnTo>
                    <a:pt x="306" y="133"/>
                  </a:lnTo>
                  <a:lnTo>
                    <a:pt x="306" y="141"/>
                  </a:lnTo>
                  <a:lnTo>
                    <a:pt x="306" y="144"/>
                  </a:lnTo>
                  <a:lnTo>
                    <a:pt x="305" y="144"/>
                  </a:lnTo>
                  <a:lnTo>
                    <a:pt x="303" y="142"/>
                  </a:lnTo>
                  <a:lnTo>
                    <a:pt x="297" y="137"/>
                  </a:lnTo>
                  <a:lnTo>
                    <a:pt x="297" y="137"/>
                  </a:lnTo>
                  <a:lnTo>
                    <a:pt x="293" y="131"/>
                  </a:lnTo>
                  <a:lnTo>
                    <a:pt x="291" y="120"/>
                  </a:lnTo>
                  <a:lnTo>
                    <a:pt x="288" y="86"/>
                  </a:lnTo>
                  <a:lnTo>
                    <a:pt x="284" y="45"/>
                  </a:lnTo>
                  <a:lnTo>
                    <a:pt x="284" y="0"/>
                  </a:lnTo>
                  <a:lnTo>
                    <a:pt x="284" y="0"/>
                  </a:lnTo>
                  <a:lnTo>
                    <a:pt x="275" y="2"/>
                  </a:lnTo>
                  <a:lnTo>
                    <a:pt x="269" y="8"/>
                  </a:lnTo>
                  <a:lnTo>
                    <a:pt x="267" y="15"/>
                  </a:lnTo>
                  <a:lnTo>
                    <a:pt x="265" y="23"/>
                  </a:lnTo>
                  <a:lnTo>
                    <a:pt x="265" y="42"/>
                  </a:lnTo>
                  <a:lnTo>
                    <a:pt x="263" y="49"/>
                  </a:lnTo>
                  <a:lnTo>
                    <a:pt x="260" y="55"/>
                  </a:lnTo>
                  <a:lnTo>
                    <a:pt x="260" y="55"/>
                  </a:lnTo>
                  <a:lnTo>
                    <a:pt x="254" y="58"/>
                  </a:lnTo>
                  <a:lnTo>
                    <a:pt x="252" y="56"/>
                  </a:lnTo>
                  <a:lnTo>
                    <a:pt x="248" y="55"/>
                  </a:lnTo>
                  <a:lnTo>
                    <a:pt x="247" y="51"/>
                  </a:lnTo>
                  <a:lnTo>
                    <a:pt x="245" y="40"/>
                  </a:lnTo>
                  <a:lnTo>
                    <a:pt x="245" y="32"/>
                  </a:lnTo>
                  <a:lnTo>
                    <a:pt x="245" y="32"/>
                  </a:lnTo>
                  <a:lnTo>
                    <a:pt x="239" y="25"/>
                  </a:lnTo>
                  <a:lnTo>
                    <a:pt x="235" y="25"/>
                  </a:lnTo>
                  <a:lnTo>
                    <a:pt x="234" y="25"/>
                  </a:lnTo>
                  <a:lnTo>
                    <a:pt x="230" y="30"/>
                  </a:lnTo>
                  <a:lnTo>
                    <a:pt x="228" y="40"/>
                  </a:lnTo>
                  <a:lnTo>
                    <a:pt x="224" y="58"/>
                  </a:lnTo>
                  <a:lnTo>
                    <a:pt x="222" y="70"/>
                  </a:lnTo>
                  <a:lnTo>
                    <a:pt x="222" y="70"/>
                  </a:lnTo>
                  <a:lnTo>
                    <a:pt x="219" y="81"/>
                  </a:lnTo>
                  <a:lnTo>
                    <a:pt x="219" y="90"/>
                  </a:lnTo>
                  <a:lnTo>
                    <a:pt x="220" y="101"/>
                  </a:lnTo>
                  <a:lnTo>
                    <a:pt x="222" y="111"/>
                  </a:lnTo>
                  <a:lnTo>
                    <a:pt x="224" y="120"/>
                  </a:lnTo>
                  <a:lnTo>
                    <a:pt x="224" y="127"/>
                  </a:lnTo>
                  <a:lnTo>
                    <a:pt x="222" y="129"/>
                  </a:lnTo>
                  <a:lnTo>
                    <a:pt x="220" y="133"/>
                  </a:lnTo>
                  <a:lnTo>
                    <a:pt x="211" y="135"/>
                  </a:lnTo>
                  <a:lnTo>
                    <a:pt x="211" y="135"/>
                  </a:lnTo>
                  <a:lnTo>
                    <a:pt x="192" y="141"/>
                  </a:lnTo>
                  <a:lnTo>
                    <a:pt x="183" y="142"/>
                  </a:lnTo>
                  <a:lnTo>
                    <a:pt x="181" y="141"/>
                  </a:lnTo>
                  <a:lnTo>
                    <a:pt x="181" y="137"/>
                  </a:lnTo>
                  <a:lnTo>
                    <a:pt x="179" y="122"/>
                  </a:lnTo>
                  <a:lnTo>
                    <a:pt x="179" y="122"/>
                  </a:lnTo>
                  <a:lnTo>
                    <a:pt x="177" y="111"/>
                  </a:lnTo>
                  <a:lnTo>
                    <a:pt x="174" y="107"/>
                  </a:lnTo>
                  <a:lnTo>
                    <a:pt x="170" y="107"/>
                  </a:lnTo>
                  <a:lnTo>
                    <a:pt x="164" y="111"/>
                  </a:lnTo>
                  <a:lnTo>
                    <a:pt x="155" y="124"/>
                  </a:lnTo>
                  <a:lnTo>
                    <a:pt x="146" y="137"/>
                  </a:lnTo>
                  <a:lnTo>
                    <a:pt x="146" y="137"/>
                  </a:lnTo>
                  <a:lnTo>
                    <a:pt x="146" y="146"/>
                  </a:lnTo>
                  <a:lnTo>
                    <a:pt x="148" y="167"/>
                  </a:lnTo>
                  <a:lnTo>
                    <a:pt x="148" y="167"/>
                  </a:lnTo>
                  <a:lnTo>
                    <a:pt x="149" y="184"/>
                  </a:lnTo>
                  <a:lnTo>
                    <a:pt x="157" y="204"/>
                  </a:lnTo>
                  <a:lnTo>
                    <a:pt x="161" y="213"/>
                  </a:lnTo>
                  <a:lnTo>
                    <a:pt x="164" y="221"/>
                  </a:lnTo>
                  <a:lnTo>
                    <a:pt x="170" y="225"/>
                  </a:lnTo>
                  <a:lnTo>
                    <a:pt x="172" y="225"/>
                  </a:lnTo>
                  <a:lnTo>
                    <a:pt x="174" y="225"/>
                  </a:lnTo>
                  <a:lnTo>
                    <a:pt x="174" y="225"/>
                  </a:lnTo>
                  <a:lnTo>
                    <a:pt x="183" y="221"/>
                  </a:lnTo>
                  <a:lnTo>
                    <a:pt x="191" y="219"/>
                  </a:lnTo>
                  <a:lnTo>
                    <a:pt x="198" y="219"/>
                  </a:lnTo>
                  <a:lnTo>
                    <a:pt x="202" y="221"/>
                  </a:lnTo>
                  <a:lnTo>
                    <a:pt x="205" y="225"/>
                  </a:lnTo>
                  <a:lnTo>
                    <a:pt x="207" y="228"/>
                  </a:lnTo>
                  <a:lnTo>
                    <a:pt x="207" y="241"/>
                  </a:lnTo>
                  <a:lnTo>
                    <a:pt x="207" y="256"/>
                  </a:lnTo>
                  <a:lnTo>
                    <a:pt x="204" y="271"/>
                  </a:lnTo>
                  <a:lnTo>
                    <a:pt x="202" y="284"/>
                  </a:lnTo>
                  <a:lnTo>
                    <a:pt x="202" y="292"/>
                  </a:lnTo>
                  <a:lnTo>
                    <a:pt x="202" y="292"/>
                  </a:lnTo>
                  <a:lnTo>
                    <a:pt x="204" y="307"/>
                  </a:lnTo>
                  <a:lnTo>
                    <a:pt x="202" y="320"/>
                  </a:lnTo>
                  <a:lnTo>
                    <a:pt x="202" y="331"/>
                  </a:lnTo>
                  <a:lnTo>
                    <a:pt x="202" y="344"/>
                  </a:lnTo>
                  <a:lnTo>
                    <a:pt x="202" y="344"/>
                  </a:lnTo>
                  <a:lnTo>
                    <a:pt x="202" y="352"/>
                  </a:lnTo>
                  <a:lnTo>
                    <a:pt x="200" y="361"/>
                  </a:lnTo>
                  <a:lnTo>
                    <a:pt x="192" y="383"/>
                  </a:lnTo>
                  <a:lnTo>
                    <a:pt x="185" y="404"/>
                  </a:lnTo>
                  <a:lnTo>
                    <a:pt x="185" y="412"/>
                  </a:lnTo>
                  <a:lnTo>
                    <a:pt x="187" y="415"/>
                  </a:lnTo>
                  <a:lnTo>
                    <a:pt x="187" y="415"/>
                  </a:lnTo>
                  <a:lnTo>
                    <a:pt x="191" y="423"/>
                  </a:lnTo>
                  <a:lnTo>
                    <a:pt x="191" y="425"/>
                  </a:lnTo>
                  <a:lnTo>
                    <a:pt x="191" y="426"/>
                  </a:lnTo>
                  <a:lnTo>
                    <a:pt x="187" y="430"/>
                  </a:lnTo>
                  <a:lnTo>
                    <a:pt x="181" y="434"/>
                  </a:lnTo>
                  <a:lnTo>
                    <a:pt x="174" y="436"/>
                  </a:lnTo>
                  <a:lnTo>
                    <a:pt x="170" y="440"/>
                  </a:lnTo>
                  <a:lnTo>
                    <a:pt x="170" y="441"/>
                  </a:lnTo>
                  <a:lnTo>
                    <a:pt x="170" y="443"/>
                  </a:lnTo>
                  <a:lnTo>
                    <a:pt x="174" y="449"/>
                  </a:lnTo>
                  <a:lnTo>
                    <a:pt x="174" y="449"/>
                  </a:lnTo>
                  <a:lnTo>
                    <a:pt x="183" y="456"/>
                  </a:lnTo>
                  <a:lnTo>
                    <a:pt x="185" y="458"/>
                  </a:lnTo>
                  <a:lnTo>
                    <a:pt x="185" y="462"/>
                  </a:lnTo>
                  <a:lnTo>
                    <a:pt x="181" y="466"/>
                  </a:lnTo>
                  <a:lnTo>
                    <a:pt x="176" y="468"/>
                  </a:lnTo>
                  <a:lnTo>
                    <a:pt x="159" y="471"/>
                  </a:lnTo>
                  <a:lnTo>
                    <a:pt x="153" y="473"/>
                  </a:lnTo>
                  <a:lnTo>
                    <a:pt x="149" y="477"/>
                  </a:lnTo>
                  <a:lnTo>
                    <a:pt x="149" y="477"/>
                  </a:lnTo>
                  <a:lnTo>
                    <a:pt x="144" y="492"/>
                  </a:lnTo>
                  <a:lnTo>
                    <a:pt x="138" y="501"/>
                  </a:lnTo>
                  <a:lnTo>
                    <a:pt x="133" y="503"/>
                  </a:lnTo>
                  <a:lnTo>
                    <a:pt x="127" y="501"/>
                  </a:lnTo>
                  <a:lnTo>
                    <a:pt x="121" y="501"/>
                  </a:lnTo>
                  <a:lnTo>
                    <a:pt x="116" y="501"/>
                  </a:lnTo>
                  <a:lnTo>
                    <a:pt x="108" y="509"/>
                  </a:lnTo>
                  <a:lnTo>
                    <a:pt x="99" y="522"/>
                  </a:lnTo>
                  <a:lnTo>
                    <a:pt x="99" y="522"/>
                  </a:lnTo>
                  <a:lnTo>
                    <a:pt x="90" y="537"/>
                  </a:lnTo>
                  <a:lnTo>
                    <a:pt x="82" y="544"/>
                  </a:lnTo>
                  <a:lnTo>
                    <a:pt x="77" y="546"/>
                  </a:lnTo>
                  <a:lnTo>
                    <a:pt x="69" y="544"/>
                  </a:lnTo>
                  <a:lnTo>
                    <a:pt x="63" y="544"/>
                  </a:lnTo>
                  <a:lnTo>
                    <a:pt x="58" y="546"/>
                  </a:lnTo>
                  <a:lnTo>
                    <a:pt x="50" y="554"/>
                  </a:lnTo>
                  <a:lnTo>
                    <a:pt x="41" y="567"/>
                  </a:lnTo>
                  <a:lnTo>
                    <a:pt x="41" y="567"/>
                  </a:lnTo>
                  <a:lnTo>
                    <a:pt x="39" y="574"/>
                  </a:lnTo>
                  <a:lnTo>
                    <a:pt x="39" y="580"/>
                  </a:lnTo>
                  <a:lnTo>
                    <a:pt x="41" y="589"/>
                  </a:lnTo>
                  <a:lnTo>
                    <a:pt x="39" y="593"/>
                  </a:lnTo>
                  <a:lnTo>
                    <a:pt x="37" y="596"/>
                  </a:lnTo>
                  <a:lnTo>
                    <a:pt x="32" y="600"/>
                  </a:lnTo>
                  <a:lnTo>
                    <a:pt x="20" y="606"/>
                  </a:lnTo>
                  <a:lnTo>
                    <a:pt x="20" y="606"/>
                  </a:lnTo>
                  <a:lnTo>
                    <a:pt x="17" y="610"/>
                  </a:lnTo>
                  <a:lnTo>
                    <a:pt x="13" y="613"/>
                  </a:lnTo>
                  <a:lnTo>
                    <a:pt x="9" y="628"/>
                  </a:lnTo>
                  <a:lnTo>
                    <a:pt x="9" y="643"/>
                  </a:lnTo>
                  <a:lnTo>
                    <a:pt x="9" y="649"/>
                  </a:lnTo>
                  <a:lnTo>
                    <a:pt x="13" y="651"/>
                  </a:lnTo>
                  <a:lnTo>
                    <a:pt x="13" y="651"/>
                  </a:lnTo>
                  <a:lnTo>
                    <a:pt x="20" y="654"/>
                  </a:lnTo>
                  <a:lnTo>
                    <a:pt x="28" y="658"/>
                  </a:lnTo>
                  <a:lnTo>
                    <a:pt x="30" y="664"/>
                  </a:lnTo>
                  <a:lnTo>
                    <a:pt x="32" y="669"/>
                  </a:lnTo>
                  <a:lnTo>
                    <a:pt x="32" y="675"/>
                  </a:lnTo>
                  <a:lnTo>
                    <a:pt x="32" y="681"/>
                  </a:lnTo>
                  <a:lnTo>
                    <a:pt x="26" y="692"/>
                  </a:lnTo>
                  <a:lnTo>
                    <a:pt x="17" y="703"/>
                  </a:lnTo>
                  <a:lnTo>
                    <a:pt x="9" y="712"/>
                  </a:lnTo>
                  <a:lnTo>
                    <a:pt x="0" y="722"/>
                  </a:lnTo>
                  <a:lnTo>
                    <a:pt x="0" y="722"/>
                  </a:lnTo>
                  <a:lnTo>
                    <a:pt x="2" y="733"/>
                  </a:lnTo>
                  <a:lnTo>
                    <a:pt x="6" y="735"/>
                  </a:lnTo>
                  <a:lnTo>
                    <a:pt x="7" y="737"/>
                  </a:lnTo>
                  <a:lnTo>
                    <a:pt x="17" y="735"/>
                  </a:lnTo>
                  <a:lnTo>
                    <a:pt x="30" y="729"/>
                  </a:lnTo>
                  <a:lnTo>
                    <a:pt x="49" y="724"/>
                  </a:lnTo>
                  <a:lnTo>
                    <a:pt x="71" y="716"/>
                  </a:lnTo>
                  <a:lnTo>
                    <a:pt x="86" y="714"/>
                  </a:lnTo>
                  <a:lnTo>
                    <a:pt x="103" y="714"/>
                  </a:lnTo>
                  <a:lnTo>
                    <a:pt x="121" y="714"/>
                  </a:lnTo>
                  <a:lnTo>
                    <a:pt x="140" y="714"/>
                  </a:lnTo>
                  <a:lnTo>
                    <a:pt x="140" y="714"/>
                  </a:lnTo>
                  <a:lnTo>
                    <a:pt x="161" y="716"/>
                  </a:lnTo>
                  <a:lnTo>
                    <a:pt x="170" y="720"/>
                  </a:lnTo>
                  <a:lnTo>
                    <a:pt x="172" y="720"/>
                  </a:lnTo>
                  <a:lnTo>
                    <a:pt x="172" y="722"/>
                  </a:lnTo>
                  <a:lnTo>
                    <a:pt x="168" y="725"/>
                  </a:lnTo>
                  <a:lnTo>
                    <a:pt x="161" y="731"/>
                  </a:lnTo>
                  <a:lnTo>
                    <a:pt x="153" y="737"/>
                  </a:lnTo>
                  <a:lnTo>
                    <a:pt x="148" y="746"/>
                  </a:lnTo>
                  <a:lnTo>
                    <a:pt x="146" y="752"/>
                  </a:lnTo>
                  <a:lnTo>
                    <a:pt x="146" y="757"/>
                  </a:lnTo>
                  <a:lnTo>
                    <a:pt x="146" y="757"/>
                  </a:lnTo>
                  <a:lnTo>
                    <a:pt x="148" y="763"/>
                  </a:lnTo>
                  <a:lnTo>
                    <a:pt x="151" y="768"/>
                  </a:lnTo>
                  <a:lnTo>
                    <a:pt x="159" y="776"/>
                  </a:lnTo>
                  <a:lnTo>
                    <a:pt x="163" y="780"/>
                  </a:lnTo>
                  <a:lnTo>
                    <a:pt x="164" y="785"/>
                  </a:lnTo>
                  <a:lnTo>
                    <a:pt x="163" y="791"/>
                  </a:lnTo>
                  <a:lnTo>
                    <a:pt x="159" y="798"/>
                  </a:lnTo>
                  <a:lnTo>
                    <a:pt x="159" y="798"/>
                  </a:lnTo>
                  <a:lnTo>
                    <a:pt x="157" y="800"/>
                  </a:lnTo>
                  <a:lnTo>
                    <a:pt x="159" y="804"/>
                  </a:lnTo>
                  <a:lnTo>
                    <a:pt x="164" y="810"/>
                  </a:lnTo>
                  <a:lnTo>
                    <a:pt x="168" y="815"/>
                  </a:lnTo>
                  <a:lnTo>
                    <a:pt x="170" y="819"/>
                  </a:lnTo>
                  <a:lnTo>
                    <a:pt x="170" y="824"/>
                  </a:lnTo>
                  <a:lnTo>
                    <a:pt x="166" y="830"/>
                  </a:lnTo>
                  <a:lnTo>
                    <a:pt x="166" y="830"/>
                  </a:lnTo>
                  <a:lnTo>
                    <a:pt x="163" y="839"/>
                  </a:lnTo>
                  <a:lnTo>
                    <a:pt x="163" y="845"/>
                  </a:lnTo>
                  <a:lnTo>
                    <a:pt x="166" y="851"/>
                  </a:lnTo>
                  <a:lnTo>
                    <a:pt x="172" y="856"/>
                  </a:lnTo>
                  <a:lnTo>
                    <a:pt x="179" y="860"/>
                  </a:lnTo>
                  <a:lnTo>
                    <a:pt x="189" y="864"/>
                  </a:lnTo>
                  <a:lnTo>
                    <a:pt x="209" y="869"/>
                  </a:lnTo>
                  <a:lnTo>
                    <a:pt x="230" y="873"/>
                  </a:lnTo>
                  <a:lnTo>
                    <a:pt x="237" y="877"/>
                  </a:lnTo>
                  <a:lnTo>
                    <a:pt x="243" y="881"/>
                  </a:lnTo>
                  <a:lnTo>
                    <a:pt x="245" y="884"/>
                  </a:lnTo>
                  <a:lnTo>
                    <a:pt x="245" y="888"/>
                  </a:lnTo>
                  <a:lnTo>
                    <a:pt x="239" y="895"/>
                  </a:lnTo>
                  <a:lnTo>
                    <a:pt x="230" y="903"/>
                  </a:lnTo>
                  <a:lnTo>
                    <a:pt x="230" y="903"/>
                  </a:lnTo>
                  <a:lnTo>
                    <a:pt x="222" y="910"/>
                  </a:lnTo>
                  <a:lnTo>
                    <a:pt x="219" y="918"/>
                  </a:lnTo>
                  <a:lnTo>
                    <a:pt x="217" y="925"/>
                  </a:lnTo>
                  <a:lnTo>
                    <a:pt x="215" y="935"/>
                  </a:lnTo>
                  <a:lnTo>
                    <a:pt x="215" y="944"/>
                  </a:lnTo>
                  <a:lnTo>
                    <a:pt x="213" y="952"/>
                  </a:lnTo>
                  <a:lnTo>
                    <a:pt x="209" y="959"/>
                  </a:lnTo>
                  <a:lnTo>
                    <a:pt x="204" y="966"/>
                  </a:lnTo>
                  <a:lnTo>
                    <a:pt x="204" y="966"/>
                  </a:lnTo>
                  <a:lnTo>
                    <a:pt x="192" y="978"/>
                  </a:lnTo>
                  <a:lnTo>
                    <a:pt x="185" y="987"/>
                  </a:lnTo>
                  <a:lnTo>
                    <a:pt x="183" y="994"/>
                  </a:lnTo>
                  <a:lnTo>
                    <a:pt x="185" y="1000"/>
                  </a:lnTo>
                  <a:lnTo>
                    <a:pt x="191" y="1006"/>
                  </a:lnTo>
                  <a:lnTo>
                    <a:pt x="200" y="1009"/>
                  </a:lnTo>
                  <a:lnTo>
                    <a:pt x="222" y="1015"/>
                  </a:lnTo>
                  <a:lnTo>
                    <a:pt x="247" y="1019"/>
                  </a:lnTo>
                  <a:lnTo>
                    <a:pt x="271" y="1024"/>
                  </a:lnTo>
                  <a:lnTo>
                    <a:pt x="278" y="1028"/>
                  </a:lnTo>
                  <a:lnTo>
                    <a:pt x="286" y="1032"/>
                  </a:lnTo>
                  <a:lnTo>
                    <a:pt x="290" y="1037"/>
                  </a:lnTo>
                  <a:lnTo>
                    <a:pt x="288" y="1043"/>
                  </a:lnTo>
                  <a:lnTo>
                    <a:pt x="288" y="1043"/>
                  </a:lnTo>
                  <a:lnTo>
                    <a:pt x="284" y="1056"/>
                  </a:lnTo>
                  <a:lnTo>
                    <a:pt x="286" y="1067"/>
                  </a:lnTo>
                  <a:lnTo>
                    <a:pt x="290" y="1073"/>
                  </a:lnTo>
                  <a:lnTo>
                    <a:pt x="295" y="1079"/>
                  </a:lnTo>
                  <a:lnTo>
                    <a:pt x="305" y="1086"/>
                  </a:lnTo>
                  <a:lnTo>
                    <a:pt x="306" y="1088"/>
                  </a:lnTo>
                  <a:lnTo>
                    <a:pt x="305" y="1092"/>
                  </a:lnTo>
                  <a:lnTo>
                    <a:pt x="305" y="1092"/>
                  </a:lnTo>
                  <a:lnTo>
                    <a:pt x="301" y="1097"/>
                  </a:lnTo>
                  <a:lnTo>
                    <a:pt x="299" y="1101"/>
                  </a:lnTo>
                  <a:lnTo>
                    <a:pt x="297" y="1103"/>
                  </a:lnTo>
                  <a:lnTo>
                    <a:pt x="299" y="1107"/>
                  </a:lnTo>
                  <a:lnTo>
                    <a:pt x="305" y="1110"/>
                  </a:lnTo>
                  <a:lnTo>
                    <a:pt x="314" y="1112"/>
                  </a:lnTo>
                  <a:lnTo>
                    <a:pt x="336" y="1114"/>
                  </a:lnTo>
                  <a:lnTo>
                    <a:pt x="346" y="1116"/>
                  </a:lnTo>
                  <a:lnTo>
                    <a:pt x="351" y="1118"/>
                  </a:lnTo>
                  <a:lnTo>
                    <a:pt x="351" y="1118"/>
                  </a:lnTo>
                  <a:lnTo>
                    <a:pt x="357" y="1120"/>
                  </a:lnTo>
                  <a:lnTo>
                    <a:pt x="362" y="1120"/>
                  </a:lnTo>
                  <a:lnTo>
                    <a:pt x="368" y="1120"/>
                  </a:lnTo>
                  <a:lnTo>
                    <a:pt x="376" y="1116"/>
                  </a:lnTo>
                  <a:lnTo>
                    <a:pt x="391" y="1108"/>
                  </a:lnTo>
                  <a:lnTo>
                    <a:pt x="404" y="1101"/>
                  </a:lnTo>
                  <a:lnTo>
                    <a:pt x="417" y="1094"/>
                  </a:lnTo>
                  <a:lnTo>
                    <a:pt x="428" y="1088"/>
                  </a:lnTo>
                  <a:lnTo>
                    <a:pt x="433" y="1088"/>
                  </a:lnTo>
                  <a:lnTo>
                    <a:pt x="437" y="1090"/>
                  </a:lnTo>
                  <a:lnTo>
                    <a:pt x="441" y="1092"/>
                  </a:lnTo>
                  <a:lnTo>
                    <a:pt x="443" y="1097"/>
                  </a:lnTo>
                  <a:lnTo>
                    <a:pt x="443" y="1097"/>
                  </a:lnTo>
                  <a:lnTo>
                    <a:pt x="443" y="1108"/>
                  </a:lnTo>
                  <a:lnTo>
                    <a:pt x="441" y="1122"/>
                  </a:lnTo>
                  <a:lnTo>
                    <a:pt x="441" y="1135"/>
                  </a:lnTo>
                  <a:lnTo>
                    <a:pt x="439" y="1148"/>
                  </a:lnTo>
                  <a:lnTo>
                    <a:pt x="441" y="1159"/>
                  </a:lnTo>
                  <a:lnTo>
                    <a:pt x="443" y="1163"/>
                  </a:lnTo>
                  <a:lnTo>
                    <a:pt x="447" y="1166"/>
                  </a:lnTo>
                  <a:lnTo>
                    <a:pt x="452" y="1168"/>
                  </a:lnTo>
                  <a:lnTo>
                    <a:pt x="458" y="1168"/>
                  </a:lnTo>
                  <a:lnTo>
                    <a:pt x="467" y="1166"/>
                  </a:lnTo>
                  <a:lnTo>
                    <a:pt x="476" y="1163"/>
                  </a:lnTo>
                  <a:lnTo>
                    <a:pt x="476" y="1163"/>
                  </a:lnTo>
                  <a:lnTo>
                    <a:pt x="482" y="1165"/>
                  </a:lnTo>
                  <a:lnTo>
                    <a:pt x="490" y="1168"/>
                  </a:lnTo>
                  <a:lnTo>
                    <a:pt x="508" y="1178"/>
                  </a:lnTo>
                  <a:lnTo>
                    <a:pt x="516" y="1179"/>
                  </a:lnTo>
                  <a:lnTo>
                    <a:pt x="519" y="1179"/>
                  </a:lnTo>
                  <a:lnTo>
                    <a:pt x="521" y="1179"/>
                  </a:lnTo>
                  <a:lnTo>
                    <a:pt x="523" y="1178"/>
                  </a:lnTo>
                  <a:lnTo>
                    <a:pt x="523" y="1174"/>
                  </a:lnTo>
                  <a:lnTo>
                    <a:pt x="518" y="1161"/>
                  </a:lnTo>
                  <a:lnTo>
                    <a:pt x="518" y="1161"/>
                  </a:lnTo>
                  <a:lnTo>
                    <a:pt x="516" y="1155"/>
                  </a:lnTo>
                  <a:lnTo>
                    <a:pt x="514" y="1150"/>
                  </a:lnTo>
                  <a:lnTo>
                    <a:pt x="514" y="1138"/>
                  </a:lnTo>
                  <a:lnTo>
                    <a:pt x="518" y="1127"/>
                  </a:lnTo>
                  <a:lnTo>
                    <a:pt x="521" y="1118"/>
                  </a:lnTo>
                  <a:lnTo>
                    <a:pt x="525" y="1107"/>
                  </a:lnTo>
                  <a:lnTo>
                    <a:pt x="525" y="1095"/>
                  </a:lnTo>
                  <a:lnTo>
                    <a:pt x="525" y="1090"/>
                  </a:lnTo>
                  <a:lnTo>
                    <a:pt x="523" y="1082"/>
                  </a:lnTo>
                  <a:lnTo>
                    <a:pt x="518" y="1075"/>
                  </a:lnTo>
                  <a:lnTo>
                    <a:pt x="514" y="1067"/>
                  </a:lnTo>
                  <a:lnTo>
                    <a:pt x="514" y="1067"/>
                  </a:lnTo>
                  <a:lnTo>
                    <a:pt x="510" y="1062"/>
                  </a:lnTo>
                  <a:lnTo>
                    <a:pt x="506" y="1056"/>
                  </a:lnTo>
                  <a:lnTo>
                    <a:pt x="505" y="1041"/>
                  </a:lnTo>
                  <a:lnTo>
                    <a:pt x="505" y="1026"/>
                  </a:lnTo>
                  <a:lnTo>
                    <a:pt x="506" y="1013"/>
                  </a:lnTo>
                  <a:lnTo>
                    <a:pt x="512" y="1000"/>
                  </a:lnTo>
                  <a:lnTo>
                    <a:pt x="516" y="996"/>
                  </a:lnTo>
                  <a:lnTo>
                    <a:pt x="519" y="993"/>
                  </a:lnTo>
                  <a:lnTo>
                    <a:pt x="525" y="991"/>
                  </a:lnTo>
                  <a:lnTo>
                    <a:pt x="529" y="991"/>
                  </a:lnTo>
                  <a:lnTo>
                    <a:pt x="534" y="993"/>
                  </a:lnTo>
                  <a:lnTo>
                    <a:pt x="540" y="996"/>
                  </a:lnTo>
                  <a:lnTo>
                    <a:pt x="540" y="996"/>
                  </a:lnTo>
                  <a:lnTo>
                    <a:pt x="546" y="998"/>
                  </a:lnTo>
                  <a:lnTo>
                    <a:pt x="553" y="1000"/>
                  </a:lnTo>
                  <a:lnTo>
                    <a:pt x="572" y="1004"/>
                  </a:lnTo>
                  <a:lnTo>
                    <a:pt x="581" y="1002"/>
                  </a:lnTo>
                  <a:lnTo>
                    <a:pt x="590" y="1002"/>
                  </a:lnTo>
                  <a:lnTo>
                    <a:pt x="596" y="998"/>
                  </a:lnTo>
                  <a:lnTo>
                    <a:pt x="602" y="994"/>
                  </a:lnTo>
                  <a:lnTo>
                    <a:pt x="602" y="994"/>
                  </a:lnTo>
                  <a:lnTo>
                    <a:pt x="613" y="978"/>
                  </a:lnTo>
                  <a:lnTo>
                    <a:pt x="624" y="966"/>
                  </a:lnTo>
                  <a:lnTo>
                    <a:pt x="633" y="961"/>
                  </a:lnTo>
                  <a:lnTo>
                    <a:pt x="641" y="959"/>
                  </a:lnTo>
                  <a:lnTo>
                    <a:pt x="648" y="961"/>
                  </a:lnTo>
                  <a:lnTo>
                    <a:pt x="654" y="965"/>
                  </a:lnTo>
                  <a:lnTo>
                    <a:pt x="665" y="980"/>
                  </a:lnTo>
                  <a:lnTo>
                    <a:pt x="676" y="994"/>
                  </a:lnTo>
                  <a:lnTo>
                    <a:pt x="684" y="1000"/>
                  </a:lnTo>
                  <a:lnTo>
                    <a:pt x="690" y="1004"/>
                  </a:lnTo>
                  <a:lnTo>
                    <a:pt x="699" y="1004"/>
                  </a:lnTo>
                  <a:lnTo>
                    <a:pt x="706" y="1002"/>
                  </a:lnTo>
                  <a:lnTo>
                    <a:pt x="718" y="994"/>
                  </a:lnTo>
                  <a:lnTo>
                    <a:pt x="729" y="981"/>
                  </a:lnTo>
                  <a:lnTo>
                    <a:pt x="729" y="981"/>
                  </a:lnTo>
                  <a:lnTo>
                    <a:pt x="734" y="974"/>
                  </a:lnTo>
                  <a:lnTo>
                    <a:pt x="740" y="970"/>
                  </a:lnTo>
                  <a:lnTo>
                    <a:pt x="744" y="968"/>
                  </a:lnTo>
                  <a:lnTo>
                    <a:pt x="747" y="966"/>
                  </a:lnTo>
                  <a:lnTo>
                    <a:pt x="751" y="968"/>
                  </a:lnTo>
                  <a:lnTo>
                    <a:pt x="753" y="970"/>
                  </a:lnTo>
                  <a:lnTo>
                    <a:pt x="759" y="976"/>
                  </a:lnTo>
                  <a:lnTo>
                    <a:pt x="762" y="981"/>
                  </a:lnTo>
                  <a:lnTo>
                    <a:pt x="766" y="985"/>
                  </a:lnTo>
                  <a:lnTo>
                    <a:pt x="768" y="985"/>
                  </a:lnTo>
                  <a:lnTo>
                    <a:pt x="770" y="983"/>
                  </a:lnTo>
                  <a:lnTo>
                    <a:pt x="777" y="972"/>
                  </a:lnTo>
                  <a:lnTo>
                    <a:pt x="777" y="972"/>
                  </a:lnTo>
                  <a:lnTo>
                    <a:pt x="781" y="966"/>
                  </a:lnTo>
                  <a:lnTo>
                    <a:pt x="783" y="965"/>
                  </a:lnTo>
                  <a:lnTo>
                    <a:pt x="787" y="966"/>
                  </a:lnTo>
                  <a:lnTo>
                    <a:pt x="790" y="968"/>
                  </a:lnTo>
                  <a:lnTo>
                    <a:pt x="796" y="978"/>
                  </a:lnTo>
                  <a:lnTo>
                    <a:pt x="804" y="989"/>
                  </a:lnTo>
                  <a:lnTo>
                    <a:pt x="811" y="998"/>
                  </a:lnTo>
                  <a:lnTo>
                    <a:pt x="815" y="1002"/>
                  </a:lnTo>
                  <a:lnTo>
                    <a:pt x="818" y="1004"/>
                  </a:lnTo>
                  <a:lnTo>
                    <a:pt x="822" y="1004"/>
                  </a:lnTo>
                  <a:lnTo>
                    <a:pt x="824" y="1000"/>
                  </a:lnTo>
                  <a:lnTo>
                    <a:pt x="828" y="994"/>
                  </a:lnTo>
                  <a:lnTo>
                    <a:pt x="832" y="987"/>
                  </a:lnTo>
                  <a:lnTo>
                    <a:pt x="832" y="987"/>
                  </a:lnTo>
                  <a:lnTo>
                    <a:pt x="835" y="978"/>
                  </a:lnTo>
                  <a:lnTo>
                    <a:pt x="839" y="970"/>
                  </a:lnTo>
                  <a:lnTo>
                    <a:pt x="843" y="966"/>
                  </a:lnTo>
                  <a:lnTo>
                    <a:pt x="847" y="965"/>
                  </a:lnTo>
                  <a:lnTo>
                    <a:pt x="850" y="963"/>
                  </a:lnTo>
                  <a:lnTo>
                    <a:pt x="854" y="965"/>
                  </a:lnTo>
                  <a:lnTo>
                    <a:pt x="861" y="968"/>
                  </a:lnTo>
                  <a:lnTo>
                    <a:pt x="876" y="981"/>
                  </a:lnTo>
                  <a:lnTo>
                    <a:pt x="884" y="985"/>
                  </a:lnTo>
                  <a:lnTo>
                    <a:pt x="886" y="985"/>
                  </a:lnTo>
                  <a:lnTo>
                    <a:pt x="888" y="983"/>
                  </a:lnTo>
                  <a:lnTo>
                    <a:pt x="888" y="983"/>
                  </a:lnTo>
                  <a:lnTo>
                    <a:pt x="897" y="976"/>
                  </a:lnTo>
                  <a:lnTo>
                    <a:pt x="906" y="972"/>
                  </a:lnTo>
                  <a:lnTo>
                    <a:pt x="923" y="965"/>
                  </a:lnTo>
                  <a:lnTo>
                    <a:pt x="929" y="963"/>
                  </a:lnTo>
                  <a:lnTo>
                    <a:pt x="934" y="959"/>
                  </a:lnTo>
                  <a:lnTo>
                    <a:pt x="938" y="953"/>
                  </a:lnTo>
                  <a:lnTo>
                    <a:pt x="940" y="944"/>
                  </a:lnTo>
                  <a:lnTo>
                    <a:pt x="940" y="944"/>
                  </a:lnTo>
                  <a:lnTo>
                    <a:pt x="944" y="935"/>
                  </a:lnTo>
                  <a:lnTo>
                    <a:pt x="947" y="927"/>
                  </a:lnTo>
                  <a:lnTo>
                    <a:pt x="955" y="922"/>
                  </a:lnTo>
                  <a:lnTo>
                    <a:pt x="962" y="918"/>
                  </a:lnTo>
                  <a:lnTo>
                    <a:pt x="981" y="909"/>
                  </a:lnTo>
                  <a:lnTo>
                    <a:pt x="989" y="905"/>
                  </a:lnTo>
                  <a:lnTo>
                    <a:pt x="996" y="899"/>
                  </a:lnTo>
                  <a:lnTo>
                    <a:pt x="996" y="899"/>
                  </a:lnTo>
                  <a:lnTo>
                    <a:pt x="1000" y="897"/>
                  </a:lnTo>
                  <a:lnTo>
                    <a:pt x="1003" y="897"/>
                  </a:lnTo>
                  <a:lnTo>
                    <a:pt x="1009" y="899"/>
                  </a:lnTo>
                  <a:lnTo>
                    <a:pt x="1013" y="901"/>
                  </a:lnTo>
                  <a:lnTo>
                    <a:pt x="1024" y="910"/>
                  </a:lnTo>
                  <a:lnTo>
                    <a:pt x="1033" y="922"/>
                  </a:lnTo>
                  <a:lnTo>
                    <a:pt x="1033" y="922"/>
                  </a:lnTo>
                  <a:lnTo>
                    <a:pt x="1056" y="901"/>
                  </a:lnTo>
                  <a:lnTo>
                    <a:pt x="1067" y="890"/>
                  </a:lnTo>
                  <a:lnTo>
                    <a:pt x="1075" y="879"/>
                  </a:lnTo>
                  <a:lnTo>
                    <a:pt x="1075" y="879"/>
                  </a:lnTo>
                  <a:lnTo>
                    <a:pt x="1080" y="879"/>
                  </a:lnTo>
                  <a:lnTo>
                    <a:pt x="1084" y="881"/>
                  </a:lnTo>
                  <a:lnTo>
                    <a:pt x="1091" y="884"/>
                  </a:lnTo>
                  <a:lnTo>
                    <a:pt x="1097" y="886"/>
                  </a:lnTo>
                  <a:lnTo>
                    <a:pt x="1101" y="886"/>
                  </a:lnTo>
                  <a:lnTo>
                    <a:pt x="1104" y="884"/>
                  </a:lnTo>
                  <a:lnTo>
                    <a:pt x="1104" y="884"/>
                  </a:lnTo>
                  <a:lnTo>
                    <a:pt x="1110" y="875"/>
                  </a:lnTo>
                  <a:lnTo>
                    <a:pt x="1116" y="867"/>
                  </a:lnTo>
                  <a:lnTo>
                    <a:pt x="1119" y="858"/>
                  </a:lnTo>
                  <a:lnTo>
                    <a:pt x="1121" y="849"/>
                  </a:lnTo>
                  <a:lnTo>
                    <a:pt x="1123" y="832"/>
                  </a:lnTo>
                  <a:lnTo>
                    <a:pt x="1121" y="815"/>
                  </a:lnTo>
                  <a:lnTo>
                    <a:pt x="1116" y="802"/>
                  </a:lnTo>
                  <a:lnTo>
                    <a:pt x="1108" y="791"/>
                  </a:lnTo>
                  <a:lnTo>
                    <a:pt x="1104" y="789"/>
                  </a:lnTo>
                  <a:lnTo>
                    <a:pt x="1101" y="787"/>
                  </a:lnTo>
                  <a:lnTo>
                    <a:pt x="1097" y="787"/>
                  </a:lnTo>
                  <a:lnTo>
                    <a:pt x="1095" y="787"/>
                  </a:lnTo>
                  <a:lnTo>
                    <a:pt x="1095" y="787"/>
                  </a:lnTo>
                  <a:lnTo>
                    <a:pt x="1082" y="795"/>
                  </a:lnTo>
                  <a:lnTo>
                    <a:pt x="1073" y="798"/>
                  </a:lnTo>
                  <a:lnTo>
                    <a:pt x="1063" y="798"/>
                  </a:lnTo>
                  <a:lnTo>
                    <a:pt x="1058" y="798"/>
                  </a:lnTo>
                  <a:lnTo>
                    <a:pt x="1048" y="795"/>
                  </a:lnTo>
                  <a:lnTo>
                    <a:pt x="1045" y="795"/>
                  </a:lnTo>
                  <a:lnTo>
                    <a:pt x="1041" y="795"/>
                  </a:lnTo>
                  <a:lnTo>
                    <a:pt x="1041" y="795"/>
                  </a:lnTo>
                  <a:lnTo>
                    <a:pt x="1033" y="798"/>
                  </a:lnTo>
                  <a:lnTo>
                    <a:pt x="1028" y="798"/>
                  </a:lnTo>
                  <a:lnTo>
                    <a:pt x="1020" y="795"/>
                  </a:lnTo>
                  <a:lnTo>
                    <a:pt x="1013" y="793"/>
                  </a:lnTo>
                  <a:lnTo>
                    <a:pt x="1013" y="793"/>
                  </a:lnTo>
                  <a:lnTo>
                    <a:pt x="1005" y="791"/>
                  </a:lnTo>
                  <a:lnTo>
                    <a:pt x="1000" y="785"/>
                  </a:lnTo>
                  <a:lnTo>
                    <a:pt x="998" y="780"/>
                  </a:lnTo>
                  <a:lnTo>
                    <a:pt x="998" y="774"/>
                  </a:lnTo>
                  <a:lnTo>
                    <a:pt x="998" y="759"/>
                  </a:lnTo>
                  <a:lnTo>
                    <a:pt x="996" y="753"/>
                  </a:lnTo>
                  <a:lnTo>
                    <a:pt x="992" y="750"/>
                  </a:lnTo>
                  <a:lnTo>
                    <a:pt x="992" y="750"/>
                  </a:lnTo>
                  <a:lnTo>
                    <a:pt x="987" y="746"/>
                  </a:lnTo>
                  <a:lnTo>
                    <a:pt x="981" y="742"/>
                  </a:lnTo>
                  <a:lnTo>
                    <a:pt x="970" y="740"/>
                  </a:lnTo>
                  <a:lnTo>
                    <a:pt x="957" y="740"/>
                  </a:lnTo>
                  <a:lnTo>
                    <a:pt x="947" y="742"/>
                  </a:lnTo>
                  <a:lnTo>
                    <a:pt x="931" y="746"/>
                  </a:lnTo>
                  <a:lnTo>
                    <a:pt x="925" y="746"/>
                  </a:lnTo>
                  <a:lnTo>
                    <a:pt x="923" y="744"/>
                  </a:lnTo>
                  <a:lnTo>
                    <a:pt x="921" y="742"/>
                  </a:lnTo>
                  <a:lnTo>
                    <a:pt x="921" y="742"/>
                  </a:lnTo>
                  <a:lnTo>
                    <a:pt x="918" y="725"/>
                  </a:lnTo>
                  <a:lnTo>
                    <a:pt x="914" y="710"/>
                  </a:lnTo>
                  <a:lnTo>
                    <a:pt x="914" y="697"/>
                  </a:lnTo>
                  <a:lnTo>
                    <a:pt x="918" y="684"/>
                  </a:lnTo>
                  <a:lnTo>
                    <a:pt x="918" y="684"/>
                  </a:lnTo>
                  <a:lnTo>
                    <a:pt x="923" y="675"/>
                  </a:lnTo>
                  <a:lnTo>
                    <a:pt x="932" y="666"/>
                  </a:lnTo>
                  <a:lnTo>
                    <a:pt x="932" y="666"/>
                  </a:lnTo>
                  <a:lnTo>
                    <a:pt x="936" y="658"/>
                  </a:lnTo>
                  <a:lnTo>
                    <a:pt x="940" y="651"/>
                  </a:lnTo>
                  <a:lnTo>
                    <a:pt x="942" y="641"/>
                  </a:lnTo>
                  <a:lnTo>
                    <a:pt x="946" y="636"/>
                  </a:lnTo>
                  <a:lnTo>
                    <a:pt x="946" y="636"/>
                  </a:lnTo>
                  <a:lnTo>
                    <a:pt x="953" y="630"/>
                  </a:lnTo>
                  <a:lnTo>
                    <a:pt x="955" y="626"/>
                  </a:lnTo>
                  <a:lnTo>
                    <a:pt x="953" y="623"/>
                  </a:lnTo>
                  <a:lnTo>
                    <a:pt x="949" y="619"/>
                  </a:lnTo>
                  <a:lnTo>
                    <a:pt x="940" y="613"/>
                  </a:lnTo>
                  <a:lnTo>
                    <a:pt x="934" y="610"/>
                  </a:lnTo>
                  <a:lnTo>
                    <a:pt x="929" y="602"/>
                  </a:lnTo>
                  <a:lnTo>
                    <a:pt x="929" y="602"/>
                  </a:lnTo>
                  <a:lnTo>
                    <a:pt x="923" y="593"/>
                  </a:lnTo>
                  <a:lnTo>
                    <a:pt x="918" y="585"/>
                  </a:lnTo>
                  <a:lnTo>
                    <a:pt x="910" y="580"/>
                  </a:lnTo>
                  <a:lnTo>
                    <a:pt x="903" y="572"/>
                  </a:lnTo>
                  <a:lnTo>
                    <a:pt x="903" y="572"/>
                  </a:lnTo>
                  <a:lnTo>
                    <a:pt x="899" y="568"/>
                  </a:lnTo>
                  <a:lnTo>
                    <a:pt x="899" y="563"/>
                  </a:lnTo>
                  <a:lnTo>
                    <a:pt x="901" y="550"/>
                  </a:lnTo>
                  <a:lnTo>
                    <a:pt x="904" y="535"/>
                  </a:lnTo>
                  <a:lnTo>
                    <a:pt x="912" y="518"/>
                  </a:lnTo>
                  <a:lnTo>
                    <a:pt x="929" y="490"/>
                  </a:lnTo>
                  <a:lnTo>
                    <a:pt x="936" y="479"/>
                  </a:lnTo>
                  <a:lnTo>
                    <a:pt x="942" y="473"/>
                  </a:lnTo>
                  <a:lnTo>
                    <a:pt x="942" y="473"/>
                  </a:lnTo>
                  <a:lnTo>
                    <a:pt x="946" y="469"/>
                  </a:lnTo>
                  <a:lnTo>
                    <a:pt x="947" y="466"/>
                  </a:lnTo>
                  <a:lnTo>
                    <a:pt x="949" y="456"/>
                  </a:lnTo>
                  <a:lnTo>
                    <a:pt x="946" y="445"/>
                  </a:lnTo>
                  <a:lnTo>
                    <a:pt x="942" y="436"/>
                  </a:lnTo>
                  <a:lnTo>
                    <a:pt x="934" y="426"/>
                  </a:lnTo>
                  <a:lnTo>
                    <a:pt x="927" y="421"/>
                  </a:lnTo>
                  <a:lnTo>
                    <a:pt x="918" y="419"/>
                  </a:lnTo>
                  <a:lnTo>
                    <a:pt x="914" y="419"/>
                  </a:lnTo>
                  <a:lnTo>
                    <a:pt x="910" y="421"/>
                  </a:lnTo>
                  <a:lnTo>
                    <a:pt x="910" y="421"/>
                  </a:lnTo>
                  <a:lnTo>
                    <a:pt x="903" y="423"/>
                  </a:lnTo>
                  <a:lnTo>
                    <a:pt x="897" y="423"/>
                  </a:lnTo>
                  <a:lnTo>
                    <a:pt x="882" y="421"/>
                  </a:lnTo>
                  <a:lnTo>
                    <a:pt x="882" y="421"/>
                  </a:lnTo>
                  <a:lnTo>
                    <a:pt x="878" y="428"/>
                  </a:lnTo>
                  <a:lnTo>
                    <a:pt x="871" y="434"/>
                  </a:lnTo>
                  <a:lnTo>
                    <a:pt x="871" y="434"/>
                  </a:lnTo>
                  <a:lnTo>
                    <a:pt x="860" y="438"/>
                  </a:lnTo>
                  <a:lnTo>
                    <a:pt x="852" y="438"/>
                  </a:lnTo>
                  <a:lnTo>
                    <a:pt x="847" y="434"/>
                  </a:lnTo>
                  <a:lnTo>
                    <a:pt x="841" y="428"/>
                  </a:lnTo>
                  <a:lnTo>
                    <a:pt x="839" y="423"/>
                  </a:lnTo>
                  <a:lnTo>
                    <a:pt x="837" y="415"/>
                  </a:lnTo>
                  <a:lnTo>
                    <a:pt x="837" y="408"/>
                  </a:lnTo>
                  <a:lnTo>
                    <a:pt x="837" y="408"/>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1" name="Freeform 61">
              <a:extLst>
                <a:ext uri="{FF2B5EF4-FFF2-40B4-BE49-F238E27FC236}">
                  <a16:creationId xmlns:a16="http://schemas.microsoft.com/office/drawing/2014/main" id="{9FC22389-FD38-49B2-BB11-1F2084B3EF03}"/>
                </a:ext>
              </a:extLst>
            </p:cNvPr>
            <p:cNvSpPr>
              <a:spLocks/>
            </p:cNvSpPr>
            <p:nvPr/>
          </p:nvSpPr>
          <p:spPr bwMode="auto">
            <a:xfrm>
              <a:off x="4214117" y="3807132"/>
              <a:ext cx="112633" cy="89016"/>
            </a:xfrm>
            <a:custGeom>
              <a:avLst/>
              <a:gdLst/>
              <a:ahLst/>
              <a:cxnLst>
                <a:cxn ang="0">
                  <a:pos x="123" y="76"/>
                </a:cxn>
                <a:cxn ang="0">
                  <a:pos x="123" y="76"/>
                </a:cxn>
                <a:cxn ang="0">
                  <a:pos x="125" y="69"/>
                </a:cxn>
                <a:cxn ang="0">
                  <a:pos x="125" y="63"/>
                </a:cxn>
                <a:cxn ang="0">
                  <a:pos x="125" y="60"/>
                </a:cxn>
                <a:cxn ang="0">
                  <a:pos x="123" y="58"/>
                </a:cxn>
                <a:cxn ang="0">
                  <a:pos x="116" y="54"/>
                </a:cxn>
                <a:cxn ang="0">
                  <a:pos x="116" y="54"/>
                </a:cxn>
                <a:cxn ang="0">
                  <a:pos x="107" y="48"/>
                </a:cxn>
                <a:cxn ang="0">
                  <a:pos x="101" y="41"/>
                </a:cxn>
                <a:cxn ang="0">
                  <a:pos x="94" y="24"/>
                </a:cxn>
                <a:cxn ang="0">
                  <a:pos x="88" y="17"/>
                </a:cxn>
                <a:cxn ang="0">
                  <a:pos x="79" y="9"/>
                </a:cxn>
                <a:cxn ang="0">
                  <a:pos x="62" y="4"/>
                </a:cxn>
                <a:cxn ang="0">
                  <a:pos x="39" y="0"/>
                </a:cxn>
                <a:cxn ang="0">
                  <a:pos x="28" y="0"/>
                </a:cxn>
                <a:cxn ang="0">
                  <a:pos x="28" y="0"/>
                </a:cxn>
                <a:cxn ang="0">
                  <a:pos x="19" y="7"/>
                </a:cxn>
                <a:cxn ang="0">
                  <a:pos x="17" y="9"/>
                </a:cxn>
                <a:cxn ang="0">
                  <a:pos x="17" y="11"/>
                </a:cxn>
                <a:cxn ang="0">
                  <a:pos x="21" y="17"/>
                </a:cxn>
                <a:cxn ang="0">
                  <a:pos x="24" y="20"/>
                </a:cxn>
                <a:cxn ang="0">
                  <a:pos x="28" y="24"/>
                </a:cxn>
                <a:cxn ang="0">
                  <a:pos x="28" y="26"/>
                </a:cxn>
                <a:cxn ang="0">
                  <a:pos x="28" y="26"/>
                </a:cxn>
                <a:cxn ang="0">
                  <a:pos x="23" y="30"/>
                </a:cxn>
                <a:cxn ang="0">
                  <a:pos x="9" y="32"/>
                </a:cxn>
                <a:cxn ang="0">
                  <a:pos x="9" y="32"/>
                </a:cxn>
                <a:cxn ang="0">
                  <a:pos x="4" y="32"/>
                </a:cxn>
                <a:cxn ang="0">
                  <a:pos x="2" y="33"/>
                </a:cxn>
                <a:cxn ang="0">
                  <a:pos x="0" y="37"/>
                </a:cxn>
                <a:cxn ang="0">
                  <a:pos x="0" y="41"/>
                </a:cxn>
                <a:cxn ang="0">
                  <a:pos x="4" y="48"/>
                </a:cxn>
                <a:cxn ang="0">
                  <a:pos x="11" y="58"/>
                </a:cxn>
                <a:cxn ang="0">
                  <a:pos x="24" y="67"/>
                </a:cxn>
                <a:cxn ang="0">
                  <a:pos x="38" y="75"/>
                </a:cxn>
                <a:cxn ang="0">
                  <a:pos x="54" y="80"/>
                </a:cxn>
                <a:cxn ang="0">
                  <a:pos x="73" y="84"/>
                </a:cxn>
                <a:cxn ang="0">
                  <a:pos x="73" y="84"/>
                </a:cxn>
                <a:cxn ang="0">
                  <a:pos x="79" y="86"/>
                </a:cxn>
                <a:cxn ang="0">
                  <a:pos x="86" y="90"/>
                </a:cxn>
                <a:cxn ang="0">
                  <a:pos x="105" y="99"/>
                </a:cxn>
                <a:cxn ang="0">
                  <a:pos x="112" y="99"/>
                </a:cxn>
                <a:cxn ang="0">
                  <a:pos x="116" y="99"/>
                </a:cxn>
                <a:cxn ang="0">
                  <a:pos x="120" y="97"/>
                </a:cxn>
                <a:cxn ang="0">
                  <a:pos x="122" y="93"/>
                </a:cxn>
                <a:cxn ang="0">
                  <a:pos x="123" y="90"/>
                </a:cxn>
                <a:cxn ang="0">
                  <a:pos x="123" y="76"/>
                </a:cxn>
                <a:cxn ang="0">
                  <a:pos x="123" y="76"/>
                </a:cxn>
              </a:cxnLst>
              <a:rect l="0" t="0" r="r" b="b"/>
              <a:pathLst>
                <a:path w="125" h="99">
                  <a:moveTo>
                    <a:pt x="123" y="76"/>
                  </a:moveTo>
                  <a:lnTo>
                    <a:pt x="123" y="76"/>
                  </a:lnTo>
                  <a:lnTo>
                    <a:pt x="125" y="69"/>
                  </a:lnTo>
                  <a:lnTo>
                    <a:pt x="125" y="63"/>
                  </a:lnTo>
                  <a:lnTo>
                    <a:pt x="125" y="60"/>
                  </a:lnTo>
                  <a:lnTo>
                    <a:pt x="123" y="58"/>
                  </a:lnTo>
                  <a:lnTo>
                    <a:pt x="116" y="54"/>
                  </a:lnTo>
                  <a:lnTo>
                    <a:pt x="116" y="54"/>
                  </a:lnTo>
                  <a:lnTo>
                    <a:pt x="107" y="48"/>
                  </a:lnTo>
                  <a:lnTo>
                    <a:pt x="101" y="41"/>
                  </a:lnTo>
                  <a:lnTo>
                    <a:pt x="94" y="24"/>
                  </a:lnTo>
                  <a:lnTo>
                    <a:pt x="88" y="17"/>
                  </a:lnTo>
                  <a:lnTo>
                    <a:pt x="79" y="9"/>
                  </a:lnTo>
                  <a:lnTo>
                    <a:pt x="62" y="4"/>
                  </a:lnTo>
                  <a:lnTo>
                    <a:pt x="39" y="0"/>
                  </a:lnTo>
                  <a:lnTo>
                    <a:pt x="28" y="0"/>
                  </a:lnTo>
                  <a:lnTo>
                    <a:pt x="28" y="0"/>
                  </a:lnTo>
                  <a:lnTo>
                    <a:pt x="19" y="7"/>
                  </a:lnTo>
                  <a:lnTo>
                    <a:pt x="17" y="9"/>
                  </a:lnTo>
                  <a:lnTo>
                    <a:pt x="17" y="11"/>
                  </a:lnTo>
                  <a:lnTo>
                    <a:pt x="21" y="17"/>
                  </a:lnTo>
                  <a:lnTo>
                    <a:pt x="24" y="20"/>
                  </a:lnTo>
                  <a:lnTo>
                    <a:pt x="28" y="24"/>
                  </a:lnTo>
                  <a:lnTo>
                    <a:pt x="28" y="26"/>
                  </a:lnTo>
                  <a:lnTo>
                    <a:pt x="28" y="26"/>
                  </a:lnTo>
                  <a:lnTo>
                    <a:pt x="23" y="30"/>
                  </a:lnTo>
                  <a:lnTo>
                    <a:pt x="9" y="32"/>
                  </a:lnTo>
                  <a:lnTo>
                    <a:pt x="9" y="32"/>
                  </a:lnTo>
                  <a:lnTo>
                    <a:pt x="4" y="32"/>
                  </a:lnTo>
                  <a:lnTo>
                    <a:pt x="2" y="33"/>
                  </a:lnTo>
                  <a:lnTo>
                    <a:pt x="0" y="37"/>
                  </a:lnTo>
                  <a:lnTo>
                    <a:pt x="0" y="41"/>
                  </a:lnTo>
                  <a:lnTo>
                    <a:pt x="4" y="48"/>
                  </a:lnTo>
                  <a:lnTo>
                    <a:pt x="11" y="58"/>
                  </a:lnTo>
                  <a:lnTo>
                    <a:pt x="24" y="67"/>
                  </a:lnTo>
                  <a:lnTo>
                    <a:pt x="38" y="75"/>
                  </a:lnTo>
                  <a:lnTo>
                    <a:pt x="54" y="80"/>
                  </a:lnTo>
                  <a:lnTo>
                    <a:pt x="73" y="84"/>
                  </a:lnTo>
                  <a:lnTo>
                    <a:pt x="73" y="84"/>
                  </a:lnTo>
                  <a:lnTo>
                    <a:pt x="79" y="86"/>
                  </a:lnTo>
                  <a:lnTo>
                    <a:pt x="86" y="90"/>
                  </a:lnTo>
                  <a:lnTo>
                    <a:pt x="105" y="99"/>
                  </a:lnTo>
                  <a:lnTo>
                    <a:pt x="112" y="99"/>
                  </a:lnTo>
                  <a:lnTo>
                    <a:pt x="116" y="99"/>
                  </a:lnTo>
                  <a:lnTo>
                    <a:pt x="120" y="97"/>
                  </a:lnTo>
                  <a:lnTo>
                    <a:pt x="122" y="93"/>
                  </a:lnTo>
                  <a:lnTo>
                    <a:pt x="123" y="90"/>
                  </a:lnTo>
                  <a:lnTo>
                    <a:pt x="123" y="76"/>
                  </a:lnTo>
                  <a:lnTo>
                    <a:pt x="123" y="76"/>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2" name="Freeform 62">
              <a:extLst>
                <a:ext uri="{FF2B5EF4-FFF2-40B4-BE49-F238E27FC236}">
                  <a16:creationId xmlns:a16="http://schemas.microsoft.com/office/drawing/2014/main" id="{BF10F175-CCBD-434F-818E-90D66A1B2679}"/>
                </a:ext>
              </a:extLst>
            </p:cNvPr>
            <p:cNvSpPr>
              <a:spLocks noEditPoints="1"/>
            </p:cNvSpPr>
            <p:nvPr/>
          </p:nvSpPr>
          <p:spPr bwMode="auto">
            <a:xfrm>
              <a:off x="3116853" y="3469233"/>
              <a:ext cx="1438796" cy="1011880"/>
            </a:xfrm>
            <a:custGeom>
              <a:avLst/>
              <a:gdLst/>
              <a:ahLst/>
              <a:cxnLst>
                <a:cxn ang="0">
                  <a:pos x="1052" y="914"/>
                </a:cxn>
                <a:cxn ang="0">
                  <a:pos x="1142" y="998"/>
                </a:cxn>
                <a:cxn ang="0">
                  <a:pos x="1198" y="983"/>
                </a:cxn>
                <a:cxn ang="0">
                  <a:pos x="1211" y="1024"/>
                </a:cxn>
                <a:cxn ang="0">
                  <a:pos x="1239" y="1045"/>
                </a:cxn>
                <a:cxn ang="0">
                  <a:pos x="1273" y="1031"/>
                </a:cxn>
                <a:cxn ang="0">
                  <a:pos x="1330" y="981"/>
                </a:cxn>
                <a:cxn ang="0">
                  <a:pos x="1398" y="962"/>
                </a:cxn>
                <a:cxn ang="0">
                  <a:pos x="1353" y="884"/>
                </a:cxn>
                <a:cxn ang="0">
                  <a:pos x="1345" y="792"/>
                </a:cxn>
                <a:cxn ang="0">
                  <a:pos x="1471" y="794"/>
                </a:cxn>
                <a:cxn ang="0">
                  <a:pos x="1456" y="714"/>
                </a:cxn>
                <a:cxn ang="0">
                  <a:pos x="1506" y="648"/>
                </a:cxn>
                <a:cxn ang="0">
                  <a:pos x="1558" y="596"/>
                </a:cxn>
                <a:cxn ang="0">
                  <a:pos x="1575" y="529"/>
                </a:cxn>
                <a:cxn ang="0">
                  <a:pos x="1547" y="469"/>
                </a:cxn>
                <a:cxn ang="0">
                  <a:pos x="1542" y="409"/>
                </a:cxn>
                <a:cxn ang="0">
                  <a:pos x="1486" y="321"/>
                </a:cxn>
                <a:cxn ang="0">
                  <a:pos x="1435" y="331"/>
                </a:cxn>
                <a:cxn ang="0">
                  <a:pos x="1329" y="237"/>
                </a:cxn>
                <a:cxn ang="0">
                  <a:pos x="1284" y="215"/>
                </a:cxn>
                <a:cxn ang="0">
                  <a:pos x="1155" y="103"/>
                </a:cxn>
                <a:cxn ang="0">
                  <a:pos x="1084" y="114"/>
                </a:cxn>
                <a:cxn ang="0">
                  <a:pos x="949" y="64"/>
                </a:cxn>
                <a:cxn ang="0">
                  <a:pos x="912" y="163"/>
                </a:cxn>
                <a:cxn ang="0">
                  <a:pos x="867" y="198"/>
                </a:cxn>
                <a:cxn ang="0">
                  <a:pos x="779" y="168"/>
                </a:cxn>
                <a:cxn ang="0">
                  <a:pos x="661" y="142"/>
                </a:cxn>
                <a:cxn ang="0">
                  <a:pos x="585" y="88"/>
                </a:cxn>
                <a:cxn ang="0">
                  <a:pos x="529" y="62"/>
                </a:cxn>
                <a:cxn ang="0">
                  <a:pos x="458" y="6"/>
                </a:cxn>
                <a:cxn ang="0">
                  <a:pos x="179" y="39"/>
                </a:cxn>
                <a:cxn ang="0">
                  <a:pos x="192" y="112"/>
                </a:cxn>
                <a:cxn ang="0">
                  <a:pos x="258" y="220"/>
                </a:cxn>
                <a:cxn ang="0">
                  <a:pos x="192" y="277"/>
                </a:cxn>
                <a:cxn ang="0">
                  <a:pos x="226" y="333"/>
                </a:cxn>
                <a:cxn ang="0">
                  <a:pos x="170" y="363"/>
                </a:cxn>
                <a:cxn ang="0">
                  <a:pos x="80" y="349"/>
                </a:cxn>
                <a:cxn ang="0">
                  <a:pos x="67" y="387"/>
                </a:cxn>
                <a:cxn ang="0">
                  <a:pos x="50" y="434"/>
                </a:cxn>
                <a:cxn ang="0">
                  <a:pos x="17" y="503"/>
                </a:cxn>
                <a:cxn ang="0">
                  <a:pos x="22" y="547"/>
                </a:cxn>
                <a:cxn ang="0">
                  <a:pos x="4" y="626"/>
                </a:cxn>
                <a:cxn ang="0">
                  <a:pos x="95" y="777"/>
                </a:cxn>
                <a:cxn ang="0">
                  <a:pos x="172" y="770"/>
                </a:cxn>
                <a:cxn ang="0">
                  <a:pos x="340" y="888"/>
                </a:cxn>
                <a:cxn ang="0">
                  <a:pos x="428" y="929"/>
                </a:cxn>
                <a:cxn ang="0">
                  <a:pos x="540" y="938"/>
                </a:cxn>
                <a:cxn ang="0">
                  <a:pos x="613" y="1002"/>
                </a:cxn>
                <a:cxn ang="0">
                  <a:pos x="639" y="1076"/>
                </a:cxn>
                <a:cxn ang="0">
                  <a:pos x="708" y="1112"/>
                </a:cxn>
                <a:cxn ang="0">
                  <a:pos x="719" y="1073"/>
                </a:cxn>
                <a:cxn ang="0">
                  <a:pos x="785" y="1080"/>
                </a:cxn>
                <a:cxn ang="0">
                  <a:pos x="860" y="1031"/>
                </a:cxn>
                <a:cxn ang="0">
                  <a:pos x="912" y="1002"/>
                </a:cxn>
                <a:cxn ang="0">
                  <a:pos x="897" y="927"/>
                </a:cxn>
                <a:cxn ang="0">
                  <a:pos x="912" y="861"/>
                </a:cxn>
                <a:cxn ang="0">
                  <a:pos x="940" y="803"/>
                </a:cxn>
                <a:cxn ang="0">
                  <a:pos x="1228" y="389"/>
                </a:cxn>
                <a:cxn ang="0">
                  <a:pos x="1314" y="420"/>
                </a:cxn>
                <a:cxn ang="0">
                  <a:pos x="1323" y="471"/>
                </a:cxn>
                <a:cxn ang="0">
                  <a:pos x="1207" y="413"/>
                </a:cxn>
              </a:cxnLst>
              <a:rect l="0" t="0" r="r" b="b"/>
              <a:pathLst>
                <a:path w="1585" h="1114">
                  <a:moveTo>
                    <a:pt x="981" y="813"/>
                  </a:moveTo>
                  <a:lnTo>
                    <a:pt x="981" y="813"/>
                  </a:lnTo>
                  <a:lnTo>
                    <a:pt x="996" y="815"/>
                  </a:lnTo>
                  <a:lnTo>
                    <a:pt x="1009" y="818"/>
                  </a:lnTo>
                  <a:lnTo>
                    <a:pt x="1020" y="824"/>
                  </a:lnTo>
                  <a:lnTo>
                    <a:pt x="1028" y="831"/>
                  </a:lnTo>
                  <a:lnTo>
                    <a:pt x="1033" y="841"/>
                  </a:lnTo>
                  <a:lnTo>
                    <a:pt x="1039" y="850"/>
                  </a:lnTo>
                  <a:lnTo>
                    <a:pt x="1043" y="860"/>
                  </a:lnTo>
                  <a:lnTo>
                    <a:pt x="1045" y="871"/>
                  </a:lnTo>
                  <a:lnTo>
                    <a:pt x="1048" y="893"/>
                  </a:lnTo>
                  <a:lnTo>
                    <a:pt x="1052" y="914"/>
                  </a:lnTo>
                  <a:lnTo>
                    <a:pt x="1056" y="923"/>
                  </a:lnTo>
                  <a:lnTo>
                    <a:pt x="1059" y="931"/>
                  </a:lnTo>
                  <a:lnTo>
                    <a:pt x="1065" y="938"/>
                  </a:lnTo>
                  <a:lnTo>
                    <a:pt x="1073" y="942"/>
                  </a:lnTo>
                  <a:lnTo>
                    <a:pt x="1073" y="942"/>
                  </a:lnTo>
                  <a:lnTo>
                    <a:pt x="1084" y="949"/>
                  </a:lnTo>
                  <a:lnTo>
                    <a:pt x="1093" y="959"/>
                  </a:lnTo>
                  <a:lnTo>
                    <a:pt x="1110" y="977"/>
                  </a:lnTo>
                  <a:lnTo>
                    <a:pt x="1110" y="977"/>
                  </a:lnTo>
                  <a:lnTo>
                    <a:pt x="1123" y="987"/>
                  </a:lnTo>
                  <a:lnTo>
                    <a:pt x="1132" y="994"/>
                  </a:lnTo>
                  <a:lnTo>
                    <a:pt x="1142" y="998"/>
                  </a:lnTo>
                  <a:lnTo>
                    <a:pt x="1147" y="1000"/>
                  </a:lnTo>
                  <a:lnTo>
                    <a:pt x="1153" y="1000"/>
                  </a:lnTo>
                  <a:lnTo>
                    <a:pt x="1159" y="998"/>
                  </a:lnTo>
                  <a:lnTo>
                    <a:pt x="1162" y="994"/>
                  </a:lnTo>
                  <a:lnTo>
                    <a:pt x="1164" y="990"/>
                  </a:lnTo>
                  <a:lnTo>
                    <a:pt x="1172" y="972"/>
                  </a:lnTo>
                  <a:lnTo>
                    <a:pt x="1173" y="970"/>
                  </a:lnTo>
                  <a:lnTo>
                    <a:pt x="1177" y="968"/>
                  </a:lnTo>
                  <a:lnTo>
                    <a:pt x="1181" y="970"/>
                  </a:lnTo>
                  <a:lnTo>
                    <a:pt x="1185" y="972"/>
                  </a:lnTo>
                  <a:lnTo>
                    <a:pt x="1185" y="972"/>
                  </a:lnTo>
                  <a:lnTo>
                    <a:pt x="1198" y="983"/>
                  </a:lnTo>
                  <a:lnTo>
                    <a:pt x="1205" y="990"/>
                  </a:lnTo>
                  <a:lnTo>
                    <a:pt x="1207" y="996"/>
                  </a:lnTo>
                  <a:lnTo>
                    <a:pt x="1207" y="1000"/>
                  </a:lnTo>
                  <a:lnTo>
                    <a:pt x="1202" y="1005"/>
                  </a:lnTo>
                  <a:lnTo>
                    <a:pt x="1200" y="1011"/>
                  </a:lnTo>
                  <a:lnTo>
                    <a:pt x="1198" y="1016"/>
                  </a:lnTo>
                  <a:lnTo>
                    <a:pt x="1198" y="1016"/>
                  </a:lnTo>
                  <a:lnTo>
                    <a:pt x="1198" y="1026"/>
                  </a:lnTo>
                  <a:lnTo>
                    <a:pt x="1198" y="1030"/>
                  </a:lnTo>
                  <a:lnTo>
                    <a:pt x="1200" y="1030"/>
                  </a:lnTo>
                  <a:lnTo>
                    <a:pt x="1205" y="1030"/>
                  </a:lnTo>
                  <a:lnTo>
                    <a:pt x="1211" y="1024"/>
                  </a:lnTo>
                  <a:lnTo>
                    <a:pt x="1224" y="1015"/>
                  </a:lnTo>
                  <a:lnTo>
                    <a:pt x="1230" y="1011"/>
                  </a:lnTo>
                  <a:lnTo>
                    <a:pt x="1233" y="1011"/>
                  </a:lnTo>
                  <a:lnTo>
                    <a:pt x="1233" y="1011"/>
                  </a:lnTo>
                  <a:lnTo>
                    <a:pt x="1245" y="1016"/>
                  </a:lnTo>
                  <a:lnTo>
                    <a:pt x="1250" y="1022"/>
                  </a:lnTo>
                  <a:lnTo>
                    <a:pt x="1252" y="1028"/>
                  </a:lnTo>
                  <a:lnTo>
                    <a:pt x="1250" y="1031"/>
                  </a:lnTo>
                  <a:lnTo>
                    <a:pt x="1248" y="1035"/>
                  </a:lnTo>
                  <a:lnTo>
                    <a:pt x="1245" y="1039"/>
                  </a:lnTo>
                  <a:lnTo>
                    <a:pt x="1239" y="1045"/>
                  </a:lnTo>
                  <a:lnTo>
                    <a:pt x="1239" y="1045"/>
                  </a:lnTo>
                  <a:lnTo>
                    <a:pt x="1237" y="1048"/>
                  </a:lnTo>
                  <a:lnTo>
                    <a:pt x="1239" y="1050"/>
                  </a:lnTo>
                  <a:lnTo>
                    <a:pt x="1241" y="1050"/>
                  </a:lnTo>
                  <a:lnTo>
                    <a:pt x="1245" y="1052"/>
                  </a:lnTo>
                  <a:lnTo>
                    <a:pt x="1254" y="1050"/>
                  </a:lnTo>
                  <a:lnTo>
                    <a:pt x="1261" y="1046"/>
                  </a:lnTo>
                  <a:lnTo>
                    <a:pt x="1261" y="1046"/>
                  </a:lnTo>
                  <a:lnTo>
                    <a:pt x="1267" y="1041"/>
                  </a:lnTo>
                  <a:lnTo>
                    <a:pt x="1271" y="1037"/>
                  </a:lnTo>
                  <a:lnTo>
                    <a:pt x="1271" y="1033"/>
                  </a:lnTo>
                  <a:lnTo>
                    <a:pt x="1273" y="1031"/>
                  </a:lnTo>
                  <a:lnTo>
                    <a:pt x="1273" y="1031"/>
                  </a:lnTo>
                  <a:lnTo>
                    <a:pt x="1282" y="1033"/>
                  </a:lnTo>
                  <a:lnTo>
                    <a:pt x="1282" y="1033"/>
                  </a:lnTo>
                  <a:lnTo>
                    <a:pt x="1301" y="1033"/>
                  </a:lnTo>
                  <a:lnTo>
                    <a:pt x="1310" y="1031"/>
                  </a:lnTo>
                  <a:lnTo>
                    <a:pt x="1319" y="1030"/>
                  </a:lnTo>
                  <a:lnTo>
                    <a:pt x="1329" y="1024"/>
                  </a:lnTo>
                  <a:lnTo>
                    <a:pt x="1334" y="1018"/>
                  </a:lnTo>
                  <a:lnTo>
                    <a:pt x="1336" y="1011"/>
                  </a:lnTo>
                  <a:lnTo>
                    <a:pt x="1334" y="1003"/>
                  </a:lnTo>
                  <a:lnTo>
                    <a:pt x="1334" y="1003"/>
                  </a:lnTo>
                  <a:lnTo>
                    <a:pt x="1330" y="992"/>
                  </a:lnTo>
                  <a:lnTo>
                    <a:pt x="1330" y="981"/>
                  </a:lnTo>
                  <a:lnTo>
                    <a:pt x="1332" y="972"/>
                  </a:lnTo>
                  <a:lnTo>
                    <a:pt x="1338" y="964"/>
                  </a:lnTo>
                  <a:lnTo>
                    <a:pt x="1345" y="959"/>
                  </a:lnTo>
                  <a:lnTo>
                    <a:pt x="1353" y="955"/>
                  </a:lnTo>
                  <a:lnTo>
                    <a:pt x="1364" y="957"/>
                  </a:lnTo>
                  <a:lnTo>
                    <a:pt x="1373" y="960"/>
                  </a:lnTo>
                  <a:lnTo>
                    <a:pt x="1373" y="960"/>
                  </a:lnTo>
                  <a:lnTo>
                    <a:pt x="1387" y="966"/>
                  </a:lnTo>
                  <a:lnTo>
                    <a:pt x="1390" y="968"/>
                  </a:lnTo>
                  <a:lnTo>
                    <a:pt x="1394" y="968"/>
                  </a:lnTo>
                  <a:lnTo>
                    <a:pt x="1396" y="966"/>
                  </a:lnTo>
                  <a:lnTo>
                    <a:pt x="1398" y="962"/>
                  </a:lnTo>
                  <a:lnTo>
                    <a:pt x="1400" y="955"/>
                  </a:lnTo>
                  <a:lnTo>
                    <a:pt x="1400" y="932"/>
                  </a:lnTo>
                  <a:lnTo>
                    <a:pt x="1400" y="923"/>
                  </a:lnTo>
                  <a:lnTo>
                    <a:pt x="1401" y="914"/>
                  </a:lnTo>
                  <a:lnTo>
                    <a:pt x="1401" y="914"/>
                  </a:lnTo>
                  <a:lnTo>
                    <a:pt x="1392" y="899"/>
                  </a:lnTo>
                  <a:lnTo>
                    <a:pt x="1388" y="895"/>
                  </a:lnTo>
                  <a:lnTo>
                    <a:pt x="1385" y="893"/>
                  </a:lnTo>
                  <a:lnTo>
                    <a:pt x="1373" y="891"/>
                  </a:lnTo>
                  <a:lnTo>
                    <a:pt x="1357" y="888"/>
                  </a:lnTo>
                  <a:lnTo>
                    <a:pt x="1357" y="888"/>
                  </a:lnTo>
                  <a:lnTo>
                    <a:pt x="1353" y="884"/>
                  </a:lnTo>
                  <a:lnTo>
                    <a:pt x="1345" y="876"/>
                  </a:lnTo>
                  <a:lnTo>
                    <a:pt x="1325" y="848"/>
                  </a:lnTo>
                  <a:lnTo>
                    <a:pt x="1308" y="822"/>
                  </a:lnTo>
                  <a:lnTo>
                    <a:pt x="1302" y="811"/>
                  </a:lnTo>
                  <a:lnTo>
                    <a:pt x="1301" y="807"/>
                  </a:lnTo>
                  <a:lnTo>
                    <a:pt x="1301" y="807"/>
                  </a:lnTo>
                  <a:lnTo>
                    <a:pt x="1306" y="796"/>
                  </a:lnTo>
                  <a:lnTo>
                    <a:pt x="1312" y="790"/>
                  </a:lnTo>
                  <a:lnTo>
                    <a:pt x="1319" y="787"/>
                  </a:lnTo>
                  <a:lnTo>
                    <a:pt x="1327" y="787"/>
                  </a:lnTo>
                  <a:lnTo>
                    <a:pt x="1336" y="789"/>
                  </a:lnTo>
                  <a:lnTo>
                    <a:pt x="1345" y="792"/>
                  </a:lnTo>
                  <a:lnTo>
                    <a:pt x="1366" y="805"/>
                  </a:lnTo>
                  <a:lnTo>
                    <a:pt x="1388" y="818"/>
                  </a:lnTo>
                  <a:lnTo>
                    <a:pt x="1407" y="828"/>
                  </a:lnTo>
                  <a:lnTo>
                    <a:pt x="1416" y="830"/>
                  </a:lnTo>
                  <a:lnTo>
                    <a:pt x="1426" y="831"/>
                  </a:lnTo>
                  <a:lnTo>
                    <a:pt x="1433" y="830"/>
                  </a:lnTo>
                  <a:lnTo>
                    <a:pt x="1441" y="824"/>
                  </a:lnTo>
                  <a:lnTo>
                    <a:pt x="1441" y="824"/>
                  </a:lnTo>
                  <a:lnTo>
                    <a:pt x="1454" y="809"/>
                  </a:lnTo>
                  <a:lnTo>
                    <a:pt x="1463" y="802"/>
                  </a:lnTo>
                  <a:lnTo>
                    <a:pt x="1469" y="796"/>
                  </a:lnTo>
                  <a:lnTo>
                    <a:pt x="1471" y="794"/>
                  </a:lnTo>
                  <a:lnTo>
                    <a:pt x="1469" y="790"/>
                  </a:lnTo>
                  <a:lnTo>
                    <a:pt x="1463" y="785"/>
                  </a:lnTo>
                  <a:lnTo>
                    <a:pt x="1452" y="775"/>
                  </a:lnTo>
                  <a:lnTo>
                    <a:pt x="1439" y="760"/>
                  </a:lnTo>
                  <a:lnTo>
                    <a:pt x="1439" y="760"/>
                  </a:lnTo>
                  <a:lnTo>
                    <a:pt x="1433" y="753"/>
                  </a:lnTo>
                  <a:lnTo>
                    <a:pt x="1431" y="746"/>
                  </a:lnTo>
                  <a:lnTo>
                    <a:pt x="1431" y="740"/>
                  </a:lnTo>
                  <a:lnTo>
                    <a:pt x="1433" y="732"/>
                  </a:lnTo>
                  <a:lnTo>
                    <a:pt x="1437" y="729"/>
                  </a:lnTo>
                  <a:lnTo>
                    <a:pt x="1443" y="723"/>
                  </a:lnTo>
                  <a:lnTo>
                    <a:pt x="1456" y="714"/>
                  </a:lnTo>
                  <a:lnTo>
                    <a:pt x="1486" y="699"/>
                  </a:lnTo>
                  <a:lnTo>
                    <a:pt x="1491" y="693"/>
                  </a:lnTo>
                  <a:lnTo>
                    <a:pt x="1495" y="689"/>
                  </a:lnTo>
                  <a:lnTo>
                    <a:pt x="1497" y="686"/>
                  </a:lnTo>
                  <a:lnTo>
                    <a:pt x="1497" y="682"/>
                  </a:lnTo>
                  <a:lnTo>
                    <a:pt x="1497" y="682"/>
                  </a:lnTo>
                  <a:lnTo>
                    <a:pt x="1495" y="673"/>
                  </a:lnTo>
                  <a:lnTo>
                    <a:pt x="1495" y="665"/>
                  </a:lnTo>
                  <a:lnTo>
                    <a:pt x="1495" y="660"/>
                  </a:lnTo>
                  <a:lnTo>
                    <a:pt x="1499" y="656"/>
                  </a:lnTo>
                  <a:lnTo>
                    <a:pt x="1501" y="652"/>
                  </a:lnTo>
                  <a:lnTo>
                    <a:pt x="1506" y="648"/>
                  </a:lnTo>
                  <a:lnTo>
                    <a:pt x="1515" y="645"/>
                  </a:lnTo>
                  <a:lnTo>
                    <a:pt x="1527" y="641"/>
                  </a:lnTo>
                  <a:lnTo>
                    <a:pt x="1536" y="637"/>
                  </a:lnTo>
                  <a:lnTo>
                    <a:pt x="1540" y="633"/>
                  </a:lnTo>
                  <a:lnTo>
                    <a:pt x="1544" y="630"/>
                  </a:lnTo>
                  <a:lnTo>
                    <a:pt x="1545" y="626"/>
                  </a:lnTo>
                  <a:lnTo>
                    <a:pt x="1547" y="620"/>
                  </a:lnTo>
                  <a:lnTo>
                    <a:pt x="1547" y="620"/>
                  </a:lnTo>
                  <a:lnTo>
                    <a:pt x="1547" y="609"/>
                  </a:lnTo>
                  <a:lnTo>
                    <a:pt x="1551" y="604"/>
                  </a:lnTo>
                  <a:lnTo>
                    <a:pt x="1555" y="600"/>
                  </a:lnTo>
                  <a:lnTo>
                    <a:pt x="1558" y="596"/>
                  </a:lnTo>
                  <a:lnTo>
                    <a:pt x="1564" y="594"/>
                  </a:lnTo>
                  <a:lnTo>
                    <a:pt x="1568" y="590"/>
                  </a:lnTo>
                  <a:lnTo>
                    <a:pt x="1570" y="587"/>
                  </a:lnTo>
                  <a:lnTo>
                    <a:pt x="1570" y="579"/>
                  </a:lnTo>
                  <a:lnTo>
                    <a:pt x="1570" y="579"/>
                  </a:lnTo>
                  <a:lnTo>
                    <a:pt x="1572" y="572"/>
                  </a:lnTo>
                  <a:lnTo>
                    <a:pt x="1573" y="564"/>
                  </a:lnTo>
                  <a:lnTo>
                    <a:pt x="1581" y="551"/>
                  </a:lnTo>
                  <a:lnTo>
                    <a:pt x="1583" y="546"/>
                  </a:lnTo>
                  <a:lnTo>
                    <a:pt x="1585" y="540"/>
                  </a:lnTo>
                  <a:lnTo>
                    <a:pt x="1581" y="534"/>
                  </a:lnTo>
                  <a:lnTo>
                    <a:pt x="1575" y="529"/>
                  </a:lnTo>
                  <a:lnTo>
                    <a:pt x="1575" y="529"/>
                  </a:lnTo>
                  <a:lnTo>
                    <a:pt x="1570" y="523"/>
                  </a:lnTo>
                  <a:lnTo>
                    <a:pt x="1566" y="519"/>
                  </a:lnTo>
                  <a:lnTo>
                    <a:pt x="1562" y="508"/>
                  </a:lnTo>
                  <a:lnTo>
                    <a:pt x="1560" y="499"/>
                  </a:lnTo>
                  <a:lnTo>
                    <a:pt x="1557" y="493"/>
                  </a:lnTo>
                  <a:lnTo>
                    <a:pt x="1553" y="488"/>
                  </a:lnTo>
                  <a:lnTo>
                    <a:pt x="1553" y="488"/>
                  </a:lnTo>
                  <a:lnTo>
                    <a:pt x="1547" y="480"/>
                  </a:lnTo>
                  <a:lnTo>
                    <a:pt x="1545" y="476"/>
                  </a:lnTo>
                  <a:lnTo>
                    <a:pt x="1545" y="471"/>
                  </a:lnTo>
                  <a:lnTo>
                    <a:pt x="1547" y="469"/>
                  </a:lnTo>
                  <a:lnTo>
                    <a:pt x="1551" y="463"/>
                  </a:lnTo>
                  <a:lnTo>
                    <a:pt x="1553" y="462"/>
                  </a:lnTo>
                  <a:lnTo>
                    <a:pt x="1549" y="458"/>
                  </a:lnTo>
                  <a:lnTo>
                    <a:pt x="1549" y="458"/>
                  </a:lnTo>
                  <a:lnTo>
                    <a:pt x="1544" y="450"/>
                  </a:lnTo>
                  <a:lnTo>
                    <a:pt x="1538" y="443"/>
                  </a:lnTo>
                  <a:lnTo>
                    <a:pt x="1536" y="437"/>
                  </a:lnTo>
                  <a:lnTo>
                    <a:pt x="1536" y="432"/>
                  </a:lnTo>
                  <a:lnTo>
                    <a:pt x="1538" y="424"/>
                  </a:lnTo>
                  <a:lnTo>
                    <a:pt x="1540" y="417"/>
                  </a:lnTo>
                  <a:lnTo>
                    <a:pt x="1542" y="413"/>
                  </a:lnTo>
                  <a:lnTo>
                    <a:pt x="1542" y="409"/>
                  </a:lnTo>
                  <a:lnTo>
                    <a:pt x="1540" y="404"/>
                  </a:lnTo>
                  <a:lnTo>
                    <a:pt x="1536" y="398"/>
                  </a:lnTo>
                  <a:lnTo>
                    <a:pt x="1530" y="391"/>
                  </a:lnTo>
                  <a:lnTo>
                    <a:pt x="1521" y="383"/>
                  </a:lnTo>
                  <a:lnTo>
                    <a:pt x="1493" y="364"/>
                  </a:lnTo>
                  <a:lnTo>
                    <a:pt x="1493" y="364"/>
                  </a:lnTo>
                  <a:lnTo>
                    <a:pt x="1491" y="361"/>
                  </a:lnTo>
                  <a:lnTo>
                    <a:pt x="1489" y="355"/>
                  </a:lnTo>
                  <a:lnTo>
                    <a:pt x="1489" y="340"/>
                  </a:lnTo>
                  <a:lnTo>
                    <a:pt x="1489" y="333"/>
                  </a:lnTo>
                  <a:lnTo>
                    <a:pt x="1487" y="327"/>
                  </a:lnTo>
                  <a:lnTo>
                    <a:pt x="1486" y="321"/>
                  </a:lnTo>
                  <a:lnTo>
                    <a:pt x="1480" y="321"/>
                  </a:lnTo>
                  <a:lnTo>
                    <a:pt x="1480" y="321"/>
                  </a:lnTo>
                  <a:lnTo>
                    <a:pt x="1476" y="321"/>
                  </a:lnTo>
                  <a:lnTo>
                    <a:pt x="1473" y="323"/>
                  </a:lnTo>
                  <a:lnTo>
                    <a:pt x="1467" y="329"/>
                  </a:lnTo>
                  <a:lnTo>
                    <a:pt x="1463" y="334"/>
                  </a:lnTo>
                  <a:lnTo>
                    <a:pt x="1459" y="338"/>
                  </a:lnTo>
                  <a:lnTo>
                    <a:pt x="1458" y="340"/>
                  </a:lnTo>
                  <a:lnTo>
                    <a:pt x="1456" y="342"/>
                  </a:lnTo>
                  <a:lnTo>
                    <a:pt x="1452" y="340"/>
                  </a:lnTo>
                  <a:lnTo>
                    <a:pt x="1446" y="340"/>
                  </a:lnTo>
                  <a:lnTo>
                    <a:pt x="1435" y="331"/>
                  </a:lnTo>
                  <a:lnTo>
                    <a:pt x="1416" y="316"/>
                  </a:lnTo>
                  <a:lnTo>
                    <a:pt x="1416" y="316"/>
                  </a:lnTo>
                  <a:lnTo>
                    <a:pt x="1394" y="293"/>
                  </a:lnTo>
                  <a:lnTo>
                    <a:pt x="1383" y="286"/>
                  </a:lnTo>
                  <a:lnTo>
                    <a:pt x="1375" y="280"/>
                  </a:lnTo>
                  <a:lnTo>
                    <a:pt x="1360" y="271"/>
                  </a:lnTo>
                  <a:lnTo>
                    <a:pt x="1360" y="271"/>
                  </a:lnTo>
                  <a:lnTo>
                    <a:pt x="1349" y="262"/>
                  </a:lnTo>
                  <a:lnTo>
                    <a:pt x="1340" y="254"/>
                  </a:lnTo>
                  <a:lnTo>
                    <a:pt x="1336" y="249"/>
                  </a:lnTo>
                  <a:lnTo>
                    <a:pt x="1332" y="243"/>
                  </a:lnTo>
                  <a:lnTo>
                    <a:pt x="1329" y="237"/>
                  </a:lnTo>
                  <a:lnTo>
                    <a:pt x="1327" y="235"/>
                  </a:lnTo>
                  <a:lnTo>
                    <a:pt x="1321" y="234"/>
                  </a:lnTo>
                  <a:lnTo>
                    <a:pt x="1321" y="234"/>
                  </a:lnTo>
                  <a:lnTo>
                    <a:pt x="1316" y="228"/>
                  </a:lnTo>
                  <a:lnTo>
                    <a:pt x="1308" y="220"/>
                  </a:lnTo>
                  <a:lnTo>
                    <a:pt x="1297" y="204"/>
                  </a:lnTo>
                  <a:lnTo>
                    <a:pt x="1291" y="198"/>
                  </a:lnTo>
                  <a:lnTo>
                    <a:pt x="1289" y="198"/>
                  </a:lnTo>
                  <a:lnTo>
                    <a:pt x="1287" y="198"/>
                  </a:lnTo>
                  <a:lnTo>
                    <a:pt x="1286" y="198"/>
                  </a:lnTo>
                  <a:lnTo>
                    <a:pt x="1286" y="202"/>
                  </a:lnTo>
                  <a:lnTo>
                    <a:pt x="1284" y="215"/>
                  </a:lnTo>
                  <a:lnTo>
                    <a:pt x="1284" y="215"/>
                  </a:lnTo>
                  <a:lnTo>
                    <a:pt x="1284" y="220"/>
                  </a:lnTo>
                  <a:lnTo>
                    <a:pt x="1280" y="222"/>
                  </a:lnTo>
                  <a:lnTo>
                    <a:pt x="1274" y="222"/>
                  </a:lnTo>
                  <a:lnTo>
                    <a:pt x="1267" y="219"/>
                  </a:lnTo>
                  <a:lnTo>
                    <a:pt x="1248" y="204"/>
                  </a:lnTo>
                  <a:lnTo>
                    <a:pt x="1228" y="183"/>
                  </a:lnTo>
                  <a:lnTo>
                    <a:pt x="1205" y="161"/>
                  </a:lnTo>
                  <a:lnTo>
                    <a:pt x="1185" y="138"/>
                  </a:lnTo>
                  <a:lnTo>
                    <a:pt x="1162" y="110"/>
                  </a:lnTo>
                  <a:lnTo>
                    <a:pt x="1162" y="110"/>
                  </a:lnTo>
                  <a:lnTo>
                    <a:pt x="1155" y="103"/>
                  </a:lnTo>
                  <a:lnTo>
                    <a:pt x="1149" y="99"/>
                  </a:lnTo>
                  <a:lnTo>
                    <a:pt x="1142" y="99"/>
                  </a:lnTo>
                  <a:lnTo>
                    <a:pt x="1136" y="103"/>
                  </a:lnTo>
                  <a:lnTo>
                    <a:pt x="1131" y="107"/>
                  </a:lnTo>
                  <a:lnTo>
                    <a:pt x="1123" y="108"/>
                  </a:lnTo>
                  <a:lnTo>
                    <a:pt x="1114" y="108"/>
                  </a:lnTo>
                  <a:lnTo>
                    <a:pt x="1104" y="105"/>
                  </a:lnTo>
                  <a:lnTo>
                    <a:pt x="1104" y="105"/>
                  </a:lnTo>
                  <a:lnTo>
                    <a:pt x="1097" y="103"/>
                  </a:lnTo>
                  <a:lnTo>
                    <a:pt x="1091" y="105"/>
                  </a:lnTo>
                  <a:lnTo>
                    <a:pt x="1088" y="108"/>
                  </a:lnTo>
                  <a:lnTo>
                    <a:pt x="1084" y="114"/>
                  </a:lnTo>
                  <a:lnTo>
                    <a:pt x="1076" y="123"/>
                  </a:lnTo>
                  <a:lnTo>
                    <a:pt x="1071" y="127"/>
                  </a:lnTo>
                  <a:lnTo>
                    <a:pt x="1065" y="127"/>
                  </a:lnTo>
                  <a:lnTo>
                    <a:pt x="1015" y="88"/>
                  </a:lnTo>
                  <a:lnTo>
                    <a:pt x="1015" y="88"/>
                  </a:lnTo>
                  <a:lnTo>
                    <a:pt x="998" y="73"/>
                  </a:lnTo>
                  <a:lnTo>
                    <a:pt x="983" y="62"/>
                  </a:lnTo>
                  <a:lnTo>
                    <a:pt x="972" y="56"/>
                  </a:lnTo>
                  <a:lnTo>
                    <a:pt x="964" y="54"/>
                  </a:lnTo>
                  <a:lnTo>
                    <a:pt x="957" y="54"/>
                  </a:lnTo>
                  <a:lnTo>
                    <a:pt x="953" y="58"/>
                  </a:lnTo>
                  <a:lnTo>
                    <a:pt x="949" y="64"/>
                  </a:lnTo>
                  <a:lnTo>
                    <a:pt x="947" y="71"/>
                  </a:lnTo>
                  <a:lnTo>
                    <a:pt x="945" y="90"/>
                  </a:lnTo>
                  <a:lnTo>
                    <a:pt x="942" y="110"/>
                  </a:lnTo>
                  <a:lnTo>
                    <a:pt x="940" y="120"/>
                  </a:lnTo>
                  <a:lnTo>
                    <a:pt x="934" y="129"/>
                  </a:lnTo>
                  <a:lnTo>
                    <a:pt x="929" y="136"/>
                  </a:lnTo>
                  <a:lnTo>
                    <a:pt x="921" y="142"/>
                  </a:lnTo>
                  <a:lnTo>
                    <a:pt x="921" y="142"/>
                  </a:lnTo>
                  <a:lnTo>
                    <a:pt x="917" y="144"/>
                  </a:lnTo>
                  <a:lnTo>
                    <a:pt x="916" y="148"/>
                  </a:lnTo>
                  <a:lnTo>
                    <a:pt x="912" y="155"/>
                  </a:lnTo>
                  <a:lnTo>
                    <a:pt x="912" y="163"/>
                  </a:lnTo>
                  <a:lnTo>
                    <a:pt x="912" y="172"/>
                  </a:lnTo>
                  <a:lnTo>
                    <a:pt x="912" y="179"/>
                  </a:lnTo>
                  <a:lnTo>
                    <a:pt x="910" y="185"/>
                  </a:lnTo>
                  <a:lnTo>
                    <a:pt x="908" y="187"/>
                  </a:lnTo>
                  <a:lnTo>
                    <a:pt x="906" y="189"/>
                  </a:lnTo>
                  <a:lnTo>
                    <a:pt x="899" y="187"/>
                  </a:lnTo>
                  <a:lnTo>
                    <a:pt x="899" y="187"/>
                  </a:lnTo>
                  <a:lnTo>
                    <a:pt x="891" y="187"/>
                  </a:lnTo>
                  <a:lnTo>
                    <a:pt x="886" y="189"/>
                  </a:lnTo>
                  <a:lnTo>
                    <a:pt x="878" y="196"/>
                  </a:lnTo>
                  <a:lnTo>
                    <a:pt x="873" y="198"/>
                  </a:lnTo>
                  <a:lnTo>
                    <a:pt x="867" y="198"/>
                  </a:lnTo>
                  <a:lnTo>
                    <a:pt x="861" y="194"/>
                  </a:lnTo>
                  <a:lnTo>
                    <a:pt x="852" y="187"/>
                  </a:lnTo>
                  <a:lnTo>
                    <a:pt x="852" y="187"/>
                  </a:lnTo>
                  <a:lnTo>
                    <a:pt x="845" y="179"/>
                  </a:lnTo>
                  <a:lnTo>
                    <a:pt x="839" y="176"/>
                  </a:lnTo>
                  <a:lnTo>
                    <a:pt x="835" y="174"/>
                  </a:lnTo>
                  <a:lnTo>
                    <a:pt x="830" y="174"/>
                  </a:lnTo>
                  <a:lnTo>
                    <a:pt x="818" y="176"/>
                  </a:lnTo>
                  <a:lnTo>
                    <a:pt x="813" y="176"/>
                  </a:lnTo>
                  <a:lnTo>
                    <a:pt x="805" y="176"/>
                  </a:lnTo>
                  <a:lnTo>
                    <a:pt x="805" y="176"/>
                  </a:lnTo>
                  <a:lnTo>
                    <a:pt x="779" y="168"/>
                  </a:lnTo>
                  <a:lnTo>
                    <a:pt x="764" y="163"/>
                  </a:lnTo>
                  <a:lnTo>
                    <a:pt x="755" y="157"/>
                  </a:lnTo>
                  <a:lnTo>
                    <a:pt x="749" y="151"/>
                  </a:lnTo>
                  <a:lnTo>
                    <a:pt x="742" y="148"/>
                  </a:lnTo>
                  <a:lnTo>
                    <a:pt x="732" y="146"/>
                  </a:lnTo>
                  <a:lnTo>
                    <a:pt x="712" y="146"/>
                  </a:lnTo>
                  <a:lnTo>
                    <a:pt x="682" y="149"/>
                  </a:lnTo>
                  <a:lnTo>
                    <a:pt x="682" y="149"/>
                  </a:lnTo>
                  <a:lnTo>
                    <a:pt x="675" y="149"/>
                  </a:lnTo>
                  <a:lnTo>
                    <a:pt x="669" y="149"/>
                  </a:lnTo>
                  <a:lnTo>
                    <a:pt x="665" y="146"/>
                  </a:lnTo>
                  <a:lnTo>
                    <a:pt x="661" y="142"/>
                  </a:lnTo>
                  <a:lnTo>
                    <a:pt x="656" y="131"/>
                  </a:lnTo>
                  <a:lnTo>
                    <a:pt x="652" y="120"/>
                  </a:lnTo>
                  <a:lnTo>
                    <a:pt x="648" y="107"/>
                  </a:lnTo>
                  <a:lnTo>
                    <a:pt x="645" y="97"/>
                  </a:lnTo>
                  <a:lnTo>
                    <a:pt x="641" y="93"/>
                  </a:lnTo>
                  <a:lnTo>
                    <a:pt x="637" y="90"/>
                  </a:lnTo>
                  <a:lnTo>
                    <a:pt x="633" y="90"/>
                  </a:lnTo>
                  <a:lnTo>
                    <a:pt x="628" y="90"/>
                  </a:lnTo>
                  <a:lnTo>
                    <a:pt x="628" y="90"/>
                  </a:lnTo>
                  <a:lnTo>
                    <a:pt x="609" y="92"/>
                  </a:lnTo>
                  <a:lnTo>
                    <a:pt x="590" y="90"/>
                  </a:lnTo>
                  <a:lnTo>
                    <a:pt x="585" y="88"/>
                  </a:lnTo>
                  <a:lnTo>
                    <a:pt x="583" y="86"/>
                  </a:lnTo>
                  <a:lnTo>
                    <a:pt x="585" y="82"/>
                  </a:lnTo>
                  <a:lnTo>
                    <a:pt x="592" y="78"/>
                  </a:lnTo>
                  <a:lnTo>
                    <a:pt x="592" y="78"/>
                  </a:lnTo>
                  <a:lnTo>
                    <a:pt x="600" y="73"/>
                  </a:lnTo>
                  <a:lnTo>
                    <a:pt x="600" y="71"/>
                  </a:lnTo>
                  <a:lnTo>
                    <a:pt x="598" y="71"/>
                  </a:lnTo>
                  <a:lnTo>
                    <a:pt x="587" y="69"/>
                  </a:lnTo>
                  <a:lnTo>
                    <a:pt x="572" y="67"/>
                  </a:lnTo>
                  <a:lnTo>
                    <a:pt x="557" y="67"/>
                  </a:lnTo>
                  <a:lnTo>
                    <a:pt x="542" y="64"/>
                  </a:lnTo>
                  <a:lnTo>
                    <a:pt x="529" y="62"/>
                  </a:lnTo>
                  <a:lnTo>
                    <a:pt x="527" y="58"/>
                  </a:lnTo>
                  <a:lnTo>
                    <a:pt x="525" y="56"/>
                  </a:lnTo>
                  <a:lnTo>
                    <a:pt x="525" y="56"/>
                  </a:lnTo>
                  <a:lnTo>
                    <a:pt x="521" y="47"/>
                  </a:lnTo>
                  <a:lnTo>
                    <a:pt x="518" y="39"/>
                  </a:lnTo>
                  <a:lnTo>
                    <a:pt x="510" y="32"/>
                  </a:lnTo>
                  <a:lnTo>
                    <a:pt x="501" y="28"/>
                  </a:lnTo>
                  <a:lnTo>
                    <a:pt x="482" y="19"/>
                  </a:lnTo>
                  <a:lnTo>
                    <a:pt x="473" y="15"/>
                  </a:lnTo>
                  <a:lnTo>
                    <a:pt x="465" y="9"/>
                  </a:lnTo>
                  <a:lnTo>
                    <a:pt x="465" y="9"/>
                  </a:lnTo>
                  <a:lnTo>
                    <a:pt x="458" y="6"/>
                  </a:lnTo>
                  <a:lnTo>
                    <a:pt x="445" y="4"/>
                  </a:lnTo>
                  <a:lnTo>
                    <a:pt x="420" y="0"/>
                  </a:lnTo>
                  <a:lnTo>
                    <a:pt x="420" y="0"/>
                  </a:lnTo>
                  <a:lnTo>
                    <a:pt x="402" y="0"/>
                  </a:lnTo>
                  <a:lnTo>
                    <a:pt x="370" y="2"/>
                  </a:lnTo>
                  <a:lnTo>
                    <a:pt x="290" y="13"/>
                  </a:lnTo>
                  <a:lnTo>
                    <a:pt x="248" y="19"/>
                  </a:lnTo>
                  <a:lnTo>
                    <a:pt x="213" y="26"/>
                  </a:lnTo>
                  <a:lnTo>
                    <a:pt x="189" y="34"/>
                  </a:lnTo>
                  <a:lnTo>
                    <a:pt x="181" y="37"/>
                  </a:lnTo>
                  <a:lnTo>
                    <a:pt x="179" y="39"/>
                  </a:lnTo>
                  <a:lnTo>
                    <a:pt x="179" y="39"/>
                  </a:lnTo>
                  <a:lnTo>
                    <a:pt x="179" y="47"/>
                  </a:lnTo>
                  <a:lnTo>
                    <a:pt x="183" y="52"/>
                  </a:lnTo>
                  <a:lnTo>
                    <a:pt x="189" y="54"/>
                  </a:lnTo>
                  <a:lnTo>
                    <a:pt x="194" y="56"/>
                  </a:lnTo>
                  <a:lnTo>
                    <a:pt x="198" y="60"/>
                  </a:lnTo>
                  <a:lnTo>
                    <a:pt x="200" y="64"/>
                  </a:lnTo>
                  <a:lnTo>
                    <a:pt x="200" y="73"/>
                  </a:lnTo>
                  <a:lnTo>
                    <a:pt x="196" y="84"/>
                  </a:lnTo>
                  <a:lnTo>
                    <a:pt x="196" y="84"/>
                  </a:lnTo>
                  <a:lnTo>
                    <a:pt x="192" y="93"/>
                  </a:lnTo>
                  <a:lnTo>
                    <a:pt x="192" y="103"/>
                  </a:lnTo>
                  <a:lnTo>
                    <a:pt x="192" y="112"/>
                  </a:lnTo>
                  <a:lnTo>
                    <a:pt x="194" y="120"/>
                  </a:lnTo>
                  <a:lnTo>
                    <a:pt x="198" y="129"/>
                  </a:lnTo>
                  <a:lnTo>
                    <a:pt x="204" y="136"/>
                  </a:lnTo>
                  <a:lnTo>
                    <a:pt x="215" y="151"/>
                  </a:lnTo>
                  <a:lnTo>
                    <a:pt x="228" y="164"/>
                  </a:lnTo>
                  <a:lnTo>
                    <a:pt x="241" y="179"/>
                  </a:lnTo>
                  <a:lnTo>
                    <a:pt x="247" y="187"/>
                  </a:lnTo>
                  <a:lnTo>
                    <a:pt x="250" y="196"/>
                  </a:lnTo>
                  <a:lnTo>
                    <a:pt x="254" y="204"/>
                  </a:lnTo>
                  <a:lnTo>
                    <a:pt x="256" y="213"/>
                  </a:lnTo>
                  <a:lnTo>
                    <a:pt x="256" y="213"/>
                  </a:lnTo>
                  <a:lnTo>
                    <a:pt x="258" y="220"/>
                  </a:lnTo>
                  <a:lnTo>
                    <a:pt x="261" y="230"/>
                  </a:lnTo>
                  <a:lnTo>
                    <a:pt x="271" y="245"/>
                  </a:lnTo>
                  <a:lnTo>
                    <a:pt x="271" y="250"/>
                  </a:lnTo>
                  <a:lnTo>
                    <a:pt x="269" y="254"/>
                  </a:lnTo>
                  <a:lnTo>
                    <a:pt x="267" y="256"/>
                  </a:lnTo>
                  <a:lnTo>
                    <a:pt x="258" y="258"/>
                  </a:lnTo>
                  <a:lnTo>
                    <a:pt x="241" y="258"/>
                  </a:lnTo>
                  <a:lnTo>
                    <a:pt x="241" y="258"/>
                  </a:lnTo>
                  <a:lnTo>
                    <a:pt x="230" y="260"/>
                  </a:lnTo>
                  <a:lnTo>
                    <a:pt x="217" y="263"/>
                  </a:lnTo>
                  <a:lnTo>
                    <a:pt x="204" y="269"/>
                  </a:lnTo>
                  <a:lnTo>
                    <a:pt x="192" y="277"/>
                  </a:lnTo>
                  <a:lnTo>
                    <a:pt x="189" y="280"/>
                  </a:lnTo>
                  <a:lnTo>
                    <a:pt x="187" y="286"/>
                  </a:lnTo>
                  <a:lnTo>
                    <a:pt x="185" y="290"/>
                  </a:lnTo>
                  <a:lnTo>
                    <a:pt x="187" y="295"/>
                  </a:lnTo>
                  <a:lnTo>
                    <a:pt x="190" y="299"/>
                  </a:lnTo>
                  <a:lnTo>
                    <a:pt x="196" y="305"/>
                  </a:lnTo>
                  <a:lnTo>
                    <a:pt x="204" y="308"/>
                  </a:lnTo>
                  <a:lnTo>
                    <a:pt x="215" y="314"/>
                  </a:lnTo>
                  <a:lnTo>
                    <a:pt x="215" y="314"/>
                  </a:lnTo>
                  <a:lnTo>
                    <a:pt x="219" y="316"/>
                  </a:lnTo>
                  <a:lnTo>
                    <a:pt x="220" y="320"/>
                  </a:lnTo>
                  <a:lnTo>
                    <a:pt x="226" y="333"/>
                  </a:lnTo>
                  <a:lnTo>
                    <a:pt x="228" y="346"/>
                  </a:lnTo>
                  <a:lnTo>
                    <a:pt x="226" y="361"/>
                  </a:lnTo>
                  <a:lnTo>
                    <a:pt x="224" y="368"/>
                  </a:lnTo>
                  <a:lnTo>
                    <a:pt x="220" y="374"/>
                  </a:lnTo>
                  <a:lnTo>
                    <a:pt x="217" y="377"/>
                  </a:lnTo>
                  <a:lnTo>
                    <a:pt x="211" y="381"/>
                  </a:lnTo>
                  <a:lnTo>
                    <a:pt x="205" y="381"/>
                  </a:lnTo>
                  <a:lnTo>
                    <a:pt x="196" y="379"/>
                  </a:lnTo>
                  <a:lnTo>
                    <a:pt x="187" y="376"/>
                  </a:lnTo>
                  <a:lnTo>
                    <a:pt x="177" y="368"/>
                  </a:lnTo>
                  <a:lnTo>
                    <a:pt x="177" y="368"/>
                  </a:lnTo>
                  <a:lnTo>
                    <a:pt x="170" y="363"/>
                  </a:lnTo>
                  <a:lnTo>
                    <a:pt x="162" y="359"/>
                  </a:lnTo>
                  <a:lnTo>
                    <a:pt x="146" y="353"/>
                  </a:lnTo>
                  <a:lnTo>
                    <a:pt x="129" y="348"/>
                  </a:lnTo>
                  <a:lnTo>
                    <a:pt x="121" y="344"/>
                  </a:lnTo>
                  <a:lnTo>
                    <a:pt x="116" y="336"/>
                  </a:lnTo>
                  <a:lnTo>
                    <a:pt x="116" y="336"/>
                  </a:lnTo>
                  <a:lnTo>
                    <a:pt x="110" y="333"/>
                  </a:lnTo>
                  <a:lnTo>
                    <a:pt x="108" y="333"/>
                  </a:lnTo>
                  <a:lnTo>
                    <a:pt x="103" y="338"/>
                  </a:lnTo>
                  <a:lnTo>
                    <a:pt x="99" y="342"/>
                  </a:lnTo>
                  <a:lnTo>
                    <a:pt x="91" y="348"/>
                  </a:lnTo>
                  <a:lnTo>
                    <a:pt x="80" y="349"/>
                  </a:lnTo>
                  <a:lnTo>
                    <a:pt x="63" y="349"/>
                  </a:lnTo>
                  <a:lnTo>
                    <a:pt x="60" y="349"/>
                  </a:lnTo>
                  <a:lnTo>
                    <a:pt x="60" y="349"/>
                  </a:lnTo>
                  <a:lnTo>
                    <a:pt x="39" y="351"/>
                  </a:lnTo>
                  <a:lnTo>
                    <a:pt x="33" y="351"/>
                  </a:lnTo>
                  <a:lnTo>
                    <a:pt x="30" y="353"/>
                  </a:lnTo>
                  <a:lnTo>
                    <a:pt x="30" y="357"/>
                  </a:lnTo>
                  <a:lnTo>
                    <a:pt x="30" y="359"/>
                  </a:lnTo>
                  <a:lnTo>
                    <a:pt x="35" y="364"/>
                  </a:lnTo>
                  <a:lnTo>
                    <a:pt x="54" y="377"/>
                  </a:lnTo>
                  <a:lnTo>
                    <a:pt x="63" y="383"/>
                  </a:lnTo>
                  <a:lnTo>
                    <a:pt x="67" y="387"/>
                  </a:lnTo>
                  <a:lnTo>
                    <a:pt x="67" y="387"/>
                  </a:lnTo>
                  <a:lnTo>
                    <a:pt x="63" y="389"/>
                  </a:lnTo>
                  <a:lnTo>
                    <a:pt x="63" y="391"/>
                  </a:lnTo>
                  <a:lnTo>
                    <a:pt x="62" y="392"/>
                  </a:lnTo>
                  <a:lnTo>
                    <a:pt x="62" y="392"/>
                  </a:lnTo>
                  <a:lnTo>
                    <a:pt x="60" y="400"/>
                  </a:lnTo>
                  <a:lnTo>
                    <a:pt x="58" y="407"/>
                  </a:lnTo>
                  <a:lnTo>
                    <a:pt x="54" y="415"/>
                  </a:lnTo>
                  <a:lnTo>
                    <a:pt x="52" y="424"/>
                  </a:lnTo>
                  <a:lnTo>
                    <a:pt x="52" y="424"/>
                  </a:lnTo>
                  <a:lnTo>
                    <a:pt x="52" y="430"/>
                  </a:lnTo>
                  <a:lnTo>
                    <a:pt x="50" y="434"/>
                  </a:lnTo>
                  <a:lnTo>
                    <a:pt x="43" y="439"/>
                  </a:lnTo>
                  <a:lnTo>
                    <a:pt x="26" y="447"/>
                  </a:lnTo>
                  <a:lnTo>
                    <a:pt x="19" y="450"/>
                  </a:lnTo>
                  <a:lnTo>
                    <a:pt x="17" y="454"/>
                  </a:lnTo>
                  <a:lnTo>
                    <a:pt x="15" y="458"/>
                  </a:lnTo>
                  <a:lnTo>
                    <a:pt x="13" y="462"/>
                  </a:lnTo>
                  <a:lnTo>
                    <a:pt x="13" y="467"/>
                  </a:lnTo>
                  <a:lnTo>
                    <a:pt x="19" y="484"/>
                  </a:lnTo>
                  <a:lnTo>
                    <a:pt x="19" y="484"/>
                  </a:lnTo>
                  <a:lnTo>
                    <a:pt x="20" y="490"/>
                  </a:lnTo>
                  <a:lnTo>
                    <a:pt x="20" y="495"/>
                  </a:lnTo>
                  <a:lnTo>
                    <a:pt x="17" y="503"/>
                  </a:lnTo>
                  <a:lnTo>
                    <a:pt x="17" y="506"/>
                  </a:lnTo>
                  <a:lnTo>
                    <a:pt x="19" y="510"/>
                  </a:lnTo>
                  <a:lnTo>
                    <a:pt x="22" y="512"/>
                  </a:lnTo>
                  <a:lnTo>
                    <a:pt x="32" y="514"/>
                  </a:lnTo>
                  <a:lnTo>
                    <a:pt x="32" y="514"/>
                  </a:lnTo>
                  <a:lnTo>
                    <a:pt x="39" y="516"/>
                  </a:lnTo>
                  <a:lnTo>
                    <a:pt x="41" y="518"/>
                  </a:lnTo>
                  <a:lnTo>
                    <a:pt x="41" y="521"/>
                  </a:lnTo>
                  <a:lnTo>
                    <a:pt x="39" y="525"/>
                  </a:lnTo>
                  <a:lnTo>
                    <a:pt x="35" y="531"/>
                  </a:lnTo>
                  <a:lnTo>
                    <a:pt x="24" y="542"/>
                  </a:lnTo>
                  <a:lnTo>
                    <a:pt x="22" y="547"/>
                  </a:lnTo>
                  <a:lnTo>
                    <a:pt x="22" y="549"/>
                  </a:lnTo>
                  <a:lnTo>
                    <a:pt x="22" y="551"/>
                  </a:lnTo>
                  <a:lnTo>
                    <a:pt x="22" y="551"/>
                  </a:lnTo>
                  <a:lnTo>
                    <a:pt x="28" y="559"/>
                  </a:lnTo>
                  <a:lnTo>
                    <a:pt x="32" y="566"/>
                  </a:lnTo>
                  <a:lnTo>
                    <a:pt x="32" y="576"/>
                  </a:lnTo>
                  <a:lnTo>
                    <a:pt x="32" y="590"/>
                  </a:lnTo>
                  <a:lnTo>
                    <a:pt x="32" y="590"/>
                  </a:lnTo>
                  <a:lnTo>
                    <a:pt x="28" y="600"/>
                  </a:lnTo>
                  <a:lnTo>
                    <a:pt x="22" y="607"/>
                  </a:lnTo>
                  <a:lnTo>
                    <a:pt x="9" y="620"/>
                  </a:lnTo>
                  <a:lnTo>
                    <a:pt x="4" y="626"/>
                  </a:lnTo>
                  <a:lnTo>
                    <a:pt x="0" y="632"/>
                  </a:lnTo>
                  <a:lnTo>
                    <a:pt x="2" y="639"/>
                  </a:lnTo>
                  <a:lnTo>
                    <a:pt x="7" y="648"/>
                  </a:lnTo>
                  <a:lnTo>
                    <a:pt x="7" y="648"/>
                  </a:lnTo>
                  <a:lnTo>
                    <a:pt x="15" y="660"/>
                  </a:lnTo>
                  <a:lnTo>
                    <a:pt x="22" y="675"/>
                  </a:lnTo>
                  <a:lnTo>
                    <a:pt x="39" y="712"/>
                  </a:lnTo>
                  <a:lnTo>
                    <a:pt x="54" y="744"/>
                  </a:lnTo>
                  <a:lnTo>
                    <a:pt x="62" y="757"/>
                  </a:lnTo>
                  <a:lnTo>
                    <a:pt x="67" y="762"/>
                  </a:lnTo>
                  <a:lnTo>
                    <a:pt x="67" y="762"/>
                  </a:lnTo>
                  <a:lnTo>
                    <a:pt x="95" y="777"/>
                  </a:lnTo>
                  <a:lnTo>
                    <a:pt x="106" y="781"/>
                  </a:lnTo>
                  <a:lnTo>
                    <a:pt x="116" y="783"/>
                  </a:lnTo>
                  <a:lnTo>
                    <a:pt x="123" y="785"/>
                  </a:lnTo>
                  <a:lnTo>
                    <a:pt x="131" y="785"/>
                  </a:lnTo>
                  <a:lnTo>
                    <a:pt x="142" y="781"/>
                  </a:lnTo>
                  <a:lnTo>
                    <a:pt x="149" y="775"/>
                  </a:lnTo>
                  <a:lnTo>
                    <a:pt x="155" y="772"/>
                  </a:lnTo>
                  <a:lnTo>
                    <a:pt x="162" y="768"/>
                  </a:lnTo>
                  <a:lnTo>
                    <a:pt x="164" y="766"/>
                  </a:lnTo>
                  <a:lnTo>
                    <a:pt x="168" y="768"/>
                  </a:lnTo>
                  <a:lnTo>
                    <a:pt x="168" y="768"/>
                  </a:lnTo>
                  <a:lnTo>
                    <a:pt x="172" y="770"/>
                  </a:lnTo>
                  <a:lnTo>
                    <a:pt x="176" y="779"/>
                  </a:lnTo>
                  <a:lnTo>
                    <a:pt x="190" y="803"/>
                  </a:lnTo>
                  <a:lnTo>
                    <a:pt x="202" y="818"/>
                  </a:lnTo>
                  <a:lnTo>
                    <a:pt x="215" y="831"/>
                  </a:lnTo>
                  <a:lnTo>
                    <a:pt x="230" y="845"/>
                  </a:lnTo>
                  <a:lnTo>
                    <a:pt x="239" y="850"/>
                  </a:lnTo>
                  <a:lnTo>
                    <a:pt x="248" y="854"/>
                  </a:lnTo>
                  <a:lnTo>
                    <a:pt x="248" y="854"/>
                  </a:lnTo>
                  <a:lnTo>
                    <a:pt x="269" y="863"/>
                  </a:lnTo>
                  <a:lnTo>
                    <a:pt x="280" y="871"/>
                  </a:lnTo>
                  <a:lnTo>
                    <a:pt x="301" y="878"/>
                  </a:lnTo>
                  <a:lnTo>
                    <a:pt x="340" y="888"/>
                  </a:lnTo>
                  <a:lnTo>
                    <a:pt x="340" y="888"/>
                  </a:lnTo>
                  <a:lnTo>
                    <a:pt x="359" y="895"/>
                  </a:lnTo>
                  <a:lnTo>
                    <a:pt x="374" y="903"/>
                  </a:lnTo>
                  <a:lnTo>
                    <a:pt x="385" y="912"/>
                  </a:lnTo>
                  <a:lnTo>
                    <a:pt x="394" y="921"/>
                  </a:lnTo>
                  <a:lnTo>
                    <a:pt x="400" y="929"/>
                  </a:lnTo>
                  <a:lnTo>
                    <a:pt x="407" y="932"/>
                  </a:lnTo>
                  <a:lnTo>
                    <a:pt x="413" y="934"/>
                  </a:lnTo>
                  <a:lnTo>
                    <a:pt x="420" y="931"/>
                  </a:lnTo>
                  <a:lnTo>
                    <a:pt x="420" y="931"/>
                  </a:lnTo>
                  <a:lnTo>
                    <a:pt x="424" y="929"/>
                  </a:lnTo>
                  <a:lnTo>
                    <a:pt x="428" y="929"/>
                  </a:lnTo>
                  <a:lnTo>
                    <a:pt x="435" y="931"/>
                  </a:lnTo>
                  <a:lnTo>
                    <a:pt x="456" y="942"/>
                  </a:lnTo>
                  <a:lnTo>
                    <a:pt x="467" y="947"/>
                  </a:lnTo>
                  <a:lnTo>
                    <a:pt x="480" y="951"/>
                  </a:lnTo>
                  <a:lnTo>
                    <a:pt x="488" y="951"/>
                  </a:lnTo>
                  <a:lnTo>
                    <a:pt x="495" y="951"/>
                  </a:lnTo>
                  <a:lnTo>
                    <a:pt x="504" y="947"/>
                  </a:lnTo>
                  <a:lnTo>
                    <a:pt x="514" y="944"/>
                  </a:lnTo>
                  <a:lnTo>
                    <a:pt x="514" y="944"/>
                  </a:lnTo>
                  <a:lnTo>
                    <a:pt x="523" y="940"/>
                  </a:lnTo>
                  <a:lnTo>
                    <a:pt x="532" y="936"/>
                  </a:lnTo>
                  <a:lnTo>
                    <a:pt x="540" y="938"/>
                  </a:lnTo>
                  <a:lnTo>
                    <a:pt x="547" y="940"/>
                  </a:lnTo>
                  <a:lnTo>
                    <a:pt x="553" y="944"/>
                  </a:lnTo>
                  <a:lnTo>
                    <a:pt x="557" y="947"/>
                  </a:lnTo>
                  <a:lnTo>
                    <a:pt x="566" y="960"/>
                  </a:lnTo>
                  <a:lnTo>
                    <a:pt x="574" y="975"/>
                  </a:lnTo>
                  <a:lnTo>
                    <a:pt x="581" y="988"/>
                  </a:lnTo>
                  <a:lnTo>
                    <a:pt x="587" y="994"/>
                  </a:lnTo>
                  <a:lnTo>
                    <a:pt x="592" y="998"/>
                  </a:lnTo>
                  <a:lnTo>
                    <a:pt x="600" y="1000"/>
                  </a:lnTo>
                  <a:lnTo>
                    <a:pt x="607" y="1002"/>
                  </a:lnTo>
                  <a:lnTo>
                    <a:pt x="607" y="1002"/>
                  </a:lnTo>
                  <a:lnTo>
                    <a:pt x="613" y="1002"/>
                  </a:lnTo>
                  <a:lnTo>
                    <a:pt x="618" y="1003"/>
                  </a:lnTo>
                  <a:lnTo>
                    <a:pt x="622" y="1005"/>
                  </a:lnTo>
                  <a:lnTo>
                    <a:pt x="626" y="1009"/>
                  </a:lnTo>
                  <a:lnTo>
                    <a:pt x="628" y="1016"/>
                  </a:lnTo>
                  <a:lnTo>
                    <a:pt x="626" y="1026"/>
                  </a:lnTo>
                  <a:lnTo>
                    <a:pt x="620" y="1045"/>
                  </a:lnTo>
                  <a:lnTo>
                    <a:pt x="618" y="1052"/>
                  </a:lnTo>
                  <a:lnTo>
                    <a:pt x="620" y="1056"/>
                  </a:lnTo>
                  <a:lnTo>
                    <a:pt x="620" y="1056"/>
                  </a:lnTo>
                  <a:lnTo>
                    <a:pt x="630" y="1071"/>
                  </a:lnTo>
                  <a:lnTo>
                    <a:pt x="633" y="1074"/>
                  </a:lnTo>
                  <a:lnTo>
                    <a:pt x="639" y="1076"/>
                  </a:lnTo>
                  <a:lnTo>
                    <a:pt x="648" y="1080"/>
                  </a:lnTo>
                  <a:lnTo>
                    <a:pt x="667" y="1087"/>
                  </a:lnTo>
                  <a:lnTo>
                    <a:pt x="667" y="1087"/>
                  </a:lnTo>
                  <a:lnTo>
                    <a:pt x="675" y="1089"/>
                  </a:lnTo>
                  <a:lnTo>
                    <a:pt x="680" y="1091"/>
                  </a:lnTo>
                  <a:lnTo>
                    <a:pt x="689" y="1091"/>
                  </a:lnTo>
                  <a:lnTo>
                    <a:pt x="693" y="1091"/>
                  </a:lnTo>
                  <a:lnTo>
                    <a:pt x="697" y="1095"/>
                  </a:lnTo>
                  <a:lnTo>
                    <a:pt x="701" y="1099"/>
                  </a:lnTo>
                  <a:lnTo>
                    <a:pt x="704" y="1106"/>
                  </a:lnTo>
                  <a:lnTo>
                    <a:pt x="704" y="1106"/>
                  </a:lnTo>
                  <a:lnTo>
                    <a:pt x="708" y="1112"/>
                  </a:lnTo>
                  <a:lnTo>
                    <a:pt x="714" y="1114"/>
                  </a:lnTo>
                  <a:lnTo>
                    <a:pt x="717" y="1114"/>
                  </a:lnTo>
                  <a:lnTo>
                    <a:pt x="721" y="1112"/>
                  </a:lnTo>
                  <a:lnTo>
                    <a:pt x="723" y="1108"/>
                  </a:lnTo>
                  <a:lnTo>
                    <a:pt x="725" y="1102"/>
                  </a:lnTo>
                  <a:lnTo>
                    <a:pt x="723" y="1097"/>
                  </a:lnTo>
                  <a:lnTo>
                    <a:pt x="719" y="1091"/>
                  </a:lnTo>
                  <a:lnTo>
                    <a:pt x="719" y="1091"/>
                  </a:lnTo>
                  <a:lnTo>
                    <a:pt x="717" y="1087"/>
                  </a:lnTo>
                  <a:lnTo>
                    <a:pt x="717" y="1082"/>
                  </a:lnTo>
                  <a:lnTo>
                    <a:pt x="717" y="1076"/>
                  </a:lnTo>
                  <a:lnTo>
                    <a:pt x="719" y="1073"/>
                  </a:lnTo>
                  <a:lnTo>
                    <a:pt x="723" y="1069"/>
                  </a:lnTo>
                  <a:lnTo>
                    <a:pt x="729" y="1071"/>
                  </a:lnTo>
                  <a:lnTo>
                    <a:pt x="738" y="1078"/>
                  </a:lnTo>
                  <a:lnTo>
                    <a:pt x="749" y="1093"/>
                  </a:lnTo>
                  <a:lnTo>
                    <a:pt x="749" y="1093"/>
                  </a:lnTo>
                  <a:lnTo>
                    <a:pt x="759" y="1102"/>
                  </a:lnTo>
                  <a:lnTo>
                    <a:pt x="766" y="1106"/>
                  </a:lnTo>
                  <a:lnTo>
                    <a:pt x="772" y="1108"/>
                  </a:lnTo>
                  <a:lnTo>
                    <a:pt x="777" y="1104"/>
                  </a:lnTo>
                  <a:lnTo>
                    <a:pt x="781" y="1099"/>
                  </a:lnTo>
                  <a:lnTo>
                    <a:pt x="785" y="1091"/>
                  </a:lnTo>
                  <a:lnTo>
                    <a:pt x="785" y="1080"/>
                  </a:lnTo>
                  <a:lnTo>
                    <a:pt x="785" y="1069"/>
                  </a:lnTo>
                  <a:lnTo>
                    <a:pt x="785" y="1069"/>
                  </a:lnTo>
                  <a:lnTo>
                    <a:pt x="787" y="1067"/>
                  </a:lnTo>
                  <a:lnTo>
                    <a:pt x="794" y="1067"/>
                  </a:lnTo>
                  <a:lnTo>
                    <a:pt x="815" y="1067"/>
                  </a:lnTo>
                  <a:lnTo>
                    <a:pt x="826" y="1065"/>
                  </a:lnTo>
                  <a:lnTo>
                    <a:pt x="837" y="1061"/>
                  </a:lnTo>
                  <a:lnTo>
                    <a:pt x="846" y="1056"/>
                  </a:lnTo>
                  <a:lnTo>
                    <a:pt x="850" y="1050"/>
                  </a:lnTo>
                  <a:lnTo>
                    <a:pt x="854" y="1045"/>
                  </a:lnTo>
                  <a:lnTo>
                    <a:pt x="854" y="1045"/>
                  </a:lnTo>
                  <a:lnTo>
                    <a:pt x="860" y="1031"/>
                  </a:lnTo>
                  <a:lnTo>
                    <a:pt x="865" y="1022"/>
                  </a:lnTo>
                  <a:lnTo>
                    <a:pt x="871" y="1015"/>
                  </a:lnTo>
                  <a:lnTo>
                    <a:pt x="878" y="1011"/>
                  </a:lnTo>
                  <a:lnTo>
                    <a:pt x="886" y="1007"/>
                  </a:lnTo>
                  <a:lnTo>
                    <a:pt x="897" y="1007"/>
                  </a:lnTo>
                  <a:lnTo>
                    <a:pt x="925" y="1009"/>
                  </a:lnTo>
                  <a:lnTo>
                    <a:pt x="925" y="1009"/>
                  </a:lnTo>
                  <a:lnTo>
                    <a:pt x="927" y="1009"/>
                  </a:lnTo>
                  <a:lnTo>
                    <a:pt x="927" y="1009"/>
                  </a:lnTo>
                  <a:lnTo>
                    <a:pt x="919" y="1005"/>
                  </a:lnTo>
                  <a:lnTo>
                    <a:pt x="919" y="1005"/>
                  </a:lnTo>
                  <a:lnTo>
                    <a:pt x="912" y="1002"/>
                  </a:lnTo>
                  <a:lnTo>
                    <a:pt x="904" y="994"/>
                  </a:lnTo>
                  <a:lnTo>
                    <a:pt x="895" y="987"/>
                  </a:lnTo>
                  <a:lnTo>
                    <a:pt x="888" y="977"/>
                  </a:lnTo>
                  <a:lnTo>
                    <a:pt x="882" y="968"/>
                  </a:lnTo>
                  <a:lnTo>
                    <a:pt x="880" y="959"/>
                  </a:lnTo>
                  <a:lnTo>
                    <a:pt x="880" y="953"/>
                  </a:lnTo>
                  <a:lnTo>
                    <a:pt x="882" y="947"/>
                  </a:lnTo>
                  <a:lnTo>
                    <a:pt x="884" y="944"/>
                  </a:lnTo>
                  <a:lnTo>
                    <a:pt x="889" y="940"/>
                  </a:lnTo>
                  <a:lnTo>
                    <a:pt x="889" y="940"/>
                  </a:lnTo>
                  <a:lnTo>
                    <a:pt x="895" y="932"/>
                  </a:lnTo>
                  <a:lnTo>
                    <a:pt x="897" y="927"/>
                  </a:lnTo>
                  <a:lnTo>
                    <a:pt x="899" y="921"/>
                  </a:lnTo>
                  <a:lnTo>
                    <a:pt x="904" y="914"/>
                  </a:lnTo>
                  <a:lnTo>
                    <a:pt x="904" y="914"/>
                  </a:lnTo>
                  <a:lnTo>
                    <a:pt x="916" y="899"/>
                  </a:lnTo>
                  <a:lnTo>
                    <a:pt x="925" y="889"/>
                  </a:lnTo>
                  <a:lnTo>
                    <a:pt x="931" y="888"/>
                  </a:lnTo>
                  <a:lnTo>
                    <a:pt x="931" y="888"/>
                  </a:lnTo>
                  <a:lnTo>
                    <a:pt x="931" y="888"/>
                  </a:lnTo>
                  <a:lnTo>
                    <a:pt x="932" y="884"/>
                  </a:lnTo>
                  <a:lnTo>
                    <a:pt x="932" y="882"/>
                  </a:lnTo>
                  <a:lnTo>
                    <a:pt x="929" y="876"/>
                  </a:lnTo>
                  <a:lnTo>
                    <a:pt x="912" y="861"/>
                  </a:lnTo>
                  <a:lnTo>
                    <a:pt x="904" y="852"/>
                  </a:lnTo>
                  <a:lnTo>
                    <a:pt x="901" y="848"/>
                  </a:lnTo>
                  <a:lnTo>
                    <a:pt x="899" y="843"/>
                  </a:lnTo>
                  <a:lnTo>
                    <a:pt x="899" y="837"/>
                  </a:lnTo>
                  <a:lnTo>
                    <a:pt x="901" y="831"/>
                  </a:lnTo>
                  <a:lnTo>
                    <a:pt x="904" y="826"/>
                  </a:lnTo>
                  <a:lnTo>
                    <a:pt x="908" y="820"/>
                  </a:lnTo>
                  <a:lnTo>
                    <a:pt x="908" y="820"/>
                  </a:lnTo>
                  <a:lnTo>
                    <a:pt x="919" y="809"/>
                  </a:lnTo>
                  <a:lnTo>
                    <a:pt x="929" y="803"/>
                  </a:lnTo>
                  <a:lnTo>
                    <a:pt x="934" y="802"/>
                  </a:lnTo>
                  <a:lnTo>
                    <a:pt x="940" y="803"/>
                  </a:lnTo>
                  <a:lnTo>
                    <a:pt x="955" y="809"/>
                  </a:lnTo>
                  <a:lnTo>
                    <a:pt x="966" y="811"/>
                  </a:lnTo>
                  <a:lnTo>
                    <a:pt x="981" y="813"/>
                  </a:lnTo>
                  <a:lnTo>
                    <a:pt x="981" y="813"/>
                  </a:lnTo>
                  <a:close/>
                  <a:moveTo>
                    <a:pt x="1216" y="404"/>
                  </a:moveTo>
                  <a:lnTo>
                    <a:pt x="1216" y="404"/>
                  </a:lnTo>
                  <a:lnTo>
                    <a:pt x="1230" y="402"/>
                  </a:lnTo>
                  <a:lnTo>
                    <a:pt x="1235" y="398"/>
                  </a:lnTo>
                  <a:lnTo>
                    <a:pt x="1235" y="398"/>
                  </a:lnTo>
                  <a:lnTo>
                    <a:pt x="1235" y="396"/>
                  </a:lnTo>
                  <a:lnTo>
                    <a:pt x="1231" y="392"/>
                  </a:lnTo>
                  <a:lnTo>
                    <a:pt x="1228" y="389"/>
                  </a:lnTo>
                  <a:lnTo>
                    <a:pt x="1224" y="383"/>
                  </a:lnTo>
                  <a:lnTo>
                    <a:pt x="1224" y="381"/>
                  </a:lnTo>
                  <a:lnTo>
                    <a:pt x="1226" y="379"/>
                  </a:lnTo>
                  <a:lnTo>
                    <a:pt x="1235" y="372"/>
                  </a:lnTo>
                  <a:lnTo>
                    <a:pt x="1246" y="372"/>
                  </a:lnTo>
                  <a:lnTo>
                    <a:pt x="1246" y="372"/>
                  </a:lnTo>
                  <a:lnTo>
                    <a:pt x="1269" y="376"/>
                  </a:lnTo>
                  <a:lnTo>
                    <a:pt x="1286" y="381"/>
                  </a:lnTo>
                  <a:lnTo>
                    <a:pt x="1295" y="389"/>
                  </a:lnTo>
                  <a:lnTo>
                    <a:pt x="1301" y="396"/>
                  </a:lnTo>
                  <a:lnTo>
                    <a:pt x="1308" y="413"/>
                  </a:lnTo>
                  <a:lnTo>
                    <a:pt x="1314" y="420"/>
                  </a:lnTo>
                  <a:lnTo>
                    <a:pt x="1323" y="426"/>
                  </a:lnTo>
                  <a:lnTo>
                    <a:pt x="1323" y="426"/>
                  </a:lnTo>
                  <a:lnTo>
                    <a:pt x="1330" y="430"/>
                  </a:lnTo>
                  <a:lnTo>
                    <a:pt x="1332" y="432"/>
                  </a:lnTo>
                  <a:lnTo>
                    <a:pt x="1332" y="435"/>
                  </a:lnTo>
                  <a:lnTo>
                    <a:pt x="1332" y="441"/>
                  </a:lnTo>
                  <a:lnTo>
                    <a:pt x="1330" y="448"/>
                  </a:lnTo>
                  <a:lnTo>
                    <a:pt x="1330" y="448"/>
                  </a:lnTo>
                  <a:lnTo>
                    <a:pt x="1330" y="462"/>
                  </a:lnTo>
                  <a:lnTo>
                    <a:pt x="1329" y="465"/>
                  </a:lnTo>
                  <a:lnTo>
                    <a:pt x="1327" y="469"/>
                  </a:lnTo>
                  <a:lnTo>
                    <a:pt x="1323" y="471"/>
                  </a:lnTo>
                  <a:lnTo>
                    <a:pt x="1319" y="471"/>
                  </a:lnTo>
                  <a:lnTo>
                    <a:pt x="1312" y="471"/>
                  </a:lnTo>
                  <a:lnTo>
                    <a:pt x="1293" y="462"/>
                  </a:lnTo>
                  <a:lnTo>
                    <a:pt x="1286" y="458"/>
                  </a:lnTo>
                  <a:lnTo>
                    <a:pt x="1280" y="456"/>
                  </a:lnTo>
                  <a:lnTo>
                    <a:pt x="1280" y="456"/>
                  </a:lnTo>
                  <a:lnTo>
                    <a:pt x="1261" y="452"/>
                  </a:lnTo>
                  <a:lnTo>
                    <a:pt x="1245" y="447"/>
                  </a:lnTo>
                  <a:lnTo>
                    <a:pt x="1231" y="439"/>
                  </a:lnTo>
                  <a:lnTo>
                    <a:pt x="1218" y="430"/>
                  </a:lnTo>
                  <a:lnTo>
                    <a:pt x="1211" y="420"/>
                  </a:lnTo>
                  <a:lnTo>
                    <a:pt x="1207" y="413"/>
                  </a:lnTo>
                  <a:lnTo>
                    <a:pt x="1207" y="409"/>
                  </a:lnTo>
                  <a:lnTo>
                    <a:pt x="1209" y="405"/>
                  </a:lnTo>
                  <a:lnTo>
                    <a:pt x="1211" y="404"/>
                  </a:lnTo>
                  <a:lnTo>
                    <a:pt x="1216" y="404"/>
                  </a:lnTo>
                  <a:lnTo>
                    <a:pt x="1216" y="404"/>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3" name="Freeform 63">
              <a:extLst>
                <a:ext uri="{FF2B5EF4-FFF2-40B4-BE49-F238E27FC236}">
                  <a16:creationId xmlns:a16="http://schemas.microsoft.com/office/drawing/2014/main" id="{CAE27411-C9FD-4E19-8E19-5E29C9F603F8}"/>
                </a:ext>
              </a:extLst>
            </p:cNvPr>
            <p:cNvSpPr>
              <a:spLocks noEditPoints="1"/>
            </p:cNvSpPr>
            <p:nvPr/>
          </p:nvSpPr>
          <p:spPr bwMode="auto">
            <a:xfrm>
              <a:off x="6165212" y="4283097"/>
              <a:ext cx="76300" cy="85383"/>
            </a:xfrm>
            <a:custGeom>
              <a:avLst/>
              <a:gdLst/>
              <a:ahLst/>
              <a:cxnLst>
                <a:cxn ang="0">
                  <a:pos x="30" y="77"/>
                </a:cxn>
                <a:cxn ang="0">
                  <a:pos x="47" y="43"/>
                </a:cxn>
                <a:cxn ang="0">
                  <a:pos x="53" y="47"/>
                </a:cxn>
                <a:cxn ang="0">
                  <a:pos x="41" y="47"/>
                </a:cxn>
                <a:cxn ang="0">
                  <a:pos x="28" y="52"/>
                </a:cxn>
                <a:cxn ang="0">
                  <a:pos x="23" y="54"/>
                </a:cxn>
                <a:cxn ang="0">
                  <a:pos x="6" y="56"/>
                </a:cxn>
                <a:cxn ang="0">
                  <a:pos x="0" y="58"/>
                </a:cxn>
                <a:cxn ang="0">
                  <a:pos x="6" y="64"/>
                </a:cxn>
                <a:cxn ang="0">
                  <a:pos x="8" y="62"/>
                </a:cxn>
                <a:cxn ang="0">
                  <a:pos x="12" y="67"/>
                </a:cxn>
                <a:cxn ang="0">
                  <a:pos x="23" y="75"/>
                </a:cxn>
                <a:cxn ang="0">
                  <a:pos x="30" y="77"/>
                </a:cxn>
                <a:cxn ang="0">
                  <a:pos x="30" y="82"/>
                </a:cxn>
                <a:cxn ang="0">
                  <a:pos x="32" y="90"/>
                </a:cxn>
                <a:cxn ang="0">
                  <a:pos x="36" y="95"/>
                </a:cxn>
                <a:cxn ang="0">
                  <a:pos x="41" y="93"/>
                </a:cxn>
                <a:cxn ang="0">
                  <a:pos x="49" y="86"/>
                </a:cxn>
                <a:cxn ang="0">
                  <a:pos x="53" y="84"/>
                </a:cxn>
                <a:cxn ang="0">
                  <a:pos x="56" y="88"/>
                </a:cxn>
                <a:cxn ang="0">
                  <a:pos x="64" y="86"/>
                </a:cxn>
                <a:cxn ang="0">
                  <a:pos x="75" y="71"/>
                </a:cxn>
                <a:cxn ang="0">
                  <a:pos x="81" y="56"/>
                </a:cxn>
                <a:cxn ang="0">
                  <a:pos x="83" y="41"/>
                </a:cxn>
                <a:cxn ang="0">
                  <a:pos x="75" y="34"/>
                </a:cxn>
                <a:cxn ang="0">
                  <a:pos x="56" y="19"/>
                </a:cxn>
                <a:cxn ang="0">
                  <a:pos x="53" y="9"/>
                </a:cxn>
                <a:cxn ang="0">
                  <a:pos x="43" y="0"/>
                </a:cxn>
                <a:cxn ang="0">
                  <a:pos x="36" y="0"/>
                </a:cxn>
                <a:cxn ang="0">
                  <a:pos x="32" y="2"/>
                </a:cxn>
                <a:cxn ang="0">
                  <a:pos x="32" y="15"/>
                </a:cxn>
                <a:cxn ang="0">
                  <a:pos x="40" y="32"/>
                </a:cxn>
                <a:cxn ang="0">
                  <a:pos x="47" y="43"/>
                </a:cxn>
              </a:cxnLst>
              <a:rect l="0" t="0" r="r" b="b"/>
              <a:pathLst>
                <a:path w="84" h="95">
                  <a:moveTo>
                    <a:pt x="30" y="77"/>
                  </a:moveTo>
                  <a:lnTo>
                    <a:pt x="30" y="77"/>
                  </a:lnTo>
                  <a:close/>
                  <a:moveTo>
                    <a:pt x="47" y="43"/>
                  </a:moveTo>
                  <a:lnTo>
                    <a:pt x="47" y="43"/>
                  </a:lnTo>
                  <a:lnTo>
                    <a:pt x="54" y="49"/>
                  </a:lnTo>
                  <a:lnTo>
                    <a:pt x="53" y="47"/>
                  </a:lnTo>
                  <a:lnTo>
                    <a:pt x="47" y="47"/>
                  </a:lnTo>
                  <a:lnTo>
                    <a:pt x="41" y="47"/>
                  </a:lnTo>
                  <a:lnTo>
                    <a:pt x="34" y="47"/>
                  </a:lnTo>
                  <a:lnTo>
                    <a:pt x="28" y="52"/>
                  </a:lnTo>
                  <a:lnTo>
                    <a:pt x="28" y="52"/>
                  </a:lnTo>
                  <a:lnTo>
                    <a:pt x="23" y="54"/>
                  </a:lnTo>
                  <a:lnTo>
                    <a:pt x="17" y="54"/>
                  </a:lnTo>
                  <a:lnTo>
                    <a:pt x="6" y="56"/>
                  </a:lnTo>
                  <a:lnTo>
                    <a:pt x="2" y="56"/>
                  </a:lnTo>
                  <a:lnTo>
                    <a:pt x="0" y="58"/>
                  </a:lnTo>
                  <a:lnTo>
                    <a:pt x="0" y="60"/>
                  </a:lnTo>
                  <a:lnTo>
                    <a:pt x="6" y="64"/>
                  </a:lnTo>
                  <a:lnTo>
                    <a:pt x="6" y="64"/>
                  </a:lnTo>
                  <a:lnTo>
                    <a:pt x="8" y="62"/>
                  </a:lnTo>
                  <a:lnTo>
                    <a:pt x="8" y="62"/>
                  </a:lnTo>
                  <a:lnTo>
                    <a:pt x="12" y="67"/>
                  </a:lnTo>
                  <a:lnTo>
                    <a:pt x="12" y="67"/>
                  </a:lnTo>
                  <a:lnTo>
                    <a:pt x="23" y="75"/>
                  </a:lnTo>
                  <a:lnTo>
                    <a:pt x="23" y="75"/>
                  </a:lnTo>
                  <a:lnTo>
                    <a:pt x="30" y="77"/>
                  </a:lnTo>
                  <a:lnTo>
                    <a:pt x="30" y="77"/>
                  </a:lnTo>
                  <a:lnTo>
                    <a:pt x="30" y="82"/>
                  </a:lnTo>
                  <a:lnTo>
                    <a:pt x="32" y="90"/>
                  </a:lnTo>
                  <a:lnTo>
                    <a:pt x="32" y="90"/>
                  </a:lnTo>
                  <a:lnTo>
                    <a:pt x="34" y="95"/>
                  </a:lnTo>
                  <a:lnTo>
                    <a:pt x="36" y="95"/>
                  </a:lnTo>
                  <a:lnTo>
                    <a:pt x="40" y="95"/>
                  </a:lnTo>
                  <a:lnTo>
                    <a:pt x="41" y="93"/>
                  </a:lnTo>
                  <a:lnTo>
                    <a:pt x="47" y="88"/>
                  </a:lnTo>
                  <a:lnTo>
                    <a:pt x="49" y="86"/>
                  </a:lnTo>
                  <a:lnTo>
                    <a:pt x="53" y="84"/>
                  </a:lnTo>
                  <a:lnTo>
                    <a:pt x="53" y="84"/>
                  </a:lnTo>
                  <a:lnTo>
                    <a:pt x="54" y="86"/>
                  </a:lnTo>
                  <a:lnTo>
                    <a:pt x="56" y="88"/>
                  </a:lnTo>
                  <a:lnTo>
                    <a:pt x="60" y="88"/>
                  </a:lnTo>
                  <a:lnTo>
                    <a:pt x="64" y="86"/>
                  </a:lnTo>
                  <a:lnTo>
                    <a:pt x="68" y="80"/>
                  </a:lnTo>
                  <a:lnTo>
                    <a:pt x="75" y="71"/>
                  </a:lnTo>
                  <a:lnTo>
                    <a:pt x="81" y="56"/>
                  </a:lnTo>
                  <a:lnTo>
                    <a:pt x="81" y="56"/>
                  </a:lnTo>
                  <a:lnTo>
                    <a:pt x="84" y="47"/>
                  </a:lnTo>
                  <a:lnTo>
                    <a:pt x="83" y="41"/>
                  </a:lnTo>
                  <a:lnTo>
                    <a:pt x="79" y="37"/>
                  </a:lnTo>
                  <a:lnTo>
                    <a:pt x="75" y="34"/>
                  </a:lnTo>
                  <a:lnTo>
                    <a:pt x="62" y="24"/>
                  </a:lnTo>
                  <a:lnTo>
                    <a:pt x="56" y="19"/>
                  </a:lnTo>
                  <a:lnTo>
                    <a:pt x="53" y="9"/>
                  </a:lnTo>
                  <a:lnTo>
                    <a:pt x="53" y="9"/>
                  </a:lnTo>
                  <a:lnTo>
                    <a:pt x="49" y="4"/>
                  </a:lnTo>
                  <a:lnTo>
                    <a:pt x="43" y="0"/>
                  </a:lnTo>
                  <a:lnTo>
                    <a:pt x="43" y="0"/>
                  </a:lnTo>
                  <a:lnTo>
                    <a:pt x="36" y="0"/>
                  </a:lnTo>
                  <a:lnTo>
                    <a:pt x="34" y="0"/>
                  </a:lnTo>
                  <a:lnTo>
                    <a:pt x="32" y="2"/>
                  </a:lnTo>
                  <a:lnTo>
                    <a:pt x="32" y="8"/>
                  </a:lnTo>
                  <a:lnTo>
                    <a:pt x="32" y="15"/>
                  </a:lnTo>
                  <a:lnTo>
                    <a:pt x="36" y="22"/>
                  </a:lnTo>
                  <a:lnTo>
                    <a:pt x="40" y="32"/>
                  </a:lnTo>
                  <a:lnTo>
                    <a:pt x="43" y="37"/>
                  </a:lnTo>
                  <a:lnTo>
                    <a:pt x="47" y="43"/>
                  </a:lnTo>
                  <a:lnTo>
                    <a:pt x="47" y="43"/>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4" name="Line 64">
              <a:extLst>
                <a:ext uri="{FF2B5EF4-FFF2-40B4-BE49-F238E27FC236}">
                  <a16:creationId xmlns:a16="http://schemas.microsoft.com/office/drawing/2014/main" id="{1F23842F-6ADC-47A4-A4C1-FAC87AFBB36B}"/>
                </a:ext>
              </a:extLst>
            </p:cNvPr>
            <p:cNvSpPr>
              <a:spLocks noChangeShapeType="1"/>
            </p:cNvSpPr>
            <p:nvPr/>
          </p:nvSpPr>
          <p:spPr bwMode="auto">
            <a:xfrm>
              <a:off x="6192461" y="4352130"/>
              <a:ext cx="1817" cy="1816"/>
            </a:xfrm>
            <a:prstGeom prst="line">
              <a:avLst/>
            </a:pr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5" name="Freeform 65">
              <a:extLst>
                <a:ext uri="{FF2B5EF4-FFF2-40B4-BE49-F238E27FC236}">
                  <a16:creationId xmlns:a16="http://schemas.microsoft.com/office/drawing/2014/main" id="{D01E7005-709D-41C3-956E-7F8BCD5EB244}"/>
                </a:ext>
              </a:extLst>
            </p:cNvPr>
            <p:cNvSpPr>
              <a:spLocks/>
            </p:cNvSpPr>
            <p:nvPr/>
          </p:nvSpPr>
          <p:spPr bwMode="auto">
            <a:xfrm>
              <a:off x="6165212" y="4283097"/>
              <a:ext cx="76300" cy="85383"/>
            </a:xfrm>
            <a:custGeom>
              <a:avLst/>
              <a:gdLst/>
              <a:ahLst/>
              <a:cxnLst>
                <a:cxn ang="0">
                  <a:pos x="47" y="43"/>
                </a:cxn>
                <a:cxn ang="0">
                  <a:pos x="53" y="47"/>
                </a:cxn>
                <a:cxn ang="0">
                  <a:pos x="41" y="47"/>
                </a:cxn>
                <a:cxn ang="0">
                  <a:pos x="28" y="52"/>
                </a:cxn>
                <a:cxn ang="0">
                  <a:pos x="23" y="54"/>
                </a:cxn>
                <a:cxn ang="0">
                  <a:pos x="6" y="56"/>
                </a:cxn>
                <a:cxn ang="0">
                  <a:pos x="0" y="58"/>
                </a:cxn>
                <a:cxn ang="0">
                  <a:pos x="6" y="64"/>
                </a:cxn>
                <a:cxn ang="0">
                  <a:pos x="8" y="62"/>
                </a:cxn>
                <a:cxn ang="0">
                  <a:pos x="12" y="67"/>
                </a:cxn>
                <a:cxn ang="0">
                  <a:pos x="23" y="75"/>
                </a:cxn>
                <a:cxn ang="0">
                  <a:pos x="30" y="77"/>
                </a:cxn>
                <a:cxn ang="0">
                  <a:pos x="30" y="82"/>
                </a:cxn>
                <a:cxn ang="0">
                  <a:pos x="32" y="90"/>
                </a:cxn>
                <a:cxn ang="0">
                  <a:pos x="36" y="95"/>
                </a:cxn>
                <a:cxn ang="0">
                  <a:pos x="41" y="93"/>
                </a:cxn>
                <a:cxn ang="0">
                  <a:pos x="49" y="86"/>
                </a:cxn>
                <a:cxn ang="0">
                  <a:pos x="53" y="84"/>
                </a:cxn>
                <a:cxn ang="0">
                  <a:pos x="56" y="88"/>
                </a:cxn>
                <a:cxn ang="0">
                  <a:pos x="64" y="86"/>
                </a:cxn>
                <a:cxn ang="0">
                  <a:pos x="75" y="71"/>
                </a:cxn>
                <a:cxn ang="0">
                  <a:pos x="81" y="56"/>
                </a:cxn>
                <a:cxn ang="0">
                  <a:pos x="83" y="41"/>
                </a:cxn>
                <a:cxn ang="0">
                  <a:pos x="75" y="34"/>
                </a:cxn>
                <a:cxn ang="0">
                  <a:pos x="56" y="19"/>
                </a:cxn>
                <a:cxn ang="0">
                  <a:pos x="53" y="9"/>
                </a:cxn>
                <a:cxn ang="0">
                  <a:pos x="43" y="0"/>
                </a:cxn>
                <a:cxn ang="0">
                  <a:pos x="36" y="0"/>
                </a:cxn>
                <a:cxn ang="0">
                  <a:pos x="32" y="2"/>
                </a:cxn>
                <a:cxn ang="0">
                  <a:pos x="32" y="15"/>
                </a:cxn>
                <a:cxn ang="0">
                  <a:pos x="40" y="32"/>
                </a:cxn>
                <a:cxn ang="0">
                  <a:pos x="47" y="43"/>
                </a:cxn>
              </a:cxnLst>
              <a:rect l="0" t="0" r="r" b="b"/>
              <a:pathLst>
                <a:path w="84" h="95">
                  <a:moveTo>
                    <a:pt x="47" y="43"/>
                  </a:moveTo>
                  <a:lnTo>
                    <a:pt x="47" y="43"/>
                  </a:lnTo>
                  <a:lnTo>
                    <a:pt x="54" y="49"/>
                  </a:lnTo>
                  <a:lnTo>
                    <a:pt x="53" y="47"/>
                  </a:lnTo>
                  <a:lnTo>
                    <a:pt x="47" y="47"/>
                  </a:lnTo>
                  <a:lnTo>
                    <a:pt x="41" y="47"/>
                  </a:lnTo>
                  <a:lnTo>
                    <a:pt x="34" y="47"/>
                  </a:lnTo>
                  <a:lnTo>
                    <a:pt x="28" y="52"/>
                  </a:lnTo>
                  <a:lnTo>
                    <a:pt x="28" y="52"/>
                  </a:lnTo>
                  <a:lnTo>
                    <a:pt x="23" y="54"/>
                  </a:lnTo>
                  <a:lnTo>
                    <a:pt x="17" y="54"/>
                  </a:lnTo>
                  <a:lnTo>
                    <a:pt x="6" y="56"/>
                  </a:lnTo>
                  <a:lnTo>
                    <a:pt x="2" y="56"/>
                  </a:lnTo>
                  <a:lnTo>
                    <a:pt x="0" y="58"/>
                  </a:lnTo>
                  <a:lnTo>
                    <a:pt x="0" y="60"/>
                  </a:lnTo>
                  <a:lnTo>
                    <a:pt x="6" y="64"/>
                  </a:lnTo>
                  <a:lnTo>
                    <a:pt x="6" y="64"/>
                  </a:lnTo>
                  <a:lnTo>
                    <a:pt x="8" y="62"/>
                  </a:lnTo>
                  <a:lnTo>
                    <a:pt x="8" y="62"/>
                  </a:lnTo>
                  <a:lnTo>
                    <a:pt x="12" y="67"/>
                  </a:lnTo>
                  <a:lnTo>
                    <a:pt x="12" y="67"/>
                  </a:lnTo>
                  <a:lnTo>
                    <a:pt x="23" y="75"/>
                  </a:lnTo>
                  <a:lnTo>
                    <a:pt x="23" y="75"/>
                  </a:lnTo>
                  <a:lnTo>
                    <a:pt x="30" y="77"/>
                  </a:lnTo>
                  <a:lnTo>
                    <a:pt x="30" y="77"/>
                  </a:lnTo>
                  <a:lnTo>
                    <a:pt x="30" y="82"/>
                  </a:lnTo>
                  <a:lnTo>
                    <a:pt x="32" y="90"/>
                  </a:lnTo>
                  <a:lnTo>
                    <a:pt x="32" y="90"/>
                  </a:lnTo>
                  <a:lnTo>
                    <a:pt x="34" y="95"/>
                  </a:lnTo>
                  <a:lnTo>
                    <a:pt x="36" y="95"/>
                  </a:lnTo>
                  <a:lnTo>
                    <a:pt x="40" y="95"/>
                  </a:lnTo>
                  <a:lnTo>
                    <a:pt x="41" y="93"/>
                  </a:lnTo>
                  <a:lnTo>
                    <a:pt x="47" y="88"/>
                  </a:lnTo>
                  <a:lnTo>
                    <a:pt x="49" y="86"/>
                  </a:lnTo>
                  <a:lnTo>
                    <a:pt x="53" y="84"/>
                  </a:lnTo>
                  <a:lnTo>
                    <a:pt x="53" y="84"/>
                  </a:lnTo>
                  <a:lnTo>
                    <a:pt x="54" y="86"/>
                  </a:lnTo>
                  <a:lnTo>
                    <a:pt x="56" y="88"/>
                  </a:lnTo>
                  <a:lnTo>
                    <a:pt x="60" y="88"/>
                  </a:lnTo>
                  <a:lnTo>
                    <a:pt x="64" y="86"/>
                  </a:lnTo>
                  <a:lnTo>
                    <a:pt x="68" y="80"/>
                  </a:lnTo>
                  <a:lnTo>
                    <a:pt x="75" y="71"/>
                  </a:lnTo>
                  <a:lnTo>
                    <a:pt x="81" y="56"/>
                  </a:lnTo>
                  <a:lnTo>
                    <a:pt x="81" y="56"/>
                  </a:lnTo>
                  <a:lnTo>
                    <a:pt x="84" y="47"/>
                  </a:lnTo>
                  <a:lnTo>
                    <a:pt x="83" y="41"/>
                  </a:lnTo>
                  <a:lnTo>
                    <a:pt x="79" y="37"/>
                  </a:lnTo>
                  <a:lnTo>
                    <a:pt x="75" y="34"/>
                  </a:lnTo>
                  <a:lnTo>
                    <a:pt x="62" y="24"/>
                  </a:lnTo>
                  <a:lnTo>
                    <a:pt x="56" y="19"/>
                  </a:lnTo>
                  <a:lnTo>
                    <a:pt x="53" y="9"/>
                  </a:lnTo>
                  <a:lnTo>
                    <a:pt x="53" y="9"/>
                  </a:lnTo>
                  <a:lnTo>
                    <a:pt x="49" y="4"/>
                  </a:lnTo>
                  <a:lnTo>
                    <a:pt x="43" y="0"/>
                  </a:lnTo>
                  <a:lnTo>
                    <a:pt x="43" y="0"/>
                  </a:lnTo>
                  <a:lnTo>
                    <a:pt x="36" y="0"/>
                  </a:lnTo>
                  <a:lnTo>
                    <a:pt x="34" y="0"/>
                  </a:lnTo>
                  <a:lnTo>
                    <a:pt x="32" y="2"/>
                  </a:lnTo>
                  <a:lnTo>
                    <a:pt x="32" y="8"/>
                  </a:lnTo>
                  <a:lnTo>
                    <a:pt x="32" y="15"/>
                  </a:lnTo>
                  <a:lnTo>
                    <a:pt x="36" y="22"/>
                  </a:lnTo>
                  <a:lnTo>
                    <a:pt x="40" y="32"/>
                  </a:lnTo>
                  <a:lnTo>
                    <a:pt x="43" y="37"/>
                  </a:lnTo>
                  <a:lnTo>
                    <a:pt x="47" y="43"/>
                  </a:lnTo>
                  <a:lnTo>
                    <a:pt x="47" y="43"/>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6" name="Freeform 66">
              <a:extLst>
                <a:ext uri="{FF2B5EF4-FFF2-40B4-BE49-F238E27FC236}">
                  <a16:creationId xmlns:a16="http://schemas.microsoft.com/office/drawing/2014/main" id="{EC6243C5-1C00-4DEF-8618-7EE1D9CBB0F0}"/>
                </a:ext>
              </a:extLst>
            </p:cNvPr>
            <p:cNvSpPr>
              <a:spLocks/>
            </p:cNvSpPr>
            <p:nvPr/>
          </p:nvSpPr>
          <p:spPr bwMode="auto">
            <a:xfrm>
              <a:off x="5107915" y="6094310"/>
              <a:ext cx="292483" cy="252515"/>
            </a:xfrm>
            <a:custGeom>
              <a:avLst/>
              <a:gdLst/>
              <a:ahLst/>
              <a:cxnLst>
                <a:cxn ang="0">
                  <a:pos x="75" y="46"/>
                </a:cxn>
                <a:cxn ang="0">
                  <a:pos x="73" y="58"/>
                </a:cxn>
                <a:cxn ang="0">
                  <a:pos x="75" y="59"/>
                </a:cxn>
                <a:cxn ang="0">
                  <a:pos x="37" y="87"/>
                </a:cxn>
                <a:cxn ang="0">
                  <a:pos x="4" y="112"/>
                </a:cxn>
                <a:cxn ang="0">
                  <a:pos x="0" y="121"/>
                </a:cxn>
                <a:cxn ang="0">
                  <a:pos x="0" y="142"/>
                </a:cxn>
                <a:cxn ang="0">
                  <a:pos x="0" y="158"/>
                </a:cxn>
                <a:cxn ang="0">
                  <a:pos x="4" y="185"/>
                </a:cxn>
                <a:cxn ang="0">
                  <a:pos x="6" y="203"/>
                </a:cxn>
                <a:cxn ang="0">
                  <a:pos x="6" y="213"/>
                </a:cxn>
                <a:cxn ang="0">
                  <a:pos x="11" y="228"/>
                </a:cxn>
                <a:cxn ang="0">
                  <a:pos x="24" y="237"/>
                </a:cxn>
                <a:cxn ang="0">
                  <a:pos x="49" y="246"/>
                </a:cxn>
                <a:cxn ang="0">
                  <a:pos x="101" y="259"/>
                </a:cxn>
                <a:cxn ang="0">
                  <a:pos x="112" y="267"/>
                </a:cxn>
                <a:cxn ang="0">
                  <a:pos x="120" y="272"/>
                </a:cxn>
                <a:cxn ang="0">
                  <a:pos x="131" y="276"/>
                </a:cxn>
                <a:cxn ang="0">
                  <a:pos x="138" y="272"/>
                </a:cxn>
                <a:cxn ang="0">
                  <a:pos x="148" y="261"/>
                </a:cxn>
                <a:cxn ang="0">
                  <a:pos x="159" y="244"/>
                </a:cxn>
                <a:cxn ang="0">
                  <a:pos x="168" y="239"/>
                </a:cxn>
                <a:cxn ang="0">
                  <a:pos x="181" y="243"/>
                </a:cxn>
                <a:cxn ang="0">
                  <a:pos x="187" y="243"/>
                </a:cxn>
                <a:cxn ang="0">
                  <a:pos x="196" y="235"/>
                </a:cxn>
                <a:cxn ang="0">
                  <a:pos x="207" y="220"/>
                </a:cxn>
                <a:cxn ang="0">
                  <a:pos x="226" y="207"/>
                </a:cxn>
                <a:cxn ang="0">
                  <a:pos x="241" y="201"/>
                </a:cxn>
                <a:cxn ang="0">
                  <a:pos x="247" y="186"/>
                </a:cxn>
                <a:cxn ang="0">
                  <a:pos x="273" y="115"/>
                </a:cxn>
                <a:cxn ang="0">
                  <a:pos x="288" y="93"/>
                </a:cxn>
                <a:cxn ang="0">
                  <a:pos x="293" y="87"/>
                </a:cxn>
                <a:cxn ang="0">
                  <a:pos x="297" y="76"/>
                </a:cxn>
                <a:cxn ang="0">
                  <a:pos x="299" y="72"/>
                </a:cxn>
                <a:cxn ang="0">
                  <a:pos x="310" y="71"/>
                </a:cxn>
                <a:cxn ang="0">
                  <a:pos x="320" y="61"/>
                </a:cxn>
                <a:cxn ang="0">
                  <a:pos x="321" y="46"/>
                </a:cxn>
                <a:cxn ang="0">
                  <a:pos x="312" y="20"/>
                </a:cxn>
                <a:cxn ang="0">
                  <a:pos x="310" y="15"/>
                </a:cxn>
                <a:cxn ang="0">
                  <a:pos x="305" y="15"/>
                </a:cxn>
                <a:cxn ang="0">
                  <a:pos x="299" y="13"/>
                </a:cxn>
                <a:cxn ang="0">
                  <a:pos x="282" y="1"/>
                </a:cxn>
                <a:cxn ang="0">
                  <a:pos x="271" y="0"/>
                </a:cxn>
                <a:cxn ang="0">
                  <a:pos x="260" y="7"/>
                </a:cxn>
                <a:cxn ang="0">
                  <a:pos x="256" y="11"/>
                </a:cxn>
                <a:cxn ang="0">
                  <a:pos x="245" y="13"/>
                </a:cxn>
                <a:cxn ang="0">
                  <a:pos x="222" y="7"/>
                </a:cxn>
                <a:cxn ang="0">
                  <a:pos x="206" y="9"/>
                </a:cxn>
                <a:cxn ang="0">
                  <a:pos x="191" y="16"/>
                </a:cxn>
                <a:cxn ang="0">
                  <a:pos x="176" y="18"/>
                </a:cxn>
                <a:cxn ang="0">
                  <a:pos x="174" y="18"/>
                </a:cxn>
                <a:cxn ang="0">
                  <a:pos x="161" y="22"/>
                </a:cxn>
                <a:cxn ang="0">
                  <a:pos x="140" y="18"/>
                </a:cxn>
                <a:cxn ang="0">
                  <a:pos x="127" y="22"/>
                </a:cxn>
                <a:cxn ang="0">
                  <a:pos x="120" y="28"/>
                </a:cxn>
                <a:cxn ang="0">
                  <a:pos x="108" y="33"/>
                </a:cxn>
                <a:cxn ang="0">
                  <a:pos x="90" y="31"/>
                </a:cxn>
                <a:cxn ang="0">
                  <a:pos x="79" y="39"/>
                </a:cxn>
                <a:cxn ang="0">
                  <a:pos x="75" y="46"/>
                </a:cxn>
              </a:cxnLst>
              <a:rect l="0" t="0" r="r" b="b"/>
              <a:pathLst>
                <a:path w="321" h="276">
                  <a:moveTo>
                    <a:pt x="75" y="46"/>
                  </a:moveTo>
                  <a:lnTo>
                    <a:pt x="75" y="46"/>
                  </a:lnTo>
                  <a:lnTo>
                    <a:pt x="73" y="54"/>
                  </a:lnTo>
                  <a:lnTo>
                    <a:pt x="73" y="58"/>
                  </a:lnTo>
                  <a:lnTo>
                    <a:pt x="75" y="59"/>
                  </a:lnTo>
                  <a:lnTo>
                    <a:pt x="75" y="59"/>
                  </a:lnTo>
                  <a:lnTo>
                    <a:pt x="37" y="87"/>
                  </a:lnTo>
                  <a:lnTo>
                    <a:pt x="37" y="87"/>
                  </a:lnTo>
                  <a:lnTo>
                    <a:pt x="11" y="106"/>
                  </a:lnTo>
                  <a:lnTo>
                    <a:pt x="4" y="112"/>
                  </a:lnTo>
                  <a:lnTo>
                    <a:pt x="2" y="115"/>
                  </a:lnTo>
                  <a:lnTo>
                    <a:pt x="0" y="121"/>
                  </a:lnTo>
                  <a:lnTo>
                    <a:pt x="0" y="129"/>
                  </a:lnTo>
                  <a:lnTo>
                    <a:pt x="0" y="142"/>
                  </a:lnTo>
                  <a:lnTo>
                    <a:pt x="0" y="158"/>
                  </a:lnTo>
                  <a:lnTo>
                    <a:pt x="0" y="158"/>
                  </a:lnTo>
                  <a:lnTo>
                    <a:pt x="0" y="173"/>
                  </a:lnTo>
                  <a:lnTo>
                    <a:pt x="4" y="185"/>
                  </a:lnTo>
                  <a:lnTo>
                    <a:pt x="6" y="194"/>
                  </a:lnTo>
                  <a:lnTo>
                    <a:pt x="6" y="203"/>
                  </a:lnTo>
                  <a:lnTo>
                    <a:pt x="6" y="203"/>
                  </a:lnTo>
                  <a:lnTo>
                    <a:pt x="6" y="213"/>
                  </a:lnTo>
                  <a:lnTo>
                    <a:pt x="7" y="220"/>
                  </a:lnTo>
                  <a:lnTo>
                    <a:pt x="11" y="228"/>
                  </a:lnTo>
                  <a:lnTo>
                    <a:pt x="17" y="233"/>
                  </a:lnTo>
                  <a:lnTo>
                    <a:pt x="24" y="237"/>
                  </a:lnTo>
                  <a:lnTo>
                    <a:pt x="32" y="241"/>
                  </a:lnTo>
                  <a:lnTo>
                    <a:pt x="49" y="246"/>
                  </a:lnTo>
                  <a:lnTo>
                    <a:pt x="86" y="256"/>
                  </a:lnTo>
                  <a:lnTo>
                    <a:pt x="101" y="259"/>
                  </a:lnTo>
                  <a:lnTo>
                    <a:pt x="108" y="263"/>
                  </a:lnTo>
                  <a:lnTo>
                    <a:pt x="112" y="267"/>
                  </a:lnTo>
                  <a:lnTo>
                    <a:pt x="112" y="267"/>
                  </a:lnTo>
                  <a:lnTo>
                    <a:pt x="120" y="272"/>
                  </a:lnTo>
                  <a:lnTo>
                    <a:pt x="125" y="274"/>
                  </a:lnTo>
                  <a:lnTo>
                    <a:pt x="131" y="276"/>
                  </a:lnTo>
                  <a:lnTo>
                    <a:pt x="135" y="274"/>
                  </a:lnTo>
                  <a:lnTo>
                    <a:pt x="138" y="272"/>
                  </a:lnTo>
                  <a:lnTo>
                    <a:pt x="142" y="271"/>
                  </a:lnTo>
                  <a:lnTo>
                    <a:pt x="148" y="261"/>
                  </a:lnTo>
                  <a:lnTo>
                    <a:pt x="153" y="252"/>
                  </a:lnTo>
                  <a:lnTo>
                    <a:pt x="159" y="244"/>
                  </a:lnTo>
                  <a:lnTo>
                    <a:pt x="163" y="241"/>
                  </a:lnTo>
                  <a:lnTo>
                    <a:pt x="168" y="239"/>
                  </a:lnTo>
                  <a:lnTo>
                    <a:pt x="174" y="241"/>
                  </a:lnTo>
                  <a:lnTo>
                    <a:pt x="181" y="243"/>
                  </a:lnTo>
                  <a:lnTo>
                    <a:pt x="181" y="243"/>
                  </a:lnTo>
                  <a:lnTo>
                    <a:pt x="187" y="243"/>
                  </a:lnTo>
                  <a:lnTo>
                    <a:pt x="193" y="241"/>
                  </a:lnTo>
                  <a:lnTo>
                    <a:pt x="196" y="235"/>
                  </a:lnTo>
                  <a:lnTo>
                    <a:pt x="202" y="228"/>
                  </a:lnTo>
                  <a:lnTo>
                    <a:pt x="207" y="220"/>
                  </a:lnTo>
                  <a:lnTo>
                    <a:pt x="215" y="213"/>
                  </a:lnTo>
                  <a:lnTo>
                    <a:pt x="226" y="207"/>
                  </a:lnTo>
                  <a:lnTo>
                    <a:pt x="241" y="201"/>
                  </a:lnTo>
                  <a:lnTo>
                    <a:pt x="241" y="201"/>
                  </a:lnTo>
                  <a:lnTo>
                    <a:pt x="243" y="198"/>
                  </a:lnTo>
                  <a:lnTo>
                    <a:pt x="247" y="186"/>
                  </a:lnTo>
                  <a:lnTo>
                    <a:pt x="258" y="153"/>
                  </a:lnTo>
                  <a:lnTo>
                    <a:pt x="273" y="115"/>
                  </a:lnTo>
                  <a:lnTo>
                    <a:pt x="280" y="102"/>
                  </a:lnTo>
                  <a:lnTo>
                    <a:pt x="288" y="93"/>
                  </a:lnTo>
                  <a:lnTo>
                    <a:pt x="288" y="93"/>
                  </a:lnTo>
                  <a:lnTo>
                    <a:pt x="293" y="87"/>
                  </a:lnTo>
                  <a:lnTo>
                    <a:pt x="295" y="82"/>
                  </a:lnTo>
                  <a:lnTo>
                    <a:pt x="297" y="76"/>
                  </a:lnTo>
                  <a:lnTo>
                    <a:pt x="297" y="74"/>
                  </a:lnTo>
                  <a:lnTo>
                    <a:pt x="299" y="72"/>
                  </a:lnTo>
                  <a:lnTo>
                    <a:pt x="310" y="71"/>
                  </a:lnTo>
                  <a:lnTo>
                    <a:pt x="310" y="71"/>
                  </a:lnTo>
                  <a:lnTo>
                    <a:pt x="318" y="67"/>
                  </a:lnTo>
                  <a:lnTo>
                    <a:pt x="320" y="61"/>
                  </a:lnTo>
                  <a:lnTo>
                    <a:pt x="321" y="54"/>
                  </a:lnTo>
                  <a:lnTo>
                    <a:pt x="321" y="46"/>
                  </a:lnTo>
                  <a:lnTo>
                    <a:pt x="316" y="28"/>
                  </a:lnTo>
                  <a:lnTo>
                    <a:pt x="312" y="20"/>
                  </a:lnTo>
                  <a:lnTo>
                    <a:pt x="310" y="15"/>
                  </a:lnTo>
                  <a:lnTo>
                    <a:pt x="310" y="15"/>
                  </a:lnTo>
                  <a:lnTo>
                    <a:pt x="308" y="15"/>
                  </a:lnTo>
                  <a:lnTo>
                    <a:pt x="305" y="15"/>
                  </a:lnTo>
                  <a:lnTo>
                    <a:pt x="305" y="15"/>
                  </a:lnTo>
                  <a:lnTo>
                    <a:pt x="299" y="13"/>
                  </a:lnTo>
                  <a:lnTo>
                    <a:pt x="293" y="11"/>
                  </a:lnTo>
                  <a:lnTo>
                    <a:pt x="282" y="1"/>
                  </a:lnTo>
                  <a:lnTo>
                    <a:pt x="277" y="0"/>
                  </a:lnTo>
                  <a:lnTo>
                    <a:pt x="271" y="0"/>
                  </a:lnTo>
                  <a:lnTo>
                    <a:pt x="265" y="1"/>
                  </a:lnTo>
                  <a:lnTo>
                    <a:pt x="260" y="7"/>
                  </a:lnTo>
                  <a:lnTo>
                    <a:pt x="260" y="7"/>
                  </a:lnTo>
                  <a:lnTo>
                    <a:pt x="256" y="11"/>
                  </a:lnTo>
                  <a:lnTo>
                    <a:pt x="250" y="13"/>
                  </a:lnTo>
                  <a:lnTo>
                    <a:pt x="245" y="13"/>
                  </a:lnTo>
                  <a:lnTo>
                    <a:pt x="237" y="9"/>
                  </a:lnTo>
                  <a:lnTo>
                    <a:pt x="222" y="7"/>
                  </a:lnTo>
                  <a:lnTo>
                    <a:pt x="213" y="7"/>
                  </a:lnTo>
                  <a:lnTo>
                    <a:pt x="206" y="9"/>
                  </a:lnTo>
                  <a:lnTo>
                    <a:pt x="206" y="9"/>
                  </a:lnTo>
                  <a:lnTo>
                    <a:pt x="191" y="16"/>
                  </a:lnTo>
                  <a:lnTo>
                    <a:pt x="181" y="18"/>
                  </a:lnTo>
                  <a:lnTo>
                    <a:pt x="176" y="18"/>
                  </a:lnTo>
                  <a:lnTo>
                    <a:pt x="174" y="18"/>
                  </a:lnTo>
                  <a:lnTo>
                    <a:pt x="174" y="18"/>
                  </a:lnTo>
                  <a:lnTo>
                    <a:pt x="166" y="20"/>
                  </a:lnTo>
                  <a:lnTo>
                    <a:pt x="161" y="22"/>
                  </a:lnTo>
                  <a:lnTo>
                    <a:pt x="148" y="20"/>
                  </a:lnTo>
                  <a:lnTo>
                    <a:pt x="140" y="18"/>
                  </a:lnTo>
                  <a:lnTo>
                    <a:pt x="135" y="18"/>
                  </a:lnTo>
                  <a:lnTo>
                    <a:pt x="127" y="22"/>
                  </a:lnTo>
                  <a:lnTo>
                    <a:pt x="120" y="28"/>
                  </a:lnTo>
                  <a:lnTo>
                    <a:pt x="120" y="28"/>
                  </a:lnTo>
                  <a:lnTo>
                    <a:pt x="116" y="31"/>
                  </a:lnTo>
                  <a:lnTo>
                    <a:pt x="108" y="33"/>
                  </a:lnTo>
                  <a:lnTo>
                    <a:pt x="95" y="31"/>
                  </a:lnTo>
                  <a:lnTo>
                    <a:pt x="90" y="31"/>
                  </a:lnTo>
                  <a:lnTo>
                    <a:pt x="82" y="33"/>
                  </a:lnTo>
                  <a:lnTo>
                    <a:pt x="79" y="39"/>
                  </a:lnTo>
                  <a:lnTo>
                    <a:pt x="75" y="46"/>
                  </a:lnTo>
                  <a:lnTo>
                    <a:pt x="75" y="46"/>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7" name="Freeform 67">
              <a:extLst>
                <a:ext uri="{FF2B5EF4-FFF2-40B4-BE49-F238E27FC236}">
                  <a16:creationId xmlns:a16="http://schemas.microsoft.com/office/drawing/2014/main" id="{77DB5E6D-5FCB-456F-9385-7FAF09DE87C8}"/>
                </a:ext>
              </a:extLst>
            </p:cNvPr>
            <p:cNvSpPr>
              <a:spLocks noEditPoints="1"/>
            </p:cNvSpPr>
            <p:nvPr/>
          </p:nvSpPr>
          <p:spPr bwMode="auto">
            <a:xfrm>
              <a:off x="4739132" y="4501097"/>
              <a:ext cx="557716" cy="530465"/>
            </a:xfrm>
            <a:custGeom>
              <a:avLst/>
              <a:gdLst/>
              <a:ahLst/>
              <a:cxnLst>
                <a:cxn ang="0">
                  <a:pos x="428" y="357"/>
                </a:cxn>
                <a:cxn ang="0">
                  <a:pos x="415" y="348"/>
                </a:cxn>
                <a:cxn ang="0">
                  <a:pos x="399" y="344"/>
                </a:cxn>
                <a:cxn ang="0">
                  <a:pos x="413" y="305"/>
                </a:cxn>
                <a:cxn ang="0">
                  <a:pos x="397" y="264"/>
                </a:cxn>
                <a:cxn ang="0">
                  <a:pos x="419" y="247"/>
                </a:cxn>
                <a:cxn ang="0">
                  <a:pos x="458" y="237"/>
                </a:cxn>
                <a:cxn ang="0">
                  <a:pos x="479" y="237"/>
                </a:cxn>
                <a:cxn ang="0">
                  <a:pos x="524" y="236"/>
                </a:cxn>
                <a:cxn ang="0">
                  <a:pos x="574" y="196"/>
                </a:cxn>
                <a:cxn ang="0">
                  <a:pos x="604" y="189"/>
                </a:cxn>
                <a:cxn ang="0">
                  <a:pos x="613" y="148"/>
                </a:cxn>
                <a:cxn ang="0">
                  <a:pos x="574" y="97"/>
                </a:cxn>
                <a:cxn ang="0">
                  <a:pos x="563" y="92"/>
                </a:cxn>
                <a:cxn ang="0">
                  <a:pos x="546" y="75"/>
                </a:cxn>
                <a:cxn ang="0">
                  <a:pos x="494" y="64"/>
                </a:cxn>
                <a:cxn ang="0">
                  <a:pos x="464" y="39"/>
                </a:cxn>
                <a:cxn ang="0">
                  <a:pos x="436" y="17"/>
                </a:cxn>
                <a:cxn ang="0">
                  <a:pos x="400" y="26"/>
                </a:cxn>
                <a:cxn ang="0">
                  <a:pos x="384" y="41"/>
                </a:cxn>
                <a:cxn ang="0">
                  <a:pos x="410" y="71"/>
                </a:cxn>
                <a:cxn ang="0">
                  <a:pos x="391" y="93"/>
                </a:cxn>
                <a:cxn ang="0">
                  <a:pos x="331" y="196"/>
                </a:cxn>
                <a:cxn ang="0">
                  <a:pos x="298" y="196"/>
                </a:cxn>
                <a:cxn ang="0">
                  <a:pos x="275" y="234"/>
                </a:cxn>
                <a:cxn ang="0">
                  <a:pos x="223" y="307"/>
                </a:cxn>
                <a:cxn ang="0">
                  <a:pos x="185" y="297"/>
                </a:cxn>
                <a:cxn ang="0">
                  <a:pos x="157" y="267"/>
                </a:cxn>
                <a:cxn ang="0">
                  <a:pos x="131" y="280"/>
                </a:cxn>
                <a:cxn ang="0">
                  <a:pos x="77" y="252"/>
                </a:cxn>
                <a:cxn ang="0">
                  <a:pos x="49" y="284"/>
                </a:cxn>
                <a:cxn ang="0">
                  <a:pos x="66" y="316"/>
                </a:cxn>
                <a:cxn ang="0">
                  <a:pos x="21" y="355"/>
                </a:cxn>
                <a:cxn ang="0">
                  <a:pos x="47" y="413"/>
                </a:cxn>
                <a:cxn ang="0">
                  <a:pos x="64" y="454"/>
                </a:cxn>
                <a:cxn ang="0">
                  <a:pos x="118" y="473"/>
                </a:cxn>
                <a:cxn ang="0">
                  <a:pos x="129" y="520"/>
                </a:cxn>
                <a:cxn ang="0">
                  <a:pos x="150" y="518"/>
                </a:cxn>
                <a:cxn ang="0">
                  <a:pos x="156" y="488"/>
                </a:cxn>
                <a:cxn ang="0">
                  <a:pos x="169" y="527"/>
                </a:cxn>
                <a:cxn ang="0">
                  <a:pos x="193" y="508"/>
                </a:cxn>
                <a:cxn ang="0">
                  <a:pos x="197" y="490"/>
                </a:cxn>
                <a:cxn ang="0">
                  <a:pos x="225" y="475"/>
                </a:cxn>
                <a:cxn ang="0">
                  <a:pos x="260" y="477"/>
                </a:cxn>
                <a:cxn ang="0">
                  <a:pos x="262" y="445"/>
                </a:cxn>
                <a:cxn ang="0">
                  <a:pos x="290" y="437"/>
                </a:cxn>
                <a:cxn ang="0">
                  <a:pos x="320" y="465"/>
                </a:cxn>
                <a:cxn ang="0">
                  <a:pos x="357" y="460"/>
                </a:cxn>
                <a:cxn ang="0">
                  <a:pos x="380" y="467"/>
                </a:cxn>
                <a:cxn ang="0">
                  <a:pos x="399" y="514"/>
                </a:cxn>
                <a:cxn ang="0">
                  <a:pos x="413" y="553"/>
                </a:cxn>
                <a:cxn ang="0">
                  <a:pos x="428" y="540"/>
                </a:cxn>
                <a:cxn ang="0">
                  <a:pos x="451" y="574"/>
                </a:cxn>
                <a:cxn ang="0">
                  <a:pos x="475" y="572"/>
                </a:cxn>
                <a:cxn ang="0">
                  <a:pos x="494" y="544"/>
                </a:cxn>
                <a:cxn ang="0">
                  <a:pos x="494" y="523"/>
                </a:cxn>
                <a:cxn ang="0">
                  <a:pos x="499" y="503"/>
                </a:cxn>
                <a:cxn ang="0">
                  <a:pos x="494" y="482"/>
                </a:cxn>
                <a:cxn ang="0">
                  <a:pos x="494" y="447"/>
                </a:cxn>
                <a:cxn ang="0">
                  <a:pos x="481" y="424"/>
                </a:cxn>
                <a:cxn ang="0">
                  <a:pos x="458" y="404"/>
                </a:cxn>
                <a:cxn ang="0">
                  <a:pos x="432" y="364"/>
                </a:cxn>
              </a:cxnLst>
              <a:rect l="0" t="0" r="r" b="b"/>
              <a:pathLst>
                <a:path w="613" h="585">
                  <a:moveTo>
                    <a:pt x="400" y="26"/>
                  </a:moveTo>
                  <a:lnTo>
                    <a:pt x="400" y="26"/>
                  </a:lnTo>
                  <a:close/>
                  <a:moveTo>
                    <a:pt x="432" y="364"/>
                  </a:moveTo>
                  <a:lnTo>
                    <a:pt x="432" y="364"/>
                  </a:lnTo>
                  <a:lnTo>
                    <a:pt x="430" y="361"/>
                  </a:lnTo>
                  <a:lnTo>
                    <a:pt x="428" y="357"/>
                  </a:lnTo>
                  <a:lnTo>
                    <a:pt x="425" y="348"/>
                  </a:lnTo>
                  <a:lnTo>
                    <a:pt x="423" y="346"/>
                  </a:lnTo>
                  <a:lnTo>
                    <a:pt x="421" y="344"/>
                  </a:lnTo>
                  <a:lnTo>
                    <a:pt x="419" y="344"/>
                  </a:lnTo>
                  <a:lnTo>
                    <a:pt x="415" y="348"/>
                  </a:lnTo>
                  <a:lnTo>
                    <a:pt x="415" y="348"/>
                  </a:lnTo>
                  <a:lnTo>
                    <a:pt x="410" y="353"/>
                  </a:lnTo>
                  <a:lnTo>
                    <a:pt x="406" y="355"/>
                  </a:lnTo>
                  <a:lnTo>
                    <a:pt x="402" y="355"/>
                  </a:lnTo>
                  <a:lnTo>
                    <a:pt x="400" y="353"/>
                  </a:lnTo>
                  <a:lnTo>
                    <a:pt x="399" y="349"/>
                  </a:lnTo>
                  <a:lnTo>
                    <a:pt x="399" y="344"/>
                  </a:lnTo>
                  <a:lnTo>
                    <a:pt x="400" y="338"/>
                  </a:lnTo>
                  <a:lnTo>
                    <a:pt x="406" y="331"/>
                  </a:lnTo>
                  <a:lnTo>
                    <a:pt x="406" y="331"/>
                  </a:lnTo>
                  <a:lnTo>
                    <a:pt x="410" y="327"/>
                  </a:lnTo>
                  <a:lnTo>
                    <a:pt x="412" y="320"/>
                  </a:lnTo>
                  <a:lnTo>
                    <a:pt x="413" y="305"/>
                  </a:lnTo>
                  <a:lnTo>
                    <a:pt x="413" y="290"/>
                  </a:lnTo>
                  <a:lnTo>
                    <a:pt x="412" y="284"/>
                  </a:lnTo>
                  <a:lnTo>
                    <a:pt x="410" y="278"/>
                  </a:lnTo>
                  <a:lnTo>
                    <a:pt x="410" y="278"/>
                  </a:lnTo>
                  <a:lnTo>
                    <a:pt x="402" y="271"/>
                  </a:lnTo>
                  <a:lnTo>
                    <a:pt x="397" y="264"/>
                  </a:lnTo>
                  <a:lnTo>
                    <a:pt x="397" y="262"/>
                  </a:lnTo>
                  <a:lnTo>
                    <a:pt x="399" y="258"/>
                  </a:lnTo>
                  <a:lnTo>
                    <a:pt x="402" y="254"/>
                  </a:lnTo>
                  <a:lnTo>
                    <a:pt x="410" y="250"/>
                  </a:lnTo>
                  <a:lnTo>
                    <a:pt x="410" y="250"/>
                  </a:lnTo>
                  <a:lnTo>
                    <a:pt x="419" y="247"/>
                  </a:lnTo>
                  <a:lnTo>
                    <a:pt x="427" y="247"/>
                  </a:lnTo>
                  <a:lnTo>
                    <a:pt x="440" y="249"/>
                  </a:lnTo>
                  <a:lnTo>
                    <a:pt x="443" y="249"/>
                  </a:lnTo>
                  <a:lnTo>
                    <a:pt x="449" y="247"/>
                  </a:lnTo>
                  <a:lnTo>
                    <a:pt x="453" y="245"/>
                  </a:lnTo>
                  <a:lnTo>
                    <a:pt x="458" y="237"/>
                  </a:lnTo>
                  <a:lnTo>
                    <a:pt x="458" y="237"/>
                  </a:lnTo>
                  <a:lnTo>
                    <a:pt x="464" y="234"/>
                  </a:lnTo>
                  <a:lnTo>
                    <a:pt x="468" y="232"/>
                  </a:lnTo>
                  <a:lnTo>
                    <a:pt x="473" y="234"/>
                  </a:lnTo>
                  <a:lnTo>
                    <a:pt x="479" y="237"/>
                  </a:lnTo>
                  <a:lnTo>
                    <a:pt x="479" y="237"/>
                  </a:lnTo>
                  <a:lnTo>
                    <a:pt x="486" y="243"/>
                  </a:lnTo>
                  <a:lnTo>
                    <a:pt x="496" y="245"/>
                  </a:lnTo>
                  <a:lnTo>
                    <a:pt x="503" y="245"/>
                  </a:lnTo>
                  <a:lnTo>
                    <a:pt x="511" y="243"/>
                  </a:lnTo>
                  <a:lnTo>
                    <a:pt x="516" y="241"/>
                  </a:lnTo>
                  <a:lnTo>
                    <a:pt x="524" y="236"/>
                  </a:lnTo>
                  <a:lnTo>
                    <a:pt x="535" y="226"/>
                  </a:lnTo>
                  <a:lnTo>
                    <a:pt x="546" y="215"/>
                  </a:lnTo>
                  <a:lnTo>
                    <a:pt x="557" y="204"/>
                  </a:lnTo>
                  <a:lnTo>
                    <a:pt x="563" y="200"/>
                  </a:lnTo>
                  <a:lnTo>
                    <a:pt x="569" y="198"/>
                  </a:lnTo>
                  <a:lnTo>
                    <a:pt x="574" y="196"/>
                  </a:lnTo>
                  <a:lnTo>
                    <a:pt x="582" y="196"/>
                  </a:lnTo>
                  <a:lnTo>
                    <a:pt x="582" y="196"/>
                  </a:lnTo>
                  <a:lnTo>
                    <a:pt x="591" y="198"/>
                  </a:lnTo>
                  <a:lnTo>
                    <a:pt x="597" y="198"/>
                  </a:lnTo>
                  <a:lnTo>
                    <a:pt x="602" y="194"/>
                  </a:lnTo>
                  <a:lnTo>
                    <a:pt x="604" y="189"/>
                  </a:lnTo>
                  <a:lnTo>
                    <a:pt x="608" y="176"/>
                  </a:lnTo>
                  <a:lnTo>
                    <a:pt x="610" y="168"/>
                  </a:lnTo>
                  <a:lnTo>
                    <a:pt x="612" y="161"/>
                  </a:lnTo>
                  <a:lnTo>
                    <a:pt x="612" y="161"/>
                  </a:lnTo>
                  <a:lnTo>
                    <a:pt x="613" y="153"/>
                  </a:lnTo>
                  <a:lnTo>
                    <a:pt x="613" y="148"/>
                  </a:lnTo>
                  <a:lnTo>
                    <a:pt x="612" y="136"/>
                  </a:lnTo>
                  <a:lnTo>
                    <a:pt x="606" y="125"/>
                  </a:lnTo>
                  <a:lnTo>
                    <a:pt x="599" y="116"/>
                  </a:lnTo>
                  <a:lnTo>
                    <a:pt x="589" y="108"/>
                  </a:lnTo>
                  <a:lnTo>
                    <a:pt x="582" y="103"/>
                  </a:lnTo>
                  <a:lnTo>
                    <a:pt x="574" y="97"/>
                  </a:lnTo>
                  <a:lnTo>
                    <a:pt x="569" y="97"/>
                  </a:lnTo>
                  <a:lnTo>
                    <a:pt x="569" y="97"/>
                  </a:lnTo>
                  <a:lnTo>
                    <a:pt x="561" y="97"/>
                  </a:lnTo>
                  <a:lnTo>
                    <a:pt x="561" y="97"/>
                  </a:lnTo>
                  <a:lnTo>
                    <a:pt x="561" y="95"/>
                  </a:lnTo>
                  <a:lnTo>
                    <a:pt x="563" y="92"/>
                  </a:lnTo>
                  <a:lnTo>
                    <a:pt x="561" y="88"/>
                  </a:lnTo>
                  <a:lnTo>
                    <a:pt x="559" y="80"/>
                  </a:lnTo>
                  <a:lnTo>
                    <a:pt x="559" y="80"/>
                  </a:lnTo>
                  <a:lnTo>
                    <a:pt x="557" y="79"/>
                  </a:lnTo>
                  <a:lnTo>
                    <a:pt x="554" y="77"/>
                  </a:lnTo>
                  <a:lnTo>
                    <a:pt x="546" y="75"/>
                  </a:lnTo>
                  <a:lnTo>
                    <a:pt x="546" y="75"/>
                  </a:lnTo>
                  <a:lnTo>
                    <a:pt x="535" y="75"/>
                  </a:lnTo>
                  <a:lnTo>
                    <a:pt x="520" y="75"/>
                  </a:lnTo>
                  <a:lnTo>
                    <a:pt x="511" y="73"/>
                  </a:lnTo>
                  <a:lnTo>
                    <a:pt x="503" y="69"/>
                  </a:lnTo>
                  <a:lnTo>
                    <a:pt x="494" y="64"/>
                  </a:lnTo>
                  <a:lnTo>
                    <a:pt x="485" y="52"/>
                  </a:lnTo>
                  <a:lnTo>
                    <a:pt x="485" y="52"/>
                  </a:lnTo>
                  <a:lnTo>
                    <a:pt x="479" y="45"/>
                  </a:lnTo>
                  <a:lnTo>
                    <a:pt x="475" y="43"/>
                  </a:lnTo>
                  <a:lnTo>
                    <a:pt x="464" y="39"/>
                  </a:lnTo>
                  <a:lnTo>
                    <a:pt x="464" y="39"/>
                  </a:lnTo>
                  <a:lnTo>
                    <a:pt x="453" y="36"/>
                  </a:lnTo>
                  <a:lnTo>
                    <a:pt x="449" y="34"/>
                  </a:lnTo>
                  <a:lnTo>
                    <a:pt x="447" y="30"/>
                  </a:lnTo>
                  <a:lnTo>
                    <a:pt x="447" y="26"/>
                  </a:lnTo>
                  <a:lnTo>
                    <a:pt x="443" y="22"/>
                  </a:lnTo>
                  <a:lnTo>
                    <a:pt x="436" y="17"/>
                  </a:lnTo>
                  <a:lnTo>
                    <a:pt x="421" y="9"/>
                  </a:lnTo>
                  <a:lnTo>
                    <a:pt x="397" y="0"/>
                  </a:lnTo>
                  <a:lnTo>
                    <a:pt x="397" y="0"/>
                  </a:lnTo>
                  <a:lnTo>
                    <a:pt x="399" y="19"/>
                  </a:lnTo>
                  <a:lnTo>
                    <a:pt x="400" y="26"/>
                  </a:lnTo>
                  <a:lnTo>
                    <a:pt x="400" y="26"/>
                  </a:lnTo>
                  <a:lnTo>
                    <a:pt x="399" y="24"/>
                  </a:lnTo>
                  <a:lnTo>
                    <a:pt x="397" y="26"/>
                  </a:lnTo>
                  <a:lnTo>
                    <a:pt x="391" y="30"/>
                  </a:lnTo>
                  <a:lnTo>
                    <a:pt x="385" y="37"/>
                  </a:lnTo>
                  <a:lnTo>
                    <a:pt x="385" y="37"/>
                  </a:lnTo>
                  <a:lnTo>
                    <a:pt x="384" y="41"/>
                  </a:lnTo>
                  <a:lnTo>
                    <a:pt x="384" y="45"/>
                  </a:lnTo>
                  <a:lnTo>
                    <a:pt x="385" y="49"/>
                  </a:lnTo>
                  <a:lnTo>
                    <a:pt x="387" y="51"/>
                  </a:lnTo>
                  <a:lnTo>
                    <a:pt x="402" y="62"/>
                  </a:lnTo>
                  <a:lnTo>
                    <a:pt x="408" y="67"/>
                  </a:lnTo>
                  <a:lnTo>
                    <a:pt x="410" y="71"/>
                  </a:lnTo>
                  <a:lnTo>
                    <a:pt x="410" y="75"/>
                  </a:lnTo>
                  <a:lnTo>
                    <a:pt x="410" y="79"/>
                  </a:lnTo>
                  <a:lnTo>
                    <a:pt x="406" y="84"/>
                  </a:lnTo>
                  <a:lnTo>
                    <a:pt x="399" y="88"/>
                  </a:lnTo>
                  <a:lnTo>
                    <a:pt x="391" y="93"/>
                  </a:lnTo>
                  <a:lnTo>
                    <a:pt x="391" y="93"/>
                  </a:lnTo>
                  <a:lnTo>
                    <a:pt x="385" y="97"/>
                  </a:lnTo>
                  <a:lnTo>
                    <a:pt x="382" y="103"/>
                  </a:lnTo>
                  <a:lnTo>
                    <a:pt x="372" y="116"/>
                  </a:lnTo>
                  <a:lnTo>
                    <a:pt x="356" y="153"/>
                  </a:lnTo>
                  <a:lnTo>
                    <a:pt x="339" y="185"/>
                  </a:lnTo>
                  <a:lnTo>
                    <a:pt x="331" y="196"/>
                  </a:lnTo>
                  <a:lnTo>
                    <a:pt x="329" y="200"/>
                  </a:lnTo>
                  <a:lnTo>
                    <a:pt x="326" y="200"/>
                  </a:lnTo>
                  <a:lnTo>
                    <a:pt x="326" y="200"/>
                  </a:lnTo>
                  <a:lnTo>
                    <a:pt x="316" y="200"/>
                  </a:lnTo>
                  <a:lnTo>
                    <a:pt x="307" y="198"/>
                  </a:lnTo>
                  <a:lnTo>
                    <a:pt x="298" y="196"/>
                  </a:lnTo>
                  <a:lnTo>
                    <a:pt x="290" y="198"/>
                  </a:lnTo>
                  <a:lnTo>
                    <a:pt x="285" y="200"/>
                  </a:lnTo>
                  <a:lnTo>
                    <a:pt x="279" y="206"/>
                  </a:lnTo>
                  <a:lnTo>
                    <a:pt x="277" y="217"/>
                  </a:lnTo>
                  <a:lnTo>
                    <a:pt x="275" y="234"/>
                  </a:lnTo>
                  <a:lnTo>
                    <a:pt x="275" y="234"/>
                  </a:lnTo>
                  <a:lnTo>
                    <a:pt x="273" y="239"/>
                  </a:lnTo>
                  <a:lnTo>
                    <a:pt x="270" y="249"/>
                  </a:lnTo>
                  <a:lnTo>
                    <a:pt x="255" y="273"/>
                  </a:lnTo>
                  <a:lnTo>
                    <a:pt x="238" y="297"/>
                  </a:lnTo>
                  <a:lnTo>
                    <a:pt x="230" y="305"/>
                  </a:lnTo>
                  <a:lnTo>
                    <a:pt x="223" y="307"/>
                  </a:lnTo>
                  <a:lnTo>
                    <a:pt x="223" y="307"/>
                  </a:lnTo>
                  <a:lnTo>
                    <a:pt x="214" y="308"/>
                  </a:lnTo>
                  <a:lnTo>
                    <a:pt x="204" y="307"/>
                  </a:lnTo>
                  <a:lnTo>
                    <a:pt x="197" y="305"/>
                  </a:lnTo>
                  <a:lnTo>
                    <a:pt x="189" y="301"/>
                  </a:lnTo>
                  <a:lnTo>
                    <a:pt x="185" y="297"/>
                  </a:lnTo>
                  <a:lnTo>
                    <a:pt x="180" y="293"/>
                  </a:lnTo>
                  <a:lnTo>
                    <a:pt x="174" y="282"/>
                  </a:lnTo>
                  <a:lnTo>
                    <a:pt x="169" y="273"/>
                  </a:lnTo>
                  <a:lnTo>
                    <a:pt x="163" y="267"/>
                  </a:lnTo>
                  <a:lnTo>
                    <a:pt x="159" y="267"/>
                  </a:lnTo>
                  <a:lnTo>
                    <a:pt x="157" y="267"/>
                  </a:lnTo>
                  <a:lnTo>
                    <a:pt x="152" y="269"/>
                  </a:lnTo>
                  <a:lnTo>
                    <a:pt x="148" y="275"/>
                  </a:lnTo>
                  <a:lnTo>
                    <a:pt x="148" y="275"/>
                  </a:lnTo>
                  <a:lnTo>
                    <a:pt x="143" y="278"/>
                  </a:lnTo>
                  <a:lnTo>
                    <a:pt x="137" y="280"/>
                  </a:lnTo>
                  <a:lnTo>
                    <a:pt x="131" y="280"/>
                  </a:lnTo>
                  <a:lnTo>
                    <a:pt x="126" y="277"/>
                  </a:lnTo>
                  <a:lnTo>
                    <a:pt x="114" y="269"/>
                  </a:lnTo>
                  <a:lnTo>
                    <a:pt x="101" y="262"/>
                  </a:lnTo>
                  <a:lnTo>
                    <a:pt x="90" y="254"/>
                  </a:lnTo>
                  <a:lnTo>
                    <a:pt x="85" y="252"/>
                  </a:lnTo>
                  <a:lnTo>
                    <a:pt x="77" y="252"/>
                  </a:lnTo>
                  <a:lnTo>
                    <a:pt x="71" y="256"/>
                  </a:lnTo>
                  <a:lnTo>
                    <a:pt x="64" y="260"/>
                  </a:lnTo>
                  <a:lnTo>
                    <a:pt x="58" y="269"/>
                  </a:lnTo>
                  <a:lnTo>
                    <a:pt x="51" y="280"/>
                  </a:lnTo>
                  <a:lnTo>
                    <a:pt x="51" y="280"/>
                  </a:lnTo>
                  <a:lnTo>
                    <a:pt x="49" y="284"/>
                  </a:lnTo>
                  <a:lnTo>
                    <a:pt x="49" y="290"/>
                  </a:lnTo>
                  <a:lnTo>
                    <a:pt x="51" y="295"/>
                  </a:lnTo>
                  <a:lnTo>
                    <a:pt x="57" y="301"/>
                  </a:lnTo>
                  <a:lnTo>
                    <a:pt x="62" y="307"/>
                  </a:lnTo>
                  <a:lnTo>
                    <a:pt x="66" y="312"/>
                  </a:lnTo>
                  <a:lnTo>
                    <a:pt x="66" y="316"/>
                  </a:lnTo>
                  <a:lnTo>
                    <a:pt x="66" y="320"/>
                  </a:lnTo>
                  <a:lnTo>
                    <a:pt x="64" y="323"/>
                  </a:lnTo>
                  <a:lnTo>
                    <a:pt x="60" y="327"/>
                  </a:lnTo>
                  <a:lnTo>
                    <a:pt x="47" y="335"/>
                  </a:lnTo>
                  <a:lnTo>
                    <a:pt x="47" y="335"/>
                  </a:lnTo>
                  <a:lnTo>
                    <a:pt x="21" y="355"/>
                  </a:lnTo>
                  <a:lnTo>
                    <a:pt x="0" y="372"/>
                  </a:lnTo>
                  <a:lnTo>
                    <a:pt x="25" y="406"/>
                  </a:lnTo>
                  <a:lnTo>
                    <a:pt x="25" y="406"/>
                  </a:lnTo>
                  <a:lnTo>
                    <a:pt x="30" y="411"/>
                  </a:lnTo>
                  <a:lnTo>
                    <a:pt x="36" y="413"/>
                  </a:lnTo>
                  <a:lnTo>
                    <a:pt x="47" y="413"/>
                  </a:lnTo>
                  <a:lnTo>
                    <a:pt x="51" y="415"/>
                  </a:lnTo>
                  <a:lnTo>
                    <a:pt x="57" y="420"/>
                  </a:lnTo>
                  <a:lnTo>
                    <a:pt x="60" y="432"/>
                  </a:lnTo>
                  <a:lnTo>
                    <a:pt x="62" y="452"/>
                  </a:lnTo>
                  <a:lnTo>
                    <a:pt x="62" y="452"/>
                  </a:lnTo>
                  <a:lnTo>
                    <a:pt x="64" y="454"/>
                  </a:lnTo>
                  <a:lnTo>
                    <a:pt x="66" y="456"/>
                  </a:lnTo>
                  <a:lnTo>
                    <a:pt x="75" y="458"/>
                  </a:lnTo>
                  <a:lnTo>
                    <a:pt x="86" y="460"/>
                  </a:lnTo>
                  <a:lnTo>
                    <a:pt x="100" y="463"/>
                  </a:lnTo>
                  <a:lnTo>
                    <a:pt x="113" y="467"/>
                  </a:lnTo>
                  <a:lnTo>
                    <a:pt x="118" y="473"/>
                  </a:lnTo>
                  <a:lnTo>
                    <a:pt x="122" y="478"/>
                  </a:lnTo>
                  <a:lnTo>
                    <a:pt x="126" y="486"/>
                  </a:lnTo>
                  <a:lnTo>
                    <a:pt x="129" y="495"/>
                  </a:lnTo>
                  <a:lnTo>
                    <a:pt x="129" y="506"/>
                  </a:lnTo>
                  <a:lnTo>
                    <a:pt x="129" y="520"/>
                  </a:lnTo>
                  <a:lnTo>
                    <a:pt x="129" y="520"/>
                  </a:lnTo>
                  <a:lnTo>
                    <a:pt x="128" y="523"/>
                  </a:lnTo>
                  <a:lnTo>
                    <a:pt x="128" y="523"/>
                  </a:lnTo>
                  <a:lnTo>
                    <a:pt x="137" y="525"/>
                  </a:lnTo>
                  <a:lnTo>
                    <a:pt x="144" y="523"/>
                  </a:lnTo>
                  <a:lnTo>
                    <a:pt x="146" y="521"/>
                  </a:lnTo>
                  <a:lnTo>
                    <a:pt x="150" y="518"/>
                  </a:lnTo>
                  <a:lnTo>
                    <a:pt x="150" y="514"/>
                  </a:lnTo>
                  <a:lnTo>
                    <a:pt x="152" y="508"/>
                  </a:lnTo>
                  <a:lnTo>
                    <a:pt x="152" y="508"/>
                  </a:lnTo>
                  <a:lnTo>
                    <a:pt x="152" y="495"/>
                  </a:lnTo>
                  <a:lnTo>
                    <a:pt x="152" y="490"/>
                  </a:lnTo>
                  <a:lnTo>
                    <a:pt x="156" y="488"/>
                  </a:lnTo>
                  <a:lnTo>
                    <a:pt x="157" y="490"/>
                  </a:lnTo>
                  <a:lnTo>
                    <a:pt x="165" y="503"/>
                  </a:lnTo>
                  <a:lnTo>
                    <a:pt x="167" y="510"/>
                  </a:lnTo>
                  <a:lnTo>
                    <a:pt x="167" y="518"/>
                  </a:lnTo>
                  <a:lnTo>
                    <a:pt x="167" y="518"/>
                  </a:lnTo>
                  <a:lnTo>
                    <a:pt x="169" y="527"/>
                  </a:lnTo>
                  <a:lnTo>
                    <a:pt x="171" y="529"/>
                  </a:lnTo>
                  <a:lnTo>
                    <a:pt x="172" y="529"/>
                  </a:lnTo>
                  <a:lnTo>
                    <a:pt x="176" y="527"/>
                  </a:lnTo>
                  <a:lnTo>
                    <a:pt x="184" y="523"/>
                  </a:lnTo>
                  <a:lnTo>
                    <a:pt x="189" y="516"/>
                  </a:lnTo>
                  <a:lnTo>
                    <a:pt x="193" y="508"/>
                  </a:lnTo>
                  <a:lnTo>
                    <a:pt x="195" y="501"/>
                  </a:lnTo>
                  <a:lnTo>
                    <a:pt x="195" y="497"/>
                  </a:lnTo>
                  <a:lnTo>
                    <a:pt x="195" y="497"/>
                  </a:lnTo>
                  <a:lnTo>
                    <a:pt x="191" y="486"/>
                  </a:lnTo>
                  <a:lnTo>
                    <a:pt x="195" y="488"/>
                  </a:lnTo>
                  <a:lnTo>
                    <a:pt x="197" y="490"/>
                  </a:lnTo>
                  <a:lnTo>
                    <a:pt x="200" y="490"/>
                  </a:lnTo>
                  <a:lnTo>
                    <a:pt x="206" y="488"/>
                  </a:lnTo>
                  <a:lnTo>
                    <a:pt x="212" y="482"/>
                  </a:lnTo>
                  <a:lnTo>
                    <a:pt x="212" y="482"/>
                  </a:lnTo>
                  <a:lnTo>
                    <a:pt x="219" y="477"/>
                  </a:lnTo>
                  <a:lnTo>
                    <a:pt x="225" y="475"/>
                  </a:lnTo>
                  <a:lnTo>
                    <a:pt x="228" y="478"/>
                  </a:lnTo>
                  <a:lnTo>
                    <a:pt x="232" y="482"/>
                  </a:lnTo>
                  <a:lnTo>
                    <a:pt x="238" y="486"/>
                  </a:lnTo>
                  <a:lnTo>
                    <a:pt x="243" y="488"/>
                  </a:lnTo>
                  <a:lnTo>
                    <a:pt x="251" y="486"/>
                  </a:lnTo>
                  <a:lnTo>
                    <a:pt x="260" y="477"/>
                  </a:lnTo>
                  <a:lnTo>
                    <a:pt x="260" y="477"/>
                  </a:lnTo>
                  <a:lnTo>
                    <a:pt x="264" y="473"/>
                  </a:lnTo>
                  <a:lnTo>
                    <a:pt x="266" y="469"/>
                  </a:lnTo>
                  <a:lnTo>
                    <a:pt x="266" y="463"/>
                  </a:lnTo>
                  <a:lnTo>
                    <a:pt x="264" y="456"/>
                  </a:lnTo>
                  <a:lnTo>
                    <a:pt x="262" y="445"/>
                  </a:lnTo>
                  <a:lnTo>
                    <a:pt x="262" y="445"/>
                  </a:lnTo>
                  <a:lnTo>
                    <a:pt x="264" y="443"/>
                  </a:lnTo>
                  <a:lnTo>
                    <a:pt x="270" y="441"/>
                  </a:lnTo>
                  <a:lnTo>
                    <a:pt x="275" y="439"/>
                  </a:lnTo>
                  <a:lnTo>
                    <a:pt x="283" y="437"/>
                  </a:lnTo>
                  <a:lnTo>
                    <a:pt x="290" y="437"/>
                  </a:lnTo>
                  <a:lnTo>
                    <a:pt x="298" y="439"/>
                  </a:lnTo>
                  <a:lnTo>
                    <a:pt x="305" y="443"/>
                  </a:lnTo>
                  <a:lnTo>
                    <a:pt x="309" y="450"/>
                  </a:lnTo>
                  <a:lnTo>
                    <a:pt x="309" y="450"/>
                  </a:lnTo>
                  <a:lnTo>
                    <a:pt x="314" y="462"/>
                  </a:lnTo>
                  <a:lnTo>
                    <a:pt x="320" y="465"/>
                  </a:lnTo>
                  <a:lnTo>
                    <a:pt x="324" y="465"/>
                  </a:lnTo>
                  <a:lnTo>
                    <a:pt x="329" y="463"/>
                  </a:lnTo>
                  <a:lnTo>
                    <a:pt x="335" y="460"/>
                  </a:lnTo>
                  <a:lnTo>
                    <a:pt x="341" y="458"/>
                  </a:lnTo>
                  <a:lnTo>
                    <a:pt x="348" y="456"/>
                  </a:lnTo>
                  <a:lnTo>
                    <a:pt x="357" y="460"/>
                  </a:lnTo>
                  <a:lnTo>
                    <a:pt x="357" y="460"/>
                  </a:lnTo>
                  <a:lnTo>
                    <a:pt x="365" y="462"/>
                  </a:lnTo>
                  <a:lnTo>
                    <a:pt x="371" y="462"/>
                  </a:lnTo>
                  <a:lnTo>
                    <a:pt x="378" y="460"/>
                  </a:lnTo>
                  <a:lnTo>
                    <a:pt x="378" y="462"/>
                  </a:lnTo>
                  <a:lnTo>
                    <a:pt x="380" y="467"/>
                  </a:lnTo>
                  <a:lnTo>
                    <a:pt x="382" y="495"/>
                  </a:lnTo>
                  <a:lnTo>
                    <a:pt x="382" y="495"/>
                  </a:lnTo>
                  <a:lnTo>
                    <a:pt x="384" y="503"/>
                  </a:lnTo>
                  <a:lnTo>
                    <a:pt x="387" y="508"/>
                  </a:lnTo>
                  <a:lnTo>
                    <a:pt x="393" y="512"/>
                  </a:lnTo>
                  <a:lnTo>
                    <a:pt x="399" y="514"/>
                  </a:lnTo>
                  <a:lnTo>
                    <a:pt x="408" y="518"/>
                  </a:lnTo>
                  <a:lnTo>
                    <a:pt x="412" y="521"/>
                  </a:lnTo>
                  <a:lnTo>
                    <a:pt x="413" y="525"/>
                  </a:lnTo>
                  <a:lnTo>
                    <a:pt x="413" y="525"/>
                  </a:lnTo>
                  <a:lnTo>
                    <a:pt x="413" y="549"/>
                  </a:lnTo>
                  <a:lnTo>
                    <a:pt x="413" y="553"/>
                  </a:lnTo>
                  <a:lnTo>
                    <a:pt x="415" y="555"/>
                  </a:lnTo>
                  <a:lnTo>
                    <a:pt x="417" y="549"/>
                  </a:lnTo>
                  <a:lnTo>
                    <a:pt x="423" y="542"/>
                  </a:lnTo>
                  <a:lnTo>
                    <a:pt x="423" y="542"/>
                  </a:lnTo>
                  <a:lnTo>
                    <a:pt x="427" y="540"/>
                  </a:lnTo>
                  <a:lnTo>
                    <a:pt x="428" y="540"/>
                  </a:lnTo>
                  <a:lnTo>
                    <a:pt x="430" y="551"/>
                  </a:lnTo>
                  <a:lnTo>
                    <a:pt x="432" y="557"/>
                  </a:lnTo>
                  <a:lnTo>
                    <a:pt x="436" y="564"/>
                  </a:lnTo>
                  <a:lnTo>
                    <a:pt x="442" y="570"/>
                  </a:lnTo>
                  <a:lnTo>
                    <a:pt x="451" y="574"/>
                  </a:lnTo>
                  <a:lnTo>
                    <a:pt x="451" y="574"/>
                  </a:lnTo>
                  <a:lnTo>
                    <a:pt x="456" y="576"/>
                  </a:lnTo>
                  <a:lnTo>
                    <a:pt x="460" y="579"/>
                  </a:lnTo>
                  <a:lnTo>
                    <a:pt x="464" y="585"/>
                  </a:lnTo>
                  <a:lnTo>
                    <a:pt x="468" y="585"/>
                  </a:lnTo>
                  <a:lnTo>
                    <a:pt x="471" y="581"/>
                  </a:lnTo>
                  <a:lnTo>
                    <a:pt x="475" y="572"/>
                  </a:lnTo>
                  <a:lnTo>
                    <a:pt x="481" y="557"/>
                  </a:lnTo>
                  <a:lnTo>
                    <a:pt x="481" y="557"/>
                  </a:lnTo>
                  <a:lnTo>
                    <a:pt x="483" y="553"/>
                  </a:lnTo>
                  <a:lnTo>
                    <a:pt x="486" y="549"/>
                  </a:lnTo>
                  <a:lnTo>
                    <a:pt x="490" y="548"/>
                  </a:lnTo>
                  <a:lnTo>
                    <a:pt x="494" y="544"/>
                  </a:lnTo>
                  <a:lnTo>
                    <a:pt x="494" y="544"/>
                  </a:lnTo>
                  <a:lnTo>
                    <a:pt x="496" y="536"/>
                  </a:lnTo>
                  <a:lnTo>
                    <a:pt x="499" y="533"/>
                  </a:lnTo>
                  <a:lnTo>
                    <a:pt x="499" y="529"/>
                  </a:lnTo>
                  <a:lnTo>
                    <a:pt x="494" y="523"/>
                  </a:lnTo>
                  <a:lnTo>
                    <a:pt x="494" y="523"/>
                  </a:lnTo>
                  <a:lnTo>
                    <a:pt x="492" y="518"/>
                  </a:lnTo>
                  <a:lnTo>
                    <a:pt x="494" y="512"/>
                  </a:lnTo>
                  <a:lnTo>
                    <a:pt x="496" y="508"/>
                  </a:lnTo>
                  <a:lnTo>
                    <a:pt x="499" y="505"/>
                  </a:lnTo>
                  <a:lnTo>
                    <a:pt x="499" y="505"/>
                  </a:lnTo>
                  <a:lnTo>
                    <a:pt x="499" y="503"/>
                  </a:lnTo>
                  <a:lnTo>
                    <a:pt x="499" y="503"/>
                  </a:lnTo>
                  <a:lnTo>
                    <a:pt x="498" y="499"/>
                  </a:lnTo>
                  <a:lnTo>
                    <a:pt x="496" y="495"/>
                  </a:lnTo>
                  <a:lnTo>
                    <a:pt x="494" y="490"/>
                  </a:lnTo>
                  <a:lnTo>
                    <a:pt x="494" y="490"/>
                  </a:lnTo>
                  <a:lnTo>
                    <a:pt x="494" y="482"/>
                  </a:lnTo>
                  <a:lnTo>
                    <a:pt x="496" y="477"/>
                  </a:lnTo>
                  <a:lnTo>
                    <a:pt x="499" y="465"/>
                  </a:lnTo>
                  <a:lnTo>
                    <a:pt x="501" y="462"/>
                  </a:lnTo>
                  <a:lnTo>
                    <a:pt x="501" y="456"/>
                  </a:lnTo>
                  <a:lnTo>
                    <a:pt x="498" y="450"/>
                  </a:lnTo>
                  <a:lnTo>
                    <a:pt x="494" y="447"/>
                  </a:lnTo>
                  <a:lnTo>
                    <a:pt x="494" y="447"/>
                  </a:lnTo>
                  <a:lnTo>
                    <a:pt x="490" y="443"/>
                  </a:lnTo>
                  <a:lnTo>
                    <a:pt x="490" y="443"/>
                  </a:lnTo>
                  <a:lnTo>
                    <a:pt x="486" y="439"/>
                  </a:lnTo>
                  <a:lnTo>
                    <a:pt x="483" y="435"/>
                  </a:lnTo>
                  <a:lnTo>
                    <a:pt x="481" y="424"/>
                  </a:lnTo>
                  <a:lnTo>
                    <a:pt x="477" y="415"/>
                  </a:lnTo>
                  <a:lnTo>
                    <a:pt x="473" y="411"/>
                  </a:lnTo>
                  <a:lnTo>
                    <a:pt x="470" y="409"/>
                  </a:lnTo>
                  <a:lnTo>
                    <a:pt x="470" y="409"/>
                  </a:lnTo>
                  <a:lnTo>
                    <a:pt x="464" y="407"/>
                  </a:lnTo>
                  <a:lnTo>
                    <a:pt x="458" y="404"/>
                  </a:lnTo>
                  <a:lnTo>
                    <a:pt x="453" y="398"/>
                  </a:lnTo>
                  <a:lnTo>
                    <a:pt x="449" y="391"/>
                  </a:lnTo>
                  <a:lnTo>
                    <a:pt x="443" y="376"/>
                  </a:lnTo>
                  <a:lnTo>
                    <a:pt x="438" y="370"/>
                  </a:lnTo>
                  <a:lnTo>
                    <a:pt x="432" y="364"/>
                  </a:lnTo>
                  <a:lnTo>
                    <a:pt x="432" y="364"/>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8" name="Line 68">
              <a:extLst>
                <a:ext uri="{FF2B5EF4-FFF2-40B4-BE49-F238E27FC236}">
                  <a16:creationId xmlns:a16="http://schemas.microsoft.com/office/drawing/2014/main" id="{D773C00E-4BCB-4791-B1BE-F228A4870A99}"/>
                </a:ext>
              </a:extLst>
            </p:cNvPr>
            <p:cNvSpPr>
              <a:spLocks noChangeShapeType="1"/>
            </p:cNvSpPr>
            <p:nvPr/>
          </p:nvSpPr>
          <p:spPr bwMode="auto">
            <a:xfrm>
              <a:off x="5102464" y="4524714"/>
              <a:ext cx="1817" cy="1816"/>
            </a:xfrm>
            <a:prstGeom prst="line">
              <a:avLst/>
            </a:pr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9" name="Freeform 69">
              <a:extLst>
                <a:ext uri="{FF2B5EF4-FFF2-40B4-BE49-F238E27FC236}">
                  <a16:creationId xmlns:a16="http://schemas.microsoft.com/office/drawing/2014/main" id="{46C4A59B-8ADE-41F6-A541-CF9828B68F5D}"/>
                </a:ext>
              </a:extLst>
            </p:cNvPr>
            <p:cNvSpPr>
              <a:spLocks/>
            </p:cNvSpPr>
            <p:nvPr/>
          </p:nvSpPr>
          <p:spPr bwMode="auto">
            <a:xfrm>
              <a:off x="4739132" y="4501097"/>
              <a:ext cx="557716" cy="530465"/>
            </a:xfrm>
            <a:custGeom>
              <a:avLst/>
              <a:gdLst/>
              <a:ahLst/>
              <a:cxnLst>
                <a:cxn ang="0">
                  <a:pos x="423" y="346"/>
                </a:cxn>
                <a:cxn ang="0">
                  <a:pos x="406" y="355"/>
                </a:cxn>
                <a:cxn ang="0">
                  <a:pos x="406" y="331"/>
                </a:cxn>
                <a:cxn ang="0">
                  <a:pos x="412" y="284"/>
                </a:cxn>
                <a:cxn ang="0">
                  <a:pos x="399" y="258"/>
                </a:cxn>
                <a:cxn ang="0">
                  <a:pos x="440" y="249"/>
                </a:cxn>
                <a:cxn ang="0">
                  <a:pos x="464" y="234"/>
                </a:cxn>
                <a:cxn ang="0">
                  <a:pos x="496" y="245"/>
                </a:cxn>
                <a:cxn ang="0">
                  <a:pos x="546" y="215"/>
                </a:cxn>
                <a:cxn ang="0">
                  <a:pos x="582" y="196"/>
                </a:cxn>
                <a:cxn ang="0">
                  <a:pos x="610" y="168"/>
                </a:cxn>
                <a:cxn ang="0">
                  <a:pos x="606" y="125"/>
                </a:cxn>
                <a:cxn ang="0">
                  <a:pos x="569" y="97"/>
                </a:cxn>
                <a:cxn ang="0">
                  <a:pos x="559" y="80"/>
                </a:cxn>
                <a:cxn ang="0">
                  <a:pos x="535" y="75"/>
                </a:cxn>
                <a:cxn ang="0">
                  <a:pos x="485" y="52"/>
                </a:cxn>
                <a:cxn ang="0">
                  <a:pos x="449" y="34"/>
                </a:cxn>
                <a:cxn ang="0">
                  <a:pos x="397" y="0"/>
                </a:cxn>
                <a:cxn ang="0">
                  <a:pos x="397" y="26"/>
                </a:cxn>
                <a:cxn ang="0">
                  <a:pos x="385" y="49"/>
                </a:cxn>
                <a:cxn ang="0">
                  <a:pos x="410" y="79"/>
                </a:cxn>
                <a:cxn ang="0">
                  <a:pos x="382" y="103"/>
                </a:cxn>
                <a:cxn ang="0">
                  <a:pos x="326" y="200"/>
                </a:cxn>
                <a:cxn ang="0">
                  <a:pos x="285" y="200"/>
                </a:cxn>
                <a:cxn ang="0">
                  <a:pos x="270" y="249"/>
                </a:cxn>
                <a:cxn ang="0">
                  <a:pos x="214" y="308"/>
                </a:cxn>
                <a:cxn ang="0">
                  <a:pos x="174" y="282"/>
                </a:cxn>
                <a:cxn ang="0">
                  <a:pos x="148" y="275"/>
                </a:cxn>
                <a:cxn ang="0">
                  <a:pos x="114" y="269"/>
                </a:cxn>
                <a:cxn ang="0">
                  <a:pos x="64" y="260"/>
                </a:cxn>
                <a:cxn ang="0">
                  <a:pos x="51" y="295"/>
                </a:cxn>
                <a:cxn ang="0">
                  <a:pos x="64" y="323"/>
                </a:cxn>
                <a:cxn ang="0">
                  <a:pos x="25" y="406"/>
                </a:cxn>
                <a:cxn ang="0">
                  <a:pos x="57" y="420"/>
                </a:cxn>
                <a:cxn ang="0">
                  <a:pos x="75" y="458"/>
                </a:cxn>
                <a:cxn ang="0">
                  <a:pos x="126" y="486"/>
                </a:cxn>
                <a:cxn ang="0">
                  <a:pos x="128" y="523"/>
                </a:cxn>
                <a:cxn ang="0">
                  <a:pos x="152" y="508"/>
                </a:cxn>
                <a:cxn ang="0">
                  <a:pos x="165" y="503"/>
                </a:cxn>
                <a:cxn ang="0">
                  <a:pos x="172" y="529"/>
                </a:cxn>
                <a:cxn ang="0">
                  <a:pos x="195" y="497"/>
                </a:cxn>
                <a:cxn ang="0">
                  <a:pos x="206" y="488"/>
                </a:cxn>
                <a:cxn ang="0">
                  <a:pos x="232" y="482"/>
                </a:cxn>
                <a:cxn ang="0">
                  <a:pos x="264" y="473"/>
                </a:cxn>
                <a:cxn ang="0">
                  <a:pos x="264" y="443"/>
                </a:cxn>
                <a:cxn ang="0">
                  <a:pos x="305" y="443"/>
                </a:cxn>
                <a:cxn ang="0">
                  <a:pos x="329" y="463"/>
                </a:cxn>
                <a:cxn ang="0">
                  <a:pos x="365" y="462"/>
                </a:cxn>
                <a:cxn ang="0">
                  <a:pos x="382" y="495"/>
                </a:cxn>
                <a:cxn ang="0">
                  <a:pos x="412" y="521"/>
                </a:cxn>
                <a:cxn ang="0">
                  <a:pos x="417" y="549"/>
                </a:cxn>
                <a:cxn ang="0">
                  <a:pos x="432" y="557"/>
                </a:cxn>
                <a:cxn ang="0">
                  <a:pos x="460" y="579"/>
                </a:cxn>
                <a:cxn ang="0">
                  <a:pos x="481" y="557"/>
                </a:cxn>
                <a:cxn ang="0">
                  <a:pos x="496" y="536"/>
                </a:cxn>
                <a:cxn ang="0">
                  <a:pos x="494" y="512"/>
                </a:cxn>
                <a:cxn ang="0">
                  <a:pos x="498" y="499"/>
                </a:cxn>
                <a:cxn ang="0">
                  <a:pos x="499" y="465"/>
                </a:cxn>
                <a:cxn ang="0">
                  <a:pos x="490" y="443"/>
                </a:cxn>
                <a:cxn ang="0">
                  <a:pos x="473" y="411"/>
                </a:cxn>
                <a:cxn ang="0">
                  <a:pos x="449" y="391"/>
                </a:cxn>
              </a:cxnLst>
              <a:rect l="0" t="0" r="r" b="b"/>
              <a:pathLst>
                <a:path w="613" h="585">
                  <a:moveTo>
                    <a:pt x="432" y="364"/>
                  </a:moveTo>
                  <a:lnTo>
                    <a:pt x="432" y="364"/>
                  </a:lnTo>
                  <a:lnTo>
                    <a:pt x="430" y="361"/>
                  </a:lnTo>
                  <a:lnTo>
                    <a:pt x="428" y="357"/>
                  </a:lnTo>
                  <a:lnTo>
                    <a:pt x="425" y="348"/>
                  </a:lnTo>
                  <a:lnTo>
                    <a:pt x="423" y="346"/>
                  </a:lnTo>
                  <a:lnTo>
                    <a:pt x="421" y="344"/>
                  </a:lnTo>
                  <a:lnTo>
                    <a:pt x="419" y="344"/>
                  </a:lnTo>
                  <a:lnTo>
                    <a:pt x="415" y="348"/>
                  </a:lnTo>
                  <a:lnTo>
                    <a:pt x="415" y="348"/>
                  </a:lnTo>
                  <a:lnTo>
                    <a:pt x="410" y="353"/>
                  </a:lnTo>
                  <a:lnTo>
                    <a:pt x="406" y="355"/>
                  </a:lnTo>
                  <a:lnTo>
                    <a:pt x="402" y="355"/>
                  </a:lnTo>
                  <a:lnTo>
                    <a:pt x="400" y="353"/>
                  </a:lnTo>
                  <a:lnTo>
                    <a:pt x="399" y="349"/>
                  </a:lnTo>
                  <a:lnTo>
                    <a:pt x="399" y="344"/>
                  </a:lnTo>
                  <a:lnTo>
                    <a:pt x="400" y="338"/>
                  </a:lnTo>
                  <a:lnTo>
                    <a:pt x="406" y="331"/>
                  </a:lnTo>
                  <a:lnTo>
                    <a:pt x="406" y="331"/>
                  </a:lnTo>
                  <a:lnTo>
                    <a:pt x="410" y="327"/>
                  </a:lnTo>
                  <a:lnTo>
                    <a:pt x="412" y="320"/>
                  </a:lnTo>
                  <a:lnTo>
                    <a:pt x="413" y="305"/>
                  </a:lnTo>
                  <a:lnTo>
                    <a:pt x="413" y="290"/>
                  </a:lnTo>
                  <a:lnTo>
                    <a:pt x="412" y="284"/>
                  </a:lnTo>
                  <a:lnTo>
                    <a:pt x="410" y="278"/>
                  </a:lnTo>
                  <a:lnTo>
                    <a:pt x="410" y="278"/>
                  </a:lnTo>
                  <a:lnTo>
                    <a:pt x="402" y="271"/>
                  </a:lnTo>
                  <a:lnTo>
                    <a:pt x="397" y="264"/>
                  </a:lnTo>
                  <a:lnTo>
                    <a:pt x="397" y="262"/>
                  </a:lnTo>
                  <a:lnTo>
                    <a:pt x="399" y="258"/>
                  </a:lnTo>
                  <a:lnTo>
                    <a:pt x="402" y="254"/>
                  </a:lnTo>
                  <a:lnTo>
                    <a:pt x="410" y="250"/>
                  </a:lnTo>
                  <a:lnTo>
                    <a:pt x="410" y="250"/>
                  </a:lnTo>
                  <a:lnTo>
                    <a:pt x="419" y="247"/>
                  </a:lnTo>
                  <a:lnTo>
                    <a:pt x="427" y="247"/>
                  </a:lnTo>
                  <a:lnTo>
                    <a:pt x="440" y="249"/>
                  </a:lnTo>
                  <a:lnTo>
                    <a:pt x="443" y="249"/>
                  </a:lnTo>
                  <a:lnTo>
                    <a:pt x="449" y="247"/>
                  </a:lnTo>
                  <a:lnTo>
                    <a:pt x="453" y="245"/>
                  </a:lnTo>
                  <a:lnTo>
                    <a:pt x="458" y="237"/>
                  </a:lnTo>
                  <a:lnTo>
                    <a:pt x="458" y="237"/>
                  </a:lnTo>
                  <a:lnTo>
                    <a:pt x="464" y="234"/>
                  </a:lnTo>
                  <a:lnTo>
                    <a:pt x="468" y="232"/>
                  </a:lnTo>
                  <a:lnTo>
                    <a:pt x="473" y="234"/>
                  </a:lnTo>
                  <a:lnTo>
                    <a:pt x="479" y="237"/>
                  </a:lnTo>
                  <a:lnTo>
                    <a:pt x="479" y="237"/>
                  </a:lnTo>
                  <a:lnTo>
                    <a:pt x="486" y="243"/>
                  </a:lnTo>
                  <a:lnTo>
                    <a:pt x="496" y="245"/>
                  </a:lnTo>
                  <a:lnTo>
                    <a:pt x="503" y="245"/>
                  </a:lnTo>
                  <a:lnTo>
                    <a:pt x="511" y="243"/>
                  </a:lnTo>
                  <a:lnTo>
                    <a:pt x="516" y="241"/>
                  </a:lnTo>
                  <a:lnTo>
                    <a:pt x="524" y="236"/>
                  </a:lnTo>
                  <a:lnTo>
                    <a:pt x="535" y="226"/>
                  </a:lnTo>
                  <a:lnTo>
                    <a:pt x="546" y="215"/>
                  </a:lnTo>
                  <a:lnTo>
                    <a:pt x="557" y="204"/>
                  </a:lnTo>
                  <a:lnTo>
                    <a:pt x="563" y="200"/>
                  </a:lnTo>
                  <a:lnTo>
                    <a:pt x="569" y="198"/>
                  </a:lnTo>
                  <a:lnTo>
                    <a:pt x="574" y="196"/>
                  </a:lnTo>
                  <a:lnTo>
                    <a:pt x="582" y="196"/>
                  </a:lnTo>
                  <a:lnTo>
                    <a:pt x="582" y="196"/>
                  </a:lnTo>
                  <a:lnTo>
                    <a:pt x="591" y="198"/>
                  </a:lnTo>
                  <a:lnTo>
                    <a:pt x="597" y="198"/>
                  </a:lnTo>
                  <a:lnTo>
                    <a:pt x="602" y="194"/>
                  </a:lnTo>
                  <a:lnTo>
                    <a:pt x="604" y="189"/>
                  </a:lnTo>
                  <a:lnTo>
                    <a:pt x="608" y="176"/>
                  </a:lnTo>
                  <a:lnTo>
                    <a:pt x="610" y="168"/>
                  </a:lnTo>
                  <a:lnTo>
                    <a:pt x="612" y="161"/>
                  </a:lnTo>
                  <a:lnTo>
                    <a:pt x="612" y="161"/>
                  </a:lnTo>
                  <a:lnTo>
                    <a:pt x="613" y="153"/>
                  </a:lnTo>
                  <a:lnTo>
                    <a:pt x="613" y="148"/>
                  </a:lnTo>
                  <a:lnTo>
                    <a:pt x="612" y="136"/>
                  </a:lnTo>
                  <a:lnTo>
                    <a:pt x="606" y="125"/>
                  </a:lnTo>
                  <a:lnTo>
                    <a:pt x="599" y="116"/>
                  </a:lnTo>
                  <a:lnTo>
                    <a:pt x="589" y="108"/>
                  </a:lnTo>
                  <a:lnTo>
                    <a:pt x="582" y="103"/>
                  </a:lnTo>
                  <a:lnTo>
                    <a:pt x="574" y="97"/>
                  </a:lnTo>
                  <a:lnTo>
                    <a:pt x="569" y="97"/>
                  </a:lnTo>
                  <a:lnTo>
                    <a:pt x="569" y="97"/>
                  </a:lnTo>
                  <a:lnTo>
                    <a:pt x="561" y="97"/>
                  </a:lnTo>
                  <a:lnTo>
                    <a:pt x="561" y="97"/>
                  </a:lnTo>
                  <a:lnTo>
                    <a:pt x="561" y="95"/>
                  </a:lnTo>
                  <a:lnTo>
                    <a:pt x="563" y="92"/>
                  </a:lnTo>
                  <a:lnTo>
                    <a:pt x="561" y="88"/>
                  </a:lnTo>
                  <a:lnTo>
                    <a:pt x="559" y="80"/>
                  </a:lnTo>
                  <a:lnTo>
                    <a:pt x="559" y="80"/>
                  </a:lnTo>
                  <a:lnTo>
                    <a:pt x="557" y="79"/>
                  </a:lnTo>
                  <a:lnTo>
                    <a:pt x="554" y="77"/>
                  </a:lnTo>
                  <a:lnTo>
                    <a:pt x="546" y="75"/>
                  </a:lnTo>
                  <a:lnTo>
                    <a:pt x="546" y="75"/>
                  </a:lnTo>
                  <a:lnTo>
                    <a:pt x="535" y="75"/>
                  </a:lnTo>
                  <a:lnTo>
                    <a:pt x="520" y="75"/>
                  </a:lnTo>
                  <a:lnTo>
                    <a:pt x="511" y="73"/>
                  </a:lnTo>
                  <a:lnTo>
                    <a:pt x="503" y="69"/>
                  </a:lnTo>
                  <a:lnTo>
                    <a:pt x="494" y="64"/>
                  </a:lnTo>
                  <a:lnTo>
                    <a:pt x="485" y="52"/>
                  </a:lnTo>
                  <a:lnTo>
                    <a:pt x="485" y="52"/>
                  </a:lnTo>
                  <a:lnTo>
                    <a:pt x="479" y="45"/>
                  </a:lnTo>
                  <a:lnTo>
                    <a:pt x="475" y="43"/>
                  </a:lnTo>
                  <a:lnTo>
                    <a:pt x="464" y="39"/>
                  </a:lnTo>
                  <a:lnTo>
                    <a:pt x="464" y="39"/>
                  </a:lnTo>
                  <a:lnTo>
                    <a:pt x="453" y="36"/>
                  </a:lnTo>
                  <a:lnTo>
                    <a:pt x="449" y="34"/>
                  </a:lnTo>
                  <a:lnTo>
                    <a:pt x="447" y="30"/>
                  </a:lnTo>
                  <a:lnTo>
                    <a:pt x="447" y="26"/>
                  </a:lnTo>
                  <a:lnTo>
                    <a:pt x="443" y="22"/>
                  </a:lnTo>
                  <a:lnTo>
                    <a:pt x="436" y="17"/>
                  </a:lnTo>
                  <a:lnTo>
                    <a:pt x="421" y="9"/>
                  </a:lnTo>
                  <a:lnTo>
                    <a:pt x="397" y="0"/>
                  </a:lnTo>
                  <a:lnTo>
                    <a:pt x="397" y="0"/>
                  </a:lnTo>
                  <a:lnTo>
                    <a:pt x="399" y="19"/>
                  </a:lnTo>
                  <a:lnTo>
                    <a:pt x="400" y="26"/>
                  </a:lnTo>
                  <a:lnTo>
                    <a:pt x="400" y="26"/>
                  </a:lnTo>
                  <a:lnTo>
                    <a:pt x="399" y="24"/>
                  </a:lnTo>
                  <a:lnTo>
                    <a:pt x="397" y="26"/>
                  </a:lnTo>
                  <a:lnTo>
                    <a:pt x="391" y="30"/>
                  </a:lnTo>
                  <a:lnTo>
                    <a:pt x="385" y="37"/>
                  </a:lnTo>
                  <a:lnTo>
                    <a:pt x="385" y="37"/>
                  </a:lnTo>
                  <a:lnTo>
                    <a:pt x="384" y="41"/>
                  </a:lnTo>
                  <a:lnTo>
                    <a:pt x="384" y="45"/>
                  </a:lnTo>
                  <a:lnTo>
                    <a:pt x="385" y="49"/>
                  </a:lnTo>
                  <a:lnTo>
                    <a:pt x="387" y="51"/>
                  </a:lnTo>
                  <a:lnTo>
                    <a:pt x="402" y="62"/>
                  </a:lnTo>
                  <a:lnTo>
                    <a:pt x="408" y="67"/>
                  </a:lnTo>
                  <a:lnTo>
                    <a:pt x="410" y="71"/>
                  </a:lnTo>
                  <a:lnTo>
                    <a:pt x="410" y="75"/>
                  </a:lnTo>
                  <a:lnTo>
                    <a:pt x="410" y="79"/>
                  </a:lnTo>
                  <a:lnTo>
                    <a:pt x="406" y="84"/>
                  </a:lnTo>
                  <a:lnTo>
                    <a:pt x="399" y="88"/>
                  </a:lnTo>
                  <a:lnTo>
                    <a:pt x="391" y="93"/>
                  </a:lnTo>
                  <a:lnTo>
                    <a:pt x="391" y="93"/>
                  </a:lnTo>
                  <a:lnTo>
                    <a:pt x="385" y="97"/>
                  </a:lnTo>
                  <a:lnTo>
                    <a:pt x="382" y="103"/>
                  </a:lnTo>
                  <a:lnTo>
                    <a:pt x="372" y="116"/>
                  </a:lnTo>
                  <a:lnTo>
                    <a:pt x="356" y="153"/>
                  </a:lnTo>
                  <a:lnTo>
                    <a:pt x="339" y="185"/>
                  </a:lnTo>
                  <a:lnTo>
                    <a:pt x="331" y="196"/>
                  </a:lnTo>
                  <a:lnTo>
                    <a:pt x="329" y="200"/>
                  </a:lnTo>
                  <a:lnTo>
                    <a:pt x="326" y="200"/>
                  </a:lnTo>
                  <a:lnTo>
                    <a:pt x="326" y="200"/>
                  </a:lnTo>
                  <a:lnTo>
                    <a:pt x="316" y="200"/>
                  </a:lnTo>
                  <a:lnTo>
                    <a:pt x="307" y="198"/>
                  </a:lnTo>
                  <a:lnTo>
                    <a:pt x="298" y="196"/>
                  </a:lnTo>
                  <a:lnTo>
                    <a:pt x="290" y="198"/>
                  </a:lnTo>
                  <a:lnTo>
                    <a:pt x="285" y="200"/>
                  </a:lnTo>
                  <a:lnTo>
                    <a:pt x="279" y="206"/>
                  </a:lnTo>
                  <a:lnTo>
                    <a:pt x="277" y="217"/>
                  </a:lnTo>
                  <a:lnTo>
                    <a:pt x="275" y="234"/>
                  </a:lnTo>
                  <a:lnTo>
                    <a:pt x="275" y="234"/>
                  </a:lnTo>
                  <a:lnTo>
                    <a:pt x="273" y="239"/>
                  </a:lnTo>
                  <a:lnTo>
                    <a:pt x="270" y="249"/>
                  </a:lnTo>
                  <a:lnTo>
                    <a:pt x="255" y="273"/>
                  </a:lnTo>
                  <a:lnTo>
                    <a:pt x="238" y="297"/>
                  </a:lnTo>
                  <a:lnTo>
                    <a:pt x="230" y="305"/>
                  </a:lnTo>
                  <a:lnTo>
                    <a:pt x="223" y="307"/>
                  </a:lnTo>
                  <a:lnTo>
                    <a:pt x="223" y="307"/>
                  </a:lnTo>
                  <a:lnTo>
                    <a:pt x="214" y="308"/>
                  </a:lnTo>
                  <a:lnTo>
                    <a:pt x="204" y="307"/>
                  </a:lnTo>
                  <a:lnTo>
                    <a:pt x="197" y="305"/>
                  </a:lnTo>
                  <a:lnTo>
                    <a:pt x="189" y="301"/>
                  </a:lnTo>
                  <a:lnTo>
                    <a:pt x="185" y="297"/>
                  </a:lnTo>
                  <a:lnTo>
                    <a:pt x="180" y="293"/>
                  </a:lnTo>
                  <a:lnTo>
                    <a:pt x="174" y="282"/>
                  </a:lnTo>
                  <a:lnTo>
                    <a:pt x="169" y="273"/>
                  </a:lnTo>
                  <a:lnTo>
                    <a:pt x="163" y="267"/>
                  </a:lnTo>
                  <a:lnTo>
                    <a:pt x="159" y="267"/>
                  </a:lnTo>
                  <a:lnTo>
                    <a:pt x="157" y="267"/>
                  </a:lnTo>
                  <a:lnTo>
                    <a:pt x="152" y="269"/>
                  </a:lnTo>
                  <a:lnTo>
                    <a:pt x="148" y="275"/>
                  </a:lnTo>
                  <a:lnTo>
                    <a:pt x="148" y="275"/>
                  </a:lnTo>
                  <a:lnTo>
                    <a:pt x="143" y="278"/>
                  </a:lnTo>
                  <a:lnTo>
                    <a:pt x="137" y="280"/>
                  </a:lnTo>
                  <a:lnTo>
                    <a:pt x="131" y="280"/>
                  </a:lnTo>
                  <a:lnTo>
                    <a:pt x="126" y="277"/>
                  </a:lnTo>
                  <a:lnTo>
                    <a:pt x="114" y="269"/>
                  </a:lnTo>
                  <a:lnTo>
                    <a:pt x="101" y="262"/>
                  </a:lnTo>
                  <a:lnTo>
                    <a:pt x="90" y="254"/>
                  </a:lnTo>
                  <a:lnTo>
                    <a:pt x="85" y="252"/>
                  </a:lnTo>
                  <a:lnTo>
                    <a:pt x="77" y="252"/>
                  </a:lnTo>
                  <a:lnTo>
                    <a:pt x="71" y="256"/>
                  </a:lnTo>
                  <a:lnTo>
                    <a:pt x="64" y="260"/>
                  </a:lnTo>
                  <a:lnTo>
                    <a:pt x="58" y="269"/>
                  </a:lnTo>
                  <a:lnTo>
                    <a:pt x="51" y="280"/>
                  </a:lnTo>
                  <a:lnTo>
                    <a:pt x="51" y="280"/>
                  </a:lnTo>
                  <a:lnTo>
                    <a:pt x="49" y="284"/>
                  </a:lnTo>
                  <a:lnTo>
                    <a:pt x="49" y="290"/>
                  </a:lnTo>
                  <a:lnTo>
                    <a:pt x="51" y="295"/>
                  </a:lnTo>
                  <a:lnTo>
                    <a:pt x="57" y="301"/>
                  </a:lnTo>
                  <a:lnTo>
                    <a:pt x="62" y="307"/>
                  </a:lnTo>
                  <a:lnTo>
                    <a:pt x="66" y="312"/>
                  </a:lnTo>
                  <a:lnTo>
                    <a:pt x="66" y="316"/>
                  </a:lnTo>
                  <a:lnTo>
                    <a:pt x="66" y="320"/>
                  </a:lnTo>
                  <a:lnTo>
                    <a:pt x="64" y="323"/>
                  </a:lnTo>
                  <a:lnTo>
                    <a:pt x="60" y="327"/>
                  </a:lnTo>
                  <a:lnTo>
                    <a:pt x="47" y="335"/>
                  </a:lnTo>
                  <a:lnTo>
                    <a:pt x="47" y="335"/>
                  </a:lnTo>
                  <a:lnTo>
                    <a:pt x="21" y="355"/>
                  </a:lnTo>
                  <a:lnTo>
                    <a:pt x="0" y="372"/>
                  </a:lnTo>
                  <a:lnTo>
                    <a:pt x="25" y="406"/>
                  </a:lnTo>
                  <a:lnTo>
                    <a:pt x="25" y="406"/>
                  </a:lnTo>
                  <a:lnTo>
                    <a:pt x="30" y="411"/>
                  </a:lnTo>
                  <a:lnTo>
                    <a:pt x="36" y="413"/>
                  </a:lnTo>
                  <a:lnTo>
                    <a:pt x="47" y="413"/>
                  </a:lnTo>
                  <a:lnTo>
                    <a:pt x="51" y="415"/>
                  </a:lnTo>
                  <a:lnTo>
                    <a:pt x="57" y="420"/>
                  </a:lnTo>
                  <a:lnTo>
                    <a:pt x="60" y="432"/>
                  </a:lnTo>
                  <a:lnTo>
                    <a:pt x="62" y="452"/>
                  </a:lnTo>
                  <a:lnTo>
                    <a:pt x="62" y="452"/>
                  </a:lnTo>
                  <a:lnTo>
                    <a:pt x="64" y="454"/>
                  </a:lnTo>
                  <a:lnTo>
                    <a:pt x="66" y="456"/>
                  </a:lnTo>
                  <a:lnTo>
                    <a:pt x="75" y="458"/>
                  </a:lnTo>
                  <a:lnTo>
                    <a:pt x="86" y="460"/>
                  </a:lnTo>
                  <a:lnTo>
                    <a:pt x="100" y="463"/>
                  </a:lnTo>
                  <a:lnTo>
                    <a:pt x="113" y="467"/>
                  </a:lnTo>
                  <a:lnTo>
                    <a:pt x="118" y="473"/>
                  </a:lnTo>
                  <a:lnTo>
                    <a:pt x="122" y="478"/>
                  </a:lnTo>
                  <a:lnTo>
                    <a:pt x="126" y="486"/>
                  </a:lnTo>
                  <a:lnTo>
                    <a:pt x="129" y="495"/>
                  </a:lnTo>
                  <a:lnTo>
                    <a:pt x="129" y="506"/>
                  </a:lnTo>
                  <a:lnTo>
                    <a:pt x="129" y="520"/>
                  </a:lnTo>
                  <a:lnTo>
                    <a:pt x="129" y="520"/>
                  </a:lnTo>
                  <a:lnTo>
                    <a:pt x="128" y="523"/>
                  </a:lnTo>
                  <a:lnTo>
                    <a:pt x="128" y="523"/>
                  </a:lnTo>
                  <a:lnTo>
                    <a:pt x="137" y="525"/>
                  </a:lnTo>
                  <a:lnTo>
                    <a:pt x="144" y="523"/>
                  </a:lnTo>
                  <a:lnTo>
                    <a:pt x="146" y="521"/>
                  </a:lnTo>
                  <a:lnTo>
                    <a:pt x="150" y="518"/>
                  </a:lnTo>
                  <a:lnTo>
                    <a:pt x="150" y="514"/>
                  </a:lnTo>
                  <a:lnTo>
                    <a:pt x="152" y="508"/>
                  </a:lnTo>
                  <a:lnTo>
                    <a:pt x="152" y="508"/>
                  </a:lnTo>
                  <a:lnTo>
                    <a:pt x="152" y="495"/>
                  </a:lnTo>
                  <a:lnTo>
                    <a:pt x="152" y="490"/>
                  </a:lnTo>
                  <a:lnTo>
                    <a:pt x="156" y="488"/>
                  </a:lnTo>
                  <a:lnTo>
                    <a:pt x="157" y="490"/>
                  </a:lnTo>
                  <a:lnTo>
                    <a:pt x="165" y="503"/>
                  </a:lnTo>
                  <a:lnTo>
                    <a:pt x="167" y="510"/>
                  </a:lnTo>
                  <a:lnTo>
                    <a:pt x="167" y="518"/>
                  </a:lnTo>
                  <a:lnTo>
                    <a:pt x="167" y="518"/>
                  </a:lnTo>
                  <a:lnTo>
                    <a:pt x="169" y="527"/>
                  </a:lnTo>
                  <a:lnTo>
                    <a:pt x="171" y="529"/>
                  </a:lnTo>
                  <a:lnTo>
                    <a:pt x="172" y="529"/>
                  </a:lnTo>
                  <a:lnTo>
                    <a:pt x="176" y="527"/>
                  </a:lnTo>
                  <a:lnTo>
                    <a:pt x="184" y="523"/>
                  </a:lnTo>
                  <a:lnTo>
                    <a:pt x="189" y="516"/>
                  </a:lnTo>
                  <a:lnTo>
                    <a:pt x="193" y="508"/>
                  </a:lnTo>
                  <a:lnTo>
                    <a:pt x="195" y="501"/>
                  </a:lnTo>
                  <a:lnTo>
                    <a:pt x="195" y="497"/>
                  </a:lnTo>
                  <a:lnTo>
                    <a:pt x="195" y="497"/>
                  </a:lnTo>
                  <a:lnTo>
                    <a:pt x="191" y="486"/>
                  </a:lnTo>
                  <a:lnTo>
                    <a:pt x="195" y="488"/>
                  </a:lnTo>
                  <a:lnTo>
                    <a:pt x="197" y="490"/>
                  </a:lnTo>
                  <a:lnTo>
                    <a:pt x="200" y="490"/>
                  </a:lnTo>
                  <a:lnTo>
                    <a:pt x="206" y="488"/>
                  </a:lnTo>
                  <a:lnTo>
                    <a:pt x="212" y="482"/>
                  </a:lnTo>
                  <a:lnTo>
                    <a:pt x="212" y="482"/>
                  </a:lnTo>
                  <a:lnTo>
                    <a:pt x="219" y="477"/>
                  </a:lnTo>
                  <a:lnTo>
                    <a:pt x="225" y="475"/>
                  </a:lnTo>
                  <a:lnTo>
                    <a:pt x="228" y="478"/>
                  </a:lnTo>
                  <a:lnTo>
                    <a:pt x="232" y="482"/>
                  </a:lnTo>
                  <a:lnTo>
                    <a:pt x="238" y="486"/>
                  </a:lnTo>
                  <a:lnTo>
                    <a:pt x="243" y="488"/>
                  </a:lnTo>
                  <a:lnTo>
                    <a:pt x="251" y="486"/>
                  </a:lnTo>
                  <a:lnTo>
                    <a:pt x="260" y="477"/>
                  </a:lnTo>
                  <a:lnTo>
                    <a:pt x="260" y="477"/>
                  </a:lnTo>
                  <a:lnTo>
                    <a:pt x="264" y="473"/>
                  </a:lnTo>
                  <a:lnTo>
                    <a:pt x="266" y="469"/>
                  </a:lnTo>
                  <a:lnTo>
                    <a:pt x="266" y="463"/>
                  </a:lnTo>
                  <a:lnTo>
                    <a:pt x="264" y="456"/>
                  </a:lnTo>
                  <a:lnTo>
                    <a:pt x="262" y="445"/>
                  </a:lnTo>
                  <a:lnTo>
                    <a:pt x="262" y="445"/>
                  </a:lnTo>
                  <a:lnTo>
                    <a:pt x="264" y="443"/>
                  </a:lnTo>
                  <a:lnTo>
                    <a:pt x="270" y="441"/>
                  </a:lnTo>
                  <a:lnTo>
                    <a:pt x="275" y="439"/>
                  </a:lnTo>
                  <a:lnTo>
                    <a:pt x="283" y="437"/>
                  </a:lnTo>
                  <a:lnTo>
                    <a:pt x="290" y="437"/>
                  </a:lnTo>
                  <a:lnTo>
                    <a:pt x="298" y="439"/>
                  </a:lnTo>
                  <a:lnTo>
                    <a:pt x="305" y="443"/>
                  </a:lnTo>
                  <a:lnTo>
                    <a:pt x="309" y="450"/>
                  </a:lnTo>
                  <a:lnTo>
                    <a:pt x="309" y="450"/>
                  </a:lnTo>
                  <a:lnTo>
                    <a:pt x="314" y="462"/>
                  </a:lnTo>
                  <a:lnTo>
                    <a:pt x="320" y="465"/>
                  </a:lnTo>
                  <a:lnTo>
                    <a:pt x="324" y="465"/>
                  </a:lnTo>
                  <a:lnTo>
                    <a:pt x="329" y="463"/>
                  </a:lnTo>
                  <a:lnTo>
                    <a:pt x="335" y="460"/>
                  </a:lnTo>
                  <a:lnTo>
                    <a:pt x="341" y="458"/>
                  </a:lnTo>
                  <a:lnTo>
                    <a:pt x="348" y="456"/>
                  </a:lnTo>
                  <a:lnTo>
                    <a:pt x="357" y="460"/>
                  </a:lnTo>
                  <a:lnTo>
                    <a:pt x="357" y="460"/>
                  </a:lnTo>
                  <a:lnTo>
                    <a:pt x="365" y="462"/>
                  </a:lnTo>
                  <a:lnTo>
                    <a:pt x="371" y="462"/>
                  </a:lnTo>
                  <a:lnTo>
                    <a:pt x="378" y="460"/>
                  </a:lnTo>
                  <a:lnTo>
                    <a:pt x="378" y="462"/>
                  </a:lnTo>
                  <a:lnTo>
                    <a:pt x="380" y="467"/>
                  </a:lnTo>
                  <a:lnTo>
                    <a:pt x="382" y="495"/>
                  </a:lnTo>
                  <a:lnTo>
                    <a:pt x="382" y="495"/>
                  </a:lnTo>
                  <a:lnTo>
                    <a:pt x="384" y="503"/>
                  </a:lnTo>
                  <a:lnTo>
                    <a:pt x="387" y="508"/>
                  </a:lnTo>
                  <a:lnTo>
                    <a:pt x="393" y="512"/>
                  </a:lnTo>
                  <a:lnTo>
                    <a:pt x="399" y="514"/>
                  </a:lnTo>
                  <a:lnTo>
                    <a:pt x="408" y="518"/>
                  </a:lnTo>
                  <a:lnTo>
                    <a:pt x="412" y="521"/>
                  </a:lnTo>
                  <a:lnTo>
                    <a:pt x="413" y="525"/>
                  </a:lnTo>
                  <a:lnTo>
                    <a:pt x="413" y="525"/>
                  </a:lnTo>
                  <a:lnTo>
                    <a:pt x="413" y="549"/>
                  </a:lnTo>
                  <a:lnTo>
                    <a:pt x="413" y="553"/>
                  </a:lnTo>
                  <a:lnTo>
                    <a:pt x="415" y="555"/>
                  </a:lnTo>
                  <a:lnTo>
                    <a:pt x="417" y="549"/>
                  </a:lnTo>
                  <a:lnTo>
                    <a:pt x="423" y="542"/>
                  </a:lnTo>
                  <a:lnTo>
                    <a:pt x="423" y="542"/>
                  </a:lnTo>
                  <a:lnTo>
                    <a:pt x="427" y="540"/>
                  </a:lnTo>
                  <a:lnTo>
                    <a:pt x="428" y="540"/>
                  </a:lnTo>
                  <a:lnTo>
                    <a:pt x="430" y="551"/>
                  </a:lnTo>
                  <a:lnTo>
                    <a:pt x="432" y="557"/>
                  </a:lnTo>
                  <a:lnTo>
                    <a:pt x="436" y="564"/>
                  </a:lnTo>
                  <a:lnTo>
                    <a:pt x="442" y="570"/>
                  </a:lnTo>
                  <a:lnTo>
                    <a:pt x="451" y="574"/>
                  </a:lnTo>
                  <a:lnTo>
                    <a:pt x="451" y="574"/>
                  </a:lnTo>
                  <a:lnTo>
                    <a:pt x="456" y="576"/>
                  </a:lnTo>
                  <a:lnTo>
                    <a:pt x="460" y="579"/>
                  </a:lnTo>
                  <a:lnTo>
                    <a:pt x="464" y="585"/>
                  </a:lnTo>
                  <a:lnTo>
                    <a:pt x="468" y="585"/>
                  </a:lnTo>
                  <a:lnTo>
                    <a:pt x="471" y="581"/>
                  </a:lnTo>
                  <a:lnTo>
                    <a:pt x="475" y="572"/>
                  </a:lnTo>
                  <a:lnTo>
                    <a:pt x="481" y="557"/>
                  </a:lnTo>
                  <a:lnTo>
                    <a:pt x="481" y="557"/>
                  </a:lnTo>
                  <a:lnTo>
                    <a:pt x="483" y="553"/>
                  </a:lnTo>
                  <a:lnTo>
                    <a:pt x="486" y="549"/>
                  </a:lnTo>
                  <a:lnTo>
                    <a:pt x="490" y="548"/>
                  </a:lnTo>
                  <a:lnTo>
                    <a:pt x="494" y="544"/>
                  </a:lnTo>
                  <a:lnTo>
                    <a:pt x="494" y="544"/>
                  </a:lnTo>
                  <a:lnTo>
                    <a:pt x="496" y="536"/>
                  </a:lnTo>
                  <a:lnTo>
                    <a:pt x="499" y="533"/>
                  </a:lnTo>
                  <a:lnTo>
                    <a:pt x="499" y="529"/>
                  </a:lnTo>
                  <a:lnTo>
                    <a:pt x="494" y="523"/>
                  </a:lnTo>
                  <a:lnTo>
                    <a:pt x="494" y="523"/>
                  </a:lnTo>
                  <a:lnTo>
                    <a:pt x="492" y="518"/>
                  </a:lnTo>
                  <a:lnTo>
                    <a:pt x="494" y="512"/>
                  </a:lnTo>
                  <a:lnTo>
                    <a:pt x="496" y="508"/>
                  </a:lnTo>
                  <a:lnTo>
                    <a:pt x="499" y="505"/>
                  </a:lnTo>
                  <a:lnTo>
                    <a:pt x="499" y="505"/>
                  </a:lnTo>
                  <a:lnTo>
                    <a:pt x="499" y="503"/>
                  </a:lnTo>
                  <a:lnTo>
                    <a:pt x="499" y="503"/>
                  </a:lnTo>
                  <a:lnTo>
                    <a:pt x="498" y="499"/>
                  </a:lnTo>
                  <a:lnTo>
                    <a:pt x="496" y="495"/>
                  </a:lnTo>
                  <a:lnTo>
                    <a:pt x="494" y="490"/>
                  </a:lnTo>
                  <a:lnTo>
                    <a:pt x="494" y="490"/>
                  </a:lnTo>
                  <a:lnTo>
                    <a:pt x="494" y="482"/>
                  </a:lnTo>
                  <a:lnTo>
                    <a:pt x="496" y="477"/>
                  </a:lnTo>
                  <a:lnTo>
                    <a:pt x="499" y="465"/>
                  </a:lnTo>
                  <a:lnTo>
                    <a:pt x="501" y="462"/>
                  </a:lnTo>
                  <a:lnTo>
                    <a:pt x="501" y="456"/>
                  </a:lnTo>
                  <a:lnTo>
                    <a:pt x="498" y="450"/>
                  </a:lnTo>
                  <a:lnTo>
                    <a:pt x="494" y="447"/>
                  </a:lnTo>
                  <a:lnTo>
                    <a:pt x="494" y="447"/>
                  </a:lnTo>
                  <a:lnTo>
                    <a:pt x="490" y="443"/>
                  </a:lnTo>
                  <a:lnTo>
                    <a:pt x="490" y="443"/>
                  </a:lnTo>
                  <a:lnTo>
                    <a:pt x="486" y="439"/>
                  </a:lnTo>
                  <a:lnTo>
                    <a:pt x="483" y="435"/>
                  </a:lnTo>
                  <a:lnTo>
                    <a:pt x="481" y="424"/>
                  </a:lnTo>
                  <a:lnTo>
                    <a:pt x="477" y="415"/>
                  </a:lnTo>
                  <a:lnTo>
                    <a:pt x="473" y="411"/>
                  </a:lnTo>
                  <a:lnTo>
                    <a:pt x="470" y="409"/>
                  </a:lnTo>
                  <a:lnTo>
                    <a:pt x="470" y="409"/>
                  </a:lnTo>
                  <a:lnTo>
                    <a:pt x="464" y="407"/>
                  </a:lnTo>
                  <a:lnTo>
                    <a:pt x="458" y="404"/>
                  </a:lnTo>
                  <a:lnTo>
                    <a:pt x="453" y="398"/>
                  </a:lnTo>
                  <a:lnTo>
                    <a:pt x="449" y="391"/>
                  </a:lnTo>
                  <a:lnTo>
                    <a:pt x="443" y="376"/>
                  </a:lnTo>
                  <a:lnTo>
                    <a:pt x="438" y="370"/>
                  </a:lnTo>
                  <a:lnTo>
                    <a:pt x="432" y="364"/>
                  </a:lnTo>
                  <a:lnTo>
                    <a:pt x="432" y="364"/>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0" name="Freeform 70">
              <a:extLst>
                <a:ext uri="{FF2B5EF4-FFF2-40B4-BE49-F238E27FC236}">
                  <a16:creationId xmlns:a16="http://schemas.microsoft.com/office/drawing/2014/main" id="{599FD525-1AAA-474A-ADB6-B22565D407B9}"/>
                </a:ext>
              </a:extLst>
            </p:cNvPr>
            <p:cNvSpPr>
              <a:spLocks/>
            </p:cNvSpPr>
            <p:nvPr/>
          </p:nvSpPr>
          <p:spPr bwMode="auto">
            <a:xfrm>
              <a:off x="5954479" y="3440166"/>
              <a:ext cx="123533" cy="212549"/>
            </a:xfrm>
            <a:custGeom>
              <a:avLst/>
              <a:gdLst/>
              <a:ahLst/>
              <a:cxnLst>
                <a:cxn ang="0">
                  <a:pos x="13" y="174"/>
                </a:cxn>
                <a:cxn ang="0">
                  <a:pos x="1" y="187"/>
                </a:cxn>
                <a:cxn ang="0">
                  <a:pos x="0" y="198"/>
                </a:cxn>
                <a:cxn ang="0">
                  <a:pos x="5" y="210"/>
                </a:cxn>
                <a:cxn ang="0">
                  <a:pos x="18" y="219"/>
                </a:cxn>
                <a:cxn ang="0">
                  <a:pos x="58" y="232"/>
                </a:cxn>
                <a:cxn ang="0">
                  <a:pos x="102" y="234"/>
                </a:cxn>
                <a:cxn ang="0">
                  <a:pos x="100" y="221"/>
                </a:cxn>
                <a:cxn ang="0">
                  <a:pos x="104" y="191"/>
                </a:cxn>
                <a:cxn ang="0">
                  <a:pos x="114" y="161"/>
                </a:cxn>
                <a:cxn ang="0">
                  <a:pos x="129" y="139"/>
                </a:cxn>
                <a:cxn ang="0">
                  <a:pos x="136" y="133"/>
                </a:cxn>
                <a:cxn ang="0">
                  <a:pos x="136" y="127"/>
                </a:cxn>
                <a:cxn ang="0">
                  <a:pos x="130" y="124"/>
                </a:cxn>
                <a:cxn ang="0">
                  <a:pos x="125" y="118"/>
                </a:cxn>
                <a:cxn ang="0">
                  <a:pos x="123" y="109"/>
                </a:cxn>
                <a:cxn ang="0">
                  <a:pos x="129" y="101"/>
                </a:cxn>
                <a:cxn ang="0">
                  <a:pos x="125" y="94"/>
                </a:cxn>
                <a:cxn ang="0">
                  <a:pos x="114" y="92"/>
                </a:cxn>
                <a:cxn ang="0">
                  <a:pos x="97" y="81"/>
                </a:cxn>
                <a:cxn ang="0">
                  <a:pos x="84" y="62"/>
                </a:cxn>
                <a:cxn ang="0">
                  <a:pos x="80" y="43"/>
                </a:cxn>
                <a:cxn ang="0">
                  <a:pos x="86" y="36"/>
                </a:cxn>
                <a:cxn ang="0">
                  <a:pos x="95" y="32"/>
                </a:cxn>
                <a:cxn ang="0">
                  <a:pos x="100" y="30"/>
                </a:cxn>
                <a:cxn ang="0">
                  <a:pos x="97" y="21"/>
                </a:cxn>
                <a:cxn ang="0">
                  <a:pos x="78" y="6"/>
                </a:cxn>
                <a:cxn ang="0">
                  <a:pos x="63" y="0"/>
                </a:cxn>
                <a:cxn ang="0">
                  <a:pos x="48" y="15"/>
                </a:cxn>
                <a:cxn ang="0">
                  <a:pos x="37" y="30"/>
                </a:cxn>
                <a:cxn ang="0">
                  <a:pos x="37" y="39"/>
                </a:cxn>
                <a:cxn ang="0">
                  <a:pos x="39" y="51"/>
                </a:cxn>
                <a:cxn ang="0">
                  <a:pos x="44" y="56"/>
                </a:cxn>
                <a:cxn ang="0">
                  <a:pos x="46" y="64"/>
                </a:cxn>
                <a:cxn ang="0">
                  <a:pos x="46" y="77"/>
                </a:cxn>
                <a:cxn ang="0">
                  <a:pos x="39" y="90"/>
                </a:cxn>
                <a:cxn ang="0">
                  <a:pos x="29" y="90"/>
                </a:cxn>
                <a:cxn ang="0">
                  <a:pos x="15" y="84"/>
                </a:cxn>
                <a:cxn ang="0">
                  <a:pos x="11" y="88"/>
                </a:cxn>
                <a:cxn ang="0">
                  <a:pos x="7" y="99"/>
                </a:cxn>
                <a:cxn ang="0">
                  <a:pos x="9" y="120"/>
                </a:cxn>
                <a:cxn ang="0">
                  <a:pos x="15" y="144"/>
                </a:cxn>
                <a:cxn ang="0">
                  <a:pos x="22" y="159"/>
                </a:cxn>
                <a:cxn ang="0">
                  <a:pos x="18" y="168"/>
                </a:cxn>
                <a:cxn ang="0">
                  <a:pos x="13" y="174"/>
                </a:cxn>
              </a:cxnLst>
              <a:rect l="0" t="0" r="r" b="b"/>
              <a:pathLst>
                <a:path w="136" h="234">
                  <a:moveTo>
                    <a:pt x="13" y="174"/>
                  </a:moveTo>
                  <a:lnTo>
                    <a:pt x="13" y="174"/>
                  </a:lnTo>
                  <a:lnTo>
                    <a:pt x="5" y="180"/>
                  </a:lnTo>
                  <a:lnTo>
                    <a:pt x="1" y="187"/>
                  </a:lnTo>
                  <a:lnTo>
                    <a:pt x="0" y="193"/>
                  </a:lnTo>
                  <a:lnTo>
                    <a:pt x="0" y="198"/>
                  </a:lnTo>
                  <a:lnTo>
                    <a:pt x="1" y="204"/>
                  </a:lnTo>
                  <a:lnTo>
                    <a:pt x="5" y="210"/>
                  </a:lnTo>
                  <a:lnTo>
                    <a:pt x="11" y="215"/>
                  </a:lnTo>
                  <a:lnTo>
                    <a:pt x="18" y="219"/>
                  </a:lnTo>
                  <a:lnTo>
                    <a:pt x="37" y="226"/>
                  </a:lnTo>
                  <a:lnTo>
                    <a:pt x="58" y="232"/>
                  </a:lnTo>
                  <a:lnTo>
                    <a:pt x="80" y="234"/>
                  </a:lnTo>
                  <a:lnTo>
                    <a:pt x="102" y="234"/>
                  </a:lnTo>
                  <a:lnTo>
                    <a:pt x="102" y="234"/>
                  </a:lnTo>
                  <a:lnTo>
                    <a:pt x="100" y="221"/>
                  </a:lnTo>
                  <a:lnTo>
                    <a:pt x="100" y="208"/>
                  </a:lnTo>
                  <a:lnTo>
                    <a:pt x="104" y="191"/>
                  </a:lnTo>
                  <a:lnTo>
                    <a:pt x="108" y="176"/>
                  </a:lnTo>
                  <a:lnTo>
                    <a:pt x="114" y="161"/>
                  </a:lnTo>
                  <a:lnTo>
                    <a:pt x="121" y="148"/>
                  </a:lnTo>
                  <a:lnTo>
                    <a:pt x="129" y="139"/>
                  </a:lnTo>
                  <a:lnTo>
                    <a:pt x="132" y="135"/>
                  </a:lnTo>
                  <a:lnTo>
                    <a:pt x="136" y="133"/>
                  </a:lnTo>
                  <a:lnTo>
                    <a:pt x="136" y="133"/>
                  </a:lnTo>
                  <a:lnTo>
                    <a:pt x="136" y="127"/>
                  </a:lnTo>
                  <a:lnTo>
                    <a:pt x="134" y="125"/>
                  </a:lnTo>
                  <a:lnTo>
                    <a:pt x="130" y="124"/>
                  </a:lnTo>
                  <a:lnTo>
                    <a:pt x="130" y="124"/>
                  </a:lnTo>
                  <a:lnTo>
                    <a:pt x="125" y="118"/>
                  </a:lnTo>
                  <a:lnTo>
                    <a:pt x="123" y="112"/>
                  </a:lnTo>
                  <a:lnTo>
                    <a:pt x="123" y="109"/>
                  </a:lnTo>
                  <a:lnTo>
                    <a:pt x="127" y="105"/>
                  </a:lnTo>
                  <a:lnTo>
                    <a:pt x="129" y="101"/>
                  </a:lnTo>
                  <a:lnTo>
                    <a:pt x="129" y="97"/>
                  </a:lnTo>
                  <a:lnTo>
                    <a:pt x="125" y="94"/>
                  </a:lnTo>
                  <a:lnTo>
                    <a:pt x="114" y="92"/>
                  </a:lnTo>
                  <a:lnTo>
                    <a:pt x="114" y="92"/>
                  </a:lnTo>
                  <a:lnTo>
                    <a:pt x="104" y="88"/>
                  </a:lnTo>
                  <a:lnTo>
                    <a:pt x="97" y="81"/>
                  </a:lnTo>
                  <a:lnTo>
                    <a:pt x="89" y="71"/>
                  </a:lnTo>
                  <a:lnTo>
                    <a:pt x="84" y="62"/>
                  </a:lnTo>
                  <a:lnTo>
                    <a:pt x="80" y="53"/>
                  </a:lnTo>
                  <a:lnTo>
                    <a:pt x="80" y="43"/>
                  </a:lnTo>
                  <a:lnTo>
                    <a:pt x="82" y="39"/>
                  </a:lnTo>
                  <a:lnTo>
                    <a:pt x="86" y="36"/>
                  </a:lnTo>
                  <a:lnTo>
                    <a:pt x="89" y="34"/>
                  </a:lnTo>
                  <a:lnTo>
                    <a:pt x="95" y="32"/>
                  </a:lnTo>
                  <a:lnTo>
                    <a:pt x="95" y="32"/>
                  </a:lnTo>
                  <a:lnTo>
                    <a:pt x="100" y="30"/>
                  </a:lnTo>
                  <a:lnTo>
                    <a:pt x="100" y="25"/>
                  </a:lnTo>
                  <a:lnTo>
                    <a:pt x="97" y="21"/>
                  </a:lnTo>
                  <a:lnTo>
                    <a:pt x="91" y="15"/>
                  </a:lnTo>
                  <a:lnTo>
                    <a:pt x="78" y="6"/>
                  </a:lnTo>
                  <a:lnTo>
                    <a:pt x="71" y="2"/>
                  </a:lnTo>
                  <a:lnTo>
                    <a:pt x="63" y="0"/>
                  </a:lnTo>
                  <a:lnTo>
                    <a:pt x="63" y="0"/>
                  </a:lnTo>
                  <a:lnTo>
                    <a:pt x="48" y="15"/>
                  </a:lnTo>
                  <a:lnTo>
                    <a:pt x="41" y="25"/>
                  </a:lnTo>
                  <a:lnTo>
                    <a:pt x="37" y="30"/>
                  </a:lnTo>
                  <a:lnTo>
                    <a:pt x="37" y="30"/>
                  </a:lnTo>
                  <a:lnTo>
                    <a:pt x="37" y="39"/>
                  </a:lnTo>
                  <a:lnTo>
                    <a:pt x="37" y="47"/>
                  </a:lnTo>
                  <a:lnTo>
                    <a:pt x="39" y="51"/>
                  </a:lnTo>
                  <a:lnTo>
                    <a:pt x="41" y="53"/>
                  </a:lnTo>
                  <a:lnTo>
                    <a:pt x="44" y="56"/>
                  </a:lnTo>
                  <a:lnTo>
                    <a:pt x="44" y="58"/>
                  </a:lnTo>
                  <a:lnTo>
                    <a:pt x="46" y="64"/>
                  </a:lnTo>
                  <a:lnTo>
                    <a:pt x="46" y="64"/>
                  </a:lnTo>
                  <a:lnTo>
                    <a:pt x="46" y="77"/>
                  </a:lnTo>
                  <a:lnTo>
                    <a:pt x="43" y="84"/>
                  </a:lnTo>
                  <a:lnTo>
                    <a:pt x="39" y="90"/>
                  </a:lnTo>
                  <a:lnTo>
                    <a:pt x="35" y="90"/>
                  </a:lnTo>
                  <a:lnTo>
                    <a:pt x="29" y="90"/>
                  </a:lnTo>
                  <a:lnTo>
                    <a:pt x="24" y="88"/>
                  </a:lnTo>
                  <a:lnTo>
                    <a:pt x="15" y="84"/>
                  </a:lnTo>
                  <a:lnTo>
                    <a:pt x="15" y="84"/>
                  </a:lnTo>
                  <a:lnTo>
                    <a:pt x="11" y="88"/>
                  </a:lnTo>
                  <a:lnTo>
                    <a:pt x="7" y="92"/>
                  </a:lnTo>
                  <a:lnTo>
                    <a:pt x="7" y="99"/>
                  </a:lnTo>
                  <a:lnTo>
                    <a:pt x="7" y="99"/>
                  </a:lnTo>
                  <a:lnTo>
                    <a:pt x="9" y="120"/>
                  </a:lnTo>
                  <a:lnTo>
                    <a:pt x="11" y="135"/>
                  </a:lnTo>
                  <a:lnTo>
                    <a:pt x="15" y="144"/>
                  </a:lnTo>
                  <a:lnTo>
                    <a:pt x="18" y="153"/>
                  </a:lnTo>
                  <a:lnTo>
                    <a:pt x="22" y="159"/>
                  </a:lnTo>
                  <a:lnTo>
                    <a:pt x="22" y="163"/>
                  </a:lnTo>
                  <a:lnTo>
                    <a:pt x="18" y="168"/>
                  </a:lnTo>
                  <a:lnTo>
                    <a:pt x="13" y="174"/>
                  </a:lnTo>
                  <a:lnTo>
                    <a:pt x="13" y="174"/>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1" name="Freeform 71">
              <a:extLst>
                <a:ext uri="{FF2B5EF4-FFF2-40B4-BE49-F238E27FC236}">
                  <a16:creationId xmlns:a16="http://schemas.microsoft.com/office/drawing/2014/main" id="{4E017607-C184-4801-A311-331AA632F977}"/>
                </a:ext>
              </a:extLst>
            </p:cNvPr>
            <p:cNvSpPr>
              <a:spLocks/>
            </p:cNvSpPr>
            <p:nvPr/>
          </p:nvSpPr>
          <p:spPr bwMode="auto">
            <a:xfrm>
              <a:off x="5818229" y="3343884"/>
              <a:ext cx="194383" cy="208916"/>
            </a:xfrm>
            <a:custGeom>
              <a:avLst/>
              <a:gdLst/>
              <a:ahLst/>
              <a:cxnLst>
                <a:cxn ang="0">
                  <a:pos x="75" y="213"/>
                </a:cxn>
                <a:cxn ang="0">
                  <a:pos x="92" y="216"/>
                </a:cxn>
                <a:cxn ang="0">
                  <a:pos x="96" y="224"/>
                </a:cxn>
                <a:cxn ang="0">
                  <a:pos x="97" y="230"/>
                </a:cxn>
                <a:cxn ang="0">
                  <a:pos x="125" y="207"/>
                </a:cxn>
                <a:cxn ang="0">
                  <a:pos x="133" y="203"/>
                </a:cxn>
                <a:cxn ang="0">
                  <a:pos x="159" y="205"/>
                </a:cxn>
                <a:cxn ang="0">
                  <a:pos x="159" y="198"/>
                </a:cxn>
                <a:cxn ang="0">
                  <a:pos x="167" y="190"/>
                </a:cxn>
                <a:cxn ang="0">
                  <a:pos x="167" y="188"/>
                </a:cxn>
                <a:cxn ang="0">
                  <a:pos x="167" y="185"/>
                </a:cxn>
                <a:cxn ang="0">
                  <a:pos x="168" y="174"/>
                </a:cxn>
                <a:cxn ang="0">
                  <a:pos x="165" y="170"/>
                </a:cxn>
                <a:cxn ang="0">
                  <a:pos x="155" y="164"/>
                </a:cxn>
                <a:cxn ang="0">
                  <a:pos x="153" y="160"/>
                </a:cxn>
                <a:cxn ang="0">
                  <a:pos x="150" y="145"/>
                </a:cxn>
                <a:cxn ang="0">
                  <a:pos x="159" y="138"/>
                </a:cxn>
                <a:cxn ang="0">
                  <a:pos x="189" y="136"/>
                </a:cxn>
                <a:cxn ang="0">
                  <a:pos x="193" y="131"/>
                </a:cxn>
                <a:cxn ang="0">
                  <a:pos x="215" y="106"/>
                </a:cxn>
                <a:cxn ang="0">
                  <a:pos x="206" y="99"/>
                </a:cxn>
                <a:cxn ang="0">
                  <a:pos x="195" y="82"/>
                </a:cxn>
                <a:cxn ang="0">
                  <a:pos x="196" y="69"/>
                </a:cxn>
                <a:cxn ang="0">
                  <a:pos x="208" y="54"/>
                </a:cxn>
                <a:cxn ang="0">
                  <a:pos x="215" y="45"/>
                </a:cxn>
                <a:cxn ang="0">
                  <a:pos x="210" y="41"/>
                </a:cxn>
                <a:cxn ang="0">
                  <a:pos x="174" y="41"/>
                </a:cxn>
                <a:cxn ang="0">
                  <a:pos x="167" y="41"/>
                </a:cxn>
                <a:cxn ang="0">
                  <a:pos x="155" y="35"/>
                </a:cxn>
                <a:cxn ang="0">
                  <a:pos x="142" y="18"/>
                </a:cxn>
                <a:cxn ang="0">
                  <a:pos x="127" y="2"/>
                </a:cxn>
                <a:cxn ang="0">
                  <a:pos x="118" y="0"/>
                </a:cxn>
                <a:cxn ang="0">
                  <a:pos x="109" y="9"/>
                </a:cxn>
                <a:cxn ang="0">
                  <a:pos x="97" y="28"/>
                </a:cxn>
                <a:cxn ang="0">
                  <a:pos x="75" y="45"/>
                </a:cxn>
                <a:cxn ang="0">
                  <a:pos x="51" y="61"/>
                </a:cxn>
                <a:cxn ang="0">
                  <a:pos x="45" y="63"/>
                </a:cxn>
                <a:cxn ang="0">
                  <a:pos x="34" y="67"/>
                </a:cxn>
                <a:cxn ang="0">
                  <a:pos x="28" y="73"/>
                </a:cxn>
                <a:cxn ang="0">
                  <a:pos x="30" y="78"/>
                </a:cxn>
                <a:cxn ang="0">
                  <a:pos x="41" y="97"/>
                </a:cxn>
                <a:cxn ang="0">
                  <a:pos x="47" y="110"/>
                </a:cxn>
                <a:cxn ang="0">
                  <a:pos x="47" y="117"/>
                </a:cxn>
                <a:cxn ang="0">
                  <a:pos x="43" y="121"/>
                </a:cxn>
                <a:cxn ang="0">
                  <a:pos x="15" y="140"/>
                </a:cxn>
                <a:cxn ang="0">
                  <a:pos x="0" y="147"/>
                </a:cxn>
                <a:cxn ang="0">
                  <a:pos x="8" y="175"/>
                </a:cxn>
                <a:cxn ang="0">
                  <a:pos x="10" y="181"/>
                </a:cxn>
                <a:cxn ang="0">
                  <a:pos x="4" y="194"/>
                </a:cxn>
                <a:cxn ang="0">
                  <a:pos x="6" y="203"/>
                </a:cxn>
                <a:cxn ang="0">
                  <a:pos x="23" y="213"/>
                </a:cxn>
                <a:cxn ang="0">
                  <a:pos x="45" y="220"/>
                </a:cxn>
                <a:cxn ang="0">
                  <a:pos x="51" y="218"/>
                </a:cxn>
                <a:cxn ang="0">
                  <a:pos x="53" y="215"/>
                </a:cxn>
                <a:cxn ang="0">
                  <a:pos x="75" y="213"/>
                </a:cxn>
              </a:cxnLst>
              <a:rect l="0" t="0" r="r" b="b"/>
              <a:pathLst>
                <a:path w="215" h="230">
                  <a:moveTo>
                    <a:pt x="75" y="213"/>
                  </a:moveTo>
                  <a:lnTo>
                    <a:pt x="75" y="213"/>
                  </a:lnTo>
                  <a:lnTo>
                    <a:pt x="88" y="215"/>
                  </a:lnTo>
                  <a:lnTo>
                    <a:pt x="92" y="216"/>
                  </a:lnTo>
                  <a:lnTo>
                    <a:pt x="94" y="218"/>
                  </a:lnTo>
                  <a:lnTo>
                    <a:pt x="96" y="224"/>
                  </a:lnTo>
                  <a:lnTo>
                    <a:pt x="97" y="228"/>
                  </a:lnTo>
                  <a:lnTo>
                    <a:pt x="97" y="230"/>
                  </a:lnTo>
                  <a:lnTo>
                    <a:pt x="101" y="228"/>
                  </a:lnTo>
                  <a:lnTo>
                    <a:pt x="125" y="207"/>
                  </a:lnTo>
                  <a:lnTo>
                    <a:pt x="125" y="207"/>
                  </a:lnTo>
                  <a:lnTo>
                    <a:pt x="133" y="203"/>
                  </a:lnTo>
                  <a:lnTo>
                    <a:pt x="142" y="203"/>
                  </a:lnTo>
                  <a:lnTo>
                    <a:pt x="159" y="205"/>
                  </a:lnTo>
                  <a:lnTo>
                    <a:pt x="159" y="205"/>
                  </a:lnTo>
                  <a:lnTo>
                    <a:pt x="159" y="198"/>
                  </a:lnTo>
                  <a:lnTo>
                    <a:pt x="163" y="194"/>
                  </a:lnTo>
                  <a:lnTo>
                    <a:pt x="167" y="190"/>
                  </a:lnTo>
                  <a:lnTo>
                    <a:pt x="167" y="190"/>
                  </a:lnTo>
                  <a:lnTo>
                    <a:pt x="167" y="188"/>
                  </a:lnTo>
                  <a:lnTo>
                    <a:pt x="167" y="185"/>
                  </a:lnTo>
                  <a:lnTo>
                    <a:pt x="167" y="185"/>
                  </a:lnTo>
                  <a:lnTo>
                    <a:pt x="168" y="179"/>
                  </a:lnTo>
                  <a:lnTo>
                    <a:pt x="168" y="174"/>
                  </a:lnTo>
                  <a:lnTo>
                    <a:pt x="167" y="172"/>
                  </a:lnTo>
                  <a:lnTo>
                    <a:pt x="165" y="170"/>
                  </a:lnTo>
                  <a:lnTo>
                    <a:pt x="159" y="166"/>
                  </a:lnTo>
                  <a:lnTo>
                    <a:pt x="155" y="164"/>
                  </a:lnTo>
                  <a:lnTo>
                    <a:pt x="153" y="160"/>
                  </a:lnTo>
                  <a:lnTo>
                    <a:pt x="153" y="160"/>
                  </a:lnTo>
                  <a:lnTo>
                    <a:pt x="150" y="151"/>
                  </a:lnTo>
                  <a:lnTo>
                    <a:pt x="150" y="145"/>
                  </a:lnTo>
                  <a:lnTo>
                    <a:pt x="153" y="142"/>
                  </a:lnTo>
                  <a:lnTo>
                    <a:pt x="159" y="138"/>
                  </a:lnTo>
                  <a:lnTo>
                    <a:pt x="176" y="136"/>
                  </a:lnTo>
                  <a:lnTo>
                    <a:pt x="189" y="136"/>
                  </a:lnTo>
                  <a:lnTo>
                    <a:pt x="189" y="136"/>
                  </a:lnTo>
                  <a:lnTo>
                    <a:pt x="193" y="131"/>
                  </a:lnTo>
                  <a:lnTo>
                    <a:pt x="200" y="121"/>
                  </a:lnTo>
                  <a:lnTo>
                    <a:pt x="215" y="106"/>
                  </a:lnTo>
                  <a:lnTo>
                    <a:pt x="215" y="106"/>
                  </a:lnTo>
                  <a:lnTo>
                    <a:pt x="206" y="99"/>
                  </a:lnTo>
                  <a:lnTo>
                    <a:pt x="198" y="89"/>
                  </a:lnTo>
                  <a:lnTo>
                    <a:pt x="195" y="82"/>
                  </a:lnTo>
                  <a:lnTo>
                    <a:pt x="195" y="76"/>
                  </a:lnTo>
                  <a:lnTo>
                    <a:pt x="196" y="69"/>
                  </a:lnTo>
                  <a:lnTo>
                    <a:pt x="200" y="63"/>
                  </a:lnTo>
                  <a:lnTo>
                    <a:pt x="208" y="54"/>
                  </a:lnTo>
                  <a:lnTo>
                    <a:pt x="215" y="46"/>
                  </a:lnTo>
                  <a:lnTo>
                    <a:pt x="215" y="45"/>
                  </a:lnTo>
                  <a:lnTo>
                    <a:pt x="215" y="43"/>
                  </a:lnTo>
                  <a:lnTo>
                    <a:pt x="210" y="41"/>
                  </a:lnTo>
                  <a:lnTo>
                    <a:pt x="202" y="41"/>
                  </a:lnTo>
                  <a:lnTo>
                    <a:pt x="174" y="41"/>
                  </a:lnTo>
                  <a:lnTo>
                    <a:pt x="174" y="41"/>
                  </a:lnTo>
                  <a:lnTo>
                    <a:pt x="167" y="41"/>
                  </a:lnTo>
                  <a:lnTo>
                    <a:pt x="161" y="39"/>
                  </a:lnTo>
                  <a:lnTo>
                    <a:pt x="155" y="35"/>
                  </a:lnTo>
                  <a:lnTo>
                    <a:pt x="150" y="30"/>
                  </a:lnTo>
                  <a:lnTo>
                    <a:pt x="142" y="18"/>
                  </a:lnTo>
                  <a:lnTo>
                    <a:pt x="135" y="9"/>
                  </a:lnTo>
                  <a:lnTo>
                    <a:pt x="127" y="2"/>
                  </a:lnTo>
                  <a:lnTo>
                    <a:pt x="124" y="0"/>
                  </a:lnTo>
                  <a:lnTo>
                    <a:pt x="118" y="0"/>
                  </a:lnTo>
                  <a:lnTo>
                    <a:pt x="114" y="3"/>
                  </a:lnTo>
                  <a:lnTo>
                    <a:pt x="109" y="9"/>
                  </a:lnTo>
                  <a:lnTo>
                    <a:pt x="103" y="17"/>
                  </a:lnTo>
                  <a:lnTo>
                    <a:pt x="97" y="28"/>
                  </a:lnTo>
                  <a:lnTo>
                    <a:pt x="97" y="28"/>
                  </a:lnTo>
                  <a:lnTo>
                    <a:pt x="75" y="45"/>
                  </a:lnTo>
                  <a:lnTo>
                    <a:pt x="58" y="58"/>
                  </a:lnTo>
                  <a:lnTo>
                    <a:pt x="51" y="61"/>
                  </a:lnTo>
                  <a:lnTo>
                    <a:pt x="45" y="63"/>
                  </a:lnTo>
                  <a:lnTo>
                    <a:pt x="45" y="63"/>
                  </a:lnTo>
                  <a:lnTo>
                    <a:pt x="38" y="65"/>
                  </a:lnTo>
                  <a:lnTo>
                    <a:pt x="34" y="67"/>
                  </a:lnTo>
                  <a:lnTo>
                    <a:pt x="30" y="69"/>
                  </a:lnTo>
                  <a:lnTo>
                    <a:pt x="28" y="73"/>
                  </a:lnTo>
                  <a:lnTo>
                    <a:pt x="28" y="74"/>
                  </a:lnTo>
                  <a:lnTo>
                    <a:pt x="30" y="78"/>
                  </a:lnTo>
                  <a:lnTo>
                    <a:pt x="36" y="88"/>
                  </a:lnTo>
                  <a:lnTo>
                    <a:pt x="41" y="97"/>
                  </a:lnTo>
                  <a:lnTo>
                    <a:pt x="47" y="106"/>
                  </a:lnTo>
                  <a:lnTo>
                    <a:pt x="47" y="110"/>
                  </a:lnTo>
                  <a:lnTo>
                    <a:pt x="47" y="114"/>
                  </a:lnTo>
                  <a:lnTo>
                    <a:pt x="47" y="117"/>
                  </a:lnTo>
                  <a:lnTo>
                    <a:pt x="43" y="121"/>
                  </a:lnTo>
                  <a:lnTo>
                    <a:pt x="43" y="121"/>
                  </a:lnTo>
                  <a:lnTo>
                    <a:pt x="26" y="134"/>
                  </a:lnTo>
                  <a:lnTo>
                    <a:pt x="15" y="140"/>
                  </a:lnTo>
                  <a:lnTo>
                    <a:pt x="2" y="145"/>
                  </a:lnTo>
                  <a:lnTo>
                    <a:pt x="0" y="147"/>
                  </a:lnTo>
                  <a:lnTo>
                    <a:pt x="0" y="153"/>
                  </a:lnTo>
                  <a:lnTo>
                    <a:pt x="8" y="175"/>
                  </a:lnTo>
                  <a:lnTo>
                    <a:pt x="8" y="175"/>
                  </a:lnTo>
                  <a:lnTo>
                    <a:pt x="10" y="181"/>
                  </a:lnTo>
                  <a:lnTo>
                    <a:pt x="8" y="185"/>
                  </a:lnTo>
                  <a:lnTo>
                    <a:pt x="4" y="194"/>
                  </a:lnTo>
                  <a:lnTo>
                    <a:pt x="4" y="198"/>
                  </a:lnTo>
                  <a:lnTo>
                    <a:pt x="6" y="203"/>
                  </a:lnTo>
                  <a:lnTo>
                    <a:pt x="11" y="207"/>
                  </a:lnTo>
                  <a:lnTo>
                    <a:pt x="23" y="213"/>
                  </a:lnTo>
                  <a:lnTo>
                    <a:pt x="23" y="213"/>
                  </a:lnTo>
                  <a:lnTo>
                    <a:pt x="45" y="220"/>
                  </a:lnTo>
                  <a:lnTo>
                    <a:pt x="49" y="220"/>
                  </a:lnTo>
                  <a:lnTo>
                    <a:pt x="51" y="218"/>
                  </a:lnTo>
                  <a:lnTo>
                    <a:pt x="51" y="216"/>
                  </a:lnTo>
                  <a:lnTo>
                    <a:pt x="53" y="215"/>
                  </a:lnTo>
                  <a:lnTo>
                    <a:pt x="60" y="213"/>
                  </a:lnTo>
                  <a:lnTo>
                    <a:pt x="75" y="213"/>
                  </a:lnTo>
                  <a:lnTo>
                    <a:pt x="75" y="213"/>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2" name="Freeform 72">
              <a:extLst>
                <a:ext uri="{FF2B5EF4-FFF2-40B4-BE49-F238E27FC236}">
                  <a16:creationId xmlns:a16="http://schemas.microsoft.com/office/drawing/2014/main" id="{D0E53352-F9E3-4D61-9191-07B2D50ADA0C}"/>
                </a:ext>
              </a:extLst>
            </p:cNvPr>
            <p:cNvSpPr>
              <a:spLocks/>
            </p:cNvSpPr>
            <p:nvPr/>
          </p:nvSpPr>
          <p:spPr bwMode="auto">
            <a:xfrm>
              <a:off x="4715516" y="3585499"/>
              <a:ext cx="321550" cy="514115"/>
            </a:xfrm>
            <a:custGeom>
              <a:avLst/>
              <a:gdLst/>
              <a:ahLst/>
              <a:cxnLst>
                <a:cxn ang="0">
                  <a:pos x="13" y="284"/>
                </a:cxn>
                <a:cxn ang="0">
                  <a:pos x="45" y="293"/>
                </a:cxn>
                <a:cxn ang="0">
                  <a:pos x="75" y="327"/>
                </a:cxn>
                <a:cxn ang="0">
                  <a:pos x="92" y="351"/>
                </a:cxn>
                <a:cxn ang="0">
                  <a:pos x="79" y="372"/>
                </a:cxn>
                <a:cxn ang="0">
                  <a:pos x="86" y="391"/>
                </a:cxn>
                <a:cxn ang="0">
                  <a:pos x="107" y="419"/>
                </a:cxn>
                <a:cxn ang="0">
                  <a:pos x="107" y="439"/>
                </a:cxn>
                <a:cxn ang="0">
                  <a:pos x="84" y="473"/>
                </a:cxn>
                <a:cxn ang="0">
                  <a:pos x="94" y="491"/>
                </a:cxn>
                <a:cxn ang="0">
                  <a:pos x="124" y="505"/>
                </a:cxn>
                <a:cxn ang="0">
                  <a:pos x="131" y="516"/>
                </a:cxn>
                <a:cxn ang="0">
                  <a:pos x="148" y="523"/>
                </a:cxn>
                <a:cxn ang="0">
                  <a:pos x="198" y="566"/>
                </a:cxn>
                <a:cxn ang="0">
                  <a:pos x="213" y="557"/>
                </a:cxn>
                <a:cxn ang="0">
                  <a:pos x="208" y="533"/>
                </a:cxn>
                <a:cxn ang="0">
                  <a:pos x="223" y="501"/>
                </a:cxn>
                <a:cxn ang="0">
                  <a:pos x="243" y="506"/>
                </a:cxn>
                <a:cxn ang="0">
                  <a:pos x="260" y="495"/>
                </a:cxn>
                <a:cxn ang="0">
                  <a:pos x="266" y="454"/>
                </a:cxn>
                <a:cxn ang="0">
                  <a:pos x="247" y="432"/>
                </a:cxn>
                <a:cxn ang="0">
                  <a:pos x="219" y="426"/>
                </a:cxn>
                <a:cxn ang="0">
                  <a:pos x="221" y="413"/>
                </a:cxn>
                <a:cxn ang="0">
                  <a:pos x="213" y="392"/>
                </a:cxn>
                <a:cxn ang="0">
                  <a:pos x="219" y="374"/>
                </a:cxn>
                <a:cxn ang="0">
                  <a:pos x="238" y="353"/>
                </a:cxn>
                <a:cxn ang="0">
                  <a:pos x="238" y="314"/>
                </a:cxn>
                <a:cxn ang="0">
                  <a:pos x="279" y="314"/>
                </a:cxn>
                <a:cxn ang="0">
                  <a:pos x="312" y="265"/>
                </a:cxn>
                <a:cxn ang="0">
                  <a:pos x="325" y="237"/>
                </a:cxn>
                <a:cxn ang="0">
                  <a:pos x="354" y="211"/>
                </a:cxn>
                <a:cxn ang="0">
                  <a:pos x="335" y="202"/>
                </a:cxn>
                <a:cxn ang="0">
                  <a:pos x="320" y="183"/>
                </a:cxn>
                <a:cxn ang="0">
                  <a:pos x="305" y="168"/>
                </a:cxn>
                <a:cxn ang="0">
                  <a:pos x="269" y="170"/>
                </a:cxn>
                <a:cxn ang="0">
                  <a:pos x="247" y="161"/>
                </a:cxn>
                <a:cxn ang="0">
                  <a:pos x="234" y="140"/>
                </a:cxn>
                <a:cxn ang="0">
                  <a:pos x="275" y="65"/>
                </a:cxn>
                <a:cxn ang="0">
                  <a:pos x="286" y="54"/>
                </a:cxn>
                <a:cxn ang="0">
                  <a:pos x="264" y="6"/>
                </a:cxn>
                <a:cxn ang="0">
                  <a:pos x="249" y="0"/>
                </a:cxn>
                <a:cxn ang="0">
                  <a:pos x="200" y="28"/>
                </a:cxn>
                <a:cxn ang="0">
                  <a:pos x="191" y="32"/>
                </a:cxn>
                <a:cxn ang="0">
                  <a:pos x="169" y="73"/>
                </a:cxn>
                <a:cxn ang="0">
                  <a:pos x="157" y="120"/>
                </a:cxn>
                <a:cxn ang="0">
                  <a:pos x="155" y="150"/>
                </a:cxn>
                <a:cxn ang="0">
                  <a:pos x="150" y="172"/>
                </a:cxn>
                <a:cxn ang="0">
                  <a:pos x="148" y="202"/>
                </a:cxn>
                <a:cxn ang="0">
                  <a:pos x="109" y="224"/>
                </a:cxn>
                <a:cxn ang="0">
                  <a:pos x="13" y="254"/>
                </a:cxn>
                <a:cxn ang="0">
                  <a:pos x="28" y="269"/>
                </a:cxn>
              </a:cxnLst>
              <a:rect l="0" t="0" r="r" b="b"/>
              <a:pathLst>
                <a:path w="354" h="566">
                  <a:moveTo>
                    <a:pt x="21" y="278"/>
                  </a:moveTo>
                  <a:lnTo>
                    <a:pt x="21" y="278"/>
                  </a:lnTo>
                  <a:lnTo>
                    <a:pt x="15" y="282"/>
                  </a:lnTo>
                  <a:lnTo>
                    <a:pt x="13" y="284"/>
                  </a:lnTo>
                  <a:lnTo>
                    <a:pt x="21" y="284"/>
                  </a:lnTo>
                  <a:lnTo>
                    <a:pt x="34" y="286"/>
                  </a:lnTo>
                  <a:lnTo>
                    <a:pt x="41" y="288"/>
                  </a:lnTo>
                  <a:lnTo>
                    <a:pt x="45" y="293"/>
                  </a:lnTo>
                  <a:lnTo>
                    <a:pt x="45" y="293"/>
                  </a:lnTo>
                  <a:lnTo>
                    <a:pt x="51" y="303"/>
                  </a:lnTo>
                  <a:lnTo>
                    <a:pt x="58" y="310"/>
                  </a:lnTo>
                  <a:lnTo>
                    <a:pt x="75" y="327"/>
                  </a:lnTo>
                  <a:lnTo>
                    <a:pt x="84" y="335"/>
                  </a:lnTo>
                  <a:lnTo>
                    <a:pt x="90" y="342"/>
                  </a:lnTo>
                  <a:lnTo>
                    <a:pt x="92" y="348"/>
                  </a:lnTo>
                  <a:lnTo>
                    <a:pt x="92" y="351"/>
                  </a:lnTo>
                  <a:lnTo>
                    <a:pt x="90" y="353"/>
                  </a:lnTo>
                  <a:lnTo>
                    <a:pt x="90" y="353"/>
                  </a:lnTo>
                  <a:lnTo>
                    <a:pt x="81" y="366"/>
                  </a:lnTo>
                  <a:lnTo>
                    <a:pt x="79" y="372"/>
                  </a:lnTo>
                  <a:lnTo>
                    <a:pt x="77" y="376"/>
                  </a:lnTo>
                  <a:lnTo>
                    <a:pt x="79" y="379"/>
                  </a:lnTo>
                  <a:lnTo>
                    <a:pt x="81" y="383"/>
                  </a:lnTo>
                  <a:lnTo>
                    <a:pt x="86" y="391"/>
                  </a:lnTo>
                  <a:lnTo>
                    <a:pt x="94" y="398"/>
                  </a:lnTo>
                  <a:lnTo>
                    <a:pt x="101" y="406"/>
                  </a:lnTo>
                  <a:lnTo>
                    <a:pt x="105" y="411"/>
                  </a:lnTo>
                  <a:lnTo>
                    <a:pt x="107" y="419"/>
                  </a:lnTo>
                  <a:lnTo>
                    <a:pt x="109" y="426"/>
                  </a:lnTo>
                  <a:lnTo>
                    <a:pt x="109" y="435"/>
                  </a:lnTo>
                  <a:lnTo>
                    <a:pt x="109" y="435"/>
                  </a:lnTo>
                  <a:lnTo>
                    <a:pt x="107" y="439"/>
                  </a:lnTo>
                  <a:lnTo>
                    <a:pt x="101" y="447"/>
                  </a:lnTo>
                  <a:lnTo>
                    <a:pt x="94" y="454"/>
                  </a:lnTo>
                  <a:lnTo>
                    <a:pt x="88" y="463"/>
                  </a:lnTo>
                  <a:lnTo>
                    <a:pt x="84" y="473"/>
                  </a:lnTo>
                  <a:lnTo>
                    <a:pt x="84" y="477"/>
                  </a:lnTo>
                  <a:lnTo>
                    <a:pt x="86" y="482"/>
                  </a:lnTo>
                  <a:lnTo>
                    <a:pt x="90" y="486"/>
                  </a:lnTo>
                  <a:lnTo>
                    <a:pt x="94" y="491"/>
                  </a:lnTo>
                  <a:lnTo>
                    <a:pt x="101" y="495"/>
                  </a:lnTo>
                  <a:lnTo>
                    <a:pt x="109" y="499"/>
                  </a:lnTo>
                  <a:lnTo>
                    <a:pt x="109" y="499"/>
                  </a:lnTo>
                  <a:lnTo>
                    <a:pt x="124" y="505"/>
                  </a:lnTo>
                  <a:lnTo>
                    <a:pt x="131" y="510"/>
                  </a:lnTo>
                  <a:lnTo>
                    <a:pt x="133" y="512"/>
                  </a:lnTo>
                  <a:lnTo>
                    <a:pt x="133" y="514"/>
                  </a:lnTo>
                  <a:lnTo>
                    <a:pt x="131" y="516"/>
                  </a:lnTo>
                  <a:lnTo>
                    <a:pt x="131" y="518"/>
                  </a:lnTo>
                  <a:lnTo>
                    <a:pt x="137" y="520"/>
                  </a:lnTo>
                  <a:lnTo>
                    <a:pt x="148" y="523"/>
                  </a:lnTo>
                  <a:lnTo>
                    <a:pt x="148" y="523"/>
                  </a:lnTo>
                  <a:lnTo>
                    <a:pt x="170" y="546"/>
                  </a:lnTo>
                  <a:lnTo>
                    <a:pt x="187" y="559"/>
                  </a:lnTo>
                  <a:lnTo>
                    <a:pt x="195" y="564"/>
                  </a:lnTo>
                  <a:lnTo>
                    <a:pt x="198" y="566"/>
                  </a:lnTo>
                  <a:lnTo>
                    <a:pt x="198" y="566"/>
                  </a:lnTo>
                  <a:lnTo>
                    <a:pt x="206" y="564"/>
                  </a:lnTo>
                  <a:lnTo>
                    <a:pt x="211" y="561"/>
                  </a:lnTo>
                  <a:lnTo>
                    <a:pt x="213" y="557"/>
                  </a:lnTo>
                  <a:lnTo>
                    <a:pt x="213" y="549"/>
                  </a:lnTo>
                  <a:lnTo>
                    <a:pt x="210" y="538"/>
                  </a:lnTo>
                  <a:lnTo>
                    <a:pt x="208" y="533"/>
                  </a:lnTo>
                  <a:lnTo>
                    <a:pt x="208" y="533"/>
                  </a:lnTo>
                  <a:lnTo>
                    <a:pt x="213" y="506"/>
                  </a:lnTo>
                  <a:lnTo>
                    <a:pt x="215" y="503"/>
                  </a:lnTo>
                  <a:lnTo>
                    <a:pt x="219" y="501"/>
                  </a:lnTo>
                  <a:lnTo>
                    <a:pt x="223" y="501"/>
                  </a:lnTo>
                  <a:lnTo>
                    <a:pt x="228" y="503"/>
                  </a:lnTo>
                  <a:lnTo>
                    <a:pt x="234" y="505"/>
                  </a:lnTo>
                  <a:lnTo>
                    <a:pt x="243" y="506"/>
                  </a:lnTo>
                  <a:lnTo>
                    <a:pt x="243" y="506"/>
                  </a:lnTo>
                  <a:lnTo>
                    <a:pt x="249" y="505"/>
                  </a:lnTo>
                  <a:lnTo>
                    <a:pt x="253" y="503"/>
                  </a:lnTo>
                  <a:lnTo>
                    <a:pt x="256" y="499"/>
                  </a:lnTo>
                  <a:lnTo>
                    <a:pt x="260" y="495"/>
                  </a:lnTo>
                  <a:lnTo>
                    <a:pt x="266" y="484"/>
                  </a:lnTo>
                  <a:lnTo>
                    <a:pt x="268" y="469"/>
                  </a:lnTo>
                  <a:lnTo>
                    <a:pt x="268" y="462"/>
                  </a:lnTo>
                  <a:lnTo>
                    <a:pt x="266" y="454"/>
                  </a:lnTo>
                  <a:lnTo>
                    <a:pt x="264" y="449"/>
                  </a:lnTo>
                  <a:lnTo>
                    <a:pt x="260" y="441"/>
                  </a:lnTo>
                  <a:lnTo>
                    <a:pt x="254" y="435"/>
                  </a:lnTo>
                  <a:lnTo>
                    <a:pt x="247" y="432"/>
                  </a:lnTo>
                  <a:lnTo>
                    <a:pt x="238" y="428"/>
                  </a:lnTo>
                  <a:lnTo>
                    <a:pt x="226" y="426"/>
                  </a:lnTo>
                  <a:lnTo>
                    <a:pt x="226" y="426"/>
                  </a:lnTo>
                  <a:lnTo>
                    <a:pt x="219" y="426"/>
                  </a:lnTo>
                  <a:lnTo>
                    <a:pt x="215" y="424"/>
                  </a:lnTo>
                  <a:lnTo>
                    <a:pt x="215" y="420"/>
                  </a:lnTo>
                  <a:lnTo>
                    <a:pt x="217" y="417"/>
                  </a:lnTo>
                  <a:lnTo>
                    <a:pt x="221" y="413"/>
                  </a:lnTo>
                  <a:lnTo>
                    <a:pt x="221" y="407"/>
                  </a:lnTo>
                  <a:lnTo>
                    <a:pt x="221" y="400"/>
                  </a:lnTo>
                  <a:lnTo>
                    <a:pt x="213" y="392"/>
                  </a:lnTo>
                  <a:lnTo>
                    <a:pt x="213" y="392"/>
                  </a:lnTo>
                  <a:lnTo>
                    <a:pt x="210" y="387"/>
                  </a:lnTo>
                  <a:lnTo>
                    <a:pt x="211" y="383"/>
                  </a:lnTo>
                  <a:lnTo>
                    <a:pt x="215" y="378"/>
                  </a:lnTo>
                  <a:lnTo>
                    <a:pt x="219" y="374"/>
                  </a:lnTo>
                  <a:lnTo>
                    <a:pt x="230" y="364"/>
                  </a:lnTo>
                  <a:lnTo>
                    <a:pt x="236" y="359"/>
                  </a:lnTo>
                  <a:lnTo>
                    <a:pt x="238" y="353"/>
                  </a:lnTo>
                  <a:lnTo>
                    <a:pt x="238" y="353"/>
                  </a:lnTo>
                  <a:lnTo>
                    <a:pt x="238" y="335"/>
                  </a:lnTo>
                  <a:lnTo>
                    <a:pt x="238" y="323"/>
                  </a:lnTo>
                  <a:lnTo>
                    <a:pt x="238" y="316"/>
                  </a:lnTo>
                  <a:lnTo>
                    <a:pt x="238" y="314"/>
                  </a:lnTo>
                  <a:lnTo>
                    <a:pt x="240" y="314"/>
                  </a:lnTo>
                  <a:lnTo>
                    <a:pt x="245" y="312"/>
                  </a:lnTo>
                  <a:lnTo>
                    <a:pt x="258" y="314"/>
                  </a:lnTo>
                  <a:lnTo>
                    <a:pt x="279" y="314"/>
                  </a:lnTo>
                  <a:lnTo>
                    <a:pt x="311" y="312"/>
                  </a:lnTo>
                  <a:lnTo>
                    <a:pt x="311" y="312"/>
                  </a:lnTo>
                  <a:lnTo>
                    <a:pt x="312" y="275"/>
                  </a:lnTo>
                  <a:lnTo>
                    <a:pt x="312" y="265"/>
                  </a:lnTo>
                  <a:lnTo>
                    <a:pt x="316" y="256"/>
                  </a:lnTo>
                  <a:lnTo>
                    <a:pt x="320" y="247"/>
                  </a:lnTo>
                  <a:lnTo>
                    <a:pt x="325" y="237"/>
                  </a:lnTo>
                  <a:lnTo>
                    <a:pt x="325" y="237"/>
                  </a:lnTo>
                  <a:lnTo>
                    <a:pt x="333" y="228"/>
                  </a:lnTo>
                  <a:lnTo>
                    <a:pt x="340" y="221"/>
                  </a:lnTo>
                  <a:lnTo>
                    <a:pt x="348" y="215"/>
                  </a:lnTo>
                  <a:lnTo>
                    <a:pt x="354" y="211"/>
                  </a:lnTo>
                  <a:lnTo>
                    <a:pt x="354" y="211"/>
                  </a:lnTo>
                  <a:lnTo>
                    <a:pt x="342" y="204"/>
                  </a:lnTo>
                  <a:lnTo>
                    <a:pt x="337" y="202"/>
                  </a:lnTo>
                  <a:lnTo>
                    <a:pt x="335" y="202"/>
                  </a:lnTo>
                  <a:lnTo>
                    <a:pt x="333" y="204"/>
                  </a:lnTo>
                  <a:lnTo>
                    <a:pt x="333" y="206"/>
                  </a:lnTo>
                  <a:lnTo>
                    <a:pt x="333" y="204"/>
                  </a:lnTo>
                  <a:lnTo>
                    <a:pt x="320" y="183"/>
                  </a:lnTo>
                  <a:lnTo>
                    <a:pt x="320" y="183"/>
                  </a:lnTo>
                  <a:lnTo>
                    <a:pt x="314" y="176"/>
                  </a:lnTo>
                  <a:lnTo>
                    <a:pt x="309" y="172"/>
                  </a:lnTo>
                  <a:lnTo>
                    <a:pt x="305" y="168"/>
                  </a:lnTo>
                  <a:lnTo>
                    <a:pt x="299" y="166"/>
                  </a:lnTo>
                  <a:lnTo>
                    <a:pt x="290" y="166"/>
                  </a:lnTo>
                  <a:lnTo>
                    <a:pt x="281" y="168"/>
                  </a:lnTo>
                  <a:lnTo>
                    <a:pt x="269" y="170"/>
                  </a:lnTo>
                  <a:lnTo>
                    <a:pt x="266" y="170"/>
                  </a:lnTo>
                  <a:lnTo>
                    <a:pt x="260" y="168"/>
                  </a:lnTo>
                  <a:lnTo>
                    <a:pt x="253" y="166"/>
                  </a:lnTo>
                  <a:lnTo>
                    <a:pt x="247" y="161"/>
                  </a:lnTo>
                  <a:lnTo>
                    <a:pt x="240" y="155"/>
                  </a:lnTo>
                  <a:lnTo>
                    <a:pt x="234" y="146"/>
                  </a:lnTo>
                  <a:lnTo>
                    <a:pt x="234" y="146"/>
                  </a:lnTo>
                  <a:lnTo>
                    <a:pt x="234" y="140"/>
                  </a:lnTo>
                  <a:lnTo>
                    <a:pt x="236" y="131"/>
                  </a:lnTo>
                  <a:lnTo>
                    <a:pt x="251" y="103"/>
                  </a:lnTo>
                  <a:lnTo>
                    <a:pt x="268" y="75"/>
                  </a:lnTo>
                  <a:lnTo>
                    <a:pt x="275" y="65"/>
                  </a:lnTo>
                  <a:lnTo>
                    <a:pt x="281" y="58"/>
                  </a:lnTo>
                  <a:lnTo>
                    <a:pt x="281" y="58"/>
                  </a:lnTo>
                  <a:lnTo>
                    <a:pt x="286" y="56"/>
                  </a:lnTo>
                  <a:lnTo>
                    <a:pt x="286" y="54"/>
                  </a:lnTo>
                  <a:lnTo>
                    <a:pt x="286" y="51"/>
                  </a:lnTo>
                  <a:lnTo>
                    <a:pt x="281" y="37"/>
                  </a:lnTo>
                  <a:lnTo>
                    <a:pt x="264" y="6"/>
                  </a:lnTo>
                  <a:lnTo>
                    <a:pt x="264" y="6"/>
                  </a:lnTo>
                  <a:lnTo>
                    <a:pt x="262" y="2"/>
                  </a:lnTo>
                  <a:lnTo>
                    <a:pt x="258" y="0"/>
                  </a:lnTo>
                  <a:lnTo>
                    <a:pt x="254" y="0"/>
                  </a:lnTo>
                  <a:lnTo>
                    <a:pt x="249" y="0"/>
                  </a:lnTo>
                  <a:lnTo>
                    <a:pt x="240" y="2"/>
                  </a:lnTo>
                  <a:lnTo>
                    <a:pt x="228" y="8"/>
                  </a:lnTo>
                  <a:lnTo>
                    <a:pt x="210" y="21"/>
                  </a:lnTo>
                  <a:lnTo>
                    <a:pt x="200" y="28"/>
                  </a:lnTo>
                  <a:lnTo>
                    <a:pt x="200" y="28"/>
                  </a:lnTo>
                  <a:lnTo>
                    <a:pt x="193" y="32"/>
                  </a:lnTo>
                  <a:lnTo>
                    <a:pt x="191" y="32"/>
                  </a:lnTo>
                  <a:lnTo>
                    <a:pt x="191" y="32"/>
                  </a:lnTo>
                  <a:lnTo>
                    <a:pt x="187" y="43"/>
                  </a:lnTo>
                  <a:lnTo>
                    <a:pt x="182" y="54"/>
                  </a:lnTo>
                  <a:lnTo>
                    <a:pt x="169" y="73"/>
                  </a:lnTo>
                  <a:lnTo>
                    <a:pt x="169" y="73"/>
                  </a:lnTo>
                  <a:lnTo>
                    <a:pt x="161" y="90"/>
                  </a:lnTo>
                  <a:lnTo>
                    <a:pt x="155" y="103"/>
                  </a:lnTo>
                  <a:lnTo>
                    <a:pt x="155" y="112"/>
                  </a:lnTo>
                  <a:lnTo>
                    <a:pt x="157" y="120"/>
                  </a:lnTo>
                  <a:lnTo>
                    <a:pt x="161" y="125"/>
                  </a:lnTo>
                  <a:lnTo>
                    <a:pt x="163" y="133"/>
                  </a:lnTo>
                  <a:lnTo>
                    <a:pt x="161" y="140"/>
                  </a:lnTo>
                  <a:lnTo>
                    <a:pt x="155" y="150"/>
                  </a:lnTo>
                  <a:lnTo>
                    <a:pt x="155" y="150"/>
                  </a:lnTo>
                  <a:lnTo>
                    <a:pt x="152" y="157"/>
                  </a:lnTo>
                  <a:lnTo>
                    <a:pt x="150" y="163"/>
                  </a:lnTo>
                  <a:lnTo>
                    <a:pt x="150" y="172"/>
                  </a:lnTo>
                  <a:lnTo>
                    <a:pt x="152" y="183"/>
                  </a:lnTo>
                  <a:lnTo>
                    <a:pt x="152" y="193"/>
                  </a:lnTo>
                  <a:lnTo>
                    <a:pt x="150" y="196"/>
                  </a:lnTo>
                  <a:lnTo>
                    <a:pt x="148" y="202"/>
                  </a:lnTo>
                  <a:lnTo>
                    <a:pt x="142" y="207"/>
                  </a:lnTo>
                  <a:lnTo>
                    <a:pt x="135" y="213"/>
                  </a:lnTo>
                  <a:lnTo>
                    <a:pt x="124" y="219"/>
                  </a:lnTo>
                  <a:lnTo>
                    <a:pt x="109" y="224"/>
                  </a:lnTo>
                  <a:lnTo>
                    <a:pt x="69" y="237"/>
                  </a:lnTo>
                  <a:lnTo>
                    <a:pt x="0" y="250"/>
                  </a:lnTo>
                  <a:lnTo>
                    <a:pt x="0" y="250"/>
                  </a:lnTo>
                  <a:lnTo>
                    <a:pt x="13" y="254"/>
                  </a:lnTo>
                  <a:lnTo>
                    <a:pt x="19" y="258"/>
                  </a:lnTo>
                  <a:lnTo>
                    <a:pt x="25" y="262"/>
                  </a:lnTo>
                  <a:lnTo>
                    <a:pt x="26" y="265"/>
                  </a:lnTo>
                  <a:lnTo>
                    <a:pt x="28" y="269"/>
                  </a:lnTo>
                  <a:lnTo>
                    <a:pt x="26" y="275"/>
                  </a:lnTo>
                  <a:lnTo>
                    <a:pt x="21" y="278"/>
                  </a:lnTo>
                  <a:lnTo>
                    <a:pt x="21" y="278"/>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3" name="Freeform 73">
              <a:extLst>
                <a:ext uri="{FF2B5EF4-FFF2-40B4-BE49-F238E27FC236}">
                  <a16:creationId xmlns:a16="http://schemas.microsoft.com/office/drawing/2014/main" id="{F87A040B-A793-4582-9AD1-36B8F4CC8BBC}"/>
                </a:ext>
              </a:extLst>
            </p:cNvPr>
            <p:cNvSpPr>
              <a:spLocks/>
            </p:cNvSpPr>
            <p:nvPr/>
          </p:nvSpPr>
          <p:spPr bwMode="auto">
            <a:xfrm>
              <a:off x="4059700" y="1701621"/>
              <a:ext cx="2563310" cy="2110961"/>
            </a:xfrm>
            <a:custGeom>
              <a:avLst/>
              <a:gdLst/>
              <a:ahLst/>
              <a:cxnLst>
                <a:cxn ang="0">
                  <a:pos x="701" y="2098"/>
                </a:cxn>
                <a:cxn ang="0">
                  <a:pos x="602" y="2255"/>
                </a:cxn>
                <a:cxn ang="0">
                  <a:pos x="873" y="2265"/>
                </a:cxn>
                <a:cxn ang="0">
                  <a:pos x="914" y="2104"/>
                </a:cxn>
                <a:cxn ang="0">
                  <a:pos x="972" y="2175"/>
                </a:cxn>
                <a:cxn ang="0">
                  <a:pos x="1054" y="2278"/>
                </a:cxn>
                <a:cxn ang="0">
                  <a:pos x="1179" y="2308"/>
                </a:cxn>
                <a:cxn ang="0">
                  <a:pos x="1218" y="2236"/>
                </a:cxn>
                <a:cxn ang="0">
                  <a:pos x="1346" y="2085"/>
                </a:cxn>
                <a:cxn ang="0">
                  <a:pos x="1418" y="2070"/>
                </a:cxn>
                <a:cxn ang="0">
                  <a:pos x="1516" y="2029"/>
                </a:cxn>
                <a:cxn ang="0">
                  <a:pos x="1645" y="1943"/>
                </a:cxn>
                <a:cxn ang="0">
                  <a:pos x="1779" y="1881"/>
                </a:cxn>
                <a:cxn ang="0">
                  <a:pos x="1802" y="1702"/>
                </a:cxn>
                <a:cxn ang="0">
                  <a:pos x="1936" y="1698"/>
                </a:cxn>
                <a:cxn ang="0">
                  <a:pos x="2072" y="1663"/>
                </a:cxn>
                <a:cxn ang="0">
                  <a:pos x="2157" y="1571"/>
                </a:cxn>
                <a:cxn ang="0">
                  <a:pos x="2237" y="1728"/>
                </a:cxn>
                <a:cxn ang="0">
                  <a:pos x="2349" y="1711"/>
                </a:cxn>
                <a:cxn ang="0">
                  <a:pos x="2375" y="1609"/>
                </a:cxn>
                <a:cxn ang="0">
                  <a:pos x="2521" y="1579"/>
                </a:cxn>
                <a:cxn ang="0">
                  <a:pos x="2650" y="1504"/>
                </a:cxn>
                <a:cxn ang="0">
                  <a:pos x="2738" y="1450"/>
                </a:cxn>
                <a:cxn ang="0">
                  <a:pos x="2727" y="1381"/>
                </a:cxn>
                <a:cxn ang="0">
                  <a:pos x="2689" y="1250"/>
                </a:cxn>
                <a:cxn ang="0">
                  <a:pos x="2575" y="1209"/>
                </a:cxn>
                <a:cxn ang="0">
                  <a:pos x="2540" y="1099"/>
                </a:cxn>
                <a:cxn ang="0">
                  <a:pos x="2586" y="1065"/>
                </a:cxn>
                <a:cxn ang="0">
                  <a:pos x="2648" y="1026"/>
                </a:cxn>
                <a:cxn ang="0">
                  <a:pos x="2693" y="921"/>
                </a:cxn>
                <a:cxn ang="0">
                  <a:pos x="2616" y="914"/>
                </a:cxn>
                <a:cxn ang="0">
                  <a:pos x="2710" y="671"/>
                </a:cxn>
                <a:cxn ang="0">
                  <a:pos x="2742" y="658"/>
                </a:cxn>
                <a:cxn ang="0">
                  <a:pos x="2777" y="465"/>
                </a:cxn>
                <a:cxn ang="0">
                  <a:pos x="2725" y="205"/>
                </a:cxn>
                <a:cxn ang="0">
                  <a:pos x="2547" y="280"/>
                </a:cxn>
                <a:cxn ang="0">
                  <a:pos x="2452" y="121"/>
                </a:cxn>
                <a:cxn ang="0">
                  <a:pos x="2385" y="76"/>
                </a:cxn>
                <a:cxn ang="0">
                  <a:pos x="2257" y="82"/>
                </a:cxn>
                <a:cxn ang="0">
                  <a:pos x="2302" y="149"/>
                </a:cxn>
                <a:cxn ang="0">
                  <a:pos x="2229" y="359"/>
                </a:cxn>
                <a:cxn ang="0">
                  <a:pos x="2119" y="557"/>
                </a:cxn>
                <a:cxn ang="0">
                  <a:pos x="1906" y="736"/>
                </a:cxn>
                <a:cxn ang="0">
                  <a:pos x="1927" y="859"/>
                </a:cxn>
                <a:cxn ang="0">
                  <a:pos x="2099" y="813"/>
                </a:cxn>
                <a:cxn ang="0">
                  <a:pos x="2300" y="921"/>
                </a:cxn>
                <a:cxn ang="0">
                  <a:pos x="2198" y="988"/>
                </a:cxn>
                <a:cxn ang="0">
                  <a:pos x="2076" y="1035"/>
                </a:cxn>
                <a:cxn ang="0">
                  <a:pos x="1966" y="1143"/>
                </a:cxn>
                <a:cxn ang="0">
                  <a:pos x="1693" y="1297"/>
                </a:cxn>
                <a:cxn ang="0">
                  <a:pos x="1491" y="1358"/>
                </a:cxn>
                <a:cxn ang="0">
                  <a:pos x="1446" y="1510"/>
                </a:cxn>
                <a:cxn ang="0">
                  <a:pos x="1095" y="1635"/>
                </a:cxn>
                <a:cxn ang="0">
                  <a:pos x="766" y="1719"/>
                </a:cxn>
                <a:cxn ang="0">
                  <a:pos x="546" y="1644"/>
                </a:cxn>
                <a:cxn ang="0">
                  <a:pos x="248" y="1556"/>
                </a:cxn>
                <a:cxn ang="0">
                  <a:pos x="28" y="1706"/>
                </a:cxn>
                <a:cxn ang="0">
                  <a:pos x="121" y="1835"/>
                </a:cxn>
                <a:cxn ang="0">
                  <a:pos x="284" y="1855"/>
                </a:cxn>
                <a:cxn ang="0">
                  <a:pos x="288" y="1995"/>
                </a:cxn>
                <a:cxn ang="0">
                  <a:pos x="366" y="2094"/>
                </a:cxn>
                <a:cxn ang="0">
                  <a:pos x="508" y="2066"/>
                </a:cxn>
              </a:cxnLst>
              <a:rect l="0" t="0" r="r" b="b"/>
              <a:pathLst>
                <a:path w="2822" h="2322">
                  <a:moveTo>
                    <a:pt x="551" y="2083"/>
                  </a:moveTo>
                  <a:lnTo>
                    <a:pt x="551" y="2083"/>
                  </a:lnTo>
                  <a:lnTo>
                    <a:pt x="557" y="2085"/>
                  </a:lnTo>
                  <a:lnTo>
                    <a:pt x="564" y="2083"/>
                  </a:lnTo>
                  <a:lnTo>
                    <a:pt x="583" y="2078"/>
                  </a:lnTo>
                  <a:lnTo>
                    <a:pt x="605" y="2066"/>
                  </a:lnTo>
                  <a:lnTo>
                    <a:pt x="628" y="2055"/>
                  </a:lnTo>
                  <a:lnTo>
                    <a:pt x="650" y="2046"/>
                  </a:lnTo>
                  <a:lnTo>
                    <a:pt x="662" y="2042"/>
                  </a:lnTo>
                  <a:lnTo>
                    <a:pt x="669" y="2040"/>
                  </a:lnTo>
                  <a:lnTo>
                    <a:pt x="676" y="2040"/>
                  </a:lnTo>
                  <a:lnTo>
                    <a:pt x="682" y="2042"/>
                  </a:lnTo>
                  <a:lnTo>
                    <a:pt x="686" y="2048"/>
                  </a:lnTo>
                  <a:lnTo>
                    <a:pt x="688" y="2055"/>
                  </a:lnTo>
                  <a:lnTo>
                    <a:pt x="688" y="2055"/>
                  </a:lnTo>
                  <a:lnTo>
                    <a:pt x="690" y="2068"/>
                  </a:lnTo>
                  <a:lnTo>
                    <a:pt x="693" y="2078"/>
                  </a:lnTo>
                  <a:lnTo>
                    <a:pt x="699" y="2087"/>
                  </a:lnTo>
                  <a:lnTo>
                    <a:pt x="701" y="2093"/>
                  </a:lnTo>
                  <a:lnTo>
                    <a:pt x="701" y="2098"/>
                  </a:lnTo>
                  <a:lnTo>
                    <a:pt x="697" y="2109"/>
                  </a:lnTo>
                  <a:lnTo>
                    <a:pt x="688" y="2123"/>
                  </a:lnTo>
                  <a:lnTo>
                    <a:pt x="688" y="2123"/>
                  </a:lnTo>
                  <a:lnTo>
                    <a:pt x="675" y="2143"/>
                  </a:lnTo>
                  <a:lnTo>
                    <a:pt x="660" y="2156"/>
                  </a:lnTo>
                  <a:lnTo>
                    <a:pt x="647" y="2165"/>
                  </a:lnTo>
                  <a:lnTo>
                    <a:pt x="635" y="2171"/>
                  </a:lnTo>
                  <a:lnTo>
                    <a:pt x="619" y="2179"/>
                  </a:lnTo>
                  <a:lnTo>
                    <a:pt x="615" y="2182"/>
                  </a:lnTo>
                  <a:lnTo>
                    <a:pt x="615" y="2188"/>
                  </a:lnTo>
                  <a:lnTo>
                    <a:pt x="615" y="2188"/>
                  </a:lnTo>
                  <a:lnTo>
                    <a:pt x="619" y="2197"/>
                  </a:lnTo>
                  <a:lnTo>
                    <a:pt x="617" y="2207"/>
                  </a:lnTo>
                  <a:lnTo>
                    <a:pt x="613" y="2214"/>
                  </a:lnTo>
                  <a:lnTo>
                    <a:pt x="607" y="2222"/>
                  </a:lnTo>
                  <a:lnTo>
                    <a:pt x="604" y="2229"/>
                  </a:lnTo>
                  <a:lnTo>
                    <a:pt x="600" y="2238"/>
                  </a:lnTo>
                  <a:lnTo>
                    <a:pt x="598" y="2246"/>
                  </a:lnTo>
                  <a:lnTo>
                    <a:pt x="602" y="2255"/>
                  </a:lnTo>
                  <a:lnTo>
                    <a:pt x="602" y="2255"/>
                  </a:lnTo>
                  <a:lnTo>
                    <a:pt x="604" y="2261"/>
                  </a:lnTo>
                  <a:lnTo>
                    <a:pt x="609" y="2265"/>
                  </a:lnTo>
                  <a:lnTo>
                    <a:pt x="619" y="2270"/>
                  </a:lnTo>
                  <a:lnTo>
                    <a:pt x="619" y="2270"/>
                  </a:lnTo>
                  <a:lnTo>
                    <a:pt x="633" y="2283"/>
                  </a:lnTo>
                  <a:lnTo>
                    <a:pt x="645" y="2293"/>
                  </a:lnTo>
                  <a:lnTo>
                    <a:pt x="663" y="2311"/>
                  </a:lnTo>
                  <a:lnTo>
                    <a:pt x="673" y="2317"/>
                  </a:lnTo>
                  <a:lnTo>
                    <a:pt x="684" y="2321"/>
                  </a:lnTo>
                  <a:lnTo>
                    <a:pt x="701" y="2322"/>
                  </a:lnTo>
                  <a:lnTo>
                    <a:pt x="721" y="2322"/>
                  </a:lnTo>
                  <a:lnTo>
                    <a:pt x="790" y="2309"/>
                  </a:lnTo>
                  <a:lnTo>
                    <a:pt x="790" y="2309"/>
                  </a:lnTo>
                  <a:lnTo>
                    <a:pt x="830" y="2296"/>
                  </a:lnTo>
                  <a:lnTo>
                    <a:pt x="845" y="2291"/>
                  </a:lnTo>
                  <a:lnTo>
                    <a:pt x="856" y="2285"/>
                  </a:lnTo>
                  <a:lnTo>
                    <a:pt x="863" y="2279"/>
                  </a:lnTo>
                  <a:lnTo>
                    <a:pt x="869" y="2274"/>
                  </a:lnTo>
                  <a:lnTo>
                    <a:pt x="871" y="2268"/>
                  </a:lnTo>
                  <a:lnTo>
                    <a:pt x="873" y="2265"/>
                  </a:lnTo>
                  <a:lnTo>
                    <a:pt x="873" y="2255"/>
                  </a:lnTo>
                  <a:lnTo>
                    <a:pt x="871" y="2244"/>
                  </a:lnTo>
                  <a:lnTo>
                    <a:pt x="871" y="2235"/>
                  </a:lnTo>
                  <a:lnTo>
                    <a:pt x="873" y="2229"/>
                  </a:lnTo>
                  <a:lnTo>
                    <a:pt x="876" y="2222"/>
                  </a:lnTo>
                  <a:lnTo>
                    <a:pt x="876" y="2222"/>
                  </a:lnTo>
                  <a:lnTo>
                    <a:pt x="882" y="2212"/>
                  </a:lnTo>
                  <a:lnTo>
                    <a:pt x="884" y="2205"/>
                  </a:lnTo>
                  <a:lnTo>
                    <a:pt x="882" y="2197"/>
                  </a:lnTo>
                  <a:lnTo>
                    <a:pt x="878" y="2192"/>
                  </a:lnTo>
                  <a:lnTo>
                    <a:pt x="876" y="2184"/>
                  </a:lnTo>
                  <a:lnTo>
                    <a:pt x="876" y="2175"/>
                  </a:lnTo>
                  <a:lnTo>
                    <a:pt x="882" y="2162"/>
                  </a:lnTo>
                  <a:lnTo>
                    <a:pt x="890" y="2145"/>
                  </a:lnTo>
                  <a:lnTo>
                    <a:pt x="890" y="2145"/>
                  </a:lnTo>
                  <a:lnTo>
                    <a:pt x="903" y="2126"/>
                  </a:lnTo>
                  <a:lnTo>
                    <a:pt x="908" y="2115"/>
                  </a:lnTo>
                  <a:lnTo>
                    <a:pt x="912" y="2104"/>
                  </a:lnTo>
                  <a:lnTo>
                    <a:pt x="912" y="2104"/>
                  </a:lnTo>
                  <a:lnTo>
                    <a:pt x="914" y="2104"/>
                  </a:lnTo>
                  <a:lnTo>
                    <a:pt x="923" y="2100"/>
                  </a:lnTo>
                  <a:lnTo>
                    <a:pt x="923" y="2100"/>
                  </a:lnTo>
                  <a:lnTo>
                    <a:pt x="931" y="2093"/>
                  </a:lnTo>
                  <a:lnTo>
                    <a:pt x="949" y="2080"/>
                  </a:lnTo>
                  <a:lnTo>
                    <a:pt x="961" y="2074"/>
                  </a:lnTo>
                  <a:lnTo>
                    <a:pt x="970" y="2072"/>
                  </a:lnTo>
                  <a:lnTo>
                    <a:pt x="975" y="2072"/>
                  </a:lnTo>
                  <a:lnTo>
                    <a:pt x="979" y="2072"/>
                  </a:lnTo>
                  <a:lnTo>
                    <a:pt x="983" y="2074"/>
                  </a:lnTo>
                  <a:lnTo>
                    <a:pt x="985" y="2078"/>
                  </a:lnTo>
                  <a:lnTo>
                    <a:pt x="985" y="2078"/>
                  </a:lnTo>
                  <a:lnTo>
                    <a:pt x="1002" y="2109"/>
                  </a:lnTo>
                  <a:lnTo>
                    <a:pt x="1007" y="2123"/>
                  </a:lnTo>
                  <a:lnTo>
                    <a:pt x="1007" y="2126"/>
                  </a:lnTo>
                  <a:lnTo>
                    <a:pt x="1007" y="2128"/>
                  </a:lnTo>
                  <a:lnTo>
                    <a:pt x="1002" y="2130"/>
                  </a:lnTo>
                  <a:lnTo>
                    <a:pt x="1002" y="2130"/>
                  </a:lnTo>
                  <a:lnTo>
                    <a:pt x="996" y="2137"/>
                  </a:lnTo>
                  <a:lnTo>
                    <a:pt x="989" y="2147"/>
                  </a:lnTo>
                  <a:lnTo>
                    <a:pt x="972" y="2175"/>
                  </a:lnTo>
                  <a:lnTo>
                    <a:pt x="957" y="2203"/>
                  </a:lnTo>
                  <a:lnTo>
                    <a:pt x="955" y="2212"/>
                  </a:lnTo>
                  <a:lnTo>
                    <a:pt x="955" y="2218"/>
                  </a:lnTo>
                  <a:lnTo>
                    <a:pt x="955" y="2218"/>
                  </a:lnTo>
                  <a:lnTo>
                    <a:pt x="961" y="2227"/>
                  </a:lnTo>
                  <a:lnTo>
                    <a:pt x="968" y="2233"/>
                  </a:lnTo>
                  <a:lnTo>
                    <a:pt x="974" y="2238"/>
                  </a:lnTo>
                  <a:lnTo>
                    <a:pt x="981" y="2240"/>
                  </a:lnTo>
                  <a:lnTo>
                    <a:pt x="987" y="2242"/>
                  </a:lnTo>
                  <a:lnTo>
                    <a:pt x="990" y="2242"/>
                  </a:lnTo>
                  <a:lnTo>
                    <a:pt x="1002" y="2240"/>
                  </a:lnTo>
                  <a:lnTo>
                    <a:pt x="1011" y="2238"/>
                  </a:lnTo>
                  <a:lnTo>
                    <a:pt x="1020" y="2238"/>
                  </a:lnTo>
                  <a:lnTo>
                    <a:pt x="1026" y="2240"/>
                  </a:lnTo>
                  <a:lnTo>
                    <a:pt x="1030" y="2244"/>
                  </a:lnTo>
                  <a:lnTo>
                    <a:pt x="1035" y="2248"/>
                  </a:lnTo>
                  <a:lnTo>
                    <a:pt x="1041" y="2255"/>
                  </a:lnTo>
                  <a:lnTo>
                    <a:pt x="1041" y="2255"/>
                  </a:lnTo>
                  <a:lnTo>
                    <a:pt x="1054" y="2276"/>
                  </a:lnTo>
                  <a:lnTo>
                    <a:pt x="1054" y="2278"/>
                  </a:lnTo>
                  <a:lnTo>
                    <a:pt x="1054" y="2276"/>
                  </a:lnTo>
                  <a:lnTo>
                    <a:pt x="1056" y="2274"/>
                  </a:lnTo>
                  <a:lnTo>
                    <a:pt x="1058" y="2274"/>
                  </a:lnTo>
                  <a:lnTo>
                    <a:pt x="1063" y="2276"/>
                  </a:lnTo>
                  <a:lnTo>
                    <a:pt x="1075" y="2283"/>
                  </a:lnTo>
                  <a:lnTo>
                    <a:pt x="1075" y="2283"/>
                  </a:lnTo>
                  <a:lnTo>
                    <a:pt x="1082" y="2283"/>
                  </a:lnTo>
                  <a:lnTo>
                    <a:pt x="1089" y="2285"/>
                  </a:lnTo>
                  <a:lnTo>
                    <a:pt x="1097" y="2289"/>
                  </a:lnTo>
                  <a:lnTo>
                    <a:pt x="1106" y="2294"/>
                  </a:lnTo>
                  <a:lnTo>
                    <a:pt x="1106" y="2294"/>
                  </a:lnTo>
                  <a:lnTo>
                    <a:pt x="1125" y="2306"/>
                  </a:lnTo>
                  <a:lnTo>
                    <a:pt x="1136" y="2311"/>
                  </a:lnTo>
                  <a:lnTo>
                    <a:pt x="1144" y="2311"/>
                  </a:lnTo>
                  <a:lnTo>
                    <a:pt x="1149" y="2309"/>
                  </a:lnTo>
                  <a:lnTo>
                    <a:pt x="1155" y="2304"/>
                  </a:lnTo>
                  <a:lnTo>
                    <a:pt x="1160" y="2302"/>
                  </a:lnTo>
                  <a:lnTo>
                    <a:pt x="1168" y="2304"/>
                  </a:lnTo>
                  <a:lnTo>
                    <a:pt x="1168" y="2304"/>
                  </a:lnTo>
                  <a:lnTo>
                    <a:pt x="1179" y="2308"/>
                  </a:lnTo>
                  <a:lnTo>
                    <a:pt x="1189" y="2309"/>
                  </a:lnTo>
                  <a:lnTo>
                    <a:pt x="1196" y="2309"/>
                  </a:lnTo>
                  <a:lnTo>
                    <a:pt x="1202" y="2308"/>
                  </a:lnTo>
                  <a:lnTo>
                    <a:pt x="1205" y="2306"/>
                  </a:lnTo>
                  <a:lnTo>
                    <a:pt x="1207" y="2302"/>
                  </a:lnTo>
                  <a:lnTo>
                    <a:pt x="1207" y="2293"/>
                  </a:lnTo>
                  <a:lnTo>
                    <a:pt x="1202" y="2272"/>
                  </a:lnTo>
                  <a:lnTo>
                    <a:pt x="1202" y="2263"/>
                  </a:lnTo>
                  <a:lnTo>
                    <a:pt x="1203" y="2261"/>
                  </a:lnTo>
                  <a:lnTo>
                    <a:pt x="1207" y="2259"/>
                  </a:lnTo>
                  <a:lnTo>
                    <a:pt x="1207" y="2259"/>
                  </a:lnTo>
                  <a:lnTo>
                    <a:pt x="1217" y="2257"/>
                  </a:lnTo>
                  <a:lnTo>
                    <a:pt x="1224" y="2257"/>
                  </a:lnTo>
                  <a:lnTo>
                    <a:pt x="1232" y="2259"/>
                  </a:lnTo>
                  <a:lnTo>
                    <a:pt x="1232" y="2259"/>
                  </a:lnTo>
                  <a:lnTo>
                    <a:pt x="1226" y="2251"/>
                  </a:lnTo>
                  <a:lnTo>
                    <a:pt x="1226" y="2251"/>
                  </a:lnTo>
                  <a:lnTo>
                    <a:pt x="1218" y="2240"/>
                  </a:lnTo>
                  <a:lnTo>
                    <a:pt x="1218" y="2240"/>
                  </a:lnTo>
                  <a:lnTo>
                    <a:pt x="1218" y="2236"/>
                  </a:lnTo>
                  <a:lnTo>
                    <a:pt x="1218" y="2231"/>
                  </a:lnTo>
                  <a:lnTo>
                    <a:pt x="1224" y="2218"/>
                  </a:lnTo>
                  <a:lnTo>
                    <a:pt x="1233" y="2203"/>
                  </a:lnTo>
                  <a:lnTo>
                    <a:pt x="1245" y="2186"/>
                  </a:lnTo>
                  <a:lnTo>
                    <a:pt x="1269" y="2158"/>
                  </a:lnTo>
                  <a:lnTo>
                    <a:pt x="1280" y="2145"/>
                  </a:lnTo>
                  <a:lnTo>
                    <a:pt x="1280" y="2145"/>
                  </a:lnTo>
                  <a:lnTo>
                    <a:pt x="1293" y="2139"/>
                  </a:lnTo>
                  <a:lnTo>
                    <a:pt x="1301" y="2134"/>
                  </a:lnTo>
                  <a:lnTo>
                    <a:pt x="1304" y="2130"/>
                  </a:lnTo>
                  <a:lnTo>
                    <a:pt x="1304" y="2126"/>
                  </a:lnTo>
                  <a:lnTo>
                    <a:pt x="1304" y="2119"/>
                  </a:lnTo>
                  <a:lnTo>
                    <a:pt x="1306" y="2117"/>
                  </a:lnTo>
                  <a:lnTo>
                    <a:pt x="1310" y="2111"/>
                  </a:lnTo>
                  <a:lnTo>
                    <a:pt x="1310" y="2111"/>
                  </a:lnTo>
                  <a:lnTo>
                    <a:pt x="1329" y="2091"/>
                  </a:lnTo>
                  <a:lnTo>
                    <a:pt x="1334" y="2085"/>
                  </a:lnTo>
                  <a:lnTo>
                    <a:pt x="1336" y="2085"/>
                  </a:lnTo>
                  <a:lnTo>
                    <a:pt x="1340" y="2085"/>
                  </a:lnTo>
                  <a:lnTo>
                    <a:pt x="1346" y="2085"/>
                  </a:lnTo>
                  <a:lnTo>
                    <a:pt x="1346" y="2085"/>
                  </a:lnTo>
                  <a:lnTo>
                    <a:pt x="1355" y="2083"/>
                  </a:lnTo>
                  <a:lnTo>
                    <a:pt x="1360" y="2080"/>
                  </a:lnTo>
                  <a:lnTo>
                    <a:pt x="1360" y="2076"/>
                  </a:lnTo>
                  <a:lnTo>
                    <a:pt x="1359" y="2072"/>
                  </a:lnTo>
                  <a:lnTo>
                    <a:pt x="1351" y="2066"/>
                  </a:lnTo>
                  <a:lnTo>
                    <a:pt x="1347" y="2063"/>
                  </a:lnTo>
                  <a:lnTo>
                    <a:pt x="1347" y="2063"/>
                  </a:lnTo>
                  <a:lnTo>
                    <a:pt x="1347" y="2059"/>
                  </a:lnTo>
                  <a:lnTo>
                    <a:pt x="1351" y="2059"/>
                  </a:lnTo>
                  <a:lnTo>
                    <a:pt x="1362" y="2061"/>
                  </a:lnTo>
                  <a:lnTo>
                    <a:pt x="1385" y="2068"/>
                  </a:lnTo>
                  <a:lnTo>
                    <a:pt x="1385" y="2068"/>
                  </a:lnTo>
                  <a:lnTo>
                    <a:pt x="1394" y="2068"/>
                  </a:lnTo>
                  <a:lnTo>
                    <a:pt x="1402" y="2070"/>
                  </a:lnTo>
                  <a:lnTo>
                    <a:pt x="1407" y="2072"/>
                  </a:lnTo>
                  <a:lnTo>
                    <a:pt x="1409" y="2076"/>
                  </a:lnTo>
                  <a:lnTo>
                    <a:pt x="1411" y="2078"/>
                  </a:lnTo>
                  <a:lnTo>
                    <a:pt x="1413" y="2078"/>
                  </a:lnTo>
                  <a:lnTo>
                    <a:pt x="1418" y="2070"/>
                  </a:lnTo>
                  <a:lnTo>
                    <a:pt x="1418" y="2070"/>
                  </a:lnTo>
                  <a:lnTo>
                    <a:pt x="1426" y="2059"/>
                  </a:lnTo>
                  <a:lnTo>
                    <a:pt x="1433" y="2052"/>
                  </a:lnTo>
                  <a:lnTo>
                    <a:pt x="1441" y="2044"/>
                  </a:lnTo>
                  <a:lnTo>
                    <a:pt x="1448" y="2040"/>
                  </a:lnTo>
                  <a:lnTo>
                    <a:pt x="1456" y="2040"/>
                  </a:lnTo>
                  <a:lnTo>
                    <a:pt x="1460" y="2042"/>
                  </a:lnTo>
                  <a:lnTo>
                    <a:pt x="1461" y="2048"/>
                  </a:lnTo>
                  <a:lnTo>
                    <a:pt x="1460" y="2057"/>
                  </a:lnTo>
                  <a:lnTo>
                    <a:pt x="1460" y="2057"/>
                  </a:lnTo>
                  <a:lnTo>
                    <a:pt x="1467" y="2055"/>
                  </a:lnTo>
                  <a:lnTo>
                    <a:pt x="1471" y="2055"/>
                  </a:lnTo>
                  <a:lnTo>
                    <a:pt x="1476" y="2057"/>
                  </a:lnTo>
                  <a:lnTo>
                    <a:pt x="1478" y="2057"/>
                  </a:lnTo>
                  <a:lnTo>
                    <a:pt x="1482" y="2055"/>
                  </a:lnTo>
                  <a:lnTo>
                    <a:pt x="1495" y="2042"/>
                  </a:lnTo>
                  <a:lnTo>
                    <a:pt x="1495" y="2042"/>
                  </a:lnTo>
                  <a:lnTo>
                    <a:pt x="1501" y="2037"/>
                  </a:lnTo>
                  <a:lnTo>
                    <a:pt x="1506" y="2033"/>
                  </a:lnTo>
                  <a:lnTo>
                    <a:pt x="1516" y="2029"/>
                  </a:lnTo>
                  <a:lnTo>
                    <a:pt x="1525" y="2029"/>
                  </a:lnTo>
                  <a:lnTo>
                    <a:pt x="1534" y="2033"/>
                  </a:lnTo>
                  <a:lnTo>
                    <a:pt x="1542" y="2035"/>
                  </a:lnTo>
                  <a:lnTo>
                    <a:pt x="1547" y="2035"/>
                  </a:lnTo>
                  <a:lnTo>
                    <a:pt x="1553" y="2033"/>
                  </a:lnTo>
                  <a:lnTo>
                    <a:pt x="1555" y="2027"/>
                  </a:lnTo>
                  <a:lnTo>
                    <a:pt x="1555" y="2027"/>
                  </a:lnTo>
                  <a:lnTo>
                    <a:pt x="1566" y="1992"/>
                  </a:lnTo>
                  <a:lnTo>
                    <a:pt x="1572" y="1971"/>
                  </a:lnTo>
                  <a:lnTo>
                    <a:pt x="1577" y="1956"/>
                  </a:lnTo>
                  <a:lnTo>
                    <a:pt x="1577" y="1956"/>
                  </a:lnTo>
                  <a:lnTo>
                    <a:pt x="1583" y="1949"/>
                  </a:lnTo>
                  <a:lnTo>
                    <a:pt x="1587" y="1943"/>
                  </a:lnTo>
                  <a:lnTo>
                    <a:pt x="1592" y="1939"/>
                  </a:lnTo>
                  <a:lnTo>
                    <a:pt x="1596" y="1938"/>
                  </a:lnTo>
                  <a:lnTo>
                    <a:pt x="1607" y="1938"/>
                  </a:lnTo>
                  <a:lnTo>
                    <a:pt x="1618" y="1939"/>
                  </a:lnTo>
                  <a:lnTo>
                    <a:pt x="1628" y="1941"/>
                  </a:lnTo>
                  <a:lnTo>
                    <a:pt x="1639" y="1943"/>
                  </a:lnTo>
                  <a:lnTo>
                    <a:pt x="1645" y="1943"/>
                  </a:lnTo>
                  <a:lnTo>
                    <a:pt x="1650" y="1941"/>
                  </a:lnTo>
                  <a:lnTo>
                    <a:pt x="1654" y="1938"/>
                  </a:lnTo>
                  <a:lnTo>
                    <a:pt x="1659" y="1932"/>
                  </a:lnTo>
                  <a:lnTo>
                    <a:pt x="1659" y="1932"/>
                  </a:lnTo>
                  <a:lnTo>
                    <a:pt x="1663" y="1928"/>
                  </a:lnTo>
                  <a:lnTo>
                    <a:pt x="1667" y="1924"/>
                  </a:lnTo>
                  <a:lnTo>
                    <a:pt x="1676" y="1923"/>
                  </a:lnTo>
                  <a:lnTo>
                    <a:pt x="1686" y="1921"/>
                  </a:lnTo>
                  <a:lnTo>
                    <a:pt x="1697" y="1923"/>
                  </a:lnTo>
                  <a:lnTo>
                    <a:pt x="1708" y="1923"/>
                  </a:lnTo>
                  <a:lnTo>
                    <a:pt x="1717" y="1923"/>
                  </a:lnTo>
                  <a:lnTo>
                    <a:pt x="1727" y="1921"/>
                  </a:lnTo>
                  <a:lnTo>
                    <a:pt x="1730" y="1919"/>
                  </a:lnTo>
                  <a:lnTo>
                    <a:pt x="1736" y="1915"/>
                  </a:lnTo>
                  <a:lnTo>
                    <a:pt x="1736" y="1915"/>
                  </a:lnTo>
                  <a:lnTo>
                    <a:pt x="1745" y="1906"/>
                  </a:lnTo>
                  <a:lnTo>
                    <a:pt x="1755" y="1900"/>
                  </a:lnTo>
                  <a:lnTo>
                    <a:pt x="1770" y="1893"/>
                  </a:lnTo>
                  <a:lnTo>
                    <a:pt x="1775" y="1889"/>
                  </a:lnTo>
                  <a:lnTo>
                    <a:pt x="1779" y="1881"/>
                  </a:lnTo>
                  <a:lnTo>
                    <a:pt x="1781" y="1868"/>
                  </a:lnTo>
                  <a:lnTo>
                    <a:pt x="1779" y="1848"/>
                  </a:lnTo>
                  <a:lnTo>
                    <a:pt x="1775" y="1839"/>
                  </a:lnTo>
                  <a:lnTo>
                    <a:pt x="1772" y="1831"/>
                  </a:lnTo>
                  <a:lnTo>
                    <a:pt x="1766" y="1825"/>
                  </a:lnTo>
                  <a:lnTo>
                    <a:pt x="1762" y="1820"/>
                  </a:lnTo>
                  <a:lnTo>
                    <a:pt x="1762" y="1812"/>
                  </a:lnTo>
                  <a:lnTo>
                    <a:pt x="1766" y="1807"/>
                  </a:lnTo>
                  <a:lnTo>
                    <a:pt x="1766" y="1801"/>
                  </a:lnTo>
                  <a:lnTo>
                    <a:pt x="1762" y="1792"/>
                  </a:lnTo>
                  <a:lnTo>
                    <a:pt x="1759" y="1784"/>
                  </a:lnTo>
                  <a:lnTo>
                    <a:pt x="1762" y="1777"/>
                  </a:lnTo>
                  <a:lnTo>
                    <a:pt x="1764" y="1762"/>
                  </a:lnTo>
                  <a:lnTo>
                    <a:pt x="1768" y="1751"/>
                  </a:lnTo>
                  <a:lnTo>
                    <a:pt x="1783" y="1751"/>
                  </a:lnTo>
                  <a:lnTo>
                    <a:pt x="1787" y="1741"/>
                  </a:lnTo>
                  <a:lnTo>
                    <a:pt x="1790" y="1730"/>
                  </a:lnTo>
                  <a:lnTo>
                    <a:pt x="1794" y="1721"/>
                  </a:lnTo>
                  <a:lnTo>
                    <a:pt x="1796" y="1710"/>
                  </a:lnTo>
                  <a:lnTo>
                    <a:pt x="1802" y="1702"/>
                  </a:lnTo>
                  <a:lnTo>
                    <a:pt x="1809" y="1693"/>
                  </a:lnTo>
                  <a:lnTo>
                    <a:pt x="1818" y="1682"/>
                  </a:lnTo>
                  <a:lnTo>
                    <a:pt x="1826" y="1670"/>
                  </a:lnTo>
                  <a:lnTo>
                    <a:pt x="1835" y="1661"/>
                  </a:lnTo>
                  <a:lnTo>
                    <a:pt x="1844" y="1665"/>
                  </a:lnTo>
                  <a:lnTo>
                    <a:pt x="1854" y="1670"/>
                  </a:lnTo>
                  <a:lnTo>
                    <a:pt x="1861" y="1680"/>
                  </a:lnTo>
                  <a:lnTo>
                    <a:pt x="1869" y="1689"/>
                  </a:lnTo>
                  <a:lnTo>
                    <a:pt x="1865" y="1702"/>
                  </a:lnTo>
                  <a:lnTo>
                    <a:pt x="1859" y="1717"/>
                  </a:lnTo>
                  <a:lnTo>
                    <a:pt x="1859" y="1730"/>
                  </a:lnTo>
                  <a:lnTo>
                    <a:pt x="1865" y="1745"/>
                  </a:lnTo>
                  <a:lnTo>
                    <a:pt x="1878" y="1745"/>
                  </a:lnTo>
                  <a:lnTo>
                    <a:pt x="1889" y="1745"/>
                  </a:lnTo>
                  <a:lnTo>
                    <a:pt x="1899" y="1739"/>
                  </a:lnTo>
                  <a:lnTo>
                    <a:pt x="1902" y="1730"/>
                  </a:lnTo>
                  <a:lnTo>
                    <a:pt x="1908" y="1721"/>
                  </a:lnTo>
                  <a:lnTo>
                    <a:pt x="1917" y="1713"/>
                  </a:lnTo>
                  <a:lnTo>
                    <a:pt x="1927" y="1708"/>
                  </a:lnTo>
                  <a:lnTo>
                    <a:pt x="1936" y="1698"/>
                  </a:lnTo>
                  <a:lnTo>
                    <a:pt x="1945" y="1693"/>
                  </a:lnTo>
                  <a:lnTo>
                    <a:pt x="1955" y="1683"/>
                  </a:lnTo>
                  <a:lnTo>
                    <a:pt x="1968" y="1680"/>
                  </a:lnTo>
                  <a:lnTo>
                    <a:pt x="1972" y="1685"/>
                  </a:lnTo>
                  <a:lnTo>
                    <a:pt x="1975" y="1693"/>
                  </a:lnTo>
                  <a:lnTo>
                    <a:pt x="1987" y="1698"/>
                  </a:lnTo>
                  <a:lnTo>
                    <a:pt x="1990" y="1695"/>
                  </a:lnTo>
                  <a:lnTo>
                    <a:pt x="1994" y="1693"/>
                  </a:lnTo>
                  <a:lnTo>
                    <a:pt x="1998" y="1687"/>
                  </a:lnTo>
                  <a:lnTo>
                    <a:pt x="2005" y="1680"/>
                  </a:lnTo>
                  <a:lnTo>
                    <a:pt x="2011" y="1674"/>
                  </a:lnTo>
                  <a:lnTo>
                    <a:pt x="2015" y="1668"/>
                  </a:lnTo>
                  <a:lnTo>
                    <a:pt x="2018" y="1667"/>
                  </a:lnTo>
                  <a:lnTo>
                    <a:pt x="2022" y="1667"/>
                  </a:lnTo>
                  <a:lnTo>
                    <a:pt x="2030" y="1674"/>
                  </a:lnTo>
                  <a:lnTo>
                    <a:pt x="2039" y="1674"/>
                  </a:lnTo>
                  <a:lnTo>
                    <a:pt x="2050" y="1674"/>
                  </a:lnTo>
                  <a:lnTo>
                    <a:pt x="2061" y="1674"/>
                  </a:lnTo>
                  <a:lnTo>
                    <a:pt x="2071" y="1670"/>
                  </a:lnTo>
                  <a:lnTo>
                    <a:pt x="2072" y="1663"/>
                  </a:lnTo>
                  <a:lnTo>
                    <a:pt x="2078" y="1655"/>
                  </a:lnTo>
                  <a:lnTo>
                    <a:pt x="2076" y="1650"/>
                  </a:lnTo>
                  <a:lnTo>
                    <a:pt x="2072" y="1646"/>
                  </a:lnTo>
                  <a:lnTo>
                    <a:pt x="2069" y="1642"/>
                  </a:lnTo>
                  <a:lnTo>
                    <a:pt x="2074" y="1637"/>
                  </a:lnTo>
                  <a:lnTo>
                    <a:pt x="2078" y="1631"/>
                  </a:lnTo>
                  <a:lnTo>
                    <a:pt x="2078" y="1624"/>
                  </a:lnTo>
                  <a:lnTo>
                    <a:pt x="2074" y="1620"/>
                  </a:lnTo>
                  <a:lnTo>
                    <a:pt x="2072" y="1616"/>
                  </a:lnTo>
                  <a:lnTo>
                    <a:pt x="2074" y="1609"/>
                  </a:lnTo>
                  <a:lnTo>
                    <a:pt x="2078" y="1601"/>
                  </a:lnTo>
                  <a:lnTo>
                    <a:pt x="2086" y="1594"/>
                  </a:lnTo>
                  <a:lnTo>
                    <a:pt x="2095" y="1594"/>
                  </a:lnTo>
                  <a:lnTo>
                    <a:pt x="2108" y="1594"/>
                  </a:lnTo>
                  <a:lnTo>
                    <a:pt x="2119" y="1590"/>
                  </a:lnTo>
                  <a:lnTo>
                    <a:pt x="2125" y="1584"/>
                  </a:lnTo>
                  <a:lnTo>
                    <a:pt x="2130" y="1579"/>
                  </a:lnTo>
                  <a:lnTo>
                    <a:pt x="2136" y="1573"/>
                  </a:lnTo>
                  <a:lnTo>
                    <a:pt x="2145" y="1571"/>
                  </a:lnTo>
                  <a:lnTo>
                    <a:pt x="2157" y="1571"/>
                  </a:lnTo>
                  <a:lnTo>
                    <a:pt x="2166" y="1573"/>
                  </a:lnTo>
                  <a:lnTo>
                    <a:pt x="2173" y="1581"/>
                  </a:lnTo>
                  <a:lnTo>
                    <a:pt x="2179" y="1588"/>
                  </a:lnTo>
                  <a:lnTo>
                    <a:pt x="2185" y="1594"/>
                  </a:lnTo>
                  <a:lnTo>
                    <a:pt x="2190" y="1603"/>
                  </a:lnTo>
                  <a:lnTo>
                    <a:pt x="2190" y="1612"/>
                  </a:lnTo>
                  <a:lnTo>
                    <a:pt x="2194" y="1624"/>
                  </a:lnTo>
                  <a:lnTo>
                    <a:pt x="2201" y="1633"/>
                  </a:lnTo>
                  <a:lnTo>
                    <a:pt x="2205" y="1644"/>
                  </a:lnTo>
                  <a:lnTo>
                    <a:pt x="2213" y="1652"/>
                  </a:lnTo>
                  <a:lnTo>
                    <a:pt x="2218" y="1663"/>
                  </a:lnTo>
                  <a:lnTo>
                    <a:pt x="2229" y="1670"/>
                  </a:lnTo>
                  <a:lnTo>
                    <a:pt x="2229" y="1678"/>
                  </a:lnTo>
                  <a:lnTo>
                    <a:pt x="2220" y="1682"/>
                  </a:lnTo>
                  <a:lnTo>
                    <a:pt x="2213" y="1687"/>
                  </a:lnTo>
                  <a:lnTo>
                    <a:pt x="2211" y="1698"/>
                  </a:lnTo>
                  <a:lnTo>
                    <a:pt x="2216" y="1708"/>
                  </a:lnTo>
                  <a:lnTo>
                    <a:pt x="2228" y="1711"/>
                  </a:lnTo>
                  <a:lnTo>
                    <a:pt x="2235" y="1719"/>
                  </a:lnTo>
                  <a:lnTo>
                    <a:pt x="2237" y="1728"/>
                  </a:lnTo>
                  <a:lnTo>
                    <a:pt x="2237" y="1739"/>
                  </a:lnTo>
                  <a:lnTo>
                    <a:pt x="2239" y="1749"/>
                  </a:lnTo>
                  <a:lnTo>
                    <a:pt x="2248" y="1749"/>
                  </a:lnTo>
                  <a:lnTo>
                    <a:pt x="2254" y="1743"/>
                  </a:lnTo>
                  <a:lnTo>
                    <a:pt x="2267" y="1741"/>
                  </a:lnTo>
                  <a:lnTo>
                    <a:pt x="2274" y="1741"/>
                  </a:lnTo>
                  <a:lnTo>
                    <a:pt x="2282" y="1741"/>
                  </a:lnTo>
                  <a:lnTo>
                    <a:pt x="2287" y="1738"/>
                  </a:lnTo>
                  <a:lnTo>
                    <a:pt x="2293" y="1743"/>
                  </a:lnTo>
                  <a:lnTo>
                    <a:pt x="2306" y="1743"/>
                  </a:lnTo>
                  <a:lnTo>
                    <a:pt x="2319" y="1741"/>
                  </a:lnTo>
                  <a:lnTo>
                    <a:pt x="2327" y="1741"/>
                  </a:lnTo>
                  <a:lnTo>
                    <a:pt x="2334" y="1741"/>
                  </a:lnTo>
                  <a:lnTo>
                    <a:pt x="2334" y="1741"/>
                  </a:lnTo>
                  <a:lnTo>
                    <a:pt x="2343" y="1736"/>
                  </a:lnTo>
                  <a:lnTo>
                    <a:pt x="2349" y="1730"/>
                  </a:lnTo>
                  <a:lnTo>
                    <a:pt x="2353" y="1726"/>
                  </a:lnTo>
                  <a:lnTo>
                    <a:pt x="2353" y="1723"/>
                  </a:lnTo>
                  <a:lnTo>
                    <a:pt x="2351" y="1717"/>
                  </a:lnTo>
                  <a:lnTo>
                    <a:pt x="2349" y="1711"/>
                  </a:lnTo>
                  <a:lnTo>
                    <a:pt x="2349" y="1711"/>
                  </a:lnTo>
                  <a:lnTo>
                    <a:pt x="2343" y="1693"/>
                  </a:lnTo>
                  <a:lnTo>
                    <a:pt x="2340" y="1678"/>
                  </a:lnTo>
                  <a:lnTo>
                    <a:pt x="2340" y="1665"/>
                  </a:lnTo>
                  <a:lnTo>
                    <a:pt x="2340" y="1655"/>
                  </a:lnTo>
                  <a:lnTo>
                    <a:pt x="2340" y="1639"/>
                  </a:lnTo>
                  <a:lnTo>
                    <a:pt x="2338" y="1633"/>
                  </a:lnTo>
                  <a:lnTo>
                    <a:pt x="2332" y="1625"/>
                  </a:lnTo>
                  <a:lnTo>
                    <a:pt x="2332" y="1625"/>
                  </a:lnTo>
                  <a:lnTo>
                    <a:pt x="2327" y="1616"/>
                  </a:lnTo>
                  <a:lnTo>
                    <a:pt x="2327" y="1609"/>
                  </a:lnTo>
                  <a:lnTo>
                    <a:pt x="2329" y="1603"/>
                  </a:lnTo>
                  <a:lnTo>
                    <a:pt x="2334" y="1599"/>
                  </a:lnTo>
                  <a:lnTo>
                    <a:pt x="2342" y="1597"/>
                  </a:lnTo>
                  <a:lnTo>
                    <a:pt x="2349" y="1596"/>
                  </a:lnTo>
                  <a:lnTo>
                    <a:pt x="2355" y="1597"/>
                  </a:lnTo>
                  <a:lnTo>
                    <a:pt x="2358" y="1599"/>
                  </a:lnTo>
                  <a:lnTo>
                    <a:pt x="2358" y="1599"/>
                  </a:lnTo>
                  <a:lnTo>
                    <a:pt x="2370" y="1605"/>
                  </a:lnTo>
                  <a:lnTo>
                    <a:pt x="2375" y="1609"/>
                  </a:lnTo>
                  <a:lnTo>
                    <a:pt x="2379" y="1611"/>
                  </a:lnTo>
                  <a:lnTo>
                    <a:pt x="2383" y="1612"/>
                  </a:lnTo>
                  <a:lnTo>
                    <a:pt x="2388" y="1618"/>
                  </a:lnTo>
                  <a:lnTo>
                    <a:pt x="2394" y="1627"/>
                  </a:lnTo>
                  <a:lnTo>
                    <a:pt x="2414" y="1668"/>
                  </a:lnTo>
                  <a:lnTo>
                    <a:pt x="2414" y="1668"/>
                  </a:lnTo>
                  <a:lnTo>
                    <a:pt x="2418" y="1672"/>
                  </a:lnTo>
                  <a:lnTo>
                    <a:pt x="2420" y="1674"/>
                  </a:lnTo>
                  <a:lnTo>
                    <a:pt x="2422" y="1672"/>
                  </a:lnTo>
                  <a:lnTo>
                    <a:pt x="2426" y="1670"/>
                  </a:lnTo>
                  <a:lnTo>
                    <a:pt x="2431" y="1661"/>
                  </a:lnTo>
                  <a:lnTo>
                    <a:pt x="2441" y="1648"/>
                  </a:lnTo>
                  <a:lnTo>
                    <a:pt x="2450" y="1631"/>
                  </a:lnTo>
                  <a:lnTo>
                    <a:pt x="2463" y="1616"/>
                  </a:lnTo>
                  <a:lnTo>
                    <a:pt x="2478" y="1603"/>
                  </a:lnTo>
                  <a:lnTo>
                    <a:pt x="2487" y="1597"/>
                  </a:lnTo>
                  <a:lnTo>
                    <a:pt x="2497" y="1594"/>
                  </a:lnTo>
                  <a:lnTo>
                    <a:pt x="2497" y="1594"/>
                  </a:lnTo>
                  <a:lnTo>
                    <a:pt x="2510" y="1586"/>
                  </a:lnTo>
                  <a:lnTo>
                    <a:pt x="2521" y="1579"/>
                  </a:lnTo>
                  <a:lnTo>
                    <a:pt x="2530" y="1571"/>
                  </a:lnTo>
                  <a:lnTo>
                    <a:pt x="2538" y="1564"/>
                  </a:lnTo>
                  <a:lnTo>
                    <a:pt x="2551" y="1553"/>
                  </a:lnTo>
                  <a:lnTo>
                    <a:pt x="2557" y="1549"/>
                  </a:lnTo>
                  <a:lnTo>
                    <a:pt x="2562" y="1549"/>
                  </a:lnTo>
                  <a:lnTo>
                    <a:pt x="2562" y="1549"/>
                  </a:lnTo>
                  <a:lnTo>
                    <a:pt x="2577" y="1549"/>
                  </a:lnTo>
                  <a:lnTo>
                    <a:pt x="2583" y="1549"/>
                  </a:lnTo>
                  <a:lnTo>
                    <a:pt x="2586" y="1547"/>
                  </a:lnTo>
                  <a:lnTo>
                    <a:pt x="2592" y="1541"/>
                  </a:lnTo>
                  <a:lnTo>
                    <a:pt x="2594" y="1534"/>
                  </a:lnTo>
                  <a:lnTo>
                    <a:pt x="2594" y="1528"/>
                  </a:lnTo>
                  <a:lnTo>
                    <a:pt x="2596" y="1521"/>
                  </a:lnTo>
                  <a:lnTo>
                    <a:pt x="2599" y="1515"/>
                  </a:lnTo>
                  <a:lnTo>
                    <a:pt x="2603" y="1513"/>
                  </a:lnTo>
                  <a:lnTo>
                    <a:pt x="2609" y="1512"/>
                  </a:lnTo>
                  <a:lnTo>
                    <a:pt x="2609" y="1512"/>
                  </a:lnTo>
                  <a:lnTo>
                    <a:pt x="2641" y="1508"/>
                  </a:lnTo>
                  <a:lnTo>
                    <a:pt x="2646" y="1506"/>
                  </a:lnTo>
                  <a:lnTo>
                    <a:pt x="2650" y="1504"/>
                  </a:lnTo>
                  <a:lnTo>
                    <a:pt x="2648" y="1502"/>
                  </a:lnTo>
                  <a:lnTo>
                    <a:pt x="2646" y="1500"/>
                  </a:lnTo>
                  <a:lnTo>
                    <a:pt x="2642" y="1498"/>
                  </a:lnTo>
                  <a:lnTo>
                    <a:pt x="2641" y="1497"/>
                  </a:lnTo>
                  <a:lnTo>
                    <a:pt x="2641" y="1497"/>
                  </a:lnTo>
                  <a:lnTo>
                    <a:pt x="2641" y="1495"/>
                  </a:lnTo>
                  <a:lnTo>
                    <a:pt x="2641" y="1493"/>
                  </a:lnTo>
                  <a:lnTo>
                    <a:pt x="2648" y="1491"/>
                  </a:lnTo>
                  <a:lnTo>
                    <a:pt x="2672" y="1495"/>
                  </a:lnTo>
                  <a:lnTo>
                    <a:pt x="2687" y="1497"/>
                  </a:lnTo>
                  <a:lnTo>
                    <a:pt x="2702" y="1495"/>
                  </a:lnTo>
                  <a:lnTo>
                    <a:pt x="2708" y="1493"/>
                  </a:lnTo>
                  <a:lnTo>
                    <a:pt x="2713" y="1489"/>
                  </a:lnTo>
                  <a:lnTo>
                    <a:pt x="2717" y="1485"/>
                  </a:lnTo>
                  <a:lnTo>
                    <a:pt x="2721" y="1480"/>
                  </a:lnTo>
                  <a:lnTo>
                    <a:pt x="2721" y="1480"/>
                  </a:lnTo>
                  <a:lnTo>
                    <a:pt x="2725" y="1467"/>
                  </a:lnTo>
                  <a:lnTo>
                    <a:pt x="2730" y="1459"/>
                  </a:lnTo>
                  <a:lnTo>
                    <a:pt x="2734" y="1454"/>
                  </a:lnTo>
                  <a:lnTo>
                    <a:pt x="2738" y="1450"/>
                  </a:lnTo>
                  <a:lnTo>
                    <a:pt x="2743" y="1450"/>
                  </a:lnTo>
                  <a:lnTo>
                    <a:pt x="2747" y="1450"/>
                  </a:lnTo>
                  <a:lnTo>
                    <a:pt x="2753" y="1452"/>
                  </a:lnTo>
                  <a:lnTo>
                    <a:pt x="2756" y="1454"/>
                  </a:lnTo>
                  <a:lnTo>
                    <a:pt x="2758" y="1452"/>
                  </a:lnTo>
                  <a:lnTo>
                    <a:pt x="2760" y="1450"/>
                  </a:lnTo>
                  <a:lnTo>
                    <a:pt x="2762" y="1446"/>
                  </a:lnTo>
                  <a:lnTo>
                    <a:pt x="2766" y="1429"/>
                  </a:lnTo>
                  <a:lnTo>
                    <a:pt x="2766" y="1398"/>
                  </a:lnTo>
                  <a:lnTo>
                    <a:pt x="2766" y="1398"/>
                  </a:lnTo>
                  <a:lnTo>
                    <a:pt x="2756" y="1398"/>
                  </a:lnTo>
                  <a:lnTo>
                    <a:pt x="2753" y="1398"/>
                  </a:lnTo>
                  <a:lnTo>
                    <a:pt x="2751" y="1398"/>
                  </a:lnTo>
                  <a:lnTo>
                    <a:pt x="2747" y="1396"/>
                  </a:lnTo>
                  <a:lnTo>
                    <a:pt x="2747" y="1396"/>
                  </a:lnTo>
                  <a:lnTo>
                    <a:pt x="2742" y="1392"/>
                  </a:lnTo>
                  <a:lnTo>
                    <a:pt x="2736" y="1390"/>
                  </a:lnTo>
                  <a:lnTo>
                    <a:pt x="2728" y="1386"/>
                  </a:lnTo>
                  <a:lnTo>
                    <a:pt x="2727" y="1384"/>
                  </a:lnTo>
                  <a:lnTo>
                    <a:pt x="2727" y="1381"/>
                  </a:lnTo>
                  <a:lnTo>
                    <a:pt x="2730" y="1377"/>
                  </a:lnTo>
                  <a:lnTo>
                    <a:pt x="2740" y="1370"/>
                  </a:lnTo>
                  <a:lnTo>
                    <a:pt x="2740" y="1370"/>
                  </a:lnTo>
                  <a:lnTo>
                    <a:pt x="2740" y="1366"/>
                  </a:lnTo>
                  <a:lnTo>
                    <a:pt x="2740" y="1360"/>
                  </a:lnTo>
                  <a:lnTo>
                    <a:pt x="2738" y="1345"/>
                  </a:lnTo>
                  <a:lnTo>
                    <a:pt x="2730" y="1327"/>
                  </a:lnTo>
                  <a:lnTo>
                    <a:pt x="2730" y="1327"/>
                  </a:lnTo>
                  <a:lnTo>
                    <a:pt x="2723" y="1317"/>
                  </a:lnTo>
                  <a:lnTo>
                    <a:pt x="2717" y="1308"/>
                  </a:lnTo>
                  <a:lnTo>
                    <a:pt x="2715" y="1300"/>
                  </a:lnTo>
                  <a:lnTo>
                    <a:pt x="2713" y="1295"/>
                  </a:lnTo>
                  <a:lnTo>
                    <a:pt x="2712" y="1285"/>
                  </a:lnTo>
                  <a:lnTo>
                    <a:pt x="2708" y="1282"/>
                  </a:lnTo>
                  <a:lnTo>
                    <a:pt x="2704" y="1280"/>
                  </a:lnTo>
                  <a:lnTo>
                    <a:pt x="2704" y="1280"/>
                  </a:lnTo>
                  <a:lnTo>
                    <a:pt x="2695" y="1270"/>
                  </a:lnTo>
                  <a:lnTo>
                    <a:pt x="2689" y="1263"/>
                  </a:lnTo>
                  <a:lnTo>
                    <a:pt x="2689" y="1256"/>
                  </a:lnTo>
                  <a:lnTo>
                    <a:pt x="2689" y="1250"/>
                  </a:lnTo>
                  <a:lnTo>
                    <a:pt x="2691" y="1246"/>
                  </a:lnTo>
                  <a:lnTo>
                    <a:pt x="2691" y="1246"/>
                  </a:lnTo>
                  <a:lnTo>
                    <a:pt x="2676" y="1256"/>
                  </a:lnTo>
                  <a:lnTo>
                    <a:pt x="2676" y="1256"/>
                  </a:lnTo>
                  <a:lnTo>
                    <a:pt x="2650" y="1274"/>
                  </a:lnTo>
                  <a:lnTo>
                    <a:pt x="2629" y="1291"/>
                  </a:lnTo>
                  <a:lnTo>
                    <a:pt x="2622" y="1297"/>
                  </a:lnTo>
                  <a:lnTo>
                    <a:pt x="2616" y="1298"/>
                  </a:lnTo>
                  <a:lnTo>
                    <a:pt x="2614" y="1297"/>
                  </a:lnTo>
                  <a:lnTo>
                    <a:pt x="2613" y="1297"/>
                  </a:lnTo>
                  <a:lnTo>
                    <a:pt x="2611" y="1289"/>
                  </a:lnTo>
                  <a:lnTo>
                    <a:pt x="2611" y="1289"/>
                  </a:lnTo>
                  <a:lnTo>
                    <a:pt x="2607" y="1278"/>
                  </a:lnTo>
                  <a:lnTo>
                    <a:pt x="2601" y="1267"/>
                  </a:lnTo>
                  <a:lnTo>
                    <a:pt x="2586" y="1244"/>
                  </a:lnTo>
                  <a:lnTo>
                    <a:pt x="2581" y="1233"/>
                  </a:lnTo>
                  <a:lnTo>
                    <a:pt x="2575" y="1224"/>
                  </a:lnTo>
                  <a:lnTo>
                    <a:pt x="2573" y="1216"/>
                  </a:lnTo>
                  <a:lnTo>
                    <a:pt x="2573" y="1213"/>
                  </a:lnTo>
                  <a:lnTo>
                    <a:pt x="2575" y="1209"/>
                  </a:lnTo>
                  <a:lnTo>
                    <a:pt x="2575" y="1209"/>
                  </a:lnTo>
                  <a:lnTo>
                    <a:pt x="2579" y="1203"/>
                  </a:lnTo>
                  <a:lnTo>
                    <a:pt x="2579" y="1198"/>
                  </a:lnTo>
                  <a:lnTo>
                    <a:pt x="2577" y="1194"/>
                  </a:lnTo>
                  <a:lnTo>
                    <a:pt x="2575" y="1190"/>
                  </a:lnTo>
                  <a:lnTo>
                    <a:pt x="2571" y="1186"/>
                  </a:lnTo>
                  <a:lnTo>
                    <a:pt x="2570" y="1183"/>
                  </a:lnTo>
                  <a:lnTo>
                    <a:pt x="2570" y="1177"/>
                  </a:lnTo>
                  <a:lnTo>
                    <a:pt x="2573" y="1171"/>
                  </a:lnTo>
                  <a:lnTo>
                    <a:pt x="2573" y="1171"/>
                  </a:lnTo>
                  <a:lnTo>
                    <a:pt x="2577" y="1160"/>
                  </a:lnTo>
                  <a:lnTo>
                    <a:pt x="2579" y="1151"/>
                  </a:lnTo>
                  <a:lnTo>
                    <a:pt x="2575" y="1143"/>
                  </a:lnTo>
                  <a:lnTo>
                    <a:pt x="2570" y="1136"/>
                  </a:lnTo>
                  <a:lnTo>
                    <a:pt x="2557" y="1125"/>
                  </a:lnTo>
                  <a:lnTo>
                    <a:pt x="2553" y="1117"/>
                  </a:lnTo>
                  <a:lnTo>
                    <a:pt x="2549" y="1112"/>
                  </a:lnTo>
                  <a:lnTo>
                    <a:pt x="2549" y="1112"/>
                  </a:lnTo>
                  <a:lnTo>
                    <a:pt x="2545" y="1104"/>
                  </a:lnTo>
                  <a:lnTo>
                    <a:pt x="2540" y="1099"/>
                  </a:lnTo>
                  <a:lnTo>
                    <a:pt x="2534" y="1099"/>
                  </a:lnTo>
                  <a:lnTo>
                    <a:pt x="2528" y="1097"/>
                  </a:lnTo>
                  <a:lnTo>
                    <a:pt x="2519" y="1097"/>
                  </a:lnTo>
                  <a:lnTo>
                    <a:pt x="2517" y="1095"/>
                  </a:lnTo>
                  <a:lnTo>
                    <a:pt x="2521" y="1091"/>
                  </a:lnTo>
                  <a:lnTo>
                    <a:pt x="2521" y="1091"/>
                  </a:lnTo>
                  <a:lnTo>
                    <a:pt x="2527" y="1084"/>
                  </a:lnTo>
                  <a:lnTo>
                    <a:pt x="2528" y="1074"/>
                  </a:lnTo>
                  <a:lnTo>
                    <a:pt x="2532" y="1061"/>
                  </a:lnTo>
                  <a:lnTo>
                    <a:pt x="2534" y="1056"/>
                  </a:lnTo>
                  <a:lnTo>
                    <a:pt x="2538" y="1054"/>
                  </a:lnTo>
                  <a:lnTo>
                    <a:pt x="2543" y="1057"/>
                  </a:lnTo>
                  <a:lnTo>
                    <a:pt x="2553" y="1063"/>
                  </a:lnTo>
                  <a:lnTo>
                    <a:pt x="2553" y="1063"/>
                  </a:lnTo>
                  <a:lnTo>
                    <a:pt x="2568" y="1072"/>
                  </a:lnTo>
                  <a:lnTo>
                    <a:pt x="2577" y="1076"/>
                  </a:lnTo>
                  <a:lnTo>
                    <a:pt x="2583" y="1076"/>
                  </a:lnTo>
                  <a:lnTo>
                    <a:pt x="2585" y="1072"/>
                  </a:lnTo>
                  <a:lnTo>
                    <a:pt x="2585" y="1069"/>
                  </a:lnTo>
                  <a:lnTo>
                    <a:pt x="2586" y="1065"/>
                  </a:lnTo>
                  <a:lnTo>
                    <a:pt x="2590" y="1065"/>
                  </a:lnTo>
                  <a:lnTo>
                    <a:pt x="2596" y="1071"/>
                  </a:lnTo>
                  <a:lnTo>
                    <a:pt x="2596" y="1071"/>
                  </a:lnTo>
                  <a:lnTo>
                    <a:pt x="2611" y="1080"/>
                  </a:lnTo>
                  <a:lnTo>
                    <a:pt x="2620" y="1084"/>
                  </a:lnTo>
                  <a:lnTo>
                    <a:pt x="2624" y="1084"/>
                  </a:lnTo>
                  <a:lnTo>
                    <a:pt x="2628" y="1082"/>
                  </a:lnTo>
                  <a:lnTo>
                    <a:pt x="2631" y="1076"/>
                  </a:lnTo>
                  <a:lnTo>
                    <a:pt x="2631" y="1069"/>
                  </a:lnTo>
                  <a:lnTo>
                    <a:pt x="2631" y="1061"/>
                  </a:lnTo>
                  <a:lnTo>
                    <a:pt x="2629" y="1054"/>
                  </a:lnTo>
                  <a:lnTo>
                    <a:pt x="2628" y="1050"/>
                  </a:lnTo>
                  <a:lnTo>
                    <a:pt x="2628" y="1050"/>
                  </a:lnTo>
                  <a:lnTo>
                    <a:pt x="2624" y="1041"/>
                  </a:lnTo>
                  <a:lnTo>
                    <a:pt x="2624" y="1039"/>
                  </a:lnTo>
                  <a:lnTo>
                    <a:pt x="2624" y="1037"/>
                  </a:lnTo>
                  <a:lnTo>
                    <a:pt x="2628" y="1033"/>
                  </a:lnTo>
                  <a:lnTo>
                    <a:pt x="2633" y="1033"/>
                  </a:lnTo>
                  <a:lnTo>
                    <a:pt x="2641" y="1029"/>
                  </a:lnTo>
                  <a:lnTo>
                    <a:pt x="2648" y="1026"/>
                  </a:lnTo>
                  <a:lnTo>
                    <a:pt x="2650" y="1022"/>
                  </a:lnTo>
                  <a:lnTo>
                    <a:pt x="2652" y="1016"/>
                  </a:lnTo>
                  <a:lnTo>
                    <a:pt x="2654" y="1011"/>
                  </a:lnTo>
                  <a:lnTo>
                    <a:pt x="2656" y="1001"/>
                  </a:lnTo>
                  <a:lnTo>
                    <a:pt x="2656" y="1001"/>
                  </a:lnTo>
                  <a:lnTo>
                    <a:pt x="2652" y="996"/>
                  </a:lnTo>
                  <a:lnTo>
                    <a:pt x="2652" y="996"/>
                  </a:lnTo>
                  <a:lnTo>
                    <a:pt x="2644" y="985"/>
                  </a:lnTo>
                  <a:lnTo>
                    <a:pt x="2641" y="977"/>
                  </a:lnTo>
                  <a:lnTo>
                    <a:pt x="2637" y="970"/>
                  </a:lnTo>
                  <a:lnTo>
                    <a:pt x="2637" y="964"/>
                  </a:lnTo>
                  <a:lnTo>
                    <a:pt x="2639" y="960"/>
                  </a:lnTo>
                  <a:lnTo>
                    <a:pt x="2642" y="957"/>
                  </a:lnTo>
                  <a:lnTo>
                    <a:pt x="2652" y="951"/>
                  </a:lnTo>
                  <a:lnTo>
                    <a:pt x="2676" y="942"/>
                  </a:lnTo>
                  <a:lnTo>
                    <a:pt x="2687" y="936"/>
                  </a:lnTo>
                  <a:lnTo>
                    <a:pt x="2689" y="932"/>
                  </a:lnTo>
                  <a:lnTo>
                    <a:pt x="2691" y="927"/>
                  </a:lnTo>
                  <a:lnTo>
                    <a:pt x="2691" y="927"/>
                  </a:lnTo>
                  <a:lnTo>
                    <a:pt x="2693" y="921"/>
                  </a:lnTo>
                  <a:lnTo>
                    <a:pt x="2691" y="915"/>
                  </a:lnTo>
                  <a:lnTo>
                    <a:pt x="2687" y="914"/>
                  </a:lnTo>
                  <a:lnTo>
                    <a:pt x="2684" y="914"/>
                  </a:lnTo>
                  <a:lnTo>
                    <a:pt x="2674" y="915"/>
                  </a:lnTo>
                  <a:lnTo>
                    <a:pt x="2672" y="915"/>
                  </a:lnTo>
                  <a:lnTo>
                    <a:pt x="2671" y="914"/>
                  </a:lnTo>
                  <a:lnTo>
                    <a:pt x="2671" y="914"/>
                  </a:lnTo>
                  <a:lnTo>
                    <a:pt x="2667" y="908"/>
                  </a:lnTo>
                  <a:lnTo>
                    <a:pt x="2663" y="904"/>
                  </a:lnTo>
                  <a:lnTo>
                    <a:pt x="2661" y="904"/>
                  </a:lnTo>
                  <a:lnTo>
                    <a:pt x="2659" y="906"/>
                  </a:lnTo>
                  <a:lnTo>
                    <a:pt x="2654" y="912"/>
                  </a:lnTo>
                  <a:lnTo>
                    <a:pt x="2648" y="923"/>
                  </a:lnTo>
                  <a:lnTo>
                    <a:pt x="2642" y="930"/>
                  </a:lnTo>
                  <a:lnTo>
                    <a:pt x="2639" y="934"/>
                  </a:lnTo>
                  <a:lnTo>
                    <a:pt x="2635" y="934"/>
                  </a:lnTo>
                  <a:lnTo>
                    <a:pt x="2631" y="934"/>
                  </a:lnTo>
                  <a:lnTo>
                    <a:pt x="2626" y="930"/>
                  </a:lnTo>
                  <a:lnTo>
                    <a:pt x="2622" y="925"/>
                  </a:lnTo>
                  <a:lnTo>
                    <a:pt x="2616" y="914"/>
                  </a:lnTo>
                  <a:lnTo>
                    <a:pt x="2616" y="914"/>
                  </a:lnTo>
                  <a:lnTo>
                    <a:pt x="2609" y="904"/>
                  </a:lnTo>
                  <a:lnTo>
                    <a:pt x="2601" y="895"/>
                  </a:lnTo>
                  <a:lnTo>
                    <a:pt x="2581" y="878"/>
                  </a:lnTo>
                  <a:lnTo>
                    <a:pt x="2573" y="871"/>
                  </a:lnTo>
                  <a:lnTo>
                    <a:pt x="2566" y="861"/>
                  </a:lnTo>
                  <a:lnTo>
                    <a:pt x="2564" y="852"/>
                  </a:lnTo>
                  <a:lnTo>
                    <a:pt x="2564" y="848"/>
                  </a:lnTo>
                  <a:lnTo>
                    <a:pt x="2564" y="843"/>
                  </a:lnTo>
                  <a:lnTo>
                    <a:pt x="2564" y="843"/>
                  </a:lnTo>
                  <a:lnTo>
                    <a:pt x="2573" y="829"/>
                  </a:lnTo>
                  <a:lnTo>
                    <a:pt x="2586" y="815"/>
                  </a:lnTo>
                  <a:lnTo>
                    <a:pt x="2628" y="773"/>
                  </a:lnTo>
                  <a:lnTo>
                    <a:pt x="2648" y="749"/>
                  </a:lnTo>
                  <a:lnTo>
                    <a:pt x="2671" y="727"/>
                  </a:lnTo>
                  <a:lnTo>
                    <a:pt x="2687" y="704"/>
                  </a:lnTo>
                  <a:lnTo>
                    <a:pt x="2700" y="684"/>
                  </a:lnTo>
                  <a:lnTo>
                    <a:pt x="2700" y="684"/>
                  </a:lnTo>
                  <a:lnTo>
                    <a:pt x="2706" y="674"/>
                  </a:lnTo>
                  <a:lnTo>
                    <a:pt x="2710" y="671"/>
                  </a:lnTo>
                  <a:lnTo>
                    <a:pt x="2713" y="667"/>
                  </a:lnTo>
                  <a:lnTo>
                    <a:pt x="2717" y="667"/>
                  </a:lnTo>
                  <a:lnTo>
                    <a:pt x="2719" y="669"/>
                  </a:lnTo>
                  <a:lnTo>
                    <a:pt x="2721" y="673"/>
                  </a:lnTo>
                  <a:lnTo>
                    <a:pt x="2727" y="684"/>
                  </a:lnTo>
                  <a:lnTo>
                    <a:pt x="2730" y="697"/>
                  </a:lnTo>
                  <a:lnTo>
                    <a:pt x="2734" y="710"/>
                  </a:lnTo>
                  <a:lnTo>
                    <a:pt x="2736" y="714"/>
                  </a:lnTo>
                  <a:lnTo>
                    <a:pt x="2740" y="717"/>
                  </a:lnTo>
                  <a:lnTo>
                    <a:pt x="2743" y="717"/>
                  </a:lnTo>
                  <a:lnTo>
                    <a:pt x="2747" y="717"/>
                  </a:lnTo>
                  <a:lnTo>
                    <a:pt x="2747" y="717"/>
                  </a:lnTo>
                  <a:lnTo>
                    <a:pt x="2751" y="716"/>
                  </a:lnTo>
                  <a:lnTo>
                    <a:pt x="2753" y="712"/>
                  </a:lnTo>
                  <a:lnTo>
                    <a:pt x="2755" y="704"/>
                  </a:lnTo>
                  <a:lnTo>
                    <a:pt x="2753" y="695"/>
                  </a:lnTo>
                  <a:lnTo>
                    <a:pt x="2749" y="687"/>
                  </a:lnTo>
                  <a:lnTo>
                    <a:pt x="2742" y="669"/>
                  </a:lnTo>
                  <a:lnTo>
                    <a:pt x="2742" y="663"/>
                  </a:lnTo>
                  <a:lnTo>
                    <a:pt x="2742" y="658"/>
                  </a:lnTo>
                  <a:lnTo>
                    <a:pt x="2742" y="658"/>
                  </a:lnTo>
                  <a:lnTo>
                    <a:pt x="2745" y="654"/>
                  </a:lnTo>
                  <a:lnTo>
                    <a:pt x="2747" y="650"/>
                  </a:lnTo>
                  <a:lnTo>
                    <a:pt x="2747" y="639"/>
                  </a:lnTo>
                  <a:lnTo>
                    <a:pt x="2747" y="611"/>
                  </a:lnTo>
                  <a:lnTo>
                    <a:pt x="2747" y="598"/>
                  </a:lnTo>
                  <a:lnTo>
                    <a:pt x="2749" y="587"/>
                  </a:lnTo>
                  <a:lnTo>
                    <a:pt x="2753" y="577"/>
                  </a:lnTo>
                  <a:lnTo>
                    <a:pt x="2755" y="574"/>
                  </a:lnTo>
                  <a:lnTo>
                    <a:pt x="2758" y="572"/>
                  </a:lnTo>
                  <a:lnTo>
                    <a:pt x="2758" y="572"/>
                  </a:lnTo>
                  <a:lnTo>
                    <a:pt x="2770" y="566"/>
                  </a:lnTo>
                  <a:lnTo>
                    <a:pt x="2779" y="560"/>
                  </a:lnTo>
                  <a:lnTo>
                    <a:pt x="2785" y="553"/>
                  </a:lnTo>
                  <a:lnTo>
                    <a:pt x="2786" y="545"/>
                  </a:lnTo>
                  <a:lnTo>
                    <a:pt x="2788" y="536"/>
                  </a:lnTo>
                  <a:lnTo>
                    <a:pt x="2790" y="527"/>
                  </a:lnTo>
                  <a:lnTo>
                    <a:pt x="2786" y="506"/>
                  </a:lnTo>
                  <a:lnTo>
                    <a:pt x="2783" y="486"/>
                  </a:lnTo>
                  <a:lnTo>
                    <a:pt x="2777" y="465"/>
                  </a:lnTo>
                  <a:lnTo>
                    <a:pt x="2777" y="454"/>
                  </a:lnTo>
                  <a:lnTo>
                    <a:pt x="2777" y="443"/>
                  </a:lnTo>
                  <a:lnTo>
                    <a:pt x="2777" y="433"/>
                  </a:lnTo>
                  <a:lnTo>
                    <a:pt x="2781" y="424"/>
                  </a:lnTo>
                  <a:lnTo>
                    <a:pt x="2781" y="424"/>
                  </a:lnTo>
                  <a:lnTo>
                    <a:pt x="2811" y="347"/>
                  </a:lnTo>
                  <a:lnTo>
                    <a:pt x="2820" y="323"/>
                  </a:lnTo>
                  <a:lnTo>
                    <a:pt x="2822" y="304"/>
                  </a:lnTo>
                  <a:lnTo>
                    <a:pt x="2822" y="297"/>
                  </a:lnTo>
                  <a:lnTo>
                    <a:pt x="2820" y="289"/>
                  </a:lnTo>
                  <a:lnTo>
                    <a:pt x="2818" y="282"/>
                  </a:lnTo>
                  <a:lnTo>
                    <a:pt x="2814" y="275"/>
                  </a:lnTo>
                  <a:lnTo>
                    <a:pt x="2801" y="260"/>
                  </a:lnTo>
                  <a:lnTo>
                    <a:pt x="2783" y="243"/>
                  </a:lnTo>
                  <a:lnTo>
                    <a:pt x="2783" y="243"/>
                  </a:lnTo>
                  <a:lnTo>
                    <a:pt x="2755" y="218"/>
                  </a:lnTo>
                  <a:lnTo>
                    <a:pt x="2738" y="205"/>
                  </a:lnTo>
                  <a:lnTo>
                    <a:pt x="2730" y="204"/>
                  </a:lnTo>
                  <a:lnTo>
                    <a:pt x="2727" y="204"/>
                  </a:lnTo>
                  <a:lnTo>
                    <a:pt x="2725" y="205"/>
                  </a:lnTo>
                  <a:lnTo>
                    <a:pt x="2721" y="209"/>
                  </a:lnTo>
                  <a:lnTo>
                    <a:pt x="2719" y="218"/>
                  </a:lnTo>
                  <a:lnTo>
                    <a:pt x="2715" y="230"/>
                  </a:lnTo>
                  <a:lnTo>
                    <a:pt x="2712" y="237"/>
                  </a:lnTo>
                  <a:lnTo>
                    <a:pt x="2708" y="243"/>
                  </a:lnTo>
                  <a:lnTo>
                    <a:pt x="2702" y="248"/>
                  </a:lnTo>
                  <a:lnTo>
                    <a:pt x="2693" y="252"/>
                  </a:lnTo>
                  <a:lnTo>
                    <a:pt x="2693" y="252"/>
                  </a:lnTo>
                  <a:lnTo>
                    <a:pt x="2672" y="260"/>
                  </a:lnTo>
                  <a:lnTo>
                    <a:pt x="2656" y="263"/>
                  </a:lnTo>
                  <a:lnTo>
                    <a:pt x="2631" y="267"/>
                  </a:lnTo>
                  <a:lnTo>
                    <a:pt x="2611" y="271"/>
                  </a:lnTo>
                  <a:lnTo>
                    <a:pt x="2601" y="273"/>
                  </a:lnTo>
                  <a:lnTo>
                    <a:pt x="2592" y="276"/>
                  </a:lnTo>
                  <a:lnTo>
                    <a:pt x="2592" y="276"/>
                  </a:lnTo>
                  <a:lnTo>
                    <a:pt x="2581" y="282"/>
                  </a:lnTo>
                  <a:lnTo>
                    <a:pt x="2571" y="284"/>
                  </a:lnTo>
                  <a:lnTo>
                    <a:pt x="2562" y="286"/>
                  </a:lnTo>
                  <a:lnTo>
                    <a:pt x="2555" y="284"/>
                  </a:lnTo>
                  <a:lnTo>
                    <a:pt x="2547" y="280"/>
                  </a:lnTo>
                  <a:lnTo>
                    <a:pt x="2542" y="276"/>
                  </a:lnTo>
                  <a:lnTo>
                    <a:pt x="2536" y="271"/>
                  </a:lnTo>
                  <a:lnTo>
                    <a:pt x="2530" y="265"/>
                  </a:lnTo>
                  <a:lnTo>
                    <a:pt x="2521" y="248"/>
                  </a:lnTo>
                  <a:lnTo>
                    <a:pt x="2514" y="232"/>
                  </a:lnTo>
                  <a:lnTo>
                    <a:pt x="2500" y="198"/>
                  </a:lnTo>
                  <a:lnTo>
                    <a:pt x="2500" y="198"/>
                  </a:lnTo>
                  <a:lnTo>
                    <a:pt x="2493" y="181"/>
                  </a:lnTo>
                  <a:lnTo>
                    <a:pt x="2493" y="172"/>
                  </a:lnTo>
                  <a:lnTo>
                    <a:pt x="2495" y="164"/>
                  </a:lnTo>
                  <a:lnTo>
                    <a:pt x="2497" y="161"/>
                  </a:lnTo>
                  <a:lnTo>
                    <a:pt x="2499" y="161"/>
                  </a:lnTo>
                  <a:lnTo>
                    <a:pt x="2500" y="159"/>
                  </a:lnTo>
                  <a:lnTo>
                    <a:pt x="2487" y="153"/>
                  </a:lnTo>
                  <a:lnTo>
                    <a:pt x="2487" y="153"/>
                  </a:lnTo>
                  <a:lnTo>
                    <a:pt x="2482" y="149"/>
                  </a:lnTo>
                  <a:lnTo>
                    <a:pt x="2476" y="144"/>
                  </a:lnTo>
                  <a:lnTo>
                    <a:pt x="2465" y="129"/>
                  </a:lnTo>
                  <a:lnTo>
                    <a:pt x="2457" y="125"/>
                  </a:lnTo>
                  <a:lnTo>
                    <a:pt x="2452" y="121"/>
                  </a:lnTo>
                  <a:lnTo>
                    <a:pt x="2448" y="121"/>
                  </a:lnTo>
                  <a:lnTo>
                    <a:pt x="2446" y="123"/>
                  </a:lnTo>
                  <a:lnTo>
                    <a:pt x="2441" y="129"/>
                  </a:lnTo>
                  <a:lnTo>
                    <a:pt x="2441" y="129"/>
                  </a:lnTo>
                  <a:lnTo>
                    <a:pt x="2433" y="140"/>
                  </a:lnTo>
                  <a:lnTo>
                    <a:pt x="2426" y="147"/>
                  </a:lnTo>
                  <a:lnTo>
                    <a:pt x="2422" y="149"/>
                  </a:lnTo>
                  <a:lnTo>
                    <a:pt x="2416" y="149"/>
                  </a:lnTo>
                  <a:lnTo>
                    <a:pt x="2411" y="147"/>
                  </a:lnTo>
                  <a:lnTo>
                    <a:pt x="2405" y="144"/>
                  </a:lnTo>
                  <a:lnTo>
                    <a:pt x="2398" y="138"/>
                  </a:lnTo>
                  <a:lnTo>
                    <a:pt x="2388" y="134"/>
                  </a:lnTo>
                  <a:lnTo>
                    <a:pt x="2388" y="134"/>
                  </a:lnTo>
                  <a:lnTo>
                    <a:pt x="2375" y="127"/>
                  </a:lnTo>
                  <a:lnTo>
                    <a:pt x="2368" y="119"/>
                  </a:lnTo>
                  <a:lnTo>
                    <a:pt x="2364" y="114"/>
                  </a:lnTo>
                  <a:lnTo>
                    <a:pt x="2364" y="106"/>
                  </a:lnTo>
                  <a:lnTo>
                    <a:pt x="2368" y="99"/>
                  </a:lnTo>
                  <a:lnTo>
                    <a:pt x="2371" y="91"/>
                  </a:lnTo>
                  <a:lnTo>
                    <a:pt x="2385" y="76"/>
                  </a:lnTo>
                  <a:lnTo>
                    <a:pt x="2390" y="69"/>
                  </a:lnTo>
                  <a:lnTo>
                    <a:pt x="2396" y="60"/>
                  </a:lnTo>
                  <a:lnTo>
                    <a:pt x="2400" y="50"/>
                  </a:lnTo>
                  <a:lnTo>
                    <a:pt x="2400" y="43"/>
                  </a:lnTo>
                  <a:lnTo>
                    <a:pt x="2398" y="32"/>
                  </a:lnTo>
                  <a:lnTo>
                    <a:pt x="2392" y="22"/>
                  </a:lnTo>
                  <a:lnTo>
                    <a:pt x="2381" y="11"/>
                  </a:lnTo>
                  <a:lnTo>
                    <a:pt x="2364" y="0"/>
                  </a:lnTo>
                  <a:lnTo>
                    <a:pt x="2364" y="0"/>
                  </a:lnTo>
                  <a:lnTo>
                    <a:pt x="2353" y="4"/>
                  </a:lnTo>
                  <a:lnTo>
                    <a:pt x="2345" y="7"/>
                  </a:lnTo>
                  <a:lnTo>
                    <a:pt x="2345" y="7"/>
                  </a:lnTo>
                  <a:lnTo>
                    <a:pt x="2336" y="15"/>
                  </a:lnTo>
                  <a:lnTo>
                    <a:pt x="2330" y="17"/>
                  </a:lnTo>
                  <a:lnTo>
                    <a:pt x="2327" y="17"/>
                  </a:lnTo>
                  <a:lnTo>
                    <a:pt x="2321" y="17"/>
                  </a:lnTo>
                  <a:lnTo>
                    <a:pt x="2314" y="20"/>
                  </a:lnTo>
                  <a:lnTo>
                    <a:pt x="2302" y="30"/>
                  </a:lnTo>
                  <a:lnTo>
                    <a:pt x="2284" y="50"/>
                  </a:lnTo>
                  <a:lnTo>
                    <a:pt x="2257" y="82"/>
                  </a:lnTo>
                  <a:lnTo>
                    <a:pt x="2257" y="82"/>
                  </a:lnTo>
                  <a:lnTo>
                    <a:pt x="2250" y="91"/>
                  </a:lnTo>
                  <a:lnTo>
                    <a:pt x="2243" y="101"/>
                  </a:lnTo>
                  <a:lnTo>
                    <a:pt x="2241" y="106"/>
                  </a:lnTo>
                  <a:lnTo>
                    <a:pt x="2239" y="112"/>
                  </a:lnTo>
                  <a:lnTo>
                    <a:pt x="2241" y="118"/>
                  </a:lnTo>
                  <a:lnTo>
                    <a:pt x="2246" y="125"/>
                  </a:lnTo>
                  <a:lnTo>
                    <a:pt x="2246" y="125"/>
                  </a:lnTo>
                  <a:lnTo>
                    <a:pt x="2248" y="127"/>
                  </a:lnTo>
                  <a:lnTo>
                    <a:pt x="2252" y="127"/>
                  </a:lnTo>
                  <a:lnTo>
                    <a:pt x="2259" y="123"/>
                  </a:lnTo>
                  <a:lnTo>
                    <a:pt x="2280" y="116"/>
                  </a:lnTo>
                  <a:lnTo>
                    <a:pt x="2289" y="114"/>
                  </a:lnTo>
                  <a:lnTo>
                    <a:pt x="2293" y="116"/>
                  </a:lnTo>
                  <a:lnTo>
                    <a:pt x="2297" y="118"/>
                  </a:lnTo>
                  <a:lnTo>
                    <a:pt x="2299" y="121"/>
                  </a:lnTo>
                  <a:lnTo>
                    <a:pt x="2300" y="129"/>
                  </a:lnTo>
                  <a:lnTo>
                    <a:pt x="2302" y="138"/>
                  </a:lnTo>
                  <a:lnTo>
                    <a:pt x="2302" y="149"/>
                  </a:lnTo>
                  <a:lnTo>
                    <a:pt x="2302" y="149"/>
                  </a:lnTo>
                  <a:lnTo>
                    <a:pt x="2304" y="161"/>
                  </a:lnTo>
                  <a:lnTo>
                    <a:pt x="2310" y="168"/>
                  </a:lnTo>
                  <a:lnTo>
                    <a:pt x="2314" y="177"/>
                  </a:lnTo>
                  <a:lnTo>
                    <a:pt x="2317" y="185"/>
                  </a:lnTo>
                  <a:lnTo>
                    <a:pt x="2317" y="189"/>
                  </a:lnTo>
                  <a:lnTo>
                    <a:pt x="2317" y="194"/>
                  </a:lnTo>
                  <a:lnTo>
                    <a:pt x="2315" y="200"/>
                  </a:lnTo>
                  <a:lnTo>
                    <a:pt x="2312" y="207"/>
                  </a:lnTo>
                  <a:lnTo>
                    <a:pt x="2299" y="222"/>
                  </a:lnTo>
                  <a:lnTo>
                    <a:pt x="2276" y="245"/>
                  </a:lnTo>
                  <a:lnTo>
                    <a:pt x="2276" y="245"/>
                  </a:lnTo>
                  <a:lnTo>
                    <a:pt x="2271" y="250"/>
                  </a:lnTo>
                  <a:lnTo>
                    <a:pt x="2267" y="256"/>
                  </a:lnTo>
                  <a:lnTo>
                    <a:pt x="2259" y="269"/>
                  </a:lnTo>
                  <a:lnTo>
                    <a:pt x="2254" y="284"/>
                  </a:lnTo>
                  <a:lnTo>
                    <a:pt x="2252" y="301"/>
                  </a:lnTo>
                  <a:lnTo>
                    <a:pt x="2248" y="316"/>
                  </a:lnTo>
                  <a:lnTo>
                    <a:pt x="2244" y="332"/>
                  </a:lnTo>
                  <a:lnTo>
                    <a:pt x="2239" y="346"/>
                  </a:lnTo>
                  <a:lnTo>
                    <a:pt x="2229" y="359"/>
                  </a:lnTo>
                  <a:lnTo>
                    <a:pt x="2196" y="452"/>
                  </a:lnTo>
                  <a:lnTo>
                    <a:pt x="2196" y="452"/>
                  </a:lnTo>
                  <a:lnTo>
                    <a:pt x="2200" y="456"/>
                  </a:lnTo>
                  <a:lnTo>
                    <a:pt x="2205" y="458"/>
                  </a:lnTo>
                  <a:lnTo>
                    <a:pt x="2211" y="460"/>
                  </a:lnTo>
                  <a:lnTo>
                    <a:pt x="2218" y="463"/>
                  </a:lnTo>
                  <a:lnTo>
                    <a:pt x="2220" y="467"/>
                  </a:lnTo>
                  <a:lnTo>
                    <a:pt x="2220" y="469"/>
                  </a:lnTo>
                  <a:lnTo>
                    <a:pt x="2220" y="473"/>
                  </a:lnTo>
                  <a:lnTo>
                    <a:pt x="2218" y="478"/>
                  </a:lnTo>
                  <a:lnTo>
                    <a:pt x="2209" y="491"/>
                  </a:lnTo>
                  <a:lnTo>
                    <a:pt x="2190" y="508"/>
                  </a:lnTo>
                  <a:lnTo>
                    <a:pt x="2190" y="508"/>
                  </a:lnTo>
                  <a:lnTo>
                    <a:pt x="2183" y="514"/>
                  </a:lnTo>
                  <a:lnTo>
                    <a:pt x="2177" y="516"/>
                  </a:lnTo>
                  <a:lnTo>
                    <a:pt x="2164" y="519"/>
                  </a:lnTo>
                  <a:lnTo>
                    <a:pt x="2157" y="523"/>
                  </a:lnTo>
                  <a:lnTo>
                    <a:pt x="2145" y="529"/>
                  </a:lnTo>
                  <a:lnTo>
                    <a:pt x="2134" y="540"/>
                  </a:lnTo>
                  <a:lnTo>
                    <a:pt x="2119" y="557"/>
                  </a:lnTo>
                  <a:lnTo>
                    <a:pt x="2119" y="557"/>
                  </a:lnTo>
                  <a:lnTo>
                    <a:pt x="2108" y="566"/>
                  </a:lnTo>
                  <a:lnTo>
                    <a:pt x="2097" y="575"/>
                  </a:lnTo>
                  <a:lnTo>
                    <a:pt x="2084" y="579"/>
                  </a:lnTo>
                  <a:lnTo>
                    <a:pt x="2072" y="583"/>
                  </a:lnTo>
                  <a:lnTo>
                    <a:pt x="2059" y="583"/>
                  </a:lnTo>
                  <a:lnTo>
                    <a:pt x="2048" y="581"/>
                  </a:lnTo>
                  <a:lnTo>
                    <a:pt x="2026" y="575"/>
                  </a:lnTo>
                  <a:lnTo>
                    <a:pt x="2005" y="568"/>
                  </a:lnTo>
                  <a:lnTo>
                    <a:pt x="1990" y="560"/>
                  </a:lnTo>
                  <a:lnTo>
                    <a:pt x="1979" y="557"/>
                  </a:lnTo>
                  <a:lnTo>
                    <a:pt x="1975" y="557"/>
                  </a:lnTo>
                  <a:lnTo>
                    <a:pt x="1973" y="559"/>
                  </a:lnTo>
                  <a:lnTo>
                    <a:pt x="1973" y="559"/>
                  </a:lnTo>
                  <a:lnTo>
                    <a:pt x="1966" y="585"/>
                  </a:lnTo>
                  <a:lnTo>
                    <a:pt x="1957" y="609"/>
                  </a:lnTo>
                  <a:lnTo>
                    <a:pt x="1934" y="659"/>
                  </a:lnTo>
                  <a:lnTo>
                    <a:pt x="1923" y="684"/>
                  </a:lnTo>
                  <a:lnTo>
                    <a:pt x="1914" y="710"/>
                  </a:lnTo>
                  <a:lnTo>
                    <a:pt x="1906" y="736"/>
                  </a:lnTo>
                  <a:lnTo>
                    <a:pt x="1904" y="749"/>
                  </a:lnTo>
                  <a:lnTo>
                    <a:pt x="1902" y="762"/>
                  </a:lnTo>
                  <a:lnTo>
                    <a:pt x="1902" y="762"/>
                  </a:lnTo>
                  <a:lnTo>
                    <a:pt x="1902" y="770"/>
                  </a:lnTo>
                  <a:lnTo>
                    <a:pt x="1901" y="775"/>
                  </a:lnTo>
                  <a:lnTo>
                    <a:pt x="1895" y="785"/>
                  </a:lnTo>
                  <a:lnTo>
                    <a:pt x="1887" y="792"/>
                  </a:lnTo>
                  <a:lnTo>
                    <a:pt x="1882" y="798"/>
                  </a:lnTo>
                  <a:lnTo>
                    <a:pt x="1880" y="801"/>
                  </a:lnTo>
                  <a:lnTo>
                    <a:pt x="1878" y="805"/>
                  </a:lnTo>
                  <a:lnTo>
                    <a:pt x="1878" y="811"/>
                  </a:lnTo>
                  <a:lnTo>
                    <a:pt x="1880" y="816"/>
                  </a:lnTo>
                  <a:lnTo>
                    <a:pt x="1887" y="833"/>
                  </a:lnTo>
                  <a:lnTo>
                    <a:pt x="1904" y="858"/>
                  </a:lnTo>
                  <a:lnTo>
                    <a:pt x="1904" y="858"/>
                  </a:lnTo>
                  <a:lnTo>
                    <a:pt x="1908" y="861"/>
                  </a:lnTo>
                  <a:lnTo>
                    <a:pt x="1912" y="863"/>
                  </a:lnTo>
                  <a:lnTo>
                    <a:pt x="1916" y="865"/>
                  </a:lnTo>
                  <a:lnTo>
                    <a:pt x="1919" y="863"/>
                  </a:lnTo>
                  <a:lnTo>
                    <a:pt x="1927" y="859"/>
                  </a:lnTo>
                  <a:lnTo>
                    <a:pt x="1936" y="854"/>
                  </a:lnTo>
                  <a:lnTo>
                    <a:pt x="1949" y="846"/>
                  </a:lnTo>
                  <a:lnTo>
                    <a:pt x="1964" y="839"/>
                  </a:lnTo>
                  <a:lnTo>
                    <a:pt x="1985" y="833"/>
                  </a:lnTo>
                  <a:lnTo>
                    <a:pt x="1996" y="831"/>
                  </a:lnTo>
                  <a:lnTo>
                    <a:pt x="2009" y="831"/>
                  </a:lnTo>
                  <a:lnTo>
                    <a:pt x="2009" y="831"/>
                  </a:lnTo>
                  <a:lnTo>
                    <a:pt x="2016" y="831"/>
                  </a:lnTo>
                  <a:lnTo>
                    <a:pt x="2024" y="833"/>
                  </a:lnTo>
                  <a:lnTo>
                    <a:pt x="2033" y="839"/>
                  </a:lnTo>
                  <a:lnTo>
                    <a:pt x="2048" y="854"/>
                  </a:lnTo>
                  <a:lnTo>
                    <a:pt x="2052" y="856"/>
                  </a:lnTo>
                  <a:lnTo>
                    <a:pt x="2056" y="856"/>
                  </a:lnTo>
                  <a:lnTo>
                    <a:pt x="2059" y="856"/>
                  </a:lnTo>
                  <a:lnTo>
                    <a:pt x="2063" y="854"/>
                  </a:lnTo>
                  <a:lnTo>
                    <a:pt x="2074" y="844"/>
                  </a:lnTo>
                  <a:lnTo>
                    <a:pt x="2087" y="824"/>
                  </a:lnTo>
                  <a:lnTo>
                    <a:pt x="2087" y="824"/>
                  </a:lnTo>
                  <a:lnTo>
                    <a:pt x="2093" y="818"/>
                  </a:lnTo>
                  <a:lnTo>
                    <a:pt x="2099" y="813"/>
                  </a:lnTo>
                  <a:lnTo>
                    <a:pt x="2104" y="809"/>
                  </a:lnTo>
                  <a:lnTo>
                    <a:pt x="2112" y="807"/>
                  </a:lnTo>
                  <a:lnTo>
                    <a:pt x="2129" y="805"/>
                  </a:lnTo>
                  <a:lnTo>
                    <a:pt x="2145" y="807"/>
                  </a:lnTo>
                  <a:lnTo>
                    <a:pt x="2162" y="811"/>
                  </a:lnTo>
                  <a:lnTo>
                    <a:pt x="2177" y="816"/>
                  </a:lnTo>
                  <a:lnTo>
                    <a:pt x="2192" y="824"/>
                  </a:lnTo>
                  <a:lnTo>
                    <a:pt x="2201" y="833"/>
                  </a:lnTo>
                  <a:lnTo>
                    <a:pt x="2201" y="833"/>
                  </a:lnTo>
                  <a:lnTo>
                    <a:pt x="2211" y="839"/>
                  </a:lnTo>
                  <a:lnTo>
                    <a:pt x="2222" y="843"/>
                  </a:lnTo>
                  <a:lnTo>
                    <a:pt x="2231" y="848"/>
                  </a:lnTo>
                  <a:lnTo>
                    <a:pt x="2233" y="852"/>
                  </a:lnTo>
                  <a:lnTo>
                    <a:pt x="2235" y="858"/>
                  </a:lnTo>
                  <a:lnTo>
                    <a:pt x="2235" y="858"/>
                  </a:lnTo>
                  <a:lnTo>
                    <a:pt x="2237" y="861"/>
                  </a:lnTo>
                  <a:lnTo>
                    <a:pt x="2243" y="867"/>
                  </a:lnTo>
                  <a:lnTo>
                    <a:pt x="2257" y="882"/>
                  </a:lnTo>
                  <a:lnTo>
                    <a:pt x="2278" y="901"/>
                  </a:lnTo>
                  <a:lnTo>
                    <a:pt x="2300" y="921"/>
                  </a:lnTo>
                  <a:lnTo>
                    <a:pt x="2317" y="942"/>
                  </a:lnTo>
                  <a:lnTo>
                    <a:pt x="2325" y="951"/>
                  </a:lnTo>
                  <a:lnTo>
                    <a:pt x="2329" y="960"/>
                  </a:lnTo>
                  <a:lnTo>
                    <a:pt x="2329" y="970"/>
                  </a:lnTo>
                  <a:lnTo>
                    <a:pt x="2327" y="977"/>
                  </a:lnTo>
                  <a:lnTo>
                    <a:pt x="2319" y="983"/>
                  </a:lnTo>
                  <a:lnTo>
                    <a:pt x="2308" y="988"/>
                  </a:lnTo>
                  <a:lnTo>
                    <a:pt x="2308" y="988"/>
                  </a:lnTo>
                  <a:lnTo>
                    <a:pt x="2299" y="990"/>
                  </a:lnTo>
                  <a:lnTo>
                    <a:pt x="2289" y="992"/>
                  </a:lnTo>
                  <a:lnTo>
                    <a:pt x="2272" y="992"/>
                  </a:lnTo>
                  <a:lnTo>
                    <a:pt x="2257" y="988"/>
                  </a:lnTo>
                  <a:lnTo>
                    <a:pt x="2246" y="985"/>
                  </a:lnTo>
                  <a:lnTo>
                    <a:pt x="2235" y="979"/>
                  </a:lnTo>
                  <a:lnTo>
                    <a:pt x="2224" y="977"/>
                  </a:lnTo>
                  <a:lnTo>
                    <a:pt x="2215" y="979"/>
                  </a:lnTo>
                  <a:lnTo>
                    <a:pt x="2209" y="981"/>
                  </a:lnTo>
                  <a:lnTo>
                    <a:pt x="2205" y="985"/>
                  </a:lnTo>
                  <a:lnTo>
                    <a:pt x="2205" y="985"/>
                  </a:lnTo>
                  <a:lnTo>
                    <a:pt x="2198" y="988"/>
                  </a:lnTo>
                  <a:lnTo>
                    <a:pt x="2192" y="988"/>
                  </a:lnTo>
                  <a:lnTo>
                    <a:pt x="2186" y="988"/>
                  </a:lnTo>
                  <a:lnTo>
                    <a:pt x="2181" y="985"/>
                  </a:lnTo>
                  <a:lnTo>
                    <a:pt x="2175" y="983"/>
                  </a:lnTo>
                  <a:lnTo>
                    <a:pt x="2170" y="983"/>
                  </a:lnTo>
                  <a:lnTo>
                    <a:pt x="2160" y="985"/>
                  </a:lnTo>
                  <a:lnTo>
                    <a:pt x="2151" y="992"/>
                  </a:lnTo>
                  <a:lnTo>
                    <a:pt x="2151" y="992"/>
                  </a:lnTo>
                  <a:lnTo>
                    <a:pt x="2142" y="1000"/>
                  </a:lnTo>
                  <a:lnTo>
                    <a:pt x="2132" y="1005"/>
                  </a:lnTo>
                  <a:lnTo>
                    <a:pt x="2125" y="1009"/>
                  </a:lnTo>
                  <a:lnTo>
                    <a:pt x="2117" y="1011"/>
                  </a:lnTo>
                  <a:lnTo>
                    <a:pt x="2104" y="1013"/>
                  </a:lnTo>
                  <a:lnTo>
                    <a:pt x="2095" y="1011"/>
                  </a:lnTo>
                  <a:lnTo>
                    <a:pt x="2087" y="1009"/>
                  </a:lnTo>
                  <a:lnTo>
                    <a:pt x="2082" y="1011"/>
                  </a:lnTo>
                  <a:lnTo>
                    <a:pt x="2080" y="1016"/>
                  </a:lnTo>
                  <a:lnTo>
                    <a:pt x="2078" y="1029"/>
                  </a:lnTo>
                  <a:lnTo>
                    <a:pt x="2078" y="1029"/>
                  </a:lnTo>
                  <a:lnTo>
                    <a:pt x="2076" y="1035"/>
                  </a:lnTo>
                  <a:lnTo>
                    <a:pt x="2074" y="1039"/>
                  </a:lnTo>
                  <a:lnTo>
                    <a:pt x="2071" y="1043"/>
                  </a:lnTo>
                  <a:lnTo>
                    <a:pt x="2067" y="1044"/>
                  </a:lnTo>
                  <a:lnTo>
                    <a:pt x="2054" y="1046"/>
                  </a:lnTo>
                  <a:lnTo>
                    <a:pt x="2039" y="1048"/>
                  </a:lnTo>
                  <a:lnTo>
                    <a:pt x="2024" y="1050"/>
                  </a:lnTo>
                  <a:lnTo>
                    <a:pt x="2009" y="1054"/>
                  </a:lnTo>
                  <a:lnTo>
                    <a:pt x="2001" y="1057"/>
                  </a:lnTo>
                  <a:lnTo>
                    <a:pt x="1996" y="1063"/>
                  </a:lnTo>
                  <a:lnTo>
                    <a:pt x="1990" y="1069"/>
                  </a:lnTo>
                  <a:lnTo>
                    <a:pt x="1985" y="1078"/>
                  </a:lnTo>
                  <a:lnTo>
                    <a:pt x="1985" y="1078"/>
                  </a:lnTo>
                  <a:lnTo>
                    <a:pt x="1981" y="1089"/>
                  </a:lnTo>
                  <a:lnTo>
                    <a:pt x="1975" y="1095"/>
                  </a:lnTo>
                  <a:lnTo>
                    <a:pt x="1970" y="1100"/>
                  </a:lnTo>
                  <a:lnTo>
                    <a:pt x="1968" y="1102"/>
                  </a:lnTo>
                  <a:lnTo>
                    <a:pt x="1968" y="1108"/>
                  </a:lnTo>
                  <a:lnTo>
                    <a:pt x="1966" y="1140"/>
                  </a:lnTo>
                  <a:lnTo>
                    <a:pt x="1966" y="1140"/>
                  </a:lnTo>
                  <a:lnTo>
                    <a:pt x="1966" y="1143"/>
                  </a:lnTo>
                  <a:lnTo>
                    <a:pt x="1964" y="1147"/>
                  </a:lnTo>
                  <a:lnTo>
                    <a:pt x="1957" y="1156"/>
                  </a:lnTo>
                  <a:lnTo>
                    <a:pt x="1945" y="1166"/>
                  </a:lnTo>
                  <a:lnTo>
                    <a:pt x="1929" y="1177"/>
                  </a:lnTo>
                  <a:lnTo>
                    <a:pt x="1912" y="1186"/>
                  </a:lnTo>
                  <a:lnTo>
                    <a:pt x="1891" y="1194"/>
                  </a:lnTo>
                  <a:lnTo>
                    <a:pt x="1871" y="1198"/>
                  </a:lnTo>
                  <a:lnTo>
                    <a:pt x="1848" y="1199"/>
                  </a:lnTo>
                  <a:lnTo>
                    <a:pt x="1848" y="1199"/>
                  </a:lnTo>
                  <a:lnTo>
                    <a:pt x="1820" y="1199"/>
                  </a:lnTo>
                  <a:lnTo>
                    <a:pt x="1815" y="1201"/>
                  </a:lnTo>
                  <a:lnTo>
                    <a:pt x="1811" y="1205"/>
                  </a:lnTo>
                  <a:lnTo>
                    <a:pt x="1800" y="1220"/>
                  </a:lnTo>
                  <a:lnTo>
                    <a:pt x="1787" y="1233"/>
                  </a:lnTo>
                  <a:lnTo>
                    <a:pt x="1766" y="1252"/>
                  </a:lnTo>
                  <a:lnTo>
                    <a:pt x="1766" y="1252"/>
                  </a:lnTo>
                  <a:lnTo>
                    <a:pt x="1736" y="1276"/>
                  </a:lnTo>
                  <a:lnTo>
                    <a:pt x="1721" y="1284"/>
                  </a:lnTo>
                  <a:lnTo>
                    <a:pt x="1708" y="1291"/>
                  </a:lnTo>
                  <a:lnTo>
                    <a:pt x="1693" y="1297"/>
                  </a:lnTo>
                  <a:lnTo>
                    <a:pt x="1676" y="1298"/>
                  </a:lnTo>
                  <a:lnTo>
                    <a:pt x="1658" y="1297"/>
                  </a:lnTo>
                  <a:lnTo>
                    <a:pt x="1637" y="1293"/>
                  </a:lnTo>
                  <a:lnTo>
                    <a:pt x="1637" y="1293"/>
                  </a:lnTo>
                  <a:lnTo>
                    <a:pt x="1624" y="1289"/>
                  </a:lnTo>
                  <a:lnTo>
                    <a:pt x="1615" y="1282"/>
                  </a:lnTo>
                  <a:lnTo>
                    <a:pt x="1596" y="1265"/>
                  </a:lnTo>
                  <a:lnTo>
                    <a:pt x="1585" y="1257"/>
                  </a:lnTo>
                  <a:lnTo>
                    <a:pt x="1579" y="1254"/>
                  </a:lnTo>
                  <a:lnTo>
                    <a:pt x="1572" y="1252"/>
                  </a:lnTo>
                  <a:lnTo>
                    <a:pt x="1564" y="1252"/>
                  </a:lnTo>
                  <a:lnTo>
                    <a:pt x="1557" y="1252"/>
                  </a:lnTo>
                  <a:lnTo>
                    <a:pt x="1545" y="1254"/>
                  </a:lnTo>
                  <a:lnTo>
                    <a:pt x="1536" y="1257"/>
                  </a:lnTo>
                  <a:lnTo>
                    <a:pt x="1536" y="1257"/>
                  </a:lnTo>
                  <a:lnTo>
                    <a:pt x="1527" y="1272"/>
                  </a:lnTo>
                  <a:lnTo>
                    <a:pt x="1508" y="1304"/>
                  </a:lnTo>
                  <a:lnTo>
                    <a:pt x="1501" y="1323"/>
                  </a:lnTo>
                  <a:lnTo>
                    <a:pt x="1493" y="1341"/>
                  </a:lnTo>
                  <a:lnTo>
                    <a:pt x="1491" y="1358"/>
                  </a:lnTo>
                  <a:lnTo>
                    <a:pt x="1491" y="1366"/>
                  </a:lnTo>
                  <a:lnTo>
                    <a:pt x="1493" y="1371"/>
                  </a:lnTo>
                  <a:lnTo>
                    <a:pt x="1493" y="1371"/>
                  </a:lnTo>
                  <a:lnTo>
                    <a:pt x="1510" y="1398"/>
                  </a:lnTo>
                  <a:lnTo>
                    <a:pt x="1525" y="1416"/>
                  </a:lnTo>
                  <a:lnTo>
                    <a:pt x="1536" y="1429"/>
                  </a:lnTo>
                  <a:lnTo>
                    <a:pt x="1540" y="1435"/>
                  </a:lnTo>
                  <a:lnTo>
                    <a:pt x="1542" y="1439"/>
                  </a:lnTo>
                  <a:lnTo>
                    <a:pt x="1542" y="1444"/>
                  </a:lnTo>
                  <a:lnTo>
                    <a:pt x="1542" y="1448"/>
                  </a:lnTo>
                  <a:lnTo>
                    <a:pt x="1538" y="1454"/>
                  </a:lnTo>
                  <a:lnTo>
                    <a:pt x="1531" y="1459"/>
                  </a:lnTo>
                  <a:lnTo>
                    <a:pt x="1512" y="1474"/>
                  </a:lnTo>
                  <a:lnTo>
                    <a:pt x="1480" y="1497"/>
                  </a:lnTo>
                  <a:lnTo>
                    <a:pt x="1480" y="1497"/>
                  </a:lnTo>
                  <a:lnTo>
                    <a:pt x="1469" y="1502"/>
                  </a:lnTo>
                  <a:lnTo>
                    <a:pt x="1461" y="1504"/>
                  </a:lnTo>
                  <a:lnTo>
                    <a:pt x="1456" y="1504"/>
                  </a:lnTo>
                  <a:lnTo>
                    <a:pt x="1452" y="1504"/>
                  </a:lnTo>
                  <a:lnTo>
                    <a:pt x="1446" y="1510"/>
                  </a:lnTo>
                  <a:lnTo>
                    <a:pt x="1437" y="1521"/>
                  </a:lnTo>
                  <a:lnTo>
                    <a:pt x="1398" y="1581"/>
                  </a:lnTo>
                  <a:lnTo>
                    <a:pt x="1398" y="1581"/>
                  </a:lnTo>
                  <a:lnTo>
                    <a:pt x="1388" y="1592"/>
                  </a:lnTo>
                  <a:lnTo>
                    <a:pt x="1379" y="1599"/>
                  </a:lnTo>
                  <a:lnTo>
                    <a:pt x="1368" y="1601"/>
                  </a:lnTo>
                  <a:lnTo>
                    <a:pt x="1359" y="1603"/>
                  </a:lnTo>
                  <a:lnTo>
                    <a:pt x="1347" y="1605"/>
                  </a:lnTo>
                  <a:lnTo>
                    <a:pt x="1336" y="1607"/>
                  </a:lnTo>
                  <a:lnTo>
                    <a:pt x="1323" y="1611"/>
                  </a:lnTo>
                  <a:lnTo>
                    <a:pt x="1312" y="1620"/>
                  </a:lnTo>
                  <a:lnTo>
                    <a:pt x="1312" y="1620"/>
                  </a:lnTo>
                  <a:lnTo>
                    <a:pt x="1304" y="1625"/>
                  </a:lnTo>
                  <a:lnTo>
                    <a:pt x="1293" y="1631"/>
                  </a:lnTo>
                  <a:lnTo>
                    <a:pt x="1282" y="1633"/>
                  </a:lnTo>
                  <a:lnTo>
                    <a:pt x="1269" y="1635"/>
                  </a:lnTo>
                  <a:lnTo>
                    <a:pt x="1239" y="1637"/>
                  </a:lnTo>
                  <a:lnTo>
                    <a:pt x="1203" y="1637"/>
                  </a:lnTo>
                  <a:lnTo>
                    <a:pt x="1131" y="1635"/>
                  </a:lnTo>
                  <a:lnTo>
                    <a:pt x="1095" y="1635"/>
                  </a:lnTo>
                  <a:lnTo>
                    <a:pt x="1061" y="1639"/>
                  </a:lnTo>
                  <a:lnTo>
                    <a:pt x="1061" y="1639"/>
                  </a:lnTo>
                  <a:lnTo>
                    <a:pt x="1035" y="1642"/>
                  </a:lnTo>
                  <a:lnTo>
                    <a:pt x="1009" y="1650"/>
                  </a:lnTo>
                  <a:lnTo>
                    <a:pt x="987" y="1657"/>
                  </a:lnTo>
                  <a:lnTo>
                    <a:pt x="964" y="1665"/>
                  </a:lnTo>
                  <a:lnTo>
                    <a:pt x="925" y="1683"/>
                  </a:lnTo>
                  <a:lnTo>
                    <a:pt x="893" y="1700"/>
                  </a:lnTo>
                  <a:lnTo>
                    <a:pt x="861" y="1717"/>
                  </a:lnTo>
                  <a:lnTo>
                    <a:pt x="833" y="1728"/>
                  </a:lnTo>
                  <a:lnTo>
                    <a:pt x="820" y="1732"/>
                  </a:lnTo>
                  <a:lnTo>
                    <a:pt x="807" y="1736"/>
                  </a:lnTo>
                  <a:lnTo>
                    <a:pt x="792" y="1736"/>
                  </a:lnTo>
                  <a:lnTo>
                    <a:pt x="779" y="1734"/>
                  </a:lnTo>
                  <a:lnTo>
                    <a:pt x="779" y="1734"/>
                  </a:lnTo>
                  <a:lnTo>
                    <a:pt x="772" y="1732"/>
                  </a:lnTo>
                  <a:lnTo>
                    <a:pt x="768" y="1730"/>
                  </a:lnTo>
                  <a:lnTo>
                    <a:pt x="766" y="1728"/>
                  </a:lnTo>
                  <a:lnTo>
                    <a:pt x="766" y="1726"/>
                  </a:lnTo>
                  <a:lnTo>
                    <a:pt x="766" y="1719"/>
                  </a:lnTo>
                  <a:lnTo>
                    <a:pt x="768" y="1713"/>
                  </a:lnTo>
                  <a:lnTo>
                    <a:pt x="768" y="1711"/>
                  </a:lnTo>
                  <a:lnTo>
                    <a:pt x="768" y="1710"/>
                  </a:lnTo>
                  <a:lnTo>
                    <a:pt x="764" y="1708"/>
                  </a:lnTo>
                  <a:lnTo>
                    <a:pt x="761" y="1706"/>
                  </a:lnTo>
                  <a:lnTo>
                    <a:pt x="746" y="1704"/>
                  </a:lnTo>
                  <a:lnTo>
                    <a:pt x="719" y="1708"/>
                  </a:lnTo>
                  <a:lnTo>
                    <a:pt x="719" y="1708"/>
                  </a:lnTo>
                  <a:lnTo>
                    <a:pt x="706" y="1708"/>
                  </a:lnTo>
                  <a:lnTo>
                    <a:pt x="695" y="1708"/>
                  </a:lnTo>
                  <a:lnTo>
                    <a:pt x="682" y="1704"/>
                  </a:lnTo>
                  <a:lnTo>
                    <a:pt x="673" y="1700"/>
                  </a:lnTo>
                  <a:lnTo>
                    <a:pt x="650" y="1691"/>
                  </a:lnTo>
                  <a:lnTo>
                    <a:pt x="630" y="1680"/>
                  </a:lnTo>
                  <a:lnTo>
                    <a:pt x="609" y="1667"/>
                  </a:lnTo>
                  <a:lnTo>
                    <a:pt x="589" y="1655"/>
                  </a:lnTo>
                  <a:lnTo>
                    <a:pt x="568" y="1648"/>
                  </a:lnTo>
                  <a:lnTo>
                    <a:pt x="557" y="1646"/>
                  </a:lnTo>
                  <a:lnTo>
                    <a:pt x="546" y="1644"/>
                  </a:lnTo>
                  <a:lnTo>
                    <a:pt x="546" y="1644"/>
                  </a:lnTo>
                  <a:lnTo>
                    <a:pt x="536" y="1644"/>
                  </a:lnTo>
                  <a:lnTo>
                    <a:pt x="529" y="1642"/>
                  </a:lnTo>
                  <a:lnTo>
                    <a:pt x="523" y="1640"/>
                  </a:lnTo>
                  <a:lnTo>
                    <a:pt x="518" y="1639"/>
                  </a:lnTo>
                  <a:lnTo>
                    <a:pt x="510" y="1629"/>
                  </a:lnTo>
                  <a:lnTo>
                    <a:pt x="505" y="1620"/>
                  </a:lnTo>
                  <a:lnTo>
                    <a:pt x="499" y="1611"/>
                  </a:lnTo>
                  <a:lnTo>
                    <a:pt x="493" y="1601"/>
                  </a:lnTo>
                  <a:lnTo>
                    <a:pt x="486" y="1594"/>
                  </a:lnTo>
                  <a:lnTo>
                    <a:pt x="480" y="1590"/>
                  </a:lnTo>
                  <a:lnTo>
                    <a:pt x="475" y="1588"/>
                  </a:lnTo>
                  <a:lnTo>
                    <a:pt x="475" y="1588"/>
                  </a:lnTo>
                  <a:lnTo>
                    <a:pt x="447" y="1579"/>
                  </a:lnTo>
                  <a:lnTo>
                    <a:pt x="422" y="1571"/>
                  </a:lnTo>
                  <a:lnTo>
                    <a:pt x="379" y="1562"/>
                  </a:lnTo>
                  <a:lnTo>
                    <a:pt x="346" y="1558"/>
                  </a:lnTo>
                  <a:lnTo>
                    <a:pt x="318" y="1558"/>
                  </a:lnTo>
                  <a:lnTo>
                    <a:pt x="293" y="1558"/>
                  </a:lnTo>
                  <a:lnTo>
                    <a:pt x="271" y="1558"/>
                  </a:lnTo>
                  <a:lnTo>
                    <a:pt x="248" y="1556"/>
                  </a:lnTo>
                  <a:lnTo>
                    <a:pt x="237" y="1554"/>
                  </a:lnTo>
                  <a:lnTo>
                    <a:pt x="224" y="1549"/>
                  </a:lnTo>
                  <a:lnTo>
                    <a:pt x="224" y="1549"/>
                  </a:lnTo>
                  <a:lnTo>
                    <a:pt x="207" y="1545"/>
                  </a:lnTo>
                  <a:lnTo>
                    <a:pt x="185" y="1540"/>
                  </a:lnTo>
                  <a:lnTo>
                    <a:pt x="129" y="1528"/>
                  </a:lnTo>
                  <a:lnTo>
                    <a:pt x="63" y="1517"/>
                  </a:lnTo>
                  <a:lnTo>
                    <a:pt x="0" y="1510"/>
                  </a:lnTo>
                  <a:lnTo>
                    <a:pt x="0" y="1510"/>
                  </a:lnTo>
                  <a:lnTo>
                    <a:pt x="28" y="1590"/>
                  </a:lnTo>
                  <a:lnTo>
                    <a:pt x="41" y="1637"/>
                  </a:lnTo>
                  <a:lnTo>
                    <a:pt x="45" y="1654"/>
                  </a:lnTo>
                  <a:lnTo>
                    <a:pt x="45" y="1663"/>
                  </a:lnTo>
                  <a:lnTo>
                    <a:pt x="45" y="1663"/>
                  </a:lnTo>
                  <a:lnTo>
                    <a:pt x="41" y="1674"/>
                  </a:lnTo>
                  <a:lnTo>
                    <a:pt x="35" y="1682"/>
                  </a:lnTo>
                  <a:lnTo>
                    <a:pt x="26" y="1687"/>
                  </a:lnTo>
                  <a:lnTo>
                    <a:pt x="22" y="1691"/>
                  </a:lnTo>
                  <a:lnTo>
                    <a:pt x="24" y="1696"/>
                  </a:lnTo>
                  <a:lnTo>
                    <a:pt x="28" y="1706"/>
                  </a:lnTo>
                  <a:lnTo>
                    <a:pt x="39" y="1723"/>
                  </a:lnTo>
                  <a:lnTo>
                    <a:pt x="39" y="1723"/>
                  </a:lnTo>
                  <a:lnTo>
                    <a:pt x="52" y="1741"/>
                  </a:lnTo>
                  <a:lnTo>
                    <a:pt x="71" y="1764"/>
                  </a:lnTo>
                  <a:lnTo>
                    <a:pt x="78" y="1777"/>
                  </a:lnTo>
                  <a:lnTo>
                    <a:pt x="84" y="1788"/>
                  </a:lnTo>
                  <a:lnTo>
                    <a:pt x="88" y="1797"/>
                  </a:lnTo>
                  <a:lnTo>
                    <a:pt x="88" y="1801"/>
                  </a:lnTo>
                  <a:lnTo>
                    <a:pt x="88" y="1805"/>
                  </a:lnTo>
                  <a:lnTo>
                    <a:pt x="88" y="1805"/>
                  </a:lnTo>
                  <a:lnTo>
                    <a:pt x="84" y="1810"/>
                  </a:lnTo>
                  <a:lnTo>
                    <a:pt x="84" y="1816"/>
                  </a:lnTo>
                  <a:lnTo>
                    <a:pt x="84" y="1825"/>
                  </a:lnTo>
                  <a:lnTo>
                    <a:pt x="90" y="1833"/>
                  </a:lnTo>
                  <a:lnTo>
                    <a:pt x="95" y="1839"/>
                  </a:lnTo>
                  <a:lnTo>
                    <a:pt x="103" y="1840"/>
                  </a:lnTo>
                  <a:lnTo>
                    <a:pt x="110" y="1840"/>
                  </a:lnTo>
                  <a:lnTo>
                    <a:pt x="118" y="1839"/>
                  </a:lnTo>
                  <a:lnTo>
                    <a:pt x="121" y="1835"/>
                  </a:lnTo>
                  <a:lnTo>
                    <a:pt x="121" y="1835"/>
                  </a:lnTo>
                  <a:lnTo>
                    <a:pt x="121" y="1825"/>
                  </a:lnTo>
                  <a:lnTo>
                    <a:pt x="121" y="1818"/>
                  </a:lnTo>
                  <a:lnTo>
                    <a:pt x="118" y="1814"/>
                  </a:lnTo>
                  <a:lnTo>
                    <a:pt x="118" y="1810"/>
                  </a:lnTo>
                  <a:lnTo>
                    <a:pt x="121" y="1809"/>
                  </a:lnTo>
                  <a:lnTo>
                    <a:pt x="133" y="1807"/>
                  </a:lnTo>
                  <a:lnTo>
                    <a:pt x="189" y="1799"/>
                  </a:lnTo>
                  <a:lnTo>
                    <a:pt x="189" y="1799"/>
                  </a:lnTo>
                  <a:lnTo>
                    <a:pt x="219" y="1797"/>
                  </a:lnTo>
                  <a:lnTo>
                    <a:pt x="247" y="1799"/>
                  </a:lnTo>
                  <a:lnTo>
                    <a:pt x="258" y="1801"/>
                  </a:lnTo>
                  <a:lnTo>
                    <a:pt x="267" y="1803"/>
                  </a:lnTo>
                  <a:lnTo>
                    <a:pt x="277" y="1807"/>
                  </a:lnTo>
                  <a:lnTo>
                    <a:pt x="284" y="1810"/>
                  </a:lnTo>
                  <a:lnTo>
                    <a:pt x="290" y="1816"/>
                  </a:lnTo>
                  <a:lnTo>
                    <a:pt x="291" y="1824"/>
                  </a:lnTo>
                  <a:lnTo>
                    <a:pt x="293" y="1829"/>
                  </a:lnTo>
                  <a:lnTo>
                    <a:pt x="293" y="1839"/>
                  </a:lnTo>
                  <a:lnTo>
                    <a:pt x="290" y="1846"/>
                  </a:lnTo>
                  <a:lnTo>
                    <a:pt x="284" y="1855"/>
                  </a:lnTo>
                  <a:lnTo>
                    <a:pt x="277" y="1867"/>
                  </a:lnTo>
                  <a:lnTo>
                    <a:pt x="265" y="1876"/>
                  </a:lnTo>
                  <a:lnTo>
                    <a:pt x="265" y="1876"/>
                  </a:lnTo>
                  <a:lnTo>
                    <a:pt x="234" y="1908"/>
                  </a:lnTo>
                  <a:lnTo>
                    <a:pt x="213" y="1926"/>
                  </a:lnTo>
                  <a:lnTo>
                    <a:pt x="202" y="1936"/>
                  </a:lnTo>
                  <a:lnTo>
                    <a:pt x="200" y="1938"/>
                  </a:lnTo>
                  <a:lnTo>
                    <a:pt x="200" y="1939"/>
                  </a:lnTo>
                  <a:lnTo>
                    <a:pt x="206" y="1941"/>
                  </a:lnTo>
                  <a:lnTo>
                    <a:pt x="217" y="1943"/>
                  </a:lnTo>
                  <a:lnTo>
                    <a:pt x="234" y="1949"/>
                  </a:lnTo>
                  <a:lnTo>
                    <a:pt x="243" y="1954"/>
                  </a:lnTo>
                  <a:lnTo>
                    <a:pt x="252" y="1960"/>
                  </a:lnTo>
                  <a:lnTo>
                    <a:pt x="252" y="1960"/>
                  </a:lnTo>
                  <a:lnTo>
                    <a:pt x="273" y="1975"/>
                  </a:lnTo>
                  <a:lnTo>
                    <a:pt x="282" y="1981"/>
                  </a:lnTo>
                  <a:lnTo>
                    <a:pt x="284" y="1984"/>
                  </a:lnTo>
                  <a:lnTo>
                    <a:pt x="286" y="1988"/>
                  </a:lnTo>
                  <a:lnTo>
                    <a:pt x="286" y="1988"/>
                  </a:lnTo>
                  <a:lnTo>
                    <a:pt x="288" y="1995"/>
                  </a:lnTo>
                  <a:lnTo>
                    <a:pt x="291" y="1999"/>
                  </a:lnTo>
                  <a:lnTo>
                    <a:pt x="295" y="2001"/>
                  </a:lnTo>
                  <a:lnTo>
                    <a:pt x="301" y="2007"/>
                  </a:lnTo>
                  <a:lnTo>
                    <a:pt x="301" y="2007"/>
                  </a:lnTo>
                  <a:lnTo>
                    <a:pt x="308" y="2014"/>
                  </a:lnTo>
                  <a:lnTo>
                    <a:pt x="318" y="2018"/>
                  </a:lnTo>
                  <a:lnTo>
                    <a:pt x="331" y="2025"/>
                  </a:lnTo>
                  <a:lnTo>
                    <a:pt x="336" y="2031"/>
                  </a:lnTo>
                  <a:lnTo>
                    <a:pt x="340" y="2038"/>
                  </a:lnTo>
                  <a:lnTo>
                    <a:pt x="340" y="2048"/>
                  </a:lnTo>
                  <a:lnTo>
                    <a:pt x="338" y="2063"/>
                  </a:lnTo>
                  <a:lnTo>
                    <a:pt x="338" y="2063"/>
                  </a:lnTo>
                  <a:lnTo>
                    <a:pt x="336" y="2072"/>
                  </a:lnTo>
                  <a:lnTo>
                    <a:pt x="336" y="2078"/>
                  </a:lnTo>
                  <a:lnTo>
                    <a:pt x="336" y="2081"/>
                  </a:lnTo>
                  <a:lnTo>
                    <a:pt x="340" y="2083"/>
                  </a:lnTo>
                  <a:lnTo>
                    <a:pt x="351" y="2085"/>
                  </a:lnTo>
                  <a:lnTo>
                    <a:pt x="359" y="2089"/>
                  </a:lnTo>
                  <a:lnTo>
                    <a:pt x="366" y="2094"/>
                  </a:lnTo>
                  <a:lnTo>
                    <a:pt x="366" y="2094"/>
                  </a:lnTo>
                  <a:lnTo>
                    <a:pt x="407" y="2128"/>
                  </a:lnTo>
                  <a:lnTo>
                    <a:pt x="419" y="2137"/>
                  </a:lnTo>
                  <a:lnTo>
                    <a:pt x="428" y="2139"/>
                  </a:lnTo>
                  <a:lnTo>
                    <a:pt x="434" y="2139"/>
                  </a:lnTo>
                  <a:lnTo>
                    <a:pt x="437" y="2139"/>
                  </a:lnTo>
                  <a:lnTo>
                    <a:pt x="445" y="2132"/>
                  </a:lnTo>
                  <a:lnTo>
                    <a:pt x="467" y="2109"/>
                  </a:lnTo>
                  <a:lnTo>
                    <a:pt x="467" y="2109"/>
                  </a:lnTo>
                  <a:lnTo>
                    <a:pt x="469" y="2106"/>
                  </a:lnTo>
                  <a:lnTo>
                    <a:pt x="469" y="2104"/>
                  </a:lnTo>
                  <a:lnTo>
                    <a:pt x="465" y="2096"/>
                  </a:lnTo>
                  <a:lnTo>
                    <a:pt x="454" y="2085"/>
                  </a:lnTo>
                  <a:lnTo>
                    <a:pt x="450" y="2080"/>
                  </a:lnTo>
                  <a:lnTo>
                    <a:pt x="450" y="2078"/>
                  </a:lnTo>
                  <a:lnTo>
                    <a:pt x="452" y="2076"/>
                  </a:lnTo>
                  <a:lnTo>
                    <a:pt x="463" y="2072"/>
                  </a:lnTo>
                  <a:lnTo>
                    <a:pt x="486" y="2070"/>
                  </a:lnTo>
                  <a:lnTo>
                    <a:pt x="486" y="2070"/>
                  </a:lnTo>
                  <a:lnTo>
                    <a:pt x="497" y="2068"/>
                  </a:lnTo>
                  <a:lnTo>
                    <a:pt x="508" y="2066"/>
                  </a:lnTo>
                  <a:lnTo>
                    <a:pt x="516" y="2068"/>
                  </a:lnTo>
                  <a:lnTo>
                    <a:pt x="525" y="2070"/>
                  </a:lnTo>
                  <a:lnTo>
                    <a:pt x="536" y="2076"/>
                  </a:lnTo>
                  <a:lnTo>
                    <a:pt x="551" y="2083"/>
                  </a:lnTo>
                  <a:lnTo>
                    <a:pt x="551" y="2083"/>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4" name="Freeform 74">
              <a:extLst>
                <a:ext uri="{FF2B5EF4-FFF2-40B4-BE49-F238E27FC236}">
                  <a16:creationId xmlns:a16="http://schemas.microsoft.com/office/drawing/2014/main" id="{08245442-CB4B-4FA1-AB49-6A01A728B3B7}"/>
                </a:ext>
              </a:extLst>
            </p:cNvPr>
            <p:cNvSpPr>
              <a:spLocks noEditPoints="1"/>
            </p:cNvSpPr>
            <p:nvPr/>
          </p:nvSpPr>
          <p:spPr bwMode="auto">
            <a:xfrm>
              <a:off x="4619232" y="5273178"/>
              <a:ext cx="902881" cy="643098"/>
            </a:xfrm>
            <a:custGeom>
              <a:avLst/>
              <a:gdLst/>
              <a:ahLst/>
              <a:cxnLst>
                <a:cxn ang="0">
                  <a:pos x="458" y="165"/>
                </a:cxn>
                <a:cxn ang="0">
                  <a:pos x="411" y="146"/>
                </a:cxn>
                <a:cxn ang="0">
                  <a:pos x="372" y="110"/>
                </a:cxn>
                <a:cxn ang="0">
                  <a:pos x="331" y="127"/>
                </a:cxn>
                <a:cxn ang="0">
                  <a:pos x="282" y="163"/>
                </a:cxn>
                <a:cxn ang="0">
                  <a:pos x="224" y="191"/>
                </a:cxn>
                <a:cxn ang="0">
                  <a:pos x="172" y="217"/>
                </a:cxn>
                <a:cxn ang="0">
                  <a:pos x="75" y="187"/>
                </a:cxn>
                <a:cxn ang="0">
                  <a:pos x="4" y="198"/>
                </a:cxn>
                <a:cxn ang="0">
                  <a:pos x="33" y="256"/>
                </a:cxn>
                <a:cxn ang="0">
                  <a:pos x="84" y="288"/>
                </a:cxn>
                <a:cxn ang="0">
                  <a:pos x="127" y="309"/>
                </a:cxn>
                <a:cxn ang="0">
                  <a:pos x="181" y="301"/>
                </a:cxn>
                <a:cxn ang="0">
                  <a:pos x="205" y="372"/>
                </a:cxn>
                <a:cxn ang="0">
                  <a:pos x="166" y="393"/>
                </a:cxn>
                <a:cxn ang="0">
                  <a:pos x="146" y="464"/>
                </a:cxn>
                <a:cxn ang="0">
                  <a:pos x="213" y="475"/>
                </a:cxn>
                <a:cxn ang="0">
                  <a:pos x="265" y="480"/>
                </a:cxn>
                <a:cxn ang="0">
                  <a:pos x="265" y="535"/>
                </a:cxn>
                <a:cxn ang="0">
                  <a:pos x="275" y="606"/>
                </a:cxn>
                <a:cxn ang="0">
                  <a:pos x="316" y="639"/>
                </a:cxn>
                <a:cxn ang="0">
                  <a:pos x="415" y="671"/>
                </a:cxn>
                <a:cxn ang="0">
                  <a:pos x="473" y="688"/>
                </a:cxn>
                <a:cxn ang="0">
                  <a:pos x="517" y="686"/>
                </a:cxn>
                <a:cxn ang="0">
                  <a:pos x="519" y="641"/>
                </a:cxn>
                <a:cxn ang="0">
                  <a:pos x="547" y="671"/>
                </a:cxn>
                <a:cxn ang="0">
                  <a:pos x="568" y="667"/>
                </a:cxn>
                <a:cxn ang="0">
                  <a:pos x="609" y="688"/>
                </a:cxn>
                <a:cxn ang="0">
                  <a:pos x="624" y="707"/>
                </a:cxn>
                <a:cxn ang="0">
                  <a:pos x="659" y="675"/>
                </a:cxn>
                <a:cxn ang="0">
                  <a:pos x="665" y="675"/>
                </a:cxn>
                <a:cxn ang="0">
                  <a:pos x="688" y="703"/>
                </a:cxn>
                <a:cxn ang="0">
                  <a:pos x="714" y="665"/>
                </a:cxn>
                <a:cxn ang="0">
                  <a:pos x="772" y="641"/>
                </a:cxn>
                <a:cxn ang="0">
                  <a:pos x="773" y="602"/>
                </a:cxn>
                <a:cxn ang="0">
                  <a:pos x="828" y="579"/>
                </a:cxn>
                <a:cxn ang="0">
                  <a:pos x="828" y="544"/>
                </a:cxn>
                <a:cxn ang="0">
                  <a:pos x="893" y="514"/>
                </a:cxn>
                <a:cxn ang="0">
                  <a:pos x="912" y="426"/>
                </a:cxn>
                <a:cxn ang="0">
                  <a:pos x="942" y="374"/>
                </a:cxn>
                <a:cxn ang="0">
                  <a:pos x="977" y="320"/>
                </a:cxn>
                <a:cxn ang="0">
                  <a:pos x="992" y="288"/>
                </a:cxn>
                <a:cxn ang="0">
                  <a:pos x="959" y="221"/>
                </a:cxn>
                <a:cxn ang="0">
                  <a:pos x="921" y="239"/>
                </a:cxn>
                <a:cxn ang="0">
                  <a:pos x="908" y="172"/>
                </a:cxn>
                <a:cxn ang="0">
                  <a:pos x="852" y="195"/>
                </a:cxn>
                <a:cxn ang="0">
                  <a:pos x="895" y="114"/>
                </a:cxn>
                <a:cxn ang="0">
                  <a:pos x="901" y="58"/>
                </a:cxn>
                <a:cxn ang="0">
                  <a:pos x="886" y="10"/>
                </a:cxn>
                <a:cxn ang="0">
                  <a:pos x="813" y="4"/>
                </a:cxn>
                <a:cxn ang="0">
                  <a:pos x="753" y="51"/>
                </a:cxn>
                <a:cxn ang="0">
                  <a:pos x="712" y="28"/>
                </a:cxn>
                <a:cxn ang="0">
                  <a:pos x="688" y="60"/>
                </a:cxn>
                <a:cxn ang="0">
                  <a:pos x="639" y="68"/>
                </a:cxn>
                <a:cxn ang="0">
                  <a:pos x="581" y="86"/>
                </a:cxn>
                <a:cxn ang="0">
                  <a:pos x="579" y="110"/>
                </a:cxn>
                <a:cxn ang="0">
                  <a:pos x="540" y="127"/>
                </a:cxn>
                <a:cxn ang="0">
                  <a:pos x="504" y="112"/>
                </a:cxn>
              </a:cxnLst>
              <a:rect l="0" t="0" r="r" b="b"/>
              <a:pathLst>
                <a:path w="994" h="708">
                  <a:moveTo>
                    <a:pt x="886" y="518"/>
                  </a:moveTo>
                  <a:lnTo>
                    <a:pt x="886" y="518"/>
                  </a:lnTo>
                  <a:close/>
                  <a:moveTo>
                    <a:pt x="503" y="112"/>
                  </a:moveTo>
                  <a:lnTo>
                    <a:pt x="503" y="112"/>
                  </a:lnTo>
                  <a:lnTo>
                    <a:pt x="497" y="118"/>
                  </a:lnTo>
                  <a:lnTo>
                    <a:pt x="489" y="127"/>
                  </a:lnTo>
                  <a:lnTo>
                    <a:pt x="473" y="150"/>
                  </a:lnTo>
                  <a:lnTo>
                    <a:pt x="463" y="161"/>
                  </a:lnTo>
                  <a:lnTo>
                    <a:pt x="458" y="165"/>
                  </a:lnTo>
                  <a:lnTo>
                    <a:pt x="452" y="167"/>
                  </a:lnTo>
                  <a:lnTo>
                    <a:pt x="446" y="168"/>
                  </a:lnTo>
                  <a:lnTo>
                    <a:pt x="441" y="167"/>
                  </a:lnTo>
                  <a:lnTo>
                    <a:pt x="433" y="165"/>
                  </a:lnTo>
                  <a:lnTo>
                    <a:pt x="428" y="161"/>
                  </a:lnTo>
                  <a:lnTo>
                    <a:pt x="428" y="161"/>
                  </a:lnTo>
                  <a:lnTo>
                    <a:pt x="417" y="148"/>
                  </a:lnTo>
                  <a:lnTo>
                    <a:pt x="415" y="144"/>
                  </a:lnTo>
                  <a:lnTo>
                    <a:pt x="411" y="146"/>
                  </a:lnTo>
                  <a:lnTo>
                    <a:pt x="400" y="152"/>
                  </a:lnTo>
                  <a:lnTo>
                    <a:pt x="400" y="152"/>
                  </a:lnTo>
                  <a:lnTo>
                    <a:pt x="396" y="152"/>
                  </a:lnTo>
                  <a:lnTo>
                    <a:pt x="392" y="148"/>
                  </a:lnTo>
                  <a:lnTo>
                    <a:pt x="383" y="139"/>
                  </a:lnTo>
                  <a:lnTo>
                    <a:pt x="375" y="125"/>
                  </a:lnTo>
                  <a:lnTo>
                    <a:pt x="372" y="116"/>
                  </a:lnTo>
                  <a:lnTo>
                    <a:pt x="372" y="116"/>
                  </a:lnTo>
                  <a:lnTo>
                    <a:pt x="372" y="110"/>
                  </a:lnTo>
                  <a:lnTo>
                    <a:pt x="368" y="107"/>
                  </a:lnTo>
                  <a:lnTo>
                    <a:pt x="362" y="101"/>
                  </a:lnTo>
                  <a:lnTo>
                    <a:pt x="353" y="99"/>
                  </a:lnTo>
                  <a:lnTo>
                    <a:pt x="346" y="101"/>
                  </a:lnTo>
                  <a:lnTo>
                    <a:pt x="338" y="103"/>
                  </a:lnTo>
                  <a:lnTo>
                    <a:pt x="331" y="110"/>
                  </a:lnTo>
                  <a:lnTo>
                    <a:pt x="329" y="118"/>
                  </a:lnTo>
                  <a:lnTo>
                    <a:pt x="329" y="124"/>
                  </a:lnTo>
                  <a:lnTo>
                    <a:pt x="331" y="127"/>
                  </a:lnTo>
                  <a:lnTo>
                    <a:pt x="331" y="127"/>
                  </a:lnTo>
                  <a:lnTo>
                    <a:pt x="331" y="133"/>
                  </a:lnTo>
                  <a:lnTo>
                    <a:pt x="332" y="139"/>
                  </a:lnTo>
                  <a:lnTo>
                    <a:pt x="331" y="142"/>
                  </a:lnTo>
                  <a:lnTo>
                    <a:pt x="329" y="146"/>
                  </a:lnTo>
                  <a:lnTo>
                    <a:pt x="321" y="152"/>
                  </a:lnTo>
                  <a:lnTo>
                    <a:pt x="312" y="155"/>
                  </a:lnTo>
                  <a:lnTo>
                    <a:pt x="291" y="161"/>
                  </a:lnTo>
                  <a:lnTo>
                    <a:pt x="282" y="163"/>
                  </a:lnTo>
                  <a:lnTo>
                    <a:pt x="276" y="167"/>
                  </a:lnTo>
                  <a:lnTo>
                    <a:pt x="276" y="167"/>
                  </a:lnTo>
                  <a:lnTo>
                    <a:pt x="267" y="172"/>
                  </a:lnTo>
                  <a:lnTo>
                    <a:pt x="258" y="176"/>
                  </a:lnTo>
                  <a:lnTo>
                    <a:pt x="241" y="181"/>
                  </a:lnTo>
                  <a:lnTo>
                    <a:pt x="230" y="183"/>
                  </a:lnTo>
                  <a:lnTo>
                    <a:pt x="226" y="187"/>
                  </a:lnTo>
                  <a:lnTo>
                    <a:pt x="224" y="191"/>
                  </a:lnTo>
                  <a:lnTo>
                    <a:pt x="224" y="191"/>
                  </a:lnTo>
                  <a:lnTo>
                    <a:pt x="218" y="210"/>
                  </a:lnTo>
                  <a:lnTo>
                    <a:pt x="213" y="223"/>
                  </a:lnTo>
                  <a:lnTo>
                    <a:pt x="207" y="228"/>
                  </a:lnTo>
                  <a:lnTo>
                    <a:pt x="202" y="228"/>
                  </a:lnTo>
                  <a:lnTo>
                    <a:pt x="194" y="226"/>
                  </a:lnTo>
                  <a:lnTo>
                    <a:pt x="189" y="224"/>
                  </a:lnTo>
                  <a:lnTo>
                    <a:pt x="185" y="221"/>
                  </a:lnTo>
                  <a:lnTo>
                    <a:pt x="185" y="221"/>
                  </a:lnTo>
                  <a:lnTo>
                    <a:pt x="172" y="217"/>
                  </a:lnTo>
                  <a:lnTo>
                    <a:pt x="161" y="213"/>
                  </a:lnTo>
                  <a:lnTo>
                    <a:pt x="140" y="202"/>
                  </a:lnTo>
                  <a:lnTo>
                    <a:pt x="118" y="189"/>
                  </a:lnTo>
                  <a:lnTo>
                    <a:pt x="108" y="183"/>
                  </a:lnTo>
                  <a:lnTo>
                    <a:pt x="95" y="178"/>
                  </a:lnTo>
                  <a:lnTo>
                    <a:pt x="95" y="178"/>
                  </a:lnTo>
                  <a:lnTo>
                    <a:pt x="91" y="178"/>
                  </a:lnTo>
                  <a:lnTo>
                    <a:pt x="86" y="180"/>
                  </a:lnTo>
                  <a:lnTo>
                    <a:pt x="75" y="187"/>
                  </a:lnTo>
                  <a:lnTo>
                    <a:pt x="47" y="210"/>
                  </a:lnTo>
                  <a:lnTo>
                    <a:pt x="33" y="217"/>
                  </a:lnTo>
                  <a:lnTo>
                    <a:pt x="28" y="221"/>
                  </a:lnTo>
                  <a:lnTo>
                    <a:pt x="22" y="221"/>
                  </a:lnTo>
                  <a:lnTo>
                    <a:pt x="17" y="219"/>
                  </a:lnTo>
                  <a:lnTo>
                    <a:pt x="11" y="215"/>
                  </a:lnTo>
                  <a:lnTo>
                    <a:pt x="7" y="208"/>
                  </a:lnTo>
                  <a:lnTo>
                    <a:pt x="4" y="198"/>
                  </a:lnTo>
                  <a:lnTo>
                    <a:pt x="4" y="198"/>
                  </a:lnTo>
                  <a:lnTo>
                    <a:pt x="0" y="211"/>
                  </a:lnTo>
                  <a:lnTo>
                    <a:pt x="0" y="224"/>
                  </a:lnTo>
                  <a:lnTo>
                    <a:pt x="4" y="239"/>
                  </a:lnTo>
                  <a:lnTo>
                    <a:pt x="7" y="256"/>
                  </a:lnTo>
                  <a:lnTo>
                    <a:pt x="7" y="256"/>
                  </a:lnTo>
                  <a:lnTo>
                    <a:pt x="9" y="258"/>
                  </a:lnTo>
                  <a:lnTo>
                    <a:pt x="11" y="260"/>
                  </a:lnTo>
                  <a:lnTo>
                    <a:pt x="17" y="260"/>
                  </a:lnTo>
                  <a:lnTo>
                    <a:pt x="33" y="256"/>
                  </a:lnTo>
                  <a:lnTo>
                    <a:pt x="43" y="254"/>
                  </a:lnTo>
                  <a:lnTo>
                    <a:pt x="56" y="254"/>
                  </a:lnTo>
                  <a:lnTo>
                    <a:pt x="67" y="256"/>
                  </a:lnTo>
                  <a:lnTo>
                    <a:pt x="73" y="260"/>
                  </a:lnTo>
                  <a:lnTo>
                    <a:pt x="78" y="264"/>
                  </a:lnTo>
                  <a:lnTo>
                    <a:pt x="78" y="264"/>
                  </a:lnTo>
                  <a:lnTo>
                    <a:pt x="82" y="267"/>
                  </a:lnTo>
                  <a:lnTo>
                    <a:pt x="84" y="273"/>
                  </a:lnTo>
                  <a:lnTo>
                    <a:pt x="84" y="288"/>
                  </a:lnTo>
                  <a:lnTo>
                    <a:pt x="84" y="294"/>
                  </a:lnTo>
                  <a:lnTo>
                    <a:pt x="86" y="299"/>
                  </a:lnTo>
                  <a:lnTo>
                    <a:pt x="91" y="305"/>
                  </a:lnTo>
                  <a:lnTo>
                    <a:pt x="99" y="307"/>
                  </a:lnTo>
                  <a:lnTo>
                    <a:pt x="99" y="307"/>
                  </a:lnTo>
                  <a:lnTo>
                    <a:pt x="106" y="309"/>
                  </a:lnTo>
                  <a:lnTo>
                    <a:pt x="114" y="312"/>
                  </a:lnTo>
                  <a:lnTo>
                    <a:pt x="119" y="312"/>
                  </a:lnTo>
                  <a:lnTo>
                    <a:pt x="127" y="309"/>
                  </a:lnTo>
                  <a:lnTo>
                    <a:pt x="127" y="309"/>
                  </a:lnTo>
                  <a:lnTo>
                    <a:pt x="131" y="309"/>
                  </a:lnTo>
                  <a:lnTo>
                    <a:pt x="134" y="309"/>
                  </a:lnTo>
                  <a:lnTo>
                    <a:pt x="144" y="312"/>
                  </a:lnTo>
                  <a:lnTo>
                    <a:pt x="149" y="312"/>
                  </a:lnTo>
                  <a:lnTo>
                    <a:pt x="159" y="312"/>
                  </a:lnTo>
                  <a:lnTo>
                    <a:pt x="168" y="309"/>
                  </a:lnTo>
                  <a:lnTo>
                    <a:pt x="181" y="301"/>
                  </a:lnTo>
                  <a:lnTo>
                    <a:pt x="181" y="301"/>
                  </a:lnTo>
                  <a:lnTo>
                    <a:pt x="183" y="301"/>
                  </a:lnTo>
                  <a:lnTo>
                    <a:pt x="187" y="301"/>
                  </a:lnTo>
                  <a:lnTo>
                    <a:pt x="190" y="303"/>
                  </a:lnTo>
                  <a:lnTo>
                    <a:pt x="194" y="305"/>
                  </a:lnTo>
                  <a:lnTo>
                    <a:pt x="202" y="316"/>
                  </a:lnTo>
                  <a:lnTo>
                    <a:pt x="207" y="329"/>
                  </a:lnTo>
                  <a:lnTo>
                    <a:pt x="209" y="346"/>
                  </a:lnTo>
                  <a:lnTo>
                    <a:pt x="207" y="363"/>
                  </a:lnTo>
                  <a:lnTo>
                    <a:pt x="205" y="372"/>
                  </a:lnTo>
                  <a:lnTo>
                    <a:pt x="202" y="381"/>
                  </a:lnTo>
                  <a:lnTo>
                    <a:pt x="196" y="389"/>
                  </a:lnTo>
                  <a:lnTo>
                    <a:pt x="190" y="398"/>
                  </a:lnTo>
                  <a:lnTo>
                    <a:pt x="190" y="398"/>
                  </a:lnTo>
                  <a:lnTo>
                    <a:pt x="187" y="400"/>
                  </a:lnTo>
                  <a:lnTo>
                    <a:pt x="183" y="400"/>
                  </a:lnTo>
                  <a:lnTo>
                    <a:pt x="177" y="398"/>
                  </a:lnTo>
                  <a:lnTo>
                    <a:pt x="170" y="395"/>
                  </a:lnTo>
                  <a:lnTo>
                    <a:pt x="166" y="393"/>
                  </a:lnTo>
                  <a:lnTo>
                    <a:pt x="161" y="393"/>
                  </a:lnTo>
                  <a:lnTo>
                    <a:pt x="161" y="393"/>
                  </a:lnTo>
                  <a:lnTo>
                    <a:pt x="153" y="404"/>
                  </a:lnTo>
                  <a:lnTo>
                    <a:pt x="142" y="415"/>
                  </a:lnTo>
                  <a:lnTo>
                    <a:pt x="119" y="436"/>
                  </a:lnTo>
                  <a:lnTo>
                    <a:pt x="119" y="436"/>
                  </a:lnTo>
                  <a:lnTo>
                    <a:pt x="134" y="452"/>
                  </a:lnTo>
                  <a:lnTo>
                    <a:pt x="140" y="458"/>
                  </a:lnTo>
                  <a:lnTo>
                    <a:pt x="146" y="464"/>
                  </a:lnTo>
                  <a:lnTo>
                    <a:pt x="146" y="464"/>
                  </a:lnTo>
                  <a:lnTo>
                    <a:pt x="168" y="477"/>
                  </a:lnTo>
                  <a:lnTo>
                    <a:pt x="172" y="479"/>
                  </a:lnTo>
                  <a:lnTo>
                    <a:pt x="175" y="475"/>
                  </a:lnTo>
                  <a:lnTo>
                    <a:pt x="183" y="473"/>
                  </a:lnTo>
                  <a:lnTo>
                    <a:pt x="194" y="471"/>
                  </a:lnTo>
                  <a:lnTo>
                    <a:pt x="194" y="471"/>
                  </a:lnTo>
                  <a:lnTo>
                    <a:pt x="207" y="473"/>
                  </a:lnTo>
                  <a:lnTo>
                    <a:pt x="213" y="475"/>
                  </a:lnTo>
                  <a:lnTo>
                    <a:pt x="217" y="479"/>
                  </a:lnTo>
                  <a:lnTo>
                    <a:pt x="218" y="482"/>
                  </a:lnTo>
                  <a:lnTo>
                    <a:pt x="220" y="486"/>
                  </a:lnTo>
                  <a:lnTo>
                    <a:pt x="226" y="488"/>
                  </a:lnTo>
                  <a:lnTo>
                    <a:pt x="235" y="486"/>
                  </a:lnTo>
                  <a:lnTo>
                    <a:pt x="252" y="480"/>
                  </a:lnTo>
                  <a:lnTo>
                    <a:pt x="252" y="480"/>
                  </a:lnTo>
                  <a:lnTo>
                    <a:pt x="258" y="480"/>
                  </a:lnTo>
                  <a:lnTo>
                    <a:pt x="265" y="480"/>
                  </a:lnTo>
                  <a:lnTo>
                    <a:pt x="273" y="486"/>
                  </a:lnTo>
                  <a:lnTo>
                    <a:pt x="280" y="492"/>
                  </a:lnTo>
                  <a:lnTo>
                    <a:pt x="286" y="499"/>
                  </a:lnTo>
                  <a:lnTo>
                    <a:pt x="286" y="505"/>
                  </a:lnTo>
                  <a:lnTo>
                    <a:pt x="286" y="508"/>
                  </a:lnTo>
                  <a:lnTo>
                    <a:pt x="284" y="514"/>
                  </a:lnTo>
                  <a:lnTo>
                    <a:pt x="280" y="522"/>
                  </a:lnTo>
                  <a:lnTo>
                    <a:pt x="275" y="527"/>
                  </a:lnTo>
                  <a:lnTo>
                    <a:pt x="265" y="535"/>
                  </a:lnTo>
                  <a:lnTo>
                    <a:pt x="265" y="535"/>
                  </a:lnTo>
                  <a:lnTo>
                    <a:pt x="258" y="544"/>
                  </a:lnTo>
                  <a:lnTo>
                    <a:pt x="254" y="551"/>
                  </a:lnTo>
                  <a:lnTo>
                    <a:pt x="254" y="559"/>
                  </a:lnTo>
                  <a:lnTo>
                    <a:pt x="258" y="566"/>
                  </a:lnTo>
                  <a:lnTo>
                    <a:pt x="267" y="583"/>
                  </a:lnTo>
                  <a:lnTo>
                    <a:pt x="273" y="594"/>
                  </a:lnTo>
                  <a:lnTo>
                    <a:pt x="275" y="606"/>
                  </a:lnTo>
                  <a:lnTo>
                    <a:pt x="275" y="606"/>
                  </a:lnTo>
                  <a:lnTo>
                    <a:pt x="276" y="613"/>
                  </a:lnTo>
                  <a:lnTo>
                    <a:pt x="280" y="617"/>
                  </a:lnTo>
                  <a:lnTo>
                    <a:pt x="286" y="619"/>
                  </a:lnTo>
                  <a:lnTo>
                    <a:pt x="291" y="622"/>
                  </a:lnTo>
                  <a:lnTo>
                    <a:pt x="303" y="626"/>
                  </a:lnTo>
                  <a:lnTo>
                    <a:pt x="308" y="628"/>
                  </a:lnTo>
                  <a:lnTo>
                    <a:pt x="312" y="632"/>
                  </a:lnTo>
                  <a:lnTo>
                    <a:pt x="312" y="632"/>
                  </a:lnTo>
                  <a:lnTo>
                    <a:pt x="316" y="639"/>
                  </a:lnTo>
                  <a:lnTo>
                    <a:pt x="321" y="645"/>
                  </a:lnTo>
                  <a:lnTo>
                    <a:pt x="327" y="654"/>
                  </a:lnTo>
                  <a:lnTo>
                    <a:pt x="338" y="662"/>
                  </a:lnTo>
                  <a:lnTo>
                    <a:pt x="351" y="667"/>
                  </a:lnTo>
                  <a:lnTo>
                    <a:pt x="368" y="673"/>
                  </a:lnTo>
                  <a:lnTo>
                    <a:pt x="390" y="675"/>
                  </a:lnTo>
                  <a:lnTo>
                    <a:pt x="390" y="675"/>
                  </a:lnTo>
                  <a:lnTo>
                    <a:pt x="403" y="673"/>
                  </a:lnTo>
                  <a:lnTo>
                    <a:pt x="415" y="671"/>
                  </a:lnTo>
                  <a:lnTo>
                    <a:pt x="420" y="671"/>
                  </a:lnTo>
                  <a:lnTo>
                    <a:pt x="424" y="673"/>
                  </a:lnTo>
                  <a:lnTo>
                    <a:pt x="430" y="675"/>
                  </a:lnTo>
                  <a:lnTo>
                    <a:pt x="437" y="679"/>
                  </a:lnTo>
                  <a:lnTo>
                    <a:pt x="437" y="679"/>
                  </a:lnTo>
                  <a:lnTo>
                    <a:pt x="443" y="684"/>
                  </a:lnTo>
                  <a:lnTo>
                    <a:pt x="450" y="686"/>
                  </a:lnTo>
                  <a:lnTo>
                    <a:pt x="461" y="688"/>
                  </a:lnTo>
                  <a:lnTo>
                    <a:pt x="473" y="688"/>
                  </a:lnTo>
                  <a:lnTo>
                    <a:pt x="482" y="684"/>
                  </a:lnTo>
                  <a:lnTo>
                    <a:pt x="495" y="677"/>
                  </a:lnTo>
                  <a:lnTo>
                    <a:pt x="499" y="677"/>
                  </a:lnTo>
                  <a:lnTo>
                    <a:pt x="503" y="682"/>
                  </a:lnTo>
                  <a:lnTo>
                    <a:pt x="503" y="682"/>
                  </a:lnTo>
                  <a:lnTo>
                    <a:pt x="506" y="688"/>
                  </a:lnTo>
                  <a:lnTo>
                    <a:pt x="510" y="690"/>
                  </a:lnTo>
                  <a:lnTo>
                    <a:pt x="514" y="688"/>
                  </a:lnTo>
                  <a:lnTo>
                    <a:pt x="517" y="686"/>
                  </a:lnTo>
                  <a:lnTo>
                    <a:pt x="519" y="680"/>
                  </a:lnTo>
                  <a:lnTo>
                    <a:pt x="521" y="673"/>
                  </a:lnTo>
                  <a:lnTo>
                    <a:pt x="519" y="665"/>
                  </a:lnTo>
                  <a:lnTo>
                    <a:pt x="517" y="660"/>
                  </a:lnTo>
                  <a:lnTo>
                    <a:pt x="517" y="660"/>
                  </a:lnTo>
                  <a:lnTo>
                    <a:pt x="514" y="652"/>
                  </a:lnTo>
                  <a:lnTo>
                    <a:pt x="514" y="649"/>
                  </a:lnTo>
                  <a:lnTo>
                    <a:pt x="516" y="645"/>
                  </a:lnTo>
                  <a:lnTo>
                    <a:pt x="519" y="641"/>
                  </a:lnTo>
                  <a:lnTo>
                    <a:pt x="525" y="641"/>
                  </a:lnTo>
                  <a:lnTo>
                    <a:pt x="529" y="641"/>
                  </a:lnTo>
                  <a:lnTo>
                    <a:pt x="532" y="643"/>
                  </a:lnTo>
                  <a:lnTo>
                    <a:pt x="534" y="645"/>
                  </a:lnTo>
                  <a:lnTo>
                    <a:pt x="534" y="645"/>
                  </a:lnTo>
                  <a:lnTo>
                    <a:pt x="532" y="656"/>
                  </a:lnTo>
                  <a:lnTo>
                    <a:pt x="534" y="658"/>
                  </a:lnTo>
                  <a:lnTo>
                    <a:pt x="538" y="662"/>
                  </a:lnTo>
                  <a:lnTo>
                    <a:pt x="547" y="671"/>
                  </a:lnTo>
                  <a:lnTo>
                    <a:pt x="547" y="671"/>
                  </a:lnTo>
                  <a:lnTo>
                    <a:pt x="551" y="677"/>
                  </a:lnTo>
                  <a:lnTo>
                    <a:pt x="553" y="677"/>
                  </a:lnTo>
                  <a:lnTo>
                    <a:pt x="555" y="677"/>
                  </a:lnTo>
                  <a:lnTo>
                    <a:pt x="559" y="671"/>
                  </a:lnTo>
                  <a:lnTo>
                    <a:pt x="562" y="667"/>
                  </a:lnTo>
                  <a:lnTo>
                    <a:pt x="564" y="658"/>
                  </a:lnTo>
                  <a:lnTo>
                    <a:pt x="566" y="660"/>
                  </a:lnTo>
                  <a:lnTo>
                    <a:pt x="568" y="667"/>
                  </a:lnTo>
                  <a:lnTo>
                    <a:pt x="568" y="667"/>
                  </a:lnTo>
                  <a:lnTo>
                    <a:pt x="570" y="671"/>
                  </a:lnTo>
                  <a:lnTo>
                    <a:pt x="572" y="673"/>
                  </a:lnTo>
                  <a:lnTo>
                    <a:pt x="579" y="677"/>
                  </a:lnTo>
                  <a:lnTo>
                    <a:pt x="587" y="680"/>
                  </a:lnTo>
                  <a:lnTo>
                    <a:pt x="596" y="682"/>
                  </a:lnTo>
                  <a:lnTo>
                    <a:pt x="603" y="684"/>
                  </a:lnTo>
                  <a:lnTo>
                    <a:pt x="607" y="686"/>
                  </a:lnTo>
                  <a:lnTo>
                    <a:pt x="609" y="688"/>
                  </a:lnTo>
                  <a:lnTo>
                    <a:pt x="607" y="692"/>
                  </a:lnTo>
                  <a:lnTo>
                    <a:pt x="602" y="699"/>
                  </a:lnTo>
                  <a:lnTo>
                    <a:pt x="602" y="699"/>
                  </a:lnTo>
                  <a:lnTo>
                    <a:pt x="600" y="703"/>
                  </a:lnTo>
                  <a:lnTo>
                    <a:pt x="600" y="705"/>
                  </a:lnTo>
                  <a:lnTo>
                    <a:pt x="602" y="707"/>
                  </a:lnTo>
                  <a:lnTo>
                    <a:pt x="603" y="707"/>
                  </a:lnTo>
                  <a:lnTo>
                    <a:pt x="613" y="708"/>
                  </a:lnTo>
                  <a:lnTo>
                    <a:pt x="624" y="707"/>
                  </a:lnTo>
                  <a:lnTo>
                    <a:pt x="635" y="705"/>
                  </a:lnTo>
                  <a:lnTo>
                    <a:pt x="648" y="703"/>
                  </a:lnTo>
                  <a:lnTo>
                    <a:pt x="658" y="699"/>
                  </a:lnTo>
                  <a:lnTo>
                    <a:pt x="663" y="693"/>
                  </a:lnTo>
                  <a:lnTo>
                    <a:pt x="663" y="693"/>
                  </a:lnTo>
                  <a:lnTo>
                    <a:pt x="663" y="690"/>
                  </a:lnTo>
                  <a:lnTo>
                    <a:pt x="663" y="686"/>
                  </a:lnTo>
                  <a:lnTo>
                    <a:pt x="659" y="679"/>
                  </a:lnTo>
                  <a:lnTo>
                    <a:pt x="659" y="675"/>
                  </a:lnTo>
                  <a:lnTo>
                    <a:pt x="658" y="671"/>
                  </a:lnTo>
                  <a:lnTo>
                    <a:pt x="659" y="667"/>
                  </a:lnTo>
                  <a:lnTo>
                    <a:pt x="663" y="664"/>
                  </a:lnTo>
                  <a:lnTo>
                    <a:pt x="663" y="664"/>
                  </a:lnTo>
                  <a:lnTo>
                    <a:pt x="667" y="660"/>
                  </a:lnTo>
                  <a:lnTo>
                    <a:pt x="667" y="662"/>
                  </a:lnTo>
                  <a:lnTo>
                    <a:pt x="665" y="667"/>
                  </a:lnTo>
                  <a:lnTo>
                    <a:pt x="665" y="671"/>
                  </a:lnTo>
                  <a:lnTo>
                    <a:pt x="665" y="675"/>
                  </a:lnTo>
                  <a:lnTo>
                    <a:pt x="667" y="679"/>
                  </a:lnTo>
                  <a:lnTo>
                    <a:pt x="671" y="682"/>
                  </a:lnTo>
                  <a:lnTo>
                    <a:pt x="671" y="682"/>
                  </a:lnTo>
                  <a:lnTo>
                    <a:pt x="674" y="686"/>
                  </a:lnTo>
                  <a:lnTo>
                    <a:pt x="676" y="688"/>
                  </a:lnTo>
                  <a:lnTo>
                    <a:pt x="680" y="695"/>
                  </a:lnTo>
                  <a:lnTo>
                    <a:pt x="682" y="697"/>
                  </a:lnTo>
                  <a:lnTo>
                    <a:pt x="684" y="701"/>
                  </a:lnTo>
                  <a:lnTo>
                    <a:pt x="688" y="703"/>
                  </a:lnTo>
                  <a:lnTo>
                    <a:pt x="695" y="703"/>
                  </a:lnTo>
                  <a:lnTo>
                    <a:pt x="695" y="703"/>
                  </a:lnTo>
                  <a:lnTo>
                    <a:pt x="693" y="693"/>
                  </a:lnTo>
                  <a:lnTo>
                    <a:pt x="695" y="686"/>
                  </a:lnTo>
                  <a:lnTo>
                    <a:pt x="697" y="684"/>
                  </a:lnTo>
                  <a:lnTo>
                    <a:pt x="701" y="680"/>
                  </a:lnTo>
                  <a:lnTo>
                    <a:pt x="706" y="679"/>
                  </a:lnTo>
                  <a:lnTo>
                    <a:pt x="710" y="673"/>
                  </a:lnTo>
                  <a:lnTo>
                    <a:pt x="714" y="665"/>
                  </a:lnTo>
                  <a:lnTo>
                    <a:pt x="717" y="654"/>
                  </a:lnTo>
                  <a:lnTo>
                    <a:pt x="717" y="654"/>
                  </a:lnTo>
                  <a:lnTo>
                    <a:pt x="717" y="650"/>
                  </a:lnTo>
                  <a:lnTo>
                    <a:pt x="721" y="649"/>
                  </a:lnTo>
                  <a:lnTo>
                    <a:pt x="729" y="645"/>
                  </a:lnTo>
                  <a:lnTo>
                    <a:pt x="751" y="645"/>
                  </a:lnTo>
                  <a:lnTo>
                    <a:pt x="762" y="645"/>
                  </a:lnTo>
                  <a:lnTo>
                    <a:pt x="768" y="643"/>
                  </a:lnTo>
                  <a:lnTo>
                    <a:pt x="772" y="641"/>
                  </a:lnTo>
                  <a:lnTo>
                    <a:pt x="773" y="637"/>
                  </a:lnTo>
                  <a:lnTo>
                    <a:pt x="775" y="634"/>
                  </a:lnTo>
                  <a:lnTo>
                    <a:pt x="775" y="628"/>
                  </a:lnTo>
                  <a:lnTo>
                    <a:pt x="773" y="621"/>
                  </a:lnTo>
                  <a:lnTo>
                    <a:pt x="773" y="621"/>
                  </a:lnTo>
                  <a:lnTo>
                    <a:pt x="770" y="609"/>
                  </a:lnTo>
                  <a:lnTo>
                    <a:pt x="770" y="602"/>
                  </a:lnTo>
                  <a:lnTo>
                    <a:pt x="772" y="602"/>
                  </a:lnTo>
                  <a:lnTo>
                    <a:pt x="773" y="602"/>
                  </a:lnTo>
                  <a:lnTo>
                    <a:pt x="779" y="602"/>
                  </a:lnTo>
                  <a:lnTo>
                    <a:pt x="787" y="602"/>
                  </a:lnTo>
                  <a:lnTo>
                    <a:pt x="796" y="602"/>
                  </a:lnTo>
                  <a:lnTo>
                    <a:pt x="807" y="600"/>
                  </a:lnTo>
                  <a:lnTo>
                    <a:pt x="813" y="596"/>
                  </a:lnTo>
                  <a:lnTo>
                    <a:pt x="818" y="591"/>
                  </a:lnTo>
                  <a:lnTo>
                    <a:pt x="818" y="591"/>
                  </a:lnTo>
                  <a:lnTo>
                    <a:pt x="826" y="583"/>
                  </a:lnTo>
                  <a:lnTo>
                    <a:pt x="828" y="579"/>
                  </a:lnTo>
                  <a:lnTo>
                    <a:pt x="828" y="578"/>
                  </a:lnTo>
                  <a:lnTo>
                    <a:pt x="826" y="576"/>
                  </a:lnTo>
                  <a:lnTo>
                    <a:pt x="822" y="574"/>
                  </a:lnTo>
                  <a:lnTo>
                    <a:pt x="820" y="568"/>
                  </a:lnTo>
                  <a:lnTo>
                    <a:pt x="818" y="563"/>
                  </a:lnTo>
                  <a:lnTo>
                    <a:pt x="822" y="551"/>
                  </a:lnTo>
                  <a:lnTo>
                    <a:pt x="822" y="551"/>
                  </a:lnTo>
                  <a:lnTo>
                    <a:pt x="824" y="548"/>
                  </a:lnTo>
                  <a:lnTo>
                    <a:pt x="828" y="544"/>
                  </a:lnTo>
                  <a:lnTo>
                    <a:pt x="841" y="540"/>
                  </a:lnTo>
                  <a:lnTo>
                    <a:pt x="856" y="537"/>
                  </a:lnTo>
                  <a:lnTo>
                    <a:pt x="861" y="535"/>
                  </a:lnTo>
                  <a:lnTo>
                    <a:pt x="867" y="533"/>
                  </a:lnTo>
                  <a:lnTo>
                    <a:pt x="867" y="533"/>
                  </a:lnTo>
                  <a:lnTo>
                    <a:pt x="876" y="525"/>
                  </a:lnTo>
                  <a:lnTo>
                    <a:pt x="876" y="525"/>
                  </a:lnTo>
                  <a:lnTo>
                    <a:pt x="886" y="518"/>
                  </a:lnTo>
                  <a:lnTo>
                    <a:pt x="893" y="514"/>
                  </a:lnTo>
                  <a:lnTo>
                    <a:pt x="893" y="514"/>
                  </a:lnTo>
                  <a:lnTo>
                    <a:pt x="901" y="508"/>
                  </a:lnTo>
                  <a:lnTo>
                    <a:pt x="904" y="501"/>
                  </a:lnTo>
                  <a:lnTo>
                    <a:pt x="908" y="494"/>
                  </a:lnTo>
                  <a:lnTo>
                    <a:pt x="910" y="486"/>
                  </a:lnTo>
                  <a:lnTo>
                    <a:pt x="912" y="471"/>
                  </a:lnTo>
                  <a:lnTo>
                    <a:pt x="912" y="452"/>
                  </a:lnTo>
                  <a:lnTo>
                    <a:pt x="910" y="436"/>
                  </a:lnTo>
                  <a:lnTo>
                    <a:pt x="912" y="426"/>
                  </a:lnTo>
                  <a:lnTo>
                    <a:pt x="914" y="417"/>
                  </a:lnTo>
                  <a:lnTo>
                    <a:pt x="916" y="409"/>
                  </a:lnTo>
                  <a:lnTo>
                    <a:pt x="921" y="402"/>
                  </a:lnTo>
                  <a:lnTo>
                    <a:pt x="927" y="393"/>
                  </a:lnTo>
                  <a:lnTo>
                    <a:pt x="936" y="385"/>
                  </a:lnTo>
                  <a:lnTo>
                    <a:pt x="936" y="385"/>
                  </a:lnTo>
                  <a:lnTo>
                    <a:pt x="942" y="380"/>
                  </a:lnTo>
                  <a:lnTo>
                    <a:pt x="942" y="376"/>
                  </a:lnTo>
                  <a:lnTo>
                    <a:pt x="942" y="374"/>
                  </a:lnTo>
                  <a:lnTo>
                    <a:pt x="944" y="372"/>
                  </a:lnTo>
                  <a:lnTo>
                    <a:pt x="951" y="363"/>
                  </a:lnTo>
                  <a:lnTo>
                    <a:pt x="951" y="363"/>
                  </a:lnTo>
                  <a:lnTo>
                    <a:pt x="970" y="348"/>
                  </a:lnTo>
                  <a:lnTo>
                    <a:pt x="973" y="342"/>
                  </a:lnTo>
                  <a:lnTo>
                    <a:pt x="977" y="337"/>
                  </a:lnTo>
                  <a:lnTo>
                    <a:pt x="979" y="331"/>
                  </a:lnTo>
                  <a:lnTo>
                    <a:pt x="979" y="327"/>
                  </a:lnTo>
                  <a:lnTo>
                    <a:pt x="977" y="320"/>
                  </a:lnTo>
                  <a:lnTo>
                    <a:pt x="973" y="314"/>
                  </a:lnTo>
                  <a:lnTo>
                    <a:pt x="972" y="310"/>
                  </a:lnTo>
                  <a:lnTo>
                    <a:pt x="970" y="309"/>
                  </a:lnTo>
                  <a:lnTo>
                    <a:pt x="972" y="305"/>
                  </a:lnTo>
                  <a:lnTo>
                    <a:pt x="979" y="301"/>
                  </a:lnTo>
                  <a:lnTo>
                    <a:pt x="979" y="301"/>
                  </a:lnTo>
                  <a:lnTo>
                    <a:pt x="985" y="297"/>
                  </a:lnTo>
                  <a:lnTo>
                    <a:pt x="988" y="294"/>
                  </a:lnTo>
                  <a:lnTo>
                    <a:pt x="992" y="288"/>
                  </a:lnTo>
                  <a:lnTo>
                    <a:pt x="994" y="284"/>
                  </a:lnTo>
                  <a:lnTo>
                    <a:pt x="994" y="275"/>
                  </a:lnTo>
                  <a:lnTo>
                    <a:pt x="990" y="266"/>
                  </a:lnTo>
                  <a:lnTo>
                    <a:pt x="983" y="247"/>
                  </a:lnTo>
                  <a:lnTo>
                    <a:pt x="981" y="236"/>
                  </a:lnTo>
                  <a:lnTo>
                    <a:pt x="983" y="232"/>
                  </a:lnTo>
                  <a:lnTo>
                    <a:pt x="983" y="226"/>
                  </a:lnTo>
                  <a:lnTo>
                    <a:pt x="983" y="226"/>
                  </a:lnTo>
                  <a:lnTo>
                    <a:pt x="959" y="221"/>
                  </a:lnTo>
                  <a:lnTo>
                    <a:pt x="953" y="223"/>
                  </a:lnTo>
                  <a:lnTo>
                    <a:pt x="949" y="223"/>
                  </a:lnTo>
                  <a:lnTo>
                    <a:pt x="947" y="230"/>
                  </a:lnTo>
                  <a:lnTo>
                    <a:pt x="944" y="234"/>
                  </a:lnTo>
                  <a:lnTo>
                    <a:pt x="936" y="238"/>
                  </a:lnTo>
                  <a:lnTo>
                    <a:pt x="936" y="238"/>
                  </a:lnTo>
                  <a:lnTo>
                    <a:pt x="927" y="241"/>
                  </a:lnTo>
                  <a:lnTo>
                    <a:pt x="923" y="241"/>
                  </a:lnTo>
                  <a:lnTo>
                    <a:pt x="921" y="239"/>
                  </a:lnTo>
                  <a:lnTo>
                    <a:pt x="917" y="234"/>
                  </a:lnTo>
                  <a:lnTo>
                    <a:pt x="917" y="224"/>
                  </a:lnTo>
                  <a:lnTo>
                    <a:pt x="917" y="206"/>
                  </a:lnTo>
                  <a:lnTo>
                    <a:pt x="917" y="196"/>
                  </a:lnTo>
                  <a:lnTo>
                    <a:pt x="917" y="191"/>
                  </a:lnTo>
                  <a:lnTo>
                    <a:pt x="917" y="191"/>
                  </a:lnTo>
                  <a:lnTo>
                    <a:pt x="914" y="181"/>
                  </a:lnTo>
                  <a:lnTo>
                    <a:pt x="912" y="176"/>
                  </a:lnTo>
                  <a:lnTo>
                    <a:pt x="908" y="172"/>
                  </a:lnTo>
                  <a:lnTo>
                    <a:pt x="902" y="170"/>
                  </a:lnTo>
                  <a:lnTo>
                    <a:pt x="899" y="170"/>
                  </a:lnTo>
                  <a:lnTo>
                    <a:pt x="895" y="170"/>
                  </a:lnTo>
                  <a:lnTo>
                    <a:pt x="886" y="176"/>
                  </a:lnTo>
                  <a:lnTo>
                    <a:pt x="869" y="189"/>
                  </a:lnTo>
                  <a:lnTo>
                    <a:pt x="861" y="195"/>
                  </a:lnTo>
                  <a:lnTo>
                    <a:pt x="858" y="196"/>
                  </a:lnTo>
                  <a:lnTo>
                    <a:pt x="858" y="196"/>
                  </a:lnTo>
                  <a:lnTo>
                    <a:pt x="852" y="195"/>
                  </a:lnTo>
                  <a:lnTo>
                    <a:pt x="850" y="191"/>
                  </a:lnTo>
                  <a:lnTo>
                    <a:pt x="850" y="187"/>
                  </a:lnTo>
                  <a:lnTo>
                    <a:pt x="850" y="181"/>
                  </a:lnTo>
                  <a:lnTo>
                    <a:pt x="856" y="170"/>
                  </a:lnTo>
                  <a:lnTo>
                    <a:pt x="865" y="157"/>
                  </a:lnTo>
                  <a:lnTo>
                    <a:pt x="884" y="133"/>
                  </a:lnTo>
                  <a:lnTo>
                    <a:pt x="891" y="122"/>
                  </a:lnTo>
                  <a:lnTo>
                    <a:pt x="895" y="114"/>
                  </a:lnTo>
                  <a:lnTo>
                    <a:pt x="895" y="114"/>
                  </a:lnTo>
                  <a:lnTo>
                    <a:pt x="895" y="105"/>
                  </a:lnTo>
                  <a:lnTo>
                    <a:pt x="899" y="94"/>
                  </a:lnTo>
                  <a:lnTo>
                    <a:pt x="904" y="73"/>
                  </a:lnTo>
                  <a:lnTo>
                    <a:pt x="908" y="66"/>
                  </a:lnTo>
                  <a:lnTo>
                    <a:pt x="908" y="60"/>
                  </a:lnTo>
                  <a:lnTo>
                    <a:pt x="908" y="58"/>
                  </a:lnTo>
                  <a:lnTo>
                    <a:pt x="906" y="56"/>
                  </a:lnTo>
                  <a:lnTo>
                    <a:pt x="901" y="58"/>
                  </a:lnTo>
                  <a:lnTo>
                    <a:pt x="901" y="58"/>
                  </a:lnTo>
                  <a:lnTo>
                    <a:pt x="889" y="62"/>
                  </a:lnTo>
                  <a:lnTo>
                    <a:pt x="886" y="62"/>
                  </a:lnTo>
                  <a:lnTo>
                    <a:pt x="884" y="60"/>
                  </a:lnTo>
                  <a:lnTo>
                    <a:pt x="882" y="53"/>
                  </a:lnTo>
                  <a:lnTo>
                    <a:pt x="882" y="45"/>
                  </a:lnTo>
                  <a:lnTo>
                    <a:pt x="887" y="25"/>
                  </a:lnTo>
                  <a:lnTo>
                    <a:pt x="887" y="15"/>
                  </a:lnTo>
                  <a:lnTo>
                    <a:pt x="886" y="10"/>
                  </a:lnTo>
                  <a:lnTo>
                    <a:pt x="886" y="10"/>
                  </a:lnTo>
                  <a:lnTo>
                    <a:pt x="880" y="2"/>
                  </a:lnTo>
                  <a:lnTo>
                    <a:pt x="873" y="0"/>
                  </a:lnTo>
                  <a:lnTo>
                    <a:pt x="863" y="0"/>
                  </a:lnTo>
                  <a:lnTo>
                    <a:pt x="854" y="0"/>
                  </a:lnTo>
                  <a:lnTo>
                    <a:pt x="835" y="4"/>
                  </a:lnTo>
                  <a:lnTo>
                    <a:pt x="826" y="6"/>
                  </a:lnTo>
                  <a:lnTo>
                    <a:pt x="818" y="4"/>
                  </a:lnTo>
                  <a:lnTo>
                    <a:pt x="818" y="4"/>
                  </a:lnTo>
                  <a:lnTo>
                    <a:pt x="813" y="4"/>
                  </a:lnTo>
                  <a:lnTo>
                    <a:pt x="807" y="4"/>
                  </a:lnTo>
                  <a:lnTo>
                    <a:pt x="802" y="6"/>
                  </a:lnTo>
                  <a:lnTo>
                    <a:pt x="796" y="11"/>
                  </a:lnTo>
                  <a:lnTo>
                    <a:pt x="787" y="21"/>
                  </a:lnTo>
                  <a:lnTo>
                    <a:pt x="775" y="34"/>
                  </a:lnTo>
                  <a:lnTo>
                    <a:pt x="766" y="45"/>
                  </a:lnTo>
                  <a:lnTo>
                    <a:pt x="762" y="49"/>
                  </a:lnTo>
                  <a:lnTo>
                    <a:pt x="757" y="51"/>
                  </a:lnTo>
                  <a:lnTo>
                    <a:pt x="753" y="51"/>
                  </a:lnTo>
                  <a:lnTo>
                    <a:pt x="747" y="49"/>
                  </a:lnTo>
                  <a:lnTo>
                    <a:pt x="744" y="45"/>
                  </a:lnTo>
                  <a:lnTo>
                    <a:pt x="738" y="38"/>
                  </a:lnTo>
                  <a:lnTo>
                    <a:pt x="738" y="38"/>
                  </a:lnTo>
                  <a:lnTo>
                    <a:pt x="732" y="30"/>
                  </a:lnTo>
                  <a:lnTo>
                    <a:pt x="727" y="26"/>
                  </a:lnTo>
                  <a:lnTo>
                    <a:pt x="723" y="25"/>
                  </a:lnTo>
                  <a:lnTo>
                    <a:pt x="717" y="25"/>
                  </a:lnTo>
                  <a:lnTo>
                    <a:pt x="712" y="28"/>
                  </a:lnTo>
                  <a:lnTo>
                    <a:pt x="708" y="34"/>
                  </a:lnTo>
                  <a:lnTo>
                    <a:pt x="704" y="41"/>
                  </a:lnTo>
                  <a:lnTo>
                    <a:pt x="702" y="49"/>
                  </a:lnTo>
                  <a:lnTo>
                    <a:pt x="702" y="49"/>
                  </a:lnTo>
                  <a:lnTo>
                    <a:pt x="699" y="62"/>
                  </a:lnTo>
                  <a:lnTo>
                    <a:pt x="697" y="68"/>
                  </a:lnTo>
                  <a:lnTo>
                    <a:pt x="693" y="69"/>
                  </a:lnTo>
                  <a:lnTo>
                    <a:pt x="691" y="68"/>
                  </a:lnTo>
                  <a:lnTo>
                    <a:pt x="688" y="60"/>
                  </a:lnTo>
                  <a:lnTo>
                    <a:pt x="686" y="54"/>
                  </a:lnTo>
                  <a:lnTo>
                    <a:pt x="686" y="54"/>
                  </a:lnTo>
                  <a:lnTo>
                    <a:pt x="676" y="49"/>
                  </a:lnTo>
                  <a:lnTo>
                    <a:pt x="669" y="47"/>
                  </a:lnTo>
                  <a:lnTo>
                    <a:pt x="663" y="47"/>
                  </a:lnTo>
                  <a:lnTo>
                    <a:pt x="656" y="49"/>
                  </a:lnTo>
                  <a:lnTo>
                    <a:pt x="656" y="49"/>
                  </a:lnTo>
                  <a:lnTo>
                    <a:pt x="646" y="58"/>
                  </a:lnTo>
                  <a:lnTo>
                    <a:pt x="639" y="68"/>
                  </a:lnTo>
                  <a:lnTo>
                    <a:pt x="631" y="77"/>
                  </a:lnTo>
                  <a:lnTo>
                    <a:pt x="628" y="79"/>
                  </a:lnTo>
                  <a:lnTo>
                    <a:pt x="624" y="79"/>
                  </a:lnTo>
                  <a:lnTo>
                    <a:pt x="624" y="79"/>
                  </a:lnTo>
                  <a:lnTo>
                    <a:pt x="611" y="79"/>
                  </a:lnTo>
                  <a:lnTo>
                    <a:pt x="592" y="81"/>
                  </a:lnTo>
                  <a:lnTo>
                    <a:pt x="585" y="82"/>
                  </a:lnTo>
                  <a:lnTo>
                    <a:pt x="581" y="84"/>
                  </a:lnTo>
                  <a:lnTo>
                    <a:pt x="581" y="86"/>
                  </a:lnTo>
                  <a:lnTo>
                    <a:pt x="583" y="86"/>
                  </a:lnTo>
                  <a:lnTo>
                    <a:pt x="590" y="90"/>
                  </a:lnTo>
                  <a:lnTo>
                    <a:pt x="590" y="90"/>
                  </a:lnTo>
                  <a:lnTo>
                    <a:pt x="596" y="94"/>
                  </a:lnTo>
                  <a:lnTo>
                    <a:pt x="598" y="97"/>
                  </a:lnTo>
                  <a:lnTo>
                    <a:pt x="596" y="103"/>
                  </a:lnTo>
                  <a:lnTo>
                    <a:pt x="592" y="107"/>
                  </a:lnTo>
                  <a:lnTo>
                    <a:pt x="587" y="109"/>
                  </a:lnTo>
                  <a:lnTo>
                    <a:pt x="579" y="110"/>
                  </a:lnTo>
                  <a:lnTo>
                    <a:pt x="570" y="107"/>
                  </a:lnTo>
                  <a:lnTo>
                    <a:pt x="562" y="101"/>
                  </a:lnTo>
                  <a:lnTo>
                    <a:pt x="562" y="101"/>
                  </a:lnTo>
                  <a:lnTo>
                    <a:pt x="559" y="99"/>
                  </a:lnTo>
                  <a:lnTo>
                    <a:pt x="555" y="99"/>
                  </a:lnTo>
                  <a:lnTo>
                    <a:pt x="551" y="103"/>
                  </a:lnTo>
                  <a:lnTo>
                    <a:pt x="547" y="107"/>
                  </a:lnTo>
                  <a:lnTo>
                    <a:pt x="544" y="116"/>
                  </a:lnTo>
                  <a:lnTo>
                    <a:pt x="540" y="127"/>
                  </a:lnTo>
                  <a:lnTo>
                    <a:pt x="540" y="127"/>
                  </a:lnTo>
                  <a:lnTo>
                    <a:pt x="540" y="133"/>
                  </a:lnTo>
                  <a:lnTo>
                    <a:pt x="538" y="135"/>
                  </a:lnTo>
                  <a:lnTo>
                    <a:pt x="536" y="135"/>
                  </a:lnTo>
                  <a:lnTo>
                    <a:pt x="532" y="133"/>
                  </a:lnTo>
                  <a:lnTo>
                    <a:pt x="527" y="127"/>
                  </a:lnTo>
                  <a:lnTo>
                    <a:pt x="516" y="116"/>
                  </a:lnTo>
                  <a:lnTo>
                    <a:pt x="508" y="112"/>
                  </a:lnTo>
                  <a:lnTo>
                    <a:pt x="504" y="112"/>
                  </a:lnTo>
                  <a:lnTo>
                    <a:pt x="503" y="112"/>
                  </a:lnTo>
                  <a:lnTo>
                    <a:pt x="503" y="112"/>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5" name="Line 75">
              <a:extLst>
                <a:ext uri="{FF2B5EF4-FFF2-40B4-BE49-F238E27FC236}">
                  <a16:creationId xmlns:a16="http://schemas.microsoft.com/office/drawing/2014/main" id="{D632CD61-CCAB-413A-9D17-0DFA883E3DED}"/>
                </a:ext>
              </a:extLst>
            </p:cNvPr>
            <p:cNvSpPr>
              <a:spLocks noChangeShapeType="1"/>
            </p:cNvSpPr>
            <p:nvPr/>
          </p:nvSpPr>
          <p:spPr bwMode="auto">
            <a:xfrm>
              <a:off x="5424014" y="5743693"/>
              <a:ext cx="1817" cy="1816"/>
            </a:xfrm>
            <a:prstGeom prst="line">
              <a:avLst/>
            </a:pr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6" name="Freeform 76">
              <a:extLst>
                <a:ext uri="{FF2B5EF4-FFF2-40B4-BE49-F238E27FC236}">
                  <a16:creationId xmlns:a16="http://schemas.microsoft.com/office/drawing/2014/main" id="{C0A10530-3AF2-4384-AE58-0AD9A40B6028}"/>
                </a:ext>
              </a:extLst>
            </p:cNvPr>
            <p:cNvSpPr>
              <a:spLocks/>
            </p:cNvSpPr>
            <p:nvPr/>
          </p:nvSpPr>
          <p:spPr bwMode="auto">
            <a:xfrm>
              <a:off x="4619232" y="5273178"/>
              <a:ext cx="902881" cy="643098"/>
            </a:xfrm>
            <a:custGeom>
              <a:avLst/>
              <a:gdLst/>
              <a:ahLst/>
              <a:cxnLst>
                <a:cxn ang="0">
                  <a:pos x="446" y="168"/>
                </a:cxn>
                <a:cxn ang="0">
                  <a:pos x="400" y="152"/>
                </a:cxn>
                <a:cxn ang="0">
                  <a:pos x="362" y="101"/>
                </a:cxn>
                <a:cxn ang="0">
                  <a:pos x="331" y="133"/>
                </a:cxn>
                <a:cxn ang="0">
                  <a:pos x="276" y="167"/>
                </a:cxn>
                <a:cxn ang="0">
                  <a:pos x="213" y="223"/>
                </a:cxn>
                <a:cxn ang="0">
                  <a:pos x="140" y="202"/>
                </a:cxn>
                <a:cxn ang="0">
                  <a:pos x="33" y="217"/>
                </a:cxn>
                <a:cxn ang="0">
                  <a:pos x="0" y="224"/>
                </a:cxn>
                <a:cxn ang="0">
                  <a:pos x="56" y="254"/>
                </a:cxn>
                <a:cxn ang="0">
                  <a:pos x="86" y="299"/>
                </a:cxn>
                <a:cxn ang="0">
                  <a:pos x="131" y="309"/>
                </a:cxn>
                <a:cxn ang="0">
                  <a:pos x="187" y="301"/>
                </a:cxn>
                <a:cxn ang="0">
                  <a:pos x="196" y="389"/>
                </a:cxn>
                <a:cxn ang="0">
                  <a:pos x="161" y="393"/>
                </a:cxn>
                <a:cxn ang="0">
                  <a:pos x="168" y="477"/>
                </a:cxn>
                <a:cxn ang="0">
                  <a:pos x="218" y="482"/>
                </a:cxn>
                <a:cxn ang="0">
                  <a:pos x="280" y="492"/>
                </a:cxn>
                <a:cxn ang="0">
                  <a:pos x="258" y="544"/>
                </a:cxn>
                <a:cxn ang="0">
                  <a:pos x="280" y="617"/>
                </a:cxn>
                <a:cxn ang="0">
                  <a:pos x="327" y="654"/>
                </a:cxn>
                <a:cxn ang="0">
                  <a:pos x="424" y="673"/>
                </a:cxn>
                <a:cxn ang="0">
                  <a:pos x="495" y="677"/>
                </a:cxn>
                <a:cxn ang="0">
                  <a:pos x="521" y="673"/>
                </a:cxn>
                <a:cxn ang="0">
                  <a:pos x="529" y="641"/>
                </a:cxn>
                <a:cxn ang="0">
                  <a:pos x="551" y="677"/>
                </a:cxn>
                <a:cxn ang="0">
                  <a:pos x="570" y="671"/>
                </a:cxn>
                <a:cxn ang="0">
                  <a:pos x="602" y="699"/>
                </a:cxn>
                <a:cxn ang="0">
                  <a:pos x="648" y="703"/>
                </a:cxn>
                <a:cxn ang="0">
                  <a:pos x="659" y="667"/>
                </a:cxn>
                <a:cxn ang="0">
                  <a:pos x="671" y="682"/>
                </a:cxn>
                <a:cxn ang="0">
                  <a:pos x="695" y="703"/>
                </a:cxn>
                <a:cxn ang="0">
                  <a:pos x="717" y="654"/>
                </a:cxn>
                <a:cxn ang="0">
                  <a:pos x="775" y="634"/>
                </a:cxn>
                <a:cxn ang="0">
                  <a:pos x="787" y="602"/>
                </a:cxn>
                <a:cxn ang="0">
                  <a:pos x="826" y="576"/>
                </a:cxn>
                <a:cxn ang="0">
                  <a:pos x="856" y="537"/>
                </a:cxn>
                <a:cxn ang="0">
                  <a:pos x="901" y="508"/>
                </a:cxn>
                <a:cxn ang="0">
                  <a:pos x="916" y="409"/>
                </a:cxn>
                <a:cxn ang="0">
                  <a:pos x="951" y="363"/>
                </a:cxn>
                <a:cxn ang="0">
                  <a:pos x="972" y="310"/>
                </a:cxn>
                <a:cxn ang="0">
                  <a:pos x="994" y="275"/>
                </a:cxn>
                <a:cxn ang="0">
                  <a:pos x="949" y="223"/>
                </a:cxn>
                <a:cxn ang="0">
                  <a:pos x="917" y="224"/>
                </a:cxn>
                <a:cxn ang="0">
                  <a:pos x="899" y="170"/>
                </a:cxn>
                <a:cxn ang="0">
                  <a:pos x="850" y="187"/>
                </a:cxn>
                <a:cxn ang="0">
                  <a:pos x="899" y="94"/>
                </a:cxn>
                <a:cxn ang="0">
                  <a:pos x="886" y="62"/>
                </a:cxn>
                <a:cxn ang="0">
                  <a:pos x="873" y="0"/>
                </a:cxn>
                <a:cxn ang="0">
                  <a:pos x="802" y="6"/>
                </a:cxn>
                <a:cxn ang="0">
                  <a:pos x="744" y="45"/>
                </a:cxn>
                <a:cxn ang="0">
                  <a:pos x="704" y="41"/>
                </a:cxn>
                <a:cxn ang="0">
                  <a:pos x="686" y="54"/>
                </a:cxn>
                <a:cxn ang="0">
                  <a:pos x="628" y="79"/>
                </a:cxn>
                <a:cxn ang="0">
                  <a:pos x="590" y="90"/>
                </a:cxn>
                <a:cxn ang="0">
                  <a:pos x="562" y="101"/>
                </a:cxn>
                <a:cxn ang="0">
                  <a:pos x="540" y="133"/>
                </a:cxn>
                <a:cxn ang="0">
                  <a:pos x="503" y="112"/>
                </a:cxn>
              </a:cxnLst>
              <a:rect l="0" t="0" r="r" b="b"/>
              <a:pathLst>
                <a:path w="994" h="708">
                  <a:moveTo>
                    <a:pt x="503" y="112"/>
                  </a:moveTo>
                  <a:lnTo>
                    <a:pt x="503" y="112"/>
                  </a:lnTo>
                  <a:lnTo>
                    <a:pt x="497" y="118"/>
                  </a:lnTo>
                  <a:lnTo>
                    <a:pt x="489" y="127"/>
                  </a:lnTo>
                  <a:lnTo>
                    <a:pt x="473" y="150"/>
                  </a:lnTo>
                  <a:lnTo>
                    <a:pt x="463" y="161"/>
                  </a:lnTo>
                  <a:lnTo>
                    <a:pt x="458" y="165"/>
                  </a:lnTo>
                  <a:lnTo>
                    <a:pt x="452" y="167"/>
                  </a:lnTo>
                  <a:lnTo>
                    <a:pt x="446" y="168"/>
                  </a:lnTo>
                  <a:lnTo>
                    <a:pt x="441" y="167"/>
                  </a:lnTo>
                  <a:lnTo>
                    <a:pt x="433" y="165"/>
                  </a:lnTo>
                  <a:lnTo>
                    <a:pt x="428" y="161"/>
                  </a:lnTo>
                  <a:lnTo>
                    <a:pt x="428" y="161"/>
                  </a:lnTo>
                  <a:lnTo>
                    <a:pt x="417" y="148"/>
                  </a:lnTo>
                  <a:lnTo>
                    <a:pt x="415" y="144"/>
                  </a:lnTo>
                  <a:lnTo>
                    <a:pt x="411" y="146"/>
                  </a:lnTo>
                  <a:lnTo>
                    <a:pt x="400" y="152"/>
                  </a:lnTo>
                  <a:lnTo>
                    <a:pt x="400" y="152"/>
                  </a:lnTo>
                  <a:lnTo>
                    <a:pt x="396" y="152"/>
                  </a:lnTo>
                  <a:lnTo>
                    <a:pt x="392" y="148"/>
                  </a:lnTo>
                  <a:lnTo>
                    <a:pt x="383" y="139"/>
                  </a:lnTo>
                  <a:lnTo>
                    <a:pt x="375" y="125"/>
                  </a:lnTo>
                  <a:lnTo>
                    <a:pt x="372" y="116"/>
                  </a:lnTo>
                  <a:lnTo>
                    <a:pt x="372" y="116"/>
                  </a:lnTo>
                  <a:lnTo>
                    <a:pt x="372" y="110"/>
                  </a:lnTo>
                  <a:lnTo>
                    <a:pt x="368" y="107"/>
                  </a:lnTo>
                  <a:lnTo>
                    <a:pt x="362" y="101"/>
                  </a:lnTo>
                  <a:lnTo>
                    <a:pt x="353" y="99"/>
                  </a:lnTo>
                  <a:lnTo>
                    <a:pt x="346" y="101"/>
                  </a:lnTo>
                  <a:lnTo>
                    <a:pt x="338" y="103"/>
                  </a:lnTo>
                  <a:lnTo>
                    <a:pt x="331" y="110"/>
                  </a:lnTo>
                  <a:lnTo>
                    <a:pt x="329" y="118"/>
                  </a:lnTo>
                  <a:lnTo>
                    <a:pt x="329" y="124"/>
                  </a:lnTo>
                  <a:lnTo>
                    <a:pt x="331" y="127"/>
                  </a:lnTo>
                  <a:lnTo>
                    <a:pt x="331" y="127"/>
                  </a:lnTo>
                  <a:lnTo>
                    <a:pt x="331" y="133"/>
                  </a:lnTo>
                  <a:lnTo>
                    <a:pt x="332" y="139"/>
                  </a:lnTo>
                  <a:lnTo>
                    <a:pt x="331" y="142"/>
                  </a:lnTo>
                  <a:lnTo>
                    <a:pt x="329" y="146"/>
                  </a:lnTo>
                  <a:lnTo>
                    <a:pt x="321" y="152"/>
                  </a:lnTo>
                  <a:lnTo>
                    <a:pt x="312" y="155"/>
                  </a:lnTo>
                  <a:lnTo>
                    <a:pt x="291" y="161"/>
                  </a:lnTo>
                  <a:lnTo>
                    <a:pt x="282" y="163"/>
                  </a:lnTo>
                  <a:lnTo>
                    <a:pt x="276" y="167"/>
                  </a:lnTo>
                  <a:lnTo>
                    <a:pt x="276" y="167"/>
                  </a:lnTo>
                  <a:lnTo>
                    <a:pt x="267" y="172"/>
                  </a:lnTo>
                  <a:lnTo>
                    <a:pt x="258" y="176"/>
                  </a:lnTo>
                  <a:lnTo>
                    <a:pt x="241" y="181"/>
                  </a:lnTo>
                  <a:lnTo>
                    <a:pt x="230" y="183"/>
                  </a:lnTo>
                  <a:lnTo>
                    <a:pt x="226" y="187"/>
                  </a:lnTo>
                  <a:lnTo>
                    <a:pt x="224" y="191"/>
                  </a:lnTo>
                  <a:lnTo>
                    <a:pt x="224" y="191"/>
                  </a:lnTo>
                  <a:lnTo>
                    <a:pt x="218" y="210"/>
                  </a:lnTo>
                  <a:lnTo>
                    <a:pt x="213" y="223"/>
                  </a:lnTo>
                  <a:lnTo>
                    <a:pt x="207" y="228"/>
                  </a:lnTo>
                  <a:lnTo>
                    <a:pt x="202" y="228"/>
                  </a:lnTo>
                  <a:lnTo>
                    <a:pt x="194" y="226"/>
                  </a:lnTo>
                  <a:lnTo>
                    <a:pt x="189" y="224"/>
                  </a:lnTo>
                  <a:lnTo>
                    <a:pt x="185" y="221"/>
                  </a:lnTo>
                  <a:lnTo>
                    <a:pt x="185" y="221"/>
                  </a:lnTo>
                  <a:lnTo>
                    <a:pt x="172" y="217"/>
                  </a:lnTo>
                  <a:lnTo>
                    <a:pt x="161" y="213"/>
                  </a:lnTo>
                  <a:lnTo>
                    <a:pt x="140" y="202"/>
                  </a:lnTo>
                  <a:lnTo>
                    <a:pt x="118" y="189"/>
                  </a:lnTo>
                  <a:lnTo>
                    <a:pt x="108" y="183"/>
                  </a:lnTo>
                  <a:lnTo>
                    <a:pt x="95" y="178"/>
                  </a:lnTo>
                  <a:lnTo>
                    <a:pt x="95" y="178"/>
                  </a:lnTo>
                  <a:lnTo>
                    <a:pt x="91" y="178"/>
                  </a:lnTo>
                  <a:lnTo>
                    <a:pt x="86" y="180"/>
                  </a:lnTo>
                  <a:lnTo>
                    <a:pt x="75" y="187"/>
                  </a:lnTo>
                  <a:lnTo>
                    <a:pt x="47" y="210"/>
                  </a:lnTo>
                  <a:lnTo>
                    <a:pt x="33" y="217"/>
                  </a:lnTo>
                  <a:lnTo>
                    <a:pt x="28" y="221"/>
                  </a:lnTo>
                  <a:lnTo>
                    <a:pt x="22" y="221"/>
                  </a:lnTo>
                  <a:lnTo>
                    <a:pt x="17" y="219"/>
                  </a:lnTo>
                  <a:lnTo>
                    <a:pt x="11" y="215"/>
                  </a:lnTo>
                  <a:lnTo>
                    <a:pt x="7" y="208"/>
                  </a:lnTo>
                  <a:lnTo>
                    <a:pt x="4" y="198"/>
                  </a:lnTo>
                  <a:lnTo>
                    <a:pt x="4" y="198"/>
                  </a:lnTo>
                  <a:lnTo>
                    <a:pt x="0" y="211"/>
                  </a:lnTo>
                  <a:lnTo>
                    <a:pt x="0" y="224"/>
                  </a:lnTo>
                  <a:lnTo>
                    <a:pt x="4" y="239"/>
                  </a:lnTo>
                  <a:lnTo>
                    <a:pt x="7" y="256"/>
                  </a:lnTo>
                  <a:lnTo>
                    <a:pt x="7" y="256"/>
                  </a:lnTo>
                  <a:lnTo>
                    <a:pt x="9" y="258"/>
                  </a:lnTo>
                  <a:lnTo>
                    <a:pt x="11" y="260"/>
                  </a:lnTo>
                  <a:lnTo>
                    <a:pt x="17" y="260"/>
                  </a:lnTo>
                  <a:lnTo>
                    <a:pt x="33" y="256"/>
                  </a:lnTo>
                  <a:lnTo>
                    <a:pt x="43" y="254"/>
                  </a:lnTo>
                  <a:lnTo>
                    <a:pt x="56" y="254"/>
                  </a:lnTo>
                  <a:lnTo>
                    <a:pt x="67" y="256"/>
                  </a:lnTo>
                  <a:lnTo>
                    <a:pt x="73" y="260"/>
                  </a:lnTo>
                  <a:lnTo>
                    <a:pt x="78" y="264"/>
                  </a:lnTo>
                  <a:lnTo>
                    <a:pt x="78" y="264"/>
                  </a:lnTo>
                  <a:lnTo>
                    <a:pt x="82" y="267"/>
                  </a:lnTo>
                  <a:lnTo>
                    <a:pt x="84" y="273"/>
                  </a:lnTo>
                  <a:lnTo>
                    <a:pt x="84" y="288"/>
                  </a:lnTo>
                  <a:lnTo>
                    <a:pt x="84" y="294"/>
                  </a:lnTo>
                  <a:lnTo>
                    <a:pt x="86" y="299"/>
                  </a:lnTo>
                  <a:lnTo>
                    <a:pt x="91" y="305"/>
                  </a:lnTo>
                  <a:lnTo>
                    <a:pt x="99" y="307"/>
                  </a:lnTo>
                  <a:lnTo>
                    <a:pt x="99" y="307"/>
                  </a:lnTo>
                  <a:lnTo>
                    <a:pt x="106" y="309"/>
                  </a:lnTo>
                  <a:lnTo>
                    <a:pt x="114" y="312"/>
                  </a:lnTo>
                  <a:lnTo>
                    <a:pt x="119" y="312"/>
                  </a:lnTo>
                  <a:lnTo>
                    <a:pt x="127" y="309"/>
                  </a:lnTo>
                  <a:lnTo>
                    <a:pt x="127" y="309"/>
                  </a:lnTo>
                  <a:lnTo>
                    <a:pt x="131" y="309"/>
                  </a:lnTo>
                  <a:lnTo>
                    <a:pt x="134" y="309"/>
                  </a:lnTo>
                  <a:lnTo>
                    <a:pt x="144" y="312"/>
                  </a:lnTo>
                  <a:lnTo>
                    <a:pt x="149" y="312"/>
                  </a:lnTo>
                  <a:lnTo>
                    <a:pt x="159" y="312"/>
                  </a:lnTo>
                  <a:lnTo>
                    <a:pt x="168" y="309"/>
                  </a:lnTo>
                  <a:lnTo>
                    <a:pt x="181" y="301"/>
                  </a:lnTo>
                  <a:lnTo>
                    <a:pt x="181" y="301"/>
                  </a:lnTo>
                  <a:lnTo>
                    <a:pt x="183" y="301"/>
                  </a:lnTo>
                  <a:lnTo>
                    <a:pt x="187" y="301"/>
                  </a:lnTo>
                  <a:lnTo>
                    <a:pt x="190" y="303"/>
                  </a:lnTo>
                  <a:lnTo>
                    <a:pt x="194" y="305"/>
                  </a:lnTo>
                  <a:lnTo>
                    <a:pt x="202" y="316"/>
                  </a:lnTo>
                  <a:lnTo>
                    <a:pt x="207" y="329"/>
                  </a:lnTo>
                  <a:lnTo>
                    <a:pt x="209" y="346"/>
                  </a:lnTo>
                  <a:lnTo>
                    <a:pt x="207" y="363"/>
                  </a:lnTo>
                  <a:lnTo>
                    <a:pt x="205" y="372"/>
                  </a:lnTo>
                  <a:lnTo>
                    <a:pt x="202" y="381"/>
                  </a:lnTo>
                  <a:lnTo>
                    <a:pt x="196" y="389"/>
                  </a:lnTo>
                  <a:lnTo>
                    <a:pt x="190" y="398"/>
                  </a:lnTo>
                  <a:lnTo>
                    <a:pt x="190" y="398"/>
                  </a:lnTo>
                  <a:lnTo>
                    <a:pt x="187" y="400"/>
                  </a:lnTo>
                  <a:lnTo>
                    <a:pt x="183" y="400"/>
                  </a:lnTo>
                  <a:lnTo>
                    <a:pt x="177" y="398"/>
                  </a:lnTo>
                  <a:lnTo>
                    <a:pt x="170" y="395"/>
                  </a:lnTo>
                  <a:lnTo>
                    <a:pt x="166" y="393"/>
                  </a:lnTo>
                  <a:lnTo>
                    <a:pt x="161" y="393"/>
                  </a:lnTo>
                  <a:lnTo>
                    <a:pt x="161" y="393"/>
                  </a:lnTo>
                  <a:lnTo>
                    <a:pt x="153" y="404"/>
                  </a:lnTo>
                  <a:lnTo>
                    <a:pt x="142" y="415"/>
                  </a:lnTo>
                  <a:lnTo>
                    <a:pt x="119" y="436"/>
                  </a:lnTo>
                  <a:lnTo>
                    <a:pt x="119" y="436"/>
                  </a:lnTo>
                  <a:lnTo>
                    <a:pt x="134" y="452"/>
                  </a:lnTo>
                  <a:lnTo>
                    <a:pt x="140" y="458"/>
                  </a:lnTo>
                  <a:lnTo>
                    <a:pt x="146" y="464"/>
                  </a:lnTo>
                  <a:lnTo>
                    <a:pt x="146" y="464"/>
                  </a:lnTo>
                  <a:lnTo>
                    <a:pt x="168" y="477"/>
                  </a:lnTo>
                  <a:lnTo>
                    <a:pt x="172" y="479"/>
                  </a:lnTo>
                  <a:lnTo>
                    <a:pt x="175" y="475"/>
                  </a:lnTo>
                  <a:lnTo>
                    <a:pt x="183" y="473"/>
                  </a:lnTo>
                  <a:lnTo>
                    <a:pt x="194" y="471"/>
                  </a:lnTo>
                  <a:lnTo>
                    <a:pt x="194" y="471"/>
                  </a:lnTo>
                  <a:lnTo>
                    <a:pt x="207" y="473"/>
                  </a:lnTo>
                  <a:lnTo>
                    <a:pt x="213" y="475"/>
                  </a:lnTo>
                  <a:lnTo>
                    <a:pt x="217" y="479"/>
                  </a:lnTo>
                  <a:lnTo>
                    <a:pt x="218" y="482"/>
                  </a:lnTo>
                  <a:lnTo>
                    <a:pt x="220" y="486"/>
                  </a:lnTo>
                  <a:lnTo>
                    <a:pt x="226" y="488"/>
                  </a:lnTo>
                  <a:lnTo>
                    <a:pt x="235" y="486"/>
                  </a:lnTo>
                  <a:lnTo>
                    <a:pt x="252" y="480"/>
                  </a:lnTo>
                  <a:lnTo>
                    <a:pt x="252" y="480"/>
                  </a:lnTo>
                  <a:lnTo>
                    <a:pt x="258" y="480"/>
                  </a:lnTo>
                  <a:lnTo>
                    <a:pt x="265" y="480"/>
                  </a:lnTo>
                  <a:lnTo>
                    <a:pt x="273" y="486"/>
                  </a:lnTo>
                  <a:lnTo>
                    <a:pt x="280" y="492"/>
                  </a:lnTo>
                  <a:lnTo>
                    <a:pt x="286" y="499"/>
                  </a:lnTo>
                  <a:lnTo>
                    <a:pt x="286" y="505"/>
                  </a:lnTo>
                  <a:lnTo>
                    <a:pt x="286" y="508"/>
                  </a:lnTo>
                  <a:lnTo>
                    <a:pt x="284" y="514"/>
                  </a:lnTo>
                  <a:lnTo>
                    <a:pt x="280" y="522"/>
                  </a:lnTo>
                  <a:lnTo>
                    <a:pt x="275" y="527"/>
                  </a:lnTo>
                  <a:lnTo>
                    <a:pt x="265" y="535"/>
                  </a:lnTo>
                  <a:lnTo>
                    <a:pt x="265" y="535"/>
                  </a:lnTo>
                  <a:lnTo>
                    <a:pt x="258" y="544"/>
                  </a:lnTo>
                  <a:lnTo>
                    <a:pt x="254" y="551"/>
                  </a:lnTo>
                  <a:lnTo>
                    <a:pt x="254" y="559"/>
                  </a:lnTo>
                  <a:lnTo>
                    <a:pt x="258" y="566"/>
                  </a:lnTo>
                  <a:lnTo>
                    <a:pt x="267" y="583"/>
                  </a:lnTo>
                  <a:lnTo>
                    <a:pt x="273" y="594"/>
                  </a:lnTo>
                  <a:lnTo>
                    <a:pt x="275" y="606"/>
                  </a:lnTo>
                  <a:lnTo>
                    <a:pt x="275" y="606"/>
                  </a:lnTo>
                  <a:lnTo>
                    <a:pt x="276" y="613"/>
                  </a:lnTo>
                  <a:lnTo>
                    <a:pt x="280" y="617"/>
                  </a:lnTo>
                  <a:lnTo>
                    <a:pt x="286" y="619"/>
                  </a:lnTo>
                  <a:lnTo>
                    <a:pt x="291" y="622"/>
                  </a:lnTo>
                  <a:lnTo>
                    <a:pt x="303" y="626"/>
                  </a:lnTo>
                  <a:lnTo>
                    <a:pt x="308" y="628"/>
                  </a:lnTo>
                  <a:lnTo>
                    <a:pt x="312" y="632"/>
                  </a:lnTo>
                  <a:lnTo>
                    <a:pt x="312" y="632"/>
                  </a:lnTo>
                  <a:lnTo>
                    <a:pt x="316" y="639"/>
                  </a:lnTo>
                  <a:lnTo>
                    <a:pt x="321" y="645"/>
                  </a:lnTo>
                  <a:lnTo>
                    <a:pt x="327" y="654"/>
                  </a:lnTo>
                  <a:lnTo>
                    <a:pt x="338" y="662"/>
                  </a:lnTo>
                  <a:lnTo>
                    <a:pt x="351" y="667"/>
                  </a:lnTo>
                  <a:lnTo>
                    <a:pt x="368" y="673"/>
                  </a:lnTo>
                  <a:lnTo>
                    <a:pt x="390" y="675"/>
                  </a:lnTo>
                  <a:lnTo>
                    <a:pt x="390" y="675"/>
                  </a:lnTo>
                  <a:lnTo>
                    <a:pt x="403" y="673"/>
                  </a:lnTo>
                  <a:lnTo>
                    <a:pt x="415" y="671"/>
                  </a:lnTo>
                  <a:lnTo>
                    <a:pt x="420" y="671"/>
                  </a:lnTo>
                  <a:lnTo>
                    <a:pt x="424" y="673"/>
                  </a:lnTo>
                  <a:lnTo>
                    <a:pt x="430" y="675"/>
                  </a:lnTo>
                  <a:lnTo>
                    <a:pt x="437" y="679"/>
                  </a:lnTo>
                  <a:lnTo>
                    <a:pt x="437" y="679"/>
                  </a:lnTo>
                  <a:lnTo>
                    <a:pt x="443" y="684"/>
                  </a:lnTo>
                  <a:lnTo>
                    <a:pt x="450" y="686"/>
                  </a:lnTo>
                  <a:lnTo>
                    <a:pt x="461" y="688"/>
                  </a:lnTo>
                  <a:lnTo>
                    <a:pt x="473" y="688"/>
                  </a:lnTo>
                  <a:lnTo>
                    <a:pt x="482" y="684"/>
                  </a:lnTo>
                  <a:lnTo>
                    <a:pt x="495" y="677"/>
                  </a:lnTo>
                  <a:lnTo>
                    <a:pt x="499" y="677"/>
                  </a:lnTo>
                  <a:lnTo>
                    <a:pt x="503" y="682"/>
                  </a:lnTo>
                  <a:lnTo>
                    <a:pt x="503" y="682"/>
                  </a:lnTo>
                  <a:lnTo>
                    <a:pt x="506" y="688"/>
                  </a:lnTo>
                  <a:lnTo>
                    <a:pt x="510" y="690"/>
                  </a:lnTo>
                  <a:lnTo>
                    <a:pt x="514" y="688"/>
                  </a:lnTo>
                  <a:lnTo>
                    <a:pt x="517" y="686"/>
                  </a:lnTo>
                  <a:lnTo>
                    <a:pt x="519" y="680"/>
                  </a:lnTo>
                  <a:lnTo>
                    <a:pt x="521" y="673"/>
                  </a:lnTo>
                  <a:lnTo>
                    <a:pt x="519" y="665"/>
                  </a:lnTo>
                  <a:lnTo>
                    <a:pt x="517" y="660"/>
                  </a:lnTo>
                  <a:lnTo>
                    <a:pt x="517" y="660"/>
                  </a:lnTo>
                  <a:lnTo>
                    <a:pt x="514" y="652"/>
                  </a:lnTo>
                  <a:lnTo>
                    <a:pt x="514" y="649"/>
                  </a:lnTo>
                  <a:lnTo>
                    <a:pt x="516" y="645"/>
                  </a:lnTo>
                  <a:lnTo>
                    <a:pt x="519" y="641"/>
                  </a:lnTo>
                  <a:lnTo>
                    <a:pt x="525" y="641"/>
                  </a:lnTo>
                  <a:lnTo>
                    <a:pt x="529" y="641"/>
                  </a:lnTo>
                  <a:lnTo>
                    <a:pt x="532" y="643"/>
                  </a:lnTo>
                  <a:lnTo>
                    <a:pt x="534" y="645"/>
                  </a:lnTo>
                  <a:lnTo>
                    <a:pt x="534" y="645"/>
                  </a:lnTo>
                  <a:lnTo>
                    <a:pt x="532" y="656"/>
                  </a:lnTo>
                  <a:lnTo>
                    <a:pt x="534" y="658"/>
                  </a:lnTo>
                  <a:lnTo>
                    <a:pt x="538" y="662"/>
                  </a:lnTo>
                  <a:lnTo>
                    <a:pt x="547" y="671"/>
                  </a:lnTo>
                  <a:lnTo>
                    <a:pt x="547" y="671"/>
                  </a:lnTo>
                  <a:lnTo>
                    <a:pt x="551" y="677"/>
                  </a:lnTo>
                  <a:lnTo>
                    <a:pt x="553" y="677"/>
                  </a:lnTo>
                  <a:lnTo>
                    <a:pt x="555" y="677"/>
                  </a:lnTo>
                  <a:lnTo>
                    <a:pt x="559" y="671"/>
                  </a:lnTo>
                  <a:lnTo>
                    <a:pt x="562" y="667"/>
                  </a:lnTo>
                  <a:lnTo>
                    <a:pt x="564" y="658"/>
                  </a:lnTo>
                  <a:lnTo>
                    <a:pt x="566" y="660"/>
                  </a:lnTo>
                  <a:lnTo>
                    <a:pt x="568" y="667"/>
                  </a:lnTo>
                  <a:lnTo>
                    <a:pt x="568" y="667"/>
                  </a:lnTo>
                  <a:lnTo>
                    <a:pt x="570" y="671"/>
                  </a:lnTo>
                  <a:lnTo>
                    <a:pt x="572" y="673"/>
                  </a:lnTo>
                  <a:lnTo>
                    <a:pt x="579" y="677"/>
                  </a:lnTo>
                  <a:lnTo>
                    <a:pt x="587" y="680"/>
                  </a:lnTo>
                  <a:lnTo>
                    <a:pt x="596" y="682"/>
                  </a:lnTo>
                  <a:lnTo>
                    <a:pt x="603" y="684"/>
                  </a:lnTo>
                  <a:lnTo>
                    <a:pt x="607" y="686"/>
                  </a:lnTo>
                  <a:lnTo>
                    <a:pt x="609" y="688"/>
                  </a:lnTo>
                  <a:lnTo>
                    <a:pt x="607" y="692"/>
                  </a:lnTo>
                  <a:lnTo>
                    <a:pt x="602" y="699"/>
                  </a:lnTo>
                  <a:lnTo>
                    <a:pt x="602" y="699"/>
                  </a:lnTo>
                  <a:lnTo>
                    <a:pt x="600" y="703"/>
                  </a:lnTo>
                  <a:lnTo>
                    <a:pt x="600" y="705"/>
                  </a:lnTo>
                  <a:lnTo>
                    <a:pt x="602" y="707"/>
                  </a:lnTo>
                  <a:lnTo>
                    <a:pt x="603" y="707"/>
                  </a:lnTo>
                  <a:lnTo>
                    <a:pt x="613" y="708"/>
                  </a:lnTo>
                  <a:lnTo>
                    <a:pt x="624" y="707"/>
                  </a:lnTo>
                  <a:lnTo>
                    <a:pt x="635" y="705"/>
                  </a:lnTo>
                  <a:lnTo>
                    <a:pt x="648" y="703"/>
                  </a:lnTo>
                  <a:lnTo>
                    <a:pt x="658" y="699"/>
                  </a:lnTo>
                  <a:lnTo>
                    <a:pt x="663" y="693"/>
                  </a:lnTo>
                  <a:lnTo>
                    <a:pt x="663" y="693"/>
                  </a:lnTo>
                  <a:lnTo>
                    <a:pt x="663" y="690"/>
                  </a:lnTo>
                  <a:lnTo>
                    <a:pt x="663" y="686"/>
                  </a:lnTo>
                  <a:lnTo>
                    <a:pt x="659" y="679"/>
                  </a:lnTo>
                  <a:lnTo>
                    <a:pt x="659" y="675"/>
                  </a:lnTo>
                  <a:lnTo>
                    <a:pt x="658" y="671"/>
                  </a:lnTo>
                  <a:lnTo>
                    <a:pt x="659" y="667"/>
                  </a:lnTo>
                  <a:lnTo>
                    <a:pt x="663" y="664"/>
                  </a:lnTo>
                  <a:lnTo>
                    <a:pt x="663" y="664"/>
                  </a:lnTo>
                  <a:lnTo>
                    <a:pt x="667" y="660"/>
                  </a:lnTo>
                  <a:lnTo>
                    <a:pt x="667" y="662"/>
                  </a:lnTo>
                  <a:lnTo>
                    <a:pt x="665" y="667"/>
                  </a:lnTo>
                  <a:lnTo>
                    <a:pt x="665" y="671"/>
                  </a:lnTo>
                  <a:lnTo>
                    <a:pt x="665" y="675"/>
                  </a:lnTo>
                  <a:lnTo>
                    <a:pt x="667" y="679"/>
                  </a:lnTo>
                  <a:lnTo>
                    <a:pt x="671" y="682"/>
                  </a:lnTo>
                  <a:lnTo>
                    <a:pt x="671" y="682"/>
                  </a:lnTo>
                  <a:lnTo>
                    <a:pt x="674" y="686"/>
                  </a:lnTo>
                  <a:lnTo>
                    <a:pt x="676" y="688"/>
                  </a:lnTo>
                  <a:lnTo>
                    <a:pt x="680" y="695"/>
                  </a:lnTo>
                  <a:lnTo>
                    <a:pt x="682" y="697"/>
                  </a:lnTo>
                  <a:lnTo>
                    <a:pt x="684" y="701"/>
                  </a:lnTo>
                  <a:lnTo>
                    <a:pt x="688" y="703"/>
                  </a:lnTo>
                  <a:lnTo>
                    <a:pt x="695" y="703"/>
                  </a:lnTo>
                  <a:lnTo>
                    <a:pt x="695" y="703"/>
                  </a:lnTo>
                  <a:lnTo>
                    <a:pt x="693" y="693"/>
                  </a:lnTo>
                  <a:lnTo>
                    <a:pt x="695" y="686"/>
                  </a:lnTo>
                  <a:lnTo>
                    <a:pt x="697" y="684"/>
                  </a:lnTo>
                  <a:lnTo>
                    <a:pt x="701" y="680"/>
                  </a:lnTo>
                  <a:lnTo>
                    <a:pt x="706" y="679"/>
                  </a:lnTo>
                  <a:lnTo>
                    <a:pt x="710" y="673"/>
                  </a:lnTo>
                  <a:lnTo>
                    <a:pt x="714" y="665"/>
                  </a:lnTo>
                  <a:lnTo>
                    <a:pt x="717" y="654"/>
                  </a:lnTo>
                  <a:lnTo>
                    <a:pt x="717" y="654"/>
                  </a:lnTo>
                  <a:lnTo>
                    <a:pt x="717" y="650"/>
                  </a:lnTo>
                  <a:lnTo>
                    <a:pt x="721" y="649"/>
                  </a:lnTo>
                  <a:lnTo>
                    <a:pt x="729" y="645"/>
                  </a:lnTo>
                  <a:lnTo>
                    <a:pt x="751" y="645"/>
                  </a:lnTo>
                  <a:lnTo>
                    <a:pt x="762" y="645"/>
                  </a:lnTo>
                  <a:lnTo>
                    <a:pt x="768" y="643"/>
                  </a:lnTo>
                  <a:lnTo>
                    <a:pt x="772" y="641"/>
                  </a:lnTo>
                  <a:lnTo>
                    <a:pt x="773" y="637"/>
                  </a:lnTo>
                  <a:lnTo>
                    <a:pt x="775" y="634"/>
                  </a:lnTo>
                  <a:lnTo>
                    <a:pt x="775" y="628"/>
                  </a:lnTo>
                  <a:lnTo>
                    <a:pt x="773" y="621"/>
                  </a:lnTo>
                  <a:lnTo>
                    <a:pt x="773" y="621"/>
                  </a:lnTo>
                  <a:lnTo>
                    <a:pt x="770" y="609"/>
                  </a:lnTo>
                  <a:lnTo>
                    <a:pt x="770" y="602"/>
                  </a:lnTo>
                  <a:lnTo>
                    <a:pt x="772" y="602"/>
                  </a:lnTo>
                  <a:lnTo>
                    <a:pt x="773" y="602"/>
                  </a:lnTo>
                  <a:lnTo>
                    <a:pt x="779" y="602"/>
                  </a:lnTo>
                  <a:lnTo>
                    <a:pt x="787" y="602"/>
                  </a:lnTo>
                  <a:lnTo>
                    <a:pt x="796" y="602"/>
                  </a:lnTo>
                  <a:lnTo>
                    <a:pt x="807" y="600"/>
                  </a:lnTo>
                  <a:lnTo>
                    <a:pt x="813" y="596"/>
                  </a:lnTo>
                  <a:lnTo>
                    <a:pt x="818" y="591"/>
                  </a:lnTo>
                  <a:lnTo>
                    <a:pt x="818" y="591"/>
                  </a:lnTo>
                  <a:lnTo>
                    <a:pt x="826" y="583"/>
                  </a:lnTo>
                  <a:lnTo>
                    <a:pt x="828" y="579"/>
                  </a:lnTo>
                  <a:lnTo>
                    <a:pt x="828" y="578"/>
                  </a:lnTo>
                  <a:lnTo>
                    <a:pt x="826" y="576"/>
                  </a:lnTo>
                  <a:lnTo>
                    <a:pt x="822" y="574"/>
                  </a:lnTo>
                  <a:lnTo>
                    <a:pt x="820" y="568"/>
                  </a:lnTo>
                  <a:lnTo>
                    <a:pt x="818" y="563"/>
                  </a:lnTo>
                  <a:lnTo>
                    <a:pt x="822" y="551"/>
                  </a:lnTo>
                  <a:lnTo>
                    <a:pt x="822" y="551"/>
                  </a:lnTo>
                  <a:lnTo>
                    <a:pt x="824" y="548"/>
                  </a:lnTo>
                  <a:lnTo>
                    <a:pt x="828" y="544"/>
                  </a:lnTo>
                  <a:lnTo>
                    <a:pt x="841" y="540"/>
                  </a:lnTo>
                  <a:lnTo>
                    <a:pt x="856" y="537"/>
                  </a:lnTo>
                  <a:lnTo>
                    <a:pt x="861" y="535"/>
                  </a:lnTo>
                  <a:lnTo>
                    <a:pt x="867" y="533"/>
                  </a:lnTo>
                  <a:lnTo>
                    <a:pt x="867" y="533"/>
                  </a:lnTo>
                  <a:lnTo>
                    <a:pt x="876" y="525"/>
                  </a:lnTo>
                  <a:lnTo>
                    <a:pt x="876" y="525"/>
                  </a:lnTo>
                  <a:lnTo>
                    <a:pt x="886" y="518"/>
                  </a:lnTo>
                  <a:lnTo>
                    <a:pt x="893" y="514"/>
                  </a:lnTo>
                  <a:lnTo>
                    <a:pt x="893" y="514"/>
                  </a:lnTo>
                  <a:lnTo>
                    <a:pt x="901" y="508"/>
                  </a:lnTo>
                  <a:lnTo>
                    <a:pt x="904" y="501"/>
                  </a:lnTo>
                  <a:lnTo>
                    <a:pt x="908" y="494"/>
                  </a:lnTo>
                  <a:lnTo>
                    <a:pt x="910" y="486"/>
                  </a:lnTo>
                  <a:lnTo>
                    <a:pt x="912" y="471"/>
                  </a:lnTo>
                  <a:lnTo>
                    <a:pt x="912" y="452"/>
                  </a:lnTo>
                  <a:lnTo>
                    <a:pt x="910" y="436"/>
                  </a:lnTo>
                  <a:lnTo>
                    <a:pt x="912" y="426"/>
                  </a:lnTo>
                  <a:lnTo>
                    <a:pt x="914" y="417"/>
                  </a:lnTo>
                  <a:lnTo>
                    <a:pt x="916" y="409"/>
                  </a:lnTo>
                  <a:lnTo>
                    <a:pt x="921" y="402"/>
                  </a:lnTo>
                  <a:lnTo>
                    <a:pt x="927" y="393"/>
                  </a:lnTo>
                  <a:lnTo>
                    <a:pt x="936" y="385"/>
                  </a:lnTo>
                  <a:lnTo>
                    <a:pt x="936" y="385"/>
                  </a:lnTo>
                  <a:lnTo>
                    <a:pt x="942" y="380"/>
                  </a:lnTo>
                  <a:lnTo>
                    <a:pt x="942" y="376"/>
                  </a:lnTo>
                  <a:lnTo>
                    <a:pt x="942" y="374"/>
                  </a:lnTo>
                  <a:lnTo>
                    <a:pt x="944" y="372"/>
                  </a:lnTo>
                  <a:lnTo>
                    <a:pt x="951" y="363"/>
                  </a:lnTo>
                  <a:lnTo>
                    <a:pt x="951" y="363"/>
                  </a:lnTo>
                  <a:lnTo>
                    <a:pt x="970" y="348"/>
                  </a:lnTo>
                  <a:lnTo>
                    <a:pt x="973" y="342"/>
                  </a:lnTo>
                  <a:lnTo>
                    <a:pt x="977" y="337"/>
                  </a:lnTo>
                  <a:lnTo>
                    <a:pt x="979" y="331"/>
                  </a:lnTo>
                  <a:lnTo>
                    <a:pt x="979" y="327"/>
                  </a:lnTo>
                  <a:lnTo>
                    <a:pt x="977" y="320"/>
                  </a:lnTo>
                  <a:lnTo>
                    <a:pt x="973" y="314"/>
                  </a:lnTo>
                  <a:lnTo>
                    <a:pt x="972" y="310"/>
                  </a:lnTo>
                  <a:lnTo>
                    <a:pt x="970" y="309"/>
                  </a:lnTo>
                  <a:lnTo>
                    <a:pt x="972" y="305"/>
                  </a:lnTo>
                  <a:lnTo>
                    <a:pt x="979" y="301"/>
                  </a:lnTo>
                  <a:lnTo>
                    <a:pt x="979" y="301"/>
                  </a:lnTo>
                  <a:lnTo>
                    <a:pt x="985" y="297"/>
                  </a:lnTo>
                  <a:lnTo>
                    <a:pt x="988" y="294"/>
                  </a:lnTo>
                  <a:lnTo>
                    <a:pt x="992" y="288"/>
                  </a:lnTo>
                  <a:lnTo>
                    <a:pt x="994" y="284"/>
                  </a:lnTo>
                  <a:lnTo>
                    <a:pt x="994" y="275"/>
                  </a:lnTo>
                  <a:lnTo>
                    <a:pt x="990" y="266"/>
                  </a:lnTo>
                  <a:lnTo>
                    <a:pt x="983" y="247"/>
                  </a:lnTo>
                  <a:lnTo>
                    <a:pt x="981" y="236"/>
                  </a:lnTo>
                  <a:lnTo>
                    <a:pt x="983" y="232"/>
                  </a:lnTo>
                  <a:lnTo>
                    <a:pt x="983" y="226"/>
                  </a:lnTo>
                  <a:lnTo>
                    <a:pt x="983" y="226"/>
                  </a:lnTo>
                  <a:lnTo>
                    <a:pt x="959" y="221"/>
                  </a:lnTo>
                  <a:lnTo>
                    <a:pt x="953" y="223"/>
                  </a:lnTo>
                  <a:lnTo>
                    <a:pt x="949" y="223"/>
                  </a:lnTo>
                  <a:lnTo>
                    <a:pt x="947" y="230"/>
                  </a:lnTo>
                  <a:lnTo>
                    <a:pt x="944" y="234"/>
                  </a:lnTo>
                  <a:lnTo>
                    <a:pt x="936" y="238"/>
                  </a:lnTo>
                  <a:lnTo>
                    <a:pt x="936" y="238"/>
                  </a:lnTo>
                  <a:lnTo>
                    <a:pt x="927" y="241"/>
                  </a:lnTo>
                  <a:lnTo>
                    <a:pt x="923" y="241"/>
                  </a:lnTo>
                  <a:lnTo>
                    <a:pt x="921" y="239"/>
                  </a:lnTo>
                  <a:lnTo>
                    <a:pt x="917" y="234"/>
                  </a:lnTo>
                  <a:lnTo>
                    <a:pt x="917" y="224"/>
                  </a:lnTo>
                  <a:lnTo>
                    <a:pt x="917" y="206"/>
                  </a:lnTo>
                  <a:lnTo>
                    <a:pt x="917" y="196"/>
                  </a:lnTo>
                  <a:lnTo>
                    <a:pt x="917" y="191"/>
                  </a:lnTo>
                  <a:lnTo>
                    <a:pt x="917" y="191"/>
                  </a:lnTo>
                  <a:lnTo>
                    <a:pt x="914" y="181"/>
                  </a:lnTo>
                  <a:lnTo>
                    <a:pt x="912" y="176"/>
                  </a:lnTo>
                  <a:lnTo>
                    <a:pt x="908" y="172"/>
                  </a:lnTo>
                  <a:lnTo>
                    <a:pt x="902" y="170"/>
                  </a:lnTo>
                  <a:lnTo>
                    <a:pt x="899" y="170"/>
                  </a:lnTo>
                  <a:lnTo>
                    <a:pt x="895" y="170"/>
                  </a:lnTo>
                  <a:lnTo>
                    <a:pt x="886" y="176"/>
                  </a:lnTo>
                  <a:lnTo>
                    <a:pt x="869" y="189"/>
                  </a:lnTo>
                  <a:lnTo>
                    <a:pt x="861" y="195"/>
                  </a:lnTo>
                  <a:lnTo>
                    <a:pt x="858" y="196"/>
                  </a:lnTo>
                  <a:lnTo>
                    <a:pt x="858" y="196"/>
                  </a:lnTo>
                  <a:lnTo>
                    <a:pt x="852" y="195"/>
                  </a:lnTo>
                  <a:lnTo>
                    <a:pt x="850" y="191"/>
                  </a:lnTo>
                  <a:lnTo>
                    <a:pt x="850" y="187"/>
                  </a:lnTo>
                  <a:lnTo>
                    <a:pt x="850" y="181"/>
                  </a:lnTo>
                  <a:lnTo>
                    <a:pt x="856" y="170"/>
                  </a:lnTo>
                  <a:lnTo>
                    <a:pt x="865" y="157"/>
                  </a:lnTo>
                  <a:lnTo>
                    <a:pt x="884" y="133"/>
                  </a:lnTo>
                  <a:lnTo>
                    <a:pt x="891" y="122"/>
                  </a:lnTo>
                  <a:lnTo>
                    <a:pt x="895" y="114"/>
                  </a:lnTo>
                  <a:lnTo>
                    <a:pt x="895" y="114"/>
                  </a:lnTo>
                  <a:lnTo>
                    <a:pt x="895" y="105"/>
                  </a:lnTo>
                  <a:lnTo>
                    <a:pt x="899" y="94"/>
                  </a:lnTo>
                  <a:lnTo>
                    <a:pt x="904" y="73"/>
                  </a:lnTo>
                  <a:lnTo>
                    <a:pt x="908" y="66"/>
                  </a:lnTo>
                  <a:lnTo>
                    <a:pt x="908" y="60"/>
                  </a:lnTo>
                  <a:lnTo>
                    <a:pt x="908" y="58"/>
                  </a:lnTo>
                  <a:lnTo>
                    <a:pt x="906" y="56"/>
                  </a:lnTo>
                  <a:lnTo>
                    <a:pt x="901" y="58"/>
                  </a:lnTo>
                  <a:lnTo>
                    <a:pt x="901" y="58"/>
                  </a:lnTo>
                  <a:lnTo>
                    <a:pt x="889" y="62"/>
                  </a:lnTo>
                  <a:lnTo>
                    <a:pt x="886" y="62"/>
                  </a:lnTo>
                  <a:lnTo>
                    <a:pt x="884" y="60"/>
                  </a:lnTo>
                  <a:lnTo>
                    <a:pt x="882" y="53"/>
                  </a:lnTo>
                  <a:lnTo>
                    <a:pt x="882" y="45"/>
                  </a:lnTo>
                  <a:lnTo>
                    <a:pt x="887" y="25"/>
                  </a:lnTo>
                  <a:lnTo>
                    <a:pt x="887" y="15"/>
                  </a:lnTo>
                  <a:lnTo>
                    <a:pt x="886" y="10"/>
                  </a:lnTo>
                  <a:lnTo>
                    <a:pt x="886" y="10"/>
                  </a:lnTo>
                  <a:lnTo>
                    <a:pt x="880" y="2"/>
                  </a:lnTo>
                  <a:lnTo>
                    <a:pt x="873" y="0"/>
                  </a:lnTo>
                  <a:lnTo>
                    <a:pt x="863" y="0"/>
                  </a:lnTo>
                  <a:lnTo>
                    <a:pt x="854" y="0"/>
                  </a:lnTo>
                  <a:lnTo>
                    <a:pt x="835" y="4"/>
                  </a:lnTo>
                  <a:lnTo>
                    <a:pt x="826" y="6"/>
                  </a:lnTo>
                  <a:lnTo>
                    <a:pt x="818" y="4"/>
                  </a:lnTo>
                  <a:lnTo>
                    <a:pt x="818" y="4"/>
                  </a:lnTo>
                  <a:lnTo>
                    <a:pt x="813" y="4"/>
                  </a:lnTo>
                  <a:lnTo>
                    <a:pt x="807" y="4"/>
                  </a:lnTo>
                  <a:lnTo>
                    <a:pt x="802" y="6"/>
                  </a:lnTo>
                  <a:lnTo>
                    <a:pt x="796" y="11"/>
                  </a:lnTo>
                  <a:lnTo>
                    <a:pt x="787" y="21"/>
                  </a:lnTo>
                  <a:lnTo>
                    <a:pt x="775" y="34"/>
                  </a:lnTo>
                  <a:lnTo>
                    <a:pt x="766" y="45"/>
                  </a:lnTo>
                  <a:lnTo>
                    <a:pt x="762" y="49"/>
                  </a:lnTo>
                  <a:lnTo>
                    <a:pt x="757" y="51"/>
                  </a:lnTo>
                  <a:lnTo>
                    <a:pt x="753" y="51"/>
                  </a:lnTo>
                  <a:lnTo>
                    <a:pt x="747" y="49"/>
                  </a:lnTo>
                  <a:lnTo>
                    <a:pt x="744" y="45"/>
                  </a:lnTo>
                  <a:lnTo>
                    <a:pt x="738" y="38"/>
                  </a:lnTo>
                  <a:lnTo>
                    <a:pt x="738" y="38"/>
                  </a:lnTo>
                  <a:lnTo>
                    <a:pt x="732" y="30"/>
                  </a:lnTo>
                  <a:lnTo>
                    <a:pt x="727" y="26"/>
                  </a:lnTo>
                  <a:lnTo>
                    <a:pt x="723" y="25"/>
                  </a:lnTo>
                  <a:lnTo>
                    <a:pt x="717" y="25"/>
                  </a:lnTo>
                  <a:lnTo>
                    <a:pt x="712" y="28"/>
                  </a:lnTo>
                  <a:lnTo>
                    <a:pt x="708" y="34"/>
                  </a:lnTo>
                  <a:lnTo>
                    <a:pt x="704" y="41"/>
                  </a:lnTo>
                  <a:lnTo>
                    <a:pt x="702" y="49"/>
                  </a:lnTo>
                  <a:lnTo>
                    <a:pt x="702" y="49"/>
                  </a:lnTo>
                  <a:lnTo>
                    <a:pt x="699" y="62"/>
                  </a:lnTo>
                  <a:lnTo>
                    <a:pt x="697" y="68"/>
                  </a:lnTo>
                  <a:lnTo>
                    <a:pt x="693" y="69"/>
                  </a:lnTo>
                  <a:lnTo>
                    <a:pt x="691" y="68"/>
                  </a:lnTo>
                  <a:lnTo>
                    <a:pt x="688" y="60"/>
                  </a:lnTo>
                  <a:lnTo>
                    <a:pt x="686" y="54"/>
                  </a:lnTo>
                  <a:lnTo>
                    <a:pt x="686" y="54"/>
                  </a:lnTo>
                  <a:lnTo>
                    <a:pt x="676" y="49"/>
                  </a:lnTo>
                  <a:lnTo>
                    <a:pt x="669" y="47"/>
                  </a:lnTo>
                  <a:lnTo>
                    <a:pt x="663" y="47"/>
                  </a:lnTo>
                  <a:lnTo>
                    <a:pt x="656" y="49"/>
                  </a:lnTo>
                  <a:lnTo>
                    <a:pt x="656" y="49"/>
                  </a:lnTo>
                  <a:lnTo>
                    <a:pt x="646" y="58"/>
                  </a:lnTo>
                  <a:lnTo>
                    <a:pt x="639" y="68"/>
                  </a:lnTo>
                  <a:lnTo>
                    <a:pt x="631" y="77"/>
                  </a:lnTo>
                  <a:lnTo>
                    <a:pt x="628" y="79"/>
                  </a:lnTo>
                  <a:lnTo>
                    <a:pt x="624" y="79"/>
                  </a:lnTo>
                  <a:lnTo>
                    <a:pt x="624" y="79"/>
                  </a:lnTo>
                  <a:lnTo>
                    <a:pt x="611" y="79"/>
                  </a:lnTo>
                  <a:lnTo>
                    <a:pt x="592" y="81"/>
                  </a:lnTo>
                  <a:lnTo>
                    <a:pt x="585" y="82"/>
                  </a:lnTo>
                  <a:lnTo>
                    <a:pt x="581" y="84"/>
                  </a:lnTo>
                  <a:lnTo>
                    <a:pt x="581" y="86"/>
                  </a:lnTo>
                  <a:lnTo>
                    <a:pt x="583" y="86"/>
                  </a:lnTo>
                  <a:lnTo>
                    <a:pt x="590" y="90"/>
                  </a:lnTo>
                  <a:lnTo>
                    <a:pt x="590" y="90"/>
                  </a:lnTo>
                  <a:lnTo>
                    <a:pt x="596" y="94"/>
                  </a:lnTo>
                  <a:lnTo>
                    <a:pt x="598" y="97"/>
                  </a:lnTo>
                  <a:lnTo>
                    <a:pt x="596" y="103"/>
                  </a:lnTo>
                  <a:lnTo>
                    <a:pt x="592" y="107"/>
                  </a:lnTo>
                  <a:lnTo>
                    <a:pt x="587" y="109"/>
                  </a:lnTo>
                  <a:lnTo>
                    <a:pt x="579" y="110"/>
                  </a:lnTo>
                  <a:lnTo>
                    <a:pt x="570" y="107"/>
                  </a:lnTo>
                  <a:lnTo>
                    <a:pt x="562" y="101"/>
                  </a:lnTo>
                  <a:lnTo>
                    <a:pt x="562" y="101"/>
                  </a:lnTo>
                  <a:lnTo>
                    <a:pt x="559" y="99"/>
                  </a:lnTo>
                  <a:lnTo>
                    <a:pt x="555" y="99"/>
                  </a:lnTo>
                  <a:lnTo>
                    <a:pt x="551" y="103"/>
                  </a:lnTo>
                  <a:lnTo>
                    <a:pt x="547" y="107"/>
                  </a:lnTo>
                  <a:lnTo>
                    <a:pt x="544" y="116"/>
                  </a:lnTo>
                  <a:lnTo>
                    <a:pt x="540" y="127"/>
                  </a:lnTo>
                  <a:lnTo>
                    <a:pt x="540" y="127"/>
                  </a:lnTo>
                  <a:lnTo>
                    <a:pt x="540" y="133"/>
                  </a:lnTo>
                  <a:lnTo>
                    <a:pt x="538" y="135"/>
                  </a:lnTo>
                  <a:lnTo>
                    <a:pt x="536" y="135"/>
                  </a:lnTo>
                  <a:lnTo>
                    <a:pt x="532" y="133"/>
                  </a:lnTo>
                  <a:lnTo>
                    <a:pt x="527" y="127"/>
                  </a:lnTo>
                  <a:lnTo>
                    <a:pt x="516" y="116"/>
                  </a:lnTo>
                  <a:lnTo>
                    <a:pt x="508" y="112"/>
                  </a:lnTo>
                  <a:lnTo>
                    <a:pt x="504" y="112"/>
                  </a:lnTo>
                  <a:lnTo>
                    <a:pt x="503" y="112"/>
                  </a:lnTo>
                  <a:lnTo>
                    <a:pt x="503" y="112"/>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7" name="Freeform 77">
              <a:extLst>
                <a:ext uri="{FF2B5EF4-FFF2-40B4-BE49-F238E27FC236}">
                  <a16:creationId xmlns:a16="http://schemas.microsoft.com/office/drawing/2014/main" id="{8D70FDF5-854C-4AE4-B17A-BB061AAB41B6}"/>
                </a:ext>
              </a:extLst>
            </p:cNvPr>
            <p:cNvSpPr>
              <a:spLocks noEditPoints="1"/>
            </p:cNvSpPr>
            <p:nvPr/>
          </p:nvSpPr>
          <p:spPr bwMode="auto">
            <a:xfrm>
              <a:off x="5974462" y="4079631"/>
              <a:ext cx="83566" cy="103549"/>
            </a:xfrm>
            <a:custGeom>
              <a:avLst/>
              <a:gdLst/>
              <a:ahLst/>
              <a:cxnLst>
                <a:cxn ang="0">
                  <a:pos x="13" y="2"/>
                </a:cxn>
                <a:cxn ang="0">
                  <a:pos x="13" y="2"/>
                </a:cxn>
                <a:cxn ang="0">
                  <a:pos x="6" y="9"/>
                </a:cxn>
                <a:cxn ang="0">
                  <a:pos x="2" y="15"/>
                </a:cxn>
                <a:cxn ang="0">
                  <a:pos x="0" y="18"/>
                </a:cxn>
                <a:cxn ang="0">
                  <a:pos x="2" y="24"/>
                </a:cxn>
                <a:cxn ang="0">
                  <a:pos x="11" y="33"/>
                </a:cxn>
                <a:cxn ang="0">
                  <a:pos x="28" y="50"/>
                </a:cxn>
                <a:cxn ang="0">
                  <a:pos x="28" y="50"/>
                </a:cxn>
                <a:cxn ang="0">
                  <a:pos x="41" y="59"/>
                </a:cxn>
                <a:cxn ang="0">
                  <a:pos x="41" y="59"/>
                </a:cxn>
                <a:cxn ang="0">
                  <a:pos x="45" y="59"/>
                </a:cxn>
                <a:cxn ang="0">
                  <a:pos x="47" y="59"/>
                </a:cxn>
                <a:cxn ang="0">
                  <a:pos x="49" y="58"/>
                </a:cxn>
                <a:cxn ang="0">
                  <a:pos x="50" y="58"/>
                </a:cxn>
                <a:cxn ang="0">
                  <a:pos x="54" y="59"/>
                </a:cxn>
                <a:cxn ang="0">
                  <a:pos x="67" y="69"/>
                </a:cxn>
                <a:cxn ang="0">
                  <a:pos x="49" y="48"/>
                </a:cxn>
                <a:cxn ang="0">
                  <a:pos x="49" y="48"/>
                </a:cxn>
                <a:cxn ang="0">
                  <a:pos x="37" y="35"/>
                </a:cxn>
                <a:cxn ang="0">
                  <a:pos x="30" y="26"/>
                </a:cxn>
                <a:cxn ang="0">
                  <a:pos x="22" y="9"/>
                </a:cxn>
                <a:cxn ang="0">
                  <a:pos x="19" y="0"/>
                </a:cxn>
                <a:cxn ang="0">
                  <a:pos x="17" y="0"/>
                </a:cxn>
                <a:cxn ang="0">
                  <a:pos x="13" y="2"/>
                </a:cxn>
                <a:cxn ang="0">
                  <a:pos x="13" y="2"/>
                </a:cxn>
                <a:cxn ang="0">
                  <a:pos x="47" y="61"/>
                </a:cxn>
                <a:cxn ang="0">
                  <a:pos x="47" y="61"/>
                </a:cxn>
                <a:cxn ang="0">
                  <a:pos x="60" y="82"/>
                </a:cxn>
                <a:cxn ang="0">
                  <a:pos x="69" y="97"/>
                </a:cxn>
                <a:cxn ang="0">
                  <a:pos x="75" y="104"/>
                </a:cxn>
                <a:cxn ang="0">
                  <a:pos x="75" y="104"/>
                </a:cxn>
                <a:cxn ang="0">
                  <a:pos x="77" y="110"/>
                </a:cxn>
                <a:cxn ang="0">
                  <a:pos x="78" y="112"/>
                </a:cxn>
                <a:cxn ang="0">
                  <a:pos x="82" y="114"/>
                </a:cxn>
                <a:cxn ang="0">
                  <a:pos x="86" y="112"/>
                </a:cxn>
                <a:cxn ang="0">
                  <a:pos x="90" y="110"/>
                </a:cxn>
                <a:cxn ang="0">
                  <a:pos x="92" y="104"/>
                </a:cxn>
                <a:cxn ang="0">
                  <a:pos x="92" y="97"/>
                </a:cxn>
                <a:cxn ang="0">
                  <a:pos x="88" y="87"/>
                </a:cxn>
                <a:cxn ang="0">
                  <a:pos x="88" y="87"/>
                </a:cxn>
                <a:cxn ang="0">
                  <a:pos x="67" y="69"/>
                </a:cxn>
                <a:cxn ang="0">
                  <a:pos x="67" y="69"/>
                </a:cxn>
                <a:cxn ang="0">
                  <a:pos x="54" y="59"/>
                </a:cxn>
                <a:cxn ang="0">
                  <a:pos x="50" y="58"/>
                </a:cxn>
                <a:cxn ang="0">
                  <a:pos x="49" y="58"/>
                </a:cxn>
                <a:cxn ang="0">
                  <a:pos x="47" y="59"/>
                </a:cxn>
                <a:cxn ang="0">
                  <a:pos x="45" y="59"/>
                </a:cxn>
                <a:cxn ang="0">
                  <a:pos x="41" y="59"/>
                </a:cxn>
                <a:cxn ang="0">
                  <a:pos x="47" y="61"/>
                </a:cxn>
                <a:cxn ang="0">
                  <a:pos x="47" y="61"/>
                </a:cxn>
              </a:cxnLst>
              <a:rect l="0" t="0" r="r" b="b"/>
              <a:pathLst>
                <a:path w="92" h="114">
                  <a:moveTo>
                    <a:pt x="13" y="2"/>
                  </a:moveTo>
                  <a:lnTo>
                    <a:pt x="13" y="2"/>
                  </a:lnTo>
                  <a:lnTo>
                    <a:pt x="6" y="9"/>
                  </a:lnTo>
                  <a:lnTo>
                    <a:pt x="2" y="15"/>
                  </a:lnTo>
                  <a:lnTo>
                    <a:pt x="0" y="18"/>
                  </a:lnTo>
                  <a:lnTo>
                    <a:pt x="2" y="24"/>
                  </a:lnTo>
                  <a:lnTo>
                    <a:pt x="11" y="33"/>
                  </a:lnTo>
                  <a:lnTo>
                    <a:pt x="28" y="50"/>
                  </a:lnTo>
                  <a:lnTo>
                    <a:pt x="28" y="50"/>
                  </a:lnTo>
                  <a:lnTo>
                    <a:pt x="41" y="59"/>
                  </a:lnTo>
                  <a:lnTo>
                    <a:pt x="41" y="59"/>
                  </a:lnTo>
                  <a:lnTo>
                    <a:pt x="45" y="59"/>
                  </a:lnTo>
                  <a:lnTo>
                    <a:pt x="47" y="59"/>
                  </a:lnTo>
                  <a:lnTo>
                    <a:pt x="49" y="58"/>
                  </a:lnTo>
                  <a:lnTo>
                    <a:pt x="50" y="58"/>
                  </a:lnTo>
                  <a:lnTo>
                    <a:pt x="54" y="59"/>
                  </a:lnTo>
                  <a:lnTo>
                    <a:pt x="67" y="69"/>
                  </a:lnTo>
                  <a:lnTo>
                    <a:pt x="49" y="48"/>
                  </a:lnTo>
                  <a:lnTo>
                    <a:pt x="49" y="48"/>
                  </a:lnTo>
                  <a:lnTo>
                    <a:pt x="37" y="35"/>
                  </a:lnTo>
                  <a:lnTo>
                    <a:pt x="30" y="26"/>
                  </a:lnTo>
                  <a:lnTo>
                    <a:pt x="22" y="9"/>
                  </a:lnTo>
                  <a:lnTo>
                    <a:pt x="19" y="0"/>
                  </a:lnTo>
                  <a:lnTo>
                    <a:pt x="17" y="0"/>
                  </a:lnTo>
                  <a:lnTo>
                    <a:pt x="13" y="2"/>
                  </a:lnTo>
                  <a:lnTo>
                    <a:pt x="13" y="2"/>
                  </a:lnTo>
                  <a:close/>
                  <a:moveTo>
                    <a:pt x="47" y="61"/>
                  </a:moveTo>
                  <a:lnTo>
                    <a:pt x="47" y="61"/>
                  </a:lnTo>
                  <a:lnTo>
                    <a:pt x="60" y="82"/>
                  </a:lnTo>
                  <a:lnTo>
                    <a:pt x="69" y="97"/>
                  </a:lnTo>
                  <a:lnTo>
                    <a:pt x="75" y="104"/>
                  </a:lnTo>
                  <a:lnTo>
                    <a:pt x="75" y="104"/>
                  </a:lnTo>
                  <a:lnTo>
                    <a:pt x="77" y="110"/>
                  </a:lnTo>
                  <a:lnTo>
                    <a:pt x="78" y="112"/>
                  </a:lnTo>
                  <a:lnTo>
                    <a:pt x="82" y="114"/>
                  </a:lnTo>
                  <a:lnTo>
                    <a:pt x="86" y="112"/>
                  </a:lnTo>
                  <a:lnTo>
                    <a:pt x="90" y="110"/>
                  </a:lnTo>
                  <a:lnTo>
                    <a:pt x="92" y="104"/>
                  </a:lnTo>
                  <a:lnTo>
                    <a:pt x="92" y="97"/>
                  </a:lnTo>
                  <a:lnTo>
                    <a:pt x="88" y="87"/>
                  </a:lnTo>
                  <a:lnTo>
                    <a:pt x="88" y="87"/>
                  </a:lnTo>
                  <a:lnTo>
                    <a:pt x="67" y="69"/>
                  </a:lnTo>
                  <a:lnTo>
                    <a:pt x="67" y="69"/>
                  </a:lnTo>
                  <a:lnTo>
                    <a:pt x="54" y="59"/>
                  </a:lnTo>
                  <a:lnTo>
                    <a:pt x="50" y="58"/>
                  </a:lnTo>
                  <a:lnTo>
                    <a:pt x="49" y="58"/>
                  </a:lnTo>
                  <a:lnTo>
                    <a:pt x="47" y="59"/>
                  </a:lnTo>
                  <a:lnTo>
                    <a:pt x="45" y="59"/>
                  </a:lnTo>
                  <a:lnTo>
                    <a:pt x="41" y="59"/>
                  </a:lnTo>
                  <a:lnTo>
                    <a:pt x="47" y="61"/>
                  </a:lnTo>
                  <a:lnTo>
                    <a:pt x="47" y="61"/>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8" name="Freeform 78">
              <a:extLst>
                <a:ext uri="{FF2B5EF4-FFF2-40B4-BE49-F238E27FC236}">
                  <a16:creationId xmlns:a16="http://schemas.microsoft.com/office/drawing/2014/main" id="{6B574BB3-77B8-4AF6-8C16-9B73BDDDF219}"/>
                </a:ext>
              </a:extLst>
            </p:cNvPr>
            <p:cNvSpPr>
              <a:spLocks/>
            </p:cNvSpPr>
            <p:nvPr/>
          </p:nvSpPr>
          <p:spPr bwMode="auto">
            <a:xfrm>
              <a:off x="1696224" y="2074036"/>
              <a:ext cx="2281727" cy="1742178"/>
            </a:xfrm>
            <a:custGeom>
              <a:avLst/>
              <a:gdLst/>
              <a:ahLst/>
              <a:cxnLst>
                <a:cxn ang="0">
                  <a:pos x="2072" y="1437"/>
                </a:cxn>
                <a:cxn ang="0">
                  <a:pos x="2141" y="1355"/>
                </a:cxn>
                <a:cxn ang="0">
                  <a:pos x="2328" y="1215"/>
                </a:cxn>
                <a:cxn ang="0">
                  <a:pos x="2424" y="1203"/>
                </a:cxn>
                <a:cxn ang="0">
                  <a:pos x="2480" y="1129"/>
                </a:cxn>
                <a:cxn ang="0">
                  <a:pos x="2470" y="996"/>
                </a:cxn>
                <a:cxn ang="0">
                  <a:pos x="2431" y="875"/>
                </a:cxn>
                <a:cxn ang="0">
                  <a:pos x="2313" y="761"/>
                </a:cxn>
                <a:cxn ang="0">
                  <a:pos x="2121" y="680"/>
                </a:cxn>
                <a:cxn ang="0">
                  <a:pos x="2005" y="622"/>
                </a:cxn>
                <a:cxn ang="0">
                  <a:pos x="2052" y="493"/>
                </a:cxn>
                <a:cxn ang="0">
                  <a:pos x="2031" y="305"/>
                </a:cxn>
                <a:cxn ang="0">
                  <a:pos x="1956" y="221"/>
                </a:cxn>
                <a:cxn ang="0">
                  <a:pos x="1844" y="114"/>
                </a:cxn>
                <a:cxn ang="0">
                  <a:pos x="1840" y="39"/>
                </a:cxn>
                <a:cxn ang="0">
                  <a:pos x="1764" y="4"/>
                </a:cxn>
                <a:cxn ang="0">
                  <a:pos x="1704" y="73"/>
                </a:cxn>
                <a:cxn ang="0">
                  <a:pos x="1584" y="151"/>
                </a:cxn>
                <a:cxn ang="0">
                  <a:pos x="1498" y="262"/>
                </a:cxn>
                <a:cxn ang="0">
                  <a:pos x="1418" y="239"/>
                </a:cxn>
                <a:cxn ang="0">
                  <a:pos x="1289" y="217"/>
                </a:cxn>
                <a:cxn ang="0">
                  <a:pos x="1199" y="432"/>
                </a:cxn>
                <a:cxn ang="0">
                  <a:pos x="1121" y="392"/>
                </a:cxn>
                <a:cxn ang="0">
                  <a:pos x="917" y="394"/>
                </a:cxn>
                <a:cxn ang="0">
                  <a:pos x="947" y="469"/>
                </a:cxn>
                <a:cxn ang="0">
                  <a:pos x="936" y="600"/>
                </a:cxn>
                <a:cxn ang="0">
                  <a:pos x="891" y="671"/>
                </a:cxn>
                <a:cxn ang="0">
                  <a:pos x="850" y="731"/>
                </a:cxn>
                <a:cxn ang="0">
                  <a:pos x="723" y="809"/>
                </a:cxn>
                <a:cxn ang="0">
                  <a:pos x="588" y="835"/>
                </a:cxn>
                <a:cxn ang="0">
                  <a:pos x="486" y="835"/>
                </a:cxn>
                <a:cxn ang="0">
                  <a:pos x="360" y="891"/>
                </a:cxn>
                <a:cxn ang="0">
                  <a:pos x="295" y="865"/>
                </a:cxn>
                <a:cxn ang="0">
                  <a:pos x="237" y="837"/>
                </a:cxn>
                <a:cxn ang="0">
                  <a:pos x="147" y="854"/>
                </a:cxn>
                <a:cxn ang="0">
                  <a:pos x="63" y="901"/>
                </a:cxn>
                <a:cxn ang="0">
                  <a:pos x="18" y="947"/>
                </a:cxn>
                <a:cxn ang="0">
                  <a:pos x="20" y="1039"/>
                </a:cxn>
                <a:cxn ang="0">
                  <a:pos x="108" y="1088"/>
                </a:cxn>
                <a:cxn ang="0">
                  <a:pos x="76" y="1202"/>
                </a:cxn>
                <a:cxn ang="0">
                  <a:pos x="18" y="1239"/>
                </a:cxn>
                <a:cxn ang="0">
                  <a:pos x="31" y="1271"/>
                </a:cxn>
                <a:cxn ang="0">
                  <a:pos x="119" y="1353"/>
                </a:cxn>
                <a:cxn ang="0">
                  <a:pos x="119" y="1465"/>
                </a:cxn>
                <a:cxn ang="0">
                  <a:pos x="166" y="1519"/>
                </a:cxn>
                <a:cxn ang="0">
                  <a:pos x="310" y="1611"/>
                </a:cxn>
                <a:cxn ang="0">
                  <a:pos x="299" y="1687"/>
                </a:cxn>
                <a:cxn ang="0">
                  <a:pos x="345" y="1781"/>
                </a:cxn>
                <a:cxn ang="0">
                  <a:pos x="486" y="1760"/>
                </a:cxn>
                <a:cxn ang="0">
                  <a:pos x="562" y="1702"/>
                </a:cxn>
                <a:cxn ang="0">
                  <a:pos x="704" y="1768"/>
                </a:cxn>
                <a:cxn ang="0">
                  <a:pos x="852" y="1766"/>
                </a:cxn>
                <a:cxn ang="0">
                  <a:pos x="1003" y="1827"/>
                </a:cxn>
                <a:cxn ang="0">
                  <a:pos x="1190" y="1827"/>
                </a:cxn>
                <a:cxn ang="0">
                  <a:pos x="1399" y="1790"/>
                </a:cxn>
                <a:cxn ang="0">
                  <a:pos x="1575" y="1844"/>
                </a:cxn>
                <a:cxn ang="0">
                  <a:pos x="1680" y="1872"/>
                </a:cxn>
                <a:cxn ang="0">
                  <a:pos x="1784" y="1910"/>
                </a:cxn>
                <a:cxn ang="0">
                  <a:pos x="1749" y="1826"/>
                </a:cxn>
                <a:cxn ang="0">
                  <a:pos x="1835" y="1781"/>
                </a:cxn>
                <a:cxn ang="0">
                  <a:pos x="1758" y="1656"/>
                </a:cxn>
                <a:cxn ang="0">
                  <a:pos x="1743" y="1575"/>
                </a:cxn>
                <a:cxn ang="0">
                  <a:pos x="2029" y="1545"/>
                </a:cxn>
              </a:cxnLst>
              <a:rect l="0" t="0" r="r" b="b"/>
              <a:pathLst>
                <a:path w="2511" h="1917">
                  <a:moveTo>
                    <a:pt x="2029" y="1545"/>
                  </a:moveTo>
                  <a:lnTo>
                    <a:pt x="2029" y="1545"/>
                  </a:lnTo>
                  <a:lnTo>
                    <a:pt x="2027" y="1543"/>
                  </a:lnTo>
                  <a:lnTo>
                    <a:pt x="2029" y="1540"/>
                  </a:lnTo>
                  <a:lnTo>
                    <a:pt x="2035" y="1532"/>
                  </a:lnTo>
                  <a:lnTo>
                    <a:pt x="2048" y="1521"/>
                  </a:lnTo>
                  <a:lnTo>
                    <a:pt x="2048" y="1521"/>
                  </a:lnTo>
                  <a:lnTo>
                    <a:pt x="2059" y="1510"/>
                  </a:lnTo>
                  <a:lnTo>
                    <a:pt x="2067" y="1499"/>
                  </a:lnTo>
                  <a:lnTo>
                    <a:pt x="2070" y="1487"/>
                  </a:lnTo>
                  <a:lnTo>
                    <a:pt x="2070" y="1476"/>
                  </a:lnTo>
                  <a:lnTo>
                    <a:pt x="2072" y="1450"/>
                  </a:lnTo>
                  <a:lnTo>
                    <a:pt x="2072" y="1437"/>
                  </a:lnTo>
                  <a:lnTo>
                    <a:pt x="2078" y="1422"/>
                  </a:lnTo>
                  <a:lnTo>
                    <a:pt x="2078" y="1422"/>
                  </a:lnTo>
                  <a:lnTo>
                    <a:pt x="2083" y="1400"/>
                  </a:lnTo>
                  <a:lnTo>
                    <a:pt x="2089" y="1381"/>
                  </a:lnTo>
                  <a:lnTo>
                    <a:pt x="2091" y="1364"/>
                  </a:lnTo>
                  <a:lnTo>
                    <a:pt x="2095" y="1353"/>
                  </a:lnTo>
                  <a:lnTo>
                    <a:pt x="2096" y="1349"/>
                  </a:lnTo>
                  <a:lnTo>
                    <a:pt x="2098" y="1347"/>
                  </a:lnTo>
                  <a:lnTo>
                    <a:pt x="2102" y="1345"/>
                  </a:lnTo>
                  <a:lnTo>
                    <a:pt x="2108" y="1345"/>
                  </a:lnTo>
                  <a:lnTo>
                    <a:pt x="2121" y="1347"/>
                  </a:lnTo>
                  <a:lnTo>
                    <a:pt x="2141" y="1355"/>
                  </a:lnTo>
                  <a:lnTo>
                    <a:pt x="2141" y="1355"/>
                  </a:lnTo>
                  <a:lnTo>
                    <a:pt x="2147" y="1357"/>
                  </a:lnTo>
                  <a:lnTo>
                    <a:pt x="2153" y="1355"/>
                  </a:lnTo>
                  <a:lnTo>
                    <a:pt x="2164" y="1351"/>
                  </a:lnTo>
                  <a:lnTo>
                    <a:pt x="2179" y="1342"/>
                  </a:lnTo>
                  <a:lnTo>
                    <a:pt x="2192" y="1330"/>
                  </a:lnTo>
                  <a:lnTo>
                    <a:pt x="2220" y="1304"/>
                  </a:lnTo>
                  <a:lnTo>
                    <a:pt x="2237" y="1286"/>
                  </a:lnTo>
                  <a:lnTo>
                    <a:pt x="2237" y="1286"/>
                  </a:lnTo>
                  <a:lnTo>
                    <a:pt x="2250" y="1271"/>
                  </a:lnTo>
                  <a:lnTo>
                    <a:pt x="2267" y="1256"/>
                  </a:lnTo>
                  <a:lnTo>
                    <a:pt x="2285" y="1241"/>
                  </a:lnTo>
                  <a:lnTo>
                    <a:pt x="2306" y="1226"/>
                  </a:lnTo>
                  <a:lnTo>
                    <a:pt x="2328" y="1215"/>
                  </a:lnTo>
                  <a:lnTo>
                    <a:pt x="2339" y="1209"/>
                  </a:lnTo>
                  <a:lnTo>
                    <a:pt x="2351" y="1207"/>
                  </a:lnTo>
                  <a:lnTo>
                    <a:pt x="2360" y="1205"/>
                  </a:lnTo>
                  <a:lnTo>
                    <a:pt x="2371" y="1205"/>
                  </a:lnTo>
                  <a:lnTo>
                    <a:pt x="2381" y="1209"/>
                  </a:lnTo>
                  <a:lnTo>
                    <a:pt x="2390" y="1213"/>
                  </a:lnTo>
                  <a:lnTo>
                    <a:pt x="2390" y="1213"/>
                  </a:lnTo>
                  <a:lnTo>
                    <a:pt x="2395" y="1216"/>
                  </a:lnTo>
                  <a:lnTo>
                    <a:pt x="2401" y="1216"/>
                  </a:lnTo>
                  <a:lnTo>
                    <a:pt x="2405" y="1215"/>
                  </a:lnTo>
                  <a:lnTo>
                    <a:pt x="2410" y="1211"/>
                  </a:lnTo>
                  <a:lnTo>
                    <a:pt x="2416" y="1207"/>
                  </a:lnTo>
                  <a:lnTo>
                    <a:pt x="2424" y="1203"/>
                  </a:lnTo>
                  <a:lnTo>
                    <a:pt x="2435" y="1200"/>
                  </a:lnTo>
                  <a:lnTo>
                    <a:pt x="2448" y="1200"/>
                  </a:lnTo>
                  <a:lnTo>
                    <a:pt x="2448" y="1200"/>
                  </a:lnTo>
                  <a:lnTo>
                    <a:pt x="2465" y="1198"/>
                  </a:lnTo>
                  <a:lnTo>
                    <a:pt x="2476" y="1196"/>
                  </a:lnTo>
                  <a:lnTo>
                    <a:pt x="2483" y="1190"/>
                  </a:lnTo>
                  <a:lnTo>
                    <a:pt x="2487" y="1187"/>
                  </a:lnTo>
                  <a:lnTo>
                    <a:pt x="2489" y="1181"/>
                  </a:lnTo>
                  <a:lnTo>
                    <a:pt x="2487" y="1175"/>
                  </a:lnTo>
                  <a:lnTo>
                    <a:pt x="2485" y="1162"/>
                  </a:lnTo>
                  <a:lnTo>
                    <a:pt x="2485" y="1162"/>
                  </a:lnTo>
                  <a:lnTo>
                    <a:pt x="2480" y="1136"/>
                  </a:lnTo>
                  <a:lnTo>
                    <a:pt x="2480" y="1129"/>
                  </a:lnTo>
                  <a:lnTo>
                    <a:pt x="2481" y="1121"/>
                  </a:lnTo>
                  <a:lnTo>
                    <a:pt x="2485" y="1116"/>
                  </a:lnTo>
                  <a:lnTo>
                    <a:pt x="2491" y="1108"/>
                  </a:lnTo>
                  <a:lnTo>
                    <a:pt x="2511" y="1089"/>
                  </a:lnTo>
                  <a:lnTo>
                    <a:pt x="2511" y="1089"/>
                  </a:lnTo>
                  <a:lnTo>
                    <a:pt x="2509" y="1088"/>
                  </a:lnTo>
                  <a:lnTo>
                    <a:pt x="2508" y="1084"/>
                  </a:lnTo>
                  <a:lnTo>
                    <a:pt x="2504" y="1069"/>
                  </a:lnTo>
                  <a:lnTo>
                    <a:pt x="2495" y="1045"/>
                  </a:lnTo>
                  <a:lnTo>
                    <a:pt x="2487" y="1028"/>
                  </a:lnTo>
                  <a:lnTo>
                    <a:pt x="2476" y="1007"/>
                  </a:lnTo>
                  <a:lnTo>
                    <a:pt x="2476" y="1007"/>
                  </a:lnTo>
                  <a:lnTo>
                    <a:pt x="2470" y="996"/>
                  </a:lnTo>
                  <a:lnTo>
                    <a:pt x="2468" y="981"/>
                  </a:lnTo>
                  <a:lnTo>
                    <a:pt x="2463" y="944"/>
                  </a:lnTo>
                  <a:lnTo>
                    <a:pt x="2459" y="927"/>
                  </a:lnTo>
                  <a:lnTo>
                    <a:pt x="2455" y="910"/>
                  </a:lnTo>
                  <a:lnTo>
                    <a:pt x="2452" y="899"/>
                  </a:lnTo>
                  <a:lnTo>
                    <a:pt x="2448" y="893"/>
                  </a:lnTo>
                  <a:lnTo>
                    <a:pt x="2446" y="891"/>
                  </a:lnTo>
                  <a:lnTo>
                    <a:pt x="2446" y="891"/>
                  </a:lnTo>
                  <a:lnTo>
                    <a:pt x="2435" y="886"/>
                  </a:lnTo>
                  <a:lnTo>
                    <a:pt x="2431" y="884"/>
                  </a:lnTo>
                  <a:lnTo>
                    <a:pt x="2429" y="882"/>
                  </a:lnTo>
                  <a:lnTo>
                    <a:pt x="2429" y="878"/>
                  </a:lnTo>
                  <a:lnTo>
                    <a:pt x="2431" y="875"/>
                  </a:lnTo>
                  <a:lnTo>
                    <a:pt x="2444" y="863"/>
                  </a:lnTo>
                  <a:lnTo>
                    <a:pt x="2444" y="863"/>
                  </a:lnTo>
                  <a:lnTo>
                    <a:pt x="2446" y="860"/>
                  </a:lnTo>
                  <a:lnTo>
                    <a:pt x="2444" y="856"/>
                  </a:lnTo>
                  <a:lnTo>
                    <a:pt x="2427" y="854"/>
                  </a:lnTo>
                  <a:lnTo>
                    <a:pt x="2418" y="852"/>
                  </a:lnTo>
                  <a:lnTo>
                    <a:pt x="2407" y="848"/>
                  </a:lnTo>
                  <a:lnTo>
                    <a:pt x="2395" y="843"/>
                  </a:lnTo>
                  <a:lnTo>
                    <a:pt x="2388" y="837"/>
                  </a:lnTo>
                  <a:lnTo>
                    <a:pt x="2388" y="837"/>
                  </a:lnTo>
                  <a:lnTo>
                    <a:pt x="2360" y="805"/>
                  </a:lnTo>
                  <a:lnTo>
                    <a:pt x="2336" y="781"/>
                  </a:lnTo>
                  <a:lnTo>
                    <a:pt x="2313" y="761"/>
                  </a:lnTo>
                  <a:lnTo>
                    <a:pt x="2293" y="744"/>
                  </a:lnTo>
                  <a:lnTo>
                    <a:pt x="2276" y="731"/>
                  </a:lnTo>
                  <a:lnTo>
                    <a:pt x="2257" y="721"/>
                  </a:lnTo>
                  <a:lnTo>
                    <a:pt x="2242" y="716"/>
                  </a:lnTo>
                  <a:lnTo>
                    <a:pt x="2227" y="712"/>
                  </a:lnTo>
                  <a:lnTo>
                    <a:pt x="2201" y="706"/>
                  </a:lnTo>
                  <a:lnTo>
                    <a:pt x="2177" y="703"/>
                  </a:lnTo>
                  <a:lnTo>
                    <a:pt x="2166" y="701"/>
                  </a:lnTo>
                  <a:lnTo>
                    <a:pt x="2153" y="697"/>
                  </a:lnTo>
                  <a:lnTo>
                    <a:pt x="2139" y="691"/>
                  </a:lnTo>
                  <a:lnTo>
                    <a:pt x="2126" y="684"/>
                  </a:lnTo>
                  <a:lnTo>
                    <a:pt x="2126" y="684"/>
                  </a:lnTo>
                  <a:lnTo>
                    <a:pt x="2121" y="680"/>
                  </a:lnTo>
                  <a:lnTo>
                    <a:pt x="2113" y="678"/>
                  </a:lnTo>
                  <a:lnTo>
                    <a:pt x="2100" y="676"/>
                  </a:lnTo>
                  <a:lnTo>
                    <a:pt x="2087" y="675"/>
                  </a:lnTo>
                  <a:lnTo>
                    <a:pt x="2082" y="671"/>
                  </a:lnTo>
                  <a:lnTo>
                    <a:pt x="2076" y="667"/>
                  </a:lnTo>
                  <a:lnTo>
                    <a:pt x="2076" y="667"/>
                  </a:lnTo>
                  <a:lnTo>
                    <a:pt x="2067" y="662"/>
                  </a:lnTo>
                  <a:lnTo>
                    <a:pt x="2052" y="658"/>
                  </a:lnTo>
                  <a:lnTo>
                    <a:pt x="2037" y="650"/>
                  </a:lnTo>
                  <a:lnTo>
                    <a:pt x="2022" y="641"/>
                  </a:lnTo>
                  <a:lnTo>
                    <a:pt x="2014" y="637"/>
                  </a:lnTo>
                  <a:lnTo>
                    <a:pt x="2009" y="630"/>
                  </a:lnTo>
                  <a:lnTo>
                    <a:pt x="2005" y="622"/>
                  </a:lnTo>
                  <a:lnTo>
                    <a:pt x="2003" y="613"/>
                  </a:lnTo>
                  <a:lnTo>
                    <a:pt x="2001" y="604"/>
                  </a:lnTo>
                  <a:lnTo>
                    <a:pt x="2003" y="591"/>
                  </a:lnTo>
                  <a:lnTo>
                    <a:pt x="2007" y="577"/>
                  </a:lnTo>
                  <a:lnTo>
                    <a:pt x="2012" y="561"/>
                  </a:lnTo>
                  <a:lnTo>
                    <a:pt x="2012" y="561"/>
                  </a:lnTo>
                  <a:lnTo>
                    <a:pt x="2020" y="551"/>
                  </a:lnTo>
                  <a:lnTo>
                    <a:pt x="2025" y="546"/>
                  </a:lnTo>
                  <a:lnTo>
                    <a:pt x="2037" y="538"/>
                  </a:lnTo>
                  <a:lnTo>
                    <a:pt x="2040" y="534"/>
                  </a:lnTo>
                  <a:lnTo>
                    <a:pt x="2044" y="527"/>
                  </a:lnTo>
                  <a:lnTo>
                    <a:pt x="2048" y="514"/>
                  </a:lnTo>
                  <a:lnTo>
                    <a:pt x="2052" y="493"/>
                  </a:lnTo>
                  <a:lnTo>
                    <a:pt x="2052" y="493"/>
                  </a:lnTo>
                  <a:lnTo>
                    <a:pt x="2053" y="477"/>
                  </a:lnTo>
                  <a:lnTo>
                    <a:pt x="2059" y="465"/>
                  </a:lnTo>
                  <a:lnTo>
                    <a:pt x="2065" y="456"/>
                  </a:lnTo>
                  <a:lnTo>
                    <a:pt x="2068" y="449"/>
                  </a:lnTo>
                  <a:lnTo>
                    <a:pt x="2070" y="439"/>
                  </a:lnTo>
                  <a:lnTo>
                    <a:pt x="2067" y="426"/>
                  </a:lnTo>
                  <a:lnTo>
                    <a:pt x="2059" y="407"/>
                  </a:lnTo>
                  <a:lnTo>
                    <a:pt x="2046" y="379"/>
                  </a:lnTo>
                  <a:lnTo>
                    <a:pt x="2046" y="379"/>
                  </a:lnTo>
                  <a:lnTo>
                    <a:pt x="2040" y="366"/>
                  </a:lnTo>
                  <a:lnTo>
                    <a:pt x="2037" y="348"/>
                  </a:lnTo>
                  <a:lnTo>
                    <a:pt x="2031" y="305"/>
                  </a:lnTo>
                  <a:lnTo>
                    <a:pt x="2025" y="282"/>
                  </a:lnTo>
                  <a:lnTo>
                    <a:pt x="2022" y="273"/>
                  </a:lnTo>
                  <a:lnTo>
                    <a:pt x="2018" y="265"/>
                  </a:lnTo>
                  <a:lnTo>
                    <a:pt x="2014" y="258"/>
                  </a:lnTo>
                  <a:lnTo>
                    <a:pt x="2007" y="252"/>
                  </a:lnTo>
                  <a:lnTo>
                    <a:pt x="2001" y="249"/>
                  </a:lnTo>
                  <a:lnTo>
                    <a:pt x="1992" y="249"/>
                  </a:lnTo>
                  <a:lnTo>
                    <a:pt x="1992" y="249"/>
                  </a:lnTo>
                  <a:lnTo>
                    <a:pt x="1984" y="247"/>
                  </a:lnTo>
                  <a:lnTo>
                    <a:pt x="1979" y="243"/>
                  </a:lnTo>
                  <a:lnTo>
                    <a:pt x="1969" y="232"/>
                  </a:lnTo>
                  <a:lnTo>
                    <a:pt x="1964" y="226"/>
                  </a:lnTo>
                  <a:lnTo>
                    <a:pt x="1956" y="221"/>
                  </a:lnTo>
                  <a:lnTo>
                    <a:pt x="1945" y="217"/>
                  </a:lnTo>
                  <a:lnTo>
                    <a:pt x="1932" y="213"/>
                  </a:lnTo>
                  <a:lnTo>
                    <a:pt x="1932" y="213"/>
                  </a:lnTo>
                  <a:lnTo>
                    <a:pt x="1925" y="213"/>
                  </a:lnTo>
                  <a:lnTo>
                    <a:pt x="1919" y="209"/>
                  </a:lnTo>
                  <a:lnTo>
                    <a:pt x="1908" y="202"/>
                  </a:lnTo>
                  <a:lnTo>
                    <a:pt x="1898" y="191"/>
                  </a:lnTo>
                  <a:lnTo>
                    <a:pt x="1891" y="178"/>
                  </a:lnTo>
                  <a:lnTo>
                    <a:pt x="1876" y="148"/>
                  </a:lnTo>
                  <a:lnTo>
                    <a:pt x="1867" y="136"/>
                  </a:lnTo>
                  <a:lnTo>
                    <a:pt x="1857" y="127"/>
                  </a:lnTo>
                  <a:lnTo>
                    <a:pt x="1857" y="127"/>
                  </a:lnTo>
                  <a:lnTo>
                    <a:pt x="1844" y="114"/>
                  </a:lnTo>
                  <a:lnTo>
                    <a:pt x="1839" y="107"/>
                  </a:lnTo>
                  <a:lnTo>
                    <a:pt x="1839" y="101"/>
                  </a:lnTo>
                  <a:lnTo>
                    <a:pt x="1840" y="95"/>
                  </a:lnTo>
                  <a:lnTo>
                    <a:pt x="1842" y="94"/>
                  </a:lnTo>
                  <a:lnTo>
                    <a:pt x="1844" y="88"/>
                  </a:lnTo>
                  <a:lnTo>
                    <a:pt x="1840" y="84"/>
                  </a:lnTo>
                  <a:lnTo>
                    <a:pt x="1831" y="77"/>
                  </a:lnTo>
                  <a:lnTo>
                    <a:pt x="1831" y="77"/>
                  </a:lnTo>
                  <a:lnTo>
                    <a:pt x="1827" y="75"/>
                  </a:lnTo>
                  <a:lnTo>
                    <a:pt x="1825" y="71"/>
                  </a:lnTo>
                  <a:lnTo>
                    <a:pt x="1827" y="65"/>
                  </a:lnTo>
                  <a:lnTo>
                    <a:pt x="1829" y="62"/>
                  </a:lnTo>
                  <a:lnTo>
                    <a:pt x="1840" y="39"/>
                  </a:lnTo>
                  <a:lnTo>
                    <a:pt x="1842" y="34"/>
                  </a:lnTo>
                  <a:lnTo>
                    <a:pt x="1842" y="30"/>
                  </a:lnTo>
                  <a:lnTo>
                    <a:pt x="1840" y="26"/>
                  </a:lnTo>
                  <a:lnTo>
                    <a:pt x="1839" y="23"/>
                  </a:lnTo>
                  <a:lnTo>
                    <a:pt x="1833" y="21"/>
                  </a:lnTo>
                  <a:lnTo>
                    <a:pt x="1824" y="19"/>
                  </a:lnTo>
                  <a:lnTo>
                    <a:pt x="1812" y="19"/>
                  </a:lnTo>
                  <a:lnTo>
                    <a:pt x="1796" y="19"/>
                  </a:lnTo>
                  <a:lnTo>
                    <a:pt x="1796" y="19"/>
                  </a:lnTo>
                  <a:lnTo>
                    <a:pt x="1790" y="19"/>
                  </a:lnTo>
                  <a:lnTo>
                    <a:pt x="1781" y="13"/>
                  </a:lnTo>
                  <a:lnTo>
                    <a:pt x="1773" y="8"/>
                  </a:lnTo>
                  <a:lnTo>
                    <a:pt x="1764" y="4"/>
                  </a:lnTo>
                  <a:lnTo>
                    <a:pt x="1754" y="0"/>
                  </a:lnTo>
                  <a:lnTo>
                    <a:pt x="1751" y="2"/>
                  </a:lnTo>
                  <a:lnTo>
                    <a:pt x="1747" y="4"/>
                  </a:lnTo>
                  <a:lnTo>
                    <a:pt x="1743" y="6"/>
                  </a:lnTo>
                  <a:lnTo>
                    <a:pt x="1740" y="11"/>
                  </a:lnTo>
                  <a:lnTo>
                    <a:pt x="1738" y="19"/>
                  </a:lnTo>
                  <a:lnTo>
                    <a:pt x="1736" y="28"/>
                  </a:lnTo>
                  <a:lnTo>
                    <a:pt x="1736" y="28"/>
                  </a:lnTo>
                  <a:lnTo>
                    <a:pt x="1732" y="41"/>
                  </a:lnTo>
                  <a:lnTo>
                    <a:pt x="1726" y="52"/>
                  </a:lnTo>
                  <a:lnTo>
                    <a:pt x="1719" y="60"/>
                  </a:lnTo>
                  <a:lnTo>
                    <a:pt x="1711" y="67"/>
                  </a:lnTo>
                  <a:lnTo>
                    <a:pt x="1704" y="73"/>
                  </a:lnTo>
                  <a:lnTo>
                    <a:pt x="1695" y="77"/>
                  </a:lnTo>
                  <a:lnTo>
                    <a:pt x="1674" y="80"/>
                  </a:lnTo>
                  <a:lnTo>
                    <a:pt x="1654" y="82"/>
                  </a:lnTo>
                  <a:lnTo>
                    <a:pt x="1633" y="86"/>
                  </a:lnTo>
                  <a:lnTo>
                    <a:pt x="1624" y="88"/>
                  </a:lnTo>
                  <a:lnTo>
                    <a:pt x="1616" y="90"/>
                  </a:lnTo>
                  <a:lnTo>
                    <a:pt x="1609" y="95"/>
                  </a:lnTo>
                  <a:lnTo>
                    <a:pt x="1603" y="101"/>
                  </a:lnTo>
                  <a:lnTo>
                    <a:pt x="1603" y="101"/>
                  </a:lnTo>
                  <a:lnTo>
                    <a:pt x="1596" y="110"/>
                  </a:lnTo>
                  <a:lnTo>
                    <a:pt x="1592" y="123"/>
                  </a:lnTo>
                  <a:lnTo>
                    <a:pt x="1586" y="136"/>
                  </a:lnTo>
                  <a:lnTo>
                    <a:pt x="1584" y="151"/>
                  </a:lnTo>
                  <a:lnTo>
                    <a:pt x="1579" y="181"/>
                  </a:lnTo>
                  <a:lnTo>
                    <a:pt x="1575" y="209"/>
                  </a:lnTo>
                  <a:lnTo>
                    <a:pt x="1569" y="236"/>
                  </a:lnTo>
                  <a:lnTo>
                    <a:pt x="1566" y="245"/>
                  </a:lnTo>
                  <a:lnTo>
                    <a:pt x="1560" y="254"/>
                  </a:lnTo>
                  <a:lnTo>
                    <a:pt x="1553" y="260"/>
                  </a:lnTo>
                  <a:lnTo>
                    <a:pt x="1545" y="262"/>
                  </a:lnTo>
                  <a:lnTo>
                    <a:pt x="1534" y="262"/>
                  </a:lnTo>
                  <a:lnTo>
                    <a:pt x="1521" y="258"/>
                  </a:lnTo>
                  <a:lnTo>
                    <a:pt x="1521" y="258"/>
                  </a:lnTo>
                  <a:lnTo>
                    <a:pt x="1513" y="256"/>
                  </a:lnTo>
                  <a:lnTo>
                    <a:pt x="1506" y="258"/>
                  </a:lnTo>
                  <a:lnTo>
                    <a:pt x="1498" y="262"/>
                  </a:lnTo>
                  <a:lnTo>
                    <a:pt x="1493" y="265"/>
                  </a:lnTo>
                  <a:lnTo>
                    <a:pt x="1487" y="269"/>
                  </a:lnTo>
                  <a:lnTo>
                    <a:pt x="1482" y="269"/>
                  </a:lnTo>
                  <a:lnTo>
                    <a:pt x="1476" y="265"/>
                  </a:lnTo>
                  <a:lnTo>
                    <a:pt x="1470" y="258"/>
                  </a:lnTo>
                  <a:lnTo>
                    <a:pt x="1470" y="258"/>
                  </a:lnTo>
                  <a:lnTo>
                    <a:pt x="1467" y="252"/>
                  </a:lnTo>
                  <a:lnTo>
                    <a:pt x="1463" y="249"/>
                  </a:lnTo>
                  <a:lnTo>
                    <a:pt x="1459" y="245"/>
                  </a:lnTo>
                  <a:lnTo>
                    <a:pt x="1455" y="245"/>
                  </a:lnTo>
                  <a:lnTo>
                    <a:pt x="1446" y="243"/>
                  </a:lnTo>
                  <a:lnTo>
                    <a:pt x="1433" y="243"/>
                  </a:lnTo>
                  <a:lnTo>
                    <a:pt x="1418" y="239"/>
                  </a:lnTo>
                  <a:lnTo>
                    <a:pt x="1409" y="237"/>
                  </a:lnTo>
                  <a:lnTo>
                    <a:pt x="1399" y="232"/>
                  </a:lnTo>
                  <a:lnTo>
                    <a:pt x="1388" y="226"/>
                  </a:lnTo>
                  <a:lnTo>
                    <a:pt x="1375" y="217"/>
                  </a:lnTo>
                  <a:lnTo>
                    <a:pt x="1360" y="206"/>
                  </a:lnTo>
                  <a:lnTo>
                    <a:pt x="1345" y="193"/>
                  </a:lnTo>
                  <a:lnTo>
                    <a:pt x="1345" y="193"/>
                  </a:lnTo>
                  <a:lnTo>
                    <a:pt x="1336" y="185"/>
                  </a:lnTo>
                  <a:lnTo>
                    <a:pt x="1327" y="183"/>
                  </a:lnTo>
                  <a:lnTo>
                    <a:pt x="1319" y="185"/>
                  </a:lnTo>
                  <a:lnTo>
                    <a:pt x="1310" y="193"/>
                  </a:lnTo>
                  <a:lnTo>
                    <a:pt x="1300" y="202"/>
                  </a:lnTo>
                  <a:lnTo>
                    <a:pt x="1289" y="217"/>
                  </a:lnTo>
                  <a:lnTo>
                    <a:pt x="1257" y="256"/>
                  </a:lnTo>
                  <a:lnTo>
                    <a:pt x="1257" y="256"/>
                  </a:lnTo>
                  <a:lnTo>
                    <a:pt x="1214" y="312"/>
                  </a:lnTo>
                  <a:lnTo>
                    <a:pt x="1192" y="346"/>
                  </a:lnTo>
                  <a:lnTo>
                    <a:pt x="1184" y="359"/>
                  </a:lnTo>
                  <a:lnTo>
                    <a:pt x="1181" y="366"/>
                  </a:lnTo>
                  <a:lnTo>
                    <a:pt x="1181" y="366"/>
                  </a:lnTo>
                  <a:lnTo>
                    <a:pt x="1183" y="385"/>
                  </a:lnTo>
                  <a:lnTo>
                    <a:pt x="1186" y="398"/>
                  </a:lnTo>
                  <a:lnTo>
                    <a:pt x="1190" y="409"/>
                  </a:lnTo>
                  <a:lnTo>
                    <a:pt x="1196" y="419"/>
                  </a:lnTo>
                  <a:lnTo>
                    <a:pt x="1199" y="426"/>
                  </a:lnTo>
                  <a:lnTo>
                    <a:pt x="1199" y="432"/>
                  </a:lnTo>
                  <a:lnTo>
                    <a:pt x="1199" y="435"/>
                  </a:lnTo>
                  <a:lnTo>
                    <a:pt x="1192" y="437"/>
                  </a:lnTo>
                  <a:lnTo>
                    <a:pt x="1192" y="437"/>
                  </a:lnTo>
                  <a:lnTo>
                    <a:pt x="1186" y="439"/>
                  </a:lnTo>
                  <a:lnTo>
                    <a:pt x="1179" y="439"/>
                  </a:lnTo>
                  <a:lnTo>
                    <a:pt x="1173" y="437"/>
                  </a:lnTo>
                  <a:lnTo>
                    <a:pt x="1166" y="435"/>
                  </a:lnTo>
                  <a:lnTo>
                    <a:pt x="1155" y="428"/>
                  </a:lnTo>
                  <a:lnTo>
                    <a:pt x="1145" y="419"/>
                  </a:lnTo>
                  <a:lnTo>
                    <a:pt x="1130" y="402"/>
                  </a:lnTo>
                  <a:lnTo>
                    <a:pt x="1125" y="396"/>
                  </a:lnTo>
                  <a:lnTo>
                    <a:pt x="1121" y="392"/>
                  </a:lnTo>
                  <a:lnTo>
                    <a:pt x="1121" y="392"/>
                  </a:lnTo>
                  <a:lnTo>
                    <a:pt x="1102" y="396"/>
                  </a:lnTo>
                  <a:lnTo>
                    <a:pt x="1080" y="400"/>
                  </a:lnTo>
                  <a:lnTo>
                    <a:pt x="1065" y="402"/>
                  </a:lnTo>
                  <a:lnTo>
                    <a:pt x="1046" y="402"/>
                  </a:lnTo>
                  <a:lnTo>
                    <a:pt x="1026" y="400"/>
                  </a:lnTo>
                  <a:lnTo>
                    <a:pt x="1001" y="396"/>
                  </a:lnTo>
                  <a:lnTo>
                    <a:pt x="1001" y="396"/>
                  </a:lnTo>
                  <a:lnTo>
                    <a:pt x="985" y="394"/>
                  </a:lnTo>
                  <a:lnTo>
                    <a:pt x="956" y="391"/>
                  </a:lnTo>
                  <a:lnTo>
                    <a:pt x="930" y="391"/>
                  </a:lnTo>
                  <a:lnTo>
                    <a:pt x="921" y="392"/>
                  </a:lnTo>
                  <a:lnTo>
                    <a:pt x="919" y="394"/>
                  </a:lnTo>
                  <a:lnTo>
                    <a:pt x="917" y="394"/>
                  </a:lnTo>
                  <a:lnTo>
                    <a:pt x="917" y="394"/>
                  </a:lnTo>
                  <a:lnTo>
                    <a:pt x="917" y="402"/>
                  </a:lnTo>
                  <a:lnTo>
                    <a:pt x="919" y="406"/>
                  </a:lnTo>
                  <a:lnTo>
                    <a:pt x="921" y="411"/>
                  </a:lnTo>
                  <a:lnTo>
                    <a:pt x="923" y="413"/>
                  </a:lnTo>
                  <a:lnTo>
                    <a:pt x="930" y="420"/>
                  </a:lnTo>
                  <a:lnTo>
                    <a:pt x="938" y="426"/>
                  </a:lnTo>
                  <a:lnTo>
                    <a:pt x="945" y="434"/>
                  </a:lnTo>
                  <a:lnTo>
                    <a:pt x="949" y="437"/>
                  </a:lnTo>
                  <a:lnTo>
                    <a:pt x="951" y="445"/>
                  </a:lnTo>
                  <a:lnTo>
                    <a:pt x="951" y="450"/>
                  </a:lnTo>
                  <a:lnTo>
                    <a:pt x="949" y="460"/>
                  </a:lnTo>
                  <a:lnTo>
                    <a:pt x="947" y="469"/>
                  </a:lnTo>
                  <a:lnTo>
                    <a:pt x="943" y="480"/>
                  </a:lnTo>
                  <a:lnTo>
                    <a:pt x="943" y="480"/>
                  </a:lnTo>
                  <a:lnTo>
                    <a:pt x="940" y="492"/>
                  </a:lnTo>
                  <a:lnTo>
                    <a:pt x="940" y="505"/>
                  </a:lnTo>
                  <a:lnTo>
                    <a:pt x="942" y="531"/>
                  </a:lnTo>
                  <a:lnTo>
                    <a:pt x="942" y="542"/>
                  </a:lnTo>
                  <a:lnTo>
                    <a:pt x="942" y="555"/>
                  </a:lnTo>
                  <a:lnTo>
                    <a:pt x="942" y="566"/>
                  </a:lnTo>
                  <a:lnTo>
                    <a:pt x="936" y="577"/>
                  </a:lnTo>
                  <a:lnTo>
                    <a:pt x="936" y="577"/>
                  </a:lnTo>
                  <a:lnTo>
                    <a:pt x="936" y="581"/>
                  </a:lnTo>
                  <a:lnTo>
                    <a:pt x="936" y="587"/>
                  </a:lnTo>
                  <a:lnTo>
                    <a:pt x="936" y="600"/>
                  </a:lnTo>
                  <a:lnTo>
                    <a:pt x="942" y="630"/>
                  </a:lnTo>
                  <a:lnTo>
                    <a:pt x="943" y="645"/>
                  </a:lnTo>
                  <a:lnTo>
                    <a:pt x="942" y="650"/>
                  </a:lnTo>
                  <a:lnTo>
                    <a:pt x="940" y="656"/>
                  </a:lnTo>
                  <a:lnTo>
                    <a:pt x="936" y="660"/>
                  </a:lnTo>
                  <a:lnTo>
                    <a:pt x="930" y="663"/>
                  </a:lnTo>
                  <a:lnTo>
                    <a:pt x="923" y="663"/>
                  </a:lnTo>
                  <a:lnTo>
                    <a:pt x="914" y="663"/>
                  </a:lnTo>
                  <a:lnTo>
                    <a:pt x="914" y="663"/>
                  </a:lnTo>
                  <a:lnTo>
                    <a:pt x="906" y="662"/>
                  </a:lnTo>
                  <a:lnTo>
                    <a:pt x="899" y="663"/>
                  </a:lnTo>
                  <a:lnTo>
                    <a:pt x="895" y="667"/>
                  </a:lnTo>
                  <a:lnTo>
                    <a:pt x="891" y="671"/>
                  </a:lnTo>
                  <a:lnTo>
                    <a:pt x="891" y="676"/>
                  </a:lnTo>
                  <a:lnTo>
                    <a:pt x="891" y="680"/>
                  </a:lnTo>
                  <a:lnTo>
                    <a:pt x="893" y="686"/>
                  </a:lnTo>
                  <a:lnTo>
                    <a:pt x="897" y="690"/>
                  </a:lnTo>
                  <a:lnTo>
                    <a:pt x="897" y="690"/>
                  </a:lnTo>
                  <a:lnTo>
                    <a:pt x="899" y="693"/>
                  </a:lnTo>
                  <a:lnTo>
                    <a:pt x="895" y="695"/>
                  </a:lnTo>
                  <a:lnTo>
                    <a:pt x="878" y="699"/>
                  </a:lnTo>
                  <a:lnTo>
                    <a:pt x="869" y="703"/>
                  </a:lnTo>
                  <a:lnTo>
                    <a:pt x="859" y="710"/>
                  </a:lnTo>
                  <a:lnTo>
                    <a:pt x="856" y="716"/>
                  </a:lnTo>
                  <a:lnTo>
                    <a:pt x="852" y="723"/>
                  </a:lnTo>
                  <a:lnTo>
                    <a:pt x="850" y="731"/>
                  </a:lnTo>
                  <a:lnTo>
                    <a:pt x="850" y="740"/>
                  </a:lnTo>
                  <a:lnTo>
                    <a:pt x="850" y="740"/>
                  </a:lnTo>
                  <a:lnTo>
                    <a:pt x="848" y="757"/>
                  </a:lnTo>
                  <a:lnTo>
                    <a:pt x="844" y="770"/>
                  </a:lnTo>
                  <a:lnTo>
                    <a:pt x="839" y="777"/>
                  </a:lnTo>
                  <a:lnTo>
                    <a:pt x="831" y="783"/>
                  </a:lnTo>
                  <a:lnTo>
                    <a:pt x="822" y="785"/>
                  </a:lnTo>
                  <a:lnTo>
                    <a:pt x="811" y="789"/>
                  </a:lnTo>
                  <a:lnTo>
                    <a:pt x="798" y="792"/>
                  </a:lnTo>
                  <a:lnTo>
                    <a:pt x="783" y="798"/>
                  </a:lnTo>
                  <a:lnTo>
                    <a:pt x="783" y="798"/>
                  </a:lnTo>
                  <a:lnTo>
                    <a:pt x="760" y="802"/>
                  </a:lnTo>
                  <a:lnTo>
                    <a:pt x="723" y="809"/>
                  </a:lnTo>
                  <a:lnTo>
                    <a:pt x="680" y="818"/>
                  </a:lnTo>
                  <a:lnTo>
                    <a:pt x="646" y="826"/>
                  </a:lnTo>
                  <a:lnTo>
                    <a:pt x="646" y="826"/>
                  </a:lnTo>
                  <a:lnTo>
                    <a:pt x="631" y="828"/>
                  </a:lnTo>
                  <a:lnTo>
                    <a:pt x="620" y="828"/>
                  </a:lnTo>
                  <a:lnTo>
                    <a:pt x="611" y="826"/>
                  </a:lnTo>
                  <a:lnTo>
                    <a:pt x="605" y="822"/>
                  </a:lnTo>
                  <a:lnTo>
                    <a:pt x="601" y="818"/>
                  </a:lnTo>
                  <a:lnTo>
                    <a:pt x="598" y="817"/>
                  </a:lnTo>
                  <a:lnTo>
                    <a:pt x="596" y="818"/>
                  </a:lnTo>
                  <a:lnTo>
                    <a:pt x="592" y="826"/>
                  </a:lnTo>
                  <a:lnTo>
                    <a:pt x="592" y="826"/>
                  </a:lnTo>
                  <a:lnTo>
                    <a:pt x="588" y="835"/>
                  </a:lnTo>
                  <a:lnTo>
                    <a:pt x="583" y="839"/>
                  </a:lnTo>
                  <a:lnTo>
                    <a:pt x="577" y="841"/>
                  </a:lnTo>
                  <a:lnTo>
                    <a:pt x="572" y="841"/>
                  </a:lnTo>
                  <a:lnTo>
                    <a:pt x="558" y="841"/>
                  </a:lnTo>
                  <a:lnTo>
                    <a:pt x="553" y="841"/>
                  </a:lnTo>
                  <a:lnTo>
                    <a:pt x="547" y="845"/>
                  </a:lnTo>
                  <a:lnTo>
                    <a:pt x="547" y="845"/>
                  </a:lnTo>
                  <a:lnTo>
                    <a:pt x="540" y="850"/>
                  </a:lnTo>
                  <a:lnTo>
                    <a:pt x="532" y="854"/>
                  </a:lnTo>
                  <a:lnTo>
                    <a:pt x="525" y="854"/>
                  </a:lnTo>
                  <a:lnTo>
                    <a:pt x="517" y="852"/>
                  </a:lnTo>
                  <a:lnTo>
                    <a:pt x="502" y="845"/>
                  </a:lnTo>
                  <a:lnTo>
                    <a:pt x="486" y="835"/>
                  </a:lnTo>
                  <a:lnTo>
                    <a:pt x="469" y="828"/>
                  </a:lnTo>
                  <a:lnTo>
                    <a:pt x="461" y="824"/>
                  </a:lnTo>
                  <a:lnTo>
                    <a:pt x="452" y="824"/>
                  </a:lnTo>
                  <a:lnTo>
                    <a:pt x="443" y="824"/>
                  </a:lnTo>
                  <a:lnTo>
                    <a:pt x="435" y="828"/>
                  </a:lnTo>
                  <a:lnTo>
                    <a:pt x="426" y="835"/>
                  </a:lnTo>
                  <a:lnTo>
                    <a:pt x="416" y="845"/>
                  </a:lnTo>
                  <a:lnTo>
                    <a:pt x="416" y="845"/>
                  </a:lnTo>
                  <a:lnTo>
                    <a:pt x="394" y="871"/>
                  </a:lnTo>
                  <a:lnTo>
                    <a:pt x="377" y="886"/>
                  </a:lnTo>
                  <a:lnTo>
                    <a:pt x="372" y="889"/>
                  </a:lnTo>
                  <a:lnTo>
                    <a:pt x="366" y="891"/>
                  </a:lnTo>
                  <a:lnTo>
                    <a:pt x="360" y="891"/>
                  </a:lnTo>
                  <a:lnTo>
                    <a:pt x="357" y="891"/>
                  </a:lnTo>
                  <a:lnTo>
                    <a:pt x="349" y="888"/>
                  </a:lnTo>
                  <a:lnTo>
                    <a:pt x="340" y="884"/>
                  </a:lnTo>
                  <a:lnTo>
                    <a:pt x="334" y="882"/>
                  </a:lnTo>
                  <a:lnTo>
                    <a:pt x="329" y="880"/>
                  </a:lnTo>
                  <a:lnTo>
                    <a:pt x="321" y="882"/>
                  </a:lnTo>
                  <a:lnTo>
                    <a:pt x="314" y="884"/>
                  </a:lnTo>
                  <a:lnTo>
                    <a:pt x="314" y="884"/>
                  </a:lnTo>
                  <a:lnTo>
                    <a:pt x="306" y="886"/>
                  </a:lnTo>
                  <a:lnTo>
                    <a:pt x="301" y="884"/>
                  </a:lnTo>
                  <a:lnTo>
                    <a:pt x="297" y="878"/>
                  </a:lnTo>
                  <a:lnTo>
                    <a:pt x="295" y="873"/>
                  </a:lnTo>
                  <a:lnTo>
                    <a:pt x="295" y="865"/>
                  </a:lnTo>
                  <a:lnTo>
                    <a:pt x="295" y="858"/>
                  </a:lnTo>
                  <a:lnTo>
                    <a:pt x="299" y="847"/>
                  </a:lnTo>
                  <a:lnTo>
                    <a:pt x="299" y="847"/>
                  </a:lnTo>
                  <a:lnTo>
                    <a:pt x="302" y="839"/>
                  </a:lnTo>
                  <a:lnTo>
                    <a:pt x="302" y="835"/>
                  </a:lnTo>
                  <a:lnTo>
                    <a:pt x="302" y="832"/>
                  </a:lnTo>
                  <a:lnTo>
                    <a:pt x="301" y="832"/>
                  </a:lnTo>
                  <a:lnTo>
                    <a:pt x="291" y="832"/>
                  </a:lnTo>
                  <a:lnTo>
                    <a:pt x="280" y="833"/>
                  </a:lnTo>
                  <a:lnTo>
                    <a:pt x="265" y="837"/>
                  </a:lnTo>
                  <a:lnTo>
                    <a:pt x="250" y="839"/>
                  </a:lnTo>
                  <a:lnTo>
                    <a:pt x="243" y="839"/>
                  </a:lnTo>
                  <a:lnTo>
                    <a:pt x="237" y="837"/>
                  </a:lnTo>
                  <a:lnTo>
                    <a:pt x="231" y="833"/>
                  </a:lnTo>
                  <a:lnTo>
                    <a:pt x="226" y="828"/>
                  </a:lnTo>
                  <a:lnTo>
                    <a:pt x="226" y="828"/>
                  </a:lnTo>
                  <a:lnTo>
                    <a:pt x="220" y="820"/>
                  </a:lnTo>
                  <a:lnTo>
                    <a:pt x="216" y="818"/>
                  </a:lnTo>
                  <a:lnTo>
                    <a:pt x="211" y="820"/>
                  </a:lnTo>
                  <a:lnTo>
                    <a:pt x="207" y="826"/>
                  </a:lnTo>
                  <a:lnTo>
                    <a:pt x="200" y="832"/>
                  </a:lnTo>
                  <a:lnTo>
                    <a:pt x="188" y="839"/>
                  </a:lnTo>
                  <a:lnTo>
                    <a:pt x="173" y="847"/>
                  </a:lnTo>
                  <a:lnTo>
                    <a:pt x="153" y="854"/>
                  </a:lnTo>
                  <a:lnTo>
                    <a:pt x="153" y="854"/>
                  </a:lnTo>
                  <a:lnTo>
                    <a:pt x="147" y="854"/>
                  </a:lnTo>
                  <a:lnTo>
                    <a:pt x="140" y="850"/>
                  </a:lnTo>
                  <a:lnTo>
                    <a:pt x="130" y="847"/>
                  </a:lnTo>
                  <a:lnTo>
                    <a:pt x="119" y="845"/>
                  </a:lnTo>
                  <a:lnTo>
                    <a:pt x="114" y="845"/>
                  </a:lnTo>
                  <a:lnTo>
                    <a:pt x="106" y="847"/>
                  </a:lnTo>
                  <a:lnTo>
                    <a:pt x="101" y="848"/>
                  </a:lnTo>
                  <a:lnTo>
                    <a:pt x="93" y="854"/>
                  </a:lnTo>
                  <a:lnTo>
                    <a:pt x="87" y="860"/>
                  </a:lnTo>
                  <a:lnTo>
                    <a:pt x="80" y="869"/>
                  </a:lnTo>
                  <a:lnTo>
                    <a:pt x="73" y="880"/>
                  </a:lnTo>
                  <a:lnTo>
                    <a:pt x="67" y="895"/>
                  </a:lnTo>
                  <a:lnTo>
                    <a:pt x="67" y="895"/>
                  </a:lnTo>
                  <a:lnTo>
                    <a:pt x="63" y="901"/>
                  </a:lnTo>
                  <a:lnTo>
                    <a:pt x="59" y="904"/>
                  </a:lnTo>
                  <a:lnTo>
                    <a:pt x="56" y="908"/>
                  </a:lnTo>
                  <a:lnTo>
                    <a:pt x="52" y="910"/>
                  </a:lnTo>
                  <a:lnTo>
                    <a:pt x="43" y="910"/>
                  </a:lnTo>
                  <a:lnTo>
                    <a:pt x="33" y="910"/>
                  </a:lnTo>
                  <a:lnTo>
                    <a:pt x="26" y="912"/>
                  </a:lnTo>
                  <a:lnTo>
                    <a:pt x="24" y="914"/>
                  </a:lnTo>
                  <a:lnTo>
                    <a:pt x="20" y="916"/>
                  </a:lnTo>
                  <a:lnTo>
                    <a:pt x="18" y="919"/>
                  </a:lnTo>
                  <a:lnTo>
                    <a:pt x="16" y="923"/>
                  </a:lnTo>
                  <a:lnTo>
                    <a:pt x="16" y="940"/>
                  </a:lnTo>
                  <a:lnTo>
                    <a:pt x="16" y="940"/>
                  </a:lnTo>
                  <a:lnTo>
                    <a:pt x="18" y="947"/>
                  </a:lnTo>
                  <a:lnTo>
                    <a:pt x="20" y="955"/>
                  </a:lnTo>
                  <a:lnTo>
                    <a:pt x="24" y="966"/>
                  </a:lnTo>
                  <a:lnTo>
                    <a:pt x="24" y="970"/>
                  </a:lnTo>
                  <a:lnTo>
                    <a:pt x="22" y="975"/>
                  </a:lnTo>
                  <a:lnTo>
                    <a:pt x="18" y="981"/>
                  </a:lnTo>
                  <a:lnTo>
                    <a:pt x="13" y="989"/>
                  </a:lnTo>
                  <a:lnTo>
                    <a:pt x="13" y="989"/>
                  </a:lnTo>
                  <a:lnTo>
                    <a:pt x="5" y="996"/>
                  </a:lnTo>
                  <a:lnTo>
                    <a:pt x="3" y="1005"/>
                  </a:lnTo>
                  <a:lnTo>
                    <a:pt x="3" y="1017"/>
                  </a:lnTo>
                  <a:lnTo>
                    <a:pt x="7" y="1026"/>
                  </a:lnTo>
                  <a:lnTo>
                    <a:pt x="13" y="1033"/>
                  </a:lnTo>
                  <a:lnTo>
                    <a:pt x="20" y="1039"/>
                  </a:lnTo>
                  <a:lnTo>
                    <a:pt x="30" y="1043"/>
                  </a:lnTo>
                  <a:lnTo>
                    <a:pt x="33" y="1043"/>
                  </a:lnTo>
                  <a:lnTo>
                    <a:pt x="39" y="1041"/>
                  </a:lnTo>
                  <a:lnTo>
                    <a:pt x="39" y="1041"/>
                  </a:lnTo>
                  <a:lnTo>
                    <a:pt x="48" y="1041"/>
                  </a:lnTo>
                  <a:lnTo>
                    <a:pt x="59" y="1043"/>
                  </a:lnTo>
                  <a:lnTo>
                    <a:pt x="73" y="1046"/>
                  </a:lnTo>
                  <a:lnTo>
                    <a:pt x="84" y="1054"/>
                  </a:lnTo>
                  <a:lnTo>
                    <a:pt x="95" y="1063"/>
                  </a:lnTo>
                  <a:lnTo>
                    <a:pt x="104" y="1073"/>
                  </a:lnTo>
                  <a:lnTo>
                    <a:pt x="106" y="1076"/>
                  </a:lnTo>
                  <a:lnTo>
                    <a:pt x="108" y="1082"/>
                  </a:lnTo>
                  <a:lnTo>
                    <a:pt x="108" y="1088"/>
                  </a:lnTo>
                  <a:lnTo>
                    <a:pt x="106" y="1091"/>
                  </a:lnTo>
                  <a:lnTo>
                    <a:pt x="106" y="1091"/>
                  </a:lnTo>
                  <a:lnTo>
                    <a:pt x="99" y="1114"/>
                  </a:lnTo>
                  <a:lnTo>
                    <a:pt x="93" y="1132"/>
                  </a:lnTo>
                  <a:lnTo>
                    <a:pt x="91" y="1147"/>
                  </a:lnTo>
                  <a:lnTo>
                    <a:pt x="91" y="1159"/>
                  </a:lnTo>
                  <a:lnTo>
                    <a:pt x="91" y="1166"/>
                  </a:lnTo>
                  <a:lnTo>
                    <a:pt x="89" y="1175"/>
                  </a:lnTo>
                  <a:lnTo>
                    <a:pt x="87" y="1183"/>
                  </a:lnTo>
                  <a:lnTo>
                    <a:pt x="82" y="1192"/>
                  </a:lnTo>
                  <a:lnTo>
                    <a:pt x="82" y="1192"/>
                  </a:lnTo>
                  <a:lnTo>
                    <a:pt x="78" y="1198"/>
                  </a:lnTo>
                  <a:lnTo>
                    <a:pt x="76" y="1202"/>
                  </a:lnTo>
                  <a:lnTo>
                    <a:pt x="78" y="1213"/>
                  </a:lnTo>
                  <a:lnTo>
                    <a:pt x="82" y="1224"/>
                  </a:lnTo>
                  <a:lnTo>
                    <a:pt x="86" y="1235"/>
                  </a:lnTo>
                  <a:lnTo>
                    <a:pt x="87" y="1245"/>
                  </a:lnTo>
                  <a:lnTo>
                    <a:pt x="87" y="1248"/>
                  </a:lnTo>
                  <a:lnTo>
                    <a:pt x="84" y="1250"/>
                  </a:lnTo>
                  <a:lnTo>
                    <a:pt x="80" y="1254"/>
                  </a:lnTo>
                  <a:lnTo>
                    <a:pt x="74" y="1254"/>
                  </a:lnTo>
                  <a:lnTo>
                    <a:pt x="54" y="1254"/>
                  </a:lnTo>
                  <a:lnTo>
                    <a:pt x="54" y="1254"/>
                  </a:lnTo>
                  <a:lnTo>
                    <a:pt x="48" y="1252"/>
                  </a:lnTo>
                  <a:lnTo>
                    <a:pt x="39" y="1248"/>
                  </a:lnTo>
                  <a:lnTo>
                    <a:pt x="18" y="1239"/>
                  </a:lnTo>
                  <a:lnTo>
                    <a:pt x="9" y="1237"/>
                  </a:lnTo>
                  <a:lnTo>
                    <a:pt x="5" y="1237"/>
                  </a:lnTo>
                  <a:lnTo>
                    <a:pt x="3" y="1239"/>
                  </a:lnTo>
                  <a:lnTo>
                    <a:pt x="0" y="1241"/>
                  </a:lnTo>
                  <a:lnTo>
                    <a:pt x="0" y="1246"/>
                  </a:lnTo>
                  <a:lnTo>
                    <a:pt x="0" y="1252"/>
                  </a:lnTo>
                  <a:lnTo>
                    <a:pt x="2" y="1259"/>
                  </a:lnTo>
                  <a:lnTo>
                    <a:pt x="2" y="1259"/>
                  </a:lnTo>
                  <a:lnTo>
                    <a:pt x="3" y="1263"/>
                  </a:lnTo>
                  <a:lnTo>
                    <a:pt x="7" y="1265"/>
                  </a:lnTo>
                  <a:lnTo>
                    <a:pt x="16" y="1267"/>
                  </a:lnTo>
                  <a:lnTo>
                    <a:pt x="26" y="1269"/>
                  </a:lnTo>
                  <a:lnTo>
                    <a:pt x="31" y="1271"/>
                  </a:lnTo>
                  <a:lnTo>
                    <a:pt x="35" y="1274"/>
                  </a:lnTo>
                  <a:lnTo>
                    <a:pt x="35" y="1274"/>
                  </a:lnTo>
                  <a:lnTo>
                    <a:pt x="39" y="1282"/>
                  </a:lnTo>
                  <a:lnTo>
                    <a:pt x="46" y="1287"/>
                  </a:lnTo>
                  <a:lnTo>
                    <a:pt x="61" y="1297"/>
                  </a:lnTo>
                  <a:lnTo>
                    <a:pt x="71" y="1302"/>
                  </a:lnTo>
                  <a:lnTo>
                    <a:pt x="78" y="1310"/>
                  </a:lnTo>
                  <a:lnTo>
                    <a:pt x="87" y="1321"/>
                  </a:lnTo>
                  <a:lnTo>
                    <a:pt x="97" y="1336"/>
                  </a:lnTo>
                  <a:lnTo>
                    <a:pt x="97" y="1336"/>
                  </a:lnTo>
                  <a:lnTo>
                    <a:pt x="102" y="1342"/>
                  </a:lnTo>
                  <a:lnTo>
                    <a:pt x="108" y="1345"/>
                  </a:lnTo>
                  <a:lnTo>
                    <a:pt x="119" y="1353"/>
                  </a:lnTo>
                  <a:lnTo>
                    <a:pt x="125" y="1357"/>
                  </a:lnTo>
                  <a:lnTo>
                    <a:pt x="130" y="1366"/>
                  </a:lnTo>
                  <a:lnTo>
                    <a:pt x="134" y="1377"/>
                  </a:lnTo>
                  <a:lnTo>
                    <a:pt x="136" y="1392"/>
                  </a:lnTo>
                  <a:lnTo>
                    <a:pt x="136" y="1392"/>
                  </a:lnTo>
                  <a:lnTo>
                    <a:pt x="134" y="1403"/>
                  </a:lnTo>
                  <a:lnTo>
                    <a:pt x="130" y="1413"/>
                  </a:lnTo>
                  <a:lnTo>
                    <a:pt x="119" y="1430"/>
                  </a:lnTo>
                  <a:lnTo>
                    <a:pt x="116" y="1437"/>
                  </a:lnTo>
                  <a:lnTo>
                    <a:pt x="114" y="1446"/>
                  </a:lnTo>
                  <a:lnTo>
                    <a:pt x="114" y="1456"/>
                  </a:lnTo>
                  <a:lnTo>
                    <a:pt x="119" y="1465"/>
                  </a:lnTo>
                  <a:lnTo>
                    <a:pt x="119" y="1465"/>
                  </a:lnTo>
                  <a:lnTo>
                    <a:pt x="125" y="1476"/>
                  </a:lnTo>
                  <a:lnTo>
                    <a:pt x="125" y="1482"/>
                  </a:lnTo>
                  <a:lnTo>
                    <a:pt x="125" y="1487"/>
                  </a:lnTo>
                  <a:lnTo>
                    <a:pt x="123" y="1489"/>
                  </a:lnTo>
                  <a:lnTo>
                    <a:pt x="123" y="1491"/>
                  </a:lnTo>
                  <a:lnTo>
                    <a:pt x="129" y="1493"/>
                  </a:lnTo>
                  <a:lnTo>
                    <a:pt x="164" y="1497"/>
                  </a:lnTo>
                  <a:lnTo>
                    <a:pt x="164" y="1497"/>
                  </a:lnTo>
                  <a:lnTo>
                    <a:pt x="170" y="1499"/>
                  </a:lnTo>
                  <a:lnTo>
                    <a:pt x="172" y="1501"/>
                  </a:lnTo>
                  <a:lnTo>
                    <a:pt x="166" y="1506"/>
                  </a:lnTo>
                  <a:lnTo>
                    <a:pt x="164" y="1512"/>
                  </a:lnTo>
                  <a:lnTo>
                    <a:pt x="166" y="1519"/>
                  </a:lnTo>
                  <a:lnTo>
                    <a:pt x="173" y="1530"/>
                  </a:lnTo>
                  <a:lnTo>
                    <a:pt x="188" y="1543"/>
                  </a:lnTo>
                  <a:lnTo>
                    <a:pt x="188" y="1543"/>
                  </a:lnTo>
                  <a:lnTo>
                    <a:pt x="213" y="1562"/>
                  </a:lnTo>
                  <a:lnTo>
                    <a:pt x="237" y="1581"/>
                  </a:lnTo>
                  <a:lnTo>
                    <a:pt x="250" y="1588"/>
                  </a:lnTo>
                  <a:lnTo>
                    <a:pt x="263" y="1594"/>
                  </a:lnTo>
                  <a:lnTo>
                    <a:pt x="278" y="1600"/>
                  </a:lnTo>
                  <a:lnTo>
                    <a:pt x="295" y="1603"/>
                  </a:lnTo>
                  <a:lnTo>
                    <a:pt x="295" y="1603"/>
                  </a:lnTo>
                  <a:lnTo>
                    <a:pt x="306" y="1607"/>
                  </a:lnTo>
                  <a:lnTo>
                    <a:pt x="308" y="1609"/>
                  </a:lnTo>
                  <a:lnTo>
                    <a:pt x="310" y="1611"/>
                  </a:lnTo>
                  <a:lnTo>
                    <a:pt x="308" y="1616"/>
                  </a:lnTo>
                  <a:lnTo>
                    <a:pt x="304" y="1620"/>
                  </a:lnTo>
                  <a:lnTo>
                    <a:pt x="297" y="1626"/>
                  </a:lnTo>
                  <a:lnTo>
                    <a:pt x="291" y="1633"/>
                  </a:lnTo>
                  <a:lnTo>
                    <a:pt x="289" y="1639"/>
                  </a:lnTo>
                  <a:lnTo>
                    <a:pt x="289" y="1643"/>
                  </a:lnTo>
                  <a:lnTo>
                    <a:pt x="291" y="1644"/>
                  </a:lnTo>
                  <a:lnTo>
                    <a:pt x="291" y="1644"/>
                  </a:lnTo>
                  <a:lnTo>
                    <a:pt x="297" y="1652"/>
                  </a:lnTo>
                  <a:lnTo>
                    <a:pt x="299" y="1659"/>
                  </a:lnTo>
                  <a:lnTo>
                    <a:pt x="301" y="1667"/>
                  </a:lnTo>
                  <a:lnTo>
                    <a:pt x="301" y="1674"/>
                  </a:lnTo>
                  <a:lnTo>
                    <a:pt x="299" y="1687"/>
                  </a:lnTo>
                  <a:lnTo>
                    <a:pt x="295" y="1700"/>
                  </a:lnTo>
                  <a:lnTo>
                    <a:pt x="293" y="1712"/>
                  </a:lnTo>
                  <a:lnTo>
                    <a:pt x="293" y="1717"/>
                  </a:lnTo>
                  <a:lnTo>
                    <a:pt x="293" y="1723"/>
                  </a:lnTo>
                  <a:lnTo>
                    <a:pt x="295" y="1728"/>
                  </a:lnTo>
                  <a:lnTo>
                    <a:pt x="299" y="1732"/>
                  </a:lnTo>
                  <a:lnTo>
                    <a:pt x="304" y="1736"/>
                  </a:lnTo>
                  <a:lnTo>
                    <a:pt x="312" y="1740"/>
                  </a:lnTo>
                  <a:lnTo>
                    <a:pt x="312" y="1740"/>
                  </a:lnTo>
                  <a:lnTo>
                    <a:pt x="323" y="1749"/>
                  </a:lnTo>
                  <a:lnTo>
                    <a:pt x="336" y="1762"/>
                  </a:lnTo>
                  <a:lnTo>
                    <a:pt x="342" y="1771"/>
                  </a:lnTo>
                  <a:lnTo>
                    <a:pt x="345" y="1781"/>
                  </a:lnTo>
                  <a:lnTo>
                    <a:pt x="347" y="1790"/>
                  </a:lnTo>
                  <a:lnTo>
                    <a:pt x="347" y="1798"/>
                  </a:lnTo>
                  <a:lnTo>
                    <a:pt x="347" y="1798"/>
                  </a:lnTo>
                  <a:lnTo>
                    <a:pt x="441" y="1801"/>
                  </a:lnTo>
                  <a:lnTo>
                    <a:pt x="459" y="1801"/>
                  </a:lnTo>
                  <a:lnTo>
                    <a:pt x="465" y="1801"/>
                  </a:lnTo>
                  <a:lnTo>
                    <a:pt x="469" y="1799"/>
                  </a:lnTo>
                  <a:lnTo>
                    <a:pt x="471" y="1798"/>
                  </a:lnTo>
                  <a:lnTo>
                    <a:pt x="471" y="1794"/>
                  </a:lnTo>
                  <a:lnTo>
                    <a:pt x="472" y="1785"/>
                  </a:lnTo>
                  <a:lnTo>
                    <a:pt x="476" y="1777"/>
                  </a:lnTo>
                  <a:lnTo>
                    <a:pt x="480" y="1770"/>
                  </a:lnTo>
                  <a:lnTo>
                    <a:pt x="486" y="1760"/>
                  </a:lnTo>
                  <a:lnTo>
                    <a:pt x="495" y="1749"/>
                  </a:lnTo>
                  <a:lnTo>
                    <a:pt x="495" y="1749"/>
                  </a:lnTo>
                  <a:lnTo>
                    <a:pt x="500" y="1743"/>
                  </a:lnTo>
                  <a:lnTo>
                    <a:pt x="508" y="1740"/>
                  </a:lnTo>
                  <a:lnTo>
                    <a:pt x="521" y="1730"/>
                  </a:lnTo>
                  <a:lnTo>
                    <a:pt x="534" y="1723"/>
                  </a:lnTo>
                  <a:lnTo>
                    <a:pt x="540" y="1717"/>
                  </a:lnTo>
                  <a:lnTo>
                    <a:pt x="547" y="1712"/>
                  </a:lnTo>
                  <a:lnTo>
                    <a:pt x="547" y="1712"/>
                  </a:lnTo>
                  <a:lnTo>
                    <a:pt x="551" y="1706"/>
                  </a:lnTo>
                  <a:lnTo>
                    <a:pt x="555" y="1704"/>
                  </a:lnTo>
                  <a:lnTo>
                    <a:pt x="558" y="1702"/>
                  </a:lnTo>
                  <a:lnTo>
                    <a:pt x="562" y="1702"/>
                  </a:lnTo>
                  <a:lnTo>
                    <a:pt x="572" y="1706"/>
                  </a:lnTo>
                  <a:lnTo>
                    <a:pt x="583" y="1712"/>
                  </a:lnTo>
                  <a:lnTo>
                    <a:pt x="605" y="1725"/>
                  </a:lnTo>
                  <a:lnTo>
                    <a:pt x="616" y="1730"/>
                  </a:lnTo>
                  <a:lnTo>
                    <a:pt x="629" y="1734"/>
                  </a:lnTo>
                  <a:lnTo>
                    <a:pt x="629" y="1734"/>
                  </a:lnTo>
                  <a:lnTo>
                    <a:pt x="643" y="1738"/>
                  </a:lnTo>
                  <a:lnTo>
                    <a:pt x="654" y="1742"/>
                  </a:lnTo>
                  <a:lnTo>
                    <a:pt x="671" y="1749"/>
                  </a:lnTo>
                  <a:lnTo>
                    <a:pt x="684" y="1756"/>
                  </a:lnTo>
                  <a:lnTo>
                    <a:pt x="693" y="1764"/>
                  </a:lnTo>
                  <a:lnTo>
                    <a:pt x="699" y="1766"/>
                  </a:lnTo>
                  <a:lnTo>
                    <a:pt x="704" y="1768"/>
                  </a:lnTo>
                  <a:lnTo>
                    <a:pt x="712" y="1768"/>
                  </a:lnTo>
                  <a:lnTo>
                    <a:pt x="721" y="1766"/>
                  </a:lnTo>
                  <a:lnTo>
                    <a:pt x="743" y="1760"/>
                  </a:lnTo>
                  <a:lnTo>
                    <a:pt x="775" y="1745"/>
                  </a:lnTo>
                  <a:lnTo>
                    <a:pt x="775" y="1745"/>
                  </a:lnTo>
                  <a:lnTo>
                    <a:pt x="786" y="1742"/>
                  </a:lnTo>
                  <a:lnTo>
                    <a:pt x="798" y="1740"/>
                  </a:lnTo>
                  <a:lnTo>
                    <a:pt x="811" y="1740"/>
                  </a:lnTo>
                  <a:lnTo>
                    <a:pt x="822" y="1742"/>
                  </a:lnTo>
                  <a:lnTo>
                    <a:pt x="833" y="1745"/>
                  </a:lnTo>
                  <a:lnTo>
                    <a:pt x="842" y="1751"/>
                  </a:lnTo>
                  <a:lnTo>
                    <a:pt x="850" y="1760"/>
                  </a:lnTo>
                  <a:lnTo>
                    <a:pt x="852" y="1766"/>
                  </a:lnTo>
                  <a:lnTo>
                    <a:pt x="854" y="1771"/>
                  </a:lnTo>
                  <a:lnTo>
                    <a:pt x="854" y="1771"/>
                  </a:lnTo>
                  <a:lnTo>
                    <a:pt x="856" y="1781"/>
                  </a:lnTo>
                  <a:lnTo>
                    <a:pt x="861" y="1788"/>
                  </a:lnTo>
                  <a:lnTo>
                    <a:pt x="867" y="1794"/>
                  </a:lnTo>
                  <a:lnTo>
                    <a:pt x="876" y="1801"/>
                  </a:lnTo>
                  <a:lnTo>
                    <a:pt x="897" y="1813"/>
                  </a:lnTo>
                  <a:lnTo>
                    <a:pt x="921" y="1820"/>
                  </a:lnTo>
                  <a:lnTo>
                    <a:pt x="947" y="1826"/>
                  </a:lnTo>
                  <a:lnTo>
                    <a:pt x="971" y="1829"/>
                  </a:lnTo>
                  <a:lnTo>
                    <a:pt x="990" y="1829"/>
                  </a:lnTo>
                  <a:lnTo>
                    <a:pt x="1003" y="1827"/>
                  </a:lnTo>
                  <a:lnTo>
                    <a:pt x="1003" y="1827"/>
                  </a:lnTo>
                  <a:lnTo>
                    <a:pt x="1022" y="1822"/>
                  </a:lnTo>
                  <a:lnTo>
                    <a:pt x="1041" y="1816"/>
                  </a:lnTo>
                  <a:lnTo>
                    <a:pt x="1059" y="1813"/>
                  </a:lnTo>
                  <a:lnTo>
                    <a:pt x="1076" y="1811"/>
                  </a:lnTo>
                  <a:lnTo>
                    <a:pt x="1093" y="1811"/>
                  </a:lnTo>
                  <a:lnTo>
                    <a:pt x="1108" y="1813"/>
                  </a:lnTo>
                  <a:lnTo>
                    <a:pt x="1121" y="1814"/>
                  </a:lnTo>
                  <a:lnTo>
                    <a:pt x="1134" y="1818"/>
                  </a:lnTo>
                  <a:lnTo>
                    <a:pt x="1134" y="1818"/>
                  </a:lnTo>
                  <a:lnTo>
                    <a:pt x="1149" y="1822"/>
                  </a:lnTo>
                  <a:lnTo>
                    <a:pt x="1164" y="1826"/>
                  </a:lnTo>
                  <a:lnTo>
                    <a:pt x="1177" y="1827"/>
                  </a:lnTo>
                  <a:lnTo>
                    <a:pt x="1190" y="1827"/>
                  </a:lnTo>
                  <a:lnTo>
                    <a:pt x="1203" y="1824"/>
                  </a:lnTo>
                  <a:lnTo>
                    <a:pt x="1213" y="1818"/>
                  </a:lnTo>
                  <a:lnTo>
                    <a:pt x="1222" y="1811"/>
                  </a:lnTo>
                  <a:lnTo>
                    <a:pt x="1229" y="1801"/>
                  </a:lnTo>
                  <a:lnTo>
                    <a:pt x="1229" y="1801"/>
                  </a:lnTo>
                  <a:lnTo>
                    <a:pt x="1233" y="1796"/>
                  </a:lnTo>
                  <a:lnTo>
                    <a:pt x="1237" y="1792"/>
                  </a:lnTo>
                  <a:lnTo>
                    <a:pt x="1244" y="1788"/>
                  </a:lnTo>
                  <a:lnTo>
                    <a:pt x="1252" y="1786"/>
                  </a:lnTo>
                  <a:lnTo>
                    <a:pt x="1270" y="1785"/>
                  </a:lnTo>
                  <a:lnTo>
                    <a:pt x="1291" y="1785"/>
                  </a:lnTo>
                  <a:lnTo>
                    <a:pt x="1343" y="1786"/>
                  </a:lnTo>
                  <a:lnTo>
                    <a:pt x="1399" y="1790"/>
                  </a:lnTo>
                  <a:lnTo>
                    <a:pt x="1399" y="1790"/>
                  </a:lnTo>
                  <a:lnTo>
                    <a:pt x="1444" y="1792"/>
                  </a:lnTo>
                  <a:lnTo>
                    <a:pt x="1476" y="1796"/>
                  </a:lnTo>
                  <a:lnTo>
                    <a:pt x="1495" y="1801"/>
                  </a:lnTo>
                  <a:lnTo>
                    <a:pt x="1508" y="1807"/>
                  </a:lnTo>
                  <a:lnTo>
                    <a:pt x="1513" y="1813"/>
                  </a:lnTo>
                  <a:lnTo>
                    <a:pt x="1521" y="1818"/>
                  </a:lnTo>
                  <a:lnTo>
                    <a:pt x="1528" y="1824"/>
                  </a:lnTo>
                  <a:lnTo>
                    <a:pt x="1541" y="1829"/>
                  </a:lnTo>
                  <a:lnTo>
                    <a:pt x="1541" y="1829"/>
                  </a:lnTo>
                  <a:lnTo>
                    <a:pt x="1553" y="1833"/>
                  </a:lnTo>
                  <a:lnTo>
                    <a:pt x="1564" y="1839"/>
                  </a:lnTo>
                  <a:lnTo>
                    <a:pt x="1575" y="1844"/>
                  </a:lnTo>
                  <a:lnTo>
                    <a:pt x="1584" y="1852"/>
                  </a:lnTo>
                  <a:lnTo>
                    <a:pt x="1605" y="1869"/>
                  </a:lnTo>
                  <a:lnTo>
                    <a:pt x="1624" y="1885"/>
                  </a:lnTo>
                  <a:lnTo>
                    <a:pt x="1627" y="1885"/>
                  </a:lnTo>
                  <a:lnTo>
                    <a:pt x="1627" y="1885"/>
                  </a:lnTo>
                  <a:lnTo>
                    <a:pt x="1644" y="1885"/>
                  </a:lnTo>
                  <a:lnTo>
                    <a:pt x="1655" y="1884"/>
                  </a:lnTo>
                  <a:lnTo>
                    <a:pt x="1663" y="1878"/>
                  </a:lnTo>
                  <a:lnTo>
                    <a:pt x="1667" y="1874"/>
                  </a:lnTo>
                  <a:lnTo>
                    <a:pt x="1672" y="1869"/>
                  </a:lnTo>
                  <a:lnTo>
                    <a:pt x="1674" y="1869"/>
                  </a:lnTo>
                  <a:lnTo>
                    <a:pt x="1680" y="1872"/>
                  </a:lnTo>
                  <a:lnTo>
                    <a:pt x="1680" y="1872"/>
                  </a:lnTo>
                  <a:lnTo>
                    <a:pt x="1685" y="1880"/>
                  </a:lnTo>
                  <a:lnTo>
                    <a:pt x="1693" y="1884"/>
                  </a:lnTo>
                  <a:lnTo>
                    <a:pt x="1710" y="1889"/>
                  </a:lnTo>
                  <a:lnTo>
                    <a:pt x="1726" y="1895"/>
                  </a:lnTo>
                  <a:lnTo>
                    <a:pt x="1734" y="1899"/>
                  </a:lnTo>
                  <a:lnTo>
                    <a:pt x="1741" y="1904"/>
                  </a:lnTo>
                  <a:lnTo>
                    <a:pt x="1741" y="1904"/>
                  </a:lnTo>
                  <a:lnTo>
                    <a:pt x="1751" y="1912"/>
                  </a:lnTo>
                  <a:lnTo>
                    <a:pt x="1760" y="1915"/>
                  </a:lnTo>
                  <a:lnTo>
                    <a:pt x="1769" y="1917"/>
                  </a:lnTo>
                  <a:lnTo>
                    <a:pt x="1775" y="1917"/>
                  </a:lnTo>
                  <a:lnTo>
                    <a:pt x="1781" y="1913"/>
                  </a:lnTo>
                  <a:lnTo>
                    <a:pt x="1784" y="1910"/>
                  </a:lnTo>
                  <a:lnTo>
                    <a:pt x="1788" y="1904"/>
                  </a:lnTo>
                  <a:lnTo>
                    <a:pt x="1790" y="1897"/>
                  </a:lnTo>
                  <a:lnTo>
                    <a:pt x="1792" y="1882"/>
                  </a:lnTo>
                  <a:lnTo>
                    <a:pt x="1790" y="1869"/>
                  </a:lnTo>
                  <a:lnTo>
                    <a:pt x="1784" y="1856"/>
                  </a:lnTo>
                  <a:lnTo>
                    <a:pt x="1783" y="1852"/>
                  </a:lnTo>
                  <a:lnTo>
                    <a:pt x="1779" y="1850"/>
                  </a:lnTo>
                  <a:lnTo>
                    <a:pt x="1779" y="1850"/>
                  </a:lnTo>
                  <a:lnTo>
                    <a:pt x="1768" y="1844"/>
                  </a:lnTo>
                  <a:lnTo>
                    <a:pt x="1760" y="1841"/>
                  </a:lnTo>
                  <a:lnTo>
                    <a:pt x="1754" y="1835"/>
                  </a:lnTo>
                  <a:lnTo>
                    <a:pt x="1751" y="1831"/>
                  </a:lnTo>
                  <a:lnTo>
                    <a:pt x="1749" y="1826"/>
                  </a:lnTo>
                  <a:lnTo>
                    <a:pt x="1751" y="1822"/>
                  </a:lnTo>
                  <a:lnTo>
                    <a:pt x="1753" y="1816"/>
                  </a:lnTo>
                  <a:lnTo>
                    <a:pt x="1756" y="1813"/>
                  </a:lnTo>
                  <a:lnTo>
                    <a:pt x="1768" y="1805"/>
                  </a:lnTo>
                  <a:lnTo>
                    <a:pt x="1781" y="1799"/>
                  </a:lnTo>
                  <a:lnTo>
                    <a:pt x="1794" y="1796"/>
                  </a:lnTo>
                  <a:lnTo>
                    <a:pt x="1805" y="1794"/>
                  </a:lnTo>
                  <a:lnTo>
                    <a:pt x="1805" y="1794"/>
                  </a:lnTo>
                  <a:lnTo>
                    <a:pt x="1822" y="1794"/>
                  </a:lnTo>
                  <a:lnTo>
                    <a:pt x="1831" y="1792"/>
                  </a:lnTo>
                  <a:lnTo>
                    <a:pt x="1833" y="1790"/>
                  </a:lnTo>
                  <a:lnTo>
                    <a:pt x="1835" y="1786"/>
                  </a:lnTo>
                  <a:lnTo>
                    <a:pt x="1835" y="1781"/>
                  </a:lnTo>
                  <a:lnTo>
                    <a:pt x="1825" y="1766"/>
                  </a:lnTo>
                  <a:lnTo>
                    <a:pt x="1822" y="1756"/>
                  </a:lnTo>
                  <a:lnTo>
                    <a:pt x="1820" y="1749"/>
                  </a:lnTo>
                  <a:lnTo>
                    <a:pt x="1820" y="1749"/>
                  </a:lnTo>
                  <a:lnTo>
                    <a:pt x="1818" y="1740"/>
                  </a:lnTo>
                  <a:lnTo>
                    <a:pt x="1814" y="1732"/>
                  </a:lnTo>
                  <a:lnTo>
                    <a:pt x="1811" y="1723"/>
                  </a:lnTo>
                  <a:lnTo>
                    <a:pt x="1805" y="1715"/>
                  </a:lnTo>
                  <a:lnTo>
                    <a:pt x="1792" y="1700"/>
                  </a:lnTo>
                  <a:lnTo>
                    <a:pt x="1779" y="1687"/>
                  </a:lnTo>
                  <a:lnTo>
                    <a:pt x="1768" y="1672"/>
                  </a:lnTo>
                  <a:lnTo>
                    <a:pt x="1762" y="1665"/>
                  </a:lnTo>
                  <a:lnTo>
                    <a:pt x="1758" y="1656"/>
                  </a:lnTo>
                  <a:lnTo>
                    <a:pt x="1756" y="1648"/>
                  </a:lnTo>
                  <a:lnTo>
                    <a:pt x="1756" y="1639"/>
                  </a:lnTo>
                  <a:lnTo>
                    <a:pt x="1756" y="1629"/>
                  </a:lnTo>
                  <a:lnTo>
                    <a:pt x="1760" y="1620"/>
                  </a:lnTo>
                  <a:lnTo>
                    <a:pt x="1760" y="1620"/>
                  </a:lnTo>
                  <a:lnTo>
                    <a:pt x="1764" y="1609"/>
                  </a:lnTo>
                  <a:lnTo>
                    <a:pt x="1764" y="1600"/>
                  </a:lnTo>
                  <a:lnTo>
                    <a:pt x="1762" y="1596"/>
                  </a:lnTo>
                  <a:lnTo>
                    <a:pt x="1758" y="1592"/>
                  </a:lnTo>
                  <a:lnTo>
                    <a:pt x="1753" y="1590"/>
                  </a:lnTo>
                  <a:lnTo>
                    <a:pt x="1747" y="1588"/>
                  </a:lnTo>
                  <a:lnTo>
                    <a:pt x="1743" y="1583"/>
                  </a:lnTo>
                  <a:lnTo>
                    <a:pt x="1743" y="1575"/>
                  </a:lnTo>
                  <a:lnTo>
                    <a:pt x="1743" y="1575"/>
                  </a:lnTo>
                  <a:lnTo>
                    <a:pt x="1745" y="1573"/>
                  </a:lnTo>
                  <a:lnTo>
                    <a:pt x="1753" y="1570"/>
                  </a:lnTo>
                  <a:lnTo>
                    <a:pt x="1777" y="1562"/>
                  </a:lnTo>
                  <a:lnTo>
                    <a:pt x="1812" y="1555"/>
                  </a:lnTo>
                  <a:lnTo>
                    <a:pt x="1854" y="1549"/>
                  </a:lnTo>
                  <a:lnTo>
                    <a:pt x="1934" y="1538"/>
                  </a:lnTo>
                  <a:lnTo>
                    <a:pt x="1966" y="1536"/>
                  </a:lnTo>
                  <a:lnTo>
                    <a:pt x="1984" y="1536"/>
                  </a:lnTo>
                  <a:lnTo>
                    <a:pt x="1984" y="1536"/>
                  </a:lnTo>
                  <a:lnTo>
                    <a:pt x="2009" y="1540"/>
                  </a:lnTo>
                  <a:lnTo>
                    <a:pt x="2022" y="1542"/>
                  </a:lnTo>
                  <a:lnTo>
                    <a:pt x="2029" y="1545"/>
                  </a:lnTo>
                  <a:lnTo>
                    <a:pt x="2029" y="1545"/>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9" name="Freeform 79">
              <a:extLst>
                <a:ext uri="{FF2B5EF4-FFF2-40B4-BE49-F238E27FC236}">
                  <a16:creationId xmlns:a16="http://schemas.microsoft.com/office/drawing/2014/main" id="{672A0733-4668-4DC3-A136-D4231A4ED680}"/>
                </a:ext>
              </a:extLst>
            </p:cNvPr>
            <p:cNvSpPr>
              <a:spLocks/>
            </p:cNvSpPr>
            <p:nvPr/>
          </p:nvSpPr>
          <p:spPr bwMode="auto">
            <a:xfrm>
              <a:off x="1874257" y="3620016"/>
              <a:ext cx="2181811" cy="1411546"/>
            </a:xfrm>
            <a:custGeom>
              <a:avLst/>
              <a:gdLst/>
              <a:ahLst/>
              <a:cxnLst>
                <a:cxn ang="0">
                  <a:pos x="1385" y="288"/>
                </a:cxn>
                <a:cxn ang="0">
                  <a:pos x="1431" y="223"/>
                </a:cxn>
                <a:cxn ang="0">
                  <a:pos x="1388" y="150"/>
                </a:cxn>
                <a:cxn ang="0">
                  <a:pos x="1203" y="88"/>
                </a:cxn>
                <a:cxn ang="0">
                  <a:pos x="981" y="125"/>
                </a:cxn>
                <a:cxn ang="0">
                  <a:pos x="794" y="127"/>
                </a:cxn>
                <a:cxn ang="0">
                  <a:pos x="637" y="43"/>
                </a:cxn>
                <a:cxn ang="0">
                  <a:pos x="475" y="47"/>
                </a:cxn>
                <a:cxn ang="0">
                  <a:pos x="351" y="10"/>
                </a:cxn>
                <a:cxn ang="0">
                  <a:pos x="273" y="97"/>
                </a:cxn>
                <a:cxn ang="0">
                  <a:pos x="112" y="154"/>
                </a:cxn>
                <a:cxn ang="0">
                  <a:pos x="121" y="262"/>
                </a:cxn>
                <a:cxn ang="0">
                  <a:pos x="58" y="348"/>
                </a:cxn>
                <a:cxn ang="0">
                  <a:pos x="13" y="344"/>
                </a:cxn>
                <a:cxn ang="0">
                  <a:pos x="5" y="432"/>
                </a:cxn>
                <a:cxn ang="0">
                  <a:pos x="2" y="488"/>
                </a:cxn>
                <a:cxn ang="0">
                  <a:pos x="43" y="563"/>
                </a:cxn>
                <a:cxn ang="0">
                  <a:pos x="148" y="662"/>
                </a:cxn>
                <a:cxn ang="0">
                  <a:pos x="237" y="755"/>
                </a:cxn>
                <a:cxn ang="0">
                  <a:pos x="338" y="757"/>
                </a:cxn>
                <a:cxn ang="0">
                  <a:pos x="450" y="897"/>
                </a:cxn>
                <a:cxn ang="0">
                  <a:pos x="536" y="964"/>
                </a:cxn>
                <a:cxn ang="0">
                  <a:pos x="589" y="1067"/>
                </a:cxn>
                <a:cxn ang="0">
                  <a:pos x="637" y="1125"/>
                </a:cxn>
                <a:cxn ang="0">
                  <a:pos x="708" y="1153"/>
                </a:cxn>
                <a:cxn ang="0">
                  <a:pos x="760" y="1194"/>
                </a:cxn>
                <a:cxn ang="0">
                  <a:pos x="856" y="1248"/>
                </a:cxn>
                <a:cxn ang="0">
                  <a:pos x="955" y="1269"/>
                </a:cxn>
                <a:cxn ang="0">
                  <a:pos x="1076" y="1282"/>
                </a:cxn>
                <a:cxn ang="0">
                  <a:pos x="1078" y="1396"/>
                </a:cxn>
                <a:cxn ang="0">
                  <a:pos x="1145" y="1319"/>
                </a:cxn>
                <a:cxn ang="0">
                  <a:pos x="1289" y="1319"/>
                </a:cxn>
                <a:cxn ang="0">
                  <a:pos x="1387" y="1355"/>
                </a:cxn>
                <a:cxn ang="0">
                  <a:pos x="1426" y="1432"/>
                </a:cxn>
                <a:cxn ang="0">
                  <a:pos x="1458" y="1503"/>
                </a:cxn>
                <a:cxn ang="0">
                  <a:pos x="1658" y="1553"/>
                </a:cxn>
                <a:cxn ang="0">
                  <a:pos x="1837" y="1471"/>
                </a:cxn>
                <a:cxn ang="0">
                  <a:pos x="1992" y="1424"/>
                </a:cxn>
                <a:cxn ang="0">
                  <a:pos x="2110" y="1501"/>
                </a:cxn>
                <a:cxn ang="0">
                  <a:pos x="2153" y="1471"/>
                </a:cxn>
                <a:cxn ang="0">
                  <a:pos x="2203" y="1405"/>
                </a:cxn>
                <a:cxn ang="0">
                  <a:pos x="2254" y="1469"/>
                </a:cxn>
                <a:cxn ang="0">
                  <a:pos x="2319" y="1469"/>
                </a:cxn>
                <a:cxn ang="0">
                  <a:pos x="2338" y="1364"/>
                </a:cxn>
                <a:cxn ang="0">
                  <a:pos x="2373" y="1376"/>
                </a:cxn>
                <a:cxn ang="0">
                  <a:pos x="2392" y="1163"/>
                </a:cxn>
                <a:cxn ang="0">
                  <a:pos x="2373" y="1045"/>
                </a:cxn>
                <a:cxn ang="0">
                  <a:pos x="2377" y="989"/>
                </a:cxn>
                <a:cxn ang="0">
                  <a:pos x="2328" y="871"/>
                </a:cxn>
                <a:cxn ang="0">
                  <a:pos x="2222" y="879"/>
                </a:cxn>
                <a:cxn ang="0">
                  <a:pos x="2145" y="938"/>
                </a:cxn>
                <a:cxn ang="0">
                  <a:pos x="2087" y="925"/>
                </a:cxn>
                <a:cxn ang="0">
                  <a:pos x="2048" y="925"/>
                </a:cxn>
                <a:cxn ang="0">
                  <a:pos x="1994" y="843"/>
                </a:cxn>
                <a:cxn ang="0">
                  <a:pos x="1915" y="774"/>
                </a:cxn>
                <a:cxn ang="0">
                  <a:pos x="1792" y="763"/>
                </a:cxn>
                <a:cxn ang="0">
                  <a:pos x="1637" y="697"/>
                </a:cxn>
                <a:cxn ang="0">
                  <a:pos x="1523" y="606"/>
                </a:cxn>
                <a:cxn ang="0">
                  <a:pos x="1383" y="494"/>
                </a:cxn>
                <a:cxn ang="0">
                  <a:pos x="1390" y="385"/>
                </a:cxn>
              </a:cxnLst>
              <a:rect l="0" t="0" r="r" b="b"/>
              <a:pathLst>
                <a:path w="2401" h="1555">
                  <a:moveTo>
                    <a:pt x="1400" y="348"/>
                  </a:moveTo>
                  <a:lnTo>
                    <a:pt x="1400" y="348"/>
                  </a:lnTo>
                  <a:lnTo>
                    <a:pt x="1390" y="346"/>
                  </a:lnTo>
                  <a:lnTo>
                    <a:pt x="1387" y="344"/>
                  </a:lnTo>
                  <a:lnTo>
                    <a:pt x="1385" y="340"/>
                  </a:lnTo>
                  <a:lnTo>
                    <a:pt x="1385" y="337"/>
                  </a:lnTo>
                  <a:lnTo>
                    <a:pt x="1388" y="329"/>
                  </a:lnTo>
                  <a:lnTo>
                    <a:pt x="1388" y="324"/>
                  </a:lnTo>
                  <a:lnTo>
                    <a:pt x="1387" y="318"/>
                  </a:lnTo>
                  <a:lnTo>
                    <a:pt x="1387" y="318"/>
                  </a:lnTo>
                  <a:lnTo>
                    <a:pt x="1381" y="301"/>
                  </a:lnTo>
                  <a:lnTo>
                    <a:pt x="1381" y="296"/>
                  </a:lnTo>
                  <a:lnTo>
                    <a:pt x="1383" y="292"/>
                  </a:lnTo>
                  <a:lnTo>
                    <a:pt x="1385" y="288"/>
                  </a:lnTo>
                  <a:lnTo>
                    <a:pt x="1387" y="284"/>
                  </a:lnTo>
                  <a:lnTo>
                    <a:pt x="1394" y="281"/>
                  </a:lnTo>
                  <a:lnTo>
                    <a:pt x="1411" y="273"/>
                  </a:lnTo>
                  <a:lnTo>
                    <a:pt x="1418" y="268"/>
                  </a:lnTo>
                  <a:lnTo>
                    <a:pt x="1420" y="264"/>
                  </a:lnTo>
                  <a:lnTo>
                    <a:pt x="1420" y="258"/>
                  </a:lnTo>
                  <a:lnTo>
                    <a:pt x="1420" y="258"/>
                  </a:lnTo>
                  <a:lnTo>
                    <a:pt x="1422" y="249"/>
                  </a:lnTo>
                  <a:lnTo>
                    <a:pt x="1426" y="241"/>
                  </a:lnTo>
                  <a:lnTo>
                    <a:pt x="1428" y="234"/>
                  </a:lnTo>
                  <a:lnTo>
                    <a:pt x="1430" y="226"/>
                  </a:lnTo>
                  <a:lnTo>
                    <a:pt x="1430" y="226"/>
                  </a:lnTo>
                  <a:lnTo>
                    <a:pt x="1431" y="225"/>
                  </a:lnTo>
                  <a:lnTo>
                    <a:pt x="1431" y="223"/>
                  </a:lnTo>
                  <a:lnTo>
                    <a:pt x="1435" y="221"/>
                  </a:lnTo>
                  <a:lnTo>
                    <a:pt x="1435" y="221"/>
                  </a:lnTo>
                  <a:lnTo>
                    <a:pt x="1431" y="217"/>
                  </a:lnTo>
                  <a:lnTo>
                    <a:pt x="1422" y="211"/>
                  </a:lnTo>
                  <a:lnTo>
                    <a:pt x="1403" y="198"/>
                  </a:lnTo>
                  <a:lnTo>
                    <a:pt x="1398" y="193"/>
                  </a:lnTo>
                  <a:lnTo>
                    <a:pt x="1398" y="191"/>
                  </a:lnTo>
                  <a:lnTo>
                    <a:pt x="1398" y="187"/>
                  </a:lnTo>
                  <a:lnTo>
                    <a:pt x="1401" y="185"/>
                  </a:lnTo>
                  <a:lnTo>
                    <a:pt x="1407" y="185"/>
                  </a:lnTo>
                  <a:lnTo>
                    <a:pt x="1428" y="183"/>
                  </a:lnTo>
                  <a:lnTo>
                    <a:pt x="1428" y="183"/>
                  </a:lnTo>
                  <a:lnTo>
                    <a:pt x="1409" y="167"/>
                  </a:lnTo>
                  <a:lnTo>
                    <a:pt x="1388" y="150"/>
                  </a:lnTo>
                  <a:lnTo>
                    <a:pt x="1379" y="142"/>
                  </a:lnTo>
                  <a:lnTo>
                    <a:pt x="1368" y="137"/>
                  </a:lnTo>
                  <a:lnTo>
                    <a:pt x="1357" y="131"/>
                  </a:lnTo>
                  <a:lnTo>
                    <a:pt x="1345" y="127"/>
                  </a:lnTo>
                  <a:lnTo>
                    <a:pt x="1345" y="127"/>
                  </a:lnTo>
                  <a:lnTo>
                    <a:pt x="1332" y="122"/>
                  </a:lnTo>
                  <a:lnTo>
                    <a:pt x="1325" y="116"/>
                  </a:lnTo>
                  <a:lnTo>
                    <a:pt x="1317" y="111"/>
                  </a:lnTo>
                  <a:lnTo>
                    <a:pt x="1312" y="105"/>
                  </a:lnTo>
                  <a:lnTo>
                    <a:pt x="1299" y="99"/>
                  </a:lnTo>
                  <a:lnTo>
                    <a:pt x="1280" y="94"/>
                  </a:lnTo>
                  <a:lnTo>
                    <a:pt x="1248" y="90"/>
                  </a:lnTo>
                  <a:lnTo>
                    <a:pt x="1203" y="88"/>
                  </a:lnTo>
                  <a:lnTo>
                    <a:pt x="1203" y="88"/>
                  </a:lnTo>
                  <a:lnTo>
                    <a:pt x="1147" y="84"/>
                  </a:lnTo>
                  <a:lnTo>
                    <a:pt x="1095" y="83"/>
                  </a:lnTo>
                  <a:lnTo>
                    <a:pt x="1074" y="83"/>
                  </a:lnTo>
                  <a:lnTo>
                    <a:pt x="1056" y="84"/>
                  </a:lnTo>
                  <a:lnTo>
                    <a:pt x="1048" y="86"/>
                  </a:lnTo>
                  <a:lnTo>
                    <a:pt x="1041" y="90"/>
                  </a:lnTo>
                  <a:lnTo>
                    <a:pt x="1037" y="94"/>
                  </a:lnTo>
                  <a:lnTo>
                    <a:pt x="1033" y="99"/>
                  </a:lnTo>
                  <a:lnTo>
                    <a:pt x="1033" y="99"/>
                  </a:lnTo>
                  <a:lnTo>
                    <a:pt x="1026" y="109"/>
                  </a:lnTo>
                  <a:lnTo>
                    <a:pt x="1017" y="116"/>
                  </a:lnTo>
                  <a:lnTo>
                    <a:pt x="1007" y="122"/>
                  </a:lnTo>
                  <a:lnTo>
                    <a:pt x="994" y="125"/>
                  </a:lnTo>
                  <a:lnTo>
                    <a:pt x="981" y="125"/>
                  </a:lnTo>
                  <a:lnTo>
                    <a:pt x="968" y="124"/>
                  </a:lnTo>
                  <a:lnTo>
                    <a:pt x="953" y="120"/>
                  </a:lnTo>
                  <a:lnTo>
                    <a:pt x="938" y="116"/>
                  </a:lnTo>
                  <a:lnTo>
                    <a:pt x="938" y="116"/>
                  </a:lnTo>
                  <a:lnTo>
                    <a:pt x="925" y="112"/>
                  </a:lnTo>
                  <a:lnTo>
                    <a:pt x="912" y="111"/>
                  </a:lnTo>
                  <a:lnTo>
                    <a:pt x="897" y="109"/>
                  </a:lnTo>
                  <a:lnTo>
                    <a:pt x="880" y="109"/>
                  </a:lnTo>
                  <a:lnTo>
                    <a:pt x="863" y="111"/>
                  </a:lnTo>
                  <a:lnTo>
                    <a:pt x="845" y="114"/>
                  </a:lnTo>
                  <a:lnTo>
                    <a:pt x="826" y="120"/>
                  </a:lnTo>
                  <a:lnTo>
                    <a:pt x="807" y="125"/>
                  </a:lnTo>
                  <a:lnTo>
                    <a:pt x="807" y="125"/>
                  </a:lnTo>
                  <a:lnTo>
                    <a:pt x="794" y="127"/>
                  </a:lnTo>
                  <a:lnTo>
                    <a:pt x="775" y="127"/>
                  </a:lnTo>
                  <a:lnTo>
                    <a:pt x="751" y="124"/>
                  </a:lnTo>
                  <a:lnTo>
                    <a:pt x="725" y="118"/>
                  </a:lnTo>
                  <a:lnTo>
                    <a:pt x="701" y="111"/>
                  </a:lnTo>
                  <a:lnTo>
                    <a:pt x="680" y="99"/>
                  </a:lnTo>
                  <a:lnTo>
                    <a:pt x="671" y="92"/>
                  </a:lnTo>
                  <a:lnTo>
                    <a:pt x="665" y="86"/>
                  </a:lnTo>
                  <a:lnTo>
                    <a:pt x="660" y="79"/>
                  </a:lnTo>
                  <a:lnTo>
                    <a:pt x="658" y="69"/>
                  </a:lnTo>
                  <a:lnTo>
                    <a:pt x="658" y="69"/>
                  </a:lnTo>
                  <a:lnTo>
                    <a:pt x="656" y="64"/>
                  </a:lnTo>
                  <a:lnTo>
                    <a:pt x="654" y="58"/>
                  </a:lnTo>
                  <a:lnTo>
                    <a:pt x="646" y="49"/>
                  </a:lnTo>
                  <a:lnTo>
                    <a:pt x="637" y="43"/>
                  </a:lnTo>
                  <a:lnTo>
                    <a:pt x="626" y="40"/>
                  </a:lnTo>
                  <a:lnTo>
                    <a:pt x="615" y="38"/>
                  </a:lnTo>
                  <a:lnTo>
                    <a:pt x="602" y="38"/>
                  </a:lnTo>
                  <a:lnTo>
                    <a:pt x="590" y="40"/>
                  </a:lnTo>
                  <a:lnTo>
                    <a:pt x="579" y="43"/>
                  </a:lnTo>
                  <a:lnTo>
                    <a:pt x="579" y="43"/>
                  </a:lnTo>
                  <a:lnTo>
                    <a:pt x="547" y="58"/>
                  </a:lnTo>
                  <a:lnTo>
                    <a:pt x="525" y="64"/>
                  </a:lnTo>
                  <a:lnTo>
                    <a:pt x="516" y="66"/>
                  </a:lnTo>
                  <a:lnTo>
                    <a:pt x="508" y="66"/>
                  </a:lnTo>
                  <a:lnTo>
                    <a:pt x="503" y="64"/>
                  </a:lnTo>
                  <a:lnTo>
                    <a:pt x="497" y="62"/>
                  </a:lnTo>
                  <a:lnTo>
                    <a:pt x="488" y="54"/>
                  </a:lnTo>
                  <a:lnTo>
                    <a:pt x="475" y="47"/>
                  </a:lnTo>
                  <a:lnTo>
                    <a:pt x="458" y="40"/>
                  </a:lnTo>
                  <a:lnTo>
                    <a:pt x="447" y="36"/>
                  </a:lnTo>
                  <a:lnTo>
                    <a:pt x="433" y="32"/>
                  </a:lnTo>
                  <a:lnTo>
                    <a:pt x="433" y="32"/>
                  </a:lnTo>
                  <a:lnTo>
                    <a:pt x="420" y="28"/>
                  </a:lnTo>
                  <a:lnTo>
                    <a:pt x="409" y="23"/>
                  </a:lnTo>
                  <a:lnTo>
                    <a:pt x="387" y="10"/>
                  </a:lnTo>
                  <a:lnTo>
                    <a:pt x="376" y="4"/>
                  </a:lnTo>
                  <a:lnTo>
                    <a:pt x="366" y="0"/>
                  </a:lnTo>
                  <a:lnTo>
                    <a:pt x="362" y="0"/>
                  </a:lnTo>
                  <a:lnTo>
                    <a:pt x="359" y="2"/>
                  </a:lnTo>
                  <a:lnTo>
                    <a:pt x="355" y="4"/>
                  </a:lnTo>
                  <a:lnTo>
                    <a:pt x="351" y="10"/>
                  </a:lnTo>
                  <a:lnTo>
                    <a:pt x="351" y="10"/>
                  </a:lnTo>
                  <a:lnTo>
                    <a:pt x="344" y="15"/>
                  </a:lnTo>
                  <a:lnTo>
                    <a:pt x="338" y="21"/>
                  </a:lnTo>
                  <a:lnTo>
                    <a:pt x="325" y="28"/>
                  </a:lnTo>
                  <a:lnTo>
                    <a:pt x="312" y="38"/>
                  </a:lnTo>
                  <a:lnTo>
                    <a:pt x="304" y="41"/>
                  </a:lnTo>
                  <a:lnTo>
                    <a:pt x="299" y="47"/>
                  </a:lnTo>
                  <a:lnTo>
                    <a:pt x="299" y="47"/>
                  </a:lnTo>
                  <a:lnTo>
                    <a:pt x="290" y="58"/>
                  </a:lnTo>
                  <a:lnTo>
                    <a:pt x="284" y="68"/>
                  </a:lnTo>
                  <a:lnTo>
                    <a:pt x="280" y="75"/>
                  </a:lnTo>
                  <a:lnTo>
                    <a:pt x="276" y="83"/>
                  </a:lnTo>
                  <a:lnTo>
                    <a:pt x="275" y="92"/>
                  </a:lnTo>
                  <a:lnTo>
                    <a:pt x="275" y="96"/>
                  </a:lnTo>
                  <a:lnTo>
                    <a:pt x="273" y="97"/>
                  </a:lnTo>
                  <a:lnTo>
                    <a:pt x="269" y="99"/>
                  </a:lnTo>
                  <a:lnTo>
                    <a:pt x="263" y="99"/>
                  </a:lnTo>
                  <a:lnTo>
                    <a:pt x="245" y="99"/>
                  </a:lnTo>
                  <a:lnTo>
                    <a:pt x="151" y="96"/>
                  </a:lnTo>
                  <a:lnTo>
                    <a:pt x="151" y="96"/>
                  </a:lnTo>
                  <a:lnTo>
                    <a:pt x="148" y="103"/>
                  </a:lnTo>
                  <a:lnTo>
                    <a:pt x="142" y="109"/>
                  </a:lnTo>
                  <a:lnTo>
                    <a:pt x="142" y="109"/>
                  </a:lnTo>
                  <a:lnTo>
                    <a:pt x="133" y="116"/>
                  </a:lnTo>
                  <a:lnTo>
                    <a:pt x="125" y="118"/>
                  </a:lnTo>
                  <a:lnTo>
                    <a:pt x="118" y="120"/>
                  </a:lnTo>
                  <a:lnTo>
                    <a:pt x="116" y="122"/>
                  </a:lnTo>
                  <a:lnTo>
                    <a:pt x="114" y="127"/>
                  </a:lnTo>
                  <a:lnTo>
                    <a:pt x="112" y="154"/>
                  </a:lnTo>
                  <a:lnTo>
                    <a:pt x="112" y="154"/>
                  </a:lnTo>
                  <a:lnTo>
                    <a:pt x="112" y="157"/>
                  </a:lnTo>
                  <a:lnTo>
                    <a:pt x="108" y="161"/>
                  </a:lnTo>
                  <a:lnTo>
                    <a:pt x="101" y="172"/>
                  </a:lnTo>
                  <a:lnTo>
                    <a:pt x="97" y="178"/>
                  </a:lnTo>
                  <a:lnTo>
                    <a:pt x="95" y="187"/>
                  </a:lnTo>
                  <a:lnTo>
                    <a:pt x="95" y="197"/>
                  </a:lnTo>
                  <a:lnTo>
                    <a:pt x="97" y="210"/>
                  </a:lnTo>
                  <a:lnTo>
                    <a:pt x="97" y="210"/>
                  </a:lnTo>
                  <a:lnTo>
                    <a:pt x="101" y="219"/>
                  </a:lnTo>
                  <a:lnTo>
                    <a:pt x="106" y="228"/>
                  </a:lnTo>
                  <a:lnTo>
                    <a:pt x="112" y="238"/>
                  </a:lnTo>
                  <a:lnTo>
                    <a:pt x="118" y="249"/>
                  </a:lnTo>
                  <a:lnTo>
                    <a:pt x="121" y="262"/>
                  </a:lnTo>
                  <a:lnTo>
                    <a:pt x="125" y="279"/>
                  </a:lnTo>
                  <a:lnTo>
                    <a:pt x="123" y="299"/>
                  </a:lnTo>
                  <a:lnTo>
                    <a:pt x="119" y="325"/>
                  </a:lnTo>
                  <a:lnTo>
                    <a:pt x="119" y="325"/>
                  </a:lnTo>
                  <a:lnTo>
                    <a:pt x="118" y="333"/>
                  </a:lnTo>
                  <a:lnTo>
                    <a:pt x="114" y="339"/>
                  </a:lnTo>
                  <a:lnTo>
                    <a:pt x="105" y="350"/>
                  </a:lnTo>
                  <a:lnTo>
                    <a:pt x="93" y="357"/>
                  </a:lnTo>
                  <a:lnTo>
                    <a:pt x="82" y="361"/>
                  </a:lnTo>
                  <a:lnTo>
                    <a:pt x="76" y="361"/>
                  </a:lnTo>
                  <a:lnTo>
                    <a:pt x="71" y="359"/>
                  </a:lnTo>
                  <a:lnTo>
                    <a:pt x="65" y="357"/>
                  </a:lnTo>
                  <a:lnTo>
                    <a:pt x="62" y="353"/>
                  </a:lnTo>
                  <a:lnTo>
                    <a:pt x="58" y="348"/>
                  </a:lnTo>
                  <a:lnTo>
                    <a:pt x="54" y="340"/>
                  </a:lnTo>
                  <a:lnTo>
                    <a:pt x="52" y="331"/>
                  </a:lnTo>
                  <a:lnTo>
                    <a:pt x="52" y="320"/>
                  </a:lnTo>
                  <a:lnTo>
                    <a:pt x="52" y="320"/>
                  </a:lnTo>
                  <a:lnTo>
                    <a:pt x="52" y="312"/>
                  </a:lnTo>
                  <a:lnTo>
                    <a:pt x="47" y="309"/>
                  </a:lnTo>
                  <a:lnTo>
                    <a:pt x="41" y="307"/>
                  </a:lnTo>
                  <a:lnTo>
                    <a:pt x="32" y="309"/>
                  </a:lnTo>
                  <a:lnTo>
                    <a:pt x="24" y="312"/>
                  </a:lnTo>
                  <a:lnTo>
                    <a:pt x="19" y="318"/>
                  </a:lnTo>
                  <a:lnTo>
                    <a:pt x="13" y="324"/>
                  </a:lnTo>
                  <a:lnTo>
                    <a:pt x="13" y="333"/>
                  </a:lnTo>
                  <a:lnTo>
                    <a:pt x="13" y="333"/>
                  </a:lnTo>
                  <a:lnTo>
                    <a:pt x="13" y="344"/>
                  </a:lnTo>
                  <a:lnTo>
                    <a:pt x="9" y="350"/>
                  </a:lnTo>
                  <a:lnTo>
                    <a:pt x="5" y="353"/>
                  </a:lnTo>
                  <a:lnTo>
                    <a:pt x="2" y="355"/>
                  </a:lnTo>
                  <a:lnTo>
                    <a:pt x="0" y="359"/>
                  </a:lnTo>
                  <a:lnTo>
                    <a:pt x="0" y="367"/>
                  </a:lnTo>
                  <a:lnTo>
                    <a:pt x="4" y="380"/>
                  </a:lnTo>
                  <a:lnTo>
                    <a:pt x="15" y="402"/>
                  </a:lnTo>
                  <a:lnTo>
                    <a:pt x="15" y="402"/>
                  </a:lnTo>
                  <a:lnTo>
                    <a:pt x="17" y="408"/>
                  </a:lnTo>
                  <a:lnTo>
                    <a:pt x="15" y="411"/>
                  </a:lnTo>
                  <a:lnTo>
                    <a:pt x="7" y="419"/>
                  </a:lnTo>
                  <a:lnTo>
                    <a:pt x="5" y="423"/>
                  </a:lnTo>
                  <a:lnTo>
                    <a:pt x="4" y="426"/>
                  </a:lnTo>
                  <a:lnTo>
                    <a:pt x="5" y="432"/>
                  </a:lnTo>
                  <a:lnTo>
                    <a:pt x="11" y="439"/>
                  </a:lnTo>
                  <a:lnTo>
                    <a:pt x="11" y="439"/>
                  </a:lnTo>
                  <a:lnTo>
                    <a:pt x="15" y="447"/>
                  </a:lnTo>
                  <a:lnTo>
                    <a:pt x="15" y="451"/>
                  </a:lnTo>
                  <a:lnTo>
                    <a:pt x="13" y="454"/>
                  </a:lnTo>
                  <a:lnTo>
                    <a:pt x="9" y="458"/>
                  </a:lnTo>
                  <a:lnTo>
                    <a:pt x="2" y="466"/>
                  </a:lnTo>
                  <a:lnTo>
                    <a:pt x="0" y="469"/>
                  </a:lnTo>
                  <a:lnTo>
                    <a:pt x="2" y="475"/>
                  </a:lnTo>
                  <a:lnTo>
                    <a:pt x="2" y="475"/>
                  </a:lnTo>
                  <a:lnTo>
                    <a:pt x="4" y="482"/>
                  </a:lnTo>
                  <a:lnTo>
                    <a:pt x="4" y="486"/>
                  </a:lnTo>
                  <a:lnTo>
                    <a:pt x="4" y="486"/>
                  </a:lnTo>
                  <a:lnTo>
                    <a:pt x="2" y="488"/>
                  </a:lnTo>
                  <a:lnTo>
                    <a:pt x="0" y="490"/>
                  </a:lnTo>
                  <a:lnTo>
                    <a:pt x="2" y="494"/>
                  </a:lnTo>
                  <a:lnTo>
                    <a:pt x="5" y="501"/>
                  </a:lnTo>
                  <a:lnTo>
                    <a:pt x="13" y="514"/>
                  </a:lnTo>
                  <a:lnTo>
                    <a:pt x="13" y="514"/>
                  </a:lnTo>
                  <a:lnTo>
                    <a:pt x="15" y="522"/>
                  </a:lnTo>
                  <a:lnTo>
                    <a:pt x="17" y="531"/>
                  </a:lnTo>
                  <a:lnTo>
                    <a:pt x="22" y="553"/>
                  </a:lnTo>
                  <a:lnTo>
                    <a:pt x="26" y="561"/>
                  </a:lnTo>
                  <a:lnTo>
                    <a:pt x="28" y="565"/>
                  </a:lnTo>
                  <a:lnTo>
                    <a:pt x="32" y="566"/>
                  </a:lnTo>
                  <a:lnTo>
                    <a:pt x="35" y="566"/>
                  </a:lnTo>
                  <a:lnTo>
                    <a:pt x="39" y="565"/>
                  </a:lnTo>
                  <a:lnTo>
                    <a:pt x="43" y="563"/>
                  </a:lnTo>
                  <a:lnTo>
                    <a:pt x="48" y="557"/>
                  </a:lnTo>
                  <a:lnTo>
                    <a:pt x="48" y="557"/>
                  </a:lnTo>
                  <a:lnTo>
                    <a:pt x="50" y="555"/>
                  </a:lnTo>
                  <a:lnTo>
                    <a:pt x="54" y="555"/>
                  </a:lnTo>
                  <a:lnTo>
                    <a:pt x="63" y="561"/>
                  </a:lnTo>
                  <a:lnTo>
                    <a:pt x="73" y="570"/>
                  </a:lnTo>
                  <a:lnTo>
                    <a:pt x="80" y="578"/>
                  </a:lnTo>
                  <a:lnTo>
                    <a:pt x="80" y="578"/>
                  </a:lnTo>
                  <a:lnTo>
                    <a:pt x="91" y="585"/>
                  </a:lnTo>
                  <a:lnTo>
                    <a:pt x="99" y="594"/>
                  </a:lnTo>
                  <a:lnTo>
                    <a:pt x="112" y="619"/>
                  </a:lnTo>
                  <a:lnTo>
                    <a:pt x="121" y="632"/>
                  </a:lnTo>
                  <a:lnTo>
                    <a:pt x="133" y="647"/>
                  </a:lnTo>
                  <a:lnTo>
                    <a:pt x="148" y="662"/>
                  </a:lnTo>
                  <a:lnTo>
                    <a:pt x="170" y="680"/>
                  </a:lnTo>
                  <a:lnTo>
                    <a:pt x="170" y="680"/>
                  </a:lnTo>
                  <a:lnTo>
                    <a:pt x="185" y="694"/>
                  </a:lnTo>
                  <a:lnTo>
                    <a:pt x="200" y="710"/>
                  </a:lnTo>
                  <a:lnTo>
                    <a:pt x="207" y="720"/>
                  </a:lnTo>
                  <a:lnTo>
                    <a:pt x="211" y="729"/>
                  </a:lnTo>
                  <a:lnTo>
                    <a:pt x="215" y="740"/>
                  </a:lnTo>
                  <a:lnTo>
                    <a:pt x="217" y="748"/>
                  </a:lnTo>
                  <a:lnTo>
                    <a:pt x="217" y="748"/>
                  </a:lnTo>
                  <a:lnTo>
                    <a:pt x="217" y="755"/>
                  </a:lnTo>
                  <a:lnTo>
                    <a:pt x="220" y="761"/>
                  </a:lnTo>
                  <a:lnTo>
                    <a:pt x="222" y="763"/>
                  </a:lnTo>
                  <a:lnTo>
                    <a:pt x="226" y="761"/>
                  </a:lnTo>
                  <a:lnTo>
                    <a:pt x="237" y="755"/>
                  </a:lnTo>
                  <a:lnTo>
                    <a:pt x="248" y="746"/>
                  </a:lnTo>
                  <a:lnTo>
                    <a:pt x="262" y="735"/>
                  </a:lnTo>
                  <a:lnTo>
                    <a:pt x="275" y="725"/>
                  </a:lnTo>
                  <a:lnTo>
                    <a:pt x="280" y="722"/>
                  </a:lnTo>
                  <a:lnTo>
                    <a:pt x="286" y="720"/>
                  </a:lnTo>
                  <a:lnTo>
                    <a:pt x="291" y="722"/>
                  </a:lnTo>
                  <a:lnTo>
                    <a:pt x="297" y="723"/>
                  </a:lnTo>
                  <a:lnTo>
                    <a:pt x="297" y="723"/>
                  </a:lnTo>
                  <a:lnTo>
                    <a:pt x="304" y="733"/>
                  </a:lnTo>
                  <a:lnTo>
                    <a:pt x="304" y="733"/>
                  </a:lnTo>
                  <a:lnTo>
                    <a:pt x="312" y="738"/>
                  </a:lnTo>
                  <a:lnTo>
                    <a:pt x="319" y="744"/>
                  </a:lnTo>
                  <a:lnTo>
                    <a:pt x="333" y="751"/>
                  </a:lnTo>
                  <a:lnTo>
                    <a:pt x="338" y="757"/>
                  </a:lnTo>
                  <a:lnTo>
                    <a:pt x="342" y="763"/>
                  </a:lnTo>
                  <a:lnTo>
                    <a:pt x="344" y="770"/>
                  </a:lnTo>
                  <a:lnTo>
                    <a:pt x="346" y="781"/>
                  </a:lnTo>
                  <a:lnTo>
                    <a:pt x="346" y="781"/>
                  </a:lnTo>
                  <a:lnTo>
                    <a:pt x="368" y="809"/>
                  </a:lnTo>
                  <a:lnTo>
                    <a:pt x="389" y="836"/>
                  </a:lnTo>
                  <a:lnTo>
                    <a:pt x="405" y="860"/>
                  </a:lnTo>
                  <a:lnTo>
                    <a:pt x="405" y="860"/>
                  </a:lnTo>
                  <a:lnTo>
                    <a:pt x="413" y="871"/>
                  </a:lnTo>
                  <a:lnTo>
                    <a:pt x="420" y="879"/>
                  </a:lnTo>
                  <a:lnTo>
                    <a:pt x="428" y="882"/>
                  </a:lnTo>
                  <a:lnTo>
                    <a:pt x="435" y="886"/>
                  </a:lnTo>
                  <a:lnTo>
                    <a:pt x="443" y="890"/>
                  </a:lnTo>
                  <a:lnTo>
                    <a:pt x="450" y="897"/>
                  </a:lnTo>
                  <a:lnTo>
                    <a:pt x="458" y="910"/>
                  </a:lnTo>
                  <a:lnTo>
                    <a:pt x="463" y="931"/>
                  </a:lnTo>
                  <a:lnTo>
                    <a:pt x="463" y="931"/>
                  </a:lnTo>
                  <a:lnTo>
                    <a:pt x="471" y="951"/>
                  </a:lnTo>
                  <a:lnTo>
                    <a:pt x="475" y="959"/>
                  </a:lnTo>
                  <a:lnTo>
                    <a:pt x="478" y="963"/>
                  </a:lnTo>
                  <a:lnTo>
                    <a:pt x="482" y="964"/>
                  </a:lnTo>
                  <a:lnTo>
                    <a:pt x="486" y="964"/>
                  </a:lnTo>
                  <a:lnTo>
                    <a:pt x="495" y="963"/>
                  </a:lnTo>
                  <a:lnTo>
                    <a:pt x="504" y="959"/>
                  </a:lnTo>
                  <a:lnTo>
                    <a:pt x="516" y="957"/>
                  </a:lnTo>
                  <a:lnTo>
                    <a:pt x="523" y="957"/>
                  </a:lnTo>
                  <a:lnTo>
                    <a:pt x="529" y="961"/>
                  </a:lnTo>
                  <a:lnTo>
                    <a:pt x="536" y="964"/>
                  </a:lnTo>
                  <a:lnTo>
                    <a:pt x="546" y="972"/>
                  </a:lnTo>
                  <a:lnTo>
                    <a:pt x="546" y="972"/>
                  </a:lnTo>
                  <a:lnTo>
                    <a:pt x="551" y="979"/>
                  </a:lnTo>
                  <a:lnTo>
                    <a:pt x="551" y="987"/>
                  </a:lnTo>
                  <a:lnTo>
                    <a:pt x="551" y="996"/>
                  </a:lnTo>
                  <a:lnTo>
                    <a:pt x="549" y="1006"/>
                  </a:lnTo>
                  <a:lnTo>
                    <a:pt x="546" y="1013"/>
                  </a:lnTo>
                  <a:lnTo>
                    <a:pt x="546" y="1021"/>
                  </a:lnTo>
                  <a:lnTo>
                    <a:pt x="547" y="1026"/>
                  </a:lnTo>
                  <a:lnTo>
                    <a:pt x="553" y="1030"/>
                  </a:lnTo>
                  <a:lnTo>
                    <a:pt x="553" y="1030"/>
                  </a:lnTo>
                  <a:lnTo>
                    <a:pt x="562" y="1035"/>
                  </a:lnTo>
                  <a:lnTo>
                    <a:pt x="570" y="1045"/>
                  </a:lnTo>
                  <a:lnTo>
                    <a:pt x="589" y="1067"/>
                  </a:lnTo>
                  <a:lnTo>
                    <a:pt x="598" y="1077"/>
                  </a:lnTo>
                  <a:lnTo>
                    <a:pt x="609" y="1084"/>
                  </a:lnTo>
                  <a:lnTo>
                    <a:pt x="615" y="1086"/>
                  </a:lnTo>
                  <a:lnTo>
                    <a:pt x="620" y="1086"/>
                  </a:lnTo>
                  <a:lnTo>
                    <a:pt x="628" y="1086"/>
                  </a:lnTo>
                  <a:lnTo>
                    <a:pt x="635" y="1082"/>
                  </a:lnTo>
                  <a:lnTo>
                    <a:pt x="635" y="1082"/>
                  </a:lnTo>
                  <a:lnTo>
                    <a:pt x="645" y="1078"/>
                  </a:lnTo>
                  <a:lnTo>
                    <a:pt x="648" y="1080"/>
                  </a:lnTo>
                  <a:lnTo>
                    <a:pt x="650" y="1080"/>
                  </a:lnTo>
                  <a:lnTo>
                    <a:pt x="650" y="1088"/>
                  </a:lnTo>
                  <a:lnTo>
                    <a:pt x="648" y="1097"/>
                  </a:lnTo>
                  <a:lnTo>
                    <a:pt x="639" y="1118"/>
                  </a:lnTo>
                  <a:lnTo>
                    <a:pt x="637" y="1125"/>
                  </a:lnTo>
                  <a:lnTo>
                    <a:pt x="637" y="1129"/>
                  </a:lnTo>
                  <a:lnTo>
                    <a:pt x="637" y="1129"/>
                  </a:lnTo>
                  <a:lnTo>
                    <a:pt x="639" y="1134"/>
                  </a:lnTo>
                  <a:lnTo>
                    <a:pt x="643" y="1136"/>
                  </a:lnTo>
                  <a:lnTo>
                    <a:pt x="654" y="1138"/>
                  </a:lnTo>
                  <a:lnTo>
                    <a:pt x="667" y="1142"/>
                  </a:lnTo>
                  <a:lnTo>
                    <a:pt x="676" y="1146"/>
                  </a:lnTo>
                  <a:lnTo>
                    <a:pt x="688" y="1151"/>
                  </a:lnTo>
                  <a:lnTo>
                    <a:pt x="688" y="1151"/>
                  </a:lnTo>
                  <a:lnTo>
                    <a:pt x="691" y="1153"/>
                  </a:lnTo>
                  <a:lnTo>
                    <a:pt x="697" y="1153"/>
                  </a:lnTo>
                  <a:lnTo>
                    <a:pt x="701" y="1151"/>
                  </a:lnTo>
                  <a:lnTo>
                    <a:pt x="704" y="1151"/>
                  </a:lnTo>
                  <a:lnTo>
                    <a:pt x="708" y="1153"/>
                  </a:lnTo>
                  <a:lnTo>
                    <a:pt x="714" y="1163"/>
                  </a:lnTo>
                  <a:lnTo>
                    <a:pt x="719" y="1177"/>
                  </a:lnTo>
                  <a:lnTo>
                    <a:pt x="725" y="1204"/>
                  </a:lnTo>
                  <a:lnTo>
                    <a:pt x="725" y="1204"/>
                  </a:lnTo>
                  <a:lnTo>
                    <a:pt x="727" y="1209"/>
                  </a:lnTo>
                  <a:lnTo>
                    <a:pt x="729" y="1215"/>
                  </a:lnTo>
                  <a:lnTo>
                    <a:pt x="732" y="1217"/>
                  </a:lnTo>
                  <a:lnTo>
                    <a:pt x="734" y="1217"/>
                  </a:lnTo>
                  <a:lnTo>
                    <a:pt x="740" y="1213"/>
                  </a:lnTo>
                  <a:lnTo>
                    <a:pt x="746" y="1207"/>
                  </a:lnTo>
                  <a:lnTo>
                    <a:pt x="751" y="1200"/>
                  </a:lnTo>
                  <a:lnTo>
                    <a:pt x="757" y="1194"/>
                  </a:lnTo>
                  <a:lnTo>
                    <a:pt x="759" y="1194"/>
                  </a:lnTo>
                  <a:lnTo>
                    <a:pt x="760" y="1194"/>
                  </a:lnTo>
                  <a:lnTo>
                    <a:pt x="762" y="1202"/>
                  </a:lnTo>
                  <a:lnTo>
                    <a:pt x="762" y="1202"/>
                  </a:lnTo>
                  <a:lnTo>
                    <a:pt x="766" y="1219"/>
                  </a:lnTo>
                  <a:lnTo>
                    <a:pt x="768" y="1222"/>
                  </a:lnTo>
                  <a:lnTo>
                    <a:pt x="772" y="1226"/>
                  </a:lnTo>
                  <a:lnTo>
                    <a:pt x="775" y="1228"/>
                  </a:lnTo>
                  <a:lnTo>
                    <a:pt x="779" y="1228"/>
                  </a:lnTo>
                  <a:lnTo>
                    <a:pt x="787" y="1226"/>
                  </a:lnTo>
                  <a:lnTo>
                    <a:pt x="805" y="1219"/>
                  </a:lnTo>
                  <a:lnTo>
                    <a:pt x="815" y="1217"/>
                  </a:lnTo>
                  <a:lnTo>
                    <a:pt x="818" y="1219"/>
                  </a:lnTo>
                  <a:lnTo>
                    <a:pt x="822" y="1220"/>
                  </a:lnTo>
                  <a:lnTo>
                    <a:pt x="822" y="1220"/>
                  </a:lnTo>
                  <a:lnTo>
                    <a:pt x="856" y="1248"/>
                  </a:lnTo>
                  <a:lnTo>
                    <a:pt x="878" y="1263"/>
                  </a:lnTo>
                  <a:lnTo>
                    <a:pt x="889" y="1271"/>
                  </a:lnTo>
                  <a:lnTo>
                    <a:pt x="895" y="1271"/>
                  </a:lnTo>
                  <a:lnTo>
                    <a:pt x="899" y="1269"/>
                  </a:lnTo>
                  <a:lnTo>
                    <a:pt x="903" y="1267"/>
                  </a:lnTo>
                  <a:lnTo>
                    <a:pt x="910" y="1269"/>
                  </a:lnTo>
                  <a:lnTo>
                    <a:pt x="923" y="1277"/>
                  </a:lnTo>
                  <a:lnTo>
                    <a:pt x="923" y="1277"/>
                  </a:lnTo>
                  <a:lnTo>
                    <a:pt x="931" y="1280"/>
                  </a:lnTo>
                  <a:lnTo>
                    <a:pt x="936" y="1280"/>
                  </a:lnTo>
                  <a:lnTo>
                    <a:pt x="942" y="1278"/>
                  </a:lnTo>
                  <a:lnTo>
                    <a:pt x="946" y="1275"/>
                  </a:lnTo>
                  <a:lnTo>
                    <a:pt x="949" y="1273"/>
                  </a:lnTo>
                  <a:lnTo>
                    <a:pt x="955" y="1269"/>
                  </a:lnTo>
                  <a:lnTo>
                    <a:pt x="959" y="1269"/>
                  </a:lnTo>
                  <a:lnTo>
                    <a:pt x="964" y="1273"/>
                  </a:lnTo>
                  <a:lnTo>
                    <a:pt x="964" y="1273"/>
                  </a:lnTo>
                  <a:lnTo>
                    <a:pt x="970" y="1277"/>
                  </a:lnTo>
                  <a:lnTo>
                    <a:pt x="977" y="1278"/>
                  </a:lnTo>
                  <a:lnTo>
                    <a:pt x="990" y="1280"/>
                  </a:lnTo>
                  <a:lnTo>
                    <a:pt x="1007" y="1278"/>
                  </a:lnTo>
                  <a:lnTo>
                    <a:pt x="1024" y="1277"/>
                  </a:lnTo>
                  <a:lnTo>
                    <a:pt x="1052" y="1269"/>
                  </a:lnTo>
                  <a:lnTo>
                    <a:pt x="1063" y="1269"/>
                  </a:lnTo>
                  <a:lnTo>
                    <a:pt x="1067" y="1271"/>
                  </a:lnTo>
                  <a:lnTo>
                    <a:pt x="1071" y="1273"/>
                  </a:lnTo>
                  <a:lnTo>
                    <a:pt x="1071" y="1273"/>
                  </a:lnTo>
                  <a:lnTo>
                    <a:pt x="1076" y="1282"/>
                  </a:lnTo>
                  <a:lnTo>
                    <a:pt x="1082" y="1291"/>
                  </a:lnTo>
                  <a:lnTo>
                    <a:pt x="1082" y="1301"/>
                  </a:lnTo>
                  <a:lnTo>
                    <a:pt x="1082" y="1308"/>
                  </a:lnTo>
                  <a:lnTo>
                    <a:pt x="1080" y="1316"/>
                  </a:lnTo>
                  <a:lnTo>
                    <a:pt x="1076" y="1323"/>
                  </a:lnTo>
                  <a:lnTo>
                    <a:pt x="1069" y="1336"/>
                  </a:lnTo>
                  <a:lnTo>
                    <a:pt x="1061" y="1349"/>
                  </a:lnTo>
                  <a:lnTo>
                    <a:pt x="1060" y="1357"/>
                  </a:lnTo>
                  <a:lnTo>
                    <a:pt x="1058" y="1364"/>
                  </a:lnTo>
                  <a:lnTo>
                    <a:pt x="1060" y="1372"/>
                  </a:lnTo>
                  <a:lnTo>
                    <a:pt x="1063" y="1379"/>
                  </a:lnTo>
                  <a:lnTo>
                    <a:pt x="1069" y="1389"/>
                  </a:lnTo>
                  <a:lnTo>
                    <a:pt x="1078" y="1396"/>
                  </a:lnTo>
                  <a:lnTo>
                    <a:pt x="1078" y="1396"/>
                  </a:lnTo>
                  <a:lnTo>
                    <a:pt x="1086" y="1400"/>
                  </a:lnTo>
                  <a:lnTo>
                    <a:pt x="1091" y="1402"/>
                  </a:lnTo>
                  <a:lnTo>
                    <a:pt x="1097" y="1402"/>
                  </a:lnTo>
                  <a:lnTo>
                    <a:pt x="1101" y="1398"/>
                  </a:lnTo>
                  <a:lnTo>
                    <a:pt x="1104" y="1394"/>
                  </a:lnTo>
                  <a:lnTo>
                    <a:pt x="1104" y="1389"/>
                  </a:lnTo>
                  <a:lnTo>
                    <a:pt x="1104" y="1381"/>
                  </a:lnTo>
                  <a:lnTo>
                    <a:pt x="1101" y="1374"/>
                  </a:lnTo>
                  <a:lnTo>
                    <a:pt x="1101" y="1374"/>
                  </a:lnTo>
                  <a:lnTo>
                    <a:pt x="1099" y="1372"/>
                  </a:lnTo>
                  <a:lnTo>
                    <a:pt x="1101" y="1366"/>
                  </a:lnTo>
                  <a:lnTo>
                    <a:pt x="1110" y="1353"/>
                  </a:lnTo>
                  <a:lnTo>
                    <a:pt x="1127" y="1336"/>
                  </a:lnTo>
                  <a:lnTo>
                    <a:pt x="1145" y="1319"/>
                  </a:lnTo>
                  <a:lnTo>
                    <a:pt x="1168" y="1305"/>
                  </a:lnTo>
                  <a:lnTo>
                    <a:pt x="1179" y="1297"/>
                  </a:lnTo>
                  <a:lnTo>
                    <a:pt x="1190" y="1291"/>
                  </a:lnTo>
                  <a:lnTo>
                    <a:pt x="1202" y="1290"/>
                  </a:lnTo>
                  <a:lnTo>
                    <a:pt x="1213" y="1288"/>
                  </a:lnTo>
                  <a:lnTo>
                    <a:pt x="1222" y="1288"/>
                  </a:lnTo>
                  <a:lnTo>
                    <a:pt x="1230" y="1291"/>
                  </a:lnTo>
                  <a:lnTo>
                    <a:pt x="1230" y="1291"/>
                  </a:lnTo>
                  <a:lnTo>
                    <a:pt x="1245" y="1297"/>
                  </a:lnTo>
                  <a:lnTo>
                    <a:pt x="1261" y="1301"/>
                  </a:lnTo>
                  <a:lnTo>
                    <a:pt x="1276" y="1308"/>
                  </a:lnTo>
                  <a:lnTo>
                    <a:pt x="1282" y="1312"/>
                  </a:lnTo>
                  <a:lnTo>
                    <a:pt x="1289" y="1319"/>
                  </a:lnTo>
                  <a:lnTo>
                    <a:pt x="1289" y="1319"/>
                  </a:lnTo>
                  <a:lnTo>
                    <a:pt x="1293" y="1323"/>
                  </a:lnTo>
                  <a:lnTo>
                    <a:pt x="1297" y="1325"/>
                  </a:lnTo>
                  <a:lnTo>
                    <a:pt x="1306" y="1327"/>
                  </a:lnTo>
                  <a:lnTo>
                    <a:pt x="1312" y="1329"/>
                  </a:lnTo>
                  <a:lnTo>
                    <a:pt x="1319" y="1333"/>
                  </a:lnTo>
                  <a:lnTo>
                    <a:pt x="1329" y="1338"/>
                  </a:lnTo>
                  <a:lnTo>
                    <a:pt x="1340" y="1349"/>
                  </a:lnTo>
                  <a:lnTo>
                    <a:pt x="1340" y="1349"/>
                  </a:lnTo>
                  <a:lnTo>
                    <a:pt x="1347" y="1355"/>
                  </a:lnTo>
                  <a:lnTo>
                    <a:pt x="1353" y="1359"/>
                  </a:lnTo>
                  <a:lnTo>
                    <a:pt x="1360" y="1361"/>
                  </a:lnTo>
                  <a:lnTo>
                    <a:pt x="1366" y="1361"/>
                  </a:lnTo>
                  <a:lnTo>
                    <a:pt x="1375" y="1359"/>
                  </a:lnTo>
                  <a:lnTo>
                    <a:pt x="1387" y="1355"/>
                  </a:lnTo>
                  <a:lnTo>
                    <a:pt x="1394" y="1351"/>
                  </a:lnTo>
                  <a:lnTo>
                    <a:pt x="1400" y="1351"/>
                  </a:lnTo>
                  <a:lnTo>
                    <a:pt x="1403" y="1353"/>
                  </a:lnTo>
                  <a:lnTo>
                    <a:pt x="1407" y="1357"/>
                  </a:lnTo>
                  <a:lnTo>
                    <a:pt x="1413" y="1362"/>
                  </a:lnTo>
                  <a:lnTo>
                    <a:pt x="1418" y="1370"/>
                  </a:lnTo>
                  <a:lnTo>
                    <a:pt x="1424" y="1379"/>
                  </a:lnTo>
                  <a:lnTo>
                    <a:pt x="1424" y="1379"/>
                  </a:lnTo>
                  <a:lnTo>
                    <a:pt x="1426" y="1389"/>
                  </a:lnTo>
                  <a:lnTo>
                    <a:pt x="1424" y="1400"/>
                  </a:lnTo>
                  <a:lnTo>
                    <a:pt x="1420" y="1417"/>
                  </a:lnTo>
                  <a:lnTo>
                    <a:pt x="1422" y="1426"/>
                  </a:lnTo>
                  <a:lnTo>
                    <a:pt x="1422" y="1430"/>
                  </a:lnTo>
                  <a:lnTo>
                    <a:pt x="1426" y="1432"/>
                  </a:lnTo>
                  <a:lnTo>
                    <a:pt x="1430" y="1435"/>
                  </a:lnTo>
                  <a:lnTo>
                    <a:pt x="1433" y="1437"/>
                  </a:lnTo>
                  <a:lnTo>
                    <a:pt x="1450" y="1441"/>
                  </a:lnTo>
                  <a:lnTo>
                    <a:pt x="1450" y="1441"/>
                  </a:lnTo>
                  <a:lnTo>
                    <a:pt x="1458" y="1441"/>
                  </a:lnTo>
                  <a:lnTo>
                    <a:pt x="1463" y="1443"/>
                  </a:lnTo>
                  <a:lnTo>
                    <a:pt x="1467" y="1447"/>
                  </a:lnTo>
                  <a:lnTo>
                    <a:pt x="1471" y="1450"/>
                  </a:lnTo>
                  <a:lnTo>
                    <a:pt x="1471" y="1454"/>
                  </a:lnTo>
                  <a:lnTo>
                    <a:pt x="1471" y="1458"/>
                  </a:lnTo>
                  <a:lnTo>
                    <a:pt x="1469" y="1467"/>
                  </a:lnTo>
                  <a:lnTo>
                    <a:pt x="1459" y="1488"/>
                  </a:lnTo>
                  <a:lnTo>
                    <a:pt x="1458" y="1499"/>
                  </a:lnTo>
                  <a:lnTo>
                    <a:pt x="1458" y="1503"/>
                  </a:lnTo>
                  <a:lnTo>
                    <a:pt x="1459" y="1506"/>
                  </a:lnTo>
                  <a:lnTo>
                    <a:pt x="1459" y="1506"/>
                  </a:lnTo>
                  <a:lnTo>
                    <a:pt x="1465" y="1519"/>
                  </a:lnTo>
                  <a:lnTo>
                    <a:pt x="1469" y="1529"/>
                  </a:lnTo>
                  <a:lnTo>
                    <a:pt x="1471" y="1532"/>
                  </a:lnTo>
                  <a:lnTo>
                    <a:pt x="1476" y="1534"/>
                  </a:lnTo>
                  <a:lnTo>
                    <a:pt x="1508" y="1536"/>
                  </a:lnTo>
                  <a:lnTo>
                    <a:pt x="1542" y="1540"/>
                  </a:lnTo>
                  <a:lnTo>
                    <a:pt x="1588" y="1549"/>
                  </a:lnTo>
                  <a:lnTo>
                    <a:pt x="1588" y="1549"/>
                  </a:lnTo>
                  <a:lnTo>
                    <a:pt x="1611" y="1553"/>
                  </a:lnTo>
                  <a:lnTo>
                    <a:pt x="1629" y="1555"/>
                  </a:lnTo>
                  <a:lnTo>
                    <a:pt x="1644" y="1555"/>
                  </a:lnTo>
                  <a:lnTo>
                    <a:pt x="1658" y="1553"/>
                  </a:lnTo>
                  <a:lnTo>
                    <a:pt x="1667" y="1549"/>
                  </a:lnTo>
                  <a:lnTo>
                    <a:pt x="1676" y="1544"/>
                  </a:lnTo>
                  <a:lnTo>
                    <a:pt x="1684" y="1538"/>
                  </a:lnTo>
                  <a:lnTo>
                    <a:pt x="1691" y="1531"/>
                  </a:lnTo>
                  <a:lnTo>
                    <a:pt x="1706" y="1518"/>
                  </a:lnTo>
                  <a:lnTo>
                    <a:pt x="1714" y="1510"/>
                  </a:lnTo>
                  <a:lnTo>
                    <a:pt x="1725" y="1503"/>
                  </a:lnTo>
                  <a:lnTo>
                    <a:pt x="1736" y="1495"/>
                  </a:lnTo>
                  <a:lnTo>
                    <a:pt x="1749" y="1490"/>
                  </a:lnTo>
                  <a:lnTo>
                    <a:pt x="1766" y="1484"/>
                  </a:lnTo>
                  <a:lnTo>
                    <a:pt x="1786" y="1480"/>
                  </a:lnTo>
                  <a:lnTo>
                    <a:pt x="1786" y="1480"/>
                  </a:lnTo>
                  <a:lnTo>
                    <a:pt x="1813" y="1476"/>
                  </a:lnTo>
                  <a:lnTo>
                    <a:pt x="1837" y="1471"/>
                  </a:lnTo>
                  <a:lnTo>
                    <a:pt x="1856" y="1463"/>
                  </a:lnTo>
                  <a:lnTo>
                    <a:pt x="1871" y="1456"/>
                  </a:lnTo>
                  <a:lnTo>
                    <a:pt x="1884" y="1450"/>
                  </a:lnTo>
                  <a:lnTo>
                    <a:pt x="1893" y="1443"/>
                  </a:lnTo>
                  <a:lnTo>
                    <a:pt x="1908" y="1430"/>
                  </a:lnTo>
                  <a:lnTo>
                    <a:pt x="1921" y="1419"/>
                  </a:lnTo>
                  <a:lnTo>
                    <a:pt x="1927" y="1415"/>
                  </a:lnTo>
                  <a:lnTo>
                    <a:pt x="1934" y="1413"/>
                  </a:lnTo>
                  <a:lnTo>
                    <a:pt x="1943" y="1413"/>
                  </a:lnTo>
                  <a:lnTo>
                    <a:pt x="1955" y="1413"/>
                  </a:lnTo>
                  <a:lnTo>
                    <a:pt x="1968" y="1417"/>
                  </a:lnTo>
                  <a:lnTo>
                    <a:pt x="1985" y="1422"/>
                  </a:lnTo>
                  <a:lnTo>
                    <a:pt x="1985" y="1422"/>
                  </a:lnTo>
                  <a:lnTo>
                    <a:pt x="1992" y="1424"/>
                  </a:lnTo>
                  <a:lnTo>
                    <a:pt x="2001" y="1426"/>
                  </a:lnTo>
                  <a:lnTo>
                    <a:pt x="2009" y="1428"/>
                  </a:lnTo>
                  <a:lnTo>
                    <a:pt x="2018" y="1430"/>
                  </a:lnTo>
                  <a:lnTo>
                    <a:pt x="2029" y="1435"/>
                  </a:lnTo>
                  <a:lnTo>
                    <a:pt x="2041" y="1443"/>
                  </a:lnTo>
                  <a:lnTo>
                    <a:pt x="2056" y="1456"/>
                  </a:lnTo>
                  <a:lnTo>
                    <a:pt x="2072" y="1475"/>
                  </a:lnTo>
                  <a:lnTo>
                    <a:pt x="2072" y="1475"/>
                  </a:lnTo>
                  <a:lnTo>
                    <a:pt x="2082" y="1482"/>
                  </a:lnTo>
                  <a:lnTo>
                    <a:pt x="2091" y="1488"/>
                  </a:lnTo>
                  <a:lnTo>
                    <a:pt x="2102" y="1493"/>
                  </a:lnTo>
                  <a:lnTo>
                    <a:pt x="2106" y="1495"/>
                  </a:lnTo>
                  <a:lnTo>
                    <a:pt x="2110" y="1501"/>
                  </a:lnTo>
                  <a:lnTo>
                    <a:pt x="2110" y="1501"/>
                  </a:lnTo>
                  <a:lnTo>
                    <a:pt x="2114" y="1504"/>
                  </a:lnTo>
                  <a:lnTo>
                    <a:pt x="2115" y="1506"/>
                  </a:lnTo>
                  <a:lnTo>
                    <a:pt x="2119" y="1506"/>
                  </a:lnTo>
                  <a:lnTo>
                    <a:pt x="2123" y="1506"/>
                  </a:lnTo>
                  <a:lnTo>
                    <a:pt x="2130" y="1501"/>
                  </a:lnTo>
                  <a:lnTo>
                    <a:pt x="2142" y="1495"/>
                  </a:lnTo>
                  <a:lnTo>
                    <a:pt x="2142" y="1495"/>
                  </a:lnTo>
                  <a:lnTo>
                    <a:pt x="2155" y="1490"/>
                  </a:lnTo>
                  <a:lnTo>
                    <a:pt x="2158" y="1488"/>
                  </a:lnTo>
                  <a:lnTo>
                    <a:pt x="2160" y="1484"/>
                  </a:lnTo>
                  <a:lnTo>
                    <a:pt x="2160" y="1482"/>
                  </a:lnTo>
                  <a:lnTo>
                    <a:pt x="2158" y="1480"/>
                  </a:lnTo>
                  <a:lnTo>
                    <a:pt x="2155" y="1476"/>
                  </a:lnTo>
                  <a:lnTo>
                    <a:pt x="2153" y="1471"/>
                  </a:lnTo>
                  <a:lnTo>
                    <a:pt x="2151" y="1467"/>
                  </a:lnTo>
                  <a:lnTo>
                    <a:pt x="2151" y="1463"/>
                  </a:lnTo>
                  <a:lnTo>
                    <a:pt x="2153" y="1458"/>
                  </a:lnTo>
                  <a:lnTo>
                    <a:pt x="2155" y="1452"/>
                  </a:lnTo>
                  <a:lnTo>
                    <a:pt x="2160" y="1447"/>
                  </a:lnTo>
                  <a:lnTo>
                    <a:pt x="2168" y="1439"/>
                  </a:lnTo>
                  <a:lnTo>
                    <a:pt x="2168" y="1439"/>
                  </a:lnTo>
                  <a:lnTo>
                    <a:pt x="2175" y="1432"/>
                  </a:lnTo>
                  <a:lnTo>
                    <a:pt x="2181" y="1422"/>
                  </a:lnTo>
                  <a:lnTo>
                    <a:pt x="2186" y="1413"/>
                  </a:lnTo>
                  <a:lnTo>
                    <a:pt x="2192" y="1405"/>
                  </a:lnTo>
                  <a:lnTo>
                    <a:pt x="2198" y="1404"/>
                  </a:lnTo>
                  <a:lnTo>
                    <a:pt x="2201" y="1404"/>
                  </a:lnTo>
                  <a:lnTo>
                    <a:pt x="2203" y="1405"/>
                  </a:lnTo>
                  <a:lnTo>
                    <a:pt x="2207" y="1415"/>
                  </a:lnTo>
                  <a:lnTo>
                    <a:pt x="2213" y="1433"/>
                  </a:lnTo>
                  <a:lnTo>
                    <a:pt x="2213" y="1433"/>
                  </a:lnTo>
                  <a:lnTo>
                    <a:pt x="2213" y="1435"/>
                  </a:lnTo>
                  <a:lnTo>
                    <a:pt x="2214" y="1437"/>
                  </a:lnTo>
                  <a:lnTo>
                    <a:pt x="2220" y="1435"/>
                  </a:lnTo>
                  <a:lnTo>
                    <a:pt x="2224" y="1437"/>
                  </a:lnTo>
                  <a:lnTo>
                    <a:pt x="2229" y="1437"/>
                  </a:lnTo>
                  <a:lnTo>
                    <a:pt x="2233" y="1441"/>
                  </a:lnTo>
                  <a:lnTo>
                    <a:pt x="2237" y="1447"/>
                  </a:lnTo>
                  <a:lnTo>
                    <a:pt x="2237" y="1447"/>
                  </a:lnTo>
                  <a:lnTo>
                    <a:pt x="2246" y="1461"/>
                  </a:lnTo>
                  <a:lnTo>
                    <a:pt x="2252" y="1467"/>
                  </a:lnTo>
                  <a:lnTo>
                    <a:pt x="2254" y="1469"/>
                  </a:lnTo>
                  <a:lnTo>
                    <a:pt x="2254" y="1471"/>
                  </a:lnTo>
                  <a:lnTo>
                    <a:pt x="2254" y="1471"/>
                  </a:lnTo>
                  <a:lnTo>
                    <a:pt x="2263" y="1458"/>
                  </a:lnTo>
                  <a:lnTo>
                    <a:pt x="2272" y="1445"/>
                  </a:lnTo>
                  <a:lnTo>
                    <a:pt x="2278" y="1441"/>
                  </a:lnTo>
                  <a:lnTo>
                    <a:pt x="2282" y="1441"/>
                  </a:lnTo>
                  <a:lnTo>
                    <a:pt x="2285" y="1445"/>
                  </a:lnTo>
                  <a:lnTo>
                    <a:pt x="2287" y="1456"/>
                  </a:lnTo>
                  <a:lnTo>
                    <a:pt x="2287" y="1456"/>
                  </a:lnTo>
                  <a:lnTo>
                    <a:pt x="2289" y="1471"/>
                  </a:lnTo>
                  <a:lnTo>
                    <a:pt x="2289" y="1475"/>
                  </a:lnTo>
                  <a:lnTo>
                    <a:pt x="2291" y="1476"/>
                  </a:lnTo>
                  <a:lnTo>
                    <a:pt x="2300" y="1475"/>
                  </a:lnTo>
                  <a:lnTo>
                    <a:pt x="2319" y="1469"/>
                  </a:lnTo>
                  <a:lnTo>
                    <a:pt x="2319" y="1469"/>
                  </a:lnTo>
                  <a:lnTo>
                    <a:pt x="2328" y="1467"/>
                  </a:lnTo>
                  <a:lnTo>
                    <a:pt x="2330" y="1463"/>
                  </a:lnTo>
                  <a:lnTo>
                    <a:pt x="2332" y="1461"/>
                  </a:lnTo>
                  <a:lnTo>
                    <a:pt x="2332" y="1454"/>
                  </a:lnTo>
                  <a:lnTo>
                    <a:pt x="2330" y="1445"/>
                  </a:lnTo>
                  <a:lnTo>
                    <a:pt x="2328" y="1435"/>
                  </a:lnTo>
                  <a:lnTo>
                    <a:pt x="2327" y="1424"/>
                  </a:lnTo>
                  <a:lnTo>
                    <a:pt x="2327" y="1415"/>
                  </a:lnTo>
                  <a:lnTo>
                    <a:pt x="2330" y="1404"/>
                  </a:lnTo>
                  <a:lnTo>
                    <a:pt x="2330" y="1404"/>
                  </a:lnTo>
                  <a:lnTo>
                    <a:pt x="2332" y="1392"/>
                  </a:lnTo>
                  <a:lnTo>
                    <a:pt x="2336" y="1374"/>
                  </a:lnTo>
                  <a:lnTo>
                    <a:pt x="2338" y="1364"/>
                  </a:lnTo>
                  <a:lnTo>
                    <a:pt x="2342" y="1359"/>
                  </a:lnTo>
                  <a:lnTo>
                    <a:pt x="2343" y="1359"/>
                  </a:lnTo>
                  <a:lnTo>
                    <a:pt x="2347" y="1359"/>
                  </a:lnTo>
                  <a:lnTo>
                    <a:pt x="2353" y="1366"/>
                  </a:lnTo>
                  <a:lnTo>
                    <a:pt x="2353" y="1366"/>
                  </a:lnTo>
                  <a:lnTo>
                    <a:pt x="2353" y="1374"/>
                  </a:lnTo>
                  <a:lnTo>
                    <a:pt x="2355" y="1385"/>
                  </a:lnTo>
                  <a:lnTo>
                    <a:pt x="2356" y="1389"/>
                  </a:lnTo>
                  <a:lnTo>
                    <a:pt x="2360" y="1390"/>
                  </a:lnTo>
                  <a:lnTo>
                    <a:pt x="2362" y="1392"/>
                  </a:lnTo>
                  <a:lnTo>
                    <a:pt x="2368" y="1389"/>
                  </a:lnTo>
                  <a:lnTo>
                    <a:pt x="2368" y="1389"/>
                  </a:lnTo>
                  <a:lnTo>
                    <a:pt x="2371" y="1383"/>
                  </a:lnTo>
                  <a:lnTo>
                    <a:pt x="2373" y="1376"/>
                  </a:lnTo>
                  <a:lnTo>
                    <a:pt x="2373" y="1357"/>
                  </a:lnTo>
                  <a:lnTo>
                    <a:pt x="2375" y="1349"/>
                  </a:lnTo>
                  <a:lnTo>
                    <a:pt x="2377" y="1342"/>
                  </a:lnTo>
                  <a:lnTo>
                    <a:pt x="2383" y="1336"/>
                  </a:lnTo>
                  <a:lnTo>
                    <a:pt x="2392" y="1334"/>
                  </a:lnTo>
                  <a:lnTo>
                    <a:pt x="2392" y="1334"/>
                  </a:lnTo>
                  <a:lnTo>
                    <a:pt x="2392" y="1271"/>
                  </a:lnTo>
                  <a:lnTo>
                    <a:pt x="2394" y="1241"/>
                  </a:lnTo>
                  <a:lnTo>
                    <a:pt x="2394" y="1241"/>
                  </a:lnTo>
                  <a:lnTo>
                    <a:pt x="2399" y="1230"/>
                  </a:lnTo>
                  <a:lnTo>
                    <a:pt x="2401" y="1217"/>
                  </a:lnTo>
                  <a:lnTo>
                    <a:pt x="2401" y="1204"/>
                  </a:lnTo>
                  <a:lnTo>
                    <a:pt x="2398" y="1191"/>
                  </a:lnTo>
                  <a:lnTo>
                    <a:pt x="2392" y="1163"/>
                  </a:lnTo>
                  <a:lnTo>
                    <a:pt x="2392" y="1149"/>
                  </a:lnTo>
                  <a:lnTo>
                    <a:pt x="2394" y="1136"/>
                  </a:lnTo>
                  <a:lnTo>
                    <a:pt x="2394" y="1136"/>
                  </a:lnTo>
                  <a:lnTo>
                    <a:pt x="2398" y="1120"/>
                  </a:lnTo>
                  <a:lnTo>
                    <a:pt x="2398" y="1108"/>
                  </a:lnTo>
                  <a:lnTo>
                    <a:pt x="2396" y="1101"/>
                  </a:lnTo>
                  <a:lnTo>
                    <a:pt x="2392" y="1093"/>
                  </a:lnTo>
                  <a:lnTo>
                    <a:pt x="2386" y="1088"/>
                  </a:lnTo>
                  <a:lnTo>
                    <a:pt x="2385" y="1084"/>
                  </a:lnTo>
                  <a:lnTo>
                    <a:pt x="2385" y="1080"/>
                  </a:lnTo>
                  <a:lnTo>
                    <a:pt x="2385" y="1080"/>
                  </a:lnTo>
                  <a:lnTo>
                    <a:pt x="2385" y="1073"/>
                  </a:lnTo>
                  <a:lnTo>
                    <a:pt x="2381" y="1065"/>
                  </a:lnTo>
                  <a:lnTo>
                    <a:pt x="2373" y="1045"/>
                  </a:lnTo>
                  <a:lnTo>
                    <a:pt x="2370" y="1035"/>
                  </a:lnTo>
                  <a:lnTo>
                    <a:pt x="2371" y="1030"/>
                  </a:lnTo>
                  <a:lnTo>
                    <a:pt x="2371" y="1028"/>
                  </a:lnTo>
                  <a:lnTo>
                    <a:pt x="2375" y="1026"/>
                  </a:lnTo>
                  <a:lnTo>
                    <a:pt x="2385" y="1028"/>
                  </a:lnTo>
                  <a:lnTo>
                    <a:pt x="2385" y="1028"/>
                  </a:lnTo>
                  <a:lnTo>
                    <a:pt x="2394" y="1030"/>
                  </a:lnTo>
                  <a:lnTo>
                    <a:pt x="2396" y="1030"/>
                  </a:lnTo>
                  <a:lnTo>
                    <a:pt x="2398" y="1028"/>
                  </a:lnTo>
                  <a:lnTo>
                    <a:pt x="2398" y="1022"/>
                  </a:lnTo>
                  <a:lnTo>
                    <a:pt x="2394" y="1015"/>
                  </a:lnTo>
                  <a:lnTo>
                    <a:pt x="2385" y="998"/>
                  </a:lnTo>
                  <a:lnTo>
                    <a:pt x="2377" y="989"/>
                  </a:lnTo>
                  <a:lnTo>
                    <a:pt x="2377" y="989"/>
                  </a:lnTo>
                  <a:lnTo>
                    <a:pt x="2371" y="979"/>
                  </a:lnTo>
                  <a:lnTo>
                    <a:pt x="2364" y="968"/>
                  </a:lnTo>
                  <a:lnTo>
                    <a:pt x="2356" y="957"/>
                  </a:lnTo>
                  <a:lnTo>
                    <a:pt x="2355" y="950"/>
                  </a:lnTo>
                  <a:lnTo>
                    <a:pt x="2355" y="950"/>
                  </a:lnTo>
                  <a:lnTo>
                    <a:pt x="2355" y="936"/>
                  </a:lnTo>
                  <a:lnTo>
                    <a:pt x="2353" y="927"/>
                  </a:lnTo>
                  <a:lnTo>
                    <a:pt x="2349" y="914"/>
                  </a:lnTo>
                  <a:lnTo>
                    <a:pt x="2343" y="903"/>
                  </a:lnTo>
                  <a:lnTo>
                    <a:pt x="2342" y="895"/>
                  </a:lnTo>
                  <a:lnTo>
                    <a:pt x="2342" y="895"/>
                  </a:lnTo>
                  <a:lnTo>
                    <a:pt x="2340" y="888"/>
                  </a:lnTo>
                  <a:lnTo>
                    <a:pt x="2334" y="879"/>
                  </a:lnTo>
                  <a:lnTo>
                    <a:pt x="2328" y="871"/>
                  </a:lnTo>
                  <a:lnTo>
                    <a:pt x="2323" y="862"/>
                  </a:lnTo>
                  <a:lnTo>
                    <a:pt x="2308" y="850"/>
                  </a:lnTo>
                  <a:lnTo>
                    <a:pt x="2302" y="847"/>
                  </a:lnTo>
                  <a:lnTo>
                    <a:pt x="2295" y="843"/>
                  </a:lnTo>
                  <a:lnTo>
                    <a:pt x="2295" y="843"/>
                  </a:lnTo>
                  <a:lnTo>
                    <a:pt x="2293" y="843"/>
                  </a:lnTo>
                  <a:lnTo>
                    <a:pt x="2293" y="843"/>
                  </a:lnTo>
                  <a:lnTo>
                    <a:pt x="2265" y="841"/>
                  </a:lnTo>
                  <a:lnTo>
                    <a:pt x="2254" y="841"/>
                  </a:lnTo>
                  <a:lnTo>
                    <a:pt x="2246" y="845"/>
                  </a:lnTo>
                  <a:lnTo>
                    <a:pt x="2239" y="849"/>
                  </a:lnTo>
                  <a:lnTo>
                    <a:pt x="2233" y="856"/>
                  </a:lnTo>
                  <a:lnTo>
                    <a:pt x="2228" y="865"/>
                  </a:lnTo>
                  <a:lnTo>
                    <a:pt x="2222" y="879"/>
                  </a:lnTo>
                  <a:lnTo>
                    <a:pt x="2222" y="879"/>
                  </a:lnTo>
                  <a:lnTo>
                    <a:pt x="2218" y="884"/>
                  </a:lnTo>
                  <a:lnTo>
                    <a:pt x="2214" y="890"/>
                  </a:lnTo>
                  <a:lnTo>
                    <a:pt x="2205" y="895"/>
                  </a:lnTo>
                  <a:lnTo>
                    <a:pt x="2194" y="899"/>
                  </a:lnTo>
                  <a:lnTo>
                    <a:pt x="2183" y="901"/>
                  </a:lnTo>
                  <a:lnTo>
                    <a:pt x="2162" y="901"/>
                  </a:lnTo>
                  <a:lnTo>
                    <a:pt x="2155" y="901"/>
                  </a:lnTo>
                  <a:lnTo>
                    <a:pt x="2153" y="903"/>
                  </a:lnTo>
                  <a:lnTo>
                    <a:pt x="2153" y="903"/>
                  </a:lnTo>
                  <a:lnTo>
                    <a:pt x="2153" y="914"/>
                  </a:lnTo>
                  <a:lnTo>
                    <a:pt x="2153" y="925"/>
                  </a:lnTo>
                  <a:lnTo>
                    <a:pt x="2149" y="933"/>
                  </a:lnTo>
                  <a:lnTo>
                    <a:pt x="2145" y="938"/>
                  </a:lnTo>
                  <a:lnTo>
                    <a:pt x="2140" y="942"/>
                  </a:lnTo>
                  <a:lnTo>
                    <a:pt x="2134" y="940"/>
                  </a:lnTo>
                  <a:lnTo>
                    <a:pt x="2127" y="936"/>
                  </a:lnTo>
                  <a:lnTo>
                    <a:pt x="2117" y="927"/>
                  </a:lnTo>
                  <a:lnTo>
                    <a:pt x="2117" y="927"/>
                  </a:lnTo>
                  <a:lnTo>
                    <a:pt x="2106" y="912"/>
                  </a:lnTo>
                  <a:lnTo>
                    <a:pt x="2097" y="905"/>
                  </a:lnTo>
                  <a:lnTo>
                    <a:pt x="2091" y="903"/>
                  </a:lnTo>
                  <a:lnTo>
                    <a:pt x="2087" y="907"/>
                  </a:lnTo>
                  <a:lnTo>
                    <a:pt x="2085" y="910"/>
                  </a:lnTo>
                  <a:lnTo>
                    <a:pt x="2085" y="916"/>
                  </a:lnTo>
                  <a:lnTo>
                    <a:pt x="2085" y="921"/>
                  </a:lnTo>
                  <a:lnTo>
                    <a:pt x="2087" y="925"/>
                  </a:lnTo>
                  <a:lnTo>
                    <a:pt x="2087" y="925"/>
                  </a:lnTo>
                  <a:lnTo>
                    <a:pt x="2091" y="931"/>
                  </a:lnTo>
                  <a:lnTo>
                    <a:pt x="2093" y="936"/>
                  </a:lnTo>
                  <a:lnTo>
                    <a:pt x="2091" y="942"/>
                  </a:lnTo>
                  <a:lnTo>
                    <a:pt x="2089" y="946"/>
                  </a:lnTo>
                  <a:lnTo>
                    <a:pt x="2085" y="948"/>
                  </a:lnTo>
                  <a:lnTo>
                    <a:pt x="2082" y="948"/>
                  </a:lnTo>
                  <a:lnTo>
                    <a:pt x="2076" y="946"/>
                  </a:lnTo>
                  <a:lnTo>
                    <a:pt x="2072" y="940"/>
                  </a:lnTo>
                  <a:lnTo>
                    <a:pt x="2072" y="940"/>
                  </a:lnTo>
                  <a:lnTo>
                    <a:pt x="2069" y="933"/>
                  </a:lnTo>
                  <a:lnTo>
                    <a:pt x="2065" y="929"/>
                  </a:lnTo>
                  <a:lnTo>
                    <a:pt x="2061" y="925"/>
                  </a:lnTo>
                  <a:lnTo>
                    <a:pt x="2057" y="925"/>
                  </a:lnTo>
                  <a:lnTo>
                    <a:pt x="2048" y="925"/>
                  </a:lnTo>
                  <a:lnTo>
                    <a:pt x="2043" y="923"/>
                  </a:lnTo>
                  <a:lnTo>
                    <a:pt x="2035" y="921"/>
                  </a:lnTo>
                  <a:lnTo>
                    <a:pt x="2035" y="921"/>
                  </a:lnTo>
                  <a:lnTo>
                    <a:pt x="2016" y="914"/>
                  </a:lnTo>
                  <a:lnTo>
                    <a:pt x="2007" y="910"/>
                  </a:lnTo>
                  <a:lnTo>
                    <a:pt x="2001" y="908"/>
                  </a:lnTo>
                  <a:lnTo>
                    <a:pt x="1998" y="905"/>
                  </a:lnTo>
                  <a:lnTo>
                    <a:pt x="1988" y="890"/>
                  </a:lnTo>
                  <a:lnTo>
                    <a:pt x="1988" y="890"/>
                  </a:lnTo>
                  <a:lnTo>
                    <a:pt x="1986" y="886"/>
                  </a:lnTo>
                  <a:lnTo>
                    <a:pt x="1988" y="879"/>
                  </a:lnTo>
                  <a:lnTo>
                    <a:pt x="1994" y="860"/>
                  </a:lnTo>
                  <a:lnTo>
                    <a:pt x="1996" y="850"/>
                  </a:lnTo>
                  <a:lnTo>
                    <a:pt x="1994" y="843"/>
                  </a:lnTo>
                  <a:lnTo>
                    <a:pt x="1990" y="839"/>
                  </a:lnTo>
                  <a:lnTo>
                    <a:pt x="1986" y="837"/>
                  </a:lnTo>
                  <a:lnTo>
                    <a:pt x="1981" y="836"/>
                  </a:lnTo>
                  <a:lnTo>
                    <a:pt x="1975" y="836"/>
                  </a:lnTo>
                  <a:lnTo>
                    <a:pt x="1975" y="836"/>
                  </a:lnTo>
                  <a:lnTo>
                    <a:pt x="1968" y="834"/>
                  </a:lnTo>
                  <a:lnTo>
                    <a:pt x="1960" y="832"/>
                  </a:lnTo>
                  <a:lnTo>
                    <a:pt x="1955" y="828"/>
                  </a:lnTo>
                  <a:lnTo>
                    <a:pt x="1949" y="822"/>
                  </a:lnTo>
                  <a:lnTo>
                    <a:pt x="1942" y="809"/>
                  </a:lnTo>
                  <a:lnTo>
                    <a:pt x="1934" y="794"/>
                  </a:lnTo>
                  <a:lnTo>
                    <a:pt x="1925" y="781"/>
                  </a:lnTo>
                  <a:lnTo>
                    <a:pt x="1921" y="778"/>
                  </a:lnTo>
                  <a:lnTo>
                    <a:pt x="1915" y="774"/>
                  </a:lnTo>
                  <a:lnTo>
                    <a:pt x="1908" y="772"/>
                  </a:lnTo>
                  <a:lnTo>
                    <a:pt x="1900" y="770"/>
                  </a:lnTo>
                  <a:lnTo>
                    <a:pt x="1891" y="774"/>
                  </a:lnTo>
                  <a:lnTo>
                    <a:pt x="1882" y="778"/>
                  </a:lnTo>
                  <a:lnTo>
                    <a:pt x="1882" y="778"/>
                  </a:lnTo>
                  <a:lnTo>
                    <a:pt x="1872" y="781"/>
                  </a:lnTo>
                  <a:lnTo>
                    <a:pt x="1863" y="785"/>
                  </a:lnTo>
                  <a:lnTo>
                    <a:pt x="1856" y="785"/>
                  </a:lnTo>
                  <a:lnTo>
                    <a:pt x="1848" y="785"/>
                  </a:lnTo>
                  <a:lnTo>
                    <a:pt x="1835" y="781"/>
                  </a:lnTo>
                  <a:lnTo>
                    <a:pt x="1824" y="776"/>
                  </a:lnTo>
                  <a:lnTo>
                    <a:pt x="1803" y="765"/>
                  </a:lnTo>
                  <a:lnTo>
                    <a:pt x="1796" y="763"/>
                  </a:lnTo>
                  <a:lnTo>
                    <a:pt x="1792" y="763"/>
                  </a:lnTo>
                  <a:lnTo>
                    <a:pt x="1788" y="765"/>
                  </a:lnTo>
                  <a:lnTo>
                    <a:pt x="1788" y="765"/>
                  </a:lnTo>
                  <a:lnTo>
                    <a:pt x="1781" y="768"/>
                  </a:lnTo>
                  <a:lnTo>
                    <a:pt x="1775" y="766"/>
                  </a:lnTo>
                  <a:lnTo>
                    <a:pt x="1768" y="763"/>
                  </a:lnTo>
                  <a:lnTo>
                    <a:pt x="1762" y="755"/>
                  </a:lnTo>
                  <a:lnTo>
                    <a:pt x="1753" y="746"/>
                  </a:lnTo>
                  <a:lnTo>
                    <a:pt x="1742" y="737"/>
                  </a:lnTo>
                  <a:lnTo>
                    <a:pt x="1727" y="729"/>
                  </a:lnTo>
                  <a:lnTo>
                    <a:pt x="1708" y="722"/>
                  </a:lnTo>
                  <a:lnTo>
                    <a:pt x="1708" y="722"/>
                  </a:lnTo>
                  <a:lnTo>
                    <a:pt x="1669" y="712"/>
                  </a:lnTo>
                  <a:lnTo>
                    <a:pt x="1648" y="705"/>
                  </a:lnTo>
                  <a:lnTo>
                    <a:pt x="1637" y="697"/>
                  </a:lnTo>
                  <a:lnTo>
                    <a:pt x="1616" y="688"/>
                  </a:lnTo>
                  <a:lnTo>
                    <a:pt x="1616" y="688"/>
                  </a:lnTo>
                  <a:lnTo>
                    <a:pt x="1607" y="684"/>
                  </a:lnTo>
                  <a:lnTo>
                    <a:pt x="1598" y="679"/>
                  </a:lnTo>
                  <a:lnTo>
                    <a:pt x="1583" y="665"/>
                  </a:lnTo>
                  <a:lnTo>
                    <a:pt x="1570" y="652"/>
                  </a:lnTo>
                  <a:lnTo>
                    <a:pt x="1558" y="637"/>
                  </a:lnTo>
                  <a:lnTo>
                    <a:pt x="1544" y="613"/>
                  </a:lnTo>
                  <a:lnTo>
                    <a:pt x="1540" y="604"/>
                  </a:lnTo>
                  <a:lnTo>
                    <a:pt x="1536" y="602"/>
                  </a:lnTo>
                  <a:lnTo>
                    <a:pt x="1536" y="602"/>
                  </a:lnTo>
                  <a:lnTo>
                    <a:pt x="1532" y="600"/>
                  </a:lnTo>
                  <a:lnTo>
                    <a:pt x="1530" y="602"/>
                  </a:lnTo>
                  <a:lnTo>
                    <a:pt x="1523" y="606"/>
                  </a:lnTo>
                  <a:lnTo>
                    <a:pt x="1517" y="609"/>
                  </a:lnTo>
                  <a:lnTo>
                    <a:pt x="1510" y="615"/>
                  </a:lnTo>
                  <a:lnTo>
                    <a:pt x="1499" y="619"/>
                  </a:lnTo>
                  <a:lnTo>
                    <a:pt x="1491" y="619"/>
                  </a:lnTo>
                  <a:lnTo>
                    <a:pt x="1484" y="617"/>
                  </a:lnTo>
                  <a:lnTo>
                    <a:pt x="1474" y="615"/>
                  </a:lnTo>
                  <a:lnTo>
                    <a:pt x="1463" y="611"/>
                  </a:lnTo>
                  <a:lnTo>
                    <a:pt x="1435" y="596"/>
                  </a:lnTo>
                  <a:lnTo>
                    <a:pt x="1435" y="596"/>
                  </a:lnTo>
                  <a:lnTo>
                    <a:pt x="1430" y="591"/>
                  </a:lnTo>
                  <a:lnTo>
                    <a:pt x="1422" y="578"/>
                  </a:lnTo>
                  <a:lnTo>
                    <a:pt x="1407" y="546"/>
                  </a:lnTo>
                  <a:lnTo>
                    <a:pt x="1390" y="509"/>
                  </a:lnTo>
                  <a:lnTo>
                    <a:pt x="1383" y="494"/>
                  </a:lnTo>
                  <a:lnTo>
                    <a:pt x="1375" y="482"/>
                  </a:lnTo>
                  <a:lnTo>
                    <a:pt x="1375" y="482"/>
                  </a:lnTo>
                  <a:lnTo>
                    <a:pt x="1370" y="473"/>
                  </a:lnTo>
                  <a:lnTo>
                    <a:pt x="1368" y="466"/>
                  </a:lnTo>
                  <a:lnTo>
                    <a:pt x="1372" y="460"/>
                  </a:lnTo>
                  <a:lnTo>
                    <a:pt x="1377" y="454"/>
                  </a:lnTo>
                  <a:lnTo>
                    <a:pt x="1390" y="441"/>
                  </a:lnTo>
                  <a:lnTo>
                    <a:pt x="1396" y="434"/>
                  </a:lnTo>
                  <a:lnTo>
                    <a:pt x="1400" y="424"/>
                  </a:lnTo>
                  <a:lnTo>
                    <a:pt x="1400" y="424"/>
                  </a:lnTo>
                  <a:lnTo>
                    <a:pt x="1400" y="410"/>
                  </a:lnTo>
                  <a:lnTo>
                    <a:pt x="1400" y="400"/>
                  </a:lnTo>
                  <a:lnTo>
                    <a:pt x="1396" y="393"/>
                  </a:lnTo>
                  <a:lnTo>
                    <a:pt x="1390" y="385"/>
                  </a:lnTo>
                  <a:lnTo>
                    <a:pt x="1390" y="385"/>
                  </a:lnTo>
                  <a:lnTo>
                    <a:pt x="1390" y="383"/>
                  </a:lnTo>
                  <a:lnTo>
                    <a:pt x="1390" y="381"/>
                  </a:lnTo>
                  <a:lnTo>
                    <a:pt x="1392" y="376"/>
                  </a:lnTo>
                  <a:lnTo>
                    <a:pt x="1403" y="365"/>
                  </a:lnTo>
                  <a:lnTo>
                    <a:pt x="1407" y="359"/>
                  </a:lnTo>
                  <a:lnTo>
                    <a:pt x="1409" y="355"/>
                  </a:lnTo>
                  <a:lnTo>
                    <a:pt x="1409" y="352"/>
                  </a:lnTo>
                  <a:lnTo>
                    <a:pt x="1407" y="350"/>
                  </a:lnTo>
                  <a:lnTo>
                    <a:pt x="1400" y="348"/>
                  </a:lnTo>
                  <a:lnTo>
                    <a:pt x="1400" y="348"/>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0" name="Freeform 80">
              <a:extLst>
                <a:ext uri="{FF2B5EF4-FFF2-40B4-BE49-F238E27FC236}">
                  <a16:creationId xmlns:a16="http://schemas.microsoft.com/office/drawing/2014/main" id="{33BEB051-39B4-4B52-97D8-37D7778A8055}"/>
                </a:ext>
              </a:extLst>
            </p:cNvPr>
            <p:cNvSpPr>
              <a:spLocks/>
            </p:cNvSpPr>
            <p:nvPr/>
          </p:nvSpPr>
          <p:spPr bwMode="auto">
            <a:xfrm>
              <a:off x="1959639" y="3523732"/>
              <a:ext cx="230717" cy="187116"/>
            </a:xfrm>
            <a:custGeom>
              <a:avLst/>
              <a:gdLst/>
              <a:ahLst/>
              <a:cxnLst>
                <a:cxn ang="0">
                  <a:pos x="178" y="35"/>
                </a:cxn>
                <a:cxn ang="0">
                  <a:pos x="169" y="26"/>
                </a:cxn>
                <a:cxn ang="0">
                  <a:pos x="159" y="22"/>
                </a:cxn>
                <a:cxn ang="0">
                  <a:pos x="155" y="18"/>
                </a:cxn>
                <a:cxn ang="0">
                  <a:pos x="155" y="13"/>
                </a:cxn>
                <a:cxn ang="0">
                  <a:pos x="154" y="11"/>
                </a:cxn>
                <a:cxn ang="0">
                  <a:pos x="146" y="15"/>
                </a:cxn>
                <a:cxn ang="0">
                  <a:pos x="139" y="13"/>
                </a:cxn>
                <a:cxn ang="0">
                  <a:pos x="131" y="5"/>
                </a:cxn>
                <a:cxn ang="0">
                  <a:pos x="126" y="7"/>
                </a:cxn>
                <a:cxn ang="0">
                  <a:pos x="122" y="9"/>
                </a:cxn>
                <a:cxn ang="0">
                  <a:pos x="120" y="9"/>
                </a:cxn>
                <a:cxn ang="0">
                  <a:pos x="114" y="2"/>
                </a:cxn>
                <a:cxn ang="0">
                  <a:pos x="103" y="0"/>
                </a:cxn>
                <a:cxn ang="0">
                  <a:pos x="66" y="2"/>
                </a:cxn>
                <a:cxn ang="0">
                  <a:pos x="36" y="9"/>
                </a:cxn>
                <a:cxn ang="0">
                  <a:pos x="21" y="15"/>
                </a:cxn>
                <a:cxn ang="0">
                  <a:pos x="17" y="22"/>
                </a:cxn>
                <a:cxn ang="0">
                  <a:pos x="4" y="35"/>
                </a:cxn>
                <a:cxn ang="0">
                  <a:pos x="0" y="45"/>
                </a:cxn>
                <a:cxn ang="0">
                  <a:pos x="2" y="48"/>
                </a:cxn>
                <a:cxn ang="0">
                  <a:pos x="10" y="63"/>
                </a:cxn>
                <a:cxn ang="0">
                  <a:pos x="12" y="78"/>
                </a:cxn>
                <a:cxn ang="0">
                  <a:pos x="6" y="104"/>
                </a:cxn>
                <a:cxn ang="0">
                  <a:pos x="4" y="121"/>
                </a:cxn>
                <a:cxn ang="0">
                  <a:pos x="6" y="132"/>
                </a:cxn>
                <a:cxn ang="0">
                  <a:pos x="15" y="140"/>
                </a:cxn>
                <a:cxn ang="0">
                  <a:pos x="23" y="144"/>
                </a:cxn>
                <a:cxn ang="0">
                  <a:pos x="47" y="166"/>
                </a:cxn>
                <a:cxn ang="0">
                  <a:pos x="56" y="185"/>
                </a:cxn>
                <a:cxn ang="0">
                  <a:pos x="58" y="202"/>
                </a:cxn>
                <a:cxn ang="0">
                  <a:pos x="152" y="205"/>
                </a:cxn>
                <a:cxn ang="0">
                  <a:pos x="176" y="205"/>
                </a:cxn>
                <a:cxn ang="0">
                  <a:pos x="182" y="202"/>
                </a:cxn>
                <a:cxn ang="0">
                  <a:pos x="183" y="189"/>
                </a:cxn>
                <a:cxn ang="0">
                  <a:pos x="191" y="174"/>
                </a:cxn>
                <a:cxn ang="0">
                  <a:pos x="206" y="153"/>
                </a:cxn>
                <a:cxn ang="0">
                  <a:pos x="217" y="144"/>
                </a:cxn>
                <a:cxn ang="0">
                  <a:pos x="241" y="129"/>
                </a:cxn>
                <a:cxn ang="0">
                  <a:pos x="254" y="119"/>
                </a:cxn>
                <a:cxn ang="0">
                  <a:pos x="241" y="110"/>
                </a:cxn>
                <a:cxn ang="0">
                  <a:pos x="230" y="112"/>
                </a:cxn>
                <a:cxn ang="0">
                  <a:pos x="225" y="114"/>
                </a:cxn>
                <a:cxn ang="0">
                  <a:pos x="219" y="110"/>
                </a:cxn>
                <a:cxn ang="0">
                  <a:pos x="213" y="95"/>
                </a:cxn>
                <a:cxn ang="0">
                  <a:pos x="206" y="89"/>
                </a:cxn>
                <a:cxn ang="0">
                  <a:pos x="198" y="88"/>
                </a:cxn>
                <a:cxn ang="0">
                  <a:pos x="191" y="76"/>
                </a:cxn>
                <a:cxn ang="0">
                  <a:pos x="185" y="52"/>
                </a:cxn>
                <a:cxn ang="0">
                  <a:pos x="178" y="35"/>
                </a:cxn>
              </a:cxnLst>
              <a:rect l="0" t="0" r="r" b="b"/>
              <a:pathLst>
                <a:path w="254" h="205">
                  <a:moveTo>
                    <a:pt x="178" y="35"/>
                  </a:moveTo>
                  <a:lnTo>
                    <a:pt x="178" y="35"/>
                  </a:lnTo>
                  <a:lnTo>
                    <a:pt x="172" y="30"/>
                  </a:lnTo>
                  <a:lnTo>
                    <a:pt x="169" y="26"/>
                  </a:lnTo>
                  <a:lnTo>
                    <a:pt x="163" y="24"/>
                  </a:lnTo>
                  <a:lnTo>
                    <a:pt x="159" y="22"/>
                  </a:lnTo>
                  <a:lnTo>
                    <a:pt x="155" y="22"/>
                  </a:lnTo>
                  <a:lnTo>
                    <a:pt x="155" y="18"/>
                  </a:lnTo>
                  <a:lnTo>
                    <a:pt x="155" y="18"/>
                  </a:lnTo>
                  <a:lnTo>
                    <a:pt x="155" y="13"/>
                  </a:lnTo>
                  <a:lnTo>
                    <a:pt x="155" y="11"/>
                  </a:lnTo>
                  <a:lnTo>
                    <a:pt x="154" y="11"/>
                  </a:lnTo>
                  <a:lnTo>
                    <a:pt x="150" y="15"/>
                  </a:lnTo>
                  <a:lnTo>
                    <a:pt x="146" y="15"/>
                  </a:lnTo>
                  <a:lnTo>
                    <a:pt x="146" y="15"/>
                  </a:lnTo>
                  <a:lnTo>
                    <a:pt x="139" y="13"/>
                  </a:lnTo>
                  <a:lnTo>
                    <a:pt x="133" y="9"/>
                  </a:lnTo>
                  <a:lnTo>
                    <a:pt x="131" y="5"/>
                  </a:lnTo>
                  <a:lnTo>
                    <a:pt x="131" y="5"/>
                  </a:lnTo>
                  <a:lnTo>
                    <a:pt x="126" y="7"/>
                  </a:lnTo>
                  <a:lnTo>
                    <a:pt x="124" y="9"/>
                  </a:lnTo>
                  <a:lnTo>
                    <a:pt x="122" y="9"/>
                  </a:lnTo>
                  <a:lnTo>
                    <a:pt x="122" y="9"/>
                  </a:lnTo>
                  <a:lnTo>
                    <a:pt x="120" y="9"/>
                  </a:lnTo>
                  <a:lnTo>
                    <a:pt x="114" y="2"/>
                  </a:lnTo>
                  <a:lnTo>
                    <a:pt x="114" y="2"/>
                  </a:lnTo>
                  <a:lnTo>
                    <a:pt x="111" y="0"/>
                  </a:lnTo>
                  <a:lnTo>
                    <a:pt x="103" y="0"/>
                  </a:lnTo>
                  <a:lnTo>
                    <a:pt x="79" y="0"/>
                  </a:lnTo>
                  <a:lnTo>
                    <a:pt x="66" y="2"/>
                  </a:lnTo>
                  <a:lnTo>
                    <a:pt x="51" y="4"/>
                  </a:lnTo>
                  <a:lnTo>
                    <a:pt x="36" y="9"/>
                  </a:lnTo>
                  <a:lnTo>
                    <a:pt x="21" y="15"/>
                  </a:lnTo>
                  <a:lnTo>
                    <a:pt x="21" y="15"/>
                  </a:lnTo>
                  <a:lnTo>
                    <a:pt x="19" y="18"/>
                  </a:lnTo>
                  <a:lnTo>
                    <a:pt x="17" y="22"/>
                  </a:lnTo>
                  <a:lnTo>
                    <a:pt x="8" y="32"/>
                  </a:lnTo>
                  <a:lnTo>
                    <a:pt x="4" y="35"/>
                  </a:lnTo>
                  <a:lnTo>
                    <a:pt x="0" y="39"/>
                  </a:lnTo>
                  <a:lnTo>
                    <a:pt x="0" y="45"/>
                  </a:lnTo>
                  <a:lnTo>
                    <a:pt x="2" y="48"/>
                  </a:lnTo>
                  <a:lnTo>
                    <a:pt x="2" y="48"/>
                  </a:lnTo>
                  <a:lnTo>
                    <a:pt x="8" y="56"/>
                  </a:lnTo>
                  <a:lnTo>
                    <a:pt x="10" y="63"/>
                  </a:lnTo>
                  <a:lnTo>
                    <a:pt x="12" y="71"/>
                  </a:lnTo>
                  <a:lnTo>
                    <a:pt x="12" y="78"/>
                  </a:lnTo>
                  <a:lnTo>
                    <a:pt x="10" y="91"/>
                  </a:lnTo>
                  <a:lnTo>
                    <a:pt x="6" y="104"/>
                  </a:lnTo>
                  <a:lnTo>
                    <a:pt x="4" y="116"/>
                  </a:lnTo>
                  <a:lnTo>
                    <a:pt x="4" y="121"/>
                  </a:lnTo>
                  <a:lnTo>
                    <a:pt x="4" y="127"/>
                  </a:lnTo>
                  <a:lnTo>
                    <a:pt x="6" y="132"/>
                  </a:lnTo>
                  <a:lnTo>
                    <a:pt x="10" y="136"/>
                  </a:lnTo>
                  <a:lnTo>
                    <a:pt x="15" y="140"/>
                  </a:lnTo>
                  <a:lnTo>
                    <a:pt x="23" y="144"/>
                  </a:lnTo>
                  <a:lnTo>
                    <a:pt x="23" y="144"/>
                  </a:lnTo>
                  <a:lnTo>
                    <a:pt x="34" y="153"/>
                  </a:lnTo>
                  <a:lnTo>
                    <a:pt x="47" y="166"/>
                  </a:lnTo>
                  <a:lnTo>
                    <a:pt x="53" y="175"/>
                  </a:lnTo>
                  <a:lnTo>
                    <a:pt x="56" y="185"/>
                  </a:lnTo>
                  <a:lnTo>
                    <a:pt x="58" y="194"/>
                  </a:lnTo>
                  <a:lnTo>
                    <a:pt x="58" y="202"/>
                  </a:lnTo>
                  <a:lnTo>
                    <a:pt x="58" y="202"/>
                  </a:lnTo>
                  <a:lnTo>
                    <a:pt x="152" y="205"/>
                  </a:lnTo>
                  <a:lnTo>
                    <a:pt x="170" y="205"/>
                  </a:lnTo>
                  <a:lnTo>
                    <a:pt x="176" y="205"/>
                  </a:lnTo>
                  <a:lnTo>
                    <a:pt x="180" y="203"/>
                  </a:lnTo>
                  <a:lnTo>
                    <a:pt x="182" y="202"/>
                  </a:lnTo>
                  <a:lnTo>
                    <a:pt x="182" y="198"/>
                  </a:lnTo>
                  <a:lnTo>
                    <a:pt x="183" y="189"/>
                  </a:lnTo>
                  <a:lnTo>
                    <a:pt x="187" y="181"/>
                  </a:lnTo>
                  <a:lnTo>
                    <a:pt x="191" y="174"/>
                  </a:lnTo>
                  <a:lnTo>
                    <a:pt x="197" y="164"/>
                  </a:lnTo>
                  <a:lnTo>
                    <a:pt x="206" y="153"/>
                  </a:lnTo>
                  <a:lnTo>
                    <a:pt x="206" y="153"/>
                  </a:lnTo>
                  <a:lnTo>
                    <a:pt x="217" y="144"/>
                  </a:lnTo>
                  <a:lnTo>
                    <a:pt x="230" y="136"/>
                  </a:lnTo>
                  <a:lnTo>
                    <a:pt x="241" y="129"/>
                  </a:lnTo>
                  <a:lnTo>
                    <a:pt x="254" y="119"/>
                  </a:lnTo>
                  <a:lnTo>
                    <a:pt x="254" y="119"/>
                  </a:lnTo>
                  <a:lnTo>
                    <a:pt x="247" y="114"/>
                  </a:lnTo>
                  <a:lnTo>
                    <a:pt x="241" y="110"/>
                  </a:lnTo>
                  <a:lnTo>
                    <a:pt x="236" y="110"/>
                  </a:lnTo>
                  <a:lnTo>
                    <a:pt x="230" y="112"/>
                  </a:lnTo>
                  <a:lnTo>
                    <a:pt x="230" y="112"/>
                  </a:lnTo>
                  <a:lnTo>
                    <a:pt x="225" y="114"/>
                  </a:lnTo>
                  <a:lnTo>
                    <a:pt x="223" y="114"/>
                  </a:lnTo>
                  <a:lnTo>
                    <a:pt x="219" y="110"/>
                  </a:lnTo>
                  <a:lnTo>
                    <a:pt x="217" y="106"/>
                  </a:lnTo>
                  <a:lnTo>
                    <a:pt x="213" y="95"/>
                  </a:lnTo>
                  <a:lnTo>
                    <a:pt x="211" y="91"/>
                  </a:lnTo>
                  <a:lnTo>
                    <a:pt x="206" y="89"/>
                  </a:lnTo>
                  <a:lnTo>
                    <a:pt x="206" y="89"/>
                  </a:lnTo>
                  <a:lnTo>
                    <a:pt x="198" y="88"/>
                  </a:lnTo>
                  <a:lnTo>
                    <a:pt x="195" y="82"/>
                  </a:lnTo>
                  <a:lnTo>
                    <a:pt x="191" y="76"/>
                  </a:lnTo>
                  <a:lnTo>
                    <a:pt x="189" y="69"/>
                  </a:lnTo>
                  <a:lnTo>
                    <a:pt x="185" y="52"/>
                  </a:lnTo>
                  <a:lnTo>
                    <a:pt x="183" y="43"/>
                  </a:lnTo>
                  <a:lnTo>
                    <a:pt x="178" y="35"/>
                  </a:lnTo>
                  <a:lnTo>
                    <a:pt x="178" y="35"/>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1" name="Freeform 81">
              <a:extLst>
                <a:ext uri="{FF2B5EF4-FFF2-40B4-BE49-F238E27FC236}">
                  <a16:creationId xmlns:a16="http://schemas.microsoft.com/office/drawing/2014/main" id="{DD0EACB5-CB2E-4E20-88BF-5169661C436E}"/>
                </a:ext>
              </a:extLst>
            </p:cNvPr>
            <p:cNvSpPr>
              <a:spLocks noEditPoints="1"/>
            </p:cNvSpPr>
            <p:nvPr/>
          </p:nvSpPr>
          <p:spPr bwMode="auto">
            <a:xfrm>
              <a:off x="1975990" y="3707216"/>
              <a:ext cx="123533" cy="79933"/>
            </a:xfrm>
            <a:custGeom>
              <a:avLst/>
              <a:gdLst/>
              <a:ahLst/>
              <a:cxnLst>
                <a:cxn ang="0">
                  <a:pos x="4" y="61"/>
                </a:cxn>
                <a:cxn ang="0">
                  <a:pos x="4" y="61"/>
                </a:cxn>
                <a:cxn ang="0">
                  <a:pos x="19" y="59"/>
                </a:cxn>
                <a:cxn ang="0">
                  <a:pos x="19" y="59"/>
                </a:cxn>
                <a:cxn ang="0">
                  <a:pos x="21" y="54"/>
                </a:cxn>
                <a:cxn ang="0">
                  <a:pos x="22" y="50"/>
                </a:cxn>
                <a:cxn ang="0">
                  <a:pos x="24" y="48"/>
                </a:cxn>
                <a:cxn ang="0">
                  <a:pos x="30" y="48"/>
                </a:cxn>
                <a:cxn ang="0">
                  <a:pos x="39" y="52"/>
                </a:cxn>
                <a:cxn ang="0">
                  <a:pos x="52" y="58"/>
                </a:cxn>
                <a:cxn ang="0">
                  <a:pos x="65" y="65"/>
                </a:cxn>
                <a:cxn ang="0">
                  <a:pos x="71" y="65"/>
                </a:cxn>
                <a:cxn ang="0">
                  <a:pos x="77" y="67"/>
                </a:cxn>
                <a:cxn ang="0">
                  <a:pos x="82" y="65"/>
                </a:cxn>
                <a:cxn ang="0">
                  <a:pos x="88" y="61"/>
                </a:cxn>
                <a:cxn ang="0">
                  <a:pos x="92" y="56"/>
                </a:cxn>
                <a:cxn ang="0">
                  <a:pos x="95" y="46"/>
                </a:cxn>
                <a:cxn ang="0">
                  <a:pos x="95" y="46"/>
                </a:cxn>
                <a:cxn ang="0">
                  <a:pos x="101" y="29"/>
                </a:cxn>
                <a:cxn ang="0">
                  <a:pos x="107" y="20"/>
                </a:cxn>
                <a:cxn ang="0">
                  <a:pos x="112" y="16"/>
                </a:cxn>
                <a:cxn ang="0">
                  <a:pos x="116" y="16"/>
                </a:cxn>
                <a:cxn ang="0">
                  <a:pos x="121" y="18"/>
                </a:cxn>
                <a:cxn ang="0">
                  <a:pos x="125" y="18"/>
                </a:cxn>
                <a:cxn ang="0">
                  <a:pos x="131" y="15"/>
                </a:cxn>
                <a:cxn ang="0">
                  <a:pos x="136" y="3"/>
                </a:cxn>
                <a:cxn ang="0">
                  <a:pos x="136" y="3"/>
                </a:cxn>
                <a:cxn ang="0">
                  <a:pos x="39" y="0"/>
                </a:cxn>
                <a:cxn ang="0">
                  <a:pos x="39" y="0"/>
                </a:cxn>
                <a:cxn ang="0">
                  <a:pos x="36" y="7"/>
                </a:cxn>
                <a:cxn ang="0">
                  <a:pos x="30" y="13"/>
                </a:cxn>
                <a:cxn ang="0">
                  <a:pos x="30" y="13"/>
                </a:cxn>
                <a:cxn ang="0">
                  <a:pos x="21" y="20"/>
                </a:cxn>
                <a:cxn ang="0">
                  <a:pos x="13" y="22"/>
                </a:cxn>
                <a:cxn ang="0">
                  <a:pos x="6" y="24"/>
                </a:cxn>
                <a:cxn ang="0">
                  <a:pos x="4" y="26"/>
                </a:cxn>
                <a:cxn ang="0">
                  <a:pos x="2" y="31"/>
                </a:cxn>
                <a:cxn ang="0">
                  <a:pos x="0" y="58"/>
                </a:cxn>
                <a:cxn ang="0">
                  <a:pos x="0" y="58"/>
                </a:cxn>
                <a:cxn ang="0">
                  <a:pos x="4" y="61"/>
                </a:cxn>
                <a:cxn ang="0">
                  <a:pos x="4" y="61"/>
                </a:cxn>
                <a:cxn ang="0">
                  <a:pos x="4" y="67"/>
                </a:cxn>
                <a:cxn ang="0">
                  <a:pos x="4" y="67"/>
                </a:cxn>
                <a:cxn ang="0">
                  <a:pos x="7" y="78"/>
                </a:cxn>
                <a:cxn ang="0">
                  <a:pos x="9" y="86"/>
                </a:cxn>
                <a:cxn ang="0">
                  <a:pos x="11" y="87"/>
                </a:cxn>
                <a:cxn ang="0">
                  <a:pos x="15" y="86"/>
                </a:cxn>
                <a:cxn ang="0">
                  <a:pos x="19" y="74"/>
                </a:cxn>
                <a:cxn ang="0">
                  <a:pos x="19" y="59"/>
                </a:cxn>
                <a:cxn ang="0">
                  <a:pos x="19" y="59"/>
                </a:cxn>
              </a:cxnLst>
              <a:rect l="0" t="0" r="r" b="b"/>
              <a:pathLst>
                <a:path w="136" h="87">
                  <a:moveTo>
                    <a:pt x="4" y="61"/>
                  </a:moveTo>
                  <a:lnTo>
                    <a:pt x="4" y="61"/>
                  </a:lnTo>
                  <a:close/>
                  <a:moveTo>
                    <a:pt x="19" y="59"/>
                  </a:moveTo>
                  <a:lnTo>
                    <a:pt x="19" y="59"/>
                  </a:lnTo>
                  <a:lnTo>
                    <a:pt x="21" y="54"/>
                  </a:lnTo>
                  <a:lnTo>
                    <a:pt x="22" y="50"/>
                  </a:lnTo>
                  <a:lnTo>
                    <a:pt x="24" y="48"/>
                  </a:lnTo>
                  <a:lnTo>
                    <a:pt x="30" y="48"/>
                  </a:lnTo>
                  <a:lnTo>
                    <a:pt x="39" y="52"/>
                  </a:lnTo>
                  <a:lnTo>
                    <a:pt x="52" y="58"/>
                  </a:lnTo>
                  <a:lnTo>
                    <a:pt x="65" y="65"/>
                  </a:lnTo>
                  <a:lnTo>
                    <a:pt x="71" y="65"/>
                  </a:lnTo>
                  <a:lnTo>
                    <a:pt x="77" y="67"/>
                  </a:lnTo>
                  <a:lnTo>
                    <a:pt x="82" y="65"/>
                  </a:lnTo>
                  <a:lnTo>
                    <a:pt x="88" y="61"/>
                  </a:lnTo>
                  <a:lnTo>
                    <a:pt x="92" y="56"/>
                  </a:lnTo>
                  <a:lnTo>
                    <a:pt x="95" y="46"/>
                  </a:lnTo>
                  <a:lnTo>
                    <a:pt x="95" y="46"/>
                  </a:lnTo>
                  <a:lnTo>
                    <a:pt x="101" y="29"/>
                  </a:lnTo>
                  <a:lnTo>
                    <a:pt x="107" y="20"/>
                  </a:lnTo>
                  <a:lnTo>
                    <a:pt x="112" y="16"/>
                  </a:lnTo>
                  <a:lnTo>
                    <a:pt x="116" y="16"/>
                  </a:lnTo>
                  <a:lnTo>
                    <a:pt x="121" y="18"/>
                  </a:lnTo>
                  <a:lnTo>
                    <a:pt x="125" y="18"/>
                  </a:lnTo>
                  <a:lnTo>
                    <a:pt x="131" y="15"/>
                  </a:lnTo>
                  <a:lnTo>
                    <a:pt x="136" y="3"/>
                  </a:lnTo>
                  <a:lnTo>
                    <a:pt x="136" y="3"/>
                  </a:lnTo>
                  <a:lnTo>
                    <a:pt x="39" y="0"/>
                  </a:lnTo>
                  <a:lnTo>
                    <a:pt x="39" y="0"/>
                  </a:lnTo>
                  <a:lnTo>
                    <a:pt x="36" y="7"/>
                  </a:lnTo>
                  <a:lnTo>
                    <a:pt x="30" y="13"/>
                  </a:lnTo>
                  <a:lnTo>
                    <a:pt x="30" y="13"/>
                  </a:lnTo>
                  <a:lnTo>
                    <a:pt x="21" y="20"/>
                  </a:lnTo>
                  <a:lnTo>
                    <a:pt x="13" y="22"/>
                  </a:lnTo>
                  <a:lnTo>
                    <a:pt x="6" y="24"/>
                  </a:lnTo>
                  <a:lnTo>
                    <a:pt x="4" y="26"/>
                  </a:lnTo>
                  <a:lnTo>
                    <a:pt x="2" y="31"/>
                  </a:lnTo>
                  <a:lnTo>
                    <a:pt x="0" y="58"/>
                  </a:lnTo>
                  <a:lnTo>
                    <a:pt x="0" y="58"/>
                  </a:lnTo>
                  <a:lnTo>
                    <a:pt x="4" y="61"/>
                  </a:lnTo>
                  <a:lnTo>
                    <a:pt x="4" y="61"/>
                  </a:lnTo>
                  <a:lnTo>
                    <a:pt x="4" y="67"/>
                  </a:lnTo>
                  <a:lnTo>
                    <a:pt x="4" y="67"/>
                  </a:lnTo>
                  <a:lnTo>
                    <a:pt x="7" y="78"/>
                  </a:lnTo>
                  <a:lnTo>
                    <a:pt x="9" y="86"/>
                  </a:lnTo>
                  <a:lnTo>
                    <a:pt x="11" y="87"/>
                  </a:lnTo>
                  <a:lnTo>
                    <a:pt x="15" y="86"/>
                  </a:lnTo>
                  <a:lnTo>
                    <a:pt x="19" y="74"/>
                  </a:lnTo>
                  <a:lnTo>
                    <a:pt x="19" y="59"/>
                  </a:lnTo>
                  <a:lnTo>
                    <a:pt x="19" y="59"/>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2" name="Line 82">
              <a:extLst>
                <a:ext uri="{FF2B5EF4-FFF2-40B4-BE49-F238E27FC236}">
                  <a16:creationId xmlns:a16="http://schemas.microsoft.com/office/drawing/2014/main" id="{700EC003-3DC3-4940-AA44-033640892437}"/>
                </a:ext>
              </a:extLst>
            </p:cNvPr>
            <p:cNvSpPr>
              <a:spLocks noChangeShapeType="1"/>
            </p:cNvSpPr>
            <p:nvPr/>
          </p:nvSpPr>
          <p:spPr bwMode="auto">
            <a:xfrm>
              <a:off x="1979623" y="3763532"/>
              <a:ext cx="1817" cy="1816"/>
            </a:xfrm>
            <a:prstGeom prst="line">
              <a:avLst/>
            </a:pr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3" name="Freeform 83">
              <a:extLst>
                <a:ext uri="{FF2B5EF4-FFF2-40B4-BE49-F238E27FC236}">
                  <a16:creationId xmlns:a16="http://schemas.microsoft.com/office/drawing/2014/main" id="{83AE51C2-4341-4758-8747-6439CCBF1619}"/>
                </a:ext>
              </a:extLst>
            </p:cNvPr>
            <p:cNvSpPr>
              <a:spLocks/>
            </p:cNvSpPr>
            <p:nvPr/>
          </p:nvSpPr>
          <p:spPr bwMode="auto">
            <a:xfrm>
              <a:off x="1975990" y="3707216"/>
              <a:ext cx="123533" cy="79933"/>
            </a:xfrm>
            <a:custGeom>
              <a:avLst/>
              <a:gdLst/>
              <a:ahLst/>
              <a:cxnLst>
                <a:cxn ang="0">
                  <a:pos x="19" y="59"/>
                </a:cxn>
                <a:cxn ang="0">
                  <a:pos x="19" y="59"/>
                </a:cxn>
                <a:cxn ang="0">
                  <a:pos x="21" y="54"/>
                </a:cxn>
                <a:cxn ang="0">
                  <a:pos x="22" y="50"/>
                </a:cxn>
                <a:cxn ang="0">
                  <a:pos x="24" y="48"/>
                </a:cxn>
                <a:cxn ang="0">
                  <a:pos x="30" y="48"/>
                </a:cxn>
                <a:cxn ang="0">
                  <a:pos x="39" y="52"/>
                </a:cxn>
                <a:cxn ang="0">
                  <a:pos x="52" y="58"/>
                </a:cxn>
                <a:cxn ang="0">
                  <a:pos x="65" y="65"/>
                </a:cxn>
                <a:cxn ang="0">
                  <a:pos x="71" y="65"/>
                </a:cxn>
                <a:cxn ang="0">
                  <a:pos x="77" y="67"/>
                </a:cxn>
                <a:cxn ang="0">
                  <a:pos x="82" y="65"/>
                </a:cxn>
                <a:cxn ang="0">
                  <a:pos x="88" y="61"/>
                </a:cxn>
                <a:cxn ang="0">
                  <a:pos x="92" y="56"/>
                </a:cxn>
                <a:cxn ang="0">
                  <a:pos x="95" y="46"/>
                </a:cxn>
                <a:cxn ang="0">
                  <a:pos x="95" y="46"/>
                </a:cxn>
                <a:cxn ang="0">
                  <a:pos x="101" y="29"/>
                </a:cxn>
                <a:cxn ang="0">
                  <a:pos x="107" y="20"/>
                </a:cxn>
                <a:cxn ang="0">
                  <a:pos x="112" y="16"/>
                </a:cxn>
                <a:cxn ang="0">
                  <a:pos x="116" y="16"/>
                </a:cxn>
                <a:cxn ang="0">
                  <a:pos x="121" y="18"/>
                </a:cxn>
                <a:cxn ang="0">
                  <a:pos x="125" y="18"/>
                </a:cxn>
                <a:cxn ang="0">
                  <a:pos x="131" y="15"/>
                </a:cxn>
                <a:cxn ang="0">
                  <a:pos x="136" y="3"/>
                </a:cxn>
                <a:cxn ang="0">
                  <a:pos x="136" y="3"/>
                </a:cxn>
                <a:cxn ang="0">
                  <a:pos x="39" y="0"/>
                </a:cxn>
                <a:cxn ang="0">
                  <a:pos x="39" y="0"/>
                </a:cxn>
                <a:cxn ang="0">
                  <a:pos x="36" y="7"/>
                </a:cxn>
                <a:cxn ang="0">
                  <a:pos x="30" y="13"/>
                </a:cxn>
                <a:cxn ang="0">
                  <a:pos x="30" y="13"/>
                </a:cxn>
                <a:cxn ang="0">
                  <a:pos x="21" y="20"/>
                </a:cxn>
                <a:cxn ang="0">
                  <a:pos x="13" y="22"/>
                </a:cxn>
                <a:cxn ang="0">
                  <a:pos x="6" y="24"/>
                </a:cxn>
                <a:cxn ang="0">
                  <a:pos x="4" y="26"/>
                </a:cxn>
                <a:cxn ang="0">
                  <a:pos x="2" y="31"/>
                </a:cxn>
                <a:cxn ang="0">
                  <a:pos x="0" y="58"/>
                </a:cxn>
                <a:cxn ang="0">
                  <a:pos x="0" y="58"/>
                </a:cxn>
                <a:cxn ang="0">
                  <a:pos x="4" y="61"/>
                </a:cxn>
                <a:cxn ang="0">
                  <a:pos x="4" y="61"/>
                </a:cxn>
                <a:cxn ang="0">
                  <a:pos x="4" y="67"/>
                </a:cxn>
                <a:cxn ang="0">
                  <a:pos x="4" y="67"/>
                </a:cxn>
                <a:cxn ang="0">
                  <a:pos x="7" y="78"/>
                </a:cxn>
                <a:cxn ang="0">
                  <a:pos x="9" y="86"/>
                </a:cxn>
                <a:cxn ang="0">
                  <a:pos x="11" y="87"/>
                </a:cxn>
                <a:cxn ang="0">
                  <a:pos x="15" y="86"/>
                </a:cxn>
                <a:cxn ang="0">
                  <a:pos x="19" y="74"/>
                </a:cxn>
                <a:cxn ang="0">
                  <a:pos x="19" y="59"/>
                </a:cxn>
                <a:cxn ang="0">
                  <a:pos x="19" y="59"/>
                </a:cxn>
              </a:cxnLst>
              <a:rect l="0" t="0" r="r" b="b"/>
              <a:pathLst>
                <a:path w="136" h="87">
                  <a:moveTo>
                    <a:pt x="19" y="59"/>
                  </a:moveTo>
                  <a:lnTo>
                    <a:pt x="19" y="59"/>
                  </a:lnTo>
                  <a:lnTo>
                    <a:pt x="21" y="54"/>
                  </a:lnTo>
                  <a:lnTo>
                    <a:pt x="22" y="50"/>
                  </a:lnTo>
                  <a:lnTo>
                    <a:pt x="24" y="48"/>
                  </a:lnTo>
                  <a:lnTo>
                    <a:pt x="30" y="48"/>
                  </a:lnTo>
                  <a:lnTo>
                    <a:pt x="39" y="52"/>
                  </a:lnTo>
                  <a:lnTo>
                    <a:pt x="52" y="58"/>
                  </a:lnTo>
                  <a:lnTo>
                    <a:pt x="65" y="65"/>
                  </a:lnTo>
                  <a:lnTo>
                    <a:pt x="71" y="65"/>
                  </a:lnTo>
                  <a:lnTo>
                    <a:pt x="77" y="67"/>
                  </a:lnTo>
                  <a:lnTo>
                    <a:pt x="82" y="65"/>
                  </a:lnTo>
                  <a:lnTo>
                    <a:pt x="88" y="61"/>
                  </a:lnTo>
                  <a:lnTo>
                    <a:pt x="92" y="56"/>
                  </a:lnTo>
                  <a:lnTo>
                    <a:pt x="95" y="46"/>
                  </a:lnTo>
                  <a:lnTo>
                    <a:pt x="95" y="46"/>
                  </a:lnTo>
                  <a:lnTo>
                    <a:pt x="101" y="29"/>
                  </a:lnTo>
                  <a:lnTo>
                    <a:pt x="107" y="20"/>
                  </a:lnTo>
                  <a:lnTo>
                    <a:pt x="112" y="16"/>
                  </a:lnTo>
                  <a:lnTo>
                    <a:pt x="116" y="16"/>
                  </a:lnTo>
                  <a:lnTo>
                    <a:pt x="121" y="18"/>
                  </a:lnTo>
                  <a:lnTo>
                    <a:pt x="125" y="18"/>
                  </a:lnTo>
                  <a:lnTo>
                    <a:pt x="131" y="15"/>
                  </a:lnTo>
                  <a:lnTo>
                    <a:pt x="136" y="3"/>
                  </a:lnTo>
                  <a:lnTo>
                    <a:pt x="136" y="3"/>
                  </a:lnTo>
                  <a:lnTo>
                    <a:pt x="39" y="0"/>
                  </a:lnTo>
                  <a:lnTo>
                    <a:pt x="39" y="0"/>
                  </a:lnTo>
                  <a:lnTo>
                    <a:pt x="36" y="7"/>
                  </a:lnTo>
                  <a:lnTo>
                    <a:pt x="30" y="13"/>
                  </a:lnTo>
                  <a:lnTo>
                    <a:pt x="30" y="13"/>
                  </a:lnTo>
                  <a:lnTo>
                    <a:pt x="21" y="20"/>
                  </a:lnTo>
                  <a:lnTo>
                    <a:pt x="13" y="22"/>
                  </a:lnTo>
                  <a:lnTo>
                    <a:pt x="6" y="24"/>
                  </a:lnTo>
                  <a:lnTo>
                    <a:pt x="4" y="26"/>
                  </a:lnTo>
                  <a:lnTo>
                    <a:pt x="2" y="31"/>
                  </a:lnTo>
                  <a:lnTo>
                    <a:pt x="0" y="58"/>
                  </a:lnTo>
                  <a:lnTo>
                    <a:pt x="0" y="58"/>
                  </a:lnTo>
                  <a:lnTo>
                    <a:pt x="4" y="61"/>
                  </a:lnTo>
                  <a:lnTo>
                    <a:pt x="4" y="61"/>
                  </a:lnTo>
                  <a:lnTo>
                    <a:pt x="4" y="67"/>
                  </a:lnTo>
                  <a:lnTo>
                    <a:pt x="4" y="67"/>
                  </a:lnTo>
                  <a:lnTo>
                    <a:pt x="7" y="78"/>
                  </a:lnTo>
                  <a:lnTo>
                    <a:pt x="9" y="86"/>
                  </a:lnTo>
                  <a:lnTo>
                    <a:pt x="11" y="87"/>
                  </a:lnTo>
                  <a:lnTo>
                    <a:pt x="15" y="86"/>
                  </a:lnTo>
                  <a:lnTo>
                    <a:pt x="19" y="74"/>
                  </a:lnTo>
                  <a:lnTo>
                    <a:pt x="19" y="59"/>
                  </a:lnTo>
                  <a:lnTo>
                    <a:pt x="19" y="59"/>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4" name="Freeform 84">
              <a:extLst>
                <a:ext uri="{FF2B5EF4-FFF2-40B4-BE49-F238E27FC236}">
                  <a16:creationId xmlns:a16="http://schemas.microsoft.com/office/drawing/2014/main" id="{DCB8C965-9852-4DBD-AB51-D1FE25627EBE}"/>
                </a:ext>
              </a:extLst>
            </p:cNvPr>
            <p:cNvSpPr>
              <a:spLocks/>
            </p:cNvSpPr>
            <p:nvPr/>
          </p:nvSpPr>
          <p:spPr bwMode="auto">
            <a:xfrm>
              <a:off x="3164087" y="4746346"/>
              <a:ext cx="672165" cy="285215"/>
            </a:xfrm>
            <a:custGeom>
              <a:avLst/>
              <a:gdLst/>
              <a:ahLst/>
              <a:cxnLst>
                <a:cxn ang="0">
                  <a:pos x="75" y="150"/>
                </a:cxn>
                <a:cxn ang="0">
                  <a:pos x="21" y="151"/>
                </a:cxn>
                <a:cxn ang="0">
                  <a:pos x="4" y="161"/>
                </a:cxn>
                <a:cxn ang="0">
                  <a:pos x="6" y="193"/>
                </a:cxn>
                <a:cxn ang="0">
                  <a:pos x="30" y="202"/>
                </a:cxn>
                <a:cxn ang="0">
                  <a:pos x="51" y="211"/>
                </a:cxn>
                <a:cxn ang="0">
                  <a:pos x="39" y="249"/>
                </a:cxn>
                <a:cxn ang="0">
                  <a:pos x="39" y="267"/>
                </a:cxn>
                <a:cxn ang="0">
                  <a:pos x="56" y="295"/>
                </a:cxn>
                <a:cxn ang="0">
                  <a:pos x="168" y="310"/>
                </a:cxn>
                <a:cxn ang="0">
                  <a:pos x="238" y="314"/>
                </a:cxn>
                <a:cxn ang="0">
                  <a:pos x="271" y="292"/>
                </a:cxn>
                <a:cxn ang="0">
                  <a:pos x="316" y="256"/>
                </a:cxn>
                <a:cxn ang="0">
                  <a:pos x="366" y="241"/>
                </a:cxn>
                <a:cxn ang="0">
                  <a:pos x="451" y="217"/>
                </a:cxn>
                <a:cxn ang="0">
                  <a:pos x="501" y="180"/>
                </a:cxn>
                <a:cxn ang="0">
                  <a:pos x="535" y="174"/>
                </a:cxn>
                <a:cxn ang="0">
                  <a:pos x="574" y="185"/>
                </a:cxn>
                <a:cxn ang="0">
                  <a:pos x="609" y="196"/>
                </a:cxn>
                <a:cxn ang="0">
                  <a:pos x="652" y="236"/>
                </a:cxn>
                <a:cxn ang="0">
                  <a:pos x="686" y="256"/>
                </a:cxn>
                <a:cxn ang="0">
                  <a:pos x="695" y="267"/>
                </a:cxn>
                <a:cxn ang="0">
                  <a:pos x="722" y="256"/>
                </a:cxn>
                <a:cxn ang="0">
                  <a:pos x="740" y="243"/>
                </a:cxn>
                <a:cxn ang="0">
                  <a:pos x="731" y="224"/>
                </a:cxn>
                <a:cxn ang="0">
                  <a:pos x="720" y="193"/>
                </a:cxn>
                <a:cxn ang="0">
                  <a:pos x="697" y="181"/>
                </a:cxn>
                <a:cxn ang="0">
                  <a:pos x="664" y="174"/>
                </a:cxn>
                <a:cxn ang="0">
                  <a:pos x="639" y="161"/>
                </a:cxn>
                <a:cxn ang="0">
                  <a:pos x="615" y="165"/>
                </a:cxn>
                <a:cxn ang="0">
                  <a:pos x="619" y="146"/>
                </a:cxn>
                <a:cxn ang="0">
                  <a:pos x="643" y="123"/>
                </a:cxn>
                <a:cxn ang="0">
                  <a:pos x="654" y="109"/>
                </a:cxn>
                <a:cxn ang="0">
                  <a:pos x="647" y="92"/>
                </a:cxn>
                <a:cxn ang="0">
                  <a:pos x="639" y="69"/>
                </a:cxn>
                <a:cxn ang="0">
                  <a:pos x="609" y="90"/>
                </a:cxn>
                <a:cxn ang="0">
                  <a:pos x="602" y="88"/>
                </a:cxn>
                <a:cxn ang="0">
                  <a:pos x="606" y="67"/>
                </a:cxn>
                <a:cxn ang="0">
                  <a:pos x="641" y="45"/>
                </a:cxn>
                <a:cxn ang="0">
                  <a:pos x="628" y="41"/>
                </a:cxn>
                <a:cxn ang="0">
                  <a:pos x="611" y="17"/>
                </a:cxn>
                <a:cxn ang="0">
                  <a:pos x="596" y="9"/>
                </a:cxn>
                <a:cxn ang="0">
                  <a:pos x="538" y="32"/>
                </a:cxn>
                <a:cxn ang="0">
                  <a:pos x="510" y="51"/>
                </a:cxn>
                <a:cxn ang="0">
                  <a:pos x="464" y="34"/>
                </a:cxn>
                <a:cxn ang="0">
                  <a:pos x="437" y="9"/>
                </a:cxn>
                <a:cxn ang="0">
                  <a:pos x="426" y="0"/>
                </a:cxn>
                <a:cxn ang="0">
                  <a:pos x="391" y="11"/>
                </a:cxn>
                <a:cxn ang="0">
                  <a:pos x="346" y="39"/>
                </a:cxn>
                <a:cxn ang="0">
                  <a:pos x="301" y="66"/>
                </a:cxn>
                <a:cxn ang="0">
                  <a:pos x="243" y="64"/>
                </a:cxn>
                <a:cxn ang="0">
                  <a:pos x="223" y="75"/>
                </a:cxn>
                <a:cxn ang="0">
                  <a:pos x="178" y="118"/>
                </a:cxn>
                <a:cxn ang="0">
                  <a:pos x="144" y="123"/>
                </a:cxn>
                <a:cxn ang="0">
                  <a:pos x="148" y="142"/>
                </a:cxn>
                <a:cxn ang="0">
                  <a:pos x="133" y="155"/>
                </a:cxn>
                <a:cxn ang="0">
                  <a:pos x="94" y="151"/>
                </a:cxn>
              </a:cxnLst>
              <a:rect l="0" t="0" r="r" b="b"/>
              <a:pathLst>
                <a:path w="740" h="316">
                  <a:moveTo>
                    <a:pt x="94" y="151"/>
                  </a:moveTo>
                  <a:lnTo>
                    <a:pt x="94" y="151"/>
                  </a:lnTo>
                  <a:lnTo>
                    <a:pt x="84" y="150"/>
                  </a:lnTo>
                  <a:lnTo>
                    <a:pt x="75" y="150"/>
                  </a:lnTo>
                  <a:lnTo>
                    <a:pt x="58" y="155"/>
                  </a:lnTo>
                  <a:lnTo>
                    <a:pt x="47" y="157"/>
                  </a:lnTo>
                  <a:lnTo>
                    <a:pt x="36" y="157"/>
                  </a:lnTo>
                  <a:lnTo>
                    <a:pt x="21" y="151"/>
                  </a:lnTo>
                  <a:lnTo>
                    <a:pt x="4" y="140"/>
                  </a:lnTo>
                  <a:lnTo>
                    <a:pt x="4" y="140"/>
                  </a:lnTo>
                  <a:lnTo>
                    <a:pt x="6" y="150"/>
                  </a:lnTo>
                  <a:lnTo>
                    <a:pt x="4" y="161"/>
                  </a:lnTo>
                  <a:lnTo>
                    <a:pt x="0" y="178"/>
                  </a:lnTo>
                  <a:lnTo>
                    <a:pt x="2" y="187"/>
                  </a:lnTo>
                  <a:lnTo>
                    <a:pt x="2" y="191"/>
                  </a:lnTo>
                  <a:lnTo>
                    <a:pt x="6" y="193"/>
                  </a:lnTo>
                  <a:lnTo>
                    <a:pt x="10" y="196"/>
                  </a:lnTo>
                  <a:lnTo>
                    <a:pt x="15" y="198"/>
                  </a:lnTo>
                  <a:lnTo>
                    <a:pt x="30" y="202"/>
                  </a:lnTo>
                  <a:lnTo>
                    <a:pt x="30" y="202"/>
                  </a:lnTo>
                  <a:lnTo>
                    <a:pt x="38" y="202"/>
                  </a:lnTo>
                  <a:lnTo>
                    <a:pt x="43" y="204"/>
                  </a:lnTo>
                  <a:lnTo>
                    <a:pt x="47" y="208"/>
                  </a:lnTo>
                  <a:lnTo>
                    <a:pt x="51" y="211"/>
                  </a:lnTo>
                  <a:lnTo>
                    <a:pt x="51" y="215"/>
                  </a:lnTo>
                  <a:lnTo>
                    <a:pt x="51" y="219"/>
                  </a:lnTo>
                  <a:lnTo>
                    <a:pt x="49" y="228"/>
                  </a:lnTo>
                  <a:lnTo>
                    <a:pt x="39" y="249"/>
                  </a:lnTo>
                  <a:lnTo>
                    <a:pt x="38" y="260"/>
                  </a:lnTo>
                  <a:lnTo>
                    <a:pt x="38" y="264"/>
                  </a:lnTo>
                  <a:lnTo>
                    <a:pt x="39" y="267"/>
                  </a:lnTo>
                  <a:lnTo>
                    <a:pt x="39" y="267"/>
                  </a:lnTo>
                  <a:lnTo>
                    <a:pt x="45" y="280"/>
                  </a:lnTo>
                  <a:lnTo>
                    <a:pt x="49" y="290"/>
                  </a:lnTo>
                  <a:lnTo>
                    <a:pt x="51" y="293"/>
                  </a:lnTo>
                  <a:lnTo>
                    <a:pt x="56" y="295"/>
                  </a:lnTo>
                  <a:lnTo>
                    <a:pt x="90" y="297"/>
                  </a:lnTo>
                  <a:lnTo>
                    <a:pt x="122" y="301"/>
                  </a:lnTo>
                  <a:lnTo>
                    <a:pt x="168" y="310"/>
                  </a:lnTo>
                  <a:lnTo>
                    <a:pt x="168" y="310"/>
                  </a:lnTo>
                  <a:lnTo>
                    <a:pt x="191" y="314"/>
                  </a:lnTo>
                  <a:lnTo>
                    <a:pt x="209" y="316"/>
                  </a:lnTo>
                  <a:lnTo>
                    <a:pt x="224" y="316"/>
                  </a:lnTo>
                  <a:lnTo>
                    <a:pt x="238" y="314"/>
                  </a:lnTo>
                  <a:lnTo>
                    <a:pt x="247" y="310"/>
                  </a:lnTo>
                  <a:lnTo>
                    <a:pt x="256" y="305"/>
                  </a:lnTo>
                  <a:lnTo>
                    <a:pt x="264" y="299"/>
                  </a:lnTo>
                  <a:lnTo>
                    <a:pt x="271" y="292"/>
                  </a:lnTo>
                  <a:lnTo>
                    <a:pt x="286" y="279"/>
                  </a:lnTo>
                  <a:lnTo>
                    <a:pt x="294" y="271"/>
                  </a:lnTo>
                  <a:lnTo>
                    <a:pt x="305" y="264"/>
                  </a:lnTo>
                  <a:lnTo>
                    <a:pt x="316" y="256"/>
                  </a:lnTo>
                  <a:lnTo>
                    <a:pt x="329" y="251"/>
                  </a:lnTo>
                  <a:lnTo>
                    <a:pt x="346" y="245"/>
                  </a:lnTo>
                  <a:lnTo>
                    <a:pt x="366" y="241"/>
                  </a:lnTo>
                  <a:lnTo>
                    <a:pt x="366" y="241"/>
                  </a:lnTo>
                  <a:lnTo>
                    <a:pt x="393" y="237"/>
                  </a:lnTo>
                  <a:lnTo>
                    <a:pt x="417" y="232"/>
                  </a:lnTo>
                  <a:lnTo>
                    <a:pt x="436" y="224"/>
                  </a:lnTo>
                  <a:lnTo>
                    <a:pt x="451" y="217"/>
                  </a:lnTo>
                  <a:lnTo>
                    <a:pt x="464" y="211"/>
                  </a:lnTo>
                  <a:lnTo>
                    <a:pt x="473" y="204"/>
                  </a:lnTo>
                  <a:lnTo>
                    <a:pt x="488" y="191"/>
                  </a:lnTo>
                  <a:lnTo>
                    <a:pt x="501" y="180"/>
                  </a:lnTo>
                  <a:lnTo>
                    <a:pt x="507" y="176"/>
                  </a:lnTo>
                  <a:lnTo>
                    <a:pt x="514" y="174"/>
                  </a:lnTo>
                  <a:lnTo>
                    <a:pt x="523" y="174"/>
                  </a:lnTo>
                  <a:lnTo>
                    <a:pt x="535" y="174"/>
                  </a:lnTo>
                  <a:lnTo>
                    <a:pt x="548" y="178"/>
                  </a:lnTo>
                  <a:lnTo>
                    <a:pt x="565" y="183"/>
                  </a:lnTo>
                  <a:lnTo>
                    <a:pt x="565" y="183"/>
                  </a:lnTo>
                  <a:lnTo>
                    <a:pt x="574" y="185"/>
                  </a:lnTo>
                  <a:lnTo>
                    <a:pt x="581" y="187"/>
                  </a:lnTo>
                  <a:lnTo>
                    <a:pt x="591" y="189"/>
                  </a:lnTo>
                  <a:lnTo>
                    <a:pt x="598" y="191"/>
                  </a:lnTo>
                  <a:lnTo>
                    <a:pt x="609" y="196"/>
                  </a:lnTo>
                  <a:lnTo>
                    <a:pt x="621" y="204"/>
                  </a:lnTo>
                  <a:lnTo>
                    <a:pt x="636" y="217"/>
                  </a:lnTo>
                  <a:lnTo>
                    <a:pt x="652" y="236"/>
                  </a:lnTo>
                  <a:lnTo>
                    <a:pt x="652" y="236"/>
                  </a:lnTo>
                  <a:lnTo>
                    <a:pt x="662" y="243"/>
                  </a:lnTo>
                  <a:lnTo>
                    <a:pt x="671" y="249"/>
                  </a:lnTo>
                  <a:lnTo>
                    <a:pt x="682" y="254"/>
                  </a:lnTo>
                  <a:lnTo>
                    <a:pt x="686" y="256"/>
                  </a:lnTo>
                  <a:lnTo>
                    <a:pt x="690" y="262"/>
                  </a:lnTo>
                  <a:lnTo>
                    <a:pt x="690" y="262"/>
                  </a:lnTo>
                  <a:lnTo>
                    <a:pt x="694" y="265"/>
                  </a:lnTo>
                  <a:lnTo>
                    <a:pt x="695" y="267"/>
                  </a:lnTo>
                  <a:lnTo>
                    <a:pt x="699" y="267"/>
                  </a:lnTo>
                  <a:lnTo>
                    <a:pt x="703" y="267"/>
                  </a:lnTo>
                  <a:lnTo>
                    <a:pt x="710" y="262"/>
                  </a:lnTo>
                  <a:lnTo>
                    <a:pt x="722" y="256"/>
                  </a:lnTo>
                  <a:lnTo>
                    <a:pt x="722" y="256"/>
                  </a:lnTo>
                  <a:lnTo>
                    <a:pt x="733" y="251"/>
                  </a:lnTo>
                  <a:lnTo>
                    <a:pt x="738" y="247"/>
                  </a:lnTo>
                  <a:lnTo>
                    <a:pt x="740" y="243"/>
                  </a:lnTo>
                  <a:lnTo>
                    <a:pt x="738" y="239"/>
                  </a:lnTo>
                  <a:lnTo>
                    <a:pt x="735" y="236"/>
                  </a:lnTo>
                  <a:lnTo>
                    <a:pt x="733" y="232"/>
                  </a:lnTo>
                  <a:lnTo>
                    <a:pt x="731" y="224"/>
                  </a:lnTo>
                  <a:lnTo>
                    <a:pt x="733" y="217"/>
                  </a:lnTo>
                  <a:lnTo>
                    <a:pt x="733" y="217"/>
                  </a:lnTo>
                  <a:lnTo>
                    <a:pt x="727" y="204"/>
                  </a:lnTo>
                  <a:lnTo>
                    <a:pt x="720" y="193"/>
                  </a:lnTo>
                  <a:lnTo>
                    <a:pt x="716" y="189"/>
                  </a:lnTo>
                  <a:lnTo>
                    <a:pt x="712" y="185"/>
                  </a:lnTo>
                  <a:lnTo>
                    <a:pt x="705" y="181"/>
                  </a:lnTo>
                  <a:lnTo>
                    <a:pt x="697" y="181"/>
                  </a:lnTo>
                  <a:lnTo>
                    <a:pt x="697" y="181"/>
                  </a:lnTo>
                  <a:lnTo>
                    <a:pt x="682" y="181"/>
                  </a:lnTo>
                  <a:lnTo>
                    <a:pt x="671" y="178"/>
                  </a:lnTo>
                  <a:lnTo>
                    <a:pt x="664" y="174"/>
                  </a:lnTo>
                  <a:lnTo>
                    <a:pt x="658" y="168"/>
                  </a:lnTo>
                  <a:lnTo>
                    <a:pt x="649" y="161"/>
                  </a:lnTo>
                  <a:lnTo>
                    <a:pt x="645" y="159"/>
                  </a:lnTo>
                  <a:lnTo>
                    <a:pt x="639" y="161"/>
                  </a:lnTo>
                  <a:lnTo>
                    <a:pt x="639" y="161"/>
                  </a:lnTo>
                  <a:lnTo>
                    <a:pt x="624" y="165"/>
                  </a:lnTo>
                  <a:lnTo>
                    <a:pt x="619" y="166"/>
                  </a:lnTo>
                  <a:lnTo>
                    <a:pt x="615" y="165"/>
                  </a:lnTo>
                  <a:lnTo>
                    <a:pt x="611" y="165"/>
                  </a:lnTo>
                  <a:lnTo>
                    <a:pt x="611" y="161"/>
                  </a:lnTo>
                  <a:lnTo>
                    <a:pt x="613" y="153"/>
                  </a:lnTo>
                  <a:lnTo>
                    <a:pt x="619" y="146"/>
                  </a:lnTo>
                  <a:lnTo>
                    <a:pt x="626" y="137"/>
                  </a:lnTo>
                  <a:lnTo>
                    <a:pt x="634" y="129"/>
                  </a:lnTo>
                  <a:lnTo>
                    <a:pt x="643" y="123"/>
                  </a:lnTo>
                  <a:lnTo>
                    <a:pt x="643" y="123"/>
                  </a:lnTo>
                  <a:lnTo>
                    <a:pt x="651" y="118"/>
                  </a:lnTo>
                  <a:lnTo>
                    <a:pt x="654" y="116"/>
                  </a:lnTo>
                  <a:lnTo>
                    <a:pt x="654" y="112"/>
                  </a:lnTo>
                  <a:lnTo>
                    <a:pt x="654" y="109"/>
                  </a:lnTo>
                  <a:lnTo>
                    <a:pt x="651" y="103"/>
                  </a:lnTo>
                  <a:lnTo>
                    <a:pt x="649" y="97"/>
                  </a:lnTo>
                  <a:lnTo>
                    <a:pt x="647" y="92"/>
                  </a:lnTo>
                  <a:lnTo>
                    <a:pt x="647" y="92"/>
                  </a:lnTo>
                  <a:lnTo>
                    <a:pt x="647" y="82"/>
                  </a:lnTo>
                  <a:lnTo>
                    <a:pt x="645" y="75"/>
                  </a:lnTo>
                  <a:lnTo>
                    <a:pt x="641" y="71"/>
                  </a:lnTo>
                  <a:lnTo>
                    <a:pt x="639" y="69"/>
                  </a:lnTo>
                  <a:lnTo>
                    <a:pt x="636" y="69"/>
                  </a:lnTo>
                  <a:lnTo>
                    <a:pt x="632" y="71"/>
                  </a:lnTo>
                  <a:lnTo>
                    <a:pt x="624" y="77"/>
                  </a:lnTo>
                  <a:lnTo>
                    <a:pt x="609" y="90"/>
                  </a:lnTo>
                  <a:lnTo>
                    <a:pt x="606" y="92"/>
                  </a:lnTo>
                  <a:lnTo>
                    <a:pt x="604" y="92"/>
                  </a:lnTo>
                  <a:lnTo>
                    <a:pt x="602" y="92"/>
                  </a:lnTo>
                  <a:lnTo>
                    <a:pt x="602" y="88"/>
                  </a:lnTo>
                  <a:lnTo>
                    <a:pt x="602" y="88"/>
                  </a:lnTo>
                  <a:lnTo>
                    <a:pt x="602" y="80"/>
                  </a:lnTo>
                  <a:lnTo>
                    <a:pt x="602" y="73"/>
                  </a:lnTo>
                  <a:lnTo>
                    <a:pt x="606" y="67"/>
                  </a:lnTo>
                  <a:lnTo>
                    <a:pt x="609" y="62"/>
                  </a:lnTo>
                  <a:lnTo>
                    <a:pt x="619" y="54"/>
                  </a:lnTo>
                  <a:lnTo>
                    <a:pt x="628" y="51"/>
                  </a:lnTo>
                  <a:lnTo>
                    <a:pt x="641" y="45"/>
                  </a:lnTo>
                  <a:lnTo>
                    <a:pt x="641" y="45"/>
                  </a:lnTo>
                  <a:lnTo>
                    <a:pt x="639" y="43"/>
                  </a:lnTo>
                  <a:lnTo>
                    <a:pt x="628" y="41"/>
                  </a:lnTo>
                  <a:lnTo>
                    <a:pt x="628" y="41"/>
                  </a:lnTo>
                  <a:lnTo>
                    <a:pt x="623" y="39"/>
                  </a:lnTo>
                  <a:lnTo>
                    <a:pt x="619" y="34"/>
                  </a:lnTo>
                  <a:lnTo>
                    <a:pt x="615" y="23"/>
                  </a:lnTo>
                  <a:lnTo>
                    <a:pt x="611" y="17"/>
                  </a:lnTo>
                  <a:lnTo>
                    <a:pt x="609" y="13"/>
                  </a:lnTo>
                  <a:lnTo>
                    <a:pt x="604" y="11"/>
                  </a:lnTo>
                  <a:lnTo>
                    <a:pt x="596" y="9"/>
                  </a:lnTo>
                  <a:lnTo>
                    <a:pt x="596" y="9"/>
                  </a:lnTo>
                  <a:lnTo>
                    <a:pt x="581" y="13"/>
                  </a:lnTo>
                  <a:lnTo>
                    <a:pt x="568" y="15"/>
                  </a:lnTo>
                  <a:lnTo>
                    <a:pt x="550" y="24"/>
                  </a:lnTo>
                  <a:lnTo>
                    <a:pt x="538" y="32"/>
                  </a:lnTo>
                  <a:lnTo>
                    <a:pt x="529" y="39"/>
                  </a:lnTo>
                  <a:lnTo>
                    <a:pt x="522" y="47"/>
                  </a:lnTo>
                  <a:lnTo>
                    <a:pt x="514" y="51"/>
                  </a:lnTo>
                  <a:lnTo>
                    <a:pt x="510" y="51"/>
                  </a:lnTo>
                  <a:lnTo>
                    <a:pt x="505" y="51"/>
                  </a:lnTo>
                  <a:lnTo>
                    <a:pt x="490" y="45"/>
                  </a:lnTo>
                  <a:lnTo>
                    <a:pt x="490" y="45"/>
                  </a:lnTo>
                  <a:lnTo>
                    <a:pt x="464" y="34"/>
                  </a:lnTo>
                  <a:lnTo>
                    <a:pt x="449" y="28"/>
                  </a:lnTo>
                  <a:lnTo>
                    <a:pt x="445" y="26"/>
                  </a:lnTo>
                  <a:lnTo>
                    <a:pt x="443" y="23"/>
                  </a:lnTo>
                  <a:lnTo>
                    <a:pt x="437" y="9"/>
                  </a:lnTo>
                  <a:lnTo>
                    <a:pt x="437" y="9"/>
                  </a:lnTo>
                  <a:lnTo>
                    <a:pt x="436" y="4"/>
                  </a:lnTo>
                  <a:lnTo>
                    <a:pt x="432" y="0"/>
                  </a:lnTo>
                  <a:lnTo>
                    <a:pt x="426" y="0"/>
                  </a:lnTo>
                  <a:lnTo>
                    <a:pt x="423" y="0"/>
                  </a:lnTo>
                  <a:lnTo>
                    <a:pt x="408" y="6"/>
                  </a:lnTo>
                  <a:lnTo>
                    <a:pt x="391" y="11"/>
                  </a:lnTo>
                  <a:lnTo>
                    <a:pt x="391" y="11"/>
                  </a:lnTo>
                  <a:lnTo>
                    <a:pt x="381" y="15"/>
                  </a:lnTo>
                  <a:lnTo>
                    <a:pt x="372" y="19"/>
                  </a:lnTo>
                  <a:lnTo>
                    <a:pt x="359" y="28"/>
                  </a:lnTo>
                  <a:lnTo>
                    <a:pt x="346" y="39"/>
                  </a:lnTo>
                  <a:lnTo>
                    <a:pt x="333" y="51"/>
                  </a:lnTo>
                  <a:lnTo>
                    <a:pt x="333" y="51"/>
                  </a:lnTo>
                  <a:lnTo>
                    <a:pt x="316" y="60"/>
                  </a:lnTo>
                  <a:lnTo>
                    <a:pt x="301" y="66"/>
                  </a:lnTo>
                  <a:lnTo>
                    <a:pt x="288" y="67"/>
                  </a:lnTo>
                  <a:lnTo>
                    <a:pt x="277" y="67"/>
                  </a:lnTo>
                  <a:lnTo>
                    <a:pt x="254" y="64"/>
                  </a:lnTo>
                  <a:lnTo>
                    <a:pt x="243" y="64"/>
                  </a:lnTo>
                  <a:lnTo>
                    <a:pt x="232" y="66"/>
                  </a:lnTo>
                  <a:lnTo>
                    <a:pt x="232" y="66"/>
                  </a:lnTo>
                  <a:lnTo>
                    <a:pt x="228" y="69"/>
                  </a:lnTo>
                  <a:lnTo>
                    <a:pt x="223" y="75"/>
                  </a:lnTo>
                  <a:lnTo>
                    <a:pt x="209" y="94"/>
                  </a:lnTo>
                  <a:lnTo>
                    <a:pt x="200" y="103"/>
                  </a:lnTo>
                  <a:lnTo>
                    <a:pt x="189" y="112"/>
                  </a:lnTo>
                  <a:lnTo>
                    <a:pt x="178" y="118"/>
                  </a:lnTo>
                  <a:lnTo>
                    <a:pt x="165" y="122"/>
                  </a:lnTo>
                  <a:lnTo>
                    <a:pt x="165" y="122"/>
                  </a:lnTo>
                  <a:lnTo>
                    <a:pt x="148" y="123"/>
                  </a:lnTo>
                  <a:lnTo>
                    <a:pt x="144" y="123"/>
                  </a:lnTo>
                  <a:lnTo>
                    <a:pt x="142" y="125"/>
                  </a:lnTo>
                  <a:lnTo>
                    <a:pt x="144" y="131"/>
                  </a:lnTo>
                  <a:lnTo>
                    <a:pt x="146" y="135"/>
                  </a:lnTo>
                  <a:lnTo>
                    <a:pt x="148" y="142"/>
                  </a:lnTo>
                  <a:lnTo>
                    <a:pt x="148" y="142"/>
                  </a:lnTo>
                  <a:lnTo>
                    <a:pt x="146" y="148"/>
                  </a:lnTo>
                  <a:lnTo>
                    <a:pt x="140" y="151"/>
                  </a:lnTo>
                  <a:lnTo>
                    <a:pt x="133" y="155"/>
                  </a:lnTo>
                  <a:lnTo>
                    <a:pt x="125" y="155"/>
                  </a:lnTo>
                  <a:lnTo>
                    <a:pt x="107" y="155"/>
                  </a:lnTo>
                  <a:lnTo>
                    <a:pt x="94" y="151"/>
                  </a:lnTo>
                  <a:lnTo>
                    <a:pt x="94" y="151"/>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5" name="Freeform 85">
              <a:extLst>
                <a:ext uri="{FF2B5EF4-FFF2-40B4-BE49-F238E27FC236}">
                  <a16:creationId xmlns:a16="http://schemas.microsoft.com/office/drawing/2014/main" id="{28695EBA-91FA-4A8D-A187-FF2C213B381A}"/>
                </a:ext>
              </a:extLst>
            </p:cNvPr>
            <p:cNvSpPr>
              <a:spLocks/>
            </p:cNvSpPr>
            <p:nvPr/>
          </p:nvSpPr>
          <p:spPr bwMode="auto">
            <a:xfrm>
              <a:off x="1885157" y="4075998"/>
              <a:ext cx="47233" cy="58133"/>
            </a:xfrm>
            <a:custGeom>
              <a:avLst/>
              <a:gdLst/>
              <a:ahLst/>
              <a:cxnLst>
                <a:cxn ang="0">
                  <a:pos x="17" y="6"/>
                </a:cxn>
                <a:cxn ang="0">
                  <a:pos x="17" y="6"/>
                </a:cxn>
                <a:cxn ang="0">
                  <a:pos x="11" y="7"/>
                </a:cxn>
                <a:cxn ang="0">
                  <a:pos x="9" y="7"/>
                </a:cxn>
                <a:cxn ang="0">
                  <a:pos x="6" y="9"/>
                </a:cxn>
                <a:cxn ang="0">
                  <a:pos x="0" y="11"/>
                </a:cxn>
                <a:cxn ang="0">
                  <a:pos x="0" y="11"/>
                </a:cxn>
                <a:cxn ang="0">
                  <a:pos x="2" y="19"/>
                </a:cxn>
                <a:cxn ang="0">
                  <a:pos x="4" y="28"/>
                </a:cxn>
                <a:cxn ang="0">
                  <a:pos x="9" y="50"/>
                </a:cxn>
                <a:cxn ang="0">
                  <a:pos x="13" y="58"/>
                </a:cxn>
                <a:cxn ang="0">
                  <a:pos x="15" y="62"/>
                </a:cxn>
                <a:cxn ang="0">
                  <a:pos x="19" y="63"/>
                </a:cxn>
                <a:cxn ang="0">
                  <a:pos x="22" y="63"/>
                </a:cxn>
                <a:cxn ang="0">
                  <a:pos x="26" y="62"/>
                </a:cxn>
                <a:cxn ang="0">
                  <a:pos x="30" y="60"/>
                </a:cxn>
                <a:cxn ang="0">
                  <a:pos x="35" y="54"/>
                </a:cxn>
                <a:cxn ang="0">
                  <a:pos x="35" y="54"/>
                </a:cxn>
                <a:cxn ang="0">
                  <a:pos x="37" y="52"/>
                </a:cxn>
                <a:cxn ang="0">
                  <a:pos x="41" y="52"/>
                </a:cxn>
                <a:cxn ang="0">
                  <a:pos x="47" y="56"/>
                </a:cxn>
                <a:cxn ang="0">
                  <a:pos x="50" y="43"/>
                </a:cxn>
                <a:cxn ang="0">
                  <a:pos x="50" y="43"/>
                </a:cxn>
                <a:cxn ang="0">
                  <a:pos x="49" y="37"/>
                </a:cxn>
                <a:cxn ang="0">
                  <a:pos x="47" y="37"/>
                </a:cxn>
                <a:cxn ang="0">
                  <a:pos x="45" y="34"/>
                </a:cxn>
                <a:cxn ang="0">
                  <a:pos x="43" y="19"/>
                </a:cxn>
                <a:cxn ang="0">
                  <a:pos x="43" y="19"/>
                </a:cxn>
                <a:cxn ang="0">
                  <a:pos x="41" y="11"/>
                </a:cxn>
                <a:cxn ang="0">
                  <a:pos x="39" y="6"/>
                </a:cxn>
                <a:cxn ang="0">
                  <a:pos x="35" y="0"/>
                </a:cxn>
                <a:cxn ang="0">
                  <a:pos x="32" y="0"/>
                </a:cxn>
                <a:cxn ang="0">
                  <a:pos x="32" y="0"/>
                </a:cxn>
                <a:cxn ang="0">
                  <a:pos x="28" y="2"/>
                </a:cxn>
                <a:cxn ang="0">
                  <a:pos x="28" y="4"/>
                </a:cxn>
                <a:cxn ang="0">
                  <a:pos x="26" y="6"/>
                </a:cxn>
                <a:cxn ang="0">
                  <a:pos x="17" y="6"/>
                </a:cxn>
                <a:cxn ang="0">
                  <a:pos x="17" y="6"/>
                </a:cxn>
              </a:cxnLst>
              <a:rect l="0" t="0" r="r" b="b"/>
              <a:pathLst>
                <a:path w="50" h="63">
                  <a:moveTo>
                    <a:pt x="17" y="6"/>
                  </a:moveTo>
                  <a:lnTo>
                    <a:pt x="17" y="6"/>
                  </a:lnTo>
                  <a:lnTo>
                    <a:pt x="11" y="7"/>
                  </a:lnTo>
                  <a:lnTo>
                    <a:pt x="9" y="7"/>
                  </a:lnTo>
                  <a:lnTo>
                    <a:pt x="6" y="9"/>
                  </a:lnTo>
                  <a:lnTo>
                    <a:pt x="0" y="11"/>
                  </a:lnTo>
                  <a:lnTo>
                    <a:pt x="0" y="11"/>
                  </a:lnTo>
                  <a:lnTo>
                    <a:pt x="2" y="19"/>
                  </a:lnTo>
                  <a:lnTo>
                    <a:pt x="4" y="28"/>
                  </a:lnTo>
                  <a:lnTo>
                    <a:pt x="9" y="50"/>
                  </a:lnTo>
                  <a:lnTo>
                    <a:pt x="13" y="58"/>
                  </a:lnTo>
                  <a:lnTo>
                    <a:pt x="15" y="62"/>
                  </a:lnTo>
                  <a:lnTo>
                    <a:pt x="19" y="63"/>
                  </a:lnTo>
                  <a:lnTo>
                    <a:pt x="22" y="63"/>
                  </a:lnTo>
                  <a:lnTo>
                    <a:pt x="26" y="62"/>
                  </a:lnTo>
                  <a:lnTo>
                    <a:pt x="30" y="60"/>
                  </a:lnTo>
                  <a:lnTo>
                    <a:pt x="35" y="54"/>
                  </a:lnTo>
                  <a:lnTo>
                    <a:pt x="35" y="54"/>
                  </a:lnTo>
                  <a:lnTo>
                    <a:pt x="37" y="52"/>
                  </a:lnTo>
                  <a:lnTo>
                    <a:pt x="41" y="52"/>
                  </a:lnTo>
                  <a:lnTo>
                    <a:pt x="47" y="56"/>
                  </a:lnTo>
                  <a:lnTo>
                    <a:pt x="50" y="43"/>
                  </a:lnTo>
                  <a:lnTo>
                    <a:pt x="50" y="43"/>
                  </a:lnTo>
                  <a:lnTo>
                    <a:pt x="49" y="37"/>
                  </a:lnTo>
                  <a:lnTo>
                    <a:pt x="47" y="37"/>
                  </a:lnTo>
                  <a:lnTo>
                    <a:pt x="45" y="34"/>
                  </a:lnTo>
                  <a:lnTo>
                    <a:pt x="43" y="19"/>
                  </a:lnTo>
                  <a:lnTo>
                    <a:pt x="43" y="19"/>
                  </a:lnTo>
                  <a:lnTo>
                    <a:pt x="41" y="11"/>
                  </a:lnTo>
                  <a:lnTo>
                    <a:pt x="39" y="6"/>
                  </a:lnTo>
                  <a:lnTo>
                    <a:pt x="35" y="0"/>
                  </a:lnTo>
                  <a:lnTo>
                    <a:pt x="32" y="0"/>
                  </a:lnTo>
                  <a:lnTo>
                    <a:pt x="32" y="0"/>
                  </a:lnTo>
                  <a:lnTo>
                    <a:pt x="28" y="2"/>
                  </a:lnTo>
                  <a:lnTo>
                    <a:pt x="28" y="4"/>
                  </a:lnTo>
                  <a:lnTo>
                    <a:pt x="26" y="6"/>
                  </a:lnTo>
                  <a:lnTo>
                    <a:pt x="17" y="6"/>
                  </a:lnTo>
                  <a:lnTo>
                    <a:pt x="17" y="6"/>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6" name="Freeform 86">
              <a:extLst>
                <a:ext uri="{FF2B5EF4-FFF2-40B4-BE49-F238E27FC236}">
                  <a16:creationId xmlns:a16="http://schemas.microsoft.com/office/drawing/2014/main" id="{337FE4D4-4E33-4576-913E-D493A66DDD48}"/>
                </a:ext>
              </a:extLst>
            </p:cNvPr>
            <p:cNvSpPr>
              <a:spLocks/>
            </p:cNvSpPr>
            <p:nvPr/>
          </p:nvSpPr>
          <p:spPr bwMode="auto">
            <a:xfrm>
              <a:off x="1874257" y="3939749"/>
              <a:ext cx="18167" cy="30883"/>
            </a:xfrm>
            <a:custGeom>
              <a:avLst/>
              <a:gdLst/>
              <a:ahLst/>
              <a:cxnLst>
                <a:cxn ang="0">
                  <a:pos x="15" y="16"/>
                </a:cxn>
                <a:cxn ang="0">
                  <a:pos x="15" y="16"/>
                </a:cxn>
                <a:cxn ang="0">
                  <a:pos x="20" y="11"/>
                </a:cxn>
                <a:cxn ang="0">
                  <a:pos x="20" y="11"/>
                </a:cxn>
                <a:cxn ang="0">
                  <a:pos x="19" y="9"/>
                </a:cxn>
                <a:cxn ang="0">
                  <a:pos x="13" y="7"/>
                </a:cxn>
                <a:cxn ang="0">
                  <a:pos x="9" y="3"/>
                </a:cxn>
                <a:cxn ang="0">
                  <a:pos x="9" y="0"/>
                </a:cxn>
                <a:cxn ang="0">
                  <a:pos x="9" y="0"/>
                </a:cxn>
                <a:cxn ang="0">
                  <a:pos x="4" y="1"/>
                </a:cxn>
                <a:cxn ang="0">
                  <a:pos x="2" y="3"/>
                </a:cxn>
                <a:cxn ang="0">
                  <a:pos x="0" y="5"/>
                </a:cxn>
                <a:cxn ang="0">
                  <a:pos x="0" y="9"/>
                </a:cxn>
                <a:cxn ang="0">
                  <a:pos x="0" y="15"/>
                </a:cxn>
                <a:cxn ang="0">
                  <a:pos x="7" y="33"/>
                </a:cxn>
                <a:cxn ang="0">
                  <a:pos x="7" y="33"/>
                </a:cxn>
                <a:cxn ang="0">
                  <a:pos x="9" y="31"/>
                </a:cxn>
                <a:cxn ang="0">
                  <a:pos x="11" y="28"/>
                </a:cxn>
                <a:cxn ang="0">
                  <a:pos x="11" y="24"/>
                </a:cxn>
                <a:cxn ang="0">
                  <a:pos x="11" y="18"/>
                </a:cxn>
                <a:cxn ang="0">
                  <a:pos x="15" y="16"/>
                </a:cxn>
                <a:cxn ang="0">
                  <a:pos x="15" y="16"/>
                </a:cxn>
              </a:cxnLst>
              <a:rect l="0" t="0" r="r" b="b"/>
              <a:pathLst>
                <a:path w="20" h="33">
                  <a:moveTo>
                    <a:pt x="15" y="16"/>
                  </a:moveTo>
                  <a:lnTo>
                    <a:pt x="15" y="16"/>
                  </a:lnTo>
                  <a:lnTo>
                    <a:pt x="20" y="11"/>
                  </a:lnTo>
                  <a:lnTo>
                    <a:pt x="20" y="11"/>
                  </a:lnTo>
                  <a:lnTo>
                    <a:pt x="19" y="9"/>
                  </a:lnTo>
                  <a:lnTo>
                    <a:pt x="13" y="7"/>
                  </a:lnTo>
                  <a:lnTo>
                    <a:pt x="9" y="3"/>
                  </a:lnTo>
                  <a:lnTo>
                    <a:pt x="9" y="0"/>
                  </a:lnTo>
                  <a:lnTo>
                    <a:pt x="9" y="0"/>
                  </a:lnTo>
                  <a:lnTo>
                    <a:pt x="4" y="1"/>
                  </a:lnTo>
                  <a:lnTo>
                    <a:pt x="2" y="3"/>
                  </a:lnTo>
                  <a:lnTo>
                    <a:pt x="0" y="5"/>
                  </a:lnTo>
                  <a:lnTo>
                    <a:pt x="0" y="9"/>
                  </a:lnTo>
                  <a:lnTo>
                    <a:pt x="0" y="15"/>
                  </a:lnTo>
                  <a:lnTo>
                    <a:pt x="7" y="33"/>
                  </a:lnTo>
                  <a:lnTo>
                    <a:pt x="7" y="33"/>
                  </a:lnTo>
                  <a:lnTo>
                    <a:pt x="9" y="31"/>
                  </a:lnTo>
                  <a:lnTo>
                    <a:pt x="11" y="28"/>
                  </a:lnTo>
                  <a:lnTo>
                    <a:pt x="11" y="24"/>
                  </a:lnTo>
                  <a:lnTo>
                    <a:pt x="11" y="18"/>
                  </a:lnTo>
                  <a:lnTo>
                    <a:pt x="15" y="16"/>
                  </a:lnTo>
                  <a:lnTo>
                    <a:pt x="15" y="16"/>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7" name="Freeform 87">
              <a:extLst>
                <a:ext uri="{FF2B5EF4-FFF2-40B4-BE49-F238E27FC236}">
                  <a16:creationId xmlns:a16="http://schemas.microsoft.com/office/drawing/2014/main" id="{D7E2C3FB-103D-494E-BD87-45AA488DE69B}"/>
                </a:ext>
              </a:extLst>
            </p:cNvPr>
            <p:cNvSpPr>
              <a:spLocks/>
            </p:cNvSpPr>
            <p:nvPr/>
          </p:nvSpPr>
          <p:spPr bwMode="auto">
            <a:xfrm>
              <a:off x="1972357" y="3857998"/>
              <a:ext cx="41784" cy="89016"/>
            </a:xfrm>
            <a:custGeom>
              <a:avLst/>
              <a:gdLst/>
              <a:ahLst/>
              <a:cxnLst>
                <a:cxn ang="0">
                  <a:pos x="38" y="9"/>
                </a:cxn>
                <a:cxn ang="0">
                  <a:pos x="38" y="9"/>
                </a:cxn>
                <a:cxn ang="0">
                  <a:pos x="28" y="7"/>
                </a:cxn>
                <a:cxn ang="0">
                  <a:pos x="32" y="7"/>
                </a:cxn>
                <a:cxn ang="0">
                  <a:pos x="32" y="6"/>
                </a:cxn>
                <a:cxn ang="0">
                  <a:pos x="30" y="6"/>
                </a:cxn>
                <a:cxn ang="0">
                  <a:pos x="13" y="0"/>
                </a:cxn>
                <a:cxn ang="0">
                  <a:pos x="13" y="0"/>
                </a:cxn>
                <a:cxn ang="0">
                  <a:pos x="15" y="13"/>
                </a:cxn>
                <a:cxn ang="0">
                  <a:pos x="17" y="26"/>
                </a:cxn>
                <a:cxn ang="0">
                  <a:pos x="15" y="43"/>
                </a:cxn>
                <a:cxn ang="0">
                  <a:pos x="11" y="63"/>
                </a:cxn>
                <a:cxn ang="0">
                  <a:pos x="11" y="63"/>
                </a:cxn>
                <a:cxn ang="0">
                  <a:pos x="8" y="75"/>
                </a:cxn>
                <a:cxn ang="0">
                  <a:pos x="0" y="84"/>
                </a:cxn>
                <a:cxn ang="0">
                  <a:pos x="0" y="84"/>
                </a:cxn>
                <a:cxn ang="0">
                  <a:pos x="0" y="88"/>
                </a:cxn>
                <a:cxn ang="0">
                  <a:pos x="0" y="91"/>
                </a:cxn>
                <a:cxn ang="0">
                  <a:pos x="2" y="95"/>
                </a:cxn>
                <a:cxn ang="0">
                  <a:pos x="6" y="99"/>
                </a:cxn>
                <a:cxn ang="0">
                  <a:pos x="11" y="99"/>
                </a:cxn>
                <a:cxn ang="0">
                  <a:pos x="21" y="97"/>
                </a:cxn>
                <a:cxn ang="0">
                  <a:pos x="34" y="90"/>
                </a:cxn>
                <a:cxn ang="0">
                  <a:pos x="34" y="90"/>
                </a:cxn>
                <a:cxn ang="0">
                  <a:pos x="38" y="86"/>
                </a:cxn>
                <a:cxn ang="0">
                  <a:pos x="40" y="82"/>
                </a:cxn>
                <a:cxn ang="0">
                  <a:pos x="41" y="67"/>
                </a:cxn>
                <a:cxn ang="0">
                  <a:pos x="40" y="54"/>
                </a:cxn>
                <a:cxn ang="0">
                  <a:pos x="38" y="48"/>
                </a:cxn>
                <a:cxn ang="0">
                  <a:pos x="36" y="45"/>
                </a:cxn>
                <a:cxn ang="0">
                  <a:pos x="36" y="45"/>
                </a:cxn>
                <a:cxn ang="0">
                  <a:pos x="30" y="43"/>
                </a:cxn>
                <a:cxn ang="0">
                  <a:pos x="32" y="41"/>
                </a:cxn>
                <a:cxn ang="0">
                  <a:pos x="36" y="37"/>
                </a:cxn>
                <a:cxn ang="0">
                  <a:pos x="38" y="35"/>
                </a:cxn>
                <a:cxn ang="0">
                  <a:pos x="38" y="30"/>
                </a:cxn>
                <a:cxn ang="0">
                  <a:pos x="38" y="30"/>
                </a:cxn>
                <a:cxn ang="0">
                  <a:pos x="41" y="24"/>
                </a:cxn>
                <a:cxn ang="0">
                  <a:pos x="45" y="19"/>
                </a:cxn>
                <a:cxn ang="0">
                  <a:pos x="47" y="15"/>
                </a:cxn>
                <a:cxn ang="0">
                  <a:pos x="47" y="11"/>
                </a:cxn>
                <a:cxn ang="0">
                  <a:pos x="43" y="9"/>
                </a:cxn>
                <a:cxn ang="0">
                  <a:pos x="38" y="9"/>
                </a:cxn>
                <a:cxn ang="0">
                  <a:pos x="38" y="9"/>
                </a:cxn>
              </a:cxnLst>
              <a:rect l="0" t="0" r="r" b="b"/>
              <a:pathLst>
                <a:path w="47" h="99">
                  <a:moveTo>
                    <a:pt x="38" y="9"/>
                  </a:moveTo>
                  <a:lnTo>
                    <a:pt x="38" y="9"/>
                  </a:lnTo>
                  <a:lnTo>
                    <a:pt x="28" y="7"/>
                  </a:lnTo>
                  <a:lnTo>
                    <a:pt x="32" y="7"/>
                  </a:lnTo>
                  <a:lnTo>
                    <a:pt x="32" y="6"/>
                  </a:lnTo>
                  <a:lnTo>
                    <a:pt x="30" y="6"/>
                  </a:lnTo>
                  <a:lnTo>
                    <a:pt x="13" y="0"/>
                  </a:lnTo>
                  <a:lnTo>
                    <a:pt x="13" y="0"/>
                  </a:lnTo>
                  <a:lnTo>
                    <a:pt x="15" y="13"/>
                  </a:lnTo>
                  <a:lnTo>
                    <a:pt x="17" y="26"/>
                  </a:lnTo>
                  <a:lnTo>
                    <a:pt x="15" y="43"/>
                  </a:lnTo>
                  <a:lnTo>
                    <a:pt x="11" y="63"/>
                  </a:lnTo>
                  <a:lnTo>
                    <a:pt x="11" y="63"/>
                  </a:lnTo>
                  <a:lnTo>
                    <a:pt x="8" y="75"/>
                  </a:lnTo>
                  <a:lnTo>
                    <a:pt x="0" y="84"/>
                  </a:lnTo>
                  <a:lnTo>
                    <a:pt x="0" y="84"/>
                  </a:lnTo>
                  <a:lnTo>
                    <a:pt x="0" y="88"/>
                  </a:lnTo>
                  <a:lnTo>
                    <a:pt x="0" y="91"/>
                  </a:lnTo>
                  <a:lnTo>
                    <a:pt x="2" y="95"/>
                  </a:lnTo>
                  <a:lnTo>
                    <a:pt x="6" y="99"/>
                  </a:lnTo>
                  <a:lnTo>
                    <a:pt x="11" y="99"/>
                  </a:lnTo>
                  <a:lnTo>
                    <a:pt x="21" y="97"/>
                  </a:lnTo>
                  <a:lnTo>
                    <a:pt x="34" y="90"/>
                  </a:lnTo>
                  <a:lnTo>
                    <a:pt x="34" y="90"/>
                  </a:lnTo>
                  <a:lnTo>
                    <a:pt x="38" y="86"/>
                  </a:lnTo>
                  <a:lnTo>
                    <a:pt x="40" y="82"/>
                  </a:lnTo>
                  <a:lnTo>
                    <a:pt x="41" y="67"/>
                  </a:lnTo>
                  <a:lnTo>
                    <a:pt x="40" y="54"/>
                  </a:lnTo>
                  <a:lnTo>
                    <a:pt x="38" y="48"/>
                  </a:lnTo>
                  <a:lnTo>
                    <a:pt x="36" y="45"/>
                  </a:lnTo>
                  <a:lnTo>
                    <a:pt x="36" y="45"/>
                  </a:lnTo>
                  <a:lnTo>
                    <a:pt x="30" y="43"/>
                  </a:lnTo>
                  <a:lnTo>
                    <a:pt x="32" y="41"/>
                  </a:lnTo>
                  <a:lnTo>
                    <a:pt x="36" y="37"/>
                  </a:lnTo>
                  <a:lnTo>
                    <a:pt x="38" y="35"/>
                  </a:lnTo>
                  <a:lnTo>
                    <a:pt x="38" y="30"/>
                  </a:lnTo>
                  <a:lnTo>
                    <a:pt x="38" y="30"/>
                  </a:lnTo>
                  <a:lnTo>
                    <a:pt x="41" y="24"/>
                  </a:lnTo>
                  <a:lnTo>
                    <a:pt x="45" y="19"/>
                  </a:lnTo>
                  <a:lnTo>
                    <a:pt x="47" y="15"/>
                  </a:lnTo>
                  <a:lnTo>
                    <a:pt x="47" y="11"/>
                  </a:lnTo>
                  <a:lnTo>
                    <a:pt x="43" y="9"/>
                  </a:lnTo>
                  <a:lnTo>
                    <a:pt x="38" y="9"/>
                  </a:lnTo>
                  <a:lnTo>
                    <a:pt x="38" y="9"/>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8" name="Freeform 88">
              <a:extLst>
                <a:ext uri="{FF2B5EF4-FFF2-40B4-BE49-F238E27FC236}">
                  <a16:creationId xmlns:a16="http://schemas.microsoft.com/office/drawing/2014/main" id="{74922B0E-9A31-44B7-9D2E-A052D080FA7E}"/>
                </a:ext>
              </a:extLst>
            </p:cNvPr>
            <p:cNvSpPr>
              <a:spLocks/>
            </p:cNvSpPr>
            <p:nvPr/>
          </p:nvSpPr>
          <p:spPr bwMode="auto">
            <a:xfrm>
              <a:off x="1799773" y="3347517"/>
              <a:ext cx="127166" cy="161682"/>
            </a:xfrm>
            <a:custGeom>
              <a:avLst/>
              <a:gdLst/>
              <a:ahLst/>
              <a:cxnLst>
                <a:cxn ang="0">
                  <a:pos x="89" y="77"/>
                </a:cxn>
                <a:cxn ang="0">
                  <a:pos x="89" y="77"/>
                </a:cxn>
                <a:cxn ang="0">
                  <a:pos x="82" y="66"/>
                </a:cxn>
                <a:cxn ang="0">
                  <a:pos x="65" y="43"/>
                </a:cxn>
                <a:cxn ang="0">
                  <a:pos x="43" y="17"/>
                </a:cxn>
                <a:cxn ang="0">
                  <a:pos x="31" y="8"/>
                </a:cxn>
                <a:cxn ang="0">
                  <a:pos x="20" y="0"/>
                </a:cxn>
                <a:cxn ang="0">
                  <a:pos x="20" y="0"/>
                </a:cxn>
                <a:cxn ang="0">
                  <a:pos x="16" y="10"/>
                </a:cxn>
                <a:cxn ang="0">
                  <a:pos x="13" y="17"/>
                </a:cxn>
                <a:cxn ang="0">
                  <a:pos x="3" y="32"/>
                </a:cxn>
                <a:cxn ang="0">
                  <a:pos x="2" y="40"/>
                </a:cxn>
                <a:cxn ang="0">
                  <a:pos x="0" y="47"/>
                </a:cxn>
                <a:cxn ang="0">
                  <a:pos x="2" y="55"/>
                </a:cxn>
                <a:cxn ang="0">
                  <a:pos x="5" y="64"/>
                </a:cxn>
                <a:cxn ang="0">
                  <a:pos x="5" y="64"/>
                </a:cxn>
                <a:cxn ang="0">
                  <a:pos x="11" y="75"/>
                </a:cxn>
                <a:cxn ang="0">
                  <a:pos x="11" y="81"/>
                </a:cxn>
                <a:cxn ang="0">
                  <a:pos x="11" y="86"/>
                </a:cxn>
                <a:cxn ang="0">
                  <a:pos x="9" y="88"/>
                </a:cxn>
                <a:cxn ang="0">
                  <a:pos x="9" y="90"/>
                </a:cxn>
                <a:cxn ang="0">
                  <a:pos x="15" y="92"/>
                </a:cxn>
                <a:cxn ang="0">
                  <a:pos x="50" y="96"/>
                </a:cxn>
                <a:cxn ang="0">
                  <a:pos x="50" y="96"/>
                </a:cxn>
                <a:cxn ang="0">
                  <a:pos x="56" y="98"/>
                </a:cxn>
                <a:cxn ang="0">
                  <a:pos x="58" y="100"/>
                </a:cxn>
                <a:cxn ang="0">
                  <a:pos x="52" y="105"/>
                </a:cxn>
                <a:cxn ang="0">
                  <a:pos x="50" y="111"/>
                </a:cxn>
                <a:cxn ang="0">
                  <a:pos x="52" y="118"/>
                </a:cxn>
                <a:cxn ang="0">
                  <a:pos x="59" y="129"/>
                </a:cxn>
                <a:cxn ang="0">
                  <a:pos x="74" y="142"/>
                </a:cxn>
                <a:cxn ang="0">
                  <a:pos x="74" y="142"/>
                </a:cxn>
                <a:cxn ang="0">
                  <a:pos x="99" y="161"/>
                </a:cxn>
                <a:cxn ang="0">
                  <a:pos x="123" y="180"/>
                </a:cxn>
                <a:cxn ang="0">
                  <a:pos x="123" y="180"/>
                </a:cxn>
                <a:cxn ang="0">
                  <a:pos x="127" y="176"/>
                </a:cxn>
                <a:cxn ang="0">
                  <a:pos x="130" y="174"/>
                </a:cxn>
                <a:cxn ang="0">
                  <a:pos x="130" y="174"/>
                </a:cxn>
                <a:cxn ang="0">
                  <a:pos x="136" y="172"/>
                </a:cxn>
                <a:cxn ang="0">
                  <a:pos x="138" y="171"/>
                </a:cxn>
                <a:cxn ang="0">
                  <a:pos x="140" y="167"/>
                </a:cxn>
                <a:cxn ang="0">
                  <a:pos x="140" y="165"/>
                </a:cxn>
                <a:cxn ang="0">
                  <a:pos x="138" y="157"/>
                </a:cxn>
                <a:cxn ang="0">
                  <a:pos x="132" y="152"/>
                </a:cxn>
                <a:cxn ang="0">
                  <a:pos x="117" y="141"/>
                </a:cxn>
                <a:cxn ang="0">
                  <a:pos x="108" y="135"/>
                </a:cxn>
                <a:cxn ang="0">
                  <a:pos x="108" y="135"/>
                </a:cxn>
                <a:cxn ang="0">
                  <a:pos x="87" y="109"/>
                </a:cxn>
                <a:cxn ang="0">
                  <a:pos x="80" y="100"/>
                </a:cxn>
                <a:cxn ang="0">
                  <a:pos x="80" y="96"/>
                </a:cxn>
                <a:cxn ang="0">
                  <a:pos x="82" y="92"/>
                </a:cxn>
                <a:cxn ang="0">
                  <a:pos x="89" y="77"/>
                </a:cxn>
                <a:cxn ang="0">
                  <a:pos x="89" y="77"/>
                </a:cxn>
              </a:cxnLst>
              <a:rect l="0" t="0" r="r" b="b"/>
              <a:pathLst>
                <a:path w="140" h="180">
                  <a:moveTo>
                    <a:pt x="89" y="77"/>
                  </a:moveTo>
                  <a:lnTo>
                    <a:pt x="89" y="77"/>
                  </a:lnTo>
                  <a:lnTo>
                    <a:pt x="82" y="66"/>
                  </a:lnTo>
                  <a:lnTo>
                    <a:pt x="65" y="43"/>
                  </a:lnTo>
                  <a:lnTo>
                    <a:pt x="43" y="17"/>
                  </a:lnTo>
                  <a:lnTo>
                    <a:pt x="31" y="8"/>
                  </a:lnTo>
                  <a:lnTo>
                    <a:pt x="20" y="0"/>
                  </a:lnTo>
                  <a:lnTo>
                    <a:pt x="20" y="0"/>
                  </a:lnTo>
                  <a:lnTo>
                    <a:pt x="16" y="10"/>
                  </a:lnTo>
                  <a:lnTo>
                    <a:pt x="13" y="17"/>
                  </a:lnTo>
                  <a:lnTo>
                    <a:pt x="3" y="32"/>
                  </a:lnTo>
                  <a:lnTo>
                    <a:pt x="2" y="40"/>
                  </a:lnTo>
                  <a:lnTo>
                    <a:pt x="0" y="47"/>
                  </a:lnTo>
                  <a:lnTo>
                    <a:pt x="2" y="55"/>
                  </a:lnTo>
                  <a:lnTo>
                    <a:pt x="5" y="64"/>
                  </a:lnTo>
                  <a:lnTo>
                    <a:pt x="5" y="64"/>
                  </a:lnTo>
                  <a:lnTo>
                    <a:pt x="11" y="75"/>
                  </a:lnTo>
                  <a:lnTo>
                    <a:pt x="11" y="81"/>
                  </a:lnTo>
                  <a:lnTo>
                    <a:pt x="11" y="86"/>
                  </a:lnTo>
                  <a:lnTo>
                    <a:pt x="9" y="88"/>
                  </a:lnTo>
                  <a:lnTo>
                    <a:pt x="9" y="90"/>
                  </a:lnTo>
                  <a:lnTo>
                    <a:pt x="15" y="92"/>
                  </a:lnTo>
                  <a:lnTo>
                    <a:pt x="50" y="96"/>
                  </a:lnTo>
                  <a:lnTo>
                    <a:pt x="50" y="96"/>
                  </a:lnTo>
                  <a:lnTo>
                    <a:pt x="56" y="98"/>
                  </a:lnTo>
                  <a:lnTo>
                    <a:pt x="58" y="100"/>
                  </a:lnTo>
                  <a:lnTo>
                    <a:pt x="52" y="105"/>
                  </a:lnTo>
                  <a:lnTo>
                    <a:pt x="50" y="111"/>
                  </a:lnTo>
                  <a:lnTo>
                    <a:pt x="52" y="118"/>
                  </a:lnTo>
                  <a:lnTo>
                    <a:pt x="59" y="129"/>
                  </a:lnTo>
                  <a:lnTo>
                    <a:pt x="74" y="142"/>
                  </a:lnTo>
                  <a:lnTo>
                    <a:pt x="74" y="142"/>
                  </a:lnTo>
                  <a:lnTo>
                    <a:pt x="99" y="161"/>
                  </a:lnTo>
                  <a:lnTo>
                    <a:pt x="123" y="180"/>
                  </a:lnTo>
                  <a:lnTo>
                    <a:pt x="123" y="180"/>
                  </a:lnTo>
                  <a:lnTo>
                    <a:pt x="127" y="176"/>
                  </a:lnTo>
                  <a:lnTo>
                    <a:pt x="130" y="174"/>
                  </a:lnTo>
                  <a:lnTo>
                    <a:pt x="130" y="174"/>
                  </a:lnTo>
                  <a:lnTo>
                    <a:pt x="136" y="172"/>
                  </a:lnTo>
                  <a:lnTo>
                    <a:pt x="138" y="171"/>
                  </a:lnTo>
                  <a:lnTo>
                    <a:pt x="140" y="167"/>
                  </a:lnTo>
                  <a:lnTo>
                    <a:pt x="140" y="165"/>
                  </a:lnTo>
                  <a:lnTo>
                    <a:pt x="138" y="157"/>
                  </a:lnTo>
                  <a:lnTo>
                    <a:pt x="132" y="152"/>
                  </a:lnTo>
                  <a:lnTo>
                    <a:pt x="117" y="141"/>
                  </a:lnTo>
                  <a:lnTo>
                    <a:pt x="108" y="135"/>
                  </a:lnTo>
                  <a:lnTo>
                    <a:pt x="108" y="135"/>
                  </a:lnTo>
                  <a:lnTo>
                    <a:pt x="87" y="109"/>
                  </a:lnTo>
                  <a:lnTo>
                    <a:pt x="80" y="100"/>
                  </a:lnTo>
                  <a:lnTo>
                    <a:pt x="80" y="96"/>
                  </a:lnTo>
                  <a:lnTo>
                    <a:pt x="82" y="92"/>
                  </a:lnTo>
                  <a:lnTo>
                    <a:pt x="89" y="77"/>
                  </a:lnTo>
                  <a:lnTo>
                    <a:pt x="89" y="77"/>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9" name="Freeform 89">
              <a:extLst>
                <a:ext uri="{FF2B5EF4-FFF2-40B4-BE49-F238E27FC236}">
                  <a16:creationId xmlns:a16="http://schemas.microsoft.com/office/drawing/2014/main" id="{1B469F49-3B3B-41A5-9C02-9BF468581247}"/>
                </a:ext>
              </a:extLst>
            </p:cNvPr>
            <p:cNvSpPr>
              <a:spLocks noEditPoints="1"/>
            </p:cNvSpPr>
            <p:nvPr/>
          </p:nvSpPr>
          <p:spPr bwMode="auto">
            <a:xfrm>
              <a:off x="6492211" y="4481114"/>
              <a:ext cx="109000" cy="141700"/>
            </a:xfrm>
            <a:custGeom>
              <a:avLst/>
              <a:gdLst/>
              <a:ahLst/>
              <a:cxnLst>
                <a:cxn ang="0">
                  <a:pos x="95" y="134"/>
                </a:cxn>
                <a:cxn ang="0">
                  <a:pos x="108" y="129"/>
                </a:cxn>
                <a:cxn ang="0">
                  <a:pos x="114" y="119"/>
                </a:cxn>
                <a:cxn ang="0">
                  <a:pos x="114" y="108"/>
                </a:cxn>
                <a:cxn ang="0">
                  <a:pos x="103" y="84"/>
                </a:cxn>
                <a:cxn ang="0">
                  <a:pos x="82" y="63"/>
                </a:cxn>
                <a:cxn ang="0">
                  <a:pos x="75" y="59"/>
                </a:cxn>
                <a:cxn ang="0">
                  <a:pos x="54" y="50"/>
                </a:cxn>
                <a:cxn ang="0">
                  <a:pos x="47" y="43"/>
                </a:cxn>
                <a:cxn ang="0">
                  <a:pos x="35" y="50"/>
                </a:cxn>
                <a:cxn ang="0">
                  <a:pos x="22" y="61"/>
                </a:cxn>
                <a:cxn ang="0">
                  <a:pos x="19" y="74"/>
                </a:cxn>
                <a:cxn ang="0">
                  <a:pos x="13" y="91"/>
                </a:cxn>
                <a:cxn ang="0">
                  <a:pos x="0" y="104"/>
                </a:cxn>
                <a:cxn ang="0">
                  <a:pos x="0" y="115"/>
                </a:cxn>
                <a:cxn ang="0">
                  <a:pos x="11" y="119"/>
                </a:cxn>
                <a:cxn ang="0">
                  <a:pos x="13" y="125"/>
                </a:cxn>
                <a:cxn ang="0">
                  <a:pos x="13" y="136"/>
                </a:cxn>
                <a:cxn ang="0">
                  <a:pos x="28" y="142"/>
                </a:cxn>
                <a:cxn ang="0">
                  <a:pos x="30" y="145"/>
                </a:cxn>
                <a:cxn ang="0">
                  <a:pos x="41" y="147"/>
                </a:cxn>
                <a:cxn ang="0">
                  <a:pos x="45" y="153"/>
                </a:cxn>
                <a:cxn ang="0">
                  <a:pos x="58" y="157"/>
                </a:cxn>
                <a:cxn ang="0">
                  <a:pos x="65" y="149"/>
                </a:cxn>
                <a:cxn ang="0">
                  <a:pos x="84" y="138"/>
                </a:cxn>
                <a:cxn ang="0">
                  <a:pos x="95" y="134"/>
                </a:cxn>
                <a:cxn ang="0">
                  <a:pos x="50" y="26"/>
                </a:cxn>
                <a:cxn ang="0">
                  <a:pos x="90" y="43"/>
                </a:cxn>
                <a:cxn ang="0">
                  <a:pos x="103" y="44"/>
                </a:cxn>
                <a:cxn ang="0">
                  <a:pos x="114" y="41"/>
                </a:cxn>
                <a:cxn ang="0">
                  <a:pos x="120" y="35"/>
                </a:cxn>
                <a:cxn ang="0">
                  <a:pos x="120" y="33"/>
                </a:cxn>
                <a:cxn ang="0">
                  <a:pos x="114" y="24"/>
                </a:cxn>
                <a:cxn ang="0">
                  <a:pos x="107" y="22"/>
                </a:cxn>
                <a:cxn ang="0">
                  <a:pos x="82" y="16"/>
                </a:cxn>
                <a:cxn ang="0">
                  <a:pos x="71" y="13"/>
                </a:cxn>
                <a:cxn ang="0">
                  <a:pos x="37" y="0"/>
                </a:cxn>
                <a:cxn ang="0">
                  <a:pos x="22" y="2"/>
                </a:cxn>
                <a:cxn ang="0">
                  <a:pos x="22" y="11"/>
                </a:cxn>
                <a:cxn ang="0">
                  <a:pos x="34" y="20"/>
                </a:cxn>
                <a:cxn ang="0">
                  <a:pos x="37" y="20"/>
                </a:cxn>
                <a:cxn ang="0">
                  <a:pos x="41" y="20"/>
                </a:cxn>
                <a:cxn ang="0">
                  <a:pos x="50" y="26"/>
                </a:cxn>
              </a:cxnLst>
              <a:rect l="0" t="0" r="r" b="b"/>
              <a:pathLst>
                <a:path w="120" h="157">
                  <a:moveTo>
                    <a:pt x="95" y="134"/>
                  </a:moveTo>
                  <a:lnTo>
                    <a:pt x="95" y="134"/>
                  </a:lnTo>
                  <a:lnTo>
                    <a:pt x="103" y="130"/>
                  </a:lnTo>
                  <a:lnTo>
                    <a:pt x="108" y="129"/>
                  </a:lnTo>
                  <a:lnTo>
                    <a:pt x="112" y="123"/>
                  </a:lnTo>
                  <a:lnTo>
                    <a:pt x="114" y="119"/>
                  </a:lnTo>
                  <a:lnTo>
                    <a:pt x="116" y="114"/>
                  </a:lnTo>
                  <a:lnTo>
                    <a:pt x="114" y="108"/>
                  </a:lnTo>
                  <a:lnTo>
                    <a:pt x="110" y="95"/>
                  </a:lnTo>
                  <a:lnTo>
                    <a:pt x="103" y="84"/>
                  </a:lnTo>
                  <a:lnTo>
                    <a:pt x="93" y="73"/>
                  </a:lnTo>
                  <a:lnTo>
                    <a:pt x="82" y="63"/>
                  </a:lnTo>
                  <a:lnTo>
                    <a:pt x="75" y="59"/>
                  </a:lnTo>
                  <a:lnTo>
                    <a:pt x="75" y="59"/>
                  </a:lnTo>
                  <a:lnTo>
                    <a:pt x="64" y="54"/>
                  </a:lnTo>
                  <a:lnTo>
                    <a:pt x="54" y="50"/>
                  </a:lnTo>
                  <a:lnTo>
                    <a:pt x="50" y="46"/>
                  </a:lnTo>
                  <a:lnTo>
                    <a:pt x="47" y="43"/>
                  </a:lnTo>
                  <a:lnTo>
                    <a:pt x="35" y="50"/>
                  </a:lnTo>
                  <a:lnTo>
                    <a:pt x="35" y="50"/>
                  </a:lnTo>
                  <a:lnTo>
                    <a:pt x="26" y="54"/>
                  </a:lnTo>
                  <a:lnTo>
                    <a:pt x="22" y="61"/>
                  </a:lnTo>
                  <a:lnTo>
                    <a:pt x="19" y="67"/>
                  </a:lnTo>
                  <a:lnTo>
                    <a:pt x="19" y="74"/>
                  </a:lnTo>
                  <a:lnTo>
                    <a:pt x="17" y="82"/>
                  </a:lnTo>
                  <a:lnTo>
                    <a:pt x="13" y="91"/>
                  </a:lnTo>
                  <a:lnTo>
                    <a:pt x="9" y="99"/>
                  </a:lnTo>
                  <a:lnTo>
                    <a:pt x="0" y="104"/>
                  </a:lnTo>
                  <a:lnTo>
                    <a:pt x="0" y="115"/>
                  </a:lnTo>
                  <a:lnTo>
                    <a:pt x="0" y="115"/>
                  </a:lnTo>
                  <a:lnTo>
                    <a:pt x="7" y="117"/>
                  </a:lnTo>
                  <a:lnTo>
                    <a:pt x="11" y="119"/>
                  </a:lnTo>
                  <a:lnTo>
                    <a:pt x="13" y="123"/>
                  </a:lnTo>
                  <a:lnTo>
                    <a:pt x="13" y="125"/>
                  </a:lnTo>
                  <a:lnTo>
                    <a:pt x="13" y="132"/>
                  </a:lnTo>
                  <a:lnTo>
                    <a:pt x="13" y="136"/>
                  </a:lnTo>
                  <a:lnTo>
                    <a:pt x="17" y="142"/>
                  </a:lnTo>
                  <a:lnTo>
                    <a:pt x="28" y="142"/>
                  </a:lnTo>
                  <a:lnTo>
                    <a:pt x="28" y="142"/>
                  </a:lnTo>
                  <a:lnTo>
                    <a:pt x="30" y="145"/>
                  </a:lnTo>
                  <a:lnTo>
                    <a:pt x="32" y="147"/>
                  </a:lnTo>
                  <a:lnTo>
                    <a:pt x="41" y="147"/>
                  </a:lnTo>
                  <a:lnTo>
                    <a:pt x="41" y="147"/>
                  </a:lnTo>
                  <a:lnTo>
                    <a:pt x="45" y="153"/>
                  </a:lnTo>
                  <a:lnTo>
                    <a:pt x="47" y="155"/>
                  </a:lnTo>
                  <a:lnTo>
                    <a:pt x="58" y="157"/>
                  </a:lnTo>
                  <a:lnTo>
                    <a:pt x="58" y="157"/>
                  </a:lnTo>
                  <a:lnTo>
                    <a:pt x="65" y="149"/>
                  </a:lnTo>
                  <a:lnTo>
                    <a:pt x="73" y="144"/>
                  </a:lnTo>
                  <a:lnTo>
                    <a:pt x="84" y="138"/>
                  </a:lnTo>
                  <a:lnTo>
                    <a:pt x="95" y="134"/>
                  </a:lnTo>
                  <a:lnTo>
                    <a:pt x="95" y="134"/>
                  </a:lnTo>
                  <a:close/>
                  <a:moveTo>
                    <a:pt x="50" y="26"/>
                  </a:moveTo>
                  <a:lnTo>
                    <a:pt x="50" y="26"/>
                  </a:lnTo>
                  <a:lnTo>
                    <a:pt x="75" y="37"/>
                  </a:lnTo>
                  <a:lnTo>
                    <a:pt x="90" y="43"/>
                  </a:lnTo>
                  <a:lnTo>
                    <a:pt x="103" y="44"/>
                  </a:lnTo>
                  <a:lnTo>
                    <a:pt x="103" y="44"/>
                  </a:lnTo>
                  <a:lnTo>
                    <a:pt x="107" y="43"/>
                  </a:lnTo>
                  <a:lnTo>
                    <a:pt x="114" y="41"/>
                  </a:lnTo>
                  <a:lnTo>
                    <a:pt x="118" y="37"/>
                  </a:lnTo>
                  <a:lnTo>
                    <a:pt x="120" y="35"/>
                  </a:lnTo>
                  <a:lnTo>
                    <a:pt x="120" y="33"/>
                  </a:lnTo>
                  <a:lnTo>
                    <a:pt x="120" y="33"/>
                  </a:lnTo>
                  <a:lnTo>
                    <a:pt x="118" y="28"/>
                  </a:lnTo>
                  <a:lnTo>
                    <a:pt x="114" y="24"/>
                  </a:lnTo>
                  <a:lnTo>
                    <a:pt x="110" y="22"/>
                  </a:lnTo>
                  <a:lnTo>
                    <a:pt x="107" y="22"/>
                  </a:lnTo>
                  <a:lnTo>
                    <a:pt x="92" y="20"/>
                  </a:lnTo>
                  <a:lnTo>
                    <a:pt x="82" y="16"/>
                  </a:lnTo>
                  <a:lnTo>
                    <a:pt x="71" y="13"/>
                  </a:lnTo>
                  <a:lnTo>
                    <a:pt x="71" y="13"/>
                  </a:lnTo>
                  <a:lnTo>
                    <a:pt x="52" y="3"/>
                  </a:lnTo>
                  <a:lnTo>
                    <a:pt x="37" y="0"/>
                  </a:lnTo>
                  <a:lnTo>
                    <a:pt x="28" y="0"/>
                  </a:lnTo>
                  <a:lnTo>
                    <a:pt x="22" y="2"/>
                  </a:lnTo>
                  <a:lnTo>
                    <a:pt x="21" y="5"/>
                  </a:lnTo>
                  <a:lnTo>
                    <a:pt x="22" y="11"/>
                  </a:lnTo>
                  <a:lnTo>
                    <a:pt x="26" y="15"/>
                  </a:lnTo>
                  <a:lnTo>
                    <a:pt x="34" y="20"/>
                  </a:lnTo>
                  <a:lnTo>
                    <a:pt x="34" y="20"/>
                  </a:lnTo>
                  <a:lnTo>
                    <a:pt x="37" y="20"/>
                  </a:lnTo>
                  <a:lnTo>
                    <a:pt x="37" y="18"/>
                  </a:lnTo>
                  <a:lnTo>
                    <a:pt x="41" y="20"/>
                  </a:lnTo>
                  <a:lnTo>
                    <a:pt x="50" y="26"/>
                  </a:lnTo>
                  <a:lnTo>
                    <a:pt x="50" y="26"/>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0" name="Freeform 90">
              <a:extLst>
                <a:ext uri="{FF2B5EF4-FFF2-40B4-BE49-F238E27FC236}">
                  <a16:creationId xmlns:a16="http://schemas.microsoft.com/office/drawing/2014/main" id="{E498874F-E016-4136-B31C-F491D341B152}"/>
                </a:ext>
              </a:extLst>
            </p:cNvPr>
            <p:cNvSpPr>
              <a:spLocks/>
            </p:cNvSpPr>
            <p:nvPr/>
          </p:nvSpPr>
          <p:spPr bwMode="auto">
            <a:xfrm>
              <a:off x="6566693" y="4526530"/>
              <a:ext cx="32700" cy="12716"/>
            </a:xfrm>
            <a:custGeom>
              <a:avLst/>
              <a:gdLst/>
              <a:ahLst/>
              <a:cxnLst>
                <a:cxn ang="0">
                  <a:pos x="12" y="0"/>
                </a:cxn>
                <a:cxn ang="0">
                  <a:pos x="12" y="0"/>
                </a:cxn>
                <a:cxn ang="0">
                  <a:pos x="2" y="0"/>
                </a:cxn>
                <a:cxn ang="0">
                  <a:pos x="0" y="2"/>
                </a:cxn>
                <a:cxn ang="0">
                  <a:pos x="2" y="4"/>
                </a:cxn>
                <a:cxn ang="0">
                  <a:pos x="8" y="8"/>
                </a:cxn>
                <a:cxn ang="0">
                  <a:pos x="23" y="11"/>
                </a:cxn>
                <a:cxn ang="0">
                  <a:pos x="30" y="13"/>
                </a:cxn>
                <a:cxn ang="0">
                  <a:pos x="36" y="11"/>
                </a:cxn>
                <a:cxn ang="0">
                  <a:pos x="36" y="11"/>
                </a:cxn>
                <a:cxn ang="0">
                  <a:pos x="38" y="8"/>
                </a:cxn>
                <a:cxn ang="0">
                  <a:pos x="36" y="6"/>
                </a:cxn>
                <a:cxn ang="0">
                  <a:pos x="28" y="2"/>
                </a:cxn>
                <a:cxn ang="0">
                  <a:pos x="12" y="0"/>
                </a:cxn>
                <a:cxn ang="0">
                  <a:pos x="12" y="0"/>
                </a:cxn>
              </a:cxnLst>
              <a:rect l="0" t="0" r="r" b="b"/>
              <a:pathLst>
                <a:path w="38" h="13">
                  <a:moveTo>
                    <a:pt x="12" y="0"/>
                  </a:moveTo>
                  <a:lnTo>
                    <a:pt x="12" y="0"/>
                  </a:lnTo>
                  <a:lnTo>
                    <a:pt x="2" y="0"/>
                  </a:lnTo>
                  <a:lnTo>
                    <a:pt x="0" y="2"/>
                  </a:lnTo>
                  <a:lnTo>
                    <a:pt x="2" y="4"/>
                  </a:lnTo>
                  <a:lnTo>
                    <a:pt x="8" y="8"/>
                  </a:lnTo>
                  <a:lnTo>
                    <a:pt x="23" y="11"/>
                  </a:lnTo>
                  <a:lnTo>
                    <a:pt x="30" y="13"/>
                  </a:lnTo>
                  <a:lnTo>
                    <a:pt x="36" y="11"/>
                  </a:lnTo>
                  <a:lnTo>
                    <a:pt x="36" y="11"/>
                  </a:lnTo>
                  <a:lnTo>
                    <a:pt x="38" y="8"/>
                  </a:lnTo>
                  <a:lnTo>
                    <a:pt x="36" y="6"/>
                  </a:lnTo>
                  <a:lnTo>
                    <a:pt x="28" y="2"/>
                  </a:lnTo>
                  <a:lnTo>
                    <a:pt x="12" y="0"/>
                  </a:lnTo>
                  <a:lnTo>
                    <a:pt x="12" y="0"/>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1" name="Freeform 91">
              <a:extLst>
                <a:ext uri="{FF2B5EF4-FFF2-40B4-BE49-F238E27FC236}">
                  <a16:creationId xmlns:a16="http://schemas.microsoft.com/office/drawing/2014/main" id="{F8963635-F9C5-4A0F-A3B6-A470C2937E11}"/>
                </a:ext>
              </a:extLst>
            </p:cNvPr>
            <p:cNvSpPr>
              <a:spLocks noEditPoints="1"/>
            </p:cNvSpPr>
            <p:nvPr/>
          </p:nvSpPr>
          <p:spPr bwMode="auto">
            <a:xfrm>
              <a:off x="5981728" y="4971613"/>
              <a:ext cx="514116" cy="668532"/>
            </a:xfrm>
            <a:custGeom>
              <a:avLst/>
              <a:gdLst/>
              <a:ahLst/>
              <a:cxnLst>
                <a:cxn ang="0">
                  <a:pos x="73" y="222"/>
                </a:cxn>
                <a:cxn ang="0">
                  <a:pos x="85" y="284"/>
                </a:cxn>
                <a:cxn ang="0">
                  <a:pos x="58" y="312"/>
                </a:cxn>
                <a:cxn ang="0">
                  <a:pos x="64" y="343"/>
                </a:cxn>
                <a:cxn ang="0">
                  <a:pos x="19" y="403"/>
                </a:cxn>
                <a:cxn ang="0">
                  <a:pos x="0" y="513"/>
                </a:cxn>
                <a:cxn ang="0">
                  <a:pos x="64" y="515"/>
                </a:cxn>
                <a:cxn ang="0">
                  <a:pos x="92" y="545"/>
                </a:cxn>
                <a:cxn ang="0">
                  <a:pos x="126" y="562"/>
                </a:cxn>
                <a:cxn ang="0">
                  <a:pos x="150" y="620"/>
                </a:cxn>
                <a:cxn ang="0">
                  <a:pos x="187" y="682"/>
                </a:cxn>
                <a:cxn ang="0">
                  <a:pos x="219" y="650"/>
                </a:cxn>
                <a:cxn ang="0">
                  <a:pos x="303" y="575"/>
                </a:cxn>
                <a:cxn ang="0">
                  <a:pos x="283" y="551"/>
                </a:cxn>
                <a:cxn ang="0">
                  <a:pos x="328" y="525"/>
                </a:cxn>
                <a:cxn ang="0">
                  <a:pos x="369" y="525"/>
                </a:cxn>
                <a:cxn ang="0">
                  <a:pos x="372" y="489"/>
                </a:cxn>
                <a:cxn ang="0">
                  <a:pos x="399" y="471"/>
                </a:cxn>
                <a:cxn ang="0">
                  <a:pos x="404" y="437"/>
                </a:cxn>
                <a:cxn ang="0">
                  <a:pos x="427" y="411"/>
                </a:cxn>
                <a:cxn ang="0">
                  <a:pos x="442" y="388"/>
                </a:cxn>
                <a:cxn ang="0">
                  <a:pos x="484" y="383"/>
                </a:cxn>
                <a:cxn ang="0">
                  <a:pos x="473" y="355"/>
                </a:cxn>
                <a:cxn ang="0">
                  <a:pos x="479" y="325"/>
                </a:cxn>
                <a:cxn ang="0">
                  <a:pos x="466" y="291"/>
                </a:cxn>
                <a:cxn ang="0">
                  <a:pos x="468" y="252"/>
                </a:cxn>
                <a:cxn ang="0">
                  <a:pos x="490" y="239"/>
                </a:cxn>
                <a:cxn ang="0">
                  <a:pos x="455" y="209"/>
                </a:cxn>
                <a:cxn ang="0">
                  <a:pos x="490" y="201"/>
                </a:cxn>
                <a:cxn ang="0">
                  <a:pos x="542" y="155"/>
                </a:cxn>
                <a:cxn ang="0">
                  <a:pos x="541" y="132"/>
                </a:cxn>
                <a:cxn ang="0">
                  <a:pos x="557" y="121"/>
                </a:cxn>
                <a:cxn ang="0">
                  <a:pos x="492" y="121"/>
                </a:cxn>
                <a:cxn ang="0">
                  <a:pos x="453" y="80"/>
                </a:cxn>
                <a:cxn ang="0">
                  <a:pos x="412" y="114"/>
                </a:cxn>
                <a:cxn ang="0">
                  <a:pos x="384" y="112"/>
                </a:cxn>
                <a:cxn ang="0">
                  <a:pos x="359" y="97"/>
                </a:cxn>
                <a:cxn ang="0">
                  <a:pos x="337" y="16"/>
                </a:cxn>
                <a:cxn ang="0">
                  <a:pos x="301" y="0"/>
                </a:cxn>
                <a:cxn ang="0">
                  <a:pos x="279" y="33"/>
                </a:cxn>
                <a:cxn ang="0">
                  <a:pos x="255" y="44"/>
                </a:cxn>
                <a:cxn ang="0">
                  <a:pos x="210" y="74"/>
                </a:cxn>
                <a:cxn ang="0">
                  <a:pos x="182" y="58"/>
                </a:cxn>
                <a:cxn ang="0">
                  <a:pos x="139" y="104"/>
                </a:cxn>
                <a:cxn ang="0">
                  <a:pos x="137" y="145"/>
                </a:cxn>
                <a:cxn ang="0">
                  <a:pos x="116" y="198"/>
                </a:cxn>
                <a:cxn ang="0">
                  <a:pos x="206" y="728"/>
                </a:cxn>
                <a:cxn ang="0">
                  <a:pos x="221" y="723"/>
                </a:cxn>
                <a:cxn ang="0">
                  <a:pos x="187" y="715"/>
                </a:cxn>
                <a:cxn ang="0">
                  <a:pos x="157" y="717"/>
                </a:cxn>
                <a:cxn ang="0">
                  <a:pos x="496" y="231"/>
                </a:cxn>
                <a:cxn ang="0">
                  <a:pos x="531" y="209"/>
                </a:cxn>
                <a:cxn ang="0">
                  <a:pos x="501" y="224"/>
                </a:cxn>
                <a:cxn ang="0">
                  <a:pos x="490" y="272"/>
                </a:cxn>
                <a:cxn ang="0">
                  <a:pos x="501" y="254"/>
                </a:cxn>
                <a:cxn ang="0">
                  <a:pos x="483" y="431"/>
                </a:cxn>
                <a:cxn ang="0">
                  <a:pos x="466" y="431"/>
                </a:cxn>
                <a:cxn ang="0">
                  <a:pos x="488" y="353"/>
                </a:cxn>
                <a:cxn ang="0">
                  <a:pos x="494" y="386"/>
                </a:cxn>
                <a:cxn ang="0">
                  <a:pos x="511" y="388"/>
                </a:cxn>
                <a:cxn ang="0">
                  <a:pos x="498" y="349"/>
                </a:cxn>
              </a:cxnLst>
              <a:rect l="0" t="0" r="r" b="b"/>
              <a:pathLst>
                <a:path w="567" h="736">
                  <a:moveTo>
                    <a:pt x="116" y="198"/>
                  </a:moveTo>
                  <a:lnTo>
                    <a:pt x="116" y="198"/>
                  </a:lnTo>
                  <a:lnTo>
                    <a:pt x="105" y="203"/>
                  </a:lnTo>
                  <a:lnTo>
                    <a:pt x="94" y="207"/>
                  </a:lnTo>
                  <a:lnTo>
                    <a:pt x="85" y="213"/>
                  </a:lnTo>
                  <a:lnTo>
                    <a:pt x="77" y="218"/>
                  </a:lnTo>
                  <a:lnTo>
                    <a:pt x="73" y="222"/>
                  </a:lnTo>
                  <a:lnTo>
                    <a:pt x="71" y="228"/>
                  </a:lnTo>
                  <a:lnTo>
                    <a:pt x="71" y="233"/>
                  </a:lnTo>
                  <a:lnTo>
                    <a:pt x="70" y="239"/>
                  </a:lnTo>
                  <a:lnTo>
                    <a:pt x="73" y="256"/>
                  </a:lnTo>
                  <a:lnTo>
                    <a:pt x="83" y="280"/>
                  </a:lnTo>
                  <a:lnTo>
                    <a:pt x="83" y="280"/>
                  </a:lnTo>
                  <a:lnTo>
                    <a:pt x="85" y="284"/>
                  </a:lnTo>
                  <a:lnTo>
                    <a:pt x="85" y="287"/>
                  </a:lnTo>
                  <a:lnTo>
                    <a:pt x="81" y="291"/>
                  </a:lnTo>
                  <a:lnTo>
                    <a:pt x="75" y="295"/>
                  </a:lnTo>
                  <a:lnTo>
                    <a:pt x="70" y="299"/>
                  </a:lnTo>
                  <a:lnTo>
                    <a:pt x="62" y="302"/>
                  </a:lnTo>
                  <a:lnTo>
                    <a:pt x="60" y="308"/>
                  </a:lnTo>
                  <a:lnTo>
                    <a:pt x="58" y="312"/>
                  </a:lnTo>
                  <a:lnTo>
                    <a:pt x="60" y="315"/>
                  </a:lnTo>
                  <a:lnTo>
                    <a:pt x="66" y="329"/>
                  </a:lnTo>
                  <a:lnTo>
                    <a:pt x="66" y="329"/>
                  </a:lnTo>
                  <a:lnTo>
                    <a:pt x="70" y="336"/>
                  </a:lnTo>
                  <a:lnTo>
                    <a:pt x="70" y="338"/>
                  </a:lnTo>
                  <a:lnTo>
                    <a:pt x="70" y="340"/>
                  </a:lnTo>
                  <a:lnTo>
                    <a:pt x="64" y="343"/>
                  </a:lnTo>
                  <a:lnTo>
                    <a:pt x="55" y="349"/>
                  </a:lnTo>
                  <a:lnTo>
                    <a:pt x="45" y="357"/>
                  </a:lnTo>
                  <a:lnTo>
                    <a:pt x="40" y="362"/>
                  </a:lnTo>
                  <a:lnTo>
                    <a:pt x="34" y="370"/>
                  </a:lnTo>
                  <a:lnTo>
                    <a:pt x="29" y="377"/>
                  </a:lnTo>
                  <a:lnTo>
                    <a:pt x="23" y="388"/>
                  </a:lnTo>
                  <a:lnTo>
                    <a:pt x="19" y="403"/>
                  </a:lnTo>
                  <a:lnTo>
                    <a:pt x="15" y="418"/>
                  </a:lnTo>
                  <a:lnTo>
                    <a:pt x="15" y="418"/>
                  </a:lnTo>
                  <a:lnTo>
                    <a:pt x="10" y="448"/>
                  </a:lnTo>
                  <a:lnTo>
                    <a:pt x="4" y="461"/>
                  </a:lnTo>
                  <a:lnTo>
                    <a:pt x="2" y="476"/>
                  </a:lnTo>
                  <a:lnTo>
                    <a:pt x="0" y="513"/>
                  </a:lnTo>
                  <a:lnTo>
                    <a:pt x="0" y="513"/>
                  </a:lnTo>
                  <a:lnTo>
                    <a:pt x="10" y="513"/>
                  </a:lnTo>
                  <a:lnTo>
                    <a:pt x="21" y="513"/>
                  </a:lnTo>
                  <a:lnTo>
                    <a:pt x="42" y="517"/>
                  </a:lnTo>
                  <a:lnTo>
                    <a:pt x="58" y="519"/>
                  </a:lnTo>
                  <a:lnTo>
                    <a:pt x="64" y="519"/>
                  </a:lnTo>
                  <a:lnTo>
                    <a:pt x="64" y="517"/>
                  </a:lnTo>
                  <a:lnTo>
                    <a:pt x="64" y="515"/>
                  </a:lnTo>
                  <a:lnTo>
                    <a:pt x="64" y="515"/>
                  </a:lnTo>
                  <a:lnTo>
                    <a:pt x="64" y="510"/>
                  </a:lnTo>
                  <a:lnTo>
                    <a:pt x="66" y="512"/>
                  </a:lnTo>
                  <a:lnTo>
                    <a:pt x="73" y="525"/>
                  </a:lnTo>
                  <a:lnTo>
                    <a:pt x="85" y="542"/>
                  </a:lnTo>
                  <a:lnTo>
                    <a:pt x="90" y="545"/>
                  </a:lnTo>
                  <a:lnTo>
                    <a:pt x="92" y="545"/>
                  </a:lnTo>
                  <a:lnTo>
                    <a:pt x="96" y="545"/>
                  </a:lnTo>
                  <a:lnTo>
                    <a:pt x="96" y="545"/>
                  </a:lnTo>
                  <a:lnTo>
                    <a:pt x="105" y="538"/>
                  </a:lnTo>
                  <a:lnTo>
                    <a:pt x="113" y="538"/>
                  </a:lnTo>
                  <a:lnTo>
                    <a:pt x="116" y="540"/>
                  </a:lnTo>
                  <a:lnTo>
                    <a:pt x="120" y="545"/>
                  </a:lnTo>
                  <a:lnTo>
                    <a:pt x="126" y="562"/>
                  </a:lnTo>
                  <a:lnTo>
                    <a:pt x="131" y="573"/>
                  </a:lnTo>
                  <a:lnTo>
                    <a:pt x="141" y="586"/>
                  </a:lnTo>
                  <a:lnTo>
                    <a:pt x="141" y="586"/>
                  </a:lnTo>
                  <a:lnTo>
                    <a:pt x="148" y="598"/>
                  </a:lnTo>
                  <a:lnTo>
                    <a:pt x="152" y="605"/>
                  </a:lnTo>
                  <a:lnTo>
                    <a:pt x="152" y="613"/>
                  </a:lnTo>
                  <a:lnTo>
                    <a:pt x="150" y="620"/>
                  </a:lnTo>
                  <a:lnTo>
                    <a:pt x="150" y="629"/>
                  </a:lnTo>
                  <a:lnTo>
                    <a:pt x="154" y="642"/>
                  </a:lnTo>
                  <a:lnTo>
                    <a:pt x="161" y="661"/>
                  </a:lnTo>
                  <a:lnTo>
                    <a:pt x="176" y="687"/>
                  </a:lnTo>
                  <a:lnTo>
                    <a:pt x="176" y="687"/>
                  </a:lnTo>
                  <a:lnTo>
                    <a:pt x="182" y="685"/>
                  </a:lnTo>
                  <a:lnTo>
                    <a:pt x="187" y="682"/>
                  </a:lnTo>
                  <a:lnTo>
                    <a:pt x="193" y="676"/>
                  </a:lnTo>
                  <a:lnTo>
                    <a:pt x="197" y="669"/>
                  </a:lnTo>
                  <a:lnTo>
                    <a:pt x="197" y="669"/>
                  </a:lnTo>
                  <a:lnTo>
                    <a:pt x="200" y="663"/>
                  </a:lnTo>
                  <a:lnTo>
                    <a:pt x="208" y="659"/>
                  </a:lnTo>
                  <a:lnTo>
                    <a:pt x="214" y="656"/>
                  </a:lnTo>
                  <a:lnTo>
                    <a:pt x="219" y="650"/>
                  </a:lnTo>
                  <a:lnTo>
                    <a:pt x="219" y="650"/>
                  </a:lnTo>
                  <a:lnTo>
                    <a:pt x="236" y="637"/>
                  </a:lnTo>
                  <a:lnTo>
                    <a:pt x="270" y="613"/>
                  </a:lnTo>
                  <a:lnTo>
                    <a:pt x="286" y="599"/>
                  </a:lnTo>
                  <a:lnTo>
                    <a:pt x="298" y="586"/>
                  </a:lnTo>
                  <a:lnTo>
                    <a:pt x="301" y="581"/>
                  </a:lnTo>
                  <a:lnTo>
                    <a:pt x="303" y="575"/>
                  </a:lnTo>
                  <a:lnTo>
                    <a:pt x="303" y="571"/>
                  </a:lnTo>
                  <a:lnTo>
                    <a:pt x="301" y="568"/>
                  </a:lnTo>
                  <a:lnTo>
                    <a:pt x="301" y="568"/>
                  </a:lnTo>
                  <a:lnTo>
                    <a:pt x="292" y="562"/>
                  </a:lnTo>
                  <a:lnTo>
                    <a:pt x="285" y="558"/>
                  </a:lnTo>
                  <a:lnTo>
                    <a:pt x="283" y="555"/>
                  </a:lnTo>
                  <a:lnTo>
                    <a:pt x="283" y="551"/>
                  </a:lnTo>
                  <a:lnTo>
                    <a:pt x="286" y="547"/>
                  </a:lnTo>
                  <a:lnTo>
                    <a:pt x="292" y="540"/>
                  </a:lnTo>
                  <a:lnTo>
                    <a:pt x="292" y="540"/>
                  </a:lnTo>
                  <a:lnTo>
                    <a:pt x="299" y="536"/>
                  </a:lnTo>
                  <a:lnTo>
                    <a:pt x="309" y="532"/>
                  </a:lnTo>
                  <a:lnTo>
                    <a:pt x="318" y="528"/>
                  </a:lnTo>
                  <a:lnTo>
                    <a:pt x="328" y="525"/>
                  </a:lnTo>
                  <a:lnTo>
                    <a:pt x="328" y="525"/>
                  </a:lnTo>
                  <a:lnTo>
                    <a:pt x="337" y="523"/>
                  </a:lnTo>
                  <a:lnTo>
                    <a:pt x="342" y="525"/>
                  </a:lnTo>
                  <a:lnTo>
                    <a:pt x="354" y="530"/>
                  </a:lnTo>
                  <a:lnTo>
                    <a:pt x="357" y="532"/>
                  </a:lnTo>
                  <a:lnTo>
                    <a:pt x="363" y="532"/>
                  </a:lnTo>
                  <a:lnTo>
                    <a:pt x="369" y="525"/>
                  </a:lnTo>
                  <a:lnTo>
                    <a:pt x="374" y="512"/>
                  </a:lnTo>
                  <a:lnTo>
                    <a:pt x="374" y="512"/>
                  </a:lnTo>
                  <a:lnTo>
                    <a:pt x="376" y="506"/>
                  </a:lnTo>
                  <a:lnTo>
                    <a:pt x="376" y="500"/>
                  </a:lnTo>
                  <a:lnTo>
                    <a:pt x="372" y="495"/>
                  </a:lnTo>
                  <a:lnTo>
                    <a:pt x="372" y="491"/>
                  </a:lnTo>
                  <a:lnTo>
                    <a:pt x="372" y="489"/>
                  </a:lnTo>
                  <a:lnTo>
                    <a:pt x="376" y="487"/>
                  </a:lnTo>
                  <a:lnTo>
                    <a:pt x="384" y="484"/>
                  </a:lnTo>
                  <a:lnTo>
                    <a:pt x="384" y="484"/>
                  </a:lnTo>
                  <a:lnTo>
                    <a:pt x="389" y="480"/>
                  </a:lnTo>
                  <a:lnTo>
                    <a:pt x="395" y="478"/>
                  </a:lnTo>
                  <a:lnTo>
                    <a:pt x="397" y="474"/>
                  </a:lnTo>
                  <a:lnTo>
                    <a:pt x="399" y="471"/>
                  </a:lnTo>
                  <a:lnTo>
                    <a:pt x="399" y="465"/>
                  </a:lnTo>
                  <a:lnTo>
                    <a:pt x="397" y="457"/>
                  </a:lnTo>
                  <a:lnTo>
                    <a:pt x="395" y="450"/>
                  </a:lnTo>
                  <a:lnTo>
                    <a:pt x="395" y="446"/>
                  </a:lnTo>
                  <a:lnTo>
                    <a:pt x="397" y="444"/>
                  </a:lnTo>
                  <a:lnTo>
                    <a:pt x="400" y="441"/>
                  </a:lnTo>
                  <a:lnTo>
                    <a:pt x="404" y="437"/>
                  </a:lnTo>
                  <a:lnTo>
                    <a:pt x="421" y="431"/>
                  </a:lnTo>
                  <a:lnTo>
                    <a:pt x="421" y="431"/>
                  </a:lnTo>
                  <a:lnTo>
                    <a:pt x="430" y="428"/>
                  </a:lnTo>
                  <a:lnTo>
                    <a:pt x="432" y="426"/>
                  </a:lnTo>
                  <a:lnTo>
                    <a:pt x="432" y="422"/>
                  </a:lnTo>
                  <a:lnTo>
                    <a:pt x="430" y="418"/>
                  </a:lnTo>
                  <a:lnTo>
                    <a:pt x="427" y="411"/>
                  </a:lnTo>
                  <a:lnTo>
                    <a:pt x="423" y="405"/>
                  </a:lnTo>
                  <a:lnTo>
                    <a:pt x="421" y="400"/>
                  </a:lnTo>
                  <a:lnTo>
                    <a:pt x="423" y="398"/>
                  </a:lnTo>
                  <a:lnTo>
                    <a:pt x="425" y="394"/>
                  </a:lnTo>
                  <a:lnTo>
                    <a:pt x="436" y="388"/>
                  </a:lnTo>
                  <a:lnTo>
                    <a:pt x="436" y="388"/>
                  </a:lnTo>
                  <a:lnTo>
                    <a:pt x="442" y="388"/>
                  </a:lnTo>
                  <a:lnTo>
                    <a:pt x="453" y="388"/>
                  </a:lnTo>
                  <a:lnTo>
                    <a:pt x="477" y="390"/>
                  </a:lnTo>
                  <a:lnTo>
                    <a:pt x="484" y="388"/>
                  </a:lnTo>
                  <a:lnTo>
                    <a:pt x="486" y="388"/>
                  </a:lnTo>
                  <a:lnTo>
                    <a:pt x="488" y="386"/>
                  </a:lnTo>
                  <a:lnTo>
                    <a:pt x="488" y="386"/>
                  </a:lnTo>
                  <a:lnTo>
                    <a:pt x="484" y="383"/>
                  </a:lnTo>
                  <a:lnTo>
                    <a:pt x="471" y="377"/>
                  </a:lnTo>
                  <a:lnTo>
                    <a:pt x="471" y="377"/>
                  </a:lnTo>
                  <a:lnTo>
                    <a:pt x="460" y="370"/>
                  </a:lnTo>
                  <a:lnTo>
                    <a:pt x="456" y="366"/>
                  </a:lnTo>
                  <a:lnTo>
                    <a:pt x="458" y="362"/>
                  </a:lnTo>
                  <a:lnTo>
                    <a:pt x="462" y="360"/>
                  </a:lnTo>
                  <a:lnTo>
                    <a:pt x="473" y="355"/>
                  </a:lnTo>
                  <a:lnTo>
                    <a:pt x="477" y="349"/>
                  </a:lnTo>
                  <a:lnTo>
                    <a:pt x="477" y="347"/>
                  </a:lnTo>
                  <a:lnTo>
                    <a:pt x="477" y="343"/>
                  </a:lnTo>
                  <a:lnTo>
                    <a:pt x="477" y="343"/>
                  </a:lnTo>
                  <a:lnTo>
                    <a:pt x="475" y="334"/>
                  </a:lnTo>
                  <a:lnTo>
                    <a:pt x="477" y="329"/>
                  </a:lnTo>
                  <a:lnTo>
                    <a:pt x="479" y="325"/>
                  </a:lnTo>
                  <a:lnTo>
                    <a:pt x="481" y="325"/>
                  </a:lnTo>
                  <a:lnTo>
                    <a:pt x="481" y="323"/>
                  </a:lnTo>
                  <a:lnTo>
                    <a:pt x="481" y="319"/>
                  </a:lnTo>
                  <a:lnTo>
                    <a:pt x="466" y="302"/>
                  </a:lnTo>
                  <a:lnTo>
                    <a:pt x="466" y="302"/>
                  </a:lnTo>
                  <a:lnTo>
                    <a:pt x="464" y="297"/>
                  </a:lnTo>
                  <a:lnTo>
                    <a:pt x="466" y="291"/>
                  </a:lnTo>
                  <a:lnTo>
                    <a:pt x="475" y="284"/>
                  </a:lnTo>
                  <a:lnTo>
                    <a:pt x="479" y="278"/>
                  </a:lnTo>
                  <a:lnTo>
                    <a:pt x="481" y="272"/>
                  </a:lnTo>
                  <a:lnTo>
                    <a:pt x="479" y="265"/>
                  </a:lnTo>
                  <a:lnTo>
                    <a:pt x="471" y="256"/>
                  </a:lnTo>
                  <a:lnTo>
                    <a:pt x="471" y="256"/>
                  </a:lnTo>
                  <a:lnTo>
                    <a:pt x="468" y="252"/>
                  </a:lnTo>
                  <a:lnTo>
                    <a:pt x="466" y="248"/>
                  </a:lnTo>
                  <a:lnTo>
                    <a:pt x="468" y="246"/>
                  </a:lnTo>
                  <a:lnTo>
                    <a:pt x="470" y="244"/>
                  </a:lnTo>
                  <a:lnTo>
                    <a:pt x="475" y="243"/>
                  </a:lnTo>
                  <a:lnTo>
                    <a:pt x="483" y="241"/>
                  </a:lnTo>
                  <a:lnTo>
                    <a:pt x="488" y="239"/>
                  </a:lnTo>
                  <a:lnTo>
                    <a:pt x="490" y="239"/>
                  </a:lnTo>
                  <a:lnTo>
                    <a:pt x="490" y="237"/>
                  </a:lnTo>
                  <a:lnTo>
                    <a:pt x="483" y="233"/>
                  </a:lnTo>
                  <a:lnTo>
                    <a:pt x="468" y="226"/>
                  </a:lnTo>
                  <a:lnTo>
                    <a:pt x="468" y="226"/>
                  </a:lnTo>
                  <a:lnTo>
                    <a:pt x="458" y="220"/>
                  </a:lnTo>
                  <a:lnTo>
                    <a:pt x="455" y="215"/>
                  </a:lnTo>
                  <a:lnTo>
                    <a:pt x="455" y="209"/>
                  </a:lnTo>
                  <a:lnTo>
                    <a:pt x="456" y="203"/>
                  </a:lnTo>
                  <a:lnTo>
                    <a:pt x="462" y="198"/>
                  </a:lnTo>
                  <a:lnTo>
                    <a:pt x="468" y="196"/>
                  </a:lnTo>
                  <a:lnTo>
                    <a:pt x="475" y="196"/>
                  </a:lnTo>
                  <a:lnTo>
                    <a:pt x="484" y="200"/>
                  </a:lnTo>
                  <a:lnTo>
                    <a:pt x="484" y="200"/>
                  </a:lnTo>
                  <a:lnTo>
                    <a:pt x="490" y="201"/>
                  </a:lnTo>
                  <a:lnTo>
                    <a:pt x="496" y="203"/>
                  </a:lnTo>
                  <a:lnTo>
                    <a:pt x="501" y="203"/>
                  </a:lnTo>
                  <a:lnTo>
                    <a:pt x="507" y="201"/>
                  </a:lnTo>
                  <a:lnTo>
                    <a:pt x="516" y="196"/>
                  </a:lnTo>
                  <a:lnTo>
                    <a:pt x="524" y="187"/>
                  </a:lnTo>
                  <a:lnTo>
                    <a:pt x="537" y="164"/>
                  </a:lnTo>
                  <a:lnTo>
                    <a:pt x="542" y="155"/>
                  </a:lnTo>
                  <a:lnTo>
                    <a:pt x="550" y="147"/>
                  </a:lnTo>
                  <a:lnTo>
                    <a:pt x="550" y="147"/>
                  </a:lnTo>
                  <a:lnTo>
                    <a:pt x="559" y="140"/>
                  </a:lnTo>
                  <a:lnTo>
                    <a:pt x="559" y="138"/>
                  </a:lnTo>
                  <a:lnTo>
                    <a:pt x="556" y="138"/>
                  </a:lnTo>
                  <a:lnTo>
                    <a:pt x="546" y="134"/>
                  </a:lnTo>
                  <a:lnTo>
                    <a:pt x="541" y="132"/>
                  </a:lnTo>
                  <a:lnTo>
                    <a:pt x="535" y="129"/>
                  </a:lnTo>
                  <a:lnTo>
                    <a:pt x="542" y="130"/>
                  </a:lnTo>
                  <a:lnTo>
                    <a:pt x="542" y="130"/>
                  </a:lnTo>
                  <a:lnTo>
                    <a:pt x="556" y="132"/>
                  </a:lnTo>
                  <a:lnTo>
                    <a:pt x="567" y="132"/>
                  </a:lnTo>
                  <a:lnTo>
                    <a:pt x="567" y="132"/>
                  </a:lnTo>
                  <a:lnTo>
                    <a:pt x="557" y="121"/>
                  </a:lnTo>
                  <a:lnTo>
                    <a:pt x="548" y="112"/>
                  </a:lnTo>
                  <a:lnTo>
                    <a:pt x="542" y="110"/>
                  </a:lnTo>
                  <a:lnTo>
                    <a:pt x="535" y="108"/>
                  </a:lnTo>
                  <a:lnTo>
                    <a:pt x="529" y="108"/>
                  </a:lnTo>
                  <a:lnTo>
                    <a:pt x="522" y="110"/>
                  </a:lnTo>
                  <a:lnTo>
                    <a:pt x="522" y="110"/>
                  </a:lnTo>
                  <a:lnTo>
                    <a:pt x="492" y="121"/>
                  </a:lnTo>
                  <a:lnTo>
                    <a:pt x="484" y="121"/>
                  </a:lnTo>
                  <a:lnTo>
                    <a:pt x="479" y="121"/>
                  </a:lnTo>
                  <a:lnTo>
                    <a:pt x="475" y="115"/>
                  </a:lnTo>
                  <a:lnTo>
                    <a:pt x="471" y="108"/>
                  </a:lnTo>
                  <a:lnTo>
                    <a:pt x="456" y="84"/>
                  </a:lnTo>
                  <a:lnTo>
                    <a:pt x="456" y="84"/>
                  </a:lnTo>
                  <a:lnTo>
                    <a:pt x="453" y="80"/>
                  </a:lnTo>
                  <a:lnTo>
                    <a:pt x="451" y="80"/>
                  </a:lnTo>
                  <a:lnTo>
                    <a:pt x="447" y="80"/>
                  </a:lnTo>
                  <a:lnTo>
                    <a:pt x="443" y="82"/>
                  </a:lnTo>
                  <a:lnTo>
                    <a:pt x="436" y="87"/>
                  </a:lnTo>
                  <a:lnTo>
                    <a:pt x="428" y="97"/>
                  </a:lnTo>
                  <a:lnTo>
                    <a:pt x="419" y="106"/>
                  </a:lnTo>
                  <a:lnTo>
                    <a:pt x="412" y="114"/>
                  </a:lnTo>
                  <a:lnTo>
                    <a:pt x="408" y="115"/>
                  </a:lnTo>
                  <a:lnTo>
                    <a:pt x="402" y="115"/>
                  </a:lnTo>
                  <a:lnTo>
                    <a:pt x="399" y="115"/>
                  </a:lnTo>
                  <a:lnTo>
                    <a:pt x="395" y="114"/>
                  </a:lnTo>
                  <a:lnTo>
                    <a:pt x="395" y="114"/>
                  </a:lnTo>
                  <a:lnTo>
                    <a:pt x="389" y="112"/>
                  </a:lnTo>
                  <a:lnTo>
                    <a:pt x="384" y="112"/>
                  </a:lnTo>
                  <a:lnTo>
                    <a:pt x="372" y="114"/>
                  </a:lnTo>
                  <a:lnTo>
                    <a:pt x="369" y="115"/>
                  </a:lnTo>
                  <a:lnTo>
                    <a:pt x="365" y="114"/>
                  </a:lnTo>
                  <a:lnTo>
                    <a:pt x="361" y="112"/>
                  </a:lnTo>
                  <a:lnTo>
                    <a:pt x="361" y="106"/>
                  </a:lnTo>
                  <a:lnTo>
                    <a:pt x="361" y="106"/>
                  </a:lnTo>
                  <a:lnTo>
                    <a:pt x="359" y="97"/>
                  </a:lnTo>
                  <a:lnTo>
                    <a:pt x="357" y="87"/>
                  </a:lnTo>
                  <a:lnTo>
                    <a:pt x="350" y="69"/>
                  </a:lnTo>
                  <a:lnTo>
                    <a:pt x="342" y="52"/>
                  </a:lnTo>
                  <a:lnTo>
                    <a:pt x="339" y="44"/>
                  </a:lnTo>
                  <a:lnTo>
                    <a:pt x="339" y="35"/>
                  </a:lnTo>
                  <a:lnTo>
                    <a:pt x="339" y="35"/>
                  </a:lnTo>
                  <a:lnTo>
                    <a:pt x="337" y="16"/>
                  </a:lnTo>
                  <a:lnTo>
                    <a:pt x="333" y="5"/>
                  </a:lnTo>
                  <a:lnTo>
                    <a:pt x="329" y="0"/>
                  </a:lnTo>
                  <a:lnTo>
                    <a:pt x="324" y="0"/>
                  </a:lnTo>
                  <a:lnTo>
                    <a:pt x="313" y="2"/>
                  </a:lnTo>
                  <a:lnTo>
                    <a:pt x="307" y="3"/>
                  </a:lnTo>
                  <a:lnTo>
                    <a:pt x="301" y="0"/>
                  </a:lnTo>
                  <a:lnTo>
                    <a:pt x="301" y="0"/>
                  </a:lnTo>
                  <a:lnTo>
                    <a:pt x="288" y="9"/>
                  </a:lnTo>
                  <a:lnTo>
                    <a:pt x="283" y="15"/>
                  </a:lnTo>
                  <a:lnTo>
                    <a:pt x="283" y="20"/>
                  </a:lnTo>
                  <a:lnTo>
                    <a:pt x="283" y="26"/>
                  </a:lnTo>
                  <a:lnTo>
                    <a:pt x="285" y="30"/>
                  </a:lnTo>
                  <a:lnTo>
                    <a:pt x="283" y="31"/>
                  </a:lnTo>
                  <a:lnTo>
                    <a:pt x="279" y="33"/>
                  </a:lnTo>
                  <a:lnTo>
                    <a:pt x="268" y="35"/>
                  </a:lnTo>
                  <a:lnTo>
                    <a:pt x="268" y="35"/>
                  </a:lnTo>
                  <a:lnTo>
                    <a:pt x="264" y="35"/>
                  </a:lnTo>
                  <a:lnTo>
                    <a:pt x="262" y="37"/>
                  </a:lnTo>
                  <a:lnTo>
                    <a:pt x="260" y="41"/>
                  </a:lnTo>
                  <a:lnTo>
                    <a:pt x="258" y="43"/>
                  </a:lnTo>
                  <a:lnTo>
                    <a:pt x="255" y="44"/>
                  </a:lnTo>
                  <a:lnTo>
                    <a:pt x="249" y="48"/>
                  </a:lnTo>
                  <a:lnTo>
                    <a:pt x="242" y="50"/>
                  </a:lnTo>
                  <a:lnTo>
                    <a:pt x="242" y="50"/>
                  </a:lnTo>
                  <a:lnTo>
                    <a:pt x="230" y="54"/>
                  </a:lnTo>
                  <a:lnTo>
                    <a:pt x="223" y="59"/>
                  </a:lnTo>
                  <a:lnTo>
                    <a:pt x="214" y="71"/>
                  </a:lnTo>
                  <a:lnTo>
                    <a:pt x="210" y="74"/>
                  </a:lnTo>
                  <a:lnTo>
                    <a:pt x="206" y="74"/>
                  </a:lnTo>
                  <a:lnTo>
                    <a:pt x="200" y="71"/>
                  </a:lnTo>
                  <a:lnTo>
                    <a:pt x="191" y="61"/>
                  </a:lnTo>
                  <a:lnTo>
                    <a:pt x="191" y="61"/>
                  </a:lnTo>
                  <a:lnTo>
                    <a:pt x="187" y="59"/>
                  </a:lnTo>
                  <a:lnTo>
                    <a:pt x="184" y="58"/>
                  </a:lnTo>
                  <a:lnTo>
                    <a:pt x="182" y="58"/>
                  </a:lnTo>
                  <a:lnTo>
                    <a:pt x="178" y="59"/>
                  </a:lnTo>
                  <a:lnTo>
                    <a:pt x="171" y="65"/>
                  </a:lnTo>
                  <a:lnTo>
                    <a:pt x="163" y="74"/>
                  </a:lnTo>
                  <a:lnTo>
                    <a:pt x="150" y="93"/>
                  </a:lnTo>
                  <a:lnTo>
                    <a:pt x="142" y="101"/>
                  </a:lnTo>
                  <a:lnTo>
                    <a:pt x="139" y="104"/>
                  </a:lnTo>
                  <a:lnTo>
                    <a:pt x="139" y="104"/>
                  </a:lnTo>
                  <a:lnTo>
                    <a:pt x="129" y="108"/>
                  </a:lnTo>
                  <a:lnTo>
                    <a:pt x="128" y="110"/>
                  </a:lnTo>
                  <a:lnTo>
                    <a:pt x="128" y="114"/>
                  </a:lnTo>
                  <a:lnTo>
                    <a:pt x="133" y="125"/>
                  </a:lnTo>
                  <a:lnTo>
                    <a:pt x="135" y="134"/>
                  </a:lnTo>
                  <a:lnTo>
                    <a:pt x="137" y="145"/>
                  </a:lnTo>
                  <a:lnTo>
                    <a:pt x="137" y="145"/>
                  </a:lnTo>
                  <a:lnTo>
                    <a:pt x="139" y="151"/>
                  </a:lnTo>
                  <a:lnTo>
                    <a:pt x="141" y="157"/>
                  </a:lnTo>
                  <a:lnTo>
                    <a:pt x="141" y="164"/>
                  </a:lnTo>
                  <a:lnTo>
                    <a:pt x="139" y="173"/>
                  </a:lnTo>
                  <a:lnTo>
                    <a:pt x="135" y="181"/>
                  </a:lnTo>
                  <a:lnTo>
                    <a:pt x="128" y="190"/>
                  </a:lnTo>
                  <a:lnTo>
                    <a:pt x="116" y="198"/>
                  </a:lnTo>
                  <a:lnTo>
                    <a:pt x="116" y="198"/>
                  </a:lnTo>
                  <a:close/>
                  <a:moveTo>
                    <a:pt x="199" y="736"/>
                  </a:moveTo>
                  <a:lnTo>
                    <a:pt x="199" y="736"/>
                  </a:lnTo>
                  <a:close/>
                  <a:moveTo>
                    <a:pt x="215" y="721"/>
                  </a:moveTo>
                  <a:lnTo>
                    <a:pt x="215" y="721"/>
                  </a:lnTo>
                  <a:lnTo>
                    <a:pt x="208" y="725"/>
                  </a:lnTo>
                  <a:lnTo>
                    <a:pt x="206" y="728"/>
                  </a:lnTo>
                  <a:lnTo>
                    <a:pt x="208" y="730"/>
                  </a:lnTo>
                  <a:lnTo>
                    <a:pt x="212" y="732"/>
                  </a:lnTo>
                  <a:lnTo>
                    <a:pt x="217" y="732"/>
                  </a:lnTo>
                  <a:lnTo>
                    <a:pt x="221" y="730"/>
                  </a:lnTo>
                  <a:lnTo>
                    <a:pt x="223" y="728"/>
                  </a:lnTo>
                  <a:lnTo>
                    <a:pt x="221" y="723"/>
                  </a:lnTo>
                  <a:lnTo>
                    <a:pt x="221" y="723"/>
                  </a:lnTo>
                  <a:lnTo>
                    <a:pt x="217" y="721"/>
                  </a:lnTo>
                  <a:lnTo>
                    <a:pt x="215" y="721"/>
                  </a:lnTo>
                  <a:lnTo>
                    <a:pt x="215" y="721"/>
                  </a:lnTo>
                  <a:close/>
                  <a:moveTo>
                    <a:pt x="174" y="727"/>
                  </a:moveTo>
                  <a:lnTo>
                    <a:pt x="174" y="727"/>
                  </a:lnTo>
                  <a:lnTo>
                    <a:pt x="180" y="721"/>
                  </a:lnTo>
                  <a:lnTo>
                    <a:pt x="187" y="715"/>
                  </a:lnTo>
                  <a:lnTo>
                    <a:pt x="189" y="713"/>
                  </a:lnTo>
                  <a:lnTo>
                    <a:pt x="185" y="712"/>
                  </a:lnTo>
                  <a:lnTo>
                    <a:pt x="180" y="712"/>
                  </a:lnTo>
                  <a:lnTo>
                    <a:pt x="169" y="713"/>
                  </a:lnTo>
                  <a:lnTo>
                    <a:pt x="159" y="715"/>
                  </a:lnTo>
                  <a:lnTo>
                    <a:pt x="159" y="715"/>
                  </a:lnTo>
                  <a:lnTo>
                    <a:pt x="157" y="717"/>
                  </a:lnTo>
                  <a:lnTo>
                    <a:pt x="157" y="719"/>
                  </a:lnTo>
                  <a:lnTo>
                    <a:pt x="157" y="721"/>
                  </a:lnTo>
                  <a:lnTo>
                    <a:pt x="161" y="723"/>
                  </a:lnTo>
                  <a:lnTo>
                    <a:pt x="174" y="727"/>
                  </a:lnTo>
                  <a:lnTo>
                    <a:pt x="174" y="727"/>
                  </a:lnTo>
                  <a:close/>
                  <a:moveTo>
                    <a:pt x="496" y="231"/>
                  </a:moveTo>
                  <a:lnTo>
                    <a:pt x="496" y="231"/>
                  </a:lnTo>
                  <a:lnTo>
                    <a:pt x="498" y="233"/>
                  </a:lnTo>
                  <a:lnTo>
                    <a:pt x="499" y="235"/>
                  </a:lnTo>
                  <a:lnTo>
                    <a:pt x="503" y="235"/>
                  </a:lnTo>
                  <a:lnTo>
                    <a:pt x="507" y="235"/>
                  </a:lnTo>
                  <a:lnTo>
                    <a:pt x="513" y="231"/>
                  </a:lnTo>
                  <a:lnTo>
                    <a:pt x="520" y="224"/>
                  </a:lnTo>
                  <a:lnTo>
                    <a:pt x="531" y="209"/>
                  </a:lnTo>
                  <a:lnTo>
                    <a:pt x="533" y="203"/>
                  </a:lnTo>
                  <a:lnTo>
                    <a:pt x="533" y="200"/>
                  </a:lnTo>
                  <a:lnTo>
                    <a:pt x="533" y="200"/>
                  </a:lnTo>
                  <a:lnTo>
                    <a:pt x="526" y="196"/>
                  </a:lnTo>
                  <a:lnTo>
                    <a:pt x="526" y="196"/>
                  </a:lnTo>
                  <a:lnTo>
                    <a:pt x="509" y="213"/>
                  </a:lnTo>
                  <a:lnTo>
                    <a:pt x="501" y="224"/>
                  </a:lnTo>
                  <a:lnTo>
                    <a:pt x="496" y="231"/>
                  </a:lnTo>
                  <a:lnTo>
                    <a:pt x="496" y="231"/>
                  </a:lnTo>
                  <a:close/>
                  <a:moveTo>
                    <a:pt x="486" y="267"/>
                  </a:moveTo>
                  <a:lnTo>
                    <a:pt x="486" y="267"/>
                  </a:lnTo>
                  <a:lnTo>
                    <a:pt x="486" y="271"/>
                  </a:lnTo>
                  <a:lnTo>
                    <a:pt x="488" y="272"/>
                  </a:lnTo>
                  <a:lnTo>
                    <a:pt x="490" y="272"/>
                  </a:lnTo>
                  <a:lnTo>
                    <a:pt x="496" y="267"/>
                  </a:lnTo>
                  <a:lnTo>
                    <a:pt x="499" y="263"/>
                  </a:lnTo>
                  <a:lnTo>
                    <a:pt x="499" y="263"/>
                  </a:lnTo>
                  <a:lnTo>
                    <a:pt x="505" y="259"/>
                  </a:lnTo>
                  <a:lnTo>
                    <a:pt x="505" y="259"/>
                  </a:lnTo>
                  <a:lnTo>
                    <a:pt x="505" y="258"/>
                  </a:lnTo>
                  <a:lnTo>
                    <a:pt x="501" y="254"/>
                  </a:lnTo>
                  <a:lnTo>
                    <a:pt x="496" y="250"/>
                  </a:lnTo>
                  <a:lnTo>
                    <a:pt x="496" y="250"/>
                  </a:lnTo>
                  <a:lnTo>
                    <a:pt x="488" y="258"/>
                  </a:lnTo>
                  <a:lnTo>
                    <a:pt x="486" y="261"/>
                  </a:lnTo>
                  <a:lnTo>
                    <a:pt x="486" y="267"/>
                  </a:lnTo>
                  <a:lnTo>
                    <a:pt x="486" y="267"/>
                  </a:lnTo>
                  <a:close/>
                  <a:moveTo>
                    <a:pt x="483" y="431"/>
                  </a:moveTo>
                  <a:lnTo>
                    <a:pt x="483" y="431"/>
                  </a:lnTo>
                  <a:lnTo>
                    <a:pt x="471" y="424"/>
                  </a:lnTo>
                  <a:lnTo>
                    <a:pt x="464" y="422"/>
                  </a:lnTo>
                  <a:lnTo>
                    <a:pt x="462" y="422"/>
                  </a:lnTo>
                  <a:lnTo>
                    <a:pt x="462" y="424"/>
                  </a:lnTo>
                  <a:lnTo>
                    <a:pt x="462" y="424"/>
                  </a:lnTo>
                  <a:lnTo>
                    <a:pt x="466" y="431"/>
                  </a:lnTo>
                  <a:lnTo>
                    <a:pt x="471" y="437"/>
                  </a:lnTo>
                  <a:lnTo>
                    <a:pt x="475" y="439"/>
                  </a:lnTo>
                  <a:lnTo>
                    <a:pt x="479" y="439"/>
                  </a:lnTo>
                  <a:lnTo>
                    <a:pt x="481" y="437"/>
                  </a:lnTo>
                  <a:lnTo>
                    <a:pt x="483" y="431"/>
                  </a:lnTo>
                  <a:lnTo>
                    <a:pt x="483" y="431"/>
                  </a:lnTo>
                  <a:close/>
                  <a:moveTo>
                    <a:pt x="488" y="353"/>
                  </a:moveTo>
                  <a:lnTo>
                    <a:pt x="488" y="353"/>
                  </a:lnTo>
                  <a:lnTo>
                    <a:pt x="488" y="360"/>
                  </a:lnTo>
                  <a:lnTo>
                    <a:pt x="492" y="366"/>
                  </a:lnTo>
                  <a:lnTo>
                    <a:pt x="494" y="371"/>
                  </a:lnTo>
                  <a:lnTo>
                    <a:pt x="496" y="377"/>
                  </a:lnTo>
                  <a:lnTo>
                    <a:pt x="496" y="377"/>
                  </a:lnTo>
                  <a:lnTo>
                    <a:pt x="494" y="386"/>
                  </a:lnTo>
                  <a:lnTo>
                    <a:pt x="494" y="390"/>
                  </a:lnTo>
                  <a:lnTo>
                    <a:pt x="498" y="394"/>
                  </a:lnTo>
                  <a:lnTo>
                    <a:pt x="498" y="394"/>
                  </a:lnTo>
                  <a:lnTo>
                    <a:pt x="501" y="398"/>
                  </a:lnTo>
                  <a:lnTo>
                    <a:pt x="505" y="396"/>
                  </a:lnTo>
                  <a:lnTo>
                    <a:pt x="509" y="394"/>
                  </a:lnTo>
                  <a:lnTo>
                    <a:pt x="511" y="388"/>
                  </a:lnTo>
                  <a:lnTo>
                    <a:pt x="514" y="377"/>
                  </a:lnTo>
                  <a:lnTo>
                    <a:pt x="514" y="371"/>
                  </a:lnTo>
                  <a:lnTo>
                    <a:pt x="514" y="368"/>
                  </a:lnTo>
                  <a:lnTo>
                    <a:pt x="514" y="368"/>
                  </a:lnTo>
                  <a:lnTo>
                    <a:pt x="507" y="357"/>
                  </a:lnTo>
                  <a:lnTo>
                    <a:pt x="501" y="353"/>
                  </a:lnTo>
                  <a:lnTo>
                    <a:pt x="498" y="349"/>
                  </a:lnTo>
                  <a:lnTo>
                    <a:pt x="498" y="349"/>
                  </a:lnTo>
                  <a:lnTo>
                    <a:pt x="494" y="351"/>
                  </a:lnTo>
                  <a:lnTo>
                    <a:pt x="488" y="353"/>
                  </a:lnTo>
                  <a:lnTo>
                    <a:pt x="488" y="353"/>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2" name="Freeform 92">
              <a:extLst>
                <a:ext uri="{FF2B5EF4-FFF2-40B4-BE49-F238E27FC236}">
                  <a16:creationId xmlns:a16="http://schemas.microsoft.com/office/drawing/2014/main" id="{F7D55BAA-1FCB-4F3F-A0A0-81DEFD69C4E3}"/>
                </a:ext>
              </a:extLst>
            </p:cNvPr>
            <p:cNvSpPr>
              <a:spLocks/>
            </p:cNvSpPr>
            <p:nvPr/>
          </p:nvSpPr>
          <p:spPr bwMode="auto">
            <a:xfrm>
              <a:off x="5981728" y="4971613"/>
              <a:ext cx="514116" cy="624932"/>
            </a:xfrm>
            <a:custGeom>
              <a:avLst/>
              <a:gdLst/>
              <a:ahLst/>
              <a:cxnLst>
                <a:cxn ang="0">
                  <a:pos x="77" y="218"/>
                </a:cxn>
                <a:cxn ang="0">
                  <a:pos x="83" y="280"/>
                </a:cxn>
                <a:cxn ang="0">
                  <a:pos x="70" y="299"/>
                </a:cxn>
                <a:cxn ang="0">
                  <a:pos x="66" y="329"/>
                </a:cxn>
                <a:cxn ang="0">
                  <a:pos x="45" y="357"/>
                </a:cxn>
                <a:cxn ang="0">
                  <a:pos x="15" y="418"/>
                </a:cxn>
                <a:cxn ang="0">
                  <a:pos x="0" y="513"/>
                </a:cxn>
                <a:cxn ang="0">
                  <a:pos x="64" y="517"/>
                </a:cxn>
                <a:cxn ang="0">
                  <a:pos x="85" y="542"/>
                </a:cxn>
                <a:cxn ang="0">
                  <a:pos x="113" y="538"/>
                </a:cxn>
                <a:cxn ang="0">
                  <a:pos x="141" y="586"/>
                </a:cxn>
                <a:cxn ang="0">
                  <a:pos x="154" y="642"/>
                </a:cxn>
                <a:cxn ang="0">
                  <a:pos x="193" y="676"/>
                </a:cxn>
                <a:cxn ang="0">
                  <a:pos x="219" y="650"/>
                </a:cxn>
                <a:cxn ang="0">
                  <a:pos x="301" y="581"/>
                </a:cxn>
                <a:cxn ang="0">
                  <a:pos x="285" y="558"/>
                </a:cxn>
                <a:cxn ang="0">
                  <a:pos x="299" y="536"/>
                </a:cxn>
                <a:cxn ang="0">
                  <a:pos x="342" y="525"/>
                </a:cxn>
                <a:cxn ang="0">
                  <a:pos x="374" y="512"/>
                </a:cxn>
                <a:cxn ang="0">
                  <a:pos x="376" y="487"/>
                </a:cxn>
                <a:cxn ang="0">
                  <a:pos x="399" y="471"/>
                </a:cxn>
                <a:cxn ang="0">
                  <a:pos x="400" y="441"/>
                </a:cxn>
                <a:cxn ang="0">
                  <a:pos x="432" y="422"/>
                </a:cxn>
                <a:cxn ang="0">
                  <a:pos x="425" y="394"/>
                </a:cxn>
                <a:cxn ang="0">
                  <a:pos x="484" y="388"/>
                </a:cxn>
                <a:cxn ang="0">
                  <a:pos x="471" y="377"/>
                </a:cxn>
                <a:cxn ang="0">
                  <a:pos x="477" y="349"/>
                </a:cxn>
                <a:cxn ang="0">
                  <a:pos x="479" y="325"/>
                </a:cxn>
                <a:cxn ang="0">
                  <a:pos x="464" y="297"/>
                </a:cxn>
                <a:cxn ang="0">
                  <a:pos x="471" y="256"/>
                </a:cxn>
                <a:cxn ang="0">
                  <a:pos x="475" y="243"/>
                </a:cxn>
                <a:cxn ang="0">
                  <a:pos x="468" y="226"/>
                </a:cxn>
                <a:cxn ang="0">
                  <a:pos x="462" y="198"/>
                </a:cxn>
                <a:cxn ang="0">
                  <a:pos x="496" y="203"/>
                </a:cxn>
                <a:cxn ang="0">
                  <a:pos x="542" y="155"/>
                </a:cxn>
                <a:cxn ang="0">
                  <a:pos x="546" y="134"/>
                </a:cxn>
                <a:cxn ang="0">
                  <a:pos x="567" y="132"/>
                </a:cxn>
                <a:cxn ang="0">
                  <a:pos x="529" y="108"/>
                </a:cxn>
                <a:cxn ang="0">
                  <a:pos x="475" y="115"/>
                </a:cxn>
                <a:cxn ang="0">
                  <a:pos x="447" y="80"/>
                </a:cxn>
                <a:cxn ang="0">
                  <a:pos x="408" y="115"/>
                </a:cxn>
                <a:cxn ang="0">
                  <a:pos x="384" y="112"/>
                </a:cxn>
                <a:cxn ang="0">
                  <a:pos x="361" y="106"/>
                </a:cxn>
                <a:cxn ang="0">
                  <a:pos x="339" y="35"/>
                </a:cxn>
                <a:cxn ang="0">
                  <a:pos x="313" y="2"/>
                </a:cxn>
                <a:cxn ang="0">
                  <a:pos x="283" y="20"/>
                </a:cxn>
                <a:cxn ang="0">
                  <a:pos x="268" y="35"/>
                </a:cxn>
                <a:cxn ang="0">
                  <a:pos x="249" y="48"/>
                </a:cxn>
                <a:cxn ang="0">
                  <a:pos x="210" y="74"/>
                </a:cxn>
                <a:cxn ang="0">
                  <a:pos x="184" y="58"/>
                </a:cxn>
                <a:cxn ang="0">
                  <a:pos x="142" y="101"/>
                </a:cxn>
                <a:cxn ang="0">
                  <a:pos x="133" y="125"/>
                </a:cxn>
                <a:cxn ang="0">
                  <a:pos x="141" y="164"/>
                </a:cxn>
              </a:cxnLst>
              <a:rect l="0" t="0" r="r" b="b"/>
              <a:pathLst>
                <a:path w="567" h="687">
                  <a:moveTo>
                    <a:pt x="116" y="198"/>
                  </a:moveTo>
                  <a:lnTo>
                    <a:pt x="116" y="198"/>
                  </a:lnTo>
                  <a:lnTo>
                    <a:pt x="105" y="203"/>
                  </a:lnTo>
                  <a:lnTo>
                    <a:pt x="94" y="207"/>
                  </a:lnTo>
                  <a:lnTo>
                    <a:pt x="85" y="213"/>
                  </a:lnTo>
                  <a:lnTo>
                    <a:pt x="77" y="218"/>
                  </a:lnTo>
                  <a:lnTo>
                    <a:pt x="73" y="222"/>
                  </a:lnTo>
                  <a:lnTo>
                    <a:pt x="71" y="228"/>
                  </a:lnTo>
                  <a:lnTo>
                    <a:pt x="71" y="233"/>
                  </a:lnTo>
                  <a:lnTo>
                    <a:pt x="70" y="239"/>
                  </a:lnTo>
                  <a:lnTo>
                    <a:pt x="73" y="256"/>
                  </a:lnTo>
                  <a:lnTo>
                    <a:pt x="83" y="280"/>
                  </a:lnTo>
                  <a:lnTo>
                    <a:pt x="83" y="280"/>
                  </a:lnTo>
                  <a:lnTo>
                    <a:pt x="85" y="284"/>
                  </a:lnTo>
                  <a:lnTo>
                    <a:pt x="85" y="287"/>
                  </a:lnTo>
                  <a:lnTo>
                    <a:pt x="81" y="291"/>
                  </a:lnTo>
                  <a:lnTo>
                    <a:pt x="75" y="295"/>
                  </a:lnTo>
                  <a:lnTo>
                    <a:pt x="70" y="299"/>
                  </a:lnTo>
                  <a:lnTo>
                    <a:pt x="62" y="302"/>
                  </a:lnTo>
                  <a:lnTo>
                    <a:pt x="60" y="308"/>
                  </a:lnTo>
                  <a:lnTo>
                    <a:pt x="58" y="312"/>
                  </a:lnTo>
                  <a:lnTo>
                    <a:pt x="60" y="315"/>
                  </a:lnTo>
                  <a:lnTo>
                    <a:pt x="66" y="329"/>
                  </a:lnTo>
                  <a:lnTo>
                    <a:pt x="66" y="329"/>
                  </a:lnTo>
                  <a:lnTo>
                    <a:pt x="70" y="336"/>
                  </a:lnTo>
                  <a:lnTo>
                    <a:pt x="70" y="338"/>
                  </a:lnTo>
                  <a:lnTo>
                    <a:pt x="70" y="340"/>
                  </a:lnTo>
                  <a:lnTo>
                    <a:pt x="64" y="343"/>
                  </a:lnTo>
                  <a:lnTo>
                    <a:pt x="55" y="349"/>
                  </a:lnTo>
                  <a:lnTo>
                    <a:pt x="45" y="357"/>
                  </a:lnTo>
                  <a:lnTo>
                    <a:pt x="40" y="362"/>
                  </a:lnTo>
                  <a:lnTo>
                    <a:pt x="34" y="370"/>
                  </a:lnTo>
                  <a:lnTo>
                    <a:pt x="29" y="377"/>
                  </a:lnTo>
                  <a:lnTo>
                    <a:pt x="23" y="388"/>
                  </a:lnTo>
                  <a:lnTo>
                    <a:pt x="19" y="403"/>
                  </a:lnTo>
                  <a:lnTo>
                    <a:pt x="15" y="418"/>
                  </a:lnTo>
                  <a:lnTo>
                    <a:pt x="15" y="418"/>
                  </a:lnTo>
                  <a:lnTo>
                    <a:pt x="10" y="448"/>
                  </a:lnTo>
                  <a:lnTo>
                    <a:pt x="4" y="461"/>
                  </a:lnTo>
                  <a:lnTo>
                    <a:pt x="2" y="476"/>
                  </a:lnTo>
                  <a:lnTo>
                    <a:pt x="0" y="513"/>
                  </a:lnTo>
                  <a:lnTo>
                    <a:pt x="0" y="513"/>
                  </a:lnTo>
                  <a:lnTo>
                    <a:pt x="10" y="513"/>
                  </a:lnTo>
                  <a:lnTo>
                    <a:pt x="21" y="513"/>
                  </a:lnTo>
                  <a:lnTo>
                    <a:pt x="42" y="517"/>
                  </a:lnTo>
                  <a:lnTo>
                    <a:pt x="58" y="519"/>
                  </a:lnTo>
                  <a:lnTo>
                    <a:pt x="64" y="519"/>
                  </a:lnTo>
                  <a:lnTo>
                    <a:pt x="64" y="517"/>
                  </a:lnTo>
                  <a:lnTo>
                    <a:pt x="64" y="515"/>
                  </a:lnTo>
                  <a:lnTo>
                    <a:pt x="64" y="515"/>
                  </a:lnTo>
                  <a:lnTo>
                    <a:pt x="64" y="510"/>
                  </a:lnTo>
                  <a:lnTo>
                    <a:pt x="66" y="512"/>
                  </a:lnTo>
                  <a:lnTo>
                    <a:pt x="73" y="525"/>
                  </a:lnTo>
                  <a:lnTo>
                    <a:pt x="85" y="542"/>
                  </a:lnTo>
                  <a:lnTo>
                    <a:pt x="90" y="545"/>
                  </a:lnTo>
                  <a:lnTo>
                    <a:pt x="92" y="545"/>
                  </a:lnTo>
                  <a:lnTo>
                    <a:pt x="96" y="545"/>
                  </a:lnTo>
                  <a:lnTo>
                    <a:pt x="96" y="545"/>
                  </a:lnTo>
                  <a:lnTo>
                    <a:pt x="105" y="538"/>
                  </a:lnTo>
                  <a:lnTo>
                    <a:pt x="113" y="538"/>
                  </a:lnTo>
                  <a:lnTo>
                    <a:pt x="116" y="540"/>
                  </a:lnTo>
                  <a:lnTo>
                    <a:pt x="120" y="545"/>
                  </a:lnTo>
                  <a:lnTo>
                    <a:pt x="126" y="562"/>
                  </a:lnTo>
                  <a:lnTo>
                    <a:pt x="131" y="573"/>
                  </a:lnTo>
                  <a:lnTo>
                    <a:pt x="141" y="586"/>
                  </a:lnTo>
                  <a:lnTo>
                    <a:pt x="141" y="586"/>
                  </a:lnTo>
                  <a:lnTo>
                    <a:pt x="148" y="598"/>
                  </a:lnTo>
                  <a:lnTo>
                    <a:pt x="152" y="605"/>
                  </a:lnTo>
                  <a:lnTo>
                    <a:pt x="152" y="613"/>
                  </a:lnTo>
                  <a:lnTo>
                    <a:pt x="150" y="620"/>
                  </a:lnTo>
                  <a:lnTo>
                    <a:pt x="150" y="629"/>
                  </a:lnTo>
                  <a:lnTo>
                    <a:pt x="154" y="642"/>
                  </a:lnTo>
                  <a:lnTo>
                    <a:pt x="161" y="661"/>
                  </a:lnTo>
                  <a:lnTo>
                    <a:pt x="176" y="687"/>
                  </a:lnTo>
                  <a:lnTo>
                    <a:pt x="176" y="687"/>
                  </a:lnTo>
                  <a:lnTo>
                    <a:pt x="182" y="685"/>
                  </a:lnTo>
                  <a:lnTo>
                    <a:pt x="187" y="682"/>
                  </a:lnTo>
                  <a:lnTo>
                    <a:pt x="193" y="676"/>
                  </a:lnTo>
                  <a:lnTo>
                    <a:pt x="197" y="669"/>
                  </a:lnTo>
                  <a:lnTo>
                    <a:pt x="197" y="669"/>
                  </a:lnTo>
                  <a:lnTo>
                    <a:pt x="200" y="663"/>
                  </a:lnTo>
                  <a:lnTo>
                    <a:pt x="208" y="659"/>
                  </a:lnTo>
                  <a:lnTo>
                    <a:pt x="214" y="656"/>
                  </a:lnTo>
                  <a:lnTo>
                    <a:pt x="219" y="650"/>
                  </a:lnTo>
                  <a:lnTo>
                    <a:pt x="219" y="650"/>
                  </a:lnTo>
                  <a:lnTo>
                    <a:pt x="236" y="637"/>
                  </a:lnTo>
                  <a:lnTo>
                    <a:pt x="270" y="613"/>
                  </a:lnTo>
                  <a:lnTo>
                    <a:pt x="286" y="599"/>
                  </a:lnTo>
                  <a:lnTo>
                    <a:pt x="298" y="586"/>
                  </a:lnTo>
                  <a:lnTo>
                    <a:pt x="301" y="581"/>
                  </a:lnTo>
                  <a:lnTo>
                    <a:pt x="303" y="575"/>
                  </a:lnTo>
                  <a:lnTo>
                    <a:pt x="303" y="571"/>
                  </a:lnTo>
                  <a:lnTo>
                    <a:pt x="301" y="568"/>
                  </a:lnTo>
                  <a:lnTo>
                    <a:pt x="301" y="568"/>
                  </a:lnTo>
                  <a:lnTo>
                    <a:pt x="292" y="562"/>
                  </a:lnTo>
                  <a:lnTo>
                    <a:pt x="285" y="558"/>
                  </a:lnTo>
                  <a:lnTo>
                    <a:pt x="283" y="555"/>
                  </a:lnTo>
                  <a:lnTo>
                    <a:pt x="283" y="551"/>
                  </a:lnTo>
                  <a:lnTo>
                    <a:pt x="286" y="547"/>
                  </a:lnTo>
                  <a:lnTo>
                    <a:pt x="292" y="540"/>
                  </a:lnTo>
                  <a:lnTo>
                    <a:pt x="292" y="540"/>
                  </a:lnTo>
                  <a:lnTo>
                    <a:pt x="299" y="536"/>
                  </a:lnTo>
                  <a:lnTo>
                    <a:pt x="309" y="532"/>
                  </a:lnTo>
                  <a:lnTo>
                    <a:pt x="318" y="528"/>
                  </a:lnTo>
                  <a:lnTo>
                    <a:pt x="328" y="525"/>
                  </a:lnTo>
                  <a:lnTo>
                    <a:pt x="328" y="525"/>
                  </a:lnTo>
                  <a:lnTo>
                    <a:pt x="337" y="523"/>
                  </a:lnTo>
                  <a:lnTo>
                    <a:pt x="342" y="525"/>
                  </a:lnTo>
                  <a:lnTo>
                    <a:pt x="354" y="530"/>
                  </a:lnTo>
                  <a:lnTo>
                    <a:pt x="357" y="532"/>
                  </a:lnTo>
                  <a:lnTo>
                    <a:pt x="363" y="532"/>
                  </a:lnTo>
                  <a:lnTo>
                    <a:pt x="369" y="525"/>
                  </a:lnTo>
                  <a:lnTo>
                    <a:pt x="374" y="512"/>
                  </a:lnTo>
                  <a:lnTo>
                    <a:pt x="374" y="512"/>
                  </a:lnTo>
                  <a:lnTo>
                    <a:pt x="376" y="506"/>
                  </a:lnTo>
                  <a:lnTo>
                    <a:pt x="376" y="500"/>
                  </a:lnTo>
                  <a:lnTo>
                    <a:pt x="372" y="495"/>
                  </a:lnTo>
                  <a:lnTo>
                    <a:pt x="372" y="491"/>
                  </a:lnTo>
                  <a:lnTo>
                    <a:pt x="372" y="489"/>
                  </a:lnTo>
                  <a:lnTo>
                    <a:pt x="376" y="487"/>
                  </a:lnTo>
                  <a:lnTo>
                    <a:pt x="384" y="484"/>
                  </a:lnTo>
                  <a:lnTo>
                    <a:pt x="384" y="484"/>
                  </a:lnTo>
                  <a:lnTo>
                    <a:pt x="389" y="480"/>
                  </a:lnTo>
                  <a:lnTo>
                    <a:pt x="395" y="478"/>
                  </a:lnTo>
                  <a:lnTo>
                    <a:pt x="397" y="474"/>
                  </a:lnTo>
                  <a:lnTo>
                    <a:pt x="399" y="471"/>
                  </a:lnTo>
                  <a:lnTo>
                    <a:pt x="399" y="465"/>
                  </a:lnTo>
                  <a:lnTo>
                    <a:pt x="397" y="457"/>
                  </a:lnTo>
                  <a:lnTo>
                    <a:pt x="395" y="450"/>
                  </a:lnTo>
                  <a:lnTo>
                    <a:pt x="395" y="446"/>
                  </a:lnTo>
                  <a:lnTo>
                    <a:pt x="397" y="444"/>
                  </a:lnTo>
                  <a:lnTo>
                    <a:pt x="400" y="441"/>
                  </a:lnTo>
                  <a:lnTo>
                    <a:pt x="404" y="437"/>
                  </a:lnTo>
                  <a:lnTo>
                    <a:pt x="421" y="431"/>
                  </a:lnTo>
                  <a:lnTo>
                    <a:pt x="421" y="431"/>
                  </a:lnTo>
                  <a:lnTo>
                    <a:pt x="430" y="428"/>
                  </a:lnTo>
                  <a:lnTo>
                    <a:pt x="432" y="426"/>
                  </a:lnTo>
                  <a:lnTo>
                    <a:pt x="432" y="422"/>
                  </a:lnTo>
                  <a:lnTo>
                    <a:pt x="430" y="418"/>
                  </a:lnTo>
                  <a:lnTo>
                    <a:pt x="427" y="411"/>
                  </a:lnTo>
                  <a:lnTo>
                    <a:pt x="423" y="405"/>
                  </a:lnTo>
                  <a:lnTo>
                    <a:pt x="421" y="400"/>
                  </a:lnTo>
                  <a:lnTo>
                    <a:pt x="423" y="398"/>
                  </a:lnTo>
                  <a:lnTo>
                    <a:pt x="425" y="394"/>
                  </a:lnTo>
                  <a:lnTo>
                    <a:pt x="436" y="388"/>
                  </a:lnTo>
                  <a:lnTo>
                    <a:pt x="436" y="388"/>
                  </a:lnTo>
                  <a:lnTo>
                    <a:pt x="442" y="388"/>
                  </a:lnTo>
                  <a:lnTo>
                    <a:pt x="453" y="388"/>
                  </a:lnTo>
                  <a:lnTo>
                    <a:pt x="477" y="390"/>
                  </a:lnTo>
                  <a:lnTo>
                    <a:pt x="484" y="388"/>
                  </a:lnTo>
                  <a:lnTo>
                    <a:pt x="486" y="388"/>
                  </a:lnTo>
                  <a:lnTo>
                    <a:pt x="488" y="386"/>
                  </a:lnTo>
                  <a:lnTo>
                    <a:pt x="488" y="386"/>
                  </a:lnTo>
                  <a:lnTo>
                    <a:pt x="484" y="383"/>
                  </a:lnTo>
                  <a:lnTo>
                    <a:pt x="471" y="377"/>
                  </a:lnTo>
                  <a:lnTo>
                    <a:pt x="471" y="377"/>
                  </a:lnTo>
                  <a:lnTo>
                    <a:pt x="460" y="370"/>
                  </a:lnTo>
                  <a:lnTo>
                    <a:pt x="456" y="366"/>
                  </a:lnTo>
                  <a:lnTo>
                    <a:pt x="458" y="362"/>
                  </a:lnTo>
                  <a:lnTo>
                    <a:pt x="462" y="360"/>
                  </a:lnTo>
                  <a:lnTo>
                    <a:pt x="473" y="355"/>
                  </a:lnTo>
                  <a:lnTo>
                    <a:pt x="477" y="349"/>
                  </a:lnTo>
                  <a:lnTo>
                    <a:pt x="477" y="347"/>
                  </a:lnTo>
                  <a:lnTo>
                    <a:pt x="477" y="343"/>
                  </a:lnTo>
                  <a:lnTo>
                    <a:pt x="477" y="343"/>
                  </a:lnTo>
                  <a:lnTo>
                    <a:pt x="475" y="334"/>
                  </a:lnTo>
                  <a:lnTo>
                    <a:pt x="477" y="329"/>
                  </a:lnTo>
                  <a:lnTo>
                    <a:pt x="479" y="325"/>
                  </a:lnTo>
                  <a:lnTo>
                    <a:pt x="481" y="325"/>
                  </a:lnTo>
                  <a:lnTo>
                    <a:pt x="481" y="323"/>
                  </a:lnTo>
                  <a:lnTo>
                    <a:pt x="481" y="319"/>
                  </a:lnTo>
                  <a:lnTo>
                    <a:pt x="466" y="302"/>
                  </a:lnTo>
                  <a:lnTo>
                    <a:pt x="466" y="302"/>
                  </a:lnTo>
                  <a:lnTo>
                    <a:pt x="464" y="297"/>
                  </a:lnTo>
                  <a:lnTo>
                    <a:pt x="466" y="291"/>
                  </a:lnTo>
                  <a:lnTo>
                    <a:pt x="475" y="284"/>
                  </a:lnTo>
                  <a:lnTo>
                    <a:pt x="479" y="278"/>
                  </a:lnTo>
                  <a:lnTo>
                    <a:pt x="481" y="272"/>
                  </a:lnTo>
                  <a:lnTo>
                    <a:pt x="479" y="265"/>
                  </a:lnTo>
                  <a:lnTo>
                    <a:pt x="471" y="256"/>
                  </a:lnTo>
                  <a:lnTo>
                    <a:pt x="471" y="256"/>
                  </a:lnTo>
                  <a:lnTo>
                    <a:pt x="468" y="252"/>
                  </a:lnTo>
                  <a:lnTo>
                    <a:pt x="466" y="248"/>
                  </a:lnTo>
                  <a:lnTo>
                    <a:pt x="468" y="246"/>
                  </a:lnTo>
                  <a:lnTo>
                    <a:pt x="470" y="244"/>
                  </a:lnTo>
                  <a:lnTo>
                    <a:pt x="475" y="243"/>
                  </a:lnTo>
                  <a:lnTo>
                    <a:pt x="483" y="241"/>
                  </a:lnTo>
                  <a:lnTo>
                    <a:pt x="488" y="239"/>
                  </a:lnTo>
                  <a:lnTo>
                    <a:pt x="490" y="239"/>
                  </a:lnTo>
                  <a:lnTo>
                    <a:pt x="490" y="237"/>
                  </a:lnTo>
                  <a:lnTo>
                    <a:pt x="483" y="233"/>
                  </a:lnTo>
                  <a:lnTo>
                    <a:pt x="468" y="226"/>
                  </a:lnTo>
                  <a:lnTo>
                    <a:pt x="468" y="226"/>
                  </a:lnTo>
                  <a:lnTo>
                    <a:pt x="458" y="220"/>
                  </a:lnTo>
                  <a:lnTo>
                    <a:pt x="455" y="215"/>
                  </a:lnTo>
                  <a:lnTo>
                    <a:pt x="455" y="209"/>
                  </a:lnTo>
                  <a:lnTo>
                    <a:pt x="456" y="203"/>
                  </a:lnTo>
                  <a:lnTo>
                    <a:pt x="462" y="198"/>
                  </a:lnTo>
                  <a:lnTo>
                    <a:pt x="468" y="196"/>
                  </a:lnTo>
                  <a:lnTo>
                    <a:pt x="475" y="196"/>
                  </a:lnTo>
                  <a:lnTo>
                    <a:pt x="484" y="200"/>
                  </a:lnTo>
                  <a:lnTo>
                    <a:pt x="484" y="200"/>
                  </a:lnTo>
                  <a:lnTo>
                    <a:pt x="490" y="201"/>
                  </a:lnTo>
                  <a:lnTo>
                    <a:pt x="496" y="203"/>
                  </a:lnTo>
                  <a:lnTo>
                    <a:pt x="501" y="203"/>
                  </a:lnTo>
                  <a:lnTo>
                    <a:pt x="507" y="201"/>
                  </a:lnTo>
                  <a:lnTo>
                    <a:pt x="516" y="196"/>
                  </a:lnTo>
                  <a:lnTo>
                    <a:pt x="524" y="187"/>
                  </a:lnTo>
                  <a:lnTo>
                    <a:pt x="537" y="164"/>
                  </a:lnTo>
                  <a:lnTo>
                    <a:pt x="542" y="155"/>
                  </a:lnTo>
                  <a:lnTo>
                    <a:pt x="550" y="147"/>
                  </a:lnTo>
                  <a:lnTo>
                    <a:pt x="550" y="147"/>
                  </a:lnTo>
                  <a:lnTo>
                    <a:pt x="559" y="140"/>
                  </a:lnTo>
                  <a:lnTo>
                    <a:pt x="559" y="138"/>
                  </a:lnTo>
                  <a:lnTo>
                    <a:pt x="556" y="138"/>
                  </a:lnTo>
                  <a:lnTo>
                    <a:pt x="546" y="134"/>
                  </a:lnTo>
                  <a:lnTo>
                    <a:pt x="541" y="132"/>
                  </a:lnTo>
                  <a:lnTo>
                    <a:pt x="535" y="129"/>
                  </a:lnTo>
                  <a:lnTo>
                    <a:pt x="542" y="130"/>
                  </a:lnTo>
                  <a:lnTo>
                    <a:pt x="542" y="130"/>
                  </a:lnTo>
                  <a:lnTo>
                    <a:pt x="556" y="132"/>
                  </a:lnTo>
                  <a:lnTo>
                    <a:pt x="567" y="132"/>
                  </a:lnTo>
                  <a:lnTo>
                    <a:pt x="567" y="132"/>
                  </a:lnTo>
                  <a:lnTo>
                    <a:pt x="557" y="121"/>
                  </a:lnTo>
                  <a:lnTo>
                    <a:pt x="548" y="112"/>
                  </a:lnTo>
                  <a:lnTo>
                    <a:pt x="542" y="110"/>
                  </a:lnTo>
                  <a:lnTo>
                    <a:pt x="535" y="108"/>
                  </a:lnTo>
                  <a:lnTo>
                    <a:pt x="529" y="108"/>
                  </a:lnTo>
                  <a:lnTo>
                    <a:pt x="522" y="110"/>
                  </a:lnTo>
                  <a:lnTo>
                    <a:pt x="522" y="110"/>
                  </a:lnTo>
                  <a:lnTo>
                    <a:pt x="492" y="121"/>
                  </a:lnTo>
                  <a:lnTo>
                    <a:pt x="484" y="121"/>
                  </a:lnTo>
                  <a:lnTo>
                    <a:pt x="479" y="121"/>
                  </a:lnTo>
                  <a:lnTo>
                    <a:pt x="475" y="115"/>
                  </a:lnTo>
                  <a:lnTo>
                    <a:pt x="471" y="108"/>
                  </a:lnTo>
                  <a:lnTo>
                    <a:pt x="456" y="84"/>
                  </a:lnTo>
                  <a:lnTo>
                    <a:pt x="456" y="84"/>
                  </a:lnTo>
                  <a:lnTo>
                    <a:pt x="453" y="80"/>
                  </a:lnTo>
                  <a:lnTo>
                    <a:pt x="451" y="80"/>
                  </a:lnTo>
                  <a:lnTo>
                    <a:pt x="447" y="80"/>
                  </a:lnTo>
                  <a:lnTo>
                    <a:pt x="443" y="82"/>
                  </a:lnTo>
                  <a:lnTo>
                    <a:pt x="436" y="87"/>
                  </a:lnTo>
                  <a:lnTo>
                    <a:pt x="428" y="97"/>
                  </a:lnTo>
                  <a:lnTo>
                    <a:pt x="419" y="106"/>
                  </a:lnTo>
                  <a:lnTo>
                    <a:pt x="412" y="114"/>
                  </a:lnTo>
                  <a:lnTo>
                    <a:pt x="408" y="115"/>
                  </a:lnTo>
                  <a:lnTo>
                    <a:pt x="402" y="115"/>
                  </a:lnTo>
                  <a:lnTo>
                    <a:pt x="399" y="115"/>
                  </a:lnTo>
                  <a:lnTo>
                    <a:pt x="395" y="114"/>
                  </a:lnTo>
                  <a:lnTo>
                    <a:pt x="395" y="114"/>
                  </a:lnTo>
                  <a:lnTo>
                    <a:pt x="389" y="112"/>
                  </a:lnTo>
                  <a:lnTo>
                    <a:pt x="384" y="112"/>
                  </a:lnTo>
                  <a:lnTo>
                    <a:pt x="372" y="114"/>
                  </a:lnTo>
                  <a:lnTo>
                    <a:pt x="369" y="115"/>
                  </a:lnTo>
                  <a:lnTo>
                    <a:pt x="365" y="114"/>
                  </a:lnTo>
                  <a:lnTo>
                    <a:pt x="361" y="112"/>
                  </a:lnTo>
                  <a:lnTo>
                    <a:pt x="361" y="106"/>
                  </a:lnTo>
                  <a:lnTo>
                    <a:pt x="361" y="106"/>
                  </a:lnTo>
                  <a:lnTo>
                    <a:pt x="359" y="97"/>
                  </a:lnTo>
                  <a:lnTo>
                    <a:pt x="357" y="87"/>
                  </a:lnTo>
                  <a:lnTo>
                    <a:pt x="350" y="69"/>
                  </a:lnTo>
                  <a:lnTo>
                    <a:pt x="342" y="52"/>
                  </a:lnTo>
                  <a:lnTo>
                    <a:pt x="339" y="44"/>
                  </a:lnTo>
                  <a:lnTo>
                    <a:pt x="339" y="35"/>
                  </a:lnTo>
                  <a:lnTo>
                    <a:pt x="339" y="35"/>
                  </a:lnTo>
                  <a:lnTo>
                    <a:pt x="337" y="16"/>
                  </a:lnTo>
                  <a:lnTo>
                    <a:pt x="333" y="5"/>
                  </a:lnTo>
                  <a:lnTo>
                    <a:pt x="329" y="0"/>
                  </a:lnTo>
                  <a:lnTo>
                    <a:pt x="324" y="0"/>
                  </a:lnTo>
                  <a:lnTo>
                    <a:pt x="313" y="2"/>
                  </a:lnTo>
                  <a:lnTo>
                    <a:pt x="307" y="3"/>
                  </a:lnTo>
                  <a:lnTo>
                    <a:pt x="301" y="0"/>
                  </a:lnTo>
                  <a:lnTo>
                    <a:pt x="301" y="0"/>
                  </a:lnTo>
                  <a:lnTo>
                    <a:pt x="288" y="9"/>
                  </a:lnTo>
                  <a:lnTo>
                    <a:pt x="283" y="15"/>
                  </a:lnTo>
                  <a:lnTo>
                    <a:pt x="283" y="20"/>
                  </a:lnTo>
                  <a:lnTo>
                    <a:pt x="283" y="26"/>
                  </a:lnTo>
                  <a:lnTo>
                    <a:pt x="285" y="30"/>
                  </a:lnTo>
                  <a:lnTo>
                    <a:pt x="283" y="31"/>
                  </a:lnTo>
                  <a:lnTo>
                    <a:pt x="279" y="33"/>
                  </a:lnTo>
                  <a:lnTo>
                    <a:pt x="268" y="35"/>
                  </a:lnTo>
                  <a:lnTo>
                    <a:pt x="268" y="35"/>
                  </a:lnTo>
                  <a:lnTo>
                    <a:pt x="264" y="35"/>
                  </a:lnTo>
                  <a:lnTo>
                    <a:pt x="262" y="37"/>
                  </a:lnTo>
                  <a:lnTo>
                    <a:pt x="260" y="41"/>
                  </a:lnTo>
                  <a:lnTo>
                    <a:pt x="258" y="43"/>
                  </a:lnTo>
                  <a:lnTo>
                    <a:pt x="255" y="44"/>
                  </a:lnTo>
                  <a:lnTo>
                    <a:pt x="249" y="48"/>
                  </a:lnTo>
                  <a:lnTo>
                    <a:pt x="242" y="50"/>
                  </a:lnTo>
                  <a:lnTo>
                    <a:pt x="242" y="50"/>
                  </a:lnTo>
                  <a:lnTo>
                    <a:pt x="230" y="54"/>
                  </a:lnTo>
                  <a:lnTo>
                    <a:pt x="223" y="59"/>
                  </a:lnTo>
                  <a:lnTo>
                    <a:pt x="214" y="71"/>
                  </a:lnTo>
                  <a:lnTo>
                    <a:pt x="210" y="74"/>
                  </a:lnTo>
                  <a:lnTo>
                    <a:pt x="206" y="74"/>
                  </a:lnTo>
                  <a:lnTo>
                    <a:pt x="200" y="71"/>
                  </a:lnTo>
                  <a:lnTo>
                    <a:pt x="191" y="61"/>
                  </a:lnTo>
                  <a:lnTo>
                    <a:pt x="191" y="61"/>
                  </a:lnTo>
                  <a:lnTo>
                    <a:pt x="187" y="59"/>
                  </a:lnTo>
                  <a:lnTo>
                    <a:pt x="184" y="58"/>
                  </a:lnTo>
                  <a:lnTo>
                    <a:pt x="182" y="58"/>
                  </a:lnTo>
                  <a:lnTo>
                    <a:pt x="178" y="59"/>
                  </a:lnTo>
                  <a:lnTo>
                    <a:pt x="171" y="65"/>
                  </a:lnTo>
                  <a:lnTo>
                    <a:pt x="163" y="74"/>
                  </a:lnTo>
                  <a:lnTo>
                    <a:pt x="150" y="93"/>
                  </a:lnTo>
                  <a:lnTo>
                    <a:pt x="142" y="101"/>
                  </a:lnTo>
                  <a:lnTo>
                    <a:pt x="139" y="104"/>
                  </a:lnTo>
                  <a:lnTo>
                    <a:pt x="139" y="104"/>
                  </a:lnTo>
                  <a:lnTo>
                    <a:pt x="129" y="108"/>
                  </a:lnTo>
                  <a:lnTo>
                    <a:pt x="128" y="110"/>
                  </a:lnTo>
                  <a:lnTo>
                    <a:pt x="128" y="114"/>
                  </a:lnTo>
                  <a:lnTo>
                    <a:pt x="133" y="125"/>
                  </a:lnTo>
                  <a:lnTo>
                    <a:pt x="135" y="134"/>
                  </a:lnTo>
                  <a:lnTo>
                    <a:pt x="137" y="145"/>
                  </a:lnTo>
                  <a:lnTo>
                    <a:pt x="137" y="145"/>
                  </a:lnTo>
                  <a:lnTo>
                    <a:pt x="139" y="151"/>
                  </a:lnTo>
                  <a:lnTo>
                    <a:pt x="141" y="157"/>
                  </a:lnTo>
                  <a:lnTo>
                    <a:pt x="141" y="164"/>
                  </a:lnTo>
                  <a:lnTo>
                    <a:pt x="139" y="173"/>
                  </a:lnTo>
                  <a:lnTo>
                    <a:pt x="135" y="181"/>
                  </a:lnTo>
                  <a:lnTo>
                    <a:pt x="128" y="190"/>
                  </a:lnTo>
                  <a:lnTo>
                    <a:pt x="116" y="198"/>
                  </a:lnTo>
                  <a:lnTo>
                    <a:pt x="116" y="198"/>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3" name="Line 93">
              <a:extLst>
                <a:ext uri="{FF2B5EF4-FFF2-40B4-BE49-F238E27FC236}">
                  <a16:creationId xmlns:a16="http://schemas.microsoft.com/office/drawing/2014/main" id="{F8B913C8-F3EA-4AA2-9CD4-6D10A96C3F04}"/>
                </a:ext>
              </a:extLst>
            </p:cNvPr>
            <p:cNvSpPr>
              <a:spLocks noChangeShapeType="1"/>
            </p:cNvSpPr>
            <p:nvPr/>
          </p:nvSpPr>
          <p:spPr bwMode="auto">
            <a:xfrm>
              <a:off x="6161579" y="5640144"/>
              <a:ext cx="1817" cy="1816"/>
            </a:xfrm>
            <a:prstGeom prst="line">
              <a:avLst/>
            </a:pr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4" name="Freeform 94">
              <a:extLst>
                <a:ext uri="{FF2B5EF4-FFF2-40B4-BE49-F238E27FC236}">
                  <a16:creationId xmlns:a16="http://schemas.microsoft.com/office/drawing/2014/main" id="{19ABE2BE-5451-40F2-946A-B0DFF881690D}"/>
                </a:ext>
              </a:extLst>
            </p:cNvPr>
            <p:cNvSpPr>
              <a:spLocks/>
            </p:cNvSpPr>
            <p:nvPr/>
          </p:nvSpPr>
          <p:spPr bwMode="auto">
            <a:xfrm>
              <a:off x="6168845" y="5625611"/>
              <a:ext cx="14533" cy="10900"/>
            </a:xfrm>
            <a:custGeom>
              <a:avLst/>
              <a:gdLst/>
              <a:ahLst/>
              <a:cxnLst>
                <a:cxn ang="0">
                  <a:pos x="9" y="0"/>
                </a:cxn>
                <a:cxn ang="0">
                  <a:pos x="9" y="0"/>
                </a:cxn>
                <a:cxn ang="0">
                  <a:pos x="2" y="4"/>
                </a:cxn>
                <a:cxn ang="0">
                  <a:pos x="0" y="7"/>
                </a:cxn>
                <a:cxn ang="0">
                  <a:pos x="2" y="9"/>
                </a:cxn>
                <a:cxn ang="0">
                  <a:pos x="6" y="11"/>
                </a:cxn>
                <a:cxn ang="0">
                  <a:pos x="11" y="11"/>
                </a:cxn>
                <a:cxn ang="0">
                  <a:pos x="15" y="9"/>
                </a:cxn>
                <a:cxn ang="0">
                  <a:pos x="17" y="7"/>
                </a:cxn>
                <a:cxn ang="0">
                  <a:pos x="15" y="2"/>
                </a:cxn>
                <a:cxn ang="0">
                  <a:pos x="15" y="2"/>
                </a:cxn>
                <a:cxn ang="0">
                  <a:pos x="11" y="0"/>
                </a:cxn>
                <a:cxn ang="0">
                  <a:pos x="9" y="0"/>
                </a:cxn>
                <a:cxn ang="0">
                  <a:pos x="9" y="0"/>
                </a:cxn>
              </a:cxnLst>
              <a:rect l="0" t="0" r="r" b="b"/>
              <a:pathLst>
                <a:path w="17" h="11">
                  <a:moveTo>
                    <a:pt x="9" y="0"/>
                  </a:moveTo>
                  <a:lnTo>
                    <a:pt x="9" y="0"/>
                  </a:lnTo>
                  <a:lnTo>
                    <a:pt x="2" y="4"/>
                  </a:lnTo>
                  <a:lnTo>
                    <a:pt x="0" y="7"/>
                  </a:lnTo>
                  <a:lnTo>
                    <a:pt x="2" y="9"/>
                  </a:lnTo>
                  <a:lnTo>
                    <a:pt x="6" y="11"/>
                  </a:lnTo>
                  <a:lnTo>
                    <a:pt x="11" y="11"/>
                  </a:lnTo>
                  <a:lnTo>
                    <a:pt x="15" y="9"/>
                  </a:lnTo>
                  <a:lnTo>
                    <a:pt x="17" y="7"/>
                  </a:lnTo>
                  <a:lnTo>
                    <a:pt x="15" y="2"/>
                  </a:lnTo>
                  <a:lnTo>
                    <a:pt x="15" y="2"/>
                  </a:lnTo>
                  <a:lnTo>
                    <a:pt x="11" y="0"/>
                  </a:lnTo>
                  <a:lnTo>
                    <a:pt x="9" y="0"/>
                  </a:lnTo>
                  <a:lnTo>
                    <a:pt x="9" y="0"/>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5" name="Freeform 95">
              <a:extLst>
                <a:ext uri="{FF2B5EF4-FFF2-40B4-BE49-F238E27FC236}">
                  <a16:creationId xmlns:a16="http://schemas.microsoft.com/office/drawing/2014/main" id="{54D818C9-9B83-4589-BDC5-C8FE2E1010EC}"/>
                </a:ext>
              </a:extLst>
            </p:cNvPr>
            <p:cNvSpPr>
              <a:spLocks/>
            </p:cNvSpPr>
            <p:nvPr/>
          </p:nvSpPr>
          <p:spPr bwMode="auto">
            <a:xfrm>
              <a:off x="6125245" y="5618344"/>
              <a:ext cx="29067" cy="12716"/>
            </a:xfrm>
            <a:custGeom>
              <a:avLst/>
              <a:gdLst/>
              <a:ahLst/>
              <a:cxnLst>
                <a:cxn ang="0">
                  <a:pos x="17" y="15"/>
                </a:cxn>
                <a:cxn ang="0">
                  <a:pos x="17" y="15"/>
                </a:cxn>
                <a:cxn ang="0">
                  <a:pos x="23" y="9"/>
                </a:cxn>
                <a:cxn ang="0">
                  <a:pos x="30" y="3"/>
                </a:cxn>
                <a:cxn ang="0">
                  <a:pos x="32" y="1"/>
                </a:cxn>
                <a:cxn ang="0">
                  <a:pos x="28" y="0"/>
                </a:cxn>
                <a:cxn ang="0">
                  <a:pos x="23" y="0"/>
                </a:cxn>
                <a:cxn ang="0">
                  <a:pos x="12" y="1"/>
                </a:cxn>
                <a:cxn ang="0">
                  <a:pos x="2" y="3"/>
                </a:cxn>
                <a:cxn ang="0">
                  <a:pos x="2" y="3"/>
                </a:cxn>
                <a:cxn ang="0">
                  <a:pos x="0" y="5"/>
                </a:cxn>
                <a:cxn ang="0">
                  <a:pos x="0" y="7"/>
                </a:cxn>
                <a:cxn ang="0">
                  <a:pos x="0" y="9"/>
                </a:cxn>
                <a:cxn ang="0">
                  <a:pos x="4" y="11"/>
                </a:cxn>
                <a:cxn ang="0">
                  <a:pos x="17" y="15"/>
                </a:cxn>
                <a:cxn ang="0">
                  <a:pos x="17" y="15"/>
                </a:cxn>
              </a:cxnLst>
              <a:rect l="0" t="0" r="r" b="b"/>
              <a:pathLst>
                <a:path w="32" h="15">
                  <a:moveTo>
                    <a:pt x="17" y="15"/>
                  </a:moveTo>
                  <a:lnTo>
                    <a:pt x="17" y="15"/>
                  </a:lnTo>
                  <a:lnTo>
                    <a:pt x="23" y="9"/>
                  </a:lnTo>
                  <a:lnTo>
                    <a:pt x="30" y="3"/>
                  </a:lnTo>
                  <a:lnTo>
                    <a:pt x="32" y="1"/>
                  </a:lnTo>
                  <a:lnTo>
                    <a:pt x="28" y="0"/>
                  </a:lnTo>
                  <a:lnTo>
                    <a:pt x="23" y="0"/>
                  </a:lnTo>
                  <a:lnTo>
                    <a:pt x="12" y="1"/>
                  </a:lnTo>
                  <a:lnTo>
                    <a:pt x="2" y="3"/>
                  </a:lnTo>
                  <a:lnTo>
                    <a:pt x="2" y="3"/>
                  </a:lnTo>
                  <a:lnTo>
                    <a:pt x="0" y="5"/>
                  </a:lnTo>
                  <a:lnTo>
                    <a:pt x="0" y="7"/>
                  </a:lnTo>
                  <a:lnTo>
                    <a:pt x="0" y="9"/>
                  </a:lnTo>
                  <a:lnTo>
                    <a:pt x="4" y="11"/>
                  </a:lnTo>
                  <a:lnTo>
                    <a:pt x="17" y="15"/>
                  </a:lnTo>
                  <a:lnTo>
                    <a:pt x="17" y="15"/>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6" name="Freeform 96">
              <a:extLst>
                <a:ext uri="{FF2B5EF4-FFF2-40B4-BE49-F238E27FC236}">
                  <a16:creationId xmlns:a16="http://schemas.microsoft.com/office/drawing/2014/main" id="{45831603-8E29-481D-BEC5-D79E2C50F15D}"/>
                </a:ext>
              </a:extLst>
            </p:cNvPr>
            <p:cNvSpPr>
              <a:spLocks/>
            </p:cNvSpPr>
            <p:nvPr/>
          </p:nvSpPr>
          <p:spPr bwMode="auto">
            <a:xfrm>
              <a:off x="6432261" y="5149645"/>
              <a:ext cx="34517" cy="36333"/>
            </a:xfrm>
            <a:custGeom>
              <a:avLst/>
              <a:gdLst/>
              <a:ahLst/>
              <a:cxnLst>
                <a:cxn ang="0">
                  <a:pos x="0" y="35"/>
                </a:cxn>
                <a:cxn ang="0">
                  <a:pos x="0" y="35"/>
                </a:cxn>
                <a:cxn ang="0">
                  <a:pos x="2" y="37"/>
                </a:cxn>
                <a:cxn ang="0">
                  <a:pos x="3" y="39"/>
                </a:cxn>
                <a:cxn ang="0">
                  <a:pos x="7" y="39"/>
                </a:cxn>
                <a:cxn ang="0">
                  <a:pos x="11" y="39"/>
                </a:cxn>
                <a:cxn ang="0">
                  <a:pos x="17" y="35"/>
                </a:cxn>
                <a:cxn ang="0">
                  <a:pos x="24" y="28"/>
                </a:cxn>
                <a:cxn ang="0">
                  <a:pos x="35" y="13"/>
                </a:cxn>
                <a:cxn ang="0">
                  <a:pos x="37" y="7"/>
                </a:cxn>
                <a:cxn ang="0">
                  <a:pos x="37" y="4"/>
                </a:cxn>
                <a:cxn ang="0">
                  <a:pos x="37" y="4"/>
                </a:cxn>
                <a:cxn ang="0">
                  <a:pos x="30" y="0"/>
                </a:cxn>
                <a:cxn ang="0">
                  <a:pos x="30" y="0"/>
                </a:cxn>
                <a:cxn ang="0">
                  <a:pos x="13" y="17"/>
                </a:cxn>
                <a:cxn ang="0">
                  <a:pos x="5" y="28"/>
                </a:cxn>
                <a:cxn ang="0">
                  <a:pos x="0" y="35"/>
                </a:cxn>
                <a:cxn ang="0">
                  <a:pos x="0" y="35"/>
                </a:cxn>
              </a:cxnLst>
              <a:rect l="0" t="0" r="r" b="b"/>
              <a:pathLst>
                <a:path w="37" h="39">
                  <a:moveTo>
                    <a:pt x="0" y="35"/>
                  </a:moveTo>
                  <a:lnTo>
                    <a:pt x="0" y="35"/>
                  </a:lnTo>
                  <a:lnTo>
                    <a:pt x="2" y="37"/>
                  </a:lnTo>
                  <a:lnTo>
                    <a:pt x="3" y="39"/>
                  </a:lnTo>
                  <a:lnTo>
                    <a:pt x="7" y="39"/>
                  </a:lnTo>
                  <a:lnTo>
                    <a:pt x="11" y="39"/>
                  </a:lnTo>
                  <a:lnTo>
                    <a:pt x="17" y="35"/>
                  </a:lnTo>
                  <a:lnTo>
                    <a:pt x="24" y="28"/>
                  </a:lnTo>
                  <a:lnTo>
                    <a:pt x="35" y="13"/>
                  </a:lnTo>
                  <a:lnTo>
                    <a:pt x="37" y="7"/>
                  </a:lnTo>
                  <a:lnTo>
                    <a:pt x="37" y="4"/>
                  </a:lnTo>
                  <a:lnTo>
                    <a:pt x="37" y="4"/>
                  </a:lnTo>
                  <a:lnTo>
                    <a:pt x="30" y="0"/>
                  </a:lnTo>
                  <a:lnTo>
                    <a:pt x="30" y="0"/>
                  </a:lnTo>
                  <a:lnTo>
                    <a:pt x="13" y="17"/>
                  </a:lnTo>
                  <a:lnTo>
                    <a:pt x="5" y="28"/>
                  </a:lnTo>
                  <a:lnTo>
                    <a:pt x="0" y="35"/>
                  </a:lnTo>
                  <a:lnTo>
                    <a:pt x="0" y="35"/>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7" name="Freeform 97">
              <a:extLst>
                <a:ext uri="{FF2B5EF4-FFF2-40B4-BE49-F238E27FC236}">
                  <a16:creationId xmlns:a16="http://schemas.microsoft.com/office/drawing/2014/main" id="{BCCFB0D8-22ED-47DD-8C24-0C0AA2E0456F}"/>
                </a:ext>
              </a:extLst>
            </p:cNvPr>
            <p:cNvSpPr>
              <a:spLocks/>
            </p:cNvSpPr>
            <p:nvPr/>
          </p:nvSpPr>
          <p:spPr bwMode="auto">
            <a:xfrm>
              <a:off x="6423178" y="5198695"/>
              <a:ext cx="18167" cy="19983"/>
            </a:xfrm>
            <a:custGeom>
              <a:avLst/>
              <a:gdLst/>
              <a:ahLst/>
              <a:cxnLst>
                <a:cxn ang="0">
                  <a:pos x="0" y="17"/>
                </a:cxn>
                <a:cxn ang="0">
                  <a:pos x="0" y="17"/>
                </a:cxn>
                <a:cxn ang="0">
                  <a:pos x="0" y="21"/>
                </a:cxn>
                <a:cxn ang="0">
                  <a:pos x="2" y="22"/>
                </a:cxn>
                <a:cxn ang="0">
                  <a:pos x="4" y="22"/>
                </a:cxn>
                <a:cxn ang="0">
                  <a:pos x="10" y="17"/>
                </a:cxn>
                <a:cxn ang="0">
                  <a:pos x="13" y="13"/>
                </a:cxn>
                <a:cxn ang="0">
                  <a:pos x="13" y="13"/>
                </a:cxn>
                <a:cxn ang="0">
                  <a:pos x="19" y="9"/>
                </a:cxn>
                <a:cxn ang="0">
                  <a:pos x="19" y="9"/>
                </a:cxn>
                <a:cxn ang="0">
                  <a:pos x="19" y="8"/>
                </a:cxn>
                <a:cxn ang="0">
                  <a:pos x="15" y="4"/>
                </a:cxn>
                <a:cxn ang="0">
                  <a:pos x="10" y="0"/>
                </a:cxn>
                <a:cxn ang="0">
                  <a:pos x="10" y="0"/>
                </a:cxn>
                <a:cxn ang="0">
                  <a:pos x="2" y="8"/>
                </a:cxn>
                <a:cxn ang="0">
                  <a:pos x="0" y="11"/>
                </a:cxn>
                <a:cxn ang="0">
                  <a:pos x="0" y="17"/>
                </a:cxn>
                <a:cxn ang="0">
                  <a:pos x="0" y="17"/>
                </a:cxn>
              </a:cxnLst>
              <a:rect l="0" t="0" r="r" b="b"/>
              <a:pathLst>
                <a:path w="19" h="22">
                  <a:moveTo>
                    <a:pt x="0" y="17"/>
                  </a:moveTo>
                  <a:lnTo>
                    <a:pt x="0" y="17"/>
                  </a:lnTo>
                  <a:lnTo>
                    <a:pt x="0" y="21"/>
                  </a:lnTo>
                  <a:lnTo>
                    <a:pt x="2" y="22"/>
                  </a:lnTo>
                  <a:lnTo>
                    <a:pt x="4" y="22"/>
                  </a:lnTo>
                  <a:lnTo>
                    <a:pt x="10" y="17"/>
                  </a:lnTo>
                  <a:lnTo>
                    <a:pt x="13" y="13"/>
                  </a:lnTo>
                  <a:lnTo>
                    <a:pt x="13" y="13"/>
                  </a:lnTo>
                  <a:lnTo>
                    <a:pt x="19" y="9"/>
                  </a:lnTo>
                  <a:lnTo>
                    <a:pt x="19" y="9"/>
                  </a:lnTo>
                  <a:lnTo>
                    <a:pt x="19" y="8"/>
                  </a:lnTo>
                  <a:lnTo>
                    <a:pt x="15" y="4"/>
                  </a:lnTo>
                  <a:lnTo>
                    <a:pt x="10" y="0"/>
                  </a:lnTo>
                  <a:lnTo>
                    <a:pt x="10" y="0"/>
                  </a:lnTo>
                  <a:lnTo>
                    <a:pt x="2" y="8"/>
                  </a:lnTo>
                  <a:lnTo>
                    <a:pt x="0" y="11"/>
                  </a:lnTo>
                  <a:lnTo>
                    <a:pt x="0" y="17"/>
                  </a:lnTo>
                  <a:lnTo>
                    <a:pt x="0" y="17"/>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8" name="Freeform 98">
              <a:extLst>
                <a:ext uri="{FF2B5EF4-FFF2-40B4-BE49-F238E27FC236}">
                  <a16:creationId xmlns:a16="http://schemas.microsoft.com/office/drawing/2014/main" id="{7620673D-85CA-4C84-93D2-44830E7C3879}"/>
                </a:ext>
              </a:extLst>
            </p:cNvPr>
            <p:cNvSpPr>
              <a:spLocks/>
            </p:cNvSpPr>
            <p:nvPr/>
          </p:nvSpPr>
          <p:spPr bwMode="auto">
            <a:xfrm>
              <a:off x="6401378" y="5354928"/>
              <a:ext cx="18167" cy="14533"/>
            </a:xfrm>
            <a:custGeom>
              <a:avLst/>
              <a:gdLst/>
              <a:ahLst/>
              <a:cxnLst>
                <a:cxn ang="0">
                  <a:pos x="21" y="9"/>
                </a:cxn>
                <a:cxn ang="0">
                  <a:pos x="21" y="9"/>
                </a:cxn>
                <a:cxn ang="0">
                  <a:pos x="9" y="2"/>
                </a:cxn>
                <a:cxn ang="0">
                  <a:pos x="2" y="0"/>
                </a:cxn>
                <a:cxn ang="0">
                  <a:pos x="0" y="0"/>
                </a:cxn>
                <a:cxn ang="0">
                  <a:pos x="0" y="2"/>
                </a:cxn>
                <a:cxn ang="0">
                  <a:pos x="0" y="2"/>
                </a:cxn>
                <a:cxn ang="0">
                  <a:pos x="4" y="9"/>
                </a:cxn>
                <a:cxn ang="0">
                  <a:pos x="9" y="15"/>
                </a:cxn>
                <a:cxn ang="0">
                  <a:pos x="13" y="17"/>
                </a:cxn>
                <a:cxn ang="0">
                  <a:pos x="17" y="17"/>
                </a:cxn>
                <a:cxn ang="0">
                  <a:pos x="19" y="15"/>
                </a:cxn>
                <a:cxn ang="0">
                  <a:pos x="21" y="9"/>
                </a:cxn>
                <a:cxn ang="0">
                  <a:pos x="21" y="9"/>
                </a:cxn>
              </a:cxnLst>
              <a:rect l="0" t="0" r="r" b="b"/>
              <a:pathLst>
                <a:path w="21" h="17">
                  <a:moveTo>
                    <a:pt x="21" y="9"/>
                  </a:moveTo>
                  <a:lnTo>
                    <a:pt x="21" y="9"/>
                  </a:lnTo>
                  <a:lnTo>
                    <a:pt x="9" y="2"/>
                  </a:lnTo>
                  <a:lnTo>
                    <a:pt x="2" y="0"/>
                  </a:lnTo>
                  <a:lnTo>
                    <a:pt x="0" y="0"/>
                  </a:lnTo>
                  <a:lnTo>
                    <a:pt x="0" y="2"/>
                  </a:lnTo>
                  <a:lnTo>
                    <a:pt x="0" y="2"/>
                  </a:lnTo>
                  <a:lnTo>
                    <a:pt x="4" y="9"/>
                  </a:lnTo>
                  <a:lnTo>
                    <a:pt x="9" y="15"/>
                  </a:lnTo>
                  <a:lnTo>
                    <a:pt x="13" y="17"/>
                  </a:lnTo>
                  <a:lnTo>
                    <a:pt x="17" y="17"/>
                  </a:lnTo>
                  <a:lnTo>
                    <a:pt x="19" y="15"/>
                  </a:lnTo>
                  <a:lnTo>
                    <a:pt x="21" y="9"/>
                  </a:lnTo>
                  <a:lnTo>
                    <a:pt x="21" y="9"/>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9" name="Freeform 99">
              <a:extLst>
                <a:ext uri="{FF2B5EF4-FFF2-40B4-BE49-F238E27FC236}">
                  <a16:creationId xmlns:a16="http://schemas.microsoft.com/office/drawing/2014/main" id="{7DA341FE-5660-47D8-A95C-2C4EA5ECDC6B}"/>
                </a:ext>
              </a:extLst>
            </p:cNvPr>
            <p:cNvSpPr>
              <a:spLocks/>
            </p:cNvSpPr>
            <p:nvPr/>
          </p:nvSpPr>
          <p:spPr bwMode="auto">
            <a:xfrm>
              <a:off x="6424994" y="5289528"/>
              <a:ext cx="23617" cy="43600"/>
            </a:xfrm>
            <a:custGeom>
              <a:avLst/>
              <a:gdLst/>
              <a:ahLst/>
              <a:cxnLst>
                <a:cxn ang="0">
                  <a:pos x="0" y="4"/>
                </a:cxn>
                <a:cxn ang="0">
                  <a:pos x="0" y="4"/>
                </a:cxn>
                <a:cxn ang="0">
                  <a:pos x="0" y="11"/>
                </a:cxn>
                <a:cxn ang="0">
                  <a:pos x="4" y="17"/>
                </a:cxn>
                <a:cxn ang="0">
                  <a:pos x="6" y="22"/>
                </a:cxn>
                <a:cxn ang="0">
                  <a:pos x="8" y="28"/>
                </a:cxn>
                <a:cxn ang="0">
                  <a:pos x="8" y="28"/>
                </a:cxn>
                <a:cxn ang="0">
                  <a:pos x="6" y="37"/>
                </a:cxn>
                <a:cxn ang="0">
                  <a:pos x="6" y="41"/>
                </a:cxn>
                <a:cxn ang="0">
                  <a:pos x="10" y="45"/>
                </a:cxn>
                <a:cxn ang="0">
                  <a:pos x="10" y="45"/>
                </a:cxn>
                <a:cxn ang="0">
                  <a:pos x="13" y="49"/>
                </a:cxn>
                <a:cxn ang="0">
                  <a:pos x="17" y="47"/>
                </a:cxn>
                <a:cxn ang="0">
                  <a:pos x="21" y="45"/>
                </a:cxn>
                <a:cxn ang="0">
                  <a:pos x="23" y="39"/>
                </a:cxn>
                <a:cxn ang="0">
                  <a:pos x="26" y="28"/>
                </a:cxn>
                <a:cxn ang="0">
                  <a:pos x="26" y="22"/>
                </a:cxn>
                <a:cxn ang="0">
                  <a:pos x="26" y="19"/>
                </a:cxn>
                <a:cxn ang="0">
                  <a:pos x="26" y="19"/>
                </a:cxn>
                <a:cxn ang="0">
                  <a:pos x="19" y="8"/>
                </a:cxn>
                <a:cxn ang="0">
                  <a:pos x="13" y="4"/>
                </a:cxn>
                <a:cxn ang="0">
                  <a:pos x="10" y="0"/>
                </a:cxn>
                <a:cxn ang="0">
                  <a:pos x="10" y="0"/>
                </a:cxn>
                <a:cxn ang="0">
                  <a:pos x="6" y="2"/>
                </a:cxn>
                <a:cxn ang="0">
                  <a:pos x="0" y="4"/>
                </a:cxn>
                <a:cxn ang="0">
                  <a:pos x="0" y="4"/>
                </a:cxn>
              </a:cxnLst>
              <a:rect l="0" t="0" r="r" b="b"/>
              <a:pathLst>
                <a:path w="26" h="49">
                  <a:moveTo>
                    <a:pt x="0" y="4"/>
                  </a:moveTo>
                  <a:lnTo>
                    <a:pt x="0" y="4"/>
                  </a:lnTo>
                  <a:lnTo>
                    <a:pt x="0" y="11"/>
                  </a:lnTo>
                  <a:lnTo>
                    <a:pt x="4" y="17"/>
                  </a:lnTo>
                  <a:lnTo>
                    <a:pt x="6" y="22"/>
                  </a:lnTo>
                  <a:lnTo>
                    <a:pt x="8" y="28"/>
                  </a:lnTo>
                  <a:lnTo>
                    <a:pt x="8" y="28"/>
                  </a:lnTo>
                  <a:lnTo>
                    <a:pt x="6" y="37"/>
                  </a:lnTo>
                  <a:lnTo>
                    <a:pt x="6" y="41"/>
                  </a:lnTo>
                  <a:lnTo>
                    <a:pt x="10" y="45"/>
                  </a:lnTo>
                  <a:lnTo>
                    <a:pt x="10" y="45"/>
                  </a:lnTo>
                  <a:lnTo>
                    <a:pt x="13" y="49"/>
                  </a:lnTo>
                  <a:lnTo>
                    <a:pt x="17" y="47"/>
                  </a:lnTo>
                  <a:lnTo>
                    <a:pt x="21" y="45"/>
                  </a:lnTo>
                  <a:lnTo>
                    <a:pt x="23" y="39"/>
                  </a:lnTo>
                  <a:lnTo>
                    <a:pt x="26" y="28"/>
                  </a:lnTo>
                  <a:lnTo>
                    <a:pt x="26" y="22"/>
                  </a:lnTo>
                  <a:lnTo>
                    <a:pt x="26" y="19"/>
                  </a:lnTo>
                  <a:lnTo>
                    <a:pt x="26" y="19"/>
                  </a:lnTo>
                  <a:lnTo>
                    <a:pt x="19" y="8"/>
                  </a:lnTo>
                  <a:lnTo>
                    <a:pt x="13" y="4"/>
                  </a:lnTo>
                  <a:lnTo>
                    <a:pt x="10" y="0"/>
                  </a:lnTo>
                  <a:lnTo>
                    <a:pt x="10" y="0"/>
                  </a:lnTo>
                  <a:lnTo>
                    <a:pt x="6" y="2"/>
                  </a:lnTo>
                  <a:lnTo>
                    <a:pt x="0" y="4"/>
                  </a:lnTo>
                  <a:lnTo>
                    <a:pt x="0" y="4"/>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0" name="Freeform 100">
              <a:extLst>
                <a:ext uri="{FF2B5EF4-FFF2-40B4-BE49-F238E27FC236}">
                  <a16:creationId xmlns:a16="http://schemas.microsoft.com/office/drawing/2014/main" id="{3D6E10EE-AD3D-469A-AC42-6567CEEE50F1}"/>
                </a:ext>
              </a:extLst>
            </p:cNvPr>
            <p:cNvSpPr>
              <a:spLocks/>
            </p:cNvSpPr>
            <p:nvPr/>
          </p:nvSpPr>
          <p:spPr bwMode="auto">
            <a:xfrm>
              <a:off x="6188828" y="5554760"/>
              <a:ext cx="14533" cy="29067"/>
            </a:xfrm>
            <a:custGeom>
              <a:avLst/>
              <a:gdLst/>
              <a:ahLst/>
              <a:cxnLst>
                <a:cxn ang="0">
                  <a:pos x="8" y="19"/>
                </a:cxn>
                <a:cxn ang="0">
                  <a:pos x="8" y="19"/>
                </a:cxn>
                <a:cxn ang="0">
                  <a:pos x="2" y="23"/>
                </a:cxn>
                <a:cxn ang="0">
                  <a:pos x="0" y="27"/>
                </a:cxn>
                <a:cxn ang="0">
                  <a:pos x="0" y="28"/>
                </a:cxn>
                <a:cxn ang="0">
                  <a:pos x="0" y="30"/>
                </a:cxn>
                <a:cxn ang="0">
                  <a:pos x="0" y="30"/>
                </a:cxn>
                <a:cxn ang="0">
                  <a:pos x="4" y="30"/>
                </a:cxn>
                <a:cxn ang="0">
                  <a:pos x="6" y="32"/>
                </a:cxn>
                <a:cxn ang="0">
                  <a:pos x="10" y="28"/>
                </a:cxn>
                <a:cxn ang="0">
                  <a:pos x="14" y="23"/>
                </a:cxn>
                <a:cxn ang="0">
                  <a:pos x="15" y="17"/>
                </a:cxn>
                <a:cxn ang="0">
                  <a:pos x="15" y="10"/>
                </a:cxn>
                <a:cxn ang="0">
                  <a:pos x="15" y="4"/>
                </a:cxn>
                <a:cxn ang="0">
                  <a:pos x="14" y="0"/>
                </a:cxn>
                <a:cxn ang="0">
                  <a:pos x="10" y="2"/>
                </a:cxn>
                <a:cxn ang="0">
                  <a:pos x="10" y="2"/>
                </a:cxn>
                <a:cxn ang="0">
                  <a:pos x="10" y="6"/>
                </a:cxn>
                <a:cxn ang="0">
                  <a:pos x="10" y="10"/>
                </a:cxn>
                <a:cxn ang="0">
                  <a:pos x="8" y="15"/>
                </a:cxn>
                <a:cxn ang="0">
                  <a:pos x="8" y="19"/>
                </a:cxn>
                <a:cxn ang="0">
                  <a:pos x="8" y="19"/>
                </a:cxn>
              </a:cxnLst>
              <a:rect l="0" t="0" r="r" b="b"/>
              <a:pathLst>
                <a:path w="15" h="32">
                  <a:moveTo>
                    <a:pt x="8" y="19"/>
                  </a:moveTo>
                  <a:lnTo>
                    <a:pt x="8" y="19"/>
                  </a:lnTo>
                  <a:lnTo>
                    <a:pt x="2" y="23"/>
                  </a:lnTo>
                  <a:lnTo>
                    <a:pt x="0" y="27"/>
                  </a:lnTo>
                  <a:lnTo>
                    <a:pt x="0" y="28"/>
                  </a:lnTo>
                  <a:lnTo>
                    <a:pt x="0" y="30"/>
                  </a:lnTo>
                  <a:lnTo>
                    <a:pt x="0" y="30"/>
                  </a:lnTo>
                  <a:lnTo>
                    <a:pt x="4" y="30"/>
                  </a:lnTo>
                  <a:lnTo>
                    <a:pt x="6" y="32"/>
                  </a:lnTo>
                  <a:lnTo>
                    <a:pt x="10" y="28"/>
                  </a:lnTo>
                  <a:lnTo>
                    <a:pt x="14" y="23"/>
                  </a:lnTo>
                  <a:lnTo>
                    <a:pt x="15" y="17"/>
                  </a:lnTo>
                  <a:lnTo>
                    <a:pt x="15" y="10"/>
                  </a:lnTo>
                  <a:lnTo>
                    <a:pt x="15" y="4"/>
                  </a:lnTo>
                  <a:lnTo>
                    <a:pt x="14" y="0"/>
                  </a:lnTo>
                  <a:lnTo>
                    <a:pt x="10" y="2"/>
                  </a:lnTo>
                  <a:lnTo>
                    <a:pt x="10" y="2"/>
                  </a:lnTo>
                  <a:lnTo>
                    <a:pt x="10" y="6"/>
                  </a:lnTo>
                  <a:lnTo>
                    <a:pt x="10" y="10"/>
                  </a:lnTo>
                  <a:lnTo>
                    <a:pt x="8" y="15"/>
                  </a:lnTo>
                  <a:lnTo>
                    <a:pt x="8" y="19"/>
                  </a:lnTo>
                  <a:lnTo>
                    <a:pt x="8" y="19"/>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1" name="Freeform 101">
              <a:extLst>
                <a:ext uri="{FF2B5EF4-FFF2-40B4-BE49-F238E27FC236}">
                  <a16:creationId xmlns:a16="http://schemas.microsoft.com/office/drawing/2014/main" id="{7763E767-54CF-4E40-B8C2-9598056DE1B7}"/>
                </a:ext>
              </a:extLst>
            </p:cNvPr>
            <p:cNvSpPr>
              <a:spLocks/>
            </p:cNvSpPr>
            <p:nvPr/>
          </p:nvSpPr>
          <p:spPr bwMode="auto">
            <a:xfrm>
              <a:off x="5342263" y="6052526"/>
              <a:ext cx="21800" cy="12716"/>
            </a:xfrm>
            <a:custGeom>
              <a:avLst/>
              <a:gdLst/>
              <a:ahLst/>
              <a:cxnLst>
                <a:cxn ang="0">
                  <a:pos x="19" y="0"/>
                </a:cxn>
                <a:cxn ang="0">
                  <a:pos x="19" y="0"/>
                </a:cxn>
                <a:cxn ang="0">
                  <a:pos x="17" y="4"/>
                </a:cxn>
                <a:cxn ang="0">
                  <a:pos x="15" y="6"/>
                </a:cxn>
                <a:cxn ang="0">
                  <a:pos x="9" y="6"/>
                </a:cxn>
                <a:cxn ang="0">
                  <a:pos x="4" y="7"/>
                </a:cxn>
                <a:cxn ang="0">
                  <a:pos x="0" y="9"/>
                </a:cxn>
                <a:cxn ang="0">
                  <a:pos x="0" y="11"/>
                </a:cxn>
                <a:cxn ang="0">
                  <a:pos x="0" y="11"/>
                </a:cxn>
                <a:cxn ang="0">
                  <a:pos x="7" y="15"/>
                </a:cxn>
                <a:cxn ang="0">
                  <a:pos x="15" y="15"/>
                </a:cxn>
                <a:cxn ang="0">
                  <a:pos x="19" y="13"/>
                </a:cxn>
                <a:cxn ang="0">
                  <a:pos x="22" y="13"/>
                </a:cxn>
                <a:cxn ang="0">
                  <a:pos x="24" y="9"/>
                </a:cxn>
                <a:cxn ang="0">
                  <a:pos x="22" y="6"/>
                </a:cxn>
                <a:cxn ang="0">
                  <a:pos x="19" y="0"/>
                </a:cxn>
                <a:cxn ang="0">
                  <a:pos x="19" y="0"/>
                </a:cxn>
              </a:cxnLst>
              <a:rect l="0" t="0" r="r" b="b"/>
              <a:pathLst>
                <a:path w="24" h="15">
                  <a:moveTo>
                    <a:pt x="19" y="0"/>
                  </a:moveTo>
                  <a:lnTo>
                    <a:pt x="19" y="0"/>
                  </a:lnTo>
                  <a:lnTo>
                    <a:pt x="17" y="4"/>
                  </a:lnTo>
                  <a:lnTo>
                    <a:pt x="15" y="6"/>
                  </a:lnTo>
                  <a:lnTo>
                    <a:pt x="9" y="6"/>
                  </a:lnTo>
                  <a:lnTo>
                    <a:pt x="4" y="7"/>
                  </a:lnTo>
                  <a:lnTo>
                    <a:pt x="0" y="9"/>
                  </a:lnTo>
                  <a:lnTo>
                    <a:pt x="0" y="11"/>
                  </a:lnTo>
                  <a:lnTo>
                    <a:pt x="0" y="11"/>
                  </a:lnTo>
                  <a:lnTo>
                    <a:pt x="7" y="15"/>
                  </a:lnTo>
                  <a:lnTo>
                    <a:pt x="15" y="15"/>
                  </a:lnTo>
                  <a:lnTo>
                    <a:pt x="19" y="13"/>
                  </a:lnTo>
                  <a:lnTo>
                    <a:pt x="22" y="13"/>
                  </a:lnTo>
                  <a:lnTo>
                    <a:pt x="24" y="9"/>
                  </a:lnTo>
                  <a:lnTo>
                    <a:pt x="22" y="6"/>
                  </a:lnTo>
                  <a:lnTo>
                    <a:pt x="19" y="0"/>
                  </a:lnTo>
                  <a:lnTo>
                    <a:pt x="19" y="0"/>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2" name="Freeform 102">
              <a:extLst>
                <a:ext uri="{FF2B5EF4-FFF2-40B4-BE49-F238E27FC236}">
                  <a16:creationId xmlns:a16="http://schemas.microsoft.com/office/drawing/2014/main" id="{7C0BA9B8-B43B-4C16-A9B5-D29572A30B53}"/>
                </a:ext>
              </a:extLst>
            </p:cNvPr>
            <p:cNvSpPr>
              <a:spLocks/>
            </p:cNvSpPr>
            <p:nvPr/>
          </p:nvSpPr>
          <p:spPr bwMode="auto">
            <a:xfrm>
              <a:off x="5322281" y="5952610"/>
              <a:ext cx="32700" cy="45416"/>
            </a:xfrm>
            <a:custGeom>
              <a:avLst/>
              <a:gdLst/>
              <a:ahLst/>
              <a:cxnLst>
                <a:cxn ang="0">
                  <a:pos x="19" y="31"/>
                </a:cxn>
                <a:cxn ang="0">
                  <a:pos x="19" y="31"/>
                </a:cxn>
                <a:cxn ang="0">
                  <a:pos x="19" y="37"/>
                </a:cxn>
                <a:cxn ang="0">
                  <a:pos x="23" y="41"/>
                </a:cxn>
                <a:cxn ang="0">
                  <a:pos x="29" y="50"/>
                </a:cxn>
                <a:cxn ang="0">
                  <a:pos x="29" y="50"/>
                </a:cxn>
                <a:cxn ang="0">
                  <a:pos x="32" y="46"/>
                </a:cxn>
                <a:cxn ang="0">
                  <a:pos x="34" y="43"/>
                </a:cxn>
                <a:cxn ang="0">
                  <a:pos x="34" y="41"/>
                </a:cxn>
                <a:cxn ang="0">
                  <a:pos x="32" y="37"/>
                </a:cxn>
                <a:cxn ang="0">
                  <a:pos x="27" y="30"/>
                </a:cxn>
                <a:cxn ang="0">
                  <a:pos x="27" y="24"/>
                </a:cxn>
                <a:cxn ang="0">
                  <a:pos x="27" y="20"/>
                </a:cxn>
                <a:cxn ang="0">
                  <a:pos x="27" y="20"/>
                </a:cxn>
                <a:cxn ang="0">
                  <a:pos x="27" y="16"/>
                </a:cxn>
                <a:cxn ang="0">
                  <a:pos x="30" y="15"/>
                </a:cxn>
                <a:cxn ang="0">
                  <a:pos x="34" y="11"/>
                </a:cxn>
                <a:cxn ang="0">
                  <a:pos x="36" y="11"/>
                </a:cxn>
                <a:cxn ang="0">
                  <a:pos x="38" y="9"/>
                </a:cxn>
                <a:cxn ang="0">
                  <a:pos x="38" y="5"/>
                </a:cxn>
                <a:cxn ang="0">
                  <a:pos x="36" y="2"/>
                </a:cxn>
                <a:cxn ang="0">
                  <a:pos x="36" y="2"/>
                </a:cxn>
                <a:cxn ang="0">
                  <a:pos x="34" y="0"/>
                </a:cxn>
                <a:cxn ang="0">
                  <a:pos x="32" y="2"/>
                </a:cxn>
                <a:cxn ang="0">
                  <a:pos x="32" y="2"/>
                </a:cxn>
                <a:cxn ang="0">
                  <a:pos x="27" y="5"/>
                </a:cxn>
                <a:cxn ang="0">
                  <a:pos x="23" y="9"/>
                </a:cxn>
                <a:cxn ang="0">
                  <a:pos x="17" y="13"/>
                </a:cxn>
                <a:cxn ang="0">
                  <a:pos x="14" y="15"/>
                </a:cxn>
                <a:cxn ang="0">
                  <a:pos x="14" y="15"/>
                </a:cxn>
                <a:cxn ang="0">
                  <a:pos x="10" y="16"/>
                </a:cxn>
                <a:cxn ang="0">
                  <a:pos x="8" y="16"/>
                </a:cxn>
                <a:cxn ang="0">
                  <a:pos x="4" y="16"/>
                </a:cxn>
                <a:cxn ang="0">
                  <a:pos x="0" y="20"/>
                </a:cxn>
                <a:cxn ang="0">
                  <a:pos x="0" y="20"/>
                </a:cxn>
                <a:cxn ang="0">
                  <a:pos x="4" y="22"/>
                </a:cxn>
                <a:cxn ang="0">
                  <a:pos x="6" y="26"/>
                </a:cxn>
                <a:cxn ang="0">
                  <a:pos x="12" y="28"/>
                </a:cxn>
                <a:cxn ang="0">
                  <a:pos x="17" y="30"/>
                </a:cxn>
                <a:cxn ang="0">
                  <a:pos x="19" y="30"/>
                </a:cxn>
                <a:cxn ang="0">
                  <a:pos x="19" y="31"/>
                </a:cxn>
                <a:cxn ang="0">
                  <a:pos x="19" y="31"/>
                </a:cxn>
              </a:cxnLst>
              <a:rect l="0" t="0" r="r" b="b"/>
              <a:pathLst>
                <a:path w="38" h="50">
                  <a:moveTo>
                    <a:pt x="19" y="31"/>
                  </a:moveTo>
                  <a:lnTo>
                    <a:pt x="19" y="31"/>
                  </a:lnTo>
                  <a:lnTo>
                    <a:pt x="19" y="37"/>
                  </a:lnTo>
                  <a:lnTo>
                    <a:pt x="23" y="41"/>
                  </a:lnTo>
                  <a:lnTo>
                    <a:pt x="29" y="50"/>
                  </a:lnTo>
                  <a:lnTo>
                    <a:pt x="29" y="50"/>
                  </a:lnTo>
                  <a:lnTo>
                    <a:pt x="32" y="46"/>
                  </a:lnTo>
                  <a:lnTo>
                    <a:pt x="34" y="43"/>
                  </a:lnTo>
                  <a:lnTo>
                    <a:pt x="34" y="41"/>
                  </a:lnTo>
                  <a:lnTo>
                    <a:pt x="32" y="37"/>
                  </a:lnTo>
                  <a:lnTo>
                    <a:pt x="27" y="30"/>
                  </a:lnTo>
                  <a:lnTo>
                    <a:pt x="27" y="24"/>
                  </a:lnTo>
                  <a:lnTo>
                    <a:pt x="27" y="20"/>
                  </a:lnTo>
                  <a:lnTo>
                    <a:pt x="27" y="20"/>
                  </a:lnTo>
                  <a:lnTo>
                    <a:pt x="27" y="16"/>
                  </a:lnTo>
                  <a:lnTo>
                    <a:pt x="30" y="15"/>
                  </a:lnTo>
                  <a:lnTo>
                    <a:pt x="34" y="11"/>
                  </a:lnTo>
                  <a:lnTo>
                    <a:pt x="36" y="11"/>
                  </a:lnTo>
                  <a:lnTo>
                    <a:pt x="38" y="9"/>
                  </a:lnTo>
                  <a:lnTo>
                    <a:pt x="38" y="5"/>
                  </a:lnTo>
                  <a:lnTo>
                    <a:pt x="36" y="2"/>
                  </a:lnTo>
                  <a:lnTo>
                    <a:pt x="36" y="2"/>
                  </a:lnTo>
                  <a:lnTo>
                    <a:pt x="34" y="0"/>
                  </a:lnTo>
                  <a:lnTo>
                    <a:pt x="32" y="2"/>
                  </a:lnTo>
                  <a:lnTo>
                    <a:pt x="32" y="2"/>
                  </a:lnTo>
                  <a:lnTo>
                    <a:pt x="27" y="5"/>
                  </a:lnTo>
                  <a:lnTo>
                    <a:pt x="23" y="9"/>
                  </a:lnTo>
                  <a:lnTo>
                    <a:pt x="17" y="13"/>
                  </a:lnTo>
                  <a:lnTo>
                    <a:pt x="14" y="15"/>
                  </a:lnTo>
                  <a:lnTo>
                    <a:pt x="14" y="15"/>
                  </a:lnTo>
                  <a:lnTo>
                    <a:pt x="10" y="16"/>
                  </a:lnTo>
                  <a:lnTo>
                    <a:pt x="8" y="16"/>
                  </a:lnTo>
                  <a:lnTo>
                    <a:pt x="4" y="16"/>
                  </a:lnTo>
                  <a:lnTo>
                    <a:pt x="0" y="20"/>
                  </a:lnTo>
                  <a:lnTo>
                    <a:pt x="0" y="20"/>
                  </a:lnTo>
                  <a:lnTo>
                    <a:pt x="4" y="22"/>
                  </a:lnTo>
                  <a:lnTo>
                    <a:pt x="6" y="26"/>
                  </a:lnTo>
                  <a:lnTo>
                    <a:pt x="12" y="28"/>
                  </a:lnTo>
                  <a:lnTo>
                    <a:pt x="17" y="30"/>
                  </a:lnTo>
                  <a:lnTo>
                    <a:pt x="19" y="30"/>
                  </a:lnTo>
                  <a:lnTo>
                    <a:pt x="19" y="31"/>
                  </a:lnTo>
                  <a:lnTo>
                    <a:pt x="19" y="31"/>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3" name="Freeform 104">
              <a:extLst>
                <a:ext uri="{FF2B5EF4-FFF2-40B4-BE49-F238E27FC236}">
                  <a16:creationId xmlns:a16="http://schemas.microsoft.com/office/drawing/2014/main" id="{D2B88835-48D9-4FD6-8D38-D393D9274020}"/>
                </a:ext>
              </a:extLst>
            </p:cNvPr>
            <p:cNvSpPr>
              <a:spLocks/>
            </p:cNvSpPr>
            <p:nvPr/>
          </p:nvSpPr>
          <p:spPr bwMode="auto">
            <a:xfrm>
              <a:off x="6168845" y="5572927"/>
              <a:ext cx="12717" cy="23616"/>
            </a:xfrm>
            <a:custGeom>
              <a:avLst/>
              <a:gdLst/>
              <a:ahLst/>
              <a:cxnLst>
                <a:cxn ang="0">
                  <a:pos x="8" y="4"/>
                </a:cxn>
                <a:cxn ang="0">
                  <a:pos x="8" y="4"/>
                </a:cxn>
                <a:cxn ang="0">
                  <a:pos x="2" y="7"/>
                </a:cxn>
                <a:cxn ang="0">
                  <a:pos x="0" y="13"/>
                </a:cxn>
                <a:cxn ang="0">
                  <a:pos x="2" y="19"/>
                </a:cxn>
                <a:cxn ang="0">
                  <a:pos x="6" y="22"/>
                </a:cxn>
                <a:cxn ang="0">
                  <a:pos x="9" y="24"/>
                </a:cxn>
                <a:cxn ang="0">
                  <a:pos x="11" y="22"/>
                </a:cxn>
                <a:cxn ang="0">
                  <a:pos x="13" y="17"/>
                </a:cxn>
                <a:cxn ang="0">
                  <a:pos x="13" y="7"/>
                </a:cxn>
                <a:cxn ang="0">
                  <a:pos x="13" y="7"/>
                </a:cxn>
                <a:cxn ang="0">
                  <a:pos x="13" y="2"/>
                </a:cxn>
                <a:cxn ang="0">
                  <a:pos x="11" y="0"/>
                </a:cxn>
                <a:cxn ang="0">
                  <a:pos x="8" y="4"/>
                </a:cxn>
                <a:cxn ang="0">
                  <a:pos x="8" y="4"/>
                </a:cxn>
              </a:cxnLst>
              <a:rect l="0" t="0" r="r" b="b"/>
              <a:pathLst>
                <a:path w="13" h="24">
                  <a:moveTo>
                    <a:pt x="8" y="4"/>
                  </a:moveTo>
                  <a:lnTo>
                    <a:pt x="8" y="4"/>
                  </a:lnTo>
                  <a:lnTo>
                    <a:pt x="2" y="7"/>
                  </a:lnTo>
                  <a:lnTo>
                    <a:pt x="0" y="13"/>
                  </a:lnTo>
                  <a:lnTo>
                    <a:pt x="2" y="19"/>
                  </a:lnTo>
                  <a:lnTo>
                    <a:pt x="6" y="22"/>
                  </a:lnTo>
                  <a:lnTo>
                    <a:pt x="9" y="24"/>
                  </a:lnTo>
                  <a:lnTo>
                    <a:pt x="11" y="22"/>
                  </a:lnTo>
                  <a:lnTo>
                    <a:pt x="13" y="17"/>
                  </a:lnTo>
                  <a:lnTo>
                    <a:pt x="13" y="7"/>
                  </a:lnTo>
                  <a:lnTo>
                    <a:pt x="13" y="7"/>
                  </a:lnTo>
                  <a:lnTo>
                    <a:pt x="13" y="2"/>
                  </a:lnTo>
                  <a:lnTo>
                    <a:pt x="11" y="0"/>
                  </a:lnTo>
                  <a:lnTo>
                    <a:pt x="8" y="4"/>
                  </a:lnTo>
                  <a:lnTo>
                    <a:pt x="8" y="4"/>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4" name="Freeform 105">
              <a:extLst>
                <a:ext uri="{FF2B5EF4-FFF2-40B4-BE49-F238E27FC236}">
                  <a16:creationId xmlns:a16="http://schemas.microsoft.com/office/drawing/2014/main" id="{FB72F495-C87D-4F7D-8EC4-D9708B5A4985}"/>
                </a:ext>
              </a:extLst>
            </p:cNvPr>
            <p:cNvSpPr>
              <a:spLocks noEditPoints="1"/>
            </p:cNvSpPr>
            <p:nvPr/>
          </p:nvSpPr>
          <p:spPr bwMode="auto">
            <a:xfrm>
              <a:off x="5596596" y="5805460"/>
              <a:ext cx="148966" cy="92649"/>
            </a:xfrm>
            <a:custGeom>
              <a:avLst/>
              <a:gdLst/>
              <a:ahLst/>
              <a:cxnLst>
                <a:cxn ang="0">
                  <a:pos x="84" y="39"/>
                </a:cxn>
                <a:cxn ang="0">
                  <a:pos x="75" y="49"/>
                </a:cxn>
                <a:cxn ang="0">
                  <a:pos x="75" y="52"/>
                </a:cxn>
                <a:cxn ang="0">
                  <a:pos x="86" y="54"/>
                </a:cxn>
                <a:cxn ang="0">
                  <a:pos x="92" y="45"/>
                </a:cxn>
                <a:cxn ang="0">
                  <a:pos x="90" y="36"/>
                </a:cxn>
                <a:cxn ang="0">
                  <a:pos x="88" y="34"/>
                </a:cxn>
                <a:cxn ang="0">
                  <a:pos x="86" y="36"/>
                </a:cxn>
                <a:cxn ang="0">
                  <a:pos x="84" y="39"/>
                </a:cxn>
                <a:cxn ang="0">
                  <a:pos x="101" y="26"/>
                </a:cxn>
                <a:cxn ang="0">
                  <a:pos x="96" y="30"/>
                </a:cxn>
                <a:cxn ang="0">
                  <a:pos x="101" y="32"/>
                </a:cxn>
                <a:cxn ang="0">
                  <a:pos x="114" y="32"/>
                </a:cxn>
                <a:cxn ang="0">
                  <a:pos x="116" y="30"/>
                </a:cxn>
                <a:cxn ang="0">
                  <a:pos x="114" y="26"/>
                </a:cxn>
                <a:cxn ang="0">
                  <a:pos x="101" y="26"/>
                </a:cxn>
                <a:cxn ang="0">
                  <a:pos x="165" y="41"/>
                </a:cxn>
                <a:cxn ang="0">
                  <a:pos x="163" y="36"/>
                </a:cxn>
                <a:cxn ang="0">
                  <a:pos x="142" y="11"/>
                </a:cxn>
                <a:cxn ang="0">
                  <a:pos x="131" y="0"/>
                </a:cxn>
                <a:cxn ang="0">
                  <a:pos x="124" y="6"/>
                </a:cxn>
                <a:cxn ang="0">
                  <a:pos x="129" y="13"/>
                </a:cxn>
                <a:cxn ang="0">
                  <a:pos x="137" y="15"/>
                </a:cxn>
                <a:cxn ang="0">
                  <a:pos x="140" y="19"/>
                </a:cxn>
                <a:cxn ang="0">
                  <a:pos x="146" y="30"/>
                </a:cxn>
                <a:cxn ang="0">
                  <a:pos x="150" y="45"/>
                </a:cxn>
                <a:cxn ang="0">
                  <a:pos x="157" y="45"/>
                </a:cxn>
                <a:cxn ang="0">
                  <a:pos x="165" y="41"/>
                </a:cxn>
                <a:cxn ang="0">
                  <a:pos x="28" y="99"/>
                </a:cxn>
                <a:cxn ang="0">
                  <a:pos x="30" y="103"/>
                </a:cxn>
                <a:cxn ang="0">
                  <a:pos x="39" y="80"/>
                </a:cxn>
                <a:cxn ang="0">
                  <a:pos x="38" y="73"/>
                </a:cxn>
                <a:cxn ang="0">
                  <a:pos x="30" y="75"/>
                </a:cxn>
                <a:cxn ang="0">
                  <a:pos x="25" y="77"/>
                </a:cxn>
                <a:cxn ang="0">
                  <a:pos x="19" y="82"/>
                </a:cxn>
                <a:cxn ang="0">
                  <a:pos x="8" y="82"/>
                </a:cxn>
                <a:cxn ang="0">
                  <a:pos x="2" y="86"/>
                </a:cxn>
                <a:cxn ang="0">
                  <a:pos x="0" y="92"/>
                </a:cxn>
                <a:cxn ang="0">
                  <a:pos x="8" y="95"/>
                </a:cxn>
                <a:cxn ang="0">
                  <a:pos x="21" y="94"/>
                </a:cxn>
                <a:cxn ang="0">
                  <a:pos x="28" y="99"/>
                </a:cxn>
              </a:cxnLst>
              <a:rect l="0" t="0" r="r" b="b"/>
              <a:pathLst>
                <a:path w="165" h="103">
                  <a:moveTo>
                    <a:pt x="84" y="39"/>
                  </a:moveTo>
                  <a:lnTo>
                    <a:pt x="84" y="39"/>
                  </a:lnTo>
                  <a:lnTo>
                    <a:pt x="79" y="45"/>
                  </a:lnTo>
                  <a:lnTo>
                    <a:pt x="75" y="49"/>
                  </a:lnTo>
                  <a:lnTo>
                    <a:pt x="73" y="52"/>
                  </a:lnTo>
                  <a:lnTo>
                    <a:pt x="75" y="52"/>
                  </a:lnTo>
                  <a:lnTo>
                    <a:pt x="79" y="54"/>
                  </a:lnTo>
                  <a:lnTo>
                    <a:pt x="86" y="54"/>
                  </a:lnTo>
                  <a:lnTo>
                    <a:pt x="86" y="54"/>
                  </a:lnTo>
                  <a:lnTo>
                    <a:pt x="92" y="45"/>
                  </a:lnTo>
                  <a:lnTo>
                    <a:pt x="92" y="39"/>
                  </a:lnTo>
                  <a:lnTo>
                    <a:pt x="90" y="36"/>
                  </a:lnTo>
                  <a:lnTo>
                    <a:pt x="88" y="34"/>
                  </a:lnTo>
                  <a:lnTo>
                    <a:pt x="88" y="34"/>
                  </a:lnTo>
                  <a:lnTo>
                    <a:pt x="86" y="36"/>
                  </a:lnTo>
                  <a:lnTo>
                    <a:pt x="86" y="36"/>
                  </a:lnTo>
                  <a:lnTo>
                    <a:pt x="84" y="39"/>
                  </a:lnTo>
                  <a:lnTo>
                    <a:pt x="84" y="39"/>
                  </a:lnTo>
                  <a:close/>
                  <a:moveTo>
                    <a:pt x="101" y="26"/>
                  </a:moveTo>
                  <a:lnTo>
                    <a:pt x="101" y="26"/>
                  </a:lnTo>
                  <a:lnTo>
                    <a:pt x="97" y="28"/>
                  </a:lnTo>
                  <a:lnTo>
                    <a:pt x="96" y="30"/>
                  </a:lnTo>
                  <a:lnTo>
                    <a:pt x="97" y="30"/>
                  </a:lnTo>
                  <a:lnTo>
                    <a:pt x="101" y="32"/>
                  </a:lnTo>
                  <a:lnTo>
                    <a:pt x="109" y="34"/>
                  </a:lnTo>
                  <a:lnTo>
                    <a:pt x="114" y="32"/>
                  </a:lnTo>
                  <a:lnTo>
                    <a:pt x="114" y="32"/>
                  </a:lnTo>
                  <a:lnTo>
                    <a:pt x="116" y="30"/>
                  </a:lnTo>
                  <a:lnTo>
                    <a:pt x="116" y="26"/>
                  </a:lnTo>
                  <a:lnTo>
                    <a:pt x="114" y="26"/>
                  </a:lnTo>
                  <a:lnTo>
                    <a:pt x="111" y="24"/>
                  </a:lnTo>
                  <a:lnTo>
                    <a:pt x="101" y="26"/>
                  </a:lnTo>
                  <a:lnTo>
                    <a:pt x="101" y="26"/>
                  </a:lnTo>
                  <a:close/>
                  <a:moveTo>
                    <a:pt x="165" y="41"/>
                  </a:moveTo>
                  <a:lnTo>
                    <a:pt x="165" y="41"/>
                  </a:lnTo>
                  <a:lnTo>
                    <a:pt x="163" y="36"/>
                  </a:lnTo>
                  <a:lnTo>
                    <a:pt x="153" y="24"/>
                  </a:lnTo>
                  <a:lnTo>
                    <a:pt x="142" y="11"/>
                  </a:lnTo>
                  <a:lnTo>
                    <a:pt x="131" y="0"/>
                  </a:lnTo>
                  <a:lnTo>
                    <a:pt x="131" y="0"/>
                  </a:lnTo>
                  <a:lnTo>
                    <a:pt x="127" y="4"/>
                  </a:lnTo>
                  <a:lnTo>
                    <a:pt x="124" y="6"/>
                  </a:lnTo>
                  <a:lnTo>
                    <a:pt x="124" y="6"/>
                  </a:lnTo>
                  <a:lnTo>
                    <a:pt x="129" y="13"/>
                  </a:lnTo>
                  <a:lnTo>
                    <a:pt x="133" y="15"/>
                  </a:lnTo>
                  <a:lnTo>
                    <a:pt x="137" y="15"/>
                  </a:lnTo>
                  <a:lnTo>
                    <a:pt x="140" y="19"/>
                  </a:lnTo>
                  <a:lnTo>
                    <a:pt x="140" y="19"/>
                  </a:lnTo>
                  <a:lnTo>
                    <a:pt x="144" y="24"/>
                  </a:lnTo>
                  <a:lnTo>
                    <a:pt x="146" y="30"/>
                  </a:lnTo>
                  <a:lnTo>
                    <a:pt x="148" y="41"/>
                  </a:lnTo>
                  <a:lnTo>
                    <a:pt x="150" y="45"/>
                  </a:lnTo>
                  <a:lnTo>
                    <a:pt x="152" y="47"/>
                  </a:lnTo>
                  <a:lnTo>
                    <a:pt x="157" y="45"/>
                  </a:lnTo>
                  <a:lnTo>
                    <a:pt x="165" y="41"/>
                  </a:lnTo>
                  <a:lnTo>
                    <a:pt x="165" y="41"/>
                  </a:lnTo>
                  <a:close/>
                  <a:moveTo>
                    <a:pt x="28" y="99"/>
                  </a:moveTo>
                  <a:lnTo>
                    <a:pt x="28" y="99"/>
                  </a:lnTo>
                  <a:lnTo>
                    <a:pt x="28" y="103"/>
                  </a:lnTo>
                  <a:lnTo>
                    <a:pt x="30" y="103"/>
                  </a:lnTo>
                  <a:lnTo>
                    <a:pt x="36" y="94"/>
                  </a:lnTo>
                  <a:lnTo>
                    <a:pt x="39" y="80"/>
                  </a:lnTo>
                  <a:lnTo>
                    <a:pt x="39" y="75"/>
                  </a:lnTo>
                  <a:lnTo>
                    <a:pt x="38" y="73"/>
                  </a:lnTo>
                  <a:lnTo>
                    <a:pt x="38" y="73"/>
                  </a:lnTo>
                  <a:lnTo>
                    <a:pt x="30" y="75"/>
                  </a:lnTo>
                  <a:lnTo>
                    <a:pt x="25" y="77"/>
                  </a:lnTo>
                  <a:lnTo>
                    <a:pt x="25" y="77"/>
                  </a:lnTo>
                  <a:lnTo>
                    <a:pt x="21" y="80"/>
                  </a:lnTo>
                  <a:lnTo>
                    <a:pt x="19" y="82"/>
                  </a:lnTo>
                  <a:lnTo>
                    <a:pt x="11" y="82"/>
                  </a:lnTo>
                  <a:lnTo>
                    <a:pt x="8" y="82"/>
                  </a:lnTo>
                  <a:lnTo>
                    <a:pt x="4" y="82"/>
                  </a:lnTo>
                  <a:lnTo>
                    <a:pt x="2" y="86"/>
                  </a:lnTo>
                  <a:lnTo>
                    <a:pt x="0" y="92"/>
                  </a:lnTo>
                  <a:lnTo>
                    <a:pt x="0" y="92"/>
                  </a:lnTo>
                  <a:lnTo>
                    <a:pt x="4" y="95"/>
                  </a:lnTo>
                  <a:lnTo>
                    <a:pt x="8" y="95"/>
                  </a:lnTo>
                  <a:lnTo>
                    <a:pt x="15" y="95"/>
                  </a:lnTo>
                  <a:lnTo>
                    <a:pt x="21" y="94"/>
                  </a:lnTo>
                  <a:lnTo>
                    <a:pt x="25" y="95"/>
                  </a:lnTo>
                  <a:lnTo>
                    <a:pt x="28" y="99"/>
                  </a:lnTo>
                  <a:lnTo>
                    <a:pt x="28" y="99"/>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5" name="Freeform 106">
              <a:extLst>
                <a:ext uri="{FF2B5EF4-FFF2-40B4-BE49-F238E27FC236}">
                  <a16:creationId xmlns:a16="http://schemas.microsoft.com/office/drawing/2014/main" id="{1B6399DB-7D44-4080-8659-7F0C6B68F855}"/>
                </a:ext>
              </a:extLst>
            </p:cNvPr>
            <p:cNvSpPr>
              <a:spLocks/>
            </p:cNvSpPr>
            <p:nvPr/>
          </p:nvSpPr>
          <p:spPr bwMode="auto">
            <a:xfrm>
              <a:off x="5798246" y="5819993"/>
              <a:ext cx="19984" cy="9083"/>
            </a:xfrm>
            <a:custGeom>
              <a:avLst/>
              <a:gdLst/>
              <a:ahLst/>
              <a:cxnLst>
                <a:cxn ang="0">
                  <a:pos x="20" y="2"/>
                </a:cxn>
                <a:cxn ang="0">
                  <a:pos x="20" y="2"/>
                </a:cxn>
                <a:cxn ang="0">
                  <a:pos x="13" y="0"/>
                </a:cxn>
                <a:cxn ang="0">
                  <a:pos x="9" y="0"/>
                </a:cxn>
                <a:cxn ang="0">
                  <a:pos x="5" y="2"/>
                </a:cxn>
                <a:cxn ang="0">
                  <a:pos x="5" y="2"/>
                </a:cxn>
                <a:cxn ang="0">
                  <a:pos x="0" y="7"/>
                </a:cxn>
                <a:cxn ang="0">
                  <a:pos x="0" y="7"/>
                </a:cxn>
                <a:cxn ang="0">
                  <a:pos x="5" y="9"/>
                </a:cxn>
                <a:cxn ang="0">
                  <a:pos x="13" y="9"/>
                </a:cxn>
                <a:cxn ang="0">
                  <a:pos x="15" y="9"/>
                </a:cxn>
                <a:cxn ang="0">
                  <a:pos x="18" y="9"/>
                </a:cxn>
                <a:cxn ang="0">
                  <a:pos x="18" y="6"/>
                </a:cxn>
                <a:cxn ang="0">
                  <a:pos x="20" y="2"/>
                </a:cxn>
                <a:cxn ang="0">
                  <a:pos x="20" y="2"/>
                </a:cxn>
              </a:cxnLst>
              <a:rect l="0" t="0" r="r" b="b"/>
              <a:pathLst>
                <a:path w="20" h="9">
                  <a:moveTo>
                    <a:pt x="20" y="2"/>
                  </a:moveTo>
                  <a:lnTo>
                    <a:pt x="20" y="2"/>
                  </a:lnTo>
                  <a:lnTo>
                    <a:pt x="13" y="0"/>
                  </a:lnTo>
                  <a:lnTo>
                    <a:pt x="9" y="0"/>
                  </a:lnTo>
                  <a:lnTo>
                    <a:pt x="5" y="2"/>
                  </a:lnTo>
                  <a:lnTo>
                    <a:pt x="5" y="2"/>
                  </a:lnTo>
                  <a:lnTo>
                    <a:pt x="0" y="7"/>
                  </a:lnTo>
                  <a:lnTo>
                    <a:pt x="0" y="7"/>
                  </a:lnTo>
                  <a:lnTo>
                    <a:pt x="5" y="9"/>
                  </a:lnTo>
                  <a:lnTo>
                    <a:pt x="13" y="9"/>
                  </a:lnTo>
                  <a:lnTo>
                    <a:pt x="15" y="9"/>
                  </a:lnTo>
                  <a:lnTo>
                    <a:pt x="18" y="9"/>
                  </a:lnTo>
                  <a:lnTo>
                    <a:pt x="18" y="6"/>
                  </a:lnTo>
                  <a:lnTo>
                    <a:pt x="20" y="2"/>
                  </a:lnTo>
                  <a:lnTo>
                    <a:pt x="20" y="2"/>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6" name="Freeform 107">
              <a:extLst>
                <a:ext uri="{FF2B5EF4-FFF2-40B4-BE49-F238E27FC236}">
                  <a16:creationId xmlns:a16="http://schemas.microsoft.com/office/drawing/2014/main" id="{73F49311-84A5-4230-A116-8363ECBCCCE3}"/>
                </a:ext>
              </a:extLst>
            </p:cNvPr>
            <p:cNvSpPr>
              <a:spLocks/>
            </p:cNvSpPr>
            <p:nvPr/>
          </p:nvSpPr>
          <p:spPr bwMode="auto">
            <a:xfrm>
              <a:off x="5787346" y="5829077"/>
              <a:ext cx="14533" cy="12716"/>
            </a:xfrm>
            <a:custGeom>
              <a:avLst/>
              <a:gdLst/>
              <a:ahLst/>
              <a:cxnLst>
                <a:cxn ang="0">
                  <a:pos x="16" y="0"/>
                </a:cxn>
                <a:cxn ang="0">
                  <a:pos x="1" y="0"/>
                </a:cxn>
                <a:cxn ang="0">
                  <a:pos x="1" y="0"/>
                </a:cxn>
                <a:cxn ang="0">
                  <a:pos x="0" y="10"/>
                </a:cxn>
                <a:cxn ang="0">
                  <a:pos x="1" y="13"/>
                </a:cxn>
                <a:cxn ang="0">
                  <a:pos x="5" y="15"/>
                </a:cxn>
                <a:cxn ang="0">
                  <a:pos x="7" y="13"/>
                </a:cxn>
                <a:cxn ang="0">
                  <a:pos x="15" y="6"/>
                </a:cxn>
                <a:cxn ang="0">
                  <a:pos x="16" y="2"/>
                </a:cxn>
                <a:cxn ang="0">
                  <a:pos x="16" y="0"/>
                </a:cxn>
                <a:cxn ang="0">
                  <a:pos x="16" y="0"/>
                </a:cxn>
              </a:cxnLst>
              <a:rect l="0" t="0" r="r" b="b"/>
              <a:pathLst>
                <a:path w="16" h="15">
                  <a:moveTo>
                    <a:pt x="16" y="0"/>
                  </a:moveTo>
                  <a:lnTo>
                    <a:pt x="1" y="0"/>
                  </a:lnTo>
                  <a:lnTo>
                    <a:pt x="1" y="0"/>
                  </a:lnTo>
                  <a:lnTo>
                    <a:pt x="0" y="10"/>
                  </a:lnTo>
                  <a:lnTo>
                    <a:pt x="1" y="13"/>
                  </a:lnTo>
                  <a:lnTo>
                    <a:pt x="5" y="15"/>
                  </a:lnTo>
                  <a:lnTo>
                    <a:pt x="7" y="13"/>
                  </a:lnTo>
                  <a:lnTo>
                    <a:pt x="15" y="6"/>
                  </a:lnTo>
                  <a:lnTo>
                    <a:pt x="16" y="2"/>
                  </a:lnTo>
                  <a:lnTo>
                    <a:pt x="16" y="0"/>
                  </a:lnTo>
                  <a:lnTo>
                    <a:pt x="16" y="0"/>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7" name="Freeform 108">
              <a:extLst>
                <a:ext uri="{FF2B5EF4-FFF2-40B4-BE49-F238E27FC236}">
                  <a16:creationId xmlns:a16="http://schemas.microsoft.com/office/drawing/2014/main" id="{60F33D6E-7266-48BE-B04A-277C7E79BD70}"/>
                </a:ext>
              </a:extLst>
            </p:cNvPr>
            <p:cNvSpPr>
              <a:spLocks/>
            </p:cNvSpPr>
            <p:nvPr/>
          </p:nvSpPr>
          <p:spPr bwMode="auto">
            <a:xfrm>
              <a:off x="5774629" y="5839977"/>
              <a:ext cx="9084" cy="14533"/>
            </a:xfrm>
            <a:custGeom>
              <a:avLst/>
              <a:gdLst/>
              <a:ahLst/>
              <a:cxnLst>
                <a:cxn ang="0">
                  <a:pos x="4" y="15"/>
                </a:cxn>
                <a:cxn ang="0">
                  <a:pos x="4" y="15"/>
                </a:cxn>
                <a:cxn ang="0">
                  <a:pos x="8" y="12"/>
                </a:cxn>
                <a:cxn ang="0">
                  <a:pos x="10" y="10"/>
                </a:cxn>
                <a:cxn ang="0">
                  <a:pos x="8" y="4"/>
                </a:cxn>
                <a:cxn ang="0">
                  <a:pos x="6" y="0"/>
                </a:cxn>
                <a:cxn ang="0">
                  <a:pos x="4" y="2"/>
                </a:cxn>
                <a:cxn ang="0">
                  <a:pos x="2" y="2"/>
                </a:cxn>
                <a:cxn ang="0">
                  <a:pos x="2" y="2"/>
                </a:cxn>
                <a:cxn ang="0">
                  <a:pos x="0" y="6"/>
                </a:cxn>
                <a:cxn ang="0">
                  <a:pos x="0" y="10"/>
                </a:cxn>
                <a:cxn ang="0">
                  <a:pos x="4" y="15"/>
                </a:cxn>
                <a:cxn ang="0">
                  <a:pos x="4" y="15"/>
                </a:cxn>
              </a:cxnLst>
              <a:rect l="0" t="0" r="r" b="b"/>
              <a:pathLst>
                <a:path w="10" h="15">
                  <a:moveTo>
                    <a:pt x="4" y="15"/>
                  </a:moveTo>
                  <a:lnTo>
                    <a:pt x="4" y="15"/>
                  </a:lnTo>
                  <a:lnTo>
                    <a:pt x="8" y="12"/>
                  </a:lnTo>
                  <a:lnTo>
                    <a:pt x="10" y="10"/>
                  </a:lnTo>
                  <a:lnTo>
                    <a:pt x="8" y="4"/>
                  </a:lnTo>
                  <a:lnTo>
                    <a:pt x="6" y="0"/>
                  </a:lnTo>
                  <a:lnTo>
                    <a:pt x="4" y="2"/>
                  </a:lnTo>
                  <a:lnTo>
                    <a:pt x="2" y="2"/>
                  </a:lnTo>
                  <a:lnTo>
                    <a:pt x="2" y="2"/>
                  </a:lnTo>
                  <a:lnTo>
                    <a:pt x="0" y="6"/>
                  </a:lnTo>
                  <a:lnTo>
                    <a:pt x="0" y="10"/>
                  </a:lnTo>
                  <a:lnTo>
                    <a:pt x="4" y="15"/>
                  </a:lnTo>
                  <a:lnTo>
                    <a:pt x="4" y="15"/>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8" name="Freeform 109">
              <a:extLst>
                <a:ext uri="{FF2B5EF4-FFF2-40B4-BE49-F238E27FC236}">
                  <a16:creationId xmlns:a16="http://schemas.microsoft.com/office/drawing/2014/main" id="{A7C76047-B470-401A-A716-12CE8BB78DA4}"/>
                </a:ext>
              </a:extLst>
            </p:cNvPr>
            <p:cNvSpPr>
              <a:spLocks noEditPoints="1"/>
            </p:cNvSpPr>
            <p:nvPr/>
          </p:nvSpPr>
          <p:spPr bwMode="auto">
            <a:xfrm>
              <a:off x="5751013" y="5754593"/>
              <a:ext cx="61766" cy="50867"/>
            </a:xfrm>
            <a:custGeom>
              <a:avLst/>
              <a:gdLst/>
              <a:ahLst/>
              <a:cxnLst>
                <a:cxn ang="0">
                  <a:pos x="66" y="28"/>
                </a:cxn>
                <a:cxn ang="0">
                  <a:pos x="66" y="28"/>
                </a:cxn>
                <a:cxn ang="0">
                  <a:pos x="49" y="37"/>
                </a:cxn>
                <a:cxn ang="0">
                  <a:pos x="41" y="45"/>
                </a:cxn>
                <a:cxn ang="0">
                  <a:pos x="40" y="50"/>
                </a:cxn>
                <a:cxn ang="0">
                  <a:pos x="40" y="54"/>
                </a:cxn>
                <a:cxn ang="0">
                  <a:pos x="45" y="56"/>
                </a:cxn>
                <a:cxn ang="0">
                  <a:pos x="51" y="58"/>
                </a:cxn>
                <a:cxn ang="0">
                  <a:pos x="55" y="56"/>
                </a:cxn>
                <a:cxn ang="0">
                  <a:pos x="58" y="52"/>
                </a:cxn>
                <a:cxn ang="0">
                  <a:pos x="58" y="52"/>
                </a:cxn>
                <a:cxn ang="0">
                  <a:pos x="64" y="45"/>
                </a:cxn>
                <a:cxn ang="0">
                  <a:pos x="68" y="37"/>
                </a:cxn>
                <a:cxn ang="0">
                  <a:pos x="68" y="37"/>
                </a:cxn>
                <a:cxn ang="0">
                  <a:pos x="68" y="34"/>
                </a:cxn>
                <a:cxn ang="0">
                  <a:pos x="66" y="32"/>
                </a:cxn>
                <a:cxn ang="0">
                  <a:pos x="66" y="28"/>
                </a:cxn>
                <a:cxn ang="0">
                  <a:pos x="66" y="28"/>
                </a:cxn>
                <a:cxn ang="0">
                  <a:pos x="19" y="43"/>
                </a:cxn>
                <a:cxn ang="0">
                  <a:pos x="19" y="43"/>
                </a:cxn>
                <a:cxn ang="0">
                  <a:pos x="12" y="47"/>
                </a:cxn>
                <a:cxn ang="0">
                  <a:pos x="2" y="50"/>
                </a:cxn>
                <a:cxn ang="0">
                  <a:pos x="0" y="54"/>
                </a:cxn>
                <a:cxn ang="0">
                  <a:pos x="0" y="56"/>
                </a:cxn>
                <a:cxn ang="0">
                  <a:pos x="2" y="56"/>
                </a:cxn>
                <a:cxn ang="0">
                  <a:pos x="10" y="58"/>
                </a:cxn>
                <a:cxn ang="0">
                  <a:pos x="10" y="58"/>
                </a:cxn>
                <a:cxn ang="0">
                  <a:pos x="19" y="56"/>
                </a:cxn>
                <a:cxn ang="0">
                  <a:pos x="25" y="52"/>
                </a:cxn>
                <a:cxn ang="0">
                  <a:pos x="25" y="50"/>
                </a:cxn>
                <a:cxn ang="0">
                  <a:pos x="25" y="49"/>
                </a:cxn>
                <a:cxn ang="0">
                  <a:pos x="19" y="43"/>
                </a:cxn>
                <a:cxn ang="0">
                  <a:pos x="19" y="43"/>
                </a:cxn>
                <a:cxn ang="0">
                  <a:pos x="30" y="2"/>
                </a:cxn>
                <a:cxn ang="0">
                  <a:pos x="30" y="2"/>
                </a:cxn>
                <a:cxn ang="0">
                  <a:pos x="26" y="13"/>
                </a:cxn>
                <a:cxn ang="0">
                  <a:pos x="25" y="22"/>
                </a:cxn>
                <a:cxn ang="0">
                  <a:pos x="23" y="32"/>
                </a:cxn>
                <a:cxn ang="0">
                  <a:pos x="25" y="37"/>
                </a:cxn>
                <a:cxn ang="0">
                  <a:pos x="26" y="39"/>
                </a:cxn>
                <a:cxn ang="0">
                  <a:pos x="30" y="39"/>
                </a:cxn>
                <a:cxn ang="0">
                  <a:pos x="36" y="39"/>
                </a:cxn>
                <a:cxn ang="0">
                  <a:pos x="41" y="37"/>
                </a:cxn>
                <a:cxn ang="0">
                  <a:pos x="58" y="26"/>
                </a:cxn>
                <a:cxn ang="0">
                  <a:pos x="58" y="26"/>
                </a:cxn>
                <a:cxn ang="0">
                  <a:pos x="68" y="19"/>
                </a:cxn>
                <a:cxn ang="0">
                  <a:pos x="68" y="17"/>
                </a:cxn>
                <a:cxn ang="0">
                  <a:pos x="66" y="15"/>
                </a:cxn>
                <a:cxn ang="0">
                  <a:pos x="60" y="13"/>
                </a:cxn>
                <a:cxn ang="0">
                  <a:pos x="56" y="11"/>
                </a:cxn>
                <a:cxn ang="0">
                  <a:pos x="55" y="6"/>
                </a:cxn>
                <a:cxn ang="0">
                  <a:pos x="55" y="6"/>
                </a:cxn>
                <a:cxn ang="0">
                  <a:pos x="53" y="0"/>
                </a:cxn>
                <a:cxn ang="0">
                  <a:pos x="53" y="0"/>
                </a:cxn>
                <a:cxn ang="0">
                  <a:pos x="40" y="2"/>
                </a:cxn>
                <a:cxn ang="0">
                  <a:pos x="30" y="2"/>
                </a:cxn>
                <a:cxn ang="0">
                  <a:pos x="30" y="2"/>
                </a:cxn>
              </a:cxnLst>
              <a:rect l="0" t="0" r="r" b="b"/>
              <a:pathLst>
                <a:path w="68" h="58">
                  <a:moveTo>
                    <a:pt x="66" y="28"/>
                  </a:moveTo>
                  <a:lnTo>
                    <a:pt x="66" y="28"/>
                  </a:lnTo>
                  <a:lnTo>
                    <a:pt x="49" y="37"/>
                  </a:lnTo>
                  <a:lnTo>
                    <a:pt x="41" y="45"/>
                  </a:lnTo>
                  <a:lnTo>
                    <a:pt x="40" y="50"/>
                  </a:lnTo>
                  <a:lnTo>
                    <a:pt x="40" y="54"/>
                  </a:lnTo>
                  <a:lnTo>
                    <a:pt x="45" y="56"/>
                  </a:lnTo>
                  <a:lnTo>
                    <a:pt x="51" y="58"/>
                  </a:lnTo>
                  <a:lnTo>
                    <a:pt x="55" y="56"/>
                  </a:lnTo>
                  <a:lnTo>
                    <a:pt x="58" y="52"/>
                  </a:lnTo>
                  <a:lnTo>
                    <a:pt x="58" y="52"/>
                  </a:lnTo>
                  <a:lnTo>
                    <a:pt x="64" y="45"/>
                  </a:lnTo>
                  <a:lnTo>
                    <a:pt x="68" y="37"/>
                  </a:lnTo>
                  <a:lnTo>
                    <a:pt x="68" y="37"/>
                  </a:lnTo>
                  <a:lnTo>
                    <a:pt x="68" y="34"/>
                  </a:lnTo>
                  <a:lnTo>
                    <a:pt x="66" y="32"/>
                  </a:lnTo>
                  <a:lnTo>
                    <a:pt x="66" y="28"/>
                  </a:lnTo>
                  <a:lnTo>
                    <a:pt x="66" y="28"/>
                  </a:lnTo>
                  <a:close/>
                  <a:moveTo>
                    <a:pt x="19" y="43"/>
                  </a:moveTo>
                  <a:lnTo>
                    <a:pt x="19" y="43"/>
                  </a:lnTo>
                  <a:lnTo>
                    <a:pt x="12" y="47"/>
                  </a:lnTo>
                  <a:lnTo>
                    <a:pt x="2" y="50"/>
                  </a:lnTo>
                  <a:lnTo>
                    <a:pt x="0" y="54"/>
                  </a:lnTo>
                  <a:lnTo>
                    <a:pt x="0" y="56"/>
                  </a:lnTo>
                  <a:lnTo>
                    <a:pt x="2" y="56"/>
                  </a:lnTo>
                  <a:lnTo>
                    <a:pt x="10" y="58"/>
                  </a:lnTo>
                  <a:lnTo>
                    <a:pt x="10" y="58"/>
                  </a:lnTo>
                  <a:lnTo>
                    <a:pt x="19" y="56"/>
                  </a:lnTo>
                  <a:lnTo>
                    <a:pt x="25" y="52"/>
                  </a:lnTo>
                  <a:lnTo>
                    <a:pt x="25" y="50"/>
                  </a:lnTo>
                  <a:lnTo>
                    <a:pt x="25" y="49"/>
                  </a:lnTo>
                  <a:lnTo>
                    <a:pt x="19" y="43"/>
                  </a:lnTo>
                  <a:lnTo>
                    <a:pt x="19" y="43"/>
                  </a:lnTo>
                  <a:close/>
                  <a:moveTo>
                    <a:pt x="30" y="2"/>
                  </a:moveTo>
                  <a:lnTo>
                    <a:pt x="30" y="2"/>
                  </a:lnTo>
                  <a:lnTo>
                    <a:pt x="26" y="13"/>
                  </a:lnTo>
                  <a:lnTo>
                    <a:pt x="25" y="22"/>
                  </a:lnTo>
                  <a:lnTo>
                    <a:pt x="23" y="32"/>
                  </a:lnTo>
                  <a:lnTo>
                    <a:pt x="25" y="37"/>
                  </a:lnTo>
                  <a:lnTo>
                    <a:pt x="26" y="39"/>
                  </a:lnTo>
                  <a:lnTo>
                    <a:pt x="30" y="39"/>
                  </a:lnTo>
                  <a:lnTo>
                    <a:pt x="36" y="39"/>
                  </a:lnTo>
                  <a:lnTo>
                    <a:pt x="41" y="37"/>
                  </a:lnTo>
                  <a:lnTo>
                    <a:pt x="58" y="26"/>
                  </a:lnTo>
                  <a:lnTo>
                    <a:pt x="58" y="26"/>
                  </a:lnTo>
                  <a:lnTo>
                    <a:pt x="68" y="19"/>
                  </a:lnTo>
                  <a:lnTo>
                    <a:pt x="68" y="17"/>
                  </a:lnTo>
                  <a:lnTo>
                    <a:pt x="66" y="15"/>
                  </a:lnTo>
                  <a:lnTo>
                    <a:pt x="60" y="13"/>
                  </a:lnTo>
                  <a:lnTo>
                    <a:pt x="56" y="11"/>
                  </a:lnTo>
                  <a:lnTo>
                    <a:pt x="55" y="6"/>
                  </a:lnTo>
                  <a:lnTo>
                    <a:pt x="55" y="6"/>
                  </a:lnTo>
                  <a:lnTo>
                    <a:pt x="53" y="0"/>
                  </a:lnTo>
                  <a:lnTo>
                    <a:pt x="53" y="0"/>
                  </a:lnTo>
                  <a:lnTo>
                    <a:pt x="40" y="2"/>
                  </a:lnTo>
                  <a:lnTo>
                    <a:pt x="30" y="2"/>
                  </a:lnTo>
                  <a:lnTo>
                    <a:pt x="30" y="2"/>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9" name="Freeform 120">
              <a:extLst>
                <a:ext uri="{FF2B5EF4-FFF2-40B4-BE49-F238E27FC236}">
                  <a16:creationId xmlns:a16="http://schemas.microsoft.com/office/drawing/2014/main" id="{929E355A-59C7-4F56-B1EB-34BB16109B04}"/>
                </a:ext>
              </a:extLst>
            </p:cNvPr>
            <p:cNvSpPr/>
            <p:nvPr/>
          </p:nvSpPr>
          <p:spPr bwMode="gray">
            <a:xfrm>
              <a:off x="5748289" y="5719237"/>
              <a:ext cx="97783" cy="50273"/>
            </a:xfrm>
            <a:custGeom>
              <a:avLst/>
              <a:gdLst>
                <a:gd name="connsiteX0" fmla="*/ 56586 w 97783"/>
                <a:gd name="connsiteY0" fmla="*/ 517 h 50273"/>
                <a:gd name="connsiteX1" fmla="*/ 81360 w 97783"/>
                <a:gd name="connsiteY1" fmla="*/ 1421 h 50273"/>
                <a:gd name="connsiteX2" fmla="*/ 97783 w 97783"/>
                <a:gd name="connsiteY2" fmla="*/ 10332 h 50273"/>
                <a:gd name="connsiteX3" fmla="*/ 96283 w 97783"/>
                <a:gd name="connsiteY3" fmla="*/ 10832 h 50273"/>
                <a:gd name="connsiteX4" fmla="*/ 89924 w 97783"/>
                <a:gd name="connsiteY4" fmla="*/ 14465 h 50273"/>
                <a:gd name="connsiteX5" fmla="*/ 86291 w 97783"/>
                <a:gd name="connsiteY5" fmla="*/ 19007 h 50273"/>
                <a:gd name="connsiteX6" fmla="*/ 84474 w 97783"/>
                <a:gd name="connsiteY6" fmla="*/ 26274 h 50273"/>
                <a:gd name="connsiteX7" fmla="*/ 86291 w 97783"/>
                <a:gd name="connsiteY7" fmla="*/ 34448 h 50273"/>
                <a:gd name="connsiteX8" fmla="*/ 90043 w 97783"/>
                <a:gd name="connsiteY8" fmla="*/ 50204 h 50273"/>
                <a:gd name="connsiteX9" fmla="*/ 87758 w 97783"/>
                <a:gd name="connsiteY9" fmla="*/ 50273 h 50273"/>
                <a:gd name="connsiteX10" fmla="*/ 86291 w 97783"/>
                <a:gd name="connsiteY10" fmla="*/ 48073 h 50273"/>
                <a:gd name="connsiteX11" fmla="*/ 79024 w 97783"/>
                <a:gd name="connsiteY11" fmla="*/ 42623 h 50273"/>
                <a:gd name="connsiteX12" fmla="*/ 72666 w 97783"/>
                <a:gd name="connsiteY12" fmla="*/ 36265 h 50273"/>
                <a:gd name="connsiteX13" fmla="*/ 64491 w 97783"/>
                <a:gd name="connsiteY13" fmla="*/ 32632 h 50273"/>
                <a:gd name="connsiteX14" fmla="*/ 60858 w 97783"/>
                <a:gd name="connsiteY14" fmla="*/ 30815 h 50273"/>
                <a:gd name="connsiteX15" fmla="*/ 57225 w 97783"/>
                <a:gd name="connsiteY15" fmla="*/ 32632 h 50273"/>
                <a:gd name="connsiteX16" fmla="*/ 50866 w 97783"/>
                <a:gd name="connsiteY16" fmla="*/ 34448 h 50273"/>
                <a:gd name="connsiteX17" fmla="*/ 39058 w 97783"/>
                <a:gd name="connsiteY17" fmla="*/ 36265 h 50273"/>
                <a:gd name="connsiteX18" fmla="*/ 29975 w 97783"/>
                <a:gd name="connsiteY18" fmla="*/ 36265 h 50273"/>
                <a:gd name="connsiteX19" fmla="*/ 23616 w 97783"/>
                <a:gd name="connsiteY19" fmla="*/ 34448 h 50273"/>
                <a:gd name="connsiteX20" fmla="*/ 18166 w 97783"/>
                <a:gd name="connsiteY20" fmla="*/ 32632 h 50273"/>
                <a:gd name="connsiteX21" fmla="*/ 14533 w 97783"/>
                <a:gd name="connsiteY21" fmla="*/ 30815 h 50273"/>
                <a:gd name="connsiteX22" fmla="*/ 9991 w 97783"/>
                <a:gd name="connsiteY22" fmla="*/ 32632 h 50273"/>
                <a:gd name="connsiteX23" fmla="*/ 908 w 97783"/>
                <a:gd name="connsiteY23" fmla="*/ 36265 h 50273"/>
                <a:gd name="connsiteX24" fmla="*/ 0 w 97783"/>
                <a:gd name="connsiteY24" fmla="*/ 36265 h 50273"/>
                <a:gd name="connsiteX25" fmla="*/ 0 w 97783"/>
                <a:gd name="connsiteY25" fmla="*/ 32632 h 50273"/>
                <a:gd name="connsiteX26" fmla="*/ 0 w 97783"/>
                <a:gd name="connsiteY26" fmla="*/ 32242 h 50273"/>
                <a:gd name="connsiteX27" fmla="*/ 6121 w 97783"/>
                <a:gd name="connsiteY27" fmla="*/ 22062 h 50273"/>
                <a:gd name="connsiteX28" fmla="*/ 36239 w 97783"/>
                <a:gd name="connsiteY28" fmla="*/ 2600 h 50273"/>
                <a:gd name="connsiteX29" fmla="*/ 56586 w 97783"/>
                <a:gd name="connsiteY29" fmla="*/ 517 h 5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7783" h="50273">
                  <a:moveTo>
                    <a:pt x="56586" y="517"/>
                  </a:moveTo>
                  <a:cubicBezTo>
                    <a:pt x="64384" y="-193"/>
                    <a:pt x="72919" y="-406"/>
                    <a:pt x="81360" y="1421"/>
                  </a:cubicBezTo>
                  <a:lnTo>
                    <a:pt x="97783" y="10332"/>
                  </a:lnTo>
                  <a:lnTo>
                    <a:pt x="96283" y="10832"/>
                  </a:lnTo>
                  <a:lnTo>
                    <a:pt x="89924" y="14465"/>
                  </a:lnTo>
                  <a:lnTo>
                    <a:pt x="86291" y="19007"/>
                  </a:lnTo>
                  <a:lnTo>
                    <a:pt x="84474" y="26274"/>
                  </a:lnTo>
                  <a:lnTo>
                    <a:pt x="86291" y="34448"/>
                  </a:lnTo>
                  <a:lnTo>
                    <a:pt x="90043" y="50204"/>
                  </a:lnTo>
                  <a:lnTo>
                    <a:pt x="87758" y="50273"/>
                  </a:lnTo>
                  <a:lnTo>
                    <a:pt x="86291" y="48073"/>
                  </a:lnTo>
                  <a:lnTo>
                    <a:pt x="79024" y="42623"/>
                  </a:lnTo>
                  <a:lnTo>
                    <a:pt x="72666" y="36265"/>
                  </a:lnTo>
                  <a:lnTo>
                    <a:pt x="64491" y="32632"/>
                  </a:lnTo>
                  <a:lnTo>
                    <a:pt x="60858" y="30815"/>
                  </a:lnTo>
                  <a:lnTo>
                    <a:pt x="57225" y="32632"/>
                  </a:lnTo>
                  <a:lnTo>
                    <a:pt x="50866" y="34448"/>
                  </a:lnTo>
                  <a:lnTo>
                    <a:pt x="39058" y="36265"/>
                  </a:lnTo>
                  <a:lnTo>
                    <a:pt x="29975" y="36265"/>
                  </a:lnTo>
                  <a:lnTo>
                    <a:pt x="23616" y="34448"/>
                  </a:lnTo>
                  <a:lnTo>
                    <a:pt x="18166" y="32632"/>
                  </a:lnTo>
                  <a:lnTo>
                    <a:pt x="14533" y="30815"/>
                  </a:lnTo>
                  <a:lnTo>
                    <a:pt x="9991" y="32632"/>
                  </a:lnTo>
                  <a:lnTo>
                    <a:pt x="908" y="36265"/>
                  </a:lnTo>
                  <a:lnTo>
                    <a:pt x="0" y="36265"/>
                  </a:lnTo>
                  <a:lnTo>
                    <a:pt x="0" y="32632"/>
                  </a:lnTo>
                  <a:lnTo>
                    <a:pt x="0" y="32242"/>
                  </a:lnTo>
                  <a:lnTo>
                    <a:pt x="6121" y="22062"/>
                  </a:lnTo>
                  <a:cubicBezTo>
                    <a:pt x="14318" y="11529"/>
                    <a:pt x="25259" y="2930"/>
                    <a:pt x="36239" y="2600"/>
                  </a:cubicBezTo>
                  <a:cubicBezTo>
                    <a:pt x="41729" y="2435"/>
                    <a:pt x="48789" y="1227"/>
                    <a:pt x="56586" y="517"/>
                  </a:cubicBezTo>
                  <a:close/>
                </a:path>
              </a:pathLst>
            </a:custGeom>
            <a:grpFill/>
            <a:ln w="635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IE"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sp>
          <p:nvSpPr>
            <p:cNvPr id="110" name="Freeform 119">
              <a:extLst>
                <a:ext uri="{FF2B5EF4-FFF2-40B4-BE49-F238E27FC236}">
                  <a16:creationId xmlns:a16="http://schemas.microsoft.com/office/drawing/2014/main" id="{70E8C1C8-5D5D-4A37-9879-B7DF2DB4ECFD}"/>
                </a:ext>
              </a:extLst>
            </p:cNvPr>
            <p:cNvSpPr/>
            <p:nvPr/>
          </p:nvSpPr>
          <p:spPr bwMode="gray">
            <a:xfrm>
              <a:off x="5235081" y="5378544"/>
              <a:ext cx="906515" cy="699414"/>
            </a:xfrm>
            <a:custGeom>
              <a:avLst/>
              <a:gdLst>
                <a:gd name="connsiteX0" fmla="*/ 423283 w 906515"/>
                <a:gd name="connsiteY0" fmla="*/ 0 h 699414"/>
                <a:gd name="connsiteX1" fmla="*/ 427824 w 906515"/>
                <a:gd name="connsiteY1" fmla="*/ 0 h 699414"/>
                <a:gd name="connsiteX2" fmla="*/ 433274 w 906515"/>
                <a:gd name="connsiteY2" fmla="*/ 0 h 699414"/>
                <a:gd name="connsiteX3" fmla="*/ 441449 w 906515"/>
                <a:gd name="connsiteY3" fmla="*/ 5450 h 699414"/>
                <a:gd name="connsiteX4" fmla="*/ 453258 w 906515"/>
                <a:gd name="connsiteY4" fmla="*/ 9992 h 699414"/>
                <a:gd name="connsiteX5" fmla="*/ 463249 w 906515"/>
                <a:gd name="connsiteY5" fmla="*/ 15442 h 699414"/>
                <a:gd name="connsiteX6" fmla="*/ 470516 w 906515"/>
                <a:gd name="connsiteY6" fmla="*/ 17259 h 699414"/>
                <a:gd name="connsiteX7" fmla="*/ 475058 w 906515"/>
                <a:gd name="connsiteY7" fmla="*/ 19075 h 699414"/>
                <a:gd name="connsiteX8" fmla="*/ 482324 w 906515"/>
                <a:gd name="connsiteY8" fmla="*/ 19075 h 699414"/>
                <a:gd name="connsiteX9" fmla="*/ 488683 w 906515"/>
                <a:gd name="connsiteY9" fmla="*/ 17259 h 699414"/>
                <a:gd name="connsiteX10" fmla="*/ 497766 w 906515"/>
                <a:gd name="connsiteY10" fmla="*/ 13625 h 699414"/>
                <a:gd name="connsiteX11" fmla="*/ 504124 w 906515"/>
                <a:gd name="connsiteY11" fmla="*/ 8175 h 699414"/>
                <a:gd name="connsiteX12" fmla="*/ 511391 w 906515"/>
                <a:gd name="connsiteY12" fmla="*/ 5450 h 699414"/>
                <a:gd name="connsiteX13" fmla="*/ 517749 w 906515"/>
                <a:gd name="connsiteY13" fmla="*/ 3634 h 699414"/>
                <a:gd name="connsiteX14" fmla="*/ 523199 w 906515"/>
                <a:gd name="connsiteY14" fmla="*/ 17259 h 699414"/>
                <a:gd name="connsiteX15" fmla="*/ 526833 w 906515"/>
                <a:gd name="connsiteY15" fmla="*/ 21800 h 699414"/>
                <a:gd name="connsiteX16" fmla="*/ 529558 w 906515"/>
                <a:gd name="connsiteY16" fmla="*/ 23617 h 699414"/>
                <a:gd name="connsiteX17" fmla="*/ 546816 w 906515"/>
                <a:gd name="connsiteY17" fmla="*/ 21800 h 699414"/>
                <a:gd name="connsiteX18" fmla="*/ 560441 w 906515"/>
                <a:gd name="connsiteY18" fmla="*/ 17259 h 699414"/>
                <a:gd name="connsiteX19" fmla="*/ 568616 w 906515"/>
                <a:gd name="connsiteY19" fmla="*/ 13625 h 699414"/>
                <a:gd name="connsiteX20" fmla="*/ 575882 w 906515"/>
                <a:gd name="connsiteY20" fmla="*/ 8175 h 699414"/>
                <a:gd name="connsiteX21" fmla="*/ 580424 w 906515"/>
                <a:gd name="connsiteY21" fmla="*/ 7267 h 699414"/>
                <a:gd name="connsiteX22" fmla="*/ 585874 w 906515"/>
                <a:gd name="connsiteY22" fmla="*/ 7267 h 699414"/>
                <a:gd name="connsiteX23" fmla="*/ 594049 w 906515"/>
                <a:gd name="connsiteY23" fmla="*/ 11809 h 699414"/>
                <a:gd name="connsiteX24" fmla="*/ 605857 w 906515"/>
                <a:gd name="connsiteY24" fmla="*/ 21800 h 699414"/>
                <a:gd name="connsiteX25" fmla="*/ 605857 w 906515"/>
                <a:gd name="connsiteY25" fmla="*/ 29067 h 699414"/>
                <a:gd name="connsiteX26" fmla="*/ 605857 w 906515"/>
                <a:gd name="connsiteY26" fmla="*/ 37242 h 699414"/>
                <a:gd name="connsiteX27" fmla="*/ 603132 w 906515"/>
                <a:gd name="connsiteY27" fmla="*/ 42692 h 699414"/>
                <a:gd name="connsiteX28" fmla="*/ 599499 w 906515"/>
                <a:gd name="connsiteY28" fmla="*/ 46325 h 699414"/>
                <a:gd name="connsiteX29" fmla="*/ 594049 w 906515"/>
                <a:gd name="connsiteY29" fmla="*/ 49050 h 699414"/>
                <a:gd name="connsiteX30" fmla="*/ 589507 w 906515"/>
                <a:gd name="connsiteY30" fmla="*/ 52683 h 699414"/>
                <a:gd name="connsiteX31" fmla="*/ 582241 w 906515"/>
                <a:gd name="connsiteY31" fmla="*/ 58133 h 699414"/>
                <a:gd name="connsiteX32" fmla="*/ 577699 w 906515"/>
                <a:gd name="connsiteY32" fmla="*/ 64492 h 699414"/>
                <a:gd name="connsiteX33" fmla="*/ 572249 w 906515"/>
                <a:gd name="connsiteY33" fmla="*/ 76300 h 699414"/>
                <a:gd name="connsiteX34" fmla="*/ 566799 w 906515"/>
                <a:gd name="connsiteY34" fmla="*/ 85383 h 699414"/>
                <a:gd name="connsiteX35" fmla="*/ 558624 w 906515"/>
                <a:gd name="connsiteY35" fmla="*/ 95375 h 699414"/>
                <a:gd name="connsiteX36" fmla="*/ 546816 w 906515"/>
                <a:gd name="connsiteY36" fmla="*/ 107183 h 699414"/>
                <a:gd name="connsiteX37" fmla="*/ 548633 w 906515"/>
                <a:gd name="connsiteY37" fmla="*/ 110816 h 699414"/>
                <a:gd name="connsiteX38" fmla="*/ 550449 w 906515"/>
                <a:gd name="connsiteY38" fmla="*/ 111725 h 699414"/>
                <a:gd name="connsiteX39" fmla="*/ 556808 w 906515"/>
                <a:gd name="connsiteY39" fmla="*/ 115358 h 699414"/>
                <a:gd name="connsiteX40" fmla="*/ 564074 w 906515"/>
                <a:gd name="connsiteY40" fmla="*/ 117175 h 699414"/>
                <a:gd name="connsiteX41" fmla="*/ 574066 w 906515"/>
                <a:gd name="connsiteY41" fmla="*/ 117175 h 699414"/>
                <a:gd name="connsiteX42" fmla="*/ 591324 w 906515"/>
                <a:gd name="connsiteY42" fmla="*/ 115358 h 699414"/>
                <a:gd name="connsiteX43" fmla="*/ 604041 w 906515"/>
                <a:gd name="connsiteY43" fmla="*/ 113541 h 699414"/>
                <a:gd name="connsiteX44" fmla="*/ 616757 w 906515"/>
                <a:gd name="connsiteY44" fmla="*/ 111725 h 699414"/>
                <a:gd name="connsiteX45" fmla="*/ 624932 w 906515"/>
                <a:gd name="connsiteY45" fmla="*/ 109000 h 699414"/>
                <a:gd name="connsiteX46" fmla="*/ 630382 w 906515"/>
                <a:gd name="connsiteY46" fmla="*/ 105367 h 699414"/>
                <a:gd name="connsiteX47" fmla="*/ 634924 w 906515"/>
                <a:gd name="connsiteY47" fmla="*/ 103550 h 699414"/>
                <a:gd name="connsiteX48" fmla="*/ 640374 w 906515"/>
                <a:gd name="connsiteY48" fmla="*/ 97192 h 699414"/>
                <a:gd name="connsiteX49" fmla="*/ 643099 w 906515"/>
                <a:gd name="connsiteY49" fmla="*/ 95375 h 699414"/>
                <a:gd name="connsiteX50" fmla="*/ 648549 w 906515"/>
                <a:gd name="connsiteY50" fmla="*/ 93558 h 699414"/>
                <a:gd name="connsiteX51" fmla="*/ 656724 w 906515"/>
                <a:gd name="connsiteY51" fmla="*/ 93558 h 699414"/>
                <a:gd name="connsiteX52" fmla="*/ 663991 w 906515"/>
                <a:gd name="connsiteY52" fmla="*/ 91742 h 699414"/>
                <a:gd name="connsiteX53" fmla="*/ 675799 w 906515"/>
                <a:gd name="connsiteY53" fmla="*/ 86292 h 699414"/>
                <a:gd name="connsiteX54" fmla="*/ 685791 w 906515"/>
                <a:gd name="connsiteY54" fmla="*/ 83567 h 699414"/>
                <a:gd name="connsiteX55" fmla="*/ 694874 w 906515"/>
                <a:gd name="connsiteY55" fmla="*/ 79933 h 699414"/>
                <a:gd name="connsiteX56" fmla="*/ 713041 w 906515"/>
                <a:gd name="connsiteY56" fmla="*/ 98100 h 699414"/>
                <a:gd name="connsiteX57" fmla="*/ 724849 w 906515"/>
                <a:gd name="connsiteY57" fmla="*/ 109000 h 699414"/>
                <a:gd name="connsiteX58" fmla="*/ 733932 w 906515"/>
                <a:gd name="connsiteY58" fmla="*/ 111725 h 699414"/>
                <a:gd name="connsiteX59" fmla="*/ 738474 w 906515"/>
                <a:gd name="connsiteY59" fmla="*/ 111725 h 699414"/>
                <a:gd name="connsiteX60" fmla="*/ 740291 w 906515"/>
                <a:gd name="connsiteY60" fmla="*/ 110816 h 699414"/>
                <a:gd name="connsiteX61" fmla="*/ 742107 w 906515"/>
                <a:gd name="connsiteY61" fmla="*/ 107183 h 699414"/>
                <a:gd name="connsiteX62" fmla="*/ 740291 w 906515"/>
                <a:gd name="connsiteY62" fmla="*/ 101733 h 699414"/>
                <a:gd name="connsiteX63" fmla="*/ 736657 w 906515"/>
                <a:gd name="connsiteY63" fmla="*/ 95375 h 699414"/>
                <a:gd name="connsiteX64" fmla="*/ 734841 w 906515"/>
                <a:gd name="connsiteY64" fmla="*/ 89925 h 699414"/>
                <a:gd name="connsiteX65" fmla="*/ 733932 w 906515"/>
                <a:gd name="connsiteY65" fmla="*/ 76300 h 699414"/>
                <a:gd name="connsiteX66" fmla="*/ 734841 w 906515"/>
                <a:gd name="connsiteY66" fmla="*/ 68125 h 699414"/>
                <a:gd name="connsiteX67" fmla="*/ 740291 w 906515"/>
                <a:gd name="connsiteY67" fmla="*/ 62675 h 699414"/>
                <a:gd name="connsiteX68" fmla="*/ 746649 w 906515"/>
                <a:gd name="connsiteY68" fmla="*/ 59042 h 699414"/>
                <a:gd name="connsiteX69" fmla="*/ 755732 w 906515"/>
                <a:gd name="connsiteY69" fmla="*/ 59042 h 699414"/>
                <a:gd name="connsiteX70" fmla="*/ 765724 w 906515"/>
                <a:gd name="connsiteY70" fmla="*/ 59042 h 699414"/>
                <a:gd name="connsiteX71" fmla="*/ 784799 w 906515"/>
                <a:gd name="connsiteY71" fmla="*/ 62675 h 699414"/>
                <a:gd name="connsiteX72" fmla="*/ 799332 w 906515"/>
                <a:gd name="connsiteY72" fmla="*/ 64492 h 699414"/>
                <a:gd name="connsiteX73" fmla="*/ 804782 w 906515"/>
                <a:gd name="connsiteY73" fmla="*/ 64492 h 699414"/>
                <a:gd name="connsiteX74" fmla="*/ 804782 w 906515"/>
                <a:gd name="connsiteY74" fmla="*/ 62675 h 699414"/>
                <a:gd name="connsiteX75" fmla="*/ 804782 w 906515"/>
                <a:gd name="connsiteY75" fmla="*/ 60858 h 699414"/>
                <a:gd name="connsiteX76" fmla="*/ 804782 w 906515"/>
                <a:gd name="connsiteY76" fmla="*/ 56317 h 699414"/>
                <a:gd name="connsiteX77" fmla="*/ 806599 w 906515"/>
                <a:gd name="connsiteY77" fmla="*/ 58133 h 699414"/>
                <a:gd name="connsiteX78" fmla="*/ 812957 w 906515"/>
                <a:gd name="connsiteY78" fmla="*/ 69942 h 699414"/>
                <a:gd name="connsiteX79" fmla="*/ 823857 w 906515"/>
                <a:gd name="connsiteY79" fmla="*/ 85383 h 699414"/>
                <a:gd name="connsiteX80" fmla="*/ 828399 w 906515"/>
                <a:gd name="connsiteY80" fmla="*/ 88108 h 699414"/>
                <a:gd name="connsiteX81" fmla="*/ 830215 w 906515"/>
                <a:gd name="connsiteY81" fmla="*/ 88108 h 699414"/>
                <a:gd name="connsiteX82" fmla="*/ 833849 w 906515"/>
                <a:gd name="connsiteY82" fmla="*/ 88108 h 699414"/>
                <a:gd name="connsiteX83" fmla="*/ 842024 w 906515"/>
                <a:gd name="connsiteY83" fmla="*/ 81750 h 699414"/>
                <a:gd name="connsiteX84" fmla="*/ 849290 w 906515"/>
                <a:gd name="connsiteY84" fmla="*/ 81750 h 699414"/>
                <a:gd name="connsiteX85" fmla="*/ 852015 w 906515"/>
                <a:gd name="connsiteY85" fmla="*/ 83567 h 699414"/>
                <a:gd name="connsiteX86" fmla="*/ 855649 w 906515"/>
                <a:gd name="connsiteY86" fmla="*/ 88108 h 699414"/>
                <a:gd name="connsiteX87" fmla="*/ 861099 w 906515"/>
                <a:gd name="connsiteY87" fmla="*/ 103550 h 699414"/>
                <a:gd name="connsiteX88" fmla="*/ 865640 w 906515"/>
                <a:gd name="connsiteY88" fmla="*/ 113541 h 699414"/>
                <a:gd name="connsiteX89" fmla="*/ 874724 w 906515"/>
                <a:gd name="connsiteY89" fmla="*/ 125350 h 699414"/>
                <a:gd name="connsiteX90" fmla="*/ 881082 w 906515"/>
                <a:gd name="connsiteY90" fmla="*/ 136250 h 699414"/>
                <a:gd name="connsiteX91" fmla="*/ 884715 w 906515"/>
                <a:gd name="connsiteY91" fmla="*/ 142608 h 699414"/>
                <a:gd name="connsiteX92" fmla="*/ 884715 w 906515"/>
                <a:gd name="connsiteY92" fmla="*/ 149875 h 699414"/>
                <a:gd name="connsiteX93" fmla="*/ 882899 w 906515"/>
                <a:gd name="connsiteY93" fmla="*/ 156233 h 699414"/>
                <a:gd name="connsiteX94" fmla="*/ 882899 w 906515"/>
                <a:gd name="connsiteY94" fmla="*/ 164408 h 699414"/>
                <a:gd name="connsiteX95" fmla="*/ 886532 w 906515"/>
                <a:gd name="connsiteY95" fmla="*/ 176216 h 699414"/>
                <a:gd name="connsiteX96" fmla="*/ 892890 w 906515"/>
                <a:gd name="connsiteY96" fmla="*/ 193475 h 699414"/>
                <a:gd name="connsiteX97" fmla="*/ 906515 w 906515"/>
                <a:gd name="connsiteY97" fmla="*/ 217091 h 699414"/>
                <a:gd name="connsiteX98" fmla="*/ 898340 w 906515"/>
                <a:gd name="connsiteY98" fmla="*/ 220724 h 699414"/>
                <a:gd name="connsiteX99" fmla="*/ 891074 w 906515"/>
                <a:gd name="connsiteY99" fmla="*/ 224358 h 699414"/>
                <a:gd name="connsiteX100" fmla="*/ 884715 w 906515"/>
                <a:gd name="connsiteY100" fmla="*/ 230716 h 699414"/>
                <a:gd name="connsiteX101" fmla="*/ 882899 w 906515"/>
                <a:gd name="connsiteY101" fmla="*/ 234349 h 699414"/>
                <a:gd name="connsiteX102" fmla="*/ 882899 w 906515"/>
                <a:gd name="connsiteY102" fmla="*/ 240708 h 699414"/>
                <a:gd name="connsiteX103" fmla="*/ 879265 w 906515"/>
                <a:gd name="connsiteY103" fmla="*/ 247974 h 699414"/>
                <a:gd name="connsiteX104" fmla="*/ 875632 w 906515"/>
                <a:gd name="connsiteY104" fmla="*/ 253424 h 699414"/>
                <a:gd name="connsiteX105" fmla="*/ 869274 w 906515"/>
                <a:gd name="connsiteY105" fmla="*/ 254333 h 699414"/>
                <a:gd name="connsiteX106" fmla="*/ 862915 w 906515"/>
                <a:gd name="connsiteY106" fmla="*/ 254333 h 699414"/>
                <a:gd name="connsiteX107" fmla="*/ 849290 w 906515"/>
                <a:gd name="connsiteY107" fmla="*/ 253424 h 699414"/>
                <a:gd name="connsiteX108" fmla="*/ 843840 w 906515"/>
                <a:gd name="connsiteY108" fmla="*/ 253424 h 699414"/>
                <a:gd name="connsiteX109" fmla="*/ 838390 w 906515"/>
                <a:gd name="connsiteY109" fmla="*/ 256149 h 699414"/>
                <a:gd name="connsiteX110" fmla="*/ 837482 w 906515"/>
                <a:gd name="connsiteY110" fmla="*/ 257966 h 699414"/>
                <a:gd name="connsiteX111" fmla="*/ 838390 w 906515"/>
                <a:gd name="connsiteY111" fmla="*/ 257966 h 699414"/>
                <a:gd name="connsiteX112" fmla="*/ 843840 w 906515"/>
                <a:gd name="connsiteY112" fmla="*/ 259783 h 699414"/>
                <a:gd name="connsiteX113" fmla="*/ 862915 w 906515"/>
                <a:gd name="connsiteY113" fmla="*/ 263416 h 699414"/>
                <a:gd name="connsiteX114" fmla="*/ 869274 w 906515"/>
                <a:gd name="connsiteY114" fmla="*/ 266141 h 699414"/>
                <a:gd name="connsiteX115" fmla="*/ 871090 w 906515"/>
                <a:gd name="connsiteY115" fmla="*/ 266141 h 699414"/>
                <a:gd name="connsiteX116" fmla="*/ 872907 w 906515"/>
                <a:gd name="connsiteY116" fmla="*/ 267958 h 699414"/>
                <a:gd name="connsiteX117" fmla="*/ 871090 w 906515"/>
                <a:gd name="connsiteY117" fmla="*/ 269774 h 699414"/>
                <a:gd name="connsiteX118" fmla="*/ 869274 w 906515"/>
                <a:gd name="connsiteY118" fmla="*/ 273408 h 699414"/>
                <a:gd name="connsiteX119" fmla="*/ 855649 w 906515"/>
                <a:gd name="connsiteY119" fmla="*/ 278858 h 699414"/>
                <a:gd name="connsiteX120" fmla="*/ 849290 w 906515"/>
                <a:gd name="connsiteY120" fmla="*/ 283399 h 699414"/>
                <a:gd name="connsiteX121" fmla="*/ 845657 w 906515"/>
                <a:gd name="connsiteY121" fmla="*/ 288849 h 699414"/>
                <a:gd name="connsiteX122" fmla="*/ 843840 w 906515"/>
                <a:gd name="connsiteY122" fmla="*/ 293391 h 699414"/>
                <a:gd name="connsiteX123" fmla="*/ 842024 w 906515"/>
                <a:gd name="connsiteY123" fmla="*/ 300657 h 699414"/>
                <a:gd name="connsiteX124" fmla="*/ 842024 w 906515"/>
                <a:gd name="connsiteY124" fmla="*/ 305199 h 699414"/>
                <a:gd name="connsiteX125" fmla="*/ 840207 w 906515"/>
                <a:gd name="connsiteY125" fmla="*/ 310649 h 699414"/>
                <a:gd name="connsiteX126" fmla="*/ 835665 w 906515"/>
                <a:gd name="connsiteY126" fmla="*/ 314282 h 699414"/>
                <a:gd name="connsiteX127" fmla="*/ 828399 w 906515"/>
                <a:gd name="connsiteY127" fmla="*/ 317916 h 699414"/>
                <a:gd name="connsiteX128" fmla="*/ 814774 w 906515"/>
                <a:gd name="connsiteY128" fmla="*/ 318824 h 699414"/>
                <a:gd name="connsiteX129" fmla="*/ 801149 w 906515"/>
                <a:gd name="connsiteY129" fmla="*/ 324274 h 699414"/>
                <a:gd name="connsiteX130" fmla="*/ 779349 w 906515"/>
                <a:gd name="connsiteY130" fmla="*/ 332449 h 699414"/>
                <a:gd name="connsiteX131" fmla="*/ 769357 w 906515"/>
                <a:gd name="connsiteY131" fmla="*/ 336082 h 699414"/>
                <a:gd name="connsiteX132" fmla="*/ 760274 w 906515"/>
                <a:gd name="connsiteY132" fmla="*/ 337899 h 699414"/>
                <a:gd name="connsiteX133" fmla="*/ 752099 w 906515"/>
                <a:gd name="connsiteY133" fmla="*/ 337899 h 699414"/>
                <a:gd name="connsiteX134" fmla="*/ 745741 w 906515"/>
                <a:gd name="connsiteY134" fmla="*/ 332449 h 699414"/>
                <a:gd name="connsiteX135" fmla="*/ 742107 w 906515"/>
                <a:gd name="connsiteY135" fmla="*/ 329724 h 699414"/>
                <a:gd name="connsiteX136" fmla="*/ 738474 w 906515"/>
                <a:gd name="connsiteY136" fmla="*/ 327907 h 699414"/>
                <a:gd name="connsiteX137" fmla="*/ 734841 w 906515"/>
                <a:gd name="connsiteY137" fmla="*/ 327907 h 699414"/>
                <a:gd name="connsiteX138" fmla="*/ 732116 w 906515"/>
                <a:gd name="connsiteY138" fmla="*/ 329724 h 699414"/>
                <a:gd name="connsiteX139" fmla="*/ 728482 w 906515"/>
                <a:gd name="connsiteY139" fmla="*/ 334266 h 699414"/>
                <a:gd name="connsiteX140" fmla="*/ 723032 w 906515"/>
                <a:gd name="connsiteY140" fmla="*/ 343349 h 699414"/>
                <a:gd name="connsiteX141" fmla="*/ 720307 w 906515"/>
                <a:gd name="connsiteY141" fmla="*/ 351524 h 699414"/>
                <a:gd name="connsiteX142" fmla="*/ 714857 w 906515"/>
                <a:gd name="connsiteY142" fmla="*/ 356066 h 699414"/>
                <a:gd name="connsiteX143" fmla="*/ 711224 w 906515"/>
                <a:gd name="connsiteY143" fmla="*/ 357882 h 699414"/>
                <a:gd name="connsiteX144" fmla="*/ 707591 w 906515"/>
                <a:gd name="connsiteY144" fmla="*/ 357882 h 699414"/>
                <a:gd name="connsiteX145" fmla="*/ 703049 w 906515"/>
                <a:gd name="connsiteY145" fmla="*/ 356066 h 699414"/>
                <a:gd name="connsiteX146" fmla="*/ 699416 w 906515"/>
                <a:gd name="connsiteY146" fmla="*/ 351524 h 699414"/>
                <a:gd name="connsiteX147" fmla="*/ 693057 w 906515"/>
                <a:gd name="connsiteY147" fmla="*/ 346074 h 699414"/>
                <a:gd name="connsiteX148" fmla="*/ 685791 w 906515"/>
                <a:gd name="connsiteY148" fmla="*/ 341532 h 699414"/>
                <a:gd name="connsiteX149" fmla="*/ 681249 w 906515"/>
                <a:gd name="connsiteY149" fmla="*/ 339716 h 699414"/>
                <a:gd name="connsiteX150" fmla="*/ 677616 w 906515"/>
                <a:gd name="connsiteY150" fmla="*/ 339716 h 699414"/>
                <a:gd name="connsiteX151" fmla="*/ 672166 w 906515"/>
                <a:gd name="connsiteY151" fmla="*/ 339716 h 699414"/>
                <a:gd name="connsiteX152" fmla="*/ 669441 w 906515"/>
                <a:gd name="connsiteY152" fmla="*/ 341532 h 699414"/>
                <a:gd name="connsiteX153" fmla="*/ 662174 w 906515"/>
                <a:gd name="connsiteY153" fmla="*/ 347891 h 699414"/>
                <a:gd name="connsiteX154" fmla="*/ 656724 w 906515"/>
                <a:gd name="connsiteY154" fmla="*/ 356066 h 699414"/>
                <a:gd name="connsiteX155" fmla="*/ 653999 w 906515"/>
                <a:gd name="connsiteY155" fmla="*/ 365149 h 699414"/>
                <a:gd name="connsiteX156" fmla="*/ 648549 w 906515"/>
                <a:gd name="connsiteY156" fmla="*/ 371507 h 699414"/>
                <a:gd name="connsiteX157" fmla="*/ 646732 w 906515"/>
                <a:gd name="connsiteY157" fmla="*/ 376957 h 699414"/>
                <a:gd name="connsiteX158" fmla="*/ 643099 w 906515"/>
                <a:gd name="connsiteY158" fmla="*/ 375140 h 699414"/>
                <a:gd name="connsiteX159" fmla="*/ 636741 w 906515"/>
                <a:gd name="connsiteY159" fmla="*/ 371507 h 699414"/>
                <a:gd name="connsiteX160" fmla="*/ 630382 w 906515"/>
                <a:gd name="connsiteY160" fmla="*/ 366966 h 699414"/>
                <a:gd name="connsiteX161" fmla="*/ 628566 w 906515"/>
                <a:gd name="connsiteY161" fmla="*/ 359699 h 699414"/>
                <a:gd name="connsiteX162" fmla="*/ 624932 w 906515"/>
                <a:gd name="connsiteY162" fmla="*/ 355157 h 699414"/>
                <a:gd name="connsiteX163" fmla="*/ 619482 w 906515"/>
                <a:gd name="connsiteY163" fmla="*/ 351524 h 699414"/>
                <a:gd name="connsiteX164" fmla="*/ 614941 w 906515"/>
                <a:gd name="connsiteY164" fmla="*/ 349707 h 699414"/>
                <a:gd name="connsiteX165" fmla="*/ 610991 w 906515"/>
                <a:gd name="connsiteY165" fmla="*/ 351024 h 699414"/>
                <a:gd name="connsiteX166" fmla="*/ 594568 w 906515"/>
                <a:gd name="connsiteY166" fmla="*/ 342113 h 699414"/>
                <a:gd name="connsiteX167" fmla="*/ 549447 w 906515"/>
                <a:gd name="connsiteY167" fmla="*/ 343292 h 699414"/>
                <a:gd name="connsiteX168" fmla="*/ 519329 w 906515"/>
                <a:gd name="connsiteY168" fmla="*/ 362754 h 699414"/>
                <a:gd name="connsiteX169" fmla="*/ 513208 w 906515"/>
                <a:gd name="connsiteY169" fmla="*/ 372934 h 699414"/>
                <a:gd name="connsiteX170" fmla="*/ 513208 w 906515"/>
                <a:gd name="connsiteY170" fmla="*/ 369690 h 699414"/>
                <a:gd name="connsiteX171" fmla="*/ 511391 w 906515"/>
                <a:gd name="connsiteY171" fmla="*/ 366966 h 699414"/>
                <a:gd name="connsiteX172" fmla="*/ 505941 w 906515"/>
                <a:gd name="connsiteY172" fmla="*/ 361516 h 699414"/>
                <a:gd name="connsiteX173" fmla="*/ 499583 w 906515"/>
                <a:gd name="connsiteY173" fmla="*/ 357882 h 699414"/>
                <a:gd name="connsiteX174" fmla="*/ 484141 w 906515"/>
                <a:gd name="connsiteY174" fmla="*/ 349707 h 699414"/>
                <a:gd name="connsiteX175" fmla="*/ 474149 w 906515"/>
                <a:gd name="connsiteY175" fmla="*/ 347891 h 699414"/>
                <a:gd name="connsiteX176" fmla="*/ 472333 w 906515"/>
                <a:gd name="connsiteY176" fmla="*/ 347891 h 699414"/>
                <a:gd name="connsiteX177" fmla="*/ 470516 w 906515"/>
                <a:gd name="connsiteY177" fmla="*/ 347891 h 699414"/>
                <a:gd name="connsiteX178" fmla="*/ 470516 w 906515"/>
                <a:gd name="connsiteY178" fmla="*/ 351524 h 699414"/>
                <a:gd name="connsiteX179" fmla="*/ 478691 w 906515"/>
                <a:gd name="connsiteY179" fmla="*/ 366966 h 699414"/>
                <a:gd name="connsiteX180" fmla="*/ 482324 w 906515"/>
                <a:gd name="connsiteY180" fmla="*/ 376957 h 699414"/>
                <a:gd name="connsiteX181" fmla="*/ 484141 w 906515"/>
                <a:gd name="connsiteY181" fmla="*/ 386949 h 699414"/>
                <a:gd name="connsiteX182" fmla="*/ 484141 w 906515"/>
                <a:gd name="connsiteY182" fmla="*/ 414199 h 699414"/>
                <a:gd name="connsiteX183" fmla="*/ 482324 w 906515"/>
                <a:gd name="connsiteY183" fmla="*/ 420557 h 699414"/>
                <a:gd name="connsiteX184" fmla="*/ 480508 w 906515"/>
                <a:gd name="connsiteY184" fmla="*/ 426007 h 699414"/>
                <a:gd name="connsiteX185" fmla="*/ 476874 w 906515"/>
                <a:gd name="connsiteY185" fmla="*/ 429640 h 699414"/>
                <a:gd name="connsiteX186" fmla="*/ 474149 w 906515"/>
                <a:gd name="connsiteY186" fmla="*/ 431457 h 699414"/>
                <a:gd name="connsiteX187" fmla="*/ 468699 w 906515"/>
                <a:gd name="connsiteY187" fmla="*/ 431457 h 699414"/>
                <a:gd name="connsiteX188" fmla="*/ 462341 w 906515"/>
                <a:gd name="connsiteY188" fmla="*/ 434182 h 699414"/>
                <a:gd name="connsiteX189" fmla="*/ 453258 w 906515"/>
                <a:gd name="connsiteY189" fmla="*/ 437815 h 699414"/>
                <a:gd name="connsiteX190" fmla="*/ 443266 w 906515"/>
                <a:gd name="connsiteY190" fmla="*/ 446899 h 699414"/>
                <a:gd name="connsiteX191" fmla="*/ 439633 w 906515"/>
                <a:gd name="connsiteY191" fmla="*/ 451440 h 699414"/>
                <a:gd name="connsiteX192" fmla="*/ 435091 w 906515"/>
                <a:gd name="connsiteY192" fmla="*/ 453257 h 699414"/>
                <a:gd name="connsiteX193" fmla="*/ 431458 w 906515"/>
                <a:gd name="connsiteY193" fmla="*/ 451440 h 699414"/>
                <a:gd name="connsiteX194" fmla="*/ 427824 w 906515"/>
                <a:gd name="connsiteY194" fmla="*/ 449624 h 699414"/>
                <a:gd name="connsiteX195" fmla="*/ 424191 w 906515"/>
                <a:gd name="connsiteY195" fmla="*/ 443265 h 699414"/>
                <a:gd name="connsiteX196" fmla="*/ 421466 w 906515"/>
                <a:gd name="connsiteY196" fmla="*/ 433274 h 699414"/>
                <a:gd name="connsiteX197" fmla="*/ 417833 w 906515"/>
                <a:gd name="connsiteY197" fmla="*/ 412382 h 699414"/>
                <a:gd name="connsiteX198" fmla="*/ 417833 w 906515"/>
                <a:gd name="connsiteY198" fmla="*/ 407840 h 699414"/>
                <a:gd name="connsiteX199" fmla="*/ 416016 w 906515"/>
                <a:gd name="connsiteY199" fmla="*/ 407840 h 699414"/>
                <a:gd name="connsiteX200" fmla="*/ 416016 w 906515"/>
                <a:gd name="connsiteY200" fmla="*/ 417832 h 699414"/>
                <a:gd name="connsiteX201" fmla="*/ 417833 w 906515"/>
                <a:gd name="connsiteY201" fmla="*/ 431457 h 699414"/>
                <a:gd name="connsiteX202" fmla="*/ 421466 w 906515"/>
                <a:gd name="connsiteY202" fmla="*/ 458707 h 699414"/>
                <a:gd name="connsiteX203" fmla="*/ 421466 w 906515"/>
                <a:gd name="connsiteY203" fmla="*/ 468698 h 699414"/>
                <a:gd name="connsiteX204" fmla="*/ 419649 w 906515"/>
                <a:gd name="connsiteY204" fmla="*/ 472332 h 699414"/>
                <a:gd name="connsiteX205" fmla="*/ 417833 w 906515"/>
                <a:gd name="connsiteY205" fmla="*/ 475057 h 699414"/>
                <a:gd name="connsiteX206" fmla="*/ 414199 w 906515"/>
                <a:gd name="connsiteY206" fmla="*/ 475057 h 699414"/>
                <a:gd name="connsiteX207" fmla="*/ 407841 w 906515"/>
                <a:gd name="connsiteY207" fmla="*/ 475057 h 699414"/>
                <a:gd name="connsiteX208" fmla="*/ 400574 w 906515"/>
                <a:gd name="connsiteY208" fmla="*/ 473240 h 699414"/>
                <a:gd name="connsiteX209" fmla="*/ 392400 w 906515"/>
                <a:gd name="connsiteY209" fmla="*/ 468698 h 699414"/>
                <a:gd name="connsiteX210" fmla="*/ 390583 w 906515"/>
                <a:gd name="connsiteY210" fmla="*/ 468698 h 699414"/>
                <a:gd name="connsiteX211" fmla="*/ 388766 w 906515"/>
                <a:gd name="connsiteY211" fmla="*/ 468698 h 699414"/>
                <a:gd name="connsiteX212" fmla="*/ 382408 w 906515"/>
                <a:gd name="connsiteY212" fmla="*/ 473240 h 699414"/>
                <a:gd name="connsiteX213" fmla="*/ 366966 w 906515"/>
                <a:gd name="connsiteY213" fmla="*/ 488682 h 699414"/>
                <a:gd name="connsiteX214" fmla="*/ 359700 w 906515"/>
                <a:gd name="connsiteY214" fmla="*/ 494132 h 699414"/>
                <a:gd name="connsiteX215" fmla="*/ 356975 w 906515"/>
                <a:gd name="connsiteY215" fmla="*/ 494132 h 699414"/>
                <a:gd name="connsiteX216" fmla="*/ 353341 w 906515"/>
                <a:gd name="connsiteY216" fmla="*/ 494132 h 699414"/>
                <a:gd name="connsiteX217" fmla="*/ 351525 w 906515"/>
                <a:gd name="connsiteY217" fmla="*/ 492315 h 699414"/>
                <a:gd name="connsiteX218" fmla="*/ 349708 w 906515"/>
                <a:gd name="connsiteY218" fmla="*/ 488682 h 699414"/>
                <a:gd name="connsiteX219" fmla="*/ 347891 w 906515"/>
                <a:gd name="connsiteY219" fmla="*/ 475057 h 699414"/>
                <a:gd name="connsiteX220" fmla="*/ 347891 w 906515"/>
                <a:gd name="connsiteY220" fmla="*/ 468698 h 699414"/>
                <a:gd name="connsiteX221" fmla="*/ 346075 w 906515"/>
                <a:gd name="connsiteY221" fmla="*/ 468698 h 699414"/>
                <a:gd name="connsiteX222" fmla="*/ 341533 w 906515"/>
                <a:gd name="connsiteY222" fmla="*/ 478690 h 699414"/>
                <a:gd name="connsiteX223" fmla="*/ 337900 w 906515"/>
                <a:gd name="connsiteY223" fmla="*/ 485048 h 699414"/>
                <a:gd name="connsiteX224" fmla="*/ 334266 w 906515"/>
                <a:gd name="connsiteY224" fmla="*/ 492315 h 699414"/>
                <a:gd name="connsiteX225" fmla="*/ 329725 w 906515"/>
                <a:gd name="connsiteY225" fmla="*/ 497765 h 699414"/>
                <a:gd name="connsiteX226" fmla="*/ 326091 w 906515"/>
                <a:gd name="connsiteY226" fmla="*/ 498673 h 699414"/>
                <a:gd name="connsiteX227" fmla="*/ 322458 w 906515"/>
                <a:gd name="connsiteY227" fmla="*/ 498673 h 699414"/>
                <a:gd name="connsiteX228" fmla="*/ 317916 w 906515"/>
                <a:gd name="connsiteY228" fmla="*/ 498673 h 699414"/>
                <a:gd name="connsiteX229" fmla="*/ 314283 w 906515"/>
                <a:gd name="connsiteY229" fmla="*/ 497765 h 699414"/>
                <a:gd name="connsiteX230" fmla="*/ 312466 w 906515"/>
                <a:gd name="connsiteY230" fmla="*/ 494132 h 699414"/>
                <a:gd name="connsiteX231" fmla="*/ 310650 w 906515"/>
                <a:gd name="connsiteY231" fmla="*/ 492315 h 699414"/>
                <a:gd name="connsiteX232" fmla="*/ 308833 w 906515"/>
                <a:gd name="connsiteY232" fmla="*/ 492315 h 699414"/>
                <a:gd name="connsiteX233" fmla="*/ 298841 w 906515"/>
                <a:gd name="connsiteY233" fmla="*/ 492315 h 699414"/>
                <a:gd name="connsiteX234" fmla="*/ 295208 w 906515"/>
                <a:gd name="connsiteY234" fmla="*/ 492315 h 699414"/>
                <a:gd name="connsiteX235" fmla="*/ 292483 w 906515"/>
                <a:gd name="connsiteY235" fmla="*/ 490498 h 699414"/>
                <a:gd name="connsiteX236" fmla="*/ 285216 w 906515"/>
                <a:gd name="connsiteY236" fmla="*/ 485048 h 699414"/>
                <a:gd name="connsiteX237" fmla="*/ 283400 w 906515"/>
                <a:gd name="connsiteY237" fmla="*/ 485048 h 699414"/>
                <a:gd name="connsiteX238" fmla="*/ 281583 w 906515"/>
                <a:gd name="connsiteY238" fmla="*/ 485048 h 699414"/>
                <a:gd name="connsiteX239" fmla="*/ 283400 w 906515"/>
                <a:gd name="connsiteY239" fmla="*/ 492315 h 699414"/>
                <a:gd name="connsiteX240" fmla="*/ 285216 w 906515"/>
                <a:gd name="connsiteY240" fmla="*/ 497765 h 699414"/>
                <a:gd name="connsiteX241" fmla="*/ 285216 w 906515"/>
                <a:gd name="connsiteY241" fmla="*/ 502307 h 699414"/>
                <a:gd name="connsiteX242" fmla="*/ 283400 w 906515"/>
                <a:gd name="connsiteY242" fmla="*/ 505940 h 699414"/>
                <a:gd name="connsiteX243" fmla="*/ 280675 w 906515"/>
                <a:gd name="connsiteY243" fmla="*/ 507757 h 699414"/>
                <a:gd name="connsiteX244" fmla="*/ 275225 w 906515"/>
                <a:gd name="connsiteY244" fmla="*/ 507757 h 699414"/>
                <a:gd name="connsiteX245" fmla="*/ 269775 w 906515"/>
                <a:gd name="connsiteY245" fmla="*/ 507757 h 699414"/>
                <a:gd name="connsiteX246" fmla="*/ 265233 w 906515"/>
                <a:gd name="connsiteY246" fmla="*/ 504123 h 699414"/>
                <a:gd name="connsiteX247" fmla="*/ 261600 w 906515"/>
                <a:gd name="connsiteY247" fmla="*/ 500490 h 699414"/>
                <a:gd name="connsiteX248" fmla="*/ 256150 w 906515"/>
                <a:gd name="connsiteY248" fmla="*/ 495948 h 699414"/>
                <a:gd name="connsiteX249" fmla="*/ 255241 w 906515"/>
                <a:gd name="connsiteY249" fmla="*/ 494132 h 699414"/>
                <a:gd name="connsiteX250" fmla="*/ 255241 w 906515"/>
                <a:gd name="connsiteY250" fmla="*/ 495948 h 699414"/>
                <a:gd name="connsiteX251" fmla="*/ 256150 w 906515"/>
                <a:gd name="connsiteY251" fmla="*/ 505940 h 699414"/>
                <a:gd name="connsiteX252" fmla="*/ 256150 w 906515"/>
                <a:gd name="connsiteY252" fmla="*/ 512298 h 699414"/>
                <a:gd name="connsiteX253" fmla="*/ 255241 w 906515"/>
                <a:gd name="connsiteY253" fmla="*/ 519565 h 699414"/>
                <a:gd name="connsiteX254" fmla="*/ 253425 w 906515"/>
                <a:gd name="connsiteY254" fmla="*/ 523198 h 699414"/>
                <a:gd name="connsiteX255" fmla="*/ 251608 w 906515"/>
                <a:gd name="connsiteY255" fmla="*/ 525923 h 699414"/>
                <a:gd name="connsiteX256" fmla="*/ 246158 w 906515"/>
                <a:gd name="connsiteY256" fmla="*/ 525923 h 699414"/>
                <a:gd name="connsiteX257" fmla="*/ 241616 w 906515"/>
                <a:gd name="connsiteY257" fmla="*/ 527740 h 699414"/>
                <a:gd name="connsiteX258" fmla="*/ 228900 w 906515"/>
                <a:gd name="connsiteY258" fmla="*/ 527740 h 699414"/>
                <a:gd name="connsiteX259" fmla="*/ 220725 w 906515"/>
                <a:gd name="connsiteY259" fmla="*/ 529557 h 699414"/>
                <a:gd name="connsiteX260" fmla="*/ 210733 w 906515"/>
                <a:gd name="connsiteY260" fmla="*/ 533190 h 699414"/>
                <a:gd name="connsiteX261" fmla="*/ 205283 w 906515"/>
                <a:gd name="connsiteY261" fmla="*/ 536823 h 699414"/>
                <a:gd name="connsiteX262" fmla="*/ 202558 w 906515"/>
                <a:gd name="connsiteY262" fmla="*/ 536823 h 699414"/>
                <a:gd name="connsiteX263" fmla="*/ 197108 w 906515"/>
                <a:gd name="connsiteY263" fmla="*/ 536823 h 699414"/>
                <a:gd name="connsiteX264" fmla="*/ 189842 w 906515"/>
                <a:gd name="connsiteY264" fmla="*/ 535007 h 699414"/>
                <a:gd name="connsiteX265" fmla="*/ 181667 w 906515"/>
                <a:gd name="connsiteY265" fmla="*/ 535007 h 699414"/>
                <a:gd name="connsiteX266" fmla="*/ 168042 w 906515"/>
                <a:gd name="connsiteY266" fmla="*/ 537732 h 699414"/>
                <a:gd name="connsiteX267" fmla="*/ 154417 w 906515"/>
                <a:gd name="connsiteY267" fmla="*/ 543181 h 699414"/>
                <a:gd name="connsiteX268" fmla="*/ 138975 w 906515"/>
                <a:gd name="connsiteY268" fmla="*/ 546815 h 699414"/>
                <a:gd name="connsiteX269" fmla="*/ 134433 w 906515"/>
                <a:gd name="connsiteY269" fmla="*/ 548631 h 699414"/>
                <a:gd name="connsiteX270" fmla="*/ 128983 w 906515"/>
                <a:gd name="connsiteY270" fmla="*/ 553173 h 699414"/>
                <a:gd name="connsiteX271" fmla="*/ 120808 w 906515"/>
                <a:gd name="connsiteY271" fmla="*/ 562256 h 699414"/>
                <a:gd name="connsiteX272" fmla="*/ 117175 w 906515"/>
                <a:gd name="connsiteY272" fmla="*/ 564981 h 699414"/>
                <a:gd name="connsiteX273" fmla="*/ 113542 w 906515"/>
                <a:gd name="connsiteY273" fmla="*/ 564981 h 699414"/>
                <a:gd name="connsiteX274" fmla="*/ 110817 w 906515"/>
                <a:gd name="connsiteY274" fmla="*/ 563165 h 699414"/>
                <a:gd name="connsiteX275" fmla="*/ 107183 w 906515"/>
                <a:gd name="connsiteY275" fmla="*/ 556806 h 699414"/>
                <a:gd name="connsiteX276" fmla="*/ 105367 w 906515"/>
                <a:gd name="connsiteY276" fmla="*/ 546815 h 699414"/>
                <a:gd name="connsiteX277" fmla="*/ 103550 w 906515"/>
                <a:gd name="connsiteY277" fmla="*/ 544998 h 699414"/>
                <a:gd name="connsiteX278" fmla="*/ 101733 w 906515"/>
                <a:gd name="connsiteY278" fmla="*/ 544998 h 699414"/>
                <a:gd name="connsiteX279" fmla="*/ 99008 w 906515"/>
                <a:gd name="connsiteY279" fmla="*/ 546815 h 699414"/>
                <a:gd name="connsiteX280" fmla="*/ 97192 w 906515"/>
                <a:gd name="connsiteY280" fmla="*/ 553173 h 699414"/>
                <a:gd name="connsiteX281" fmla="*/ 89925 w 906515"/>
                <a:gd name="connsiteY281" fmla="*/ 572248 h 699414"/>
                <a:gd name="connsiteX282" fmla="*/ 86292 w 906515"/>
                <a:gd name="connsiteY282" fmla="*/ 580423 h 699414"/>
                <a:gd name="connsiteX283" fmla="*/ 83567 w 906515"/>
                <a:gd name="connsiteY283" fmla="*/ 585873 h 699414"/>
                <a:gd name="connsiteX284" fmla="*/ 71758 w 906515"/>
                <a:gd name="connsiteY284" fmla="*/ 594048 h 699414"/>
                <a:gd name="connsiteX285" fmla="*/ 64492 w 906515"/>
                <a:gd name="connsiteY285" fmla="*/ 601315 h 699414"/>
                <a:gd name="connsiteX286" fmla="*/ 64492 w 906515"/>
                <a:gd name="connsiteY286" fmla="*/ 605856 h 699414"/>
                <a:gd name="connsiteX287" fmla="*/ 66308 w 906515"/>
                <a:gd name="connsiteY287" fmla="*/ 609490 h 699414"/>
                <a:gd name="connsiteX288" fmla="*/ 76300 w 906515"/>
                <a:gd name="connsiteY288" fmla="*/ 617665 h 699414"/>
                <a:gd name="connsiteX289" fmla="*/ 79933 w 906515"/>
                <a:gd name="connsiteY289" fmla="*/ 624931 h 699414"/>
                <a:gd name="connsiteX290" fmla="*/ 83567 w 906515"/>
                <a:gd name="connsiteY290" fmla="*/ 633106 h 699414"/>
                <a:gd name="connsiteX291" fmla="*/ 86292 w 906515"/>
                <a:gd name="connsiteY291" fmla="*/ 641281 h 699414"/>
                <a:gd name="connsiteX292" fmla="*/ 89925 w 906515"/>
                <a:gd name="connsiteY292" fmla="*/ 650364 h 699414"/>
                <a:gd name="connsiteX293" fmla="*/ 95375 w 906515"/>
                <a:gd name="connsiteY293" fmla="*/ 658539 h 699414"/>
                <a:gd name="connsiteX294" fmla="*/ 99917 w 906515"/>
                <a:gd name="connsiteY294" fmla="*/ 666714 h 699414"/>
                <a:gd name="connsiteX295" fmla="*/ 101733 w 906515"/>
                <a:gd name="connsiteY295" fmla="*/ 673981 h 699414"/>
                <a:gd name="connsiteX296" fmla="*/ 101733 w 906515"/>
                <a:gd name="connsiteY296" fmla="*/ 679431 h 699414"/>
                <a:gd name="connsiteX297" fmla="*/ 99917 w 906515"/>
                <a:gd name="connsiteY297" fmla="*/ 682156 h 699414"/>
                <a:gd name="connsiteX298" fmla="*/ 99008 w 906515"/>
                <a:gd name="connsiteY298" fmla="*/ 685789 h 699414"/>
                <a:gd name="connsiteX299" fmla="*/ 93558 w 906515"/>
                <a:gd name="connsiteY299" fmla="*/ 689423 h 699414"/>
                <a:gd name="connsiteX300" fmla="*/ 79933 w 906515"/>
                <a:gd name="connsiteY300" fmla="*/ 695781 h 699414"/>
                <a:gd name="connsiteX301" fmla="*/ 71758 w 906515"/>
                <a:gd name="connsiteY301" fmla="*/ 697598 h 699414"/>
                <a:gd name="connsiteX302" fmla="*/ 62675 w 906515"/>
                <a:gd name="connsiteY302" fmla="*/ 699414 h 699414"/>
                <a:gd name="connsiteX303" fmla="*/ 58133 w 906515"/>
                <a:gd name="connsiteY303" fmla="*/ 697598 h 699414"/>
                <a:gd name="connsiteX304" fmla="*/ 52683 w 906515"/>
                <a:gd name="connsiteY304" fmla="*/ 695781 h 699414"/>
                <a:gd name="connsiteX305" fmla="*/ 49050 w 906515"/>
                <a:gd name="connsiteY305" fmla="*/ 691239 h 699414"/>
                <a:gd name="connsiteX306" fmla="*/ 46325 w 906515"/>
                <a:gd name="connsiteY306" fmla="*/ 685789 h 699414"/>
                <a:gd name="connsiteX307" fmla="*/ 40875 w 906515"/>
                <a:gd name="connsiteY307" fmla="*/ 673981 h 699414"/>
                <a:gd name="connsiteX308" fmla="*/ 39059 w 906515"/>
                <a:gd name="connsiteY308" fmla="*/ 668531 h 699414"/>
                <a:gd name="connsiteX309" fmla="*/ 37242 w 906515"/>
                <a:gd name="connsiteY309" fmla="*/ 666714 h 699414"/>
                <a:gd name="connsiteX310" fmla="*/ 34517 w 906515"/>
                <a:gd name="connsiteY310" fmla="*/ 665806 h 699414"/>
                <a:gd name="connsiteX311" fmla="*/ 30884 w 906515"/>
                <a:gd name="connsiteY311" fmla="*/ 663989 h 699414"/>
                <a:gd name="connsiteX312" fmla="*/ 25434 w 906515"/>
                <a:gd name="connsiteY312" fmla="*/ 658539 h 699414"/>
                <a:gd name="connsiteX313" fmla="*/ 19075 w 906515"/>
                <a:gd name="connsiteY313" fmla="*/ 650364 h 699414"/>
                <a:gd name="connsiteX314" fmla="*/ 9992 w 906515"/>
                <a:gd name="connsiteY314" fmla="*/ 634923 h 699414"/>
                <a:gd name="connsiteX315" fmla="*/ 5450 w 906515"/>
                <a:gd name="connsiteY315" fmla="*/ 623115 h 699414"/>
                <a:gd name="connsiteX316" fmla="*/ 1817 w 906515"/>
                <a:gd name="connsiteY316" fmla="*/ 615848 h 699414"/>
                <a:gd name="connsiteX317" fmla="*/ 0 w 906515"/>
                <a:gd name="connsiteY317" fmla="*/ 611306 h 699414"/>
                <a:gd name="connsiteX318" fmla="*/ 1817 w 906515"/>
                <a:gd name="connsiteY318" fmla="*/ 607673 h 699414"/>
                <a:gd name="connsiteX319" fmla="*/ 5450 w 906515"/>
                <a:gd name="connsiteY319" fmla="*/ 601315 h 699414"/>
                <a:gd name="connsiteX320" fmla="*/ 5450 w 906515"/>
                <a:gd name="connsiteY320" fmla="*/ 595865 h 699414"/>
                <a:gd name="connsiteX321" fmla="*/ 5450 w 906515"/>
                <a:gd name="connsiteY321" fmla="*/ 588598 h 699414"/>
                <a:gd name="connsiteX322" fmla="*/ 5450 w 906515"/>
                <a:gd name="connsiteY322" fmla="*/ 580423 h 699414"/>
                <a:gd name="connsiteX323" fmla="*/ 7267 w 906515"/>
                <a:gd name="connsiteY323" fmla="*/ 574065 h 699414"/>
                <a:gd name="connsiteX324" fmla="*/ 9992 w 906515"/>
                <a:gd name="connsiteY324" fmla="*/ 566798 h 699414"/>
                <a:gd name="connsiteX325" fmla="*/ 13625 w 906515"/>
                <a:gd name="connsiteY325" fmla="*/ 558623 h 699414"/>
                <a:gd name="connsiteX326" fmla="*/ 15442 w 906515"/>
                <a:gd name="connsiteY326" fmla="*/ 554990 h 699414"/>
                <a:gd name="connsiteX327" fmla="*/ 19075 w 906515"/>
                <a:gd name="connsiteY327" fmla="*/ 551356 h 699414"/>
                <a:gd name="connsiteX328" fmla="*/ 27250 w 906515"/>
                <a:gd name="connsiteY328" fmla="*/ 543181 h 699414"/>
                <a:gd name="connsiteX329" fmla="*/ 29067 w 906515"/>
                <a:gd name="connsiteY329" fmla="*/ 539548 h 699414"/>
                <a:gd name="connsiteX330" fmla="*/ 29067 w 906515"/>
                <a:gd name="connsiteY330" fmla="*/ 536823 h 699414"/>
                <a:gd name="connsiteX331" fmla="*/ 23617 w 906515"/>
                <a:gd name="connsiteY331" fmla="*/ 535007 h 699414"/>
                <a:gd name="connsiteX332" fmla="*/ 15442 w 906515"/>
                <a:gd name="connsiteY332" fmla="*/ 533190 h 699414"/>
                <a:gd name="connsiteX333" fmla="*/ 13625 w 906515"/>
                <a:gd name="connsiteY333" fmla="*/ 524107 h 699414"/>
                <a:gd name="connsiteX334" fmla="*/ 15442 w 906515"/>
                <a:gd name="connsiteY334" fmla="*/ 517748 h 699414"/>
                <a:gd name="connsiteX335" fmla="*/ 17259 w 906515"/>
                <a:gd name="connsiteY335" fmla="*/ 514115 h 699414"/>
                <a:gd name="connsiteX336" fmla="*/ 20892 w 906515"/>
                <a:gd name="connsiteY336" fmla="*/ 512298 h 699414"/>
                <a:gd name="connsiteX337" fmla="*/ 25434 w 906515"/>
                <a:gd name="connsiteY337" fmla="*/ 511390 h 699414"/>
                <a:gd name="connsiteX338" fmla="*/ 29067 w 906515"/>
                <a:gd name="connsiteY338" fmla="*/ 505940 h 699414"/>
                <a:gd name="connsiteX339" fmla="*/ 32700 w 906515"/>
                <a:gd name="connsiteY339" fmla="*/ 498673 h 699414"/>
                <a:gd name="connsiteX340" fmla="*/ 35425 w 906515"/>
                <a:gd name="connsiteY340" fmla="*/ 488682 h 699414"/>
                <a:gd name="connsiteX341" fmla="*/ 35425 w 906515"/>
                <a:gd name="connsiteY341" fmla="*/ 485048 h 699414"/>
                <a:gd name="connsiteX342" fmla="*/ 39059 w 906515"/>
                <a:gd name="connsiteY342" fmla="*/ 484140 h 699414"/>
                <a:gd name="connsiteX343" fmla="*/ 46325 w 906515"/>
                <a:gd name="connsiteY343" fmla="*/ 480507 h 699414"/>
                <a:gd name="connsiteX344" fmla="*/ 66308 w 906515"/>
                <a:gd name="connsiteY344" fmla="*/ 480507 h 699414"/>
                <a:gd name="connsiteX345" fmla="*/ 76300 w 906515"/>
                <a:gd name="connsiteY345" fmla="*/ 480507 h 699414"/>
                <a:gd name="connsiteX346" fmla="*/ 81750 w 906515"/>
                <a:gd name="connsiteY346" fmla="*/ 478690 h 699414"/>
                <a:gd name="connsiteX347" fmla="*/ 85383 w 906515"/>
                <a:gd name="connsiteY347" fmla="*/ 476873 h 699414"/>
                <a:gd name="connsiteX348" fmla="*/ 86292 w 906515"/>
                <a:gd name="connsiteY348" fmla="*/ 473240 h 699414"/>
                <a:gd name="connsiteX349" fmla="*/ 88108 w 906515"/>
                <a:gd name="connsiteY349" fmla="*/ 470515 h 699414"/>
                <a:gd name="connsiteX350" fmla="*/ 88108 w 906515"/>
                <a:gd name="connsiteY350" fmla="*/ 465065 h 699414"/>
                <a:gd name="connsiteX351" fmla="*/ 86292 w 906515"/>
                <a:gd name="connsiteY351" fmla="*/ 458707 h 699414"/>
                <a:gd name="connsiteX352" fmla="*/ 83567 w 906515"/>
                <a:gd name="connsiteY352" fmla="*/ 447807 h 699414"/>
                <a:gd name="connsiteX353" fmla="*/ 83567 w 906515"/>
                <a:gd name="connsiteY353" fmla="*/ 441449 h 699414"/>
                <a:gd name="connsiteX354" fmla="*/ 85383 w 906515"/>
                <a:gd name="connsiteY354" fmla="*/ 441449 h 699414"/>
                <a:gd name="connsiteX355" fmla="*/ 86292 w 906515"/>
                <a:gd name="connsiteY355" fmla="*/ 441449 h 699414"/>
                <a:gd name="connsiteX356" fmla="*/ 91742 w 906515"/>
                <a:gd name="connsiteY356" fmla="*/ 441449 h 699414"/>
                <a:gd name="connsiteX357" fmla="*/ 99008 w 906515"/>
                <a:gd name="connsiteY357" fmla="*/ 441449 h 699414"/>
                <a:gd name="connsiteX358" fmla="*/ 107183 w 906515"/>
                <a:gd name="connsiteY358" fmla="*/ 441449 h 699414"/>
                <a:gd name="connsiteX359" fmla="*/ 117175 w 906515"/>
                <a:gd name="connsiteY359" fmla="*/ 439632 h 699414"/>
                <a:gd name="connsiteX360" fmla="*/ 122625 w 906515"/>
                <a:gd name="connsiteY360" fmla="*/ 435999 h 699414"/>
                <a:gd name="connsiteX361" fmla="*/ 127167 w 906515"/>
                <a:gd name="connsiteY361" fmla="*/ 431457 h 699414"/>
                <a:gd name="connsiteX362" fmla="*/ 134433 w 906515"/>
                <a:gd name="connsiteY362" fmla="*/ 424190 h 699414"/>
                <a:gd name="connsiteX363" fmla="*/ 136250 w 906515"/>
                <a:gd name="connsiteY363" fmla="*/ 420557 h 699414"/>
                <a:gd name="connsiteX364" fmla="*/ 136250 w 906515"/>
                <a:gd name="connsiteY364" fmla="*/ 419649 h 699414"/>
                <a:gd name="connsiteX365" fmla="*/ 134433 w 906515"/>
                <a:gd name="connsiteY365" fmla="*/ 417832 h 699414"/>
                <a:gd name="connsiteX366" fmla="*/ 130800 w 906515"/>
                <a:gd name="connsiteY366" fmla="*/ 416015 h 699414"/>
                <a:gd name="connsiteX367" fmla="*/ 128983 w 906515"/>
                <a:gd name="connsiteY367" fmla="*/ 410565 h 699414"/>
                <a:gd name="connsiteX368" fmla="*/ 127167 w 906515"/>
                <a:gd name="connsiteY368" fmla="*/ 406024 h 699414"/>
                <a:gd name="connsiteX369" fmla="*/ 130800 w 906515"/>
                <a:gd name="connsiteY369" fmla="*/ 395124 h 699414"/>
                <a:gd name="connsiteX370" fmla="*/ 132617 w 906515"/>
                <a:gd name="connsiteY370" fmla="*/ 392399 h 699414"/>
                <a:gd name="connsiteX371" fmla="*/ 136250 w 906515"/>
                <a:gd name="connsiteY371" fmla="*/ 388765 h 699414"/>
                <a:gd name="connsiteX372" fmla="*/ 148058 w 906515"/>
                <a:gd name="connsiteY372" fmla="*/ 385132 h 699414"/>
                <a:gd name="connsiteX373" fmla="*/ 161683 w 906515"/>
                <a:gd name="connsiteY373" fmla="*/ 382407 h 699414"/>
                <a:gd name="connsiteX374" fmla="*/ 166225 w 906515"/>
                <a:gd name="connsiteY374" fmla="*/ 380590 h 699414"/>
                <a:gd name="connsiteX375" fmla="*/ 171675 w 906515"/>
                <a:gd name="connsiteY375" fmla="*/ 378774 h 699414"/>
                <a:gd name="connsiteX376" fmla="*/ 188933 w 906515"/>
                <a:gd name="connsiteY376" fmla="*/ 365149 h 699414"/>
                <a:gd name="connsiteX377" fmla="*/ 195292 w 906515"/>
                <a:gd name="connsiteY377" fmla="*/ 361516 h 699414"/>
                <a:gd name="connsiteX378" fmla="*/ 202558 w 906515"/>
                <a:gd name="connsiteY378" fmla="*/ 356066 h 699414"/>
                <a:gd name="connsiteX379" fmla="*/ 205283 w 906515"/>
                <a:gd name="connsiteY379" fmla="*/ 349707 h 699414"/>
                <a:gd name="connsiteX380" fmla="*/ 208917 w 906515"/>
                <a:gd name="connsiteY380" fmla="*/ 343349 h 699414"/>
                <a:gd name="connsiteX381" fmla="*/ 210733 w 906515"/>
                <a:gd name="connsiteY381" fmla="*/ 336082 h 699414"/>
                <a:gd name="connsiteX382" fmla="*/ 212550 w 906515"/>
                <a:gd name="connsiteY382" fmla="*/ 322457 h 699414"/>
                <a:gd name="connsiteX383" fmla="*/ 212550 w 906515"/>
                <a:gd name="connsiteY383" fmla="*/ 305199 h 699414"/>
                <a:gd name="connsiteX384" fmla="*/ 210733 w 906515"/>
                <a:gd name="connsiteY384" fmla="*/ 290666 h 699414"/>
                <a:gd name="connsiteX385" fmla="*/ 212550 w 906515"/>
                <a:gd name="connsiteY385" fmla="*/ 281582 h 699414"/>
                <a:gd name="connsiteX386" fmla="*/ 214367 w 906515"/>
                <a:gd name="connsiteY386" fmla="*/ 273408 h 699414"/>
                <a:gd name="connsiteX387" fmla="*/ 216183 w 906515"/>
                <a:gd name="connsiteY387" fmla="*/ 266141 h 699414"/>
                <a:gd name="connsiteX388" fmla="*/ 220725 w 906515"/>
                <a:gd name="connsiteY388" fmla="*/ 259783 h 699414"/>
                <a:gd name="connsiteX389" fmla="*/ 226175 w 906515"/>
                <a:gd name="connsiteY389" fmla="*/ 251608 h 699414"/>
                <a:gd name="connsiteX390" fmla="*/ 234350 w 906515"/>
                <a:gd name="connsiteY390" fmla="*/ 244341 h 699414"/>
                <a:gd name="connsiteX391" fmla="*/ 239800 w 906515"/>
                <a:gd name="connsiteY391" fmla="*/ 239799 h 699414"/>
                <a:gd name="connsiteX392" fmla="*/ 239800 w 906515"/>
                <a:gd name="connsiteY392" fmla="*/ 236166 h 699414"/>
                <a:gd name="connsiteX393" fmla="*/ 239800 w 906515"/>
                <a:gd name="connsiteY393" fmla="*/ 234349 h 699414"/>
                <a:gd name="connsiteX394" fmla="*/ 241616 w 906515"/>
                <a:gd name="connsiteY394" fmla="*/ 232533 h 699414"/>
                <a:gd name="connsiteX395" fmla="*/ 247975 w 906515"/>
                <a:gd name="connsiteY395" fmla="*/ 224358 h 699414"/>
                <a:gd name="connsiteX396" fmla="*/ 265233 w 906515"/>
                <a:gd name="connsiteY396" fmla="*/ 210733 h 699414"/>
                <a:gd name="connsiteX397" fmla="*/ 267958 w 906515"/>
                <a:gd name="connsiteY397" fmla="*/ 205283 h 699414"/>
                <a:gd name="connsiteX398" fmla="*/ 271591 w 906515"/>
                <a:gd name="connsiteY398" fmla="*/ 200741 h 699414"/>
                <a:gd name="connsiteX399" fmla="*/ 273408 w 906515"/>
                <a:gd name="connsiteY399" fmla="*/ 195291 h 699414"/>
                <a:gd name="connsiteX400" fmla="*/ 273408 w 906515"/>
                <a:gd name="connsiteY400" fmla="*/ 191658 h 699414"/>
                <a:gd name="connsiteX401" fmla="*/ 271591 w 906515"/>
                <a:gd name="connsiteY401" fmla="*/ 185300 h 699414"/>
                <a:gd name="connsiteX402" fmla="*/ 267958 w 906515"/>
                <a:gd name="connsiteY402" fmla="*/ 179850 h 699414"/>
                <a:gd name="connsiteX403" fmla="*/ 267050 w 906515"/>
                <a:gd name="connsiteY403" fmla="*/ 176216 h 699414"/>
                <a:gd name="connsiteX404" fmla="*/ 265233 w 906515"/>
                <a:gd name="connsiteY404" fmla="*/ 175308 h 699414"/>
                <a:gd name="connsiteX405" fmla="*/ 267050 w 906515"/>
                <a:gd name="connsiteY405" fmla="*/ 171675 h 699414"/>
                <a:gd name="connsiteX406" fmla="*/ 273408 w 906515"/>
                <a:gd name="connsiteY406" fmla="*/ 168041 h 699414"/>
                <a:gd name="connsiteX407" fmla="*/ 278858 w 906515"/>
                <a:gd name="connsiteY407" fmla="*/ 164408 h 699414"/>
                <a:gd name="connsiteX408" fmla="*/ 281583 w 906515"/>
                <a:gd name="connsiteY408" fmla="*/ 161683 h 699414"/>
                <a:gd name="connsiteX409" fmla="*/ 285216 w 906515"/>
                <a:gd name="connsiteY409" fmla="*/ 156233 h 699414"/>
                <a:gd name="connsiteX410" fmla="*/ 287033 w 906515"/>
                <a:gd name="connsiteY410" fmla="*/ 152600 h 699414"/>
                <a:gd name="connsiteX411" fmla="*/ 287033 w 906515"/>
                <a:gd name="connsiteY411" fmla="*/ 144425 h 699414"/>
                <a:gd name="connsiteX412" fmla="*/ 283400 w 906515"/>
                <a:gd name="connsiteY412" fmla="*/ 136250 h 699414"/>
                <a:gd name="connsiteX413" fmla="*/ 277041 w 906515"/>
                <a:gd name="connsiteY413" fmla="*/ 118991 h 699414"/>
                <a:gd name="connsiteX414" fmla="*/ 275225 w 906515"/>
                <a:gd name="connsiteY414" fmla="*/ 109000 h 699414"/>
                <a:gd name="connsiteX415" fmla="*/ 277041 w 906515"/>
                <a:gd name="connsiteY415" fmla="*/ 105367 h 699414"/>
                <a:gd name="connsiteX416" fmla="*/ 277041 w 906515"/>
                <a:gd name="connsiteY416" fmla="*/ 99917 h 699414"/>
                <a:gd name="connsiteX417" fmla="*/ 281583 w 906515"/>
                <a:gd name="connsiteY417" fmla="*/ 101733 h 699414"/>
                <a:gd name="connsiteX418" fmla="*/ 287033 w 906515"/>
                <a:gd name="connsiteY418" fmla="*/ 99917 h 699414"/>
                <a:gd name="connsiteX419" fmla="*/ 288850 w 906515"/>
                <a:gd name="connsiteY419" fmla="*/ 98100 h 699414"/>
                <a:gd name="connsiteX420" fmla="*/ 292483 w 906515"/>
                <a:gd name="connsiteY420" fmla="*/ 95375 h 699414"/>
                <a:gd name="connsiteX421" fmla="*/ 295208 w 906515"/>
                <a:gd name="connsiteY421" fmla="*/ 86292 h 699414"/>
                <a:gd name="connsiteX422" fmla="*/ 297025 w 906515"/>
                <a:gd name="connsiteY422" fmla="*/ 76300 h 699414"/>
                <a:gd name="connsiteX423" fmla="*/ 300658 w 906515"/>
                <a:gd name="connsiteY423" fmla="*/ 56317 h 699414"/>
                <a:gd name="connsiteX424" fmla="*/ 302475 w 906515"/>
                <a:gd name="connsiteY424" fmla="*/ 49050 h 699414"/>
                <a:gd name="connsiteX425" fmla="*/ 304291 w 906515"/>
                <a:gd name="connsiteY425" fmla="*/ 47233 h 699414"/>
                <a:gd name="connsiteX426" fmla="*/ 307016 w 906515"/>
                <a:gd name="connsiteY426" fmla="*/ 46325 h 699414"/>
                <a:gd name="connsiteX427" fmla="*/ 319733 w 906515"/>
                <a:gd name="connsiteY427" fmla="*/ 44508 h 699414"/>
                <a:gd name="connsiteX428" fmla="*/ 329725 w 906515"/>
                <a:gd name="connsiteY428" fmla="*/ 44508 h 699414"/>
                <a:gd name="connsiteX429" fmla="*/ 337900 w 906515"/>
                <a:gd name="connsiteY429" fmla="*/ 44508 h 699414"/>
                <a:gd name="connsiteX430" fmla="*/ 346075 w 906515"/>
                <a:gd name="connsiteY430" fmla="*/ 46325 h 699414"/>
                <a:gd name="connsiteX431" fmla="*/ 351525 w 906515"/>
                <a:gd name="connsiteY431" fmla="*/ 49050 h 699414"/>
                <a:gd name="connsiteX432" fmla="*/ 358791 w 906515"/>
                <a:gd name="connsiteY432" fmla="*/ 52683 h 699414"/>
                <a:gd name="connsiteX433" fmla="*/ 366966 w 906515"/>
                <a:gd name="connsiteY433" fmla="*/ 60858 h 699414"/>
                <a:gd name="connsiteX434" fmla="*/ 373325 w 906515"/>
                <a:gd name="connsiteY434" fmla="*/ 69942 h 699414"/>
                <a:gd name="connsiteX435" fmla="*/ 380591 w 906515"/>
                <a:gd name="connsiteY435" fmla="*/ 74483 h 699414"/>
                <a:gd name="connsiteX436" fmla="*/ 384225 w 906515"/>
                <a:gd name="connsiteY436" fmla="*/ 76300 h 699414"/>
                <a:gd name="connsiteX437" fmla="*/ 386950 w 906515"/>
                <a:gd name="connsiteY437" fmla="*/ 76300 h 699414"/>
                <a:gd name="connsiteX438" fmla="*/ 390583 w 906515"/>
                <a:gd name="connsiteY438" fmla="*/ 74483 h 699414"/>
                <a:gd name="connsiteX439" fmla="*/ 396033 w 906515"/>
                <a:gd name="connsiteY439" fmla="*/ 71758 h 699414"/>
                <a:gd name="connsiteX440" fmla="*/ 398758 w 906515"/>
                <a:gd name="connsiteY440" fmla="*/ 68125 h 699414"/>
                <a:gd name="connsiteX441" fmla="*/ 400574 w 906515"/>
                <a:gd name="connsiteY441" fmla="*/ 62675 h 699414"/>
                <a:gd name="connsiteX442" fmla="*/ 402391 w 906515"/>
                <a:gd name="connsiteY442" fmla="*/ 49050 h 699414"/>
                <a:gd name="connsiteX443" fmla="*/ 402391 w 906515"/>
                <a:gd name="connsiteY443" fmla="*/ 42692 h 699414"/>
                <a:gd name="connsiteX444" fmla="*/ 400574 w 906515"/>
                <a:gd name="connsiteY444" fmla="*/ 37242 h 699414"/>
                <a:gd name="connsiteX445" fmla="*/ 396941 w 906515"/>
                <a:gd name="connsiteY445" fmla="*/ 32700 h 699414"/>
                <a:gd name="connsiteX446" fmla="*/ 394216 w 906515"/>
                <a:gd name="connsiteY446" fmla="*/ 30883 h 699414"/>
                <a:gd name="connsiteX447" fmla="*/ 388766 w 906515"/>
                <a:gd name="connsiteY447" fmla="*/ 29067 h 699414"/>
                <a:gd name="connsiteX448" fmla="*/ 388766 w 906515"/>
                <a:gd name="connsiteY448" fmla="*/ 27250 h 699414"/>
                <a:gd name="connsiteX449" fmla="*/ 392400 w 906515"/>
                <a:gd name="connsiteY449" fmla="*/ 23617 h 699414"/>
                <a:gd name="connsiteX450" fmla="*/ 396033 w 906515"/>
                <a:gd name="connsiteY450" fmla="*/ 20892 h 699414"/>
                <a:gd name="connsiteX451" fmla="*/ 407841 w 906515"/>
                <a:gd name="connsiteY451" fmla="*/ 11809 h 699414"/>
                <a:gd name="connsiteX452" fmla="*/ 414199 w 906515"/>
                <a:gd name="connsiteY452" fmla="*/ 5450 h 699414"/>
                <a:gd name="connsiteX453" fmla="*/ 419649 w 906515"/>
                <a:gd name="connsiteY453" fmla="*/ 1817 h 699414"/>
                <a:gd name="connsiteX454" fmla="*/ 423283 w 906515"/>
                <a:gd name="connsiteY454" fmla="*/ 0 h 699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Lst>
              <a:rect l="l" t="t" r="r" b="b"/>
              <a:pathLst>
                <a:path w="906515" h="699414">
                  <a:moveTo>
                    <a:pt x="423283" y="0"/>
                  </a:moveTo>
                  <a:lnTo>
                    <a:pt x="427824" y="0"/>
                  </a:lnTo>
                  <a:lnTo>
                    <a:pt x="433274" y="0"/>
                  </a:lnTo>
                  <a:lnTo>
                    <a:pt x="441449" y="5450"/>
                  </a:lnTo>
                  <a:lnTo>
                    <a:pt x="453258" y="9992"/>
                  </a:lnTo>
                  <a:lnTo>
                    <a:pt x="463249" y="15442"/>
                  </a:lnTo>
                  <a:lnTo>
                    <a:pt x="470516" y="17259"/>
                  </a:lnTo>
                  <a:lnTo>
                    <a:pt x="475058" y="19075"/>
                  </a:lnTo>
                  <a:lnTo>
                    <a:pt x="482324" y="19075"/>
                  </a:lnTo>
                  <a:lnTo>
                    <a:pt x="488683" y="17259"/>
                  </a:lnTo>
                  <a:lnTo>
                    <a:pt x="497766" y="13625"/>
                  </a:lnTo>
                  <a:lnTo>
                    <a:pt x="504124" y="8175"/>
                  </a:lnTo>
                  <a:lnTo>
                    <a:pt x="511391" y="5450"/>
                  </a:lnTo>
                  <a:lnTo>
                    <a:pt x="517749" y="3634"/>
                  </a:lnTo>
                  <a:lnTo>
                    <a:pt x="523199" y="17259"/>
                  </a:lnTo>
                  <a:lnTo>
                    <a:pt x="526833" y="21800"/>
                  </a:lnTo>
                  <a:lnTo>
                    <a:pt x="529558" y="23617"/>
                  </a:lnTo>
                  <a:lnTo>
                    <a:pt x="546816" y="21800"/>
                  </a:lnTo>
                  <a:lnTo>
                    <a:pt x="560441" y="17259"/>
                  </a:lnTo>
                  <a:lnTo>
                    <a:pt x="568616" y="13625"/>
                  </a:lnTo>
                  <a:lnTo>
                    <a:pt x="575882" y="8175"/>
                  </a:lnTo>
                  <a:lnTo>
                    <a:pt x="580424" y="7267"/>
                  </a:lnTo>
                  <a:lnTo>
                    <a:pt x="585874" y="7267"/>
                  </a:lnTo>
                  <a:lnTo>
                    <a:pt x="594049" y="11809"/>
                  </a:lnTo>
                  <a:lnTo>
                    <a:pt x="605857" y="21800"/>
                  </a:lnTo>
                  <a:lnTo>
                    <a:pt x="605857" y="29067"/>
                  </a:lnTo>
                  <a:lnTo>
                    <a:pt x="605857" y="37242"/>
                  </a:lnTo>
                  <a:lnTo>
                    <a:pt x="603132" y="42692"/>
                  </a:lnTo>
                  <a:lnTo>
                    <a:pt x="599499" y="46325"/>
                  </a:lnTo>
                  <a:lnTo>
                    <a:pt x="594049" y="49050"/>
                  </a:lnTo>
                  <a:lnTo>
                    <a:pt x="589507" y="52683"/>
                  </a:lnTo>
                  <a:lnTo>
                    <a:pt x="582241" y="58133"/>
                  </a:lnTo>
                  <a:lnTo>
                    <a:pt x="577699" y="64492"/>
                  </a:lnTo>
                  <a:lnTo>
                    <a:pt x="572249" y="76300"/>
                  </a:lnTo>
                  <a:lnTo>
                    <a:pt x="566799" y="85383"/>
                  </a:lnTo>
                  <a:lnTo>
                    <a:pt x="558624" y="95375"/>
                  </a:lnTo>
                  <a:lnTo>
                    <a:pt x="546816" y="107183"/>
                  </a:lnTo>
                  <a:lnTo>
                    <a:pt x="548633" y="110816"/>
                  </a:lnTo>
                  <a:lnTo>
                    <a:pt x="550449" y="111725"/>
                  </a:lnTo>
                  <a:lnTo>
                    <a:pt x="556808" y="115358"/>
                  </a:lnTo>
                  <a:lnTo>
                    <a:pt x="564074" y="117175"/>
                  </a:lnTo>
                  <a:lnTo>
                    <a:pt x="574066" y="117175"/>
                  </a:lnTo>
                  <a:lnTo>
                    <a:pt x="591324" y="115358"/>
                  </a:lnTo>
                  <a:lnTo>
                    <a:pt x="604041" y="113541"/>
                  </a:lnTo>
                  <a:lnTo>
                    <a:pt x="616757" y="111725"/>
                  </a:lnTo>
                  <a:lnTo>
                    <a:pt x="624932" y="109000"/>
                  </a:lnTo>
                  <a:lnTo>
                    <a:pt x="630382" y="105367"/>
                  </a:lnTo>
                  <a:lnTo>
                    <a:pt x="634924" y="103550"/>
                  </a:lnTo>
                  <a:lnTo>
                    <a:pt x="640374" y="97192"/>
                  </a:lnTo>
                  <a:lnTo>
                    <a:pt x="643099" y="95375"/>
                  </a:lnTo>
                  <a:lnTo>
                    <a:pt x="648549" y="93558"/>
                  </a:lnTo>
                  <a:lnTo>
                    <a:pt x="656724" y="93558"/>
                  </a:lnTo>
                  <a:lnTo>
                    <a:pt x="663991" y="91742"/>
                  </a:lnTo>
                  <a:lnTo>
                    <a:pt x="675799" y="86292"/>
                  </a:lnTo>
                  <a:lnTo>
                    <a:pt x="685791" y="83567"/>
                  </a:lnTo>
                  <a:lnTo>
                    <a:pt x="694874" y="79933"/>
                  </a:lnTo>
                  <a:lnTo>
                    <a:pt x="713041" y="98100"/>
                  </a:lnTo>
                  <a:lnTo>
                    <a:pt x="724849" y="109000"/>
                  </a:lnTo>
                  <a:lnTo>
                    <a:pt x="733932" y="111725"/>
                  </a:lnTo>
                  <a:lnTo>
                    <a:pt x="738474" y="111725"/>
                  </a:lnTo>
                  <a:lnTo>
                    <a:pt x="740291" y="110816"/>
                  </a:lnTo>
                  <a:lnTo>
                    <a:pt x="742107" y="107183"/>
                  </a:lnTo>
                  <a:lnTo>
                    <a:pt x="740291" y="101733"/>
                  </a:lnTo>
                  <a:lnTo>
                    <a:pt x="736657" y="95375"/>
                  </a:lnTo>
                  <a:lnTo>
                    <a:pt x="734841" y="89925"/>
                  </a:lnTo>
                  <a:lnTo>
                    <a:pt x="733932" y="76300"/>
                  </a:lnTo>
                  <a:lnTo>
                    <a:pt x="734841" y="68125"/>
                  </a:lnTo>
                  <a:lnTo>
                    <a:pt x="740291" y="62675"/>
                  </a:lnTo>
                  <a:lnTo>
                    <a:pt x="746649" y="59042"/>
                  </a:lnTo>
                  <a:lnTo>
                    <a:pt x="755732" y="59042"/>
                  </a:lnTo>
                  <a:lnTo>
                    <a:pt x="765724" y="59042"/>
                  </a:lnTo>
                  <a:lnTo>
                    <a:pt x="784799" y="62675"/>
                  </a:lnTo>
                  <a:lnTo>
                    <a:pt x="799332" y="64492"/>
                  </a:lnTo>
                  <a:lnTo>
                    <a:pt x="804782" y="64492"/>
                  </a:lnTo>
                  <a:lnTo>
                    <a:pt x="804782" y="62675"/>
                  </a:lnTo>
                  <a:lnTo>
                    <a:pt x="804782" y="60858"/>
                  </a:lnTo>
                  <a:lnTo>
                    <a:pt x="804782" y="56317"/>
                  </a:lnTo>
                  <a:lnTo>
                    <a:pt x="806599" y="58133"/>
                  </a:lnTo>
                  <a:lnTo>
                    <a:pt x="812957" y="69942"/>
                  </a:lnTo>
                  <a:lnTo>
                    <a:pt x="823857" y="85383"/>
                  </a:lnTo>
                  <a:lnTo>
                    <a:pt x="828399" y="88108"/>
                  </a:lnTo>
                  <a:lnTo>
                    <a:pt x="830215" y="88108"/>
                  </a:lnTo>
                  <a:lnTo>
                    <a:pt x="833849" y="88108"/>
                  </a:lnTo>
                  <a:lnTo>
                    <a:pt x="842024" y="81750"/>
                  </a:lnTo>
                  <a:lnTo>
                    <a:pt x="849290" y="81750"/>
                  </a:lnTo>
                  <a:lnTo>
                    <a:pt x="852015" y="83567"/>
                  </a:lnTo>
                  <a:lnTo>
                    <a:pt x="855649" y="88108"/>
                  </a:lnTo>
                  <a:lnTo>
                    <a:pt x="861099" y="103550"/>
                  </a:lnTo>
                  <a:lnTo>
                    <a:pt x="865640" y="113541"/>
                  </a:lnTo>
                  <a:lnTo>
                    <a:pt x="874724" y="125350"/>
                  </a:lnTo>
                  <a:lnTo>
                    <a:pt x="881082" y="136250"/>
                  </a:lnTo>
                  <a:lnTo>
                    <a:pt x="884715" y="142608"/>
                  </a:lnTo>
                  <a:lnTo>
                    <a:pt x="884715" y="149875"/>
                  </a:lnTo>
                  <a:lnTo>
                    <a:pt x="882899" y="156233"/>
                  </a:lnTo>
                  <a:lnTo>
                    <a:pt x="882899" y="164408"/>
                  </a:lnTo>
                  <a:lnTo>
                    <a:pt x="886532" y="176216"/>
                  </a:lnTo>
                  <a:lnTo>
                    <a:pt x="892890" y="193475"/>
                  </a:lnTo>
                  <a:lnTo>
                    <a:pt x="906515" y="217091"/>
                  </a:lnTo>
                  <a:lnTo>
                    <a:pt x="898340" y="220724"/>
                  </a:lnTo>
                  <a:lnTo>
                    <a:pt x="891074" y="224358"/>
                  </a:lnTo>
                  <a:lnTo>
                    <a:pt x="884715" y="230716"/>
                  </a:lnTo>
                  <a:lnTo>
                    <a:pt x="882899" y="234349"/>
                  </a:lnTo>
                  <a:lnTo>
                    <a:pt x="882899" y="240708"/>
                  </a:lnTo>
                  <a:lnTo>
                    <a:pt x="879265" y="247974"/>
                  </a:lnTo>
                  <a:lnTo>
                    <a:pt x="875632" y="253424"/>
                  </a:lnTo>
                  <a:lnTo>
                    <a:pt x="869274" y="254333"/>
                  </a:lnTo>
                  <a:lnTo>
                    <a:pt x="862915" y="254333"/>
                  </a:lnTo>
                  <a:lnTo>
                    <a:pt x="849290" y="253424"/>
                  </a:lnTo>
                  <a:lnTo>
                    <a:pt x="843840" y="253424"/>
                  </a:lnTo>
                  <a:lnTo>
                    <a:pt x="838390" y="256149"/>
                  </a:lnTo>
                  <a:lnTo>
                    <a:pt x="837482" y="257966"/>
                  </a:lnTo>
                  <a:lnTo>
                    <a:pt x="838390" y="257966"/>
                  </a:lnTo>
                  <a:lnTo>
                    <a:pt x="843840" y="259783"/>
                  </a:lnTo>
                  <a:lnTo>
                    <a:pt x="862915" y="263416"/>
                  </a:lnTo>
                  <a:lnTo>
                    <a:pt x="869274" y="266141"/>
                  </a:lnTo>
                  <a:lnTo>
                    <a:pt x="871090" y="266141"/>
                  </a:lnTo>
                  <a:lnTo>
                    <a:pt x="872907" y="267958"/>
                  </a:lnTo>
                  <a:lnTo>
                    <a:pt x="871090" y="269774"/>
                  </a:lnTo>
                  <a:lnTo>
                    <a:pt x="869274" y="273408"/>
                  </a:lnTo>
                  <a:lnTo>
                    <a:pt x="855649" y="278858"/>
                  </a:lnTo>
                  <a:lnTo>
                    <a:pt x="849290" y="283399"/>
                  </a:lnTo>
                  <a:lnTo>
                    <a:pt x="845657" y="288849"/>
                  </a:lnTo>
                  <a:lnTo>
                    <a:pt x="843840" y="293391"/>
                  </a:lnTo>
                  <a:lnTo>
                    <a:pt x="842024" y="300657"/>
                  </a:lnTo>
                  <a:lnTo>
                    <a:pt x="842024" y="305199"/>
                  </a:lnTo>
                  <a:lnTo>
                    <a:pt x="840207" y="310649"/>
                  </a:lnTo>
                  <a:lnTo>
                    <a:pt x="835665" y="314282"/>
                  </a:lnTo>
                  <a:lnTo>
                    <a:pt x="828399" y="317916"/>
                  </a:lnTo>
                  <a:lnTo>
                    <a:pt x="814774" y="318824"/>
                  </a:lnTo>
                  <a:lnTo>
                    <a:pt x="801149" y="324274"/>
                  </a:lnTo>
                  <a:lnTo>
                    <a:pt x="779349" y="332449"/>
                  </a:lnTo>
                  <a:lnTo>
                    <a:pt x="769357" y="336082"/>
                  </a:lnTo>
                  <a:lnTo>
                    <a:pt x="760274" y="337899"/>
                  </a:lnTo>
                  <a:lnTo>
                    <a:pt x="752099" y="337899"/>
                  </a:lnTo>
                  <a:lnTo>
                    <a:pt x="745741" y="332449"/>
                  </a:lnTo>
                  <a:lnTo>
                    <a:pt x="742107" y="329724"/>
                  </a:lnTo>
                  <a:lnTo>
                    <a:pt x="738474" y="327907"/>
                  </a:lnTo>
                  <a:lnTo>
                    <a:pt x="734841" y="327907"/>
                  </a:lnTo>
                  <a:lnTo>
                    <a:pt x="732116" y="329724"/>
                  </a:lnTo>
                  <a:lnTo>
                    <a:pt x="728482" y="334266"/>
                  </a:lnTo>
                  <a:lnTo>
                    <a:pt x="723032" y="343349"/>
                  </a:lnTo>
                  <a:lnTo>
                    <a:pt x="720307" y="351524"/>
                  </a:lnTo>
                  <a:lnTo>
                    <a:pt x="714857" y="356066"/>
                  </a:lnTo>
                  <a:lnTo>
                    <a:pt x="711224" y="357882"/>
                  </a:lnTo>
                  <a:lnTo>
                    <a:pt x="707591" y="357882"/>
                  </a:lnTo>
                  <a:lnTo>
                    <a:pt x="703049" y="356066"/>
                  </a:lnTo>
                  <a:lnTo>
                    <a:pt x="699416" y="351524"/>
                  </a:lnTo>
                  <a:lnTo>
                    <a:pt x="693057" y="346074"/>
                  </a:lnTo>
                  <a:lnTo>
                    <a:pt x="685791" y="341532"/>
                  </a:lnTo>
                  <a:lnTo>
                    <a:pt x="681249" y="339716"/>
                  </a:lnTo>
                  <a:lnTo>
                    <a:pt x="677616" y="339716"/>
                  </a:lnTo>
                  <a:lnTo>
                    <a:pt x="672166" y="339716"/>
                  </a:lnTo>
                  <a:lnTo>
                    <a:pt x="669441" y="341532"/>
                  </a:lnTo>
                  <a:lnTo>
                    <a:pt x="662174" y="347891"/>
                  </a:lnTo>
                  <a:lnTo>
                    <a:pt x="656724" y="356066"/>
                  </a:lnTo>
                  <a:lnTo>
                    <a:pt x="653999" y="365149"/>
                  </a:lnTo>
                  <a:lnTo>
                    <a:pt x="648549" y="371507"/>
                  </a:lnTo>
                  <a:lnTo>
                    <a:pt x="646732" y="376957"/>
                  </a:lnTo>
                  <a:lnTo>
                    <a:pt x="643099" y="375140"/>
                  </a:lnTo>
                  <a:lnTo>
                    <a:pt x="636741" y="371507"/>
                  </a:lnTo>
                  <a:lnTo>
                    <a:pt x="630382" y="366966"/>
                  </a:lnTo>
                  <a:lnTo>
                    <a:pt x="628566" y="359699"/>
                  </a:lnTo>
                  <a:lnTo>
                    <a:pt x="624932" y="355157"/>
                  </a:lnTo>
                  <a:lnTo>
                    <a:pt x="619482" y="351524"/>
                  </a:lnTo>
                  <a:lnTo>
                    <a:pt x="614941" y="349707"/>
                  </a:lnTo>
                  <a:lnTo>
                    <a:pt x="610991" y="351024"/>
                  </a:lnTo>
                  <a:lnTo>
                    <a:pt x="594568" y="342113"/>
                  </a:lnTo>
                  <a:cubicBezTo>
                    <a:pt x="577685" y="338460"/>
                    <a:pt x="560427" y="342963"/>
                    <a:pt x="549447" y="343292"/>
                  </a:cubicBezTo>
                  <a:cubicBezTo>
                    <a:pt x="538467" y="343622"/>
                    <a:pt x="527526" y="352221"/>
                    <a:pt x="519329" y="362754"/>
                  </a:cubicBezTo>
                  <a:lnTo>
                    <a:pt x="513208" y="372934"/>
                  </a:lnTo>
                  <a:lnTo>
                    <a:pt x="513208" y="369690"/>
                  </a:lnTo>
                  <a:lnTo>
                    <a:pt x="511391" y="366966"/>
                  </a:lnTo>
                  <a:lnTo>
                    <a:pt x="505941" y="361516"/>
                  </a:lnTo>
                  <a:lnTo>
                    <a:pt x="499583" y="357882"/>
                  </a:lnTo>
                  <a:lnTo>
                    <a:pt x="484141" y="349707"/>
                  </a:lnTo>
                  <a:lnTo>
                    <a:pt x="474149" y="347891"/>
                  </a:lnTo>
                  <a:lnTo>
                    <a:pt x="472333" y="347891"/>
                  </a:lnTo>
                  <a:lnTo>
                    <a:pt x="470516" y="347891"/>
                  </a:lnTo>
                  <a:lnTo>
                    <a:pt x="470516" y="351524"/>
                  </a:lnTo>
                  <a:lnTo>
                    <a:pt x="478691" y="366966"/>
                  </a:lnTo>
                  <a:lnTo>
                    <a:pt x="482324" y="376957"/>
                  </a:lnTo>
                  <a:lnTo>
                    <a:pt x="484141" y="386949"/>
                  </a:lnTo>
                  <a:lnTo>
                    <a:pt x="484141" y="414199"/>
                  </a:lnTo>
                  <a:lnTo>
                    <a:pt x="482324" y="420557"/>
                  </a:lnTo>
                  <a:lnTo>
                    <a:pt x="480508" y="426007"/>
                  </a:lnTo>
                  <a:lnTo>
                    <a:pt x="476874" y="429640"/>
                  </a:lnTo>
                  <a:lnTo>
                    <a:pt x="474149" y="431457"/>
                  </a:lnTo>
                  <a:lnTo>
                    <a:pt x="468699" y="431457"/>
                  </a:lnTo>
                  <a:lnTo>
                    <a:pt x="462341" y="434182"/>
                  </a:lnTo>
                  <a:lnTo>
                    <a:pt x="453258" y="437815"/>
                  </a:lnTo>
                  <a:lnTo>
                    <a:pt x="443266" y="446899"/>
                  </a:lnTo>
                  <a:lnTo>
                    <a:pt x="439633" y="451440"/>
                  </a:lnTo>
                  <a:lnTo>
                    <a:pt x="435091" y="453257"/>
                  </a:lnTo>
                  <a:lnTo>
                    <a:pt x="431458" y="451440"/>
                  </a:lnTo>
                  <a:lnTo>
                    <a:pt x="427824" y="449624"/>
                  </a:lnTo>
                  <a:lnTo>
                    <a:pt x="424191" y="443265"/>
                  </a:lnTo>
                  <a:lnTo>
                    <a:pt x="421466" y="433274"/>
                  </a:lnTo>
                  <a:lnTo>
                    <a:pt x="417833" y="412382"/>
                  </a:lnTo>
                  <a:lnTo>
                    <a:pt x="417833" y="407840"/>
                  </a:lnTo>
                  <a:lnTo>
                    <a:pt x="416016" y="407840"/>
                  </a:lnTo>
                  <a:lnTo>
                    <a:pt x="416016" y="417832"/>
                  </a:lnTo>
                  <a:lnTo>
                    <a:pt x="417833" y="431457"/>
                  </a:lnTo>
                  <a:lnTo>
                    <a:pt x="421466" y="458707"/>
                  </a:lnTo>
                  <a:lnTo>
                    <a:pt x="421466" y="468698"/>
                  </a:lnTo>
                  <a:lnTo>
                    <a:pt x="419649" y="472332"/>
                  </a:lnTo>
                  <a:lnTo>
                    <a:pt x="417833" y="475057"/>
                  </a:lnTo>
                  <a:lnTo>
                    <a:pt x="414199" y="475057"/>
                  </a:lnTo>
                  <a:lnTo>
                    <a:pt x="407841" y="475057"/>
                  </a:lnTo>
                  <a:lnTo>
                    <a:pt x="400574" y="473240"/>
                  </a:lnTo>
                  <a:lnTo>
                    <a:pt x="392400" y="468698"/>
                  </a:lnTo>
                  <a:lnTo>
                    <a:pt x="390583" y="468698"/>
                  </a:lnTo>
                  <a:lnTo>
                    <a:pt x="388766" y="468698"/>
                  </a:lnTo>
                  <a:lnTo>
                    <a:pt x="382408" y="473240"/>
                  </a:lnTo>
                  <a:lnTo>
                    <a:pt x="366966" y="488682"/>
                  </a:lnTo>
                  <a:lnTo>
                    <a:pt x="359700" y="494132"/>
                  </a:lnTo>
                  <a:lnTo>
                    <a:pt x="356975" y="494132"/>
                  </a:lnTo>
                  <a:lnTo>
                    <a:pt x="353341" y="494132"/>
                  </a:lnTo>
                  <a:lnTo>
                    <a:pt x="351525" y="492315"/>
                  </a:lnTo>
                  <a:lnTo>
                    <a:pt x="349708" y="488682"/>
                  </a:lnTo>
                  <a:lnTo>
                    <a:pt x="347891" y="475057"/>
                  </a:lnTo>
                  <a:lnTo>
                    <a:pt x="347891" y="468698"/>
                  </a:lnTo>
                  <a:lnTo>
                    <a:pt x="346075" y="468698"/>
                  </a:lnTo>
                  <a:lnTo>
                    <a:pt x="341533" y="478690"/>
                  </a:lnTo>
                  <a:lnTo>
                    <a:pt x="337900" y="485048"/>
                  </a:lnTo>
                  <a:lnTo>
                    <a:pt x="334266" y="492315"/>
                  </a:lnTo>
                  <a:lnTo>
                    <a:pt x="329725" y="497765"/>
                  </a:lnTo>
                  <a:lnTo>
                    <a:pt x="326091" y="498673"/>
                  </a:lnTo>
                  <a:lnTo>
                    <a:pt x="322458" y="498673"/>
                  </a:lnTo>
                  <a:lnTo>
                    <a:pt x="317916" y="498673"/>
                  </a:lnTo>
                  <a:lnTo>
                    <a:pt x="314283" y="497765"/>
                  </a:lnTo>
                  <a:lnTo>
                    <a:pt x="312466" y="494132"/>
                  </a:lnTo>
                  <a:lnTo>
                    <a:pt x="310650" y="492315"/>
                  </a:lnTo>
                  <a:lnTo>
                    <a:pt x="308833" y="492315"/>
                  </a:lnTo>
                  <a:lnTo>
                    <a:pt x="298841" y="492315"/>
                  </a:lnTo>
                  <a:lnTo>
                    <a:pt x="295208" y="492315"/>
                  </a:lnTo>
                  <a:lnTo>
                    <a:pt x="292483" y="490498"/>
                  </a:lnTo>
                  <a:lnTo>
                    <a:pt x="285216" y="485048"/>
                  </a:lnTo>
                  <a:lnTo>
                    <a:pt x="283400" y="485048"/>
                  </a:lnTo>
                  <a:lnTo>
                    <a:pt x="281583" y="485048"/>
                  </a:lnTo>
                  <a:lnTo>
                    <a:pt x="283400" y="492315"/>
                  </a:lnTo>
                  <a:lnTo>
                    <a:pt x="285216" y="497765"/>
                  </a:lnTo>
                  <a:lnTo>
                    <a:pt x="285216" y="502307"/>
                  </a:lnTo>
                  <a:lnTo>
                    <a:pt x="283400" y="505940"/>
                  </a:lnTo>
                  <a:lnTo>
                    <a:pt x="280675" y="507757"/>
                  </a:lnTo>
                  <a:lnTo>
                    <a:pt x="275225" y="507757"/>
                  </a:lnTo>
                  <a:lnTo>
                    <a:pt x="269775" y="507757"/>
                  </a:lnTo>
                  <a:lnTo>
                    <a:pt x="265233" y="504123"/>
                  </a:lnTo>
                  <a:lnTo>
                    <a:pt x="261600" y="500490"/>
                  </a:lnTo>
                  <a:lnTo>
                    <a:pt x="256150" y="495948"/>
                  </a:lnTo>
                  <a:lnTo>
                    <a:pt x="255241" y="494132"/>
                  </a:lnTo>
                  <a:lnTo>
                    <a:pt x="255241" y="495948"/>
                  </a:lnTo>
                  <a:lnTo>
                    <a:pt x="256150" y="505940"/>
                  </a:lnTo>
                  <a:lnTo>
                    <a:pt x="256150" y="512298"/>
                  </a:lnTo>
                  <a:lnTo>
                    <a:pt x="255241" y="519565"/>
                  </a:lnTo>
                  <a:lnTo>
                    <a:pt x="253425" y="523198"/>
                  </a:lnTo>
                  <a:lnTo>
                    <a:pt x="251608" y="525923"/>
                  </a:lnTo>
                  <a:lnTo>
                    <a:pt x="246158" y="525923"/>
                  </a:lnTo>
                  <a:lnTo>
                    <a:pt x="241616" y="527740"/>
                  </a:lnTo>
                  <a:lnTo>
                    <a:pt x="228900" y="527740"/>
                  </a:lnTo>
                  <a:lnTo>
                    <a:pt x="220725" y="529557"/>
                  </a:lnTo>
                  <a:lnTo>
                    <a:pt x="210733" y="533190"/>
                  </a:lnTo>
                  <a:lnTo>
                    <a:pt x="205283" y="536823"/>
                  </a:lnTo>
                  <a:lnTo>
                    <a:pt x="202558" y="536823"/>
                  </a:lnTo>
                  <a:lnTo>
                    <a:pt x="197108" y="536823"/>
                  </a:lnTo>
                  <a:lnTo>
                    <a:pt x="189842" y="535007"/>
                  </a:lnTo>
                  <a:lnTo>
                    <a:pt x="181667" y="535007"/>
                  </a:lnTo>
                  <a:lnTo>
                    <a:pt x="168042" y="537732"/>
                  </a:lnTo>
                  <a:lnTo>
                    <a:pt x="154417" y="543181"/>
                  </a:lnTo>
                  <a:lnTo>
                    <a:pt x="138975" y="546815"/>
                  </a:lnTo>
                  <a:lnTo>
                    <a:pt x="134433" y="548631"/>
                  </a:lnTo>
                  <a:lnTo>
                    <a:pt x="128983" y="553173"/>
                  </a:lnTo>
                  <a:lnTo>
                    <a:pt x="120808" y="562256"/>
                  </a:lnTo>
                  <a:lnTo>
                    <a:pt x="117175" y="564981"/>
                  </a:lnTo>
                  <a:lnTo>
                    <a:pt x="113542" y="564981"/>
                  </a:lnTo>
                  <a:lnTo>
                    <a:pt x="110817" y="563165"/>
                  </a:lnTo>
                  <a:lnTo>
                    <a:pt x="107183" y="556806"/>
                  </a:lnTo>
                  <a:lnTo>
                    <a:pt x="105367" y="546815"/>
                  </a:lnTo>
                  <a:lnTo>
                    <a:pt x="103550" y="544998"/>
                  </a:lnTo>
                  <a:lnTo>
                    <a:pt x="101733" y="544998"/>
                  </a:lnTo>
                  <a:lnTo>
                    <a:pt x="99008" y="546815"/>
                  </a:lnTo>
                  <a:lnTo>
                    <a:pt x="97192" y="553173"/>
                  </a:lnTo>
                  <a:lnTo>
                    <a:pt x="89925" y="572248"/>
                  </a:lnTo>
                  <a:lnTo>
                    <a:pt x="86292" y="580423"/>
                  </a:lnTo>
                  <a:lnTo>
                    <a:pt x="83567" y="585873"/>
                  </a:lnTo>
                  <a:lnTo>
                    <a:pt x="71758" y="594048"/>
                  </a:lnTo>
                  <a:lnTo>
                    <a:pt x="64492" y="601315"/>
                  </a:lnTo>
                  <a:lnTo>
                    <a:pt x="64492" y="605856"/>
                  </a:lnTo>
                  <a:lnTo>
                    <a:pt x="66308" y="609490"/>
                  </a:lnTo>
                  <a:lnTo>
                    <a:pt x="76300" y="617665"/>
                  </a:lnTo>
                  <a:lnTo>
                    <a:pt x="79933" y="624931"/>
                  </a:lnTo>
                  <a:lnTo>
                    <a:pt x="83567" y="633106"/>
                  </a:lnTo>
                  <a:lnTo>
                    <a:pt x="86292" y="641281"/>
                  </a:lnTo>
                  <a:lnTo>
                    <a:pt x="89925" y="650364"/>
                  </a:lnTo>
                  <a:lnTo>
                    <a:pt x="95375" y="658539"/>
                  </a:lnTo>
                  <a:lnTo>
                    <a:pt x="99917" y="666714"/>
                  </a:lnTo>
                  <a:lnTo>
                    <a:pt x="101733" y="673981"/>
                  </a:lnTo>
                  <a:lnTo>
                    <a:pt x="101733" y="679431"/>
                  </a:lnTo>
                  <a:lnTo>
                    <a:pt x="99917" y="682156"/>
                  </a:lnTo>
                  <a:lnTo>
                    <a:pt x="99008" y="685789"/>
                  </a:lnTo>
                  <a:lnTo>
                    <a:pt x="93558" y="689423"/>
                  </a:lnTo>
                  <a:lnTo>
                    <a:pt x="79933" y="695781"/>
                  </a:lnTo>
                  <a:lnTo>
                    <a:pt x="71758" y="697598"/>
                  </a:lnTo>
                  <a:lnTo>
                    <a:pt x="62675" y="699414"/>
                  </a:lnTo>
                  <a:lnTo>
                    <a:pt x="58133" y="697598"/>
                  </a:lnTo>
                  <a:lnTo>
                    <a:pt x="52683" y="695781"/>
                  </a:lnTo>
                  <a:lnTo>
                    <a:pt x="49050" y="691239"/>
                  </a:lnTo>
                  <a:lnTo>
                    <a:pt x="46325" y="685789"/>
                  </a:lnTo>
                  <a:lnTo>
                    <a:pt x="40875" y="673981"/>
                  </a:lnTo>
                  <a:lnTo>
                    <a:pt x="39059" y="668531"/>
                  </a:lnTo>
                  <a:lnTo>
                    <a:pt x="37242" y="666714"/>
                  </a:lnTo>
                  <a:lnTo>
                    <a:pt x="34517" y="665806"/>
                  </a:lnTo>
                  <a:lnTo>
                    <a:pt x="30884" y="663989"/>
                  </a:lnTo>
                  <a:lnTo>
                    <a:pt x="25434" y="658539"/>
                  </a:lnTo>
                  <a:lnTo>
                    <a:pt x="19075" y="650364"/>
                  </a:lnTo>
                  <a:lnTo>
                    <a:pt x="9992" y="634923"/>
                  </a:lnTo>
                  <a:lnTo>
                    <a:pt x="5450" y="623115"/>
                  </a:lnTo>
                  <a:lnTo>
                    <a:pt x="1817" y="615848"/>
                  </a:lnTo>
                  <a:lnTo>
                    <a:pt x="0" y="611306"/>
                  </a:lnTo>
                  <a:lnTo>
                    <a:pt x="1817" y="607673"/>
                  </a:lnTo>
                  <a:lnTo>
                    <a:pt x="5450" y="601315"/>
                  </a:lnTo>
                  <a:lnTo>
                    <a:pt x="5450" y="595865"/>
                  </a:lnTo>
                  <a:lnTo>
                    <a:pt x="5450" y="588598"/>
                  </a:lnTo>
                  <a:lnTo>
                    <a:pt x="5450" y="580423"/>
                  </a:lnTo>
                  <a:lnTo>
                    <a:pt x="7267" y="574065"/>
                  </a:lnTo>
                  <a:lnTo>
                    <a:pt x="9992" y="566798"/>
                  </a:lnTo>
                  <a:lnTo>
                    <a:pt x="13625" y="558623"/>
                  </a:lnTo>
                  <a:lnTo>
                    <a:pt x="15442" y="554990"/>
                  </a:lnTo>
                  <a:lnTo>
                    <a:pt x="19075" y="551356"/>
                  </a:lnTo>
                  <a:lnTo>
                    <a:pt x="27250" y="543181"/>
                  </a:lnTo>
                  <a:lnTo>
                    <a:pt x="29067" y="539548"/>
                  </a:lnTo>
                  <a:lnTo>
                    <a:pt x="29067" y="536823"/>
                  </a:lnTo>
                  <a:lnTo>
                    <a:pt x="23617" y="535007"/>
                  </a:lnTo>
                  <a:lnTo>
                    <a:pt x="15442" y="533190"/>
                  </a:lnTo>
                  <a:lnTo>
                    <a:pt x="13625" y="524107"/>
                  </a:lnTo>
                  <a:lnTo>
                    <a:pt x="15442" y="517748"/>
                  </a:lnTo>
                  <a:lnTo>
                    <a:pt x="17259" y="514115"/>
                  </a:lnTo>
                  <a:lnTo>
                    <a:pt x="20892" y="512298"/>
                  </a:lnTo>
                  <a:lnTo>
                    <a:pt x="25434" y="511390"/>
                  </a:lnTo>
                  <a:lnTo>
                    <a:pt x="29067" y="505940"/>
                  </a:lnTo>
                  <a:lnTo>
                    <a:pt x="32700" y="498673"/>
                  </a:lnTo>
                  <a:lnTo>
                    <a:pt x="35425" y="488682"/>
                  </a:lnTo>
                  <a:lnTo>
                    <a:pt x="35425" y="485048"/>
                  </a:lnTo>
                  <a:lnTo>
                    <a:pt x="39059" y="484140"/>
                  </a:lnTo>
                  <a:lnTo>
                    <a:pt x="46325" y="480507"/>
                  </a:lnTo>
                  <a:lnTo>
                    <a:pt x="66308" y="480507"/>
                  </a:lnTo>
                  <a:lnTo>
                    <a:pt x="76300" y="480507"/>
                  </a:lnTo>
                  <a:lnTo>
                    <a:pt x="81750" y="478690"/>
                  </a:lnTo>
                  <a:lnTo>
                    <a:pt x="85383" y="476873"/>
                  </a:lnTo>
                  <a:lnTo>
                    <a:pt x="86292" y="473240"/>
                  </a:lnTo>
                  <a:lnTo>
                    <a:pt x="88108" y="470515"/>
                  </a:lnTo>
                  <a:lnTo>
                    <a:pt x="88108" y="465065"/>
                  </a:lnTo>
                  <a:lnTo>
                    <a:pt x="86292" y="458707"/>
                  </a:lnTo>
                  <a:lnTo>
                    <a:pt x="83567" y="447807"/>
                  </a:lnTo>
                  <a:lnTo>
                    <a:pt x="83567" y="441449"/>
                  </a:lnTo>
                  <a:lnTo>
                    <a:pt x="85383" y="441449"/>
                  </a:lnTo>
                  <a:lnTo>
                    <a:pt x="86292" y="441449"/>
                  </a:lnTo>
                  <a:lnTo>
                    <a:pt x="91742" y="441449"/>
                  </a:lnTo>
                  <a:lnTo>
                    <a:pt x="99008" y="441449"/>
                  </a:lnTo>
                  <a:lnTo>
                    <a:pt x="107183" y="441449"/>
                  </a:lnTo>
                  <a:lnTo>
                    <a:pt x="117175" y="439632"/>
                  </a:lnTo>
                  <a:lnTo>
                    <a:pt x="122625" y="435999"/>
                  </a:lnTo>
                  <a:lnTo>
                    <a:pt x="127167" y="431457"/>
                  </a:lnTo>
                  <a:lnTo>
                    <a:pt x="134433" y="424190"/>
                  </a:lnTo>
                  <a:lnTo>
                    <a:pt x="136250" y="420557"/>
                  </a:lnTo>
                  <a:lnTo>
                    <a:pt x="136250" y="419649"/>
                  </a:lnTo>
                  <a:lnTo>
                    <a:pt x="134433" y="417832"/>
                  </a:lnTo>
                  <a:lnTo>
                    <a:pt x="130800" y="416015"/>
                  </a:lnTo>
                  <a:lnTo>
                    <a:pt x="128983" y="410565"/>
                  </a:lnTo>
                  <a:lnTo>
                    <a:pt x="127167" y="406024"/>
                  </a:lnTo>
                  <a:lnTo>
                    <a:pt x="130800" y="395124"/>
                  </a:lnTo>
                  <a:lnTo>
                    <a:pt x="132617" y="392399"/>
                  </a:lnTo>
                  <a:lnTo>
                    <a:pt x="136250" y="388765"/>
                  </a:lnTo>
                  <a:lnTo>
                    <a:pt x="148058" y="385132"/>
                  </a:lnTo>
                  <a:lnTo>
                    <a:pt x="161683" y="382407"/>
                  </a:lnTo>
                  <a:lnTo>
                    <a:pt x="166225" y="380590"/>
                  </a:lnTo>
                  <a:lnTo>
                    <a:pt x="171675" y="378774"/>
                  </a:lnTo>
                  <a:lnTo>
                    <a:pt x="188933" y="365149"/>
                  </a:lnTo>
                  <a:lnTo>
                    <a:pt x="195292" y="361516"/>
                  </a:lnTo>
                  <a:lnTo>
                    <a:pt x="202558" y="356066"/>
                  </a:lnTo>
                  <a:lnTo>
                    <a:pt x="205283" y="349707"/>
                  </a:lnTo>
                  <a:lnTo>
                    <a:pt x="208917" y="343349"/>
                  </a:lnTo>
                  <a:lnTo>
                    <a:pt x="210733" y="336082"/>
                  </a:lnTo>
                  <a:lnTo>
                    <a:pt x="212550" y="322457"/>
                  </a:lnTo>
                  <a:lnTo>
                    <a:pt x="212550" y="305199"/>
                  </a:lnTo>
                  <a:lnTo>
                    <a:pt x="210733" y="290666"/>
                  </a:lnTo>
                  <a:lnTo>
                    <a:pt x="212550" y="281582"/>
                  </a:lnTo>
                  <a:lnTo>
                    <a:pt x="214367" y="273408"/>
                  </a:lnTo>
                  <a:lnTo>
                    <a:pt x="216183" y="266141"/>
                  </a:lnTo>
                  <a:lnTo>
                    <a:pt x="220725" y="259783"/>
                  </a:lnTo>
                  <a:lnTo>
                    <a:pt x="226175" y="251608"/>
                  </a:lnTo>
                  <a:lnTo>
                    <a:pt x="234350" y="244341"/>
                  </a:lnTo>
                  <a:lnTo>
                    <a:pt x="239800" y="239799"/>
                  </a:lnTo>
                  <a:lnTo>
                    <a:pt x="239800" y="236166"/>
                  </a:lnTo>
                  <a:lnTo>
                    <a:pt x="239800" y="234349"/>
                  </a:lnTo>
                  <a:lnTo>
                    <a:pt x="241616" y="232533"/>
                  </a:lnTo>
                  <a:lnTo>
                    <a:pt x="247975" y="224358"/>
                  </a:lnTo>
                  <a:lnTo>
                    <a:pt x="265233" y="210733"/>
                  </a:lnTo>
                  <a:lnTo>
                    <a:pt x="267958" y="205283"/>
                  </a:lnTo>
                  <a:lnTo>
                    <a:pt x="271591" y="200741"/>
                  </a:lnTo>
                  <a:lnTo>
                    <a:pt x="273408" y="195291"/>
                  </a:lnTo>
                  <a:lnTo>
                    <a:pt x="273408" y="191658"/>
                  </a:lnTo>
                  <a:lnTo>
                    <a:pt x="271591" y="185300"/>
                  </a:lnTo>
                  <a:lnTo>
                    <a:pt x="267958" y="179850"/>
                  </a:lnTo>
                  <a:lnTo>
                    <a:pt x="267050" y="176216"/>
                  </a:lnTo>
                  <a:lnTo>
                    <a:pt x="265233" y="175308"/>
                  </a:lnTo>
                  <a:lnTo>
                    <a:pt x="267050" y="171675"/>
                  </a:lnTo>
                  <a:lnTo>
                    <a:pt x="273408" y="168041"/>
                  </a:lnTo>
                  <a:lnTo>
                    <a:pt x="278858" y="164408"/>
                  </a:lnTo>
                  <a:lnTo>
                    <a:pt x="281583" y="161683"/>
                  </a:lnTo>
                  <a:lnTo>
                    <a:pt x="285216" y="156233"/>
                  </a:lnTo>
                  <a:lnTo>
                    <a:pt x="287033" y="152600"/>
                  </a:lnTo>
                  <a:lnTo>
                    <a:pt x="287033" y="144425"/>
                  </a:lnTo>
                  <a:lnTo>
                    <a:pt x="283400" y="136250"/>
                  </a:lnTo>
                  <a:lnTo>
                    <a:pt x="277041" y="118991"/>
                  </a:lnTo>
                  <a:lnTo>
                    <a:pt x="275225" y="109000"/>
                  </a:lnTo>
                  <a:lnTo>
                    <a:pt x="277041" y="105367"/>
                  </a:lnTo>
                  <a:lnTo>
                    <a:pt x="277041" y="99917"/>
                  </a:lnTo>
                  <a:lnTo>
                    <a:pt x="281583" y="101733"/>
                  </a:lnTo>
                  <a:lnTo>
                    <a:pt x="287033" y="99917"/>
                  </a:lnTo>
                  <a:lnTo>
                    <a:pt x="288850" y="98100"/>
                  </a:lnTo>
                  <a:lnTo>
                    <a:pt x="292483" y="95375"/>
                  </a:lnTo>
                  <a:lnTo>
                    <a:pt x="295208" y="86292"/>
                  </a:lnTo>
                  <a:lnTo>
                    <a:pt x="297025" y="76300"/>
                  </a:lnTo>
                  <a:lnTo>
                    <a:pt x="300658" y="56317"/>
                  </a:lnTo>
                  <a:lnTo>
                    <a:pt x="302475" y="49050"/>
                  </a:lnTo>
                  <a:lnTo>
                    <a:pt x="304291" y="47233"/>
                  </a:lnTo>
                  <a:lnTo>
                    <a:pt x="307016" y="46325"/>
                  </a:lnTo>
                  <a:lnTo>
                    <a:pt x="319733" y="44508"/>
                  </a:lnTo>
                  <a:lnTo>
                    <a:pt x="329725" y="44508"/>
                  </a:lnTo>
                  <a:lnTo>
                    <a:pt x="337900" y="44508"/>
                  </a:lnTo>
                  <a:lnTo>
                    <a:pt x="346075" y="46325"/>
                  </a:lnTo>
                  <a:lnTo>
                    <a:pt x="351525" y="49050"/>
                  </a:lnTo>
                  <a:lnTo>
                    <a:pt x="358791" y="52683"/>
                  </a:lnTo>
                  <a:lnTo>
                    <a:pt x="366966" y="60858"/>
                  </a:lnTo>
                  <a:lnTo>
                    <a:pt x="373325" y="69942"/>
                  </a:lnTo>
                  <a:lnTo>
                    <a:pt x="380591" y="74483"/>
                  </a:lnTo>
                  <a:lnTo>
                    <a:pt x="384225" y="76300"/>
                  </a:lnTo>
                  <a:lnTo>
                    <a:pt x="386950" y="76300"/>
                  </a:lnTo>
                  <a:lnTo>
                    <a:pt x="390583" y="74483"/>
                  </a:lnTo>
                  <a:lnTo>
                    <a:pt x="396033" y="71758"/>
                  </a:lnTo>
                  <a:lnTo>
                    <a:pt x="398758" y="68125"/>
                  </a:lnTo>
                  <a:lnTo>
                    <a:pt x="400574" y="62675"/>
                  </a:lnTo>
                  <a:lnTo>
                    <a:pt x="402391" y="49050"/>
                  </a:lnTo>
                  <a:lnTo>
                    <a:pt x="402391" y="42692"/>
                  </a:lnTo>
                  <a:lnTo>
                    <a:pt x="400574" y="37242"/>
                  </a:lnTo>
                  <a:lnTo>
                    <a:pt x="396941" y="32700"/>
                  </a:lnTo>
                  <a:lnTo>
                    <a:pt x="394216" y="30883"/>
                  </a:lnTo>
                  <a:lnTo>
                    <a:pt x="388766" y="29067"/>
                  </a:lnTo>
                  <a:lnTo>
                    <a:pt x="388766" y="27250"/>
                  </a:lnTo>
                  <a:lnTo>
                    <a:pt x="392400" y="23617"/>
                  </a:lnTo>
                  <a:lnTo>
                    <a:pt x="396033" y="20892"/>
                  </a:lnTo>
                  <a:lnTo>
                    <a:pt x="407841" y="11809"/>
                  </a:lnTo>
                  <a:lnTo>
                    <a:pt x="414199" y="5450"/>
                  </a:lnTo>
                  <a:lnTo>
                    <a:pt x="419649" y="1817"/>
                  </a:lnTo>
                  <a:lnTo>
                    <a:pt x="423283" y="0"/>
                  </a:lnTo>
                  <a:close/>
                </a:path>
              </a:pathLst>
            </a:custGeom>
            <a:grpFill/>
            <a:ln w="635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IE"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sp>
          <p:nvSpPr>
            <p:cNvPr id="111" name="Freeform 116">
              <a:extLst>
                <a:ext uri="{FF2B5EF4-FFF2-40B4-BE49-F238E27FC236}">
                  <a16:creationId xmlns:a16="http://schemas.microsoft.com/office/drawing/2014/main" id="{04C51A0D-4D3A-44C9-AEAE-8541AF39646B}"/>
                </a:ext>
              </a:extLst>
            </p:cNvPr>
            <p:cNvSpPr/>
            <p:nvPr/>
          </p:nvSpPr>
          <p:spPr bwMode="gray">
            <a:xfrm>
              <a:off x="5836047" y="5769441"/>
              <a:ext cx="3075" cy="3319"/>
            </a:xfrm>
            <a:custGeom>
              <a:avLst/>
              <a:gdLst>
                <a:gd name="connsiteX0" fmla="*/ 2285 w 3075"/>
                <a:gd name="connsiteY0" fmla="*/ 0 h 3319"/>
                <a:gd name="connsiteX1" fmla="*/ 3075 w 3075"/>
                <a:gd name="connsiteY1" fmla="*/ 3319 h 3319"/>
                <a:gd name="connsiteX2" fmla="*/ 2166 w 3075"/>
                <a:gd name="connsiteY2" fmla="*/ 3319 h 3319"/>
                <a:gd name="connsiteX3" fmla="*/ 0 w 3075"/>
                <a:gd name="connsiteY3" fmla="*/ 69 h 3319"/>
                <a:gd name="connsiteX4" fmla="*/ 2285 w 3075"/>
                <a:gd name="connsiteY4" fmla="*/ 0 h 3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5" h="3319">
                  <a:moveTo>
                    <a:pt x="2285" y="0"/>
                  </a:moveTo>
                  <a:lnTo>
                    <a:pt x="3075" y="3319"/>
                  </a:lnTo>
                  <a:lnTo>
                    <a:pt x="2166" y="3319"/>
                  </a:lnTo>
                  <a:lnTo>
                    <a:pt x="0" y="69"/>
                  </a:lnTo>
                  <a:lnTo>
                    <a:pt x="2285" y="0"/>
                  </a:lnTo>
                  <a:close/>
                </a:path>
              </a:pathLst>
            </a:custGeom>
            <a:grp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IE"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sp>
          <p:nvSpPr>
            <p:cNvPr id="112" name="Rectangle 4">
              <a:extLst>
                <a:ext uri="{FF2B5EF4-FFF2-40B4-BE49-F238E27FC236}">
                  <a16:creationId xmlns:a16="http://schemas.microsoft.com/office/drawing/2014/main" id="{3EF0C59F-C859-4896-B238-27D21773372D}"/>
                </a:ext>
              </a:extLst>
            </p:cNvPr>
            <p:cNvSpPr/>
            <p:nvPr/>
          </p:nvSpPr>
          <p:spPr bwMode="gray">
            <a:xfrm>
              <a:off x="6462287" y="5321637"/>
              <a:ext cx="214982" cy="443977"/>
            </a:xfrm>
            <a:custGeom>
              <a:avLst/>
              <a:gdLst>
                <a:gd name="connsiteX0" fmla="*/ 0 w 117174"/>
                <a:gd name="connsiteY0" fmla="*/ 0 h 410566"/>
                <a:gd name="connsiteX1" fmla="*/ 117174 w 117174"/>
                <a:gd name="connsiteY1" fmla="*/ 0 h 410566"/>
                <a:gd name="connsiteX2" fmla="*/ 117174 w 117174"/>
                <a:gd name="connsiteY2" fmla="*/ 410566 h 410566"/>
                <a:gd name="connsiteX3" fmla="*/ 0 w 117174"/>
                <a:gd name="connsiteY3" fmla="*/ 410566 h 410566"/>
                <a:gd name="connsiteX4" fmla="*/ 0 w 117174"/>
                <a:gd name="connsiteY4" fmla="*/ 0 h 410566"/>
                <a:gd name="connsiteX0" fmla="*/ 116682 w 233856"/>
                <a:gd name="connsiteY0" fmla="*/ 0 h 410566"/>
                <a:gd name="connsiteX1" fmla="*/ 233856 w 233856"/>
                <a:gd name="connsiteY1" fmla="*/ 0 h 410566"/>
                <a:gd name="connsiteX2" fmla="*/ 233856 w 233856"/>
                <a:gd name="connsiteY2" fmla="*/ 410566 h 410566"/>
                <a:gd name="connsiteX3" fmla="*/ 0 w 233856"/>
                <a:gd name="connsiteY3" fmla="*/ 270073 h 410566"/>
                <a:gd name="connsiteX4" fmla="*/ 116682 w 233856"/>
                <a:gd name="connsiteY4" fmla="*/ 0 h 410566"/>
                <a:gd name="connsiteX0" fmla="*/ 116682 w 233856"/>
                <a:gd name="connsiteY0" fmla="*/ 0 h 410566"/>
                <a:gd name="connsiteX1" fmla="*/ 233856 w 233856"/>
                <a:gd name="connsiteY1" fmla="*/ 0 h 410566"/>
                <a:gd name="connsiteX2" fmla="*/ 233856 w 233856"/>
                <a:gd name="connsiteY2" fmla="*/ 410566 h 410566"/>
                <a:gd name="connsiteX3" fmla="*/ 0 w 233856"/>
                <a:gd name="connsiteY3" fmla="*/ 270073 h 410566"/>
                <a:gd name="connsiteX4" fmla="*/ 116682 w 233856"/>
                <a:gd name="connsiteY4" fmla="*/ 0 h 410566"/>
                <a:gd name="connsiteX0" fmla="*/ 116682 w 233856"/>
                <a:gd name="connsiteY0" fmla="*/ 0 h 410566"/>
                <a:gd name="connsiteX1" fmla="*/ 233856 w 233856"/>
                <a:gd name="connsiteY1" fmla="*/ 0 h 410566"/>
                <a:gd name="connsiteX2" fmla="*/ 233856 w 233856"/>
                <a:gd name="connsiteY2" fmla="*/ 410566 h 410566"/>
                <a:gd name="connsiteX3" fmla="*/ 0 w 233856"/>
                <a:gd name="connsiteY3" fmla="*/ 270073 h 410566"/>
                <a:gd name="connsiteX4" fmla="*/ 116682 w 233856"/>
                <a:gd name="connsiteY4" fmla="*/ 0 h 410566"/>
                <a:gd name="connsiteX0" fmla="*/ 116682 w 233856"/>
                <a:gd name="connsiteY0" fmla="*/ 0 h 381991"/>
                <a:gd name="connsiteX1" fmla="*/ 233856 w 233856"/>
                <a:gd name="connsiteY1" fmla="*/ 0 h 381991"/>
                <a:gd name="connsiteX2" fmla="*/ 90981 w 233856"/>
                <a:gd name="connsiteY2" fmla="*/ 381991 h 381991"/>
                <a:gd name="connsiteX3" fmla="*/ 0 w 233856"/>
                <a:gd name="connsiteY3" fmla="*/ 270073 h 381991"/>
                <a:gd name="connsiteX4" fmla="*/ 116682 w 233856"/>
                <a:gd name="connsiteY4" fmla="*/ 0 h 381991"/>
                <a:gd name="connsiteX0" fmla="*/ 116682 w 233856"/>
                <a:gd name="connsiteY0" fmla="*/ 0 h 381991"/>
                <a:gd name="connsiteX1" fmla="*/ 233856 w 233856"/>
                <a:gd name="connsiteY1" fmla="*/ 0 h 381991"/>
                <a:gd name="connsiteX2" fmla="*/ 90981 w 233856"/>
                <a:gd name="connsiteY2" fmla="*/ 381991 h 381991"/>
                <a:gd name="connsiteX3" fmla="*/ 0 w 233856"/>
                <a:gd name="connsiteY3" fmla="*/ 270073 h 381991"/>
                <a:gd name="connsiteX4" fmla="*/ 116682 w 233856"/>
                <a:gd name="connsiteY4" fmla="*/ 0 h 381991"/>
                <a:gd name="connsiteX0" fmla="*/ 116682 w 233856"/>
                <a:gd name="connsiteY0" fmla="*/ 0 h 382634"/>
                <a:gd name="connsiteX1" fmla="*/ 233856 w 233856"/>
                <a:gd name="connsiteY1" fmla="*/ 0 h 382634"/>
                <a:gd name="connsiteX2" fmla="*/ 90981 w 233856"/>
                <a:gd name="connsiteY2" fmla="*/ 381991 h 382634"/>
                <a:gd name="connsiteX3" fmla="*/ 0 w 233856"/>
                <a:gd name="connsiteY3" fmla="*/ 270073 h 382634"/>
                <a:gd name="connsiteX4" fmla="*/ 116682 w 233856"/>
                <a:gd name="connsiteY4" fmla="*/ 0 h 382634"/>
                <a:gd name="connsiteX0" fmla="*/ 116682 w 233856"/>
                <a:gd name="connsiteY0" fmla="*/ 0 h 404019"/>
                <a:gd name="connsiteX1" fmla="*/ 233856 w 233856"/>
                <a:gd name="connsiteY1" fmla="*/ 0 h 404019"/>
                <a:gd name="connsiteX2" fmla="*/ 95743 w 233856"/>
                <a:gd name="connsiteY2" fmla="*/ 403422 h 404019"/>
                <a:gd name="connsiteX3" fmla="*/ 0 w 233856"/>
                <a:gd name="connsiteY3" fmla="*/ 270073 h 404019"/>
                <a:gd name="connsiteX4" fmla="*/ 116682 w 233856"/>
                <a:gd name="connsiteY4" fmla="*/ 0 h 404019"/>
                <a:gd name="connsiteX0" fmla="*/ 116682 w 234471"/>
                <a:gd name="connsiteY0" fmla="*/ 0 h 403422"/>
                <a:gd name="connsiteX1" fmla="*/ 233856 w 234471"/>
                <a:gd name="connsiteY1" fmla="*/ 0 h 403422"/>
                <a:gd name="connsiteX2" fmla="*/ 159969 w 234471"/>
                <a:gd name="connsiteY2" fmla="*/ 267081 h 403422"/>
                <a:gd name="connsiteX3" fmla="*/ 95743 w 234471"/>
                <a:gd name="connsiteY3" fmla="*/ 403422 h 403422"/>
                <a:gd name="connsiteX4" fmla="*/ 0 w 234471"/>
                <a:gd name="connsiteY4" fmla="*/ 270073 h 403422"/>
                <a:gd name="connsiteX5" fmla="*/ 116682 w 234471"/>
                <a:gd name="connsiteY5" fmla="*/ 0 h 403422"/>
                <a:gd name="connsiteX0" fmla="*/ 116682 w 234180"/>
                <a:gd name="connsiteY0" fmla="*/ 0 h 403422"/>
                <a:gd name="connsiteX1" fmla="*/ 233856 w 234180"/>
                <a:gd name="connsiteY1" fmla="*/ 0 h 403422"/>
                <a:gd name="connsiteX2" fmla="*/ 102819 w 234180"/>
                <a:gd name="connsiteY2" fmla="*/ 224219 h 403422"/>
                <a:gd name="connsiteX3" fmla="*/ 95743 w 234180"/>
                <a:gd name="connsiteY3" fmla="*/ 403422 h 403422"/>
                <a:gd name="connsiteX4" fmla="*/ 0 w 234180"/>
                <a:gd name="connsiteY4" fmla="*/ 270073 h 403422"/>
                <a:gd name="connsiteX5" fmla="*/ 116682 w 234180"/>
                <a:gd name="connsiteY5" fmla="*/ 0 h 403422"/>
                <a:gd name="connsiteX0" fmla="*/ 116682 w 234250"/>
                <a:gd name="connsiteY0" fmla="*/ 0 h 403422"/>
                <a:gd name="connsiteX1" fmla="*/ 233856 w 234250"/>
                <a:gd name="connsiteY1" fmla="*/ 0 h 403422"/>
                <a:gd name="connsiteX2" fmla="*/ 124250 w 234250"/>
                <a:gd name="connsiteY2" fmla="*/ 319469 h 403422"/>
                <a:gd name="connsiteX3" fmla="*/ 95743 w 234250"/>
                <a:gd name="connsiteY3" fmla="*/ 403422 h 403422"/>
                <a:gd name="connsiteX4" fmla="*/ 0 w 234250"/>
                <a:gd name="connsiteY4" fmla="*/ 270073 h 403422"/>
                <a:gd name="connsiteX5" fmla="*/ 116682 w 234250"/>
                <a:gd name="connsiteY5" fmla="*/ 0 h 403422"/>
                <a:gd name="connsiteX0" fmla="*/ 116682 w 234250"/>
                <a:gd name="connsiteY0" fmla="*/ 0 h 403422"/>
                <a:gd name="connsiteX1" fmla="*/ 233856 w 234250"/>
                <a:gd name="connsiteY1" fmla="*/ 0 h 403422"/>
                <a:gd name="connsiteX2" fmla="*/ 124250 w 234250"/>
                <a:gd name="connsiteY2" fmla="*/ 319469 h 403422"/>
                <a:gd name="connsiteX3" fmla="*/ 95743 w 234250"/>
                <a:gd name="connsiteY3" fmla="*/ 403422 h 403422"/>
                <a:gd name="connsiteX4" fmla="*/ 0 w 234250"/>
                <a:gd name="connsiteY4" fmla="*/ 270073 h 403422"/>
                <a:gd name="connsiteX5" fmla="*/ 116682 w 234250"/>
                <a:gd name="connsiteY5" fmla="*/ 0 h 403422"/>
                <a:gd name="connsiteX0" fmla="*/ 116682 w 234600"/>
                <a:gd name="connsiteY0" fmla="*/ 0 h 403422"/>
                <a:gd name="connsiteX1" fmla="*/ 233856 w 234600"/>
                <a:gd name="connsiteY1" fmla="*/ 0 h 403422"/>
                <a:gd name="connsiteX2" fmla="*/ 164732 w 234600"/>
                <a:gd name="connsiteY2" fmla="*/ 217075 h 403422"/>
                <a:gd name="connsiteX3" fmla="*/ 124250 w 234600"/>
                <a:gd name="connsiteY3" fmla="*/ 319469 h 403422"/>
                <a:gd name="connsiteX4" fmla="*/ 95743 w 234600"/>
                <a:gd name="connsiteY4" fmla="*/ 403422 h 403422"/>
                <a:gd name="connsiteX5" fmla="*/ 0 w 234600"/>
                <a:gd name="connsiteY5" fmla="*/ 270073 h 403422"/>
                <a:gd name="connsiteX6" fmla="*/ 116682 w 234600"/>
                <a:gd name="connsiteY6" fmla="*/ 0 h 403422"/>
                <a:gd name="connsiteX0" fmla="*/ 116682 w 234267"/>
                <a:gd name="connsiteY0" fmla="*/ 0 h 403422"/>
                <a:gd name="connsiteX1" fmla="*/ 233856 w 234267"/>
                <a:gd name="connsiteY1" fmla="*/ 0 h 403422"/>
                <a:gd name="connsiteX2" fmla="*/ 112345 w 234267"/>
                <a:gd name="connsiteY2" fmla="*/ 183738 h 403422"/>
                <a:gd name="connsiteX3" fmla="*/ 124250 w 234267"/>
                <a:gd name="connsiteY3" fmla="*/ 319469 h 403422"/>
                <a:gd name="connsiteX4" fmla="*/ 95743 w 234267"/>
                <a:gd name="connsiteY4" fmla="*/ 403422 h 403422"/>
                <a:gd name="connsiteX5" fmla="*/ 0 w 234267"/>
                <a:gd name="connsiteY5" fmla="*/ 270073 h 403422"/>
                <a:gd name="connsiteX6" fmla="*/ 116682 w 234267"/>
                <a:gd name="connsiteY6" fmla="*/ 0 h 403422"/>
                <a:gd name="connsiteX0" fmla="*/ 116682 w 234549"/>
                <a:gd name="connsiteY0" fmla="*/ 0 h 403422"/>
                <a:gd name="connsiteX1" fmla="*/ 233856 w 234549"/>
                <a:gd name="connsiteY1" fmla="*/ 0 h 403422"/>
                <a:gd name="connsiteX2" fmla="*/ 159970 w 234549"/>
                <a:gd name="connsiteY2" fmla="*/ 217075 h 403422"/>
                <a:gd name="connsiteX3" fmla="*/ 124250 w 234549"/>
                <a:gd name="connsiteY3" fmla="*/ 319469 h 403422"/>
                <a:gd name="connsiteX4" fmla="*/ 95743 w 234549"/>
                <a:gd name="connsiteY4" fmla="*/ 403422 h 403422"/>
                <a:gd name="connsiteX5" fmla="*/ 0 w 234549"/>
                <a:gd name="connsiteY5" fmla="*/ 270073 h 403422"/>
                <a:gd name="connsiteX6" fmla="*/ 116682 w 234549"/>
                <a:gd name="connsiteY6" fmla="*/ 0 h 403422"/>
                <a:gd name="connsiteX0" fmla="*/ 0 w 244073"/>
                <a:gd name="connsiteY0" fmla="*/ 190500 h 403422"/>
                <a:gd name="connsiteX1" fmla="*/ 243380 w 244073"/>
                <a:gd name="connsiteY1" fmla="*/ 0 h 403422"/>
                <a:gd name="connsiteX2" fmla="*/ 169494 w 244073"/>
                <a:gd name="connsiteY2" fmla="*/ 217075 h 403422"/>
                <a:gd name="connsiteX3" fmla="*/ 133774 w 244073"/>
                <a:gd name="connsiteY3" fmla="*/ 319469 h 403422"/>
                <a:gd name="connsiteX4" fmla="*/ 105267 w 244073"/>
                <a:gd name="connsiteY4" fmla="*/ 403422 h 403422"/>
                <a:gd name="connsiteX5" fmla="*/ 9524 w 244073"/>
                <a:gd name="connsiteY5" fmla="*/ 270073 h 403422"/>
                <a:gd name="connsiteX6" fmla="*/ 0 w 244073"/>
                <a:gd name="connsiteY6" fmla="*/ 190500 h 403422"/>
                <a:gd name="connsiteX0" fmla="*/ 0 w 244073"/>
                <a:gd name="connsiteY0" fmla="*/ 190500 h 403422"/>
                <a:gd name="connsiteX1" fmla="*/ 243380 w 244073"/>
                <a:gd name="connsiteY1" fmla="*/ 0 h 403422"/>
                <a:gd name="connsiteX2" fmla="*/ 169494 w 244073"/>
                <a:gd name="connsiteY2" fmla="*/ 217075 h 403422"/>
                <a:gd name="connsiteX3" fmla="*/ 133774 w 244073"/>
                <a:gd name="connsiteY3" fmla="*/ 319469 h 403422"/>
                <a:gd name="connsiteX4" fmla="*/ 105267 w 244073"/>
                <a:gd name="connsiteY4" fmla="*/ 403422 h 403422"/>
                <a:gd name="connsiteX5" fmla="*/ 9524 w 244073"/>
                <a:gd name="connsiteY5" fmla="*/ 270073 h 403422"/>
                <a:gd name="connsiteX6" fmla="*/ 0 w 244073"/>
                <a:gd name="connsiteY6" fmla="*/ 190500 h 403422"/>
                <a:gd name="connsiteX0" fmla="*/ 0 w 244073"/>
                <a:gd name="connsiteY0" fmla="*/ 199012 h 411934"/>
                <a:gd name="connsiteX1" fmla="*/ 171876 w 244073"/>
                <a:gd name="connsiteY1" fmla="*/ 58899 h 411934"/>
                <a:gd name="connsiteX2" fmla="*/ 243380 w 244073"/>
                <a:gd name="connsiteY2" fmla="*/ 8512 h 411934"/>
                <a:gd name="connsiteX3" fmla="*/ 169494 w 244073"/>
                <a:gd name="connsiteY3" fmla="*/ 225587 h 411934"/>
                <a:gd name="connsiteX4" fmla="*/ 133774 w 244073"/>
                <a:gd name="connsiteY4" fmla="*/ 327981 h 411934"/>
                <a:gd name="connsiteX5" fmla="*/ 105267 w 244073"/>
                <a:gd name="connsiteY5" fmla="*/ 411934 h 411934"/>
                <a:gd name="connsiteX6" fmla="*/ 9524 w 244073"/>
                <a:gd name="connsiteY6" fmla="*/ 278585 h 411934"/>
                <a:gd name="connsiteX7" fmla="*/ 0 w 244073"/>
                <a:gd name="connsiteY7" fmla="*/ 199012 h 411934"/>
                <a:gd name="connsiteX0" fmla="*/ 0 w 244073"/>
                <a:gd name="connsiteY0" fmla="*/ 218153 h 431075"/>
                <a:gd name="connsiteX1" fmla="*/ 121870 w 244073"/>
                <a:gd name="connsiteY1" fmla="*/ 18508 h 431075"/>
                <a:gd name="connsiteX2" fmla="*/ 243380 w 244073"/>
                <a:gd name="connsiteY2" fmla="*/ 27653 h 431075"/>
                <a:gd name="connsiteX3" fmla="*/ 169494 w 244073"/>
                <a:gd name="connsiteY3" fmla="*/ 244728 h 431075"/>
                <a:gd name="connsiteX4" fmla="*/ 133774 w 244073"/>
                <a:gd name="connsiteY4" fmla="*/ 347122 h 431075"/>
                <a:gd name="connsiteX5" fmla="*/ 105267 w 244073"/>
                <a:gd name="connsiteY5" fmla="*/ 431075 h 431075"/>
                <a:gd name="connsiteX6" fmla="*/ 9524 w 244073"/>
                <a:gd name="connsiteY6" fmla="*/ 297726 h 431075"/>
                <a:gd name="connsiteX7" fmla="*/ 0 w 244073"/>
                <a:gd name="connsiteY7" fmla="*/ 218153 h 431075"/>
                <a:gd name="connsiteX0" fmla="*/ 0 w 244073"/>
                <a:gd name="connsiteY0" fmla="*/ 213144 h 426066"/>
                <a:gd name="connsiteX1" fmla="*/ 121870 w 244073"/>
                <a:gd name="connsiteY1" fmla="*/ 13499 h 426066"/>
                <a:gd name="connsiteX2" fmla="*/ 243380 w 244073"/>
                <a:gd name="connsiteY2" fmla="*/ 22644 h 426066"/>
                <a:gd name="connsiteX3" fmla="*/ 169494 w 244073"/>
                <a:gd name="connsiteY3" fmla="*/ 239719 h 426066"/>
                <a:gd name="connsiteX4" fmla="*/ 133774 w 244073"/>
                <a:gd name="connsiteY4" fmla="*/ 342113 h 426066"/>
                <a:gd name="connsiteX5" fmla="*/ 105267 w 244073"/>
                <a:gd name="connsiteY5" fmla="*/ 426066 h 426066"/>
                <a:gd name="connsiteX6" fmla="*/ 9524 w 244073"/>
                <a:gd name="connsiteY6" fmla="*/ 292717 h 426066"/>
                <a:gd name="connsiteX7" fmla="*/ 0 w 244073"/>
                <a:gd name="connsiteY7" fmla="*/ 213144 h 426066"/>
                <a:gd name="connsiteX0" fmla="*/ 0 w 244073"/>
                <a:gd name="connsiteY0" fmla="*/ 218153 h 431075"/>
                <a:gd name="connsiteX1" fmla="*/ 121870 w 244073"/>
                <a:gd name="connsiteY1" fmla="*/ 18508 h 431075"/>
                <a:gd name="connsiteX2" fmla="*/ 243380 w 244073"/>
                <a:gd name="connsiteY2" fmla="*/ 27653 h 431075"/>
                <a:gd name="connsiteX3" fmla="*/ 169494 w 244073"/>
                <a:gd name="connsiteY3" fmla="*/ 244728 h 431075"/>
                <a:gd name="connsiteX4" fmla="*/ 133774 w 244073"/>
                <a:gd name="connsiteY4" fmla="*/ 347122 h 431075"/>
                <a:gd name="connsiteX5" fmla="*/ 105267 w 244073"/>
                <a:gd name="connsiteY5" fmla="*/ 431075 h 431075"/>
                <a:gd name="connsiteX6" fmla="*/ 9524 w 244073"/>
                <a:gd name="connsiteY6" fmla="*/ 297726 h 431075"/>
                <a:gd name="connsiteX7" fmla="*/ 0 w 244073"/>
                <a:gd name="connsiteY7" fmla="*/ 218153 h 431075"/>
                <a:gd name="connsiteX0" fmla="*/ 0 w 178188"/>
                <a:gd name="connsiteY0" fmla="*/ 208851 h 421773"/>
                <a:gd name="connsiteX1" fmla="*/ 121870 w 178188"/>
                <a:gd name="connsiteY1" fmla="*/ 9206 h 421773"/>
                <a:gd name="connsiteX2" fmla="*/ 164799 w 178188"/>
                <a:gd name="connsiteY2" fmla="*/ 63594 h 421773"/>
                <a:gd name="connsiteX3" fmla="*/ 169494 w 178188"/>
                <a:gd name="connsiteY3" fmla="*/ 235426 h 421773"/>
                <a:gd name="connsiteX4" fmla="*/ 133774 w 178188"/>
                <a:gd name="connsiteY4" fmla="*/ 337820 h 421773"/>
                <a:gd name="connsiteX5" fmla="*/ 105267 w 178188"/>
                <a:gd name="connsiteY5" fmla="*/ 421773 h 421773"/>
                <a:gd name="connsiteX6" fmla="*/ 9524 w 178188"/>
                <a:gd name="connsiteY6" fmla="*/ 288424 h 421773"/>
                <a:gd name="connsiteX7" fmla="*/ 0 w 178188"/>
                <a:gd name="connsiteY7" fmla="*/ 208851 h 421773"/>
                <a:gd name="connsiteX0" fmla="*/ 0 w 178188"/>
                <a:gd name="connsiteY0" fmla="*/ 217639 h 430561"/>
                <a:gd name="connsiteX1" fmla="*/ 121870 w 178188"/>
                <a:gd name="connsiteY1" fmla="*/ 17994 h 430561"/>
                <a:gd name="connsiteX2" fmla="*/ 159969 w 178188"/>
                <a:gd name="connsiteY2" fmla="*/ 15615 h 430561"/>
                <a:gd name="connsiteX3" fmla="*/ 164799 w 178188"/>
                <a:gd name="connsiteY3" fmla="*/ 72382 h 430561"/>
                <a:gd name="connsiteX4" fmla="*/ 169494 w 178188"/>
                <a:gd name="connsiteY4" fmla="*/ 244214 h 430561"/>
                <a:gd name="connsiteX5" fmla="*/ 133774 w 178188"/>
                <a:gd name="connsiteY5" fmla="*/ 346608 h 430561"/>
                <a:gd name="connsiteX6" fmla="*/ 105267 w 178188"/>
                <a:gd name="connsiteY6" fmla="*/ 430561 h 430561"/>
                <a:gd name="connsiteX7" fmla="*/ 9524 w 178188"/>
                <a:gd name="connsiteY7" fmla="*/ 297212 h 430561"/>
                <a:gd name="connsiteX8" fmla="*/ 0 w 178188"/>
                <a:gd name="connsiteY8" fmla="*/ 217639 h 430561"/>
                <a:gd name="connsiteX0" fmla="*/ 0 w 178188"/>
                <a:gd name="connsiteY0" fmla="*/ 225613 h 438535"/>
                <a:gd name="connsiteX1" fmla="*/ 121870 w 178188"/>
                <a:gd name="connsiteY1" fmla="*/ 25968 h 438535"/>
                <a:gd name="connsiteX2" fmla="*/ 174256 w 178188"/>
                <a:gd name="connsiteY2" fmla="*/ 6920 h 438535"/>
                <a:gd name="connsiteX3" fmla="*/ 164799 w 178188"/>
                <a:gd name="connsiteY3" fmla="*/ 80356 h 438535"/>
                <a:gd name="connsiteX4" fmla="*/ 169494 w 178188"/>
                <a:gd name="connsiteY4" fmla="*/ 252188 h 438535"/>
                <a:gd name="connsiteX5" fmla="*/ 133774 w 178188"/>
                <a:gd name="connsiteY5" fmla="*/ 354582 h 438535"/>
                <a:gd name="connsiteX6" fmla="*/ 105267 w 178188"/>
                <a:gd name="connsiteY6" fmla="*/ 438535 h 438535"/>
                <a:gd name="connsiteX7" fmla="*/ 9524 w 178188"/>
                <a:gd name="connsiteY7" fmla="*/ 305186 h 438535"/>
                <a:gd name="connsiteX8" fmla="*/ 0 w 178188"/>
                <a:gd name="connsiteY8" fmla="*/ 225613 h 438535"/>
                <a:gd name="connsiteX0" fmla="*/ 0 w 204529"/>
                <a:gd name="connsiteY0" fmla="*/ 225613 h 438535"/>
                <a:gd name="connsiteX1" fmla="*/ 121870 w 204529"/>
                <a:gd name="connsiteY1" fmla="*/ 25968 h 438535"/>
                <a:gd name="connsiteX2" fmla="*/ 174256 w 204529"/>
                <a:gd name="connsiteY2" fmla="*/ 6920 h 438535"/>
                <a:gd name="connsiteX3" fmla="*/ 202899 w 204529"/>
                <a:gd name="connsiteY3" fmla="*/ 54162 h 438535"/>
                <a:gd name="connsiteX4" fmla="*/ 169494 w 204529"/>
                <a:gd name="connsiteY4" fmla="*/ 252188 h 438535"/>
                <a:gd name="connsiteX5" fmla="*/ 133774 w 204529"/>
                <a:gd name="connsiteY5" fmla="*/ 354582 h 438535"/>
                <a:gd name="connsiteX6" fmla="*/ 105267 w 204529"/>
                <a:gd name="connsiteY6" fmla="*/ 438535 h 438535"/>
                <a:gd name="connsiteX7" fmla="*/ 9524 w 204529"/>
                <a:gd name="connsiteY7" fmla="*/ 305186 h 438535"/>
                <a:gd name="connsiteX8" fmla="*/ 0 w 204529"/>
                <a:gd name="connsiteY8" fmla="*/ 225613 h 438535"/>
                <a:gd name="connsiteX0" fmla="*/ 0 w 203410"/>
                <a:gd name="connsiteY0" fmla="*/ 225613 h 438535"/>
                <a:gd name="connsiteX1" fmla="*/ 121870 w 203410"/>
                <a:gd name="connsiteY1" fmla="*/ 25968 h 438535"/>
                <a:gd name="connsiteX2" fmla="*/ 174256 w 203410"/>
                <a:gd name="connsiteY2" fmla="*/ 6920 h 438535"/>
                <a:gd name="connsiteX3" fmla="*/ 202899 w 203410"/>
                <a:gd name="connsiteY3" fmla="*/ 54162 h 438535"/>
                <a:gd name="connsiteX4" fmla="*/ 190926 w 203410"/>
                <a:gd name="connsiteY4" fmla="*/ 159320 h 438535"/>
                <a:gd name="connsiteX5" fmla="*/ 169494 w 203410"/>
                <a:gd name="connsiteY5" fmla="*/ 252188 h 438535"/>
                <a:gd name="connsiteX6" fmla="*/ 133774 w 203410"/>
                <a:gd name="connsiteY6" fmla="*/ 354582 h 438535"/>
                <a:gd name="connsiteX7" fmla="*/ 105267 w 203410"/>
                <a:gd name="connsiteY7" fmla="*/ 438535 h 438535"/>
                <a:gd name="connsiteX8" fmla="*/ 9524 w 203410"/>
                <a:gd name="connsiteY8" fmla="*/ 305186 h 438535"/>
                <a:gd name="connsiteX9" fmla="*/ 0 w 203410"/>
                <a:gd name="connsiteY9" fmla="*/ 225613 h 438535"/>
                <a:gd name="connsiteX0" fmla="*/ 0 w 202990"/>
                <a:gd name="connsiteY0" fmla="*/ 225613 h 438535"/>
                <a:gd name="connsiteX1" fmla="*/ 121870 w 202990"/>
                <a:gd name="connsiteY1" fmla="*/ 25968 h 438535"/>
                <a:gd name="connsiteX2" fmla="*/ 174256 w 202990"/>
                <a:gd name="connsiteY2" fmla="*/ 6920 h 438535"/>
                <a:gd name="connsiteX3" fmla="*/ 202899 w 202990"/>
                <a:gd name="connsiteY3" fmla="*/ 54162 h 438535"/>
                <a:gd name="connsiteX4" fmla="*/ 138539 w 202990"/>
                <a:gd name="connsiteY4" fmla="*/ 123602 h 438535"/>
                <a:gd name="connsiteX5" fmla="*/ 169494 w 202990"/>
                <a:gd name="connsiteY5" fmla="*/ 252188 h 438535"/>
                <a:gd name="connsiteX6" fmla="*/ 133774 w 202990"/>
                <a:gd name="connsiteY6" fmla="*/ 354582 h 438535"/>
                <a:gd name="connsiteX7" fmla="*/ 105267 w 202990"/>
                <a:gd name="connsiteY7" fmla="*/ 438535 h 438535"/>
                <a:gd name="connsiteX8" fmla="*/ 9524 w 202990"/>
                <a:gd name="connsiteY8" fmla="*/ 305186 h 438535"/>
                <a:gd name="connsiteX9" fmla="*/ 0 w 202990"/>
                <a:gd name="connsiteY9" fmla="*/ 225613 h 438535"/>
                <a:gd name="connsiteX0" fmla="*/ 0 w 203178"/>
                <a:gd name="connsiteY0" fmla="*/ 225613 h 438535"/>
                <a:gd name="connsiteX1" fmla="*/ 121870 w 203178"/>
                <a:gd name="connsiteY1" fmla="*/ 25968 h 438535"/>
                <a:gd name="connsiteX2" fmla="*/ 174256 w 203178"/>
                <a:gd name="connsiteY2" fmla="*/ 6920 h 438535"/>
                <a:gd name="connsiteX3" fmla="*/ 202899 w 203178"/>
                <a:gd name="connsiteY3" fmla="*/ 54162 h 438535"/>
                <a:gd name="connsiteX4" fmla="*/ 181401 w 203178"/>
                <a:gd name="connsiteY4" fmla="*/ 149795 h 438535"/>
                <a:gd name="connsiteX5" fmla="*/ 169494 w 203178"/>
                <a:gd name="connsiteY5" fmla="*/ 252188 h 438535"/>
                <a:gd name="connsiteX6" fmla="*/ 133774 w 203178"/>
                <a:gd name="connsiteY6" fmla="*/ 354582 h 438535"/>
                <a:gd name="connsiteX7" fmla="*/ 105267 w 203178"/>
                <a:gd name="connsiteY7" fmla="*/ 438535 h 438535"/>
                <a:gd name="connsiteX8" fmla="*/ 9524 w 203178"/>
                <a:gd name="connsiteY8" fmla="*/ 305186 h 438535"/>
                <a:gd name="connsiteX9" fmla="*/ 0 w 203178"/>
                <a:gd name="connsiteY9" fmla="*/ 225613 h 438535"/>
                <a:gd name="connsiteX0" fmla="*/ 0 w 214982"/>
                <a:gd name="connsiteY0" fmla="*/ 225613 h 438535"/>
                <a:gd name="connsiteX1" fmla="*/ 121870 w 214982"/>
                <a:gd name="connsiteY1" fmla="*/ 25968 h 438535"/>
                <a:gd name="connsiteX2" fmla="*/ 174256 w 214982"/>
                <a:gd name="connsiteY2" fmla="*/ 6920 h 438535"/>
                <a:gd name="connsiteX3" fmla="*/ 214805 w 214982"/>
                <a:gd name="connsiteY3" fmla="*/ 27968 h 438535"/>
                <a:gd name="connsiteX4" fmla="*/ 181401 w 214982"/>
                <a:gd name="connsiteY4" fmla="*/ 149795 h 438535"/>
                <a:gd name="connsiteX5" fmla="*/ 169494 w 214982"/>
                <a:gd name="connsiteY5" fmla="*/ 252188 h 438535"/>
                <a:gd name="connsiteX6" fmla="*/ 133774 w 214982"/>
                <a:gd name="connsiteY6" fmla="*/ 354582 h 438535"/>
                <a:gd name="connsiteX7" fmla="*/ 105267 w 214982"/>
                <a:gd name="connsiteY7" fmla="*/ 438535 h 438535"/>
                <a:gd name="connsiteX8" fmla="*/ 9524 w 214982"/>
                <a:gd name="connsiteY8" fmla="*/ 305186 h 438535"/>
                <a:gd name="connsiteX9" fmla="*/ 0 w 214982"/>
                <a:gd name="connsiteY9" fmla="*/ 225613 h 438535"/>
                <a:gd name="connsiteX0" fmla="*/ 0 w 214982"/>
                <a:gd name="connsiteY0" fmla="*/ 225613 h 438535"/>
                <a:gd name="connsiteX1" fmla="*/ 121870 w 214982"/>
                <a:gd name="connsiteY1" fmla="*/ 25968 h 438535"/>
                <a:gd name="connsiteX2" fmla="*/ 174256 w 214982"/>
                <a:gd name="connsiteY2" fmla="*/ 6920 h 438535"/>
                <a:gd name="connsiteX3" fmla="*/ 214805 w 214982"/>
                <a:gd name="connsiteY3" fmla="*/ 27968 h 438535"/>
                <a:gd name="connsiteX4" fmla="*/ 181401 w 214982"/>
                <a:gd name="connsiteY4" fmla="*/ 149795 h 438535"/>
                <a:gd name="connsiteX5" fmla="*/ 169494 w 214982"/>
                <a:gd name="connsiteY5" fmla="*/ 252188 h 438535"/>
                <a:gd name="connsiteX6" fmla="*/ 133774 w 214982"/>
                <a:gd name="connsiteY6" fmla="*/ 354582 h 438535"/>
                <a:gd name="connsiteX7" fmla="*/ 105267 w 214982"/>
                <a:gd name="connsiteY7" fmla="*/ 438535 h 438535"/>
                <a:gd name="connsiteX8" fmla="*/ 9524 w 214982"/>
                <a:gd name="connsiteY8" fmla="*/ 305186 h 438535"/>
                <a:gd name="connsiteX9" fmla="*/ 0 w 214982"/>
                <a:gd name="connsiteY9" fmla="*/ 225613 h 438535"/>
                <a:gd name="connsiteX0" fmla="*/ 0 w 214982"/>
                <a:gd name="connsiteY0" fmla="*/ 225613 h 438535"/>
                <a:gd name="connsiteX1" fmla="*/ 121870 w 214982"/>
                <a:gd name="connsiteY1" fmla="*/ 25968 h 438535"/>
                <a:gd name="connsiteX2" fmla="*/ 174256 w 214982"/>
                <a:gd name="connsiteY2" fmla="*/ 6920 h 438535"/>
                <a:gd name="connsiteX3" fmla="*/ 214805 w 214982"/>
                <a:gd name="connsiteY3" fmla="*/ 27968 h 438535"/>
                <a:gd name="connsiteX4" fmla="*/ 181401 w 214982"/>
                <a:gd name="connsiteY4" fmla="*/ 149795 h 438535"/>
                <a:gd name="connsiteX5" fmla="*/ 169494 w 214982"/>
                <a:gd name="connsiteY5" fmla="*/ 252188 h 438535"/>
                <a:gd name="connsiteX6" fmla="*/ 133774 w 214982"/>
                <a:gd name="connsiteY6" fmla="*/ 354582 h 438535"/>
                <a:gd name="connsiteX7" fmla="*/ 105267 w 214982"/>
                <a:gd name="connsiteY7" fmla="*/ 438535 h 438535"/>
                <a:gd name="connsiteX8" fmla="*/ 9524 w 214982"/>
                <a:gd name="connsiteY8" fmla="*/ 305186 h 438535"/>
                <a:gd name="connsiteX9" fmla="*/ 0 w 214982"/>
                <a:gd name="connsiteY9" fmla="*/ 225613 h 438535"/>
                <a:gd name="connsiteX0" fmla="*/ 0 w 214982"/>
                <a:gd name="connsiteY0" fmla="*/ 221625 h 434547"/>
                <a:gd name="connsiteX1" fmla="*/ 121870 w 214982"/>
                <a:gd name="connsiteY1" fmla="*/ 21980 h 434547"/>
                <a:gd name="connsiteX2" fmla="*/ 152824 w 214982"/>
                <a:gd name="connsiteY2" fmla="*/ 10075 h 434547"/>
                <a:gd name="connsiteX3" fmla="*/ 214805 w 214982"/>
                <a:gd name="connsiteY3" fmla="*/ 23980 h 434547"/>
                <a:gd name="connsiteX4" fmla="*/ 181401 w 214982"/>
                <a:gd name="connsiteY4" fmla="*/ 145807 h 434547"/>
                <a:gd name="connsiteX5" fmla="*/ 169494 w 214982"/>
                <a:gd name="connsiteY5" fmla="*/ 248200 h 434547"/>
                <a:gd name="connsiteX6" fmla="*/ 133774 w 214982"/>
                <a:gd name="connsiteY6" fmla="*/ 350594 h 434547"/>
                <a:gd name="connsiteX7" fmla="*/ 105267 w 214982"/>
                <a:gd name="connsiteY7" fmla="*/ 434547 h 434547"/>
                <a:gd name="connsiteX8" fmla="*/ 9524 w 214982"/>
                <a:gd name="connsiteY8" fmla="*/ 301198 h 434547"/>
                <a:gd name="connsiteX9" fmla="*/ 0 w 214982"/>
                <a:gd name="connsiteY9" fmla="*/ 221625 h 434547"/>
                <a:gd name="connsiteX0" fmla="*/ 0 w 214982"/>
                <a:gd name="connsiteY0" fmla="*/ 238391 h 451313"/>
                <a:gd name="connsiteX1" fmla="*/ 121870 w 214982"/>
                <a:gd name="connsiteY1" fmla="*/ 38746 h 451313"/>
                <a:gd name="connsiteX2" fmla="*/ 174255 w 214982"/>
                <a:gd name="connsiteY2" fmla="*/ 3028 h 451313"/>
                <a:gd name="connsiteX3" fmla="*/ 214805 w 214982"/>
                <a:gd name="connsiteY3" fmla="*/ 40746 h 451313"/>
                <a:gd name="connsiteX4" fmla="*/ 181401 w 214982"/>
                <a:gd name="connsiteY4" fmla="*/ 162573 h 451313"/>
                <a:gd name="connsiteX5" fmla="*/ 169494 w 214982"/>
                <a:gd name="connsiteY5" fmla="*/ 264966 h 451313"/>
                <a:gd name="connsiteX6" fmla="*/ 133774 w 214982"/>
                <a:gd name="connsiteY6" fmla="*/ 367360 h 451313"/>
                <a:gd name="connsiteX7" fmla="*/ 105267 w 214982"/>
                <a:gd name="connsiteY7" fmla="*/ 451313 h 451313"/>
                <a:gd name="connsiteX8" fmla="*/ 9524 w 214982"/>
                <a:gd name="connsiteY8" fmla="*/ 317964 h 451313"/>
                <a:gd name="connsiteX9" fmla="*/ 0 w 214982"/>
                <a:gd name="connsiteY9" fmla="*/ 238391 h 451313"/>
                <a:gd name="connsiteX0" fmla="*/ 0 w 214982"/>
                <a:gd name="connsiteY0" fmla="*/ 228813 h 441735"/>
                <a:gd name="connsiteX1" fmla="*/ 121870 w 214982"/>
                <a:gd name="connsiteY1" fmla="*/ 29168 h 441735"/>
                <a:gd name="connsiteX2" fmla="*/ 157587 w 214982"/>
                <a:gd name="connsiteY2" fmla="*/ 5356 h 441735"/>
                <a:gd name="connsiteX3" fmla="*/ 214805 w 214982"/>
                <a:gd name="connsiteY3" fmla="*/ 31168 h 441735"/>
                <a:gd name="connsiteX4" fmla="*/ 181401 w 214982"/>
                <a:gd name="connsiteY4" fmla="*/ 152995 h 441735"/>
                <a:gd name="connsiteX5" fmla="*/ 169494 w 214982"/>
                <a:gd name="connsiteY5" fmla="*/ 255388 h 441735"/>
                <a:gd name="connsiteX6" fmla="*/ 133774 w 214982"/>
                <a:gd name="connsiteY6" fmla="*/ 357782 h 441735"/>
                <a:gd name="connsiteX7" fmla="*/ 105267 w 214982"/>
                <a:gd name="connsiteY7" fmla="*/ 441735 h 441735"/>
                <a:gd name="connsiteX8" fmla="*/ 9524 w 214982"/>
                <a:gd name="connsiteY8" fmla="*/ 308386 h 441735"/>
                <a:gd name="connsiteX9" fmla="*/ 0 w 214982"/>
                <a:gd name="connsiteY9" fmla="*/ 228813 h 441735"/>
                <a:gd name="connsiteX0" fmla="*/ 0 w 214982"/>
                <a:gd name="connsiteY0" fmla="*/ 236212 h 449134"/>
                <a:gd name="connsiteX1" fmla="*/ 121870 w 214982"/>
                <a:gd name="connsiteY1" fmla="*/ 36567 h 449134"/>
                <a:gd name="connsiteX2" fmla="*/ 157587 w 214982"/>
                <a:gd name="connsiteY2" fmla="*/ 12755 h 449134"/>
                <a:gd name="connsiteX3" fmla="*/ 214805 w 214982"/>
                <a:gd name="connsiteY3" fmla="*/ 38567 h 449134"/>
                <a:gd name="connsiteX4" fmla="*/ 181401 w 214982"/>
                <a:gd name="connsiteY4" fmla="*/ 160394 h 449134"/>
                <a:gd name="connsiteX5" fmla="*/ 169494 w 214982"/>
                <a:gd name="connsiteY5" fmla="*/ 262787 h 449134"/>
                <a:gd name="connsiteX6" fmla="*/ 133774 w 214982"/>
                <a:gd name="connsiteY6" fmla="*/ 365181 h 449134"/>
                <a:gd name="connsiteX7" fmla="*/ 105267 w 214982"/>
                <a:gd name="connsiteY7" fmla="*/ 449134 h 449134"/>
                <a:gd name="connsiteX8" fmla="*/ 9524 w 214982"/>
                <a:gd name="connsiteY8" fmla="*/ 315785 h 449134"/>
                <a:gd name="connsiteX9" fmla="*/ 0 w 214982"/>
                <a:gd name="connsiteY9" fmla="*/ 236212 h 449134"/>
                <a:gd name="connsiteX0" fmla="*/ 0 w 214982"/>
                <a:gd name="connsiteY0" fmla="*/ 224600 h 437522"/>
                <a:gd name="connsiteX1" fmla="*/ 121870 w 214982"/>
                <a:gd name="connsiteY1" fmla="*/ 24955 h 437522"/>
                <a:gd name="connsiteX2" fmla="*/ 157587 w 214982"/>
                <a:gd name="connsiteY2" fmla="*/ 1143 h 437522"/>
                <a:gd name="connsiteX3" fmla="*/ 214805 w 214982"/>
                <a:gd name="connsiteY3" fmla="*/ 26955 h 437522"/>
                <a:gd name="connsiteX4" fmla="*/ 181401 w 214982"/>
                <a:gd name="connsiteY4" fmla="*/ 148782 h 437522"/>
                <a:gd name="connsiteX5" fmla="*/ 169494 w 214982"/>
                <a:gd name="connsiteY5" fmla="*/ 251175 h 437522"/>
                <a:gd name="connsiteX6" fmla="*/ 133774 w 214982"/>
                <a:gd name="connsiteY6" fmla="*/ 353569 h 437522"/>
                <a:gd name="connsiteX7" fmla="*/ 105267 w 214982"/>
                <a:gd name="connsiteY7" fmla="*/ 437522 h 437522"/>
                <a:gd name="connsiteX8" fmla="*/ 9524 w 214982"/>
                <a:gd name="connsiteY8" fmla="*/ 304173 h 437522"/>
                <a:gd name="connsiteX9" fmla="*/ 0 w 214982"/>
                <a:gd name="connsiteY9" fmla="*/ 224600 h 437522"/>
                <a:gd name="connsiteX0" fmla="*/ 0 w 214982"/>
                <a:gd name="connsiteY0" fmla="*/ 231055 h 443977"/>
                <a:gd name="connsiteX1" fmla="*/ 121870 w 214982"/>
                <a:gd name="connsiteY1" fmla="*/ 31410 h 443977"/>
                <a:gd name="connsiteX2" fmla="*/ 174256 w 214982"/>
                <a:gd name="connsiteY2" fmla="*/ 455 h 443977"/>
                <a:gd name="connsiteX3" fmla="*/ 214805 w 214982"/>
                <a:gd name="connsiteY3" fmla="*/ 33410 h 443977"/>
                <a:gd name="connsiteX4" fmla="*/ 181401 w 214982"/>
                <a:gd name="connsiteY4" fmla="*/ 155237 h 443977"/>
                <a:gd name="connsiteX5" fmla="*/ 169494 w 214982"/>
                <a:gd name="connsiteY5" fmla="*/ 257630 h 443977"/>
                <a:gd name="connsiteX6" fmla="*/ 133774 w 214982"/>
                <a:gd name="connsiteY6" fmla="*/ 360024 h 443977"/>
                <a:gd name="connsiteX7" fmla="*/ 105267 w 214982"/>
                <a:gd name="connsiteY7" fmla="*/ 443977 h 443977"/>
                <a:gd name="connsiteX8" fmla="*/ 9524 w 214982"/>
                <a:gd name="connsiteY8" fmla="*/ 310628 h 443977"/>
                <a:gd name="connsiteX9" fmla="*/ 0 w 214982"/>
                <a:gd name="connsiteY9" fmla="*/ 231055 h 443977"/>
                <a:gd name="connsiteX0" fmla="*/ 0 w 214982"/>
                <a:gd name="connsiteY0" fmla="*/ 231055 h 443977"/>
                <a:gd name="connsiteX1" fmla="*/ 109964 w 214982"/>
                <a:gd name="connsiteY1" fmla="*/ 43316 h 443977"/>
                <a:gd name="connsiteX2" fmla="*/ 174256 w 214982"/>
                <a:gd name="connsiteY2" fmla="*/ 455 h 443977"/>
                <a:gd name="connsiteX3" fmla="*/ 214805 w 214982"/>
                <a:gd name="connsiteY3" fmla="*/ 33410 h 443977"/>
                <a:gd name="connsiteX4" fmla="*/ 181401 w 214982"/>
                <a:gd name="connsiteY4" fmla="*/ 155237 h 443977"/>
                <a:gd name="connsiteX5" fmla="*/ 169494 w 214982"/>
                <a:gd name="connsiteY5" fmla="*/ 257630 h 443977"/>
                <a:gd name="connsiteX6" fmla="*/ 133774 w 214982"/>
                <a:gd name="connsiteY6" fmla="*/ 360024 h 443977"/>
                <a:gd name="connsiteX7" fmla="*/ 105267 w 214982"/>
                <a:gd name="connsiteY7" fmla="*/ 443977 h 443977"/>
                <a:gd name="connsiteX8" fmla="*/ 9524 w 214982"/>
                <a:gd name="connsiteY8" fmla="*/ 310628 h 443977"/>
                <a:gd name="connsiteX9" fmla="*/ 0 w 214982"/>
                <a:gd name="connsiteY9" fmla="*/ 231055 h 443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4982" h="443977">
                  <a:moveTo>
                    <a:pt x="0" y="231055"/>
                  </a:moveTo>
                  <a:cubicBezTo>
                    <a:pt x="27059" y="194441"/>
                    <a:pt x="69401" y="75066"/>
                    <a:pt x="109964" y="43316"/>
                  </a:cubicBezTo>
                  <a:cubicBezTo>
                    <a:pt x="136626" y="9645"/>
                    <a:pt x="143289" y="915"/>
                    <a:pt x="174256" y="455"/>
                  </a:cubicBezTo>
                  <a:cubicBezTo>
                    <a:pt x="214749" y="-2386"/>
                    <a:pt x="212027" y="8010"/>
                    <a:pt x="214805" y="33410"/>
                  </a:cubicBezTo>
                  <a:cubicBezTo>
                    <a:pt x="217583" y="58810"/>
                    <a:pt x="186968" y="122233"/>
                    <a:pt x="181401" y="155237"/>
                  </a:cubicBezTo>
                  <a:cubicBezTo>
                    <a:pt x="175834" y="188241"/>
                    <a:pt x="179019" y="225086"/>
                    <a:pt x="169494" y="257630"/>
                  </a:cubicBezTo>
                  <a:cubicBezTo>
                    <a:pt x="159969" y="290174"/>
                    <a:pt x="145272" y="328966"/>
                    <a:pt x="133774" y="360024"/>
                  </a:cubicBezTo>
                  <a:cubicBezTo>
                    <a:pt x="127424" y="386780"/>
                    <a:pt x="131928" y="443478"/>
                    <a:pt x="105267" y="443977"/>
                  </a:cubicBezTo>
                  <a:cubicBezTo>
                    <a:pt x="55890" y="387621"/>
                    <a:pt x="58901" y="374128"/>
                    <a:pt x="9524" y="310628"/>
                  </a:cubicBezTo>
                  <a:lnTo>
                    <a:pt x="0" y="231055"/>
                  </a:lnTo>
                  <a:close/>
                </a:path>
              </a:pathLst>
            </a:custGeom>
            <a:grp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IE"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grpSp>
      <p:sp>
        <p:nvSpPr>
          <p:cNvPr id="114" name="Footer Placeholder 113">
            <a:extLst>
              <a:ext uri="{FF2B5EF4-FFF2-40B4-BE49-F238E27FC236}">
                <a16:creationId xmlns:a16="http://schemas.microsoft.com/office/drawing/2014/main" id="{0CC998EC-CE51-4410-BDF6-FE63C8150A9B}"/>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15" name="Slide Number Placeholder 114">
            <a:extLst>
              <a:ext uri="{FF2B5EF4-FFF2-40B4-BE49-F238E27FC236}">
                <a16:creationId xmlns:a16="http://schemas.microsoft.com/office/drawing/2014/main" id="{0A1C571A-3EF6-4805-A95F-C09BA5BE647A}"/>
              </a:ext>
            </a:extLst>
          </p:cNvPr>
          <p:cNvSpPr>
            <a:spLocks noGrp="1"/>
          </p:cNvSpPr>
          <p:nvPr>
            <p:ph type="sldNum" sz="quarter" idx="10"/>
          </p:nvPr>
        </p:nvSpPr>
        <p:spPr/>
        <p:txBody>
          <a:bodyPr/>
          <a:lstStyle/>
          <a:p>
            <a:fld id="{1F90F471-3972-4120-B8B3-0237DE626C35}" type="slidenum">
              <a:rPr lang="en-US" smtClean="0"/>
              <a:pPr/>
              <a:t>367</a:t>
            </a:fld>
            <a:endParaRPr lang="en-US" dirty="0"/>
          </a:p>
        </p:txBody>
      </p:sp>
    </p:spTree>
    <p:extLst>
      <p:ext uri="{BB962C8B-B14F-4D97-AF65-F5344CB8AC3E}">
        <p14:creationId xmlns:p14="http://schemas.microsoft.com/office/powerpoint/2010/main" val="117072917"/>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India</a:t>
            </a:r>
            <a:endParaRPr lang="de-DE" dirty="0"/>
          </a:p>
        </p:txBody>
      </p:sp>
      <p:sp>
        <p:nvSpPr>
          <p:cNvPr id="3" name="TextBox 2">
            <a:extLst>
              <a:ext uri="{FF2B5EF4-FFF2-40B4-BE49-F238E27FC236}">
                <a16:creationId xmlns:a16="http://schemas.microsoft.com/office/drawing/2014/main" id="{EAD83992-2067-4D9F-B805-85EB24B340A0}"/>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shade one or more countries</a:t>
            </a:r>
          </a:p>
        </p:txBody>
      </p:sp>
      <p:sp>
        <p:nvSpPr>
          <p:cNvPr id="86" name="Footer Placeholder 85">
            <a:extLst>
              <a:ext uri="{FF2B5EF4-FFF2-40B4-BE49-F238E27FC236}">
                <a16:creationId xmlns:a16="http://schemas.microsoft.com/office/drawing/2014/main" id="{DD7C6656-BAF1-4563-9859-EA08917EBBD8}"/>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87" name="Slide Number Placeholder 86">
            <a:extLst>
              <a:ext uri="{FF2B5EF4-FFF2-40B4-BE49-F238E27FC236}">
                <a16:creationId xmlns:a16="http://schemas.microsoft.com/office/drawing/2014/main" id="{35A99C53-68D7-46AA-9798-1E1DC322D907}"/>
              </a:ext>
            </a:extLst>
          </p:cNvPr>
          <p:cNvSpPr>
            <a:spLocks noGrp="1"/>
          </p:cNvSpPr>
          <p:nvPr>
            <p:ph type="sldNum" sz="quarter" idx="10"/>
          </p:nvPr>
        </p:nvSpPr>
        <p:spPr/>
        <p:txBody>
          <a:bodyPr/>
          <a:lstStyle/>
          <a:p>
            <a:fld id="{1F90F471-3972-4120-B8B3-0237DE626C35}" type="slidenum">
              <a:rPr lang="en-US" smtClean="0"/>
              <a:pPr/>
              <a:t>368</a:t>
            </a:fld>
            <a:endParaRPr lang="en-US" dirty="0"/>
          </a:p>
        </p:txBody>
      </p:sp>
      <p:sp>
        <p:nvSpPr>
          <p:cNvPr id="89" name="TextBox 88">
            <a:extLst>
              <a:ext uri="{FF2B5EF4-FFF2-40B4-BE49-F238E27FC236}">
                <a16:creationId xmlns:a16="http://schemas.microsoft.com/office/drawing/2014/main" id="{7A4AF281-B0D0-49D9-B52F-18F2C9B7BADD}"/>
              </a:ext>
            </a:extLst>
          </p:cNvPr>
          <p:cNvSpPr txBox="1"/>
          <p:nvPr/>
        </p:nvSpPr>
        <p:spPr>
          <a:xfrm>
            <a:off x="384048" y="5943600"/>
            <a:ext cx="3323194" cy="337911"/>
          </a:xfrm>
          <a:prstGeom prst="rect">
            <a:avLst/>
          </a:prstGeom>
          <a:noFill/>
        </p:spPr>
        <p:txBody>
          <a:bodyPr wrap="square" lIns="0" tIns="0" rIns="0" bIns="0" rtlCol="0">
            <a:noAutofit/>
          </a:bodyPr>
          <a:lstStyle/>
          <a:p>
            <a:pPr algn="l" defTabSz="228600">
              <a:lnSpc>
                <a:spcPct val="90000"/>
              </a:lnSpc>
            </a:pPr>
            <a:r>
              <a:rPr lang="en-GB" sz="1000" noProof="0" dirty="0"/>
              <a:t>Note: Darker shaded area is disputed. </a:t>
            </a:r>
          </a:p>
          <a:p>
            <a:pPr algn="l" defTabSz="228600">
              <a:lnSpc>
                <a:spcPct val="90000"/>
              </a:lnSpc>
            </a:pPr>
            <a:r>
              <a:rPr lang="en-GB" sz="1000" noProof="0" dirty="0"/>
              <a:t>Use the Selection Pane to remove or edit.</a:t>
            </a:r>
            <a:endParaRPr lang="en-US" sz="1000" noProof="0" dirty="0"/>
          </a:p>
        </p:txBody>
      </p:sp>
      <p:grpSp>
        <p:nvGrpSpPr>
          <p:cNvPr id="240" name="Group 239">
            <a:extLst>
              <a:ext uri="{FF2B5EF4-FFF2-40B4-BE49-F238E27FC236}">
                <a16:creationId xmlns:a16="http://schemas.microsoft.com/office/drawing/2014/main" id="{3460A9F9-4257-4F37-B043-ADD06C151A68}"/>
              </a:ext>
            </a:extLst>
          </p:cNvPr>
          <p:cNvGrpSpPr>
            <a:grpSpLocks noChangeAspect="1"/>
          </p:cNvGrpSpPr>
          <p:nvPr/>
        </p:nvGrpSpPr>
        <p:grpSpPr>
          <a:xfrm>
            <a:off x="3351696" y="651512"/>
            <a:ext cx="5493501" cy="6035040"/>
            <a:chOff x="3351696" y="651512"/>
            <a:chExt cx="5493501" cy="6035040"/>
          </a:xfrm>
        </p:grpSpPr>
        <p:grpSp>
          <p:nvGrpSpPr>
            <p:cNvPr id="241" name="India_Map">
              <a:extLst>
                <a:ext uri="{FF2B5EF4-FFF2-40B4-BE49-F238E27FC236}">
                  <a16:creationId xmlns:a16="http://schemas.microsoft.com/office/drawing/2014/main" id="{FB8909DD-0EFC-4984-922F-0179767B93F7}"/>
                </a:ext>
              </a:extLst>
            </p:cNvPr>
            <p:cNvGrpSpPr>
              <a:grpSpLocks noChangeAspect="1"/>
            </p:cNvGrpSpPr>
            <p:nvPr/>
          </p:nvGrpSpPr>
          <p:grpSpPr>
            <a:xfrm>
              <a:off x="3351696" y="651512"/>
              <a:ext cx="5493501" cy="6022046"/>
              <a:chOff x="3351696" y="651512"/>
              <a:chExt cx="5493501" cy="6022046"/>
            </a:xfrm>
          </p:grpSpPr>
          <p:grpSp>
            <p:nvGrpSpPr>
              <p:cNvPr id="243" name="Graphic 280">
                <a:extLst>
                  <a:ext uri="{FF2B5EF4-FFF2-40B4-BE49-F238E27FC236}">
                    <a16:creationId xmlns:a16="http://schemas.microsoft.com/office/drawing/2014/main" id="{1FDF1AE9-4B1F-4C6A-9DC2-F9A24EAF48F7}"/>
                  </a:ext>
                </a:extLst>
              </p:cNvPr>
              <p:cNvGrpSpPr/>
              <p:nvPr/>
            </p:nvGrpSpPr>
            <p:grpSpPr>
              <a:xfrm>
                <a:off x="7074502" y="2522070"/>
                <a:ext cx="182690" cy="219070"/>
                <a:chOff x="7074502" y="2522070"/>
                <a:chExt cx="182690" cy="219070"/>
              </a:xfrm>
            </p:grpSpPr>
            <p:sp>
              <p:nvSpPr>
                <p:cNvPr id="361" name="Freeform: Shape 360">
                  <a:extLst>
                    <a:ext uri="{FF2B5EF4-FFF2-40B4-BE49-F238E27FC236}">
                      <a16:creationId xmlns:a16="http://schemas.microsoft.com/office/drawing/2014/main" id="{8C1925EC-8D3B-494A-BAEE-89E84D43F124}"/>
                    </a:ext>
                  </a:extLst>
                </p:cNvPr>
                <p:cNvSpPr/>
                <p:nvPr/>
              </p:nvSpPr>
              <p:spPr>
                <a:xfrm>
                  <a:off x="7077513" y="2525155"/>
                  <a:ext cx="176181" cy="212962"/>
                </a:xfrm>
                <a:custGeom>
                  <a:avLst/>
                  <a:gdLst>
                    <a:gd name="connsiteX0" fmla="*/ 72324 w 176181"/>
                    <a:gd name="connsiteY0" fmla="*/ 212866 h 212962"/>
                    <a:gd name="connsiteX1" fmla="*/ 69773 w 176181"/>
                    <a:gd name="connsiteY1" fmla="*/ 212137 h 212962"/>
                    <a:gd name="connsiteX2" fmla="*/ 67976 w 176181"/>
                    <a:gd name="connsiteY2" fmla="*/ 210972 h 212962"/>
                    <a:gd name="connsiteX3" fmla="*/ 66738 w 176181"/>
                    <a:gd name="connsiteY3" fmla="*/ 209575 h 212962"/>
                    <a:gd name="connsiteX4" fmla="*/ 47989 w 176181"/>
                    <a:gd name="connsiteY4" fmla="*/ 202131 h 212962"/>
                    <a:gd name="connsiteX5" fmla="*/ 41177 w 176181"/>
                    <a:gd name="connsiteY5" fmla="*/ 201014 h 212962"/>
                    <a:gd name="connsiteX6" fmla="*/ 33685 w 176181"/>
                    <a:gd name="connsiteY6" fmla="*/ 202192 h 212962"/>
                    <a:gd name="connsiteX7" fmla="*/ 27492 w 176181"/>
                    <a:gd name="connsiteY7" fmla="*/ 202071 h 212962"/>
                    <a:gd name="connsiteX8" fmla="*/ 23388 w 176181"/>
                    <a:gd name="connsiteY8" fmla="*/ 200966 h 212962"/>
                    <a:gd name="connsiteX9" fmla="*/ 19696 w 176181"/>
                    <a:gd name="connsiteY9" fmla="*/ 198391 h 212962"/>
                    <a:gd name="connsiteX10" fmla="*/ 18567 w 176181"/>
                    <a:gd name="connsiteY10" fmla="*/ 196206 h 212962"/>
                    <a:gd name="connsiteX11" fmla="*/ 17826 w 176181"/>
                    <a:gd name="connsiteY11" fmla="*/ 193449 h 212962"/>
                    <a:gd name="connsiteX12" fmla="*/ 17595 w 176181"/>
                    <a:gd name="connsiteY12" fmla="*/ 188871 h 212962"/>
                    <a:gd name="connsiteX13" fmla="*/ 17061 w 176181"/>
                    <a:gd name="connsiteY13" fmla="*/ 188009 h 212962"/>
                    <a:gd name="connsiteX14" fmla="*/ 15944 w 176181"/>
                    <a:gd name="connsiteY14" fmla="*/ 186516 h 212962"/>
                    <a:gd name="connsiteX15" fmla="*/ 10528 w 176181"/>
                    <a:gd name="connsiteY15" fmla="*/ 183261 h 212962"/>
                    <a:gd name="connsiteX16" fmla="*/ 8051 w 176181"/>
                    <a:gd name="connsiteY16" fmla="*/ 180626 h 212962"/>
                    <a:gd name="connsiteX17" fmla="*/ 7845 w 176181"/>
                    <a:gd name="connsiteY17" fmla="*/ 180541 h 212962"/>
                    <a:gd name="connsiteX18" fmla="*/ 6157 w 176181"/>
                    <a:gd name="connsiteY18" fmla="*/ 184172 h 212962"/>
                    <a:gd name="connsiteX19" fmla="*/ 6071 w 176181"/>
                    <a:gd name="connsiteY19" fmla="*/ 190134 h 212962"/>
                    <a:gd name="connsiteX20" fmla="*/ 0 w 176181"/>
                    <a:gd name="connsiteY20" fmla="*/ 189806 h 212962"/>
                    <a:gd name="connsiteX21" fmla="*/ 377 w 176181"/>
                    <a:gd name="connsiteY21" fmla="*/ 182727 h 212962"/>
                    <a:gd name="connsiteX22" fmla="*/ 3522 w 176181"/>
                    <a:gd name="connsiteY22" fmla="*/ 175429 h 212962"/>
                    <a:gd name="connsiteX23" fmla="*/ 8111 w 176181"/>
                    <a:gd name="connsiteY23" fmla="*/ 165545 h 212962"/>
                    <a:gd name="connsiteX24" fmla="*/ 8913 w 176181"/>
                    <a:gd name="connsiteY24" fmla="*/ 161853 h 212962"/>
                    <a:gd name="connsiteX25" fmla="*/ 8549 w 176181"/>
                    <a:gd name="connsiteY25" fmla="*/ 160238 h 212962"/>
                    <a:gd name="connsiteX26" fmla="*/ 6594 w 176181"/>
                    <a:gd name="connsiteY26" fmla="*/ 157190 h 212962"/>
                    <a:gd name="connsiteX27" fmla="*/ 5513 w 176181"/>
                    <a:gd name="connsiteY27" fmla="*/ 154543 h 212962"/>
                    <a:gd name="connsiteX28" fmla="*/ 5125 w 176181"/>
                    <a:gd name="connsiteY28" fmla="*/ 150840 h 212962"/>
                    <a:gd name="connsiteX29" fmla="*/ 5647 w 176181"/>
                    <a:gd name="connsiteY29" fmla="*/ 147780 h 212962"/>
                    <a:gd name="connsiteX30" fmla="*/ 7359 w 176181"/>
                    <a:gd name="connsiteY30" fmla="*/ 142777 h 212962"/>
                    <a:gd name="connsiteX31" fmla="*/ 8233 w 176181"/>
                    <a:gd name="connsiteY31" fmla="*/ 141028 h 212962"/>
                    <a:gd name="connsiteX32" fmla="*/ 9885 w 176181"/>
                    <a:gd name="connsiteY32" fmla="*/ 139061 h 212962"/>
                    <a:gd name="connsiteX33" fmla="*/ 8683 w 176181"/>
                    <a:gd name="connsiteY33" fmla="*/ 137774 h 212962"/>
                    <a:gd name="connsiteX34" fmla="*/ 8003 w 176181"/>
                    <a:gd name="connsiteY34" fmla="*/ 136450 h 212962"/>
                    <a:gd name="connsiteX35" fmla="*/ 6812 w 176181"/>
                    <a:gd name="connsiteY35" fmla="*/ 131800 h 212962"/>
                    <a:gd name="connsiteX36" fmla="*/ 6545 w 176181"/>
                    <a:gd name="connsiteY36" fmla="*/ 129505 h 212962"/>
                    <a:gd name="connsiteX37" fmla="*/ 6740 w 176181"/>
                    <a:gd name="connsiteY37" fmla="*/ 126724 h 212962"/>
                    <a:gd name="connsiteX38" fmla="*/ 11791 w 176181"/>
                    <a:gd name="connsiteY38" fmla="*/ 115516 h 212962"/>
                    <a:gd name="connsiteX39" fmla="*/ 23618 w 176181"/>
                    <a:gd name="connsiteY39" fmla="*/ 96184 h 212962"/>
                    <a:gd name="connsiteX40" fmla="*/ 27759 w 176181"/>
                    <a:gd name="connsiteY40" fmla="*/ 80058 h 212962"/>
                    <a:gd name="connsiteX41" fmla="*/ 30758 w 176181"/>
                    <a:gd name="connsiteY41" fmla="*/ 74218 h 212962"/>
                    <a:gd name="connsiteX42" fmla="*/ 32239 w 176181"/>
                    <a:gd name="connsiteY42" fmla="*/ 70126 h 212962"/>
                    <a:gd name="connsiteX43" fmla="*/ 31280 w 176181"/>
                    <a:gd name="connsiteY43" fmla="*/ 61528 h 212962"/>
                    <a:gd name="connsiteX44" fmla="*/ 33466 w 176181"/>
                    <a:gd name="connsiteY44" fmla="*/ 57837 h 212962"/>
                    <a:gd name="connsiteX45" fmla="*/ 33442 w 176181"/>
                    <a:gd name="connsiteY45" fmla="*/ 57679 h 212962"/>
                    <a:gd name="connsiteX46" fmla="*/ 32859 w 176181"/>
                    <a:gd name="connsiteY46" fmla="*/ 57205 h 212962"/>
                    <a:gd name="connsiteX47" fmla="*/ 25707 w 176181"/>
                    <a:gd name="connsiteY47" fmla="*/ 55627 h 212962"/>
                    <a:gd name="connsiteX48" fmla="*/ 22513 w 176181"/>
                    <a:gd name="connsiteY48" fmla="*/ 50770 h 212962"/>
                    <a:gd name="connsiteX49" fmla="*/ 20752 w 176181"/>
                    <a:gd name="connsiteY49" fmla="*/ 44965 h 212962"/>
                    <a:gd name="connsiteX50" fmla="*/ 21202 w 176181"/>
                    <a:gd name="connsiteY50" fmla="*/ 38056 h 212962"/>
                    <a:gd name="connsiteX51" fmla="*/ 25318 w 176181"/>
                    <a:gd name="connsiteY51" fmla="*/ 32810 h 212962"/>
                    <a:gd name="connsiteX52" fmla="*/ 28925 w 176181"/>
                    <a:gd name="connsiteY52" fmla="*/ 31645 h 212962"/>
                    <a:gd name="connsiteX53" fmla="*/ 34219 w 176181"/>
                    <a:gd name="connsiteY53" fmla="*/ 32410 h 212962"/>
                    <a:gd name="connsiteX54" fmla="*/ 36040 w 176181"/>
                    <a:gd name="connsiteY54" fmla="*/ 32446 h 212962"/>
                    <a:gd name="connsiteX55" fmla="*/ 37425 w 176181"/>
                    <a:gd name="connsiteY55" fmla="*/ 31960 h 212962"/>
                    <a:gd name="connsiteX56" fmla="*/ 41383 w 176181"/>
                    <a:gd name="connsiteY56" fmla="*/ 30345 h 212962"/>
                    <a:gd name="connsiteX57" fmla="*/ 75371 w 176181"/>
                    <a:gd name="connsiteY57" fmla="*/ 25318 h 212962"/>
                    <a:gd name="connsiteX58" fmla="*/ 79099 w 176181"/>
                    <a:gd name="connsiteY58" fmla="*/ 22962 h 212962"/>
                    <a:gd name="connsiteX59" fmla="*/ 89166 w 176181"/>
                    <a:gd name="connsiteY59" fmla="*/ 15834 h 212962"/>
                    <a:gd name="connsiteX60" fmla="*/ 94654 w 176181"/>
                    <a:gd name="connsiteY60" fmla="*/ 14195 h 212962"/>
                    <a:gd name="connsiteX61" fmla="*/ 98953 w 176181"/>
                    <a:gd name="connsiteY61" fmla="*/ 15482 h 212962"/>
                    <a:gd name="connsiteX62" fmla="*/ 100532 w 176181"/>
                    <a:gd name="connsiteY62" fmla="*/ 14268 h 212962"/>
                    <a:gd name="connsiteX63" fmla="*/ 102438 w 176181"/>
                    <a:gd name="connsiteY63" fmla="*/ 11062 h 212962"/>
                    <a:gd name="connsiteX64" fmla="*/ 106955 w 176181"/>
                    <a:gd name="connsiteY64" fmla="*/ 6642 h 212962"/>
                    <a:gd name="connsiteX65" fmla="*/ 115880 w 176181"/>
                    <a:gd name="connsiteY65" fmla="*/ 0 h 212962"/>
                    <a:gd name="connsiteX66" fmla="*/ 121357 w 176181"/>
                    <a:gd name="connsiteY66" fmla="*/ 255 h 212962"/>
                    <a:gd name="connsiteX67" fmla="*/ 126165 w 176181"/>
                    <a:gd name="connsiteY67" fmla="*/ 5792 h 212962"/>
                    <a:gd name="connsiteX68" fmla="*/ 128873 w 176181"/>
                    <a:gd name="connsiteY68" fmla="*/ 7735 h 212962"/>
                    <a:gd name="connsiteX69" fmla="*/ 139000 w 176181"/>
                    <a:gd name="connsiteY69" fmla="*/ 9119 h 212962"/>
                    <a:gd name="connsiteX70" fmla="*/ 144222 w 176181"/>
                    <a:gd name="connsiteY70" fmla="*/ 10577 h 212962"/>
                    <a:gd name="connsiteX71" fmla="*/ 153378 w 176181"/>
                    <a:gd name="connsiteY71" fmla="*/ 16417 h 212962"/>
                    <a:gd name="connsiteX72" fmla="*/ 157895 w 176181"/>
                    <a:gd name="connsiteY72" fmla="*/ 20121 h 212962"/>
                    <a:gd name="connsiteX73" fmla="*/ 160117 w 176181"/>
                    <a:gd name="connsiteY73" fmla="*/ 22695 h 212962"/>
                    <a:gd name="connsiteX74" fmla="*/ 161489 w 176181"/>
                    <a:gd name="connsiteY74" fmla="*/ 22695 h 212962"/>
                    <a:gd name="connsiteX75" fmla="*/ 162145 w 176181"/>
                    <a:gd name="connsiteY75" fmla="*/ 29010 h 212962"/>
                    <a:gd name="connsiteX76" fmla="*/ 160226 w 176181"/>
                    <a:gd name="connsiteY76" fmla="*/ 36769 h 212962"/>
                    <a:gd name="connsiteX77" fmla="*/ 160408 w 176181"/>
                    <a:gd name="connsiteY77" fmla="*/ 38323 h 212962"/>
                    <a:gd name="connsiteX78" fmla="*/ 161611 w 176181"/>
                    <a:gd name="connsiteY78" fmla="*/ 40327 h 212962"/>
                    <a:gd name="connsiteX79" fmla="*/ 165678 w 176181"/>
                    <a:gd name="connsiteY79" fmla="*/ 44419 h 212962"/>
                    <a:gd name="connsiteX80" fmla="*/ 167791 w 176181"/>
                    <a:gd name="connsiteY80" fmla="*/ 48232 h 212962"/>
                    <a:gd name="connsiteX81" fmla="*/ 168775 w 176181"/>
                    <a:gd name="connsiteY81" fmla="*/ 52688 h 212962"/>
                    <a:gd name="connsiteX82" fmla="*/ 168581 w 176181"/>
                    <a:gd name="connsiteY82" fmla="*/ 56623 h 212962"/>
                    <a:gd name="connsiteX83" fmla="*/ 159425 w 176181"/>
                    <a:gd name="connsiteY83" fmla="*/ 95310 h 212962"/>
                    <a:gd name="connsiteX84" fmla="*/ 154871 w 176181"/>
                    <a:gd name="connsiteY84" fmla="*/ 102911 h 212962"/>
                    <a:gd name="connsiteX85" fmla="*/ 152127 w 176181"/>
                    <a:gd name="connsiteY85" fmla="*/ 109699 h 212962"/>
                    <a:gd name="connsiteX86" fmla="*/ 148205 w 176181"/>
                    <a:gd name="connsiteY86" fmla="*/ 115528 h 212962"/>
                    <a:gd name="connsiteX87" fmla="*/ 147415 w 176181"/>
                    <a:gd name="connsiteY87" fmla="*/ 117313 h 212962"/>
                    <a:gd name="connsiteX88" fmla="*/ 147476 w 176181"/>
                    <a:gd name="connsiteY88" fmla="*/ 118539 h 212962"/>
                    <a:gd name="connsiteX89" fmla="*/ 150512 w 176181"/>
                    <a:gd name="connsiteY89" fmla="*/ 122705 h 212962"/>
                    <a:gd name="connsiteX90" fmla="*/ 150439 w 176181"/>
                    <a:gd name="connsiteY90" fmla="*/ 127052 h 212962"/>
                    <a:gd name="connsiteX91" fmla="*/ 149917 w 176181"/>
                    <a:gd name="connsiteY91" fmla="*/ 133475 h 212962"/>
                    <a:gd name="connsiteX92" fmla="*/ 150864 w 176181"/>
                    <a:gd name="connsiteY92" fmla="*/ 138624 h 212962"/>
                    <a:gd name="connsiteX93" fmla="*/ 153244 w 176181"/>
                    <a:gd name="connsiteY93" fmla="*/ 143141 h 212962"/>
                    <a:gd name="connsiteX94" fmla="*/ 156875 w 176181"/>
                    <a:gd name="connsiteY94" fmla="*/ 147027 h 212962"/>
                    <a:gd name="connsiteX95" fmla="*/ 158623 w 176181"/>
                    <a:gd name="connsiteY95" fmla="*/ 148010 h 212962"/>
                    <a:gd name="connsiteX96" fmla="*/ 160433 w 176181"/>
                    <a:gd name="connsiteY96" fmla="*/ 148787 h 212962"/>
                    <a:gd name="connsiteX97" fmla="*/ 162849 w 176181"/>
                    <a:gd name="connsiteY97" fmla="*/ 150220 h 212962"/>
                    <a:gd name="connsiteX98" fmla="*/ 167597 w 176181"/>
                    <a:gd name="connsiteY98" fmla="*/ 156000 h 212962"/>
                    <a:gd name="connsiteX99" fmla="*/ 169540 w 176181"/>
                    <a:gd name="connsiteY99" fmla="*/ 157555 h 212962"/>
                    <a:gd name="connsiteX100" fmla="*/ 176182 w 176181"/>
                    <a:gd name="connsiteY100" fmla="*/ 161938 h 212962"/>
                    <a:gd name="connsiteX101" fmla="*/ 173996 w 176181"/>
                    <a:gd name="connsiteY101" fmla="*/ 170948 h 212962"/>
                    <a:gd name="connsiteX102" fmla="*/ 168739 w 176181"/>
                    <a:gd name="connsiteY102" fmla="*/ 174846 h 212962"/>
                    <a:gd name="connsiteX103" fmla="*/ 156413 w 176181"/>
                    <a:gd name="connsiteY103" fmla="*/ 178173 h 212962"/>
                    <a:gd name="connsiteX104" fmla="*/ 152588 w 176181"/>
                    <a:gd name="connsiteY104" fmla="*/ 180906 h 212962"/>
                    <a:gd name="connsiteX105" fmla="*/ 149371 w 176181"/>
                    <a:gd name="connsiteY105" fmla="*/ 185823 h 212962"/>
                    <a:gd name="connsiteX106" fmla="*/ 146675 w 176181"/>
                    <a:gd name="connsiteY106" fmla="*/ 191944 h 212962"/>
                    <a:gd name="connsiteX107" fmla="*/ 145764 w 176181"/>
                    <a:gd name="connsiteY107" fmla="*/ 195307 h 212962"/>
                    <a:gd name="connsiteX108" fmla="*/ 149565 w 176181"/>
                    <a:gd name="connsiteY108" fmla="*/ 198076 h 212962"/>
                    <a:gd name="connsiteX109" fmla="*/ 143506 w 176181"/>
                    <a:gd name="connsiteY109" fmla="*/ 199909 h 212962"/>
                    <a:gd name="connsiteX110" fmla="*/ 140069 w 176181"/>
                    <a:gd name="connsiteY110" fmla="*/ 200650 h 212962"/>
                    <a:gd name="connsiteX111" fmla="*/ 134374 w 176181"/>
                    <a:gd name="connsiteY111" fmla="*/ 198561 h 212962"/>
                    <a:gd name="connsiteX112" fmla="*/ 129857 w 176181"/>
                    <a:gd name="connsiteY112" fmla="*/ 195076 h 212962"/>
                    <a:gd name="connsiteX113" fmla="*/ 120810 w 176181"/>
                    <a:gd name="connsiteY113" fmla="*/ 196084 h 212962"/>
                    <a:gd name="connsiteX114" fmla="*/ 106664 w 176181"/>
                    <a:gd name="connsiteY114" fmla="*/ 194056 h 212962"/>
                    <a:gd name="connsiteX115" fmla="*/ 103895 w 176181"/>
                    <a:gd name="connsiteY115" fmla="*/ 194336 h 212962"/>
                    <a:gd name="connsiteX116" fmla="*/ 91461 w 176181"/>
                    <a:gd name="connsiteY116" fmla="*/ 206090 h 212962"/>
                    <a:gd name="connsiteX117" fmla="*/ 86640 w 176181"/>
                    <a:gd name="connsiteY117" fmla="*/ 209369 h 212962"/>
                    <a:gd name="connsiteX118" fmla="*/ 82402 w 176181"/>
                    <a:gd name="connsiteY118" fmla="*/ 211409 h 212962"/>
                    <a:gd name="connsiteX119" fmla="*/ 75396 w 176181"/>
                    <a:gd name="connsiteY119" fmla="*/ 212963 h 21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76181" h="212962">
                      <a:moveTo>
                        <a:pt x="72324" y="212866"/>
                      </a:moveTo>
                      <a:lnTo>
                        <a:pt x="69773" y="212137"/>
                      </a:lnTo>
                      <a:lnTo>
                        <a:pt x="67976" y="210972"/>
                      </a:lnTo>
                      <a:lnTo>
                        <a:pt x="66738" y="209575"/>
                      </a:lnTo>
                      <a:lnTo>
                        <a:pt x="47989" y="202131"/>
                      </a:lnTo>
                      <a:lnTo>
                        <a:pt x="41177" y="201014"/>
                      </a:lnTo>
                      <a:lnTo>
                        <a:pt x="33685" y="202192"/>
                      </a:lnTo>
                      <a:lnTo>
                        <a:pt x="27492" y="202071"/>
                      </a:lnTo>
                      <a:lnTo>
                        <a:pt x="23388" y="200966"/>
                      </a:lnTo>
                      <a:lnTo>
                        <a:pt x="19696" y="198391"/>
                      </a:lnTo>
                      <a:lnTo>
                        <a:pt x="18567" y="196206"/>
                      </a:lnTo>
                      <a:lnTo>
                        <a:pt x="17826" y="193449"/>
                      </a:lnTo>
                      <a:lnTo>
                        <a:pt x="17595" y="188871"/>
                      </a:lnTo>
                      <a:lnTo>
                        <a:pt x="17061" y="188009"/>
                      </a:lnTo>
                      <a:lnTo>
                        <a:pt x="15944" y="186516"/>
                      </a:lnTo>
                      <a:lnTo>
                        <a:pt x="10528" y="183261"/>
                      </a:lnTo>
                      <a:lnTo>
                        <a:pt x="8051" y="180626"/>
                      </a:lnTo>
                      <a:lnTo>
                        <a:pt x="7845" y="180541"/>
                      </a:lnTo>
                      <a:lnTo>
                        <a:pt x="6157" y="184172"/>
                      </a:lnTo>
                      <a:lnTo>
                        <a:pt x="6071" y="190134"/>
                      </a:lnTo>
                      <a:lnTo>
                        <a:pt x="0" y="189806"/>
                      </a:lnTo>
                      <a:lnTo>
                        <a:pt x="377" y="182727"/>
                      </a:lnTo>
                      <a:lnTo>
                        <a:pt x="3522" y="175429"/>
                      </a:lnTo>
                      <a:lnTo>
                        <a:pt x="8111" y="165545"/>
                      </a:lnTo>
                      <a:lnTo>
                        <a:pt x="8913" y="161853"/>
                      </a:lnTo>
                      <a:lnTo>
                        <a:pt x="8549" y="160238"/>
                      </a:lnTo>
                      <a:lnTo>
                        <a:pt x="6594" y="157190"/>
                      </a:lnTo>
                      <a:lnTo>
                        <a:pt x="5513" y="154543"/>
                      </a:lnTo>
                      <a:lnTo>
                        <a:pt x="5125" y="150840"/>
                      </a:lnTo>
                      <a:lnTo>
                        <a:pt x="5647" y="147780"/>
                      </a:lnTo>
                      <a:lnTo>
                        <a:pt x="7359" y="142777"/>
                      </a:lnTo>
                      <a:lnTo>
                        <a:pt x="8233" y="141028"/>
                      </a:lnTo>
                      <a:lnTo>
                        <a:pt x="9885" y="139061"/>
                      </a:lnTo>
                      <a:lnTo>
                        <a:pt x="8683" y="137774"/>
                      </a:lnTo>
                      <a:lnTo>
                        <a:pt x="8003" y="136450"/>
                      </a:lnTo>
                      <a:lnTo>
                        <a:pt x="6812" y="131800"/>
                      </a:lnTo>
                      <a:lnTo>
                        <a:pt x="6545" y="129505"/>
                      </a:lnTo>
                      <a:lnTo>
                        <a:pt x="6740" y="126724"/>
                      </a:lnTo>
                      <a:lnTo>
                        <a:pt x="11791" y="115516"/>
                      </a:lnTo>
                      <a:lnTo>
                        <a:pt x="23618" y="96184"/>
                      </a:lnTo>
                      <a:lnTo>
                        <a:pt x="27759" y="80058"/>
                      </a:lnTo>
                      <a:lnTo>
                        <a:pt x="30758" y="74218"/>
                      </a:lnTo>
                      <a:lnTo>
                        <a:pt x="32239" y="70126"/>
                      </a:lnTo>
                      <a:lnTo>
                        <a:pt x="31280" y="61528"/>
                      </a:lnTo>
                      <a:lnTo>
                        <a:pt x="33466" y="57837"/>
                      </a:lnTo>
                      <a:lnTo>
                        <a:pt x="33442" y="57679"/>
                      </a:lnTo>
                      <a:lnTo>
                        <a:pt x="32859" y="57205"/>
                      </a:lnTo>
                      <a:lnTo>
                        <a:pt x="25707" y="55627"/>
                      </a:lnTo>
                      <a:lnTo>
                        <a:pt x="22513" y="50770"/>
                      </a:lnTo>
                      <a:lnTo>
                        <a:pt x="20752" y="44965"/>
                      </a:lnTo>
                      <a:lnTo>
                        <a:pt x="21202" y="38056"/>
                      </a:lnTo>
                      <a:lnTo>
                        <a:pt x="25318" y="32810"/>
                      </a:lnTo>
                      <a:lnTo>
                        <a:pt x="28925" y="31645"/>
                      </a:lnTo>
                      <a:lnTo>
                        <a:pt x="34219" y="32410"/>
                      </a:lnTo>
                      <a:lnTo>
                        <a:pt x="36040" y="32446"/>
                      </a:lnTo>
                      <a:lnTo>
                        <a:pt x="37425" y="31960"/>
                      </a:lnTo>
                      <a:lnTo>
                        <a:pt x="41383" y="30345"/>
                      </a:lnTo>
                      <a:lnTo>
                        <a:pt x="75371" y="25318"/>
                      </a:lnTo>
                      <a:lnTo>
                        <a:pt x="79099" y="22962"/>
                      </a:lnTo>
                      <a:lnTo>
                        <a:pt x="89166" y="15834"/>
                      </a:lnTo>
                      <a:lnTo>
                        <a:pt x="94654" y="14195"/>
                      </a:lnTo>
                      <a:lnTo>
                        <a:pt x="98953" y="15482"/>
                      </a:lnTo>
                      <a:lnTo>
                        <a:pt x="100532" y="14268"/>
                      </a:lnTo>
                      <a:lnTo>
                        <a:pt x="102438" y="11062"/>
                      </a:lnTo>
                      <a:lnTo>
                        <a:pt x="106955" y="6642"/>
                      </a:lnTo>
                      <a:lnTo>
                        <a:pt x="115880" y="0"/>
                      </a:lnTo>
                      <a:lnTo>
                        <a:pt x="121357" y="255"/>
                      </a:lnTo>
                      <a:lnTo>
                        <a:pt x="126165" y="5792"/>
                      </a:lnTo>
                      <a:lnTo>
                        <a:pt x="128873" y="7735"/>
                      </a:lnTo>
                      <a:lnTo>
                        <a:pt x="139000" y="9119"/>
                      </a:lnTo>
                      <a:lnTo>
                        <a:pt x="144222" y="10577"/>
                      </a:lnTo>
                      <a:lnTo>
                        <a:pt x="153378" y="16417"/>
                      </a:lnTo>
                      <a:lnTo>
                        <a:pt x="157895" y="20121"/>
                      </a:lnTo>
                      <a:lnTo>
                        <a:pt x="160117" y="22695"/>
                      </a:lnTo>
                      <a:lnTo>
                        <a:pt x="161489" y="22695"/>
                      </a:lnTo>
                      <a:lnTo>
                        <a:pt x="162145" y="29010"/>
                      </a:lnTo>
                      <a:lnTo>
                        <a:pt x="160226" y="36769"/>
                      </a:lnTo>
                      <a:lnTo>
                        <a:pt x="160408" y="38323"/>
                      </a:lnTo>
                      <a:lnTo>
                        <a:pt x="161611" y="40327"/>
                      </a:lnTo>
                      <a:lnTo>
                        <a:pt x="165678" y="44419"/>
                      </a:lnTo>
                      <a:lnTo>
                        <a:pt x="167791" y="48232"/>
                      </a:lnTo>
                      <a:lnTo>
                        <a:pt x="168775" y="52688"/>
                      </a:lnTo>
                      <a:lnTo>
                        <a:pt x="168581" y="56623"/>
                      </a:lnTo>
                      <a:lnTo>
                        <a:pt x="159425" y="95310"/>
                      </a:lnTo>
                      <a:lnTo>
                        <a:pt x="154871" y="102911"/>
                      </a:lnTo>
                      <a:lnTo>
                        <a:pt x="152127" y="109699"/>
                      </a:lnTo>
                      <a:lnTo>
                        <a:pt x="148205" y="115528"/>
                      </a:lnTo>
                      <a:lnTo>
                        <a:pt x="147415" y="117313"/>
                      </a:lnTo>
                      <a:lnTo>
                        <a:pt x="147476" y="118539"/>
                      </a:lnTo>
                      <a:lnTo>
                        <a:pt x="150512" y="122705"/>
                      </a:lnTo>
                      <a:lnTo>
                        <a:pt x="150439" y="127052"/>
                      </a:lnTo>
                      <a:lnTo>
                        <a:pt x="149917" y="133475"/>
                      </a:lnTo>
                      <a:lnTo>
                        <a:pt x="150864" y="138624"/>
                      </a:lnTo>
                      <a:lnTo>
                        <a:pt x="153244" y="143141"/>
                      </a:lnTo>
                      <a:lnTo>
                        <a:pt x="156875" y="147027"/>
                      </a:lnTo>
                      <a:lnTo>
                        <a:pt x="158623" y="148010"/>
                      </a:lnTo>
                      <a:lnTo>
                        <a:pt x="160433" y="148787"/>
                      </a:lnTo>
                      <a:lnTo>
                        <a:pt x="162849" y="150220"/>
                      </a:lnTo>
                      <a:lnTo>
                        <a:pt x="167597" y="156000"/>
                      </a:lnTo>
                      <a:lnTo>
                        <a:pt x="169540" y="157555"/>
                      </a:lnTo>
                      <a:lnTo>
                        <a:pt x="176182" y="161938"/>
                      </a:lnTo>
                      <a:lnTo>
                        <a:pt x="173996" y="170948"/>
                      </a:lnTo>
                      <a:lnTo>
                        <a:pt x="168739" y="174846"/>
                      </a:lnTo>
                      <a:lnTo>
                        <a:pt x="156413" y="178173"/>
                      </a:lnTo>
                      <a:lnTo>
                        <a:pt x="152588" y="180906"/>
                      </a:lnTo>
                      <a:lnTo>
                        <a:pt x="149371" y="185823"/>
                      </a:lnTo>
                      <a:lnTo>
                        <a:pt x="146675" y="191944"/>
                      </a:lnTo>
                      <a:lnTo>
                        <a:pt x="145764" y="195307"/>
                      </a:lnTo>
                      <a:lnTo>
                        <a:pt x="149565" y="198076"/>
                      </a:lnTo>
                      <a:lnTo>
                        <a:pt x="143506" y="199909"/>
                      </a:lnTo>
                      <a:lnTo>
                        <a:pt x="140069" y="200650"/>
                      </a:lnTo>
                      <a:lnTo>
                        <a:pt x="134374" y="198561"/>
                      </a:lnTo>
                      <a:lnTo>
                        <a:pt x="129857" y="195076"/>
                      </a:lnTo>
                      <a:lnTo>
                        <a:pt x="120810" y="196084"/>
                      </a:lnTo>
                      <a:lnTo>
                        <a:pt x="106664" y="194056"/>
                      </a:lnTo>
                      <a:lnTo>
                        <a:pt x="103895" y="194336"/>
                      </a:lnTo>
                      <a:lnTo>
                        <a:pt x="91461" y="206090"/>
                      </a:lnTo>
                      <a:lnTo>
                        <a:pt x="86640" y="209369"/>
                      </a:lnTo>
                      <a:lnTo>
                        <a:pt x="82402" y="211409"/>
                      </a:lnTo>
                      <a:lnTo>
                        <a:pt x="75396" y="212963"/>
                      </a:lnTo>
                      <a:close/>
                    </a:path>
                  </a:pathLst>
                </a:custGeom>
                <a:solidFill>
                  <a:srgbClr val="D7D7D2"/>
                </a:solidFill>
                <a:ln w="12138" cap="flat">
                  <a:noFill/>
                  <a:prstDash val="solid"/>
                  <a:miter/>
                </a:ln>
              </p:spPr>
              <p:txBody>
                <a:bodyPr rtlCol="0" anchor="ctr"/>
                <a:lstStyle/>
                <a:p>
                  <a:endParaRPr lang="en-US"/>
                </a:p>
              </p:txBody>
            </p:sp>
            <p:sp>
              <p:nvSpPr>
                <p:cNvPr id="362" name="Freeform: Shape 361">
                  <a:extLst>
                    <a:ext uri="{FF2B5EF4-FFF2-40B4-BE49-F238E27FC236}">
                      <a16:creationId xmlns:a16="http://schemas.microsoft.com/office/drawing/2014/main" id="{B5C66266-BE33-492D-890D-CF5BC14E446C}"/>
                    </a:ext>
                  </a:extLst>
                </p:cNvPr>
                <p:cNvSpPr/>
                <p:nvPr/>
              </p:nvSpPr>
              <p:spPr>
                <a:xfrm>
                  <a:off x="7074502" y="2522070"/>
                  <a:ext cx="182690" cy="219070"/>
                </a:xfrm>
                <a:custGeom>
                  <a:avLst/>
                  <a:gdLst>
                    <a:gd name="connsiteX0" fmla="*/ 119827 w 182690"/>
                    <a:gd name="connsiteY0" fmla="*/ 6169 h 219070"/>
                    <a:gd name="connsiteX1" fmla="*/ 122935 w 182690"/>
                    <a:gd name="connsiteY1" fmla="*/ 6314 h 219070"/>
                    <a:gd name="connsiteX2" fmla="*/ 126894 w 182690"/>
                    <a:gd name="connsiteY2" fmla="*/ 10880 h 219070"/>
                    <a:gd name="connsiteX3" fmla="*/ 130719 w 182690"/>
                    <a:gd name="connsiteY3" fmla="*/ 13722 h 219070"/>
                    <a:gd name="connsiteX4" fmla="*/ 141599 w 182690"/>
                    <a:gd name="connsiteY4" fmla="*/ 15215 h 219070"/>
                    <a:gd name="connsiteX5" fmla="*/ 146407 w 182690"/>
                    <a:gd name="connsiteY5" fmla="*/ 16587 h 219070"/>
                    <a:gd name="connsiteX6" fmla="*/ 154749 w 182690"/>
                    <a:gd name="connsiteY6" fmla="*/ 22052 h 219070"/>
                    <a:gd name="connsiteX7" fmla="*/ 159000 w 182690"/>
                    <a:gd name="connsiteY7" fmla="*/ 25549 h 219070"/>
                    <a:gd name="connsiteX8" fmla="*/ 161768 w 182690"/>
                    <a:gd name="connsiteY8" fmla="*/ 28827 h 219070"/>
                    <a:gd name="connsiteX9" fmla="*/ 161829 w 182690"/>
                    <a:gd name="connsiteY9" fmla="*/ 28827 h 219070"/>
                    <a:gd name="connsiteX10" fmla="*/ 161829 w 182690"/>
                    <a:gd name="connsiteY10" fmla="*/ 28852 h 219070"/>
                    <a:gd name="connsiteX11" fmla="*/ 162157 w 182690"/>
                    <a:gd name="connsiteY11" fmla="*/ 32385 h 219070"/>
                    <a:gd name="connsiteX12" fmla="*/ 160335 w 182690"/>
                    <a:gd name="connsiteY12" fmla="*/ 39052 h 219070"/>
                    <a:gd name="connsiteX13" fmla="*/ 160505 w 182690"/>
                    <a:gd name="connsiteY13" fmla="*/ 42427 h 219070"/>
                    <a:gd name="connsiteX14" fmla="*/ 162060 w 182690"/>
                    <a:gd name="connsiteY14" fmla="*/ 44990 h 219070"/>
                    <a:gd name="connsiteX15" fmla="*/ 166540 w 182690"/>
                    <a:gd name="connsiteY15" fmla="*/ 49616 h 219070"/>
                    <a:gd name="connsiteX16" fmla="*/ 168143 w 182690"/>
                    <a:gd name="connsiteY16" fmla="*/ 52713 h 219070"/>
                    <a:gd name="connsiteX17" fmla="*/ 168848 w 182690"/>
                    <a:gd name="connsiteY17" fmla="*/ 56355 h 219070"/>
                    <a:gd name="connsiteX18" fmla="*/ 168605 w 182690"/>
                    <a:gd name="connsiteY18" fmla="*/ 59488 h 219070"/>
                    <a:gd name="connsiteX19" fmla="*/ 159522 w 182690"/>
                    <a:gd name="connsiteY19" fmla="*/ 97702 h 219070"/>
                    <a:gd name="connsiteX20" fmla="*/ 155345 w 182690"/>
                    <a:gd name="connsiteY20" fmla="*/ 104393 h 219070"/>
                    <a:gd name="connsiteX21" fmla="*/ 152357 w 182690"/>
                    <a:gd name="connsiteY21" fmla="*/ 111630 h 219070"/>
                    <a:gd name="connsiteX22" fmla="*/ 148739 w 182690"/>
                    <a:gd name="connsiteY22" fmla="*/ 116912 h 219070"/>
                    <a:gd name="connsiteX23" fmla="*/ 147403 w 182690"/>
                    <a:gd name="connsiteY23" fmla="*/ 119839 h 219070"/>
                    <a:gd name="connsiteX24" fmla="*/ 147537 w 182690"/>
                    <a:gd name="connsiteY24" fmla="*/ 122680 h 219070"/>
                    <a:gd name="connsiteX25" fmla="*/ 150512 w 182690"/>
                    <a:gd name="connsiteY25" fmla="*/ 126760 h 219070"/>
                    <a:gd name="connsiteX26" fmla="*/ 150451 w 182690"/>
                    <a:gd name="connsiteY26" fmla="*/ 130087 h 219070"/>
                    <a:gd name="connsiteX27" fmla="*/ 149941 w 182690"/>
                    <a:gd name="connsiteY27" fmla="*/ 136317 h 219070"/>
                    <a:gd name="connsiteX28" fmla="*/ 150913 w 182690"/>
                    <a:gd name="connsiteY28" fmla="*/ 142206 h 219070"/>
                    <a:gd name="connsiteX29" fmla="*/ 153560 w 182690"/>
                    <a:gd name="connsiteY29" fmla="*/ 147573 h 219070"/>
                    <a:gd name="connsiteX30" fmla="*/ 157652 w 182690"/>
                    <a:gd name="connsiteY30" fmla="*/ 152139 h 219070"/>
                    <a:gd name="connsiteX31" fmla="*/ 160044 w 182690"/>
                    <a:gd name="connsiteY31" fmla="*/ 153657 h 219070"/>
                    <a:gd name="connsiteX32" fmla="*/ 162242 w 182690"/>
                    <a:gd name="connsiteY32" fmla="*/ 154640 h 219070"/>
                    <a:gd name="connsiteX33" fmla="*/ 164306 w 182690"/>
                    <a:gd name="connsiteY33" fmla="*/ 155903 h 219070"/>
                    <a:gd name="connsiteX34" fmla="*/ 168265 w 182690"/>
                    <a:gd name="connsiteY34" fmla="*/ 160955 h 219070"/>
                    <a:gd name="connsiteX35" fmla="*/ 170620 w 182690"/>
                    <a:gd name="connsiteY35" fmla="*/ 162958 h 219070"/>
                    <a:gd name="connsiteX36" fmla="*/ 175781 w 182690"/>
                    <a:gd name="connsiteY36" fmla="*/ 166382 h 219070"/>
                    <a:gd name="connsiteX37" fmla="*/ 174348 w 182690"/>
                    <a:gd name="connsiteY37" fmla="*/ 172260 h 219070"/>
                    <a:gd name="connsiteX38" fmla="*/ 172733 w 182690"/>
                    <a:gd name="connsiteY38" fmla="*/ 173462 h 219070"/>
                    <a:gd name="connsiteX39" fmla="*/ 169977 w 182690"/>
                    <a:gd name="connsiteY39" fmla="*/ 175502 h 219070"/>
                    <a:gd name="connsiteX40" fmla="*/ 158721 w 182690"/>
                    <a:gd name="connsiteY40" fmla="*/ 178319 h 219070"/>
                    <a:gd name="connsiteX41" fmla="*/ 153948 w 182690"/>
                    <a:gd name="connsiteY41" fmla="*/ 181452 h 219070"/>
                    <a:gd name="connsiteX42" fmla="*/ 149929 w 182690"/>
                    <a:gd name="connsiteY42" fmla="*/ 187159 h 219070"/>
                    <a:gd name="connsiteX43" fmla="*/ 146942 w 182690"/>
                    <a:gd name="connsiteY43" fmla="*/ 193789 h 219070"/>
                    <a:gd name="connsiteX44" fmla="*/ 145327 w 182690"/>
                    <a:gd name="connsiteY44" fmla="*/ 199618 h 219070"/>
                    <a:gd name="connsiteX45" fmla="*/ 145897 w 182690"/>
                    <a:gd name="connsiteY45" fmla="*/ 200031 h 219070"/>
                    <a:gd name="connsiteX46" fmla="*/ 145909 w 182690"/>
                    <a:gd name="connsiteY46" fmla="*/ 200031 h 219070"/>
                    <a:gd name="connsiteX47" fmla="*/ 143323 w 182690"/>
                    <a:gd name="connsiteY47" fmla="*/ 200577 h 219070"/>
                    <a:gd name="connsiteX48" fmla="*/ 138454 w 182690"/>
                    <a:gd name="connsiteY48" fmla="*/ 198792 h 219070"/>
                    <a:gd name="connsiteX49" fmla="*/ 134435 w 182690"/>
                    <a:gd name="connsiteY49" fmla="*/ 195513 h 219070"/>
                    <a:gd name="connsiteX50" fmla="*/ 133062 w 182690"/>
                    <a:gd name="connsiteY50" fmla="*/ 195088 h 219070"/>
                    <a:gd name="connsiteX51" fmla="*/ 123518 w 182690"/>
                    <a:gd name="connsiteY51" fmla="*/ 196145 h 219070"/>
                    <a:gd name="connsiteX52" fmla="*/ 110149 w 182690"/>
                    <a:gd name="connsiteY52" fmla="*/ 194141 h 219070"/>
                    <a:gd name="connsiteX53" fmla="*/ 105607 w 182690"/>
                    <a:gd name="connsiteY53" fmla="*/ 194506 h 219070"/>
                    <a:gd name="connsiteX54" fmla="*/ 92408 w 182690"/>
                    <a:gd name="connsiteY54" fmla="*/ 206964 h 219070"/>
                    <a:gd name="connsiteX55" fmla="*/ 87988 w 182690"/>
                    <a:gd name="connsiteY55" fmla="*/ 209927 h 219070"/>
                    <a:gd name="connsiteX56" fmla="*/ 84138 w 182690"/>
                    <a:gd name="connsiteY56" fmla="*/ 211761 h 219070"/>
                    <a:gd name="connsiteX57" fmla="*/ 78176 w 182690"/>
                    <a:gd name="connsiteY57" fmla="*/ 212999 h 219070"/>
                    <a:gd name="connsiteX58" fmla="*/ 75456 w 182690"/>
                    <a:gd name="connsiteY58" fmla="*/ 212914 h 219070"/>
                    <a:gd name="connsiteX59" fmla="*/ 73805 w 182690"/>
                    <a:gd name="connsiteY59" fmla="*/ 212344 h 219070"/>
                    <a:gd name="connsiteX60" fmla="*/ 72821 w 182690"/>
                    <a:gd name="connsiteY60" fmla="*/ 211615 h 219070"/>
                    <a:gd name="connsiteX61" fmla="*/ 71558 w 182690"/>
                    <a:gd name="connsiteY61" fmla="*/ 210097 h 219070"/>
                    <a:gd name="connsiteX62" fmla="*/ 52130 w 182690"/>
                    <a:gd name="connsiteY62" fmla="*/ 202398 h 219070"/>
                    <a:gd name="connsiteX63" fmla="*/ 44734 w 182690"/>
                    <a:gd name="connsiteY63" fmla="*/ 201111 h 219070"/>
                    <a:gd name="connsiteX64" fmla="*/ 36307 w 182690"/>
                    <a:gd name="connsiteY64" fmla="*/ 202265 h 219070"/>
                    <a:gd name="connsiteX65" fmla="*/ 30612 w 182690"/>
                    <a:gd name="connsiteY65" fmla="*/ 202119 h 219070"/>
                    <a:gd name="connsiteX66" fmla="*/ 27297 w 182690"/>
                    <a:gd name="connsiteY66" fmla="*/ 201136 h 219070"/>
                    <a:gd name="connsiteX67" fmla="*/ 25112 w 182690"/>
                    <a:gd name="connsiteY67" fmla="*/ 199472 h 219070"/>
                    <a:gd name="connsiteX68" fmla="*/ 24298 w 182690"/>
                    <a:gd name="connsiteY68" fmla="*/ 197893 h 219070"/>
                    <a:gd name="connsiteX69" fmla="*/ 23837 w 182690"/>
                    <a:gd name="connsiteY69" fmla="*/ 195866 h 219070"/>
                    <a:gd name="connsiteX70" fmla="*/ 23667 w 182690"/>
                    <a:gd name="connsiteY70" fmla="*/ 191834 h 219070"/>
                    <a:gd name="connsiteX71" fmla="*/ 22914 w 182690"/>
                    <a:gd name="connsiteY71" fmla="*/ 189952 h 219070"/>
                    <a:gd name="connsiteX72" fmla="*/ 21493 w 182690"/>
                    <a:gd name="connsiteY72" fmla="*/ 187876 h 219070"/>
                    <a:gd name="connsiteX73" fmla="*/ 15227 w 182690"/>
                    <a:gd name="connsiteY73" fmla="*/ 183796 h 219070"/>
                    <a:gd name="connsiteX74" fmla="*/ 12823 w 182690"/>
                    <a:gd name="connsiteY74" fmla="*/ 181124 h 219070"/>
                    <a:gd name="connsiteX75" fmla="*/ 9326 w 182690"/>
                    <a:gd name="connsiteY75" fmla="*/ 179776 h 219070"/>
                    <a:gd name="connsiteX76" fmla="*/ 6460 w 182690"/>
                    <a:gd name="connsiteY76" fmla="*/ 185981 h 219070"/>
                    <a:gd name="connsiteX77" fmla="*/ 6084 w 182690"/>
                    <a:gd name="connsiteY77" fmla="*/ 193061 h 219070"/>
                    <a:gd name="connsiteX78" fmla="*/ 6460 w 182690"/>
                    <a:gd name="connsiteY78" fmla="*/ 185981 h 219070"/>
                    <a:gd name="connsiteX79" fmla="*/ 9314 w 182690"/>
                    <a:gd name="connsiteY79" fmla="*/ 179788 h 219070"/>
                    <a:gd name="connsiteX80" fmla="*/ 13904 w 182690"/>
                    <a:gd name="connsiteY80" fmla="*/ 169916 h 219070"/>
                    <a:gd name="connsiteX81" fmla="*/ 15069 w 182690"/>
                    <a:gd name="connsiteY81" fmla="*/ 164938 h 219070"/>
                    <a:gd name="connsiteX82" fmla="*/ 14559 w 182690"/>
                    <a:gd name="connsiteY82" fmla="*/ 162667 h 219070"/>
                    <a:gd name="connsiteX83" fmla="*/ 12264 w 182690"/>
                    <a:gd name="connsiteY83" fmla="*/ 158745 h 219070"/>
                    <a:gd name="connsiteX84" fmla="*/ 11390 w 182690"/>
                    <a:gd name="connsiteY84" fmla="*/ 156522 h 219070"/>
                    <a:gd name="connsiteX85" fmla="*/ 11220 w 182690"/>
                    <a:gd name="connsiteY85" fmla="*/ 153742 h 219070"/>
                    <a:gd name="connsiteX86" fmla="*/ 11682 w 182690"/>
                    <a:gd name="connsiteY86" fmla="*/ 151471 h 219070"/>
                    <a:gd name="connsiteX87" fmla="*/ 13284 w 182690"/>
                    <a:gd name="connsiteY87" fmla="*/ 146857 h 219070"/>
                    <a:gd name="connsiteX88" fmla="*/ 13989 w 182690"/>
                    <a:gd name="connsiteY88" fmla="*/ 145509 h 219070"/>
                    <a:gd name="connsiteX89" fmla="*/ 14948 w 182690"/>
                    <a:gd name="connsiteY89" fmla="*/ 144501 h 219070"/>
                    <a:gd name="connsiteX90" fmla="*/ 15822 w 182690"/>
                    <a:gd name="connsiteY90" fmla="*/ 143360 h 219070"/>
                    <a:gd name="connsiteX91" fmla="*/ 16284 w 182690"/>
                    <a:gd name="connsiteY91" fmla="*/ 141599 h 219070"/>
                    <a:gd name="connsiteX92" fmla="*/ 15932 w 182690"/>
                    <a:gd name="connsiteY92" fmla="*/ 140737 h 219070"/>
                    <a:gd name="connsiteX93" fmla="*/ 14219 w 182690"/>
                    <a:gd name="connsiteY93" fmla="*/ 139049 h 219070"/>
                    <a:gd name="connsiteX94" fmla="*/ 13758 w 182690"/>
                    <a:gd name="connsiteY94" fmla="*/ 138150 h 219070"/>
                    <a:gd name="connsiteX95" fmla="*/ 12823 w 182690"/>
                    <a:gd name="connsiteY95" fmla="*/ 134192 h 219070"/>
                    <a:gd name="connsiteX96" fmla="*/ 12604 w 182690"/>
                    <a:gd name="connsiteY96" fmla="*/ 132261 h 219070"/>
                    <a:gd name="connsiteX97" fmla="*/ 12823 w 182690"/>
                    <a:gd name="connsiteY97" fmla="*/ 130112 h 219070"/>
                    <a:gd name="connsiteX98" fmla="*/ 17607 w 182690"/>
                    <a:gd name="connsiteY98" fmla="*/ 119899 h 219070"/>
                    <a:gd name="connsiteX99" fmla="*/ 29265 w 182690"/>
                    <a:gd name="connsiteY99" fmla="*/ 100859 h 219070"/>
                    <a:gd name="connsiteX100" fmla="*/ 33745 w 182690"/>
                    <a:gd name="connsiteY100" fmla="*/ 83920 h 219070"/>
                    <a:gd name="connsiteX101" fmla="*/ 36502 w 182690"/>
                    <a:gd name="connsiteY101" fmla="*/ 78723 h 219070"/>
                    <a:gd name="connsiteX102" fmla="*/ 38396 w 182690"/>
                    <a:gd name="connsiteY102" fmla="*/ 73586 h 219070"/>
                    <a:gd name="connsiteX103" fmla="*/ 37473 w 182690"/>
                    <a:gd name="connsiteY103" fmla="*/ 65293 h 219070"/>
                    <a:gd name="connsiteX104" fmla="*/ 39707 w 182690"/>
                    <a:gd name="connsiteY104" fmla="*/ 61528 h 219070"/>
                    <a:gd name="connsiteX105" fmla="*/ 39331 w 182690"/>
                    <a:gd name="connsiteY105" fmla="*/ 59136 h 219070"/>
                    <a:gd name="connsiteX106" fmla="*/ 37837 w 182690"/>
                    <a:gd name="connsiteY106" fmla="*/ 57934 h 219070"/>
                    <a:gd name="connsiteX107" fmla="*/ 35300 w 182690"/>
                    <a:gd name="connsiteY107" fmla="*/ 57047 h 219070"/>
                    <a:gd name="connsiteX108" fmla="*/ 30637 w 182690"/>
                    <a:gd name="connsiteY108" fmla="*/ 56015 h 219070"/>
                    <a:gd name="connsiteX109" fmla="*/ 28123 w 182690"/>
                    <a:gd name="connsiteY109" fmla="*/ 52190 h 219070"/>
                    <a:gd name="connsiteX110" fmla="*/ 26751 w 182690"/>
                    <a:gd name="connsiteY110" fmla="*/ 47248 h 219070"/>
                    <a:gd name="connsiteX111" fmla="*/ 27212 w 182690"/>
                    <a:gd name="connsiteY111" fmla="*/ 42318 h 219070"/>
                    <a:gd name="connsiteX112" fmla="*/ 30199 w 182690"/>
                    <a:gd name="connsiteY112" fmla="*/ 38505 h 219070"/>
                    <a:gd name="connsiteX113" fmla="*/ 32264 w 182690"/>
                    <a:gd name="connsiteY113" fmla="*/ 37837 h 219070"/>
                    <a:gd name="connsiteX114" fmla="*/ 36854 w 182690"/>
                    <a:gd name="connsiteY114" fmla="*/ 38505 h 219070"/>
                    <a:gd name="connsiteX115" fmla="*/ 39040 w 182690"/>
                    <a:gd name="connsiteY115" fmla="*/ 38566 h 219070"/>
                    <a:gd name="connsiteX116" fmla="*/ 41274 w 182690"/>
                    <a:gd name="connsiteY116" fmla="*/ 37983 h 219070"/>
                    <a:gd name="connsiteX117" fmla="*/ 45585 w 182690"/>
                    <a:gd name="connsiteY117" fmla="*/ 36259 h 219070"/>
                    <a:gd name="connsiteX118" fmla="*/ 79524 w 182690"/>
                    <a:gd name="connsiteY118" fmla="*/ 31317 h 219070"/>
                    <a:gd name="connsiteX119" fmla="*/ 83434 w 182690"/>
                    <a:gd name="connsiteY119" fmla="*/ 28852 h 219070"/>
                    <a:gd name="connsiteX120" fmla="*/ 83483 w 182690"/>
                    <a:gd name="connsiteY120" fmla="*/ 28852 h 219070"/>
                    <a:gd name="connsiteX121" fmla="*/ 83483 w 182690"/>
                    <a:gd name="connsiteY121" fmla="*/ 28827 h 219070"/>
                    <a:gd name="connsiteX122" fmla="*/ 93998 w 182690"/>
                    <a:gd name="connsiteY122" fmla="*/ 21396 h 219070"/>
                    <a:gd name="connsiteX123" fmla="*/ 97678 w 182690"/>
                    <a:gd name="connsiteY123" fmla="*/ 20437 h 219070"/>
                    <a:gd name="connsiteX124" fmla="*/ 102657 w 182690"/>
                    <a:gd name="connsiteY124" fmla="*/ 21930 h 219070"/>
                    <a:gd name="connsiteX125" fmla="*/ 105461 w 182690"/>
                    <a:gd name="connsiteY125" fmla="*/ 19757 h 219070"/>
                    <a:gd name="connsiteX126" fmla="*/ 108048 w 182690"/>
                    <a:gd name="connsiteY126" fmla="*/ 15822 h 219070"/>
                    <a:gd name="connsiteX127" fmla="*/ 112128 w 182690"/>
                    <a:gd name="connsiteY127" fmla="*/ 11937 h 219070"/>
                    <a:gd name="connsiteX128" fmla="*/ 119827 w 182690"/>
                    <a:gd name="connsiteY128" fmla="*/ 6169 h 219070"/>
                    <a:gd name="connsiteX129" fmla="*/ 117932 w 182690"/>
                    <a:gd name="connsiteY129" fmla="*/ 0 h 219070"/>
                    <a:gd name="connsiteX130" fmla="*/ 116196 w 182690"/>
                    <a:gd name="connsiteY130" fmla="*/ 1287 h 219070"/>
                    <a:gd name="connsiteX131" fmla="*/ 108436 w 182690"/>
                    <a:gd name="connsiteY131" fmla="*/ 7055 h 219070"/>
                    <a:gd name="connsiteX132" fmla="*/ 108133 w 182690"/>
                    <a:gd name="connsiteY132" fmla="*/ 7286 h 219070"/>
                    <a:gd name="connsiteX133" fmla="*/ 107878 w 182690"/>
                    <a:gd name="connsiteY133" fmla="*/ 7541 h 219070"/>
                    <a:gd name="connsiteX134" fmla="*/ 103798 w 182690"/>
                    <a:gd name="connsiteY134" fmla="*/ 11426 h 219070"/>
                    <a:gd name="connsiteX135" fmla="*/ 103288 w 182690"/>
                    <a:gd name="connsiteY135" fmla="*/ 11912 h 219070"/>
                    <a:gd name="connsiteX136" fmla="*/ 102911 w 182690"/>
                    <a:gd name="connsiteY136" fmla="*/ 12483 h 219070"/>
                    <a:gd name="connsiteX137" fmla="*/ 101151 w 182690"/>
                    <a:gd name="connsiteY137" fmla="*/ 15154 h 219070"/>
                    <a:gd name="connsiteX138" fmla="*/ 99354 w 182690"/>
                    <a:gd name="connsiteY138" fmla="*/ 14620 h 219070"/>
                    <a:gd name="connsiteX139" fmla="*/ 97726 w 182690"/>
                    <a:gd name="connsiteY139" fmla="*/ 14134 h 219070"/>
                    <a:gd name="connsiteX140" fmla="*/ 96075 w 182690"/>
                    <a:gd name="connsiteY140" fmla="*/ 14559 h 219070"/>
                    <a:gd name="connsiteX141" fmla="*/ 92396 w 182690"/>
                    <a:gd name="connsiteY141" fmla="*/ 15519 h 219070"/>
                    <a:gd name="connsiteX142" fmla="*/ 91327 w 182690"/>
                    <a:gd name="connsiteY142" fmla="*/ 15798 h 219070"/>
                    <a:gd name="connsiteX143" fmla="*/ 90428 w 182690"/>
                    <a:gd name="connsiteY143" fmla="*/ 16442 h 219070"/>
                    <a:gd name="connsiteX144" fmla="*/ 80107 w 182690"/>
                    <a:gd name="connsiteY144" fmla="*/ 23715 h 219070"/>
                    <a:gd name="connsiteX145" fmla="*/ 77302 w 182690"/>
                    <a:gd name="connsiteY145" fmla="*/ 25488 h 219070"/>
                    <a:gd name="connsiteX146" fmla="*/ 44637 w 182690"/>
                    <a:gd name="connsiteY146" fmla="*/ 30248 h 219070"/>
                    <a:gd name="connsiteX147" fmla="*/ 43921 w 182690"/>
                    <a:gd name="connsiteY147" fmla="*/ 30345 h 219070"/>
                    <a:gd name="connsiteX148" fmla="*/ 43253 w 182690"/>
                    <a:gd name="connsiteY148" fmla="*/ 30612 h 219070"/>
                    <a:gd name="connsiteX149" fmla="*/ 39294 w 182690"/>
                    <a:gd name="connsiteY149" fmla="*/ 32191 h 219070"/>
                    <a:gd name="connsiteX150" fmla="*/ 38262 w 182690"/>
                    <a:gd name="connsiteY150" fmla="*/ 32458 h 219070"/>
                    <a:gd name="connsiteX151" fmla="*/ 37303 w 182690"/>
                    <a:gd name="connsiteY151" fmla="*/ 32434 h 219070"/>
                    <a:gd name="connsiteX152" fmla="*/ 33065 w 182690"/>
                    <a:gd name="connsiteY152" fmla="*/ 31814 h 219070"/>
                    <a:gd name="connsiteX153" fmla="*/ 31669 w 182690"/>
                    <a:gd name="connsiteY153" fmla="*/ 31608 h 219070"/>
                    <a:gd name="connsiteX154" fmla="*/ 30321 w 182690"/>
                    <a:gd name="connsiteY154" fmla="*/ 32045 h 219070"/>
                    <a:gd name="connsiteX155" fmla="*/ 28257 w 182690"/>
                    <a:gd name="connsiteY155" fmla="*/ 32713 h 219070"/>
                    <a:gd name="connsiteX156" fmla="*/ 26484 w 182690"/>
                    <a:gd name="connsiteY156" fmla="*/ 33284 h 219070"/>
                    <a:gd name="connsiteX157" fmla="*/ 25342 w 182690"/>
                    <a:gd name="connsiteY157" fmla="*/ 34741 h 219070"/>
                    <a:gd name="connsiteX158" fmla="*/ 22355 w 182690"/>
                    <a:gd name="connsiteY158" fmla="*/ 38554 h 219070"/>
                    <a:gd name="connsiteX159" fmla="*/ 21250 w 182690"/>
                    <a:gd name="connsiteY159" fmla="*/ 39962 h 219070"/>
                    <a:gd name="connsiteX160" fmla="*/ 21080 w 182690"/>
                    <a:gd name="connsiteY160" fmla="*/ 41735 h 219070"/>
                    <a:gd name="connsiteX161" fmla="*/ 20619 w 182690"/>
                    <a:gd name="connsiteY161" fmla="*/ 46665 h 219070"/>
                    <a:gd name="connsiteX162" fmla="*/ 20509 w 182690"/>
                    <a:gd name="connsiteY162" fmla="*/ 47782 h 219070"/>
                    <a:gd name="connsiteX163" fmla="*/ 20813 w 182690"/>
                    <a:gd name="connsiteY163" fmla="*/ 48863 h 219070"/>
                    <a:gd name="connsiteX164" fmla="*/ 22185 w 182690"/>
                    <a:gd name="connsiteY164" fmla="*/ 53805 h 219070"/>
                    <a:gd name="connsiteX165" fmla="*/ 22440 w 182690"/>
                    <a:gd name="connsiteY165" fmla="*/ 54728 h 219070"/>
                    <a:gd name="connsiteX166" fmla="*/ 22962 w 182690"/>
                    <a:gd name="connsiteY166" fmla="*/ 55518 h 219070"/>
                    <a:gd name="connsiteX167" fmla="*/ 25476 w 182690"/>
                    <a:gd name="connsiteY167" fmla="*/ 59343 h 219070"/>
                    <a:gd name="connsiteX168" fmla="*/ 26824 w 182690"/>
                    <a:gd name="connsiteY168" fmla="*/ 61395 h 219070"/>
                    <a:gd name="connsiteX169" fmla="*/ 29228 w 182690"/>
                    <a:gd name="connsiteY169" fmla="*/ 61929 h 219070"/>
                    <a:gd name="connsiteX170" fmla="*/ 31960 w 182690"/>
                    <a:gd name="connsiteY170" fmla="*/ 62524 h 219070"/>
                    <a:gd name="connsiteX171" fmla="*/ 31134 w 182690"/>
                    <a:gd name="connsiteY171" fmla="*/ 63921 h 219070"/>
                    <a:gd name="connsiteX172" fmla="*/ 31365 w 182690"/>
                    <a:gd name="connsiteY172" fmla="*/ 65936 h 219070"/>
                    <a:gd name="connsiteX173" fmla="*/ 32130 w 182690"/>
                    <a:gd name="connsiteY173" fmla="*/ 72809 h 219070"/>
                    <a:gd name="connsiteX174" fmla="*/ 30867 w 182690"/>
                    <a:gd name="connsiteY174" fmla="*/ 76209 h 219070"/>
                    <a:gd name="connsiteX175" fmla="*/ 28293 w 182690"/>
                    <a:gd name="connsiteY175" fmla="*/ 81054 h 219070"/>
                    <a:gd name="connsiteX176" fmla="*/ 27977 w 182690"/>
                    <a:gd name="connsiteY176" fmla="*/ 81673 h 219070"/>
                    <a:gd name="connsiteX177" fmla="*/ 27795 w 182690"/>
                    <a:gd name="connsiteY177" fmla="*/ 82341 h 219070"/>
                    <a:gd name="connsiteX178" fmla="*/ 23533 w 182690"/>
                    <a:gd name="connsiteY178" fmla="*/ 98418 h 219070"/>
                    <a:gd name="connsiteX179" fmla="*/ 12337 w 182690"/>
                    <a:gd name="connsiteY179" fmla="*/ 116694 h 219070"/>
                    <a:gd name="connsiteX180" fmla="*/ 12155 w 182690"/>
                    <a:gd name="connsiteY180" fmla="*/ 116985 h 219070"/>
                    <a:gd name="connsiteX181" fmla="*/ 12010 w 182690"/>
                    <a:gd name="connsiteY181" fmla="*/ 117289 h 219070"/>
                    <a:gd name="connsiteX182" fmla="*/ 7225 w 182690"/>
                    <a:gd name="connsiteY182" fmla="*/ 127501 h 219070"/>
                    <a:gd name="connsiteX183" fmla="*/ 6788 w 182690"/>
                    <a:gd name="connsiteY183" fmla="*/ 128448 h 219070"/>
                    <a:gd name="connsiteX184" fmla="*/ 6691 w 182690"/>
                    <a:gd name="connsiteY184" fmla="*/ 129480 h 219070"/>
                    <a:gd name="connsiteX185" fmla="*/ 6472 w 182690"/>
                    <a:gd name="connsiteY185" fmla="*/ 131629 h 219070"/>
                    <a:gd name="connsiteX186" fmla="*/ 6399 w 182690"/>
                    <a:gd name="connsiteY186" fmla="*/ 132261 h 219070"/>
                    <a:gd name="connsiteX187" fmla="*/ 6472 w 182690"/>
                    <a:gd name="connsiteY187" fmla="*/ 132892 h 219070"/>
                    <a:gd name="connsiteX188" fmla="*/ 6691 w 182690"/>
                    <a:gd name="connsiteY188" fmla="*/ 134823 h 219070"/>
                    <a:gd name="connsiteX189" fmla="*/ 6739 w 182690"/>
                    <a:gd name="connsiteY189" fmla="*/ 135200 h 219070"/>
                    <a:gd name="connsiteX190" fmla="*/ 6824 w 182690"/>
                    <a:gd name="connsiteY190" fmla="*/ 135564 h 219070"/>
                    <a:gd name="connsiteX191" fmla="*/ 7759 w 182690"/>
                    <a:gd name="connsiteY191" fmla="*/ 139522 h 219070"/>
                    <a:gd name="connsiteX192" fmla="*/ 7929 w 182690"/>
                    <a:gd name="connsiteY192" fmla="*/ 140239 h 219070"/>
                    <a:gd name="connsiteX193" fmla="*/ 8257 w 182690"/>
                    <a:gd name="connsiteY193" fmla="*/ 140894 h 219070"/>
                    <a:gd name="connsiteX194" fmla="*/ 8731 w 182690"/>
                    <a:gd name="connsiteY194" fmla="*/ 141793 h 219070"/>
                    <a:gd name="connsiteX195" fmla="*/ 8840 w 182690"/>
                    <a:gd name="connsiteY195" fmla="*/ 142024 h 219070"/>
                    <a:gd name="connsiteX196" fmla="*/ 8500 w 182690"/>
                    <a:gd name="connsiteY196" fmla="*/ 142692 h 219070"/>
                    <a:gd name="connsiteX197" fmla="*/ 7796 w 182690"/>
                    <a:gd name="connsiteY197" fmla="*/ 144040 h 219070"/>
                    <a:gd name="connsiteX198" fmla="*/ 7589 w 182690"/>
                    <a:gd name="connsiteY198" fmla="*/ 144428 h 219070"/>
                    <a:gd name="connsiteX199" fmla="*/ 7444 w 182690"/>
                    <a:gd name="connsiteY199" fmla="*/ 144841 h 219070"/>
                    <a:gd name="connsiteX200" fmla="*/ 5841 w 182690"/>
                    <a:gd name="connsiteY200" fmla="*/ 149455 h 219070"/>
                    <a:gd name="connsiteX201" fmla="*/ 5707 w 182690"/>
                    <a:gd name="connsiteY201" fmla="*/ 149844 h 219070"/>
                    <a:gd name="connsiteX202" fmla="*/ 5622 w 182690"/>
                    <a:gd name="connsiteY202" fmla="*/ 150245 h 219070"/>
                    <a:gd name="connsiteX203" fmla="*/ 5161 w 182690"/>
                    <a:gd name="connsiteY203" fmla="*/ 152515 h 219070"/>
                    <a:gd name="connsiteX204" fmla="*/ 5076 w 182690"/>
                    <a:gd name="connsiteY204" fmla="*/ 153305 h 219070"/>
                    <a:gd name="connsiteX205" fmla="*/ 5124 w 182690"/>
                    <a:gd name="connsiteY205" fmla="*/ 154094 h 219070"/>
                    <a:gd name="connsiteX206" fmla="*/ 5294 w 182690"/>
                    <a:gd name="connsiteY206" fmla="*/ 156875 h 219070"/>
                    <a:gd name="connsiteX207" fmla="*/ 5355 w 182690"/>
                    <a:gd name="connsiteY207" fmla="*/ 157846 h 219070"/>
                    <a:gd name="connsiteX208" fmla="*/ 5707 w 182690"/>
                    <a:gd name="connsiteY208" fmla="*/ 158745 h 219070"/>
                    <a:gd name="connsiteX209" fmla="*/ 6581 w 182690"/>
                    <a:gd name="connsiteY209" fmla="*/ 160967 h 219070"/>
                    <a:gd name="connsiteX210" fmla="*/ 6751 w 182690"/>
                    <a:gd name="connsiteY210" fmla="*/ 161404 h 219070"/>
                    <a:gd name="connsiteX211" fmla="*/ 6994 w 182690"/>
                    <a:gd name="connsiteY211" fmla="*/ 161805 h 219070"/>
                    <a:gd name="connsiteX212" fmla="*/ 8816 w 182690"/>
                    <a:gd name="connsiteY212" fmla="*/ 164901 h 219070"/>
                    <a:gd name="connsiteX213" fmla="*/ 8099 w 182690"/>
                    <a:gd name="connsiteY213" fmla="*/ 167913 h 219070"/>
                    <a:gd name="connsiteX214" fmla="*/ 3789 w 182690"/>
                    <a:gd name="connsiteY214" fmla="*/ 177214 h 219070"/>
                    <a:gd name="connsiteX215" fmla="*/ 923 w 182690"/>
                    <a:gd name="connsiteY215" fmla="*/ 183419 h 219070"/>
                    <a:gd name="connsiteX216" fmla="*/ 437 w 182690"/>
                    <a:gd name="connsiteY216" fmla="*/ 184476 h 219070"/>
                    <a:gd name="connsiteX217" fmla="*/ 377 w 182690"/>
                    <a:gd name="connsiteY217" fmla="*/ 185641 h 219070"/>
                    <a:gd name="connsiteX218" fmla="*/ 0 w 182690"/>
                    <a:gd name="connsiteY218" fmla="*/ 192721 h 219070"/>
                    <a:gd name="connsiteX219" fmla="*/ 12118 w 182690"/>
                    <a:gd name="connsiteY219" fmla="*/ 193376 h 219070"/>
                    <a:gd name="connsiteX220" fmla="*/ 12349 w 182690"/>
                    <a:gd name="connsiteY220" fmla="*/ 189175 h 219070"/>
                    <a:gd name="connsiteX221" fmla="*/ 17158 w 182690"/>
                    <a:gd name="connsiteY221" fmla="*/ 192308 h 219070"/>
                    <a:gd name="connsiteX222" fmla="*/ 17522 w 182690"/>
                    <a:gd name="connsiteY222" fmla="*/ 192842 h 219070"/>
                    <a:gd name="connsiteX223" fmla="*/ 17644 w 182690"/>
                    <a:gd name="connsiteY223" fmla="*/ 193133 h 219070"/>
                    <a:gd name="connsiteX224" fmla="*/ 17765 w 182690"/>
                    <a:gd name="connsiteY224" fmla="*/ 196121 h 219070"/>
                    <a:gd name="connsiteX225" fmla="*/ 17789 w 182690"/>
                    <a:gd name="connsiteY225" fmla="*/ 196679 h 219070"/>
                    <a:gd name="connsiteX226" fmla="*/ 17923 w 182690"/>
                    <a:gd name="connsiteY226" fmla="*/ 197226 h 219070"/>
                    <a:gd name="connsiteX227" fmla="*/ 18385 w 182690"/>
                    <a:gd name="connsiteY227" fmla="*/ 199253 h 219070"/>
                    <a:gd name="connsiteX228" fmla="*/ 18554 w 182690"/>
                    <a:gd name="connsiteY228" fmla="*/ 200006 h 219070"/>
                    <a:gd name="connsiteX229" fmla="*/ 18907 w 182690"/>
                    <a:gd name="connsiteY229" fmla="*/ 200686 h 219070"/>
                    <a:gd name="connsiteX230" fmla="*/ 19720 w 182690"/>
                    <a:gd name="connsiteY230" fmla="*/ 202265 h 219070"/>
                    <a:gd name="connsiteX231" fmla="*/ 20352 w 182690"/>
                    <a:gd name="connsiteY231" fmla="*/ 203479 h 219070"/>
                    <a:gd name="connsiteX232" fmla="*/ 21444 w 182690"/>
                    <a:gd name="connsiteY232" fmla="*/ 204305 h 219070"/>
                    <a:gd name="connsiteX233" fmla="*/ 23630 w 182690"/>
                    <a:gd name="connsiteY233" fmla="*/ 205969 h 219070"/>
                    <a:gd name="connsiteX234" fmla="*/ 24517 w 182690"/>
                    <a:gd name="connsiteY234" fmla="*/ 206636 h 219070"/>
                    <a:gd name="connsiteX235" fmla="*/ 25585 w 182690"/>
                    <a:gd name="connsiteY235" fmla="*/ 206952 h 219070"/>
                    <a:gd name="connsiteX236" fmla="*/ 28900 w 182690"/>
                    <a:gd name="connsiteY236" fmla="*/ 207936 h 219070"/>
                    <a:gd name="connsiteX237" fmla="*/ 29653 w 182690"/>
                    <a:gd name="connsiteY237" fmla="*/ 208166 h 219070"/>
                    <a:gd name="connsiteX238" fmla="*/ 30454 w 182690"/>
                    <a:gd name="connsiteY238" fmla="*/ 208191 h 219070"/>
                    <a:gd name="connsiteX239" fmla="*/ 36149 w 182690"/>
                    <a:gd name="connsiteY239" fmla="*/ 208336 h 219070"/>
                    <a:gd name="connsiteX240" fmla="*/ 36635 w 182690"/>
                    <a:gd name="connsiteY240" fmla="*/ 208349 h 219070"/>
                    <a:gd name="connsiteX241" fmla="*/ 37133 w 182690"/>
                    <a:gd name="connsiteY241" fmla="*/ 208276 h 219070"/>
                    <a:gd name="connsiteX242" fmla="*/ 44625 w 182690"/>
                    <a:gd name="connsiteY242" fmla="*/ 207256 h 219070"/>
                    <a:gd name="connsiteX243" fmla="*/ 50466 w 182690"/>
                    <a:gd name="connsiteY243" fmla="*/ 208276 h 219070"/>
                    <a:gd name="connsiteX244" fmla="*/ 67867 w 182690"/>
                    <a:gd name="connsiteY244" fmla="*/ 215173 h 219070"/>
                    <a:gd name="connsiteX245" fmla="*/ 68134 w 182690"/>
                    <a:gd name="connsiteY245" fmla="*/ 215489 h 219070"/>
                    <a:gd name="connsiteX246" fmla="*/ 68595 w 182690"/>
                    <a:gd name="connsiteY246" fmla="*/ 216059 h 219070"/>
                    <a:gd name="connsiteX247" fmla="*/ 69190 w 182690"/>
                    <a:gd name="connsiteY247" fmla="*/ 216496 h 219070"/>
                    <a:gd name="connsiteX248" fmla="*/ 70174 w 182690"/>
                    <a:gd name="connsiteY248" fmla="*/ 217225 h 219070"/>
                    <a:gd name="connsiteX249" fmla="*/ 70927 w 182690"/>
                    <a:gd name="connsiteY249" fmla="*/ 217772 h 219070"/>
                    <a:gd name="connsiteX250" fmla="*/ 71813 w 182690"/>
                    <a:gd name="connsiteY250" fmla="*/ 218075 h 219070"/>
                    <a:gd name="connsiteX251" fmla="*/ 73465 w 182690"/>
                    <a:gd name="connsiteY251" fmla="*/ 218646 h 219070"/>
                    <a:gd name="connsiteX252" fmla="*/ 74327 w 182690"/>
                    <a:gd name="connsiteY252" fmla="*/ 218949 h 219070"/>
                    <a:gd name="connsiteX253" fmla="*/ 75250 w 182690"/>
                    <a:gd name="connsiteY253" fmla="*/ 218974 h 219070"/>
                    <a:gd name="connsiteX254" fmla="*/ 77970 w 182690"/>
                    <a:gd name="connsiteY254" fmla="*/ 219059 h 219070"/>
                    <a:gd name="connsiteX255" fmla="*/ 78698 w 182690"/>
                    <a:gd name="connsiteY255" fmla="*/ 219071 h 219070"/>
                    <a:gd name="connsiteX256" fmla="*/ 79403 w 182690"/>
                    <a:gd name="connsiteY256" fmla="*/ 218925 h 219070"/>
                    <a:gd name="connsiteX257" fmla="*/ 85365 w 182690"/>
                    <a:gd name="connsiteY257" fmla="*/ 217686 h 219070"/>
                    <a:gd name="connsiteX258" fmla="*/ 86081 w 182690"/>
                    <a:gd name="connsiteY258" fmla="*/ 217541 h 219070"/>
                    <a:gd name="connsiteX259" fmla="*/ 86749 w 182690"/>
                    <a:gd name="connsiteY259" fmla="*/ 217225 h 219070"/>
                    <a:gd name="connsiteX260" fmla="*/ 90598 w 182690"/>
                    <a:gd name="connsiteY260" fmla="*/ 215392 h 219070"/>
                    <a:gd name="connsiteX261" fmla="*/ 90999 w 182690"/>
                    <a:gd name="connsiteY261" fmla="*/ 215197 h 219070"/>
                    <a:gd name="connsiteX262" fmla="*/ 91363 w 182690"/>
                    <a:gd name="connsiteY262" fmla="*/ 214954 h 219070"/>
                    <a:gd name="connsiteX263" fmla="*/ 95784 w 182690"/>
                    <a:gd name="connsiteY263" fmla="*/ 211992 h 219070"/>
                    <a:gd name="connsiteX264" fmla="*/ 96196 w 182690"/>
                    <a:gd name="connsiteY264" fmla="*/ 211712 h 219070"/>
                    <a:gd name="connsiteX265" fmla="*/ 96561 w 182690"/>
                    <a:gd name="connsiteY265" fmla="*/ 211372 h 219070"/>
                    <a:gd name="connsiteX266" fmla="*/ 108206 w 182690"/>
                    <a:gd name="connsiteY266" fmla="*/ 200383 h 219070"/>
                    <a:gd name="connsiteX267" fmla="*/ 109930 w 182690"/>
                    <a:gd name="connsiteY267" fmla="*/ 200249 h 219070"/>
                    <a:gd name="connsiteX268" fmla="*/ 122607 w 182690"/>
                    <a:gd name="connsiteY268" fmla="*/ 202156 h 219070"/>
                    <a:gd name="connsiteX269" fmla="*/ 123385 w 182690"/>
                    <a:gd name="connsiteY269" fmla="*/ 202265 h 219070"/>
                    <a:gd name="connsiteX270" fmla="*/ 124174 w 182690"/>
                    <a:gd name="connsiteY270" fmla="*/ 202180 h 219070"/>
                    <a:gd name="connsiteX271" fmla="*/ 131933 w 182690"/>
                    <a:gd name="connsiteY271" fmla="*/ 201318 h 219070"/>
                    <a:gd name="connsiteX272" fmla="*/ 134604 w 182690"/>
                    <a:gd name="connsiteY272" fmla="*/ 203504 h 219070"/>
                    <a:gd name="connsiteX273" fmla="*/ 135394 w 182690"/>
                    <a:gd name="connsiteY273" fmla="*/ 204147 h 219070"/>
                    <a:gd name="connsiteX274" fmla="*/ 136353 w 182690"/>
                    <a:gd name="connsiteY274" fmla="*/ 204499 h 219070"/>
                    <a:gd name="connsiteX275" fmla="*/ 141222 w 182690"/>
                    <a:gd name="connsiteY275" fmla="*/ 206284 h 219070"/>
                    <a:gd name="connsiteX276" fmla="*/ 142861 w 182690"/>
                    <a:gd name="connsiteY276" fmla="*/ 206879 h 219070"/>
                    <a:gd name="connsiteX277" fmla="*/ 144574 w 182690"/>
                    <a:gd name="connsiteY277" fmla="*/ 206515 h 219070"/>
                    <a:gd name="connsiteX278" fmla="*/ 147160 w 182690"/>
                    <a:gd name="connsiteY278" fmla="*/ 205969 h 219070"/>
                    <a:gd name="connsiteX279" fmla="*/ 164172 w 182690"/>
                    <a:gd name="connsiteY279" fmla="*/ 202374 h 219070"/>
                    <a:gd name="connsiteX280" fmla="*/ 152467 w 182690"/>
                    <a:gd name="connsiteY280" fmla="*/ 196521 h 219070"/>
                    <a:gd name="connsiteX281" fmla="*/ 152661 w 182690"/>
                    <a:gd name="connsiteY281" fmla="*/ 195841 h 219070"/>
                    <a:gd name="connsiteX282" fmla="*/ 155223 w 182690"/>
                    <a:gd name="connsiteY282" fmla="*/ 190170 h 219070"/>
                    <a:gd name="connsiteX283" fmla="*/ 158247 w 182690"/>
                    <a:gd name="connsiteY283" fmla="*/ 185884 h 219070"/>
                    <a:gd name="connsiteX284" fmla="*/ 161185 w 182690"/>
                    <a:gd name="connsiteY284" fmla="*/ 183941 h 219070"/>
                    <a:gd name="connsiteX285" fmla="*/ 171434 w 182690"/>
                    <a:gd name="connsiteY285" fmla="*/ 181379 h 219070"/>
                    <a:gd name="connsiteX286" fmla="*/ 172612 w 182690"/>
                    <a:gd name="connsiteY286" fmla="*/ 181088 h 219070"/>
                    <a:gd name="connsiteX287" fmla="*/ 173583 w 182690"/>
                    <a:gd name="connsiteY287" fmla="*/ 180371 h 219070"/>
                    <a:gd name="connsiteX288" fmla="*/ 176340 w 182690"/>
                    <a:gd name="connsiteY288" fmla="*/ 178331 h 219070"/>
                    <a:gd name="connsiteX289" fmla="*/ 177967 w 182690"/>
                    <a:gd name="connsiteY289" fmla="*/ 177117 h 219070"/>
                    <a:gd name="connsiteX290" fmla="*/ 179728 w 182690"/>
                    <a:gd name="connsiteY290" fmla="*/ 175805 h 219070"/>
                    <a:gd name="connsiteX291" fmla="*/ 180237 w 182690"/>
                    <a:gd name="connsiteY291" fmla="*/ 173693 h 219070"/>
                    <a:gd name="connsiteX292" fmla="*/ 181670 w 182690"/>
                    <a:gd name="connsiteY292" fmla="*/ 167815 h 219070"/>
                    <a:gd name="connsiteX293" fmla="*/ 182691 w 182690"/>
                    <a:gd name="connsiteY293" fmla="*/ 163675 h 219070"/>
                    <a:gd name="connsiteX294" fmla="*/ 179133 w 182690"/>
                    <a:gd name="connsiteY294" fmla="*/ 161319 h 219070"/>
                    <a:gd name="connsiteX295" fmla="*/ 174275 w 182690"/>
                    <a:gd name="connsiteY295" fmla="*/ 158089 h 219070"/>
                    <a:gd name="connsiteX296" fmla="*/ 172660 w 182690"/>
                    <a:gd name="connsiteY296" fmla="*/ 156717 h 219070"/>
                    <a:gd name="connsiteX297" fmla="*/ 169078 w 182690"/>
                    <a:gd name="connsiteY297" fmla="*/ 152151 h 219070"/>
                    <a:gd name="connsiteX298" fmla="*/ 168398 w 182690"/>
                    <a:gd name="connsiteY298" fmla="*/ 151289 h 219070"/>
                    <a:gd name="connsiteX299" fmla="*/ 167463 w 182690"/>
                    <a:gd name="connsiteY299" fmla="*/ 150718 h 219070"/>
                    <a:gd name="connsiteX300" fmla="*/ 165399 w 182690"/>
                    <a:gd name="connsiteY300" fmla="*/ 149455 h 219070"/>
                    <a:gd name="connsiteX301" fmla="*/ 165071 w 182690"/>
                    <a:gd name="connsiteY301" fmla="*/ 149249 h 219070"/>
                    <a:gd name="connsiteX302" fmla="*/ 164731 w 182690"/>
                    <a:gd name="connsiteY302" fmla="*/ 149091 h 219070"/>
                    <a:gd name="connsiteX303" fmla="*/ 162934 w 182690"/>
                    <a:gd name="connsiteY303" fmla="*/ 148290 h 219070"/>
                    <a:gd name="connsiteX304" fmla="*/ 161622 w 182690"/>
                    <a:gd name="connsiteY304" fmla="*/ 147452 h 219070"/>
                    <a:gd name="connsiteX305" fmla="*/ 158648 w 182690"/>
                    <a:gd name="connsiteY305" fmla="*/ 144137 h 219070"/>
                    <a:gd name="connsiteX306" fmla="*/ 156778 w 182690"/>
                    <a:gd name="connsiteY306" fmla="*/ 140324 h 219070"/>
                    <a:gd name="connsiteX307" fmla="*/ 156061 w 182690"/>
                    <a:gd name="connsiteY307" fmla="*/ 136062 h 219070"/>
                    <a:gd name="connsiteX308" fmla="*/ 156510 w 182690"/>
                    <a:gd name="connsiteY308" fmla="*/ 130585 h 219070"/>
                    <a:gd name="connsiteX309" fmla="*/ 156595 w 182690"/>
                    <a:gd name="connsiteY309" fmla="*/ 126857 h 219070"/>
                    <a:gd name="connsiteX310" fmla="*/ 156632 w 182690"/>
                    <a:gd name="connsiteY310" fmla="*/ 124817 h 219070"/>
                    <a:gd name="connsiteX311" fmla="*/ 155429 w 182690"/>
                    <a:gd name="connsiteY311" fmla="*/ 123166 h 219070"/>
                    <a:gd name="connsiteX312" fmla="*/ 153657 w 182690"/>
                    <a:gd name="connsiteY312" fmla="*/ 120762 h 219070"/>
                    <a:gd name="connsiteX313" fmla="*/ 154045 w 182690"/>
                    <a:gd name="connsiteY313" fmla="*/ 119899 h 219070"/>
                    <a:gd name="connsiteX314" fmla="*/ 157360 w 182690"/>
                    <a:gd name="connsiteY314" fmla="*/ 115054 h 219070"/>
                    <a:gd name="connsiteX315" fmla="*/ 157725 w 182690"/>
                    <a:gd name="connsiteY315" fmla="*/ 114532 h 219070"/>
                    <a:gd name="connsiteX316" fmla="*/ 157968 w 182690"/>
                    <a:gd name="connsiteY316" fmla="*/ 113949 h 219070"/>
                    <a:gd name="connsiteX317" fmla="*/ 160761 w 182690"/>
                    <a:gd name="connsiteY317" fmla="*/ 107174 h 219070"/>
                    <a:gd name="connsiteX318" fmla="*/ 164658 w 182690"/>
                    <a:gd name="connsiteY318" fmla="*/ 100908 h 219070"/>
                    <a:gd name="connsiteX319" fmla="*/ 165193 w 182690"/>
                    <a:gd name="connsiteY319" fmla="*/ 100070 h 219070"/>
                    <a:gd name="connsiteX320" fmla="*/ 165423 w 182690"/>
                    <a:gd name="connsiteY320" fmla="*/ 99098 h 219070"/>
                    <a:gd name="connsiteX321" fmla="*/ 174506 w 182690"/>
                    <a:gd name="connsiteY321" fmla="*/ 60885 h 219070"/>
                    <a:gd name="connsiteX322" fmla="*/ 174616 w 182690"/>
                    <a:gd name="connsiteY322" fmla="*/ 60411 h 219070"/>
                    <a:gd name="connsiteX323" fmla="*/ 174664 w 182690"/>
                    <a:gd name="connsiteY323" fmla="*/ 59925 h 219070"/>
                    <a:gd name="connsiteX324" fmla="*/ 174907 w 182690"/>
                    <a:gd name="connsiteY324" fmla="*/ 56793 h 219070"/>
                    <a:gd name="connsiteX325" fmla="*/ 174968 w 182690"/>
                    <a:gd name="connsiteY325" fmla="*/ 55991 h 219070"/>
                    <a:gd name="connsiteX326" fmla="*/ 174810 w 182690"/>
                    <a:gd name="connsiteY326" fmla="*/ 55202 h 219070"/>
                    <a:gd name="connsiteX327" fmla="*/ 174106 w 182690"/>
                    <a:gd name="connsiteY327" fmla="*/ 51559 h 219070"/>
                    <a:gd name="connsiteX328" fmla="*/ 173936 w 182690"/>
                    <a:gd name="connsiteY328" fmla="*/ 50697 h 219070"/>
                    <a:gd name="connsiteX329" fmla="*/ 173535 w 182690"/>
                    <a:gd name="connsiteY329" fmla="*/ 49920 h 219070"/>
                    <a:gd name="connsiteX330" fmla="*/ 171932 w 182690"/>
                    <a:gd name="connsiteY330" fmla="*/ 46823 h 219070"/>
                    <a:gd name="connsiteX331" fmla="*/ 171519 w 182690"/>
                    <a:gd name="connsiteY331" fmla="*/ 46034 h 219070"/>
                    <a:gd name="connsiteX332" fmla="*/ 170900 w 182690"/>
                    <a:gd name="connsiteY332" fmla="*/ 45390 h 219070"/>
                    <a:gd name="connsiteX333" fmla="*/ 166892 w 182690"/>
                    <a:gd name="connsiteY333" fmla="*/ 41262 h 219070"/>
                    <a:gd name="connsiteX334" fmla="*/ 166492 w 182690"/>
                    <a:gd name="connsiteY334" fmla="*/ 40606 h 219070"/>
                    <a:gd name="connsiteX335" fmla="*/ 166443 w 182690"/>
                    <a:gd name="connsiteY335" fmla="*/ 39732 h 219070"/>
                    <a:gd name="connsiteX336" fmla="*/ 168022 w 182690"/>
                    <a:gd name="connsiteY336" fmla="*/ 33988 h 219070"/>
                    <a:gd name="connsiteX337" fmla="*/ 168301 w 182690"/>
                    <a:gd name="connsiteY337" fmla="*/ 32919 h 219070"/>
                    <a:gd name="connsiteX338" fmla="*/ 168204 w 182690"/>
                    <a:gd name="connsiteY338" fmla="*/ 31814 h 219070"/>
                    <a:gd name="connsiteX339" fmla="*/ 167876 w 182690"/>
                    <a:gd name="connsiteY339" fmla="*/ 28281 h 219070"/>
                    <a:gd name="connsiteX340" fmla="*/ 167354 w 182690"/>
                    <a:gd name="connsiteY340" fmla="*/ 22780 h 219070"/>
                    <a:gd name="connsiteX341" fmla="*/ 164597 w 182690"/>
                    <a:gd name="connsiteY341" fmla="*/ 22768 h 219070"/>
                    <a:gd name="connsiteX342" fmla="*/ 163650 w 182690"/>
                    <a:gd name="connsiteY342" fmla="*/ 21639 h 219070"/>
                    <a:gd name="connsiteX343" fmla="*/ 163298 w 182690"/>
                    <a:gd name="connsiteY343" fmla="*/ 21214 h 219070"/>
                    <a:gd name="connsiteX344" fmla="*/ 162873 w 182690"/>
                    <a:gd name="connsiteY344" fmla="*/ 20862 h 219070"/>
                    <a:gd name="connsiteX345" fmla="*/ 158623 w 182690"/>
                    <a:gd name="connsiteY345" fmla="*/ 17364 h 219070"/>
                    <a:gd name="connsiteX346" fmla="*/ 158368 w 182690"/>
                    <a:gd name="connsiteY346" fmla="*/ 17146 h 219070"/>
                    <a:gd name="connsiteX347" fmla="*/ 158101 w 182690"/>
                    <a:gd name="connsiteY347" fmla="*/ 16964 h 219070"/>
                    <a:gd name="connsiteX348" fmla="*/ 149759 w 182690"/>
                    <a:gd name="connsiteY348" fmla="*/ 11499 h 219070"/>
                    <a:gd name="connsiteX349" fmla="*/ 148982 w 182690"/>
                    <a:gd name="connsiteY349" fmla="*/ 10989 h 219070"/>
                    <a:gd name="connsiteX350" fmla="*/ 148095 w 182690"/>
                    <a:gd name="connsiteY350" fmla="*/ 10734 h 219070"/>
                    <a:gd name="connsiteX351" fmla="*/ 143287 w 182690"/>
                    <a:gd name="connsiteY351" fmla="*/ 9362 h 219070"/>
                    <a:gd name="connsiteX352" fmla="*/ 142886 w 182690"/>
                    <a:gd name="connsiteY352" fmla="*/ 9241 h 219070"/>
                    <a:gd name="connsiteX353" fmla="*/ 142461 w 182690"/>
                    <a:gd name="connsiteY353" fmla="*/ 9192 h 219070"/>
                    <a:gd name="connsiteX354" fmla="*/ 133123 w 182690"/>
                    <a:gd name="connsiteY354" fmla="*/ 7905 h 219070"/>
                    <a:gd name="connsiteX355" fmla="*/ 131071 w 182690"/>
                    <a:gd name="connsiteY355" fmla="*/ 6387 h 219070"/>
                    <a:gd name="connsiteX356" fmla="*/ 127549 w 182690"/>
                    <a:gd name="connsiteY356" fmla="*/ 2319 h 219070"/>
                    <a:gd name="connsiteX357" fmla="*/ 125837 w 182690"/>
                    <a:gd name="connsiteY357" fmla="*/ 352 h 219070"/>
                    <a:gd name="connsiteX358" fmla="*/ 123227 w 182690"/>
                    <a:gd name="connsiteY358" fmla="*/ 231 h 219070"/>
                    <a:gd name="connsiteX359" fmla="*/ 120118 w 182690"/>
                    <a:gd name="connsiteY359" fmla="*/ 85 h 219070"/>
                    <a:gd name="connsiteX360" fmla="*/ 117932 w 182690"/>
                    <a:gd name="connsiteY360" fmla="*/ 0 h 219070"/>
                    <a:gd name="connsiteX361" fmla="*/ 117932 w 182690"/>
                    <a:gd name="connsiteY361" fmla="*/ 0 h 219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Lst>
                  <a:rect l="l" t="t" r="r" b="b"/>
                  <a:pathLst>
                    <a:path w="182690" h="219070">
                      <a:moveTo>
                        <a:pt x="119827" y="6169"/>
                      </a:moveTo>
                      <a:lnTo>
                        <a:pt x="122935" y="6314"/>
                      </a:lnTo>
                      <a:lnTo>
                        <a:pt x="126894" y="10880"/>
                      </a:lnTo>
                      <a:lnTo>
                        <a:pt x="130719" y="13722"/>
                      </a:lnTo>
                      <a:lnTo>
                        <a:pt x="141599" y="15215"/>
                      </a:lnTo>
                      <a:lnTo>
                        <a:pt x="146407" y="16587"/>
                      </a:lnTo>
                      <a:lnTo>
                        <a:pt x="154749" y="22052"/>
                      </a:lnTo>
                      <a:lnTo>
                        <a:pt x="159000" y="25549"/>
                      </a:lnTo>
                      <a:lnTo>
                        <a:pt x="161768" y="28827"/>
                      </a:lnTo>
                      <a:lnTo>
                        <a:pt x="161829" y="28827"/>
                      </a:lnTo>
                      <a:lnTo>
                        <a:pt x="161829" y="28852"/>
                      </a:lnTo>
                      <a:lnTo>
                        <a:pt x="162157" y="32385"/>
                      </a:lnTo>
                      <a:lnTo>
                        <a:pt x="160335" y="39052"/>
                      </a:lnTo>
                      <a:lnTo>
                        <a:pt x="160505" y="42427"/>
                      </a:lnTo>
                      <a:lnTo>
                        <a:pt x="162060" y="44990"/>
                      </a:lnTo>
                      <a:lnTo>
                        <a:pt x="166540" y="49616"/>
                      </a:lnTo>
                      <a:lnTo>
                        <a:pt x="168143" y="52713"/>
                      </a:lnTo>
                      <a:lnTo>
                        <a:pt x="168848" y="56355"/>
                      </a:lnTo>
                      <a:lnTo>
                        <a:pt x="168605" y="59488"/>
                      </a:lnTo>
                      <a:lnTo>
                        <a:pt x="159522" y="97702"/>
                      </a:lnTo>
                      <a:lnTo>
                        <a:pt x="155345" y="104393"/>
                      </a:lnTo>
                      <a:lnTo>
                        <a:pt x="152357" y="111630"/>
                      </a:lnTo>
                      <a:lnTo>
                        <a:pt x="148739" y="116912"/>
                      </a:lnTo>
                      <a:lnTo>
                        <a:pt x="147403" y="119839"/>
                      </a:lnTo>
                      <a:lnTo>
                        <a:pt x="147537" y="122680"/>
                      </a:lnTo>
                      <a:lnTo>
                        <a:pt x="150512" y="126760"/>
                      </a:lnTo>
                      <a:lnTo>
                        <a:pt x="150451" y="130087"/>
                      </a:lnTo>
                      <a:lnTo>
                        <a:pt x="149941" y="136317"/>
                      </a:lnTo>
                      <a:lnTo>
                        <a:pt x="150913" y="142206"/>
                      </a:lnTo>
                      <a:lnTo>
                        <a:pt x="153560" y="147573"/>
                      </a:lnTo>
                      <a:lnTo>
                        <a:pt x="157652" y="152139"/>
                      </a:lnTo>
                      <a:lnTo>
                        <a:pt x="160044" y="153657"/>
                      </a:lnTo>
                      <a:lnTo>
                        <a:pt x="162242" y="154640"/>
                      </a:lnTo>
                      <a:lnTo>
                        <a:pt x="164306" y="155903"/>
                      </a:lnTo>
                      <a:lnTo>
                        <a:pt x="168265" y="160955"/>
                      </a:lnTo>
                      <a:lnTo>
                        <a:pt x="170620" y="162958"/>
                      </a:lnTo>
                      <a:lnTo>
                        <a:pt x="175781" y="166382"/>
                      </a:lnTo>
                      <a:lnTo>
                        <a:pt x="174348" y="172260"/>
                      </a:lnTo>
                      <a:lnTo>
                        <a:pt x="172733" y="173462"/>
                      </a:lnTo>
                      <a:lnTo>
                        <a:pt x="169977" y="175502"/>
                      </a:lnTo>
                      <a:lnTo>
                        <a:pt x="158721" y="178319"/>
                      </a:lnTo>
                      <a:lnTo>
                        <a:pt x="153948" y="181452"/>
                      </a:lnTo>
                      <a:lnTo>
                        <a:pt x="149929" y="187159"/>
                      </a:lnTo>
                      <a:lnTo>
                        <a:pt x="146942" y="193789"/>
                      </a:lnTo>
                      <a:lnTo>
                        <a:pt x="145327" y="199618"/>
                      </a:lnTo>
                      <a:lnTo>
                        <a:pt x="145897" y="200031"/>
                      </a:lnTo>
                      <a:lnTo>
                        <a:pt x="145909" y="200031"/>
                      </a:lnTo>
                      <a:lnTo>
                        <a:pt x="143323" y="200577"/>
                      </a:lnTo>
                      <a:lnTo>
                        <a:pt x="138454" y="198792"/>
                      </a:lnTo>
                      <a:lnTo>
                        <a:pt x="134435" y="195513"/>
                      </a:lnTo>
                      <a:lnTo>
                        <a:pt x="133062" y="195088"/>
                      </a:lnTo>
                      <a:lnTo>
                        <a:pt x="123518" y="196145"/>
                      </a:lnTo>
                      <a:lnTo>
                        <a:pt x="110149" y="194141"/>
                      </a:lnTo>
                      <a:lnTo>
                        <a:pt x="105607" y="194506"/>
                      </a:lnTo>
                      <a:lnTo>
                        <a:pt x="92408" y="206964"/>
                      </a:lnTo>
                      <a:lnTo>
                        <a:pt x="87988" y="209927"/>
                      </a:lnTo>
                      <a:lnTo>
                        <a:pt x="84138" y="211761"/>
                      </a:lnTo>
                      <a:lnTo>
                        <a:pt x="78176" y="212999"/>
                      </a:lnTo>
                      <a:lnTo>
                        <a:pt x="75456" y="212914"/>
                      </a:lnTo>
                      <a:lnTo>
                        <a:pt x="73805" y="212344"/>
                      </a:lnTo>
                      <a:lnTo>
                        <a:pt x="72821" y="211615"/>
                      </a:lnTo>
                      <a:lnTo>
                        <a:pt x="71558" y="210097"/>
                      </a:lnTo>
                      <a:lnTo>
                        <a:pt x="52130" y="202398"/>
                      </a:lnTo>
                      <a:lnTo>
                        <a:pt x="44734" y="201111"/>
                      </a:lnTo>
                      <a:lnTo>
                        <a:pt x="36307" y="202265"/>
                      </a:lnTo>
                      <a:lnTo>
                        <a:pt x="30612" y="202119"/>
                      </a:lnTo>
                      <a:lnTo>
                        <a:pt x="27297" y="201136"/>
                      </a:lnTo>
                      <a:lnTo>
                        <a:pt x="25112" y="199472"/>
                      </a:lnTo>
                      <a:lnTo>
                        <a:pt x="24298" y="197893"/>
                      </a:lnTo>
                      <a:lnTo>
                        <a:pt x="23837" y="195866"/>
                      </a:lnTo>
                      <a:lnTo>
                        <a:pt x="23667" y="191834"/>
                      </a:lnTo>
                      <a:lnTo>
                        <a:pt x="22914" y="189952"/>
                      </a:lnTo>
                      <a:lnTo>
                        <a:pt x="21493" y="187876"/>
                      </a:lnTo>
                      <a:lnTo>
                        <a:pt x="15227" y="183796"/>
                      </a:lnTo>
                      <a:lnTo>
                        <a:pt x="12823" y="181124"/>
                      </a:lnTo>
                      <a:lnTo>
                        <a:pt x="9326" y="179776"/>
                      </a:lnTo>
                      <a:lnTo>
                        <a:pt x="6460" y="185981"/>
                      </a:lnTo>
                      <a:lnTo>
                        <a:pt x="6084" y="193061"/>
                      </a:lnTo>
                      <a:lnTo>
                        <a:pt x="6460" y="185981"/>
                      </a:lnTo>
                      <a:lnTo>
                        <a:pt x="9314" y="179788"/>
                      </a:lnTo>
                      <a:lnTo>
                        <a:pt x="13904" y="169916"/>
                      </a:lnTo>
                      <a:lnTo>
                        <a:pt x="15069" y="164938"/>
                      </a:lnTo>
                      <a:lnTo>
                        <a:pt x="14559" y="162667"/>
                      </a:lnTo>
                      <a:lnTo>
                        <a:pt x="12264" y="158745"/>
                      </a:lnTo>
                      <a:lnTo>
                        <a:pt x="11390" y="156522"/>
                      </a:lnTo>
                      <a:lnTo>
                        <a:pt x="11220" y="153742"/>
                      </a:lnTo>
                      <a:lnTo>
                        <a:pt x="11682" y="151471"/>
                      </a:lnTo>
                      <a:lnTo>
                        <a:pt x="13284" y="146857"/>
                      </a:lnTo>
                      <a:lnTo>
                        <a:pt x="13989" y="145509"/>
                      </a:lnTo>
                      <a:lnTo>
                        <a:pt x="14948" y="144501"/>
                      </a:lnTo>
                      <a:lnTo>
                        <a:pt x="15822" y="143360"/>
                      </a:lnTo>
                      <a:lnTo>
                        <a:pt x="16284" y="141599"/>
                      </a:lnTo>
                      <a:lnTo>
                        <a:pt x="15932" y="140737"/>
                      </a:lnTo>
                      <a:lnTo>
                        <a:pt x="14219" y="139049"/>
                      </a:lnTo>
                      <a:lnTo>
                        <a:pt x="13758" y="138150"/>
                      </a:lnTo>
                      <a:lnTo>
                        <a:pt x="12823" y="134192"/>
                      </a:lnTo>
                      <a:lnTo>
                        <a:pt x="12604" y="132261"/>
                      </a:lnTo>
                      <a:lnTo>
                        <a:pt x="12823" y="130112"/>
                      </a:lnTo>
                      <a:lnTo>
                        <a:pt x="17607" y="119899"/>
                      </a:lnTo>
                      <a:lnTo>
                        <a:pt x="29265" y="100859"/>
                      </a:lnTo>
                      <a:lnTo>
                        <a:pt x="33745" y="83920"/>
                      </a:lnTo>
                      <a:lnTo>
                        <a:pt x="36502" y="78723"/>
                      </a:lnTo>
                      <a:lnTo>
                        <a:pt x="38396" y="73586"/>
                      </a:lnTo>
                      <a:lnTo>
                        <a:pt x="37473" y="65293"/>
                      </a:lnTo>
                      <a:lnTo>
                        <a:pt x="39707" y="61528"/>
                      </a:lnTo>
                      <a:lnTo>
                        <a:pt x="39331" y="59136"/>
                      </a:lnTo>
                      <a:lnTo>
                        <a:pt x="37837" y="57934"/>
                      </a:lnTo>
                      <a:lnTo>
                        <a:pt x="35300" y="57047"/>
                      </a:lnTo>
                      <a:lnTo>
                        <a:pt x="30637" y="56015"/>
                      </a:lnTo>
                      <a:lnTo>
                        <a:pt x="28123" y="52190"/>
                      </a:lnTo>
                      <a:lnTo>
                        <a:pt x="26751" y="47248"/>
                      </a:lnTo>
                      <a:lnTo>
                        <a:pt x="27212" y="42318"/>
                      </a:lnTo>
                      <a:lnTo>
                        <a:pt x="30199" y="38505"/>
                      </a:lnTo>
                      <a:lnTo>
                        <a:pt x="32264" y="37837"/>
                      </a:lnTo>
                      <a:lnTo>
                        <a:pt x="36854" y="38505"/>
                      </a:lnTo>
                      <a:lnTo>
                        <a:pt x="39040" y="38566"/>
                      </a:lnTo>
                      <a:lnTo>
                        <a:pt x="41274" y="37983"/>
                      </a:lnTo>
                      <a:lnTo>
                        <a:pt x="45585" y="36259"/>
                      </a:lnTo>
                      <a:lnTo>
                        <a:pt x="79524" y="31317"/>
                      </a:lnTo>
                      <a:lnTo>
                        <a:pt x="83434" y="28852"/>
                      </a:lnTo>
                      <a:lnTo>
                        <a:pt x="83483" y="28852"/>
                      </a:lnTo>
                      <a:lnTo>
                        <a:pt x="83483" y="28827"/>
                      </a:lnTo>
                      <a:lnTo>
                        <a:pt x="93998" y="21396"/>
                      </a:lnTo>
                      <a:lnTo>
                        <a:pt x="97678" y="20437"/>
                      </a:lnTo>
                      <a:lnTo>
                        <a:pt x="102657" y="21930"/>
                      </a:lnTo>
                      <a:lnTo>
                        <a:pt x="105461" y="19757"/>
                      </a:lnTo>
                      <a:lnTo>
                        <a:pt x="108048" y="15822"/>
                      </a:lnTo>
                      <a:lnTo>
                        <a:pt x="112128" y="11937"/>
                      </a:lnTo>
                      <a:lnTo>
                        <a:pt x="119827" y="6169"/>
                      </a:lnTo>
                      <a:moveTo>
                        <a:pt x="117932" y="0"/>
                      </a:moveTo>
                      <a:lnTo>
                        <a:pt x="116196" y="1287"/>
                      </a:lnTo>
                      <a:lnTo>
                        <a:pt x="108436" y="7055"/>
                      </a:lnTo>
                      <a:lnTo>
                        <a:pt x="108133" y="7286"/>
                      </a:lnTo>
                      <a:lnTo>
                        <a:pt x="107878" y="7541"/>
                      </a:lnTo>
                      <a:lnTo>
                        <a:pt x="103798" y="11426"/>
                      </a:lnTo>
                      <a:lnTo>
                        <a:pt x="103288" y="11912"/>
                      </a:lnTo>
                      <a:lnTo>
                        <a:pt x="102911" y="12483"/>
                      </a:lnTo>
                      <a:lnTo>
                        <a:pt x="101151" y="15154"/>
                      </a:lnTo>
                      <a:lnTo>
                        <a:pt x="99354" y="14620"/>
                      </a:lnTo>
                      <a:lnTo>
                        <a:pt x="97726" y="14134"/>
                      </a:lnTo>
                      <a:lnTo>
                        <a:pt x="96075" y="14559"/>
                      </a:lnTo>
                      <a:lnTo>
                        <a:pt x="92396" y="15519"/>
                      </a:lnTo>
                      <a:lnTo>
                        <a:pt x="91327" y="15798"/>
                      </a:lnTo>
                      <a:lnTo>
                        <a:pt x="90428" y="16442"/>
                      </a:lnTo>
                      <a:lnTo>
                        <a:pt x="80107" y="23715"/>
                      </a:lnTo>
                      <a:lnTo>
                        <a:pt x="77302" y="25488"/>
                      </a:lnTo>
                      <a:lnTo>
                        <a:pt x="44637" y="30248"/>
                      </a:lnTo>
                      <a:lnTo>
                        <a:pt x="43921" y="30345"/>
                      </a:lnTo>
                      <a:lnTo>
                        <a:pt x="43253" y="30612"/>
                      </a:lnTo>
                      <a:lnTo>
                        <a:pt x="39294" y="32191"/>
                      </a:lnTo>
                      <a:lnTo>
                        <a:pt x="38262" y="32458"/>
                      </a:lnTo>
                      <a:lnTo>
                        <a:pt x="37303" y="32434"/>
                      </a:lnTo>
                      <a:lnTo>
                        <a:pt x="33065" y="31814"/>
                      </a:lnTo>
                      <a:lnTo>
                        <a:pt x="31669" y="31608"/>
                      </a:lnTo>
                      <a:lnTo>
                        <a:pt x="30321" y="32045"/>
                      </a:lnTo>
                      <a:lnTo>
                        <a:pt x="28257" y="32713"/>
                      </a:lnTo>
                      <a:lnTo>
                        <a:pt x="26484" y="33284"/>
                      </a:lnTo>
                      <a:lnTo>
                        <a:pt x="25342" y="34741"/>
                      </a:lnTo>
                      <a:lnTo>
                        <a:pt x="22355" y="38554"/>
                      </a:lnTo>
                      <a:lnTo>
                        <a:pt x="21250" y="39962"/>
                      </a:lnTo>
                      <a:lnTo>
                        <a:pt x="21080" y="41735"/>
                      </a:lnTo>
                      <a:lnTo>
                        <a:pt x="20619" y="46665"/>
                      </a:lnTo>
                      <a:lnTo>
                        <a:pt x="20509" y="47782"/>
                      </a:lnTo>
                      <a:lnTo>
                        <a:pt x="20813" y="48863"/>
                      </a:lnTo>
                      <a:lnTo>
                        <a:pt x="22185" y="53805"/>
                      </a:lnTo>
                      <a:lnTo>
                        <a:pt x="22440" y="54728"/>
                      </a:lnTo>
                      <a:lnTo>
                        <a:pt x="22962" y="55518"/>
                      </a:lnTo>
                      <a:lnTo>
                        <a:pt x="25476" y="59343"/>
                      </a:lnTo>
                      <a:lnTo>
                        <a:pt x="26824" y="61395"/>
                      </a:lnTo>
                      <a:lnTo>
                        <a:pt x="29228" y="61929"/>
                      </a:lnTo>
                      <a:lnTo>
                        <a:pt x="31960" y="62524"/>
                      </a:lnTo>
                      <a:lnTo>
                        <a:pt x="31134" y="63921"/>
                      </a:lnTo>
                      <a:lnTo>
                        <a:pt x="31365" y="65936"/>
                      </a:lnTo>
                      <a:lnTo>
                        <a:pt x="32130" y="72809"/>
                      </a:lnTo>
                      <a:lnTo>
                        <a:pt x="30867" y="76209"/>
                      </a:lnTo>
                      <a:lnTo>
                        <a:pt x="28293" y="81054"/>
                      </a:lnTo>
                      <a:lnTo>
                        <a:pt x="27977" y="81673"/>
                      </a:lnTo>
                      <a:lnTo>
                        <a:pt x="27795" y="82341"/>
                      </a:lnTo>
                      <a:lnTo>
                        <a:pt x="23533" y="98418"/>
                      </a:lnTo>
                      <a:lnTo>
                        <a:pt x="12337" y="116694"/>
                      </a:lnTo>
                      <a:lnTo>
                        <a:pt x="12155" y="116985"/>
                      </a:lnTo>
                      <a:lnTo>
                        <a:pt x="12010" y="117289"/>
                      </a:lnTo>
                      <a:lnTo>
                        <a:pt x="7225" y="127501"/>
                      </a:lnTo>
                      <a:lnTo>
                        <a:pt x="6788" y="128448"/>
                      </a:lnTo>
                      <a:lnTo>
                        <a:pt x="6691" y="129480"/>
                      </a:lnTo>
                      <a:lnTo>
                        <a:pt x="6472" y="131629"/>
                      </a:lnTo>
                      <a:lnTo>
                        <a:pt x="6399" y="132261"/>
                      </a:lnTo>
                      <a:lnTo>
                        <a:pt x="6472" y="132892"/>
                      </a:lnTo>
                      <a:lnTo>
                        <a:pt x="6691" y="134823"/>
                      </a:lnTo>
                      <a:lnTo>
                        <a:pt x="6739" y="135200"/>
                      </a:lnTo>
                      <a:lnTo>
                        <a:pt x="6824" y="135564"/>
                      </a:lnTo>
                      <a:lnTo>
                        <a:pt x="7759" y="139522"/>
                      </a:lnTo>
                      <a:lnTo>
                        <a:pt x="7929" y="140239"/>
                      </a:lnTo>
                      <a:lnTo>
                        <a:pt x="8257" y="140894"/>
                      </a:lnTo>
                      <a:lnTo>
                        <a:pt x="8731" y="141793"/>
                      </a:lnTo>
                      <a:lnTo>
                        <a:pt x="8840" y="142024"/>
                      </a:lnTo>
                      <a:lnTo>
                        <a:pt x="8500" y="142692"/>
                      </a:lnTo>
                      <a:lnTo>
                        <a:pt x="7796" y="144040"/>
                      </a:lnTo>
                      <a:lnTo>
                        <a:pt x="7589" y="144428"/>
                      </a:lnTo>
                      <a:lnTo>
                        <a:pt x="7444" y="144841"/>
                      </a:lnTo>
                      <a:lnTo>
                        <a:pt x="5841" y="149455"/>
                      </a:lnTo>
                      <a:lnTo>
                        <a:pt x="5707" y="149844"/>
                      </a:lnTo>
                      <a:lnTo>
                        <a:pt x="5622" y="150245"/>
                      </a:lnTo>
                      <a:lnTo>
                        <a:pt x="5161" y="152515"/>
                      </a:lnTo>
                      <a:lnTo>
                        <a:pt x="5076" y="153305"/>
                      </a:lnTo>
                      <a:lnTo>
                        <a:pt x="5124" y="154094"/>
                      </a:lnTo>
                      <a:lnTo>
                        <a:pt x="5294" y="156875"/>
                      </a:lnTo>
                      <a:lnTo>
                        <a:pt x="5355" y="157846"/>
                      </a:lnTo>
                      <a:lnTo>
                        <a:pt x="5707" y="158745"/>
                      </a:lnTo>
                      <a:lnTo>
                        <a:pt x="6581" y="160967"/>
                      </a:lnTo>
                      <a:lnTo>
                        <a:pt x="6751" y="161404"/>
                      </a:lnTo>
                      <a:lnTo>
                        <a:pt x="6994" y="161805"/>
                      </a:lnTo>
                      <a:lnTo>
                        <a:pt x="8816" y="164901"/>
                      </a:lnTo>
                      <a:lnTo>
                        <a:pt x="8099" y="167913"/>
                      </a:lnTo>
                      <a:lnTo>
                        <a:pt x="3789" y="177214"/>
                      </a:lnTo>
                      <a:lnTo>
                        <a:pt x="923" y="183419"/>
                      </a:lnTo>
                      <a:lnTo>
                        <a:pt x="437" y="184476"/>
                      </a:lnTo>
                      <a:lnTo>
                        <a:pt x="377" y="185641"/>
                      </a:lnTo>
                      <a:lnTo>
                        <a:pt x="0" y="192721"/>
                      </a:lnTo>
                      <a:lnTo>
                        <a:pt x="12118" y="193376"/>
                      </a:lnTo>
                      <a:lnTo>
                        <a:pt x="12349" y="189175"/>
                      </a:lnTo>
                      <a:lnTo>
                        <a:pt x="17158" y="192308"/>
                      </a:lnTo>
                      <a:lnTo>
                        <a:pt x="17522" y="192842"/>
                      </a:lnTo>
                      <a:lnTo>
                        <a:pt x="17644" y="193133"/>
                      </a:lnTo>
                      <a:lnTo>
                        <a:pt x="17765" y="196121"/>
                      </a:lnTo>
                      <a:lnTo>
                        <a:pt x="17789" y="196679"/>
                      </a:lnTo>
                      <a:lnTo>
                        <a:pt x="17923" y="197226"/>
                      </a:lnTo>
                      <a:lnTo>
                        <a:pt x="18385" y="199253"/>
                      </a:lnTo>
                      <a:lnTo>
                        <a:pt x="18554" y="200006"/>
                      </a:lnTo>
                      <a:lnTo>
                        <a:pt x="18907" y="200686"/>
                      </a:lnTo>
                      <a:lnTo>
                        <a:pt x="19720" y="202265"/>
                      </a:lnTo>
                      <a:lnTo>
                        <a:pt x="20352" y="203479"/>
                      </a:lnTo>
                      <a:lnTo>
                        <a:pt x="21444" y="204305"/>
                      </a:lnTo>
                      <a:lnTo>
                        <a:pt x="23630" y="205969"/>
                      </a:lnTo>
                      <a:lnTo>
                        <a:pt x="24517" y="206636"/>
                      </a:lnTo>
                      <a:lnTo>
                        <a:pt x="25585" y="206952"/>
                      </a:lnTo>
                      <a:lnTo>
                        <a:pt x="28900" y="207936"/>
                      </a:lnTo>
                      <a:lnTo>
                        <a:pt x="29653" y="208166"/>
                      </a:lnTo>
                      <a:lnTo>
                        <a:pt x="30454" y="208191"/>
                      </a:lnTo>
                      <a:lnTo>
                        <a:pt x="36149" y="208336"/>
                      </a:lnTo>
                      <a:lnTo>
                        <a:pt x="36635" y="208349"/>
                      </a:lnTo>
                      <a:lnTo>
                        <a:pt x="37133" y="208276"/>
                      </a:lnTo>
                      <a:lnTo>
                        <a:pt x="44625" y="207256"/>
                      </a:lnTo>
                      <a:lnTo>
                        <a:pt x="50466" y="208276"/>
                      </a:lnTo>
                      <a:lnTo>
                        <a:pt x="67867" y="215173"/>
                      </a:lnTo>
                      <a:lnTo>
                        <a:pt x="68134" y="215489"/>
                      </a:lnTo>
                      <a:lnTo>
                        <a:pt x="68595" y="216059"/>
                      </a:lnTo>
                      <a:lnTo>
                        <a:pt x="69190" y="216496"/>
                      </a:lnTo>
                      <a:lnTo>
                        <a:pt x="70174" y="217225"/>
                      </a:lnTo>
                      <a:lnTo>
                        <a:pt x="70927" y="217772"/>
                      </a:lnTo>
                      <a:lnTo>
                        <a:pt x="71813" y="218075"/>
                      </a:lnTo>
                      <a:lnTo>
                        <a:pt x="73465" y="218646"/>
                      </a:lnTo>
                      <a:lnTo>
                        <a:pt x="74327" y="218949"/>
                      </a:lnTo>
                      <a:lnTo>
                        <a:pt x="75250" y="218974"/>
                      </a:lnTo>
                      <a:lnTo>
                        <a:pt x="77970" y="219059"/>
                      </a:lnTo>
                      <a:lnTo>
                        <a:pt x="78698" y="219071"/>
                      </a:lnTo>
                      <a:lnTo>
                        <a:pt x="79403" y="218925"/>
                      </a:lnTo>
                      <a:lnTo>
                        <a:pt x="85365" y="217686"/>
                      </a:lnTo>
                      <a:lnTo>
                        <a:pt x="86081" y="217541"/>
                      </a:lnTo>
                      <a:lnTo>
                        <a:pt x="86749" y="217225"/>
                      </a:lnTo>
                      <a:lnTo>
                        <a:pt x="90598" y="215392"/>
                      </a:lnTo>
                      <a:lnTo>
                        <a:pt x="90999" y="215197"/>
                      </a:lnTo>
                      <a:lnTo>
                        <a:pt x="91363" y="214954"/>
                      </a:lnTo>
                      <a:lnTo>
                        <a:pt x="95784" y="211992"/>
                      </a:lnTo>
                      <a:lnTo>
                        <a:pt x="96196" y="211712"/>
                      </a:lnTo>
                      <a:lnTo>
                        <a:pt x="96561" y="211372"/>
                      </a:lnTo>
                      <a:lnTo>
                        <a:pt x="108206" y="200383"/>
                      </a:lnTo>
                      <a:lnTo>
                        <a:pt x="109930" y="200249"/>
                      </a:lnTo>
                      <a:lnTo>
                        <a:pt x="122607" y="202156"/>
                      </a:lnTo>
                      <a:lnTo>
                        <a:pt x="123385" y="202265"/>
                      </a:lnTo>
                      <a:lnTo>
                        <a:pt x="124174" y="202180"/>
                      </a:lnTo>
                      <a:lnTo>
                        <a:pt x="131933" y="201318"/>
                      </a:lnTo>
                      <a:lnTo>
                        <a:pt x="134604" y="203504"/>
                      </a:lnTo>
                      <a:lnTo>
                        <a:pt x="135394" y="204147"/>
                      </a:lnTo>
                      <a:lnTo>
                        <a:pt x="136353" y="204499"/>
                      </a:lnTo>
                      <a:lnTo>
                        <a:pt x="141222" y="206284"/>
                      </a:lnTo>
                      <a:lnTo>
                        <a:pt x="142861" y="206879"/>
                      </a:lnTo>
                      <a:lnTo>
                        <a:pt x="144574" y="206515"/>
                      </a:lnTo>
                      <a:lnTo>
                        <a:pt x="147160" y="205969"/>
                      </a:lnTo>
                      <a:lnTo>
                        <a:pt x="164172" y="202374"/>
                      </a:lnTo>
                      <a:lnTo>
                        <a:pt x="152467" y="196521"/>
                      </a:lnTo>
                      <a:lnTo>
                        <a:pt x="152661" y="195841"/>
                      </a:lnTo>
                      <a:lnTo>
                        <a:pt x="155223" y="190170"/>
                      </a:lnTo>
                      <a:lnTo>
                        <a:pt x="158247" y="185884"/>
                      </a:lnTo>
                      <a:lnTo>
                        <a:pt x="161185" y="183941"/>
                      </a:lnTo>
                      <a:lnTo>
                        <a:pt x="171434" y="181379"/>
                      </a:lnTo>
                      <a:lnTo>
                        <a:pt x="172612" y="181088"/>
                      </a:lnTo>
                      <a:lnTo>
                        <a:pt x="173583" y="180371"/>
                      </a:lnTo>
                      <a:lnTo>
                        <a:pt x="176340" y="178331"/>
                      </a:lnTo>
                      <a:lnTo>
                        <a:pt x="177967" y="177117"/>
                      </a:lnTo>
                      <a:lnTo>
                        <a:pt x="179728" y="175805"/>
                      </a:lnTo>
                      <a:lnTo>
                        <a:pt x="180237" y="173693"/>
                      </a:lnTo>
                      <a:lnTo>
                        <a:pt x="181670" y="167815"/>
                      </a:lnTo>
                      <a:lnTo>
                        <a:pt x="182691" y="163675"/>
                      </a:lnTo>
                      <a:lnTo>
                        <a:pt x="179133" y="161319"/>
                      </a:lnTo>
                      <a:lnTo>
                        <a:pt x="174275" y="158089"/>
                      </a:lnTo>
                      <a:lnTo>
                        <a:pt x="172660" y="156717"/>
                      </a:lnTo>
                      <a:lnTo>
                        <a:pt x="169078" y="152151"/>
                      </a:lnTo>
                      <a:lnTo>
                        <a:pt x="168398" y="151289"/>
                      </a:lnTo>
                      <a:lnTo>
                        <a:pt x="167463" y="150718"/>
                      </a:lnTo>
                      <a:lnTo>
                        <a:pt x="165399" y="149455"/>
                      </a:lnTo>
                      <a:lnTo>
                        <a:pt x="165071" y="149249"/>
                      </a:lnTo>
                      <a:lnTo>
                        <a:pt x="164731" y="149091"/>
                      </a:lnTo>
                      <a:lnTo>
                        <a:pt x="162934" y="148290"/>
                      </a:lnTo>
                      <a:lnTo>
                        <a:pt x="161622" y="147452"/>
                      </a:lnTo>
                      <a:lnTo>
                        <a:pt x="158648" y="144137"/>
                      </a:lnTo>
                      <a:lnTo>
                        <a:pt x="156778" y="140324"/>
                      </a:lnTo>
                      <a:lnTo>
                        <a:pt x="156061" y="136062"/>
                      </a:lnTo>
                      <a:lnTo>
                        <a:pt x="156510" y="130585"/>
                      </a:lnTo>
                      <a:lnTo>
                        <a:pt x="156595" y="126857"/>
                      </a:lnTo>
                      <a:lnTo>
                        <a:pt x="156632" y="124817"/>
                      </a:lnTo>
                      <a:lnTo>
                        <a:pt x="155429" y="123166"/>
                      </a:lnTo>
                      <a:lnTo>
                        <a:pt x="153657" y="120762"/>
                      </a:lnTo>
                      <a:lnTo>
                        <a:pt x="154045" y="119899"/>
                      </a:lnTo>
                      <a:lnTo>
                        <a:pt x="157360" y="115054"/>
                      </a:lnTo>
                      <a:lnTo>
                        <a:pt x="157725" y="114532"/>
                      </a:lnTo>
                      <a:lnTo>
                        <a:pt x="157968" y="113949"/>
                      </a:lnTo>
                      <a:lnTo>
                        <a:pt x="160761" y="107174"/>
                      </a:lnTo>
                      <a:lnTo>
                        <a:pt x="164658" y="100908"/>
                      </a:lnTo>
                      <a:lnTo>
                        <a:pt x="165193" y="100070"/>
                      </a:lnTo>
                      <a:lnTo>
                        <a:pt x="165423" y="99098"/>
                      </a:lnTo>
                      <a:lnTo>
                        <a:pt x="174506" y="60885"/>
                      </a:lnTo>
                      <a:lnTo>
                        <a:pt x="174616" y="60411"/>
                      </a:lnTo>
                      <a:lnTo>
                        <a:pt x="174664" y="59925"/>
                      </a:lnTo>
                      <a:lnTo>
                        <a:pt x="174907" y="56793"/>
                      </a:lnTo>
                      <a:lnTo>
                        <a:pt x="174968" y="55991"/>
                      </a:lnTo>
                      <a:lnTo>
                        <a:pt x="174810" y="55202"/>
                      </a:lnTo>
                      <a:lnTo>
                        <a:pt x="174106" y="51559"/>
                      </a:lnTo>
                      <a:lnTo>
                        <a:pt x="173936" y="50697"/>
                      </a:lnTo>
                      <a:lnTo>
                        <a:pt x="173535" y="49920"/>
                      </a:lnTo>
                      <a:lnTo>
                        <a:pt x="171932" y="46823"/>
                      </a:lnTo>
                      <a:lnTo>
                        <a:pt x="171519" y="46034"/>
                      </a:lnTo>
                      <a:lnTo>
                        <a:pt x="170900" y="45390"/>
                      </a:lnTo>
                      <a:lnTo>
                        <a:pt x="166892" y="41262"/>
                      </a:lnTo>
                      <a:lnTo>
                        <a:pt x="166492" y="40606"/>
                      </a:lnTo>
                      <a:lnTo>
                        <a:pt x="166443" y="39732"/>
                      </a:lnTo>
                      <a:lnTo>
                        <a:pt x="168022" y="33988"/>
                      </a:lnTo>
                      <a:lnTo>
                        <a:pt x="168301" y="32919"/>
                      </a:lnTo>
                      <a:lnTo>
                        <a:pt x="168204" y="31814"/>
                      </a:lnTo>
                      <a:lnTo>
                        <a:pt x="167876" y="28281"/>
                      </a:lnTo>
                      <a:lnTo>
                        <a:pt x="167354" y="22780"/>
                      </a:lnTo>
                      <a:lnTo>
                        <a:pt x="164597" y="22768"/>
                      </a:lnTo>
                      <a:lnTo>
                        <a:pt x="163650" y="21639"/>
                      </a:lnTo>
                      <a:lnTo>
                        <a:pt x="163298" y="21214"/>
                      </a:lnTo>
                      <a:lnTo>
                        <a:pt x="162873" y="20862"/>
                      </a:lnTo>
                      <a:lnTo>
                        <a:pt x="158623" y="17364"/>
                      </a:lnTo>
                      <a:lnTo>
                        <a:pt x="158368" y="17146"/>
                      </a:lnTo>
                      <a:lnTo>
                        <a:pt x="158101" y="16964"/>
                      </a:lnTo>
                      <a:lnTo>
                        <a:pt x="149759" y="11499"/>
                      </a:lnTo>
                      <a:lnTo>
                        <a:pt x="148982" y="10989"/>
                      </a:lnTo>
                      <a:lnTo>
                        <a:pt x="148095" y="10734"/>
                      </a:lnTo>
                      <a:lnTo>
                        <a:pt x="143287" y="9362"/>
                      </a:lnTo>
                      <a:lnTo>
                        <a:pt x="142886" y="9241"/>
                      </a:lnTo>
                      <a:lnTo>
                        <a:pt x="142461" y="9192"/>
                      </a:lnTo>
                      <a:lnTo>
                        <a:pt x="133123" y="7905"/>
                      </a:lnTo>
                      <a:lnTo>
                        <a:pt x="131071" y="6387"/>
                      </a:lnTo>
                      <a:lnTo>
                        <a:pt x="127549" y="2319"/>
                      </a:lnTo>
                      <a:lnTo>
                        <a:pt x="125837" y="352"/>
                      </a:lnTo>
                      <a:lnTo>
                        <a:pt x="123227" y="231"/>
                      </a:lnTo>
                      <a:lnTo>
                        <a:pt x="120118" y="85"/>
                      </a:lnTo>
                      <a:lnTo>
                        <a:pt x="117932" y="0"/>
                      </a:lnTo>
                      <a:lnTo>
                        <a:pt x="117932" y="0"/>
                      </a:lnTo>
                      <a:close/>
                    </a:path>
                  </a:pathLst>
                </a:custGeom>
                <a:solidFill>
                  <a:srgbClr val="FFFFFF"/>
                </a:solidFill>
                <a:ln w="12138" cap="flat">
                  <a:noFill/>
                  <a:prstDash val="solid"/>
                  <a:miter/>
                </a:ln>
              </p:spPr>
              <p:txBody>
                <a:bodyPr rtlCol="0" anchor="ctr"/>
                <a:lstStyle/>
                <a:p>
                  <a:endParaRPr lang="en-US"/>
                </a:p>
              </p:txBody>
            </p:sp>
          </p:grpSp>
          <p:grpSp>
            <p:nvGrpSpPr>
              <p:cNvPr id="244" name="Graphic 280">
                <a:extLst>
                  <a:ext uri="{FF2B5EF4-FFF2-40B4-BE49-F238E27FC236}">
                    <a16:creationId xmlns:a16="http://schemas.microsoft.com/office/drawing/2014/main" id="{6D60D968-2F27-4979-916D-4ED82DB8EA69}"/>
                  </a:ext>
                </a:extLst>
              </p:cNvPr>
              <p:cNvGrpSpPr/>
              <p:nvPr/>
            </p:nvGrpSpPr>
            <p:grpSpPr>
              <a:xfrm>
                <a:off x="6668612" y="2694136"/>
                <a:ext cx="774525" cy="1153700"/>
                <a:chOff x="6668612" y="2694136"/>
                <a:chExt cx="774525" cy="1153700"/>
              </a:xfrm>
            </p:grpSpPr>
            <p:sp>
              <p:nvSpPr>
                <p:cNvPr id="359" name="Freeform: Shape 358">
                  <a:extLst>
                    <a:ext uri="{FF2B5EF4-FFF2-40B4-BE49-F238E27FC236}">
                      <a16:creationId xmlns:a16="http://schemas.microsoft.com/office/drawing/2014/main" id="{6AE6DDEB-BDC8-457A-BBCE-B14C3DDDF30A}"/>
                    </a:ext>
                  </a:extLst>
                </p:cNvPr>
                <p:cNvSpPr/>
                <p:nvPr/>
              </p:nvSpPr>
              <p:spPr>
                <a:xfrm>
                  <a:off x="6671502" y="2697985"/>
                  <a:ext cx="768684" cy="1146609"/>
                </a:xfrm>
                <a:custGeom>
                  <a:avLst/>
                  <a:gdLst>
                    <a:gd name="connsiteX0" fmla="*/ 501430 w 768684"/>
                    <a:gd name="connsiteY0" fmla="*/ 1143343 h 1146609"/>
                    <a:gd name="connsiteX1" fmla="*/ 499815 w 768684"/>
                    <a:gd name="connsiteY1" fmla="*/ 1137004 h 1146609"/>
                    <a:gd name="connsiteX2" fmla="*/ 501479 w 768684"/>
                    <a:gd name="connsiteY2" fmla="*/ 1131236 h 1146609"/>
                    <a:gd name="connsiteX3" fmla="*/ 503252 w 768684"/>
                    <a:gd name="connsiteY3" fmla="*/ 1128686 h 1146609"/>
                    <a:gd name="connsiteX4" fmla="*/ 504952 w 768684"/>
                    <a:gd name="connsiteY4" fmla="*/ 1127265 h 1146609"/>
                    <a:gd name="connsiteX5" fmla="*/ 505255 w 768684"/>
                    <a:gd name="connsiteY5" fmla="*/ 1125529 h 1146609"/>
                    <a:gd name="connsiteX6" fmla="*/ 505267 w 768684"/>
                    <a:gd name="connsiteY6" fmla="*/ 1123246 h 1146609"/>
                    <a:gd name="connsiteX7" fmla="*/ 505705 w 768684"/>
                    <a:gd name="connsiteY7" fmla="*/ 1120332 h 1146609"/>
                    <a:gd name="connsiteX8" fmla="*/ 506676 w 768684"/>
                    <a:gd name="connsiteY8" fmla="*/ 1117624 h 1146609"/>
                    <a:gd name="connsiteX9" fmla="*/ 507380 w 768684"/>
                    <a:gd name="connsiteY9" fmla="*/ 1116689 h 1146609"/>
                    <a:gd name="connsiteX10" fmla="*/ 504114 w 768684"/>
                    <a:gd name="connsiteY10" fmla="*/ 1107436 h 1146609"/>
                    <a:gd name="connsiteX11" fmla="*/ 502997 w 768684"/>
                    <a:gd name="connsiteY11" fmla="*/ 1100393 h 1146609"/>
                    <a:gd name="connsiteX12" fmla="*/ 504745 w 768684"/>
                    <a:gd name="connsiteY12" fmla="*/ 1095415 h 1146609"/>
                    <a:gd name="connsiteX13" fmla="*/ 508267 w 768684"/>
                    <a:gd name="connsiteY13" fmla="*/ 1089392 h 1146609"/>
                    <a:gd name="connsiteX14" fmla="*/ 508012 w 768684"/>
                    <a:gd name="connsiteY14" fmla="*/ 1085312 h 1146609"/>
                    <a:gd name="connsiteX15" fmla="*/ 507126 w 768684"/>
                    <a:gd name="connsiteY15" fmla="*/ 1083648 h 1146609"/>
                    <a:gd name="connsiteX16" fmla="*/ 507380 w 768684"/>
                    <a:gd name="connsiteY16" fmla="*/ 1084947 h 1146609"/>
                    <a:gd name="connsiteX17" fmla="*/ 507004 w 768684"/>
                    <a:gd name="connsiteY17" fmla="*/ 1088627 h 1146609"/>
                    <a:gd name="connsiteX18" fmla="*/ 506737 w 768684"/>
                    <a:gd name="connsiteY18" fmla="*/ 1090533 h 1146609"/>
                    <a:gd name="connsiteX19" fmla="*/ 504126 w 768684"/>
                    <a:gd name="connsiteY19" fmla="*/ 1091322 h 1146609"/>
                    <a:gd name="connsiteX20" fmla="*/ 502960 w 768684"/>
                    <a:gd name="connsiteY20" fmla="*/ 1091395 h 1146609"/>
                    <a:gd name="connsiteX21" fmla="*/ 502171 w 768684"/>
                    <a:gd name="connsiteY21" fmla="*/ 1094443 h 1146609"/>
                    <a:gd name="connsiteX22" fmla="*/ 499937 w 768684"/>
                    <a:gd name="connsiteY22" fmla="*/ 1098742 h 1146609"/>
                    <a:gd name="connsiteX23" fmla="*/ 499427 w 768684"/>
                    <a:gd name="connsiteY23" fmla="*/ 1101364 h 1146609"/>
                    <a:gd name="connsiteX24" fmla="*/ 499257 w 768684"/>
                    <a:gd name="connsiteY24" fmla="*/ 1104583 h 1146609"/>
                    <a:gd name="connsiteX25" fmla="*/ 499706 w 768684"/>
                    <a:gd name="connsiteY25" fmla="*/ 1107400 h 1146609"/>
                    <a:gd name="connsiteX26" fmla="*/ 502025 w 768684"/>
                    <a:gd name="connsiteY26" fmla="*/ 1112075 h 1146609"/>
                    <a:gd name="connsiteX27" fmla="*/ 503082 w 768684"/>
                    <a:gd name="connsiteY27" fmla="*/ 1115997 h 1146609"/>
                    <a:gd name="connsiteX28" fmla="*/ 502195 w 768684"/>
                    <a:gd name="connsiteY28" fmla="*/ 1120453 h 1146609"/>
                    <a:gd name="connsiteX29" fmla="*/ 499208 w 768684"/>
                    <a:gd name="connsiteY29" fmla="*/ 1126039 h 1146609"/>
                    <a:gd name="connsiteX30" fmla="*/ 495760 w 768684"/>
                    <a:gd name="connsiteY30" fmla="*/ 1127958 h 1146609"/>
                    <a:gd name="connsiteX31" fmla="*/ 492372 w 768684"/>
                    <a:gd name="connsiteY31" fmla="*/ 1129196 h 1146609"/>
                    <a:gd name="connsiteX32" fmla="*/ 489190 w 768684"/>
                    <a:gd name="connsiteY32" fmla="*/ 1131758 h 1146609"/>
                    <a:gd name="connsiteX33" fmla="*/ 483034 w 768684"/>
                    <a:gd name="connsiteY33" fmla="*/ 1131358 h 1146609"/>
                    <a:gd name="connsiteX34" fmla="*/ 482257 w 768684"/>
                    <a:gd name="connsiteY34" fmla="*/ 1129293 h 1146609"/>
                    <a:gd name="connsiteX35" fmla="*/ 480484 w 768684"/>
                    <a:gd name="connsiteY35" fmla="*/ 1123173 h 1146609"/>
                    <a:gd name="connsiteX36" fmla="*/ 480192 w 768684"/>
                    <a:gd name="connsiteY36" fmla="*/ 1114576 h 1146609"/>
                    <a:gd name="connsiteX37" fmla="*/ 480241 w 768684"/>
                    <a:gd name="connsiteY37" fmla="*/ 1114370 h 1146609"/>
                    <a:gd name="connsiteX38" fmla="*/ 479427 w 768684"/>
                    <a:gd name="connsiteY38" fmla="*/ 1114612 h 1146609"/>
                    <a:gd name="connsiteX39" fmla="*/ 479816 w 768684"/>
                    <a:gd name="connsiteY39" fmla="*/ 1115511 h 1146609"/>
                    <a:gd name="connsiteX40" fmla="*/ 479901 w 768684"/>
                    <a:gd name="connsiteY40" fmla="*/ 1118777 h 1146609"/>
                    <a:gd name="connsiteX41" fmla="*/ 479172 w 768684"/>
                    <a:gd name="connsiteY41" fmla="*/ 1122044 h 1146609"/>
                    <a:gd name="connsiteX42" fmla="*/ 476780 w 768684"/>
                    <a:gd name="connsiteY42" fmla="*/ 1127362 h 1146609"/>
                    <a:gd name="connsiteX43" fmla="*/ 472287 w 768684"/>
                    <a:gd name="connsiteY43" fmla="*/ 1130872 h 1146609"/>
                    <a:gd name="connsiteX44" fmla="*/ 471097 w 768684"/>
                    <a:gd name="connsiteY44" fmla="*/ 1130386 h 1146609"/>
                    <a:gd name="connsiteX45" fmla="*/ 471267 w 768684"/>
                    <a:gd name="connsiteY45" fmla="*/ 1130738 h 1146609"/>
                    <a:gd name="connsiteX46" fmla="*/ 471814 w 768684"/>
                    <a:gd name="connsiteY46" fmla="*/ 1133689 h 1146609"/>
                    <a:gd name="connsiteX47" fmla="*/ 471972 w 768684"/>
                    <a:gd name="connsiteY47" fmla="*/ 1134879 h 1146609"/>
                    <a:gd name="connsiteX48" fmla="*/ 470757 w 768684"/>
                    <a:gd name="connsiteY48" fmla="*/ 1136567 h 1146609"/>
                    <a:gd name="connsiteX49" fmla="*/ 467211 w 768684"/>
                    <a:gd name="connsiteY49" fmla="*/ 1139056 h 1146609"/>
                    <a:gd name="connsiteX50" fmla="*/ 464504 w 768684"/>
                    <a:gd name="connsiteY50" fmla="*/ 1140307 h 1146609"/>
                    <a:gd name="connsiteX51" fmla="*/ 461383 w 768684"/>
                    <a:gd name="connsiteY51" fmla="*/ 1140635 h 1146609"/>
                    <a:gd name="connsiteX52" fmla="*/ 459149 w 768684"/>
                    <a:gd name="connsiteY52" fmla="*/ 1140465 h 1146609"/>
                    <a:gd name="connsiteX53" fmla="*/ 457352 w 768684"/>
                    <a:gd name="connsiteY53" fmla="*/ 1139846 h 1146609"/>
                    <a:gd name="connsiteX54" fmla="*/ 456356 w 768684"/>
                    <a:gd name="connsiteY54" fmla="*/ 1139093 h 1146609"/>
                    <a:gd name="connsiteX55" fmla="*/ 455190 w 768684"/>
                    <a:gd name="connsiteY55" fmla="*/ 1137138 h 1146609"/>
                    <a:gd name="connsiteX56" fmla="*/ 454546 w 768684"/>
                    <a:gd name="connsiteY56" fmla="*/ 1132888 h 1146609"/>
                    <a:gd name="connsiteX57" fmla="*/ 453369 w 768684"/>
                    <a:gd name="connsiteY57" fmla="*/ 1129913 h 1146609"/>
                    <a:gd name="connsiteX58" fmla="*/ 453211 w 768684"/>
                    <a:gd name="connsiteY58" fmla="*/ 1129767 h 1146609"/>
                    <a:gd name="connsiteX59" fmla="*/ 449191 w 768684"/>
                    <a:gd name="connsiteY59" fmla="*/ 1132378 h 1146609"/>
                    <a:gd name="connsiteX60" fmla="*/ 444213 w 768684"/>
                    <a:gd name="connsiteY60" fmla="*/ 1121546 h 1146609"/>
                    <a:gd name="connsiteX61" fmla="*/ 442646 w 768684"/>
                    <a:gd name="connsiteY61" fmla="*/ 1116592 h 1146609"/>
                    <a:gd name="connsiteX62" fmla="*/ 442319 w 768684"/>
                    <a:gd name="connsiteY62" fmla="*/ 1111200 h 1146609"/>
                    <a:gd name="connsiteX63" fmla="*/ 444395 w 768684"/>
                    <a:gd name="connsiteY63" fmla="*/ 1106768 h 1146609"/>
                    <a:gd name="connsiteX64" fmla="*/ 446982 w 768684"/>
                    <a:gd name="connsiteY64" fmla="*/ 1102494 h 1146609"/>
                    <a:gd name="connsiteX65" fmla="*/ 447734 w 768684"/>
                    <a:gd name="connsiteY65" fmla="*/ 1099640 h 1146609"/>
                    <a:gd name="connsiteX66" fmla="*/ 445937 w 768684"/>
                    <a:gd name="connsiteY66" fmla="*/ 1093933 h 1146609"/>
                    <a:gd name="connsiteX67" fmla="*/ 447455 w 768684"/>
                    <a:gd name="connsiteY67" fmla="*/ 1091152 h 1146609"/>
                    <a:gd name="connsiteX68" fmla="*/ 446751 w 768684"/>
                    <a:gd name="connsiteY68" fmla="*/ 1089124 h 1146609"/>
                    <a:gd name="connsiteX69" fmla="*/ 437085 w 768684"/>
                    <a:gd name="connsiteY69" fmla="*/ 1072331 h 1146609"/>
                    <a:gd name="connsiteX70" fmla="*/ 437838 w 768684"/>
                    <a:gd name="connsiteY70" fmla="*/ 1069247 h 1146609"/>
                    <a:gd name="connsiteX71" fmla="*/ 438202 w 768684"/>
                    <a:gd name="connsiteY71" fmla="*/ 1068154 h 1146609"/>
                    <a:gd name="connsiteX72" fmla="*/ 435992 w 768684"/>
                    <a:gd name="connsiteY72" fmla="*/ 1058536 h 1146609"/>
                    <a:gd name="connsiteX73" fmla="*/ 436526 w 768684"/>
                    <a:gd name="connsiteY73" fmla="*/ 1053995 h 1146609"/>
                    <a:gd name="connsiteX74" fmla="*/ 437923 w 768684"/>
                    <a:gd name="connsiteY74" fmla="*/ 1050473 h 1146609"/>
                    <a:gd name="connsiteX75" fmla="*/ 439720 w 768684"/>
                    <a:gd name="connsiteY75" fmla="*/ 1047608 h 1146609"/>
                    <a:gd name="connsiteX76" fmla="*/ 447807 w 768684"/>
                    <a:gd name="connsiteY76" fmla="*/ 1037444 h 1146609"/>
                    <a:gd name="connsiteX77" fmla="*/ 449726 w 768684"/>
                    <a:gd name="connsiteY77" fmla="*/ 1034251 h 1146609"/>
                    <a:gd name="connsiteX78" fmla="*/ 448523 w 768684"/>
                    <a:gd name="connsiteY78" fmla="*/ 1031288 h 1146609"/>
                    <a:gd name="connsiteX79" fmla="*/ 446569 w 768684"/>
                    <a:gd name="connsiteY79" fmla="*/ 1020505 h 1146609"/>
                    <a:gd name="connsiteX80" fmla="*/ 446047 w 768684"/>
                    <a:gd name="connsiteY80" fmla="*/ 1018902 h 1146609"/>
                    <a:gd name="connsiteX81" fmla="*/ 444480 w 768684"/>
                    <a:gd name="connsiteY81" fmla="*/ 1018040 h 1146609"/>
                    <a:gd name="connsiteX82" fmla="*/ 447151 w 768684"/>
                    <a:gd name="connsiteY82" fmla="*/ 1026880 h 1146609"/>
                    <a:gd name="connsiteX83" fmla="*/ 445160 w 768684"/>
                    <a:gd name="connsiteY83" fmla="*/ 1033121 h 1146609"/>
                    <a:gd name="connsiteX84" fmla="*/ 440193 w 768684"/>
                    <a:gd name="connsiteY84" fmla="*/ 1039885 h 1146609"/>
                    <a:gd name="connsiteX85" fmla="*/ 434304 w 768684"/>
                    <a:gd name="connsiteY85" fmla="*/ 1045252 h 1146609"/>
                    <a:gd name="connsiteX86" fmla="*/ 428123 w 768684"/>
                    <a:gd name="connsiteY86" fmla="*/ 1048822 h 1146609"/>
                    <a:gd name="connsiteX87" fmla="*/ 423133 w 768684"/>
                    <a:gd name="connsiteY87" fmla="*/ 1048822 h 1146609"/>
                    <a:gd name="connsiteX88" fmla="*/ 423485 w 768684"/>
                    <a:gd name="connsiteY88" fmla="*/ 1049745 h 1146609"/>
                    <a:gd name="connsiteX89" fmla="*/ 424104 w 768684"/>
                    <a:gd name="connsiteY89" fmla="*/ 1053193 h 1146609"/>
                    <a:gd name="connsiteX90" fmla="*/ 422987 w 768684"/>
                    <a:gd name="connsiteY90" fmla="*/ 1055780 h 1146609"/>
                    <a:gd name="connsiteX91" fmla="*/ 419976 w 768684"/>
                    <a:gd name="connsiteY91" fmla="*/ 1060054 h 1146609"/>
                    <a:gd name="connsiteX92" fmla="*/ 411099 w 768684"/>
                    <a:gd name="connsiteY92" fmla="*/ 1079799 h 1146609"/>
                    <a:gd name="connsiteX93" fmla="*/ 408318 w 768684"/>
                    <a:gd name="connsiteY93" fmla="*/ 1083782 h 1146609"/>
                    <a:gd name="connsiteX94" fmla="*/ 404857 w 768684"/>
                    <a:gd name="connsiteY94" fmla="*/ 1086234 h 1146609"/>
                    <a:gd name="connsiteX95" fmla="*/ 403643 w 768684"/>
                    <a:gd name="connsiteY95" fmla="*/ 1086696 h 1146609"/>
                    <a:gd name="connsiteX96" fmla="*/ 396139 w 768684"/>
                    <a:gd name="connsiteY96" fmla="*/ 1091881 h 1146609"/>
                    <a:gd name="connsiteX97" fmla="*/ 394985 w 768684"/>
                    <a:gd name="connsiteY97" fmla="*/ 1092330 h 1146609"/>
                    <a:gd name="connsiteX98" fmla="*/ 394694 w 768684"/>
                    <a:gd name="connsiteY98" fmla="*/ 1093617 h 1146609"/>
                    <a:gd name="connsiteX99" fmla="*/ 394657 w 768684"/>
                    <a:gd name="connsiteY99" fmla="*/ 1094055 h 1146609"/>
                    <a:gd name="connsiteX100" fmla="*/ 393917 w 768684"/>
                    <a:gd name="connsiteY100" fmla="*/ 1095973 h 1146609"/>
                    <a:gd name="connsiteX101" fmla="*/ 388574 w 768684"/>
                    <a:gd name="connsiteY101" fmla="*/ 1101049 h 1146609"/>
                    <a:gd name="connsiteX102" fmla="*/ 382005 w 768684"/>
                    <a:gd name="connsiteY102" fmla="*/ 1105578 h 1146609"/>
                    <a:gd name="connsiteX103" fmla="*/ 366960 w 768684"/>
                    <a:gd name="connsiteY103" fmla="*/ 1113179 h 1146609"/>
                    <a:gd name="connsiteX104" fmla="*/ 357634 w 768684"/>
                    <a:gd name="connsiteY104" fmla="*/ 1120028 h 1146609"/>
                    <a:gd name="connsiteX105" fmla="*/ 352910 w 768684"/>
                    <a:gd name="connsiteY105" fmla="*/ 1121546 h 1146609"/>
                    <a:gd name="connsiteX106" fmla="*/ 348053 w 768684"/>
                    <a:gd name="connsiteY106" fmla="*/ 1121485 h 1146609"/>
                    <a:gd name="connsiteX107" fmla="*/ 344167 w 768684"/>
                    <a:gd name="connsiteY107" fmla="*/ 1121291 h 1146609"/>
                    <a:gd name="connsiteX108" fmla="*/ 340609 w 768684"/>
                    <a:gd name="connsiteY108" fmla="*/ 1121558 h 1146609"/>
                    <a:gd name="connsiteX109" fmla="*/ 311879 w 768684"/>
                    <a:gd name="connsiteY109" fmla="*/ 1129366 h 1146609"/>
                    <a:gd name="connsiteX110" fmla="*/ 309013 w 768684"/>
                    <a:gd name="connsiteY110" fmla="*/ 1124011 h 1146609"/>
                    <a:gd name="connsiteX111" fmla="*/ 303197 w 768684"/>
                    <a:gd name="connsiteY111" fmla="*/ 1115292 h 1146609"/>
                    <a:gd name="connsiteX112" fmla="*/ 301861 w 768684"/>
                    <a:gd name="connsiteY112" fmla="*/ 1112038 h 1146609"/>
                    <a:gd name="connsiteX113" fmla="*/ 301133 w 768684"/>
                    <a:gd name="connsiteY113" fmla="*/ 1108723 h 1146609"/>
                    <a:gd name="connsiteX114" fmla="*/ 301011 w 768684"/>
                    <a:gd name="connsiteY114" fmla="*/ 1105311 h 1146609"/>
                    <a:gd name="connsiteX115" fmla="*/ 301728 w 768684"/>
                    <a:gd name="connsiteY115" fmla="*/ 1099337 h 1146609"/>
                    <a:gd name="connsiteX116" fmla="*/ 301752 w 768684"/>
                    <a:gd name="connsiteY116" fmla="*/ 1097442 h 1146609"/>
                    <a:gd name="connsiteX117" fmla="*/ 301084 w 768684"/>
                    <a:gd name="connsiteY117" fmla="*/ 1096155 h 1146609"/>
                    <a:gd name="connsiteX118" fmla="*/ 299202 w 768684"/>
                    <a:gd name="connsiteY118" fmla="*/ 1094735 h 1146609"/>
                    <a:gd name="connsiteX119" fmla="*/ 274807 w 768684"/>
                    <a:gd name="connsiteY119" fmla="*/ 1089404 h 1146609"/>
                    <a:gd name="connsiteX120" fmla="*/ 270095 w 768684"/>
                    <a:gd name="connsiteY120" fmla="*/ 1087704 h 1146609"/>
                    <a:gd name="connsiteX121" fmla="*/ 266780 w 768684"/>
                    <a:gd name="connsiteY121" fmla="*/ 1085057 h 1146609"/>
                    <a:gd name="connsiteX122" fmla="*/ 264570 w 768684"/>
                    <a:gd name="connsiteY122" fmla="*/ 1081086 h 1146609"/>
                    <a:gd name="connsiteX123" fmla="*/ 263307 w 768684"/>
                    <a:gd name="connsiteY123" fmla="*/ 1077771 h 1146609"/>
                    <a:gd name="connsiteX124" fmla="*/ 262117 w 768684"/>
                    <a:gd name="connsiteY124" fmla="*/ 1073254 h 1146609"/>
                    <a:gd name="connsiteX125" fmla="*/ 261134 w 768684"/>
                    <a:gd name="connsiteY125" fmla="*/ 1065142 h 1146609"/>
                    <a:gd name="connsiteX126" fmla="*/ 259871 w 768684"/>
                    <a:gd name="connsiteY126" fmla="*/ 1062592 h 1146609"/>
                    <a:gd name="connsiteX127" fmla="*/ 257527 w 768684"/>
                    <a:gd name="connsiteY127" fmla="*/ 1060686 h 1146609"/>
                    <a:gd name="connsiteX128" fmla="*/ 251711 w 768684"/>
                    <a:gd name="connsiteY128" fmla="*/ 1058087 h 1146609"/>
                    <a:gd name="connsiteX129" fmla="*/ 248675 w 768684"/>
                    <a:gd name="connsiteY129" fmla="*/ 1057261 h 1146609"/>
                    <a:gd name="connsiteX130" fmla="*/ 247643 w 768684"/>
                    <a:gd name="connsiteY130" fmla="*/ 1057346 h 1146609"/>
                    <a:gd name="connsiteX131" fmla="*/ 246829 w 768684"/>
                    <a:gd name="connsiteY131" fmla="*/ 1057954 h 1146609"/>
                    <a:gd name="connsiteX132" fmla="*/ 246404 w 768684"/>
                    <a:gd name="connsiteY132" fmla="*/ 1059022 h 1146609"/>
                    <a:gd name="connsiteX133" fmla="*/ 245506 w 768684"/>
                    <a:gd name="connsiteY133" fmla="*/ 1060831 h 1146609"/>
                    <a:gd name="connsiteX134" fmla="*/ 244024 w 768684"/>
                    <a:gd name="connsiteY134" fmla="*/ 1062993 h 1146609"/>
                    <a:gd name="connsiteX135" fmla="*/ 241535 w 768684"/>
                    <a:gd name="connsiteY135" fmla="*/ 1064863 h 1146609"/>
                    <a:gd name="connsiteX136" fmla="*/ 239337 w 768684"/>
                    <a:gd name="connsiteY136" fmla="*/ 1065859 h 1146609"/>
                    <a:gd name="connsiteX137" fmla="*/ 238718 w 768684"/>
                    <a:gd name="connsiteY137" fmla="*/ 1066490 h 1146609"/>
                    <a:gd name="connsiteX138" fmla="*/ 238451 w 768684"/>
                    <a:gd name="connsiteY138" fmla="*/ 1067461 h 1146609"/>
                    <a:gd name="connsiteX139" fmla="*/ 237407 w 768684"/>
                    <a:gd name="connsiteY139" fmla="*/ 1070363 h 1146609"/>
                    <a:gd name="connsiteX140" fmla="*/ 232986 w 768684"/>
                    <a:gd name="connsiteY140" fmla="*/ 1072379 h 1146609"/>
                    <a:gd name="connsiteX141" fmla="*/ 227996 w 768684"/>
                    <a:gd name="connsiteY141" fmla="*/ 1070534 h 1146609"/>
                    <a:gd name="connsiteX142" fmla="*/ 222555 w 768684"/>
                    <a:gd name="connsiteY142" fmla="*/ 1064256 h 1146609"/>
                    <a:gd name="connsiteX143" fmla="*/ 220321 w 768684"/>
                    <a:gd name="connsiteY143" fmla="*/ 1059520 h 1146609"/>
                    <a:gd name="connsiteX144" fmla="*/ 219605 w 768684"/>
                    <a:gd name="connsiteY144" fmla="*/ 1054930 h 1146609"/>
                    <a:gd name="connsiteX145" fmla="*/ 221936 w 768684"/>
                    <a:gd name="connsiteY145" fmla="*/ 1048786 h 1146609"/>
                    <a:gd name="connsiteX146" fmla="*/ 221900 w 768684"/>
                    <a:gd name="connsiteY146" fmla="*/ 1047098 h 1146609"/>
                    <a:gd name="connsiteX147" fmla="*/ 221742 w 768684"/>
                    <a:gd name="connsiteY147" fmla="*/ 1045033 h 1146609"/>
                    <a:gd name="connsiteX148" fmla="*/ 221086 w 768684"/>
                    <a:gd name="connsiteY148" fmla="*/ 1041488 h 1146609"/>
                    <a:gd name="connsiteX149" fmla="*/ 220467 w 768684"/>
                    <a:gd name="connsiteY149" fmla="*/ 1040358 h 1146609"/>
                    <a:gd name="connsiteX150" fmla="*/ 219071 w 768684"/>
                    <a:gd name="connsiteY150" fmla="*/ 1038598 h 1146609"/>
                    <a:gd name="connsiteX151" fmla="*/ 216521 w 768684"/>
                    <a:gd name="connsiteY151" fmla="*/ 1036497 h 1146609"/>
                    <a:gd name="connsiteX152" fmla="*/ 211688 w 768684"/>
                    <a:gd name="connsiteY152" fmla="*/ 1033413 h 1146609"/>
                    <a:gd name="connsiteX153" fmla="*/ 202568 w 768684"/>
                    <a:gd name="connsiteY153" fmla="*/ 1029709 h 1146609"/>
                    <a:gd name="connsiteX154" fmla="*/ 200079 w 768684"/>
                    <a:gd name="connsiteY154" fmla="*/ 1029248 h 1146609"/>
                    <a:gd name="connsiteX155" fmla="*/ 197747 w 768684"/>
                    <a:gd name="connsiteY155" fmla="*/ 1029163 h 1146609"/>
                    <a:gd name="connsiteX156" fmla="*/ 195696 w 768684"/>
                    <a:gd name="connsiteY156" fmla="*/ 1029381 h 1146609"/>
                    <a:gd name="connsiteX157" fmla="*/ 191567 w 768684"/>
                    <a:gd name="connsiteY157" fmla="*/ 1028738 h 1146609"/>
                    <a:gd name="connsiteX158" fmla="*/ 181209 w 768684"/>
                    <a:gd name="connsiteY158" fmla="*/ 1021828 h 1146609"/>
                    <a:gd name="connsiteX159" fmla="*/ 178076 w 768684"/>
                    <a:gd name="connsiteY159" fmla="*/ 1019096 h 1146609"/>
                    <a:gd name="connsiteX160" fmla="*/ 175696 w 768684"/>
                    <a:gd name="connsiteY160" fmla="*/ 1018343 h 1146609"/>
                    <a:gd name="connsiteX161" fmla="*/ 172915 w 768684"/>
                    <a:gd name="connsiteY161" fmla="*/ 1017748 h 1146609"/>
                    <a:gd name="connsiteX162" fmla="*/ 169503 w 768684"/>
                    <a:gd name="connsiteY162" fmla="*/ 1016570 h 1146609"/>
                    <a:gd name="connsiteX163" fmla="*/ 166309 w 768684"/>
                    <a:gd name="connsiteY163" fmla="*/ 1014980 h 1146609"/>
                    <a:gd name="connsiteX164" fmla="*/ 161295 w 768684"/>
                    <a:gd name="connsiteY164" fmla="*/ 1006407 h 1146609"/>
                    <a:gd name="connsiteX165" fmla="*/ 164209 w 768684"/>
                    <a:gd name="connsiteY165" fmla="*/ 1003517 h 1146609"/>
                    <a:gd name="connsiteX166" fmla="*/ 167075 w 768684"/>
                    <a:gd name="connsiteY166" fmla="*/ 1001452 h 1146609"/>
                    <a:gd name="connsiteX167" fmla="*/ 170633 w 768684"/>
                    <a:gd name="connsiteY167" fmla="*/ 999485 h 1146609"/>
                    <a:gd name="connsiteX168" fmla="*/ 171422 w 768684"/>
                    <a:gd name="connsiteY168" fmla="*/ 998720 h 1146609"/>
                    <a:gd name="connsiteX169" fmla="*/ 172757 w 768684"/>
                    <a:gd name="connsiteY169" fmla="*/ 998283 h 1146609"/>
                    <a:gd name="connsiteX170" fmla="*/ 173425 w 768684"/>
                    <a:gd name="connsiteY170" fmla="*/ 998247 h 1146609"/>
                    <a:gd name="connsiteX171" fmla="*/ 175016 w 768684"/>
                    <a:gd name="connsiteY171" fmla="*/ 998429 h 1146609"/>
                    <a:gd name="connsiteX172" fmla="*/ 177457 w 768684"/>
                    <a:gd name="connsiteY172" fmla="*/ 999376 h 1146609"/>
                    <a:gd name="connsiteX173" fmla="*/ 177615 w 768684"/>
                    <a:gd name="connsiteY173" fmla="*/ 998599 h 1146609"/>
                    <a:gd name="connsiteX174" fmla="*/ 177202 w 768684"/>
                    <a:gd name="connsiteY174" fmla="*/ 994434 h 1146609"/>
                    <a:gd name="connsiteX175" fmla="*/ 179169 w 768684"/>
                    <a:gd name="connsiteY175" fmla="*/ 991434 h 1146609"/>
                    <a:gd name="connsiteX176" fmla="*/ 182265 w 768684"/>
                    <a:gd name="connsiteY176" fmla="*/ 990293 h 1146609"/>
                    <a:gd name="connsiteX177" fmla="*/ 185835 w 768684"/>
                    <a:gd name="connsiteY177" fmla="*/ 990657 h 1146609"/>
                    <a:gd name="connsiteX178" fmla="*/ 192453 w 768684"/>
                    <a:gd name="connsiteY178" fmla="*/ 990038 h 1146609"/>
                    <a:gd name="connsiteX179" fmla="*/ 192563 w 768684"/>
                    <a:gd name="connsiteY179" fmla="*/ 989989 h 1146609"/>
                    <a:gd name="connsiteX180" fmla="*/ 190098 w 768684"/>
                    <a:gd name="connsiteY180" fmla="*/ 987901 h 1146609"/>
                    <a:gd name="connsiteX181" fmla="*/ 187633 w 768684"/>
                    <a:gd name="connsiteY181" fmla="*/ 985994 h 1146609"/>
                    <a:gd name="connsiteX182" fmla="*/ 184305 w 768684"/>
                    <a:gd name="connsiteY182" fmla="*/ 982910 h 1146609"/>
                    <a:gd name="connsiteX183" fmla="*/ 183042 w 768684"/>
                    <a:gd name="connsiteY183" fmla="*/ 978769 h 1146609"/>
                    <a:gd name="connsiteX184" fmla="*/ 182557 w 768684"/>
                    <a:gd name="connsiteY184" fmla="*/ 971472 h 1146609"/>
                    <a:gd name="connsiteX185" fmla="*/ 181828 w 768684"/>
                    <a:gd name="connsiteY185" fmla="*/ 969614 h 1146609"/>
                    <a:gd name="connsiteX186" fmla="*/ 179205 w 768684"/>
                    <a:gd name="connsiteY186" fmla="*/ 966724 h 1146609"/>
                    <a:gd name="connsiteX187" fmla="*/ 177275 w 768684"/>
                    <a:gd name="connsiteY187" fmla="*/ 965388 h 1146609"/>
                    <a:gd name="connsiteX188" fmla="*/ 171847 w 768684"/>
                    <a:gd name="connsiteY188" fmla="*/ 962716 h 1146609"/>
                    <a:gd name="connsiteX189" fmla="*/ 169892 w 768684"/>
                    <a:gd name="connsiteY189" fmla="*/ 961101 h 1146609"/>
                    <a:gd name="connsiteX190" fmla="*/ 168447 w 768684"/>
                    <a:gd name="connsiteY190" fmla="*/ 958976 h 1146609"/>
                    <a:gd name="connsiteX191" fmla="*/ 167269 w 768684"/>
                    <a:gd name="connsiteY191" fmla="*/ 955661 h 1146609"/>
                    <a:gd name="connsiteX192" fmla="*/ 166892 w 768684"/>
                    <a:gd name="connsiteY192" fmla="*/ 953038 h 1146609"/>
                    <a:gd name="connsiteX193" fmla="*/ 166832 w 768684"/>
                    <a:gd name="connsiteY193" fmla="*/ 951849 h 1146609"/>
                    <a:gd name="connsiteX194" fmla="*/ 167111 w 768684"/>
                    <a:gd name="connsiteY194" fmla="*/ 950270 h 1146609"/>
                    <a:gd name="connsiteX195" fmla="*/ 167718 w 768684"/>
                    <a:gd name="connsiteY195" fmla="*/ 949141 h 1146609"/>
                    <a:gd name="connsiteX196" fmla="*/ 168568 w 768684"/>
                    <a:gd name="connsiteY196" fmla="*/ 947975 h 1146609"/>
                    <a:gd name="connsiteX197" fmla="*/ 170523 w 768684"/>
                    <a:gd name="connsiteY197" fmla="*/ 947222 h 1146609"/>
                    <a:gd name="connsiteX198" fmla="*/ 172272 w 768684"/>
                    <a:gd name="connsiteY198" fmla="*/ 947222 h 1146609"/>
                    <a:gd name="connsiteX199" fmla="*/ 175611 w 768684"/>
                    <a:gd name="connsiteY199" fmla="*/ 947853 h 1146609"/>
                    <a:gd name="connsiteX200" fmla="*/ 175356 w 768684"/>
                    <a:gd name="connsiteY200" fmla="*/ 946846 h 1146609"/>
                    <a:gd name="connsiteX201" fmla="*/ 174044 w 768684"/>
                    <a:gd name="connsiteY201" fmla="*/ 943664 h 1146609"/>
                    <a:gd name="connsiteX202" fmla="*/ 172575 w 768684"/>
                    <a:gd name="connsiteY202" fmla="*/ 941564 h 1146609"/>
                    <a:gd name="connsiteX203" fmla="*/ 170390 w 768684"/>
                    <a:gd name="connsiteY203" fmla="*/ 939378 h 1146609"/>
                    <a:gd name="connsiteX204" fmla="*/ 166431 w 768684"/>
                    <a:gd name="connsiteY204" fmla="*/ 936986 h 1146609"/>
                    <a:gd name="connsiteX205" fmla="*/ 164027 w 768684"/>
                    <a:gd name="connsiteY205" fmla="*/ 936391 h 1146609"/>
                    <a:gd name="connsiteX206" fmla="*/ 156207 w 768684"/>
                    <a:gd name="connsiteY206" fmla="*/ 936378 h 1146609"/>
                    <a:gd name="connsiteX207" fmla="*/ 152661 w 768684"/>
                    <a:gd name="connsiteY207" fmla="*/ 935407 h 1146609"/>
                    <a:gd name="connsiteX208" fmla="*/ 148800 w 768684"/>
                    <a:gd name="connsiteY208" fmla="*/ 933015 h 1146609"/>
                    <a:gd name="connsiteX209" fmla="*/ 146541 w 768684"/>
                    <a:gd name="connsiteY209" fmla="*/ 929590 h 1146609"/>
                    <a:gd name="connsiteX210" fmla="*/ 145084 w 768684"/>
                    <a:gd name="connsiteY210" fmla="*/ 926530 h 1146609"/>
                    <a:gd name="connsiteX211" fmla="*/ 143578 w 768684"/>
                    <a:gd name="connsiteY211" fmla="*/ 917363 h 1146609"/>
                    <a:gd name="connsiteX212" fmla="*/ 132746 w 768684"/>
                    <a:gd name="connsiteY212" fmla="*/ 908474 h 1146609"/>
                    <a:gd name="connsiteX213" fmla="*/ 128351 w 768684"/>
                    <a:gd name="connsiteY213" fmla="*/ 906057 h 1146609"/>
                    <a:gd name="connsiteX214" fmla="*/ 127379 w 768684"/>
                    <a:gd name="connsiteY214" fmla="*/ 906531 h 1146609"/>
                    <a:gd name="connsiteX215" fmla="*/ 124331 w 768684"/>
                    <a:gd name="connsiteY215" fmla="*/ 906531 h 1146609"/>
                    <a:gd name="connsiteX216" fmla="*/ 119936 w 768684"/>
                    <a:gd name="connsiteY216" fmla="*/ 905863 h 1146609"/>
                    <a:gd name="connsiteX217" fmla="*/ 108533 w 768684"/>
                    <a:gd name="connsiteY217" fmla="*/ 896962 h 1146609"/>
                    <a:gd name="connsiteX218" fmla="*/ 107465 w 768684"/>
                    <a:gd name="connsiteY218" fmla="*/ 893162 h 1146609"/>
                    <a:gd name="connsiteX219" fmla="*/ 107477 w 768684"/>
                    <a:gd name="connsiteY219" fmla="*/ 889555 h 1146609"/>
                    <a:gd name="connsiteX220" fmla="*/ 108363 w 768684"/>
                    <a:gd name="connsiteY220" fmla="*/ 883969 h 1146609"/>
                    <a:gd name="connsiteX221" fmla="*/ 108449 w 768684"/>
                    <a:gd name="connsiteY221" fmla="*/ 879683 h 1146609"/>
                    <a:gd name="connsiteX222" fmla="*/ 108691 w 768684"/>
                    <a:gd name="connsiteY222" fmla="*/ 877473 h 1146609"/>
                    <a:gd name="connsiteX223" fmla="*/ 110707 w 768684"/>
                    <a:gd name="connsiteY223" fmla="*/ 872300 h 1146609"/>
                    <a:gd name="connsiteX224" fmla="*/ 111205 w 768684"/>
                    <a:gd name="connsiteY224" fmla="*/ 870466 h 1146609"/>
                    <a:gd name="connsiteX225" fmla="*/ 110379 w 768684"/>
                    <a:gd name="connsiteY225" fmla="*/ 868208 h 1146609"/>
                    <a:gd name="connsiteX226" fmla="*/ 110318 w 768684"/>
                    <a:gd name="connsiteY226" fmla="*/ 864577 h 1146609"/>
                    <a:gd name="connsiteX227" fmla="*/ 111727 w 768684"/>
                    <a:gd name="connsiteY227" fmla="*/ 861881 h 1146609"/>
                    <a:gd name="connsiteX228" fmla="*/ 117216 w 768684"/>
                    <a:gd name="connsiteY228" fmla="*/ 857449 h 1146609"/>
                    <a:gd name="connsiteX229" fmla="*/ 119972 w 768684"/>
                    <a:gd name="connsiteY229" fmla="*/ 856077 h 1146609"/>
                    <a:gd name="connsiteX230" fmla="*/ 122182 w 768684"/>
                    <a:gd name="connsiteY230" fmla="*/ 855482 h 1146609"/>
                    <a:gd name="connsiteX231" fmla="*/ 121320 w 768684"/>
                    <a:gd name="connsiteY231" fmla="*/ 855057 h 1146609"/>
                    <a:gd name="connsiteX232" fmla="*/ 120288 w 768684"/>
                    <a:gd name="connsiteY232" fmla="*/ 854826 h 1146609"/>
                    <a:gd name="connsiteX233" fmla="*/ 95152 w 768684"/>
                    <a:gd name="connsiteY233" fmla="*/ 854025 h 1146609"/>
                    <a:gd name="connsiteX234" fmla="*/ 84551 w 768684"/>
                    <a:gd name="connsiteY234" fmla="*/ 851742 h 1146609"/>
                    <a:gd name="connsiteX235" fmla="*/ 78079 w 768684"/>
                    <a:gd name="connsiteY235" fmla="*/ 851778 h 1146609"/>
                    <a:gd name="connsiteX236" fmla="*/ 76865 w 768684"/>
                    <a:gd name="connsiteY236" fmla="*/ 852531 h 1146609"/>
                    <a:gd name="connsiteX237" fmla="*/ 73732 w 768684"/>
                    <a:gd name="connsiteY237" fmla="*/ 853940 h 1146609"/>
                    <a:gd name="connsiteX238" fmla="*/ 69421 w 768684"/>
                    <a:gd name="connsiteY238" fmla="*/ 854681 h 1146609"/>
                    <a:gd name="connsiteX239" fmla="*/ 65924 w 768684"/>
                    <a:gd name="connsiteY239" fmla="*/ 853333 h 1146609"/>
                    <a:gd name="connsiteX240" fmla="*/ 61115 w 768684"/>
                    <a:gd name="connsiteY240" fmla="*/ 849411 h 1146609"/>
                    <a:gd name="connsiteX241" fmla="*/ 37922 w 768684"/>
                    <a:gd name="connsiteY241" fmla="*/ 824578 h 1146609"/>
                    <a:gd name="connsiteX242" fmla="*/ 34923 w 768684"/>
                    <a:gd name="connsiteY242" fmla="*/ 822502 h 1146609"/>
                    <a:gd name="connsiteX243" fmla="*/ 31620 w 768684"/>
                    <a:gd name="connsiteY243" fmla="*/ 820717 h 1146609"/>
                    <a:gd name="connsiteX244" fmla="*/ 28281 w 768684"/>
                    <a:gd name="connsiteY244" fmla="*/ 820231 h 1146609"/>
                    <a:gd name="connsiteX245" fmla="*/ 25986 w 768684"/>
                    <a:gd name="connsiteY245" fmla="*/ 820085 h 1146609"/>
                    <a:gd name="connsiteX246" fmla="*/ 18639 w 768684"/>
                    <a:gd name="connsiteY246" fmla="*/ 822636 h 1146609"/>
                    <a:gd name="connsiteX247" fmla="*/ 14486 w 768684"/>
                    <a:gd name="connsiteY247" fmla="*/ 823898 h 1146609"/>
                    <a:gd name="connsiteX248" fmla="*/ 12896 w 768684"/>
                    <a:gd name="connsiteY248" fmla="*/ 822113 h 1146609"/>
                    <a:gd name="connsiteX249" fmla="*/ 12143 w 768684"/>
                    <a:gd name="connsiteY249" fmla="*/ 821057 h 1146609"/>
                    <a:gd name="connsiteX250" fmla="*/ 11171 w 768684"/>
                    <a:gd name="connsiteY250" fmla="*/ 818956 h 1146609"/>
                    <a:gd name="connsiteX251" fmla="*/ 10516 w 768684"/>
                    <a:gd name="connsiteY251" fmla="*/ 815896 h 1146609"/>
                    <a:gd name="connsiteX252" fmla="*/ 9520 w 768684"/>
                    <a:gd name="connsiteY252" fmla="*/ 812642 h 1146609"/>
                    <a:gd name="connsiteX253" fmla="*/ 4080 w 768684"/>
                    <a:gd name="connsiteY253" fmla="*/ 807226 h 1146609"/>
                    <a:gd name="connsiteX254" fmla="*/ 1311 w 768684"/>
                    <a:gd name="connsiteY254" fmla="*/ 801543 h 1146609"/>
                    <a:gd name="connsiteX255" fmla="*/ 2003 w 768684"/>
                    <a:gd name="connsiteY255" fmla="*/ 796297 h 1146609"/>
                    <a:gd name="connsiteX256" fmla="*/ 4384 w 768684"/>
                    <a:gd name="connsiteY256" fmla="*/ 790712 h 1146609"/>
                    <a:gd name="connsiteX257" fmla="*/ 7456 w 768684"/>
                    <a:gd name="connsiteY257" fmla="*/ 785891 h 1146609"/>
                    <a:gd name="connsiteX258" fmla="*/ 10564 w 768684"/>
                    <a:gd name="connsiteY258" fmla="*/ 782139 h 1146609"/>
                    <a:gd name="connsiteX259" fmla="*/ 11317 w 768684"/>
                    <a:gd name="connsiteY259" fmla="*/ 780682 h 1146609"/>
                    <a:gd name="connsiteX260" fmla="*/ 11523 w 768684"/>
                    <a:gd name="connsiteY260" fmla="*/ 779212 h 1146609"/>
                    <a:gd name="connsiteX261" fmla="*/ 11815 w 768684"/>
                    <a:gd name="connsiteY261" fmla="*/ 775059 h 1146609"/>
                    <a:gd name="connsiteX262" fmla="*/ 12689 w 768684"/>
                    <a:gd name="connsiteY262" fmla="*/ 772097 h 1146609"/>
                    <a:gd name="connsiteX263" fmla="*/ 13272 w 768684"/>
                    <a:gd name="connsiteY263" fmla="*/ 771149 h 1146609"/>
                    <a:gd name="connsiteX264" fmla="*/ 13175 w 768684"/>
                    <a:gd name="connsiteY264" fmla="*/ 771065 h 1146609"/>
                    <a:gd name="connsiteX265" fmla="*/ 12592 w 768684"/>
                    <a:gd name="connsiteY265" fmla="*/ 770870 h 1146609"/>
                    <a:gd name="connsiteX266" fmla="*/ 7929 w 768684"/>
                    <a:gd name="connsiteY266" fmla="*/ 771441 h 1146609"/>
                    <a:gd name="connsiteX267" fmla="*/ 6776 w 768684"/>
                    <a:gd name="connsiteY267" fmla="*/ 771526 h 1146609"/>
                    <a:gd name="connsiteX268" fmla="*/ 4153 w 768684"/>
                    <a:gd name="connsiteY268" fmla="*/ 769522 h 1146609"/>
                    <a:gd name="connsiteX269" fmla="*/ 3024 w 768684"/>
                    <a:gd name="connsiteY269" fmla="*/ 767009 h 1146609"/>
                    <a:gd name="connsiteX270" fmla="*/ 2076 w 768684"/>
                    <a:gd name="connsiteY270" fmla="*/ 765637 h 1146609"/>
                    <a:gd name="connsiteX271" fmla="*/ 1323 w 768684"/>
                    <a:gd name="connsiteY271" fmla="*/ 765284 h 1146609"/>
                    <a:gd name="connsiteX272" fmla="*/ 182 w 768684"/>
                    <a:gd name="connsiteY272" fmla="*/ 764410 h 1146609"/>
                    <a:gd name="connsiteX273" fmla="*/ 0 w 768684"/>
                    <a:gd name="connsiteY273" fmla="*/ 759735 h 1146609"/>
                    <a:gd name="connsiteX274" fmla="*/ 898 w 768684"/>
                    <a:gd name="connsiteY274" fmla="*/ 756286 h 1146609"/>
                    <a:gd name="connsiteX275" fmla="*/ 1688 w 768684"/>
                    <a:gd name="connsiteY275" fmla="*/ 755376 h 1146609"/>
                    <a:gd name="connsiteX276" fmla="*/ 2841 w 768684"/>
                    <a:gd name="connsiteY276" fmla="*/ 754380 h 1146609"/>
                    <a:gd name="connsiteX277" fmla="*/ 6678 w 768684"/>
                    <a:gd name="connsiteY277" fmla="*/ 752377 h 1146609"/>
                    <a:gd name="connsiteX278" fmla="*/ 17558 w 768684"/>
                    <a:gd name="connsiteY278" fmla="*/ 750191 h 1146609"/>
                    <a:gd name="connsiteX279" fmla="*/ 21335 w 768684"/>
                    <a:gd name="connsiteY279" fmla="*/ 750312 h 1146609"/>
                    <a:gd name="connsiteX280" fmla="*/ 25415 w 768684"/>
                    <a:gd name="connsiteY280" fmla="*/ 750118 h 1146609"/>
                    <a:gd name="connsiteX281" fmla="*/ 35154 w 768684"/>
                    <a:gd name="connsiteY281" fmla="*/ 748430 h 1146609"/>
                    <a:gd name="connsiteX282" fmla="*/ 35858 w 768684"/>
                    <a:gd name="connsiteY282" fmla="*/ 748175 h 1146609"/>
                    <a:gd name="connsiteX283" fmla="*/ 36186 w 768684"/>
                    <a:gd name="connsiteY283" fmla="*/ 747446 h 1146609"/>
                    <a:gd name="connsiteX284" fmla="*/ 36040 w 768684"/>
                    <a:gd name="connsiteY284" fmla="*/ 746548 h 1146609"/>
                    <a:gd name="connsiteX285" fmla="*/ 33769 w 768684"/>
                    <a:gd name="connsiteY285" fmla="*/ 740367 h 1146609"/>
                    <a:gd name="connsiteX286" fmla="*/ 33284 w 768684"/>
                    <a:gd name="connsiteY286" fmla="*/ 737805 h 1146609"/>
                    <a:gd name="connsiteX287" fmla="*/ 33794 w 768684"/>
                    <a:gd name="connsiteY287" fmla="*/ 735947 h 1146609"/>
                    <a:gd name="connsiteX288" fmla="*/ 35141 w 768684"/>
                    <a:gd name="connsiteY288" fmla="*/ 733555 h 1146609"/>
                    <a:gd name="connsiteX289" fmla="*/ 37036 w 768684"/>
                    <a:gd name="connsiteY289" fmla="*/ 731454 h 1146609"/>
                    <a:gd name="connsiteX290" fmla="*/ 40145 w 768684"/>
                    <a:gd name="connsiteY290" fmla="*/ 729548 h 1146609"/>
                    <a:gd name="connsiteX291" fmla="*/ 43581 w 768684"/>
                    <a:gd name="connsiteY291" fmla="*/ 729438 h 1146609"/>
                    <a:gd name="connsiteX292" fmla="*/ 47734 w 768684"/>
                    <a:gd name="connsiteY292" fmla="*/ 730483 h 1146609"/>
                    <a:gd name="connsiteX293" fmla="*/ 55602 w 768684"/>
                    <a:gd name="connsiteY293" fmla="*/ 735073 h 1146609"/>
                    <a:gd name="connsiteX294" fmla="*/ 62888 w 768684"/>
                    <a:gd name="connsiteY294" fmla="*/ 735206 h 1146609"/>
                    <a:gd name="connsiteX295" fmla="*/ 64709 w 768684"/>
                    <a:gd name="connsiteY295" fmla="*/ 741982 h 1146609"/>
                    <a:gd name="connsiteX296" fmla="*/ 62463 w 768684"/>
                    <a:gd name="connsiteY296" fmla="*/ 751599 h 1146609"/>
                    <a:gd name="connsiteX297" fmla="*/ 62281 w 768684"/>
                    <a:gd name="connsiteY297" fmla="*/ 752874 h 1146609"/>
                    <a:gd name="connsiteX298" fmla="*/ 62585 w 768684"/>
                    <a:gd name="connsiteY298" fmla="*/ 753117 h 1146609"/>
                    <a:gd name="connsiteX299" fmla="*/ 64612 w 768684"/>
                    <a:gd name="connsiteY299" fmla="*/ 753348 h 1146609"/>
                    <a:gd name="connsiteX300" fmla="*/ 66871 w 768684"/>
                    <a:gd name="connsiteY300" fmla="*/ 754052 h 1146609"/>
                    <a:gd name="connsiteX301" fmla="*/ 72238 w 768684"/>
                    <a:gd name="connsiteY301" fmla="*/ 756444 h 1146609"/>
                    <a:gd name="connsiteX302" fmla="*/ 76148 w 768684"/>
                    <a:gd name="connsiteY302" fmla="*/ 758800 h 1146609"/>
                    <a:gd name="connsiteX303" fmla="*/ 78346 w 768684"/>
                    <a:gd name="connsiteY303" fmla="*/ 761289 h 1146609"/>
                    <a:gd name="connsiteX304" fmla="*/ 79706 w 768684"/>
                    <a:gd name="connsiteY304" fmla="*/ 761909 h 1146609"/>
                    <a:gd name="connsiteX305" fmla="*/ 81783 w 768684"/>
                    <a:gd name="connsiteY305" fmla="*/ 761860 h 1146609"/>
                    <a:gd name="connsiteX306" fmla="*/ 86530 w 768684"/>
                    <a:gd name="connsiteY306" fmla="*/ 760026 h 1146609"/>
                    <a:gd name="connsiteX307" fmla="*/ 91060 w 768684"/>
                    <a:gd name="connsiteY307" fmla="*/ 755789 h 1146609"/>
                    <a:gd name="connsiteX308" fmla="*/ 93597 w 768684"/>
                    <a:gd name="connsiteY308" fmla="*/ 754186 h 1146609"/>
                    <a:gd name="connsiteX309" fmla="*/ 94921 w 768684"/>
                    <a:gd name="connsiteY309" fmla="*/ 752656 h 1146609"/>
                    <a:gd name="connsiteX310" fmla="*/ 95929 w 768684"/>
                    <a:gd name="connsiteY310" fmla="*/ 751830 h 1146609"/>
                    <a:gd name="connsiteX311" fmla="*/ 96876 w 768684"/>
                    <a:gd name="connsiteY311" fmla="*/ 750385 h 1146609"/>
                    <a:gd name="connsiteX312" fmla="*/ 97216 w 768684"/>
                    <a:gd name="connsiteY312" fmla="*/ 749110 h 1146609"/>
                    <a:gd name="connsiteX313" fmla="*/ 97301 w 768684"/>
                    <a:gd name="connsiteY313" fmla="*/ 747483 h 1146609"/>
                    <a:gd name="connsiteX314" fmla="*/ 97241 w 768684"/>
                    <a:gd name="connsiteY314" fmla="*/ 745394 h 1146609"/>
                    <a:gd name="connsiteX315" fmla="*/ 97532 w 768684"/>
                    <a:gd name="connsiteY315" fmla="*/ 742650 h 1146609"/>
                    <a:gd name="connsiteX316" fmla="*/ 98831 w 768684"/>
                    <a:gd name="connsiteY316" fmla="*/ 739141 h 1146609"/>
                    <a:gd name="connsiteX317" fmla="*/ 101636 w 768684"/>
                    <a:gd name="connsiteY317" fmla="*/ 735522 h 1146609"/>
                    <a:gd name="connsiteX318" fmla="*/ 105522 w 768684"/>
                    <a:gd name="connsiteY318" fmla="*/ 732025 h 1146609"/>
                    <a:gd name="connsiteX319" fmla="*/ 111654 w 768684"/>
                    <a:gd name="connsiteY319" fmla="*/ 728066 h 1146609"/>
                    <a:gd name="connsiteX320" fmla="*/ 120968 w 768684"/>
                    <a:gd name="connsiteY320" fmla="*/ 723525 h 1146609"/>
                    <a:gd name="connsiteX321" fmla="*/ 137251 w 768684"/>
                    <a:gd name="connsiteY321" fmla="*/ 719044 h 1146609"/>
                    <a:gd name="connsiteX322" fmla="*/ 144452 w 768684"/>
                    <a:gd name="connsiteY322" fmla="*/ 715790 h 1146609"/>
                    <a:gd name="connsiteX323" fmla="*/ 156571 w 768684"/>
                    <a:gd name="connsiteY323" fmla="*/ 711795 h 1146609"/>
                    <a:gd name="connsiteX324" fmla="*/ 179145 w 768684"/>
                    <a:gd name="connsiteY324" fmla="*/ 708140 h 1146609"/>
                    <a:gd name="connsiteX325" fmla="*/ 184427 w 768684"/>
                    <a:gd name="connsiteY325" fmla="*/ 706440 h 1146609"/>
                    <a:gd name="connsiteX326" fmla="*/ 186831 w 768684"/>
                    <a:gd name="connsiteY326" fmla="*/ 702991 h 1146609"/>
                    <a:gd name="connsiteX327" fmla="*/ 187414 w 768684"/>
                    <a:gd name="connsiteY327" fmla="*/ 699057 h 1146609"/>
                    <a:gd name="connsiteX328" fmla="*/ 186418 w 768684"/>
                    <a:gd name="connsiteY328" fmla="*/ 695839 h 1146609"/>
                    <a:gd name="connsiteX329" fmla="*/ 185665 w 768684"/>
                    <a:gd name="connsiteY329" fmla="*/ 694139 h 1146609"/>
                    <a:gd name="connsiteX330" fmla="*/ 185204 w 768684"/>
                    <a:gd name="connsiteY330" fmla="*/ 692087 h 1146609"/>
                    <a:gd name="connsiteX331" fmla="*/ 185131 w 768684"/>
                    <a:gd name="connsiteY331" fmla="*/ 690800 h 1146609"/>
                    <a:gd name="connsiteX332" fmla="*/ 186224 w 768684"/>
                    <a:gd name="connsiteY332" fmla="*/ 686149 h 1146609"/>
                    <a:gd name="connsiteX333" fmla="*/ 187802 w 768684"/>
                    <a:gd name="connsiteY333" fmla="*/ 683065 h 1146609"/>
                    <a:gd name="connsiteX334" fmla="*/ 188968 w 768684"/>
                    <a:gd name="connsiteY334" fmla="*/ 681401 h 1146609"/>
                    <a:gd name="connsiteX335" fmla="*/ 193291 w 768684"/>
                    <a:gd name="connsiteY335" fmla="*/ 678195 h 1146609"/>
                    <a:gd name="connsiteX336" fmla="*/ 194360 w 768684"/>
                    <a:gd name="connsiteY336" fmla="*/ 676653 h 1146609"/>
                    <a:gd name="connsiteX337" fmla="*/ 194930 w 768684"/>
                    <a:gd name="connsiteY337" fmla="*/ 674589 h 1146609"/>
                    <a:gd name="connsiteX338" fmla="*/ 195671 w 768684"/>
                    <a:gd name="connsiteY338" fmla="*/ 672767 h 1146609"/>
                    <a:gd name="connsiteX339" fmla="*/ 197067 w 768684"/>
                    <a:gd name="connsiteY339" fmla="*/ 670837 h 1146609"/>
                    <a:gd name="connsiteX340" fmla="*/ 199096 w 768684"/>
                    <a:gd name="connsiteY340" fmla="*/ 669282 h 1146609"/>
                    <a:gd name="connsiteX341" fmla="*/ 200006 w 768684"/>
                    <a:gd name="connsiteY341" fmla="*/ 668651 h 1146609"/>
                    <a:gd name="connsiteX342" fmla="*/ 203504 w 768684"/>
                    <a:gd name="connsiteY342" fmla="*/ 668991 h 1146609"/>
                    <a:gd name="connsiteX343" fmla="*/ 207559 w 768684"/>
                    <a:gd name="connsiteY343" fmla="*/ 670399 h 1146609"/>
                    <a:gd name="connsiteX344" fmla="*/ 217844 w 768684"/>
                    <a:gd name="connsiteY344" fmla="*/ 677224 h 1146609"/>
                    <a:gd name="connsiteX345" fmla="*/ 221378 w 768684"/>
                    <a:gd name="connsiteY345" fmla="*/ 678827 h 1146609"/>
                    <a:gd name="connsiteX346" fmla="*/ 225373 w 768684"/>
                    <a:gd name="connsiteY346" fmla="*/ 678912 h 1146609"/>
                    <a:gd name="connsiteX347" fmla="*/ 228396 w 768684"/>
                    <a:gd name="connsiteY347" fmla="*/ 679750 h 1146609"/>
                    <a:gd name="connsiteX348" fmla="*/ 232938 w 768684"/>
                    <a:gd name="connsiteY348" fmla="*/ 684340 h 1146609"/>
                    <a:gd name="connsiteX349" fmla="*/ 236265 w 768684"/>
                    <a:gd name="connsiteY349" fmla="*/ 686683 h 1146609"/>
                    <a:gd name="connsiteX350" fmla="*/ 240127 w 768684"/>
                    <a:gd name="connsiteY350" fmla="*/ 688493 h 1146609"/>
                    <a:gd name="connsiteX351" fmla="*/ 248590 w 768684"/>
                    <a:gd name="connsiteY351" fmla="*/ 690496 h 1146609"/>
                    <a:gd name="connsiteX352" fmla="*/ 252524 w 768684"/>
                    <a:gd name="connsiteY352" fmla="*/ 689646 h 1146609"/>
                    <a:gd name="connsiteX353" fmla="*/ 251857 w 768684"/>
                    <a:gd name="connsiteY353" fmla="*/ 688274 h 1146609"/>
                    <a:gd name="connsiteX354" fmla="*/ 249197 w 768684"/>
                    <a:gd name="connsiteY354" fmla="*/ 686027 h 1146609"/>
                    <a:gd name="connsiteX355" fmla="*/ 247230 w 768684"/>
                    <a:gd name="connsiteY355" fmla="*/ 683805 h 1146609"/>
                    <a:gd name="connsiteX356" fmla="*/ 246441 w 768684"/>
                    <a:gd name="connsiteY356" fmla="*/ 680660 h 1146609"/>
                    <a:gd name="connsiteX357" fmla="*/ 246975 w 768684"/>
                    <a:gd name="connsiteY357" fmla="*/ 679118 h 1146609"/>
                    <a:gd name="connsiteX358" fmla="*/ 247886 w 768684"/>
                    <a:gd name="connsiteY358" fmla="*/ 677491 h 1146609"/>
                    <a:gd name="connsiteX359" fmla="*/ 249501 w 768684"/>
                    <a:gd name="connsiteY359" fmla="*/ 675937 h 1146609"/>
                    <a:gd name="connsiteX360" fmla="*/ 252124 w 768684"/>
                    <a:gd name="connsiteY360" fmla="*/ 675390 h 1146609"/>
                    <a:gd name="connsiteX361" fmla="*/ 255281 w 768684"/>
                    <a:gd name="connsiteY361" fmla="*/ 675670 h 1146609"/>
                    <a:gd name="connsiteX362" fmla="*/ 259579 w 768684"/>
                    <a:gd name="connsiteY362" fmla="*/ 676872 h 1146609"/>
                    <a:gd name="connsiteX363" fmla="*/ 261194 w 768684"/>
                    <a:gd name="connsiteY363" fmla="*/ 677078 h 1146609"/>
                    <a:gd name="connsiteX364" fmla="*/ 263234 w 768684"/>
                    <a:gd name="connsiteY364" fmla="*/ 677661 h 1146609"/>
                    <a:gd name="connsiteX365" fmla="*/ 265712 w 768684"/>
                    <a:gd name="connsiteY365" fmla="*/ 679385 h 1146609"/>
                    <a:gd name="connsiteX366" fmla="*/ 266975 w 768684"/>
                    <a:gd name="connsiteY366" fmla="*/ 681110 h 1146609"/>
                    <a:gd name="connsiteX367" fmla="*/ 267266 w 768684"/>
                    <a:gd name="connsiteY367" fmla="*/ 680308 h 1146609"/>
                    <a:gd name="connsiteX368" fmla="*/ 267387 w 768684"/>
                    <a:gd name="connsiteY368" fmla="*/ 678778 h 1146609"/>
                    <a:gd name="connsiteX369" fmla="*/ 267254 w 768684"/>
                    <a:gd name="connsiteY369" fmla="*/ 674977 h 1146609"/>
                    <a:gd name="connsiteX370" fmla="*/ 268189 w 768684"/>
                    <a:gd name="connsiteY370" fmla="*/ 671541 h 1146609"/>
                    <a:gd name="connsiteX371" fmla="*/ 270739 w 768684"/>
                    <a:gd name="connsiteY371" fmla="*/ 669392 h 1146609"/>
                    <a:gd name="connsiteX372" fmla="*/ 272997 w 768684"/>
                    <a:gd name="connsiteY372" fmla="*/ 669416 h 1146609"/>
                    <a:gd name="connsiteX373" fmla="*/ 273240 w 768684"/>
                    <a:gd name="connsiteY373" fmla="*/ 669246 h 1146609"/>
                    <a:gd name="connsiteX374" fmla="*/ 274248 w 768684"/>
                    <a:gd name="connsiteY374" fmla="*/ 667412 h 1146609"/>
                    <a:gd name="connsiteX375" fmla="*/ 274382 w 768684"/>
                    <a:gd name="connsiteY375" fmla="*/ 665773 h 1146609"/>
                    <a:gd name="connsiteX376" fmla="*/ 273957 w 768684"/>
                    <a:gd name="connsiteY376" fmla="*/ 663939 h 1146609"/>
                    <a:gd name="connsiteX377" fmla="*/ 273022 w 768684"/>
                    <a:gd name="connsiteY377" fmla="*/ 662810 h 1146609"/>
                    <a:gd name="connsiteX378" fmla="*/ 270132 w 768684"/>
                    <a:gd name="connsiteY378" fmla="*/ 660770 h 1146609"/>
                    <a:gd name="connsiteX379" fmla="*/ 268310 w 768684"/>
                    <a:gd name="connsiteY379" fmla="*/ 658208 h 1146609"/>
                    <a:gd name="connsiteX380" fmla="*/ 268055 w 768684"/>
                    <a:gd name="connsiteY380" fmla="*/ 656326 h 1146609"/>
                    <a:gd name="connsiteX381" fmla="*/ 268031 w 768684"/>
                    <a:gd name="connsiteY381" fmla="*/ 655488 h 1146609"/>
                    <a:gd name="connsiteX382" fmla="*/ 267825 w 768684"/>
                    <a:gd name="connsiteY382" fmla="*/ 655209 h 1146609"/>
                    <a:gd name="connsiteX383" fmla="*/ 265250 w 768684"/>
                    <a:gd name="connsiteY383" fmla="*/ 652987 h 1146609"/>
                    <a:gd name="connsiteX384" fmla="*/ 263040 w 768684"/>
                    <a:gd name="connsiteY384" fmla="*/ 649769 h 1146609"/>
                    <a:gd name="connsiteX385" fmla="*/ 263647 w 768684"/>
                    <a:gd name="connsiteY385" fmla="*/ 646223 h 1146609"/>
                    <a:gd name="connsiteX386" fmla="*/ 266137 w 768684"/>
                    <a:gd name="connsiteY386" fmla="*/ 644183 h 1146609"/>
                    <a:gd name="connsiteX387" fmla="*/ 270690 w 768684"/>
                    <a:gd name="connsiteY387" fmla="*/ 642398 h 1146609"/>
                    <a:gd name="connsiteX388" fmla="*/ 279797 w 768684"/>
                    <a:gd name="connsiteY388" fmla="*/ 640309 h 1146609"/>
                    <a:gd name="connsiteX389" fmla="*/ 283015 w 768684"/>
                    <a:gd name="connsiteY389" fmla="*/ 640431 h 1146609"/>
                    <a:gd name="connsiteX390" fmla="*/ 285043 w 768684"/>
                    <a:gd name="connsiteY390" fmla="*/ 642034 h 1146609"/>
                    <a:gd name="connsiteX391" fmla="*/ 286779 w 768684"/>
                    <a:gd name="connsiteY391" fmla="*/ 644462 h 1146609"/>
                    <a:gd name="connsiteX392" fmla="*/ 287678 w 768684"/>
                    <a:gd name="connsiteY392" fmla="*/ 647789 h 1146609"/>
                    <a:gd name="connsiteX393" fmla="*/ 287945 w 768684"/>
                    <a:gd name="connsiteY393" fmla="*/ 650497 h 1146609"/>
                    <a:gd name="connsiteX394" fmla="*/ 297296 w 768684"/>
                    <a:gd name="connsiteY394" fmla="*/ 647061 h 1146609"/>
                    <a:gd name="connsiteX395" fmla="*/ 302165 w 768684"/>
                    <a:gd name="connsiteY395" fmla="*/ 646782 h 1146609"/>
                    <a:gd name="connsiteX396" fmla="*/ 307556 w 768684"/>
                    <a:gd name="connsiteY396" fmla="*/ 648105 h 1146609"/>
                    <a:gd name="connsiteX397" fmla="*/ 308151 w 768684"/>
                    <a:gd name="connsiteY397" fmla="*/ 647935 h 1146609"/>
                    <a:gd name="connsiteX398" fmla="*/ 310155 w 768684"/>
                    <a:gd name="connsiteY398" fmla="*/ 645749 h 1146609"/>
                    <a:gd name="connsiteX399" fmla="*/ 312535 w 768684"/>
                    <a:gd name="connsiteY399" fmla="*/ 644037 h 1146609"/>
                    <a:gd name="connsiteX400" fmla="*/ 312790 w 768684"/>
                    <a:gd name="connsiteY400" fmla="*/ 643770 h 1146609"/>
                    <a:gd name="connsiteX401" fmla="*/ 313057 w 768684"/>
                    <a:gd name="connsiteY401" fmla="*/ 642714 h 1146609"/>
                    <a:gd name="connsiteX402" fmla="*/ 312753 w 768684"/>
                    <a:gd name="connsiteY402" fmla="*/ 638500 h 1146609"/>
                    <a:gd name="connsiteX403" fmla="*/ 313251 w 768684"/>
                    <a:gd name="connsiteY403" fmla="*/ 634687 h 1146609"/>
                    <a:gd name="connsiteX404" fmla="*/ 312231 w 768684"/>
                    <a:gd name="connsiteY404" fmla="*/ 630486 h 1146609"/>
                    <a:gd name="connsiteX405" fmla="*/ 312498 w 768684"/>
                    <a:gd name="connsiteY405" fmla="*/ 627729 h 1146609"/>
                    <a:gd name="connsiteX406" fmla="*/ 312717 w 768684"/>
                    <a:gd name="connsiteY406" fmla="*/ 626466 h 1146609"/>
                    <a:gd name="connsiteX407" fmla="*/ 315510 w 768684"/>
                    <a:gd name="connsiteY407" fmla="*/ 624560 h 1146609"/>
                    <a:gd name="connsiteX408" fmla="*/ 318218 w 768684"/>
                    <a:gd name="connsiteY408" fmla="*/ 623734 h 1146609"/>
                    <a:gd name="connsiteX409" fmla="*/ 321302 w 768684"/>
                    <a:gd name="connsiteY409" fmla="*/ 623953 h 1146609"/>
                    <a:gd name="connsiteX410" fmla="*/ 324593 w 768684"/>
                    <a:gd name="connsiteY410" fmla="*/ 625410 h 1146609"/>
                    <a:gd name="connsiteX411" fmla="*/ 328685 w 768684"/>
                    <a:gd name="connsiteY411" fmla="*/ 629101 h 1146609"/>
                    <a:gd name="connsiteX412" fmla="*/ 328806 w 768684"/>
                    <a:gd name="connsiteY412" fmla="*/ 629126 h 1146609"/>
                    <a:gd name="connsiteX413" fmla="*/ 330288 w 768684"/>
                    <a:gd name="connsiteY413" fmla="*/ 626090 h 1146609"/>
                    <a:gd name="connsiteX414" fmla="*/ 331077 w 768684"/>
                    <a:gd name="connsiteY414" fmla="*/ 623880 h 1146609"/>
                    <a:gd name="connsiteX415" fmla="*/ 331429 w 768684"/>
                    <a:gd name="connsiteY415" fmla="*/ 619630 h 1146609"/>
                    <a:gd name="connsiteX416" fmla="*/ 333251 w 768684"/>
                    <a:gd name="connsiteY416" fmla="*/ 616570 h 1146609"/>
                    <a:gd name="connsiteX417" fmla="*/ 337124 w 768684"/>
                    <a:gd name="connsiteY417" fmla="*/ 615271 h 1146609"/>
                    <a:gd name="connsiteX418" fmla="*/ 343560 w 768684"/>
                    <a:gd name="connsiteY418" fmla="*/ 616145 h 1146609"/>
                    <a:gd name="connsiteX419" fmla="*/ 344847 w 768684"/>
                    <a:gd name="connsiteY419" fmla="*/ 615975 h 1146609"/>
                    <a:gd name="connsiteX420" fmla="*/ 345066 w 768684"/>
                    <a:gd name="connsiteY420" fmla="*/ 615829 h 1146609"/>
                    <a:gd name="connsiteX421" fmla="*/ 345138 w 768684"/>
                    <a:gd name="connsiteY421" fmla="*/ 615295 h 1146609"/>
                    <a:gd name="connsiteX422" fmla="*/ 344155 w 768684"/>
                    <a:gd name="connsiteY422" fmla="*/ 613510 h 1146609"/>
                    <a:gd name="connsiteX423" fmla="*/ 343778 w 768684"/>
                    <a:gd name="connsiteY423" fmla="*/ 613680 h 1146609"/>
                    <a:gd name="connsiteX424" fmla="*/ 341010 w 768684"/>
                    <a:gd name="connsiteY424" fmla="*/ 614105 h 1146609"/>
                    <a:gd name="connsiteX425" fmla="*/ 339031 w 768684"/>
                    <a:gd name="connsiteY425" fmla="*/ 612587 h 1146609"/>
                    <a:gd name="connsiteX426" fmla="*/ 337974 w 768684"/>
                    <a:gd name="connsiteY426" fmla="*/ 610753 h 1146609"/>
                    <a:gd name="connsiteX427" fmla="*/ 337731 w 768684"/>
                    <a:gd name="connsiteY427" fmla="*/ 609308 h 1146609"/>
                    <a:gd name="connsiteX428" fmla="*/ 337695 w 768684"/>
                    <a:gd name="connsiteY428" fmla="*/ 606855 h 1146609"/>
                    <a:gd name="connsiteX429" fmla="*/ 337476 w 768684"/>
                    <a:gd name="connsiteY429" fmla="*/ 605070 h 1146609"/>
                    <a:gd name="connsiteX430" fmla="*/ 337974 w 768684"/>
                    <a:gd name="connsiteY430" fmla="*/ 601500 h 1146609"/>
                    <a:gd name="connsiteX431" fmla="*/ 340427 w 768684"/>
                    <a:gd name="connsiteY431" fmla="*/ 598489 h 1146609"/>
                    <a:gd name="connsiteX432" fmla="*/ 345236 w 768684"/>
                    <a:gd name="connsiteY432" fmla="*/ 596680 h 1146609"/>
                    <a:gd name="connsiteX433" fmla="*/ 348016 w 768684"/>
                    <a:gd name="connsiteY433" fmla="*/ 595951 h 1146609"/>
                    <a:gd name="connsiteX434" fmla="*/ 351890 w 768684"/>
                    <a:gd name="connsiteY434" fmla="*/ 593110 h 1146609"/>
                    <a:gd name="connsiteX435" fmla="*/ 357099 w 768684"/>
                    <a:gd name="connsiteY435" fmla="*/ 589005 h 1146609"/>
                    <a:gd name="connsiteX436" fmla="*/ 359006 w 768684"/>
                    <a:gd name="connsiteY436" fmla="*/ 586237 h 1146609"/>
                    <a:gd name="connsiteX437" fmla="*/ 366571 w 768684"/>
                    <a:gd name="connsiteY437" fmla="*/ 569929 h 1146609"/>
                    <a:gd name="connsiteX438" fmla="*/ 367166 w 768684"/>
                    <a:gd name="connsiteY438" fmla="*/ 567270 h 1146609"/>
                    <a:gd name="connsiteX439" fmla="*/ 366364 w 768684"/>
                    <a:gd name="connsiteY439" fmla="*/ 564890 h 1146609"/>
                    <a:gd name="connsiteX440" fmla="*/ 366413 w 768684"/>
                    <a:gd name="connsiteY440" fmla="*/ 561963 h 1146609"/>
                    <a:gd name="connsiteX441" fmla="*/ 367579 w 768684"/>
                    <a:gd name="connsiteY441" fmla="*/ 559316 h 1146609"/>
                    <a:gd name="connsiteX442" fmla="*/ 369825 w 768684"/>
                    <a:gd name="connsiteY442" fmla="*/ 556960 h 1146609"/>
                    <a:gd name="connsiteX443" fmla="*/ 370299 w 768684"/>
                    <a:gd name="connsiteY443" fmla="*/ 556207 h 1146609"/>
                    <a:gd name="connsiteX444" fmla="*/ 370918 w 768684"/>
                    <a:gd name="connsiteY444" fmla="*/ 554872 h 1146609"/>
                    <a:gd name="connsiteX445" fmla="*/ 371076 w 768684"/>
                    <a:gd name="connsiteY445" fmla="*/ 554143 h 1146609"/>
                    <a:gd name="connsiteX446" fmla="*/ 370894 w 768684"/>
                    <a:gd name="connsiteY446" fmla="*/ 553609 h 1146609"/>
                    <a:gd name="connsiteX447" fmla="*/ 368842 w 768684"/>
                    <a:gd name="connsiteY447" fmla="*/ 551083 h 1146609"/>
                    <a:gd name="connsiteX448" fmla="*/ 368526 w 768684"/>
                    <a:gd name="connsiteY448" fmla="*/ 548849 h 1146609"/>
                    <a:gd name="connsiteX449" fmla="*/ 369121 w 768684"/>
                    <a:gd name="connsiteY449" fmla="*/ 543020 h 1146609"/>
                    <a:gd name="connsiteX450" fmla="*/ 368793 w 768684"/>
                    <a:gd name="connsiteY450" fmla="*/ 542765 h 1146609"/>
                    <a:gd name="connsiteX451" fmla="*/ 364907 w 768684"/>
                    <a:gd name="connsiteY451" fmla="*/ 541648 h 1146609"/>
                    <a:gd name="connsiteX452" fmla="*/ 362284 w 768684"/>
                    <a:gd name="connsiteY452" fmla="*/ 539438 h 1146609"/>
                    <a:gd name="connsiteX453" fmla="*/ 361289 w 768684"/>
                    <a:gd name="connsiteY453" fmla="*/ 535552 h 1146609"/>
                    <a:gd name="connsiteX454" fmla="*/ 364495 w 768684"/>
                    <a:gd name="connsiteY454" fmla="*/ 532565 h 1146609"/>
                    <a:gd name="connsiteX455" fmla="*/ 367202 w 768684"/>
                    <a:gd name="connsiteY455" fmla="*/ 531958 h 1146609"/>
                    <a:gd name="connsiteX456" fmla="*/ 370930 w 768684"/>
                    <a:gd name="connsiteY456" fmla="*/ 532237 h 1146609"/>
                    <a:gd name="connsiteX457" fmla="*/ 373505 w 768684"/>
                    <a:gd name="connsiteY457" fmla="*/ 533002 h 1146609"/>
                    <a:gd name="connsiteX458" fmla="*/ 375848 w 768684"/>
                    <a:gd name="connsiteY458" fmla="*/ 534119 h 1146609"/>
                    <a:gd name="connsiteX459" fmla="*/ 377803 w 768684"/>
                    <a:gd name="connsiteY459" fmla="*/ 535382 h 1146609"/>
                    <a:gd name="connsiteX460" fmla="*/ 379564 w 768684"/>
                    <a:gd name="connsiteY460" fmla="*/ 536196 h 1146609"/>
                    <a:gd name="connsiteX461" fmla="*/ 381033 w 768684"/>
                    <a:gd name="connsiteY461" fmla="*/ 536390 h 1146609"/>
                    <a:gd name="connsiteX462" fmla="*/ 383073 w 768684"/>
                    <a:gd name="connsiteY462" fmla="*/ 536269 h 1146609"/>
                    <a:gd name="connsiteX463" fmla="*/ 385259 w 768684"/>
                    <a:gd name="connsiteY463" fmla="*/ 535698 h 1146609"/>
                    <a:gd name="connsiteX464" fmla="*/ 387117 w 768684"/>
                    <a:gd name="connsiteY464" fmla="*/ 534739 h 1146609"/>
                    <a:gd name="connsiteX465" fmla="*/ 388440 w 768684"/>
                    <a:gd name="connsiteY465" fmla="*/ 533451 h 1146609"/>
                    <a:gd name="connsiteX466" fmla="*/ 388987 w 768684"/>
                    <a:gd name="connsiteY466" fmla="*/ 532784 h 1146609"/>
                    <a:gd name="connsiteX467" fmla="*/ 388149 w 768684"/>
                    <a:gd name="connsiteY467" fmla="*/ 532674 h 1146609"/>
                    <a:gd name="connsiteX468" fmla="*/ 385854 w 768684"/>
                    <a:gd name="connsiteY468" fmla="*/ 531800 h 1146609"/>
                    <a:gd name="connsiteX469" fmla="*/ 384457 w 768684"/>
                    <a:gd name="connsiteY469" fmla="*/ 529821 h 1146609"/>
                    <a:gd name="connsiteX470" fmla="*/ 384202 w 768684"/>
                    <a:gd name="connsiteY470" fmla="*/ 527428 h 1146609"/>
                    <a:gd name="connsiteX471" fmla="*/ 385040 w 768684"/>
                    <a:gd name="connsiteY471" fmla="*/ 524672 h 1146609"/>
                    <a:gd name="connsiteX472" fmla="*/ 387117 w 768684"/>
                    <a:gd name="connsiteY472" fmla="*/ 522936 h 1146609"/>
                    <a:gd name="connsiteX473" fmla="*/ 388720 w 768684"/>
                    <a:gd name="connsiteY473" fmla="*/ 521903 h 1146609"/>
                    <a:gd name="connsiteX474" fmla="*/ 387967 w 768684"/>
                    <a:gd name="connsiteY474" fmla="*/ 520568 h 1146609"/>
                    <a:gd name="connsiteX475" fmla="*/ 387250 w 768684"/>
                    <a:gd name="connsiteY475" fmla="*/ 519888 h 1146609"/>
                    <a:gd name="connsiteX476" fmla="*/ 386060 w 768684"/>
                    <a:gd name="connsiteY476" fmla="*/ 517836 h 1146609"/>
                    <a:gd name="connsiteX477" fmla="*/ 385465 w 768684"/>
                    <a:gd name="connsiteY477" fmla="*/ 515225 h 1146609"/>
                    <a:gd name="connsiteX478" fmla="*/ 385259 w 768684"/>
                    <a:gd name="connsiteY478" fmla="*/ 512238 h 1146609"/>
                    <a:gd name="connsiteX479" fmla="*/ 384943 w 768684"/>
                    <a:gd name="connsiteY479" fmla="*/ 510683 h 1146609"/>
                    <a:gd name="connsiteX480" fmla="*/ 384057 w 768684"/>
                    <a:gd name="connsiteY480" fmla="*/ 509469 h 1146609"/>
                    <a:gd name="connsiteX481" fmla="*/ 382612 w 768684"/>
                    <a:gd name="connsiteY481" fmla="*/ 506433 h 1146609"/>
                    <a:gd name="connsiteX482" fmla="*/ 379200 w 768684"/>
                    <a:gd name="connsiteY482" fmla="*/ 506057 h 1146609"/>
                    <a:gd name="connsiteX483" fmla="*/ 377354 w 768684"/>
                    <a:gd name="connsiteY483" fmla="*/ 505498 h 1146609"/>
                    <a:gd name="connsiteX484" fmla="*/ 374877 w 768684"/>
                    <a:gd name="connsiteY484" fmla="*/ 504005 h 1146609"/>
                    <a:gd name="connsiteX485" fmla="*/ 373590 w 768684"/>
                    <a:gd name="connsiteY485" fmla="*/ 501686 h 1146609"/>
                    <a:gd name="connsiteX486" fmla="*/ 373007 w 768684"/>
                    <a:gd name="connsiteY486" fmla="*/ 498601 h 1146609"/>
                    <a:gd name="connsiteX487" fmla="*/ 372897 w 768684"/>
                    <a:gd name="connsiteY487" fmla="*/ 497751 h 1146609"/>
                    <a:gd name="connsiteX488" fmla="*/ 374695 w 768684"/>
                    <a:gd name="connsiteY488" fmla="*/ 493890 h 1146609"/>
                    <a:gd name="connsiteX489" fmla="*/ 378374 w 768684"/>
                    <a:gd name="connsiteY489" fmla="*/ 492845 h 1146609"/>
                    <a:gd name="connsiteX490" fmla="*/ 380547 w 768684"/>
                    <a:gd name="connsiteY490" fmla="*/ 493489 h 1146609"/>
                    <a:gd name="connsiteX491" fmla="*/ 381798 w 768684"/>
                    <a:gd name="connsiteY491" fmla="*/ 494254 h 1146609"/>
                    <a:gd name="connsiteX492" fmla="*/ 382539 w 768684"/>
                    <a:gd name="connsiteY492" fmla="*/ 484868 h 1146609"/>
                    <a:gd name="connsiteX493" fmla="*/ 383595 w 768684"/>
                    <a:gd name="connsiteY493" fmla="*/ 481820 h 1146609"/>
                    <a:gd name="connsiteX494" fmla="*/ 385914 w 768684"/>
                    <a:gd name="connsiteY494" fmla="*/ 478492 h 1146609"/>
                    <a:gd name="connsiteX495" fmla="*/ 386315 w 768684"/>
                    <a:gd name="connsiteY495" fmla="*/ 476452 h 1146609"/>
                    <a:gd name="connsiteX496" fmla="*/ 386085 w 768684"/>
                    <a:gd name="connsiteY496" fmla="*/ 472457 h 1146609"/>
                    <a:gd name="connsiteX497" fmla="*/ 385453 w 768684"/>
                    <a:gd name="connsiteY497" fmla="*/ 468122 h 1146609"/>
                    <a:gd name="connsiteX498" fmla="*/ 382041 w 768684"/>
                    <a:gd name="connsiteY498" fmla="*/ 454449 h 1146609"/>
                    <a:gd name="connsiteX499" fmla="*/ 379794 w 768684"/>
                    <a:gd name="connsiteY499" fmla="*/ 449216 h 1146609"/>
                    <a:gd name="connsiteX500" fmla="*/ 378884 w 768684"/>
                    <a:gd name="connsiteY500" fmla="*/ 448584 h 1146609"/>
                    <a:gd name="connsiteX501" fmla="*/ 371270 w 768684"/>
                    <a:gd name="connsiteY501" fmla="*/ 440898 h 1146609"/>
                    <a:gd name="connsiteX502" fmla="*/ 369182 w 768684"/>
                    <a:gd name="connsiteY502" fmla="*/ 440352 h 1146609"/>
                    <a:gd name="connsiteX503" fmla="*/ 368380 w 768684"/>
                    <a:gd name="connsiteY503" fmla="*/ 439999 h 1146609"/>
                    <a:gd name="connsiteX504" fmla="*/ 366607 w 768684"/>
                    <a:gd name="connsiteY504" fmla="*/ 437364 h 1146609"/>
                    <a:gd name="connsiteX505" fmla="*/ 366255 w 768684"/>
                    <a:gd name="connsiteY505" fmla="*/ 435397 h 1146609"/>
                    <a:gd name="connsiteX506" fmla="*/ 366522 w 768684"/>
                    <a:gd name="connsiteY506" fmla="*/ 431645 h 1146609"/>
                    <a:gd name="connsiteX507" fmla="*/ 366413 w 768684"/>
                    <a:gd name="connsiteY507" fmla="*/ 430686 h 1146609"/>
                    <a:gd name="connsiteX508" fmla="*/ 365405 w 768684"/>
                    <a:gd name="connsiteY508" fmla="*/ 426606 h 1146609"/>
                    <a:gd name="connsiteX509" fmla="*/ 365029 w 768684"/>
                    <a:gd name="connsiteY509" fmla="*/ 424080 h 1146609"/>
                    <a:gd name="connsiteX510" fmla="*/ 365150 w 768684"/>
                    <a:gd name="connsiteY510" fmla="*/ 420692 h 1146609"/>
                    <a:gd name="connsiteX511" fmla="*/ 365976 w 768684"/>
                    <a:gd name="connsiteY511" fmla="*/ 417693 h 1146609"/>
                    <a:gd name="connsiteX512" fmla="*/ 367518 w 768684"/>
                    <a:gd name="connsiteY512" fmla="*/ 415301 h 1146609"/>
                    <a:gd name="connsiteX513" fmla="*/ 367797 w 768684"/>
                    <a:gd name="connsiteY513" fmla="*/ 414742 h 1146609"/>
                    <a:gd name="connsiteX514" fmla="*/ 367797 w 768684"/>
                    <a:gd name="connsiteY514" fmla="*/ 411451 h 1146609"/>
                    <a:gd name="connsiteX515" fmla="*/ 374913 w 768684"/>
                    <a:gd name="connsiteY515" fmla="*/ 404081 h 1146609"/>
                    <a:gd name="connsiteX516" fmla="*/ 378095 w 768684"/>
                    <a:gd name="connsiteY516" fmla="*/ 398993 h 1146609"/>
                    <a:gd name="connsiteX517" fmla="*/ 378119 w 768684"/>
                    <a:gd name="connsiteY517" fmla="*/ 398665 h 1146609"/>
                    <a:gd name="connsiteX518" fmla="*/ 376856 w 768684"/>
                    <a:gd name="connsiteY518" fmla="*/ 396758 h 1146609"/>
                    <a:gd name="connsiteX519" fmla="*/ 375047 w 768684"/>
                    <a:gd name="connsiteY519" fmla="*/ 391974 h 1146609"/>
                    <a:gd name="connsiteX520" fmla="*/ 374099 w 768684"/>
                    <a:gd name="connsiteY520" fmla="*/ 387991 h 1146609"/>
                    <a:gd name="connsiteX521" fmla="*/ 373723 w 768684"/>
                    <a:gd name="connsiteY521" fmla="*/ 387360 h 1146609"/>
                    <a:gd name="connsiteX522" fmla="*/ 372873 w 768684"/>
                    <a:gd name="connsiteY522" fmla="*/ 386510 h 1146609"/>
                    <a:gd name="connsiteX523" fmla="*/ 371841 w 768684"/>
                    <a:gd name="connsiteY523" fmla="*/ 384980 h 1146609"/>
                    <a:gd name="connsiteX524" fmla="*/ 371222 w 768684"/>
                    <a:gd name="connsiteY524" fmla="*/ 385174 h 1146609"/>
                    <a:gd name="connsiteX525" fmla="*/ 370165 w 768684"/>
                    <a:gd name="connsiteY525" fmla="*/ 385295 h 1146609"/>
                    <a:gd name="connsiteX526" fmla="*/ 367287 w 768684"/>
                    <a:gd name="connsiteY526" fmla="*/ 384518 h 1146609"/>
                    <a:gd name="connsiteX527" fmla="*/ 366777 w 768684"/>
                    <a:gd name="connsiteY527" fmla="*/ 384118 h 1146609"/>
                    <a:gd name="connsiteX528" fmla="*/ 365976 w 768684"/>
                    <a:gd name="connsiteY528" fmla="*/ 383134 h 1146609"/>
                    <a:gd name="connsiteX529" fmla="*/ 364810 w 768684"/>
                    <a:gd name="connsiteY529" fmla="*/ 380123 h 1146609"/>
                    <a:gd name="connsiteX530" fmla="*/ 364300 w 768684"/>
                    <a:gd name="connsiteY530" fmla="*/ 379054 h 1146609"/>
                    <a:gd name="connsiteX531" fmla="*/ 363025 w 768684"/>
                    <a:gd name="connsiteY531" fmla="*/ 378872 h 1146609"/>
                    <a:gd name="connsiteX532" fmla="*/ 362600 w 768684"/>
                    <a:gd name="connsiteY532" fmla="*/ 378702 h 1146609"/>
                    <a:gd name="connsiteX533" fmla="*/ 361058 w 768684"/>
                    <a:gd name="connsiteY533" fmla="*/ 377475 h 1146609"/>
                    <a:gd name="connsiteX534" fmla="*/ 360366 w 768684"/>
                    <a:gd name="connsiteY534" fmla="*/ 375581 h 1146609"/>
                    <a:gd name="connsiteX535" fmla="*/ 360572 w 768684"/>
                    <a:gd name="connsiteY535" fmla="*/ 373881 h 1146609"/>
                    <a:gd name="connsiteX536" fmla="*/ 361422 w 768684"/>
                    <a:gd name="connsiteY536" fmla="*/ 372169 h 1146609"/>
                    <a:gd name="connsiteX537" fmla="*/ 362710 w 768684"/>
                    <a:gd name="connsiteY537" fmla="*/ 370785 h 1146609"/>
                    <a:gd name="connsiteX538" fmla="*/ 364543 w 768684"/>
                    <a:gd name="connsiteY538" fmla="*/ 369461 h 1146609"/>
                    <a:gd name="connsiteX539" fmla="*/ 365138 w 768684"/>
                    <a:gd name="connsiteY539" fmla="*/ 368854 h 1146609"/>
                    <a:gd name="connsiteX540" fmla="*/ 364944 w 768684"/>
                    <a:gd name="connsiteY540" fmla="*/ 366911 h 1146609"/>
                    <a:gd name="connsiteX541" fmla="*/ 366401 w 768684"/>
                    <a:gd name="connsiteY541" fmla="*/ 365612 h 1146609"/>
                    <a:gd name="connsiteX542" fmla="*/ 369764 w 768684"/>
                    <a:gd name="connsiteY542" fmla="*/ 363669 h 1146609"/>
                    <a:gd name="connsiteX543" fmla="*/ 376528 w 768684"/>
                    <a:gd name="connsiteY543" fmla="*/ 361180 h 1146609"/>
                    <a:gd name="connsiteX544" fmla="*/ 381980 w 768684"/>
                    <a:gd name="connsiteY544" fmla="*/ 358557 h 1146609"/>
                    <a:gd name="connsiteX545" fmla="*/ 384202 w 768684"/>
                    <a:gd name="connsiteY545" fmla="*/ 357185 h 1146609"/>
                    <a:gd name="connsiteX546" fmla="*/ 384579 w 768684"/>
                    <a:gd name="connsiteY546" fmla="*/ 356395 h 1146609"/>
                    <a:gd name="connsiteX547" fmla="*/ 385975 w 768684"/>
                    <a:gd name="connsiteY547" fmla="*/ 354003 h 1146609"/>
                    <a:gd name="connsiteX548" fmla="*/ 386898 w 768684"/>
                    <a:gd name="connsiteY548" fmla="*/ 352983 h 1146609"/>
                    <a:gd name="connsiteX549" fmla="*/ 389048 w 768684"/>
                    <a:gd name="connsiteY549" fmla="*/ 351878 h 1146609"/>
                    <a:gd name="connsiteX550" fmla="*/ 396006 w 768684"/>
                    <a:gd name="connsiteY550" fmla="*/ 349717 h 1146609"/>
                    <a:gd name="connsiteX551" fmla="*/ 399175 w 768684"/>
                    <a:gd name="connsiteY551" fmla="*/ 347786 h 1146609"/>
                    <a:gd name="connsiteX552" fmla="*/ 402562 w 768684"/>
                    <a:gd name="connsiteY552" fmla="*/ 345345 h 1146609"/>
                    <a:gd name="connsiteX553" fmla="*/ 407638 w 768684"/>
                    <a:gd name="connsiteY553" fmla="*/ 346936 h 1146609"/>
                    <a:gd name="connsiteX554" fmla="*/ 411852 w 768684"/>
                    <a:gd name="connsiteY554" fmla="*/ 349972 h 1146609"/>
                    <a:gd name="connsiteX555" fmla="*/ 412326 w 768684"/>
                    <a:gd name="connsiteY555" fmla="*/ 351235 h 1146609"/>
                    <a:gd name="connsiteX556" fmla="*/ 412496 w 768684"/>
                    <a:gd name="connsiteY556" fmla="*/ 351939 h 1146609"/>
                    <a:gd name="connsiteX557" fmla="*/ 413770 w 768684"/>
                    <a:gd name="connsiteY557" fmla="*/ 352509 h 1146609"/>
                    <a:gd name="connsiteX558" fmla="*/ 420631 w 768684"/>
                    <a:gd name="connsiteY558" fmla="*/ 353639 h 1146609"/>
                    <a:gd name="connsiteX559" fmla="*/ 420570 w 768684"/>
                    <a:gd name="connsiteY559" fmla="*/ 351599 h 1146609"/>
                    <a:gd name="connsiteX560" fmla="*/ 419963 w 768684"/>
                    <a:gd name="connsiteY560" fmla="*/ 351259 h 1146609"/>
                    <a:gd name="connsiteX561" fmla="*/ 418774 w 768684"/>
                    <a:gd name="connsiteY561" fmla="*/ 350166 h 1146609"/>
                    <a:gd name="connsiteX562" fmla="*/ 417608 w 768684"/>
                    <a:gd name="connsiteY562" fmla="*/ 348721 h 1146609"/>
                    <a:gd name="connsiteX563" fmla="*/ 416406 w 768684"/>
                    <a:gd name="connsiteY563" fmla="*/ 346851 h 1146609"/>
                    <a:gd name="connsiteX564" fmla="*/ 416661 w 768684"/>
                    <a:gd name="connsiteY564" fmla="*/ 343864 h 1146609"/>
                    <a:gd name="connsiteX565" fmla="*/ 418251 w 768684"/>
                    <a:gd name="connsiteY565" fmla="*/ 337792 h 1146609"/>
                    <a:gd name="connsiteX566" fmla="*/ 419041 w 768684"/>
                    <a:gd name="connsiteY566" fmla="*/ 332231 h 1146609"/>
                    <a:gd name="connsiteX567" fmla="*/ 419004 w 768684"/>
                    <a:gd name="connsiteY567" fmla="*/ 331235 h 1146609"/>
                    <a:gd name="connsiteX568" fmla="*/ 417948 w 768684"/>
                    <a:gd name="connsiteY568" fmla="*/ 327094 h 1146609"/>
                    <a:gd name="connsiteX569" fmla="*/ 417098 w 768684"/>
                    <a:gd name="connsiteY569" fmla="*/ 322213 h 1146609"/>
                    <a:gd name="connsiteX570" fmla="*/ 416576 w 768684"/>
                    <a:gd name="connsiteY570" fmla="*/ 320792 h 1146609"/>
                    <a:gd name="connsiteX571" fmla="*/ 415094 w 768684"/>
                    <a:gd name="connsiteY571" fmla="*/ 318946 h 1146609"/>
                    <a:gd name="connsiteX572" fmla="*/ 410528 w 768684"/>
                    <a:gd name="connsiteY572" fmla="*/ 315716 h 1146609"/>
                    <a:gd name="connsiteX573" fmla="*/ 398555 w 768684"/>
                    <a:gd name="connsiteY573" fmla="*/ 310786 h 1146609"/>
                    <a:gd name="connsiteX574" fmla="*/ 396418 w 768684"/>
                    <a:gd name="connsiteY574" fmla="*/ 307313 h 1146609"/>
                    <a:gd name="connsiteX575" fmla="*/ 392921 w 768684"/>
                    <a:gd name="connsiteY575" fmla="*/ 304897 h 1146609"/>
                    <a:gd name="connsiteX576" fmla="*/ 391002 w 768684"/>
                    <a:gd name="connsiteY576" fmla="*/ 302566 h 1146609"/>
                    <a:gd name="connsiteX577" fmla="*/ 389436 w 768684"/>
                    <a:gd name="connsiteY577" fmla="*/ 299384 h 1146609"/>
                    <a:gd name="connsiteX578" fmla="*/ 388331 w 768684"/>
                    <a:gd name="connsiteY578" fmla="*/ 295328 h 1146609"/>
                    <a:gd name="connsiteX579" fmla="*/ 387590 w 768684"/>
                    <a:gd name="connsiteY579" fmla="*/ 294260 h 1146609"/>
                    <a:gd name="connsiteX580" fmla="*/ 385927 w 768684"/>
                    <a:gd name="connsiteY580" fmla="*/ 292402 h 1146609"/>
                    <a:gd name="connsiteX581" fmla="*/ 383850 w 768684"/>
                    <a:gd name="connsiteY581" fmla="*/ 288783 h 1146609"/>
                    <a:gd name="connsiteX582" fmla="*/ 382600 w 768684"/>
                    <a:gd name="connsiteY582" fmla="*/ 288018 h 1146609"/>
                    <a:gd name="connsiteX583" fmla="*/ 377196 w 768684"/>
                    <a:gd name="connsiteY583" fmla="*/ 285578 h 1146609"/>
                    <a:gd name="connsiteX584" fmla="*/ 373310 w 768684"/>
                    <a:gd name="connsiteY584" fmla="*/ 283234 h 1146609"/>
                    <a:gd name="connsiteX585" fmla="*/ 371574 w 768684"/>
                    <a:gd name="connsiteY585" fmla="*/ 281352 h 1146609"/>
                    <a:gd name="connsiteX586" fmla="*/ 370930 w 768684"/>
                    <a:gd name="connsiteY586" fmla="*/ 280259 h 1146609"/>
                    <a:gd name="connsiteX587" fmla="*/ 373395 w 768684"/>
                    <a:gd name="connsiteY587" fmla="*/ 277964 h 1146609"/>
                    <a:gd name="connsiteX588" fmla="*/ 370554 w 768684"/>
                    <a:gd name="connsiteY588" fmla="*/ 279008 h 1146609"/>
                    <a:gd name="connsiteX589" fmla="*/ 369036 w 768684"/>
                    <a:gd name="connsiteY589" fmla="*/ 276082 h 1146609"/>
                    <a:gd name="connsiteX590" fmla="*/ 368708 w 768684"/>
                    <a:gd name="connsiteY590" fmla="*/ 274965 h 1146609"/>
                    <a:gd name="connsiteX591" fmla="*/ 368575 w 768684"/>
                    <a:gd name="connsiteY591" fmla="*/ 272245 h 1146609"/>
                    <a:gd name="connsiteX592" fmla="*/ 369145 w 768684"/>
                    <a:gd name="connsiteY592" fmla="*/ 270144 h 1146609"/>
                    <a:gd name="connsiteX593" fmla="*/ 370032 w 768684"/>
                    <a:gd name="connsiteY593" fmla="*/ 269027 h 1146609"/>
                    <a:gd name="connsiteX594" fmla="*/ 371464 w 768684"/>
                    <a:gd name="connsiteY594" fmla="*/ 267873 h 1146609"/>
                    <a:gd name="connsiteX595" fmla="*/ 372897 w 768684"/>
                    <a:gd name="connsiteY595" fmla="*/ 267303 h 1146609"/>
                    <a:gd name="connsiteX596" fmla="*/ 373942 w 768684"/>
                    <a:gd name="connsiteY596" fmla="*/ 267048 h 1146609"/>
                    <a:gd name="connsiteX597" fmla="*/ 375557 w 768684"/>
                    <a:gd name="connsiteY597" fmla="*/ 261365 h 1146609"/>
                    <a:gd name="connsiteX598" fmla="*/ 376334 w 768684"/>
                    <a:gd name="connsiteY598" fmla="*/ 259191 h 1146609"/>
                    <a:gd name="connsiteX599" fmla="*/ 376467 w 768684"/>
                    <a:gd name="connsiteY599" fmla="*/ 257637 h 1146609"/>
                    <a:gd name="connsiteX600" fmla="*/ 376273 w 768684"/>
                    <a:gd name="connsiteY600" fmla="*/ 255536 h 1146609"/>
                    <a:gd name="connsiteX601" fmla="*/ 376783 w 768684"/>
                    <a:gd name="connsiteY601" fmla="*/ 252549 h 1146609"/>
                    <a:gd name="connsiteX602" fmla="*/ 378678 w 768684"/>
                    <a:gd name="connsiteY602" fmla="*/ 249222 h 1146609"/>
                    <a:gd name="connsiteX603" fmla="*/ 384287 w 768684"/>
                    <a:gd name="connsiteY603" fmla="*/ 243345 h 1146609"/>
                    <a:gd name="connsiteX604" fmla="*/ 397657 w 768684"/>
                    <a:gd name="connsiteY604" fmla="*/ 233060 h 1146609"/>
                    <a:gd name="connsiteX605" fmla="*/ 403461 w 768684"/>
                    <a:gd name="connsiteY605" fmla="*/ 225664 h 1146609"/>
                    <a:gd name="connsiteX606" fmla="*/ 406084 w 768684"/>
                    <a:gd name="connsiteY606" fmla="*/ 223284 h 1146609"/>
                    <a:gd name="connsiteX607" fmla="*/ 408039 w 768684"/>
                    <a:gd name="connsiteY607" fmla="*/ 222847 h 1146609"/>
                    <a:gd name="connsiteX608" fmla="*/ 410055 w 768684"/>
                    <a:gd name="connsiteY608" fmla="*/ 222811 h 1146609"/>
                    <a:gd name="connsiteX609" fmla="*/ 411718 w 768684"/>
                    <a:gd name="connsiteY609" fmla="*/ 223029 h 1146609"/>
                    <a:gd name="connsiteX610" fmla="*/ 413345 w 768684"/>
                    <a:gd name="connsiteY610" fmla="*/ 222252 h 1146609"/>
                    <a:gd name="connsiteX611" fmla="*/ 416357 w 768684"/>
                    <a:gd name="connsiteY611" fmla="*/ 218840 h 1146609"/>
                    <a:gd name="connsiteX612" fmla="*/ 418603 w 768684"/>
                    <a:gd name="connsiteY612" fmla="*/ 217249 h 1146609"/>
                    <a:gd name="connsiteX613" fmla="*/ 422926 w 768684"/>
                    <a:gd name="connsiteY613" fmla="*/ 215367 h 1146609"/>
                    <a:gd name="connsiteX614" fmla="*/ 424711 w 768684"/>
                    <a:gd name="connsiteY614" fmla="*/ 214104 h 1146609"/>
                    <a:gd name="connsiteX615" fmla="*/ 427528 w 768684"/>
                    <a:gd name="connsiteY615" fmla="*/ 210899 h 1146609"/>
                    <a:gd name="connsiteX616" fmla="*/ 431730 w 768684"/>
                    <a:gd name="connsiteY616" fmla="*/ 207486 h 1146609"/>
                    <a:gd name="connsiteX617" fmla="*/ 438044 w 768684"/>
                    <a:gd name="connsiteY617" fmla="*/ 200055 h 1146609"/>
                    <a:gd name="connsiteX618" fmla="*/ 440728 w 768684"/>
                    <a:gd name="connsiteY618" fmla="*/ 197469 h 1146609"/>
                    <a:gd name="connsiteX619" fmla="*/ 443509 w 768684"/>
                    <a:gd name="connsiteY619" fmla="*/ 195489 h 1146609"/>
                    <a:gd name="connsiteX620" fmla="*/ 449702 w 768684"/>
                    <a:gd name="connsiteY620" fmla="*/ 193473 h 1146609"/>
                    <a:gd name="connsiteX621" fmla="*/ 451207 w 768684"/>
                    <a:gd name="connsiteY621" fmla="*/ 192538 h 1146609"/>
                    <a:gd name="connsiteX622" fmla="*/ 456429 w 768684"/>
                    <a:gd name="connsiteY622" fmla="*/ 187475 h 1146609"/>
                    <a:gd name="connsiteX623" fmla="*/ 459513 w 768684"/>
                    <a:gd name="connsiteY623" fmla="*/ 185799 h 1146609"/>
                    <a:gd name="connsiteX624" fmla="*/ 462706 w 768684"/>
                    <a:gd name="connsiteY624" fmla="*/ 185070 h 1146609"/>
                    <a:gd name="connsiteX625" fmla="*/ 465171 w 768684"/>
                    <a:gd name="connsiteY625" fmla="*/ 185010 h 1146609"/>
                    <a:gd name="connsiteX626" fmla="*/ 465390 w 768684"/>
                    <a:gd name="connsiteY626" fmla="*/ 184233 h 1146609"/>
                    <a:gd name="connsiteX627" fmla="*/ 465366 w 768684"/>
                    <a:gd name="connsiteY627" fmla="*/ 183710 h 1146609"/>
                    <a:gd name="connsiteX628" fmla="*/ 464819 w 768684"/>
                    <a:gd name="connsiteY628" fmla="*/ 182472 h 1146609"/>
                    <a:gd name="connsiteX629" fmla="*/ 463957 w 768684"/>
                    <a:gd name="connsiteY629" fmla="*/ 181719 h 1146609"/>
                    <a:gd name="connsiteX630" fmla="*/ 462197 w 768684"/>
                    <a:gd name="connsiteY630" fmla="*/ 180918 h 1146609"/>
                    <a:gd name="connsiteX631" fmla="*/ 458274 w 768684"/>
                    <a:gd name="connsiteY631" fmla="*/ 179376 h 1146609"/>
                    <a:gd name="connsiteX632" fmla="*/ 456186 w 768684"/>
                    <a:gd name="connsiteY632" fmla="*/ 177008 h 1146609"/>
                    <a:gd name="connsiteX633" fmla="*/ 455943 w 768684"/>
                    <a:gd name="connsiteY633" fmla="*/ 173620 h 1146609"/>
                    <a:gd name="connsiteX634" fmla="*/ 457339 w 768684"/>
                    <a:gd name="connsiteY634" fmla="*/ 170839 h 1146609"/>
                    <a:gd name="connsiteX635" fmla="*/ 459003 w 768684"/>
                    <a:gd name="connsiteY635" fmla="*/ 169479 h 1146609"/>
                    <a:gd name="connsiteX636" fmla="*/ 460436 w 768684"/>
                    <a:gd name="connsiteY636" fmla="*/ 168690 h 1146609"/>
                    <a:gd name="connsiteX637" fmla="*/ 459829 w 768684"/>
                    <a:gd name="connsiteY637" fmla="*/ 167998 h 1146609"/>
                    <a:gd name="connsiteX638" fmla="*/ 453806 w 768684"/>
                    <a:gd name="connsiteY638" fmla="*/ 162145 h 1146609"/>
                    <a:gd name="connsiteX639" fmla="*/ 452288 w 768684"/>
                    <a:gd name="connsiteY639" fmla="*/ 161015 h 1146609"/>
                    <a:gd name="connsiteX640" fmla="*/ 451073 w 768684"/>
                    <a:gd name="connsiteY640" fmla="*/ 160785 h 1146609"/>
                    <a:gd name="connsiteX641" fmla="*/ 449131 w 768684"/>
                    <a:gd name="connsiteY641" fmla="*/ 159813 h 1146609"/>
                    <a:gd name="connsiteX642" fmla="*/ 446763 w 768684"/>
                    <a:gd name="connsiteY642" fmla="*/ 157858 h 1146609"/>
                    <a:gd name="connsiteX643" fmla="*/ 445014 w 768684"/>
                    <a:gd name="connsiteY643" fmla="*/ 156049 h 1146609"/>
                    <a:gd name="connsiteX644" fmla="*/ 445014 w 768684"/>
                    <a:gd name="connsiteY644" fmla="*/ 154822 h 1146609"/>
                    <a:gd name="connsiteX645" fmla="*/ 445209 w 768684"/>
                    <a:gd name="connsiteY645" fmla="*/ 152005 h 1146609"/>
                    <a:gd name="connsiteX646" fmla="*/ 446277 w 768684"/>
                    <a:gd name="connsiteY646" fmla="*/ 148642 h 1146609"/>
                    <a:gd name="connsiteX647" fmla="*/ 440546 w 768684"/>
                    <a:gd name="connsiteY647" fmla="*/ 150633 h 1146609"/>
                    <a:gd name="connsiteX648" fmla="*/ 436672 w 768684"/>
                    <a:gd name="connsiteY648" fmla="*/ 151532 h 1146609"/>
                    <a:gd name="connsiteX649" fmla="*/ 434498 w 768684"/>
                    <a:gd name="connsiteY649" fmla="*/ 151738 h 1146609"/>
                    <a:gd name="connsiteX650" fmla="*/ 430188 w 768684"/>
                    <a:gd name="connsiteY650" fmla="*/ 150645 h 1146609"/>
                    <a:gd name="connsiteX651" fmla="*/ 423837 w 768684"/>
                    <a:gd name="connsiteY651" fmla="*/ 149213 h 1146609"/>
                    <a:gd name="connsiteX652" fmla="*/ 427614 w 768684"/>
                    <a:gd name="connsiteY652" fmla="*/ 137446 h 1146609"/>
                    <a:gd name="connsiteX653" fmla="*/ 436271 w 768684"/>
                    <a:gd name="connsiteY653" fmla="*/ 120992 h 1146609"/>
                    <a:gd name="connsiteX654" fmla="*/ 439174 w 768684"/>
                    <a:gd name="connsiteY654" fmla="*/ 112577 h 1146609"/>
                    <a:gd name="connsiteX655" fmla="*/ 439878 w 768684"/>
                    <a:gd name="connsiteY655" fmla="*/ 108959 h 1146609"/>
                    <a:gd name="connsiteX656" fmla="*/ 440109 w 768684"/>
                    <a:gd name="connsiteY656" fmla="*/ 105510 h 1146609"/>
                    <a:gd name="connsiteX657" fmla="*/ 439878 w 768684"/>
                    <a:gd name="connsiteY657" fmla="*/ 102074 h 1146609"/>
                    <a:gd name="connsiteX658" fmla="*/ 438263 w 768684"/>
                    <a:gd name="connsiteY658" fmla="*/ 94545 h 1146609"/>
                    <a:gd name="connsiteX659" fmla="*/ 437510 w 768684"/>
                    <a:gd name="connsiteY659" fmla="*/ 85498 h 1146609"/>
                    <a:gd name="connsiteX660" fmla="*/ 436830 w 768684"/>
                    <a:gd name="connsiteY660" fmla="*/ 82414 h 1146609"/>
                    <a:gd name="connsiteX661" fmla="*/ 436296 w 768684"/>
                    <a:gd name="connsiteY661" fmla="*/ 81625 h 1146609"/>
                    <a:gd name="connsiteX662" fmla="*/ 435494 w 768684"/>
                    <a:gd name="connsiteY662" fmla="*/ 80046 h 1146609"/>
                    <a:gd name="connsiteX663" fmla="*/ 431487 w 768684"/>
                    <a:gd name="connsiteY663" fmla="*/ 74230 h 1146609"/>
                    <a:gd name="connsiteX664" fmla="*/ 429702 w 768684"/>
                    <a:gd name="connsiteY664" fmla="*/ 70806 h 1146609"/>
                    <a:gd name="connsiteX665" fmla="*/ 427164 w 768684"/>
                    <a:gd name="connsiteY665" fmla="*/ 64491 h 1146609"/>
                    <a:gd name="connsiteX666" fmla="*/ 426278 w 768684"/>
                    <a:gd name="connsiteY666" fmla="*/ 62682 h 1146609"/>
                    <a:gd name="connsiteX667" fmla="*/ 423218 w 768684"/>
                    <a:gd name="connsiteY667" fmla="*/ 57315 h 1146609"/>
                    <a:gd name="connsiteX668" fmla="*/ 419502 w 768684"/>
                    <a:gd name="connsiteY668" fmla="*/ 52287 h 1146609"/>
                    <a:gd name="connsiteX669" fmla="*/ 417462 w 768684"/>
                    <a:gd name="connsiteY669" fmla="*/ 50551 h 1146609"/>
                    <a:gd name="connsiteX670" fmla="*/ 415325 w 768684"/>
                    <a:gd name="connsiteY670" fmla="*/ 49786 h 1146609"/>
                    <a:gd name="connsiteX671" fmla="*/ 410856 w 768684"/>
                    <a:gd name="connsiteY671" fmla="*/ 47042 h 1146609"/>
                    <a:gd name="connsiteX672" fmla="*/ 407043 w 768684"/>
                    <a:gd name="connsiteY672" fmla="*/ 39003 h 1146609"/>
                    <a:gd name="connsiteX673" fmla="*/ 406315 w 768684"/>
                    <a:gd name="connsiteY673" fmla="*/ 38615 h 1146609"/>
                    <a:gd name="connsiteX674" fmla="*/ 404760 w 768684"/>
                    <a:gd name="connsiteY674" fmla="*/ 37157 h 1146609"/>
                    <a:gd name="connsiteX675" fmla="*/ 403328 w 768684"/>
                    <a:gd name="connsiteY675" fmla="*/ 35008 h 1146609"/>
                    <a:gd name="connsiteX676" fmla="*/ 402538 w 768684"/>
                    <a:gd name="connsiteY676" fmla="*/ 31742 h 1146609"/>
                    <a:gd name="connsiteX677" fmla="*/ 402842 w 768684"/>
                    <a:gd name="connsiteY677" fmla="*/ 30272 h 1146609"/>
                    <a:gd name="connsiteX678" fmla="*/ 403218 w 768684"/>
                    <a:gd name="connsiteY678" fmla="*/ 28839 h 1146609"/>
                    <a:gd name="connsiteX679" fmla="*/ 405914 w 768684"/>
                    <a:gd name="connsiteY679" fmla="*/ 22950 h 1146609"/>
                    <a:gd name="connsiteX680" fmla="*/ 406023 w 768684"/>
                    <a:gd name="connsiteY680" fmla="*/ 16976 h 1146609"/>
                    <a:gd name="connsiteX681" fmla="*/ 406400 w 768684"/>
                    <a:gd name="connsiteY681" fmla="*/ 9897 h 1146609"/>
                    <a:gd name="connsiteX682" fmla="*/ 409557 w 768684"/>
                    <a:gd name="connsiteY682" fmla="*/ 2574 h 1146609"/>
                    <a:gd name="connsiteX683" fmla="*/ 410747 w 768684"/>
                    <a:gd name="connsiteY683" fmla="*/ 0 h 1146609"/>
                    <a:gd name="connsiteX684" fmla="*/ 417571 w 768684"/>
                    <a:gd name="connsiteY684" fmla="*/ 2623 h 1146609"/>
                    <a:gd name="connsiteX685" fmla="*/ 420461 w 768684"/>
                    <a:gd name="connsiteY685" fmla="*/ 5841 h 1146609"/>
                    <a:gd name="connsiteX686" fmla="*/ 426132 w 768684"/>
                    <a:gd name="connsiteY686" fmla="*/ 9411 h 1146609"/>
                    <a:gd name="connsiteX687" fmla="*/ 428403 w 768684"/>
                    <a:gd name="connsiteY687" fmla="*/ 12313 h 1146609"/>
                    <a:gd name="connsiteX688" fmla="*/ 429471 w 768684"/>
                    <a:gd name="connsiteY688" fmla="*/ 14778 h 1146609"/>
                    <a:gd name="connsiteX689" fmla="*/ 429860 w 768684"/>
                    <a:gd name="connsiteY689" fmla="*/ 19829 h 1146609"/>
                    <a:gd name="connsiteX690" fmla="*/ 430248 w 768684"/>
                    <a:gd name="connsiteY690" fmla="*/ 21311 h 1146609"/>
                    <a:gd name="connsiteX691" fmla="*/ 430334 w 768684"/>
                    <a:gd name="connsiteY691" fmla="*/ 21457 h 1146609"/>
                    <a:gd name="connsiteX692" fmla="*/ 432119 w 768684"/>
                    <a:gd name="connsiteY692" fmla="*/ 22817 h 1146609"/>
                    <a:gd name="connsiteX693" fmla="*/ 434462 w 768684"/>
                    <a:gd name="connsiteY693" fmla="*/ 23302 h 1146609"/>
                    <a:gd name="connsiteX694" fmla="*/ 439368 w 768684"/>
                    <a:gd name="connsiteY694" fmla="*/ 23327 h 1146609"/>
                    <a:gd name="connsiteX695" fmla="*/ 447297 w 768684"/>
                    <a:gd name="connsiteY695" fmla="*/ 22197 h 1146609"/>
                    <a:gd name="connsiteX696" fmla="*/ 455639 w 768684"/>
                    <a:gd name="connsiteY696" fmla="*/ 23497 h 1146609"/>
                    <a:gd name="connsiteX697" fmla="*/ 476379 w 768684"/>
                    <a:gd name="connsiteY697" fmla="*/ 31645 h 1146609"/>
                    <a:gd name="connsiteX698" fmla="*/ 478140 w 768684"/>
                    <a:gd name="connsiteY698" fmla="*/ 33757 h 1146609"/>
                    <a:gd name="connsiteX699" fmla="*/ 478590 w 768684"/>
                    <a:gd name="connsiteY699" fmla="*/ 33988 h 1146609"/>
                    <a:gd name="connsiteX700" fmla="*/ 479427 w 768684"/>
                    <a:gd name="connsiteY700" fmla="*/ 34122 h 1146609"/>
                    <a:gd name="connsiteX701" fmla="*/ 481237 w 768684"/>
                    <a:gd name="connsiteY701" fmla="*/ 34037 h 1146609"/>
                    <a:gd name="connsiteX702" fmla="*/ 486495 w 768684"/>
                    <a:gd name="connsiteY702" fmla="*/ 32859 h 1146609"/>
                    <a:gd name="connsiteX703" fmla="*/ 489664 w 768684"/>
                    <a:gd name="connsiteY703" fmla="*/ 31256 h 1146609"/>
                    <a:gd name="connsiteX704" fmla="*/ 493695 w 768684"/>
                    <a:gd name="connsiteY704" fmla="*/ 28512 h 1146609"/>
                    <a:gd name="connsiteX705" fmla="*/ 507283 w 768684"/>
                    <a:gd name="connsiteY705" fmla="*/ 15628 h 1146609"/>
                    <a:gd name="connsiteX706" fmla="*/ 512893 w 768684"/>
                    <a:gd name="connsiteY706" fmla="*/ 15179 h 1146609"/>
                    <a:gd name="connsiteX707" fmla="*/ 526943 w 768684"/>
                    <a:gd name="connsiteY707" fmla="*/ 17207 h 1146609"/>
                    <a:gd name="connsiteX708" fmla="*/ 536329 w 768684"/>
                    <a:gd name="connsiteY708" fmla="*/ 16053 h 1146609"/>
                    <a:gd name="connsiteX709" fmla="*/ 538309 w 768684"/>
                    <a:gd name="connsiteY709" fmla="*/ 16672 h 1146609"/>
                    <a:gd name="connsiteX710" fmla="*/ 543348 w 768684"/>
                    <a:gd name="connsiteY710" fmla="*/ 20497 h 1146609"/>
                    <a:gd name="connsiteX711" fmla="*/ 546456 w 768684"/>
                    <a:gd name="connsiteY711" fmla="*/ 21505 h 1146609"/>
                    <a:gd name="connsiteX712" fmla="*/ 549565 w 768684"/>
                    <a:gd name="connsiteY712" fmla="*/ 20849 h 1146609"/>
                    <a:gd name="connsiteX713" fmla="*/ 552418 w 768684"/>
                    <a:gd name="connsiteY713" fmla="*/ 22877 h 1146609"/>
                    <a:gd name="connsiteX714" fmla="*/ 564003 w 768684"/>
                    <a:gd name="connsiteY714" fmla="*/ 28742 h 1146609"/>
                    <a:gd name="connsiteX715" fmla="*/ 568969 w 768684"/>
                    <a:gd name="connsiteY715" fmla="*/ 32349 h 1146609"/>
                    <a:gd name="connsiteX716" fmla="*/ 571993 w 768684"/>
                    <a:gd name="connsiteY716" fmla="*/ 37935 h 1146609"/>
                    <a:gd name="connsiteX717" fmla="*/ 573001 w 768684"/>
                    <a:gd name="connsiteY717" fmla="*/ 43605 h 1146609"/>
                    <a:gd name="connsiteX718" fmla="*/ 573049 w 768684"/>
                    <a:gd name="connsiteY718" fmla="*/ 55141 h 1146609"/>
                    <a:gd name="connsiteX719" fmla="*/ 573390 w 768684"/>
                    <a:gd name="connsiteY719" fmla="*/ 58007 h 1146609"/>
                    <a:gd name="connsiteX720" fmla="*/ 576413 w 768684"/>
                    <a:gd name="connsiteY720" fmla="*/ 55469 h 1146609"/>
                    <a:gd name="connsiteX721" fmla="*/ 582727 w 768684"/>
                    <a:gd name="connsiteY721" fmla="*/ 54765 h 1146609"/>
                    <a:gd name="connsiteX722" fmla="*/ 587573 w 768684"/>
                    <a:gd name="connsiteY722" fmla="*/ 60472 h 1146609"/>
                    <a:gd name="connsiteX723" fmla="*/ 588253 w 768684"/>
                    <a:gd name="connsiteY723" fmla="*/ 63690 h 1146609"/>
                    <a:gd name="connsiteX724" fmla="*/ 587997 w 768684"/>
                    <a:gd name="connsiteY724" fmla="*/ 67503 h 1146609"/>
                    <a:gd name="connsiteX725" fmla="*/ 588398 w 768684"/>
                    <a:gd name="connsiteY725" fmla="*/ 68146 h 1146609"/>
                    <a:gd name="connsiteX726" fmla="*/ 589151 w 768684"/>
                    <a:gd name="connsiteY726" fmla="*/ 68571 h 1146609"/>
                    <a:gd name="connsiteX727" fmla="*/ 590766 w 768684"/>
                    <a:gd name="connsiteY727" fmla="*/ 68741 h 1146609"/>
                    <a:gd name="connsiteX728" fmla="*/ 593304 w 768684"/>
                    <a:gd name="connsiteY728" fmla="*/ 66956 h 1146609"/>
                    <a:gd name="connsiteX729" fmla="*/ 598865 w 768684"/>
                    <a:gd name="connsiteY729" fmla="*/ 66628 h 1146609"/>
                    <a:gd name="connsiteX730" fmla="*/ 604524 w 768684"/>
                    <a:gd name="connsiteY730" fmla="*/ 69069 h 1146609"/>
                    <a:gd name="connsiteX731" fmla="*/ 609162 w 768684"/>
                    <a:gd name="connsiteY731" fmla="*/ 72396 h 1146609"/>
                    <a:gd name="connsiteX732" fmla="*/ 612538 w 768684"/>
                    <a:gd name="connsiteY732" fmla="*/ 75942 h 1146609"/>
                    <a:gd name="connsiteX733" fmla="*/ 615610 w 768684"/>
                    <a:gd name="connsiteY733" fmla="*/ 81686 h 1146609"/>
                    <a:gd name="connsiteX734" fmla="*/ 617262 w 768684"/>
                    <a:gd name="connsiteY734" fmla="*/ 86142 h 1146609"/>
                    <a:gd name="connsiteX735" fmla="*/ 617663 w 768684"/>
                    <a:gd name="connsiteY735" fmla="*/ 86288 h 1146609"/>
                    <a:gd name="connsiteX736" fmla="*/ 618695 w 768684"/>
                    <a:gd name="connsiteY736" fmla="*/ 87441 h 1146609"/>
                    <a:gd name="connsiteX737" fmla="*/ 623807 w 768684"/>
                    <a:gd name="connsiteY737" fmla="*/ 88826 h 1146609"/>
                    <a:gd name="connsiteX738" fmla="*/ 633740 w 768684"/>
                    <a:gd name="connsiteY738" fmla="*/ 89299 h 1146609"/>
                    <a:gd name="connsiteX739" fmla="*/ 638573 w 768684"/>
                    <a:gd name="connsiteY739" fmla="*/ 88813 h 1146609"/>
                    <a:gd name="connsiteX740" fmla="*/ 643381 w 768684"/>
                    <a:gd name="connsiteY740" fmla="*/ 87551 h 1146609"/>
                    <a:gd name="connsiteX741" fmla="*/ 644644 w 768684"/>
                    <a:gd name="connsiteY741" fmla="*/ 86518 h 1146609"/>
                    <a:gd name="connsiteX742" fmla="*/ 646150 w 768684"/>
                    <a:gd name="connsiteY742" fmla="*/ 84964 h 1146609"/>
                    <a:gd name="connsiteX743" fmla="*/ 649137 w 768684"/>
                    <a:gd name="connsiteY743" fmla="*/ 82681 h 1146609"/>
                    <a:gd name="connsiteX744" fmla="*/ 652768 w 768684"/>
                    <a:gd name="connsiteY744" fmla="*/ 82378 h 1146609"/>
                    <a:gd name="connsiteX745" fmla="*/ 655415 w 768684"/>
                    <a:gd name="connsiteY745" fmla="*/ 82499 h 1146609"/>
                    <a:gd name="connsiteX746" fmla="*/ 659738 w 768684"/>
                    <a:gd name="connsiteY746" fmla="*/ 81236 h 1146609"/>
                    <a:gd name="connsiteX747" fmla="*/ 663563 w 768684"/>
                    <a:gd name="connsiteY747" fmla="*/ 80241 h 1146609"/>
                    <a:gd name="connsiteX748" fmla="*/ 677041 w 768684"/>
                    <a:gd name="connsiteY748" fmla="*/ 89238 h 1146609"/>
                    <a:gd name="connsiteX749" fmla="*/ 682554 w 768684"/>
                    <a:gd name="connsiteY749" fmla="*/ 91946 h 1146609"/>
                    <a:gd name="connsiteX750" fmla="*/ 693398 w 768684"/>
                    <a:gd name="connsiteY750" fmla="*/ 90683 h 1146609"/>
                    <a:gd name="connsiteX751" fmla="*/ 701922 w 768684"/>
                    <a:gd name="connsiteY751" fmla="*/ 91971 h 1146609"/>
                    <a:gd name="connsiteX752" fmla="*/ 709937 w 768684"/>
                    <a:gd name="connsiteY752" fmla="*/ 94812 h 1146609"/>
                    <a:gd name="connsiteX753" fmla="*/ 712074 w 768684"/>
                    <a:gd name="connsiteY753" fmla="*/ 96294 h 1146609"/>
                    <a:gd name="connsiteX754" fmla="*/ 716457 w 768684"/>
                    <a:gd name="connsiteY754" fmla="*/ 99694 h 1146609"/>
                    <a:gd name="connsiteX755" fmla="*/ 717137 w 768684"/>
                    <a:gd name="connsiteY755" fmla="*/ 105401 h 1146609"/>
                    <a:gd name="connsiteX756" fmla="*/ 715170 w 768684"/>
                    <a:gd name="connsiteY756" fmla="*/ 109068 h 1146609"/>
                    <a:gd name="connsiteX757" fmla="*/ 716700 w 768684"/>
                    <a:gd name="connsiteY757" fmla="*/ 109044 h 1146609"/>
                    <a:gd name="connsiteX758" fmla="*/ 722845 w 768684"/>
                    <a:gd name="connsiteY758" fmla="*/ 106397 h 1146609"/>
                    <a:gd name="connsiteX759" fmla="*/ 727592 w 768684"/>
                    <a:gd name="connsiteY759" fmla="*/ 106639 h 1146609"/>
                    <a:gd name="connsiteX760" fmla="*/ 733664 w 768684"/>
                    <a:gd name="connsiteY760" fmla="*/ 109007 h 1146609"/>
                    <a:gd name="connsiteX761" fmla="*/ 738691 w 768684"/>
                    <a:gd name="connsiteY761" fmla="*/ 111157 h 1146609"/>
                    <a:gd name="connsiteX762" fmla="*/ 740938 w 768684"/>
                    <a:gd name="connsiteY762" fmla="*/ 111411 h 1146609"/>
                    <a:gd name="connsiteX763" fmla="*/ 749316 w 768684"/>
                    <a:gd name="connsiteY763" fmla="*/ 111448 h 1146609"/>
                    <a:gd name="connsiteX764" fmla="*/ 750409 w 768684"/>
                    <a:gd name="connsiteY764" fmla="*/ 111703 h 1146609"/>
                    <a:gd name="connsiteX765" fmla="*/ 750531 w 768684"/>
                    <a:gd name="connsiteY765" fmla="*/ 113318 h 1146609"/>
                    <a:gd name="connsiteX766" fmla="*/ 751332 w 768684"/>
                    <a:gd name="connsiteY766" fmla="*/ 113257 h 1146609"/>
                    <a:gd name="connsiteX767" fmla="*/ 751611 w 768684"/>
                    <a:gd name="connsiteY767" fmla="*/ 112541 h 1146609"/>
                    <a:gd name="connsiteX768" fmla="*/ 750798 w 768684"/>
                    <a:gd name="connsiteY768" fmla="*/ 112346 h 1146609"/>
                    <a:gd name="connsiteX769" fmla="*/ 751332 w 768684"/>
                    <a:gd name="connsiteY769" fmla="*/ 109056 h 1146609"/>
                    <a:gd name="connsiteX770" fmla="*/ 751623 w 768684"/>
                    <a:gd name="connsiteY770" fmla="*/ 108230 h 1146609"/>
                    <a:gd name="connsiteX771" fmla="*/ 752656 w 768684"/>
                    <a:gd name="connsiteY771" fmla="*/ 106664 h 1146609"/>
                    <a:gd name="connsiteX772" fmla="*/ 754562 w 768684"/>
                    <a:gd name="connsiteY772" fmla="*/ 105146 h 1146609"/>
                    <a:gd name="connsiteX773" fmla="*/ 756748 w 768684"/>
                    <a:gd name="connsiteY773" fmla="*/ 105304 h 1146609"/>
                    <a:gd name="connsiteX774" fmla="*/ 758314 w 768684"/>
                    <a:gd name="connsiteY774" fmla="*/ 106020 h 1146609"/>
                    <a:gd name="connsiteX775" fmla="*/ 759796 w 768684"/>
                    <a:gd name="connsiteY775" fmla="*/ 107295 h 1146609"/>
                    <a:gd name="connsiteX776" fmla="*/ 760476 w 768684"/>
                    <a:gd name="connsiteY776" fmla="*/ 107137 h 1146609"/>
                    <a:gd name="connsiteX777" fmla="*/ 764131 w 768684"/>
                    <a:gd name="connsiteY777" fmla="*/ 107696 h 1146609"/>
                    <a:gd name="connsiteX778" fmla="*/ 762321 w 768684"/>
                    <a:gd name="connsiteY778" fmla="*/ 112699 h 1146609"/>
                    <a:gd name="connsiteX779" fmla="*/ 765855 w 768684"/>
                    <a:gd name="connsiteY779" fmla="*/ 122741 h 1146609"/>
                    <a:gd name="connsiteX780" fmla="*/ 766753 w 768684"/>
                    <a:gd name="connsiteY780" fmla="*/ 126602 h 1146609"/>
                    <a:gd name="connsiteX781" fmla="*/ 768684 w 768684"/>
                    <a:gd name="connsiteY781" fmla="*/ 148982 h 1146609"/>
                    <a:gd name="connsiteX782" fmla="*/ 765333 w 768684"/>
                    <a:gd name="connsiteY782" fmla="*/ 154361 h 1146609"/>
                    <a:gd name="connsiteX783" fmla="*/ 762297 w 768684"/>
                    <a:gd name="connsiteY783" fmla="*/ 154045 h 1146609"/>
                    <a:gd name="connsiteX784" fmla="*/ 765017 w 768684"/>
                    <a:gd name="connsiteY784" fmla="*/ 155624 h 1146609"/>
                    <a:gd name="connsiteX785" fmla="*/ 762819 w 768684"/>
                    <a:gd name="connsiteY785" fmla="*/ 161708 h 1146609"/>
                    <a:gd name="connsiteX786" fmla="*/ 762006 w 768684"/>
                    <a:gd name="connsiteY786" fmla="*/ 165241 h 1146609"/>
                    <a:gd name="connsiteX787" fmla="*/ 760063 w 768684"/>
                    <a:gd name="connsiteY787" fmla="*/ 179485 h 1146609"/>
                    <a:gd name="connsiteX788" fmla="*/ 759468 w 768684"/>
                    <a:gd name="connsiteY788" fmla="*/ 180578 h 1146609"/>
                    <a:gd name="connsiteX789" fmla="*/ 757938 w 768684"/>
                    <a:gd name="connsiteY789" fmla="*/ 182205 h 1146609"/>
                    <a:gd name="connsiteX790" fmla="*/ 755521 w 768684"/>
                    <a:gd name="connsiteY790" fmla="*/ 183613 h 1146609"/>
                    <a:gd name="connsiteX791" fmla="*/ 754987 w 768684"/>
                    <a:gd name="connsiteY791" fmla="*/ 184026 h 1146609"/>
                    <a:gd name="connsiteX792" fmla="*/ 755679 w 768684"/>
                    <a:gd name="connsiteY792" fmla="*/ 184573 h 1146609"/>
                    <a:gd name="connsiteX793" fmla="*/ 757112 w 768684"/>
                    <a:gd name="connsiteY793" fmla="*/ 186430 h 1146609"/>
                    <a:gd name="connsiteX794" fmla="*/ 757829 w 768684"/>
                    <a:gd name="connsiteY794" fmla="*/ 187450 h 1146609"/>
                    <a:gd name="connsiteX795" fmla="*/ 757124 w 768684"/>
                    <a:gd name="connsiteY795" fmla="*/ 191506 h 1146609"/>
                    <a:gd name="connsiteX796" fmla="*/ 754453 w 768684"/>
                    <a:gd name="connsiteY796" fmla="*/ 192793 h 1146609"/>
                    <a:gd name="connsiteX797" fmla="*/ 751150 w 768684"/>
                    <a:gd name="connsiteY797" fmla="*/ 193850 h 1146609"/>
                    <a:gd name="connsiteX798" fmla="*/ 746900 w 768684"/>
                    <a:gd name="connsiteY798" fmla="*/ 196011 h 1146609"/>
                    <a:gd name="connsiteX799" fmla="*/ 746876 w 768684"/>
                    <a:gd name="connsiteY799" fmla="*/ 196910 h 1146609"/>
                    <a:gd name="connsiteX800" fmla="*/ 743743 w 768684"/>
                    <a:gd name="connsiteY800" fmla="*/ 204438 h 1146609"/>
                    <a:gd name="connsiteX801" fmla="*/ 740051 w 768684"/>
                    <a:gd name="connsiteY801" fmla="*/ 206904 h 1146609"/>
                    <a:gd name="connsiteX802" fmla="*/ 739602 w 768684"/>
                    <a:gd name="connsiteY802" fmla="*/ 207049 h 1146609"/>
                    <a:gd name="connsiteX803" fmla="*/ 740318 w 768684"/>
                    <a:gd name="connsiteY803" fmla="*/ 208009 h 1146609"/>
                    <a:gd name="connsiteX804" fmla="*/ 740585 w 768684"/>
                    <a:gd name="connsiteY804" fmla="*/ 211955 h 1146609"/>
                    <a:gd name="connsiteX805" fmla="*/ 739311 w 768684"/>
                    <a:gd name="connsiteY805" fmla="*/ 214736 h 1146609"/>
                    <a:gd name="connsiteX806" fmla="*/ 737173 w 768684"/>
                    <a:gd name="connsiteY806" fmla="*/ 216314 h 1146609"/>
                    <a:gd name="connsiteX807" fmla="*/ 732680 w 768684"/>
                    <a:gd name="connsiteY807" fmla="*/ 217820 h 1146609"/>
                    <a:gd name="connsiteX808" fmla="*/ 728916 w 768684"/>
                    <a:gd name="connsiteY808" fmla="*/ 219338 h 1146609"/>
                    <a:gd name="connsiteX809" fmla="*/ 719177 w 768684"/>
                    <a:gd name="connsiteY809" fmla="*/ 221475 h 1146609"/>
                    <a:gd name="connsiteX810" fmla="*/ 719432 w 768684"/>
                    <a:gd name="connsiteY810" fmla="*/ 213436 h 1146609"/>
                    <a:gd name="connsiteX811" fmla="*/ 719360 w 768684"/>
                    <a:gd name="connsiteY811" fmla="*/ 213279 h 1146609"/>
                    <a:gd name="connsiteX812" fmla="*/ 718230 w 768684"/>
                    <a:gd name="connsiteY812" fmla="*/ 213072 h 1146609"/>
                    <a:gd name="connsiteX813" fmla="*/ 715802 w 768684"/>
                    <a:gd name="connsiteY813" fmla="*/ 213837 h 1146609"/>
                    <a:gd name="connsiteX814" fmla="*/ 716118 w 768684"/>
                    <a:gd name="connsiteY814" fmla="*/ 218609 h 1146609"/>
                    <a:gd name="connsiteX815" fmla="*/ 717028 w 768684"/>
                    <a:gd name="connsiteY815" fmla="*/ 219909 h 1146609"/>
                    <a:gd name="connsiteX816" fmla="*/ 717514 w 768684"/>
                    <a:gd name="connsiteY816" fmla="*/ 220832 h 1146609"/>
                    <a:gd name="connsiteX817" fmla="*/ 716761 w 768684"/>
                    <a:gd name="connsiteY817" fmla="*/ 225215 h 1146609"/>
                    <a:gd name="connsiteX818" fmla="*/ 713337 w 768684"/>
                    <a:gd name="connsiteY818" fmla="*/ 225239 h 1146609"/>
                    <a:gd name="connsiteX819" fmla="*/ 709475 w 768684"/>
                    <a:gd name="connsiteY819" fmla="*/ 224110 h 1146609"/>
                    <a:gd name="connsiteX820" fmla="*/ 708528 w 768684"/>
                    <a:gd name="connsiteY820" fmla="*/ 225276 h 1146609"/>
                    <a:gd name="connsiteX821" fmla="*/ 708152 w 768684"/>
                    <a:gd name="connsiteY821" fmla="*/ 226308 h 1146609"/>
                    <a:gd name="connsiteX822" fmla="*/ 707909 w 768684"/>
                    <a:gd name="connsiteY822" fmla="*/ 226733 h 1146609"/>
                    <a:gd name="connsiteX823" fmla="*/ 707994 w 768684"/>
                    <a:gd name="connsiteY823" fmla="*/ 226879 h 1146609"/>
                    <a:gd name="connsiteX824" fmla="*/ 710107 w 768684"/>
                    <a:gd name="connsiteY824" fmla="*/ 227899 h 1146609"/>
                    <a:gd name="connsiteX825" fmla="*/ 711770 w 768684"/>
                    <a:gd name="connsiteY825" fmla="*/ 227935 h 1146609"/>
                    <a:gd name="connsiteX826" fmla="*/ 720331 w 768684"/>
                    <a:gd name="connsiteY826" fmla="*/ 228955 h 1146609"/>
                    <a:gd name="connsiteX827" fmla="*/ 713895 w 768684"/>
                    <a:gd name="connsiteY827" fmla="*/ 233630 h 1146609"/>
                    <a:gd name="connsiteX828" fmla="*/ 711212 w 768684"/>
                    <a:gd name="connsiteY828" fmla="*/ 235245 h 1146609"/>
                    <a:gd name="connsiteX829" fmla="*/ 714053 w 768684"/>
                    <a:gd name="connsiteY829" fmla="*/ 235318 h 1146609"/>
                    <a:gd name="connsiteX830" fmla="*/ 717004 w 768684"/>
                    <a:gd name="connsiteY830" fmla="*/ 240673 h 1146609"/>
                    <a:gd name="connsiteX831" fmla="*/ 714721 w 768684"/>
                    <a:gd name="connsiteY831" fmla="*/ 245579 h 1146609"/>
                    <a:gd name="connsiteX832" fmla="*/ 713932 w 768684"/>
                    <a:gd name="connsiteY832" fmla="*/ 246562 h 1146609"/>
                    <a:gd name="connsiteX833" fmla="*/ 706512 w 768684"/>
                    <a:gd name="connsiteY833" fmla="*/ 252573 h 1146609"/>
                    <a:gd name="connsiteX834" fmla="*/ 705165 w 768684"/>
                    <a:gd name="connsiteY834" fmla="*/ 257127 h 1146609"/>
                    <a:gd name="connsiteX835" fmla="*/ 705407 w 768684"/>
                    <a:gd name="connsiteY835" fmla="*/ 257370 h 1146609"/>
                    <a:gd name="connsiteX836" fmla="*/ 705529 w 768684"/>
                    <a:gd name="connsiteY836" fmla="*/ 258730 h 1146609"/>
                    <a:gd name="connsiteX837" fmla="*/ 704813 w 768684"/>
                    <a:gd name="connsiteY837" fmla="*/ 262834 h 1146609"/>
                    <a:gd name="connsiteX838" fmla="*/ 702238 w 768684"/>
                    <a:gd name="connsiteY838" fmla="*/ 266100 h 1146609"/>
                    <a:gd name="connsiteX839" fmla="*/ 697624 w 768684"/>
                    <a:gd name="connsiteY839" fmla="*/ 267060 h 1146609"/>
                    <a:gd name="connsiteX840" fmla="*/ 694212 w 768684"/>
                    <a:gd name="connsiteY840" fmla="*/ 265299 h 1146609"/>
                    <a:gd name="connsiteX841" fmla="*/ 692123 w 768684"/>
                    <a:gd name="connsiteY841" fmla="*/ 262640 h 1146609"/>
                    <a:gd name="connsiteX842" fmla="*/ 689257 w 768684"/>
                    <a:gd name="connsiteY842" fmla="*/ 257795 h 1146609"/>
                    <a:gd name="connsiteX843" fmla="*/ 690241 w 768684"/>
                    <a:gd name="connsiteY843" fmla="*/ 257224 h 1146609"/>
                    <a:gd name="connsiteX844" fmla="*/ 690022 w 768684"/>
                    <a:gd name="connsiteY844" fmla="*/ 255548 h 1146609"/>
                    <a:gd name="connsiteX845" fmla="*/ 688735 w 768684"/>
                    <a:gd name="connsiteY845" fmla="*/ 258438 h 1146609"/>
                    <a:gd name="connsiteX846" fmla="*/ 678814 w 768684"/>
                    <a:gd name="connsiteY846" fmla="*/ 259337 h 1146609"/>
                    <a:gd name="connsiteX847" fmla="*/ 676605 w 768684"/>
                    <a:gd name="connsiteY847" fmla="*/ 259750 h 1146609"/>
                    <a:gd name="connsiteX848" fmla="*/ 674892 w 768684"/>
                    <a:gd name="connsiteY848" fmla="*/ 259410 h 1146609"/>
                    <a:gd name="connsiteX849" fmla="*/ 674091 w 768684"/>
                    <a:gd name="connsiteY849" fmla="*/ 259070 h 1146609"/>
                    <a:gd name="connsiteX850" fmla="*/ 672743 w 768684"/>
                    <a:gd name="connsiteY850" fmla="*/ 257977 h 1146609"/>
                    <a:gd name="connsiteX851" fmla="*/ 671031 w 768684"/>
                    <a:gd name="connsiteY851" fmla="*/ 255512 h 1146609"/>
                    <a:gd name="connsiteX852" fmla="*/ 669926 w 768684"/>
                    <a:gd name="connsiteY852" fmla="*/ 256471 h 1146609"/>
                    <a:gd name="connsiteX853" fmla="*/ 665530 w 768684"/>
                    <a:gd name="connsiteY853" fmla="*/ 259021 h 1146609"/>
                    <a:gd name="connsiteX854" fmla="*/ 661499 w 768684"/>
                    <a:gd name="connsiteY854" fmla="*/ 258572 h 1146609"/>
                    <a:gd name="connsiteX855" fmla="*/ 656836 w 768684"/>
                    <a:gd name="connsiteY855" fmla="*/ 256677 h 1146609"/>
                    <a:gd name="connsiteX856" fmla="*/ 652974 w 768684"/>
                    <a:gd name="connsiteY856" fmla="*/ 254140 h 1146609"/>
                    <a:gd name="connsiteX857" fmla="*/ 648372 w 768684"/>
                    <a:gd name="connsiteY857" fmla="*/ 249076 h 1146609"/>
                    <a:gd name="connsiteX858" fmla="*/ 641669 w 768684"/>
                    <a:gd name="connsiteY858" fmla="*/ 246125 h 1146609"/>
                    <a:gd name="connsiteX859" fmla="*/ 639253 w 768684"/>
                    <a:gd name="connsiteY859" fmla="*/ 243260 h 1146609"/>
                    <a:gd name="connsiteX860" fmla="*/ 637917 w 768684"/>
                    <a:gd name="connsiteY860" fmla="*/ 238754 h 1146609"/>
                    <a:gd name="connsiteX861" fmla="*/ 636496 w 768684"/>
                    <a:gd name="connsiteY861" fmla="*/ 237273 h 1146609"/>
                    <a:gd name="connsiteX862" fmla="*/ 634469 w 768684"/>
                    <a:gd name="connsiteY862" fmla="*/ 236229 h 1146609"/>
                    <a:gd name="connsiteX863" fmla="*/ 621876 w 768684"/>
                    <a:gd name="connsiteY863" fmla="*/ 230959 h 1146609"/>
                    <a:gd name="connsiteX864" fmla="*/ 619326 w 768684"/>
                    <a:gd name="connsiteY864" fmla="*/ 228166 h 1146609"/>
                    <a:gd name="connsiteX865" fmla="*/ 618488 w 768684"/>
                    <a:gd name="connsiteY865" fmla="*/ 226927 h 1146609"/>
                    <a:gd name="connsiteX866" fmla="*/ 617116 w 768684"/>
                    <a:gd name="connsiteY866" fmla="*/ 223333 h 1146609"/>
                    <a:gd name="connsiteX867" fmla="*/ 615380 w 768684"/>
                    <a:gd name="connsiteY867" fmla="*/ 210437 h 1146609"/>
                    <a:gd name="connsiteX868" fmla="*/ 614190 w 768684"/>
                    <a:gd name="connsiteY868" fmla="*/ 208130 h 1146609"/>
                    <a:gd name="connsiteX869" fmla="*/ 610474 w 768684"/>
                    <a:gd name="connsiteY869" fmla="*/ 202180 h 1146609"/>
                    <a:gd name="connsiteX870" fmla="*/ 609162 w 768684"/>
                    <a:gd name="connsiteY870" fmla="*/ 198634 h 1146609"/>
                    <a:gd name="connsiteX871" fmla="*/ 608859 w 768684"/>
                    <a:gd name="connsiteY871" fmla="*/ 192344 h 1146609"/>
                    <a:gd name="connsiteX872" fmla="*/ 608798 w 768684"/>
                    <a:gd name="connsiteY872" fmla="*/ 189624 h 1146609"/>
                    <a:gd name="connsiteX873" fmla="*/ 610547 w 768684"/>
                    <a:gd name="connsiteY873" fmla="*/ 189321 h 1146609"/>
                    <a:gd name="connsiteX874" fmla="*/ 606649 w 768684"/>
                    <a:gd name="connsiteY874" fmla="*/ 187827 h 1146609"/>
                    <a:gd name="connsiteX875" fmla="*/ 606005 w 768684"/>
                    <a:gd name="connsiteY875" fmla="*/ 184014 h 1146609"/>
                    <a:gd name="connsiteX876" fmla="*/ 606491 w 768684"/>
                    <a:gd name="connsiteY876" fmla="*/ 182533 h 1146609"/>
                    <a:gd name="connsiteX877" fmla="*/ 606272 w 768684"/>
                    <a:gd name="connsiteY877" fmla="*/ 181926 h 1146609"/>
                    <a:gd name="connsiteX878" fmla="*/ 605811 w 768684"/>
                    <a:gd name="connsiteY878" fmla="*/ 181573 h 1146609"/>
                    <a:gd name="connsiteX879" fmla="*/ 601901 w 768684"/>
                    <a:gd name="connsiteY879" fmla="*/ 180578 h 1146609"/>
                    <a:gd name="connsiteX880" fmla="*/ 599497 w 768684"/>
                    <a:gd name="connsiteY880" fmla="*/ 179618 h 1146609"/>
                    <a:gd name="connsiteX881" fmla="*/ 597384 w 768684"/>
                    <a:gd name="connsiteY881" fmla="*/ 177894 h 1146609"/>
                    <a:gd name="connsiteX882" fmla="*/ 594980 w 768684"/>
                    <a:gd name="connsiteY882" fmla="*/ 175344 h 1146609"/>
                    <a:gd name="connsiteX883" fmla="*/ 591604 w 768684"/>
                    <a:gd name="connsiteY883" fmla="*/ 173146 h 1146609"/>
                    <a:gd name="connsiteX884" fmla="*/ 589564 w 768684"/>
                    <a:gd name="connsiteY884" fmla="*/ 171689 h 1146609"/>
                    <a:gd name="connsiteX885" fmla="*/ 588095 w 768684"/>
                    <a:gd name="connsiteY885" fmla="*/ 170317 h 1146609"/>
                    <a:gd name="connsiteX886" fmla="*/ 586176 w 768684"/>
                    <a:gd name="connsiteY886" fmla="*/ 171264 h 1146609"/>
                    <a:gd name="connsiteX887" fmla="*/ 585533 w 768684"/>
                    <a:gd name="connsiteY887" fmla="*/ 172041 h 1146609"/>
                    <a:gd name="connsiteX888" fmla="*/ 584537 w 768684"/>
                    <a:gd name="connsiteY888" fmla="*/ 172952 h 1146609"/>
                    <a:gd name="connsiteX889" fmla="*/ 582618 w 768684"/>
                    <a:gd name="connsiteY889" fmla="*/ 175818 h 1146609"/>
                    <a:gd name="connsiteX890" fmla="*/ 581634 w 768684"/>
                    <a:gd name="connsiteY890" fmla="*/ 178356 h 1146609"/>
                    <a:gd name="connsiteX891" fmla="*/ 581683 w 768684"/>
                    <a:gd name="connsiteY891" fmla="*/ 179983 h 1146609"/>
                    <a:gd name="connsiteX892" fmla="*/ 584209 w 768684"/>
                    <a:gd name="connsiteY892" fmla="*/ 182606 h 1146609"/>
                    <a:gd name="connsiteX893" fmla="*/ 588896 w 768684"/>
                    <a:gd name="connsiteY893" fmla="*/ 184148 h 1146609"/>
                    <a:gd name="connsiteX894" fmla="*/ 595125 w 768684"/>
                    <a:gd name="connsiteY894" fmla="*/ 187208 h 1146609"/>
                    <a:gd name="connsiteX895" fmla="*/ 597226 w 768684"/>
                    <a:gd name="connsiteY895" fmla="*/ 194032 h 1146609"/>
                    <a:gd name="connsiteX896" fmla="*/ 598040 w 768684"/>
                    <a:gd name="connsiteY896" fmla="*/ 193826 h 1146609"/>
                    <a:gd name="connsiteX897" fmla="*/ 598222 w 768684"/>
                    <a:gd name="connsiteY897" fmla="*/ 193498 h 1146609"/>
                    <a:gd name="connsiteX898" fmla="*/ 603965 w 768684"/>
                    <a:gd name="connsiteY898" fmla="*/ 189697 h 1146609"/>
                    <a:gd name="connsiteX899" fmla="*/ 603468 w 768684"/>
                    <a:gd name="connsiteY899" fmla="*/ 196121 h 1146609"/>
                    <a:gd name="connsiteX900" fmla="*/ 603164 w 768684"/>
                    <a:gd name="connsiteY900" fmla="*/ 198064 h 1146609"/>
                    <a:gd name="connsiteX901" fmla="*/ 607900 w 768684"/>
                    <a:gd name="connsiteY901" fmla="*/ 199521 h 1146609"/>
                    <a:gd name="connsiteX902" fmla="*/ 609964 w 768684"/>
                    <a:gd name="connsiteY902" fmla="*/ 206964 h 1146609"/>
                    <a:gd name="connsiteX903" fmla="*/ 604366 w 768684"/>
                    <a:gd name="connsiteY903" fmla="*/ 210753 h 1146609"/>
                    <a:gd name="connsiteX904" fmla="*/ 594275 w 768684"/>
                    <a:gd name="connsiteY904" fmla="*/ 213424 h 1146609"/>
                    <a:gd name="connsiteX905" fmla="*/ 587463 w 768684"/>
                    <a:gd name="connsiteY905" fmla="*/ 211214 h 1146609"/>
                    <a:gd name="connsiteX906" fmla="*/ 579279 w 768684"/>
                    <a:gd name="connsiteY906" fmla="*/ 203333 h 1146609"/>
                    <a:gd name="connsiteX907" fmla="*/ 576328 w 768684"/>
                    <a:gd name="connsiteY907" fmla="*/ 202824 h 1146609"/>
                    <a:gd name="connsiteX908" fmla="*/ 574373 w 768684"/>
                    <a:gd name="connsiteY908" fmla="*/ 204111 h 1146609"/>
                    <a:gd name="connsiteX909" fmla="*/ 571410 w 768684"/>
                    <a:gd name="connsiteY909" fmla="*/ 211117 h 1146609"/>
                    <a:gd name="connsiteX910" fmla="*/ 566031 w 768684"/>
                    <a:gd name="connsiteY910" fmla="*/ 213121 h 1146609"/>
                    <a:gd name="connsiteX911" fmla="*/ 560919 w 768684"/>
                    <a:gd name="connsiteY911" fmla="*/ 210850 h 1146609"/>
                    <a:gd name="connsiteX912" fmla="*/ 558636 w 768684"/>
                    <a:gd name="connsiteY912" fmla="*/ 207207 h 1146609"/>
                    <a:gd name="connsiteX913" fmla="*/ 557130 w 768684"/>
                    <a:gd name="connsiteY913" fmla="*/ 203200 h 1146609"/>
                    <a:gd name="connsiteX914" fmla="*/ 556304 w 768684"/>
                    <a:gd name="connsiteY914" fmla="*/ 201536 h 1146609"/>
                    <a:gd name="connsiteX915" fmla="*/ 551714 w 768684"/>
                    <a:gd name="connsiteY915" fmla="*/ 199812 h 1146609"/>
                    <a:gd name="connsiteX916" fmla="*/ 535431 w 768684"/>
                    <a:gd name="connsiteY916" fmla="*/ 205629 h 1146609"/>
                    <a:gd name="connsiteX917" fmla="*/ 527829 w 768684"/>
                    <a:gd name="connsiteY917" fmla="*/ 200273 h 1146609"/>
                    <a:gd name="connsiteX918" fmla="*/ 531836 w 768684"/>
                    <a:gd name="connsiteY918" fmla="*/ 196327 h 1146609"/>
                    <a:gd name="connsiteX919" fmla="*/ 532650 w 768684"/>
                    <a:gd name="connsiteY919" fmla="*/ 195756 h 1146609"/>
                    <a:gd name="connsiteX920" fmla="*/ 539547 w 768684"/>
                    <a:gd name="connsiteY920" fmla="*/ 192393 h 1146609"/>
                    <a:gd name="connsiteX921" fmla="*/ 540785 w 768684"/>
                    <a:gd name="connsiteY921" fmla="*/ 191288 h 1146609"/>
                    <a:gd name="connsiteX922" fmla="*/ 541854 w 768684"/>
                    <a:gd name="connsiteY922" fmla="*/ 189005 h 1146609"/>
                    <a:gd name="connsiteX923" fmla="*/ 541781 w 768684"/>
                    <a:gd name="connsiteY923" fmla="*/ 188604 h 1146609"/>
                    <a:gd name="connsiteX924" fmla="*/ 540191 w 768684"/>
                    <a:gd name="connsiteY924" fmla="*/ 187402 h 1146609"/>
                    <a:gd name="connsiteX925" fmla="*/ 535698 w 768684"/>
                    <a:gd name="connsiteY925" fmla="*/ 185289 h 1146609"/>
                    <a:gd name="connsiteX926" fmla="*/ 534654 w 768684"/>
                    <a:gd name="connsiteY926" fmla="*/ 183832 h 1146609"/>
                    <a:gd name="connsiteX927" fmla="*/ 533597 w 768684"/>
                    <a:gd name="connsiteY927" fmla="*/ 181258 h 1146609"/>
                    <a:gd name="connsiteX928" fmla="*/ 533670 w 768684"/>
                    <a:gd name="connsiteY928" fmla="*/ 179813 h 1146609"/>
                    <a:gd name="connsiteX929" fmla="*/ 531302 w 768684"/>
                    <a:gd name="connsiteY929" fmla="*/ 179096 h 1146609"/>
                    <a:gd name="connsiteX930" fmla="*/ 530282 w 768684"/>
                    <a:gd name="connsiteY930" fmla="*/ 175636 h 1146609"/>
                    <a:gd name="connsiteX931" fmla="*/ 530501 w 768684"/>
                    <a:gd name="connsiteY931" fmla="*/ 174130 h 1146609"/>
                    <a:gd name="connsiteX932" fmla="*/ 529177 w 768684"/>
                    <a:gd name="connsiteY932" fmla="*/ 173826 h 1146609"/>
                    <a:gd name="connsiteX933" fmla="*/ 526918 w 768684"/>
                    <a:gd name="connsiteY933" fmla="*/ 172818 h 1146609"/>
                    <a:gd name="connsiteX934" fmla="*/ 524514 w 768684"/>
                    <a:gd name="connsiteY934" fmla="*/ 171325 h 1146609"/>
                    <a:gd name="connsiteX935" fmla="*/ 522268 w 768684"/>
                    <a:gd name="connsiteY935" fmla="*/ 168787 h 1146609"/>
                    <a:gd name="connsiteX936" fmla="*/ 520835 w 768684"/>
                    <a:gd name="connsiteY936" fmla="*/ 165909 h 1146609"/>
                    <a:gd name="connsiteX937" fmla="*/ 520301 w 768684"/>
                    <a:gd name="connsiteY937" fmla="*/ 165108 h 1146609"/>
                    <a:gd name="connsiteX938" fmla="*/ 519135 w 768684"/>
                    <a:gd name="connsiteY938" fmla="*/ 164598 h 1146609"/>
                    <a:gd name="connsiteX939" fmla="*/ 515905 w 768684"/>
                    <a:gd name="connsiteY939" fmla="*/ 164792 h 1146609"/>
                    <a:gd name="connsiteX940" fmla="*/ 514569 w 768684"/>
                    <a:gd name="connsiteY940" fmla="*/ 164646 h 1146609"/>
                    <a:gd name="connsiteX941" fmla="*/ 512068 w 768684"/>
                    <a:gd name="connsiteY941" fmla="*/ 163845 h 1146609"/>
                    <a:gd name="connsiteX942" fmla="*/ 509105 w 768684"/>
                    <a:gd name="connsiteY942" fmla="*/ 162606 h 1146609"/>
                    <a:gd name="connsiteX943" fmla="*/ 504587 w 768684"/>
                    <a:gd name="connsiteY943" fmla="*/ 159765 h 1146609"/>
                    <a:gd name="connsiteX944" fmla="*/ 500726 w 768684"/>
                    <a:gd name="connsiteY944" fmla="*/ 155806 h 1146609"/>
                    <a:gd name="connsiteX945" fmla="*/ 498722 w 768684"/>
                    <a:gd name="connsiteY945" fmla="*/ 154215 h 1146609"/>
                    <a:gd name="connsiteX946" fmla="*/ 496343 w 768684"/>
                    <a:gd name="connsiteY946" fmla="*/ 151593 h 1146609"/>
                    <a:gd name="connsiteX947" fmla="*/ 494072 w 768684"/>
                    <a:gd name="connsiteY947" fmla="*/ 150573 h 1146609"/>
                    <a:gd name="connsiteX948" fmla="*/ 486847 w 768684"/>
                    <a:gd name="connsiteY948" fmla="*/ 148496 h 1146609"/>
                    <a:gd name="connsiteX949" fmla="*/ 483143 w 768684"/>
                    <a:gd name="connsiteY949" fmla="*/ 144428 h 1146609"/>
                    <a:gd name="connsiteX950" fmla="*/ 482512 w 768684"/>
                    <a:gd name="connsiteY950" fmla="*/ 139510 h 1146609"/>
                    <a:gd name="connsiteX951" fmla="*/ 482597 w 768684"/>
                    <a:gd name="connsiteY951" fmla="*/ 136098 h 1146609"/>
                    <a:gd name="connsiteX952" fmla="*/ 481613 w 768684"/>
                    <a:gd name="connsiteY952" fmla="*/ 137774 h 1146609"/>
                    <a:gd name="connsiteX953" fmla="*/ 480314 w 768684"/>
                    <a:gd name="connsiteY953" fmla="*/ 140421 h 1146609"/>
                    <a:gd name="connsiteX954" fmla="*/ 476659 w 768684"/>
                    <a:gd name="connsiteY954" fmla="*/ 152807 h 1146609"/>
                    <a:gd name="connsiteX955" fmla="*/ 475359 w 768684"/>
                    <a:gd name="connsiteY955" fmla="*/ 155162 h 1146609"/>
                    <a:gd name="connsiteX956" fmla="*/ 476938 w 768684"/>
                    <a:gd name="connsiteY956" fmla="*/ 155005 h 1146609"/>
                    <a:gd name="connsiteX957" fmla="*/ 478966 w 768684"/>
                    <a:gd name="connsiteY957" fmla="*/ 155211 h 1146609"/>
                    <a:gd name="connsiteX958" fmla="*/ 483325 w 768684"/>
                    <a:gd name="connsiteY958" fmla="*/ 157081 h 1146609"/>
                    <a:gd name="connsiteX959" fmla="*/ 493489 w 768684"/>
                    <a:gd name="connsiteY959" fmla="*/ 158915 h 1146609"/>
                    <a:gd name="connsiteX960" fmla="*/ 500034 w 768684"/>
                    <a:gd name="connsiteY960" fmla="*/ 161780 h 1146609"/>
                    <a:gd name="connsiteX961" fmla="*/ 503227 w 768684"/>
                    <a:gd name="connsiteY961" fmla="*/ 166978 h 1146609"/>
                    <a:gd name="connsiteX962" fmla="*/ 505377 w 768684"/>
                    <a:gd name="connsiteY962" fmla="*/ 173001 h 1146609"/>
                    <a:gd name="connsiteX963" fmla="*/ 507223 w 768684"/>
                    <a:gd name="connsiteY963" fmla="*/ 178441 h 1146609"/>
                    <a:gd name="connsiteX964" fmla="*/ 508085 w 768684"/>
                    <a:gd name="connsiteY964" fmla="*/ 188082 h 1146609"/>
                    <a:gd name="connsiteX965" fmla="*/ 500180 w 768684"/>
                    <a:gd name="connsiteY965" fmla="*/ 186880 h 1146609"/>
                    <a:gd name="connsiteX966" fmla="*/ 498638 w 768684"/>
                    <a:gd name="connsiteY966" fmla="*/ 187353 h 1146609"/>
                    <a:gd name="connsiteX967" fmla="*/ 497229 w 768684"/>
                    <a:gd name="connsiteY967" fmla="*/ 187487 h 1146609"/>
                    <a:gd name="connsiteX968" fmla="*/ 495456 w 768684"/>
                    <a:gd name="connsiteY968" fmla="*/ 187414 h 1146609"/>
                    <a:gd name="connsiteX969" fmla="*/ 493209 w 768684"/>
                    <a:gd name="connsiteY969" fmla="*/ 186625 h 1146609"/>
                    <a:gd name="connsiteX970" fmla="*/ 493052 w 768684"/>
                    <a:gd name="connsiteY970" fmla="*/ 186977 h 1146609"/>
                    <a:gd name="connsiteX971" fmla="*/ 491327 w 768684"/>
                    <a:gd name="connsiteY971" fmla="*/ 189005 h 1146609"/>
                    <a:gd name="connsiteX972" fmla="*/ 484539 w 768684"/>
                    <a:gd name="connsiteY972" fmla="*/ 193340 h 1146609"/>
                    <a:gd name="connsiteX973" fmla="*/ 481819 w 768684"/>
                    <a:gd name="connsiteY973" fmla="*/ 195004 h 1146609"/>
                    <a:gd name="connsiteX974" fmla="*/ 479427 w 768684"/>
                    <a:gd name="connsiteY974" fmla="*/ 197201 h 1146609"/>
                    <a:gd name="connsiteX975" fmla="*/ 478966 w 768684"/>
                    <a:gd name="connsiteY975" fmla="*/ 197942 h 1146609"/>
                    <a:gd name="connsiteX976" fmla="*/ 477351 w 768684"/>
                    <a:gd name="connsiteY976" fmla="*/ 200079 h 1146609"/>
                    <a:gd name="connsiteX977" fmla="*/ 476805 w 768684"/>
                    <a:gd name="connsiteY977" fmla="*/ 202386 h 1146609"/>
                    <a:gd name="connsiteX978" fmla="*/ 477266 w 768684"/>
                    <a:gd name="connsiteY978" fmla="*/ 209538 h 1146609"/>
                    <a:gd name="connsiteX979" fmla="*/ 476877 w 768684"/>
                    <a:gd name="connsiteY979" fmla="*/ 210449 h 1146609"/>
                    <a:gd name="connsiteX980" fmla="*/ 474874 w 768684"/>
                    <a:gd name="connsiteY980" fmla="*/ 214165 h 1146609"/>
                    <a:gd name="connsiteX981" fmla="*/ 470879 w 768684"/>
                    <a:gd name="connsiteY981" fmla="*/ 216581 h 1146609"/>
                    <a:gd name="connsiteX982" fmla="*/ 459306 w 768684"/>
                    <a:gd name="connsiteY982" fmla="*/ 220479 h 1146609"/>
                    <a:gd name="connsiteX983" fmla="*/ 455129 w 768684"/>
                    <a:gd name="connsiteY983" fmla="*/ 221366 h 1146609"/>
                    <a:gd name="connsiteX984" fmla="*/ 453296 w 768684"/>
                    <a:gd name="connsiteY984" fmla="*/ 222629 h 1146609"/>
                    <a:gd name="connsiteX985" fmla="*/ 451960 w 768684"/>
                    <a:gd name="connsiteY985" fmla="*/ 224256 h 1146609"/>
                    <a:gd name="connsiteX986" fmla="*/ 449956 w 768684"/>
                    <a:gd name="connsiteY986" fmla="*/ 225883 h 1146609"/>
                    <a:gd name="connsiteX987" fmla="*/ 444322 w 768684"/>
                    <a:gd name="connsiteY987" fmla="*/ 229368 h 1146609"/>
                    <a:gd name="connsiteX988" fmla="*/ 443132 w 768684"/>
                    <a:gd name="connsiteY988" fmla="*/ 231214 h 1146609"/>
                    <a:gd name="connsiteX989" fmla="*/ 441408 w 768684"/>
                    <a:gd name="connsiteY989" fmla="*/ 237018 h 1146609"/>
                    <a:gd name="connsiteX990" fmla="*/ 437935 w 768684"/>
                    <a:gd name="connsiteY990" fmla="*/ 237176 h 1146609"/>
                    <a:gd name="connsiteX991" fmla="*/ 440096 w 768684"/>
                    <a:gd name="connsiteY991" fmla="*/ 238633 h 1146609"/>
                    <a:gd name="connsiteX992" fmla="*/ 440363 w 768684"/>
                    <a:gd name="connsiteY992" fmla="*/ 238439 h 1146609"/>
                    <a:gd name="connsiteX993" fmla="*/ 440679 w 768684"/>
                    <a:gd name="connsiteY993" fmla="*/ 238645 h 1146609"/>
                    <a:gd name="connsiteX994" fmla="*/ 441942 w 768684"/>
                    <a:gd name="connsiteY994" fmla="*/ 239835 h 1146609"/>
                    <a:gd name="connsiteX995" fmla="*/ 443666 w 768684"/>
                    <a:gd name="connsiteY995" fmla="*/ 241669 h 1146609"/>
                    <a:gd name="connsiteX996" fmla="*/ 444140 w 768684"/>
                    <a:gd name="connsiteY996" fmla="*/ 245518 h 1146609"/>
                    <a:gd name="connsiteX997" fmla="*/ 442306 w 768684"/>
                    <a:gd name="connsiteY997" fmla="*/ 250897 h 1146609"/>
                    <a:gd name="connsiteX998" fmla="*/ 437376 w 768684"/>
                    <a:gd name="connsiteY998" fmla="*/ 254637 h 1146609"/>
                    <a:gd name="connsiteX999" fmla="*/ 434073 w 768684"/>
                    <a:gd name="connsiteY999" fmla="*/ 260794 h 1146609"/>
                    <a:gd name="connsiteX1000" fmla="*/ 430783 w 768684"/>
                    <a:gd name="connsiteY1000" fmla="*/ 271625 h 1146609"/>
                    <a:gd name="connsiteX1001" fmla="*/ 430236 w 768684"/>
                    <a:gd name="connsiteY1001" fmla="*/ 272694 h 1146609"/>
                    <a:gd name="connsiteX1002" fmla="*/ 429107 w 768684"/>
                    <a:gd name="connsiteY1002" fmla="*/ 274382 h 1146609"/>
                    <a:gd name="connsiteX1003" fmla="*/ 428597 w 768684"/>
                    <a:gd name="connsiteY1003" fmla="*/ 274710 h 1146609"/>
                    <a:gd name="connsiteX1004" fmla="*/ 429811 w 768684"/>
                    <a:gd name="connsiteY1004" fmla="*/ 282153 h 1146609"/>
                    <a:gd name="connsiteX1005" fmla="*/ 431184 w 768684"/>
                    <a:gd name="connsiteY1005" fmla="*/ 285201 h 1146609"/>
                    <a:gd name="connsiteX1006" fmla="*/ 430856 w 768684"/>
                    <a:gd name="connsiteY1006" fmla="*/ 287994 h 1146609"/>
                    <a:gd name="connsiteX1007" fmla="*/ 433041 w 768684"/>
                    <a:gd name="connsiteY1007" fmla="*/ 290411 h 1146609"/>
                    <a:gd name="connsiteX1008" fmla="*/ 434377 w 768684"/>
                    <a:gd name="connsiteY1008" fmla="*/ 292718 h 1146609"/>
                    <a:gd name="connsiteX1009" fmla="*/ 435616 w 768684"/>
                    <a:gd name="connsiteY1009" fmla="*/ 296361 h 1146609"/>
                    <a:gd name="connsiteX1010" fmla="*/ 436587 w 768684"/>
                    <a:gd name="connsiteY1010" fmla="*/ 297344 h 1146609"/>
                    <a:gd name="connsiteX1011" fmla="*/ 438736 w 768684"/>
                    <a:gd name="connsiteY1011" fmla="*/ 297247 h 1146609"/>
                    <a:gd name="connsiteX1012" fmla="*/ 441420 w 768684"/>
                    <a:gd name="connsiteY1012" fmla="*/ 295899 h 1146609"/>
                    <a:gd name="connsiteX1013" fmla="*/ 444213 w 768684"/>
                    <a:gd name="connsiteY1013" fmla="*/ 294272 h 1146609"/>
                    <a:gd name="connsiteX1014" fmla="*/ 454401 w 768684"/>
                    <a:gd name="connsiteY1014" fmla="*/ 291321 h 1146609"/>
                    <a:gd name="connsiteX1015" fmla="*/ 461541 w 768684"/>
                    <a:gd name="connsiteY1015" fmla="*/ 294879 h 1146609"/>
                    <a:gd name="connsiteX1016" fmla="*/ 468122 w 768684"/>
                    <a:gd name="connsiteY1016" fmla="*/ 301971 h 1146609"/>
                    <a:gd name="connsiteX1017" fmla="*/ 473769 w 768684"/>
                    <a:gd name="connsiteY1017" fmla="*/ 308358 h 1146609"/>
                    <a:gd name="connsiteX1018" fmla="*/ 486774 w 768684"/>
                    <a:gd name="connsiteY1018" fmla="*/ 316761 h 1146609"/>
                    <a:gd name="connsiteX1019" fmla="*/ 493052 w 768684"/>
                    <a:gd name="connsiteY1019" fmla="*/ 323415 h 1146609"/>
                    <a:gd name="connsiteX1020" fmla="*/ 493865 w 768684"/>
                    <a:gd name="connsiteY1020" fmla="*/ 335619 h 1146609"/>
                    <a:gd name="connsiteX1021" fmla="*/ 495638 w 768684"/>
                    <a:gd name="connsiteY1021" fmla="*/ 337319 h 1146609"/>
                    <a:gd name="connsiteX1022" fmla="*/ 502912 w 768684"/>
                    <a:gd name="connsiteY1022" fmla="*/ 340682 h 1146609"/>
                    <a:gd name="connsiteX1023" fmla="*/ 504928 w 768684"/>
                    <a:gd name="connsiteY1023" fmla="*/ 344957 h 1146609"/>
                    <a:gd name="connsiteX1024" fmla="*/ 510015 w 768684"/>
                    <a:gd name="connsiteY1024" fmla="*/ 348733 h 1146609"/>
                    <a:gd name="connsiteX1025" fmla="*/ 511776 w 768684"/>
                    <a:gd name="connsiteY1025" fmla="*/ 352255 h 1146609"/>
                    <a:gd name="connsiteX1026" fmla="*/ 512201 w 768684"/>
                    <a:gd name="connsiteY1026" fmla="*/ 352619 h 1146609"/>
                    <a:gd name="connsiteX1027" fmla="*/ 515334 w 768684"/>
                    <a:gd name="connsiteY1027" fmla="*/ 353226 h 1146609"/>
                    <a:gd name="connsiteX1028" fmla="*/ 523518 w 768684"/>
                    <a:gd name="connsiteY1028" fmla="*/ 353445 h 1146609"/>
                    <a:gd name="connsiteX1029" fmla="*/ 527610 w 768684"/>
                    <a:gd name="connsiteY1029" fmla="*/ 355400 h 1146609"/>
                    <a:gd name="connsiteX1030" fmla="*/ 534107 w 768684"/>
                    <a:gd name="connsiteY1030" fmla="*/ 359467 h 1146609"/>
                    <a:gd name="connsiteX1031" fmla="*/ 536232 w 768684"/>
                    <a:gd name="connsiteY1031" fmla="*/ 359807 h 1146609"/>
                    <a:gd name="connsiteX1032" fmla="*/ 537082 w 768684"/>
                    <a:gd name="connsiteY1032" fmla="*/ 359577 h 1146609"/>
                    <a:gd name="connsiteX1033" fmla="*/ 538199 w 768684"/>
                    <a:gd name="connsiteY1033" fmla="*/ 358508 h 1146609"/>
                    <a:gd name="connsiteX1034" fmla="*/ 539219 w 768684"/>
                    <a:gd name="connsiteY1034" fmla="*/ 357245 h 1146609"/>
                    <a:gd name="connsiteX1035" fmla="*/ 540713 w 768684"/>
                    <a:gd name="connsiteY1035" fmla="*/ 355788 h 1146609"/>
                    <a:gd name="connsiteX1036" fmla="*/ 542571 w 768684"/>
                    <a:gd name="connsiteY1036" fmla="*/ 354258 h 1146609"/>
                    <a:gd name="connsiteX1037" fmla="*/ 544878 w 768684"/>
                    <a:gd name="connsiteY1037" fmla="*/ 353906 h 1146609"/>
                    <a:gd name="connsiteX1038" fmla="*/ 547574 w 768684"/>
                    <a:gd name="connsiteY1038" fmla="*/ 354197 h 1146609"/>
                    <a:gd name="connsiteX1039" fmla="*/ 547379 w 768684"/>
                    <a:gd name="connsiteY1039" fmla="*/ 348466 h 1146609"/>
                    <a:gd name="connsiteX1040" fmla="*/ 557373 w 768684"/>
                    <a:gd name="connsiteY1040" fmla="*/ 352255 h 1146609"/>
                    <a:gd name="connsiteX1041" fmla="*/ 559850 w 768684"/>
                    <a:gd name="connsiteY1041" fmla="*/ 354125 h 1146609"/>
                    <a:gd name="connsiteX1042" fmla="*/ 561951 w 768684"/>
                    <a:gd name="connsiteY1042" fmla="*/ 356517 h 1146609"/>
                    <a:gd name="connsiteX1043" fmla="*/ 564537 w 768684"/>
                    <a:gd name="connsiteY1043" fmla="*/ 358848 h 1146609"/>
                    <a:gd name="connsiteX1044" fmla="*/ 566711 w 768684"/>
                    <a:gd name="connsiteY1044" fmla="*/ 361920 h 1146609"/>
                    <a:gd name="connsiteX1045" fmla="*/ 567342 w 768684"/>
                    <a:gd name="connsiteY1045" fmla="*/ 363620 h 1146609"/>
                    <a:gd name="connsiteX1046" fmla="*/ 567597 w 768684"/>
                    <a:gd name="connsiteY1046" fmla="*/ 368623 h 1146609"/>
                    <a:gd name="connsiteX1047" fmla="*/ 564756 w 768684"/>
                    <a:gd name="connsiteY1047" fmla="*/ 375023 h 1146609"/>
                    <a:gd name="connsiteX1048" fmla="*/ 566031 w 768684"/>
                    <a:gd name="connsiteY1048" fmla="*/ 375945 h 1146609"/>
                    <a:gd name="connsiteX1049" fmla="*/ 566929 w 768684"/>
                    <a:gd name="connsiteY1049" fmla="*/ 378884 h 1146609"/>
                    <a:gd name="connsiteX1050" fmla="*/ 567063 w 768684"/>
                    <a:gd name="connsiteY1050" fmla="*/ 380086 h 1146609"/>
                    <a:gd name="connsiteX1051" fmla="*/ 564125 w 768684"/>
                    <a:gd name="connsiteY1051" fmla="*/ 381410 h 1146609"/>
                    <a:gd name="connsiteX1052" fmla="*/ 567379 w 768684"/>
                    <a:gd name="connsiteY1052" fmla="*/ 381398 h 1146609"/>
                    <a:gd name="connsiteX1053" fmla="*/ 571702 w 768684"/>
                    <a:gd name="connsiteY1053" fmla="*/ 387020 h 1146609"/>
                    <a:gd name="connsiteX1054" fmla="*/ 572017 w 768684"/>
                    <a:gd name="connsiteY1054" fmla="*/ 387275 h 1146609"/>
                    <a:gd name="connsiteX1055" fmla="*/ 573317 w 768684"/>
                    <a:gd name="connsiteY1055" fmla="*/ 387603 h 1146609"/>
                    <a:gd name="connsiteX1056" fmla="*/ 577700 w 768684"/>
                    <a:gd name="connsiteY1056" fmla="*/ 387833 h 1146609"/>
                    <a:gd name="connsiteX1057" fmla="*/ 579534 w 768684"/>
                    <a:gd name="connsiteY1057" fmla="*/ 389351 h 1146609"/>
                    <a:gd name="connsiteX1058" fmla="*/ 582169 w 768684"/>
                    <a:gd name="connsiteY1058" fmla="*/ 391950 h 1146609"/>
                    <a:gd name="connsiteX1059" fmla="*/ 585581 w 768684"/>
                    <a:gd name="connsiteY1059" fmla="*/ 392399 h 1146609"/>
                    <a:gd name="connsiteX1060" fmla="*/ 595720 w 768684"/>
                    <a:gd name="connsiteY1060" fmla="*/ 391877 h 1146609"/>
                    <a:gd name="connsiteX1061" fmla="*/ 598550 w 768684"/>
                    <a:gd name="connsiteY1061" fmla="*/ 395216 h 1146609"/>
                    <a:gd name="connsiteX1062" fmla="*/ 599266 w 768684"/>
                    <a:gd name="connsiteY1062" fmla="*/ 398519 h 1146609"/>
                    <a:gd name="connsiteX1063" fmla="*/ 598647 w 768684"/>
                    <a:gd name="connsiteY1063" fmla="*/ 401191 h 1146609"/>
                    <a:gd name="connsiteX1064" fmla="*/ 596874 w 768684"/>
                    <a:gd name="connsiteY1064" fmla="*/ 404178 h 1146609"/>
                    <a:gd name="connsiteX1065" fmla="*/ 589054 w 768684"/>
                    <a:gd name="connsiteY1065" fmla="*/ 409946 h 1146609"/>
                    <a:gd name="connsiteX1066" fmla="*/ 588605 w 768684"/>
                    <a:gd name="connsiteY1066" fmla="*/ 410626 h 1146609"/>
                    <a:gd name="connsiteX1067" fmla="*/ 588495 w 768684"/>
                    <a:gd name="connsiteY1067" fmla="*/ 412496 h 1146609"/>
                    <a:gd name="connsiteX1068" fmla="*/ 589102 w 768684"/>
                    <a:gd name="connsiteY1068" fmla="*/ 415046 h 1146609"/>
                    <a:gd name="connsiteX1069" fmla="*/ 588434 w 768684"/>
                    <a:gd name="connsiteY1069" fmla="*/ 417547 h 1146609"/>
                    <a:gd name="connsiteX1070" fmla="*/ 586662 w 768684"/>
                    <a:gd name="connsiteY1070" fmla="*/ 419320 h 1146609"/>
                    <a:gd name="connsiteX1071" fmla="*/ 590438 w 768684"/>
                    <a:gd name="connsiteY1071" fmla="*/ 425282 h 1146609"/>
                    <a:gd name="connsiteX1072" fmla="*/ 579765 w 768684"/>
                    <a:gd name="connsiteY1072" fmla="*/ 424651 h 1146609"/>
                    <a:gd name="connsiteX1073" fmla="*/ 566165 w 768684"/>
                    <a:gd name="connsiteY1073" fmla="*/ 420097 h 1146609"/>
                    <a:gd name="connsiteX1074" fmla="*/ 564695 w 768684"/>
                    <a:gd name="connsiteY1074" fmla="*/ 419320 h 1146609"/>
                    <a:gd name="connsiteX1075" fmla="*/ 564173 w 768684"/>
                    <a:gd name="connsiteY1075" fmla="*/ 419903 h 1146609"/>
                    <a:gd name="connsiteX1076" fmla="*/ 563578 w 768684"/>
                    <a:gd name="connsiteY1076" fmla="*/ 421627 h 1146609"/>
                    <a:gd name="connsiteX1077" fmla="*/ 562461 w 768684"/>
                    <a:gd name="connsiteY1077" fmla="*/ 424165 h 1146609"/>
                    <a:gd name="connsiteX1078" fmla="*/ 559304 w 768684"/>
                    <a:gd name="connsiteY1078" fmla="*/ 426424 h 1146609"/>
                    <a:gd name="connsiteX1079" fmla="*/ 546966 w 768684"/>
                    <a:gd name="connsiteY1079" fmla="*/ 425221 h 1146609"/>
                    <a:gd name="connsiteX1080" fmla="*/ 535042 w 768684"/>
                    <a:gd name="connsiteY1080" fmla="*/ 420984 h 1146609"/>
                    <a:gd name="connsiteX1081" fmla="*/ 529760 w 768684"/>
                    <a:gd name="connsiteY1081" fmla="*/ 420012 h 1146609"/>
                    <a:gd name="connsiteX1082" fmla="*/ 523955 w 768684"/>
                    <a:gd name="connsiteY1082" fmla="*/ 419891 h 1146609"/>
                    <a:gd name="connsiteX1083" fmla="*/ 521733 w 768684"/>
                    <a:gd name="connsiteY1083" fmla="*/ 422319 h 1146609"/>
                    <a:gd name="connsiteX1084" fmla="*/ 520288 w 768684"/>
                    <a:gd name="connsiteY1084" fmla="*/ 423254 h 1146609"/>
                    <a:gd name="connsiteX1085" fmla="*/ 519098 w 768684"/>
                    <a:gd name="connsiteY1085" fmla="*/ 423801 h 1146609"/>
                    <a:gd name="connsiteX1086" fmla="*/ 516536 w 768684"/>
                    <a:gd name="connsiteY1086" fmla="*/ 424396 h 1146609"/>
                    <a:gd name="connsiteX1087" fmla="*/ 515115 w 768684"/>
                    <a:gd name="connsiteY1087" fmla="*/ 424274 h 1146609"/>
                    <a:gd name="connsiteX1088" fmla="*/ 508777 w 768684"/>
                    <a:gd name="connsiteY1088" fmla="*/ 422465 h 1146609"/>
                    <a:gd name="connsiteX1089" fmla="*/ 502535 w 768684"/>
                    <a:gd name="connsiteY1089" fmla="*/ 420097 h 1146609"/>
                    <a:gd name="connsiteX1090" fmla="*/ 500459 w 768684"/>
                    <a:gd name="connsiteY1090" fmla="*/ 419587 h 1146609"/>
                    <a:gd name="connsiteX1091" fmla="*/ 496100 w 768684"/>
                    <a:gd name="connsiteY1091" fmla="*/ 420304 h 1146609"/>
                    <a:gd name="connsiteX1092" fmla="*/ 495383 w 768684"/>
                    <a:gd name="connsiteY1092" fmla="*/ 421591 h 1146609"/>
                    <a:gd name="connsiteX1093" fmla="*/ 495857 w 768684"/>
                    <a:gd name="connsiteY1093" fmla="*/ 431997 h 1146609"/>
                    <a:gd name="connsiteX1094" fmla="*/ 494254 w 768684"/>
                    <a:gd name="connsiteY1094" fmla="*/ 445974 h 1146609"/>
                    <a:gd name="connsiteX1095" fmla="*/ 491862 w 768684"/>
                    <a:gd name="connsiteY1095" fmla="*/ 452227 h 1146609"/>
                    <a:gd name="connsiteX1096" fmla="*/ 488850 w 768684"/>
                    <a:gd name="connsiteY1096" fmla="*/ 456186 h 1146609"/>
                    <a:gd name="connsiteX1097" fmla="*/ 487648 w 768684"/>
                    <a:gd name="connsiteY1097" fmla="*/ 457643 h 1146609"/>
                    <a:gd name="connsiteX1098" fmla="*/ 487187 w 768684"/>
                    <a:gd name="connsiteY1098" fmla="*/ 461990 h 1146609"/>
                    <a:gd name="connsiteX1099" fmla="*/ 485353 w 768684"/>
                    <a:gd name="connsiteY1099" fmla="*/ 466095 h 1146609"/>
                    <a:gd name="connsiteX1100" fmla="*/ 484588 w 768684"/>
                    <a:gd name="connsiteY1100" fmla="*/ 467649 h 1146609"/>
                    <a:gd name="connsiteX1101" fmla="*/ 477703 w 768684"/>
                    <a:gd name="connsiteY1101" fmla="*/ 476452 h 1146609"/>
                    <a:gd name="connsiteX1102" fmla="*/ 474242 w 768684"/>
                    <a:gd name="connsiteY1102" fmla="*/ 482512 h 1146609"/>
                    <a:gd name="connsiteX1103" fmla="*/ 471097 w 768684"/>
                    <a:gd name="connsiteY1103" fmla="*/ 484843 h 1146609"/>
                    <a:gd name="connsiteX1104" fmla="*/ 466786 w 768684"/>
                    <a:gd name="connsiteY1104" fmla="*/ 484443 h 1146609"/>
                    <a:gd name="connsiteX1105" fmla="*/ 458432 w 768684"/>
                    <a:gd name="connsiteY1105" fmla="*/ 482318 h 1146609"/>
                    <a:gd name="connsiteX1106" fmla="*/ 454061 w 768684"/>
                    <a:gd name="connsiteY1106" fmla="*/ 482075 h 1146609"/>
                    <a:gd name="connsiteX1107" fmla="*/ 453733 w 768684"/>
                    <a:gd name="connsiteY1107" fmla="*/ 475772 h 1146609"/>
                    <a:gd name="connsiteX1108" fmla="*/ 452288 w 768684"/>
                    <a:gd name="connsiteY1108" fmla="*/ 472955 h 1146609"/>
                    <a:gd name="connsiteX1109" fmla="*/ 450904 w 768684"/>
                    <a:gd name="connsiteY1109" fmla="*/ 471340 h 1146609"/>
                    <a:gd name="connsiteX1110" fmla="*/ 450029 w 768684"/>
                    <a:gd name="connsiteY1110" fmla="*/ 470199 h 1146609"/>
                    <a:gd name="connsiteX1111" fmla="*/ 448463 w 768684"/>
                    <a:gd name="connsiteY1111" fmla="*/ 469300 h 1146609"/>
                    <a:gd name="connsiteX1112" fmla="*/ 446119 w 768684"/>
                    <a:gd name="connsiteY1112" fmla="*/ 469070 h 1146609"/>
                    <a:gd name="connsiteX1113" fmla="*/ 443241 w 768684"/>
                    <a:gd name="connsiteY1113" fmla="*/ 470041 h 1146609"/>
                    <a:gd name="connsiteX1114" fmla="*/ 437048 w 768684"/>
                    <a:gd name="connsiteY1114" fmla="*/ 473356 h 1146609"/>
                    <a:gd name="connsiteX1115" fmla="*/ 437570 w 768684"/>
                    <a:gd name="connsiteY1115" fmla="*/ 474376 h 1146609"/>
                    <a:gd name="connsiteX1116" fmla="*/ 440193 w 768684"/>
                    <a:gd name="connsiteY1116" fmla="*/ 481613 h 1146609"/>
                    <a:gd name="connsiteX1117" fmla="*/ 441019 w 768684"/>
                    <a:gd name="connsiteY1117" fmla="*/ 487199 h 1146609"/>
                    <a:gd name="connsiteX1118" fmla="*/ 438372 w 768684"/>
                    <a:gd name="connsiteY1118" fmla="*/ 490988 h 1146609"/>
                    <a:gd name="connsiteX1119" fmla="*/ 435494 w 768684"/>
                    <a:gd name="connsiteY1119" fmla="*/ 493695 h 1146609"/>
                    <a:gd name="connsiteX1120" fmla="*/ 434729 w 768684"/>
                    <a:gd name="connsiteY1120" fmla="*/ 495723 h 1146609"/>
                    <a:gd name="connsiteX1121" fmla="*/ 433734 w 768684"/>
                    <a:gd name="connsiteY1121" fmla="*/ 497751 h 1146609"/>
                    <a:gd name="connsiteX1122" fmla="*/ 431171 w 768684"/>
                    <a:gd name="connsiteY1122" fmla="*/ 498103 h 1146609"/>
                    <a:gd name="connsiteX1123" fmla="*/ 430856 w 768684"/>
                    <a:gd name="connsiteY1123" fmla="*/ 498055 h 1146609"/>
                    <a:gd name="connsiteX1124" fmla="*/ 430479 w 768684"/>
                    <a:gd name="connsiteY1124" fmla="*/ 498868 h 1146609"/>
                    <a:gd name="connsiteX1125" fmla="*/ 430127 w 768684"/>
                    <a:gd name="connsiteY1125" fmla="*/ 502317 h 1146609"/>
                    <a:gd name="connsiteX1126" fmla="*/ 427589 w 768684"/>
                    <a:gd name="connsiteY1126" fmla="*/ 505838 h 1146609"/>
                    <a:gd name="connsiteX1127" fmla="*/ 424274 w 768684"/>
                    <a:gd name="connsiteY1127" fmla="*/ 506409 h 1146609"/>
                    <a:gd name="connsiteX1128" fmla="*/ 423521 w 768684"/>
                    <a:gd name="connsiteY1128" fmla="*/ 513707 h 1146609"/>
                    <a:gd name="connsiteX1129" fmla="*/ 423023 w 768684"/>
                    <a:gd name="connsiteY1129" fmla="*/ 514763 h 1146609"/>
                    <a:gd name="connsiteX1130" fmla="*/ 420619 w 768684"/>
                    <a:gd name="connsiteY1130" fmla="*/ 518236 h 1146609"/>
                    <a:gd name="connsiteX1131" fmla="*/ 419356 w 768684"/>
                    <a:gd name="connsiteY1131" fmla="*/ 521296 h 1146609"/>
                    <a:gd name="connsiteX1132" fmla="*/ 418955 w 768684"/>
                    <a:gd name="connsiteY1132" fmla="*/ 523931 h 1146609"/>
                    <a:gd name="connsiteX1133" fmla="*/ 419951 w 768684"/>
                    <a:gd name="connsiteY1133" fmla="*/ 524223 h 1146609"/>
                    <a:gd name="connsiteX1134" fmla="*/ 424468 w 768684"/>
                    <a:gd name="connsiteY1134" fmla="*/ 526032 h 1146609"/>
                    <a:gd name="connsiteX1135" fmla="*/ 426800 w 768684"/>
                    <a:gd name="connsiteY1135" fmla="*/ 531229 h 1146609"/>
                    <a:gd name="connsiteX1136" fmla="*/ 428949 w 768684"/>
                    <a:gd name="connsiteY1136" fmla="*/ 533099 h 1146609"/>
                    <a:gd name="connsiteX1137" fmla="*/ 429629 w 768684"/>
                    <a:gd name="connsiteY1137" fmla="*/ 534107 h 1146609"/>
                    <a:gd name="connsiteX1138" fmla="*/ 429921 w 768684"/>
                    <a:gd name="connsiteY1138" fmla="*/ 534726 h 1146609"/>
                    <a:gd name="connsiteX1139" fmla="*/ 430394 w 768684"/>
                    <a:gd name="connsiteY1139" fmla="*/ 536414 h 1146609"/>
                    <a:gd name="connsiteX1140" fmla="*/ 430394 w 768684"/>
                    <a:gd name="connsiteY1140" fmla="*/ 546311 h 1146609"/>
                    <a:gd name="connsiteX1141" fmla="*/ 432386 w 768684"/>
                    <a:gd name="connsiteY1141" fmla="*/ 548764 h 1146609"/>
                    <a:gd name="connsiteX1142" fmla="*/ 434159 w 768684"/>
                    <a:gd name="connsiteY1142" fmla="*/ 551763 h 1146609"/>
                    <a:gd name="connsiteX1143" fmla="*/ 434414 w 768684"/>
                    <a:gd name="connsiteY1143" fmla="*/ 552297 h 1146609"/>
                    <a:gd name="connsiteX1144" fmla="*/ 438117 w 768684"/>
                    <a:gd name="connsiteY1144" fmla="*/ 553099 h 1146609"/>
                    <a:gd name="connsiteX1145" fmla="*/ 463472 w 768684"/>
                    <a:gd name="connsiteY1145" fmla="*/ 565873 h 1146609"/>
                    <a:gd name="connsiteX1146" fmla="*/ 488097 w 768684"/>
                    <a:gd name="connsiteY1146" fmla="*/ 578380 h 1146609"/>
                    <a:gd name="connsiteX1147" fmla="*/ 501940 w 768684"/>
                    <a:gd name="connsiteY1147" fmla="*/ 588993 h 1146609"/>
                    <a:gd name="connsiteX1148" fmla="*/ 505559 w 768684"/>
                    <a:gd name="connsiteY1148" fmla="*/ 589746 h 1146609"/>
                    <a:gd name="connsiteX1149" fmla="*/ 517204 w 768684"/>
                    <a:gd name="connsiteY1149" fmla="*/ 590256 h 1146609"/>
                    <a:gd name="connsiteX1150" fmla="*/ 520373 w 768684"/>
                    <a:gd name="connsiteY1150" fmla="*/ 591179 h 1146609"/>
                    <a:gd name="connsiteX1151" fmla="*/ 527258 w 768684"/>
                    <a:gd name="connsiteY1151" fmla="*/ 593450 h 1146609"/>
                    <a:gd name="connsiteX1152" fmla="*/ 528181 w 768684"/>
                    <a:gd name="connsiteY1152" fmla="*/ 593170 h 1146609"/>
                    <a:gd name="connsiteX1153" fmla="*/ 528740 w 768684"/>
                    <a:gd name="connsiteY1153" fmla="*/ 593134 h 1146609"/>
                    <a:gd name="connsiteX1154" fmla="*/ 530719 w 768684"/>
                    <a:gd name="connsiteY1154" fmla="*/ 590159 h 1146609"/>
                    <a:gd name="connsiteX1155" fmla="*/ 533488 w 768684"/>
                    <a:gd name="connsiteY1155" fmla="*/ 583796 h 1146609"/>
                    <a:gd name="connsiteX1156" fmla="*/ 540470 w 768684"/>
                    <a:gd name="connsiteY1156" fmla="*/ 585314 h 1146609"/>
                    <a:gd name="connsiteX1157" fmla="*/ 547039 w 768684"/>
                    <a:gd name="connsiteY1157" fmla="*/ 589224 h 1146609"/>
                    <a:gd name="connsiteX1158" fmla="*/ 552686 w 768684"/>
                    <a:gd name="connsiteY1158" fmla="*/ 596267 h 1146609"/>
                    <a:gd name="connsiteX1159" fmla="*/ 553839 w 768684"/>
                    <a:gd name="connsiteY1159" fmla="*/ 604925 h 1146609"/>
                    <a:gd name="connsiteX1160" fmla="*/ 554410 w 768684"/>
                    <a:gd name="connsiteY1160" fmla="*/ 607366 h 1146609"/>
                    <a:gd name="connsiteX1161" fmla="*/ 554556 w 768684"/>
                    <a:gd name="connsiteY1161" fmla="*/ 608349 h 1146609"/>
                    <a:gd name="connsiteX1162" fmla="*/ 554981 w 768684"/>
                    <a:gd name="connsiteY1162" fmla="*/ 609041 h 1146609"/>
                    <a:gd name="connsiteX1163" fmla="*/ 554968 w 768684"/>
                    <a:gd name="connsiteY1163" fmla="*/ 611154 h 1146609"/>
                    <a:gd name="connsiteX1164" fmla="*/ 554325 w 768684"/>
                    <a:gd name="connsiteY1164" fmla="*/ 612988 h 1146609"/>
                    <a:gd name="connsiteX1165" fmla="*/ 552868 w 768684"/>
                    <a:gd name="connsiteY1165" fmla="*/ 615271 h 1146609"/>
                    <a:gd name="connsiteX1166" fmla="*/ 551751 w 768684"/>
                    <a:gd name="connsiteY1166" fmla="*/ 616837 h 1146609"/>
                    <a:gd name="connsiteX1167" fmla="*/ 551496 w 768684"/>
                    <a:gd name="connsiteY1167" fmla="*/ 617821 h 1146609"/>
                    <a:gd name="connsiteX1168" fmla="*/ 551083 w 768684"/>
                    <a:gd name="connsiteY1168" fmla="*/ 618974 h 1146609"/>
                    <a:gd name="connsiteX1169" fmla="*/ 546966 w 768684"/>
                    <a:gd name="connsiteY1169" fmla="*/ 620905 h 1146609"/>
                    <a:gd name="connsiteX1170" fmla="*/ 542631 w 768684"/>
                    <a:gd name="connsiteY1170" fmla="*/ 622520 h 1146609"/>
                    <a:gd name="connsiteX1171" fmla="*/ 542619 w 768684"/>
                    <a:gd name="connsiteY1171" fmla="*/ 622848 h 1146609"/>
                    <a:gd name="connsiteX1172" fmla="*/ 541441 w 768684"/>
                    <a:gd name="connsiteY1172" fmla="*/ 625046 h 1146609"/>
                    <a:gd name="connsiteX1173" fmla="*/ 541684 w 768684"/>
                    <a:gd name="connsiteY1173" fmla="*/ 625762 h 1146609"/>
                    <a:gd name="connsiteX1174" fmla="*/ 542559 w 768684"/>
                    <a:gd name="connsiteY1174" fmla="*/ 629259 h 1146609"/>
                    <a:gd name="connsiteX1175" fmla="*/ 542583 w 768684"/>
                    <a:gd name="connsiteY1175" fmla="*/ 630146 h 1146609"/>
                    <a:gd name="connsiteX1176" fmla="*/ 542352 w 768684"/>
                    <a:gd name="connsiteY1176" fmla="*/ 632441 h 1146609"/>
                    <a:gd name="connsiteX1177" fmla="*/ 541041 w 768684"/>
                    <a:gd name="connsiteY1177" fmla="*/ 637128 h 1146609"/>
                    <a:gd name="connsiteX1178" fmla="*/ 540992 w 768684"/>
                    <a:gd name="connsiteY1178" fmla="*/ 637626 h 1146609"/>
                    <a:gd name="connsiteX1179" fmla="*/ 541344 w 768684"/>
                    <a:gd name="connsiteY1179" fmla="*/ 638524 h 1146609"/>
                    <a:gd name="connsiteX1180" fmla="*/ 545060 w 768684"/>
                    <a:gd name="connsiteY1180" fmla="*/ 641694 h 1146609"/>
                    <a:gd name="connsiteX1181" fmla="*/ 545424 w 768684"/>
                    <a:gd name="connsiteY1181" fmla="*/ 643321 h 1146609"/>
                    <a:gd name="connsiteX1182" fmla="*/ 550391 w 768684"/>
                    <a:gd name="connsiteY1182" fmla="*/ 644486 h 1146609"/>
                    <a:gd name="connsiteX1183" fmla="*/ 550561 w 768684"/>
                    <a:gd name="connsiteY1183" fmla="*/ 649732 h 1146609"/>
                    <a:gd name="connsiteX1184" fmla="*/ 547707 w 768684"/>
                    <a:gd name="connsiteY1184" fmla="*/ 653460 h 1146609"/>
                    <a:gd name="connsiteX1185" fmla="*/ 546517 w 768684"/>
                    <a:gd name="connsiteY1185" fmla="*/ 655500 h 1146609"/>
                    <a:gd name="connsiteX1186" fmla="*/ 546966 w 768684"/>
                    <a:gd name="connsiteY1186" fmla="*/ 656302 h 1146609"/>
                    <a:gd name="connsiteX1187" fmla="*/ 548326 w 768684"/>
                    <a:gd name="connsiteY1187" fmla="*/ 660734 h 1146609"/>
                    <a:gd name="connsiteX1188" fmla="*/ 548946 w 768684"/>
                    <a:gd name="connsiteY1188" fmla="*/ 665433 h 1146609"/>
                    <a:gd name="connsiteX1189" fmla="*/ 548217 w 768684"/>
                    <a:gd name="connsiteY1189" fmla="*/ 670642 h 1146609"/>
                    <a:gd name="connsiteX1190" fmla="*/ 545946 w 768684"/>
                    <a:gd name="connsiteY1190" fmla="*/ 673545 h 1146609"/>
                    <a:gd name="connsiteX1191" fmla="*/ 538527 w 768684"/>
                    <a:gd name="connsiteY1191" fmla="*/ 680648 h 1146609"/>
                    <a:gd name="connsiteX1192" fmla="*/ 536050 w 768684"/>
                    <a:gd name="connsiteY1192" fmla="*/ 682591 h 1146609"/>
                    <a:gd name="connsiteX1193" fmla="*/ 534508 w 768684"/>
                    <a:gd name="connsiteY1193" fmla="*/ 683380 h 1146609"/>
                    <a:gd name="connsiteX1194" fmla="*/ 530938 w 768684"/>
                    <a:gd name="connsiteY1194" fmla="*/ 684097 h 1146609"/>
                    <a:gd name="connsiteX1195" fmla="*/ 526178 w 768684"/>
                    <a:gd name="connsiteY1195" fmla="*/ 683805 h 1146609"/>
                    <a:gd name="connsiteX1196" fmla="*/ 523882 w 768684"/>
                    <a:gd name="connsiteY1196" fmla="*/ 683939 h 1146609"/>
                    <a:gd name="connsiteX1197" fmla="*/ 522377 w 768684"/>
                    <a:gd name="connsiteY1197" fmla="*/ 685129 h 1146609"/>
                    <a:gd name="connsiteX1198" fmla="*/ 522231 w 768684"/>
                    <a:gd name="connsiteY1198" fmla="*/ 685542 h 1146609"/>
                    <a:gd name="connsiteX1199" fmla="*/ 522353 w 768684"/>
                    <a:gd name="connsiteY1199" fmla="*/ 686683 h 1146609"/>
                    <a:gd name="connsiteX1200" fmla="*/ 522814 w 768684"/>
                    <a:gd name="connsiteY1200" fmla="*/ 688869 h 1146609"/>
                    <a:gd name="connsiteX1201" fmla="*/ 522753 w 768684"/>
                    <a:gd name="connsiteY1201" fmla="*/ 690666 h 1146609"/>
                    <a:gd name="connsiteX1202" fmla="*/ 521539 w 768684"/>
                    <a:gd name="connsiteY1202" fmla="*/ 694042 h 1146609"/>
                    <a:gd name="connsiteX1203" fmla="*/ 518515 w 768684"/>
                    <a:gd name="connsiteY1203" fmla="*/ 698741 h 1146609"/>
                    <a:gd name="connsiteX1204" fmla="*/ 518103 w 768684"/>
                    <a:gd name="connsiteY1204" fmla="*/ 699785 h 1146609"/>
                    <a:gd name="connsiteX1205" fmla="*/ 518103 w 768684"/>
                    <a:gd name="connsiteY1205" fmla="*/ 700465 h 1146609"/>
                    <a:gd name="connsiteX1206" fmla="*/ 519171 w 768684"/>
                    <a:gd name="connsiteY1206" fmla="*/ 702906 h 1146609"/>
                    <a:gd name="connsiteX1207" fmla="*/ 519742 w 768684"/>
                    <a:gd name="connsiteY1207" fmla="*/ 705918 h 1146609"/>
                    <a:gd name="connsiteX1208" fmla="*/ 519645 w 768684"/>
                    <a:gd name="connsiteY1208" fmla="*/ 706610 h 1146609"/>
                    <a:gd name="connsiteX1209" fmla="*/ 515783 w 768684"/>
                    <a:gd name="connsiteY1209" fmla="*/ 724229 h 1146609"/>
                    <a:gd name="connsiteX1210" fmla="*/ 516087 w 768684"/>
                    <a:gd name="connsiteY1210" fmla="*/ 724375 h 1146609"/>
                    <a:gd name="connsiteX1211" fmla="*/ 517253 w 768684"/>
                    <a:gd name="connsiteY1211" fmla="*/ 724484 h 1146609"/>
                    <a:gd name="connsiteX1212" fmla="*/ 517933 w 768684"/>
                    <a:gd name="connsiteY1212" fmla="*/ 724618 h 1146609"/>
                    <a:gd name="connsiteX1213" fmla="*/ 519985 w 768684"/>
                    <a:gd name="connsiteY1213" fmla="*/ 726123 h 1146609"/>
                    <a:gd name="connsiteX1214" fmla="*/ 520677 w 768684"/>
                    <a:gd name="connsiteY1214" fmla="*/ 728698 h 1146609"/>
                    <a:gd name="connsiteX1215" fmla="*/ 520276 w 768684"/>
                    <a:gd name="connsiteY1215" fmla="*/ 731199 h 1146609"/>
                    <a:gd name="connsiteX1216" fmla="*/ 519863 w 768684"/>
                    <a:gd name="connsiteY1216" fmla="*/ 732353 h 1146609"/>
                    <a:gd name="connsiteX1217" fmla="*/ 520361 w 768684"/>
                    <a:gd name="connsiteY1217" fmla="*/ 732887 h 1146609"/>
                    <a:gd name="connsiteX1218" fmla="*/ 520920 w 768684"/>
                    <a:gd name="connsiteY1218" fmla="*/ 733118 h 1146609"/>
                    <a:gd name="connsiteX1219" fmla="*/ 523895 w 768684"/>
                    <a:gd name="connsiteY1219" fmla="*/ 732814 h 1146609"/>
                    <a:gd name="connsiteX1220" fmla="*/ 526348 w 768684"/>
                    <a:gd name="connsiteY1220" fmla="*/ 733178 h 1146609"/>
                    <a:gd name="connsiteX1221" fmla="*/ 527258 w 768684"/>
                    <a:gd name="connsiteY1221" fmla="*/ 733373 h 1146609"/>
                    <a:gd name="connsiteX1222" fmla="*/ 530707 w 768684"/>
                    <a:gd name="connsiteY1222" fmla="*/ 737003 h 1146609"/>
                    <a:gd name="connsiteX1223" fmla="*/ 535528 w 768684"/>
                    <a:gd name="connsiteY1223" fmla="*/ 745297 h 1146609"/>
                    <a:gd name="connsiteX1224" fmla="*/ 538236 w 768684"/>
                    <a:gd name="connsiteY1224" fmla="*/ 748005 h 1146609"/>
                    <a:gd name="connsiteX1225" fmla="*/ 543239 w 768684"/>
                    <a:gd name="connsiteY1225" fmla="*/ 751259 h 1146609"/>
                    <a:gd name="connsiteX1226" fmla="*/ 545764 w 768684"/>
                    <a:gd name="connsiteY1226" fmla="*/ 752364 h 1146609"/>
                    <a:gd name="connsiteX1227" fmla="*/ 547464 w 768684"/>
                    <a:gd name="connsiteY1227" fmla="*/ 755594 h 1146609"/>
                    <a:gd name="connsiteX1228" fmla="*/ 548375 w 768684"/>
                    <a:gd name="connsiteY1228" fmla="*/ 754174 h 1146609"/>
                    <a:gd name="connsiteX1229" fmla="*/ 551544 w 768684"/>
                    <a:gd name="connsiteY1229" fmla="*/ 751563 h 1146609"/>
                    <a:gd name="connsiteX1230" fmla="*/ 553426 w 768684"/>
                    <a:gd name="connsiteY1230" fmla="*/ 750130 h 1146609"/>
                    <a:gd name="connsiteX1231" fmla="*/ 559000 w 768684"/>
                    <a:gd name="connsiteY1231" fmla="*/ 754611 h 1146609"/>
                    <a:gd name="connsiteX1232" fmla="*/ 558466 w 768684"/>
                    <a:gd name="connsiteY1232" fmla="*/ 760512 h 1146609"/>
                    <a:gd name="connsiteX1233" fmla="*/ 553706 w 768684"/>
                    <a:gd name="connsiteY1233" fmla="*/ 773105 h 1146609"/>
                    <a:gd name="connsiteX1234" fmla="*/ 549140 w 768684"/>
                    <a:gd name="connsiteY1234" fmla="*/ 784871 h 1146609"/>
                    <a:gd name="connsiteX1235" fmla="*/ 544319 w 768684"/>
                    <a:gd name="connsiteY1235" fmla="*/ 792485 h 1146609"/>
                    <a:gd name="connsiteX1236" fmla="*/ 543093 w 768684"/>
                    <a:gd name="connsiteY1236" fmla="*/ 795314 h 1146609"/>
                    <a:gd name="connsiteX1237" fmla="*/ 543239 w 768684"/>
                    <a:gd name="connsiteY1237" fmla="*/ 798228 h 1146609"/>
                    <a:gd name="connsiteX1238" fmla="*/ 544526 w 768684"/>
                    <a:gd name="connsiteY1238" fmla="*/ 800912 h 1146609"/>
                    <a:gd name="connsiteX1239" fmla="*/ 546104 w 768684"/>
                    <a:gd name="connsiteY1239" fmla="*/ 802272 h 1146609"/>
                    <a:gd name="connsiteX1240" fmla="*/ 557798 w 768684"/>
                    <a:gd name="connsiteY1240" fmla="*/ 805963 h 1146609"/>
                    <a:gd name="connsiteX1241" fmla="*/ 559085 w 768684"/>
                    <a:gd name="connsiteY1241" fmla="*/ 805441 h 1146609"/>
                    <a:gd name="connsiteX1242" fmla="*/ 559959 w 768684"/>
                    <a:gd name="connsiteY1242" fmla="*/ 804555 h 1146609"/>
                    <a:gd name="connsiteX1243" fmla="*/ 562133 w 768684"/>
                    <a:gd name="connsiteY1243" fmla="*/ 803110 h 1146609"/>
                    <a:gd name="connsiteX1244" fmla="*/ 565800 w 768684"/>
                    <a:gd name="connsiteY1244" fmla="*/ 802575 h 1146609"/>
                    <a:gd name="connsiteX1245" fmla="*/ 569479 w 768684"/>
                    <a:gd name="connsiteY1245" fmla="*/ 803304 h 1146609"/>
                    <a:gd name="connsiteX1246" fmla="*/ 583007 w 768684"/>
                    <a:gd name="connsiteY1246" fmla="*/ 807833 h 1146609"/>
                    <a:gd name="connsiteX1247" fmla="*/ 584901 w 768684"/>
                    <a:gd name="connsiteY1247" fmla="*/ 808695 h 1146609"/>
                    <a:gd name="connsiteX1248" fmla="*/ 586067 w 768684"/>
                    <a:gd name="connsiteY1248" fmla="*/ 808950 h 1146609"/>
                    <a:gd name="connsiteX1249" fmla="*/ 591555 w 768684"/>
                    <a:gd name="connsiteY1249" fmla="*/ 808598 h 1146609"/>
                    <a:gd name="connsiteX1250" fmla="*/ 594470 w 768684"/>
                    <a:gd name="connsiteY1250" fmla="*/ 811294 h 1146609"/>
                    <a:gd name="connsiteX1251" fmla="*/ 594470 w 768684"/>
                    <a:gd name="connsiteY1251" fmla="*/ 814925 h 1146609"/>
                    <a:gd name="connsiteX1252" fmla="*/ 593304 w 768684"/>
                    <a:gd name="connsiteY1252" fmla="*/ 817475 h 1146609"/>
                    <a:gd name="connsiteX1253" fmla="*/ 592721 w 768684"/>
                    <a:gd name="connsiteY1253" fmla="*/ 818385 h 1146609"/>
                    <a:gd name="connsiteX1254" fmla="*/ 591033 w 768684"/>
                    <a:gd name="connsiteY1254" fmla="*/ 820256 h 1146609"/>
                    <a:gd name="connsiteX1255" fmla="*/ 585702 w 768684"/>
                    <a:gd name="connsiteY1255" fmla="*/ 824639 h 1146609"/>
                    <a:gd name="connsiteX1256" fmla="*/ 575818 w 768684"/>
                    <a:gd name="connsiteY1256" fmla="*/ 834997 h 1146609"/>
                    <a:gd name="connsiteX1257" fmla="*/ 574045 w 768684"/>
                    <a:gd name="connsiteY1257" fmla="*/ 838616 h 1146609"/>
                    <a:gd name="connsiteX1258" fmla="*/ 573620 w 768684"/>
                    <a:gd name="connsiteY1258" fmla="*/ 848136 h 1146609"/>
                    <a:gd name="connsiteX1259" fmla="*/ 571786 w 768684"/>
                    <a:gd name="connsiteY1259" fmla="*/ 854511 h 1146609"/>
                    <a:gd name="connsiteX1260" fmla="*/ 571859 w 768684"/>
                    <a:gd name="connsiteY1260" fmla="*/ 855664 h 1146609"/>
                    <a:gd name="connsiteX1261" fmla="*/ 571799 w 768684"/>
                    <a:gd name="connsiteY1261" fmla="*/ 857595 h 1146609"/>
                    <a:gd name="connsiteX1262" fmla="*/ 572382 w 768684"/>
                    <a:gd name="connsiteY1262" fmla="*/ 858749 h 1146609"/>
                    <a:gd name="connsiteX1263" fmla="*/ 575417 w 768684"/>
                    <a:gd name="connsiteY1263" fmla="*/ 862197 h 1146609"/>
                    <a:gd name="connsiteX1264" fmla="*/ 577579 w 768684"/>
                    <a:gd name="connsiteY1264" fmla="*/ 865549 h 1146609"/>
                    <a:gd name="connsiteX1265" fmla="*/ 581780 w 768684"/>
                    <a:gd name="connsiteY1265" fmla="*/ 875299 h 1146609"/>
                    <a:gd name="connsiteX1266" fmla="*/ 582837 w 768684"/>
                    <a:gd name="connsiteY1266" fmla="*/ 876429 h 1146609"/>
                    <a:gd name="connsiteX1267" fmla="*/ 588022 w 768684"/>
                    <a:gd name="connsiteY1267" fmla="*/ 878080 h 1146609"/>
                    <a:gd name="connsiteX1268" fmla="*/ 591409 w 768684"/>
                    <a:gd name="connsiteY1268" fmla="*/ 881237 h 1146609"/>
                    <a:gd name="connsiteX1269" fmla="*/ 591992 w 768684"/>
                    <a:gd name="connsiteY1269" fmla="*/ 884965 h 1146609"/>
                    <a:gd name="connsiteX1270" fmla="*/ 591713 w 768684"/>
                    <a:gd name="connsiteY1270" fmla="*/ 889482 h 1146609"/>
                    <a:gd name="connsiteX1271" fmla="*/ 590997 w 768684"/>
                    <a:gd name="connsiteY1271" fmla="*/ 893368 h 1146609"/>
                    <a:gd name="connsiteX1272" fmla="*/ 589916 w 768684"/>
                    <a:gd name="connsiteY1272" fmla="*/ 897048 h 1146609"/>
                    <a:gd name="connsiteX1273" fmla="*/ 587645 w 768684"/>
                    <a:gd name="connsiteY1273" fmla="*/ 900435 h 1146609"/>
                    <a:gd name="connsiteX1274" fmla="*/ 585338 w 768684"/>
                    <a:gd name="connsiteY1274" fmla="*/ 903204 h 1146609"/>
                    <a:gd name="connsiteX1275" fmla="*/ 584853 w 768684"/>
                    <a:gd name="connsiteY1275" fmla="*/ 904357 h 1146609"/>
                    <a:gd name="connsiteX1276" fmla="*/ 585205 w 768684"/>
                    <a:gd name="connsiteY1276" fmla="*/ 907138 h 1146609"/>
                    <a:gd name="connsiteX1277" fmla="*/ 586904 w 768684"/>
                    <a:gd name="connsiteY1277" fmla="*/ 911170 h 1146609"/>
                    <a:gd name="connsiteX1278" fmla="*/ 587402 w 768684"/>
                    <a:gd name="connsiteY1278" fmla="*/ 912505 h 1146609"/>
                    <a:gd name="connsiteX1279" fmla="*/ 588022 w 768684"/>
                    <a:gd name="connsiteY1279" fmla="*/ 915031 h 1146609"/>
                    <a:gd name="connsiteX1280" fmla="*/ 588799 w 768684"/>
                    <a:gd name="connsiteY1280" fmla="*/ 919633 h 1146609"/>
                    <a:gd name="connsiteX1281" fmla="*/ 590074 w 768684"/>
                    <a:gd name="connsiteY1281" fmla="*/ 921503 h 1146609"/>
                    <a:gd name="connsiteX1282" fmla="*/ 590827 w 768684"/>
                    <a:gd name="connsiteY1282" fmla="*/ 922839 h 1146609"/>
                    <a:gd name="connsiteX1283" fmla="*/ 592818 w 768684"/>
                    <a:gd name="connsiteY1283" fmla="*/ 928376 h 1146609"/>
                    <a:gd name="connsiteX1284" fmla="*/ 593802 w 768684"/>
                    <a:gd name="connsiteY1284" fmla="*/ 934217 h 1146609"/>
                    <a:gd name="connsiteX1285" fmla="*/ 592333 w 768684"/>
                    <a:gd name="connsiteY1285" fmla="*/ 941126 h 1146609"/>
                    <a:gd name="connsiteX1286" fmla="*/ 592089 w 768684"/>
                    <a:gd name="connsiteY1286" fmla="*/ 941284 h 1146609"/>
                    <a:gd name="connsiteX1287" fmla="*/ 592357 w 768684"/>
                    <a:gd name="connsiteY1287" fmla="*/ 941381 h 1146609"/>
                    <a:gd name="connsiteX1288" fmla="*/ 596218 w 768684"/>
                    <a:gd name="connsiteY1288" fmla="*/ 944223 h 1146609"/>
                    <a:gd name="connsiteX1289" fmla="*/ 598173 w 768684"/>
                    <a:gd name="connsiteY1289" fmla="*/ 952553 h 1146609"/>
                    <a:gd name="connsiteX1290" fmla="*/ 601452 w 768684"/>
                    <a:gd name="connsiteY1290" fmla="*/ 959826 h 1146609"/>
                    <a:gd name="connsiteX1291" fmla="*/ 602411 w 768684"/>
                    <a:gd name="connsiteY1291" fmla="*/ 965169 h 1146609"/>
                    <a:gd name="connsiteX1292" fmla="*/ 602120 w 768684"/>
                    <a:gd name="connsiteY1292" fmla="*/ 967744 h 1146609"/>
                    <a:gd name="connsiteX1293" fmla="*/ 600918 w 768684"/>
                    <a:gd name="connsiteY1293" fmla="*/ 970075 h 1146609"/>
                    <a:gd name="connsiteX1294" fmla="*/ 600104 w 768684"/>
                    <a:gd name="connsiteY1294" fmla="*/ 971386 h 1146609"/>
                    <a:gd name="connsiteX1295" fmla="*/ 600043 w 768684"/>
                    <a:gd name="connsiteY1295" fmla="*/ 973730 h 1146609"/>
                    <a:gd name="connsiteX1296" fmla="*/ 602217 w 768684"/>
                    <a:gd name="connsiteY1296" fmla="*/ 983590 h 1146609"/>
                    <a:gd name="connsiteX1297" fmla="*/ 603079 w 768684"/>
                    <a:gd name="connsiteY1297" fmla="*/ 985412 h 1146609"/>
                    <a:gd name="connsiteX1298" fmla="*/ 607438 w 768684"/>
                    <a:gd name="connsiteY1298" fmla="*/ 992819 h 1146609"/>
                    <a:gd name="connsiteX1299" fmla="*/ 604463 w 768684"/>
                    <a:gd name="connsiteY1299" fmla="*/ 994798 h 1146609"/>
                    <a:gd name="connsiteX1300" fmla="*/ 605240 w 768684"/>
                    <a:gd name="connsiteY1300" fmla="*/ 996620 h 1146609"/>
                    <a:gd name="connsiteX1301" fmla="*/ 613048 w 768684"/>
                    <a:gd name="connsiteY1301" fmla="*/ 1006395 h 1146609"/>
                    <a:gd name="connsiteX1302" fmla="*/ 614967 w 768684"/>
                    <a:gd name="connsiteY1302" fmla="*/ 1010280 h 1146609"/>
                    <a:gd name="connsiteX1303" fmla="*/ 616193 w 768684"/>
                    <a:gd name="connsiteY1303" fmla="*/ 1014700 h 1146609"/>
                    <a:gd name="connsiteX1304" fmla="*/ 616703 w 768684"/>
                    <a:gd name="connsiteY1304" fmla="*/ 1021221 h 1146609"/>
                    <a:gd name="connsiteX1305" fmla="*/ 612684 w 768684"/>
                    <a:gd name="connsiteY1305" fmla="*/ 1026151 h 1146609"/>
                    <a:gd name="connsiteX1306" fmla="*/ 609041 w 768684"/>
                    <a:gd name="connsiteY1306" fmla="*/ 1034153 h 1146609"/>
                    <a:gd name="connsiteX1307" fmla="*/ 609454 w 768684"/>
                    <a:gd name="connsiteY1307" fmla="*/ 1035696 h 1146609"/>
                    <a:gd name="connsiteX1308" fmla="*/ 610486 w 768684"/>
                    <a:gd name="connsiteY1308" fmla="*/ 1037396 h 1146609"/>
                    <a:gd name="connsiteX1309" fmla="*/ 611798 w 768684"/>
                    <a:gd name="connsiteY1309" fmla="*/ 1039958 h 1146609"/>
                    <a:gd name="connsiteX1310" fmla="*/ 612684 w 768684"/>
                    <a:gd name="connsiteY1310" fmla="*/ 1043005 h 1146609"/>
                    <a:gd name="connsiteX1311" fmla="*/ 614250 w 768684"/>
                    <a:gd name="connsiteY1311" fmla="*/ 1056023 h 1146609"/>
                    <a:gd name="connsiteX1312" fmla="*/ 613158 w 768684"/>
                    <a:gd name="connsiteY1312" fmla="*/ 1063916 h 1146609"/>
                    <a:gd name="connsiteX1313" fmla="*/ 606054 w 768684"/>
                    <a:gd name="connsiteY1313" fmla="*/ 1068068 h 1146609"/>
                    <a:gd name="connsiteX1314" fmla="*/ 603649 w 768684"/>
                    <a:gd name="connsiteY1314" fmla="*/ 1066963 h 1146609"/>
                    <a:gd name="connsiteX1315" fmla="*/ 604172 w 768684"/>
                    <a:gd name="connsiteY1315" fmla="*/ 1073897 h 1146609"/>
                    <a:gd name="connsiteX1316" fmla="*/ 601512 w 768684"/>
                    <a:gd name="connsiteY1316" fmla="*/ 1072525 h 1146609"/>
                    <a:gd name="connsiteX1317" fmla="*/ 604512 w 768684"/>
                    <a:gd name="connsiteY1317" fmla="*/ 1077200 h 1146609"/>
                    <a:gd name="connsiteX1318" fmla="*/ 607742 w 768684"/>
                    <a:gd name="connsiteY1318" fmla="*/ 1094540 h 1146609"/>
                    <a:gd name="connsiteX1319" fmla="*/ 610049 w 768684"/>
                    <a:gd name="connsiteY1319" fmla="*/ 1101389 h 1146609"/>
                    <a:gd name="connsiteX1320" fmla="*/ 610389 w 768684"/>
                    <a:gd name="connsiteY1320" fmla="*/ 1101632 h 1146609"/>
                    <a:gd name="connsiteX1321" fmla="*/ 613825 w 768684"/>
                    <a:gd name="connsiteY1321" fmla="*/ 1104947 h 1146609"/>
                    <a:gd name="connsiteX1322" fmla="*/ 617250 w 768684"/>
                    <a:gd name="connsiteY1322" fmla="*/ 1111929 h 1146609"/>
                    <a:gd name="connsiteX1323" fmla="*/ 617687 w 768684"/>
                    <a:gd name="connsiteY1323" fmla="*/ 1112597 h 1146609"/>
                    <a:gd name="connsiteX1324" fmla="*/ 617966 w 768684"/>
                    <a:gd name="connsiteY1324" fmla="*/ 1113690 h 1146609"/>
                    <a:gd name="connsiteX1325" fmla="*/ 618488 w 768684"/>
                    <a:gd name="connsiteY1325" fmla="*/ 1121728 h 1146609"/>
                    <a:gd name="connsiteX1326" fmla="*/ 617322 w 768684"/>
                    <a:gd name="connsiteY1326" fmla="*/ 1126063 h 1146609"/>
                    <a:gd name="connsiteX1327" fmla="*/ 616910 w 768684"/>
                    <a:gd name="connsiteY1327" fmla="*/ 1127326 h 1146609"/>
                    <a:gd name="connsiteX1328" fmla="*/ 611579 w 768684"/>
                    <a:gd name="connsiteY1328" fmla="*/ 1129803 h 1146609"/>
                    <a:gd name="connsiteX1329" fmla="*/ 608786 w 768684"/>
                    <a:gd name="connsiteY1329" fmla="*/ 1129658 h 1146609"/>
                    <a:gd name="connsiteX1330" fmla="*/ 606078 w 768684"/>
                    <a:gd name="connsiteY1330" fmla="*/ 1128674 h 1146609"/>
                    <a:gd name="connsiteX1331" fmla="*/ 605556 w 768684"/>
                    <a:gd name="connsiteY1331" fmla="*/ 1128200 h 1146609"/>
                    <a:gd name="connsiteX1332" fmla="*/ 605240 w 768684"/>
                    <a:gd name="connsiteY1332" fmla="*/ 1129293 h 1146609"/>
                    <a:gd name="connsiteX1333" fmla="*/ 603127 w 768684"/>
                    <a:gd name="connsiteY1333" fmla="*/ 1130338 h 1146609"/>
                    <a:gd name="connsiteX1334" fmla="*/ 598453 w 768684"/>
                    <a:gd name="connsiteY1334" fmla="*/ 1131042 h 1146609"/>
                    <a:gd name="connsiteX1335" fmla="*/ 592976 w 768684"/>
                    <a:gd name="connsiteY1335" fmla="*/ 1128103 h 1146609"/>
                    <a:gd name="connsiteX1336" fmla="*/ 585350 w 768684"/>
                    <a:gd name="connsiteY1336" fmla="*/ 1122785 h 1146609"/>
                    <a:gd name="connsiteX1337" fmla="*/ 579121 w 768684"/>
                    <a:gd name="connsiteY1337" fmla="*/ 1121692 h 1146609"/>
                    <a:gd name="connsiteX1338" fmla="*/ 576984 w 768684"/>
                    <a:gd name="connsiteY1338" fmla="*/ 1120611 h 1146609"/>
                    <a:gd name="connsiteX1339" fmla="*/ 576401 w 768684"/>
                    <a:gd name="connsiteY1339" fmla="*/ 1120247 h 1146609"/>
                    <a:gd name="connsiteX1340" fmla="*/ 575612 w 768684"/>
                    <a:gd name="connsiteY1340" fmla="*/ 1118984 h 1146609"/>
                    <a:gd name="connsiteX1341" fmla="*/ 575357 w 768684"/>
                    <a:gd name="connsiteY1341" fmla="*/ 1122688 h 1146609"/>
                    <a:gd name="connsiteX1342" fmla="*/ 571289 w 768684"/>
                    <a:gd name="connsiteY1342" fmla="*/ 1126925 h 1146609"/>
                    <a:gd name="connsiteX1343" fmla="*/ 565824 w 768684"/>
                    <a:gd name="connsiteY1343" fmla="*/ 1128322 h 1146609"/>
                    <a:gd name="connsiteX1344" fmla="*/ 562376 w 768684"/>
                    <a:gd name="connsiteY1344" fmla="*/ 1127217 h 1146609"/>
                    <a:gd name="connsiteX1345" fmla="*/ 564027 w 768684"/>
                    <a:gd name="connsiteY1345" fmla="*/ 1131625 h 1146609"/>
                    <a:gd name="connsiteX1346" fmla="*/ 562096 w 768684"/>
                    <a:gd name="connsiteY1346" fmla="*/ 1137016 h 1146609"/>
                    <a:gd name="connsiteX1347" fmla="*/ 554859 w 768684"/>
                    <a:gd name="connsiteY1347" fmla="*/ 1140331 h 1146609"/>
                    <a:gd name="connsiteX1348" fmla="*/ 546505 w 768684"/>
                    <a:gd name="connsiteY1348" fmla="*/ 1139299 h 1146609"/>
                    <a:gd name="connsiteX1349" fmla="*/ 540446 w 768684"/>
                    <a:gd name="connsiteY1349" fmla="*/ 1133495 h 1146609"/>
                    <a:gd name="connsiteX1350" fmla="*/ 543506 w 768684"/>
                    <a:gd name="connsiteY1350" fmla="*/ 1126743 h 1146609"/>
                    <a:gd name="connsiteX1351" fmla="*/ 537689 w 768684"/>
                    <a:gd name="connsiteY1351" fmla="*/ 1114479 h 1146609"/>
                    <a:gd name="connsiteX1352" fmla="*/ 536851 w 768684"/>
                    <a:gd name="connsiteY1352" fmla="*/ 1109901 h 1146609"/>
                    <a:gd name="connsiteX1353" fmla="*/ 540239 w 768684"/>
                    <a:gd name="connsiteY1353" fmla="*/ 1087425 h 1146609"/>
                    <a:gd name="connsiteX1354" fmla="*/ 539474 w 768684"/>
                    <a:gd name="connsiteY1354" fmla="*/ 1085202 h 1146609"/>
                    <a:gd name="connsiteX1355" fmla="*/ 538490 w 768684"/>
                    <a:gd name="connsiteY1355" fmla="*/ 1081244 h 1146609"/>
                    <a:gd name="connsiteX1356" fmla="*/ 542546 w 768684"/>
                    <a:gd name="connsiteY1356" fmla="*/ 1069028 h 1146609"/>
                    <a:gd name="connsiteX1357" fmla="*/ 542753 w 768684"/>
                    <a:gd name="connsiteY1357" fmla="*/ 1062592 h 1146609"/>
                    <a:gd name="connsiteX1358" fmla="*/ 540725 w 768684"/>
                    <a:gd name="connsiteY1358" fmla="*/ 1064620 h 1146609"/>
                    <a:gd name="connsiteX1359" fmla="*/ 538891 w 768684"/>
                    <a:gd name="connsiteY1359" fmla="*/ 1066247 h 1146609"/>
                    <a:gd name="connsiteX1360" fmla="*/ 536038 w 768684"/>
                    <a:gd name="connsiteY1360" fmla="*/ 1064134 h 1146609"/>
                    <a:gd name="connsiteX1361" fmla="*/ 535576 w 768684"/>
                    <a:gd name="connsiteY1361" fmla="*/ 1064329 h 1146609"/>
                    <a:gd name="connsiteX1362" fmla="*/ 531970 w 768684"/>
                    <a:gd name="connsiteY1362" fmla="*/ 1064559 h 1146609"/>
                    <a:gd name="connsiteX1363" fmla="*/ 528594 w 768684"/>
                    <a:gd name="connsiteY1363" fmla="*/ 1063454 h 1146609"/>
                    <a:gd name="connsiteX1364" fmla="*/ 527416 w 768684"/>
                    <a:gd name="connsiteY1364" fmla="*/ 1062993 h 1146609"/>
                    <a:gd name="connsiteX1365" fmla="*/ 526882 w 768684"/>
                    <a:gd name="connsiteY1365" fmla="*/ 1061742 h 1146609"/>
                    <a:gd name="connsiteX1366" fmla="*/ 526627 w 768684"/>
                    <a:gd name="connsiteY1366" fmla="*/ 1064122 h 1146609"/>
                    <a:gd name="connsiteX1367" fmla="*/ 520604 w 768684"/>
                    <a:gd name="connsiteY1367" fmla="*/ 1080309 h 1146609"/>
                    <a:gd name="connsiteX1368" fmla="*/ 520325 w 768684"/>
                    <a:gd name="connsiteY1368" fmla="*/ 1083247 h 1146609"/>
                    <a:gd name="connsiteX1369" fmla="*/ 520471 w 768684"/>
                    <a:gd name="connsiteY1369" fmla="*/ 1092015 h 1146609"/>
                    <a:gd name="connsiteX1370" fmla="*/ 524162 w 768684"/>
                    <a:gd name="connsiteY1370" fmla="*/ 1090351 h 1146609"/>
                    <a:gd name="connsiteX1371" fmla="*/ 530731 w 768684"/>
                    <a:gd name="connsiteY1371" fmla="*/ 1090606 h 1146609"/>
                    <a:gd name="connsiteX1372" fmla="*/ 533208 w 768684"/>
                    <a:gd name="connsiteY1372" fmla="*/ 1098802 h 1146609"/>
                    <a:gd name="connsiteX1373" fmla="*/ 532601 w 768684"/>
                    <a:gd name="connsiteY1373" fmla="*/ 1103065 h 1146609"/>
                    <a:gd name="connsiteX1374" fmla="*/ 531254 w 768684"/>
                    <a:gd name="connsiteY1374" fmla="*/ 1107728 h 1146609"/>
                    <a:gd name="connsiteX1375" fmla="*/ 528728 w 768684"/>
                    <a:gd name="connsiteY1375" fmla="*/ 1111273 h 1146609"/>
                    <a:gd name="connsiteX1376" fmla="*/ 527076 w 768684"/>
                    <a:gd name="connsiteY1376" fmla="*/ 1113337 h 1146609"/>
                    <a:gd name="connsiteX1377" fmla="*/ 526008 w 768684"/>
                    <a:gd name="connsiteY1377" fmla="*/ 1112706 h 1146609"/>
                    <a:gd name="connsiteX1378" fmla="*/ 526894 w 768684"/>
                    <a:gd name="connsiteY1378" fmla="*/ 1120890 h 1146609"/>
                    <a:gd name="connsiteX1379" fmla="*/ 525983 w 768684"/>
                    <a:gd name="connsiteY1379" fmla="*/ 1126682 h 1146609"/>
                    <a:gd name="connsiteX1380" fmla="*/ 525158 w 768684"/>
                    <a:gd name="connsiteY1380" fmla="*/ 1131345 h 1146609"/>
                    <a:gd name="connsiteX1381" fmla="*/ 522875 w 768684"/>
                    <a:gd name="connsiteY1381" fmla="*/ 1129767 h 1146609"/>
                    <a:gd name="connsiteX1382" fmla="*/ 522875 w 768684"/>
                    <a:gd name="connsiteY1382" fmla="*/ 1134114 h 1146609"/>
                    <a:gd name="connsiteX1383" fmla="*/ 521563 w 768684"/>
                    <a:gd name="connsiteY1383" fmla="*/ 1137939 h 1146609"/>
                    <a:gd name="connsiteX1384" fmla="*/ 520932 w 768684"/>
                    <a:gd name="connsiteY1384" fmla="*/ 1139481 h 1146609"/>
                    <a:gd name="connsiteX1385" fmla="*/ 516597 w 768684"/>
                    <a:gd name="connsiteY1385" fmla="*/ 1140283 h 1146609"/>
                    <a:gd name="connsiteX1386" fmla="*/ 519268 w 768684"/>
                    <a:gd name="connsiteY1386" fmla="*/ 1142845 h 1146609"/>
                    <a:gd name="connsiteX1387" fmla="*/ 507295 w 768684"/>
                    <a:gd name="connsiteY1387" fmla="*/ 1146609 h 1146609"/>
                    <a:gd name="connsiteX1388" fmla="*/ 501430 w 768684"/>
                    <a:gd name="connsiteY1388" fmla="*/ 1143343 h 1146609"/>
                    <a:gd name="connsiteX1389" fmla="*/ 572454 w 768684"/>
                    <a:gd name="connsiteY1389" fmla="*/ 1111273 h 1146609"/>
                    <a:gd name="connsiteX1390" fmla="*/ 573584 w 768684"/>
                    <a:gd name="connsiteY1390" fmla="*/ 1113423 h 1146609"/>
                    <a:gd name="connsiteX1391" fmla="*/ 572649 w 768684"/>
                    <a:gd name="connsiteY1391" fmla="*/ 1105457 h 1146609"/>
                    <a:gd name="connsiteX1392" fmla="*/ 572102 w 768684"/>
                    <a:gd name="connsiteY1392" fmla="*/ 1106829 h 1146609"/>
                    <a:gd name="connsiteX1393" fmla="*/ 571762 w 768684"/>
                    <a:gd name="connsiteY1393" fmla="*/ 1108444 h 1146609"/>
                    <a:gd name="connsiteX1394" fmla="*/ 572454 w 768684"/>
                    <a:gd name="connsiteY1394" fmla="*/ 1111273 h 1146609"/>
                    <a:gd name="connsiteX1395" fmla="*/ 530671 w 768684"/>
                    <a:gd name="connsiteY1395" fmla="*/ 1044888 h 1146609"/>
                    <a:gd name="connsiteX1396" fmla="*/ 526882 w 768684"/>
                    <a:gd name="connsiteY1396" fmla="*/ 1050401 h 1146609"/>
                    <a:gd name="connsiteX1397" fmla="*/ 526639 w 768684"/>
                    <a:gd name="connsiteY1397" fmla="*/ 1052465 h 1146609"/>
                    <a:gd name="connsiteX1398" fmla="*/ 526712 w 768684"/>
                    <a:gd name="connsiteY1398" fmla="*/ 1053716 h 1146609"/>
                    <a:gd name="connsiteX1399" fmla="*/ 527113 w 768684"/>
                    <a:gd name="connsiteY1399" fmla="*/ 1052635 h 1146609"/>
                    <a:gd name="connsiteX1400" fmla="*/ 530112 w 768684"/>
                    <a:gd name="connsiteY1400" fmla="*/ 1048118 h 1146609"/>
                    <a:gd name="connsiteX1401" fmla="*/ 530877 w 768684"/>
                    <a:gd name="connsiteY1401" fmla="*/ 1045920 h 1146609"/>
                    <a:gd name="connsiteX1402" fmla="*/ 530792 w 768684"/>
                    <a:gd name="connsiteY1402" fmla="*/ 1044402 h 1146609"/>
                    <a:gd name="connsiteX1403" fmla="*/ 530671 w 768684"/>
                    <a:gd name="connsiteY1403" fmla="*/ 1044888 h 114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Lst>
                  <a:rect l="l" t="t" r="r" b="b"/>
                  <a:pathLst>
                    <a:path w="768684" h="1146609">
                      <a:moveTo>
                        <a:pt x="501430" y="1143343"/>
                      </a:moveTo>
                      <a:lnTo>
                        <a:pt x="499815" y="1137004"/>
                      </a:lnTo>
                      <a:lnTo>
                        <a:pt x="501479" y="1131236"/>
                      </a:lnTo>
                      <a:lnTo>
                        <a:pt x="503252" y="1128686"/>
                      </a:lnTo>
                      <a:lnTo>
                        <a:pt x="504952" y="1127265"/>
                      </a:lnTo>
                      <a:lnTo>
                        <a:pt x="505255" y="1125529"/>
                      </a:lnTo>
                      <a:lnTo>
                        <a:pt x="505267" y="1123246"/>
                      </a:lnTo>
                      <a:lnTo>
                        <a:pt x="505705" y="1120332"/>
                      </a:lnTo>
                      <a:lnTo>
                        <a:pt x="506676" y="1117624"/>
                      </a:lnTo>
                      <a:lnTo>
                        <a:pt x="507380" y="1116689"/>
                      </a:lnTo>
                      <a:lnTo>
                        <a:pt x="504114" y="1107436"/>
                      </a:lnTo>
                      <a:lnTo>
                        <a:pt x="502997" y="1100393"/>
                      </a:lnTo>
                      <a:lnTo>
                        <a:pt x="504745" y="1095415"/>
                      </a:lnTo>
                      <a:lnTo>
                        <a:pt x="508267" y="1089392"/>
                      </a:lnTo>
                      <a:lnTo>
                        <a:pt x="508012" y="1085312"/>
                      </a:lnTo>
                      <a:lnTo>
                        <a:pt x="507126" y="1083648"/>
                      </a:lnTo>
                      <a:lnTo>
                        <a:pt x="507380" y="1084947"/>
                      </a:lnTo>
                      <a:lnTo>
                        <a:pt x="507004" y="1088627"/>
                      </a:lnTo>
                      <a:lnTo>
                        <a:pt x="506737" y="1090533"/>
                      </a:lnTo>
                      <a:lnTo>
                        <a:pt x="504126" y="1091322"/>
                      </a:lnTo>
                      <a:lnTo>
                        <a:pt x="502960" y="1091395"/>
                      </a:lnTo>
                      <a:lnTo>
                        <a:pt x="502171" y="1094443"/>
                      </a:lnTo>
                      <a:lnTo>
                        <a:pt x="499937" y="1098742"/>
                      </a:lnTo>
                      <a:lnTo>
                        <a:pt x="499427" y="1101364"/>
                      </a:lnTo>
                      <a:lnTo>
                        <a:pt x="499257" y="1104583"/>
                      </a:lnTo>
                      <a:lnTo>
                        <a:pt x="499706" y="1107400"/>
                      </a:lnTo>
                      <a:lnTo>
                        <a:pt x="502025" y="1112075"/>
                      </a:lnTo>
                      <a:lnTo>
                        <a:pt x="503082" y="1115997"/>
                      </a:lnTo>
                      <a:lnTo>
                        <a:pt x="502195" y="1120453"/>
                      </a:lnTo>
                      <a:lnTo>
                        <a:pt x="499208" y="1126039"/>
                      </a:lnTo>
                      <a:lnTo>
                        <a:pt x="495760" y="1127958"/>
                      </a:lnTo>
                      <a:lnTo>
                        <a:pt x="492372" y="1129196"/>
                      </a:lnTo>
                      <a:lnTo>
                        <a:pt x="489190" y="1131758"/>
                      </a:lnTo>
                      <a:lnTo>
                        <a:pt x="483034" y="1131358"/>
                      </a:lnTo>
                      <a:lnTo>
                        <a:pt x="482257" y="1129293"/>
                      </a:lnTo>
                      <a:lnTo>
                        <a:pt x="480484" y="1123173"/>
                      </a:lnTo>
                      <a:lnTo>
                        <a:pt x="480192" y="1114576"/>
                      </a:lnTo>
                      <a:lnTo>
                        <a:pt x="480241" y="1114370"/>
                      </a:lnTo>
                      <a:lnTo>
                        <a:pt x="479427" y="1114612"/>
                      </a:lnTo>
                      <a:lnTo>
                        <a:pt x="479816" y="1115511"/>
                      </a:lnTo>
                      <a:lnTo>
                        <a:pt x="479901" y="1118777"/>
                      </a:lnTo>
                      <a:lnTo>
                        <a:pt x="479172" y="1122044"/>
                      </a:lnTo>
                      <a:lnTo>
                        <a:pt x="476780" y="1127362"/>
                      </a:lnTo>
                      <a:lnTo>
                        <a:pt x="472287" y="1130872"/>
                      </a:lnTo>
                      <a:lnTo>
                        <a:pt x="471097" y="1130386"/>
                      </a:lnTo>
                      <a:lnTo>
                        <a:pt x="471267" y="1130738"/>
                      </a:lnTo>
                      <a:lnTo>
                        <a:pt x="471814" y="1133689"/>
                      </a:lnTo>
                      <a:lnTo>
                        <a:pt x="471972" y="1134879"/>
                      </a:lnTo>
                      <a:lnTo>
                        <a:pt x="470757" y="1136567"/>
                      </a:lnTo>
                      <a:lnTo>
                        <a:pt x="467211" y="1139056"/>
                      </a:lnTo>
                      <a:lnTo>
                        <a:pt x="464504" y="1140307"/>
                      </a:lnTo>
                      <a:lnTo>
                        <a:pt x="461383" y="1140635"/>
                      </a:lnTo>
                      <a:lnTo>
                        <a:pt x="459149" y="1140465"/>
                      </a:lnTo>
                      <a:lnTo>
                        <a:pt x="457352" y="1139846"/>
                      </a:lnTo>
                      <a:lnTo>
                        <a:pt x="456356" y="1139093"/>
                      </a:lnTo>
                      <a:lnTo>
                        <a:pt x="455190" y="1137138"/>
                      </a:lnTo>
                      <a:lnTo>
                        <a:pt x="454546" y="1132888"/>
                      </a:lnTo>
                      <a:lnTo>
                        <a:pt x="453369" y="1129913"/>
                      </a:lnTo>
                      <a:lnTo>
                        <a:pt x="453211" y="1129767"/>
                      </a:lnTo>
                      <a:lnTo>
                        <a:pt x="449191" y="1132378"/>
                      </a:lnTo>
                      <a:lnTo>
                        <a:pt x="444213" y="1121546"/>
                      </a:lnTo>
                      <a:lnTo>
                        <a:pt x="442646" y="1116592"/>
                      </a:lnTo>
                      <a:lnTo>
                        <a:pt x="442319" y="1111200"/>
                      </a:lnTo>
                      <a:lnTo>
                        <a:pt x="444395" y="1106768"/>
                      </a:lnTo>
                      <a:lnTo>
                        <a:pt x="446982" y="1102494"/>
                      </a:lnTo>
                      <a:lnTo>
                        <a:pt x="447734" y="1099640"/>
                      </a:lnTo>
                      <a:lnTo>
                        <a:pt x="445937" y="1093933"/>
                      </a:lnTo>
                      <a:lnTo>
                        <a:pt x="447455" y="1091152"/>
                      </a:lnTo>
                      <a:lnTo>
                        <a:pt x="446751" y="1089124"/>
                      </a:lnTo>
                      <a:lnTo>
                        <a:pt x="437085" y="1072331"/>
                      </a:lnTo>
                      <a:lnTo>
                        <a:pt x="437838" y="1069247"/>
                      </a:lnTo>
                      <a:lnTo>
                        <a:pt x="438202" y="1068154"/>
                      </a:lnTo>
                      <a:lnTo>
                        <a:pt x="435992" y="1058536"/>
                      </a:lnTo>
                      <a:lnTo>
                        <a:pt x="436526" y="1053995"/>
                      </a:lnTo>
                      <a:lnTo>
                        <a:pt x="437923" y="1050473"/>
                      </a:lnTo>
                      <a:lnTo>
                        <a:pt x="439720" y="1047608"/>
                      </a:lnTo>
                      <a:lnTo>
                        <a:pt x="447807" y="1037444"/>
                      </a:lnTo>
                      <a:lnTo>
                        <a:pt x="449726" y="1034251"/>
                      </a:lnTo>
                      <a:lnTo>
                        <a:pt x="448523" y="1031288"/>
                      </a:lnTo>
                      <a:lnTo>
                        <a:pt x="446569" y="1020505"/>
                      </a:lnTo>
                      <a:lnTo>
                        <a:pt x="446047" y="1018902"/>
                      </a:lnTo>
                      <a:lnTo>
                        <a:pt x="444480" y="1018040"/>
                      </a:lnTo>
                      <a:lnTo>
                        <a:pt x="447151" y="1026880"/>
                      </a:lnTo>
                      <a:lnTo>
                        <a:pt x="445160" y="1033121"/>
                      </a:lnTo>
                      <a:lnTo>
                        <a:pt x="440193" y="1039885"/>
                      </a:lnTo>
                      <a:lnTo>
                        <a:pt x="434304" y="1045252"/>
                      </a:lnTo>
                      <a:lnTo>
                        <a:pt x="428123" y="1048822"/>
                      </a:lnTo>
                      <a:lnTo>
                        <a:pt x="423133" y="1048822"/>
                      </a:lnTo>
                      <a:lnTo>
                        <a:pt x="423485" y="1049745"/>
                      </a:lnTo>
                      <a:lnTo>
                        <a:pt x="424104" y="1053193"/>
                      </a:lnTo>
                      <a:lnTo>
                        <a:pt x="422987" y="1055780"/>
                      </a:lnTo>
                      <a:lnTo>
                        <a:pt x="419976" y="1060054"/>
                      </a:lnTo>
                      <a:lnTo>
                        <a:pt x="411099" y="1079799"/>
                      </a:lnTo>
                      <a:lnTo>
                        <a:pt x="408318" y="1083782"/>
                      </a:lnTo>
                      <a:lnTo>
                        <a:pt x="404857" y="1086234"/>
                      </a:lnTo>
                      <a:lnTo>
                        <a:pt x="403643" y="1086696"/>
                      </a:lnTo>
                      <a:lnTo>
                        <a:pt x="396139" y="1091881"/>
                      </a:lnTo>
                      <a:lnTo>
                        <a:pt x="394985" y="1092330"/>
                      </a:lnTo>
                      <a:lnTo>
                        <a:pt x="394694" y="1093617"/>
                      </a:lnTo>
                      <a:lnTo>
                        <a:pt x="394657" y="1094055"/>
                      </a:lnTo>
                      <a:lnTo>
                        <a:pt x="393917" y="1095973"/>
                      </a:lnTo>
                      <a:lnTo>
                        <a:pt x="388574" y="1101049"/>
                      </a:lnTo>
                      <a:lnTo>
                        <a:pt x="382005" y="1105578"/>
                      </a:lnTo>
                      <a:lnTo>
                        <a:pt x="366960" y="1113179"/>
                      </a:lnTo>
                      <a:lnTo>
                        <a:pt x="357634" y="1120028"/>
                      </a:lnTo>
                      <a:lnTo>
                        <a:pt x="352910" y="1121546"/>
                      </a:lnTo>
                      <a:lnTo>
                        <a:pt x="348053" y="1121485"/>
                      </a:lnTo>
                      <a:lnTo>
                        <a:pt x="344167" y="1121291"/>
                      </a:lnTo>
                      <a:lnTo>
                        <a:pt x="340609" y="1121558"/>
                      </a:lnTo>
                      <a:lnTo>
                        <a:pt x="311879" y="1129366"/>
                      </a:lnTo>
                      <a:lnTo>
                        <a:pt x="309013" y="1124011"/>
                      </a:lnTo>
                      <a:lnTo>
                        <a:pt x="303197" y="1115292"/>
                      </a:lnTo>
                      <a:lnTo>
                        <a:pt x="301861" y="1112038"/>
                      </a:lnTo>
                      <a:lnTo>
                        <a:pt x="301133" y="1108723"/>
                      </a:lnTo>
                      <a:lnTo>
                        <a:pt x="301011" y="1105311"/>
                      </a:lnTo>
                      <a:lnTo>
                        <a:pt x="301728" y="1099337"/>
                      </a:lnTo>
                      <a:lnTo>
                        <a:pt x="301752" y="1097442"/>
                      </a:lnTo>
                      <a:lnTo>
                        <a:pt x="301084" y="1096155"/>
                      </a:lnTo>
                      <a:lnTo>
                        <a:pt x="299202" y="1094735"/>
                      </a:lnTo>
                      <a:lnTo>
                        <a:pt x="274807" y="1089404"/>
                      </a:lnTo>
                      <a:lnTo>
                        <a:pt x="270095" y="1087704"/>
                      </a:lnTo>
                      <a:lnTo>
                        <a:pt x="266780" y="1085057"/>
                      </a:lnTo>
                      <a:lnTo>
                        <a:pt x="264570" y="1081086"/>
                      </a:lnTo>
                      <a:lnTo>
                        <a:pt x="263307" y="1077771"/>
                      </a:lnTo>
                      <a:lnTo>
                        <a:pt x="262117" y="1073254"/>
                      </a:lnTo>
                      <a:lnTo>
                        <a:pt x="261134" y="1065142"/>
                      </a:lnTo>
                      <a:lnTo>
                        <a:pt x="259871" y="1062592"/>
                      </a:lnTo>
                      <a:lnTo>
                        <a:pt x="257527" y="1060686"/>
                      </a:lnTo>
                      <a:lnTo>
                        <a:pt x="251711" y="1058087"/>
                      </a:lnTo>
                      <a:lnTo>
                        <a:pt x="248675" y="1057261"/>
                      </a:lnTo>
                      <a:lnTo>
                        <a:pt x="247643" y="1057346"/>
                      </a:lnTo>
                      <a:lnTo>
                        <a:pt x="246829" y="1057954"/>
                      </a:lnTo>
                      <a:lnTo>
                        <a:pt x="246404" y="1059022"/>
                      </a:lnTo>
                      <a:lnTo>
                        <a:pt x="245506" y="1060831"/>
                      </a:lnTo>
                      <a:lnTo>
                        <a:pt x="244024" y="1062993"/>
                      </a:lnTo>
                      <a:lnTo>
                        <a:pt x="241535" y="1064863"/>
                      </a:lnTo>
                      <a:lnTo>
                        <a:pt x="239337" y="1065859"/>
                      </a:lnTo>
                      <a:lnTo>
                        <a:pt x="238718" y="1066490"/>
                      </a:lnTo>
                      <a:lnTo>
                        <a:pt x="238451" y="1067461"/>
                      </a:lnTo>
                      <a:lnTo>
                        <a:pt x="237407" y="1070363"/>
                      </a:lnTo>
                      <a:lnTo>
                        <a:pt x="232986" y="1072379"/>
                      </a:lnTo>
                      <a:lnTo>
                        <a:pt x="227996" y="1070534"/>
                      </a:lnTo>
                      <a:lnTo>
                        <a:pt x="222555" y="1064256"/>
                      </a:lnTo>
                      <a:lnTo>
                        <a:pt x="220321" y="1059520"/>
                      </a:lnTo>
                      <a:lnTo>
                        <a:pt x="219605" y="1054930"/>
                      </a:lnTo>
                      <a:lnTo>
                        <a:pt x="221936" y="1048786"/>
                      </a:lnTo>
                      <a:lnTo>
                        <a:pt x="221900" y="1047098"/>
                      </a:lnTo>
                      <a:lnTo>
                        <a:pt x="221742" y="1045033"/>
                      </a:lnTo>
                      <a:lnTo>
                        <a:pt x="221086" y="1041488"/>
                      </a:lnTo>
                      <a:lnTo>
                        <a:pt x="220467" y="1040358"/>
                      </a:lnTo>
                      <a:lnTo>
                        <a:pt x="219071" y="1038598"/>
                      </a:lnTo>
                      <a:lnTo>
                        <a:pt x="216521" y="1036497"/>
                      </a:lnTo>
                      <a:lnTo>
                        <a:pt x="211688" y="1033413"/>
                      </a:lnTo>
                      <a:lnTo>
                        <a:pt x="202568" y="1029709"/>
                      </a:lnTo>
                      <a:lnTo>
                        <a:pt x="200079" y="1029248"/>
                      </a:lnTo>
                      <a:lnTo>
                        <a:pt x="197747" y="1029163"/>
                      </a:lnTo>
                      <a:lnTo>
                        <a:pt x="195696" y="1029381"/>
                      </a:lnTo>
                      <a:lnTo>
                        <a:pt x="191567" y="1028738"/>
                      </a:lnTo>
                      <a:lnTo>
                        <a:pt x="181209" y="1021828"/>
                      </a:lnTo>
                      <a:lnTo>
                        <a:pt x="178076" y="1019096"/>
                      </a:lnTo>
                      <a:lnTo>
                        <a:pt x="175696" y="1018343"/>
                      </a:lnTo>
                      <a:lnTo>
                        <a:pt x="172915" y="1017748"/>
                      </a:lnTo>
                      <a:lnTo>
                        <a:pt x="169503" y="1016570"/>
                      </a:lnTo>
                      <a:lnTo>
                        <a:pt x="166309" y="1014980"/>
                      </a:lnTo>
                      <a:lnTo>
                        <a:pt x="161295" y="1006407"/>
                      </a:lnTo>
                      <a:lnTo>
                        <a:pt x="164209" y="1003517"/>
                      </a:lnTo>
                      <a:lnTo>
                        <a:pt x="167075" y="1001452"/>
                      </a:lnTo>
                      <a:lnTo>
                        <a:pt x="170633" y="999485"/>
                      </a:lnTo>
                      <a:lnTo>
                        <a:pt x="171422" y="998720"/>
                      </a:lnTo>
                      <a:lnTo>
                        <a:pt x="172757" y="998283"/>
                      </a:lnTo>
                      <a:lnTo>
                        <a:pt x="173425" y="998247"/>
                      </a:lnTo>
                      <a:lnTo>
                        <a:pt x="175016" y="998429"/>
                      </a:lnTo>
                      <a:lnTo>
                        <a:pt x="177457" y="999376"/>
                      </a:lnTo>
                      <a:lnTo>
                        <a:pt x="177615" y="998599"/>
                      </a:lnTo>
                      <a:lnTo>
                        <a:pt x="177202" y="994434"/>
                      </a:lnTo>
                      <a:lnTo>
                        <a:pt x="179169" y="991434"/>
                      </a:lnTo>
                      <a:lnTo>
                        <a:pt x="182265" y="990293"/>
                      </a:lnTo>
                      <a:lnTo>
                        <a:pt x="185835" y="990657"/>
                      </a:lnTo>
                      <a:lnTo>
                        <a:pt x="192453" y="990038"/>
                      </a:lnTo>
                      <a:lnTo>
                        <a:pt x="192563" y="989989"/>
                      </a:lnTo>
                      <a:lnTo>
                        <a:pt x="190098" y="987901"/>
                      </a:lnTo>
                      <a:lnTo>
                        <a:pt x="187633" y="985994"/>
                      </a:lnTo>
                      <a:lnTo>
                        <a:pt x="184305" y="982910"/>
                      </a:lnTo>
                      <a:lnTo>
                        <a:pt x="183042" y="978769"/>
                      </a:lnTo>
                      <a:lnTo>
                        <a:pt x="182557" y="971472"/>
                      </a:lnTo>
                      <a:lnTo>
                        <a:pt x="181828" y="969614"/>
                      </a:lnTo>
                      <a:lnTo>
                        <a:pt x="179205" y="966724"/>
                      </a:lnTo>
                      <a:lnTo>
                        <a:pt x="177275" y="965388"/>
                      </a:lnTo>
                      <a:lnTo>
                        <a:pt x="171847" y="962716"/>
                      </a:lnTo>
                      <a:lnTo>
                        <a:pt x="169892" y="961101"/>
                      </a:lnTo>
                      <a:lnTo>
                        <a:pt x="168447" y="958976"/>
                      </a:lnTo>
                      <a:lnTo>
                        <a:pt x="167269" y="955661"/>
                      </a:lnTo>
                      <a:lnTo>
                        <a:pt x="166892" y="953038"/>
                      </a:lnTo>
                      <a:lnTo>
                        <a:pt x="166832" y="951849"/>
                      </a:lnTo>
                      <a:lnTo>
                        <a:pt x="167111" y="950270"/>
                      </a:lnTo>
                      <a:lnTo>
                        <a:pt x="167718" y="949141"/>
                      </a:lnTo>
                      <a:lnTo>
                        <a:pt x="168568" y="947975"/>
                      </a:lnTo>
                      <a:lnTo>
                        <a:pt x="170523" y="947222"/>
                      </a:lnTo>
                      <a:lnTo>
                        <a:pt x="172272" y="947222"/>
                      </a:lnTo>
                      <a:lnTo>
                        <a:pt x="175611" y="947853"/>
                      </a:lnTo>
                      <a:lnTo>
                        <a:pt x="175356" y="946846"/>
                      </a:lnTo>
                      <a:lnTo>
                        <a:pt x="174044" y="943664"/>
                      </a:lnTo>
                      <a:lnTo>
                        <a:pt x="172575" y="941564"/>
                      </a:lnTo>
                      <a:lnTo>
                        <a:pt x="170390" y="939378"/>
                      </a:lnTo>
                      <a:lnTo>
                        <a:pt x="166431" y="936986"/>
                      </a:lnTo>
                      <a:lnTo>
                        <a:pt x="164027" y="936391"/>
                      </a:lnTo>
                      <a:lnTo>
                        <a:pt x="156207" y="936378"/>
                      </a:lnTo>
                      <a:lnTo>
                        <a:pt x="152661" y="935407"/>
                      </a:lnTo>
                      <a:lnTo>
                        <a:pt x="148800" y="933015"/>
                      </a:lnTo>
                      <a:lnTo>
                        <a:pt x="146541" y="929590"/>
                      </a:lnTo>
                      <a:lnTo>
                        <a:pt x="145084" y="926530"/>
                      </a:lnTo>
                      <a:lnTo>
                        <a:pt x="143578" y="917363"/>
                      </a:lnTo>
                      <a:lnTo>
                        <a:pt x="132746" y="908474"/>
                      </a:lnTo>
                      <a:lnTo>
                        <a:pt x="128351" y="906057"/>
                      </a:lnTo>
                      <a:lnTo>
                        <a:pt x="127379" y="906531"/>
                      </a:lnTo>
                      <a:lnTo>
                        <a:pt x="124331" y="906531"/>
                      </a:lnTo>
                      <a:lnTo>
                        <a:pt x="119936" y="905863"/>
                      </a:lnTo>
                      <a:lnTo>
                        <a:pt x="108533" y="896962"/>
                      </a:lnTo>
                      <a:lnTo>
                        <a:pt x="107465" y="893162"/>
                      </a:lnTo>
                      <a:lnTo>
                        <a:pt x="107477" y="889555"/>
                      </a:lnTo>
                      <a:lnTo>
                        <a:pt x="108363" y="883969"/>
                      </a:lnTo>
                      <a:lnTo>
                        <a:pt x="108449" y="879683"/>
                      </a:lnTo>
                      <a:lnTo>
                        <a:pt x="108691" y="877473"/>
                      </a:lnTo>
                      <a:lnTo>
                        <a:pt x="110707" y="872300"/>
                      </a:lnTo>
                      <a:lnTo>
                        <a:pt x="111205" y="870466"/>
                      </a:lnTo>
                      <a:lnTo>
                        <a:pt x="110379" y="868208"/>
                      </a:lnTo>
                      <a:lnTo>
                        <a:pt x="110318" y="864577"/>
                      </a:lnTo>
                      <a:lnTo>
                        <a:pt x="111727" y="861881"/>
                      </a:lnTo>
                      <a:lnTo>
                        <a:pt x="117216" y="857449"/>
                      </a:lnTo>
                      <a:lnTo>
                        <a:pt x="119972" y="856077"/>
                      </a:lnTo>
                      <a:lnTo>
                        <a:pt x="122182" y="855482"/>
                      </a:lnTo>
                      <a:lnTo>
                        <a:pt x="121320" y="855057"/>
                      </a:lnTo>
                      <a:lnTo>
                        <a:pt x="120288" y="854826"/>
                      </a:lnTo>
                      <a:lnTo>
                        <a:pt x="95152" y="854025"/>
                      </a:lnTo>
                      <a:lnTo>
                        <a:pt x="84551" y="851742"/>
                      </a:lnTo>
                      <a:lnTo>
                        <a:pt x="78079" y="851778"/>
                      </a:lnTo>
                      <a:lnTo>
                        <a:pt x="76865" y="852531"/>
                      </a:lnTo>
                      <a:lnTo>
                        <a:pt x="73732" y="853940"/>
                      </a:lnTo>
                      <a:lnTo>
                        <a:pt x="69421" y="854681"/>
                      </a:lnTo>
                      <a:lnTo>
                        <a:pt x="65924" y="853333"/>
                      </a:lnTo>
                      <a:lnTo>
                        <a:pt x="61115" y="849411"/>
                      </a:lnTo>
                      <a:lnTo>
                        <a:pt x="37922" y="824578"/>
                      </a:lnTo>
                      <a:lnTo>
                        <a:pt x="34923" y="822502"/>
                      </a:lnTo>
                      <a:lnTo>
                        <a:pt x="31620" y="820717"/>
                      </a:lnTo>
                      <a:lnTo>
                        <a:pt x="28281" y="820231"/>
                      </a:lnTo>
                      <a:lnTo>
                        <a:pt x="25986" y="820085"/>
                      </a:lnTo>
                      <a:lnTo>
                        <a:pt x="18639" y="822636"/>
                      </a:lnTo>
                      <a:lnTo>
                        <a:pt x="14486" y="823898"/>
                      </a:lnTo>
                      <a:lnTo>
                        <a:pt x="12896" y="822113"/>
                      </a:lnTo>
                      <a:lnTo>
                        <a:pt x="12143" y="821057"/>
                      </a:lnTo>
                      <a:lnTo>
                        <a:pt x="11171" y="818956"/>
                      </a:lnTo>
                      <a:lnTo>
                        <a:pt x="10516" y="815896"/>
                      </a:lnTo>
                      <a:lnTo>
                        <a:pt x="9520" y="812642"/>
                      </a:lnTo>
                      <a:lnTo>
                        <a:pt x="4080" y="807226"/>
                      </a:lnTo>
                      <a:lnTo>
                        <a:pt x="1311" y="801543"/>
                      </a:lnTo>
                      <a:lnTo>
                        <a:pt x="2003" y="796297"/>
                      </a:lnTo>
                      <a:lnTo>
                        <a:pt x="4384" y="790712"/>
                      </a:lnTo>
                      <a:lnTo>
                        <a:pt x="7456" y="785891"/>
                      </a:lnTo>
                      <a:lnTo>
                        <a:pt x="10564" y="782139"/>
                      </a:lnTo>
                      <a:lnTo>
                        <a:pt x="11317" y="780682"/>
                      </a:lnTo>
                      <a:lnTo>
                        <a:pt x="11523" y="779212"/>
                      </a:lnTo>
                      <a:lnTo>
                        <a:pt x="11815" y="775059"/>
                      </a:lnTo>
                      <a:lnTo>
                        <a:pt x="12689" y="772097"/>
                      </a:lnTo>
                      <a:lnTo>
                        <a:pt x="13272" y="771149"/>
                      </a:lnTo>
                      <a:lnTo>
                        <a:pt x="13175" y="771065"/>
                      </a:lnTo>
                      <a:lnTo>
                        <a:pt x="12592" y="770870"/>
                      </a:lnTo>
                      <a:lnTo>
                        <a:pt x="7929" y="771441"/>
                      </a:lnTo>
                      <a:lnTo>
                        <a:pt x="6776" y="771526"/>
                      </a:lnTo>
                      <a:lnTo>
                        <a:pt x="4153" y="769522"/>
                      </a:lnTo>
                      <a:lnTo>
                        <a:pt x="3024" y="767009"/>
                      </a:lnTo>
                      <a:lnTo>
                        <a:pt x="2076" y="765637"/>
                      </a:lnTo>
                      <a:lnTo>
                        <a:pt x="1323" y="765284"/>
                      </a:lnTo>
                      <a:lnTo>
                        <a:pt x="182" y="764410"/>
                      </a:lnTo>
                      <a:lnTo>
                        <a:pt x="0" y="759735"/>
                      </a:lnTo>
                      <a:lnTo>
                        <a:pt x="898" y="756286"/>
                      </a:lnTo>
                      <a:lnTo>
                        <a:pt x="1688" y="755376"/>
                      </a:lnTo>
                      <a:lnTo>
                        <a:pt x="2841" y="754380"/>
                      </a:lnTo>
                      <a:lnTo>
                        <a:pt x="6678" y="752377"/>
                      </a:lnTo>
                      <a:lnTo>
                        <a:pt x="17558" y="750191"/>
                      </a:lnTo>
                      <a:lnTo>
                        <a:pt x="21335" y="750312"/>
                      </a:lnTo>
                      <a:lnTo>
                        <a:pt x="25415" y="750118"/>
                      </a:lnTo>
                      <a:lnTo>
                        <a:pt x="35154" y="748430"/>
                      </a:lnTo>
                      <a:lnTo>
                        <a:pt x="35858" y="748175"/>
                      </a:lnTo>
                      <a:lnTo>
                        <a:pt x="36186" y="747446"/>
                      </a:lnTo>
                      <a:lnTo>
                        <a:pt x="36040" y="746548"/>
                      </a:lnTo>
                      <a:lnTo>
                        <a:pt x="33769" y="740367"/>
                      </a:lnTo>
                      <a:lnTo>
                        <a:pt x="33284" y="737805"/>
                      </a:lnTo>
                      <a:lnTo>
                        <a:pt x="33794" y="735947"/>
                      </a:lnTo>
                      <a:lnTo>
                        <a:pt x="35141" y="733555"/>
                      </a:lnTo>
                      <a:lnTo>
                        <a:pt x="37036" y="731454"/>
                      </a:lnTo>
                      <a:lnTo>
                        <a:pt x="40145" y="729548"/>
                      </a:lnTo>
                      <a:lnTo>
                        <a:pt x="43581" y="729438"/>
                      </a:lnTo>
                      <a:lnTo>
                        <a:pt x="47734" y="730483"/>
                      </a:lnTo>
                      <a:lnTo>
                        <a:pt x="55602" y="735073"/>
                      </a:lnTo>
                      <a:lnTo>
                        <a:pt x="62888" y="735206"/>
                      </a:lnTo>
                      <a:lnTo>
                        <a:pt x="64709" y="741982"/>
                      </a:lnTo>
                      <a:lnTo>
                        <a:pt x="62463" y="751599"/>
                      </a:lnTo>
                      <a:lnTo>
                        <a:pt x="62281" y="752874"/>
                      </a:lnTo>
                      <a:lnTo>
                        <a:pt x="62585" y="753117"/>
                      </a:lnTo>
                      <a:lnTo>
                        <a:pt x="64612" y="753348"/>
                      </a:lnTo>
                      <a:lnTo>
                        <a:pt x="66871" y="754052"/>
                      </a:lnTo>
                      <a:lnTo>
                        <a:pt x="72238" y="756444"/>
                      </a:lnTo>
                      <a:lnTo>
                        <a:pt x="76148" y="758800"/>
                      </a:lnTo>
                      <a:lnTo>
                        <a:pt x="78346" y="761289"/>
                      </a:lnTo>
                      <a:lnTo>
                        <a:pt x="79706" y="761909"/>
                      </a:lnTo>
                      <a:lnTo>
                        <a:pt x="81783" y="761860"/>
                      </a:lnTo>
                      <a:lnTo>
                        <a:pt x="86530" y="760026"/>
                      </a:lnTo>
                      <a:lnTo>
                        <a:pt x="91060" y="755789"/>
                      </a:lnTo>
                      <a:lnTo>
                        <a:pt x="93597" y="754186"/>
                      </a:lnTo>
                      <a:lnTo>
                        <a:pt x="94921" y="752656"/>
                      </a:lnTo>
                      <a:lnTo>
                        <a:pt x="95929" y="751830"/>
                      </a:lnTo>
                      <a:lnTo>
                        <a:pt x="96876" y="750385"/>
                      </a:lnTo>
                      <a:lnTo>
                        <a:pt x="97216" y="749110"/>
                      </a:lnTo>
                      <a:lnTo>
                        <a:pt x="97301" y="747483"/>
                      </a:lnTo>
                      <a:lnTo>
                        <a:pt x="97241" y="745394"/>
                      </a:lnTo>
                      <a:lnTo>
                        <a:pt x="97532" y="742650"/>
                      </a:lnTo>
                      <a:lnTo>
                        <a:pt x="98831" y="739141"/>
                      </a:lnTo>
                      <a:lnTo>
                        <a:pt x="101636" y="735522"/>
                      </a:lnTo>
                      <a:lnTo>
                        <a:pt x="105522" y="732025"/>
                      </a:lnTo>
                      <a:lnTo>
                        <a:pt x="111654" y="728066"/>
                      </a:lnTo>
                      <a:lnTo>
                        <a:pt x="120968" y="723525"/>
                      </a:lnTo>
                      <a:lnTo>
                        <a:pt x="137251" y="719044"/>
                      </a:lnTo>
                      <a:lnTo>
                        <a:pt x="144452" y="715790"/>
                      </a:lnTo>
                      <a:lnTo>
                        <a:pt x="156571" y="711795"/>
                      </a:lnTo>
                      <a:lnTo>
                        <a:pt x="179145" y="708140"/>
                      </a:lnTo>
                      <a:lnTo>
                        <a:pt x="184427" y="706440"/>
                      </a:lnTo>
                      <a:lnTo>
                        <a:pt x="186831" y="702991"/>
                      </a:lnTo>
                      <a:lnTo>
                        <a:pt x="187414" y="699057"/>
                      </a:lnTo>
                      <a:lnTo>
                        <a:pt x="186418" y="695839"/>
                      </a:lnTo>
                      <a:lnTo>
                        <a:pt x="185665" y="694139"/>
                      </a:lnTo>
                      <a:lnTo>
                        <a:pt x="185204" y="692087"/>
                      </a:lnTo>
                      <a:lnTo>
                        <a:pt x="185131" y="690800"/>
                      </a:lnTo>
                      <a:lnTo>
                        <a:pt x="186224" y="686149"/>
                      </a:lnTo>
                      <a:lnTo>
                        <a:pt x="187802" y="683065"/>
                      </a:lnTo>
                      <a:lnTo>
                        <a:pt x="188968" y="681401"/>
                      </a:lnTo>
                      <a:lnTo>
                        <a:pt x="193291" y="678195"/>
                      </a:lnTo>
                      <a:lnTo>
                        <a:pt x="194360" y="676653"/>
                      </a:lnTo>
                      <a:lnTo>
                        <a:pt x="194930" y="674589"/>
                      </a:lnTo>
                      <a:lnTo>
                        <a:pt x="195671" y="672767"/>
                      </a:lnTo>
                      <a:lnTo>
                        <a:pt x="197067" y="670837"/>
                      </a:lnTo>
                      <a:lnTo>
                        <a:pt x="199096" y="669282"/>
                      </a:lnTo>
                      <a:lnTo>
                        <a:pt x="200006" y="668651"/>
                      </a:lnTo>
                      <a:lnTo>
                        <a:pt x="203504" y="668991"/>
                      </a:lnTo>
                      <a:lnTo>
                        <a:pt x="207559" y="670399"/>
                      </a:lnTo>
                      <a:lnTo>
                        <a:pt x="217844" y="677224"/>
                      </a:lnTo>
                      <a:lnTo>
                        <a:pt x="221378" y="678827"/>
                      </a:lnTo>
                      <a:lnTo>
                        <a:pt x="225373" y="678912"/>
                      </a:lnTo>
                      <a:lnTo>
                        <a:pt x="228396" y="679750"/>
                      </a:lnTo>
                      <a:lnTo>
                        <a:pt x="232938" y="684340"/>
                      </a:lnTo>
                      <a:lnTo>
                        <a:pt x="236265" y="686683"/>
                      </a:lnTo>
                      <a:lnTo>
                        <a:pt x="240127" y="688493"/>
                      </a:lnTo>
                      <a:lnTo>
                        <a:pt x="248590" y="690496"/>
                      </a:lnTo>
                      <a:lnTo>
                        <a:pt x="252524" y="689646"/>
                      </a:lnTo>
                      <a:lnTo>
                        <a:pt x="251857" y="688274"/>
                      </a:lnTo>
                      <a:lnTo>
                        <a:pt x="249197" y="686027"/>
                      </a:lnTo>
                      <a:lnTo>
                        <a:pt x="247230" y="683805"/>
                      </a:lnTo>
                      <a:lnTo>
                        <a:pt x="246441" y="680660"/>
                      </a:lnTo>
                      <a:lnTo>
                        <a:pt x="246975" y="679118"/>
                      </a:lnTo>
                      <a:lnTo>
                        <a:pt x="247886" y="677491"/>
                      </a:lnTo>
                      <a:lnTo>
                        <a:pt x="249501" y="675937"/>
                      </a:lnTo>
                      <a:lnTo>
                        <a:pt x="252124" y="675390"/>
                      </a:lnTo>
                      <a:lnTo>
                        <a:pt x="255281" y="675670"/>
                      </a:lnTo>
                      <a:lnTo>
                        <a:pt x="259579" y="676872"/>
                      </a:lnTo>
                      <a:lnTo>
                        <a:pt x="261194" y="677078"/>
                      </a:lnTo>
                      <a:lnTo>
                        <a:pt x="263234" y="677661"/>
                      </a:lnTo>
                      <a:lnTo>
                        <a:pt x="265712" y="679385"/>
                      </a:lnTo>
                      <a:lnTo>
                        <a:pt x="266975" y="681110"/>
                      </a:lnTo>
                      <a:lnTo>
                        <a:pt x="267266" y="680308"/>
                      </a:lnTo>
                      <a:lnTo>
                        <a:pt x="267387" y="678778"/>
                      </a:lnTo>
                      <a:lnTo>
                        <a:pt x="267254" y="674977"/>
                      </a:lnTo>
                      <a:lnTo>
                        <a:pt x="268189" y="671541"/>
                      </a:lnTo>
                      <a:lnTo>
                        <a:pt x="270739" y="669392"/>
                      </a:lnTo>
                      <a:lnTo>
                        <a:pt x="272997" y="669416"/>
                      </a:lnTo>
                      <a:lnTo>
                        <a:pt x="273240" y="669246"/>
                      </a:lnTo>
                      <a:lnTo>
                        <a:pt x="274248" y="667412"/>
                      </a:lnTo>
                      <a:lnTo>
                        <a:pt x="274382" y="665773"/>
                      </a:lnTo>
                      <a:lnTo>
                        <a:pt x="273957" y="663939"/>
                      </a:lnTo>
                      <a:lnTo>
                        <a:pt x="273022" y="662810"/>
                      </a:lnTo>
                      <a:lnTo>
                        <a:pt x="270132" y="660770"/>
                      </a:lnTo>
                      <a:lnTo>
                        <a:pt x="268310" y="658208"/>
                      </a:lnTo>
                      <a:lnTo>
                        <a:pt x="268055" y="656326"/>
                      </a:lnTo>
                      <a:lnTo>
                        <a:pt x="268031" y="655488"/>
                      </a:lnTo>
                      <a:lnTo>
                        <a:pt x="267825" y="655209"/>
                      </a:lnTo>
                      <a:lnTo>
                        <a:pt x="265250" y="652987"/>
                      </a:lnTo>
                      <a:lnTo>
                        <a:pt x="263040" y="649769"/>
                      </a:lnTo>
                      <a:lnTo>
                        <a:pt x="263647" y="646223"/>
                      </a:lnTo>
                      <a:lnTo>
                        <a:pt x="266137" y="644183"/>
                      </a:lnTo>
                      <a:lnTo>
                        <a:pt x="270690" y="642398"/>
                      </a:lnTo>
                      <a:lnTo>
                        <a:pt x="279797" y="640309"/>
                      </a:lnTo>
                      <a:lnTo>
                        <a:pt x="283015" y="640431"/>
                      </a:lnTo>
                      <a:lnTo>
                        <a:pt x="285043" y="642034"/>
                      </a:lnTo>
                      <a:lnTo>
                        <a:pt x="286779" y="644462"/>
                      </a:lnTo>
                      <a:lnTo>
                        <a:pt x="287678" y="647789"/>
                      </a:lnTo>
                      <a:lnTo>
                        <a:pt x="287945" y="650497"/>
                      </a:lnTo>
                      <a:lnTo>
                        <a:pt x="297296" y="647061"/>
                      </a:lnTo>
                      <a:lnTo>
                        <a:pt x="302165" y="646782"/>
                      </a:lnTo>
                      <a:lnTo>
                        <a:pt x="307556" y="648105"/>
                      </a:lnTo>
                      <a:lnTo>
                        <a:pt x="308151" y="647935"/>
                      </a:lnTo>
                      <a:lnTo>
                        <a:pt x="310155" y="645749"/>
                      </a:lnTo>
                      <a:lnTo>
                        <a:pt x="312535" y="644037"/>
                      </a:lnTo>
                      <a:lnTo>
                        <a:pt x="312790" y="643770"/>
                      </a:lnTo>
                      <a:lnTo>
                        <a:pt x="313057" y="642714"/>
                      </a:lnTo>
                      <a:lnTo>
                        <a:pt x="312753" y="638500"/>
                      </a:lnTo>
                      <a:lnTo>
                        <a:pt x="313251" y="634687"/>
                      </a:lnTo>
                      <a:lnTo>
                        <a:pt x="312231" y="630486"/>
                      </a:lnTo>
                      <a:lnTo>
                        <a:pt x="312498" y="627729"/>
                      </a:lnTo>
                      <a:lnTo>
                        <a:pt x="312717" y="626466"/>
                      </a:lnTo>
                      <a:lnTo>
                        <a:pt x="315510" y="624560"/>
                      </a:lnTo>
                      <a:lnTo>
                        <a:pt x="318218" y="623734"/>
                      </a:lnTo>
                      <a:lnTo>
                        <a:pt x="321302" y="623953"/>
                      </a:lnTo>
                      <a:lnTo>
                        <a:pt x="324593" y="625410"/>
                      </a:lnTo>
                      <a:lnTo>
                        <a:pt x="328685" y="629101"/>
                      </a:lnTo>
                      <a:lnTo>
                        <a:pt x="328806" y="629126"/>
                      </a:lnTo>
                      <a:lnTo>
                        <a:pt x="330288" y="626090"/>
                      </a:lnTo>
                      <a:lnTo>
                        <a:pt x="331077" y="623880"/>
                      </a:lnTo>
                      <a:lnTo>
                        <a:pt x="331429" y="619630"/>
                      </a:lnTo>
                      <a:lnTo>
                        <a:pt x="333251" y="616570"/>
                      </a:lnTo>
                      <a:lnTo>
                        <a:pt x="337124" y="615271"/>
                      </a:lnTo>
                      <a:lnTo>
                        <a:pt x="343560" y="616145"/>
                      </a:lnTo>
                      <a:lnTo>
                        <a:pt x="344847" y="615975"/>
                      </a:lnTo>
                      <a:lnTo>
                        <a:pt x="345066" y="615829"/>
                      </a:lnTo>
                      <a:lnTo>
                        <a:pt x="345138" y="615295"/>
                      </a:lnTo>
                      <a:lnTo>
                        <a:pt x="344155" y="613510"/>
                      </a:lnTo>
                      <a:lnTo>
                        <a:pt x="343778" y="613680"/>
                      </a:lnTo>
                      <a:lnTo>
                        <a:pt x="341010" y="614105"/>
                      </a:lnTo>
                      <a:lnTo>
                        <a:pt x="339031" y="612587"/>
                      </a:lnTo>
                      <a:lnTo>
                        <a:pt x="337974" y="610753"/>
                      </a:lnTo>
                      <a:lnTo>
                        <a:pt x="337731" y="609308"/>
                      </a:lnTo>
                      <a:lnTo>
                        <a:pt x="337695" y="606855"/>
                      </a:lnTo>
                      <a:lnTo>
                        <a:pt x="337476" y="605070"/>
                      </a:lnTo>
                      <a:lnTo>
                        <a:pt x="337974" y="601500"/>
                      </a:lnTo>
                      <a:lnTo>
                        <a:pt x="340427" y="598489"/>
                      </a:lnTo>
                      <a:lnTo>
                        <a:pt x="345236" y="596680"/>
                      </a:lnTo>
                      <a:lnTo>
                        <a:pt x="348016" y="595951"/>
                      </a:lnTo>
                      <a:lnTo>
                        <a:pt x="351890" y="593110"/>
                      </a:lnTo>
                      <a:lnTo>
                        <a:pt x="357099" y="589005"/>
                      </a:lnTo>
                      <a:lnTo>
                        <a:pt x="359006" y="586237"/>
                      </a:lnTo>
                      <a:lnTo>
                        <a:pt x="366571" y="569929"/>
                      </a:lnTo>
                      <a:lnTo>
                        <a:pt x="367166" y="567270"/>
                      </a:lnTo>
                      <a:lnTo>
                        <a:pt x="366364" y="564890"/>
                      </a:lnTo>
                      <a:lnTo>
                        <a:pt x="366413" y="561963"/>
                      </a:lnTo>
                      <a:lnTo>
                        <a:pt x="367579" y="559316"/>
                      </a:lnTo>
                      <a:lnTo>
                        <a:pt x="369825" y="556960"/>
                      </a:lnTo>
                      <a:lnTo>
                        <a:pt x="370299" y="556207"/>
                      </a:lnTo>
                      <a:lnTo>
                        <a:pt x="370918" y="554872"/>
                      </a:lnTo>
                      <a:lnTo>
                        <a:pt x="371076" y="554143"/>
                      </a:lnTo>
                      <a:lnTo>
                        <a:pt x="370894" y="553609"/>
                      </a:lnTo>
                      <a:lnTo>
                        <a:pt x="368842" y="551083"/>
                      </a:lnTo>
                      <a:lnTo>
                        <a:pt x="368526" y="548849"/>
                      </a:lnTo>
                      <a:lnTo>
                        <a:pt x="369121" y="543020"/>
                      </a:lnTo>
                      <a:lnTo>
                        <a:pt x="368793" y="542765"/>
                      </a:lnTo>
                      <a:lnTo>
                        <a:pt x="364907" y="541648"/>
                      </a:lnTo>
                      <a:lnTo>
                        <a:pt x="362284" y="539438"/>
                      </a:lnTo>
                      <a:lnTo>
                        <a:pt x="361289" y="535552"/>
                      </a:lnTo>
                      <a:lnTo>
                        <a:pt x="364495" y="532565"/>
                      </a:lnTo>
                      <a:lnTo>
                        <a:pt x="367202" y="531958"/>
                      </a:lnTo>
                      <a:lnTo>
                        <a:pt x="370930" y="532237"/>
                      </a:lnTo>
                      <a:lnTo>
                        <a:pt x="373505" y="533002"/>
                      </a:lnTo>
                      <a:lnTo>
                        <a:pt x="375848" y="534119"/>
                      </a:lnTo>
                      <a:lnTo>
                        <a:pt x="377803" y="535382"/>
                      </a:lnTo>
                      <a:lnTo>
                        <a:pt x="379564" y="536196"/>
                      </a:lnTo>
                      <a:lnTo>
                        <a:pt x="381033" y="536390"/>
                      </a:lnTo>
                      <a:lnTo>
                        <a:pt x="383073" y="536269"/>
                      </a:lnTo>
                      <a:lnTo>
                        <a:pt x="385259" y="535698"/>
                      </a:lnTo>
                      <a:lnTo>
                        <a:pt x="387117" y="534739"/>
                      </a:lnTo>
                      <a:lnTo>
                        <a:pt x="388440" y="533451"/>
                      </a:lnTo>
                      <a:lnTo>
                        <a:pt x="388987" y="532784"/>
                      </a:lnTo>
                      <a:lnTo>
                        <a:pt x="388149" y="532674"/>
                      </a:lnTo>
                      <a:lnTo>
                        <a:pt x="385854" y="531800"/>
                      </a:lnTo>
                      <a:lnTo>
                        <a:pt x="384457" y="529821"/>
                      </a:lnTo>
                      <a:lnTo>
                        <a:pt x="384202" y="527428"/>
                      </a:lnTo>
                      <a:lnTo>
                        <a:pt x="385040" y="524672"/>
                      </a:lnTo>
                      <a:lnTo>
                        <a:pt x="387117" y="522936"/>
                      </a:lnTo>
                      <a:lnTo>
                        <a:pt x="388720" y="521903"/>
                      </a:lnTo>
                      <a:lnTo>
                        <a:pt x="387967" y="520568"/>
                      </a:lnTo>
                      <a:lnTo>
                        <a:pt x="387250" y="519888"/>
                      </a:lnTo>
                      <a:lnTo>
                        <a:pt x="386060" y="517836"/>
                      </a:lnTo>
                      <a:lnTo>
                        <a:pt x="385465" y="515225"/>
                      </a:lnTo>
                      <a:lnTo>
                        <a:pt x="385259" y="512238"/>
                      </a:lnTo>
                      <a:lnTo>
                        <a:pt x="384943" y="510683"/>
                      </a:lnTo>
                      <a:lnTo>
                        <a:pt x="384057" y="509469"/>
                      </a:lnTo>
                      <a:lnTo>
                        <a:pt x="382612" y="506433"/>
                      </a:lnTo>
                      <a:lnTo>
                        <a:pt x="379200" y="506057"/>
                      </a:lnTo>
                      <a:lnTo>
                        <a:pt x="377354" y="505498"/>
                      </a:lnTo>
                      <a:lnTo>
                        <a:pt x="374877" y="504005"/>
                      </a:lnTo>
                      <a:lnTo>
                        <a:pt x="373590" y="501686"/>
                      </a:lnTo>
                      <a:lnTo>
                        <a:pt x="373007" y="498601"/>
                      </a:lnTo>
                      <a:lnTo>
                        <a:pt x="372897" y="497751"/>
                      </a:lnTo>
                      <a:lnTo>
                        <a:pt x="374695" y="493890"/>
                      </a:lnTo>
                      <a:lnTo>
                        <a:pt x="378374" y="492845"/>
                      </a:lnTo>
                      <a:lnTo>
                        <a:pt x="380547" y="493489"/>
                      </a:lnTo>
                      <a:lnTo>
                        <a:pt x="381798" y="494254"/>
                      </a:lnTo>
                      <a:lnTo>
                        <a:pt x="382539" y="484868"/>
                      </a:lnTo>
                      <a:lnTo>
                        <a:pt x="383595" y="481820"/>
                      </a:lnTo>
                      <a:lnTo>
                        <a:pt x="385914" y="478492"/>
                      </a:lnTo>
                      <a:lnTo>
                        <a:pt x="386315" y="476452"/>
                      </a:lnTo>
                      <a:lnTo>
                        <a:pt x="386085" y="472457"/>
                      </a:lnTo>
                      <a:lnTo>
                        <a:pt x="385453" y="468122"/>
                      </a:lnTo>
                      <a:lnTo>
                        <a:pt x="382041" y="454449"/>
                      </a:lnTo>
                      <a:lnTo>
                        <a:pt x="379794" y="449216"/>
                      </a:lnTo>
                      <a:lnTo>
                        <a:pt x="378884" y="448584"/>
                      </a:lnTo>
                      <a:lnTo>
                        <a:pt x="371270" y="440898"/>
                      </a:lnTo>
                      <a:lnTo>
                        <a:pt x="369182" y="440352"/>
                      </a:lnTo>
                      <a:lnTo>
                        <a:pt x="368380" y="439999"/>
                      </a:lnTo>
                      <a:lnTo>
                        <a:pt x="366607" y="437364"/>
                      </a:lnTo>
                      <a:lnTo>
                        <a:pt x="366255" y="435397"/>
                      </a:lnTo>
                      <a:lnTo>
                        <a:pt x="366522" y="431645"/>
                      </a:lnTo>
                      <a:lnTo>
                        <a:pt x="366413" y="430686"/>
                      </a:lnTo>
                      <a:lnTo>
                        <a:pt x="365405" y="426606"/>
                      </a:lnTo>
                      <a:lnTo>
                        <a:pt x="365029" y="424080"/>
                      </a:lnTo>
                      <a:lnTo>
                        <a:pt x="365150" y="420692"/>
                      </a:lnTo>
                      <a:lnTo>
                        <a:pt x="365976" y="417693"/>
                      </a:lnTo>
                      <a:lnTo>
                        <a:pt x="367518" y="415301"/>
                      </a:lnTo>
                      <a:lnTo>
                        <a:pt x="367797" y="414742"/>
                      </a:lnTo>
                      <a:lnTo>
                        <a:pt x="367797" y="411451"/>
                      </a:lnTo>
                      <a:lnTo>
                        <a:pt x="374913" y="404081"/>
                      </a:lnTo>
                      <a:lnTo>
                        <a:pt x="378095" y="398993"/>
                      </a:lnTo>
                      <a:lnTo>
                        <a:pt x="378119" y="398665"/>
                      </a:lnTo>
                      <a:lnTo>
                        <a:pt x="376856" y="396758"/>
                      </a:lnTo>
                      <a:lnTo>
                        <a:pt x="375047" y="391974"/>
                      </a:lnTo>
                      <a:lnTo>
                        <a:pt x="374099" y="387991"/>
                      </a:lnTo>
                      <a:lnTo>
                        <a:pt x="373723" y="387360"/>
                      </a:lnTo>
                      <a:lnTo>
                        <a:pt x="372873" y="386510"/>
                      </a:lnTo>
                      <a:lnTo>
                        <a:pt x="371841" y="384980"/>
                      </a:lnTo>
                      <a:lnTo>
                        <a:pt x="371222" y="385174"/>
                      </a:lnTo>
                      <a:lnTo>
                        <a:pt x="370165" y="385295"/>
                      </a:lnTo>
                      <a:lnTo>
                        <a:pt x="367287" y="384518"/>
                      </a:lnTo>
                      <a:lnTo>
                        <a:pt x="366777" y="384118"/>
                      </a:lnTo>
                      <a:lnTo>
                        <a:pt x="365976" y="383134"/>
                      </a:lnTo>
                      <a:lnTo>
                        <a:pt x="364810" y="380123"/>
                      </a:lnTo>
                      <a:lnTo>
                        <a:pt x="364300" y="379054"/>
                      </a:lnTo>
                      <a:lnTo>
                        <a:pt x="363025" y="378872"/>
                      </a:lnTo>
                      <a:lnTo>
                        <a:pt x="362600" y="378702"/>
                      </a:lnTo>
                      <a:lnTo>
                        <a:pt x="361058" y="377475"/>
                      </a:lnTo>
                      <a:lnTo>
                        <a:pt x="360366" y="375581"/>
                      </a:lnTo>
                      <a:lnTo>
                        <a:pt x="360572" y="373881"/>
                      </a:lnTo>
                      <a:lnTo>
                        <a:pt x="361422" y="372169"/>
                      </a:lnTo>
                      <a:lnTo>
                        <a:pt x="362710" y="370785"/>
                      </a:lnTo>
                      <a:lnTo>
                        <a:pt x="364543" y="369461"/>
                      </a:lnTo>
                      <a:lnTo>
                        <a:pt x="365138" y="368854"/>
                      </a:lnTo>
                      <a:lnTo>
                        <a:pt x="364944" y="366911"/>
                      </a:lnTo>
                      <a:lnTo>
                        <a:pt x="366401" y="365612"/>
                      </a:lnTo>
                      <a:lnTo>
                        <a:pt x="369764" y="363669"/>
                      </a:lnTo>
                      <a:lnTo>
                        <a:pt x="376528" y="361180"/>
                      </a:lnTo>
                      <a:lnTo>
                        <a:pt x="381980" y="358557"/>
                      </a:lnTo>
                      <a:lnTo>
                        <a:pt x="384202" y="357185"/>
                      </a:lnTo>
                      <a:lnTo>
                        <a:pt x="384579" y="356395"/>
                      </a:lnTo>
                      <a:lnTo>
                        <a:pt x="385975" y="354003"/>
                      </a:lnTo>
                      <a:lnTo>
                        <a:pt x="386898" y="352983"/>
                      </a:lnTo>
                      <a:lnTo>
                        <a:pt x="389048" y="351878"/>
                      </a:lnTo>
                      <a:lnTo>
                        <a:pt x="396006" y="349717"/>
                      </a:lnTo>
                      <a:lnTo>
                        <a:pt x="399175" y="347786"/>
                      </a:lnTo>
                      <a:lnTo>
                        <a:pt x="402562" y="345345"/>
                      </a:lnTo>
                      <a:lnTo>
                        <a:pt x="407638" y="346936"/>
                      </a:lnTo>
                      <a:lnTo>
                        <a:pt x="411852" y="349972"/>
                      </a:lnTo>
                      <a:lnTo>
                        <a:pt x="412326" y="351235"/>
                      </a:lnTo>
                      <a:lnTo>
                        <a:pt x="412496" y="351939"/>
                      </a:lnTo>
                      <a:lnTo>
                        <a:pt x="413770" y="352509"/>
                      </a:lnTo>
                      <a:lnTo>
                        <a:pt x="420631" y="353639"/>
                      </a:lnTo>
                      <a:lnTo>
                        <a:pt x="420570" y="351599"/>
                      </a:lnTo>
                      <a:lnTo>
                        <a:pt x="419963" y="351259"/>
                      </a:lnTo>
                      <a:lnTo>
                        <a:pt x="418774" y="350166"/>
                      </a:lnTo>
                      <a:lnTo>
                        <a:pt x="417608" y="348721"/>
                      </a:lnTo>
                      <a:lnTo>
                        <a:pt x="416406" y="346851"/>
                      </a:lnTo>
                      <a:lnTo>
                        <a:pt x="416661" y="343864"/>
                      </a:lnTo>
                      <a:lnTo>
                        <a:pt x="418251" y="337792"/>
                      </a:lnTo>
                      <a:lnTo>
                        <a:pt x="419041" y="332231"/>
                      </a:lnTo>
                      <a:lnTo>
                        <a:pt x="419004" y="331235"/>
                      </a:lnTo>
                      <a:lnTo>
                        <a:pt x="417948" y="327094"/>
                      </a:lnTo>
                      <a:lnTo>
                        <a:pt x="417098" y="322213"/>
                      </a:lnTo>
                      <a:lnTo>
                        <a:pt x="416576" y="320792"/>
                      </a:lnTo>
                      <a:lnTo>
                        <a:pt x="415094" y="318946"/>
                      </a:lnTo>
                      <a:lnTo>
                        <a:pt x="410528" y="315716"/>
                      </a:lnTo>
                      <a:lnTo>
                        <a:pt x="398555" y="310786"/>
                      </a:lnTo>
                      <a:lnTo>
                        <a:pt x="396418" y="307313"/>
                      </a:lnTo>
                      <a:lnTo>
                        <a:pt x="392921" y="304897"/>
                      </a:lnTo>
                      <a:lnTo>
                        <a:pt x="391002" y="302566"/>
                      </a:lnTo>
                      <a:lnTo>
                        <a:pt x="389436" y="299384"/>
                      </a:lnTo>
                      <a:lnTo>
                        <a:pt x="388331" y="295328"/>
                      </a:lnTo>
                      <a:lnTo>
                        <a:pt x="387590" y="294260"/>
                      </a:lnTo>
                      <a:lnTo>
                        <a:pt x="385927" y="292402"/>
                      </a:lnTo>
                      <a:lnTo>
                        <a:pt x="383850" y="288783"/>
                      </a:lnTo>
                      <a:lnTo>
                        <a:pt x="382600" y="288018"/>
                      </a:lnTo>
                      <a:lnTo>
                        <a:pt x="377196" y="285578"/>
                      </a:lnTo>
                      <a:lnTo>
                        <a:pt x="373310" y="283234"/>
                      </a:lnTo>
                      <a:lnTo>
                        <a:pt x="371574" y="281352"/>
                      </a:lnTo>
                      <a:lnTo>
                        <a:pt x="370930" y="280259"/>
                      </a:lnTo>
                      <a:lnTo>
                        <a:pt x="373395" y="277964"/>
                      </a:lnTo>
                      <a:lnTo>
                        <a:pt x="370554" y="279008"/>
                      </a:lnTo>
                      <a:lnTo>
                        <a:pt x="369036" y="276082"/>
                      </a:lnTo>
                      <a:lnTo>
                        <a:pt x="368708" y="274965"/>
                      </a:lnTo>
                      <a:lnTo>
                        <a:pt x="368575" y="272245"/>
                      </a:lnTo>
                      <a:lnTo>
                        <a:pt x="369145" y="270144"/>
                      </a:lnTo>
                      <a:lnTo>
                        <a:pt x="370032" y="269027"/>
                      </a:lnTo>
                      <a:lnTo>
                        <a:pt x="371464" y="267873"/>
                      </a:lnTo>
                      <a:lnTo>
                        <a:pt x="372897" y="267303"/>
                      </a:lnTo>
                      <a:lnTo>
                        <a:pt x="373942" y="267048"/>
                      </a:lnTo>
                      <a:lnTo>
                        <a:pt x="375557" y="261365"/>
                      </a:lnTo>
                      <a:lnTo>
                        <a:pt x="376334" y="259191"/>
                      </a:lnTo>
                      <a:lnTo>
                        <a:pt x="376467" y="257637"/>
                      </a:lnTo>
                      <a:lnTo>
                        <a:pt x="376273" y="255536"/>
                      </a:lnTo>
                      <a:lnTo>
                        <a:pt x="376783" y="252549"/>
                      </a:lnTo>
                      <a:lnTo>
                        <a:pt x="378678" y="249222"/>
                      </a:lnTo>
                      <a:lnTo>
                        <a:pt x="384287" y="243345"/>
                      </a:lnTo>
                      <a:lnTo>
                        <a:pt x="397657" y="233060"/>
                      </a:lnTo>
                      <a:lnTo>
                        <a:pt x="403461" y="225664"/>
                      </a:lnTo>
                      <a:lnTo>
                        <a:pt x="406084" y="223284"/>
                      </a:lnTo>
                      <a:lnTo>
                        <a:pt x="408039" y="222847"/>
                      </a:lnTo>
                      <a:lnTo>
                        <a:pt x="410055" y="222811"/>
                      </a:lnTo>
                      <a:lnTo>
                        <a:pt x="411718" y="223029"/>
                      </a:lnTo>
                      <a:lnTo>
                        <a:pt x="413345" y="222252"/>
                      </a:lnTo>
                      <a:lnTo>
                        <a:pt x="416357" y="218840"/>
                      </a:lnTo>
                      <a:lnTo>
                        <a:pt x="418603" y="217249"/>
                      </a:lnTo>
                      <a:lnTo>
                        <a:pt x="422926" y="215367"/>
                      </a:lnTo>
                      <a:lnTo>
                        <a:pt x="424711" y="214104"/>
                      </a:lnTo>
                      <a:lnTo>
                        <a:pt x="427528" y="210899"/>
                      </a:lnTo>
                      <a:lnTo>
                        <a:pt x="431730" y="207486"/>
                      </a:lnTo>
                      <a:lnTo>
                        <a:pt x="438044" y="200055"/>
                      </a:lnTo>
                      <a:lnTo>
                        <a:pt x="440728" y="197469"/>
                      </a:lnTo>
                      <a:lnTo>
                        <a:pt x="443509" y="195489"/>
                      </a:lnTo>
                      <a:lnTo>
                        <a:pt x="449702" y="193473"/>
                      </a:lnTo>
                      <a:lnTo>
                        <a:pt x="451207" y="192538"/>
                      </a:lnTo>
                      <a:lnTo>
                        <a:pt x="456429" y="187475"/>
                      </a:lnTo>
                      <a:lnTo>
                        <a:pt x="459513" y="185799"/>
                      </a:lnTo>
                      <a:lnTo>
                        <a:pt x="462706" y="185070"/>
                      </a:lnTo>
                      <a:lnTo>
                        <a:pt x="465171" y="185010"/>
                      </a:lnTo>
                      <a:lnTo>
                        <a:pt x="465390" y="184233"/>
                      </a:lnTo>
                      <a:lnTo>
                        <a:pt x="465366" y="183710"/>
                      </a:lnTo>
                      <a:lnTo>
                        <a:pt x="464819" y="182472"/>
                      </a:lnTo>
                      <a:lnTo>
                        <a:pt x="463957" y="181719"/>
                      </a:lnTo>
                      <a:lnTo>
                        <a:pt x="462197" y="180918"/>
                      </a:lnTo>
                      <a:lnTo>
                        <a:pt x="458274" y="179376"/>
                      </a:lnTo>
                      <a:lnTo>
                        <a:pt x="456186" y="177008"/>
                      </a:lnTo>
                      <a:lnTo>
                        <a:pt x="455943" y="173620"/>
                      </a:lnTo>
                      <a:lnTo>
                        <a:pt x="457339" y="170839"/>
                      </a:lnTo>
                      <a:lnTo>
                        <a:pt x="459003" y="169479"/>
                      </a:lnTo>
                      <a:lnTo>
                        <a:pt x="460436" y="168690"/>
                      </a:lnTo>
                      <a:lnTo>
                        <a:pt x="459829" y="167998"/>
                      </a:lnTo>
                      <a:lnTo>
                        <a:pt x="453806" y="162145"/>
                      </a:lnTo>
                      <a:lnTo>
                        <a:pt x="452288" y="161015"/>
                      </a:lnTo>
                      <a:lnTo>
                        <a:pt x="451073" y="160785"/>
                      </a:lnTo>
                      <a:lnTo>
                        <a:pt x="449131" y="159813"/>
                      </a:lnTo>
                      <a:lnTo>
                        <a:pt x="446763" y="157858"/>
                      </a:lnTo>
                      <a:lnTo>
                        <a:pt x="445014" y="156049"/>
                      </a:lnTo>
                      <a:lnTo>
                        <a:pt x="445014" y="154822"/>
                      </a:lnTo>
                      <a:lnTo>
                        <a:pt x="445209" y="152005"/>
                      </a:lnTo>
                      <a:lnTo>
                        <a:pt x="446277" y="148642"/>
                      </a:lnTo>
                      <a:lnTo>
                        <a:pt x="440546" y="150633"/>
                      </a:lnTo>
                      <a:lnTo>
                        <a:pt x="436672" y="151532"/>
                      </a:lnTo>
                      <a:lnTo>
                        <a:pt x="434498" y="151738"/>
                      </a:lnTo>
                      <a:lnTo>
                        <a:pt x="430188" y="150645"/>
                      </a:lnTo>
                      <a:lnTo>
                        <a:pt x="423837" y="149213"/>
                      </a:lnTo>
                      <a:lnTo>
                        <a:pt x="427614" y="137446"/>
                      </a:lnTo>
                      <a:lnTo>
                        <a:pt x="436271" y="120992"/>
                      </a:lnTo>
                      <a:lnTo>
                        <a:pt x="439174" y="112577"/>
                      </a:lnTo>
                      <a:lnTo>
                        <a:pt x="439878" y="108959"/>
                      </a:lnTo>
                      <a:lnTo>
                        <a:pt x="440109" y="105510"/>
                      </a:lnTo>
                      <a:lnTo>
                        <a:pt x="439878" y="102074"/>
                      </a:lnTo>
                      <a:lnTo>
                        <a:pt x="438263" y="94545"/>
                      </a:lnTo>
                      <a:lnTo>
                        <a:pt x="437510" y="85498"/>
                      </a:lnTo>
                      <a:lnTo>
                        <a:pt x="436830" y="82414"/>
                      </a:lnTo>
                      <a:lnTo>
                        <a:pt x="436296" y="81625"/>
                      </a:lnTo>
                      <a:lnTo>
                        <a:pt x="435494" y="80046"/>
                      </a:lnTo>
                      <a:lnTo>
                        <a:pt x="431487" y="74230"/>
                      </a:lnTo>
                      <a:lnTo>
                        <a:pt x="429702" y="70806"/>
                      </a:lnTo>
                      <a:lnTo>
                        <a:pt x="427164" y="64491"/>
                      </a:lnTo>
                      <a:lnTo>
                        <a:pt x="426278" y="62682"/>
                      </a:lnTo>
                      <a:lnTo>
                        <a:pt x="423218" y="57315"/>
                      </a:lnTo>
                      <a:lnTo>
                        <a:pt x="419502" y="52287"/>
                      </a:lnTo>
                      <a:lnTo>
                        <a:pt x="417462" y="50551"/>
                      </a:lnTo>
                      <a:lnTo>
                        <a:pt x="415325" y="49786"/>
                      </a:lnTo>
                      <a:lnTo>
                        <a:pt x="410856" y="47042"/>
                      </a:lnTo>
                      <a:lnTo>
                        <a:pt x="407043" y="39003"/>
                      </a:lnTo>
                      <a:lnTo>
                        <a:pt x="406315" y="38615"/>
                      </a:lnTo>
                      <a:lnTo>
                        <a:pt x="404760" y="37157"/>
                      </a:lnTo>
                      <a:lnTo>
                        <a:pt x="403328" y="35008"/>
                      </a:lnTo>
                      <a:lnTo>
                        <a:pt x="402538" y="31742"/>
                      </a:lnTo>
                      <a:lnTo>
                        <a:pt x="402842" y="30272"/>
                      </a:lnTo>
                      <a:lnTo>
                        <a:pt x="403218" y="28839"/>
                      </a:lnTo>
                      <a:lnTo>
                        <a:pt x="405914" y="22950"/>
                      </a:lnTo>
                      <a:lnTo>
                        <a:pt x="406023" y="16976"/>
                      </a:lnTo>
                      <a:lnTo>
                        <a:pt x="406400" y="9897"/>
                      </a:lnTo>
                      <a:lnTo>
                        <a:pt x="409557" y="2574"/>
                      </a:lnTo>
                      <a:lnTo>
                        <a:pt x="410747" y="0"/>
                      </a:lnTo>
                      <a:lnTo>
                        <a:pt x="417571" y="2623"/>
                      </a:lnTo>
                      <a:lnTo>
                        <a:pt x="420461" y="5841"/>
                      </a:lnTo>
                      <a:lnTo>
                        <a:pt x="426132" y="9411"/>
                      </a:lnTo>
                      <a:lnTo>
                        <a:pt x="428403" y="12313"/>
                      </a:lnTo>
                      <a:lnTo>
                        <a:pt x="429471" y="14778"/>
                      </a:lnTo>
                      <a:lnTo>
                        <a:pt x="429860" y="19829"/>
                      </a:lnTo>
                      <a:lnTo>
                        <a:pt x="430248" y="21311"/>
                      </a:lnTo>
                      <a:lnTo>
                        <a:pt x="430334" y="21457"/>
                      </a:lnTo>
                      <a:lnTo>
                        <a:pt x="432119" y="22817"/>
                      </a:lnTo>
                      <a:lnTo>
                        <a:pt x="434462" y="23302"/>
                      </a:lnTo>
                      <a:lnTo>
                        <a:pt x="439368" y="23327"/>
                      </a:lnTo>
                      <a:lnTo>
                        <a:pt x="447297" y="22197"/>
                      </a:lnTo>
                      <a:lnTo>
                        <a:pt x="455639" y="23497"/>
                      </a:lnTo>
                      <a:lnTo>
                        <a:pt x="476379" y="31645"/>
                      </a:lnTo>
                      <a:lnTo>
                        <a:pt x="478140" y="33757"/>
                      </a:lnTo>
                      <a:lnTo>
                        <a:pt x="478590" y="33988"/>
                      </a:lnTo>
                      <a:lnTo>
                        <a:pt x="479427" y="34122"/>
                      </a:lnTo>
                      <a:lnTo>
                        <a:pt x="481237" y="34037"/>
                      </a:lnTo>
                      <a:lnTo>
                        <a:pt x="486495" y="32859"/>
                      </a:lnTo>
                      <a:lnTo>
                        <a:pt x="489664" y="31256"/>
                      </a:lnTo>
                      <a:lnTo>
                        <a:pt x="493695" y="28512"/>
                      </a:lnTo>
                      <a:lnTo>
                        <a:pt x="507283" y="15628"/>
                      </a:lnTo>
                      <a:lnTo>
                        <a:pt x="512893" y="15179"/>
                      </a:lnTo>
                      <a:lnTo>
                        <a:pt x="526943" y="17207"/>
                      </a:lnTo>
                      <a:lnTo>
                        <a:pt x="536329" y="16053"/>
                      </a:lnTo>
                      <a:lnTo>
                        <a:pt x="538309" y="16672"/>
                      </a:lnTo>
                      <a:lnTo>
                        <a:pt x="543348" y="20497"/>
                      </a:lnTo>
                      <a:lnTo>
                        <a:pt x="546456" y="21505"/>
                      </a:lnTo>
                      <a:lnTo>
                        <a:pt x="549565" y="20849"/>
                      </a:lnTo>
                      <a:lnTo>
                        <a:pt x="552418" y="22877"/>
                      </a:lnTo>
                      <a:lnTo>
                        <a:pt x="564003" y="28742"/>
                      </a:lnTo>
                      <a:lnTo>
                        <a:pt x="568969" y="32349"/>
                      </a:lnTo>
                      <a:lnTo>
                        <a:pt x="571993" y="37935"/>
                      </a:lnTo>
                      <a:lnTo>
                        <a:pt x="573001" y="43605"/>
                      </a:lnTo>
                      <a:lnTo>
                        <a:pt x="573049" y="55141"/>
                      </a:lnTo>
                      <a:lnTo>
                        <a:pt x="573390" y="58007"/>
                      </a:lnTo>
                      <a:lnTo>
                        <a:pt x="576413" y="55469"/>
                      </a:lnTo>
                      <a:lnTo>
                        <a:pt x="582727" y="54765"/>
                      </a:lnTo>
                      <a:lnTo>
                        <a:pt x="587573" y="60472"/>
                      </a:lnTo>
                      <a:lnTo>
                        <a:pt x="588253" y="63690"/>
                      </a:lnTo>
                      <a:lnTo>
                        <a:pt x="587997" y="67503"/>
                      </a:lnTo>
                      <a:lnTo>
                        <a:pt x="588398" y="68146"/>
                      </a:lnTo>
                      <a:lnTo>
                        <a:pt x="589151" y="68571"/>
                      </a:lnTo>
                      <a:lnTo>
                        <a:pt x="590766" y="68741"/>
                      </a:lnTo>
                      <a:lnTo>
                        <a:pt x="593304" y="66956"/>
                      </a:lnTo>
                      <a:lnTo>
                        <a:pt x="598865" y="66628"/>
                      </a:lnTo>
                      <a:lnTo>
                        <a:pt x="604524" y="69069"/>
                      </a:lnTo>
                      <a:lnTo>
                        <a:pt x="609162" y="72396"/>
                      </a:lnTo>
                      <a:lnTo>
                        <a:pt x="612538" y="75942"/>
                      </a:lnTo>
                      <a:lnTo>
                        <a:pt x="615610" y="81686"/>
                      </a:lnTo>
                      <a:lnTo>
                        <a:pt x="617262" y="86142"/>
                      </a:lnTo>
                      <a:lnTo>
                        <a:pt x="617663" y="86288"/>
                      </a:lnTo>
                      <a:lnTo>
                        <a:pt x="618695" y="87441"/>
                      </a:lnTo>
                      <a:lnTo>
                        <a:pt x="623807" y="88826"/>
                      </a:lnTo>
                      <a:lnTo>
                        <a:pt x="633740" y="89299"/>
                      </a:lnTo>
                      <a:lnTo>
                        <a:pt x="638573" y="88813"/>
                      </a:lnTo>
                      <a:lnTo>
                        <a:pt x="643381" y="87551"/>
                      </a:lnTo>
                      <a:lnTo>
                        <a:pt x="644644" y="86518"/>
                      </a:lnTo>
                      <a:lnTo>
                        <a:pt x="646150" y="84964"/>
                      </a:lnTo>
                      <a:lnTo>
                        <a:pt x="649137" y="82681"/>
                      </a:lnTo>
                      <a:lnTo>
                        <a:pt x="652768" y="82378"/>
                      </a:lnTo>
                      <a:lnTo>
                        <a:pt x="655415" y="82499"/>
                      </a:lnTo>
                      <a:lnTo>
                        <a:pt x="659738" y="81236"/>
                      </a:lnTo>
                      <a:lnTo>
                        <a:pt x="663563" y="80241"/>
                      </a:lnTo>
                      <a:lnTo>
                        <a:pt x="677041" y="89238"/>
                      </a:lnTo>
                      <a:lnTo>
                        <a:pt x="682554" y="91946"/>
                      </a:lnTo>
                      <a:lnTo>
                        <a:pt x="693398" y="90683"/>
                      </a:lnTo>
                      <a:lnTo>
                        <a:pt x="701922" y="91971"/>
                      </a:lnTo>
                      <a:lnTo>
                        <a:pt x="709937" y="94812"/>
                      </a:lnTo>
                      <a:lnTo>
                        <a:pt x="712074" y="96294"/>
                      </a:lnTo>
                      <a:lnTo>
                        <a:pt x="716457" y="99694"/>
                      </a:lnTo>
                      <a:lnTo>
                        <a:pt x="717137" y="105401"/>
                      </a:lnTo>
                      <a:lnTo>
                        <a:pt x="715170" y="109068"/>
                      </a:lnTo>
                      <a:lnTo>
                        <a:pt x="716700" y="109044"/>
                      </a:lnTo>
                      <a:lnTo>
                        <a:pt x="722845" y="106397"/>
                      </a:lnTo>
                      <a:lnTo>
                        <a:pt x="727592" y="106639"/>
                      </a:lnTo>
                      <a:lnTo>
                        <a:pt x="733664" y="109007"/>
                      </a:lnTo>
                      <a:lnTo>
                        <a:pt x="738691" y="111157"/>
                      </a:lnTo>
                      <a:lnTo>
                        <a:pt x="740938" y="111411"/>
                      </a:lnTo>
                      <a:lnTo>
                        <a:pt x="749316" y="111448"/>
                      </a:lnTo>
                      <a:lnTo>
                        <a:pt x="750409" y="111703"/>
                      </a:lnTo>
                      <a:lnTo>
                        <a:pt x="750531" y="113318"/>
                      </a:lnTo>
                      <a:lnTo>
                        <a:pt x="751332" y="113257"/>
                      </a:lnTo>
                      <a:lnTo>
                        <a:pt x="751611" y="112541"/>
                      </a:lnTo>
                      <a:lnTo>
                        <a:pt x="750798" y="112346"/>
                      </a:lnTo>
                      <a:lnTo>
                        <a:pt x="751332" y="109056"/>
                      </a:lnTo>
                      <a:lnTo>
                        <a:pt x="751623" y="108230"/>
                      </a:lnTo>
                      <a:lnTo>
                        <a:pt x="752656" y="106664"/>
                      </a:lnTo>
                      <a:lnTo>
                        <a:pt x="754562" y="105146"/>
                      </a:lnTo>
                      <a:lnTo>
                        <a:pt x="756748" y="105304"/>
                      </a:lnTo>
                      <a:lnTo>
                        <a:pt x="758314" y="106020"/>
                      </a:lnTo>
                      <a:lnTo>
                        <a:pt x="759796" y="107295"/>
                      </a:lnTo>
                      <a:lnTo>
                        <a:pt x="760476" y="107137"/>
                      </a:lnTo>
                      <a:lnTo>
                        <a:pt x="764131" y="107696"/>
                      </a:lnTo>
                      <a:lnTo>
                        <a:pt x="762321" y="112699"/>
                      </a:lnTo>
                      <a:lnTo>
                        <a:pt x="765855" y="122741"/>
                      </a:lnTo>
                      <a:lnTo>
                        <a:pt x="766753" y="126602"/>
                      </a:lnTo>
                      <a:lnTo>
                        <a:pt x="768684" y="148982"/>
                      </a:lnTo>
                      <a:lnTo>
                        <a:pt x="765333" y="154361"/>
                      </a:lnTo>
                      <a:lnTo>
                        <a:pt x="762297" y="154045"/>
                      </a:lnTo>
                      <a:lnTo>
                        <a:pt x="765017" y="155624"/>
                      </a:lnTo>
                      <a:lnTo>
                        <a:pt x="762819" y="161708"/>
                      </a:lnTo>
                      <a:lnTo>
                        <a:pt x="762006" y="165241"/>
                      </a:lnTo>
                      <a:lnTo>
                        <a:pt x="760063" y="179485"/>
                      </a:lnTo>
                      <a:lnTo>
                        <a:pt x="759468" y="180578"/>
                      </a:lnTo>
                      <a:lnTo>
                        <a:pt x="757938" y="182205"/>
                      </a:lnTo>
                      <a:lnTo>
                        <a:pt x="755521" y="183613"/>
                      </a:lnTo>
                      <a:lnTo>
                        <a:pt x="754987" y="184026"/>
                      </a:lnTo>
                      <a:lnTo>
                        <a:pt x="755679" y="184573"/>
                      </a:lnTo>
                      <a:lnTo>
                        <a:pt x="757112" y="186430"/>
                      </a:lnTo>
                      <a:lnTo>
                        <a:pt x="757829" y="187450"/>
                      </a:lnTo>
                      <a:lnTo>
                        <a:pt x="757124" y="191506"/>
                      </a:lnTo>
                      <a:lnTo>
                        <a:pt x="754453" y="192793"/>
                      </a:lnTo>
                      <a:lnTo>
                        <a:pt x="751150" y="193850"/>
                      </a:lnTo>
                      <a:lnTo>
                        <a:pt x="746900" y="196011"/>
                      </a:lnTo>
                      <a:lnTo>
                        <a:pt x="746876" y="196910"/>
                      </a:lnTo>
                      <a:lnTo>
                        <a:pt x="743743" y="204438"/>
                      </a:lnTo>
                      <a:lnTo>
                        <a:pt x="740051" y="206904"/>
                      </a:lnTo>
                      <a:lnTo>
                        <a:pt x="739602" y="207049"/>
                      </a:lnTo>
                      <a:lnTo>
                        <a:pt x="740318" y="208009"/>
                      </a:lnTo>
                      <a:lnTo>
                        <a:pt x="740585" y="211955"/>
                      </a:lnTo>
                      <a:lnTo>
                        <a:pt x="739311" y="214736"/>
                      </a:lnTo>
                      <a:lnTo>
                        <a:pt x="737173" y="216314"/>
                      </a:lnTo>
                      <a:lnTo>
                        <a:pt x="732680" y="217820"/>
                      </a:lnTo>
                      <a:lnTo>
                        <a:pt x="728916" y="219338"/>
                      </a:lnTo>
                      <a:lnTo>
                        <a:pt x="719177" y="221475"/>
                      </a:lnTo>
                      <a:lnTo>
                        <a:pt x="719432" y="213436"/>
                      </a:lnTo>
                      <a:lnTo>
                        <a:pt x="719360" y="213279"/>
                      </a:lnTo>
                      <a:lnTo>
                        <a:pt x="718230" y="213072"/>
                      </a:lnTo>
                      <a:lnTo>
                        <a:pt x="715802" y="213837"/>
                      </a:lnTo>
                      <a:lnTo>
                        <a:pt x="716118" y="218609"/>
                      </a:lnTo>
                      <a:lnTo>
                        <a:pt x="717028" y="219909"/>
                      </a:lnTo>
                      <a:lnTo>
                        <a:pt x="717514" y="220832"/>
                      </a:lnTo>
                      <a:lnTo>
                        <a:pt x="716761" y="225215"/>
                      </a:lnTo>
                      <a:lnTo>
                        <a:pt x="713337" y="225239"/>
                      </a:lnTo>
                      <a:lnTo>
                        <a:pt x="709475" y="224110"/>
                      </a:lnTo>
                      <a:lnTo>
                        <a:pt x="708528" y="225276"/>
                      </a:lnTo>
                      <a:lnTo>
                        <a:pt x="708152" y="226308"/>
                      </a:lnTo>
                      <a:lnTo>
                        <a:pt x="707909" y="226733"/>
                      </a:lnTo>
                      <a:lnTo>
                        <a:pt x="707994" y="226879"/>
                      </a:lnTo>
                      <a:lnTo>
                        <a:pt x="710107" y="227899"/>
                      </a:lnTo>
                      <a:lnTo>
                        <a:pt x="711770" y="227935"/>
                      </a:lnTo>
                      <a:lnTo>
                        <a:pt x="720331" y="228955"/>
                      </a:lnTo>
                      <a:lnTo>
                        <a:pt x="713895" y="233630"/>
                      </a:lnTo>
                      <a:lnTo>
                        <a:pt x="711212" y="235245"/>
                      </a:lnTo>
                      <a:lnTo>
                        <a:pt x="714053" y="235318"/>
                      </a:lnTo>
                      <a:lnTo>
                        <a:pt x="717004" y="240673"/>
                      </a:lnTo>
                      <a:lnTo>
                        <a:pt x="714721" y="245579"/>
                      </a:lnTo>
                      <a:lnTo>
                        <a:pt x="713932" y="246562"/>
                      </a:lnTo>
                      <a:lnTo>
                        <a:pt x="706512" y="252573"/>
                      </a:lnTo>
                      <a:lnTo>
                        <a:pt x="705165" y="257127"/>
                      </a:lnTo>
                      <a:lnTo>
                        <a:pt x="705407" y="257370"/>
                      </a:lnTo>
                      <a:lnTo>
                        <a:pt x="705529" y="258730"/>
                      </a:lnTo>
                      <a:lnTo>
                        <a:pt x="704813" y="262834"/>
                      </a:lnTo>
                      <a:lnTo>
                        <a:pt x="702238" y="266100"/>
                      </a:lnTo>
                      <a:lnTo>
                        <a:pt x="697624" y="267060"/>
                      </a:lnTo>
                      <a:lnTo>
                        <a:pt x="694212" y="265299"/>
                      </a:lnTo>
                      <a:lnTo>
                        <a:pt x="692123" y="262640"/>
                      </a:lnTo>
                      <a:lnTo>
                        <a:pt x="689257" y="257795"/>
                      </a:lnTo>
                      <a:lnTo>
                        <a:pt x="690241" y="257224"/>
                      </a:lnTo>
                      <a:lnTo>
                        <a:pt x="690022" y="255548"/>
                      </a:lnTo>
                      <a:lnTo>
                        <a:pt x="688735" y="258438"/>
                      </a:lnTo>
                      <a:lnTo>
                        <a:pt x="678814" y="259337"/>
                      </a:lnTo>
                      <a:lnTo>
                        <a:pt x="676605" y="259750"/>
                      </a:lnTo>
                      <a:lnTo>
                        <a:pt x="674892" y="259410"/>
                      </a:lnTo>
                      <a:lnTo>
                        <a:pt x="674091" y="259070"/>
                      </a:lnTo>
                      <a:lnTo>
                        <a:pt x="672743" y="257977"/>
                      </a:lnTo>
                      <a:lnTo>
                        <a:pt x="671031" y="255512"/>
                      </a:lnTo>
                      <a:lnTo>
                        <a:pt x="669926" y="256471"/>
                      </a:lnTo>
                      <a:lnTo>
                        <a:pt x="665530" y="259021"/>
                      </a:lnTo>
                      <a:lnTo>
                        <a:pt x="661499" y="258572"/>
                      </a:lnTo>
                      <a:lnTo>
                        <a:pt x="656836" y="256677"/>
                      </a:lnTo>
                      <a:lnTo>
                        <a:pt x="652974" y="254140"/>
                      </a:lnTo>
                      <a:lnTo>
                        <a:pt x="648372" y="249076"/>
                      </a:lnTo>
                      <a:lnTo>
                        <a:pt x="641669" y="246125"/>
                      </a:lnTo>
                      <a:lnTo>
                        <a:pt x="639253" y="243260"/>
                      </a:lnTo>
                      <a:lnTo>
                        <a:pt x="637917" y="238754"/>
                      </a:lnTo>
                      <a:lnTo>
                        <a:pt x="636496" y="237273"/>
                      </a:lnTo>
                      <a:lnTo>
                        <a:pt x="634469" y="236229"/>
                      </a:lnTo>
                      <a:lnTo>
                        <a:pt x="621876" y="230959"/>
                      </a:lnTo>
                      <a:lnTo>
                        <a:pt x="619326" y="228166"/>
                      </a:lnTo>
                      <a:lnTo>
                        <a:pt x="618488" y="226927"/>
                      </a:lnTo>
                      <a:lnTo>
                        <a:pt x="617116" y="223333"/>
                      </a:lnTo>
                      <a:lnTo>
                        <a:pt x="615380" y="210437"/>
                      </a:lnTo>
                      <a:lnTo>
                        <a:pt x="614190" y="208130"/>
                      </a:lnTo>
                      <a:lnTo>
                        <a:pt x="610474" y="202180"/>
                      </a:lnTo>
                      <a:lnTo>
                        <a:pt x="609162" y="198634"/>
                      </a:lnTo>
                      <a:lnTo>
                        <a:pt x="608859" y="192344"/>
                      </a:lnTo>
                      <a:lnTo>
                        <a:pt x="608798" y="189624"/>
                      </a:lnTo>
                      <a:lnTo>
                        <a:pt x="610547" y="189321"/>
                      </a:lnTo>
                      <a:lnTo>
                        <a:pt x="606649" y="187827"/>
                      </a:lnTo>
                      <a:lnTo>
                        <a:pt x="606005" y="184014"/>
                      </a:lnTo>
                      <a:lnTo>
                        <a:pt x="606491" y="182533"/>
                      </a:lnTo>
                      <a:lnTo>
                        <a:pt x="606272" y="181926"/>
                      </a:lnTo>
                      <a:lnTo>
                        <a:pt x="605811" y="181573"/>
                      </a:lnTo>
                      <a:lnTo>
                        <a:pt x="601901" y="180578"/>
                      </a:lnTo>
                      <a:lnTo>
                        <a:pt x="599497" y="179618"/>
                      </a:lnTo>
                      <a:lnTo>
                        <a:pt x="597384" y="177894"/>
                      </a:lnTo>
                      <a:lnTo>
                        <a:pt x="594980" y="175344"/>
                      </a:lnTo>
                      <a:lnTo>
                        <a:pt x="591604" y="173146"/>
                      </a:lnTo>
                      <a:lnTo>
                        <a:pt x="589564" y="171689"/>
                      </a:lnTo>
                      <a:lnTo>
                        <a:pt x="588095" y="170317"/>
                      </a:lnTo>
                      <a:lnTo>
                        <a:pt x="586176" y="171264"/>
                      </a:lnTo>
                      <a:lnTo>
                        <a:pt x="585533" y="172041"/>
                      </a:lnTo>
                      <a:lnTo>
                        <a:pt x="584537" y="172952"/>
                      </a:lnTo>
                      <a:lnTo>
                        <a:pt x="582618" y="175818"/>
                      </a:lnTo>
                      <a:lnTo>
                        <a:pt x="581634" y="178356"/>
                      </a:lnTo>
                      <a:lnTo>
                        <a:pt x="581683" y="179983"/>
                      </a:lnTo>
                      <a:lnTo>
                        <a:pt x="584209" y="182606"/>
                      </a:lnTo>
                      <a:lnTo>
                        <a:pt x="588896" y="184148"/>
                      </a:lnTo>
                      <a:lnTo>
                        <a:pt x="595125" y="187208"/>
                      </a:lnTo>
                      <a:lnTo>
                        <a:pt x="597226" y="194032"/>
                      </a:lnTo>
                      <a:lnTo>
                        <a:pt x="598040" y="193826"/>
                      </a:lnTo>
                      <a:lnTo>
                        <a:pt x="598222" y="193498"/>
                      </a:lnTo>
                      <a:lnTo>
                        <a:pt x="603965" y="189697"/>
                      </a:lnTo>
                      <a:lnTo>
                        <a:pt x="603468" y="196121"/>
                      </a:lnTo>
                      <a:lnTo>
                        <a:pt x="603164" y="198064"/>
                      </a:lnTo>
                      <a:lnTo>
                        <a:pt x="607900" y="199521"/>
                      </a:lnTo>
                      <a:lnTo>
                        <a:pt x="609964" y="206964"/>
                      </a:lnTo>
                      <a:lnTo>
                        <a:pt x="604366" y="210753"/>
                      </a:lnTo>
                      <a:lnTo>
                        <a:pt x="594275" y="213424"/>
                      </a:lnTo>
                      <a:lnTo>
                        <a:pt x="587463" y="211214"/>
                      </a:lnTo>
                      <a:lnTo>
                        <a:pt x="579279" y="203333"/>
                      </a:lnTo>
                      <a:lnTo>
                        <a:pt x="576328" y="202824"/>
                      </a:lnTo>
                      <a:lnTo>
                        <a:pt x="574373" y="204111"/>
                      </a:lnTo>
                      <a:lnTo>
                        <a:pt x="571410" y="211117"/>
                      </a:lnTo>
                      <a:lnTo>
                        <a:pt x="566031" y="213121"/>
                      </a:lnTo>
                      <a:lnTo>
                        <a:pt x="560919" y="210850"/>
                      </a:lnTo>
                      <a:lnTo>
                        <a:pt x="558636" y="207207"/>
                      </a:lnTo>
                      <a:lnTo>
                        <a:pt x="557130" y="203200"/>
                      </a:lnTo>
                      <a:lnTo>
                        <a:pt x="556304" y="201536"/>
                      </a:lnTo>
                      <a:lnTo>
                        <a:pt x="551714" y="199812"/>
                      </a:lnTo>
                      <a:lnTo>
                        <a:pt x="535431" y="205629"/>
                      </a:lnTo>
                      <a:lnTo>
                        <a:pt x="527829" y="200273"/>
                      </a:lnTo>
                      <a:lnTo>
                        <a:pt x="531836" y="196327"/>
                      </a:lnTo>
                      <a:lnTo>
                        <a:pt x="532650" y="195756"/>
                      </a:lnTo>
                      <a:lnTo>
                        <a:pt x="539547" y="192393"/>
                      </a:lnTo>
                      <a:lnTo>
                        <a:pt x="540785" y="191288"/>
                      </a:lnTo>
                      <a:lnTo>
                        <a:pt x="541854" y="189005"/>
                      </a:lnTo>
                      <a:lnTo>
                        <a:pt x="541781" y="188604"/>
                      </a:lnTo>
                      <a:lnTo>
                        <a:pt x="540191" y="187402"/>
                      </a:lnTo>
                      <a:lnTo>
                        <a:pt x="535698" y="185289"/>
                      </a:lnTo>
                      <a:lnTo>
                        <a:pt x="534654" y="183832"/>
                      </a:lnTo>
                      <a:lnTo>
                        <a:pt x="533597" y="181258"/>
                      </a:lnTo>
                      <a:lnTo>
                        <a:pt x="533670" y="179813"/>
                      </a:lnTo>
                      <a:lnTo>
                        <a:pt x="531302" y="179096"/>
                      </a:lnTo>
                      <a:lnTo>
                        <a:pt x="530282" y="175636"/>
                      </a:lnTo>
                      <a:lnTo>
                        <a:pt x="530501" y="174130"/>
                      </a:lnTo>
                      <a:lnTo>
                        <a:pt x="529177" y="173826"/>
                      </a:lnTo>
                      <a:lnTo>
                        <a:pt x="526918" y="172818"/>
                      </a:lnTo>
                      <a:lnTo>
                        <a:pt x="524514" y="171325"/>
                      </a:lnTo>
                      <a:lnTo>
                        <a:pt x="522268" y="168787"/>
                      </a:lnTo>
                      <a:lnTo>
                        <a:pt x="520835" y="165909"/>
                      </a:lnTo>
                      <a:lnTo>
                        <a:pt x="520301" y="165108"/>
                      </a:lnTo>
                      <a:lnTo>
                        <a:pt x="519135" y="164598"/>
                      </a:lnTo>
                      <a:lnTo>
                        <a:pt x="515905" y="164792"/>
                      </a:lnTo>
                      <a:lnTo>
                        <a:pt x="514569" y="164646"/>
                      </a:lnTo>
                      <a:lnTo>
                        <a:pt x="512068" y="163845"/>
                      </a:lnTo>
                      <a:lnTo>
                        <a:pt x="509105" y="162606"/>
                      </a:lnTo>
                      <a:lnTo>
                        <a:pt x="504587" y="159765"/>
                      </a:lnTo>
                      <a:lnTo>
                        <a:pt x="500726" y="155806"/>
                      </a:lnTo>
                      <a:lnTo>
                        <a:pt x="498722" y="154215"/>
                      </a:lnTo>
                      <a:lnTo>
                        <a:pt x="496343" y="151593"/>
                      </a:lnTo>
                      <a:lnTo>
                        <a:pt x="494072" y="150573"/>
                      </a:lnTo>
                      <a:lnTo>
                        <a:pt x="486847" y="148496"/>
                      </a:lnTo>
                      <a:lnTo>
                        <a:pt x="483143" y="144428"/>
                      </a:lnTo>
                      <a:lnTo>
                        <a:pt x="482512" y="139510"/>
                      </a:lnTo>
                      <a:lnTo>
                        <a:pt x="482597" y="136098"/>
                      </a:lnTo>
                      <a:lnTo>
                        <a:pt x="481613" y="137774"/>
                      </a:lnTo>
                      <a:lnTo>
                        <a:pt x="480314" y="140421"/>
                      </a:lnTo>
                      <a:lnTo>
                        <a:pt x="476659" y="152807"/>
                      </a:lnTo>
                      <a:lnTo>
                        <a:pt x="475359" y="155162"/>
                      </a:lnTo>
                      <a:lnTo>
                        <a:pt x="476938" y="155005"/>
                      </a:lnTo>
                      <a:lnTo>
                        <a:pt x="478966" y="155211"/>
                      </a:lnTo>
                      <a:lnTo>
                        <a:pt x="483325" y="157081"/>
                      </a:lnTo>
                      <a:lnTo>
                        <a:pt x="493489" y="158915"/>
                      </a:lnTo>
                      <a:lnTo>
                        <a:pt x="500034" y="161780"/>
                      </a:lnTo>
                      <a:lnTo>
                        <a:pt x="503227" y="166978"/>
                      </a:lnTo>
                      <a:lnTo>
                        <a:pt x="505377" y="173001"/>
                      </a:lnTo>
                      <a:lnTo>
                        <a:pt x="507223" y="178441"/>
                      </a:lnTo>
                      <a:lnTo>
                        <a:pt x="508085" y="188082"/>
                      </a:lnTo>
                      <a:lnTo>
                        <a:pt x="500180" y="186880"/>
                      </a:lnTo>
                      <a:lnTo>
                        <a:pt x="498638" y="187353"/>
                      </a:lnTo>
                      <a:lnTo>
                        <a:pt x="497229" y="187487"/>
                      </a:lnTo>
                      <a:lnTo>
                        <a:pt x="495456" y="187414"/>
                      </a:lnTo>
                      <a:lnTo>
                        <a:pt x="493209" y="186625"/>
                      </a:lnTo>
                      <a:lnTo>
                        <a:pt x="493052" y="186977"/>
                      </a:lnTo>
                      <a:lnTo>
                        <a:pt x="491327" y="189005"/>
                      </a:lnTo>
                      <a:lnTo>
                        <a:pt x="484539" y="193340"/>
                      </a:lnTo>
                      <a:lnTo>
                        <a:pt x="481819" y="195004"/>
                      </a:lnTo>
                      <a:lnTo>
                        <a:pt x="479427" y="197201"/>
                      </a:lnTo>
                      <a:lnTo>
                        <a:pt x="478966" y="197942"/>
                      </a:lnTo>
                      <a:lnTo>
                        <a:pt x="477351" y="200079"/>
                      </a:lnTo>
                      <a:lnTo>
                        <a:pt x="476805" y="202386"/>
                      </a:lnTo>
                      <a:lnTo>
                        <a:pt x="477266" y="209538"/>
                      </a:lnTo>
                      <a:lnTo>
                        <a:pt x="476877" y="210449"/>
                      </a:lnTo>
                      <a:lnTo>
                        <a:pt x="474874" y="214165"/>
                      </a:lnTo>
                      <a:lnTo>
                        <a:pt x="470879" y="216581"/>
                      </a:lnTo>
                      <a:lnTo>
                        <a:pt x="459306" y="220479"/>
                      </a:lnTo>
                      <a:lnTo>
                        <a:pt x="455129" y="221366"/>
                      </a:lnTo>
                      <a:lnTo>
                        <a:pt x="453296" y="222629"/>
                      </a:lnTo>
                      <a:lnTo>
                        <a:pt x="451960" y="224256"/>
                      </a:lnTo>
                      <a:lnTo>
                        <a:pt x="449956" y="225883"/>
                      </a:lnTo>
                      <a:lnTo>
                        <a:pt x="444322" y="229368"/>
                      </a:lnTo>
                      <a:lnTo>
                        <a:pt x="443132" y="231214"/>
                      </a:lnTo>
                      <a:lnTo>
                        <a:pt x="441408" y="237018"/>
                      </a:lnTo>
                      <a:lnTo>
                        <a:pt x="437935" y="237176"/>
                      </a:lnTo>
                      <a:lnTo>
                        <a:pt x="440096" y="238633"/>
                      </a:lnTo>
                      <a:lnTo>
                        <a:pt x="440363" y="238439"/>
                      </a:lnTo>
                      <a:lnTo>
                        <a:pt x="440679" y="238645"/>
                      </a:lnTo>
                      <a:lnTo>
                        <a:pt x="441942" y="239835"/>
                      </a:lnTo>
                      <a:lnTo>
                        <a:pt x="443666" y="241669"/>
                      </a:lnTo>
                      <a:lnTo>
                        <a:pt x="444140" y="245518"/>
                      </a:lnTo>
                      <a:lnTo>
                        <a:pt x="442306" y="250897"/>
                      </a:lnTo>
                      <a:lnTo>
                        <a:pt x="437376" y="254637"/>
                      </a:lnTo>
                      <a:lnTo>
                        <a:pt x="434073" y="260794"/>
                      </a:lnTo>
                      <a:lnTo>
                        <a:pt x="430783" y="271625"/>
                      </a:lnTo>
                      <a:lnTo>
                        <a:pt x="430236" y="272694"/>
                      </a:lnTo>
                      <a:lnTo>
                        <a:pt x="429107" y="274382"/>
                      </a:lnTo>
                      <a:lnTo>
                        <a:pt x="428597" y="274710"/>
                      </a:lnTo>
                      <a:lnTo>
                        <a:pt x="429811" y="282153"/>
                      </a:lnTo>
                      <a:lnTo>
                        <a:pt x="431184" y="285201"/>
                      </a:lnTo>
                      <a:lnTo>
                        <a:pt x="430856" y="287994"/>
                      </a:lnTo>
                      <a:lnTo>
                        <a:pt x="433041" y="290411"/>
                      </a:lnTo>
                      <a:lnTo>
                        <a:pt x="434377" y="292718"/>
                      </a:lnTo>
                      <a:lnTo>
                        <a:pt x="435616" y="296361"/>
                      </a:lnTo>
                      <a:lnTo>
                        <a:pt x="436587" y="297344"/>
                      </a:lnTo>
                      <a:lnTo>
                        <a:pt x="438736" y="297247"/>
                      </a:lnTo>
                      <a:lnTo>
                        <a:pt x="441420" y="295899"/>
                      </a:lnTo>
                      <a:lnTo>
                        <a:pt x="444213" y="294272"/>
                      </a:lnTo>
                      <a:lnTo>
                        <a:pt x="454401" y="291321"/>
                      </a:lnTo>
                      <a:lnTo>
                        <a:pt x="461541" y="294879"/>
                      </a:lnTo>
                      <a:lnTo>
                        <a:pt x="468122" y="301971"/>
                      </a:lnTo>
                      <a:lnTo>
                        <a:pt x="473769" y="308358"/>
                      </a:lnTo>
                      <a:lnTo>
                        <a:pt x="486774" y="316761"/>
                      </a:lnTo>
                      <a:lnTo>
                        <a:pt x="493052" y="323415"/>
                      </a:lnTo>
                      <a:lnTo>
                        <a:pt x="493865" y="335619"/>
                      </a:lnTo>
                      <a:lnTo>
                        <a:pt x="495638" y="337319"/>
                      </a:lnTo>
                      <a:lnTo>
                        <a:pt x="502912" y="340682"/>
                      </a:lnTo>
                      <a:lnTo>
                        <a:pt x="504928" y="344957"/>
                      </a:lnTo>
                      <a:lnTo>
                        <a:pt x="510015" y="348733"/>
                      </a:lnTo>
                      <a:lnTo>
                        <a:pt x="511776" y="352255"/>
                      </a:lnTo>
                      <a:lnTo>
                        <a:pt x="512201" y="352619"/>
                      </a:lnTo>
                      <a:lnTo>
                        <a:pt x="515334" y="353226"/>
                      </a:lnTo>
                      <a:lnTo>
                        <a:pt x="523518" y="353445"/>
                      </a:lnTo>
                      <a:lnTo>
                        <a:pt x="527610" y="355400"/>
                      </a:lnTo>
                      <a:lnTo>
                        <a:pt x="534107" y="359467"/>
                      </a:lnTo>
                      <a:lnTo>
                        <a:pt x="536232" y="359807"/>
                      </a:lnTo>
                      <a:lnTo>
                        <a:pt x="537082" y="359577"/>
                      </a:lnTo>
                      <a:lnTo>
                        <a:pt x="538199" y="358508"/>
                      </a:lnTo>
                      <a:lnTo>
                        <a:pt x="539219" y="357245"/>
                      </a:lnTo>
                      <a:lnTo>
                        <a:pt x="540713" y="355788"/>
                      </a:lnTo>
                      <a:lnTo>
                        <a:pt x="542571" y="354258"/>
                      </a:lnTo>
                      <a:lnTo>
                        <a:pt x="544878" y="353906"/>
                      </a:lnTo>
                      <a:lnTo>
                        <a:pt x="547574" y="354197"/>
                      </a:lnTo>
                      <a:lnTo>
                        <a:pt x="547379" y="348466"/>
                      </a:lnTo>
                      <a:lnTo>
                        <a:pt x="557373" y="352255"/>
                      </a:lnTo>
                      <a:lnTo>
                        <a:pt x="559850" y="354125"/>
                      </a:lnTo>
                      <a:lnTo>
                        <a:pt x="561951" y="356517"/>
                      </a:lnTo>
                      <a:lnTo>
                        <a:pt x="564537" y="358848"/>
                      </a:lnTo>
                      <a:lnTo>
                        <a:pt x="566711" y="361920"/>
                      </a:lnTo>
                      <a:lnTo>
                        <a:pt x="567342" y="363620"/>
                      </a:lnTo>
                      <a:lnTo>
                        <a:pt x="567597" y="368623"/>
                      </a:lnTo>
                      <a:lnTo>
                        <a:pt x="564756" y="375023"/>
                      </a:lnTo>
                      <a:lnTo>
                        <a:pt x="566031" y="375945"/>
                      </a:lnTo>
                      <a:lnTo>
                        <a:pt x="566929" y="378884"/>
                      </a:lnTo>
                      <a:lnTo>
                        <a:pt x="567063" y="380086"/>
                      </a:lnTo>
                      <a:lnTo>
                        <a:pt x="564125" y="381410"/>
                      </a:lnTo>
                      <a:lnTo>
                        <a:pt x="567379" y="381398"/>
                      </a:lnTo>
                      <a:lnTo>
                        <a:pt x="571702" y="387020"/>
                      </a:lnTo>
                      <a:lnTo>
                        <a:pt x="572017" y="387275"/>
                      </a:lnTo>
                      <a:lnTo>
                        <a:pt x="573317" y="387603"/>
                      </a:lnTo>
                      <a:lnTo>
                        <a:pt x="577700" y="387833"/>
                      </a:lnTo>
                      <a:lnTo>
                        <a:pt x="579534" y="389351"/>
                      </a:lnTo>
                      <a:lnTo>
                        <a:pt x="582169" y="391950"/>
                      </a:lnTo>
                      <a:lnTo>
                        <a:pt x="585581" y="392399"/>
                      </a:lnTo>
                      <a:lnTo>
                        <a:pt x="595720" y="391877"/>
                      </a:lnTo>
                      <a:lnTo>
                        <a:pt x="598550" y="395216"/>
                      </a:lnTo>
                      <a:lnTo>
                        <a:pt x="599266" y="398519"/>
                      </a:lnTo>
                      <a:lnTo>
                        <a:pt x="598647" y="401191"/>
                      </a:lnTo>
                      <a:lnTo>
                        <a:pt x="596874" y="404178"/>
                      </a:lnTo>
                      <a:lnTo>
                        <a:pt x="589054" y="409946"/>
                      </a:lnTo>
                      <a:lnTo>
                        <a:pt x="588605" y="410626"/>
                      </a:lnTo>
                      <a:lnTo>
                        <a:pt x="588495" y="412496"/>
                      </a:lnTo>
                      <a:lnTo>
                        <a:pt x="589102" y="415046"/>
                      </a:lnTo>
                      <a:lnTo>
                        <a:pt x="588434" y="417547"/>
                      </a:lnTo>
                      <a:lnTo>
                        <a:pt x="586662" y="419320"/>
                      </a:lnTo>
                      <a:lnTo>
                        <a:pt x="590438" y="425282"/>
                      </a:lnTo>
                      <a:lnTo>
                        <a:pt x="579765" y="424651"/>
                      </a:lnTo>
                      <a:lnTo>
                        <a:pt x="566165" y="420097"/>
                      </a:lnTo>
                      <a:lnTo>
                        <a:pt x="564695" y="419320"/>
                      </a:lnTo>
                      <a:lnTo>
                        <a:pt x="564173" y="419903"/>
                      </a:lnTo>
                      <a:lnTo>
                        <a:pt x="563578" y="421627"/>
                      </a:lnTo>
                      <a:lnTo>
                        <a:pt x="562461" y="424165"/>
                      </a:lnTo>
                      <a:lnTo>
                        <a:pt x="559304" y="426424"/>
                      </a:lnTo>
                      <a:lnTo>
                        <a:pt x="546966" y="425221"/>
                      </a:lnTo>
                      <a:lnTo>
                        <a:pt x="535042" y="420984"/>
                      </a:lnTo>
                      <a:lnTo>
                        <a:pt x="529760" y="420012"/>
                      </a:lnTo>
                      <a:lnTo>
                        <a:pt x="523955" y="419891"/>
                      </a:lnTo>
                      <a:lnTo>
                        <a:pt x="521733" y="422319"/>
                      </a:lnTo>
                      <a:lnTo>
                        <a:pt x="520288" y="423254"/>
                      </a:lnTo>
                      <a:lnTo>
                        <a:pt x="519098" y="423801"/>
                      </a:lnTo>
                      <a:lnTo>
                        <a:pt x="516536" y="424396"/>
                      </a:lnTo>
                      <a:lnTo>
                        <a:pt x="515115" y="424274"/>
                      </a:lnTo>
                      <a:lnTo>
                        <a:pt x="508777" y="422465"/>
                      </a:lnTo>
                      <a:lnTo>
                        <a:pt x="502535" y="420097"/>
                      </a:lnTo>
                      <a:lnTo>
                        <a:pt x="500459" y="419587"/>
                      </a:lnTo>
                      <a:lnTo>
                        <a:pt x="496100" y="420304"/>
                      </a:lnTo>
                      <a:lnTo>
                        <a:pt x="495383" y="421591"/>
                      </a:lnTo>
                      <a:lnTo>
                        <a:pt x="495857" y="431997"/>
                      </a:lnTo>
                      <a:lnTo>
                        <a:pt x="494254" y="445974"/>
                      </a:lnTo>
                      <a:lnTo>
                        <a:pt x="491862" y="452227"/>
                      </a:lnTo>
                      <a:lnTo>
                        <a:pt x="488850" y="456186"/>
                      </a:lnTo>
                      <a:lnTo>
                        <a:pt x="487648" y="457643"/>
                      </a:lnTo>
                      <a:lnTo>
                        <a:pt x="487187" y="461990"/>
                      </a:lnTo>
                      <a:lnTo>
                        <a:pt x="485353" y="466095"/>
                      </a:lnTo>
                      <a:lnTo>
                        <a:pt x="484588" y="467649"/>
                      </a:lnTo>
                      <a:lnTo>
                        <a:pt x="477703" y="476452"/>
                      </a:lnTo>
                      <a:lnTo>
                        <a:pt x="474242" y="482512"/>
                      </a:lnTo>
                      <a:lnTo>
                        <a:pt x="471097" y="484843"/>
                      </a:lnTo>
                      <a:lnTo>
                        <a:pt x="466786" y="484443"/>
                      </a:lnTo>
                      <a:lnTo>
                        <a:pt x="458432" y="482318"/>
                      </a:lnTo>
                      <a:lnTo>
                        <a:pt x="454061" y="482075"/>
                      </a:lnTo>
                      <a:lnTo>
                        <a:pt x="453733" y="475772"/>
                      </a:lnTo>
                      <a:lnTo>
                        <a:pt x="452288" y="472955"/>
                      </a:lnTo>
                      <a:lnTo>
                        <a:pt x="450904" y="471340"/>
                      </a:lnTo>
                      <a:lnTo>
                        <a:pt x="450029" y="470199"/>
                      </a:lnTo>
                      <a:lnTo>
                        <a:pt x="448463" y="469300"/>
                      </a:lnTo>
                      <a:lnTo>
                        <a:pt x="446119" y="469070"/>
                      </a:lnTo>
                      <a:lnTo>
                        <a:pt x="443241" y="470041"/>
                      </a:lnTo>
                      <a:lnTo>
                        <a:pt x="437048" y="473356"/>
                      </a:lnTo>
                      <a:lnTo>
                        <a:pt x="437570" y="474376"/>
                      </a:lnTo>
                      <a:lnTo>
                        <a:pt x="440193" y="481613"/>
                      </a:lnTo>
                      <a:lnTo>
                        <a:pt x="441019" y="487199"/>
                      </a:lnTo>
                      <a:lnTo>
                        <a:pt x="438372" y="490988"/>
                      </a:lnTo>
                      <a:lnTo>
                        <a:pt x="435494" y="493695"/>
                      </a:lnTo>
                      <a:lnTo>
                        <a:pt x="434729" y="495723"/>
                      </a:lnTo>
                      <a:lnTo>
                        <a:pt x="433734" y="497751"/>
                      </a:lnTo>
                      <a:lnTo>
                        <a:pt x="431171" y="498103"/>
                      </a:lnTo>
                      <a:lnTo>
                        <a:pt x="430856" y="498055"/>
                      </a:lnTo>
                      <a:lnTo>
                        <a:pt x="430479" y="498868"/>
                      </a:lnTo>
                      <a:lnTo>
                        <a:pt x="430127" y="502317"/>
                      </a:lnTo>
                      <a:lnTo>
                        <a:pt x="427589" y="505838"/>
                      </a:lnTo>
                      <a:lnTo>
                        <a:pt x="424274" y="506409"/>
                      </a:lnTo>
                      <a:lnTo>
                        <a:pt x="423521" y="513707"/>
                      </a:lnTo>
                      <a:lnTo>
                        <a:pt x="423023" y="514763"/>
                      </a:lnTo>
                      <a:lnTo>
                        <a:pt x="420619" y="518236"/>
                      </a:lnTo>
                      <a:lnTo>
                        <a:pt x="419356" y="521296"/>
                      </a:lnTo>
                      <a:lnTo>
                        <a:pt x="418955" y="523931"/>
                      </a:lnTo>
                      <a:lnTo>
                        <a:pt x="419951" y="524223"/>
                      </a:lnTo>
                      <a:lnTo>
                        <a:pt x="424468" y="526032"/>
                      </a:lnTo>
                      <a:lnTo>
                        <a:pt x="426800" y="531229"/>
                      </a:lnTo>
                      <a:lnTo>
                        <a:pt x="428949" y="533099"/>
                      </a:lnTo>
                      <a:lnTo>
                        <a:pt x="429629" y="534107"/>
                      </a:lnTo>
                      <a:lnTo>
                        <a:pt x="429921" y="534726"/>
                      </a:lnTo>
                      <a:lnTo>
                        <a:pt x="430394" y="536414"/>
                      </a:lnTo>
                      <a:lnTo>
                        <a:pt x="430394" y="546311"/>
                      </a:lnTo>
                      <a:lnTo>
                        <a:pt x="432386" y="548764"/>
                      </a:lnTo>
                      <a:lnTo>
                        <a:pt x="434159" y="551763"/>
                      </a:lnTo>
                      <a:lnTo>
                        <a:pt x="434414" y="552297"/>
                      </a:lnTo>
                      <a:lnTo>
                        <a:pt x="438117" y="553099"/>
                      </a:lnTo>
                      <a:lnTo>
                        <a:pt x="463472" y="565873"/>
                      </a:lnTo>
                      <a:lnTo>
                        <a:pt x="488097" y="578380"/>
                      </a:lnTo>
                      <a:lnTo>
                        <a:pt x="501940" y="588993"/>
                      </a:lnTo>
                      <a:lnTo>
                        <a:pt x="505559" y="589746"/>
                      </a:lnTo>
                      <a:lnTo>
                        <a:pt x="517204" y="590256"/>
                      </a:lnTo>
                      <a:lnTo>
                        <a:pt x="520373" y="591179"/>
                      </a:lnTo>
                      <a:lnTo>
                        <a:pt x="527258" y="593450"/>
                      </a:lnTo>
                      <a:lnTo>
                        <a:pt x="528181" y="593170"/>
                      </a:lnTo>
                      <a:lnTo>
                        <a:pt x="528740" y="593134"/>
                      </a:lnTo>
                      <a:lnTo>
                        <a:pt x="530719" y="590159"/>
                      </a:lnTo>
                      <a:lnTo>
                        <a:pt x="533488" y="583796"/>
                      </a:lnTo>
                      <a:lnTo>
                        <a:pt x="540470" y="585314"/>
                      </a:lnTo>
                      <a:lnTo>
                        <a:pt x="547039" y="589224"/>
                      </a:lnTo>
                      <a:lnTo>
                        <a:pt x="552686" y="596267"/>
                      </a:lnTo>
                      <a:lnTo>
                        <a:pt x="553839" y="604925"/>
                      </a:lnTo>
                      <a:lnTo>
                        <a:pt x="554410" y="607366"/>
                      </a:lnTo>
                      <a:lnTo>
                        <a:pt x="554556" y="608349"/>
                      </a:lnTo>
                      <a:lnTo>
                        <a:pt x="554981" y="609041"/>
                      </a:lnTo>
                      <a:lnTo>
                        <a:pt x="554968" y="611154"/>
                      </a:lnTo>
                      <a:lnTo>
                        <a:pt x="554325" y="612988"/>
                      </a:lnTo>
                      <a:lnTo>
                        <a:pt x="552868" y="615271"/>
                      </a:lnTo>
                      <a:lnTo>
                        <a:pt x="551751" y="616837"/>
                      </a:lnTo>
                      <a:lnTo>
                        <a:pt x="551496" y="617821"/>
                      </a:lnTo>
                      <a:lnTo>
                        <a:pt x="551083" y="618974"/>
                      </a:lnTo>
                      <a:lnTo>
                        <a:pt x="546966" y="620905"/>
                      </a:lnTo>
                      <a:lnTo>
                        <a:pt x="542631" y="622520"/>
                      </a:lnTo>
                      <a:lnTo>
                        <a:pt x="542619" y="622848"/>
                      </a:lnTo>
                      <a:lnTo>
                        <a:pt x="541441" y="625046"/>
                      </a:lnTo>
                      <a:lnTo>
                        <a:pt x="541684" y="625762"/>
                      </a:lnTo>
                      <a:lnTo>
                        <a:pt x="542559" y="629259"/>
                      </a:lnTo>
                      <a:lnTo>
                        <a:pt x="542583" y="630146"/>
                      </a:lnTo>
                      <a:lnTo>
                        <a:pt x="542352" y="632441"/>
                      </a:lnTo>
                      <a:lnTo>
                        <a:pt x="541041" y="637128"/>
                      </a:lnTo>
                      <a:lnTo>
                        <a:pt x="540992" y="637626"/>
                      </a:lnTo>
                      <a:lnTo>
                        <a:pt x="541344" y="638524"/>
                      </a:lnTo>
                      <a:lnTo>
                        <a:pt x="545060" y="641694"/>
                      </a:lnTo>
                      <a:lnTo>
                        <a:pt x="545424" y="643321"/>
                      </a:lnTo>
                      <a:lnTo>
                        <a:pt x="550391" y="644486"/>
                      </a:lnTo>
                      <a:lnTo>
                        <a:pt x="550561" y="649732"/>
                      </a:lnTo>
                      <a:lnTo>
                        <a:pt x="547707" y="653460"/>
                      </a:lnTo>
                      <a:lnTo>
                        <a:pt x="546517" y="655500"/>
                      </a:lnTo>
                      <a:lnTo>
                        <a:pt x="546966" y="656302"/>
                      </a:lnTo>
                      <a:lnTo>
                        <a:pt x="548326" y="660734"/>
                      </a:lnTo>
                      <a:lnTo>
                        <a:pt x="548946" y="665433"/>
                      </a:lnTo>
                      <a:lnTo>
                        <a:pt x="548217" y="670642"/>
                      </a:lnTo>
                      <a:lnTo>
                        <a:pt x="545946" y="673545"/>
                      </a:lnTo>
                      <a:lnTo>
                        <a:pt x="538527" y="680648"/>
                      </a:lnTo>
                      <a:lnTo>
                        <a:pt x="536050" y="682591"/>
                      </a:lnTo>
                      <a:lnTo>
                        <a:pt x="534508" y="683380"/>
                      </a:lnTo>
                      <a:lnTo>
                        <a:pt x="530938" y="684097"/>
                      </a:lnTo>
                      <a:lnTo>
                        <a:pt x="526178" y="683805"/>
                      </a:lnTo>
                      <a:lnTo>
                        <a:pt x="523882" y="683939"/>
                      </a:lnTo>
                      <a:lnTo>
                        <a:pt x="522377" y="685129"/>
                      </a:lnTo>
                      <a:lnTo>
                        <a:pt x="522231" y="685542"/>
                      </a:lnTo>
                      <a:lnTo>
                        <a:pt x="522353" y="686683"/>
                      </a:lnTo>
                      <a:lnTo>
                        <a:pt x="522814" y="688869"/>
                      </a:lnTo>
                      <a:lnTo>
                        <a:pt x="522753" y="690666"/>
                      </a:lnTo>
                      <a:lnTo>
                        <a:pt x="521539" y="694042"/>
                      </a:lnTo>
                      <a:lnTo>
                        <a:pt x="518515" y="698741"/>
                      </a:lnTo>
                      <a:lnTo>
                        <a:pt x="518103" y="699785"/>
                      </a:lnTo>
                      <a:lnTo>
                        <a:pt x="518103" y="700465"/>
                      </a:lnTo>
                      <a:lnTo>
                        <a:pt x="519171" y="702906"/>
                      </a:lnTo>
                      <a:lnTo>
                        <a:pt x="519742" y="705918"/>
                      </a:lnTo>
                      <a:lnTo>
                        <a:pt x="519645" y="706610"/>
                      </a:lnTo>
                      <a:lnTo>
                        <a:pt x="515783" y="724229"/>
                      </a:lnTo>
                      <a:lnTo>
                        <a:pt x="516087" y="724375"/>
                      </a:lnTo>
                      <a:lnTo>
                        <a:pt x="517253" y="724484"/>
                      </a:lnTo>
                      <a:lnTo>
                        <a:pt x="517933" y="724618"/>
                      </a:lnTo>
                      <a:lnTo>
                        <a:pt x="519985" y="726123"/>
                      </a:lnTo>
                      <a:lnTo>
                        <a:pt x="520677" y="728698"/>
                      </a:lnTo>
                      <a:lnTo>
                        <a:pt x="520276" y="731199"/>
                      </a:lnTo>
                      <a:lnTo>
                        <a:pt x="519863" y="732353"/>
                      </a:lnTo>
                      <a:lnTo>
                        <a:pt x="520361" y="732887"/>
                      </a:lnTo>
                      <a:lnTo>
                        <a:pt x="520920" y="733118"/>
                      </a:lnTo>
                      <a:lnTo>
                        <a:pt x="523895" y="732814"/>
                      </a:lnTo>
                      <a:lnTo>
                        <a:pt x="526348" y="733178"/>
                      </a:lnTo>
                      <a:lnTo>
                        <a:pt x="527258" y="733373"/>
                      </a:lnTo>
                      <a:lnTo>
                        <a:pt x="530707" y="737003"/>
                      </a:lnTo>
                      <a:lnTo>
                        <a:pt x="535528" y="745297"/>
                      </a:lnTo>
                      <a:lnTo>
                        <a:pt x="538236" y="748005"/>
                      </a:lnTo>
                      <a:lnTo>
                        <a:pt x="543239" y="751259"/>
                      </a:lnTo>
                      <a:lnTo>
                        <a:pt x="545764" y="752364"/>
                      </a:lnTo>
                      <a:lnTo>
                        <a:pt x="547464" y="755594"/>
                      </a:lnTo>
                      <a:lnTo>
                        <a:pt x="548375" y="754174"/>
                      </a:lnTo>
                      <a:lnTo>
                        <a:pt x="551544" y="751563"/>
                      </a:lnTo>
                      <a:lnTo>
                        <a:pt x="553426" y="750130"/>
                      </a:lnTo>
                      <a:lnTo>
                        <a:pt x="559000" y="754611"/>
                      </a:lnTo>
                      <a:lnTo>
                        <a:pt x="558466" y="760512"/>
                      </a:lnTo>
                      <a:lnTo>
                        <a:pt x="553706" y="773105"/>
                      </a:lnTo>
                      <a:lnTo>
                        <a:pt x="549140" y="784871"/>
                      </a:lnTo>
                      <a:lnTo>
                        <a:pt x="544319" y="792485"/>
                      </a:lnTo>
                      <a:lnTo>
                        <a:pt x="543093" y="795314"/>
                      </a:lnTo>
                      <a:lnTo>
                        <a:pt x="543239" y="798228"/>
                      </a:lnTo>
                      <a:lnTo>
                        <a:pt x="544526" y="800912"/>
                      </a:lnTo>
                      <a:lnTo>
                        <a:pt x="546104" y="802272"/>
                      </a:lnTo>
                      <a:lnTo>
                        <a:pt x="557798" y="805963"/>
                      </a:lnTo>
                      <a:lnTo>
                        <a:pt x="559085" y="805441"/>
                      </a:lnTo>
                      <a:lnTo>
                        <a:pt x="559959" y="804555"/>
                      </a:lnTo>
                      <a:lnTo>
                        <a:pt x="562133" y="803110"/>
                      </a:lnTo>
                      <a:lnTo>
                        <a:pt x="565800" y="802575"/>
                      </a:lnTo>
                      <a:lnTo>
                        <a:pt x="569479" y="803304"/>
                      </a:lnTo>
                      <a:lnTo>
                        <a:pt x="583007" y="807833"/>
                      </a:lnTo>
                      <a:lnTo>
                        <a:pt x="584901" y="808695"/>
                      </a:lnTo>
                      <a:lnTo>
                        <a:pt x="586067" y="808950"/>
                      </a:lnTo>
                      <a:lnTo>
                        <a:pt x="591555" y="808598"/>
                      </a:lnTo>
                      <a:lnTo>
                        <a:pt x="594470" y="811294"/>
                      </a:lnTo>
                      <a:lnTo>
                        <a:pt x="594470" y="814925"/>
                      </a:lnTo>
                      <a:lnTo>
                        <a:pt x="593304" y="817475"/>
                      </a:lnTo>
                      <a:lnTo>
                        <a:pt x="592721" y="818385"/>
                      </a:lnTo>
                      <a:lnTo>
                        <a:pt x="591033" y="820256"/>
                      </a:lnTo>
                      <a:lnTo>
                        <a:pt x="585702" y="824639"/>
                      </a:lnTo>
                      <a:lnTo>
                        <a:pt x="575818" y="834997"/>
                      </a:lnTo>
                      <a:lnTo>
                        <a:pt x="574045" y="838616"/>
                      </a:lnTo>
                      <a:lnTo>
                        <a:pt x="573620" y="848136"/>
                      </a:lnTo>
                      <a:lnTo>
                        <a:pt x="571786" y="854511"/>
                      </a:lnTo>
                      <a:lnTo>
                        <a:pt x="571859" y="855664"/>
                      </a:lnTo>
                      <a:lnTo>
                        <a:pt x="571799" y="857595"/>
                      </a:lnTo>
                      <a:lnTo>
                        <a:pt x="572382" y="858749"/>
                      </a:lnTo>
                      <a:lnTo>
                        <a:pt x="575417" y="862197"/>
                      </a:lnTo>
                      <a:lnTo>
                        <a:pt x="577579" y="865549"/>
                      </a:lnTo>
                      <a:lnTo>
                        <a:pt x="581780" y="875299"/>
                      </a:lnTo>
                      <a:lnTo>
                        <a:pt x="582837" y="876429"/>
                      </a:lnTo>
                      <a:lnTo>
                        <a:pt x="588022" y="878080"/>
                      </a:lnTo>
                      <a:lnTo>
                        <a:pt x="591409" y="881237"/>
                      </a:lnTo>
                      <a:lnTo>
                        <a:pt x="591992" y="884965"/>
                      </a:lnTo>
                      <a:lnTo>
                        <a:pt x="591713" y="889482"/>
                      </a:lnTo>
                      <a:lnTo>
                        <a:pt x="590997" y="893368"/>
                      </a:lnTo>
                      <a:lnTo>
                        <a:pt x="589916" y="897048"/>
                      </a:lnTo>
                      <a:lnTo>
                        <a:pt x="587645" y="900435"/>
                      </a:lnTo>
                      <a:lnTo>
                        <a:pt x="585338" y="903204"/>
                      </a:lnTo>
                      <a:lnTo>
                        <a:pt x="584853" y="904357"/>
                      </a:lnTo>
                      <a:lnTo>
                        <a:pt x="585205" y="907138"/>
                      </a:lnTo>
                      <a:lnTo>
                        <a:pt x="586904" y="911170"/>
                      </a:lnTo>
                      <a:lnTo>
                        <a:pt x="587402" y="912505"/>
                      </a:lnTo>
                      <a:lnTo>
                        <a:pt x="588022" y="915031"/>
                      </a:lnTo>
                      <a:lnTo>
                        <a:pt x="588799" y="919633"/>
                      </a:lnTo>
                      <a:lnTo>
                        <a:pt x="590074" y="921503"/>
                      </a:lnTo>
                      <a:lnTo>
                        <a:pt x="590827" y="922839"/>
                      </a:lnTo>
                      <a:lnTo>
                        <a:pt x="592818" y="928376"/>
                      </a:lnTo>
                      <a:lnTo>
                        <a:pt x="593802" y="934217"/>
                      </a:lnTo>
                      <a:lnTo>
                        <a:pt x="592333" y="941126"/>
                      </a:lnTo>
                      <a:lnTo>
                        <a:pt x="592089" y="941284"/>
                      </a:lnTo>
                      <a:lnTo>
                        <a:pt x="592357" y="941381"/>
                      </a:lnTo>
                      <a:lnTo>
                        <a:pt x="596218" y="944223"/>
                      </a:lnTo>
                      <a:lnTo>
                        <a:pt x="598173" y="952553"/>
                      </a:lnTo>
                      <a:lnTo>
                        <a:pt x="601452" y="959826"/>
                      </a:lnTo>
                      <a:lnTo>
                        <a:pt x="602411" y="965169"/>
                      </a:lnTo>
                      <a:lnTo>
                        <a:pt x="602120" y="967744"/>
                      </a:lnTo>
                      <a:lnTo>
                        <a:pt x="600918" y="970075"/>
                      </a:lnTo>
                      <a:lnTo>
                        <a:pt x="600104" y="971386"/>
                      </a:lnTo>
                      <a:lnTo>
                        <a:pt x="600043" y="973730"/>
                      </a:lnTo>
                      <a:lnTo>
                        <a:pt x="602217" y="983590"/>
                      </a:lnTo>
                      <a:lnTo>
                        <a:pt x="603079" y="985412"/>
                      </a:lnTo>
                      <a:lnTo>
                        <a:pt x="607438" y="992819"/>
                      </a:lnTo>
                      <a:lnTo>
                        <a:pt x="604463" y="994798"/>
                      </a:lnTo>
                      <a:lnTo>
                        <a:pt x="605240" y="996620"/>
                      </a:lnTo>
                      <a:lnTo>
                        <a:pt x="613048" y="1006395"/>
                      </a:lnTo>
                      <a:lnTo>
                        <a:pt x="614967" y="1010280"/>
                      </a:lnTo>
                      <a:lnTo>
                        <a:pt x="616193" y="1014700"/>
                      </a:lnTo>
                      <a:lnTo>
                        <a:pt x="616703" y="1021221"/>
                      </a:lnTo>
                      <a:lnTo>
                        <a:pt x="612684" y="1026151"/>
                      </a:lnTo>
                      <a:lnTo>
                        <a:pt x="609041" y="1034153"/>
                      </a:lnTo>
                      <a:lnTo>
                        <a:pt x="609454" y="1035696"/>
                      </a:lnTo>
                      <a:lnTo>
                        <a:pt x="610486" y="1037396"/>
                      </a:lnTo>
                      <a:lnTo>
                        <a:pt x="611798" y="1039958"/>
                      </a:lnTo>
                      <a:lnTo>
                        <a:pt x="612684" y="1043005"/>
                      </a:lnTo>
                      <a:lnTo>
                        <a:pt x="614250" y="1056023"/>
                      </a:lnTo>
                      <a:lnTo>
                        <a:pt x="613158" y="1063916"/>
                      </a:lnTo>
                      <a:lnTo>
                        <a:pt x="606054" y="1068068"/>
                      </a:lnTo>
                      <a:lnTo>
                        <a:pt x="603649" y="1066963"/>
                      </a:lnTo>
                      <a:lnTo>
                        <a:pt x="604172" y="1073897"/>
                      </a:lnTo>
                      <a:lnTo>
                        <a:pt x="601512" y="1072525"/>
                      </a:lnTo>
                      <a:lnTo>
                        <a:pt x="604512" y="1077200"/>
                      </a:lnTo>
                      <a:lnTo>
                        <a:pt x="607742" y="1094540"/>
                      </a:lnTo>
                      <a:lnTo>
                        <a:pt x="610049" y="1101389"/>
                      </a:lnTo>
                      <a:lnTo>
                        <a:pt x="610389" y="1101632"/>
                      </a:lnTo>
                      <a:lnTo>
                        <a:pt x="613825" y="1104947"/>
                      </a:lnTo>
                      <a:lnTo>
                        <a:pt x="617250" y="1111929"/>
                      </a:lnTo>
                      <a:lnTo>
                        <a:pt x="617687" y="1112597"/>
                      </a:lnTo>
                      <a:lnTo>
                        <a:pt x="617966" y="1113690"/>
                      </a:lnTo>
                      <a:lnTo>
                        <a:pt x="618488" y="1121728"/>
                      </a:lnTo>
                      <a:lnTo>
                        <a:pt x="617322" y="1126063"/>
                      </a:lnTo>
                      <a:lnTo>
                        <a:pt x="616910" y="1127326"/>
                      </a:lnTo>
                      <a:lnTo>
                        <a:pt x="611579" y="1129803"/>
                      </a:lnTo>
                      <a:lnTo>
                        <a:pt x="608786" y="1129658"/>
                      </a:lnTo>
                      <a:lnTo>
                        <a:pt x="606078" y="1128674"/>
                      </a:lnTo>
                      <a:lnTo>
                        <a:pt x="605556" y="1128200"/>
                      </a:lnTo>
                      <a:lnTo>
                        <a:pt x="605240" y="1129293"/>
                      </a:lnTo>
                      <a:lnTo>
                        <a:pt x="603127" y="1130338"/>
                      </a:lnTo>
                      <a:lnTo>
                        <a:pt x="598453" y="1131042"/>
                      </a:lnTo>
                      <a:lnTo>
                        <a:pt x="592976" y="1128103"/>
                      </a:lnTo>
                      <a:lnTo>
                        <a:pt x="585350" y="1122785"/>
                      </a:lnTo>
                      <a:lnTo>
                        <a:pt x="579121" y="1121692"/>
                      </a:lnTo>
                      <a:lnTo>
                        <a:pt x="576984" y="1120611"/>
                      </a:lnTo>
                      <a:lnTo>
                        <a:pt x="576401" y="1120247"/>
                      </a:lnTo>
                      <a:lnTo>
                        <a:pt x="575612" y="1118984"/>
                      </a:lnTo>
                      <a:lnTo>
                        <a:pt x="575357" y="1122688"/>
                      </a:lnTo>
                      <a:lnTo>
                        <a:pt x="571289" y="1126925"/>
                      </a:lnTo>
                      <a:lnTo>
                        <a:pt x="565824" y="1128322"/>
                      </a:lnTo>
                      <a:lnTo>
                        <a:pt x="562376" y="1127217"/>
                      </a:lnTo>
                      <a:lnTo>
                        <a:pt x="564027" y="1131625"/>
                      </a:lnTo>
                      <a:lnTo>
                        <a:pt x="562096" y="1137016"/>
                      </a:lnTo>
                      <a:lnTo>
                        <a:pt x="554859" y="1140331"/>
                      </a:lnTo>
                      <a:lnTo>
                        <a:pt x="546505" y="1139299"/>
                      </a:lnTo>
                      <a:lnTo>
                        <a:pt x="540446" y="1133495"/>
                      </a:lnTo>
                      <a:lnTo>
                        <a:pt x="543506" y="1126743"/>
                      </a:lnTo>
                      <a:lnTo>
                        <a:pt x="537689" y="1114479"/>
                      </a:lnTo>
                      <a:lnTo>
                        <a:pt x="536851" y="1109901"/>
                      </a:lnTo>
                      <a:lnTo>
                        <a:pt x="540239" y="1087425"/>
                      </a:lnTo>
                      <a:lnTo>
                        <a:pt x="539474" y="1085202"/>
                      </a:lnTo>
                      <a:lnTo>
                        <a:pt x="538490" y="1081244"/>
                      </a:lnTo>
                      <a:lnTo>
                        <a:pt x="542546" y="1069028"/>
                      </a:lnTo>
                      <a:lnTo>
                        <a:pt x="542753" y="1062592"/>
                      </a:lnTo>
                      <a:lnTo>
                        <a:pt x="540725" y="1064620"/>
                      </a:lnTo>
                      <a:lnTo>
                        <a:pt x="538891" y="1066247"/>
                      </a:lnTo>
                      <a:lnTo>
                        <a:pt x="536038" y="1064134"/>
                      </a:lnTo>
                      <a:lnTo>
                        <a:pt x="535576" y="1064329"/>
                      </a:lnTo>
                      <a:lnTo>
                        <a:pt x="531970" y="1064559"/>
                      </a:lnTo>
                      <a:lnTo>
                        <a:pt x="528594" y="1063454"/>
                      </a:lnTo>
                      <a:lnTo>
                        <a:pt x="527416" y="1062993"/>
                      </a:lnTo>
                      <a:lnTo>
                        <a:pt x="526882" y="1061742"/>
                      </a:lnTo>
                      <a:lnTo>
                        <a:pt x="526627" y="1064122"/>
                      </a:lnTo>
                      <a:lnTo>
                        <a:pt x="520604" y="1080309"/>
                      </a:lnTo>
                      <a:lnTo>
                        <a:pt x="520325" y="1083247"/>
                      </a:lnTo>
                      <a:lnTo>
                        <a:pt x="520471" y="1092015"/>
                      </a:lnTo>
                      <a:lnTo>
                        <a:pt x="524162" y="1090351"/>
                      </a:lnTo>
                      <a:lnTo>
                        <a:pt x="530731" y="1090606"/>
                      </a:lnTo>
                      <a:lnTo>
                        <a:pt x="533208" y="1098802"/>
                      </a:lnTo>
                      <a:lnTo>
                        <a:pt x="532601" y="1103065"/>
                      </a:lnTo>
                      <a:lnTo>
                        <a:pt x="531254" y="1107728"/>
                      </a:lnTo>
                      <a:lnTo>
                        <a:pt x="528728" y="1111273"/>
                      </a:lnTo>
                      <a:lnTo>
                        <a:pt x="527076" y="1113337"/>
                      </a:lnTo>
                      <a:lnTo>
                        <a:pt x="526008" y="1112706"/>
                      </a:lnTo>
                      <a:lnTo>
                        <a:pt x="526894" y="1120890"/>
                      </a:lnTo>
                      <a:lnTo>
                        <a:pt x="525983" y="1126682"/>
                      </a:lnTo>
                      <a:lnTo>
                        <a:pt x="525158" y="1131345"/>
                      </a:lnTo>
                      <a:lnTo>
                        <a:pt x="522875" y="1129767"/>
                      </a:lnTo>
                      <a:lnTo>
                        <a:pt x="522875" y="1134114"/>
                      </a:lnTo>
                      <a:lnTo>
                        <a:pt x="521563" y="1137939"/>
                      </a:lnTo>
                      <a:lnTo>
                        <a:pt x="520932" y="1139481"/>
                      </a:lnTo>
                      <a:lnTo>
                        <a:pt x="516597" y="1140283"/>
                      </a:lnTo>
                      <a:lnTo>
                        <a:pt x="519268" y="1142845"/>
                      </a:lnTo>
                      <a:lnTo>
                        <a:pt x="507295" y="1146609"/>
                      </a:lnTo>
                      <a:lnTo>
                        <a:pt x="501430" y="1143343"/>
                      </a:lnTo>
                      <a:close/>
                      <a:moveTo>
                        <a:pt x="572454" y="1111273"/>
                      </a:moveTo>
                      <a:lnTo>
                        <a:pt x="573584" y="1113423"/>
                      </a:lnTo>
                      <a:lnTo>
                        <a:pt x="572649" y="1105457"/>
                      </a:lnTo>
                      <a:lnTo>
                        <a:pt x="572102" y="1106829"/>
                      </a:lnTo>
                      <a:lnTo>
                        <a:pt x="571762" y="1108444"/>
                      </a:lnTo>
                      <a:lnTo>
                        <a:pt x="572454" y="1111273"/>
                      </a:lnTo>
                      <a:close/>
                      <a:moveTo>
                        <a:pt x="530671" y="1044888"/>
                      </a:moveTo>
                      <a:lnTo>
                        <a:pt x="526882" y="1050401"/>
                      </a:lnTo>
                      <a:lnTo>
                        <a:pt x="526639" y="1052465"/>
                      </a:lnTo>
                      <a:lnTo>
                        <a:pt x="526712" y="1053716"/>
                      </a:lnTo>
                      <a:lnTo>
                        <a:pt x="527113" y="1052635"/>
                      </a:lnTo>
                      <a:lnTo>
                        <a:pt x="530112" y="1048118"/>
                      </a:lnTo>
                      <a:lnTo>
                        <a:pt x="530877" y="1045920"/>
                      </a:lnTo>
                      <a:lnTo>
                        <a:pt x="530792" y="1044402"/>
                      </a:lnTo>
                      <a:lnTo>
                        <a:pt x="530671" y="1044888"/>
                      </a:lnTo>
                      <a:close/>
                    </a:path>
                  </a:pathLst>
                </a:custGeom>
                <a:solidFill>
                  <a:srgbClr val="D7D7D2"/>
                </a:solidFill>
                <a:ln w="12138" cap="flat">
                  <a:noFill/>
                  <a:prstDash val="solid"/>
                  <a:miter/>
                </a:ln>
              </p:spPr>
              <p:txBody>
                <a:bodyPr rtlCol="0" anchor="ctr"/>
                <a:lstStyle/>
                <a:p>
                  <a:endParaRPr lang="en-US"/>
                </a:p>
              </p:txBody>
            </p:sp>
            <p:sp>
              <p:nvSpPr>
                <p:cNvPr id="360" name="Freeform: Shape 359">
                  <a:extLst>
                    <a:ext uri="{FF2B5EF4-FFF2-40B4-BE49-F238E27FC236}">
                      <a16:creationId xmlns:a16="http://schemas.microsoft.com/office/drawing/2014/main" id="{9899A440-C0CF-4AC2-8537-A6C091E68969}"/>
                    </a:ext>
                  </a:extLst>
                </p:cNvPr>
                <p:cNvSpPr/>
                <p:nvPr/>
              </p:nvSpPr>
              <p:spPr>
                <a:xfrm>
                  <a:off x="6668612" y="2694136"/>
                  <a:ext cx="774525" cy="1153700"/>
                </a:xfrm>
                <a:custGeom>
                  <a:avLst/>
                  <a:gdLst>
                    <a:gd name="connsiteX0" fmla="*/ 415179 w 774525"/>
                    <a:gd name="connsiteY0" fmla="*/ 7711 h 1153700"/>
                    <a:gd name="connsiteX1" fmla="*/ 418676 w 774525"/>
                    <a:gd name="connsiteY1" fmla="*/ 9059 h 1153700"/>
                    <a:gd name="connsiteX2" fmla="*/ 421081 w 774525"/>
                    <a:gd name="connsiteY2" fmla="*/ 11730 h 1153700"/>
                    <a:gd name="connsiteX3" fmla="*/ 427346 w 774525"/>
                    <a:gd name="connsiteY3" fmla="*/ 15810 h 1153700"/>
                    <a:gd name="connsiteX4" fmla="*/ 428767 w 774525"/>
                    <a:gd name="connsiteY4" fmla="*/ 17887 h 1153700"/>
                    <a:gd name="connsiteX5" fmla="*/ 429520 w 774525"/>
                    <a:gd name="connsiteY5" fmla="*/ 19769 h 1153700"/>
                    <a:gd name="connsiteX6" fmla="*/ 429690 w 774525"/>
                    <a:gd name="connsiteY6" fmla="*/ 23800 h 1153700"/>
                    <a:gd name="connsiteX7" fmla="*/ 430151 w 774525"/>
                    <a:gd name="connsiteY7" fmla="*/ 25828 h 1153700"/>
                    <a:gd name="connsiteX8" fmla="*/ 430965 w 774525"/>
                    <a:gd name="connsiteY8" fmla="*/ 27407 h 1153700"/>
                    <a:gd name="connsiteX9" fmla="*/ 433151 w 774525"/>
                    <a:gd name="connsiteY9" fmla="*/ 29070 h 1153700"/>
                    <a:gd name="connsiteX10" fmla="*/ 436466 w 774525"/>
                    <a:gd name="connsiteY10" fmla="*/ 30054 h 1153700"/>
                    <a:gd name="connsiteX11" fmla="*/ 442161 w 774525"/>
                    <a:gd name="connsiteY11" fmla="*/ 30199 h 1153700"/>
                    <a:gd name="connsiteX12" fmla="*/ 450588 w 774525"/>
                    <a:gd name="connsiteY12" fmla="*/ 29046 h 1153700"/>
                    <a:gd name="connsiteX13" fmla="*/ 457983 w 774525"/>
                    <a:gd name="connsiteY13" fmla="*/ 30333 h 1153700"/>
                    <a:gd name="connsiteX14" fmla="*/ 477412 w 774525"/>
                    <a:gd name="connsiteY14" fmla="*/ 38032 h 1153700"/>
                    <a:gd name="connsiteX15" fmla="*/ 478674 w 774525"/>
                    <a:gd name="connsiteY15" fmla="*/ 39550 h 1153700"/>
                    <a:gd name="connsiteX16" fmla="*/ 479658 w 774525"/>
                    <a:gd name="connsiteY16" fmla="*/ 40278 h 1153700"/>
                    <a:gd name="connsiteX17" fmla="*/ 481310 w 774525"/>
                    <a:gd name="connsiteY17" fmla="*/ 40849 h 1153700"/>
                    <a:gd name="connsiteX18" fmla="*/ 484030 w 774525"/>
                    <a:gd name="connsiteY18" fmla="*/ 40934 h 1153700"/>
                    <a:gd name="connsiteX19" fmla="*/ 489992 w 774525"/>
                    <a:gd name="connsiteY19" fmla="*/ 39695 h 1153700"/>
                    <a:gd name="connsiteX20" fmla="*/ 493841 w 774525"/>
                    <a:gd name="connsiteY20" fmla="*/ 37862 h 1153700"/>
                    <a:gd name="connsiteX21" fmla="*/ 498261 w 774525"/>
                    <a:gd name="connsiteY21" fmla="*/ 34899 h 1153700"/>
                    <a:gd name="connsiteX22" fmla="*/ 511461 w 774525"/>
                    <a:gd name="connsiteY22" fmla="*/ 22440 h 1153700"/>
                    <a:gd name="connsiteX23" fmla="*/ 516002 w 774525"/>
                    <a:gd name="connsiteY23" fmla="*/ 22076 h 1153700"/>
                    <a:gd name="connsiteX24" fmla="*/ 529371 w 774525"/>
                    <a:gd name="connsiteY24" fmla="*/ 24079 h 1153700"/>
                    <a:gd name="connsiteX25" fmla="*/ 538916 w 774525"/>
                    <a:gd name="connsiteY25" fmla="*/ 23023 h 1153700"/>
                    <a:gd name="connsiteX26" fmla="*/ 540288 w 774525"/>
                    <a:gd name="connsiteY26" fmla="*/ 23448 h 1153700"/>
                    <a:gd name="connsiteX27" fmla="*/ 544307 w 774525"/>
                    <a:gd name="connsiteY27" fmla="*/ 26727 h 1153700"/>
                    <a:gd name="connsiteX28" fmla="*/ 549176 w 774525"/>
                    <a:gd name="connsiteY28" fmla="*/ 28512 h 1153700"/>
                    <a:gd name="connsiteX29" fmla="*/ 551763 w 774525"/>
                    <a:gd name="connsiteY29" fmla="*/ 27965 h 1153700"/>
                    <a:gd name="connsiteX30" fmla="*/ 552273 w 774525"/>
                    <a:gd name="connsiteY30" fmla="*/ 28330 h 1153700"/>
                    <a:gd name="connsiteX31" fmla="*/ 553548 w 774525"/>
                    <a:gd name="connsiteY31" fmla="*/ 29228 h 1153700"/>
                    <a:gd name="connsiteX32" fmla="*/ 565302 w 774525"/>
                    <a:gd name="connsiteY32" fmla="*/ 35215 h 1153700"/>
                    <a:gd name="connsiteX33" fmla="*/ 565970 w 774525"/>
                    <a:gd name="connsiteY33" fmla="*/ 35688 h 1153700"/>
                    <a:gd name="connsiteX34" fmla="*/ 569504 w 774525"/>
                    <a:gd name="connsiteY34" fmla="*/ 38262 h 1153700"/>
                    <a:gd name="connsiteX35" fmla="*/ 571969 w 774525"/>
                    <a:gd name="connsiteY35" fmla="*/ 42828 h 1153700"/>
                    <a:gd name="connsiteX36" fmla="*/ 572042 w 774525"/>
                    <a:gd name="connsiteY36" fmla="*/ 43217 h 1153700"/>
                    <a:gd name="connsiteX37" fmla="*/ 572892 w 774525"/>
                    <a:gd name="connsiteY37" fmla="*/ 48013 h 1153700"/>
                    <a:gd name="connsiteX38" fmla="*/ 572892 w 774525"/>
                    <a:gd name="connsiteY38" fmla="*/ 59015 h 1153700"/>
                    <a:gd name="connsiteX39" fmla="*/ 572892 w 774525"/>
                    <a:gd name="connsiteY39" fmla="*/ 59039 h 1153700"/>
                    <a:gd name="connsiteX40" fmla="*/ 573438 w 774525"/>
                    <a:gd name="connsiteY40" fmla="*/ 63738 h 1153700"/>
                    <a:gd name="connsiteX41" fmla="*/ 574033 w 774525"/>
                    <a:gd name="connsiteY41" fmla="*/ 69008 h 1153700"/>
                    <a:gd name="connsiteX42" fmla="*/ 574045 w 774525"/>
                    <a:gd name="connsiteY42" fmla="*/ 68996 h 1153700"/>
                    <a:gd name="connsiteX43" fmla="*/ 574045 w 774525"/>
                    <a:gd name="connsiteY43" fmla="*/ 68996 h 1153700"/>
                    <a:gd name="connsiteX44" fmla="*/ 574932 w 774525"/>
                    <a:gd name="connsiteY44" fmla="*/ 67830 h 1153700"/>
                    <a:gd name="connsiteX45" fmla="*/ 576923 w 774525"/>
                    <a:gd name="connsiteY45" fmla="*/ 65220 h 1153700"/>
                    <a:gd name="connsiteX46" fmla="*/ 580529 w 774525"/>
                    <a:gd name="connsiteY46" fmla="*/ 62257 h 1153700"/>
                    <a:gd name="connsiteX47" fmla="*/ 584330 w 774525"/>
                    <a:gd name="connsiteY47" fmla="*/ 61832 h 1153700"/>
                    <a:gd name="connsiteX48" fmla="*/ 587633 w 774525"/>
                    <a:gd name="connsiteY48" fmla="*/ 65730 h 1153700"/>
                    <a:gd name="connsiteX49" fmla="*/ 588155 w 774525"/>
                    <a:gd name="connsiteY49" fmla="*/ 68195 h 1153700"/>
                    <a:gd name="connsiteX50" fmla="*/ 587876 w 774525"/>
                    <a:gd name="connsiteY50" fmla="*/ 70283 h 1153700"/>
                    <a:gd name="connsiteX51" fmla="*/ 587815 w 774525"/>
                    <a:gd name="connsiteY51" fmla="*/ 72238 h 1153700"/>
                    <a:gd name="connsiteX52" fmla="*/ 587815 w 774525"/>
                    <a:gd name="connsiteY52" fmla="*/ 72238 h 1153700"/>
                    <a:gd name="connsiteX53" fmla="*/ 589127 w 774525"/>
                    <a:gd name="connsiteY53" fmla="*/ 74278 h 1153700"/>
                    <a:gd name="connsiteX54" fmla="*/ 591082 w 774525"/>
                    <a:gd name="connsiteY54" fmla="*/ 75395 h 1153700"/>
                    <a:gd name="connsiteX55" fmla="*/ 591458 w 774525"/>
                    <a:gd name="connsiteY55" fmla="*/ 75432 h 1153700"/>
                    <a:gd name="connsiteX56" fmla="*/ 593328 w 774525"/>
                    <a:gd name="connsiteY56" fmla="*/ 75626 h 1153700"/>
                    <a:gd name="connsiteX57" fmla="*/ 594385 w 774525"/>
                    <a:gd name="connsiteY57" fmla="*/ 75335 h 1153700"/>
                    <a:gd name="connsiteX58" fmla="*/ 595453 w 774525"/>
                    <a:gd name="connsiteY58" fmla="*/ 75055 h 1153700"/>
                    <a:gd name="connsiteX59" fmla="*/ 597226 w 774525"/>
                    <a:gd name="connsiteY59" fmla="*/ 73805 h 1153700"/>
                    <a:gd name="connsiteX60" fmla="*/ 599096 w 774525"/>
                    <a:gd name="connsiteY60" fmla="*/ 73695 h 1153700"/>
                    <a:gd name="connsiteX61" fmla="*/ 601197 w 774525"/>
                    <a:gd name="connsiteY61" fmla="*/ 73574 h 1153700"/>
                    <a:gd name="connsiteX62" fmla="*/ 603541 w 774525"/>
                    <a:gd name="connsiteY62" fmla="*/ 74582 h 1153700"/>
                    <a:gd name="connsiteX63" fmla="*/ 605884 w 774525"/>
                    <a:gd name="connsiteY63" fmla="*/ 75590 h 1153700"/>
                    <a:gd name="connsiteX64" fmla="*/ 606552 w 774525"/>
                    <a:gd name="connsiteY64" fmla="*/ 76076 h 1153700"/>
                    <a:gd name="connsiteX65" fmla="*/ 610255 w 774525"/>
                    <a:gd name="connsiteY65" fmla="*/ 78735 h 1153700"/>
                    <a:gd name="connsiteX66" fmla="*/ 613194 w 774525"/>
                    <a:gd name="connsiteY66" fmla="*/ 81892 h 1153700"/>
                    <a:gd name="connsiteX67" fmla="*/ 615781 w 774525"/>
                    <a:gd name="connsiteY67" fmla="*/ 86943 h 1153700"/>
                    <a:gd name="connsiteX68" fmla="*/ 616278 w 774525"/>
                    <a:gd name="connsiteY68" fmla="*/ 88316 h 1153700"/>
                    <a:gd name="connsiteX69" fmla="*/ 617274 w 774525"/>
                    <a:gd name="connsiteY69" fmla="*/ 91060 h 1153700"/>
                    <a:gd name="connsiteX70" fmla="*/ 618270 w 774525"/>
                    <a:gd name="connsiteY70" fmla="*/ 92177 h 1153700"/>
                    <a:gd name="connsiteX71" fmla="*/ 619897 w 774525"/>
                    <a:gd name="connsiteY71" fmla="*/ 94011 h 1153700"/>
                    <a:gd name="connsiteX72" fmla="*/ 622508 w 774525"/>
                    <a:gd name="connsiteY72" fmla="*/ 94715 h 1153700"/>
                    <a:gd name="connsiteX73" fmla="*/ 625883 w 774525"/>
                    <a:gd name="connsiteY73" fmla="*/ 95626 h 1153700"/>
                    <a:gd name="connsiteX74" fmla="*/ 636448 w 774525"/>
                    <a:gd name="connsiteY74" fmla="*/ 96196 h 1153700"/>
                    <a:gd name="connsiteX75" fmla="*/ 641730 w 774525"/>
                    <a:gd name="connsiteY75" fmla="*/ 95711 h 1153700"/>
                    <a:gd name="connsiteX76" fmla="*/ 647024 w 774525"/>
                    <a:gd name="connsiteY76" fmla="*/ 94363 h 1153700"/>
                    <a:gd name="connsiteX77" fmla="*/ 649210 w 774525"/>
                    <a:gd name="connsiteY77" fmla="*/ 92930 h 1153700"/>
                    <a:gd name="connsiteX78" fmla="*/ 650182 w 774525"/>
                    <a:gd name="connsiteY78" fmla="*/ 91958 h 1153700"/>
                    <a:gd name="connsiteX79" fmla="*/ 651165 w 774525"/>
                    <a:gd name="connsiteY79" fmla="*/ 90999 h 1153700"/>
                    <a:gd name="connsiteX80" fmla="*/ 653169 w 774525"/>
                    <a:gd name="connsiteY80" fmla="*/ 89481 h 1153700"/>
                    <a:gd name="connsiteX81" fmla="*/ 654456 w 774525"/>
                    <a:gd name="connsiteY81" fmla="*/ 89360 h 1153700"/>
                    <a:gd name="connsiteX82" fmla="*/ 655512 w 774525"/>
                    <a:gd name="connsiteY82" fmla="*/ 89263 h 1153700"/>
                    <a:gd name="connsiteX83" fmla="*/ 658159 w 774525"/>
                    <a:gd name="connsiteY83" fmla="*/ 89384 h 1153700"/>
                    <a:gd name="connsiteX84" fmla="*/ 663393 w 774525"/>
                    <a:gd name="connsiteY84" fmla="*/ 88024 h 1153700"/>
                    <a:gd name="connsiteX85" fmla="*/ 665906 w 774525"/>
                    <a:gd name="connsiteY85" fmla="*/ 87369 h 1153700"/>
                    <a:gd name="connsiteX86" fmla="*/ 671019 w 774525"/>
                    <a:gd name="connsiteY86" fmla="*/ 90781 h 1153700"/>
                    <a:gd name="connsiteX87" fmla="*/ 674006 w 774525"/>
                    <a:gd name="connsiteY87" fmla="*/ 92772 h 1153700"/>
                    <a:gd name="connsiteX88" fmla="*/ 678256 w 774525"/>
                    <a:gd name="connsiteY88" fmla="*/ 95614 h 1153700"/>
                    <a:gd name="connsiteX89" fmla="*/ 684935 w 774525"/>
                    <a:gd name="connsiteY89" fmla="*/ 98916 h 1153700"/>
                    <a:gd name="connsiteX90" fmla="*/ 692754 w 774525"/>
                    <a:gd name="connsiteY90" fmla="*/ 98006 h 1153700"/>
                    <a:gd name="connsiteX91" fmla="*/ 696653 w 774525"/>
                    <a:gd name="connsiteY91" fmla="*/ 97556 h 1153700"/>
                    <a:gd name="connsiteX92" fmla="*/ 704351 w 774525"/>
                    <a:gd name="connsiteY92" fmla="*/ 98819 h 1153700"/>
                    <a:gd name="connsiteX93" fmla="*/ 708091 w 774525"/>
                    <a:gd name="connsiteY93" fmla="*/ 100167 h 1153700"/>
                    <a:gd name="connsiteX94" fmla="*/ 711819 w 774525"/>
                    <a:gd name="connsiteY94" fmla="*/ 101527 h 1153700"/>
                    <a:gd name="connsiteX95" fmla="*/ 713143 w 774525"/>
                    <a:gd name="connsiteY95" fmla="*/ 102547 h 1153700"/>
                    <a:gd name="connsiteX96" fmla="*/ 716506 w 774525"/>
                    <a:gd name="connsiteY96" fmla="*/ 105170 h 1153700"/>
                    <a:gd name="connsiteX97" fmla="*/ 716919 w 774525"/>
                    <a:gd name="connsiteY97" fmla="*/ 108667 h 1153700"/>
                    <a:gd name="connsiteX98" fmla="*/ 713932 w 774525"/>
                    <a:gd name="connsiteY98" fmla="*/ 114241 h 1153700"/>
                    <a:gd name="connsiteX99" fmla="*/ 713932 w 774525"/>
                    <a:gd name="connsiteY99" fmla="*/ 114241 h 1153700"/>
                    <a:gd name="connsiteX100" fmla="*/ 715438 w 774525"/>
                    <a:gd name="connsiteY100" fmla="*/ 115382 h 1153700"/>
                    <a:gd name="connsiteX101" fmla="*/ 716215 w 774525"/>
                    <a:gd name="connsiteY101" fmla="*/ 115977 h 1153700"/>
                    <a:gd name="connsiteX102" fmla="*/ 716227 w 774525"/>
                    <a:gd name="connsiteY102" fmla="*/ 115977 h 1153700"/>
                    <a:gd name="connsiteX103" fmla="*/ 717963 w 774525"/>
                    <a:gd name="connsiteY103" fmla="*/ 115953 h 1153700"/>
                    <a:gd name="connsiteX104" fmla="*/ 719663 w 774525"/>
                    <a:gd name="connsiteY104" fmla="*/ 115929 h 1153700"/>
                    <a:gd name="connsiteX105" fmla="*/ 726269 w 774525"/>
                    <a:gd name="connsiteY105" fmla="*/ 113306 h 1153700"/>
                    <a:gd name="connsiteX106" fmla="*/ 730349 w 774525"/>
                    <a:gd name="connsiteY106" fmla="*/ 113512 h 1153700"/>
                    <a:gd name="connsiteX107" fmla="*/ 735389 w 774525"/>
                    <a:gd name="connsiteY107" fmla="*/ 115649 h 1153700"/>
                    <a:gd name="connsiteX108" fmla="*/ 740404 w 774525"/>
                    <a:gd name="connsiteY108" fmla="*/ 117799 h 1153700"/>
                    <a:gd name="connsiteX109" fmla="*/ 743378 w 774525"/>
                    <a:gd name="connsiteY109" fmla="*/ 118260 h 1153700"/>
                    <a:gd name="connsiteX110" fmla="*/ 744411 w 774525"/>
                    <a:gd name="connsiteY110" fmla="*/ 118430 h 1153700"/>
                    <a:gd name="connsiteX111" fmla="*/ 751891 w 774525"/>
                    <a:gd name="connsiteY111" fmla="*/ 118345 h 1153700"/>
                    <a:gd name="connsiteX112" fmla="*/ 752644 w 774525"/>
                    <a:gd name="connsiteY112" fmla="*/ 118515 h 1153700"/>
                    <a:gd name="connsiteX113" fmla="*/ 753554 w 774525"/>
                    <a:gd name="connsiteY113" fmla="*/ 118879 h 1153700"/>
                    <a:gd name="connsiteX114" fmla="*/ 754477 w 774525"/>
                    <a:gd name="connsiteY114" fmla="*/ 119244 h 1153700"/>
                    <a:gd name="connsiteX115" fmla="*/ 755157 w 774525"/>
                    <a:gd name="connsiteY115" fmla="*/ 119244 h 1153700"/>
                    <a:gd name="connsiteX116" fmla="*/ 755157 w 774525"/>
                    <a:gd name="connsiteY116" fmla="*/ 119244 h 1153700"/>
                    <a:gd name="connsiteX117" fmla="*/ 755169 w 774525"/>
                    <a:gd name="connsiteY117" fmla="*/ 119244 h 1153700"/>
                    <a:gd name="connsiteX118" fmla="*/ 755594 w 774525"/>
                    <a:gd name="connsiteY118" fmla="*/ 118758 h 1153700"/>
                    <a:gd name="connsiteX119" fmla="*/ 756031 w 774525"/>
                    <a:gd name="connsiteY119" fmla="*/ 118260 h 1153700"/>
                    <a:gd name="connsiteX120" fmla="*/ 756274 w 774525"/>
                    <a:gd name="connsiteY120" fmla="*/ 117750 h 1153700"/>
                    <a:gd name="connsiteX121" fmla="*/ 756663 w 774525"/>
                    <a:gd name="connsiteY121" fmla="*/ 116924 h 1153700"/>
                    <a:gd name="connsiteX122" fmla="*/ 756942 w 774525"/>
                    <a:gd name="connsiteY122" fmla="*/ 115746 h 1153700"/>
                    <a:gd name="connsiteX123" fmla="*/ 756942 w 774525"/>
                    <a:gd name="connsiteY123" fmla="*/ 115746 h 1153700"/>
                    <a:gd name="connsiteX124" fmla="*/ 756942 w 774525"/>
                    <a:gd name="connsiteY124" fmla="*/ 115309 h 1153700"/>
                    <a:gd name="connsiteX125" fmla="*/ 756942 w 774525"/>
                    <a:gd name="connsiteY125" fmla="*/ 115285 h 1153700"/>
                    <a:gd name="connsiteX126" fmla="*/ 757003 w 774525"/>
                    <a:gd name="connsiteY126" fmla="*/ 114860 h 1153700"/>
                    <a:gd name="connsiteX127" fmla="*/ 757112 w 774525"/>
                    <a:gd name="connsiteY127" fmla="*/ 113937 h 1153700"/>
                    <a:gd name="connsiteX128" fmla="*/ 757404 w 774525"/>
                    <a:gd name="connsiteY128" fmla="*/ 113087 h 1153700"/>
                    <a:gd name="connsiteX129" fmla="*/ 757464 w 774525"/>
                    <a:gd name="connsiteY129" fmla="*/ 112905 h 1153700"/>
                    <a:gd name="connsiteX130" fmla="*/ 758436 w 774525"/>
                    <a:gd name="connsiteY130" fmla="*/ 112128 h 1153700"/>
                    <a:gd name="connsiteX131" fmla="*/ 759237 w 774525"/>
                    <a:gd name="connsiteY131" fmla="*/ 112189 h 1153700"/>
                    <a:gd name="connsiteX132" fmla="*/ 760719 w 774525"/>
                    <a:gd name="connsiteY132" fmla="*/ 113464 h 1153700"/>
                    <a:gd name="connsiteX133" fmla="*/ 760731 w 774525"/>
                    <a:gd name="connsiteY133" fmla="*/ 113464 h 1153700"/>
                    <a:gd name="connsiteX134" fmla="*/ 761423 w 774525"/>
                    <a:gd name="connsiteY134" fmla="*/ 113779 h 1153700"/>
                    <a:gd name="connsiteX135" fmla="*/ 762917 w 774525"/>
                    <a:gd name="connsiteY135" fmla="*/ 114010 h 1153700"/>
                    <a:gd name="connsiteX136" fmla="*/ 761993 w 774525"/>
                    <a:gd name="connsiteY136" fmla="*/ 116560 h 1153700"/>
                    <a:gd name="connsiteX137" fmla="*/ 765892 w 774525"/>
                    <a:gd name="connsiteY137" fmla="*/ 127622 h 1153700"/>
                    <a:gd name="connsiteX138" fmla="*/ 766681 w 774525"/>
                    <a:gd name="connsiteY138" fmla="*/ 131144 h 1153700"/>
                    <a:gd name="connsiteX139" fmla="*/ 768466 w 774525"/>
                    <a:gd name="connsiteY139" fmla="*/ 152102 h 1153700"/>
                    <a:gd name="connsiteX140" fmla="*/ 765649 w 774525"/>
                    <a:gd name="connsiteY140" fmla="*/ 156620 h 1153700"/>
                    <a:gd name="connsiteX141" fmla="*/ 765382 w 774525"/>
                    <a:gd name="connsiteY141" fmla="*/ 157300 h 1153700"/>
                    <a:gd name="connsiteX142" fmla="*/ 765187 w 774525"/>
                    <a:gd name="connsiteY142" fmla="*/ 157907 h 1153700"/>
                    <a:gd name="connsiteX143" fmla="*/ 764969 w 774525"/>
                    <a:gd name="connsiteY143" fmla="*/ 158708 h 1153700"/>
                    <a:gd name="connsiteX144" fmla="*/ 762844 w 774525"/>
                    <a:gd name="connsiteY144" fmla="*/ 164537 h 1153700"/>
                    <a:gd name="connsiteX145" fmla="*/ 761933 w 774525"/>
                    <a:gd name="connsiteY145" fmla="*/ 168410 h 1153700"/>
                    <a:gd name="connsiteX146" fmla="*/ 760014 w 774525"/>
                    <a:gd name="connsiteY146" fmla="*/ 182399 h 1153700"/>
                    <a:gd name="connsiteX147" fmla="*/ 759686 w 774525"/>
                    <a:gd name="connsiteY147" fmla="*/ 183006 h 1153700"/>
                    <a:gd name="connsiteX148" fmla="*/ 759298 w 774525"/>
                    <a:gd name="connsiteY148" fmla="*/ 183456 h 1153700"/>
                    <a:gd name="connsiteX149" fmla="*/ 756881 w 774525"/>
                    <a:gd name="connsiteY149" fmla="*/ 184864 h 1153700"/>
                    <a:gd name="connsiteX150" fmla="*/ 755339 w 774525"/>
                    <a:gd name="connsiteY150" fmla="*/ 186018 h 1153700"/>
                    <a:gd name="connsiteX151" fmla="*/ 754757 w 774525"/>
                    <a:gd name="connsiteY151" fmla="*/ 186673 h 1153700"/>
                    <a:gd name="connsiteX152" fmla="*/ 754696 w 774525"/>
                    <a:gd name="connsiteY152" fmla="*/ 187621 h 1153700"/>
                    <a:gd name="connsiteX153" fmla="*/ 754757 w 774525"/>
                    <a:gd name="connsiteY153" fmla="*/ 189284 h 1153700"/>
                    <a:gd name="connsiteX154" fmla="*/ 756651 w 774525"/>
                    <a:gd name="connsiteY154" fmla="*/ 190814 h 1153700"/>
                    <a:gd name="connsiteX155" fmla="*/ 757501 w 774525"/>
                    <a:gd name="connsiteY155" fmla="*/ 192041 h 1153700"/>
                    <a:gd name="connsiteX156" fmla="*/ 757270 w 774525"/>
                    <a:gd name="connsiteY156" fmla="*/ 193340 h 1153700"/>
                    <a:gd name="connsiteX157" fmla="*/ 756007 w 774525"/>
                    <a:gd name="connsiteY157" fmla="*/ 193959 h 1153700"/>
                    <a:gd name="connsiteX158" fmla="*/ 753141 w 774525"/>
                    <a:gd name="connsiteY158" fmla="*/ 194833 h 1153700"/>
                    <a:gd name="connsiteX159" fmla="*/ 748430 w 774525"/>
                    <a:gd name="connsiteY159" fmla="*/ 197189 h 1153700"/>
                    <a:gd name="connsiteX160" fmla="*/ 747859 w 774525"/>
                    <a:gd name="connsiteY160" fmla="*/ 197809 h 1153700"/>
                    <a:gd name="connsiteX161" fmla="*/ 747046 w 774525"/>
                    <a:gd name="connsiteY161" fmla="*/ 199460 h 1153700"/>
                    <a:gd name="connsiteX162" fmla="*/ 744192 w 774525"/>
                    <a:gd name="connsiteY162" fmla="*/ 206321 h 1153700"/>
                    <a:gd name="connsiteX163" fmla="*/ 741265 w 774525"/>
                    <a:gd name="connsiteY163" fmla="*/ 208264 h 1153700"/>
                    <a:gd name="connsiteX164" fmla="*/ 739262 w 774525"/>
                    <a:gd name="connsiteY164" fmla="*/ 208834 h 1153700"/>
                    <a:gd name="connsiteX165" fmla="*/ 738849 w 774525"/>
                    <a:gd name="connsiteY165" fmla="*/ 210158 h 1153700"/>
                    <a:gd name="connsiteX166" fmla="*/ 739262 w 774525"/>
                    <a:gd name="connsiteY166" fmla="*/ 211481 h 1153700"/>
                    <a:gd name="connsiteX167" fmla="*/ 740233 w 774525"/>
                    <a:gd name="connsiteY167" fmla="*/ 212926 h 1153700"/>
                    <a:gd name="connsiteX168" fmla="*/ 740404 w 774525"/>
                    <a:gd name="connsiteY168" fmla="*/ 215294 h 1153700"/>
                    <a:gd name="connsiteX169" fmla="*/ 739772 w 774525"/>
                    <a:gd name="connsiteY169" fmla="*/ 216654 h 1153700"/>
                    <a:gd name="connsiteX170" fmla="*/ 738266 w 774525"/>
                    <a:gd name="connsiteY170" fmla="*/ 217772 h 1153700"/>
                    <a:gd name="connsiteX171" fmla="*/ 734720 w 774525"/>
                    <a:gd name="connsiteY171" fmla="*/ 218804 h 1153700"/>
                    <a:gd name="connsiteX172" fmla="*/ 730689 w 774525"/>
                    <a:gd name="connsiteY172" fmla="*/ 220406 h 1153700"/>
                    <a:gd name="connsiteX173" fmla="*/ 725237 w 774525"/>
                    <a:gd name="connsiteY173" fmla="*/ 221584 h 1153700"/>
                    <a:gd name="connsiteX174" fmla="*/ 725370 w 774525"/>
                    <a:gd name="connsiteY174" fmla="*/ 217419 h 1153700"/>
                    <a:gd name="connsiteX175" fmla="*/ 724338 w 774525"/>
                    <a:gd name="connsiteY175" fmla="*/ 214457 h 1153700"/>
                    <a:gd name="connsiteX176" fmla="*/ 722383 w 774525"/>
                    <a:gd name="connsiteY176" fmla="*/ 214104 h 1153700"/>
                    <a:gd name="connsiteX177" fmla="*/ 720951 w 774525"/>
                    <a:gd name="connsiteY177" fmla="*/ 213837 h 1153700"/>
                    <a:gd name="connsiteX178" fmla="*/ 718910 w 774525"/>
                    <a:gd name="connsiteY178" fmla="*/ 214481 h 1153700"/>
                    <a:gd name="connsiteX179" fmla="*/ 716870 w 774525"/>
                    <a:gd name="connsiteY179" fmla="*/ 215124 h 1153700"/>
                    <a:gd name="connsiteX180" fmla="*/ 715608 w 774525"/>
                    <a:gd name="connsiteY180" fmla="*/ 216788 h 1153700"/>
                    <a:gd name="connsiteX181" fmla="*/ 716008 w 774525"/>
                    <a:gd name="connsiteY181" fmla="*/ 222701 h 1153700"/>
                    <a:gd name="connsiteX182" fmla="*/ 716021 w 774525"/>
                    <a:gd name="connsiteY182" fmla="*/ 222920 h 1153700"/>
                    <a:gd name="connsiteX183" fmla="*/ 717271 w 774525"/>
                    <a:gd name="connsiteY183" fmla="*/ 225239 h 1153700"/>
                    <a:gd name="connsiteX184" fmla="*/ 717186 w 774525"/>
                    <a:gd name="connsiteY184" fmla="*/ 225725 h 1153700"/>
                    <a:gd name="connsiteX185" fmla="*/ 717101 w 774525"/>
                    <a:gd name="connsiteY185" fmla="*/ 226211 h 1153700"/>
                    <a:gd name="connsiteX186" fmla="*/ 715183 w 774525"/>
                    <a:gd name="connsiteY186" fmla="*/ 225652 h 1153700"/>
                    <a:gd name="connsiteX187" fmla="*/ 713264 w 774525"/>
                    <a:gd name="connsiteY187" fmla="*/ 225082 h 1153700"/>
                    <a:gd name="connsiteX188" fmla="*/ 711952 w 774525"/>
                    <a:gd name="connsiteY188" fmla="*/ 225203 h 1153700"/>
                    <a:gd name="connsiteX189" fmla="*/ 711285 w 774525"/>
                    <a:gd name="connsiteY189" fmla="*/ 225519 h 1153700"/>
                    <a:gd name="connsiteX190" fmla="*/ 710605 w 774525"/>
                    <a:gd name="connsiteY190" fmla="*/ 225822 h 1153700"/>
                    <a:gd name="connsiteX191" fmla="*/ 709415 w 774525"/>
                    <a:gd name="connsiteY191" fmla="*/ 226891 h 1153700"/>
                    <a:gd name="connsiteX192" fmla="*/ 708407 w 774525"/>
                    <a:gd name="connsiteY192" fmla="*/ 228712 h 1153700"/>
                    <a:gd name="connsiteX193" fmla="*/ 707399 w 774525"/>
                    <a:gd name="connsiteY193" fmla="*/ 230534 h 1153700"/>
                    <a:gd name="connsiteX194" fmla="*/ 707399 w 774525"/>
                    <a:gd name="connsiteY194" fmla="*/ 230534 h 1153700"/>
                    <a:gd name="connsiteX195" fmla="*/ 708662 w 774525"/>
                    <a:gd name="connsiteY195" fmla="*/ 233023 h 1153700"/>
                    <a:gd name="connsiteX196" fmla="*/ 708674 w 774525"/>
                    <a:gd name="connsiteY196" fmla="*/ 233023 h 1153700"/>
                    <a:gd name="connsiteX197" fmla="*/ 708710 w 774525"/>
                    <a:gd name="connsiteY197" fmla="*/ 233035 h 1153700"/>
                    <a:gd name="connsiteX198" fmla="*/ 711710 w 774525"/>
                    <a:gd name="connsiteY198" fmla="*/ 234480 h 1153700"/>
                    <a:gd name="connsiteX199" fmla="*/ 714333 w 774525"/>
                    <a:gd name="connsiteY199" fmla="*/ 234796 h 1153700"/>
                    <a:gd name="connsiteX200" fmla="*/ 715195 w 774525"/>
                    <a:gd name="connsiteY200" fmla="*/ 234905 h 1153700"/>
                    <a:gd name="connsiteX201" fmla="*/ 713810 w 774525"/>
                    <a:gd name="connsiteY201" fmla="*/ 235767 h 1153700"/>
                    <a:gd name="connsiteX202" fmla="*/ 713033 w 774525"/>
                    <a:gd name="connsiteY202" fmla="*/ 236253 h 1153700"/>
                    <a:gd name="connsiteX203" fmla="*/ 710289 w 774525"/>
                    <a:gd name="connsiteY203" fmla="*/ 237601 h 1153700"/>
                    <a:gd name="connsiteX204" fmla="*/ 708213 w 774525"/>
                    <a:gd name="connsiteY204" fmla="*/ 239265 h 1153700"/>
                    <a:gd name="connsiteX205" fmla="*/ 708213 w 774525"/>
                    <a:gd name="connsiteY205" fmla="*/ 241645 h 1153700"/>
                    <a:gd name="connsiteX206" fmla="*/ 708213 w 774525"/>
                    <a:gd name="connsiteY206" fmla="*/ 241645 h 1153700"/>
                    <a:gd name="connsiteX207" fmla="*/ 709148 w 774525"/>
                    <a:gd name="connsiteY207" fmla="*/ 242094 h 1153700"/>
                    <a:gd name="connsiteX208" fmla="*/ 710095 w 774525"/>
                    <a:gd name="connsiteY208" fmla="*/ 242543 h 1153700"/>
                    <a:gd name="connsiteX209" fmla="*/ 711078 w 774525"/>
                    <a:gd name="connsiteY209" fmla="*/ 242349 h 1153700"/>
                    <a:gd name="connsiteX210" fmla="*/ 712681 w 774525"/>
                    <a:gd name="connsiteY210" fmla="*/ 242057 h 1153700"/>
                    <a:gd name="connsiteX211" fmla="*/ 715146 w 774525"/>
                    <a:gd name="connsiteY211" fmla="*/ 242142 h 1153700"/>
                    <a:gd name="connsiteX212" fmla="*/ 715523 w 774525"/>
                    <a:gd name="connsiteY212" fmla="*/ 242834 h 1153700"/>
                    <a:gd name="connsiteX213" fmla="*/ 716518 w 774525"/>
                    <a:gd name="connsiteY213" fmla="*/ 244644 h 1153700"/>
                    <a:gd name="connsiteX214" fmla="*/ 715183 w 774525"/>
                    <a:gd name="connsiteY214" fmla="*/ 247522 h 1153700"/>
                    <a:gd name="connsiteX215" fmla="*/ 714928 w 774525"/>
                    <a:gd name="connsiteY215" fmla="*/ 248056 h 1153700"/>
                    <a:gd name="connsiteX216" fmla="*/ 710848 w 774525"/>
                    <a:gd name="connsiteY216" fmla="*/ 251359 h 1153700"/>
                    <a:gd name="connsiteX217" fmla="*/ 706767 w 774525"/>
                    <a:gd name="connsiteY217" fmla="*/ 254650 h 1153700"/>
                    <a:gd name="connsiteX218" fmla="*/ 705966 w 774525"/>
                    <a:gd name="connsiteY218" fmla="*/ 257382 h 1153700"/>
                    <a:gd name="connsiteX219" fmla="*/ 705165 w 774525"/>
                    <a:gd name="connsiteY219" fmla="*/ 260114 h 1153700"/>
                    <a:gd name="connsiteX220" fmla="*/ 705165 w 774525"/>
                    <a:gd name="connsiteY220" fmla="*/ 260114 h 1153700"/>
                    <a:gd name="connsiteX221" fmla="*/ 705286 w 774525"/>
                    <a:gd name="connsiteY221" fmla="*/ 261474 h 1153700"/>
                    <a:gd name="connsiteX222" fmla="*/ 705407 w 774525"/>
                    <a:gd name="connsiteY222" fmla="*/ 262834 h 1153700"/>
                    <a:gd name="connsiteX223" fmla="*/ 704885 w 774525"/>
                    <a:gd name="connsiteY223" fmla="*/ 265360 h 1153700"/>
                    <a:gd name="connsiteX224" fmla="*/ 703440 w 774525"/>
                    <a:gd name="connsiteY224" fmla="*/ 267193 h 1153700"/>
                    <a:gd name="connsiteX225" fmla="*/ 702542 w 774525"/>
                    <a:gd name="connsiteY225" fmla="*/ 267388 h 1153700"/>
                    <a:gd name="connsiteX226" fmla="*/ 700975 w 774525"/>
                    <a:gd name="connsiteY226" fmla="*/ 267715 h 1153700"/>
                    <a:gd name="connsiteX227" fmla="*/ 699093 w 774525"/>
                    <a:gd name="connsiteY227" fmla="*/ 266744 h 1153700"/>
                    <a:gd name="connsiteX228" fmla="*/ 698255 w 774525"/>
                    <a:gd name="connsiteY228" fmla="*/ 265688 h 1153700"/>
                    <a:gd name="connsiteX229" fmla="*/ 697442 w 774525"/>
                    <a:gd name="connsiteY229" fmla="*/ 264631 h 1153700"/>
                    <a:gd name="connsiteX230" fmla="*/ 694795 w 774525"/>
                    <a:gd name="connsiteY230" fmla="*/ 260114 h 1153700"/>
                    <a:gd name="connsiteX231" fmla="*/ 693920 w 774525"/>
                    <a:gd name="connsiteY231" fmla="*/ 259653 h 1153700"/>
                    <a:gd name="connsiteX232" fmla="*/ 692949 w 774525"/>
                    <a:gd name="connsiteY232" fmla="*/ 259397 h 1153700"/>
                    <a:gd name="connsiteX233" fmla="*/ 692050 w 774525"/>
                    <a:gd name="connsiteY233" fmla="*/ 259276 h 1153700"/>
                    <a:gd name="connsiteX234" fmla="*/ 681874 w 774525"/>
                    <a:gd name="connsiteY234" fmla="*/ 260114 h 1153700"/>
                    <a:gd name="connsiteX235" fmla="*/ 681874 w 774525"/>
                    <a:gd name="connsiteY235" fmla="*/ 260138 h 1153700"/>
                    <a:gd name="connsiteX236" fmla="*/ 680903 w 774525"/>
                    <a:gd name="connsiteY236" fmla="*/ 260478 h 1153700"/>
                    <a:gd name="connsiteX237" fmla="*/ 679932 w 774525"/>
                    <a:gd name="connsiteY237" fmla="*/ 260600 h 1153700"/>
                    <a:gd name="connsiteX238" fmla="*/ 679009 w 774525"/>
                    <a:gd name="connsiteY238" fmla="*/ 260478 h 1153700"/>
                    <a:gd name="connsiteX239" fmla="*/ 678159 w 774525"/>
                    <a:gd name="connsiteY239" fmla="*/ 260114 h 1153700"/>
                    <a:gd name="connsiteX240" fmla="*/ 675912 w 774525"/>
                    <a:gd name="connsiteY240" fmla="*/ 256872 h 1153700"/>
                    <a:gd name="connsiteX241" fmla="*/ 675329 w 774525"/>
                    <a:gd name="connsiteY241" fmla="*/ 256034 h 1153700"/>
                    <a:gd name="connsiteX242" fmla="*/ 673132 w 774525"/>
                    <a:gd name="connsiteY242" fmla="*/ 256058 h 1153700"/>
                    <a:gd name="connsiteX243" fmla="*/ 670849 w 774525"/>
                    <a:gd name="connsiteY243" fmla="*/ 258037 h 1153700"/>
                    <a:gd name="connsiteX244" fmla="*/ 667801 w 774525"/>
                    <a:gd name="connsiteY244" fmla="*/ 259762 h 1153700"/>
                    <a:gd name="connsiteX245" fmla="*/ 664753 w 774525"/>
                    <a:gd name="connsiteY245" fmla="*/ 259422 h 1153700"/>
                    <a:gd name="connsiteX246" fmla="*/ 660965 w 774525"/>
                    <a:gd name="connsiteY246" fmla="*/ 257758 h 1153700"/>
                    <a:gd name="connsiteX247" fmla="*/ 659252 w 774525"/>
                    <a:gd name="connsiteY247" fmla="*/ 256629 h 1153700"/>
                    <a:gd name="connsiteX248" fmla="*/ 657565 w 774525"/>
                    <a:gd name="connsiteY248" fmla="*/ 255488 h 1153700"/>
                    <a:gd name="connsiteX249" fmla="*/ 653084 w 774525"/>
                    <a:gd name="connsiteY249" fmla="*/ 250412 h 1153700"/>
                    <a:gd name="connsiteX250" fmla="*/ 646429 w 774525"/>
                    <a:gd name="connsiteY250" fmla="*/ 247485 h 1153700"/>
                    <a:gd name="connsiteX251" fmla="*/ 644875 w 774525"/>
                    <a:gd name="connsiteY251" fmla="*/ 245640 h 1153700"/>
                    <a:gd name="connsiteX252" fmla="*/ 644377 w 774525"/>
                    <a:gd name="connsiteY252" fmla="*/ 243988 h 1153700"/>
                    <a:gd name="connsiteX253" fmla="*/ 643721 w 774525"/>
                    <a:gd name="connsiteY253" fmla="*/ 241754 h 1153700"/>
                    <a:gd name="connsiteX254" fmla="*/ 641766 w 774525"/>
                    <a:gd name="connsiteY254" fmla="*/ 239252 h 1153700"/>
                    <a:gd name="connsiteX255" fmla="*/ 638961 w 774525"/>
                    <a:gd name="connsiteY255" fmla="*/ 237504 h 1153700"/>
                    <a:gd name="connsiteX256" fmla="*/ 626563 w 774525"/>
                    <a:gd name="connsiteY256" fmla="*/ 232282 h 1153700"/>
                    <a:gd name="connsiteX257" fmla="*/ 624851 w 774525"/>
                    <a:gd name="connsiteY257" fmla="*/ 230412 h 1153700"/>
                    <a:gd name="connsiteX258" fmla="*/ 624208 w 774525"/>
                    <a:gd name="connsiteY258" fmla="*/ 229708 h 1153700"/>
                    <a:gd name="connsiteX259" fmla="*/ 622836 w 774525"/>
                    <a:gd name="connsiteY259" fmla="*/ 226114 h 1153700"/>
                    <a:gd name="connsiteX260" fmla="*/ 621281 w 774525"/>
                    <a:gd name="connsiteY260" fmla="*/ 213910 h 1153700"/>
                    <a:gd name="connsiteX261" fmla="*/ 619848 w 774525"/>
                    <a:gd name="connsiteY261" fmla="*/ 210729 h 1153700"/>
                    <a:gd name="connsiteX262" fmla="*/ 616109 w 774525"/>
                    <a:gd name="connsiteY262" fmla="*/ 204694 h 1153700"/>
                    <a:gd name="connsiteX263" fmla="*/ 615878 w 774525"/>
                    <a:gd name="connsiteY263" fmla="*/ 204086 h 1153700"/>
                    <a:gd name="connsiteX264" fmla="*/ 614894 w 774525"/>
                    <a:gd name="connsiteY264" fmla="*/ 201427 h 1153700"/>
                    <a:gd name="connsiteX265" fmla="*/ 614773 w 774525"/>
                    <a:gd name="connsiteY265" fmla="*/ 196133 h 1153700"/>
                    <a:gd name="connsiteX266" fmla="*/ 614773 w 774525"/>
                    <a:gd name="connsiteY266" fmla="*/ 196024 h 1153700"/>
                    <a:gd name="connsiteX267" fmla="*/ 616946 w 774525"/>
                    <a:gd name="connsiteY267" fmla="*/ 195732 h 1153700"/>
                    <a:gd name="connsiteX268" fmla="*/ 618233 w 774525"/>
                    <a:gd name="connsiteY268" fmla="*/ 196315 h 1153700"/>
                    <a:gd name="connsiteX269" fmla="*/ 619654 w 774525"/>
                    <a:gd name="connsiteY269" fmla="*/ 196958 h 1153700"/>
                    <a:gd name="connsiteX270" fmla="*/ 620456 w 774525"/>
                    <a:gd name="connsiteY270" fmla="*/ 196546 h 1153700"/>
                    <a:gd name="connsiteX271" fmla="*/ 621257 w 774525"/>
                    <a:gd name="connsiteY271" fmla="*/ 196133 h 1153700"/>
                    <a:gd name="connsiteX272" fmla="*/ 621257 w 774525"/>
                    <a:gd name="connsiteY272" fmla="*/ 196133 h 1153700"/>
                    <a:gd name="connsiteX273" fmla="*/ 621136 w 774525"/>
                    <a:gd name="connsiteY273" fmla="*/ 193376 h 1153700"/>
                    <a:gd name="connsiteX274" fmla="*/ 620468 w 774525"/>
                    <a:gd name="connsiteY274" fmla="*/ 192660 h 1153700"/>
                    <a:gd name="connsiteX275" fmla="*/ 619812 w 774525"/>
                    <a:gd name="connsiteY275" fmla="*/ 191931 h 1153700"/>
                    <a:gd name="connsiteX276" fmla="*/ 616910 w 774525"/>
                    <a:gd name="connsiteY276" fmla="*/ 191142 h 1153700"/>
                    <a:gd name="connsiteX277" fmla="*/ 615331 w 774525"/>
                    <a:gd name="connsiteY277" fmla="*/ 190705 h 1153700"/>
                    <a:gd name="connsiteX278" fmla="*/ 612235 w 774525"/>
                    <a:gd name="connsiteY278" fmla="*/ 189442 h 1153700"/>
                    <a:gd name="connsiteX279" fmla="*/ 611992 w 774525"/>
                    <a:gd name="connsiteY279" fmla="*/ 188033 h 1153700"/>
                    <a:gd name="connsiteX280" fmla="*/ 612575 w 774525"/>
                    <a:gd name="connsiteY280" fmla="*/ 186285 h 1153700"/>
                    <a:gd name="connsiteX281" fmla="*/ 612575 w 774525"/>
                    <a:gd name="connsiteY281" fmla="*/ 186285 h 1153700"/>
                    <a:gd name="connsiteX282" fmla="*/ 612295 w 774525"/>
                    <a:gd name="connsiteY282" fmla="*/ 185483 h 1153700"/>
                    <a:gd name="connsiteX283" fmla="*/ 611713 w 774525"/>
                    <a:gd name="connsiteY283" fmla="*/ 183868 h 1153700"/>
                    <a:gd name="connsiteX284" fmla="*/ 610049 w 774525"/>
                    <a:gd name="connsiteY284" fmla="*/ 182569 h 1153700"/>
                    <a:gd name="connsiteX285" fmla="*/ 606746 w 774525"/>
                    <a:gd name="connsiteY285" fmla="*/ 181756 h 1153700"/>
                    <a:gd name="connsiteX286" fmla="*/ 605908 w 774525"/>
                    <a:gd name="connsiteY286" fmla="*/ 181549 h 1153700"/>
                    <a:gd name="connsiteX287" fmla="*/ 603917 w 774525"/>
                    <a:gd name="connsiteY287" fmla="*/ 180760 h 1153700"/>
                    <a:gd name="connsiteX288" fmla="*/ 603577 w 774525"/>
                    <a:gd name="connsiteY288" fmla="*/ 180493 h 1153700"/>
                    <a:gd name="connsiteX289" fmla="*/ 602192 w 774525"/>
                    <a:gd name="connsiteY289" fmla="*/ 179351 h 1153700"/>
                    <a:gd name="connsiteX290" fmla="*/ 600092 w 774525"/>
                    <a:gd name="connsiteY290" fmla="*/ 177081 h 1153700"/>
                    <a:gd name="connsiteX291" fmla="*/ 599327 w 774525"/>
                    <a:gd name="connsiteY291" fmla="*/ 176243 h 1153700"/>
                    <a:gd name="connsiteX292" fmla="*/ 599278 w 774525"/>
                    <a:gd name="connsiteY292" fmla="*/ 176218 h 1153700"/>
                    <a:gd name="connsiteX293" fmla="*/ 597250 w 774525"/>
                    <a:gd name="connsiteY293" fmla="*/ 175186 h 1153700"/>
                    <a:gd name="connsiteX294" fmla="*/ 596230 w 774525"/>
                    <a:gd name="connsiteY294" fmla="*/ 174470 h 1153700"/>
                    <a:gd name="connsiteX295" fmla="*/ 594202 w 774525"/>
                    <a:gd name="connsiteY295" fmla="*/ 173025 h 1153700"/>
                    <a:gd name="connsiteX296" fmla="*/ 593061 w 774525"/>
                    <a:gd name="connsiteY296" fmla="*/ 171920 h 1153700"/>
                    <a:gd name="connsiteX297" fmla="*/ 592490 w 774525"/>
                    <a:gd name="connsiteY297" fmla="*/ 171361 h 1153700"/>
                    <a:gd name="connsiteX298" fmla="*/ 590742 w 774525"/>
                    <a:gd name="connsiteY298" fmla="*/ 170851 h 1153700"/>
                    <a:gd name="connsiteX299" fmla="*/ 587706 w 774525"/>
                    <a:gd name="connsiteY299" fmla="*/ 172345 h 1153700"/>
                    <a:gd name="connsiteX300" fmla="*/ 586334 w 774525"/>
                    <a:gd name="connsiteY300" fmla="*/ 173632 h 1153700"/>
                    <a:gd name="connsiteX301" fmla="*/ 585362 w 774525"/>
                    <a:gd name="connsiteY301" fmla="*/ 174518 h 1153700"/>
                    <a:gd name="connsiteX302" fmla="*/ 583007 w 774525"/>
                    <a:gd name="connsiteY302" fmla="*/ 177882 h 1153700"/>
                    <a:gd name="connsiteX303" fmla="*/ 581453 w 774525"/>
                    <a:gd name="connsiteY303" fmla="*/ 181646 h 1153700"/>
                    <a:gd name="connsiteX304" fmla="*/ 581574 w 774525"/>
                    <a:gd name="connsiteY304" fmla="*/ 185058 h 1153700"/>
                    <a:gd name="connsiteX305" fmla="*/ 585423 w 774525"/>
                    <a:gd name="connsiteY305" fmla="*/ 189053 h 1153700"/>
                    <a:gd name="connsiteX306" fmla="*/ 590815 w 774525"/>
                    <a:gd name="connsiteY306" fmla="*/ 190838 h 1153700"/>
                    <a:gd name="connsiteX307" fmla="*/ 595478 w 774525"/>
                    <a:gd name="connsiteY307" fmla="*/ 193158 h 1153700"/>
                    <a:gd name="connsiteX308" fmla="*/ 597250 w 774525"/>
                    <a:gd name="connsiteY308" fmla="*/ 198901 h 1153700"/>
                    <a:gd name="connsiteX309" fmla="*/ 597833 w 774525"/>
                    <a:gd name="connsiteY309" fmla="*/ 199715 h 1153700"/>
                    <a:gd name="connsiteX310" fmla="*/ 598416 w 774525"/>
                    <a:gd name="connsiteY310" fmla="*/ 200529 h 1153700"/>
                    <a:gd name="connsiteX311" fmla="*/ 599897 w 774525"/>
                    <a:gd name="connsiteY311" fmla="*/ 201014 h 1153700"/>
                    <a:gd name="connsiteX312" fmla="*/ 601634 w 774525"/>
                    <a:gd name="connsiteY312" fmla="*/ 200589 h 1153700"/>
                    <a:gd name="connsiteX313" fmla="*/ 602775 w 774525"/>
                    <a:gd name="connsiteY313" fmla="*/ 199836 h 1153700"/>
                    <a:gd name="connsiteX314" fmla="*/ 603346 w 774525"/>
                    <a:gd name="connsiteY314" fmla="*/ 199460 h 1153700"/>
                    <a:gd name="connsiteX315" fmla="*/ 602666 w 774525"/>
                    <a:gd name="connsiteY315" fmla="*/ 203758 h 1153700"/>
                    <a:gd name="connsiteX316" fmla="*/ 602666 w 774525"/>
                    <a:gd name="connsiteY316" fmla="*/ 203758 h 1153700"/>
                    <a:gd name="connsiteX317" fmla="*/ 603358 w 774525"/>
                    <a:gd name="connsiteY317" fmla="*/ 204402 h 1153700"/>
                    <a:gd name="connsiteX318" fmla="*/ 604050 w 774525"/>
                    <a:gd name="connsiteY318" fmla="*/ 205058 h 1153700"/>
                    <a:gd name="connsiteX319" fmla="*/ 605131 w 774525"/>
                    <a:gd name="connsiteY319" fmla="*/ 205094 h 1153700"/>
                    <a:gd name="connsiteX320" fmla="*/ 606285 w 774525"/>
                    <a:gd name="connsiteY320" fmla="*/ 205143 h 1153700"/>
                    <a:gd name="connsiteX321" fmla="*/ 608301 w 774525"/>
                    <a:gd name="connsiteY321" fmla="*/ 205750 h 1153700"/>
                    <a:gd name="connsiteX322" fmla="*/ 609333 w 774525"/>
                    <a:gd name="connsiteY322" fmla="*/ 209478 h 1153700"/>
                    <a:gd name="connsiteX323" fmla="*/ 606673 w 774525"/>
                    <a:gd name="connsiteY323" fmla="*/ 211275 h 1153700"/>
                    <a:gd name="connsiteX324" fmla="*/ 605544 w 774525"/>
                    <a:gd name="connsiteY324" fmla="*/ 212028 h 1153700"/>
                    <a:gd name="connsiteX325" fmla="*/ 597263 w 774525"/>
                    <a:gd name="connsiteY325" fmla="*/ 214068 h 1153700"/>
                    <a:gd name="connsiteX326" fmla="*/ 591944 w 774525"/>
                    <a:gd name="connsiteY326" fmla="*/ 212344 h 1153700"/>
                    <a:gd name="connsiteX327" fmla="*/ 583590 w 774525"/>
                    <a:gd name="connsiteY327" fmla="*/ 204305 h 1153700"/>
                    <a:gd name="connsiteX328" fmla="*/ 581064 w 774525"/>
                    <a:gd name="connsiteY328" fmla="*/ 203856 h 1153700"/>
                    <a:gd name="connsiteX329" fmla="*/ 578538 w 774525"/>
                    <a:gd name="connsiteY329" fmla="*/ 203406 h 1153700"/>
                    <a:gd name="connsiteX330" fmla="*/ 574810 w 774525"/>
                    <a:gd name="connsiteY330" fmla="*/ 205871 h 1153700"/>
                    <a:gd name="connsiteX331" fmla="*/ 572928 w 774525"/>
                    <a:gd name="connsiteY331" fmla="*/ 210304 h 1153700"/>
                    <a:gd name="connsiteX332" fmla="*/ 571993 w 774525"/>
                    <a:gd name="connsiteY332" fmla="*/ 212514 h 1153700"/>
                    <a:gd name="connsiteX333" fmla="*/ 569006 w 774525"/>
                    <a:gd name="connsiteY333" fmla="*/ 213631 h 1153700"/>
                    <a:gd name="connsiteX334" fmla="*/ 567439 w 774525"/>
                    <a:gd name="connsiteY334" fmla="*/ 212926 h 1153700"/>
                    <a:gd name="connsiteX335" fmla="*/ 565861 w 774525"/>
                    <a:gd name="connsiteY335" fmla="*/ 212234 h 1153700"/>
                    <a:gd name="connsiteX336" fmla="*/ 564088 w 774525"/>
                    <a:gd name="connsiteY336" fmla="*/ 209381 h 1153700"/>
                    <a:gd name="connsiteX337" fmla="*/ 562862 w 774525"/>
                    <a:gd name="connsiteY337" fmla="*/ 205969 h 1153700"/>
                    <a:gd name="connsiteX338" fmla="*/ 561368 w 774525"/>
                    <a:gd name="connsiteY338" fmla="*/ 202896 h 1153700"/>
                    <a:gd name="connsiteX339" fmla="*/ 554604 w 774525"/>
                    <a:gd name="connsiteY339" fmla="*/ 200371 h 1153700"/>
                    <a:gd name="connsiteX340" fmla="*/ 538758 w 774525"/>
                    <a:gd name="connsiteY340" fmla="*/ 206029 h 1153700"/>
                    <a:gd name="connsiteX341" fmla="*/ 535418 w 774525"/>
                    <a:gd name="connsiteY341" fmla="*/ 203674 h 1153700"/>
                    <a:gd name="connsiteX342" fmla="*/ 536487 w 774525"/>
                    <a:gd name="connsiteY342" fmla="*/ 202629 h 1153700"/>
                    <a:gd name="connsiteX343" fmla="*/ 536851 w 774525"/>
                    <a:gd name="connsiteY343" fmla="*/ 202277 h 1153700"/>
                    <a:gd name="connsiteX344" fmla="*/ 543749 w 774525"/>
                    <a:gd name="connsiteY344" fmla="*/ 198913 h 1153700"/>
                    <a:gd name="connsiteX345" fmla="*/ 546141 w 774525"/>
                    <a:gd name="connsiteY345" fmla="*/ 196934 h 1153700"/>
                    <a:gd name="connsiteX346" fmla="*/ 546724 w 774525"/>
                    <a:gd name="connsiteY346" fmla="*/ 195684 h 1153700"/>
                    <a:gd name="connsiteX347" fmla="*/ 547877 w 774525"/>
                    <a:gd name="connsiteY347" fmla="*/ 193194 h 1153700"/>
                    <a:gd name="connsiteX348" fmla="*/ 547877 w 774525"/>
                    <a:gd name="connsiteY348" fmla="*/ 193182 h 1153700"/>
                    <a:gd name="connsiteX349" fmla="*/ 547428 w 774525"/>
                    <a:gd name="connsiteY349" fmla="*/ 190693 h 1153700"/>
                    <a:gd name="connsiteX350" fmla="*/ 544902 w 774525"/>
                    <a:gd name="connsiteY350" fmla="*/ 188774 h 1153700"/>
                    <a:gd name="connsiteX351" fmla="*/ 542741 w 774525"/>
                    <a:gd name="connsiteY351" fmla="*/ 187730 h 1153700"/>
                    <a:gd name="connsiteX352" fmla="*/ 540567 w 774525"/>
                    <a:gd name="connsiteY352" fmla="*/ 186686 h 1153700"/>
                    <a:gd name="connsiteX353" fmla="*/ 540178 w 774525"/>
                    <a:gd name="connsiteY353" fmla="*/ 186151 h 1153700"/>
                    <a:gd name="connsiteX354" fmla="*/ 539498 w 774525"/>
                    <a:gd name="connsiteY354" fmla="*/ 185192 h 1153700"/>
                    <a:gd name="connsiteX355" fmla="*/ 539584 w 774525"/>
                    <a:gd name="connsiteY355" fmla="*/ 183407 h 1153700"/>
                    <a:gd name="connsiteX356" fmla="*/ 539669 w 774525"/>
                    <a:gd name="connsiteY356" fmla="*/ 181634 h 1153700"/>
                    <a:gd name="connsiteX357" fmla="*/ 539656 w 774525"/>
                    <a:gd name="connsiteY357" fmla="*/ 181634 h 1153700"/>
                    <a:gd name="connsiteX358" fmla="*/ 538296 w 774525"/>
                    <a:gd name="connsiteY358" fmla="*/ 181003 h 1153700"/>
                    <a:gd name="connsiteX359" fmla="*/ 536621 w 774525"/>
                    <a:gd name="connsiteY359" fmla="*/ 180493 h 1153700"/>
                    <a:gd name="connsiteX360" fmla="*/ 536281 w 774525"/>
                    <a:gd name="connsiteY360" fmla="*/ 179315 h 1153700"/>
                    <a:gd name="connsiteX361" fmla="*/ 536220 w 774525"/>
                    <a:gd name="connsiteY361" fmla="*/ 179108 h 1153700"/>
                    <a:gd name="connsiteX362" fmla="*/ 536572 w 774525"/>
                    <a:gd name="connsiteY362" fmla="*/ 177360 h 1153700"/>
                    <a:gd name="connsiteX363" fmla="*/ 537361 w 774525"/>
                    <a:gd name="connsiteY363" fmla="*/ 175745 h 1153700"/>
                    <a:gd name="connsiteX364" fmla="*/ 537361 w 774525"/>
                    <a:gd name="connsiteY364" fmla="*/ 175745 h 1153700"/>
                    <a:gd name="connsiteX365" fmla="*/ 532990 w 774525"/>
                    <a:gd name="connsiteY365" fmla="*/ 174737 h 1153700"/>
                    <a:gd name="connsiteX366" fmla="*/ 532310 w 774525"/>
                    <a:gd name="connsiteY366" fmla="*/ 174445 h 1153700"/>
                    <a:gd name="connsiteX367" fmla="*/ 531047 w 774525"/>
                    <a:gd name="connsiteY367" fmla="*/ 173863 h 1153700"/>
                    <a:gd name="connsiteX368" fmla="*/ 528983 w 774525"/>
                    <a:gd name="connsiteY368" fmla="*/ 172563 h 1153700"/>
                    <a:gd name="connsiteX369" fmla="*/ 527501 w 774525"/>
                    <a:gd name="connsiteY369" fmla="*/ 170705 h 1153700"/>
                    <a:gd name="connsiteX370" fmla="*/ 526445 w 774525"/>
                    <a:gd name="connsiteY370" fmla="*/ 168435 h 1153700"/>
                    <a:gd name="connsiteX371" fmla="*/ 525194 w 774525"/>
                    <a:gd name="connsiteY371" fmla="*/ 166480 h 1153700"/>
                    <a:gd name="connsiteX372" fmla="*/ 523203 w 774525"/>
                    <a:gd name="connsiteY372" fmla="*/ 165618 h 1153700"/>
                    <a:gd name="connsiteX373" fmla="*/ 522948 w 774525"/>
                    <a:gd name="connsiteY373" fmla="*/ 165508 h 1153700"/>
                    <a:gd name="connsiteX374" fmla="*/ 518928 w 774525"/>
                    <a:gd name="connsiteY374" fmla="*/ 165569 h 1153700"/>
                    <a:gd name="connsiteX375" fmla="*/ 517775 w 774525"/>
                    <a:gd name="connsiteY375" fmla="*/ 165435 h 1153700"/>
                    <a:gd name="connsiteX376" fmla="*/ 517447 w 774525"/>
                    <a:gd name="connsiteY376" fmla="*/ 165399 h 1153700"/>
                    <a:gd name="connsiteX377" fmla="*/ 516099 w 774525"/>
                    <a:gd name="connsiteY377" fmla="*/ 164840 h 1153700"/>
                    <a:gd name="connsiteX378" fmla="*/ 513148 w 774525"/>
                    <a:gd name="connsiteY378" fmla="*/ 163602 h 1153700"/>
                    <a:gd name="connsiteX379" fmla="*/ 510501 w 774525"/>
                    <a:gd name="connsiteY379" fmla="*/ 161914 h 1153700"/>
                    <a:gd name="connsiteX380" fmla="*/ 509347 w 774525"/>
                    <a:gd name="connsiteY380" fmla="*/ 161173 h 1153700"/>
                    <a:gd name="connsiteX381" fmla="*/ 508595 w 774525"/>
                    <a:gd name="connsiteY381" fmla="*/ 160445 h 1153700"/>
                    <a:gd name="connsiteX382" fmla="*/ 507842 w 774525"/>
                    <a:gd name="connsiteY382" fmla="*/ 159704 h 1153700"/>
                    <a:gd name="connsiteX383" fmla="*/ 505778 w 774525"/>
                    <a:gd name="connsiteY383" fmla="*/ 157518 h 1153700"/>
                    <a:gd name="connsiteX384" fmla="*/ 503495 w 774525"/>
                    <a:gd name="connsiteY384" fmla="*/ 155648 h 1153700"/>
                    <a:gd name="connsiteX385" fmla="*/ 501017 w 774525"/>
                    <a:gd name="connsiteY385" fmla="*/ 152868 h 1153700"/>
                    <a:gd name="connsiteX386" fmla="*/ 498176 w 774525"/>
                    <a:gd name="connsiteY386" fmla="*/ 151580 h 1153700"/>
                    <a:gd name="connsiteX387" fmla="*/ 498018 w 774525"/>
                    <a:gd name="connsiteY387" fmla="*/ 151520 h 1153700"/>
                    <a:gd name="connsiteX388" fmla="*/ 496634 w 774525"/>
                    <a:gd name="connsiteY388" fmla="*/ 151119 h 1153700"/>
                    <a:gd name="connsiteX389" fmla="*/ 491376 w 774525"/>
                    <a:gd name="connsiteY389" fmla="*/ 149601 h 1153700"/>
                    <a:gd name="connsiteX390" fmla="*/ 488899 w 774525"/>
                    <a:gd name="connsiteY390" fmla="*/ 146881 h 1153700"/>
                    <a:gd name="connsiteX391" fmla="*/ 488389 w 774525"/>
                    <a:gd name="connsiteY391" fmla="*/ 142910 h 1153700"/>
                    <a:gd name="connsiteX392" fmla="*/ 488462 w 774525"/>
                    <a:gd name="connsiteY392" fmla="*/ 140797 h 1153700"/>
                    <a:gd name="connsiteX393" fmla="*/ 488559 w 774525"/>
                    <a:gd name="connsiteY393" fmla="*/ 138648 h 1153700"/>
                    <a:gd name="connsiteX394" fmla="*/ 488292 w 774525"/>
                    <a:gd name="connsiteY394" fmla="*/ 135078 h 1153700"/>
                    <a:gd name="connsiteX395" fmla="*/ 488280 w 774525"/>
                    <a:gd name="connsiteY395" fmla="*/ 134932 h 1153700"/>
                    <a:gd name="connsiteX396" fmla="*/ 487879 w 774525"/>
                    <a:gd name="connsiteY396" fmla="*/ 134677 h 1153700"/>
                    <a:gd name="connsiteX397" fmla="*/ 486568 w 774525"/>
                    <a:gd name="connsiteY397" fmla="*/ 133803 h 1153700"/>
                    <a:gd name="connsiteX398" fmla="*/ 486555 w 774525"/>
                    <a:gd name="connsiteY398" fmla="*/ 133815 h 1153700"/>
                    <a:gd name="connsiteX399" fmla="*/ 484212 w 774525"/>
                    <a:gd name="connsiteY399" fmla="*/ 136232 h 1153700"/>
                    <a:gd name="connsiteX400" fmla="*/ 481917 w 774525"/>
                    <a:gd name="connsiteY400" fmla="*/ 139960 h 1153700"/>
                    <a:gd name="connsiteX401" fmla="*/ 480484 w 774525"/>
                    <a:gd name="connsiteY401" fmla="*/ 142862 h 1153700"/>
                    <a:gd name="connsiteX402" fmla="*/ 476647 w 774525"/>
                    <a:gd name="connsiteY402" fmla="*/ 155721 h 1153700"/>
                    <a:gd name="connsiteX403" fmla="*/ 475918 w 774525"/>
                    <a:gd name="connsiteY403" fmla="*/ 156935 h 1153700"/>
                    <a:gd name="connsiteX404" fmla="*/ 474218 w 774525"/>
                    <a:gd name="connsiteY404" fmla="*/ 159728 h 1153700"/>
                    <a:gd name="connsiteX405" fmla="*/ 473174 w 774525"/>
                    <a:gd name="connsiteY405" fmla="*/ 162388 h 1153700"/>
                    <a:gd name="connsiteX406" fmla="*/ 473295 w 774525"/>
                    <a:gd name="connsiteY406" fmla="*/ 163966 h 1153700"/>
                    <a:gd name="connsiteX407" fmla="*/ 473417 w 774525"/>
                    <a:gd name="connsiteY407" fmla="*/ 165727 h 1153700"/>
                    <a:gd name="connsiteX408" fmla="*/ 474109 w 774525"/>
                    <a:gd name="connsiteY408" fmla="*/ 167050 h 1153700"/>
                    <a:gd name="connsiteX409" fmla="*/ 474801 w 774525"/>
                    <a:gd name="connsiteY409" fmla="*/ 168386 h 1153700"/>
                    <a:gd name="connsiteX410" fmla="*/ 477278 w 774525"/>
                    <a:gd name="connsiteY410" fmla="*/ 169103 h 1153700"/>
                    <a:gd name="connsiteX411" fmla="*/ 477290 w 774525"/>
                    <a:gd name="connsiteY411" fmla="*/ 169103 h 1153700"/>
                    <a:gd name="connsiteX412" fmla="*/ 477837 w 774525"/>
                    <a:gd name="connsiteY412" fmla="*/ 168338 h 1153700"/>
                    <a:gd name="connsiteX413" fmla="*/ 478140 w 774525"/>
                    <a:gd name="connsiteY413" fmla="*/ 167913 h 1153700"/>
                    <a:gd name="connsiteX414" fmla="*/ 478663 w 774525"/>
                    <a:gd name="connsiteY414" fmla="*/ 163286 h 1153700"/>
                    <a:gd name="connsiteX415" fmla="*/ 478796 w 774525"/>
                    <a:gd name="connsiteY415" fmla="*/ 163019 h 1153700"/>
                    <a:gd name="connsiteX416" fmla="*/ 479354 w 774525"/>
                    <a:gd name="connsiteY416" fmla="*/ 161914 h 1153700"/>
                    <a:gd name="connsiteX417" fmla="*/ 479537 w 774525"/>
                    <a:gd name="connsiteY417" fmla="*/ 161902 h 1153700"/>
                    <a:gd name="connsiteX418" fmla="*/ 480678 w 774525"/>
                    <a:gd name="connsiteY418" fmla="*/ 161817 h 1153700"/>
                    <a:gd name="connsiteX419" fmla="*/ 481808 w 774525"/>
                    <a:gd name="connsiteY419" fmla="*/ 162302 h 1153700"/>
                    <a:gd name="connsiteX420" fmla="*/ 485038 w 774525"/>
                    <a:gd name="connsiteY420" fmla="*/ 163687 h 1153700"/>
                    <a:gd name="connsiteX421" fmla="*/ 495845 w 774525"/>
                    <a:gd name="connsiteY421" fmla="*/ 165715 h 1153700"/>
                    <a:gd name="connsiteX422" fmla="*/ 500848 w 774525"/>
                    <a:gd name="connsiteY422" fmla="*/ 167985 h 1153700"/>
                    <a:gd name="connsiteX423" fmla="*/ 503555 w 774525"/>
                    <a:gd name="connsiteY423" fmla="*/ 172381 h 1153700"/>
                    <a:gd name="connsiteX424" fmla="*/ 505413 w 774525"/>
                    <a:gd name="connsiteY424" fmla="*/ 177797 h 1153700"/>
                    <a:gd name="connsiteX425" fmla="*/ 507259 w 774525"/>
                    <a:gd name="connsiteY425" fmla="*/ 183225 h 1153700"/>
                    <a:gd name="connsiteX426" fmla="*/ 507271 w 774525"/>
                    <a:gd name="connsiteY426" fmla="*/ 183419 h 1153700"/>
                    <a:gd name="connsiteX427" fmla="*/ 507660 w 774525"/>
                    <a:gd name="connsiteY427" fmla="*/ 188325 h 1153700"/>
                    <a:gd name="connsiteX428" fmla="*/ 506033 w 774525"/>
                    <a:gd name="connsiteY428" fmla="*/ 188082 h 1153700"/>
                    <a:gd name="connsiteX429" fmla="*/ 503543 w 774525"/>
                    <a:gd name="connsiteY429" fmla="*/ 187693 h 1153700"/>
                    <a:gd name="connsiteX430" fmla="*/ 502390 w 774525"/>
                    <a:gd name="connsiteY430" fmla="*/ 187973 h 1153700"/>
                    <a:gd name="connsiteX431" fmla="*/ 502098 w 774525"/>
                    <a:gd name="connsiteY431" fmla="*/ 188046 h 1153700"/>
                    <a:gd name="connsiteX432" fmla="*/ 501175 w 774525"/>
                    <a:gd name="connsiteY432" fmla="*/ 188155 h 1153700"/>
                    <a:gd name="connsiteX433" fmla="*/ 500265 w 774525"/>
                    <a:gd name="connsiteY433" fmla="*/ 188264 h 1153700"/>
                    <a:gd name="connsiteX434" fmla="*/ 498492 w 774525"/>
                    <a:gd name="connsiteY434" fmla="*/ 188191 h 1153700"/>
                    <a:gd name="connsiteX435" fmla="*/ 497278 w 774525"/>
                    <a:gd name="connsiteY435" fmla="*/ 187633 h 1153700"/>
                    <a:gd name="connsiteX436" fmla="*/ 496306 w 774525"/>
                    <a:gd name="connsiteY436" fmla="*/ 187013 h 1153700"/>
                    <a:gd name="connsiteX437" fmla="*/ 495335 w 774525"/>
                    <a:gd name="connsiteY437" fmla="*/ 186394 h 1153700"/>
                    <a:gd name="connsiteX438" fmla="*/ 494242 w 774525"/>
                    <a:gd name="connsiteY438" fmla="*/ 187256 h 1153700"/>
                    <a:gd name="connsiteX439" fmla="*/ 493380 w 774525"/>
                    <a:gd name="connsiteY439" fmla="*/ 189126 h 1153700"/>
                    <a:gd name="connsiteX440" fmla="*/ 493052 w 774525"/>
                    <a:gd name="connsiteY440" fmla="*/ 189515 h 1153700"/>
                    <a:gd name="connsiteX441" fmla="*/ 491935 w 774525"/>
                    <a:gd name="connsiteY441" fmla="*/ 190814 h 1153700"/>
                    <a:gd name="connsiteX442" fmla="*/ 485875 w 774525"/>
                    <a:gd name="connsiteY442" fmla="*/ 194542 h 1153700"/>
                    <a:gd name="connsiteX443" fmla="*/ 483155 w 774525"/>
                    <a:gd name="connsiteY443" fmla="*/ 196206 h 1153700"/>
                    <a:gd name="connsiteX444" fmla="*/ 481565 w 774525"/>
                    <a:gd name="connsiteY444" fmla="*/ 197614 h 1153700"/>
                    <a:gd name="connsiteX445" fmla="*/ 480326 w 774525"/>
                    <a:gd name="connsiteY445" fmla="*/ 198707 h 1153700"/>
                    <a:gd name="connsiteX446" fmla="*/ 479440 w 774525"/>
                    <a:gd name="connsiteY446" fmla="*/ 199909 h 1153700"/>
                    <a:gd name="connsiteX447" fmla="*/ 477460 w 774525"/>
                    <a:gd name="connsiteY447" fmla="*/ 202544 h 1153700"/>
                    <a:gd name="connsiteX448" fmla="*/ 477120 w 774525"/>
                    <a:gd name="connsiteY448" fmla="*/ 204014 h 1153700"/>
                    <a:gd name="connsiteX449" fmla="*/ 476780 w 774525"/>
                    <a:gd name="connsiteY449" fmla="*/ 205483 h 1153700"/>
                    <a:gd name="connsiteX450" fmla="*/ 477120 w 774525"/>
                    <a:gd name="connsiteY450" fmla="*/ 212635 h 1153700"/>
                    <a:gd name="connsiteX451" fmla="*/ 477132 w 774525"/>
                    <a:gd name="connsiteY451" fmla="*/ 212805 h 1153700"/>
                    <a:gd name="connsiteX452" fmla="*/ 476331 w 774525"/>
                    <a:gd name="connsiteY452" fmla="*/ 214299 h 1153700"/>
                    <a:gd name="connsiteX453" fmla="*/ 475529 w 774525"/>
                    <a:gd name="connsiteY453" fmla="*/ 215792 h 1153700"/>
                    <a:gd name="connsiteX454" fmla="*/ 474752 w 774525"/>
                    <a:gd name="connsiteY454" fmla="*/ 216266 h 1153700"/>
                    <a:gd name="connsiteX455" fmla="*/ 472251 w 774525"/>
                    <a:gd name="connsiteY455" fmla="*/ 217772 h 1153700"/>
                    <a:gd name="connsiteX456" fmla="*/ 461298 w 774525"/>
                    <a:gd name="connsiteY456" fmla="*/ 221390 h 1153700"/>
                    <a:gd name="connsiteX457" fmla="*/ 457461 w 774525"/>
                    <a:gd name="connsiteY457" fmla="*/ 222192 h 1153700"/>
                    <a:gd name="connsiteX458" fmla="*/ 456453 w 774525"/>
                    <a:gd name="connsiteY458" fmla="*/ 222580 h 1153700"/>
                    <a:gd name="connsiteX459" fmla="*/ 455445 w 774525"/>
                    <a:gd name="connsiteY459" fmla="*/ 222969 h 1153700"/>
                    <a:gd name="connsiteX460" fmla="*/ 454121 w 774525"/>
                    <a:gd name="connsiteY460" fmla="*/ 224268 h 1153700"/>
                    <a:gd name="connsiteX461" fmla="*/ 453551 w 774525"/>
                    <a:gd name="connsiteY461" fmla="*/ 225009 h 1153700"/>
                    <a:gd name="connsiteX462" fmla="*/ 452980 w 774525"/>
                    <a:gd name="connsiteY462" fmla="*/ 225737 h 1153700"/>
                    <a:gd name="connsiteX463" fmla="*/ 452154 w 774525"/>
                    <a:gd name="connsiteY463" fmla="*/ 226429 h 1153700"/>
                    <a:gd name="connsiteX464" fmla="*/ 451329 w 774525"/>
                    <a:gd name="connsiteY464" fmla="*/ 227109 h 1153700"/>
                    <a:gd name="connsiteX465" fmla="*/ 447807 w 774525"/>
                    <a:gd name="connsiteY465" fmla="*/ 229295 h 1153700"/>
                    <a:gd name="connsiteX466" fmla="*/ 445123 w 774525"/>
                    <a:gd name="connsiteY466" fmla="*/ 230947 h 1153700"/>
                    <a:gd name="connsiteX467" fmla="*/ 445123 w 774525"/>
                    <a:gd name="connsiteY467" fmla="*/ 230947 h 1153700"/>
                    <a:gd name="connsiteX468" fmla="*/ 445112 w 774525"/>
                    <a:gd name="connsiteY468" fmla="*/ 230947 h 1153700"/>
                    <a:gd name="connsiteX469" fmla="*/ 443557 w 774525"/>
                    <a:gd name="connsiteY469" fmla="*/ 233351 h 1153700"/>
                    <a:gd name="connsiteX470" fmla="*/ 441493 w 774525"/>
                    <a:gd name="connsiteY470" fmla="*/ 239896 h 1153700"/>
                    <a:gd name="connsiteX471" fmla="*/ 441262 w 774525"/>
                    <a:gd name="connsiteY471" fmla="*/ 240248 h 1153700"/>
                    <a:gd name="connsiteX472" fmla="*/ 440837 w 774525"/>
                    <a:gd name="connsiteY472" fmla="*/ 241025 h 1153700"/>
                    <a:gd name="connsiteX473" fmla="*/ 440570 w 774525"/>
                    <a:gd name="connsiteY473" fmla="*/ 242045 h 1153700"/>
                    <a:gd name="connsiteX474" fmla="*/ 440570 w 774525"/>
                    <a:gd name="connsiteY474" fmla="*/ 242045 h 1153700"/>
                    <a:gd name="connsiteX475" fmla="*/ 440582 w 774525"/>
                    <a:gd name="connsiteY475" fmla="*/ 242142 h 1153700"/>
                    <a:gd name="connsiteX476" fmla="*/ 440789 w 774525"/>
                    <a:gd name="connsiteY476" fmla="*/ 244037 h 1153700"/>
                    <a:gd name="connsiteX477" fmla="*/ 441262 w 774525"/>
                    <a:gd name="connsiteY477" fmla="*/ 244717 h 1153700"/>
                    <a:gd name="connsiteX478" fmla="*/ 441493 w 774525"/>
                    <a:gd name="connsiteY478" fmla="*/ 245045 h 1153700"/>
                    <a:gd name="connsiteX479" fmla="*/ 441736 w 774525"/>
                    <a:gd name="connsiteY479" fmla="*/ 245190 h 1153700"/>
                    <a:gd name="connsiteX480" fmla="*/ 442647 w 774525"/>
                    <a:gd name="connsiteY480" fmla="*/ 245761 h 1153700"/>
                    <a:gd name="connsiteX481" fmla="*/ 443691 w 774525"/>
                    <a:gd name="connsiteY481" fmla="*/ 246878 h 1153700"/>
                    <a:gd name="connsiteX482" fmla="*/ 443958 w 774525"/>
                    <a:gd name="connsiteY482" fmla="*/ 249064 h 1153700"/>
                    <a:gd name="connsiteX483" fmla="*/ 442647 w 774525"/>
                    <a:gd name="connsiteY483" fmla="*/ 252913 h 1153700"/>
                    <a:gd name="connsiteX484" fmla="*/ 437923 w 774525"/>
                    <a:gd name="connsiteY484" fmla="*/ 256495 h 1153700"/>
                    <a:gd name="connsiteX485" fmla="*/ 435640 w 774525"/>
                    <a:gd name="connsiteY485" fmla="*/ 260770 h 1153700"/>
                    <a:gd name="connsiteX486" fmla="*/ 434316 w 774525"/>
                    <a:gd name="connsiteY486" fmla="*/ 263235 h 1153700"/>
                    <a:gd name="connsiteX487" fmla="*/ 430819 w 774525"/>
                    <a:gd name="connsiteY487" fmla="*/ 274588 h 1153700"/>
                    <a:gd name="connsiteX488" fmla="*/ 430625 w 774525"/>
                    <a:gd name="connsiteY488" fmla="*/ 274880 h 1153700"/>
                    <a:gd name="connsiteX489" fmla="*/ 429848 w 774525"/>
                    <a:gd name="connsiteY489" fmla="*/ 276045 h 1153700"/>
                    <a:gd name="connsiteX490" fmla="*/ 428828 w 774525"/>
                    <a:gd name="connsiteY490" fmla="*/ 276677 h 1153700"/>
                    <a:gd name="connsiteX491" fmla="*/ 428367 w 774525"/>
                    <a:gd name="connsiteY491" fmla="*/ 277442 h 1153700"/>
                    <a:gd name="connsiteX492" fmla="*/ 428257 w 774525"/>
                    <a:gd name="connsiteY492" fmla="*/ 277624 h 1153700"/>
                    <a:gd name="connsiteX493" fmla="*/ 428257 w 774525"/>
                    <a:gd name="connsiteY493" fmla="*/ 277624 h 1153700"/>
                    <a:gd name="connsiteX494" fmla="*/ 428354 w 774525"/>
                    <a:gd name="connsiteY494" fmla="*/ 278243 h 1153700"/>
                    <a:gd name="connsiteX495" fmla="*/ 429690 w 774525"/>
                    <a:gd name="connsiteY495" fmla="*/ 286501 h 1153700"/>
                    <a:gd name="connsiteX496" fmla="*/ 430965 w 774525"/>
                    <a:gd name="connsiteY496" fmla="*/ 289536 h 1153700"/>
                    <a:gd name="connsiteX497" fmla="*/ 430953 w 774525"/>
                    <a:gd name="connsiteY497" fmla="*/ 289658 h 1153700"/>
                    <a:gd name="connsiteX498" fmla="*/ 430710 w 774525"/>
                    <a:gd name="connsiteY498" fmla="*/ 291297 h 1153700"/>
                    <a:gd name="connsiteX499" fmla="*/ 430710 w 774525"/>
                    <a:gd name="connsiteY499" fmla="*/ 293070 h 1153700"/>
                    <a:gd name="connsiteX500" fmla="*/ 432325 w 774525"/>
                    <a:gd name="connsiteY500" fmla="*/ 294843 h 1153700"/>
                    <a:gd name="connsiteX501" fmla="*/ 433649 w 774525"/>
                    <a:gd name="connsiteY501" fmla="*/ 296312 h 1153700"/>
                    <a:gd name="connsiteX502" fmla="*/ 434571 w 774525"/>
                    <a:gd name="connsiteY502" fmla="*/ 298024 h 1153700"/>
                    <a:gd name="connsiteX503" fmla="*/ 435822 w 774525"/>
                    <a:gd name="connsiteY503" fmla="*/ 301849 h 1153700"/>
                    <a:gd name="connsiteX504" fmla="*/ 438226 w 774525"/>
                    <a:gd name="connsiteY504" fmla="*/ 304314 h 1153700"/>
                    <a:gd name="connsiteX505" fmla="*/ 438239 w 774525"/>
                    <a:gd name="connsiteY505" fmla="*/ 304314 h 1153700"/>
                    <a:gd name="connsiteX506" fmla="*/ 440060 w 774525"/>
                    <a:gd name="connsiteY506" fmla="*/ 304217 h 1153700"/>
                    <a:gd name="connsiteX507" fmla="*/ 441736 w 774525"/>
                    <a:gd name="connsiteY507" fmla="*/ 304144 h 1153700"/>
                    <a:gd name="connsiteX508" fmla="*/ 445464 w 774525"/>
                    <a:gd name="connsiteY508" fmla="*/ 302566 h 1153700"/>
                    <a:gd name="connsiteX509" fmla="*/ 448584 w 774525"/>
                    <a:gd name="connsiteY509" fmla="*/ 300781 h 1153700"/>
                    <a:gd name="connsiteX510" fmla="*/ 456951 w 774525"/>
                    <a:gd name="connsiteY510" fmla="*/ 298437 h 1153700"/>
                    <a:gd name="connsiteX511" fmla="*/ 463047 w 774525"/>
                    <a:gd name="connsiteY511" fmla="*/ 301473 h 1153700"/>
                    <a:gd name="connsiteX512" fmla="*/ 468705 w 774525"/>
                    <a:gd name="connsiteY512" fmla="*/ 307860 h 1153700"/>
                    <a:gd name="connsiteX513" fmla="*/ 474352 w 774525"/>
                    <a:gd name="connsiteY513" fmla="*/ 314247 h 1153700"/>
                    <a:gd name="connsiteX514" fmla="*/ 483859 w 774525"/>
                    <a:gd name="connsiteY514" fmla="*/ 320476 h 1153700"/>
                    <a:gd name="connsiteX515" fmla="*/ 487964 w 774525"/>
                    <a:gd name="connsiteY515" fmla="*/ 323172 h 1153700"/>
                    <a:gd name="connsiteX516" fmla="*/ 492955 w 774525"/>
                    <a:gd name="connsiteY516" fmla="*/ 328564 h 1153700"/>
                    <a:gd name="connsiteX517" fmla="*/ 493768 w 774525"/>
                    <a:gd name="connsiteY517" fmla="*/ 340877 h 1153700"/>
                    <a:gd name="connsiteX518" fmla="*/ 495080 w 774525"/>
                    <a:gd name="connsiteY518" fmla="*/ 342127 h 1153700"/>
                    <a:gd name="connsiteX519" fmla="*/ 496391 w 774525"/>
                    <a:gd name="connsiteY519" fmla="*/ 343390 h 1153700"/>
                    <a:gd name="connsiteX520" fmla="*/ 503471 w 774525"/>
                    <a:gd name="connsiteY520" fmla="*/ 346827 h 1153700"/>
                    <a:gd name="connsiteX521" fmla="*/ 505353 w 774525"/>
                    <a:gd name="connsiteY521" fmla="*/ 350822 h 1153700"/>
                    <a:gd name="connsiteX522" fmla="*/ 510465 w 774525"/>
                    <a:gd name="connsiteY522" fmla="*/ 354610 h 1153700"/>
                    <a:gd name="connsiteX523" fmla="*/ 511898 w 774525"/>
                    <a:gd name="connsiteY523" fmla="*/ 357476 h 1153700"/>
                    <a:gd name="connsiteX524" fmla="*/ 513719 w 774525"/>
                    <a:gd name="connsiteY524" fmla="*/ 359322 h 1153700"/>
                    <a:gd name="connsiteX525" fmla="*/ 515650 w 774525"/>
                    <a:gd name="connsiteY525" fmla="*/ 359686 h 1153700"/>
                    <a:gd name="connsiteX526" fmla="*/ 517581 w 774525"/>
                    <a:gd name="connsiteY526" fmla="*/ 360062 h 1153700"/>
                    <a:gd name="connsiteX527" fmla="*/ 525607 w 774525"/>
                    <a:gd name="connsiteY527" fmla="*/ 360317 h 1153700"/>
                    <a:gd name="connsiteX528" fmla="*/ 529128 w 774525"/>
                    <a:gd name="connsiteY528" fmla="*/ 361993 h 1153700"/>
                    <a:gd name="connsiteX529" fmla="*/ 529274 w 774525"/>
                    <a:gd name="connsiteY529" fmla="*/ 362066 h 1153700"/>
                    <a:gd name="connsiteX530" fmla="*/ 535309 w 774525"/>
                    <a:gd name="connsiteY530" fmla="*/ 365891 h 1153700"/>
                    <a:gd name="connsiteX531" fmla="*/ 539219 w 774525"/>
                    <a:gd name="connsiteY531" fmla="*/ 366777 h 1153700"/>
                    <a:gd name="connsiteX532" fmla="*/ 541454 w 774525"/>
                    <a:gd name="connsiteY532" fmla="*/ 366170 h 1153700"/>
                    <a:gd name="connsiteX533" fmla="*/ 541454 w 774525"/>
                    <a:gd name="connsiteY533" fmla="*/ 366170 h 1153700"/>
                    <a:gd name="connsiteX534" fmla="*/ 541466 w 774525"/>
                    <a:gd name="connsiteY534" fmla="*/ 366170 h 1153700"/>
                    <a:gd name="connsiteX535" fmla="*/ 541854 w 774525"/>
                    <a:gd name="connsiteY535" fmla="*/ 365782 h 1153700"/>
                    <a:gd name="connsiteX536" fmla="*/ 543117 w 774525"/>
                    <a:gd name="connsiteY536" fmla="*/ 364568 h 1153700"/>
                    <a:gd name="connsiteX537" fmla="*/ 544368 w 774525"/>
                    <a:gd name="connsiteY537" fmla="*/ 363050 h 1153700"/>
                    <a:gd name="connsiteX538" fmla="*/ 544732 w 774525"/>
                    <a:gd name="connsiteY538" fmla="*/ 362612 h 1153700"/>
                    <a:gd name="connsiteX539" fmla="*/ 545461 w 774525"/>
                    <a:gd name="connsiteY539" fmla="*/ 362005 h 1153700"/>
                    <a:gd name="connsiteX540" fmla="*/ 546687 w 774525"/>
                    <a:gd name="connsiteY540" fmla="*/ 360997 h 1153700"/>
                    <a:gd name="connsiteX541" fmla="*/ 548181 w 774525"/>
                    <a:gd name="connsiteY541" fmla="*/ 360767 h 1153700"/>
                    <a:gd name="connsiteX542" fmla="*/ 549917 w 774525"/>
                    <a:gd name="connsiteY542" fmla="*/ 361058 h 1153700"/>
                    <a:gd name="connsiteX543" fmla="*/ 550792 w 774525"/>
                    <a:gd name="connsiteY543" fmla="*/ 361095 h 1153700"/>
                    <a:gd name="connsiteX544" fmla="*/ 551678 w 774525"/>
                    <a:gd name="connsiteY544" fmla="*/ 361143 h 1153700"/>
                    <a:gd name="connsiteX545" fmla="*/ 553524 w 774525"/>
                    <a:gd name="connsiteY545" fmla="*/ 360305 h 1153700"/>
                    <a:gd name="connsiteX546" fmla="*/ 553524 w 774525"/>
                    <a:gd name="connsiteY546" fmla="*/ 360305 h 1153700"/>
                    <a:gd name="connsiteX547" fmla="*/ 553402 w 774525"/>
                    <a:gd name="connsiteY547" fmla="*/ 356784 h 1153700"/>
                    <a:gd name="connsiteX548" fmla="*/ 559134 w 774525"/>
                    <a:gd name="connsiteY548" fmla="*/ 358957 h 1153700"/>
                    <a:gd name="connsiteX549" fmla="*/ 560749 w 774525"/>
                    <a:gd name="connsiteY549" fmla="*/ 360305 h 1153700"/>
                    <a:gd name="connsiteX550" fmla="*/ 562485 w 774525"/>
                    <a:gd name="connsiteY550" fmla="*/ 362333 h 1153700"/>
                    <a:gd name="connsiteX551" fmla="*/ 562995 w 774525"/>
                    <a:gd name="connsiteY551" fmla="*/ 362940 h 1153700"/>
                    <a:gd name="connsiteX552" fmla="*/ 565399 w 774525"/>
                    <a:gd name="connsiteY552" fmla="*/ 365005 h 1153700"/>
                    <a:gd name="connsiteX553" fmla="*/ 566565 w 774525"/>
                    <a:gd name="connsiteY553" fmla="*/ 366753 h 1153700"/>
                    <a:gd name="connsiteX554" fmla="*/ 567148 w 774525"/>
                    <a:gd name="connsiteY554" fmla="*/ 367628 h 1153700"/>
                    <a:gd name="connsiteX555" fmla="*/ 567257 w 774525"/>
                    <a:gd name="connsiteY555" fmla="*/ 369765 h 1153700"/>
                    <a:gd name="connsiteX556" fmla="*/ 567367 w 774525"/>
                    <a:gd name="connsiteY556" fmla="*/ 371902 h 1153700"/>
                    <a:gd name="connsiteX557" fmla="*/ 564209 w 774525"/>
                    <a:gd name="connsiteY557" fmla="*/ 378993 h 1153700"/>
                    <a:gd name="connsiteX558" fmla="*/ 564258 w 774525"/>
                    <a:gd name="connsiteY558" fmla="*/ 380232 h 1153700"/>
                    <a:gd name="connsiteX559" fmla="*/ 566274 w 774525"/>
                    <a:gd name="connsiteY559" fmla="*/ 381665 h 1153700"/>
                    <a:gd name="connsiteX560" fmla="*/ 566784 w 774525"/>
                    <a:gd name="connsiteY560" fmla="*/ 383328 h 1153700"/>
                    <a:gd name="connsiteX561" fmla="*/ 566881 w 774525"/>
                    <a:gd name="connsiteY561" fmla="*/ 384239 h 1153700"/>
                    <a:gd name="connsiteX562" fmla="*/ 566966 w 774525"/>
                    <a:gd name="connsiteY562" fmla="*/ 385247 h 1153700"/>
                    <a:gd name="connsiteX563" fmla="*/ 567379 w 774525"/>
                    <a:gd name="connsiteY563" fmla="*/ 386328 h 1153700"/>
                    <a:gd name="connsiteX564" fmla="*/ 567767 w 774525"/>
                    <a:gd name="connsiteY564" fmla="*/ 387408 h 1153700"/>
                    <a:gd name="connsiteX565" fmla="*/ 572187 w 774525"/>
                    <a:gd name="connsiteY565" fmla="*/ 392788 h 1153700"/>
                    <a:gd name="connsiteX566" fmla="*/ 572466 w 774525"/>
                    <a:gd name="connsiteY566" fmla="*/ 393018 h 1153700"/>
                    <a:gd name="connsiteX567" fmla="*/ 573499 w 774525"/>
                    <a:gd name="connsiteY567" fmla="*/ 393905 h 1153700"/>
                    <a:gd name="connsiteX568" fmla="*/ 575405 w 774525"/>
                    <a:gd name="connsiteY568" fmla="*/ 394391 h 1153700"/>
                    <a:gd name="connsiteX569" fmla="*/ 579364 w 774525"/>
                    <a:gd name="connsiteY569" fmla="*/ 394645 h 1153700"/>
                    <a:gd name="connsiteX570" fmla="*/ 580445 w 774525"/>
                    <a:gd name="connsiteY570" fmla="*/ 395532 h 1153700"/>
                    <a:gd name="connsiteX571" fmla="*/ 582339 w 774525"/>
                    <a:gd name="connsiteY571" fmla="*/ 397414 h 1153700"/>
                    <a:gd name="connsiteX572" fmla="*/ 583602 w 774525"/>
                    <a:gd name="connsiteY572" fmla="*/ 398665 h 1153700"/>
                    <a:gd name="connsiteX573" fmla="*/ 588034 w 774525"/>
                    <a:gd name="connsiteY573" fmla="*/ 399248 h 1153700"/>
                    <a:gd name="connsiteX574" fmla="*/ 592830 w 774525"/>
                    <a:gd name="connsiteY574" fmla="*/ 399017 h 1153700"/>
                    <a:gd name="connsiteX575" fmla="*/ 597214 w 774525"/>
                    <a:gd name="connsiteY575" fmla="*/ 398811 h 1153700"/>
                    <a:gd name="connsiteX576" fmla="*/ 598586 w 774525"/>
                    <a:gd name="connsiteY576" fmla="*/ 400438 h 1153700"/>
                    <a:gd name="connsiteX577" fmla="*/ 598999 w 774525"/>
                    <a:gd name="connsiteY577" fmla="*/ 402344 h 1153700"/>
                    <a:gd name="connsiteX578" fmla="*/ 598537 w 774525"/>
                    <a:gd name="connsiteY578" fmla="*/ 404348 h 1153700"/>
                    <a:gd name="connsiteX579" fmla="*/ 597214 w 774525"/>
                    <a:gd name="connsiteY579" fmla="*/ 406303 h 1153700"/>
                    <a:gd name="connsiteX580" fmla="*/ 590159 w 774525"/>
                    <a:gd name="connsiteY580" fmla="*/ 411293 h 1153700"/>
                    <a:gd name="connsiteX581" fmla="*/ 590159 w 774525"/>
                    <a:gd name="connsiteY581" fmla="*/ 411293 h 1153700"/>
                    <a:gd name="connsiteX582" fmla="*/ 590147 w 774525"/>
                    <a:gd name="connsiteY582" fmla="*/ 411293 h 1153700"/>
                    <a:gd name="connsiteX583" fmla="*/ 589710 w 774525"/>
                    <a:gd name="connsiteY583" fmla="*/ 411864 h 1153700"/>
                    <a:gd name="connsiteX584" fmla="*/ 588471 w 774525"/>
                    <a:gd name="connsiteY584" fmla="*/ 413443 h 1153700"/>
                    <a:gd name="connsiteX585" fmla="*/ 588313 w 774525"/>
                    <a:gd name="connsiteY585" fmla="*/ 416139 h 1153700"/>
                    <a:gd name="connsiteX586" fmla="*/ 588835 w 774525"/>
                    <a:gd name="connsiteY586" fmla="*/ 418773 h 1153700"/>
                    <a:gd name="connsiteX587" fmla="*/ 588580 w 774525"/>
                    <a:gd name="connsiteY587" fmla="*/ 419769 h 1153700"/>
                    <a:gd name="connsiteX588" fmla="*/ 588325 w 774525"/>
                    <a:gd name="connsiteY588" fmla="*/ 420765 h 1153700"/>
                    <a:gd name="connsiteX589" fmla="*/ 584889 w 774525"/>
                    <a:gd name="connsiteY589" fmla="*/ 421481 h 1153700"/>
                    <a:gd name="connsiteX590" fmla="*/ 584901 w 774525"/>
                    <a:gd name="connsiteY590" fmla="*/ 421494 h 1153700"/>
                    <a:gd name="connsiteX591" fmla="*/ 584889 w 774525"/>
                    <a:gd name="connsiteY591" fmla="*/ 421494 h 1153700"/>
                    <a:gd name="connsiteX592" fmla="*/ 586589 w 774525"/>
                    <a:gd name="connsiteY592" fmla="*/ 424177 h 1153700"/>
                    <a:gd name="connsiteX593" fmla="*/ 587573 w 774525"/>
                    <a:gd name="connsiteY593" fmla="*/ 425731 h 1153700"/>
                    <a:gd name="connsiteX594" fmla="*/ 584464 w 774525"/>
                    <a:gd name="connsiteY594" fmla="*/ 425549 h 1153700"/>
                    <a:gd name="connsiteX595" fmla="*/ 582813 w 774525"/>
                    <a:gd name="connsiteY595" fmla="*/ 425452 h 1153700"/>
                    <a:gd name="connsiteX596" fmla="*/ 570001 w 774525"/>
                    <a:gd name="connsiteY596" fmla="*/ 421056 h 1153700"/>
                    <a:gd name="connsiteX597" fmla="*/ 569856 w 774525"/>
                    <a:gd name="connsiteY597" fmla="*/ 420971 h 1153700"/>
                    <a:gd name="connsiteX598" fmla="*/ 568739 w 774525"/>
                    <a:gd name="connsiteY598" fmla="*/ 420340 h 1153700"/>
                    <a:gd name="connsiteX599" fmla="*/ 568338 w 774525"/>
                    <a:gd name="connsiteY599" fmla="*/ 420219 h 1153700"/>
                    <a:gd name="connsiteX600" fmla="*/ 567537 w 774525"/>
                    <a:gd name="connsiteY600" fmla="*/ 419964 h 1153700"/>
                    <a:gd name="connsiteX601" fmla="*/ 566043 w 774525"/>
                    <a:gd name="connsiteY601" fmla="*/ 420279 h 1153700"/>
                    <a:gd name="connsiteX602" fmla="*/ 564780 w 774525"/>
                    <a:gd name="connsiteY602" fmla="*/ 421688 h 1153700"/>
                    <a:gd name="connsiteX603" fmla="*/ 563663 w 774525"/>
                    <a:gd name="connsiteY603" fmla="*/ 424226 h 1153700"/>
                    <a:gd name="connsiteX604" fmla="*/ 562886 w 774525"/>
                    <a:gd name="connsiteY604" fmla="*/ 425999 h 1153700"/>
                    <a:gd name="connsiteX605" fmla="*/ 561332 w 774525"/>
                    <a:gd name="connsiteY605" fmla="*/ 427116 h 1153700"/>
                    <a:gd name="connsiteX606" fmla="*/ 557349 w 774525"/>
                    <a:gd name="connsiteY606" fmla="*/ 426727 h 1153700"/>
                    <a:gd name="connsiteX607" fmla="*/ 550136 w 774525"/>
                    <a:gd name="connsiteY607" fmla="*/ 426023 h 1153700"/>
                    <a:gd name="connsiteX608" fmla="*/ 543020 w 774525"/>
                    <a:gd name="connsiteY608" fmla="*/ 423436 h 1153700"/>
                    <a:gd name="connsiteX609" fmla="*/ 538952 w 774525"/>
                    <a:gd name="connsiteY609" fmla="*/ 421955 h 1153700"/>
                    <a:gd name="connsiteX610" fmla="*/ 533196 w 774525"/>
                    <a:gd name="connsiteY610" fmla="*/ 420862 h 1153700"/>
                    <a:gd name="connsiteX611" fmla="*/ 531010 w 774525"/>
                    <a:gd name="connsiteY611" fmla="*/ 420814 h 1153700"/>
                    <a:gd name="connsiteX612" fmla="*/ 526664 w 774525"/>
                    <a:gd name="connsiteY612" fmla="*/ 420692 h 1153700"/>
                    <a:gd name="connsiteX613" fmla="*/ 524927 w 774525"/>
                    <a:gd name="connsiteY613" fmla="*/ 421299 h 1153700"/>
                    <a:gd name="connsiteX614" fmla="*/ 524915 w 774525"/>
                    <a:gd name="connsiteY614" fmla="*/ 421299 h 1153700"/>
                    <a:gd name="connsiteX615" fmla="*/ 523664 w 774525"/>
                    <a:gd name="connsiteY615" fmla="*/ 422671 h 1153700"/>
                    <a:gd name="connsiteX616" fmla="*/ 522620 w 774525"/>
                    <a:gd name="connsiteY616" fmla="*/ 423813 h 1153700"/>
                    <a:gd name="connsiteX617" fmla="*/ 521952 w 774525"/>
                    <a:gd name="connsiteY617" fmla="*/ 424238 h 1153700"/>
                    <a:gd name="connsiteX618" fmla="*/ 521284 w 774525"/>
                    <a:gd name="connsiteY618" fmla="*/ 424663 h 1153700"/>
                    <a:gd name="connsiteX619" fmla="*/ 519171 w 774525"/>
                    <a:gd name="connsiteY619" fmla="*/ 425149 h 1153700"/>
                    <a:gd name="connsiteX620" fmla="*/ 518734 w 774525"/>
                    <a:gd name="connsiteY620" fmla="*/ 425112 h 1153700"/>
                    <a:gd name="connsiteX621" fmla="*/ 518309 w 774525"/>
                    <a:gd name="connsiteY621" fmla="*/ 425076 h 1153700"/>
                    <a:gd name="connsiteX622" fmla="*/ 517435 w 774525"/>
                    <a:gd name="connsiteY622" fmla="*/ 424687 h 1153700"/>
                    <a:gd name="connsiteX623" fmla="*/ 517386 w 774525"/>
                    <a:gd name="connsiteY623" fmla="*/ 424663 h 1153700"/>
                    <a:gd name="connsiteX624" fmla="*/ 512408 w 774525"/>
                    <a:gd name="connsiteY624" fmla="*/ 423351 h 1153700"/>
                    <a:gd name="connsiteX625" fmla="*/ 506494 w 774525"/>
                    <a:gd name="connsiteY625" fmla="*/ 421081 h 1153700"/>
                    <a:gd name="connsiteX626" fmla="*/ 503458 w 774525"/>
                    <a:gd name="connsiteY626" fmla="*/ 420304 h 1153700"/>
                    <a:gd name="connsiteX627" fmla="*/ 497010 w 774525"/>
                    <a:gd name="connsiteY627" fmla="*/ 421360 h 1153700"/>
                    <a:gd name="connsiteX628" fmla="*/ 496100 w 774525"/>
                    <a:gd name="connsiteY628" fmla="*/ 423024 h 1153700"/>
                    <a:gd name="connsiteX629" fmla="*/ 495189 w 774525"/>
                    <a:gd name="connsiteY629" fmla="*/ 424687 h 1153700"/>
                    <a:gd name="connsiteX630" fmla="*/ 495189 w 774525"/>
                    <a:gd name="connsiteY630" fmla="*/ 424687 h 1153700"/>
                    <a:gd name="connsiteX631" fmla="*/ 495699 w 774525"/>
                    <a:gd name="connsiteY631" fmla="*/ 435944 h 1153700"/>
                    <a:gd name="connsiteX632" fmla="*/ 494934 w 774525"/>
                    <a:gd name="connsiteY632" fmla="*/ 442513 h 1153700"/>
                    <a:gd name="connsiteX633" fmla="*/ 494169 w 774525"/>
                    <a:gd name="connsiteY633" fmla="*/ 449070 h 1153700"/>
                    <a:gd name="connsiteX634" fmla="*/ 493744 w 774525"/>
                    <a:gd name="connsiteY634" fmla="*/ 450199 h 1153700"/>
                    <a:gd name="connsiteX635" fmla="*/ 491922 w 774525"/>
                    <a:gd name="connsiteY635" fmla="*/ 454972 h 1153700"/>
                    <a:gd name="connsiteX636" fmla="*/ 489385 w 774525"/>
                    <a:gd name="connsiteY636" fmla="*/ 458104 h 1153700"/>
                    <a:gd name="connsiteX637" fmla="*/ 487624 w 774525"/>
                    <a:gd name="connsiteY637" fmla="*/ 460254 h 1153700"/>
                    <a:gd name="connsiteX638" fmla="*/ 487430 w 774525"/>
                    <a:gd name="connsiteY638" fmla="*/ 462015 h 1153700"/>
                    <a:gd name="connsiteX639" fmla="*/ 487053 w 774525"/>
                    <a:gd name="connsiteY639" fmla="*/ 465512 h 1153700"/>
                    <a:gd name="connsiteX640" fmla="*/ 485523 w 774525"/>
                    <a:gd name="connsiteY640" fmla="*/ 468596 h 1153700"/>
                    <a:gd name="connsiteX641" fmla="*/ 484758 w 774525"/>
                    <a:gd name="connsiteY641" fmla="*/ 470126 h 1153700"/>
                    <a:gd name="connsiteX642" fmla="*/ 482160 w 774525"/>
                    <a:gd name="connsiteY642" fmla="*/ 473405 h 1153700"/>
                    <a:gd name="connsiteX643" fmla="*/ 478201 w 774525"/>
                    <a:gd name="connsiteY643" fmla="*/ 478408 h 1153700"/>
                    <a:gd name="connsiteX644" fmla="*/ 476999 w 774525"/>
                    <a:gd name="connsiteY644" fmla="*/ 480496 h 1153700"/>
                    <a:gd name="connsiteX645" fmla="*/ 474801 w 774525"/>
                    <a:gd name="connsiteY645" fmla="*/ 484285 h 1153700"/>
                    <a:gd name="connsiteX646" fmla="*/ 473089 w 774525"/>
                    <a:gd name="connsiteY646" fmla="*/ 485548 h 1153700"/>
                    <a:gd name="connsiteX647" fmla="*/ 469920 w 774525"/>
                    <a:gd name="connsiteY647" fmla="*/ 485256 h 1153700"/>
                    <a:gd name="connsiteX648" fmla="*/ 462063 w 774525"/>
                    <a:gd name="connsiteY648" fmla="*/ 483216 h 1153700"/>
                    <a:gd name="connsiteX649" fmla="*/ 459853 w 774525"/>
                    <a:gd name="connsiteY649" fmla="*/ 483107 h 1153700"/>
                    <a:gd name="connsiteX650" fmla="*/ 459756 w 774525"/>
                    <a:gd name="connsiteY650" fmla="*/ 481310 h 1153700"/>
                    <a:gd name="connsiteX651" fmla="*/ 459659 w 774525"/>
                    <a:gd name="connsiteY651" fmla="*/ 479500 h 1153700"/>
                    <a:gd name="connsiteX652" fmla="*/ 457946 w 774525"/>
                    <a:gd name="connsiteY652" fmla="*/ 475627 h 1153700"/>
                    <a:gd name="connsiteX653" fmla="*/ 456174 w 774525"/>
                    <a:gd name="connsiteY653" fmla="*/ 473368 h 1153700"/>
                    <a:gd name="connsiteX654" fmla="*/ 455299 w 774525"/>
                    <a:gd name="connsiteY654" fmla="*/ 472239 h 1153700"/>
                    <a:gd name="connsiteX655" fmla="*/ 452264 w 774525"/>
                    <a:gd name="connsiteY655" fmla="*/ 470235 h 1153700"/>
                    <a:gd name="connsiteX656" fmla="*/ 450455 w 774525"/>
                    <a:gd name="connsiteY656" fmla="*/ 470065 h 1153700"/>
                    <a:gd name="connsiteX657" fmla="*/ 448657 w 774525"/>
                    <a:gd name="connsiteY657" fmla="*/ 469883 h 1153700"/>
                    <a:gd name="connsiteX658" fmla="*/ 445160 w 774525"/>
                    <a:gd name="connsiteY658" fmla="*/ 471061 h 1153700"/>
                    <a:gd name="connsiteX659" fmla="*/ 435834 w 774525"/>
                    <a:gd name="connsiteY659" fmla="*/ 476003 h 1153700"/>
                    <a:gd name="connsiteX660" fmla="*/ 435834 w 774525"/>
                    <a:gd name="connsiteY660" fmla="*/ 476003 h 1153700"/>
                    <a:gd name="connsiteX661" fmla="*/ 435834 w 774525"/>
                    <a:gd name="connsiteY661" fmla="*/ 476853 h 1153700"/>
                    <a:gd name="connsiteX662" fmla="*/ 435834 w 774525"/>
                    <a:gd name="connsiteY662" fmla="*/ 476853 h 1153700"/>
                    <a:gd name="connsiteX663" fmla="*/ 436174 w 774525"/>
                    <a:gd name="connsiteY663" fmla="*/ 477205 h 1153700"/>
                    <a:gd name="connsiteX664" fmla="*/ 436866 w 774525"/>
                    <a:gd name="connsiteY664" fmla="*/ 477922 h 1153700"/>
                    <a:gd name="connsiteX665" fmla="*/ 437121 w 774525"/>
                    <a:gd name="connsiteY665" fmla="*/ 478420 h 1153700"/>
                    <a:gd name="connsiteX666" fmla="*/ 437741 w 774525"/>
                    <a:gd name="connsiteY666" fmla="*/ 479646 h 1153700"/>
                    <a:gd name="connsiteX667" fmla="*/ 439635 w 774525"/>
                    <a:gd name="connsiteY667" fmla="*/ 484928 h 1153700"/>
                    <a:gd name="connsiteX668" fmla="*/ 440218 w 774525"/>
                    <a:gd name="connsiteY668" fmla="*/ 486543 h 1153700"/>
                    <a:gd name="connsiteX669" fmla="*/ 440740 w 774525"/>
                    <a:gd name="connsiteY669" fmla="*/ 490332 h 1153700"/>
                    <a:gd name="connsiteX670" fmla="*/ 438955 w 774525"/>
                    <a:gd name="connsiteY670" fmla="*/ 492894 h 1153700"/>
                    <a:gd name="connsiteX671" fmla="*/ 438117 w 774525"/>
                    <a:gd name="connsiteY671" fmla="*/ 493683 h 1153700"/>
                    <a:gd name="connsiteX672" fmla="*/ 436320 w 774525"/>
                    <a:gd name="connsiteY672" fmla="*/ 495383 h 1153700"/>
                    <a:gd name="connsiteX673" fmla="*/ 434899 w 774525"/>
                    <a:gd name="connsiteY673" fmla="*/ 498286 h 1153700"/>
                    <a:gd name="connsiteX674" fmla="*/ 434559 w 774525"/>
                    <a:gd name="connsiteY674" fmla="*/ 499002 h 1153700"/>
                    <a:gd name="connsiteX675" fmla="*/ 433309 w 774525"/>
                    <a:gd name="connsiteY675" fmla="*/ 498796 h 1153700"/>
                    <a:gd name="connsiteX676" fmla="*/ 432070 w 774525"/>
                    <a:gd name="connsiteY676" fmla="*/ 498589 h 1153700"/>
                    <a:gd name="connsiteX677" fmla="*/ 431548 w 774525"/>
                    <a:gd name="connsiteY677" fmla="*/ 499196 h 1153700"/>
                    <a:gd name="connsiteX678" fmla="*/ 430856 w 774525"/>
                    <a:gd name="connsiteY678" fmla="*/ 499986 h 1153700"/>
                    <a:gd name="connsiteX679" fmla="*/ 430394 w 774525"/>
                    <a:gd name="connsiteY679" fmla="*/ 502123 h 1153700"/>
                    <a:gd name="connsiteX680" fmla="*/ 430334 w 774525"/>
                    <a:gd name="connsiteY680" fmla="*/ 502378 h 1153700"/>
                    <a:gd name="connsiteX681" fmla="*/ 430188 w 774525"/>
                    <a:gd name="connsiteY681" fmla="*/ 503738 h 1153700"/>
                    <a:gd name="connsiteX682" fmla="*/ 430054 w 774525"/>
                    <a:gd name="connsiteY682" fmla="*/ 505098 h 1153700"/>
                    <a:gd name="connsiteX683" fmla="*/ 429581 w 774525"/>
                    <a:gd name="connsiteY683" fmla="*/ 505766 h 1153700"/>
                    <a:gd name="connsiteX684" fmla="*/ 428731 w 774525"/>
                    <a:gd name="connsiteY684" fmla="*/ 506943 h 1153700"/>
                    <a:gd name="connsiteX685" fmla="*/ 426375 w 774525"/>
                    <a:gd name="connsiteY685" fmla="*/ 507344 h 1153700"/>
                    <a:gd name="connsiteX686" fmla="*/ 424311 w 774525"/>
                    <a:gd name="connsiteY686" fmla="*/ 508182 h 1153700"/>
                    <a:gd name="connsiteX687" fmla="*/ 423449 w 774525"/>
                    <a:gd name="connsiteY687" fmla="*/ 516500 h 1153700"/>
                    <a:gd name="connsiteX688" fmla="*/ 423400 w 774525"/>
                    <a:gd name="connsiteY688" fmla="*/ 516913 h 1153700"/>
                    <a:gd name="connsiteX689" fmla="*/ 420995 w 774525"/>
                    <a:gd name="connsiteY689" fmla="*/ 520386 h 1153700"/>
                    <a:gd name="connsiteX690" fmla="*/ 420218 w 774525"/>
                    <a:gd name="connsiteY690" fmla="*/ 522183 h 1153700"/>
                    <a:gd name="connsiteX691" fmla="*/ 419454 w 774525"/>
                    <a:gd name="connsiteY691" fmla="*/ 523980 h 1153700"/>
                    <a:gd name="connsiteX692" fmla="*/ 418421 w 774525"/>
                    <a:gd name="connsiteY692" fmla="*/ 529979 h 1153700"/>
                    <a:gd name="connsiteX693" fmla="*/ 418421 w 774525"/>
                    <a:gd name="connsiteY693" fmla="*/ 529979 h 1153700"/>
                    <a:gd name="connsiteX694" fmla="*/ 420194 w 774525"/>
                    <a:gd name="connsiteY694" fmla="*/ 530489 h 1153700"/>
                    <a:gd name="connsiteX695" fmla="*/ 421967 w 774525"/>
                    <a:gd name="connsiteY695" fmla="*/ 531011 h 1153700"/>
                    <a:gd name="connsiteX696" fmla="*/ 423521 w 774525"/>
                    <a:gd name="connsiteY696" fmla="*/ 531642 h 1153700"/>
                    <a:gd name="connsiteX697" fmla="*/ 425075 w 774525"/>
                    <a:gd name="connsiteY697" fmla="*/ 532274 h 1153700"/>
                    <a:gd name="connsiteX698" fmla="*/ 426909 w 774525"/>
                    <a:gd name="connsiteY698" fmla="*/ 536354 h 1153700"/>
                    <a:gd name="connsiteX699" fmla="*/ 429666 w 774525"/>
                    <a:gd name="connsiteY699" fmla="*/ 539110 h 1153700"/>
                    <a:gd name="connsiteX700" fmla="*/ 429763 w 774525"/>
                    <a:gd name="connsiteY700" fmla="*/ 539304 h 1153700"/>
                    <a:gd name="connsiteX701" fmla="*/ 430236 w 774525"/>
                    <a:gd name="connsiteY701" fmla="*/ 540300 h 1153700"/>
                    <a:gd name="connsiteX702" fmla="*/ 430236 w 774525"/>
                    <a:gd name="connsiteY702" fmla="*/ 550694 h 1153700"/>
                    <a:gd name="connsiteX703" fmla="*/ 430479 w 774525"/>
                    <a:gd name="connsiteY703" fmla="*/ 551702 h 1153700"/>
                    <a:gd name="connsiteX704" fmla="*/ 431220 w 774525"/>
                    <a:gd name="connsiteY704" fmla="*/ 552407 h 1153700"/>
                    <a:gd name="connsiteX705" fmla="*/ 432058 w 774525"/>
                    <a:gd name="connsiteY705" fmla="*/ 553451 h 1153700"/>
                    <a:gd name="connsiteX706" fmla="*/ 432871 w 774525"/>
                    <a:gd name="connsiteY706" fmla="*/ 554507 h 1153700"/>
                    <a:gd name="connsiteX707" fmla="*/ 434243 w 774525"/>
                    <a:gd name="connsiteY707" fmla="*/ 556875 h 1153700"/>
                    <a:gd name="connsiteX708" fmla="*/ 434547 w 774525"/>
                    <a:gd name="connsiteY708" fmla="*/ 557410 h 1153700"/>
                    <a:gd name="connsiteX709" fmla="*/ 434608 w 774525"/>
                    <a:gd name="connsiteY709" fmla="*/ 557604 h 1153700"/>
                    <a:gd name="connsiteX710" fmla="*/ 434923 w 774525"/>
                    <a:gd name="connsiteY710" fmla="*/ 558782 h 1153700"/>
                    <a:gd name="connsiteX711" fmla="*/ 434936 w 774525"/>
                    <a:gd name="connsiteY711" fmla="*/ 558782 h 1153700"/>
                    <a:gd name="connsiteX712" fmla="*/ 434936 w 774525"/>
                    <a:gd name="connsiteY712" fmla="*/ 558782 h 1153700"/>
                    <a:gd name="connsiteX713" fmla="*/ 437643 w 774525"/>
                    <a:gd name="connsiteY713" fmla="*/ 559352 h 1153700"/>
                    <a:gd name="connsiteX714" fmla="*/ 440352 w 774525"/>
                    <a:gd name="connsiteY714" fmla="*/ 559935 h 1153700"/>
                    <a:gd name="connsiteX715" fmla="*/ 464965 w 774525"/>
                    <a:gd name="connsiteY715" fmla="*/ 572455 h 1153700"/>
                    <a:gd name="connsiteX716" fmla="*/ 489591 w 774525"/>
                    <a:gd name="connsiteY716" fmla="*/ 584962 h 1153700"/>
                    <a:gd name="connsiteX717" fmla="*/ 494485 w 774525"/>
                    <a:gd name="connsiteY717" fmla="*/ 588738 h 1153700"/>
                    <a:gd name="connsiteX718" fmla="*/ 503507 w 774525"/>
                    <a:gd name="connsiteY718" fmla="*/ 595696 h 1153700"/>
                    <a:gd name="connsiteX719" fmla="*/ 504770 w 774525"/>
                    <a:gd name="connsiteY719" fmla="*/ 595951 h 1153700"/>
                    <a:gd name="connsiteX720" fmla="*/ 507793 w 774525"/>
                    <a:gd name="connsiteY720" fmla="*/ 596595 h 1153700"/>
                    <a:gd name="connsiteX721" fmla="*/ 516257 w 774525"/>
                    <a:gd name="connsiteY721" fmla="*/ 596995 h 1153700"/>
                    <a:gd name="connsiteX722" fmla="*/ 519924 w 774525"/>
                    <a:gd name="connsiteY722" fmla="*/ 597178 h 1153700"/>
                    <a:gd name="connsiteX723" fmla="*/ 522280 w 774525"/>
                    <a:gd name="connsiteY723" fmla="*/ 597955 h 1153700"/>
                    <a:gd name="connsiteX724" fmla="*/ 529165 w 774525"/>
                    <a:gd name="connsiteY724" fmla="*/ 600226 h 1153700"/>
                    <a:gd name="connsiteX725" fmla="*/ 531229 w 774525"/>
                    <a:gd name="connsiteY725" fmla="*/ 600092 h 1153700"/>
                    <a:gd name="connsiteX726" fmla="*/ 533294 w 774525"/>
                    <a:gd name="connsiteY726" fmla="*/ 599958 h 1153700"/>
                    <a:gd name="connsiteX727" fmla="*/ 536098 w 774525"/>
                    <a:gd name="connsiteY727" fmla="*/ 595733 h 1153700"/>
                    <a:gd name="connsiteX728" fmla="*/ 538114 w 774525"/>
                    <a:gd name="connsiteY728" fmla="*/ 591179 h 1153700"/>
                    <a:gd name="connsiteX729" fmla="*/ 542194 w 774525"/>
                    <a:gd name="connsiteY729" fmla="*/ 592066 h 1153700"/>
                    <a:gd name="connsiteX730" fmla="*/ 543178 w 774525"/>
                    <a:gd name="connsiteY730" fmla="*/ 592648 h 1153700"/>
                    <a:gd name="connsiteX731" fmla="*/ 548338 w 774525"/>
                    <a:gd name="connsiteY731" fmla="*/ 595720 h 1153700"/>
                    <a:gd name="connsiteX732" fmla="*/ 552637 w 774525"/>
                    <a:gd name="connsiteY732" fmla="*/ 601355 h 1153700"/>
                    <a:gd name="connsiteX733" fmla="*/ 553681 w 774525"/>
                    <a:gd name="connsiteY733" fmla="*/ 609211 h 1153700"/>
                    <a:gd name="connsiteX734" fmla="*/ 553936 w 774525"/>
                    <a:gd name="connsiteY734" fmla="*/ 609843 h 1153700"/>
                    <a:gd name="connsiteX735" fmla="*/ 554022 w 774525"/>
                    <a:gd name="connsiteY735" fmla="*/ 610061 h 1153700"/>
                    <a:gd name="connsiteX736" fmla="*/ 554252 w 774525"/>
                    <a:gd name="connsiteY736" fmla="*/ 611676 h 1153700"/>
                    <a:gd name="connsiteX737" fmla="*/ 554495 w 774525"/>
                    <a:gd name="connsiteY737" fmla="*/ 613303 h 1153700"/>
                    <a:gd name="connsiteX738" fmla="*/ 554957 w 774525"/>
                    <a:gd name="connsiteY738" fmla="*/ 614044 h 1153700"/>
                    <a:gd name="connsiteX739" fmla="*/ 554313 w 774525"/>
                    <a:gd name="connsiteY739" fmla="*/ 615878 h 1153700"/>
                    <a:gd name="connsiteX740" fmla="*/ 553232 w 774525"/>
                    <a:gd name="connsiteY740" fmla="*/ 617420 h 1153700"/>
                    <a:gd name="connsiteX741" fmla="*/ 552127 w 774525"/>
                    <a:gd name="connsiteY741" fmla="*/ 618974 h 1153700"/>
                    <a:gd name="connsiteX742" fmla="*/ 551508 w 774525"/>
                    <a:gd name="connsiteY742" fmla="*/ 620662 h 1153700"/>
                    <a:gd name="connsiteX743" fmla="*/ 551508 w 774525"/>
                    <a:gd name="connsiteY743" fmla="*/ 620662 h 1153700"/>
                    <a:gd name="connsiteX744" fmla="*/ 551508 w 774525"/>
                    <a:gd name="connsiteY744" fmla="*/ 620674 h 1153700"/>
                    <a:gd name="connsiteX745" fmla="*/ 550500 w 774525"/>
                    <a:gd name="connsiteY745" fmla="*/ 621148 h 1153700"/>
                    <a:gd name="connsiteX746" fmla="*/ 548569 w 774525"/>
                    <a:gd name="connsiteY746" fmla="*/ 622034 h 1153700"/>
                    <a:gd name="connsiteX747" fmla="*/ 545946 w 774525"/>
                    <a:gd name="connsiteY747" fmla="*/ 623006 h 1153700"/>
                    <a:gd name="connsiteX748" fmla="*/ 544441 w 774525"/>
                    <a:gd name="connsiteY748" fmla="*/ 623552 h 1153700"/>
                    <a:gd name="connsiteX749" fmla="*/ 543409 w 774525"/>
                    <a:gd name="connsiteY749" fmla="*/ 624511 h 1153700"/>
                    <a:gd name="connsiteX750" fmla="*/ 542534 w 774525"/>
                    <a:gd name="connsiteY750" fmla="*/ 625313 h 1153700"/>
                    <a:gd name="connsiteX751" fmla="*/ 541502 w 774525"/>
                    <a:gd name="connsiteY751" fmla="*/ 627754 h 1153700"/>
                    <a:gd name="connsiteX752" fmla="*/ 541502 w 774525"/>
                    <a:gd name="connsiteY752" fmla="*/ 629648 h 1153700"/>
                    <a:gd name="connsiteX753" fmla="*/ 542340 w 774525"/>
                    <a:gd name="connsiteY753" fmla="*/ 633315 h 1153700"/>
                    <a:gd name="connsiteX754" fmla="*/ 542425 w 774525"/>
                    <a:gd name="connsiteY754" fmla="*/ 633691 h 1153700"/>
                    <a:gd name="connsiteX755" fmla="*/ 542413 w 774525"/>
                    <a:gd name="connsiteY755" fmla="*/ 633801 h 1153700"/>
                    <a:gd name="connsiteX756" fmla="*/ 542182 w 774525"/>
                    <a:gd name="connsiteY756" fmla="*/ 636023 h 1153700"/>
                    <a:gd name="connsiteX757" fmla="*/ 541527 w 774525"/>
                    <a:gd name="connsiteY757" fmla="*/ 638257 h 1153700"/>
                    <a:gd name="connsiteX758" fmla="*/ 540968 w 774525"/>
                    <a:gd name="connsiteY758" fmla="*/ 640164 h 1153700"/>
                    <a:gd name="connsiteX759" fmla="*/ 540761 w 774525"/>
                    <a:gd name="connsiteY759" fmla="*/ 641864 h 1153700"/>
                    <a:gd name="connsiteX760" fmla="*/ 540749 w 774525"/>
                    <a:gd name="connsiteY760" fmla="*/ 641973 h 1153700"/>
                    <a:gd name="connsiteX761" fmla="*/ 540749 w 774525"/>
                    <a:gd name="connsiteY761" fmla="*/ 641973 h 1153700"/>
                    <a:gd name="connsiteX762" fmla="*/ 540931 w 774525"/>
                    <a:gd name="connsiteY762" fmla="*/ 642422 h 1153700"/>
                    <a:gd name="connsiteX763" fmla="*/ 541660 w 774525"/>
                    <a:gd name="connsiteY763" fmla="*/ 644219 h 1153700"/>
                    <a:gd name="connsiteX764" fmla="*/ 545169 w 774525"/>
                    <a:gd name="connsiteY764" fmla="*/ 647219 h 1153700"/>
                    <a:gd name="connsiteX765" fmla="*/ 545740 w 774525"/>
                    <a:gd name="connsiteY765" fmla="*/ 649708 h 1153700"/>
                    <a:gd name="connsiteX766" fmla="*/ 545752 w 774525"/>
                    <a:gd name="connsiteY766" fmla="*/ 649708 h 1153700"/>
                    <a:gd name="connsiteX767" fmla="*/ 545752 w 774525"/>
                    <a:gd name="connsiteY767" fmla="*/ 649708 h 1153700"/>
                    <a:gd name="connsiteX768" fmla="*/ 550281 w 774525"/>
                    <a:gd name="connsiteY768" fmla="*/ 650764 h 1153700"/>
                    <a:gd name="connsiteX769" fmla="*/ 550342 w 774525"/>
                    <a:gd name="connsiteY769" fmla="*/ 652598 h 1153700"/>
                    <a:gd name="connsiteX770" fmla="*/ 550342 w 774525"/>
                    <a:gd name="connsiteY770" fmla="*/ 652622 h 1153700"/>
                    <a:gd name="connsiteX771" fmla="*/ 548144 w 774525"/>
                    <a:gd name="connsiteY771" fmla="*/ 655464 h 1153700"/>
                    <a:gd name="connsiteX772" fmla="*/ 545862 w 774525"/>
                    <a:gd name="connsiteY772" fmla="*/ 659313 h 1153700"/>
                    <a:gd name="connsiteX773" fmla="*/ 545862 w 774525"/>
                    <a:gd name="connsiteY773" fmla="*/ 659313 h 1153700"/>
                    <a:gd name="connsiteX774" fmla="*/ 547161 w 774525"/>
                    <a:gd name="connsiteY774" fmla="*/ 661632 h 1153700"/>
                    <a:gd name="connsiteX775" fmla="*/ 548254 w 774525"/>
                    <a:gd name="connsiteY775" fmla="*/ 665421 h 1153700"/>
                    <a:gd name="connsiteX776" fmla="*/ 548776 w 774525"/>
                    <a:gd name="connsiteY776" fmla="*/ 669647 h 1153700"/>
                    <a:gd name="connsiteX777" fmla="*/ 548193 w 774525"/>
                    <a:gd name="connsiteY777" fmla="*/ 673229 h 1153700"/>
                    <a:gd name="connsiteX778" fmla="*/ 546420 w 774525"/>
                    <a:gd name="connsiteY778" fmla="*/ 675499 h 1153700"/>
                    <a:gd name="connsiteX779" fmla="*/ 544052 w 774525"/>
                    <a:gd name="connsiteY779" fmla="*/ 677758 h 1153700"/>
                    <a:gd name="connsiteX780" fmla="*/ 539304 w 774525"/>
                    <a:gd name="connsiteY780" fmla="*/ 682263 h 1153700"/>
                    <a:gd name="connsiteX781" fmla="*/ 537616 w 774525"/>
                    <a:gd name="connsiteY781" fmla="*/ 683562 h 1153700"/>
                    <a:gd name="connsiteX782" fmla="*/ 536778 w 774525"/>
                    <a:gd name="connsiteY782" fmla="*/ 684206 h 1153700"/>
                    <a:gd name="connsiteX783" fmla="*/ 533208 w 774525"/>
                    <a:gd name="connsiteY783" fmla="*/ 684922 h 1153700"/>
                    <a:gd name="connsiteX784" fmla="*/ 529311 w 774525"/>
                    <a:gd name="connsiteY784" fmla="*/ 684582 h 1153700"/>
                    <a:gd name="connsiteX785" fmla="*/ 527550 w 774525"/>
                    <a:gd name="connsiteY785" fmla="*/ 684667 h 1153700"/>
                    <a:gd name="connsiteX786" fmla="*/ 525631 w 774525"/>
                    <a:gd name="connsiteY786" fmla="*/ 684753 h 1153700"/>
                    <a:gd name="connsiteX787" fmla="*/ 524138 w 774525"/>
                    <a:gd name="connsiteY787" fmla="*/ 685930 h 1153700"/>
                    <a:gd name="connsiteX788" fmla="*/ 522644 w 774525"/>
                    <a:gd name="connsiteY788" fmla="*/ 687108 h 1153700"/>
                    <a:gd name="connsiteX789" fmla="*/ 522013 w 774525"/>
                    <a:gd name="connsiteY789" fmla="*/ 689002 h 1153700"/>
                    <a:gd name="connsiteX790" fmla="*/ 522013 w 774525"/>
                    <a:gd name="connsiteY790" fmla="*/ 689002 h 1153700"/>
                    <a:gd name="connsiteX791" fmla="*/ 522195 w 774525"/>
                    <a:gd name="connsiteY791" fmla="*/ 690787 h 1153700"/>
                    <a:gd name="connsiteX792" fmla="*/ 522425 w 774525"/>
                    <a:gd name="connsiteY792" fmla="*/ 691674 h 1153700"/>
                    <a:gd name="connsiteX793" fmla="*/ 522656 w 774525"/>
                    <a:gd name="connsiteY793" fmla="*/ 692573 h 1153700"/>
                    <a:gd name="connsiteX794" fmla="*/ 522595 w 774525"/>
                    <a:gd name="connsiteY794" fmla="*/ 694370 h 1153700"/>
                    <a:gd name="connsiteX795" fmla="*/ 521624 w 774525"/>
                    <a:gd name="connsiteY795" fmla="*/ 696665 h 1153700"/>
                    <a:gd name="connsiteX796" fmla="*/ 520713 w 774525"/>
                    <a:gd name="connsiteY796" fmla="*/ 698061 h 1153700"/>
                    <a:gd name="connsiteX797" fmla="*/ 518868 w 774525"/>
                    <a:gd name="connsiteY797" fmla="*/ 700878 h 1153700"/>
                    <a:gd name="connsiteX798" fmla="*/ 517957 w 774525"/>
                    <a:gd name="connsiteY798" fmla="*/ 703003 h 1153700"/>
                    <a:gd name="connsiteX799" fmla="*/ 517957 w 774525"/>
                    <a:gd name="connsiteY799" fmla="*/ 704898 h 1153700"/>
                    <a:gd name="connsiteX800" fmla="*/ 517957 w 774525"/>
                    <a:gd name="connsiteY800" fmla="*/ 704898 h 1153700"/>
                    <a:gd name="connsiteX801" fmla="*/ 519268 w 774525"/>
                    <a:gd name="connsiteY801" fmla="*/ 707909 h 1153700"/>
                    <a:gd name="connsiteX802" fmla="*/ 519536 w 774525"/>
                    <a:gd name="connsiteY802" fmla="*/ 709621 h 1153700"/>
                    <a:gd name="connsiteX803" fmla="*/ 519560 w 774525"/>
                    <a:gd name="connsiteY803" fmla="*/ 709743 h 1153700"/>
                    <a:gd name="connsiteX804" fmla="*/ 517581 w 774525"/>
                    <a:gd name="connsiteY804" fmla="*/ 718777 h 1153700"/>
                    <a:gd name="connsiteX805" fmla="*/ 515601 w 774525"/>
                    <a:gd name="connsiteY805" fmla="*/ 727811 h 1153700"/>
                    <a:gd name="connsiteX806" fmla="*/ 515601 w 774525"/>
                    <a:gd name="connsiteY806" fmla="*/ 727811 h 1153700"/>
                    <a:gd name="connsiteX807" fmla="*/ 515625 w 774525"/>
                    <a:gd name="connsiteY807" fmla="*/ 727945 h 1153700"/>
                    <a:gd name="connsiteX808" fmla="*/ 515881 w 774525"/>
                    <a:gd name="connsiteY808" fmla="*/ 730009 h 1153700"/>
                    <a:gd name="connsiteX809" fmla="*/ 515893 w 774525"/>
                    <a:gd name="connsiteY809" fmla="*/ 730009 h 1153700"/>
                    <a:gd name="connsiteX810" fmla="*/ 515905 w 774525"/>
                    <a:gd name="connsiteY810" fmla="*/ 730009 h 1153700"/>
                    <a:gd name="connsiteX811" fmla="*/ 517629 w 774525"/>
                    <a:gd name="connsiteY811" fmla="*/ 730859 h 1153700"/>
                    <a:gd name="connsiteX812" fmla="*/ 519572 w 774525"/>
                    <a:gd name="connsiteY812" fmla="*/ 731236 h 1153700"/>
                    <a:gd name="connsiteX813" fmla="*/ 520070 w 774525"/>
                    <a:gd name="connsiteY813" fmla="*/ 731600 h 1153700"/>
                    <a:gd name="connsiteX814" fmla="*/ 520555 w 774525"/>
                    <a:gd name="connsiteY814" fmla="*/ 731976 h 1153700"/>
                    <a:gd name="connsiteX815" fmla="*/ 520155 w 774525"/>
                    <a:gd name="connsiteY815" fmla="*/ 734478 h 1153700"/>
                    <a:gd name="connsiteX816" fmla="*/ 519572 w 774525"/>
                    <a:gd name="connsiteY816" fmla="*/ 735971 h 1153700"/>
                    <a:gd name="connsiteX817" fmla="*/ 519572 w 774525"/>
                    <a:gd name="connsiteY817" fmla="*/ 735971 h 1153700"/>
                    <a:gd name="connsiteX818" fmla="*/ 519694 w 774525"/>
                    <a:gd name="connsiteY818" fmla="*/ 737283 h 1153700"/>
                    <a:gd name="connsiteX819" fmla="*/ 520033 w 774525"/>
                    <a:gd name="connsiteY819" fmla="*/ 737647 h 1153700"/>
                    <a:gd name="connsiteX820" fmla="*/ 521454 w 774525"/>
                    <a:gd name="connsiteY820" fmla="*/ 739177 h 1153700"/>
                    <a:gd name="connsiteX821" fmla="*/ 522608 w 774525"/>
                    <a:gd name="connsiteY821" fmla="*/ 739663 h 1153700"/>
                    <a:gd name="connsiteX822" fmla="*/ 523348 w 774525"/>
                    <a:gd name="connsiteY822" fmla="*/ 739979 h 1153700"/>
                    <a:gd name="connsiteX823" fmla="*/ 525000 w 774525"/>
                    <a:gd name="connsiteY823" fmla="*/ 739796 h 1153700"/>
                    <a:gd name="connsiteX824" fmla="*/ 527101 w 774525"/>
                    <a:gd name="connsiteY824" fmla="*/ 739566 h 1153700"/>
                    <a:gd name="connsiteX825" fmla="*/ 528594 w 774525"/>
                    <a:gd name="connsiteY825" fmla="*/ 739881 h 1153700"/>
                    <a:gd name="connsiteX826" fmla="*/ 531399 w 774525"/>
                    <a:gd name="connsiteY826" fmla="*/ 742832 h 1153700"/>
                    <a:gd name="connsiteX827" fmla="*/ 535771 w 774525"/>
                    <a:gd name="connsiteY827" fmla="*/ 750531 h 1153700"/>
                    <a:gd name="connsiteX828" fmla="*/ 538928 w 774525"/>
                    <a:gd name="connsiteY828" fmla="*/ 753834 h 1153700"/>
                    <a:gd name="connsiteX829" fmla="*/ 544441 w 774525"/>
                    <a:gd name="connsiteY829" fmla="*/ 757513 h 1153700"/>
                    <a:gd name="connsiteX830" fmla="*/ 546444 w 774525"/>
                    <a:gd name="connsiteY830" fmla="*/ 758424 h 1153700"/>
                    <a:gd name="connsiteX831" fmla="*/ 547185 w 774525"/>
                    <a:gd name="connsiteY831" fmla="*/ 759832 h 1153700"/>
                    <a:gd name="connsiteX832" fmla="*/ 549262 w 774525"/>
                    <a:gd name="connsiteY832" fmla="*/ 763791 h 1153700"/>
                    <a:gd name="connsiteX833" fmla="*/ 549274 w 774525"/>
                    <a:gd name="connsiteY833" fmla="*/ 763791 h 1153700"/>
                    <a:gd name="connsiteX834" fmla="*/ 549274 w 774525"/>
                    <a:gd name="connsiteY834" fmla="*/ 763803 h 1153700"/>
                    <a:gd name="connsiteX835" fmla="*/ 550913 w 774525"/>
                    <a:gd name="connsiteY835" fmla="*/ 763184 h 1153700"/>
                    <a:gd name="connsiteX836" fmla="*/ 551630 w 774525"/>
                    <a:gd name="connsiteY836" fmla="*/ 762917 h 1153700"/>
                    <a:gd name="connsiteX837" fmla="*/ 552929 w 774525"/>
                    <a:gd name="connsiteY837" fmla="*/ 760925 h 1153700"/>
                    <a:gd name="connsiteX838" fmla="*/ 553803 w 774525"/>
                    <a:gd name="connsiteY838" fmla="*/ 759577 h 1153700"/>
                    <a:gd name="connsiteX839" fmla="*/ 556256 w 774525"/>
                    <a:gd name="connsiteY839" fmla="*/ 757719 h 1153700"/>
                    <a:gd name="connsiteX840" fmla="*/ 558721 w 774525"/>
                    <a:gd name="connsiteY840" fmla="*/ 759699 h 1153700"/>
                    <a:gd name="connsiteX841" fmla="*/ 558332 w 774525"/>
                    <a:gd name="connsiteY841" fmla="*/ 763973 h 1153700"/>
                    <a:gd name="connsiteX842" fmla="*/ 553767 w 774525"/>
                    <a:gd name="connsiteY842" fmla="*/ 775739 h 1153700"/>
                    <a:gd name="connsiteX843" fmla="*/ 549201 w 774525"/>
                    <a:gd name="connsiteY843" fmla="*/ 787506 h 1153700"/>
                    <a:gd name="connsiteX844" fmla="*/ 544659 w 774525"/>
                    <a:gd name="connsiteY844" fmla="*/ 794573 h 1153700"/>
                    <a:gd name="connsiteX845" fmla="*/ 543214 w 774525"/>
                    <a:gd name="connsiteY845" fmla="*/ 797803 h 1153700"/>
                    <a:gd name="connsiteX846" fmla="*/ 542959 w 774525"/>
                    <a:gd name="connsiteY846" fmla="*/ 798386 h 1153700"/>
                    <a:gd name="connsiteX847" fmla="*/ 542959 w 774525"/>
                    <a:gd name="connsiteY847" fmla="*/ 798386 h 1153700"/>
                    <a:gd name="connsiteX848" fmla="*/ 543044 w 774525"/>
                    <a:gd name="connsiteY848" fmla="*/ 800535 h 1153700"/>
                    <a:gd name="connsiteX849" fmla="*/ 543129 w 774525"/>
                    <a:gd name="connsiteY849" fmla="*/ 802697 h 1153700"/>
                    <a:gd name="connsiteX850" fmla="*/ 544963 w 774525"/>
                    <a:gd name="connsiteY850" fmla="*/ 806522 h 1153700"/>
                    <a:gd name="connsiteX851" fmla="*/ 545801 w 774525"/>
                    <a:gd name="connsiteY851" fmla="*/ 807250 h 1153700"/>
                    <a:gd name="connsiteX852" fmla="*/ 547501 w 774525"/>
                    <a:gd name="connsiteY852" fmla="*/ 808708 h 1153700"/>
                    <a:gd name="connsiteX853" fmla="*/ 559790 w 774525"/>
                    <a:gd name="connsiteY853" fmla="*/ 812581 h 1153700"/>
                    <a:gd name="connsiteX854" fmla="*/ 560761 w 774525"/>
                    <a:gd name="connsiteY854" fmla="*/ 812593 h 1153700"/>
                    <a:gd name="connsiteX855" fmla="*/ 561781 w 774525"/>
                    <a:gd name="connsiteY855" fmla="*/ 812605 h 1153700"/>
                    <a:gd name="connsiteX856" fmla="*/ 563274 w 774525"/>
                    <a:gd name="connsiteY856" fmla="*/ 811913 h 1153700"/>
                    <a:gd name="connsiteX857" fmla="*/ 563287 w 774525"/>
                    <a:gd name="connsiteY857" fmla="*/ 811913 h 1153700"/>
                    <a:gd name="connsiteX858" fmla="*/ 563833 w 774525"/>
                    <a:gd name="connsiteY858" fmla="*/ 811440 h 1153700"/>
                    <a:gd name="connsiteX859" fmla="*/ 564561 w 774525"/>
                    <a:gd name="connsiteY859" fmla="*/ 810808 h 1153700"/>
                    <a:gd name="connsiteX860" fmla="*/ 566165 w 774525"/>
                    <a:gd name="connsiteY860" fmla="*/ 809740 h 1153700"/>
                    <a:gd name="connsiteX861" fmla="*/ 568641 w 774525"/>
                    <a:gd name="connsiteY861" fmla="*/ 809375 h 1153700"/>
                    <a:gd name="connsiteX862" fmla="*/ 569698 w 774525"/>
                    <a:gd name="connsiteY862" fmla="*/ 809582 h 1153700"/>
                    <a:gd name="connsiteX863" fmla="*/ 571799 w 774525"/>
                    <a:gd name="connsiteY863" fmla="*/ 810007 h 1153700"/>
                    <a:gd name="connsiteX864" fmla="*/ 580566 w 774525"/>
                    <a:gd name="connsiteY864" fmla="*/ 812958 h 1153700"/>
                    <a:gd name="connsiteX865" fmla="*/ 584950 w 774525"/>
                    <a:gd name="connsiteY865" fmla="*/ 814439 h 1153700"/>
                    <a:gd name="connsiteX866" fmla="*/ 586540 w 774525"/>
                    <a:gd name="connsiteY866" fmla="*/ 815180 h 1153700"/>
                    <a:gd name="connsiteX867" fmla="*/ 588216 w 774525"/>
                    <a:gd name="connsiteY867" fmla="*/ 815617 h 1153700"/>
                    <a:gd name="connsiteX868" fmla="*/ 593340 w 774525"/>
                    <a:gd name="connsiteY868" fmla="*/ 815410 h 1153700"/>
                    <a:gd name="connsiteX869" fmla="*/ 594360 w 774525"/>
                    <a:gd name="connsiteY869" fmla="*/ 816358 h 1153700"/>
                    <a:gd name="connsiteX870" fmla="*/ 594360 w 774525"/>
                    <a:gd name="connsiteY870" fmla="*/ 817997 h 1153700"/>
                    <a:gd name="connsiteX871" fmla="*/ 593656 w 774525"/>
                    <a:gd name="connsiteY871" fmla="*/ 819527 h 1153700"/>
                    <a:gd name="connsiteX872" fmla="*/ 593401 w 774525"/>
                    <a:gd name="connsiteY872" fmla="*/ 820086 h 1153700"/>
                    <a:gd name="connsiteX873" fmla="*/ 591713 w 774525"/>
                    <a:gd name="connsiteY873" fmla="*/ 821956 h 1153700"/>
                    <a:gd name="connsiteX874" fmla="*/ 588641 w 774525"/>
                    <a:gd name="connsiteY874" fmla="*/ 824457 h 1153700"/>
                    <a:gd name="connsiteX875" fmla="*/ 586722 w 774525"/>
                    <a:gd name="connsiteY875" fmla="*/ 826011 h 1153700"/>
                    <a:gd name="connsiteX876" fmla="*/ 581416 w 774525"/>
                    <a:gd name="connsiteY876" fmla="*/ 831549 h 1153700"/>
                    <a:gd name="connsiteX877" fmla="*/ 576546 w 774525"/>
                    <a:gd name="connsiteY877" fmla="*/ 836636 h 1153700"/>
                    <a:gd name="connsiteX878" fmla="*/ 573972 w 774525"/>
                    <a:gd name="connsiteY878" fmla="*/ 841603 h 1153700"/>
                    <a:gd name="connsiteX879" fmla="*/ 573511 w 774525"/>
                    <a:gd name="connsiteY879" fmla="*/ 851742 h 1153700"/>
                    <a:gd name="connsiteX880" fmla="*/ 571799 w 774525"/>
                    <a:gd name="connsiteY880" fmla="*/ 857364 h 1153700"/>
                    <a:gd name="connsiteX881" fmla="*/ 571738 w 774525"/>
                    <a:gd name="connsiteY881" fmla="*/ 859307 h 1153700"/>
                    <a:gd name="connsiteX882" fmla="*/ 571677 w 774525"/>
                    <a:gd name="connsiteY882" fmla="*/ 861238 h 1153700"/>
                    <a:gd name="connsiteX883" fmla="*/ 571677 w 774525"/>
                    <a:gd name="connsiteY883" fmla="*/ 861238 h 1153700"/>
                    <a:gd name="connsiteX884" fmla="*/ 572418 w 774525"/>
                    <a:gd name="connsiteY884" fmla="*/ 863436 h 1153700"/>
                    <a:gd name="connsiteX885" fmla="*/ 575976 w 774525"/>
                    <a:gd name="connsiteY885" fmla="*/ 867832 h 1153700"/>
                    <a:gd name="connsiteX886" fmla="*/ 577931 w 774525"/>
                    <a:gd name="connsiteY886" fmla="*/ 870904 h 1153700"/>
                    <a:gd name="connsiteX887" fmla="*/ 581902 w 774525"/>
                    <a:gd name="connsiteY887" fmla="*/ 880217 h 1153700"/>
                    <a:gd name="connsiteX888" fmla="*/ 584075 w 774525"/>
                    <a:gd name="connsiteY888" fmla="*/ 882816 h 1153700"/>
                    <a:gd name="connsiteX889" fmla="*/ 584087 w 774525"/>
                    <a:gd name="connsiteY889" fmla="*/ 882828 h 1153700"/>
                    <a:gd name="connsiteX890" fmla="*/ 587135 w 774525"/>
                    <a:gd name="connsiteY890" fmla="*/ 883787 h 1153700"/>
                    <a:gd name="connsiteX891" fmla="*/ 589369 w 774525"/>
                    <a:gd name="connsiteY891" fmla="*/ 884492 h 1153700"/>
                    <a:gd name="connsiteX892" fmla="*/ 591495 w 774525"/>
                    <a:gd name="connsiteY892" fmla="*/ 886471 h 1153700"/>
                    <a:gd name="connsiteX893" fmla="*/ 591713 w 774525"/>
                    <a:gd name="connsiteY893" fmla="*/ 887794 h 1153700"/>
                    <a:gd name="connsiteX894" fmla="*/ 591920 w 774525"/>
                    <a:gd name="connsiteY894" fmla="*/ 889130 h 1153700"/>
                    <a:gd name="connsiteX895" fmla="*/ 591616 w 774525"/>
                    <a:gd name="connsiteY895" fmla="*/ 892943 h 1153700"/>
                    <a:gd name="connsiteX896" fmla="*/ 590936 w 774525"/>
                    <a:gd name="connsiteY896" fmla="*/ 896501 h 1153700"/>
                    <a:gd name="connsiteX897" fmla="*/ 590875 w 774525"/>
                    <a:gd name="connsiteY897" fmla="*/ 896780 h 1153700"/>
                    <a:gd name="connsiteX898" fmla="*/ 590074 w 774525"/>
                    <a:gd name="connsiteY898" fmla="*/ 899428 h 1153700"/>
                    <a:gd name="connsiteX899" fmla="*/ 589394 w 774525"/>
                    <a:gd name="connsiteY899" fmla="*/ 900435 h 1153700"/>
                    <a:gd name="connsiteX900" fmla="*/ 588058 w 774525"/>
                    <a:gd name="connsiteY900" fmla="*/ 902451 h 1153700"/>
                    <a:gd name="connsiteX901" fmla="*/ 586832 w 774525"/>
                    <a:gd name="connsiteY901" fmla="*/ 903896 h 1153700"/>
                    <a:gd name="connsiteX902" fmla="*/ 585945 w 774525"/>
                    <a:gd name="connsiteY902" fmla="*/ 904953 h 1153700"/>
                    <a:gd name="connsiteX903" fmla="*/ 584670 w 774525"/>
                    <a:gd name="connsiteY903" fmla="*/ 907648 h 1153700"/>
                    <a:gd name="connsiteX904" fmla="*/ 585132 w 774525"/>
                    <a:gd name="connsiteY904" fmla="*/ 911230 h 1153700"/>
                    <a:gd name="connsiteX905" fmla="*/ 586929 w 774525"/>
                    <a:gd name="connsiteY905" fmla="*/ 915784 h 1153700"/>
                    <a:gd name="connsiteX906" fmla="*/ 587378 w 774525"/>
                    <a:gd name="connsiteY906" fmla="*/ 916913 h 1153700"/>
                    <a:gd name="connsiteX907" fmla="*/ 587682 w 774525"/>
                    <a:gd name="connsiteY907" fmla="*/ 918188 h 1153700"/>
                    <a:gd name="connsiteX908" fmla="*/ 587998 w 774525"/>
                    <a:gd name="connsiteY908" fmla="*/ 919463 h 1153700"/>
                    <a:gd name="connsiteX909" fmla="*/ 588046 w 774525"/>
                    <a:gd name="connsiteY909" fmla="*/ 919755 h 1153700"/>
                    <a:gd name="connsiteX910" fmla="*/ 588738 w 774525"/>
                    <a:gd name="connsiteY910" fmla="*/ 923835 h 1153700"/>
                    <a:gd name="connsiteX911" fmla="*/ 590365 w 774525"/>
                    <a:gd name="connsiteY911" fmla="*/ 926701 h 1153700"/>
                    <a:gd name="connsiteX912" fmla="*/ 591106 w 774525"/>
                    <a:gd name="connsiteY912" fmla="*/ 928012 h 1153700"/>
                    <a:gd name="connsiteX913" fmla="*/ 592891 w 774525"/>
                    <a:gd name="connsiteY913" fmla="*/ 933076 h 1153700"/>
                    <a:gd name="connsiteX914" fmla="*/ 593729 w 774525"/>
                    <a:gd name="connsiteY914" fmla="*/ 938382 h 1153700"/>
                    <a:gd name="connsiteX915" fmla="*/ 592600 w 774525"/>
                    <a:gd name="connsiteY915" fmla="*/ 942924 h 1153700"/>
                    <a:gd name="connsiteX916" fmla="*/ 590499 w 774525"/>
                    <a:gd name="connsiteY916" fmla="*/ 944296 h 1153700"/>
                    <a:gd name="connsiteX917" fmla="*/ 588398 w 774525"/>
                    <a:gd name="connsiteY917" fmla="*/ 945656 h 1153700"/>
                    <a:gd name="connsiteX918" fmla="*/ 588410 w 774525"/>
                    <a:gd name="connsiteY918" fmla="*/ 945656 h 1153700"/>
                    <a:gd name="connsiteX919" fmla="*/ 588398 w 774525"/>
                    <a:gd name="connsiteY919" fmla="*/ 945656 h 1153700"/>
                    <a:gd name="connsiteX920" fmla="*/ 590487 w 774525"/>
                    <a:gd name="connsiteY920" fmla="*/ 946457 h 1153700"/>
                    <a:gd name="connsiteX921" fmla="*/ 594190 w 774525"/>
                    <a:gd name="connsiteY921" fmla="*/ 947890 h 1153700"/>
                    <a:gd name="connsiteX922" fmla="*/ 596449 w 774525"/>
                    <a:gd name="connsiteY922" fmla="*/ 949638 h 1153700"/>
                    <a:gd name="connsiteX923" fmla="*/ 597020 w 774525"/>
                    <a:gd name="connsiteY923" fmla="*/ 952067 h 1153700"/>
                    <a:gd name="connsiteX924" fmla="*/ 598173 w 774525"/>
                    <a:gd name="connsiteY924" fmla="*/ 956936 h 1153700"/>
                    <a:gd name="connsiteX925" fmla="*/ 601622 w 774525"/>
                    <a:gd name="connsiteY925" fmla="*/ 964744 h 1153700"/>
                    <a:gd name="connsiteX926" fmla="*/ 602362 w 774525"/>
                    <a:gd name="connsiteY926" fmla="*/ 969334 h 1153700"/>
                    <a:gd name="connsiteX927" fmla="*/ 602083 w 774525"/>
                    <a:gd name="connsiteY927" fmla="*/ 970889 h 1153700"/>
                    <a:gd name="connsiteX928" fmla="*/ 601294 w 774525"/>
                    <a:gd name="connsiteY928" fmla="*/ 972176 h 1153700"/>
                    <a:gd name="connsiteX929" fmla="*/ 600493 w 774525"/>
                    <a:gd name="connsiteY929" fmla="*/ 973463 h 1153700"/>
                    <a:gd name="connsiteX930" fmla="*/ 600238 w 774525"/>
                    <a:gd name="connsiteY930" fmla="*/ 974483 h 1153700"/>
                    <a:gd name="connsiteX931" fmla="*/ 599983 w 774525"/>
                    <a:gd name="connsiteY931" fmla="*/ 975491 h 1153700"/>
                    <a:gd name="connsiteX932" fmla="*/ 599983 w 774525"/>
                    <a:gd name="connsiteY932" fmla="*/ 975491 h 1153700"/>
                    <a:gd name="connsiteX933" fmla="*/ 599983 w 774525"/>
                    <a:gd name="connsiteY933" fmla="*/ 977409 h 1153700"/>
                    <a:gd name="connsiteX934" fmla="*/ 599983 w 774525"/>
                    <a:gd name="connsiteY934" fmla="*/ 977421 h 1153700"/>
                    <a:gd name="connsiteX935" fmla="*/ 601476 w 774525"/>
                    <a:gd name="connsiteY935" fmla="*/ 984404 h 1153700"/>
                    <a:gd name="connsiteX936" fmla="*/ 602229 w 774525"/>
                    <a:gd name="connsiteY936" fmla="*/ 987901 h 1153700"/>
                    <a:gd name="connsiteX937" fmla="*/ 603273 w 774525"/>
                    <a:gd name="connsiteY937" fmla="*/ 990305 h 1153700"/>
                    <a:gd name="connsiteX938" fmla="*/ 606358 w 774525"/>
                    <a:gd name="connsiteY938" fmla="*/ 995563 h 1153700"/>
                    <a:gd name="connsiteX939" fmla="*/ 603662 w 774525"/>
                    <a:gd name="connsiteY939" fmla="*/ 997360 h 1153700"/>
                    <a:gd name="connsiteX940" fmla="*/ 603662 w 774525"/>
                    <a:gd name="connsiteY940" fmla="*/ 997360 h 1153700"/>
                    <a:gd name="connsiteX941" fmla="*/ 605435 w 774525"/>
                    <a:gd name="connsiteY941" fmla="*/ 1001501 h 1153700"/>
                    <a:gd name="connsiteX942" fmla="*/ 613643 w 774525"/>
                    <a:gd name="connsiteY942" fmla="*/ 1011944 h 1153700"/>
                    <a:gd name="connsiteX943" fmla="*/ 615210 w 774525"/>
                    <a:gd name="connsiteY943" fmla="*/ 1015247 h 1153700"/>
                    <a:gd name="connsiteX944" fmla="*/ 616242 w 774525"/>
                    <a:gd name="connsiteY944" fmla="*/ 1019145 h 1153700"/>
                    <a:gd name="connsiteX945" fmla="*/ 616570 w 774525"/>
                    <a:gd name="connsiteY945" fmla="*/ 1023917 h 1153700"/>
                    <a:gd name="connsiteX946" fmla="*/ 613303 w 774525"/>
                    <a:gd name="connsiteY946" fmla="*/ 1027912 h 1153700"/>
                    <a:gd name="connsiteX947" fmla="*/ 613242 w 774525"/>
                    <a:gd name="connsiteY947" fmla="*/ 1028045 h 1153700"/>
                    <a:gd name="connsiteX948" fmla="*/ 613242 w 774525"/>
                    <a:gd name="connsiteY948" fmla="*/ 1027912 h 1153700"/>
                    <a:gd name="connsiteX949" fmla="*/ 610146 w 774525"/>
                    <a:gd name="connsiteY949" fmla="*/ 1026564 h 1153700"/>
                    <a:gd name="connsiteX950" fmla="*/ 611045 w 774525"/>
                    <a:gd name="connsiteY950" fmla="*/ 1029405 h 1153700"/>
                    <a:gd name="connsiteX951" fmla="*/ 610474 w 774525"/>
                    <a:gd name="connsiteY951" fmla="*/ 1031555 h 1153700"/>
                    <a:gd name="connsiteX952" fmla="*/ 609381 w 774525"/>
                    <a:gd name="connsiteY952" fmla="*/ 1033753 h 1153700"/>
                    <a:gd name="connsiteX953" fmla="*/ 608859 w 774525"/>
                    <a:gd name="connsiteY953" fmla="*/ 1036764 h 1153700"/>
                    <a:gd name="connsiteX954" fmla="*/ 609430 w 774525"/>
                    <a:gd name="connsiteY954" fmla="*/ 1039921 h 1153700"/>
                    <a:gd name="connsiteX955" fmla="*/ 610753 w 774525"/>
                    <a:gd name="connsiteY955" fmla="*/ 1042483 h 1153700"/>
                    <a:gd name="connsiteX956" fmla="*/ 612065 w 774525"/>
                    <a:gd name="connsiteY956" fmla="*/ 1045033 h 1153700"/>
                    <a:gd name="connsiteX957" fmla="*/ 612708 w 774525"/>
                    <a:gd name="connsiteY957" fmla="*/ 1047462 h 1153700"/>
                    <a:gd name="connsiteX958" fmla="*/ 614202 w 774525"/>
                    <a:gd name="connsiteY958" fmla="*/ 1060067 h 1153700"/>
                    <a:gd name="connsiteX959" fmla="*/ 613340 w 774525"/>
                    <a:gd name="connsiteY959" fmla="*/ 1065725 h 1153700"/>
                    <a:gd name="connsiteX960" fmla="*/ 608859 w 774525"/>
                    <a:gd name="connsiteY960" fmla="*/ 1068348 h 1153700"/>
                    <a:gd name="connsiteX961" fmla="*/ 606285 w 774525"/>
                    <a:gd name="connsiteY961" fmla="*/ 1067158 h 1153700"/>
                    <a:gd name="connsiteX962" fmla="*/ 604378 w 774525"/>
                    <a:gd name="connsiteY962" fmla="*/ 1067498 h 1153700"/>
                    <a:gd name="connsiteX963" fmla="*/ 603468 w 774525"/>
                    <a:gd name="connsiteY963" fmla="*/ 1069222 h 1153700"/>
                    <a:gd name="connsiteX964" fmla="*/ 603710 w 774525"/>
                    <a:gd name="connsiteY964" fmla="*/ 1072391 h 1153700"/>
                    <a:gd name="connsiteX965" fmla="*/ 600602 w 774525"/>
                    <a:gd name="connsiteY965" fmla="*/ 1070776 h 1153700"/>
                    <a:gd name="connsiteX966" fmla="*/ 594518 w 774525"/>
                    <a:gd name="connsiteY966" fmla="*/ 1066526 h 1153700"/>
                    <a:gd name="connsiteX967" fmla="*/ 591531 w 774525"/>
                    <a:gd name="connsiteY967" fmla="*/ 1065640 h 1153700"/>
                    <a:gd name="connsiteX968" fmla="*/ 590268 w 774525"/>
                    <a:gd name="connsiteY968" fmla="*/ 1063685 h 1153700"/>
                    <a:gd name="connsiteX969" fmla="*/ 589952 w 774525"/>
                    <a:gd name="connsiteY969" fmla="*/ 1061669 h 1153700"/>
                    <a:gd name="connsiteX970" fmla="*/ 589649 w 774525"/>
                    <a:gd name="connsiteY970" fmla="*/ 1059641 h 1153700"/>
                    <a:gd name="connsiteX971" fmla="*/ 588556 w 774525"/>
                    <a:gd name="connsiteY971" fmla="*/ 1056253 h 1153700"/>
                    <a:gd name="connsiteX972" fmla="*/ 585787 w 774525"/>
                    <a:gd name="connsiteY972" fmla="*/ 1056253 h 1153700"/>
                    <a:gd name="connsiteX973" fmla="*/ 585775 w 774525"/>
                    <a:gd name="connsiteY973" fmla="*/ 1056253 h 1153700"/>
                    <a:gd name="connsiteX974" fmla="*/ 584962 w 774525"/>
                    <a:gd name="connsiteY974" fmla="*/ 1057929 h 1153700"/>
                    <a:gd name="connsiteX975" fmla="*/ 584124 w 774525"/>
                    <a:gd name="connsiteY975" fmla="*/ 1059617 h 1153700"/>
                    <a:gd name="connsiteX976" fmla="*/ 584682 w 774525"/>
                    <a:gd name="connsiteY976" fmla="*/ 1061900 h 1153700"/>
                    <a:gd name="connsiteX977" fmla="*/ 585217 w 774525"/>
                    <a:gd name="connsiteY977" fmla="*/ 1064171 h 1153700"/>
                    <a:gd name="connsiteX978" fmla="*/ 586467 w 774525"/>
                    <a:gd name="connsiteY978" fmla="*/ 1066150 h 1153700"/>
                    <a:gd name="connsiteX979" fmla="*/ 587694 w 774525"/>
                    <a:gd name="connsiteY979" fmla="*/ 1068129 h 1153700"/>
                    <a:gd name="connsiteX980" fmla="*/ 588981 w 774525"/>
                    <a:gd name="connsiteY980" fmla="*/ 1068967 h 1153700"/>
                    <a:gd name="connsiteX981" fmla="*/ 590268 w 774525"/>
                    <a:gd name="connsiteY981" fmla="*/ 1069817 h 1153700"/>
                    <a:gd name="connsiteX982" fmla="*/ 592927 w 774525"/>
                    <a:gd name="connsiteY982" fmla="*/ 1070570 h 1153700"/>
                    <a:gd name="connsiteX983" fmla="*/ 596024 w 774525"/>
                    <a:gd name="connsiteY983" fmla="*/ 1072367 h 1153700"/>
                    <a:gd name="connsiteX984" fmla="*/ 601197 w 774525"/>
                    <a:gd name="connsiteY984" fmla="*/ 1076387 h 1153700"/>
                    <a:gd name="connsiteX985" fmla="*/ 604925 w 774525"/>
                    <a:gd name="connsiteY985" fmla="*/ 1082482 h 1153700"/>
                    <a:gd name="connsiteX986" fmla="*/ 607742 w 774525"/>
                    <a:gd name="connsiteY986" fmla="*/ 1098766 h 1153700"/>
                    <a:gd name="connsiteX987" fmla="*/ 610158 w 774525"/>
                    <a:gd name="connsiteY987" fmla="*/ 1106064 h 1153700"/>
                    <a:gd name="connsiteX988" fmla="*/ 610935 w 774525"/>
                    <a:gd name="connsiteY988" fmla="*/ 1107133 h 1153700"/>
                    <a:gd name="connsiteX989" fmla="*/ 614688 w 774525"/>
                    <a:gd name="connsiteY989" fmla="*/ 1110824 h 1153700"/>
                    <a:gd name="connsiteX990" fmla="*/ 617493 w 774525"/>
                    <a:gd name="connsiteY990" fmla="*/ 1116920 h 1153700"/>
                    <a:gd name="connsiteX991" fmla="*/ 617942 w 774525"/>
                    <a:gd name="connsiteY991" fmla="*/ 1117612 h 1153700"/>
                    <a:gd name="connsiteX992" fmla="*/ 618464 w 774525"/>
                    <a:gd name="connsiteY992" fmla="*/ 1125651 h 1153700"/>
                    <a:gd name="connsiteX993" fmla="*/ 617432 w 774525"/>
                    <a:gd name="connsiteY993" fmla="*/ 1128868 h 1153700"/>
                    <a:gd name="connsiteX994" fmla="*/ 613983 w 774525"/>
                    <a:gd name="connsiteY994" fmla="*/ 1130471 h 1153700"/>
                    <a:gd name="connsiteX995" fmla="*/ 611931 w 774525"/>
                    <a:gd name="connsiteY995" fmla="*/ 1130362 h 1153700"/>
                    <a:gd name="connsiteX996" fmla="*/ 610316 w 774525"/>
                    <a:gd name="connsiteY996" fmla="*/ 1129633 h 1153700"/>
                    <a:gd name="connsiteX997" fmla="*/ 609223 w 774525"/>
                    <a:gd name="connsiteY997" fmla="*/ 1128455 h 1153700"/>
                    <a:gd name="connsiteX998" fmla="*/ 608883 w 774525"/>
                    <a:gd name="connsiteY998" fmla="*/ 1126986 h 1153700"/>
                    <a:gd name="connsiteX999" fmla="*/ 608313 w 774525"/>
                    <a:gd name="connsiteY999" fmla="*/ 1125723 h 1153700"/>
                    <a:gd name="connsiteX1000" fmla="*/ 607098 w 774525"/>
                    <a:gd name="connsiteY1000" fmla="*/ 1127447 h 1153700"/>
                    <a:gd name="connsiteX1001" fmla="*/ 605993 w 774525"/>
                    <a:gd name="connsiteY1001" fmla="*/ 1129949 h 1153700"/>
                    <a:gd name="connsiteX1002" fmla="*/ 605665 w 774525"/>
                    <a:gd name="connsiteY1002" fmla="*/ 1131066 h 1153700"/>
                    <a:gd name="connsiteX1003" fmla="*/ 601986 w 774525"/>
                    <a:gd name="connsiteY1003" fmla="*/ 1131613 h 1153700"/>
                    <a:gd name="connsiteX1004" fmla="*/ 597396 w 774525"/>
                    <a:gd name="connsiteY1004" fmla="*/ 1129148 h 1153700"/>
                    <a:gd name="connsiteX1005" fmla="*/ 589527 w 774525"/>
                    <a:gd name="connsiteY1005" fmla="*/ 1123635 h 1153700"/>
                    <a:gd name="connsiteX1006" fmla="*/ 582642 w 774525"/>
                    <a:gd name="connsiteY1006" fmla="*/ 1122420 h 1153700"/>
                    <a:gd name="connsiteX1007" fmla="*/ 581610 w 774525"/>
                    <a:gd name="connsiteY1007" fmla="*/ 1121765 h 1153700"/>
                    <a:gd name="connsiteX1008" fmla="*/ 580578 w 774525"/>
                    <a:gd name="connsiteY1008" fmla="*/ 1120125 h 1153700"/>
                    <a:gd name="connsiteX1009" fmla="*/ 580141 w 774525"/>
                    <a:gd name="connsiteY1009" fmla="*/ 1119118 h 1153700"/>
                    <a:gd name="connsiteX1010" fmla="*/ 579716 w 774525"/>
                    <a:gd name="connsiteY1010" fmla="*/ 1118110 h 1153700"/>
                    <a:gd name="connsiteX1011" fmla="*/ 577943 w 774525"/>
                    <a:gd name="connsiteY1011" fmla="*/ 1102980 h 1153700"/>
                    <a:gd name="connsiteX1012" fmla="*/ 576850 w 774525"/>
                    <a:gd name="connsiteY1012" fmla="*/ 1099483 h 1153700"/>
                    <a:gd name="connsiteX1013" fmla="*/ 575417 w 774525"/>
                    <a:gd name="connsiteY1013" fmla="*/ 1099483 h 1153700"/>
                    <a:gd name="connsiteX1014" fmla="*/ 574895 w 774525"/>
                    <a:gd name="connsiteY1014" fmla="*/ 1103016 h 1153700"/>
                    <a:gd name="connsiteX1015" fmla="*/ 572260 w 774525"/>
                    <a:gd name="connsiteY1015" fmla="*/ 1109415 h 1153700"/>
                    <a:gd name="connsiteX1016" fmla="*/ 571605 w 774525"/>
                    <a:gd name="connsiteY1016" fmla="*/ 1112220 h 1153700"/>
                    <a:gd name="connsiteX1017" fmla="*/ 571993 w 774525"/>
                    <a:gd name="connsiteY1017" fmla="*/ 1113787 h 1153700"/>
                    <a:gd name="connsiteX1018" fmla="*/ 572466 w 774525"/>
                    <a:gd name="connsiteY1018" fmla="*/ 1115730 h 1153700"/>
                    <a:gd name="connsiteX1019" fmla="*/ 575624 w 774525"/>
                    <a:gd name="connsiteY1019" fmla="*/ 1121923 h 1153700"/>
                    <a:gd name="connsiteX1020" fmla="*/ 575405 w 774525"/>
                    <a:gd name="connsiteY1020" fmla="*/ 1125092 h 1153700"/>
                    <a:gd name="connsiteX1021" fmla="*/ 572697 w 774525"/>
                    <a:gd name="connsiteY1021" fmla="*/ 1127897 h 1153700"/>
                    <a:gd name="connsiteX1022" fmla="*/ 568909 w 774525"/>
                    <a:gd name="connsiteY1022" fmla="*/ 1128868 h 1153700"/>
                    <a:gd name="connsiteX1023" fmla="*/ 566177 w 774525"/>
                    <a:gd name="connsiteY1023" fmla="*/ 1127994 h 1153700"/>
                    <a:gd name="connsiteX1024" fmla="*/ 565509 w 774525"/>
                    <a:gd name="connsiteY1024" fmla="*/ 1127775 h 1153700"/>
                    <a:gd name="connsiteX1025" fmla="*/ 564015 w 774525"/>
                    <a:gd name="connsiteY1025" fmla="*/ 1124363 h 1153700"/>
                    <a:gd name="connsiteX1026" fmla="*/ 567184 w 774525"/>
                    <a:gd name="connsiteY1026" fmla="*/ 1121655 h 1153700"/>
                    <a:gd name="connsiteX1027" fmla="*/ 567877 w 774525"/>
                    <a:gd name="connsiteY1027" fmla="*/ 1120939 h 1153700"/>
                    <a:gd name="connsiteX1028" fmla="*/ 567877 w 774525"/>
                    <a:gd name="connsiteY1028" fmla="*/ 1119300 h 1153700"/>
                    <a:gd name="connsiteX1029" fmla="*/ 567682 w 774525"/>
                    <a:gd name="connsiteY1029" fmla="*/ 1118401 h 1153700"/>
                    <a:gd name="connsiteX1030" fmla="*/ 567512 w 774525"/>
                    <a:gd name="connsiteY1030" fmla="*/ 1117491 h 1153700"/>
                    <a:gd name="connsiteX1031" fmla="*/ 566419 w 774525"/>
                    <a:gd name="connsiteY1031" fmla="*/ 1114224 h 1153700"/>
                    <a:gd name="connsiteX1032" fmla="*/ 565314 w 774525"/>
                    <a:gd name="connsiteY1032" fmla="*/ 1118122 h 1153700"/>
                    <a:gd name="connsiteX1033" fmla="*/ 564902 w 774525"/>
                    <a:gd name="connsiteY1033" fmla="*/ 1119105 h 1153700"/>
                    <a:gd name="connsiteX1034" fmla="*/ 564464 w 774525"/>
                    <a:gd name="connsiteY1034" fmla="*/ 1120101 h 1153700"/>
                    <a:gd name="connsiteX1035" fmla="*/ 563894 w 774525"/>
                    <a:gd name="connsiteY1035" fmla="*/ 1120514 h 1153700"/>
                    <a:gd name="connsiteX1036" fmla="*/ 563311 w 774525"/>
                    <a:gd name="connsiteY1036" fmla="*/ 1120927 h 1153700"/>
                    <a:gd name="connsiteX1037" fmla="*/ 563044 w 774525"/>
                    <a:gd name="connsiteY1037" fmla="*/ 1120975 h 1153700"/>
                    <a:gd name="connsiteX1038" fmla="*/ 561417 w 774525"/>
                    <a:gd name="connsiteY1038" fmla="*/ 1121243 h 1153700"/>
                    <a:gd name="connsiteX1039" fmla="*/ 560518 w 774525"/>
                    <a:gd name="connsiteY1039" fmla="*/ 1122190 h 1153700"/>
                    <a:gd name="connsiteX1040" fmla="*/ 560117 w 774525"/>
                    <a:gd name="connsiteY1040" fmla="*/ 1123683 h 1153700"/>
                    <a:gd name="connsiteX1041" fmla="*/ 560057 w 774525"/>
                    <a:gd name="connsiteY1041" fmla="*/ 1125662 h 1153700"/>
                    <a:gd name="connsiteX1042" fmla="*/ 560955 w 774525"/>
                    <a:gd name="connsiteY1042" fmla="*/ 1129415 h 1153700"/>
                    <a:gd name="connsiteX1043" fmla="*/ 562752 w 774525"/>
                    <a:gd name="connsiteY1043" fmla="*/ 1132463 h 1153700"/>
                    <a:gd name="connsiteX1044" fmla="*/ 563772 w 774525"/>
                    <a:gd name="connsiteY1044" fmla="*/ 1135304 h 1153700"/>
                    <a:gd name="connsiteX1045" fmla="*/ 562631 w 774525"/>
                    <a:gd name="connsiteY1045" fmla="*/ 1138473 h 1153700"/>
                    <a:gd name="connsiteX1046" fmla="*/ 557336 w 774525"/>
                    <a:gd name="connsiteY1046" fmla="*/ 1140902 h 1153700"/>
                    <a:gd name="connsiteX1047" fmla="*/ 550852 w 774525"/>
                    <a:gd name="connsiteY1047" fmla="*/ 1140101 h 1153700"/>
                    <a:gd name="connsiteX1048" fmla="*/ 547064 w 774525"/>
                    <a:gd name="connsiteY1048" fmla="*/ 1136482 h 1153700"/>
                    <a:gd name="connsiteX1049" fmla="*/ 549820 w 774525"/>
                    <a:gd name="connsiteY1049" fmla="*/ 1130423 h 1153700"/>
                    <a:gd name="connsiteX1050" fmla="*/ 543397 w 774525"/>
                    <a:gd name="connsiteY1050" fmla="*/ 1116883 h 1153700"/>
                    <a:gd name="connsiteX1051" fmla="*/ 542814 w 774525"/>
                    <a:gd name="connsiteY1051" fmla="*/ 1113143 h 1153700"/>
                    <a:gd name="connsiteX1052" fmla="*/ 546323 w 774525"/>
                    <a:gd name="connsiteY1052" fmla="*/ 1090837 h 1153700"/>
                    <a:gd name="connsiteX1053" fmla="*/ 545291 w 774525"/>
                    <a:gd name="connsiteY1053" fmla="*/ 1087910 h 1153700"/>
                    <a:gd name="connsiteX1054" fmla="*/ 544951 w 774525"/>
                    <a:gd name="connsiteY1054" fmla="*/ 1086502 h 1153700"/>
                    <a:gd name="connsiteX1055" fmla="*/ 544611 w 774525"/>
                    <a:gd name="connsiteY1055" fmla="*/ 1085093 h 1153700"/>
                    <a:gd name="connsiteX1056" fmla="*/ 547440 w 774525"/>
                    <a:gd name="connsiteY1056" fmla="*/ 1076544 h 1153700"/>
                    <a:gd name="connsiteX1057" fmla="*/ 548387 w 774525"/>
                    <a:gd name="connsiteY1057" fmla="*/ 1073715 h 1153700"/>
                    <a:gd name="connsiteX1058" fmla="*/ 548849 w 774525"/>
                    <a:gd name="connsiteY1058" fmla="*/ 1063066 h 1153700"/>
                    <a:gd name="connsiteX1059" fmla="*/ 549820 w 774525"/>
                    <a:gd name="connsiteY1059" fmla="*/ 1060273 h 1153700"/>
                    <a:gd name="connsiteX1060" fmla="*/ 551884 w 774525"/>
                    <a:gd name="connsiteY1060" fmla="*/ 1058087 h 1153700"/>
                    <a:gd name="connsiteX1061" fmla="*/ 554422 w 774525"/>
                    <a:gd name="connsiteY1061" fmla="*/ 1056144 h 1153700"/>
                    <a:gd name="connsiteX1062" fmla="*/ 556608 w 774525"/>
                    <a:gd name="connsiteY1062" fmla="*/ 1053728 h 1153700"/>
                    <a:gd name="connsiteX1063" fmla="*/ 557458 w 774525"/>
                    <a:gd name="connsiteY1063" fmla="*/ 1050231 h 1153700"/>
                    <a:gd name="connsiteX1064" fmla="*/ 555916 w 774525"/>
                    <a:gd name="connsiteY1064" fmla="*/ 1046211 h 1153700"/>
                    <a:gd name="connsiteX1065" fmla="*/ 548849 w 774525"/>
                    <a:gd name="connsiteY1065" fmla="*/ 1042192 h 1153700"/>
                    <a:gd name="connsiteX1066" fmla="*/ 547222 w 774525"/>
                    <a:gd name="connsiteY1066" fmla="*/ 1039411 h 1153700"/>
                    <a:gd name="connsiteX1067" fmla="*/ 548448 w 774525"/>
                    <a:gd name="connsiteY1067" fmla="*/ 1036521 h 1153700"/>
                    <a:gd name="connsiteX1068" fmla="*/ 551302 w 774525"/>
                    <a:gd name="connsiteY1068" fmla="*/ 1033243 h 1153700"/>
                    <a:gd name="connsiteX1069" fmla="*/ 557458 w 774525"/>
                    <a:gd name="connsiteY1069" fmla="*/ 1027924 h 1153700"/>
                    <a:gd name="connsiteX1070" fmla="*/ 557446 w 774525"/>
                    <a:gd name="connsiteY1070" fmla="*/ 1027924 h 1153700"/>
                    <a:gd name="connsiteX1071" fmla="*/ 553888 w 774525"/>
                    <a:gd name="connsiteY1071" fmla="*/ 1028155 h 1153700"/>
                    <a:gd name="connsiteX1072" fmla="*/ 551435 w 774525"/>
                    <a:gd name="connsiteY1072" fmla="*/ 1029369 h 1153700"/>
                    <a:gd name="connsiteX1073" fmla="*/ 550622 w 774525"/>
                    <a:gd name="connsiteY1073" fmla="*/ 1029758 h 1153700"/>
                    <a:gd name="connsiteX1074" fmla="*/ 547926 w 774525"/>
                    <a:gd name="connsiteY1074" fmla="*/ 1032174 h 1153700"/>
                    <a:gd name="connsiteX1075" fmla="*/ 545983 w 774525"/>
                    <a:gd name="connsiteY1075" fmla="*/ 1034760 h 1153700"/>
                    <a:gd name="connsiteX1076" fmla="*/ 545558 w 774525"/>
                    <a:gd name="connsiteY1076" fmla="*/ 1035671 h 1153700"/>
                    <a:gd name="connsiteX1077" fmla="*/ 544647 w 774525"/>
                    <a:gd name="connsiteY1077" fmla="*/ 1037565 h 1153700"/>
                    <a:gd name="connsiteX1078" fmla="*/ 544319 w 774525"/>
                    <a:gd name="connsiteY1078" fmla="*/ 1040674 h 1153700"/>
                    <a:gd name="connsiteX1079" fmla="*/ 545582 w 774525"/>
                    <a:gd name="connsiteY1079" fmla="*/ 1043139 h 1153700"/>
                    <a:gd name="connsiteX1080" fmla="*/ 549140 w 774525"/>
                    <a:gd name="connsiteY1080" fmla="*/ 1044171 h 1153700"/>
                    <a:gd name="connsiteX1081" fmla="*/ 551447 w 774525"/>
                    <a:gd name="connsiteY1081" fmla="*/ 1046296 h 1153700"/>
                    <a:gd name="connsiteX1082" fmla="*/ 550014 w 774525"/>
                    <a:gd name="connsiteY1082" fmla="*/ 1051032 h 1153700"/>
                    <a:gd name="connsiteX1083" fmla="*/ 545995 w 774525"/>
                    <a:gd name="connsiteY1083" fmla="*/ 1058342 h 1153700"/>
                    <a:gd name="connsiteX1084" fmla="*/ 545364 w 774525"/>
                    <a:gd name="connsiteY1084" fmla="*/ 1060977 h 1153700"/>
                    <a:gd name="connsiteX1085" fmla="*/ 543736 w 774525"/>
                    <a:gd name="connsiteY1085" fmla="*/ 1064268 h 1153700"/>
                    <a:gd name="connsiteX1086" fmla="*/ 541672 w 774525"/>
                    <a:gd name="connsiteY1086" fmla="*/ 1066089 h 1153700"/>
                    <a:gd name="connsiteX1087" fmla="*/ 539438 w 774525"/>
                    <a:gd name="connsiteY1087" fmla="*/ 1064450 h 1153700"/>
                    <a:gd name="connsiteX1088" fmla="*/ 537422 w 774525"/>
                    <a:gd name="connsiteY1088" fmla="*/ 1065227 h 1153700"/>
                    <a:gd name="connsiteX1089" fmla="*/ 534896 w 774525"/>
                    <a:gd name="connsiteY1089" fmla="*/ 1065251 h 1153700"/>
                    <a:gd name="connsiteX1090" fmla="*/ 532650 w 774525"/>
                    <a:gd name="connsiteY1090" fmla="*/ 1064365 h 1153700"/>
                    <a:gd name="connsiteX1091" fmla="*/ 531800 w 774525"/>
                    <a:gd name="connsiteY1091" fmla="*/ 1062386 h 1153700"/>
                    <a:gd name="connsiteX1092" fmla="*/ 532018 w 774525"/>
                    <a:gd name="connsiteY1092" fmla="*/ 1059459 h 1153700"/>
                    <a:gd name="connsiteX1093" fmla="*/ 532832 w 774525"/>
                    <a:gd name="connsiteY1093" fmla="*/ 1057601 h 1153700"/>
                    <a:gd name="connsiteX1094" fmla="*/ 535576 w 774525"/>
                    <a:gd name="connsiteY1094" fmla="*/ 1053570 h 1153700"/>
                    <a:gd name="connsiteX1095" fmla="*/ 536900 w 774525"/>
                    <a:gd name="connsiteY1095" fmla="*/ 1050097 h 1153700"/>
                    <a:gd name="connsiteX1096" fmla="*/ 536730 w 774525"/>
                    <a:gd name="connsiteY1096" fmla="*/ 1047365 h 1153700"/>
                    <a:gd name="connsiteX1097" fmla="*/ 536038 w 774525"/>
                    <a:gd name="connsiteY1097" fmla="*/ 1044560 h 1153700"/>
                    <a:gd name="connsiteX1098" fmla="*/ 535346 w 774525"/>
                    <a:gd name="connsiteY1098" fmla="*/ 1038841 h 1153700"/>
                    <a:gd name="connsiteX1099" fmla="*/ 534313 w 774525"/>
                    <a:gd name="connsiteY1099" fmla="*/ 1034481 h 1153700"/>
                    <a:gd name="connsiteX1100" fmla="*/ 534313 w 774525"/>
                    <a:gd name="connsiteY1100" fmla="*/ 1032077 h 1153700"/>
                    <a:gd name="connsiteX1101" fmla="*/ 537580 w 774525"/>
                    <a:gd name="connsiteY1101" fmla="*/ 1023893 h 1153700"/>
                    <a:gd name="connsiteX1102" fmla="*/ 540749 w 774525"/>
                    <a:gd name="connsiteY1102" fmla="*/ 1021731 h 1153700"/>
                    <a:gd name="connsiteX1103" fmla="*/ 542473 w 774525"/>
                    <a:gd name="connsiteY1103" fmla="*/ 1017238 h 1153700"/>
                    <a:gd name="connsiteX1104" fmla="*/ 541903 w 774525"/>
                    <a:gd name="connsiteY1104" fmla="*/ 1013389 h 1153700"/>
                    <a:gd name="connsiteX1105" fmla="*/ 538163 w 774525"/>
                    <a:gd name="connsiteY1105" fmla="*/ 1013268 h 1153700"/>
                    <a:gd name="connsiteX1106" fmla="*/ 538151 w 774525"/>
                    <a:gd name="connsiteY1106" fmla="*/ 1013268 h 1153700"/>
                    <a:gd name="connsiteX1107" fmla="*/ 538345 w 774525"/>
                    <a:gd name="connsiteY1107" fmla="*/ 1014482 h 1153700"/>
                    <a:gd name="connsiteX1108" fmla="*/ 537422 w 774525"/>
                    <a:gd name="connsiteY1108" fmla="*/ 1017578 h 1153700"/>
                    <a:gd name="connsiteX1109" fmla="*/ 536196 w 774525"/>
                    <a:gd name="connsiteY1109" fmla="*/ 1020359 h 1153700"/>
                    <a:gd name="connsiteX1110" fmla="*/ 535564 w 774525"/>
                    <a:gd name="connsiteY1110" fmla="*/ 1020614 h 1153700"/>
                    <a:gd name="connsiteX1111" fmla="*/ 535163 w 774525"/>
                    <a:gd name="connsiteY1111" fmla="*/ 1021683 h 1153700"/>
                    <a:gd name="connsiteX1112" fmla="*/ 534313 w 774525"/>
                    <a:gd name="connsiteY1112" fmla="*/ 1023395 h 1153700"/>
                    <a:gd name="connsiteX1113" fmla="*/ 533451 w 774525"/>
                    <a:gd name="connsiteY1113" fmla="*/ 1025107 h 1153700"/>
                    <a:gd name="connsiteX1114" fmla="*/ 533002 w 774525"/>
                    <a:gd name="connsiteY1114" fmla="*/ 1027232 h 1153700"/>
                    <a:gd name="connsiteX1115" fmla="*/ 532650 w 774525"/>
                    <a:gd name="connsiteY1115" fmla="*/ 1028908 h 1153700"/>
                    <a:gd name="connsiteX1116" fmla="*/ 531047 w 774525"/>
                    <a:gd name="connsiteY1116" fmla="*/ 1030814 h 1153700"/>
                    <a:gd name="connsiteX1117" fmla="*/ 530780 w 774525"/>
                    <a:gd name="connsiteY1117" fmla="*/ 1031445 h 1153700"/>
                    <a:gd name="connsiteX1118" fmla="*/ 530488 w 774525"/>
                    <a:gd name="connsiteY1118" fmla="*/ 1032089 h 1153700"/>
                    <a:gd name="connsiteX1119" fmla="*/ 530319 w 774525"/>
                    <a:gd name="connsiteY1119" fmla="*/ 1033376 h 1153700"/>
                    <a:gd name="connsiteX1120" fmla="*/ 530658 w 774525"/>
                    <a:gd name="connsiteY1120" fmla="*/ 1038221 h 1153700"/>
                    <a:gd name="connsiteX1121" fmla="*/ 531690 w 774525"/>
                    <a:gd name="connsiteY1121" fmla="*/ 1041985 h 1153700"/>
                    <a:gd name="connsiteX1122" fmla="*/ 531812 w 774525"/>
                    <a:gd name="connsiteY1122" fmla="*/ 1044208 h 1153700"/>
                    <a:gd name="connsiteX1123" fmla="*/ 530719 w 774525"/>
                    <a:gd name="connsiteY1123" fmla="*/ 1047766 h 1153700"/>
                    <a:gd name="connsiteX1124" fmla="*/ 527380 w 774525"/>
                    <a:gd name="connsiteY1124" fmla="*/ 1052392 h 1153700"/>
                    <a:gd name="connsiteX1125" fmla="*/ 526639 w 774525"/>
                    <a:gd name="connsiteY1125" fmla="*/ 1055549 h 1153700"/>
                    <a:gd name="connsiteX1126" fmla="*/ 526967 w 774525"/>
                    <a:gd name="connsiteY1126" fmla="*/ 1064049 h 1153700"/>
                    <a:gd name="connsiteX1127" fmla="*/ 526566 w 774525"/>
                    <a:gd name="connsiteY1127" fmla="*/ 1067547 h 1153700"/>
                    <a:gd name="connsiteX1128" fmla="*/ 520726 w 774525"/>
                    <a:gd name="connsiteY1128" fmla="*/ 1082992 h 1153700"/>
                    <a:gd name="connsiteX1129" fmla="*/ 520264 w 774525"/>
                    <a:gd name="connsiteY1129" fmla="*/ 1086635 h 1153700"/>
                    <a:gd name="connsiteX1130" fmla="*/ 520434 w 774525"/>
                    <a:gd name="connsiteY1130" fmla="*/ 1098632 h 1153700"/>
                    <a:gd name="connsiteX1131" fmla="*/ 520264 w 774525"/>
                    <a:gd name="connsiteY1131" fmla="*/ 1099494 h 1153700"/>
                    <a:gd name="connsiteX1132" fmla="*/ 523421 w 774525"/>
                    <a:gd name="connsiteY1132" fmla="*/ 1098984 h 1153700"/>
                    <a:gd name="connsiteX1133" fmla="*/ 527683 w 774525"/>
                    <a:gd name="connsiteY1133" fmla="*/ 1097175 h 1153700"/>
                    <a:gd name="connsiteX1134" fmla="*/ 531411 w 774525"/>
                    <a:gd name="connsiteY1134" fmla="*/ 1097321 h 1153700"/>
                    <a:gd name="connsiteX1135" fmla="*/ 533075 w 774525"/>
                    <a:gd name="connsiteY1135" fmla="*/ 1102797 h 1153700"/>
                    <a:gd name="connsiteX1136" fmla="*/ 532565 w 774525"/>
                    <a:gd name="connsiteY1136" fmla="*/ 1106392 h 1153700"/>
                    <a:gd name="connsiteX1137" fmla="*/ 531302 w 774525"/>
                    <a:gd name="connsiteY1137" fmla="*/ 1110617 h 1153700"/>
                    <a:gd name="connsiteX1138" fmla="*/ 529298 w 774525"/>
                    <a:gd name="connsiteY1138" fmla="*/ 1113143 h 1153700"/>
                    <a:gd name="connsiteX1139" fmla="*/ 526651 w 774525"/>
                    <a:gd name="connsiteY1139" fmla="*/ 1111589 h 1153700"/>
                    <a:gd name="connsiteX1140" fmla="*/ 525389 w 774525"/>
                    <a:gd name="connsiteY1140" fmla="*/ 1111589 h 1153700"/>
                    <a:gd name="connsiteX1141" fmla="*/ 525376 w 774525"/>
                    <a:gd name="connsiteY1141" fmla="*/ 1111589 h 1153700"/>
                    <a:gd name="connsiteX1142" fmla="*/ 526833 w 774525"/>
                    <a:gd name="connsiteY1142" fmla="*/ 1124982 h 1153700"/>
                    <a:gd name="connsiteX1143" fmla="*/ 525959 w 774525"/>
                    <a:gd name="connsiteY1143" fmla="*/ 1129901 h 1153700"/>
                    <a:gd name="connsiteX1144" fmla="*/ 522802 w 774525"/>
                    <a:gd name="connsiteY1144" fmla="*/ 1127703 h 1153700"/>
                    <a:gd name="connsiteX1145" fmla="*/ 522802 w 774525"/>
                    <a:gd name="connsiteY1145" fmla="*/ 1137866 h 1153700"/>
                    <a:gd name="connsiteX1146" fmla="*/ 521709 w 774525"/>
                    <a:gd name="connsiteY1146" fmla="*/ 1140562 h 1153700"/>
                    <a:gd name="connsiteX1147" fmla="*/ 519183 w 774525"/>
                    <a:gd name="connsiteY1147" fmla="*/ 1141023 h 1153700"/>
                    <a:gd name="connsiteX1148" fmla="*/ 516548 w 774525"/>
                    <a:gd name="connsiteY1148" fmla="*/ 1139760 h 1153700"/>
                    <a:gd name="connsiteX1149" fmla="*/ 514994 w 774525"/>
                    <a:gd name="connsiteY1149" fmla="*/ 1137186 h 1153700"/>
                    <a:gd name="connsiteX1150" fmla="*/ 513828 w 774525"/>
                    <a:gd name="connsiteY1150" fmla="*/ 1139311 h 1153700"/>
                    <a:gd name="connsiteX1151" fmla="*/ 513707 w 774525"/>
                    <a:gd name="connsiteY1151" fmla="*/ 1141473 h 1153700"/>
                    <a:gd name="connsiteX1152" fmla="*/ 514581 w 774525"/>
                    <a:gd name="connsiteY1152" fmla="*/ 1143501 h 1153700"/>
                    <a:gd name="connsiteX1153" fmla="*/ 516403 w 774525"/>
                    <a:gd name="connsiteY1153" fmla="*/ 1145261 h 1153700"/>
                    <a:gd name="connsiteX1154" fmla="*/ 510562 w 774525"/>
                    <a:gd name="connsiteY1154" fmla="*/ 1147095 h 1153700"/>
                    <a:gd name="connsiteX1155" fmla="*/ 507004 w 774525"/>
                    <a:gd name="connsiteY1155" fmla="*/ 1145116 h 1153700"/>
                    <a:gd name="connsiteX1156" fmla="*/ 505911 w 774525"/>
                    <a:gd name="connsiteY1156" fmla="*/ 1140829 h 1153700"/>
                    <a:gd name="connsiteX1157" fmla="*/ 507344 w 774525"/>
                    <a:gd name="connsiteY1157" fmla="*/ 1135863 h 1153700"/>
                    <a:gd name="connsiteX1158" fmla="*/ 508546 w 774525"/>
                    <a:gd name="connsiteY1158" fmla="*/ 1134393 h 1153700"/>
                    <a:gd name="connsiteX1159" fmla="*/ 509809 w 774525"/>
                    <a:gd name="connsiteY1159" fmla="*/ 1133398 h 1153700"/>
                    <a:gd name="connsiteX1160" fmla="*/ 510781 w 774525"/>
                    <a:gd name="connsiteY1160" fmla="*/ 1132135 h 1153700"/>
                    <a:gd name="connsiteX1161" fmla="*/ 511181 w 774525"/>
                    <a:gd name="connsiteY1161" fmla="*/ 1129840 h 1153700"/>
                    <a:gd name="connsiteX1162" fmla="*/ 511242 w 774525"/>
                    <a:gd name="connsiteY1162" fmla="*/ 1127108 h 1153700"/>
                    <a:gd name="connsiteX1163" fmla="*/ 511642 w 774525"/>
                    <a:gd name="connsiteY1163" fmla="*/ 1124606 h 1153700"/>
                    <a:gd name="connsiteX1164" fmla="*/ 512444 w 774525"/>
                    <a:gd name="connsiteY1164" fmla="*/ 1122505 h 1153700"/>
                    <a:gd name="connsiteX1165" fmla="*/ 513707 w 774525"/>
                    <a:gd name="connsiteY1165" fmla="*/ 1120988 h 1153700"/>
                    <a:gd name="connsiteX1166" fmla="*/ 509918 w 774525"/>
                    <a:gd name="connsiteY1166" fmla="*/ 1110217 h 1153700"/>
                    <a:gd name="connsiteX1167" fmla="*/ 509056 w 774525"/>
                    <a:gd name="connsiteY1167" fmla="*/ 1104473 h 1153700"/>
                    <a:gd name="connsiteX1168" fmla="*/ 510550 w 774525"/>
                    <a:gd name="connsiteY1168" fmla="*/ 1100187 h 1153700"/>
                    <a:gd name="connsiteX1169" fmla="*/ 514290 w 774525"/>
                    <a:gd name="connsiteY1169" fmla="*/ 1093896 h 1153700"/>
                    <a:gd name="connsiteX1170" fmla="*/ 514108 w 774525"/>
                    <a:gd name="connsiteY1170" fmla="*/ 1091067 h 1153700"/>
                    <a:gd name="connsiteX1171" fmla="*/ 513938 w 774525"/>
                    <a:gd name="connsiteY1171" fmla="*/ 1088250 h 1153700"/>
                    <a:gd name="connsiteX1172" fmla="*/ 511133 w 774525"/>
                    <a:gd name="connsiteY1172" fmla="*/ 1082992 h 1153700"/>
                    <a:gd name="connsiteX1173" fmla="*/ 507344 w 774525"/>
                    <a:gd name="connsiteY1173" fmla="*/ 1077904 h 1153700"/>
                    <a:gd name="connsiteX1174" fmla="*/ 510902 w 774525"/>
                    <a:gd name="connsiteY1174" fmla="*/ 1070121 h 1153700"/>
                    <a:gd name="connsiteX1175" fmla="*/ 510962 w 774525"/>
                    <a:gd name="connsiteY1175" fmla="*/ 1065992 h 1153700"/>
                    <a:gd name="connsiteX1176" fmla="*/ 507332 w 774525"/>
                    <a:gd name="connsiteY1176" fmla="*/ 1063114 h 1153700"/>
                    <a:gd name="connsiteX1177" fmla="*/ 507684 w 774525"/>
                    <a:gd name="connsiteY1177" fmla="*/ 1064693 h 1153700"/>
                    <a:gd name="connsiteX1178" fmla="*/ 508134 w 774525"/>
                    <a:gd name="connsiteY1178" fmla="*/ 1066709 h 1153700"/>
                    <a:gd name="connsiteX1179" fmla="*/ 506700 w 774525"/>
                    <a:gd name="connsiteY1179" fmla="*/ 1068979 h 1153700"/>
                    <a:gd name="connsiteX1180" fmla="*/ 504624 w 774525"/>
                    <a:gd name="connsiteY1180" fmla="*/ 1071359 h 1153700"/>
                    <a:gd name="connsiteX1181" fmla="*/ 503373 w 774525"/>
                    <a:gd name="connsiteY1181" fmla="*/ 1075208 h 1153700"/>
                    <a:gd name="connsiteX1182" fmla="*/ 503823 w 774525"/>
                    <a:gd name="connsiteY1182" fmla="*/ 1078852 h 1153700"/>
                    <a:gd name="connsiteX1183" fmla="*/ 506627 w 774525"/>
                    <a:gd name="connsiteY1183" fmla="*/ 1085676 h 1153700"/>
                    <a:gd name="connsiteX1184" fmla="*/ 506968 w 774525"/>
                    <a:gd name="connsiteY1184" fmla="*/ 1087473 h 1153700"/>
                    <a:gd name="connsiteX1185" fmla="*/ 507307 w 774525"/>
                    <a:gd name="connsiteY1185" fmla="*/ 1089282 h 1153700"/>
                    <a:gd name="connsiteX1186" fmla="*/ 506919 w 774525"/>
                    <a:gd name="connsiteY1186" fmla="*/ 1091954 h 1153700"/>
                    <a:gd name="connsiteX1187" fmla="*/ 505947 w 774525"/>
                    <a:gd name="connsiteY1187" fmla="*/ 1092245 h 1153700"/>
                    <a:gd name="connsiteX1188" fmla="*/ 504624 w 774525"/>
                    <a:gd name="connsiteY1188" fmla="*/ 1091954 h 1153700"/>
                    <a:gd name="connsiteX1189" fmla="*/ 504612 w 774525"/>
                    <a:gd name="connsiteY1189" fmla="*/ 1091954 h 1153700"/>
                    <a:gd name="connsiteX1190" fmla="*/ 503361 w 774525"/>
                    <a:gd name="connsiteY1190" fmla="*/ 1092755 h 1153700"/>
                    <a:gd name="connsiteX1191" fmla="*/ 502135 w 774525"/>
                    <a:gd name="connsiteY1191" fmla="*/ 1097443 h 1153700"/>
                    <a:gd name="connsiteX1192" fmla="*/ 500180 w 774525"/>
                    <a:gd name="connsiteY1192" fmla="*/ 1101061 h 1153700"/>
                    <a:gd name="connsiteX1193" fmla="*/ 499391 w 774525"/>
                    <a:gd name="connsiteY1193" fmla="*/ 1104424 h 1153700"/>
                    <a:gd name="connsiteX1194" fmla="*/ 499147 w 774525"/>
                    <a:gd name="connsiteY1194" fmla="*/ 1108152 h 1153700"/>
                    <a:gd name="connsiteX1195" fmla="*/ 499609 w 774525"/>
                    <a:gd name="connsiteY1195" fmla="*/ 1111565 h 1153700"/>
                    <a:gd name="connsiteX1196" fmla="*/ 502195 w 774525"/>
                    <a:gd name="connsiteY1196" fmla="*/ 1117114 h 1153700"/>
                    <a:gd name="connsiteX1197" fmla="*/ 502900 w 774525"/>
                    <a:gd name="connsiteY1197" fmla="*/ 1119846 h 1153700"/>
                    <a:gd name="connsiteX1198" fmla="*/ 502147 w 774525"/>
                    <a:gd name="connsiteY1198" fmla="*/ 1123635 h 1153700"/>
                    <a:gd name="connsiteX1199" fmla="*/ 499913 w 774525"/>
                    <a:gd name="connsiteY1199" fmla="*/ 1127569 h 1153700"/>
                    <a:gd name="connsiteX1200" fmla="*/ 497193 w 774525"/>
                    <a:gd name="connsiteY1200" fmla="*/ 1129087 h 1153700"/>
                    <a:gd name="connsiteX1201" fmla="*/ 494290 w 774525"/>
                    <a:gd name="connsiteY1201" fmla="*/ 1130095 h 1153700"/>
                    <a:gd name="connsiteX1202" fmla="*/ 491182 w 774525"/>
                    <a:gd name="connsiteY1202" fmla="*/ 1132414 h 1153700"/>
                    <a:gd name="connsiteX1203" fmla="*/ 488280 w 774525"/>
                    <a:gd name="connsiteY1203" fmla="*/ 1132220 h 1153700"/>
                    <a:gd name="connsiteX1204" fmla="*/ 488085 w 774525"/>
                    <a:gd name="connsiteY1204" fmla="*/ 1132207 h 1153700"/>
                    <a:gd name="connsiteX1205" fmla="*/ 486312 w 774525"/>
                    <a:gd name="connsiteY1205" fmla="*/ 1126087 h 1153700"/>
                    <a:gd name="connsiteX1206" fmla="*/ 486130 w 774525"/>
                    <a:gd name="connsiteY1206" fmla="*/ 1118255 h 1153700"/>
                    <a:gd name="connsiteX1207" fmla="*/ 486592 w 774525"/>
                    <a:gd name="connsiteY1207" fmla="*/ 1116883 h 1153700"/>
                    <a:gd name="connsiteX1208" fmla="*/ 487964 w 774525"/>
                    <a:gd name="connsiteY1208" fmla="*/ 1112912 h 1153700"/>
                    <a:gd name="connsiteX1209" fmla="*/ 487952 w 774525"/>
                    <a:gd name="connsiteY1209" fmla="*/ 1112912 h 1153700"/>
                    <a:gd name="connsiteX1210" fmla="*/ 485718 w 774525"/>
                    <a:gd name="connsiteY1210" fmla="*/ 1113374 h 1153700"/>
                    <a:gd name="connsiteX1211" fmla="*/ 482682 w 774525"/>
                    <a:gd name="connsiteY1211" fmla="*/ 1115183 h 1153700"/>
                    <a:gd name="connsiteX1212" fmla="*/ 481067 w 774525"/>
                    <a:gd name="connsiteY1212" fmla="*/ 1115572 h 1153700"/>
                    <a:gd name="connsiteX1213" fmla="*/ 479294 w 774525"/>
                    <a:gd name="connsiteY1213" fmla="*/ 1114855 h 1153700"/>
                    <a:gd name="connsiteX1214" fmla="*/ 478262 w 774525"/>
                    <a:gd name="connsiteY1214" fmla="*/ 1113095 h 1153700"/>
                    <a:gd name="connsiteX1215" fmla="*/ 477861 w 774525"/>
                    <a:gd name="connsiteY1215" fmla="*/ 1111990 h 1153700"/>
                    <a:gd name="connsiteX1216" fmla="*/ 477460 w 774525"/>
                    <a:gd name="connsiteY1216" fmla="*/ 1110885 h 1153700"/>
                    <a:gd name="connsiteX1217" fmla="*/ 476489 w 774525"/>
                    <a:gd name="connsiteY1217" fmla="*/ 1108832 h 1153700"/>
                    <a:gd name="connsiteX1218" fmla="*/ 475566 w 774525"/>
                    <a:gd name="connsiteY1218" fmla="*/ 1110423 h 1153700"/>
                    <a:gd name="connsiteX1219" fmla="*/ 475226 w 774525"/>
                    <a:gd name="connsiteY1219" fmla="*/ 1112317 h 1153700"/>
                    <a:gd name="connsiteX1220" fmla="*/ 475736 w 774525"/>
                    <a:gd name="connsiteY1220" fmla="*/ 1114321 h 1153700"/>
                    <a:gd name="connsiteX1221" fmla="*/ 479185 w 774525"/>
                    <a:gd name="connsiteY1221" fmla="*/ 1118377 h 1153700"/>
                    <a:gd name="connsiteX1222" fmla="*/ 479865 w 774525"/>
                    <a:gd name="connsiteY1222" fmla="*/ 1120259 h 1153700"/>
                    <a:gd name="connsiteX1223" fmla="*/ 479767 w 774525"/>
                    <a:gd name="connsiteY1223" fmla="*/ 1122360 h 1153700"/>
                    <a:gd name="connsiteX1224" fmla="*/ 479124 w 774525"/>
                    <a:gd name="connsiteY1224" fmla="*/ 1125068 h 1153700"/>
                    <a:gd name="connsiteX1225" fmla="*/ 477242 w 774525"/>
                    <a:gd name="connsiteY1225" fmla="*/ 1129148 h 1153700"/>
                    <a:gd name="connsiteX1226" fmla="*/ 474704 w 774525"/>
                    <a:gd name="connsiteY1226" fmla="*/ 1131127 h 1153700"/>
                    <a:gd name="connsiteX1227" fmla="*/ 472457 w 774525"/>
                    <a:gd name="connsiteY1227" fmla="*/ 1130228 h 1153700"/>
                    <a:gd name="connsiteX1228" fmla="*/ 471438 w 774525"/>
                    <a:gd name="connsiteY1228" fmla="*/ 1125675 h 1153700"/>
                    <a:gd name="connsiteX1229" fmla="*/ 470964 w 774525"/>
                    <a:gd name="connsiteY1229" fmla="*/ 1103696 h 1153700"/>
                    <a:gd name="connsiteX1230" fmla="*/ 470272 w 774525"/>
                    <a:gd name="connsiteY1230" fmla="*/ 1099992 h 1153700"/>
                    <a:gd name="connsiteX1231" fmla="*/ 468669 w 774525"/>
                    <a:gd name="connsiteY1231" fmla="*/ 1096811 h 1153700"/>
                    <a:gd name="connsiteX1232" fmla="*/ 465560 w 774525"/>
                    <a:gd name="connsiteY1232" fmla="*/ 1093326 h 1153700"/>
                    <a:gd name="connsiteX1233" fmla="*/ 463375 w 774525"/>
                    <a:gd name="connsiteY1233" fmla="*/ 1093180 h 1153700"/>
                    <a:gd name="connsiteX1234" fmla="*/ 463897 w 774525"/>
                    <a:gd name="connsiteY1234" fmla="*/ 1097782 h 1153700"/>
                    <a:gd name="connsiteX1235" fmla="*/ 469737 w 774525"/>
                    <a:gd name="connsiteY1235" fmla="*/ 1117199 h 1153700"/>
                    <a:gd name="connsiteX1236" fmla="*/ 470029 w 774525"/>
                    <a:gd name="connsiteY1236" fmla="*/ 1121631 h 1153700"/>
                    <a:gd name="connsiteX1237" fmla="*/ 469567 w 774525"/>
                    <a:gd name="connsiteY1237" fmla="*/ 1123817 h 1153700"/>
                    <a:gd name="connsiteX1238" fmla="*/ 467612 w 774525"/>
                    <a:gd name="connsiteY1238" fmla="*/ 1128079 h 1153700"/>
                    <a:gd name="connsiteX1239" fmla="*/ 467442 w 774525"/>
                    <a:gd name="connsiteY1239" fmla="*/ 1130423 h 1153700"/>
                    <a:gd name="connsiteX1240" fmla="*/ 468232 w 774525"/>
                    <a:gd name="connsiteY1240" fmla="*/ 1132183 h 1153700"/>
                    <a:gd name="connsiteX1241" fmla="*/ 470697 w 774525"/>
                    <a:gd name="connsiteY1241" fmla="*/ 1134333 h 1153700"/>
                    <a:gd name="connsiteX1242" fmla="*/ 471413 w 774525"/>
                    <a:gd name="connsiteY1242" fmla="*/ 1135802 h 1153700"/>
                    <a:gd name="connsiteX1243" fmla="*/ 471668 w 774525"/>
                    <a:gd name="connsiteY1243" fmla="*/ 1137818 h 1153700"/>
                    <a:gd name="connsiteX1244" fmla="*/ 471280 w 774525"/>
                    <a:gd name="connsiteY1244" fmla="*/ 1138364 h 1153700"/>
                    <a:gd name="connsiteX1245" fmla="*/ 470175 w 774525"/>
                    <a:gd name="connsiteY1245" fmla="*/ 1138813 h 1153700"/>
                    <a:gd name="connsiteX1246" fmla="*/ 468171 w 774525"/>
                    <a:gd name="connsiteY1246" fmla="*/ 1140428 h 1153700"/>
                    <a:gd name="connsiteX1247" fmla="*/ 466629 w 774525"/>
                    <a:gd name="connsiteY1247" fmla="*/ 1141060 h 1153700"/>
                    <a:gd name="connsiteX1248" fmla="*/ 465426 w 774525"/>
                    <a:gd name="connsiteY1248" fmla="*/ 1141193 h 1153700"/>
                    <a:gd name="connsiteX1249" fmla="*/ 464200 w 774525"/>
                    <a:gd name="connsiteY1249" fmla="*/ 1141327 h 1153700"/>
                    <a:gd name="connsiteX1250" fmla="*/ 463120 w 774525"/>
                    <a:gd name="connsiteY1250" fmla="*/ 1141242 h 1153700"/>
                    <a:gd name="connsiteX1251" fmla="*/ 462026 w 774525"/>
                    <a:gd name="connsiteY1251" fmla="*/ 1141157 h 1153700"/>
                    <a:gd name="connsiteX1252" fmla="*/ 461055 w 774525"/>
                    <a:gd name="connsiteY1252" fmla="*/ 1140428 h 1153700"/>
                    <a:gd name="connsiteX1253" fmla="*/ 460411 w 774525"/>
                    <a:gd name="connsiteY1253" fmla="*/ 1136179 h 1153700"/>
                    <a:gd name="connsiteX1254" fmla="*/ 458809 w 774525"/>
                    <a:gd name="connsiteY1254" fmla="*/ 1131892 h 1153700"/>
                    <a:gd name="connsiteX1255" fmla="*/ 456404 w 774525"/>
                    <a:gd name="connsiteY1255" fmla="*/ 1129670 h 1153700"/>
                    <a:gd name="connsiteX1256" fmla="*/ 453357 w 774525"/>
                    <a:gd name="connsiteY1256" fmla="*/ 1131649 h 1153700"/>
                    <a:gd name="connsiteX1257" fmla="*/ 449847 w 774525"/>
                    <a:gd name="connsiteY1257" fmla="*/ 1124011 h 1153700"/>
                    <a:gd name="connsiteX1258" fmla="*/ 448415 w 774525"/>
                    <a:gd name="connsiteY1258" fmla="*/ 1119421 h 1153700"/>
                    <a:gd name="connsiteX1259" fmla="*/ 448244 w 774525"/>
                    <a:gd name="connsiteY1259" fmla="*/ 1115548 h 1153700"/>
                    <a:gd name="connsiteX1260" fmla="*/ 450017 w 774525"/>
                    <a:gd name="connsiteY1260" fmla="*/ 1111783 h 1153700"/>
                    <a:gd name="connsiteX1261" fmla="*/ 452446 w 774525"/>
                    <a:gd name="connsiteY1261" fmla="*/ 1107800 h 1153700"/>
                    <a:gd name="connsiteX1262" fmla="*/ 453757 w 774525"/>
                    <a:gd name="connsiteY1262" fmla="*/ 1103283 h 1153700"/>
                    <a:gd name="connsiteX1263" fmla="*/ 452081 w 774525"/>
                    <a:gd name="connsiteY1263" fmla="*/ 1097977 h 1153700"/>
                    <a:gd name="connsiteX1264" fmla="*/ 453636 w 774525"/>
                    <a:gd name="connsiteY1264" fmla="*/ 1095159 h 1153700"/>
                    <a:gd name="connsiteX1265" fmla="*/ 453053 w 774525"/>
                    <a:gd name="connsiteY1265" fmla="*/ 1093508 h 1153700"/>
                    <a:gd name="connsiteX1266" fmla="*/ 452482 w 774525"/>
                    <a:gd name="connsiteY1266" fmla="*/ 1091856 h 1153700"/>
                    <a:gd name="connsiteX1267" fmla="*/ 443181 w 774525"/>
                    <a:gd name="connsiteY1267" fmla="*/ 1075597 h 1153700"/>
                    <a:gd name="connsiteX1268" fmla="*/ 443642 w 774525"/>
                    <a:gd name="connsiteY1268" fmla="*/ 1073691 h 1153700"/>
                    <a:gd name="connsiteX1269" fmla="*/ 444213 w 774525"/>
                    <a:gd name="connsiteY1269" fmla="*/ 1072039 h 1153700"/>
                    <a:gd name="connsiteX1270" fmla="*/ 441809 w 774525"/>
                    <a:gd name="connsiteY1270" fmla="*/ 1061596 h 1153700"/>
                    <a:gd name="connsiteX1271" fmla="*/ 442379 w 774525"/>
                    <a:gd name="connsiteY1271" fmla="*/ 1058245 h 1153700"/>
                    <a:gd name="connsiteX1272" fmla="*/ 443594 w 774525"/>
                    <a:gd name="connsiteY1272" fmla="*/ 1055404 h 1153700"/>
                    <a:gd name="connsiteX1273" fmla="*/ 445148 w 774525"/>
                    <a:gd name="connsiteY1273" fmla="*/ 1052987 h 1153700"/>
                    <a:gd name="connsiteX1274" fmla="*/ 453053 w 774525"/>
                    <a:gd name="connsiteY1274" fmla="*/ 1043091 h 1153700"/>
                    <a:gd name="connsiteX1275" fmla="*/ 455979 w 774525"/>
                    <a:gd name="connsiteY1275" fmla="*/ 1038270 h 1153700"/>
                    <a:gd name="connsiteX1276" fmla="*/ 454207 w 774525"/>
                    <a:gd name="connsiteY1276" fmla="*/ 1033911 h 1153700"/>
                    <a:gd name="connsiteX1277" fmla="*/ 452434 w 774525"/>
                    <a:gd name="connsiteY1277" fmla="*/ 1023747 h 1153700"/>
                    <a:gd name="connsiteX1278" fmla="*/ 451450 w 774525"/>
                    <a:gd name="connsiteY1278" fmla="*/ 1020590 h 1153700"/>
                    <a:gd name="connsiteX1279" fmla="*/ 445306 w 774525"/>
                    <a:gd name="connsiteY1279" fmla="*/ 1017214 h 1153700"/>
                    <a:gd name="connsiteX1280" fmla="*/ 436514 w 774525"/>
                    <a:gd name="connsiteY1280" fmla="*/ 1014190 h 1153700"/>
                    <a:gd name="connsiteX1281" fmla="*/ 429508 w 774525"/>
                    <a:gd name="connsiteY1281" fmla="*/ 1010839 h 1153700"/>
                    <a:gd name="connsiteX1282" fmla="*/ 428755 w 774525"/>
                    <a:gd name="connsiteY1282" fmla="*/ 1006273 h 1153700"/>
                    <a:gd name="connsiteX1283" fmla="*/ 425489 w 774525"/>
                    <a:gd name="connsiteY1283" fmla="*/ 1008422 h 1153700"/>
                    <a:gd name="connsiteX1284" fmla="*/ 422453 w 774525"/>
                    <a:gd name="connsiteY1284" fmla="*/ 1009370 h 1153700"/>
                    <a:gd name="connsiteX1285" fmla="*/ 419344 w 774525"/>
                    <a:gd name="connsiteY1285" fmla="*/ 1008762 h 1153700"/>
                    <a:gd name="connsiteX1286" fmla="*/ 415968 w 774525"/>
                    <a:gd name="connsiteY1286" fmla="*/ 1006273 h 1153700"/>
                    <a:gd name="connsiteX1287" fmla="*/ 411488 w 774525"/>
                    <a:gd name="connsiteY1287" fmla="*/ 1001258 h 1153700"/>
                    <a:gd name="connsiteX1288" fmla="*/ 409193 w 774525"/>
                    <a:gd name="connsiteY1288" fmla="*/ 997858 h 1153700"/>
                    <a:gd name="connsiteX1289" fmla="*/ 408161 w 774525"/>
                    <a:gd name="connsiteY1289" fmla="*/ 994847 h 1153700"/>
                    <a:gd name="connsiteX1290" fmla="*/ 408124 w 774525"/>
                    <a:gd name="connsiteY1290" fmla="*/ 994567 h 1153700"/>
                    <a:gd name="connsiteX1291" fmla="*/ 407590 w 774525"/>
                    <a:gd name="connsiteY1291" fmla="*/ 990754 h 1153700"/>
                    <a:gd name="connsiteX1292" fmla="*/ 405052 w 774525"/>
                    <a:gd name="connsiteY1292" fmla="*/ 983481 h 1153700"/>
                    <a:gd name="connsiteX1293" fmla="*/ 404700 w 774525"/>
                    <a:gd name="connsiteY1293" fmla="*/ 981526 h 1153700"/>
                    <a:gd name="connsiteX1294" fmla="*/ 404433 w 774525"/>
                    <a:gd name="connsiteY1294" fmla="*/ 980020 h 1153700"/>
                    <a:gd name="connsiteX1295" fmla="*/ 404202 w 774525"/>
                    <a:gd name="connsiteY1295" fmla="*/ 975964 h 1153700"/>
                    <a:gd name="connsiteX1296" fmla="*/ 404202 w 774525"/>
                    <a:gd name="connsiteY1296" fmla="*/ 975855 h 1153700"/>
                    <a:gd name="connsiteX1297" fmla="*/ 403109 w 774525"/>
                    <a:gd name="connsiteY1297" fmla="*/ 972297 h 1153700"/>
                    <a:gd name="connsiteX1298" fmla="*/ 400802 w 774525"/>
                    <a:gd name="connsiteY1298" fmla="*/ 970087 h 1153700"/>
                    <a:gd name="connsiteX1299" fmla="*/ 398203 w 774525"/>
                    <a:gd name="connsiteY1299" fmla="*/ 970014 h 1153700"/>
                    <a:gd name="connsiteX1300" fmla="*/ 396795 w 774525"/>
                    <a:gd name="connsiteY1300" fmla="*/ 969978 h 1153700"/>
                    <a:gd name="connsiteX1301" fmla="*/ 396795 w 774525"/>
                    <a:gd name="connsiteY1301" fmla="*/ 969978 h 1153700"/>
                    <a:gd name="connsiteX1302" fmla="*/ 396783 w 774525"/>
                    <a:gd name="connsiteY1302" fmla="*/ 969978 h 1153700"/>
                    <a:gd name="connsiteX1303" fmla="*/ 396783 w 774525"/>
                    <a:gd name="connsiteY1303" fmla="*/ 971180 h 1153700"/>
                    <a:gd name="connsiteX1304" fmla="*/ 399831 w 774525"/>
                    <a:gd name="connsiteY1304" fmla="*/ 975284 h 1153700"/>
                    <a:gd name="connsiteX1305" fmla="*/ 402247 w 774525"/>
                    <a:gd name="connsiteY1305" fmla="*/ 983700 h 1153700"/>
                    <a:gd name="connsiteX1306" fmla="*/ 404420 w 774525"/>
                    <a:gd name="connsiteY1306" fmla="*/ 998975 h 1153700"/>
                    <a:gd name="connsiteX1307" fmla="*/ 405465 w 774525"/>
                    <a:gd name="connsiteY1307" fmla="*/ 1001962 h 1153700"/>
                    <a:gd name="connsiteX1308" fmla="*/ 407820 w 774525"/>
                    <a:gd name="connsiteY1308" fmla="*/ 1005435 h 1153700"/>
                    <a:gd name="connsiteX1309" fmla="*/ 412763 w 774525"/>
                    <a:gd name="connsiteY1309" fmla="*/ 1011142 h 1153700"/>
                    <a:gd name="connsiteX1310" fmla="*/ 415859 w 774525"/>
                    <a:gd name="connsiteY1310" fmla="*/ 1013304 h 1153700"/>
                    <a:gd name="connsiteX1311" fmla="*/ 419065 w 774525"/>
                    <a:gd name="connsiteY1311" fmla="*/ 1014069 h 1153700"/>
                    <a:gd name="connsiteX1312" fmla="*/ 425051 w 774525"/>
                    <a:gd name="connsiteY1312" fmla="*/ 1014470 h 1153700"/>
                    <a:gd name="connsiteX1313" fmla="*/ 432216 w 774525"/>
                    <a:gd name="connsiteY1313" fmla="*/ 1016000 h 1153700"/>
                    <a:gd name="connsiteX1314" fmla="*/ 439174 w 774525"/>
                    <a:gd name="connsiteY1314" fmla="*/ 1018368 h 1153700"/>
                    <a:gd name="connsiteX1315" fmla="*/ 444492 w 774525"/>
                    <a:gd name="connsiteY1315" fmla="*/ 1022824 h 1153700"/>
                    <a:gd name="connsiteX1316" fmla="*/ 445682 w 774525"/>
                    <a:gd name="connsiteY1316" fmla="*/ 1026722 h 1153700"/>
                    <a:gd name="connsiteX1317" fmla="*/ 446860 w 774525"/>
                    <a:gd name="connsiteY1317" fmla="*/ 1030620 h 1153700"/>
                    <a:gd name="connsiteX1318" fmla="*/ 445148 w 774525"/>
                    <a:gd name="connsiteY1318" fmla="*/ 1035951 h 1153700"/>
                    <a:gd name="connsiteX1319" fmla="*/ 440667 w 774525"/>
                    <a:gd name="connsiteY1319" fmla="*/ 1041779 h 1153700"/>
                    <a:gd name="connsiteX1320" fmla="*/ 435154 w 774525"/>
                    <a:gd name="connsiteY1320" fmla="*/ 1046746 h 1153700"/>
                    <a:gd name="connsiteX1321" fmla="*/ 430212 w 774525"/>
                    <a:gd name="connsiteY1321" fmla="*/ 1049526 h 1153700"/>
                    <a:gd name="connsiteX1322" fmla="*/ 423436 w 774525"/>
                    <a:gd name="connsiteY1322" fmla="*/ 1049526 h 1153700"/>
                    <a:gd name="connsiteX1323" fmla="*/ 422404 w 774525"/>
                    <a:gd name="connsiteY1323" fmla="*/ 1050219 h 1153700"/>
                    <a:gd name="connsiteX1324" fmla="*/ 422732 w 774525"/>
                    <a:gd name="connsiteY1324" fmla="*/ 1052307 h 1153700"/>
                    <a:gd name="connsiteX1325" fmla="*/ 423485 w 774525"/>
                    <a:gd name="connsiteY1325" fmla="*/ 1054493 h 1153700"/>
                    <a:gd name="connsiteX1326" fmla="*/ 423825 w 774525"/>
                    <a:gd name="connsiteY1326" fmla="*/ 1056569 h 1153700"/>
                    <a:gd name="connsiteX1327" fmla="*/ 423072 w 774525"/>
                    <a:gd name="connsiteY1327" fmla="*/ 1058330 h 1153700"/>
                    <a:gd name="connsiteX1328" fmla="*/ 420388 w 774525"/>
                    <a:gd name="connsiteY1328" fmla="*/ 1062034 h 1153700"/>
                    <a:gd name="connsiteX1329" fmla="*/ 411196 w 774525"/>
                    <a:gd name="connsiteY1329" fmla="*/ 1082300 h 1153700"/>
                    <a:gd name="connsiteX1330" fmla="*/ 408719 w 774525"/>
                    <a:gd name="connsiteY1330" fmla="*/ 1085773 h 1153700"/>
                    <a:gd name="connsiteX1331" fmla="*/ 406363 w 774525"/>
                    <a:gd name="connsiteY1331" fmla="*/ 1087267 h 1153700"/>
                    <a:gd name="connsiteX1332" fmla="*/ 405453 w 774525"/>
                    <a:gd name="connsiteY1332" fmla="*/ 1087607 h 1153700"/>
                    <a:gd name="connsiteX1333" fmla="*/ 404530 w 774525"/>
                    <a:gd name="connsiteY1333" fmla="*/ 1087947 h 1153700"/>
                    <a:gd name="connsiteX1334" fmla="*/ 397244 w 774525"/>
                    <a:gd name="connsiteY1334" fmla="*/ 1093168 h 1153700"/>
                    <a:gd name="connsiteX1335" fmla="*/ 395920 w 774525"/>
                    <a:gd name="connsiteY1335" fmla="*/ 1093581 h 1153700"/>
                    <a:gd name="connsiteX1336" fmla="*/ 395398 w 774525"/>
                    <a:gd name="connsiteY1336" fmla="*/ 1093945 h 1153700"/>
                    <a:gd name="connsiteX1337" fmla="*/ 395143 w 774525"/>
                    <a:gd name="connsiteY1337" fmla="*/ 1094370 h 1153700"/>
                    <a:gd name="connsiteX1338" fmla="*/ 394718 w 774525"/>
                    <a:gd name="connsiteY1338" fmla="*/ 1095038 h 1153700"/>
                    <a:gd name="connsiteX1339" fmla="*/ 394548 w 774525"/>
                    <a:gd name="connsiteY1339" fmla="*/ 1097139 h 1153700"/>
                    <a:gd name="connsiteX1340" fmla="*/ 394220 w 774525"/>
                    <a:gd name="connsiteY1340" fmla="*/ 1098001 h 1153700"/>
                    <a:gd name="connsiteX1341" fmla="*/ 389375 w 774525"/>
                    <a:gd name="connsiteY1341" fmla="*/ 1102615 h 1153700"/>
                    <a:gd name="connsiteX1342" fmla="*/ 386279 w 774525"/>
                    <a:gd name="connsiteY1342" fmla="*/ 1104728 h 1153700"/>
                    <a:gd name="connsiteX1343" fmla="*/ 383183 w 774525"/>
                    <a:gd name="connsiteY1343" fmla="*/ 1106841 h 1153700"/>
                    <a:gd name="connsiteX1344" fmla="*/ 368477 w 774525"/>
                    <a:gd name="connsiteY1344" fmla="*/ 1114224 h 1153700"/>
                    <a:gd name="connsiteX1345" fmla="*/ 358727 w 774525"/>
                    <a:gd name="connsiteY1345" fmla="*/ 1121340 h 1153700"/>
                    <a:gd name="connsiteX1346" fmla="*/ 354975 w 774525"/>
                    <a:gd name="connsiteY1346" fmla="*/ 1122396 h 1153700"/>
                    <a:gd name="connsiteX1347" fmla="*/ 351076 w 774525"/>
                    <a:gd name="connsiteY1347" fmla="*/ 1122214 h 1153700"/>
                    <a:gd name="connsiteX1348" fmla="*/ 347191 w 774525"/>
                    <a:gd name="connsiteY1348" fmla="*/ 1122020 h 1153700"/>
                    <a:gd name="connsiteX1349" fmla="*/ 347179 w 774525"/>
                    <a:gd name="connsiteY1349" fmla="*/ 1122020 h 1153700"/>
                    <a:gd name="connsiteX1350" fmla="*/ 343269 w 774525"/>
                    <a:gd name="connsiteY1350" fmla="*/ 1122299 h 1153700"/>
                    <a:gd name="connsiteX1351" fmla="*/ 316299 w 774525"/>
                    <a:gd name="connsiteY1351" fmla="*/ 1129573 h 1153700"/>
                    <a:gd name="connsiteX1352" fmla="*/ 314563 w 774525"/>
                    <a:gd name="connsiteY1352" fmla="*/ 1126331 h 1153700"/>
                    <a:gd name="connsiteX1353" fmla="*/ 308601 w 774525"/>
                    <a:gd name="connsiteY1353" fmla="*/ 1117369 h 1153700"/>
                    <a:gd name="connsiteX1354" fmla="*/ 307556 w 774525"/>
                    <a:gd name="connsiteY1354" fmla="*/ 1114698 h 1153700"/>
                    <a:gd name="connsiteX1355" fmla="*/ 306986 w 774525"/>
                    <a:gd name="connsiteY1355" fmla="*/ 1111880 h 1153700"/>
                    <a:gd name="connsiteX1356" fmla="*/ 306925 w 774525"/>
                    <a:gd name="connsiteY1356" fmla="*/ 1109015 h 1153700"/>
                    <a:gd name="connsiteX1357" fmla="*/ 307617 w 774525"/>
                    <a:gd name="connsiteY1357" fmla="*/ 1103477 h 1153700"/>
                    <a:gd name="connsiteX1358" fmla="*/ 307678 w 774525"/>
                    <a:gd name="connsiteY1358" fmla="*/ 1100490 h 1153700"/>
                    <a:gd name="connsiteX1359" fmla="*/ 306354 w 774525"/>
                    <a:gd name="connsiteY1359" fmla="*/ 1097904 h 1153700"/>
                    <a:gd name="connsiteX1360" fmla="*/ 303379 w 774525"/>
                    <a:gd name="connsiteY1360" fmla="*/ 1095657 h 1153700"/>
                    <a:gd name="connsiteX1361" fmla="*/ 278340 w 774525"/>
                    <a:gd name="connsiteY1361" fmla="*/ 1090181 h 1153700"/>
                    <a:gd name="connsiteX1362" fmla="*/ 274030 w 774525"/>
                    <a:gd name="connsiteY1362" fmla="*/ 1088602 h 1153700"/>
                    <a:gd name="connsiteX1363" fmla="*/ 271686 w 774525"/>
                    <a:gd name="connsiteY1363" fmla="*/ 1086526 h 1153700"/>
                    <a:gd name="connsiteX1364" fmla="*/ 270193 w 774525"/>
                    <a:gd name="connsiteY1364" fmla="*/ 1083490 h 1153700"/>
                    <a:gd name="connsiteX1365" fmla="*/ 269039 w 774525"/>
                    <a:gd name="connsiteY1365" fmla="*/ 1080442 h 1153700"/>
                    <a:gd name="connsiteX1366" fmla="*/ 267946 w 774525"/>
                    <a:gd name="connsiteY1366" fmla="*/ 1076229 h 1153700"/>
                    <a:gd name="connsiteX1367" fmla="*/ 267035 w 774525"/>
                    <a:gd name="connsiteY1367" fmla="*/ 1068518 h 1153700"/>
                    <a:gd name="connsiteX1368" fmla="*/ 265542 w 774525"/>
                    <a:gd name="connsiteY1368" fmla="*/ 1065106 h 1153700"/>
                    <a:gd name="connsiteX1369" fmla="*/ 262494 w 774525"/>
                    <a:gd name="connsiteY1369" fmla="*/ 1062216 h 1153700"/>
                    <a:gd name="connsiteX1370" fmla="*/ 255888 w 774525"/>
                    <a:gd name="connsiteY1370" fmla="*/ 1059083 h 1153700"/>
                    <a:gd name="connsiteX1371" fmla="*/ 252391 w 774525"/>
                    <a:gd name="connsiteY1371" fmla="*/ 1058075 h 1153700"/>
                    <a:gd name="connsiteX1372" fmla="*/ 249404 w 774525"/>
                    <a:gd name="connsiteY1372" fmla="*/ 1058136 h 1153700"/>
                    <a:gd name="connsiteX1373" fmla="*/ 247910 w 774525"/>
                    <a:gd name="connsiteY1373" fmla="*/ 1059229 h 1153700"/>
                    <a:gd name="connsiteX1374" fmla="*/ 246708 w 774525"/>
                    <a:gd name="connsiteY1374" fmla="*/ 1061123 h 1153700"/>
                    <a:gd name="connsiteX1375" fmla="*/ 245664 w 774525"/>
                    <a:gd name="connsiteY1375" fmla="*/ 1063187 h 1153700"/>
                    <a:gd name="connsiteX1376" fmla="*/ 244401 w 774525"/>
                    <a:gd name="connsiteY1376" fmla="*/ 1064960 h 1153700"/>
                    <a:gd name="connsiteX1377" fmla="*/ 242725 w 774525"/>
                    <a:gd name="connsiteY1377" fmla="*/ 1066053 h 1153700"/>
                    <a:gd name="connsiteX1378" fmla="*/ 240989 w 774525"/>
                    <a:gd name="connsiteY1378" fmla="*/ 1066806 h 1153700"/>
                    <a:gd name="connsiteX1379" fmla="*/ 239689 w 774525"/>
                    <a:gd name="connsiteY1379" fmla="*/ 1067838 h 1153700"/>
                    <a:gd name="connsiteX1380" fmla="*/ 238645 w 774525"/>
                    <a:gd name="connsiteY1380" fmla="*/ 1069708 h 1153700"/>
                    <a:gd name="connsiteX1381" fmla="*/ 237856 w 774525"/>
                    <a:gd name="connsiteY1381" fmla="*/ 1071857 h 1153700"/>
                    <a:gd name="connsiteX1382" fmla="*/ 235719 w 774525"/>
                    <a:gd name="connsiteY1382" fmla="*/ 1072829 h 1153700"/>
                    <a:gd name="connsiteX1383" fmla="*/ 232622 w 774525"/>
                    <a:gd name="connsiteY1383" fmla="*/ 1071687 h 1153700"/>
                    <a:gd name="connsiteX1384" fmla="*/ 227692 w 774525"/>
                    <a:gd name="connsiteY1384" fmla="*/ 1065992 h 1153700"/>
                    <a:gd name="connsiteX1385" fmla="*/ 225956 w 774525"/>
                    <a:gd name="connsiteY1385" fmla="*/ 1062034 h 1153700"/>
                    <a:gd name="connsiteX1386" fmla="*/ 225567 w 774525"/>
                    <a:gd name="connsiteY1386" fmla="*/ 1059034 h 1153700"/>
                    <a:gd name="connsiteX1387" fmla="*/ 227632 w 774525"/>
                    <a:gd name="connsiteY1387" fmla="*/ 1053606 h 1153700"/>
                    <a:gd name="connsiteX1388" fmla="*/ 227801 w 774525"/>
                    <a:gd name="connsiteY1388" fmla="*/ 1052659 h 1153700"/>
                    <a:gd name="connsiteX1389" fmla="*/ 227801 w 774525"/>
                    <a:gd name="connsiteY1389" fmla="*/ 1050850 h 1153700"/>
                    <a:gd name="connsiteX1390" fmla="*/ 227632 w 774525"/>
                    <a:gd name="connsiteY1390" fmla="*/ 1048567 h 1153700"/>
                    <a:gd name="connsiteX1391" fmla="*/ 226939 w 774525"/>
                    <a:gd name="connsiteY1391" fmla="*/ 1044718 h 1153700"/>
                    <a:gd name="connsiteX1392" fmla="*/ 226599 w 774525"/>
                    <a:gd name="connsiteY1392" fmla="*/ 1043795 h 1153700"/>
                    <a:gd name="connsiteX1393" fmla="*/ 226017 w 774525"/>
                    <a:gd name="connsiteY1393" fmla="*/ 1042702 h 1153700"/>
                    <a:gd name="connsiteX1394" fmla="*/ 224341 w 774525"/>
                    <a:gd name="connsiteY1394" fmla="*/ 1040516 h 1153700"/>
                    <a:gd name="connsiteX1395" fmla="*/ 221366 w 774525"/>
                    <a:gd name="connsiteY1395" fmla="*/ 1037966 h 1153700"/>
                    <a:gd name="connsiteX1396" fmla="*/ 216181 w 774525"/>
                    <a:gd name="connsiteY1396" fmla="*/ 1034639 h 1153700"/>
                    <a:gd name="connsiteX1397" fmla="*/ 206588 w 774525"/>
                    <a:gd name="connsiteY1397" fmla="*/ 1030680 h 1153700"/>
                    <a:gd name="connsiteX1398" fmla="*/ 203552 w 774525"/>
                    <a:gd name="connsiteY1398" fmla="*/ 1030049 h 1153700"/>
                    <a:gd name="connsiteX1399" fmla="*/ 200759 w 774525"/>
                    <a:gd name="connsiteY1399" fmla="*/ 1029903 h 1153700"/>
                    <a:gd name="connsiteX1400" fmla="*/ 198282 w 774525"/>
                    <a:gd name="connsiteY1400" fmla="*/ 1030134 h 1153700"/>
                    <a:gd name="connsiteX1401" fmla="*/ 195586 w 774525"/>
                    <a:gd name="connsiteY1401" fmla="*/ 1029648 h 1153700"/>
                    <a:gd name="connsiteX1402" fmla="*/ 185750 w 774525"/>
                    <a:gd name="connsiteY1402" fmla="*/ 1023079 h 1153700"/>
                    <a:gd name="connsiteX1403" fmla="*/ 182957 w 774525"/>
                    <a:gd name="connsiteY1403" fmla="*/ 1020602 h 1153700"/>
                    <a:gd name="connsiteX1404" fmla="*/ 179667 w 774525"/>
                    <a:gd name="connsiteY1404" fmla="*/ 1019315 h 1153700"/>
                    <a:gd name="connsiteX1405" fmla="*/ 176449 w 774525"/>
                    <a:gd name="connsiteY1405" fmla="*/ 1018574 h 1153700"/>
                    <a:gd name="connsiteX1406" fmla="*/ 173353 w 774525"/>
                    <a:gd name="connsiteY1406" fmla="*/ 1017493 h 1153700"/>
                    <a:gd name="connsiteX1407" fmla="*/ 171337 w 774525"/>
                    <a:gd name="connsiteY1407" fmla="*/ 1016473 h 1153700"/>
                    <a:gd name="connsiteX1408" fmla="*/ 167961 w 774525"/>
                    <a:gd name="connsiteY1408" fmla="*/ 1010693 h 1153700"/>
                    <a:gd name="connsiteX1409" fmla="*/ 169212 w 774525"/>
                    <a:gd name="connsiteY1409" fmla="*/ 1009455 h 1153700"/>
                    <a:gd name="connsiteX1410" fmla="*/ 171689 w 774525"/>
                    <a:gd name="connsiteY1410" fmla="*/ 1007718 h 1153700"/>
                    <a:gd name="connsiteX1411" fmla="*/ 174968 w 774525"/>
                    <a:gd name="connsiteY1411" fmla="*/ 1005921 h 1153700"/>
                    <a:gd name="connsiteX1412" fmla="*/ 175830 w 774525"/>
                    <a:gd name="connsiteY1412" fmla="*/ 1005095 h 1153700"/>
                    <a:gd name="connsiteX1413" fmla="*/ 176789 w 774525"/>
                    <a:gd name="connsiteY1413" fmla="*/ 1005035 h 1153700"/>
                    <a:gd name="connsiteX1414" fmla="*/ 179970 w 774525"/>
                    <a:gd name="connsiteY1414" fmla="*/ 1006273 h 1153700"/>
                    <a:gd name="connsiteX1415" fmla="*/ 182096 w 774525"/>
                    <a:gd name="connsiteY1415" fmla="*/ 1006237 h 1153700"/>
                    <a:gd name="connsiteX1416" fmla="*/ 183067 w 774525"/>
                    <a:gd name="connsiteY1416" fmla="*/ 1005035 h 1153700"/>
                    <a:gd name="connsiteX1417" fmla="*/ 183468 w 774525"/>
                    <a:gd name="connsiteY1417" fmla="*/ 1002934 h 1153700"/>
                    <a:gd name="connsiteX1418" fmla="*/ 183188 w 774525"/>
                    <a:gd name="connsiteY1418" fmla="*/ 999012 h 1153700"/>
                    <a:gd name="connsiteX1419" fmla="*/ 184038 w 774525"/>
                    <a:gd name="connsiteY1419" fmla="*/ 997712 h 1153700"/>
                    <a:gd name="connsiteX1420" fmla="*/ 185532 w 774525"/>
                    <a:gd name="connsiteY1420" fmla="*/ 997166 h 1153700"/>
                    <a:gd name="connsiteX1421" fmla="*/ 188397 w 774525"/>
                    <a:gd name="connsiteY1421" fmla="*/ 997457 h 1153700"/>
                    <a:gd name="connsiteX1422" fmla="*/ 195586 w 774525"/>
                    <a:gd name="connsiteY1422" fmla="*/ 996850 h 1153700"/>
                    <a:gd name="connsiteX1423" fmla="*/ 198500 w 774525"/>
                    <a:gd name="connsiteY1423" fmla="*/ 995648 h 1153700"/>
                    <a:gd name="connsiteX1424" fmla="*/ 199071 w 774525"/>
                    <a:gd name="connsiteY1424" fmla="*/ 994155 h 1153700"/>
                    <a:gd name="connsiteX1425" fmla="*/ 198282 w 774525"/>
                    <a:gd name="connsiteY1425" fmla="*/ 992540 h 1153700"/>
                    <a:gd name="connsiteX1426" fmla="*/ 195064 w 774525"/>
                    <a:gd name="connsiteY1426" fmla="*/ 989480 h 1153700"/>
                    <a:gd name="connsiteX1427" fmla="*/ 192356 w 774525"/>
                    <a:gd name="connsiteY1427" fmla="*/ 987379 h 1153700"/>
                    <a:gd name="connsiteX1428" fmla="*/ 189831 w 774525"/>
                    <a:gd name="connsiteY1428" fmla="*/ 985023 h 1153700"/>
                    <a:gd name="connsiteX1429" fmla="*/ 188798 w 774525"/>
                    <a:gd name="connsiteY1429" fmla="*/ 981660 h 1153700"/>
                    <a:gd name="connsiteX1430" fmla="*/ 188446 w 774525"/>
                    <a:gd name="connsiteY1430" fmla="*/ 975090 h 1153700"/>
                    <a:gd name="connsiteX1431" fmla="*/ 187305 w 774525"/>
                    <a:gd name="connsiteY1431" fmla="*/ 971763 h 1153700"/>
                    <a:gd name="connsiteX1432" fmla="*/ 184317 w 774525"/>
                    <a:gd name="connsiteY1432" fmla="*/ 968460 h 1153700"/>
                    <a:gd name="connsiteX1433" fmla="*/ 181913 w 774525"/>
                    <a:gd name="connsiteY1433" fmla="*/ 966712 h 1153700"/>
                    <a:gd name="connsiteX1434" fmla="*/ 176060 w 774525"/>
                    <a:gd name="connsiteY1434" fmla="*/ 963785 h 1153700"/>
                    <a:gd name="connsiteX1435" fmla="*/ 174797 w 774525"/>
                    <a:gd name="connsiteY1435" fmla="*/ 962632 h 1153700"/>
                    <a:gd name="connsiteX1436" fmla="*/ 173899 w 774525"/>
                    <a:gd name="connsiteY1436" fmla="*/ 961162 h 1153700"/>
                    <a:gd name="connsiteX1437" fmla="*/ 173037 w 774525"/>
                    <a:gd name="connsiteY1437" fmla="*/ 958491 h 1153700"/>
                    <a:gd name="connsiteX1438" fmla="*/ 172782 w 774525"/>
                    <a:gd name="connsiteY1438" fmla="*/ 956548 h 1153700"/>
                    <a:gd name="connsiteX1439" fmla="*/ 172733 w 774525"/>
                    <a:gd name="connsiteY1439" fmla="*/ 955479 h 1153700"/>
                    <a:gd name="connsiteX1440" fmla="*/ 172782 w 774525"/>
                    <a:gd name="connsiteY1440" fmla="*/ 955164 h 1153700"/>
                    <a:gd name="connsiteX1441" fmla="*/ 172855 w 774525"/>
                    <a:gd name="connsiteY1441" fmla="*/ 954969 h 1153700"/>
                    <a:gd name="connsiteX1442" fmla="*/ 173037 w 774525"/>
                    <a:gd name="connsiteY1442" fmla="*/ 954702 h 1153700"/>
                    <a:gd name="connsiteX1443" fmla="*/ 173547 w 774525"/>
                    <a:gd name="connsiteY1443" fmla="*/ 954010 h 1153700"/>
                    <a:gd name="connsiteX1444" fmla="*/ 174591 w 774525"/>
                    <a:gd name="connsiteY1444" fmla="*/ 953961 h 1153700"/>
                    <a:gd name="connsiteX1445" fmla="*/ 178246 w 774525"/>
                    <a:gd name="connsiteY1445" fmla="*/ 954653 h 1153700"/>
                    <a:gd name="connsiteX1446" fmla="*/ 180043 w 774525"/>
                    <a:gd name="connsiteY1446" fmla="*/ 954593 h 1153700"/>
                    <a:gd name="connsiteX1447" fmla="*/ 181185 w 774525"/>
                    <a:gd name="connsiteY1447" fmla="*/ 953961 h 1153700"/>
                    <a:gd name="connsiteX1448" fmla="*/ 181646 w 774525"/>
                    <a:gd name="connsiteY1448" fmla="*/ 952723 h 1153700"/>
                    <a:gd name="connsiteX1449" fmla="*/ 181537 w 774525"/>
                    <a:gd name="connsiteY1449" fmla="*/ 951436 h 1153700"/>
                    <a:gd name="connsiteX1450" fmla="*/ 181185 w 774525"/>
                    <a:gd name="connsiteY1450" fmla="*/ 949906 h 1153700"/>
                    <a:gd name="connsiteX1451" fmla="*/ 179740 w 774525"/>
                    <a:gd name="connsiteY1451" fmla="*/ 946287 h 1153700"/>
                    <a:gd name="connsiteX1452" fmla="*/ 177967 w 774525"/>
                    <a:gd name="connsiteY1452" fmla="*/ 943628 h 1153700"/>
                    <a:gd name="connsiteX1453" fmla="*/ 175441 w 774525"/>
                    <a:gd name="connsiteY1453" fmla="*/ 941017 h 1153700"/>
                    <a:gd name="connsiteX1454" fmla="*/ 170912 w 774525"/>
                    <a:gd name="connsiteY1454" fmla="*/ 938164 h 1153700"/>
                    <a:gd name="connsiteX1455" fmla="*/ 167755 w 774525"/>
                    <a:gd name="connsiteY1455" fmla="*/ 937216 h 1153700"/>
                    <a:gd name="connsiteX1456" fmla="*/ 159121 w 774525"/>
                    <a:gd name="connsiteY1456" fmla="*/ 937083 h 1153700"/>
                    <a:gd name="connsiteX1457" fmla="*/ 156425 w 774525"/>
                    <a:gd name="connsiteY1457" fmla="*/ 936245 h 1153700"/>
                    <a:gd name="connsiteX1458" fmla="*/ 153851 w 774525"/>
                    <a:gd name="connsiteY1458" fmla="*/ 934557 h 1153700"/>
                    <a:gd name="connsiteX1459" fmla="*/ 151945 w 774525"/>
                    <a:gd name="connsiteY1459" fmla="*/ 931655 h 1153700"/>
                    <a:gd name="connsiteX1460" fmla="*/ 150694 w 774525"/>
                    <a:gd name="connsiteY1460" fmla="*/ 928983 h 1153700"/>
                    <a:gd name="connsiteX1461" fmla="*/ 149249 w 774525"/>
                    <a:gd name="connsiteY1461" fmla="*/ 919476 h 1153700"/>
                    <a:gd name="connsiteX1462" fmla="*/ 137531 w 774525"/>
                    <a:gd name="connsiteY1462" fmla="*/ 909858 h 1153700"/>
                    <a:gd name="connsiteX1463" fmla="*/ 132710 w 774525"/>
                    <a:gd name="connsiteY1463" fmla="*/ 907138 h 1153700"/>
                    <a:gd name="connsiteX1464" fmla="*/ 131217 w 774525"/>
                    <a:gd name="connsiteY1464" fmla="*/ 906968 h 1153700"/>
                    <a:gd name="connsiteX1465" fmla="*/ 129662 w 774525"/>
                    <a:gd name="connsiteY1465" fmla="*/ 907272 h 1153700"/>
                    <a:gd name="connsiteX1466" fmla="*/ 127270 w 774525"/>
                    <a:gd name="connsiteY1466" fmla="*/ 907211 h 1153700"/>
                    <a:gd name="connsiteX1467" fmla="*/ 124040 w 774525"/>
                    <a:gd name="connsiteY1467" fmla="*/ 906701 h 1153700"/>
                    <a:gd name="connsiteX1468" fmla="*/ 114046 w 774525"/>
                    <a:gd name="connsiteY1468" fmla="*/ 898893 h 1153700"/>
                    <a:gd name="connsiteX1469" fmla="*/ 113257 w 774525"/>
                    <a:gd name="connsiteY1469" fmla="*/ 896052 h 1153700"/>
                    <a:gd name="connsiteX1470" fmla="*/ 113379 w 774525"/>
                    <a:gd name="connsiteY1470" fmla="*/ 893405 h 1153700"/>
                    <a:gd name="connsiteX1471" fmla="*/ 114228 w 774525"/>
                    <a:gd name="connsiteY1471" fmla="*/ 888159 h 1153700"/>
                    <a:gd name="connsiteX1472" fmla="*/ 114350 w 774525"/>
                    <a:gd name="connsiteY1472" fmla="*/ 883472 h 1153700"/>
                    <a:gd name="connsiteX1473" fmla="*/ 114569 w 774525"/>
                    <a:gd name="connsiteY1473" fmla="*/ 881517 h 1153700"/>
                    <a:gd name="connsiteX1474" fmla="*/ 116366 w 774525"/>
                    <a:gd name="connsiteY1474" fmla="*/ 877182 h 1153700"/>
                    <a:gd name="connsiteX1475" fmla="*/ 116985 w 774525"/>
                    <a:gd name="connsiteY1475" fmla="*/ 875008 h 1153700"/>
                    <a:gd name="connsiteX1476" fmla="*/ 116815 w 774525"/>
                    <a:gd name="connsiteY1476" fmla="*/ 873114 h 1153700"/>
                    <a:gd name="connsiteX1477" fmla="*/ 116123 w 774525"/>
                    <a:gd name="connsiteY1477" fmla="*/ 870989 h 1153700"/>
                    <a:gd name="connsiteX1478" fmla="*/ 116184 w 774525"/>
                    <a:gd name="connsiteY1478" fmla="*/ 869082 h 1153700"/>
                    <a:gd name="connsiteX1479" fmla="*/ 116973 w 774525"/>
                    <a:gd name="connsiteY1479" fmla="*/ 867564 h 1153700"/>
                    <a:gd name="connsiteX1480" fmla="*/ 121976 w 774525"/>
                    <a:gd name="connsiteY1480" fmla="*/ 863521 h 1153700"/>
                    <a:gd name="connsiteX1481" fmla="*/ 124089 w 774525"/>
                    <a:gd name="connsiteY1481" fmla="*/ 862549 h 1153700"/>
                    <a:gd name="connsiteX1482" fmla="*/ 126809 w 774525"/>
                    <a:gd name="connsiteY1482" fmla="*/ 861857 h 1153700"/>
                    <a:gd name="connsiteX1483" fmla="*/ 129796 w 774525"/>
                    <a:gd name="connsiteY1483" fmla="*/ 861505 h 1153700"/>
                    <a:gd name="connsiteX1484" fmla="*/ 132079 w 774525"/>
                    <a:gd name="connsiteY1484" fmla="*/ 860971 h 1153700"/>
                    <a:gd name="connsiteX1485" fmla="*/ 133160 w 774525"/>
                    <a:gd name="connsiteY1485" fmla="*/ 860497 h 1153700"/>
                    <a:gd name="connsiteX1486" fmla="*/ 134034 w 774525"/>
                    <a:gd name="connsiteY1486" fmla="*/ 859562 h 1153700"/>
                    <a:gd name="connsiteX1487" fmla="*/ 134155 w 774525"/>
                    <a:gd name="connsiteY1487" fmla="*/ 858688 h 1153700"/>
                    <a:gd name="connsiteX1488" fmla="*/ 133524 w 774525"/>
                    <a:gd name="connsiteY1488" fmla="*/ 857972 h 1153700"/>
                    <a:gd name="connsiteX1489" fmla="*/ 132030 w 774525"/>
                    <a:gd name="connsiteY1489" fmla="*/ 857413 h 1153700"/>
                    <a:gd name="connsiteX1490" fmla="*/ 128800 w 774525"/>
                    <a:gd name="connsiteY1490" fmla="*/ 857292 h 1153700"/>
                    <a:gd name="connsiteX1491" fmla="*/ 127027 w 774525"/>
                    <a:gd name="connsiteY1491" fmla="*/ 856721 h 1153700"/>
                    <a:gd name="connsiteX1492" fmla="*/ 126213 w 774525"/>
                    <a:gd name="connsiteY1492" fmla="*/ 856539 h 1153700"/>
                    <a:gd name="connsiteX1493" fmla="*/ 125995 w 774525"/>
                    <a:gd name="connsiteY1493" fmla="*/ 856344 h 1153700"/>
                    <a:gd name="connsiteX1494" fmla="*/ 125874 w 774525"/>
                    <a:gd name="connsiteY1494" fmla="*/ 856235 h 1153700"/>
                    <a:gd name="connsiteX1495" fmla="*/ 125303 w 774525"/>
                    <a:gd name="connsiteY1495" fmla="*/ 855883 h 1153700"/>
                    <a:gd name="connsiteX1496" fmla="*/ 123700 w 774525"/>
                    <a:gd name="connsiteY1496" fmla="*/ 855567 h 1153700"/>
                    <a:gd name="connsiteX1497" fmla="*/ 98091 w 774525"/>
                    <a:gd name="connsiteY1497" fmla="*/ 854705 h 1153700"/>
                    <a:gd name="connsiteX1498" fmla="*/ 88036 w 774525"/>
                    <a:gd name="connsiteY1498" fmla="*/ 852495 h 1153700"/>
                    <a:gd name="connsiteX1499" fmla="*/ 80046 w 774525"/>
                    <a:gd name="connsiteY1499" fmla="*/ 852471 h 1153700"/>
                    <a:gd name="connsiteX1500" fmla="*/ 78103 w 774525"/>
                    <a:gd name="connsiteY1500" fmla="*/ 853673 h 1153700"/>
                    <a:gd name="connsiteX1501" fmla="*/ 75347 w 774525"/>
                    <a:gd name="connsiteY1501" fmla="*/ 854875 h 1153700"/>
                    <a:gd name="connsiteX1502" fmla="*/ 72590 w 774525"/>
                    <a:gd name="connsiteY1502" fmla="*/ 855276 h 1153700"/>
                    <a:gd name="connsiteX1503" fmla="*/ 69834 w 774525"/>
                    <a:gd name="connsiteY1503" fmla="*/ 854219 h 1153700"/>
                    <a:gd name="connsiteX1504" fmla="*/ 65912 w 774525"/>
                    <a:gd name="connsiteY1504" fmla="*/ 850831 h 1153700"/>
                    <a:gd name="connsiteX1505" fmla="*/ 42949 w 774525"/>
                    <a:gd name="connsiteY1505" fmla="*/ 826230 h 1153700"/>
                    <a:gd name="connsiteX1506" fmla="*/ 39501 w 774525"/>
                    <a:gd name="connsiteY1506" fmla="*/ 823753 h 1153700"/>
                    <a:gd name="connsiteX1507" fmla="*/ 35882 w 774525"/>
                    <a:gd name="connsiteY1507" fmla="*/ 821773 h 1153700"/>
                    <a:gd name="connsiteX1508" fmla="*/ 31632 w 774525"/>
                    <a:gd name="connsiteY1508" fmla="*/ 820972 h 1153700"/>
                    <a:gd name="connsiteX1509" fmla="*/ 28354 w 774525"/>
                    <a:gd name="connsiteY1509" fmla="*/ 820741 h 1153700"/>
                    <a:gd name="connsiteX1510" fmla="*/ 20425 w 774525"/>
                    <a:gd name="connsiteY1510" fmla="*/ 823498 h 1153700"/>
                    <a:gd name="connsiteX1511" fmla="*/ 18251 w 774525"/>
                    <a:gd name="connsiteY1511" fmla="*/ 824153 h 1153700"/>
                    <a:gd name="connsiteX1512" fmla="*/ 17668 w 774525"/>
                    <a:gd name="connsiteY1512" fmla="*/ 823498 h 1153700"/>
                    <a:gd name="connsiteX1513" fmla="*/ 16697 w 774525"/>
                    <a:gd name="connsiteY1513" fmla="*/ 821397 h 1153700"/>
                    <a:gd name="connsiteX1514" fmla="*/ 16284 w 774525"/>
                    <a:gd name="connsiteY1514" fmla="*/ 819078 h 1153700"/>
                    <a:gd name="connsiteX1515" fmla="*/ 14984 w 774525"/>
                    <a:gd name="connsiteY1515" fmla="*/ 814743 h 1153700"/>
                    <a:gd name="connsiteX1516" fmla="*/ 9010 w 774525"/>
                    <a:gd name="connsiteY1516" fmla="*/ 808793 h 1153700"/>
                    <a:gd name="connsiteX1517" fmla="*/ 7225 w 774525"/>
                    <a:gd name="connsiteY1517" fmla="*/ 804810 h 1153700"/>
                    <a:gd name="connsiteX1518" fmla="*/ 7808 w 774525"/>
                    <a:gd name="connsiteY1518" fmla="*/ 800414 h 1153700"/>
                    <a:gd name="connsiteX1519" fmla="*/ 9945 w 774525"/>
                    <a:gd name="connsiteY1519" fmla="*/ 795678 h 1153700"/>
                    <a:gd name="connsiteX1520" fmla="*/ 12798 w 774525"/>
                    <a:gd name="connsiteY1520" fmla="*/ 791258 h 1153700"/>
                    <a:gd name="connsiteX1521" fmla="*/ 15676 w 774525"/>
                    <a:gd name="connsiteY1521" fmla="*/ 787810 h 1153700"/>
                    <a:gd name="connsiteX1522" fmla="*/ 16757 w 774525"/>
                    <a:gd name="connsiteY1522" fmla="*/ 785915 h 1153700"/>
                    <a:gd name="connsiteX1523" fmla="*/ 17279 w 774525"/>
                    <a:gd name="connsiteY1523" fmla="*/ 783620 h 1153700"/>
                    <a:gd name="connsiteX1524" fmla="*/ 17631 w 774525"/>
                    <a:gd name="connsiteY1524" fmla="*/ 779018 h 1153700"/>
                    <a:gd name="connsiteX1525" fmla="*/ 18372 w 774525"/>
                    <a:gd name="connsiteY1525" fmla="*/ 776759 h 1153700"/>
                    <a:gd name="connsiteX1526" fmla="*/ 19344 w 774525"/>
                    <a:gd name="connsiteY1526" fmla="*/ 775327 h 1153700"/>
                    <a:gd name="connsiteX1527" fmla="*/ 19465 w 774525"/>
                    <a:gd name="connsiteY1527" fmla="*/ 774003 h 1153700"/>
                    <a:gd name="connsiteX1528" fmla="*/ 17644 w 774525"/>
                    <a:gd name="connsiteY1528" fmla="*/ 772133 h 1153700"/>
                    <a:gd name="connsiteX1529" fmla="*/ 16369 w 774525"/>
                    <a:gd name="connsiteY1529" fmla="*/ 771708 h 1153700"/>
                    <a:gd name="connsiteX1530" fmla="*/ 10528 w 774525"/>
                    <a:gd name="connsiteY1530" fmla="*/ 772133 h 1153700"/>
                    <a:gd name="connsiteX1531" fmla="*/ 9435 w 774525"/>
                    <a:gd name="connsiteY1531" fmla="*/ 771295 h 1153700"/>
                    <a:gd name="connsiteX1532" fmla="*/ 8634 w 774525"/>
                    <a:gd name="connsiteY1532" fmla="*/ 769498 h 1153700"/>
                    <a:gd name="connsiteX1533" fmla="*/ 7431 w 774525"/>
                    <a:gd name="connsiteY1533" fmla="*/ 767689 h 1153700"/>
                    <a:gd name="connsiteX1534" fmla="*/ 5998 w 774525"/>
                    <a:gd name="connsiteY1534" fmla="*/ 766596 h 1153700"/>
                    <a:gd name="connsiteX1535" fmla="*/ 5877 w 774525"/>
                    <a:gd name="connsiteY1535" fmla="*/ 763354 h 1153700"/>
                    <a:gd name="connsiteX1536" fmla="*/ 6448 w 774525"/>
                    <a:gd name="connsiteY1536" fmla="*/ 761544 h 1153700"/>
                    <a:gd name="connsiteX1537" fmla="*/ 7091 w 774525"/>
                    <a:gd name="connsiteY1537" fmla="*/ 760816 h 1153700"/>
                    <a:gd name="connsiteX1538" fmla="*/ 10929 w 774525"/>
                    <a:gd name="connsiteY1538" fmla="*/ 758812 h 1153700"/>
                    <a:gd name="connsiteX1539" fmla="*/ 20959 w 774525"/>
                    <a:gd name="connsiteY1539" fmla="*/ 756918 h 1153700"/>
                    <a:gd name="connsiteX1540" fmla="*/ 24006 w 774525"/>
                    <a:gd name="connsiteY1540" fmla="*/ 757088 h 1153700"/>
                    <a:gd name="connsiteX1541" fmla="*/ 28378 w 774525"/>
                    <a:gd name="connsiteY1541" fmla="*/ 756894 h 1153700"/>
                    <a:gd name="connsiteX1542" fmla="*/ 38493 w 774525"/>
                    <a:gd name="connsiteY1542" fmla="*/ 755169 h 1153700"/>
                    <a:gd name="connsiteX1543" fmla="*/ 40084 w 774525"/>
                    <a:gd name="connsiteY1543" fmla="*/ 754647 h 1153700"/>
                    <a:gd name="connsiteX1544" fmla="*/ 41177 w 774525"/>
                    <a:gd name="connsiteY1544" fmla="*/ 753785 h 1153700"/>
                    <a:gd name="connsiteX1545" fmla="*/ 42160 w 774525"/>
                    <a:gd name="connsiteY1545" fmla="*/ 751636 h 1153700"/>
                    <a:gd name="connsiteX1546" fmla="*/ 41881 w 774525"/>
                    <a:gd name="connsiteY1546" fmla="*/ 749826 h 1153700"/>
                    <a:gd name="connsiteX1547" fmla="*/ 39477 w 774525"/>
                    <a:gd name="connsiteY1547" fmla="*/ 743099 h 1153700"/>
                    <a:gd name="connsiteX1548" fmla="*/ 39234 w 774525"/>
                    <a:gd name="connsiteY1548" fmla="*/ 741703 h 1153700"/>
                    <a:gd name="connsiteX1549" fmla="*/ 39562 w 774525"/>
                    <a:gd name="connsiteY1549" fmla="*/ 740501 h 1153700"/>
                    <a:gd name="connsiteX1550" fmla="*/ 40557 w 774525"/>
                    <a:gd name="connsiteY1550" fmla="*/ 738910 h 1153700"/>
                    <a:gd name="connsiteX1551" fmla="*/ 42099 w 774525"/>
                    <a:gd name="connsiteY1551" fmla="*/ 737271 h 1153700"/>
                    <a:gd name="connsiteX1552" fmla="*/ 43836 w 774525"/>
                    <a:gd name="connsiteY1552" fmla="*/ 736299 h 1153700"/>
                    <a:gd name="connsiteX1553" fmla="*/ 46532 w 774525"/>
                    <a:gd name="connsiteY1553" fmla="*/ 736214 h 1153700"/>
                    <a:gd name="connsiteX1554" fmla="*/ 49749 w 774525"/>
                    <a:gd name="connsiteY1554" fmla="*/ 737137 h 1153700"/>
                    <a:gd name="connsiteX1555" fmla="*/ 57618 w 774525"/>
                    <a:gd name="connsiteY1555" fmla="*/ 741837 h 1153700"/>
                    <a:gd name="connsiteX1556" fmla="*/ 63410 w 774525"/>
                    <a:gd name="connsiteY1556" fmla="*/ 741934 h 1153700"/>
                    <a:gd name="connsiteX1557" fmla="*/ 64443 w 774525"/>
                    <a:gd name="connsiteY1557" fmla="*/ 745771 h 1153700"/>
                    <a:gd name="connsiteX1558" fmla="*/ 62378 w 774525"/>
                    <a:gd name="connsiteY1558" fmla="*/ 754647 h 1153700"/>
                    <a:gd name="connsiteX1559" fmla="*/ 61989 w 774525"/>
                    <a:gd name="connsiteY1559" fmla="*/ 757282 h 1153700"/>
                    <a:gd name="connsiteX1560" fmla="*/ 62038 w 774525"/>
                    <a:gd name="connsiteY1560" fmla="*/ 757598 h 1153700"/>
                    <a:gd name="connsiteX1561" fmla="*/ 62160 w 774525"/>
                    <a:gd name="connsiteY1561" fmla="*/ 757999 h 1153700"/>
                    <a:gd name="connsiteX1562" fmla="*/ 62900 w 774525"/>
                    <a:gd name="connsiteY1562" fmla="*/ 758958 h 1153700"/>
                    <a:gd name="connsiteX1563" fmla="*/ 64345 w 774525"/>
                    <a:gd name="connsiteY1563" fmla="*/ 759784 h 1153700"/>
                    <a:gd name="connsiteX1564" fmla="*/ 67163 w 774525"/>
                    <a:gd name="connsiteY1564" fmla="*/ 760099 h 1153700"/>
                    <a:gd name="connsiteX1565" fmla="*/ 68765 w 774525"/>
                    <a:gd name="connsiteY1565" fmla="*/ 760646 h 1153700"/>
                    <a:gd name="connsiteX1566" fmla="*/ 73877 w 774525"/>
                    <a:gd name="connsiteY1566" fmla="*/ 762941 h 1153700"/>
                    <a:gd name="connsiteX1567" fmla="*/ 77448 w 774525"/>
                    <a:gd name="connsiteY1567" fmla="*/ 765127 h 1153700"/>
                    <a:gd name="connsiteX1568" fmla="*/ 79390 w 774525"/>
                    <a:gd name="connsiteY1568" fmla="*/ 767519 h 1153700"/>
                    <a:gd name="connsiteX1569" fmla="*/ 81977 w 774525"/>
                    <a:gd name="connsiteY1569" fmla="*/ 768685 h 1153700"/>
                    <a:gd name="connsiteX1570" fmla="*/ 84733 w 774525"/>
                    <a:gd name="connsiteY1570" fmla="*/ 768624 h 1153700"/>
                    <a:gd name="connsiteX1571" fmla="*/ 90428 w 774525"/>
                    <a:gd name="connsiteY1571" fmla="*/ 766620 h 1153700"/>
                    <a:gd name="connsiteX1572" fmla="*/ 95941 w 774525"/>
                    <a:gd name="connsiteY1572" fmla="*/ 761799 h 1153700"/>
                    <a:gd name="connsiteX1573" fmla="*/ 98066 w 774525"/>
                    <a:gd name="connsiteY1573" fmla="*/ 760512 h 1153700"/>
                    <a:gd name="connsiteX1574" fmla="*/ 99888 w 774525"/>
                    <a:gd name="connsiteY1574" fmla="*/ 758606 h 1153700"/>
                    <a:gd name="connsiteX1575" fmla="*/ 100750 w 774525"/>
                    <a:gd name="connsiteY1575" fmla="*/ 757889 h 1153700"/>
                    <a:gd name="connsiteX1576" fmla="*/ 101029 w 774525"/>
                    <a:gd name="connsiteY1576" fmla="*/ 757464 h 1153700"/>
                    <a:gd name="connsiteX1577" fmla="*/ 101211 w 774525"/>
                    <a:gd name="connsiteY1577" fmla="*/ 757343 h 1153700"/>
                    <a:gd name="connsiteX1578" fmla="*/ 101551 w 774525"/>
                    <a:gd name="connsiteY1578" fmla="*/ 756918 h 1153700"/>
                    <a:gd name="connsiteX1579" fmla="*/ 102304 w 774525"/>
                    <a:gd name="connsiteY1579" fmla="*/ 755789 h 1153700"/>
                    <a:gd name="connsiteX1580" fmla="*/ 102984 w 774525"/>
                    <a:gd name="connsiteY1580" fmla="*/ 753822 h 1153700"/>
                    <a:gd name="connsiteX1581" fmla="*/ 103227 w 774525"/>
                    <a:gd name="connsiteY1581" fmla="*/ 751514 h 1153700"/>
                    <a:gd name="connsiteX1582" fmla="*/ 103179 w 774525"/>
                    <a:gd name="connsiteY1582" fmla="*/ 749049 h 1153700"/>
                    <a:gd name="connsiteX1583" fmla="*/ 103445 w 774525"/>
                    <a:gd name="connsiteY1583" fmla="*/ 746730 h 1153700"/>
                    <a:gd name="connsiteX1584" fmla="*/ 104551 w 774525"/>
                    <a:gd name="connsiteY1584" fmla="*/ 743998 h 1153700"/>
                    <a:gd name="connsiteX1585" fmla="*/ 106882 w 774525"/>
                    <a:gd name="connsiteY1585" fmla="*/ 741181 h 1153700"/>
                    <a:gd name="connsiteX1586" fmla="*/ 110452 w 774525"/>
                    <a:gd name="connsiteY1586" fmla="*/ 738023 h 1153700"/>
                    <a:gd name="connsiteX1587" fmla="*/ 116208 w 774525"/>
                    <a:gd name="connsiteY1587" fmla="*/ 734356 h 1153700"/>
                    <a:gd name="connsiteX1588" fmla="*/ 125206 w 774525"/>
                    <a:gd name="connsiteY1588" fmla="*/ 729985 h 1153700"/>
                    <a:gd name="connsiteX1589" fmla="*/ 140955 w 774525"/>
                    <a:gd name="connsiteY1589" fmla="*/ 725711 h 1153700"/>
                    <a:gd name="connsiteX1590" fmla="*/ 148593 w 774525"/>
                    <a:gd name="connsiteY1590" fmla="*/ 722298 h 1153700"/>
                    <a:gd name="connsiteX1591" fmla="*/ 160433 w 774525"/>
                    <a:gd name="connsiteY1591" fmla="*/ 718413 h 1153700"/>
                    <a:gd name="connsiteX1592" fmla="*/ 182532 w 774525"/>
                    <a:gd name="connsiteY1592" fmla="*/ 714879 h 1153700"/>
                    <a:gd name="connsiteX1593" fmla="*/ 189248 w 774525"/>
                    <a:gd name="connsiteY1593" fmla="*/ 712754 h 1153700"/>
                    <a:gd name="connsiteX1594" fmla="*/ 192635 w 774525"/>
                    <a:gd name="connsiteY1594" fmla="*/ 707885 h 1153700"/>
                    <a:gd name="connsiteX1595" fmla="*/ 193425 w 774525"/>
                    <a:gd name="connsiteY1595" fmla="*/ 702566 h 1153700"/>
                    <a:gd name="connsiteX1596" fmla="*/ 192223 w 774525"/>
                    <a:gd name="connsiteY1596" fmla="*/ 698693 h 1153700"/>
                    <a:gd name="connsiteX1597" fmla="*/ 191361 w 774525"/>
                    <a:gd name="connsiteY1597" fmla="*/ 696689 h 1153700"/>
                    <a:gd name="connsiteX1598" fmla="*/ 191130 w 774525"/>
                    <a:gd name="connsiteY1598" fmla="*/ 695475 h 1153700"/>
                    <a:gd name="connsiteX1599" fmla="*/ 191069 w 774525"/>
                    <a:gd name="connsiteY1599" fmla="*/ 694382 h 1153700"/>
                    <a:gd name="connsiteX1600" fmla="*/ 192052 w 774525"/>
                    <a:gd name="connsiteY1600" fmla="*/ 690678 h 1153700"/>
                    <a:gd name="connsiteX1601" fmla="*/ 193364 w 774525"/>
                    <a:gd name="connsiteY1601" fmla="*/ 688274 h 1153700"/>
                    <a:gd name="connsiteX1602" fmla="*/ 194336 w 774525"/>
                    <a:gd name="connsiteY1602" fmla="*/ 686902 h 1153700"/>
                    <a:gd name="connsiteX1603" fmla="*/ 197906 w 774525"/>
                    <a:gd name="connsiteY1603" fmla="*/ 684449 h 1153700"/>
                    <a:gd name="connsiteX1604" fmla="*/ 199630 w 774525"/>
                    <a:gd name="connsiteY1604" fmla="*/ 682300 h 1153700"/>
                    <a:gd name="connsiteX1605" fmla="*/ 200079 w 774525"/>
                    <a:gd name="connsiteY1605" fmla="*/ 681522 h 1153700"/>
                    <a:gd name="connsiteX1606" fmla="*/ 200431 w 774525"/>
                    <a:gd name="connsiteY1606" fmla="*/ 680490 h 1153700"/>
                    <a:gd name="connsiteX1607" fmla="*/ 200771 w 774525"/>
                    <a:gd name="connsiteY1607" fmla="*/ 679033 h 1153700"/>
                    <a:gd name="connsiteX1608" fmla="*/ 201342 w 774525"/>
                    <a:gd name="connsiteY1608" fmla="*/ 677697 h 1153700"/>
                    <a:gd name="connsiteX1609" fmla="*/ 202325 w 774525"/>
                    <a:gd name="connsiteY1609" fmla="*/ 676471 h 1153700"/>
                    <a:gd name="connsiteX1610" fmla="*/ 203698 w 774525"/>
                    <a:gd name="connsiteY1610" fmla="*/ 675524 h 1153700"/>
                    <a:gd name="connsiteX1611" fmla="*/ 206090 w 774525"/>
                    <a:gd name="connsiteY1611" fmla="*/ 675755 h 1153700"/>
                    <a:gd name="connsiteX1612" fmla="*/ 209380 w 774525"/>
                    <a:gd name="connsiteY1612" fmla="*/ 676981 h 1153700"/>
                    <a:gd name="connsiteX1613" fmla="*/ 219034 w 774525"/>
                    <a:gd name="connsiteY1613" fmla="*/ 683478 h 1153700"/>
                    <a:gd name="connsiteX1614" fmla="*/ 222981 w 774525"/>
                    <a:gd name="connsiteY1614" fmla="*/ 685311 h 1153700"/>
                    <a:gd name="connsiteX1615" fmla="*/ 226028 w 774525"/>
                    <a:gd name="connsiteY1615" fmla="*/ 685651 h 1153700"/>
                    <a:gd name="connsiteX1616" fmla="*/ 228214 w 774525"/>
                    <a:gd name="connsiteY1616" fmla="*/ 685687 h 1153700"/>
                    <a:gd name="connsiteX1617" fmla="*/ 229647 w 774525"/>
                    <a:gd name="connsiteY1617" fmla="*/ 686149 h 1153700"/>
                    <a:gd name="connsiteX1618" fmla="*/ 233666 w 774525"/>
                    <a:gd name="connsiteY1618" fmla="*/ 690217 h 1153700"/>
                    <a:gd name="connsiteX1619" fmla="*/ 237394 w 774525"/>
                    <a:gd name="connsiteY1619" fmla="*/ 692888 h 1153700"/>
                    <a:gd name="connsiteX1620" fmla="*/ 241705 w 774525"/>
                    <a:gd name="connsiteY1620" fmla="*/ 694965 h 1153700"/>
                    <a:gd name="connsiteX1621" fmla="*/ 251468 w 774525"/>
                    <a:gd name="connsiteY1621" fmla="*/ 697345 h 1153700"/>
                    <a:gd name="connsiteX1622" fmla="*/ 257964 w 774525"/>
                    <a:gd name="connsiteY1622" fmla="*/ 695936 h 1153700"/>
                    <a:gd name="connsiteX1623" fmla="*/ 258705 w 774525"/>
                    <a:gd name="connsiteY1623" fmla="*/ 693289 h 1153700"/>
                    <a:gd name="connsiteX1624" fmla="*/ 258377 w 774525"/>
                    <a:gd name="connsiteY1624" fmla="*/ 692147 h 1153700"/>
                    <a:gd name="connsiteX1625" fmla="*/ 257394 w 774525"/>
                    <a:gd name="connsiteY1625" fmla="*/ 690472 h 1153700"/>
                    <a:gd name="connsiteX1626" fmla="*/ 254164 w 774525"/>
                    <a:gd name="connsiteY1626" fmla="*/ 687521 h 1153700"/>
                    <a:gd name="connsiteX1627" fmla="*/ 252901 w 774525"/>
                    <a:gd name="connsiteY1627" fmla="*/ 686088 h 1153700"/>
                    <a:gd name="connsiteX1628" fmla="*/ 252512 w 774525"/>
                    <a:gd name="connsiteY1628" fmla="*/ 684534 h 1153700"/>
                    <a:gd name="connsiteX1629" fmla="*/ 252901 w 774525"/>
                    <a:gd name="connsiteY1629" fmla="*/ 683417 h 1153700"/>
                    <a:gd name="connsiteX1630" fmla="*/ 253884 w 774525"/>
                    <a:gd name="connsiteY1630" fmla="*/ 682470 h 1153700"/>
                    <a:gd name="connsiteX1631" fmla="*/ 255657 w 774525"/>
                    <a:gd name="connsiteY1631" fmla="*/ 682093 h 1153700"/>
                    <a:gd name="connsiteX1632" fmla="*/ 257722 w 774525"/>
                    <a:gd name="connsiteY1632" fmla="*/ 682409 h 1153700"/>
                    <a:gd name="connsiteX1633" fmla="*/ 261644 w 774525"/>
                    <a:gd name="connsiteY1633" fmla="*/ 683526 h 1153700"/>
                    <a:gd name="connsiteX1634" fmla="*/ 263648 w 774525"/>
                    <a:gd name="connsiteY1634" fmla="*/ 683818 h 1153700"/>
                    <a:gd name="connsiteX1635" fmla="*/ 265250 w 774525"/>
                    <a:gd name="connsiteY1635" fmla="*/ 684303 h 1153700"/>
                    <a:gd name="connsiteX1636" fmla="*/ 266695 w 774525"/>
                    <a:gd name="connsiteY1636" fmla="*/ 685481 h 1153700"/>
                    <a:gd name="connsiteX1637" fmla="*/ 268978 w 774525"/>
                    <a:gd name="connsiteY1637" fmla="*/ 688784 h 1153700"/>
                    <a:gd name="connsiteX1638" fmla="*/ 270350 w 774525"/>
                    <a:gd name="connsiteY1638" fmla="*/ 688881 h 1153700"/>
                    <a:gd name="connsiteX1639" fmla="*/ 271965 w 774525"/>
                    <a:gd name="connsiteY1639" fmla="*/ 687898 h 1153700"/>
                    <a:gd name="connsiteX1640" fmla="*/ 272997 w 774525"/>
                    <a:gd name="connsiteY1640" fmla="*/ 685080 h 1153700"/>
                    <a:gd name="connsiteX1641" fmla="*/ 273277 w 774525"/>
                    <a:gd name="connsiteY1641" fmla="*/ 682895 h 1153700"/>
                    <a:gd name="connsiteX1642" fmla="*/ 273168 w 774525"/>
                    <a:gd name="connsiteY1642" fmla="*/ 678620 h 1153700"/>
                    <a:gd name="connsiteX1643" fmla="*/ 273690 w 774525"/>
                    <a:gd name="connsiteY1643" fmla="*/ 677017 h 1153700"/>
                    <a:gd name="connsiteX1644" fmla="*/ 274710 w 774525"/>
                    <a:gd name="connsiteY1644" fmla="*/ 676155 h 1153700"/>
                    <a:gd name="connsiteX1645" fmla="*/ 276835 w 774525"/>
                    <a:gd name="connsiteY1645" fmla="*/ 676179 h 1153700"/>
                    <a:gd name="connsiteX1646" fmla="*/ 278437 w 774525"/>
                    <a:gd name="connsiteY1646" fmla="*/ 675026 h 1153700"/>
                    <a:gd name="connsiteX1647" fmla="*/ 279773 w 774525"/>
                    <a:gd name="connsiteY1647" fmla="*/ 672597 h 1153700"/>
                    <a:gd name="connsiteX1648" fmla="*/ 280235 w 774525"/>
                    <a:gd name="connsiteY1648" fmla="*/ 670035 h 1153700"/>
                    <a:gd name="connsiteX1649" fmla="*/ 279822 w 774525"/>
                    <a:gd name="connsiteY1649" fmla="*/ 667218 h 1153700"/>
                    <a:gd name="connsiteX1650" fmla="*/ 278498 w 774525"/>
                    <a:gd name="connsiteY1650" fmla="*/ 664984 h 1153700"/>
                    <a:gd name="connsiteX1651" fmla="*/ 274880 w 774525"/>
                    <a:gd name="connsiteY1651" fmla="*/ 662118 h 1153700"/>
                    <a:gd name="connsiteX1652" fmla="*/ 274090 w 774525"/>
                    <a:gd name="connsiteY1652" fmla="*/ 660855 h 1153700"/>
                    <a:gd name="connsiteX1653" fmla="*/ 273908 w 774525"/>
                    <a:gd name="connsiteY1653" fmla="*/ 659617 h 1153700"/>
                    <a:gd name="connsiteX1654" fmla="*/ 273908 w 774525"/>
                    <a:gd name="connsiteY1654" fmla="*/ 658184 h 1153700"/>
                    <a:gd name="connsiteX1655" fmla="*/ 273119 w 774525"/>
                    <a:gd name="connsiteY1655" fmla="*/ 657115 h 1153700"/>
                    <a:gd name="connsiteX1656" fmla="*/ 270132 w 774525"/>
                    <a:gd name="connsiteY1656" fmla="*/ 654444 h 1153700"/>
                    <a:gd name="connsiteX1657" fmla="*/ 269099 w 774525"/>
                    <a:gd name="connsiteY1657" fmla="*/ 652841 h 1153700"/>
                    <a:gd name="connsiteX1658" fmla="*/ 269318 w 774525"/>
                    <a:gd name="connsiteY1658" fmla="*/ 651578 h 1153700"/>
                    <a:gd name="connsiteX1659" fmla="*/ 270933 w 774525"/>
                    <a:gd name="connsiteY1659" fmla="*/ 650254 h 1153700"/>
                    <a:gd name="connsiteX1660" fmla="*/ 274564 w 774525"/>
                    <a:gd name="connsiteY1660" fmla="*/ 648991 h 1153700"/>
                    <a:gd name="connsiteX1661" fmla="*/ 283355 w 774525"/>
                    <a:gd name="connsiteY1661" fmla="*/ 646988 h 1153700"/>
                    <a:gd name="connsiteX1662" fmla="*/ 284728 w 774525"/>
                    <a:gd name="connsiteY1662" fmla="*/ 647097 h 1153700"/>
                    <a:gd name="connsiteX1663" fmla="*/ 286027 w 774525"/>
                    <a:gd name="connsiteY1663" fmla="*/ 648129 h 1153700"/>
                    <a:gd name="connsiteX1664" fmla="*/ 287071 w 774525"/>
                    <a:gd name="connsiteY1664" fmla="*/ 649793 h 1153700"/>
                    <a:gd name="connsiteX1665" fmla="*/ 287581 w 774525"/>
                    <a:gd name="connsiteY1665" fmla="*/ 652149 h 1153700"/>
                    <a:gd name="connsiteX1666" fmla="*/ 287836 w 774525"/>
                    <a:gd name="connsiteY1666" fmla="*/ 654796 h 1153700"/>
                    <a:gd name="connsiteX1667" fmla="*/ 288285 w 774525"/>
                    <a:gd name="connsiteY1667" fmla="*/ 656775 h 1153700"/>
                    <a:gd name="connsiteX1668" fmla="*/ 289026 w 774525"/>
                    <a:gd name="connsiteY1668" fmla="*/ 657722 h 1153700"/>
                    <a:gd name="connsiteX1669" fmla="*/ 290180 w 774525"/>
                    <a:gd name="connsiteY1669" fmla="*/ 657892 h 1153700"/>
                    <a:gd name="connsiteX1670" fmla="*/ 301266 w 774525"/>
                    <a:gd name="connsiteY1670" fmla="*/ 653618 h 1153700"/>
                    <a:gd name="connsiteX1671" fmla="*/ 305115 w 774525"/>
                    <a:gd name="connsiteY1671" fmla="*/ 653533 h 1153700"/>
                    <a:gd name="connsiteX1672" fmla="*/ 310507 w 774525"/>
                    <a:gd name="connsiteY1672" fmla="*/ 654966 h 1153700"/>
                    <a:gd name="connsiteX1673" fmla="*/ 312693 w 774525"/>
                    <a:gd name="connsiteY1673" fmla="*/ 654334 h 1153700"/>
                    <a:gd name="connsiteX1674" fmla="*/ 315279 w 774525"/>
                    <a:gd name="connsiteY1674" fmla="*/ 651517 h 1153700"/>
                    <a:gd name="connsiteX1675" fmla="*/ 317113 w 774525"/>
                    <a:gd name="connsiteY1675" fmla="*/ 650279 h 1153700"/>
                    <a:gd name="connsiteX1676" fmla="*/ 318424 w 774525"/>
                    <a:gd name="connsiteY1676" fmla="*/ 648967 h 1153700"/>
                    <a:gd name="connsiteX1677" fmla="*/ 318873 w 774525"/>
                    <a:gd name="connsiteY1677" fmla="*/ 647158 h 1153700"/>
                    <a:gd name="connsiteX1678" fmla="*/ 318655 w 774525"/>
                    <a:gd name="connsiteY1678" fmla="*/ 642082 h 1153700"/>
                    <a:gd name="connsiteX1679" fmla="*/ 319116 w 774525"/>
                    <a:gd name="connsiteY1679" fmla="*/ 638828 h 1153700"/>
                    <a:gd name="connsiteX1680" fmla="*/ 318072 w 774525"/>
                    <a:gd name="connsiteY1680" fmla="*/ 633606 h 1153700"/>
                    <a:gd name="connsiteX1681" fmla="*/ 318351 w 774525"/>
                    <a:gd name="connsiteY1681" fmla="*/ 631967 h 1153700"/>
                    <a:gd name="connsiteX1682" fmla="*/ 320088 w 774525"/>
                    <a:gd name="connsiteY1682" fmla="*/ 630789 h 1153700"/>
                    <a:gd name="connsiteX1683" fmla="*/ 321752 w 774525"/>
                    <a:gd name="connsiteY1683" fmla="*/ 630413 h 1153700"/>
                    <a:gd name="connsiteX1684" fmla="*/ 323767 w 774525"/>
                    <a:gd name="connsiteY1684" fmla="*/ 630680 h 1153700"/>
                    <a:gd name="connsiteX1685" fmla="*/ 326123 w 774525"/>
                    <a:gd name="connsiteY1685" fmla="*/ 631846 h 1153700"/>
                    <a:gd name="connsiteX1686" fmla="*/ 330191 w 774525"/>
                    <a:gd name="connsiteY1686" fmla="*/ 635671 h 1153700"/>
                    <a:gd name="connsiteX1687" fmla="*/ 332377 w 774525"/>
                    <a:gd name="connsiteY1687" fmla="*/ 636011 h 1153700"/>
                    <a:gd name="connsiteX1688" fmla="*/ 334040 w 774525"/>
                    <a:gd name="connsiteY1688" fmla="*/ 634930 h 1153700"/>
                    <a:gd name="connsiteX1689" fmla="*/ 335886 w 774525"/>
                    <a:gd name="connsiteY1689" fmla="*/ 631129 h 1153700"/>
                    <a:gd name="connsiteX1690" fmla="*/ 336796 w 774525"/>
                    <a:gd name="connsiteY1690" fmla="*/ 628640 h 1153700"/>
                    <a:gd name="connsiteX1691" fmla="*/ 337258 w 774525"/>
                    <a:gd name="connsiteY1691" fmla="*/ 624329 h 1153700"/>
                    <a:gd name="connsiteX1692" fmla="*/ 338156 w 774525"/>
                    <a:gd name="connsiteY1692" fmla="*/ 622811 h 1153700"/>
                    <a:gd name="connsiteX1693" fmla="*/ 340306 w 774525"/>
                    <a:gd name="connsiteY1693" fmla="*/ 622095 h 1153700"/>
                    <a:gd name="connsiteX1694" fmla="*/ 346049 w 774525"/>
                    <a:gd name="connsiteY1694" fmla="*/ 622872 h 1153700"/>
                    <a:gd name="connsiteX1695" fmla="*/ 348855 w 774525"/>
                    <a:gd name="connsiteY1695" fmla="*/ 622605 h 1153700"/>
                    <a:gd name="connsiteX1696" fmla="*/ 350797 w 774525"/>
                    <a:gd name="connsiteY1696" fmla="*/ 621294 h 1153700"/>
                    <a:gd name="connsiteX1697" fmla="*/ 351149 w 774525"/>
                    <a:gd name="connsiteY1697" fmla="*/ 618440 h 1153700"/>
                    <a:gd name="connsiteX1698" fmla="*/ 349194 w 774525"/>
                    <a:gd name="connsiteY1698" fmla="*/ 614773 h 1153700"/>
                    <a:gd name="connsiteX1699" fmla="*/ 347883 w 774525"/>
                    <a:gd name="connsiteY1699" fmla="*/ 613850 h 1153700"/>
                    <a:gd name="connsiteX1700" fmla="*/ 347082 w 774525"/>
                    <a:gd name="connsiteY1700" fmla="*/ 613886 h 1153700"/>
                    <a:gd name="connsiteX1701" fmla="*/ 345807 w 774525"/>
                    <a:gd name="connsiteY1701" fmla="*/ 614457 h 1153700"/>
                    <a:gd name="connsiteX1702" fmla="*/ 344726 w 774525"/>
                    <a:gd name="connsiteY1702" fmla="*/ 614627 h 1153700"/>
                    <a:gd name="connsiteX1703" fmla="*/ 343876 w 774525"/>
                    <a:gd name="connsiteY1703" fmla="*/ 613971 h 1153700"/>
                    <a:gd name="connsiteX1704" fmla="*/ 343633 w 774525"/>
                    <a:gd name="connsiteY1704" fmla="*/ 612526 h 1153700"/>
                    <a:gd name="connsiteX1705" fmla="*/ 343633 w 774525"/>
                    <a:gd name="connsiteY1705" fmla="*/ 610571 h 1153700"/>
                    <a:gd name="connsiteX1706" fmla="*/ 343402 w 774525"/>
                    <a:gd name="connsiteY1706" fmla="*/ 608458 h 1153700"/>
                    <a:gd name="connsiteX1707" fmla="*/ 343730 w 774525"/>
                    <a:gd name="connsiteY1707" fmla="*/ 606503 h 1153700"/>
                    <a:gd name="connsiteX1708" fmla="*/ 345163 w 774525"/>
                    <a:gd name="connsiteY1708" fmla="*/ 604743 h 1153700"/>
                    <a:gd name="connsiteX1709" fmla="*/ 349194 w 774525"/>
                    <a:gd name="connsiteY1709" fmla="*/ 603225 h 1153700"/>
                    <a:gd name="connsiteX1710" fmla="*/ 351659 w 774525"/>
                    <a:gd name="connsiteY1710" fmla="*/ 602593 h 1153700"/>
                    <a:gd name="connsiteX1711" fmla="*/ 356480 w 774525"/>
                    <a:gd name="connsiteY1711" fmla="*/ 599327 h 1153700"/>
                    <a:gd name="connsiteX1712" fmla="*/ 361859 w 774525"/>
                    <a:gd name="connsiteY1712" fmla="*/ 595101 h 1153700"/>
                    <a:gd name="connsiteX1713" fmla="*/ 364337 w 774525"/>
                    <a:gd name="connsiteY1713" fmla="*/ 591750 h 1153700"/>
                    <a:gd name="connsiteX1714" fmla="*/ 372205 w 774525"/>
                    <a:gd name="connsiteY1714" fmla="*/ 574920 h 1153700"/>
                    <a:gd name="connsiteX1715" fmla="*/ 372994 w 774525"/>
                    <a:gd name="connsiteY1715" fmla="*/ 571702 h 1153700"/>
                    <a:gd name="connsiteX1716" fmla="*/ 372715 w 774525"/>
                    <a:gd name="connsiteY1716" fmla="*/ 569601 h 1153700"/>
                    <a:gd name="connsiteX1717" fmla="*/ 372145 w 774525"/>
                    <a:gd name="connsiteY1717" fmla="*/ 567719 h 1153700"/>
                    <a:gd name="connsiteX1718" fmla="*/ 372314 w 774525"/>
                    <a:gd name="connsiteY1718" fmla="*/ 565958 h 1153700"/>
                    <a:gd name="connsiteX1719" fmla="*/ 373116 w 774525"/>
                    <a:gd name="connsiteY1719" fmla="*/ 564464 h 1153700"/>
                    <a:gd name="connsiteX1720" fmla="*/ 374792 w 774525"/>
                    <a:gd name="connsiteY1720" fmla="*/ 562862 h 1153700"/>
                    <a:gd name="connsiteX1721" fmla="*/ 375630 w 774525"/>
                    <a:gd name="connsiteY1721" fmla="*/ 561684 h 1153700"/>
                    <a:gd name="connsiteX1722" fmla="*/ 376492 w 774525"/>
                    <a:gd name="connsiteY1722" fmla="*/ 559935 h 1153700"/>
                    <a:gd name="connsiteX1723" fmla="*/ 376844 w 774525"/>
                    <a:gd name="connsiteY1723" fmla="*/ 558697 h 1153700"/>
                    <a:gd name="connsiteX1724" fmla="*/ 376783 w 774525"/>
                    <a:gd name="connsiteY1724" fmla="*/ 557203 h 1153700"/>
                    <a:gd name="connsiteX1725" fmla="*/ 376273 w 774525"/>
                    <a:gd name="connsiteY1725" fmla="*/ 555855 h 1153700"/>
                    <a:gd name="connsiteX1726" fmla="*/ 374585 w 774525"/>
                    <a:gd name="connsiteY1726" fmla="*/ 553597 h 1153700"/>
                    <a:gd name="connsiteX1727" fmla="*/ 374367 w 774525"/>
                    <a:gd name="connsiteY1727" fmla="*/ 552127 h 1153700"/>
                    <a:gd name="connsiteX1728" fmla="*/ 375047 w 774525"/>
                    <a:gd name="connsiteY1728" fmla="*/ 546408 h 1153700"/>
                    <a:gd name="connsiteX1729" fmla="*/ 374719 w 774525"/>
                    <a:gd name="connsiteY1729" fmla="*/ 544999 h 1153700"/>
                    <a:gd name="connsiteX1730" fmla="*/ 373456 w 774525"/>
                    <a:gd name="connsiteY1730" fmla="*/ 544052 h 1153700"/>
                    <a:gd name="connsiteX1731" fmla="*/ 371440 w 774525"/>
                    <a:gd name="connsiteY1731" fmla="*/ 543251 h 1153700"/>
                    <a:gd name="connsiteX1732" fmla="*/ 369206 w 774525"/>
                    <a:gd name="connsiteY1732" fmla="*/ 542619 h 1153700"/>
                    <a:gd name="connsiteX1733" fmla="*/ 367834 w 774525"/>
                    <a:gd name="connsiteY1733" fmla="*/ 541466 h 1153700"/>
                    <a:gd name="connsiteX1734" fmla="*/ 367530 w 774525"/>
                    <a:gd name="connsiteY1734" fmla="*/ 540264 h 1153700"/>
                    <a:gd name="connsiteX1735" fmla="*/ 368805 w 774525"/>
                    <a:gd name="connsiteY1735" fmla="*/ 539062 h 1153700"/>
                    <a:gd name="connsiteX1736" fmla="*/ 370699 w 774525"/>
                    <a:gd name="connsiteY1736" fmla="*/ 538636 h 1153700"/>
                    <a:gd name="connsiteX1737" fmla="*/ 373395 w 774525"/>
                    <a:gd name="connsiteY1737" fmla="*/ 538964 h 1153700"/>
                    <a:gd name="connsiteX1738" fmla="*/ 375411 w 774525"/>
                    <a:gd name="connsiteY1738" fmla="*/ 539608 h 1153700"/>
                    <a:gd name="connsiteX1739" fmla="*/ 377354 w 774525"/>
                    <a:gd name="connsiteY1739" fmla="*/ 540555 h 1153700"/>
                    <a:gd name="connsiteX1740" fmla="*/ 378969 w 774525"/>
                    <a:gd name="connsiteY1740" fmla="*/ 541624 h 1153700"/>
                    <a:gd name="connsiteX1741" fmla="*/ 381082 w 774525"/>
                    <a:gd name="connsiteY1741" fmla="*/ 542644 h 1153700"/>
                    <a:gd name="connsiteX1742" fmla="*/ 383280 w 774525"/>
                    <a:gd name="connsiteY1742" fmla="*/ 543081 h 1153700"/>
                    <a:gd name="connsiteX1743" fmla="*/ 385987 w 774525"/>
                    <a:gd name="connsiteY1743" fmla="*/ 543020 h 1153700"/>
                    <a:gd name="connsiteX1744" fmla="*/ 388780 w 774525"/>
                    <a:gd name="connsiteY1744" fmla="*/ 542364 h 1153700"/>
                    <a:gd name="connsiteX1745" fmla="*/ 391258 w 774525"/>
                    <a:gd name="connsiteY1745" fmla="*/ 541187 h 1153700"/>
                    <a:gd name="connsiteX1746" fmla="*/ 393261 w 774525"/>
                    <a:gd name="connsiteY1746" fmla="*/ 539462 h 1153700"/>
                    <a:gd name="connsiteX1747" fmla="*/ 394524 w 774525"/>
                    <a:gd name="connsiteY1747" fmla="*/ 538054 h 1153700"/>
                    <a:gd name="connsiteX1748" fmla="*/ 395507 w 774525"/>
                    <a:gd name="connsiteY1748" fmla="*/ 534751 h 1153700"/>
                    <a:gd name="connsiteX1749" fmla="*/ 393249 w 774525"/>
                    <a:gd name="connsiteY1749" fmla="*/ 533585 h 1153700"/>
                    <a:gd name="connsiteX1750" fmla="*/ 392047 w 774525"/>
                    <a:gd name="connsiteY1750" fmla="*/ 533549 h 1153700"/>
                    <a:gd name="connsiteX1751" fmla="*/ 390614 w 774525"/>
                    <a:gd name="connsiteY1751" fmla="*/ 533002 h 1153700"/>
                    <a:gd name="connsiteX1752" fmla="*/ 389922 w 774525"/>
                    <a:gd name="connsiteY1752" fmla="*/ 532031 h 1153700"/>
                    <a:gd name="connsiteX1753" fmla="*/ 390505 w 774525"/>
                    <a:gd name="connsiteY1753" fmla="*/ 530136 h 1153700"/>
                    <a:gd name="connsiteX1754" fmla="*/ 391877 w 774525"/>
                    <a:gd name="connsiteY1754" fmla="*/ 528983 h 1153700"/>
                    <a:gd name="connsiteX1755" fmla="*/ 393747 w 774525"/>
                    <a:gd name="connsiteY1755" fmla="*/ 527805 h 1153700"/>
                    <a:gd name="connsiteX1756" fmla="*/ 394621 w 774525"/>
                    <a:gd name="connsiteY1756" fmla="*/ 526627 h 1153700"/>
                    <a:gd name="connsiteX1757" fmla="*/ 394621 w 774525"/>
                    <a:gd name="connsiteY1757" fmla="*/ 524939 h 1153700"/>
                    <a:gd name="connsiteX1758" fmla="*/ 393419 w 774525"/>
                    <a:gd name="connsiteY1758" fmla="*/ 522802 h 1153700"/>
                    <a:gd name="connsiteX1759" fmla="*/ 392314 w 774525"/>
                    <a:gd name="connsiteY1759" fmla="*/ 521576 h 1153700"/>
                    <a:gd name="connsiteX1760" fmla="*/ 391561 w 774525"/>
                    <a:gd name="connsiteY1760" fmla="*/ 520143 h 1153700"/>
                    <a:gd name="connsiteX1761" fmla="*/ 391270 w 774525"/>
                    <a:gd name="connsiteY1761" fmla="*/ 518419 h 1153700"/>
                    <a:gd name="connsiteX1762" fmla="*/ 391112 w 774525"/>
                    <a:gd name="connsiteY1762" fmla="*/ 515771 h 1153700"/>
                    <a:gd name="connsiteX1763" fmla="*/ 390747 w 774525"/>
                    <a:gd name="connsiteY1763" fmla="*/ 513828 h 1153700"/>
                    <a:gd name="connsiteX1764" fmla="*/ 389497 w 774525"/>
                    <a:gd name="connsiteY1764" fmla="*/ 511667 h 1153700"/>
                    <a:gd name="connsiteX1765" fmla="*/ 388173 w 774525"/>
                    <a:gd name="connsiteY1765" fmla="*/ 508850 h 1153700"/>
                    <a:gd name="connsiteX1766" fmla="*/ 387591 w 774525"/>
                    <a:gd name="connsiteY1766" fmla="*/ 508000 h 1153700"/>
                    <a:gd name="connsiteX1767" fmla="*/ 386740 w 774525"/>
                    <a:gd name="connsiteY1767" fmla="*/ 507368 h 1153700"/>
                    <a:gd name="connsiteX1768" fmla="*/ 382442 w 774525"/>
                    <a:gd name="connsiteY1768" fmla="*/ 506761 h 1153700"/>
                    <a:gd name="connsiteX1769" fmla="*/ 381118 w 774525"/>
                    <a:gd name="connsiteY1769" fmla="*/ 506324 h 1153700"/>
                    <a:gd name="connsiteX1770" fmla="*/ 379977 w 774525"/>
                    <a:gd name="connsiteY1770" fmla="*/ 505583 h 1153700"/>
                    <a:gd name="connsiteX1771" fmla="*/ 379054 w 774525"/>
                    <a:gd name="connsiteY1771" fmla="*/ 503920 h 1153700"/>
                    <a:gd name="connsiteX1772" fmla="*/ 378823 w 774525"/>
                    <a:gd name="connsiteY1772" fmla="*/ 501965 h 1153700"/>
                    <a:gd name="connsiteX1773" fmla="*/ 379673 w 774525"/>
                    <a:gd name="connsiteY1773" fmla="*/ 500131 h 1153700"/>
                    <a:gd name="connsiteX1774" fmla="*/ 381167 w 774525"/>
                    <a:gd name="connsiteY1774" fmla="*/ 499706 h 1153700"/>
                    <a:gd name="connsiteX1775" fmla="*/ 382490 w 774525"/>
                    <a:gd name="connsiteY1775" fmla="*/ 500095 h 1153700"/>
                    <a:gd name="connsiteX1776" fmla="*/ 384445 w 774525"/>
                    <a:gd name="connsiteY1776" fmla="*/ 501418 h 1153700"/>
                    <a:gd name="connsiteX1777" fmla="*/ 385830 w 774525"/>
                    <a:gd name="connsiteY1777" fmla="*/ 501649 h 1153700"/>
                    <a:gd name="connsiteX1778" fmla="*/ 386911 w 774525"/>
                    <a:gd name="connsiteY1778" fmla="*/ 501139 h 1153700"/>
                    <a:gd name="connsiteX1779" fmla="*/ 387372 w 774525"/>
                    <a:gd name="connsiteY1779" fmla="*/ 499864 h 1153700"/>
                    <a:gd name="connsiteX1780" fmla="*/ 387591 w 774525"/>
                    <a:gd name="connsiteY1780" fmla="*/ 498978 h 1153700"/>
                    <a:gd name="connsiteX1781" fmla="*/ 388343 w 774525"/>
                    <a:gd name="connsiteY1781" fmla="*/ 488790 h 1153700"/>
                    <a:gd name="connsiteX1782" fmla="*/ 389193 w 774525"/>
                    <a:gd name="connsiteY1782" fmla="*/ 486628 h 1153700"/>
                    <a:gd name="connsiteX1783" fmla="*/ 391549 w 774525"/>
                    <a:gd name="connsiteY1783" fmla="*/ 483386 h 1153700"/>
                    <a:gd name="connsiteX1784" fmla="*/ 392071 w 774525"/>
                    <a:gd name="connsiteY1784" fmla="*/ 480715 h 1153700"/>
                    <a:gd name="connsiteX1785" fmla="*/ 391901 w 774525"/>
                    <a:gd name="connsiteY1785" fmla="*/ 476040 h 1153700"/>
                    <a:gd name="connsiteX1786" fmla="*/ 391245 w 774525"/>
                    <a:gd name="connsiteY1786" fmla="*/ 471389 h 1153700"/>
                    <a:gd name="connsiteX1787" fmla="*/ 387760 w 774525"/>
                    <a:gd name="connsiteY1787" fmla="*/ 457400 h 1153700"/>
                    <a:gd name="connsiteX1788" fmla="*/ 385987 w 774525"/>
                    <a:gd name="connsiteY1788" fmla="*/ 453077 h 1153700"/>
                    <a:gd name="connsiteX1789" fmla="*/ 385004 w 774525"/>
                    <a:gd name="connsiteY1789" fmla="*/ 450892 h 1153700"/>
                    <a:gd name="connsiteX1790" fmla="*/ 383401 w 774525"/>
                    <a:gd name="connsiteY1790" fmla="*/ 449775 h 1153700"/>
                    <a:gd name="connsiteX1791" fmla="*/ 376225 w 774525"/>
                    <a:gd name="connsiteY1791" fmla="*/ 442452 h 1153700"/>
                    <a:gd name="connsiteX1792" fmla="*/ 375302 w 774525"/>
                    <a:gd name="connsiteY1792" fmla="*/ 441906 h 1153700"/>
                    <a:gd name="connsiteX1793" fmla="*/ 374270 w 774525"/>
                    <a:gd name="connsiteY1793" fmla="*/ 441712 h 1153700"/>
                    <a:gd name="connsiteX1794" fmla="*/ 373177 w 774525"/>
                    <a:gd name="connsiteY1794" fmla="*/ 441238 h 1153700"/>
                    <a:gd name="connsiteX1795" fmla="*/ 372254 w 774525"/>
                    <a:gd name="connsiteY1795" fmla="*/ 439866 h 1153700"/>
                    <a:gd name="connsiteX1796" fmla="*/ 372011 w 774525"/>
                    <a:gd name="connsiteY1796" fmla="*/ 438542 h 1153700"/>
                    <a:gd name="connsiteX1797" fmla="*/ 372314 w 774525"/>
                    <a:gd name="connsiteY1797" fmla="*/ 435640 h 1153700"/>
                    <a:gd name="connsiteX1798" fmla="*/ 372242 w 774525"/>
                    <a:gd name="connsiteY1798" fmla="*/ 434268 h 1153700"/>
                    <a:gd name="connsiteX1799" fmla="*/ 371149 w 774525"/>
                    <a:gd name="connsiteY1799" fmla="*/ 429641 h 1153700"/>
                    <a:gd name="connsiteX1800" fmla="*/ 370821 w 774525"/>
                    <a:gd name="connsiteY1800" fmla="*/ 427371 h 1153700"/>
                    <a:gd name="connsiteX1801" fmla="*/ 370979 w 774525"/>
                    <a:gd name="connsiteY1801" fmla="*/ 424590 h 1153700"/>
                    <a:gd name="connsiteX1802" fmla="*/ 371683 w 774525"/>
                    <a:gd name="connsiteY1802" fmla="*/ 422319 h 1153700"/>
                    <a:gd name="connsiteX1803" fmla="*/ 372776 w 774525"/>
                    <a:gd name="connsiteY1803" fmla="*/ 420826 h 1153700"/>
                    <a:gd name="connsiteX1804" fmla="*/ 373638 w 774525"/>
                    <a:gd name="connsiteY1804" fmla="*/ 419186 h 1153700"/>
                    <a:gd name="connsiteX1805" fmla="*/ 373638 w 774525"/>
                    <a:gd name="connsiteY1805" fmla="*/ 416406 h 1153700"/>
                    <a:gd name="connsiteX1806" fmla="*/ 379904 w 774525"/>
                    <a:gd name="connsiteY1806" fmla="*/ 409909 h 1153700"/>
                    <a:gd name="connsiteX1807" fmla="*/ 383863 w 774525"/>
                    <a:gd name="connsiteY1807" fmla="*/ 403692 h 1153700"/>
                    <a:gd name="connsiteX1808" fmla="*/ 384033 w 774525"/>
                    <a:gd name="connsiteY1808" fmla="*/ 401591 h 1153700"/>
                    <a:gd name="connsiteX1809" fmla="*/ 382199 w 774525"/>
                    <a:gd name="connsiteY1809" fmla="*/ 398811 h 1153700"/>
                    <a:gd name="connsiteX1810" fmla="*/ 380705 w 774525"/>
                    <a:gd name="connsiteY1810" fmla="*/ 394670 h 1153700"/>
                    <a:gd name="connsiteX1811" fmla="*/ 379855 w 774525"/>
                    <a:gd name="connsiteY1811" fmla="*/ 391027 h 1153700"/>
                    <a:gd name="connsiteX1812" fmla="*/ 379273 w 774525"/>
                    <a:gd name="connsiteY1812" fmla="*/ 389788 h 1153700"/>
                    <a:gd name="connsiteX1813" fmla="*/ 377998 w 774525"/>
                    <a:gd name="connsiteY1813" fmla="*/ 388271 h 1153700"/>
                    <a:gd name="connsiteX1814" fmla="*/ 376516 w 774525"/>
                    <a:gd name="connsiteY1814" fmla="*/ 386060 h 1153700"/>
                    <a:gd name="connsiteX1815" fmla="*/ 376055 w 774525"/>
                    <a:gd name="connsiteY1815" fmla="*/ 385623 h 1153700"/>
                    <a:gd name="connsiteX1816" fmla="*/ 375375 w 774525"/>
                    <a:gd name="connsiteY1816" fmla="*/ 385429 h 1153700"/>
                    <a:gd name="connsiteX1817" fmla="*/ 374622 w 774525"/>
                    <a:gd name="connsiteY1817" fmla="*/ 385490 h 1153700"/>
                    <a:gd name="connsiteX1818" fmla="*/ 373359 w 774525"/>
                    <a:gd name="connsiteY1818" fmla="*/ 385915 h 1153700"/>
                    <a:gd name="connsiteX1819" fmla="*/ 372606 w 774525"/>
                    <a:gd name="connsiteY1819" fmla="*/ 386000 h 1153700"/>
                    <a:gd name="connsiteX1820" fmla="*/ 371962 w 774525"/>
                    <a:gd name="connsiteY1820" fmla="*/ 385854 h 1153700"/>
                    <a:gd name="connsiteX1821" fmla="*/ 371452 w 774525"/>
                    <a:gd name="connsiteY1821" fmla="*/ 385453 h 1153700"/>
                    <a:gd name="connsiteX1822" fmla="*/ 371173 w 774525"/>
                    <a:gd name="connsiteY1822" fmla="*/ 384907 h 1153700"/>
                    <a:gd name="connsiteX1823" fmla="*/ 370469 w 774525"/>
                    <a:gd name="connsiteY1823" fmla="*/ 382867 h 1153700"/>
                    <a:gd name="connsiteX1824" fmla="*/ 369850 w 774525"/>
                    <a:gd name="connsiteY1824" fmla="*/ 381519 h 1153700"/>
                    <a:gd name="connsiteX1825" fmla="*/ 369437 w 774525"/>
                    <a:gd name="connsiteY1825" fmla="*/ 380948 h 1153700"/>
                    <a:gd name="connsiteX1826" fmla="*/ 368914 w 774525"/>
                    <a:gd name="connsiteY1826" fmla="*/ 380548 h 1153700"/>
                    <a:gd name="connsiteX1827" fmla="*/ 366911 w 774525"/>
                    <a:gd name="connsiteY1827" fmla="*/ 379771 h 1153700"/>
                    <a:gd name="connsiteX1828" fmla="*/ 366401 w 774525"/>
                    <a:gd name="connsiteY1828" fmla="*/ 379370 h 1153700"/>
                    <a:gd name="connsiteX1829" fmla="*/ 366170 w 774525"/>
                    <a:gd name="connsiteY1829" fmla="*/ 378738 h 1153700"/>
                    <a:gd name="connsiteX1830" fmla="*/ 366510 w 774525"/>
                    <a:gd name="connsiteY1830" fmla="*/ 377876 h 1153700"/>
                    <a:gd name="connsiteX1831" fmla="*/ 367263 w 774525"/>
                    <a:gd name="connsiteY1831" fmla="*/ 376990 h 1153700"/>
                    <a:gd name="connsiteX1832" fmla="*/ 369097 w 774525"/>
                    <a:gd name="connsiteY1832" fmla="*/ 375666 h 1153700"/>
                    <a:gd name="connsiteX1833" fmla="*/ 370019 w 774525"/>
                    <a:gd name="connsiteY1833" fmla="*/ 374780 h 1153700"/>
                    <a:gd name="connsiteX1834" fmla="*/ 370517 w 774525"/>
                    <a:gd name="connsiteY1834" fmla="*/ 373978 h 1153700"/>
                    <a:gd name="connsiteX1835" fmla="*/ 370712 w 774525"/>
                    <a:gd name="connsiteY1835" fmla="*/ 373310 h 1153700"/>
                    <a:gd name="connsiteX1836" fmla="*/ 370772 w 774525"/>
                    <a:gd name="connsiteY1836" fmla="*/ 372618 h 1153700"/>
                    <a:gd name="connsiteX1837" fmla="*/ 370712 w 774525"/>
                    <a:gd name="connsiteY1837" fmla="*/ 371987 h 1153700"/>
                    <a:gd name="connsiteX1838" fmla="*/ 374075 w 774525"/>
                    <a:gd name="connsiteY1838" fmla="*/ 370044 h 1153700"/>
                    <a:gd name="connsiteX1839" fmla="*/ 380353 w 774525"/>
                    <a:gd name="connsiteY1839" fmla="*/ 367773 h 1153700"/>
                    <a:gd name="connsiteX1840" fmla="*/ 386085 w 774525"/>
                    <a:gd name="connsiteY1840" fmla="*/ 365041 h 1153700"/>
                    <a:gd name="connsiteX1841" fmla="*/ 388574 w 774525"/>
                    <a:gd name="connsiteY1841" fmla="*/ 363523 h 1153700"/>
                    <a:gd name="connsiteX1842" fmla="*/ 389764 w 774525"/>
                    <a:gd name="connsiteY1842" fmla="*/ 362030 h 1153700"/>
                    <a:gd name="connsiteX1843" fmla="*/ 391391 w 774525"/>
                    <a:gd name="connsiteY1843" fmla="*/ 359309 h 1153700"/>
                    <a:gd name="connsiteX1844" fmla="*/ 391452 w 774525"/>
                    <a:gd name="connsiteY1844" fmla="*/ 359249 h 1153700"/>
                    <a:gd name="connsiteX1845" fmla="*/ 391500 w 774525"/>
                    <a:gd name="connsiteY1845" fmla="*/ 359188 h 1153700"/>
                    <a:gd name="connsiteX1846" fmla="*/ 391780 w 774525"/>
                    <a:gd name="connsiteY1846" fmla="*/ 358982 h 1153700"/>
                    <a:gd name="connsiteX1847" fmla="*/ 392751 w 774525"/>
                    <a:gd name="connsiteY1847" fmla="*/ 358532 h 1153700"/>
                    <a:gd name="connsiteX1848" fmla="*/ 399709 w 774525"/>
                    <a:gd name="connsiteY1848" fmla="*/ 356371 h 1153700"/>
                    <a:gd name="connsiteX1849" fmla="*/ 403498 w 774525"/>
                    <a:gd name="connsiteY1849" fmla="*/ 354161 h 1153700"/>
                    <a:gd name="connsiteX1850" fmla="*/ 405890 w 774525"/>
                    <a:gd name="connsiteY1850" fmla="*/ 352449 h 1153700"/>
                    <a:gd name="connsiteX1851" fmla="*/ 409521 w 774525"/>
                    <a:gd name="connsiteY1851" fmla="*/ 353590 h 1153700"/>
                    <a:gd name="connsiteX1852" fmla="*/ 412107 w 774525"/>
                    <a:gd name="connsiteY1852" fmla="*/ 355594 h 1153700"/>
                    <a:gd name="connsiteX1853" fmla="*/ 412374 w 774525"/>
                    <a:gd name="connsiteY1853" fmla="*/ 356310 h 1153700"/>
                    <a:gd name="connsiteX1854" fmla="*/ 412435 w 774525"/>
                    <a:gd name="connsiteY1854" fmla="*/ 357719 h 1153700"/>
                    <a:gd name="connsiteX1855" fmla="*/ 415313 w 774525"/>
                    <a:gd name="connsiteY1855" fmla="*/ 359018 h 1153700"/>
                    <a:gd name="connsiteX1856" fmla="*/ 426861 w 774525"/>
                    <a:gd name="connsiteY1856" fmla="*/ 361022 h 1153700"/>
                    <a:gd name="connsiteX1857" fmla="*/ 426460 w 774525"/>
                    <a:gd name="connsiteY1857" fmla="*/ 357949 h 1153700"/>
                    <a:gd name="connsiteX1858" fmla="*/ 426399 w 774525"/>
                    <a:gd name="connsiteY1858" fmla="*/ 355278 h 1153700"/>
                    <a:gd name="connsiteX1859" fmla="*/ 425999 w 774525"/>
                    <a:gd name="connsiteY1859" fmla="*/ 354331 h 1153700"/>
                    <a:gd name="connsiteX1860" fmla="*/ 425246 w 774525"/>
                    <a:gd name="connsiteY1860" fmla="*/ 353262 h 1153700"/>
                    <a:gd name="connsiteX1861" fmla="*/ 423691 w 774525"/>
                    <a:gd name="connsiteY1861" fmla="*/ 351745 h 1153700"/>
                    <a:gd name="connsiteX1862" fmla="*/ 422890 w 774525"/>
                    <a:gd name="connsiteY1862" fmla="*/ 350712 h 1153700"/>
                    <a:gd name="connsiteX1863" fmla="*/ 422319 w 774525"/>
                    <a:gd name="connsiteY1863" fmla="*/ 349826 h 1153700"/>
                    <a:gd name="connsiteX1864" fmla="*/ 422489 w 774525"/>
                    <a:gd name="connsiteY1864" fmla="*/ 347871 h 1153700"/>
                    <a:gd name="connsiteX1865" fmla="*/ 423983 w 774525"/>
                    <a:gd name="connsiteY1865" fmla="*/ 342334 h 1153700"/>
                    <a:gd name="connsiteX1866" fmla="*/ 424845 w 774525"/>
                    <a:gd name="connsiteY1866" fmla="*/ 336420 h 1153700"/>
                    <a:gd name="connsiteX1867" fmla="*/ 424845 w 774525"/>
                    <a:gd name="connsiteY1867" fmla="*/ 334987 h 1153700"/>
                    <a:gd name="connsiteX1868" fmla="*/ 424602 w 774525"/>
                    <a:gd name="connsiteY1868" fmla="*/ 333749 h 1153700"/>
                    <a:gd name="connsiteX1869" fmla="*/ 423691 w 774525"/>
                    <a:gd name="connsiteY1869" fmla="*/ 330106 h 1153700"/>
                    <a:gd name="connsiteX1870" fmla="*/ 422890 w 774525"/>
                    <a:gd name="connsiteY1870" fmla="*/ 325455 h 1153700"/>
                    <a:gd name="connsiteX1871" fmla="*/ 422258 w 774525"/>
                    <a:gd name="connsiteY1871" fmla="*/ 323585 h 1153700"/>
                    <a:gd name="connsiteX1872" fmla="*/ 420364 w 774525"/>
                    <a:gd name="connsiteY1872" fmla="*/ 320938 h 1153700"/>
                    <a:gd name="connsiteX1873" fmla="*/ 415143 w 774525"/>
                    <a:gd name="connsiteY1873" fmla="*/ 317040 h 1153700"/>
                    <a:gd name="connsiteX1874" fmla="*/ 403425 w 774525"/>
                    <a:gd name="connsiteY1874" fmla="*/ 312122 h 1153700"/>
                    <a:gd name="connsiteX1875" fmla="*/ 401470 w 774525"/>
                    <a:gd name="connsiteY1875" fmla="*/ 308941 h 1153700"/>
                    <a:gd name="connsiteX1876" fmla="*/ 397450 w 774525"/>
                    <a:gd name="connsiteY1876" fmla="*/ 306160 h 1153700"/>
                    <a:gd name="connsiteX1877" fmla="*/ 396236 w 774525"/>
                    <a:gd name="connsiteY1877" fmla="*/ 304521 h 1153700"/>
                    <a:gd name="connsiteX1878" fmla="*/ 394973 w 774525"/>
                    <a:gd name="connsiteY1878" fmla="*/ 301849 h 1153700"/>
                    <a:gd name="connsiteX1879" fmla="*/ 394063 w 774525"/>
                    <a:gd name="connsiteY1879" fmla="*/ 298328 h 1153700"/>
                    <a:gd name="connsiteX1880" fmla="*/ 393018 w 774525"/>
                    <a:gd name="connsiteY1880" fmla="*/ 296506 h 1153700"/>
                    <a:gd name="connsiteX1881" fmla="*/ 392156 w 774525"/>
                    <a:gd name="connsiteY1881" fmla="*/ 295426 h 1153700"/>
                    <a:gd name="connsiteX1882" fmla="*/ 391367 w 774525"/>
                    <a:gd name="connsiteY1882" fmla="*/ 294648 h 1153700"/>
                    <a:gd name="connsiteX1883" fmla="*/ 388902 w 774525"/>
                    <a:gd name="connsiteY1883" fmla="*/ 290362 h 1153700"/>
                    <a:gd name="connsiteX1884" fmla="*/ 387008 w 774525"/>
                    <a:gd name="connsiteY1884" fmla="*/ 289196 h 1153700"/>
                    <a:gd name="connsiteX1885" fmla="*/ 381264 w 774525"/>
                    <a:gd name="connsiteY1885" fmla="*/ 286573 h 1153700"/>
                    <a:gd name="connsiteX1886" fmla="*/ 377706 w 774525"/>
                    <a:gd name="connsiteY1886" fmla="*/ 284400 h 1153700"/>
                    <a:gd name="connsiteX1887" fmla="*/ 376905 w 774525"/>
                    <a:gd name="connsiteY1887" fmla="*/ 283392 h 1153700"/>
                    <a:gd name="connsiteX1888" fmla="*/ 376383 w 774525"/>
                    <a:gd name="connsiteY1888" fmla="*/ 282493 h 1153700"/>
                    <a:gd name="connsiteX1889" fmla="*/ 376212 w 774525"/>
                    <a:gd name="connsiteY1889" fmla="*/ 281716 h 1153700"/>
                    <a:gd name="connsiteX1890" fmla="*/ 375958 w 774525"/>
                    <a:gd name="connsiteY1890" fmla="*/ 281036 h 1153700"/>
                    <a:gd name="connsiteX1891" fmla="*/ 375630 w 774525"/>
                    <a:gd name="connsiteY1891" fmla="*/ 280405 h 1153700"/>
                    <a:gd name="connsiteX1892" fmla="*/ 374658 w 774525"/>
                    <a:gd name="connsiteY1892" fmla="*/ 278656 h 1153700"/>
                    <a:gd name="connsiteX1893" fmla="*/ 374415 w 774525"/>
                    <a:gd name="connsiteY1893" fmla="*/ 277855 h 1153700"/>
                    <a:gd name="connsiteX1894" fmla="*/ 374306 w 774525"/>
                    <a:gd name="connsiteY1894" fmla="*/ 276786 h 1153700"/>
                    <a:gd name="connsiteX1895" fmla="*/ 374707 w 774525"/>
                    <a:gd name="connsiteY1895" fmla="*/ 275293 h 1153700"/>
                    <a:gd name="connsiteX1896" fmla="*/ 375399 w 774525"/>
                    <a:gd name="connsiteY1896" fmla="*/ 274430 h 1153700"/>
                    <a:gd name="connsiteX1897" fmla="*/ 376832 w 774525"/>
                    <a:gd name="connsiteY1897" fmla="*/ 273860 h 1153700"/>
                    <a:gd name="connsiteX1898" fmla="*/ 378775 w 774525"/>
                    <a:gd name="connsiteY1898" fmla="*/ 273398 h 1153700"/>
                    <a:gd name="connsiteX1899" fmla="*/ 379418 w 774525"/>
                    <a:gd name="connsiteY1899" fmla="*/ 272743 h 1153700"/>
                    <a:gd name="connsiteX1900" fmla="*/ 379880 w 774525"/>
                    <a:gd name="connsiteY1900" fmla="*/ 271674 h 1153700"/>
                    <a:gd name="connsiteX1901" fmla="*/ 381313 w 774525"/>
                    <a:gd name="connsiteY1901" fmla="*/ 265821 h 1153700"/>
                    <a:gd name="connsiteX1902" fmla="*/ 381993 w 774525"/>
                    <a:gd name="connsiteY1902" fmla="*/ 263975 h 1153700"/>
                    <a:gd name="connsiteX1903" fmla="*/ 382284 w 774525"/>
                    <a:gd name="connsiteY1903" fmla="*/ 261777 h 1153700"/>
                    <a:gd name="connsiteX1904" fmla="*/ 382102 w 774525"/>
                    <a:gd name="connsiteY1904" fmla="*/ 259070 h 1153700"/>
                    <a:gd name="connsiteX1905" fmla="*/ 382102 w 774525"/>
                    <a:gd name="connsiteY1905" fmla="*/ 259045 h 1153700"/>
                    <a:gd name="connsiteX1906" fmla="*/ 382102 w 774525"/>
                    <a:gd name="connsiteY1906" fmla="*/ 258985 h 1153700"/>
                    <a:gd name="connsiteX1907" fmla="*/ 382551 w 774525"/>
                    <a:gd name="connsiteY1907" fmla="*/ 256945 h 1153700"/>
                    <a:gd name="connsiteX1908" fmla="*/ 384045 w 774525"/>
                    <a:gd name="connsiteY1908" fmla="*/ 254589 h 1153700"/>
                    <a:gd name="connsiteX1909" fmla="*/ 389278 w 774525"/>
                    <a:gd name="connsiteY1909" fmla="*/ 249197 h 1153700"/>
                    <a:gd name="connsiteX1910" fmla="*/ 402307 w 774525"/>
                    <a:gd name="connsiteY1910" fmla="*/ 239204 h 1153700"/>
                    <a:gd name="connsiteX1911" fmla="*/ 408634 w 774525"/>
                    <a:gd name="connsiteY1911" fmla="*/ 231299 h 1153700"/>
                    <a:gd name="connsiteX1912" fmla="*/ 410310 w 774525"/>
                    <a:gd name="connsiteY1912" fmla="*/ 229817 h 1153700"/>
                    <a:gd name="connsiteX1913" fmla="*/ 411512 w 774525"/>
                    <a:gd name="connsiteY1913" fmla="*/ 229550 h 1153700"/>
                    <a:gd name="connsiteX1914" fmla="*/ 412775 w 774525"/>
                    <a:gd name="connsiteY1914" fmla="*/ 229587 h 1153700"/>
                    <a:gd name="connsiteX1915" fmla="*/ 414098 w 774525"/>
                    <a:gd name="connsiteY1915" fmla="*/ 229769 h 1153700"/>
                    <a:gd name="connsiteX1916" fmla="*/ 415398 w 774525"/>
                    <a:gd name="connsiteY1916" fmla="*/ 229587 h 1153700"/>
                    <a:gd name="connsiteX1917" fmla="*/ 417304 w 774525"/>
                    <a:gd name="connsiteY1917" fmla="*/ 228785 h 1153700"/>
                    <a:gd name="connsiteX1918" fmla="*/ 421311 w 774525"/>
                    <a:gd name="connsiteY1918" fmla="*/ 224705 h 1153700"/>
                    <a:gd name="connsiteX1919" fmla="*/ 423084 w 774525"/>
                    <a:gd name="connsiteY1919" fmla="*/ 223491 h 1153700"/>
                    <a:gd name="connsiteX1920" fmla="*/ 426873 w 774525"/>
                    <a:gd name="connsiteY1920" fmla="*/ 221900 h 1153700"/>
                    <a:gd name="connsiteX1921" fmla="*/ 429168 w 774525"/>
                    <a:gd name="connsiteY1921" fmla="*/ 220370 h 1153700"/>
                    <a:gd name="connsiteX1922" fmla="*/ 432544 w 774525"/>
                    <a:gd name="connsiteY1922" fmla="*/ 216691 h 1153700"/>
                    <a:gd name="connsiteX1923" fmla="*/ 436393 w 774525"/>
                    <a:gd name="connsiteY1923" fmla="*/ 213594 h 1153700"/>
                    <a:gd name="connsiteX1924" fmla="*/ 443108 w 774525"/>
                    <a:gd name="connsiteY1924" fmla="*/ 205774 h 1153700"/>
                    <a:gd name="connsiteX1925" fmla="*/ 445585 w 774525"/>
                    <a:gd name="connsiteY1925" fmla="*/ 203406 h 1153700"/>
                    <a:gd name="connsiteX1926" fmla="*/ 447989 w 774525"/>
                    <a:gd name="connsiteY1926" fmla="*/ 201731 h 1153700"/>
                    <a:gd name="connsiteX1927" fmla="*/ 453320 w 774525"/>
                    <a:gd name="connsiteY1927" fmla="*/ 200128 h 1153700"/>
                    <a:gd name="connsiteX1928" fmla="*/ 455445 w 774525"/>
                    <a:gd name="connsiteY1928" fmla="*/ 198926 h 1153700"/>
                    <a:gd name="connsiteX1929" fmla="*/ 461262 w 774525"/>
                    <a:gd name="connsiteY1929" fmla="*/ 193437 h 1153700"/>
                    <a:gd name="connsiteX1930" fmla="*/ 463605 w 774525"/>
                    <a:gd name="connsiteY1930" fmla="*/ 192271 h 1153700"/>
                    <a:gd name="connsiteX1931" fmla="*/ 466009 w 774525"/>
                    <a:gd name="connsiteY1931" fmla="*/ 191810 h 1153700"/>
                    <a:gd name="connsiteX1932" fmla="*/ 468997 w 774525"/>
                    <a:gd name="connsiteY1932" fmla="*/ 191773 h 1153700"/>
                    <a:gd name="connsiteX1933" fmla="*/ 469920 w 774525"/>
                    <a:gd name="connsiteY1933" fmla="*/ 191555 h 1153700"/>
                    <a:gd name="connsiteX1934" fmla="*/ 470442 w 774525"/>
                    <a:gd name="connsiteY1934" fmla="*/ 190996 h 1153700"/>
                    <a:gd name="connsiteX1935" fmla="*/ 470891 w 774525"/>
                    <a:gd name="connsiteY1935" fmla="*/ 190001 h 1153700"/>
                    <a:gd name="connsiteX1936" fmla="*/ 471122 w 774525"/>
                    <a:gd name="connsiteY1936" fmla="*/ 188410 h 1153700"/>
                    <a:gd name="connsiteX1937" fmla="*/ 471122 w 774525"/>
                    <a:gd name="connsiteY1937" fmla="*/ 186783 h 1153700"/>
                    <a:gd name="connsiteX1938" fmla="*/ 470332 w 774525"/>
                    <a:gd name="connsiteY1938" fmla="*/ 184998 h 1153700"/>
                    <a:gd name="connsiteX1939" fmla="*/ 468960 w 774525"/>
                    <a:gd name="connsiteY1939" fmla="*/ 183456 h 1153700"/>
                    <a:gd name="connsiteX1940" fmla="*/ 466434 w 774525"/>
                    <a:gd name="connsiteY1940" fmla="*/ 182035 h 1153700"/>
                    <a:gd name="connsiteX1941" fmla="*/ 462816 w 774525"/>
                    <a:gd name="connsiteY1941" fmla="*/ 180578 h 1153700"/>
                    <a:gd name="connsiteX1942" fmla="*/ 461881 w 774525"/>
                    <a:gd name="connsiteY1942" fmla="*/ 179521 h 1153700"/>
                    <a:gd name="connsiteX1943" fmla="*/ 461771 w 774525"/>
                    <a:gd name="connsiteY1943" fmla="*/ 177991 h 1153700"/>
                    <a:gd name="connsiteX1944" fmla="*/ 462512 w 774525"/>
                    <a:gd name="connsiteY1944" fmla="*/ 176534 h 1153700"/>
                    <a:gd name="connsiteX1945" fmla="*/ 463678 w 774525"/>
                    <a:gd name="connsiteY1945" fmla="*/ 175587 h 1153700"/>
                    <a:gd name="connsiteX1946" fmla="*/ 465633 w 774525"/>
                    <a:gd name="connsiteY1946" fmla="*/ 174555 h 1153700"/>
                    <a:gd name="connsiteX1947" fmla="*/ 466386 w 774525"/>
                    <a:gd name="connsiteY1947" fmla="*/ 173972 h 1153700"/>
                    <a:gd name="connsiteX1948" fmla="*/ 467127 w 774525"/>
                    <a:gd name="connsiteY1948" fmla="*/ 173001 h 1153700"/>
                    <a:gd name="connsiteX1949" fmla="*/ 466447 w 774525"/>
                    <a:gd name="connsiteY1949" fmla="*/ 171677 h 1153700"/>
                    <a:gd name="connsiteX1950" fmla="*/ 464941 w 774525"/>
                    <a:gd name="connsiteY1950" fmla="*/ 169831 h 1153700"/>
                    <a:gd name="connsiteX1951" fmla="*/ 458687 w 774525"/>
                    <a:gd name="connsiteY1951" fmla="*/ 163723 h 1153700"/>
                    <a:gd name="connsiteX1952" fmla="*/ 456902 w 774525"/>
                    <a:gd name="connsiteY1952" fmla="*/ 162351 h 1153700"/>
                    <a:gd name="connsiteX1953" fmla="*/ 454790 w 774525"/>
                    <a:gd name="connsiteY1953" fmla="*/ 161659 h 1153700"/>
                    <a:gd name="connsiteX1954" fmla="*/ 453296 w 774525"/>
                    <a:gd name="connsiteY1954" fmla="*/ 160882 h 1153700"/>
                    <a:gd name="connsiteX1955" fmla="*/ 451620 w 774525"/>
                    <a:gd name="connsiteY1955" fmla="*/ 159425 h 1153700"/>
                    <a:gd name="connsiteX1956" fmla="*/ 450819 w 774525"/>
                    <a:gd name="connsiteY1956" fmla="*/ 158587 h 1153700"/>
                    <a:gd name="connsiteX1957" fmla="*/ 450819 w 774525"/>
                    <a:gd name="connsiteY1957" fmla="*/ 158550 h 1153700"/>
                    <a:gd name="connsiteX1958" fmla="*/ 450758 w 774525"/>
                    <a:gd name="connsiteY1958" fmla="*/ 158320 h 1153700"/>
                    <a:gd name="connsiteX1959" fmla="*/ 451001 w 774525"/>
                    <a:gd name="connsiteY1959" fmla="*/ 156085 h 1153700"/>
                    <a:gd name="connsiteX1960" fmla="*/ 452774 w 774525"/>
                    <a:gd name="connsiteY1960" fmla="*/ 150633 h 1153700"/>
                    <a:gd name="connsiteX1961" fmla="*/ 452312 w 774525"/>
                    <a:gd name="connsiteY1961" fmla="*/ 149103 h 1153700"/>
                    <a:gd name="connsiteX1962" fmla="*/ 450588 w 774525"/>
                    <a:gd name="connsiteY1962" fmla="*/ 148654 h 1153700"/>
                    <a:gd name="connsiteX1963" fmla="*/ 442306 w 774525"/>
                    <a:gd name="connsiteY1963" fmla="*/ 151520 h 1153700"/>
                    <a:gd name="connsiteX1964" fmla="*/ 438749 w 774525"/>
                    <a:gd name="connsiteY1964" fmla="*/ 152333 h 1153700"/>
                    <a:gd name="connsiteX1965" fmla="*/ 437024 w 774525"/>
                    <a:gd name="connsiteY1965" fmla="*/ 152467 h 1153700"/>
                    <a:gd name="connsiteX1966" fmla="*/ 433807 w 774525"/>
                    <a:gd name="connsiteY1966" fmla="*/ 151495 h 1153700"/>
                    <a:gd name="connsiteX1967" fmla="*/ 430479 w 774525"/>
                    <a:gd name="connsiteY1967" fmla="*/ 150742 h 1153700"/>
                    <a:gd name="connsiteX1968" fmla="*/ 430807 w 774525"/>
                    <a:gd name="connsiteY1968" fmla="*/ 149698 h 1153700"/>
                    <a:gd name="connsiteX1969" fmla="*/ 433236 w 774525"/>
                    <a:gd name="connsiteY1969" fmla="*/ 142133 h 1153700"/>
                    <a:gd name="connsiteX1970" fmla="*/ 437462 w 774525"/>
                    <a:gd name="connsiteY1970" fmla="*/ 134143 h 1153700"/>
                    <a:gd name="connsiteX1971" fmla="*/ 441687 w 774525"/>
                    <a:gd name="connsiteY1971" fmla="*/ 126165 h 1153700"/>
                    <a:gd name="connsiteX1972" fmla="*/ 444784 w 774525"/>
                    <a:gd name="connsiteY1972" fmla="*/ 117325 h 1153700"/>
                    <a:gd name="connsiteX1973" fmla="*/ 445585 w 774525"/>
                    <a:gd name="connsiteY1973" fmla="*/ 113306 h 1153700"/>
                    <a:gd name="connsiteX1974" fmla="*/ 445719 w 774525"/>
                    <a:gd name="connsiteY1974" fmla="*/ 111399 h 1153700"/>
                    <a:gd name="connsiteX1975" fmla="*/ 445864 w 774525"/>
                    <a:gd name="connsiteY1975" fmla="*/ 109493 h 1153700"/>
                    <a:gd name="connsiteX1976" fmla="*/ 445864 w 774525"/>
                    <a:gd name="connsiteY1976" fmla="*/ 109493 h 1153700"/>
                    <a:gd name="connsiteX1977" fmla="*/ 445792 w 774525"/>
                    <a:gd name="connsiteY1977" fmla="*/ 108230 h 1153700"/>
                    <a:gd name="connsiteX1978" fmla="*/ 445646 w 774525"/>
                    <a:gd name="connsiteY1978" fmla="*/ 105680 h 1153700"/>
                    <a:gd name="connsiteX1979" fmla="*/ 444529 w 774525"/>
                    <a:gd name="connsiteY1979" fmla="*/ 100361 h 1153700"/>
                    <a:gd name="connsiteX1980" fmla="*/ 443970 w 774525"/>
                    <a:gd name="connsiteY1980" fmla="*/ 97702 h 1153700"/>
                    <a:gd name="connsiteX1981" fmla="*/ 443266 w 774525"/>
                    <a:gd name="connsiteY1981" fmla="*/ 89032 h 1153700"/>
                    <a:gd name="connsiteX1982" fmla="*/ 442525 w 774525"/>
                    <a:gd name="connsiteY1982" fmla="*/ 85559 h 1153700"/>
                    <a:gd name="connsiteX1983" fmla="*/ 441723 w 774525"/>
                    <a:gd name="connsiteY1983" fmla="*/ 84005 h 1153700"/>
                    <a:gd name="connsiteX1984" fmla="*/ 440934 w 774525"/>
                    <a:gd name="connsiteY1984" fmla="*/ 82438 h 1153700"/>
                    <a:gd name="connsiteX1985" fmla="*/ 438834 w 774525"/>
                    <a:gd name="connsiteY1985" fmla="*/ 79366 h 1153700"/>
                    <a:gd name="connsiteX1986" fmla="*/ 436721 w 774525"/>
                    <a:gd name="connsiteY1986" fmla="*/ 76294 h 1153700"/>
                    <a:gd name="connsiteX1987" fmla="*/ 435130 w 774525"/>
                    <a:gd name="connsiteY1987" fmla="*/ 73198 h 1153700"/>
                    <a:gd name="connsiteX1988" fmla="*/ 432713 w 774525"/>
                    <a:gd name="connsiteY1988" fmla="*/ 67138 h 1153700"/>
                    <a:gd name="connsiteX1989" fmla="*/ 432313 w 774525"/>
                    <a:gd name="connsiteY1989" fmla="*/ 66130 h 1153700"/>
                    <a:gd name="connsiteX1990" fmla="*/ 431633 w 774525"/>
                    <a:gd name="connsiteY1990" fmla="*/ 64941 h 1153700"/>
                    <a:gd name="connsiteX1991" fmla="*/ 428585 w 774525"/>
                    <a:gd name="connsiteY1991" fmla="*/ 59573 h 1153700"/>
                    <a:gd name="connsiteX1992" fmla="*/ 426630 w 774525"/>
                    <a:gd name="connsiteY1992" fmla="*/ 56926 h 1153700"/>
                    <a:gd name="connsiteX1993" fmla="*/ 424687 w 774525"/>
                    <a:gd name="connsiteY1993" fmla="*/ 54267 h 1153700"/>
                    <a:gd name="connsiteX1994" fmla="*/ 422210 w 774525"/>
                    <a:gd name="connsiteY1994" fmla="*/ 52057 h 1153700"/>
                    <a:gd name="connsiteX1995" fmla="*/ 419283 w 774525"/>
                    <a:gd name="connsiteY1995" fmla="*/ 50770 h 1153700"/>
                    <a:gd name="connsiteX1996" fmla="*/ 415956 w 774525"/>
                    <a:gd name="connsiteY1996" fmla="*/ 48705 h 1153700"/>
                    <a:gd name="connsiteX1997" fmla="*/ 413819 w 774525"/>
                    <a:gd name="connsiteY1997" fmla="*/ 44237 h 1153700"/>
                    <a:gd name="connsiteX1998" fmla="*/ 412520 w 774525"/>
                    <a:gd name="connsiteY1998" fmla="*/ 41480 h 1153700"/>
                    <a:gd name="connsiteX1999" fmla="*/ 411148 w 774525"/>
                    <a:gd name="connsiteY1999" fmla="*/ 40181 h 1153700"/>
                    <a:gd name="connsiteX2000" fmla="*/ 409593 w 774525"/>
                    <a:gd name="connsiteY2000" fmla="*/ 38712 h 1153700"/>
                    <a:gd name="connsiteX2001" fmla="*/ 408671 w 774525"/>
                    <a:gd name="connsiteY2001" fmla="*/ 37194 h 1153700"/>
                    <a:gd name="connsiteX2002" fmla="*/ 408379 w 774525"/>
                    <a:gd name="connsiteY2002" fmla="*/ 35555 h 1153700"/>
                    <a:gd name="connsiteX2003" fmla="*/ 408500 w 774525"/>
                    <a:gd name="connsiteY2003" fmla="*/ 34996 h 1153700"/>
                    <a:gd name="connsiteX2004" fmla="*/ 408743 w 774525"/>
                    <a:gd name="connsiteY2004" fmla="*/ 33879 h 1153700"/>
                    <a:gd name="connsiteX2005" fmla="*/ 411439 w 774525"/>
                    <a:gd name="connsiteY2005" fmla="*/ 27990 h 1153700"/>
                    <a:gd name="connsiteX2006" fmla="*/ 411816 w 774525"/>
                    <a:gd name="connsiteY2006" fmla="*/ 20910 h 1153700"/>
                    <a:gd name="connsiteX2007" fmla="*/ 412192 w 774525"/>
                    <a:gd name="connsiteY2007" fmla="*/ 13831 h 1153700"/>
                    <a:gd name="connsiteX2008" fmla="*/ 415179 w 774525"/>
                    <a:gd name="connsiteY2008" fmla="*/ 7711 h 1153700"/>
                    <a:gd name="connsiteX2009" fmla="*/ 412058 w 774525"/>
                    <a:gd name="connsiteY2009" fmla="*/ 0 h 1153700"/>
                    <a:gd name="connsiteX2010" fmla="*/ 409666 w 774525"/>
                    <a:gd name="connsiteY2010" fmla="*/ 5161 h 1153700"/>
                    <a:gd name="connsiteX2011" fmla="*/ 406801 w 774525"/>
                    <a:gd name="connsiteY2011" fmla="*/ 11366 h 1153700"/>
                    <a:gd name="connsiteX2012" fmla="*/ 406315 w 774525"/>
                    <a:gd name="connsiteY2012" fmla="*/ 12422 h 1153700"/>
                    <a:gd name="connsiteX2013" fmla="*/ 406254 w 774525"/>
                    <a:gd name="connsiteY2013" fmla="*/ 13588 h 1153700"/>
                    <a:gd name="connsiteX2014" fmla="*/ 405878 w 774525"/>
                    <a:gd name="connsiteY2014" fmla="*/ 20667 h 1153700"/>
                    <a:gd name="connsiteX2015" fmla="*/ 405562 w 774525"/>
                    <a:gd name="connsiteY2015" fmla="*/ 26593 h 1153700"/>
                    <a:gd name="connsiteX2016" fmla="*/ 403340 w 774525"/>
                    <a:gd name="connsiteY2016" fmla="*/ 31438 h 1153700"/>
                    <a:gd name="connsiteX2017" fmla="*/ 403073 w 774525"/>
                    <a:gd name="connsiteY2017" fmla="*/ 32045 h 1153700"/>
                    <a:gd name="connsiteX2018" fmla="*/ 402927 w 774525"/>
                    <a:gd name="connsiteY2018" fmla="*/ 32701 h 1153700"/>
                    <a:gd name="connsiteX2019" fmla="*/ 402684 w 774525"/>
                    <a:gd name="connsiteY2019" fmla="*/ 33818 h 1153700"/>
                    <a:gd name="connsiteX2020" fmla="*/ 402429 w 774525"/>
                    <a:gd name="connsiteY2020" fmla="*/ 34984 h 1153700"/>
                    <a:gd name="connsiteX2021" fmla="*/ 402526 w 774525"/>
                    <a:gd name="connsiteY2021" fmla="*/ 36720 h 1153700"/>
                    <a:gd name="connsiteX2022" fmla="*/ 402818 w 774525"/>
                    <a:gd name="connsiteY2022" fmla="*/ 38360 h 1153700"/>
                    <a:gd name="connsiteX2023" fmla="*/ 403024 w 774525"/>
                    <a:gd name="connsiteY2023" fmla="*/ 39477 h 1153700"/>
                    <a:gd name="connsiteX2024" fmla="*/ 403619 w 774525"/>
                    <a:gd name="connsiteY2024" fmla="*/ 40448 h 1153700"/>
                    <a:gd name="connsiteX2025" fmla="*/ 404542 w 774525"/>
                    <a:gd name="connsiteY2025" fmla="*/ 41966 h 1153700"/>
                    <a:gd name="connsiteX2026" fmla="*/ 404967 w 774525"/>
                    <a:gd name="connsiteY2026" fmla="*/ 42670 h 1153700"/>
                    <a:gd name="connsiteX2027" fmla="*/ 405562 w 774525"/>
                    <a:gd name="connsiteY2027" fmla="*/ 43229 h 1153700"/>
                    <a:gd name="connsiteX2028" fmla="*/ 407116 w 774525"/>
                    <a:gd name="connsiteY2028" fmla="*/ 44698 h 1153700"/>
                    <a:gd name="connsiteX2029" fmla="*/ 407650 w 774525"/>
                    <a:gd name="connsiteY2029" fmla="*/ 45208 h 1153700"/>
                    <a:gd name="connsiteX2030" fmla="*/ 408464 w 774525"/>
                    <a:gd name="connsiteY2030" fmla="*/ 46933 h 1153700"/>
                    <a:gd name="connsiteX2031" fmla="*/ 410613 w 774525"/>
                    <a:gd name="connsiteY2031" fmla="*/ 51425 h 1153700"/>
                    <a:gd name="connsiteX2032" fmla="*/ 411378 w 774525"/>
                    <a:gd name="connsiteY2032" fmla="*/ 53028 h 1153700"/>
                    <a:gd name="connsiteX2033" fmla="*/ 412884 w 774525"/>
                    <a:gd name="connsiteY2033" fmla="*/ 53963 h 1153700"/>
                    <a:gd name="connsiteX2034" fmla="*/ 416211 w 774525"/>
                    <a:gd name="connsiteY2034" fmla="*/ 56027 h 1153700"/>
                    <a:gd name="connsiteX2035" fmla="*/ 416576 w 774525"/>
                    <a:gd name="connsiteY2035" fmla="*/ 56258 h 1153700"/>
                    <a:gd name="connsiteX2036" fmla="*/ 416964 w 774525"/>
                    <a:gd name="connsiteY2036" fmla="*/ 56428 h 1153700"/>
                    <a:gd name="connsiteX2037" fmla="*/ 419016 w 774525"/>
                    <a:gd name="connsiteY2037" fmla="*/ 57327 h 1153700"/>
                    <a:gd name="connsiteX2038" fmla="*/ 420291 w 774525"/>
                    <a:gd name="connsiteY2038" fmla="*/ 58468 h 1153700"/>
                    <a:gd name="connsiteX2039" fmla="*/ 421858 w 774525"/>
                    <a:gd name="connsiteY2039" fmla="*/ 60605 h 1153700"/>
                    <a:gd name="connsiteX2040" fmla="*/ 423618 w 774525"/>
                    <a:gd name="connsiteY2040" fmla="*/ 62985 h 1153700"/>
                    <a:gd name="connsiteX2041" fmla="*/ 426484 w 774525"/>
                    <a:gd name="connsiteY2041" fmla="*/ 68037 h 1153700"/>
                    <a:gd name="connsiteX2042" fmla="*/ 426958 w 774525"/>
                    <a:gd name="connsiteY2042" fmla="*/ 68863 h 1153700"/>
                    <a:gd name="connsiteX2043" fmla="*/ 427213 w 774525"/>
                    <a:gd name="connsiteY2043" fmla="*/ 69482 h 1153700"/>
                    <a:gd name="connsiteX2044" fmla="*/ 429629 w 774525"/>
                    <a:gd name="connsiteY2044" fmla="*/ 75541 h 1153700"/>
                    <a:gd name="connsiteX2045" fmla="*/ 431439 w 774525"/>
                    <a:gd name="connsiteY2045" fmla="*/ 79160 h 1153700"/>
                    <a:gd name="connsiteX2046" fmla="*/ 431621 w 774525"/>
                    <a:gd name="connsiteY2046" fmla="*/ 79500 h 1153700"/>
                    <a:gd name="connsiteX2047" fmla="*/ 431851 w 774525"/>
                    <a:gd name="connsiteY2047" fmla="*/ 79816 h 1153700"/>
                    <a:gd name="connsiteX2048" fmla="*/ 433964 w 774525"/>
                    <a:gd name="connsiteY2048" fmla="*/ 82888 h 1153700"/>
                    <a:gd name="connsiteX2049" fmla="*/ 435822 w 774525"/>
                    <a:gd name="connsiteY2049" fmla="*/ 85632 h 1153700"/>
                    <a:gd name="connsiteX2050" fmla="*/ 436441 w 774525"/>
                    <a:gd name="connsiteY2050" fmla="*/ 86846 h 1153700"/>
                    <a:gd name="connsiteX2051" fmla="*/ 436891 w 774525"/>
                    <a:gd name="connsiteY2051" fmla="*/ 87721 h 1153700"/>
                    <a:gd name="connsiteX2052" fmla="*/ 437376 w 774525"/>
                    <a:gd name="connsiteY2052" fmla="*/ 90016 h 1153700"/>
                    <a:gd name="connsiteX2053" fmla="*/ 438056 w 774525"/>
                    <a:gd name="connsiteY2053" fmla="*/ 98297 h 1153700"/>
                    <a:gd name="connsiteX2054" fmla="*/ 438081 w 774525"/>
                    <a:gd name="connsiteY2054" fmla="*/ 98686 h 1153700"/>
                    <a:gd name="connsiteX2055" fmla="*/ 438166 w 774525"/>
                    <a:gd name="connsiteY2055" fmla="*/ 99062 h 1153700"/>
                    <a:gd name="connsiteX2056" fmla="*/ 438724 w 774525"/>
                    <a:gd name="connsiteY2056" fmla="*/ 101721 h 1153700"/>
                    <a:gd name="connsiteX2057" fmla="*/ 439744 w 774525"/>
                    <a:gd name="connsiteY2057" fmla="*/ 106591 h 1153700"/>
                    <a:gd name="connsiteX2058" fmla="*/ 439866 w 774525"/>
                    <a:gd name="connsiteY2058" fmla="*/ 108691 h 1153700"/>
                    <a:gd name="connsiteX2059" fmla="*/ 439914 w 774525"/>
                    <a:gd name="connsiteY2059" fmla="*/ 109566 h 1153700"/>
                    <a:gd name="connsiteX2060" fmla="*/ 439793 w 774525"/>
                    <a:gd name="connsiteY2060" fmla="*/ 111084 h 1153700"/>
                    <a:gd name="connsiteX2061" fmla="*/ 439683 w 774525"/>
                    <a:gd name="connsiteY2061" fmla="*/ 112638 h 1153700"/>
                    <a:gd name="connsiteX2062" fmla="*/ 439040 w 774525"/>
                    <a:gd name="connsiteY2062" fmla="*/ 115856 h 1153700"/>
                    <a:gd name="connsiteX2063" fmla="*/ 436247 w 774525"/>
                    <a:gd name="connsiteY2063" fmla="*/ 123870 h 1153700"/>
                    <a:gd name="connsiteX2064" fmla="*/ 432240 w 774525"/>
                    <a:gd name="connsiteY2064" fmla="*/ 131447 h 1153700"/>
                    <a:gd name="connsiteX2065" fmla="*/ 428002 w 774525"/>
                    <a:gd name="connsiteY2065" fmla="*/ 139437 h 1153700"/>
                    <a:gd name="connsiteX2066" fmla="*/ 427747 w 774525"/>
                    <a:gd name="connsiteY2066" fmla="*/ 139911 h 1153700"/>
                    <a:gd name="connsiteX2067" fmla="*/ 427589 w 774525"/>
                    <a:gd name="connsiteY2067" fmla="*/ 140421 h 1153700"/>
                    <a:gd name="connsiteX2068" fmla="*/ 425161 w 774525"/>
                    <a:gd name="connsiteY2068" fmla="*/ 147986 h 1153700"/>
                    <a:gd name="connsiteX2069" fmla="*/ 424821 w 774525"/>
                    <a:gd name="connsiteY2069" fmla="*/ 149042 h 1153700"/>
                    <a:gd name="connsiteX2070" fmla="*/ 422817 w 774525"/>
                    <a:gd name="connsiteY2070" fmla="*/ 155357 h 1153700"/>
                    <a:gd name="connsiteX2071" fmla="*/ 429265 w 774525"/>
                    <a:gd name="connsiteY2071" fmla="*/ 156814 h 1153700"/>
                    <a:gd name="connsiteX2072" fmla="*/ 432592 w 774525"/>
                    <a:gd name="connsiteY2072" fmla="*/ 157567 h 1153700"/>
                    <a:gd name="connsiteX2073" fmla="*/ 435397 w 774525"/>
                    <a:gd name="connsiteY2073" fmla="*/ 158429 h 1153700"/>
                    <a:gd name="connsiteX2074" fmla="*/ 436478 w 774525"/>
                    <a:gd name="connsiteY2074" fmla="*/ 158745 h 1153700"/>
                    <a:gd name="connsiteX2075" fmla="*/ 437607 w 774525"/>
                    <a:gd name="connsiteY2075" fmla="*/ 158660 h 1153700"/>
                    <a:gd name="connsiteX2076" fmla="*/ 439331 w 774525"/>
                    <a:gd name="connsiteY2076" fmla="*/ 158526 h 1153700"/>
                    <a:gd name="connsiteX2077" fmla="*/ 439781 w 774525"/>
                    <a:gd name="connsiteY2077" fmla="*/ 158490 h 1153700"/>
                    <a:gd name="connsiteX2078" fmla="*/ 440218 w 774525"/>
                    <a:gd name="connsiteY2078" fmla="*/ 158393 h 1153700"/>
                    <a:gd name="connsiteX2079" fmla="*/ 443776 w 774525"/>
                    <a:gd name="connsiteY2079" fmla="*/ 157579 h 1153700"/>
                    <a:gd name="connsiteX2080" fmla="*/ 444091 w 774525"/>
                    <a:gd name="connsiteY2080" fmla="*/ 157506 h 1153700"/>
                    <a:gd name="connsiteX2081" fmla="*/ 444407 w 774525"/>
                    <a:gd name="connsiteY2081" fmla="*/ 157397 h 1153700"/>
                    <a:gd name="connsiteX2082" fmla="*/ 444881 w 774525"/>
                    <a:gd name="connsiteY2082" fmla="*/ 157227 h 1153700"/>
                    <a:gd name="connsiteX2083" fmla="*/ 444820 w 774525"/>
                    <a:gd name="connsiteY2083" fmla="*/ 157810 h 1153700"/>
                    <a:gd name="connsiteX2084" fmla="*/ 444699 w 774525"/>
                    <a:gd name="connsiteY2084" fmla="*/ 158890 h 1153700"/>
                    <a:gd name="connsiteX2085" fmla="*/ 444844 w 774525"/>
                    <a:gd name="connsiteY2085" fmla="*/ 159437 h 1153700"/>
                    <a:gd name="connsiteX2086" fmla="*/ 444844 w 774525"/>
                    <a:gd name="connsiteY2086" fmla="*/ 161125 h 1153700"/>
                    <a:gd name="connsiteX2087" fmla="*/ 446544 w 774525"/>
                    <a:gd name="connsiteY2087" fmla="*/ 162922 h 1153700"/>
                    <a:gd name="connsiteX2088" fmla="*/ 447346 w 774525"/>
                    <a:gd name="connsiteY2088" fmla="*/ 163760 h 1153700"/>
                    <a:gd name="connsiteX2089" fmla="*/ 449398 w 774525"/>
                    <a:gd name="connsiteY2089" fmla="*/ 165581 h 1153700"/>
                    <a:gd name="connsiteX2090" fmla="*/ 449956 w 774525"/>
                    <a:gd name="connsiteY2090" fmla="*/ 166055 h 1153700"/>
                    <a:gd name="connsiteX2091" fmla="*/ 450600 w 774525"/>
                    <a:gd name="connsiteY2091" fmla="*/ 166395 h 1153700"/>
                    <a:gd name="connsiteX2092" fmla="*/ 452094 w 774525"/>
                    <a:gd name="connsiteY2092" fmla="*/ 167172 h 1153700"/>
                    <a:gd name="connsiteX2093" fmla="*/ 452531 w 774525"/>
                    <a:gd name="connsiteY2093" fmla="*/ 167403 h 1153700"/>
                    <a:gd name="connsiteX2094" fmla="*/ 452992 w 774525"/>
                    <a:gd name="connsiteY2094" fmla="*/ 167561 h 1153700"/>
                    <a:gd name="connsiteX2095" fmla="*/ 454134 w 774525"/>
                    <a:gd name="connsiteY2095" fmla="*/ 167937 h 1153700"/>
                    <a:gd name="connsiteX2096" fmla="*/ 454814 w 774525"/>
                    <a:gd name="connsiteY2096" fmla="*/ 168459 h 1153700"/>
                    <a:gd name="connsiteX2097" fmla="*/ 458590 w 774525"/>
                    <a:gd name="connsiteY2097" fmla="*/ 172138 h 1153700"/>
                    <a:gd name="connsiteX2098" fmla="*/ 457801 w 774525"/>
                    <a:gd name="connsiteY2098" fmla="*/ 172782 h 1153700"/>
                    <a:gd name="connsiteX2099" fmla="*/ 457218 w 774525"/>
                    <a:gd name="connsiteY2099" fmla="*/ 173936 h 1153700"/>
                    <a:gd name="connsiteX2100" fmla="*/ 456477 w 774525"/>
                    <a:gd name="connsiteY2100" fmla="*/ 175393 h 1153700"/>
                    <a:gd name="connsiteX2101" fmla="*/ 455724 w 774525"/>
                    <a:gd name="connsiteY2101" fmla="*/ 176886 h 1153700"/>
                    <a:gd name="connsiteX2102" fmla="*/ 455846 w 774525"/>
                    <a:gd name="connsiteY2102" fmla="*/ 178550 h 1153700"/>
                    <a:gd name="connsiteX2103" fmla="*/ 455955 w 774525"/>
                    <a:gd name="connsiteY2103" fmla="*/ 180080 h 1153700"/>
                    <a:gd name="connsiteX2104" fmla="*/ 456101 w 774525"/>
                    <a:gd name="connsiteY2104" fmla="*/ 182132 h 1153700"/>
                    <a:gd name="connsiteX2105" fmla="*/ 457461 w 774525"/>
                    <a:gd name="connsiteY2105" fmla="*/ 183674 h 1153700"/>
                    <a:gd name="connsiteX2106" fmla="*/ 458396 w 774525"/>
                    <a:gd name="connsiteY2106" fmla="*/ 184730 h 1153700"/>
                    <a:gd name="connsiteX2107" fmla="*/ 459355 w 774525"/>
                    <a:gd name="connsiteY2107" fmla="*/ 185811 h 1153700"/>
                    <a:gd name="connsiteX2108" fmla="*/ 460679 w 774525"/>
                    <a:gd name="connsiteY2108" fmla="*/ 186346 h 1153700"/>
                    <a:gd name="connsiteX2109" fmla="*/ 461565 w 774525"/>
                    <a:gd name="connsiteY2109" fmla="*/ 186698 h 1153700"/>
                    <a:gd name="connsiteX2110" fmla="*/ 461043 w 774525"/>
                    <a:gd name="connsiteY2110" fmla="*/ 186953 h 1153700"/>
                    <a:gd name="connsiteX2111" fmla="*/ 458699 w 774525"/>
                    <a:gd name="connsiteY2111" fmla="*/ 188118 h 1153700"/>
                    <a:gd name="connsiteX2112" fmla="*/ 457886 w 774525"/>
                    <a:gd name="connsiteY2112" fmla="*/ 188519 h 1153700"/>
                    <a:gd name="connsiteX2113" fmla="*/ 457218 w 774525"/>
                    <a:gd name="connsiteY2113" fmla="*/ 189151 h 1153700"/>
                    <a:gd name="connsiteX2114" fmla="*/ 451936 w 774525"/>
                    <a:gd name="connsiteY2114" fmla="*/ 194141 h 1153700"/>
                    <a:gd name="connsiteX2115" fmla="*/ 451062 w 774525"/>
                    <a:gd name="connsiteY2115" fmla="*/ 194639 h 1153700"/>
                    <a:gd name="connsiteX2116" fmla="*/ 446374 w 774525"/>
                    <a:gd name="connsiteY2116" fmla="*/ 196048 h 1153700"/>
                    <a:gd name="connsiteX2117" fmla="*/ 445439 w 774525"/>
                    <a:gd name="connsiteY2117" fmla="*/ 196327 h 1153700"/>
                    <a:gd name="connsiteX2118" fmla="*/ 444650 w 774525"/>
                    <a:gd name="connsiteY2118" fmla="*/ 196886 h 1153700"/>
                    <a:gd name="connsiteX2119" fmla="*/ 442246 w 774525"/>
                    <a:gd name="connsiteY2119" fmla="*/ 198561 h 1153700"/>
                    <a:gd name="connsiteX2120" fmla="*/ 441869 w 774525"/>
                    <a:gd name="connsiteY2120" fmla="*/ 198829 h 1153700"/>
                    <a:gd name="connsiteX2121" fmla="*/ 441542 w 774525"/>
                    <a:gd name="connsiteY2121" fmla="*/ 199144 h 1153700"/>
                    <a:gd name="connsiteX2122" fmla="*/ 439052 w 774525"/>
                    <a:gd name="connsiteY2122" fmla="*/ 201512 h 1153700"/>
                    <a:gd name="connsiteX2123" fmla="*/ 432301 w 774525"/>
                    <a:gd name="connsiteY2123" fmla="*/ 209344 h 1153700"/>
                    <a:gd name="connsiteX2124" fmla="*/ 428876 w 774525"/>
                    <a:gd name="connsiteY2124" fmla="*/ 212101 h 1153700"/>
                    <a:gd name="connsiteX2125" fmla="*/ 428524 w 774525"/>
                    <a:gd name="connsiteY2125" fmla="*/ 212380 h 1153700"/>
                    <a:gd name="connsiteX2126" fmla="*/ 428221 w 774525"/>
                    <a:gd name="connsiteY2126" fmla="*/ 212720 h 1153700"/>
                    <a:gd name="connsiteX2127" fmla="*/ 425343 w 774525"/>
                    <a:gd name="connsiteY2127" fmla="*/ 215853 h 1153700"/>
                    <a:gd name="connsiteX2128" fmla="*/ 424129 w 774525"/>
                    <a:gd name="connsiteY2128" fmla="*/ 216654 h 1153700"/>
                    <a:gd name="connsiteX2129" fmla="*/ 420862 w 774525"/>
                    <a:gd name="connsiteY2129" fmla="*/ 218026 h 1153700"/>
                    <a:gd name="connsiteX2130" fmla="*/ 420291 w 774525"/>
                    <a:gd name="connsiteY2130" fmla="*/ 218269 h 1153700"/>
                    <a:gd name="connsiteX2131" fmla="*/ 419781 w 774525"/>
                    <a:gd name="connsiteY2131" fmla="*/ 218609 h 1153700"/>
                    <a:gd name="connsiteX2132" fmla="*/ 418008 w 774525"/>
                    <a:gd name="connsiteY2132" fmla="*/ 219836 h 1153700"/>
                    <a:gd name="connsiteX2133" fmla="*/ 417523 w 774525"/>
                    <a:gd name="connsiteY2133" fmla="*/ 220164 h 1153700"/>
                    <a:gd name="connsiteX2134" fmla="*/ 417110 w 774525"/>
                    <a:gd name="connsiteY2134" fmla="*/ 220589 h 1153700"/>
                    <a:gd name="connsiteX2135" fmla="*/ 414001 w 774525"/>
                    <a:gd name="connsiteY2135" fmla="*/ 223746 h 1153700"/>
                    <a:gd name="connsiteX2136" fmla="*/ 413722 w 774525"/>
                    <a:gd name="connsiteY2136" fmla="*/ 223709 h 1153700"/>
                    <a:gd name="connsiteX2137" fmla="*/ 413394 w 774525"/>
                    <a:gd name="connsiteY2137" fmla="*/ 223661 h 1153700"/>
                    <a:gd name="connsiteX2138" fmla="*/ 413066 w 774525"/>
                    <a:gd name="connsiteY2138" fmla="*/ 223649 h 1153700"/>
                    <a:gd name="connsiteX2139" fmla="*/ 411803 w 774525"/>
                    <a:gd name="connsiteY2139" fmla="*/ 223612 h 1153700"/>
                    <a:gd name="connsiteX2140" fmla="*/ 411050 w 774525"/>
                    <a:gd name="connsiteY2140" fmla="*/ 223600 h 1153700"/>
                    <a:gd name="connsiteX2141" fmla="*/ 410310 w 774525"/>
                    <a:gd name="connsiteY2141" fmla="*/ 223758 h 1153700"/>
                    <a:gd name="connsiteX2142" fmla="*/ 409107 w 774525"/>
                    <a:gd name="connsiteY2142" fmla="*/ 224025 h 1153700"/>
                    <a:gd name="connsiteX2143" fmla="*/ 407566 w 774525"/>
                    <a:gd name="connsiteY2143" fmla="*/ 224365 h 1153700"/>
                    <a:gd name="connsiteX2144" fmla="*/ 406387 w 774525"/>
                    <a:gd name="connsiteY2144" fmla="*/ 225409 h 1153700"/>
                    <a:gd name="connsiteX2145" fmla="*/ 404712 w 774525"/>
                    <a:gd name="connsiteY2145" fmla="*/ 226891 h 1153700"/>
                    <a:gd name="connsiteX2146" fmla="*/ 404336 w 774525"/>
                    <a:gd name="connsiteY2146" fmla="*/ 227231 h 1153700"/>
                    <a:gd name="connsiteX2147" fmla="*/ 404008 w 774525"/>
                    <a:gd name="connsiteY2147" fmla="*/ 227632 h 1153700"/>
                    <a:gd name="connsiteX2148" fmla="*/ 398155 w 774525"/>
                    <a:gd name="connsiteY2148" fmla="*/ 234966 h 1153700"/>
                    <a:gd name="connsiteX2149" fmla="*/ 385708 w 774525"/>
                    <a:gd name="connsiteY2149" fmla="*/ 244522 h 1153700"/>
                    <a:gd name="connsiteX2150" fmla="*/ 385368 w 774525"/>
                    <a:gd name="connsiteY2150" fmla="*/ 244789 h 1153700"/>
                    <a:gd name="connsiteX2151" fmla="*/ 385065 w 774525"/>
                    <a:gd name="connsiteY2151" fmla="*/ 245105 h 1153700"/>
                    <a:gd name="connsiteX2152" fmla="*/ 379831 w 774525"/>
                    <a:gd name="connsiteY2152" fmla="*/ 250497 h 1153700"/>
                    <a:gd name="connsiteX2153" fmla="*/ 379394 w 774525"/>
                    <a:gd name="connsiteY2153" fmla="*/ 250946 h 1153700"/>
                    <a:gd name="connsiteX2154" fmla="*/ 379066 w 774525"/>
                    <a:gd name="connsiteY2154" fmla="*/ 251468 h 1153700"/>
                    <a:gd name="connsiteX2155" fmla="*/ 377572 w 774525"/>
                    <a:gd name="connsiteY2155" fmla="*/ 253824 h 1153700"/>
                    <a:gd name="connsiteX2156" fmla="*/ 376990 w 774525"/>
                    <a:gd name="connsiteY2156" fmla="*/ 254722 h 1153700"/>
                    <a:gd name="connsiteX2157" fmla="*/ 376759 w 774525"/>
                    <a:gd name="connsiteY2157" fmla="*/ 255767 h 1153700"/>
                    <a:gd name="connsiteX2158" fmla="*/ 376310 w 774525"/>
                    <a:gd name="connsiteY2158" fmla="*/ 257807 h 1153700"/>
                    <a:gd name="connsiteX2159" fmla="*/ 376164 w 774525"/>
                    <a:gd name="connsiteY2159" fmla="*/ 258450 h 1153700"/>
                    <a:gd name="connsiteX2160" fmla="*/ 376164 w 774525"/>
                    <a:gd name="connsiteY2160" fmla="*/ 259118 h 1153700"/>
                    <a:gd name="connsiteX2161" fmla="*/ 376322 w 774525"/>
                    <a:gd name="connsiteY2161" fmla="*/ 261693 h 1153700"/>
                    <a:gd name="connsiteX2162" fmla="*/ 376188 w 774525"/>
                    <a:gd name="connsiteY2162" fmla="*/ 262652 h 1153700"/>
                    <a:gd name="connsiteX2163" fmla="*/ 375739 w 774525"/>
                    <a:gd name="connsiteY2163" fmla="*/ 263890 h 1153700"/>
                    <a:gd name="connsiteX2164" fmla="*/ 375617 w 774525"/>
                    <a:gd name="connsiteY2164" fmla="*/ 264206 h 1153700"/>
                    <a:gd name="connsiteX2165" fmla="*/ 375545 w 774525"/>
                    <a:gd name="connsiteY2165" fmla="*/ 264522 h 1153700"/>
                    <a:gd name="connsiteX2166" fmla="*/ 374585 w 774525"/>
                    <a:gd name="connsiteY2166" fmla="*/ 268408 h 1153700"/>
                    <a:gd name="connsiteX2167" fmla="*/ 373262 w 774525"/>
                    <a:gd name="connsiteY2167" fmla="*/ 268942 h 1153700"/>
                    <a:gd name="connsiteX2168" fmla="*/ 371780 w 774525"/>
                    <a:gd name="connsiteY2168" fmla="*/ 269537 h 1153700"/>
                    <a:gd name="connsiteX2169" fmla="*/ 370785 w 774525"/>
                    <a:gd name="connsiteY2169" fmla="*/ 270788 h 1153700"/>
                    <a:gd name="connsiteX2170" fmla="*/ 370092 w 774525"/>
                    <a:gd name="connsiteY2170" fmla="*/ 271650 h 1153700"/>
                    <a:gd name="connsiteX2171" fmla="*/ 369303 w 774525"/>
                    <a:gd name="connsiteY2171" fmla="*/ 272645 h 1153700"/>
                    <a:gd name="connsiteX2172" fmla="*/ 368987 w 774525"/>
                    <a:gd name="connsiteY2172" fmla="*/ 273872 h 1153700"/>
                    <a:gd name="connsiteX2173" fmla="*/ 368587 w 774525"/>
                    <a:gd name="connsiteY2173" fmla="*/ 275365 h 1153700"/>
                    <a:gd name="connsiteX2174" fmla="*/ 368295 w 774525"/>
                    <a:gd name="connsiteY2174" fmla="*/ 276446 h 1153700"/>
                    <a:gd name="connsiteX2175" fmla="*/ 368417 w 774525"/>
                    <a:gd name="connsiteY2175" fmla="*/ 277551 h 1153700"/>
                    <a:gd name="connsiteX2176" fmla="*/ 368526 w 774525"/>
                    <a:gd name="connsiteY2176" fmla="*/ 278620 h 1153700"/>
                    <a:gd name="connsiteX2177" fmla="*/ 368575 w 774525"/>
                    <a:gd name="connsiteY2177" fmla="*/ 279190 h 1153700"/>
                    <a:gd name="connsiteX2178" fmla="*/ 368745 w 774525"/>
                    <a:gd name="connsiteY2178" fmla="*/ 279737 h 1153700"/>
                    <a:gd name="connsiteX2179" fmla="*/ 368987 w 774525"/>
                    <a:gd name="connsiteY2179" fmla="*/ 280538 h 1153700"/>
                    <a:gd name="connsiteX2180" fmla="*/ 369182 w 774525"/>
                    <a:gd name="connsiteY2180" fmla="*/ 281182 h 1153700"/>
                    <a:gd name="connsiteX2181" fmla="*/ 369497 w 774525"/>
                    <a:gd name="connsiteY2181" fmla="*/ 281765 h 1153700"/>
                    <a:gd name="connsiteX2182" fmla="*/ 370469 w 774525"/>
                    <a:gd name="connsiteY2182" fmla="*/ 283513 h 1153700"/>
                    <a:gd name="connsiteX2183" fmla="*/ 370530 w 774525"/>
                    <a:gd name="connsiteY2183" fmla="*/ 283611 h 1153700"/>
                    <a:gd name="connsiteX2184" fmla="*/ 370590 w 774525"/>
                    <a:gd name="connsiteY2184" fmla="*/ 283914 h 1153700"/>
                    <a:gd name="connsiteX2185" fmla="*/ 370797 w 774525"/>
                    <a:gd name="connsiteY2185" fmla="*/ 284861 h 1153700"/>
                    <a:gd name="connsiteX2186" fmla="*/ 371282 w 774525"/>
                    <a:gd name="connsiteY2186" fmla="*/ 285687 h 1153700"/>
                    <a:gd name="connsiteX2187" fmla="*/ 371804 w 774525"/>
                    <a:gd name="connsiteY2187" fmla="*/ 286585 h 1153700"/>
                    <a:gd name="connsiteX2188" fmla="*/ 372035 w 774525"/>
                    <a:gd name="connsiteY2188" fmla="*/ 286986 h 1153700"/>
                    <a:gd name="connsiteX2189" fmla="*/ 372314 w 774525"/>
                    <a:gd name="connsiteY2189" fmla="*/ 287338 h 1153700"/>
                    <a:gd name="connsiteX2190" fmla="*/ 373116 w 774525"/>
                    <a:gd name="connsiteY2190" fmla="*/ 288346 h 1153700"/>
                    <a:gd name="connsiteX2191" fmla="*/ 373784 w 774525"/>
                    <a:gd name="connsiteY2191" fmla="*/ 289172 h 1153700"/>
                    <a:gd name="connsiteX2192" fmla="*/ 374695 w 774525"/>
                    <a:gd name="connsiteY2192" fmla="*/ 289718 h 1153700"/>
                    <a:gd name="connsiteX2193" fmla="*/ 378252 w 774525"/>
                    <a:gd name="connsiteY2193" fmla="*/ 291904 h 1153700"/>
                    <a:gd name="connsiteX2194" fmla="*/ 378556 w 774525"/>
                    <a:gd name="connsiteY2194" fmla="*/ 292098 h 1153700"/>
                    <a:gd name="connsiteX2195" fmla="*/ 378884 w 774525"/>
                    <a:gd name="connsiteY2195" fmla="*/ 292256 h 1153700"/>
                    <a:gd name="connsiteX2196" fmla="*/ 384288 w 774525"/>
                    <a:gd name="connsiteY2196" fmla="*/ 294721 h 1153700"/>
                    <a:gd name="connsiteX2197" fmla="*/ 384543 w 774525"/>
                    <a:gd name="connsiteY2197" fmla="*/ 294891 h 1153700"/>
                    <a:gd name="connsiteX2198" fmla="*/ 386242 w 774525"/>
                    <a:gd name="connsiteY2198" fmla="*/ 297842 h 1153700"/>
                    <a:gd name="connsiteX2199" fmla="*/ 386655 w 774525"/>
                    <a:gd name="connsiteY2199" fmla="*/ 298571 h 1153700"/>
                    <a:gd name="connsiteX2200" fmla="*/ 387263 w 774525"/>
                    <a:gd name="connsiteY2200" fmla="*/ 299153 h 1153700"/>
                    <a:gd name="connsiteX2201" fmla="*/ 387797 w 774525"/>
                    <a:gd name="connsiteY2201" fmla="*/ 299676 h 1153700"/>
                    <a:gd name="connsiteX2202" fmla="*/ 388137 w 774525"/>
                    <a:gd name="connsiteY2202" fmla="*/ 300101 h 1153700"/>
                    <a:gd name="connsiteX2203" fmla="*/ 388538 w 774525"/>
                    <a:gd name="connsiteY2203" fmla="*/ 300805 h 1153700"/>
                    <a:gd name="connsiteX2204" fmla="*/ 389242 w 774525"/>
                    <a:gd name="connsiteY2204" fmla="*/ 303537 h 1153700"/>
                    <a:gd name="connsiteX2205" fmla="*/ 389387 w 774525"/>
                    <a:gd name="connsiteY2205" fmla="*/ 304084 h 1153700"/>
                    <a:gd name="connsiteX2206" fmla="*/ 389642 w 774525"/>
                    <a:gd name="connsiteY2206" fmla="*/ 304593 h 1153700"/>
                    <a:gd name="connsiteX2207" fmla="*/ 390905 w 774525"/>
                    <a:gd name="connsiteY2207" fmla="*/ 307265 h 1153700"/>
                    <a:gd name="connsiteX2208" fmla="*/ 391160 w 774525"/>
                    <a:gd name="connsiteY2208" fmla="*/ 307799 h 1153700"/>
                    <a:gd name="connsiteX2209" fmla="*/ 391513 w 774525"/>
                    <a:gd name="connsiteY2209" fmla="*/ 308273 h 1153700"/>
                    <a:gd name="connsiteX2210" fmla="*/ 392727 w 774525"/>
                    <a:gd name="connsiteY2210" fmla="*/ 309912 h 1153700"/>
                    <a:gd name="connsiteX2211" fmla="*/ 393322 w 774525"/>
                    <a:gd name="connsiteY2211" fmla="*/ 310726 h 1153700"/>
                    <a:gd name="connsiteX2212" fmla="*/ 394160 w 774525"/>
                    <a:gd name="connsiteY2212" fmla="*/ 311296 h 1153700"/>
                    <a:gd name="connsiteX2213" fmla="*/ 397122 w 774525"/>
                    <a:gd name="connsiteY2213" fmla="*/ 313349 h 1153700"/>
                    <a:gd name="connsiteX2214" fmla="*/ 398410 w 774525"/>
                    <a:gd name="connsiteY2214" fmla="*/ 315437 h 1153700"/>
                    <a:gd name="connsiteX2215" fmla="*/ 399430 w 774525"/>
                    <a:gd name="connsiteY2215" fmla="*/ 317101 h 1153700"/>
                    <a:gd name="connsiteX2216" fmla="*/ 401227 w 774525"/>
                    <a:gd name="connsiteY2216" fmla="*/ 317854 h 1153700"/>
                    <a:gd name="connsiteX2217" fmla="*/ 412253 w 774525"/>
                    <a:gd name="connsiteY2217" fmla="*/ 322480 h 1153700"/>
                    <a:gd name="connsiteX2218" fmla="*/ 416114 w 774525"/>
                    <a:gd name="connsiteY2218" fmla="*/ 325358 h 1153700"/>
                    <a:gd name="connsiteX2219" fmla="*/ 416928 w 774525"/>
                    <a:gd name="connsiteY2219" fmla="*/ 326512 h 1153700"/>
                    <a:gd name="connsiteX2220" fmla="*/ 417122 w 774525"/>
                    <a:gd name="connsiteY2220" fmla="*/ 327070 h 1153700"/>
                    <a:gd name="connsiteX2221" fmla="*/ 417850 w 774525"/>
                    <a:gd name="connsiteY2221" fmla="*/ 331272 h 1153700"/>
                    <a:gd name="connsiteX2222" fmla="*/ 418858 w 774525"/>
                    <a:gd name="connsiteY2222" fmla="*/ 335352 h 1153700"/>
                    <a:gd name="connsiteX2223" fmla="*/ 418919 w 774525"/>
                    <a:gd name="connsiteY2223" fmla="*/ 335655 h 1153700"/>
                    <a:gd name="connsiteX2224" fmla="*/ 418919 w 774525"/>
                    <a:gd name="connsiteY2224" fmla="*/ 336104 h 1153700"/>
                    <a:gd name="connsiteX2225" fmla="*/ 418166 w 774525"/>
                    <a:gd name="connsiteY2225" fmla="*/ 341229 h 1153700"/>
                    <a:gd name="connsiteX2226" fmla="*/ 416770 w 774525"/>
                    <a:gd name="connsiteY2226" fmla="*/ 346414 h 1153700"/>
                    <a:gd name="connsiteX2227" fmla="*/ 416624 w 774525"/>
                    <a:gd name="connsiteY2227" fmla="*/ 346936 h 1153700"/>
                    <a:gd name="connsiteX2228" fmla="*/ 416576 w 774525"/>
                    <a:gd name="connsiteY2228" fmla="*/ 347470 h 1153700"/>
                    <a:gd name="connsiteX2229" fmla="*/ 416406 w 774525"/>
                    <a:gd name="connsiteY2229" fmla="*/ 349425 h 1153700"/>
                    <a:gd name="connsiteX2230" fmla="*/ 416260 w 774525"/>
                    <a:gd name="connsiteY2230" fmla="*/ 351149 h 1153700"/>
                    <a:gd name="connsiteX2231" fmla="*/ 415956 w 774525"/>
                    <a:gd name="connsiteY2231" fmla="*/ 350907 h 1153700"/>
                    <a:gd name="connsiteX2232" fmla="*/ 413370 w 774525"/>
                    <a:gd name="connsiteY2232" fmla="*/ 348903 h 1153700"/>
                    <a:gd name="connsiteX2233" fmla="*/ 412508 w 774525"/>
                    <a:gd name="connsiteY2233" fmla="*/ 348235 h 1153700"/>
                    <a:gd name="connsiteX2234" fmla="*/ 411463 w 774525"/>
                    <a:gd name="connsiteY2234" fmla="*/ 347907 h 1153700"/>
                    <a:gd name="connsiteX2235" fmla="*/ 407833 w 774525"/>
                    <a:gd name="connsiteY2235" fmla="*/ 346766 h 1153700"/>
                    <a:gd name="connsiteX2236" fmla="*/ 404955 w 774525"/>
                    <a:gd name="connsiteY2236" fmla="*/ 345855 h 1153700"/>
                    <a:gd name="connsiteX2237" fmla="*/ 402490 w 774525"/>
                    <a:gd name="connsiteY2237" fmla="*/ 347616 h 1153700"/>
                    <a:gd name="connsiteX2238" fmla="*/ 400098 w 774525"/>
                    <a:gd name="connsiteY2238" fmla="*/ 349328 h 1153700"/>
                    <a:gd name="connsiteX2239" fmla="*/ 397390 w 774525"/>
                    <a:gd name="connsiteY2239" fmla="*/ 350870 h 1153700"/>
                    <a:gd name="connsiteX2240" fmla="*/ 391063 w 774525"/>
                    <a:gd name="connsiteY2240" fmla="*/ 352837 h 1153700"/>
                    <a:gd name="connsiteX2241" fmla="*/ 390687 w 774525"/>
                    <a:gd name="connsiteY2241" fmla="*/ 352959 h 1153700"/>
                    <a:gd name="connsiteX2242" fmla="*/ 390322 w 774525"/>
                    <a:gd name="connsiteY2242" fmla="*/ 353129 h 1153700"/>
                    <a:gd name="connsiteX2243" fmla="*/ 389351 w 774525"/>
                    <a:gd name="connsiteY2243" fmla="*/ 353578 h 1153700"/>
                    <a:gd name="connsiteX2244" fmla="*/ 388805 w 774525"/>
                    <a:gd name="connsiteY2244" fmla="*/ 353833 h 1153700"/>
                    <a:gd name="connsiteX2245" fmla="*/ 388319 w 774525"/>
                    <a:gd name="connsiteY2245" fmla="*/ 354185 h 1153700"/>
                    <a:gd name="connsiteX2246" fmla="*/ 387663 w 774525"/>
                    <a:gd name="connsiteY2246" fmla="*/ 354659 h 1153700"/>
                    <a:gd name="connsiteX2247" fmla="*/ 386874 w 774525"/>
                    <a:gd name="connsiteY2247" fmla="*/ 355497 h 1153700"/>
                    <a:gd name="connsiteX2248" fmla="*/ 386339 w 774525"/>
                    <a:gd name="connsiteY2248" fmla="*/ 356031 h 1153700"/>
                    <a:gd name="connsiteX2249" fmla="*/ 386291 w 774525"/>
                    <a:gd name="connsiteY2249" fmla="*/ 356298 h 1153700"/>
                    <a:gd name="connsiteX2250" fmla="*/ 384882 w 774525"/>
                    <a:gd name="connsiteY2250" fmla="*/ 358678 h 1153700"/>
                    <a:gd name="connsiteX2251" fmla="*/ 384627 w 774525"/>
                    <a:gd name="connsiteY2251" fmla="*/ 359006 h 1153700"/>
                    <a:gd name="connsiteX2252" fmla="*/ 383328 w 774525"/>
                    <a:gd name="connsiteY2252" fmla="*/ 359795 h 1153700"/>
                    <a:gd name="connsiteX2253" fmla="*/ 377876 w 774525"/>
                    <a:gd name="connsiteY2253" fmla="*/ 362394 h 1153700"/>
                    <a:gd name="connsiteX2254" fmla="*/ 372157 w 774525"/>
                    <a:gd name="connsiteY2254" fmla="*/ 364434 h 1153700"/>
                    <a:gd name="connsiteX2255" fmla="*/ 371659 w 774525"/>
                    <a:gd name="connsiteY2255" fmla="*/ 364616 h 1153700"/>
                    <a:gd name="connsiteX2256" fmla="*/ 371197 w 774525"/>
                    <a:gd name="connsiteY2256" fmla="*/ 364883 h 1153700"/>
                    <a:gd name="connsiteX2257" fmla="*/ 367834 w 774525"/>
                    <a:gd name="connsiteY2257" fmla="*/ 366826 h 1153700"/>
                    <a:gd name="connsiteX2258" fmla="*/ 364458 w 774525"/>
                    <a:gd name="connsiteY2258" fmla="*/ 368769 h 1153700"/>
                    <a:gd name="connsiteX2259" fmla="*/ 364713 w 774525"/>
                    <a:gd name="connsiteY2259" fmla="*/ 371550 h 1153700"/>
                    <a:gd name="connsiteX2260" fmla="*/ 363863 w 774525"/>
                    <a:gd name="connsiteY2260" fmla="*/ 372157 h 1153700"/>
                    <a:gd name="connsiteX2261" fmla="*/ 363256 w 774525"/>
                    <a:gd name="connsiteY2261" fmla="*/ 372594 h 1153700"/>
                    <a:gd name="connsiteX2262" fmla="*/ 362770 w 774525"/>
                    <a:gd name="connsiteY2262" fmla="*/ 373165 h 1153700"/>
                    <a:gd name="connsiteX2263" fmla="*/ 362017 w 774525"/>
                    <a:gd name="connsiteY2263" fmla="*/ 374051 h 1153700"/>
                    <a:gd name="connsiteX2264" fmla="*/ 361374 w 774525"/>
                    <a:gd name="connsiteY2264" fmla="*/ 374804 h 1153700"/>
                    <a:gd name="connsiteX2265" fmla="*/ 361009 w 774525"/>
                    <a:gd name="connsiteY2265" fmla="*/ 375727 h 1153700"/>
                    <a:gd name="connsiteX2266" fmla="*/ 360670 w 774525"/>
                    <a:gd name="connsiteY2266" fmla="*/ 376589 h 1153700"/>
                    <a:gd name="connsiteX2267" fmla="*/ 359832 w 774525"/>
                    <a:gd name="connsiteY2267" fmla="*/ 378714 h 1153700"/>
                    <a:gd name="connsiteX2268" fmla="*/ 360597 w 774525"/>
                    <a:gd name="connsiteY2268" fmla="*/ 380875 h 1153700"/>
                    <a:gd name="connsiteX2269" fmla="*/ 360827 w 774525"/>
                    <a:gd name="connsiteY2269" fmla="*/ 381507 h 1153700"/>
                    <a:gd name="connsiteX2270" fmla="*/ 361410 w 774525"/>
                    <a:gd name="connsiteY2270" fmla="*/ 383134 h 1153700"/>
                    <a:gd name="connsiteX2271" fmla="*/ 362770 w 774525"/>
                    <a:gd name="connsiteY2271" fmla="*/ 384215 h 1153700"/>
                    <a:gd name="connsiteX2272" fmla="*/ 363280 w 774525"/>
                    <a:gd name="connsiteY2272" fmla="*/ 384616 h 1153700"/>
                    <a:gd name="connsiteX2273" fmla="*/ 364009 w 774525"/>
                    <a:gd name="connsiteY2273" fmla="*/ 385186 h 1153700"/>
                    <a:gd name="connsiteX2274" fmla="*/ 364859 w 774525"/>
                    <a:gd name="connsiteY2274" fmla="*/ 385514 h 1153700"/>
                    <a:gd name="connsiteX2275" fmla="*/ 365126 w 774525"/>
                    <a:gd name="connsiteY2275" fmla="*/ 385623 h 1153700"/>
                    <a:gd name="connsiteX2276" fmla="*/ 365563 w 774525"/>
                    <a:gd name="connsiteY2276" fmla="*/ 386959 h 1153700"/>
                    <a:gd name="connsiteX2277" fmla="*/ 365709 w 774525"/>
                    <a:gd name="connsiteY2277" fmla="*/ 387396 h 1153700"/>
                    <a:gd name="connsiteX2278" fmla="*/ 365927 w 774525"/>
                    <a:gd name="connsiteY2278" fmla="*/ 387809 h 1153700"/>
                    <a:gd name="connsiteX2279" fmla="*/ 366207 w 774525"/>
                    <a:gd name="connsiteY2279" fmla="*/ 388356 h 1153700"/>
                    <a:gd name="connsiteX2280" fmla="*/ 366814 w 774525"/>
                    <a:gd name="connsiteY2280" fmla="*/ 389509 h 1153700"/>
                    <a:gd name="connsiteX2281" fmla="*/ 367822 w 774525"/>
                    <a:gd name="connsiteY2281" fmla="*/ 390311 h 1153700"/>
                    <a:gd name="connsiteX2282" fmla="*/ 368344 w 774525"/>
                    <a:gd name="connsiteY2282" fmla="*/ 390711 h 1153700"/>
                    <a:gd name="connsiteX2283" fmla="*/ 369412 w 774525"/>
                    <a:gd name="connsiteY2283" fmla="*/ 391561 h 1153700"/>
                    <a:gd name="connsiteX2284" fmla="*/ 370736 w 774525"/>
                    <a:gd name="connsiteY2284" fmla="*/ 391865 h 1153700"/>
                    <a:gd name="connsiteX2285" fmla="*/ 371379 w 774525"/>
                    <a:gd name="connsiteY2285" fmla="*/ 392011 h 1153700"/>
                    <a:gd name="connsiteX2286" fmla="*/ 372412 w 774525"/>
                    <a:gd name="connsiteY2286" fmla="*/ 392253 h 1153700"/>
                    <a:gd name="connsiteX2287" fmla="*/ 373359 w 774525"/>
                    <a:gd name="connsiteY2287" fmla="*/ 392144 h 1153700"/>
                    <a:gd name="connsiteX2288" fmla="*/ 373492 w 774525"/>
                    <a:gd name="connsiteY2288" fmla="*/ 392290 h 1153700"/>
                    <a:gd name="connsiteX2289" fmla="*/ 374245 w 774525"/>
                    <a:gd name="connsiteY2289" fmla="*/ 393176 h 1153700"/>
                    <a:gd name="connsiteX2290" fmla="*/ 374950 w 774525"/>
                    <a:gd name="connsiteY2290" fmla="*/ 396163 h 1153700"/>
                    <a:gd name="connsiteX2291" fmla="*/ 375023 w 774525"/>
                    <a:gd name="connsiteY2291" fmla="*/ 396516 h 1153700"/>
                    <a:gd name="connsiteX2292" fmla="*/ 375144 w 774525"/>
                    <a:gd name="connsiteY2292" fmla="*/ 396843 h 1153700"/>
                    <a:gd name="connsiteX2293" fmla="*/ 376638 w 774525"/>
                    <a:gd name="connsiteY2293" fmla="*/ 400984 h 1153700"/>
                    <a:gd name="connsiteX2294" fmla="*/ 376892 w 774525"/>
                    <a:gd name="connsiteY2294" fmla="*/ 401664 h 1153700"/>
                    <a:gd name="connsiteX2295" fmla="*/ 377293 w 774525"/>
                    <a:gd name="connsiteY2295" fmla="*/ 402271 h 1153700"/>
                    <a:gd name="connsiteX2296" fmla="*/ 377548 w 774525"/>
                    <a:gd name="connsiteY2296" fmla="*/ 402672 h 1153700"/>
                    <a:gd name="connsiteX2297" fmla="*/ 375265 w 774525"/>
                    <a:gd name="connsiteY2297" fmla="*/ 406242 h 1153700"/>
                    <a:gd name="connsiteX2298" fmla="*/ 369425 w 774525"/>
                    <a:gd name="connsiteY2298" fmla="*/ 412301 h 1153700"/>
                    <a:gd name="connsiteX2299" fmla="*/ 367724 w 774525"/>
                    <a:gd name="connsiteY2299" fmla="*/ 414074 h 1153700"/>
                    <a:gd name="connsiteX2300" fmla="*/ 367724 w 774525"/>
                    <a:gd name="connsiteY2300" fmla="*/ 416527 h 1153700"/>
                    <a:gd name="connsiteX2301" fmla="*/ 367724 w 774525"/>
                    <a:gd name="connsiteY2301" fmla="*/ 417778 h 1153700"/>
                    <a:gd name="connsiteX2302" fmla="*/ 366935 w 774525"/>
                    <a:gd name="connsiteY2302" fmla="*/ 418859 h 1153700"/>
                    <a:gd name="connsiteX2303" fmla="*/ 366340 w 774525"/>
                    <a:gd name="connsiteY2303" fmla="*/ 419684 h 1153700"/>
                    <a:gd name="connsiteX2304" fmla="*/ 366049 w 774525"/>
                    <a:gd name="connsiteY2304" fmla="*/ 420656 h 1153700"/>
                    <a:gd name="connsiteX2305" fmla="*/ 365345 w 774525"/>
                    <a:gd name="connsiteY2305" fmla="*/ 422939 h 1153700"/>
                    <a:gd name="connsiteX2306" fmla="*/ 365114 w 774525"/>
                    <a:gd name="connsiteY2306" fmla="*/ 423643 h 1153700"/>
                    <a:gd name="connsiteX2307" fmla="*/ 365077 w 774525"/>
                    <a:gd name="connsiteY2307" fmla="*/ 424384 h 1153700"/>
                    <a:gd name="connsiteX2308" fmla="*/ 364920 w 774525"/>
                    <a:gd name="connsiteY2308" fmla="*/ 427164 h 1153700"/>
                    <a:gd name="connsiteX2309" fmla="*/ 364883 w 774525"/>
                    <a:gd name="connsiteY2309" fmla="*/ 427771 h 1153700"/>
                    <a:gd name="connsiteX2310" fmla="*/ 364968 w 774525"/>
                    <a:gd name="connsiteY2310" fmla="*/ 428379 h 1153700"/>
                    <a:gd name="connsiteX2311" fmla="*/ 365296 w 774525"/>
                    <a:gd name="connsiteY2311" fmla="*/ 430649 h 1153700"/>
                    <a:gd name="connsiteX2312" fmla="*/ 366364 w 774525"/>
                    <a:gd name="connsiteY2312" fmla="*/ 435239 h 1153700"/>
                    <a:gd name="connsiteX2313" fmla="*/ 366389 w 774525"/>
                    <a:gd name="connsiteY2313" fmla="*/ 435604 h 1153700"/>
                    <a:gd name="connsiteX2314" fmla="*/ 366134 w 774525"/>
                    <a:gd name="connsiteY2314" fmla="*/ 438032 h 1153700"/>
                    <a:gd name="connsiteX2315" fmla="*/ 366037 w 774525"/>
                    <a:gd name="connsiteY2315" fmla="*/ 438894 h 1153700"/>
                    <a:gd name="connsiteX2316" fmla="*/ 366194 w 774525"/>
                    <a:gd name="connsiteY2316" fmla="*/ 439744 h 1153700"/>
                    <a:gd name="connsiteX2317" fmla="*/ 366437 w 774525"/>
                    <a:gd name="connsiteY2317" fmla="*/ 441068 h 1153700"/>
                    <a:gd name="connsiteX2318" fmla="*/ 366668 w 774525"/>
                    <a:gd name="connsiteY2318" fmla="*/ 442331 h 1153700"/>
                    <a:gd name="connsiteX2319" fmla="*/ 367397 w 774525"/>
                    <a:gd name="connsiteY2319" fmla="*/ 443399 h 1153700"/>
                    <a:gd name="connsiteX2320" fmla="*/ 368320 w 774525"/>
                    <a:gd name="connsiteY2320" fmla="*/ 444772 h 1153700"/>
                    <a:gd name="connsiteX2321" fmla="*/ 369303 w 774525"/>
                    <a:gd name="connsiteY2321" fmla="*/ 446241 h 1153700"/>
                    <a:gd name="connsiteX2322" fmla="*/ 370930 w 774525"/>
                    <a:gd name="connsiteY2322" fmla="*/ 446945 h 1153700"/>
                    <a:gd name="connsiteX2323" fmla="*/ 372023 w 774525"/>
                    <a:gd name="connsiteY2323" fmla="*/ 447419 h 1153700"/>
                    <a:gd name="connsiteX2324" fmla="*/ 372642 w 774525"/>
                    <a:gd name="connsiteY2324" fmla="*/ 447686 h 1153700"/>
                    <a:gd name="connsiteX2325" fmla="*/ 372946 w 774525"/>
                    <a:gd name="connsiteY2325" fmla="*/ 447747 h 1153700"/>
                    <a:gd name="connsiteX2326" fmla="*/ 379236 w 774525"/>
                    <a:gd name="connsiteY2326" fmla="*/ 454158 h 1153700"/>
                    <a:gd name="connsiteX2327" fmla="*/ 379637 w 774525"/>
                    <a:gd name="connsiteY2327" fmla="*/ 454559 h 1153700"/>
                    <a:gd name="connsiteX2328" fmla="*/ 380098 w 774525"/>
                    <a:gd name="connsiteY2328" fmla="*/ 454887 h 1153700"/>
                    <a:gd name="connsiteX2329" fmla="*/ 380329 w 774525"/>
                    <a:gd name="connsiteY2329" fmla="*/ 455044 h 1153700"/>
                    <a:gd name="connsiteX2330" fmla="*/ 380620 w 774525"/>
                    <a:gd name="connsiteY2330" fmla="*/ 455700 h 1153700"/>
                    <a:gd name="connsiteX2331" fmla="*/ 382151 w 774525"/>
                    <a:gd name="connsiteY2331" fmla="*/ 459428 h 1153700"/>
                    <a:gd name="connsiteX2332" fmla="*/ 385453 w 774525"/>
                    <a:gd name="connsiteY2332" fmla="*/ 472676 h 1153700"/>
                    <a:gd name="connsiteX2333" fmla="*/ 386012 w 774525"/>
                    <a:gd name="connsiteY2333" fmla="*/ 476695 h 1153700"/>
                    <a:gd name="connsiteX2334" fmla="*/ 386145 w 774525"/>
                    <a:gd name="connsiteY2334" fmla="*/ 480363 h 1153700"/>
                    <a:gd name="connsiteX2335" fmla="*/ 386012 w 774525"/>
                    <a:gd name="connsiteY2335" fmla="*/ 481030 h 1153700"/>
                    <a:gd name="connsiteX2336" fmla="*/ 384445 w 774525"/>
                    <a:gd name="connsiteY2336" fmla="*/ 483180 h 1153700"/>
                    <a:gd name="connsiteX2337" fmla="*/ 383996 w 774525"/>
                    <a:gd name="connsiteY2337" fmla="*/ 483799 h 1153700"/>
                    <a:gd name="connsiteX2338" fmla="*/ 383717 w 774525"/>
                    <a:gd name="connsiteY2338" fmla="*/ 484528 h 1153700"/>
                    <a:gd name="connsiteX2339" fmla="*/ 382867 w 774525"/>
                    <a:gd name="connsiteY2339" fmla="*/ 486689 h 1153700"/>
                    <a:gd name="connsiteX2340" fmla="*/ 382527 w 774525"/>
                    <a:gd name="connsiteY2340" fmla="*/ 487551 h 1153700"/>
                    <a:gd name="connsiteX2341" fmla="*/ 382454 w 774525"/>
                    <a:gd name="connsiteY2341" fmla="*/ 488474 h 1153700"/>
                    <a:gd name="connsiteX2342" fmla="*/ 382065 w 774525"/>
                    <a:gd name="connsiteY2342" fmla="*/ 493732 h 1153700"/>
                    <a:gd name="connsiteX2343" fmla="*/ 381349 w 774525"/>
                    <a:gd name="connsiteY2343" fmla="*/ 493525 h 1153700"/>
                    <a:gd name="connsiteX2344" fmla="*/ 379649 w 774525"/>
                    <a:gd name="connsiteY2344" fmla="*/ 494011 h 1153700"/>
                    <a:gd name="connsiteX2345" fmla="*/ 378155 w 774525"/>
                    <a:gd name="connsiteY2345" fmla="*/ 494436 h 1153700"/>
                    <a:gd name="connsiteX2346" fmla="*/ 375496 w 774525"/>
                    <a:gd name="connsiteY2346" fmla="*/ 495201 h 1153700"/>
                    <a:gd name="connsiteX2347" fmla="*/ 374318 w 774525"/>
                    <a:gd name="connsiteY2347" fmla="*/ 497715 h 1153700"/>
                    <a:gd name="connsiteX2348" fmla="*/ 373468 w 774525"/>
                    <a:gd name="connsiteY2348" fmla="*/ 499548 h 1153700"/>
                    <a:gd name="connsiteX2349" fmla="*/ 372739 w 774525"/>
                    <a:gd name="connsiteY2349" fmla="*/ 501103 h 1153700"/>
                    <a:gd name="connsiteX2350" fmla="*/ 372934 w 774525"/>
                    <a:gd name="connsiteY2350" fmla="*/ 502803 h 1153700"/>
                    <a:gd name="connsiteX2351" fmla="*/ 373164 w 774525"/>
                    <a:gd name="connsiteY2351" fmla="*/ 504758 h 1153700"/>
                    <a:gd name="connsiteX2352" fmla="*/ 373310 w 774525"/>
                    <a:gd name="connsiteY2352" fmla="*/ 505960 h 1153700"/>
                    <a:gd name="connsiteX2353" fmla="*/ 373905 w 774525"/>
                    <a:gd name="connsiteY2353" fmla="*/ 507016 h 1153700"/>
                    <a:gd name="connsiteX2354" fmla="*/ 374828 w 774525"/>
                    <a:gd name="connsiteY2354" fmla="*/ 508680 h 1153700"/>
                    <a:gd name="connsiteX2355" fmla="*/ 375557 w 774525"/>
                    <a:gd name="connsiteY2355" fmla="*/ 509991 h 1153700"/>
                    <a:gd name="connsiteX2356" fmla="*/ 376819 w 774525"/>
                    <a:gd name="connsiteY2356" fmla="*/ 510805 h 1153700"/>
                    <a:gd name="connsiteX2357" fmla="*/ 377961 w 774525"/>
                    <a:gd name="connsiteY2357" fmla="*/ 511546 h 1153700"/>
                    <a:gd name="connsiteX2358" fmla="*/ 378617 w 774525"/>
                    <a:gd name="connsiteY2358" fmla="*/ 511983 h 1153700"/>
                    <a:gd name="connsiteX2359" fmla="*/ 379370 w 774525"/>
                    <a:gd name="connsiteY2359" fmla="*/ 512226 h 1153700"/>
                    <a:gd name="connsiteX2360" fmla="*/ 380693 w 774525"/>
                    <a:gd name="connsiteY2360" fmla="*/ 512663 h 1153700"/>
                    <a:gd name="connsiteX2361" fmla="*/ 381215 w 774525"/>
                    <a:gd name="connsiteY2361" fmla="*/ 512833 h 1153700"/>
                    <a:gd name="connsiteX2362" fmla="*/ 381762 w 774525"/>
                    <a:gd name="connsiteY2362" fmla="*/ 512906 h 1153700"/>
                    <a:gd name="connsiteX2363" fmla="*/ 383595 w 774525"/>
                    <a:gd name="connsiteY2363" fmla="*/ 513161 h 1153700"/>
                    <a:gd name="connsiteX2364" fmla="*/ 384178 w 774525"/>
                    <a:gd name="connsiteY2364" fmla="*/ 514387 h 1153700"/>
                    <a:gd name="connsiteX2365" fmla="*/ 385137 w 774525"/>
                    <a:gd name="connsiteY2365" fmla="*/ 516075 h 1153700"/>
                    <a:gd name="connsiteX2366" fmla="*/ 385247 w 774525"/>
                    <a:gd name="connsiteY2366" fmla="*/ 516646 h 1153700"/>
                    <a:gd name="connsiteX2367" fmla="*/ 385380 w 774525"/>
                    <a:gd name="connsiteY2367" fmla="*/ 518904 h 1153700"/>
                    <a:gd name="connsiteX2368" fmla="*/ 385405 w 774525"/>
                    <a:gd name="connsiteY2368" fmla="*/ 519244 h 1153700"/>
                    <a:gd name="connsiteX2369" fmla="*/ 385453 w 774525"/>
                    <a:gd name="connsiteY2369" fmla="*/ 519572 h 1153700"/>
                    <a:gd name="connsiteX2370" fmla="*/ 385745 w 774525"/>
                    <a:gd name="connsiteY2370" fmla="*/ 521296 h 1153700"/>
                    <a:gd name="connsiteX2371" fmla="*/ 385915 w 774525"/>
                    <a:gd name="connsiteY2371" fmla="*/ 522244 h 1153700"/>
                    <a:gd name="connsiteX2372" fmla="*/ 386352 w 774525"/>
                    <a:gd name="connsiteY2372" fmla="*/ 523081 h 1153700"/>
                    <a:gd name="connsiteX2373" fmla="*/ 387105 w 774525"/>
                    <a:gd name="connsiteY2373" fmla="*/ 524514 h 1153700"/>
                    <a:gd name="connsiteX2374" fmla="*/ 387396 w 774525"/>
                    <a:gd name="connsiteY2374" fmla="*/ 525073 h 1153700"/>
                    <a:gd name="connsiteX2375" fmla="*/ 386765 w 774525"/>
                    <a:gd name="connsiteY2375" fmla="*/ 525595 h 1153700"/>
                    <a:gd name="connsiteX2376" fmla="*/ 385380 w 774525"/>
                    <a:gd name="connsiteY2376" fmla="*/ 526761 h 1153700"/>
                    <a:gd name="connsiteX2377" fmla="*/ 384846 w 774525"/>
                    <a:gd name="connsiteY2377" fmla="*/ 528485 h 1153700"/>
                    <a:gd name="connsiteX2378" fmla="*/ 384263 w 774525"/>
                    <a:gd name="connsiteY2378" fmla="*/ 530379 h 1153700"/>
                    <a:gd name="connsiteX2379" fmla="*/ 383401 w 774525"/>
                    <a:gd name="connsiteY2379" fmla="*/ 533233 h 1153700"/>
                    <a:gd name="connsiteX2380" fmla="*/ 385125 w 774525"/>
                    <a:gd name="connsiteY2380" fmla="*/ 535662 h 1153700"/>
                    <a:gd name="connsiteX2381" fmla="*/ 385817 w 774525"/>
                    <a:gd name="connsiteY2381" fmla="*/ 536633 h 1153700"/>
                    <a:gd name="connsiteX2382" fmla="*/ 386036 w 774525"/>
                    <a:gd name="connsiteY2382" fmla="*/ 536924 h 1153700"/>
                    <a:gd name="connsiteX2383" fmla="*/ 385356 w 774525"/>
                    <a:gd name="connsiteY2383" fmla="*/ 537082 h 1153700"/>
                    <a:gd name="connsiteX2384" fmla="*/ 383960 w 774525"/>
                    <a:gd name="connsiteY2384" fmla="*/ 537119 h 1153700"/>
                    <a:gd name="connsiteX2385" fmla="*/ 383183 w 774525"/>
                    <a:gd name="connsiteY2385" fmla="*/ 536961 h 1153700"/>
                    <a:gd name="connsiteX2386" fmla="*/ 382138 w 774525"/>
                    <a:gd name="connsiteY2386" fmla="*/ 536451 h 1153700"/>
                    <a:gd name="connsiteX2387" fmla="*/ 380863 w 774525"/>
                    <a:gd name="connsiteY2387" fmla="*/ 535613 h 1153700"/>
                    <a:gd name="connsiteX2388" fmla="*/ 380547 w 774525"/>
                    <a:gd name="connsiteY2388" fmla="*/ 535394 h 1153700"/>
                    <a:gd name="connsiteX2389" fmla="*/ 380183 w 774525"/>
                    <a:gd name="connsiteY2389" fmla="*/ 535224 h 1153700"/>
                    <a:gd name="connsiteX2390" fmla="*/ 378240 w 774525"/>
                    <a:gd name="connsiteY2390" fmla="*/ 534277 h 1153700"/>
                    <a:gd name="connsiteX2391" fmla="*/ 377852 w 774525"/>
                    <a:gd name="connsiteY2391" fmla="*/ 534083 h 1153700"/>
                    <a:gd name="connsiteX2392" fmla="*/ 377439 w 774525"/>
                    <a:gd name="connsiteY2392" fmla="*/ 533949 h 1153700"/>
                    <a:gd name="connsiteX2393" fmla="*/ 375423 w 774525"/>
                    <a:gd name="connsiteY2393" fmla="*/ 533306 h 1153700"/>
                    <a:gd name="connsiteX2394" fmla="*/ 374877 w 774525"/>
                    <a:gd name="connsiteY2394" fmla="*/ 533124 h 1153700"/>
                    <a:gd name="connsiteX2395" fmla="*/ 374306 w 774525"/>
                    <a:gd name="connsiteY2395" fmla="*/ 533051 h 1153700"/>
                    <a:gd name="connsiteX2396" fmla="*/ 371610 w 774525"/>
                    <a:gd name="connsiteY2396" fmla="*/ 532723 h 1153700"/>
                    <a:gd name="connsiteX2397" fmla="*/ 370566 w 774525"/>
                    <a:gd name="connsiteY2397" fmla="*/ 532602 h 1153700"/>
                    <a:gd name="connsiteX2398" fmla="*/ 369546 w 774525"/>
                    <a:gd name="connsiteY2398" fmla="*/ 532832 h 1153700"/>
                    <a:gd name="connsiteX2399" fmla="*/ 367652 w 774525"/>
                    <a:gd name="connsiteY2399" fmla="*/ 533257 h 1153700"/>
                    <a:gd name="connsiteX2400" fmla="*/ 366037 w 774525"/>
                    <a:gd name="connsiteY2400" fmla="*/ 533622 h 1153700"/>
                    <a:gd name="connsiteX2401" fmla="*/ 364823 w 774525"/>
                    <a:gd name="connsiteY2401" fmla="*/ 534751 h 1153700"/>
                    <a:gd name="connsiteX2402" fmla="*/ 363547 w 774525"/>
                    <a:gd name="connsiteY2402" fmla="*/ 535953 h 1153700"/>
                    <a:gd name="connsiteX2403" fmla="*/ 360924 w 774525"/>
                    <a:gd name="connsiteY2403" fmla="*/ 538406 h 1153700"/>
                    <a:gd name="connsiteX2404" fmla="*/ 361811 w 774525"/>
                    <a:gd name="connsiteY2404" fmla="*/ 541891 h 1153700"/>
                    <a:gd name="connsiteX2405" fmla="*/ 362114 w 774525"/>
                    <a:gd name="connsiteY2405" fmla="*/ 543093 h 1153700"/>
                    <a:gd name="connsiteX2406" fmla="*/ 362600 w 774525"/>
                    <a:gd name="connsiteY2406" fmla="*/ 544987 h 1153700"/>
                    <a:gd name="connsiteX2407" fmla="*/ 364094 w 774525"/>
                    <a:gd name="connsiteY2407" fmla="*/ 546238 h 1153700"/>
                    <a:gd name="connsiteX2408" fmla="*/ 365466 w 774525"/>
                    <a:gd name="connsiteY2408" fmla="*/ 547392 h 1153700"/>
                    <a:gd name="connsiteX2409" fmla="*/ 366462 w 774525"/>
                    <a:gd name="connsiteY2409" fmla="*/ 548230 h 1153700"/>
                    <a:gd name="connsiteX2410" fmla="*/ 367724 w 774525"/>
                    <a:gd name="connsiteY2410" fmla="*/ 548582 h 1153700"/>
                    <a:gd name="connsiteX2411" fmla="*/ 368830 w 774525"/>
                    <a:gd name="connsiteY2411" fmla="*/ 548885 h 1153700"/>
                    <a:gd name="connsiteX2412" fmla="*/ 368526 w 774525"/>
                    <a:gd name="connsiteY2412" fmla="*/ 551520 h 1153700"/>
                    <a:gd name="connsiteX2413" fmla="*/ 368429 w 774525"/>
                    <a:gd name="connsiteY2413" fmla="*/ 552310 h 1153700"/>
                    <a:gd name="connsiteX2414" fmla="*/ 368538 w 774525"/>
                    <a:gd name="connsiteY2414" fmla="*/ 553099 h 1153700"/>
                    <a:gd name="connsiteX2415" fmla="*/ 368757 w 774525"/>
                    <a:gd name="connsiteY2415" fmla="*/ 554568 h 1153700"/>
                    <a:gd name="connsiteX2416" fmla="*/ 368987 w 774525"/>
                    <a:gd name="connsiteY2416" fmla="*/ 556086 h 1153700"/>
                    <a:gd name="connsiteX2417" fmla="*/ 369898 w 774525"/>
                    <a:gd name="connsiteY2417" fmla="*/ 557324 h 1153700"/>
                    <a:gd name="connsiteX2418" fmla="*/ 370699 w 774525"/>
                    <a:gd name="connsiteY2418" fmla="*/ 558393 h 1153700"/>
                    <a:gd name="connsiteX2419" fmla="*/ 370566 w 774525"/>
                    <a:gd name="connsiteY2419" fmla="*/ 558648 h 1153700"/>
                    <a:gd name="connsiteX2420" fmla="*/ 370335 w 774525"/>
                    <a:gd name="connsiteY2420" fmla="*/ 558964 h 1153700"/>
                    <a:gd name="connsiteX2421" fmla="*/ 369072 w 774525"/>
                    <a:gd name="connsiteY2421" fmla="*/ 560166 h 1153700"/>
                    <a:gd name="connsiteX2422" fmla="*/ 368380 w 774525"/>
                    <a:gd name="connsiteY2422" fmla="*/ 560834 h 1153700"/>
                    <a:gd name="connsiteX2423" fmla="*/ 367919 w 774525"/>
                    <a:gd name="connsiteY2423" fmla="*/ 561672 h 1153700"/>
                    <a:gd name="connsiteX2424" fmla="*/ 367117 w 774525"/>
                    <a:gd name="connsiteY2424" fmla="*/ 563165 h 1153700"/>
                    <a:gd name="connsiteX2425" fmla="*/ 366535 w 774525"/>
                    <a:gd name="connsiteY2425" fmla="*/ 564246 h 1153700"/>
                    <a:gd name="connsiteX2426" fmla="*/ 366413 w 774525"/>
                    <a:gd name="connsiteY2426" fmla="*/ 565472 h 1153700"/>
                    <a:gd name="connsiteX2427" fmla="*/ 366243 w 774525"/>
                    <a:gd name="connsiteY2427" fmla="*/ 567233 h 1153700"/>
                    <a:gd name="connsiteX2428" fmla="*/ 366134 w 774525"/>
                    <a:gd name="connsiteY2428" fmla="*/ 568423 h 1153700"/>
                    <a:gd name="connsiteX2429" fmla="*/ 366474 w 774525"/>
                    <a:gd name="connsiteY2429" fmla="*/ 569565 h 1153700"/>
                    <a:gd name="connsiteX2430" fmla="*/ 366899 w 774525"/>
                    <a:gd name="connsiteY2430" fmla="*/ 570973 h 1153700"/>
                    <a:gd name="connsiteX2431" fmla="*/ 366972 w 774525"/>
                    <a:gd name="connsiteY2431" fmla="*/ 571459 h 1153700"/>
                    <a:gd name="connsiteX2432" fmla="*/ 366595 w 774525"/>
                    <a:gd name="connsiteY2432" fmla="*/ 572977 h 1153700"/>
                    <a:gd name="connsiteX2433" fmla="*/ 359237 w 774525"/>
                    <a:gd name="connsiteY2433" fmla="*/ 588714 h 1153700"/>
                    <a:gd name="connsiteX2434" fmla="*/ 357609 w 774525"/>
                    <a:gd name="connsiteY2434" fmla="*/ 590924 h 1153700"/>
                    <a:gd name="connsiteX2435" fmla="*/ 352862 w 774525"/>
                    <a:gd name="connsiteY2435" fmla="*/ 594652 h 1153700"/>
                    <a:gd name="connsiteX2436" fmla="*/ 349267 w 774525"/>
                    <a:gd name="connsiteY2436" fmla="*/ 597068 h 1153700"/>
                    <a:gd name="connsiteX2437" fmla="*/ 347822 w 774525"/>
                    <a:gd name="connsiteY2437" fmla="*/ 597445 h 1153700"/>
                    <a:gd name="connsiteX2438" fmla="*/ 347495 w 774525"/>
                    <a:gd name="connsiteY2438" fmla="*/ 597530 h 1153700"/>
                    <a:gd name="connsiteX2439" fmla="*/ 347191 w 774525"/>
                    <a:gd name="connsiteY2439" fmla="*/ 597651 h 1153700"/>
                    <a:gd name="connsiteX2440" fmla="*/ 343159 w 774525"/>
                    <a:gd name="connsiteY2440" fmla="*/ 599169 h 1153700"/>
                    <a:gd name="connsiteX2441" fmla="*/ 341617 w 774525"/>
                    <a:gd name="connsiteY2441" fmla="*/ 599740 h 1153700"/>
                    <a:gd name="connsiteX2442" fmla="*/ 340585 w 774525"/>
                    <a:gd name="connsiteY2442" fmla="*/ 601003 h 1153700"/>
                    <a:gd name="connsiteX2443" fmla="*/ 339152 w 774525"/>
                    <a:gd name="connsiteY2443" fmla="*/ 602763 h 1153700"/>
                    <a:gd name="connsiteX2444" fmla="*/ 338144 w 774525"/>
                    <a:gd name="connsiteY2444" fmla="*/ 604002 h 1153700"/>
                    <a:gd name="connsiteX2445" fmla="*/ 337877 w 774525"/>
                    <a:gd name="connsiteY2445" fmla="*/ 605581 h 1153700"/>
                    <a:gd name="connsiteX2446" fmla="*/ 337549 w 774525"/>
                    <a:gd name="connsiteY2446" fmla="*/ 607535 h 1153700"/>
                    <a:gd name="connsiteX2447" fmla="*/ 337403 w 774525"/>
                    <a:gd name="connsiteY2447" fmla="*/ 608361 h 1153700"/>
                    <a:gd name="connsiteX2448" fmla="*/ 337501 w 774525"/>
                    <a:gd name="connsiteY2448" fmla="*/ 609199 h 1153700"/>
                    <a:gd name="connsiteX2449" fmla="*/ 337695 w 774525"/>
                    <a:gd name="connsiteY2449" fmla="*/ 610984 h 1153700"/>
                    <a:gd name="connsiteX2450" fmla="*/ 337695 w 774525"/>
                    <a:gd name="connsiteY2450" fmla="*/ 612623 h 1153700"/>
                    <a:gd name="connsiteX2451" fmla="*/ 337695 w 774525"/>
                    <a:gd name="connsiteY2451" fmla="*/ 613121 h 1153700"/>
                    <a:gd name="connsiteX2452" fmla="*/ 337780 w 774525"/>
                    <a:gd name="connsiteY2452" fmla="*/ 613619 h 1153700"/>
                    <a:gd name="connsiteX2453" fmla="*/ 338023 w 774525"/>
                    <a:gd name="connsiteY2453" fmla="*/ 615064 h 1153700"/>
                    <a:gd name="connsiteX2454" fmla="*/ 338266 w 774525"/>
                    <a:gd name="connsiteY2454" fmla="*/ 616534 h 1153700"/>
                    <a:gd name="connsiteX2455" fmla="*/ 336396 w 774525"/>
                    <a:gd name="connsiteY2455" fmla="*/ 617165 h 1153700"/>
                    <a:gd name="connsiteX2456" fmla="*/ 334247 w 774525"/>
                    <a:gd name="connsiteY2456" fmla="*/ 617881 h 1153700"/>
                    <a:gd name="connsiteX2457" fmla="*/ 333093 w 774525"/>
                    <a:gd name="connsiteY2457" fmla="*/ 619824 h 1153700"/>
                    <a:gd name="connsiteX2458" fmla="*/ 332194 w 774525"/>
                    <a:gd name="connsiteY2458" fmla="*/ 621342 h 1153700"/>
                    <a:gd name="connsiteX2459" fmla="*/ 331514 w 774525"/>
                    <a:gd name="connsiteY2459" fmla="*/ 622483 h 1153700"/>
                    <a:gd name="connsiteX2460" fmla="*/ 331369 w 774525"/>
                    <a:gd name="connsiteY2460" fmla="*/ 623795 h 1153700"/>
                    <a:gd name="connsiteX2461" fmla="*/ 330992 w 774525"/>
                    <a:gd name="connsiteY2461" fmla="*/ 627365 h 1153700"/>
                    <a:gd name="connsiteX2462" fmla="*/ 330798 w 774525"/>
                    <a:gd name="connsiteY2462" fmla="*/ 627875 h 1153700"/>
                    <a:gd name="connsiteX2463" fmla="*/ 330434 w 774525"/>
                    <a:gd name="connsiteY2463" fmla="*/ 627535 h 1153700"/>
                    <a:gd name="connsiteX2464" fmla="*/ 329766 w 774525"/>
                    <a:gd name="connsiteY2464" fmla="*/ 626916 h 1153700"/>
                    <a:gd name="connsiteX2465" fmla="*/ 328952 w 774525"/>
                    <a:gd name="connsiteY2465" fmla="*/ 626515 h 1153700"/>
                    <a:gd name="connsiteX2466" fmla="*/ 326596 w 774525"/>
                    <a:gd name="connsiteY2466" fmla="*/ 625349 h 1153700"/>
                    <a:gd name="connsiteX2467" fmla="*/ 325710 w 774525"/>
                    <a:gd name="connsiteY2467" fmla="*/ 624912 h 1153700"/>
                    <a:gd name="connsiteX2468" fmla="*/ 324714 w 774525"/>
                    <a:gd name="connsiteY2468" fmla="*/ 624779 h 1153700"/>
                    <a:gd name="connsiteX2469" fmla="*/ 322698 w 774525"/>
                    <a:gd name="connsiteY2469" fmla="*/ 624511 h 1153700"/>
                    <a:gd name="connsiteX2470" fmla="*/ 321630 w 774525"/>
                    <a:gd name="connsiteY2470" fmla="*/ 624366 h 1153700"/>
                    <a:gd name="connsiteX2471" fmla="*/ 320574 w 774525"/>
                    <a:gd name="connsiteY2471" fmla="*/ 624608 h 1153700"/>
                    <a:gd name="connsiteX2472" fmla="*/ 318910 w 774525"/>
                    <a:gd name="connsiteY2472" fmla="*/ 624985 h 1153700"/>
                    <a:gd name="connsiteX2473" fmla="*/ 317769 w 774525"/>
                    <a:gd name="connsiteY2473" fmla="*/ 625240 h 1153700"/>
                    <a:gd name="connsiteX2474" fmla="*/ 316821 w 774525"/>
                    <a:gd name="connsiteY2474" fmla="*/ 625896 h 1153700"/>
                    <a:gd name="connsiteX2475" fmla="*/ 315085 w 774525"/>
                    <a:gd name="connsiteY2475" fmla="*/ 627074 h 1153700"/>
                    <a:gd name="connsiteX2476" fmla="*/ 312960 w 774525"/>
                    <a:gd name="connsiteY2476" fmla="*/ 628519 h 1153700"/>
                    <a:gd name="connsiteX2477" fmla="*/ 312523 w 774525"/>
                    <a:gd name="connsiteY2477" fmla="*/ 631044 h 1153700"/>
                    <a:gd name="connsiteX2478" fmla="*/ 312243 w 774525"/>
                    <a:gd name="connsiteY2478" fmla="*/ 632683 h 1153700"/>
                    <a:gd name="connsiteX2479" fmla="*/ 312037 w 774525"/>
                    <a:gd name="connsiteY2479" fmla="*/ 633801 h 1153700"/>
                    <a:gd name="connsiteX2480" fmla="*/ 312268 w 774525"/>
                    <a:gd name="connsiteY2480" fmla="*/ 634918 h 1153700"/>
                    <a:gd name="connsiteX2481" fmla="*/ 313106 w 774525"/>
                    <a:gd name="connsiteY2481" fmla="*/ 639119 h 1153700"/>
                    <a:gd name="connsiteX2482" fmla="*/ 312790 w 774525"/>
                    <a:gd name="connsiteY2482" fmla="*/ 641354 h 1153700"/>
                    <a:gd name="connsiteX2483" fmla="*/ 312705 w 774525"/>
                    <a:gd name="connsiteY2483" fmla="*/ 641900 h 1153700"/>
                    <a:gd name="connsiteX2484" fmla="*/ 312729 w 774525"/>
                    <a:gd name="connsiteY2484" fmla="*/ 642459 h 1153700"/>
                    <a:gd name="connsiteX2485" fmla="*/ 312887 w 774525"/>
                    <a:gd name="connsiteY2485" fmla="*/ 646017 h 1153700"/>
                    <a:gd name="connsiteX2486" fmla="*/ 312025 w 774525"/>
                    <a:gd name="connsiteY2486" fmla="*/ 646599 h 1153700"/>
                    <a:gd name="connsiteX2487" fmla="*/ 311430 w 774525"/>
                    <a:gd name="connsiteY2487" fmla="*/ 647000 h 1153700"/>
                    <a:gd name="connsiteX2488" fmla="*/ 310944 w 774525"/>
                    <a:gd name="connsiteY2488" fmla="*/ 647534 h 1153700"/>
                    <a:gd name="connsiteX2489" fmla="*/ 309948 w 774525"/>
                    <a:gd name="connsiteY2489" fmla="*/ 648615 h 1153700"/>
                    <a:gd name="connsiteX2490" fmla="*/ 306816 w 774525"/>
                    <a:gd name="connsiteY2490" fmla="*/ 647777 h 1153700"/>
                    <a:gd name="connsiteX2491" fmla="*/ 305990 w 774525"/>
                    <a:gd name="connsiteY2491" fmla="*/ 647559 h 1153700"/>
                    <a:gd name="connsiteX2492" fmla="*/ 305128 w 774525"/>
                    <a:gd name="connsiteY2492" fmla="*/ 647571 h 1153700"/>
                    <a:gd name="connsiteX2493" fmla="*/ 301279 w 774525"/>
                    <a:gd name="connsiteY2493" fmla="*/ 647656 h 1153700"/>
                    <a:gd name="connsiteX2494" fmla="*/ 300210 w 774525"/>
                    <a:gd name="connsiteY2494" fmla="*/ 647680 h 1153700"/>
                    <a:gd name="connsiteX2495" fmla="*/ 299226 w 774525"/>
                    <a:gd name="connsiteY2495" fmla="*/ 648069 h 1153700"/>
                    <a:gd name="connsiteX2496" fmla="*/ 293507 w 774525"/>
                    <a:gd name="connsiteY2496" fmla="*/ 650267 h 1153700"/>
                    <a:gd name="connsiteX2497" fmla="*/ 293155 w 774525"/>
                    <a:gd name="connsiteY2497" fmla="*/ 648627 h 1153700"/>
                    <a:gd name="connsiteX2498" fmla="*/ 292924 w 774525"/>
                    <a:gd name="connsiteY2498" fmla="*/ 647583 h 1153700"/>
                    <a:gd name="connsiteX2499" fmla="*/ 292353 w 774525"/>
                    <a:gd name="connsiteY2499" fmla="*/ 646672 h 1153700"/>
                    <a:gd name="connsiteX2500" fmla="*/ 291309 w 774525"/>
                    <a:gd name="connsiteY2500" fmla="*/ 645009 h 1153700"/>
                    <a:gd name="connsiteX2501" fmla="*/ 290763 w 774525"/>
                    <a:gd name="connsiteY2501" fmla="*/ 644122 h 1153700"/>
                    <a:gd name="connsiteX2502" fmla="*/ 289949 w 774525"/>
                    <a:gd name="connsiteY2502" fmla="*/ 643479 h 1153700"/>
                    <a:gd name="connsiteX2503" fmla="*/ 288650 w 774525"/>
                    <a:gd name="connsiteY2503" fmla="*/ 642446 h 1153700"/>
                    <a:gd name="connsiteX2504" fmla="*/ 287205 w 774525"/>
                    <a:gd name="connsiteY2504" fmla="*/ 641305 h 1153700"/>
                    <a:gd name="connsiteX2505" fmla="*/ 285383 w 774525"/>
                    <a:gd name="connsiteY2505" fmla="*/ 641147 h 1153700"/>
                    <a:gd name="connsiteX2506" fmla="*/ 284011 w 774525"/>
                    <a:gd name="connsiteY2506" fmla="*/ 641038 h 1153700"/>
                    <a:gd name="connsiteX2507" fmla="*/ 283076 w 774525"/>
                    <a:gd name="connsiteY2507" fmla="*/ 640965 h 1153700"/>
                    <a:gd name="connsiteX2508" fmla="*/ 282165 w 774525"/>
                    <a:gd name="connsiteY2508" fmla="*/ 641184 h 1153700"/>
                    <a:gd name="connsiteX2509" fmla="*/ 273374 w 774525"/>
                    <a:gd name="connsiteY2509" fmla="*/ 643187 h 1153700"/>
                    <a:gd name="connsiteX2510" fmla="*/ 273046 w 774525"/>
                    <a:gd name="connsiteY2510" fmla="*/ 643260 h 1153700"/>
                    <a:gd name="connsiteX2511" fmla="*/ 272743 w 774525"/>
                    <a:gd name="connsiteY2511" fmla="*/ 643369 h 1153700"/>
                    <a:gd name="connsiteX2512" fmla="*/ 269112 w 774525"/>
                    <a:gd name="connsiteY2512" fmla="*/ 644632 h 1153700"/>
                    <a:gd name="connsiteX2513" fmla="*/ 268092 w 774525"/>
                    <a:gd name="connsiteY2513" fmla="*/ 644984 h 1153700"/>
                    <a:gd name="connsiteX2514" fmla="*/ 267254 w 774525"/>
                    <a:gd name="connsiteY2514" fmla="*/ 645664 h 1153700"/>
                    <a:gd name="connsiteX2515" fmla="*/ 265639 w 774525"/>
                    <a:gd name="connsiteY2515" fmla="*/ 646988 h 1153700"/>
                    <a:gd name="connsiteX2516" fmla="*/ 263878 w 774525"/>
                    <a:gd name="connsiteY2516" fmla="*/ 648433 h 1153700"/>
                    <a:gd name="connsiteX2517" fmla="*/ 263502 w 774525"/>
                    <a:gd name="connsiteY2517" fmla="*/ 650679 h 1153700"/>
                    <a:gd name="connsiteX2518" fmla="*/ 263283 w 774525"/>
                    <a:gd name="connsiteY2518" fmla="*/ 651942 h 1153700"/>
                    <a:gd name="connsiteX2519" fmla="*/ 262895 w 774525"/>
                    <a:gd name="connsiteY2519" fmla="*/ 654262 h 1153700"/>
                    <a:gd name="connsiteX2520" fmla="*/ 264157 w 774525"/>
                    <a:gd name="connsiteY2520" fmla="*/ 656241 h 1153700"/>
                    <a:gd name="connsiteX2521" fmla="*/ 265190 w 774525"/>
                    <a:gd name="connsiteY2521" fmla="*/ 657844 h 1153700"/>
                    <a:gd name="connsiteX2522" fmla="*/ 265639 w 774525"/>
                    <a:gd name="connsiteY2522" fmla="*/ 658548 h 1153700"/>
                    <a:gd name="connsiteX2523" fmla="*/ 266258 w 774525"/>
                    <a:gd name="connsiteY2523" fmla="*/ 659094 h 1153700"/>
                    <a:gd name="connsiteX2524" fmla="*/ 268092 w 774525"/>
                    <a:gd name="connsiteY2524" fmla="*/ 660734 h 1153700"/>
                    <a:gd name="connsiteX2525" fmla="*/ 268250 w 774525"/>
                    <a:gd name="connsiteY2525" fmla="*/ 661839 h 1153700"/>
                    <a:gd name="connsiteX2526" fmla="*/ 268444 w 774525"/>
                    <a:gd name="connsiteY2526" fmla="*/ 663114 h 1153700"/>
                    <a:gd name="connsiteX2527" fmla="*/ 269136 w 774525"/>
                    <a:gd name="connsiteY2527" fmla="*/ 664207 h 1153700"/>
                    <a:gd name="connsiteX2528" fmla="*/ 269925 w 774525"/>
                    <a:gd name="connsiteY2528" fmla="*/ 665470 h 1153700"/>
                    <a:gd name="connsiteX2529" fmla="*/ 270472 w 774525"/>
                    <a:gd name="connsiteY2529" fmla="*/ 666356 h 1153700"/>
                    <a:gd name="connsiteX2530" fmla="*/ 271285 w 774525"/>
                    <a:gd name="connsiteY2530" fmla="*/ 666999 h 1153700"/>
                    <a:gd name="connsiteX2531" fmla="*/ 274030 w 774525"/>
                    <a:gd name="connsiteY2531" fmla="*/ 669161 h 1153700"/>
                    <a:gd name="connsiteX2532" fmla="*/ 274175 w 774525"/>
                    <a:gd name="connsiteY2532" fmla="*/ 669404 h 1153700"/>
                    <a:gd name="connsiteX2533" fmla="*/ 274273 w 774525"/>
                    <a:gd name="connsiteY2533" fmla="*/ 670047 h 1153700"/>
                    <a:gd name="connsiteX2534" fmla="*/ 274248 w 774525"/>
                    <a:gd name="connsiteY2534" fmla="*/ 670193 h 1153700"/>
                    <a:gd name="connsiteX2535" fmla="*/ 272706 w 774525"/>
                    <a:gd name="connsiteY2535" fmla="*/ 670181 h 1153700"/>
                    <a:gd name="connsiteX2536" fmla="*/ 270982 w 774525"/>
                    <a:gd name="connsiteY2536" fmla="*/ 671638 h 1153700"/>
                    <a:gd name="connsiteX2537" fmla="*/ 269962 w 774525"/>
                    <a:gd name="connsiteY2537" fmla="*/ 672500 h 1153700"/>
                    <a:gd name="connsiteX2538" fmla="*/ 268638 w 774525"/>
                    <a:gd name="connsiteY2538" fmla="*/ 673617 h 1153700"/>
                    <a:gd name="connsiteX2539" fmla="*/ 268104 w 774525"/>
                    <a:gd name="connsiteY2539" fmla="*/ 675269 h 1153700"/>
                    <a:gd name="connsiteX2540" fmla="*/ 267582 w 774525"/>
                    <a:gd name="connsiteY2540" fmla="*/ 676872 h 1153700"/>
                    <a:gd name="connsiteX2541" fmla="*/ 267266 w 774525"/>
                    <a:gd name="connsiteY2541" fmla="*/ 677867 h 1153700"/>
                    <a:gd name="connsiteX2542" fmla="*/ 267290 w 774525"/>
                    <a:gd name="connsiteY2542" fmla="*/ 678657 h 1153700"/>
                    <a:gd name="connsiteX2543" fmla="*/ 267193 w 774525"/>
                    <a:gd name="connsiteY2543" fmla="*/ 678632 h 1153700"/>
                    <a:gd name="connsiteX2544" fmla="*/ 265590 w 774525"/>
                    <a:gd name="connsiteY2544" fmla="*/ 678147 h 1153700"/>
                    <a:gd name="connsiteX2545" fmla="*/ 265153 w 774525"/>
                    <a:gd name="connsiteY2545" fmla="*/ 678013 h 1153700"/>
                    <a:gd name="connsiteX2546" fmla="*/ 264692 w 774525"/>
                    <a:gd name="connsiteY2546" fmla="*/ 677952 h 1153700"/>
                    <a:gd name="connsiteX2547" fmla="*/ 263089 w 774525"/>
                    <a:gd name="connsiteY2547" fmla="*/ 677710 h 1153700"/>
                    <a:gd name="connsiteX2548" fmla="*/ 259568 w 774525"/>
                    <a:gd name="connsiteY2548" fmla="*/ 676702 h 1153700"/>
                    <a:gd name="connsiteX2549" fmla="*/ 259191 w 774525"/>
                    <a:gd name="connsiteY2549" fmla="*/ 676605 h 1153700"/>
                    <a:gd name="connsiteX2550" fmla="*/ 258815 w 774525"/>
                    <a:gd name="connsiteY2550" fmla="*/ 676544 h 1153700"/>
                    <a:gd name="connsiteX2551" fmla="*/ 256750 w 774525"/>
                    <a:gd name="connsiteY2551" fmla="*/ 676228 h 1153700"/>
                    <a:gd name="connsiteX2552" fmla="*/ 255657 w 774525"/>
                    <a:gd name="connsiteY2552" fmla="*/ 676058 h 1153700"/>
                    <a:gd name="connsiteX2553" fmla="*/ 254577 w 774525"/>
                    <a:gd name="connsiteY2553" fmla="*/ 676289 h 1153700"/>
                    <a:gd name="connsiteX2554" fmla="*/ 252804 w 774525"/>
                    <a:gd name="connsiteY2554" fmla="*/ 676665 h 1153700"/>
                    <a:gd name="connsiteX2555" fmla="*/ 251092 w 774525"/>
                    <a:gd name="connsiteY2555" fmla="*/ 677030 h 1153700"/>
                    <a:gd name="connsiteX2556" fmla="*/ 249841 w 774525"/>
                    <a:gd name="connsiteY2556" fmla="*/ 678244 h 1153700"/>
                    <a:gd name="connsiteX2557" fmla="*/ 248857 w 774525"/>
                    <a:gd name="connsiteY2557" fmla="*/ 679191 h 1153700"/>
                    <a:gd name="connsiteX2558" fmla="*/ 247813 w 774525"/>
                    <a:gd name="connsiteY2558" fmla="*/ 680199 h 1153700"/>
                    <a:gd name="connsiteX2559" fmla="*/ 247339 w 774525"/>
                    <a:gd name="connsiteY2559" fmla="*/ 681559 h 1153700"/>
                    <a:gd name="connsiteX2560" fmla="*/ 246951 w 774525"/>
                    <a:gd name="connsiteY2560" fmla="*/ 682676 h 1153700"/>
                    <a:gd name="connsiteX2561" fmla="*/ 246344 w 774525"/>
                    <a:gd name="connsiteY2561" fmla="*/ 684400 h 1153700"/>
                    <a:gd name="connsiteX2562" fmla="*/ 246781 w 774525"/>
                    <a:gd name="connsiteY2562" fmla="*/ 686173 h 1153700"/>
                    <a:gd name="connsiteX2563" fmla="*/ 247182 w 774525"/>
                    <a:gd name="connsiteY2563" fmla="*/ 687727 h 1153700"/>
                    <a:gd name="connsiteX2564" fmla="*/ 247534 w 774525"/>
                    <a:gd name="connsiteY2564" fmla="*/ 689148 h 1153700"/>
                    <a:gd name="connsiteX2565" fmla="*/ 248505 w 774525"/>
                    <a:gd name="connsiteY2565" fmla="*/ 690253 h 1153700"/>
                    <a:gd name="connsiteX2566" fmla="*/ 248760 w 774525"/>
                    <a:gd name="connsiteY2566" fmla="*/ 690545 h 1153700"/>
                    <a:gd name="connsiteX2567" fmla="*/ 243915 w 774525"/>
                    <a:gd name="connsiteY2567" fmla="*/ 689367 h 1153700"/>
                    <a:gd name="connsiteX2568" fmla="*/ 240649 w 774525"/>
                    <a:gd name="connsiteY2568" fmla="*/ 687800 h 1153700"/>
                    <a:gd name="connsiteX2569" fmla="*/ 237783 w 774525"/>
                    <a:gd name="connsiteY2569" fmla="*/ 685736 h 1153700"/>
                    <a:gd name="connsiteX2570" fmla="*/ 234116 w 774525"/>
                    <a:gd name="connsiteY2570" fmla="*/ 682032 h 1153700"/>
                    <a:gd name="connsiteX2571" fmla="*/ 233072 w 774525"/>
                    <a:gd name="connsiteY2571" fmla="*/ 680976 h 1153700"/>
                    <a:gd name="connsiteX2572" fmla="*/ 231663 w 774525"/>
                    <a:gd name="connsiteY2572" fmla="*/ 680515 h 1153700"/>
                    <a:gd name="connsiteX2573" fmla="*/ 230230 w 774525"/>
                    <a:gd name="connsiteY2573" fmla="*/ 680053 h 1153700"/>
                    <a:gd name="connsiteX2574" fmla="*/ 229368 w 774525"/>
                    <a:gd name="connsiteY2574" fmla="*/ 679786 h 1153700"/>
                    <a:gd name="connsiteX2575" fmla="*/ 228469 w 774525"/>
                    <a:gd name="connsiteY2575" fmla="*/ 679774 h 1153700"/>
                    <a:gd name="connsiteX2576" fmla="*/ 226283 w 774525"/>
                    <a:gd name="connsiteY2576" fmla="*/ 679737 h 1153700"/>
                    <a:gd name="connsiteX2577" fmla="*/ 224839 w 774525"/>
                    <a:gd name="connsiteY2577" fmla="*/ 679555 h 1153700"/>
                    <a:gd name="connsiteX2578" fmla="*/ 222179 w 774525"/>
                    <a:gd name="connsiteY2578" fmla="*/ 678329 h 1153700"/>
                    <a:gd name="connsiteX2579" fmla="*/ 212926 w 774525"/>
                    <a:gd name="connsiteY2579" fmla="*/ 672099 h 1153700"/>
                    <a:gd name="connsiteX2580" fmla="*/ 212331 w 774525"/>
                    <a:gd name="connsiteY2580" fmla="*/ 671699 h 1153700"/>
                    <a:gd name="connsiteX2581" fmla="*/ 211651 w 774525"/>
                    <a:gd name="connsiteY2581" fmla="*/ 671444 h 1153700"/>
                    <a:gd name="connsiteX2582" fmla="*/ 208361 w 774525"/>
                    <a:gd name="connsiteY2582" fmla="*/ 670217 h 1153700"/>
                    <a:gd name="connsiteX2583" fmla="*/ 207608 w 774525"/>
                    <a:gd name="connsiteY2583" fmla="*/ 669938 h 1153700"/>
                    <a:gd name="connsiteX2584" fmla="*/ 206818 w 774525"/>
                    <a:gd name="connsiteY2584" fmla="*/ 669865 h 1153700"/>
                    <a:gd name="connsiteX2585" fmla="*/ 204426 w 774525"/>
                    <a:gd name="connsiteY2585" fmla="*/ 669634 h 1153700"/>
                    <a:gd name="connsiteX2586" fmla="*/ 202216 w 774525"/>
                    <a:gd name="connsiteY2586" fmla="*/ 669416 h 1153700"/>
                    <a:gd name="connsiteX2587" fmla="*/ 200395 w 774525"/>
                    <a:gd name="connsiteY2587" fmla="*/ 670679 h 1153700"/>
                    <a:gd name="connsiteX2588" fmla="*/ 199023 w 774525"/>
                    <a:gd name="connsiteY2588" fmla="*/ 671626 h 1153700"/>
                    <a:gd name="connsiteX2589" fmla="*/ 198294 w 774525"/>
                    <a:gd name="connsiteY2589" fmla="*/ 672136 h 1153700"/>
                    <a:gd name="connsiteX2590" fmla="*/ 197736 w 774525"/>
                    <a:gd name="connsiteY2590" fmla="*/ 672828 h 1153700"/>
                    <a:gd name="connsiteX2591" fmla="*/ 196752 w 774525"/>
                    <a:gd name="connsiteY2591" fmla="*/ 674055 h 1153700"/>
                    <a:gd name="connsiteX2592" fmla="*/ 196230 w 774525"/>
                    <a:gd name="connsiteY2592" fmla="*/ 674710 h 1153700"/>
                    <a:gd name="connsiteX2593" fmla="*/ 195902 w 774525"/>
                    <a:gd name="connsiteY2593" fmla="*/ 675475 h 1153700"/>
                    <a:gd name="connsiteX2594" fmla="*/ 195331 w 774525"/>
                    <a:gd name="connsiteY2594" fmla="*/ 676811 h 1153700"/>
                    <a:gd name="connsiteX2595" fmla="*/ 195125 w 774525"/>
                    <a:gd name="connsiteY2595" fmla="*/ 677297 h 1153700"/>
                    <a:gd name="connsiteX2596" fmla="*/ 195003 w 774525"/>
                    <a:gd name="connsiteY2596" fmla="*/ 677807 h 1153700"/>
                    <a:gd name="connsiteX2597" fmla="*/ 194736 w 774525"/>
                    <a:gd name="connsiteY2597" fmla="*/ 678972 h 1153700"/>
                    <a:gd name="connsiteX2598" fmla="*/ 194688 w 774525"/>
                    <a:gd name="connsiteY2598" fmla="*/ 679094 h 1153700"/>
                    <a:gd name="connsiteX2599" fmla="*/ 193874 w 774525"/>
                    <a:gd name="connsiteY2599" fmla="*/ 680114 h 1153700"/>
                    <a:gd name="connsiteX2600" fmla="*/ 191045 w 774525"/>
                    <a:gd name="connsiteY2600" fmla="*/ 682057 h 1153700"/>
                    <a:gd name="connsiteX2601" fmla="*/ 190158 w 774525"/>
                    <a:gd name="connsiteY2601" fmla="*/ 682664 h 1153700"/>
                    <a:gd name="connsiteX2602" fmla="*/ 189539 w 774525"/>
                    <a:gd name="connsiteY2602" fmla="*/ 683538 h 1153700"/>
                    <a:gd name="connsiteX2603" fmla="*/ 188568 w 774525"/>
                    <a:gd name="connsiteY2603" fmla="*/ 684910 h 1153700"/>
                    <a:gd name="connsiteX2604" fmla="*/ 188349 w 774525"/>
                    <a:gd name="connsiteY2604" fmla="*/ 685202 h 1153700"/>
                    <a:gd name="connsiteX2605" fmla="*/ 188179 w 774525"/>
                    <a:gd name="connsiteY2605" fmla="*/ 685518 h 1153700"/>
                    <a:gd name="connsiteX2606" fmla="*/ 186868 w 774525"/>
                    <a:gd name="connsiteY2606" fmla="*/ 687922 h 1153700"/>
                    <a:gd name="connsiteX2607" fmla="*/ 186515 w 774525"/>
                    <a:gd name="connsiteY2607" fmla="*/ 688565 h 1153700"/>
                    <a:gd name="connsiteX2608" fmla="*/ 186321 w 774525"/>
                    <a:gd name="connsiteY2608" fmla="*/ 689282 h 1153700"/>
                    <a:gd name="connsiteX2609" fmla="*/ 185338 w 774525"/>
                    <a:gd name="connsiteY2609" fmla="*/ 692985 h 1153700"/>
                    <a:gd name="connsiteX2610" fmla="*/ 185083 w 774525"/>
                    <a:gd name="connsiteY2610" fmla="*/ 693920 h 1153700"/>
                    <a:gd name="connsiteX2611" fmla="*/ 185143 w 774525"/>
                    <a:gd name="connsiteY2611" fmla="*/ 694880 h 1153700"/>
                    <a:gd name="connsiteX2612" fmla="*/ 185204 w 774525"/>
                    <a:gd name="connsiteY2612" fmla="*/ 695973 h 1153700"/>
                    <a:gd name="connsiteX2613" fmla="*/ 185228 w 774525"/>
                    <a:gd name="connsiteY2613" fmla="*/ 696361 h 1153700"/>
                    <a:gd name="connsiteX2614" fmla="*/ 185301 w 774525"/>
                    <a:gd name="connsiteY2614" fmla="*/ 696738 h 1153700"/>
                    <a:gd name="connsiteX2615" fmla="*/ 185532 w 774525"/>
                    <a:gd name="connsiteY2615" fmla="*/ 697964 h 1153700"/>
                    <a:gd name="connsiteX2616" fmla="*/ 185653 w 774525"/>
                    <a:gd name="connsiteY2616" fmla="*/ 698632 h 1153700"/>
                    <a:gd name="connsiteX2617" fmla="*/ 185921 w 774525"/>
                    <a:gd name="connsiteY2617" fmla="*/ 699263 h 1153700"/>
                    <a:gd name="connsiteX2618" fmla="*/ 186661 w 774525"/>
                    <a:gd name="connsiteY2618" fmla="*/ 700963 h 1153700"/>
                    <a:gd name="connsiteX2619" fmla="*/ 187353 w 774525"/>
                    <a:gd name="connsiteY2619" fmla="*/ 703210 h 1153700"/>
                    <a:gd name="connsiteX2620" fmla="*/ 186977 w 774525"/>
                    <a:gd name="connsiteY2620" fmla="*/ 705748 h 1153700"/>
                    <a:gd name="connsiteX2621" fmla="*/ 185580 w 774525"/>
                    <a:gd name="connsiteY2621" fmla="*/ 707763 h 1153700"/>
                    <a:gd name="connsiteX2622" fmla="*/ 181282 w 774525"/>
                    <a:gd name="connsiteY2622" fmla="*/ 709135 h 1153700"/>
                    <a:gd name="connsiteX2623" fmla="*/ 159619 w 774525"/>
                    <a:gd name="connsiteY2623" fmla="*/ 712596 h 1153700"/>
                    <a:gd name="connsiteX2624" fmla="*/ 159145 w 774525"/>
                    <a:gd name="connsiteY2624" fmla="*/ 712669 h 1153700"/>
                    <a:gd name="connsiteX2625" fmla="*/ 158684 w 774525"/>
                    <a:gd name="connsiteY2625" fmla="*/ 712815 h 1153700"/>
                    <a:gd name="connsiteX2626" fmla="*/ 146844 w 774525"/>
                    <a:gd name="connsiteY2626" fmla="*/ 716701 h 1153700"/>
                    <a:gd name="connsiteX2627" fmla="*/ 146553 w 774525"/>
                    <a:gd name="connsiteY2627" fmla="*/ 716798 h 1153700"/>
                    <a:gd name="connsiteX2628" fmla="*/ 146274 w 774525"/>
                    <a:gd name="connsiteY2628" fmla="*/ 716931 h 1153700"/>
                    <a:gd name="connsiteX2629" fmla="*/ 139073 w 774525"/>
                    <a:gd name="connsiteY2629" fmla="*/ 720149 h 1153700"/>
                    <a:gd name="connsiteX2630" fmla="*/ 123773 w 774525"/>
                    <a:gd name="connsiteY2630" fmla="*/ 724302 h 1153700"/>
                    <a:gd name="connsiteX2631" fmla="*/ 123214 w 774525"/>
                    <a:gd name="connsiteY2631" fmla="*/ 724448 h 1153700"/>
                    <a:gd name="connsiteX2632" fmla="*/ 122704 w 774525"/>
                    <a:gd name="connsiteY2632" fmla="*/ 724703 h 1153700"/>
                    <a:gd name="connsiteX2633" fmla="*/ 113706 w 774525"/>
                    <a:gd name="connsiteY2633" fmla="*/ 729074 h 1153700"/>
                    <a:gd name="connsiteX2634" fmla="*/ 113403 w 774525"/>
                    <a:gd name="connsiteY2634" fmla="*/ 729232 h 1153700"/>
                    <a:gd name="connsiteX2635" fmla="*/ 113112 w 774525"/>
                    <a:gd name="connsiteY2635" fmla="*/ 729414 h 1153700"/>
                    <a:gd name="connsiteX2636" fmla="*/ 107356 w 774525"/>
                    <a:gd name="connsiteY2636" fmla="*/ 733081 h 1153700"/>
                    <a:gd name="connsiteX2637" fmla="*/ 106955 w 774525"/>
                    <a:gd name="connsiteY2637" fmla="*/ 733336 h 1153700"/>
                    <a:gd name="connsiteX2638" fmla="*/ 106603 w 774525"/>
                    <a:gd name="connsiteY2638" fmla="*/ 733652 h 1153700"/>
                    <a:gd name="connsiteX2639" fmla="*/ 103033 w 774525"/>
                    <a:gd name="connsiteY2639" fmla="*/ 736809 h 1153700"/>
                    <a:gd name="connsiteX2640" fmla="*/ 102681 w 774525"/>
                    <a:gd name="connsiteY2640" fmla="*/ 737125 h 1153700"/>
                    <a:gd name="connsiteX2641" fmla="*/ 102389 w 774525"/>
                    <a:gd name="connsiteY2641" fmla="*/ 737477 h 1153700"/>
                    <a:gd name="connsiteX2642" fmla="*/ 100058 w 774525"/>
                    <a:gd name="connsiteY2642" fmla="*/ 740294 h 1153700"/>
                    <a:gd name="connsiteX2643" fmla="*/ 99451 w 774525"/>
                    <a:gd name="connsiteY2643" fmla="*/ 741023 h 1153700"/>
                    <a:gd name="connsiteX2644" fmla="*/ 99098 w 774525"/>
                    <a:gd name="connsiteY2644" fmla="*/ 741897 h 1153700"/>
                    <a:gd name="connsiteX2645" fmla="*/ 97994 w 774525"/>
                    <a:gd name="connsiteY2645" fmla="*/ 744629 h 1153700"/>
                    <a:gd name="connsiteX2646" fmla="*/ 97702 w 774525"/>
                    <a:gd name="connsiteY2646" fmla="*/ 745382 h 1153700"/>
                    <a:gd name="connsiteX2647" fmla="*/ 97593 w 774525"/>
                    <a:gd name="connsiteY2647" fmla="*/ 746196 h 1153700"/>
                    <a:gd name="connsiteX2648" fmla="*/ 97338 w 774525"/>
                    <a:gd name="connsiteY2648" fmla="*/ 748515 h 1153700"/>
                    <a:gd name="connsiteX2649" fmla="*/ 97277 w 774525"/>
                    <a:gd name="connsiteY2649" fmla="*/ 748928 h 1153700"/>
                    <a:gd name="connsiteX2650" fmla="*/ 97289 w 774525"/>
                    <a:gd name="connsiteY2650" fmla="*/ 749341 h 1153700"/>
                    <a:gd name="connsiteX2651" fmla="*/ 97338 w 774525"/>
                    <a:gd name="connsiteY2651" fmla="*/ 751429 h 1153700"/>
                    <a:gd name="connsiteX2652" fmla="*/ 97204 w 774525"/>
                    <a:gd name="connsiteY2652" fmla="*/ 752680 h 1153700"/>
                    <a:gd name="connsiteX2653" fmla="*/ 97034 w 774525"/>
                    <a:gd name="connsiteY2653" fmla="*/ 753166 h 1153700"/>
                    <a:gd name="connsiteX2654" fmla="*/ 96973 w 774525"/>
                    <a:gd name="connsiteY2654" fmla="*/ 753202 h 1153700"/>
                    <a:gd name="connsiteX2655" fmla="*/ 96451 w 774525"/>
                    <a:gd name="connsiteY2655" fmla="*/ 753906 h 1153700"/>
                    <a:gd name="connsiteX2656" fmla="*/ 96196 w 774525"/>
                    <a:gd name="connsiteY2656" fmla="*/ 754125 h 1153700"/>
                    <a:gd name="connsiteX2657" fmla="*/ 95941 w 774525"/>
                    <a:gd name="connsiteY2657" fmla="*/ 754344 h 1153700"/>
                    <a:gd name="connsiteX2658" fmla="*/ 95698 w 774525"/>
                    <a:gd name="connsiteY2658" fmla="*/ 754599 h 1153700"/>
                    <a:gd name="connsiteX2659" fmla="*/ 94424 w 774525"/>
                    <a:gd name="connsiteY2659" fmla="*/ 755922 h 1153700"/>
                    <a:gd name="connsiteX2660" fmla="*/ 92990 w 774525"/>
                    <a:gd name="connsiteY2660" fmla="*/ 756797 h 1153700"/>
                    <a:gd name="connsiteX2661" fmla="*/ 92541 w 774525"/>
                    <a:gd name="connsiteY2661" fmla="*/ 757064 h 1153700"/>
                    <a:gd name="connsiteX2662" fmla="*/ 92140 w 774525"/>
                    <a:gd name="connsiteY2662" fmla="*/ 757416 h 1153700"/>
                    <a:gd name="connsiteX2663" fmla="*/ 87502 w 774525"/>
                    <a:gd name="connsiteY2663" fmla="*/ 761459 h 1153700"/>
                    <a:gd name="connsiteX2664" fmla="*/ 83823 w 774525"/>
                    <a:gd name="connsiteY2664" fmla="*/ 762759 h 1153700"/>
                    <a:gd name="connsiteX2665" fmla="*/ 83422 w 774525"/>
                    <a:gd name="connsiteY2665" fmla="*/ 762759 h 1153700"/>
                    <a:gd name="connsiteX2666" fmla="*/ 83397 w 774525"/>
                    <a:gd name="connsiteY2666" fmla="*/ 762759 h 1153700"/>
                    <a:gd name="connsiteX2667" fmla="*/ 82353 w 774525"/>
                    <a:gd name="connsiteY2667" fmla="*/ 761484 h 1153700"/>
                    <a:gd name="connsiteX2668" fmla="*/ 81698 w 774525"/>
                    <a:gd name="connsiteY2668" fmla="*/ 760670 h 1153700"/>
                    <a:gd name="connsiteX2669" fmla="*/ 80811 w 774525"/>
                    <a:gd name="connsiteY2669" fmla="*/ 760124 h 1153700"/>
                    <a:gd name="connsiteX2670" fmla="*/ 77241 w 774525"/>
                    <a:gd name="connsiteY2670" fmla="*/ 757938 h 1153700"/>
                    <a:gd name="connsiteX2671" fmla="*/ 76913 w 774525"/>
                    <a:gd name="connsiteY2671" fmla="*/ 757731 h 1153700"/>
                    <a:gd name="connsiteX2672" fmla="*/ 76573 w 774525"/>
                    <a:gd name="connsiteY2672" fmla="*/ 757574 h 1153700"/>
                    <a:gd name="connsiteX2673" fmla="*/ 71461 w 774525"/>
                    <a:gd name="connsiteY2673" fmla="*/ 755279 h 1153700"/>
                    <a:gd name="connsiteX2674" fmla="*/ 69348 w 774525"/>
                    <a:gd name="connsiteY2674" fmla="*/ 754526 h 1153700"/>
                    <a:gd name="connsiteX2675" fmla="*/ 68911 w 774525"/>
                    <a:gd name="connsiteY2675" fmla="*/ 754368 h 1153700"/>
                    <a:gd name="connsiteX2676" fmla="*/ 70575 w 774525"/>
                    <a:gd name="connsiteY2676" fmla="*/ 747313 h 1153700"/>
                    <a:gd name="connsiteX2677" fmla="*/ 70915 w 774525"/>
                    <a:gd name="connsiteY2677" fmla="*/ 745831 h 1153700"/>
                    <a:gd name="connsiteX2678" fmla="*/ 70514 w 774525"/>
                    <a:gd name="connsiteY2678" fmla="*/ 744362 h 1153700"/>
                    <a:gd name="connsiteX2679" fmla="*/ 69482 w 774525"/>
                    <a:gd name="connsiteY2679" fmla="*/ 740525 h 1153700"/>
                    <a:gd name="connsiteX2680" fmla="*/ 68292 w 774525"/>
                    <a:gd name="connsiteY2680" fmla="*/ 736117 h 1153700"/>
                    <a:gd name="connsiteX2681" fmla="*/ 63726 w 774525"/>
                    <a:gd name="connsiteY2681" fmla="*/ 736032 h 1153700"/>
                    <a:gd name="connsiteX2682" fmla="*/ 59549 w 774525"/>
                    <a:gd name="connsiteY2682" fmla="*/ 735959 h 1153700"/>
                    <a:gd name="connsiteX2683" fmla="*/ 53065 w 774525"/>
                    <a:gd name="connsiteY2683" fmla="*/ 732098 h 1153700"/>
                    <a:gd name="connsiteX2684" fmla="*/ 52385 w 774525"/>
                    <a:gd name="connsiteY2684" fmla="*/ 731697 h 1153700"/>
                    <a:gd name="connsiteX2685" fmla="*/ 51632 w 774525"/>
                    <a:gd name="connsiteY2685" fmla="*/ 731478 h 1153700"/>
                    <a:gd name="connsiteX2686" fmla="*/ 48414 w 774525"/>
                    <a:gd name="connsiteY2686" fmla="*/ 730556 h 1153700"/>
                    <a:gd name="connsiteX2687" fmla="*/ 47491 w 774525"/>
                    <a:gd name="connsiteY2687" fmla="*/ 730289 h 1153700"/>
                    <a:gd name="connsiteX2688" fmla="*/ 46544 w 774525"/>
                    <a:gd name="connsiteY2688" fmla="*/ 730325 h 1153700"/>
                    <a:gd name="connsiteX2689" fmla="*/ 43848 w 774525"/>
                    <a:gd name="connsiteY2689" fmla="*/ 730410 h 1153700"/>
                    <a:gd name="connsiteX2690" fmla="*/ 42367 w 774525"/>
                    <a:gd name="connsiteY2690" fmla="*/ 730446 h 1153700"/>
                    <a:gd name="connsiteX2691" fmla="*/ 41067 w 774525"/>
                    <a:gd name="connsiteY2691" fmla="*/ 731175 h 1153700"/>
                    <a:gd name="connsiteX2692" fmla="*/ 39331 w 774525"/>
                    <a:gd name="connsiteY2692" fmla="*/ 732146 h 1153700"/>
                    <a:gd name="connsiteX2693" fmla="*/ 38530 w 774525"/>
                    <a:gd name="connsiteY2693" fmla="*/ 732608 h 1153700"/>
                    <a:gd name="connsiteX2694" fmla="*/ 37886 w 774525"/>
                    <a:gd name="connsiteY2694" fmla="*/ 733288 h 1153700"/>
                    <a:gd name="connsiteX2695" fmla="*/ 36344 w 774525"/>
                    <a:gd name="connsiteY2695" fmla="*/ 734927 h 1153700"/>
                    <a:gd name="connsiteX2696" fmla="*/ 35943 w 774525"/>
                    <a:gd name="connsiteY2696" fmla="*/ 735364 h 1153700"/>
                    <a:gd name="connsiteX2697" fmla="*/ 35627 w 774525"/>
                    <a:gd name="connsiteY2697" fmla="*/ 735862 h 1153700"/>
                    <a:gd name="connsiteX2698" fmla="*/ 34632 w 774525"/>
                    <a:gd name="connsiteY2698" fmla="*/ 737453 h 1153700"/>
                    <a:gd name="connsiteX2699" fmla="*/ 34158 w 774525"/>
                    <a:gd name="connsiteY2699" fmla="*/ 738206 h 1153700"/>
                    <a:gd name="connsiteX2700" fmla="*/ 33915 w 774525"/>
                    <a:gd name="connsiteY2700" fmla="*/ 739068 h 1153700"/>
                    <a:gd name="connsiteX2701" fmla="*/ 33587 w 774525"/>
                    <a:gd name="connsiteY2701" fmla="*/ 740270 h 1153700"/>
                    <a:gd name="connsiteX2702" fmla="*/ 33235 w 774525"/>
                    <a:gd name="connsiteY2702" fmla="*/ 741569 h 1153700"/>
                    <a:gd name="connsiteX2703" fmla="*/ 33466 w 774525"/>
                    <a:gd name="connsiteY2703" fmla="*/ 742905 h 1153700"/>
                    <a:gd name="connsiteX2704" fmla="*/ 33709 w 774525"/>
                    <a:gd name="connsiteY2704" fmla="*/ 744301 h 1153700"/>
                    <a:gd name="connsiteX2705" fmla="*/ 33806 w 774525"/>
                    <a:gd name="connsiteY2705" fmla="*/ 744824 h 1153700"/>
                    <a:gd name="connsiteX2706" fmla="*/ 33988 w 774525"/>
                    <a:gd name="connsiteY2706" fmla="*/ 745334 h 1153700"/>
                    <a:gd name="connsiteX2707" fmla="*/ 35566 w 774525"/>
                    <a:gd name="connsiteY2707" fmla="*/ 749741 h 1153700"/>
                    <a:gd name="connsiteX2708" fmla="*/ 27965 w 774525"/>
                    <a:gd name="connsiteY2708" fmla="*/ 751041 h 1153700"/>
                    <a:gd name="connsiteX2709" fmla="*/ 24274 w 774525"/>
                    <a:gd name="connsiteY2709" fmla="*/ 751211 h 1153700"/>
                    <a:gd name="connsiteX2710" fmla="*/ 21529 w 774525"/>
                    <a:gd name="connsiteY2710" fmla="*/ 751053 h 1153700"/>
                    <a:gd name="connsiteX2711" fmla="*/ 20789 w 774525"/>
                    <a:gd name="connsiteY2711" fmla="*/ 751017 h 1153700"/>
                    <a:gd name="connsiteX2712" fmla="*/ 20048 w 774525"/>
                    <a:gd name="connsiteY2712" fmla="*/ 751150 h 1153700"/>
                    <a:gd name="connsiteX2713" fmla="*/ 10018 w 774525"/>
                    <a:gd name="connsiteY2713" fmla="*/ 753044 h 1153700"/>
                    <a:gd name="connsiteX2714" fmla="*/ 9144 w 774525"/>
                    <a:gd name="connsiteY2714" fmla="*/ 753214 h 1153700"/>
                    <a:gd name="connsiteX2715" fmla="*/ 8342 w 774525"/>
                    <a:gd name="connsiteY2715" fmla="*/ 753627 h 1153700"/>
                    <a:gd name="connsiteX2716" fmla="*/ 4505 w 774525"/>
                    <a:gd name="connsiteY2716" fmla="*/ 755631 h 1153700"/>
                    <a:gd name="connsiteX2717" fmla="*/ 3497 w 774525"/>
                    <a:gd name="connsiteY2717" fmla="*/ 756153 h 1153700"/>
                    <a:gd name="connsiteX2718" fmla="*/ 2744 w 774525"/>
                    <a:gd name="connsiteY2718" fmla="*/ 757003 h 1153700"/>
                    <a:gd name="connsiteX2719" fmla="*/ 2101 w 774525"/>
                    <a:gd name="connsiteY2719" fmla="*/ 757731 h 1153700"/>
                    <a:gd name="connsiteX2720" fmla="*/ 1263 w 774525"/>
                    <a:gd name="connsiteY2720" fmla="*/ 758703 h 1153700"/>
                    <a:gd name="connsiteX2721" fmla="*/ 886 w 774525"/>
                    <a:gd name="connsiteY2721" fmla="*/ 759929 h 1153700"/>
                    <a:gd name="connsiteX2722" fmla="*/ 316 w 774525"/>
                    <a:gd name="connsiteY2722" fmla="*/ 761739 h 1153700"/>
                    <a:gd name="connsiteX2723" fmla="*/ 0 w 774525"/>
                    <a:gd name="connsiteY2723" fmla="*/ 762734 h 1153700"/>
                    <a:gd name="connsiteX2724" fmla="*/ 36 w 774525"/>
                    <a:gd name="connsiteY2724" fmla="*/ 763779 h 1153700"/>
                    <a:gd name="connsiteX2725" fmla="*/ 158 w 774525"/>
                    <a:gd name="connsiteY2725" fmla="*/ 767021 h 1153700"/>
                    <a:gd name="connsiteX2726" fmla="*/ 267 w 774525"/>
                    <a:gd name="connsiteY2726" fmla="*/ 769899 h 1153700"/>
                    <a:gd name="connsiteX2727" fmla="*/ 2550 w 774525"/>
                    <a:gd name="connsiteY2727" fmla="*/ 771635 h 1153700"/>
                    <a:gd name="connsiteX2728" fmla="*/ 3169 w 774525"/>
                    <a:gd name="connsiteY2728" fmla="*/ 772109 h 1153700"/>
                    <a:gd name="connsiteX2729" fmla="*/ 3522 w 774525"/>
                    <a:gd name="connsiteY2729" fmla="*/ 772643 h 1153700"/>
                    <a:gd name="connsiteX2730" fmla="*/ 4129 w 774525"/>
                    <a:gd name="connsiteY2730" fmla="*/ 773991 h 1153700"/>
                    <a:gd name="connsiteX2731" fmla="*/ 4760 w 774525"/>
                    <a:gd name="connsiteY2731" fmla="*/ 775399 h 1153700"/>
                    <a:gd name="connsiteX2732" fmla="*/ 5986 w 774525"/>
                    <a:gd name="connsiteY2732" fmla="*/ 776334 h 1153700"/>
                    <a:gd name="connsiteX2733" fmla="*/ 7079 w 774525"/>
                    <a:gd name="connsiteY2733" fmla="*/ 777172 h 1153700"/>
                    <a:gd name="connsiteX2734" fmla="*/ 8901 w 774525"/>
                    <a:gd name="connsiteY2734" fmla="*/ 778581 h 1153700"/>
                    <a:gd name="connsiteX2735" fmla="*/ 11196 w 774525"/>
                    <a:gd name="connsiteY2735" fmla="*/ 778411 h 1153700"/>
                    <a:gd name="connsiteX2736" fmla="*/ 11864 w 774525"/>
                    <a:gd name="connsiteY2736" fmla="*/ 778362 h 1153700"/>
                    <a:gd name="connsiteX2737" fmla="*/ 11839 w 774525"/>
                    <a:gd name="connsiteY2737" fmla="*/ 778775 h 1153700"/>
                    <a:gd name="connsiteX2738" fmla="*/ 11511 w 774525"/>
                    <a:gd name="connsiteY2738" fmla="*/ 782928 h 1153700"/>
                    <a:gd name="connsiteX2739" fmla="*/ 11293 w 774525"/>
                    <a:gd name="connsiteY2739" fmla="*/ 783912 h 1153700"/>
                    <a:gd name="connsiteX2740" fmla="*/ 10929 w 774525"/>
                    <a:gd name="connsiteY2740" fmla="*/ 784555 h 1153700"/>
                    <a:gd name="connsiteX2741" fmla="*/ 8391 w 774525"/>
                    <a:gd name="connsiteY2741" fmla="*/ 787591 h 1153700"/>
                    <a:gd name="connsiteX2742" fmla="*/ 8148 w 774525"/>
                    <a:gd name="connsiteY2742" fmla="*/ 787870 h 1153700"/>
                    <a:gd name="connsiteX2743" fmla="*/ 7941 w 774525"/>
                    <a:gd name="connsiteY2743" fmla="*/ 788186 h 1153700"/>
                    <a:gd name="connsiteX2744" fmla="*/ 5088 w 774525"/>
                    <a:gd name="connsiteY2744" fmla="*/ 792606 h 1153700"/>
                    <a:gd name="connsiteX2745" fmla="*/ 4833 w 774525"/>
                    <a:gd name="connsiteY2745" fmla="*/ 792995 h 1153700"/>
                    <a:gd name="connsiteX2746" fmla="*/ 4638 w 774525"/>
                    <a:gd name="connsiteY2746" fmla="*/ 793407 h 1153700"/>
                    <a:gd name="connsiteX2747" fmla="*/ 2501 w 774525"/>
                    <a:gd name="connsiteY2747" fmla="*/ 798143 h 1153700"/>
                    <a:gd name="connsiteX2748" fmla="*/ 2137 w 774525"/>
                    <a:gd name="connsiteY2748" fmla="*/ 798957 h 1153700"/>
                    <a:gd name="connsiteX2749" fmla="*/ 2016 w 774525"/>
                    <a:gd name="connsiteY2749" fmla="*/ 799843 h 1153700"/>
                    <a:gd name="connsiteX2750" fmla="*/ 1433 w 774525"/>
                    <a:gd name="connsiteY2750" fmla="*/ 804239 h 1153700"/>
                    <a:gd name="connsiteX2751" fmla="*/ 1202 w 774525"/>
                    <a:gd name="connsiteY2751" fmla="*/ 805951 h 1153700"/>
                    <a:gd name="connsiteX2752" fmla="*/ 1918 w 774525"/>
                    <a:gd name="connsiteY2752" fmla="*/ 807530 h 1153700"/>
                    <a:gd name="connsiteX2753" fmla="*/ 3704 w 774525"/>
                    <a:gd name="connsiteY2753" fmla="*/ 811513 h 1153700"/>
                    <a:gd name="connsiteX2754" fmla="*/ 4165 w 774525"/>
                    <a:gd name="connsiteY2754" fmla="*/ 812533 h 1153700"/>
                    <a:gd name="connsiteX2755" fmla="*/ 4954 w 774525"/>
                    <a:gd name="connsiteY2755" fmla="*/ 813322 h 1153700"/>
                    <a:gd name="connsiteX2756" fmla="*/ 9836 w 774525"/>
                    <a:gd name="connsiteY2756" fmla="*/ 818179 h 1153700"/>
                    <a:gd name="connsiteX2757" fmla="*/ 10589 w 774525"/>
                    <a:gd name="connsiteY2757" fmla="*/ 820705 h 1153700"/>
                    <a:gd name="connsiteX2758" fmla="*/ 10941 w 774525"/>
                    <a:gd name="connsiteY2758" fmla="*/ 822684 h 1153700"/>
                    <a:gd name="connsiteX2759" fmla="*/ 11086 w 774525"/>
                    <a:gd name="connsiteY2759" fmla="*/ 823449 h 1153700"/>
                    <a:gd name="connsiteX2760" fmla="*/ 11402 w 774525"/>
                    <a:gd name="connsiteY2760" fmla="*/ 824166 h 1153700"/>
                    <a:gd name="connsiteX2761" fmla="*/ 12373 w 774525"/>
                    <a:gd name="connsiteY2761" fmla="*/ 826266 h 1153700"/>
                    <a:gd name="connsiteX2762" fmla="*/ 12750 w 774525"/>
                    <a:gd name="connsiteY2762" fmla="*/ 827068 h 1153700"/>
                    <a:gd name="connsiteX2763" fmla="*/ 13333 w 774525"/>
                    <a:gd name="connsiteY2763" fmla="*/ 827736 h 1153700"/>
                    <a:gd name="connsiteX2764" fmla="*/ 13916 w 774525"/>
                    <a:gd name="connsiteY2764" fmla="*/ 828391 h 1153700"/>
                    <a:gd name="connsiteX2765" fmla="*/ 16502 w 774525"/>
                    <a:gd name="connsiteY2765" fmla="*/ 831318 h 1153700"/>
                    <a:gd name="connsiteX2766" fmla="*/ 20242 w 774525"/>
                    <a:gd name="connsiteY2766" fmla="*/ 830188 h 1153700"/>
                    <a:gd name="connsiteX2767" fmla="*/ 22416 w 774525"/>
                    <a:gd name="connsiteY2767" fmla="*/ 829533 h 1153700"/>
                    <a:gd name="connsiteX2768" fmla="*/ 29398 w 774525"/>
                    <a:gd name="connsiteY2768" fmla="*/ 827104 h 1153700"/>
                    <a:gd name="connsiteX2769" fmla="*/ 31074 w 774525"/>
                    <a:gd name="connsiteY2769" fmla="*/ 827226 h 1153700"/>
                    <a:gd name="connsiteX2770" fmla="*/ 34025 w 774525"/>
                    <a:gd name="connsiteY2770" fmla="*/ 827784 h 1153700"/>
                    <a:gd name="connsiteX2771" fmla="*/ 36477 w 774525"/>
                    <a:gd name="connsiteY2771" fmla="*/ 829120 h 1153700"/>
                    <a:gd name="connsiteX2772" fmla="*/ 39137 w 774525"/>
                    <a:gd name="connsiteY2772" fmla="*/ 831038 h 1153700"/>
                    <a:gd name="connsiteX2773" fmla="*/ 61686 w 774525"/>
                    <a:gd name="connsiteY2773" fmla="*/ 855203 h 1153700"/>
                    <a:gd name="connsiteX2774" fmla="*/ 61917 w 774525"/>
                    <a:gd name="connsiteY2774" fmla="*/ 855446 h 1153700"/>
                    <a:gd name="connsiteX2775" fmla="*/ 62172 w 774525"/>
                    <a:gd name="connsiteY2775" fmla="*/ 855664 h 1153700"/>
                    <a:gd name="connsiteX2776" fmla="*/ 66094 w 774525"/>
                    <a:gd name="connsiteY2776" fmla="*/ 859052 h 1153700"/>
                    <a:gd name="connsiteX2777" fmla="*/ 66883 w 774525"/>
                    <a:gd name="connsiteY2777" fmla="*/ 859744 h 1153700"/>
                    <a:gd name="connsiteX2778" fmla="*/ 67867 w 774525"/>
                    <a:gd name="connsiteY2778" fmla="*/ 860121 h 1153700"/>
                    <a:gd name="connsiteX2779" fmla="*/ 70623 w 774525"/>
                    <a:gd name="connsiteY2779" fmla="*/ 861177 h 1153700"/>
                    <a:gd name="connsiteX2780" fmla="*/ 72105 w 774525"/>
                    <a:gd name="connsiteY2780" fmla="*/ 861748 h 1153700"/>
                    <a:gd name="connsiteX2781" fmla="*/ 73683 w 774525"/>
                    <a:gd name="connsiteY2781" fmla="*/ 861517 h 1153700"/>
                    <a:gd name="connsiteX2782" fmla="*/ 76440 w 774525"/>
                    <a:gd name="connsiteY2782" fmla="*/ 861117 h 1153700"/>
                    <a:gd name="connsiteX2783" fmla="*/ 77241 w 774525"/>
                    <a:gd name="connsiteY2783" fmla="*/ 860995 h 1153700"/>
                    <a:gd name="connsiteX2784" fmla="*/ 77994 w 774525"/>
                    <a:gd name="connsiteY2784" fmla="*/ 860667 h 1153700"/>
                    <a:gd name="connsiteX2785" fmla="*/ 80750 w 774525"/>
                    <a:gd name="connsiteY2785" fmla="*/ 859465 h 1153700"/>
                    <a:gd name="connsiteX2786" fmla="*/ 81151 w 774525"/>
                    <a:gd name="connsiteY2786" fmla="*/ 859295 h 1153700"/>
                    <a:gd name="connsiteX2787" fmla="*/ 81503 w 774525"/>
                    <a:gd name="connsiteY2787" fmla="*/ 859064 h 1153700"/>
                    <a:gd name="connsiteX2788" fmla="*/ 81977 w 774525"/>
                    <a:gd name="connsiteY2788" fmla="*/ 858773 h 1153700"/>
                    <a:gd name="connsiteX2789" fmla="*/ 87587 w 774525"/>
                    <a:gd name="connsiteY2789" fmla="*/ 858797 h 1153700"/>
                    <a:gd name="connsiteX2790" fmla="*/ 96998 w 774525"/>
                    <a:gd name="connsiteY2790" fmla="*/ 860861 h 1153700"/>
                    <a:gd name="connsiteX2791" fmla="*/ 97544 w 774525"/>
                    <a:gd name="connsiteY2791" fmla="*/ 860983 h 1153700"/>
                    <a:gd name="connsiteX2792" fmla="*/ 98103 w 774525"/>
                    <a:gd name="connsiteY2792" fmla="*/ 860995 h 1153700"/>
                    <a:gd name="connsiteX2793" fmla="*/ 115212 w 774525"/>
                    <a:gd name="connsiteY2793" fmla="*/ 861578 h 1153700"/>
                    <a:gd name="connsiteX2794" fmla="*/ 113366 w 774525"/>
                    <a:gd name="connsiteY2794" fmla="*/ 863072 h 1153700"/>
                    <a:gd name="connsiteX2795" fmla="*/ 112395 w 774525"/>
                    <a:gd name="connsiteY2795" fmla="*/ 863861 h 1153700"/>
                    <a:gd name="connsiteX2796" fmla="*/ 111800 w 774525"/>
                    <a:gd name="connsiteY2796" fmla="*/ 864978 h 1153700"/>
                    <a:gd name="connsiteX2797" fmla="*/ 111011 w 774525"/>
                    <a:gd name="connsiteY2797" fmla="*/ 866496 h 1153700"/>
                    <a:gd name="connsiteX2798" fmla="*/ 110367 w 774525"/>
                    <a:gd name="connsiteY2798" fmla="*/ 867734 h 1153700"/>
                    <a:gd name="connsiteX2799" fmla="*/ 110318 w 774525"/>
                    <a:gd name="connsiteY2799" fmla="*/ 869131 h 1153700"/>
                    <a:gd name="connsiteX2800" fmla="*/ 110258 w 774525"/>
                    <a:gd name="connsiteY2800" fmla="*/ 871037 h 1153700"/>
                    <a:gd name="connsiteX2801" fmla="*/ 110234 w 774525"/>
                    <a:gd name="connsiteY2801" fmla="*/ 872094 h 1153700"/>
                    <a:gd name="connsiteX2802" fmla="*/ 110549 w 774525"/>
                    <a:gd name="connsiteY2802" fmla="*/ 873102 h 1153700"/>
                    <a:gd name="connsiteX2803" fmla="*/ 111023 w 774525"/>
                    <a:gd name="connsiteY2803" fmla="*/ 874571 h 1153700"/>
                    <a:gd name="connsiteX2804" fmla="*/ 111035 w 774525"/>
                    <a:gd name="connsiteY2804" fmla="*/ 874668 h 1153700"/>
                    <a:gd name="connsiteX2805" fmla="*/ 110817 w 774525"/>
                    <a:gd name="connsiteY2805" fmla="*/ 875421 h 1153700"/>
                    <a:gd name="connsiteX2806" fmla="*/ 109141 w 774525"/>
                    <a:gd name="connsiteY2806" fmla="*/ 879428 h 1153700"/>
                    <a:gd name="connsiteX2807" fmla="*/ 108813 w 774525"/>
                    <a:gd name="connsiteY2807" fmla="*/ 880229 h 1153700"/>
                    <a:gd name="connsiteX2808" fmla="*/ 108716 w 774525"/>
                    <a:gd name="connsiteY2808" fmla="*/ 881092 h 1153700"/>
                    <a:gd name="connsiteX2809" fmla="*/ 108497 w 774525"/>
                    <a:gd name="connsiteY2809" fmla="*/ 883047 h 1153700"/>
                    <a:gd name="connsiteX2810" fmla="*/ 108351 w 774525"/>
                    <a:gd name="connsiteY2810" fmla="*/ 887819 h 1153700"/>
                    <a:gd name="connsiteX2811" fmla="*/ 107392 w 774525"/>
                    <a:gd name="connsiteY2811" fmla="*/ 892542 h 1153700"/>
                    <a:gd name="connsiteX2812" fmla="*/ 107331 w 774525"/>
                    <a:gd name="connsiteY2812" fmla="*/ 892894 h 1153700"/>
                    <a:gd name="connsiteX2813" fmla="*/ 107319 w 774525"/>
                    <a:gd name="connsiteY2813" fmla="*/ 893247 h 1153700"/>
                    <a:gd name="connsiteX2814" fmla="*/ 107186 w 774525"/>
                    <a:gd name="connsiteY2814" fmla="*/ 895894 h 1153700"/>
                    <a:gd name="connsiteX2815" fmla="*/ 107149 w 774525"/>
                    <a:gd name="connsiteY2815" fmla="*/ 896865 h 1153700"/>
                    <a:gd name="connsiteX2816" fmla="*/ 107404 w 774525"/>
                    <a:gd name="connsiteY2816" fmla="*/ 897800 h 1153700"/>
                    <a:gd name="connsiteX2817" fmla="*/ 108194 w 774525"/>
                    <a:gd name="connsiteY2817" fmla="*/ 900642 h 1153700"/>
                    <a:gd name="connsiteX2818" fmla="*/ 108728 w 774525"/>
                    <a:gd name="connsiteY2818" fmla="*/ 902560 h 1153700"/>
                    <a:gd name="connsiteX2819" fmla="*/ 110306 w 774525"/>
                    <a:gd name="connsiteY2819" fmla="*/ 903787 h 1153700"/>
                    <a:gd name="connsiteX2820" fmla="*/ 120300 w 774525"/>
                    <a:gd name="connsiteY2820" fmla="*/ 911595 h 1153700"/>
                    <a:gd name="connsiteX2821" fmla="*/ 121539 w 774525"/>
                    <a:gd name="connsiteY2821" fmla="*/ 912566 h 1153700"/>
                    <a:gd name="connsiteX2822" fmla="*/ 123093 w 774525"/>
                    <a:gd name="connsiteY2822" fmla="*/ 912809 h 1153700"/>
                    <a:gd name="connsiteX2823" fmla="*/ 126323 w 774525"/>
                    <a:gd name="connsiteY2823" fmla="*/ 913319 h 1153700"/>
                    <a:gd name="connsiteX2824" fmla="*/ 126724 w 774525"/>
                    <a:gd name="connsiteY2824" fmla="*/ 913380 h 1153700"/>
                    <a:gd name="connsiteX2825" fmla="*/ 127112 w 774525"/>
                    <a:gd name="connsiteY2825" fmla="*/ 913392 h 1153700"/>
                    <a:gd name="connsiteX2826" fmla="*/ 129505 w 774525"/>
                    <a:gd name="connsiteY2826" fmla="*/ 913453 h 1153700"/>
                    <a:gd name="connsiteX2827" fmla="*/ 130172 w 774525"/>
                    <a:gd name="connsiteY2827" fmla="*/ 913465 h 1153700"/>
                    <a:gd name="connsiteX2828" fmla="*/ 130828 w 774525"/>
                    <a:gd name="connsiteY2828" fmla="*/ 913331 h 1153700"/>
                    <a:gd name="connsiteX2829" fmla="*/ 131071 w 774525"/>
                    <a:gd name="connsiteY2829" fmla="*/ 913282 h 1153700"/>
                    <a:gd name="connsiteX2830" fmla="*/ 134107 w 774525"/>
                    <a:gd name="connsiteY2830" fmla="*/ 914982 h 1153700"/>
                    <a:gd name="connsiteX2831" fmla="*/ 143602 w 774525"/>
                    <a:gd name="connsiteY2831" fmla="*/ 922790 h 1153700"/>
                    <a:gd name="connsiteX2832" fmla="*/ 144707 w 774525"/>
                    <a:gd name="connsiteY2832" fmla="*/ 930003 h 1153700"/>
                    <a:gd name="connsiteX2833" fmla="*/ 144841 w 774525"/>
                    <a:gd name="connsiteY2833" fmla="*/ 930865 h 1153700"/>
                    <a:gd name="connsiteX2834" fmla="*/ 145205 w 774525"/>
                    <a:gd name="connsiteY2834" fmla="*/ 931655 h 1153700"/>
                    <a:gd name="connsiteX2835" fmla="*/ 146456 w 774525"/>
                    <a:gd name="connsiteY2835" fmla="*/ 934326 h 1153700"/>
                    <a:gd name="connsiteX2836" fmla="*/ 146650 w 774525"/>
                    <a:gd name="connsiteY2836" fmla="*/ 934727 h 1153700"/>
                    <a:gd name="connsiteX2837" fmla="*/ 146893 w 774525"/>
                    <a:gd name="connsiteY2837" fmla="*/ 935104 h 1153700"/>
                    <a:gd name="connsiteX2838" fmla="*/ 148800 w 774525"/>
                    <a:gd name="connsiteY2838" fmla="*/ 938006 h 1153700"/>
                    <a:gd name="connsiteX2839" fmla="*/ 149504 w 774525"/>
                    <a:gd name="connsiteY2839" fmla="*/ 939050 h 1153700"/>
                    <a:gd name="connsiteX2840" fmla="*/ 150548 w 774525"/>
                    <a:gd name="connsiteY2840" fmla="*/ 939742 h 1153700"/>
                    <a:gd name="connsiteX2841" fmla="*/ 153122 w 774525"/>
                    <a:gd name="connsiteY2841" fmla="*/ 941430 h 1153700"/>
                    <a:gd name="connsiteX2842" fmla="*/ 153839 w 774525"/>
                    <a:gd name="connsiteY2842" fmla="*/ 941904 h 1153700"/>
                    <a:gd name="connsiteX2843" fmla="*/ 154652 w 774525"/>
                    <a:gd name="connsiteY2843" fmla="*/ 942158 h 1153700"/>
                    <a:gd name="connsiteX2844" fmla="*/ 157348 w 774525"/>
                    <a:gd name="connsiteY2844" fmla="*/ 942996 h 1153700"/>
                    <a:gd name="connsiteX2845" fmla="*/ 158174 w 774525"/>
                    <a:gd name="connsiteY2845" fmla="*/ 943251 h 1153700"/>
                    <a:gd name="connsiteX2846" fmla="*/ 159048 w 774525"/>
                    <a:gd name="connsiteY2846" fmla="*/ 943264 h 1153700"/>
                    <a:gd name="connsiteX2847" fmla="*/ 166844 w 774525"/>
                    <a:gd name="connsiteY2847" fmla="*/ 943385 h 1153700"/>
                    <a:gd name="connsiteX2848" fmla="*/ 168398 w 774525"/>
                    <a:gd name="connsiteY2848" fmla="*/ 943846 h 1153700"/>
                    <a:gd name="connsiteX2849" fmla="*/ 171616 w 774525"/>
                    <a:gd name="connsiteY2849" fmla="*/ 945862 h 1153700"/>
                    <a:gd name="connsiteX2850" fmla="*/ 173243 w 774525"/>
                    <a:gd name="connsiteY2850" fmla="*/ 947562 h 1153700"/>
                    <a:gd name="connsiteX2851" fmla="*/ 173571 w 774525"/>
                    <a:gd name="connsiteY2851" fmla="*/ 948048 h 1153700"/>
                    <a:gd name="connsiteX2852" fmla="*/ 173304 w 774525"/>
                    <a:gd name="connsiteY2852" fmla="*/ 948060 h 1153700"/>
                    <a:gd name="connsiteX2853" fmla="*/ 170402 w 774525"/>
                    <a:gd name="connsiteY2853" fmla="*/ 948193 h 1153700"/>
                    <a:gd name="connsiteX2854" fmla="*/ 168690 w 774525"/>
                    <a:gd name="connsiteY2854" fmla="*/ 950525 h 1153700"/>
                    <a:gd name="connsiteX2855" fmla="*/ 168168 w 774525"/>
                    <a:gd name="connsiteY2855" fmla="*/ 951217 h 1153700"/>
                    <a:gd name="connsiteX2856" fmla="*/ 167682 w 774525"/>
                    <a:gd name="connsiteY2856" fmla="*/ 951897 h 1153700"/>
                    <a:gd name="connsiteX2857" fmla="*/ 167208 w 774525"/>
                    <a:gd name="connsiteY2857" fmla="*/ 952953 h 1153700"/>
                    <a:gd name="connsiteX2858" fmla="*/ 166978 w 774525"/>
                    <a:gd name="connsiteY2858" fmla="*/ 953561 h 1153700"/>
                    <a:gd name="connsiteX2859" fmla="*/ 166808 w 774525"/>
                    <a:gd name="connsiteY2859" fmla="*/ 954386 h 1153700"/>
                    <a:gd name="connsiteX2860" fmla="*/ 166710 w 774525"/>
                    <a:gd name="connsiteY2860" fmla="*/ 954957 h 1153700"/>
                    <a:gd name="connsiteX2861" fmla="*/ 166686 w 774525"/>
                    <a:gd name="connsiteY2861" fmla="*/ 955868 h 1153700"/>
                    <a:gd name="connsiteX2862" fmla="*/ 166735 w 774525"/>
                    <a:gd name="connsiteY2862" fmla="*/ 956924 h 1153700"/>
                    <a:gd name="connsiteX2863" fmla="*/ 167026 w 774525"/>
                    <a:gd name="connsiteY2863" fmla="*/ 959377 h 1153700"/>
                    <a:gd name="connsiteX2864" fmla="*/ 167099 w 774525"/>
                    <a:gd name="connsiteY2864" fmla="*/ 959936 h 1153700"/>
                    <a:gd name="connsiteX2865" fmla="*/ 167281 w 774525"/>
                    <a:gd name="connsiteY2865" fmla="*/ 960470 h 1153700"/>
                    <a:gd name="connsiteX2866" fmla="*/ 168143 w 774525"/>
                    <a:gd name="connsiteY2866" fmla="*/ 963141 h 1153700"/>
                    <a:gd name="connsiteX2867" fmla="*/ 168374 w 774525"/>
                    <a:gd name="connsiteY2867" fmla="*/ 963834 h 1153700"/>
                    <a:gd name="connsiteX2868" fmla="*/ 168738 w 774525"/>
                    <a:gd name="connsiteY2868" fmla="*/ 964441 h 1153700"/>
                    <a:gd name="connsiteX2869" fmla="*/ 169637 w 774525"/>
                    <a:gd name="connsiteY2869" fmla="*/ 965910 h 1153700"/>
                    <a:gd name="connsiteX2870" fmla="*/ 170098 w 774525"/>
                    <a:gd name="connsiteY2870" fmla="*/ 966651 h 1153700"/>
                    <a:gd name="connsiteX2871" fmla="*/ 170742 w 774525"/>
                    <a:gd name="connsiteY2871" fmla="*/ 967234 h 1153700"/>
                    <a:gd name="connsiteX2872" fmla="*/ 172005 w 774525"/>
                    <a:gd name="connsiteY2872" fmla="*/ 968387 h 1153700"/>
                    <a:gd name="connsiteX2873" fmla="*/ 172624 w 774525"/>
                    <a:gd name="connsiteY2873" fmla="*/ 968946 h 1153700"/>
                    <a:gd name="connsiteX2874" fmla="*/ 173377 w 774525"/>
                    <a:gd name="connsiteY2874" fmla="*/ 969322 h 1153700"/>
                    <a:gd name="connsiteX2875" fmla="*/ 178780 w 774525"/>
                    <a:gd name="connsiteY2875" fmla="*/ 972030 h 1153700"/>
                    <a:gd name="connsiteX2876" fmla="*/ 180274 w 774525"/>
                    <a:gd name="connsiteY2876" fmla="*/ 973111 h 1153700"/>
                    <a:gd name="connsiteX2877" fmla="*/ 182010 w 774525"/>
                    <a:gd name="connsiteY2877" fmla="*/ 975017 h 1153700"/>
                    <a:gd name="connsiteX2878" fmla="*/ 182472 w 774525"/>
                    <a:gd name="connsiteY2878" fmla="*/ 976365 h 1153700"/>
                    <a:gd name="connsiteX2879" fmla="*/ 182776 w 774525"/>
                    <a:gd name="connsiteY2879" fmla="*/ 982097 h 1153700"/>
                    <a:gd name="connsiteX2880" fmla="*/ 182812 w 774525"/>
                    <a:gd name="connsiteY2880" fmla="*/ 982849 h 1153700"/>
                    <a:gd name="connsiteX2881" fmla="*/ 183043 w 774525"/>
                    <a:gd name="connsiteY2881" fmla="*/ 983554 h 1153700"/>
                    <a:gd name="connsiteX2882" fmla="*/ 184075 w 774525"/>
                    <a:gd name="connsiteY2882" fmla="*/ 986917 h 1153700"/>
                    <a:gd name="connsiteX2883" fmla="*/ 184548 w 774525"/>
                    <a:gd name="connsiteY2883" fmla="*/ 988472 h 1153700"/>
                    <a:gd name="connsiteX2884" fmla="*/ 185726 w 774525"/>
                    <a:gd name="connsiteY2884" fmla="*/ 989577 h 1153700"/>
                    <a:gd name="connsiteX2885" fmla="*/ 187681 w 774525"/>
                    <a:gd name="connsiteY2885" fmla="*/ 991398 h 1153700"/>
                    <a:gd name="connsiteX2886" fmla="*/ 186200 w 774525"/>
                    <a:gd name="connsiteY2886" fmla="*/ 991240 h 1153700"/>
                    <a:gd name="connsiteX2887" fmla="*/ 184791 w 774525"/>
                    <a:gd name="connsiteY2887" fmla="*/ 991094 h 1153700"/>
                    <a:gd name="connsiteX2888" fmla="*/ 183480 w 774525"/>
                    <a:gd name="connsiteY2888" fmla="*/ 991580 h 1153700"/>
                    <a:gd name="connsiteX2889" fmla="*/ 181986 w 774525"/>
                    <a:gd name="connsiteY2889" fmla="*/ 992127 h 1153700"/>
                    <a:gd name="connsiteX2890" fmla="*/ 180116 w 774525"/>
                    <a:gd name="connsiteY2890" fmla="*/ 992819 h 1153700"/>
                    <a:gd name="connsiteX2891" fmla="*/ 179011 w 774525"/>
                    <a:gd name="connsiteY2891" fmla="*/ 994482 h 1153700"/>
                    <a:gd name="connsiteX2892" fmla="*/ 178161 w 774525"/>
                    <a:gd name="connsiteY2892" fmla="*/ 995782 h 1153700"/>
                    <a:gd name="connsiteX2893" fmla="*/ 177032 w 774525"/>
                    <a:gd name="connsiteY2893" fmla="*/ 997506 h 1153700"/>
                    <a:gd name="connsiteX2894" fmla="*/ 177141 w 774525"/>
                    <a:gd name="connsiteY2894" fmla="*/ 999036 h 1153700"/>
                    <a:gd name="connsiteX2895" fmla="*/ 176461 w 774525"/>
                    <a:gd name="connsiteY2895" fmla="*/ 999072 h 1153700"/>
                    <a:gd name="connsiteX2896" fmla="*/ 175502 w 774525"/>
                    <a:gd name="connsiteY2896" fmla="*/ 999133 h 1153700"/>
                    <a:gd name="connsiteX2897" fmla="*/ 173280 w 774525"/>
                    <a:gd name="connsiteY2897" fmla="*/ 999267 h 1153700"/>
                    <a:gd name="connsiteX2898" fmla="*/ 171677 w 774525"/>
                    <a:gd name="connsiteY2898" fmla="*/ 1000797 h 1153700"/>
                    <a:gd name="connsiteX2899" fmla="*/ 171385 w 774525"/>
                    <a:gd name="connsiteY2899" fmla="*/ 1001076 h 1153700"/>
                    <a:gd name="connsiteX2900" fmla="*/ 168811 w 774525"/>
                    <a:gd name="connsiteY2900" fmla="*/ 1002497 h 1153700"/>
                    <a:gd name="connsiteX2901" fmla="*/ 168532 w 774525"/>
                    <a:gd name="connsiteY2901" fmla="*/ 1002655 h 1153700"/>
                    <a:gd name="connsiteX2902" fmla="*/ 168277 w 774525"/>
                    <a:gd name="connsiteY2902" fmla="*/ 1002837 h 1153700"/>
                    <a:gd name="connsiteX2903" fmla="*/ 165800 w 774525"/>
                    <a:gd name="connsiteY2903" fmla="*/ 1004573 h 1153700"/>
                    <a:gd name="connsiteX2904" fmla="*/ 165375 w 774525"/>
                    <a:gd name="connsiteY2904" fmla="*/ 1004865 h 1153700"/>
                    <a:gd name="connsiteX2905" fmla="*/ 165010 w 774525"/>
                    <a:gd name="connsiteY2905" fmla="*/ 1005229 h 1153700"/>
                    <a:gd name="connsiteX2906" fmla="*/ 163760 w 774525"/>
                    <a:gd name="connsiteY2906" fmla="*/ 1006468 h 1153700"/>
                    <a:gd name="connsiteX2907" fmla="*/ 160408 w 774525"/>
                    <a:gd name="connsiteY2907" fmla="*/ 1009782 h 1153700"/>
                    <a:gd name="connsiteX2908" fmla="*/ 162788 w 774525"/>
                    <a:gd name="connsiteY2908" fmla="*/ 1013850 h 1153700"/>
                    <a:gd name="connsiteX2909" fmla="*/ 166164 w 774525"/>
                    <a:gd name="connsiteY2909" fmla="*/ 1019630 h 1153700"/>
                    <a:gd name="connsiteX2910" fmla="*/ 167062 w 774525"/>
                    <a:gd name="connsiteY2910" fmla="*/ 1021173 h 1153700"/>
                    <a:gd name="connsiteX2911" fmla="*/ 168665 w 774525"/>
                    <a:gd name="connsiteY2911" fmla="*/ 1021974 h 1153700"/>
                    <a:gd name="connsiteX2912" fmla="*/ 170681 w 774525"/>
                    <a:gd name="connsiteY2912" fmla="*/ 1022994 h 1153700"/>
                    <a:gd name="connsiteX2913" fmla="*/ 171033 w 774525"/>
                    <a:gd name="connsiteY2913" fmla="*/ 1023176 h 1153700"/>
                    <a:gd name="connsiteX2914" fmla="*/ 171410 w 774525"/>
                    <a:gd name="connsiteY2914" fmla="*/ 1023310 h 1153700"/>
                    <a:gd name="connsiteX2915" fmla="*/ 174506 w 774525"/>
                    <a:gd name="connsiteY2915" fmla="*/ 1024390 h 1153700"/>
                    <a:gd name="connsiteX2916" fmla="*/ 174822 w 774525"/>
                    <a:gd name="connsiteY2916" fmla="*/ 1024512 h 1153700"/>
                    <a:gd name="connsiteX2917" fmla="*/ 175150 w 774525"/>
                    <a:gd name="connsiteY2917" fmla="*/ 1024585 h 1153700"/>
                    <a:gd name="connsiteX2918" fmla="*/ 177918 w 774525"/>
                    <a:gd name="connsiteY2918" fmla="*/ 1025228 h 1153700"/>
                    <a:gd name="connsiteX2919" fmla="*/ 179776 w 774525"/>
                    <a:gd name="connsiteY2919" fmla="*/ 1025957 h 1153700"/>
                    <a:gd name="connsiteX2920" fmla="*/ 181780 w 774525"/>
                    <a:gd name="connsiteY2920" fmla="*/ 1027730 h 1153700"/>
                    <a:gd name="connsiteX2921" fmla="*/ 182083 w 774525"/>
                    <a:gd name="connsiteY2921" fmla="*/ 1027997 h 1153700"/>
                    <a:gd name="connsiteX2922" fmla="*/ 182411 w 774525"/>
                    <a:gd name="connsiteY2922" fmla="*/ 1028240 h 1153700"/>
                    <a:gd name="connsiteX2923" fmla="*/ 192259 w 774525"/>
                    <a:gd name="connsiteY2923" fmla="*/ 1034809 h 1153700"/>
                    <a:gd name="connsiteX2924" fmla="*/ 193304 w 774525"/>
                    <a:gd name="connsiteY2924" fmla="*/ 1035513 h 1153700"/>
                    <a:gd name="connsiteX2925" fmla="*/ 194554 w 774525"/>
                    <a:gd name="connsiteY2925" fmla="*/ 1035744 h 1153700"/>
                    <a:gd name="connsiteX2926" fmla="*/ 197250 w 774525"/>
                    <a:gd name="connsiteY2926" fmla="*/ 1036230 h 1153700"/>
                    <a:gd name="connsiteX2927" fmla="*/ 198051 w 774525"/>
                    <a:gd name="connsiteY2927" fmla="*/ 1036376 h 1153700"/>
                    <a:gd name="connsiteX2928" fmla="*/ 198865 w 774525"/>
                    <a:gd name="connsiteY2928" fmla="*/ 1036303 h 1153700"/>
                    <a:gd name="connsiteX2929" fmla="*/ 200917 w 774525"/>
                    <a:gd name="connsiteY2929" fmla="*/ 1036108 h 1153700"/>
                    <a:gd name="connsiteX2930" fmla="*/ 202824 w 774525"/>
                    <a:gd name="connsiteY2930" fmla="*/ 1036205 h 1153700"/>
                    <a:gd name="connsiteX2931" fmla="*/ 204839 w 774525"/>
                    <a:gd name="connsiteY2931" fmla="*/ 1036631 h 1153700"/>
                    <a:gd name="connsiteX2932" fmla="*/ 213400 w 774525"/>
                    <a:gd name="connsiteY2932" fmla="*/ 1040164 h 1153700"/>
                    <a:gd name="connsiteX2933" fmla="*/ 217771 w 774525"/>
                    <a:gd name="connsiteY2933" fmla="*/ 1042969 h 1153700"/>
                    <a:gd name="connsiteX2934" fmla="*/ 219945 w 774525"/>
                    <a:gd name="connsiteY2934" fmla="*/ 1044827 h 1153700"/>
                    <a:gd name="connsiteX2935" fmla="*/ 220929 w 774525"/>
                    <a:gd name="connsiteY2935" fmla="*/ 1046102 h 1153700"/>
                    <a:gd name="connsiteX2936" fmla="*/ 221086 w 774525"/>
                    <a:gd name="connsiteY2936" fmla="*/ 1046393 h 1153700"/>
                    <a:gd name="connsiteX2937" fmla="*/ 221099 w 774525"/>
                    <a:gd name="connsiteY2937" fmla="*/ 1046418 h 1153700"/>
                    <a:gd name="connsiteX2938" fmla="*/ 221633 w 774525"/>
                    <a:gd name="connsiteY2938" fmla="*/ 1049429 h 1153700"/>
                    <a:gd name="connsiteX2939" fmla="*/ 221779 w 774525"/>
                    <a:gd name="connsiteY2939" fmla="*/ 1051396 h 1153700"/>
                    <a:gd name="connsiteX2940" fmla="*/ 221779 w 774525"/>
                    <a:gd name="connsiteY2940" fmla="*/ 1052149 h 1153700"/>
                    <a:gd name="connsiteX2941" fmla="*/ 219933 w 774525"/>
                    <a:gd name="connsiteY2941" fmla="*/ 1056982 h 1153700"/>
                    <a:gd name="connsiteX2942" fmla="*/ 219399 w 774525"/>
                    <a:gd name="connsiteY2942" fmla="*/ 1058415 h 1153700"/>
                    <a:gd name="connsiteX2943" fmla="*/ 219593 w 774525"/>
                    <a:gd name="connsiteY2943" fmla="*/ 1059921 h 1153700"/>
                    <a:gd name="connsiteX2944" fmla="*/ 219981 w 774525"/>
                    <a:gd name="connsiteY2944" fmla="*/ 1062920 h 1153700"/>
                    <a:gd name="connsiteX2945" fmla="*/ 220103 w 774525"/>
                    <a:gd name="connsiteY2945" fmla="*/ 1063770 h 1153700"/>
                    <a:gd name="connsiteX2946" fmla="*/ 220443 w 774525"/>
                    <a:gd name="connsiteY2946" fmla="*/ 1064559 h 1153700"/>
                    <a:gd name="connsiteX2947" fmla="*/ 222179 w 774525"/>
                    <a:gd name="connsiteY2947" fmla="*/ 1068518 h 1153700"/>
                    <a:gd name="connsiteX2948" fmla="*/ 222544 w 774525"/>
                    <a:gd name="connsiteY2948" fmla="*/ 1069356 h 1153700"/>
                    <a:gd name="connsiteX2949" fmla="*/ 223151 w 774525"/>
                    <a:gd name="connsiteY2949" fmla="*/ 1070060 h 1153700"/>
                    <a:gd name="connsiteX2950" fmla="*/ 228081 w 774525"/>
                    <a:gd name="connsiteY2950" fmla="*/ 1075755 h 1153700"/>
                    <a:gd name="connsiteX2951" fmla="*/ 229101 w 774525"/>
                    <a:gd name="connsiteY2951" fmla="*/ 1076945 h 1153700"/>
                    <a:gd name="connsiteX2952" fmla="*/ 230570 w 774525"/>
                    <a:gd name="connsiteY2952" fmla="*/ 1077479 h 1153700"/>
                    <a:gd name="connsiteX2953" fmla="*/ 233666 w 774525"/>
                    <a:gd name="connsiteY2953" fmla="*/ 1078633 h 1153700"/>
                    <a:gd name="connsiteX2954" fmla="*/ 236010 w 774525"/>
                    <a:gd name="connsiteY2954" fmla="*/ 1079483 h 1153700"/>
                    <a:gd name="connsiteX2955" fmla="*/ 238281 w 774525"/>
                    <a:gd name="connsiteY2955" fmla="*/ 1078451 h 1153700"/>
                    <a:gd name="connsiteX2956" fmla="*/ 240418 w 774525"/>
                    <a:gd name="connsiteY2956" fmla="*/ 1077479 h 1153700"/>
                    <a:gd name="connsiteX2957" fmla="*/ 242713 w 774525"/>
                    <a:gd name="connsiteY2957" fmla="*/ 1076435 h 1153700"/>
                    <a:gd name="connsiteX2958" fmla="*/ 243587 w 774525"/>
                    <a:gd name="connsiteY2958" fmla="*/ 1074067 h 1153700"/>
                    <a:gd name="connsiteX2959" fmla="*/ 244219 w 774525"/>
                    <a:gd name="connsiteY2959" fmla="*/ 1072355 h 1153700"/>
                    <a:gd name="connsiteX2960" fmla="*/ 244389 w 774525"/>
                    <a:gd name="connsiteY2960" fmla="*/ 1072076 h 1153700"/>
                    <a:gd name="connsiteX2961" fmla="*/ 245178 w 774525"/>
                    <a:gd name="connsiteY2961" fmla="*/ 1071736 h 1153700"/>
                    <a:gd name="connsiteX2962" fmla="*/ 245651 w 774525"/>
                    <a:gd name="connsiteY2962" fmla="*/ 1071529 h 1153700"/>
                    <a:gd name="connsiteX2963" fmla="*/ 246089 w 774525"/>
                    <a:gd name="connsiteY2963" fmla="*/ 1071250 h 1153700"/>
                    <a:gd name="connsiteX2964" fmla="*/ 247764 w 774525"/>
                    <a:gd name="connsiteY2964" fmla="*/ 1070157 h 1153700"/>
                    <a:gd name="connsiteX2965" fmla="*/ 248736 w 774525"/>
                    <a:gd name="connsiteY2965" fmla="*/ 1069514 h 1153700"/>
                    <a:gd name="connsiteX2966" fmla="*/ 249404 w 774525"/>
                    <a:gd name="connsiteY2966" fmla="*/ 1068566 h 1153700"/>
                    <a:gd name="connsiteX2967" fmla="*/ 250667 w 774525"/>
                    <a:gd name="connsiteY2967" fmla="*/ 1066794 h 1153700"/>
                    <a:gd name="connsiteX2968" fmla="*/ 250922 w 774525"/>
                    <a:gd name="connsiteY2968" fmla="*/ 1066441 h 1153700"/>
                    <a:gd name="connsiteX2969" fmla="*/ 251128 w 774525"/>
                    <a:gd name="connsiteY2969" fmla="*/ 1066041 h 1153700"/>
                    <a:gd name="connsiteX2970" fmla="*/ 251966 w 774525"/>
                    <a:gd name="connsiteY2970" fmla="*/ 1064377 h 1153700"/>
                    <a:gd name="connsiteX2971" fmla="*/ 253763 w 774525"/>
                    <a:gd name="connsiteY2971" fmla="*/ 1064899 h 1153700"/>
                    <a:gd name="connsiteX2972" fmla="*/ 259057 w 774525"/>
                    <a:gd name="connsiteY2972" fmla="*/ 1067401 h 1153700"/>
                    <a:gd name="connsiteX2973" fmla="*/ 260502 w 774525"/>
                    <a:gd name="connsiteY2973" fmla="*/ 1068773 h 1153700"/>
                    <a:gd name="connsiteX2974" fmla="*/ 261146 w 774525"/>
                    <a:gd name="connsiteY2974" fmla="*/ 1070242 h 1153700"/>
                    <a:gd name="connsiteX2975" fmla="*/ 261960 w 774525"/>
                    <a:gd name="connsiteY2975" fmla="*/ 1077054 h 1153700"/>
                    <a:gd name="connsiteX2976" fmla="*/ 262008 w 774525"/>
                    <a:gd name="connsiteY2976" fmla="*/ 1077467 h 1153700"/>
                    <a:gd name="connsiteX2977" fmla="*/ 262105 w 774525"/>
                    <a:gd name="connsiteY2977" fmla="*/ 1077856 h 1153700"/>
                    <a:gd name="connsiteX2978" fmla="*/ 263198 w 774525"/>
                    <a:gd name="connsiteY2978" fmla="*/ 1082069 h 1153700"/>
                    <a:gd name="connsiteX2979" fmla="*/ 263283 w 774525"/>
                    <a:gd name="connsiteY2979" fmla="*/ 1082385 h 1153700"/>
                    <a:gd name="connsiteX2980" fmla="*/ 263404 w 774525"/>
                    <a:gd name="connsiteY2980" fmla="*/ 1082689 h 1153700"/>
                    <a:gd name="connsiteX2981" fmla="*/ 264558 w 774525"/>
                    <a:gd name="connsiteY2981" fmla="*/ 1085736 h 1153700"/>
                    <a:gd name="connsiteX2982" fmla="*/ 266295 w 774525"/>
                    <a:gd name="connsiteY2982" fmla="*/ 1089307 h 1153700"/>
                    <a:gd name="connsiteX2983" fmla="*/ 266817 w 774525"/>
                    <a:gd name="connsiteY2983" fmla="*/ 1090387 h 1153700"/>
                    <a:gd name="connsiteX2984" fmla="*/ 267715 w 774525"/>
                    <a:gd name="connsiteY2984" fmla="*/ 1091176 h 1153700"/>
                    <a:gd name="connsiteX2985" fmla="*/ 270059 w 774525"/>
                    <a:gd name="connsiteY2985" fmla="*/ 1093253 h 1153700"/>
                    <a:gd name="connsiteX2986" fmla="*/ 270909 w 774525"/>
                    <a:gd name="connsiteY2986" fmla="*/ 1094006 h 1153700"/>
                    <a:gd name="connsiteX2987" fmla="*/ 271990 w 774525"/>
                    <a:gd name="connsiteY2987" fmla="*/ 1094395 h 1153700"/>
                    <a:gd name="connsiteX2988" fmla="*/ 276300 w 774525"/>
                    <a:gd name="connsiteY2988" fmla="*/ 1095973 h 1153700"/>
                    <a:gd name="connsiteX2989" fmla="*/ 276689 w 774525"/>
                    <a:gd name="connsiteY2989" fmla="*/ 1096119 h 1153700"/>
                    <a:gd name="connsiteX2990" fmla="*/ 277090 w 774525"/>
                    <a:gd name="connsiteY2990" fmla="*/ 1096204 h 1153700"/>
                    <a:gd name="connsiteX2991" fmla="*/ 300817 w 774525"/>
                    <a:gd name="connsiteY2991" fmla="*/ 1101401 h 1153700"/>
                    <a:gd name="connsiteX2992" fmla="*/ 301618 w 774525"/>
                    <a:gd name="connsiteY2992" fmla="*/ 1102008 h 1153700"/>
                    <a:gd name="connsiteX2993" fmla="*/ 301594 w 774525"/>
                    <a:gd name="connsiteY2993" fmla="*/ 1103137 h 1153700"/>
                    <a:gd name="connsiteX2994" fmla="*/ 300938 w 774525"/>
                    <a:gd name="connsiteY2994" fmla="*/ 1108371 h 1153700"/>
                    <a:gd name="connsiteX2995" fmla="*/ 300878 w 774525"/>
                    <a:gd name="connsiteY2995" fmla="*/ 1108808 h 1153700"/>
                    <a:gd name="connsiteX2996" fmla="*/ 300890 w 774525"/>
                    <a:gd name="connsiteY2996" fmla="*/ 1109245 h 1153700"/>
                    <a:gd name="connsiteX2997" fmla="*/ 300951 w 774525"/>
                    <a:gd name="connsiteY2997" fmla="*/ 1112111 h 1153700"/>
                    <a:gd name="connsiteX2998" fmla="*/ 300963 w 774525"/>
                    <a:gd name="connsiteY2998" fmla="*/ 1112645 h 1153700"/>
                    <a:gd name="connsiteX2999" fmla="*/ 301072 w 774525"/>
                    <a:gd name="connsiteY2999" fmla="*/ 1113180 h 1153700"/>
                    <a:gd name="connsiteX3000" fmla="*/ 301643 w 774525"/>
                    <a:gd name="connsiteY3000" fmla="*/ 1115997 h 1153700"/>
                    <a:gd name="connsiteX3001" fmla="*/ 301752 w 774525"/>
                    <a:gd name="connsiteY3001" fmla="*/ 1116519 h 1153700"/>
                    <a:gd name="connsiteX3002" fmla="*/ 301946 w 774525"/>
                    <a:gd name="connsiteY3002" fmla="*/ 1117017 h 1153700"/>
                    <a:gd name="connsiteX3003" fmla="*/ 302991 w 774525"/>
                    <a:gd name="connsiteY3003" fmla="*/ 1119676 h 1153700"/>
                    <a:gd name="connsiteX3004" fmla="*/ 303233 w 774525"/>
                    <a:gd name="connsiteY3004" fmla="*/ 1120295 h 1153700"/>
                    <a:gd name="connsiteX3005" fmla="*/ 303598 w 774525"/>
                    <a:gd name="connsiteY3005" fmla="*/ 1120842 h 1153700"/>
                    <a:gd name="connsiteX3006" fmla="*/ 309560 w 774525"/>
                    <a:gd name="connsiteY3006" fmla="*/ 1129803 h 1153700"/>
                    <a:gd name="connsiteX3007" fmla="*/ 310993 w 774525"/>
                    <a:gd name="connsiteY3007" fmla="*/ 1132535 h 1153700"/>
                    <a:gd name="connsiteX3008" fmla="*/ 313264 w 774525"/>
                    <a:gd name="connsiteY3008" fmla="*/ 1136798 h 1153700"/>
                    <a:gd name="connsiteX3009" fmla="*/ 317927 w 774525"/>
                    <a:gd name="connsiteY3009" fmla="*/ 1135535 h 1153700"/>
                    <a:gd name="connsiteX3010" fmla="*/ 344337 w 774525"/>
                    <a:gd name="connsiteY3010" fmla="*/ 1128419 h 1153700"/>
                    <a:gd name="connsiteX3011" fmla="*/ 347300 w 774525"/>
                    <a:gd name="connsiteY3011" fmla="*/ 1128200 h 1153700"/>
                    <a:gd name="connsiteX3012" fmla="*/ 350834 w 774525"/>
                    <a:gd name="connsiteY3012" fmla="*/ 1128371 h 1153700"/>
                    <a:gd name="connsiteX3013" fmla="*/ 354756 w 774525"/>
                    <a:gd name="connsiteY3013" fmla="*/ 1128552 h 1153700"/>
                    <a:gd name="connsiteX3014" fmla="*/ 355727 w 774525"/>
                    <a:gd name="connsiteY3014" fmla="*/ 1128601 h 1153700"/>
                    <a:gd name="connsiteX3015" fmla="*/ 356674 w 774525"/>
                    <a:gd name="connsiteY3015" fmla="*/ 1128346 h 1153700"/>
                    <a:gd name="connsiteX3016" fmla="*/ 360427 w 774525"/>
                    <a:gd name="connsiteY3016" fmla="*/ 1127290 h 1153700"/>
                    <a:gd name="connsiteX3017" fmla="*/ 361471 w 774525"/>
                    <a:gd name="connsiteY3017" fmla="*/ 1126998 h 1153700"/>
                    <a:gd name="connsiteX3018" fmla="*/ 362357 w 774525"/>
                    <a:gd name="connsiteY3018" fmla="*/ 1126355 h 1153700"/>
                    <a:gd name="connsiteX3019" fmla="*/ 371707 w 774525"/>
                    <a:gd name="connsiteY3019" fmla="*/ 1119531 h 1153700"/>
                    <a:gd name="connsiteX3020" fmla="*/ 385963 w 774525"/>
                    <a:gd name="connsiteY3020" fmla="*/ 1112366 h 1153700"/>
                    <a:gd name="connsiteX3021" fmla="*/ 386315 w 774525"/>
                    <a:gd name="connsiteY3021" fmla="*/ 1112184 h 1153700"/>
                    <a:gd name="connsiteX3022" fmla="*/ 386643 w 774525"/>
                    <a:gd name="connsiteY3022" fmla="*/ 1111953 h 1153700"/>
                    <a:gd name="connsiteX3023" fmla="*/ 389740 w 774525"/>
                    <a:gd name="connsiteY3023" fmla="*/ 1109840 h 1153700"/>
                    <a:gd name="connsiteX3024" fmla="*/ 392848 w 774525"/>
                    <a:gd name="connsiteY3024" fmla="*/ 1107727 h 1153700"/>
                    <a:gd name="connsiteX3025" fmla="*/ 393249 w 774525"/>
                    <a:gd name="connsiteY3025" fmla="*/ 1107460 h 1153700"/>
                    <a:gd name="connsiteX3026" fmla="*/ 393601 w 774525"/>
                    <a:gd name="connsiteY3026" fmla="*/ 1107120 h 1153700"/>
                    <a:gd name="connsiteX3027" fmla="*/ 398446 w 774525"/>
                    <a:gd name="connsiteY3027" fmla="*/ 1102506 h 1153700"/>
                    <a:gd name="connsiteX3028" fmla="*/ 399442 w 774525"/>
                    <a:gd name="connsiteY3028" fmla="*/ 1101559 h 1153700"/>
                    <a:gd name="connsiteX3029" fmla="*/ 399928 w 774525"/>
                    <a:gd name="connsiteY3029" fmla="*/ 1100284 h 1153700"/>
                    <a:gd name="connsiteX3030" fmla="*/ 400256 w 774525"/>
                    <a:gd name="connsiteY3030" fmla="*/ 1099422 h 1153700"/>
                    <a:gd name="connsiteX3031" fmla="*/ 400571 w 774525"/>
                    <a:gd name="connsiteY3031" fmla="*/ 1098608 h 1153700"/>
                    <a:gd name="connsiteX3032" fmla="*/ 400583 w 774525"/>
                    <a:gd name="connsiteY3032" fmla="*/ 1098390 h 1153700"/>
                    <a:gd name="connsiteX3033" fmla="*/ 400826 w 774525"/>
                    <a:gd name="connsiteY3033" fmla="*/ 1098207 h 1153700"/>
                    <a:gd name="connsiteX3034" fmla="*/ 407456 w 774525"/>
                    <a:gd name="connsiteY3034" fmla="*/ 1093460 h 1153700"/>
                    <a:gd name="connsiteX3035" fmla="*/ 407614 w 774525"/>
                    <a:gd name="connsiteY3035" fmla="*/ 1093399 h 1153700"/>
                    <a:gd name="connsiteX3036" fmla="*/ 408549 w 774525"/>
                    <a:gd name="connsiteY3036" fmla="*/ 1093047 h 1153700"/>
                    <a:gd name="connsiteX3037" fmla="*/ 409144 w 774525"/>
                    <a:gd name="connsiteY3037" fmla="*/ 1092828 h 1153700"/>
                    <a:gd name="connsiteX3038" fmla="*/ 409666 w 774525"/>
                    <a:gd name="connsiteY3038" fmla="*/ 1092500 h 1153700"/>
                    <a:gd name="connsiteX3039" fmla="*/ 412022 w 774525"/>
                    <a:gd name="connsiteY3039" fmla="*/ 1091007 h 1153700"/>
                    <a:gd name="connsiteX3040" fmla="*/ 413030 w 774525"/>
                    <a:gd name="connsiteY3040" fmla="*/ 1090363 h 1153700"/>
                    <a:gd name="connsiteX3041" fmla="*/ 413722 w 774525"/>
                    <a:gd name="connsiteY3041" fmla="*/ 1089391 h 1153700"/>
                    <a:gd name="connsiteX3042" fmla="*/ 416199 w 774525"/>
                    <a:gd name="connsiteY3042" fmla="*/ 1085919 h 1153700"/>
                    <a:gd name="connsiteX3043" fmla="*/ 416539 w 774525"/>
                    <a:gd name="connsiteY3043" fmla="*/ 1085445 h 1153700"/>
                    <a:gd name="connsiteX3044" fmla="*/ 416782 w 774525"/>
                    <a:gd name="connsiteY3044" fmla="*/ 1084899 h 1153700"/>
                    <a:gd name="connsiteX3045" fmla="*/ 425719 w 774525"/>
                    <a:gd name="connsiteY3045" fmla="*/ 1065203 h 1153700"/>
                    <a:gd name="connsiteX3046" fmla="*/ 428039 w 774525"/>
                    <a:gd name="connsiteY3046" fmla="*/ 1061985 h 1153700"/>
                    <a:gd name="connsiteX3047" fmla="*/ 428427 w 774525"/>
                    <a:gd name="connsiteY3047" fmla="*/ 1061451 h 1153700"/>
                    <a:gd name="connsiteX3048" fmla="*/ 428682 w 774525"/>
                    <a:gd name="connsiteY3048" fmla="*/ 1060831 h 1153700"/>
                    <a:gd name="connsiteX3049" fmla="*/ 429435 w 774525"/>
                    <a:gd name="connsiteY3049" fmla="*/ 1059071 h 1153700"/>
                    <a:gd name="connsiteX3050" fmla="*/ 430151 w 774525"/>
                    <a:gd name="connsiteY3050" fmla="*/ 1057431 h 1153700"/>
                    <a:gd name="connsiteX3051" fmla="*/ 429872 w 774525"/>
                    <a:gd name="connsiteY3051" fmla="*/ 1055695 h 1153700"/>
                    <a:gd name="connsiteX3052" fmla="*/ 430236 w 774525"/>
                    <a:gd name="connsiteY3052" fmla="*/ 1055695 h 1153700"/>
                    <a:gd name="connsiteX3053" fmla="*/ 431827 w 774525"/>
                    <a:gd name="connsiteY3053" fmla="*/ 1055695 h 1153700"/>
                    <a:gd name="connsiteX3054" fmla="*/ 433211 w 774525"/>
                    <a:gd name="connsiteY3054" fmla="*/ 1054918 h 1153700"/>
                    <a:gd name="connsiteX3055" fmla="*/ 438154 w 774525"/>
                    <a:gd name="connsiteY3055" fmla="*/ 1052137 h 1153700"/>
                    <a:gd name="connsiteX3056" fmla="*/ 438749 w 774525"/>
                    <a:gd name="connsiteY3056" fmla="*/ 1051809 h 1153700"/>
                    <a:gd name="connsiteX3057" fmla="*/ 438846 w 774525"/>
                    <a:gd name="connsiteY3057" fmla="*/ 1051712 h 1153700"/>
                    <a:gd name="connsiteX3058" fmla="*/ 438518 w 774525"/>
                    <a:gd name="connsiteY3058" fmla="*/ 1052234 h 1153700"/>
                    <a:gd name="connsiteX3059" fmla="*/ 438251 w 774525"/>
                    <a:gd name="connsiteY3059" fmla="*/ 1052671 h 1153700"/>
                    <a:gd name="connsiteX3060" fmla="*/ 438044 w 774525"/>
                    <a:gd name="connsiteY3060" fmla="*/ 1053145 h 1153700"/>
                    <a:gd name="connsiteX3061" fmla="*/ 436830 w 774525"/>
                    <a:gd name="connsiteY3061" fmla="*/ 1055986 h 1153700"/>
                    <a:gd name="connsiteX3062" fmla="*/ 436551 w 774525"/>
                    <a:gd name="connsiteY3062" fmla="*/ 1056642 h 1153700"/>
                    <a:gd name="connsiteX3063" fmla="*/ 436429 w 774525"/>
                    <a:gd name="connsiteY3063" fmla="*/ 1057346 h 1153700"/>
                    <a:gd name="connsiteX3064" fmla="*/ 435858 w 774525"/>
                    <a:gd name="connsiteY3064" fmla="*/ 1060698 h 1153700"/>
                    <a:gd name="connsiteX3065" fmla="*/ 435652 w 774525"/>
                    <a:gd name="connsiteY3065" fmla="*/ 1061900 h 1153700"/>
                    <a:gd name="connsiteX3066" fmla="*/ 435919 w 774525"/>
                    <a:gd name="connsiteY3066" fmla="*/ 1063090 h 1153700"/>
                    <a:gd name="connsiteX3067" fmla="*/ 437935 w 774525"/>
                    <a:gd name="connsiteY3067" fmla="*/ 1071845 h 1153700"/>
                    <a:gd name="connsiteX3068" fmla="*/ 437935 w 774525"/>
                    <a:gd name="connsiteY3068" fmla="*/ 1071845 h 1153700"/>
                    <a:gd name="connsiteX3069" fmla="*/ 437304 w 774525"/>
                    <a:gd name="connsiteY3069" fmla="*/ 1074298 h 1153700"/>
                    <a:gd name="connsiteX3070" fmla="*/ 436733 w 774525"/>
                    <a:gd name="connsiteY3070" fmla="*/ 1076642 h 1153700"/>
                    <a:gd name="connsiteX3071" fmla="*/ 437947 w 774525"/>
                    <a:gd name="connsiteY3071" fmla="*/ 1078742 h 1153700"/>
                    <a:gd name="connsiteX3072" fmla="*/ 446957 w 774525"/>
                    <a:gd name="connsiteY3072" fmla="*/ 1094504 h 1153700"/>
                    <a:gd name="connsiteX3073" fmla="*/ 447030 w 774525"/>
                    <a:gd name="connsiteY3073" fmla="*/ 1094734 h 1153700"/>
                    <a:gd name="connsiteX3074" fmla="*/ 446775 w 774525"/>
                    <a:gd name="connsiteY3074" fmla="*/ 1095184 h 1153700"/>
                    <a:gd name="connsiteX3075" fmla="*/ 445524 w 774525"/>
                    <a:gd name="connsiteY3075" fmla="*/ 1097467 h 1153700"/>
                    <a:gd name="connsiteX3076" fmla="*/ 446302 w 774525"/>
                    <a:gd name="connsiteY3076" fmla="*/ 1099944 h 1153700"/>
                    <a:gd name="connsiteX3077" fmla="*/ 447419 w 774525"/>
                    <a:gd name="connsiteY3077" fmla="*/ 1103490 h 1153700"/>
                    <a:gd name="connsiteX3078" fmla="*/ 446848 w 774525"/>
                    <a:gd name="connsiteY3078" fmla="*/ 1105457 h 1153700"/>
                    <a:gd name="connsiteX3079" fmla="*/ 444832 w 774525"/>
                    <a:gd name="connsiteY3079" fmla="*/ 1108748 h 1153700"/>
                    <a:gd name="connsiteX3080" fmla="*/ 444650 w 774525"/>
                    <a:gd name="connsiteY3080" fmla="*/ 1109027 h 1153700"/>
                    <a:gd name="connsiteX3081" fmla="*/ 444516 w 774525"/>
                    <a:gd name="connsiteY3081" fmla="*/ 1109318 h 1153700"/>
                    <a:gd name="connsiteX3082" fmla="*/ 442744 w 774525"/>
                    <a:gd name="connsiteY3082" fmla="*/ 1113083 h 1153700"/>
                    <a:gd name="connsiteX3083" fmla="*/ 442100 w 774525"/>
                    <a:gd name="connsiteY3083" fmla="*/ 1114430 h 1153700"/>
                    <a:gd name="connsiteX3084" fmla="*/ 442161 w 774525"/>
                    <a:gd name="connsiteY3084" fmla="*/ 1115924 h 1153700"/>
                    <a:gd name="connsiteX3085" fmla="*/ 442331 w 774525"/>
                    <a:gd name="connsiteY3085" fmla="*/ 1119798 h 1153700"/>
                    <a:gd name="connsiteX3086" fmla="*/ 442367 w 774525"/>
                    <a:gd name="connsiteY3086" fmla="*/ 1120587 h 1153700"/>
                    <a:gd name="connsiteX3087" fmla="*/ 442610 w 774525"/>
                    <a:gd name="connsiteY3087" fmla="*/ 1121340 h 1153700"/>
                    <a:gd name="connsiteX3088" fmla="*/ 444043 w 774525"/>
                    <a:gd name="connsiteY3088" fmla="*/ 1125930 h 1153700"/>
                    <a:gd name="connsiteX3089" fmla="*/ 444164 w 774525"/>
                    <a:gd name="connsiteY3089" fmla="*/ 1126294 h 1153700"/>
                    <a:gd name="connsiteX3090" fmla="*/ 444334 w 774525"/>
                    <a:gd name="connsiteY3090" fmla="*/ 1126646 h 1153700"/>
                    <a:gd name="connsiteX3091" fmla="*/ 447843 w 774525"/>
                    <a:gd name="connsiteY3091" fmla="*/ 1134284 h 1153700"/>
                    <a:gd name="connsiteX3092" fmla="*/ 450770 w 774525"/>
                    <a:gd name="connsiteY3092" fmla="*/ 1140659 h 1153700"/>
                    <a:gd name="connsiteX3093" fmla="*/ 454559 w 774525"/>
                    <a:gd name="connsiteY3093" fmla="*/ 1138194 h 1153700"/>
                    <a:gd name="connsiteX3094" fmla="*/ 455044 w 774525"/>
                    <a:gd name="connsiteY3094" fmla="*/ 1141412 h 1153700"/>
                    <a:gd name="connsiteX3095" fmla="*/ 455409 w 774525"/>
                    <a:gd name="connsiteY3095" fmla="*/ 1143889 h 1153700"/>
                    <a:gd name="connsiteX3096" fmla="*/ 457412 w 774525"/>
                    <a:gd name="connsiteY3096" fmla="*/ 1145383 h 1153700"/>
                    <a:gd name="connsiteX3097" fmla="*/ 458384 w 774525"/>
                    <a:gd name="connsiteY3097" fmla="*/ 1146111 h 1153700"/>
                    <a:gd name="connsiteX3098" fmla="*/ 459792 w 774525"/>
                    <a:gd name="connsiteY3098" fmla="*/ 1147156 h 1153700"/>
                    <a:gd name="connsiteX3099" fmla="*/ 461553 w 774525"/>
                    <a:gd name="connsiteY3099" fmla="*/ 1147301 h 1153700"/>
                    <a:gd name="connsiteX3100" fmla="*/ 462646 w 774525"/>
                    <a:gd name="connsiteY3100" fmla="*/ 1147386 h 1153700"/>
                    <a:gd name="connsiteX3101" fmla="*/ 463727 w 774525"/>
                    <a:gd name="connsiteY3101" fmla="*/ 1147471 h 1153700"/>
                    <a:gd name="connsiteX3102" fmla="*/ 464285 w 774525"/>
                    <a:gd name="connsiteY3102" fmla="*/ 1147508 h 1153700"/>
                    <a:gd name="connsiteX3103" fmla="*/ 464832 w 774525"/>
                    <a:gd name="connsiteY3103" fmla="*/ 1147447 h 1153700"/>
                    <a:gd name="connsiteX3104" fmla="*/ 466058 w 774525"/>
                    <a:gd name="connsiteY3104" fmla="*/ 1147313 h 1153700"/>
                    <a:gd name="connsiteX3105" fmla="*/ 467272 w 774525"/>
                    <a:gd name="connsiteY3105" fmla="*/ 1147180 h 1153700"/>
                    <a:gd name="connsiteX3106" fmla="*/ 468122 w 774525"/>
                    <a:gd name="connsiteY3106" fmla="*/ 1147083 h 1153700"/>
                    <a:gd name="connsiteX3107" fmla="*/ 468899 w 774525"/>
                    <a:gd name="connsiteY3107" fmla="*/ 1146767 h 1153700"/>
                    <a:gd name="connsiteX3108" fmla="*/ 470442 w 774525"/>
                    <a:gd name="connsiteY3108" fmla="*/ 1146135 h 1153700"/>
                    <a:gd name="connsiteX3109" fmla="*/ 471267 w 774525"/>
                    <a:gd name="connsiteY3109" fmla="*/ 1145808 h 1153700"/>
                    <a:gd name="connsiteX3110" fmla="*/ 471960 w 774525"/>
                    <a:gd name="connsiteY3110" fmla="*/ 1145249 h 1153700"/>
                    <a:gd name="connsiteX3111" fmla="*/ 473271 w 774525"/>
                    <a:gd name="connsiteY3111" fmla="*/ 1144193 h 1153700"/>
                    <a:gd name="connsiteX3112" fmla="*/ 473550 w 774525"/>
                    <a:gd name="connsiteY3112" fmla="*/ 1144071 h 1153700"/>
                    <a:gd name="connsiteX3113" fmla="*/ 475165 w 774525"/>
                    <a:gd name="connsiteY3113" fmla="*/ 1143404 h 1153700"/>
                    <a:gd name="connsiteX3114" fmla="*/ 476185 w 774525"/>
                    <a:gd name="connsiteY3114" fmla="*/ 1141983 h 1153700"/>
                    <a:gd name="connsiteX3115" fmla="*/ 476574 w 774525"/>
                    <a:gd name="connsiteY3115" fmla="*/ 1141436 h 1153700"/>
                    <a:gd name="connsiteX3116" fmla="*/ 477970 w 774525"/>
                    <a:gd name="connsiteY3116" fmla="*/ 1139493 h 1153700"/>
                    <a:gd name="connsiteX3117" fmla="*/ 477667 w 774525"/>
                    <a:gd name="connsiteY3117" fmla="*/ 1137125 h 1153700"/>
                    <a:gd name="connsiteX3118" fmla="*/ 477594 w 774525"/>
                    <a:gd name="connsiteY3118" fmla="*/ 1136615 h 1153700"/>
                    <a:gd name="connsiteX3119" fmla="*/ 478371 w 774525"/>
                    <a:gd name="connsiteY3119" fmla="*/ 1136008 h 1153700"/>
                    <a:gd name="connsiteX3120" fmla="*/ 480909 w 774525"/>
                    <a:gd name="connsiteY3120" fmla="*/ 1134029 h 1153700"/>
                    <a:gd name="connsiteX3121" fmla="*/ 481965 w 774525"/>
                    <a:gd name="connsiteY3121" fmla="*/ 1133203 h 1153700"/>
                    <a:gd name="connsiteX3122" fmla="*/ 482196 w 774525"/>
                    <a:gd name="connsiteY3122" fmla="*/ 1133968 h 1153700"/>
                    <a:gd name="connsiteX3123" fmla="*/ 483398 w 774525"/>
                    <a:gd name="connsiteY3123" fmla="*/ 1138073 h 1153700"/>
                    <a:gd name="connsiteX3124" fmla="*/ 487660 w 774525"/>
                    <a:gd name="connsiteY3124" fmla="*/ 1138328 h 1153700"/>
                    <a:gd name="connsiteX3125" fmla="*/ 490745 w 774525"/>
                    <a:gd name="connsiteY3125" fmla="*/ 1138534 h 1153700"/>
                    <a:gd name="connsiteX3126" fmla="*/ 492979 w 774525"/>
                    <a:gd name="connsiteY3126" fmla="*/ 1138680 h 1153700"/>
                    <a:gd name="connsiteX3127" fmla="*/ 494776 w 774525"/>
                    <a:gd name="connsiteY3127" fmla="*/ 1137344 h 1153700"/>
                    <a:gd name="connsiteX3128" fmla="*/ 497120 w 774525"/>
                    <a:gd name="connsiteY3128" fmla="*/ 1135583 h 1153700"/>
                    <a:gd name="connsiteX3129" fmla="*/ 499135 w 774525"/>
                    <a:gd name="connsiteY3129" fmla="*/ 1134879 h 1153700"/>
                    <a:gd name="connsiteX3130" fmla="*/ 499633 w 774525"/>
                    <a:gd name="connsiteY3130" fmla="*/ 1134697 h 1153700"/>
                    <a:gd name="connsiteX3131" fmla="*/ 500107 w 774525"/>
                    <a:gd name="connsiteY3131" fmla="*/ 1134442 h 1153700"/>
                    <a:gd name="connsiteX3132" fmla="*/ 501613 w 774525"/>
                    <a:gd name="connsiteY3132" fmla="*/ 1133604 h 1153700"/>
                    <a:gd name="connsiteX3133" fmla="*/ 501431 w 774525"/>
                    <a:gd name="connsiteY3133" fmla="*/ 1134211 h 1153700"/>
                    <a:gd name="connsiteX3134" fmla="*/ 499998 w 774525"/>
                    <a:gd name="connsiteY3134" fmla="*/ 1139178 h 1153700"/>
                    <a:gd name="connsiteX3135" fmla="*/ 499536 w 774525"/>
                    <a:gd name="connsiteY3135" fmla="*/ 1140768 h 1153700"/>
                    <a:gd name="connsiteX3136" fmla="*/ 499949 w 774525"/>
                    <a:gd name="connsiteY3136" fmla="*/ 1142359 h 1153700"/>
                    <a:gd name="connsiteX3137" fmla="*/ 501042 w 774525"/>
                    <a:gd name="connsiteY3137" fmla="*/ 1146646 h 1153700"/>
                    <a:gd name="connsiteX3138" fmla="*/ 501686 w 774525"/>
                    <a:gd name="connsiteY3138" fmla="*/ 1149183 h 1153700"/>
                    <a:gd name="connsiteX3139" fmla="*/ 503968 w 774525"/>
                    <a:gd name="connsiteY3139" fmla="*/ 1150446 h 1153700"/>
                    <a:gd name="connsiteX3140" fmla="*/ 507526 w 774525"/>
                    <a:gd name="connsiteY3140" fmla="*/ 1152426 h 1153700"/>
                    <a:gd name="connsiteX3141" fmla="*/ 509809 w 774525"/>
                    <a:gd name="connsiteY3141" fmla="*/ 1153701 h 1153700"/>
                    <a:gd name="connsiteX3142" fmla="*/ 512311 w 774525"/>
                    <a:gd name="connsiteY3142" fmla="*/ 1152911 h 1153700"/>
                    <a:gd name="connsiteX3143" fmla="*/ 518151 w 774525"/>
                    <a:gd name="connsiteY3143" fmla="*/ 1151078 h 1153700"/>
                    <a:gd name="connsiteX3144" fmla="*/ 527926 w 774525"/>
                    <a:gd name="connsiteY3144" fmla="*/ 1148006 h 1153700"/>
                    <a:gd name="connsiteX3145" fmla="*/ 525838 w 774525"/>
                    <a:gd name="connsiteY3145" fmla="*/ 1146002 h 1153700"/>
                    <a:gd name="connsiteX3146" fmla="*/ 525996 w 774525"/>
                    <a:gd name="connsiteY3146" fmla="*/ 1145978 h 1153700"/>
                    <a:gd name="connsiteX3147" fmla="*/ 527246 w 774525"/>
                    <a:gd name="connsiteY3147" fmla="*/ 1142881 h 1153700"/>
                    <a:gd name="connsiteX3148" fmla="*/ 528339 w 774525"/>
                    <a:gd name="connsiteY3148" fmla="*/ 1140186 h 1153700"/>
                    <a:gd name="connsiteX3149" fmla="*/ 528704 w 774525"/>
                    <a:gd name="connsiteY3149" fmla="*/ 1139311 h 1153700"/>
                    <a:gd name="connsiteX3150" fmla="*/ 530185 w 774525"/>
                    <a:gd name="connsiteY3150" fmla="*/ 1140343 h 1153700"/>
                    <a:gd name="connsiteX3151" fmla="*/ 531848 w 774525"/>
                    <a:gd name="connsiteY3151" fmla="*/ 1131005 h 1153700"/>
                    <a:gd name="connsiteX3152" fmla="*/ 532723 w 774525"/>
                    <a:gd name="connsiteY3152" fmla="*/ 1126087 h 1153700"/>
                    <a:gd name="connsiteX3153" fmla="*/ 532881 w 774525"/>
                    <a:gd name="connsiteY3153" fmla="*/ 1125238 h 1153700"/>
                    <a:gd name="connsiteX3154" fmla="*/ 532784 w 774525"/>
                    <a:gd name="connsiteY3154" fmla="*/ 1124375 h 1153700"/>
                    <a:gd name="connsiteX3155" fmla="*/ 532213 w 774525"/>
                    <a:gd name="connsiteY3155" fmla="*/ 1119178 h 1153700"/>
                    <a:gd name="connsiteX3156" fmla="*/ 533974 w 774525"/>
                    <a:gd name="connsiteY3156" fmla="*/ 1116956 h 1153700"/>
                    <a:gd name="connsiteX3157" fmla="*/ 535977 w 774525"/>
                    <a:gd name="connsiteY3157" fmla="*/ 1114430 h 1153700"/>
                    <a:gd name="connsiteX3158" fmla="*/ 536669 w 774525"/>
                    <a:gd name="connsiteY3158" fmla="*/ 1113568 h 1153700"/>
                    <a:gd name="connsiteX3159" fmla="*/ 536766 w 774525"/>
                    <a:gd name="connsiteY3159" fmla="*/ 1114188 h 1153700"/>
                    <a:gd name="connsiteX3160" fmla="*/ 537349 w 774525"/>
                    <a:gd name="connsiteY3160" fmla="*/ 1117927 h 1153700"/>
                    <a:gd name="connsiteX3161" fmla="*/ 537483 w 774525"/>
                    <a:gd name="connsiteY3161" fmla="*/ 1118790 h 1153700"/>
                    <a:gd name="connsiteX3162" fmla="*/ 537859 w 774525"/>
                    <a:gd name="connsiteY3162" fmla="*/ 1119591 h 1153700"/>
                    <a:gd name="connsiteX3163" fmla="*/ 543093 w 774525"/>
                    <a:gd name="connsiteY3163" fmla="*/ 1130581 h 1153700"/>
                    <a:gd name="connsiteX3164" fmla="*/ 541502 w 774525"/>
                    <a:gd name="connsiteY3164" fmla="*/ 1134066 h 1153700"/>
                    <a:gd name="connsiteX3165" fmla="*/ 539729 w 774525"/>
                    <a:gd name="connsiteY3165" fmla="*/ 1137988 h 1153700"/>
                    <a:gd name="connsiteX3166" fmla="*/ 542838 w 774525"/>
                    <a:gd name="connsiteY3166" fmla="*/ 1140963 h 1153700"/>
                    <a:gd name="connsiteX3167" fmla="*/ 546626 w 774525"/>
                    <a:gd name="connsiteY3167" fmla="*/ 1144581 h 1153700"/>
                    <a:gd name="connsiteX3168" fmla="*/ 548084 w 774525"/>
                    <a:gd name="connsiteY3168" fmla="*/ 1145966 h 1153700"/>
                    <a:gd name="connsiteX3169" fmla="*/ 550075 w 774525"/>
                    <a:gd name="connsiteY3169" fmla="*/ 1146221 h 1153700"/>
                    <a:gd name="connsiteX3170" fmla="*/ 556559 w 774525"/>
                    <a:gd name="connsiteY3170" fmla="*/ 1147022 h 1153700"/>
                    <a:gd name="connsiteX3171" fmla="*/ 558272 w 774525"/>
                    <a:gd name="connsiteY3171" fmla="*/ 1147240 h 1153700"/>
                    <a:gd name="connsiteX3172" fmla="*/ 559850 w 774525"/>
                    <a:gd name="connsiteY3172" fmla="*/ 1146512 h 1153700"/>
                    <a:gd name="connsiteX3173" fmla="*/ 565144 w 774525"/>
                    <a:gd name="connsiteY3173" fmla="*/ 1144084 h 1153700"/>
                    <a:gd name="connsiteX3174" fmla="*/ 567452 w 774525"/>
                    <a:gd name="connsiteY3174" fmla="*/ 1143015 h 1153700"/>
                    <a:gd name="connsiteX3175" fmla="*/ 568314 w 774525"/>
                    <a:gd name="connsiteY3175" fmla="*/ 1140623 h 1153700"/>
                    <a:gd name="connsiteX3176" fmla="*/ 569455 w 774525"/>
                    <a:gd name="connsiteY3176" fmla="*/ 1137453 h 1153700"/>
                    <a:gd name="connsiteX3177" fmla="*/ 570196 w 774525"/>
                    <a:gd name="connsiteY3177" fmla="*/ 1135401 h 1153700"/>
                    <a:gd name="connsiteX3178" fmla="*/ 570014 w 774525"/>
                    <a:gd name="connsiteY3178" fmla="*/ 1134916 h 1153700"/>
                    <a:gd name="connsiteX3179" fmla="*/ 570366 w 774525"/>
                    <a:gd name="connsiteY3179" fmla="*/ 1134819 h 1153700"/>
                    <a:gd name="connsiteX3180" fmla="*/ 574154 w 774525"/>
                    <a:gd name="connsiteY3180" fmla="*/ 1133847 h 1153700"/>
                    <a:gd name="connsiteX3181" fmla="*/ 575830 w 774525"/>
                    <a:gd name="connsiteY3181" fmla="*/ 1133422 h 1153700"/>
                    <a:gd name="connsiteX3182" fmla="*/ 577032 w 774525"/>
                    <a:gd name="connsiteY3182" fmla="*/ 1132171 h 1153700"/>
                    <a:gd name="connsiteX3183" fmla="*/ 579740 w 774525"/>
                    <a:gd name="connsiteY3183" fmla="*/ 1129366 h 1153700"/>
                    <a:gd name="connsiteX3184" fmla="*/ 580748 w 774525"/>
                    <a:gd name="connsiteY3184" fmla="*/ 1128310 h 1153700"/>
                    <a:gd name="connsiteX3185" fmla="*/ 581537 w 774525"/>
                    <a:gd name="connsiteY3185" fmla="*/ 1128455 h 1153700"/>
                    <a:gd name="connsiteX3186" fmla="*/ 587099 w 774525"/>
                    <a:gd name="connsiteY3186" fmla="*/ 1129439 h 1153700"/>
                    <a:gd name="connsiteX3187" fmla="*/ 593874 w 774525"/>
                    <a:gd name="connsiteY3187" fmla="*/ 1134175 h 1153700"/>
                    <a:gd name="connsiteX3188" fmla="*/ 594166 w 774525"/>
                    <a:gd name="connsiteY3188" fmla="*/ 1134393 h 1153700"/>
                    <a:gd name="connsiteX3189" fmla="*/ 594482 w 774525"/>
                    <a:gd name="connsiteY3189" fmla="*/ 1134563 h 1153700"/>
                    <a:gd name="connsiteX3190" fmla="*/ 599072 w 774525"/>
                    <a:gd name="connsiteY3190" fmla="*/ 1137028 h 1153700"/>
                    <a:gd name="connsiteX3191" fmla="*/ 600845 w 774525"/>
                    <a:gd name="connsiteY3191" fmla="*/ 1137975 h 1153700"/>
                    <a:gd name="connsiteX3192" fmla="*/ 602836 w 774525"/>
                    <a:gd name="connsiteY3192" fmla="*/ 1137684 h 1153700"/>
                    <a:gd name="connsiteX3193" fmla="*/ 606515 w 774525"/>
                    <a:gd name="connsiteY3193" fmla="*/ 1137138 h 1153700"/>
                    <a:gd name="connsiteX3194" fmla="*/ 610341 w 774525"/>
                    <a:gd name="connsiteY3194" fmla="*/ 1136579 h 1153700"/>
                    <a:gd name="connsiteX3195" fmla="*/ 610389 w 774525"/>
                    <a:gd name="connsiteY3195" fmla="*/ 1136409 h 1153700"/>
                    <a:gd name="connsiteX3196" fmla="*/ 610438 w 774525"/>
                    <a:gd name="connsiteY3196" fmla="*/ 1136421 h 1153700"/>
                    <a:gd name="connsiteX3197" fmla="*/ 611567 w 774525"/>
                    <a:gd name="connsiteY3197" fmla="*/ 1136482 h 1153700"/>
                    <a:gd name="connsiteX3198" fmla="*/ 613619 w 774525"/>
                    <a:gd name="connsiteY3198" fmla="*/ 1136591 h 1153700"/>
                    <a:gd name="connsiteX3199" fmla="*/ 615125 w 774525"/>
                    <a:gd name="connsiteY3199" fmla="*/ 1136676 h 1153700"/>
                    <a:gd name="connsiteX3200" fmla="*/ 616485 w 774525"/>
                    <a:gd name="connsiteY3200" fmla="*/ 1136033 h 1153700"/>
                    <a:gd name="connsiteX3201" fmla="*/ 619934 w 774525"/>
                    <a:gd name="connsiteY3201" fmla="*/ 1134430 h 1153700"/>
                    <a:gd name="connsiteX3202" fmla="*/ 622350 w 774525"/>
                    <a:gd name="connsiteY3202" fmla="*/ 1133312 h 1153700"/>
                    <a:gd name="connsiteX3203" fmla="*/ 623163 w 774525"/>
                    <a:gd name="connsiteY3203" fmla="*/ 1130775 h 1153700"/>
                    <a:gd name="connsiteX3204" fmla="*/ 624183 w 774525"/>
                    <a:gd name="connsiteY3204" fmla="*/ 1127569 h 1153700"/>
                    <a:gd name="connsiteX3205" fmla="*/ 624536 w 774525"/>
                    <a:gd name="connsiteY3205" fmla="*/ 1126464 h 1153700"/>
                    <a:gd name="connsiteX3206" fmla="*/ 624463 w 774525"/>
                    <a:gd name="connsiteY3206" fmla="*/ 1125310 h 1153700"/>
                    <a:gd name="connsiteX3207" fmla="*/ 623941 w 774525"/>
                    <a:gd name="connsiteY3207" fmla="*/ 1117272 h 1153700"/>
                    <a:gd name="connsiteX3208" fmla="*/ 623831 w 774525"/>
                    <a:gd name="connsiteY3208" fmla="*/ 1115669 h 1153700"/>
                    <a:gd name="connsiteX3209" fmla="*/ 622957 w 774525"/>
                    <a:gd name="connsiteY3209" fmla="*/ 1114333 h 1153700"/>
                    <a:gd name="connsiteX3210" fmla="*/ 622751 w 774525"/>
                    <a:gd name="connsiteY3210" fmla="*/ 1114030 h 1153700"/>
                    <a:gd name="connsiteX3211" fmla="*/ 620128 w 774525"/>
                    <a:gd name="connsiteY3211" fmla="*/ 1108347 h 1153700"/>
                    <a:gd name="connsiteX3212" fmla="*/ 619666 w 774525"/>
                    <a:gd name="connsiteY3212" fmla="*/ 1107339 h 1153700"/>
                    <a:gd name="connsiteX3213" fmla="*/ 618877 w 774525"/>
                    <a:gd name="connsiteY3213" fmla="*/ 1106562 h 1153700"/>
                    <a:gd name="connsiteX3214" fmla="*/ 615537 w 774525"/>
                    <a:gd name="connsiteY3214" fmla="*/ 1103271 h 1153700"/>
                    <a:gd name="connsiteX3215" fmla="*/ 613583 w 774525"/>
                    <a:gd name="connsiteY3215" fmla="*/ 1097357 h 1153700"/>
                    <a:gd name="connsiteX3216" fmla="*/ 610826 w 774525"/>
                    <a:gd name="connsiteY3216" fmla="*/ 1081523 h 1153700"/>
                    <a:gd name="connsiteX3217" fmla="*/ 610632 w 774525"/>
                    <a:gd name="connsiteY3217" fmla="*/ 1080369 h 1153700"/>
                    <a:gd name="connsiteX3218" fmla="*/ 610292 w 774525"/>
                    <a:gd name="connsiteY3218" fmla="*/ 1079811 h 1153700"/>
                    <a:gd name="connsiteX3219" fmla="*/ 609915 w 774525"/>
                    <a:gd name="connsiteY3219" fmla="*/ 1074820 h 1153700"/>
                    <a:gd name="connsiteX3220" fmla="*/ 611871 w 774525"/>
                    <a:gd name="connsiteY3220" fmla="*/ 1073667 h 1153700"/>
                    <a:gd name="connsiteX3221" fmla="*/ 616351 w 774525"/>
                    <a:gd name="connsiteY3221" fmla="*/ 1071044 h 1153700"/>
                    <a:gd name="connsiteX3222" fmla="*/ 618853 w 774525"/>
                    <a:gd name="connsiteY3222" fmla="*/ 1069587 h 1153700"/>
                    <a:gd name="connsiteX3223" fmla="*/ 619290 w 774525"/>
                    <a:gd name="connsiteY3223" fmla="*/ 1066721 h 1153700"/>
                    <a:gd name="connsiteX3224" fmla="*/ 620152 w 774525"/>
                    <a:gd name="connsiteY3224" fmla="*/ 1061062 h 1153700"/>
                    <a:gd name="connsiteX3225" fmla="*/ 620286 w 774525"/>
                    <a:gd name="connsiteY3225" fmla="*/ 1060261 h 1153700"/>
                    <a:gd name="connsiteX3226" fmla="*/ 620176 w 774525"/>
                    <a:gd name="connsiteY3226" fmla="*/ 1059447 h 1153700"/>
                    <a:gd name="connsiteX3227" fmla="*/ 618683 w 774525"/>
                    <a:gd name="connsiteY3227" fmla="*/ 1046843 h 1153700"/>
                    <a:gd name="connsiteX3228" fmla="*/ 618634 w 774525"/>
                    <a:gd name="connsiteY3228" fmla="*/ 1046418 h 1153700"/>
                    <a:gd name="connsiteX3229" fmla="*/ 618525 w 774525"/>
                    <a:gd name="connsiteY3229" fmla="*/ 1046017 h 1153700"/>
                    <a:gd name="connsiteX3230" fmla="*/ 617881 w 774525"/>
                    <a:gd name="connsiteY3230" fmla="*/ 1043588 h 1153700"/>
                    <a:gd name="connsiteX3231" fmla="*/ 617711 w 774525"/>
                    <a:gd name="connsiteY3231" fmla="*/ 1042933 h 1153700"/>
                    <a:gd name="connsiteX3232" fmla="*/ 617396 w 774525"/>
                    <a:gd name="connsiteY3232" fmla="*/ 1042374 h 1153700"/>
                    <a:gd name="connsiteX3233" fmla="*/ 616084 w 774525"/>
                    <a:gd name="connsiteY3233" fmla="*/ 1039824 h 1153700"/>
                    <a:gd name="connsiteX3234" fmla="*/ 615258 w 774525"/>
                    <a:gd name="connsiteY3234" fmla="*/ 1038221 h 1153700"/>
                    <a:gd name="connsiteX3235" fmla="*/ 618428 w 774525"/>
                    <a:gd name="connsiteY3235" fmla="*/ 1031288 h 1153700"/>
                    <a:gd name="connsiteX3236" fmla="*/ 621208 w 774525"/>
                    <a:gd name="connsiteY3236" fmla="*/ 1027900 h 1153700"/>
                    <a:gd name="connsiteX3237" fmla="*/ 622726 w 774525"/>
                    <a:gd name="connsiteY3237" fmla="*/ 1026042 h 1153700"/>
                    <a:gd name="connsiteX3238" fmla="*/ 622556 w 774525"/>
                    <a:gd name="connsiteY3238" fmla="*/ 1023638 h 1153700"/>
                    <a:gd name="connsiteX3239" fmla="*/ 622229 w 774525"/>
                    <a:gd name="connsiteY3239" fmla="*/ 1018865 h 1153700"/>
                    <a:gd name="connsiteX3240" fmla="*/ 622180 w 774525"/>
                    <a:gd name="connsiteY3240" fmla="*/ 1018295 h 1153700"/>
                    <a:gd name="connsiteX3241" fmla="*/ 622034 w 774525"/>
                    <a:gd name="connsiteY3241" fmla="*/ 1017736 h 1153700"/>
                    <a:gd name="connsiteX3242" fmla="*/ 621002 w 774525"/>
                    <a:gd name="connsiteY3242" fmla="*/ 1013838 h 1153700"/>
                    <a:gd name="connsiteX3243" fmla="*/ 620856 w 774525"/>
                    <a:gd name="connsiteY3243" fmla="*/ 1013304 h 1153700"/>
                    <a:gd name="connsiteX3244" fmla="*/ 620614 w 774525"/>
                    <a:gd name="connsiteY3244" fmla="*/ 1012794 h 1153700"/>
                    <a:gd name="connsiteX3245" fmla="*/ 619047 w 774525"/>
                    <a:gd name="connsiteY3245" fmla="*/ 1009491 h 1153700"/>
                    <a:gd name="connsiteX3246" fmla="*/ 618756 w 774525"/>
                    <a:gd name="connsiteY3246" fmla="*/ 1008872 h 1153700"/>
                    <a:gd name="connsiteX3247" fmla="*/ 618343 w 774525"/>
                    <a:gd name="connsiteY3247" fmla="*/ 1008337 h 1153700"/>
                    <a:gd name="connsiteX3248" fmla="*/ 611433 w 774525"/>
                    <a:gd name="connsiteY3248" fmla="*/ 999546 h 1153700"/>
                    <a:gd name="connsiteX3249" fmla="*/ 614408 w 774525"/>
                    <a:gd name="connsiteY3249" fmla="*/ 997555 h 1153700"/>
                    <a:gd name="connsiteX3250" fmla="*/ 611518 w 774525"/>
                    <a:gd name="connsiteY3250" fmla="*/ 992625 h 1153700"/>
                    <a:gd name="connsiteX3251" fmla="*/ 608616 w 774525"/>
                    <a:gd name="connsiteY3251" fmla="*/ 987682 h 1153700"/>
                    <a:gd name="connsiteX3252" fmla="*/ 607960 w 774525"/>
                    <a:gd name="connsiteY3252" fmla="*/ 986177 h 1153700"/>
                    <a:gd name="connsiteX3253" fmla="*/ 607341 w 774525"/>
                    <a:gd name="connsiteY3253" fmla="*/ 983274 h 1153700"/>
                    <a:gd name="connsiteX3254" fmla="*/ 605981 w 774525"/>
                    <a:gd name="connsiteY3254" fmla="*/ 976924 h 1153700"/>
                    <a:gd name="connsiteX3255" fmla="*/ 605981 w 774525"/>
                    <a:gd name="connsiteY3255" fmla="*/ 976401 h 1153700"/>
                    <a:gd name="connsiteX3256" fmla="*/ 606054 w 774525"/>
                    <a:gd name="connsiteY3256" fmla="*/ 976122 h 1153700"/>
                    <a:gd name="connsiteX3257" fmla="*/ 606078 w 774525"/>
                    <a:gd name="connsiteY3257" fmla="*/ 976013 h 1153700"/>
                    <a:gd name="connsiteX3258" fmla="*/ 606382 w 774525"/>
                    <a:gd name="connsiteY3258" fmla="*/ 975527 h 1153700"/>
                    <a:gd name="connsiteX3259" fmla="*/ 607195 w 774525"/>
                    <a:gd name="connsiteY3259" fmla="*/ 974192 h 1153700"/>
                    <a:gd name="connsiteX3260" fmla="*/ 607791 w 774525"/>
                    <a:gd name="connsiteY3260" fmla="*/ 973220 h 1153700"/>
                    <a:gd name="connsiteX3261" fmla="*/ 608009 w 774525"/>
                    <a:gd name="connsiteY3261" fmla="*/ 972103 h 1153700"/>
                    <a:gd name="connsiteX3262" fmla="*/ 608288 w 774525"/>
                    <a:gd name="connsiteY3262" fmla="*/ 970549 h 1153700"/>
                    <a:gd name="connsiteX3263" fmla="*/ 608471 w 774525"/>
                    <a:gd name="connsiteY3263" fmla="*/ 969529 h 1153700"/>
                    <a:gd name="connsiteX3264" fmla="*/ 608313 w 774525"/>
                    <a:gd name="connsiteY3264" fmla="*/ 968497 h 1153700"/>
                    <a:gd name="connsiteX3265" fmla="*/ 607572 w 774525"/>
                    <a:gd name="connsiteY3265" fmla="*/ 963906 h 1153700"/>
                    <a:gd name="connsiteX3266" fmla="*/ 607438 w 774525"/>
                    <a:gd name="connsiteY3266" fmla="*/ 963129 h 1153700"/>
                    <a:gd name="connsiteX3267" fmla="*/ 607122 w 774525"/>
                    <a:gd name="connsiteY3267" fmla="*/ 962413 h 1153700"/>
                    <a:gd name="connsiteX3268" fmla="*/ 603893 w 774525"/>
                    <a:gd name="connsiteY3268" fmla="*/ 955115 h 1153700"/>
                    <a:gd name="connsiteX3269" fmla="*/ 602872 w 774525"/>
                    <a:gd name="connsiteY3269" fmla="*/ 950804 h 1153700"/>
                    <a:gd name="connsiteX3270" fmla="*/ 602302 w 774525"/>
                    <a:gd name="connsiteY3270" fmla="*/ 948388 h 1153700"/>
                    <a:gd name="connsiteX3271" fmla="*/ 601816 w 774525"/>
                    <a:gd name="connsiteY3271" fmla="*/ 946299 h 1153700"/>
                    <a:gd name="connsiteX3272" fmla="*/ 600116 w 774525"/>
                    <a:gd name="connsiteY3272" fmla="*/ 944988 h 1153700"/>
                    <a:gd name="connsiteX3273" fmla="*/ 598623 w 774525"/>
                    <a:gd name="connsiteY3273" fmla="*/ 943822 h 1153700"/>
                    <a:gd name="connsiteX3274" fmla="*/ 599570 w 774525"/>
                    <a:gd name="connsiteY3274" fmla="*/ 939985 h 1153700"/>
                    <a:gd name="connsiteX3275" fmla="*/ 599861 w 774525"/>
                    <a:gd name="connsiteY3275" fmla="*/ 938783 h 1153700"/>
                    <a:gd name="connsiteX3276" fmla="*/ 599667 w 774525"/>
                    <a:gd name="connsiteY3276" fmla="*/ 937556 h 1153700"/>
                    <a:gd name="connsiteX3277" fmla="*/ 598829 w 774525"/>
                    <a:gd name="connsiteY3277" fmla="*/ 932250 h 1153700"/>
                    <a:gd name="connsiteX3278" fmla="*/ 598732 w 774525"/>
                    <a:gd name="connsiteY3278" fmla="*/ 931703 h 1153700"/>
                    <a:gd name="connsiteX3279" fmla="*/ 598550 w 774525"/>
                    <a:gd name="connsiteY3279" fmla="*/ 931181 h 1153700"/>
                    <a:gd name="connsiteX3280" fmla="*/ 596765 w 774525"/>
                    <a:gd name="connsiteY3280" fmla="*/ 926118 h 1153700"/>
                    <a:gd name="connsiteX3281" fmla="*/ 596583 w 774525"/>
                    <a:gd name="connsiteY3281" fmla="*/ 925632 h 1153700"/>
                    <a:gd name="connsiteX3282" fmla="*/ 596328 w 774525"/>
                    <a:gd name="connsiteY3282" fmla="*/ 925183 h 1153700"/>
                    <a:gd name="connsiteX3283" fmla="*/ 595587 w 774525"/>
                    <a:gd name="connsiteY3283" fmla="*/ 923871 h 1153700"/>
                    <a:gd name="connsiteX3284" fmla="*/ 594470 w 774525"/>
                    <a:gd name="connsiteY3284" fmla="*/ 921904 h 1153700"/>
                    <a:gd name="connsiteX3285" fmla="*/ 593960 w 774525"/>
                    <a:gd name="connsiteY3285" fmla="*/ 918880 h 1153700"/>
                    <a:gd name="connsiteX3286" fmla="*/ 593923 w 774525"/>
                    <a:gd name="connsiteY3286" fmla="*/ 918638 h 1153700"/>
                    <a:gd name="connsiteX3287" fmla="*/ 593814 w 774525"/>
                    <a:gd name="connsiteY3287" fmla="*/ 918128 h 1153700"/>
                    <a:gd name="connsiteX3288" fmla="*/ 593498 w 774525"/>
                    <a:gd name="connsiteY3288" fmla="*/ 916853 h 1153700"/>
                    <a:gd name="connsiteX3289" fmla="*/ 593207 w 774525"/>
                    <a:gd name="connsiteY3289" fmla="*/ 915614 h 1153700"/>
                    <a:gd name="connsiteX3290" fmla="*/ 593097 w 774525"/>
                    <a:gd name="connsiteY3290" fmla="*/ 915189 h 1153700"/>
                    <a:gd name="connsiteX3291" fmla="*/ 592927 w 774525"/>
                    <a:gd name="connsiteY3291" fmla="*/ 914788 h 1153700"/>
                    <a:gd name="connsiteX3292" fmla="*/ 592478 w 774525"/>
                    <a:gd name="connsiteY3292" fmla="*/ 913659 h 1153700"/>
                    <a:gd name="connsiteX3293" fmla="*/ 590973 w 774525"/>
                    <a:gd name="connsiteY3293" fmla="*/ 909822 h 1153700"/>
                    <a:gd name="connsiteX3294" fmla="*/ 590827 w 774525"/>
                    <a:gd name="connsiteY3294" fmla="*/ 908753 h 1153700"/>
                    <a:gd name="connsiteX3295" fmla="*/ 591009 w 774525"/>
                    <a:gd name="connsiteY3295" fmla="*/ 908377 h 1153700"/>
                    <a:gd name="connsiteX3296" fmla="*/ 591398 w 774525"/>
                    <a:gd name="connsiteY3296" fmla="*/ 907915 h 1153700"/>
                    <a:gd name="connsiteX3297" fmla="*/ 592612 w 774525"/>
                    <a:gd name="connsiteY3297" fmla="*/ 906482 h 1153700"/>
                    <a:gd name="connsiteX3298" fmla="*/ 592842 w 774525"/>
                    <a:gd name="connsiteY3298" fmla="*/ 906215 h 1153700"/>
                    <a:gd name="connsiteX3299" fmla="*/ 593037 w 774525"/>
                    <a:gd name="connsiteY3299" fmla="*/ 905924 h 1153700"/>
                    <a:gd name="connsiteX3300" fmla="*/ 594373 w 774525"/>
                    <a:gd name="connsiteY3300" fmla="*/ 903908 h 1153700"/>
                    <a:gd name="connsiteX3301" fmla="*/ 595040 w 774525"/>
                    <a:gd name="connsiteY3301" fmla="*/ 902913 h 1153700"/>
                    <a:gd name="connsiteX3302" fmla="*/ 595550 w 774525"/>
                    <a:gd name="connsiteY3302" fmla="*/ 902160 h 1153700"/>
                    <a:gd name="connsiteX3303" fmla="*/ 595805 w 774525"/>
                    <a:gd name="connsiteY3303" fmla="*/ 901297 h 1153700"/>
                    <a:gd name="connsiteX3304" fmla="*/ 596607 w 774525"/>
                    <a:gd name="connsiteY3304" fmla="*/ 898650 h 1153700"/>
                    <a:gd name="connsiteX3305" fmla="*/ 596692 w 774525"/>
                    <a:gd name="connsiteY3305" fmla="*/ 898383 h 1153700"/>
                    <a:gd name="connsiteX3306" fmla="*/ 596801 w 774525"/>
                    <a:gd name="connsiteY3306" fmla="*/ 897837 h 1153700"/>
                    <a:gd name="connsiteX3307" fmla="*/ 597505 w 774525"/>
                    <a:gd name="connsiteY3307" fmla="*/ 894170 h 1153700"/>
                    <a:gd name="connsiteX3308" fmla="*/ 597566 w 774525"/>
                    <a:gd name="connsiteY3308" fmla="*/ 893854 h 1153700"/>
                    <a:gd name="connsiteX3309" fmla="*/ 597590 w 774525"/>
                    <a:gd name="connsiteY3309" fmla="*/ 893526 h 1153700"/>
                    <a:gd name="connsiteX3310" fmla="*/ 597894 w 774525"/>
                    <a:gd name="connsiteY3310" fmla="*/ 889713 h 1153700"/>
                    <a:gd name="connsiteX3311" fmla="*/ 597954 w 774525"/>
                    <a:gd name="connsiteY3311" fmla="*/ 889009 h 1153700"/>
                    <a:gd name="connsiteX3312" fmla="*/ 597846 w 774525"/>
                    <a:gd name="connsiteY3312" fmla="*/ 888317 h 1153700"/>
                    <a:gd name="connsiteX3313" fmla="*/ 597639 w 774525"/>
                    <a:gd name="connsiteY3313" fmla="*/ 886981 h 1153700"/>
                    <a:gd name="connsiteX3314" fmla="*/ 597421 w 774525"/>
                    <a:gd name="connsiteY3314" fmla="*/ 885597 h 1153700"/>
                    <a:gd name="connsiteX3315" fmla="*/ 597093 w 774525"/>
                    <a:gd name="connsiteY3315" fmla="*/ 883545 h 1153700"/>
                    <a:gd name="connsiteX3316" fmla="*/ 595562 w 774525"/>
                    <a:gd name="connsiteY3316" fmla="*/ 882124 h 1153700"/>
                    <a:gd name="connsiteX3317" fmla="*/ 593438 w 774525"/>
                    <a:gd name="connsiteY3317" fmla="*/ 880145 h 1153700"/>
                    <a:gd name="connsiteX3318" fmla="*/ 592442 w 774525"/>
                    <a:gd name="connsiteY3318" fmla="*/ 879209 h 1153700"/>
                    <a:gd name="connsiteX3319" fmla="*/ 591143 w 774525"/>
                    <a:gd name="connsiteY3319" fmla="*/ 878797 h 1153700"/>
                    <a:gd name="connsiteX3320" fmla="*/ 588908 w 774525"/>
                    <a:gd name="connsiteY3320" fmla="*/ 878092 h 1153700"/>
                    <a:gd name="connsiteX3321" fmla="*/ 587524 w 774525"/>
                    <a:gd name="connsiteY3321" fmla="*/ 877655 h 1153700"/>
                    <a:gd name="connsiteX3322" fmla="*/ 587087 w 774525"/>
                    <a:gd name="connsiteY3322" fmla="*/ 877133 h 1153700"/>
                    <a:gd name="connsiteX3323" fmla="*/ 583456 w 774525"/>
                    <a:gd name="connsiteY3323" fmla="*/ 868621 h 1153700"/>
                    <a:gd name="connsiteX3324" fmla="*/ 583249 w 774525"/>
                    <a:gd name="connsiteY3324" fmla="*/ 868159 h 1153700"/>
                    <a:gd name="connsiteX3325" fmla="*/ 582994 w 774525"/>
                    <a:gd name="connsiteY3325" fmla="*/ 867734 h 1153700"/>
                    <a:gd name="connsiteX3326" fmla="*/ 581040 w 774525"/>
                    <a:gd name="connsiteY3326" fmla="*/ 864662 h 1153700"/>
                    <a:gd name="connsiteX3327" fmla="*/ 580845 w 774525"/>
                    <a:gd name="connsiteY3327" fmla="*/ 864371 h 1153700"/>
                    <a:gd name="connsiteX3328" fmla="*/ 580627 w 774525"/>
                    <a:gd name="connsiteY3328" fmla="*/ 864104 h 1153700"/>
                    <a:gd name="connsiteX3329" fmla="*/ 577761 w 774525"/>
                    <a:gd name="connsiteY3329" fmla="*/ 860558 h 1153700"/>
                    <a:gd name="connsiteX3330" fmla="*/ 577725 w 774525"/>
                    <a:gd name="connsiteY3330" fmla="*/ 860424 h 1153700"/>
                    <a:gd name="connsiteX3331" fmla="*/ 577749 w 774525"/>
                    <a:gd name="connsiteY3331" fmla="*/ 859562 h 1153700"/>
                    <a:gd name="connsiteX3332" fmla="*/ 577785 w 774525"/>
                    <a:gd name="connsiteY3332" fmla="*/ 858421 h 1153700"/>
                    <a:gd name="connsiteX3333" fmla="*/ 579255 w 774525"/>
                    <a:gd name="connsiteY3333" fmla="*/ 853564 h 1153700"/>
                    <a:gd name="connsiteX3334" fmla="*/ 579485 w 774525"/>
                    <a:gd name="connsiteY3334" fmla="*/ 852835 h 1153700"/>
                    <a:gd name="connsiteX3335" fmla="*/ 579522 w 774525"/>
                    <a:gd name="connsiteY3335" fmla="*/ 852082 h 1153700"/>
                    <a:gd name="connsiteX3336" fmla="*/ 579910 w 774525"/>
                    <a:gd name="connsiteY3336" fmla="*/ 843278 h 1153700"/>
                    <a:gd name="connsiteX3337" fmla="*/ 581477 w 774525"/>
                    <a:gd name="connsiteY3337" fmla="*/ 840267 h 1153700"/>
                    <a:gd name="connsiteX3338" fmla="*/ 585751 w 774525"/>
                    <a:gd name="connsiteY3338" fmla="*/ 835811 h 1153700"/>
                    <a:gd name="connsiteX3339" fmla="*/ 590778 w 774525"/>
                    <a:gd name="connsiteY3339" fmla="*/ 830553 h 1153700"/>
                    <a:gd name="connsiteX3340" fmla="*/ 592405 w 774525"/>
                    <a:gd name="connsiteY3340" fmla="*/ 829241 h 1153700"/>
                    <a:gd name="connsiteX3341" fmla="*/ 595490 w 774525"/>
                    <a:gd name="connsiteY3341" fmla="*/ 826740 h 1153700"/>
                    <a:gd name="connsiteX3342" fmla="*/ 595854 w 774525"/>
                    <a:gd name="connsiteY3342" fmla="*/ 826436 h 1153700"/>
                    <a:gd name="connsiteX3343" fmla="*/ 596170 w 774525"/>
                    <a:gd name="connsiteY3343" fmla="*/ 826084 h 1153700"/>
                    <a:gd name="connsiteX3344" fmla="*/ 597857 w 774525"/>
                    <a:gd name="connsiteY3344" fmla="*/ 824214 h 1153700"/>
                    <a:gd name="connsiteX3345" fmla="*/ 598465 w 774525"/>
                    <a:gd name="connsiteY3345" fmla="*/ 823534 h 1153700"/>
                    <a:gd name="connsiteX3346" fmla="*/ 598853 w 774525"/>
                    <a:gd name="connsiteY3346" fmla="*/ 822708 h 1153700"/>
                    <a:gd name="connsiteX3347" fmla="*/ 599108 w 774525"/>
                    <a:gd name="connsiteY3347" fmla="*/ 822150 h 1153700"/>
                    <a:gd name="connsiteX3348" fmla="*/ 599825 w 774525"/>
                    <a:gd name="connsiteY3348" fmla="*/ 820596 h 1153700"/>
                    <a:gd name="connsiteX3349" fmla="*/ 600371 w 774525"/>
                    <a:gd name="connsiteY3349" fmla="*/ 819393 h 1153700"/>
                    <a:gd name="connsiteX3350" fmla="*/ 600371 w 774525"/>
                    <a:gd name="connsiteY3350" fmla="*/ 818070 h 1153700"/>
                    <a:gd name="connsiteX3351" fmla="*/ 600371 w 774525"/>
                    <a:gd name="connsiteY3351" fmla="*/ 816430 h 1153700"/>
                    <a:gd name="connsiteX3352" fmla="*/ 600371 w 774525"/>
                    <a:gd name="connsiteY3352" fmla="*/ 813771 h 1153700"/>
                    <a:gd name="connsiteX3353" fmla="*/ 598428 w 774525"/>
                    <a:gd name="connsiteY3353" fmla="*/ 811974 h 1153700"/>
                    <a:gd name="connsiteX3354" fmla="*/ 597408 w 774525"/>
                    <a:gd name="connsiteY3354" fmla="*/ 811027 h 1153700"/>
                    <a:gd name="connsiteX3355" fmla="*/ 595562 w 774525"/>
                    <a:gd name="connsiteY3355" fmla="*/ 809315 h 1153700"/>
                    <a:gd name="connsiteX3356" fmla="*/ 593037 w 774525"/>
                    <a:gd name="connsiteY3356" fmla="*/ 809412 h 1153700"/>
                    <a:gd name="connsiteX3357" fmla="*/ 588823 w 774525"/>
                    <a:gd name="connsiteY3357" fmla="*/ 809582 h 1153700"/>
                    <a:gd name="connsiteX3358" fmla="*/ 588568 w 774525"/>
                    <a:gd name="connsiteY3358" fmla="*/ 809509 h 1153700"/>
                    <a:gd name="connsiteX3359" fmla="*/ 587463 w 774525"/>
                    <a:gd name="connsiteY3359" fmla="*/ 808999 h 1153700"/>
                    <a:gd name="connsiteX3360" fmla="*/ 587160 w 774525"/>
                    <a:gd name="connsiteY3360" fmla="*/ 808853 h 1153700"/>
                    <a:gd name="connsiteX3361" fmla="*/ 586844 w 774525"/>
                    <a:gd name="connsiteY3361" fmla="*/ 808744 h 1153700"/>
                    <a:gd name="connsiteX3362" fmla="*/ 582460 w 774525"/>
                    <a:gd name="connsiteY3362" fmla="*/ 807263 h 1153700"/>
                    <a:gd name="connsiteX3363" fmla="*/ 573693 w 774525"/>
                    <a:gd name="connsiteY3363" fmla="*/ 804312 h 1153700"/>
                    <a:gd name="connsiteX3364" fmla="*/ 573329 w 774525"/>
                    <a:gd name="connsiteY3364" fmla="*/ 804190 h 1153700"/>
                    <a:gd name="connsiteX3365" fmla="*/ 572965 w 774525"/>
                    <a:gd name="connsiteY3365" fmla="*/ 804118 h 1153700"/>
                    <a:gd name="connsiteX3366" fmla="*/ 570864 w 774525"/>
                    <a:gd name="connsiteY3366" fmla="*/ 803693 h 1153700"/>
                    <a:gd name="connsiteX3367" fmla="*/ 569783 w 774525"/>
                    <a:gd name="connsiteY3367" fmla="*/ 803474 h 1153700"/>
                    <a:gd name="connsiteX3368" fmla="*/ 568751 w 774525"/>
                    <a:gd name="connsiteY3368" fmla="*/ 803268 h 1153700"/>
                    <a:gd name="connsiteX3369" fmla="*/ 567719 w 774525"/>
                    <a:gd name="connsiteY3369" fmla="*/ 803425 h 1153700"/>
                    <a:gd name="connsiteX3370" fmla="*/ 565241 w 774525"/>
                    <a:gd name="connsiteY3370" fmla="*/ 803790 h 1153700"/>
                    <a:gd name="connsiteX3371" fmla="*/ 563894 w 774525"/>
                    <a:gd name="connsiteY3371" fmla="*/ 803996 h 1153700"/>
                    <a:gd name="connsiteX3372" fmla="*/ 562765 w 774525"/>
                    <a:gd name="connsiteY3372" fmla="*/ 804749 h 1153700"/>
                    <a:gd name="connsiteX3373" fmla="*/ 561161 w 774525"/>
                    <a:gd name="connsiteY3373" fmla="*/ 805818 h 1153700"/>
                    <a:gd name="connsiteX3374" fmla="*/ 560834 w 774525"/>
                    <a:gd name="connsiteY3374" fmla="*/ 806048 h 1153700"/>
                    <a:gd name="connsiteX3375" fmla="*/ 560530 w 774525"/>
                    <a:gd name="connsiteY3375" fmla="*/ 806303 h 1153700"/>
                    <a:gd name="connsiteX3376" fmla="*/ 560348 w 774525"/>
                    <a:gd name="connsiteY3376" fmla="*/ 806461 h 1153700"/>
                    <a:gd name="connsiteX3377" fmla="*/ 550488 w 774525"/>
                    <a:gd name="connsiteY3377" fmla="*/ 803365 h 1153700"/>
                    <a:gd name="connsiteX3378" fmla="*/ 549856 w 774525"/>
                    <a:gd name="connsiteY3378" fmla="*/ 802818 h 1153700"/>
                    <a:gd name="connsiteX3379" fmla="*/ 549116 w 774525"/>
                    <a:gd name="connsiteY3379" fmla="*/ 801276 h 1153700"/>
                    <a:gd name="connsiteX3380" fmla="*/ 549079 w 774525"/>
                    <a:gd name="connsiteY3380" fmla="*/ 800378 h 1153700"/>
                    <a:gd name="connsiteX3381" fmla="*/ 549043 w 774525"/>
                    <a:gd name="connsiteY3381" fmla="*/ 799637 h 1153700"/>
                    <a:gd name="connsiteX3382" fmla="*/ 549990 w 774525"/>
                    <a:gd name="connsiteY3382" fmla="*/ 797536 h 1153700"/>
                    <a:gd name="connsiteX3383" fmla="*/ 554289 w 774525"/>
                    <a:gd name="connsiteY3383" fmla="*/ 790857 h 1153700"/>
                    <a:gd name="connsiteX3384" fmla="*/ 554616 w 774525"/>
                    <a:gd name="connsiteY3384" fmla="*/ 790347 h 1153700"/>
                    <a:gd name="connsiteX3385" fmla="*/ 554835 w 774525"/>
                    <a:gd name="connsiteY3385" fmla="*/ 789777 h 1153700"/>
                    <a:gd name="connsiteX3386" fmla="*/ 559401 w 774525"/>
                    <a:gd name="connsiteY3386" fmla="*/ 778010 h 1153700"/>
                    <a:gd name="connsiteX3387" fmla="*/ 563967 w 774525"/>
                    <a:gd name="connsiteY3387" fmla="*/ 766244 h 1153700"/>
                    <a:gd name="connsiteX3388" fmla="*/ 564270 w 774525"/>
                    <a:gd name="connsiteY3388" fmla="*/ 765454 h 1153700"/>
                    <a:gd name="connsiteX3389" fmla="*/ 564355 w 774525"/>
                    <a:gd name="connsiteY3389" fmla="*/ 764605 h 1153700"/>
                    <a:gd name="connsiteX3390" fmla="*/ 564744 w 774525"/>
                    <a:gd name="connsiteY3390" fmla="*/ 760330 h 1153700"/>
                    <a:gd name="connsiteX3391" fmla="*/ 565035 w 774525"/>
                    <a:gd name="connsiteY3391" fmla="*/ 757088 h 1153700"/>
                    <a:gd name="connsiteX3392" fmla="*/ 562497 w 774525"/>
                    <a:gd name="connsiteY3392" fmla="*/ 755048 h 1153700"/>
                    <a:gd name="connsiteX3393" fmla="*/ 560032 w 774525"/>
                    <a:gd name="connsiteY3393" fmla="*/ 753069 h 1153700"/>
                    <a:gd name="connsiteX3394" fmla="*/ 556329 w 774525"/>
                    <a:gd name="connsiteY3394" fmla="*/ 750106 h 1153700"/>
                    <a:gd name="connsiteX3395" fmla="*/ 552552 w 774525"/>
                    <a:gd name="connsiteY3395" fmla="*/ 752959 h 1153700"/>
                    <a:gd name="connsiteX3396" fmla="*/ 550974 w 774525"/>
                    <a:gd name="connsiteY3396" fmla="*/ 754149 h 1153700"/>
                    <a:gd name="connsiteX3397" fmla="*/ 550816 w 774525"/>
                    <a:gd name="connsiteY3397" fmla="*/ 753858 h 1153700"/>
                    <a:gd name="connsiteX3398" fmla="*/ 548921 w 774525"/>
                    <a:gd name="connsiteY3398" fmla="*/ 752996 h 1153700"/>
                    <a:gd name="connsiteX3399" fmla="*/ 547367 w 774525"/>
                    <a:gd name="connsiteY3399" fmla="*/ 752279 h 1153700"/>
                    <a:gd name="connsiteX3400" fmla="*/ 542814 w 774525"/>
                    <a:gd name="connsiteY3400" fmla="*/ 749244 h 1153700"/>
                    <a:gd name="connsiteX3401" fmla="*/ 540640 w 774525"/>
                    <a:gd name="connsiteY3401" fmla="*/ 746961 h 1153700"/>
                    <a:gd name="connsiteX3402" fmla="*/ 536633 w 774525"/>
                    <a:gd name="connsiteY3402" fmla="*/ 739906 h 1153700"/>
                    <a:gd name="connsiteX3403" fmla="*/ 536269 w 774525"/>
                    <a:gd name="connsiteY3403" fmla="*/ 739262 h 1153700"/>
                    <a:gd name="connsiteX3404" fmla="*/ 535759 w 774525"/>
                    <a:gd name="connsiteY3404" fmla="*/ 738728 h 1153700"/>
                    <a:gd name="connsiteX3405" fmla="*/ 532953 w 774525"/>
                    <a:gd name="connsiteY3405" fmla="*/ 735777 h 1153700"/>
                    <a:gd name="connsiteX3406" fmla="*/ 531666 w 774525"/>
                    <a:gd name="connsiteY3406" fmla="*/ 734417 h 1153700"/>
                    <a:gd name="connsiteX3407" fmla="*/ 529833 w 774525"/>
                    <a:gd name="connsiteY3407" fmla="*/ 734029 h 1153700"/>
                    <a:gd name="connsiteX3408" fmla="*/ 528339 w 774525"/>
                    <a:gd name="connsiteY3408" fmla="*/ 733713 h 1153700"/>
                    <a:gd name="connsiteX3409" fmla="*/ 527392 w 774525"/>
                    <a:gd name="connsiteY3409" fmla="*/ 733506 h 1153700"/>
                    <a:gd name="connsiteX3410" fmla="*/ 526433 w 774525"/>
                    <a:gd name="connsiteY3410" fmla="*/ 733616 h 1153700"/>
                    <a:gd name="connsiteX3411" fmla="*/ 526530 w 774525"/>
                    <a:gd name="connsiteY3411" fmla="*/ 733009 h 1153700"/>
                    <a:gd name="connsiteX3412" fmla="*/ 527113 w 774525"/>
                    <a:gd name="connsiteY3412" fmla="*/ 729463 h 1153700"/>
                    <a:gd name="connsiteX3413" fmla="*/ 524283 w 774525"/>
                    <a:gd name="connsiteY3413" fmla="*/ 727253 h 1153700"/>
                    <a:gd name="connsiteX3414" fmla="*/ 523798 w 774525"/>
                    <a:gd name="connsiteY3414" fmla="*/ 726876 h 1153700"/>
                    <a:gd name="connsiteX3415" fmla="*/ 523166 w 774525"/>
                    <a:gd name="connsiteY3415" fmla="*/ 726403 h 1153700"/>
                    <a:gd name="connsiteX3416" fmla="*/ 522280 w 774525"/>
                    <a:gd name="connsiteY3416" fmla="*/ 725747 h 1153700"/>
                    <a:gd name="connsiteX3417" fmla="*/ 523519 w 774525"/>
                    <a:gd name="connsiteY3417" fmla="*/ 720113 h 1153700"/>
                    <a:gd name="connsiteX3418" fmla="*/ 525498 w 774525"/>
                    <a:gd name="connsiteY3418" fmla="*/ 711078 h 1153700"/>
                    <a:gd name="connsiteX3419" fmla="*/ 525765 w 774525"/>
                    <a:gd name="connsiteY3419" fmla="*/ 709864 h 1153700"/>
                    <a:gd name="connsiteX3420" fmla="*/ 525522 w 774525"/>
                    <a:gd name="connsiteY3420" fmla="*/ 708638 h 1153700"/>
                    <a:gd name="connsiteX3421" fmla="*/ 525267 w 774525"/>
                    <a:gd name="connsiteY3421" fmla="*/ 706986 h 1153700"/>
                    <a:gd name="connsiteX3422" fmla="*/ 525134 w 774525"/>
                    <a:gd name="connsiteY3422" fmla="*/ 706221 h 1153700"/>
                    <a:gd name="connsiteX3423" fmla="*/ 524830 w 774525"/>
                    <a:gd name="connsiteY3423" fmla="*/ 705505 h 1153700"/>
                    <a:gd name="connsiteX3424" fmla="*/ 524150 w 774525"/>
                    <a:gd name="connsiteY3424" fmla="*/ 703963 h 1153700"/>
                    <a:gd name="connsiteX3425" fmla="*/ 524235 w 774525"/>
                    <a:gd name="connsiteY3425" fmla="*/ 703781 h 1153700"/>
                    <a:gd name="connsiteX3426" fmla="*/ 525789 w 774525"/>
                    <a:gd name="connsiteY3426" fmla="*/ 701400 h 1153700"/>
                    <a:gd name="connsiteX3427" fmla="*/ 526712 w 774525"/>
                    <a:gd name="connsiteY3427" fmla="*/ 699992 h 1153700"/>
                    <a:gd name="connsiteX3428" fmla="*/ 527003 w 774525"/>
                    <a:gd name="connsiteY3428" fmla="*/ 699530 h 1153700"/>
                    <a:gd name="connsiteX3429" fmla="*/ 527210 w 774525"/>
                    <a:gd name="connsiteY3429" fmla="*/ 699033 h 1153700"/>
                    <a:gd name="connsiteX3430" fmla="*/ 528182 w 774525"/>
                    <a:gd name="connsiteY3430" fmla="*/ 696738 h 1153700"/>
                    <a:gd name="connsiteX3431" fmla="*/ 528631 w 774525"/>
                    <a:gd name="connsiteY3431" fmla="*/ 695693 h 1153700"/>
                    <a:gd name="connsiteX3432" fmla="*/ 528667 w 774525"/>
                    <a:gd name="connsiteY3432" fmla="*/ 694564 h 1153700"/>
                    <a:gd name="connsiteX3433" fmla="*/ 528728 w 774525"/>
                    <a:gd name="connsiteY3433" fmla="*/ 692767 h 1153700"/>
                    <a:gd name="connsiteX3434" fmla="*/ 528752 w 774525"/>
                    <a:gd name="connsiteY3434" fmla="*/ 691917 h 1153700"/>
                    <a:gd name="connsiteX3435" fmla="*/ 528546 w 774525"/>
                    <a:gd name="connsiteY3435" fmla="*/ 691091 h 1153700"/>
                    <a:gd name="connsiteX3436" fmla="*/ 528436 w 774525"/>
                    <a:gd name="connsiteY3436" fmla="*/ 690702 h 1153700"/>
                    <a:gd name="connsiteX3437" fmla="*/ 529189 w 774525"/>
                    <a:gd name="connsiteY3437" fmla="*/ 690666 h 1153700"/>
                    <a:gd name="connsiteX3438" fmla="*/ 532686 w 774525"/>
                    <a:gd name="connsiteY3438" fmla="*/ 690970 h 1153700"/>
                    <a:gd name="connsiteX3439" fmla="*/ 533549 w 774525"/>
                    <a:gd name="connsiteY3439" fmla="*/ 691042 h 1153700"/>
                    <a:gd name="connsiteX3440" fmla="*/ 534399 w 774525"/>
                    <a:gd name="connsiteY3440" fmla="*/ 690873 h 1153700"/>
                    <a:gd name="connsiteX3441" fmla="*/ 537969 w 774525"/>
                    <a:gd name="connsiteY3441" fmla="*/ 690156 h 1153700"/>
                    <a:gd name="connsiteX3442" fmla="*/ 539341 w 774525"/>
                    <a:gd name="connsiteY3442" fmla="*/ 689877 h 1153700"/>
                    <a:gd name="connsiteX3443" fmla="*/ 540470 w 774525"/>
                    <a:gd name="connsiteY3443" fmla="*/ 689015 h 1153700"/>
                    <a:gd name="connsiteX3444" fmla="*/ 541308 w 774525"/>
                    <a:gd name="connsiteY3444" fmla="*/ 688371 h 1153700"/>
                    <a:gd name="connsiteX3445" fmla="*/ 543020 w 774525"/>
                    <a:gd name="connsiteY3445" fmla="*/ 687047 h 1153700"/>
                    <a:gd name="connsiteX3446" fmla="*/ 543263 w 774525"/>
                    <a:gd name="connsiteY3446" fmla="*/ 686865 h 1153700"/>
                    <a:gd name="connsiteX3447" fmla="*/ 543494 w 774525"/>
                    <a:gd name="connsiteY3447" fmla="*/ 686647 h 1153700"/>
                    <a:gd name="connsiteX3448" fmla="*/ 548241 w 774525"/>
                    <a:gd name="connsiteY3448" fmla="*/ 682142 h 1153700"/>
                    <a:gd name="connsiteX3449" fmla="*/ 550609 w 774525"/>
                    <a:gd name="connsiteY3449" fmla="*/ 679883 h 1153700"/>
                    <a:gd name="connsiteX3450" fmla="*/ 550937 w 774525"/>
                    <a:gd name="connsiteY3450" fmla="*/ 679567 h 1153700"/>
                    <a:gd name="connsiteX3451" fmla="*/ 551204 w 774525"/>
                    <a:gd name="connsiteY3451" fmla="*/ 679215 h 1153700"/>
                    <a:gd name="connsiteX3452" fmla="*/ 552977 w 774525"/>
                    <a:gd name="connsiteY3452" fmla="*/ 676945 h 1153700"/>
                    <a:gd name="connsiteX3453" fmla="*/ 553924 w 774525"/>
                    <a:gd name="connsiteY3453" fmla="*/ 675718 h 1153700"/>
                    <a:gd name="connsiteX3454" fmla="*/ 554179 w 774525"/>
                    <a:gd name="connsiteY3454" fmla="*/ 674188 h 1153700"/>
                    <a:gd name="connsiteX3455" fmla="*/ 554762 w 774525"/>
                    <a:gd name="connsiteY3455" fmla="*/ 670606 h 1153700"/>
                    <a:gd name="connsiteX3456" fmla="*/ 554908 w 774525"/>
                    <a:gd name="connsiteY3456" fmla="*/ 669756 h 1153700"/>
                    <a:gd name="connsiteX3457" fmla="*/ 554799 w 774525"/>
                    <a:gd name="connsiteY3457" fmla="*/ 668894 h 1153700"/>
                    <a:gd name="connsiteX3458" fmla="*/ 554277 w 774525"/>
                    <a:gd name="connsiteY3458" fmla="*/ 664668 h 1153700"/>
                    <a:gd name="connsiteX3459" fmla="*/ 554216 w 774525"/>
                    <a:gd name="connsiteY3459" fmla="*/ 664182 h 1153700"/>
                    <a:gd name="connsiteX3460" fmla="*/ 554082 w 774525"/>
                    <a:gd name="connsiteY3460" fmla="*/ 663721 h 1153700"/>
                    <a:gd name="connsiteX3461" fmla="*/ 552990 w 774525"/>
                    <a:gd name="connsiteY3461" fmla="*/ 659932 h 1153700"/>
                    <a:gd name="connsiteX3462" fmla="*/ 552832 w 774525"/>
                    <a:gd name="connsiteY3462" fmla="*/ 659398 h 1153700"/>
                    <a:gd name="connsiteX3463" fmla="*/ 553159 w 774525"/>
                    <a:gd name="connsiteY3463" fmla="*/ 658839 h 1153700"/>
                    <a:gd name="connsiteX3464" fmla="*/ 555114 w 774525"/>
                    <a:gd name="connsiteY3464" fmla="*/ 656289 h 1153700"/>
                    <a:gd name="connsiteX3465" fmla="*/ 556377 w 774525"/>
                    <a:gd name="connsiteY3465" fmla="*/ 654650 h 1153700"/>
                    <a:gd name="connsiteX3466" fmla="*/ 556377 w 774525"/>
                    <a:gd name="connsiteY3466" fmla="*/ 652586 h 1153700"/>
                    <a:gd name="connsiteX3467" fmla="*/ 556317 w 774525"/>
                    <a:gd name="connsiteY3467" fmla="*/ 650534 h 1153700"/>
                    <a:gd name="connsiteX3468" fmla="*/ 556159 w 774525"/>
                    <a:gd name="connsiteY3468" fmla="*/ 645883 h 1153700"/>
                    <a:gd name="connsiteX3469" fmla="*/ 551630 w 774525"/>
                    <a:gd name="connsiteY3469" fmla="*/ 644826 h 1153700"/>
                    <a:gd name="connsiteX3470" fmla="*/ 550779 w 774525"/>
                    <a:gd name="connsiteY3470" fmla="*/ 644620 h 1153700"/>
                    <a:gd name="connsiteX3471" fmla="*/ 550597 w 774525"/>
                    <a:gd name="connsiteY3471" fmla="*/ 643867 h 1153700"/>
                    <a:gd name="connsiteX3472" fmla="*/ 549079 w 774525"/>
                    <a:gd name="connsiteY3472" fmla="*/ 642568 h 1153700"/>
                    <a:gd name="connsiteX3473" fmla="*/ 547051 w 774525"/>
                    <a:gd name="connsiteY3473" fmla="*/ 640831 h 1153700"/>
                    <a:gd name="connsiteX3474" fmla="*/ 547319 w 774525"/>
                    <a:gd name="connsiteY3474" fmla="*/ 639909 h 1153700"/>
                    <a:gd name="connsiteX3475" fmla="*/ 547962 w 774525"/>
                    <a:gd name="connsiteY3475" fmla="*/ 637674 h 1153700"/>
                    <a:gd name="connsiteX3476" fmla="*/ 548132 w 774525"/>
                    <a:gd name="connsiteY3476" fmla="*/ 637140 h 1153700"/>
                    <a:gd name="connsiteX3477" fmla="*/ 548181 w 774525"/>
                    <a:gd name="connsiteY3477" fmla="*/ 636594 h 1153700"/>
                    <a:gd name="connsiteX3478" fmla="*/ 548411 w 774525"/>
                    <a:gd name="connsiteY3478" fmla="*/ 634371 h 1153700"/>
                    <a:gd name="connsiteX3479" fmla="*/ 548521 w 774525"/>
                    <a:gd name="connsiteY3479" fmla="*/ 633412 h 1153700"/>
                    <a:gd name="connsiteX3480" fmla="*/ 548314 w 774525"/>
                    <a:gd name="connsiteY3480" fmla="*/ 632368 h 1153700"/>
                    <a:gd name="connsiteX3481" fmla="*/ 547537 w 774525"/>
                    <a:gd name="connsiteY3481" fmla="*/ 628943 h 1153700"/>
                    <a:gd name="connsiteX3482" fmla="*/ 547574 w 774525"/>
                    <a:gd name="connsiteY3482" fmla="*/ 628871 h 1153700"/>
                    <a:gd name="connsiteX3483" fmla="*/ 547634 w 774525"/>
                    <a:gd name="connsiteY3483" fmla="*/ 628810 h 1153700"/>
                    <a:gd name="connsiteX3484" fmla="*/ 547999 w 774525"/>
                    <a:gd name="connsiteY3484" fmla="*/ 628676 h 1153700"/>
                    <a:gd name="connsiteX3485" fmla="*/ 550646 w 774525"/>
                    <a:gd name="connsiteY3485" fmla="*/ 627693 h 1153700"/>
                    <a:gd name="connsiteX3486" fmla="*/ 552990 w 774525"/>
                    <a:gd name="connsiteY3486" fmla="*/ 626636 h 1153700"/>
                    <a:gd name="connsiteX3487" fmla="*/ 554034 w 774525"/>
                    <a:gd name="connsiteY3487" fmla="*/ 626151 h 1153700"/>
                    <a:gd name="connsiteX3488" fmla="*/ 557543 w 774525"/>
                    <a:gd name="connsiteY3488" fmla="*/ 624511 h 1153700"/>
                    <a:gd name="connsiteX3489" fmla="*/ 557543 w 774525"/>
                    <a:gd name="connsiteY3489" fmla="*/ 621731 h 1153700"/>
                    <a:gd name="connsiteX3490" fmla="*/ 558150 w 774525"/>
                    <a:gd name="connsiteY3490" fmla="*/ 620893 h 1153700"/>
                    <a:gd name="connsiteX3491" fmla="*/ 559255 w 774525"/>
                    <a:gd name="connsiteY3491" fmla="*/ 619302 h 1153700"/>
                    <a:gd name="connsiteX3492" fmla="*/ 559729 w 774525"/>
                    <a:gd name="connsiteY3492" fmla="*/ 618610 h 1153700"/>
                    <a:gd name="connsiteX3493" fmla="*/ 559996 w 774525"/>
                    <a:gd name="connsiteY3493" fmla="*/ 617821 h 1153700"/>
                    <a:gd name="connsiteX3494" fmla="*/ 560639 w 774525"/>
                    <a:gd name="connsiteY3494" fmla="*/ 615987 h 1153700"/>
                    <a:gd name="connsiteX3495" fmla="*/ 561599 w 774525"/>
                    <a:gd name="connsiteY3495" fmla="*/ 613243 h 1153700"/>
                    <a:gd name="connsiteX3496" fmla="*/ 560275 w 774525"/>
                    <a:gd name="connsiteY3496" fmla="*/ 611118 h 1153700"/>
                    <a:gd name="connsiteX3497" fmla="*/ 560226 w 774525"/>
                    <a:gd name="connsiteY3497" fmla="*/ 610753 h 1153700"/>
                    <a:gd name="connsiteX3498" fmla="*/ 559996 w 774525"/>
                    <a:gd name="connsiteY3498" fmla="*/ 609175 h 1153700"/>
                    <a:gd name="connsiteX3499" fmla="*/ 559899 w 774525"/>
                    <a:gd name="connsiteY3499" fmla="*/ 608471 h 1153700"/>
                    <a:gd name="connsiteX3500" fmla="*/ 559644 w 774525"/>
                    <a:gd name="connsiteY3500" fmla="*/ 607803 h 1153700"/>
                    <a:gd name="connsiteX3501" fmla="*/ 559559 w 774525"/>
                    <a:gd name="connsiteY3501" fmla="*/ 607584 h 1153700"/>
                    <a:gd name="connsiteX3502" fmla="*/ 558624 w 774525"/>
                    <a:gd name="connsiteY3502" fmla="*/ 600493 h 1153700"/>
                    <a:gd name="connsiteX3503" fmla="*/ 558405 w 774525"/>
                    <a:gd name="connsiteY3503" fmla="*/ 598902 h 1153700"/>
                    <a:gd name="connsiteX3504" fmla="*/ 557422 w 774525"/>
                    <a:gd name="connsiteY3504" fmla="*/ 597615 h 1153700"/>
                    <a:gd name="connsiteX3505" fmla="*/ 553123 w 774525"/>
                    <a:gd name="connsiteY3505" fmla="*/ 591980 h 1153700"/>
                    <a:gd name="connsiteX3506" fmla="*/ 552407 w 774525"/>
                    <a:gd name="connsiteY3506" fmla="*/ 591046 h 1153700"/>
                    <a:gd name="connsiteX3507" fmla="*/ 551399 w 774525"/>
                    <a:gd name="connsiteY3507" fmla="*/ 590450 h 1153700"/>
                    <a:gd name="connsiteX3508" fmla="*/ 546238 w 774525"/>
                    <a:gd name="connsiteY3508" fmla="*/ 587378 h 1153700"/>
                    <a:gd name="connsiteX3509" fmla="*/ 545254 w 774525"/>
                    <a:gd name="connsiteY3509" fmla="*/ 586795 h 1153700"/>
                    <a:gd name="connsiteX3510" fmla="*/ 544416 w 774525"/>
                    <a:gd name="connsiteY3510" fmla="*/ 586285 h 1153700"/>
                    <a:gd name="connsiteX3511" fmla="*/ 543445 w 774525"/>
                    <a:gd name="connsiteY3511" fmla="*/ 586067 h 1153700"/>
                    <a:gd name="connsiteX3512" fmla="*/ 539365 w 774525"/>
                    <a:gd name="connsiteY3512" fmla="*/ 585180 h 1153700"/>
                    <a:gd name="connsiteX3513" fmla="*/ 534532 w 774525"/>
                    <a:gd name="connsiteY3513" fmla="*/ 584136 h 1153700"/>
                    <a:gd name="connsiteX3514" fmla="*/ 532528 w 774525"/>
                    <a:gd name="connsiteY3514" fmla="*/ 588665 h 1153700"/>
                    <a:gd name="connsiteX3515" fmla="*/ 530719 w 774525"/>
                    <a:gd name="connsiteY3515" fmla="*/ 592746 h 1153700"/>
                    <a:gd name="connsiteX3516" fmla="*/ 529881 w 774525"/>
                    <a:gd name="connsiteY3516" fmla="*/ 594020 h 1153700"/>
                    <a:gd name="connsiteX3517" fmla="*/ 524138 w 774525"/>
                    <a:gd name="connsiteY3517" fmla="*/ 592126 h 1153700"/>
                    <a:gd name="connsiteX3518" fmla="*/ 521782 w 774525"/>
                    <a:gd name="connsiteY3518" fmla="*/ 591349 h 1153700"/>
                    <a:gd name="connsiteX3519" fmla="*/ 521005 w 774525"/>
                    <a:gd name="connsiteY3519" fmla="*/ 591094 h 1153700"/>
                    <a:gd name="connsiteX3520" fmla="*/ 520191 w 774525"/>
                    <a:gd name="connsiteY3520" fmla="*/ 591058 h 1153700"/>
                    <a:gd name="connsiteX3521" fmla="*/ 516524 w 774525"/>
                    <a:gd name="connsiteY3521" fmla="*/ 590875 h 1153700"/>
                    <a:gd name="connsiteX3522" fmla="*/ 508534 w 774525"/>
                    <a:gd name="connsiteY3522" fmla="*/ 590499 h 1153700"/>
                    <a:gd name="connsiteX3523" fmla="*/ 506081 w 774525"/>
                    <a:gd name="connsiteY3523" fmla="*/ 589977 h 1153700"/>
                    <a:gd name="connsiteX3524" fmla="*/ 498176 w 774525"/>
                    <a:gd name="connsiteY3524" fmla="*/ 583881 h 1153700"/>
                    <a:gd name="connsiteX3525" fmla="*/ 493282 w 774525"/>
                    <a:gd name="connsiteY3525" fmla="*/ 580105 h 1153700"/>
                    <a:gd name="connsiteX3526" fmla="*/ 492833 w 774525"/>
                    <a:gd name="connsiteY3526" fmla="*/ 579752 h 1153700"/>
                    <a:gd name="connsiteX3527" fmla="*/ 492323 w 774525"/>
                    <a:gd name="connsiteY3527" fmla="*/ 579498 h 1153700"/>
                    <a:gd name="connsiteX3528" fmla="*/ 467697 w 774525"/>
                    <a:gd name="connsiteY3528" fmla="*/ 566990 h 1153700"/>
                    <a:gd name="connsiteX3529" fmla="*/ 443083 w 774525"/>
                    <a:gd name="connsiteY3529" fmla="*/ 554471 h 1153700"/>
                    <a:gd name="connsiteX3530" fmla="*/ 442379 w 774525"/>
                    <a:gd name="connsiteY3530" fmla="*/ 554119 h 1153700"/>
                    <a:gd name="connsiteX3531" fmla="*/ 441626 w 774525"/>
                    <a:gd name="connsiteY3531" fmla="*/ 553949 h 1153700"/>
                    <a:gd name="connsiteX3532" fmla="*/ 439295 w 774525"/>
                    <a:gd name="connsiteY3532" fmla="*/ 553439 h 1153700"/>
                    <a:gd name="connsiteX3533" fmla="*/ 438105 w 774525"/>
                    <a:gd name="connsiteY3533" fmla="*/ 551399 h 1153700"/>
                    <a:gd name="connsiteX3534" fmla="*/ 437887 w 774525"/>
                    <a:gd name="connsiteY3534" fmla="*/ 551047 h 1153700"/>
                    <a:gd name="connsiteX3535" fmla="*/ 437643 w 774525"/>
                    <a:gd name="connsiteY3535" fmla="*/ 550731 h 1153700"/>
                    <a:gd name="connsiteX3536" fmla="*/ 436830 w 774525"/>
                    <a:gd name="connsiteY3536" fmla="*/ 549674 h 1153700"/>
                    <a:gd name="connsiteX3537" fmla="*/ 436283 w 774525"/>
                    <a:gd name="connsiteY3537" fmla="*/ 548994 h 1153700"/>
                    <a:gd name="connsiteX3538" fmla="*/ 436283 w 774525"/>
                    <a:gd name="connsiteY3538" fmla="*/ 540227 h 1153700"/>
                    <a:gd name="connsiteX3539" fmla="*/ 436283 w 774525"/>
                    <a:gd name="connsiteY3539" fmla="*/ 538855 h 1153700"/>
                    <a:gd name="connsiteX3540" fmla="*/ 435689 w 774525"/>
                    <a:gd name="connsiteY3540" fmla="*/ 537616 h 1153700"/>
                    <a:gd name="connsiteX3541" fmla="*/ 435215 w 774525"/>
                    <a:gd name="connsiteY3541" fmla="*/ 536621 h 1153700"/>
                    <a:gd name="connsiteX3542" fmla="*/ 434766 w 774525"/>
                    <a:gd name="connsiteY3542" fmla="*/ 535674 h 1153700"/>
                    <a:gd name="connsiteX3543" fmla="*/ 433940 w 774525"/>
                    <a:gd name="connsiteY3543" fmla="*/ 534739 h 1153700"/>
                    <a:gd name="connsiteX3544" fmla="*/ 431973 w 774525"/>
                    <a:gd name="connsiteY3544" fmla="*/ 532771 h 1153700"/>
                    <a:gd name="connsiteX3545" fmla="*/ 430601 w 774525"/>
                    <a:gd name="connsiteY3545" fmla="*/ 529711 h 1153700"/>
                    <a:gd name="connsiteX3546" fmla="*/ 429593 w 774525"/>
                    <a:gd name="connsiteY3546" fmla="*/ 527489 h 1153700"/>
                    <a:gd name="connsiteX3547" fmla="*/ 427334 w 774525"/>
                    <a:gd name="connsiteY3547" fmla="*/ 526579 h 1153700"/>
                    <a:gd name="connsiteX3548" fmla="*/ 425780 w 774525"/>
                    <a:gd name="connsiteY3548" fmla="*/ 525947 h 1153700"/>
                    <a:gd name="connsiteX3549" fmla="*/ 425270 w 774525"/>
                    <a:gd name="connsiteY3549" fmla="*/ 525741 h 1153700"/>
                    <a:gd name="connsiteX3550" fmla="*/ 425282 w 774525"/>
                    <a:gd name="connsiteY3550" fmla="*/ 525644 h 1153700"/>
                    <a:gd name="connsiteX3551" fmla="*/ 425780 w 774525"/>
                    <a:gd name="connsiteY3551" fmla="*/ 524502 h 1153700"/>
                    <a:gd name="connsiteX3552" fmla="*/ 426302 w 774525"/>
                    <a:gd name="connsiteY3552" fmla="*/ 523276 h 1153700"/>
                    <a:gd name="connsiteX3553" fmla="*/ 428378 w 774525"/>
                    <a:gd name="connsiteY3553" fmla="*/ 520301 h 1153700"/>
                    <a:gd name="connsiteX3554" fmla="*/ 429241 w 774525"/>
                    <a:gd name="connsiteY3554" fmla="*/ 519038 h 1153700"/>
                    <a:gd name="connsiteX3555" fmla="*/ 429423 w 774525"/>
                    <a:gd name="connsiteY3555" fmla="*/ 517520 h 1153700"/>
                    <a:gd name="connsiteX3556" fmla="*/ 429908 w 774525"/>
                    <a:gd name="connsiteY3556" fmla="*/ 512821 h 1153700"/>
                    <a:gd name="connsiteX3557" fmla="*/ 432191 w 774525"/>
                    <a:gd name="connsiteY3557" fmla="*/ 512432 h 1153700"/>
                    <a:gd name="connsiteX3558" fmla="*/ 433649 w 774525"/>
                    <a:gd name="connsiteY3558" fmla="*/ 510416 h 1153700"/>
                    <a:gd name="connsiteX3559" fmla="*/ 434498 w 774525"/>
                    <a:gd name="connsiteY3559" fmla="*/ 509238 h 1153700"/>
                    <a:gd name="connsiteX3560" fmla="*/ 434996 w 774525"/>
                    <a:gd name="connsiteY3560" fmla="*/ 508546 h 1153700"/>
                    <a:gd name="connsiteX3561" fmla="*/ 435944 w 774525"/>
                    <a:gd name="connsiteY3561" fmla="*/ 507223 h 1153700"/>
                    <a:gd name="connsiteX3562" fmla="*/ 436102 w 774525"/>
                    <a:gd name="connsiteY3562" fmla="*/ 505596 h 1153700"/>
                    <a:gd name="connsiteX3563" fmla="*/ 436126 w 774525"/>
                    <a:gd name="connsiteY3563" fmla="*/ 505328 h 1153700"/>
                    <a:gd name="connsiteX3564" fmla="*/ 438032 w 774525"/>
                    <a:gd name="connsiteY3564" fmla="*/ 505632 h 1153700"/>
                    <a:gd name="connsiteX3565" fmla="*/ 439999 w 774525"/>
                    <a:gd name="connsiteY3565" fmla="*/ 501564 h 1153700"/>
                    <a:gd name="connsiteX3566" fmla="*/ 440339 w 774525"/>
                    <a:gd name="connsiteY3566" fmla="*/ 500848 h 1153700"/>
                    <a:gd name="connsiteX3567" fmla="*/ 441262 w 774525"/>
                    <a:gd name="connsiteY3567" fmla="*/ 498966 h 1153700"/>
                    <a:gd name="connsiteX3568" fmla="*/ 442258 w 774525"/>
                    <a:gd name="connsiteY3568" fmla="*/ 498031 h 1153700"/>
                    <a:gd name="connsiteX3569" fmla="*/ 443096 w 774525"/>
                    <a:gd name="connsiteY3569" fmla="*/ 497229 h 1153700"/>
                    <a:gd name="connsiteX3570" fmla="*/ 443557 w 774525"/>
                    <a:gd name="connsiteY3570" fmla="*/ 496804 h 1153700"/>
                    <a:gd name="connsiteX3571" fmla="*/ 443909 w 774525"/>
                    <a:gd name="connsiteY3571" fmla="*/ 496294 h 1153700"/>
                    <a:gd name="connsiteX3572" fmla="*/ 445694 w 774525"/>
                    <a:gd name="connsiteY3572" fmla="*/ 493732 h 1153700"/>
                    <a:gd name="connsiteX3573" fmla="*/ 447054 w 774525"/>
                    <a:gd name="connsiteY3573" fmla="*/ 491777 h 1153700"/>
                    <a:gd name="connsiteX3574" fmla="*/ 446727 w 774525"/>
                    <a:gd name="connsiteY3574" fmla="*/ 489421 h 1153700"/>
                    <a:gd name="connsiteX3575" fmla="*/ 446204 w 774525"/>
                    <a:gd name="connsiteY3575" fmla="*/ 485632 h 1153700"/>
                    <a:gd name="connsiteX3576" fmla="*/ 446119 w 774525"/>
                    <a:gd name="connsiteY3576" fmla="*/ 485001 h 1153700"/>
                    <a:gd name="connsiteX3577" fmla="*/ 445901 w 774525"/>
                    <a:gd name="connsiteY3577" fmla="*/ 484406 h 1153700"/>
                    <a:gd name="connsiteX3578" fmla="*/ 445318 w 774525"/>
                    <a:gd name="connsiteY3578" fmla="*/ 482791 h 1153700"/>
                    <a:gd name="connsiteX3579" fmla="*/ 443800 w 774525"/>
                    <a:gd name="connsiteY3579" fmla="*/ 478553 h 1153700"/>
                    <a:gd name="connsiteX3580" fmla="*/ 447540 w 774525"/>
                    <a:gd name="connsiteY3580" fmla="*/ 476574 h 1153700"/>
                    <a:gd name="connsiteX3581" fmla="*/ 449325 w 774525"/>
                    <a:gd name="connsiteY3581" fmla="*/ 475979 h 1153700"/>
                    <a:gd name="connsiteX3582" fmla="*/ 449835 w 774525"/>
                    <a:gd name="connsiteY3582" fmla="*/ 476028 h 1153700"/>
                    <a:gd name="connsiteX3583" fmla="*/ 450163 w 774525"/>
                    <a:gd name="connsiteY3583" fmla="*/ 476052 h 1153700"/>
                    <a:gd name="connsiteX3584" fmla="*/ 451086 w 774525"/>
                    <a:gd name="connsiteY3584" fmla="*/ 476659 h 1153700"/>
                    <a:gd name="connsiteX3585" fmla="*/ 451341 w 774525"/>
                    <a:gd name="connsiteY3585" fmla="*/ 476999 h 1153700"/>
                    <a:gd name="connsiteX3586" fmla="*/ 452652 w 774525"/>
                    <a:gd name="connsiteY3586" fmla="*/ 478687 h 1153700"/>
                    <a:gd name="connsiteX3587" fmla="*/ 453611 w 774525"/>
                    <a:gd name="connsiteY3587" fmla="*/ 480848 h 1153700"/>
                    <a:gd name="connsiteX3588" fmla="*/ 453648 w 774525"/>
                    <a:gd name="connsiteY3588" fmla="*/ 481552 h 1153700"/>
                    <a:gd name="connsiteX3589" fmla="*/ 453745 w 774525"/>
                    <a:gd name="connsiteY3589" fmla="*/ 483350 h 1153700"/>
                    <a:gd name="connsiteX3590" fmla="*/ 454024 w 774525"/>
                    <a:gd name="connsiteY3590" fmla="*/ 488729 h 1153700"/>
                    <a:gd name="connsiteX3591" fmla="*/ 459392 w 774525"/>
                    <a:gd name="connsiteY3591" fmla="*/ 489081 h 1153700"/>
                    <a:gd name="connsiteX3592" fmla="*/ 461067 w 774525"/>
                    <a:gd name="connsiteY3592" fmla="*/ 489191 h 1153700"/>
                    <a:gd name="connsiteX3593" fmla="*/ 468377 w 774525"/>
                    <a:gd name="connsiteY3593" fmla="*/ 491085 h 1153700"/>
                    <a:gd name="connsiteX3594" fmla="*/ 468863 w 774525"/>
                    <a:gd name="connsiteY3594" fmla="*/ 491206 h 1153700"/>
                    <a:gd name="connsiteX3595" fmla="*/ 469349 w 774525"/>
                    <a:gd name="connsiteY3595" fmla="*/ 491255 h 1153700"/>
                    <a:gd name="connsiteX3596" fmla="*/ 472518 w 774525"/>
                    <a:gd name="connsiteY3596" fmla="*/ 491546 h 1153700"/>
                    <a:gd name="connsiteX3597" fmla="*/ 474825 w 774525"/>
                    <a:gd name="connsiteY3597" fmla="*/ 491753 h 1153700"/>
                    <a:gd name="connsiteX3598" fmla="*/ 476671 w 774525"/>
                    <a:gd name="connsiteY3598" fmla="*/ 490380 h 1153700"/>
                    <a:gd name="connsiteX3599" fmla="*/ 478395 w 774525"/>
                    <a:gd name="connsiteY3599" fmla="*/ 489118 h 1153700"/>
                    <a:gd name="connsiteX3600" fmla="*/ 479403 w 774525"/>
                    <a:gd name="connsiteY3600" fmla="*/ 488365 h 1153700"/>
                    <a:gd name="connsiteX3601" fmla="*/ 480034 w 774525"/>
                    <a:gd name="connsiteY3601" fmla="*/ 487272 h 1153700"/>
                    <a:gd name="connsiteX3602" fmla="*/ 482232 w 774525"/>
                    <a:gd name="connsiteY3602" fmla="*/ 483483 h 1153700"/>
                    <a:gd name="connsiteX3603" fmla="*/ 483216 w 774525"/>
                    <a:gd name="connsiteY3603" fmla="*/ 481759 h 1153700"/>
                    <a:gd name="connsiteX3604" fmla="*/ 486895 w 774525"/>
                    <a:gd name="connsiteY3604" fmla="*/ 477120 h 1153700"/>
                    <a:gd name="connsiteX3605" fmla="*/ 489494 w 774525"/>
                    <a:gd name="connsiteY3605" fmla="*/ 473842 h 1153700"/>
                    <a:gd name="connsiteX3606" fmla="*/ 489882 w 774525"/>
                    <a:gd name="connsiteY3606" fmla="*/ 473344 h 1153700"/>
                    <a:gd name="connsiteX3607" fmla="*/ 490162 w 774525"/>
                    <a:gd name="connsiteY3607" fmla="*/ 472785 h 1153700"/>
                    <a:gd name="connsiteX3608" fmla="*/ 490927 w 774525"/>
                    <a:gd name="connsiteY3608" fmla="*/ 471255 h 1153700"/>
                    <a:gd name="connsiteX3609" fmla="*/ 492469 w 774525"/>
                    <a:gd name="connsiteY3609" fmla="*/ 468135 h 1153700"/>
                    <a:gd name="connsiteX3610" fmla="*/ 492943 w 774525"/>
                    <a:gd name="connsiteY3610" fmla="*/ 467163 h 1153700"/>
                    <a:gd name="connsiteX3611" fmla="*/ 493064 w 774525"/>
                    <a:gd name="connsiteY3611" fmla="*/ 466095 h 1153700"/>
                    <a:gd name="connsiteX3612" fmla="*/ 493440 w 774525"/>
                    <a:gd name="connsiteY3612" fmla="*/ 462634 h 1153700"/>
                    <a:gd name="connsiteX3613" fmla="*/ 494048 w 774525"/>
                    <a:gd name="connsiteY3613" fmla="*/ 461881 h 1153700"/>
                    <a:gd name="connsiteX3614" fmla="*/ 496610 w 774525"/>
                    <a:gd name="connsiteY3614" fmla="*/ 458736 h 1153700"/>
                    <a:gd name="connsiteX3615" fmla="*/ 497217 w 774525"/>
                    <a:gd name="connsiteY3615" fmla="*/ 457983 h 1153700"/>
                    <a:gd name="connsiteX3616" fmla="*/ 497557 w 774525"/>
                    <a:gd name="connsiteY3616" fmla="*/ 457084 h 1153700"/>
                    <a:gd name="connsiteX3617" fmla="*/ 499378 w 774525"/>
                    <a:gd name="connsiteY3617" fmla="*/ 452312 h 1153700"/>
                    <a:gd name="connsiteX3618" fmla="*/ 499815 w 774525"/>
                    <a:gd name="connsiteY3618" fmla="*/ 451171 h 1153700"/>
                    <a:gd name="connsiteX3619" fmla="*/ 500071 w 774525"/>
                    <a:gd name="connsiteY3619" fmla="*/ 450467 h 1153700"/>
                    <a:gd name="connsiteX3620" fmla="*/ 500155 w 774525"/>
                    <a:gd name="connsiteY3620" fmla="*/ 449714 h 1153700"/>
                    <a:gd name="connsiteX3621" fmla="*/ 500933 w 774525"/>
                    <a:gd name="connsiteY3621" fmla="*/ 443157 h 1153700"/>
                    <a:gd name="connsiteX3622" fmla="*/ 501686 w 774525"/>
                    <a:gd name="connsiteY3622" fmla="*/ 436587 h 1153700"/>
                    <a:gd name="connsiteX3623" fmla="*/ 501746 w 774525"/>
                    <a:gd name="connsiteY3623" fmla="*/ 436101 h 1153700"/>
                    <a:gd name="connsiteX3624" fmla="*/ 501734 w 774525"/>
                    <a:gd name="connsiteY3624" fmla="*/ 435604 h 1153700"/>
                    <a:gd name="connsiteX3625" fmla="*/ 501333 w 774525"/>
                    <a:gd name="connsiteY3625" fmla="*/ 426727 h 1153700"/>
                    <a:gd name="connsiteX3626" fmla="*/ 503155 w 774525"/>
                    <a:gd name="connsiteY3626" fmla="*/ 426424 h 1153700"/>
                    <a:gd name="connsiteX3627" fmla="*/ 504612 w 774525"/>
                    <a:gd name="connsiteY3627" fmla="*/ 426800 h 1153700"/>
                    <a:gd name="connsiteX3628" fmla="*/ 510210 w 774525"/>
                    <a:gd name="connsiteY3628" fmla="*/ 428949 h 1153700"/>
                    <a:gd name="connsiteX3629" fmla="*/ 510513 w 774525"/>
                    <a:gd name="connsiteY3629" fmla="*/ 429071 h 1153700"/>
                    <a:gd name="connsiteX3630" fmla="*/ 510829 w 774525"/>
                    <a:gd name="connsiteY3630" fmla="*/ 429156 h 1153700"/>
                    <a:gd name="connsiteX3631" fmla="*/ 515358 w 774525"/>
                    <a:gd name="connsiteY3631" fmla="*/ 430346 h 1153700"/>
                    <a:gd name="connsiteX3632" fmla="*/ 515832 w 774525"/>
                    <a:gd name="connsiteY3632" fmla="*/ 430564 h 1153700"/>
                    <a:gd name="connsiteX3633" fmla="*/ 516719 w 774525"/>
                    <a:gd name="connsiteY3633" fmla="*/ 430953 h 1153700"/>
                    <a:gd name="connsiteX3634" fmla="*/ 517690 w 774525"/>
                    <a:gd name="connsiteY3634" fmla="*/ 431050 h 1153700"/>
                    <a:gd name="connsiteX3635" fmla="*/ 518673 w 774525"/>
                    <a:gd name="connsiteY3635" fmla="*/ 431147 h 1153700"/>
                    <a:gd name="connsiteX3636" fmla="*/ 520495 w 774525"/>
                    <a:gd name="connsiteY3636" fmla="*/ 431001 h 1153700"/>
                    <a:gd name="connsiteX3637" fmla="*/ 522608 w 774525"/>
                    <a:gd name="connsiteY3637" fmla="*/ 430516 h 1153700"/>
                    <a:gd name="connsiteX3638" fmla="*/ 523640 w 774525"/>
                    <a:gd name="connsiteY3638" fmla="*/ 430273 h 1153700"/>
                    <a:gd name="connsiteX3639" fmla="*/ 524526 w 774525"/>
                    <a:gd name="connsiteY3639" fmla="*/ 429702 h 1153700"/>
                    <a:gd name="connsiteX3640" fmla="*/ 525194 w 774525"/>
                    <a:gd name="connsiteY3640" fmla="*/ 429277 h 1153700"/>
                    <a:gd name="connsiteX3641" fmla="*/ 525862 w 774525"/>
                    <a:gd name="connsiteY3641" fmla="*/ 428852 h 1153700"/>
                    <a:gd name="connsiteX3642" fmla="*/ 526530 w 774525"/>
                    <a:gd name="connsiteY3642" fmla="*/ 428427 h 1153700"/>
                    <a:gd name="connsiteX3643" fmla="*/ 527064 w 774525"/>
                    <a:gd name="connsiteY3643" fmla="*/ 427844 h 1153700"/>
                    <a:gd name="connsiteX3644" fmla="*/ 528084 w 774525"/>
                    <a:gd name="connsiteY3644" fmla="*/ 426727 h 1153700"/>
                    <a:gd name="connsiteX3645" fmla="*/ 530792 w 774525"/>
                    <a:gd name="connsiteY3645" fmla="*/ 426812 h 1153700"/>
                    <a:gd name="connsiteX3646" fmla="*/ 532504 w 774525"/>
                    <a:gd name="connsiteY3646" fmla="*/ 426849 h 1153700"/>
                    <a:gd name="connsiteX3647" fmla="*/ 537289 w 774525"/>
                    <a:gd name="connsiteY3647" fmla="*/ 427759 h 1153700"/>
                    <a:gd name="connsiteX3648" fmla="*/ 540907 w 774525"/>
                    <a:gd name="connsiteY3648" fmla="*/ 429071 h 1153700"/>
                    <a:gd name="connsiteX3649" fmla="*/ 548023 w 774525"/>
                    <a:gd name="connsiteY3649" fmla="*/ 431657 h 1153700"/>
                    <a:gd name="connsiteX3650" fmla="*/ 548751 w 774525"/>
                    <a:gd name="connsiteY3650" fmla="*/ 431924 h 1153700"/>
                    <a:gd name="connsiteX3651" fmla="*/ 549504 w 774525"/>
                    <a:gd name="connsiteY3651" fmla="*/ 431997 h 1153700"/>
                    <a:gd name="connsiteX3652" fmla="*/ 556717 w 774525"/>
                    <a:gd name="connsiteY3652" fmla="*/ 432701 h 1153700"/>
                    <a:gd name="connsiteX3653" fmla="*/ 560712 w 774525"/>
                    <a:gd name="connsiteY3653" fmla="*/ 433090 h 1153700"/>
                    <a:gd name="connsiteX3654" fmla="*/ 562983 w 774525"/>
                    <a:gd name="connsiteY3654" fmla="*/ 433309 h 1153700"/>
                    <a:gd name="connsiteX3655" fmla="*/ 564829 w 774525"/>
                    <a:gd name="connsiteY3655" fmla="*/ 431985 h 1153700"/>
                    <a:gd name="connsiteX3656" fmla="*/ 566395 w 774525"/>
                    <a:gd name="connsiteY3656" fmla="*/ 430868 h 1153700"/>
                    <a:gd name="connsiteX3657" fmla="*/ 567731 w 774525"/>
                    <a:gd name="connsiteY3657" fmla="*/ 429909 h 1153700"/>
                    <a:gd name="connsiteX3658" fmla="*/ 568399 w 774525"/>
                    <a:gd name="connsiteY3658" fmla="*/ 428391 h 1153700"/>
                    <a:gd name="connsiteX3659" fmla="*/ 568994 w 774525"/>
                    <a:gd name="connsiteY3659" fmla="*/ 427067 h 1153700"/>
                    <a:gd name="connsiteX3660" fmla="*/ 580821 w 774525"/>
                    <a:gd name="connsiteY3660" fmla="*/ 431123 h 1153700"/>
                    <a:gd name="connsiteX3661" fmla="*/ 581598 w 774525"/>
                    <a:gd name="connsiteY3661" fmla="*/ 431390 h 1153700"/>
                    <a:gd name="connsiteX3662" fmla="*/ 582412 w 774525"/>
                    <a:gd name="connsiteY3662" fmla="*/ 431439 h 1153700"/>
                    <a:gd name="connsiteX3663" fmla="*/ 584063 w 774525"/>
                    <a:gd name="connsiteY3663" fmla="*/ 431536 h 1153700"/>
                    <a:gd name="connsiteX3664" fmla="*/ 587184 w 774525"/>
                    <a:gd name="connsiteY3664" fmla="*/ 431718 h 1153700"/>
                    <a:gd name="connsiteX3665" fmla="*/ 598987 w 774525"/>
                    <a:gd name="connsiteY3665" fmla="*/ 432422 h 1153700"/>
                    <a:gd name="connsiteX3666" fmla="*/ 593693 w 774525"/>
                    <a:gd name="connsiteY3666" fmla="*/ 424044 h 1153700"/>
                    <a:gd name="connsiteX3667" fmla="*/ 594166 w 774525"/>
                    <a:gd name="connsiteY3667" fmla="*/ 422247 h 1153700"/>
                    <a:gd name="connsiteX3668" fmla="*/ 594421 w 774525"/>
                    <a:gd name="connsiteY3668" fmla="*/ 421251 h 1153700"/>
                    <a:gd name="connsiteX3669" fmla="*/ 594676 w 774525"/>
                    <a:gd name="connsiteY3669" fmla="*/ 420243 h 1153700"/>
                    <a:gd name="connsiteX3670" fmla="*/ 595028 w 774525"/>
                    <a:gd name="connsiteY3670" fmla="*/ 418895 h 1153700"/>
                    <a:gd name="connsiteX3671" fmla="*/ 594761 w 774525"/>
                    <a:gd name="connsiteY3671" fmla="*/ 417523 h 1153700"/>
                    <a:gd name="connsiteX3672" fmla="*/ 594397 w 774525"/>
                    <a:gd name="connsiteY3672" fmla="*/ 415653 h 1153700"/>
                    <a:gd name="connsiteX3673" fmla="*/ 594397 w 774525"/>
                    <a:gd name="connsiteY3673" fmla="*/ 415641 h 1153700"/>
                    <a:gd name="connsiteX3674" fmla="*/ 600699 w 774525"/>
                    <a:gd name="connsiteY3674" fmla="*/ 411184 h 1153700"/>
                    <a:gd name="connsiteX3675" fmla="*/ 601598 w 774525"/>
                    <a:gd name="connsiteY3675" fmla="*/ 410541 h 1153700"/>
                    <a:gd name="connsiteX3676" fmla="*/ 602217 w 774525"/>
                    <a:gd name="connsiteY3676" fmla="*/ 409630 h 1153700"/>
                    <a:gd name="connsiteX3677" fmla="*/ 603541 w 774525"/>
                    <a:gd name="connsiteY3677" fmla="*/ 407675 h 1153700"/>
                    <a:gd name="connsiteX3678" fmla="*/ 604172 w 774525"/>
                    <a:gd name="connsiteY3678" fmla="*/ 406740 h 1153700"/>
                    <a:gd name="connsiteX3679" fmla="*/ 604427 w 774525"/>
                    <a:gd name="connsiteY3679" fmla="*/ 405635 h 1153700"/>
                    <a:gd name="connsiteX3680" fmla="*/ 604888 w 774525"/>
                    <a:gd name="connsiteY3680" fmla="*/ 403631 h 1153700"/>
                    <a:gd name="connsiteX3681" fmla="*/ 605192 w 774525"/>
                    <a:gd name="connsiteY3681" fmla="*/ 402308 h 1153700"/>
                    <a:gd name="connsiteX3682" fmla="*/ 604901 w 774525"/>
                    <a:gd name="connsiteY3682" fmla="*/ 400984 h 1153700"/>
                    <a:gd name="connsiteX3683" fmla="*/ 604488 w 774525"/>
                    <a:gd name="connsiteY3683" fmla="*/ 399078 h 1153700"/>
                    <a:gd name="connsiteX3684" fmla="*/ 604172 w 774525"/>
                    <a:gd name="connsiteY3684" fmla="*/ 397596 h 1153700"/>
                    <a:gd name="connsiteX3685" fmla="*/ 603200 w 774525"/>
                    <a:gd name="connsiteY3685" fmla="*/ 396443 h 1153700"/>
                    <a:gd name="connsiteX3686" fmla="*/ 601828 w 774525"/>
                    <a:gd name="connsiteY3686" fmla="*/ 394816 h 1153700"/>
                    <a:gd name="connsiteX3687" fmla="*/ 599897 w 774525"/>
                    <a:gd name="connsiteY3687" fmla="*/ 392533 h 1153700"/>
                    <a:gd name="connsiteX3688" fmla="*/ 596922 w 774525"/>
                    <a:gd name="connsiteY3688" fmla="*/ 392666 h 1153700"/>
                    <a:gd name="connsiteX3689" fmla="*/ 592539 w 774525"/>
                    <a:gd name="connsiteY3689" fmla="*/ 392873 h 1153700"/>
                    <a:gd name="connsiteX3690" fmla="*/ 588265 w 774525"/>
                    <a:gd name="connsiteY3690" fmla="*/ 393079 h 1153700"/>
                    <a:gd name="connsiteX3691" fmla="*/ 586407 w 774525"/>
                    <a:gd name="connsiteY3691" fmla="*/ 392836 h 1153700"/>
                    <a:gd name="connsiteX3692" fmla="*/ 584695 w 774525"/>
                    <a:gd name="connsiteY3692" fmla="*/ 391136 h 1153700"/>
                    <a:gd name="connsiteX3693" fmla="*/ 583213 w 774525"/>
                    <a:gd name="connsiteY3693" fmla="*/ 389873 h 1153700"/>
                    <a:gd name="connsiteX3694" fmla="*/ 581695 w 774525"/>
                    <a:gd name="connsiteY3694" fmla="*/ 388623 h 1153700"/>
                    <a:gd name="connsiteX3695" fmla="*/ 579740 w 774525"/>
                    <a:gd name="connsiteY3695" fmla="*/ 388501 h 1153700"/>
                    <a:gd name="connsiteX3696" fmla="*/ 576389 w 774525"/>
                    <a:gd name="connsiteY3696" fmla="*/ 388283 h 1153700"/>
                    <a:gd name="connsiteX3697" fmla="*/ 573098 w 774525"/>
                    <a:gd name="connsiteY3697" fmla="*/ 384275 h 1153700"/>
                    <a:gd name="connsiteX3698" fmla="*/ 573062 w 774525"/>
                    <a:gd name="connsiteY3698" fmla="*/ 384178 h 1153700"/>
                    <a:gd name="connsiteX3699" fmla="*/ 572916 w 774525"/>
                    <a:gd name="connsiteY3699" fmla="*/ 383802 h 1153700"/>
                    <a:gd name="connsiteX3700" fmla="*/ 572904 w 774525"/>
                    <a:gd name="connsiteY3700" fmla="*/ 383656 h 1153700"/>
                    <a:gd name="connsiteX3701" fmla="*/ 572794 w 774525"/>
                    <a:gd name="connsiteY3701" fmla="*/ 382612 h 1153700"/>
                    <a:gd name="connsiteX3702" fmla="*/ 572734 w 774525"/>
                    <a:gd name="connsiteY3702" fmla="*/ 382029 h 1153700"/>
                    <a:gd name="connsiteX3703" fmla="*/ 572564 w 774525"/>
                    <a:gd name="connsiteY3703" fmla="*/ 381471 h 1153700"/>
                    <a:gd name="connsiteX3704" fmla="*/ 572054 w 774525"/>
                    <a:gd name="connsiteY3704" fmla="*/ 379807 h 1153700"/>
                    <a:gd name="connsiteX3705" fmla="*/ 571447 w 774525"/>
                    <a:gd name="connsiteY3705" fmla="*/ 377828 h 1153700"/>
                    <a:gd name="connsiteX3706" fmla="*/ 571337 w 774525"/>
                    <a:gd name="connsiteY3706" fmla="*/ 377755 h 1153700"/>
                    <a:gd name="connsiteX3707" fmla="*/ 572880 w 774525"/>
                    <a:gd name="connsiteY3707" fmla="*/ 374282 h 1153700"/>
                    <a:gd name="connsiteX3708" fmla="*/ 573462 w 774525"/>
                    <a:gd name="connsiteY3708" fmla="*/ 372958 h 1153700"/>
                    <a:gd name="connsiteX3709" fmla="*/ 573390 w 774525"/>
                    <a:gd name="connsiteY3709" fmla="*/ 371513 h 1153700"/>
                    <a:gd name="connsiteX3710" fmla="*/ 573280 w 774525"/>
                    <a:gd name="connsiteY3710" fmla="*/ 369376 h 1153700"/>
                    <a:gd name="connsiteX3711" fmla="*/ 573171 w 774525"/>
                    <a:gd name="connsiteY3711" fmla="*/ 367239 h 1153700"/>
                    <a:gd name="connsiteX3712" fmla="*/ 573086 w 774525"/>
                    <a:gd name="connsiteY3712" fmla="*/ 365563 h 1153700"/>
                    <a:gd name="connsiteX3713" fmla="*/ 572163 w 774525"/>
                    <a:gd name="connsiteY3713" fmla="*/ 364167 h 1153700"/>
                    <a:gd name="connsiteX3714" fmla="*/ 571580 w 774525"/>
                    <a:gd name="connsiteY3714" fmla="*/ 363292 h 1153700"/>
                    <a:gd name="connsiteX3715" fmla="*/ 570487 w 774525"/>
                    <a:gd name="connsiteY3715" fmla="*/ 361677 h 1153700"/>
                    <a:gd name="connsiteX3716" fmla="*/ 570026 w 774525"/>
                    <a:gd name="connsiteY3716" fmla="*/ 360973 h 1153700"/>
                    <a:gd name="connsiteX3717" fmla="*/ 569382 w 774525"/>
                    <a:gd name="connsiteY3717" fmla="*/ 360427 h 1153700"/>
                    <a:gd name="connsiteX3718" fmla="*/ 567354 w 774525"/>
                    <a:gd name="connsiteY3718" fmla="*/ 358678 h 1153700"/>
                    <a:gd name="connsiteX3719" fmla="*/ 567148 w 774525"/>
                    <a:gd name="connsiteY3719" fmla="*/ 358447 h 1153700"/>
                    <a:gd name="connsiteX3720" fmla="*/ 565399 w 774525"/>
                    <a:gd name="connsiteY3720" fmla="*/ 356395 h 1153700"/>
                    <a:gd name="connsiteX3721" fmla="*/ 565072 w 774525"/>
                    <a:gd name="connsiteY3721" fmla="*/ 356007 h 1153700"/>
                    <a:gd name="connsiteX3722" fmla="*/ 564683 w 774525"/>
                    <a:gd name="connsiteY3722" fmla="*/ 355679 h 1153700"/>
                    <a:gd name="connsiteX3723" fmla="*/ 563068 w 774525"/>
                    <a:gd name="connsiteY3723" fmla="*/ 354331 h 1153700"/>
                    <a:gd name="connsiteX3724" fmla="*/ 562279 w 774525"/>
                    <a:gd name="connsiteY3724" fmla="*/ 353675 h 1153700"/>
                    <a:gd name="connsiteX3725" fmla="*/ 561319 w 774525"/>
                    <a:gd name="connsiteY3725" fmla="*/ 353311 h 1153700"/>
                    <a:gd name="connsiteX3726" fmla="*/ 555588 w 774525"/>
                    <a:gd name="connsiteY3726" fmla="*/ 351137 h 1153700"/>
                    <a:gd name="connsiteX3727" fmla="*/ 547064 w 774525"/>
                    <a:gd name="connsiteY3727" fmla="*/ 347907 h 1153700"/>
                    <a:gd name="connsiteX3728" fmla="*/ 547306 w 774525"/>
                    <a:gd name="connsiteY3728" fmla="*/ 354792 h 1153700"/>
                    <a:gd name="connsiteX3729" fmla="*/ 547294 w 774525"/>
                    <a:gd name="connsiteY3729" fmla="*/ 354792 h 1153700"/>
                    <a:gd name="connsiteX3730" fmla="*/ 545801 w 774525"/>
                    <a:gd name="connsiteY3730" fmla="*/ 355023 h 1153700"/>
                    <a:gd name="connsiteX3731" fmla="*/ 544149 w 774525"/>
                    <a:gd name="connsiteY3731" fmla="*/ 355278 h 1153700"/>
                    <a:gd name="connsiteX3732" fmla="*/ 542874 w 774525"/>
                    <a:gd name="connsiteY3732" fmla="*/ 356322 h 1153700"/>
                    <a:gd name="connsiteX3733" fmla="*/ 541648 w 774525"/>
                    <a:gd name="connsiteY3733" fmla="*/ 357330 h 1153700"/>
                    <a:gd name="connsiteX3734" fmla="*/ 540871 w 774525"/>
                    <a:gd name="connsiteY3734" fmla="*/ 357998 h 1153700"/>
                    <a:gd name="connsiteX3735" fmla="*/ 540470 w 774525"/>
                    <a:gd name="connsiteY3735" fmla="*/ 358338 h 1153700"/>
                    <a:gd name="connsiteX3736" fmla="*/ 540142 w 774525"/>
                    <a:gd name="connsiteY3736" fmla="*/ 358739 h 1153700"/>
                    <a:gd name="connsiteX3737" fmla="*/ 540118 w 774525"/>
                    <a:gd name="connsiteY3737" fmla="*/ 358763 h 1153700"/>
                    <a:gd name="connsiteX3738" fmla="*/ 539742 w 774525"/>
                    <a:gd name="connsiteY3738" fmla="*/ 359225 h 1153700"/>
                    <a:gd name="connsiteX3739" fmla="*/ 538721 w 774525"/>
                    <a:gd name="connsiteY3739" fmla="*/ 360451 h 1153700"/>
                    <a:gd name="connsiteX3740" fmla="*/ 537726 w 774525"/>
                    <a:gd name="connsiteY3740" fmla="*/ 360220 h 1153700"/>
                    <a:gd name="connsiteX3741" fmla="*/ 532577 w 774525"/>
                    <a:gd name="connsiteY3741" fmla="*/ 356954 h 1153700"/>
                    <a:gd name="connsiteX3742" fmla="*/ 532322 w 774525"/>
                    <a:gd name="connsiteY3742" fmla="*/ 356784 h 1153700"/>
                    <a:gd name="connsiteX3743" fmla="*/ 532055 w 774525"/>
                    <a:gd name="connsiteY3743" fmla="*/ 356650 h 1153700"/>
                    <a:gd name="connsiteX3744" fmla="*/ 528279 w 774525"/>
                    <a:gd name="connsiteY3744" fmla="*/ 354853 h 1153700"/>
                    <a:gd name="connsiteX3745" fmla="*/ 527125 w 774525"/>
                    <a:gd name="connsiteY3745" fmla="*/ 354307 h 1153700"/>
                    <a:gd name="connsiteX3746" fmla="*/ 525862 w 774525"/>
                    <a:gd name="connsiteY3746" fmla="*/ 354270 h 1153700"/>
                    <a:gd name="connsiteX3747" fmla="*/ 518334 w 774525"/>
                    <a:gd name="connsiteY3747" fmla="*/ 354027 h 1153700"/>
                    <a:gd name="connsiteX3748" fmla="*/ 516888 w 774525"/>
                    <a:gd name="connsiteY3748" fmla="*/ 353748 h 1153700"/>
                    <a:gd name="connsiteX3749" fmla="*/ 516864 w 774525"/>
                    <a:gd name="connsiteY3749" fmla="*/ 353748 h 1153700"/>
                    <a:gd name="connsiteX3750" fmla="*/ 515953 w 774525"/>
                    <a:gd name="connsiteY3750" fmla="*/ 351915 h 1153700"/>
                    <a:gd name="connsiteX3751" fmla="*/ 515298 w 774525"/>
                    <a:gd name="connsiteY3751" fmla="*/ 350615 h 1153700"/>
                    <a:gd name="connsiteX3752" fmla="*/ 514132 w 774525"/>
                    <a:gd name="connsiteY3752" fmla="*/ 349753 h 1153700"/>
                    <a:gd name="connsiteX3753" fmla="*/ 510246 w 774525"/>
                    <a:gd name="connsiteY3753" fmla="*/ 346875 h 1153700"/>
                    <a:gd name="connsiteX3754" fmla="*/ 509008 w 774525"/>
                    <a:gd name="connsiteY3754" fmla="*/ 344264 h 1153700"/>
                    <a:gd name="connsiteX3755" fmla="*/ 508097 w 774525"/>
                    <a:gd name="connsiteY3755" fmla="*/ 342322 h 1153700"/>
                    <a:gd name="connsiteX3756" fmla="*/ 506178 w 774525"/>
                    <a:gd name="connsiteY3756" fmla="*/ 341387 h 1153700"/>
                    <a:gd name="connsiteX3757" fmla="*/ 499949 w 774525"/>
                    <a:gd name="connsiteY3757" fmla="*/ 338363 h 1153700"/>
                    <a:gd name="connsiteX3758" fmla="*/ 499706 w 774525"/>
                    <a:gd name="connsiteY3758" fmla="*/ 338132 h 1153700"/>
                    <a:gd name="connsiteX3759" fmla="*/ 499038 w 774525"/>
                    <a:gd name="connsiteY3759" fmla="*/ 328175 h 1153700"/>
                    <a:gd name="connsiteX3760" fmla="*/ 498893 w 774525"/>
                    <a:gd name="connsiteY3760" fmla="*/ 326026 h 1153700"/>
                    <a:gd name="connsiteX3761" fmla="*/ 497435 w 774525"/>
                    <a:gd name="connsiteY3761" fmla="*/ 324447 h 1153700"/>
                    <a:gd name="connsiteX3762" fmla="*/ 492445 w 774525"/>
                    <a:gd name="connsiteY3762" fmla="*/ 319056 h 1153700"/>
                    <a:gd name="connsiteX3763" fmla="*/ 491935 w 774525"/>
                    <a:gd name="connsiteY3763" fmla="*/ 318521 h 1153700"/>
                    <a:gd name="connsiteX3764" fmla="*/ 491315 w 774525"/>
                    <a:gd name="connsiteY3764" fmla="*/ 318109 h 1153700"/>
                    <a:gd name="connsiteX3765" fmla="*/ 487211 w 774525"/>
                    <a:gd name="connsiteY3765" fmla="*/ 315413 h 1153700"/>
                    <a:gd name="connsiteX3766" fmla="*/ 478371 w 774525"/>
                    <a:gd name="connsiteY3766" fmla="*/ 309621 h 1153700"/>
                    <a:gd name="connsiteX3767" fmla="*/ 473271 w 774525"/>
                    <a:gd name="connsiteY3767" fmla="*/ 303841 h 1153700"/>
                    <a:gd name="connsiteX3768" fmla="*/ 467600 w 774525"/>
                    <a:gd name="connsiteY3768" fmla="*/ 297441 h 1153700"/>
                    <a:gd name="connsiteX3769" fmla="*/ 466823 w 774525"/>
                    <a:gd name="connsiteY3769" fmla="*/ 296555 h 1153700"/>
                    <a:gd name="connsiteX3770" fmla="*/ 465767 w 774525"/>
                    <a:gd name="connsiteY3770" fmla="*/ 296033 h 1153700"/>
                    <a:gd name="connsiteX3771" fmla="*/ 459671 w 774525"/>
                    <a:gd name="connsiteY3771" fmla="*/ 292997 h 1153700"/>
                    <a:gd name="connsiteX3772" fmla="*/ 457582 w 774525"/>
                    <a:gd name="connsiteY3772" fmla="*/ 291965 h 1153700"/>
                    <a:gd name="connsiteX3773" fmla="*/ 455324 w 774525"/>
                    <a:gd name="connsiteY3773" fmla="*/ 292596 h 1153700"/>
                    <a:gd name="connsiteX3774" fmla="*/ 446957 w 774525"/>
                    <a:gd name="connsiteY3774" fmla="*/ 294940 h 1153700"/>
                    <a:gd name="connsiteX3775" fmla="*/ 446229 w 774525"/>
                    <a:gd name="connsiteY3775" fmla="*/ 295146 h 1153700"/>
                    <a:gd name="connsiteX3776" fmla="*/ 445573 w 774525"/>
                    <a:gd name="connsiteY3776" fmla="*/ 295523 h 1153700"/>
                    <a:gd name="connsiteX3777" fmla="*/ 442768 w 774525"/>
                    <a:gd name="connsiteY3777" fmla="*/ 297126 h 1153700"/>
                    <a:gd name="connsiteX3778" fmla="*/ 440934 w 774525"/>
                    <a:gd name="connsiteY3778" fmla="*/ 297903 h 1153700"/>
                    <a:gd name="connsiteX3779" fmla="*/ 440363 w 774525"/>
                    <a:gd name="connsiteY3779" fmla="*/ 296142 h 1153700"/>
                    <a:gd name="connsiteX3780" fmla="*/ 440194 w 774525"/>
                    <a:gd name="connsiteY3780" fmla="*/ 295620 h 1153700"/>
                    <a:gd name="connsiteX3781" fmla="*/ 439938 w 774525"/>
                    <a:gd name="connsiteY3781" fmla="*/ 295134 h 1153700"/>
                    <a:gd name="connsiteX3782" fmla="*/ 439016 w 774525"/>
                    <a:gd name="connsiteY3782" fmla="*/ 293422 h 1153700"/>
                    <a:gd name="connsiteX3783" fmla="*/ 438664 w 774525"/>
                    <a:gd name="connsiteY3783" fmla="*/ 292778 h 1153700"/>
                    <a:gd name="connsiteX3784" fmla="*/ 438178 w 774525"/>
                    <a:gd name="connsiteY3784" fmla="*/ 292244 h 1153700"/>
                    <a:gd name="connsiteX3785" fmla="*/ 436927 w 774525"/>
                    <a:gd name="connsiteY3785" fmla="*/ 290860 h 1153700"/>
                    <a:gd name="connsiteX3786" fmla="*/ 436976 w 774525"/>
                    <a:gd name="connsiteY3786" fmla="*/ 290520 h 1153700"/>
                    <a:gd name="connsiteX3787" fmla="*/ 437218 w 774525"/>
                    <a:gd name="connsiteY3787" fmla="*/ 288844 h 1153700"/>
                    <a:gd name="connsiteX3788" fmla="*/ 436575 w 774525"/>
                    <a:gd name="connsiteY3788" fmla="*/ 287168 h 1153700"/>
                    <a:gd name="connsiteX3789" fmla="*/ 435579 w 774525"/>
                    <a:gd name="connsiteY3789" fmla="*/ 284801 h 1153700"/>
                    <a:gd name="connsiteX3790" fmla="*/ 434729 w 774525"/>
                    <a:gd name="connsiteY3790" fmla="*/ 279603 h 1153700"/>
                    <a:gd name="connsiteX3791" fmla="*/ 434863 w 774525"/>
                    <a:gd name="connsiteY3791" fmla="*/ 279409 h 1153700"/>
                    <a:gd name="connsiteX3792" fmla="*/ 435640 w 774525"/>
                    <a:gd name="connsiteY3792" fmla="*/ 278243 h 1153700"/>
                    <a:gd name="connsiteX3793" fmla="*/ 436138 w 774525"/>
                    <a:gd name="connsiteY3793" fmla="*/ 277503 h 1153700"/>
                    <a:gd name="connsiteX3794" fmla="*/ 436587 w 774525"/>
                    <a:gd name="connsiteY3794" fmla="*/ 276361 h 1153700"/>
                    <a:gd name="connsiteX3795" fmla="*/ 439902 w 774525"/>
                    <a:gd name="connsiteY3795" fmla="*/ 265578 h 1153700"/>
                    <a:gd name="connsiteX3796" fmla="*/ 440959 w 774525"/>
                    <a:gd name="connsiteY3796" fmla="*/ 263635 h 1153700"/>
                    <a:gd name="connsiteX3797" fmla="*/ 442634 w 774525"/>
                    <a:gd name="connsiteY3797" fmla="*/ 260515 h 1153700"/>
                    <a:gd name="connsiteX3798" fmla="*/ 446289 w 774525"/>
                    <a:gd name="connsiteY3798" fmla="*/ 257734 h 1153700"/>
                    <a:gd name="connsiteX3799" fmla="*/ 447771 w 774525"/>
                    <a:gd name="connsiteY3799" fmla="*/ 256617 h 1153700"/>
                    <a:gd name="connsiteX3800" fmla="*/ 448366 w 774525"/>
                    <a:gd name="connsiteY3800" fmla="*/ 254856 h 1153700"/>
                    <a:gd name="connsiteX3801" fmla="*/ 449677 w 774525"/>
                    <a:gd name="connsiteY3801" fmla="*/ 251007 h 1153700"/>
                    <a:gd name="connsiteX3802" fmla="*/ 450139 w 774525"/>
                    <a:gd name="connsiteY3802" fmla="*/ 249683 h 1153700"/>
                    <a:gd name="connsiteX3803" fmla="*/ 449956 w 774525"/>
                    <a:gd name="connsiteY3803" fmla="*/ 248287 h 1153700"/>
                    <a:gd name="connsiteX3804" fmla="*/ 449689 w 774525"/>
                    <a:gd name="connsiteY3804" fmla="*/ 246101 h 1153700"/>
                    <a:gd name="connsiteX3805" fmla="*/ 449434 w 774525"/>
                    <a:gd name="connsiteY3805" fmla="*/ 244146 h 1153700"/>
                    <a:gd name="connsiteX3806" fmla="*/ 448099 w 774525"/>
                    <a:gd name="connsiteY3806" fmla="*/ 242701 h 1153700"/>
                    <a:gd name="connsiteX3807" fmla="*/ 447200 w 774525"/>
                    <a:gd name="connsiteY3807" fmla="*/ 241742 h 1153700"/>
                    <a:gd name="connsiteX3808" fmla="*/ 449009 w 774525"/>
                    <a:gd name="connsiteY3808" fmla="*/ 235986 h 1153700"/>
                    <a:gd name="connsiteX3809" fmla="*/ 449374 w 774525"/>
                    <a:gd name="connsiteY3809" fmla="*/ 235427 h 1153700"/>
                    <a:gd name="connsiteX3810" fmla="*/ 450916 w 774525"/>
                    <a:gd name="connsiteY3810" fmla="*/ 234468 h 1153700"/>
                    <a:gd name="connsiteX3811" fmla="*/ 454437 w 774525"/>
                    <a:gd name="connsiteY3811" fmla="*/ 232282 h 1153700"/>
                    <a:gd name="connsiteX3812" fmla="*/ 454777 w 774525"/>
                    <a:gd name="connsiteY3812" fmla="*/ 232064 h 1153700"/>
                    <a:gd name="connsiteX3813" fmla="*/ 455081 w 774525"/>
                    <a:gd name="connsiteY3813" fmla="*/ 231809 h 1153700"/>
                    <a:gd name="connsiteX3814" fmla="*/ 455906 w 774525"/>
                    <a:gd name="connsiteY3814" fmla="*/ 231129 h 1153700"/>
                    <a:gd name="connsiteX3815" fmla="*/ 456769 w 774525"/>
                    <a:gd name="connsiteY3815" fmla="*/ 230400 h 1153700"/>
                    <a:gd name="connsiteX3816" fmla="*/ 457266 w 774525"/>
                    <a:gd name="connsiteY3816" fmla="*/ 229987 h 1153700"/>
                    <a:gd name="connsiteX3817" fmla="*/ 457667 w 774525"/>
                    <a:gd name="connsiteY3817" fmla="*/ 229477 h 1153700"/>
                    <a:gd name="connsiteX3818" fmla="*/ 458238 w 774525"/>
                    <a:gd name="connsiteY3818" fmla="*/ 228749 h 1153700"/>
                    <a:gd name="connsiteX3819" fmla="*/ 458554 w 774525"/>
                    <a:gd name="connsiteY3819" fmla="*/ 228324 h 1153700"/>
                    <a:gd name="connsiteX3820" fmla="*/ 458687 w 774525"/>
                    <a:gd name="connsiteY3820" fmla="*/ 228202 h 1153700"/>
                    <a:gd name="connsiteX3821" fmla="*/ 459076 w 774525"/>
                    <a:gd name="connsiteY3821" fmla="*/ 228057 h 1153700"/>
                    <a:gd name="connsiteX3822" fmla="*/ 462427 w 774525"/>
                    <a:gd name="connsiteY3822" fmla="*/ 227352 h 1153700"/>
                    <a:gd name="connsiteX3823" fmla="*/ 462767 w 774525"/>
                    <a:gd name="connsiteY3823" fmla="*/ 227292 h 1153700"/>
                    <a:gd name="connsiteX3824" fmla="*/ 463095 w 774525"/>
                    <a:gd name="connsiteY3824" fmla="*/ 227182 h 1153700"/>
                    <a:gd name="connsiteX3825" fmla="*/ 474048 w 774525"/>
                    <a:gd name="connsiteY3825" fmla="*/ 223564 h 1153700"/>
                    <a:gd name="connsiteX3826" fmla="*/ 474692 w 774525"/>
                    <a:gd name="connsiteY3826" fmla="*/ 223345 h 1153700"/>
                    <a:gd name="connsiteX3827" fmla="*/ 475274 w 774525"/>
                    <a:gd name="connsiteY3827" fmla="*/ 222993 h 1153700"/>
                    <a:gd name="connsiteX3828" fmla="*/ 477776 w 774525"/>
                    <a:gd name="connsiteY3828" fmla="*/ 221487 h 1153700"/>
                    <a:gd name="connsiteX3829" fmla="*/ 478565 w 774525"/>
                    <a:gd name="connsiteY3829" fmla="*/ 221001 h 1153700"/>
                    <a:gd name="connsiteX3830" fmla="*/ 479974 w 774525"/>
                    <a:gd name="connsiteY3830" fmla="*/ 220152 h 1153700"/>
                    <a:gd name="connsiteX3831" fmla="*/ 480751 w 774525"/>
                    <a:gd name="connsiteY3831" fmla="*/ 218706 h 1153700"/>
                    <a:gd name="connsiteX3832" fmla="*/ 481552 w 774525"/>
                    <a:gd name="connsiteY3832" fmla="*/ 217213 h 1153700"/>
                    <a:gd name="connsiteX3833" fmla="*/ 482366 w 774525"/>
                    <a:gd name="connsiteY3833" fmla="*/ 215707 h 1153700"/>
                    <a:gd name="connsiteX3834" fmla="*/ 483192 w 774525"/>
                    <a:gd name="connsiteY3834" fmla="*/ 214165 h 1153700"/>
                    <a:gd name="connsiteX3835" fmla="*/ 483070 w 774525"/>
                    <a:gd name="connsiteY3835" fmla="*/ 212416 h 1153700"/>
                    <a:gd name="connsiteX3836" fmla="*/ 482767 w 774525"/>
                    <a:gd name="connsiteY3836" fmla="*/ 206066 h 1153700"/>
                    <a:gd name="connsiteX3837" fmla="*/ 482912 w 774525"/>
                    <a:gd name="connsiteY3837" fmla="*/ 205434 h 1153700"/>
                    <a:gd name="connsiteX3838" fmla="*/ 482973 w 774525"/>
                    <a:gd name="connsiteY3838" fmla="*/ 205204 h 1153700"/>
                    <a:gd name="connsiteX3839" fmla="*/ 484187 w 774525"/>
                    <a:gd name="connsiteY3839" fmla="*/ 203601 h 1153700"/>
                    <a:gd name="connsiteX3840" fmla="*/ 484734 w 774525"/>
                    <a:gd name="connsiteY3840" fmla="*/ 202872 h 1153700"/>
                    <a:gd name="connsiteX3841" fmla="*/ 485487 w 774525"/>
                    <a:gd name="connsiteY3841" fmla="*/ 202192 h 1153700"/>
                    <a:gd name="connsiteX3842" fmla="*/ 486677 w 774525"/>
                    <a:gd name="connsiteY3842" fmla="*/ 201136 h 1153700"/>
                    <a:gd name="connsiteX3843" fmla="*/ 488947 w 774525"/>
                    <a:gd name="connsiteY3843" fmla="*/ 199751 h 1153700"/>
                    <a:gd name="connsiteX3844" fmla="*/ 495007 w 774525"/>
                    <a:gd name="connsiteY3844" fmla="*/ 196011 h 1153700"/>
                    <a:gd name="connsiteX3845" fmla="*/ 495820 w 774525"/>
                    <a:gd name="connsiteY3845" fmla="*/ 195513 h 1153700"/>
                    <a:gd name="connsiteX3846" fmla="*/ 496440 w 774525"/>
                    <a:gd name="connsiteY3846" fmla="*/ 194785 h 1153700"/>
                    <a:gd name="connsiteX3847" fmla="*/ 496926 w 774525"/>
                    <a:gd name="connsiteY3847" fmla="*/ 194214 h 1153700"/>
                    <a:gd name="connsiteX3848" fmla="*/ 498128 w 774525"/>
                    <a:gd name="connsiteY3848" fmla="*/ 194263 h 1153700"/>
                    <a:gd name="connsiteX3849" fmla="*/ 499900 w 774525"/>
                    <a:gd name="connsiteY3849" fmla="*/ 194336 h 1153700"/>
                    <a:gd name="connsiteX3850" fmla="*/ 500398 w 774525"/>
                    <a:gd name="connsiteY3850" fmla="*/ 194360 h 1153700"/>
                    <a:gd name="connsiteX3851" fmla="*/ 500908 w 774525"/>
                    <a:gd name="connsiteY3851" fmla="*/ 194299 h 1153700"/>
                    <a:gd name="connsiteX3852" fmla="*/ 501819 w 774525"/>
                    <a:gd name="connsiteY3852" fmla="*/ 194190 h 1153700"/>
                    <a:gd name="connsiteX3853" fmla="*/ 502730 w 774525"/>
                    <a:gd name="connsiteY3853" fmla="*/ 194081 h 1153700"/>
                    <a:gd name="connsiteX3854" fmla="*/ 503070 w 774525"/>
                    <a:gd name="connsiteY3854" fmla="*/ 194032 h 1153700"/>
                    <a:gd name="connsiteX3855" fmla="*/ 503410 w 774525"/>
                    <a:gd name="connsiteY3855" fmla="*/ 193959 h 1153700"/>
                    <a:gd name="connsiteX3856" fmla="*/ 503689 w 774525"/>
                    <a:gd name="connsiteY3856" fmla="*/ 193886 h 1153700"/>
                    <a:gd name="connsiteX3857" fmla="*/ 504988 w 774525"/>
                    <a:gd name="connsiteY3857" fmla="*/ 194093 h 1153700"/>
                    <a:gd name="connsiteX3858" fmla="*/ 506640 w 774525"/>
                    <a:gd name="connsiteY3858" fmla="*/ 194348 h 1153700"/>
                    <a:gd name="connsiteX3859" fmla="*/ 514205 w 774525"/>
                    <a:gd name="connsiteY3859" fmla="*/ 195477 h 1153700"/>
                    <a:gd name="connsiteX3860" fmla="*/ 513585 w 774525"/>
                    <a:gd name="connsiteY3860" fmla="*/ 187863 h 1153700"/>
                    <a:gd name="connsiteX3861" fmla="*/ 513197 w 774525"/>
                    <a:gd name="connsiteY3861" fmla="*/ 182958 h 1153700"/>
                    <a:gd name="connsiteX3862" fmla="*/ 513136 w 774525"/>
                    <a:gd name="connsiteY3862" fmla="*/ 182205 h 1153700"/>
                    <a:gd name="connsiteX3863" fmla="*/ 512881 w 774525"/>
                    <a:gd name="connsiteY3863" fmla="*/ 181294 h 1153700"/>
                    <a:gd name="connsiteX3864" fmla="*/ 511035 w 774525"/>
                    <a:gd name="connsiteY3864" fmla="*/ 175866 h 1153700"/>
                    <a:gd name="connsiteX3865" fmla="*/ 509166 w 774525"/>
                    <a:gd name="connsiteY3865" fmla="*/ 170426 h 1153700"/>
                    <a:gd name="connsiteX3866" fmla="*/ 508947 w 774525"/>
                    <a:gd name="connsiteY3866" fmla="*/ 169795 h 1153700"/>
                    <a:gd name="connsiteX3867" fmla="*/ 508595 w 774525"/>
                    <a:gd name="connsiteY3867" fmla="*/ 169224 h 1153700"/>
                    <a:gd name="connsiteX3868" fmla="*/ 507368 w 774525"/>
                    <a:gd name="connsiteY3868" fmla="*/ 167233 h 1153700"/>
                    <a:gd name="connsiteX3869" fmla="*/ 509785 w 774525"/>
                    <a:gd name="connsiteY3869" fmla="*/ 168775 h 1153700"/>
                    <a:gd name="connsiteX3870" fmla="*/ 510234 w 774525"/>
                    <a:gd name="connsiteY3870" fmla="*/ 169054 h 1153700"/>
                    <a:gd name="connsiteX3871" fmla="*/ 510720 w 774525"/>
                    <a:gd name="connsiteY3871" fmla="*/ 169261 h 1153700"/>
                    <a:gd name="connsiteX3872" fmla="*/ 513671 w 774525"/>
                    <a:gd name="connsiteY3872" fmla="*/ 170499 h 1153700"/>
                    <a:gd name="connsiteX3873" fmla="*/ 515043 w 774525"/>
                    <a:gd name="connsiteY3873" fmla="*/ 171070 h 1153700"/>
                    <a:gd name="connsiteX3874" fmla="*/ 515844 w 774525"/>
                    <a:gd name="connsiteY3874" fmla="*/ 171398 h 1153700"/>
                    <a:gd name="connsiteX3875" fmla="*/ 516694 w 774525"/>
                    <a:gd name="connsiteY3875" fmla="*/ 171495 h 1153700"/>
                    <a:gd name="connsiteX3876" fmla="*/ 518139 w 774525"/>
                    <a:gd name="connsiteY3876" fmla="*/ 171665 h 1153700"/>
                    <a:gd name="connsiteX3877" fmla="*/ 518528 w 774525"/>
                    <a:gd name="connsiteY3877" fmla="*/ 171701 h 1153700"/>
                    <a:gd name="connsiteX3878" fmla="*/ 518916 w 774525"/>
                    <a:gd name="connsiteY3878" fmla="*/ 171701 h 1153700"/>
                    <a:gd name="connsiteX3879" fmla="*/ 521126 w 774525"/>
                    <a:gd name="connsiteY3879" fmla="*/ 171665 h 1153700"/>
                    <a:gd name="connsiteX3880" fmla="*/ 521891 w 774525"/>
                    <a:gd name="connsiteY3880" fmla="*/ 173328 h 1153700"/>
                    <a:gd name="connsiteX3881" fmla="*/ 522183 w 774525"/>
                    <a:gd name="connsiteY3881" fmla="*/ 173984 h 1153700"/>
                    <a:gd name="connsiteX3882" fmla="*/ 522632 w 774525"/>
                    <a:gd name="connsiteY3882" fmla="*/ 174555 h 1153700"/>
                    <a:gd name="connsiteX3883" fmla="*/ 524113 w 774525"/>
                    <a:gd name="connsiteY3883" fmla="*/ 176413 h 1153700"/>
                    <a:gd name="connsiteX3884" fmla="*/ 524769 w 774525"/>
                    <a:gd name="connsiteY3884" fmla="*/ 177214 h 1153700"/>
                    <a:gd name="connsiteX3885" fmla="*/ 525631 w 774525"/>
                    <a:gd name="connsiteY3885" fmla="*/ 177761 h 1153700"/>
                    <a:gd name="connsiteX3886" fmla="*/ 527696 w 774525"/>
                    <a:gd name="connsiteY3886" fmla="*/ 179060 h 1153700"/>
                    <a:gd name="connsiteX3887" fmla="*/ 528036 w 774525"/>
                    <a:gd name="connsiteY3887" fmla="*/ 179278 h 1153700"/>
                    <a:gd name="connsiteX3888" fmla="*/ 528400 w 774525"/>
                    <a:gd name="connsiteY3888" fmla="*/ 179448 h 1153700"/>
                    <a:gd name="connsiteX3889" fmla="*/ 529663 w 774525"/>
                    <a:gd name="connsiteY3889" fmla="*/ 180031 h 1153700"/>
                    <a:gd name="connsiteX3890" fmla="*/ 530064 w 774525"/>
                    <a:gd name="connsiteY3890" fmla="*/ 180213 h 1153700"/>
                    <a:gd name="connsiteX3891" fmla="*/ 530270 w 774525"/>
                    <a:gd name="connsiteY3891" fmla="*/ 180906 h 1153700"/>
                    <a:gd name="connsiteX3892" fmla="*/ 530671 w 774525"/>
                    <a:gd name="connsiteY3892" fmla="*/ 182278 h 1153700"/>
                    <a:gd name="connsiteX3893" fmla="*/ 531582 w 774525"/>
                    <a:gd name="connsiteY3893" fmla="*/ 185410 h 1153700"/>
                    <a:gd name="connsiteX3894" fmla="*/ 533269 w 774525"/>
                    <a:gd name="connsiteY3894" fmla="*/ 185933 h 1153700"/>
                    <a:gd name="connsiteX3895" fmla="*/ 533208 w 774525"/>
                    <a:gd name="connsiteY3895" fmla="*/ 187098 h 1153700"/>
                    <a:gd name="connsiteX3896" fmla="*/ 534423 w 774525"/>
                    <a:gd name="connsiteY3896" fmla="*/ 188811 h 1153700"/>
                    <a:gd name="connsiteX3897" fmla="*/ 535103 w 774525"/>
                    <a:gd name="connsiteY3897" fmla="*/ 189770 h 1153700"/>
                    <a:gd name="connsiteX3898" fmla="*/ 535552 w 774525"/>
                    <a:gd name="connsiteY3898" fmla="*/ 190389 h 1153700"/>
                    <a:gd name="connsiteX3899" fmla="*/ 536439 w 774525"/>
                    <a:gd name="connsiteY3899" fmla="*/ 191604 h 1153700"/>
                    <a:gd name="connsiteX3900" fmla="*/ 537799 w 774525"/>
                    <a:gd name="connsiteY3900" fmla="*/ 192259 h 1153700"/>
                    <a:gd name="connsiteX3901" fmla="*/ 539972 w 774525"/>
                    <a:gd name="connsiteY3901" fmla="*/ 193304 h 1153700"/>
                    <a:gd name="connsiteX3902" fmla="*/ 540628 w 774525"/>
                    <a:gd name="connsiteY3902" fmla="*/ 193619 h 1153700"/>
                    <a:gd name="connsiteX3903" fmla="*/ 540324 w 774525"/>
                    <a:gd name="connsiteY3903" fmla="*/ 193874 h 1153700"/>
                    <a:gd name="connsiteX3904" fmla="*/ 534071 w 774525"/>
                    <a:gd name="connsiteY3904" fmla="*/ 196910 h 1153700"/>
                    <a:gd name="connsiteX3905" fmla="*/ 533208 w 774525"/>
                    <a:gd name="connsiteY3905" fmla="*/ 197335 h 1153700"/>
                    <a:gd name="connsiteX3906" fmla="*/ 532504 w 774525"/>
                    <a:gd name="connsiteY3906" fmla="*/ 198003 h 1153700"/>
                    <a:gd name="connsiteX3907" fmla="*/ 531035 w 774525"/>
                    <a:gd name="connsiteY3907" fmla="*/ 199448 h 1153700"/>
                    <a:gd name="connsiteX3908" fmla="*/ 525838 w 774525"/>
                    <a:gd name="connsiteY3908" fmla="*/ 204548 h 1153700"/>
                    <a:gd name="connsiteX3909" fmla="*/ 531788 w 774525"/>
                    <a:gd name="connsiteY3909" fmla="*/ 208737 h 1153700"/>
                    <a:gd name="connsiteX3910" fmla="*/ 535127 w 774525"/>
                    <a:gd name="connsiteY3910" fmla="*/ 211093 h 1153700"/>
                    <a:gd name="connsiteX3911" fmla="*/ 537702 w 774525"/>
                    <a:gd name="connsiteY3911" fmla="*/ 212902 h 1153700"/>
                    <a:gd name="connsiteX3912" fmla="*/ 540664 w 774525"/>
                    <a:gd name="connsiteY3912" fmla="*/ 211846 h 1153700"/>
                    <a:gd name="connsiteX3913" fmla="*/ 554422 w 774525"/>
                    <a:gd name="connsiteY3913" fmla="*/ 206940 h 1153700"/>
                    <a:gd name="connsiteX3914" fmla="*/ 556826 w 774525"/>
                    <a:gd name="connsiteY3914" fmla="*/ 207838 h 1153700"/>
                    <a:gd name="connsiteX3915" fmla="*/ 557106 w 774525"/>
                    <a:gd name="connsiteY3915" fmla="*/ 208434 h 1153700"/>
                    <a:gd name="connsiteX3916" fmla="*/ 558223 w 774525"/>
                    <a:gd name="connsiteY3916" fmla="*/ 211530 h 1153700"/>
                    <a:gd name="connsiteX3917" fmla="*/ 558441 w 774525"/>
                    <a:gd name="connsiteY3917" fmla="*/ 212137 h 1153700"/>
                    <a:gd name="connsiteX3918" fmla="*/ 558794 w 774525"/>
                    <a:gd name="connsiteY3918" fmla="*/ 212696 h 1153700"/>
                    <a:gd name="connsiteX3919" fmla="*/ 560567 w 774525"/>
                    <a:gd name="connsiteY3919" fmla="*/ 215549 h 1153700"/>
                    <a:gd name="connsiteX3920" fmla="*/ 561550 w 774525"/>
                    <a:gd name="connsiteY3920" fmla="*/ 217140 h 1153700"/>
                    <a:gd name="connsiteX3921" fmla="*/ 563274 w 774525"/>
                    <a:gd name="connsiteY3921" fmla="*/ 217893 h 1153700"/>
                    <a:gd name="connsiteX3922" fmla="*/ 564853 w 774525"/>
                    <a:gd name="connsiteY3922" fmla="*/ 218585 h 1153700"/>
                    <a:gd name="connsiteX3923" fmla="*/ 566383 w 774525"/>
                    <a:gd name="connsiteY3923" fmla="*/ 219277 h 1153700"/>
                    <a:gd name="connsiteX3924" fmla="*/ 568654 w 774525"/>
                    <a:gd name="connsiteY3924" fmla="*/ 220285 h 1153700"/>
                    <a:gd name="connsiteX3925" fmla="*/ 570985 w 774525"/>
                    <a:gd name="connsiteY3925" fmla="*/ 219411 h 1153700"/>
                    <a:gd name="connsiteX3926" fmla="*/ 573972 w 774525"/>
                    <a:gd name="connsiteY3926" fmla="*/ 218294 h 1153700"/>
                    <a:gd name="connsiteX3927" fmla="*/ 576425 w 774525"/>
                    <a:gd name="connsiteY3927" fmla="*/ 217383 h 1153700"/>
                    <a:gd name="connsiteX3928" fmla="*/ 577433 w 774525"/>
                    <a:gd name="connsiteY3928" fmla="*/ 214979 h 1153700"/>
                    <a:gd name="connsiteX3929" fmla="*/ 578368 w 774525"/>
                    <a:gd name="connsiteY3929" fmla="*/ 212769 h 1153700"/>
                    <a:gd name="connsiteX3930" fmla="*/ 579546 w 774525"/>
                    <a:gd name="connsiteY3930" fmla="*/ 210024 h 1153700"/>
                    <a:gd name="connsiteX3931" fmla="*/ 579728 w 774525"/>
                    <a:gd name="connsiteY3931" fmla="*/ 209903 h 1153700"/>
                    <a:gd name="connsiteX3932" fmla="*/ 579874 w 774525"/>
                    <a:gd name="connsiteY3932" fmla="*/ 209927 h 1153700"/>
                    <a:gd name="connsiteX3933" fmla="*/ 580578 w 774525"/>
                    <a:gd name="connsiteY3933" fmla="*/ 210049 h 1153700"/>
                    <a:gd name="connsiteX3934" fmla="*/ 587597 w 774525"/>
                    <a:gd name="connsiteY3934" fmla="*/ 216812 h 1153700"/>
                    <a:gd name="connsiteX3935" fmla="*/ 588605 w 774525"/>
                    <a:gd name="connsiteY3935" fmla="*/ 217784 h 1153700"/>
                    <a:gd name="connsiteX3936" fmla="*/ 589928 w 774525"/>
                    <a:gd name="connsiteY3936" fmla="*/ 218221 h 1153700"/>
                    <a:gd name="connsiteX3937" fmla="*/ 595247 w 774525"/>
                    <a:gd name="connsiteY3937" fmla="*/ 219945 h 1153700"/>
                    <a:gd name="connsiteX3938" fmla="*/ 596898 w 774525"/>
                    <a:gd name="connsiteY3938" fmla="*/ 220479 h 1153700"/>
                    <a:gd name="connsiteX3939" fmla="*/ 598586 w 774525"/>
                    <a:gd name="connsiteY3939" fmla="*/ 220066 h 1153700"/>
                    <a:gd name="connsiteX3940" fmla="*/ 606868 w 774525"/>
                    <a:gd name="connsiteY3940" fmla="*/ 218026 h 1153700"/>
                    <a:gd name="connsiteX3941" fmla="*/ 607912 w 774525"/>
                    <a:gd name="connsiteY3941" fmla="*/ 217772 h 1153700"/>
                    <a:gd name="connsiteX3942" fmla="*/ 608798 w 774525"/>
                    <a:gd name="connsiteY3942" fmla="*/ 217164 h 1153700"/>
                    <a:gd name="connsiteX3943" fmla="*/ 609928 w 774525"/>
                    <a:gd name="connsiteY3943" fmla="*/ 216412 h 1153700"/>
                    <a:gd name="connsiteX3944" fmla="*/ 612599 w 774525"/>
                    <a:gd name="connsiteY3944" fmla="*/ 214614 h 1153700"/>
                    <a:gd name="connsiteX3945" fmla="*/ 614238 w 774525"/>
                    <a:gd name="connsiteY3945" fmla="*/ 213509 h 1153700"/>
                    <a:gd name="connsiteX3946" fmla="*/ 614348 w 774525"/>
                    <a:gd name="connsiteY3946" fmla="*/ 213692 h 1153700"/>
                    <a:gd name="connsiteX3947" fmla="*/ 615246 w 774525"/>
                    <a:gd name="connsiteY3947" fmla="*/ 215683 h 1153700"/>
                    <a:gd name="connsiteX3948" fmla="*/ 616679 w 774525"/>
                    <a:gd name="connsiteY3948" fmla="*/ 226976 h 1153700"/>
                    <a:gd name="connsiteX3949" fmla="*/ 616776 w 774525"/>
                    <a:gd name="connsiteY3949" fmla="*/ 227704 h 1153700"/>
                    <a:gd name="connsiteX3950" fmla="*/ 617031 w 774525"/>
                    <a:gd name="connsiteY3950" fmla="*/ 228384 h 1153700"/>
                    <a:gd name="connsiteX3951" fmla="*/ 618403 w 774525"/>
                    <a:gd name="connsiteY3951" fmla="*/ 231979 h 1153700"/>
                    <a:gd name="connsiteX3952" fmla="*/ 618804 w 774525"/>
                    <a:gd name="connsiteY3952" fmla="*/ 233035 h 1153700"/>
                    <a:gd name="connsiteX3953" fmla="*/ 619569 w 774525"/>
                    <a:gd name="connsiteY3953" fmla="*/ 233885 h 1153700"/>
                    <a:gd name="connsiteX3954" fmla="*/ 620213 w 774525"/>
                    <a:gd name="connsiteY3954" fmla="*/ 234589 h 1153700"/>
                    <a:gd name="connsiteX3955" fmla="*/ 621937 w 774525"/>
                    <a:gd name="connsiteY3955" fmla="*/ 236472 h 1153700"/>
                    <a:gd name="connsiteX3956" fmla="*/ 622823 w 774525"/>
                    <a:gd name="connsiteY3956" fmla="*/ 237455 h 1153700"/>
                    <a:gd name="connsiteX3957" fmla="*/ 624062 w 774525"/>
                    <a:gd name="connsiteY3957" fmla="*/ 237977 h 1153700"/>
                    <a:gd name="connsiteX3958" fmla="*/ 636023 w 774525"/>
                    <a:gd name="connsiteY3958" fmla="*/ 243017 h 1153700"/>
                    <a:gd name="connsiteX3959" fmla="*/ 637517 w 774525"/>
                    <a:gd name="connsiteY3959" fmla="*/ 243952 h 1153700"/>
                    <a:gd name="connsiteX3960" fmla="*/ 638087 w 774525"/>
                    <a:gd name="connsiteY3960" fmla="*/ 244692 h 1153700"/>
                    <a:gd name="connsiteX3961" fmla="*/ 638415 w 774525"/>
                    <a:gd name="connsiteY3961" fmla="*/ 245797 h 1153700"/>
                    <a:gd name="connsiteX3962" fmla="*/ 638925 w 774525"/>
                    <a:gd name="connsiteY3962" fmla="*/ 247497 h 1153700"/>
                    <a:gd name="connsiteX3963" fmla="*/ 639277 w 774525"/>
                    <a:gd name="connsiteY3963" fmla="*/ 248700 h 1153700"/>
                    <a:gd name="connsiteX3964" fmla="*/ 640079 w 774525"/>
                    <a:gd name="connsiteY3964" fmla="*/ 249659 h 1153700"/>
                    <a:gd name="connsiteX3965" fmla="*/ 641633 w 774525"/>
                    <a:gd name="connsiteY3965" fmla="*/ 251505 h 1153700"/>
                    <a:gd name="connsiteX3966" fmla="*/ 642544 w 774525"/>
                    <a:gd name="connsiteY3966" fmla="*/ 252585 h 1153700"/>
                    <a:gd name="connsiteX3967" fmla="*/ 643831 w 774525"/>
                    <a:gd name="connsiteY3967" fmla="*/ 253144 h 1153700"/>
                    <a:gd name="connsiteX3968" fmla="*/ 649258 w 774525"/>
                    <a:gd name="connsiteY3968" fmla="*/ 255536 h 1153700"/>
                    <a:gd name="connsiteX3969" fmla="*/ 652853 w 774525"/>
                    <a:gd name="connsiteY3969" fmla="*/ 259604 h 1153700"/>
                    <a:gd name="connsiteX3970" fmla="*/ 653363 w 774525"/>
                    <a:gd name="connsiteY3970" fmla="*/ 260175 h 1153700"/>
                    <a:gd name="connsiteX3971" fmla="*/ 654007 w 774525"/>
                    <a:gd name="connsiteY3971" fmla="*/ 260612 h 1153700"/>
                    <a:gd name="connsiteX3972" fmla="*/ 655694 w 774525"/>
                    <a:gd name="connsiteY3972" fmla="*/ 261753 h 1153700"/>
                    <a:gd name="connsiteX3973" fmla="*/ 657455 w 774525"/>
                    <a:gd name="connsiteY3973" fmla="*/ 262919 h 1153700"/>
                    <a:gd name="connsiteX3974" fmla="*/ 657892 w 774525"/>
                    <a:gd name="connsiteY3974" fmla="*/ 263210 h 1153700"/>
                    <a:gd name="connsiteX3975" fmla="*/ 658366 w 774525"/>
                    <a:gd name="connsiteY3975" fmla="*/ 263429 h 1153700"/>
                    <a:gd name="connsiteX3976" fmla="*/ 662154 w 774525"/>
                    <a:gd name="connsiteY3976" fmla="*/ 265093 h 1153700"/>
                    <a:gd name="connsiteX3977" fmla="*/ 662992 w 774525"/>
                    <a:gd name="connsiteY3977" fmla="*/ 265457 h 1153700"/>
                    <a:gd name="connsiteX3978" fmla="*/ 663915 w 774525"/>
                    <a:gd name="connsiteY3978" fmla="*/ 265566 h 1153700"/>
                    <a:gd name="connsiteX3979" fmla="*/ 666963 w 774525"/>
                    <a:gd name="connsiteY3979" fmla="*/ 265906 h 1153700"/>
                    <a:gd name="connsiteX3980" fmla="*/ 668906 w 774525"/>
                    <a:gd name="connsiteY3980" fmla="*/ 266125 h 1153700"/>
                    <a:gd name="connsiteX3981" fmla="*/ 670630 w 774525"/>
                    <a:gd name="connsiteY3981" fmla="*/ 265153 h 1153700"/>
                    <a:gd name="connsiteX3982" fmla="*/ 673059 w 774525"/>
                    <a:gd name="connsiteY3982" fmla="*/ 263781 h 1153700"/>
                    <a:gd name="connsiteX3983" fmla="*/ 673994 w 774525"/>
                    <a:gd name="connsiteY3983" fmla="*/ 265117 h 1153700"/>
                    <a:gd name="connsiteX3984" fmla="*/ 675609 w 774525"/>
                    <a:gd name="connsiteY3984" fmla="*/ 265809 h 1153700"/>
                    <a:gd name="connsiteX3985" fmla="*/ 676459 w 774525"/>
                    <a:gd name="connsiteY3985" fmla="*/ 266173 h 1153700"/>
                    <a:gd name="connsiteX3986" fmla="*/ 677212 w 774525"/>
                    <a:gd name="connsiteY3986" fmla="*/ 266489 h 1153700"/>
                    <a:gd name="connsiteX3987" fmla="*/ 678013 w 774525"/>
                    <a:gd name="connsiteY3987" fmla="*/ 266598 h 1153700"/>
                    <a:gd name="connsiteX3988" fmla="*/ 678936 w 774525"/>
                    <a:gd name="connsiteY3988" fmla="*/ 266720 h 1153700"/>
                    <a:gd name="connsiteX3989" fmla="*/ 679713 w 774525"/>
                    <a:gd name="connsiteY3989" fmla="*/ 266829 h 1153700"/>
                    <a:gd name="connsiteX3990" fmla="*/ 680502 w 774525"/>
                    <a:gd name="connsiteY3990" fmla="*/ 266732 h 1153700"/>
                    <a:gd name="connsiteX3991" fmla="*/ 681474 w 774525"/>
                    <a:gd name="connsiteY3991" fmla="*/ 266610 h 1153700"/>
                    <a:gd name="connsiteX3992" fmla="*/ 682105 w 774525"/>
                    <a:gd name="connsiteY3992" fmla="*/ 266525 h 1153700"/>
                    <a:gd name="connsiteX3993" fmla="*/ 682700 w 774525"/>
                    <a:gd name="connsiteY3993" fmla="*/ 266319 h 1153700"/>
                    <a:gd name="connsiteX3994" fmla="*/ 683028 w 774525"/>
                    <a:gd name="connsiteY3994" fmla="*/ 266210 h 1153700"/>
                    <a:gd name="connsiteX3995" fmla="*/ 690702 w 774525"/>
                    <a:gd name="connsiteY3995" fmla="*/ 265578 h 1153700"/>
                    <a:gd name="connsiteX3996" fmla="*/ 692002 w 774525"/>
                    <a:gd name="connsiteY3996" fmla="*/ 267813 h 1153700"/>
                    <a:gd name="connsiteX3997" fmla="*/ 692208 w 774525"/>
                    <a:gd name="connsiteY3997" fmla="*/ 268153 h 1153700"/>
                    <a:gd name="connsiteX3998" fmla="*/ 692451 w 774525"/>
                    <a:gd name="connsiteY3998" fmla="*/ 268468 h 1153700"/>
                    <a:gd name="connsiteX3999" fmla="*/ 693264 w 774525"/>
                    <a:gd name="connsiteY3999" fmla="*/ 269513 h 1153700"/>
                    <a:gd name="connsiteX4000" fmla="*/ 694151 w 774525"/>
                    <a:gd name="connsiteY4000" fmla="*/ 270630 h 1153700"/>
                    <a:gd name="connsiteX4001" fmla="*/ 694952 w 774525"/>
                    <a:gd name="connsiteY4001" fmla="*/ 271650 h 1153700"/>
                    <a:gd name="connsiteX4002" fmla="*/ 696118 w 774525"/>
                    <a:gd name="connsiteY4002" fmla="*/ 272245 h 1153700"/>
                    <a:gd name="connsiteX4003" fmla="*/ 698000 w 774525"/>
                    <a:gd name="connsiteY4003" fmla="*/ 273216 h 1153700"/>
                    <a:gd name="connsiteX4004" fmla="*/ 699919 w 774525"/>
                    <a:gd name="connsiteY4004" fmla="*/ 274212 h 1153700"/>
                    <a:gd name="connsiteX4005" fmla="*/ 702020 w 774525"/>
                    <a:gd name="connsiteY4005" fmla="*/ 273775 h 1153700"/>
                    <a:gd name="connsiteX4006" fmla="*/ 703586 w 774525"/>
                    <a:gd name="connsiteY4006" fmla="*/ 273447 h 1153700"/>
                    <a:gd name="connsiteX4007" fmla="*/ 704509 w 774525"/>
                    <a:gd name="connsiteY4007" fmla="*/ 273253 h 1153700"/>
                    <a:gd name="connsiteX4008" fmla="*/ 706658 w 774525"/>
                    <a:gd name="connsiteY4008" fmla="*/ 272791 h 1153700"/>
                    <a:gd name="connsiteX4009" fmla="*/ 708018 w 774525"/>
                    <a:gd name="connsiteY4009" fmla="*/ 271055 h 1153700"/>
                    <a:gd name="connsiteX4010" fmla="*/ 709463 w 774525"/>
                    <a:gd name="connsiteY4010" fmla="*/ 269221 h 1153700"/>
                    <a:gd name="connsiteX4011" fmla="*/ 710350 w 774525"/>
                    <a:gd name="connsiteY4011" fmla="*/ 268104 h 1153700"/>
                    <a:gd name="connsiteX4012" fmla="*/ 710629 w 774525"/>
                    <a:gd name="connsiteY4012" fmla="*/ 266695 h 1153700"/>
                    <a:gd name="connsiteX4013" fmla="*/ 711151 w 774525"/>
                    <a:gd name="connsiteY4013" fmla="*/ 264170 h 1153700"/>
                    <a:gd name="connsiteX4014" fmla="*/ 711345 w 774525"/>
                    <a:gd name="connsiteY4014" fmla="*/ 263295 h 1153700"/>
                    <a:gd name="connsiteX4015" fmla="*/ 711261 w 774525"/>
                    <a:gd name="connsiteY4015" fmla="*/ 262409 h 1153700"/>
                    <a:gd name="connsiteX4016" fmla="*/ 711139 w 774525"/>
                    <a:gd name="connsiteY4016" fmla="*/ 261049 h 1153700"/>
                    <a:gd name="connsiteX4017" fmla="*/ 711115 w 774525"/>
                    <a:gd name="connsiteY4017" fmla="*/ 260830 h 1153700"/>
                    <a:gd name="connsiteX4018" fmla="*/ 711600 w 774525"/>
                    <a:gd name="connsiteY4018" fmla="*/ 259203 h 1153700"/>
                    <a:gd name="connsiteX4019" fmla="*/ 711868 w 774525"/>
                    <a:gd name="connsiteY4019" fmla="*/ 258280 h 1153700"/>
                    <a:gd name="connsiteX4020" fmla="*/ 714478 w 774525"/>
                    <a:gd name="connsiteY4020" fmla="*/ 256168 h 1153700"/>
                    <a:gd name="connsiteX4021" fmla="*/ 718558 w 774525"/>
                    <a:gd name="connsiteY4021" fmla="*/ 252865 h 1153700"/>
                    <a:gd name="connsiteX4022" fmla="*/ 719663 w 774525"/>
                    <a:gd name="connsiteY4022" fmla="*/ 251978 h 1153700"/>
                    <a:gd name="connsiteX4023" fmla="*/ 720258 w 774525"/>
                    <a:gd name="connsiteY4023" fmla="*/ 250691 h 1153700"/>
                    <a:gd name="connsiteX4024" fmla="*/ 721837 w 774525"/>
                    <a:gd name="connsiteY4024" fmla="*/ 247291 h 1153700"/>
                    <a:gd name="connsiteX4025" fmla="*/ 723136 w 774525"/>
                    <a:gd name="connsiteY4025" fmla="*/ 244498 h 1153700"/>
                    <a:gd name="connsiteX4026" fmla="*/ 721643 w 774525"/>
                    <a:gd name="connsiteY4026" fmla="*/ 241802 h 1153700"/>
                    <a:gd name="connsiteX4027" fmla="*/ 720647 w 774525"/>
                    <a:gd name="connsiteY4027" fmla="*/ 239993 h 1153700"/>
                    <a:gd name="connsiteX4028" fmla="*/ 720270 w 774525"/>
                    <a:gd name="connsiteY4028" fmla="*/ 239301 h 1153700"/>
                    <a:gd name="connsiteX4029" fmla="*/ 720088 w 774525"/>
                    <a:gd name="connsiteY4029" fmla="*/ 238985 h 1153700"/>
                    <a:gd name="connsiteX4030" fmla="*/ 732608 w 774525"/>
                    <a:gd name="connsiteY4030" fmla="*/ 231165 h 1153700"/>
                    <a:gd name="connsiteX4031" fmla="*/ 722456 w 774525"/>
                    <a:gd name="connsiteY4031" fmla="*/ 229854 h 1153700"/>
                    <a:gd name="connsiteX4032" fmla="*/ 722711 w 774525"/>
                    <a:gd name="connsiteY4032" fmla="*/ 228360 h 1153700"/>
                    <a:gd name="connsiteX4033" fmla="*/ 726342 w 774525"/>
                    <a:gd name="connsiteY4033" fmla="*/ 227583 h 1153700"/>
                    <a:gd name="connsiteX4034" fmla="*/ 731794 w 774525"/>
                    <a:gd name="connsiteY4034" fmla="*/ 226405 h 1153700"/>
                    <a:gd name="connsiteX4035" fmla="*/ 732292 w 774525"/>
                    <a:gd name="connsiteY4035" fmla="*/ 226296 h 1153700"/>
                    <a:gd name="connsiteX4036" fmla="*/ 732766 w 774525"/>
                    <a:gd name="connsiteY4036" fmla="*/ 226102 h 1153700"/>
                    <a:gd name="connsiteX4037" fmla="*/ 736797 w 774525"/>
                    <a:gd name="connsiteY4037" fmla="*/ 224499 h 1153700"/>
                    <a:gd name="connsiteX4038" fmla="*/ 739784 w 774525"/>
                    <a:gd name="connsiteY4038" fmla="*/ 223661 h 1153700"/>
                    <a:gd name="connsiteX4039" fmla="*/ 740829 w 774525"/>
                    <a:gd name="connsiteY4039" fmla="*/ 223357 h 1153700"/>
                    <a:gd name="connsiteX4040" fmla="*/ 741703 w 774525"/>
                    <a:gd name="connsiteY4040" fmla="*/ 222714 h 1153700"/>
                    <a:gd name="connsiteX4041" fmla="*/ 743208 w 774525"/>
                    <a:gd name="connsiteY4041" fmla="*/ 221597 h 1153700"/>
                    <a:gd name="connsiteX4042" fmla="*/ 744459 w 774525"/>
                    <a:gd name="connsiteY4042" fmla="*/ 220674 h 1153700"/>
                    <a:gd name="connsiteX4043" fmla="*/ 745115 w 774525"/>
                    <a:gd name="connsiteY4043" fmla="*/ 219265 h 1153700"/>
                    <a:gd name="connsiteX4044" fmla="*/ 745746 w 774525"/>
                    <a:gd name="connsiteY4044" fmla="*/ 217905 h 1153700"/>
                    <a:gd name="connsiteX4045" fmla="*/ 746402 w 774525"/>
                    <a:gd name="connsiteY4045" fmla="*/ 216484 h 1153700"/>
                    <a:gd name="connsiteX4046" fmla="*/ 746293 w 774525"/>
                    <a:gd name="connsiteY4046" fmla="*/ 214930 h 1153700"/>
                    <a:gd name="connsiteX4047" fmla="*/ 746123 w 774525"/>
                    <a:gd name="connsiteY4047" fmla="*/ 212562 h 1153700"/>
                    <a:gd name="connsiteX4048" fmla="*/ 746098 w 774525"/>
                    <a:gd name="connsiteY4048" fmla="*/ 212295 h 1153700"/>
                    <a:gd name="connsiteX4049" fmla="*/ 747374 w 774525"/>
                    <a:gd name="connsiteY4049" fmla="*/ 211445 h 1153700"/>
                    <a:gd name="connsiteX4050" fmla="*/ 748916 w 774525"/>
                    <a:gd name="connsiteY4050" fmla="*/ 210425 h 1153700"/>
                    <a:gd name="connsiteX4051" fmla="*/ 749632 w 774525"/>
                    <a:gd name="connsiteY4051" fmla="*/ 208725 h 1153700"/>
                    <a:gd name="connsiteX4052" fmla="*/ 752437 w 774525"/>
                    <a:gd name="connsiteY4052" fmla="*/ 201949 h 1153700"/>
                    <a:gd name="connsiteX4053" fmla="*/ 755230 w 774525"/>
                    <a:gd name="connsiteY4053" fmla="*/ 200553 h 1153700"/>
                    <a:gd name="connsiteX4054" fmla="*/ 757610 w 774525"/>
                    <a:gd name="connsiteY4054" fmla="*/ 199824 h 1153700"/>
                    <a:gd name="connsiteX4055" fmla="*/ 758059 w 774525"/>
                    <a:gd name="connsiteY4055" fmla="*/ 199691 h 1153700"/>
                    <a:gd name="connsiteX4056" fmla="*/ 758484 w 774525"/>
                    <a:gd name="connsiteY4056" fmla="*/ 199484 h 1153700"/>
                    <a:gd name="connsiteX4057" fmla="*/ 759747 w 774525"/>
                    <a:gd name="connsiteY4057" fmla="*/ 198865 h 1153700"/>
                    <a:gd name="connsiteX4058" fmla="*/ 762540 w 774525"/>
                    <a:gd name="connsiteY4058" fmla="*/ 197505 h 1153700"/>
                    <a:gd name="connsiteX4059" fmla="*/ 763062 w 774525"/>
                    <a:gd name="connsiteY4059" fmla="*/ 194445 h 1153700"/>
                    <a:gd name="connsiteX4060" fmla="*/ 763293 w 774525"/>
                    <a:gd name="connsiteY4060" fmla="*/ 193146 h 1153700"/>
                    <a:gd name="connsiteX4061" fmla="*/ 763718 w 774525"/>
                    <a:gd name="connsiteY4061" fmla="*/ 190693 h 1153700"/>
                    <a:gd name="connsiteX4062" fmla="*/ 762321 w 774525"/>
                    <a:gd name="connsiteY4062" fmla="*/ 188677 h 1153700"/>
                    <a:gd name="connsiteX4063" fmla="*/ 763038 w 774525"/>
                    <a:gd name="connsiteY4063" fmla="*/ 188264 h 1153700"/>
                    <a:gd name="connsiteX4064" fmla="*/ 763706 w 774525"/>
                    <a:gd name="connsiteY4064" fmla="*/ 187499 h 1153700"/>
                    <a:gd name="connsiteX4065" fmla="*/ 764131 w 774525"/>
                    <a:gd name="connsiteY4065" fmla="*/ 187001 h 1153700"/>
                    <a:gd name="connsiteX4066" fmla="*/ 764847 w 774525"/>
                    <a:gd name="connsiteY4066" fmla="*/ 185969 h 1153700"/>
                    <a:gd name="connsiteX4067" fmla="*/ 765175 w 774525"/>
                    <a:gd name="connsiteY4067" fmla="*/ 185362 h 1153700"/>
                    <a:gd name="connsiteX4068" fmla="*/ 765697 w 774525"/>
                    <a:gd name="connsiteY4068" fmla="*/ 184390 h 1153700"/>
                    <a:gd name="connsiteX4069" fmla="*/ 765855 w 774525"/>
                    <a:gd name="connsiteY4069" fmla="*/ 183286 h 1153700"/>
                    <a:gd name="connsiteX4070" fmla="*/ 767774 w 774525"/>
                    <a:gd name="connsiteY4070" fmla="*/ 169297 h 1153700"/>
                    <a:gd name="connsiteX4071" fmla="*/ 768502 w 774525"/>
                    <a:gd name="connsiteY4071" fmla="*/ 166370 h 1153700"/>
                    <a:gd name="connsiteX4072" fmla="*/ 770506 w 774525"/>
                    <a:gd name="connsiteY4072" fmla="*/ 160845 h 1153700"/>
                    <a:gd name="connsiteX4073" fmla="*/ 770882 w 774525"/>
                    <a:gd name="connsiteY4073" fmla="*/ 159534 h 1153700"/>
                    <a:gd name="connsiteX4074" fmla="*/ 770907 w 774525"/>
                    <a:gd name="connsiteY4074" fmla="*/ 159449 h 1153700"/>
                    <a:gd name="connsiteX4075" fmla="*/ 773445 w 774525"/>
                    <a:gd name="connsiteY4075" fmla="*/ 155381 h 1153700"/>
                    <a:gd name="connsiteX4076" fmla="*/ 774525 w 774525"/>
                    <a:gd name="connsiteY4076" fmla="*/ 153669 h 1153700"/>
                    <a:gd name="connsiteX4077" fmla="*/ 774343 w 774525"/>
                    <a:gd name="connsiteY4077" fmla="*/ 151653 h 1153700"/>
                    <a:gd name="connsiteX4078" fmla="*/ 772558 w 774525"/>
                    <a:gd name="connsiteY4078" fmla="*/ 130694 h 1153700"/>
                    <a:gd name="connsiteX4079" fmla="*/ 772521 w 774525"/>
                    <a:gd name="connsiteY4079" fmla="*/ 130282 h 1153700"/>
                    <a:gd name="connsiteX4080" fmla="*/ 772424 w 774525"/>
                    <a:gd name="connsiteY4080" fmla="*/ 129881 h 1153700"/>
                    <a:gd name="connsiteX4081" fmla="*/ 771635 w 774525"/>
                    <a:gd name="connsiteY4081" fmla="*/ 126359 h 1153700"/>
                    <a:gd name="connsiteX4082" fmla="*/ 771562 w 774525"/>
                    <a:gd name="connsiteY4082" fmla="*/ 126007 h 1153700"/>
                    <a:gd name="connsiteX4083" fmla="*/ 771441 w 774525"/>
                    <a:gd name="connsiteY4083" fmla="*/ 125667 h 1153700"/>
                    <a:gd name="connsiteX4084" fmla="*/ 768260 w 774525"/>
                    <a:gd name="connsiteY4084" fmla="*/ 116657 h 1153700"/>
                    <a:gd name="connsiteX4085" fmla="*/ 768441 w 774525"/>
                    <a:gd name="connsiteY4085" fmla="*/ 116147 h 1153700"/>
                    <a:gd name="connsiteX4086" fmla="*/ 770967 w 774525"/>
                    <a:gd name="connsiteY4086" fmla="*/ 109201 h 1153700"/>
                    <a:gd name="connsiteX4087" fmla="*/ 763657 w 774525"/>
                    <a:gd name="connsiteY4087" fmla="*/ 108072 h 1153700"/>
                    <a:gd name="connsiteX4088" fmla="*/ 763487 w 774525"/>
                    <a:gd name="connsiteY4088" fmla="*/ 108048 h 1153700"/>
                    <a:gd name="connsiteX4089" fmla="*/ 763026 w 774525"/>
                    <a:gd name="connsiteY4089" fmla="*/ 107647 h 1153700"/>
                    <a:gd name="connsiteX4090" fmla="*/ 761508 w 774525"/>
                    <a:gd name="connsiteY4090" fmla="*/ 106336 h 1153700"/>
                    <a:gd name="connsiteX4091" fmla="*/ 759504 w 774525"/>
                    <a:gd name="connsiteY4091" fmla="*/ 106190 h 1153700"/>
                    <a:gd name="connsiteX4092" fmla="*/ 758703 w 774525"/>
                    <a:gd name="connsiteY4092" fmla="*/ 106129 h 1153700"/>
                    <a:gd name="connsiteX4093" fmla="*/ 756323 w 774525"/>
                    <a:gd name="connsiteY4093" fmla="*/ 105947 h 1153700"/>
                    <a:gd name="connsiteX4094" fmla="*/ 754465 w 774525"/>
                    <a:gd name="connsiteY4094" fmla="*/ 107441 h 1153700"/>
                    <a:gd name="connsiteX4095" fmla="*/ 753494 w 774525"/>
                    <a:gd name="connsiteY4095" fmla="*/ 108218 h 1153700"/>
                    <a:gd name="connsiteX4096" fmla="*/ 752097 w 774525"/>
                    <a:gd name="connsiteY4096" fmla="*/ 109335 h 1153700"/>
                    <a:gd name="connsiteX4097" fmla="*/ 751526 w 774525"/>
                    <a:gd name="connsiteY4097" fmla="*/ 111035 h 1153700"/>
                    <a:gd name="connsiteX4098" fmla="*/ 751211 w 774525"/>
                    <a:gd name="connsiteY4098" fmla="*/ 111982 h 1153700"/>
                    <a:gd name="connsiteX4099" fmla="*/ 751077 w 774525"/>
                    <a:gd name="connsiteY4099" fmla="*/ 112346 h 1153700"/>
                    <a:gd name="connsiteX4100" fmla="*/ 744702 w 774525"/>
                    <a:gd name="connsiteY4100" fmla="*/ 112419 h 1153700"/>
                    <a:gd name="connsiteX4101" fmla="*/ 744204 w 774525"/>
                    <a:gd name="connsiteY4101" fmla="*/ 112334 h 1153700"/>
                    <a:gd name="connsiteX4102" fmla="*/ 741921 w 774525"/>
                    <a:gd name="connsiteY4102" fmla="*/ 111982 h 1153700"/>
                    <a:gd name="connsiteX4103" fmla="*/ 737611 w 774525"/>
                    <a:gd name="connsiteY4103" fmla="*/ 110137 h 1153700"/>
                    <a:gd name="connsiteX4104" fmla="*/ 732559 w 774525"/>
                    <a:gd name="connsiteY4104" fmla="*/ 107987 h 1153700"/>
                    <a:gd name="connsiteX4105" fmla="*/ 731564 w 774525"/>
                    <a:gd name="connsiteY4105" fmla="*/ 107562 h 1153700"/>
                    <a:gd name="connsiteX4106" fmla="*/ 730483 w 774525"/>
                    <a:gd name="connsiteY4106" fmla="*/ 107514 h 1153700"/>
                    <a:gd name="connsiteX4107" fmla="*/ 726403 w 774525"/>
                    <a:gd name="connsiteY4107" fmla="*/ 107307 h 1153700"/>
                    <a:gd name="connsiteX4108" fmla="*/ 725091 w 774525"/>
                    <a:gd name="connsiteY4108" fmla="*/ 107246 h 1153700"/>
                    <a:gd name="connsiteX4109" fmla="*/ 723865 w 774525"/>
                    <a:gd name="connsiteY4109" fmla="*/ 107732 h 1153700"/>
                    <a:gd name="connsiteX4110" fmla="*/ 722808 w 774525"/>
                    <a:gd name="connsiteY4110" fmla="*/ 108157 h 1153700"/>
                    <a:gd name="connsiteX4111" fmla="*/ 722784 w 774525"/>
                    <a:gd name="connsiteY4111" fmla="*/ 108011 h 1153700"/>
                    <a:gd name="connsiteX4112" fmla="*/ 722371 w 774525"/>
                    <a:gd name="connsiteY4112" fmla="*/ 104514 h 1153700"/>
                    <a:gd name="connsiteX4113" fmla="*/ 722080 w 774525"/>
                    <a:gd name="connsiteY4113" fmla="*/ 101989 h 1153700"/>
                    <a:gd name="connsiteX4114" fmla="*/ 720076 w 774525"/>
                    <a:gd name="connsiteY4114" fmla="*/ 100434 h 1153700"/>
                    <a:gd name="connsiteX4115" fmla="*/ 716712 w 774525"/>
                    <a:gd name="connsiteY4115" fmla="*/ 97811 h 1153700"/>
                    <a:gd name="connsiteX4116" fmla="*/ 715377 w 774525"/>
                    <a:gd name="connsiteY4116" fmla="*/ 96779 h 1153700"/>
                    <a:gd name="connsiteX4117" fmla="*/ 714624 w 774525"/>
                    <a:gd name="connsiteY4117" fmla="*/ 96196 h 1153700"/>
                    <a:gd name="connsiteX4118" fmla="*/ 713737 w 774525"/>
                    <a:gd name="connsiteY4118" fmla="*/ 95881 h 1153700"/>
                    <a:gd name="connsiteX4119" fmla="*/ 710010 w 774525"/>
                    <a:gd name="connsiteY4119" fmla="*/ 94521 h 1153700"/>
                    <a:gd name="connsiteX4120" fmla="*/ 706257 w 774525"/>
                    <a:gd name="connsiteY4120" fmla="*/ 93173 h 1153700"/>
                    <a:gd name="connsiteX4121" fmla="*/ 705723 w 774525"/>
                    <a:gd name="connsiteY4121" fmla="*/ 92978 h 1153700"/>
                    <a:gd name="connsiteX4122" fmla="*/ 705177 w 774525"/>
                    <a:gd name="connsiteY4122" fmla="*/ 92881 h 1153700"/>
                    <a:gd name="connsiteX4123" fmla="*/ 697478 w 774525"/>
                    <a:gd name="connsiteY4123" fmla="*/ 91618 h 1153700"/>
                    <a:gd name="connsiteX4124" fmla="*/ 696640 w 774525"/>
                    <a:gd name="connsiteY4124" fmla="*/ 91473 h 1153700"/>
                    <a:gd name="connsiteX4125" fmla="*/ 695802 w 774525"/>
                    <a:gd name="connsiteY4125" fmla="*/ 91570 h 1153700"/>
                    <a:gd name="connsiteX4126" fmla="*/ 691904 w 774525"/>
                    <a:gd name="connsiteY4126" fmla="*/ 92019 h 1153700"/>
                    <a:gd name="connsiteX4127" fmla="*/ 685870 w 774525"/>
                    <a:gd name="connsiteY4127" fmla="*/ 92723 h 1153700"/>
                    <a:gd name="connsiteX4128" fmla="*/ 681158 w 774525"/>
                    <a:gd name="connsiteY4128" fmla="*/ 90392 h 1153700"/>
                    <a:gd name="connsiteX4129" fmla="*/ 677248 w 774525"/>
                    <a:gd name="connsiteY4129" fmla="*/ 87769 h 1153700"/>
                    <a:gd name="connsiteX4130" fmla="*/ 674237 w 774525"/>
                    <a:gd name="connsiteY4130" fmla="*/ 85766 h 1153700"/>
                    <a:gd name="connsiteX4131" fmla="*/ 669136 w 774525"/>
                    <a:gd name="connsiteY4131" fmla="*/ 82366 h 1153700"/>
                    <a:gd name="connsiteX4132" fmla="*/ 666866 w 774525"/>
                    <a:gd name="connsiteY4132" fmla="*/ 80860 h 1153700"/>
                    <a:gd name="connsiteX4133" fmla="*/ 664231 w 774525"/>
                    <a:gd name="connsiteY4133" fmla="*/ 81540 h 1153700"/>
                    <a:gd name="connsiteX4134" fmla="*/ 661717 w 774525"/>
                    <a:gd name="connsiteY4134" fmla="*/ 82196 h 1153700"/>
                    <a:gd name="connsiteX4135" fmla="*/ 657394 w 774525"/>
                    <a:gd name="connsiteY4135" fmla="*/ 83325 h 1153700"/>
                    <a:gd name="connsiteX4136" fmla="*/ 655658 w 774525"/>
                    <a:gd name="connsiteY4136" fmla="*/ 83240 h 1153700"/>
                    <a:gd name="connsiteX4137" fmla="*/ 655245 w 774525"/>
                    <a:gd name="connsiteY4137" fmla="*/ 83228 h 1153700"/>
                    <a:gd name="connsiteX4138" fmla="*/ 654832 w 774525"/>
                    <a:gd name="connsiteY4138" fmla="*/ 83264 h 1153700"/>
                    <a:gd name="connsiteX4139" fmla="*/ 653776 w 774525"/>
                    <a:gd name="connsiteY4139" fmla="*/ 83361 h 1153700"/>
                    <a:gd name="connsiteX4140" fmla="*/ 652477 w 774525"/>
                    <a:gd name="connsiteY4140" fmla="*/ 83483 h 1153700"/>
                    <a:gd name="connsiteX4141" fmla="*/ 650752 w 774525"/>
                    <a:gd name="connsiteY4141" fmla="*/ 83641 h 1153700"/>
                    <a:gd name="connsiteX4142" fmla="*/ 649368 w 774525"/>
                    <a:gd name="connsiteY4142" fmla="*/ 84685 h 1153700"/>
                    <a:gd name="connsiteX4143" fmla="*/ 647364 w 774525"/>
                    <a:gd name="connsiteY4143" fmla="*/ 86203 h 1153700"/>
                    <a:gd name="connsiteX4144" fmla="*/ 647061 w 774525"/>
                    <a:gd name="connsiteY4144" fmla="*/ 86433 h 1153700"/>
                    <a:gd name="connsiteX4145" fmla="*/ 646793 w 774525"/>
                    <a:gd name="connsiteY4145" fmla="*/ 86701 h 1153700"/>
                    <a:gd name="connsiteX4146" fmla="*/ 645810 w 774525"/>
                    <a:gd name="connsiteY4146" fmla="*/ 87660 h 1153700"/>
                    <a:gd name="connsiteX4147" fmla="*/ 645239 w 774525"/>
                    <a:gd name="connsiteY4147" fmla="*/ 88231 h 1153700"/>
                    <a:gd name="connsiteX4148" fmla="*/ 644414 w 774525"/>
                    <a:gd name="connsiteY4148" fmla="*/ 88765 h 1153700"/>
                    <a:gd name="connsiteX4149" fmla="*/ 640589 w 774525"/>
                    <a:gd name="connsiteY4149" fmla="*/ 89749 h 1153700"/>
                    <a:gd name="connsiteX4150" fmla="*/ 636229 w 774525"/>
                    <a:gd name="connsiteY4150" fmla="*/ 90149 h 1153700"/>
                    <a:gd name="connsiteX4151" fmla="*/ 626745 w 774525"/>
                    <a:gd name="connsiteY4151" fmla="*/ 89639 h 1153700"/>
                    <a:gd name="connsiteX4152" fmla="*/ 623989 w 774525"/>
                    <a:gd name="connsiteY4152" fmla="*/ 88886 h 1153700"/>
                    <a:gd name="connsiteX4153" fmla="*/ 623127 w 774525"/>
                    <a:gd name="connsiteY4153" fmla="*/ 88656 h 1153700"/>
                    <a:gd name="connsiteX4154" fmla="*/ 622714 w 774525"/>
                    <a:gd name="connsiteY4154" fmla="*/ 88182 h 1153700"/>
                    <a:gd name="connsiteX4155" fmla="*/ 622483 w 774525"/>
                    <a:gd name="connsiteY4155" fmla="*/ 87927 h 1153700"/>
                    <a:gd name="connsiteX4156" fmla="*/ 621876 w 774525"/>
                    <a:gd name="connsiteY4156" fmla="*/ 86276 h 1153700"/>
                    <a:gd name="connsiteX4157" fmla="*/ 621378 w 774525"/>
                    <a:gd name="connsiteY4157" fmla="*/ 84903 h 1153700"/>
                    <a:gd name="connsiteX4158" fmla="*/ 621245 w 774525"/>
                    <a:gd name="connsiteY4158" fmla="*/ 84551 h 1153700"/>
                    <a:gd name="connsiteX4159" fmla="*/ 621075 w 774525"/>
                    <a:gd name="connsiteY4159" fmla="*/ 84223 h 1153700"/>
                    <a:gd name="connsiteX4160" fmla="*/ 618488 w 774525"/>
                    <a:gd name="connsiteY4160" fmla="*/ 79172 h 1153700"/>
                    <a:gd name="connsiteX4161" fmla="*/ 618100 w 774525"/>
                    <a:gd name="connsiteY4161" fmla="*/ 78419 h 1153700"/>
                    <a:gd name="connsiteX4162" fmla="*/ 617517 w 774525"/>
                    <a:gd name="connsiteY4162" fmla="*/ 77800 h 1153700"/>
                    <a:gd name="connsiteX4163" fmla="*/ 614578 w 774525"/>
                    <a:gd name="connsiteY4163" fmla="*/ 74643 h 1153700"/>
                    <a:gd name="connsiteX4164" fmla="*/ 614177 w 774525"/>
                    <a:gd name="connsiteY4164" fmla="*/ 74206 h 1153700"/>
                    <a:gd name="connsiteX4165" fmla="*/ 613692 w 774525"/>
                    <a:gd name="connsiteY4165" fmla="*/ 73853 h 1153700"/>
                    <a:gd name="connsiteX4166" fmla="*/ 609988 w 774525"/>
                    <a:gd name="connsiteY4166" fmla="*/ 71194 h 1153700"/>
                    <a:gd name="connsiteX4167" fmla="*/ 609333 w 774525"/>
                    <a:gd name="connsiteY4167" fmla="*/ 70721 h 1153700"/>
                    <a:gd name="connsiteX4168" fmla="*/ 608786 w 774525"/>
                    <a:gd name="connsiteY4168" fmla="*/ 70332 h 1153700"/>
                    <a:gd name="connsiteX4169" fmla="*/ 608179 w 774525"/>
                    <a:gd name="connsiteY4169" fmla="*/ 70077 h 1153700"/>
                    <a:gd name="connsiteX4170" fmla="*/ 605835 w 774525"/>
                    <a:gd name="connsiteY4170" fmla="*/ 69069 h 1153700"/>
                    <a:gd name="connsiteX4171" fmla="*/ 603492 w 774525"/>
                    <a:gd name="connsiteY4171" fmla="*/ 68061 h 1153700"/>
                    <a:gd name="connsiteX4172" fmla="*/ 602168 w 774525"/>
                    <a:gd name="connsiteY4172" fmla="*/ 67490 h 1153700"/>
                    <a:gd name="connsiteX4173" fmla="*/ 600735 w 774525"/>
                    <a:gd name="connsiteY4173" fmla="*/ 67575 h 1153700"/>
                    <a:gd name="connsiteX4174" fmla="*/ 598635 w 774525"/>
                    <a:gd name="connsiteY4174" fmla="*/ 67697 h 1153700"/>
                    <a:gd name="connsiteX4175" fmla="*/ 596752 w 774525"/>
                    <a:gd name="connsiteY4175" fmla="*/ 67806 h 1153700"/>
                    <a:gd name="connsiteX4176" fmla="*/ 595016 w 774525"/>
                    <a:gd name="connsiteY4176" fmla="*/ 67903 h 1153700"/>
                    <a:gd name="connsiteX4177" fmla="*/ 594142 w 774525"/>
                    <a:gd name="connsiteY4177" fmla="*/ 68535 h 1153700"/>
                    <a:gd name="connsiteX4178" fmla="*/ 594202 w 774525"/>
                    <a:gd name="connsiteY4178" fmla="*/ 68025 h 1153700"/>
                    <a:gd name="connsiteX4179" fmla="*/ 593984 w 774525"/>
                    <a:gd name="connsiteY4179" fmla="*/ 66993 h 1153700"/>
                    <a:gd name="connsiteX4180" fmla="*/ 593462 w 774525"/>
                    <a:gd name="connsiteY4180" fmla="*/ 64528 h 1153700"/>
                    <a:gd name="connsiteX4181" fmla="*/ 593146 w 774525"/>
                    <a:gd name="connsiteY4181" fmla="*/ 63022 h 1153700"/>
                    <a:gd name="connsiteX4182" fmla="*/ 592150 w 774525"/>
                    <a:gd name="connsiteY4182" fmla="*/ 61844 h 1153700"/>
                    <a:gd name="connsiteX4183" fmla="*/ 588847 w 774525"/>
                    <a:gd name="connsiteY4183" fmla="*/ 57946 h 1153700"/>
                    <a:gd name="connsiteX4184" fmla="*/ 586759 w 774525"/>
                    <a:gd name="connsiteY4184" fmla="*/ 55481 h 1153700"/>
                    <a:gd name="connsiteX4185" fmla="*/ 583553 w 774525"/>
                    <a:gd name="connsiteY4185" fmla="*/ 55833 h 1153700"/>
                    <a:gd name="connsiteX4186" fmla="*/ 579752 w 774525"/>
                    <a:gd name="connsiteY4186" fmla="*/ 56258 h 1153700"/>
                    <a:gd name="connsiteX4187" fmla="*/ 578854 w 774525"/>
                    <a:gd name="connsiteY4187" fmla="*/ 56355 h 1153700"/>
                    <a:gd name="connsiteX4188" fmla="*/ 578854 w 774525"/>
                    <a:gd name="connsiteY4188" fmla="*/ 48050 h 1153700"/>
                    <a:gd name="connsiteX4189" fmla="*/ 578854 w 774525"/>
                    <a:gd name="connsiteY4189" fmla="*/ 47515 h 1153700"/>
                    <a:gd name="connsiteX4190" fmla="*/ 578757 w 774525"/>
                    <a:gd name="connsiteY4190" fmla="*/ 46993 h 1153700"/>
                    <a:gd name="connsiteX4191" fmla="*/ 577906 w 774525"/>
                    <a:gd name="connsiteY4191" fmla="*/ 42197 h 1153700"/>
                    <a:gd name="connsiteX4192" fmla="*/ 577737 w 774525"/>
                    <a:gd name="connsiteY4192" fmla="*/ 41225 h 1153700"/>
                    <a:gd name="connsiteX4193" fmla="*/ 577190 w 774525"/>
                    <a:gd name="connsiteY4193" fmla="*/ 39975 h 1153700"/>
                    <a:gd name="connsiteX4194" fmla="*/ 574725 w 774525"/>
                    <a:gd name="connsiteY4194" fmla="*/ 35409 h 1153700"/>
                    <a:gd name="connsiteX4195" fmla="*/ 574070 w 774525"/>
                    <a:gd name="connsiteY4195" fmla="*/ 34195 h 1153700"/>
                    <a:gd name="connsiteX4196" fmla="*/ 572965 w 774525"/>
                    <a:gd name="connsiteY4196" fmla="*/ 33393 h 1153700"/>
                    <a:gd name="connsiteX4197" fmla="*/ 569431 w 774525"/>
                    <a:gd name="connsiteY4197" fmla="*/ 30819 h 1153700"/>
                    <a:gd name="connsiteX4198" fmla="*/ 568714 w 774525"/>
                    <a:gd name="connsiteY4198" fmla="*/ 30309 h 1153700"/>
                    <a:gd name="connsiteX4199" fmla="*/ 568338 w 774525"/>
                    <a:gd name="connsiteY4199" fmla="*/ 30042 h 1153700"/>
                    <a:gd name="connsiteX4200" fmla="*/ 567937 w 774525"/>
                    <a:gd name="connsiteY4200" fmla="*/ 29835 h 1153700"/>
                    <a:gd name="connsiteX4201" fmla="*/ 556571 w 774525"/>
                    <a:gd name="connsiteY4201" fmla="*/ 24043 h 1153700"/>
                    <a:gd name="connsiteX4202" fmla="*/ 555649 w 774525"/>
                    <a:gd name="connsiteY4202" fmla="*/ 23387 h 1153700"/>
                    <a:gd name="connsiteX4203" fmla="*/ 555151 w 774525"/>
                    <a:gd name="connsiteY4203" fmla="*/ 23035 h 1153700"/>
                    <a:gd name="connsiteX4204" fmla="*/ 552990 w 774525"/>
                    <a:gd name="connsiteY4204" fmla="*/ 21505 h 1153700"/>
                    <a:gd name="connsiteX4205" fmla="*/ 550378 w 774525"/>
                    <a:gd name="connsiteY4205" fmla="*/ 22052 h 1153700"/>
                    <a:gd name="connsiteX4206" fmla="*/ 549504 w 774525"/>
                    <a:gd name="connsiteY4206" fmla="*/ 22234 h 1153700"/>
                    <a:gd name="connsiteX4207" fmla="*/ 547222 w 774525"/>
                    <a:gd name="connsiteY4207" fmla="*/ 21408 h 1153700"/>
                    <a:gd name="connsiteX4208" fmla="*/ 543991 w 774525"/>
                    <a:gd name="connsiteY4208" fmla="*/ 18773 h 1153700"/>
                    <a:gd name="connsiteX4209" fmla="*/ 543081 w 774525"/>
                    <a:gd name="connsiteY4209" fmla="*/ 18020 h 1153700"/>
                    <a:gd name="connsiteX4210" fmla="*/ 541951 w 774525"/>
                    <a:gd name="connsiteY4210" fmla="*/ 17668 h 1153700"/>
                    <a:gd name="connsiteX4211" fmla="*/ 540579 w 774525"/>
                    <a:gd name="connsiteY4211" fmla="*/ 17243 h 1153700"/>
                    <a:gd name="connsiteX4212" fmla="*/ 539365 w 774525"/>
                    <a:gd name="connsiteY4212" fmla="*/ 16867 h 1153700"/>
                    <a:gd name="connsiteX4213" fmla="*/ 538102 w 774525"/>
                    <a:gd name="connsiteY4213" fmla="*/ 17000 h 1153700"/>
                    <a:gd name="connsiteX4214" fmla="*/ 529347 w 774525"/>
                    <a:gd name="connsiteY4214" fmla="*/ 17984 h 1153700"/>
                    <a:gd name="connsiteX4215" fmla="*/ 516767 w 774525"/>
                    <a:gd name="connsiteY4215" fmla="*/ 16089 h 1153700"/>
                    <a:gd name="connsiteX4216" fmla="*/ 516075 w 774525"/>
                    <a:gd name="connsiteY4216" fmla="*/ 15992 h 1153700"/>
                    <a:gd name="connsiteX4217" fmla="*/ 515370 w 774525"/>
                    <a:gd name="connsiteY4217" fmla="*/ 16041 h 1153700"/>
                    <a:gd name="connsiteX4218" fmla="*/ 510829 w 774525"/>
                    <a:gd name="connsiteY4218" fmla="*/ 16405 h 1153700"/>
                    <a:gd name="connsiteX4219" fmla="*/ 508704 w 774525"/>
                    <a:gd name="connsiteY4219" fmla="*/ 16575 h 1153700"/>
                    <a:gd name="connsiteX4220" fmla="*/ 507150 w 774525"/>
                    <a:gd name="connsiteY4220" fmla="*/ 18044 h 1153700"/>
                    <a:gd name="connsiteX4221" fmla="*/ 494315 w 774525"/>
                    <a:gd name="connsiteY4221" fmla="*/ 30163 h 1153700"/>
                    <a:gd name="connsiteX4222" fmla="*/ 490672 w 774525"/>
                    <a:gd name="connsiteY4222" fmla="*/ 32592 h 1153700"/>
                    <a:gd name="connsiteX4223" fmla="*/ 487891 w 774525"/>
                    <a:gd name="connsiteY4223" fmla="*/ 33915 h 1153700"/>
                    <a:gd name="connsiteX4224" fmla="*/ 483337 w 774525"/>
                    <a:gd name="connsiteY4224" fmla="*/ 34862 h 1153700"/>
                    <a:gd name="connsiteX4225" fmla="*/ 482488 w 774525"/>
                    <a:gd name="connsiteY4225" fmla="*/ 34838 h 1153700"/>
                    <a:gd name="connsiteX4226" fmla="*/ 481941 w 774525"/>
                    <a:gd name="connsiteY4226" fmla="*/ 34182 h 1153700"/>
                    <a:gd name="connsiteX4227" fmla="*/ 480958 w 774525"/>
                    <a:gd name="connsiteY4227" fmla="*/ 32980 h 1153700"/>
                    <a:gd name="connsiteX4228" fmla="*/ 479512 w 774525"/>
                    <a:gd name="connsiteY4228" fmla="*/ 32410 h 1153700"/>
                    <a:gd name="connsiteX4229" fmla="*/ 460084 w 774525"/>
                    <a:gd name="connsiteY4229" fmla="*/ 24711 h 1153700"/>
                    <a:gd name="connsiteX4230" fmla="*/ 459501 w 774525"/>
                    <a:gd name="connsiteY4230" fmla="*/ 24480 h 1153700"/>
                    <a:gd name="connsiteX4231" fmla="*/ 458882 w 774525"/>
                    <a:gd name="connsiteY4231" fmla="*/ 24371 h 1153700"/>
                    <a:gd name="connsiteX4232" fmla="*/ 451487 w 774525"/>
                    <a:gd name="connsiteY4232" fmla="*/ 23084 h 1153700"/>
                    <a:gd name="connsiteX4233" fmla="*/ 450552 w 774525"/>
                    <a:gd name="connsiteY4233" fmla="*/ 22926 h 1153700"/>
                    <a:gd name="connsiteX4234" fmla="*/ 449617 w 774525"/>
                    <a:gd name="connsiteY4234" fmla="*/ 23047 h 1153700"/>
                    <a:gd name="connsiteX4235" fmla="*/ 441687 w 774525"/>
                    <a:gd name="connsiteY4235" fmla="*/ 24140 h 1153700"/>
                    <a:gd name="connsiteX4236" fmla="*/ 437291 w 774525"/>
                    <a:gd name="connsiteY4236" fmla="*/ 24031 h 1153700"/>
                    <a:gd name="connsiteX4237" fmla="*/ 435798 w 774525"/>
                    <a:gd name="connsiteY4237" fmla="*/ 23582 h 1153700"/>
                    <a:gd name="connsiteX4238" fmla="*/ 435701 w 774525"/>
                    <a:gd name="connsiteY4238" fmla="*/ 23509 h 1153700"/>
                    <a:gd name="connsiteX4239" fmla="*/ 435592 w 774525"/>
                    <a:gd name="connsiteY4239" fmla="*/ 23011 h 1153700"/>
                    <a:gd name="connsiteX4240" fmla="*/ 435446 w 774525"/>
                    <a:gd name="connsiteY4240" fmla="*/ 19538 h 1153700"/>
                    <a:gd name="connsiteX4241" fmla="*/ 435397 w 774525"/>
                    <a:gd name="connsiteY4241" fmla="*/ 18494 h 1153700"/>
                    <a:gd name="connsiteX4242" fmla="*/ 435009 w 774525"/>
                    <a:gd name="connsiteY4242" fmla="*/ 17522 h 1153700"/>
                    <a:gd name="connsiteX4243" fmla="*/ 434256 w 774525"/>
                    <a:gd name="connsiteY4243" fmla="*/ 15640 h 1153700"/>
                    <a:gd name="connsiteX4244" fmla="*/ 434001 w 774525"/>
                    <a:gd name="connsiteY4244" fmla="*/ 15021 h 1153700"/>
                    <a:gd name="connsiteX4245" fmla="*/ 433624 w 774525"/>
                    <a:gd name="connsiteY4245" fmla="*/ 14474 h 1153700"/>
                    <a:gd name="connsiteX4246" fmla="*/ 432203 w 774525"/>
                    <a:gd name="connsiteY4246" fmla="*/ 12398 h 1153700"/>
                    <a:gd name="connsiteX4247" fmla="*/ 431523 w 774525"/>
                    <a:gd name="connsiteY4247" fmla="*/ 11402 h 1153700"/>
                    <a:gd name="connsiteX4248" fmla="*/ 430504 w 774525"/>
                    <a:gd name="connsiteY4248" fmla="*/ 10747 h 1153700"/>
                    <a:gd name="connsiteX4249" fmla="*/ 424918 w 774525"/>
                    <a:gd name="connsiteY4249" fmla="*/ 7104 h 1153700"/>
                    <a:gd name="connsiteX4250" fmla="*/ 423035 w 774525"/>
                    <a:gd name="connsiteY4250" fmla="*/ 5027 h 1153700"/>
                    <a:gd name="connsiteX4251" fmla="*/ 422064 w 774525"/>
                    <a:gd name="connsiteY4251" fmla="*/ 3946 h 1153700"/>
                    <a:gd name="connsiteX4252" fmla="*/ 420716 w 774525"/>
                    <a:gd name="connsiteY4252" fmla="*/ 3424 h 1153700"/>
                    <a:gd name="connsiteX4253" fmla="*/ 417219 w 774525"/>
                    <a:gd name="connsiteY4253" fmla="*/ 2077 h 1153700"/>
                    <a:gd name="connsiteX4254" fmla="*/ 412058 w 774525"/>
                    <a:gd name="connsiteY4254" fmla="*/ 0 h 1153700"/>
                    <a:gd name="connsiteX4255" fmla="*/ 412058 w 774525"/>
                    <a:gd name="connsiteY4255" fmla="*/ 0 h 1153700"/>
                    <a:gd name="connsiteX4256" fmla="*/ 482827 w 774525"/>
                    <a:gd name="connsiteY4256" fmla="*/ 156182 h 1153700"/>
                    <a:gd name="connsiteX4257" fmla="*/ 484382 w 774525"/>
                    <a:gd name="connsiteY4257" fmla="*/ 150997 h 1153700"/>
                    <a:gd name="connsiteX4258" fmla="*/ 484406 w 774525"/>
                    <a:gd name="connsiteY4258" fmla="*/ 151034 h 1153700"/>
                    <a:gd name="connsiteX4259" fmla="*/ 486883 w 774525"/>
                    <a:gd name="connsiteY4259" fmla="*/ 153754 h 1153700"/>
                    <a:gd name="connsiteX4260" fmla="*/ 488049 w 774525"/>
                    <a:gd name="connsiteY4260" fmla="*/ 155017 h 1153700"/>
                    <a:gd name="connsiteX4261" fmla="*/ 489688 w 774525"/>
                    <a:gd name="connsiteY4261" fmla="*/ 155490 h 1153700"/>
                    <a:gd name="connsiteX4262" fmla="*/ 494946 w 774525"/>
                    <a:gd name="connsiteY4262" fmla="*/ 157008 h 1153700"/>
                    <a:gd name="connsiteX4263" fmla="*/ 495930 w 774525"/>
                    <a:gd name="connsiteY4263" fmla="*/ 157300 h 1153700"/>
                    <a:gd name="connsiteX4264" fmla="*/ 497351 w 774525"/>
                    <a:gd name="connsiteY4264" fmla="*/ 157943 h 1153700"/>
                    <a:gd name="connsiteX4265" fmla="*/ 498977 w 774525"/>
                    <a:gd name="connsiteY4265" fmla="*/ 159753 h 1153700"/>
                    <a:gd name="connsiteX4266" fmla="*/ 499293 w 774525"/>
                    <a:gd name="connsiteY4266" fmla="*/ 160117 h 1153700"/>
                    <a:gd name="connsiteX4267" fmla="*/ 499657 w 774525"/>
                    <a:gd name="connsiteY4267" fmla="*/ 160420 h 1153700"/>
                    <a:gd name="connsiteX4268" fmla="*/ 500787 w 774525"/>
                    <a:gd name="connsiteY4268" fmla="*/ 161331 h 1153700"/>
                    <a:gd name="connsiteX4269" fmla="*/ 498310 w 774525"/>
                    <a:gd name="connsiteY4269" fmla="*/ 160202 h 1153700"/>
                    <a:gd name="connsiteX4270" fmla="*/ 497630 w 774525"/>
                    <a:gd name="connsiteY4270" fmla="*/ 159898 h 1153700"/>
                    <a:gd name="connsiteX4271" fmla="*/ 496901 w 774525"/>
                    <a:gd name="connsiteY4271" fmla="*/ 159765 h 1153700"/>
                    <a:gd name="connsiteX4272" fmla="*/ 486762 w 774525"/>
                    <a:gd name="connsiteY4272" fmla="*/ 157858 h 1153700"/>
                    <a:gd name="connsiteX4273" fmla="*/ 484151 w 774525"/>
                    <a:gd name="connsiteY4273" fmla="*/ 156729 h 1153700"/>
                    <a:gd name="connsiteX4274" fmla="*/ 483010 w 774525"/>
                    <a:gd name="connsiteY4274" fmla="*/ 156243 h 1153700"/>
                    <a:gd name="connsiteX4275" fmla="*/ 482827 w 774525"/>
                    <a:gd name="connsiteY4275" fmla="*/ 156182 h 1153700"/>
                    <a:gd name="connsiteX4276" fmla="*/ 482827 w 774525"/>
                    <a:gd name="connsiteY4276" fmla="*/ 156182 h 1153700"/>
                    <a:gd name="connsiteX4277" fmla="*/ 589965 w 774525"/>
                    <a:gd name="connsiteY4277" fmla="*/ 178610 h 1153700"/>
                    <a:gd name="connsiteX4278" fmla="*/ 590450 w 774525"/>
                    <a:gd name="connsiteY4278" fmla="*/ 178173 h 1153700"/>
                    <a:gd name="connsiteX4279" fmla="*/ 590632 w 774525"/>
                    <a:gd name="connsiteY4279" fmla="*/ 177991 h 1153700"/>
                    <a:gd name="connsiteX4280" fmla="*/ 590693 w 774525"/>
                    <a:gd name="connsiteY4280" fmla="*/ 178028 h 1153700"/>
                    <a:gd name="connsiteX4281" fmla="*/ 592721 w 774525"/>
                    <a:gd name="connsiteY4281" fmla="*/ 179473 h 1153700"/>
                    <a:gd name="connsiteX4282" fmla="*/ 593765 w 774525"/>
                    <a:gd name="connsiteY4282" fmla="*/ 180213 h 1153700"/>
                    <a:gd name="connsiteX4283" fmla="*/ 594118 w 774525"/>
                    <a:gd name="connsiteY4283" fmla="*/ 180456 h 1153700"/>
                    <a:gd name="connsiteX4284" fmla="*/ 594494 w 774525"/>
                    <a:gd name="connsiteY4284" fmla="*/ 180650 h 1153700"/>
                    <a:gd name="connsiteX4285" fmla="*/ 595611 w 774525"/>
                    <a:gd name="connsiteY4285" fmla="*/ 181221 h 1153700"/>
                    <a:gd name="connsiteX4286" fmla="*/ 595635 w 774525"/>
                    <a:gd name="connsiteY4286" fmla="*/ 181258 h 1153700"/>
                    <a:gd name="connsiteX4287" fmla="*/ 597748 w 774525"/>
                    <a:gd name="connsiteY4287" fmla="*/ 183541 h 1153700"/>
                    <a:gd name="connsiteX4288" fmla="*/ 598028 w 774525"/>
                    <a:gd name="connsiteY4288" fmla="*/ 183844 h 1153700"/>
                    <a:gd name="connsiteX4289" fmla="*/ 598343 w 774525"/>
                    <a:gd name="connsiteY4289" fmla="*/ 184111 h 1153700"/>
                    <a:gd name="connsiteX4290" fmla="*/ 599728 w 774525"/>
                    <a:gd name="connsiteY4290" fmla="*/ 185253 h 1153700"/>
                    <a:gd name="connsiteX4291" fmla="*/ 600468 w 774525"/>
                    <a:gd name="connsiteY4291" fmla="*/ 185848 h 1153700"/>
                    <a:gd name="connsiteX4292" fmla="*/ 601682 w 774525"/>
                    <a:gd name="connsiteY4292" fmla="*/ 186467 h 1153700"/>
                    <a:gd name="connsiteX4293" fmla="*/ 603674 w 774525"/>
                    <a:gd name="connsiteY4293" fmla="*/ 187256 h 1153700"/>
                    <a:gd name="connsiteX4294" fmla="*/ 604063 w 774525"/>
                    <a:gd name="connsiteY4294" fmla="*/ 187414 h 1153700"/>
                    <a:gd name="connsiteX4295" fmla="*/ 604475 w 774525"/>
                    <a:gd name="connsiteY4295" fmla="*/ 187511 h 1153700"/>
                    <a:gd name="connsiteX4296" fmla="*/ 605313 w 774525"/>
                    <a:gd name="connsiteY4296" fmla="*/ 187718 h 1153700"/>
                    <a:gd name="connsiteX4297" fmla="*/ 605811 w 774525"/>
                    <a:gd name="connsiteY4297" fmla="*/ 187839 h 1153700"/>
                    <a:gd name="connsiteX4298" fmla="*/ 606030 w 774525"/>
                    <a:gd name="connsiteY4298" fmla="*/ 189114 h 1153700"/>
                    <a:gd name="connsiteX4299" fmla="*/ 606248 w 774525"/>
                    <a:gd name="connsiteY4299" fmla="*/ 190365 h 1153700"/>
                    <a:gd name="connsiteX4300" fmla="*/ 601853 w 774525"/>
                    <a:gd name="connsiteY4300" fmla="*/ 193243 h 1153700"/>
                    <a:gd name="connsiteX4301" fmla="*/ 601294 w 774525"/>
                    <a:gd name="connsiteY4301" fmla="*/ 191433 h 1153700"/>
                    <a:gd name="connsiteX4302" fmla="*/ 600541 w 774525"/>
                    <a:gd name="connsiteY4302" fmla="*/ 188944 h 1153700"/>
                    <a:gd name="connsiteX4303" fmla="*/ 598210 w 774525"/>
                    <a:gd name="connsiteY4303" fmla="*/ 187778 h 1153700"/>
                    <a:gd name="connsiteX4304" fmla="*/ 593547 w 774525"/>
                    <a:gd name="connsiteY4304" fmla="*/ 185459 h 1153700"/>
                    <a:gd name="connsiteX4305" fmla="*/ 593158 w 774525"/>
                    <a:gd name="connsiteY4305" fmla="*/ 185265 h 1153700"/>
                    <a:gd name="connsiteX4306" fmla="*/ 592758 w 774525"/>
                    <a:gd name="connsiteY4306" fmla="*/ 185131 h 1153700"/>
                    <a:gd name="connsiteX4307" fmla="*/ 588787 w 774525"/>
                    <a:gd name="connsiteY4307" fmla="*/ 183820 h 1153700"/>
                    <a:gd name="connsiteX4308" fmla="*/ 587657 w 774525"/>
                    <a:gd name="connsiteY4308" fmla="*/ 182654 h 1153700"/>
                    <a:gd name="connsiteX4309" fmla="*/ 588398 w 774525"/>
                    <a:gd name="connsiteY4309" fmla="*/ 180881 h 1153700"/>
                    <a:gd name="connsiteX4310" fmla="*/ 589965 w 774525"/>
                    <a:gd name="connsiteY4310" fmla="*/ 178610 h 1153700"/>
                    <a:gd name="connsiteX4311" fmla="*/ 589965 w 774525"/>
                    <a:gd name="connsiteY4311" fmla="*/ 178610 h 1153700"/>
                    <a:gd name="connsiteX4312" fmla="*/ 526591 w 774525"/>
                    <a:gd name="connsiteY4312" fmla="*/ 1084559 h 1153700"/>
                    <a:gd name="connsiteX4313" fmla="*/ 531836 w 774525"/>
                    <a:gd name="connsiteY4313" fmla="*/ 1070692 h 1153700"/>
                    <a:gd name="connsiteX4314" fmla="*/ 532601 w 774525"/>
                    <a:gd name="connsiteY4314" fmla="*/ 1070995 h 1153700"/>
                    <a:gd name="connsiteX4315" fmla="*/ 533706 w 774525"/>
                    <a:gd name="connsiteY4315" fmla="*/ 1071432 h 1153700"/>
                    <a:gd name="connsiteX4316" fmla="*/ 534909 w 774525"/>
                    <a:gd name="connsiteY4316" fmla="*/ 1071420 h 1153700"/>
                    <a:gd name="connsiteX4317" fmla="*/ 537434 w 774525"/>
                    <a:gd name="connsiteY4317" fmla="*/ 1071396 h 1153700"/>
                    <a:gd name="connsiteX4318" fmla="*/ 538454 w 774525"/>
                    <a:gd name="connsiteY4318" fmla="*/ 1071384 h 1153700"/>
                    <a:gd name="connsiteX4319" fmla="*/ 541903 w 774525"/>
                    <a:gd name="connsiteY4319" fmla="*/ 1073921 h 1153700"/>
                    <a:gd name="connsiteX4320" fmla="*/ 541636 w 774525"/>
                    <a:gd name="connsiteY4320" fmla="*/ 1074723 h 1153700"/>
                    <a:gd name="connsiteX4321" fmla="*/ 538807 w 774525"/>
                    <a:gd name="connsiteY4321" fmla="*/ 1083296 h 1153700"/>
                    <a:gd name="connsiteX4322" fmla="*/ 538260 w 774525"/>
                    <a:gd name="connsiteY4322" fmla="*/ 1084947 h 1153700"/>
                    <a:gd name="connsiteX4323" fmla="*/ 538673 w 774525"/>
                    <a:gd name="connsiteY4323" fmla="*/ 1086647 h 1153700"/>
                    <a:gd name="connsiteX4324" fmla="*/ 539013 w 774525"/>
                    <a:gd name="connsiteY4324" fmla="*/ 1088056 h 1153700"/>
                    <a:gd name="connsiteX4325" fmla="*/ 539353 w 774525"/>
                    <a:gd name="connsiteY4325" fmla="*/ 1089464 h 1153700"/>
                    <a:gd name="connsiteX4326" fmla="*/ 540045 w 774525"/>
                    <a:gd name="connsiteY4326" fmla="*/ 1091504 h 1153700"/>
                    <a:gd name="connsiteX4327" fmla="*/ 538636 w 774525"/>
                    <a:gd name="connsiteY4327" fmla="*/ 1100515 h 1153700"/>
                    <a:gd name="connsiteX4328" fmla="*/ 537155 w 774525"/>
                    <a:gd name="connsiteY4328" fmla="*/ 1095633 h 1153700"/>
                    <a:gd name="connsiteX4329" fmla="*/ 535892 w 774525"/>
                    <a:gd name="connsiteY4329" fmla="*/ 1091480 h 1153700"/>
                    <a:gd name="connsiteX4330" fmla="*/ 531582 w 774525"/>
                    <a:gd name="connsiteY4330" fmla="*/ 1091310 h 1153700"/>
                    <a:gd name="connsiteX4331" fmla="*/ 527854 w 774525"/>
                    <a:gd name="connsiteY4331" fmla="*/ 1091165 h 1153700"/>
                    <a:gd name="connsiteX4332" fmla="*/ 526494 w 774525"/>
                    <a:gd name="connsiteY4332" fmla="*/ 1091116 h 1153700"/>
                    <a:gd name="connsiteX4333" fmla="*/ 526336 w 774525"/>
                    <a:gd name="connsiteY4333" fmla="*/ 1091176 h 1153700"/>
                    <a:gd name="connsiteX4334" fmla="*/ 526275 w 774525"/>
                    <a:gd name="connsiteY4334" fmla="*/ 1087036 h 1153700"/>
                    <a:gd name="connsiteX4335" fmla="*/ 526591 w 774525"/>
                    <a:gd name="connsiteY4335" fmla="*/ 1084559 h 1153700"/>
                    <a:gd name="connsiteX4336" fmla="*/ 526591 w 774525"/>
                    <a:gd name="connsiteY4336" fmla="*/ 1084559 h 115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Lst>
                  <a:rect l="l" t="t" r="r" b="b"/>
                  <a:pathLst>
                    <a:path w="774525" h="1153700">
                      <a:moveTo>
                        <a:pt x="415179" y="7711"/>
                      </a:moveTo>
                      <a:lnTo>
                        <a:pt x="418676" y="9059"/>
                      </a:lnTo>
                      <a:lnTo>
                        <a:pt x="421081" y="11730"/>
                      </a:lnTo>
                      <a:lnTo>
                        <a:pt x="427346" y="15810"/>
                      </a:lnTo>
                      <a:lnTo>
                        <a:pt x="428767" y="17887"/>
                      </a:lnTo>
                      <a:lnTo>
                        <a:pt x="429520" y="19769"/>
                      </a:lnTo>
                      <a:lnTo>
                        <a:pt x="429690" y="23800"/>
                      </a:lnTo>
                      <a:lnTo>
                        <a:pt x="430151" y="25828"/>
                      </a:lnTo>
                      <a:lnTo>
                        <a:pt x="430965" y="27407"/>
                      </a:lnTo>
                      <a:lnTo>
                        <a:pt x="433151" y="29070"/>
                      </a:lnTo>
                      <a:lnTo>
                        <a:pt x="436466" y="30054"/>
                      </a:lnTo>
                      <a:lnTo>
                        <a:pt x="442161" y="30199"/>
                      </a:lnTo>
                      <a:lnTo>
                        <a:pt x="450588" y="29046"/>
                      </a:lnTo>
                      <a:lnTo>
                        <a:pt x="457983" y="30333"/>
                      </a:lnTo>
                      <a:lnTo>
                        <a:pt x="477412" y="38032"/>
                      </a:lnTo>
                      <a:lnTo>
                        <a:pt x="478674" y="39550"/>
                      </a:lnTo>
                      <a:lnTo>
                        <a:pt x="479658" y="40278"/>
                      </a:lnTo>
                      <a:lnTo>
                        <a:pt x="481310" y="40849"/>
                      </a:lnTo>
                      <a:lnTo>
                        <a:pt x="484030" y="40934"/>
                      </a:lnTo>
                      <a:lnTo>
                        <a:pt x="489992" y="39695"/>
                      </a:lnTo>
                      <a:lnTo>
                        <a:pt x="493841" y="37862"/>
                      </a:lnTo>
                      <a:lnTo>
                        <a:pt x="498261" y="34899"/>
                      </a:lnTo>
                      <a:lnTo>
                        <a:pt x="511461" y="22440"/>
                      </a:lnTo>
                      <a:lnTo>
                        <a:pt x="516002" y="22076"/>
                      </a:lnTo>
                      <a:lnTo>
                        <a:pt x="529371" y="24079"/>
                      </a:lnTo>
                      <a:lnTo>
                        <a:pt x="538916" y="23023"/>
                      </a:lnTo>
                      <a:lnTo>
                        <a:pt x="540288" y="23448"/>
                      </a:lnTo>
                      <a:lnTo>
                        <a:pt x="544307" y="26727"/>
                      </a:lnTo>
                      <a:lnTo>
                        <a:pt x="549176" y="28512"/>
                      </a:lnTo>
                      <a:lnTo>
                        <a:pt x="551763" y="27965"/>
                      </a:lnTo>
                      <a:lnTo>
                        <a:pt x="552273" y="28330"/>
                      </a:lnTo>
                      <a:lnTo>
                        <a:pt x="553548" y="29228"/>
                      </a:lnTo>
                      <a:lnTo>
                        <a:pt x="565302" y="35215"/>
                      </a:lnTo>
                      <a:lnTo>
                        <a:pt x="565970" y="35688"/>
                      </a:lnTo>
                      <a:lnTo>
                        <a:pt x="569504" y="38262"/>
                      </a:lnTo>
                      <a:lnTo>
                        <a:pt x="571969" y="42828"/>
                      </a:lnTo>
                      <a:lnTo>
                        <a:pt x="572042" y="43217"/>
                      </a:lnTo>
                      <a:lnTo>
                        <a:pt x="572892" y="48013"/>
                      </a:lnTo>
                      <a:lnTo>
                        <a:pt x="572892" y="59015"/>
                      </a:lnTo>
                      <a:lnTo>
                        <a:pt x="572892" y="59039"/>
                      </a:lnTo>
                      <a:lnTo>
                        <a:pt x="573438" y="63738"/>
                      </a:lnTo>
                      <a:lnTo>
                        <a:pt x="574033" y="69008"/>
                      </a:lnTo>
                      <a:lnTo>
                        <a:pt x="574045" y="68996"/>
                      </a:lnTo>
                      <a:lnTo>
                        <a:pt x="574045" y="68996"/>
                      </a:lnTo>
                      <a:lnTo>
                        <a:pt x="574932" y="67830"/>
                      </a:lnTo>
                      <a:lnTo>
                        <a:pt x="576923" y="65220"/>
                      </a:lnTo>
                      <a:lnTo>
                        <a:pt x="580529" y="62257"/>
                      </a:lnTo>
                      <a:lnTo>
                        <a:pt x="584330" y="61832"/>
                      </a:lnTo>
                      <a:lnTo>
                        <a:pt x="587633" y="65730"/>
                      </a:lnTo>
                      <a:lnTo>
                        <a:pt x="588155" y="68195"/>
                      </a:lnTo>
                      <a:lnTo>
                        <a:pt x="587876" y="70283"/>
                      </a:lnTo>
                      <a:lnTo>
                        <a:pt x="587815" y="72238"/>
                      </a:lnTo>
                      <a:lnTo>
                        <a:pt x="587815" y="72238"/>
                      </a:lnTo>
                      <a:lnTo>
                        <a:pt x="589127" y="74278"/>
                      </a:lnTo>
                      <a:lnTo>
                        <a:pt x="591082" y="75395"/>
                      </a:lnTo>
                      <a:lnTo>
                        <a:pt x="591458" y="75432"/>
                      </a:lnTo>
                      <a:lnTo>
                        <a:pt x="593328" y="75626"/>
                      </a:lnTo>
                      <a:lnTo>
                        <a:pt x="594385" y="75335"/>
                      </a:lnTo>
                      <a:lnTo>
                        <a:pt x="595453" y="75055"/>
                      </a:lnTo>
                      <a:lnTo>
                        <a:pt x="597226" y="73805"/>
                      </a:lnTo>
                      <a:lnTo>
                        <a:pt x="599096" y="73695"/>
                      </a:lnTo>
                      <a:lnTo>
                        <a:pt x="601197" y="73574"/>
                      </a:lnTo>
                      <a:lnTo>
                        <a:pt x="603541" y="74582"/>
                      </a:lnTo>
                      <a:lnTo>
                        <a:pt x="605884" y="75590"/>
                      </a:lnTo>
                      <a:lnTo>
                        <a:pt x="606552" y="76076"/>
                      </a:lnTo>
                      <a:lnTo>
                        <a:pt x="610255" y="78735"/>
                      </a:lnTo>
                      <a:lnTo>
                        <a:pt x="613194" y="81892"/>
                      </a:lnTo>
                      <a:lnTo>
                        <a:pt x="615781" y="86943"/>
                      </a:lnTo>
                      <a:lnTo>
                        <a:pt x="616278" y="88316"/>
                      </a:lnTo>
                      <a:lnTo>
                        <a:pt x="617274" y="91060"/>
                      </a:lnTo>
                      <a:lnTo>
                        <a:pt x="618270" y="92177"/>
                      </a:lnTo>
                      <a:lnTo>
                        <a:pt x="619897" y="94011"/>
                      </a:lnTo>
                      <a:lnTo>
                        <a:pt x="622508" y="94715"/>
                      </a:lnTo>
                      <a:lnTo>
                        <a:pt x="625883" y="95626"/>
                      </a:lnTo>
                      <a:lnTo>
                        <a:pt x="636448" y="96196"/>
                      </a:lnTo>
                      <a:lnTo>
                        <a:pt x="641730" y="95711"/>
                      </a:lnTo>
                      <a:lnTo>
                        <a:pt x="647024" y="94363"/>
                      </a:lnTo>
                      <a:lnTo>
                        <a:pt x="649210" y="92930"/>
                      </a:lnTo>
                      <a:lnTo>
                        <a:pt x="650182" y="91958"/>
                      </a:lnTo>
                      <a:lnTo>
                        <a:pt x="651165" y="90999"/>
                      </a:lnTo>
                      <a:lnTo>
                        <a:pt x="653169" y="89481"/>
                      </a:lnTo>
                      <a:lnTo>
                        <a:pt x="654456" y="89360"/>
                      </a:lnTo>
                      <a:lnTo>
                        <a:pt x="655512" y="89263"/>
                      </a:lnTo>
                      <a:lnTo>
                        <a:pt x="658159" y="89384"/>
                      </a:lnTo>
                      <a:lnTo>
                        <a:pt x="663393" y="88024"/>
                      </a:lnTo>
                      <a:lnTo>
                        <a:pt x="665906" y="87369"/>
                      </a:lnTo>
                      <a:lnTo>
                        <a:pt x="671019" y="90781"/>
                      </a:lnTo>
                      <a:lnTo>
                        <a:pt x="674006" y="92772"/>
                      </a:lnTo>
                      <a:lnTo>
                        <a:pt x="678256" y="95614"/>
                      </a:lnTo>
                      <a:lnTo>
                        <a:pt x="684935" y="98916"/>
                      </a:lnTo>
                      <a:lnTo>
                        <a:pt x="692754" y="98006"/>
                      </a:lnTo>
                      <a:lnTo>
                        <a:pt x="696653" y="97556"/>
                      </a:lnTo>
                      <a:lnTo>
                        <a:pt x="704351" y="98819"/>
                      </a:lnTo>
                      <a:lnTo>
                        <a:pt x="708091" y="100167"/>
                      </a:lnTo>
                      <a:lnTo>
                        <a:pt x="711819" y="101527"/>
                      </a:lnTo>
                      <a:lnTo>
                        <a:pt x="713143" y="102547"/>
                      </a:lnTo>
                      <a:lnTo>
                        <a:pt x="716506" y="105170"/>
                      </a:lnTo>
                      <a:lnTo>
                        <a:pt x="716919" y="108667"/>
                      </a:lnTo>
                      <a:lnTo>
                        <a:pt x="713932" y="114241"/>
                      </a:lnTo>
                      <a:lnTo>
                        <a:pt x="713932" y="114241"/>
                      </a:lnTo>
                      <a:lnTo>
                        <a:pt x="715438" y="115382"/>
                      </a:lnTo>
                      <a:lnTo>
                        <a:pt x="716215" y="115977"/>
                      </a:lnTo>
                      <a:lnTo>
                        <a:pt x="716227" y="115977"/>
                      </a:lnTo>
                      <a:lnTo>
                        <a:pt x="717963" y="115953"/>
                      </a:lnTo>
                      <a:lnTo>
                        <a:pt x="719663" y="115929"/>
                      </a:lnTo>
                      <a:lnTo>
                        <a:pt x="726269" y="113306"/>
                      </a:lnTo>
                      <a:lnTo>
                        <a:pt x="730349" y="113512"/>
                      </a:lnTo>
                      <a:lnTo>
                        <a:pt x="735389" y="115649"/>
                      </a:lnTo>
                      <a:lnTo>
                        <a:pt x="740404" y="117799"/>
                      </a:lnTo>
                      <a:lnTo>
                        <a:pt x="743378" y="118260"/>
                      </a:lnTo>
                      <a:lnTo>
                        <a:pt x="744411" y="118430"/>
                      </a:lnTo>
                      <a:lnTo>
                        <a:pt x="751891" y="118345"/>
                      </a:lnTo>
                      <a:lnTo>
                        <a:pt x="752644" y="118515"/>
                      </a:lnTo>
                      <a:lnTo>
                        <a:pt x="753554" y="118879"/>
                      </a:lnTo>
                      <a:lnTo>
                        <a:pt x="754477" y="119244"/>
                      </a:lnTo>
                      <a:lnTo>
                        <a:pt x="755157" y="119244"/>
                      </a:lnTo>
                      <a:lnTo>
                        <a:pt x="755157" y="119244"/>
                      </a:lnTo>
                      <a:lnTo>
                        <a:pt x="755169" y="119244"/>
                      </a:lnTo>
                      <a:lnTo>
                        <a:pt x="755594" y="118758"/>
                      </a:lnTo>
                      <a:lnTo>
                        <a:pt x="756031" y="118260"/>
                      </a:lnTo>
                      <a:lnTo>
                        <a:pt x="756274" y="117750"/>
                      </a:lnTo>
                      <a:lnTo>
                        <a:pt x="756663" y="116924"/>
                      </a:lnTo>
                      <a:lnTo>
                        <a:pt x="756942" y="115746"/>
                      </a:lnTo>
                      <a:lnTo>
                        <a:pt x="756942" y="115746"/>
                      </a:lnTo>
                      <a:lnTo>
                        <a:pt x="756942" y="115309"/>
                      </a:lnTo>
                      <a:lnTo>
                        <a:pt x="756942" y="115285"/>
                      </a:lnTo>
                      <a:lnTo>
                        <a:pt x="757003" y="114860"/>
                      </a:lnTo>
                      <a:lnTo>
                        <a:pt x="757112" y="113937"/>
                      </a:lnTo>
                      <a:lnTo>
                        <a:pt x="757404" y="113087"/>
                      </a:lnTo>
                      <a:lnTo>
                        <a:pt x="757464" y="112905"/>
                      </a:lnTo>
                      <a:lnTo>
                        <a:pt x="758436" y="112128"/>
                      </a:lnTo>
                      <a:lnTo>
                        <a:pt x="759237" y="112189"/>
                      </a:lnTo>
                      <a:lnTo>
                        <a:pt x="760719" y="113464"/>
                      </a:lnTo>
                      <a:lnTo>
                        <a:pt x="760731" y="113464"/>
                      </a:lnTo>
                      <a:lnTo>
                        <a:pt x="761423" y="113779"/>
                      </a:lnTo>
                      <a:lnTo>
                        <a:pt x="762917" y="114010"/>
                      </a:lnTo>
                      <a:lnTo>
                        <a:pt x="761993" y="116560"/>
                      </a:lnTo>
                      <a:lnTo>
                        <a:pt x="765892" y="127622"/>
                      </a:lnTo>
                      <a:lnTo>
                        <a:pt x="766681" y="131144"/>
                      </a:lnTo>
                      <a:lnTo>
                        <a:pt x="768466" y="152102"/>
                      </a:lnTo>
                      <a:lnTo>
                        <a:pt x="765649" y="156620"/>
                      </a:lnTo>
                      <a:lnTo>
                        <a:pt x="765382" y="157300"/>
                      </a:lnTo>
                      <a:lnTo>
                        <a:pt x="765187" y="157907"/>
                      </a:lnTo>
                      <a:lnTo>
                        <a:pt x="764969" y="158708"/>
                      </a:lnTo>
                      <a:lnTo>
                        <a:pt x="762844" y="164537"/>
                      </a:lnTo>
                      <a:lnTo>
                        <a:pt x="761933" y="168410"/>
                      </a:lnTo>
                      <a:lnTo>
                        <a:pt x="760014" y="182399"/>
                      </a:lnTo>
                      <a:lnTo>
                        <a:pt x="759686" y="183006"/>
                      </a:lnTo>
                      <a:lnTo>
                        <a:pt x="759298" y="183456"/>
                      </a:lnTo>
                      <a:lnTo>
                        <a:pt x="756881" y="184864"/>
                      </a:lnTo>
                      <a:lnTo>
                        <a:pt x="755339" y="186018"/>
                      </a:lnTo>
                      <a:lnTo>
                        <a:pt x="754757" y="186673"/>
                      </a:lnTo>
                      <a:lnTo>
                        <a:pt x="754696" y="187621"/>
                      </a:lnTo>
                      <a:lnTo>
                        <a:pt x="754757" y="189284"/>
                      </a:lnTo>
                      <a:lnTo>
                        <a:pt x="756651" y="190814"/>
                      </a:lnTo>
                      <a:lnTo>
                        <a:pt x="757501" y="192041"/>
                      </a:lnTo>
                      <a:lnTo>
                        <a:pt x="757270" y="193340"/>
                      </a:lnTo>
                      <a:lnTo>
                        <a:pt x="756007" y="193959"/>
                      </a:lnTo>
                      <a:lnTo>
                        <a:pt x="753141" y="194833"/>
                      </a:lnTo>
                      <a:lnTo>
                        <a:pt x="748430" y="197189"/>
                      </a:lnTo>
                      <a:lnTo>
                        <a:pt x="747859" y="197809"/>
                      </a:lnTo>
                      <a:lnTo>
                        <a:pt x="747046" y="199460"/>
                      </a:lnTo>
                      <a:lnTo>
                        <a:pt x="744192" y="206321"/>
                      </a:lnTo>
                      <a:lnTo>
                        <a:pt x="741265" y="208264"/>
                      </a:lnTo>
                      <a:lnTo>
                        <a:pt x="739262" y="208834"/>
                      </a:lnTo>
                      <a:lnTo>
                        <a:pt x="738849" y="210158"/>
                      </a:lnTo>
                      <a:lnTo>
                        <a:pt x="739262" y="211481"/>
                      </a:lnTo>
                      <a:lnTo>
                        <a:pt x="740233" y="212926"/>
                      </a:lnTo>
                      <a:lnTo>
                        <a:pt x="740404" y="215294"/>
                      </a:lnTo>
                      <a:lnTo>
                        <a:pt x="739772" y="216654"/>
                      </a:lnTo>
                      <a:lnTo>
                        <a:pt x="738266" y="217772"/>
                      </a:lnTo>
                      <a:lnTo>
                        <a:pt x="734720" y="218804"/>
                      </a:lnTo>
                      <a:lnTo>
                        <a:pt x="730689" y="220406"/>
                      </a:lnTo>
                      <a:lnTo>
                        <a:pt x="725237" y="221584"/>
                      </a:lnTo>
                      <a:lnTo>
                        <a:pt x="725370" y="217419"/>
                      </a:lnTo>
                      <a:lnTo>
                        <a:pt x="724338" y="214457"/>
                      </a:lnTo>
                      <a:lnTo>
                        <a:pt x="722383" y="214104"/>
                      </a:lnTo>
                      <a:lnTo>
                        <a:pt x="720951" y="213837"/>
                      </a:lnTo>
                      <a:lnTo>
                        <a:pt x="718910" y="214481"/>
                      </a:lnTo>
                      <a:lnTo>
                        <a:pt x="716870" y="215124"/>
                      </a:lnTo>
                      <a:lnTo>
                        <a:pt x="715608" y="216788"/>
                      </a:lnTo>
                      <a:lnTo>
                        <a:pt x="716008" y="222701"/>
                      </a:lnTo>
                      <a:lnTo>
                        <a:pt x="716021" y="222920"/>
                      </a:lnTo>
                      <a:lnTo>
                        <a:pt x="717271" y="225239"/>
                      </a:lnTo>
                      <a:lnTo>
                        <a:pt x="717186" y="225725"/>
                      </a:lnTo>
                      <a:lnTo>
                        <a:pt x="717101" y="226211"/>
                      </a:lnTo>
                      <a:lnTo>
                        <a:pt x="715183" y="225652"/>
                      </a:lnTo>
                      <a:lnTo>
                        <a:pt x="713264" y="225082"/>
                      </a:lnTo>
                      <a:lnTo>
                        <a:pt x="711952" y="225203"/>
                      </a:lnTo>
                      <a:lnTo>
                        <a:pt x="711285" y="225519"/>
                      </a:lnTo>
                      <a:lnTo>
                        <a:pt x="710605" y="225822"/>
                      </a:lnTo>
                      <a:lnTo>
                        <a:pt x="709415" y="226891"/>
                      </a:lnTo>
                      <a:lnTo>
                        <a:pt x="708407" y="228712"/>
                      </a:lnTo>
                      <a:lnTo>
                        <a:pt x="707399" y="230534"/>
                      </a:lnTo>
                      <a:lnTo>
                        <a:pt x="707399" y="230534"/>
                      </a:lnTo>
                      <a:lnTo>
                        <a:pt x="708662" y="233023"/>
                      </a:lnTo>
                      <a:lnTo>
                        <a:pt x="708674" y="233023"/>
                      </a:lnTo>
                      <a:lnTo>
                        <a:pt x="708710" y="233035"/>
                      </a:lnTo>
                      <a:lnTo>
                        <a:pt x="711710" y="234480"/>
                      </a:lnTo>
                      <a:lnTo>
                        <a:pt x="714333" y="234796"/>
                      </a:lnTo>
                      <a:lnTo>
                        <a:pt x="715195" y="234905"/>
                      </a:lnTo>
                      <a:lnTo>
                        <a:pt x="713810" y="235767"/>
                      </a:lnTo>
                      <a:lnTo>
                        <a:pt x="713033" y="236253"/>
                      </a:lnTo>
                      <a:lnTo>
                        <a:pt x="710289" y="237601"/>
                      </a:lnTo>
                      <a:lnTo>
                        <a:pt x="708213" y="239265"/>
                      </a:lnTo>
                      <a:lnTo>
                        <a:pt x="708213" y="241645"/>
                      </a:lnTo>
                      <a:lnTo>
                        <a:pt x="708213" y="241645"/>
                      </a:lnTo>
                      <a:lnTo>
                        <a:pt x="709148" y="242094"/>
                      </a:lnTo>
                      <a:lnTo>
                        <a:pt x="710095" y="242543"/>
                      </a:lnTo>
                      <a:lnTo>
                        <a:pt x="711078" y="242349"/>
                      </a:lnTo>
                      <a:lnTo>
                        <a:pt x="712681" y="242057"/>
                      </a:lnTo>
                      <a:lnTo>
                        <a:pt x="715146" y="242142"/>
                      </a:lnTo>
                      <a:lnTo>
                        <a:pt x="715523" y="242834"/>
                      </a:lnTo>
                      <a:lnTo>
                        <a:pt x="716518" y="244644"/>
                      </a:lnTo>
                      <a:lnTo>
                        <a:pt x="715183" y="247522"/>
                      </a:lnTo>
                      <a:lnTo>
                        <a:pt x="714928" y="248056"/>
                      </a:lnTo>
                      <a:lnTo>
                        <a:pt x="710848" y="251359"/>
                      </a:lnTo>
                      <a:lnTo>
                        <a:pt x="706767" y="254650"/>
                      </a:lnTo>
                      <a:lnTo>
                        <a:pt x="705966" y="257382"/>
                      </a:lnTo>
                      <a:lnTo>
                        <a:pt x="705165" y="260114"/>
                      </a:lnTo>
                      <a:lnTo>
                        <a:pt x="705165" y="260114"/>
                      </a:lnTo>
                      <a:lnTo>
                        <a:pt x="705286" y="261474"/>
                      </a:lnTo>
                      <a:lnTo>
                        <a:pt x="705407" y="262834"/>
                      </a:lnTo>
                      <a:lnTo>
                        <a:pt x="704885" y="265360"/>
                      </a:lnTo>
                      <a:lnTo>
                        <a:pt x="703440" y="267193"/>
                      </a:lnTo>
                      <a:lnTo>
                        <a:pt x="702542" y="267388"/>
                      </a:lnTo>
                      <a:lnTo>
                        <a:pt x="700975" y="267715"/>
                      </a:lnTo>
                      <a:lnTo>
                        <a:pt x="699093" y="266744"/>
                      </a:lnTo>
                      <a:lnTo>
                        <a:pt x="698255" y="265688"/>
                      </a:lnTo>
                      <a:lnTo>
                        <a:pt x="697442" y="264631"/>
                      </a:lnTo>
                      <a:lnTo>
                        <a:pt x="694795" y="260114"/>
                      </a:lnTo>
                      <a:lnTo>
                        <a:pt x="693920" y="259653"/>
                      </a:lnTo>
                      <a:lnTo>
                        <a:pt x="692949" y="259397"/>
                      </a:lnTo>
                      <a:lnTo>
                        <a:pt x="692050" y="259276"/>
                      </a:lnTo>
                      <a:lnTo>
                        <a:pt x="681874" y="260114"/>
                      </a:lnTo>
                      <a:lnTo>
                        <a:pt x="681874" y="260138"/>
                      </a:lnTo>
                      <a:lnTo>
                        <a:pt x="680903" y="260478"/>
                      </a:lnTo>
                      <a:lnTo>
                        <a:pt x="679932" y="260600"/>
                      </a:lnTo>
                      <a:lnTo>
                        <a:pt x="679009" y="260478"/>
                      </a:lnTo>
                      <a:lnTo>
                        <a:pt x="678159" y="260114"/>
                      </a:lnTo>
                      <a:lnTo>
                        <a:pt x="675912" y="256872"/>
                      </a:lnTo>
                      <a:lnTo>
                        <a:pt x="675329" y="256034"/>
                      </a:lnTo>
                      <a:lnTo>
                        <a:pt x="673132" y="256058"/>
                      </a:lnTo>
                      <a:lnTo>
                        <a:pt x="670849" y="258037"/>
                      </a:lnTo>
                      <a:lnTo>
                        <a:pt x="667801" y="259762"/>
                      </a:lnTo>
                      <a:lnTo>
                        <a:pt x="664753" y="259422"/>
                      </a:lnTo>
                      <a:lnTo>
                        <a:pt x="660965" y="257758"/>
                      </a:lnTo>
                      <a:lnTo>
                        <a:pt x="659252" y="256629"/>
                      </a:lnTo>
                      <a:lnTo>
                        <a:pt x="657565" y="255488"/>
                      </a:lnTo>
                      <a:lnTo>
                        <a:pt x="653084" y="250412"/>
                      </a:lnTo>
                      <a:lnTo>
                        <a:pt x="646429" y="247485"/>
                      </a:lnTo>
                      <a:lnTo>
                        <a:pt x="644875" y="245640"/>
                      </a:lnTo>
                      <a:lnTo>
                        <a:pt x="644377" y="243988"/>
                      </a:lnTo>
                      <a:lnTo>
                        <a:pt x="643721" y="241754"/>
                      </a:lnTo>
                      <a:lnTo>
                        <a:pt x="641766" y="239252"/>
                      </a:lnTo>
                      <a:lnTo>
                        <a:pt x="638961" y="237504"/>
                      </a:lnTo>
                      <a:lnTo>
                        <a:pt x="626563" y="232282"/>
                      </a:lnTo>
                      <a:lnTo>
                        <a:pt x="624851" y="230412"/>
                      </a:lnTo>
                      <a:lnTo>
                        <a:pt x="624208" y="229708"/>
                      </a:lnTo>
                      <a:lnTo>
                        <a:pt x="622836" y="226114"/>
                      </a:lnTo>
                      <a:lnTo>
                        <a:pt x="621281" y="213910"/>
                      </a:lnTo>
                      <a:lnTo>
                        <a:pt x="619848" y="210729"/>
                      </a:lnTo>
                      <a:lnTo>
                        <a:pt x="616109" y="204694"/>
                      </a:lnTo>
                      <a:lnTo>
                        <a:pt x="615878" y="204086"/>
                      </a:lnTo>
                      <a:lnTo>
                        <a:pt x="614894" y="201427"/>
                      </a:lnTo>
                      <a:lnTo>
                        <a:pt x="614773" y="196133"/>
                      </a:lnTo>
                      <a:lnTo>
                        <a:pt x="614773" y="196024"/>
                      </a:lnTo>
                      <a:lnTo>
                        <a:pt x="616946" y="195732"/>
                      </a:lnTo>
                      <a:lnTo>
                        <a:pt x="618233" y="196315"/>
                      </a:lnTo>
                      <a:lnTo>
                        <a:pt x="619654" y="196958"/>
                      </a:lnTo>
                      <a:lnTo>
                        <a:pt x="620456" y="196546"/>
                      </a:lnTo>
                      <a:lnTo>
                        <a:pt x="621257" y="196133"/>
                      </a:lnTo>
                      <a:lnTo>
                        <a:pt x="621257" y="196133"/>
                      </a:lnTo>
                      <a:lnTo>
                        <a:pt x="621136" y="193376"/>
                      </a:lnTo>
                      <a:lnTo>
                        <a:pt x="620468" y="192660"/>
                      </a:lnTo>
                      <a:lnTo>
                        <a:pt x="619812" y="191931"/>
                      </a:lnTo>
                      <a:lnTo>
                        <a:pt x="616910" y="191142"/>
                      </a:lnTo>
                      <a:lnTo>
                        <a:pt x="615331" y="190705"/>
                      </a:lnTo>
                      <a:lnTo>
                        <a:pt x="612235" y="189442"/>
                      </a:lnTo>
                      <a:lnTo>
                        <a:pt x="611992" y="188033"/>
                      </a:lnTo>
                      <a:lnTo>
                        <a:pt x="612575" y="186285"/>
                      </a:lnTo>
                      <a:lnTo>
                        <a:pt x="612575" y="186285"/>
                      </a:lnTo>
                      <a:lnTo>
                        <a:pt x="612295" y="185483"/>
                      </a:lnTo>
                      <a:lnTo>
                        <a:pt x="611713" y="183868"/>
                      </a:lnTo>
                      <a:lnTo>
                        <a:pt x="610049" y="182569"/>
                      </a:lnTo>
                      <a:lnTo>
                        <a:pt x="606746" y="181756"/>
                      </a:lnTo>
                      <a:lnTo>
                        <a:pt x="605908" y="181549"/>
                      </a:lnTo>
                      <a:lnTo>
                        <a:pt x="603917" y="180760"/>
                      </a:lnTo>
                      <a:lnTo>
                        <a:pt x="603577" y="180493"/>
                      </a:lnTo>
                      <a:lnTo>
                        <a:pt x="602192" y="179351"/>
                      </a:lnTo>
                      <a:lnTo>
                        <a:pt x="600092" y="177081"/>
                      </a:lnTo>
                      <a:lnTo>
                        <a:pt x="599327" y="176243"/>
                      </a:lnTo>
                      <a:lnTo>
                        <a:pt x="599278" y="176218"/>
                      </a:lnTo>
                      <a:lnTo>
                        <a:pt x="597250" y="175186"/>
                      </a:lnTo>
                      <a:lnTo>
                        <a:pt x="596230" y="174470"/>
                      </a:lnTo>
                      <a:lnTo>
                        <a:pt x="594202" y="173025"/>
                      </a:lnTo>
                      <a:lnTo>
                        <a:pt x="593061" y="171920"/>
                      </a:lnTo>
                      <a:lnTo>
                        <a:pt x="592490" y="171361"/>
                      </a:lnTo>
                      <a:lnTo>
                        <a:pt x="590742" y="170851"/>
                      </a:lnTo>
                      <a:lnTo>
                        <a:pt x="587706" y="172345"/>
                      </a:lnTo>
                      <a:lnTo>
                        <a:pt x="586334" y="173632"/>
                      </a:lnTo>
                      <a:lnTo>
                        <a:pt x="585362" y="174518"/>
                      </a:lnTo>
                      <a:lnTo>
                        <a:pt x="583007" y="177882"/>
                      </a:lnTo>
                      <a:lnTo>
                        <a:pt x="581453" y="181646"/>
                      </a:lnTo>
                      <a:lnTo>
                        <a:pt x="581574" y="185058"/>
                      </a:lnTo>
                      <a:lnTo>
                        <a:pt x="585423" y="189053"/>
                      </a:lnTo>
                      <a:lnTo>
                        <a:pt x="590815" y="190838"/>
                      </a:lnTo>
                      <a:lnTo>
                        <a:pt x="595478" y="193158"/>
                      </a:lnTo>
                      <a:lnTo>
                        <a:pt x="597250" y="198901"/>
                      </a:lnTo>
                      <a:lnTo>
                        <a:pt x="597833" y="199715"/>
                      </a:lnTo>
                      <a:lnTo>
                        <a:pt x="598416" y="200529"/>
                      </a:lnTo>
                      <a:lnTo>
                        <a:pt x="599897" y="201014"/>
                      </a:lnTo>
                      <a:lnTo>
                        <a:pt x="601634" y="200589"/>
                      </a:lnTo>
                      <a:lnTo>
                        <a:pt x="602775" y="199836"/>
                      </a:lnTo>
                      <a:lnTo>
                        <a:pt x="603346" y="199460"/>
                      </a:lnTo>
                      <a:lnTo>
                        <a:pt x="602666" y="203758"/>
                      </a:lnTo>
                      <a:lnTo>
                        <a:pt x="602666" y="203758"/>
                      </a:lnTo>
                      <a:lnTo>
                        <a:pt x="603358" y="204402"/>
                      </a:lnTo>
                      <a:lnTo>
                        <a:pt x="604050" y="205058"/>
                      </a:lnTo>
                      <a:lnTo>
                        <a:pt x="605131" y="205094"/>
                      </a:lnTo>
                      <a:lnTo>
                        <a:pt x="606285" y="205143"/>
                      </a:lnTo>
                      <a:lnTo>
                        <a:pt x="608301" y="205750"/>
                      </a:lnTo>
                      <a:lnTo>
                        <a:pt x="609333" y="209478"/>
                      </a:lnTo>
                      <a:lnTo>
                        <a:pt x="606673" y="211275"/>
                      </a:lnTo>
                      <a:lnTo>
                        <a:pt x="605544" y="212028"/>
                      </a:lnTo>
                      <a:lnTo>
                        <a:pt x="597263" y="214068"/>
                      </a:lnTo>
                      <a:lnTo>
                        <a:pt x="591944" y="212344"/>
                      </a:lnTo>
                      <a:lnTo>
                        <a:pt x="583590" y="204305"/>
                      </a:lnTo>
                      <a:lnTo>
                        <a:pt x="581064" y="203856"/>
                      </a:lnTo>
                      <a:lnTo>
                        <a:pt x="578538" y="203406"/>
                      </a:lnTo>
                      <a:lnTo>
                        <a:pt x="574810" y="205871"/>
                      </a:lnTo>
                      <a:lnTo>
                        <a:pt x="572928" y="210304"/>
                      </a:lnTo>
                      <a:lnTo>
                        <a:pt x="571993" y="212514"/>
                      </a:lnTo>
                      <a:lnTo>
                        <a:pt x="569006" y="213631"/>
                      </a:lnTo>
                      <a:lnTo>
                        <a:pt x="567439" y="212926"/>
                      </a:lnTo>
                      <a:lnTo>
                        <a:pt x="565861" y="212234"/>
                      </a:lnTo>
                      <a:lnTo>
                        <a:pt x="564088" y="209381"/>
                      </a:lnTo>
                      <a:lnTo>
                        <a:pt x="562862" y="205969"/>
                      </a:lnTo>
                      <a:lnTo>
                        <a:pt x="561368" y="202896"/>
                      </a:lnTo>
                      <a:lnTo>
                        <a:pt x="554604" y="200371"/>
                      </a:lnTo>
                      <a:lnTo>
                        <a:pt x="538758" y="206029"/>
                      </a:lnTo>
                      <a:lnTo>
                        <a:pt x="535418" y="203674"/>
                      </a:lnTo>
                      <a:lnTo>
                        <a:pt x="536487" y="202629"/>
                      </a:lnTo>
                      <a:lnTo>
                        <a:pt x="536851" y="202277"/>
                      </a:lnTo>
                      <a:lnTo>
                        <a:pt x="543749" y="198913"/>
                      </a:lnTo>
                      <a:lnTo>
                        <a:pt x="546141" y="196934"/>
                      </a:lnTo>
                      <a:lnTo>
                        <a:pt x="546724" y="195684"/>
                      </a:lnTo>
                      <a:lnTo>
                        <a:pt x="547877" y="193194"/>
                      </a:lnTo>
                      <a:lnTo>
                        <a:pt x="547877" y="193182"/>
                      </a:lnTo>
                      <a:lnTo>
                        <a:pt x="547428" y="190693"/>
                      </a:lnTo>
                      <a:lnTo>
                        <a:pt x="544902" y="188774"/>
                      </a:lnTo>
                      <a:lnTo>
                        <a:pt x="542741" y="187730"/>
                      </a:lnTo>
                      <a:lnTo>
                        <a:pt x="540567" y="186686"/>
                      </a:lnTo>
                      <a:lnTo>
                        <a:pt x="540178" y="186151"/>
                      </a:lnTo>
                      <a:lnTo>
                        <a:pt x="539498" y="185192"/>
                      </a:lnTo>
                      <a:lnTo>
                        <a:pt x="539584" y="183407"/>
                      </a:lnTo>
                      <a:lnTo>
                        <a:pt x="539669" y="181634"/>
                      </a:lnTo>
                      <a:lnTo>
                        <a:pt x="539656" y="181634"/>
                      </a:lnTo>
                      <a:lnTo>
                        <a:pt x="538296" y="181003"/>
                      </a:lnTo>
                      <a:lnTo>
                        <a:pt x="536621" y="180493"/>
                      </a:lnTo>
                      <a:lnTo>
                        <a:pt x="536281" y="179315"/>
                      </a:lnTo>
                      <a:lnTo>
                        <a:pt x="536220" y="179108"/>
                      </a:lnTo>
                      <a:lnTo>
                        <a:pt x="536572" y="177360"/>
                      </a:lnTo>
                      <a:lnTo>
                        <a:pt x="537361" y="175745"/>
                      </a:lnTo>
                      <a:lnTo>
                        <a:pt x="537361" y="175745"/>
                      </a:lnTo>
                      <a:lnTo>
                        <a:pt x="532990" y="174737"/>
                      </a:lnTo>
                      <a:lnTo>
                        <a:pt x="532310" y="174445"/>
                      </a:lnTo>
                      <a:lnTo>
                        <a:pt x="531047" y="173863"/>
                      </a:lnTo>
                      <a:lnTo>
                        <a:pt x="528983" y="172563"/>
                      </a:lnTo>
                      <a:lnTo>
                        <a:pt x="527501" y="170705"/>
                      </a:lnTo>
                      <a:lnTo>
                        <a:pt x="526445" y="168435"/>
                      </a:lnTo>
                      <a:lnTo>
                        <a:pt x="525194" y="166480"/>
                      </a:lnTo>
                      <a:lnTo>
                        <a:pt x="523203" y="165618"/>
                      </a:lnTo>
                      <a:lnTo>
                        <a:pt x="522948" y="165508"/>
                      </a:lnTo>
                      <a:lnTo>
                        <a:pt x="518928" y="165569"/>
                      </a:lnTo>
                      <a:lnTo>
                        <a:pt x="517775" y="165435"/>
                      </a:lnTo>
                      <a:lnTo>
                        <a:pt x="517447" y="165399"/>
                      </a:lnTo>
                      <a:lnTo>
                        <a:pt x="516099" y="164840"/>
                      </a:lnTo>
                      <a:lnTo>
                        <a:pt x="513148" y="163602"/>
                      </a:lnTo>
                      <a:lnTo>
                        <a:pt x="510501" y="161914"/>
                      </a:lnTo>
                      <a:lnTo>
                        <a:pt x="509347" y="161173"/>
                      </a:lnTo>
                      <a:lnTo>
                        <a:pt x="508595" y="160445"/>
                      </a:lnTo>
                      <a:lnTo>
                        <a:pt x="507842" y="159704"/>
                      </a:lnTo>
                      <a:lnTo>
                        <a:pt x="505778" y="157518"/>
                      </a:lnTo>
                      <a:lnTo>
                        <a:pt x="503495" y="155648"/>
                      </a:lnTo>
                      <a:lnTo>
                        <a:pt x="501017" y="152868"/>
                      </a:lnTo>
                      <a:lnTo>
                        <a:pt x="498176" y="151580"/>
                      </a:lnTo>
                      <a:lnTo>
                        <a:pt x="498018" y="151520"/>
                      </a:lnTo>
                      <a:lnTo>
                        <a:pt x="496634" y="151119"/>
                      </a:lnTo>
                      <a:lnTo>
                        <a:pt x="491376" y="149601"/>
                      </a:lnTo>
                      <a:lnTo>
                        <a:pt x="488899" y="146881"/>
                      </a:lnTo>
                      <a:lnTo>
                        <a:pt x="488389" y="142910"/>
                      </a:lnTo>
                      <a:lnTo>
                        <a:pt x="488462" y="140797"/>
                      </a:lnTo>
                      <a:lnTo>
                        <a:pt x="488559" y="138648"/>
                      </a:lnTo>
                      <a:lnTo>
                        <a:pt x="488292" y="135078"/>
                      </a:lnTo>
                      <a:lnTo>
                        <a:pt x="488280" y="134932"/>
                      </a:lnTo>
                      <a:lnTo>
                        <a:pt x="487879" y="134677"/>
                      </a:lnTo>
                      <a:lnTo>
                        <a:pt x="486568" y="133803"/>
                      </a:lnTo>
                      <a:lnTo>
                        <a:pt x="486555" y="133815"/>
                      </a:lnTo>
                      <a:lnTo>
                        <a:pt x="484212" y="136232"/>
                      </a:lnTo>
                      <a:lnTo>
                        <a:pt x="481917" y="139960"/>
                      </a:lnTo>
                      <a:lnTo>
                        <a:pt x="480484" y="142862"/>
                      </a:lnTo>
                      <a:lnTo>
                        <a:pt x="476647" y="155721"/>
                      </a:lnTo>
                      <a:lnTo>
                        <a:pt x="475918" y="156935"/>
                      </a:lnTo>
                      <a:lnTo>
                        <a:pt x="474218" y="159728"/>
                      </a:lnTo>
                      <a:lnTo>
                        <a:pt x="473174" y="162388"/>
                      </a:lnTo>
                      <a:lnTo>
                        <a:pt x="473295" y="163966"/>
                      </a:lnTo>
                      <a:lnTo>
                        <a:pt x="473417" y="165727"/>
                      </a:lnTo>
                      <a:lnTo>
                        <a:pt x="474109" y="167050"/>
                      </a:lnTo>
                      <a:lnTo>
                        <a:pt x="474801" y="168386"/>
                      </a:lnTo>
                      <a:lnTo>
                        <a:pt x="477278" y="169103"/>
                      </a:lnTo>
                      <a:lnTo>
                        <a:pt x="477290" y="169103"/>
                      </a:lnTo>
                      <a:lnTo>
                        <a:pt x="477837" y="168338"/>
                      </a:lnTo>
                      <a:lnTo>
                        <a:pt x="478140" y="167913"/>
                      </a:lnTo>
                      <a:lnTo>
                        <a:pt x="478663" y="163286"/>
                      </a:lnTo>
                      <a:lnTo>
                        <a:pt x="478796" y="163019"/>
                      </a:lnTo>
                      <a:lnTo>
                        <a:pt x="479354" y="161914"/>
                      </a:lnTo>
                      <a:lnTo>
                        <a:pt x="479537" y="161902"/>
                      </a:lnTo>
                      <a:lnTo>
                        <a:pt x="480678" y="161817"/>
                      </a:lnTo>
                      <a:lnTo>
                        <a:pt x="481808" y="162302"/>
                      </a:lnTo>
                      <a:lnTo>
                        <a:pt x="485038" y="163687"/>
                      </a:lnTo>
                      <a:lnTo>
                        <a:pt x="495845" y="165715"/>
                      </a:lnTo>
                      <a:lnTo>
                        <a:pt x="500848" y="167985"/>
                      </a:lnTo>
                      <a:lnTo>
                        <a:pt x="503555" y="172381"/>
                      </a:lnTo>
                      <a:lnTo>
                        <a:pt x="505413" y="177797"/>
                      </a:lnTo>
                      <a:lnTo>
                        <a:pt x="507259" y="183225"/>
                      </a:lnTo>
                      <a:lnTo>
                        <a:pt x="507271" y="183419"/>
                      </a:lnTo>
                      <a:lnTo>
                        <a:pt x="507660" y="188325"/>
                      </a:lnTo>
                      <a:lnTo>
                        <a:pt x="506033" y="188082"/>
                      </a:lnTo>
                      <a:lnTo>
                        <a:pt x="503543" y="187693"/>
                      </a:lnTo>
                      <a:lnTo>
                        <a:pt x="502390" y="187973"/>
                      </a:lnTo>
                      <a:lnTo>
                        <a:pt x="502098" y="188046"/>
                      </a:lnTo>
                      <a:lnTo>
                        <a:pt x="501175" y="188155"/>
                      </a:lnTo>
                      <a:lnTo>
                        <a:pt x="500265" y="188264"/>
                      </a:lnTo>
                      <a:lnTo>
                        <a:pt x="498492" y="188191"/>
                      </a:lnTo>
                      <a:lnTo>
                        <a:pt x="497278" y="187633"/>
                      </a:lnTo>
                      <a:lnTo>
                        <a:pt x="496306" y="187013"/>
                      </a:lnTo>
                      <a:lnTo>
                        <a:pt x="495335" y="186394"/>
                      </a:lnTo>
                      <a:lnTo>
                        <a:pt x="494242" y="187256"/>
                      </a:lnTo>
                      <a:lnTo>
                        <a:pt x="493380" y="189126"/>
                      </a:lnTo>
                      <a:lnTo>
                        <a:pt x="493052" y="189515"/>
                      </a:lnTo>
                      <a:lnTo>
                        <a:pt x="491935" y="190814"/>
                      </a:lnTo>
                      <a:lnTo>
                        <a:pt x="485875" y="194542"/>
                      </a:lnTo>
                      <a:lnTo>
                        <a:pt x="483155" y="196206"/>
                      </a:lnTo>
                      <a:lnTo>
                        <a:pt x="481565" y="197614"/>
                      </a:lnTo>
                      <a:lnTo>
                        <a:pt x="480326" y="198707"/>
                      </a:lnTo>
                      <a:lnTo>
                        <a:pt x="479440" y="199909"/>
                      </a:lnTo>
                      <a:lnTo>
                        <a:pt x="477460" y="202544"/>
                      </a:lnTo>
                      <a:lnTo>
                        <a:pt x="477120" y="204014"/>
                      </a:lnTo>
                      <a:lnTo>
                        <a:pt x="476780" y="205483"/>
                      </a:lnTo>
                      <a:lnTo>
                        <a:pt x="477120" y="212635"/>
                      </a:lnTo>
                      <a:lnTo>
                        <a:pt x="477132" y="212805"/>
                      </a:lnTo>
                      <a:lnTo>
                        <a:pt x="476331" y="214299"/>
                      </a:lnTo>
                      <a:lnTo>
                        <a:pt x="475529" y="215792"/>
                      </a:lnTo>
                      <a:lnTo>
                        <a:pt x="474752" y="216266"/>
                      </a:lnTo>
                      <a:lnTo>
                        <a:pt x="472251" y="217772"/>
                      </a:lnTo>
                      <a:lnTo>
                        <a:pt x="461298" y="221390"/>
                      </a:lnTo>
                      <a:lnTo>
                        <a:pt x="457461" y="222192"/>
                      </a:lnTo>
                      <a:lnTo>
                        <a:pt x="456453" y="222580"/>
                      </a:lnTo>
                      <a:lnTo>
                        <a:pt x="455445" y="222969"/>
                      </a:lnTo>
                      <a:lnTo>
                        <a:pt x="454121" y="224268"/>
                      </a:lnTo>
                      <a:lnTo>
                        <a:pt x="453551" y="225009"/>
                      </a:lnTo>
                      <a:lnTo>
                        <a:pt x="452980" y="225737"/>
                      </a:lnTo>
                      <a:lnTo>
                        <a:pt x="452154" y="226429"/>
                      </a:lnTo>
                      <a:lnTo>
                        <a:pt x="451329" y="227109"/>
                      </a:lnTo>
                      <a:lnTo>
                        <a:pt x="447807" y="229295"/>
                      </a:lnTo>
                      <a:lnTo>
                        <a:pt x="445123" y="230947"/>
                      </a:lnTo>
                      <a:lnTo>
                        <a:pt x="445123" y="230947"/>
                      </a:lnTo>
                      <a:lnTo>
                        <a:pt x="445112" y="230947"/>
                      </a:lnTo>
                      <a:lnTo>
                        <a:pt x="443557" y="233351"/>
                      </a:lnTo>
                      <a:lnTo>
                        <a:pt x="441493" y="239896"/>
                      </a:lnTo>
                      <a:lnTo>
                        <a:pt x="441262" y="240248"/>
                      </a:lnTo>
                      <a:lnTo>
                        <a:pt x="440837" y="241025"/>
                      </a:lnTo>
                      <a:lnTo>
                        <a:pt x="440570" y="242045"/>
                      </a:lnTo>
                      <a:lnTo>
                        <a:pt x="440570" y="242045"/>
                      </a:lnTo>
                      <a:lnTo>
                        <a:pt x="440582" y="242142"/>
                      </a:lnTo>
                      <a:lnTo>
                        <a:pt x="440789" y="244037"/>
                      </a:lnTo>
                      <a:lnTo>
                        <a:pt x="441262" y="244717"/>
                      </a:lnTo>
                      <a:lnTo>
                        <a:pt x="441493" y="245045"/>
                      </a:lnTo>
                      <a:lnTo>
                        <a:pt x="441736" y="245190"/>
                      </a:lnTo>
                      <a:lnTo>
                        <a:pt x="442647" y="245761"/>
                      </a:lnTo>
                      <a:lnTo>
                        <a:pt x="443691" y="246878"/>
                      </a:lnTo>
                      <a:lnTo>
                        <a:pt x="443958" y="249064"/>
                      </a:lnTo>
                      <a:lnTo>
                        <a:pt x="442647" y="252913"/>
                      </a:lnTo>
                      <a:lnTo>
                        <a:pt x="437923" y="256495"/>
                      </a:lnTo>
                      <a:lnTo>
                        <a:pt x="435640" y="260770"/>
                      </a:lnTo>
                      <a:lnTo>
                        <a:pt x="434316" y="263235"/>
                      </a:lnTo>
                      <a:lnTo>
                        <a:pt x="430819" y="274588"/>
                      </a:lnTo>
                      <a:lnTo>
                        <a:pt x="430625" y="274880"/>
                      </a:lnTo>
                      <a:lnTo>
                        <a:pt x="429848" y="276045"/>
                      </a:lnTo>
                      <a:lnTo>
                        <a:pt x="428828" y="276677"/>
                      </a:lnTo>
                      <a:lnTo>
                        <a:pt x="428367" y="277442"/>
                      </a:lnTo>
                      <a:lnTo>
                        <a:pt x="428257" y="277624"/>
                      </a:lnTo>
                      <a:lnTo>
                        <a:pt x="428257" y="277624"/>
                      </a:lnTo>
                      <a:lnTo>
                        <a:pt x="428354" y="278243"/>
                      </a:lnTo>
                      <a:lnTo>
                        <a:pt x="429690" y="286501"/>
                      </a:lnTo>
                      <a:lnTo>
                        <a:pt x="430965" y="289536"/>
                      </a:lnTo>
                      <a:lnTo>
                        <a:pt x="430953" y="289658"/>
                      </a:lnTo>
                      <a:lnTo>
                        <a:pt x="430710" y="291297"/>
                      </a:lnTo>
                      <a:lnTo>
                        <a:pt x="430710" y="293070"/>
                      </a:lnTo>
                      <a:lnTo>
                        <a:pt x="432325" y="294843"/>
                      </a:lnTo>
                      <a:lnTo>
                        <a:pt x="433649" y="296312"/>
                      </a:lnTo>
                      <a:lnTo>
                        <a:pt x="434571" y="298024"/>
                      </a:lnTo>
                      <a:lnTo>
                        <a:pt x="435822" y="301849"/>
                      </a:lnTo>
                      <a:lnTo>
                        <a:pt x="438226" y="304314"/>
                      </a:lnTo>
                      <a:lnTo>
                        <a:pt x="438239" y="304314"/>
                      </a:lnTo>
                      <a:lnTo>
                        <a:pt x="440060" y="304217"/>
                      </a:lnTo>
                      <a:lnTo>
                        <a:pt x="441736" y="304144"/>
                      </a:lnTo>
                      <a:lnTo>
                        <a:pt x="445464" y="302566"/>
                      </a:lnTo>
                      <a:lnTo>
                        <a:pt x="448584" y="300781"/>
                      </a:lnTo>
                      <a:lnTo>
                        <a:pt x="456951" y="298437"/>
                      </a:lnTo>
                      <a:lnTo>
                        <a:pt x="463047" y="301473"/>
                      </a:lnTo>
                      <a:lnTo>
                        <a:pt x="468705" y="307860"/>
                      </a:lnTo>
                      <a:lnTo>
                        <a:pt x="474352" y="314247"/>
                      </a:lnTo>
                      <a:lnTo>
                        <a:pt x="483859" y="320476"/>
                      </a:lnTo>
                      <a:lnTo>
                        <a:pt x="487964" y="323172"/>
                      </a:lnTo>
                      <a:lnTo>
                        <a:pt x="492955" y="328564"/>
                      </a:lnTo>
                      <a:lnTo>
                        <a:pt x="493768" y="340877"/>
                      </a:lnTo>
                      <a:lnTo>
                        <a:pt x="495080" y="342127"/>
                      </a:lnTo>
                      <a:lnTo>
                        <a:pt x="496391" y="343390"/>
                      </a:lnTo>
                      <a:lnTo>
                        <a:pt x="503471" y="346827"/>
                      </a:lnTo>
                      <a:lnTo>
                        <a:pt x="505353" y="350822"/>
                      </a:lnTo>
                      <a:lnTo>
                        <a:pt x="510465" y="354610"/>
                      </a:lnTo>
                      <a:lnTo>
                        <a:pt x="511898" y="357476"/>
                      </a:lnTo>
                      <a:lnTo>
                        <a:pt x="513719" y="359322"/>
                      </a:lnTo>
                      <a:lnTo>
                        <a:pt x="515650" y="359686"/>
                      </a:lnTo>
                      <a:lnTo>
                        <a:pt x="517581" y="360062"/>
                      </a:lnTo>
                      <a:lnTo>
                        <a:pt x="525607" y="360317"/>
                      </a:lnTo>
                      <a:lnTo>
                        <a:pt x="529128" y="361993"/>
                      </a:lnTo>
                      <a:lnTo>
                        <a:pt x="529274" y="362066"/>
                      </a:lnTo>
                      <a:lnTo>
                        <a:pt x="535309" y="365891"/>
                      </a:lnTo>
                      <a:lnTo>
                        <a:pt x="539219" y="366777"/>
                      </a:lnTo>
                      <a:lnTo>
                        <a:pt x="541454" y="366170"/>
                      </a:lnTo>
                      <a:lnTo>
                        <a:pt x="541454" y="366170"/>
                      </a:lnTo>
                      <a:lnTo>
                        <a:pt x="541466" y="366170"/>
                      </a:lnTo>
                      <a:lnTo>
                        <a:pt x="541854" y="365782"/>
                      </a:lnTo>
                      <a:lnTo>
                        <a:pt x="543117" y="364568"/>
                      </a:lnTo>
                      <a:lnTo>
                        <a:pt x="544368" y="363050"/>
                      </a:lnTo>
                      <a:lnTo>
                        <a:pt x="544732" y="362612"/>
                      </a:lnTo>
                      <a:lnTo>
                        <a:pt x="545461" y="362005"/>
                      </a:lnTo>
                      <a:lnTo>
                        <a:pt x="546687" y="360997"/>
                      </a:lnTo>
                      <a:lnTo>
                        <a:pt x="548181" y="360767"/>
                      </a:lnTo>
                      <a:lnTo>
                        <a:pt x="549917" y="361058"/>
                      </a:lnTo>
                      <a:lnTo>
                        <a:pt x="550792" y="361095"/>
                      </a:lnTo>
                      <a:lnTo>
                        <a:pt x="551678" y="361143"/>
                      </a:lnTo>
                      <a:lnTo>
                        <a:pt x="553524" y="360305"/>
                      </a:lnTo>
                      <a:lnTo>
                        <a:pt x="553524" y="360305"/>
                      </a:lnTo>
                      <a:lnTo>
                        <a:pt x="553402" y="356784"/>
                      </a:lnTo>
                      <a:lnTo>
                        <a:pt x="559134" y="358957"/>
                      </a:lnTo>
                      <a:lnTo>
                        <a:pt x="560749" y="360305"/>
                      </a:lnTo>
                      <a:lnTo>
                        <a:pt x="562485" y="362333"/>
                      </a:lnTo>
                      <a:lnTo>
                        <a:pt x="562995" y="362940"/>
                      </a:lnTo>
                      <a:lnTo>
                        <a:pt x="565399" y="365005"/>
                      </a:lnTo>
                      <a:lnTo>
                        <a:pt x="566565" y="366753"/>
                      </a:lnTo>
                      <a:lnTo>
                        <a:pt x="567148" y="367628"/>
                      </a:lnTo>
                      <a:lnTo>
                        <a:pt x="567257" y="369765"/>
                      </a:lnTo>
                      <a:lnTo>
                        <a:pt x="567367" y="371902"/>
                      </a:lnTo>
                      <a:lnTo>
                        <a:pt x="564209" y="378993"/>
                      </a:lnTo>
                      <a:lnTo>
                        <a:pt x="564258" y="380232"/>
                      </a:lnTo>
                      <a:lnTo>
                        <a:pt x="566274" y="381665"/>
                      </a:lnTo>
                      <a:lnTo>
                        <a:pt x="566784" y="383328"/>
                      </a:lnTo>
                      <a:lnTo>
                        <a:pt x="566881" y="384239"/>
                      </a:lnTo>
                      <a:lnTo>
                        <a:pt x="566966" y="385247"/>
                      </a:lnTo>
                      <a:lnTo>
                        <a:pt x="567379" y="386328"/>
                      </a:lnTo>
                      <a:lnTo>
                        <a:pt x="567767" y="387408"/>
                      </a:lnTo>
                      <a:lnTo>
                        <a:pt x="572187" y="392788"/>
                      </a:lnTo>
                      <a:lnTo>
                        <a:pt x="572466" y="393018"/>
                      </a:lnTo>
                      <a:lnTo>
                        <a:pt x="573499" y="393905"/>
                      </a:lnTo>
                      <a:lnTo>
                        <a:pt x="575405" y="394391"/>
                      </a:lnTo>
                      <a:lnTo>
                        <a:pt x="579364" y="394645"/>
                      </a:lnTo>
                      <a:lnTo>
                        <a:pt x="580445" y="395532"/>
                      </a:lnTo>
                      <a:lnTo>
                        <a:pt x="582339" y="397414"/>
                      </a:lnTo>
                      <a:lnTo>
                        <a:pt x="583602" y="398665"/>
                      </a:lnTo>
                      <a:lnTo>
                        <a:pt x="588034" y="399248"/>
                      </a:lnTo>
                      <a:lnTo>
                        <a:pt x="592830" y="399017"/>
                      </a:lnTo>
                      <a:lnTo>
                        <a:pt x="597214" y="398811"/>
                      </a:lnTo>
                      <a:lnTo>
                        <a:pt x="598586" y="400438"/>
                      </a:lnTo>
                      <a:lnTo>
                        <a:pt x="598999" y="402344"/>
                      </a:lnTo>
                      <a:lnTo>
                        <a:pt x="598537" y="404348"/>
                      </a:lnTo>
                      <a:lnTo>
                        <a:pt x="597214" y="406303"/>
                      </a:lnTo>
                      <a:lnTo>
                        <a:pt x="590159" y="411293"/>
                      </a:lnTo>
                      <a:lnTo>
                        <a:pt x="590159" y="411293"/>
                      </a:lnTo>
                      <a:lnTo>
                        <a:pt x="590147" y="411293"/>
                      </a:lnTo>
                      <a:lnTo>
                        <a:pt x="589710" y="411864"/>
                      </a:lnTo>
                      <a:lnTo>
                        <a:pt x="588471" y="413443"/>
                      </a:lnTo>
                      <a:lnTo>
                        <a:pt x="588313" y="416139"/>
                      </a:lnTo>
                      <a:lnTo>
                        <a:pt x="588835" y="418773"/>
                      </a:lnTo>
                      <a:lnTo>
                        <a:pt x="588580" y="419769"/>
                      </a:lnTo>
                      <a:lnTo>
                        <a:pt x="588325" y="420765"/>
                      </a:lnTo>
                      <a:lnTo>
                        <a:pt x="584889" y="421481"/>
                      </a:lnTo>
                      <a:lnTo>
                        <a:pt x="584901" y="421494"/>
                      </a:lnTo>
                      <a:lnTo>
                        <a:pt x="584889" y="421494"/>
                      </a:lnTo>
                      <a:lnTo>
                        <a:pt x="586589" y="424177"/>
                      </a:lnTo>
                      <a:lnTo>
                        <a:pt x="587573" y="425731"/>
                      </a:lnTo>
                      <a:lnTo>
                        <a:pt x="584464" y="425549"/>
                      </a:lnTo>
                      <a:lnTo>
                        <a:pt x="582813" y="425452"/>
                      </a:lnTo>
                      <a:lnTo>
                        <a:pt x="570001" y="421056"/>
                      </a:lnTo>
                      <a:lnTo>
                        <a:pt x="569856" y="420971"/>
                      </a:lnTo>
                      <a:lnTo>
                        <a:pt x="568739" y="420340"/>
                      </a:lnTo>
                      <a:lnTo>
                        <a:pt x="568338" y="420219"/>
                      </a:lnTo>
                      <a:lnTo>
                        <a:pt x="567537" y="419964"/>
                      </a:lnTo>
                      <a:lnTo>
                        <a:pt x="566043" y="420279"/>
                      </a:lnTo>
                      <a:lnTo>
                        <a:pt x="564780" y="421688"/>
                      </a:lnTo>
                      <a:lnTo>
                        <a:pt x="563663" y="424226"/>
                      </a:lnTo>
                      <a:lnTo>
                        <a:pt x="562886" y="425999"/>
                      </a:lnTo>
                      <a:lnTo>
                        <a:pt x="561332" y="427116"/>
                      </a:lnTo>
                      <a:lnTo>
                        <a:pt x="557349" y="426727"/>
                      </a:lnTo>
                      <a:lnTo>
                        <a:pt x="550136" y="426023"/>
                      </a:lnTo>
                      <a:lnTo>
                        <a:pt x="543020" y="423436"/>
                      </a:lnTo>
                      <a:lnTo>
                        <a:pt x="538952" y="421955"/>
                      </a:lnTo>
                      <a:lnTo>
                        <a:pt x="533196" y="420862"/>
                      </a:lnTo>
                      <a:lnTo>
                        <a:pt x="531010" y="420814"/>
                      </a:lnTo>
                      <a:lnTo>
                        <a:pt x="526664" y="420692"/>
                      </a:lnTo>
                      <a:lnTo>
                        <a:pt x="524927" y="421299"/>
                      </a:lnTo>
                      <a:lnTo>
                        <a:pt x="524915" y="421299"/>
                      </a:lnTo>
                      <a:lnTo>
                        <a:pt x="523664" y="422671"/>
                      </a:lnTo>
                      <a:lnTo>
                        <a:pt x="522620" y="423813"/>
                      </a:lnTo>
                      <a:lnTo>
                        <a:pt x="521952" y="424238"/>
                      </a:lnTo>
                      <a:lnTo>
                        <a:pt x="521284" y="424663"/>
                      </a:lnTo>
                      <a:lnTo>
                        <a:pt x="519171" y="425149"/>
                      </a:lnTo>
                      <a:lnTo>
                        <a:pt x="518734" y="425112"/>
                      </a:lnTo>
                      <a:lnTo>
                        <a:pt x="518309" y="425076"/>
                      </a:lnTo>
                      <a:lnTo>
                        <a:pt x="517435" y="424687"/>
                      </a:lnTo>
                      <a:lnTo>
                        <a:pt x="517386" y="424663"/>
                      </a:lnTo>
                      <a:lnTo>
                        <a:pt x="512408" y="423351"/>
                      </a:lnTo>
                      <a:lnTo>
                        <a:pt x="506494" y="421081"/>
                      </a:lnTo>
                      <a:lnTo>
                        <a:pt x="503458" y="420304"/>
                      </a:lnTo>
                      <a:lnTo>
                        <a:pt x="497010" y="421360"/>
                      </a:lnTo>
                      <a:lnTo>
                        <a:pt x="496100" y="423024"/>
                      </a:lnTo>
                      <a:lnTo>
                        <a:pt x="495189" y="424687"/>
                      </a:lnTo>
                      <a:lnTo>
                        <a:pt x="495189" y="424687"/>
                      </a:lnTo>
                      <a:lnTo>
                        <a:pt x="495699" y="435944"/>
                      </a:lnTo>
                      <a:lnTo>
                        <a:pt x="494934" y="442513"/>
                      </a:lnTo>
                      <a:lnTo>
                        <a:pt x="494169" y="449070"/>
                      </a:lnTo>
                      <a:lnTo>
                        <a:pt x="493744" y="450199"/>
                      </a:lnTo>
                      <a:lnTo>
                        <a:pt x="491922" y="454972"/>
                      </a:lnTo>
                      <a:lnTo>
                        <a:pt x="489385" y="458104"/>
                      </a:lnTo>
                      <a:lnTo>
                        <a:pt x="487624" y="460254"/>
                      </a:lnTo>
                      <a:lnTo>
                        <a:pt x="487430" y="462015"/>
                      </a:lnTo>
                      <a:lnTo>
                        <a:pt x="487053" y="465512"/>
                      </a:lnTo>
                      <a:lnTo>
                        <a:pt x="485523" y="468596"/>
                      </a:lnTo>
                      <a:lnTo>
                        <a:pt x="484758" y="470126"/>
                      </a:lnTo>
                      <a:lnTo>
                        <a:pt x="482160" y="473405"/>
                      </a:lnTo>
                      <a:lnTo>
                        <a:pt x="478201" y="478408"/>
                      </a:lnTo>
                      <a:lnTo>
                        <a:pt x="476999" y="480496"/>
                      </a:lnTo>
                      <a:lnTo>
                        <a:pt x="474801" y="484285"/>
                      </a:lnTo>
                      <a:lnTo>
                        <a:pt x="473089" y="485548"/>
                      </a:lnTo>
                      <a:lnTo>
                        <a:pt x="469920" y="485256"/>
                      </a:lnTo>
                      <a:lnTo>
                        <a:pt x="462063" y="483216"/>
                      </a:lnTo>
                      <a:lnTo>
                        <a:pt x="459853" y="483107"/>
                      </a:lnTo>
                      <a:lnTo>
                        <a:pt x="459756" y="481310"/>
                      </a:lnTo>
                      <a:lnTo>
                        <a:pt x="459659" y="479500"/>
                      </a:lnTo>
                      <a:lnTo>
                        <a:pt x="457946" y="475627"/>
                      </a:lnTo>
                      <a:lnTo>
                        <a:pt x="456174" y="473368"/>
                      </a:lnTo>
                      <a:lnTo>
                        <a:pt x="455299" y="472239"/>
                      </a:lnTo>
                      <a:lnTo>
                        <a:pt x="452264" y="470235"/>
                      </a:lnTo>
                      <a:lnTo>
                        <a:pt x="450455" y="470065"/>
                      </a:lnTo>
                      <a:lnTo>
                        <a:pt x="448657" y="469883"/>
                      </a:lnTo>
                      <a:lnTo>
                        <a:pt x="445160" y="471061"/>
                      </a:lnTo>
                      <a:lnTo>
                        <a:pt x="435834" y="476003"/>
                      </a:lnTo>
                      <a:lnTo>
                        <a:pt x="435834" y="476003"/>
                      </a:lnTo>
                      <a:lnTo>
                        <a:pt x="435834" y="476853"/>
                      </a:lnTo>
                      <a:lnTo>
                        <a:pt x="435834" y="476853"/>
                      </a:lnTo>
                      <a:lnTo>
                        <a:pt x="436174" y="477205"/>
                      </a:lnTo>
                      <a:lnTo>
                        <a:pt x="436866" y="477922"/>
                      </a:lnTo>
                      <a:lnTo>
                        <a:pt x="437121" y="478420"/>
                      </a:lnTo>
                      <a:lnTo>
                        <a:pt x="437741" y="479646"/>
                      </a:lnTo>
                      <a:lnTo>
                        <a:pt x="439635" y="484928"/>
                      </a:lnTo>
                      <a:lnTo>
                        <a:pt x="440218" y="486543"/>
                      </a:lnTo>
                      <a:lnTo>
                        <a:pt x="440740" y="490332"/>
                      </a:lnTo>
                      <a:lnTo>
                        <a:pt x="438955" y="492894"/>
                      </a:lnTo>
                      <a:lnTo>
                        <a:pt x="438117" y="493683"/>
                      </a:lnTo>
                      <a:lnTo>
                        <a:pt x="436320" y="495383"/>
                      </a:lnTo>
                      <a:lnTo>
                        <a:pt x="434899" y="498286"/>
                      </a:lnTo>
                      <a:lnTo>
                        <a:pt x="434559" y="499002"/>
                      </a:lnTo>
                      <a:lnTo>
                        <a:pt x="433309" y="498796"/>
                      </a:lnTo>
                      <a:lnTo>
                        <a:pt x="432070" y="498589"/>
                      </a:lnTo>
                      <a:lnTo>
                        <a:pt x="431548" y="499196"/>
                      </a:lnTo>
                      <a:lnTo>
                        <a:pt x="430856" y="499986"/>
                      </a:lnTo>
                      <a:lnTo>
                        <a:pt x="430394" y="502123"/>
                      </a:lnTo>
                      <a:lnTo>
                        <a:pt x="430334" y="502378"/>
                      </a:lnTo>
                      <a:lnTo>
                        <a:pt x="430188" y="503738"/>
                      </a:lnTo>
                      <a:lnTo>
                        <a:pt x="430054" y="505098"/>
                      </a:lnTo>
                      <a:lnTo>
                        <a:pt x="429581" y="505766"/>
                      </a:lnTo>
                      <a:lnTo>
                        <a:pt x="428731" y="506943"/>
                      </a:lnTo>
                      <a:lnTo>
                        <a:pt x="426375" y="507344"/>
                      </a:lnTo>
                      <a:lnTo>
                        <a:pt x="424311" y="508182"/>
                      </a:lnTo>
                      <a:lnTo>
                        <a:pt x="423449" y="516500"/>
                      </a:lnTo>
                      <a:lnTo>
                        <a:pt x="423400" y="516913"/>
                      </a:lnTo>
                      <a:lnTo>
                        <a:pt x="420995" y="520386"/>
                      </a:lnTo>
                      <a:lnTo>
                        <a:pt x="420218" y="522183"/>
                      </a:lnTo>
                      <a:lnTo>
                        <a:pt x="419454" y="523980"/>
                      </a:lnTo>
                      <a:lnTo>
                        <a:pt x="418421" y="529979"/>
                      </a:lnTo>
                      <a:lnTo>
                        <a:pt x="418421" y="529979"/>
                      </a:lnTo>
                      <a:lnTo>
                        <a:pt x="420194" y="530489"/>
                      </a:lnTo>
                      <a:lnTo>
                        <a:pt x="421967" y="531011"/>
                      </a:lnTo>
                      <a:lnTo>
                        <a:pt x="423521" y="531642"/>
                      </a:lnTo>
                      <a:lnTo>
                        <a:pt x="425075" y="532274"/>
                      </a:lnTo>
                      <a:lnTo>
                        <a:pt x="426909" y="536354"/>
                      </a:lnTo>
                      <a:lnTo>
                        <a:pt x="429666" y="539110"/>
                      </a:lnTo>
                      <a:lnTo>
                        <a:pt x="429763" y="539304"/>
                      </a:lnTo>
                      <a:lnTo>
                        <a:pt x="430236" y="540300"/>
                      </a:lnTo>
                      <a:lnTo>
                        <a:pt x="430236" y="550694"/>
                      </a:lnTo>
                      <a:lnTo>
                        <a:pt x="430479" y="551702"/>
                      </a:lnTo>
                      <a:lnTo>
                        <a:pt x="431220" y="552407"/>
                      </a:lnTo>
                      <a:lnTo>
                        <a:pt x="432058" y="553451"/>
                      </a:lnTo>
                      <a:lnTo>
                        <a:pt x="432871" y="554507"/>
                      </a:lnTo>
                      <a:lnTo>
                        <a:pt x="434243" y="556875"/>
                      </a:lnTo>
                      <a:lnTo>
                        <a:pt x="434547" y="557410"/>
                      </a:lnTo>
                      <a:lnTo>
                        <a:pt x="434608" y="557604"/>
                      </a:lnTo>
                      <a:lnTo>
                        <a:pt x="434923" y="558782"/>
                      </a:lnTo>
                      <a:lnTo>
                        <a:pt x="434936" y="558782"/>
                      </a:lnTo>
                      <a:lnTo>
                        <a:pt x="434936" y="558782"/>
                      </a:lnTo>
                      <a:lnTo>
                        <a:pt x="437643" y="559352"/>
                      </a:lnTo>
                      <a:lnTo>
                        <a:pt x="440352" y="559935"/>
                      </a:lnTo>
                      <a:lnTo>
                        <a:pt x="464965" y="572455"/>
                      </a:lnTo>
                      <a:lnTo>
                        <a:pt x="489591" y="584962"/>
                      </a:lnTo>
                      <a:lnTo>
                        <a:pt x="494485" y="588738"/>
                      </a:lnTo>
                      <a:lnTo>
                        <a:pt x="503507" y="595696"/>
                      </a:lnTo>
                      <a:lnTo>
                        <a:pt x="504770" y="595951"/>
                      </a:lnTo>
                      <a:lnTo>
                        <a:pt x="507793" y="596595"/>
                      </a:lnTo>
                      <a:lnTo>
                        <a:pt x="516257" y="596995"/>
                      </a:lnTo>
                      <a:lnTo>
                        <a:pt x="519924" y="597178"/>
                      </a:lnTo>
                      <a:lnTo>
                        <a:pt x="522280" y="597955"/>
                      </a:lnTo>
                      <a:lnTo>
                        <a:pt x="529165" y="600226"/>
                      </a:lnTo>
                      <a:lnTo>
                        <a:pt x="531229" y="600092"/>
                      </a:lnTo>
                      <a:lnTo>
                        <a:pt x="533294" y="599958"/>
                      </a:lnTo>
                      <a:lnTo>
                        <a:pt x="536098" y="595733"/>
                      </a:lnTo>
                      <a:lnTo>
                        <a:pt x="538114" y="591179"/>
                      </a:lnTo>
                      <a:lnTo>
                        <a:pt x="542194" y="592066"/>
                      </a:lnTo>
                      <a:lnTo>
                        <a:pt x="543178" y="592648"/>
                      </a:lnTo>
                      <a:lnTo>
                        <a:pt x="548338" y="595720"/>
                      </a:lnTo>
                      <a:lnTo>
                        <a:pt x="552637" y="601355"/>
                      </a:lnTo>
                      <a:lnTo>
                        <a:pt x="553681" y="609211"/>
                      </a:lnTo>
                      <a:lnTo>
                        <a:pt x="553936" y="609843"/>
                      </a:lnTo>
                      <a:lnTo>
                        <a:pt x="554022" y="610061"/>
                      </a:lnTo>
                      <a:lnTo>
                        <a:pt x="554252" y="611676"/>
                      </a:lnTo>
                      <a:lnTo>
                        <a:pt x="554495" y="613303"/>
                      </a:lnTo>
                      <a:lnTo>
                        <a:pt x="554957" y="614044"/>
                      </a:lnTo>
                      <a:lnTo>
                        <a:pt x="554313" y="615878"/>
                      </a:lnTo>
                      <a:lnTo>
                        <a:pt x="553232" y="617420"/>
                      </a:lnTo>
                      <a:lnTo>
                        <a:pt x="552127" y="618974"/>
                      </a:lnTo>
                      <a:lnTo>
                        <a:pt x="551508" y="620662"/>
                      </a:lnTo>
                      <a:lnTo>
                        <a:pt x="551508" y="620662"/>
                      </a:lnTo>
                      <a:lnTo>
                        <a:pt x="551508" y="620674"/>
                      </a:lnTo>
                      <a:lnTo>
                        <a:pt x="550500" y="621148"/>
                      </a:lnTo>
                      <a:lnTo>
                        <a:pt x="548569" y="622034"/>
                      </a:lnTo>
                      <a:lnTo>
                        <a:pt x="545946" y="623006"/>
                      </a:lnTo>
                      <a:lnTo>
                        <a:pt x="544441" y="623552"/>
                      </a:lnTo>
                      <a:lnTo>
                        <a:pt x="543409" y="624511"/>
                      </a:lnTo>
                      <a:lnTo>
                        <a:pt x="542534" y="625313"/>
                      </a:lnTo>
                      <a:lnTo>
                        <a:pt x="541502" y="627754"/>
                      </a:lnTo>
                      <a:lnTo>
                        <a:pt x="541502" y="629648"/>
                      </a:lnTo>
                      <a:lnTo>
                        <a:pt x="542340" y="633315"/>
                      </a:lnTo>
                      <a:lnTo>
                        <a:pt x="542425" y="633691"/>
                      </a:lnTo>
                      <a:lnTo>
                        <a:pt x="542413" y="633801"/>
                      </a:lnTo>
                      <a:lnTo>
                        <a:pt x="542182" y="636023"/>
                      </a:lnTo>
                      <a:lnTo>
                        <a:pt x="541527" y="638257"/>
                      </a:lnTo>
                      <a:lnTo>
                        <a:pt x="540968" y="640164"/>
                      </a:lnTo>
                      <a:lnTo>
                        <a:pt x="540761" y="641864"/>
                      </a:lnTo>
                      <a:lnTo>
                        <a:pt x="540749" y="641973"/>
                      </a:lnTo>
                      <a:lnTo>
                        <a:pt x="540749" y="641973"/>
                      </a:lnTo>
                      <a:lnTo>
                        <a:pt x="540931" y="642422"/>
                      </a:lnTo>
                      <a:lnTo>
                        <a:pt x="541660" y="644219"/>
                      </a:lnTo>
                      <a:lnTo>
                        <a:pt x="545169" y="647219"/>
                      </a:lnTo>
                      <a:lnTo>
                        <a:pt x="545740" y="649708"/>
                      </a:lnTo>
                      <a:lnTo>
                        <a:pt x="545752" y="649708"/>
                      </a:lnTo>
                      <a:lnTo>
                        <a:pt x="545752" y="649708"/>
                      </a:lnTo>
                      <a:lnTo>
                        <a:pt x="550281" y="650764"/>
                      </a:lnTo>
                      <a:lnTo>
                        <a:pt x="550342" y="652598"/>
                      </a:lnTo>
                      <a:lnTo>
                        <a:pt x="550342" y="652622"/>
                      </a:lnTo>
                      <a:lnTo>
                        <a:pt x="548144" y="655464"/>
                      </a:lnTo>
                      <a:lnTo>
                        <a:pt x="545862" y="659313"/>
                      </a:lnTo>
                      <a:lnTo>
                        <a:pt x="545862" y="659313"/>
                      </a:lnTo>
                      <a:lnTo>
                        <a:pt x="547161" y="661632"/>
                      </a:lnTo>
                      <a:lnTo>
                        <a:pt x="548254" y="665421"/>
                      </a:lnTo>
                      <a:lnTo>
                        <a:pt x="548776" y="669647"/>
                      </a:lnTo>
                      <a:lnTo>
                        <a:pt x="548193" y="673229"/>
                      </a:lnTo>
                      <a:lnTo>
                        <a:pt x="546420" y="675499"/>
                      </a:lnTo>
                      <a:lnTo>
                        <a:pt x="544052" y="677758"/>
                      </a:lnTo>
                      <a:lnTo>
                        <a:pt x="539304" y="682263"/>
                      </a:lnTo>
                      <a:lnTo>
                        <a:pt x="537616" y="683562"/>
                      </a:lnTo>
                      <a:lnTo>
                        <a:pt x="536778" y="684206"/>
                      </a:lnTo>
                      <a:lnTo>
                        <a:pt x="533208" y="684922"/>
                      </a:lnTo>
                      <a:lnTo>
                        <a:pt x="529311" y="684582"/>
                      </a:lnTo>
                      <a:lnTo>
                        <a:pt x="527550" y="684667"/>
                      </a:lnTo>
                      <a:lnTo>
                        <a:pt x="525631" y="684753"/>
                      </a:lnTo>
                      <a:lnTo>
                        <a:pt x="524138" y="685930"/>
                      </a:lnTo>
                      <a:lnTo>
                        <a:pt x="522644" y="687108"/>
                      </a:lnTo>
                      <a:lnTo>
                        <a:pt x="522013" y="689002"/>
                      </a:lnTo>
                      <a:lnTo>
                        <a:pt x="522013" y="689002"/>
                      </a:lnTo>
                      <a:lnTo>
                        <a:pt x="522195" y="690787"/>
                      </a:lnTo>
                      <a:lnTo>
                        <a:pt x="522425" y="691674"/>
                      </a:lnTo>
                      <a:lnTo>
                        <a:pt x="522656" y="692573"/>
                      </a:lnTo>
                      <a:lnTo>
                        <a:pt x="522595" y="694370"/>
                      </a:lnTo>
                      <a:lnTo>
                        <a:pt x="521624" y="696665"/>
                      </a:lnTo>
                      <a:lnTo>
                        <a:pt x="520713" y="698061"/>
                      </a:lnTo>
                      <a:lnTo>
                        <a:pt x="518868" y="700878"/>
                      </a:lnTo>
                      <a:lnTo>
                        <a:pt x="517957" y="703003"/>
                      </a:lnTo>
                      <a:lnTo>
                        <a:pt x="517957" y="704898"/>
                      </a:lnTo>
                      <a:lnTo>
                        <a:pt x="517957" y="704898"/>
                      </a:lnTo>
                      <a:lnTo>
                        <a:pt x="519268" y="707909"/>
                      </a:lnTo>
                      <a:lnTo>
                        <a:pt x="519536" y="709621"/>
                      </a:lnTo>
                      <a:lnTo>
                        <a:pt x="519560" y="709743"/>
                      </a:lnTo>
                      <a:lnTo>
                        <a:pt x="517581" y="718777"/>
                      </a:lnTo>
                      <a:lnTo>
                        <a:pt x="515601" y="727811"/>
                      </a:lnTo>
                      <a:lnTo>
                        <a:pt x="515601" y="727811"/>
                      </a:lnTo>
                      <a:lnTo>
                        <a:pt x="515625" y="727945"/>
                      </a:lnTo>
                      <a:lnTo>
                        <a:pt x="515881" y="730009"/>
                      </a:lnTo>
                      <a:lnTo>
                        <a:pt x="515893" y="730009"/>
                      </a:lnTo>
                      <a:lnTo>
                        <a:pt x="515905" y="730009"/>
                      </a:lnTo>
                      <a:lnTo>
                        <a:pt x="517629" y="730859"/>
                      </a:lnTo>
                      <a:lnTo>
                        <a:pt x="519572" y="731236"/>
                      </a:lnTo>
                      <a:lnTo>
                        <a:pt x="520070" y="731600"/>
                      </a:lnTo>
                      <a:lnTo>
                        <a:pt x="520555" y="731976"/>
                      </a:lnTo>
                      <a:lnTo>
                        <a:pt x="520155" y="734478"/>
                      </a:lnTo>
                      <a:lnTo>
                        <a:pt x="519572" y="735971"/>
                      </a:lnTo>
                      <a:lnTo>
                        <a:pt x="519572" y="735971"/>
                      </a:lnTo>
                      <a:lnTo>
                        <a:pt x="519694" y="737283"/>
                      </a:lnTo>
                      <a:lnTo>
                        <a:pt x="520033" y="737647"/>
                      </a:lnTo>
                      <a:lnTo>
                        <a:pt x="521454" y="739177"/>
                      </a:lnTo>
                      <a:lnTo>
                        <a:pt x="522608" y="739663"/>
                      </a:lnTo>
                      <a:lnTo>
                        <a:pt x="523348" y="739979"/>
                      </a:lnTo>
                      <a:lnTo>
                        <a:pt x="525000" y="739796"/>
                      </a:lnTo>
                      <a:lnTo>
                        <a:pt x="527101" y="739566"/>
                      </a:lnTo>
                      <a:lnTo>
                        <a:pt x="528594" y="739881"/>
                      </a:lnTo>
                      <a:lnTo>
                        <a:pt x="531399" y="742832"/>
                      </a:lnTo>
                      <a:lnTo>
                        <a:pt x="535771" y="750531"/>
                      </a:lnTo>
                      <a:lnTo>
                        <a:pt x="538928" y="753834"/>
                      </a:lnTo>
                      <a:lnTo>
                        <a:pt x="544441" y="757513"/>
                      </a:lnTo>
                      <a:lnTo>
                        <a:pt x="546444" y="758424"/>
                      </a:lnTo>
                      <a:lnTo>
                        <a:pt x="547185" y="759832"/>
                      </a:lnTo>
                      <a:lnTo>
                        <a:pt x="549262" y="763791"/>
                      </a:lnTo>
                      <a:lnTo>
                        <a:pt x="549274" y="763791"/>
                      </a:lnTo>
                      <a:lnTo>
                        <a:pt x="549274" y="763803"/>
                      </a:lnTo>
                      <a:lnTo>
                        <a:pt x="550913" y="763184"/>
                      </a:lnTo>
                      <a:lnTo>
                        <a:pt x="551630" y="762917"/>
                      </a:lnTo>
                      <a:lnTo>
                        <a:pt x="552929" y="760925"/>
                      </a:lnTo>
                      <a:lnTo>
                        <a:pt x="553803" y="759577"/>
                      </a:lnTo>
                      <a:lnTo>
                        <a:pt x="556256" y="757719"/>
                      </a:lnTo>
                      <a:lnTo>
                        <a:pt x="558721" y="759699"/>
                      </a:lnTo>
                      <a:lnTo>
                        <a:pt x="558332" y="763973"/>
                      </a:lnTo>
                      <a:lnTo>
                        <a:pt x="553767" y="775739"/>
                      </a:lnTo>
                      <a:lnTo>
                        <a:pt x="549201" y="787506"/>
                      </a:lnTo>
                      <a:lnTo>
                        <a:pt x="544659" y="794573"/>
                      </a:lnTo>
                      <a:lnTo>
                        <a:pt x="543214" y="797803"/>
                      </a:lnTo>
                      <a:lnTo>
                        <a:pt x="542959" y="798386"/>
                      </a:lnTo>
                      <a:lnTo>
                        <a:pt x="542959" y="798386"/>
                      </a:lnTo>
                      <a:lnTo>
                        <a:pt x="543044" y="800535"/>
                      </a:lnTo>
                      <a:lnTo>
                        <a:pt x="543129" y="802697"/>
                      </a:lnTo>
                      <a:lnTo>
                        <a:pt x="544963" y="806522"/>
                      </a:lnTo>
                      <a:lnTo>
                        <a:pt x="545801" y="807250"/>
                      </a:lnTo>
                      <a:lnTo>
                        <a:pt x="547501" y="808708"/>
                      </a:lnTo>
                      <a:lnTo>
                        <a:pt x="559790" y="812581"/>
                      </a:lnTo>
                      <a:lnTo>
                        <a:pt x="560761" y="812593"/>
                      </a:lnTo>
                      <a:lnTo>
                        <a:pt x="561781" y="812605"/>
                      </a:lnTo>
                      <a:lnTo>
                        <a:pt x="563274" y="811913"/>
                      </a:lnTo>
                      <a:lnTo>
                        <a:pt x="563287" y="811913"/>
                      </a:lnTo>
                      <a:lnTo>
                        <a:pt x="563833" y="811440"/>
                      </a:lnTo>
                      <a:lnTo>
                        <a:pt x="564561" y="810808"/>
                      </a:lnTo>
                      <a:lnTo>
                        <a:pt x="566165" y="809740"/>
                      </a:lnTo>
                      <a:lnTo>
                        <a:pt x="568641" y="809375"/>
                      </a:lnTo>
                      <a:lnTo>
                        <a:pt x="569698" y="809582"/>
                      </a:lnTo>
                      <a:lnTo>
                        <a:pt x="571799" y="810007"/>
                      </a:lnTo>
                      <a:lnTo>
                        <a:pt x="580566" y="812958"/>
                      </a:lnTo>
                      <a:lnTo>
                        <a:pt x="584950" y="814439"/>
                      </a:lnTo>
                      <a:lnTo>
                        <a:pt x="586540" y="815180"/>
                      </a:lnTo>
                      <a:lnTo>
                        <a:pt x="588216" y="815617"/>
                      </a:lnTo>
                      <a:lnTo>
                        <a:pt x="593340" y="815410"/>
                      </a:lnTo>
                      <a:lnTo>
                        <a:pt x="594360" y="816358"/>
                      </a:lnTo>
                      <a:lnTo>
                        <a:pt x="594360" y="817997"/>
                      </a:lnTo>
                      <a:lnTo>
                        <a:pt x="593656" y="819527"/>
                      </a:lnTo>
                      <a:lnTo>
                        <a:pt x="593401" y="820086"/>
                      </a:lnTo>
                      <a:lnTo>
                        <a:pt x="591713" y="821956"/>
                      </a:lnTo>
                      <a:lnTo>
                        <a:pt x="588641" y="824457"/>
                      </a:lnTo>
                      <a:lnTo>
                        <a:pt x="586722" y="826011"/>
                      </a:lnTo>
                      <a:lnTo>
                        <a:pt x="581416" y="831549"/>
                      </a:lnTo>
                      <a:lnTo>
                        <a:pt x="576546" y="836636"/>
                      </a:lnTo>
                      <a:lnTo>
                        <a:pt x="573972" y="841603"/>
                      </a:lnTo>
                      <a:lnTo>
                        <a:pt x="573511" y="851742"/>
                      </a:lnTo>
                      <a:lnTo>
                        <a:pt x="571799" y="857364"/>
                      </a:lnTo>
                      <a:lnTo>
                        <a:pt x="571738" y="859307"/>
                      </a:lnTo>
                      <a:lnTo>
                        <a:pt x="571677" y="861238"/>
                      </a:lnTo>
                      <a:lnTo>
                        <a:pt x="571677" y="861238"/>
                      </a:lnTo>
                      <a:lnTo>
                        <a:pt x="572418" y="863436"/>
                      </a:lnTo>
                      <a:lnTo>
                        <a:pt x="575976" y="867832"/>
                      </a:lnTo>
                      <a:lnTo>
                        <a:pt x="577931" y="870904"/>
                      </a:lnTo>
                      <a:lnTo>
                        <a:pt x="581902" y="880217"/>
                      </a:lnTo>
                      <a:lnTo>
                        <a:pt x="584075" y="882816"/>
                      </a:lnTo>
                      <a:lnTo>
                        <a:pt x="584087" y="882828"/>
                      </a:lnTo>
                      <a:lnTo>
                        <a:pt x="587135" y="883787"/>
                      </a:lnTo>
                      <a:lnTo>
                        <a:pt x="589369" y="884492"/>
                      </a:lnTo>
                      <a:lnTo>
                        <a:pt x="591495" y="886471"/>
                      </a:lnTo>
                      <a:lnTo>
                        <a:pt x="591713" y="887794"/>
                      </a:lnTo>
                      <a:lnTo>
                        <a:pt x="591920" y="889130"/>
                      </a:lnTo>
                      <a:lnTo>
                        <a:pt x="591616" y="892943"/>
                      </a:lnTo>
                      <a:lnTo>
                        <a:pt x="590936" y="896501"/>
                      </a:lnTo>
                      <a:lnTo>
                        <a:pt x="590875" y="896780"/>
                      </a:lnTo>
                      <a:lnTo>
                        <a:pt x="590074" y="899428"/>
                      </a:lnTo>
                      <a:lnTo>
                        <a:pt x="589394" y="900435"/>
                      </a:lnTo>
                      <a:lnTo>
                        <a:pt x="588058" y="902451"/>
                      </a:lnTo>
                      <a:lnTo>
                        <a:pt x="586832" y="903896"/>
                      </a:lnTo>
                      <a:lnTo>
                        <a:pt x="585945" y="904953"/>
                      </a:lnTo>
                      <a:lnTo>
                        <a:pt x="584670" y="907648"/>
                      </a:lnTo>
                      <a:lnTo>
                        <a:pt x="585132" y="911230"/>
                      </a:lnTo>
                      <a:lnTo>
                        <a:pt x="586929" y="915784"/>
                      </a:lnTo>
                      <a:lnTo>
                        <a:pt x="587378" y="916913"/>
                      </a:lnTo>
                      <a:lnTo>
                        <a:pt x="587682" y="918188"/>
                      </a:lnTo>
                      <a:lnTo>
                        <a:pt x="587998" y="919463"/>
                      </a:lnTo>
                      <a:lnTo>
                        <a:pt x="588046" y="919755"/>
                      </a:lnTo>
                      <a:lnTo>
                        <a:pt x="588738" y="923835"/>
                      </a:lnTo>
                      <a:lnTo>
                        <a:pt x="590365" y="926701"/>
                      </a:lnTo>
                      <a:lnTo>
                        <a:pt x="591106" y="928012"/>
                      </a:lnTo>
                      <a:lnTo>
                        <a:pt x="592891" y="933076"/>
                      </a:lnTo>
                      <a:lnTo>
                        <a:pt x="593729" y="938382"/>
                      </a:lnTo>
                      <a:lnTo>
                        <a:pt x="592600" y="942924"/>
                      </a:lnTo>
                      <a:lnTo>
                        <a:pt x="590499" y="944296"/>
                      </a:lnTo>
                      <a:lnTo>
                        <a:pt x="588398" y="945656"/>
                      </a:lnTo>
                      <a:lnTo>
                        <a:pt x="588410" y="945656"/>
                      </a:lnTo>
                      <a:lnTo>
                        <a:pt x="588398" y="945656"/>
                      </a:lnTo>
                      <a:lnTo>
                        <a:pt x="590487" y="946457"/>
                      </a:lnTo>
                      <a:lnTo>
                        <a:pt x="594190" y="947890"/>
                      </a:lnTo>
                      <a:lnTo>
                        <a:pt x="596449" y="949638"/>
                      </a:lnTo>
                      <a:lnTo>
                        <a:pt x="597020" y="952067"/>
                      </a:lnTo>
                      <a:lnTo>
                        <a:pt x="598173" y="956936"/>
                      </a:lnTo>
                      <a:lnTo>
                        <a:pt x="601622" y="964744"/>
                      </a:lnTo>
                      <a:lnTo>
                        <a:pt x="602362" y="969334"/>
                      </a:lnTo>
                      <a:lnTo>
                        <a:pt x="602083" y="970889"/>
                      </a:lnTo>
                      <a:lnTo>
                        <a:pt x="601294" y="972176"/>
                      </a:lnTo>
                      <a:lnTo>
                        <a:pt x="600493" y="973463"/>
                      </a:lnTo>
                      <a:lnTo>
                        <a:pt x="600238" y="974483"/>
                      </a:lnTo>
                      <a:lnTo>
                        <a:pt x="599983" y="975491"/>
                      </a:lnTo>
                      <a:lnTo>
                        <a:pt x="599983" y="975491"/>
                      </a:lnTo>
                      <a:lnTo>
                        <a:pt x="599983" y="977409"/>
                      </a:lnTo>
                      <a:lnTo>
                        <a:pt x="599983" y="977421"/>
                      </a:lnTo>
                      <a:lnTo>
                        <a:pt x="601476" y="984404"/>
                      </a:lnTo>
                      <a:lnTo>
                        <a:pt x="602229" y="987901"/>
                      </a:lnTo>
                      <a:lnTo>
                        <a:pt x="603273" y="990305"/>
                      </a:lnTo>
                      <a:lnTo>
                        <a:pt x="606358" y="995563"/>
                      </a:lnTo>
                      <a:lnTo>
                        <a:pt x="603662" y="997360"/>
                      </a:lnTo>
                      <a:lnTo>
                        <a:pt x="603662" y="997360"/>
                      </a:lnTo>
                      <a:lnTo>
                        <a:pt x="605435" y="1001501"/>
                      </a:lnTo>
                      <a:lnTo>
                        <a:pt x="613643" y="1011944"/>
                      </a:lnTo>
                      <a:lnTo>
                        <a:pt x="615210" y="1015247"/>
                      </a:lnTo>
                      <a:lnTo>
                        <a:pt x="616242" y="1019145"/>
                      </a:lnTo>
                      <a:lnTo>
                        <a:pt x="616570" y="1023917"/>
                      </a:lnTo>
                      <a:lnTo>
                        <a:pt x="613303" y="1027912"/>
                      </a:lnTo>
                      <a:lnTo>
                        <a:pt x="613242" y="1028045"/>
                      </a:lnTo>
                      <a:lnTo>
                        <a:pt x="613242" y="1027912"/>
                      </a:lnTo>
                      <a:lnTo>
                        <a:pt x="610146" y="1026564"/>
                      </a:lnTo>
                      <a:lnTo>
                        <a:pt x="611045" y="1029405"/>
                      </a:lnTo>
                      <a:lnTo>
                        <a:pt x="610474" y="1031555"/>
                      </a:lnTo>
                      <a:lnTo>
                        <a:pt x="609381" y="1033753"/>
                      </a:lnTo>
                      <a:lnTo>
                        <a:pt x="608859" y="1036764"/>
                      </a:lnTo>
                      <a:lnTo>
                        <a:pt x="609430" y="1039921"/>
                      </a:lnTo>
                      <a:lnTo>
                        <a:pt x="610753" y="1042483"/>
                      </a:lnTo>
                      <a:lnTo>
                        <a:pt x="612065" y="1045033"/>
                      </a:lnTo>
                      <a:lnTo>
                        <a:pt x="612708" y="1047462"/>
                      </a:lnTo>
                      <a:lnTo>
                        <a:pt x="614202" y="1060067"/>
                      </a:lnTo>
                      <a:lnTo>
                        <a:pt x="613340" y="1065725"/>
                      </a:lnTo>
                      <a:lnTo>
                        <a:pt x="608859" y="1068348"/>
                      </a:lnTo>
                      <a:lnTo>
                        <a:pt x="606285" y="1067158"/>
                      </a:lnTo>
                      <a:lnTo>
                        <a:pt x="604378" y="1067498"/>
                      </a:lnTo>
                      <a:lnTo>
                        <a:pt x="603468" y="1069222"/>
                      </a:lnTo>
                      <a:lnTo>
                        <a:pt x="603710" y="1072391"/>
                      </a:lnTo>
                      <a:lnTo>
                        <a:pt x="600602" y="1070776"/>
                      </a:lnTo>
                      <a:lnTo>
                        <a:pt x="594518" y="1066526"/>
                      </a:lnTo>
                      <a:lnTo>
                        <a:pt x="591531" y="1065640"/>
                      </a:lnTo>
                      <a:lnTo>
                        <a:pt x="590268" y="1063685"/>
                      </a:lnTo>
                      <a:lnTo>
                        <a:pt x="589952" y="1061669"/>
                      </a:lnTo>
                      <a:lnTo>
                        <a:pt x="589649" y="1059641"/>
                      </a:lnTo>
                      <a:lnTo>
                        <a:pt x="588556" y="1056253"/>
                      </a:lnTo>
                      <a:lnTo>
                        <a:pt x="585787" y="1056253"/>
                      </a:lnTo>
                      <a:lnTo>
                        <a:pt x="585775" y="1056253"/>
                      </a:lnTo>
                      <a:lnTo>
                        <a:pt x="584962" y="1057929"/>
                      </a:lnTo>
                      <a:lnTo>
                        <a:pt x="584124" y="1059617"/>
                      </a:lnTo>
                      <a:lnTo>
                        <a:pt x="584682" y="1061900"/>
                      </a:lnTo>
                      <a:lnTo>
                        <a:pt x="585217" y="1064171"/>
                      </a:lnTo>
                      <a:lnTo>
                        <a:pt x="586467" y="1066150"/>
                      </a:lnTo>
                      <a:lnTo>
                        <a:pt x="587694" y="1068129"/>
                      </a:lnTo>
                      <a:lnTo>
                        <a:pt x="588981" y="1068967"/>
                      </a:lnTo>
                      <a:lnTo>
                        <a:pt x="590268" y="1069817"/>
                      </a:lnTo>
                      <a:lnTo>
                        <a:pt x="592927" y="1070570"/>
                      </a:lnTo>
                      <a:lnTo>
                        <a:pt x="596024" y="1072367"/>
                      </a:lnTo>
                      <a:lnTo>
                        <a:pt x="601197" y="1076387"/>
                      </a:lnTo>
                      <a:lnTo>
                        <a:pt x="604925" y="1082482"/>
                      </a:lnTo>
                      <a:lnTo>
                        <a:pt x="607742" y="1098766"/>
                      </a:lnTo>
                      <a:lnTo>
                        <a:pt x="610158" y="1106064"/>
                      </a:lnTo>
                      <a:lnTo>
                        <a:pt x="610935" y="1107133"/>
                      </a:lnTo>
                      <a:lnTo>
                        <a:pt x="614688" y="1110824"/>
                      </a:lnTo>
                      <a:lnTo>
                        <a:pt x="617493" y="1116920"/>
                      </a:lnTo>
                      <a:lnTo>
                        <a:pt x="617942" y="1117612"/>
                      </a:lnTo>
                      <a:lnTo>
                        <a:pt x="618464" y="1125651"/>
                      </a:lnTo>
                      <a:lnTo>
                        <a:pt x="617432" y="1128868"/>
                      </a:lnTo>
                      <a:lnTo>
                        <a:pt x="613983" y="1130471"/>
                      </a:lnTo>
                      <a:lnTo>
                        <a:pt x="611931" y="1130362"/>
                      </a:lnTo>
                      <a:lnTo>
                        <a:pt x="610316" y="1129633"/>
                      </a:lnTo>
                      <a:lnTo>
                        <a:pt x="609223" y="1128455"/>
                      </a:lnTo>
                      <a:lnTo>
                        <a:pt x="608883" y="1126986"/>
                      </a:lnTo>
                      <a:lnTo>
                        <a:pt x="608313" y="1125723"/>
                      </a:lnTo>
                      <a:lnTo>
                        <a:pt x="607098" y="1127447"/>
                      </a:lnTo>
                      <a:lnTo>
                        <a:pt x="605993" y="1129949"/>
                      </a:lnTo>
                      <a:lnTo>
                        <a:pt x="605665" y="1131066"/>
                      </a:lnTo>
                      <a:lnTo>
                        <a:pt x="601986" y="1131613"/>
                      </a:lnTo>
                      <a:lnTo>
                        <a:pt x="597396" y="1129148"/>
                      </a:lnTo>
                      <a:lnTo>
                        <a:pt x="589527" y="1123635"/>
                      </a:lnTo>
                      <a:lnTo>
                        <a:pt x="582642" y="1122420"/>
                      </a:lnTo>
                      <a:lnTo>
                        <a:pt x="581610" y="1121765"/>
                      </a:lnTo>
                      <a:lnTo>
                        <a:pt x="580578" y="1120125"/>
                      </a:lnTo>
                      <a:lnTo>
                        <a:pt x="580141" y="1119118"/>
                      </a:lnTo>
                      <a:lnTo>
                        <a:pt x="579716" y="1118110"/>
                      </a:lnTo>
                      <a:lnTo>
                        <a:pt x="577943" y="1102980"/>
                      </a:lnTo>
                      <a:lnTo>
                        <a:pt x="576850" y="1099483"/>
                      </a:lnTo>
                      <a:lnTo>
                        <a:pt x="575417" y="1099483"/>
                      </a:lnTo>
                      <a:lnTo>
                        <a:pt x="574895" y="1103016"/>
                      </a:lnTo>
                      <a:lnTo>
                        <a:pt x="572260" y="1109415"/>
                      </a:lnTo>
                      <a:lnTo>
                        <a:pt x="571605" y="1112220"/>
                      </a:lnTo>
                      <a:lnTo>
                        <a:pt x="571993" y="1113787"/>
                      </a:lnTo>
                      <a:lnTo>
                        <a:pt x="572466" y="1115730"/>
                      </a:lnTo>
                      <a:lnTo>
                        <a:pt x="575624" y="1121923"/>
                      </a:lnTo>
                      <a:lnTo>
                        <a:pt x="575405" y="1125092"/>
                      </a:lnTo>
                      <a:lnTo>
                        <a:pt x="572697" y="1127897"/>
                      </a:lnTo>
                      <a:lnTo>
                        <a:pt x="568909" y="1128868"/>
                      </a:lnTo>
                      <a:lnTo>
                        <a:pt x="566177" y="1127994"/>
                      </a:lnTo>
                      <a:lnTo>
                        <a:pt x="565509" y="1127775"/>
                      </a:lnTo>
                      <a:lnTo>
                        <a:pt x="564015" y="1124363"/>
                      </a:lnTo>
                      <a:lnTo>
                        <a:pt x="567184" y="1121655"/>
                      </a:lnTo>
                      <a:lnTo>
                        <a:pt x="567877" y="1120939"/>
                      </a:lnTo>
                      <a:lnTo>
                        <a:pt x="567877" y="1119300"/>
                      </a:lnTo>
                      <a:lnTo>
                        <a:pt x="567682" y="1118401"/>
                      </a:lnTo>
                      <a:lnTo>
                        <a:pt x="567512" y="1117491"/>
                      </a:lnTo>
                      <a:lnTo>
                        <a:pt x="566419" y="1114224"/>
                      </a:lnTo>
                      <a:lnTo>
                        <a:pt x="565314" y="1118122"/>
                      </a:lnTo>
                      <a:lnTo>
                        <a:pt x="564902" y="1119105"/>
                      </a:lnTo>
                      <a:lnTo>
                        <a:pt x="564464" y="1120101"/>
                      </a:lnTo>
                      <a:lnTo>
                        <a:pt x="563894" y="1120514"/>
                      </a:lnTo>
                      <a:lnTo>
                        <a:pt x="563311" y="1120927"/>
                      </a:lnTo>
                      <a:lnTo>
                        <a:pt x="563044" y="1120975"/>
                      </a:lnTo>
                      <a:lnTo>
                        <a:pt x="561417" y="1121243"/>
                      </a:lnTo>
                      <a:lnTo>
                        <a:pt x="560518" y="1122190"/>
                      </a:lnTo>
                      <a:lnTo>
                        <a:pt x="560117" y="1123683"/>
                      </a:lnTo>
                      <a:lnTo>
                        <a:pt x="560057" y="1125662"/>
                      </a:lnTo>
                      <a:lnTo>
                        <a:pt x="560955" y="1129415"/>
                      </a:lnTo>
                      <a:lnTo>
                        <a:pt x="562752" y="1132463"/>
                      </a:lnTo>
                      <a:lnTo>
                        <a:pt x="563772" y="1135304"/>
                      </a:lnTo>
                      <a:lnTo>
                        <a:pt x="562631" y="1138473"/>
                      </a:lnTo>
                      <a:lnTo>
                        <a:pt x="557336" y="1140902"/>
                      </a:lnTo>
                      <a:lnTo>
                        <a:pt x="550852" y="1140101"/>
                      </a:lnTo>
                      <a:lnTo>
                        <a:pt x="547064" y="1136482"/>
                      </a:lnTo>
                      <a:lnTo>
                        <a:pt x="549820" y="1130423"/>
                      </a:lnTo>
                      <a:lnTo>
                        <a:pt x="543397" y="1116883"/>
                      </a:lnTo>
                      <a:lnTo>
                        <a:pt x="542814" y="1113143"/>
                      </a:lnTo>
                      <a:lnTo>
                        <a:pt x="546323" y="1090837"/>
                      </a:lnTo>
                      <a:lnTo>
                        <a:pt x="545291" y="1087910"/>
                      </a:lnTo>
                      <a:lnTo>
                        <a:pt x="544951" y="1086502"/>
                      </a:lnTo>
                      <a:lnTo>
                        <a:pt x="544611" y="1085093"/>
                      </a:lnTo>
                      <a:lnTo>
                        <a:pt x="547440" y="1076544"/>
                      </a:lnTo>
                      <a:lnTo>
                        <a:pt x="548387" y="1073715"/>
                      </a:lnTo>
                      <a:lnTo>
                        <a:pt x="548849" y="1063066"/>
                      </a:lnTo>
                      <a:lnTo>
                        <a:pt x="549820" y="1060273"/>
                      </a:lnTo>
                      <a:lnTo>
                        <a:pt x="551884" y="1058087"/>
                      </a:lnTo>
                      <a:lnTo>
                        <a:pt x="554422" y="1056144"/>
                      </a:lnTo>
                      <a:lnTo>
                        <a:pt x="556608" y="1053728"/>
                      </a:lnTo>
                      <a:lnTo>
                        <a:pt x="557458" y="1050231"/>
                      </a:lnTo>
                      <a:lnTo>
                        <a:pt x="555916" y="1046211"/>
                      </a:lnTo>
                      <a:lnTo>
                        <a:pt x="548849" y="1042192"/>
                      </a:lnTo>
                      <a:lnTo>
                        <a:pt x="547222" y="1039411"/>
                      </a:lnTo>
                      <a:lnTo>
                        <a:pt x="548448" y="1036521"/>
                      </a:lnTo>
                      <a:lnTo>
                        <a:pt x="551302" y="1033243"/>
                      </a:lnTo>
                      <a:lnTo>
                        <a:pt x="557458" y="1027924"/>
                      </a:lnTo>
                      <a:lnTo>
                        <a:pt x="557446" y="1027924"/>
                      </a:lnTo>
                      <a:lnTo>
                        <a:pt x="553888" y="1028155"/>
                      </a:lnTo>
                      <a:lnTo>
                        <a:pt x="551435" y="1029369"/>
                      </a:lnTo>
                      <a:lnTo>
                        <a:pt x="550622" y="1029758"/>
                      </a:lnTo>
                      <a:lnTo>
                        <a:pt x="547926" y="1032174"/>
                      </a:lnTo>
                      <a:lnTo>
                        <a:pt x="545983" y="1034760"/>
                      </a:lnTo>
                      <a:lnTo>
                        <a:pt x="545558" y="1035671"/>
                      </a:lnTo>
                      <a:lnTo>
                        <a:pt x="544647" y="1037565"/>
                      </a:lnTo>
                      <a:lnTo>
                        <a:pt x="544319" y="1040674"/>
                      </a:lnTo>
                      <a:lnTo>
                        <a:pt x="545582" y="1043139"/>
                      </a:lnTo>
                      <a:lnTo>
                        <a:pt x="549140" y="1044171"/>
                      </a:lnTo>
                      <a:lnTo>
                        <a:pt x="551447" y="1046296"/>
                      </a:lnTo>
                      <a:lnTo>
                        <a:pt x="550014" y="1051032"/>
                      </a:lnTo>
                      <a:lnTo>
                        <a:pt x="545995" y="1058342"/>
                      </a:lnTo>
                      <a:lnTo>
                        <a:pt x="545364" y="1060977"/>
                      </a:lnTo>
                      <a:lnTo>
                        <a:pt x="543736" y="1064268"/>
                      </a:lnTo>
                      <a:lnTo>
                        <a:pt x="541672" y="1066089"/>
                      </a:lnTo>
                      <a:lnTo>
                        <a:pt x="539438" y="1064450"/>
                      </a:lnTo>
                      <a:lnTo>
                        <a:pt x="537422" y="1065227"/>
                      </a:lnTo>
                      <a:lnTo>
                        <a:pt x="534896" y="1065251"/>
                      </a:lnTo>
                      <a:lnTo>
                        <a:pt x="532650" y="1064365"/>
                      </a:lnTo>
                      <a:lnTo>
                        <a:pt x="531800" y="1062386"/>
                      </a:lnTo>
                      <a:lnTo>
                        <a:pt x="532018" y="1059459"/>
                      </a:lnTo>
                      <a:lnTo>
                        <a:pt x="532832" y="1057601"/>
                      </a:lnTo>
                      <a:lnTo>
                        <a:pt x="535576" y="1053570"/>
                      </a:lnTo>
                      <a:lnTo>
                        <a:pt x="536900" y="1050097"/>
                      </a:lnTo>
                      <a:lnTo>
                        <a:pt x="536730" y="1047365"/>
                      </a:lnTo>
                      <a:lnTo>
                        <a:pt x="536038" y="1044560"/>
                      </a:lnTo>
                      <a:lnTo>
                        <a:pt x="535346" y="1038841"/>
                      </a:lnTo>
                      <a:lnTo>
                        <a:pt x="534313" y="1034481"/>
                      </a:lnTo>
                      <a:lnTo>
                        <a:pt x="534313" y="1032077"/>
                      </a:lnTo>
                      <a:lnTo>
                        <a:pt x="537580" y="1023893"/>
                      </a:lnTo>
                      <a:lnTo>
                        <a:pt x="540749" y="1021731"/>
                      </a:lnTo>
                      <a:lnTo>
                        <a:pt x="542473" y="1017238"/>
                      </a:lnTo>
                      <a:lnTo>
                        <a:pt x="541903" y="1013389"/>
                      </a:lnTo>
                      <a:lnTo>
                        <a:pt x="538163" y="1013268"/>
                      </a:lnTo>
                      <a:lnTo>
                        <a:pt x="538151" y="1013268"/>
                      </a:lnTo>
                      <a:lnTo>
                        <a:pt x="538345" y="1014482"/>
                      </a:lnTo>
                      <a:lnTo>
                        <a:pt x="537422" y="1017578"/>
                      </a:lnTo>
                      <a:lnTo>
                        <a:pt x="536196" y="1020359"/>
                      </a:lnTo>
                      <a:lnTo>
                        <a:pt x="535564" y="1020614"/>
                      </a:lnTo>
                      <a:lnTo>
                        <a:pt x="535163" y="1021683"/>
                      </a:lnTo>
                      <a:lnTo>
                        <a:pt x="534313" y="1023395"/>
                      </a:lnTo>
                      <a:lnTo>
                        <a:pt x="533451" y="1025107"/>
                      </a:lnTo>
                      <a:lnTo>
                        <a:pt x="533002" y="1027232"/>
                      </a:lnTo>
                      <a:lnTo>
                        <a:pt x="532650" y="1028908"/>
                      </a:lnTo>
                      <a:lnTo>
                        <a:pt x="531047" y="1030814"/>
                      </a:lnTo>
                      <a:lnTo>
                        <a:pt x="530780" y="1031445"/>
                      </a:lnTo>
                      <a:lnTo>
                        <a:pt x="530488" y="1032089"/>
                      </a:lnTo>
                      <a:lnTo>
                        <a:pt x="530319" y="1033376"/>
                      </a:lnTo>
                      <a:lnTo>
                        <a:pt x="530658" y="1038221"/>
                      </a:lnTo>
                      <a:lnTo>
                        <a:pt x="531690" y="1041985"/>
                      </a:lnTo>
                      <a:lnTo>
                        <a:pt x="531812" y="1044208"/>
                      </a:lnTo>
                      <a:lnTo>
                        <a:pt x="530719" y="1047766"/>
                      </a:lnTo>
                      <a:lnTo>
                        <a:pt x="527380" y="1052392"/>
                      </a:lnTo>
                      <a:lnTo>
                        <a:pt x="526639" y="1055549"/>
                      </a:lnTo>
                      <a:lnTo>
                        <a:pt x="526967" y="1064049"/>
                      </a:lnTo>
                      <a:lnTo>
                        <a:pt x="526566" y="1067547"/>
                      </a:lnTo>
                      <a:lnTo>
                        <a:pt x="520726" y="1082992"/>
                      </a:lnTo>
                      <a:lnTo>
                        <a:pt x="520264" y="1086635"/>
                      </a:lnTo>
                      <a:lnTo>
                        <a:pt x="520434" y="1098632"/>
                      </a:lnTo>
                      <a:lnTo>
                        <a:pt x="520264" y="1099494"/>
                      </a:lnTo>
                      <a:lnTo>
                        <a:pt x="523421" y="1098984"/>
                      </a:lnTo>
                      <a:lnTo>
                        <a:pt x="527683" y="1097175"/>
                      </a:lnTo>
                      <a:lnTo>
                        <a:pt x="531411" y="1097321"/>
                      </a:lnTo>
                      <a:lnTo>
                        <a:pt x="533075" y="1102797"/>
                      </a:lnTo>
                      <a:lnTo>
                        <a:pt x="532565" y="1106392"/>
                      </a:lnTo>
                      <a:lnTo>
                        <a:pt x="531302" y="1110617"/>
                      </a:lnTo>
                      <a:lnTo>
                        <a:pt x="529298" y="1113143"/>
                      </a:lnTo>
                      <a:lnTo>
                        <a:pt x="526651" y="1111589"/>
                      </a:lnTo>
                      <a:lnTo>
                        <a:pt x="525389" y="1111589"/>
                      </a:lnTo>
                      <a:lnTo>
                        <a:pt x="525376" y="1111589"/>
                      </a:lnTo>
                      <a:lnTo>
                        <a:pt x="526833" y="1124982"/>
                      </a:lnTo>
                      <a:lnTo>
                        <a:pt x="525959" y="1129901"/>
                      </a:lnTo>
                      <a:lnTo>
                        <a:pt x="522802" y="1127703"/>
                      </a:lnTo>
                      <a:lnTo>
                        <a:pt x="522802" y="1137866"/>
                      </a:lnTo>
                      <a:lnTo>
                        <a:pt x="521709" y="1140562"/>
                      </a:lnTo>
                      <a:lnTo>
                        <a:pt x="519183" y="1141023"/>
                      </a:lnTo>
                      <a:lnTo>
                        <a:pt x="516548" y="1139760"/>
                      </a:lnTo>
                      <a:lnTo>
                        <a:pt x="514994" y="1137186"/>
                      </a:lnTo>
                      <a:lnTo>
                        <a:pt x="513828" y="1139311"/>
                      </a:lnTo>
                      <a:lnTo>
                        <a:pt x="513707" y="1141473"/>
                      </a:lnTo>
                      <a:lnTo>
                        <a:pt x="514581" y="1143501"/>
                      </a:lnTo>
                      <a:lnTo>
                        <a:pt x="516403" y="1145261"/>
                      </a:lnTo>
                      <a:lnTo>
                        <a:pt x="510562" y="1147095"/>
                      </a:lnTo>
                      <a:lnTo>
                        <a:pt x="507004" y="1145116"/>
                      </a:lnTo>
                      <a:lnTo>
                        <a:pt x="505911" y="1140829"/>
                      </a:lnTo>
                      <a:lnTo>
                        <a:pt x="507344" y="1135863"/>
                      </a:lnTo>
                      <a:lnTo>
                        <a:pt x="508546" y="1134393"/>
                      </a:lnTo>
                      <a:lnTo>
                        <a:pt x="509809" y="1133398"/>
                      </a:lnTo>
                      <a:lnTo>
                        <a:pt x="510781" y="1132135"/>
                      </a:lnTo>
                      <a:lnTo>
                        <a:pt x="511181" y="1129840"/>
                      </a:lnTo>
                      <a:lnTo>
                        <a:pt x="511242" y="1127108"/>
                      </a:lnTo>
                      <a:lnTo>
                        <a:pt x="511642" y="1124606"/>
                      </a:lnTo>
                      <a:lnTo>
                        <a:pt x="512444" y="1122505"/>
                      </a:lnTo>
                      <a:lnTo>
                        <a:pt x="513707" y="1120988"/>
                      </a:lnTo>
                      <a:lnTo>
                        <a:pt x="509918" y="1110217"/>
                      </a:lnTo>
                      <a:lnTo>
                        <a:pt x="509056" y="1104473"/>
                      </a:lnTo>
                      <a:lnTo>
                        <a:pt x="510550" y="1100187"/>
                      </a:lnTo>
                      <a:lnTo>
                        <a:pt x="514290" y="1093896"/>
                      </a:lnTo>
                      <a:lnTo>
                        <a:pt x="514108" y="1091067"/>
                      </a:lnTo>
                      <a:lnTo>
                        <a:pt x="513938" y="1088250"/>
                      </a:lnTo>
                      <a:lnTo>
                        <a:pt x="511133" y="1082992"/>
                      </a:lnTo>
                      <a:lnTo>
                        <a:pt x="507344" y="1077904"/>
                      </a:lnTo>
                      <a:lnTo>
                        <a:pt x="510902" y="1070121"/>
                      </a:lnTo>
                      <a:lnTo>
                        <a:pt x="510962" y="1065992"/>
                      </a:lnTo>
                      <a:lnTo>
                        <a:pt x="507332" y="1063114"/>
                      </a:lnTo>
                      <a:lnTo>
                        <a:pt x="507684" y="1064693"/>
                      </a:lnTo>
                      <a:lnTo>
                        <a:pt x="508134" y="1066709"/>
                      </a:lnTo>
                      <a:lnTo>
                        <a:pt x="506700" y="1068979"/>
                      </a:lnTo>
                      <a:lnTo>
                        <a:pt x="504624" y="1071359"/>
                      </a:lnTo>
                      <a:lnTo>
                        <a:pt x="503373" y="1075208"/>
                      </a:lnTo>
                      <a:lnTo>
                        <a:pt x="503823" y="1078852"/>
                      </a:lnTo>
                      <a:lnTo>
                        <a:pt x="506627" y="1085676"/>
                      </a:lnTo>
                      <a:lnTo>
                        <a:pt x="506968" y="1087473"/>
                      </a:lnTo>
                      <a:lnTo>
                        <a:pt x="507307" y="1089282"/>
                      </a:lnTo>
                      <a:lnTo>
                        <a:pt x="506919" y="1091954"/>
                      </a:lnTo>
                      <a:lnTo>
                        <a:pt x="505947" y="1092245"/>
                      </a:lnTo>
                      <a:lnTo>
                        <a:pt x="504624" y="1091954"/>
                      </a:lnTo>
                      <a:lnTo>
                        <a:pt x="504612" y="1091954"/>
                      </a:lnTo>
                      <a:lnTo>
                        <a:pt x="503361" y="1092755"/>
                      </a:lnTo>
                      <a:lnTo>
                        <a:pt x="502135" y="1097443"/>
                      </a:lnTo>
                      <a:lnTo>
                        <a:pt x="500180" y="1101061"/>
                      </a:lnTo>
                      <a:lnTo>
                        <a:pt x="499391" y="1104424"/>
                      </a:lnTo>
                      <a:lnTo>
                        <a:pt x="499147" y="1108152"/>
                      </a:lnTo>
                      <a:lnTo>
                        <a:pt x="499609" y="1111565"/>
                      </a:lnTo>
                      <a:lnTo>
                        <a:pt x="502195" y="1117114"/>
                      </a:lnTo>
                      <a:lnTo>
                        <a:pt x="502900" y="1119846"/>
                      </a:lnTo>
                      <a:lnTo>
                        <a:pt x="502147" y="1123635"/>
                      </a:lnTo>
                      <a:lnTo>
                        <a:pt x="499913" y="1127569"/>
                      </a:lnTo>
                      <a:lnTo>
                        <a:pt x="497193" y="1129087"/>
                      </a:lnTo>
                      <a:lnTo>
                        <a:pt x="494290" y="1130095"/>
                      </a:lnTo>
                      <a:lnTo>
                        <a:pt x="491182" y="1132414"/>
                      </a:lnTo>
                      <a:lnTo>
                        <a:pt x="488280" y="1132220"/>
                      </a:lnTo>
                      <a:lnTo>
                        <a:pt x="488085" y="1132207"/>
                      </a:lnTo>
                      <a:lnTo>
                        <a:pt x="486312" y="1126087"/>
                      </a:lnTo>
                      <a:lnTo>
                        <a:pt x="486130" y="1118255"/>
                      </a:lnTo>
                      <a:lnTo>
                        <a:pt x="486592" y="1116883"/>
                      </a:lnTo>
                      <a:lnTo>
                        <a:pt x="487964" y="1112912"/>
                      </a:lnTo>
                      <a:lnTo>
                        <a:pt x="487952" y="1112912"/>
                      </a:lnTo>
                      <a:lnTo>
                        <a:pt x="485718" y="1113374"/>
                      </a:lnTo>
                      <a:lnTo>
                        <a:pt x="482682" y="1115183"/>
                      </a:lnTo>
                      <a:lnTo>
                        <a:pt x="481067" y="1115572"/>
                      </a:lnTo>
                      <a:lnTo>
                        <a:pt x="479294" y="1114855"/>
                      </a:lnTo>
                      <a:lnTo>
                        <a:pt x="478262" y="1113095"/>
                      </a:lnTo>
                      <a:lnTo>
                        <a:pt x="477861" y="1111990"/>
                      </a:lnTo>
                      <a:lnTo>
                        <a:pt x="477460" y="1110885"/>
                      </a:lnTo>
                      <a:lnTo>
                        <a:pt x="476489" y="1108832"/>
                      </a:lnTo>
                      <a:lnTo>
                        <a:pt x="475566" y="1110423"/>
                      </a:lnTo>
                      <a:lnTo>
                        <a:pt x="475226" y="1112317"/>
                      </a:lnTo>
                      <a:lnTo>
                        <a:pt x="475736" y="1114321"/>
                      </a:lnTo>
                      <a:lnTo>
                        <a:pt x="479185" y="1118377"/>
                      </a:lnTo>
                      <a:lnTo>
                        <a:pt x="479865" y="1120259"/>
                      </a:lnTo>
                      <a:lnTo>
                        <a:pt x="479767" y="1122360"/>
                      </a:lnTo>
                      <a:lnTo>
                        <a:pt x="479124" y="1125068"/>
                      </a:lnTo>
                      <a:lnTo>
                        <a:pt x="477242" y="1129148"/>
                      </a:lnTo>
                      <a:lnTo>
                        <a:pt x="474704" y="1131127"/>
                      </a:lnTo>
                      <a:lnTo>
                        <a:pt x="472457" y="1130228"/>
                      </a:lnTo>
                      <a:lnTo>
                        <a:pt x="471438" y="1125675"/>
                      </a:lnTo>
                      <a:lnTo>
                        <a:pt x="470964" y="1103696"/>
                      </a:lnTo>
                      <a:lnTo>
                        <a:pt x="470272" y="1099992"/>
                      </a:lnTo>
                      <a:lnTo>
                        <a:pt x="468669" y="1096811"/>
                      </a:lnTo>
                      <a:lnTo>
                        <a:pt x="465560" y="1093326"/>
                      </a:lnTo>
                      <a:lnTo>
                        <a:pt x="463375" y="1093180"/>
                      </a:lnTo>
                      <a:lnTo>
                        <a:pt x="463897" y="1097782"/>
                      </a:lnTo>
                      <a:lnTo>
                        <a:pt x="469737" y="1117199"/>
                      </a:lnTo>
                      <a:lnTo>
                        <a:pt x="470029" y="1121631"/>
                      </a:lnTo>
                      <a:lnTo>
                        <a:pt x="469567" y="1123817"/>
                      </a:lnTo>
                      <a:lnTo>
                        <a:pt x="467612" y="1128079"/>
                      </a:lnTo>
                      <a:lnTo>
                        <a:pt x="467442" y="1130423"/>
                      </a:lnTo>
                      <a:lnTo>
                        <a:pt x="468232" y="1132183"/>
                      </a:lnTo>
                      <a:lnTo>
                        <a:pt x="470697" y="1134333"/>
                      </a:lnTo>
                      <a:lnTo>
                        <a:pt x="471413" y="1135802"/>
                      </a:lnTo>
                      <a:lnTo>
                        <a:pt x="471668" y="1137818"/>
                      </a:lnTo>
                      <a:lnTo>
                        <a:pt x="471280" y="1138364"/>
                      </a:lnTo>
                      <a:lnTo>
                        <a:pt x="470175" y="1138813"/>
                      </a:lnTo>
                      <a:lnTo>
                        <a:pt x="468171" y="1140428"/>
                      </a:lnTo>
                      <a:lnTo>
                        <a:pt x="466629" y="1141060"/>
                      </a:lnTo>
                      <a:lnTo>
                        <a:pt x="465426" y="1141193"/>
                      </a:lnTo>
                      <a:lnTo>
                        <a:pt x="464200" y="1141327"/>
                      </a:lnTo>
                      <a:lnTo>
                        <a:pt x="463120" y="1141242"/>
                      </a:lnTo>
                      <a:lnTo>
                        <a:pt x="462026" y="1141157"/>
                      </a:lnTo>
                      <a:lnTo>
                        <a:pt x="461055" y="1140428"/>
                      </a:lnTo>
                      <a:lnTo>
                        <a:pt x="460411" y="1136179"/>
                      </a:lnTo>
                      <a:lnTo>
                        <a:pt x="458809" y="1131892"/>
                      </a:lnTo>
                      <a:lnTo>
                        <a:pt x="456404" y="1129670"/>
                      </a:lnTo>
                      <a:lnTo>
                        <a:pt x="453357" y="1131649"/>
                      </a:lnTo>
                      <a:lnTo>
                        <a:pt x="449847" y="1124011"/>
                      </a:lnTo>
                      <a:lnTo>
                        <a:pt x="448415" y="1119421"/>
                      </a:lnTo>
                      <a:lnTo>
                        <a:pt x="448244" y="1115548"/>
                      </a:lnTo>
                      <a:lnTo>
                        <a:pt x="450017" y="1111783"/>
                      </a:lnTo>
                      <a:lnTo>
                        <a:pt x="452446" y="1107800"/>
                      </a:lnTo>
                      <a:lnTo>
                        <a:pt x="453757" y="1103283"/>
                      </a:lnTo>
                      <a:lnTo>
                        <a:pt x="452081" y="1097977"/>
                      </a:lnTo>
                      <a:lnTo>
                        <a:pt x="453636" y="1095159"/>
                      </a:lnTo>
                      <a:lnTo>
                        <a:pt x="453053" y="1093508"/>
                      </a:lnTo>
                      <a:lnTo>
                        <a:pt x="452482" y="1091856"/>
                      </a:lnTo>
                      <a:lnTo>
                        <a:pt x="443181" y="1075597"/>
                      </a:lnTo>
                      <a:lnTo>
                        <a:pt x="443642" y="1073691"/>
                      </a:lnTo>
                      <a:lnTo>
                        <a:pt x="444213" y="1072039"/>
                      </a:lnTo>
                      <a:lnTo>
                        <a:pt x="441809" y="1061596"/>
                      </a:lnTo>
                      <a:lnTo>
                        <a:pt x="442379" y="1058245"/>
                      </a:lnTo>
                      <a:lnTo>
                        <a:pt x="443594" y="1055404"/>
                      </a:lnTo>
                      <a:lnTo>
                        <a:pt x="445148" y="1052987"/>
                      </a:lnTo>
                      <a:lnTo>
                        <a:pt x="453053" y="1043091"/>
                      </a:lnTo>
                      <a:lnTo>
                        <a:pt x="455979" y="1038270"/>
                      </a:lnTo>
                      <a:lnTo>
                        <a:pt x="454207" y="1033911"/>
                      </a:lnTo>
                      <a:lnTo>
                        <a:pt x="452434" y="1023747"/>
                      </a:lnTo>
                      <a:lnTo>
                        <a:pt x="451450" y="1020590"/>
                      </a:lnTo>
                      <a:lnTo>
                        <a:pt x="445306" y="1017214"/>
                      </a:lnTo>
                      <a:lnTo>
                        <a:pt x="436514" y="1014190"/>
                      </a:lnTo>
                      <a:lnTo>
                        <a:pt x="429508" y="1010839"/>
                      </a:lnTo>
                      <a:lnTo>
                        <a:pt x="428755" y="1006273"/>
                      </a:lnTo>
                      <a:lnTo>
                        <a:pt x="425489" y="1008422"/>
                      </a:lnTo>
                      <a:lnTo>
                        <a:pt x="422453" y="1009370"/>
                      </a:lnTo>
                      <a:lnTo>
                        <a:pt x="419344" y="1008762"/>
                      </a:lnTo>
                      <a:lnTo>
                        <a:pt x="415968" y="1006273"/>
                      </a:lnTo>
                      <a:lnTo>
                        <a:pt x="411488" y="1001258"/>
                      </a:lnTo>
                      <a:lnTo>
                        <a:pt x="409193" y="997858"/>
                      </a:lnTo>
                      <a:lnTo>
                        <a:pt x="408161" y="994847"/>
                      </a:lnTo>
                      <a:lnTo>
                        <a:pt x="408124" y="994567"/>
                      </a:lnTo>
                      <a:lnTo>
                        <a:pt x="407590" y="990754"/>
                      </a:lnTo>
                      <a:lnTo>
                        <a:pt x="405052" y="983481"/>
                      </a:lnTo>
                      <a:lnTo>
                        <a:pt x="404700" y="981526"/>
                      </a:lnTo>
                      <a:lnTo>
                        <a:pt x="404433" y="980020"/>
                      </a:lnTo>
                      <a:lnTo>
                        <a:pt x="404202" y="975964"/>
                      </a:lnTo>
                      <a:lnTo>
                        <a:pt x="404202" y="975855"/>
                      </a:lnTo>
                      <a:lnTo>
                        <a:pt x="403109" y="972297"/>
                      </a:lnTo>
                      <a:lnTo>
                        <a:pt x="400802" y="970087"/>
                      </a:lnTo>
                      <a:lnTo>
                        <a:pt x="398203" y="970014"/>
                      </a:lnTo>
                      <a:lnTo>
                        <a:pt x="396795" y="969978"/>
                      </a:lnTo>
                      <a:lnTo>
                        <a:pt x="396795" y="969978"/>
                      </a:lnTo>
                      <a:lnTo>
                        <a:pt x="396783" y="969978"/>
                      </a:lnTo>
                      <a:lnTo>
                        <a:pt x="396783" y="971180"/>
                      </a:lnTo>
                      <a:lnTo>
                        <a:pt x="399831" y="975284"/>
                      </a:lnTo>
                      <a:lnTo>
                        <a:pt x="402247" y="983700"/>
                      </a:lnTo>
                      <a:lnTo>
                        <a:pt x="404420" y="998975"/>
                      </a:lnTo>
                      <a:lnTo>
                        <a:pt x="405465" y="1001962"/>
                      </a:lnTo>
                      <a:lnTo>
                        <a:pt x="407820" y="1005435"/>
                      </a:lnTo>
                      <a:lnTo>
                        <a:pt x="412763" y="1011142"/>
                      </a:lnTo>
                      <a:lnTo>
                        <a:pt x="415859" y="1013304"/>
                      </a:lnTo>
                      <a:lnTo>
                        <a:pt x="419065" y="1014069"/>
                      </a:lnTo>
                      <a:lnTo>
                        <a:pt x="425051" y="1014470"/>
                      </a:lnTo>
                      <a:lnTo>
                        <a:pt x="432216" y="1016000"/>
                      </a:lnTo>
                      <a:lnTo>
                        <a:pt x="439174" y="1018368"/>
                      </a:lnTo>
                      <a:lnTo>
                        <a:pt x="444492" y="1022824"/>
                      </a:lnTo>
                      <a:lnTo>
                        <a:pt x="445682" y="1026722"/>
                      </a:lnTo>
                      <a:lnTo>
                        <a:pt x="446860" y="1030620"/>
                      </a:lnTo>
                      <a:lnTo>
                        <a:pt x="445148" y="1035951"/>
                      </a:lnTo>
                      <a:lnTo>
                        <a:pt x="440667" y="1041779"/>
                      </a:lnTo>
                      <a:lnTo>
                        <a:pt x="435154" y="1046746"/>
                      </a:lnTo>
                      <a:lnTo>
                        <a:pt x="430212" y="1049526"/>
                      </a:lnTo>
                      <a:lnTo>
                        <a:pt x="423436" y="1049526"/>
                      </a:lnTo>
                      <a:lnTo>
                        <a:pt x="422404" y="1050219"/>
                      </a:lnTo>
                      <a:lnTo>
                        <a:pt x="422732" y="1052307"/>
                      </a:lnTo>
                      <a:lnTo>
                        <a:pt x="423485" y="1054493"/>
                      </a:lnTo>
                      <a:lnTo>
                        <a:pt x="423825" y="1056569"/>
                      </a:lnTo>
                      <a:lnTo>
                        <a:pt x="423072" y="1058330"/>
                      </a:lnTo>
                      <a:lnTo>
                        <a:pt x="420388" y="1062034"/>
                      </a:lnTo>
                      <a:lnTo>
                        <a:pt x="411196" y="1082300"/>
                      </a:lnTo>
                      <a:lnTo>
                        <a:pt x="408719" y="1085773"/>
                      </a:lnTo>
                      <a:lnTo>
                        <a:pt x="406363" y="1087267"/>
                      </a:lnTo>
                      <a:lnTo>
                        <a:pt x="405453" y="1087607"/>
                      </a:lnTo>
                      <a:lnTo>
                        <a:pt x="404530" y="1087947"/>
                      </a:lnTo>
                      <a:lnTo>
                        <a:pt x="397244" y="1093168"/>
                      </a:lnTo>
                      <a:lnTo>
                        <a:pt x="395920" y="1093581"/>
                      </a:lnTo>
                      <a:lnTo>
                        <a:pt x="395398" y="1093945"/>
                      </a:lnTo>
                      <a:lnTo>
                        <a:pt x="395143" y="1094370"/>
                      </a:lnTo>
                      <a:lnTo>
                        <a:pt x="394718" y="1095038"/>
                      </a:lnTo>
                      <a:lnTo>
                        <a:pt x="394548" y="1097139"/>
                      </a:lnTo>
                      <a:lnTo>
                        <a:pt x="394220" y="1098001"/>
                      </a:lnTo>
                      <a:lnTo>
                        <a:pt x="389375" y="1102615"/>
                      </a:lnTo>
                      <a:lnTo>
                        <a:pt x="386279" y="1104728"/>
                      </a:lnTo>
                      <a:lnTo>
                        <a:pt x="383183" y="1106841"/>
                      </a:lnTo>
                      <a:lnTo>
                        <a:pt x="368477" y="1114224"/>
                      </a:lnTo>
                      <a:lnTo>
                        <a:pt x="358727" y="1121340"/>
                      </a:lnTo>
                      <a:lnTo>
                        <a:pt x="354975" y="1122396"/>
                      </a:lnTo>
                      <a:lnTo>
                        <a:pt x="351076" y="1122214"/>
                      </a:lnTo>
                      <a:lnTo>
                        <a:pt x="347191" y="1122020"/>
                      </a:lnTo>
                      <a:lnTo>
                        <a:pt x="347179" y="1122020"/>
                      </a:lnTo>
                      <a:lnTo>
                        <a:pt x="343269" y="1122299"/>
                      </a:lnTo>
                      <a:lnTo>
                        <a:pt x="316299" y="1129573"/>
                      </a:lnTo>
                      <a:lnTo>
                        <a:pt x="314563" y="1126331"/>
                      </a:lnTo>
                      <a:lnTo>
                        <a:pt x="308601" y="1117369"/>
                      </a:lnTo>
                      <a:lnTo>
                        <a:pt x="307556" y="1114698"/>
                      </a:lnTo>
                      <a:lnTo>
                        <a:pt x="306986" y="1111880"/>
                      </a:lnTo>
                      <a:lnTo>
                        <a:pt x="306925" y="1109015"/>
                      </a:lnTo>
                      <a:lnTo>
                        <a:pt x="307617" y="1103477"/>
                      </a:lnTo>
                      <a:lnTo>
                        <a:pt x="307678" y="1100490"/>
                      </a:lnTo>
                      <a:lnTo>
                        <a:pt x="306354" y="1097904"/>
                      </a:lnTo>
                      <a:lnTo>
                        <a:pt x="303379" y="1095657"/>
                      </a:lnTo>
                      <a:lnTo>
                        <a:pt x="278340" y="1090181"/>
                      </a:lnTo>
                      <a:lnTo>
                        <a:pt x="274030" y="1088602"/>
                      </a:lnTo>
                      <a:lnTo>
                        <a:pt x="271686" y="1086526"/>
                      </a:lnTo>
                      <a:lnTo>
                        <a:pt x="270193" y="1083490"/>
                      </a:lnTo>
                      <a:lnTo>
                        <a:pt x="269039" y="1080442"/>
                      </a:lnTo>
                      <a:lnTo>
                        <a:pt x="267946" y="1076229"/>
                      </a:lnTo>
                      <a:lnTo>
                        <a:pt x="267035" y="1068518"/>
                      </a:lnTo>
                      <a:lnTo>
                        <a:pt x="265542" y="1065106"/>
                      </a:lnTo>
                      <a:lnTo>
                        <a:pt x="262494" y="1062216"/>
                      </a:lnTo>
                      <a:lnTo>
                        <a:pt x="255888" y="1059083"/>
                      </a:lnTo>
                      <a:lnTo>
                        <a:pt x="252391" y="1058075"/>
                      </a:lnTo>
                      <a:lnTo>
                        <a:pt x="249404" y="1058136"/>
                      </a:lnTo>
                      <a:lnTo>
                        <a:pt x="247910" y="1059229"/>
                      </a:lnTo>
                      <a:lnTo>
                        <a:pt x="246708" y="1061123"/>
                      </a:lnTo>
                      <a:lnTo>
                        <a:pt x="245664" y="1063187"/>
                      </a:lnTo>
                      <a:lnTo>
                        <a:pt x="244401" y="1064960"/>
                      </a:lnTo>
                      <a:lnTo>
                        <a:pt x="242725" y="1066053"/>
                      </a:lnTo>
                      <a:lnTo>
                        <a:pt x="240989" y="1066806"/>
                      </a:lnTo>
                      <a:lnTo>
                        <a:pt x="239689" y="1067838"/>
                      </a:lnTo>
                      <a:lnTo>
                        <a:pt x="238645" y="1069708"/>
                      </a:lnTo>
                      <a:lnTo>
                        <a:pt x="237856" y="1071857"/>
                      </a:lnTo>
                      <a:lnTo>
                        <a:pt x="235719" y="1072829"/>
                      </a:lnTo>
                      <a:lnTo>
                        <a:pt x="232622" y="1071687"/>
                      </a:lnTo>
                      <a:lnTo>
                        <a:pt x="227692" y="1065992"/>
                      </a:lnTo>
                      <a:lnTo>
                        <a:pt x="225956" y="1062034"/>
                      </a:lnTo>
                      <a:lnTo>
                        <a:pt x="225567" y="1059034"/>
                      </a:lnTo>
                      <a:lnTo>
                        <a:pt x="227632" y="1053606"/>
                      </a:lnTo>
                      <a:lnTo>
                        <a:pt x="227801" y="1052659"/>
                      </a:lnTo>
                      <a:lnTo>
                        <a:pt x="227801" y="1050850"/>
                      </a:lnTo>
                      <a:lnTo>
                        <a:pt x="227632" y="1048567"/>
                      </a:lnTo>
                      <a:lnTo>
                        <a:pt x="226939" y="1044718"/>
                      </a:lnTo>
                      <a:lnTo>
                        <a:pt x="226599" y="1043795"/>
                      </a:lnTo>
                      <a:lnTo>
                        <a:pt x="226017" y="1042702"/>
                      </a:lnTo>
                      <a:lnTo>
                        <a:pt x="224341" y="1040516"/>
                      </a:lnTo>
                      <a:lnTo>
                        <a:pt x="221366" y="1037966"/>
                      </a:lnTo>
                      <a:lnTo>
                        <a:pt x="216181" y="1034639"/>
                      </a:lnTo>
                      <a:lnTo>
                        <a:pt x="206588" y="1030680"/>
                      </a:lnTo>
                      <a:lnTo>
                        <a:pt x="203552" y="1030049"/>
                      </a:lnTo>
                      <a:lnTo>
                        <a:pt x="200759" y="1029903"/>
                      </a:lnTo>
                      <a:lnTo>
                        <a:pt x="198282" y="1030134"/>
                      </a:lnTo>
                      <a:lnTo>
                        <a:pt x="195586" y="1029648"/>
                      </a:lnTo>
                      <a:lnTo>
                        <a:pt x="185750" y="1023079"/>
                      </a:lnTo>
                      <a:lnTo>
                        <a:pt x="182957" y="1020602"/>
                      </a:lnTo>
                      <a:lnTo>
                        <a:pt x="179667" y="1019315"/>
                      </a:lnTo>
                      <a:lnTo>
                        <a:pt x="176449" y="1018574"/>
                      </a:lnTo>
                      <a:lnTo>
                        <a:pt x="173353" y="1017493"/>
                      </a:lnTo>
                      <a:lnTo>
                        <a:pt x="171337" y="1016473"/>
                      </a:lnTo>
                      <a:lnTo>
                        <a:pt x="167961" y="1010693"/>
                      </a:lnTo>
                      <a:lnTo>
                        <a:pt x="169212" y="1009455"/>
                      </a:lnTo>
                      <a:lnTo>
                        <a:pt x="171689" y="1007718"/>
                      </a:lnTo>
                      <a:lnTo>
                        <a:pt x="174968" y="1005921"/>
                      </a:lnTo>
                      <a:lnTo>
                        <a:pt x="175830" y="1005095"/>
                      </a:lnTo>
                      <a:lnTo>
                        <a:pt x="176789" y="1005035"/>
                      </a:lnTo>
                      <a:lnTo>
                        <a:pt x="179970" y="1006273"/>
                      </a:lnTo>
                      <a:lnTo>
                        <a:pt x="182096" y="1006237"/>
                      </a:lnTo>
                      <a:lnTo>
                        <a:pt x="183067" y="1005035"/>
                      </a:lnTo>
                      <a:lnTo>
                        <a:pt x="183468" y="1002934"/>
                      </a:lnTo>
                      <a:lnTo>
                        <a:pt x="183188" y="999012"/>
                      </a:lnTo>
                      <a:lnTo>
                        <a:pt x="184038" y="997712"/>
                      </a:lnTo>
                      <a:lnTo>
                        <a:pt x="185532" y="997166"/>
                      </a:lnTo>
                      <a:lnTo>
                        <a:pt x="188397" y="997457"/>
                      </a:lnTo>
                      <a:lnTo>
                        <a:pt x="195586" y="996850"/>
                      </a:lnTo>
                      <a:lnTo>
                        <a:pt x="198500" y="995648"/>
                      </a:lnTo>
                      <a:lnTo>
                        <a:pt x="199071" y="994155"/>
                      </a:lnTo>
                      <a:lnTo>
                        <a:pt x="198282" y="992540"/>
                      </a:lnTo>
                      <a:lnTo>
                        <a:pt x="195064" y="989480"/>
                      </a:lnTo>
                      <a:lnTo>
                        <a:pt x="192356" y="987379"/>
                      </a:lnTo>
                      <a:lnTo>
                        <a:pt x="189831" y="985023"/>
                      </a:lnTo>
                      <a:lnTo>
                        <a:pt x="188798" y="981660"/>
                      </a:lnTo>
                      <a:lnTo>
                        <a:pt x="188446" y="975090"/>
                      </a:lnTo>
                      <a:lnTo>
                        <a:pt x="187305" y="971763"/>
                      </a:lnTo>
                      <a:lnTo>
                        <a:pt x="184317" y="968460"/>
                      </a:lnTo>
                      <a:lnTo>
                        <a:pt x="181913" y="966712"/>
                      </a:lnTo>
                      <a:lnTo>
                        <a:pt x="176060" y="963785"/>
                      </a:lnTo>
                      <a:lnTo>
                        <a:pt x="174797" y="962632"/>
                      </a:lnTo>
                      <a:lnTo>
                        <a:pt x="173899" y="961162"/>
                      </a:lnTo>
                      <a:lnTo>
                        <a:pt x="173037" y="958491"/>
                      </a:lnTo>
                      <a:lnTo>
                        <a:pt x="172782" y="956548"/>
                      </a:lnTo>
                      <a:lnTo>
                        <a:pt x="172733" y="955479"/>
                      </a:lnTo>
                      <a:lnTo>
                        <a:pt x="172782" y="955164"/>
                      </a:lnTo>
                      <a:lnTo>
                        <a:pt x="172855" y="954969"/>
                      </a:lnTo>
                      <a:lnTo>
                        <a:pt x="173037" y="954702"/>
                      </a:lnTo>
                      <a:lnTo>
                        <a:pt x="173547" y="954010"/>
                      </a:lnTo>
                      <a:lnTo>
                        <a:pt x="174591" y="953961"/>
                      </a:lnTo>
                      <a:lnTo>
                        <a:pt x="178246" y="954653"/>
                      </a:lnTo>
                      <a:lnTo>
                        <a:pt x="180043" y="954593"/>
                      </a:lnTo>
                      <a:lnTo>
                        <a:pt x="181185" y="953961"/>
                      </a:lnTo>
                      <a:lnTo>
                        <a:pt x="181646" y="952723"/>
                      </a:lnTo>
                      <a:lnTo>
                        <a:pt x="181537" y="951436"/>
                      </a:lnTo>
                      <a:lnTo>
                        <a:pt x="181185" y="949906"/>
                      </a:lnTo>
                      <a:lnTo>
                        <a:pt x="179740" y="946287"/>
                      </a:lnTo>
                      <a:lnTo>
                        <a:pt x="177967" y="943628"/>
                      </a:lnTo>
                      <a:lnTo>
                        <a:pt x="175441" y="941017"/>
                      </a:lnTo>
                      <a:lnTo>
                        <a:pt x="170912" y="938164"/>
                      </a:lnTo>
                      <a:lnTo>
                        <a:pt x="167755" y="937216"/>
                      </a:lnTo>
                      <a:lnTo>
                        <a:pt x="159121" y="937083"/>
                      </a:lnTo>
                      <a:lnTo>
                        <a:pt x="156425" y="936245"/>
                      </a:lnTo>
                      <a:lnTo>
                        <a:pt x="153851" y="934557"/>
                      </a:lnTo>
                      <a:lnTo>
                        <a:pt x="151945" y="931655"/>
                      </a:lnTo>
                      <a:lnTo>
                        <a:pt x="150694" y="928983"/>
                      </a:lnTo>
                      <a:lnTo>
                        <a:pt x="149249" y="919476"/>
                      </a:lnTo>
                      <a:lnTo>
                        <a:pt x="137531" y="909858"/>
                      </a:lnTo>
                      <a:lnTo>
                        <a:pt x="132710" y="907138"/>
                      </a:lnTo>
                      <a:lnTo>
                        <a:pt x="131217" y="906968"/>
                      </a:lnTo>
                      <a:lnTo>
                        <a:pt x="129662" y="907272"/>
                      </a:lnTo>
                      <a:lnTo>
                        <a:pt x="127270" y="907211"/>
                      </a:lnTo>
                      <a:lnTo>
                        <a:pt x="124040" y="906701"/>
                      </a:lnTo>
                      <a:lnTo>
                        <a:pt x="114046" y="898893"/>
                      </a:lnTo>
                      <a:lnTo>
                        <a:pt x="113257" y="896052"/>
                      </a:lnTo>
                      <a:lnTo>
                        <a:pt x="113379" y="893405"/>
                      </a:lnTo>
                      <a:lnTo>
                        <a:pt x="114228" y="888159"/>
                      </a:lnTo>
                      <a:lnTo>
                        <a:pt x="114350" y="883472"/>
                      </a:lnTo>
                      <a:lnTo>
                        <a:pt x="114569" y="881517"/>
                      </a:lnTo>
                      <a:lnTo>
                        <a:pt x="116366" y="877182"/>
                      </a:lnTo>
                      <a:lnTo>
                        <a:pt x="116985" y="875008"/>
                      </a:lnTo>
                      <a:lnTo>
                        <a:pt x="116815" y="873114"/>
                      </a:lnTo>
                      <a:lnTo>
                        <a:pt x="116123" y="870989"/>
                      </a:lnTo>
                      <a:lnTo>
                        <a:pt x="116184" y="869082"/>
                      </a:lnTo>
                      <a:lnTo>
                        <a:pt x="116973" y="867564"/>
                      </a:lnTo>
                      <a:lnTo>
                        <a:pt x="121976" y="863521"/>
                      </a:lnTo>
                      <a:lnTo>
                        <a:pt x="124089" y="862549"/>
                      </a:lnTo>
                      <a:lnTo>
                        <a:pt x="126809" y="861857"/>
                      </a:lnTo>
                      <a:lnTo>
                        <a:pt x="129796" y="861505"/>
                      </a:lnTo>
                      <a:lnTo>
                        <a:pt x="132079" y="860971"/>
                      </a:lnTo>
                      <a:lnTo>
                        <a:pt x="133160" y="860497"/>
                      </a:lnTo>
                      <a:lnTo>
                        <a:pt x="134034" y="859562"/>
                      </a:lnTo>
                      <a:lnTo>
                        <a:pt x="134155" y="858688"/>
                      </a:lnTo>
                      <a:lnTo>
                        <a:pt x="133524" y="857972"/>
                      </a:lnTo>
                      <a:lnTo>
                        <a:pt x="132030" y="857413"/>
                      </a:lnTo>
                      <a:lnTo>
                        <a:pt x="128800" y="857292"/>
                      </a:lnTo>
                      <a:lnTo>
                        <a:pt x="127027" y="856721"/>
                      </a:lnTo>
                      <a:lnTo>
                        <a:pt x="126213" y="856539"/>
                      </a:lnTo>
                      <a:lnTo>
                        <a:pt x="125995" y="856344"/>
                      </a:lnTo>
                      <a:lnTo>
                        <a:pt x="125874" y="856235"/>
                      </a:lnTo>
                      <a:lnTo>
                        <a:pt x="125303" y="855883"/>
                      </a:lnTo>
                      <a:lnTo>
                        <a:pt x="123700" y="855567"/>
                      </a:lnTo>
                      <a:lnTo>
                        <a:pt x="98091" y="854705"/>
                      </a:lnTo>
                      <a:lnTo>
                        <a:pt x="88036" y="852495"/>
                      </a:lnTo>
                      <a:lnTo>
                        <a:pt x="80046" y="852471"/>
                      </a:lnTo>
                      <a:lnTo>
                        <a:pt x="78103" y="853673"/>
                      </a:lnTo>
                      <a:lnTo>
                        <a:pt x="75347" y="854875"/>
                      </a:lnTo>
                      <a:lnTo>
                        <a:pt x="72590" y="855276"/>
                      </a:lnTo>
                      <a:lnTo>
                        <a:pt x="69834" y="854219"/>
                      </a:lnTo>
                      <a:lnTo>
                        <a:pt x="65912" y="850831"/>
                      </a:lnTo>
                      <a:lnTo>
                        <a:pt x="42949" y="826230"/>
                      </a:lnTo>
                      <a:lnTo>
                        <a:pt x="39501" y="823753"/>
                      </a:lnTo>
                      <a:lnTo>
                        <a:pt x="35882" y="821773"/>
                      </a:lnTo>
                      <a:lnTo>
                        <a:pt x="31632" y="820972"/>
                      </a:lnTo>
                      <a:lnTo>
                        <a:pt x="28354" y="820741"/>
                      </a:lnTo>
                      <a:lnTo>
                        <a:pt x="20425" y="823498"/>
                      </a:lnTo>
                      <a:lnTo>
                        <a:pt x="18251" y="824153"/>
                      </a:lnTo>
                      <a:lnTo>
                        <a:pt x="17668" y="823498"/>
                      </a:lnTo>
                      <a:lnTo>
                        <a:pt x="16697" y="821397"/>
                      </a:lnTo>
                      <a:lnTo>
                        <a:pt x="16284" y="819078"/>
                      </a:lnTo>
                      <a:lnTo>
                        <a:pt x="14984" y="814743"/>
                      </a:lnTo>
                      <a:lnTo>
                        <a:pt x="9010" y="808793"/>
                      </a:lnTo>
                      <a:lnTo>
                        <a:pt x="7225" y="804810"/>
                      </a:lnTo>
                      <a:lnTo>
                        <a:pt x="7808" y="800414"/>
                      </a:lnTo>
                      <a:lnTo>
                        <a:pt x="9945" y="795678"/>
                      </a:lnTo>
                      <a:lnTo>
                        <a:pt x="12798" y="791258"/>
                      </a:lnTo>
                      <a:lnTo>
                        <a:pt x="15676" y="787810"/>
                      </a:lnTo>
                      <a:lnTo>
                        <a:pt x="16757" y="785915"/>
                      </a:lnTo>
                      <a:lnTo>
                        <a:pt x="17279" y="783620"/>
                      </a:lnTo>
                      <a:lnTo>
                        <a:pt x="17631" y="779018"/>
                      </a:lnTo>
                      <a:lnTo>
                        <a:pt x="18372" y="776759"/>
                      </a:lnTo>
                      <a:lnTo>
                        <a:pt x="19344" y="775327"/>
                      </a:lnTo>
                      <a:lnTo>
                        <a:pt x="19465" y="774003"/>
                      </a:lnTo>
                      <a:lnTo>
                        <a:pt x="17644" y="772133"/>
                      </a:lnTo>
                      <a:lnTo>
                        <a:pt x="16369" y="771708"/>
                      </a:lnTo>
                      <a:lnTo>
                        <a:pt x="10528" y="772133"/>
                      </a:lnTo>
                      <a:lnTo>
                        <a:pt x="9435" y="771295"/>
                      </a:lnTo>
                      <a:lnTo>
                        <a:pt x="8634" y="769498"/>
                      </a:lnTo>
                      <a:lnTo>
                        <a:pt x="7431" y="767689"/>
                      </a:lnTo>
                      <a:lnTo>
                        <a:pt x="5998" y="766596"/>
                      </a:lnTo>
                      <a:lnTo>
                        <a:pt x="5877" y="763354"/>
                      </a:lnTo>
                      <a:lnTo>
                        <a:pt x="6448" y="761544"/>
                      </a:lnTo>
                      <a:lnTo>
                        <a:pt x="7091" y="760816"/>
                      </a:lnTo>
                      <a:lnTo>
                        <a:pt x="10929" y="758812"/>
                      </a:lnTo>
                      <a:lnTo>
                        <a:pt x="20959" y="756918"/>
                      </a:lnTo>
                      <a:lnTo>
                        <a:pt x="24006" y="757088"/>
                      </a:lnTo>
                      <a:lnTo>
                        <a:pt x="28378" y="756894"/>
                      </a:lnTo>
                      <a:lnTo>
                        <a:pt x="38493" y="755169"/>
                      </a:lnTo>
                      <a:lnTo>
                        <a:pt x="40084" y="754647"/>
                      </a:lnTo>
                      <a:lnTo>
                        <a:pt x="41177" y="753785"/>
                      </a:lnTo>
                      <a:lnTo>
                        <a:pt x="42160" y="751636"/>
                      </a:lnTo>
                      <a:lnTo>
                        <a:pt x="41881" y="749826"/>
                      </a:lnTo>
                      <a:lnTo>
                        <a:pt x="39477" y="743099"/>
                      </a:lnTo>
                      <a:lnTo>
                        <a:pt x="39234" y="741703"/>
                      </a:lnTo>
                      <a:lnTo>
                        <a:pt x="39562" y="740501"/>
                      </a:lnTo>
                      <a:lnTo>
                        <a:pt x="40557" y="738910"/>
                      </a:lnTo>
                      <a:lnTo>
                        <a:pt x="42099" y="737271"/>
                      </a:lnTo>
                      <a:lnTo>
                        <a:pt x="43836" y="736299"/>
                      </a:lnTo>
                      <a:lnTo>
                        <a:pt x="46532" y="736214"/>
                      </a:lnTo>
                      <a:lnTo>
                        <a:pt x="49749" y="737137"/>
                      </a:lnTo>
                      <a:lnTo>
                        <a:pt x="57618" y="741837"/>
                      </a:lnTo>
                      <a:lnTo>
                        <a:pt x="63410" y="741934"/>
                      </a:lnTo>
                      <a:lnTo>
                        <a:pt x="64443" y="745771"/>
                      </a:lnTo>
                      <a:lnTo>
                        <a:pt x="62378" y="754647"/>
                      </a:lnTo>
                      <a:lnTo>
                        <a:pt x="61989" y="757282"/>
                      </a:lnTo>
                      <a:lnTo>
                        <a:pt x="62038" y="757598"/>
                      </a:lnTo>
                      <a:lnTo>
                        <a:pt x="62160" y="757999"/>
                      </a:lnTo>
                      <a:lnTo>
                        <a:pt x="62900" y="758958"/>
                      </a:lnTo>
                      <a:lnTo>
                        <a:pt x="64345" y="759784"/>
                      </a:lnTo>
                      <a:lnTo>
                        <a:pt x="67163" y="760099"/>
                      </a:lnTo>
                      <a:lnTo>
                        <a:pt x="68765" y="760646"/>
                      </a:lnTo>
                      <a:lnTo>
                        <a:pt x="73877" y="762941"/>
                      </a:lnTo>
                      <a:lnTo>
                        <a:pt x="77448" y="765127"/>
                      </a:lnTo>
                      <a:lnTo>
                        <a:pt x="79390" y="767519"/>
                      </a:lnTo>
                      <a:lnTo>
                        <a:pt x="81977" y="768685"/>
                      </a:lnTo>
                      <a:lnTo>
                        <a:pt x="84733" y="768624"/>
                      </a:lnTo>
                      <a:lnTo>
                        <a:pt x="90428" y="766620"/>
                      </a:lnTo>
                      <a:lnTo>
                        <a:pt x="95941" y="761799"/>
                      </a:lnTo>
                      <a:lnTo>
                        <a:pt x="98066" y="760512"/>
                      </a:lnTo>
                      <a:lnTo>
                        <a:pt x="99888" y="758606"/>
                      </a:lnTo>
                      <a:lnTo>
                        <a:pt x="100750" y="757889"/>
                      </a:lnTo>
                      <a:lnTo>
                        <a:pt x="101029" y="757464"/>
                      </a:lnTo>
                      <a:lnTo>
                        <a:pt x="101211" y="757343"/>
                      </a:lnTo>
                      <a:lnTo>
                        <a:pt x="101551" y="756918"/>
                      </a:lnTo>
                      <a:lnTo>
                        <a:pt x="102304" y="755789"/>
                      </a:lnTo>
                      <a:lnTo>
                        <a:pt x="102984" y="753822"/>
                      </a:lnTo>
                      <a:lnTo>
                        <a:pt x="103227" y="751514"/>
                      </a:lnTo>
                      <a:lnTo>
                        <a:pt x="103179" y="749049"/>
                      </a:lnTo>
                      <a:lnTo>
                        <a:pt x="103445" y="746730"/>
                      </a:lnTo>
                      <a:lnTo>
                        <a:pt x="104551" y="743998"/>
                      </a:lnTo>
                      <a:lnTo>
                        <a:pt x="106882" y="741181"/>
                      </a:lnTo>
                      <a:lnTo>
                        <a:pt x="110452" y="738023"/>
                      </a:lnTo>
                      <a:lnTo>
                        <a:pt x="116208" y="734356"/>
                      </a:lnTo>
                      <a:lnTo>
                        <a:pt x="125206" y="729985"/>
                      </a:lnTo>
                      <a:lnTo>
                        <a:pt x="140955" y="725711"/>
                      </a:lnTo>
                      <a:lnTo>
                        <a:pt x="148593" y="722298"/>
                      </a:lnTo>
                      <a:lnTo>
                        <a:pt x="160433" y="718413"/>
                      </a:lnTo>
                      <a:lnTo>
                        <a:pt x="182532" y="714879"/>
                      </a:lnTo>
                      <a:lnTo>
                        <a:pt x="189248" y="712754"/>
                      </a:lnTo>
                      <a:lnTo>
                        <a:pt x="192635" y="707885"/>
                      </a:lnTo>
                      <a:lnTo>
                        <a:pt x="193425" y="702566"/>
                      </a:lnTo>
                      <a:lnTo>
                        <a:pt x="192223" y="698693"/>
                      </a:lnTo>
                      <a:lnTo>
                        <a:pt x="191361" y="696689"/>
                      </a:lnTo>
                      <a:lnTo>
                        <a:pt x="191130" y="695475"/>
                      </a:lnTo>
                      <a:lnTo>
                        <a:pt x="191069" y="694382"/>
                      </a:lnTo>
                      <a:lnTo>
                        <a:pt x="192052" y="690678"/>
                      </a:lnTo>
                      <a:lnTo>
                        <a:pt x="193364" y="688274"/>
                      </a:lnTo>
                      <a:lnTo>
                        <a:pt x="194336" y="686902"/>
                      </a:lnTo>
                      <a:lnTo>
                        <a:pt x="197906" y="684449"/>
                      </a:lnTo>
                      <a:lnTo>
                        <a:pt x="199630" y="682300"/>
                      </a:lnTo>
                      <a:lnTo>
                        <a:pt x="200079" y="681522"/>
                      </a:lnTo>
                      <a:lnTo>
                        <a:pt x="200431" y="680490"/>
                      </a:lnTo>
                      <a:lnTo>
                        <a:pt x="200771" y="679033"/>
                      </a:lnTo>
                      <a:lnTo>
                        <a:pt x="201342" y="677697"/>
                      </a:lnTo>
                      <a:lnTo>
                        <a:pt x="202325" y="676471"/>
                      </a:lnTo>
                      <a:lnTo>
                        <a:pt x="203698" y="675524"/>
                      </a:lnTo>
                      <a:lnTo>
                        <a:pt x="206090" y="675755"/>
                      </a:lnTo>
                      <a:lnTo>
                        <a:pt x="209380" y="676981"/>
                      </a:lnTo>
                      <a:lnTo>
                        <a:pt x="219034" y="683478"/>
                      </a:lnTo>
                      <a:lnTo>
                        <a:pt x="222981" y="685311"/>
                      </a:lnTo>
                      <a:lnTo>
                        <a:pt x="226028" y="685651"/>
                      </a:lnTo>
                      <a:lnTo>
                        <a:pt x="228214" y="685687"/>
                      </a:lnTo>
                      <a:lnTo>
                        <a:pt x="229647" y="686149"/>
                      </a:lnTo>
                      <a:lnTo>
                        <a:pt x="233666" y="690217"/>
                      </a:lnTo>
                      <a:lnTo>
                        <a:pt x="237394" y="692888"/>
                      </a:lnTo>
                      <a:lnTo>
                        <a:pt x="241705" y="694965"/>
                      </a:lnTo>
                      <a:lnTo>
                        <a:pt x="251468" y="697345"/>
                      </a:lnTo>
                      <a:lnTo>
                        <a:pt x="257964" y="695936"/>
                      </a:lnTo>
                      <a:lnTo>
                        <a:pt x="258705" y="693289"/>
                      </a:lnTo>
                      <a:lnTo>
                        <a:pt x="258377" y="692147"/>
                      </a:lnTo>
                      <a:lnTo>
                        <a:pt x="257394" y="690472"/>
                      </a:lnTo>
                      <a:lnTo>
                        <a:pt x="254164" y="687521"/>
                      </a:lnTo>
                      <a:lnTo>
                        <a:pt x="252901" y="686088"/>
                      </a:lnTo>
                      <a:lnTo>
                        <a:pt x="252512" y="684534"/>
                      </a:lnTo>
                      <a:lnTo>
                        <a:pt x="252901" y="683417"/>
                      </a:lnTo>
                      <a:lnTo>
                        <a:pt x="253884" y="682470"/>
                      </a:lnTo>
                      <a:lnTo>
                        <a:pt x="255657" y="682093"/>
                      </a:lnTo>
                      <a:lnTo>
                        <a:pt x="257722" y="682409"/>
                      </a:lnTo>
                      <a:lnTo>
                        <a:pt x="261644" y="683526"/>
                      </a:lnTo>
                      <a:lnTo>
                        <a:pt x="263648" y="683818"/>
                      </a:lnTo>
                      <a:lnTo>
                        <a:pt x="265250" y="684303"/>
                      </a:lnTo>
                      <a:lnTo>
                        <a:pt x="266695" y="685481"/>
                      </a:lnTo>
                      <a:lnTo>
                        <a:pt x="268978" y="688784"/>
                      </a:lnTo>
                      <a:lnTo>
                        <a:pt x="270350" y="688881"/>
                      </a:lnTo>
                      <a:lnTo>
                        <a:pt x="271965" y="687898"/>
                      </a:lnTo>
                      <a:lnTo>
                        <a:pt x="272997" y="685080"/>
                      </a:lnTo>
                      <a:lnTo>
                        <a:pt x="273277" y="682895"/>
                      </a:lnTo>
                      <a:lnTo>
                        <a:pt x="273168" y="678620"/>
                      </a:lnTo>
                      <a:lnTo>
                        <a:pt x="273690" y="677017"/>
                      </a:lnTo>
                      <a:lnTo>
                        <a:pt x="274710" y="676155"/>
                      </a:lnTo>
                      <a:lnTo>
                        <a:pt x="276835" y="676179"/>
                      </a:lnTo>
                      <a:lnTo>
                        <a:pt x="278437" y="675026"/>
                      </a:lnTo>
                      <a:lnTo>
                        <a:pt x="279773" y="672597"/>
                      </a:lnTo>
                      <a:lnTo>
                        <a:pt x="280235" y="670035"/>
                      </a:lnTo>
                      <a:lnTo>
                        <a:pt x="279822" y="667218"/>
                      </a:lnTo>
                      <a:lnTo>
                        <a:pt x="278498" y="664984"/>
                      </a:lnTo>
                      <a:lnTo>
                        <a:pt x="274880" y="662118"/>
                      </a:lnTo>
                      <a:lnTo>
                        <a:pt x="274090" y="660855"/>
                      </a:lnTo>
                      <a:lnTo>
                        <a:pt x="273908" y="659617"/>
                      </a:lnTo>
                      <a:lnTo>
                        <a:pt x="273908" y="658184"/>
                      </a:lnTo>
                      <a:lnTo>
                        <a:pt x="273119" y="657115"/>
                      </a:lnTo>
                      <a:lnTo>
                        <a:pt x="270132" y="654444"/>
                      </a:lnTo>
                      <a:lnTo>
                        <a:pt x="269099" y="652841"/>
                      </a:lnTo>
                      <a:lnTo>
                        <a:pt x="269318" y="651578"/>
                      </a:lnTo>
                      <a:lnTo>
                        <a:pt x="270933" y="650254"/>
                      </a:lnTo>
                      <a:lnTo>
                        <a:pt x="274564" y="648991"/>
                      </a:lnTo>
                      <a:lnTo>
                        <a:pt x="283355" y="646988"/>
                      </a:lnTo>
                      <a:lnTo>
                        <a:pt x="284728" y="647097"/>
                      </a:lnTo>
                      <a:lnTo>
                        <a:pt x="286027" y="648129"/>
                      </a:lnTo>
                      <a:lnTo>
                        <a:pt x="287071" y="649793"/>
                      </a:lnTo>
                      <a:lnTo>
                        <a:pt x="287581" y="652149"/>
                      </a:lnTo>
                      <a:lnTo>
                        <a:pt x="287836" y="654796"/>
                      </a:lnTo>
                      <a:lnTo>
                        <a:pt x="288285" y="656775"/>
                      </a:lnTo>
                      <a:lnTo>
                        <a:pt x="289026" y="657722"/>
                      </a:lnTo>
                      <a:lnTo>
                        <a:pt x="290180" y="657892"/>
                      </a:lnTo>
                      <a:lnTo>
                        <a:pt x="301266" y="653618"/>
                      </a:lnTo>
                      <a:lnTo>
                        <a:pt x="305115" y="653533"/>
                      </a:lnTo>
                      <a:lnTo>
                        <a:pt x="310507" y="654966"/>
                      </a:lnTo>
                      <a:lnTo>
                        <a:pt x="312693" y="654334"/>
                      </a:lnTo>
                      <a:lnTo>
                        <a:pt x="315279" y="651517"/>
                      </a:lnTo>
                      <a:lnTo>
                        <a:pt x="317113" y="650279"/>
                      </a:lnTo>
                      <a:lnTo>
                        <a:pt x="318424" y="648967"/>
                      </a:lnTo>
                      <a:lnTo>
                        <a:pt x="318873" y="647158"/>
                      </a:lnTo>
                      <a:lnTo>
                        <a:pt x="318655" y="642082"/>
                      </a:lnTo>
                      <a:lnTo>
                        <a:pt x="319116" y="638828"/>
                      </a:lnTo>
                      <a:lnTo>
                        <a:pt x="318072" y="633606"/>
                      </a:lnTo>
                      <a:lnTo>
                        <a:pt x="318351" y="631967"/>
                      </a:lnTo>
                      <a:lnTo>
                        <a:pt x="320088" y="630789"/>
                      </a:lnTo>
                      <a:lnTo>
                        <a:pt x="321752" y="630413"/>
                      </a:lnTo>
                      <a:lnTo>
                        <a:pt x="323767" y="630680"/>
                      </a:lnTo>
                      <a:lnTo>
                        <a:pt x="326123" y="631846"/>
                      </a:lnTo>
                      <a:lnTo>
                        <a:pt x="330191" y="635671"/>
                      </a:lnTo>
                      <a:lnTo>
                        <a:pt x="332377" y="636011"/>
                      </a:lnTo>
                      <a:lnTo>
                        <a:pt x="334040" y="634930"/>
                      </a:lnTo>
                      <a:lnTo>
                        <a:pt x="335886" y="631129"/>
                      </a:lnTo>
                      <a:lnTo>
                        <a:pt x="336796" y="628640"/>
                      </a:lnTo>
                      <a:lnTo>
                        <a:pt x="337258" y="624329"/>
                      </a:lnTo>
                      <a:lnTo>
                        <a:pt x="338156" y="622811"/>
                      </a:lnTo>
                      <a:lnTo>
                        <a:pt x="340306" y="622095"/>
                      </a:lnTo>
                      <a:lnTo>
                        <a:pt x="346049" y="622872"/>
                      </a:lnTo>
                      <a:lnTo>
                        <a:pt x="348855" y="622605"/>
                      </a:lnTo>
                      <a:lnTo>
                        <a:pt x="350797" y="621294"/>
                      </a:lnTo>
                      <a:lnTo>
                        <a:pt x="351149" y="618440"/>
                      </a:lnTo>
                      <a:lnTo>
                        <a:pt x="349194" y="614773"/>
                      </a:lnTo>
                      <a:lnTo>
                        <a:pt x="347883" y="613850"/>
                      </a:lnTo>
                      <a:lnTo>
                        <a:pt x="347082" y="613886"/>
                      </a:lnTo>
                      <a:lnTo>
                        <a:pt x="345807" y="614457"/>
                      </a:lnTo>
                      <a:lnTo>
                        <a:pt x="344726" y="614627"/>
                      </a:lnTo>
                      <a:lnTo>
                        <a:pt x="343876" y="613971"/>
                      </a:lnTo>
                      <a:lnTo>
                        <a:pt x="343633" y="612526"/>
                      </a:lnTo>
                      <a:lnTo>
                        <a:pt x="343633" y="610571"/>
                      </a:lnTo>
                      <a:lnTo>
                        <a:pt x="343402" y="608458"/>
                      </a:lnTo>
                      <a:lnTo>
                        <a:pt x="343730" y="606503"/>
                      </a:lnTo>
                      <a:lnTo>
                        <a:pt x="345163" y="604743"/>
                      </a:lnTo>
                      <a:lnTo>
                        <a:pt x="349194" y="603225"/>
                      </a:lnTo>
                      <a:lnTo>
                        <a:pt x="351659" y="602593"/>
                      </a:lnTo>
                      <a:lnTo>
                        <a:pt x="356480" y="599327"/>
                      </a:lnTo>
                      <a:lnTo>
                        <a:pt x="361859" y="595101"/>
                      </a:lnTo>
                      <a:lnTo>
                        <a:pt x="364337" y="591750"/>
                      </a:lnTo>
                      <a:lnTo>
                        <a:pt x="372205" y="574920"/>
                      </a:lnTo>
                      <a:lnTo>
                        <a:pt x="372994" y="571702"/>
                      </a:lnTo>
                      <a:lnTo>
                        <a:pt x="372715" y="569601"/>
                      </a:lnTo>
                      <a:lnTo>
                        <a:pt x="372145" y="567719"/>
                      </a:lnTo>
                      <a:lnTo>
                        <a:pt x="372314" y="565958"/>
                      </a:lnTo>
                      <a:lnTo>
                        <a:pt x="373116" y="564464"/>
                      </a:lnTo>
                      <a:lnTo>
                        <a:pt x="374792" y="562862"/>
                      </a:lnTo>
                      <a:lnTo>
                        <a:pt x="375630" y="561684"/>
                      </a:lnTo>
                      <a:lnTo>
                        <a:pt x="376492" y="559935"/>
                      </a:lnTo>
                      <a:lnTo>
                        <a:pt x="376844" y="558697"/>
                      </a:lnTo>
                      <a:lnTo>
                        <a:pt x="376783" y="557203"/>
                      </a:lnTo>
                      <a:lnTo>
                        <a:pt x="376273" y="555855"/>
                      </a:lnTo>
                      <a:lnTo>
                        <a:pt x="374585" y="553597"/>
                      </a:lnTo>
                      <a:lnTo>
                        <a:pt x="374367" y="552127"/>
                      </a:lnTo>
                      <a:lnTo>
                        <a:pt x="375047" y="546408"/>
                      </a:lnTo>
                      <a:lnTo>
                        <a:pt x="374719" y="544999"/>
                      </a:lnTo>
                      <a:lnTo>
                        <a:pt x="373456" y="544052"/>
                      </a:lnTo>
                      <a:lnTo>
                        <a:pt x="371440" y="543251"/>
                      </a:lnTo>
                      <a:lnTo>
                        <a:pt x="369206" y="542619"/>
                      </a:lnTo>
                      <a:lnTo>
                        <a:pt x="367834" y="541466"/>
                      </a:lnTo>
                      <a:lnTo>
                        <a:pt x="367530" y="540264"/>
                      </a:lnTo>
                      <a:lnTo>
                        <a:pt x="368805" y="539062"/>
                      </a:lnTo>
                      <a:lnTo>
                        <a:pt x="370699" y="538636"/>
                      </a:lnTo>
                      <a:lnTo>
                        <a:pt x="373395" y="538964"/>
                      </a:lnTo>
                      <a:lnTo>
                        <a:pt x="375411" y="539608"/>
                      </a:lnTo>
                      <a:lnTo>
                        <a:pt x="377354" y="540555"/>
                      </a:lnTo>
                      <a:lnTo>
                        <a:pt x="378969" y="541624"/>
                      </a:lnTo>
                      <a:lnTo>
                        <a:pt x="381082" y="542644"/>
                      </a:lnTo>
                      <a:lnTo>
                        <a:pt x="383280" y="543081"/>
                      </a:lnTo>
                      <a:lnTo>
                        <a:pt x="385987" y="543020"/>
                      </a:lnTo>
                      <a:lnTo>
                        <a:pt x="388780" y="542364"/>
                      </a:lnTo>
                      <a:lnTo>
                        <a:pt x="391258" y="541187"/>
                      </a:lnTo>
                      <a:lnTo>
                        <a:pt x="393261" y="539462"/>
                      </a:lnTo>
                      <a:lnTo>
                        <a:pt x="394524" y="538054"/>
                      </a:lnTo>
                      <a:lnTo>
                        <a:pt x="395507" y="534751"/>
                      </a:lnTo>
                      <a:lnTo>
                        <a:pt x="393249" y="533585"/>
                      </a:lnTo>
                      <a:lnTo>
                        <a:pt x="392047" y="533549"/>
                      </a:lnTo>
                      <a:lnTo>
                        <a:pt x="390614" y="533002"/>
                      </a:lnTo>
                      <a:lnTo>
                        <a:pt x="389922" y="532031"/>
                      </a:lnTo>
                      <a:lnTo>
                        <a:pt x="390505" y="530136"/>
                      </a:lnTo>
                      <a:lnTo>
                        <a:pt x="391877" y="528983"/>
                      </a:lnTo>
                      <a:lnTo>
                        <a:pt x="393747" y="527805"/>
                      </a:lnTo>
                      <a:lnTo>
                        <a:pt x="394621" y="526627"/>
                      </a:lnTo>
                      <a:lnTo>
                        <a:pt x="394621" y="524939"/>
                      </a:lnTo>
                      <a:lnTo>
                        <a:pt x="393419" y="522802"/>
                      </a:lnTo>
                      <a:lnTo>
                        <a:pt x="392314" y="521576"/>
                      </a:lnTo>
                      <a:lnTo>
                        <a:pt x="391561" y="520143"/>
                      </a:lnTo>
                      <a:lnTo>
                        <a:pt x="391270" y="518419"/>
                      </a:lnTo>
                      <a:lnTo>
                        <a:pt x="391112" y="515771"/>
                      </a:lnTo>
                      <a:lnTo>
                        <a:pt x="390747" y="513828"/>
                      </a:lnTo>
                      <a:lnTo>
                        <a:pt x="389497" y="511667"/>
                      </a:lnTo>
                      <a:lnTo>
                        <a:pt x="388173" y="508850"/>
                      </a:lnTo>
                      <a:lnTo>
                        <a:pt x="387591" y="508000"/>
                      </a:lnTo>
                      <a:lnTo>
                        <a:pt x="386740" y="507368"/>
                      </a:lnTo>
                      <a:lnTo>
                        <a:pt x="382442" y="506761"/>
                      </a:lnTo>
                      <a:lnTo>
                        <a:pt x="381118" y="506324"/>
                      </a:lnTo>
                      <a:lnTo>
                        <a:pt x="379977" y="505583"/>
                      </a:lnTo>
                      <a:lnTo>
                        <a:pt x="379054" y="503920"/>
                      </a:lnTo>
                      <a:lnTo>
                        <a:pt x="378823" y="501965"/>
                      </a:lnTo>
                      <a:lnTo>
                        <a:pt x="379673" y="500131"/>
                      </a:lnTo>
                      <a:lnTo>
                        <a:pt x="381167" y="499706"/>
                      </a:lnTo>
                      <a:lnTo>
                        <a:pt x="382490" y="500095"/>
                      </a:lnTo>
                      <a:lnTo>
                        <a:pt x="384445" y="501418"/>
                      </a:lnTo>
                      <a:lnTo>
                        <a:pt x="385830" y="501649"/>
                      </a:lnTo>
                      <a:lnTo>
                        <a:pt x="386911" y="501139"/>
                      </a:lnTo>
                      <a:lnTo>
                        <a:pt x="387372" y="499864"/>
                      </a:lnTo>
                      <a:lnTo>
                        <a:pt x="387591" y="498978"/>
                      </a:lnTo>
                      <a:lnTo>
                        <a:pt x="388343" y="488790"/>
                      </a:lnTo>
                      <a:lnTo>
                        <a:pt x="389193" y="486628"/>
                      </a:lnTo>
                      <a:lnTo>
                        <a:pt x="391549" y="483386"/>
                      </a:lnTo>
                      <a:lnTo>
                        <a:pt x="392071" y="480715"/>
                      </a:lnTo>
                      <a:lnTo>
                        <a:pt x="391901" y="476040"/>
                      </a:lnTo>
                      <a:lnTo>
                        <a:pt x="391245" y="471389"/>
                      </a:lnTo>
                      <a:lnTo>
                        <a:pt x="387760" y="457400"/>
                      </a:lnTo>
                      <a:lnTo>
                        <a:pt x="385987" y="453077"/>
                      </a:lnTo>
                      <a:lnTo>
                        <a:pt x="385004" y="450892"/>
                      </a:lnTo>
                      <a:lnTo>
                        <a:pt x="383401" y="449775"/>
                      </a:lnTo>
                      <a:lnTo>
                        <a:pt x="376225" y="442452"/>
                      </a:lnTo>
                      <a:lnTo>
                        <a:pt x="375302" y="441906"/>
                      </a:lnTo>
                      <a:lnTo>
                        <a:pt x="374270" y="441712"/>
                      </a:lnTo>
                      <a:lnTo>
                        <a:pt x="373177" y="441238"/>
                      </a:lnTo>
                      <a:lnTo>
                        <a:pt x="372254" y="439866"/>
                      </a:lnTo>
                      <a:lnTo>
                        <a:pt x="372011" y="438542"/>
                      </a:lnTo>
                      <a:lnTo>
                        <a:pt x="372314" y="435640"/>
                      </a:lnTo>
                      <a:lnTo>
                        <a:pt x="372242" y="434268"/>
                      </a:lnTo>
                      <a:lnTo>
                        <a:pt x="371149" y="429641"/>
                      </a:lnTo>
                      <a:lnTo>
                        <a:pt x="370821" y="427371"/>
                      </a:lnTo>
                      <a:lnTo>
                        <a:pt x="370979" y="424590"/>
                      </a:lnTo>
                      <a:lnTo>
                        <a:pt x="371683" y="422319"/>
                      </a:lnTo>
                      <a:lnTo>
                        <a:pt x="372776" y="420826"/>
                      </a:lnTo>
                      <a:lnTo>
                        <a:pt x="373638" y="419186"/>
                      </a:lnTo>
                      <a:lnTo>
                        <a:pt x="373638" y="416406"/>
                      </a:lnTo>
                      <a:lnTo>
                        <a:pt x="379904" y="409909"/>
                      </a:lnTo>
                      <a:lnTo>
                        <a:pt x="383863" y="403692"/>
                      </a:lnTo>
                      <a:lnTo>
                        <a:pt x="384033" y="401591"/>
                      </a:lnTo>
                      <a:lnTo>
                        <a:pt x="382199" y="398811"/>
                      </a:lnTo>
                      <a:lnTo>
                        <a:pt x="380705" y="394670"/>
                      </a:lnTo>
                      <a:lnTo>
                        <a:pt x="379855" y="391027"/>
                      </a:lnTo>
                      <a:lnTo>
                        <a:pt x="379273" y="389788"/>
                      </a:lnTo>
                      <a:lnTo>
                        <a:pt x="377998" y="388271"/>
                      </a:lnTo>
                      <a:lnTo>
                        <a:pt x="376516" y="386060"/>
                      </a:lnTo>
                      <a:lnTo>
                        <a:pt x="376055" y="385623"/>
                      </a:lnTo>
                      <a:lnTo>
                        <a:pt x="375375" y="385429"/>
                      </a:lnTo>
                      <a:lnTo>
                        <a:pt x="374622" y="385490"/>
                      </a:lnTo>
                      <a:lnTo>
                        <a:pt x="373359" y="385915"/>
                      </a:lnTo>
                      <a:lnTo>
                        <a:pt x="372606" y="386000"/>
                      </a:lnTo>
                      <a:lnTo>
                        <a:pt x="371962" y="385854"/>
                      </a:lnTo>
                      <a:lnTo>
                        <a:pt x="371452" y="385453"/>
                      </a:lnTo>
                      <a:lnTo>
                        <a:pt x="371173" y="384907"/>
                      </a:lnTo>
                      <a:lnTo>
                        <a:pt x="370469" y="382867"/>
                      </a:lnTo>
                      <a:lnTo>
                        <a:pt x="369850" y="381519"/>
                      </a:lnTo>
                      <a:lnTo>
                        <a:pt x="369437" y="380948"/>
                      </a:lnTo>
                      <a:lnTo>
                        <a:pt x="368914" y="380548"/>
                      </a:lnTo>
                      <a:lnTo>
                        <a:pt x="366911" y="379771"/>
                      </a:lnTo>
                      <a:lnTo>
                        <a:pt x="366401" y="379370"/>
                      </a:lnTo>
                      <a:lnTo>
                        <a:pt x="366170" y="378738"/>
                      </a:lnTo>
                      <a:lnTo>
                        <a:pt x="366510" y="377876"/>
                      </a:lnTo>
                      <a:lnTo>
                        <a:pt x="367263" y="376990"/>
                      </a:lnTo>
                      <a:lnTo>
                        <a:pt x="369097" y="375666"/>
                      </a:lnTo>
                      <a:lnTo>
                        <a:pt x="370019" y="374780"/>
                      </a:lnTo>
                      <a:lnTo>
                        <a:pt x="370517" y="373978"/>
                      </a:lnTo>
                      <a:lnTo>
                        <a:pt x="370712" y="373310"/>
                      </a:lnTo>
                      <a:lnTo>
                        <a:pt x="370772" y="372618"/>
                      </a:lnTo>
                      <a:lnTo>
                        <a:pt x="370712" y="371987"/>
                      </a:lnTo>
                      <a:lnTo>
                        <a:pt x="374075" y="370044"/>
                      </a:lnTo>
                      <a:lnTo>
                        <a:pt x="380353" y="367773"/>
                      </a:lnTo>
                      <a:lnTo>
                        <a:pt x="386085" y="365041"/>
                      </a:lnTo>
                      <a:lnTo>
                        <a:pt x="388574" y="363523"/>
                      </a:lnTo>
                      <a:lnTo>
                        <a:pt x="389764" y="362030"/>
                      </a:lnTo>
                      <a:lnTo>
                        <a:pt x="391391" y="359309"/>
                      </a:lnTo>
                      <a:lnTo>
                        <a:pt x="391452" y="359249"/>
                      </a:lnTo>
                      <a:lnTo>
                        <a:pt x="391500" y="359188"/>
                      </a:lnTo>
                      <a:lnTo>
                        <a:pt x="391780" y="358982"/>
                      </a:lnTo>
                      <a:lnTo>
                        <a:pt x="392751" y="358532"/>
                      </a:lnTo>
                      <a:lnTo>
                        <a:pt x="399709" y="356371"/>
                      </a:lnTo>
                      <a:lnTo>
                        <a:pt x="403498" y="354161"/>
                      </a:lnTo>
                      <a:lnTo>
                        <a:pt x="405890" y="352449"/>
                      </a:lnTo>
                      <a:lnTo>
                        <a:pt x="409521" y="353590"/>
                      </a:lnTo>
                      <a:lnTo>
                        <a:pt x="412107" y="355594"/>
                      </a:lnTo>
                      <a:lnTo>
                        <a:pt x="412374" y="356310"/>
                      </a:lnTo>
                      <a:lnTo>
                        <a:pt x="412435" y="357719"/>
                      </a:lnTo>
                      <a:lnTo>
                        <a:pt x="415313" y="359018"/>
                      </a:lnTo>
                      <a:lnTo>
                        <a:pt x="426861" y="361022"/>
                      </a:lnTo>
                      <a:lnTo>
                        <a:pt x="426460" y="357949"/>
                      </a:lnTo>
                      <a:lnTo>
                        <a:pt x="426399" y="355278"/>
                      </a:lnTo>
                      <a:lnTo>
                        <a:pt x="425999" y="354331"/>
                      </a:lnTo>
                      <a:lnTo>
                        <a:pt x="425246" y="353262"/>
                      </a:lnTo>
                      <a:lnTo>
                        <a:pt x="423691" y="351745"/>
                      </a:lnTo>
                      <a:lnTo>
                        <a:pt x="422890" y="350712"/>
                      </a:lnTo>
                      <a:lnTo>
                        <a:pt x="422319" y="349826"/>
                      </a:lnTo>
                      <a:lnTo>
                        <a:pt x="422489" y="347871"/>
                      </a:lnTo>
                      <a:lnTo>
                        <a:pt x="423983" y="342334"/>
                      </a:lnTo>
                      <a:lnTo>
                        <a:pt x="424845" y="336420"/>
                      </a:lnTo>
                      <a:lnTo>
                        <a:pt x="424845" y="334987"/>
                      </a:lnTo>
                      <a:lnTo>
                        <a:pt x="424602" y="333749"/>
                      </a:lnTo>
                      <a:lnTo>
                        <a:pt x="423691" y="330106"/>
                      </a:lnTo>
                      <a:lnTo>
                        <a:pt x="422890" y="325455"/>
                      </a:lnTo>
                      <a:lnTo>
                        <a:pt x="422258" y="323585"/>
                      </a:lnTo>
                      <a:lnTo>
                        <a:pt x="420364" y="320938"/>
                      </a:lnTo>
                      <a:lnTo>
                        <a:pt x="415143" y="317040"/>
                      </a:lnTo>
                      <a:lnTo>
                        <a:pt x="403425" y="312122"/>
                      </a:lnTo>
                      <a:lnTo>
                        <a:pt x="401470" y="308941"/>
                      </a:lnTo>
                      <a:lnTo>
                        <a:pt x="397450" y="306160"/>
                      </a:lnTo>
                      <a:lnTo>
                        <a:pt x="396236" y="304521"/>
                      </a:lnTo>
                      <a:lnTo>
                        <a:pt x="394973" y="301849"/>
                      </a:lnTo>
                      <a:lnTo>
                        <a:pt x="394063" y="298328"/>
                      </a:lnTo>
                      <a:lnTo>
                        <a:pt x="393018" y="296506"/>
                      </a:lnTo>
                      <a:lnTo>
                        <a:pt x="392156" y="295426"/>
                      </a:lnTo>
                      <a:lnTo>
                        <a:pt x="391367" y="294648"/>
                      </a:lnTo>
                      <a:lnTo>
                        <a:pt x="388902" y="290362"/>
                      </a:lnTo>
                      <a:lnTo>
                        <a:pt x="387008" y="289196"/>
                      </a:lnTo>
                      <a:lnTo>
                        <a:pt x="381264" y="286573"/>
                      </a:lnTo>
                      <a:lnTo>
                        <a:pt x="377706" y="284400"/>
                      </a:lnTo>
                      <a:lnTo>
                        <a:pt x="376905" y="283392"/>
                      </a:lnTo>
                      <a:lnTo>
                        <a:pt x="376383" y="282493"/>
                      </a:lnTo>
                      <a:lnTo>
                        <a:pt x="376212" y="281716"/>
                      </a:lnTo>
                      <a:lnTo>
                        <a:pt x="375958" y="281036"/>
                      </a:lnTo>
                      <a:lnTo>
                        <a:pt x="375630" y="280405"/>
                      </a:lnTo>
                      <a:lnTo>
                        <a:pt x="374658" y="278656"/>
                      </a:lnTo>
                      <a:lnTo>
                        <a:pt x="374415" y="277855"/>
                      </a:lnTo>
                      <a:lnTo>
                        <a:pt x="374306" y="276786"/>
                      </a:lnTo>
                      <a:lnTo>
                        <a:pt x="374707" y="275293"/>
                      </a:lnTo>
                      <a:lnTo>
                        <a:pt x="375399" y="274430"/>
                      </a:lnTo>
                      <a:lnTo>
                        <a:pt x="376832" y="273860"/>
                      </a:lnTo>
                      <a:lnTo>
                        <a:pt x="378775" y="273398"/>
                      </a:lnTo>
                      <a:lnTo>
                        <a:pt x="379418" y="272743"/>
                      </a:lnTo>
                      <a:lnTo>
                        <a:pt x="379880" y="271674"/>
                      </a:lnTo>
                      <a:lnTo>
                        <a:pt x="381313" y="265821"/>
                      </a:lnTo>
                      <a:lnTo>
                        <a:pt x="381993" y="263975"/>
                      </a:lnTo>
                      <a:lnTo>
                        <a:pt x="382284" y="261777"/>
                      </a:lnTo>
                      <a:lnTo>
                        <a:pt x="382102" y="259070"/>
                      </a:lnTo>
                      <a:lnTo>
                        <a:pt x="382102" y="259045"/>
                      </a:lnTo>
                      <a:lnTo>
                        <a:pt x="382102" y="258985"/>
                      </a:lnTo>
                      <a:lnTo>
                        <a:pt x="382551" y="256945"/>
                      </a:lnTo>
                      <a:lnTo>
                        <a:pt x="384045" y="254589"/>
                      </a:lnTo>
                      <a:lnTo>
                        <a:pt x="389278" y="249197"/>
                      </a:lnTo>
                      <a:lnTo>
                        <a:pt x="402307" y="239204"/>
                      </a:lnTo>
                      <a:lnTo>
                        <a:pt x="408634" y="231299"/>
                      </a:lnTo>
                      <a:lnTo>
                        <a:pt x="410310" y="229817"/>
                      </a:lnTo>
                      <a:lnTo>
                        <a:pt x="411512" y="229550"/>
                      </a:lnTo>
                      <a:lnTo>
                        <a:pt x="412775" y="229587"/>
                      </a:lnTo>
                      <a:lnTo>
                        <a:pt x="414098" y="229769"/>
                      </a:lnTo>
                      <a:lnTo>
                        <a:pt x="415398" y="229587"/>
                      </a:lnTo>
                      <a:lnTo>
                        <a:pt x="417304" y="228785"/>
                      </a:lnTo>
                      <a:lnTo>
                        <a:pt x="421311" y="224705"/>
                      </a:lnTo>
                      <a:lnTo>
                        <a:pt x="423084" y="223491"/>
                      </a:lnTo>
                      <a:lnTo>
                        <a:pt x="426873" y="221900"/>
                      </a:lnTo>
                      <a:lnTo>
                        <a:pt x="429168" y="220370"/>
                      </a:lnTo>
                      <a:lnTo>
                        <a:pt x="432544" y="216691"/>
                      </a:lnTo>
                      <a:lnTo>
                        <a:pt x="436393" y="213594"/>
                      </a:lnTo>
                      <a:lnTo>
                        <a:pt x="443108" y="205774"/>
                      </a:lnTo>
                      <a:lnTo>
                        <a:pt x="445585" y="203406"/>
                      </a:lnTo>
                      <a:lnTo>
                        <a:pt x="447989" y="201731"/>
                      </a:lnTo>
                      <a:lnTo>
                        <a:pt x="453320" y="200128"/>
                      </a:lnTo>
                      <a:lnTo>
                        <a:pt x="455445" y="198926"/>
                      </a:lnTo>
                      <a:lnTo>
                        <a:pt x="461262" y="193437"/>
                      </a:lnTo>
                      <a:lnTo>
                        <a:pt x="463605" y="192271"/>
                      </a:lnTo>
                      <a:lnTo>
                        <a:pt x="466009" y="191810"/>
                      </a:lnTo>
                      <a:lnTo>
                        <a:pt x="468997" y="191773"/>
                      </a:lnTo>
                      <a:lnTo>
                        <a:pt x="469920" y="191555"/>
                      </a:lnTo>
                      <a:lnTo>
                        <a:pt x="470442" y="190996"/>
                      </a:lnTo>
                      <a:lnTo>
                        <a:pt x="470891" y="190001"/>
                      </a:lnTo>
                      <a:lnTo>
                        <a:pt x="471122" y="188410"/>
                      </a:lnTo>
                      <a:lnTo>
                        <a:pt x="471122" y="186783"/>
                      </a:lnTo>
                      <a:lnTo>
                        <a:pt x="470332" y="184998"/>
                      </a:lnTo>
                      <a:lnTo>
                        <a:pt x="468960" y="183456"/>
                      </a:lnTo>
                      <a:lnTo>
                        <a:pt x="466434" y="182035"/>
                      </a:lnTo>
                      <a:lnTo>
                        <a:pt x="462816" y="180578"/>
                      </a:lnTo>
                      <a:lnTo>
                        <a:pt x="461881" y="179521"/>
                      </a:lnTo>
                      <a:lnTo>
                        <a:pt x="461771" y="177991"/>
                      </a:lnTo>
                      <a:lnTo>
                        <a:pt x="462512" y="176534"/>
                      </a:lnTo>
                      <a:lnTo>
                        <a:pt x="463678" y="175587"/>
                      </a:lnTo>
                      <a:lnTo>
                        <a:pt x="465633" y="174555"/>
                      </a:lnTo>
                      <a:lnTo>
                        <a:pt x="466386" y="173972"/>
                      </a:lnTo>
                      <a:lnTo>
                        <a:pt x="467127" y="173001"/>
                      </a:lnTo>
                      <a:lnTo>
                        <a:pt x="466447" y="171677"/>
                      </a:lnTo>
                      <a:lnTo>
                        <a:pt x="464941" y="169831"/>
                      </a:lnTo>
                      <a:lnTo>
                        <a:pt x="458687" y="163723"/>
                      </a:lnTo>
                      <a:lnTo>
                        <a:pt x="456902" y="162351"/>
                      </a:lnTo>
                      <a:lnTo>
                        <a:pt x="454790" y="161659"/>
                      </a:lnTo>
                      <a:lnTo>
                        <a:pt x="453296" y="160882"/>
                      </a:lnTo>
                      <a:lnTo>
                        <a:pt x="451620" y="159425"/>
                      </a:lnTo>
                      <a:lnTo>
                        <a:pt x="450819" y="158587"/>
                      </a:lnTo>
                      <a:lnTo>
                        <a:pt x="450819" y="158550"/>
                      </a:lnTo>
                      <a:lnTo>
                        <a:pt x="450758" y="158320"/>
                      </a:lnTo>
                      <a:lnTo>
                        <a:pt x="451001" y="156085"/>
                      </a:lnTo>
                      <a:lnTo>
                        <a:pt x="452774" y="150633"/>
                      </a:lnTo>
                      <a:lnTo>
                        <a:pt x="452312" y="149103"/>
                      </a:lnTo>
                      <a:lnTo>
                        <a:pt x="450588" y="148654"/>
                      </a:lnTo>
                      <a:lnTo>
                        <a:pt x="442306" y="151520"/>
                      </a:lnTo>
                      <a:lnTo>
                        <a:pt x="438749" y="152333"/>
                      </a:lnTo>
                      <a:lnTo>
                        <a:pt x="437024" y="152467"/>
                      </a:lnTo>
                      <a:lnTo>
                        <a:pt x="433807" y="151495"/>
                      </a:lnTo>
                      <a:lnTo>
                        <a:pt x="430479" y="150742"/>
                      </a:lnTo>
                      <a:lnTo>
                        <a:pt x="430807" y="149698"/>
                      </a:lnTo>
                      <a:lnTo>
                        <a:pt x="433236" y="142133"/>
                      </a:lnTo>
                      <a:lnTo>
                        <a:pt x="437462" y="134143"/>
                      </a:lnTo>
                      <a:lnTo>
                        <a:pt x="441687" y="126165"/>
                      </a:lnTo>
                      <a:lnTo>
                        <a:pt x="444784" y="117325"/>
                      </a:lnTo>
                      <a:lnTo>
                        <a:pt x="445585" y="113306"/>
                      </a:lnTo>
                      <a:lnTo>
                        <a:pt x="445719" y="111399"/>
                      </a:lnTo>
                      <a:lnTo>
                        <a:pt x="445864" y="109493"/>
                      </a:lnTo>
                      <a:lnTo>
                        <a:pt x="445864" y="109493"/>
                      </a:lnTo>
                      <a:lnTo>
                        <a:pt x="445792" y="108230"/>
                      </a:lnTo>
                      <a:lnTo>
                        <a:pt x="445646" y="105680"/>
                      </a:lnTo>
                      <a:lnTo>
                        <a:pt x="444529" y="100361"/>
                      </a:lnTo>
                      <a:lnTo>
                        <a:pt x="443970" y="97702"/>
                      </a:lnTo>
                      <a:lnTo>
                        <a:pt x="443266" y="89032"/>
                      </a:lnTo>
                      <a:lnTo>
                        <a:pt x="442525" y="85559"/>
                      </a:lnTo>
                      <a:lnTo>
                        <a:pt x="441723" y="84005"/>
                      </a:lnTo>
                      <a:lnTo>
                        <a:pt x="440934" y="82438"/>
                      </a:lnTo>
                      <a:lnTo>
                        <a:pt x="438834" y="79366"/>
                      </a:lnTo>
                      <a:lnTo>
                        <a:pt x="436721" y="76294"/>
                      </a:lnTo>
                      <a:lnTo>
                        <a:pt x="435130" y="73198"/>
                      </a:lnTo>
                      <a:lnTo>
                        <a:pt x="432713" y="67138"/>
                      </a:lnTo>
                      <a:lnTo>
                        <a:pt x="432313" y="66130"/>
                      </a:lnTo>
                      <a:lnTo>
                        <a:pt x="431633" y="64941"/>
                      </a:lnTo>
                      <a:lnTo>
                        <a:pt x="428585" y="59573"/>
                      </a:lnTo>
                      <a:lnTo>
                        <a:pt x="426630" y="56926"/>
                      </a:lnTo>
                      <a:lnTo>
                        <a:pt x="424687" y="54267"/>
                      </a:lnTo>
                      <a:lnTo>
                        <a:pt x="422210" y="52057"/>
                      </a:lnTo>
                      <a:lnTo>
                        <a:pt x="419283" y="50770"/>
                      </a:lnTo>
                      <a:lnTo>
                        <a:pt x="415956" y="48705"/>
                      </a:lnTo>
                      <a:lnTo>
                        <a:pt x="413819" y="44237"/>
                      </a:lnTo>
                      <a:lnTo>
                        <a:pt x="412520" y="41480"/>
                      </a:lnTo>
                      <a:lnTo>
                        <a:pt x="411148" y="40181"/>
                      </a:lnTo>
                      <a:lnTo>
                        <a:pt x="409593" y="38712"/>
                      </a:lnTo>
                      <a:lnTo>
                        <a:pt x="408671" y="37194"/>
                      </a:lnTo>
                      <a:lnTo>
                        <a:pt x="408379" y="35555"/>
                      </a:lnTo>
                      <a:lnTo>
                        <a:pt x="408500" y="34996"/>
                      </a:lnTo>
                      <a:lnTo>
                        <a:pt x="408743" y="33879"/>
                      </a:lnTo>
                      <a:lnTo>
                        <a:pt x="411439" y="27990"/>
                      </a:lnTo>
                      <a:lnTo>
                        <a:pt x="411816" y="20910"/>
                      </a:lnTo>
                      <a:lnTo>
                        <a:pt x="412192" y="13831"/>
                      </a:lnTo>
                      <a:lnTo>
                        <a:pt x="415179" y="7711"/>
                      </a:lnTo>
                      <a:moveTo>
                        <a:pt x="412058" y="0"/>
                      </a:moveTo>
                      <a:lnTo>
                        <a:pt x="409666" y="5161"/>
                      </a:lnTo>
                      <a:lnTo>
                        <a:pt x="406801" y="11366"/>
                      </a:lnTo>
                      <a:lnTo>
                        <a:pt x="406315" y="12422"/>
                      </a:lnTo>
                      <a:lnTo>
                        <a:pt x="406254" y="13588"/>
                      </a:lnTo>
                      <a:lnTo>
                        <a:pt x="405878" y="20667"/>
                      </a:lnTo>
                      <a:lnTo>
                        <a:pt x="405562" y="26593"/>
                      </a:lnTo>
                      <a:lnTo>
                        <a:pt x="403340" y="31438"/>
                      </a:lnTo>
                      <a:lnTo>
                        <a:pt x="403073" y="32045"/>
                      </a:lnTo>
                      <a:lnTo>
                        <a:pt x="402927" y="32701"/>
                      </a:lnTo>
                      <a:lnTo>
                        <a:pt x="402684" y="33818"/>
                      </a:lnTo>
                      <a:lnTo>
                        <a:pt x="402429" y="34984"/>
                      </a:lnTo>
                      <a:lnTo>
                        <a:pt x="402526" y="36720"/>
                      </a:lnTo>
                      <a:lnTo>
                        <a:pt x="402818" y="38360"/>
                      </a:lnTo>
                      <a:lnTo>
                        <a:pt x="403024" y="39477"/>
                      </a:lnTo>
                      <a:lnTo>
                        <a:pt x="403619" y="40448"/>
                      </a:lnTo>
                      <a:lnTo>
                        <a:pt x="404542" y="41966"/>
                      </a:lnTo>
                      <a:lnTo>
                        <a:pt x="404967" y="42670"/>
                      </a:lnTo>
                      <a:lnTo>
                        <a:pt x="405562" y="43229"/>
                      </a:lnTo>
                      <a:lnTo>
                        <a:pt x="407116" y="44698"/>
                      </a:lnTo>
                      <a:lnTo>
                        <a:pt x="407650" y="45208"/>
                      </a:lnTo>
                      <a:lnTo>
                        <a:pt x="408464" y="46933"/>
                      </a:lnTo>
                      <a:lnTo>
                        <a:pt x="410613" y="51425"/>
                      </a:lnTo>
                      <a:lnTo>
                        <a:pt x="411378" y="53028"/>
                      </a:lnTo>
                      <a:lnTo>
                        <a:pt x="412884" y="53963"/>
                      </a:lnTo>
                      <a:lnTo>
                        <a:pt x="416211" y="56027"/>
                      </a:lnTo>
                      <a:lnTo>
                        <a:pt x="416576" y="56258"/>
                      </a:lnTo>
                      <a:lnTo>
                        <a:pt x="416964" y="56428"/>
                      </a:lnTo>
                      <a:lnTo>
                        <a:pt x="419016" y="57327"/>
                      </a:lnTo>
                      <a:lnTo>
                        <a:pt x="420291" y="58468"/>
                      </a:lnTo>
                      <a:lnTo>
                        <a:pt x="421858" y="60605"/>
                      </a:lnTo>
                      <a:lnTo>
                        <a:pt x="423618" y="62985"/>
                      </a:lnTo>
                      <a:lnTo>
                        <a:pt x="426484" y="68037"/>
                      </a:lnTo>
                      <a:lnTo>
                        <a:pt x="426958" y="68863"/>
                      </a:lnTo>
                      <a:lnTo>
                        <a:pt x="427213" y="69482"/>
                      </a:lnTo>
                      <a:lnTo>
                        <a:pt x="429629" y="75541"/>
                      </a:lnTo>
                      <a:lnTo>
                        <a:pt x="431439" y="79160"/>
                      </a:lnTo>
                      <a:lnTo>
                        <a:pt x="431621" y="79500"/>
                      </a:lnTo>
                      <a:lnTo>
                        <a:pt x="431851" y="79816"/>
                      </a:lnTo>
                      <a:lnTo>
                        <a:pt x="433964" y="82888"/>
                      </a:lnTo>
                      <a:lnTo>
                        <a:pt x="435822" y="85632"/>
                      </a:lnTo>
                      <a:lnTo>
                        <a:pt x="436441" y="86846"/>
                      </a:lnTo>
                      <a:lnTo>
                        <a:pt x="436891" y="87721"/>
                      </a:lnTo>
                      <a:lnTo>
                        <a:pt x="437376" y="90016"/>
                      </a:lnTo>
                      <a:lnTo>
                        <a:pt x="438056" y="98297"/>
                      </a:lnTo>
                      <a:lnTo>
                        <a:pt x="438081" y="98686"/>
                      </a:lnTo>
                      <a:lnTo>
                        <a:pt x="438166" y="99062"/>
                      </a:lnTo>
                      <a:lnTo>
                        <a:pt x="438724" y="101721"/>
                      </a:lnTo>
                      <a:lnTo>
                        <a:pt x="439744" y="106591"/>
                      </a:lnTo>
                      <a:lnTo>
                        <a:pt x="439866" y="108691"/>
                      </a:lnTo>
                      <a:lnTo>
                        <a:pt x="439914" y="109566"/>
                      </a:lnTo>
                      <a:lnTo>
                        <a:pt x="439793" y="111084"/>
                      </a:lnTo>
                      <a:lnTo>
                        <a:pt x="439683" y="112638"/>
                      </a:lnTo>
                      <a:lnTo>
                        <a:pt x="439040" y="115856"/>
                      </a:lnTo>
                      <a:lnTo>
                        <a:pt x="436247" y="123870"/>
                      </a:lnTo>
                      <a:lnTo>
                        <a:pt x="432240" y="131447"/>
                      </a:lnTo>
                      <a:lnTo>
                        <a:pt x="428002" y="139437"/>
                      </a:lnTo>
                      <a:lnTo>
                        <a:pt x="427747" y="139911"/>
                      </a:lnTo>
                      <a:lnTo>
                        <a:pt x="427589" y="140421"/>
                      </a:lnTo>
                      <a:lnTo>
                        <a:pt x="425161" y="147986"/>
                      </a:lnTo>
                      <a:lnTo>
                        <a:pt x="424821" y="149042"/>
                      </a:lnTo>
                      <a:lnTo>
                        <a:pt x="422817" y="155357"/>
                      </a:lnTo>
                      <a:lnTo>
                        <a:pt x="429265" y="156814"/>
                      </a:lnTo>
                      <a:lnTo>
                        <a:pt x="432592" y="157567"/>
                      </a:lnTo>
                      <a:lnTo>
                        <a:pt x="435397" y="158429"/>
                      </a:lnTo>
                      <a:lnTo>
                        <a:pt x="436478" y="158745"/>
                      </a:lnTo>
                      <a:lnTo>
                        <a:pt x="437607" y="158660"/>
                      </a:lnTo>
                      <a:lnTo>
                        <a:pt x="439331" y="158526"/>
                      </a:lnTo>
                      <a:lnTo>
                        <a:pt x="439781" y="158490"/>
                      </a:lnTo>
                      <a:lnTo>
                        <a:pt x="440218" y="158393"/>
                      </a:lnTo>
                      <a:lnTo>
                        <a:pt x="443776" y="157579"/>
                      </a:lnTo>
                      <a:lnTo>
                        <a:pt x="444091" y="157506"/>
                      </a:lnTo>
                      <a:lnTo>
                        <a:pt x="444407" y="157397"/>
                      </a:lnTo>
                      <a:lnTo>
                        <a:pt x="444881" y="157227"/>
                      </a:lnTo>
                      <a:lnTo>
                        <a:pt x="444820" y="157810"/>
                      </a:lnTo>
                      <a:lnTo>
                        <a:pt x="444699" y="158890"/>
                      </a:lnTo>
                      <a:lnTo>
                        <a:pt x="444844" y="159437"/>
                      </a:lnTo>
                      <a:lnTo>
                        <a:pt x="444844" y="161125"/>
                      </a:lnTo>
                      <a:lnTo>
                        <a:pt x="446544" y="162922"/>
                      </a:lnTo>
                      <a:lnTo>
                        <a:pt x="447346" y="163760"/>
                      </a:lnTo>
                      <a:lnTo>
                        <a:pt x="449398" y="165581"/>
                      </a:lnTo>
                      <a:lnTo>
                        <a:pt x="449956" y="166055"/>
                      </a:lnTo>
                      <a:lnTo>
                        <a:pt x="450600" y="166395"/>
                      </a:lnTo>
                      <a:lnTo>
                        <a:pt x="452094" y="167172"/>
                      </a:lnTo>
                      <a:lnTo>
                        <a:pt x="452531" y="167403"/>
                      </a:lnTo>
                      <a:lnTo>
                        <a:pt x="452992" y="167561"/>
                      </a:lnTo>
                      <a:lnTo>
                        <a:pt x="454134" y="167937"/>
                      </a:lnTo>
                      <a:lnTo>
                        <a:pt x="454814" y="168459"/>
                      </a:lnTo>
                      <a:lnTo>
                        <a:pt x="458590" y="172138"/>
                      </a:lnTo>
                      <a:lnTo>
                        <a:pt x="457801" y="172782"/>
                      </a:lnTo>
                      <a:lnTo>
                        <a:pt x="457218" y="173936"/>
                      </a:lnTo>
                      <a:lnTo>
                        <a:pt x="456477" y="175393"/>
                      </a:lnTo>
                      <a:lnTo>
                        <a:pt x="455724" y="176886"/>
                      </a:lnTo>
                      <a:lnTo>
                        <a:pt x="455846" y="178550"/>
                      </a:lnTo>
                      <a:lnTo>
                        <a:pt x="455955" y="180080"/>
                      </a:lnTo>
                      <a:lnTo>
                        <a:pt x="456101" y="182132"/>
                      </a:lnTo>
                      <a:lnTo>
                        <a:pt x="457461" y="183674"/>
                      </a:lnTo>
                      <a:lnTo>
                        <a:pt x="458396" y="184730"/>
                      </a:lnTo>
                      <a:lnTo>
                        <a:pt x="459355" y="185811"/>
                      </a:lnTo>
                      <a:lnTo>
                        <a:pt x="460679" y="186346"/>
                      </a:lnTo>
                      <a:lnTo>
                        <a:pt x="461565" y="186698"/>
                      </a:lnTo>
                      <a:lnTo>
                        <a:pt x="461043" y="186953"/>
                      </a:lnTo>
                      <a:lnTo>
                        <a:pt x="458699" y="188118"/>
                      </a:lnTo>
                      <a:lnTo>
                        <a:pt x="457886" y="188519"/>
                      </a:lnTo>
                      <a:lnTo>
                        <a:pt x="457218" y="189151"/>
                      </a:lnTo>
                      <a:lnTo>
                        <a:pt x="451936" y="194141"/>
                      </a:lnTo>
                      <a:lnTo>
                        <a:pt x="451062" y="194639"/>
                      </a:lnTo>
                      <a:lnTo>
                        <a:pt x="446374" y="196048"/>
                      </a:lnTo>
                      <a:lnTo>
                        <a:pt x="445439" y="196327"/>
                      </a:lnTo>
                      <a:lnTo>
                        <a:pt x="444650" y="196886"/>
                      </a:lnTo>
                      <a:lnTo>
                        <a:pt x="442246" y="198561"/>
                      </a:lnTo>
                      <a:lnTo>
                        <a:pt x="441869" y="198829"/>
                      </a:lnTo>
                      <a:lnTo>
                        <a:pt x="441542" y="199144"/>
                      </a:lnTo>
                      <a:lnTo>
                        <a:pt x="439052" y="201512"/>
                      </a:lnTo>
                      <a:lnTo>
                        <a:pt x="432301" y="209344"/>
                      </a:lnTo>
                      <a:lnTo>
                        <a:pt x="428876" y="212101"/>
                      </a:lnTo>
                      <a:lnTo>
                        <a:pt x="428524" y="212380"/>
                      </a:lnTo>
                      <a:lnTo>
                        <a:pt x="428221" y="212720"/>
                      </a:lnTo>
                      <a:lnTo>
                        <a:pt x="425343" y="215853"/>
                      </a:lnTo>
                      <a:lnTo>
                        <a:pt x="424129" y="216654"/>
                      </a:lnTo>
                      <a:lnTo>
                        <a:pt x="420862" y="218026"/>
                      </a:lnTo>
                      <a:lnTo>
                        <a:pt x="420291" y="218269"/>
                      </a:lnTo>
                      <a:lnTo>
                        <a:pt x="419781" y="218609"/>
                      </a:lnTo>
                      <a:lnTo>
                        <a:pt x="418008" y="219836"/>
                      </a:lnTo>
                      <a:lnTo>
                        <a:pt x="417523" y="220164"/>
                      </a:lnTo>
                      <a:lnTo>
                        <a:pt x="417110" y="220589"/>
                      </a:lnTo>
                      <a:lnTo>
                        <a:pt x="414001" y="223746"/>
                      </a:lnTo>
                      <a:lnTo>
                        <a:pt x="413722" y="223709"/>
                      </a:lnTo>
                      <a:lnTo>
                        <a:pt x="413394" y="223661"/>
                      </a:lnTo>
                      <a:lnTo>
                        <a:pt x="413066" y="223649"/>
                      </a:lnTo>
                      <a:lnTo>
                        <a:pt x="411803" y="223612"/>
                      </a:lnTo>
                      <a:lnTo>
                        <a:pt x="411050" y="223600"/>
                      </a:lnTo>
                      <a:lnTo>
                        <a:pt x="410310" y="223758"/>
                      </a:lnTo>
                      <a:lnTo>
                        <a:pt x="409107" y="224025"/>
                      </a:lnTo>
                      <a:lnTo>
                        <a:pt x="407566" y="224365"/>
                      </a:lnTo>
                      <a:lnTo>
                        <a:pt x="406387" y="225409"/>
                      </a:lnTo>
                      <a:lnTo>
                        <a:pt x="404712" y="226891"/>
                      </a:lnTo>
                      <a:lnTo>
                        <a:pt x="404336" y="227231"/>
                      </a:lnTo>
                      <a:lnTo>
                        <a:pt x="404008" y="227632"/>
                      </a:lnTo>
                      <a:lnTo>
                        <a:pt x="398155" y="234966"/>
                      </a:lnTo>
                      <a:lnTo>
                        <a:pt x="385708" y="244522"/>
                      </a:lnTo>
                      <a:lnTo>
                        <a:pt x="385368" y="244789"/>
                      </a:lnTo>
                      <a:lnTo>
                        <a:pt x="385065" y="245105"/>
                      </a:lnTo>
                      <a:lnTo>
                        <a:pt x="379831" y="250497"/>
                      </a:lnTo>
                      <a:lnTo>
                        <a:pt x="379394" y="250946"/>
                      </a:lnTo>
                      <a:lnTo>
                        <a:pt x="379066" y="251468"/>
                      </a:lnTo>
                      <a:lnTo>
                        <a:pt x="377572" y="253824"/>
                      </a:lnTo>
                      <a:lnTo>
                        <a:pt x="376990" y="254722"/>
                      </a:lnTo>
                      <a:lnTo>
                        <a:pt x="376759" y="255767"/>
                      </a:lnTo>
                      <a:lnTo>
                        <a:pt x="376310" y="257807"/>
                      </a:lnTo>
                      <a:lnTo>
                        <a:pt x="376164" y="258450"/>
                      </a:lnTo>
                      <a:lnTo>
                        <a:pt x="376164" y="259118"/>
                      </a:lnTo>
                      <a:lnTo>
                        <a:pt x="376322" y="261693"/>
                      </a:lnTo>
                      <a:lnTo>
                        <a:pt x="376188" y="262652"/>
                      </a:lnTo>
                      <a:lnTo>
                        <a:pt x="375739" y="263890"/>
                      </a:lnTo>
                      <a:lnTo>
                        <a:pt x="375617" y="264206"/>
                      </a:lnTo>
                      <a:lnTo>
                        <a:pt x="375545" y="264522"/>
                      </a:lnTo>
                      <a:lnTo>
                        <a:pt x="374585" y="268408"/>
                      </a:lnTo>
                      <a:lnTo>
                        <a:pt x="373262" y="268942"/>
                      </a:lnTo>
                      <a:lnTo>
                        <a:pt x="371780" y="269537"/>
                      </a:lnTo>
                      <a:lnTo>
                        <a:pt x="370785" y="270788"/>
                      </a:lnTo>
                      <a:lnTo>
                        <a:pt x="370092" y="271650"/>
                      </a:lnTo>
                      <a:lnTo>
                        <a:pt x="369303" y="272645"/>
                      </a:lnTo>
                      <a:lnTo>
                        <a:pt x="368987" y="273872"/>
                      </a:lnTo>
                      <a:lnTo>
                        <a:pt x="368587" y="275365"/>
                      </a:lnTo>
                      <a:lnTo>
                        <a:pt x="368295" y="276446"/>
                      </a:lnTo>
                      <a:lnTo>
                        <a:pt x="368417" y="277551"/>
                      </a:lnTo>
                      <a:lnTo>
                        <a:pt x="368526" y="278620"/>
                      </a:lnTo>
                      <a:lnTo>
                        <a:pt x="368575" y="279190"/>
                      </a:lnTo>
                      <a:lnTo>
                        <a:pt x="368745" y="279737"/>
                      </a:lnTo>
                      <a:lnTo>
                        <a:pt x="368987" y="280538"/>
                      </a:lnTo>
                      <a:lnTo>
                        <a:pt x="369182" y="281182"/>
                      </a:lnTo>
                      <a:lnTo>
                        <a:pt x="369497" y="281765"/>
                      </a:lnTo>
                      <a:lnTo>
                        <a:pt x="370469" y="283513"/>
                      </a:lnTo>
                      <a:lnTo>
                        <a:pt x="370530" y="283611"/>
                      </a:lnTo>
                      <a:lnTo>
                        <a:pt x="370590" y="283914"/>
                      </a:lnTo>
                      <a:lnTo>
                        <a:pt x="370797" y="284861"/>
                      </a:lnTo>
                      <a:lnTo>
                        <a:pt x="371282" y="285687"/>
                      </a:lnTo>
                      <a:lnTo>
                        <a:pt x="371804" y="286585"/>
                      </a:lnTo>
                      <a:lnTo>
                        <a:pt x="372035" y="286986"/>
                      </a:lnTo>
                      <a:lnTo>
                        <a:pt x="372314" y="287338"/>
                      </a:lnTo>
                      <a:lnTo>
                        <a:pt x="373116" y="288346"/>
                      </a:lnTo>
                      <a:lnTo>
                        <a:pt x="373784" y="289172"/>
                      </a:lnTo>
                      <a:lnTo>
                        <a:pt x="374695" y="289718"/>
                      </a:lnTo>
                      <a:lnTo>
                        <a:pt x="378252" y="291904"/>
                      </a:lnTo>
                      <a:lnTo>
                        <a:pt x="378556" y="292098"/>
                      </a:lnTo>
                      <a:lnTo>
                        <a:pt x="378884" y="292256"/>
                      </a:lnTo>
                      <a:lnTo>
                        <a:pt x="384288" y="294721"/>
                      </a:lnTo>
                      <a:lnTo>
                        <a:pt x="384543" y="294891"/>
                      </a:lnTo>
                      <a:lnTo>
                        <a:pt x="386242" y="297842"/>
                      </a:lnTo>
                      <a:lnTo>
                        <a:pt x="386655" y="298571"/>
                      </a:lnTo>
                      <a:lnTo>
                        <a:pt x="387263" y="299153"/>
                      </a:lnTo>
                      <a:lnTo>
                        <a:pt x="387797" y="299676"/>
                      </a:lnTo>
                      <a:lnTo>
                        <a:pt x="388137" y="300101"/>
                      </a:lnTo>
                      <a:lnTo>
                        <a:pt x="388538" y="300805"/>
                      </a:lnTo>
                      <a:lnTo>
                        <a:pt x="389242" y="303537"/>
                      </a:lnTo>
                      <a:lnTo>
                        <a:pt x="389387" y="304084"/>
                      </a:lnTo>
                      <a:lnTo>
                        <a:pt x="389642" y="304593"/>
                      </a:lnTo>
                      <a:lnTo>
                        <a:pt x="390905" y="307265"/>
                      </a:lnTo>
                      <a:lnTo>
                        <a:pt x="391160" y="307799"/>
                      </a:lnTo>
                      <a:lnTo>
                        <a:pt x="391513" y="308273"/>
                      </a:lnTo>
                      <a:lnTo>
                        <a:pt x="392727" y="309912"/>
                      </a:lnTo>
                      <a:lnTo>
                        <a:pt x="393322" y="310726"/>
                      </a:lnTo>
                      <a:lnTo>
                        <a:pt x="394160" y="311296"/>
                      </a:lnTo>
                      <a:lnTo>
                        <a:pt x="397122" y="313349"/>
                      </a:lnTo>
                      <a:lnTo>
                        <a:pt x="398410" y="315437"/>
                      </a:lnTo>
                      <a:lnTo>
                        <a:pt x="399430" y="317101"/>
                      </a:lnTo>
                      <a:lnTo>
                        <a:pt x="401227" y="317854"/>
                      </a:lnTo>
                      <a:lnTo>
                        <a:pt x="412253" y="322480"/>
                      </a:lnTo>
                      <a:lnTo>
                        <a:pt x="416114" y="325358"/>
                      </a:lnTo>
                      <a:lnTo>
                        <a:pt x="416928" y="326512"/>
                      </a:lnTo>
                      <a:lnTo>
                        <a:pt x="417122" y="327070"/>
                      </a:lnTo>
                      <a:lnTo>
                        <a:pt x="417850" y="331272"/>
                      </a:lnTo>
                      <a:lnTo>
                        <a:pt x="418858" y="335352"/>
                      </a:lnTo>
                      <a:lnTo>
                        <a:pt x="418919" y="335655"/>
                      </a:lnTo>
                      <a:lnTo>
                        <a:pt x="418919" y="336104"/>
                      </a:lnTo>
                      <a:lnTo>
                        <a:pt x="418166" y="341229"/>
                      </a:lnTo>
                      <a:lnTo>
                        <a:pt x="416770" y="346414"/>
                      </a:lnTo>
                      <a:lnTo>
                        <a:pt x="416624" y="346936"/>
                      </a:lnTo>
                      <a:lnTo>
                        <a:pt x="416576" y="347470"/>
                      </a:lnTo>
                      <a:lnTo>
                        <a:pt x="416406" y="349425"/>
                      </a:lnTo>
                      <a:lnTo>
                        <a:pt x="416260" y="351149"/>
                      </a:lnTo>
                      <a:lnTo>
                        <a:pt x="415956" y="350907"/>
                      </a:lnTo>
                      <a:lnTo>
                        <a:pt x="413370" y="348903"/>
                      </a:lnTo>
                      <a:lnTo>
                        <a:pt x="412508" y="348235"/>
                      </a:lnTo>
                      <a:lnTo>
                        <a:pt x="411463" y="347907"/>
                      </a:lnTo>
                      <a:lnTo>
                        <a:pt x="407833" y="346766"/>
                      </a:lnTo>
                      <a:lnTo>
                        <a:pt x="404955" y="345855"/>
                      </a:lnTo>
                      <a:lnTo>
                        <a:pt x="402490" y="347616"/>
                      </a:lnTo>
                      <a:lnTo>
                        <a:pt x="400098" y="349328"/>
                      </a:lnTo>
                      <a:lnTo>
                        <a:pt x="397390" y="350870"/>
                      </a:lnTo>
                      <a:lnTo>
                        <a:pt x="391063" y="352837"/>
                      </a:lnTo>
                      <a:lnTo>
                        <a:pt x="390687" y="352959"/>
                      </a:lnTo>
                      <a:lnTo>
                        <a:pt x="390322" y="353129"/>
                      </a:lnTo>
                      <a:lnTo>
                        <a:pt x="389351" y="353578"/>
                      </a:lnTo>
                      <a:lnTo>
                        <a:pt x="388805" y="353833"/>
                      </a:lnTo>
                      <a:lnTo>
                        <a:pt x="388319" y="354185"/>
                      </a:lnTo>
                      <a:lnTo>
                        <a:pt x="387663" y="354659"/>
                      </a:lnTo>
                      <a:lnTo>
                        <a:pt x="386874" y="355497"/>
                      </a:lnTo>
                      <a:lnTo>
                        <a:pt x="386339" y="356031"/>
                      </a:lnTo>
                      <a:lnTo>
                        <a:pt x="386291" y="356298"/>
                      </a:lnTo>
                      <a:lnTo>
                        <a:pt x="384882" y="358678"/>
                      </a:lnTo>
                      <a:lnTo>
                        <a:pt x="384627" y="359006"/>
                      </a:lnTo>
                      <a:lnTo>
                        <a:pt x="383328" y="359795"/>
                      </a:lnTo>
                      <a:lnTo>
                        <a:pt x="377876" y="362394"/>
                      </a:lnTo>
                      <a:lnTo>
                        <a:pt x="372157" y="364434"/>
                      </a:lnTo>
                      <a:lnTo>
                        <a:pt x="371659" y="364616"/>
                      </a:lnTo>
                      <a:lnTo>
                        <a:pt x="371197" y="364883"/>
                      </a:lnTo>
                      <a:lnTo>
                        <a:pt x="367834" y="366826"/>
                      </a:lnTo>
                      <a:lnTo>
                        <a:pt x="364458" y="368769"/>
                      </a:lnTo>
                      <a:lnTo>
                        <a:pt x="364713" y="371550"/>
                      </a:lnTo>
                      <a:lnTo>
                        <a:pt x="363863" y="372157"/>
                      </a:lnTo>
                      <a:lnTo>
                        <a:pt x="363256" y="372594"/>
                      </a:lnTo>
                      <a:lnTo>
                        <a:pt x="362770" y="373165"/>
                      </a:lnTo>
                      <a:lnTo>
                        <a:pt x="362017" y="374051"/>
                      </a:lnTo>
                      <a:lnTo>
                        <a:pt x="361374" y="374804"/>
                      </a:lnTo>
                      <a:lnTo>
                        <a:pt x="361009" y="375727"/>
                      </a:lnTo>
                      <a:lnTo>
                        <a:pt x="360670" y="376589"/>
                      </a:lnTo>
                      <a:lnTo>
                        <a:pt x="359832" y="378714"/>
                      </a:lnTo>
                      <a:lnTo>
                        <a:pt x="360597" y="380875"/>
                      </a:lnTo>
                      <a:lnTo>
                        <a:pt x="360827" y="381507"/>
                      </a:lnTo>
                      <a:lnTo>
                        <a:pt x="361410" y="383134"/>
                      </a:lnTo>
                      <a:lnTo>
                        <a:pt x="362770" y="384215"/>
                      </a:lnTo>
                      <a:lnTo>
                        <a:pt x="363280" y="384616"/>
                      </a:lnTo>
                      <a:lnTo>
                        <a:pt x="364009" y="385186"/>
                      </a:lnTo>
                      <a:lnTo>
                        <a:pt x="364859" y="385514"/>
                      </a:lnTo>
                      <a:lnTo>
                        <a:pt x="365126" y="385623"/>
                      </a:lnTo>
                      <a:lnTo>
                        <a:pt x="365563" y="386959"/>
                      </a:lnTo>
                      <a:lnTo>
                        <a:pt x="365709" y="387396"/>
                      </a:lnTo>
                      <a:lnTo>
                        <a:pt x="365927" y="387809"/>
                      </a:lnTo>
                      <a:lnTo>
                        <a:pt x="366207" y="388356"/>
                      </a:lnTo>
                      <a:lnTo>
                        <a:pt x="366814" y="389509"/>
                      </a:lnTo>
                      <a:lnTo>
                        <a:pt x="367822" y="390311"/>
                      </a:lnTo>
                      <a:lnTo>
                        <a:pt x="368344" y="390711"/>
                      </a:lnTo>
                      <a:lnTo>
                        <a:pt x="369412" y="391561"/>
                      </a:lnTo>
                      <a:lnTo>
                        <a:pt x="370736" y="391865"/>
                      </a:lnTo>
                      <a:lnTo>
                        <a:pt x="371379" y="392011"/>
                      </a:lnTo>
                      <a:lnTo>
                        <a:pt x="372412" y="392253"/>
                      </a:lnTo>
                      <a:lnTo>
                        <a:pt x="373359" y="392144"/>
                      </a:lnTo>
                      <a:lnTo>
                        <a:pt x="373492" y="392290"/>
                      </a:lnTo>
                      <a:lnTo>
                        <a:pt x="374245" y="393176"/>
                      </a:lnTo>
                      <a:lnTo>
                        <a:pt x="374950" y="396163"/>
                      </a:lnTo>
                      <a:lnTo>
                        <a:pt x="375023" y="396516"/>
                      </a:lnTo>
                      <a:lnTo>
                        <a:pt x="375144" y="396843"/>
                      </a:lnTo>
                      <a:lnTo>
                        <a:pt x="376638" y="400984"/>
                      </a:lnTo>
                      <a:lnTo>
                        <a:pt x="376892" y="401664"/>
                      </a:lnTo>
                      <a:lnTo>
                        <a:pt x="377293" y="402271"/>
                      </a:lnTo>
                      <a:lnTo>
                        <a:pt x="377548" y="402672"/>
                      </a:lnTo>
                      <a:lnTo>
                        <a:pt x="375265" y="406242"/>
                      </a:lnTo>
                      <a:lnTo>
                        <a:pt x="369425" y="412301"/>
                      </a:lnTo>
                      <a:lnTo>
                        <a:pt x="367724" y="414074"/>
                      </a:lnTo>
                      <a:lnTo>
                        <a:pt x="367724" y="416527"/>
                      </a:lnTo>
                      <a:lnTo>
                        <a:pt x="367724" y="417778"/>
                      </a:lnTo>
                      <a:lnTo>
                        <a:pt x="366935" y="418859"/>
                      </a:lnTo>
                      <a:lnTo>
                        <a:pt x="366340" y="419684"/>
                      </a:lnTo>
                      <a:lnTo>
                        <a:pt x="366049" y="420656"/>
                      </a:lnTo>
                      <a:lnTo>
                        <a:pt x="365345" y="422939"/>
                      </a:lnTo>
                      <a:lnTo>
                        <a:pt x="365114" y="423643"/>
                      </a:lnTo>
                      <a:lnTo>
                        <a:pt x="365077" y="424384"/>
                      </a:lnTo>
                      <a:lnTo>
                        <a:pt x="364920" y="427164"/>
                      </a:lnTo>
                      <a:lnTo>
                        <a:pt x="364883" y="427771"/>
                      </a:lnTo>
                      <a:lnTo>
                        <a:pt x="364968" y="428379"/>
                      </a:lnTo>
                      <a:lnTo>
                        <a:pt x="365296" y="430649"/>
                      </a:lnTo>
                      <a:lnTo>
                        <a:pt x="366364" y="435239"/>
                      </a:lnTo>
                      <a:lnTo>
                        <a:pt x="366389" y="435604"/>
                      </a:lnTo>
                      <a:lnTo>
                        <a:pt x="366134" y="438032"/>
                      </a:lnTo>
                      <a:lnTo>
                        <a:pt x="366037" y="438894"/>
                      </a:lnTo>
                      <a:lnTo>
                        <a:pt x="366194" y="439744"/>
                      </a:lnTo>
                      <a:lnTo>
                        <a:pt x="366437" y="441068"/>
                      </a:lnTo>
                      <a:lnTo>
                        <a:pt x="366668" y="442331"/>
                      </a:lnTo>
                      <a:lnTo>
                        <a:pt x="367397" y="443399"/>
                      </a:lnTo>
                      <a:lnTo>
                        <a:pt x="368320" y="444772"/>
                      </a:lnTo>
                      <a:lnTo>
                        <a:pt x="369303" y="446241"/>
                      </a:lnTo>
                      <a:lnTo>
                        <a:pt x="370930" y="446945"/>
                      </a:lnTo>
                      <a:lnTo>
                        <a:pt x="372023" y="447419"/>
                      </a:lnTo>
                      <a:lnTo>
                        <a:pt x="372642" y="447686"/>
                      </a:lnTo>
                      <a:lnTo>
                        <a:pt x="372946" y="447747"/>
                      </a:lnTo>
                      <a:lnTo>
                        <a:pt x="379236" y="454158"/>
                      </a:lnTo>
                      <a:lnTo>
                        <a:pt x="379637" y="454559"/>
                      </a:lnTo>
                      <a:lnTo>
                        <a:pt x="380098" y="454887"/>
                      </a:lnTo>
                      <a:lnTo>
                        <a:pt x="380329" y="455044"/>
                      </a:lnTo>
                      <a:lnTo>
                        <a:pt x="380620" y="455700"/>
                      </a:lnTo>
                      <a:lnTo>
                        <a:pt x="382151" y="459428"/>
                      </a:lnTo>
                      <a:lnTo>
                        <a:pt x="385453" y="472676"/>
                      </a:lnTo>
                      <a:lnTo>
                        <a:pt x="386012" y="476695"/>
                      </a:lnTo>
                      <a:lnTo>
                        <a:pt x="386145" y="480363"/>
                      </a:lnTo>
                      <a:lnTo>
                        <a:pt x="386012" y="481030"/>
                      </a:lnTo>
                      <a:lnTo>
                        <a:pt x="384445" y="483180"/>
                      </a:lnTo>
                      <a:lnTo>
                        <a:pt x="383996" y="483799"/>
                      </a:lnTo>
                      <a:lnTo>
                        <a:pt x="383717" y="484528"/>
                      </a:lnTo>
                      <a:lnTo>
                        <a:pt x="382867" y="486689"/>
                      </a:lnTo>
                      <a:lnTo>
                        <a:pt x="382527" y="487551"/>
                      </a:lnTo>
                      <a:lnTo>
                        <a:pt x="382454" y="488474"/>
                      </a:lnTo>
                      <a:lnTo>
                        <a:pt x="382065" y="493732"/>
                      </a:lnTo>
                      <a:lnTo>
                        <a:pt x="381349" y="493525"/>
                      </a:lnTo>
                      <a:lnTo>
                        <a:pt x="379649" y="494011"/>
                      </a:lnTo>
                      <a:lnTo>
                        <a:pt x="378155" y="494436"/>
                      </a:lnTo>
                      <a:lnTo>
                        <a:pt x="375496" y="495201"/>
                      </a:lnTo>
                      <a:lnTo>
                        <a:pt x="374318" y="497715"/>
                      </a:lnTo>
                      <a:lnTo>
                        <a:pt x="373468" y="499548"/>
                      </a:lnTo>
                      <a:lnTo>
                        <a:pt x="372739" y="501103"/>
                      </a:lnTo>
                      <a:lnTo>
                        <a:pt x="372934" y="502803"/>
                      </a:lnTo>
                      <a:lnTo>
                        <a:pt x="373164" y="504758"/>
                      </a:lnTo>
                      <a:lnTo>
                        <a:pt x="373310" y="505960"/>
                      </a:lnTo>
                      <a:lnTo>
                        <a:pt x="373905" y="507016"/>
                      </a:lnTo>
                      <a:lnTo>
                        <a:pt x="374828" y="508680"/>
                      </a:lnTo>
                      <a:lnTo>
                        <a:pt x="375557" y="509991"/>
                      </a:lnTo>
                      <a:lnTo>
                        <a:pt x="376819" y="510805"/>
                      </a:lnTo>
                      <a:lnTo>
                        <a:pt x="377961" y="511546"/>
                      </a:lnTo>
                      <a:lnTo>
                        <a:pt x="378617" y="511983"/>
                      </a:lnTo>
                      <a:lnTo>
                        <a:pt x="379370" y="512226"/>
                      </a:lnTo>
                      <a:lnTo>
                        <a:pt x="380693" y="512663"/>
                      </a:lnTo>
                      <a:lnTo>
                        <a:pt x="381215" y="512833"/>
                      </a:lnTo>
                      <a:lnTo>
                        <a:pt x="381762" y="512906"/>
                      </a:lnTo>
                      <a:lnTo>
                        <a:pt x="383595" y="513161"/>
                      </a:lnTo>
                      <a:lnTo>
                        <a:pt x="384178" y="514387"/>
                      </a:lnTo>
                      <a:lnTo>
                        <a:pt x="385137" y="516075"/>
                      </a:lnTo>
                      <a:lnTo>
                        <a:pt x="385247" y="516646"/>
                      </a:lnTo>
                      <a:lnTo>
                        <a:pt x="385380" y="518904"/>
                      </a:lnTo>
                      <a:lnTo>
                        <a:pt x="385405" y="519244"/>
                      </a:lnTo>
                      <a:lnTo>
                        <a:pt x="385453" y="519572"/>
                      </a:lnTo>
                      <a:lnTo>
                        <a:pt x="385745" y="521296"/>
                      </a:lnTo>
                      <a:lnTo>
                        <a:pt x="385915" y="522244"/>
                      </a:lnTo>
                      <a:lnTo>
                        <a:pt x="386352" y="523081"/>
                      </a:lnTo>
                      <a:lnTo>
                        <a:pt x="387105" y="524514"/>
                      </a:lnTo>
                      <a:lnTo>
                        <a:pt x="387396" y="525073"/>
                      </a:lnTo>
                      <a:lnTo>
                        <a:pt x="386765" y="525595"/>
                      </a:lnTo>
                      <a:lnTo>
                        <a:pt x="385380" y="526761"/>
                      </a:lnTo>
                      <a:lnTo>
                        <a:pt x="384846" y="528485"/>
                      </a:lnTo>
                      <a:lnTo>
                        <a:pt x="384263" y="530379"/>
                      </a:lnTo>
                      <a:lnTo>
                        <a:pt x="383401" y="533233"/>
                      </a:lnTo>
                      <a:lnTo>
                        <a:pt x="385125" y="535662"/>
                      </a:lnTo>
                      <a:lnTo>
                        <a:pt x="385817" y="536633"/>
                      </a:lnTo>
                      <a:lnTo>
                        <a:pt x="386036" y="536924"/>
                      </a:lnTo>
                      <a:lnTo>
                        <a:pt x="385356" y="537082"/>
                      </a:lnTo>
                      <a:lnTo>
                        <a:pt x="383960" y="537119"/>
                      </a:lnTo>
                      <a:lnTo>
                        <a:pt x="383183" y="536961"/>
                      </a:lnTo>
                      <a:lnTo>
                        <a:pt x="382138" y="536451"/>
                      </a:lnTo>
                      <a:lnTo>
                        <a:pt x="380863" y="535613"/>
                      </a:lnTo>
                      <a:lnTo>
                        <a:pt x="380547" y="535394"/>
                      </a:lnTo>
                      <a:lnTo>
                        <a:pt x="380183" y="535224"/>
                      </a:lnTo>
                      <a:lnTo>
                        <a:pt x="378240" y="534277"/>
                      </a:lnTo>
                      <a:lnTo>
                        <a:pt x="377852" y="534083"/>
                      </a:lnTo>
                      <a:lnTo>
                        <a:pt x="377439" y="533949"/>
                      </a:lnTo>
                      <a:lnTo>
                        <a:pt x="375423" y="533306"/>
                      </a:lnTo>
                      <a:lnTo>
                        <a:pt x="374877" y="533124"/>
                      </a:lnTo>
                      <a:lnTo>
                        <a:pt x="374306" y="533051"/>
                      </a:lnTo>
                      <a:lnTo>
                        <a:pt x="371610" y="532723"/>
                      </a:lnTo>
                      <a:lnTo>
                        <a:pt x="370566" y="532602"/>
                      </a:lnTo>
                      <a:lnTo>
                        <a:pt x="369546" y="532832"/>
                      </a:lnTo>
                      <a:lnTo>
                        <a:pt x="367652" y="533257"/>
                      </a:lnTo>
                      <a:lnTo>
                        <a:pt x="366037" y="533622"/>
                      </a:lnTo>
                      <a:lnTo>
                        <a:pt x="364823" y="534751"/>
                      </a:lnTo>
                      <a:lnTo>
                        <a:pt x="363547" y="535953"/>
                      </a:lnTo>
                      <a:lnTo>
                        <a:pt x="360924" y="538406"/>
                      </a:lnTo>
                      <a:lnTo>
                        <a:pt x="361811" y="541891"/>
                      </a:lnTo>
                      <a:lnTo>
                        <a:pt x="362114" y="543093"/>
                      </a:lnTo>
                      <a:lnTo>
                        <a:pt x="362600" y="544987"/>
                      </a:lnTo>
                      <a:lnTo>
                        <a:pt x="364094" y="546238"/>
                      </a:lnTo>
                      <a:lnTo>
                        <a:pt x="365466" y="547392"/>
                      </a:lnTo>
                      <a:lnTo>
                        <a:pt x="366462" y="548230"/>
                      </a:lnTo>
                      <a:lnTo>
                        <a:pt x="367724" y="548582"/>
                      </a:lnTo>
                      <a:lnTo>
                        <a:pt x="368830" y="548885"/>
                      </a:lnTo>
                      <a:lnTo>
                        <a:pt x="368526" y="551520"/>
                      </a:lnTo>
                      <a:lnTo>
                        <a:pt x="368429" y="552310"/>
                      </a:lnTo>
                      <a:lnTo>
                        <a:pt x="368538" y="553099"/>
                      </a:lnTo>
                      <a:lnTo>
                        <a:pt x="368757" y="554568"/>
                      </a:lnTo>
                      <a:lnTo>
                        <a:pt x="368987" y="556086"/>
                      </a:lnTo>
                      <a:lnTo>
                        <a:pt x="369898" y="557324"/>
                      </a:lnTo>
                      <a:lnTo>
                        <a:pt x="370699" y="558393"/>
                      </a:lnTo>
                      <a:lnTo>
                        <a:pt x="370566" y="558648"/>
                      </a:lnTo>
                      <a:lnTo>
                        <a:pt x="370335" y="558964"/>
                      </a:lnTo>
                      <a:lnTo>
                        <a:pt x="369072" y="560166"/>
                      </a:lnTo>
                      <a:lnTo>
                        <a:pt x="368380" y="560834"/>
                      </a:lnTo>
                      <a:lnTo>
                        <a:pt x="367919" y="561672"/>
                      </a:lnTo>
                      <a:lnTo>
                        <a:pt x="367117" y="563165"/>
                      </a:lnTo>
                      <a:lnTo>
                        <a:pt x="366535" y="564246"/>
                      </a:lnTo>
                      <a:lnTo>
                        <a:pt x="366413" y="565472"/>
                      </a:lnTo>
                      <a:lnTo>
                        <a:pt x="366243" y="567233"/>
                      </a:lnTo>
                      <a:lnTo>
                        <a:pt x="366134" y="568423"/>
                      </a:lnTo>
                      <a:lnTo>
                        <a:pt x="366474" y="569565"/>
                      </a:lnTo>
                      <a:lnTo>
                        <a:pt x="366899" y="570973"/>
                      </a:lnTo>
                      <a:lnTo>
                        <a:pt x="366972" y="571459"/>
                      </a:lnTo>
                      <a:lnTo>
                        <a:pt x="366595" y="572977"/>
                      </a:lnTo>
                      <a:lnTo>
                        <a:pt x="359237" y="588714"/>
                      </a:lnTo>
                      <a:lnTo>
                        <a:pt x="357609" y="590924"/>
                      </a:lnTo>
                      <a:lnTo>
                        <a:pt x="352862" y="594652"/>
                      </a:lnTo>
                      <a:lnTo>
                        <a:pt x="349267" y="597068"/>
                      </a:lnTo>
                      <a:lnTo>
                        <a:pt x="347822" y="597445"/>
                      </a:lnTo>
                      <a:lnTo>
                        <a:pt x="347495" y="597530"/>
                      </a:lnTo>
                      <a:lnTo>
                        <a:pt x="347191" y="597651"/>
                      </a:lnTo>
                      <a:lnTo>
                        <a:pt x="343159" y="599169"/>
                      </a:lnTo>
                      <a:lnTo>
                        <a:pt x="341617" y="599740"/>
                      </a:lnTo>
                      <a:lnTo>
                        <a:pt x="340585" y="601003"/>
                      </a:lnTo>
                      <a:lnTo>
                        <a:pt x="339152" y="602763"/>
                      </a:lnTo>
                      <a:lnTo>
                        <a:pt x="338144" y="604002"/>
                      </a:lnTo>
                      <a:lnTo>
                        <a:pt x="337877" y="605581"/>
                      </a:lnTo>
                      <a:lnTo>
                        <a:pt x="337549" y="607535"/>
                      </a:lnTo>
                      <a:lnTo>
                        <a:pt x="337403" y="608361"/>
                      </a:lnTo>
                      <a:lnTo>
                        <a:pt x="337501" y="609199"/>
                      </a:lnTo>
                      <a:lnTo>
                        <a:pt x="337695" y="610984"/>
                      </a:lnTo>
                      <a:lnTo>
                        <a:pt x="337695" y="612623"/>
                      </a:lnTo>
                      <a:lnTo>
                        <a:pt x="337695" y="613121"/>
                      </a:lnTo>
                      <a:lnTo>
                        <a:pt x="337780" y="613619"/>
                      </a:lnTo>
                      <a:lnTo>
                        <a:pt x="338023" y="615064"/>
                      </a:lnTo>
                      <a:lnTo>
                        <a:pt x="338266" y="616534"/>
                      </a:lnTo>
                      <a:lnTo>
                        <a:pt x="336396" y="617165"/>
                      </a:lnTo>
                      <a:lnTo>
                        <a:pt x="334247" y="617881"/>
                      </a:lnTo>
                      <a:lnTo>
                        <a:pt x="333093" y="619824"/>
                      </a:lnTo>
                      <a:lnTo>
                        <a:pt x="332194" y="621342"/>
                      </a:lnTo>
                      <a:lnTo>
                        <a:pt x="331514" y="622483"/>
                      </a:lnTo>
                      <a:lnTo>
                        <a:pt x="331369" y="623795"/>
                      </a:lnTo>
                      <a:lnTo>
                        <a:pt x="330992" y="627365"/>
                      </a:lnTo>
                      <a:lnTo>
                        <a:pt x="330798" y="627875"/>
                      </a:lnTo>
                      <a:lnTo>
                        <a:pt x="330434" y="627535"/>
                      </a:lnTo>
                      <a:lnTo>
                        <a:pt x="329766" y="626916"/>
                      </a:lnTo>
                      <a:lnTo>
                        <a:pt x="328952" y="626515"/>
                      </a:lnTo>
                      <a:lnTo>
                        <a:pt x="326596" y="625349"/>
                      </a:lnTo>
                      <a:lnTo>
                        <a:pt x="325710" y="624912"/>
                      </a:lnTo>
                      <a:lnTo>
                        <a:pt x="324714" y="624779"/>
                      </a:lnTo>
                      <a:lnTo>
                        <a:pt x="322698" y="624511"/>
                      </a:lnTo>
                      <a:lnTo>
                        <a:pt x="321630" y="624366"/>
                      </a:lnTo>
                      <a:lnTo>
                        <a:pt x="320574" y="624608"/>
                      </a:lnTo>
                      <a:lnTo>
                        <a:pt x="318910" y="624985"/>
                      </a:lnTo>
                      <a:lnTo>
                        <a:pt x="317769" y="625240"/>
                      </a:lnTo>
                      <a:lnTo>
                        <a:pt x="316821" y="625896"/>
                      </a:lnTo>
                      <a:lnTo>
                        <a:pt x="315085" y="627074"/>
                      </a:lnTo>
                      <a:lnTo>
                        <a:pt x="312960" y="628519"/>
                      </a:lnTo>
                      <a:lnTo>
                        <a:pt x="312523" y="631044"/>
                      </a:lnTo>
                      <a:lnTo>
                        <a:pt x="312243" y="632683"/>
                      </a:lnTo>
                      <a:lnTo>
                        <a:pt x="312037" y="633801"/>
                      </a:lnTo>
                      <a:lnTo>
                        <a:pt x="312268" y="634918"/>
                      </a:lnTo>
                      <a:lnTo>
                        <a:pt x="313106" y="639119"/>
                      </a:lnTo>
                      <a:lnTo>
                        <a:pt x="312790" y="641354"/>
                      </a:lnTo>
                      <a:lnTo>
                        <a:pt x="312705" y="641900"/>
                      </a:lnTo>
                      <a:lnTo>
                        <a:pt x="312729" y="642459"/>
                      </a:lnTo>
                      <a:lnTo>
                        <a:pt x="312887" y="646017"/>
                      </a:lnTo>
                      <a:lnTo>
                        <a:pt x="312025" y="646599"/>
                      </a:lnTo>
                      <a:lnTo>
                        <a:pt x="311430" y="647000"/>
                      </a:lnTo>
                      <a:lnTo>
                        <a:pt x="310944" y="647534"/>
                      </a:lnTo>
                      <a:lnTo>
                        <a:pt x="309948" y="648615"/>
                      </a:lnTo>
                      <a:lnTo>
                        <a:pt x="306816" y="647777"/>
                      </a:lnTo>
                      <a:lnTo>
                        <a:pt x="305990" y="647559"/>
                      </a:lnTo>
                      <a:lnTo>
                        <a:pt x="305128" y="647571"/>
                      </a:lnTo>
                      <a:lnTo>
                        <a:pt x="301279" y="647656"/>
                      </a:lnTo>
                      <a:lnTo>
                        <a:pt x="300210" y="647680"/>
                      </a:lnTo>
                      <a:lnTo>
                        <a:pt x="299226" y="648069"/>
                      </a:lnTo>
                      <a:lnTo>
                        <a:pt x="293507" y="650267"/>
                      </a:lnTo>
                      <a:lnTo>
                        <a:pt x="293155" y="648627"/>
                      </a:lnTo>
                      <a:lnTo>
                        <a:pt x="292924" y="647583"/>
                      </a:lnTo>
                      <a:lnTo>
                        <a:pt x="292353" y="646672"/>
                      </a:lnTo>
                      <a:lnTo>
                        <a:pt x="291309" y="645009"/>
                      </a:lnTo>
                      <a:lnTo>
                        <a:pt x="290763" y="644122"/>
                      </a:lnTo>
                      <a:lnTo>
                        <a:pt x="289949" y="643479"/>
                      </a:lnTo>
                      <a:lnTo>
                        <a:pt x="288650" y="642446"/>
                      </a:lnTo>
                      <a:lnTo>
                        <a:pt x="287205" y="641305"/>
                      </a:lnTo>
                      <a:lnTo>
                        <a:pt x="285383" y="641147"/>
                      </a:lnTo>
                      <a:lnTo>
                        <a:pt x="284011" y="641038"/>
                      </a:lnTo>
                      <a:lnTo>
                        <a:pt x="283076" y="640965"/>
                      </a:lnTo>
                      <a:lnTo>
                        <a:pt x="282165" y="641184"/>
                      </a:lnTo>
                      <a:lnTo>
                        <a:pt x="273374" y="643187"/>
                      </a:lnTo>
                      <a:lnTo>
                        <a:pt x="273046" y="643260"/>
                      </a:lnTo>
                      <a:lnTo>
                        <a:pt x="272743" y="643369"/>
                      </a:lnTo>
                      <a:lnTo>
                        <a:pt x="269112" y="644632"/>
                      </a:lnTo>
                      <a:lnTo>
                        <a:pt x="268092" y="644984"/>
                      </a:lnTo>
                      <a:lnTo>
                        <a:pt x="267254" y="645664"/>
                      </a:lnTo>
                      <a:lnTo>
                        <a:pt x="265639" y="646988"/>
                      </a:lnTo>
                      <a:lnTo>
                        <a:pt x="263878" y="648433"/>
                      </a:lnTo>
                      <a:lnTo>
                        <a:pt x="263502" y="650679"/>
                      </a:lnTo>
                      <a:lnTo>
                        <a:pt x="263283" y="651942"/>
                      </a:lnTo>
                      <a:lnTo>
                        <a:pt x="262895" y="654262"/>
                      </a:lnTo>
                      <a:lnTo>
                        <a:pt x="264157" y="656241"/>
                      </a:lnTo>
                      <a:lnTo>
                        <a:pt x="265190" y="657844"/>
                      </a:lnTo>
                      <a:lnTo>
                        <a:pt x="265639" y="658548"/>
                      </a:lnTo>
                      <a:lnTo>
                        <a:pt x="266258" y="659094"/>
                      </a:lnTo>
                      <a:lnTo>
                        <a:pt x="268092" y="660734"/>
                      </a:lnTo>
                      <a:lnTo>
                        <a:pt x="268250" y="661839"/>
                      </a:lnTo>
                      <a:lnTo>
                        <a:pt x="268444" y="663114"/>
                      </a:lnTo>
                      <a:lnTo>
                        <a:pt x="269136" y="664207"/>
                      </a:lnTo>
                      <a:lnTo>
                        <a:pt x="269925" y="665470"/>
                      </a:lnTo>
                      <a:lnTo>
                        <a:pt x="270472" y="666356"/>
                      </a:lnTo>
                      <a:lnTo>
                        <a:pt x="271285" y="666999"/>
                      </a:lnTo>
                      <a:lnTo>
                        <a:pt x="274030" y="669161"/>
                      </a:lnTo>
                      <a:lnTo>
                        <a:pt x="274175" y="669404"/>
                      </a:lnTo>
                      <a:lnTo>
                        <a:pt x="274273" y="670047"/>
                      </a:lnTo>
                      <a:lnTo>
                        <a:pt x="274248" y="670193"/>
                      </a:lnTo>
                      <a:lnTo>
                        <a:pt x="272706" y="670181"/>
                      </a:lnTo>
                      <a:lnTo>
                        <a:pt x="270982" y="671638"/>
                      </a:lnTo>
                      <a:lnTo>
                        <a:pt x="269962" y="672500"/>
                      </a:lnTo>
                      <a:lnTo>
                        <a:pt x="268638" y="673617"/>
                      </a:lnTo>
                      <a:lnTo>
                        <a:pt x="268104" y="675269"/>
                      </a:lnTo>
                      <a:lnTo>
                        <a:pt x="267582" y="676872"/>
                      </a:lnTo>
                      <a:lnTo>
                        <a:pt x="267266" y="677867"/>
                      </a:lnTo>
                      <a:lnTo>
                        <a:pt x="267290" y="678657"/>
                      </a:lnTo>
                      <a:lnTo>
                        <a:pt x="267193" y="678632"/>
                      </a:lnTo>
                      <a:lnTo>
                        <a:pt x="265590" y="678147"/>
                      </a:lnTo>
                      <a:lnTo>
                        <a:pt x="265153" y="678013"/>
                      </a:lnTo>
                      <a:lnTo>
                        <a:pt x="264692" y="677952"/>
                      </a:lnTo>
                      <a:lnTo>
                        <a:pt x="263089" y="677710"/>
                      </a:lnTo>
                      <a:lnTo>
                        <a:pt x="259568" y="676702"/>
                      </a:lnTo>
                      <a:lnTo>
                        <a:pt x="259191" y="676605"/>
                      </a:lnTo>
                      <a:lnTo>
                        <a:pt x="258815" y="676544"/>
                      </a:lnTo>
                      <a:lnTo>
                        <a:pt x="256750" y="676228"/>
                      </a:lnTo>
                      <a:lnTo>
                        <a:pt x="255657" y="676058"/>
                      </a:lnTo>
                      <a:lnTo>
                        <a:pt x="254577" y="676289"/>
                      </a:lnTo>
                      <a:lnTo>
                        <a:pt x="252804" y="676665"/>
                      </a:lnTo>
                      <a:lnTo>
                        <a:pt x="251092" y="677030"/>
                      </a:lnTo>
                      <a:lnTo>
                        <a:pt x="249841" y="678244"/>
                      </a:lnTo>
                      <a:lnTo>
                        <a:pt x="248857" y="679191"/>
                      </a:lnTo>
                      <a:lnTo>
                        <a:pt x="247813" y="680199"/>
                      </a:lnTo>
                      <a:lnTo>
                        <a:pt x="247339" y="681559"/>
                      </a:lnTo>
                      <a:lnTo>
                        <a:pt x="246951" y="682676"/>
                      </a:lnTo>
                      <a:lnTo>
                        <a:pt x="246344" y="684400"/>
                      </a:lnTo>
                      <a:lnTo>
                        <a:pt x="246781" y="686173"/>
                      </a:lnTo>
                      <a:lnTo>
                        <a:pt x="247182" y="687727"/>
                      </a:lnTo>
                      <a:lnTo>
                        <a:pt x="247534" y="689148"/>
                      </a:lnTo>
                      <a:lnTo>
                        <a:pt x="248505" y="690253"/>
                      </a:lnTo>
                      <a:lnTo>
                        <a:pt x="248760" y="690545"/>
                      </a:lnTo>
                      <a:lnTo>
                        <a:pt x="243915" y="689367"/>
                      </a:lnTo>
                      <a:lnTo>
                        <a:pt x="240649" y="687800"/>
                      </a:lnTo>
                      <a:lnTo>
                        <a:pt x="237783" y="685736"/>
                      </a:lnTo>
                      <a:lnTo>
                        <a:pt x="234116" y="682032"/>
                      </a:lnTo>
                      <a:lnTo>
                        <a:pt x="233072" y="680976"/>
                      </a:lnTo>
                      <a:lnTo>
                        <a:pt x="231663" y="680515"/>
                      </a:lnTo>
                      <a:lnTo>
                        <a:pt x="230230" y="680053"/>
                      </a:lnTo>
                      <a:lnTo>
                        <a:pt x="229368" y="679786"/>
                      </a:lnTo>
                      <a:lnTo>
                        <a:pt x="228469" y="679774"/>
                      </a:lnTo>
                      <a:lnTo>
                        <a:pt x="226283" y="679737"/>
                      </a:lnTo>
                      <a:lnTo>
                        <a:pt x="224839" y="679555"/>
                      </a:lnTo>
                      <a:lnTo>
                        <a:pt x="222179" y="678329"/>
                      </a:lnTo>
                      <a:lnTo>
                        <a:pt x="212926" y="672099"/>
                      </a:lnTo>
                      <a:lnTo>
                        <a:pt x="212331" y="671699"/>
                      </a:lnTo>
                      <a:lnTo>
                        <a:pt x="211651" y="671444"/>
                      </a:lnTo>
                      <a:lnTo>
                        <a:pt x="208361" y="670217"/>
                      </a:lnTo>
                      <a:lnTo>
                        <a:pt x="207608" y="669938"/>
                      </a:lnTo>
                      <a:lnTo>
                        <a:pt x="206818" y="669865"/>
                      </a:lnTo>
                      <a:lnTo>
                        <a:pt x="204426" y="669634"/>
                      </a:lnTo>
                      <a:lnTo>
                        <a:pt x="202216" y="669416"/>
                      </a:lnTo>
                      <a:lnTo>
                        <a:pt x="200395" y="670679"/>
                      </a:lnTo>
                      <a:lnTo>
                        <a:pt x="199023" y="671626"/>
                      </a:lnTo>
                      <a:lnTo>
                        <a:pt x="198294" y="672136"/>
                      </a:lnTo>
                      <a:lnTo>
                        <a:pt x="197736" y="672828"/>
                      </a:lnTo>
                      <a:lnTo>
                        <a:pt x="196752" y="674055"/>
                      </a:lnTo>
                      <a:lnTo>
                        <a:pt x="196230" y="674710"/>
                      </a:lnTo>
                      <a:lnTo>
                        <a:pt x="195902" y="675475"/>
                      </a:lnTo>
                      <a:lnTo>
                        <a:pt x="195331" y="676811"/>
                      </a:lnTo>
                      <a:lnTo>
                        <a:pt x="195125" y="677297"/>
                      </a:lnTo>
                      <a:lnTo>
                        <a:pt x="195003" y="677807"/>
                      </a:lnTo>
                      <a:lnTo>
                        <a:pt x="194736" y="678972"/>
                      </a:lnTo>
                      <a:lnTo>
                        <a:pt x="194688" y="679094"/>
                      </a:lnTo>
                      <a:lnTo>
                        <a:pt x="193874" y="680114"/>
                      </a:lnTo>
                      <a:lnTo>
                        <a:pt x="191045" y="682057"/>
                      </a:lnTo>
                      <a:lnTo>
                        <a:pt x="190158" y="682664"/>
                      </a:lnTo>
                      <a:lnTo>
                        <a:pt x="189539" y="683538"/>
                      </a:lnTo>
                      <a:lnTo>
                        <a:pt x="188568" y="684910"/>
                      </a:lnTo>
                      <a:lnTo>
                        <a:pt x="188349" y="685202"/>
                      </a:lnTo>
                      <a:lnTo>
                        <a:pt x="188179" y="685518"/>
                      </a:lnTo>
                      <a:lnTo>
                        <a:pt x="186868" y="687922"/>
                      </a:lnTo>
                      <a:lnTo>
                        <a:pt x="186515" y="688565"/>
                      </a:lnTo>
                      <a:lnTo>
                        <a:pt x="186321" y="689282"/>
                      </a:lnTo>
                      <a:lnTo>
                        <a:pt x="185338" y="692985"/>
                      </a:lnTo>
                      <a:lnTo>
                        <a:pt x="185083" y="693920"/>
                      </a:lnTo>
                      <a:lnTo>
                        <a:pt x="185143" y="694880"/>
                      </a:lnTo>
                      <a:lnTo>
                        <a:pt x="185204" y="695973"/>
                      </a:lnTo>
                      <a:lnTo>
                        <a:pt x="185228" y="696361"/>
                      </a:lnTo>
                      <a:lnTo>
                        <a:pt x="185301" y="696738"/>
                      </a:lnTo>
                      <a:lnTo>
                        <a:pt x="185532" y="697964"/>
                      </a:lnTo>
                      <a:lnTo>
                        <a:pt x="185653" y="698632"/>
                      </a:lnTo>
                      <a:lnTo>
                        <a:pt x="185921" y="699263"/>
                      </a:lnTo>
                      <a:lnTo>
                        <a:pt x="186661" y="700963"/>
                      </a:lnTo>
                      <a:lnTo>
                        <a:pt x="187353" y="703210"/>
                      </a:lnTo>
                      <a:lnTo>
                        <a:pt x="186977" y="705748"/>
                      </a:lnTo>
                      <a:lnTo>
                        <a:pt x="185580" y="707763"/>
                      </a:lnTo>
                      <a:lnTo>
                        <a:pt x="181282" y="709135"/>
                      </a:lnTo>
                      <a:lnTo>
                        <a:pt x="159619" y="712596"/>
                      </a:lnTo>
                      <a:lnTo>
                        <a:pt x="159145" y="712669"/>
                      </a:lnTo>
                      <a:lnTo>
                        <a:pt x="158684" y="712815"/>
                      </a:lnTo>
                      <a:lnTo>
                        <a:pt x="146844" y="716701"/>
                      </a:lnTo>
                      <a:lnTo>
                        <a:pt x="146553" y="716798"/>
                      </a:lnTo>
                      <a:lnTo>
                        <a:pt x="146274" y="716931"/>
                      </a:lnTo>
                      <a:lnTo>
                        <a:pt x="139073" y="720149"/>
                      </a:lnTo>
                      <a:lnTo>
                        <a:pt x="123773" y="724302"/>
                      </a:lnTo>
                      <a:lnTo>
                        <a:pt x="123214" y="724448"/>
                      </a:lnTo>
                      <a:lnTo>
                        <a:pt x="122704" y="724703"/>
                      </a:lnTo>
                      <a:lnTo>
                        <a:pt x="113706" y="729074"/>
                      </a:lnTo>
                      <a:lnTo>
                        <a:pt x="113403" y="729232"/>
                      </a:lnTo>
                      <a:lnTo>
                        <a:pt x="113112" y="729414"/>
                      </a:lnTo>
                      <a:lnTo>
                        <a:pt x="107356" y="733081"/>
                      </a:lnTo>
                      <a:lnTo>
                        <a:pt x="106955" y="733336"/>
                      </a:lnTo>
                      <a:lnTo>
                        <a:pt x="106603" y="733652"/>
                      </a:lnTo>
                      <a:lnTo>
                        <a:pt x="103033" y="736809"/>
                      </a:lnTo>
                      <a:lnTo>
                        <a:pt x="102681" y="737125"/>
                      </a:lnTo>
                      <a:lnTo>
                        <a:pt x="102389" y="737477"/>
                      </a:lnTo>
                      <a:lnTo>
                        <a:pt x="100058" y="740294"/>
                      </a:lnTo>
                      <a:lnTo>
                        <a:pt x="99451" y="741023"/>
                      </a:lnTo>
                      <a:lnTo>
                        <a:pt x="99098" y="741897"/>
                      </a:lnTo>
                      <a:lnTo>
                        <a:pt x="97994" y="744629"/>
                      </a:lnTo>
                      <a:lnTo>
                        <a:pt x="97702" y="745382"/>
                      </a:lnTo>
                      <a:lnTo>
                        <a:pt x="97593" y="746196"/>
                      </a:lnTo>
                      <a:lnTo>
                        <a:pt x="97338" y="748515"/>
                      </a:lnTo>
                      <a:lnTo>
                        <a:pt x="97277" y="748928"/>
                      </a:lnTo>
                      <a:lnTo>
                        <a:pt x="97289" y="749341"/>
                      </a:lnTo>
                      <a:lnTo>
                        <a:pt x="97338" y="751429"/>
                      </a:lnTo>
                      <a:lnTo>
                        <a:pt x="97204" y="752680"/>
                      </a:lnTo>
                      <a:lnTo>
                        <a:pt x="97034" y="753166"/>
                      </a:lnTo>
                      <a:lnTo>
                        <a:pt x="96973" y="753202"/>
                      </a:lnTo>
                      <a:lnTo>
                        <a:pt x="96451" y="753906"/>
                      </a:lnTo>
                      <a:lnTo>
                        <a:pt x="96196" y="754125"/>
                      </a:lnTo>
                      <a:lnTo>
                        <a:pt x="95941" y="754344"/>
                      </a:lnTo>
                      <a:lnTo>
                        <a:pt x="95698" y="754599"/>
                      </a:lnTo>
                      <a:lnTo>
                        <a:pt x="94424" y="755922"/>
                      </a:lnTo>
                      <a:lnTo>
                        <a:pt x="92990" y="756797"/>
                      </a:lnTo>
                      <a:lnTo>
                        <a:pt x="92541" y="757064"/>
                      </a:lnTo>
                      <a:lnTo>
                        <a:pt x="92140" y="757416"/>
                      </a:lnTo>
                      <a:lnTo>
                        <a:pt x="87502" y="761459"/>
                      </a:lnTo>
                      <a:lnTo>
                        <a:pt x="83823" y="762759"/>
                      </a:lnTo>
                      <a:lnTo>
                        <a:pt x="83422" y="762759"/>
                      </a:lnTo>
                      <a:lnTo>
                        <a:pt x="83397" y="762759"/>
                      </a:lnTo>
                      <a:lnTo>
                        <a:pt x="82353" y="761484"/>
                      </a:lnTo>
                      <a:lnTo>
                        <a:pt x="81698" y="760670"/>
                      </a:lnTo>
                      <a:lnTo>
                        <a:pt x="80811" y="760124"/>
                      </a:lnTo>
                      <a:lnTo>
                        <a:pt x="77241" y="757938"/>
                      </a:lnTo>
                      <a:lnTo>
                        <a:pt x="76913" y="757731"/>
                      </a:lnTo>
                      <a:lnTo>
                        <a:pt x="76573" y="757574"/>
                      </a:lnTo>
                      <a:lnTo>
                        <a:pt x="71461" y="755279"/>
                      </a:lnTo>
                      <a:lnTo>
                        <a:pt x="69348" y="754526"/>
                      </a:lnTo>
                      <a:lnTo>
                        <a:pt x="68911" y="754368"/>
                      </a:lnTo>
                      <a:lnTo>
                        <a:pt x="70575" y="747313"/>
                      </a:lnTo>
                      <a:lnTo>
                        <a:pt x="70915" y="745831"/>
                      </a:lnTo>
                      <a:lnTo>
                        <a:pt x="70514" y="744362"/>
                      </a:lnTo>
                      <a:lnTo>
                        <a:pt x="69482" y="740525"/>
                      </a:lnTo>
                      <a:lnTo>
                        <a:pt x="68292" y="736117"/>
                      </a:lnTo>
                      <a:lnTo>
                        <a:pt x="63726" y="736032"/>
                      </a:lnTo>
                      <a:lnTo>
                        <a:pt x="59549" y="735959"/>
                      </a:lnTo>
                      <a:lnTo>
                        <a:pt x="53065" y="732098"/>
                      </a:lnTo>
                      <a:lnTo>
                        <a:pt x="52385" y="731697"/>
                      </a:lnTo>
                      <a:lnTo>
                        <a:pt x="51632" y="731478"/>
                      </a:lnTo>
                      <a:lnTo>
                        <a:pt x="48414" y="730556"/>
                      </a:lnTo>
                      <a:lnTo>
                        <a:pt x="47491" y="730289"/>
                      </a:lnTo>
                      <a:lnTo>
                        <a:pt x="46544" y="730325"/>
                      </a:lnTo>
                      <a:lnTo>
                        <a:pt x="43848" y="730410"/>
                      </a:lnTo>
                      <a:lnTo>
                        <a:pt x="42367" y="730446"/>
                      </a:lnTo>
                      <a:lnTo>
                        <a:pt x="41067" y="731175"/>
                      </a:lnTo>
                      <a:lnTo>
                        <a:pt x="39331" y="732146"/>
                      </a:lnTo>
                      <a:lnTo>
                        <a:pt x="38530" y="732608"/>
                      </a:lnTo>
                      <a:lnTo>
                        <a:pt x="37886" y="733288"/>
                      </a:lnTo>
                      <a:lnTo>
                        <a:pt x="36344" y="734927"/>
                      </a:lnTo>
                      <a:lnTo>
                        <a:pt x="35943" y="735364"/>
                      </a:lnTo>
                      <a:lnTo>
                        <a:pt x="35627" y="735862"/>
                      </a:lnTo>
                      <a:lnTo>
                        <a:pt x="34632" y="737453"/>
                      </a:lnTo>
                      <a:lnTo>
                        <a:pt x="34158" y="738206"/>
                      </a:lnTo>
                      <a:lnTo>
                        <a:pt x="33915" y="739068"/>
                      </a:lnTo>
                      <a:lnTo>
                        <a:pt x="33587" y="740270"/>
                      </a:lnTo>
                      <a:lnTo>
                        <a:pt x="33235" y="741569"/>
                      </a:lnTo>
                      <a:lnTo>
                        <a:pt x="33466" y="742905"/>
                      </a:lnTo>
                      <a:lnTo>
                        <a:pt x="33709" y="744301"/>
                      </a:lnTo>
                      <a:lnTo>
                        <a:pt x="33806" y="744824"/>
                      </a:lnTo>
                      <a:lnTo>
                        <a:pt x="33988" y="745334"/>
                      </a:lnTo>
                      <a:lnTo>
                        <a:pt x="35566" y="749741"/>
                      </a:lnTo>
                      <a:lnTo>
                        <a:pt x="27965" y="751041"/>
                      </a:lnTo>
                      <a:lnTo>
                        <a:pt x="24274" y="751211"/>
                      </a:lnTo>
                      <a:lnTo>
                        <a:pt x="21529" y="751053"/>
                      </a:lnTo>
                      <a:lnTo>
                        <a:pt x="20789" y="751017"/>
                      </a:lnTo>
                      <a:lnTo>
                        <a:pt x="20048" y="751150"/>
                      </a:lnTo>
                      <a:lnTo>
                        <a:pt x="10018" y="753044"/>
                      </a:lnTo>
                      <a:lnTo>
                        <a:pt x="9144" y="753214"/>
                      </a:lnTo>
                      <a:lnTo>
                        <a:pt x="8342" y="753627"/>
                      </a:lnTo>
                      <a:lnTo>
                        <a:pt x="4505" y="755631"/>
                      </a:lnTo>
                      <a:lnTo>
                        <a:pt x="3497" y="756153"/>
                      </a:lnTo>
                      <a:lnTo>
                        <a:pt x="2744" y="757003"/>
                      </a:lnTo>
                      <a:lnTo>
                        <a:pt x="2101" y="757731"/>
                      </a:lnTo>
                      <a:lnTo>
                        <a:pt x="1263" y="758703"/>
                      </a:lnTo>
                      <a:lnTo>
                        <a:pt x="886" y="759929"/>
                      </a:lnTo>
                      <a:lnTo>
                        <a:pt x="316" y="761739"/>
                      </a:lnTo>
                      <a:lnTo>
                        <a:pt x="0" y="762734"/>
                      </a:lnTo>
                      <a:lnTo>
                        <a:pt x="36" y="763779"/>
                      </a:lnTo>
                      <a:lnTo>
                        <a:pt x="158" y="767021"/>
                      </a:lnTo>
                      <a:lnTo>
                        <a:pt x="267" y="769899"/>
                      </a:lnTo>
                      <a:lnTo>
                        <a:pt x="2550" y="771635"/>
                      </a:lnTo>
                      <a:lnTo>
                        <a:pt x="3169" y="772109"/>
                      </a:lnTo>
                      <a:lnTo>
                        <a:pt x="3522" y="772643"/>
                      </a:lnTo>
                      <a:lnTo>
                        <a:pt x="4129" y="773991"/>
                      </a:lnTo>
                      <a:lnTo>
                        <a:pt x="4760" y="775399"/>
                      </a:lnTo>
                      <a:lnTo>
                        <a:pt x="5986" y="776334"/>
                      </a:lnTo>
                      <a:lnTo>
                        <a:pt x="7079" y="777172"/>
                      </a:lnTo>
                      <a:lnTo>
                        <a:pt x="8901" y="778581"/>
                      </a:lnTo>
                      <a:lnTo>
                        <a:pt x="11196" y="778411"/>
                      </a:lnTo>
                      <a:lnTo>
                        <a:pt x="11864" y="778362"/>
                      </a:lnTo>
                      <a:lnTo>
                        <a:pt x="11839" y="778775"/>
                      </a:lnTo>
                      <a:lnTo>
                        <a:pt x="11511" y="782928"/>
                      </a:lnTo>
                      <a:lnTo>
                        <a:pt x="11293" y="783912"/>
                      </a:lnTo>
                      <a:lnTo>
                        <a:pt x="10929" y="784555"/>
                      </a:lnTo>
                      <a:lnTo>
                        <a:pt x="8391" y="787591"/>
                      </a:lnTo>
                      <a:lnTo>
                        <a:pt x="8148" y="787870"/>
                      </a:lnTo>
                      <a:lnTo>
                        <a:pt x="7941" y="788186"/>
                      </a:lnTo>
                      <a:lnTo>
                        <a:pt x="5088" y="792606"/>
                      </a:lnTo>
                      <a:lnTo>
                        <a:pt x="4833" y="792995"/>
                      </a:lnTo>
                      <a:lnTo>
                        <a:pt x="4638" y="793407"/>
                      </a:lnTo>
                      <a:lnTo>
                        <a:pt x="2501" y="798143"/>
                      </a:lnTo>
                      <a:lnTo>
                        <a:pt x="2137" y="798957"/>
                      </a:lnTo>
                      <a:lnTo>
                        <a:pt x="2016" y="799843"/>
                      </a:lnTo>
                      <a:lnTo>
                        <a:pt x="1433" y="804239"/>
                      </a:lnTo>
                      <a:lnTo>
                        <a:pt x="1202" y="805951"/>
                      </a:lnTo>
                      <a:lnTo>
                        <a:pt x="1918" y="807530"/>
                      </a:lnTo>
                      <a:lnTo>
                        <a:pt x="3704" y="811513"/>
                      </a:lnTo>
                      <a:lnTo>
                        <a:pt x="4165" y="812533"/>
                      </a:lnTo>
                      <a:lnTo>
                        <a:pt x="4954" y="813322"/>
                      </a:lnTo>
                      <a:lnTo>
                        <a:pt x="9836" y="818179"/>
                      </a:lnTo>
                      <a:lnTo>
                        <a:pt x="10589" y="820705"/>
                      </a:lnTo>
                      <a:lnTo>
                        <a:pt x="10941" y="822684"/>
                      </a:lnTo>
                      <a:lnTo>
                        <a:pt x="11086" y="823449"/>
                      </a:lnTo>
                      <a:lnTo>
                        <a:pt x="11402" y="824166"/>
                      </a:lnTo>
                      <a:lnTo>
                        <a:pt x="12373" y="826266"/>
                      </a:lnTo>
                      <a:lnTo>
                        <a:pt x="12750" y="827068"/>
                      </a:lnTo>
                      <a:lnTo>
                        <a:pt x="13333" y="827736"/>
                      </a:lnTo>
                      <a:lnTo>
                        <a:pt x="13916" y="828391"/>
                      </a:lnTo>
                      <a:lnTo>
                        <a:pt x="16502" y="831318"/>
                      </a:lnTo>
                      <a:lnTo>
                        <a:pt x="20242" y="830188"/>
                      </a:lnTo>
                      <a:lnTo>
                        <a:pt x="22416" y="829533"/>
                      </a:lnTo>
                      <a:lnTo>
                        <a:pt x="29398" y="827104"/>
                      </a:lnTo>
                      <a:lnTo>
                        <a:pt x="31074" y="827226"/>
                      </a:lnTo>
                      <a:lnTo>
                        <a:pt x="34025" y="827784"/>
                      </a:lnTo>
                      <a:lnTo>
                        <a:pt x="36477" y="829120"/>
                      </a:lnTo>
                      <a:lnTo>
                        <a:pt x="39137" y="831038"/>
                      </a:lnTo>
                      <a:lnTo>
                        <a:pt x="61686" y="855203"/>
                      </a:lnTo>
                      <a:lnTo>
                        <a:pt x="61917" y="855446"/>
                      </a:lnTo>
                      <a:lnTo>
                        <a:pt x="62172" y="855664"/>
                      </a:lnTo>
                      <a:lnTo>
                        <a:pt x="66094" y="859052"/>
                      </a:lnTo>
                      <a:lnTo>
                        <a:pt x="66883" y="859744"/>
                      </a:lnTo>
                      <a:lnTo>
                        <a:pt x="67867" y="860121"/>
                      </a:lnTo>
                      <a:lnTo>
                        <a:pt x="70623" y="861177"/>
                      </a:lnTo>
                      <a:lnTo>
                        <a:pt x="72105" y="861748"/>
                      </a:lnTo>
                      <a:lnTo>
                        <a:pt x="73683" y="861517"/>
                      </a:lnTo>
                      <a:lnTo>
                        <a:pt x="76440" y="861117"/>
                      </a:lnTo>
                      <a:lnTo>
                        <a:pt x="77241" y="860995"/>
                      </a:lnTo>
                      <a:lnTo>
                        <a:pt x="77994" y="860667"/>
                      </a:lnTo>
                      <a:lnTo>
                        <a:pt x="80750" y="859465"/>
                      </a:lnTo>
                      <a:lnTo>
                        <a:pt x="81151" y="859295"/>
                      </a:lnTo>
                      <a:lnTo>
                        <a:pt x="81503" y="859064"/>
                      </a:lnTo>
                      <a:lnTo>
                        <a:pt x="81977" y="858773"/>
                      </a:lnTo>
                      <a:lnTo>
                        <a:pt x="87587" y="858797"/>
                      </a:lnTo>
                      <a:lnTo>
                        <a:pt x="96998" y="860861"/>
                      </a:lnTo>
                      <a:lnTo>
                        <a:pt x="97544" y="860983"/>
                      </a:lnTo>
                      <a:lnTo>
                        <a:pt x="98103" y="860995"/>
                      </a:lnTo>
                      <a:lnTo>
                        <a:pt x="115212" y="861578"/>
                      </a:lnTo>
                      <a:lnTo>
                        <a:pt x="113366" y="863072"/>
                      </a:lnTo>
                      <a:lnTo>
                        <a:pt x="112395" y="863861"/>
                      </a:lnTo>
                      <a:lnTo>
                        <a:pt x="111800" y="864978"/>
                      </a:lnTo>
                      <a:lnTo>
                        <a:pt x="111011" y="866496"/>
                      </a:lnTo>
                      <a:lnTo>
                        <a:pt x="110367" y="867734"/>
                      </a:lnTo>
                      <a:lnTo>
                        <a:pt x="110318" y="869131"/>
                      </a:lnTo>
                      <a:lnTo>
                        <a:pt x="110258" y="871037"/>
                      </a:lnTo>
                      <a:lnTo>
                        <a:pt x="110234" y="872094"/>
                      </a:lnTo>
                      <a:lnTo>
                        <a:pt x="110549" y="873102"/>
                      </a:lnTo>
                      <a:lnTo>
                        <a:pt x="111023" y="874571"/>
                      </a:lnTo>
                      <a:lnTo>
                        <a:pt x="111035" y="874668"/>
                      </a:lnTo>
                      <a:lnTo>
                        <a:pt x="110817" y="875421"/>
                      </a:lnTo>
                      <a:lnTo>
                        <a:pt x="109141" y="879428"/>
                      </a:lnTo>
                      <a:lnTo>
                        <a:pt x="108813" y="880229"/>
                      </a:lnTo>
                      <a:lnTo>
                        <a:pt x="108716" y="881092"/>
                      </a:lnTo>
                      <a:lnTo>
                        <a:pt x="108497" y="883047"/>
                      </a:lnTo>
                      <a:lnTo>
                        <a:pt x="108351" y="887819"/>
                      </a:lnTo>
                      <a:lnTo>
                        <a:pt x="107392" y="892542"/>
                      </a:lnTo>
                      <a:lnTo>
                        <a:pt x="107331" y="892894"/>
                      </a:lnTo>
                      <a:lnTo>
                        <a:pt x="107319" y="893247"/>
                      </a:lnTo>
                      <a:lnTo>
                        <a:pt x="107186" y="895894"/>
                      </a:lnTo>
                      <a:lnTo>
                        <a:pt x="107149" y="896865"/>
                      </a:lnTo>
                      <a:lnTo>
                        <a:pt x="107404" y="897800"/>
                      </a:lnTo>
                      <a:lnTo>
                        <a:pt x="108194" y="900642"/>
                      </a:lnTo>
                      <a:lnTo>
                        <a:pt x="108728" y="902560"/>
                      </a:lnTo>
                      <a:lnTo>
                        <a:pt x="110306" y="903787"/>
                      </a:lnTo>
                      <a:lnTo>
                        <a:pt x="120300" y="911595"/>
                      </a:lnTo>
                      <a:lnTo>
                        <a:pt x="121539" y="912566"/>
                      </a:lnTo>
                      <a:lnTo>
                        <a:pt x="123093" y="912809"/>
                      </a:lnTo>
                      <a:lnTo>
                        <a:pt x="126323" y="913319"/>
                      </a:lnTo>
                      <a:lnTo>
                        <a:pt x="126724" y="913380"/>
                      </a:lnTo>
                      <a:lnTo>
                        <a:pt x="127112" y="913392"/>
                      </a:lnTo>
                      <a:lnTo>
                        <a:pt x="129505" y="913453"/>
                      </a:lnTo>
                      <a:lnTo>
                        <a:pt x="130172" y="913465"/>
                      </a:lnTo>
                      <a:lnTo>
                        <a:pt x="130828" y="913331"/>
                      </a:lnTo>
                      <a:lnTo>
                        <a:pt x="131071" y="913282"/>
                      </a:lnTo>
                      <a:lnTo>
                        <a:pt x="134107" y="914982"/>
                      </a:lnTo>
                      <a:lnTo>
                        <a:pt x="143602" y="922790"/>
                      </a:lnTo>
                      <a:lnTo>
                        <a:pt x="144707" y="930003"/>
                      </a:lnTo>
                      <a:lnTo>
                        <a:pt x="144841" y="930865"/>
                      </a:lnTo>
                      <a:lnTo>
                        <a:pt x="145205" y="931655"/>
                      </a:lnTo>
                      <a:lnTo>
                        <a:pt x="146456" y="934326"/>
                      </a:lnTo>
                      <a:lnTo>
                        <a:pt x="146650" y="934727"/>
                      </a:lnTo>
                      <a:lnTo>
                        <a:pt x="146893" y="935104"/>
                      </a:lnTo>
                      <a:lnTo>
                        <a:pt x="148800" y="938006"/>
                      </a:lnTo>
                      <a:lnTo>
                        <a:pt x="149504" y="939050"/>
                      </a:lnTo>
                      <a:lnTo>
                        <a:pt x="150548" y="939742"/>
                      </a:lnTo>
                      <a:lnTo>
                        <a:pt x="153122" y="941430"/>
                      </a:lnTo>
                      <a:lnTo>
                        <a:pt x="153839" y="941904"/>
                      </a:lnTo>
                      <a:lnTo>
                        <a:pt x="154652" y="942158"/>
                      </a:lnTo>
                      <a:lnTo>
                        <a:pt x="157348" y="942996"/>
                      </a:lnTo>
                      <a:lnTo>
                        <a:pt x="158174" y="943251"/>
                      </a:lnTo>
                      <a:lnTo>
                        <a:pt x="159048" y="943264"/>
                      </a:lnTo>
                      <a:lnTo>
                        <a:pt x="166844" y="943385"/>
                      </a:lnTo>
                      <a:lnTo>
                        <a:pt x="168398" y="943846"/>
                      </a:lnTo>
                      <a:lnTo>
                        <a:pt x="171616" y="945862"/>
                      </a:lnTo>
                      <a:lnTo>
                        <a:pt x="173243" y="947562"/>
                      </a:lnTo>
                      <a:lnTo>
                        <a:pt x="173571" y="948048"/>
                      </a:lnTo>
                      <a:lnTo>
                        <a:pt x="173304" y="948060"/>
                      </a:lnTo>
                      <a:lnTo>
                        <a:pt x="170402" y="948193"/>
                      </a:lnTo>
                      <a:lnTo>
                        <a:pt x="168690" y="950525"/>
                      </a:lnTo>
                      <a:lnTo>
                        <a:pt x="168168" y="951217"/>
                      </a:lnTo>
                      <a:lnTo>
                        <a:pt x="167682" y="951897"/>
                      </a:lnTo>
                      <a:lnTo>
                        <a:pt x="167208" y="952953"/>
                      </a:lnTo>
                      <a:lnTo>
                        <a:pt x="166978" y="953561"/>
                      </a:lnTo>
                      <a:lnTo>
                        <a:pt x="166808" y="954386"/>
                      </a:lnTo>
                      <a:lnTo>
                        <a:pt x="166710" y="954957"/>
                      </a:lnTo>
                      <a:lnTo>
                        <a:pt x="166686" y="955868"/>
                      </a:lnTo>
                      <a:lnTo>
                        <a:pt x="166735" y="956924"/>
                      </a:lnTo>
                      <a:lnTo>
                        <a:pt x="167026" y="959377"/>
                      </a:lnTo>
                      <a:lnTo>
                        <a:pt x="167099" y="959936"/>
                      </a:lnTo>
                      <a:lnTo>
                        <a:pt x="167281" y="960470"/>
                      </a:lnTo>
                      <a:lnTo>
                        <a:pt x="168143" y="963141"/>
                      </a:lnTo>
                      <a:lnTo>
                        <a:pt x="168374" y="963834"/>
                      </a:lnTo>
                      <a:lnTo>
                        <a:pt x="168738" y="964441"/>
                      </a:lnTo>
                      <a:lnTo>
                        <a:pt x="169637" y="965910"/>
                      </a:lnTo>
                      <a:lnTo>
                        <a:pt x="170098" y="966651"/>
                      </a:lnTo>
                      <a:lnTo>
                        <a:pt x="170742" y="967234"/>
                      </a:lnTo>
                      <a:lnTo>
                        <a:pt x="172005" y="968387"/>
                      </a:lnTo>
                      <a:lnTo>
                        <a:pt x="172624" y="968946"/>
                      </a:lnTo>
                      <a:lnTo>
                        <a:pt x="173377" y="969322"/>
                      </a:lnTo>
                      <a:lnTo>
                        <a:pt x="178780" y="972030"/>
                      </a:lnTo>
                      <a:lnTo>
                        <a:pt x="180274" y="973111"/>
                      </a:lnTo>
                      <a:lnTo>
                        <a:pt x="182010" y="975017"/>
                      </a:lnTo>
                      <a:lnTo>
                        <a:pt x="182472" y="976365"/>
                      </a:lnTo>
                      <a:lnTo>
                        <a:pt x="182776" y="982097"/>
                      </a:lnTo>
                      <a:lnTo>
                        <a:pt x="182812" y="982849"/>
                      </a:lnTo>
                      <a:lnTo>
                        <a:pt x="183043" y="983554"/>
                      </a:lnTo>
                      <a:lnTo>
                        <a:pt x="184075" y="986917"/>
                      </a:lnTo>
                      <a:lnTo>
                        <a:pt x="184548" y="988472"/>
                      </a:lnTo>
                      <a:lnTo>
                        <a:pt x="185726" y="989577"/>
                      </a:lnTo>
                      <a:lnTo>
                        <a:pt x="187681" y="991398"/>
                      </a:lnTo>
                      <a:lnTo>
                        <a:pt x="186200" y="991240"/>
                      </a:lnTo>
                      <a:lnTo>
                        <a:pt x="184791" y="991094"/>
                      </a:lnTo>
                      <a:lnTo>
                        <a:pt x="183480" y="991580"/>
                      </a:lnTo>
                      <a:lnTo>
                        <a:pt x="181986" y="992127"/>
                      </a:lnTo>
                      <a:lnTo>
                        <a:pt x="180116" y="992819"/>
                      </a:lnTo>
                      <a:lnTo>
                        <a:pt x="179011" y="994482"/>
                      </a:lnTo>
                      <a:lnTo>
                        <a:pt x="178161" y="995782"/>
                      </a:lnTo>
                      <a:lnTo>
                        <a:pt x="177032" y="997506"/>
                      </a:lnTo>
                      <a:lnTo>
                        <a:pt x="177141" y="999036"/>
                      </a:lnTo>
                      <a:lnTo>
                        <a:pt x="176461" y="999072"/>
                      </a:lnTo>
                      <a:lnTo>
                        <a:pt x="175502" y="999133"/>
                      </a:lnTo>
                      <a:lnTo>
                        <a:pt x="173280" y="999267"/>
                      </a:lnTo>
                      <a:lnTo>
                        <a:pt x="171677" y="1000797"/>
                      </a:lnTo>
                      <a:lnTo>
                        <a:pt x="171385" y="1001076"/>
                      </a:lnTo>
                      <a:lnTo>
                        <a:pt x="168811" y="1002497"/>
                      </a:lnTo>
                      <a:lnTo>
                        <a:pt x="168532" y="1002655"/>
                      </a:lnTo>
                      <a:lnTo>
                        <a:pt x="168277" y="1002837"/>
                      </a:lnTo>
                      <a:lnTo>
                        <a:pt x="165800" y="1004573"/>
                      </a:lnTo>
                      <a:lnTo>
                        <a:pt x="165375" y="1004865"/>
                      </a:lnTo>
                      <a:lnTo>
                        <a:pt x="165010" y="1005229"/>
                      </a:lnTo>
                      <a:lnTo>
                        <a:pt x="163760" y="1006468"/>
                      </a:lnTo>
                      <a:lnTo>
                        <a:pt x="160408" y="1009782"/>
                      </a:lnTo>
                      <a:lnTo>
                        <a:pt x="162788" y="1013850"/>
                      </a:lnTo>
                      <a:lnTo>
                        <a:pt x="166164" y="1019630"/>
                      </a:lnTo>
                      <a:lnTo>
                        <a:pt x="167062" y="1021173"/>
                      </a:lnTo>
                      <a:lnTo>
                        <a:pt x="168665" y="1021974"/>
                      </a:lnTo>
                      <a:lnTo>
                        <a:pt x="170681" y="1022994"/>
                      </a:lnTo>
                      <a:lnTo>
                        <a:pt x="171033" y="1023176"/>
                      </a:lnTo>
                      <a:lnTo>
                        <a:pt x="171410" y="1023310"/>
                      </a:lnTo>
                      <a:lnTo>
                        <a:pt x="174506" y="1024390"/>
                      </a:lnTo>
                      <a:lnTo>
                        <a:pt x="174822" y="1024512"/>
                      </a:lnTo>
                      <a:lnTo>
                        <a:pt x="175150" y="1024585"/>
                      </a:lnTo>
                      <a:lnTo>
                        <a:pt x="177918" y="1025228"/>
                      </a:lnTo>
                      <a:lnTo>
                        <a:pt x="179776" y="1025957"/>
                      </a:lnTo>
                      <a:lnTo>
                        <a:pt x="181780" y="1027730"/>
                      </a:lnTo>
                      <a:lnTo>
                        <a:pt x="182083" y="1027997"/>
                      </a:lnTo>
                      <a:lnTo>
                        <a:pt x="182411" y="1028240"/>
                      </a:lnTo>
                      <a:lnTo>
                        <a:pt x="192259" y="1034809"/>
                      </a:lnTo>
                      <a:lnTo>
                        <a:pt x="193304" y="1035513"/>
                      </a:lnTo>
                      <a:lnTo>
                        <a:pt x="194554" y="1035744"/>
                      </a:lnTo>
                      <a:lnTo>
                        <a:pt x="197250" y="1036230"/>
                      </a:lnTo>
                      <a:lnTo>
                        <a:pt x="198051" y="1036376"/>
                      </a:lnTo>
                      <a:lnTo>
                        <a:pt x="198865" y="1036303"/>
                      </a:lnTo>
                      <a:lnTo>
                        <a:pt x="200917" y="1036108"/>
                      </a:lnTo>
                      <a:lnTo>
                        <a:pt x="202824" y="1036205"/>
                      </a:lnTo>
                      <a:lnTo>
                        <a:pt x="204839" y="1036631"/>
                      </a:lnTo>
                      <a:lnTo>
                        <a:pt x="213400" y="1040164"/>
                      </a:lnTo>
                      <a:lnTo>
                        <a:pt x="217771" y="1042969"/>
                      </a:lnTo>
                      <a:lnTo>
                        <a:pt x="219945" y="1044827"/>
                      </a:lnTo>
                      <a:lnTo>
                        <a:pt x="220929" y="1046102"/>
                      </a:lnTo>
                      <a:lnTo>
                        <a:pt x="221086" y="1046393"/>
                      </a:lnTo>
                      <a:lnTo>
                        <a:pt x="221099" y="1046418"/>
                      </a:lnTo>
                      <a:lnTo>
                        <a:pt x="221633" y="1049429"/>
                      </a:lnTo>
                      <a:lnTo>
                        <a:pt x="221779" y="1051396"/>
                      </a:lnTo>
                      <a:lnTo>
                        <a:pt x="221779" y="1052149"/>
                      </a:lnTo>
                      <a:lnTo>
                        <a:pt x="219933" y="1056982"/>
                      </a:lnTo>
                      <a:lnTo>
                        <a:pt x="219399" y="1058415"/>
                      </a:lnTo>
                      <a:lnTo>
                        <a:pt x="219593" y="1059921"/>
                      </a:lnTo>
                      <a:lnTo>
                        <a:pt x="219981" y="1062920"/>
                      </a:lnTo>
                      <a:lnTo>
                        <a:pt x="220103" y="1063770"/>
                      </a:lnTo>
                      <a:lnTo>
                        <a:pt x="220443" y="1064559"/>
                      </a:lnTo>
                      <a:lnTo>
                        <a:pt x="222179" y="1068518"/>
                      </a:lnTo>
                      <a:lnTo>
                        <a:pt x="222544" y="1069356"/>
                      </a:lnTo>
                      <a:lnTo>
                        <a:pt x="223151" y="1070060"/>
                      </a:lnTo>
                      <a:lnTo>
                        <a:pt x="228081" y="1075755"/>
                      </a:lnTo>
                      <a:lnTo>
                        <a:pt x="229101" y="1076945"/>
                      </a:lnTo>
                      <a:lnTo>
                        <a:pt x="230570" y="1077479"/>
                      </a:lnTo>
                      <a:lnTo>
                        <a:pt x="233666" y="1078633"/>
                      </a:lnTo>
                      <a:lnTo>
                        <a:pt x="236010" y="1079483"/>
                      </a:lnTo>
                      <a:lnTo>
                        <a:pt x="238281" y="1078451"/>
                      </a:lnTo>
                      <a:lnTo>
                        <a:pt x="240418" y="1077479"/>
                      </a:lnTo>
                      <a:lnTo>
                        <a:pt x="242713" y="1076435"/>
                      </a:lnTo>
                      <a:lnTo>
                        <a:pt x="243587" y="1074067"/>
                      </a:lnTo>
                      <a:lnTo>
                        <a:pt x="244219" y="1072355"/>
                      </a:lnTo>
                      <a:lnTo>
                        <a:pt x="244389" y="1072076"/>
                      </a:lnTo>
                      <a:lnTo>
                        <a:pt x="245178" y="1071736"/>
                      </a:lnTo>
                      <a:lnTo>
                        <a:pt x="245651" y="1071529"/>
                      </a:lnTo>
                      <a:lnTo>
                        <a:pt x="246089" y="1071250"/>
                      </a:lnTo>
                      <a:lnTo>
                        <a:pt x="247764" y="1070157"/>
                      </a:lnTo>
                      <a:lnTo>
                        <a:pt x="248736" y="1069514"/>
                      </a:lnTo>
                      <a:lnTo>
                        <a:pt x="249404" y="1068566"/>
                      </a:lnTo>
                      <a:lnTo>
                        <a:pt x="250667" y="1066794"/>
                      </a:lnTo>
                      <a:lnTo>
                        <a:pt x="250922" y="1066441"/>
                      </a:lnTo>
                      <a:lnTo>
                        <a:pt x="251128" y="1066041"/>
                      </a:lnTo>
                      <a:lnTo>
                        <a:pt x="251966" y="1064377"/>
                      </a:lnTo>
                      <a:lnTo>
                        <a:pt x="253763" y="1064899"/>
                      </a:lnTo>
                      <a:lnTo>
                        <a:pt x="259057" y="1067401"/>
                      </a:lnTo>
                      <a:lnTo>
                        <a:pt x="260502" y="1068773"/>
                      </a:lnTo>
                      <a:lnTo>
                        <a:pt x="261146" y="1070242"/>
                      </a:lnTo>
                      <a:lnTo>
                        <a:pt x="261960" y="1077054"/>
                      </a:lnTo>
                      <a:lnTo>
                        <a:pt x="262008" y="1077467"/>
                      </a:lnTo>
                      <a:lnTo>
                        <a:pt x="262105" y="1077856"/>
                      </a:lnTo>
                      <a:lnTo>
                        <a:pt x="263198" y="1082069"/>
                      </a:lnTo>
                      <a:lnTo>
                        <a:pt x="263283" y="1082385"/>
                      </a:lnTo>
                      <a:lnTo>
                        <a:pt x="263404" y="1082689"/>
                      </a:lnTo>
                      <a:lnTo>
                        <a:pt x="264558" y="1085736"/>
                      </a:lnTo>
                      <a:lnTo>
                        <a:pt x="266295" y="1089307"/>
                      </a:lnTo>
                      <a:lnTo>
                        <a:pt x="266817" y="1090387"/>
                      </a:lnTo>
                      <a:lnTo>
                        <a:pt x="267715" y="1091176"/>
                      </a:lnTo>
                      <a:lnTo>
                        <a:pt x="270059" y="1093253"/>
                      </a:lnTo>
                      <a:lnTo>
                        <a:pt x="270909" y="1094006"/>
                      </a:lnTo>
                      <a:lnTo>
                        <a:pt x="271990" y="1094395"/>
                      </a:lnTo>
                      <a:lnTo>
                        <a:pt x="276300" y="1095973"/>
                      </a:lnTo>
                      <a:lnTo>
                        <a:pt x="276689" y="1096119"/>
                      </a:lnTo>
                      <a:lnTo>
                        <a:pt x="277090" y="1096204"/>
                      </a:lnTo>
                      <a:lnTo>
                        <a:pt x="300817" y="1101401"/>
                      </a:lnTo>
                      <a:lnTo>
                        <a:pt x="301618" y="1102008"/>
                      </a:lnTo>
                      <a:lnTo>
                        <a:pt x="301594" y="1103137"/>
                      </a:lnTo>
                      <a:lnTo>
                        <a:pt x="300938" y="1108371"/>
                      </a:lnTo>
                      <a:lnTo>
                        <a:pt x="300878" y="1108808"/>
                      </a:lnTo>
                      <a:lnTo>
                        <a:pt x="300890" y="1109245"/>
                      </a:lnTo>
                      <a:lnTo>
                        <a:pt x="300951" y="1112111"/>
                      </a:lnTo>
                      <a:lnTo>
                        <a:pt x="300963" y="1112645"/>
                      </a:lnTo>
                      <a:lnTo>
                        <a:pt x="301072" y="1113180"/>
                      </a:lnTo>
                      <a:lnTo>
                        <a:pt x="301643" y="1115997"/>
                      </a:lnTo>
                      <a:lnTo>
                        <a:pt x="301752" y="1116519"/>
                      </a:lnTo>
                      <a:lnTo>
                        <a:pt x="301946" y="1117017"/>
                      </a:lnTo>
                      <a:lnTo>
                        <a:pt x="302991" y="1119676"/>
                      </a:lnTo>
                      <a:lnTo>
                        <a:pt x="303233" y="1120295"/>
                      </a:lnTo>
                      <a:lnTo>
                        <a:pt x="303598" y="1120842"/>
                      </a:lnTo>
                      <a:lnTo>
                        <a:pt x="309560" y="1129803"/>
                      </a:lnTo>
                      <a:lnTo>
                        <a:pt x="310993" y="1132535"/>
                      </a:lnTo>
                      <a:lnTo>
                        <a:pt x="313264" y="1136798"/>
                      </a:lnTo>
                      <a:lnTo>
                        <a:pt x="317927" y="1135535"/>
                      </a:lnTo>
                      <a:lnTo>
                        <a:pt x="344337" y="1128419"/>
                      </a:lnTo>
                      <a:lnTo>
                        <a:pt x="347300" y="1128200"/>
                      </a:lnTo>
                      <a:lnTo>
                        <a:pt x="350834" y="1128371"/>
                      </a:lnTo>
                      <a:lnTo>
                        <a:pt x="354756" y="1128552"/>
                      </a:lnTo>
                      <a:lnTo>
                        <a:pt x="355727" y="1128601"/>
                      </a:lnTo>
                      <a:lnTo>
                        <a:pt x="356674" y="1128346"/>
                      </a:lnTo>
                      <a:lnTo>
                        <a:pt x="360427" y="1127290"/>
                      </a:lnTo>
                      <a:lnTo>
                        <a:pt x="361471" y="1126998"/>
                      </a:lnTo>
                      <a:lnTo>
                        <a:pt x="362357" y="1126355"/>
                      </a:lnTo>
                      <a:lnTo>
                        <a:pt x="371707" y="1119531"/>
                      </a:lnTo>
                      <a:lnTo>
                        <a:pt x="385963" y="1112366"/>
                      </a:lnTo>
                      <a:lnTo>
                        <a:pt x="386315" y="1112184"/>
                      </a:lnTo>
                      <a:lnTo>
                        <a:pt x="386643" y="1111953"/>
                      </a:lnTo>
                      <a:lnTo>
                        <a:pt x="389740" y="1109840"/>
                      </a:lnTo>
                      <a:lnTo>
                        <a:pt x="392848" y="1107727"/>
                      </a:lnTo>
                      <a:lnTo>
                        <a:pt x="393249" y="1107460"/>
                      </a:lnTo>
                      <a:lnTo>
                        <a:pt x="393601" y="1107120"/>
                      </a:lnTo>
                      <a:lnTo>
                        <a:pt x="398446" y="1102506"/>
                      </a:lnTo>
                      <a:lnTo>
                        <a:pt x="399442" y="1101559"/>
                      </a:lnTo>
                      <a:lnTo>
                        <a:pt x="399928" y="1100284"/>
                      </a:lnTo>
                      <a:lnTo>
                        <a:pt x="400256" y="1099422"/>
                      </a:lnTo>
                      <a:lnTo>
                        <a:pt x="400571" y="1098608"/>
                      </a:lnTo>
                      <a:lnTo>
                        <a:pt x="400583" y="1098390"/>
                      </a:lnTo>
                      <a:lnTo>
                        <a:pt x="400826" y="1098207"/>
                      </a:lnTo>
                      <a:lnTo>
                        <a:pt x="407456" y="1093460"/>
                      </a:lnTo>
                      <a:lnTo>
                        <a:pt x="407614" y="1093399"/>
                      </a:lnTo>
                      <a:lnTo>
                        <a:pt x="408549" y="1093047"/>
                      </a:lnTo>
                      <a:lnTo>
                        <a:pt x="409144" y="1092828"/>
                      </a:lnTo>
                      <a:lnTo>
                        <a:pt x="409666" y="1092500"/>
                      </a:lnTo>
                      <a:lnTo>
                        <a:pt x="412022" y="1091007"/>
                      </a:lnTo>
                      <a:lnTo>
                        <a:pt x="413030" y="1090363"/>
                      </a:lnTo>
                      <a:lnTo>
                        <a:pt x="413722" y="1089391"/>
                      </a:lnTo>
                      <a:lnTo>
                        <a:pt x="416199" y="1085919"/>
                      </a:lnTo>
                      <a:lnTo>
                        <a:pt x="416539" y="1085445"/>
                      </a:lnTo>
                      <a:lnTo>
                        <a:pt x="416782" y="1084899"/>
                      </a:lnTo>
                      <a:lnTo>
                        <a:pt x="425719" y="1065203"/>
                      </a:lnTo>
                      <a:lnTo>
                        <a:pt x="428039" y="1061985"/>
                      </a:lnTo>
                      <a:lnTo>
                        <a:pt x="428427" y="1061451"/>
                      </a:lnTo>
                      <a:lnTo>
                        <a:pt x="428682" y="1060831"/>
                      </a:lnTo>
                      <a:lnTo>
                        <a:pt x="429435" y="1059071"/>
                      </a:lnTo>
                      <a:lnTo>
                        <a:pt x="430151" y="1057431"/>
                      </a:lnTo>
                      <a:lnTo>
                        <a:pt x="429872" y="1055695"/>
                      </a:lnTo>
                      <a:lnTo>
                        <a:pt x="430236" y="1055695"/>
                      </a:lnTo>
                      <a:lnTo>
                        <a:pt x="431827" y="1055695"/>
                      </a:lnTo>
                      <a:lnTo>
                        <a:pt x="433211" y="1054918"/>
                      </a:lnTo>
                      <a:lnTo>
                        <a:pt x="438154" y="1052137"/>
                      </a:lnTo>
                      <a:lnTo>
                        <a:pt x="438749" y="1051809"/>
                      </a:lnTo>
                      <a:lnTo>
                        <a:pt x="438846" y="1051712"/>
                      </a:lnTo>
                      <a:lnTo>
                        <a:pt x="438518" y="1052234"/>
                      </a:lnTo>
                      <a:lnTo>
                        <a:pt x="438251" y="1052671"/>
                      </a:lnTo>
                      <a:lnTo>
                        <a:pt x="438044" y="1053145"/>
                      </a:lnTo>
                      <a:lnTo>
                        <a:pt x="436830" y="1055986"/>
                      </a:lnTo>
                      <a:lnTo>
                        <a:pt x="436551" y="1056642"/>
                      </a:lnTo>
                      <a:lnTo>
                        <a:pt x="436429" y="1057346"/>
                      </a:lnTo>
                      <a:lnTo>
                        <a:pt x="435858" y="1060698"/>
                      </a:lnTo>
                      <a:lnTo>
                        <a:pt x="435652" y="1061900"/>
                      </a:lnTo>
                      <a:lnTo>
                        <a:pt x="435919" y="1063090"/>
                      </a:lnTo>
                      <a:lnTo>
                        <a:pt x="437935" y="1071845"/>
                      </a:lnTo>
                      <a:lnTo>
                        <a:pt x="437935" y="1071845"/>
                      </a:lnTo>
                      <a:lnTo>
                        <a:pt x="437304" y="1074298"/>
                      </a:lnTo>
                      <a:lnTo>
                        <a:pt x="436733" y="1076642"/>
                      </a:lnTo>
                      <a:lnTo>
                        <a:pt x="437947" y="1078742"/>
                      </a:lnTo>
                      <a:lnTo>
                        <a:pt x="446957" y="1094504"/>
                      </a:lnTo>
                      <a:lnTo>
                        <a:pt x="447030" y="1094734"/>
                      </a:lnTo>
                      <a:lnTo>
                        <a:pt x="446775" y="1095184"/>
                      </a:lnTo>
                      <a:lnTo>
                        <a:pt x="445524" y="1097467"/>
                      </a:lnTo>
                      <a:lnTo>
                        <a:pt x="446302" y="1099944"/>
                      </a:lnTo>
                      <a:lnTo>
                        <a:pt x="447419" y="1103490"/>
                      </a:lnTo>
                      <a:lnTo>
                        <a:pt x="446848" y="1105457"/>
                      </a:lnTo>
                      <a:lnTo>
                        <a:pt x="444832" y="1108748"/>
                      </a:lnTo>
                      <a:lnTo>
                        <a:pt x="444650" y="1109027"/>
                      </a:lnTo>
                      <a:lnTo>
                        <a:pt x="444516" y="1109318"/>
                      </a:lnTo>
                      <a:lnTo>
                        <a:pt x="442744" y="1113083"/>
                      </a:lnTo>
                      <a:lnTo>
                        <a:pt x="442100" y="1114430"/>
                      </a:lnTo>
                      <a:lnTo>
                        <a:pt x="442161" y="1115924"/>
                      </a:lnTo>
                      <a:lnTo>
                        <a:pt x="442331" y="1119798"/>
                      </a:lnTo>
                      <a:lnTo>
                        <a:pt x="442367" y="1120587"/>
                      </a:lnTo>
                      <a:lnTo>
                        <a:pt x="442610" y="1121340"/>
                      </a:lnTo>
                      <a:lnTo>
                        <a:pt x="444043" y="1125930"/>
                      </a:lnTo>
                      <a:lnTo>
                        <a:pt x="444164" y="1126294"/>
                      </a:lnTo>
                      <a:lnTo>
                        <a:pt x="444334" y="1126646"/>
                      </a:lnTo>
                      <a:lnTo>
                        <a:pt x="447843" y="1134284"/>
                      </a:lnTo>
                      <a:lnTo>
                        <a:pt x="450770" y="1140659"/>
                      </a:lnTo>
                      <a:lnTo>
                        <a:pt x="454559" y="1138194"/>
                      </a:lnTo>
                      <a:lnTo>
                        <a:pt x="455044" y="1141412"/>
                      </a:lnTo>
                      <a:lnTo>
                        <a:pt x="455409" y="1143889"/>
                      </a:lnTo>
                      <a:lnTo>
                        <a:pt x="457412" y="1145383"/>
                      </a:lnTo>
                      <a:lnTo>
                        <a:pt x="458384" y="1146111"/>
                      </a:lnTo>
                      <a:lnTo>
                        <a:pt x="459792" y="1147156"/>
                      </a:lnTo>
                      <a:lnTo>
                        <a:pt x="461553" y="1147301"/>
                      </a:lnTo>
                      <a:lnTo>
                        <a:pt x="462646" y="1147386"/>
                      </a:lnTo>
                      <a:lnTo>
                        <a:pt x="463727" y="1147471"/>
                      </a:lnTo>
                      <a:lnTo>
                        <a:pt x="464285" y="1147508"/>
                      </a:lnTo>
                      <a:lnTo>
                        <a:pt x="464832" y="1147447"/>
                      </a:lnTo>
                      <a:lnTo>
                        <a:pt x="466058" y="1147313"/>
                      </a:lnTo>
                      <a:lnTo>
                        <a:pt x="467272" y="1147180"/>
                      </a:lnTo>
                      <a:lnTo>
                        <a:pt x="468122" y="1147083"/>
                      </a:lnTo>
                      <a:lnTo>
                        <a:pt x="468899" y="1146767"/>
                      </a:lnTo>
                      <a:lnTo>
                        <a:pt x="470442" y="1146135"/>
                      </a:lnTo>
                      <a:lnTo>
                        <a:pt x="471267" y="1145808"/>
                      </a:lnTo>
                      <a:lnTo>
                        <a:pt x="471960" y="1145249"/>
                      </a:lnTo>
                      <a:lnTo>
                        <a:pt x="473271" y="1144193"/>
                      </a:lnTo>
                      <a:lnTo>
                        <a:pt x="473550" y="1144071"/>
                      </a:lnTo>
                      <a:lnTo>
                        <a:pt x="475165" y="1143404"/>
                      </a:lnTo>
                      <a:lnTo>
                        <a:pt x="476185" y="1141983"/>
                      </a:lnTo>
                      <a:lnTo>
                        <a:pt x="476574" y="1141436"/>
                      </a:lnTo>
                      <a:lnTo>
                        <a:pt x="477970" y="1139493"/>
                      </a:lnTo>
                      <a:lnTo>
                        <a:pt x="477667" y="1137125"/>
                      </a:lnTo>
                      <a:lnTo>
                        <a:pt x="477594" y="1136615"/>
                      </a:lnTo>
                      <a:lnTo>
                        <a:pt x="478371" y="1136008"/>
                      </a:lnTo>
                      <a:lnTo>
                        <a:pt x="480909" y="1134029"/>
                      </a:lnTo>
                      <a:lnTo>
                        <a:pt x="481965" y="1133203"/>
                      </a:lnTo>
                      <a:lnTo>
                        <a:pt x="482196" y="1133968"/>
                      </a:lnTo>
                      <a:lnTo>
                        <a:pt x="483398" y="1138073"/>
                      </a:lnTo>
                      <a:lnTo>
                        <a:pt x="487660" y="1138328"/>
                      </a:lnTo>
                      <a:lnTo>
                        <a:pt x="490745" y="1138534"/>
                      </a:lnTo>
                      <a:lnTo>
                        <a:pt x="492979" y="1138680"/>
                      </a:lnTo>
                      <a:lnTo>
                        <a:pt x="494776" y="1137344"/>
                      </a:lnTo>
                      <a:lnTo>
                        <a:pt x="497120" y="1135583"/>
                      </a:lnTo>
                      <a:lnTo>
                        <a:pt x="499135" y="1134879"/>
                      </a:lnTo>
                      <a:lnTo>
                        <a:pt x="499633" y="1134697"/>
                      </a:lnTo>
                      <a:lnTo>
                        <a:pt x="500107" y="1134442"/>
                      </a:lnTo>
                      <a:lnTo>
                        <a:pt x="501613" y="1133604"/>
                      </a:lnTo>
                      <a:lnTo>
                        <a:pt x="501431" y="1134211"/>
                      </a:lnTo>
                      <a:lnTo>
                        <a:pt x="499998" y="1139178"/>
                      </a:lnTo>
                      <a:lnTo>
                        <a:pt x="499536" y="1140768"/>
                      </a:lnTo>
                      <a:lnTo>
                        <a:pt x="499949" y="1142359"/>
                      </a:lnTo>
                      <a:lnTo>
                        <a:pt x="501042" y="1146646"/>
                      </a:lnTo>
                      <a:lnTo>
                        <a:pt x="501686" y="1149183"/>
                      </a:lnTo>
                      <a:lnTo>
                        <a:pt x="503968" y="1150446"/>
                      </a:lnTo>
                      <a:lnTo>
                        <a:pt x="507526" y="1152426"/>
                      </a:lnTo>
                      <a:lnTo>
                        <a:pt x="509809" y="1153701"/>
                      </a:lnTo>
                      <a:lnTo>
                        <a:pt x="512311" y="1152911"/>
                      </a:lnTo>
                      <a:lnTo>
                        <a:pt x="518151" y="1151078"/>
                      </a:lnTo>
                      <a:lnTo>
                        <a:pt x="527926" y="1148006"/>
                      </a:lnTo>
                      <a:lnTo>
                        <a:pt x="525838" y="1146002"/>
                      </a:lnTo>
                      <a:lnTo>
                        <a:pt x="525996" y="1145978"/>
                      </a:lnTo>
                      <a:lnTo>
                        <a:pt x="527246" y="1142881"/>
                      </a:lnTo>
                      <a:lnTo>
                        <a:pt x="528339" y="1140186"/>
                      </a:lnTo>
                      <a:lnTo>
                        <a:pt x="528704" y="1139311"/>
                      </a:lnTo>
                      <a:lnTo>
                        <a:pt x="530185" y="1140343"/>
                      </a:lnTo>
                      <a:lnTo>
                        <a:pt x="531848" y="1131005"/>
                      </a:lnTo>
                      <a:lnTo>
                        <a:pt x="532723" y="1126087"/>
                      </a:lnTo>
                      <a:lnTo>
                        <a:pt x="532881" y="1125238"/>
                      </a:lnTo>
                      <a:lnTo>
                        <a:pt x="532784" y="1124375"/>
                      </a:lnTo>
                      <a:lnTo>
                        <a:pt x="532213" y="1119178"/>
                      </a:lnTo>
                      <a:lnTo>
                        <a:pt x="533974" y="1116956"/>
                      </a:lnTo>
                      <a:lnTo>
                        <a:pt x="535977" y="1114430"/>
                      </a:lnTo>
                      <a:lnTo>
                        <a:pt x="536669" y="1113568"/>
                      </a:lnTo>
                      <a:lnTo>
                        <a:pt x="536766" y="1114188"/>
                      </a:lnTo>
                      <a:lnTo>
                        <a:pt x="537349" y="1117927"/>
                      </a:lnTo>
                      <a:lnTo>
                        <a:pt x="537483" y="1118790"/>
                      </a:lnTo>
                      <a:lnTo>
                        <a:pt x="537859" y="1119591"/>
                      </a:lnTo>
                      <a:lnTo>
                        <a:pt x="543093" y="1130581"/>
                      </a:lnTo>
                      <a:lnTo>
                        <a:pt x="541502" y="1134066"/>
                      </a:lnTo>
                      <a:lnTo>
                        <a:pt x="539729" y="1137988"/>
                      </a:lnTo>
                      <a:lnTo>
                        <a:pt x="542838" y="1140963"/>
                      </a:lnTo>
                      <a:lnTo>
                        <a:pt x="546626" y="1144581"/>
                      </a:lnTo>
                      <a:lnTo>
                        <a:pt x="548084" y="1145966"/>
                      </a:lnTo>
                      <a:lnTo>
                        <a:pt x="550075" y="1146221"/>
                      </a:lnTo>
                      <a:lnTo>
                        <a:pt x="556559" y="1147022"/>
                      </a:lnTo>
                      <a:lnTo>
                        <a:pt x="558272" y="1147240"/>
                      </a:lnTo>
                      <a:lnTo>
                        <a:pt x="559850" y="1146512"/>
                      </a:lnTo>
                      <a:lnTo>
                        <a:pt x="565144" y="1144084"/>
                      </a:lnTo>
                      <a:lnTo>
                        <a:pt x="567452" y="1143015"/>
                      </a:lnTo>
                      <a:lnTo>
                        <a:pt x="568314" y="1140623"/>
                      </a:lnTo>
                      <a:lnTo>
                        <a:pt x="569455" y="1137453"/>
                      </a:lnTo>
                      <a:lnTo>
                        <a:pt x="570196" y="1135401"/>
                      </a:lnTo>
                      <a:lnTo>
                        <a:pt x="570014" y="1134916"/>
                      </a:lnTo>
                      <a:lnTo>
                        <a:pt x="570366" y="1134819"/>
                      </a:lnTo>
                      <a:lnTo>
                        <a:pt x="574154" y="1133847"/>
                      </a:lnTo>
                      <a:lnTo>
                        <a:pt x="575830" y="1133422"/>
                      </a:lnTo>
                      <a:lnTo>
                        <a:pt x="577032" y="1132171"/>
                      </a:lnTo>
                      <a:lnTo>
                        <a:pt x="579740" y="1129366"/>
                      </a:lnTo>
                      <a:lnTo>
                        <a:pt x="580748" y="1128310"/>
                      </a:lnTo>
                      <a:lnTo>
                        <a:pt x="581537" y="1128455"/>
                      </a:lnTo>
                      <a:lnTo>
                        <a:pt x="587099" y="1129439"/>
                      </a:lnTo>
                      <a:lnTo>
                        <a:pt x="593874" y="1134175"/>
                      </a:lnTo>
                      <a:lnTo>
                        <a:pt x="594166" y="1134393"/>
                      </a:lnTo>
                      <a:lnTo>
                        <a:pt x="594482" y="1134563"/>
                      </a:lnTo>
                      <a:lnTo>
                        <a:pt x="599072" y="1137028"/>
                      </a:lnTo>
                      <a:lnTo>
                        <a:pt x="600845" y="1137975"/>
                      </a:lnTo>
                      <a:lnTo>
                        <a:pt x="602836" y="1137684"/>
                      </a:lnTo>
                      <a:lnTo>
                        <a:pt x="606515" y="1137138"/>
                      </a:lnTo>
                      <a:lnTo>
                        <a:pt x="610341" y="1136579"/>
                      </a:lnTo>
                      <a:lnTo>
                        <a:pt x="610389" y="1136409"/>
                      </a:lnTo>
                      <a:lnTo>
                        <a:pt x="610438" y="1136421"/>
                      </a:lnTo>
                      <a:lnTo>
                        <a:pt x="611567" y="1136482"/>
                      </a:lnTo>
                      <a:lnTo>
                        <a:pt x="613619" y="1136591"/>
                      </a:lnTo>
                      <a:lnTo>
                        <a:pt x="615125" y="1136676"/>
                      </a:lnTo>
                      <a:lnTo>
                        <a:pt x="616485" y="1136033"/>
                      </a:lnTo>
                      <a:lnTo>
                        <a:pt x="619934" y="1134430"/>
                      </a:lnTo>
                      <a:lnTo>
                        <a:pt x="622350" y="1133312"/>
                      </a:lnTo>
                      <a:lnTo>
                        <a:pt x="623163" y="1130775"/>
                      </a:lnTo>
                      <a:lnTo>
                        <a:pt x="624183" y="1127569"/>
                      </a:lnTo>
                      <a:lnTo>
                        <a:pt x="624536" y="1126464"/>
                      </a:lnTo>
                      <a:lnTo>
                        <a:pt x="624463" y="1125310"/>
                      </a:lnTo>
                      <a:lnTo>
                        <a:pt x="623941" y="1117272"/>
                      </a:lnTo>
                      <a:lnTo>
                        <a:pt x="623831" y="1115669"/>
                      </a:lnTo>
                      <a:lnTo>
                        <a:pt x="622957" y="1114333"/>
                      </a:lnTo>
                      <a:lnTo>
                        <a:pt x="622751" y="1114030"/>
                      </a:lnTo>
                      <a:lnTo>
                        <a:pt x="620128" y="1108347"/>
                      </a:lnTo>
                      <a:lnTo>
                        <a:pt x="619666" y="1107339"/>
                      </a:lnTo>
                      <a:lnTo>
                        <a:pt x="618877" y="1106562"/>
                      </a:lnTo>
                      <a:lnTo>
                        <a:pt x="615537" y="1103271"/>
                      </a:lnTo>
                      <a:lnTo>
                        <a:pt x="613583" y="1097357"/>
                      </a:lnTo>
                      <a:lnTo>
                        <a:pt x="610826" y="1081523"/>
                      </a:lnTo>
                      <a:lnTo>
                        <a:pt x="610632" y="1080369"/>
                      </a:lnTo>
                      <a:lnTo>
                        <a:pt x="610292" y="1079811"/>
                      </a:lnTo>
                      <a:lnTo>
                        <a:pt x="609915" y="1074820"/>
                      </a:lnTo>
                      <a:lnTo>
                        <a:pt x="611871" y="1073667"/>
                      </a:lnTo>
                      <a:lnTo>
                        <a:pt x="616351" y="1071044"/>
                      </a:lnTo>
                      <a:lnTo>
                        <a:pt x="618853" y="1069587"/>
                      </a:lnTo>
                      <a:lnTo>
                        <a:pt x="619290" y="1066721"/>
                      </a:lnTo>
                      <a:lnTo>
                        <a:pt x="620152" y="1061062"/>
                      </a:lnTo>
                      <a:lnTo>
                        <a:pt x="620286" y="1060261"/>
                      </a:lnTo>
                      <a:lnTo>
                        <a:pt x="620176" y="1059447"/>
                      </a:lnTo>
                      <a:lnTo>
                        <a:pt x="618683" y="1046843"/>
                      </a:lnTo>
                      <a:lnTo>
                        <a:pt x="618634" y="1046418"/>
                      </a:lnTo>
                      <a:lnTo>
                        <a:pt x="618525" y="1046017"/>
                      </a:lnTo>
                      <a:lnTo>
                        <a:pt x="617881" y="1043588"/>
                      </a:lnTo>
                      <a:lnTo>
                        <a:pt x="617711" y="1042933"/>
                      </a:lnTo>
                      <a:lnTo>
                        <a:pt x="617396" y="1042374"/>
                      </a:lnTo>
                      <a:lnTo>
                        <a:pt x="616084" y="1039824"/>
                      </a:lnTo>
                      <a:lnTo>
                        <a:pt x="615258" y="1038221"/>
                      </a:lnTo>
                      <a:lnTo>
                        <a:pt x="618428" y="1031288"/>
                      </a:lnTo>
                      <a:lnTo>
                        <a:pt x="621208" y="1027900"/>
                      </a:lnTo>
                      <a:lnTo>
                        <a:pt x="622726" y="1026042"/>
                      </a:lnTo>
                      <a:lnTo>
                        <a:pt x="622556" y="1023638"/>
                      </a:lnTo>
                      <a:lnTo>
                        <a:pt x="622229" y="1018865"/>
                      </a:lnTo>
                      <a:lnTo>
                        <a:pt x="622180" y="1018295"/>
                      </a:lnTo>
                      <a:lnTo>
                        <a:pt x="622034" y="1017736"/>
                      </a:lnTo>
                      <a:lnTo>
                        <a:pt x="621002" y="1013838"/>
                      </a:lnTo>
                      <a:lnTo>
                        <a:pt x="620856" y="1013304"/>
                      </a:lnTo>
                      <a:lnTo>
                        <a:pt x="620614" y="1012794"/>
                      </a:lnTo>
                      <a:lnTo>
                        <a:pt x="619047" y="1009491"/>
                      </a:lnTo>
                      <a:lnTo>
                        <a:pt x="618756" y="1008872"/>
                      </a:lnTo>
                      <a:lnTo>
                        <a:pt x="618343" y="1008337"/>
                      </a:lnTo>
                      <a:lnTo>
                        <a:pt x="611433" y="999546"/>
                      </a:lnTo>
                      <a:lnTo>
                        <a:pt x="614408" y="997555"/>
                      </a:lnTo>
                      <a:lnTo>
                        <a:pt x="611518" y="992625"/>
                      </a:lnTo>
                      <a:lnTo>
                        <a:pt x="608616" y="987682"/>
                      </a:lnTo>
                      <a:lnTo>
                        <a:pt x="607960" y="986177"/>
                      </a:lnTo>
                      <a:lnTo>
                        <a:pt x="607341" y="983274"/>
                      </a:lnTo>
                      <a:lnTo>
                        <a:pt x="605981" y="976924"/>
                      </a:lnTo>
                      <a:lnTo>
                        <a:pt x="605981" y="976401"/>
                      </a:lnTo>
                      <a:lnTo>
                        <a:pt x="606054" y="976122"/>
                      </a:lnTo>
                      <a:lnTo>
                        <a:pt x="606078" y="976013"/>
                      </a:lnTo>
                      <a:lnTo>
                        <a:pt x="606382" y="975527"/>
                      </a:lnTo>
                      <a:lnTo>
                        <a:pt x="607195" y="974192"/>
                      </a:lnTo>
                      <a:lnTo>
                        <a:pt x="607791" y="973220"/>
                      </a:lnTo>
                      <a:lnTo>
                        <a:pt x="608009" y="972103"/>
                      </a:lnTo>
                      <a:lnTo>
                        <a:pt x="608288" y="970549"/>
                      </a:lnTo>
                      <a:lnTo>
                        <a:pt x="608471" y="969529"/>
                      </a:lnTo>
                      <a:lnTo>
                        <a:pt x="608313" y="968497"/>
                      </a:lnTo>
                      <a:lnTo>
                        <a:pt x="607572" y="963906"/>
                      </a:lnTo>
                      <a:lnTo>
                        <a:pt x="607438" y="963129"/>
                      </a:lnTo>
                      <a:lnTo>
                        <a:pt x="607122" y="962413"/>
                      </a:lnTo>
                      <a:lnTo>
                        <a:pt x="603893" y="955115"/>
                      </a:lnTo>
                      <a:lnTo>
                        <a:pt x="602872" y="950804"/>
                      </a:lnTo>
                      <a:lnTo>
                        <a:pt x="602302" y="948388"/>
                      </a:lnTo>
                      <a:lnTo>
                        <a:pt x="601816" y="946299"/>
                      </a:lnTo>
                      <a:lnTo>
                        <a:pt x="600116" y="944988"/>
                      </a:lnTo>
                      <a:lnTo>
                        <a:pt x="598623" y="943822"/>
                      </a:lnTo>
                      <a:lnTo>
                        <a:pt x="599570" y="939985"/>
                      </a:lnTo>
                      <a:lnTo>
                        <a:pt x="599861" y="938783"/>
                      </a:lnTo>
                      <a:lnTo>
                        <a:pt x="599667" y="937556"/>
                      </a:lnTo>
                      <a:lnTo>
                        <a:pt x="598829" y="932250"/>
                      </a:lnTo>
                      <a:lnTo>
                        <a:pt x="598732" y="931703"/>
                      </a:lnTo>
                      <a:lnTo>
                        <a:pt x="598550" y="931181"/>
                      </a:lnTo>
                      <a:lnTo>
                        <a:pt x="596765" y="926118"/>
                      </a:lnTo>
                      <a:lnTo>
                        <a:pt x="596583" y="925632"/>
                      </a:lnTo>
                      <a:lnTo>
                        <a:pt x="596328" y="925183"/>
                      </a:lnTo>
                      <a:lnTo>
                        <a:pt x="595587" y="923871"/>
                      </a:lnTo>
                      <a:lnTo>
                        <a:pt x="594470" y="921904"/>
                      </a:lnTo>
                      <a:lnTo>
                        <a:pt x="593960" y="918880"/>
                      </a:lnTo>
                      <a:lnTo>
                        <a:pt x="593923" y="918638"/>
                      </a:lnTo>
                      <a:lnTo>
                        <a:pt x="593814" y="918128"/>
                      </a:lnTo>
                      <a:lnTo>
                        <a:pt x="593498" y="916853"/>
                      </a:lnTo>
                      <a:lnTo>
                        <a:pt x="593207" y="915614"/>
                      </a:lnTo>
                      <a:lnTo>
                        <a:pt x="593097" y="915189"/>
                      </a:lnTo>
                      <a:lnTo>
                        <a:pt x="592927" y="914788"/>
                      </a:lnTo>
                      <a:lnTo>
                        <a:pt x="592478" y="913659"/>
                      </a:lnTo>
                      <a:lnTo>
                        <a:pt x="590973" y="909822"/>
                      </a:lnTo>
                      <a:lnTo>
                        <a:pt x="590827" y="908753"/>
                      </a:lnTo>
                      <a:lnTo>
                        <a:pt x="591009" y="908377"/>
                      </a:lnTo>
                      <a:lnTo>
                        <a:pt x="591398" y="907915"/>
                      </a:lnTo>
                      <a:lnTo>
                        <a:pt x="592612" y="906482"/>
                      </a:lnTo>
                      <a:lnTo>
                        <a:pt x="592842" y="906215"/>
                      </a:lnTo>
                      <a:lnTo>
                        <a:pt x="593037" y="905924"/>
                      </a:lnTo>
                      <a:lnTo>
                        <a:pt x="594373" y="903908"/>
                      </a:lnTo>
                      <a:lnTo>
                        <a:pt x="595040" y="902913"/>
                      </a:lnTo>
                      <a:lnTo>
                        <a:pt x="595550" y="902160"/>
                      </a:lnTo>
                      <a:lnTo>
                        <a:pt x="595805" y="901297"/>
                      </a:lnTo>
                      <a:lnTo>
                        <a:pt x="596607" y="898650"/>
                      </a:lnTo>
                      <a:lnTo>
                        <a:pt x="596692" y="898383"/>
                      </a:lnTo>
                      <a:lnTo>
                        <a:pt x="596801" y="897837"/>
                      </a:lnTo>
                      <a:lnTo>
                        <a:pt x="597505" y="894170"/>
                      </a:lnTo>
                      <a:lnTo>
                        <a:pt x="597566" y="893854"/>
                      </a:lnTo>
                      <a:lnTo>
                        <a:pt x="597590" y="893526"/>
                      </a:lnTo>
                      <a:lnTo>
                        <a:pt x="597894" y="889713"/>
                      </a:lnTo>
                      <a:lnTo>
                        <a:pt x="597954" y="889009"/>
                      </a:lnTo>
                      <a:lnTo>
                        <a:pt x="597846" y="888317"/>
                      </a:lnTo>
                      <a:lnTo>
                        <a:pt x="597639" y="886981"/>
                      </a:lnTo>
                      <a:lnTo>
                        <a:pt x="597421" y="885597"/>
                      </a:lnTo>
                      <a:lnTo>
                        <a:pt x="597093" y="883545"/>
                      </a:lnTo>
                      <a:lnTo>
                        <a:pt x="595562" y="882124"/>
                      </a:lnTo>
                      <a:lnTo>
                        <a:pt x="593438" y="880145"/>
                      </a:lnTo>
                      <a:lnTo>
                        <a:pt x="592442" y="879209"/>
                      </a:lnTo>
                      <a:lnTo>
                        <a:pt x="591143" y="878797"/>
                      </a:lnTo>
                      <a:lnTo>
                        <a:pt x="588908" y="878092"/>
                      </a:lnTo>
                      <a:lnTo>
                        <a:pt x="587524" y="877655"/>
                      </a:lnTo>
                      <a:lnTo>
                        <a:pt x="587087" y="877133"/>
                      </a:lnTo>
                      <a:lnTo>
                        <a:pt x="583456" y="868621"/>
                      </a:lnTo>
                      <a:lnTo>
                        <a:pt x="583249" y="868159"/>
                      </a:lnTo>
                      <a:lnTo>
                        <a:pt x="582994" y="867734"/>
                      </a:lnTo>
                      <a:lnTo>
                        <a:pt x="581040" y="864662"/>
                      </a:lnTo>
                      <a:lnTo>
                        <a:pt x="580845" y="864371"/>
                      </a:lnTo>
                      <a:lnTo>
                        <a:pt x="580627" y="864104"/>
                      </a:lnTo>
                      <a:lnTo>
                        <a:pt x="577761" y="860558"/>
                      </a:lnTo>
                      <a:lnTo>
                        <a:pt x="577725" y="860424"/>
                      </a:lnTo>
                      <a:lnTo>
                        <a:pt x="577749" y="859562"/>
                      </a:lnTo>
                      <a:lnTo>
                        <a:pt x="577785" y="858421"/>
                      </a:lnTo>
                      <a:lnTo>
                        <a:pt x="579255" y="853564"/>
                      </a:lnTo>
                      <a:lnTo>
                        <a:pt x="579485" y="852835"/>
                      </a:lnTo>
                      <a:lnTo>
                        <a:pt x="579522" y="852082"/>
                      </a:lnTo>
                      <a:lnTo>
                        <a:pt x="579910" y="843278"/>
                      </a:lnTo>
                      <a:lnTo>
                        <a:pt x="581477" y="840267"/>
                      </a:lnTo>
                      <a:lnTo>
                        <a:pt x="585751" y="835811"/>
                      </a:lnTo>
                      <a:lnTo>
                        <a:pt x="590778" y="830553"/>
                      </a:lnTo>
                      <a:lnTo>
                        <a:pt x="592405" y="829241"/>
                      </a:lnTo>
                      <a:lnTo>
                        <a:pt x="595490" y="826740"/>
                      </a:lnTo>
                      <a:lnTo>
                        <a:pt x="595854" y="826436"/>
                      </a:lnTo>
                      <a:lnTo>
                        <a:pt x="596170" y="826084"/>
                      </a:lnTo>
                      <a:lnTo>
                        <a:pt x="597857" y="824214"/>
                      </a:lnTo>
                      <a:lnTo>
                        <a:pt x="598465" y="823534"/>
                      </a:lnTo>
                      <a:lnTo>
                        <a:pt x="598853" y="822708"/>
                      </a:lnTo>
                      <a:lnTo>
                        <a:pt x="599108" y="822150"/>
                      </a:lnTo>
                      <a:lnTo>
                        <a:pt x="599825" y="820596"/>
                      </a:lnTo>
                      <a:lnTo>
                        <a:pt x="600371" y="819393"/>
                      </a:lnTo>
                      <a:lnTo>
                        <a:pt x="600371" y="818070"/>
                      </a:lnTo>
                      <a:lnTo>
                        <a:pt x="600371" y="816430"/>
                      </a:lnTo>
                      <a:lnTo>
                        <a:pt x="600371" y="813771"/>
                      </a:lnTo>
                      <a:lnTo>
                        <a:pt x="598428" y="811974"/>
                      </a:lnTo>
                      <a:lnTo>
                        <a:pt x="597408" y="811027"/>
                      </a:lnTo>
                      <a:lnTo>
                        <a:pt x="595562" y="809315"/>
                      </a:lnTo>
                      <a:lnTo>
                        <a:pt x="593037" y="809412"/>
                      </a:lnTo>
                      <a:lnTo>
                        <a:pt x="588823" y="809582"/>
                      </a:lnTo>
                      <a:lnTo>
                        <a:pt x="588568" y="809509"/>
                      </a:lnTo>
                      <a:lnTo>
                        <a:pt x="587463" y="808999"/>
                      </a:lnTo>
                      <a:lnTo>
                        <a:pt x="587160" y="808853"/>
                      </a:lnTo>
                      <a:lnTo>
                        <a:pt x="586844" y="808744"/>
                      </a:lnTo>
                      <a:lnTo>
                        <a:pt x="582460" y="807263"/>
                      </a:lnTo>
                      <a:lnTo>
                        <a:pt x="573693" y="804312"/>
                      </a:lnTo>
                      <a:lnTo>
                        <a:pt x="573329" y="804190"/>
                      </a:lnTo>
                      <a:lnTo>
                        <a:pt x="572965" y="804118"/>
                      </a:lnTo>
                      <a:lnTo>
                        <a:pt x="570864" y="803693"/>
                      </a:lnTo>
                      <a:lnTo>
                        <a:pt x="569783" y="803474"/>
                      </a:lnTo>
                      <a:lnTo>
                        <a:pt x="568751" y="803268"/>
                      </a:lnTo>
                      <a:lnTo>
                        <a:pt x="567719" y="803425"/>
                      </a:lnTo>
                      <a:lnTo>
                        <a:pt x="565241" y="803790"/>
                      </a:lnTo>
                      <a:lnTo>
                        <a:pt x="563894" y="803996"/>
                      </a:lnTo>
                      <a:lnTo>
                        <a:pt x="562765" y="804749"/>
                      </a:lnTo>
                      <a:lnTo>
                        <a:pt x="561161" y="805818"/>
                      </a:lnTo>
                      <a:lnTo>
                        <a:pt x="560834" y="806048"/>
                      </a:lnTo>
                      <a:lnTo>
                        <a:pt x="560530" y="806303"/>
                      </a:lnTo>
                      <a:lnTo>
                        <a:pt x="560348" y="806461"/>
                      </a:lnTo>
                      <a:lnTo>
                        <a:pt x="550488" y="803365"/>
                      </a:lnTo>
                      <a:lnTo>
                        <a:pt x="549856" y="802818"/>
                      </a:lnTo>
                      <a:lnTo>
                        <a:pt x="549116" y="801276"/>
                      </a:lnTo>
                      <a:lnTo>
                        <a:pt x="549079" y="800378"/>
                      </a:lnTo>
                      <a:lnTo>
                        <a:pt x="549043" y="799637"/>
                      </a:lnTo>
                      <a:lnTo>
                        <a:pt x="549990" y="797536"/>
                      </a:lnTo>
                      <a:lnTo>
                        <a:pt x="554289" y="790857"/>
                      </a:lnTo>
                      <a:lnTo>
                        <a:pt x="554616" y="790347"/>
                      </a:lnTo>
                      <a:lnTo>
                        <a:pt x="554835" y="789777"/>
                      </a:lnTo>
                      <a:lnTo>
                        <a:pt x="559401" y="778010"/>
                      </a:lnTo>
                      <a:lnTo>
                        <a:pt x="563967" y="766244"/>
                      </a:lnTo>
                      <a:lnTo>
                        <a:pt x="564270" y="765454"/>
                      </a:lnTo>
                      <a:lnTo>
                        <a:pt x="564355" y="764605"/>
                      </a:lnTo>
                      <a:lnTo>
                        <a:pt x="564744" y="760330"/>
                      </a:lnTo>
                      <a:lnTo>
                        <a:pt x="565035" y="757088"/>
                      </a:lnTo>
                      <a:lnTo>
                        <a:pt x="562497" y="755048"/>
                      </a:lnTo>
                      <a:lnTo>
                        <a:pt x="560032" y="753069"/>
                      </a:lnTo>
                      <a:lnTo>
                        <a:pt x="556329" y="750106"/>
                      </a:lnTo>
                      <a:lnTo>
                        <a:pt x="552552" y="752959"/>
                      </a:lnTo>
                      <a:lnTo>
                        <a:pt x="550974" y="754149"/>
                      </a:lnTo>
                      <a:lnTo>
                        <a:pt x="550816" y="753858"/>
                      </a:lnTo>
                      <a:lnTo>
                        <a:pt x="548921" y="752996"/>
                      </a:lnTo>
                      <a:lnTo>
                        <a:pt x="547367" y="752279"/>
                      </a:lnTo>
                      <a:lnTo>
                        <a:pt x="542814" y="749244"/>
                      </a:lnTo>
                      <a:lnTo>
                        <a:pt x="540640" y="746961"/>
                      </a:lnTo>
                      <a:lnTo>
                        <a:pt x="536633" y="739906"/>
                      </a:lnTo>
                      <a:lnTo>
                        <a:pt x="536269" y="739262"/>
                      </a:lnTo>
                      <a:lnTo>
                        <a:pt x="535759" y="738728"/>
                      </a:lnTo>
                      <a:lnTo>
                        <a:pt x="532953" y="735777"/>
                      </a:lnTo>
                      <a:lnTo>
                        <a:pt x="531666" y="734417"/>
                      </a:lnTo>
                      <a:lnTo>
                        <a:pt x="529833" y="734029"/>
                      </a:lnTo>
                      <a:lnTo>
                        <a:pt x="528339" y="733713"/>
                      </a:lnTo>
                      <a:lnTo>
                        <a:pt x="527392" y="733506"/>
                      </a:lnTo>
                      <a:lnTo>
                        <a:pt x="526433" y="733616"/>
                      </a:lnTo>
                      <a:lnTo>
                        <a:pt x="526530" y="733009"/>
                      </a:lnTo>
                      <a:lnTo>
                        <a:pt x="527113" y="729463"/>
                      </a:lnTo>
                      <a:lnTo>
                        <a:pt x="524283" y="727253"/>
                      </a:lnTo>
                      <a:lnTo>
                        <a:pt x="523798" y="726876"/>
                      </a:lnTo>
                      <a:lnTo>
                        <a:pt x="523166" y="726403"/>
                      </a:lnTo>
                      <a:lnTo>
                        <a:pt x="522280" y="725747"/>
                      </a:lnTo>
                      <a:lnTo>
                        <a:pt x="523519" y="720113"/>
                      </a:lnTo>
                      <a:lnTo>
                        <a:pt x="525498" y="711078"/>
                      </a:lnTo>
                      <a:lnTo>
                        <a:pt x="525765" y="709864"/>
                      </a:lnTo>
                      <a:lnTo>
                        <a:pt x="525522" y="708638"/>
                      </a:lnTo>
                      <a:lnTo>
                        <a:pt x="525267" y="706986"/>
                      </a:lnTo>
                      <a:lnTo>
                        <a:pt x="525134" y="706221"/>
                      </a:lnTo>
                      <a:lnTo>
                        <a:pt x="524830" y="705505"/>
                      </a:lnTo>
                      <a:lnTo>
                        <a:pt x="524150" y="703963"/>
                      </a:lnTo>
                      <a:lnTo>
                        <a:pt x="524235" y="703781"/>
                      </a:lnTo>
                      <a:lnTo>
                        <a:pt x="525789" y="701400"/>
                      </a:lnTo>
                      <a:lnTo>
                        <a:pt x="526712" y="699992"/>
                      </a:lnTo>
                      <a:lnTo>
                        <a:pt x="527003" y="699530"/>
                      </a:lnTo>
                      <a:lnTo>
                        <a:pt x="527210" y="699033"/>
                      </a:lnTo>
                      <a:lnTo>
                        <a:pt x="528182" y="696738"/>
                      </a:lnTo>
                      <a:lnTo>
                        <a:pt x="528631" y="695693"/>
                      </a:lnTo>
                      <a:lnTo>
                        <a:pt x="528667" y="694564"/>
                      </a:lnTo>
                      <a:lnTo>
                        <a:pt x="528728" y="692767"/>
                      </a:lnTo>
                      <a:lnTo>
                        <a:pt x="528752" y="691917"/>
                      </a:lnTo>
                      <a:lnTo>
                        <a:pt x="528546" y="691091"/>
                      </a:lnTo>
                      <a:lnTo>
                        <a:pt x="528436" y="690702"/>
                      </a:lnTo>
                      <a:lnTo>
                        <a:pt x="529189" y="690666"/>
                      </a:lnTo>
                      <a:lnTo>
                        <a:pt x="532686" y="690970"/>
                      </a:lnTo>
                      <a:lnTo>
                        <a:pt x="533549" y="691042"/>
                      </a:lnTo>
                      <a:lnTo>
                        <a:pt x="534399" y="690873"/>
                      </a:lnTo>
                      <a:lnTo>
                        <a:pt x="537969" y="690156"/>
                      </a:lnTo>
                      <a:lnTo>
                        <a:pt x="539341" y="689877"/>
                      </a:lnTo>
                      <a:lnTo>
                        <a:pt x="540470" y="689015"/>
                      </a:lnTo>
                      <a:lnTo>
                        <a:pt x="541308" y="688371"/>
                      </a:lnTo>
                      <a:lnTo>
                        <a:pt x="543020" y="687047"/>
                      </a:lnTo>
                      <a:lnTo>
                        <a:pt x="543263" y="686865"/>
                      </a:lnTo>
                      <a:lnTo>
                        <a:pt x="543494" y="686647"/>
                      </a:lnTo>
                      <a:lnTo>
                        <a:pt x="548241" y="682142"/>
                      </a:lnTo>
                      <a:lnTo>
                        <a:pt x="550609" y="679883"/>
                      </a:lnTo>
                      <a:lnTo>
                        <a:pt x="550937" y="679567"/>
                      </a:lnTo>
                      <a:lnTo>
                        <a:pt x="551204" y="679215"/>
                      </a:lnTo>
                      <a:lnTo>
                        <a:pt x="552977" y="676945"/>
                      </a:lnTo>
                      <a:lnTo>
                        <a:pt x="553924" y="675718"/>
                      </a:lnTo>
                      <a:lnTo>
                        <a:pt x="554179" y="674188"/>
                      </a:lnTo>
                      <a:lnTo>
                        <a:pt x="554762" y="670606"/>
                      </a:lnTo>
                      <a:lnTo>
                        <a:pt x="554908" y="669756"/>
                      </a:lnTo>
                      <a:lnTo>
                        <a:pt x="554799" y="668894"/>
                      </a:lnTo>
                      <a:lnTo>
                        <a:pt x="554277" y="664668"/>
                      </a:lnTo>
                      <a:lnTo>
                        <a:pt x="554216" y="664182"/>
                      </a:lnTo>
                      <a:lnTo>
                        <a:pt x="554082" y="663721"/>
                      </a:lnTo>
                      <a:lnTo>
                        <a:pt x="552990" y="659932"/>
                      </a:lnTo>
                      <a:lnTo>
                        <a:pt x="552832" y="659398"/>
                      </a:lnTo>
                      <a:lnTo>
                        <a:pt x="553159" y="658839"/>
                      </a:lnTo>
                      <a:lnTo>
                        <a:pt x="555114" y="656289"/>
                      </a:lnTo>
                      <a:lnTo>
                        <a:pt x="556377" y="654650"/>
                      </a:lnTo>
                      <a:lnTo>
                        <a:pt x="556377" y="652586"/>
                      </a:lnTo>
                      <a:lnTo>
                        <a:pt x="556317" y="650534"/>
                      </a:lnTo>
                      <a:lnTo>
                        <a:pt x="556159" y="645883"/>
                      </a:lnTo>
                      <a:lnTo>
                        <a:pt x="551630" y="644826"/>
                      </a:lnTo>
                      <a:lnTo>
                        <a:pt x="550779" y="644620"/>
                      </a:lnTo>
                      <a:lnTo>
                        <a:pt x="550597" y="643867"/>
                      </a:lnTo>
                      <a:lnTo>
                        <a:pt x="549079" y="642568"/>
                      </a:lnTo>
                      <a:lnTo>
                        <a:pt x="547051" y="640831"/>
                      </a:lnTo>
                      <a:lnTo>
                        <a:pt x="547319" y="639909"/>
                      </a:lnTo>
                      <a:lnTo>
                        <a:pt x="547962" y="637674"/>
                      </a:lnTo>
                      <a:lnTo>
                        <a:pt x="548132" y="637140"/>
                      </a:lnTo>
                      <a:lnTo>
                        <a:pt x="548181" y="636594"/>
                      </a:lnTo>
                      <a:lnTo>
                        <a:pt x="548411" y="634371"/>
                      </a:lnTo>
                      <a:lnTo>
                        <a:pt x="548521" y="633412"/>
                      </a:lnTo>
                      <a:lnTo>
                        <a:pt x="548314" y="632368"/>
                      </a:lnTo>
                      <a:lnTo>
                        <a:pt x="547537" y="628943"/>
                      </a:lnTo>
                      <a:lnTo>
                        <a:pt x="547574" y="628871"/>
                      </a:lnTo>
                      <a:lnTo>
                        <a:pt x="547634" y="628810"/>
                      </a:lnTo>
                      <a:lnTo>
                        <a:pt x="547999" y="628676"/>
                      </a:lnTo>
                      <a:lnTo>
                        <a:pt x="550646" y="627693"/>
                      </a:lnTo>
                      <a:lnTo>
                        <a:pt x="552990" y="626636"/>
                      </a:lnTo>
                      <a:lnTo>
                        <a:pt x="554034" y="626151"/>
                      </a:lnTo>
                      <a:lnTo>
                        <a:pt x="557543" y="624511"/>
                      </a:lnTo>
                      <a:lnTo>
                        <a:pt x="557543" y="621731"/>
                      </a:lnTo>
                      <a:lnTo>
                        <a:pt x="558150" y="620893"/>
                      </a:lnTo>
                      <a:lnTo>
                        <a:pt x="559255" y="619302"/>
                      </a:lnTo>
                      <a:lnTo>
                        <a:pt x="559729" y="618610"/>
                      </a:lnTo>
                      <a:lnTo>
                        <a:pt x="559996" y="617821"/>
                      </a:lnTo>
                      <a:lnTo>
                        <a:pt x="560639" y="615987"/>
                      </a:lnTo>
                      <a:lnTo>
                        <a:pt x="561599" y="613243"/>
                      </a:lnTo>
                      <a:lnTo>
                        <a:pt x="560275" y="611118"/>
                      </a:lnTo>
                      <a:lnTo>
                        <a:pt x="560226" y="610753"/>
                      </a:lnTo>
                      <a:lnTo>
                        <a:pt x="559996" y="609175"/>
                      </a:lnTo>
                      <a:lnTo>
                        <a:pt x="559899" y="608471"/>
                      </a:lnTo>
                      <a:lnTo>
                        <a:pt x="559644" y="607803"/>
                      </a:lnTo>
                      <a:lnTo>
                        <a:pt x="559559" y="607584"/>
                      </a:lnTo>
                      <a:lnTo>
                        <a:pt x="558624" y="600493"/>
                      </a:lnTo>
                      <a:lnTo>
                        <a:pt x="558405" y="598902"/>
                      </a:lnTo>
                      <a:lnTo>
                        <a:pt x="557422" y="597615"/>
                      </a:lnTo>
                      <a:lnTo>
                        <a:pt x="553123" y="591980"/>
                      </a:lnTo>
                      <a:lnTo>
                        <a:pt x="552407" y="591046"/>
                      </a:lnTo>
                      <a:lnTo>
                        <a:pt x="551399" y="590450"/>
                      </a:lnTo>
                      <a:lnTo>
                        <a:pt x="546238" y="587378"/>
                      </a:lnTo>
                      <a:lnTo>
                        <a:pt x="545254" y="586795"/>
                      </a:lnTo>
                      <a:lnTo>
                        <a:pt x="544416" y="586285"/>
                      </a:lnTo>
                      <a:lnTo>
                        <a:pt x="543445" y="586067"/>
                      </a:lnTo>
                      <a:lnTo>
                        <a:pt x="539365" y="585180"/>
                      </a:lnTo>
                      <a:lnTo>
                        <a:pt x="534532" y="584136"/>
                      </a:lnTo>
                      <a:lnTo>
                        <a:pt x="532528" y="588665"/>
                      </a:lnTo>
                      <a:lnTo>
                        <a:pt x="530719" y="592746"/>
                      </a:lnTo>
                      <a:lnTo>
                        <a:pt x="529881" y="594020"/>
                      </a:lnTo>
                      <a:lnTo>
                        <a:pt x="524138" y="592126"/>
                      </a:lnTo>
                      <a:lnTo>
                        <a:pt x="521782" y="591349"/>
                      </a:lnTo>
                      <a:lnTo>
                        <a:pt x="521005" y="591094"/>
                      </a:lnTo>
                      <a:lnTo>
                        <a:pt x="520191" y="591058"/>
                      </a:lnTo>
                      <a:lnTo>
                        <a:pt x="516524" y="590875"/>
                      </a:lnTo>
                      <a:lnTo>
                        <a:pt x="508534" y="590499"/>
                      </a:lnTo>
                      <a:lnTo>
                        <a:pt x="506081" y="589977"/>
                      </a:lnTo>
                      <a:lnTo>
                        <a:pt x="498176" y="583881"/>
                      </a:lnTo>
                      <a:lnTo>
                        <a:pt x="493282" y="580105"/>
                      </a:lnTo>
                      <a:lnTo>
                        <a:pt x="492833" y="579752"/>
                      </a:lnTo>
                      <a:lnTo>
                        <a:pt x="492323" y="579498"/>
                      </a:lnTo>
                      <a:lnTo>
                        <a:pt x="467697" y="566990"/>
                      </a:lnTo>
                      <a:lnTo>
                        <a:pt x="443083" y="554471"/>
                      </a:lnTo>
                      <a:lnTo>
                        <a:pt x="442379" y="554119"/>
                      </a:lnTo>
                      <a:lnTo>
                        <a:pt x="441626" y="553949"/>
                      </a:lnTo>
                      <a:lnTo>
                        <a:pt x="439295" y="553439"/>
                      </a:lnTo>
                      <a:lnTo>
                        <a:pt x="438105" y="551399"/>
                      </a:lnTo>
                      <a:lnTo>
                        <a:pt x="437887" y="551047"/>
                      </a:lnTo>
                      <a:lnTo>
                        <a:pt x="437643" y="550731"/>
                      </a:lnTo>
                      <a:lnTo>
                        <a:pt x="436830" y="549674"/>
                      </a:lnTo>
                      <a:lnTo>
                        <a:pt x="436283" y="548994"/>
                      </a:lnTo>
                      <a:lnTo>
                        <a:pt x="436283" y="540227"/>
                      </a:lnTo>
                      <a:lnTo>
                        <a:pt x="436283" y="538855"/>
                      </a:lnTo>
                      <a:lnTo>
                        <a:pt x="435689" y="537616"/>
                      </a:lnTo>
                      <a:lnTo>
                        <a:pt x="435215" y="536621"/>
                      </a:lnTo>
                      <a:lnTo>
                        <a:pt x="434766" y="535674"/>
                      </a:lnTo>
                      <a:lnTo>
                        <a:pt x="433940" y="534739"/>
                      </a:lnTo>
                      <a:lnTo>
                        <a:pt x="431973" y="532771"/>
                      </a:lnTo>
                      <a:lnTo>
                        <a:pt x="430601" y="529711"/>
                      </a:lnTo>
                      <a:lnTo>
                        <a:pt x="429593" y="527489"/>
                      </a:lnTo>
                      <a:lnTo>
                        <a:pt x="427334" y="526579"/>
                      </a:lnTo>
                      <a:lnTo>
                        <a:pt x="425780" y="525947"/>
                      </a:lnTo>
                      <a:lnTo>
                        <a:pt x="425270" y="525741"/>
                      </a:lnTo>
                      <a:lnTo>
                        <a:pt x="425282" y="525644"/>
                      </a:lnTo>
                      <a:lnTo>
                        <a:pt x="425780" y="524502"/>
                      </a:lnTo>
                      <a:lnTo>
                        <a:pt x="426302" y="523276"/>
                      </a:lnTo>
                      <a:lnTo>
                        <a:pt x="428378" y="520301"/>
                      </a:lnTo>
                      <a:lnTo>
                        <a:pt x="429241" y="519038"/>
                      </a:lnTo>
                      <a:lnTo>
                        <a:pt x="429423" y="517520"/>
                      </a:lnTo>
                      <a:lnTo>
                        <a:pt x="429908" y="512821"/>
                      </a:lnTo>
                      <a:lnTo>
                        <a:pt x="432191" y="512432"/>
                      </a:lnTo>
                      <a:lnTo>
                        <a:pt x="433649" y="510416"/>
                      </a:lnTo>
                      <a:lnTo>
                        <a:pt x="434498" y="509238"/>
                      </a:lnTo>
                      <a:lnTo>
                        <a:pt x="434996" y="508546"/>
                      </a:lnTo>
                      <a:lnTo>
                        <a:pt x="435944" y="507223"/>
                      </a:lnTo>
                      <a:lnTo>
                        <a:pt x="436102" y="505596"/>
                      </a:lnTo>
                      <a:lnTo>
                        <a:pt x="436126" y="505328"/>
                      </a:lnTo>
                      <a:lnTo>
                        <a:pt x="438032" y="505632"/>
                      </a:lnTo>
                      <a:lnTo>
                        <a:pt x="439999" y="501564"/>
                      </a:lnTo>
                      <a:lnTo>
                        <a:pt x="440339" y="500848"/>
                      </a:lnTo>
                      <a:lnTo>
                        <a:pt x="441262" y="498966"/>
                      </a:lnTo>
                      <a:lnTo>
                        <a:pt x="442258" y="498031"/>
                      </a:lnTo>
                      <a:lnTo>
                        <a:pt x="443096" y="497229"/>
                      </a:lnTo>
                      <a:lnTo>
                        <a:pt x="443557" y="496804"/>
                      </a:lnTo>
                      <a:lnTo>
                        <a:pt x="443909" y="496294"/>
                      </a:lnTo>
                      <a:lnTo>
                        <a:pt x="445694" y="493732"/>
                      </a:lnTo>
                      <a:lnTo>
                        <a:pt x="447054" y="491777"/>
                      </a:lnTo>
                      <a:lnTo>
                        <a:pt x="446727" y="489421"/>
                      </a:lnTo>
                      <a:lnTo>
                        <a:pt x="446204" y="485632"/>
                      </a:lnTo>
                      <a:lnTo>
                        <a:pt x="446119" y="485001"/>
                      </a:lnTo>
                      <a:lnTo>
                        <a:pt x="445901" y="484406"/>
                      </a:lnTo>
                      <a:lnTo>
                        <a:pt x="445318" y="482791"/>
                      </a:lnTo>
                      <a:lnTo>
                        <a:pt x="443800" y="478553"/>
                      </a:lnTo>
                      <a:lnTo>
                        <a:pt x="447540" y="476574"/>
                      </a:lnTo>
                      <a:lnTo>
                        <a:pt x="449325" y="475979"/>
                      </a:lnTo>
                      <a:lnTo>
                        <a:pt x="449835" y="476028"/>
                      </a:lnTo>
                      <a:lnTo>
                        <a:pt x="450163" y="476052"/>
                      </a:lnTo>
                      <a:lnTo>
                        <a:pt x="451086" y="476659"/>
                      </a:lnTo>
                      <a:lnTo>
                        <a:pt x="451341" y="476999"/>
                      </a:lnTo>
                      <a:lnTo>
                        <a:pt x="452652" y="478687"/>
                      </a:lnTo>
                      <a:lnTo>
                        <a:pt x="453611" y="480848"/>
                      </a:lnTo>
                      <a:lnTo>
                        <a:pt x="453648" y="481552"/>
                      </a:lnTo>
                      <a:lnTo>
                        <a:pt x="453745" y="483350"/>
                      </a:lnTo>
                      <a:lnTo>
                        <a:pt x="454024" y="488729"/>
                      </a:lnTo>
                      <a:lnTo>
                        <a:pt x="459392" y="489081"/>
                      </a:lnTo>
                      <a:lnTo>
                        <a:pt x="461067" y="489191"/>
                      </a:lnTo>
                      <a:lnTo>
                        <a:pt x="468377" y="491085"/>
                      </a:lnTo>
                      <a:lnTo>
                        <a:pt x="468863" y="491206"/>
                      </a:lnTo>
                      <a:lnTo>
                        <a:pt x="469349" y="491255"/>
                      </a:lnTo>
                      <a:lnTo>
                        <a:pt x="472518" y="491546"/>
                      </a:lnTo>
                      <a:lnTo>
                        <a:pt x="474825" y="491753"/>
                      </a:lnTo>
                      <a:lnTo>
                        <a:pt x="476671" y="490380"/>
                      </a:lnTo>
                      <a:lnTo>
                        <a:pt x="478395" y="489118"/>
                      </a:lnTo>
                      <a:lnTo>
                        <a:pt x="479403" y="488365"/>
                      </a:lnTo>
                      <a:lnTo>
                        <a:pt x="480034" y="487272"/>
                      </a:lnTo>
                      <a:lnTo>
                        <a:pt x="482232" y="483483"/>
                      </a:lnTo>
                      <a:lnTo>
                        <a:pt x="483216" y="481759"/>
                      </a:lnTo>
                      <a:lnTo>
                        <a:pt x="486895" y="477120"/>
                      </a:lnTo>
                      <a:lnTo>
                        <a:pt x="489494" y="473842"/>
                      </a:lnTo>
                      <a:lnTo>
                        <a:pt x="489882" y="473344"/>
                      </a:lnTo>
                      <a:lnTo>
                        <a:pt x="490162" y="472785"/>
                      </a:lnTo>
                      <a:lnTo>
                        <a:pt x="490927" y="471255"/>
                      </a:lnTo>
                      <a:lnTo>
                        <a:pt x="492469" y="468135"/>
                      </a:lnTo>
                      <a:lnTo>
                        <a:pt x="492943" y="467163"/>
                      </a:lnTo>
                      <a:lnTo>
                        <a:pt x="493064" y="466095"/>
                      </a:lnTo>
                      <a:lnTo>
                        <a:pt x="493440" y="462634"/>
                      </a:lnTo>
                      <a:lnTo>
                        <a:pt x="494048" y="461881"/>
                      </a:lnTo>
                      <a:lnTo>
                        <a:pt x="496610" y="458736"/>
                      </a:lnTo>
                      <a:lnTo>
                        <a:pt x="497217" y="457983"/>
                      </a:lnTo>
                      <a:lnTo>
                        <a:pt x="497557" y="457084"/>
                      </a:lnTo>
                      <a:lnTo>
                        <a:pt x="499378" y="452312"/>
                      </a:lnTo>
                      <a:lnTo>
                        <a:pt x="499815" y="451171"/>
                      </a:lnTo>
                      <a:lnTo>
                        <a:pt x="500071" y="450467"/>
                      </a:lnTo>
                      <a:lnTo>
                        <a:pt x="500155" y="449714"/>
                      </a:lnTo>
                      <a:lnTo>
                        <a:pt x="500933" y="443157"/>
                      </a:lnTo>
                      <a:lnTo>
                        <a:pt x="501686" y="436587"/>
                      </a:lnTo>
                      <a:lnTo>
                        <a:pt x="501746" y="436101"/>
                      </a:lnTo>
                      <a:lnTo>
                        <a:pt x="501734" y="435604"/>
                      </a:lnTo>
                      <a:lnTo>
                        <a:pt x="501333" y="426727"/>
                      </a:lnTo>
                      <a:lnTo>
                        <a:pt x="503155" y="426424"/>
                      </a:lnTo>
                      <a:lnTo>
                        <a:pt x="504612" y="426800"/>
                      </a:lnTo>
                      <a:lnTo>
                        <a:pt x="510210" y="428949"/>
                      </a:lnTo>
                      <a:lnTo>
                        <a:pt x="510513" y="429071"/>
                      </a:lnTo>
                      <a:lnTo>
                        <a:pt x="510829" y="429156"/>
                      </a:lnTo>
                      <a:lnTo>
                        <a:pt x="515358" y="430346"/>
                      </a:lnTo>
                      <a:lnTo>
                        <a:pt x="515832" y="430564"/>
                      </a:lnTo>
                      <a:lnTo>
                        <a:pt x="516719" y="430953"/>
                      </a:lnTo>
                      <a:lnTo>
                        <a:pt x="517690" y="431050"/>
                      </a:lnTo>
                      <a:lnTo>
                        <a:pt x="518673" y="431147"/>
                      </a:lnTo>
                      <a:lnTo>
                        <a:pt x="520495" y="431001"/>
                      </a:lnTo>
                      <a:lnTo>
                        <a:pt x="522608" y="430516"/>
                      </a:lnTo>
                      <a:lnTo>
                        <a:pt x="523640" y="430273"/>
                      </a:lnTo>
                      <a:lnTo>
                        <a:pt x="524526" y="429702"/>
                      </a:lnTo>
                      <a:lnTo>
                        <a:pt x="525194" y="429277"/>
                      </a:lnTo>
                      <a:lnTo>
                        <a:pt x="525862" y="428852"/>
                      </a:lnTo>
                      <a:lnTo>
                        <a:pt x="526530" y="428427"/>
                      </a:lnTo>
                      <a:lnTo>
                        <a:pt x="527064" y="427844"/>
                      </a:lnTo>
                      <a:lnTo>
                        <a:pt x="528084" y="426727"/>
                      </a:lnTo>
                      <a:lnTo>
                        <a:pt x="530792" y="426812"/>
                      </a:lnTo>
                      <a:lnTo>
                        <a:pt x="532504" y="426849"/>
                      </a:lnTo>
                      <a:lnTo>
                        <a:pt x="537289" y="427759"/>
                      </a:lnTo>
                      <a:lnTo>
                        <a:pt x="540907" y="429071"/>
                      </a:lnTo>
                      <a:lnTo>
                        <a:pt x="548023" y="431657"/>
                      </a:lnTo>
                      <a:lnTo>
                        <a:pt x="548751" y="431924"/>
                      </a:lnTo>
                      <a:lnTo>
                        <a:pt x="549504" y="431997"/>
                      </a:lnTo>
                      <a:lnTo>
                        <a:pt x="556717" y="432701"/>
                      </a:lnTo>
                      <a:lnTo>
                        <a:pt x="560712" y="433090"/>
                      </a:lnTo>
                      <a:lnTo>
                        <a:pt x="562983" y="433309"/>
                      </a:lnTo>
                      <a:lnTo>
                        <a:pt x="564829" y="431985"/>
                      </a:lnTo>
                      <a:lnTo>
                        <a:pt x="566395" y="430868"/>
                      </a:lnTo>
                      <a:lnTo>
                        <a:pt x="567731" y="429909"/>
                      </a:lnTo>
                      <a:lnTo>
                        <a:pt x="568399" y="428391"/>
                      </a:lnTo>
                      <a:lnTo>
                        <a:pt x="568994" y="427067"/>
                      </a:lnTo>
                      <a:lnTo>
                        <a:pt x="580821" y="431123"/>
                      </a:lnTo>
                      <a:lnTo>
                        <a:pt x="581598" y="431390"/>
                      </a:lnTo>
                      <a:lnTo>
                        <a:pt x="582412" y="431439"/>
                      </a:lnTo>
                      <a:lnTo>
                        <a:pt x="584063" y="431536"/>
                      </a:lnTo>
                      <a:lnTo>
                        <a:pt x="587184" y="431718"/>
                      </a:lnTo>
                      <a:lnTo>
                        <a:pt x="598987" y="432422"/>
                      </a:lnTo>
                      <a:lnTo>
                        <a:pt x="593693" y="424044"/>
                      </a:lnTo>
                      <a:lnTo>
                        <a:pt x="594166" y="422247"/>
                      </a:lnTo>
                      <a:lnTo>
                        <a:pt x="594421" y="421251"/>
                      </a:lnTo>
                      <a:lnTo>
                        <a:pt x="594676" y="420243"/>
                      </a:lnTo>
                      <a:lnTo>
                        <a:pt x="595028" y="418895"/>
                      </a:lnTo>
                      <a:lnTo>
                        <a:pt x="594761" y="417523"/>
                      </a:lnTo>
                      <a:lnTo>
                        <a:pt x="594397" y="415653"/>
                      </a:lnTo>
                      <a:lnTo>
                        <a:pt x="594397" y="415641"/>
                      </a:lnTo>
                      <a:lnTo>
                        <a:pt x="600699" y="411184"/>
                      </a:lnTo>
                      <a:lnTo>
                        <a:pt x="601598" y="410541"/>
                      </a:lnTo>
                      <a:lnTo>
                        <a:pt x="602217" y="409630"/>
                      </a:lnTo>
                      <a:lnTo>
                        <a:pt x="603541" y="407675"/>
                      </a:lnTo>
                      <a:lnTo>
                        <a:pt x="604172" y="406740"/>
                      </a:lnTo>
                      <a:lnTo>
                        <a:pt x="604427" y="405635"/>
                      </a:lnTo>
                      <a:lnTo>
                        <a:pt x="604888" y="403631"/>
                      </a:lnTo>
                      <a:lnTo>
                        <a:pt x="605192" y="402308"/>
                      </a:lnTo>
                      <a:lnTo>
                        <a:pt x="604901" y="400984"/>
                      </a:lnTo>
                      <a:lnTo>
                        <a:pt x="604488" y="399078"/>
                      </a:lnTo>
                      <a:lnTo>
                        <a:pt x="604172" y="397596"/>
                      </a:lnTo>
                      <a:lnTo>
                        <a:pt x="603200" y="396443"/>
                      </a:lnTo>
                      <a:lnTo>
                        <a:pt x="601828" y="394816"/>
                      </a:lnTo>
                      <a:lnTo>
                        <a:pt x="599897" y="392533"/>
                      </a:lnTo>
                      <a:lnTo>
                        <a:pt x="596922" y="392666"/>
                      </a:lnTo>
                      <a:lnTo>
                        <a:pt x="592539" y="392873"/>
                      </a:lnTo>
                      <a:lnTo>
                        <a:pt x="588265" y="393079"/>
                      </a:lnTo>
                      <a:lnTo>
                        <a:pt x="586407" y="392836"/>
                      </a:lnTo>
                      <a:lnTo>
                        <a:pt x="584695" y="391136"/>
                      </a:lnTo>
                      <a:lnTo>
                        <a:pt x="583213" y="389873"/>
                      </a:lnTo>
                      <a:lnTo>
                        <a:pt x="581695" y="388623"/>
                      </a:lnTo>
                      <a:lnTo>
                        <a:pt x="579740" y="388501"/>
                      </a:lnTo>
                      <a:lnTo>
                        <a:pt x="576389" y="388283"/>
                      </a:lnTo>
                      <a:lnTo>
                        <a:pt x="573098" y="384275"/>
                      </a:lnTo>
                      <a:lnTo>
                        <a:pt x="573062" y="384178"/>
                      </a:lnTo>
                      <a:lnTo>
                        <a:pt x="572916" y="383802"/>
                      </a:lnTo>
                      <a:lnTo>
                        <a:pt x="572904" y="383656"/>
                      </a:lnTo>
                      <a:lnTo>
                        <a:pt x="572794" y="382612"/>
                      </a:lnTo>
                      <a:lnTo>
                        <a:pt x="572734" y="382029"/>
                      </a:lnTo>
                      <a:lnTo>
                        <a:pt x="572564" y="381471"/>
                      </a:lnTo>
                      <a:lnTo>
                        <a:pt x="572054" y="379807"/>
                      </a:lnTo>
                      <a:lnTo>
                        <a:pt x="571447" y="377828"/>
                      </a:lnTo>
                      <a:lnTo>
                        <a:pt x="571337" y="377755"/>
                      </a:lnTo>
                      <a:lnTo>
                        <a:pt x="572880" y="374282"/>
                      </a:lnTo>
                      <a:lnTo>
                        <a:pt x="573462" y="372958"/>
                      </a:lnTo>
                      <a:lnTo>
                        <a:pt x="573390" y="371513"/>
                      </a:lnTo>
                      <a:lnTo>
                        <a:pt x="573280" y="369376"/>
                      </a:lnTo>
                      <a:lnTo>
                        <a:pt x="573171" y="367239"/>
                      </a:lnTo>
                      <a:lnTo>
                        <a:pt x="573086" y="365563"/>
                      </a:lnTo>
                      <a:lnTo>
                        <a:pt x="572163" y="364167"/>
                      </a:lnTo>
                      <a:lnTo>
                        <a:pt x="571580" y="363292"/>
                      </a:lnTo>
                      <a:lnTo>
                        <a:pt x="570487" y="361677"/>
                      </a:lnTo>
                      <a:lnTo>
                        <a:pt x="570026" y="360973"/>
                      </a:lnTo>
                      <a:lnTo>
                        <a:pt x="569382" y="360427"/>
                      </a:lnTo>
                      <a:lnTo>
                        <a:pt x="567354" y="358678"/>
                      </a:lnTo>
                      <a:lnTo>
                        <a:pt x="567148" y="358447"/>
                      </a:lnTo>
                      <a:lnTo>
                        <a:pt x="565399" y="356395"/>
                      </a:lnTo>
                      <a:lnTo>
                        <a:pt x="565072" y="356007"/>
                      </a:lnTo>
                      <a:lnTo>
                        <a:pt x="564683" y="355679"/>
                      </a:lnTo>
                      <a:lnTo>
                        <a:pt x="563068" y="354331"/>
                      </a:lnTo>
                      <a:lnTo>
                        <a:pt x="562279" y="353675"/>
                      </a:lnTo>
                      <a:lnTo>
                        <a:pt x="561319" y="353311"/>
                      </a:lnTo>
                      <a:lnTo>
                        <a:pt x="555588" y="351137"/>
                      </a:lnTo>
                      <a:lnTo>
                        <a:pt x="547064" y="347907"/>
                      </a:lnTo>
                      <a:lnTo>
                        <a:pt x="547306" y="354792"/>
                      </a:lnTo>
                      <a:lnTo>
                        <a:pt x="547294" y="354792"/>
                      </a:lnTo>
                      <a:lnTo>
                        <a:pt x="545801" y="355023"/>
                      </a:lnTo>
                      <a:lnTo>
                        <a:pt x="544149" y="355278"/>
                      </a:lnTo>
                      <a:lnTo>
                        <a:pt x="542874" y="356322"/>
                      </a:lnTo>
                      <a:lnTo>
                        <a:pt x="541648" y="357330"/>
                      </a:lnTo>
                      <a:lnTo>
                        <a:pt x="540871" y="357998"/>
                      </a:lnTo>
                      <a:lnTo>
                        <a:pt x="540470" y="358338"/>
                      </a:lnTo>
                      <a:lnTo>
                        <a:pt x="540142" y="358739"/>
                      </a:lnTo>
                      <a:lnTo>
                        <a:pt x="540118" y="358763"/>
                      </a:lnTo>
                      <a:lnTo>
                        <a:pt x="539742" y="359225"/>
                      </a:lnTo>
                      <a:lnTo>
                        <a:pt x="538721" y="360451"/>
                      </a:lnTo>
                      <a:lnTo>
                        <a:pt x="537726" y="360220"/>
                      </a:lnTo>
                      <a:lnTo>
                        <a:pt x="532577" y="356954"/>
                      </a:lnTo>
                      <a:lnTo>
                        <a:pt x="532322" y="356784"/>
                      </a:lnTo>
                      <a:lnTo>
                        <a:pt x="532055" y="356650"/>
                      </a:lnTo>
                      <a:lnTo>
                        <a:pt x="528279" y="354853"/>
                      </a:lnTo>
                      <a:lnTo>
                        <a:pt x="527125" y="354307"/>
                      </a:lnTo>
                      <a:lnTo>
                        <a:pt x="525862" y="354270"/>
                      </a:lnTo>
                      <a:lnTo>
                        <a:pt x="518334" y="354027"/>
                      </a:lnTo>
                      <a:lnTo>
                        <a:pt x="516888" y="353748"/>
                      </a:lnTo>
                      <a:lnTo>
                        <a:pt x="516864" y="353748"/>
                      </a:lnTo>
                      <a:lnTo>
                        <a:pt x="515953" y="351915"/>
                      </a:lnTo>
                      <a:lnTo>
                        <a:pt x="515298" y="350615"/>
                      </a:lnTo>
                      <a:lnTo>
                        <a:pt x="514132" y="349753"/>
                      </a:lnTo>
                      <a:lnTo>
                        <a:pt x="510246" y="346875"/>
                      </a:lnTo>
                      <a:lnTo>
                        <a:pt x="509008" y="344264"/>
                      </a:lnTo>
                      <a:lnTo>
                        <a:pt x="508097" y="342322"/>
                      </a:lnTo>
                      <a:lnTo>
                        <a:pt x="506178" y="341387"/>
                      </a:lnTo>
                      <a:lnTo>
                        <a:pt x="499949" y="338363"/>
                      </a:lnTo>
                      <a:lnTo>
                        <a:pt x="499706" y="338132"/>
                      </a:lnTo>
                      <a:lnTo>
                        <a:pt x="499038" y="328175"/>
                      </a:lnTo>
                      <a:lnTo>
                        <a:pt x="498893" y="326026"/>
                      </a:lnTo>
                      <a:lnTo>
                        <a:pt x="497435" y="324447"/>
                      </a:lnTo>
                      <a:lnTo>
                        <a:pt x="492445" y="319056"/>
                      </a:lnTo>
                      <a:lnTo>
                        <a:pt x="491935" y="318521"/>
                      </a:lnTo>
                      <a:lnTo>
                        <a:pt x="491315" y="318109"/>
                      </a:lnTo>
                      <a:lnTo>
                        <a:pt x="487211" y="315413"/>
                      </a:lnTo>
                      <a:lnTo>
                        <a:pt x="478371" y="309621"/>
                      </a:lnTo>
                      <a:lnTo>
                        <a:pt x="473271" y="303841"/>
                      </a:lnTo>
                      <a:lnTo>
                        <a:pt x="467600" y="297441"/>
                      </a:lnTo>
                      <a:lnTo>
                        <a:pt x="466823" y="296555"/>
                      </a:lnTo>
                      <a:lnTo>
                        <a:pt x="465767" y="296033"/>
                      </a:lnTo>
                      <a:lnTo>
                        <a:pt x="459671" y="292997"/>
                      </a:lnTo>
                      <a:lnTo>
                        <a:pt x="457582" y="291965"/>
                      </a:lnTo>
                      <a:lnTo>
                        <a:pt x="455324" y="292596"/>
                      </a:lnTo>
                      <a:lnTo>
                        <a:pt x="446957" y="294940"/>
                      </a:lnTo>
                      <a:lnTo>
                        <a:pt x="446229" y="295146"/>
                      </a:lnTo>
                      <a:lnTo>
                        <a:pt x="445573" y="295523"/>
                      </a:lnTo>
                      <a:lnTo>
                        <a:pt x="442768" y="297126"/>
                      </a:lnTo>
                      <a:lnTo>
                        <a:pt x="440934" y="297903"/>
                      </a:lnTo>
                      <a:lnTo>
                        <a:pt x="440363" y="296142"/>
                      </a:lnTo>
                      <a:lnTo>
                        <a:pt x="440194" y="295620"/>
                      </a:lnTo>
                      <a:lnTo>
                        <a:pt x="439938" y="295134"/>
                      </a:lnTo>
                      <a:lnTo>
                        <a:pt x="439016" y="293422"/>
                      </a:lnTo>
                      <a:lnTo>
                        <a:pt x="438664" y="292778"/>
                      </a:lnTo>
                      <a:lnTo>
                        <a:pt x="438178" y="292244"/>
                      </a:lnTo>
                      <a:lnTo>
                        <a:pt x="436927" y="290860"/>
                      </a:lnTo>
                      <a:lnTo>
                        <a:pt x="436976" y="290520"/>
                      </a:lnTo>
                      <a:lnTo>
                        <a:pt x="437218" y="288844"/>
                      </a:lnTo>
                      <a:lnTo>
                        <a:pt x="436575" y="287168"/>
                      </a:lnTo>
                      <a:lnTo>
                        <a:pt x="435579" y="284801"/>
                      </a:lnTo>
                      <a:lnTo>
                        <a:pt x="434729" y="279603"/>
                      </a:lnTo>
                      <a:lnTo>
                        <a:pt x="434863" y="279409"/>
                      </a:lnTo>
                      <a:lnTo>
                        <a:pt x="435640" y="278243"/>
                      </a:lnTo>
                      <a:lnTo>
                        <a:pt x="436138" y="277503"/>
                      </a:lnTo>
                      <a:lnTo>
                        <a:pt x="436587" y="276361"/>
                      </a:lnTo>
                      <a:lnTo>
                        <a:pt x="439902" y="265578"/>
                      </a:lnTo>
                      <a:lnTo>
                        <a:pt x="440959" y="263635"/>
                      </a:lnTo>
                      <a:lnTo>
                        <a:pt x="442634" y="260515"/>
                      </a:lnTo>
                      <a:lnTo>
                        <a:pt x="446289" y="257734"/>
                      </a:lnTo>
                      <a:lnTo>
                        <a:pt x="447771" y="256617"/>
                      </a:lnTo>
                      <a:lnTo>
                        <a:pt x="448366" y="254856"/>
                      </a:lnTo>
                      <a:lnTo>
                        <a:pt x="449677" y="251007"/>
                      </a:lnTo>
                      <a:lnTo>
                        <a:pt x="450139" y="249683"/>
                      </a:lnTo>
                      <a:lnTo>
                        <a:pt x="449956" y="248287"/>
                      </a:lnTo>
                      <a:lnTo>
                        <a:pt x="449689" y="246101"/>
                      </a:lnTo>
                      <a:lnTo>
                        <a:pt x="449434" y="244146"/>
                      </a:lnTo>
                      <a:lnTo>
                        <a:pt x="448099" y="242701"/>
                      </a:lnTo>
                      <a:lnTo>
                        <a:pt x="447200" y="241742"/>
                      </a:lnTo>
                      <a:lnTo>
                        <a:pt x="449009" y="235986"/>
                      </a:lnTo>
                      <a:lnTo>
                        <a:pt x="449374" y="235427"/>
                      </a:lnTo>
                      <a:lnTo>
                        <a:pt x="450916" y="234468"/>
                      </a:lnTo>
                      <a:lnTo>
                        <a:pt x="454437" y="232282"/>
                      </a:lnTo>
                      <a:lnTo>
                        <a:pt x="454777" y="232064"/>
                      </a:lnTo>
                      <a:lnTo>
                        <a:pt x="455081" y="231809"/>
                      </a:lnTo>
                      <a:lnTo>
                        <a:pt x="455906" y="231129"/>
                      </a:lnTo>
                      <a:lnTo>
                        <a:pt x="456769" y="230400"/>
                      </a:lnTo>
                      <a:lnTo>
                        <a:pt x="457266" y="229987"/>
                      </a:lnTo>
                      <a:lnTo>
                        <a:pt x="457667" y="229477"/>
                      </a:lnTo>
                      <a:lnTo>
                        <a:pt x="458238" y="228749"/>
                      </a:lnTo>
                      <a:lnTo>
                        <a:pt x="458554" y="228324"/>
                      </a:lnTo>
                      <a:lnTo>
                        <a:pt x="458687" y="228202"/>
                      </a:lnTo>
                      <a:lnTo>
                        <a:pt x="459076" y="228057"/>
                      </a:lnTo>
                      <a:lnTo>
                        <a:pt x="462427" y="227352"/>
                      </a:lnTo>
                      <a:lnTo>
                        <a:pt x="462767" y="227292"/>
                      </a:lnTo>
                      <a:lnTo>
                        <a:pt x="463095" y="227182"/>
                      </a:lnTo>
                      <a:lnTo>
                        <a:pt x="474048" y="223564"/>
                      </a:lnTo>
                      <a:lnTo>
                        <a:pt x="474692" y="223345"/>
                      </a:lnTo>
                      <a:lnTo>
                        <a:pt x="475274" y="222993"/>
                      </a:lnTo>
                      <a:lnTo>
                        <a:pt x="477776" y="221487"/>
                      </a:lnTo>
                      <a:lnTo>
                        <a:pt x="478565" y="221001"/>
                      </a:lnTo>
                      <a:lnTo>
                        <a:pt x="479974" y="220152"/>
                      </a:lnTo>
                      <a:lnTo>
                        <a:pt x="480751" y="218706"/>
                      </a:lnTo>
                      <a:lnTo>
                        <a:pt x="481552" y="217213"/>
                      </a:lnTo>
                      <a:lnTo>
                        <a:pt x="482366" y="215707"/>
                      </a:lnTo>
                      <a:lnTo>
                        <a:pt x="483192" y="214165"/>
                      </a:lnTo>
                      <a:lnTo>
                        <a:pt x="483070" y="212416"/>
                      </a:lnTo>
                      <a:lnTo>
                        <a:pt x="482767" y="206066"/>
                      </a:lnTo>
                      <a:lnTo>
                        <a:pt x="482912" y="205434"/>
                      </a:lnTo>
                      <a:lnTo>
                        <a:pt x="482973" y="205204"/>
                      </a:lnTo>
                      <a:lnTo>
                        <a:pt x="484187" y="203601"/>
                      </a:lnTo>
                      <a:lnTo>
                        <a:pt x="484734" y="202872"/>
                      </a:lnTo>
                      <a:lnTo>
                        <a:pt x="485487" y="202192"/>
                      </a:lnTo>
                      <a:lnTo>
                        <a:pt x="486677" y="201136"/>
                      </a:lnTo>
                      <a:lnTo>
                        <a:pt x="488947" y="199751"/>
                      </a:lnTo>
                      <a:lnTo>
                        <a:pt x="495007" y="196011"/>
                      </a:lnTo>
                      <a:lnTo>
                        <a:pt x="495820" y="195513"/>
                      </a:lnTo>
                      <a:lnTo>
                        <a:pt x="496440" y="194785"/>
                      </a:lnTo>
                      <a:lnTo>
                        <a:pt x="496926" y="194214"/>
                      </a:lnTo>
                      <a:lnTo>
                        <a:pt x="498128" y="194263"/>
                      </a:lnTo>
                      <a:lnTo>
                        <a:pt x="499900" y="194336"/>
                      </a:lnTo>
                      <a:lnTo>
                        <a:pt x="500398" y="194360"/>
                      </a:lnTo>
                      <a:lnTo>
                        <a:pt x="500908" y="194299"/>
                      </a:lnTo>
                      <a:lnTo>
                        <a:pt x="501819" y="194190"/>
                      </a:lnTo>
                      <a:lnTo>
                        <a:pt x="502730" y="194081"/>
                      </a:lnTo>
                      <a:lnTo>
                        <a:pt x="503070" y="194032"/>
                      </a:lnTo>
                      <a:lnTo>
                        <a:pt x="503410" y="193959"/>
                      </a:lnTo>
                      <a:lnTo>
                        <a:pt x="503689" y="193886"/>
                      </a:lnTo>
                      <a:lnTo>
                        <a:pt x="504988" y="194093"/>
                      </a:lnTo>
                      <a:lnTo>
                        <a:pt x="506640" y="194348"/>
                      </a:lnTo>
                      <a:lnTo>
                        <a:pt x="514205" y="195477"/>
                      </a:lnTo>
                      <a:lnTo>
                        <a:pt x="513585" y="187863"/>
                      </a:lnTo>
                      <a:lnTo>
                        <a:pt x="513197" y="182958"/>
                      </a:lnTo>
                      <a:lnTo>
                        <a:pt x="513136" y="182205"/>
                      </a:lnTo>
                      <a:lnTo>
                        <a:pt x="512881" y="181294"/>
                      </a:lnTo>
                      <a:lnTo>
                        <a:pt x="511035" y="175866"/>
                      </a:lnTo>
                      <a:lnTo>
                        <a:pt x="509166" y="170426"/>
                      </a:lnTo>
                      <a:lnTo>
                        <a:pt x="508947" y="169795"/>
                      </a:lnTo>
                      <a:lnTo>
                        <a:pt x="508595" y="169224"/>
                      </a:lnTo>
                      <a:lnTo>
                        <a:pt x="507368" y="167233"/>
                      </a:lnTo>
                      <a:lnTo>
                        <a:pt x="509785" y="168775"/>
                      </a:lnTo>
                      <a:lnTo>
                        <a:pt x="510234" y="169054"/>
                      </a:lnTo>
                      <a:lnTo>
                        <a:pt x="510720" y="169261"/>
                      </a:lnTo>
                      <a:lnTo>
                        <a:pt x="513671" y="170499"/>
                      </a:lnTo>
                      <a:lnTo>
                        <a:pt x="515043" y="171070"/>
                      </a:lnTo>
                      <a:lnTo>
                        <a:pt x="515844" y="171398"/>
                      </a:lnTo>
                      <a:lnTo>
                        <a:pt x="516694" y="171495"/>
                      </a:lnTo>
                      <a:lnTo>
                        <a:pt x="518139" y="171665"/>
                      </a:lnTo>
                      <a:lnTo>
                        <a:pt x="518528" y="171701"/>
                      </a:lnTo>
                      <a:lnTo>
                        <a:pt x="518916" y="171701"/>
                      </a:lnTo>
                      <a:lnTo>
                        <a:pt x="521126" y="171665"/>
                      </a:lnTo>
                      <a:lnTo>
                        <a:pt x="521891" y="173328"/>
                      </a:lnTo>
                      <a:lnTo>
                        <a:pt x="522183" y="173984"/>
                      </a:lnTo>
                      <a:lnTo>
                        <a:pt x="522632" y="174555"/>
                      </a:lnTo>
                      <a:lnTo>
                        <a:pt x="524113" y="176413"/>
                      </a:lnTo>
                      <a:lnTo>
                        <a:pt x="524769" y="177214"/>
                      </a:lnTo>
                      <a:lnTo>
                        <a:pt x="525631" y="177761"/>
                      </a:lnTo>
                      <a:lnTo>
                        <a:pt x="527696" y="179060"/>
                      </a:lnTo>
                      <a:lnTo>
                        <a:pt x="528036" y="179278"/>
                      </a:lnTo>
                      <a:lnTo>
                        <a:pt x="528400" y="179448"/>
                      </a:lnTo>
                      <a:lnTo>
                        <a:pt x="529663" y="180031"/>
                      </a:lnTo>
                      <a:lnTo>
                        <a:pt x="530064" y="180213"/>
                      </a:lnTo>
                      <a:lnTo>
                        <a:pt x="530270" y="180906"/>
                      </a:lnTo>
                      <a:lnTo>
                        <a:pt x="530671" y="182278"/>
                      </a:lnTo>
                      <a:lnTo>
                        <a:pt x="531582" y="185410"/>
                      </a:lnTo>
                      <a:lnTo>
                        <a:pt x="533269" y="185933"/>
                      </a:lnTo>
                      <a:lnTo>
                        <a:pt x="533208" y="187098"/>
                      </a:lnTo>
                      <a:lnTo>
                        <a:pt x="534423" y="188811"/>
                      </a:lnTo>
                      <a:lnTo>
                        <a:pt x="535103" y="189770"/>
                      </a:lnTo>
                      <a:lnTo>
                        <a:pt x="535552" y="190389"/>
                      </a:lnTo>
                      <a:lnTo>
                        <a:pt x="536439" y="191604"/>
                      </a:lnTo>
                      <a:lnTo>
                        <a:pt x="537799" y="192259"/>
                      </a:lnTo>
                      <a:lnTo>
                        <a:pt x="539972" y="193304"/>
                      </a:lnTo>
                      <a:lnTo>
                        <a:pt x="540628" y="193619"/>
                      </a:lnTo>
                      <a:lnTo>
                        <a:pt x="540324" y="193874"/>
                      </a:lnTo>
                      <a:lnTo>
                        <a:pt x="534071" y="196910"/>
                      </a:lnTo>
                      <a:lnTo>
                        <a:pt x="533208" y="197335"/>
                      </a:lnTo>
                      <a:lnTo>
                        <a:pt x="532504" y="198003"/>
                      </a:lnTo>
                      <a:lnTo>
                        <a:pt x="531035" y="199448"/>
                      </a:lnTo>
                      <a:lnTo>
                        <a:pt x="525838" y="204548"/>
                      </a:lnTo>
                      <a:lnTo>
                        <a:pt x="531788" y="208737"/>
                      </a:lnTo>
                      <a:lnTo>
                        <a:pt x="535127" y="211093"/>
                      </a:lnTo>
                      <a:lnTo>
                        <a:pt x="537702" y="212902"/>
                      </a:lnTo>
                      <a:lnTo>
                        <a:pt x="540664" y="211846"/>
                      </a:lnTo>
                      <a:lnTo>
                        <a:pt x="554422" y="206940"/>
                      </a:lnTo>
                      <a:lnTo>
                        <a:pt x="556826" y="207838"/>
                      </a:lnTo>
                      <a:lnTo>
                        <a:pt x="557106" y="208434"/>
                      </a:lnTo>
                      <a:lnTo>
                        <a:pt x="558223" y="211530"/>
                      </a:lnTo>
                      <a:lnTo>
                        <a:pt x="558441" y="212137"/>
                      </a:lnTo>
                      <a:lnTo>
                        <a:pt x="558794" y="212696"/>
                      </a:lnTo>
                      <a:lnTo>
                        <a:pt x="560567" y="215549"/>
                      </a:lnTo>
                      <a:lnTo>
                        <a:pt x="561550" y="217140"/>
                      </a:lnTo>
                      <a:lnTo>
                        <a:pt x="563274" y="217893"/>
                      </a:lnTo>
                      <a:lnTo>
                        <a:pt x="564853" y="218585"/>
                      </a:lnTo>
                      <a:lnTo>
                        <a:pt x="566383" y="219277"/>
                      </a:lnTo>
                      <a:lnTo>
                        <a:pt x="568654" y="220285"/>
                      </a:lnTo>
                      <a:lnTo>
                        <a:pt x="570985" y="219411"/>
                      </a:lnTo>
                      <a:lnTo>
                        <a:pt x="573972" y="218294"/>
                      </a:lnTo>
                      <a:lnTo>
                        <a:pt x="576425" y="217383"/>
                      </a:lnTo>
                      <a:lnTo>
                        <a:pt x="577433" y="214979"/>
                      </a:lnTo>
                      <a:lnTo>
                        <a:pt x="578368" y="212769"/>
                      </a:lnTo>
                      <a:lnTo>
                        <a:pt x="579546" y="210024"/>
                      </a:lnTo>
                      <a:lnTo>
                        <a:pt x="579728" y="209903"/>
                      </a:lnTo>
                      <a:lnTo>
                        <a:pt x="579874" y="209927"/>
                      </a:lnTo>
                      <a:lnTo>
                        <a:pt x="580578" y="210049"/>
                      </a:lnTo>
                      <a:lnTo>
                        <a:pt x="587597" y="216812"/>
                      </a:lnTo>
                      <a:lnTo>
                        <a:pt x="588605" y="217784"/>
                      </a:lnTo>
                      <a:lnTo>
                        <a:pt x="589928" y="218221"/>
                      </a:lnTo>
                      <a:lnTo>
                        <a:pt x="595247" y="219945"/>
                      </a:lnTo>
                      <a:lnTo>
                        <a:pt x="596898" y="220479"/>
                      </a:lnTo>
                      <a:lnTo>
                        <a:pt x="598586" y="220066"/>
                      </a:lnTo>
                      <a:lnTo>
                        <a:pt x="606868" y="218026"/>
                      </a:lnTo>
                      <a:lnTo>
                        <a:pt x="607912" y="217772"/>
                      </a:lnTo>
                      <a:lnTo>
                        <a:pt x="608798" y="217164"/>
                      </a:lnTo>
                      <a:lnTo>
                        <a:pt x="609928" y="216412"/>
                      </a:lnTo>
                      <a:lnTo>
                        <a:pt x="612599" y="214614"/>
                      </a:lnTo>
                      <a:lnTo>
                        <a:pt x="614238" y="213509"/>
                      </a:lnTo>
                      <a:lnTo>
                        <a:pt x="614348" y="213692"/>
                      </a:lnTo>
                      <a:lnTo>
                        <a:pt x="615246" y="215683"/>
                      </a:lnTo>
                      <a:lnTo>
                        <a:pt x="616679" y="226976"/>
                      </a:lnTo>
                      <a:lnTo>
                        <a:pt x="616776" y="227704"/>
                      </a:lnTo>
                      <a:lnTo>
                        <a:pt x="617031" y="228384"/>
                      </a:lnTo>
                      <a:lnTo>
                        <a:pt x="618403" y="231979"/>
                      </a:lnTo>
                      <a:lnTo>
                        <a:pt x="618804" y="233035"/>
                      </a:lnTo>
                      <a:lnTo>
                        <a:pt x="619569" y="233885"/>
                      </a:lnTo>
                      <a:lnTo>
                        <a:pt x="620213" y="234589"/>
                      </a:lnTo>
                      <a:lnTo>
                        <a:pt x="621937" y="236472"/>
                      </a:lnTo>
                      <a:lnTo>
                        <a:pt x="622823" y="237455"/>
                      </a:lnTo>
                      <a:lnTo>
                        <a:pt x="624062" y="237977"/>
                      </a:lnTo>
                      <a:lnTo>
                        <a:pt x="636023" y="243017"/>
                      </a:lnTo>
                      <a:lnTo>
                        <a:pt x="637517" y="243952"/>
                      </a:lnTo>
                      <a:lnTo>
                        <a:pt x="638087" y="244692"/>
                      </a:lnTo>
                      <a:lnTo>
                        <a:pt x="638415" y="245797"/>
                      </a:lnTo>
                      <a:lnTo>
                        <a:pt x="638925" y="247497"/>
                      </a:lnTo>
                      <a:lnTo>
                        <a:pt x="639277" y="248700"/>
                      </a:lnTo>
                      <a:lnTo>
                        <a:pt x="640079" y="249659"/>
                      </a:lnTo>
                      <a:lnTo>
                        <a:pt x="641633" y="251505"/>
                      </a:lnTo>
                      <a:lnTo>
                        <a:pt x="642544" y="252585"/>
                      </a:lnTo>
                      <a:lnTo>
                        <a:pt x="643831" y="253144"/>
                      </a:lnTo>
                      <a:lnTo>
                        <a:pt x="649258" y="255536"/>
                      </a:lnTo>
                      <a:lnTo>
                        <a:pt x="652853" y="259604"/>
                      </a:lnTo>
                      <a:lnTo>
                        <a:pt x="653363" y="260175"/>
                      </a:lnTo>
                      <a:lnTo>
                        <a:pt x="654007" y="260612"/>
                      </a:lnTo>
                      <a:lnTo>
                        <a:pt x="655694" y="261753"/>
                      </a:lnTo>
                      <a:lnTo>
                        <a:pt x="657455" y="262919"/>
                      </a:lnTo>
                      <a:lnTo>
                        <a:pt x="657892" y="263210"/>
                      </a:lnTo>
                      <a:lnTo>
                        <a:pt x="658366" y="263429"/>
                      </a:lnTo>
                      <a:lnTo>
                        <a:pt x="662154" y="265093"/>
                      </a:lnTo>
                      <a:lnTo>
                        <a:pt x="662992" y="265457"/>
                      </a:lnTo>
                      <a:lnTo>
                        <a:pt x="663915" y="265566"/>
                      </a:lnTo>
                      <a:lnTo>
                        <a:pt x="666963" y="265906"/>
                      </a:lnTo>
                      <a:lnTo>
                        <a:pt x="668906" y="266125"/>
                      </a:lnTo>
                      <a:lnTo>
                        <a:pt x="670630" y="265153"/>
                      </a:lnTo>
                      <a:lnTo>
                        <a:pt x="673059" y="263781"/>
                      </a:lnTo>
                      <a:lnTo>
                        <a:pt x="673994" y="265117"/>
                      </a:lnTo>
                      <a:lnTo>
                        <a:pt x="675609" y="265809"/>
                      </a:lnTo>
                      <a:lnTo>
                        <a:pt x="676459" y="266173"/>
                      </a:lnTo>
                      <a:lnTo>
                        <a:pt x="677212" y="266489"/>
                      </a:lnTo>
                      <a:lnTo>
                        <a:pt x="678013" y="266598"/>
                      </a:lnTo>
                      <a:lnTo>
                        <a:pt x="678936" y="266720"/>
                      </a:lnTo>
                      <a:lnTo>
                        <a:pt x="679713" y="266829"/>
                      </a:lnTo>
                      <a:lnTo>
                        <a:pt x="680502" y="266732"/>
                      </a:lnTo>
                      <a:lnTo>
                        <a:pt x="681474" y="266610"/>
                      </a:lnTo>
                      <a:lnTo>
                        <a:pt x="682105" y="266525"/>
                      </a:lnTo>
                      <a:lnTo>
                        <a:pt x="682700" y="266319"/>
                      </a:lnTo>
                      <a:lnTo>
                        <a:pt x="683028" y="266210"/>
                      </a:lnTo>
                      <a:lnTo>
                        <a:pt x="690702" y="265578"/>
                      </a:lnTo>
                      <a:lnTo>
                        <a:pt x="692002" y="267813"/>
                      </a:lnTo>
                      <a:lnTo>
                        <a:pt x="692208" y="268153"/>
                      </a:lnTo>
                      <a:lnTo>
                        <a:pt x="692451" y="268468"/>
                      </a:lnTo>
                      <a:lnTo>
                        <a:pt x="693264" y="269513"/>
                      </a:lnTo>
                      <a:lnTo>
                        <a:pt x="694151" y="270630"/>
                      </a:lnTo>
                      <a:lnTo>
                        <a:pt x="694952" y="271650"/>
                      </a:lnTo>
                      <a:lnTo>
                        <a:pt x="696118" y="272245"/>
                      </a:lnTo>
                      <a:lnTo>
                        <a:pt x="698000" y="273216"/>
                      </a:lnTo>
                      <a:lnTo>
                        <a:pt x="699919" y="274212"/>
                      </a:lnTo>
                      <a:lnTo>
                        <a:pt x="702020" y="273775"/>
                      </a:lnTo>
                      <a:lnTo>
                        <a:pt x="703586" y="273447"/>
                      </a:lnTo>
                      <a:lnTo>
                        <a:pt x="704509" y="273253"/>
                      </a:lnTo>
                      <a:lnTo>
                        <a:pt x="706658" y="272791"/>
                      </a:lnTo>
                      <a:lnTo>
                        <a:pt x="708018" y="271055"/>
                      </a:lnTo>
                      <a:lnTo>
                        <a:pt x="709463" y="269221"/>
                      </a:lnTo>
                      <a:lnTo>
                        <a:pt x="710350" y="268104"/>
                      </a:lnTo>
                      <a:lnTo>
                        <a:pt x="710629" y="266695"/>
                      </a:lnTo>
                      <a:lnTo>
                        <a:pt x="711151" y="264170"/>
                      </a:lnTo>
                      <a:lnTo>
                        <a:pt x="711345" y="263295"/>
                      </a:lnTo>
                      <a:lnTo>
                        <a:pt x="711261" y="262409"/>
                      </a:lnTo>
                      <a:lnTo>
                        <a:pt x="711139" y="261049"/>
                      </a:lnTo>
                      <a:lnTo>
                        <a:pt x="711115" y="260830"/>
                      </a:lnTo>
                      <a:lnTo>
                        <a:pt x="711600" y="259203"/>
                      </a:lnTo>
                      <a:lnTo>
                        <a:pt x="711868" y="258280"/>
                      </a:lnTo>
                      <a:lnTo>
                        <a:pt x="714478" y="256168"/>
                      </a:lnTo>
                      <a:lnTo>
                        <a:pt x="718558" y="252865"/>
                      </a:lnTo>
                      <a:lnTo>
                        <a:pt x="719663" y="251978"/>
                      </a:lnTo>
                      <a:lnTo>
                        <a:pt x="720258" y="250691"/>
                      </a:lnTo>
                      <a:lnTo>
                        <a:pt x="721837" y="247291"/>
                      </a:lnTo>
                      <a:lnTo>
                        <a:pt x="723136" y="244498"/>
                      </a:lnTo>
                      <a:lnTo>
                        <a:pt x="721643" y="241802"/>
                      </a:lnTo>
                      <a:lnTo>
                        <a:pt x="720647" y="239993"/>
                      </a:lnTo>
                      <a:lnTo>
                        <a:pt x="720270" y="239301"/>
                      </a:lnTo>
                      <a:lnTo>
                        <a:pt x="720088" y="238985"/>
                      </a:lnTo>
                      <a:lnTo>
                        <a:pt x="732608" y="231165"/>
                      </a:lnTo>
                      <a:lnTo>
                        <a:pt x="722456" y="229854"/>
                      </a:lnTo>
                      <a:lnTo>
                        <a:pt x="722711" y="228360"/>
                      </a:lnTo>
                      <a:lnTo>
                        <a:pt x="726342" y="227583"/>
                      </a:lnTo>
                      <a:lnTo>
                        <a:pt x="731794" y="226405"/>
                      </a:lnTo>
                      <a:lnTo>
                        <a:pt x="732292" y="226296"/>
                      </a:lnTo>
                      <a:lnTo>
                        <a:pt x="732766" y="226102"/>
                      </a:lnTo>
                      <a:lnTo>
                        <a:pt x="736797" y="224499"/>
                      </a:lnTo>
                      <a:lnTo>
                        <a:pt x="739784" y="223661"/>
                      </a:lnTo>
                      <a:lnTo>
                        <a:pt x="740829" y="223357"/>
                      </a:lnTo>
                      <a:lnTo>
                        <a:pt x="741703" y="222714"/>
                      </a:lnTo>
                      <a:lnTo>
                        <a:pt x="743208" y="221597"/>
                      </a:lnTo>
                      <a:lnTo>
                        <a:pt x="744459" y="220674"/>
                      </a:lnTo>
                      <a:lnTo>
                        <a:pt x="745115" y="219265"/>
                      </a:lnTo>
                      <a:lnTo>
                        <a:pt x="745746" y="217905"/>
                      </a:lnTo>
                      <a:lnTo>
                        <a:pt x="746402" y="216484"/>
                      </a:lnTo>
                      <a:lnTo>
                        <a:pt x="746293" y="214930"/>
                      </a:lnTo>
                      <a:lnTo>
                        <a:pt x="746123" y="212562"/>
                      </a:lnTo>
                      <a:lnTo>
                        <a:pt x="746098" y="212295"/>
                      </a:lnTo>
                      <a:lnTo>
                        <a:pt x="747374" y="211445"/>
                      </a:lnTo>
                      <a:lnTo>
                        <a:pt x="748916" y="210425"/>
                      </a:lnTo>
                      <a:lnTo>
                        <a:pt x="749632" y="208725"/>
                      </a:lnTo>
                      <a:lnTo>
                        <a:pt x="752437" y="201949"/>
                      </a:lnTo>
                      <a:lnTo>
                        <a:pt x="755230" y="200553"/>
                      </a:lnTo>
                      <a:lnTo>
                        <a:pt x="757610" y="199824"/>
                      </a:lnTo>
                      <a:lnTo>
                        <a:pt x="758059" y="199691"/>
                      </a:lnTo>
                      <a:lnTo>
                        <a:pt x="758484" y="199484"/>
                      </a:lnTo>
                      <a:lnTo>
                        <a:pt x="759747" y="198865"/>
                      </a:lnTo>
                      <a:lnTo>
                        <a:pt x="762540" y="197505"/>
                      </a:lnTo>
                      <a:lnTo>
                        <a:pt x="763062" y="194445"/>
                      </a:lnTo>
                      <a:lnTo>
                        <a:pt x="763293" y="193146"/>
                      </a:lnTo>
                      <a:lnTo>
                        <a:pt x="763718" y="190693"/>
                      </a:lnTo>
                      <a:lnTo>
                        <a:pt x="762321" y="188677"/>
                      </a:lnTo>
                      <a:lnTo>
                        <a:pt x="763038" y="188264"/>
                      </a:lnTo>
                      <a:lnTo>
                        <a:pt x="763706" y="187499"/>
                      </a:lnTo>
                      <a:lnTo>
                        <a:pt x="764131" y="187001"/>
                      </a:lnTo>
                      <a:lnTo>
                        <a:pt x="764847" y="185969"/>
                      </a:lnTo>
                      <a:lnTo>
                        <a:pt x="765175" y="185362"/>
                      </a:lnTo>
                      <a:lnTo>
                        <a:pt x="765697" y="184390"/>
                      </a:lnTo>
                      <a:lnTo>
                        <a:pt x="765855" y="183286"/>
                      </a:lnTo>
                      <a:lnTo>
                        <a:pt x="767774" y="169297"/>
                      </a:lnTo>
                      <a:lnTo>
                        <a:pt x="768502" y="166370"/>
                      </a:lnTo>
                      <a:lnTo>
                        <a:pt x="770506" y="160845"/>
                      </a:lnTo>
                      <a:lnTo>
                        <a:pt x="770882" y="159534"/>
                      </a:lnTo>
                      <a:lnTo>
                        <a:pt x="770907" y="159449"/>
                      </a:lnTo>
                      <a:lnTo>
                        <a:pt x="773445" y="155381"/>
                      </a:lnTo>
                      <a:lnTo>
                        <a:pt x="774525" y="153669"/>
                      </a:lnTo>
                      <a:lnTo>
                        <a:pt x="774343" y="151653"/>
                      </a:lnTo>
                      <a:lnTo>
                        <a:pt x="772558" y="130694"/>
                      </a:lnTo>
                      <a:lnTo>
                        <a:pt x="772521" y="130282"/>
                      </a:lnTo>
                      <a:lnTo>
                        <a:pt x="772424" y="129881"/>
                      </a:lnTo>
                      <a:lnTo>
                        <a:pt x="771635" y="126359"/>
                      </a:lnTo>
                      <a:lnTo>
                        <a:pt x="771562" y="126007"/>
                      </a:lnTo>
                      <a:lnTo>
                        <a:pt x="771441" y="125667"/>
                      </a:lnTo>
                      <a:lnTo>
                        <a:pt x="768260" y="116657"/>
                      </a:lnTo>
                      <a:lnTo>
                        <a:pt x="768441" y="116147"/>
                      </a:lnTo>
                      <a:lnTo>
                        <a:pt x="770967" y="109201"/>
                      </a:lnTo>
                      <a:lnTo>
                        <a:pt x="763657" y="108072"/>
                      </a:lnTo>
                      <a:lnTo>
                        <a:pt x="763487" y="108048"/>
                      </a:lnTo>
                      <a:lnTo>
                        <a:pt x="763026" y="107647"/>
                      </a:lnTo>
                      <a:lnTo>
                        <a:pt x="761508" y="106336"/>
                      </a:lnTo>
                      <a:lnTo>
                        <a:pt x="759504" y="106190"/>
                      </a:lnTo>
                      <a:lnTo>
                        <a:pt x="758703" y="106129"/>
                      </a:lnTo>
                      <a:lnTo>
                        <a:pt x="756323" y="105947"/>
                      </a:lnTo>
                      <a:lnTo>
                        <a:pt x="754465" y="107441"/>
                      </a:lnTo>
                      <a:lnTo>
                        <a:pt x="753494" y="108218"/>
                      </a:lnTo>
                      <a:lnTo>
                        <a:pt x="752097" y="109335"/>
                      </a:lnTo>
                      <a:lnTo>
                        <a:pt x="751526" y="111035"/>
                      </a:lnTo>
                      <a:lnTo>
                        <a:pt x="751211" y="111982"/>
                      </a:lnTo>
                      <a:lnTo>
                        <a:pt x="751077" y="112346"/>
                      </a:lnTo>
                      <a:lnTo>
                        <a:pt x="744702" y="112419"/>
                      </a:lnTo>
                      <a:lnTo>
                        <a:pt x="744204" y="112334"/>
                      </a:lnTo>
                      <a:lnTo>
                        <a:pt x="741921" y="111982"/>
                      </a:lnTo>
                      <a:lnTo>
                        <a:pt x="737611" y="110137"/>
                      </a:lnTo>
                      <a:lnTo>
                        <a:pt x="732559" y="107987"/>
                      </a:lnTo>
                      <a:lnTo>
                        <a:pt x="731564" y="107562"/>
                      </a:lnTo>
                      <a:lnTo>
                        <a:pt x="730483" y="107514"/>
                      </a:lnTo>
                      <a:lnTo>
                        <a:pt x="726403" y="107307"/>
                      </a:lnTo>
                      <a:lnTo>
                        <a:pt x="725091" y="107246"/>
                      </a:lnTo>
                      <a:lnTo>
                        <a:pt x="723865" y="107732"/>
                      </a:lnTo>
                      <a:lnTo>
                        <a:pt x="722808" y="108157"/>
                      </a:lnTo>
                      <a:lnTo>
                        <a:pt x="722784" y="108011"/>
                      </a:lnTo>
                      <a:lnTo>
                        <a:pt x="722371" y="104514"/>
                      </a:lnTo>
                      <a:lnTo>
                        <a:pt x="722080" y="101989"/>
                      </a:lnTo>
                      <a:lnTo>
                        <a:pt x="720076" y="100434"/>
                      </a:lnTo>
                      <a:lnTo>
                        <a:pt x="716712" y="97811"/>
                      </a:lnTo>
                      <a:lnTo>
                        <a:pt x="715377" y="96779"/>
                      </a:lnTo>
                      <a:lnTo>
                        <a:pt x="714624" y="96196"/>
                      </a:lnTo>
                      <a:lnTo>
                        <a:pt x="713737" y="95881"/>
                      </a:lnTo>
                      <a:lnTo>
                        <a:pt x="710010" y="94521"/>
                      </a:lnTo>
                      <a:lnTo>
                        <a:pt x="706257" y="93173"/>
                      </a:lnTo>
                      <a:lnTo>
                        <a:pt x="705723" y="92978"/>
                      </a:lnTo>
                      <a:lnTo>
                        <a:pt x="705177" y="92881"/>
                      </a:lnTo>
                      <a:lnTo>
                        <a:pt x="697478" y="91618"/>
                      </a:lnTo>
                      <a:lnTo>
                        <a:pt x="696640" y="91473"/>
                      </a:lnTo>
                      <a:lnTo>
                        <a:pt x="695802" y="91570"/>
                      </a:lnTo>
                      <a:lnTo>
                        <a:pt x="691904" y="92019"/>
                      </a:lnTo>
                      <a:lnTo>
                        <a:pt x="685870" y="92723"/>
                      </a:lnTo>
                      <a:lnTo>
                        <a:pt x="681158" y="90392"/>
                      </a:lnTo>
                      <a:lnTo>
                        <a:pt x="677248" y="87769"/>
                      </a:lnTo>
                      <a:lnTo>
                        <a:pt x="674237" y="85766"/>
                      </a:lnTo>
                      <a:lnTo>
                        <a:pt x="669136" y="82366"/>
                      </a:lnTo>
                      <a:lnTo>
                        <a:pt x="666866" y="80860"/>
                      </a:lnTo>
                      <a:lnTo>
                        <a:pt x="664231" y="81540"/>
                      </a:lnTo>
                      <a:lnTo>
                        <a:pt x="661717" y="82196"/>
                      </a:lnTo>
                      <a:lnTo>
                        <a:pt x="657394" y="83325"/>
                      </a:lnTo>
                      <a:lnTo>
                        <a:pt x="655658" y="83240"/>
                      </a:lnTo>
                      <a:lnTo>
                        <a:pt x="655245" y="83228"/>
                      </a:lnTo>
                      <a:lnTo>
                        <a:pt x="654832" y="83264"/>
                      </a:lnTo>
                      <a:lnTo>
                        <a:pt x="653776" y="83361"/>
                      </a:lnTo>
                      <a:lnTo>
                        <a:pt x="652477" y="83483"/>
                      </a:lnTo>
                      <a:lnTo>
                        <a:pt x="650752" y="83641"/>
                      </a:lnTo>
                      <a:lnTo>
                        <a:pt x="649368" y="84685"/>
                      </a:lnTo>
                      <a:lnTo>
                        <a:pt x="647364" y="86203"/>
                      </a:lnTo>
                      <a:lnTo>
                        <a:pt x="647061" y="86433"/>
                      </a:lnTo>
                      <a:lnTo>
                        <a:pt x="646793" y="86701"/>
                      </a:lnTo>
                      <a:lnTo>
                        <a:pt x="645810" y="87660"/>
                      </a:lnTo>
                      <a:lnTo>
                        <a:pt x="645239" y="88231"/>
                      </a:lnTo>
                      <a:lnTo>
                        <a:pt x="644414" y="88765"/>
                      </a:lnTo>
                      <a:lnTo>
                        <a:pt x="640589" y="89749"/>
                      </a:lnTo>
                      <a:lnTo>
                        <a:pt x="636229" y="90149"/>
                      </a:lnTo>
                      <a:lnTo>
                        <a:pt x="626745" y="89639"/>
                      </a:lnTo>
                      <a:lnTo>
                        <a:pt x="623989" y="88886"/>
                      </a:lnTo>
                      <a:lnTo>
                        <a:pt x="623127" y="88656"/>
                      </a:lnTo>
                      <a:lnTo>
                        <a:pt x="622714" y="88182"/>
                      </a:lnTo>
                      <a:lnTo>
                        <a:pt x="622483" y="87927"/>
                      </a:lnTo>
                      <a:lnTo>
                        <a:pt x="621876" y="86276"/>
                      </a:lnTo>
                      <a:lnTo>
                        <a:pt x="621378" y="84903"/>
                      </a:lnTo>
                      <a:lnTo>
                        <a:pt x="621245" y="84551"/>
                      </a:lnTo>
                      <a:lnTo>
                        <a:pt x="621075" y="84223"/>
                      </a:lnTo>
                      <a:lnTo>
                        <a:pt x="618488" y="79172"/>
                      </a:lnTo>
                      <a:lnTo>
                        <a:pt x="618100" y="78419"/>
                      </a:lnTo>
                      <a:lnTo>
                        <a:pt x="617517" y="77800"/>
                      </a:lnTo>
                      <a:lnTo>
                        <a:pt x="614578" y="74643"/>
                      </a:lnTo>
                      <a:lnTo>
                        <a:pt x="614177" y="74206"/>
                      </a:lnTo>
                      <a:lnTo>
                        <a:pt x="613692" y="73853"/>
                      </a:lnTo>
                      <a:lnTo>
                        <a:pt x="609988" y="71194"/>
                      </a:lnTo>
                      <a:lnTo>
                        <a:pt x="609333" y="70721"/>
                      </a:lnTo>
                      <a:lnTo>
                        <a:pt x="608786" y="70332"/>
                      </a:lnTo>
                      <a:lnTo>
                        <a:pt x="608179" y="70077"/>
                      </a:lnTo>
                      <a:lnTo>
                        <a:pt x="605835" y="69069"/>
                      </a:lnTo>
                      <a:lnTo>
                        <a:pt x="603492" y="68061"/>
                      </a:lnTo>
                      <a:lnTo>
                        <a:pt x="602168" y="67490"/>
                      </a:lnTo>
                      <a:lnTo>
                        <a:pt x="600735" y="67575"/>
                      </a:lnTo>
                      <a:lnTo>
                        <a:pt x="598635" y="67697"/>
                      </a:lnTo>
                      <a:lnTo>
                        <a:pt x="596752" y="67806"/>
                      </a:lnTo>
                      <a:lnTo>
                        <a:pt x="595016" y="67903"/>
                      </a:lnTo>
                      <a:lnTo>
                        <a:pt x="594142" y="68535"/>
                      </a:lnTo>
                      <a:lnTo>
                        <a:pt x="594202" y="68025"/>
                      </a:lnTo>
                      <a:lnTo>
                        <a:pt x="593984" y="66993"/>
                      </a:lnTo>
                      <a:lnTo>
                        <a:pt x="593462" y="64528"/>
                      </a:lnTo>
                      <a:lnTo>
                        <a:pt x="593146" y="63022"/>
                      </a:lnTo>
                      <a:lnTo>
                        <a:pt x="592150" y="61844"/>
                      </a:lnTo>
                      <a:lnTo>
                        <a:pt x="588847" y="57946"/>
                      </a:lnTo>
                      <a:lnTo>
                        <a:pt x="586759" y="55481"/>
                      </a:lnTo>
                      <a:lnTo>
                        <a:pt x="583553" y="55833"/>
                      </a:lnTo>
                      <a:lnTo>
                        <a:pt x="579752" y="56258"/>
                      </a:lnTo>
                      <a:lnTo>
                        <a:pt x="578854" y="56355"/>
                      </a:lnTo>
                      <a:lnTo>
                        <a:pt x="578854" y="48050"/>
                      </a:lnTo>
                      <a:lnTo>
                        <a:pt x="578854" y="47515"/>
                      </a:lnTo>
                      <a:lnTo>
                        <a:pt x="578757" y="46993"/>
                      </a:lnTo>
                      <a:lnTo>
                        <a:pt x="577906" y="42197"/>
                      </a:lnTo>
                      <a:lnTo>
                        <a:pt x="577737" y="41225"/>
                      </a:lnTo>
                      <a:lnTo>
                        <a:pt x="577190" y="39975"/>
                      </a:lnTo>
                      <a:lnTo>
                        <a:pt x="574725" y="35409"/>
                      </a:lnTo>
                      <a:lnTo>
                        <a:pt x="574070" y="34195"/>
                      </a:lnTo>
                      <a:lnTo>
                        <a:pt x="572965" y="33393"/>
                      </a:lnTo>
                      <a:lnTo>
                        <a:pt x="569431" y="30819"/>
                      </a:lnTo>
                      <a:lnTo>
                        <a:pt x="568714" y="30309"/>
                      </a:lnTo>
                      <a:lnTo>
                        <a:pt x="568338" y="30042"/>
                      </a:lnTo>
                      <a:lnTo>
                        <a:pt x="567937" y="29835"/>
                      </a:lnTo>
                      <a:lnTo>
                        <a:pt x="556571" y="24043"/>
                      </a:lnTo>
                      <a:lnTo>
                        <a:pt x="555649" y="23387"/>
                      </a:lnTo>
                      <a:lnTo>
                        <a:pt x="555151" y="23035"/>
                      </a:lnTo>
                      <a:lnTo>
                        <a:pt x="552990" y="21505"/>
                      </a:lnTo>
                      <a:lnTo>
                        <a:pt x="550378" y="22052"/>
                      </a:lnTo>
                      <a:lnTo>
                        <a:pt x="549504" y="22234"/>
                      </a:lnTo>
                      <a:lnTo>
                        <a:pt x="547222" y="21408"/>
                      </a:lnTo>
                      <a:lnTo>
                        <a:pt x="543991" y="18773"/>
                      </a:lnTo>
                      <a:lnTo>
                        <a:pt x="543081" y="18020"/>
                      </a:lnTo>
                      <a:lnTo>
                        <a:pt x="541951" y="17668"/>
                      </a:lnTo>
                      <a:lnTo>
                        <a:pt x="540579" y="17243"/>
                      </a:lnTo>
                      <a:lnTo>
                        <a:pt x="539365" y="16867"/>
                      </a:lnTo>
                      <a:lnTo>
                        <a:pt x="538102" y="17000"/>
                      </a:lnTo>
                      <a:lnTo>
                        <a:pt x="529347" y="17984"/>
                      </a:lnTo>
                      <a:lnTo>
                        <a:pt x="516767" y="16089"/>
                      </a:lnTo>
                      <a:lnTo>
                        <a:pt x="516075" y="15992"/>
                      </a:lnTo>
                      <a:lnTo>
                        <a:pt x="515370" y="16041"/>
                      </a:lnTo>
                      <a:lnTo>
                        <a:pt x="510829" y="16405"/>
                      </a:lnTo>
                      <a:lnTo>
                        <a:pt x="508704" y="16575"/>
                      </a:lnTo>
                      <a:lnTo>
                        <a:pt x="507150" y="18044"/>
                      </a:lnTo>
                      <a:lnTo>
                        <a:pt x="494315" y="30163"/>
                      </a:lnTo>
                      <a:lnTo>
                        <a:pt x="490672" y="32592"/>
                      </a:lnTo>
                      <a:lnTo>
                        <a:pt x="487891" y="33915"/>
                      </a:lnTo>
                      <a:lnTo>
                        <a:pt x="483337" y="34862"/>
                      </a:lnTo>
                      <a:lnTo>
                        <a:pt x="482488" y="34838"/>
                      </a:lnTo>
                      <a:lnTo>
                        <a:pt x="481941" y="34182"/>
                      </a:lnTo>
                      <a:lnTo>
                        <a:pt x="480958" y="32980"/>
                      </a:lnTo>
                      <a:lnTo>
                        <a:pt x="479512" y="32410"/>
                      </a:lnTo>
                      <a:lnTo>
                        <a:pt x="460084" y="24711"/>
                      </a:lnTo>
                      <a:lnTo>
                        <a:pt x="459501" y="24480"/>
                      </a:lnTo>
                      <a:lnTo>
                        <a:pt x="458882" y="24371"/>
                      </a:lnTo>
                      <a:lnTo>
                        <a:pt x="451487" y="23084"/>
                      </a:lnTo>
                      <a:lnTo>
                        <a:pt x="450552" y="22926"/>
                      </a:lnTo>
                      <a:lnTo>
                        <a:pt x="449617" y="23047"/>
                      </a:lnTo>
                      <a:lnTo>
                        <a:pt x="441687" y="24140"/>
                      </a:lnTo>
                      <a:lnTo>
                        <a:pt x="437291" y="24031"/>
                      </a:lnTo>
                      <a:lnTo>
                        <a:pt x="435798" y="23582"/>
                      </a:lnTo>
                      <a:lnTo>
                        <a:pt x="435701" y="23509"/>
                      </a:lnTo>
                      <a:lnTo>
                        <a:pt x="435592" y="23011"/>
                      </a:lnTo>
                      <a:lnTo>
                        <a:pt x="435446" y="19538"/>
                      </a:lnTo>
                      <a:lnTo>
                        <a:pt x="435397" y="18494"/>
                      </a:lnTo>
                      <a:lnTo>
                        <a:pt x="435009" y="17522"/>
                      </a:lnTo>
                      <a:lnTo>
                        <a:pt x="434256" y="15640"/>
                      </a:lnTo>
                      <a:lnTo>
                        <a:pt x="434001" y="15021"/>
                      </a:lnTo>
                      <a:lnTo>
                        <a:pt x="433624" y="14474"/>
                      </a:lnTo>
                      <a:lnTo>
                        <a:pt x="432203" y="12398"/>
                      </a:lnTo>
                      <a:lnTo>
                        <a:pt x="431523" y="11402"/>
                      </a:lnTo>
                      <a:lnTo>
                        <a:pt x="430504" y="10747"/>
                      </a:lnTo>
                      <a:lnTo>
                        <a:pt x="424918" y="7104"/>
                      </a:lnTo>
                      <a:lnTo>
                        <a:pt x="423035" y="5027"/>
                      </a:lnTo>
                      <a:lnTo>
                        <a:pt x="422064" y="3946"/>
                      </a:lnTo>
                      <a:lnTo>
                        <a:pt x="420716" y="3424"/>
                      </a:lnTo>
                      <a:lnTo>
                        <a:pt x="417219" y="2077"/>
                      </a:lnTo>
                      <a:lnTo>
                        <a:pt x="412058" y="0"/>
                      </a:lnTo>
                      <a:lnTo>
                        <a:pt x="412058" y="0"/>
                      </a:lnTo>
                      <a:close/>
                      <a:moveTo>
                        <a:pt x="482827" y="156182"/>
                      </a:moveTo>
                      <a:lnTo>
                        <a:pt x="484382" y="150997"/>
                      </a:lnTo>
                      <a:lnTo>
                        <a:pt x="484406" y="151034"/>
                      </a:lnTo>
                      <a:lnTo>
                        <a:pt x="486883" y="153754"/>
                      </a:lnTo>
                      <a:lnTo>
                        <a:pt x="488049" y="155017"/>
                      </a:lnTo>
                      <a:lnTo>
                        <a:pt x="489688" y="155490"/>
                      </a:lnTo>
                      <a:lnTo>
                        <a:pt x="494946" y="157008"/>
                      </a:lnTo>
                      <a:lnTo>
                        <a:pt x="495930" y="157300"/>
                      </a:lnTo>
                      <a:lnTo>
                        <a:pt x="497351" y="157943"/>
                      </a:lnTo>
                      <a:lnTo>
                        <a:pt x="498977" y="159753"/>
                      </a:lnTo>
                      <a:lnTo>
                        <a:pt x="499293" y="160117"/>
                      </a:lnTo>
                      <a:lnTo>
                        <a:pt x="499657" y="160420"/>
                      </a:lnTo>
                      <a:lnTo>
                        <a:pt x="500787" y="161331"/>
                      </a:lnTo>
                      <a:lnTo>
                        <a:pt x="498310" y="160202"/>
                      </a:lnTo>
                      <a:lnTo>
                        <a:pt x="497630" y="159898"/>
                      </a:lnTo>
                      <a:lnTo>
                        <a:pt x="496901" y="159765"/>
                      </a:lnTo>
                      <a:lnTo>
                        <a:pt x="486762" y="157858"/>
                      </a:lnTo>
                      <a:lnTo>
                        <a:pt x="484151" y="156729"/>
                      </a:lnTo>
                      <a:lnTo>
                        <a:pt x="483010" y="156243"/>
                      </a:lnTo>
                      <a:lnTo>
                        <a:pt x="482827" y="156182"/>
                      </a:lnTo>
                      <a:lnTo>
                        <a:pt x="482827" y="156182"/>
                      </a:lnTo>
                      <a:close/>
                      <a:moveTo>
                        <a:pt x="589965" y="178610"/>
                      </a:moveTo>
                      <a:lnTo>
                        <a:pt x="590450" y="178173"/>
                      </a:lnTo>
                      <a:lnTo>
                        <a:pt x="590632" y="177991"/>
                      </a:lnTo>
                      <a:lnTo>
                        <a:pt x="590693" y="178028"/>
                      </a:lnTo>
                      <a:lnTo>
                        <a:pt x="592721" y="179473"/>
                      </a:lnTo>
                      <a:lnTo>
                        <a:pt x="593765" y="180213"/>
                      </a:lnTo>
                      <a:lnTo>
                        <a:pt x="594118" y="180456"/>
                      </a:lnTo>
                      <a:lnTo>
                        <a:pt x="594494" y="180650"/>
                      </a:lnTo>
                      <a:lnTo>
                        <a:pt x="595611" y="181221"/>
                      </a:lnTo>
                      <a:lnTo>
                        <a:pt x="595635" y="181258"/>
                      </a:lnTo>
                      <a:lnTo>
                        <a:pt x="597748" y="183541"/>
                      </a:lnTo>
                      <a:lnTo>
                        <a:pt x="598028" y="183844"/>
                      </a:lnTo>
                      <a:lnTo>
                        <a:pt x="598343" y="184111"/>
                      </a:lnTo>
                      <a:lnTo>
                        <a:pt x="599728" y="185253"/>
                      </a:lnTo>
                      <a:lnTo>
                        <a:pt x="600468" y="185848"/>
                      </a:lnTo>
                      <a:lnTo>
                        <a:pt x="601682" y="186467"/>
                      </a:lnTo>
                      <a:lnTo>
                        <a:pt x="603674" y="187256"/>
                      </a:lnTo>
                      <a:lnTo>
                        <a:pt x="604063" y="187414"/>
                      </a:lnTo>
                      <a:lnTo>
                        <a:pt x="604475" y="187511"/>
                      </a:lnTo>
                      <a:lnTo>
                        <a:pt x="605313" y="187718"/>
                      </a:lnTo>
                      <a:lnTo>
                        <a:pt x="605811" y="187839"/>
                      </a:lnTo>
                      <a:lnTo>
                        <a:pt x="606030" y="189114"/>
                      </a:lnTo>
                      <a:lnTo>
                        <a:pt x="606248" y="190365"/>
                      </a:lnTo>
                      <a:lnTo>
                        <a:pt x="601853" y="193243"/>
                      </a:lnTo>
                      <a:lnTo>
                        <a:pt x="601294" y="191433"/>
                      </a:lnTo>
                      <a:lnTo>
                        <a:pt x="600541" y="188944"/>
                      </a:lnTo>
                      <a:lnTo>
                        <a:pt x="598210" y="187778"/>
                      </a:lnTo>
                      <a:lnTo>
                        <a:pt x="593547" y="185459"/>
                      </a:lnTo>
                      <a:lnTo>
                        <a:pt x="593158" y="185265"/>
                      </a:lnTo>
                      <a:lnTo>
                        <a:pt x="592758" y="185131"/>
                      </a:lnTo>
                      <a:lnTo>
                        <a:pt x="588787" y="183820"/>
                      </a:lnTo>
                      <a:lnTo>
                        <a:pt x="587657" y="182654"/>
                      </a:lnTo>
                      <a:lnTo>
                        <a:pt x="588398" y="180881"/>
                      </a:lnTo>
                      <a:lnTo>
                        <a:pt x="589965" y="178610"/>
                      </a:lnTo>
                      <a:lnTo>
                        <a:pt x="589965" y="178610"/>
                      </a:lnTo>
                      <a:close/>
                      <a:moveTo>
                        <a:pt x="526591" y="1084559"/>
                      </a:moveTo>
                      <a:lnTo>
                        <a:pt x="531836" y="1070692"/>
                      </a:lnTo>
                      <a:lnTo>
                        <a:pt x="532601" y="1070995"/>
                      </a:lnTo>
                      <a:lnTo>
                        <a:pt x="533706" y="1071432"/>
                      </a:lnTo>
                      <a:lnTo>
                        <a:pt x="534909" y="1071420"/>
                      </a:lnTo>
                      <a:lnTo>
                        <a:pt x="537434" y="1071396"/>
                      </a:lnTo>
                      <a:lnTo>
                        <a:pt x="538454" y="1071384"/>
                      </a:lnTo>
                      <a:lnTo>
                        <a:pt x="541903" y="1073921"/>
                      </a:lnTo>
                      <a:lnTo>
                        <a:pt x="541636" y="1074723"/>
                      </a:lnTo>
                      <a:lnTo>
                        <a:pt x="538807" y="1083296"/>
                      </a:lnTo>
                      <a:lnTo>
                        <a:pt x="538260" y="1084947"/>
                      </a:lnTo>
                      <a:lnTo>
                        <a:pt x="538673" y="1086647"/>
                      </a:lnTo>
                      <a:lnTo>
                        <a:pt x="539013" y="1088056"/>
                      </a:lnTo>
                      <a:lnTo>
                        <a:pt x="539353" y="1089464"/>
                      </a:lnTo>
                      <a:lnTo>
                        <a:pt x="540045" y="1091504"/>
                      </a:lnTo>
                      <a:lnTo>
                        <a:pt x="538636" y="1100515"/>
                      </a:lnTo>
                      <a:lnTo>
                        <a:pt x="537155" y="1095633"/>
                      </a:lnTo>
                      <a:lnTo>
                        <a:pt x="535892" y="1091480"/>
                      </a:lnTo>
                      <a:lnTo>
                        <a:pt x="531582" y="1091310"/>
                      </a:lnTo>
                      <a:lnTo>
                        <a:pt x="527854" y="1091165"/>
                      </a:lnTo>
                      <a:lnTo>
                        <a:pt x="526494" y="1091116"/>
                      </a:lnTo>
                      <a:lnTo>
                        <a:pt x="526336" y="1091176"/>
                      </a:lnTo>
                      <a:lnTo>
                        <a:pt x="526275" y="1087036"/>
                      </a:lnTo>
                      <a:lnTo>
                        <a:pt x="526591" y="1084559"/>
                      </a:lnTo>
                      <a:lnTo>
                        <a:pt x="526591" y="1084559"/>
                      </a:lnTo>
                      <a:close/>
                    </a:path>
                  </a:pathLst>
                </a:custGeom>
                <a:solidFill>
                  <a:srgbClr val="FFFFFF"/>
                </a:solidFill>
                <a:ln w="12138" cap="flat">
                  <a:noFill/>
                  <a:prstDash val="solid"/>
                  <a:miter/>
                </a:ln>
              </p:spPr>
              <p:txBody>
                <a:bodyPr rtlCol="0" anchor="ctr"/>
                <a:lstStyle/>
                <a:p>
                  <a:endParaRPr lang="en-US"/>
                </a:p>
              </p:txBody>
            </p:sp>
          </p:grpSp>
          <p:grpSp>
            <p:nvGrpSpPr>
              <p:cNvPr id="245" name="Graphic 280">
                <a:extLst>
                  <a:ext uri="{FF2B5EF4-FFF2-40B4-BE49-F238E27FC236}">
                    <a16:creationId xmlns:a16="http://schemas.microsoft.com/office/drawing/2014/main" id="{47DBF7D4-5C6C-4B7B-8B42-32E93728349B}"/>
                  </a:ext>
                </a:extLst>
              </p:cNvPr>
              <p:cNvGrpSpPr/>
              <p:nvPr/>
            </p:nvGrpSpPr>
            <p:grpSpPr>
              <a:xfrm>
                <a:off x="4197512" y="3733632"/>
                <a:ext cx="1559298" cy="1261310"/>
                <a:chOff x="4197512" y="3733632"/>
                <a:chExt cx="1559298" cy="1261310"/>
              </a:xfrm>
            </p:grpSpPr>
            <p:sp>
              <p:nvSpPr>
                <p:cNvPr id="357" name="Freeform: Shape 356">
                  <a:extLst>
                    <a:ext uri="{FF2B5EF4-FFF2-40B4-BE49-F238E27FC236}">
                      <a16:creationId xmlns:a16="http://schemas.microsoft.com/office/drawing/2014/main" id="{409C4AC2-4C10-4DEA-A07A-BB43F8661D46}"/>
                    </a:ext>
                  </a:extLst>
                </p:cNvPr>
                <p:cNvSpPr/>
                <p:nvPr/>
              </p:nvSpPr>
              <p:spPr>
                <a:xfrm>
                  <a:off x="4200657" y="3734276"/>
                  <a:ext cx="1553021" cy="1257510"/>
                </a:xfrm>
                <a:custGeom>
                  <a:avLst/>
                  <a:gdLst>
                    <a:gd name="connsiteX0" fmla="*/ 252245 w 1553021"/>
                    <a:gd name="connsiteY0" fmla="*/ 1257170 h 1257510"/>
                    <a:gd name="connsiteX1" fmla="*/ 249003 w 1553021"/>
                    <a:gd name="connsiteY1" fmla="*/ 1256345 h 1257510"/>
                    <a:gd name="connsiteX2" fmla="*/ 244049 w 1553021"/>
                    <a:gd name="connsiteY2" fmla="*/ 1253321 h 1257510"/>
                    <a:gd name="connsiteX3" fmla="*/ 241426 w 1553021"/>
                    <a:gd name="connsiteY3" fmla="*/ 1250528 h 1257510"/>
                    <a:gd name="connsiteX4" fmla="*/ 239653 w 1553021"/>
                    <a:gd name="connsiteY4" fmla="*/ 1247140 h 1257510"/>
                    <a:gd name="connsiteX5" fmla="*/ 237127 w 1553021"/>
                    <a:gd name="connsiteY5" fmla="*/ 1236564 h 1257510"/>
                    <a:gd name="connsiteX6" fmla="*/ 236435 w 1553021"/>
                    <a:gd name="connsiteY6" fmla="*/ 1234803 h 1257510"/>
                    <a:gd name="connsiteX7" fmla="*/ 235452 w 1553021"/>
                    <a:gd name="connsiteY7" fmla="*/ 1233905 h 1257510"/>
                    <a:gd name="connsiteX8" fmla="*/ 234504 w 1553021"/>
                    <a:gd name="connsiteY8" fmla="*/ 1233480 h 1257510"/>
                    <a:gd name="connsiteX9" fmla="*/ 232562 w 1553021"/>
                    <a:gd name="connsiteY9" fmla="*/ 1233091 h 1257510"/>
                    <a:gd name="connsiteX10" fmla="*/ 229295 w 1553021"/>
                    <a:gd name="connsiteY10" fmla="*/ 1232569 h 1257510"/>
                    <a:gd name="connsiteX11" fmla="*/ 227559 w 1553021"/>
                    <a:gd name="connsiteY11" fmla="*/ 1232083 h 1257510"/>
                    <a:gd name="connsiteX12" fmla="*/ 225033 w 1553021"/>
                    <a:gd name="connsiteY12" fmla="*/ 1230614 h 1257510"/>
                    <a:gd name="connsiteX13" fmla="*/ 224013 w 1553021"/>
                    <a:gd name="connsiteY13" fmla="*/ 1229205 h 1257510"/>
                    <a:gd name="connsiteX14" fmla="*/ 223139 w 1553021"/>
                    <a:gd name="connsiteY14" fmla="*/ 1226898 h 1257510"/>
                    <a:gd name="connsiteX15" fmla="*/ 221281 w 1553021"/>
                    <a:gd name="connsiteY15" fmla="*/ 1229946 h 1257510"/>
                    <a:gd name="connsiteX16" fmla="*/ 219435 w 1553021"/>
                    <a:gd name="connsiteY16" fmla="*/ 1232362 h 1257510"/>
                    <a:gd name="connsiteX17" fmla="*/ 217067 w 1553021"/>
                    <a:gd name="connsiteY17" fmla="*/ 1233249 h 1257510"/>
                    <a:gd name="connsiteX18" fmla="*/ 213789 w 1553021"/>
                    <a:gd name="connsiteY18" fmla="*/ 1233783 h 1257510"/>
                    <a:gd name="connsiteX19" fmla="*/ 205179 w 1553021"/>
                    <a:gd name="connsiteY19" fmla="*/ 1234233 h 1257510"/>
                    <a:gd name="connsiteX20" fmla="*/ 200905 w 1553021"/>
                    <a:gd name="connsiteY20" fmla="*/ 1236491 h 1257510"/>
                    <a:gd name="connsiteX21" fmla="*/ 194663 w 1553021"/>
                    <a:gd name="connsiteY21" fmla="*/ 1235738 h 1257510"/>
                    <a:gd name="connsiteX22" fmla="*/ 191263 w 1553021"/>
                    <a:gd name="connsiteY22" fmla="*/ 1234973 h 1257510"/>
                    <a:gd name="connsiteX23" fmla="*/ 188373 w 1553021"/>
                    <a:gd name="connsiteY23" fmla="*/ 1233200 h 1257510"/>
                    <a:gd name="connsiteX24" fmla="*/ 187402 w 1553021"/>
                    <a:gd name="connsiteY24" fmla="*/ 1232520 h 1257510"/>
                    <a:gd name="connsiteX25" fmla="*/ 186649 w 1553021"/>
                    <a:gd name="connsiteY25" fmla="*/ 1229048 h 1257510"/>
                    <a:gd name="connsiteX26" fmla="*/ 187098 w 1553021"/>
                    <a:gd name="connsiteY26" fmla="*/ 1219928 h 1257510"/>
                    <a:gd name="connsiteX27" fmla="*/ 185787 w 1553021"/>
                    <a:gd name="connsiteY27" fmla="*/ 1216164 h 1257510"/>
                    <a:gd name="connsiteX28" fmla="*/ 179630 w 1553021"/>
                    <a:gd name="connsiteY28" fmla="*/ 1204458 h 1257510"/>
                    <a:gd name="connsiteX29" fmla="*/ 176680 w 1553021"/>
                    <a:gd name="connsiteY29" fmla="*/ 1200657 h 1257510"/>
                    <a:gd name="connsiteX30" fmla="*/ 166225 w 1553021"/>
                    <a:gd name="connsiteY30" fmla="*/ 1192279 h 1257510"/>
                    <a:gd name="connsiteX31" fmla="*/ 162436 w 1553021"/>
                    <a:gd name="connsiteY31" fmla="*/ 1188539 h 1257510"/>
                    <a:gd name="connsiteX32" fmla="*/ 158137 w 1553021"/>
                    <a:gd name="connsiteY32" fmla="*/ 1182589 h 1257510"/>
                    <a:gd name="connsiteX33" fmla="*/ 157105 w 1553021"/>
                    <a:gd name="connsiteY33" fmla="*/ 1176493 h 1257510"/>
                    <a:gd name="connsiteX34" fmla="*/ 155733 w 1553021"/>
                    <a:gd name="connsiteY34" fmla="*/ 1175607 h 1257510"/>
                    <a:gd name="connsiteX35" fmla="*/ 154968 w 1553021"/>
                    <a:gd name="connsiteY35" fmla="*/ 1175036 h 1257510"/>
                    <a:gd name="connsiteX36" fmla="*/ 154191 w 1553021"/>
                    <a:gd name="connsiteY36" fmla="*/ 1172789 h 1257510"/>
                    <a:gd name="connsiteX37" fmla="*/ 153705 w 1553021"/>
                    <a:gd name="connsiteY37" fmla="*/ 1172559 h 1257510"/>
                    <a:gd name="connsiteX38" fmla="*/ 150827 w 1553021"/>
                    <a:gd name="connsiteY38" fmla="*/ 1170761 h 1257510"/>
                    <a:gd name="connsiteX39" fmla="*/ 149273 w 1553021"/>
                    <a:gd name="connsiteY39" fmla="*/ 1165977 h 1257510"/>
                    <a:gd name="connsiteX40" fmla="*/ 151799 w 1553021"/>
                    <a:gd name="connsiteY40" fmla="*/ 1163658 h 1257510"/>
                    <a:gd name="connsiteX41" fmla="*/ 152309 w 1553021"/>
                    <a:gd name="connsiteY41" fmla="*/ 1163002 h 1257510"/>
                    <a:gd name="connsiteX42" fmla="*/ 152309 w 1553021"/>
                    <a:gd name="connsiteY42" fmla="*/ 1158546 h 1257510"/>
                    <a:gd name="connsiteX43" fmla="*/ 149759 w 1553021"/>
                    <a:gd name="connsiteY43" fmla="*/ 1158679 h 1257510"/>
                    <a:gd name="connsiteX44" fmla="*/ 148496 w 1553021"/>
                    <a:gd name="connsiteY44" fmla="*/ 1149378 h 1257510"/>
                    <a:gd name="connsiteX45" fmla="*/ 148472 w 1553021"/>
                    <a:gd name="connsiteY45" fmla="*/ 1141606 h 1257510"/>
                    <a:gd name="connsiteX46" fmla="*/ 148022 w 1553021"/>
                    <a:gd name="connsiteY46" fmla="*/ 1141667 h 1257510"/>
                    <a:gd name="connsiteX47" fmla="*/ 147100 w 1553021"/>
                    <a:gd name="connsiteY47" fmla="*/ 1141412 h 1257510"/>
                    <a:gd name="connsiteX48" fmla="*/ 145327 w 1553021"/>
                    <a:gd name="connsiteY48" fmla="*/ 1140380 h 1257510"/>
                    <a:gd name="connsiteX49" fmla="*/ 144173 w 1553021"/>
                    <a:gd name="connsiteY49" fmla="*/ 1139008 h 1257510"/>
                    <a:gd name="connsiteX50" fmla="*/ 143153 w 1553021"/>
                    <a:gd name="connsiteY50" fmla="*/ 1137150 h 1257510"/>
                    <a:gd name="connsiteX51" fmla="*/ 142097 w 1553021"/>
                    <a:gd name="connsiteY51" fmla="*/ 1132499 h 1257510"/>
                    <a:gd name="connsiteX52" fmla="*/ 137009 w 1553021"/>
                    <a:gd name="connsiteY52" fmla="*/ 1116823 h 1257510"/>
                    <a:gd name="connsiteX53" fmla="*/ 136790 w 1553021"/>
                    <a:gd name="connsiteY53" fmla="*/ 1115596 h 1257510"/>
                    <a:gd name="connsiteX54" fmla="*/ 136863 w 1553021"/>
                    <a:gd name="connsiteY54" fmla="*/ 1113082 h 1257510"/>
                    <a:gd name="connsiteX55" fmla="*/ 132904 w 1553021"/>
                    <a:gd name="connsiteY55" fmla="*/ 1111310 h 1257510"/>
                    <a:gd name="connsiteX56" fmla="*/ 133366 w 1553021"/>
                    <a:gd name="connsiteY56" fmla="*/ 1105979 h 1257510"/>
                    <a:gd name="connsiteX57" fmla="*/ 134896 w 1553021"/>
                    <a:gd name="connsiteY57" fmla="*/ 1103198 h 1257510"/>
                    <a:gd name="connsiteX58" fmla="*/ 133342 w 1553021"/>
                    <a:gd name="connsiteY58" fmla="*/ 1102251 h 1257510"/>
                    <a:gd name="connsiteX59" fmla="*/ 130099 w 1553021"/>
                    <a:gd name="connsiteY59" fmla="*/ 1098232 h 1257510"/>
                    <a:gd name="connsiteX60" fmla="*/ 128594 w 1553021"/>
                    <a:gd name="connsiteY60" fmla="*/ 1090618 h 1257510"/>
                    <a:gd name="connsiteX61" fmla="*/ 125886 w 1553021"/>
                    <a:gd name="connsiteY61" fmla="*/ 1083029 h 1257510"/>
                    <a:gd name="connsiteX62" fmla="*/ 125631 w 1553021"/>
                    <a:gd name="connsiteY62" fmla="*/ 1082640 h 1257510"/>
                    <a:gd name="connsiteX63" fmla="*/ 123676 w 1553021"/>
                    <a:gd name="connsiteY63" fmla="*/ 1081535 h 1257510"/>
                    <a:gd name="connsiteX64" fmla="*/ 122826 w 1553021"/>
                    <a:gd name="connsiteY64" fmla="*/ 1078305 h 1257510"/>
                    <a:gd name="connsiteX65" fmla="*/ 122850 w 1553021"/>
                    <a:gd name="connsiteY65" fmla="*/ 1073083 h 1257510"/>
                    <a:gd name="connsiteX66" fmla="*/ 123809 w 1553021"/>
                    <a:gd name="connsiteY66" fmla="*/ 1070424 h 1257510"/>
                    <a:gd name="connsiteX67" fmla="*/ 125388 w 1553021"/>
                    <a:gd name="connsiteY67" fmla="*/ 1066988 h 1257510"/>
                    <a:gd name="connsiteX68" fmla="*/ 125473 w 1553021"/>
                    <a:gd name="connsiteY68" fmla="*/ 1067049 h 1257510"/>
                    <a:gd name="connsiteX69" fmla="*/ 125352 w 1553021"/>
                    <a:gd name="connsiteY69" fmla="*/ 1066381 h 1257510"/>
                    <a:gd name="connsiteX70" fmla="*/ 123287 w 1553021"/>
                    <a:gd name="connsiteY70" fmla="*/ 1064146 h 1257510"/>
                    <a:gd name="connsiteX71" fmla="*/ 126517 w 1553021"/>
                    <a:gd name="connsiteY71" fmla="*/ 1062046 h 1257510"/>
                    <a:gd name="connsiteX72" fmla="*/ 126772 w 1553021"/>
                    <a:gd name="connsiteY72" fmla="*/ 1061803 h 1257510"/>
                    <a:gd name="connsiteX73" fmla="*/ 124732 w 1553021"/>
                    <a:gd name="connsiteY73" fmla="*/ 1057213 h 1257510"/>
                    <a:gd name="connsiteX74" fmla="*/ 123992 w 1553021"/>
                    <a:gd name="connsiteY74" fmla="*/ 1054639 h 1257510"/>
                    <a:gd name="connsiteX75" fmla="*/ 124659 w 1553021"/>
                    <a:gd name="connsiteY75" fmla="*/ 1052453 h 1257510"/>
                    <a:gd name="connsiteX76" fmla="*/ 126736 w 1553021"/>
                    <a:gd name="connsiteY76" fmla="*/ 1049199 h 1257510"/>
                    <a:gd name="connsiteX77" fmla="*/ 126432 w 1553021"/>
                    <a:gd name="connsiteY77" fmla="*/ 1048045 h 1257510"/>
                    <a:gd name="connsiteX78" fmla="*/ 125752 w 1553021"/>
                    <a:gd name="connsiteY78" fmla="*/ 1046988 h 1257510"/>
                    <a:gd name="connsiteX79" fmla="*/ 122704 w 1553021"/>
                    <a:gd name="connsiteY79" fmla="*/ 1044572 h 1257510"/>
                    <a:gd name="connsiteX80" fmla="*/ 120118 w 1553021"/>
                    <a:gd name="connsiteY80" fmla="*/ 1037845 h 1257510"/>
                    <a:gd name="connsiteX81" fmla="*/ 121308 w 1553021"/>
                    <a:gd name="connsiteY81" fmla="*/ 1031616 h 1257510"/>
                    <a:gd name="connsiteX82" fmla="*/ 122716 w 1553021"/>
                    <a:gd name="connsiteY82" fmla="*/ 1027523 h 1257510"/>
                    <a:gd name="connsiteX83" fmla="*/ 120154 w 1553021"/>
                    <a:gd name="connsiteY83" fmla="*/ 1023686 h 1257510"/>
                    <a:gd name="connsiteX84" fmla="*/ 117641 w 1553021"/>
                    <a:gd name="connsiteY84" fmla="*/ 1017772 h 1257510"/>
                    <a:gd name="connsiteX85" fmla="*/ 116232 w 1553021"/>
                    <a:gd name="connsiteY85" fmla="*/ 1010608 h 1257510"/>
                    <a:gd name="connsiteX86" fmla="*/ 118078 w 1553021"/>
                    <a:gd name="connsiteY86" fmla="*/ 1008349 h 1257510"/>
                    <a:gd name="connsiteX87" fmla="*/ 116536 w 1553021"/>
                    <a:gd name="connsiteY87" fmla="*/ 1001817 h 1257510"/>
                    <a:gd name="connsiteX88" fmla="*/ 116621 w 1553021"/>
                    <a:gd name="connsiteY88" fmla="*/ 997895 h 1257510"/>
                    <a:gd name="connsiteX89" fmla="*/ 117629 w 1553021"/>
                    <a:gd name="connsiteY89" fmla="*/ 994482 h 1257510"/>
                    <a:gd name="connsiteX90" fmla="*/ 119049 w 1553021"/>
                    <a:gd name="connsiteY90" fmla="*/ 991872 h 1257510"/>
                    <a:gd name="connsiteX91" fmla="*/ 116208 w 1553021"/>
                    <a:gd name="connsiteY91" fmla="*/ 990451 h 1257510"/>
                    <a:gd name="connsiteX92" fmla="*/ 112917 w 1553021"/>
                    <a:gd name="connsiteY92" fmla="*/ 986274 h 1257510"/>
                    <a:gd name="connsiteX93" fmla="*/ 114435 w 1553021"/>
                    <a:gd name="connsiteY93" fmla="*/ 984040 h 1257510"/>
                    <a:gd name="connsiteX94" fmla="*/ 112978 w 1553021"/>
                    <a:gd name="connsiteY94" fmla="*/ 982279 h 1257510"/>
                    <a:gd name="connsiteX95" fmla="*/ 113124 w 1553021"/>
                    <a:gd name="connsiteY95" fmla="*/ 976790 h 1257510"/>
                    <a:gd name="connsiteX96" fmla="*/ 118078 w 1553021"/>
                    <a:gd name="connsiteY96" fmla="*/ 975697 h 1257510"/>
                    <a:gd name="connsiteX97" fmla="*/ 117604 w 1553021"/>
                    <a:gd name="connsiteY97" fmla="*/ 972480 h 1257510"/>
                    <a:gd name="connsiteX98" fmla="*/ 116220 w 1553021"/>
                    <a:gd name="connsiteY98" fmla="*/ 968885 h 1257510"/>
                    <a:gd name="connsiteX99" fmla="*/ 113330 w 1553021"/>
                    <a:gd name="connsiteY99" fmla="*/ 964210 h 1257510"/>
                    <a:gd name="connsiteX100" fmla="*/ 115018 w 1553021"/>
                    <a:gd name="connsiteY100" fmla="*/ 960810 h 1257510"/>
                    <a:gd name="connsiteX101" fmla="*/ 114812 w 1553021"/>
                    <a:gd name="connsiteY101" fmla="*/ 958649 h 1257510"/>
                    <a:gd name="connsiteX102" fmla="*/ 113937 w 1553021"/>
                    <a:gd name="connsiteY102" fmla="*/ 956596 h 1257510"/>
                    <a:gd name="connsiteX103" fmla="*/ 110185 w 1553021"/>
                    <a:gd name="connsiteY103" fmla="*/ 949748 h 1257510"/>
                    <a:gd name="connsiteX104" fmla="*/ 110185 w 1553021"/>
                    <a:gd name="connsiteY104" fmla="*/ 945595 h 1257510"/>
                    <a:gd name="connsiteX105" fmla="*/ 107174 w 1553021"/>
                    <a:gd name="connsiteY105" fmla="*/ 939985 h 1257510"/>
                    <a:gd name="connsiteX106" fmla="*/ 106287 w 1553021"/>
                    <a:gd name="connsiteY106" fmla="*/ 936111 h 1257510"/>
                    <a:gd name="connsiteX107" fmla="*/ 105947 w 1553021"/>
                    <a:gd name="connsiteY107" fmla="*/ 935844 h 1257510"/>
                    <a:gd name="connsiteX108" fmla="*/ 102972 w 1553021"/>
                    <a:gd name="connsiteY108" fmla="*/ 932711 h 1257510"/>
                    <a:gd name="connsiteX109" fmla="*/ 101345 w 1553021"/>
                    <a:gd name="connsiteY109" fmla="*/ 929736 h 1257510"/>
                    <a:gd name="connsiteX110" fmla="*/ 97423 w 1553021"/>
                    <a:gd name="connsiteY110" fmla="*/ 921965 h 1257510"/>
                    <a:gd name="connsiteX111" fmla="*/ 108364 w 1553021"/>
                    <a:gd name="connsiteY111" fmla="*/ 927016 h 1257510"/>
                    <a:gd name="connsiteX112" fmla="*/ 108655 w 1553021"/>
                    <a:gd name="connsiteY112" fmla="*/ 927259 h 1257510"/>
                    <a:gd name="connsiteX113" fmla="*/ 105146 w 1553021"/>
                    <a:gd name="connsiteY113" fmla="*/ 920507 h 1257510"/>
                    <a:gd name="connsiteX114" fmla="*/ 103239 w 1553021"/>
                    <a:gd name="connsiteY114" fmla="*/ 917848 h 1257510"/>
                    <a:gd name="connsiteX115" fmla="*/ 98321 w 1553021"/>
                    <a:gd name="connsiteY115" fmla="*/ 913938 h 1257510"/>
                    <a:gd name="connsiteX116" fmla="*/ 97314 w 1553021"/>
                    <a:gd name="connsiteY116" fmla="*/ 910684 h 1257510"/>
                    <a:gd name="connsiteX117" fmla="*/ 96816 w 1553021"/>
                    <a:gd name="connsiteY117" fmla="*/ 906738 h 1257510"/>
                    <a:gd name="connsiteX118" fmla="*/ 99827 w 1553021"/>
                    <a:gd name="connsiteY118" fmla="*/ 903107 h 1257510"/>
                    <a:gd name="connsiteX119" fmla="*/ 100167 w 1553021"/>
                    <a:gd name="connsiteY119" fmla="*/ 902415 h 1257510"/>
                    <a:gd name="connsiteX120" fmla="*/ 98066 w 1553021"/>
                    <a:gd name="connsiteY120" fmla="*/ 899622 h 1257510"/>
                    <a:gd name="connsiteX121" fmla="*/ 99536 w 1553021"/>
                    <a:gd name="connsiteY121" fmla="*/ 895457 h 1257510"/>
                    <a:gd name="connsiteX122" fmla="*/ 97398 w 1553021"/>
                    <a:gd name="connsiteY122" fmla="*/ 891692 h 1257510"/>
                    <a:gd name="connsiteX123" fmla="*/ 90987 w 1553021"/>
                    <a:gd name="connsiteY123" fmla="*/ 884819 h 1257510"/>
                    <a:gd name="connsiteX124" fmla="*/ 89421 w 1553021"/>
                    <a:gd name="connsiteY124" fmla="*/ 880023 h 1257510"/>
                    <a:gd name="connsiteX125" fmla="*/ 90453 w 1553021"/>
                    <a:gd name="connsiteY125" fmla="*/ 875967 h 1257510"/>
                    <a:gd name="connsiteX126" fmla="*/ 93622 w 1553021"/>
                    <a:gd name="connsiteY126" fmla="*/ 874984 h 1257510"/>
                    <a:gd name="connsiteX127" fmla="*/ 95941 w 1553021"/>
                    <a:gd name="connsiteY127" fmla="*/ 874862 h 1257510"/>
                    <a:gd name="connsiteX128" fmla="*/ 93343 w 1553021"/>
                    <a:gd name="connsiteY128" fmla="*/ 874025 h 1257510"/>
                    <a:gd name="connsiteX129" fmla="*/ 90829 w 1553021"/>
                    <a:gd name="connsiteY129" fmla="*/ 871389 h 1257510"/>
                    <a:gd name="connsiteX130" fmla="*/ 88959 w 1553021"/>
                    <a:gd name="connsiteY130" fmla="*/ 867686 h 1257510"/>
                    <a:gd name="connsiteX131" fmla="*/ 88461 w 1553021"/>
                    <a:gd name="connsiteY131" fmla="*/ 862877 h 1257510"/>
                    <a:gd name="connsiteX132" fmla="*/ 89081 w 1553021"/>
                    <a:gd name="connsiteY132" fmla="*/ 861384 h 1257510"/>
                    <a:gd name="connsiteX133" fmla="*/ 87150 w 1553021"/>
                    <a:gd name="connsiteY133" fmla="*/ 858542 h 1257510"/>
                    <a:gd name="connsiteX134" fmla="*/ 85535 w 1553021"/>
                    <a:gd name="connsiteY134" fmla="*/ 854535 h 1257510"/>
                    <a:gd name="connsiteX135" fmla="*/ 86421 w 1553021"/>
                    <a:gd name="connsiteY135" fmla="*/ 850880 h 1257510"/>
                    <a:gd name="connsiteX136" fmla="*/ 88558 w 1553021"/>
                    <a:gd name="connsiteY136" fmla="*/ 848123 h 1257510"/>
                    <a:gd name="connsiteX137" fmla="*/ 89032 w 1553021"/>
                    <a:gd name="connsiteY137" fmla="*/ 847019 h 1257510"/>
                    <a:gd name="connsiteX138" fmla="*/ 89044 w 1553021"/>
                    <a:gd name="connsiteY138" fmla="*/ 846120 h 1257510"/>
                    <a:gd name="connsiteX139" fmla="*/ 88000 w 1553021"/>
                    <a:gd name="connsiteY139" fmla="*/ 844481 h 1257510"/>
                    <a:gd name="connsiteX140" fmla="*/ 86871 w 1553021"/>
                    <a:gd name="connsiteY140" fmla="*/ 842234 h 1257510"/>
                    <a:gd name="connsiteX141" fmla="*/ 85923 w 1553021"/>
                    <a:gd name="connsiteY141" fmla="*/ 835980 h 1257510"/>
                    <a:gd name="connsiteX142" fmla="*/ 85207 w 1553021"/>
                    <a:gd name="connsiteY142" fmla="*/ 834803 h 1257510"/>
                    <a:gd name="connsiteX143" fmla="*/ 82706 w 1553021"/>
                    <a:gd name="connsiteY143" fmla="*/ 832180 h 1257510"/>
                    <a:gd name="connsiteX144" fmla="*/ 81151 w 1553021"/>
                    <a:gd name="connsiteY144" fmla="*/ 829472 h 1257510"/>
                    <a:gd name="connsiteX145" fmla="*/ 79791 w 1553021"/>
                    <a:gd name="connsiteY145" fmla="*/ 822223 h 1257510"/>
                    <a:gd name="connsiteX146" fmla="*/ 78358 w 1553021"/>
                    <a:gd name="connsiteY146" fmla="*/ 818738 h 1257510"/>
                    <a:gd name="connsiteX147" fmla="*/ 69421 w 1553021"/>
                    <a:gd name="connsiteY147" fmla="*/ 804372 h 1257510"/>
                    <a:gd name="connsiteX148" fmla="*/ 69057 w 1553021"/>
                    <a:gd name="connsiteY148" fmla="*/ 798398 h 1257510"/>
                    <a:gd name="connsiteX149" fmla="*/ 69968 w 1553021"/>
                    <a:gd name="connsiteY149" fmla="*/ 797402 h 1257510"/>
                    <a:gd name="connsiteX150" fmla="*/ 67903 w 1553021"/>
                    <a:gd name="connsiteY150" fmla="*/ 795812 h 1257510"/>
                    <a:gd name="connsiteX151" fmla="*/ 66786 w 1553021"/>
                    <a:gd name="connsiteY151" fmla="*/ 791671 h 1257510"/>
                    <a:gd name="connsiteX152" fmla="*/ 67830 w 1553021"/>
                    <a:gd name="connsiteY152" fmla="*/ 787761 h 1257510"/>
                    <a:gd name="connsiteX153" fmla="*/ 66555 w 1553021"/>
                    <a:gd name="connsiteY153" fmla="*/ 785502 h 1257510"/>
                    <a:gd name="connsiteX154" fmla="*/ 64333 w 1553021"/>
                    <a:gd name="connsiteY154" fmla="*/ 783256 h 1257510"/>
                    <a:gd name="connsiteX155" fmla="*/ 62609 w 1553021"/>
                    <a:gd name="connsiteY155" fmla="*/ 779637 h 1257510"/>
                    <a:gd name="connsiteX156" fmla="*/ 61577 w 1553021"/>
                    <a:gd name="connsiteY156" fmla="*/ 777197 h 1257510"/>
                    <a:gd name="connsiteX157" fmla="*/ 63653 w 1553021"/>
                    <a:gd name="connsiteY157" fmla="*/ 775970 h 1257510"/>
                    <a:gd name="connsiteX158" fmla="*/ 63265 w 1553021"/>
                    <a:gd name="connsiteY158" fmla="*/ 775011 h 1257510"/>
                    <a:gd name="connsiteX159" fmla="*/ 62512 w 1553021"/>
                    <a:gd name="connsiteY159" fmla="*/ 774294 h 1257510"/>
                    <a:gd name="connsiteX160" fmla="*/ 61565 w 1553021"/>
                    <a:gd name="connsiteY160" fmla="*/ 771975 h 1257510"/>
                    <a:gd name="connsiteX161" fmla="*/ 59865 w 1553021"/>
                    <a:gd name="connsiteY161" fmla="*/ 757051 h 1257510"/>
                    <a:gd name="connsiteX162" fmla="*/ 58456 w 1553021"/>
                    <a:gd name="connsiteY162" fmla="*/ 754574 h 1257510"/>
                    <a:gd name="connsiteX163" fmla="*/ 51158 w 1553021"/>
                    <a:gd name="connsiteY163" fmla="*/ 752850 h 1257510"/>
                    <a:gd name="connsiteX164" fmla="*/ 53963 w 1553021"/>
                    <a:gd name="connsiteY164" fmla="*/ 745516 h 1257510"/>
                    <a:gd name="connsiteX165" fmla="*/ 53854 w 1553021"/>
                    <a:gd name="connsiteY165" fmla="*/ 745370 h 1257510"/>
                    <a:gd name="connsiteX166" fmla="*/ 53429 w 1553021"/>
                    <a:gd name="connsiteY166" fmla="*/ 742929 h 1257510"/>
                    <a:gd name="connsiteX167" fmla="*/ 53769 w 1553021"/>
                    <a:gd name="connsiteY167" fmla="*/ 739990 h 1257510"/>
                    <a:gd name="connsiteX168" fmla="*/ 54959 w 1553021"/>
                    <a:gd name="connsiteY168" fmla="*/ 737307 h 1257510"/>
                    <a:gd name="connsiteX169" fmla="*/ 56161 w 1553021"/>
                    <a:gd name="connsiteY169" fmla="*/ 734891 h 1257510"/>
                    <a:gd name="connsiteX170" fmla="*/ 60982 w 1553021"/>
                    <a:gd name="connsiteY170" fmla="*/ 736627 h 1257510"/>
                    <a:gd name="connsiteX171" fmla="*/ 59500 w 1553021"/>
                    <a:gd name="connsiteY171" fmla="*/ 734162 h 1257510"/>
                    <a:gd name="connsiteX172" fmla="*/ 59865 w 1553021"/>
                    <a:gd name="connsiteY172" fmla="*/ 733251 h 1257510"/>
                    <a:gd name="connsiteX173" fmla="*/ 58080 w 1553021"/>
                    <a:gd name="connsiteY173" fmla="*/ 732146 h 1257510"/>
                    <a:gd name="connsiteX174" fmla="*/ 54801 w 1553021"/>
                    <a:gd name="connsiteY174" fmla="*/ 728078 h 1257510"/>
                    <a:gd name="connsiteX175" fmla="*/ 53599 w 1553021"/>
                    <a:gd name="connsiteY175" fmla="*/ 728066 h 1257510"/>
                    <a:gd name="connsiteX176" fmla="*/ 52202 w 1553021"/>
                    <a:gd name="connsiteY176" fmla="*/ 728151 h 1257510"/>
                    <a:gd name="connsiteX177" fmla="*/ 50308 w 1553021"/>
                    <a:gd name="connsiteY177" fmla="*/ 726196 h 1257510"/>
                    <a:gd name="connsiteX178" fmla="*/ 49142 w 1553021"/>
                    <a:gd name="connsiteY178" fmla="*/ 723865 h 1257510"/>
                    <a:gd name="connsiteX179" fmla="*/ 48887 w 1553021"/>
                    <a:gd name="connsiteY179" fmla="*/ 723221 h 1257510"/>
                    <a:gd name="connsiteX180" fmla="*/ 49106 w 1553021"/>
                    <a:gd name="connsiteY180" fmla="*/ 721084 h 1257510"/>
                    <a:gd name="connsiteX181" fmla="*/ 49458 w 1553021"/>
                    <a:gd name="connsiteY181" fmla="*/ 718996 h 1257510"/>
                    <a:gd name="connsiteX182" fmla="*/ 49033 w 1553021"/>
                    <a:gd name="connsiteY182" fmla="*/ 717222 h 1257510"/>
                    <a:gd name="connsiteX183" fmla="*/ 48341 w 1553021"/>
                    <a:gd name="connsiteY183" fmla="*/ 716518 h 1257510"/>
                    <a:gd name="connsiteX184" fmla="*/ 47200 w 1553021"/>
                    <a:gd name="connsiteY184" fmla="*/ 715037 h 1257510"/>
                    <a:gd name="connsiteX185" fmla="*/ 45767 w 1553021"/>
                    <a:gd name="connsiteY185" fmla="*/ 712135 h 1257510"/>
                    <a:gd name="connsiteX186" fmla="*/ 45172 w 1553021"/>
                    <a:gd name="connsiteY186" fmla="*/ 709002 h 1257510"/>
                    <a:gd name="connsiteX187" fmla="*/ 45487 w 1553021"/>
                    <a:gd name="connsiteY187" fmla="*/ 700720 h 1257510"/>
                    <a:gd name="connsiteX188" fmla="*/ 46337 w 1553021"/>
                    <a:gd name="connsiteY188" fmla="*/ 696009 h 1257510"/>
                    <a:gd name="connsiteX189" fmla="*/ 49179 w 1553021"/>
                    <a:gd name="connsiteY189" fmla="*/ 690508 h 1257510"/>
                    <a:gd name="connsiteX190" fmla="*/ 51583 w 1553021"/>
                    <a:gd name="connsiteY190" fmla="*/ 688796 h 1257510"/>
                    <a:gd name="connsiteX191" fmla="*/ 49434 w 1553021"/>
                    <a:gd name="connsiteY191" fmla="*/ 687958 h 1257510"/>
                    <a:gd name="connsiteX192" fmla="*/ 48256 w 1553021"/>
                    <a:gd name="connsiteY192" fmla="*/ 682870 h 1257510"/>
                    <a:gd name="connsiteX193" fmla="*/ 44273 w 1553021"/>
                    <a:gd name="connsiteY193" fmla="*/ 672755 h 1257510"/>
                    <a:gd name="connsiteX194" fmla="*/ 40812 w 1553021"/>
                    <a:gd name="connsiteY194" fmla="*/ 670023 h 1257510"/>
                    <a:gd name="connsiteX195" fmla="*/ 38821 w 1553021"/>
                    <a:gd name="connsiteY195" fmla="*/ 662798 h 1257510"/>
                    <a:gd name="connsiteX196" fmla="*/ 38080 w 1553021"/>
                    <a:gd name="connsiteY196" fmla="*/ 654796 h 1257510"/>
                    <a:gd name="connsiteX197" fmla="*/ 38190 w 1553021"/>
                    <a:gd name="connsiteY197" fmla="*/ 644741 h 1257510"/>
                    <a:gd name="connsiteX198" fmla="*/ 39173 w 1553021"/>
                    <a:gd name="connsiteY198" fmla="*/ 640807 h 1257510"/>
                    <a:gd name="connsiteX199" fmla="*/ 41517 w 1553021"/>
                    <a:gd name="connsiteY199" fmla="*/ 636824 h 1257510"/>
                    <a:gd name="connsiteX200" fmla="*/ 45427 w 1553021"/>
                    <a:gd name="connsiteY200" fmla="*/ 634444 h 1257510"/>
                    <a:gd name="connsiteX201" fmla="*/ 48511 w 1553021"/>
                    <a:gd name="connsiteY201" fmla="*/ 634566 h 1257510"/>
                    <a:gd name="connsiteX202" fmla="*/ 50733 w 1553021"/>
                    <a:gd name="connsiteY202" fmla="*/ 635731 h 1257510"/>
                    <a:gd name="connsiteX203" fmla="*/ 54255 w 1553021"/>
                    <a:gd name="connsiteY203" fmla="*/ 629004 h 1257510"/>
                    <a:gd name="connsiteX204" fmla="*/ 59379 w 1553021"/>
                    <a:gd name="connsiteY204" fmla="*/ 633315 h 1257510"/>
                    <a:gd name="connsiteX205" fmla="*/ 65511 w 1553021"/>
                    <a:gd name="connsiteY205" fmla="*/ 639872 h 1257510"/>
                    <a:gd name="connsiteX206" fmla="*/ 66616 w 1553021"/>
                    <a:gd name="connsiteY206" fmla="*/ 637358 h 1257510"/>
                    <a:gd name="connsiteX207" fmla="*/ 64819 w 1553021"/>
                    <a:gd name="connsiteY207" fmla="*/ 636606 h 1257510"/>
                    <a:gd name="connsiteX208" fmla="*/ 63070 w 1553021"/>
                    <a:gd name="connsiteY208" fmla="*/ 634517 h 1257510"/>
                    <a:gd name="connsiteX209" fmla="*/ 61091 w 1553021"/>
                    <a:gd name="connsiteY209" fmla="*/ 629903 h 1257510"/>
                    <a:gd name="connsiteX210" fmla="*/ 58845 w 1553021"/>
                    <a:gd name="connsiteY210" fmla="*/ 630910 h 1257510"/>
                    <a:gd name="connsiteX211" fmla="*/ 51267 w 1553021"/>
                    <a:gd name="connsiteY211" fmla="*/ 627705 h 1257510"/>
                    <a:gd name="connsiteX212" fmla="*/ 45961 w 1553021"/>
                    <a:gd name="connsiteY212" fmla="*/ 620893 h 1257510"/>
                    <a:gd name="connsiteX213" fmla="*/ 51498 w 1553021"/>
                    <a:gd name="connsiteY213" fmla="*/ 610243 h 1257510"/>
                    <a:gd name="connsiteX214" fmla="*/ 53830 w 1553021"/>
                    <a:gd name="connsiteY214" fmla="*/ 612114 h 1257510"/>
                    <a:gd name="connsiteX215" fmla="*/ 54133 w 1553021"/>
                    <a:gd name="connsiteY215" fmla="*/ 608058 h 1257510"/>
                    <a:gd name="connsiteX216" fmla="*/ 57133 w 1553021"/>
                    <a:gd name="connsiteY216" fmla="*/ 607026 h 1257510"/>
                    <a:gd name="connsiteX217" fmla="*/ 57133 w 1553021"/>
                    <a:gd name="connsiteY217" fmla="*/ 602860 h 1257510"/>
                    <a:gd name="connsiteX218" fmla="*/ 62633 w 1553021"/>
                    <a:gd name="connsiteY218" fmla="*/ 602338 h 1257510"/>
                    <a:gd name="connsiteX219" fmla="*/ 64005 w 1553021"/>
                    <a:gd name="connsiteY219" fmla="*/ 601695 h 1257510"/>
                    <a:gd name="connsiteX220" fmla="*/ 62670 w 1553021"/>
                    <a:gd name="connsiteY220" fmla="*/ 598367 h 1257510"/>
                    <a:gd name="connsiteX221" fmla="*/ 63423 w 1553021"/>
                    <a:gd name="connsiteY221" fmla="*/ 593583 h 1257510"/>
                    <a:gd name="connsiteX222" fmla="*/ 61856 w 1553021"/>
                    <a:gd name="connsiteY222" fmla="*/ 591264 h 1257510"/>
                    <a:gd name="connsiteX223" fmla="*/ 63544 w 1553021"/>
                    <a:gd name="connsiteY223" fmla="*/ 587852 h 1257510"/>
                    <a:gd name="connsiteX224" fmla="*/ 61795 w 1553021"/>
                    <a:gd name="connsiteY224" fmla="*/ 587208 h 1257510"/>
                    <a:gd name="connsiteX225" fmla="*/ 59658 w 1553021"/>
                    <a:gd name="connsiteY225" fmla="*/ 582934 h 1257510"/>
                    <a:gd name="connsiteX226" fmla="*/ 60095 w 1553021"/>
                    <a:gd name="connsiteY226" fmla="*/ 578660 h 1257510"/>
                    <a:gd name="connsiteX227" fmla="*/ 59768 w 1553021"/>
                    <a:gd name="connsiteY227" fmla="*/ 578975 h 1257510"/>
                    <a:gd name="connsiteX228" fmla="*/ 59513 w 1553021"/>
                    <a:gd name="connsiteY228" fmla="*/ 585205 h 1257510"/>
                    <a:gd name="connsiteX229" fmla="*/ 59051 w 1553021"/>
                    <a:gd name="connsiteY229" fmla="*/ 586115 h 1257510"/>
                    <a:gd name="connsiteX230" fmla="*/ 62014 w 1553021"/>
                    <a:gd name="connsiteY230" fmla="*/ 588313 h 1257510"/>
                    <a:gd name="connsiteX231" fmla="*/ 59367 w 1553021"/>
                    <a:gd name="connsiteY231" fmla="*/ 594591 h 1257510"/>
                    <a:gd name="connsiteX232" fmla="*/ 50697 w 1553021"/>
                    <a:gd name="connsiteY232" fmla="*/ 603771 h 1257510"/>
                    <a:gd name="connsiteX233" fmla="*/ 45487 w 1553021"/>
                    <a:gd name="connsiteY233" fmla="*/ 609090 h 1257510"/>
                    <a:gd name="connsiteX234" fmla="*/ 45487 w 1553021"/>
                    <a:gd name="connsiteY234" fmla="*/ 601403 h 1257510"/>
                    <a:gd name="connsiteX235" fmla="*/ 43399 w 1553021"/>
                    <a:gd name="connsiteY235" fmla="*/ 604318 h 1257510"/>
                    <a:gd name="connsiteX236" fmla="*/ 40885 w 1553021"/>
                    <a:gd name="connsiteY236" fmla="*/ 609333 h 1257510"/>
                    <a:gd name="connsiteX237" fmla="*/ 39562 w 1553021"/>
                    <a:gd name="connsiteY237" fmla="*/ 616485 h 1257510"/>
                    <a:gd name="connsiteX238" fmla="*/ 37850 w 1553021"/>
                    <a:gd name="connsiteY238" fmla="*/ 620796 h 1257510"/>
                    <a:gd name="connsiteX239" fmla="*/ 33017 w 1553021"/>
                    <a:gd name="connsiteY239" fmla="*/ 624123 h 1257510"/>
                    <a:gd name="connsiteX240" fmla="*/ 28985 w 1553021"/>
                    <a:gd name="connsiteY240" fmla="*/ 618659 h 1257510"/>
                    <a:gd name="connsiteX241" fmla="*/ 28730 w 1553021"/>
                    <a:gd name="connsiteY241" fmla="*/ 615744 h 1257510"/>
                    <a:gd name="connsiteX242" fmla="*/ 29034 w 1553021"/>
                    <a:gd name="connsiteY242" fmla="*/ 614433 h 1257510"/>
                    <a:gd name="connsiteX243" fmla="*/ 25488 w 1553021"/>
                    <a:gd name="connsiteY243" fmla="*/ 617335 h 1257510"/>
                    <a:gd name="connsiteX244" fmla="*/ 22549 w 1553021"/>
                    <a:gd name="connsiteY244" fmla="*/ 610037 h 1257510"/>
                    <a:gd name="connsiteX245" fmla="*/ 24104 w 1553021"/>
                    <a:gd name="connsiteY245" fmla="*/ 606613 h 1257510"/>
                    <a:gd name="connsiteX246" fmla="*/ 28172 w 1553021"/>
                    <a:gd name="connsiteY246" fmla="*/ 601124 h 1257510"/>
                    <a:gd name="connsiteX247" fmla="*/ 29009 w 1553021"/>
                    <a:gd name="connsiteY247" fmla="*/ 598902 h 1257510"/>
                    <a:gd name="connsiteX248" fmla="*/ 29362 w 1553021"/>
                    <a:gd name="connsiteY248" fmla="*/ 597178 h 1257510"/>
                    <a:gd name="connsiteX249" fmla="*/ 28900 w 1553021"/>
                    <a:gd name="connsiteY249" fmla="*/ 592430 h 1257510"/>
                    <a:gd name="connsiteX250" fmla="*/ 28548 w 1553021"/>
                    <a:gd name="connsiteY250" fmla="*/ 587306 h 1257510"/>
                    <a:gd name="connsiteX251" fmla="*/ 29617 w 1553021"/>
                    <a:gd name="connsiteY251" fmla="*/ 587803 h 1257510"/>
                    <a:gd name="connsiteX252" fmla="*/ 32664 w 1553021"/>
                    <a:gd name="connsiteY252" fmla="*/ 580020 h 1257510"/>
                    <a:gd name="connsiteX253" fmla="*/ 32689 w 1553021"/>
                    <a:gd name="connsiteY253" fmla="*/ 578635 h 1257510"/>
                    <a:gd name="connsiteX254" fmla="*/ 32324 w 1553021"/>
                    <a:gd name="connsiteY254" fmla="*/ 577409 h 1257510"/>
                    <a:gd name="connsiteX255" fmla="*/ 30855 w 1553021"/>
                    <a:gd name="connsiteY255" fmla="*/ 574628 h 1257510"/>
                    <a:gd name="connsiteX256" fmla="*/ 30624 w 1553021"/>
                    <a:gd name="connsiteY256" fmla="*/ 573778 h 1257510"/>
                    <a:gd name="connsiteX257" fmla="*/ 26374 w 1553021"/>
                    <a:gd name="connsiteY257" fmla="*/ 573851 h 1257510"/>
                    <a:gd name="connsiteX258" fmla="*/ 24772 w 1553021"/>
                    <a:gd name="connsiteY258" fmla="*/ 569176 h 1257510"/>
                    <a:gd name="connsiteX259" fmla="*/ 25282 w 1553021"/>
                    <a:gd name="connsiteY259" fmla="*/ 566626 h 1257510"/>
                    <a:gd name="connsiteX260" fmla="*/ 25901 w 1553021"/>
                    <a:gd name="connsiteY260" fmla="*/ 565169 h 1257510"/>
                    <a:gd name="connsiteX261" fmla="*/ 24055 w 1553021"/>
                    <a:gd name="connsiteY261" fmla="*/ 566893 h 1257510"/>
                    <a:gd name="connsiteX262" fmla="*/ 23157 w 1553021"/>
                    <a:gd name="connsiteY262" fmla="*/ 548594 h 1257510"/>
                    <a:gd name="connsiteX263" fmla="*/ 23873 w 1553021"/>
                    <a:gd name="connsiteY263" fmla="*/ 540859 h 1257510"/>
                    <a:gd name="connsiteX264" fmla="*/ 26884 w 1553021"/>
                    <a:gd name="connsiteY264" fmla="*/ 536099 h 1257510"/>
                    <a:gd name="connsiteX265" fmla="*/ 27929 w 1553021"/>
                    <a:gd name="connsiteY265" fmla="*/ 535989 h 1257510"/>
                    <a:gd name="connsiteX266" fmla="*/ 26957 w 1553021"/>
                    <a:gd name="connsiteY266" fmla="*/ 535078 h 1257510"/>
                    <a:gd name="connsiteX267" fmla="*/ 21979 w 1553021"/>
                    <a:gd name="connsiteY267" fmla="*/ 527720 h 1257510"/>
                    <a:gd name="connsiteX268" fmla="*/ 21007 w 1553021"/>
                    <a:gd name="connsiteY268" fmla="*/ 525486 h 1257510"/>
                    <a:gd name="connsiteX269" fmla="*/ 18664 w 1553021"/>
                    <a:gd name="connsiteY269" fmla="*/ 514181 h 1257510"/>
                    <a:gd name="connsiteX270" fmla="*/ 18336 w 1553021"/>
                    <a:gd name="connsiteY270" fmla="*/ 508255 h 1257510"/>
                    <a:gd name="connsiteX271" fmla="*/ 20570 w 1553021"/>
                    <a:gd name="connsiteY271" fmla="*/ 504126 h 1257510"/>
                    <a:gd name="connsiteX272" fmla="*/ 21602 w 1553021"/>
                    <a:gd name="connsiteY272" fmla="*/ 503483 h 1257510"/>
                    <a:gd name="connsiteX273" fmla="*/ 19149 w 1553021"/>
                    <a:gd name="connsiteY273" fmla="*/ 502341 h 1257510"/>
                    <a:gd name="connsiteX274" fmla="*/ 14013 w 1553021"/>
                    <a:gd name="connsiteY274" fmla="*/ 497108 h 1257510"/>
                    <a:gd name="connsiteX275" fmla="*/ 11487 w 1553021"/>
                    <a:gd name="connsiteY275" fmla="*/ 485438 h 1257510"/>
                    <a:gd name="connsiteX276" fmla="*/ 12884 w 1553021"/>
                    <a:gd name="connsiteY276" fmla="*/ 481662 h 1257510"/>
                    <a:gd name="connsiteX277" fmla="*/ 11427 w 1553021"/>
                    <a:gd name="connsiteY277" fmla="*/ 474048 h 1257510"/>
                    <a:gd name="connsiteX278" fmla="*/ 6727 w 1553021"/>
                    <a:gd name="connsiteY278" fmla="*/ 458165 h 1257510"/>
                    <a:gd name="connsiteX279" fmla="*/ 5877 w 1553021"/>
                    <a:gd name="connsiteY279" fmla="*/ 458359 h 1257510"/>
                    <a:gd name="connsiteX280" fmla="*/ 5282 w 1553021"/>
                    <a:gd name="connsiteY280" fmla="*/ 453284 h 1257510"/>
                    <a:gd name="connsiteX281" fmla="*/ 4954 w 1553021"/>
                    <a:gd name="connsiteY281" fmla="*/ 452155 h 1257510"/>
                    <a:gd name="connsiteX282" fmla="*/ 5173 w 1553021"/>
                    <a:gd name="connsiteY282" fmla="*/ 452288 h 1257510"/>
                    <a:gd name="connsiteX283" fmla="*/ 5088 w 1553021"/>
                    <a:gd name="connsiteY283" fmla="*/ 451584 h 1257510"/>
                    <a:gd name="connsiteX284" fmla="*/ 5744 w 1553021"/>
                    <a:gd name="connsiteY284" fmla="*/ 444796 h 1257510"/>
                    <a:gd name="connsiteX285" fmla="*/ 4869 w 1553021"/>
                    <a:gd name="connsiteY285" fmla="*/ 443193 h 1257510"/>
                    <a:gd name="connsiteX286" fmla="*/ 340 w 1553021"/>
                    <a:gd name="connsiteY286" fmla="*/ 437195 h 1257510"/>
                    <a:gd name="connsiteX287" fmla="*/ 0 w 1553021"/>
                    <a:gd name="connsiteY287" fmla="*/ 433309 h 1257510"/>
                    <a:gd name="connsiteX288" fmla="*/ 2501 w 1553021"/>
                    <a:gd name="connsiteY288" fmla="*/ 429605 h 1257510"/>
                    <a:gd name="connsiteX289" fmla="*/ 3011 w 1553021"/>
                    <a:gd name="connsiteY289" fmla="*/ 427444 h 1257510"/>
                    <a:gd name="connsiteX290" fmla="*/ 3291 w 1553021"/>
                    <a:gd name="connsiteY290" fmla="*/ 421324 h 1257510"/>
                    <a:gd name="connsiteX291" fmla="*/ 2635 w 1553021"/>
                    <a:gd name="connsiteY291" fmla="*/ 417013 h 1257510"/>
                    <a:gd name="connsiteX292" fmla="*/ 3121 w 1553021"/>
                    <a:gd name="connsiteY292" fmla="*/ 413795 h 1257510"/>
                    <a:gd name="connsiteX293" fmla="*/ 3436 w 1553021"/>
                    <a:gd name="connsiteY293" fmla="*/ 412229 h 1257510"/>
                    <a:gd name="connsiteX294" fmla="*/ 7031 w 1553021"/>
                    <a:gd name="connsiteY294" fmla="*/ 410723 h 1257510"/>
                    <a:gd name="connsiteX295" fmla="*/ 7735 w 1553021"/>
                    <a:gd name="connsiteY295" fmla="*/ 409946 h 1257510"/>
                    <a:gd name="connsiteX296" fmla="*/ 9046 w 1553021"/>
                    <a:gd name="connsiteY296" fmla="*/ 407651 h 1257510"/>
                    <a:gd name="connsiteX297" fmla="*/ 10504 w 1553021"/>
                    <a:gd name="connsiteY297" fmla="*/ 404421 h 1257510"/>
                    <a:gd name="connsiteX298" fmla="*/ 11135 w 1553021"/>
                    <a:gd name="connsiteY298" fmla="*/ 401956 h 1257510"/>
                    <a:gd name="connsiteX299" fmla="*/ 11026 w 1553021"/>
                    <a:gd name="connsiteY299" fmla="*/ 391367 h 1257510"/>
                    <a:gd name="connsiteX300" fmla="*/ 11548 w 1553021"/>
                    <a:gd name="connsiteY300" fmla="*/ 388987 h 1257510"/>
                    <a:gd name="connsiteX301" fmla="*/ 14122 w 1553021"/>
                    <a:gd name="connsiteY301" fmla="*/ 388040 h 1257510"/>
                    <a:gd name="connsiteX302" fmla="*/ 18251 w 1553021"/>
                    <a:gd name="connsiteY302" fmla="*/ 387469 h 1257510"/>
                    <a:gd name="connsiteX303" fmla="*/ 20777 w 1553021"/>
                    <a:gd name="connsiteY303" fmla="*/ 385793 h 1257510"/>
                    <a:gd name="connsiteX304" fmla="*/ 21578 w 1553021"/>
                    <a:gd name="connsiteY304" fmla="*/ 385040 h 1257510"/>
                    <a:gd name="connsiteX305" fmla="*/ 24577 w 1553021"/>
                    <a:gd name="connsiteY305" fmla="*/ 383013 h 1257510"/>
                    <a:gd name="connsiteX306" fmla="*/ 26156 w 1553021"/>
                    <a:gd name="connsiteY306" fmla="*/ 382539 h 1257510"/>
                    <a:gd name="connsiteX307" fmla="*/ 26836 w 1553021"/>
                    <a:gd name="connsiteY307" fmla="*/ 382502 h 1257510"/>
                    <a:gd name="connsiteX308" fmla="*/ 29264 w 1553021"/>
                    <a:gd name="connsiteY308" fmla="*/ 382575 h 1257510"/>
                    <a:gd name="connsiteX309" fmla="*/ 32409 w 1553021"/>
                    <a:gd name="connsiteY309" fmla="*/ 383851 h 1257510"/>
                    <a:gd name="connsiteX310" fmla="*/ 34195 w 1553021"/>
                    <a:gd name="connsiteY310" fmla="*/ 382721 h 1257510"/>
                    <a:gd name="connsiteX311" fmla="*/ 36247 w 1553021"/>
                    <a:gd name="connsiteY311" fmla="*/ 382005 h 1257510"/>
                    <a:gd name="connsiteX312" fmla="*/ 42197 w 1553021"/>
                    <a:gd name="connsiteY312" fmla="*/ 382345 h 1257510"/>
                    <a:gd name="connsiteX313" fmla="*/ 44990 w 1553021"/>
                    <a:gd name="connsiteY313" fmla="*/ 382308 h 1257510"/>
                    <a:gd name="connsiteX314" fmla="*/ 49009 w 1553021"/>
                    <a:gd name="connsiteY314" fmla="*/ 381349 h 1257510"/>
                    <a:gd name="connsiteX315" fmla="*/ 55517 w 1553021"/>
                    <a:gd name="connsiteY315" fmla="*/ 378544 h 1257510"/>
                    <a:gd name="connsiteX316" fmla="*/ 54898 w 1553021"/>
                    <a:gd name="connsiteY316" fmla="*/ 370809 h 1257510"/>
                    <a:gd name="connsiteX317" fmla="*/ 54619 w 1553021"/>
                    <a:gd name="connsiteY317" fmla="*/ 370093 h 1257510"/>
                    <a:gd name="connsiteX318" fmla="*/ 54085 w 1553021"/>
                    <a:gd name="connsiteY318" fmla="*/ 369145 h 1257510"/>
                    <a:gd name="connsiteX319" fmla="*/ 53380 w 1553021"/>
                    <a:gd name="connsiteY319" fmla="*/ 368429 h 1257510"/>
                    <a:gd name="connsiteX320" fmla="*/ 52239 w 1553021"/>
                    <a:gd name="connsiteY320" fmla="*/ 367567 h 1257510"/>
                    <a:gd name="connsiteX321" fmla="*/ 49203 w 1553021"/>
                    <a:gd name="connsiteY321" fmla="*/ 365830 h 1257510"/>
                    <a:gd name="connsiteX322" fmla="*/ 47612 w 1553021"/>
                    <a:gd name="connsiteY322" fmla="*/ 364580 h 1257510"/>
                    <a:gd name="connsiteX323" fmla="*/ 46192 w 1553021"/>
                    <a:gd name="connsiteY323" fmla="*/ 362928 h 1257510"/>
                    <a:gd name="connsiteX324" fmla="*/ 45038 w 1553021"/>
                    <a:gd name="connsiteY324" fmla="*/ 360852 h 1257510"/>
                    <a:gd name="connsiteX325" fmla="*/ 44868 w 1553021"/>
                    <a:gd name="connsiteY325" fmla="*/ 359164 h 1257510"/>
                    <a:gd name="connsiteX326" fmla="*/ 45245 w 1553021"/>
                    <a:gd name="connsiteY326" fmla="*/ 356492 h 1257510"/>
                    <a:gd name="connsiteX327" fmla="*/ 46082 w 1553021"/>
                    <a:gd name="connsiteY327" fmla="*/ 354671 h 1257510"/>
                    <a:gd name="connsiteX328" fmla="*/ 47491 w 1553021"/>
                    <a:gd name="connsiteY328" fmla="*/ 352886 h 1257510"/>
                    <a:gd name="connsiteX329" fmla="*/ 50284 w 1553021"/>
                    <a:gd name="connsiteY329" fmla="*/ 351939 h 1257510"/>
                    <a:gd name="connsiteX330" fmla="*/ 52433 w 1553021"/>
                    <a:gd name="connsiteY330" fmla="*/ 352145 h 1257510"/>
                    <a:gd name="connsiteX331" fmla="*/ 55930 w 1553021"/>
                    <a:gd name="connsiteY331" fmla="*/ 352910 h 1257510"/>
                    <a:gd name="connsiteX332" fmla="*/ 56355 w 1553021"/>
                    <a:gd name="connsiteY332" fmla="*/ 352959 h 1257510"/>
                    <a:gd name="connsiteX333" fmla="*/ 58408 w 1553021"/>
                    <a:gd name="connsiteY333" fmla="*/ 348065 h 1257510"/>
                    <a:gd name="connsiteX334" fmla="*/ 59828 w 1553021"/>
                    <a:gd name="connsiteY334" fmla="*/ 345673 h 1257510"/>
                    <a:gd name="connsiteX335" fmla="*/ 61079 w 1553021"/>
                    <a:gd name="connsiteY335" fmla="*/ 344835 h 1257510"/>
                    <a:gd name="connsiteX336" fmla="*/ 62767 w 1553021"/>
                    <a:gd name="connsiteY336" fmla="*/ 344216 h 1257510"/>
                    <a:gd name="connsiteX337" fmla="*/ 63410 w 1553021"/>
                    <a:gd name="connsiteY337" fmla="*/ 344191 h 1257510"/>
                    <a:gd name="connsiteX338" fmla="*/ 65171 w 1553021"/>
                    <a:gd name="connsiteY338" fmla="*/ 344362 h 1257510"/>
                    <a:gd name="connsiteX339" fmla="*/ 67248 w 1553021"/>
                    <a:gd name="connsiteY339" fmla="*/ 345163 h 1257510"/>
                    <a:gd name="connsiteX340" fmla="*/ 68000 w 1553021"/>
                    <a:gd name="connsiteY340" fmla="*/ 345272 h 1257510"/>
                    <a:gd name="connsiteX341" fmla="*/ 70781 w 1553021"/>
                    <a:gd name="connsiteY341" fmla="*/ 343402 h 1257510"/>
                    <a:gd name="connsiteX342" fmla="*/ 76306 w 1553021"/>
                    <a:gd name="connsiteY342" fmla="*/ 338642 h 1257510"/>
                    <a:gd name="connsiteX343" fmla="*/ 78043 w 1553021"/>
                    <a:gd name="connsiteY343" fmla="*/ 337513 h 1257510"/>
                    <a:gd name="connsiteX344" fmla="*/ 81066 w 1553021"/>
                    <a:gd name="connsiteY344" fmla="*/ 336384 h 1257510"/>
                    <a:gd name="connsiteX345" fmla="*/ 83106 w 1553021"/>
                    <a:gd name="connsiteY345" fmla="*/ 337003 h 1257510"/>
                    <a:gd name="connsiteX346" fmla="*/ 84855 w 1553021"/>
                    <a:gd name="connsiteY346" fmla="*/ 338314 h 1257510"/>
                    <a:gd name="connsiteX347" fmla="*/ 86348 w 1553021"/>
                    <a:gd name="connsiteY347" fmla="*/ 340707 h 1257510"/>
                    <a:gd name="connsiteX348" fmla="*/ 85875 w 1553021"/>
                    <a:gd name="connsiteY348" fmla="*/ 344641 h 1257510"/>
                    <a:gd name="connsiteX349" fmla="*/ 85389 w 1553021"/>
                    <a:gd name="connsiteY349" fmla="*/ 346462 h 1257510"/>
                    <a:gd name="connsiteX350" fmla="*/ 85644 w 1553021"/>
                    <a:gd name="connsiteY350" fmla="*/ 346681 h 1257510"/>
                    <a:gd name="connsiteX351" fmla="*/ 86336 w 1553021"/>
                    <a:gd name="connsiteY351" fmla="*/ 346790 h 1257510"/>
                    <a:gd name="connsiteX352" fmla="*/ 87356 w 1553021"/>
                    <a:gd name="connsiteY352" fmla="*/ 346669 h 1257510"/>
                    <a:gd name="connsiteX353" fmla="*/ 88765 w 1553021"/>
                    <a:gd name="connsiteY353" fmla="*/ 346377 h 1257510"/>
                    <a:gd name="connsiteX354" fmla="*/ 91849 w 1553021"/>
                    <a:gd name="connsiteY354" fmla="*/ 346377 h 1257510"/>
                    <a:gd name="connsiteX355" fmla="*/ 93464 w 1553021"/>
                    <a:gd name="connsiteY355" fmla="*/ 347543 h 1257510"/>
                    <a:gd name="connsiteX356" fmla="*/ 94569 w 1553021"/>
                    <a:gd name="connsiteY356" fmla="*/ 349134 h 1257510"/>
                    <a:gd name="connsiteX357" fmla="*/ 95091 w 1553021"/>
                    <a:gd name="connsiteY357" fmla="*/ 350943 h 1257510"/>
                    <a:gd name="connsiteX358" fmla="*/ 94654 w 1553021"/>
                    <a:gd name="connsiteY358" fmla="*/ 353784 h 1257510"/>
                    <a:gd name="connsiteX359" fmla="*/ 93646 w 1553021"/>
                    <a:gd name="connsiteY359" fmla="*/ 356055 h 1257510"/>
                    <a:gd name="connsiteX360" fmla="*/ 92068 w 1553021"/>
                    <a:gd name="connsiteY360" fmla="*/ 357828 h 1257510"/>
                    <a:gd name="connsiteX361" fmla="*/ 79136 w 1553021"/>
                    <a:gd name="connsiteY361" fmla="*/ 364919 h 1257510"/>
                    <a:gd name="connsiteX362" fmla="*/ 78601 w 1553021"/>
                    <a:gd name="connsiteY362" fmla="*/ 365490 h 1257510"/>
                    <a:gd name="connsiteX363" fmla="*/ 75238 w 1553021"/>
                    <a:gd name="connsiteY363" fmla="*/ 366777 h 1257510"/>
                    <a:gd name="connsiteX364" fmla="*/ 78322 w 1553021"/>
                    <a:gd name="connsiteY364" fmla="*/ 367700 h 1257510"/>
                    <a:gd name="connsiteX365" fmla="*/ 79694 w 1553021"/>
                    <a:gd name="connsiteY365" fmla="*/ 374027 h 1257510"/>
                    <a:gd name="connsiteX366" fmla="*/ 79925 w 1553021"/>
                    <a:gd name="connsiteY366" fmla="*/ 374464 h 1257510"/>
                    <a:gd name="connsiteX367" fmla="*/ 80993 w 1553021"/>
                    <a:gd name="connsiteY367" fmla="*/ 375423 h 1257510"/>
                    <a:gd name="connsiteX368" fmla="*/ 82232 w 1553021"/>
                    <a:gd name="connsiteY368" fmla="*/ 375581 h 1257510"/>
                    <a:gd name="connsiteX369" fmla="*/ 84903 w 1553021"/>
                    <a:gd name="connsiteY369" fmla="*/ 375229 h 1257510"/>
                    <a:gd name="connsiteX370" fmla="*/ 85304 w 1553021"/>
                    <a:gd name="connsiteY370" fmla="*/ 375035 h 1257510"/>
                    <a:gd name="connsiteX371" fmla="*/ 85851 w 1553021"/>
                    <a:gd name="connsiteY371" fmla="*/ 371380 h 1257510"/>
                    <a:gd name="connsiteX372" fmla="*/ 87065 w 1553021"/>
                    <a:gd name="connsiteY372" fmla="*/ 368587 h 1257510"/>
                    <a:gd name="connsiteX373" fmla="*/ 88279 w 1553021"/>
                    <a:gd name="connsiteY373" fmla="*/ 367676 h 1257510"/>
                    <a:gd name="connsiteX374" fmla="*/ 89846 w 1553021"/>
                    <a:gd name="connsiteY374" fmla="*/ 366959 h 1257510"/>
                    <a:gd name="connsiteX375" fmla="*/ 91655 w 1553021"/>
                    <a:gd name="connsiteY375" fmla="*/ 366802 h 1257510"/>
                    <a:gd name="connsiteX376" fmla="*/ 99098 w 1553021"/>
                    <a:gd name="connsiteY376" fmla="*/ 367797 h 1257510"/>
                    <a:gd name="connsiteX377" fmla="*/ 101576 w 1553021"/>
                    <a:gd name="connsiteY377" fmla="*/ 369643 h 1257510"/>
                    <a:gd name="connsiteX378" fmla="*/ 103919 w 1553021"/>
                    <a:gd name="connsiteY378" fmla="*/ 372315 h 1257510"/>
                    <a:gd name="connsiteX379" fmla="*/ 103324 w 1553021"/>
                    <a:gd name="connsiteY379" fmla="*/ 380426 h 1257510"/>
                    <a:gd name="connsiteX380" fmla="*/ 105571 w 1553021"/>
                    <a:gd name="connsiteY380" fmla="*/ 380766 h 1257510"/>
                    <a:gd name="connsiteX381" fmla="*/ 106178 w 1553021"/>
                    <a:gd name="connsiteY381" fmla="*/ 380390 h 1257510"/>
                    <a:gd name="connsiteX382" fmla="*/ 108570 w 1553021"/>
                    <a:gd name="connsiteY382" fmla="*/ 379527 h 1257510"/>
                    <a:gd name="connsiteX383" fmla="*/ 110707 w 1553021"/>
                    <a:gd name="connsiteY383" fmla="*/ 378264 h 1257510"/>
                    <a:gd name="connsiteX384" fmla="*/ 111472 w 1553021"/>
                    <a:gd name="connsiteY384" fmla="*/ 377512 h 1257510"/>
                    <a:gd name="connsiteX385" fmla="*/ 111727 w 1553021"/>
                    <a:gd name="connsiteY385" fmla="*/ 377172 h 1257510"/>
                    <a:gd name="connsiteX386" fmla="*/ 111897 w 1553021"/>
                    <a:gd name="connsiteY386" fmla="*/ 376370 h 1257510"/>
                    <a:gd name="connsiteX387" fmla="*/ 111958 w 1553021"/>
                    <a:gd name="connsiteY387" fmla="*/ 375375 h 1257510"/>
                    <a:gd name="connsiteX388" fmla="*/ 111788 w 1553021"/>
                    <a:gd name="connsiteY388" fmla="*/ 374549 h 1257510"/>
                    <a:gd name="connsiteX389" fmla="*/ 111824 w 1553021"/>
                    <a:gd name="connsiteY389" fmla="*/ 372776 h 1257510"/>
                    <a:gd name="connsiteX390" fmla="*/ 112371 w 1553021"/>
                    <a:gd name="connsiteY390" fmla="*/ 370445 h 1257510"/>
                    <a:gd name="connsiteX391" fmla="*/ 114302 w 1553021"/>
                    <a:gd name="connsiteY391" fmla="*/ 367348 h 1257510"/>
                    <a:gd name="connsiteX392" fmla="*/ 116439 w 1553021"/>
                    <a:gd name="connsiteY392" fmla="*/ 365660 h 1257510"/>
                    <a:gd name="connsiteX393" fmla="*/ 119729 w 1553021"/>
                    <a:gd name="connsiteY393" fmla="*/ 364604 h 1257510"/>
                    <a:gd name="connsiteX394" fmla="*/ 132698 w 1553021"/>
                    <a:gd name="connsiteY394" fmla="*/ 366583 h 1257510"/>
                    <a:gd name="connsiteX395" fmla="*/ 136292 w 1553021"/>
                    <a:gd name="connsiteY395" fmla="*/ 367506 h 1257510"/>
                    <a:gd name="connsiteX396" fmla="*/ 137507 w 1553021"/>
                    <a:gd name="connsiteY396" fmla="*/ 367639 h 1257510"/>
                    <a:gd name="connsiteX397" fmla="*/ 137725 w 1553021"/>
                    <a:gd name="connsiteY397" fmla="*/ 367591 h 1257510"/>
                    <a:gd name="connsiteX398" fmla="*/ 136997 w 1553021"/>
                    <a:gd name="connsiteY398" fmla="*/ 365442 h 1257510"/>
                    <a:gd name="connsiteX399" fmla="*/ 136742 w 1553021"/>
                    <a:gd name="connsiteY399" fmla="*/ 362965 h 1257510"/>
                    <a:gd name="connsiteX400" fmla="*/ 137191 w 1553021"/>
                    <a:gd name="connsiteY400" fmla="*/ 360269 h 1257510"/>
                    <a:gd name="connsiteX401" fmla="*/ 139231 w 1553021"/>
                    <a:gd name="connsiteY401" fmla="*/ 356286 h 1257510"/>
                    <a:gd name="connsiteX402" fmla="*/ 139583 w 1553021"/>
                    <a:gd name="connsiteY402" fmla="*/ 354671 h 1257510"/>
                    <a:gd name="connsiteX403" fmla="*/ 139790 w 1553021"/>
                    <a:gd name="connsiteY403" fmla="*/ 352364 h 1257510"/>
                    <a:gd name="connsiteX404" fmla="*/ 138539 w 1553021"/>
                    <a:gd name="connsiteY404" fmla="*/ 343694 h 1257510"/>
                    <a:gd name="connsiteX405" fmla="*/ 138393 w 1553021"/>
                    <a:gd name="connsiteY405" fmla="*/ 340634 h 1257510"/>
                    <a:gd name="connsiteX406" fmla="*/ 138199 w 1553021"/>
                    <a:gd name="connsiteY406" fmla="*/ 339262 h 1257510"/>
                    <a:gd name="connsiteX407" fmla="*/ 137871 w 1553021"/>
                    <a:gd name="connsiteY407" fmla="*/ 338193 h 1257510"/>
                    <a:gd name="connsiteX408" fmla="*/ 136839 w 1553021"/>
                    <a:gd name="connsiteY408" fmla="*/ 338254 h 1257510"/>
                    <a:gd name="connsiteX409" fmla="*/ 136049 w 1553021"/>
                    <a:gd name="connsiteY409" fmla="*/ 337999 h 1257510"/>
                    <a:gd name="connsiteX410" fmla="*/ 135151 w 1553021"/>
                    <a:gd name="connsiteY410" fmla="*/ 336991 h 1257510"/>
                    <a:gd name="connsiteX411" fmla="*/ 134264 w 1553021"/>
                    <a:gd name="connsiteY411" fmla="*/ 335728 h 1257510"/>
                    <a:gd name="connsiteX412" fmla="*/ 133342 w 1553021"/>
                    <a:gd name="connsiteY412" fmla="*/ 333469 h 1257510"/>
                    <a:gd name="connsiteX413" fmla="*/ 134374 w 1553021"/>
                    <a:gd name="connsiteY413" fmla="*/ 329924 h 1257510"/>
                    <a:gd name="connsiteX414" fmla="*/ 140154 w 1553021"/>
                    <a:gd name="connsiteY414" fmla="*/ 321897 h 1257510"/>
                    <a:gd name="connsiteX415" fmla="*/ 149249 w 1553021"/>
                    <a:gd name="connsiteY415" fmla="*/ 307059 h 1257510"/>
                    <a:gd name="connsiteX416" fmla="*/ 151240 w 1553021"/>
                    <a:gd name="connsiteY416" fmla="*/ 302578 h 1257510"/>
                    <a:gd name="connsiteX417" fmla="*/ 151823 w 1553021"/>
                    <a:gd name="connsiteY417" fmla="*/ 300295 h 1257510"/>
                    <a:gd name="connsiteX418" fmla="*/ 150475 w 1553021"/>
                    <a:gd name="connsiteY418" fmla="*/ 293968 h 1257510"/>
                    <a:gd name="connsiteX419" fmla="*/ 150342 w 1553021"/>
                    <a:gd name="connsiteY419" fmla="*/ 293628 h 1257510"/>
                    <a:gd name="connsiteX420" fmla="*/ 148605 w 1553021"/>
                    <a:gd name="connsiteY420" fmla="*/ 293385 h 1257510"/>
                    <a:gd name="connsiteX421" fmla="*/ 147342 w 1553021"/>
                    <a:gd name="connsiteY421" fmla="*/ 293082 h 1257510"/>
                    <a:gd name="connsiteX422" fmla="*/ 144865 w 1553021"/>
                    <a:gd name="connsiteY422" fmla="*/ 291686 h 1257510"/>
                    <a:gd name="connsiteX423" fmla="*/ 144404 w 1553021"/>
                    <a:gd name="connsiteY423" fmla="*/ 291175 h 1257510"/>
                    <a:gd name="connsiteX424" fmla="*/ 143627 w 1553021"/>
                    <a:gd name="connsiteY424" fmla="*/ 289864 h 1257510"/>
                    <a:gd name="connsiteX425" fmla="*/ 143202 w 1553021"/>
                    <a:gd name="connsiteY425" fmla="*/ 288286 h 1257510"/>
                    <a:gd name="connsiteX426" fmla="*/ 142631 w 1553021"/>
                    <a:gd name="connsiteY426" fmla="*/ 284230 h 1257510"/>
                    <a:gd name="connsiteX427" fmla="*/ 142412 w 1553021"/>
                    <a:gd name="connsiteY427" fmla="*/ 284157 h 1257510"/>
                    <a:gd name="connsiteX428" fmla="*/ 140044 w 1553021"/>
                    <a:gd name="connsiteY428" fmla="*/ 284036 h 1257510"/>
                    <a:gd name="connsiteX429" fmla="*/ 138102 w 1553021"/>
                    <a:gd name="connsiteY429" fmla="*/ 283659 h 1257510"/>
                    <a:gd name="connsiteX430" fmla="*/ 136049 w 1553021"/>
                    <a:gd name="connsiteY430" fmla="*/ 282603 h 1257510"/>
                    <a:gd name="connsiteX431" fmla="*/ 135163 w 1553021"/>
                    <a:gd name="connsiteY431" fmla="*/ 282044 h 1257510"/>
                    <a:gd name="connsiteX432" fmla="*/ 134082 w 1553021"/>
                    <a:gd name="connsiteY432" fmla="*/ 279118 h 1257510"/>
                    <a:gd name="connsiteX433" fmla="*/ 134313 w 1553021"/>
                    <a:gd name="connsiteY433" fmla="*/ 277345 h 1257510"/>
                    <a:gd name="connsiteX434" fmla="*/ 135163 w 1553021"/>
                    <a:gd name="connsiteY434" fmla="*/ 275778 h 1257510"/>
                    <a:gd name="connsiteX435" fmla="*/ 137009 w 1553021"/>
                    <a:gd name="connsiteY435" fmla="*/ 273957 h 1257510"/>
                    <a:gd name="connsiteX436" fmla="*/ 143056 w 1553021"/>
                    <a:gd name="connsiteY436" fmla="*/ 271941 h 1257510"/>
                    <a:gd name="connsiteX437" fmla="*/ 145181 w 1553021"/>
                    <a:gd name="connsiteY437" fmla="*/ 269743 h 1257510"/>
                    <a:gd name="connsiteX438" fmla="*/ 146529 w 1553021"/>
                    <a:gd name="connsiteY438" fmla="*/ 265554 h 1257510"/>
                    <a:gd name="connsiteX439" fmla="*/ 148277 w 1553021"/>
                    <a:gd name="connsiteY439" fmla="*/ 263125 h 1257510"/>
                    <a:gd name="connsiteX440" fmla="*/ 150317 w 1553021"/>
                    <a:gd name="connsiteY440" fmla="*/ 261972 h 1257510"/>
                    <a:gd name="connsiteX441" fmla="*/ 153329 w 1553021"/>
                    <a:gd name="connsiteY441" fmla="*/ 261656 h 1257510"/>
                    <a:gd name="connsiteX442" fmla="*/ 155260 w 1553021"/>
                    <a:gd name="connsiteY442" fmla="*/ 262555 h 1257510"/>
                    <a:gd name="connsiteX443" fmla="*/ 157385 w 1553021"/>
                    <a:gd name="connsiteY443" fmla="*/ 264461 h 1257510"/>
                    <a:gd name="connsiteX444" fmla="*/ 158708 w 1553021"/>
                    <a:gd name="connsiteY444" fmla="*/ 266562 h 1257510"/>
                    <a:gd name="connsiteX445" fmla="*/ 160930 w 1553021"/>
                    <a:gd name="connsiteY445" fmla="*/ 271613 h 1257510"/>
                    <a:gd name="connsiteX446" fmla="*/ 161258 w 1553021"/>
                    <a:gd name="connsiteY446" fmla="*/ 271638 h 1257510"/>
                    <a:gd name="connsiteX447" fmla="*/ 163201 w 1553021"/>
                    <a:gd name="connsiteY447" fmla="*/ 272293 h 1257510"/>
                    <a:gd name="connsiteX448" fmla="*/ 164391 w 1553021"/>
                    <a:gd name="connsiteY448" fmla="*/ 272937 h 1257510"/>
                    <a:gd name="connsiteX449" fmla="*/ 171750 w 1553021"/>
                    <a:gd name="connsiteY449" fmla="*/ 278207 h 1257510"/>
                    <a:gd name="connsiteX450" fmla="*/ 177020 w 1553021"/>
                    <a:gd name="connsiteY450" fmla="*/ 280623 h 1257510"/>
                    <a:gd name="connsiteX451" fmla="*/ 180383 w 1553021"/>
                    <a:gd name="connsiteY451" fmla="*/ 282639 h 1257510"/>
                    <a:gd name="connsiteX452" fmla="*/ 183298 w 1553021"/>
                    <a:gd name="connsiteY452" fmla="*/ 285031 h 1257510"/>
                    <a:gd name="connsiteX453" fmla="*/ 188288 w 1553021"/>
                    <a:gd name="connsiteY453" fmla="*/ 292171 h 1257510"/>
                    <a:gd name="connsiteX454" fmla="*/ 188859 w 1553021"/>
                    <a:gd name="connsiteY454" fmla="*/ 292778 h 1257510"/>
                    <a:gd name="connsiteX455" fmla="*/ 189794 w 1553021"/>
                    <a:gd name="connsiteY455" fmla="*/ 293179 h 1257510"/>
                    <a:gd name="connsiteX456" fmla="*/ 190814 w 1553021"/>
                    <a:gd name="connsiteY456" fmla="*/ 293240 h 1257510"/>
                    <a:gd name="connsiteX457" fmla="*/ 199982 w 1553021"/>
                    <a:gd name="connsiteY457" fmla="*/ 292572 h 1257510"/>
                    <a:gd name="connsiteX458" fmla="*/ 201621 w 1553021"/>
                    <a:gd name="connsiteY458" fmla="*/ 291904 h 1257510"/>
                    <a:gd name="connsiteX459" fmla="*/ 205519 w 1553021"/>
                    <a:gd name="connsiteY459" fmla="*/ 289378 h 1257510"/>
                    <a:gd name="connsiteX460" fmla="*/ 210838 w 1553021"/>
                    <a:gd name="connsiteY460" fmla="*/ 286743 h 1257510"/>
                    <a:gd name="connsiteX461" fmla="*/ 214250 w 1553021"/>
                    <a:gd name="connsiteY461" fmla="*/ 285493 h 1257510"/>
                    <a:gd name="connsiteX462" fmla="*/ 215986 w 1553021"/>
                    <a:gd name="connsiteY462" fmla="*/ 284412 h 1257510"/>
                    <a:gd name="connsiteX463" fmla="*/ 216679 w 1553021"/>
                    <a:gd name="connsiteY463" fmla="*/ 283283 h 1257510"/>
                    <a:gd name="connsiteX464" fmla="*/ 217407 w 1553021"/>
                    <a:gd name="connsiteY464" fmla="*/ 281692 h 1257510"/>
                    <a:gd name="connsiteX465" fmla="*/ 218002 w 1553021"/>
                    <a:gd name="connsiteY465" fmla="*/ 279640 h 1257510"/>
                    <a:gd name="connsiteX466" fmla="*/ 218196 w 1553021"/>
                    <a:gd name="connsiteY466" fmla="*/ 277770 h 1257510"/>
                    <a:gd name="connsiteX467" fmla="*/ 217771 w 1553021"/>
                    <a:gd name="connsiteY467" fmla="*/ 274916 h 1257510"/>
                    <a:gd name="connsiteX468" fmla="*/ 218184 w 1553021"/>
                    <a:gd name="connsiteY468" fmla="*/ 271747 h 1257510"/>
                    <a:gd name="connsiteX469" fmla="*/ 224256 w 1553021"/>
                    <a:gd name="connsiteY469" fmla="*/ 265505 h 1257510"/>
                    <a:gd name="connsiteX470" fmla="*/ 233849 w 1553021"/>
                    <a:gd name="connsiteY470" fmla="*/ 258256 h 1257510"/>
                    <a:gd name="connsiteX471" fmla="*/ 235269 w 1553021"/>
                    <a:gd name="connsiteY471" fmla="*/ 256629 h 1257510"/>
                    <a:gd name="connsiteX472" fmla="*/ 235937 w 1553021"/>
                    <a:gd name="connsiteY472" fmla="*/ 255026 h 1257510"/>
                    <a:gd name="connsiteX473" fmla="*/ 236496 w 1553021"/>
                    <a:gd name="connsiteY473" fmla="*/ 252962 h 1257510"/>
                    <a:gd name="connsiteX474" fmla="*/ 236799 w 1553021"/>
                    <a:gd name="connsiteY474" fmla="*/ 250557 h 1257510"/>
                    <a:gd name="connsiteX475" fmla="*/ 236824 w 1553021"/>
                    <a:gd name="connsiteY475" fmla="*/ 247789 h 1257510"/>
                    <a:gd name="connsiteX476" fmla="*/ 235233 w 1553021"/>
                    <a:gd name="connsiteY476" fmla="*/ 232974 h 1257510"/>
                    <a:gd name="connsiteX477" fmla="*/ 233812 w 1553021"/>
                    <a:gd name="connsiteY477" fmla="*/ 229016 h 1257510"/>
                    <a:gd name="connsiteX478" fmla="*/ 232100 w 1553021"/>
                    <a:gd name="connsiteY478" fmla="*/ 225677 h 1257510"/>
                    <a:gd name="connsiteX479" fmla="*/ 230072 w 1553021"/>
                    <a:gd name="connsiteY479" fmla="*/ 217966 h 1257510"/>
                    <a:gd name="connsiteX480" fmla="*/ 229077 w 1553021"/>
                    <a:gd name="connsiteY480" fmla="*/ 216278 h 1257510"/>
                    <a:gd name="connsiteX481" fmla="*/ 226089 w 1553021"/>
                    <a:gd name="connsiteY481" fmla="*/ 214274 h 1257510"/>
                    <a:gd name="connsiteX482" fmla="*/ 223005 w 1553021"/>
                    <a:gd name="connsiteY482" fmla="*/ 211397 h 1257510"/>
                    <a:gd name="connsiteX483" fmla="*/ 219289 w 1553021"/>
                    <a:gd name="connsiteY483" fmla="*/ 206903 h 1257510"/>
                    <a:gd name="connsiteX484" fmla="*/ 216108 w 1553021"/>
                    <a:gd name="connsiteY484" fmla="*/ 202046 h 1257510"/>
                    <a:gd name="connsiteX485" fmla="*/ 215367 w 1553021"/>
                    <a:gd name="connsiteY485" fmla="*/ 201160 h 1257510"/>
                    <a:gd name="connsiteX486" fmla="*/ 213461 w 1553021"/>
                    <a:gd name="connsiteY486" fmla="*/ 200711 h 1257510"/>
                    <a:gd name="connsiteX487" fmla="*/ 206224 w 1553021"/>
                    <a:gd name="connsiteY487" fmla="*/ 198173 h 1257510"/>
                    <a:gd name="connsiteX488" fmla="*/ 203491 w 1553021"/>
                    <a:gd name="connsiteY488" fmla="*/ 194566 h 1257510"/>
                    <a:gd name="connsiteX489" fmla="*/ 202289 w 1553021"/>
                    <a:gd name="connsiteY489" fmla="*/ 192150 h 1257510"/>
                    <a:gd name="connsiteX490" fmla="*/ 200431 w 1553021"/>
                    <a:gd name="connsiteY490" fmla="*/ 189794 h 1257510"/>
                    <a:gd name="connsiteX491" fmla="*/ 199290 w 1553021"/>
                    <a:gd name="connsiteY491" fmla="*/ 189065 h 1257510"/>
                    <a:gd name="connsiteX492" fmla="*/ 198088 w 1553021"/>
                    <a:gd name="connsiteY492" fmla="*/ 188689 h 1257510"/>
                    <a:gd name="connsiteX493" fmla="*/ 195696 w 1553021"/>
                    <a:gd name="connsiteY493" fmla="*/ 188798 h 1257510"/>
                    <a:gd name="connsiteX494" fmla="*/ 194591 w 1553021"/>
                    <a:gd name="connsiteY494" fmla="*/ 189393 h 1257510"/>
                    <a:gd name="connsiteX495" fmla="*/ 191203 w 1553021"/>
                    <a:gd name="connsiteY495" fmla="*/ 189709 h 1257510"/>
                    <a:gd name="connsiteX496" fmla="*/ 186916 w 1553021"/>
                    <a:gd name="connsiteY496" fmla="*/ 189527 h 1257510"/>
                    <a:gd name="connsiteX497" fmla="*/ 179375 w 1553021"/>
                    <a:gd name="connsiteY497" fmla="*/ 185131 h 1257510"/>
                    <a:gd name="connsiteX498" fmla="*/ 171798 w 1553021"/>
                    <a:gd name="connsiteY498" fmla="*/ 177955 h 1257510"/>
                    <a:gd name="connsiteX499" fmla="*/ 169588 w 1553021"/>
                    <a:gd name="connsiteY499" fmla="*/ 174749 h 1257510"/>
                    <a:gd name="connsiteX500" fmla="*/ 169443 w 1553021"/>
                    <a:gd name="connsiteY500" fmla="*/ 173413 h 1257510"/>
                    <a:gd name="connsiteX501" fmla="*/ 169491 w 1553021"/>
                    <a:gd name="connsiteY501" fmla="*/ 171665 h 1257510"/>
                    <a:gd name="connsiteX502" fmla="*/ 169843 w 1553021"/>
                    <a:gd name="connsiteY502" fmla="*/ 170487 h 1257510"/>
                    <a:gd name="connsiteX503" fmla="*/ 171215 w 1553021"/>
                    <a:gd name="connsiteY503" fmla="*/ 168933 h 1257510"/>
                    <a:gd name="connsiteX504" fmla="*/ 172005 w 1553021"/>
                    <a:gd name="connsiteY504" fmla="*/ 168495 h 1257510"/>
                    <a:gd name="connsiteX505" fmla="*/ 173826 w 1553021"/>
                    <a:gd name="connsiteY505" fmla="*/ 168058 h 1257510"/>
                    <a:gd name="connsiteX506" fmla="*/ 175380 w 1553021"/>
                    <a:gd name="connsiteY506" fmla="*/ 168180 h 1257510"/>
                    <a:gd name="connsiteX507" fmla="*/ 177918 w 1553021"/>
                    <a:gd name="connsiteY507" fmla="*/ 168872 h 1257510"/>
                    <a:gd name="connsiteX508" fmla="*/ 188531 w 1553021"/>
                    <a:gd name="connsiteY508" fmla="*/ 174579 h 1257510"/>
                    <a:gd name="connsiteX509" fmla="*/ 189357 w 1553021"/>
                    <a:gd name="connsiteY509" fmla="*/ 174360 h 1257510"/>
                    <a:gd name="connsiteX510" fmla="*/ 189940 w 1553021"/>
                    <a:gd name="connsiteY510" fmla="*/ 173911 h 1257510"/>
                    <a:gd name="connsiteX511" fmla="*/ 192368 w 1553021"/>
                    <a:gd name="connsiteY511" fmla="*/ 173170 h 1257510"/>
                    <a:gd name="connsiteX512" fmla="*/ 195137 w 1553021"/>
                    <a:gd name="connsiteY512" fmla="*/ 173255 h 1257510"/>
                    <a:gd name="connsiteX513" fmla="*/ 197335 w 1553021"/>
                    <a:gd name="connsiteY513" fmla="*/ 173863 h 1257510"/>
                    <a:gd name="connsiteX514" fmla="*/ 198634 w 1553021"/>
                    <a:gd name="connsiteY514" fmla="*/ 174360 h 1257510"/>
                    <a:gd name="connsiteX515" fmla="*/ 200808 w 1553021"/>
                    <a:gd name="connsiteY515" fmla="*/ 172320 h 1257510"/>
                    <a:gd name="connsiteX516" fmla="*/ 202836 w 1553021"/>
                    <a:gd name="connsiteY516" fmla="*/ 170900 h 1257510"/>
                    <a:gd name="connsiteX517" fmla="*/ 204973 w 1553021"/>
                    <a:gd name="connsiteY517" fmla="*/ 169746 h 1257510"/>
                    <a:gd name="connsiteX518" fmla="*/ 207511 w 1553021"/>
                    <a:gd name="connsiteY518" fmla="*/ 168823 h 1257510"/>
                    <a:gd name="connsiteX519" fmla="*/ 210000 w 1553021"/>
                    <a:gd name="connsiteY519" fmla="*/ 168313 h 1257510"/>
                    <a:gd name="connsiteX520" fmla="*/ 211093 w 1553021"/>
                    <a:gd name="connsiteY520" fmla="*/ 167402 h 1257510"/>
                    <a:gd name="connsiteX521" fmla="*/ 212246 w 1553021"/>
                    <a:gd name="connsiteY521" fmla="*/ 165617 h 1257510"/>
                    <a:gd name="connsiteX522" fmla="*/ 214614 w 1553021"/>
                    <a:gd name="connsiteY522" fmla="*/ 157129 h 1257510"/>
                    <a:gd name="connsiteX523" fmla="*/ 216484 w 1553021"/>
                    <a:gd name="connsiteY523" fmla="*/ 152758 h 1257510"/>
                    <a:gd name="connsiteX524" fmla="*/ 220006 w 1553021"/>
                    <a:gd name="connsiteY524" fmla="*/ 150597 h 1257510"/>
                    <a:gd name="connsiteX525" fmla="*/ 223612 w 1553021"/>
                    <a:gd name="connsiteY525" fmla="*/ 151665 h 1257510"/>
                    <a:gd name="connsiteX526" fmla="*/ 226490 w 1553021"/>
                    <a:gd name="connsiteY526" fmla="*/ 154604 h 1257510"/>
                    <a:gd name="connsiteX527" fmla="*/ 226830 w 1553021"/>
                    <a:gd name="connsiteY527" fmla="*/ 154713 h 1257510"/>
                    <a:gd name="connsiteX528" fmla="*/ 228397 w 1553021"/>
                    <a:gd name="connsiteY528" fmla="*/ 154446 h 1257510"/>
                    <a:gd name="connsiteX529" fmla="*/ 238402 w 1553021"/>
                    <a:gd name="connsiteY529" fmla="*/ 150815 h 1257510"/>
                    <a:gd name="connsiteX530" fmla="*/ 238937 w 1553021"/>
                    <a:gd name="connsiteY530" fmla="*/ 150524 h 1257510"/>
                    <a:gd name="connsiteX531" fmla="*/ 240588 w 1553021"/>
                    <a:gd name="connsiteY531" fmla="*/ 147853 h 1257510"/>
                    <a:gd name="connsiteX532" fmla="*/ 243381 w 1553021"/>
                    <a:gd name="connsiteY532" fmla="*/ 135965 h 1257510"/>
                    <a:gd name="connsiteX533" fmla="*/ 246356 w 1553021"/>
                    <a:gd name="connsiteY533" fmla="*/ 130974 h 1257510"/>
                    <a:gd name="connsiteX534" fmla="*/ 249574 w 1553021"/>
                    <a:gd name="connsiteY534" fmla="*/ 127914 h 1257510"/>
                    <a:gd name="connsiteX535" fmla="*/ 253411 w 1553021"/>
                    <a:gd name="connsiteY535" fmla="*/ 125667 h 1257510"/>
                    <a:gd name="connsiteX536" fmla="*/ 255840 w 1553021"/>
                    <a:gd name="connsiteY536" fmla="*/ 123749 h 1257510"/>
                    <a:gd name="connsiteX537" fmla="*/ 259871 w 1553021"/>
                    <a:gd name="connsiteY537" fmla="*/ 119207 h 1257510"/>
                    <a:gd name="connsiteX538" fmla="*/ 262312 w 1553021"/>
                    <a:gd name="connsiteY538" fmla="*/ 117070 h 1257510"/>
                    <a:gd name="connsiteX539" fmla="*/ 265372 w 1553021"/>
                    <a:gd name="connsiteY539" fmla="*/ 115734 h 1257510"/>
                    <a:gd name="connsiteX540" fmla="*/ 266367 w 1553021"/>
                    <a:gd name="connsiteY540" fmla="*/ 115370 h 1257510"/>
                    <a:gd name="connsiteX541" fmla="*/ 269209 w 1553021"/>
                    <a:gd name="connsiteY541" fmla="*/ 116305 h 1257510"/>
                    <a:gd name="connsiteX542" fmla="*/ 273981 w 1553021"/>
                    <a:gd name="connsiteY542" fmla="*/ 118321 h 1257510"/>
                    <a:gd name="connsiteX543" fmla="*/ 275390 w 1553021"/>
                    <a:gd name="connsiteY543" fmla="*/ 118539 h 1257510"/>
                    <a:gd name="connsiteX544" fmla="*/ 276543 w 1553021"/>
                    <a:gd name="connsiteY544" fmla="*/ 118345 h 1257510"/>
                    <a:gd name="connsiteX545" fmla="*/ 300708 w 1553021"/>
                    <a:gd name="connsiteY545" fmla="*/ 111679 h 1257510"/>
                    <a:gd name="connsiteX546" fmla="*/ 304873 w 1553021"/>
                    <a:gd name="connsiteY546" fmla="*/ 109821 h 1257510"/>
                    <a:gd name="connsiteX547" fmla="*/ 307435 w 1553021"/>
                    <a:gd name="connsiteY547" fmla="*/ 108218 h 1257510"/>
                    <a:gd name="connsiteX548" fmla="*/ 309111 w 1553021"/>
                    <a:gd name="connsiteY548" fmla="*/ 106797 h 1257510"/>
                    <a:gd name="connsiteX549" fmla="*/ 309742 w 1553021"/>
                    <a:gd name="connsiteY549" fmla="*/ 105971 h 1257510"/>
                    <a:gd name="connsiteX550" fmla="*/ 309815 w 1553021"/>
                    <a:gd name="connsiteY550" fmla="*/ 105304 h 1257510"/>
                    <a:gd name="connsiteX551" fmla="*/ 309791 w 1553021"/>
                    <a:gd name="connsiteY551" fmla="*/ 104332 h 1257510"/>
                    <a:gd name="connsiteX552" fmla="*/ 309584 w 1553021"/>
                    <a:gd name="connsiteY552" fmla="*/ 103361 h 1257510"/>
                    <a:gd name="connsiteX553" fmla="*/ 309232 w 1553021"/>
                    <a:gd name="connsiteY553" fmla="*/ 102341 h 1257510"/>
                    <a:gd name="connsiteX554" fmla="*/ 308467 w 1553021"/>
                    <a:gd name="connsiteY554" fmla="*/ 100556 h 1257510"/>
                    <a:gd name="connsiteX555" fmla="*/ 308127 w 1553021"/>
                    <a:gd name="connsiteY555" fmla="*/ 100568 h 1257510"/>
                    <a:gd name="connsiteX556" fmla="*/ 304678 w 1553021"/>
                    <a:gd name="connsiteY556" fmla="*/ 102742 h 1257510"/>
                    <a:gd name="connsiteX557" fmla="*/ 302651 w 1553021"/>
                    <a:gd name="connsiteY557" fmla="*/ 103737 h 1257510"/>
                    <a:gd name="connsiteX558" fmla="*/ 300319 w 1553021"/>
                    <a:gd name="connsiteY558" fmla="*/ 104490 h 1257510"/>
                    <a:gd name="connsiteX559" fmla="*/ 292268 w 1553021"/>
                    <a:gd name="connsiteY559" fmla="*/ 106081 h 1257510"/>
                    <a:gd name="connsiteX560" fmla="*/ 289221 w 1553021"/>
                    <a:gd name="connsiteY560" fmla="*/ 105376 h 1257510"/>
                    <a:gd name="connsiteX561" fmla="*/ 287326 w 1553021"/>
                    <a:gd name="connsiteY561" fmla="*/ 103701 h 1257510"/>
                    <a:gd name="connsiteX562" fmla="*/ 285881 w 1553021"/>
                    <a:gd name="connsiteY562" fmla="*/ 102122 h 1257510"/>
                    <a:gd name="connsiteX563" fmla="*/ 284740 w 1553021"/>
                    <a:gd name="connsiteY563" fmla="*/ 101199 h 1257510"/>
                    <a:gd name="connsiteX564" fmla="*/ 283210 w 1553021"/>
                    <a:gd name="connsiteY564" fmla="*/ 100944 h 1257510"/>
                    <a:gd name="connsiteX565" fmla="*/ 282445 w 1553021"/>
                    <a:gd name="connsiteY565" fmla="*/ 101199 h 1257510"/>
                    <a:gd name="connsiteX566" fmla="*/ 282433 w 1553021"/>
                    <a:gd name="connsiteY566" fmla="*/ 101855 h 1257510"/>
                    <a:gd name="connsiteX567" fmla="*/ 280720 w 1553021"/>
                    <a:gd name="connsiteY567" fmla="*/ 103470 h 1257510"/>
                    <a:gd name="connsiteX568" fmla="*/ 280150 w 1553021"/>
                    <a:gd name="connsiteY568" fmla="*/ 103931 h 1257510"/>
                    <a:gd name="connsiteX569" fmla="*/ 277478 w 1553021"/>
                    <a:gd name="connsiteY569" fmla="*/ 104514 h 1257510"/>
                    <a:gd name="connsiteX570" fmla="*/ 263210 w 1553021"/>
                    <a:gd name="connsiteY570" fmla="*/ 103251 h 1257510"/>
                    <a:gd name="connsiteX571" fmla="*/ 260017 w 1553021"/>
                    <a:gd name="connsiteY571" fmla="*/ 103349 h 1257510"/>
                    <a:gd name="connsiteX572" fmla="*/ 256131 w 1553021"/>
                    <a:gd name="connsiteY572" fmla="*/ 104029 h 1257510"/>
                    <a:gd name="connsiteX573" fmla="*/ 248797 w 1553021"/>
                    <a:gd name="connsiteY573" fmla="*/ 106226 h 1257510"/>
                    <a:gd name="connsiteX574" fmla="*/ 243308 w 1553021"/>
                    <a:gd name="connsiteY574" fmla="*/ 108546 h 1257510"/>
                    <a:gd name="connsiteX575" fmla="*/ 229914 w 1553021"/>
                    <a:gd name="connsiteY575" fmla="*/ 110792 h 1257510"/>
                    <a:gd name="connsiteX576" fmla="*/ 225179 w 1553021"/>
                    <a:gd name="connsiteY576" fmla="*/ 112905 h 1257510"/>
                    <a:gd name="connsiteX577" fmla="*/ 223126 w 1553021"/>
                    <a:gd name="connsiteY577" fmla="*/ 113269 h 1257510"/>
                    <a:gd name="connsiteX578" fmla="*/ 222046 w 1553021"/>
                    <a:gd name="connsiteY578" fmla="*/ 113403 h 1257510"/>
                    <a:gd name="connsiteX579" fmla="*/ 220564 w 1553021"/>
                    <a:gd name="connsiteY579" fmla="*/ 112444 h 1257510"/>
                    <a:gd name="connsiteX580" fmla="*/ 219241 w 1553021"/>
                    <a:gd name="connsiteY580" fmla="*/ 111254 h 1257510"/>
                    <a:gd name="connsiteX581" fmla="*/ 218439 w 1553021"/>
                    <a:gd name="connsiteY581" fmla="*/ 109991 h 1257510"/>
                    <a:gd name="connsiteX582" fmla="*/ 216193 w 1553021"/>
                    <a:gd name="connsiteY582" fmla="*/ 105218 h 1257510"/>
                    <a:gd name="connsiteX583" fmla="*/ 214906 w 1553021"/>
                    <a:gd name="connsiteY583" fmla="*/ 103118 h 1257510"/>
                    <a:gd name="connsiteX584" fmla="*/ 209684 w 1553021"/>
                    <a:gd name="connsiteY584" fmla="*/ 97034 h 1257510"/>
                    <a:gd name="connsiteX585" fmla="*/ 208179 w 1553021"/>
                    <a:gd name="connsiteY585" fmla="*/ 94423 h 1257510"/>
                    <a:gd name="connsiteX586" fmla="*/ 206612 w 1553021"/>
                    <a:gd name="connsiteY586" fmla="*/ 90161 h 1257510"/>
                    <a:gd name="connsiteX587" fmla="*/ 207656 w 1553021"/>
                    <a:gd name="connsiteY587" fmla="*/ 86628 h 1257510"/>
                    <a:gd name="connsiteX588" fmla="*/ 210704 w 1553021"/>
                    <a:gd name="connsiteY588" fmla="*/ 84612 h 1257510"/>
                    <a:gd name="connsiteX589" fmla="*/ 217213 w 1553021"/>
                    <a:gd name="connsiteY589" fmla="*/ 83968 h 1257510"/>
                    <a:gd name="connsiteX590" fmla="*/ 219678 w 1553021"/>
                    <a:gd name="connsiteY590" fmla="*/ 82657 h 1257510"/>
                    <a:gd name="connsiteX591" fmla="*/ 221548 w 1553021"/>
                    <a:gd name="connsiteY591" fmla="*/ 80678 h 1257510"/>
                    <a:gd name="connsiteX592" fmla="*/ 223139 w 1553021"/>
                    <a:gd name="connsiteY592" fmla="*/ 75833 h 1257510"/>
                    <a:gd name="connsiteX593" fmla="*/ 222956 w 1553021"/>
                    <a:gd name="connsiteY593" fmla="*/ 74461 h 1257510"/>
                    <a:gd name="connsiteX594" fmla="*/ 221791 w 1553021"/>
                    <a:gd name="connsiteY594" fmla="*/ 73234 h 1257510"/>
                    <a:gd name="connsiteX595" fmla="*/ 220249 w 1553021"/>
                    <a:gd name="connsiteY595" fmla="*/ 72433 h 1257510"/>
                    <a:gd name="connsiteX596" fmla="*/ 217468 w 1553021"/>
                    <a:gd name="connsiteY596" fmla="*/ 69142 h 1257510"/>
                    <a:gd name="connsiteX597" fmla="*/ 216424 w 1553021"/>
                    <a:gd name="connsiteY597" fmla="*/ 64868 h 1257510"/>
                    <a:gd name="connsiteX598" fmla="*/ 217067 w 1553021"/>
                    <a:gd name="connsiteY598" fmla="*/ 61468 h 1257510"/>
                    <a:gd name="connsiteX599" fmla="*/ 216800 w 1553021"/>
                    <a:gd name="connsiteY599" fmla="*/ 59816 h 1257510"/>
                    <a:gd name="connsiteX600" fmla="*/ 215343 w 1553021"/>
                    <a:gd name="connsiteY600" fmla="*/ 54874 h 1257510"/>
                    <a:gd name="connsiteX601" fmla="*/ 215124 w 1553021"/>
                    <a:gd name="connsiteY601" fmla="*/ 52105 h 1257510"/>
                    <a:gd name="connsiteX602" fmla="*/ 215440 w 1553021"/>
                    <a:gd name="connsiteY602" fmla="*/ 49810 h 1257510"/>
                    <a:gd name="connsiteX603" fmla="*/ 218476 w 1553021"/>
                    <a:gd name="connsiteY603" fmla="*/ 43399 h 1257510"/>
                    <a:gd name="connsiteX604" fmla="*/ 222301 w 1553021"/>
                    <a:gd name="connsiteY604" fmla="*/ 41857 h 1257510"/>
                    <a:gd name="connsiteX605" fmla="*/ 224559 w 1553021"/>
                    <a:gd name="connsiteY605" fmla="*/ 41407 h 1257510"/>
                    <a:gd name="connsiteX606" fmla="*/ 231287 w 1553021"/>
                    <a:gd name="connsiteY606" fmla="*/ 39319 h 1257510"/>
                    <a:gd name="connsiteX607" fmla="*/ 237018 w 1553021"/>
                    <a:gd name="connsiteY607" fmla="*/ 36077 h 1257510"/>
                    <a:gd name="connsiteX608" fmla="*/ 240709 w 1553021"/>
                    <a:gd name="connsiteY608" fmla="*/ 36684 h 1257510"/>
                    <a:gd name="connsiteX609" fmla="*/ 244729 w 1553021"/>
                    <a:gd name="connsiteY609" fmla="*/ 35397 h 1257510"/>
                    <a:gd name="connsiteX610" fmla="*/ 247692 w 1553021"/>
                    <a:gd name="connsiteY610" fmla="*/ 33502 h 1257510"/>
                    <a:gd name="connsiteX611" fmla="*/ 249574 w 1553021"/>
                    <a:gd name="connsiteY611" fmla="*/ 30697 h 1257510"/>
                    <a:gd name="connsiteX612" fmla="*/ 266574 w 1553021"/>
                    <a:gd name="connsiteY612" fmla="*/ 22647 h 1257510"/>
                    <a:gd name="connsiteX613" fmla="*/ 277539 w 1553021"/>
                    <a:gd name="connsiteY613" fmla="*/ 20619 h 1257510"/>
                    <a:gd name="connsiteX614" fmla="*/ 277575 w 1553021"/>
                    <a:gd name="connsiteY614" fmla="*/ 8767 h 1257510"/>
                    <a:gd name="connsiteX615" fmla="*/ 280138 w 1553021"/>
                    <a:gd name="connsiteY615" fmla="*/ 340 h 1257510"/>
                    <a:gd name="connsiteX616" fmla="*/ 282287 w 1553021"/>
                    <a:gd name="connsiteY616" fmla="*/ 1032 h 1257510"/>
                    <a:gd name="connsiteX617" fmla="*/ 285918 w 1553021"/>
                    <a:gd name="connsiteY617" fmla="*/ 0 h 1257510"/>
                    <a:gd name="connsiteX618" fmla="*/ 286015 w 1553021"/>
                    <a:gd name="connsiteY618" fmla="*/ 692 h 1257510"/>
                    <a:gd name="connsiteX619" fmla="*/ 285918 w 1553021"/>
                    <a:gd name="connsiteY619" fmla="*/ 2198 h 1257510"/>
                    <a:gd name="connsiteX620" fmla="*/ 283501 w 1553021"/>
                    <a:gd name="connsiteY620" fmla="*/ 9714 h 1257510"/>
                    <a:gd name="connsiteX621" fmla="*/ 283586 w 1553021"/>
                    <a:gd name="connsiteY621" fmla="*/ 20631 h 1257510"/>
                    <a:gd name="connsiteX622" fmla="*/ 285323 w 1553021"/>
                    <a:gd name="connsiteY622" fmla="*/ 20971 h 1257510"/>
                    <a:gd name="connsiteX623" fmla="*/ 292256 w 1553021"/>
                    <a:gd name="connsiteY623" fmla="*/ 24966 h 1257510"/>
                    <a:gd name="connsiteX624" fmla="*/ 295377 w 1553021"/>
                    <a:gd name="connsiteY624" fmla="*/ 25391 h 1257510"/>
                    <a:gd name="connsiteX625" fmla="*/ 299020 w 1553021"/>
                    <a:gd name="connsiteY625" fmla="*/ 25136 h 1257510"/>
                    <a:gd name="connsiteX626" fmla="*/ 302566 w 1553021"/>
                    <a:gd name="connsiteY626" fmla="*/ 24456 h 1257510"/>
                    <a:gd name="connsiteX627" fmla="*/ 305626 w 1553021"/>
                    <a:gd name="connsiteY627" fmla="*/ 23363 h 1257510"/>
                    <a:gd name="connsiteX628" fmla="*/ 307326 w 1553021"/>
                    <a:gd name="connsiteY628" fmla="*/ 22343 h 1257510"/>
                    <a:gd name="connsiteX629" fmla="*/ 307508 w 1553021"/>
                    <a:gd name="connsiteY629" fmla="*/ 21797 h 1257510"/>
                    <a:gd name="connsiteX630" fmla="*/ 307617 w 1553021"/>
                    <a:gd name="connsiteY630" fmla="*/ 20109 h 1257510"/>
                    <a:gd name="connsiteX631" fmla="*/ 308030 w 1553021"/>
                    <a:gd name="connsiteY631" fmla="*/ 18797 h 1257510"/>
                    <a:gd name="connsiteX632" fmla="*/ 309511 w 1553021"/>
                    <a:gd name="connsiteY632" fmla="*/ 17546 h 1257510"/>
                    <a:gd name="connsiteX633" fmla="*/ 311090 w 1553021"/>
                    <a:gd name="connsiteY633" fmla="*/ 16951 h 1257510"/>
                    <a:gd name="connsiteX634" fmla="*/ 313276 w 1553021"/>
                    <a:gd name="connsiteY634" fmla="*/ 16587 h 1257510"/>
                    <a:gd name="connsiteX635" fmla="*/ 315231 w 1553021"/>
                    <a:gd name="connsiteY635" fmla="*/ 15579 h 1257510"/>
                    <a:gd name="connsiteX636" fmla="*/ 319711 w 1553021"/>
                    <a:gd name="connsiteY636" fmla="*/ 14244 h 1257510"/>
                    <a:gd name="connsiteX637" fmla="*/ 321084 w 1553021"/>
                    <a:gd name="connsiteY637" fmla="*/ 13527 h 1257510"/>
                    <a:gd name="connsiteX638" fmla="*/ 328564 w 1553021"/>
                    <a:gd name="connsiteY638" fmla="*/ 6399 h 1257510"/>
                    <a:gd name="connsiteX639" fmla="*/ 333882 w 1553021"/>
                    <a:gd name="connsiteY639" fmla="*/ 5962 h 1257510"/>
                    <a:gd name="connsiteX640" fmla="*/ 338654 w 1553021"/>
                    <a:gd name="connsiteY640" fmla="*/ 10164 h 1257510"/>
                    <a:gd name="connsiteX641" fmla="*/ 350166 w 1553021"/>
                    <a:gd name="connsiteY641" fmla="*/ 22744 h 1257510"/>
                    <a:gd name="connsiteX642" fmla="*/ 352133 w 1553021"/>
                    <a:gd name="connsiteY642" fmla="*/ 29786 h 1257510"/>
                    <a:gd name="connsiteX643" fmla="*/ 351635 w 1553021"/>
                    <a:gd name="connsiteY643" fmla="*/ 32944 h 1257510"/>
                    <a:gd name="connsiteX644" fmla="*/ 350737 w 1553021"/>
                    <a:gd name="connsiteY644" fmla="*/ 49179 h 1257510"/>
                    <a:gd name="connsiteX645" fmla="*/ 350967 w 1553021"/>
                    <a:gd name="connsiteY645" fmla="*/ 51717 h 1257510"/>
                    <a:gd name="connsiteX646" fmla="*/ 351477 w 1553021"/>
                    <a:gd name="connsiteY646" fmla="*/ 53137 h 1257510"/>
                    <a:gd name="connsiteX647" fmla="*/ 353505 w 1553021"/>
                    <a:gd name="connsiteY647" fmla="*/ 56902 h 1257510"/>
                    <a:gd name="connsiteX648" fmla="*/ 354307 w 1553021"/>
                    <a:gd name="connsiteY648" fmla="*/ 59088 h 1257510"/>
                    <a:gd name="connsiteX649" fmla="*/ 354865 w 1553021"/>
                    <a:gd name="connsiteY649" fmla="*/ 65353 h 1257510"/>
                    <a:gd name="connsiteX650" fmla="*/ 355327 w 1553021"/>
                    <a:gd name="connsiteY650" fmla="*/ 66301 h 1257510"/>
                    <a:gd name="connsiteX651" fmla="*/ 356359 w 1553021"/>
                    <a:gd name="connsiteY651" fmla="*/ 67175 h 1257510"/>
                    <a:gd name="connsiteX652" fmla="*/ 358472 w 1553021"/>
                    <a:gd name="connsiteY652" fmla="*/ 68753 h 1257510"/>
                    <a:gd name="connsiteX653" fmla="*/ 362965 w 1553021"/>
                    <a:gd name="connsiteY653" fmla="*/ 71643 h 1257510"/>
                    <a:gd name="connsiteX654" fmla="*/ 369170 w 1553021"/>
                    <a:gd name="connsiteY654" fmla="*/ 76573 h 1257510"/>
                    <a:gd name="connsiteX655" fmla="*/ 371914 w 1553021"/>
                    <a:gd name="connsiteY655" fmla="*/ 78043 h 1257510"/>
                    <a:gd name="connsiteX656" fmla="*/ 381750 w 1553021"/>
                    <a:gd name="connsiteY656" fmla="*/ 80605 h 1257510"/>
                    <a:gd name="connsiteX657" fmla="*/ 384433 w 1553021"/>
                    <a:gd name="connsiteY657" fmla="*/ 82851 h 1257510"/>
                    <a:gd name="connsiteX658" fmla="*/ 386570 w 1553021"/>
                    <a:gd name="connsiteY658" fmla="*/ 85037 h 1257510"/>
                    <a:gd name="connsiteX659" fmla="*/ 388574 w 1553021"/>
                    <a:gd name="connsiteY659" fmla="*/ 86555 h 1257510"/>
                    <a:gd name="connsiteX660" fmla="*/ 390444 w 1553021"/>
                    <a:gd name="connsiteY660" fmla="*/ 87344 h 1257510"/>
                    <a:gd name="connsiteX661" fmla="*/ 393820 w 1553021"/>
                    <a:gd name="connsiteY661" fmla="*/ 87575 h 1257510"/>
                    <a:gd name="connsiteX662" fmla="*/ 399624 w 1553021"/>
                    <a:gd name="connsiteY662" fmla="*/ 87587 h 1257510"/>
                    <a:gd name="connsiteX663" fmla="*/ 416211 w 1553021"/>
                    <a:gd name="connsiteY663" fmla="*/ 86008 h 1257510"/>
                    <a:gd name="connsiteX664" fmla="*/ 418701 w 1553021"/>
                    <a:gd name="connsiteY664" fmla="*/ 86094 h 1257510"/>
                    <a:gd name="connsiteX665" fmla="*/ 424469 w 1553021"/>
                    <a:gd name="connsiteY665" fmla="*/ 86931 h 1257510"/>
                    <a:gd name="connsiteX666" fmla="*/ 426751 w 1553021"/>
                    <a:gd name="connsiteY666" fmla="*/ 87611 h 1257510"/>
                    <a:gd name="connsiteX667" fmla="*/ 429131 w 1553021"/>
                    <a:gd name="connsiteY667" fmla="*/ 88923 h 1257510"/>
                    <a:gd name="connsiteX668" fmla="*/ 432446 w 1553021"/>
                    <a:gd name="connsiteY668" fmla="*/ 91643 h 1257510"/>
                    <a:gd name="connsiteX669" fmla="*/ 434559 w 1553021"/>
                    <a:gd name="connsiteY669" fmla="*/ 93063 h 1257510"/>
                    <a:gd name="connsiteX670" fmla="*/ 436709 w 1553021"/>
                    <a:gd name="connsiteY670" fmla="*/ 93768 h 1257510"/>
                    <a:gd name="connsiteX671" fmla="*/ 445027 w 1553021"/>
                    <a:gd name="connsiteY671" fmla="*/ 94071 h 1257510"/>
                    <a:gd name="connsiteX672" fmla="*/ 446957 w 1553021"/>
                    <a:gd name="connsiteY672" fmla="*/ 94569 h 1257510"/>
                    <a:gd name="connsiteX673" fmla="*/ 452276 w 1553021"/>
                    <a:gd name="connsiteY673" fmla="*/ 97241 h 1257510"/>
                    <a:gd name="connsiteX674" fmla="*/ 454595 w 1553021"/>
                    <a:gd name="connsiteY674" fmla="*/ 98783 h 1257510"/>
                    <a:gd name="connsiteX675" fmla="*/ 458809 w 1553021"/>
                    <a:gd name="connsiteY675" fmla="*/ 102960 h 1257510"/>
                    <a:gd name="connsiteX676" fmla="*/ 466350 w 1553021"/>
                    <a:gd name="connsiteY676" fmla="*/ 113451 h 1257510"/>
                    <a:gd name="connsiteX677" fmla="*/ 468547 w 1553021"/>
                    <a:gd name="connsiteY677" fmla="*/ 118782 h 1257510"/>
                    <a:gd name="connsiteX678" fmla="*/ 469519 w 1553021"/>
                    <a:gd name="connsiteY678" fmla="*/ 120664 h 1257510"/>
                    <a:gd name="connsiteX679" fmla="*/ 470782 w 1553021"/>
                    <a:gd name="connsiteY679" fmla="*/ 122401 h 1257510"/>
                    <a:gd name="connsiteX680" fmla="*/ 472215 w 1553021"/>
                    <a:gd name="connsiteY680" fmla="*/ 123506 h 1257510"/>
                    <a:gd name="connsiteX681" fmla="*/ 474060 w 1553021"/>
                    <a:gd name="connsiteY681" fmla="*/ 124380 h 1257510"/>
                    <a:gd name="connsiteX682" fmla="*/ 484272 w 1553021"/>
                    <a:gd name="connsiteY682" fmla="*/ 128144 h 1257510"/>
                    <a:gd name="connsiteX683" fmla="*/ 503033 w 1553021"/>
                    <a:gd name="connsiteY683" fmla="*/ 132212 h 1257510"/>
                    <a:gd name="connsiteX684" fmla="*/ 508765 w 1553021"/>
                    <a:gd name="connsiteY684" fmla="*/ 131520 h 1257510"/>
                    <a:gd name="connsiteX685" fmla="*/ 512019 w 1553021"/>
                    <a:gd name="connsiteY685" fmla="*/ 132054 h 1257510"/>
                    <a:gd name="connsiteX686" fmla="*/ 513998 w 1553021"/>
                    <a:gd name="connsiteY686" fmla="*/ 132759 h 1257510"/>
                    <a:gd name="connsiteX687" fmla="*/ 516136 w 1553021"/>
                    <a:gd name="connsiteY687" fmla="*/ 133256 h 1257510"/>
                    <a:gd name="connsiteX688" fmla="*/ 533913 w 1553021"/>
                    <a:gd name="connsiteY688" fmla="*/ 133172 h 1257510"/>
                    <a:gd name="connsiteX689" fmla="*/ 542012 w 1553021"/>
                    <a:gd name="connsiteY689" fmla="*/ 134082 h 1257510"/>
                    <a:gd name="connsiteX690" fmla="*/ 544161 w 1553021"/>
                    <a:gd name="connsiteY690" fmla="*/ 134034 h 1257510"/>
                    <a:gd name="connsiteX691" fmla="*/ 550051 w 1553021"/>
                    <a:gd name="connsiteY691" fmla="*/ 132455 h 1257510"/>
                    <a:gd name="connsiteX692" fmla="*/ 554932 w 1553021"/>
                    <a:gd name="connsiteY692" fmla="*/ 132273 h 1257510"/>
                    <a:gd name="connsiteX693" fmla="*/ 557604 w 1553021"/>
                    <a:gd name="connsiteY693" fmla="*/ 131678 h 1257510"/>
                    <a:gd name="connsiteX694" fmla="*/ 560919 w 1553021"/>
                    <a:gd name="connsiteY694" fmla="*/ 131374 h 1257510"/>
                    <a:gd name="connsiteX695" fmla="*/ 568739 w 1553021"/>
                    <a:gd name="connsiteY695" fmla="*/ 132431 h 1257510"/>
                    <a:gd name="connsiteX696" fmla="*/ 576559 w 1553021"/>
                    <a:gd name="connsiteY696" fmla="*/ 132795 h 1257510"/>
                    <a:gd name="connsiteX697" fmla="*/ 596413 w 1553021"/>
                    <a:gd name="connsiteY697" fmla="*/ 131751 h 1257510"/>
                    <a:gd name="connsiteX698" fmla="*/ 608592 w 1553021"/>
                    <a:gd name="connsiteY698" fmla="*/ 128436 h 1257510"/>
                    <a:gd name="connsiteX699" fmla="*/ 614906 w 1553021"/>
                    <a:gd name="connsiteY699" fmla="*/ 130245 h 1257510"/>
                    <a:gd name="connsiteX700" fmla="*/ 619508 w 1553021"/>
                    <a:gd name="connsiteY700" fmla="*/ 129990 h 1257510"/>
                    <a:gd name="connsiteX701" fmla="*/ 622836 w 1553021"/>
                    <a:gd name="connsiteY701" fmla="*/ 130306 h 1257510"/>
                    <a:gd name="connsiteX702" fmla="*/ 630024 w 1553021"/>
                    <a:gd name="connsiteY702" fmla="*/ 132941 h 1257510"/>
                    <a:gd name="connsiteX703" fmla="*/ 639605 w 1553021"/>
                    <a:gd name="connsiteY703" fmla="*/ 135333 h 1257510"/>
                    <a:gd name="connsiteX704" fmla="*/ 640807 w 1553021"/>
                    <a:gd name="connsiteY704" fmla="*/ 135321 h 1257510"/>
                    <a:gd name="connsiteX705" fmla="*/ 642131 w 1553021"/>
                    <a:gd name="connsiteY705" fmla="*/ 135078 h 1257510"/>
                    <a:gd name="connsiteX706" fmla="*/ 643964 w 1553021"/>
                    <a:gd name="connsiteY706" fmla="*/ 134580 h 1257510"/>
                    <a:gd name="connsiteX707" fmla="*/ 647401 w 1553021"/>
                    <a:gd name="connsiteY707" fmla="*/ 134799 h 1257510"/>
                    <a:gd name="connsiteX708" fmla="*/ 648360 w 1553021"/>
                    <a:gd name="connsiteY708" fmla="*/ 134920 h 1257510"/>
                    <a:gd name="connsiteX709" fmla="*/ 651080 w 1553021"/>
                    <a:gd name="connsiteY709" fmla="*/ 137409 h 1257510"/>
                    <a:gd name="connsiteX710" fmla="*/ 654419 w 1553021"/>
                    <a:gd name="connsiteY710" fmla="*/ 143396 h 1257510"/>
                    <a:gd name="connsiteX711" fmla="*/ 658730 w 1553021"/>
                    <a:gd name="connsiteY711" fmla="*/ 153912 h 1257510"/>
                    <a:gd name="connsiteX712" fmla="*/ 659362 w 1553021"/>
                    <a:gd name="connsiteY712" fmla="*/ 163310 h 1257510"/>
                    <a:gd name="connsiteX713" fmla="*/ 661414 w 1553021"/>
                    <a:gd name="connsiteY713" fmla="*/ 172272 h 1257510"/>
                    <a:gd name="connsiteX714" fmla="*/ 660005 w 1553021"/>
                    <a:gd name="connsiteY714" fmla="*/ 176473 h 1257510"/>
                    <a:gd name="connsiteX715" fmla="*/ 657067 w 1553021"/>
                    <a:gd name="connsiteY715" fmla="*/ 178368 h 1257510"/>
                    <a:gd name="connsiteX716" fmla="*/ 654529 w 1553021"/>
                    <a:gd name="connsiteY716" fmla="*/ 178610 h 1257510"/>
                    <a:gd name="connsiteX717" fmla="*/ 660515 w 1553021"/>
                    <a:gd name="connsiteY717" fmla="*/ 186710 h 1257510"/>
                    <a:gd name="connsiteX718" fmla="*/ 664255 w 1553021"/>
                    <a:gd name="connsiteY718" fmla="*/ 188859 h 1257510"/>
                    <a:gd name="connsiteX719" fmla="*/ 667728 w 1553021"/>
                    <a:gd name="connsiteY719" fmla="*/ 190389 h 1257510"/>
                    <a:gd name="connsiteX720" fmla="*/ 685554 w 1553021"/>
                    <a:gd name="connsiteY720" fmla="*/ 192296 h 1257510"/>
                    <a:gd name="connsiteX721" fmla="*/ 690302 w 1553021"/>
                    <a:gd name="connsiteY721" fmla="*/ 190984 h 1257510"/>
                    <a:gd name="connsiteX722" fmla="*/ 702238 w 1553021"/>
                    <a:gd name="connsiteY722" fmla="*/ 189940 h 1257510"/>
                    <a:gd name="connsiteX723" fmla="*/ 707435 w 1553021"/>
                    <a:gd name="connsiteY723" fmla="*/ 188130 h 1257510"/>
                    <a:gd name="connsiteX724" fmla="*/ 711479 w 1553021"/>
                    <a:gd name="connsiteY724" fmla="*/ 186358 h 1257510"/>
                    <a:gd name="connsiteX725" fmla="*/ 713495 w 1553021"/>
                    <a:gd name="connsiteY725" fmla="*/ 184014 h 1257510"/>
                    <a:gd name="connsiteX726" fmla="*/ 716919 w 1553021"/>
                    <a:gd name="connsiteY726" fmla="*/ 178610 h 1257510"/>
                    <a:gd name="connsiteX727" fmla="*/ 719457 w 1553021"/>
                    <a:gd name="connsiteY727" fmla="*/ 175441 h 1257510"/>
                    <a:gd name="connsiteX728" fmla="*/ 722845 w 1553021"/>
                    <a:gd name="connsiteY728" fmla="*/ 172357 h 1257510"/>
                    <a:gd name="connsiteX729" fmla="*/ 728382 w 1553021"/>
                    <a:gd name="connsiteY729" fmla="*/ 169673 h 1257510"/>
                    <a:gd name="connsiteX730" fmla="*/ 732462 w 1553021"/>
                    <a:gd name="connsiteY730" fmla="*/ 168738 h 1257510"/>
                    <a:gd name="connsiteX731" fmla="*/ 745686 w 1553021"/>
                    <a:gd name="connsiteY731" fmla="*/ 167342 h 1257510"/>
                    <a:gd name="connsiteX732" fmla="*/ 747325 w 1553021"/>
                    <a:gd name="connsiteY732" fmla="*/ 166419 h 1257510"/>
                    <a:gd name="connsiteX733" fmla="*/ 748527 w 1553021"/>
                    <a:gd name="connsiteY733" fmla="*/ 164840 h 1257510"/>
                    <a:gd name="connsiteX734" fmla="*/ 749875 w 1553021"/>
                    <a:gd name="connsiteY734" fmla="*/ 162594 h 1257510"/>
                    <a:gd name="connsiteX735" fmla="*/ 751077 w 1553021"/>
                    <a:gd name="connsiteY735" fmla="*/ 160056 h 1257510"/>
                    <a:gd name="connsiteX736" fmla="*/ 750980 w 1553021"/>
                    <a:gd name="connsiteY736" fmla="*/ 153110 h 1257510"/>
                    <a:gd name="connsiteX737" fmla="*/ 748697 w 1553021"/>
                    <a:gd name="connsiteY737" fmla="*/ 148496 h 1257510"/>
                    <a:gd name="connsiteX738" fmla="*/ 747811 w 1553021"/>
                    <a:gd name="connsiteY738" fmla="*/ 145994 h 1257510"/>
                    <a:gd name="connsiteX739" fmla="*/ 747094 w 1553021"/>
                    <a:gd name="connsiteY739" fmla="*/ 142813 h 1257510"/>
                    <a:gd name="connsiteX740" fmla="*/ 748175 w 1553021"/>
                    <a:gd name="connsiteY740" fmla="*/ 140312 h 1257510"/>
                    <a:gd name="connsiteX741" fmla="*/ 750470 w 1553021"/>
                    <a:gd name="connsiteY741" fmla="*/ 137580 h 1257510"/>
                    <a:gd name="connsiteX742" fmla="*/ 755461 w 1553021"/>
                    <a:gd name="connsiteY742" fmla="*/ 133791 h 1257510"/>
                    <a:gd name="connsiteX743" fmla="*/ 763050 w 1553021"/>
                    <a:gd name="connsiteY743" fmla="*/ 129590 h 1257510"/>
                    <a:gd name="connsiteX744" fmla="*/ 764872 w 1553021"/>
                    <a:gd name="connsiteY744" fmla="*/ 128327 h 1257510"/>
                    <a:gd name="connsiteX745" fmla="*/ 766074 w 1553021"/>
                    <a:gd name="connsiteY745" fmla="*/ 126918 h 1257510"/>
                    <a:gd name="connsiteX746" fmla="*/ 769280 w 1553021"/>
                    <a:gd name="connsiteY746" fmla="*/ 119814 h 1257510"/>
                    <a:gd name="connsiteX747" fmla="*/ 770846 w 1553021"/>
                    <a:gd name="connsiteY747" fmla="*/ 117568 h 1257510"/>
                    <a:gd name="connsiteX748" fmla="*/ 773760 w 1553021"/>
                    <a:gd name="connsiteY748" fmla="*/ 115091 h 1257510"/>
                    <a:gd name="connsiteX749" fmla="*/ 774974 w 1553021"/>
                    <a:gd name="connsiteY749" fmla="*/ 113731 h 1257510"/>
                    <a:gd name="connsiteX750" fmla="*/ 775594 w 1553021"/>
                    <a:gd name="connsiteY750" fmla="*/ 111982 h 1257510"/>
                    <a:gd name="connsiteX751" fmla="*/ 775970 w 1553021"/>
                    <a:gd name="connsiteY751" fmla="*/ 105680 h 1257510"/>
                    <a:gd name="connsiteX752" fmla="*/ 776310 w 1553021"/>
                    <a:gd name="connsiteY752" fmla="*/ 103907 h 1257510"/>
                    <a:gd name="connsiteX753" fmla="*/ 776420 w 1553021"/>
                    <a:gd name="connsiteY753" fmla="*/ 101855 h 1257510"/>
                    <a:gd name="connsiteX754" fmla="*/ 777452 w 1553021"/>
                    <a:gd name="connsiteY754" fmla="*/ 95444 h 1257510"/>
                    <a:gd name="connsiteX755" fmla="*/ 782260 w 1553021"/>
                    <a:gd name="connsiteY755" fmla="*/ 89749 h 1257510"/>
                    <a:gd name="connsiteX756" fmla="*/ 789000 w 1553021"/>
                    <a:gd name="connsiteY756" fmla="*/ 86591 h 1257510"/>
                    <a:gd name="connsiteX757" fmla="*/ 800268 w 1553021"/>
                    <a:gd name="connsiteY757" fmla="*/ 86713 h 1257510"/>
                    <a:gd name="connsiteX758" fmla="*/ 802563 w 1553021"/>
                    <a:gd name="connsiteY758" fmla="*/ 85802 h 1257510"/>
                    <a:gd name="connsiteX759" fmla="*/ 822660 w 1553021"/>
                    <a:gd name="connsiteY759" fmla="*/ 71388 h 1257510"/>
                    <a:gd name="connsiteX760" fmla="*/ 830747 w 1553021"/>
                    <a:gd name="connsiteY760" fmla="*/ 67466 h 1257510"/>
                    <a:gd name="connsiteX761" fmla="*/ 839866 w 1553021"/>
                    <a:gd name="connsiteY761" fmla="*/ 64941 h 1257510"/>
                    <a:gd name="connsiteX762" fmla="*/ 850115 w 1553021"/>
                    <a:gd name="connsiteY762" fmla="*/ 64054 h 1257510"/>
                    <a:gd name="connsiteX763" fmla="*/ 853090 w 1553021"/>
                    <a:gd name="connsiteY763" fmla="*/ 64479 h 1257510"/>
                    <a:gd name="connsiteX764" fmla="*/ 855883 w 1553021"/>
                    <a:gd name="connsiteY764" fmla="*/ 65924 h 1257510"/>
                    <a:gd name="connsiteX765" fmla="*/ 856951 w 1553021"/>
                    <a:gd name="connsiteY765" fmla="*/ 66835 h 1257510"/>
                    <a:gd name="connsiteX766" fmla="*/ 855482 w 1553021"/>
                    <a:gd name="connsiteY766" fmla="*/ 70077 h 1257510"/>
                    <a:gd name="connsiteX767" fmla="*/ 857838 w 1553021"/>
                    <a:gd name="connsiteY767" fmla="*/ 68158 h 1257510"/>
                    <a:gd name="connsiteX768" fmla="*/ 858639 w 1553021"/>
                    <a:gd name="connsiteY768" fmla="*/ 69142 h 1257510"/>
                    <a:gd name="connsiteX769" fmla="*/ 859271 w 1553021"/>
                    <a:gd name="connsiteY769" fmla="*/ 69652 h 1257510"/>
                    <a:gd name="connsiteX770" fmla="*/ 860121 w 1553021"/>
                    <a:gd name="connsiteY770" fmla="*/ 69397 h 1257510"/>
                    <a:gd name="connsiteX771" fmla="*/ 861019 w 1553021"/>
                    <a:gd name="connsiteY771" fmla="*/ 68838 h 1257510"/>
                    <a:gd name="connsiteX772" fmla="*/ 861796 w 1553021"/>
                    <a:gd name="connsiteY772" fmla="*/ 68195 h 1257510"/>
                    <a:gd name="connsiteX773" fmla="*/ 862088 w 1553021"/>
                    <a:gd name="connsiteY773" fmla="*/ 67478 h 1257510"/>
                    <a:gd name="connsiteX774" fmla="*/ 863836 w 1553021"/>
                    <a:gd name="connsiteY774" fmla="*/ 64261 h 1257510"/>
                    <a:gd name="connsiteX775" fmla="*/ 865828 w 1553021"/>
                    <a:gd name="connsiteY775" fmla="*/ 63082 h 1257510"/>
                    <a:gd name="connsiteX776" fmla="*/ 871936 w 1553021"/>
                    <a:gd name="connsiteY776" fmla="*/ 61613 h 1257510"/>
                    <a:gd name="connsiteX777" fmla="*/ 872883 w 1553021"/>
                    <a:gd name="connsiteY777" fmla="*/ 60642 h 1257510"/>
                    <a:gd name="connsiteX778" fmla="*/ 873684 w 1553021"/>
                    <a:gd name="connsiteY778" fmla="*/ 58978 h 1257510"/>
                    <a:gd name="connsiteX779" fmla="*/ 876914 w 1553021"/>
                    <a:gd name="connsiteY779" fmla="*/ 56125 h 1257510"/>
                    <a:gd name="connsiteX780" fmla="*/ 880630 w 1553021"/>
                    <a:gd name="connsiteY780" fmla="*/ 55032 h 1257510"/>
                    <a:gd name="connsiteX781" fmla="*/ 905535 w 1553021"/>
                    <a:gd name="connsiteY781" fmla="*/ 55785 h 1257510"/>
                    <a:gd name="connsiteX782" fmla="*/ 908595 w 1553021"/>
                    <a:gd name="connsiteY782" fmla="*/ 56404 h 1257510"/>
                    <a:gd name="connsiteX783" fmla="*/ 911789 w 1553021"/>
                    <a:gd name="connsiteY783" fmla="*/ 57922 h 1257510"/>
                    <a:gd name="connsiteX784" fmla="*/ 913756 w 1553021"/>
                    <a:gd name="connsiteY784" fmla="*/ 59792 h 1257510"/>
                    <a:gd name="connsiteX785" fmla="*/ 914970 w 1553021"/>
                    <a:gd name="connsiteY785" fmla="*/ 61844 h 1257510"/>
                    <a:gd name="connsiteX786" fmla="*/ 915541 w 1553021"/>
                    <a:gd name="connsiteY786" fmla="*/ 63775 h 1257510"/>
                    <a:gd name="connsiteX787" fmla="*/ 916063 w 1553021"/>
                    <a:gd name="connsiteY787" fmla="*/ 64127 h 1257510"/>
                    <a:gd name="connsiteX788" fmla="*/ 919779 w 1553021"/>
                    <a:gd name="connsiteY788" fmla="*/ 65438 h 1257510"/>
                    <a:gd name="connsiteX789" fmla="*/ 922208 w 1553021"/>
                    <a:gd name="connsiteY789" fmla="*/ 66895 h 1257510"/>
                    <a:gd name="connsiteX790" fmla="*/ 924248 w 1553021"/>
                    <a:gd name="connsiteY790" fmla="*/ 69288 h 1257510"/>
                    <a:gd name="connsiteX791" fmla="*/ 925401 w 1553021"/>
                    <a:gd name="connsiteY791" fmla="*/ 72263 h 1257510"/>
                    <a:gd name="connsiteX792" fmla="*/ 927417 w 1553021"/>
                    <a:gd name="connsiteY792" fmla="*/ 86676 h 1257510"/>
                    <a:gd name="connsiteX793" fmla="*/ 927441 w 1553021"/>
                    <a:gd name="connsiteY793" fmla="*/ 89979 h 1257510"/>
                    <a:gd name="connsiteX794" fmla="*/ 927150 w 1553021"/>
                    <a:gd name="connsiteY794" fmla="*/ 93112 h 1257510"/>
                    <a:gd name="connsiteX795" fmla="*/ 927320 w 1553021"/>
                    <a:gd name="connsiteY795" fmla="*/ 95298 h 1257510"/>
                    <a:gd name="connsiteX796" fmla="*/ 927988 w 1553021"/>
                    <a:gd name="connsiteY796" fmla="*/ 96305 h 1257510"/>
                    <a:gd name="connsiteX797" fmla="*/ 928959 w 1553021"/>
                    <a:gd name="connsiteY797" fmla="*/ 97447 h 1257510"/>
                    <a:gd name="connsiteX798" fmla="*/ 930440 w 1553021"/>
                    <a:gd name="connsiteY798" fmla="*/ 100495 h 1257510"/>
                    <a:gd name="connsiteX799" fmla="*/ 929420 w 1553021"/>
                    <a:gd name="connsiteY799" fmla="*/ 104466 h 1257510"/>
                    <a:gd name="connsiteX800" fmla="*/ 926567 w 1553021"/>
                    <a:gd name="connsiteY800" fmla="*/ 105874 h 1257510"/>
                    <a:gd name="connsiteX801" fmla="*/ 923677 w 1553021"/>
                    <a:gd name="connsiteY801" fmla="*/ 106506 h 1257510"/>
                    <a:gd name="connsiteX802" fmla="*/ 904467 w 1553021"/>
                    <a:gd name="connsiteY802" fmla="*/ 105352 h 1257510"/>
                    <a:gd name="connsiteX803" fmla="*/ 903313 w 1553021"/>
                    <a:gd name="connsiteY803" fmla="*/ 105534 h 1257510"/>
                    <a:gd name="connsiteX804" fmla="*/ 903095 w 1553021"/>
                    <a:gd name="connsiteY804" fmla="*/ 105668 h 1257510"/>
                    <a:gd name="connsiteX805" fmla="*/ 902791 w 1553021"/>
                    <a:gd name="connsiteY805" fmla="*/ 106372 h 1257510"/>
                    <a:gd name="connsiteX806" fmla="*/ 902743 w 1553021"/>
                    <a:gd name="connsiteY806" fmla="*/ 107878 h 1257510"/>
                    <a:gd name="connsiteX807" fmla="*/ 902828 w 1553021"/>
                    <a:gd name="connsiteY807" fmla="*/ 109529 h 1257510"/>
                    <a:gd name="connsiteX808" fmla="*/ 903083 w 1553021"/>
                    <a:gd name="connsiteY808" fmla="*/ 111302 h 1257510"/>
                    <a:gd name="connsiteX809" fmla="*/ 906944 w 1553021"/>
                    <a:gd name="connsiteY809" fmla="*/ 118041 h 1257510"/>
                    <a:gd name="connsiteX810" fmla="*/ 911886 w 1553021"/>
                    <a:gd name="connsiteY810" fmla="*/ 125072 h 1257510"/>
                    <a:gd name="connsiteX811" fmla="*/ 912615 w 1553021"/>
                    <a:gd name="connsiteY811" fmla="*/ 126894 h 1257510"/>
                    <a:gd name="connsiteX812" fmla="*/ 913695 w 1553021"/>
                    <a:gd name="connsiteY812" fmla="*/ 125582 h 1257510"/>
                    <a:gd name="connsiteX813" fmla="*/ 915213 w 1553021"/>
                    <a:gd name="connsiteY813" fmla="*/ 125230 h 1257510"/>
                    <a:gd name="connsiteX814" fmla="*/ 916889 w 1553021"/>
                    <a:gd name="connsiteY814" fmla="*/ 125048 h 1257510"/>
                    <a:gd name="connsiteX815" fmla="*/ 919123 w 1553021"/>
                    <a:gd name="connsiteY815" fmla="*/ 125364 h 1257510"/>
                    <a:gd name="connsiteX816" fmla="*/ 921491 w 1553021"/>
                    <a:gd name="connsiteY816" fmla="*/ 126335 h 1257510"/>
                    <a:gd name="connsiteX817" fmla="*/ 923640 w 1553021"/>
                    <a:gd name="connsiteY817" fmla="*/ 128144 h 1257510"/>
                    <a:gd name="connsiteX818" fmla="*/ 925255 w 1553021"/>
                    <a:gd name="connsiteY818" fmla="*/ 130209 h 1257510"/>
                    <a:gd name="connsiteX819" fmla="*/ 926312 w 1553021"/>
                    <a:gd name="connsiteY819" fmla="*/ 131241 h 1257510"/>
                    <a:gd name="connsiteX820" fmla="*/ 927065 w 1553021"/>
                    <a:gd name="connsiteY820" fmla="*/ 131472 h 1257510"/>
                    <a:gd name="connsiteX821" fmla="*/ 928097 w 1553021"/>
                    <a:gd name="connsiteY821" fmla="*/ 131605 h 1257510"/>
                    <a:gd name="connsiteX822" fmla="*/ 929530 w 1553021"/>
                    <a:gd name="connsiteY822" fmla="*/ 131350 h 1257510"/>
                    <a:gd name="connsiteX823" fmla="*/ 930829 w 1553021"/>
                    <a:gd name="connsiteY823" fmla="*/ 130877 h 1257510"/>
                    <a:gd name="connsiteX824" fmla="*/ 933282 w 1553021"/>
                    <a:gd name="connsiteY824" fmla="*/ 129492 h 1257510"/>
                    <a:gd name="connsiteX825" fmla="*/ 935771 w 1553021"/>
                    <a:gd name="connsiteY825" fmla="*/ 128703 h 1257510"/>
                    <a:gd name="connsiteX826" fmla="*/ 938904 w 1553021"/>
                    <a:gd name="connsiteY826" fmla="*/ 128752 h 1257510"/>
                    <a:gd name="connsiteX827" fmla="*/ 941673 w 1553021"/>
                    <a:gd name="connsiteY827" fmla="*/ 129322 h 1257510"/>
                    <a:gd name="connsiteX828" fmla="*/ 945971 w 1553021"/>
                    <a:gd name="connsiteY828" fmla="*/ 129456 h 1257510"/>
                    <a:gd name="connsiteX829" fmla="*/ 948558 w 1553021"/>
                    <a:gd name="connsiteY829" fmla="*/ 130403 h 1257510"/>
                    <a:gd name="connsiteX830" fmla="*/ 950573 w 1553021"/>
                    <a:gd name="connsiteY830" fmla="*/ 132140 h 1257510"/>
                    <a:gd name="connsiteX831" fmla="*/ 951035 w 1553021"/>
                    <a:gd name="connsiteY831" fmla="*/ 132698 h 1257510"/>
                    <a:gd name="connsiteX832" fmla="*/ 951885 w 1553021"/>
                    <a:gd name="connsiteY832" fmla="*/ 132455 h 1257510"/>
                    <a:gd name="connsiteX833" fmla="*/ 956876 w 1553021"/>
                    <a:gd name="connsiteY833" fmla="*/ 128982 h 1257510"/>
                    <a:gd name="connsiteX834" fmla="*/ 960907 w 1553021"/>
                    <a:gd name="connsiteY834" fmla="*/ 127355 h 1257510"/>
                    <a:gd name="connsiteX835" fmla="*/ 965072 w 1553021"/>
                    <a:gd name="connsiteY835" fmla="*/ 124477 h 1257510"/>
                    <a:gd name="connsiteX836" fmla="*/ 967355 w 1553021"/>
                    <a:gd name="connsiteY836" fmla="*/ 123749 h 1257510"/>
                    <a:gd name="connsiteX837" fmla="*/ 970561 w 1553021"/>
                    <a:gd name="connsiteY837" fmla="*/ 124028 h 1257510"/>
                    <a:gd name="connsiteX838" fmla="*/ 980178 w 1553021"/>
                    <a:gd name="connsiteY838" fmla="*/ 128035 h 1257510"/>
                    <a:gd name="connsiteX839" fmla="*/ 983384 w 1553021"/>
                    <a:gd name="connsiteY839" fmla="*/ 128994 h 1257510"/>
                    <a:gd name="connsiteX840" fmla="*/ 986213 w 1553021"/>
                    <a:gd name="connsiteY840" fmla="*/ 128982 h 1257510"/>
                    <a:gd name="connsiteX841" fmla="*/ 989237 w 1553021"/>
                    <a:gd name="connsiteY841" fmla="*/ 128424 h 1257510"/>
                    <a:gd name="connsiteX842" fmla="*/ 1011143 w 1553021"/>
                    <a:gd name="connsiteY842" fmla="*/ 121247 h 1257510"/>
                    <a:gd name="connsiteX843" fmla="*/ 1021379 w 1553021"/>
                    <a:gd name="connsiteY843" fmla="*/ 116499 h 1257510"/>
                    <a:gd name="connsiteX844" fmla="*/ 1028568 w 1553021"/>
                    <a:gd name="connsiteY844" fmla="*/ 112273 h 1257510"/>
                    <a:gd name="connsiteX845" fmla="*/ 1031810 w 1553021"/>
                    <a:gd name="connsiteY845" fmla="*/ 109736 h 1257510"/>
                    <a:gd name="connsiteX846" fmla="*/ 1035671 w 1553021"/>
                    <a:gd name="connsiteY846" fmla="*/ 105437 h 1257510"/>
                    <a:gd name="connsiteX847" fmla="*/ 1037687 w 1553021"/>
                    <a:gd name="connsiteY847" fmla="*/ 102608 h 1257510"/>
                    <a:gd name="connsiteX848" fmla="*/ 1040601 w 1553021"/>
                    <a:gd name="connsiteY848" fmla="*/ 99681 h 1257510"/>
                    <a:gd name="connsiteX849" fmla="*/ 1044171 w 1553021"/>
                    <a:gd name="connsiteY849" fmla="*/ 97544 h 1257510"/>
                    <a:gd name="connsiteX850" fmla="*/ 1055501 w 1553021"/>
                    <a:gd name="connsiteY850" fmla="*/ 94994 h 1257510"/>
                    <a:gd name="connsiteX851" fmla="*/ 1062944 w 1553021"/>
                    <a:gd name="connsiteY851" fmla="*/ 92347 h 1257510"/>
                    <a:gd name="connsiteX852" fmla="*/ 1066709 w 1553021"/>
                    <a:gd name="connsiteY852" fmla="*/ 87514 h 1257510"/>
                    <a:gd name="connsiteX853" fmla="*/ 1068554 w 1553021"/>
                    <a:gd name="connsiteY853" fmla="*/ 85948 h 1257510"/>
                    <a:gd name="connsiteX854" fmla="*/ 1070716 w 1553021"/>
                    <a:gd name="connsiteY854" fmla="*/ 84952 h 1257510"/>
                    <a:gd name="connsiteX855" fmla="*/ 1073108 w 1553021"/>
                    <a:gd name="connsiteY855" fmla="*/ 84393 h 1257510"/>
                    <a:gd name="connsiteX856" fmla="*/ 1075051 w 1553021"/>
                    <a:gd name="connsiteY856" fmla="*/ 84236 h 1257510"/>
                    <a:gd name="connsiteX857" fmla="*/ 1079774 w 1553021"/>
                    <a:gd name="connsiteY857" fmla="*/ 84576 h 1257510"/>
                    <a:gd name="connsiteX858" fmla="*/ 1081147 w 1553021"/>
                    <a:gd name="connsiteY858" fmla="*/ 84879 h 1257510"/>
                    <a:gd name="connsiteX859" fmla="*/ 1084741 w 1553021"/>
                    <a:gd name="connsiteY859" fmla="*/ 86737 h 1257510"/>
                    <a:gd name="connsiteX860" fmla="*/ 1087145 w 1553021"/>
                    <a:gd name="connsiteY860" fmla="*/ 89943 h 1257510"/>
                    <a:gd name="connsiteX861" fmla="*/ 1087352 w 1553021"/>
                    <a:gd name="connsiteY861" fmla="*/ 96294 h 1257510"/>
                    <a:gd name="connsiteX862" fmla="*/ 1088517 w 1553021"/>
                    <a:gd name="connsiteY862" fmla="*/ 98285 h 1257510"/>
                    <a:gd name="connsiteX863" fmla="*/ 1089404 w 1553021"/>
                    <a:gd name="connsiteY863" fmla="*/ 101090 h 1257510"/>
                    <a:gd name="connsiteX864" fmla="*/ 1090047 w 1553021"/>
                    <a:gd name="connsiteY864" fmla="*/ 106397 h 1257510"/>
                    <a:gd name="connsiteX865" fmla="*/ 1090035 w 1553021"/>
                    <a:gd name="connsiteY865" fmla="*/ 107416 h 1257510"/>
                    <a:gd name="connsiteX866" fmla="*/ 1090205 w 1553021"/>
                    <a:gd name="connsiteY866" fmla="*/ 107429 h 1257510"/>
                    <a:gd name="connsiteX867" fmla="*/ 1091189 w 1553021"/>
                    <a:gd name="connsiteY867" fmla="*/ 107113 h 1257510"/>
                    <a:gd name="connsiteX868" fmla="*/ 1092670 w 1553021"/>
                    <a:gd name="connsiteY868" fmla="*/ 106166 h 1257510"/>
                    <a:gd name="connsiteX869" fmla="*/ 1093872 w 1553021"/>
                    <a:gd name="connsiteY869" fmla="*/ 105279 h 1257510"/>
                    <a:gd name="connsiteX870" fmla="*/ 1096228 w 1553021"/>
                    <a:gd name="connsiteY870" fmla="*/ 103944 h 1257510"/>
                    <a:gd name="connsiteX871" fmla="*/ 1099397 w 1553021"/>
                    <a:gd name="connsiteY871" fmla="*/ 103276 h 1257510"/>
                    <a:gd name="connsiteX872" fmla="*/ 1103295 w 1553021"/>
                    <a:gd name="connsiteY872" fmla="*/ 103628 h 1257510"/>
                    <a:gd name="connsiteX873" fmla="*/ 1106586 w 1553021"/>
                    <a:gd name="connsiteY873" fmla="*/ 104927 h 1257510"/>
                    <a:gd name="connsiteX874" fmla="*/ 1108687 w 1553021"/>
                    <a:gd name="connsiteY874" fmla="*/ 106251 h 1257510"/>
                    <a:gd name="connsiteX875" fmla="*/ 1112585 w 1553021"/>
                    <a:gd name="connsiteY875" fmla="*/ 109639 h 1257510"/>
                    <a:gd name="connsiteX876" fmla="*/ 1113362 w 1553021"/>
                    <a:gd name="connsiteY876" fmla="*/ 109966 h 1257510"/>
                    <a:gd name="connsiteX877" fmla="*/ 1124898 w 1553021"/>
                    <a:gd name="connsiteY877" fmla="*/ 112966 h 1257510"/>
                    <a:gd name="connsiteX878" fmla="*/ 1137381 w 1553021"/>
                    <a:gd name="connsiteY878" fmla="*/ 113767 h 1257510"/>
                    <a:gd name="connsiteX879" fmla="*/ 1140659 w 1553021"/>
                    <a:gd name="connsiteY879" fmla="*/ 113476 h 1257510"/>
                    <a:gd name="connsiteX880" fmla="*/ 1143998 w 1553021"/>
                    <a:gd name="connsiteY880" fmla="*/ 112152 h 1257510"/>
                    <a:gd name="connsiteX881" fmla="*/ 1156299 w 1553021"/>
                    <a:gd name="connsiteY881" fmla="*/ 110926 h 1257510"/>
                    <a:gd name="connsiteX882" fmla="*/ 1163014 w 1553021"/>
                    <a:gd name="connsiteY882" fmla="*/ 108728 h 1257510"/>
                    <a:gd name="connsiteX883" fmla="*/ 1168369 w 1553021"/>
                    <a:gd name="connsiteY883" fmla="*/ 107684 h 1257510"/>
                    <a:gd name="connsiteX884" fmla="*/ 1175959 w 1553021"/>
                    <a:gd name="connsiteY884" fmla="*/ 106991 h 1257510"/>
                    <a:gd name="connsiteX885" fmla="*/ 1177027 w 1553021"/>
                    <a:gd name="connsiteY885" fmla="*/ 106554 h 1257510"/>
                    <a:gd name="connsiteX886" fmla="*/ 1178254 w 1553021"/>
                    <a:gd name="connsiteY886" fmla="*/ 105328 h 1257510"/>
                    <a:gd name="connsiteX887" fmla="*/ 1178424 w 1553021"/>
                    <a:gd name="connsiteY887" fmla="*/ 104769 h 1257510"/>
                    <a:gd name="connsiteX888" fmla="*/ 1178278 w 1553021"/>
                    <a:gd name="connsiteY888" fmla="*/ 103591 h 1257510"/>
                    <a:gd name="connsiteX889" fmla="*/ 1177695 w 1553021"/>
                    <a:gd name="connsiteY889" fmla="*/ 102596 h 1257510"/>
                    <a:gd name="connsiteX890" fmla="*/ 1176906 w 1553021"/>
                    <a:gd name="connsiteY890" fmla="*/ 100252 h 1257510"/>
                    <a:gd name="connsiteX891" fmla="*/ 1176359 w 1553021"/>
                    <a:gd name="connsiteY891" fmla="*/ 96621 h 1257510"/>
                    <a:gd name="connsiteX892" fmla="*/ 1179262 w 1553021"/>
                    <a:gd name="connsiteY892" fmla="*/ 93574 h 1257510"/>
                    <a:gd name="connsiteX893" fmla="*/ 1183645 w 1553021"/>
                    <a:gd name="connsiteY893" fmla="*/ 91327 h 1257510"/>
                    <a:gd name="connsiteX894" fmla="*/ 1192570 w 1553021"/>
                    <a:gd name="connsiteY894" fmla="*/ 88595 h 1257510"/>
                    <a:gd name="connsiteX895" fmla="*/ 1209133 w 1553021"/>
                    <a:gd name="connsiteY895" fmla="*/ 86652 h 1257510"/>
                    <a:gd name="connsiteX896" fmla="*/ 1215107 w 1553021"/>
                    <a:gd name="connsiteY896" fmla="*/ 84952 h 1257510"/>
                    <a:gd name="connsiteX897" fmla="*/ 1224348 w 1553021"/>
                    <a:gd name="connsiteY897" fmla="*/ 81394 h 1257510"/>
                    <a:gd name="connsiteX898" fmla="*/ 1229958 w 1553021"/>
                    <a:gd name="connsiteY898" fmla="*/ 80022 h 1257510"/>
                    <a:gd name="connsiteX899" fmla="*/ 1233625 w 1553021"/>
                    <a:gd name="connsiteY899" fmla="*/ 78638 h 1257510"/>
                    <a:gd name="connsiteX900" fmla="*/ 1234172 w 1553021"/>
                    <a:gd name="connsiteY900" fmla="*/ 78055 h 1257510"/>
                    <a:gd name="connsiteX901" fmla="*/ 1235277 w 1553021"/>
                    <a:gd name="connsiteY901" fmla="*/ 75007 h 1257510"/>
                    <a:gd name="connsiteX902" fmla="*/ 1235459 w 1553021"/>
                    <a:gd name="connsiteY902" fmla="*/ 73222 h 1257510"/>
                    <a:gd name="connsiteX903" fmla="*/ 1235435 w 1553021"/>
                    <a:gd name="connsiteY903" fmla="*/ 71328 h 1257510"/>
                    <a:gd name="connsiteX904" fmla="*/ 1235848 w 1553021"/>
                    <a:gd name="connsiteY904" fmla="*/ 69882 h 1257510"/>
                    <a:gd name="connsiteX905" fmla="*/ 1236661 w 1553021"/>
                    <a:gd name="connsiteY905" fmla="*/ 68680 h 1257510"/>
                    <a:gd name="connsiteX906" fmla="*/ 1238968 w 1553021"/>
                    <a:gd name="connsiteY906" fmla="*/ 67017 h 1257510"/>
                    <a:gd name="connsiteX907" fmla="*/ 1243279 w 1553021"/>
                    <a:gd name="connsiteY907" fmla="*/ 66653 h 1257510"/>
                    <a:gd name="connsiteX908" fmla="*/ 1250856 w 1553021"/>
                    <a:gd name="connsiteY908" fmla="*/ 70210 h 1257510"/>
                    <a:gd name="connsiteX909" fmla="*/ 1252933 w 1553021"/>
                    <a:gd name="connsiteY909" fmla="*/ 70781 h 1257510"/>
                    <a:gd name="connsiteX910" fmla="*/ 1256952 w 1553021"/>
                    <a:gd name="connsiteY910" fmla="*/ 71461 h 1257510"/>
                    <a:gd name="connsiteX911" fmla="*/ 1263363 w 1553021"/>
                    <a:gd name="connsiteY911" fmla="*/ 71218 h 1257510"/>
                    <a:gd name="connsiteX912" fmla="*/ 1266836 w 1553021"/>
                    <a:gd name="connsiteY912" fmla="*/ 71583 h 1257510"/>
                    <a:gd name="connsiteX913" fmla="*/ 1268816 w 1553021"/>
                    <a:gd name="connsiteY913" fmla="*/ 71388 h 1257510"/>
                    <a:gd name="connsiteX914" fmla="*/ 1271803 w 1553021"/>
                    <a:gd name="connsiteY914" fmla="*/ 71497 h 1257510"/>
                    <a:gd name="connsiteX915" fmla="*/ 1274826 w 1553021"/>
                    <a:gd name="connsiteY915" fmla="*/ 72093 h 1257510"/>
                    <a:gd name="connsiteX916" fmla="*/ 1283533 w 1553021"/>
                    <a:gd name="connsiteY916" fmla="*/ 75177 h 1257510"/>
                    <a:gd name="connsiteX917" fmla="*/ 1287722 w 1553021"/>
                    <a:gd name="connsiteY917" fmla="*/ 77569 h 1257510"/>
                    <a:gd name="connsiteX918" fmla="*/ 1290029 w 1553021"/>
                    <a:gd name="connsiteY918" fmla="*/ 82293 h 1257510"/>
                    <a:gd name="connsiteX919" fmla="*/ 1296914 w 1553021"/>
                    <a:gd name="connsiteY919" fmla="*/ 86518 h 1257510"/>
                    <a:gd name="connsiteX920" fmla="*/ 1297959 w 1553021"/>
                    <a:gd name="connsiteY920" fmla="*/ 92031 h 1257510"/>
                    <a:gd name="connsiteX921" fmla="*/ 1298299 w 1553021"/>
                    <a:gd name="connsiteY921" fmla="*/ 92869 h 1257510"/>
                    <a:gd name="connsiteX922" fmla="*/ 1298687 w 1553021"/>
                    <a:gd name="connsiteY922" fmla="*/ 93391 h 1257510"/>
                    <a:gd name="connsiteX923" fmla="*/ 1299501 w 1553021"/>
                    <a:gd name="connsiteY923" fmla="*/ 95225 h 1257510"/>
                    <a:gd name="connsiteX924" fmla="*/ 1300047 w 1553021"/>
                    <a:gd name="connsiteY924" fmla="*/ 97241 h 1257510"/>
                    <a:gd name="connsiteX925" fmla="*/ 1300557 w 1553021"/>
                    <a:gd name="connsiteY925" fmla="*/ 101041 h 1257510"/>
                    <a:gd name="connsiteX926" fmla="*/ 1300679 w 1553021"/>
                    <a:gd name="connsiteY926" fmla="*/ 101090 h 1257510"/>
                    <a:gd name="connsiteX927" fmla="*/ 1302099 w 1553021"/>
                    <a:gd name="connsiteY927" fmla="*/ 100957 h 1257510"/>
                    <a:gd name="connsiteX928" fmla="*/ 1305791 w 1553021"/>
                    <a:gd name="connsiteY928" fmla="*/ 99645 h 1257510"/>
                    <a:gd name="connsiteX929" fmla="*/ 1307734 w 1553021"/>
                    <a:gd name="connsiteY929" fmla="*/ 98358 h 1257510"/>
                    <a:gd name="connsiteX930" fmla="*/ 1311012 w 1553021"/>
                    <a:gd name="connsiteY930" fmla="*/ 95589 h 1257510"/>
                    <a:gd name="connsiteX931" fmla="*/ 1314522 w 1553021"/>
                    <a:gd name="connsiteY931" fmla="*/ 93282 h 1257510"/>
                    <a:gd name="connsiteX932" fmla="*/ 1316950 w 1553021"/>
                    <a:gd name="connsiteY932" fmla="*/ 92262 h 1257510"/>
                    <a:gd name="connsiteX933" fmla="*/ 1319937 w 1553021"/>
                    <a:gd name="connsiteY933" fmla="*/ 91752 h 1257510"/>
                    <a:gd name="connsiteX934" fmla="*/ 1326689 w 1553021"/>
                    <a:gd name="connsiteY934" fmla="*/ 92311 h 1257510"/>
                    <a:gd name="connsiteX935" fmla="*/ 1335930 w 1553021"/>
                    <a:gd name="connsiteY935" fmla="*/ 90368 h 1257510"/>
                    <a:gd name="connsiteX936" fmla="*/ 1341042 w 1553021"/>
                    <a:gd name="connsiteY936" fmla="*/ 90720 h 1257510"/>
                    <a:gd name="connsiteX937" fmla="*/ 1344733 w 1553021"/>
                    <a:gd name="connsiteY937" fmla="*/ 91631 h 1257510"/>
                    <a:gd name="connsiteX938" fmla="*/ 1348243 w 1553021"/>
                    <a:gd name="connsiteY938" fmla="*/ 93513 h 1257510"/>
                    <a:gd name="connsiteX939" fmla="*/ 1350756 w 1553021"/>
                    <a:gd name="connsiteY939" fmla="*/ 96269 h 1257510"/>
                    <a:gd name="connsiteX940" fmla="*/ 1352323 w 1553021"/>
                    <a:gd name="connsiteY940" fmla="*/ 99293 h 1257510"/>
                    <a:gd name="connsiteX941" fmla="*/ 1353476 w 1553021"/>
                    <a:gd name="connsiteY941" fmla="*/ 102219 h 1257510"/>
                    <a:gd name="connsiteX942" fmla="*/ 1353865 w 1553021"/>
                    <a:gd name="connsiteY942" fmla="*/ 102729 h 1257510"/>
                    <a:gd name="connsiteX943" fmla="*/ 1354496 w 1553021"/>
                    <a:gd name="connsiteY943" fmla="*/ 103081 h 1257510"/>
                    <a:gd name="connsiteX944" fmla="*/ 1356208 w 1553021"/>
                    <a:gd name="connsiteY944" fmla="*/ 103251 h 1257510"/>
                    <a:gd name="connsiteX945" fmla="*/ 1359098 w 1553021"/>
                    <a:gd name="connsiteY945" fmla="*/ 102997 h 1257510"/>
                    <a:gd name="connsiteX946" fmla="*/ 1361794 w 1553021"/>
                    <a:gd name="connsiteY946" fmla="*/ 102462 h 1257510"/>
                    <a:gd name="connsiteX947" fmla="*/ 1365012 w 1553021"/>
                    <a:gd name="connsiteY947" fmla="*/ 101430 h 1257510"/>
                    <a:gd name="connsiteX948" fmla="*/ 1367781 w 1553021"/>
                    <a:gd name="connsiteY948" fmla="*/ 98273 h 1257510"/>
                    <a:gd name="connsiteX949" fmla="*/ 1371096 w 1553021"/>
                    <a:gd name="connsiteY949" fmla="*/ 97763 h 1257510"/>
                    <a:gd name="connsiteX950" fmla="*/ 1374313 w 1553021"/>
                    <a:gd name="connsiteY950" fmla="*/ 96646 h 1257510"/>
                    <a:gd name="connsiteX951" fmla="*/ 1377774 w 1553021"/>
                    <a:gd name="connsiteY951" fmla="*/ 96597 h 1257510"/>
                    <a:gd name="connsiteX952" fmla="*/ 1379802 w 1553021"/>
                    <a:gd name="connsiteY952" fmla="*/ 96694 h 1257510"/>
                    <a:gd name="connsiteX953" fmla="*/ 1380725 w 1553021"/>
                    <a:gd name="connsiteY953" fmla="*/ 99208 h 1257510"/>
                    <a:gd name="connsiteX954" fmla="*/ 1382644 w 1553021"/>
                    <a:gd name="connsiteY954" fmla="*/ 99281 h 1257510"/>
                    <a:gd name="connsiteX955" fmla="*/ 1394532 w 1553021"/>
                    <a:gd name="connsiteY955" fmla="*/ 95310 h 1257510"/>
                    <a:gd name="connsiteX956" fmla="*/ 1395964 w 1553021"/>
                    <a:gd name="connsiteY956" fmla="*/ 91789 h 1257510"/>
                    <a:gd name="connsiteX957" fmla="*/ 1400409 w 1553021"/>
                    <a:gd name="connsiteY957" fmla="*/ 88825 h 1257510"/>
                    <a:gd name="connsiteX958" fmla="*/ 1411641 w 1553021"/>
                    <a:gd name="connsiteY958" fmla="*/ 85122 h 1257510"/>
                    <a:gd name="connsiteX959" fmla="*/ 1413134 w 1553021"/>
                    <a:gd name="connsiteY959" fmla="*/ 84272 h 1257510"/>
                    <a:gd name="connsiteX960" fmla="*/ 1414009 w 1553021"/>
                    <a:gd name="connsiteY960" fmla="*/ 83471 h 1257510"/>
                    <a:gd name="connsiteX961" fmla="*/ 1414215 w 1553021"/>
                    <a:gd name="connsiteY961" fmla="*/ 82839 h 1257510"/>
                    <a:gd name="connsiteX962" fmla="*/ 1416134 w 1553021"/>
                    <a:gd name="connsiteY962" fmla="*/ 79718 h 1257510"/>
                    <a:gd name="connsiteX963" fmla="*/ 1421889 w 1553021"/>
                    <a:gd name="connsiteY963" fmla="*/ 84964 h 1257510"/>
                    <a:gd name="connsiteX964" fmla="*/ 1429952 w 1553021"/>
                    <a:gd name="connsiteY964" fmla="*/ 90283 h 1257510"/>
                    <a:gd name="connsiteX965" fmla="*/ 1434810 w 1553021"/>
                    <a:gd name="connsiteY965" fmla="*/ 92432 h 1257510"/>
                    <a:gd name="connsiteX966" fmla="*/ 1441209 w 1553021"/>
                    <a:gd name="connsiteY966" fmla="*/ 93173 h 1257510"/>
                    <a:gd name="connsiteX967" fmla="*/ 1443589 w 1553021"/>
                    <a:gd name="connsiteY967" fmla="*/ 95128 h 1257510"/>
                    <a:gd name="connsiteX968" fmla="*/ 1444390 w 1553021"/>
                    <a:gd name="connsiteY968" fmla="*/ 97313 h 1257510"/>
                    <a:gd name="connsiteX969" fmla="*/ 1444852 w 1553021"/>
                    <a:gd name="connsiteY969" fmla="*/ 101479 h 1257510"/>
                    <a:gd name="connsiteX970" fmla="*/ 1445350 w 1553021"/>
                    <a:gd name="connsiteY970" fmla="*/ 102826 h 1257510"/>
                    <a:gd name="connsiteX971" fmla="*/ 1447365 w 1553021"/>
                    <a:gd name="connsiteY971" fmla="*/ 104830 h 1257510"/>
                    <a:gd name="connsiteX972" fmla="*/ 1456242 w 1553021"/>
                    <a:gd name="connsiteY972" fmla="*/ 110792 h 1257510"/>
                    <a:gd name="connsiteX973" fmla="*/ 1459278 w 1553021"/>
                    <a:gd name="connsiteY973" fmla="*/ 113415 h 1257510"/>
                    <a:gd name="connsiteX974" fmla="*/ 1461415 w 1553021"/>
                    <a:gd name="connsiteY974" fmla="*/ 116135 h 1257510"/>
                    <a:gd name="connsiteX975" fmla="*/ 1462447 w 1553021"/>
                    <a:gd name="connsiteY975" fmla="*/ 118673 h 1257510"/>
                    <a:gd name="connsiteX976" fmla="*/ 1463139 w 1553021"/>
                    <a:gd name="connsiteY976" fmla="*/ 122049 h 1257510"/>
                    <a:gd name="connsiteX977" fmla="*/ 1463078 w 1553021"/>
                    <a:gd name="connsiteY977" fmla="*/ 123469 h 1257510"/>
                    <a:gd name="connsiteX978" fmla="*/ 1462374 w 1553021"/>
                    <a:gd name="connsiteY978" fmla="*/ 125692 h 1257510"/>
                    <a:gd name="connsiteX979" fmla="*/ 1461439 w 1553021"/>
                    <a:gd name="connsiteY979" fmla="*/ 127088 h 1257510"/>
                    <a:gd name="connsiteX980" fmla="*/ 1458792 w 1553021"/>
                    <a:gd name="connsiteY980" fmla="*/ 129881 h 1257510"/>
                    <a:gd name="connsiteX981" fmla="*/ 1459120 w 1553021"/>
                    <a:gd name="connsiteY981" fmla="*/ 130136 h 1257510"/>
                    <a:gd name="connsiteX982" fmla="*/ 1459630 w 1553021"/>
                    <a:gd name="connsiteY982" fmla="*/ 130136 h 1257510"/>
                    <a:gd name="connsiteX983" fmla="*/ 1461900 w 1553021"/>
                    <a:gd name="connsiteY983" fmla="*/ 129674 h 1257510"/>
                    <a:gd name="connsiteX984" fmla="*/ 1466527 w 1553021"/>
                    <a:gd name="connsiteY984" fmla="*/ 128169 h 1257510"/>
                    <a:gd name="connsiteX985" fmla="*/ 1468373 w 1553021"/>
                    <a:gd name="connsiteY985" fmla="*/ 127805 h 1257510"/>
                    <a:gd name="connsiteX986" fmla="*/ 1470571 w 1553021"/>
                    <a:gd name="connsiteY986" fmla="*/ 127719 h 1257510"/>
                    <a:gd name="connsiteX987" fmla="*/ 1473133 w 1553021"/>
                    <a:gd name="connsiteY987" fmla="*/ 128108 h 1257510"/>
                    <a:gd name="connsiteX988" fmla="*/ 1477128 w 1553021"/>
                    <a:gd name="connsiteY988" fmla="*/ 129541 h 1257510"/>
                    <a:gd name="connsiteX989" fmla="*/ 1498135 w 1553021"/>
                    <a:gd name="connsiteY989" fmla="*/ 142242 h 1257510"/>
                    <a:gd name="connsiteX990" fmla="*/ 1499532 w 1553021"/>
                    <a:gd name="connsiteY990" fmla="*/ 142777 h 1257510"/>
                    <a:gd name="connsiteX991" fmla="*/ 1500224 w 1553021"/>
                    <a:gd name="connsiteY991" fmla="*/ 142692 h 1257510"/>
                    <a:gd name="connsiteX992" fmla="*/ 1504243 w 1553021"/>
                    <a:gd name="connsiteY992" fmla="*/ 139583 h 1257510"/>
                    <a:gd name="connsiteX993" fmla="*/ 1508274 w 1553021"/>
                    <a:gd name="connsiteY993" fmla="*/ 138150 h 1257510"/>
                    <a:gd name="connsiteX994" fmla="*/ 1512233 w 1553021"/>
                    <a:gd name="connsiteY994" fmla="*/ 136948 h 1257510"/>
                    <a:gd name="connsiteX995" fmla="*/ 1512075 w 1553021"/>
                    <a:gd name="connsiteY995" fmla="*/ 151434 h 1257510"/>
                    <a:gd name="connsiteX996" fmla="*/ 1509513 w 1553021"/>
                    <a:gd name="connsiteY996" fmla="*/ 156462 h 1257510"/>
                    <a:gd name="connsiteX997" fmla="*/ 1503490 w 1553021"/>
                    <a:gd name="connsiteY997" fmla="*/ 162691 h 1257510"/>
                    <a:gd name="connsiteX998" fmla="*/ 1501098 w 1553021"/>
                    <a:gd name="connsiteY998" fmla="*/ 164670 h 1257510"/>
                    <a:gd name="connsiteX999" fmla="*/ 1486029 w 1553021"/>
                    <a:gd name="connsiteY999" fmla="*/ 172114 h 1257510"/>
                    <a:gd name="connsiteX1000" fmla="*/ 1474323 w 1553021"/>
                    <a:gd name="connsiteY1000" fmla="*/ 179582 h 1257510"/>
                    <a:gd name="connsiteX1001" fmla="*/ 1472513 w 1553021"/>
                    <a:gd name="connsiteY1001" fmla="*/ 181318 h 1257510"/>
                    <a:gd name="connsiteX1002" fmla="*/ 1471481 w 1553021"/>
                    <a:gd name="connsiteY1002" fmla="*/ 182739 h 1257510"/>
                    <a:gd name="connsiteX1003" fmla="*/ 1470728 w 1553021"/>
                    <a:gd name="connsiteY1003" fmla="*/ 184524 h 1257510"/>
                    <a:gd name="connsiteX1004" fmla="*/ 1470413 w 1553021"/>
                    <a:gd name="connsiteY1004" fmla="*/ 186017 h 1257510"/>
                    <a:gd name="connsiteX1005" fmla="*/ 1468701 w 1553021"/>
                    <a:gd name="connsiteY1005" fmla="*/ 198282 h 1257510"/>
                    <a:gd name="connsiteX1006" fmla="*/ 1466539 w 1553021"/>
                    <a:gd name="connsiteY1006" fmla="*/ 205884 h 1257510"/>
                    <a:gd name="connsiteX1007" fmla="*/ 1466333 w 1553021"/>
                    <a:gd name="connsiteY1007" fmla="*/ 207596 h 1257510"/>
                    <a:gd name="connsiteX1008" fmla="*/ 1466478 w 1553021"/>
                    <a:gd name="connsiteY1008" fmla="*/ 209915 h 1257510"/>
                    <a:gd name="connsiteX1009" fmla="*/ 1467462 w 1553021"/>
                    <a:gd name="connsiteY1009" fmla="*/ 213206 h 1257510"/>
                    <a:gd name="connsiteX1010" fmla="*/ 1468980 w 1553021"/>
                    <a:gd name="connsiteY1010" fmla="*/ 216654 h 1257510"/>
                    <a:gd name="connsiteX1011" fmla="*/ 1469805 w 1553021"/>
                    <a:gd name="connsiteY1011" fmla="*/ 217820 h 1257510"/>
                    <a:gd name="connsiteX1012" fmla="*/ 1471032 w 1553021"/>
                    <a:gd name="connsiteY1012" fmla="*/ 219216 h 1257510"/>
                    <a:gd name="connsiteX1013" fmla="*/ 1472088 w 1553021"/>
                    <a:gd name="connsiteY1013" fmla="*/ 219921 h 1257510"/>
                    <a:gd name="connsiteX1014" fmla="*/ 1473363 w 1553021"/>
                    <a:gd name="connsiteY1014" fmla="*/ 220467 h 1257510"/>
                    <a:gd name="connsiteX1015" fmla="*/ 1474493 w 1553021"/>
                    <a:gd name="connsiteY1015" fmla="*/ 220564 h 1257510"/>
                    <a:gd name="connsiteX1016" fmla="*/ 1475294 w 1553021"/>
                    <a:gd name="connsiteY1016" fmla="*/ 220552 h 1257510"/>
                    <a:gd name="connsiteX1017" fmla="*/ 1478124 w 1553021"/>
                    <a:gd name="connsiteY1017" fmla="*/ 219532 h 1257510"/>
                    <a:gd name="connsiteX1018" fmla="*/ 1480030 w 1553021"/>
                    <a:gd name="connsiteY1018" fmla="*/ 219071 h 1257510"/>
                    <a:gd name="connsiteX1019" fmla="*/ 1482131 w 1553021"/>
                    <a:gd name="connsiteY1019" fmla="*/ 219095 h 1257510"/>
                    <a:gd name="connsiteX1020" fmla="*/ 1484656 w 1553021"/>
                    <a:gd name="connsiteY1020" fmla="*/ 220091 h 1257510"/>
                    <a:gd name="connsiteX1021" fmla="*/ 1486745 w 1553021"/>
                    <a:gd name="connsiteY1021" fmla="*/ 222070 h 1257510"/>
                    <a:gd name="connsiteX1022" fmla="*/ 1488020 w 1553021"/>
                    <a:gd name="connsiteY1022" fmla="*/ 224207 h 1257510"/>
                    <a:gd name="connsiteX1023" fmla="*/ 1488785 w 1553021"/>
                    <a:gd name="connsiteY1023" fmla="*/ 227328 h 1257510"/>
                    <a:gd name="connsiteX1024" fmla="*/ 1489052 w 1553021"/>
                    <a:gd name="connsiteY1024" fmla="*/ 229259 h 1257510"/>
                    <a:gd name="connsiteX1025" fmla="*/ 1489198 w 1553021"/>
                    <a:gd name="connsiteY1025" fmla="*/ 233691 h 1257510"/>
                    <a:gd name="connsiteX1026" fmla="*/ 1489259 w 1553021"/>
                    <a:gd name="connsiteY1026" fmla="*/ 252767 h 1257510"/>
                    <a:gd name="connsiteX1027" fmla="*/ 1492246 w 1553021"/>
                    <a:gd name="connsiteY1027" fmla="*/ 268529 h 1257510"/>
                    <a:gd name="connsiteX1028" fmla="*/ 1491869 w 1553021"/>
                    <a:gd name="connsiteY1028" fmla="*/ 272476 h 1257510"/>
                    <a:gd name="connsiteX1029" fmla="*/ 1490388 w 1553021"/>
                    <a:gd name="connsiteY1029" fmla="*/ 275948 h 1257510"/>
                    <a:gd name="connsiteX1030" fmla="*/ 1488481 w 1553021"/>
                    <a:gd name="connsiteY1030" fmla="*/ 277417 h 1257510"/>
                    <a:gd name="connsiteX1031" fmla="*/ 1480042 w 1553021"/>
                    <a:gd name="connsiteY1031" fmla="*/ 281473 h 1257510"/>
                    <a:gd name="connsiteX1032" fmla="*/ 1479289 w 1553021"/>
                    <a:gd name="connsiteY1032" fmla="*/ 282323 h 1257510"/>
                    <a:gd name="connsiteX1033" fmla="*/ 1478548 w 1553021"/>
                    <a:gd name="connsiteY1033" fmla="*/ 283440 h 1257510"/>
                    <a:gd name="connsiteX1034" fmla="*/ 1477613 w 1553021"/>
                    <a:gd name="connsiteY1034" fmla="*/ 285711 h 1257510"/>
                    <a:gd name="connsiteX1035" fmla="*/ 1477528 w 1553021"/>
                    <a:gd name="connsiteY1035" fmla="*/ 286780 h 1257510"/>
                    <a:gd name="connsiteX1036" fmla="*/ 1477626 w 1553021"/>
                    <a:gd name="connsiteY1036" fmla="*/ 287824 h 1257510"/>
                    <a:gd name="connsiteX1037" fmla="*/ 1478087 w 1553021"/>
                    <a:gd name="connsiteY1037" fmla="*/ 287387 h 1257510"/>
                    <a:gd name="connsiteX1038" fmla="*/ 1478828 w 1553021"/>
                    <a:gd name="connsiteY1038" fmla="*/ 287363 h 1257510"/>
                    <a:gd name="connsiteX1039" fmla="*/ 1479593 w 1553021"/>
                    <a:gd name="connsiteY1039" fmla="*/ 287120 h 1257510"/>
                    <a:gd name="connsiteX1040" fmla="*/ 1480528 w 1553021"/>
                    <a:gd name="connsiteY1040" fmla="*/ 286683 h 1257510"/>
                    <a:gd name="connsiteX1041" fmla="*/ 1482932 w 1553021"/>
                    <a:gd name="connsiteY1041" fmla="*/ 285274 h 1257510"/>
                    <a:gd name="connsiteX1042" fmla="*/ 1485968 w 1553021"/>
                    <a:gd name="connsiteY1042" fmla="*/ 283028 h 1257510"/>
                    <a:gd name="connsiteX1043" fmla="*/ 1487899 w 1553021"/>
                    <a:gd name="connsiteY1043" fmla="*/ 282190 h 1257510"/>
                    <a:gd name="connsiteX1044" fmla="*/ 1490400 w 1553021"/>
                    <a:gd name="connsiteY1044" fmla="*/ 281801 h 1257510"/>
                    <a:gd name="connsiteX1045" fmla="*/ 1491881 w 1553021"/>
                    <a:gd name="connsiteY1045" fmla="*/ 281910 h 1257510"/>
                    <a:gd name="connsiteX1046" fmla="*/ 1495330 w 1553021"/>
                    <a:gd name="connsiteY1046" fmla="*/ 282821 h 1257510"/>
                    <a:gd name="connsiteX1047" fmla="*/ 1497042 w 1553021"/>
                    <a:gd name="connsiteY1047" fmla="*/ 283550 h 1257510"/>
                    <a:gd name="connsiteX1048" fmla="*/ 1498487 w 1553021"/>
                    <a:gd name="connsiteY1048" fmla="*/ 284303 h 1257510"/>
                    <a:gd name="connsiteX1049" fmla="*/ 1501098 w 1553021"/>
                    <a:gd name="connsiteY1049" fmla="*/ 286124 h 1257510"/>
                    <a:gd name="connsiteX1050" fmla="*/ 1501572 w 1553021"/>
                    <a:gd name="connsiteY1050" fmla="*/ 287618 h 1257510"/>
                    <a:gd name="connsiteX1051" fmla="*/ 1501827 w 1553021"/>
                    <a:gd name="connsiteY1051" fmla="*/ 289257 h 1257510"/>
                    <a:gd name="connsiteX1052" fmla="*/ 1501280 w 1553021"/>
                    <a:gd name="connsiteY1052" fmla="*/ 299700 h 1257510"/>
                    <a:gd name="connsiteX1053" fmla="*/ 1501499 w 1553021"/>
                    <a:gd name="connsiteY1053" fmla="*/ 300538 h 1257510"/>
                    <a:gd name="connsiteX1054" fmla="*/ 1503575 w 1553021"/>
                    <a:gd name="connsiteY1054" fmla="*/ 303962 h 1257510"/>
                    <a:gd name="connsiteX1055" fmla="*/ 1504158 w 1553021"/>
                    <a:gd name="connsiteY1055" fmla="*/ 305103 h 1257510"/>
                    <a:gd name="connsiteX1056" fmla="*/ 1502932 w 1553021"/>
                    <a:gd name="connsiteY1056" fmla="*/ 308637 h 1257510"/>
                    <a:gd name="connsiteX1057" fmla="*/ 1501377 w 1553021"/>
                    <a:gd name="connsiteY1057" fmla="*/ 311296 h 1257510"/>
                    <a:gd name="connsiteX1058" fmla="*/ 1500369 w 1553021"/>
                    <a:gd name="connsiteY1058" fmla="*/ 314016 h 1257510"/>
                    <a:gd name="connsiteX1059" fmla="*/ 1499956 w 1553021"/>
                    <a:gd name="connsiteY1059" fmla="*/ 315546 h 1257510"/>
                    <a:gd name="connsiteX1060" fmla="*/ 1499544 w 1553021"/>
                    <a:gd name="connsiteY1060" fmla="*/ 327167 h 1257510"/>
                    <a:gd name="connsiteX1061" fmla="*/ 1499774 w 1553021"/>
                    <a:gd name="connsiteY1061" fmla="*/ 329936 h 1257510"/>
                    <a:gd name="connsiteX1062" fmla="*/ 1500369 w 1553021"/>
                    <a:gd name="connsiteY1062" fmla="*/ 332134 h 1257510"/>
                    <a:gd name="connsiteX1063" fmla="*/ 1501037 w 1553021"/>
                    <a:gd name="connsiteY1063" fmla="*/ 333652 h 1257510"/>
                    <a:gd name="connsiteX1064" fmla="*/ 1502179 w 1553021"/>
                    <a:gd name="connsiteY1064" fmla="*/ 337695 h 1257510"/>
                    <a:gd name="connsiteX1065" fmla="*/ 1502361 w 1553021"/>
                    <a:gd name="connsiteY1065" fmla="*/ 341083 h 1257510"/>
                    <a:gd name="connsiteX1066" fmla="*/ 1500709 w 1553021"/>
                    <a:gd name="connsiteY1066" fmla="*/ 344058 h 1257510"/>
                    <a:gd name="connsiteX1067" fmla="*/ 1498681 w 1553021"/>
                    <a:gd name="connsiteY1067" fmla="*/ 345090 h 1257510"/>
                    <a:gd name="connsiteX1068" fmla="*/ 1494480 w 1553021"/>
                    <a:gd name="connsiteY1068" fmla="*/ 346608 h 1257510"/>
                    <a:gd name="connsiteX1069" fmla="*/ 1493071 w 1553021"/>
                    <a:gd name="connsiteY1069" fmla="*/ 347397 h 1257510"/>
                    <a:gd name="connsiteX1070" fmla="*/ 1491481 w 1553021"/>
                    <a:gd name="connsiteY1070" fmla="*/ 348672 h 1257510"/>
                    <a:gd name="connsiteX1071" fmla="*/ 1486551 w 1553021"/>
                    <a:gd name="connsiteY1071" fmla="*/ 353384 h 1257510"/>
                    <a:gd name="connsiteX1072" fmla="*/ 1483673 w 1553021"/>
                    <a:gd name="connsiteY1072" fmla="*/ 355339 h 1257510"/>
                    <a:gd name="connsiteX1073" fmla="*/ 1480601 w 1553021"/>
                    <a:gd name="connsiteY1073" fmla="*/ 356541 h 1257510"/>
                    <a:gd name="connsiteX1074" fmla="*/ 1478148 w 1553021"/>
                    <a:gd name="connsiteY1074" fmla="*/ 357063 h 1257510"/>
                    <a:gd name="connsiteX1075" fmla="*/ 1467207 w 1553021"/>
                    <a:gd name="connsiteY1075" fmla="*/ 358192 h 1257510"/>
                    <a:gd name="connsiteX1076" fmla="*/ 1465483 w 1553021"/>
                    <a:gd name="connsiteY1076" fmla="*/ 358836 h 1257510"/>
                    <a:gd name="connsiteX1077" fmla="*/ 1465106 w 1553021"/>
                    <a:gd name="connsiteY1077" fmla="*/ 359140 h 1257510"/>
                    <a:gd name="connsiteX1078" fmla="*/ 1464353 w 1553021"/>
                    <a:gd name="connsiteY1078" fmla="*/ 360560 h 1257510"/>
                    <a:gd name="connsiteX1079" fmla="*/ 1464232 w 1553021"/>
                    <a:gd name="connsiteY1079" fmla="*/ 362212 h 1257510"/>
                    <a:gd name="connsiteX1080" fmla="*/ 1464390 w 1553021"/>
                    <a:gd name="connsiteY1080" fmla="*/ 363875 h 1257510"/>
                    <a:gd name="connsiteX1081" fmla="*/ 1464353 w 1553021"/>
                    <a:gd name="connsiteY1081" fmla="*/ 366948 h 1257510"/>
                    <a:gd name="connsiteX1082" fmla="*/ 1462423 w 1553021"/>
                    <a:gd name="connsiteY1082" fmla="*/ 373869 h 1257510"/>
                    <a:gd name="connsiteX1083" fmla="*/ 1462738 w 1553021"/>
                    <a:gd name="connsiteY1083" fmla="*/ 373990 h 1257510"/>
                    <a:gd name="connsiteX1084" fmla="*/ 1477043 w 1553021"/>
                    <a:gd name="connsiteY1084" fmla="*/ 374658 h 1257510"/>
                    <a:gd name="connsiteX1085" fmla="*/ 1478937 w 1553021"/>
                    <a:gd name="connsiteY1085" fmla="*/ 374998 h 1257510"/>
                    <a:gd name="connsiteX1086" fmla="*/ 1480576 w 1553021"/>
                    <a:gd name="connsiteY1086" fmla="*/ 375472 h 1257510"/>
                    <a:gd name="connsiteX1087" fmla="*/ 1483709 w 1553021"/>
                    <a:gd name="connsiteY1087" fmla="*/ 376796 h 1257510"/>
                    <a:gd name="connsiteX1088" fmla="*/ 1488409 w 1553021"/>
                    <a:gd name="connsiteY1088" fmla="*/ 390116 h 1257510"/>
                    <a:gd name="connsiteX1089" fmla="*/ 1489283 w 1553021"/>
                    <a:gd name="connsiteY1089" fmla="*/ 395508 h 1257510"/>
                    <a:gd name="connsiteX1090" fmla="*/ 1489004 w 1553021"/>
                    <a:gd name="connsiteY1090" fmla="*/ 398871 h 1257510"/>
                    <a:gd name="connsiteX1091" fmla="*/ 1488724 w 1553021"/>
                    <a:gd name="connsiteY1091" fmla="*/ 399988 h 1257510"/>
                    <a:gd name="connsiteX1092" fmla="*/ 1488166 w 1553021"/>
                    <a:gd name="connsiteY1092" fmla="*/ 401579 h 1257510"/>
                    <a:gd name="connsiteX1093" fmla="*/ 1486939 w 1553021"/>
                    <a:gd name="connsiteY1093" fmla="*/ 406351 h 1257510"/>
                    <a:gd name="connsiteX1094" fmla="*/ 1485846 w 1553021"/>
                    <a:gd name="connsiteY1094" fmla="*/ 416515 h 1257510"/>
                    <a:gd name="connsiteX1095" fmla="*/ 1485093 w 1553021"/>
                    <a:gd name="connsiteY1095" fmla="*/ 419794 h 1257510"/>
                    <a:gd name="connsiteX1096" fmla="*/ 1483746 w 1553021"/>
                    <a:gd name="connsiteY1096" fmla="*/ 423145 h 1257510"/>
                    <a:gd name="connsiteX1097" fmla="*/ 1482106 w 1553021"/>
                    <a:gd name="connsiteY1097" fmla="*/ 423886 h 1257510"/>
                    <a:gd name="connsiteX1098" fmla="*/ 1480540 w 1553021"/>
                    <a:gd name="connsiteY1098" fmla="*/ 424347 h 1257510"/>
                    <a:gd name="connsiteX1099" fmla="*/ 1479216 w 1553021"/>
                    <a:gd name="connsiteY1099" fmla="*/ 424396 h 1257510"/>
                    <a:gd name="connsiteX1100" fmla="*/ 1476921 w 1553021"/>
                    <a:gd name="connsiteY1100" fmla="*/ 424128 h 1257510"/>
                    <a:gd name="connsiteX1101" fmla="*/ 1474262 w 1553021"/>
                    <a:gd name="connsiteY1101" fmla="*/ 423267 h 1257510"/>
                    <a:gd name="connsiteX1102" fmla="*/ 1468178 w 1553021"/>
                    <a:gd name="connsiteY1102" fmla="*/ 420182 h 1257510"/>
                    <a:gd name="connsiteX1103" fmla="*/ 1467389 w 1553021"/>
                    <a:gd name="connsiteY1103" fmla="*/ 420983 h 1257510"/>
                    <a:gd name="connsiteX1104" fmla="*/ 1465240 w 1553021"/>
                    <a:gd name="connsiteY1104" fmla="*/ 424335 h 1257510"/>
                    <a:gd name="connsiteX1105" fmla="*/ 1464621 w 1553021"/>
                    <a:gd name="connsiteY1105" fmla="*/ 425853 h 1257510"/>
                    <a:gd name="connsiteX1106" fmla="*/ 1464548 w 1553021"/>
                    <a:gd name="connsiteY1106" fmla="*/ 426751 h 1257510"/>
                    <a:gd name="connsiteX1107" fmla="*/ 1465422 w 1553021"/>
                    <a:gd name="connsiteY1107" fmla="*/ 426096 h 1257510"/>
                    <a:gd name="connsiteX1108" fmla="*/ 1471068 w 1553021"/>
                    <a:gd name="connsiteY1108" fmla="*/ 426994 h 1257510"/>
                    <a:gd name="connsiteX1109" fmla="*/ 1473776 w 1553021"/>
                    <a:gd name="connsiteY1109" fmla="*/ 427990 h 1257510"/>
                    <a:gd name="connsiteX1110" fmla="*/ 1475683 w 1553021"/>
                    <a:gd name="connsiteY1110" fmla="*/ 430248 h 1257510"/>
                    <a:gd name="connsiteX1111" fmla="*/ 1476071 w 1553021"/>
                    <a:gd name="connsiteY1111" fmla="*/ 434013 h 1257510"/>
                    <a:gd name="connsiteX1112" fmla="*/ 1475282 w 1553021"/>
                    <a:gd name="connsiteY1112" fmla="*/ 436381 h 1257510"/>
                    <a:gd name="connsiteX1113" fmla="*/ 1474238 w 1553021"/>
                    <a:gd name="connsiteY1113" fmla="*/ 438506 h 1257510"/>
                    <a:gd name="connsiteX1114" fmla="*/ 1473230 w 1553021"/>
                    <a:gd name="connsiteY1114" fmla="*/ 439805 h 1257510"/>
                    <a:gd name="connsiteX1115" fmla="*/ 1472064 w 1553021"/>
                    <a:gd name="connsiteY1115" fmla="*/ 440983 h 1257510"/>
                    <a:gd name="connsiteX1116" fmla="*/ 1470449 w 1553021"/>
                    <a:gd name="connsiteY1116" fmla="*/ 442161 h 1257510"/>
                    <a:gd name="connsiteX1117" fmla="*/ 1467037 w 1553021"/>
                    <a:gd name="connsiteY1117" fmla="*/ 443897 h 1257510"/>
                    <a:gd name="connsiteX1118" fmla="*/ 1463091 w 1553021"/>
                    <a:gd name="connsiteY1118" fmla="*/ 445245 h 1257510"/>
                    <a:gd name="connsiteX1119" fmla="*/ 1461803 w 1553021"/>
                    <a:gd name="connsiteY1119" fmla="*/ 445889 h 1257510"/>
                    <a:gd name="connsiteX1120" fmla="*/ 1462265 w 1553021"/>
                    <a:gd name="connsiteY1120" fmla="*/ 446216 h 1257510"/>
                    <a:gd name="connsiteX1121" fmla="*/ 1463928 w 1553021"/>
                    <a:gd name="connsiteY1121" fmla="*/ 446812 h 1257510"/>
                    <a:gd name="connsiteX1122" fmla="*/ 1468506 w 1553021"/>
                    <a:gd name="connsiteY1122" fmla="*/ 447844 h 1257510"/>
                    <a:gd name="connsiteX1123" fmla="*/ 1470364 w 1553021"/>
                    <a:gd name="connsiteY1123" fmla="*/ 448002 h 1257510"/>
                    <a:gd name="connsiteX1124" fmla="*/ 1470133 w 1553021"/>
                    <a:gd name="connsiteY1124" fmla="*/ 446338 h 1257510"/>
                    <a:gd name="connsiteX1125" fmla="*/ 1470388 w 1553021"/>
                    <a:gd name="connsiteY1125" fmla="*/ 444772 h 1257510"/>
                    <a:gd name="connsiteX1126" fmla="*/ 1470789 w 1553021"/>
                    <a:gd name="connsiteY1126" fmla="*/ 443594 h 1257510"/>
                    <a:gd name="connsiteX1127" fmla="*/ 1471991 w 1553021"/>
                    <a:gd name="connsiteY1127" fmla="*/ 441614 h 1257510"/>
                    <a:gd name="connsiteX1128" fmla="*/ 1473788 w 1553021"/>
                    <a:gd name="connsiteY1128" fmla="*/ 439951 h 1257510"/>
                    <a:gd name="connsiteX1129" fmla="*/ 1475962 w 1553021"/>
                    <a:gd name="connsiteY1129" fmla="*/ 438797 h 1257510"/>
                    <a:gd name="connsiteX1130" fmla="*/ 1478524 w 1553021"/>
                    <a:gd name="connsiteY1130" fmla="*/ 438239 h 1257510"/>
                    <a:gd name="connsiteX1131" fmla="*/ 1481184 w 1553021"/>
                    <a:gd name="connsiteY1131" fmla="*/ 438384 h 1257510"/>
                    <a:gd name="connsiteX1132" fmla="*/ 1484681 w 1553021"/>
                    <a:gd name="connsiteY1132" fmla="*/ 439890 h 1257510"/>
                    <a:gd name="connsiteX1133" fmla="*/ 1486393 w 1553021"/>
                    <a:gd name="connsiteY1133" fmla="*/ 442209 h 1257510"/>
                    <a:gd name="connsiteX1134" fmla="*/ 1487510 w 1553021"/>
                    <a:gd name="connsiteY1134" fmla="*/ 444784 h 1257510"/>
                    <a:gd name="connsiteX1135" fmla="*/ 1489416 w 1553021"/>
                    <a:gd name="connsiteY1135" fmla="*/ 452422 h 1257510"/>
                    <a:gd name="connsiteX1136" fmla="*/ 1490606 w 1553021"/>
                    <a:gd name="connsiteY1136" fmla="*/ 454899 h 1257510"/>
                    <a:gd name="connsiteX1137" fmla="*/ 1491942 w 1553021"/>
                    <a:gd name="connsiteY1137" fmla="*/ 456416 h 1257510"/>
                    <a:gd name="connsiteX1138" fmla="*/ 1493836 w 1553021"/>
                    <a:gd name="connsiteY1138" fmla="*/ 457886 h 1257510"/>
                    <a:gd name="connsiteX1139" fmla="*/ 1495500 w 1553021"/>
                    <a:gd name="connsiteY1139" fmla="*/ 458445 h 1257510"/>
                    <a:gd name="connsiteX1140" fmla="*/ 1502252 w 1553021"/>
                    <a:gd name="connsiteY1140" fmla="*/ 459938 h 1257510"/>
                    <a:gd name="connsiteX1141" fmla="*/ 1504704 w 1553021"/>
                    <a:gd name="connsiteY1141" fmla="*/ 460776 h 1257510"/>
                    <a:gd name="connsiteX1142" fmla="*/ 1506975 w 1553021"/>
                    <a:gd name="connsiteY1142" fmla="*/ 462075 h 1257510"/>
                    <a:gd name="connsiteX1143" fmla="*/ 1508991 w 1553021"/>
                    <a:gd name="connsiteY1143" fmla="*/ 463739 h 1257510"/>
                    <a:gd name="connsiteX1144" fmla="*/ 1511092 w 1553021"/>
                    <a:gd name="connsiteY1144" fmla="*/ 466860 h 1257510"/>
                    <a:gd name="connsiteX1145" fmla="*/ 1513289 w 1553021"/>
                    <a:gd name="connsiteY1145" fmla="*/ 478565 h 1257510"/>
                    <a:gd name="connsiteX1146" fmla="*/ 1514297 w 1553021"/>
                    <a:gd name="connsiteY1146" fmla="*/ 480678 h 1257510"/>
                    <a:gd name="connsiteX1147" fmla="*/ 1515572 w 1553021"/>
                    <a:gd name="connsiteY1147" fmla="*/ 481795 h 1257510"/>
                    <a:gd name="connsiteX1148" fmla="*/ 1525335 w 1553021"/>
                    <a:gd name="connsiteY1148" fmla="*/ 484345 h 1257510"/>
                    <a:gd name="connsiteX1149" fmla="*/ 1528711 w 1553021"/>
                    <a:gd name="connsiteY1149" fmla="*/ 485875 h 1257510"/>
                    <a:gd name="connsiteX1150" fmla="*/ 1534880 w 1553021"/>
                    <a:gd name="connsiteY1150" fmla="*/ 490453 h 1257510"/>
                    <a:gd name="connsiteX1151" fmla="*/ 1536155 w 1553021"/>
                    <a:gd name="connsiteY1151" fmla="*/ 490356 h 1257510"/>
                    <a:gd name="connsiteX1152" fmla="*/ 1538170 w 1553021"/>
                    <a:gd name="connsiteY1152" fmla="*/ 490684 h 1257510"/>
                    <a:gd name="connsiteX1153" fmla="*/ 1540502 w 1553021"/>
                    <a:gd name="connsiteY1153" fmla="*/ 491801 h 1257510"/>
                    <a:gd name="connsiteX1154" fmla="*/ 1544303 w 1553021"/>
                    <a:gd name="connsiteY1154" fmla="*/ 495565 h 1257510"/>
                    <a:gd name="connsiteX1155" fmla="*/ 1548528 w 1553021"/>
                    <a:gd name="connsiteY1155" fmla="*/ 499196 h 1257510"/>
                    <a:gd name="connsiteX1156" fmla="*/ 1552341 w 1553021"/>
                    <a:gd name="connsiteY1156" fmla="*/ 504721 h 1257510"/>
                    <a:gd name="connsiteX1157" fmla="*/ 1553021 w 1553021"/>
                    <a:gd name="connsiteY1157" fmla="*/ 508449 h 1257510"/>
                    <a:gd name="connsiteX1158" fmla="*/ 1552778 w 1553021"/>
                    <a:gd name="connsiteY1158" fmla="*/ 512444 h 1257510"/>
                    <a:gd name="connsiteX1159" fmla="*/ 1551285 w 1553021"/>
                    <a:gd name="connsiteY1159" fmla="*/ 516075 h 1257510"/>
                    <a:gd name="connsiteX1160" fmla="*/ 1549524 w 1553021"/>
                    <a:gd name="connsiteY1160" fmla="*/ 518661 h 1257510"/>
                    <a:gd name="connsiteX1161" fmla="*/ 1546695 w 1553021"/>
                    <a:gd name="connsiteY1161" fmla="*/ 520993 h 1257510"/>
                    <a:gd name="connsiteX1162" fmla="*/ 1542930 w 1553021"/>
                    <a:gd name="connsiteY1162" fmla="*/ 522401 h 1257510"/>
                    <a:gd name="connsiteX1163" fmla="*/ 1536944 w 1553021"/>
                    <a:gd name="connsiteY1163" fmla="*/ 523154 h 1257510"/>
                    <a:gd name="connsiteX1164" fmla="*/ 1535560 w 1553021"/>
                    <a:gd name="connsiteY1164" fmla="*/ 523531 h 1257510"/>
                    <a:gd name="connsiteX1165" fmla="*/ 1535742 w 1553021"/>
                    <a:gd name="connsiteY1165" fmla="*/ 524077 h 1257510"/>
                    <a:gd name="connsiteX1166" fmla="*/ 1538632 w 1553021"/>
                    <a:gd name="connsiteY1166" fmla="*/ 527695 h 1257510"/>
                    <a:gd name="connsiteX1167" fmla="*/ 1540975 w 1553021"/>
                    <a:gd name="connsiteY1167" fmla="*/ 532407 h 1257510"/>
                    <a:gd name="connsiteX1168" fmla="*/ 1540538 w 1553021"/>
                    <a:gd name="connsiteY1168" fmla="*/ 536475 h 1257510"/>
                    <a:gd name="connsiteX1169" fmla="*/ 1537879 w 1553021"/>
                    <a:gd name="connsiteY1169" fmla="*/ 539304 h 1257510"/>
                    <a:gd name="connsiteX1170" fmla="*/ 1529998 w 1553021"/>
                    <a:gd name="connsiteY1170" fmla="*/ 542364 h 1257510"/>
                    <a:gd name="connsiteX1171" fmla="*/ 1526076 w 1553021"/>
                    <a:gd name="connsiteY1171" fmla="*/ 544696 h 1257510"/>
                    <a:gd name="connsiteX1172" fmla="*/ 1524582 w 1553021"/>
                    <a:gd name="connsiteY1172" fmla="*/ 545922 h 1257510"/>
                    <a:gd name="connsiteX1173" fmla="*/ 1522093 w 1553021"/>
                    <a:gd name="connsiteY1173" fmla="*/ 548205 h 1257510"/>
                    <a:gd name="connsiteX1174" fmla="*/ 1519774 w 1553021"/>
                    <a:gd name="connsiteY1174" fmla="*/ 550986 h 1257510"/>
                    <a:gd name="connsiteX1175" fmla="*/ 1517588 w 1553021"/>
                    <a:gd name="connsiteY1175" fmla="*/ 552552 h 1257510"/>
                    <a:gd name="connsiteX1176" fmla="*/ 1514661 w 1553021"/>
                    <a:gd name="connsiteY1176" fmla="*/ 551812 h 1257510"/>
                    <a:gd name="connsiteX1177" fmla="*/ 1513350 w 1553021"/>
                    <a:gd name="connsiteY1177" fmla="*/ 550111 h 1257510"/>
                    <a:gd name="connsiteX1178" fmla="*/ 1512197 w 1553021"/>
                    <a:gd name="connsiteY1178" fmla="*/ 546979 h 1257510"/>
                    <a:gd name="connsiteX1179" fmla="*/ 1508614 w 1553021"/>
                    <a:gd name="connsiteY1179" fmla="*/ 541187 h 1257510"/>
                    <a:gd name="connsiteX1180" fmla="*/ 1508019 w 1553021"/>
                    <a:gd name="connsiteY1180" fmla="*/ 540591 h 1257510"/>
                    <a:gd name="connsiteX1181" fmla="*/ 1504158 w 1553021"/>
                    <a:gd name="connsiteY1181" fmla="*/ 540458 h 1257510"/>
                    <a:gd name="connsiteX1182" fmla="*/ 1500928 w 1553021"/>
                    <a:gd name="connsiteY1182" fmla="*/ 541599 h 1257510"/>
                    <a:gd name="connsiteX1183" fmla="*/ 1495913 w 1553021"/>
                    <a:gd name="connsiteY1183" fmla="*/ 541041 h 1257510"/>
                    <a:gd name="connsiteX1184" fmla="*/ 1491906 w 1553021"/>
                    <a:gd name="connsiteY1184" fmla="*/ 535431 h 1257510"/>
                    <a:gd name="connsiteX1185" fmla="*/ 1489259 w 1553021"/>
                    <a:gd name="connsiteY1185" fmla="*/ 527526 h 1257510"/>
                    <a:gd name="connsiteX1186" fmla="*/ 1488943 w 1553021"/>
                    <a:gd name="connsiteY1186" fmla="*/ 527210 h 1257510"/>
                    <a:gd name="connsiteX1187" fmla="*/ 1486964 w 1553021"/>
                    <a:gd name="connsiteY1187" fmla="*/ 527684 h 1257510"/>
                    <a:gd name="connsiteX1188" fmla="*/ 1485482 w 1553021"/>
                    <a:gd name="connsiteY1188" fmla="*/ 528874 h 1257510"/>
                    <a:gd name="connsiteX1189" fmla="*/ 1483066 w 1553021"/>
                    <a:gd name="connsiteY1189" fmla="*/ 532723 h 1257510"/>
                    <a:gd name="connsiteX1190" fmla="*/ 1481013 w 1553021"/>
                    <a:gd name="connsiteY1190" fmla="*/ 535030 h 1257510"/>
                    <a:gd name="connsiteX1191" fmla="*/ 1478658 w 1553021"/>
                    <a:gd name="connsiteY1191" fmla="*/ 536560 h 1257510"/>
                    <a:gd name="connsiteX1192" fmla="*/ 1474614 w 1553021"/>
                    <a:gd name="connsiteY1192" fmla="*/ 537981 h 1257510"/>
                    <a:gd name="connsiteX1193" fmla="*/ 1473679 w 1553021"/>
                    <a:gd name="connsiteY1193" fmla="*/ 538734 h 1257510"/>
                    <a:gd name="connsiteX1194" fmla="*/ 1472562 w 1553021"/>
                    <a:gd name="connsiteY1194" fmla="*/ 540507 h 1257510"/>
                    <a:gd name="connsiteX1195" fmla="*/ 1470158 w 1553021"/>
                    <a:gd name="connsiteY1195" fmla="*/ 545947 h 1257510"/>
                    <a:gd name="connsiteX1196" fmla="*/ 1468178 w 1553021"/>
                    <a:gd name="connsiteY1196" fmla="*/ 548922 h 1257510"/>
                    <a:gd name="connsiteX1197" fmla="*/ 1465507 w 1553021"/>
                    <a:gd name="connsiteY1197" fmla="*/ 551022 h 1257510"/>
                    <a:gd name="connsiteX1198" fmla="*/ 1460553 w 1553021"/>
                    <a:gd name="connsiteY1198" fmla="*/ 553123 h 1257510"/>
                    <a:gd name="connsiteX1199" fmla="*/ 1460225 w 1553021"/>
                    <a:gd name="connsiteY1199" fmla="*/ 553378 h 1257510"/>
                    <a:gd name="connsiteX1200" fmla="*/ 1458986 w 1553021"/>
                    <a:gd name="connsiteY1200" fmla="*/ 555928 h 1257510"/>
                    <a:gd name="connsiteX1201" fmla="*/ 1454688 w 1553021"/>
                    <a:gd name="connsiteY1201" fmla="*/ 571519 h 1257510"/>
                    <a:gd name="connsiteX1202" fmla="*/ 1454299 w 1553021"/>
                    <a:gd name="connsiteY1202" fmla="*/ 573960 h 1257510"/>
                    <a:gd name="connsiteX1203" fmla="*/ 1453546 w 1553021"/>
                    <a:gd name="connsiteY1203" fmla="*/ 577870 h 1257510"/>
                    <a:gd name="connsiteX1204" fmla="*/ 1449369 w 1553021"/>
                    <a:gd name="connsiteY1204" fmla="*/ 585739 h 1257510"/>
                    <a:gd name="connsiteX1205" fmla="*/ 1438562 w 1553021"/>
                    <a:gd name="connsiteY1205" fmla="*/ 598343 h 1257510"/>
                    <a:gd name="connsiteX1206" fmla="*/ 1435781 w 1553021"/>
                    <a:gd name="connsiteY1206" fmla="*/ 604742 h 1257510"/>
                    <a:gd name="connsiteX1207" fmla="*/ 1435732 w 1553021"/>
                    <a:gd name="connsiteY1207" fmla="*/ 609782 h 1257510"/>
                    <a:gd name="connsiteX1208" fmla="*/ 1437809 w 1553021"/>
                    <a:gd name="connsiteY1208" fmla="*/ 614360 h 1257510"/>
                    <a:gd name="connsiteX1209" fmla="*/ 1449077 w 1553021"/>
                    <a:gd name="connsiteY1209" fmla="*/ 627693 h 1257510"/>
                    <a:gd name="connsiteX1210" fmla="*/ 1450535 w 1553021"/>
                    <a:gd name="connsiteY1210" fmla="*/ 633412 h 1257510"/>
                    <a:gd name="connsiteX1211" fmla="*/ 1447572 w 1553021"/>
                    <a:gd name="connsiteY1211" fmla="*/ 638597 h 1257510"/>
                    <a:gd name="connsiteX1212" fmla="*/ 1434882 w 1553021"/>
                    <a:gd name="connsiteY1212" fmla="*/ 646077 h 1257510"/>
                    <a:gd name="connsiteX1213" fmla="*/ 1433814 w 1553021"/>
                    <a:gd name="connsiteY1213" fmla="*/ 647291 h 1257510"/>
                    <a:gd name="connsiteX1214" fmla="*/ 1433692 w 1553021"/>
                    <a:gd name="connsiteY1214" fmla="*/ 647777 h 1257510"/>
                    <a:gd name="connsiteX1215" fmla="*/ 1433838 w 1553021"/>
                    <a:gd name="connsiteY1215" fmla="*/ 649526 h 1257510"/>
                    <a:gd name="connsiteX1216" fmla="*/ 1436242 w 1553021"/>
                    <a:gd name="connsiteY1216" fmla="*/ 657831 h 1257510"/>
                    <a:gd name="connsiteX1217" fmla="*/ 1433122 w 1553021"/>
                    <a:gd name="connsiteY1217" fmla="*/ 658560 h 1257510"/>
                    <a:gd name="connsiteX1218" fmla="*/ 1430122 w 1553021"/>
                    <a:gd name="connsiteY1218" fmla="*/ 660746 h 1257510"/>
                    <a:gd name="connsiteX1219" fmla="*/ 1427475 w 1553021"/>
                    <a:gd name="connsiteY1219" fmla="*/ 661790 h 1257510"/>
                    <a:gd name="connsiteX1220" fmla="*/ 1413292 w 1553021"/>
                    <a:gd name="connsiteY1220" fmla="*/ 663369 h 1257510"/>
                    <a:gd name="connsiteX1221" fmla="*/ 1397106 w 1553021"/>
                    <a:gd name="connsiteY1221" fmla="*/ 661863 h 1257510"/>
                    <a:gd name="connsiteX1222" fmla="*/ 1394677 w 1553021"/>
                    <a:gd name="connsiteY1222" fmla="*/ 660260 h 1257510"/>
                    <a:gd name="connsiteX1223" fmla="*/ 1391022 w 1553021"/>
                    <a:gd name="connsiteY1223" fmla="*/ 653897 h 1257510"/>
                    <a:gd name="connsiteX1224" fmla="*/ 1386736 w 1553021"/>
                    <a:gd name="connsiteY1224" fmla="*/ 650716 h 1257510"/>
                    <a:gd name="connsiteX1225" fmla="*/ 1379911 w 1553021"/>
                    <a:gd name="connsiteY1225" fmla="*/ 644438 h 1257510"/>
                    <a:gd name="connsiteX1226" fmla="*/ 1374216 w 1553021"/>
                    <a:gd name="connsiteY1226" fmla="*/ 642543 h 1257510"/>
                    <a:gd name="connsiteX1227" fmla="*/ 1363943 w 1553021"/>
                    <a:gd name="connsiteY1227" fmla="*/ 636545 h 1257510"/>
                    <a:gd name="connsiteX1228" fmla="*/ 1361260 w 1553021"/>
                    <a:gd name="connsiteY1228" fmla="*/ 633655 h 1257510"/>
                    <a:gd name="connsiteX1229" fmla="*/ 1369748 w 1553021"/>
                    <a:gd name="connsiteY1229" fmla="*/ 625993 h 1257510"/>
                    <a:gd name="connsiteX1230" fmla="*/ 1370889 w 1553021"/>
                    <a:gd name="connsiteY1230" fmla="*/ 624608 h 1257510"/>
                    <a:gd name="connsiteX1231" fmla="*/ 1371424 w 1553021"/>
                    <a:gd name="connsiteY1231" fmla="*/ 621815 h 1257510"/>
                    <a:gd name="connsiteX1232" fmla="*/ 1371496 w 1553021"/>
                    <a:gd name="connsiteY1232" fmla="*/ 612648 h 1257510"/>
                    <a:gd name="connsiteX1233" fmla="*/ 1369724 w 1553021"/>
                    <a:gd name="connsiteY1233" fmla="*/ 607159 h 1257510"/>
                    <a:gd name="connsiteX1234" fmla="*/ 1367222 w 1553021"/>
                    <a:gd name="connsiteY1234" fmla="*/ 593243 h 1257510"/>
                    <a:gd name="connsiteX1235" fmla="*/ 1358770 w 1553021"/>
                    <a:gd name="connsiteY1235" fmla="*/ 595150 h 1257510"/>
                    <a:gd name="connsiteX1236" fmla="*/ 1352893 w 1553021"/>
                    <a:gd name="connsiteY1236" fmla="*/ 592855 h 1257510"/>
                    <a:gd name="connsiteX1237" fmla="*/ 1352165 w 1553021"/>
                    <a:gd name="connsiteY1237" fmla="*/ 583990 h 1257510"/>
                    <a:gd name="connsiteX1238" fmla="*/ 1354375 w 1553021"/>
                    <a:gd name="connsiteY1238" fmla="*/ 577688 h 1257510"/>
                    <a:gd name="connsiteX1239" fmla="*/ 1358770 w 1553021"/>
                    <a:gd name="connsiteY1239" fmla="*/ 571592 h 1257510"/>
                    <a:gd name="connsiteX1240" fmla="*/ 1364004 w 1553021"/>
                    <a:gd name="connsiteY1240" fmla="*/ 567014 h 1257510"/>
                    <a:gd name="connsiteX1241" fmla="*/ 1366821 w 1553021"/>
                    <a:gd name="connsiteY1241" fmla="*/ 565691 h 1257510"/>
                    <a:gd name="connsiteX1242" fmla="*/ 1366178 w 1553021"/>
                    <a:gd name="connsiteY1242" fmla="*/ 563955 h 1257510"/>
                    <a:gd name="connsiteX1243" fmla="*/ 1365158 w 1553021"/>
                    <a:gd name="connsiteY1243" fmla="*/ 559631 h 1257510"/>
                    <a:gd name="connsiteX1244" fmla="*/ 1364842 w 1553021"/>
                    <a:gd name="connsiteY1244" fmla="*/ 555442 h 1257510"/>
                    <a:gd name="connsiteX1245" fmla="*/ 1365194 w 1553021"/>
                    <a:gd name="connsiteY1245" fmla="*/ 551374 h 1257510"/>
                    <a:gd name="connsiteX1246" fmla="*/ 1364708 w 1553021"/>
                    <a:gd name="connsiteY1246" fmla="*/ 549662 h 1257510"/>
                    <a:gd name="connsiteX1247" fmla="*/ 1364781 w 1553021"/>
                    <a:gd name="connsiteY1247" fmla="*/ 548581 h 1257510"/>
                    <a:gd name="connsiteX1248" fmla="*/ 1365304 w 1553021"/>
                    <a:gd name="connsiteY1248" fmla="*/ 546299 h 1257510"/>
                    <a:gd name="connsiteX1249" fmla="*/ 1366202 w 1553021"/>
                    <a:gd name="connsiteY1249" fmla="*/ 545036 h 1257510"/>
                    <a:gd name="connsiteX1250" fmla="*/ 1369141 w 1553021"/>
                    <a:gd name="connsiteY1250" fmla="*/ 542571 h 1257510"/>
                    <a:gd name="connsiteX1251" fmla="*/ 1369493 w 1553021"/>
                    <a:gd name="connsiteY1251" fmla="*/ 541187 h 1257510"/>
                    <a:gd name="connsiteX1252" fmla="*/ 1370003 w 1553021"/>
                    <a:gd name="connsiteY1252" fmla="*/ 538564 h 1257510"/>
                    <a:gd name="connsiteX1253" fmla="*/ 1369808 w 1553021"/>
                    <a:gd name="connsiteY1253" fmla="*/ 535394 h 1257510"/>
                    <a:gd name="connsiteX1254" fmla="*/ 1370185 w 1553021"/>
                    <a:gd name="connsiteY1254" fmla="*/ 531472 h 1257510"/>
                    <a:gd name="connsiteX1255" fmla="*/ 1370877 w 1553021"/>
                    <a:gd name="connsiteY1255" fmla="*/ 528448 h 1257510"/>
                    <a:gd name="connsiteX1256" fmla="*/ 1371618 w 1553021"/>
                    <a:gd name="connsiteY1256" fmla="*/ 521624 h 1257510"/>
                    <a:gd name="connsiteX1257" fmla="*/ 1371606 w 1553021"/>
                    <a:gd name="connsiteY1257" fmla="*/ 519390 h 1257510"/>
                    <a:gd name="connsiteX1258" fmla="*/ 1371351 w 1553021"/>
                    <a:gd name="connsiteY1258" fmla="*/ 517678 h 1257510"/>
                    <a:gd name="connsiteX1259" fmla="*/ 1370270 w 1553021"/>
                    <a:gd name="connsiteY1259" fmla="*/ 514411 h 1257510"/>
                    <a:gd name="connsiteX1260" fmla="*/ 1369796 w 1553021"/>
                    <a:gd name="connsiteY1260" fmla="*/ 513488 h 1257510"/>
                    <a:gd name="connsiteX1261" fmla="*/ 1368278 w 1553021"/>
                    <a:gd name="connsiteY1261" fmla="*/ 511800 h 1257510"/>
                    <a:gd name="connsiteX1262" fmla="*/ 1365680 w 1553021"/>
                    <a:gd name="connsiteY1262" fmla="*/ 507891 h 1257510"/>
                    <a:gd name="connsiteX1263" fmla="*/ 1363142 w 1553021"/>
                    <a:gd name="connsiteY1263" fmla="*/ 507065 h 1257510"/>
                    <a:gd name="connsiteX1264" fmla="*/ 1359924 w 1553021"/>
                    <a:gd name="connsiteY1264" fmla="*/ 505680 h 1257510"/>
                    <a:gd name="connsiteX1265" fmla="*/ 1356548 w 1553021"/>
                    <a:gd name="connsiteY1265" fmla="*/ 504830 h 1257510"/>
                    <a:gd name="connsiteX1266" fmla="*/ 1355516 w 1553021"/>
                    <a:gd name="connsiteY1266" fmla="*/ 504418 h 1257510"/>
                    <a:gd name="connsiteX1267" fmla="*/ 1353549 w 1553021"/>
                    <a:gd name="connsiteY1267" fmla="*/ 503118 h 1257510"/>
                    <a:gd name="connsiteX1268" fmla="*/ 1351545 w 1553021"/>
                    <a:gd name="connsiteY1268" fmla="*/ 500568 h 1257510"/>
                    <a:gd name="connsiteX1269" fmla="*/ 1348801 w 1553021"/>
                    <a:gd name="connsiteY1269" fmla="*/ 495104 h 1257510"/>
                    <a:gd name="connsiteX1270" fmla="*/ 1347866 w 1553021"/>
                    <a:gd name="connsiteY1270" fmla="*/ 494011 h 1257510"/>
                    <a:gd name="connsiteX1271" fmla="*/ 1343920 w 1553021"/>
                    <a:gd name="connsiteY1271" fmla="*/ 490733 h 1257510"/>
                    <a:gd name="connsiteX1272" fmla="*/ 1342220 w 1553021"/>
                    <a:gd name="connsiteY1272" fmla="*/ 488838 h 1257510"/>
                    <a:gd name="connsiteX1273" fmla="*/ 1341127 w 1553021"/>
                    <a:gd name="connsiteY1273" fmla="*/ 487345 h 1257510"/>
                    <a:gd name="connsiteX1274" fmla="*/ 1331680 w 1553021"/>
                    <a:gd name="connsiteY1274" fmla="*/ 485827 h 1257510"/>
                    <a:gd name="connsiteX1275" fmla="*/ 1329931 w 1553021"/>
                    <a:gd name="connsiteY1275" fmla="*/ 486288 h 1257510"/>
                    <a:gd name="connsiteX1276" fmla="*/ 1329215 w 1553021"/>
                    <a:gd name="connsiteY1276" fmla="*/ 486919 h 1257510"/>
                    <a:gd name="connsiteX1277" fmla="*/ 1328073 w 1553021"/>
                    <a:gd name="connsiteY1277" fmla="*/ 487636 h 1257510"/>
                    <a:gd name="connsiteX1278" fmla="*/ 1313805 w 1553021"/>
                    <a:gd name="connsiteY1278" fmla="*/ 492165 h 1257510"/>
                    <a:gd name="connsiteX1279" fmla="*/ 1310976 w 1553021"/>
                    <a:gd name="connsiteY1279" fmla="*/ 493428 h 1257510"/>
                    <a:gd name="connsiteX1280" fmla="*/ 1310429 w 1553021"/>
                    <a:gd name="connsiteY1280" fmla="*/ 493987 h 1257510"/>
                    <a:gd name="connsiteX1281" fmla="*/ 1310490 w 1553021"/>
                    <a:gd name="connsiteY1281" fmla="*/ 496683 h 1257510"/>
                    <a:gd name="connsiteX1282" fmla="*/ 1309944 w 1553021"/>
                    <a:gd name="connsiteY1282" fmla="*/ 498868 h 1257510"/>
                    <a:gd name="connsiteX1283" fmla="*/ 1308839 w 1553021"/>
                    <a:gd name="connsiteY1283" fmla="*/ 500787 h 1257510"/>
                    <a:gd name="connsiteX1284" fmla="*/ 1306192 w 1553021"/>
                    <a:gd name="connsiteY1284" fmla="*/ 503179 h 1257510"/>
                    <a:gd name="connsiteX1285" fmla="*/ 1303338 w 1553021"/>
                    <a:gd name="connsiteY1285" fmla="*/ 504296 h 1257510"/>
                    <a:gd name="connsiteX1286" fmla="*/ 1301735 w 1553021"/>
                    <a:gd name="connsiteY1286" fmla="*/ 504333 h 1257510"/>
                    <a:gd name="connsiteX1287" fmla="*/ 1299452 w 1553021"/>
                    <a:gd name="connsiteY1287" fmla="*/ 503701 h 1257510"/>
                    <a:gd name="connsiteX1288" fmla="*/ 1297364 w 1553021"/>
                    <a:gd name="connsiteY1288" fmla="*/ 502645 h 1257510"/>
                    <a:gd name="connsiteX1289" fmla="*/ 1296356 w 1553021"/>
                    <a:gd name="connsiteY1289" fmla="*/ 501746 h 1257510"/>
                    <a:gd name="connsiteX1290" fmla="*/ 1294316 w 1553021"/>
                    <a:gd name="connsiteY1290" fmla="*/ 499269 h 1257510"/>
                    <a:gd name="connsiteX1291" fmla="*/ 1293539 w 1553021"/>
                    <a:gd name="connsiteY1291" fmla="*/ 499087 h 1257510"/>
                    <a:gd name="connsiteX1292" fmla="*/ 1289459 w 1553021"/>
                    <a:gd name="connsiteY1292" fmla="*/ 499135 h 1257510"/>
                    <a:gd name="connsiteX1293" fmla="*/ 1287504 w 1553021"/>
                    <a:gd name="connsiteY1293" fmla="*/ 498856 h 1257510"/>
                    <a:gd name="connsiteX1294" fmla="*/ 1286471 w 1553021"/>
                    <a:gd name="connsiteY1294" fmla="*/ 498455 h 1257510"/>
                    <a:gd name="connsiteX1295" fmla="*/ 1272495 w 1553021"/>
                    <a:gd name="connsiteY1295" fmla="*/ 498832 h 1257510"/>
                    <a:gd name="connsiteX1296" fmla="*/ 1269131 w 1553021"/>
                    <a:gd name="connsiteY1296" fmla="*/ 498528 h 1257510"/>
                    <a:gd name="connsiteX1297" fmla="*/ 1266970 w 1553021"/>
                    <a:gd name="connsiteY1297" fmla="*/ 497848 h 1257510"/>
                    <a:gd name="connsiteX1298" fmla="*/ 1265258 w 1553021"/>
                    <a:gd name="connsiteY1298" fmla="*/ 496998 h 1257510"/>
                    <a:gd name="connsiteX1299" fmla="*/ 1263473 w 1553021"/>
                    <a:gd name="connsiteY1299" fmla="*/ 495383 h 1257510"/>
                    <a:gd name="connsiteX1300" fmla="*/ 1260716 w 1553021"/>
                    <a:gd name="connsiteY1300" fmla="*/ 491668 h 1257510"/>
                    <a:gd name="connsiteX1301" fmla="*/ 1259611 w 1553021"/>
                    <a:gd name="connsiteY1301" fmla="*/ 490587 h 1257510"/>
                    <a:gd name="connsiteX1302" fmla="*/ 1257838 w 1553021"/>
                    <a:gd name="connsiteY1302" fmla="*/ 490089 h 1257510"/>
                    <a:gd name="connsiteX1303" fmla="*/ 1242611 w 1553021"/>
                    <a:gd name="connsiteY1303" fmla="*/ 488146 h 1257510"/>
                    <a:gd name="connsiteX1304" fmla="*/ 1239223 w 1553021"/>
                    <a:gd name="connsiteY1304" fmla="*/ 487357 h 1257510"/>
                    <a:gd name="connsiteX1305" fmla="*/ 1237378 w 1553021"/>
                    <a:gd name="connsiteY1305" fmla="*/ 485766 h 1257510"/>
                    <a:gd name="connsiteX1306" fmla="*/ 1236467 w 1553021"/>
                    <a:gd name="connsiteY1306" fmla="*/ 484698 h 1257510"/>
                    <a:gd name="connsiteX1307" fmla="*/ 1233662 w 1553021"/>
                    <a:gd name="connsiteY1307" fmla="*/ 479865 h 1257510"/>
                    <a:gd name="connsiteX1308" fmla="*/ 1232800 w 1553021"/>
                    <a:gd name="connsiteY1308" fmla="*/ 478978 h 1257510"/>
                    <a:gd name="connsiteX1309" fmla="*/ 1231913 w 1553021"/>
                    <a:gd name="connsiteY1309" fmla="*/ 478517 h 1257510"/>
                    <a:gd name="connsiteX1310" fmla="*/ 1228865 w 1553021"/>
                    <a:gd name="connsiteY1310" fmla="*/ 477460 h 1257510"/>
                    <a:gd name="connsiteX1311" fmla="*/ 1227275 w 1553021"/>
                    <a:gd name="connsiteY1311" fmla="*/ 477218 h 1257510"/>
                    <a:gd name="connsiteX1312" fmla="*/ 1225623 w 1553021"/>
                    <a:gd name="connsiteY1312" fmla="*/ 477266 h 1257510"/>
                    <a:gd name="connsiteX1313" fmla="*/ 1214148 w 1553021"/>
                    <a:gd name="connsiteY1313" fmla="*/ 479282 h 1257510"/>
                    <a:gd name="connsiteX1314" fmla="*/ 1207312 w 1553021"/>
                    <a:gd name="connsiteY1314" fmla="*/ 482487 h 1257510"/>
                    <a:gd name="connsiteX1315" fmla="*/ 1207045 w 1553021"/>
                    <a:gd name="connsiteY1315" fmla="*/ 482912 h 1257510"/>
                    <a:gd name="connsiteX1316" fmla="*/ 1204482 w 1553021"/>
                    <a:gd name="connsiteY1316" fmla="*/ 488013 h 1257510"/>
                    <a:gd name="connsiteX1317" fmla="*/ 1202406 w 1553021"/>
                    <a:gd name="connsiteY1317" fmla="*/ 489397 h 1257510"/>
                    <a:gd name="connsiteX1318" fmla="*/ 1199443 w 1553021"/>
                    <a:gd name="connsiteY1318" fmla="*/ 490660 h 1257510"/>
                    <a:gd name="connsiteX1319" fmla="*/ 1194015 w 1553021"/>
                    <a:gd name="connsiteY1319" fmla="*/ 491668 h 1257510"/>
                    <a:gd name="connsiteX1320" fmla="*/ 1191356 w 1553021"/>
                    <a:gd name="connsiteY1320" fmla="*/ 491801 h 1257510"/>
                    <a:gd name="connsiteX1321" fmla="*/ 1189364 w 1553021"/>
                    <a:gd name="connsiteY1321" fmla="*/ 491485 h 1257510"/>
                    <a:gd name="connsiteX1322" fmla="*/ 1187980 w 1553021"/>
                    <a:gd name="connsiteY1322" fmla="*/ 491194 h 1257510"/>
                    <a:gd name="connsiteX1323" fmla="*/ 1187166 w 1553021"/>
                    <a:gd name="connsiteY1323" fmla="*/ 489676 h 1257510"/>
                    <a:gd name="connsiteX1324" fmla="*/ 1186729 w 1553021"/>
                    <a:gd name="connsiteY1324" fmla="*/ 488717 h 1257510"/>
                    <a:gd name="connsiteX1325" fmla="*/ 1185406 w 1553021"/>
                    <a:gd name="connsiteY1325" fmla="*/ 488061 h 1257510"/>
                    <a:gd name="connsiteX1326" fmla="*/ 1182516 w 1553021"/>
                    <a:gd name="connsiteY1326" fmla="*/ 487442 h 1257510"/>
                    <a:gd name="connsiteX1327" fmla="*/ 1180318 w 1553021"/>
                    <a:gd name="connsiteY1327" fmla="*/ 486604 h 1257510"/>
                    <a:gd name="connsiteX1328" fmla="*/ 1177586 w 1553021"/>
                    <a:gd name="connsiteY1328" fmla="*/ 484540 h 1257510"/>
                    <a:gd name="connsiteX1329" fmla="*/ 1176833 w 1553021"/>
                    <a:gd name="connsiteY1329" fmla="*/ 482670 h 1257510"/>
                    <a:gd name="connsiteX1330" fmla="*/ 1176578 w 1553021"/>
                    <a:gd name="connsiteY1330" fmla="*/ 480897 h 1257510"/>
                    <a:gd name="connsiteX1331" fmla="*/ 1176153 w 1553021"/>
                    <a:gd name="connsiteY1331" fmla="*/ 480545 h 1257510"/>
                    <a:gd name="connsiteX1332" fmla="*/ 1171806 w 1553021"/>
                    <a:gd name="connsiteY1332" fmla="*/ 479160 h 1257510"/>
                    <a:gd name="connsiteX1333" fmla="*/ 1169583 w 1553021"/>
                    <a:gd name="connsiteY1333" fmla="*/ 478104 h 1257510"/>
                    <a:gd name="connsiteX1334" fmla="*/ 1168394 w 1553021"/>
                    <a:gd name="connsiteY1334" fmla="*/ 477060 h 1257510"/>
                    <a:gd name="connsiteX1335" fmla="*/ 1167131 w 1553021"/>
                    <a:gd name="connsiteY1335" fmla="*/ 475214 h 1257510"/>
                    <a:gd name="connsiteX1336" fmla="*/ 1162201 w 1553021"/>
                    <a:gd name="connsiteY1336" fmla="*/ 460096 h 1257510"/>
                    <a:gd name="connsiteX1337" fmla="*/ 1164326 w 1553021"/>
                    <a:gd name="connsiteY1337" fmla="*/ 457679 h 1257510"/>
                    <a:gd name="connsiteX1338" fmla="*/ 1161193 w 1553021"/>
                    <a:gd name="connsiteY1338" fmla="*/ 458517 h 1257510"/>
                    <a:gd name="connsiteX1339" fmla="*/ 1160282 w 1553021"/>
                    <a:gd name="connsiteY1339" fmla="*/ 458262 h 1257510"/>
                    <a:gd name="connsiteX1340" fmla="*/ 1159201 w 1553021"/>
                    <a:gd name="connsiteY1340" fmla="*/ 457607 h 1257510"/>
                    <a:gd name="connsiteX1341" fmla="*/ 1156676 w 1553021"/>
                    <a:gd name="connsiteY1341" fmla="*/ 455445 h 1257510"/>
                    <a:gd name="connsiteX1342" fmla="*/ 1154951 w 1553021"/>
                    <a:gd name="connsiteY1342" fmla="*/ 453575 h 1257510"/>
                    <a:gd name="connsiteX1343" fmla="*/ 1151697 w 1553021"/>
                    <a:gd name="connsiteY1343" fmla="*/ 452033 h 1257510"/>
                    <a:gd name="connsiteX1344" fmla="*/ 1144946 w 1553021"/>
                    <a:gd name="connsiteY1344" fmla="*/ 451924 h 1257510"/>
                    <a:gd name="connsiteX1345" fmla="*/ 1140805 w 1553021"/>
                    <a:gd name="connsiteY1345" fmla="*/ 452677 h 1257510"/>
                    <a:gd name="connsiteX1346" fmla="*/ 1139214 w 1553021"/>
                    <a:gd name="connsiteY1346" fmla="*/ 452470 h 1257510"/>
                    <a:gd name="connsiteX1347" fmla="*/ 1131880 w 1553021"/>
                    <a:gd name="connsiteY1347" fmla="*/ 448536 h 1257510"/>
                    <a:gd name="connsiteX1348" fmla="*/ 1120708 w 1553021"/>
                    <a:gd name="connsiteY1348" fmla="*/ 444334 h 1257510"/>
                    <a:gd name="connsiteX1349" fmla="*/ 1118522 w 1553021"/>
                    <a:gd name="connsiteY1349" fmla="*/ 443982 h 1257510"/>
                    <a:gd name="connsiteX1350" fmla="*/ 1116276 w 1553021"/>
                    <a:gd name="connsiteY1350" fmla="*/ 444589 h 1257510"/>
                    <a:gd name="connsiteX1351" fmla="*/ 1113240 w 1553021"/>
                    <a:gd name="connsiteY1351" fmla="*/ 444844 h 1257510"/>
                    <a:gd name="connsiteX1352" fmla="*/ 1110678 w 1553021"/>
                    <a:gd name="connsiteY1352" fmla="*/ 444492 h 1257510"/>
                    <a:gd name="connsiteX1353" fmla="*/ 1108468 w 1553021"/>
                    <a:gd name="connsiteY1353" fmla="*/ 443667 h 1257510"/>
                    <a:gd name="connsiteX1354" fmla="*/ 1106197 w 1553021"/>
                    <a:gd name="connsiteY1354" fmla="*/ 442452 h 1257510"/>
                    <a:gd name="connsiteX1355" fmla="*/ 1105918 w 1553021"/>
                    <a:gd name="connsiteY1355" fmla="*/ 442671 h 1257510"/>
                    <a:gd name="connsiteX1356" fmla="*/ 1104777 w 1553021"/>
                    <a:gd name="connsiteY1356" fmla="*/ 443120 h 1257510"/>
                    <a:gd name="connsiteX1357" fmla="*/ 1102737 w 1553021"/>
                    <a:gd name="connsiteY1357" fmla="*/ 443509 h 1257510"/>
                    <a:gd name="connsiteX1358" fmla="*/ 1102639 w 1553021"/>
                    <a:gd name="connsiteY1358" fmla="*/ 443751 h 1257510"/>
                    <a:gd name="connsiteX1359" fmla="*/ 1101705 w 1553021"/>
                    <a:gd name="connsiteY1359" fmla="*/ 444893 h 1257510"/>
                    <a:gd name="connsiteX1360" fmla="*/ 1099604 w 1553021"/>
                    <a:gd name="connsiteY1360" fmla="*/ 446787 h 1257510"/>
                    <a:gd name="connsiteX1361" fmla="*/ 1097491 w 1553021"/>
                    <a:gd name="connsiteY1361" fmla="*/ 447722 h 1257510"/>
                    <a:gd name="connsiteX1362" fmla="*/ 1096277 w 1553021"/>
                    <a:gd name="connsiteY1362" fmla="*/ 447698 h 1257510"/>
                    <a:gd name="connsiteX1363" fmla="*/ 1094625 w 1553021"/>
                    <a:gd name="connsiteY1363" fmla="*/ 447479 h 1257510"/>
                    <a:gd name="connsiteX1364" fmla="*/ 1082555 w 1553021"/>
                    <a:gd name="connsiteY1364" fmla="*/ 442853 h 1257510"/>
                    <a:gd name="connsiteX1365" fmla="*/ 1081499 w 1553021"/>
                    <a:gd name="connsiteY1365" fmla="*/ 442173 h 1257510"/>
                    <a:gd name="connsiteX1366" fmla="*/ 1079859 w 1553021"/>
                    <a:gd name="connsiteY1366" fmla="*/ 440655 h 1257510"/>
                    <a:gd name="connsiteX1367" fmla="*/ 1079107 w 1553021"/>
                    <a:gd name="connsiteY1367" fmla="*/ 439489 h 1257510"/>
                    <a:gd name="connsiteX1368" fmla="*/ 1077079 w 1553021"/>
                    <a:gd name="connsiteY1368" fmla="*/ 435494 h 1257510"/>
                    <a:gd name="connsiteX1369" fmla="*/ 1076083 w 1553021"/>
                    <a:gd name="connsiteY1369" fmla="*/ 433928 h 1257510"/>
                    <a:gd name="connsiteX1370" fmla="*/ 1073691 w 1553021"/>
                    <a:gd name="connsiteY1370" fmla="*/ 432264 h 1257510"/>
                    <a:gd name="connsiteX1371" fmla="*/ 1069914 w 1553021"/>
                    <a:gd name="connsiteY1371" fmla="*/ 430758 h 1257510"/>
                    <a:gd name="connsiteX1372" fmla="*/ 1069574 w 1553021"/>
                    <a:gd name="connsiteY1372" fmla="*/ 432046 h 1257510"/>
                    <a:gd name="connsiteX1373" fmla="*/ 1070813 w 1553021"/>
                    <a:gd name="connsiteY1373" fmla="*/ 436041 h 1257510"/>
                    <a:gd name="connsiteX1374" fmla="*/ 1077030 w 1553021"/>
                    <a:gd name="connsiteY1374" fmla="*/ 450976 h 1257510"/>
                    <a:gd name="connsiteX1375" fmla="*/ 1077322 w 1553021"/>
                    <a:gd name="connsiteY1375" fmla="*/ 451317 h 1257510"/>
                    <a:gd name="connsiteX1376" fmla="*/ 1078694 w 1553021"/>
                    <a:gd name="connsiteY1376" fmla="*/ 451656 h 1257510"/>
                    <a:gd name="connsiteX1377" fmla="*/ 1080697 w 1553021"/>
                    <a:gd name="connsiteY1377" fmla="*/ 452567 h 1257510"/>
                    <a:gd name="connsiteX1378" fmla="*/ 1083563 w 1553021"/>
                    <a:gd name="connsiteY1378" fmla="*/ 455154 h 1257510"/>
                    <a:gd name="connsiteX1379" fmla="*/ 1084449 w 1553021"/>
                    <a:gd name="connsiteY1379" fmla="*/ 457291 h 1257510"/>
                    <a:gd name="connsiteX1380" fmla="*/ 1084777 w 1553021"/>
                    <a:gd name="connsiteY1380" fmla="*/ 459987 h 1257510"/>
                    <a:gd name="connsiteX1381" fmla="*/ 1084255 w 1553021"/>
                    <a:gd name="connsiteY1381" fmla="*/ 462828 h 1257510"/>
                    <a:gd name="connsiteX1382" fmla="*/ 1083442 w 1553021"/>
                    <a:gd name="connsiteY1382" fmla="*/ 465075 h 1257510"/>
                    <a:gd name="connsiteX1383" fmla="*/ 1082276 w 1553021"/>
                    <a:gd name="connsiteY1383" fmla="*/ 467066 h 1257510"/>
                    <a:gd name="connsiteX1384" fmla="*/ 1079993 w 1553021"/>
                    <a:gd name="connsiteY1384" fmla="*/ 469239 h 1257510"/>
                    <a:gd name="connsiteX1385" fmla="*/ 1073569 w 1553021"/>
                    <a:gd name="connsiteY1385" fmla="*/ 473028 h 1257510"/>
                    <a:gd name="connsiteX1386" fmla="*/ 1072294 w 1553021"/>
                    <a:gd name="connsiteY1386" fmla="*/ 474546 h 1257510"/>
                    <a:gd name="connsiteX1387" fmla="*/ 1071286 w 1553021"/>
                    <a:gd name="connsiteY1387" fmla="*/ 476477 h 1257510"/>
                    <a:gd name="connsiteX1388" fmla="*/ 1070631 w 1553021"/>
                    <a:gd name="connsiteY1388" fmla="*/ 479853 h 1257510"/>
                    <a:gd name="connsiteX1389" fmla="*/ 1067024 w 1553021"/>
                    <a:gd name="connsiteY1389" fmla="*/ 486932 h 1257510"/>
                    <a:gd name="connsiteX1390" fmla="*/ 1066320 w 1553021"/>
                    <a:gd name="connsiteY1390" fmla="*/ 489239 h 1257510"/>
                    <a:gd name="connsiteX1391" fmla="*/ 1065992 w 1553021"/>
                    <a:gd name="connsiteY1391" fmla="*/ 493198 h 1257510"/>
                    <a:gd name="connsiteX1392" fmla="*/ 1066587 w 1553021"/>
                    <a:gd name="connsiteY1392" fmla="*/ 502390 h 1257510"/>
                    <a:gd name="connsiteX1393" fmla="*/ 1066393 w 1553021"/>
                    <a:gd name="connsiteY1393" fmla="*/ 504891 h 1257510"/>
                    <a:gd name="connsiteX1394" fmla="*/ 1065762 w 1553021"/>
                    <a:gd name="connsiteY1394" fmla="*/ 507150 h 1257510"/>
                    <a:gd name="connsiteX1395" fmla="*/ 1064450 w 1553021"/>
                    <a:gd name="connsiteY1395" fmla="*/ 509299 h 1257510"/>
                    <a:gd name="connsiteX1396" fmla="*/ 1062592 w 1553021"/>
                    <a:gd name="connsiteY1396" fmla="*/ 510963 h 1257510"/>
                    <a:gd name="connsiteX1397" fmla="*/ 1060042 w 1553021"/>
                    <a:gd name="connsiteY1397" fmla="*/ 512177 h 1257510"/>
                    <a:gd name="connsiteX1398" fmla="*/ 1051651 w 1553021"/>
                    <a:gd name="connsiteY1398" fmla="*/ 513646 h 1257510"/>
                    <a:gd name="connsiteX1399" fmla="*/ 1050546 w 1553021"/>
                    <a:gd name="connsiteY1399" fmla="*/ 514193 h 1257510"/>
                    <a:gd name="connsiteX1400" fmla="*/ 1049454 w 1553021"/>
                    <a:gd name="connsiteY1400" fmla="*/ 514982 h 1257510"/>
                    <a:gd name="connsiteX1401" fmla="*/ 1048118 w 1553021"/>
                    <a:gd name="connsiteY1401" fmla="*/ 516585 h 1257510"/>
                    <a:gd name="connsiteX1402" fmla="*/ 1047086 w 1553021"/>
                    <a:gd name="connsiteY1402" fmla="*/ 518430 h 1257510"/>
                    <a:gd name="connsiteX1403" fmla="*/ 1044863 w 1553021"/>
                    <a:gd name="connsiteY1403" fmla="*/ 523761 h 1257510"/>
                    <a:gd name="connsiteX1404" fmla="*/ 1043661 w 1553021"/>
                    <a:gd name="connsiteY1404" fmla="*/ 525728 h 1257510"/>
                    <a:gd name="connsiteX1405" fmla="*/ 1042216 w 1553021"/>
                    <a:gd name="connsiteY1405" fmla="*/ 527429 h 1257510"/>
                    <a:gd name="connsiteX1406" fmla="*/ 1041378 w 1553021"/>
                    <a:gd name="connsiteY1406" fmla="*/ 528874 h 1257510"/>
                    <a:gd name="connsiteX1407" fmla="*/ 1041354 w 1553021"/>
                    <a:gd name="connsiteY1407" fmla="*/ 529772 h 1257510"/>
                    <a:gd name="connsiteX1408" fmla="*/ 1041427 w 1553021"/>
                    <a:gd name="connsiteY1408" fmla="*/ 530707 h 1257510"/>
                    <a:gd name="connsiteX1409" fmla="*/ 1043151 w 1553021"/>
                    <a:gd name="connsiteY1409" fmla="*/ 539256 h 1257510"/>
                    <a:gd name="connsiteX1410" fmla="*/ 1043200 w 1553021"/>
                    <a:gd name="connsiteY1410" fmla="*/ 542097 h 1257510"/>
                    <a:gd name="connsiteX1411" fmla="*/ 1042860 w 1553021"/>
                    <a:gd name="connsiteY1411" fmla="*/ 546784 h 1257510"/>
                    <a:gd name="connsiteX1412" fmla="*/ 1041488 w 1553021"/>
                    <a:gd name="connsiteY1412" fmla="*/ 549225 h 1257510"/>
                    <a:gd name="connsiteX1413" fmla="*/ 1039520 w 1553021"/>
                    <a:gd name="connsiteY1413" fmla="*/ 551107 h 1257510"/>
                    <a:gd name="connsiteX1414" fmla="*/ 1038913 w 1553021"/>
                    <a:gd name="connsiteY1414" fmla="*/ 551617 h 1257510"/>
                    <a:gd name="connsiteX1415" fmla="*/ 1036133 w 1553021"/>
                    <a:gd name="connsiteY1415" fmla="*/ 552151 h 1257510"/>
                    <a:gd name="connsiteX1416" fmla="*/ 1030255 w 1553021"/>
                    <a:gd name="connsiteY1416" fmla="*/ 552042 h 1257510"/>
                    <a:gd name="connsiteX1417" fmla="*/ 1027705 w 1553021"/>
                    <a:gd name="connsiteY1417" fmla="*/ 551544 h 1257510"/>
                    <a:gd name="connsiteX1418" fmla="*/ 1024961 w 1553021"/>
                    <a:gd name="connsiteY1418" fmla="*/ 550658 h 1257510"/>
                    <a:gd name="connsiteX1419" fmla="*/ 1023820 w 1553021"/>
                    <a:gd name="connsiteY1419" fmla="*/ 550731 h 1257510"/>
                    <a:gd name="connsiteX1420" fmla="*/ 1020990 w 1553021"/>
                    <a:gd name="connsiteY1420" fmla="*/ 551459 h 1257510"/>
                    <a:gd name="connsiteX1421" fmla="*/ 1018428 w 1553021"/>
                    <a:gd name="connsiteY1421" fmla="*/ 551799 h 1257510"/>
                    <a:gd name="connsiteX1422" fmla="*/ 1015320 w 1553021"/>
                    <a:gd name="connsiteY1422" fmla="*/ 551544 h 1257510"/>
                    <a:gd name="connsiteX1423" fmla="*/ 1011895 w 1553021"/>
                    <a:gd name="connsiteY1423" fmla="*/ 550318 h 1257510"/>
                    <a:gd name="connsiteX1424" fmla="*/ 1009066 w 1553021"/>
                    <a:gd name="connsiteY1424" fmla="*/ 548484 h 1257510"/>
                    <a:gd name="connsiteX1425" fmla="*/ 1006686 w 1553021"/>
                    <a:gd name="connsiteY1425" fmla="*/ 546092 h 1257510"/>
                    <a:gd name="connsiteX1426" fmla="*/ 1002800 w 1553021"/>
                    <a:gd name="connsiteY1426" fmla="*/ 540057 h 1257510"/>
                    <a:gd name="connsiteX1427" fmla="*/ 999570 w 1553021"/>
                    <a:gd name="connsiteY1427" fmla="*/ 540397 h 1257510"/>
                    <a:gd name="connsiteX1428" fmla="*/ 997105 w 1553021"/>
                    <a:gd name="connsiteY1428" fmla="*/ 540191 h 1257510"/>
                    <a:gd name="connsiteX1429" fmla="*/ 993183 w 1553021"/>
                    <a:gd name="connsiteY1429" fmla="*/ 538892 h 1257510"/>
                    <a:gd name="connsiteX1430" fmla="*/ 991859 w 1553021"/>
                    <a:gd name="connsiteY1430" fmla="*/ 538636 h 1257510"/>
                    <a:gd name="connsiteX1431" fmla="*/ 991009 w 1553021"/>
                    <a:gd name="connsiteY1431" fmla="*/ 538673 h 1257510"/>
                    <a:gd name="connsiteX1432" fmla="*/ 990002 w 1553021"/>
                    <a:gd name="connsiteY1432" fmla="*/ 538916 h 1257510"/>
                    <a:gd name="connsiteX1433" fmla="*/ 988824 w 1553021"/>
                    <a:gd name="connsiteY1433" fmla="*/ 539304 h 1257510"/>
                    <a:gd name="connsiteX1434" fmla="*/ 987488 w 1553021"/>
                    <a:gd name="connsiteY1434" fmla="*/ 540106 h 1257510"/>
                    <a:gd name="connsiteX1435" fmla="*/ 985958 w 1553021"/>
                    <a:gd name="connsiteY1435" fmla="*/ 541247 h 1257510"/>
                    <a:gd name="connsiteX1436" fmla="*/ 985242 w 1553021"/>
                    <a:gd name="connsiteY1436" fmla="*/ 541927 h 1257510"/>
                    <a:gd name="connsiteX1437" fmla="*/ 986602 w 1553021"/>
                    <a:gd name="connsiteY1437" fmla="*/ 542547 h 1257510"/>
                    <a:gd name="connsiteX1438" fmla="*/ 988909 w 1553021"/>
                    <a:gd name="connsiteY1438" fmla="*/ 544635 h 1257510"/>
                    <a:gd name="connsiteX1439" fmla="*/ 988326 w 1553021"/>
                    <a:gd name="connsiteY1439" fmla="*/ 548727 h 1257510"/>
                    <a:gd name="connsiteX1440" fmla="*/ 983712 w 1553021"/>
                    <a:gd name="connsiteY1440" fmla="*/ 553900 h 1257510"/>
                    <a:gd name="connsiteX1441" fmla="*/ 982400 w 1553021"/>
                    <a:gd name="connsiteY1441" fmla="*/ 555697 h 1257510"/>
                    <a:gd name="connsiteX1442" fmla="*/ 981574 w 1553021"/>
                    <a:gd name="connsiteY1442" fmla="*/ 557227 h 1257510"/>
                    <a:gd name="connsiteX1443" fmla="*/ 980044 w 1553021"/>
                    <a:gd name="connsiteY1443" fmla="*/ 562886 h 1257510"/>
                    <a:gd name="connsiteX1444" fmla="*/ 978077 w 1553021"/>
                    <a:gd name="connsiteY1444" fmla="*/ 568059 h 1257510"/>
                    <a:gd name="connsiteX1445" fmla="*/ 977604 w 1553021"/>
                    <a:gd name="connsiteY1445" fmla="*/ 570014 h 1257510"/>
                    <a:gd name="connsiteX1446" fmla="*/ 977592 w 1553021"/>
                    <a:gd name="connsiteY1446" fmla="*/ 570609 h 1257510"/>
                    <a:gd name="connsiteX1447" fmla="*/ 977895 w 1553021"/>
                    <a:gd name="connsiteY1447" fmla="*/ 571422 h 1257510"/>
                    <a:gd name="connsiteX1448" fmla="*/ 978356 w 1553021"/>
                    <a:gd name="connsiteY1448" fmla="*/ 573195 h 1257510"/>
                    <a:gd name="connsiteX1449" fmla="*/ 978539 w 1553021"/>
                    <a:gd name="connsiteY1449" fmla="*/ 576279 h 1257510"/>
                    <a:gd name="connsiteX1450" fmla="*/ 977774 w 1553021"/>
                    <a:gd name="connsiteY1450" fmla="*/ 577627 h 1257510"/>
                    <a:gd name="connsiteX1451" fmla="*/ 976608 w 1553021"/>
                    <a:gd name="connsiteY1451" fmla="*/ 579060 h 1257510"/>
                    <a:gd name="connsiteX1452" fmla="*/ 975527 w 1553021"/>
                    <a:gd name="connsiteY1452" fmla="*/ 579813 h 1257510"/>
                    <a:gd name="connsiteX1453" fmla="*/ 973147 w 1553021"/>
                    <a:gd name="connsiteY1453" fmla="*/ 580930 h 1257510"/>
                    <a:gd name="connsiteX1454" fmla="*/ 972321 w 1553021"/>
                    <a:gd name="connsiteY1454" fmla="*/ 581622 h 1257510"/>
                    <a:gd name="connsiteX1455" fmla="*/ 971095 w 1553021"/>
                    <a:gd name="connsiteY1455" fmla="*/ 582934 h 1257510"/>
                    <a:gd name="connsiteX1456" fmla="*/ 968909 w 1553021"/>
                    <a:gd name="connsiteY1456" fmla="*/ 585799 h 1257510"/>
                    <a:gd name="connsiteX1457" fmla="*/ 966578 w 1553021"/>
                    <a:gd name="connsiteY1457" fmla="*/ 588143 h 1257510"/>
                    <a:gd name="connsiteX1458" fmla="*/ 964562 w 1553021"/>
                    <a:gd name="connsiteY1458" fmla="*/ 589855 h 1257510"/>
                    <a:gd name="connsiteX1459" fmla="*/ 962668 w 1553021"/>
                    <a:gd name="connsiteY1459" fmla="*/ 590912 h 1257510"/>
                    <a:gd name="connsiteX1460" fmla="*/ 963676 w 1553021"/>
                    <a:gd name="connsiteY1460" fmla="*/ 593680 h 1257510"/>
                    <a:gd name="connsiteX1461" fmla="*/ 964283 w 1553021"/>
                    <a:gd name="connsiteY1461" fmla="*/ 595891 h 1257510"/>
                    <a:gd name="connsiteX1462" fmla="*/ 964671 w 1553021"/>
                    <a:gd name="connsiteY1462" fmla="*/ 597845 h 1257510"/>
                    <a:gd name="connsiteX1463" fmla="*/ 964720 w 1553021"/>
                    <a:gd name="connsiteY1463" fmla="*/ 600019 h 1257510"/>
                    <a:gd name="connsiteX1464" fmla="*/ 966044 w 1553021"/>
                    <a:gd name="connsiteY1464" fmla="*/ 599570 h 1257510"/>
                    <a:gd name="connsiteX1465" fmla="*/ 966554 w 1553021"/>
                    <a:gd name="connsiteY1465" fmla="*/ 599448 h 1257510"/>
                    <a:gd name="connsiteX1466" fmla="*/ 968788 w 1553021"/>
                    <a:gd name="connsiteY1466" fmla="*/ 599752 h 1257510"/>
                    <a:gd name="connsiteX1467" fmla="*/ 969869 w 1553021"/>
                    <a:gd name="connsiteY1467" fmla="*/ 600468 h 1257510"/>
                    <a:gd name="connsiteX1468" fmla="*/ 971132 w 1553021"/>
                    <a:gd name="connsiteY1468" fmla="*/ 601586 h 1257510"/>
                    <a:gd name="connsiteX1469" fmla="*/ 972139 w 1553021"/>
                    <a:gd name="connsiteY1469" fmla="*/ 603079 h 1257510"/>
                    <a:gd name="connsiteX1470" fmla="*/ 972479 w 1553021"/>
                    <a:gd name="connsiteY1470" fmla="*/ 604560 h 1257510"/>
                    <a:gd name="connsiteX1471" fmla="*/ 972407 w 1553021"/>
                    <a:gd name="connsiteY1471" fmla="*/ 606758 h 1257510"/>
                    <a:gd name="connsiteX1472" fmla="*/ 972747 w 1553021"/>
                    <a:gd name="connsiteY1472" fmla="*/ 607001 h 1257510"/>
                    <a:gd name="connsiteX1473" fmla="*/ 973451 w 1553021"/>
                    <a:gd name="connsiteY1473" fmla="*/ 606649 h 1257510"/>
                    <a:gd name="connsiteX1474" fmla="*/ 976025 w 1553021"/>
                    <a:gd name="connsiteY1474" fmla="*/ 606758 h 1257510"/>
                    <a:gd name="connsiteX1475" fmla="*/ 978612 w 1553021"/>
                    <a:gd name="connsiteY1475" fmla="*/ 608750 h 1257510"/>
                    <a:gd name="connsiteX1476" fmla="*/ 979255 w 1553021"/>
                    <a:gd name="connsiteY1476" fmla="*/ 611506 h 1257510"/>
                    <a:gd name="connsiteX1477" fmla="*/ 978964 w 1553021"/>
                    <a:gd name="connsiteY1477" fmla="*/ 615028 h 1257510"/>
                    <a:gd name="connsiteX1478" fmla="*/ 979231 w 1553021"/>
                    <a:gd name="connsiteY1478" fmla="*/ 616242 h 1257510"/>
                    <a:gd name="connsiteX1479" fmla="*/ 981016 w 1553021"/>
                    <a:gd name="connsiteY1479" fmla="*/ 618100 h 1257510"/>
                    <a:gd name="connsiteX1480" fmla="*/ 988496 w 1553021"/>
                    <a:gd name="connsiteY1480" fmla="*/ 623346 h 1257510"/>
                    <a:gd name="connsiteX1481" fmla="*/ 990099 w 1553021"/>
                    <a:gd name="connsiteY1481" fmla="*/ 624827 h 1257510"/>
                    <a:gd name="connsiteX1482" fmla="*/ 992163 w 1553021"/>
                    <a:gd name="connsiteY1482" fmla="*/ 627450 h 1257510"/>
                    <a:gd name="connsiteX1483" fmla="*/ 992527 w 1553021"/>
                    <a:gd name="connsiteY1483" fmla="*/ 629369 h 1257510"/>
                    <a:gd name="connsiteX1484" fmla="*/ 992576 w 1553021"/>
                    <a:gd name="connsiteY1484" fmla="*/ 634080 h 1257510"/>
                    <a:gd name="connsiteX1485" fmla="*/ 989637 w 1553021"/>
                    <a:gd name="connsiteY1485" fmla="*/ 635489 h 1257510"/>
                    <a:gd name="connsiteX1486" fmla="*/ 985569 w 1553021"/>
                    <a:gd name="connsiteY1486" fmla="*/ 636812 h 1257510"/>
                    <a:gd name="connsiteX1487" fmla="*/ 983056 w 1553021"/>
                    <a:gd name="connsiteY1487" fmla="*/ 636909 h 1257510"/>
                    <a:gd name="connsiteX1488" fmla="*/ 981781 w 1553021"/>
                    <a:gd name="connsiteY1488" fmla="*/ 637456 h 1257510"/>
                    <a:gd name="connsiteX1489" fmla="*/ 979595 w 1553021"/>
                    <a:gd name="connsiteY1489" fmla="*/ 638816 h 1257510"/>
                    <a:gd name="connsiteX1490" fmla="*/ 977907 w 1553021"/>
                    <a:gd name="connsiteY1490" fmla="*/ 639617 h 1257510"/>
                    <a:gd name="connsiteX1491" fmla="*/ 976669 w 1553021"/>
                    <a:gd name="connsiteY1491" fmla="*/ 641220 h 1257510"/>
                    <a:gd name="connsiteX1492" fmla="*/ 974811 w 1553021"/>
                    <a:gd name="connsiteY1492" fmla="*/ 644438 h 1257510"/>
                    <a:gd name="connsiteX1493" fmla="*/ 969274 w 1553021"/>
                    <a:gd name="connsiteY1493" fmla="*/ 656787 h 1257510"/>
                    <a:gd name="connsiteX1494" fmla="*/ 966821 w 1553021"/>
                    <a:gd name="connsiteY1494" fmla="*/ 660430 h 1257510"/>
                    <a:gd name="connsiteX1495" fmla="*/ 965279 w 1553021"/>
                    <a:gd name="connsiteY1495" fmla="*/ 660770 h 1257510"/>
                    <a:gd name="connsiteX1496" fmla="*/ 963821 w 1553021"/>
                    <a:gd name="connsiteY1496" fmla="*/ 661001 h 1257510"/>
                    <a:gd name="connsiteX1497" fmla="*/ 958248 w 1553021"/>
                    <a:gd name="connsiteY1497" fmla="*/ 660527 h 1257510"/>
                    <a:gd name="connsiteX1498" fmla="*/ 956912 w 1553021"/>
                    <a:gd name="connsiteY1498" fmla="*/ 660697 h 1257510"/>
                    <a:gd name="connsiteX1499" fmla="*/ 955613 w 1553021"/>
                    <a:gd name="connsiteY1499" fmla="*/ 661280 h 1257510"/>
                    <a:gd name="connsiteX1500" fmla="*/ 954071 w 1553021"/>
                    <a:gd name="connsiteY1500" fmla="*/ 662835 h 1257510"/>
                    <a:gd name="connsiteX1501" fmla="*/ 953403 w 1553021"/>
                    <a:gd name="connsiteY1501" fmla="*/ 664158 h 1257510"/>
                    <a:gd name="connsiteX1502" fmla="*/ 953415 w 1553021"/>
                    <a:gd name="connsiteY1502" fmla="*/ 665057 h 1257510"/>
                    <a:gd name="connsiteX1503" fmla="*/ 954228 w 1553021"/>
                    <a:gd name="connsiteY1503" fmla="*/ 667267 h 1257510"/>
                    <a:gd name="connsiteX1504" fmla="*/ 954702 w 1553021"/>
                    <a:gd name="connsiteY1504" fmla="*/ 670157 h 1257510"/>
                    <a:gd name="connsiteX1505" fmla="*/ 954690 w 1553021"/>
                    <a:gd name="connsiteY1505" fmla="*/ 673508 h 1257510"/>
                    <a:gd name="connsiteX1506" fmla="*/ 953245 w 1553021"/>
                    <a:gd name="connsiteY1506" fmla="*/ 679166 h 1257510"/>
                    <a:gd name="connsiteX1507" fmla="*/ 951861 w 1553021"/>
                    <a:gd name="connsiteY1507" fmla="*/ 682227 h 1257510"/>
                    <a:gd name="connsiteX1508" fmla="*/ 950003 w 1553021"/>
                    <a:gd name="connsiteY1508" fmla="*/ 684680 h 1257510"/>
                    <a:gd name="connsiteX1509" fmla="*/ 947562 w 1553021"/>
                    <a:gd name="connsiteY1509" fmla="*/ 686343 h 1257510"/>
                    <a:gd name="connsiteX1510" fmla="*/ 945085 w 1553021"/>
                    <a:gd name="connsiteY1510" fmla="*/ 687181 h 1257510"/>
                    <a:gd name="connsiteX1511" fmla="*/ 942826 w 1553021"/>
                    <a:gd name="connsiteY1511" fmla="*/ 687594 h 1257510"/>
                    <a:gd name="connsiteX1512" fmla="*/ 934836 w 1553021"/>
                    <a:gd name="connsiteY1512" fmla="*/ 688140 h 1257510"/>
                    <a:gd name="connsiteX1513" fmla="*/ 933804 w 1553021"/>
                    <a:gd name="connsiteY1513" fmla="*/ 688468 h 1257510"/>
                    <a:gd name="connsiteX1514" fmla="*/ 932711 w 1553021"/>
                    <a:gd name="connsiteY1514" fmla="*/ 689039 h 1257510"/>
                    <a:gd name="connsiteX1515" fmla="*/ 931606 w 1553021"/>
                    <a:gd name="connsiteY1515" fmla="*/ 690205 h 1257510"/>
                    <a:gd name="connsiteX1516" fmla="*/ 930938 w 1553021"/>
                    <a:gd name="connsiteY1516" fmla="*/ 691322 h 1257510"/>
                    <a:gd name="connsiteX1517" fmla="*/ 930113 w 1553021"/>
                    <a:gd name="connsiteY1517" fmla="*/ 693010 h 1257510"/>
                    <a:gd name="connsiteX1518" fmla="*/ 928765 w 1553021"/>
                    <a:gd name="connsiteY1518" fmla="*/ 694807 h 1257510"/>
                    <a:gd name="connsiteX1519" fmla="*/ 926069 w 1553021"/>
                    <a:gd name="connsiteY1519" fmla="*/ 697430 h 1257510"/>
                    <a:gd name="connsiteX1520" fmla="*/ 926178 w 1553021"/>
                    <a:gd name="connsiteY1520" fmla="*/ 697624 h 1257510"/>
                    <a:gd name="connsiteX1521" fmla="*/ 926433 w 1553021"/>
                    <a:gd name="connsiteY1521" fmla="*/ 699154 h 1257510"/>
                    <a:gd name="connsiteX1522" fmla="*/ 925996 w 1553021"/>
                    <a:gd name="connsiteY1522" fmla="*/ 702081 h 1257510"/>
                    <a:gd name="connsiteX1523" fmla="*/ 924575 w 1553021"/>
                    <a:gd name="connsiteY1523" fmla="*/ 704436 h 1257510"/>
                    <a:gd name="connsiteX1524" fmla="*/ 924442 w 1553021"/>
                    <a:gd name="connsiteY1524" fmla="*/ 705128 h 1257510"/>
                    <a:gd name="connsiteX1525" fmla="*/ 924284 w 1553021"/>
                    <a:gd name="connsiteY1525" fmla="*/ 708613 h 1257510"/>
                    <a:gd name="connsiteX1526" fmla="*/ 923446 w 1553021"/>
                    <a:gd name="connsiteY1526" fmla="*/ 712110 h 1257510"/>
                    <a:gd name="connsiteX1527" fmla="*/ 921965 w 1553021"/>
                    <a:gd name="connsiteY1527" fmla="*/ 714867 h 1257510"/>
                    <a:gd name="connsiteX1528" fmla="*/ 919937 w 1553021"/>
                    <a:gd name="connsiteY1528" fmla="*/ 716992 h 1257510"/>
                    <a:gd name="connsiteX1529" fmla="*/ 917545 w 1553021"/>
                    <a:gd name="connsiteY1529" fmla="*/ 718607 h 1257510"/>
                    <a:gd name="connsiteX1530" fmla="*/ 916719 w 1553021"/>
                    <a:gd name="connsiteY1530" fmla="*/ 719275 h 1257510"/>
                    <a:gd name="connsiteX1531" fmla="*/ 922900 w 1553021"/>
                    <a:gd name="connsiteY1531" fmla="*/ 723476 h 1257510"/>
                    <a:gd name="connsiteX1532" fmla="*/ 924527 w 1553021"/>
                    <a:gd name="connsiteY1532" fmla="*/ 725358 h 1257510"/>
                    <a:gd name="connsiteX1533" fmla="*/ 926324 w 1553021"/>
                    <a:gd name="connsiteY1533" fmla="*/ 728151 h 1257510"/>
                    <a:gd name="connsiteX1534" fmla="*/ 926105 w 1553021"/>
                    <a:gd name="connsiteY1534" fmla="*/ 730543 h 1257510"/>
                    <a:gd name="connsiteX1535" fmla="*/ 924770 w 1553021"/>
                    <a:gd name="connsiteY1535" fmla="*/ 735303 h 1257510"/>
                    <a:gd name="connsiteX1536" fmla="*/ 922147 w 1553021"/>
                    <a:gd name="connsiteY1536" fmla="*/ 734539 h 1257510"/>
                    <a:gd name="connsiteX1537" fmla="*/ 921916 w 1553021"/>
                    <a:gd name="connsiteY1537" fmla="*/ 737550 h 1257510"/>
                    <a:gd name="connsiteX1538" fmla="*/ 914703 w 1553021"/>
                    <a:gd name="connsiteY1538" fmla="*/ 736372 h 1257510"/>
                    <a:gd name="connsiteX1539" fmla="*/ 914120 w 1553021"/>
                    <a:gd name="connsiteY1539" fmla="*/ 736530 h 1257510"/>
                    <a:gd name="connsiteX1540" fmla="*/ 912785 w 1553021"/>
                    <a:gd name="connsiteY1540" fmla="*/ 737149 h 1257510"/>
                    <a:gd name="connsiteX1541" fmla="*/ 910720 w 1553021"/>
                    <a:gd name="connsiteY1541" fmla="*/ 739638 h 1257510"/>
                    <a:gd name="connsiteX1542" fmla="*/ 906810 w 1553021"/>
                    <a:gd name="connsiteY1542" fmla="*/ 742456 h 1257510"/>
                    <a:gd name="connsiteX1543" fmla="*/ 902767 w 1553021"/>
                    <a:gd name="connsiteY1543" fmla="*/ 743184 h 1257510"/>
                    <a:gd name="connsiteX1544" fmla="*/ 899440 w 1553021"/>
                    <a:gd name="connsiteY1544" fmla="*/ 742286 h 1257510"/>
                    <a:gd name="connsiteX1545" fmla="*/ 897375 w 1553021"/>
                    <a:gd name="connsiteY1545" fmla="*/ 739942 h 1257510"/>
                    <a:gd name="connsiteX1546" fmla="*/ 896720 w 1553021"/>
                    <a:gd name="connsiteY1546" fmla="*/ 737829 h 1257510"/>
                    <a:gd name="connsiteX1547" fmla="*/ 896355 w 1553021"/>
                    <a:gd name="connsiteY1547" fmla="*/ 734611 h 1257510"/>
                    <a:gd name="connsiteX1548" fmla="*/ 896027 w 1553021"/>
                    <a:gd name="connsiteY1548" fmla="*/ 734356 h 1257510"/>
                    <a:gd name="connsiteX1549" fmla="*/ 894012 w 1553021"/>
                    <a:gd name="connsiteY1549" fmla="*/ 733458 h 1257510"/>
                    <a:gd name="connsiteX1550" fmla="*/ 887892 w 1553021"/>
                    <a:gd name="connsiteY1550" fmla="*/ 731478 h 1257510"/>
                    <a:gd name="connsiteX1551" fmla="*/ 884601 w 1553021"/>
                    <a:gd name="connsiteY1551" fmla="*/ 730009 h 1257510"/>
                    <a:gd name="connsiteX1552" fmla="*/ 881468 w 1553021"/>
                    <a:gd name="connsiteY1552" fmla="*/ 728018 h 1257510"/>
                    <a:gd name="connsiteX1553" fmla="*/ 880642 w 1553021"/>
                    <a:gd name="connsiteY1553" fmla="*/ 725055 h 1257510"/>
                    <a:gd name="connsiteX1554" fmla="*/ 880375 w 1553021"/>
                    <a:gd name="connsiteY1554" fmla="*/ 722541 h 1257510"/>
                    <a:gd name="connsiteX1555" fmla="*/ 880533 w 1553021"/>
                    <a:gd name="connsiteY1555" fmla="*/ 713434 h 1257510"/>
                    <a:gd name="connsiteX1556" fmla="*/ 880205 w 1553021"/>
                    <a:gd name="connsiteY1556" fmla="*/ 712208 h 1257510"/>
                    <a:gd name="connsiteX1557" fmla="*/ 879525 w 1553021"/>
                    <a:gd name="connsiteY1557" fmla="*/ 711078 h 1257510"/>
                    <a:gd name="connsiteX1558" fmla="*/ 877655 w 1553021"/>
                    <a:gd name="connsiteY1558" fmla="*/ 709245 h 1257510"/>
                    <a:gd name="connsiteX1559" fmla="*/ 876161 w 1553021"/>
                    <a:gd name="connsiteY1559" fmla="*/ 708310 h 1257510"/>
                    <a:gd name="connsiteX1560" fmla="*/ 874668 w 1553021"/>
                    <a:gd name="connsiteY1560" fmla="*/ 707885 h 1257510"/>
                    <a:gd name="connsiteX1561" fmla="*/ 873454 w 1553021"/>
                    <a:gd name="connsiteY1561" fmla="*/ 707946 h 1257510"/>
                    <a:gd name="connsiteX1562" fmla="*/ 872337 w 1553021"/>
                    <a:gd name="connsiteY1562" fmla="*/ 708164 h 1257510"/>
                    <a:gd name="connsiteX1563" fmla="*/ 870721 w 1553021"/>
                    <a:gd name="connsiteY1563" fmla="*/ 708893 h 1257510"/>
                    <a:gd name="connsiteX1564" fmla="*/ 865160 w 1553021"/>
                    <a:gd name="connsiteY1564" fmla="*/ 716458 h 1257510"/>
                    <a:gd name="connsiteX1565" fmla="*/ 864504 w 1553021"/>
                    <a:gd name="connsiteY1565" fmla="*/ 720100 h 1257510"/>
                    <a:gd name="connsiteX1566" fmla="*/ 865536 w 1553021"/>
                    <a:gd name="connsiteY1566" fmla="*/ 724703 h 1257510"/>
                    <a:gd name="connsiteX1567" fmla="*/ 865488 w 1553021"/>
                    <a:gd name="connsiteY1567" fmla="*/ 729633 h 1257510"/>
                    <a:gd name="connsiteX1568" fmla="*/ 864650 w 1553021"/>
                    <a:gd name="connsiteY1568" fmla="*/ 732729 h 1257510"/>
                    <a:gd name="connsiteX1569" fmla="*/ 862622 w 1553021"/>
                    <a:gd name="connsiteY1569" fmla="*/ 735826 h 1257510"/>
                    <a:gd name="connsiteX1570" fmla="*/ 860534 w 1553021"/>
                    <a:gd name="connsiteY1570" fmla="*/ 736870 h 1257510"/>
                    <a:gd name="connsiteX1571" fmla="*/ 857996 w 1553021"/>
                    <a:gd name="connsiteY1571" fmla="*/ 737525 h 1257510"/>
                    <a:gd name="connsiteX1572" fmla="*/ 853454 w 1553021"/>
                    <a:gd name="connsiteY1572" fmla="*/ 739481 h 1257510"/>
                    <a:gd name="connsiteX1573" fmla="*/ 843036 w 1553021"/>
                    <a:gd name="connsiteY1573" fmla="*/ 747483 h 1257510"/>
                    <a:gd name="connsiteX1574" fmla="*/ 840862 w 1553021"/>
                    <a:gd name="connsiteY1574" fmla="*/ 749717 h 1257510"/>
                    <a:gd name="connsiteX1575" fmla="*/ 839951 w 1553021"/>
                    <a:gd name="connsiteY1575" fmla="*/ 751247 h 1257510"/>
                    <a:gd name="connsiteX1576" fmla="*/ 839599 w 1553021"/>
                    <a:gd name="connsiteY1576" fmla="*/ 752704 h 1257510"/>
                    <a:gd name="connsiteX1577" fmla="*/ 839356 w 1553021"/>
                    <a:gd name="connsiteY1577" fmla="*/ 754344 h 1257510"/>
                    <a:gd name="connsiteX1578" fmla="*/ 838118 w 1553021"/>
                    <a:gd name="connsiteY1578" fmla="*/ 757926 h 1257510"/>
                    <a:gd name="connsiteX1579" fmla="*/ 835422 w 1553021"/>
                    <a:gd name="connsiteY1579" fmla="*/ 760027 h 1257510"/>
                    <a:gd name="connsiteX1580" fmla="*/ 832726 w 1553021"/>
                    <a:gd name="connsiteY1580" fmla="*/ 760585 h 1257510"/>
                    <a:gd name="connsiteX1581" fmla="*/ 827942 w 1553021"/>
                    <a:gd name="connsiteY1581" fmla="*/ 760014 h 1257510"/>
                    <a:gd name="connsiteX1582" fmla="*/ 826558 w 1553021"/>
                    <a:gd name="connsiteY1582" fmla="*/ 760111 h 1257510"/>
                    <a:gd name="connsiteX1583" fmla="*/ 825125 w 1553021"/>
                    <a:gd name="connsiteY1583" fmla="*/ 760621 h 1257510"/>
                    <a:gd name="connsiteX1584" fmla="*/ 823449 w 1553021"/>
                    <a:gd name="connsiteY1584" fmla="*/ 761629 h 1257510"/>
                    <a:gd name="connsiteX1585" fmla="*/ 821300 w 1553021"/>
                    <a:gd name="connsiteY1585" fmla="*/ 762528 h 1257510"/>
                    <a:gd name="connsiteX1586" fmla="*/ 818762 w 1553021"/>
                    <a:gd name="connsiteY1586" fmla="*/ 762832 h 1257510"/>
                    <a:gd name="connsiteX1587" fmla="*/ 813006 w 1553021"/>
                    <a:gd name="connsiteY1587" fmla="*/ 761969 h 1257510"/>
                    <a:gd name="connsiteX1588" fmla="*/ 809910 w 1553021"/>
                    <a:gd name="connsiteY1588" fmla="*/ 762406 h 1257510"/>
                    <a:gd name="connsiteX1589" fmla="*/ 804093 w 1553021"/>
                    <a:gd name="connsiteY1589" fmla="*/ 764629 h 1257510"/>
                    <a:gd name="connsiteX1590" fmla="*/ 802187 w 1553021"/>
                    <a:gd name="connsiteY1590" fmla="*/ 766268 h 1257510"/>
                    <a:gd name="connsiteX1591" fmla="*/ 802053 w 1553021"/>
                    <a:gd name="connsiteY1591" fmla="*/ 766608 h 1257510"/>
                    <a:gd name="connsiteX1592" fmla="*/ 802830 w 1553021"/>
                    <a:gd name="connsiteY1592" fmla="*/ 773457 h 1257510"/>
                    <a:gd name="connsiteX1593" fmla="*/ 802842 w 1553021"/>
                    <a:gd name="connsiteY1593" fmla="*/ 776225 h 1257510"/>
                    <a:gd name="connsiteX1594" fmla="*/ 802612 w 1553021"/>
                    <a:gd name="connsiteY1594" fmla="*/ 779091 h 1257510"/>
                    <a:gd name="connsiteX1595" fmla="*/ 800183 w 1553021"/>
                    <a:gd name="connsiteY1595" fmla="*/ 789279 h 1257510"/>
                    <a:gd name="connsiteX1596" fmla="*/ 799868 w 1553021"/>
                    <a:gd name="connsiteY1596" fmla="*/ 791173 h 1257510"/>
                    <a:gd name="connsiteX1597" fmla="*/ 799904 w 1553021"/>
                    <a:gd name="connsiteY1597" fmla="*/ 793711 h 1257510"/>
                    <a:gd name="connsiteX1598" fmla="*/ 800523 w 1553021"/>
                    <a:gd name="connsiteY1598" fmla="*/ 798835 h 1257510"/>
                    <a:gd name="connsiteX1599" fmla="*/ 800122 w 1553021"/>
                    <a:gd name="connsiteY1599" fmla="*/ 803292 h 1257510"/>
                    <a:gd name="connsiteX1600" fmla="*/ 799017 w 1553021"/>
                    <a:gd name="connsiteY1600" fmla="*/ 807845 h 1257510"/>
                    <a:gd name="connsiteX1601" fmla="*/ 796103 w 1553021"/>
                    <a:gd name="connsiteY1601" fmla="*/ 814172 h 1257510"/>
                    <a:gd name="connsiteX1602" fmla="*/ 793468 w 1553021"/>
                    <a:gd name="connsiteY1602" fmla="*/ 817390 h 1257510"/>
                    <a:gd name="connsiteX1603" fmla="*/ 789643 w 1553021"/>
                    <a:gd name="connsiteY1603" fmla="*/ 819685 h 1257510"/>
                    <a:gd name="connsiteX1604" fmla="*/ 786267 w 1553021"/>
                    <a:gd name="connsiteY1604" fmla="*/ 819648 h 1257510"/>
                    <a:gd name="connsiteX1605" fmla="*/ 775314 w 1553021"/>
                    <a:gd name="connsiteY1605" fmla="*/ 816673 h 1257510"/>
                    <a:gd name="connsiteX1606" fmla="*/ 773675 w 1553021"/>
                    <a:gd name="connsiteY1606" fmla="*/ 816467 h 1257510"/>
                    <a:gd name="connsiteX1607" fmla="*/ 773772 w 1553021"/>
                    <a:gd name="connsiteY1607" fmla="*/ 817827 h 1257510"/>
                    <a:gd name="connsiteX1608" fmla="*/ 775824 w 1553021"/>
                    <a:gd name="connsiteY1608" fmla="*/ 822247 h 1257510"/>
                    <a:gd name="connsiteX1609" fmla="*/ 776432 w 1553021"/>
                    <a:gd name="connsiteY1609" fmla="*/ 825647 h 1257510"/>
                    <a:gd name="connsiteX1610" fmla="*/ 776140 w 1553021"/>
                    <a:gd name="connsiteY1610" fmla="*/ 829011 h 1257510"/>
                    <a:gd name="connsiteX1611" fmla="*/ 774987 w 1553021"/>
                    <a:gd name="connsiteY1611" fmla="*/ 830747 h 1257510"/>
                    <a:gd name="connsiteX1612" fmla="*/ 773007 w 1553021"/>
                    <a:gd name="connsiteY1612" fmla="*/ 832593 h 1257510"/>
                    <a:gd name="connsiteX1613" fmla="*/ 770712 w 1553021"/>
                    <a:gd name="connsiteY1613" fmla="*/ 833977 h 1257510"/>
                    <a:gd name="connsiteX1614" fmla="*/ 766851 w 1553021"/>
                    <a:gd name="connsiteY1614" fmla="*/ 835762 h 1257510"/>
                    <a:gd name="connsiteX1615" fmla="*/ 765673 w 1553021"/>
                    <a:gd name="connsiteY1615" fmla="*/ 836818 h 1257510"/>
                    <a:gd name="connsiteX1616" fmla="*/ 764702 w 1553021"/>
                    <a:gd name="connsiteY1616" fmla="*/ 838931 h 1257510"/>
                    <a:gd name="connsiteX1617" fmla="*/ 763293 w 1553021"/>
                    <a:gd name="connsiteY1617" fmla="*/ 842720 h 1257510"/>
                    <a:gd name="connsiteX1618" fmla="*/ 760561 w 1553021"/>
                    <a:gd name="connsiteY1618" fmla="*/ 854523 h 1257510"/>
                    <a:gd name="connsiteX1619" fmla="*/ 753992 w 1553021"/>
                    <a:gd name="connsiteY1619" fmla="*/ 853199 h 1257510"/>
                    <a:gd name="connsiteX1620" fmla="*/ 749195 w 1553021"/>
                    <a:gd name="connsiteY1620" fmla="*/ 849010 h 1257510"/>
                    <a:gd name="connsiteX1621" fmla="*/ 747191 w 1553021"/>
                    <a:gd name="connsiteY1621" fmla="*/ 847844 h 1257510"/>
                    <a:gd name="connsiteX1622" fmla="*/ 744957 w 1553021"/>
                    <a:gd name="connsiteY1622" fmla="*/ 845707 h 1257510"/>
                    <a:gd name="connsiteX1623" fmla="*/ 742201 w 1553021"/>
                    <a:gd name="connsiteY1623" fmla="*/ 841906 h 1257510"/>
                    <a:gd name="connsiteX1624" fmla="*/ 741897 w 1553021"/>
                    <a:gd name="connsiteY1624" fmla="*/ 841724 h 1257510"/>
                    <a:gd name="connsiteX1625" fmla="*/ 741096 w 1553021"/>
                    <a:gd name="connsiteY1625" fmla="*/ 841785 h 1257510"/>
                    <a:gd name="connsiteX1626" fmla="*/ 739189 w 1553021"/>
                    <a:gd name="connsiteY1626" fmla="*/ 842258 h 1257510"/>
                    <a:gd name="connsiteX1627" fmla="*/ 734551 w 1553021"/>
                    <a:gd name="connsiteY1627" fmla="*/ 842514 h 1257510"/>
                    <a:gd name="connsiteX1628" fmla="*/ 730349 w 1553021"/>
                    <a:gd name="connsiteY1628" fmla="*/ 840304 h 1257510"/>
                    <a:gd name="connsiteX1629" fmla="*/ 729693 w 1553021"/>
                    <a:gd name="connsiteY1629" fmla="*/ 840595 h 1257510"/>
                    <a:gd name="connsiteX1630" fmla="*/ 729378 w 1553021"/>
                    <a:gd name="connsiteY1630" fmla="*/ 841068 h 1257510"/>
                    <a:gd name="connsiteX1631" fmla="*/ 728115 w 1553021"/>
                    <a:gd name="connsiteY1631" fmla="*/ 844493 h 1257510"/>
                    <a:gd name="connsiteX1632" fmla="*/ 727374 w 1553021"/>
                    <a:gd name="connsiteY1632" fmla="*/ 845245 h 1257510"/>
                    <a:gd name="connsiteX1633" fmla="*/ 726148 w 1553021"/>
                    <a:gd name="connsiteY1633" fmla="*/ 846326 h 1257510"/>
                    <a:gd name="connsiteX1634" fmla="*/ 724751 w 1553021"/>
                    <a:gd name="connsiteY1634" fmla="*/ 847104 h 1257510"/>
                    <a:gd name="connsiteX1635" fmla="*/ 721873 w 1553021"/>
                    <a:gd name="connsiteY1635" fmla="*/ 848026 h 1257510"/>
                    <a:gd name="connsiteX1636" fmla="*/ 722043 w 1553021"/>
                    <a:gd name="connsiteY1636" fmla="*/ 849411 h 1257510"/>
                    <a:gd name="connsiteX1637" fmla="*/ 721873 w 1553021"/>
                    <a:gd name="connsiteY1637" fmla="*/ 852337 h 1257510"/>
                    <a:gd name="connsiteX1638" fmla="*/ 720623 w 1553021"/>
                    <a:gd name="connsiteY1638" fmla="*/ 854304 h 1257510"/>
                    <a:gd name="connsiteX1639" fmla="*/ 718425 w 1553021"/>
                    <a:gd name="connsiteY1639" fmla="*/ 856162 h 1257510"/>
                    <a:gd name="connsiteX1640" fmla="*/ 713483 w 1553021"/>
                    <a:gd name="connsiteY1640" fmla="*/ 858202 h 1257510"/>
                    <a:gd name="connsiteX1641" fmla="*/ 712086 w 1553021"/>
                    <a:gd name="connsiteY1641" fmla="*/ 859076 h 1257510"/>
                    <a:gd name="connsiteX1642" fmla="*/ 712013 w 1553021"/>
                    <a:gd name="connsiteY1642" fmla="*/ 859586 h 1257510"/>
                    <a:gd name="connsiteX1643" fmla="*/ 711770 w 1553021"/>
                    <a:gd name="connsiteY1643" fmla="*/ 860303 h 1257510"/>
                    <a:gd name="connsiteX1644" fmla="*/ 711115 w 1553021"/>
                    <a:gd name="connsiteY1644" fmla="*/ 862841 h 1257510"/>
                    <a:gd name="connsiteX1645" fmla="*/ 706245 w 1553021"/>
                    <a:gd name="connsiteY1645" fmla="*/ 867212 h 1257510"/>
                    <a:gd name="connsiteX1646" fmla="*/ 693422 w 1553021"/>
                    <a:gd name="connsiteY1646" fmla="*/ 870867 h 1257510"/>
                    <a:gd name="connsiteX1647" fmla="*/ 693301 w 1553021"/>
                    <a:gd name="connsiteY1647" fmla="*/ 870989 h 1257510"/>
                    <a:gd name="connsiteX1648" fmla="*/ 695985 w 1553021"/>
                    <a:gd name="connsiteY1648" fmla="*/ 874231 h 1257510"/>
                    <a:gd name="connsiteX1649" fmla="*/ 697563 w 1553021"/>
                    <a:gd name="connsiteY1649" fmla="*/ 876793 h 1257510"/>
                    <a:gd name="connsiteX1650" fmla="*/ 697733 w 1553021"/>
                    <a:gd name="connsiteY1650" fmla="*/ 879112 h 1257510"/>
                    <a:gd name="connsiteX1651" fmla="*/ 697551 w 1553021"/>
                    <a:gd name="connsiteY1651" fmla="*/ 881286 h 1257510"/>
                    <a:gd name="connsiteX1652" fmla="*/ 696908 w 1553021"/>
                    <a:gd name="connsiteY1652" fmla="*/ 883654 h 1257510"/>
                    <a:gd name="connsiteX1653" fmla="*/ 697673 w 1553021"/>
                    <a:gd name="connsiteY1653" fmla="*/ 885002 h 1257510"/>
                    <a:gd name="connsiteX1654" fmla="*/ 698268 w 1553021"/>
                    <a:gd name="connsiteY1654" fmla="*/ 887381 h 1257510"/>
                    <a:gd name="connsiteX1655" fmla="*/ 698450 w 1553021"/>
                    <a:gd name="connsiteY1655" fmla="*/ 888414 h 1257510"/>
                    <a:gd name="connsiteX1656" fmla="*/ 697260 w 1553021"/>
                    <a:gd name="connsiteY1656" fmla="*/ 890636 h 1257510"/>
                    <a:gd name="connsiteX1657" fmla="*/ 695074 w 1553021"/>
                    <a:gd name="connsiteY1657" fmla="*/ 892931 h 1257510"/>
                    <a:gd name="connsiteX1658" fmla="*/ 694054 w 1553021"/>
                    <a:gd name="connsiteY1658" fmla="*/ 894461 h 1257510"/>
                    <a:gd name="connsiteX1659" fmla="*/ 693932 w 1553021"/>
                    <a:gd name="connsiteY1659" fmla="*/ 895408 h 1257510"/>
                    <a:gd name="connsiteX1660" fmla="*/ 694467 w 1553021"/>
                    <a:gd name="connsiteY1660" fmla="*/ 896440 h 1257510"/>
                    <a:gd name="connsiteX1661" fmla="*/ 695912 w 1553021"/>
                    <a:gd name="connsiteY1661" fmla="*/ 897460 h 1257510"/>
                    <a:gd name="connsiteX1662" fmla="*/ 696434 w 1553021"/>
                    <a:gd name="connsiteY1662" fmla="*/ 897922 h 1257510"/>
                    <a:gd name="connsiteX1663" fmla="*/ 697393 w 1553021"/>
                    <a:gd name="connsiteY1663" fmla="*/ 900229 h 1257510"/>
                    <a:gd name="connsiteX1664" fmla="*/ 698425 w 1553021"/>
                    <a:gd name="connsiteY1664" fmla="*/ 905037 h 1257510"/>
                    <a:gd name="connsiteX1665" fmla="*/ 698680 w 1553021"/>
                    <a:gd name="connsiteY1665" fmla="*/ 905365 h 1257510"/>
                    <a:gd name="connsiteX1666" fmla="*/ 702566 w 1553021"/>
                    <a:gd name="connsiteY1666" fmla="*/ 908049 h 1257510"/>
                    <a:gd name="connsiteX1667" fmla="*/ 705213 w 1553021"/>
                    <a:gd name="connsiteY1667" fmla="*/ 910805 h 1257510"/>
                    <a:gd name="connsiteX1668" fmla="*/ 706027 w 1553021"/>
                    <a:gd name="connsiteY1668" fmla="*/ 915104 h 1257510"/>
                    <a:gd name="connsiteX1669" fmla="*/ 704242 w 1553021"/>
                    <a:gd name="connsiteY1669" fmla="*/ 917484 h 1257510"/>
                    <a:gd name="connsiteX1670" fmla="*/ 699555 w 1553021"/>
                    <a:gd name="connsiteY1670" fmla="*/ 921005 h 1257510"/>
                    <a:gd name="connsiteX1671" fmla="*/ 697418 w 1553021"/>
                    <a:gd name="connsiteY1671" fmla="*/ 922208 h 1257510"/>
                    <a:gd name="connsiteX1672" fmla="*/ 693945 w 1553021"/>
                    <a:gd name="connsiteY1672" fmla="*/ 922888 h 1257510"/>
                    <a:gd name="connsiteX1673" fmla="*/ 687740 w 1553021"/>
                    <a:gd name="connsiteY1673" fmla="*/ 921625 h 1257510"/>
                    <a:gd name="connsiteX1674" fmla="*/ 685700 w 1553021"/>
                    <a:gd name="connsiteY1674" fmla="*/ 921370 h 1257510"/>
                    <a:gd name="connsiteX1675" fmla="*/ 681328 w 1553021"/>
                    <a:gd name="connsiteY1675" fmla="*/ 921479 h 1257510"/>
                    <a:gd name="connsiteX1676" fmla="*/ 678535 w 1553021"/>
                    <a:gd name="connsiteY1676" fmla="*/ 920848 h 1257510"/>
                    <a:gd name="connsiteX1677" fmla="*/ 675730 w 1553021"/>
                    <a:gd name="connsiteY1677" fmla="*/ 919099 h 1257510"/>
                    <a:gd name="connsiteX1678" fmla="*/ 672233 w 1553021"/>
                    <a:gd name="connsiteY1678" fmla="*/ 915833 h 1257510"/>
                    <a:gd name="connsiteX1679" fmla="*/ 671322 w 1553021"/>
                    <a:gd name="connsiteY1679" fmla="*/ 915492 h 1257510"/>
                    <a:gd name="connsiteX1680" fmla="*/ 670266 w 1553021"/>
                    <a:gd name="connsiteY1680" fmla="*/ 915359 h 1257510"/>
                    <a:gd name="connsiteX1681" fmla="*/ 668918 w 1553021"/>
                    <a:gd name="connsiteY1681" fmla="*/ 915626 h 1257510"/>
                    <a:gd name="connsiteX1682" fmla="*/ 666732 w 1553021"/>
                    <a:gd name="connsiteY1682" fmla="*/ 916197 h 1257510"/>
                    <a:gd name="connsiteX1683" fmla="*/ 664207 w 1553021"/>
                    <a:gd name="connsiteY1683" fmla="*/ 917848 h 1257510"/>
                    <a:gd name="connsiteX1684" fmla="*/ 661814 w 1553021"/>
                    <a:gd name="connsiteY1684" fmla="*/ 918735 h 1257510"/>
                    <a:gd name="connsiteX1685" fmla="*/ 658900 w 1553021"/>
                    <a:gd name="connsiteY1685" fmla="*/ 918881 h 1257510"/>
                    <a:gd name="connsiteX1686" fmla="*/ 658147 w 1553021"/>
                    <a:gd name="connsiteY1686" fmla="*/ 918868 h 1257510"/>
                    <a:gd name="connsiteX1687" fmla="*/ 654492 w 1553021"/>
                    <a:gd name="connsiteY1687" fmla="*/ 916865 h 1257510"/>
                    <a:gd name="connsiteX1688" fmla="*/ 652501 w 1553021"/>
                    <a:gd name="connsiteY1688" fmla="*/ 916780 h 1257510"/>
                    <a:gd name="connsiteX1689" fmla="*/ 649951 w 1553021"/>
                    <a:gd name="connsiteY1689" fmla="*/ 917508 h 1257510"/>
                    <a:gd name="connsiteX1690" fmla="*/ 644571 w 1553021"/>
                    <a:gd name="connsiteY1690" fmla="*/ 921018 h 1257510"/>
                    <a:gd name="connsiteX1691" fmla="*/ 640236 w 1553021"/>
                    <a:gd name="connsiteY1691" fmla="*/ 922839 h 1257510"/>
                    <a:gd name="connsiteX1692" fmla="*/ 637565 w 1553021"/>
                    <a:gd name="connsiteY1692" fmla="*/ 923628 h 1257510"/>
                    <a:gd name="connsiteX1693" fmla="*/ 635197 w 1553021"/>
                    <a:gd name="connsiteY1693" fmla="*/ 923628 h 1257510"/>
                    <a:gd name="connsiteX1694" fmla="*/ 634420 w 1553021"/>
                    <a:gd name="connsiteY1694" fmla="*/ 923568 h 1257510"/>
                    <a:gd name="connsiteX1695" fmla="*/ 632902 w 1553021"/>
                    <a:gd name="connsiteY1695" fmla="*/ 922560 h 1257510"/>
                    <a:gd name="connsiteX1696" fmla="*/ 631870 w 1553021"/>
                    <a:gd name="connsiteY1696" fmla="*/ 922924 h 1257510"/>
                    <a:gd name="connsiteX1697" fmla="*/ 625228 w 1553021"/>
                    <a:gd name="connsiteY1697" fmla="*/ 924321 h 1257510"/>
                    <a:gd name="connsiteX1698" fmla="*/ 619763 w 1553021"/>
                    <a:gd name="connsiteY1698" fmla="*/ 928109 h 1257510"/>
                    <a:gd name="connsiteX1699" fmla="*/ 615623 w 1553021"/>
                    <a:gd name="connsiteY1699" fmla="*/ 925863 h 1257510"/>
                    <a:gd name="connsiteX1700" fmla="*/ 614226 w 1553021"/>
                    <a:gd name="connsiteY1700" fmla="*/ 923665 h 1257510"/>
                    <a:gd name="connsiteX1701" fmla="*/ 613097 w 1553021"/>
                    <a:gd name="connsiteY1701" fmla="*/ 922912 h 1257510"/>
                    <a:gd name="connsiteX1702" fmla="*/ 610037 w 1553021"/>
                    <a:gd name="connsiteY1702" fmla="*/ 921843 h 1257510"/>
                    <a:gd name="connsiteX1703" fmla="*/ 608555 w 1553021"/>
                    <a:gd name="connsiteY1703" fmla="*/ 918395 h 1257510"/>
                    <a:gd name="connsiteX1704" fmla="*/ 607973 w 1553021"/>
                    <a:gd name="connsiteY1704" fmla="*/ 914606 h 1257510"/>
                    <a:gd name="connsiteX1705" fmla="*/ 607353 w 1553021"/>
                    <a:gd name="connsiteY1705" fmla="*/ 911910 h 1257510"/>
                    <a:gd name="connsiteX1706" fmla="*/ 606722 w 1553021"/>
                    <a:gd name="connsiteY1706" fmla="*/ 910842 h 1257510"/>
                    <a:gd name="connsiteX1707" fmla="*/ 601889 w 1553021"/>
                    <a:gd name="connsiteY1707" fmla="*/ 913683 h 1257510"/>
                    <a:gd name="connsiteX1708" fmla="*/ 599473 w 1553021"/>
                    <a:gd name="connsiteY1708" fmla="*/ 910987 h 1257510"/>
                    <a:gd name="connsiteX1709" fmla="*/ 598708 w 1553021"/>
                    <a:gd name="connsiteY1709" fmla="*/ 911546 h 1257510"/>
                    <a:gd name="connsiteX1710" fmla="*/ 596182 w 1553021"/>
                    <a:gd name="connsiteY1710" fmla="*/ 914837 h 1257510"/>
                    <a:gd name="connsiteX1711" fmla="*/ 591725 w 1553021"/>
                    <a:gd name="connsiteY1711" fmla="*/ 918285 h 1257510"/>
                    <a:gd name="connsiteX1712" fmla="*/ 586662 w 1553021"/>
                    <a:gd name="connsiteY1712" fmla="*/ 917423 h 1257510"/>
                    <a:gd name="connsiteX1713" fmla="*/ 584683 w 1553021"/>
                    <a:gd name="connsiteY1713" fmla="*/ 914982 h 1257510"/>
                    <a:gd name="connsiteX1714" fmla="*/ 583395 w 1553021"/>
                    <a:gd name="connsiteY1714" fmla="*/ 912275 h 1257510"/>
                    <a:gd name="connsiteX1715" fmla="*/ 582473 w 1553021"/>
                    <a:gd name="connsiteY1715" fmla="*/ 910562 h 1257510"/>
                    <a:gd name="connsiteX1716" fmla="*/ 581647 w 1553021"/>
                    <a:gd name="connsiteY1716" fmla="*/ 909992 h 1257510"/>
                    <a:gd name="connsiteX1717" fmla="*/ 580105 w 1553021"/>
                    <a:gd name="connsiteY1717" fmla="*/ 909603 h 1257510"/>
                    <a:gd name="connsiteX1718" fmla="*/ 575685 w 1553021"/>
                    <a:gd name="connsiteY1718" fmla="*/ 910247 h 1257510"/>
                    <a:gd name="connsiteX1719" fmla="*/ 568933 w 1553021"/>
                    <a:gd name="connsiteY1719" fmla="*/ 907757 h 1257510"/>
                    <a:gd name="connsiteX1720" fmla="*/ 566310 w 1553021"/>
                    <a:gd name="connsiteY1720" fmla="*/ 902658 h 1257510"/>
                    <a:gd name="connsiteX1721" fmla="*/ 565132 w 1553021"/>
                    <a:gd name="connsiteY1721" fmla="*/ 899294 h 1257510"/>
                    <a:gd name="connsiteX1722" fmla="*/ 563019 w 1553021"/>
                    <a:gd name="connsiteY1722" fmla="*/ 898019 h 1257510"/>
                    <a:gd name="connsiteX1723" fmla="*/ 562692 w 1553021"/>
                    <a:gd name="connsiteY1723" fmla="*/ 897909 h 1257510"/>
                    <a:gd name="connsiteX1724" fmla="*/ 561489 w 1553021"/>
                    <a:gd name="connsiteY1724" fmla="*/ 898310 h 1257510"/>
                    <a:gd name="connsiteX1725" fmla="*/ 560992 w 1553021"/>
                    <a:gd name="connsiteY1725" fmla="*/ 898626 h 1257510"/>
                    <a:gd name="connsiteX1726" fmla="*/ 560287 w 1553021"/>
                    <a:gd name="connsiteY1726" fmla="*/ 899561 h 1257510"/>
                    <a:gd name="connsiteX1727" fmla="*/ 559474 w 1553021"/>
                    <a:gd name="connsiteY1727" fmla="*/ 901079 h 1257510"/>
                    <a:gd name="connsiteX1728" fmla="*/ 557021 w 1553021"/>
                    <a:gd name="connsiteY1728" fmla="*/ 906555 h 1257510"/>
                    <a:gd name="connsiteX1729" fmla="*/ 555345 w 1553021"/>
                    <a:gd name="connsiteY1729" fmla="*/ 909008 h 1257510"/>
                    <a:gd name="connsiteX1730" fmla="*/ 553609 w 1553021"/>
                    <a:gd name="connsiteY1730" fmla="*/ 910769 h 1257510"/>
                    <a:gd name="connsiteX1731" fmla="*/ 550743 w 1553021"/>
                    <a:gd name="connsiteY1731" fmla="*/ 912882 h 1257510"/>
                    <a:gd name="connsiteX1732" fmla="*/ 550452 w 1553021"/>
                    <a:gd name="connsiteY1732" fmla="*/ 913258 h 1257510"/>
                    <a:gd name="connsiteX1733" fmla="*/ 550597 w 1553021"/>
                    <a:gd name="connsiteY1733" fmla="*/ 915978 h 1257510"/>
                    <a:gd name="connsiteX1734" fmla="*/ 553499 w 1553021"/>
                    <a:gd name="connsiteY1734" fmla="*/ 921479 h 1257510"/>
                    <a:gd name="connsiteX1735" fmla="*/ 554653 w 1553021"/>
                    <a:gd name="connsiteY1735" fmla="*/ 925110 h 1257510"/>
                    <a:gd name="connsiteX1736" fmla="*/ 555467 w 1553021"/>
                    <a:gd name="connsiteY1736" fmla="*/ 929153 h 1257510"/>
                    <a:gd name="connsiteX1737" fmla="*/ 555989 w 1553021"/>
                    <a:gd name="connsiteY1737" fmla="*/ 930258 h 1257510"/>
                    <a:gd name="connsiteX1738" fmla="*/ 558296 w 1553021"/>
                    <a:gd name="connsiteY1738" fmla="*/ 931072 h 1257510"/>
                    <a:gd name="connsiteX1739" fmla="*/ 560676 w 1553021"/>
                    <a:gd name="connsiteY1739" fmla="*/ 933148 h 1257510"/>
                    <a:gd name="connsiteX1740" fmla="*/ 562315 w 1553021"/>
                    <a:gd name="connsiteY1740" fmla="*/ 936257 h 1257510"/>
                    <a:gd name="connsiteX1741" fmla="*/ 563335 w 1553021"/>
                    <a:gd name="connsiteY1741" fmla="*/ 939827 h 1257510"/>
                    <a:gd name="connsiteX1742" fmla="*/ 563651 w 1553021"/>
                    <a:gd name="connsiteY1742" fmla="*/ 942632 h 1257510"/>
                    <a:gd name="connsiteX1743" fmla="*/ 563615 w 1553021"/>
                    <a:gd name="connsiteY1743" fmla="*/ 944878 h 1257510"/>
                    <a:gd name="connsiteX1744" fmla="*/ 562692 w 1553021"/>
                    <a:gd name="connsiteY1744" fmla="*/ 947696 h 1257510"/>
                    <a:gd name="connsiteX1745" fmla="*/ 561526 w 1553021"/>
                    <a:gd name="connsiteY1745" fmla="*/ 949772 h 1257510"/>
                    <a:gd name="connsiteX1746" fmla="*/ 560749 w 1553021"/>
                    <a:gd name="connsiteY1746" fmla="*/ 951496 h 1257510"/>
                    <a:gd name="connsiteX1747" fmla="*/ 560372 w 1553021"/>
                    <a:gd name="connsiteY1747" fmla="*/ 953524 h 1257510"/>
                    <a:gd name="connsiteX1748" fmla="*/ 560445 w 1553021"/>
                    <a:gd name="connsiteY1748" fmla="*/ 956912 h 1257510"/>
                    <a:gd name="connsiteX1749" fmla="*/ 561089 w 1553021"/>
                    <a:gd name="connsiteY1749" fmla="*/ 958284 h 1257510"/>
                    <a:gd name="connsiteX1750" fmla="*/ 561878 w 1553021"/>
                    <a:gd name="connsiteY1750" fmla="*/ 959146 h 1257510"/>
                    <a:gd name="connsiteX1751" fmla="*/ 563189 w 1553021"/>
                    <a:gd name="connsiteY1751" fmla="*/ 960191 h 1257510"/>
                    <a:gd name="connsiteX1752" fmla="*/ 565181 w 1553021"/>
                    <a:gd name="connsiteY1752" fmla="*/ 962388 h 1257510"/>
                    <a:gd name="connsiteX1753" fmla="*/ 567233 w 1553021"/>
                    <a:gd name="connsiteY1753" fmla="*/ 965983 h 1257510"/>
                    <a:gd name="connsiteX1754" fmla="*/ 568144 w 1553021"/>
                    <a:gd name="connsiteY1754" fmla="*/ 968994 h 1257510"/>
                    <a:gd name="connsiteX1755" fmla="*/ 568071 w 1553021"/>
                    <a:gd name="connsiteY1755" fmla="*/ 972783 h 1257510"/>
                    <a:gd name="connsiteX1756" fmla="*/ 566650 w 1553021"/>
                    <a:gd name="connsiteY1756" fmla="*/ 975102 h 1257510"/>
                    <a:gd name="connsiteX1757" fmla="*/ 563833 w 1553021"/>
                    <a:gd name="connsiteY1757" fmla="*/ 976996 h 1257510"/>
                    <a:gd name="connsiteX1758" fmla="*/ 565970 w 1553021"/>
                    <a:gd name="connsiteY1758" fmla="*/ 980105 h 1257510"/>
                    <a:gd name="connsiteX1759" fmla="*/ 566942 w 1553021"/>
                    <a:gd name="connsiteY1759" fmla="*/ 982995 h 1257510"/>
                    <a:gd name="connsiteX1760" fmla="*/ 567257 w 1553021"/>
                    <a:gd name="connsiteY1760" fmla="*/ 985047 h 1257510"/>
                    <a:gd name="connsiteX1761" fmla="*/ 567087 w 1553021"/>
                    <a:gd name="connsiteY1761" fmla="*/ 987852 h 1257510"/>
                    <a:gd name="connsiteX1762" fmla="*/ 566529 w 1553021"/>
                    <a:gd name="connsiteY1762" fmla="*/ 990074 h 1257510"/>
                    <a:gd name="connsiteX1763" fmla="*/ 565545 w 1553021"/>
                    <a:gd name="connsiteY1763" fmla="*/ 992078 h 1257510"/>
                    <a:gd name="connsiteX1764" fmla="*/ 563068 w 1553021"/>
                    <a:gd name="connsiteY1764" fmla="*/ 994652 h 1257510"/>
                    <a:gd name="connsiteX1765" fmla="*/ 559619 w 1553021"/>
                    <a:gd name="connsiteY1765" fmla="*/ 995502 h 1257510"/>
                    <a:gd name="connsiteX1766" fmla="*/ 556304 w 1553021"/>
                    <a:gd name="connsiteY1766" fmla="*/ 994616 h 1257510"/>
                    <a:gd name="connsiteX1767" fmla="*/ 552941 w 1553021"/>
                    <a:gd name="connsiteY1767" fmla="*/ 992673 h 1257510"/>
                    <a:gd name="connsiteX1768" fmla="*/ 547513 w 1553021"/>
                    <a:gd name="connsiteY1768" fmla="*/ 987876 h 1257510"/>
                    <a:gd name="connsiteX1769" fmla="*/ 546420 w 1553021"/>
                    <a:gd name="connsiteY1769" fmla="*/ 989844 h 1257510"/>
                    <a:gd name="connsiteX1770" fmla="*/ 545097 w 1553021"/>
                    <a:gd name="connsiteY1770" fmla="*/ 991471 h 1257510"/>
                    <a:gd name="connsiteX1771" fmla="*/ 543117 w 1553021"/>
                    <a:gd name="connsiteY1771" fmla="*/ 993244 h 1257510"/>
                    <a:gd name="connsiteX1772" fmla="*/ 541077 w 1553021"/>
                    <a:gd name="connsiteY1772" fmla="*/ 994543 h 1257510"/>
                    <a:gd name="connsiteX1773" fmla="*/ 533536 w 1553021"/>
                    <a:gd name="connsiteY1773" fmla="*/ 997457 h 1257510"/>
                    <a:gd name="connsiteX1774" fmla="*/ 530306 w 1553021"/>
                    <a:gd name="connsiteY1774" fmla="*/ 997968 h 1257510"/>
                    <a:gd name="connsiteX1775" fmla="*/ 527453 w 1553021"/>
                    <a:gd name="connsiteY1775" fmla="*/ 997093 h 1257510"/>
                    <a:gd name="connsiteX1776" fmla="*/ 525704 w 1553021"/>
                    <a:gd name="connsiteY1776" fmla="*/ 995345 h 1257510"/>
                    <a:gd name="connsiteX1777" fmla="*/ 524405 w 1553021"/>
                    <a:gd name="connsiteY1777" fmla="*/ 993669 h 1257510"/>
                    <a:gd name="connsiteX1778" fmla="*/ 523737 w 1553021"/>
                    <a:gd name="connsiteY1778" fmla="*/ 993329 h 1257510"/>
                    <a:gd name="connsiteX1779" fmla="*/ 522996 w 1553021"/>
                    <a:gd name="connsiteY1779" fmla="*/ 993292 h 1257510"/>
                    <a:gd name="connsiteX1780" fmla="*/ 513573 w 1553021"/>
                    <a:gd name="connsiteY1780" fmla="*/ 993511 h 1257510"/>
                    <a:gd name="connsiteX1781" fmla="*/ 512323 w 1553021"/>
                    <a:gd name="connsiteY1781" fmla="*/ 993899 h 1257510"/>
                    <a:gd name="connsiteX1782" fmla="*/ 509068 w 1553021"/>
                    <a:gd name="connsiteY1782" fmla="*/ 996012 h 1257510"/>
                    <a:gd name="connsiteX1783" fmla="*/ 506190 w 1553021"/>
                    <a:gd name="connsiteY1783" fmla="*/ 997275 h 1257510"/>
                    <a:gd name="connsiteX1784" fmla="*/ 502220 w 1553021"/>
                    <a:gd name="connsiteY1784" fmla="*/ 998174 h 1257510"/>
                    <a:gd name="connsiteX1785" fmla="*/ 492797 w 1553021"/>
                    <a:gd name="connsiteY1785" fmla="*/ 998380 h 1257510"/>
                    <a:gd name="connsiteX1786" fmla="*/ 492275 w 1553021"/>
                    <a:gd name="connsiteY1786" fmla="*/ 998648 h 1257510"/>
                    <a:gd name="connsiteX1787" fmla="*/ 492250 w 1553021"/>
                    <a:gd name="connsiteY1787" fmla="*/ 999643 h 1257510"/>
                    <a:gd name="connsiteX1788" fmla="*/ 492736 w 1553021"/>
                    <a:gd name="connsiteY1788" fmla="*/ 1002861 h 1257510"/>
                    <a:gd name="connsiteX1789" fmla="*/ 492420 w 1553021"/>
                    <a:gd name="connsiteY1789" fmla="*/ 1008179 h 1257510"/>
                    <a:gd name="connsiteX1790" fmla="*/ 482439 w 1553021"/>
                    <a:gd name="connsiteY1790" fmla="*/ 1013838 h 1257510"/>
                    <a:gd name="connsiteX1791" fmla="*/ 476100 w 1553021"/>
                    <a:gd name="connsiteY1791" fmla="*/ 1015854 h 1257510"/>
                    <a:gd name="connsiteX1792" fmla="*/ 472858 w 1553021"/>
                    <a:gd name="connsiteY1792" fmla="*/ 1015866 h 1257510"/>
                    <a:gd name="connsiteX1793" fmla="*/ 470284 w 1553021"/>
                    <a:gd name="connsiteY1793" fmla="*/ 1015235 h 1257510"/>
                    <a:gd name="connsiteX1794" fmla="*/ 467697 w 1553021"/>
                    <a:gd name="connsiteY1794" fmla="*/ 1013960 h 1257510"/>
                    <a:gd name="connsiteX1795" fmla="*/ 465135 w 1553021"/>
                    <a:gd name="connsiteY1795" fmla="*/ 1013037 h 1257510"/>
                    <a:gd name="connsiteX1796" fmla="*/ 462257 w 1553021"/>
                    <a:gd name="connsiteY1796" fmla="*/ 1010730 h 1257510"/>
                    <a:gd name="connsiteX1797" fmla="*/ 460557 w 1553021"/>
                    <a:gd name="connsiteY1797" fmla="*/ 1008593 h 1257510"/>
                    <a:gd name="connsiteX1798" fmla="*/ 459853 w 1553021"/>
                    <a:gd name="connsiteY1798" fmla="*/ 1007512 h 1257510"/>
                    <a:gd name="connsiteX1799" fmla="*/ 456927 w 1553021"/>
                    <a:gd name="connsiteY1799" fmla="*/ 1006419 h 1257510"/>
                    <a:gd name="connsiteX1800" fmla="*/ 454595 w 1553021"/>
                    <a:gd name="connsiteY1800" fmla="*/ 1004622 h 1257510"/>
                    <a:gd name="connsiteX1801" fmla="*/ 452919 w 1553021"/>
                    <a:gd name="connsiteY1801" fmla="*/ 1002314 h 1257510"/>
                    <a:gd name="connsiteX1802" fmla="*/ 452118 w 1553021"/>
                    <a:gd name="connsiteY1802" fmla="*/ 999752 h 1257510"/>
                    <a:gd name="connsiteX1803" fmla="*/ 443666 w 1553021"/>
                    <a:gd name="connsiteY1803" fmla="*/ 1001185 h 1257510"/>
                    <a:gd name="connsiteX1804" fmla="*/ 438943 w 1553021"/>
                    <a:gd name="connsiteY1804" fmla="*/ 999497 h 1257510"/>
                    <a:gd name="connsiteX1805" fmla="*/ 437838 w 1553021"/>
                    <a:gd name="connsiteY1805" fmla="*/ 1003553 h 1257510"/>
                    <a:gd name="connsiteX1806" fmla="*/ 436927 w 1553021"/>
                    <a:gd name="connsiteY1806" fmla="*/ 1005387 h 1257510"/>
                    <a:gd name="connsiteX1807" fmla="*/ 433369 w 1553021"/>
                    <a:gd name="connsiteY1807" fmla="*/ 1008604 h 1257510"/>
                    <a:gd name="connsiteX1808" fmla="*/ 431511 w 1553021"/>
                    <a:gd name="connsiteY1808" fmla="*/ 1011142 h 1257510"/>
                    <a:gd name="connsiteX1809" fmla="*/ 429216 w 1553021"/>
                    <a:gd name="connsiteY1809" fmla="*/ 1012429 h 1257510"/>
                    <a:gd name="connsiteX1810" fmla="*/ 426339 w 1553021"/>
                    <a:gd name="connsiteY1810" fmla="*/ 1013680 h 1257510"/>
                    <a:gd name="connsiteX1811" fmla="*/ 418251 w 1553021"/>
                    <a:gd name="connsiteY1811" fmla="*/ 1016097 h 1257510"/>
                    <a:gd name="connsiteX1812" fmla="*/ 418810 w 1553021"/>
                    <a:gd name="connsiteY1812" fmla="*/ 1017056 h 1257510"/>
                    <a:gd name="connsiteX1813" fmla="*/ 419636 w 1553021"/>
                    <a:gd name="connsiteY1813" fmla="*/ 1018926 h 1257510"/>
                    <a:gd name="connsiteX1814" fmla="*/ 420413 w 1553021"/>
                    <a:gd name="connsiteY1814" fmla="*/ 1021561 h 1257510"/>
                    <a:gd name="connsiteX1815" fmla="*/ 422028 w 1553021"/>
                    <a:gd name="connsiteY1815" fmla="*/ 1030365 h 1257510"/>
                    <a:gd name="connsiteX1816" fmla="*/ 422028 w 1553021"/>
                    <a:gd name="connsiteY1816" fmla="*/ 1031567 h 1257510"/>
                    <a:gd name="connsiteX1817" fmla="*/ 421433 w 1553021"/>
                    <a:gd name="connsiteY1817" fmla="*/ 1034008 h 1257510"/>
                    <a:gd name="connsiteX1818" fmla="*/ 421178 w 1553021"/>
                    <a:gd name="connsiteY1818" fmla="*/ 1034433 h 1257510"/>
                    <a:gd name="connsiteX1819" fmla="*/ 420413 w 1553021"/>
                    <a:gd name="connsiteY1819" fmla="*/ 1035441 h 1257510"/>
                    <a:gd name="connsiteX1820" fmla="*/ 418543 w 1553021"/>
                    <a:gd name="connsiteY1820" fmla="*/ 1037092 h 1257510"/>
                    <a:gd name="connsiteX1821" fmla="*/ 416199 w 1553021"/>
                    <a:gd name="connsiteY1821" fmla="*/ 1037347 h 1257510"/>
                    <a:gd name="connsiteX1822" fmla="*/ 413273 w 1553021"/>
                    <a:gd name="connsiteY1822" fmla="*/ 1036934 h 1257510"/>
                    <a:gd name="connsiteX1823" fmla="*/ 409921 w 1553021"/>
                    <a:gd name="connsiteY1823" fmla="*/ 1035696 h 1257510"/>
                    <a:gd name="connsiteX1824" fmla="*/ 407335 w 1553021"/>
                    <a:gd name="connsiteY1824" fmla="*/ 1035307 h 1257510"/>
                    <a:gd name="connsiteX1825" fmla="*/ 406084 w 1553021"/>
                    <a:gd name="connsiteY1825" fmla="*/ 1035574 h 1257510"/>
                    <a:gd name="connsiteX1826" fmla="*/ 404688 w 1553021"/>
                    <a:gd name="connsiteY1826" fmla="*/ 1036703 h 1257510"/>
                    <a:gd name="connsiteX1827" fmla="*/ 400061 w 1553021"/>
                    <a:gd name="connsiteY1827" fmla="*/ 1039253 h 1257510"/>
                    <a:gd name="connsiteX1828" fmla="*/ 396722 w 1553021"/>
                    <a:gd name="connsiteY1828" fmla="*/ 1040128 h 1257510"/>
                    <a:gd name="connsiteX1829" fmla="*/ 395678 w 1553021"/>
                    <a:gd name="connsiteY1829" fmla="*/ 1041816 h 1257510"/>
                    <a:gd name="connsiteX1830" fmla="*/ 393577 w 1553021"/>
                    <a:gd name="connsiteY1830" fmla="*/ 1043856 h 1257510"/>
                    <a:gd name="connsiteX1831" fmla="*/ 391500 w 1553021"/>
                    <a:gd name="connsiteY1831" fmla="*/ 1044961 h 1257510"/>
                    <a:gd name="connsiteX1832" fmla="*/ 389048 w 1553021"/>
                    <a:gd name="connsiteY1832" fmla="*/ 1045434 h 1257510"/>
                    <a:gd name="connsiteX1833" fmla="*/ 387700 w 1553021"/>
                    <a:gd name="connsiteY1833" fmla="*/ 1045446 h 1257510"/>
                    <a:gd name="connsiteX1834" fmla="*/ 385903 w 1553021"/>
                    <a:gd name="connsiteY1834" fmla="*/ 1050935 h 1257510"/>
                    <a:gd name="connsiteX1835" fmla="*/ 385125 w 1553021"/>
                    <a:gd name="connsiteY1835" fmla="*/ 1052198 h 1257510"/>
                    <a:gd name="connsiteX1836" fmla="*/ 383741 w 1553021"/>
                    <a:gd name="connsiteY1836" fmla="*/ 1053679 h 1257510"/>
                    <a:gd name="connsiteX1837" fmla="*/ 381908 w 1553021"/>
                    <a:gd name="connsiteY1837" fmla="*/ 1054918 h 1257510"/>
                    <a:gd name="connsiteX1838" fmla="*/ 385830 w 1553021"/>
                    <a:gd name="connsiteY1838" fmla="*/ 1058791 h 1257510"/>
                    <a:gd name="connsiteX1839" fmla="*/ 384907 w 1553021"/>
                    <a:gd name="connsiteY1839" fmla="*/ 1062592 h 1257510"/>
                    <a:gd name="connsiteX1840" fmla="*/ 383632 w 1553021"/>
                    <a:gd name="connsiteY1840" fmla="*/ 1065810 h 1257510"/>
                    <a:gd name="connsiteX1841" fmla="*/ 380402 w 1553021"/>
                    <a:gd name="connsiteY1841" fmla="*/ 1066988 h 1257510"/>
                    <a:gd name="connsiteX1842" fmla="*/ 376091 w 1553021"/>
                    <a:gd name="connsiteY1842" fmla="*/ 1067546 h 1257510"/>
                    <a:gd name="connsiteX1843" fmla="*/ 375144 w 1553021"/>
                    <a:gd name="connsiteY1843" fmla="*/ 1067801 h 1257510"/>
                    <a:gd name="connsiteX1844" fmla="*/ 374282 w 1553021"/>
                    <a:gd name="connsiteY1844" fmla="*/ 1068226 h 1257510"/>
                    <a:gd name="connsiteX1845" fmla="*/ 373347 w 1553021"/>
                    <a:gd name="connsiteY1845" fmla="*/ 1068943 h 1257510"/>
                    <a:gd name="connsiteX1846" fmla="*/ 367482 w 1553021"/>
                    <a:gd name="connsiteY1846" fmla="*/ 1074213 h 1257510"/>
                    <a:gd name="connsiteX1847" fmla="*/ 365551 w 1553021"/>
                    <a:gd name="connsiteY1847" fmla="*/ 1075451 h 1257510"/>
                    <a:gd name="connsiteX1848" fmla="*/ 363122 w 1553021"/>
                    <a:gd name="connsiteY1848" fmla="*/ 1076556 h 1257510"/>
                    <a:gd name="connsiteX1849" fmla="*/ 361726 w 1553021"/>
                    <a:gd name="connsiteY1849" fmla="*/ 1076897 h 1257510"/>
                    <a:gd name="connsiteX1850" fmla="*/ 358751 w 1553021"/>
                    <a:gd name="connsiteY1850" fmla="*/ 1076654 h 1257510"/>
                    <a:gd name="connsiteX1851" fmla="*/ 358229 w 1553021"/>
                    <a:gd name="connsiteY1851" fmla="*/ 1076411 h 1257510"/>
                    <a:gd name="connsiteX1852" fmla="*/ 357209 w 1553021"/>
                    <a:gd name="connsiteY1852" fmla="*/ 1075706 h 1257510"/>
                    <a:gd name="connsiteX1853" fmla="*/ 356723 w 1553021"/>
                    <a:gd name="connsiteY1853" fmla="*/ 1075221 h 1257510"/>
                    <a:gd name="connsiteX1854" fmla="*/ 356116 w 1553021"/>
                    <a:gd name="connsiteY1854" fmla="*/ 1074164 h 1257510"/>
                    <a:gd name="connsiteX1855" fmla="*/ 355776 w 1553021"/>
                    <a:gd name="connsiteY1855" fmla="*/ 1072865 h 1257510"/>
                    <a:gd name="connsiteX1856" fmla="*/ 355764 w 1553021"/>
                    <a:gd name="connsiteY1856" fmla="*/ 1071250 h 1257510"/>
                    <a:gd name="connsiteX1857" fmla="*/ 355217 w 1553021"/>
                    <a:gd name="connsiteY1857" fmla="*/ 1069635 h 1257510"/>
                    <a:gd name="connsiteX1858" fmla="*/ 353384 w 1553021"/>
                    <a:gd name="connsiteY1858" fmla="*/ 1067364 h 1257510"/>
                    <a:gd name="connsiteX1859" fmla="*/ 352813 w 1553021"/>
                    <a:gd name="connsiteY1859" fmla="*/ 1066077 h 1257510"/>
                    <a:gd name="connsiteX1860" fmla="*/ 352230 w 1553021"/>
                    <a:gd name="connsiteY1860" fmla="*/ 1062374 h 1257510"/>
                    <a:gd name="connsiteX1861" fmla="*/ 351732 w 1553021"/>
                    <a:gd name="connsiteY1861" fmla="*/ 1062228 h 1257510"/>
                    <a:gd name="connsiteX1862" fmla="*/ 345904 w 1553021"/>
                    <a:gd name="connsiteY1862" fmla="*/ 1061742 h 1257510"/>
                    <a:gd name="connsiteX1863" fmla="*/ 343597 w 1553021"/>
                    <a:gd name="connsiteY1863" fmla="*/ 1061038 h 1257510"/>
                    <a:gd name="connsiteX1864" fmla="*/ 340160 w 1553021"/>
                    <a:gd name="connsiteY1864" fmla="*/ 1059083 h 1257510"/>
                    <a:gd name="connsiteX1865" fmla="*/ 339407 w 1553021"/>
                    <a:gd name="connsiteY1865" fmla="*/ 1058864 h 1257510"/>
                    <a:gd name="connsiteX1866" fmla="*/ 337914 w 1553021"/>
                    <a:gd name="connsiteY1866" fmla="*/ 1064268 h 1257510"/>
                    <a:gd name="connsiteX1867" fmla="*/ 337064 w 1553021"/>
                    <a:gd name="connsiteY1867" fmla="*/ 1066150 h 1257510"/>
                    <a:gd name="connsiteX1868" fmla="*/ 336165 w 1553021"/>
                    <a:gd name="connsiteY1868" fmla="*/ 1067619 h 1257510"/>
                    <a:gd name="connsiteX1869" fmla="*/ 334805 w 1553021"/>
                    <a:gd name="connsiteY1869" fmla="*/ 1069113 h 1257510"/>
                    <a:gd name="connsiteX1870" fmla="*/ 333190 w 1553021"/>
                    <a:gd name="connsiteY1870" fmla="*/ 1070254 h 1257510"/>
                    <a:gd name="connsiteX1871" fmla="*/ 330628 w 1553021"/>
                    <a:gd name="connsiteY1871" fmla="*/ 1071675 h 1257510"/>
                    <a:gd name="connsiteX1872" fmla="*/ 329778 w 1553021"/>
                    <a:gd name="connsiteY1872" fmla="*/ 1072221 h 1257510"/>
                    <a:gd name="connsiteX1873" fmla="*/ 329219 w 1553021"/>
                    <a:gd name="connsiteY1873" fmla="*/ 1072780 h 1257510"/>
                    <a:gd name="connsiteX1874" fmla="*/ 326293 w 1553021"/>
                    <a:gd name="connsiteY1874" fmla="*/ 1076168 h 1257510"/>
                    <a:gd name="connsiteX1875" fmla="*/ 324253 w 1553021"/>
                    <a:gd name="connsiteY1875" fmla="*/ 1078171 h 1257510"/>
                    <a:gd name="connsiteX1876" fmla="*/ 321302 w 1553021"/>
                    <a:gd name="connsiteY1876" fmla="*/ 1079009 h 1257510"/>
                    <a:gd name="connsiteX1877" fmla="*/ 318485 w 1553021"/>
                    <a:gd name="connsiteY1877" fmla="*/ 1077868 h 1257510"/>
                    <a:gd name="connsiteX1878" fmla="*/ 317161 w 1553021"/>
                    <a:gd name="connsiteY1878" fmla="*/ 1076411 h 1257510"/>
                    <a:gd name="connsiteX1879" fmla="*/ 316311 w 1553021"/>
                    <a:gd name="connsiteY1879" fmla="*/ 1075318 h 1257510"/>
                    <a:gd name="connsiteX1880" fmla="*/ 315595 w 1553021"/>
                    <a:gd name="connsiteY1880" fmla="*/ 1077735 h 1257510"/>
                    <a:gd name="connsiteX1881" fmla="*/ 314963 w 1553021"/>
                    <a:gd name="connsiteY1881" fmla="*/ 1078827 h 1257510"/>
                    <a:gd name="connsiteX1882" fmla="*/ 312802 w 1553021"/>
                    <a:gd name="connsiteY1882" fmla="*/ 1081110 h 1257510"/>
                    <a:gd name="connsiteX1883" fmla="*/ 310058 w 1553021"/>
                    <a:gd name="connsiteY1883" fmla="*/ 1081875 h 1257510"/>
                    <a:gd name="connsiteX1884" fmla="*/ 307386 w 1553021"/>
                    <a:gd name="connsiteY1884" fmla="*/ 1081377 h 1257510"/>
                    <a:gd name="connsiteX1885" fmla="*/ 305650 w 1553021"/>
                    <a:gd name="connsiteY1885" fmla="*/ 1080163 h 1257510"/>
                    <a:gd name="connsiteX1886" fmla="*/ 304521 w 1553021"/>
                    <a:gd name="connsiteY1886" fmla="*/ 1079034 h 1257510"/>
                    <a:gd name="connsiteX1887" fmla="*/ 304071 w 1553021"/>
                    <a:gd name="connsiteY1887" fmla="*/ 1080782 h 1257510"/>
                    <a:gd name="connsiteX1888" fmla="*/ 303440 w 1553021"/>
                    <a:gd name="connsiteY1888" fmla="*/ 1082179 h 1257510"/>
                    <a:gd name="connsiteX1889" fmla="*/ 304035 w 1553021"/>
                    <a:gd name="connsiteY1889" fmla="*/ 1081923 h 1257510"/>
                    <a:gd name="connsiteX1890" fmla="*/ 305079 w 1553021"/>
                    <a:gd name="connsiteY1890" fmla="*/ 1081632 h 1257510"/>
                    <a:gd name="connsiteX1891" fmla="*/ 306075 w 1553021"/>
                    <a:gd name="connsiteY1891" fmla="*/ 1081742 h 1257510"/>
                    <a:gd name="connsiteX1892" fmla="*/ 308503 w 1553021"/>
                    <a:gd name="connsiteY1892" fmla="*/ 1082385 h 1257510"/>
                    <a:gd name="connsiteX1893" fmla="*/ 308856 w 1553021"/>
                    <a:gd name="connsiteY1893" fmla="*/ 1082701 h 1257510"/>
                    <a:gd name="connsiteX1894" fmla="*/ 309560 w 1553021"/>
                    <a:gd name="connsiteY1894" fmla="*/ 1083539 h 1257510"/>
                    <a:gd name="connsiteX1895" fmla="*/ 309815 w 1553021"/>
                    <a:gd name="connsiteY1895" fmla="*/ 1083964 h 1257510"/>
                    <a:gd name="connsiteX1896" fmla="*/ 310373 w 1553021"/>
                    <a:gd name="connsiteY1896" fmla="*/ 1085251 h 1257510"/>
                    <a:gd name="connsiteX1897" fmla="*/ 310859 w 1553021"/>
                    <a:gd name="connsiteY1897" fmla="*/ 1087704 h 1257510"/>
                    <a:gd name="connsiteX1898" fmla="*/ 310944 w 1553021"/>
                    <a:gd name="connsiteY1898" fmla="*/ 1088772 h 1257510"/>
                    <a:gd name="connsiteX1899" fmla="*/ 313773 w 1553021"/>
                    <a:gd name="connsiteY1899" fmla="*/ 1088687 h 1257510"/>
                    <a:gd name="connsiteX1900" fmla="*/ 315801 w 1553021"/>
                    <a:gd name="connsiteY1900" fmla="*/ 1088760 h 1257510"/>
                    <a:gd name="connsiteX1901" fmla="*/ 317052 w 1553021"/>
                    <a:gd name="connsiteY1901" fmla="*/ 1089695 h 1257510"/>
                    <a:gd name="connsiteX1902" fmla="*/ 318060 w 1553021"/>
                    <a:gd name="connsiteY1902" fmla="*/ 1090727 h 1257510"/>
                    <a:gd name="connsiteX1903" fmla="*/ 318351 w 1553021"/>
                    <a:gd name="connsiteY1903" fmla="*/ 1091213 h 1257510"/>
                    <a:gd name="connsiteX1904" fmla="*/ 318959 w 1553021"/>
                    <a:gd name="connsiteY1904" fmla="*/ 1092622 h 1257510"/>
                    <a:gd name="connsiteX1905" fmla="*/ 319189 w 1553021"/>
                    <a:gd name="connsiteY1905" fmla="*/ 1093969 h 1257510"/>
                    <a:gd name="connsiteX1906" fmla="*/ 319286 w 1553021"/>
                    <a:gd name="connsiteY1906" fmla="*/ 1095754 h 1257510"/>
                    <a:gd name="connsiteX1907" fmla="*/ 319481 w 1553021"/>
                    <a:gd name="connsiteY1907" fmla="*/ 1096762 h 1257510"/>
                    <a:gd name="connsiteX1908" fmla="*/ 320440 w 1553021"/>
                    <a:gd name="connsiteY1908" fmla="*/ 1097442 h 1257510"/>
                    <a:gd name="connsiteX1909" fmla="*/ 321448 w 1553021"/>
                    <a:gd name="connsiteY1909" fmla="*/ 1098025 h 1257510"/>
                    <a:gd name="connsiteX1910" fmla="*/ 324071 w 1553021"/>
                    <a:gd name="connsiteY1910" fmla="*/ 1099118 h 1257510"/>
                    <a:gd name="connsiteX1911" fmla="*/ 325613 w 1553021"/>
                    <a:gd name="connsiteY1911" fmla="*/ 1100235 h 1257510"/>
                    <a:gd name="connsiteX1912" fmla="*/ 326378 w 1553021"/>
                    <a:gd name="connsiteY1912" fmla="*/ 1101874 h 1257510"/>
                    <a:gd name="connsiteX1913" fmla="*/ 326499 w 1553021"/>
                    <a:gd name="connsiteY1913" fmla="*/ 1103599 h 1257510"/>
                    <a:gd name="connsiteX1914" fmla="*/ 326305 w 1553021"/>
                    <a:gd name="connsiteY1914" fmla="*/ 1104485 h 1257510"/>
                    <a:gd name="connsiteX1915" fmla="*/ 325419 w 1553021"/>
                    <a:gd name="connsiteY1915" fmla="*/ 1106197 h 1257510"/>
                    <a:gd name="connsiteX1916" fmla="*/ 323913 w 1553021"/>
                    <a:gd name="connsiteY1916" fmla="*/ 1107509 h 1257510"/>
                    <a:gd name="connsiteX1917" fmla="*/ 322019 w 1553021"/>
                    <a:gd name="connsiteY1917" fmla="*/ 1108383 h 1257510"/>
                    <a:gd name="connsiteX1918" fmla="*/ 320646 w 1553021"/>
                    <a:gd name="connsiteY1918" fmla="*/ 1108638 h 1257510"/>
                    <a:gd name="connsiteX1919" fmla="*/ 317101 w 1553021"/>
                    <a:gd name="connsiteY1919" fmla="*/ 1108990 h 1257510"/>
                    <a:gd name="connsiteX1920" fmla="*/ 316554 w 1553021"/>
                    <a:gd name="connsiteY1920" fmla="*/ 1109172 h 1257510"/>
                    <a:gd name="connsiteX1921" fmla="*/ 316433 w 1553021"/>
                    <a:gd name="connsiteY1921" fmla="*/ 1109670 h 1257510"/>
                    <a:gd name="connsiteX1922" fmla="*/ 316773 w 1553021"/>
                    <a:gd name="connsiteY1922" fmla="*/ 1111941 h 1257510"/>
                    <a:gd name="connsiteX1923" fmla="*/ 317125 w 1553021"/>
                    <a:gd name="connsiteY1923" fmla="*/ 1112973 h 1257510"/>
                    <a:gd name="connsiteX1924" fmla="*/ 317732 w 1553021"/>
                    <a:gd name="connsiteY1924" fmla="*/ 1114078 h 1257510"/>
                    <a:gd name="connsiteX1925" fmla="*/ 319068 w 1553021"/>
                    <a:gd name="connsiteY1925" fmla="*/ 1116179 h 1257510"/>
                    <a:gd name="connsiteX1926" fmla="*/ 319469 w 1553021"/>
                    <a:gd name="connsiteY1926" fmla="*/ 1117381 h 1257510"/>
                    <a:gd name="connsiteX1927" fmla="*/ 319639 w 1553021"/>
                    <a:gd name="connsiteY1927" fmla="*/ 1119482 h 1257510"/>
                    <a:gd name="connsiteX1928" fmla="*/ 319408 w 1553021"/>
                    <a:gd name="connsiteY1928" fmla="*/ 1122323 h 1257510"/>
                    <a:gd name="connsiteX1929" fmla="*/ 320391 w 1553021"/>
                    <a:gd name="connsiteY1929" fmla="*/ 1121497 h 1257510"/>
                    <a:gd name="connsiteX1930" fmla="*/ 321496 w 1553021"/>
                    <a:gd name="connsiteY1930" fmla="*/ 1120903 h 1257510"/>
                    <a:gd name="connsiteX1931" fmla="*/ 324678 w 1553021"/>
                    <a:gd name="connsiteY1931" fmla="*/ 1120526 h 1257510"/>
                    <a:gd name="connsiteX1932" fmla="*/ 326329 w 1553021"/>
                    <a:gd name="connsiteY1932" fmla="*/ 1121012 h 1257510"/>
                    <a:gd name="connsiteX1933" fmla="*/ 342407 w 1553021"/>
                    <a:gd name="connsiteY1933" fmla="*/ 1128492 h 1257510"/>
                    <a:gd name="connsiteX1934" fmla="*/ 344107 w 1553021"/>
                    <a:gd name="connsiteY1934" fmla="*/ 1129572 h 1257510"/>
                    <a:gd name="connsiteX1935" fmla="*/ 345952 w 1553021"/>
                    <a:gd name="connsiteY1935" fmla="*/ 1131297 h 1257510"/>
                    <a:gd name="connsiteX1936" fmla="*/ 347215 w 1553021"/>
                    <a:gd name="connsiteY1936" fmla="*/ 1133070 h 1257510"/>
                    <a:gd name="connsiteX1937" fmla="*/ 348102 w 1553021"/>
                    <a:gd name="connsiteY1937" fmla="*/ 1135170 h 1257510"/>
                    <a:gd name="connsiteX1938" fmla="*/ 348648 w 1553021"/>
                    <a:gd name="connsiteY1938" fmla="*/ 1137684 h 1257510"/>
                    <a:gd name="connsiteX1939" fmla="*/ 348769 w 1553021"/>
                    <a:gd name="connsiteY1939" fmla="*/ 1140999 h 1257510"/>
                    <a:gd name="connsiteX1940" fmla="*/ 347652 w 1553021"/>
                    <a:gd name="connsiteY1940" fmla="*/ 1149487 h 1257510"/>
                    <a:gd name="connsiteX1941" fmla="*/ 347956 w 1553021"/>
                    <a:gd name="connsiteY1941" fmla="*/ 1155364 h 1257510"/>
                    <a:gd name="connsiteX1942" fmla="*/ 347385 w 1553021"/>
                    <a:gd name="connsiteY1942" fmla="*/ 1160015 h 1257510"/>
                    <a:gd name="connsiteX1943" fmla="*/ 345685 w 1553021"/>
                    <a:gd name="connsiteY1943" fmla="*/ 1162771 h 1257510"/>
                    <a:gd name="connsiteX1944" fmla="*/ 343050 w 1553021"/>
                    <a:gd name="connsiteY1944" fmla="*/ 1164374 h 1257510"/>
                    <a:gd name="connsiteX1945" fmla="*/ 334489 w 1553021"/>
                    <a:gd name="connsiteY1945" fmla="*/ 1164605 h 1257510"/>
                    <a:gd name="connsiteX1946" fmla="*/ 333530 w 1553021"/>
                    <a:gd name="connsiteY1946" fmla="*/ 1165054 h 1257510"/>
                    <a:gd name="connsiteX1947" fmla="*/ 332607 w 1553021"/>
                    <a:gd name="connsiteY1947" fmla="*/ 1165710 h 1257510"/>
                    <a:gd name="connsiteX1948" fmla="*/ 331806 w 1553021"/>
                    <a:gd name="connsiteY1948" fmla="*/ 1166657 h 1257510"/>
                    <a:gd name="connsiteX1949" fmla="*/ 331951 w 1553021"/>
                    <a:gd name="connsiteY1949" fmla="*/ 1166742 h 1257510"/>
                    <a:gd name="connsiteX1950" fmla="*/ 335874 w 1553021"/>
                    <a:gd name="connsiteY1950" fmla="*/ 1167677 h 1257510"/>
                    <a:gd name="connsiteX1951" fmla="*/ 336954 w 1553021"/>
                    <a:gd name="connsiteY1951" fmla="*/ 1168078 h 1257510"/>
                    <a:gd name="connsiteX1952" fmla="*/ 339177 w 1553021"/>
                    <a:gd name="connsiteY1952" fmla="*/ 1169693 h 1257510"/>
                    <a:gd name="connsiteX1953" fmla="*/ 339541 w 1553021"/>
                    <a:gd name="connsiteY1953" fmla="*/ 1170215 h 1257510"/>
                    <a:gd name="connsiteX1954" fmla="*/ 340245 w 1553021"/>
                    <a:gd name="connsiteY1954" fmla="*/ 1171648 h 1257510"/>
                    <a:gd name="connsiteX1955" fmla="*/ 340597 w 1553021"/>
                    <a:gd name="connsiteY1955" fmla="*/ 1173396 h 1257510"/>
                    <a:gd name="connsiteX1956" fmla="*/ 340597 w 1553021"/>
                    <a:gd name="connsiteY1956" fmla="*/ 1176602 h 1257510"/>
                    <a:gd name="connsiteX1957" fmla="*/ 339808 w 1553021"/>
                    <a:gd name="connsiteY1957" fmla="*/ 1181775 h 1257510"/>
                    <a:gd name="connsiteX1958" fmla="*/ 338290 w 1553021"/>
                    <a:gd name="connsiteY1958" fmla="*/ 1185734 h 1257510"/>
                    <a:gd name="connsiteX1959" fmla="*/ 336566 w 1553021"/>
                    <a:gd name="connsiteY1959" fmla="*/ 1188806 h 1257510"/>
                    <a:gd name="connsiteX1960" fmla="*/ 334077 w 1553021"/>
                    <a:gd name="connsiteY1960" fmla="*/ 1192437 h 1257510"/>
                    <a:gd name="connsiteX1961" fmla="*/ 330798 w 1553021"/>
                    <a:gd name="connsiteY1961" fmla="*/ 1199139 h 1257510"/>
                    <a:gd name="connsiteX1962" fmla="*/ 325989 w 1553021"/>
                    <a:gd name="connsiteY1962" fmla="*/ 1205514 h 1257510"/>
                    <a:gd name="connsiteX1963" fmla="*/ 327009 w 1553021"/>
                    <a:gd name="connsiteY1963" fmla="*/ 1206449 h 1257510"/>
                    <a:gd name="connsiteX1964" fmla="*/ 328345 w 1553021"/>
                    <a:gd name="connsiteY1964" fmla="*/ 1208174 h 1257510"/>
                    <a:gd name="connsiteX1965" fmla="*/ 329292 w 1553021"/>
                    <a:gd name="connsiteY1965" fmla="*/ 1210979 h 1257510"/>
                    <a:gd name="connsiteX1966" fmla="*/ 329535 w 1553021"/>
                    <a:gd name="connsiteY1966" fmla="*/ 1211914 h 1257510"/>
                    <a:gd name="connsiteX1967" fmla="*/ 328503 w 1553021"/>
                    <a:gd name="connsiteY1967" fmla="*/ 1214670 h 1257510"/>
                    <a:gd name="connsiteX1968" fmla="*/ 324629 w 1553021"/>
                    <a:gd name="connsiteY1968" fmla="*/ 1222029 h 1257510"/>
                    <a:gd name="connsiteX1969" fmla="*/ 321059 w 1553021"/>
                    <a:gd name="connsiteY1969" fmla="*/ 1227542 h 1257510"/>
                    <a:gd name="connsiteX1970" fmla="*/ 318837 w 1553021"/>
                    <a:gd name="connsiteY1970" fmla="*/ 1229812 h 1257510"/>
                    <a:gd name="connsiteX1971" fmla="*/ 315303 w 1553021"/>
                    <a:gd name="connsiteY1971" fmla="*/ 1232581 h 1257510"/>
                    <a:gd name="connsiteX1972" fmla="*/ 312875 w 1553021"/>
                    <a:gd name="connsiteY1972" fmla="*/ 1233880 h 1257510"/>
                    <a:gd name="connsiteX1973" fmla="*/ 310289 w 1553021"/>
                    <a:gd name="connsiteY1973" fmla="*/ 1234876 h 1257510"/>
                    <a:gd name="connsiteX1974" fmla="*/ 304848 w 1553021"/>
                    <a:gd name="connsiteY1974" fmla="*/ 1235787 h 1257510"/>
                    <a:gd name="connsiteX1975" fmla="*/ 297903 w 1553021"/>
                    <a:gd name="connsiteY1975" fmla="*/ 1235823 h 1257510"/>
                    <a:gd name="connsiteX1976" fmla="*/ 296421 w 1553021"/>
                    <a:gd name="connsiteY1976" fmla="*/ 1235423 h 1257510"/>
                    <a:gd name="connsiteX1977" fmla="*/ 295219 w 1553021"/>
                    <a:gd name="connsiteY1977" fmla="*/ 1234779 h 1257510"/>
                    <a:gd name="connsiteX1978" fmla="*/ 293689 w 1553021"/>
                    <a:gd name="connsiteY1978" fmla="*/ 1232909 h 1257510"/>
                    <a:gd name="connsiteX1979" fmla="*/ 293568 w 1553021"/>
                    <a:gd name="connsiteY1979" fmla="*/ 1232411 h 1257510"/>
                    <a:gd name="connsiteX1980" fmla="*/ 293507 w 1553021"/>
                    <a:gd name="connsiteY1980" fmla="*/ 1231452 h 1257510"/>
                    <a:gd name="connsiteX1981" fmla="*/ 296810 w 1553021"/>
                    <a:gd name="connsiteY1981" fmla="*/ 1230286 h 1257510"/>
                    <a:gd name="connsiteX1982" fmla="*/ 293786 w 1553021"/>
                    <a:gd name="connsiteY1982" fmla="*/ 1229994 h 1257510"/>
                    <a:gd name="connsiteX1983" fmla="*/ 294029 w 1553021"/>
                    <a:gd name="connsiteY1983" fmla="*/ 1227663 h 1257510"/>
                    <a:gd name="connsiteX1984" fmla="*/ 293944 w 1553021"/>
                    <a:gd name="connsiteY1984" fmla="*/ 1227335 h 1257510"/>
                    <a:gd name="connsiteX1985" fmla="*/ 293410 w 1553021"/>
                    <a:gd name="connsiteY1985" fmla="*/ 1227432 h 1257510"/>
                    <a:gd name="connsiteX1986" fmla="*/ 292596 w 1553021"/>
                    <a:gd name="connsiteY1986" fmla="*/ 1227918 h 1257510"/>
                    <a:gd name="connsiteX1987" fmla="*/ 284157 w 1553021"/>
                    <a:gd name="connsiteY1987" fmla="*/ 1234536 h 1257510"/>
                    <a:gd name="connsiteX1988" fmla="*/ 282190 w 1553021"/>
                    <a:gd name="connsiteY1988" fmla="*/ 1237074 h 1257510"/>
                    <a:gd name="connsiteX1989" fmla="*/ 281218 w 1553021"/>
                    <a:gd name="connsiteY1989" fmla="*/ 1240632 h 1257510"/>
                    <a:gd name="connsiteX1990" fmla="*/ 280125 w 1553021"/>
                    <a:gd name="connsiteY1990" fmla="*/ 1242696 h 1257510"/>
                    <a:gd name="connsiteX1991" fmla="*/ 278158 w 1553021"/>
                    <a:gd name="connsiteY1991" fmla="*/ 1244773 h 1257510"/>
                    <a:gd name="connsiteX1992" fmla="*/ 277733 w 1553021"/>
                    <a:gd name="connsiteY1992" fmla="*/ 1244943 h 1257510"/>
                    <a:gd name="connsiteX1993" fmla="*/ 278037 w 1553021"/>
                    <a:gd name="connsiteY1993" fmla="*/ 1245501 h 1257510"/>
                    <a:gd name="connsiteX1994" fmla="*/ 278571 w 1553021"/>
                    <a:gd name="connsiteY1994" fmla="*/ 1252265 h 1257510"/>
                    <a:gd name="connsiteX1995" fmla="*/ 267995 w 1553021"/>
                    <a:gd name="connsiteY1995" fmla="*/ 1252471 h 1257510"/>
                    <a:gd name="connsiteX1996" fmla="*/ 258074 w 1553021"/>
                    <a:gd name="connsiteY1996" fmla="*/ 1256600 h 1257510"/>
                    <a:gd name="connsiteX1997" fmla="*/ 254844 w 1553021"/>
                    <a:gd name="connsiteY1997" fmla="*/ 1257511 h 1257510"/>
                    <a:gd name="connsiteX1998" fmla="*/ 252245 w 1553021"/>
                    <a:gd name="connsiteY1998" fmla="*/ 1257170 h 1257510"/>
                    <a:gd name="connsiteX1999" fmla="*/ 71595 w 1553021"/>
                    <a:gd name="connsiteY1999" fmla="*/ 744046 h 1257510"/>
                    <a:gd name="connsiteX2000" fmla="*/ 75808 w 1553021"/>
                    <a:gd name="connsiteY2000" fmla="*/ 745176 h 1257510"/>
                    <a:gd name="connsiteX2001" fmla="*/ 78723 w 1553021"/>
                    <a:gd name="connsiteY2001" fmla="*/ 746803 h 1257510"/>
                    <a:gd name="connsiteX2002" fmla="*/ 77958 w 1553021"/>
                    <a:gd name="connsiteY2002" fmla="*/ 744059 h 1257510"/>
                    <a:gd name="connsiteX2003" fmla="*/ 78541 w 1553021"/>
                    <a:gd name="connsiteY2003" fmla="*/ 742626 h 1257510"/>
                    <a:gd name="connsiteX2004" fmla="*/ 78128 w 1553021"/>
                    <a:gd name="connsiteY2004" fmla="*/ 742395 h 1257510"/>
                    <a:gd name="connsiteX2005" fmla="*/ 76634 w 1553021"/>
                    <a:gd name="connsiteY2005" fmla="*/ 742480 h 1257510"/>
                    <a:gd name="connsiteX2006" fmla="*/ 71595 w 1553021"/>
                    <a:gd name="connsiteY2006" fmla="*/ 743099 h 1257510"/>
                    <a:gd name="connsiteX2007" fmla="*/ 67175 w 1553021"/>
                    <a:gd name="connsiteY2007" fmla="*/ 742164 h 1257510"/>
                    <a:gd name="connsiteX2008" fmla="*/ 63678 w 1553021"/>
                    <a:gd name="connsiteY2008" fmla="*/ 739979 h 1257510"/>
                    <a:gd name="connsiteX2009" fmla="*/ 64248 w 1553021"/>
                    <a:gd name="connsiteY2009" fmla="*/ 742055 h 1257510"/>
                    <a:gd name="connsiteX2010" fmla="*/ 65001 w 1553021"/>
                    <a:gd name="connsiteY2010" fmla="*/ 743488 h 1257510"/>
                    <a:gd name="connsiteX2011" fmla="*/ 65293 w 1553021"/>
                    <a:gd name="connsiteY2011" fmla="*/ 743840 h 1257510"/>
                    <a:gd name="connsiteX2012" fmla="*/ 67770 w 1553021"/>
                    <a:gd name="connsiteY2012" fmla="*/ 743658 h 1257510"/>
                    <a:gd name="connsiteX2013" fmla="*/ 71595 w 1553021"/>
                    <a:gd name="connsiteY2013" fmla="*/ 744046 h 1257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Lst>
                  <a:rect l="l" t="t" r="r" b="b"/>
                  <a:pathLst>
                    <a:path w="1553021" h="1257510">
                      <a:moveTo>
                        <a:pt x="252245" y="1257170"/>
                      </a:moveTo>
                      <a:lnTo>
                        <a:pt x="249003" y="1256345"/>
                      </a:lnTo>
                      <a:lnTo>
                        <a:pt x="244049" y="1253321"/>
                      </a:lnTo>
                      <a:lnTo>
                        <a:pt x="241426" y="1250528"/>
                      </a:lnTo>
                      <a:lnTo>
                        <a:pt x="239653" y="1247140"/>
                      </a:lnTo>
                      <a:lnTo>
                        <a:pt x="237127" y="1236564"/>
                      </a:lnTo>
                      <a:lnTo>
                        <a:pt x="236435" y="1234803"/>
                      </a:lnTo>
                      <a:lnTo>
                        <a:pt x="235452" y="1233905"/>
                      </a:lnTo>
                      <a:lnTo>
                        <a:pt x="234504" y="1233480"/>
                      </a:lnTo>
                      <a:lnTo>
                        <a:pt x="232562" y="1233091"/>
                      </a:lnTo>
                      <a:lnTo>
                        <a:pt x="229295" y="1232569"/>
                      </a:lnTo>
                      <a:lnTo>
                        <a:pt x="227559" y="1232083"/>
                      </a:lnTo>
                      <a:lnTo>
                        <a:pt x="225033" y="1230614"/>
                      </a:lnTo>
                      <a:lnTo>
                        <a:pt x="224013" y="1229205"/>
                      </a:lnTo>
                      <a:lnTo>
                        <a:pt x="223139" y="1226898"/>
                      </a:lnTo>
                      <a:lnTo>
                        <a:pt x="221281" y="1229946"/>
                      </a:lnTo>
                      <a:lnTo>
                        <a:pt x="219435" y="1232362"/>
                      </a:lnTo>
                      <a:lnTo>
                        <a:pt x="217067" y="1233249"/>
                      </a:lnTo>
                      <a:lnTo>
                        <a:pt x="213789" y="1233783"/>
                      </a:lnTo>
                      <a:lnTo>
                        <a:pt x="205179" y="1234233"/>
                      </a:lnTo>
                      <a:lnTo>
                        <a:pt x="200905" y="1236491"/>
                      </a:lnTo>
                      <a:lnTo>
                        <a:pt x="194663" y="1235738"/>
                      </a:lnTo>
                      <a:lnTo>
                        <a:pt x="191263" y="1234973"/>
                      </a:lnTo>
                      <a:lnTo>
                        <a:pt x="188373" y="1233200"/>
                      </a:lnTo>
                      <a:lnTo>
                        <a:pt x="187402" y="1232520"/>
                      </a:lnTo>
                      <a:lnTo>
                        <a:pt x="186649" y="1229048"/>
                      </a:lnTo>
                      <a:lnTo>
                        <a:pt x="187098" y="1219928"/>
                      </a:lnTo>
                      <a:lnTo>
                        <a:pt x="185787" y="1216164"/>
                      </a:lnTo>
                      <a:lnTo>
                        <a:pt x="179630" y="1204458"/>
                      </a:lnTo>
                      <a:lnTo>
                        <a:pt x="176680" y="1200657"/>
                      </a:lnTo>
                      <a:lnTo>
                        <a:pt x="166225" y="1192279"/>
                      </a:lnTo>
                      <a:lnTo>
                        <a:pt x="162436" y="1188539"/>
                      </a:lnTo>
                      <a:lnTo>
                        <a:pt x="158137" y="1182589"/>
                      </a:lnTo>
                      <a:lnTo>
                        <a:pt x="157105" y="1176493"/>
                      </a:lnTo>
                      <a:lnTo>
                        <a:pt x="155733" y="1175607"/>
                      </a:lnTo>
                      <a:lnTo>
                        <a:pt x="154968" y="1175036"/>
                      </a:lnTo>
                      <a:lnTo>
                        <a:pt x="154191" y="1172789"/>
                      </a:lnTo>
                      <a:lnTo>
                        <a:pt x="153705" y="1172559"/>
                      </a:lnTo>
                      <a:lnTo>
                        <a:pt x="150827" y="1170761"/>
                      </a:lnTo>
                      <a:lnTo>
                        <a:pt x="149273" y="1165977"/>
                      </a:lnTo>
                      <a:lnTo>
                        <a:pt x="151799" y="1163658"/>
                      </a:lnTo>
                      <a:lnTo>
                        <a:pt x="152309" y="1163002"/>
                      </a:lnTo>
                      <a:lnTo>
                        <a:pt x="152309" y="1158546"/>
                      </a:lnTo>
                      <a:lnTo>
                        <a:pt x="149759" y="1158679"/>
                      </a:lnTo>
                      <a:lnTo>
                        <a:pt x="148496" y="1149378"/>
                      </a:lnTo>
                      <a:lnTo>
                        <a:pt x="148472" y="1141606"/>
                      </a:lnTo>
                      <a:lnTo>
                        <a:pt x="148022" y="1141667"/>
                      </a:lnTo>
                      <a:lnTo>
                        <a:pt x="147100" y="1141412"/>
                      </a:lnTo>
                      <a:lnTo>
                        <a:pt x="145327" y="1140380"/>
                      </a:lnTo>
                      <a:lnTo>
                        <a:pt x="144173" y="1139008"/>
                      </a:lnTo>
                      <a:lnTo>
                        <a:pt x="143153" y="1137150"/>
                      </a:lnTo>
                      <a:lnTo>
                        <a:pt x="142097" y="1132499"/>
                      </a:lnTo>
                      <a:lnTo>
                        <a:pt x="137009" y="1116823"/>
                      </a:lnTo>
                      <a:lnTo>
                        <a:pt x="136790" y="1115596"/>
                      </a:lnTo>
                      <a:lnTo>
                        <a:pt x="136863" y="1113082"/>
                      </a:lnTo>
                      <a:lnTo>
                        <a:pt x="132904" y="1111310"/>
                      </a:lnTo>
                      <a:lnTo>
                        <a:pt x="133366" y="1105979"/>
                      </a:lnTo>
                      <a:lnTo>
                        <a:pt x="134896" y="1103198"/>
                      </a:lnTo>
                      <a:lnTo>
                        <a:pt x="133342" y="1102251"/>
                      </a:lnTo>
                      <a:lnTo>
                        <a:pt x="130099" y="1098232"/>
                      </a:lnTo>
                      <a:lnTo>
                        <a:pt x="128594" y="1090618"/>
                      </a:lnTo>
                      <a:lnTo>
                        <a:pt x="125886" y="1083029"/>
                      </a:lnTo>
                      <a:lnTo>
                        <a:pt x="125631" y="1082640"/>
                      </a:lnTo>
                      <a:lnTo>
                        <a:pt x="123676" y="1081535"/>
                      </a:lnTo>
                      <a:lnTo>
                        <a:pt x="122826" y="1078305"/>
                      </a:lnTo>
                      <a:lnTo>
                        <a:pt x="122850" y="1073083"/>
                      </a:lnTo>
                      <a:lnTo>
                        <a:pt x="123809" y="1070424"/>
                      </a:lnTo>
                      <a:lnTo>
                        <a:pt x="125388" y="1066988"/>
                      </a:lnTo>
                      <a:lnTo>
                        <a:pt x="125473" y="1067049"/>
                      </a:lnTo>
                      <a:lnTo>
                        <a:pt x="125352" y="1066381"/>
                      </a:lnTo>
                      <a:lnTo>
                        <a:pt x="123287" y="1064146"/>
                      </a:lnTo>
                      <a:lnTo>
                        <a:pt x="126517" y="1062046"/>
                      </a:lnTo>
                      <a:lnTo>
                        <a:pt x="126772" y="1061803"/>
                      </a:lnTo>
                      <a:lnTo>
                        <a:pt x="124732" y="1057213"/>
                      </a:lnTo>
                      <a:lnTo>
                        <a:pt x="123992" y="1054639"/>
                      </a:lnTo>
                      <a:lnTo>
                        <a:pt x="124659" y="1052453"/>
                      </a:lnTo>
                      <a:lnTo>
                        <a:pt x="126736" y="1049199"/>
                      </a:lnTo>
                      <a:lnTo>
                        <a:pt x="126432" y="1048045"/>
                      </a:lnTo>
                      <a:lnTo>
                        <a:pt x="125752" y="1046988"/>
                      </a:lnTo>
                      <a:lnTo>
                        <a:pt x="122704" y="1044572"/>
                      </a:lnTo>
                      <a:lnTo>
                        <a:pt x="120118" y="1037845"/>
                      </a:lnTo>
                      <a:lnTo>
                        <a:pt x="121308" y="1031616"/>
                      </a:lnTo>
                      <a:lnTo>
                        <a:pt x="122716" y="1027523"/>
                      </a:lnTo>
                      <a:lnTo>
                        <a:pt x="120154" y="1023686"/>
                      </a:lnTo>
                      <a:lnTo>
                        <a:pt x="117641" y="1017772"/>
                      </a:lnTo>
                      <a:lnTo>
                        <a:pt x="116232" y="1010608"/>
                      </a:lnTo>
                      <a:lnTo>
                        <a:pt x="118078" y="1008349"/>
                      </a:lnTo>
                      <a:lnTo>
                        <a:pt x="116536" y="1001817"/>
                      </a:lnTo>
                      <a:lnTo>
                        <a:pt x="116621" y="997895"/>
                      </a:lnTo>
                      <a:lnTo>
                        <a:pt x="117629" y="994482"/>
                      </a:lnTo>
                      <a:lnTo>
                        <a:pt x="119049" y="991872"/>
                      </a:lnTo>
                      <a:lnTo>
                        <a:pt x="116208" y="990451"/>
                      </a:lnTo>
                      <a:lnTo>
                        <a:pt x="112917" y="986274"/>
                      </a:lnTo>
                      <a:lnTo>
                        <a:pt x="114435" y="984040"/>
                      </a:lnTo>
                      <a:lnTo>
                        <a:pt x="112978" y="982279"/>
                      </a:lnTo>
                      <a:lnTo>
                        <a:pt x="113124" y="976790"/>
                      </a:lnTo>
                      <a:lnTo>
                        <a:pt x="118078" y="975697"/>
                      </a:lnTo>
                      <a:lnTo>
                        <a:pt x="117604" y="972480"/>
                      </a:lnTo>
                      <a:lnTo>
                        <a:pt x="116220" y="968885"/>
                      </a:lnTo>
                      <a:lnTo>
                        <a:pt x="113330" y="964210"/>
                      </a:lnTo>
                      <a:lnTo>
                        <a:pt x="115018" y="960810"/>
                      </a:lnTo>
                      <a:lnTo>
                        <a:pt x="114812" y="958649"/>
                      </a:lnTo>
                      <a:lnTo>
                        <a:pt x="113937" y="956596"/>
                      </a:lnTo>
                      <a:lnTo>
                        <a:pt x="110185" y="949748"/>
                      </a:lnTo>
                      <a:lnTo>
                        <a:pt x="110185" y="945595"/>
                      </a:lnTo>
                      <a:lnTo>
                        <a:pt x="107174" y="939985"/>
                      </a:lnTo>
                      <a:lnTo>
                        <a:pt x="106287" y="936111"/>
                      </a:lnTo>
                      <a:lnTo>
                        <a:pt x="105947" y="935844"/>
                      </a:lnTo>
                      <a:lnTo>
                        <a:pt x="102972" y="932711"/>
                      </a:lnTo>
                      <a:lnTo>
                        <a:pt x="101345" y="929736"/>
                      </a:lnTo>
                      <a:lnTo>
                        <a:pt x="97423" y="921965"/>
                      </a:lnTo>
                      <a:lnTo>
                        <a:pt x="108364" y="927016"/>
                      </a:lnTo>
                      <a:lnTo>
                        <a:pt x="108655" y="927259"/>
                      </a:lnTo>
                      <a:lnTo>
                        <a:pt x="105146" y="920507"/>
                      </a:lnTo>
                      <a:lnTo>
                        <a:pt x="103239" y="917848"/>
                      </a:lnTo>
                      <a:lnTo>
                        <a:pt x="98321" y="913938"/>
                      </a:lnTo>
                      <a:lnTo>
                        <a:pt x="97314" y="910684"/>
                      </a:lnTo>
                      <a:lnTo>
                        <a:pt x="96816" y="906738"/>
                      </a:lnTo>
                      <a:lnTo>
                        <a:pt x="99827" y="903107"/>
                      </a:lnTo>
                      <a:lnTo>
                        <a:pt x="100167" y="902415"/>
                      </a:lnTo>
                      <a:lnTo>
                        <a:pt x="98066" y="899622"/>
                      </a:lnTo>
                      <a:lnTo>
                        <a:pt x="99536" y="895457"/>
                      </a:lnTo>
                      <a:lnTo>
                        <a:pt x="97398" y="891692"/>
                      </a:lnTo>
                      <a:lnTo>
                        <a:pt x="90987" y="884819"/>
                      </a:lnTo>
                      <a:lnTo>
                        <a:pt x="89421" y="880023"/>
                      </a:lnTo>
                      <a:lnTo>
                        <a:pt x="90453" y="875967"/>
                      </a:lnTo>
                      <a:lnTo>
                        <a:pt x="93622" y="874984"/>
                      </a:lnTo>
                      <a:lnTo>
                        <a:pt x="95941" y="874862"/>
                      </a:lnTo>
                      <a:lnTo>
                        <a:pt x="93343" y="874025"/>
                      </a:lnTo>
                      <a:lnTo>
                        <a:pt x="90829" y="871389"/>
                      </a:lnTo>
                      <a:lnTo>
                        <a:pt x="88959" y="867686"/>
                      </a:lnTo>
                      <a:lnTo>
                        <a:pt x="88461" y="862877"/>
                      </a:lnTo>
                      <a:lnTo>
                        <a:pt x="89081" y="861384"/>
                      </a:lnTo>
                      <a:lnTo>
                        <a:pt x="87150" y="858542"/>
                      </a:lnTo>
                      <a:lnTo>
                        <a:pt x="85535" y="854535"/>
                      </a:lnTo>
                      <a:lnTo>
                        <a:pt x="86421" y="850880"/>
                      </a:lnTo>
                      <a:lnTo>
                        <a:pt x="88558" y="848123"/>
                      </a:lnTo>
                      <a:lnTo>
                        <a:pt x="89032" y="847019"/>
                      </a:lnTo>
                      <a:lnTo>
                        <a:pt x="89044" y="846120"/>
                      </a:lnTo>
                      <a:lnTo>
                        <a:pt x="88000" y="844481"/>
                      </a:lnTo>
                      <a:lnTo>
                        <a:pt x="86871" y="842234"/>
                      </a:lnTo>
                      <a:lnTo>
                        <a:pt x="85923" y="835980"/>
                      </a:lnTo>
                      <a:lnTo>
                        <a:pt x="85207" y="834803"/>
                      </a:lnTo>
                      <a:lnTo>
                        <a:pt x="82706" y="832180"/>
                      </a:lnTo>
                      <a:lnTo>
                        <a:pt x="81151" y="829472"/>
                      </a:lnTo>
                      <a:lnTo>
                        <a:pt x="79791" y="822223"/>
                      </a:lnTo>
                      <a:lnTo>
                        <a:pt x="78358" y="818738"/>
                      </a:lnTo>
                      <a:lnTo>
                        <a:pt x="69421" y="804372"/>
                      </a:lnTo>
                      <a:lnTo>
                        <a:pt x="69057" y="798398"/>
                      </a:lnTo>
                      <a:lnTo>
                        <a:pt x="69968" y="797402"/>
                      </a:lnTo>
                      <a:lnTo>
                        <a:pt x="67903" y="795812"/>
                      </a:lnTo>
                      <a:lnTo>
                        <a:pt x="66786" y="791671"/>
                      </a:lnTo>
                      <a:lnTo>
                        <a:pt x="67830" y="787761"/>
                      </a:lnTo>
                      <a:lnTo>
                        <a:pt x="66555" y="785502"/>
                      </a:lnTo>
                      <a:lnTo>
                        <a:pt x="64333" y="783256"/>
                      </a:lnTo>
                      <a:lnTo>
                        <a:pt x="62609" y="779637"/>
                      </a:lnTo>
                      <a:lnTo>
                        <a:pt x="61577" y="777197"/>
                      </a:lnTo>
                      <a:lnTo>
                        <a:pt x="63653" y="775970"/>
                      </a:lnTo>
                      <a:lnTo>
                        <a:pt x="63265" y="775011"/>
                      </a:lnTo>
                      <a:lnTo>
                        <a:pt x="62512" y="774294"/>
                      </a:lnTo>
                      <a:lnTo>
                        <a:pt x="61565" y="771975"/>
                      </a:lnTo>
                      <a:lnTo>
                        <a:pt x="59865" y="757051"/>
                      </a:lnTo>
                      <a:lnTo>
                        <a:pt x="58456" y="754574"/>
                      </a:lnTo>
                      <a:lnTo>
                        <a:pt x="51158" y="752850"/>
                      </a:lnTo>
                      <a:lnTo>
                        <a:pt x="53963" y="745516"/>
                      </a:lnTo>
                      <a:lnTo>
                        <a:pt x="53854" y="745370"/>
                      </a:lnTo>
                      <a:lnTo>
                        <a:pt x="53429" y="742929"/>
                      </a:lnTo>
                      <a:lnTo>
                        <a:pt x="53769" y="739990"/>
                      </a:lnTo>
                      <a:lnTo>
                        <a:pt x="54959" y="737307"/>
                      </a:lnTo>
                      <a:lnTo>
                        <a:pt x="56161" y="734891"/>
                      </a:lnTo>
                      <a:lnTo>
                        <a:pt x="60982" y="736627"/>
                      </a:lnTo>
                      <a:lnTo>
                        <a:pt x="59500" y="734162"/>
                      </a:lnTo>
                      <a:lnTo>
                        <a:pt x="59865" y="733251"/>
                      </a:lnTo>
                      <a:lnTo>
                        <a:pt x="58080" y="732146"/>
                      </a:lnTo>
                      <a:lnTo>
                        <a:pt x="54801" y="728078"/>
                      </a:lnTo>
                      <a:lnTo>
                        <a:pt x="53599" y="728066"/>
                      </a:lnTo>
                      <a:lnTo>
                        <a:pt x="52202" y="728151"/>
                      </a:lnTo>
                      <a:lnTo>
                        <a:pt x="50308" y="726196"/>
                      </a:lnTo>
                      <a:lnTo>
                        <a:pt x="49142" y="723865"/>
                      </a:lnTo>
                      <a:lnTo>
                        <a:pt x="48887" y="723221"/>
                      </a:lnTo>
                      <a:lnTo>
                        <a:pt x="49106" y="721084"/>
                      </a:lnTo>
                      <a:lnTo>
                        <a:pt x="49458" y="718996"/>
                      </a:lnTo>
                      <a:lnTo>
                        <a:pt x="49033" y="717222"/>
                      </a:lnTo>
                      <a:lnTo>
                        <a:pt x="48341" y="716518"/>
                      </a:lnTo>
                      <a:lnTo>
                        <a:pt x="47200" y="715037"/>
                      </a:lnTo>
                      <a:lnTo>
                        <a:pt x="45767" y="712135"/>
                      </a:lnTo>
                      <a:lnTo>
                        <a:pt x="45172" y="709002"/>
                      </a:lnTo>
                      <a:lnTo>
                        <a:pt x="45487" y="700720"/>
                      </a:lnTo>
                      <a:lnTo>
                        <a:pt x="46337" y="696009"/>
                      </a:lnTo>
                      <a:lnTo>
                        <a:pt x="49179" y="690508"/>
                      </a:lnTo>
                      <a:lnTo>
                        <a:pt x="51583" y="688796"/>
                      </a:lnTo>
                      <a:lnTo>
                        <a:pt x="49434" y="687958"/>
                      </a:lnTo>
                      <a:lnTo>
                        <a:pt x="48256" y="682870"/>
                      </a:lnTo>
                      <a:lnTo>
                        <a:pt x="44273" y="672755"/>
                      </a:lnTo>
                      <a:lnTo>
                        <a:pt x="40812" y="670023"/>
                      </a:lnTo>
                      <a:lnTo>
                        <a:pt x="38821" y="662798"/>
                      </a:lnTo>
                      <a:lnTo>
                        <a:pt x="38080" y="654796"/>
                      </a:lnTo>
                      <a:lnTo>
                        <a:pt x="38190" y="644741"/>
                      </a:lnTo>
                      <a:lnTo>
                        <a:pt x="39173" y="640807"/>
                      </a:lnTo>
                      <a:lnTo>
                        <a:pt x="41517" y="636824"/>
                      </a:lnTo>
                      <a:lnTo>
                        <a:pt x="45427" y="634444"/>
                      </a:lnTo>
                      <a:lnTo>
                        <a:pt x="48511" y="634566"/>
                      </a:lnTo>
                      <a:lnTo>
                        <a:pt x="50733" y="635731"/>
                      </a:lnTo>
                      <a:lnTo>
                        <a:pt x="54255" y="629004"/>
                      </a:lnTo>
                      <a:lnTo>
                        <a:pt x="59379" y="633315"/>
                      </a:lnTo>
                      <a:lnTo>
                        <a:pt x="65511" y="639872"/>
                      </a:lnTo>
                      <a:lnTo>
                        <a:pt x="66616" y="637358"/>
                      </a:lnTo>
                      <a:lnTo>
                        <a:pt x="64819" y="636606"/>
                      </a:lnTo>
                      <a:lnTo>
                        <a:pt x="63070" y="634517"/>
                      </a:lnTo>
                      <a:lnTo>
                        <a:pt x="61091" y="629903"/>
                      </a:lnTo>
                      <a:lnTo>
                        <a:pt x="58845" y="630910"/>
                      </a:lnTo>
                      <a:lnTo>
                        <a:pt x="51267" y="627705"/>
                      </a:lnTo>
                      <a:lnTo>
                        <a:pt x="45961" y="620893"/>
                      </a:lnTo>
                      <a:lnTo>
                        <a:pt x="51498" y="610243"/>
                      </a:lnTo>
                      <a:lnTo>
                        <a:pt x="53830" y="612114"/>
                      </a:lnTo>
                      <a:lnTo>
                        <a:pt x="54133" y="608058"/>
                      </a:lnTo>
                      <a:lnTo>
                        <a:pt x="57133" y="607026"/>
                      </a:lnTo>
                      <a:lnTo>
                        <a:pt x="57133" y="602860"/>
                      </a:lnTo>
                      <a:lnTo>
                        <a:pt x="62633" y="602338"/>
                      </a:lnTo>
                      <a:lnTo>
                        <a:pt x="64005" y="601695"/>
                      </a:lnTo>
                      <a:lnTo>
                        <a:pt x="62670" y="598367"/>
                      </a:lnTo>
                      <a:lnTo>
                        <a:pt x="63423" y="593583"/>
                      </a:lnTo>
                      <a:lnTo>
                        <a:pt x="61856" y="591264"/>
                      </a:lnTo>
                      <a:lnTo>
                        <a:pt x="63544" y="587852"/>
                      </a:lnTo>
                      <a:lnTo>
                        <a:pt x="61795" y="587208"/>
                      </a:lnTo>
                      <a:lnTo>
                        <a:pt x="59658" y="582934"/>
                      </a:lnTo>
                      <a:lnTo>
                        <a:pt x="60095" y="578660"/>
                      </a:lnTo>
                      <a:lnTo>
                        <a:pt x="59768" y="578975"/>
                      </a:lnTo>
                      <a:lnTo>
                        <a:pt x="59513" y="585205"/>
                      </a:lnTo>
                      <a:lnTo>
                        <a:pt x="59051" y="586115"/>
                      </a:lnTo>
                      <a:lnTo>
                        <a:pt x="62014" y="588313"/>
                      </a:lnTo>
                      <a:lnTo>
                        <a:pt x="59367" y="594591"/>
                      </a:lnTo>
                      <a:lnTo>
                        <a:pt x="50697" y="603771"/>
                      </a:lnTo>
                      <a:lnTo>
                        <a:pt x="45487" y="609090"/>
                      </a:lnTo>
                      <a:lnTo>
                        <a:pt x="45487" y="601403"/>
                      </a:lnTo>
                      <a:lnTo>
                        <a:pt x="43399" y="604318"/>
                      </a:lnTo>
                      <a:lnTo>
                        <a:pt x="40885" y="609333"/>
                      </a:lnTo>
                      <a:lnTo>
                        <a:pt x="39562" y="616485"/>
                      </a:lnTo>
                      <a:lnTo>
                        <a:pt x="37850" y="620796"/>
                      </a:lnTo>
                      <a:lnTo>
                        <a:pt x="33017" y="624123"/>
                      </a:lnTo>
                      <a:lnTo>
                        <a:pt x="28985" y="618659"/>
                      </a:lnTo>
                      <a:lnTo>
                        <a:pt x="28730" y="615744"/>
                      </a:lnTo>
                      <a:lnTo>
                        <a:pt x="29034" y="614433"/>
                      </a:lnTo>
                      <a:lnTo>
                        <a:pt x="25488" y="617335"/>
                      </a:lnTo>
                      <a:lnTo>
                        <a:pt x="22549" y="610037"/>
                      </a:lnTo>
                      <a:lnTo>
                        <a:pt x="24104" y="606613"/>
                      </a:lnTo>
                      <a:lnTo>
                        <a:pt x="28172" y="601124"/>
                      </a:lnTo>
                      <a:lnTo>
                        <a:pt x="29009" y="598902"/>
                      </a:lnTo>
                      <a:lnTo>
                        <a:pt x="29362" y="597178"/>
                      </a:lnTo>
                      <a:lnTo>
                        <a:pt x="28900" y="592430"/>
                      </a:lnTo>
                      <a:lnTo>
                        <a:pt x="28548" y="587306"/>
                      </a:lnTo>
                      <a:lnTo>
                        <a:pt x="29617" y="587803"/>
                      </a:lnTo>
                      <a:lnTo>
                        <a:pt x="32664" y="580020"/>
                      </a:lnTo>
                      <a:lnTo>
                        <a:pt x="32689" y="578635"/>
                      </a:lnTo>
                      <a:lnTo>
                        <a:pt x="32324" y="577409"/>
                      </a:lnTo>
                      <a:lnTo>
                        <a:pt x="30855" y="574628"/>
                      </a:lnTo>
                      <a:lnTo>
                        <a:pt x="30624" y="573778"/>
                      </a:lnTo>
                      <a:lnTo>
                        <a:pt x="26374" y="573851"/>
                      </a:lnTo>
                      <a:lnTo>
                        <a:pt x="24772" y="569176"/>
                      </a:lnTo>
                      <a:lnTo>
                        <a:pt x="25282" y="566626"/>
                      </a:lnTo>
                      <a:lnTo>
                        <a:pt x="25901" y="565169"/>
                      </a:lnTo>
                      <a:lnTo>
                        <a:pt x="24055" y="566893"/>
                      </a:lnTo>
                      <a:lnTo>
                        <a:pt x="23157" y="548594"/>
                      </a:lnTo>
                      <a:lnTo>
                        <a:pt x="23873" y="540859"/>
                      </a:lnTo>
                      <a:lnTo>
                        <a:pt x="26884" y="536099"/>
                      </a:lnTo>
                      <a:lnTo>
                        <a:pt x="27929" y="535989"/>
                      </a:lnTo>
                      <a:lnTo>
                        <a:pt x="26957" y="535078"/>
                      </a:lnTo>
                      <a:lnTo>
                        <a:pt x="21979" y="527720"/>
                      </a:lnTo>
                      <a:lnTo>
                        <a:pt x="21007" y="525486"/>
                      </a:lnTo>
                      <a:lnTo>
                        <a:pt x="18664" y="514181"/>
                      </a:lnTo>
                      <a:lnTo>
                        <a:pt x="18336" y="508255"/>
                      </a:lnTo>
                      <a:lnTo>
                        <a:pt x="20570" y="504126"/>
                      </a:lnTo>
                      <a:lnTo>
                        <a:pt x="21602" y="503483"/>
                      </a:lnTo>
                      <a:lnTo>
                        <a:pt x="19149" y="502341"/>
                      </a:lnTo>
                      <a:lnTo>
                        <a:pt x="14013" y="497108"/>
                      </a:lnTo>
                      <a:lnTo>
                        <a:pt x="11487" y="485438"/>
                      </a:lnTo>
                      <a:lnTo>
                        <a:pt x="12884" y="481662"/>
                      </a:lnTo>
                      <a:lnTo>
                        <a:pt x="11427" y="474048"/>
                      </a:lnTo>
                      <a:lnTo>
                        <a:pt x="6727" y="458165"/>
                      </a:lnTo>
                      <a:lnTo>
                        <a:pt x="5877" y="458359"/>
                      </a:lnTo>
                      <a:lnTo>
                        <a:pt x="5282" y="453284"/>
                      </a:lnTo>
                      <a:lnTo>
                        <a:pt x="4954" y="452155"/>
                      </a:lnTo>
                      <a:lnTo>
                        <a:pt x="5173" y="452288"/>
                      </a:lnTo>
                      <a:lnTo>
                        <a:pt x="5088" y="451584"/>
                      </a:lnTo>
                      <a:lnTo>
                        <a:pt x="5744" y="444796"/>
                      </a:lnTo>
                      <a:lnTo>
                        <a:pt x="4869" y="443193"/>
                      </a:lnTo>
                      <a:lnTo>
                        <a:pt x="340" y="437195"/>
                      </a:lnTo>
                      <a:lnTo>
                        <a:pt x="0" y="433309"/>
                      </a:lnTo>
                      <a:lnTo>
                        <a:pt x="2501" y="429605"/>
                      </a:lnTo>
                      <a:lnTo>
                        <a:pt x="3011" y="427444"/>
                      </a:lnTo>
                      <a:lnTo>
                        <a:pt x="3291" y="421324"/>
                      </a:lnTo>
                      <a:lnTo>
                        <a:pt x="2635" y="417013"/>
                      </a:lnTo>
                      <a:lnTo>
                        <a:pt x="3121" y="413795"/>
                      </a:lnTo>
                      <a:lnTo>
                        <a:pt x="3436" y="412229"/>
                      </a:lnTo>
                      <a:lnTo>
                        <a:pt x="7031" y="410723"/>
                      </a:lnTo>
                      <a:lnTo>
                        <a:pt x="7735" y="409946"/>
                      </a:lnTo>
                      <a:lnTo>
                        <a:pt x="9046" y="407651"/>
                      </a:lnTo>
                      <a:lnTo>
                        <a:pt x="10504" y="404421"/>
                      </a:lnTo>
                      <a:lnTo>
                        <a:pt x="11135" y="401956"/>
                      </a:lnTo>
                      <a:lnTo>
                        <a:pt x="11026" y="391367"/>
                      </a:lnTo>
                      <a:lnTo>
                        <a:pt x="11548" y="388987"/>
                      </a:lnTo>
                      <a:lnTo>
                        <a:pt x="14122" y="388040"/>
                      </a:lnTo>
                      <a:lnTo>
                        <a:pt x="18251" y="387469"/>
                      </a:lnTo>
                      <a:lnTo>
                        <a:pt x="20777" y="385793"/>
                      </a:lnTo>
                      <a:lnTo>
                        <a:pt x="21578" y="385040"/>
                      </a:lnTo>
                      <a:lnTo>
                        <a:pt x="24577" y="383013"/>
                      </a:lnTo>
                      <a:lnTo>
                        <a:pt x="26156" y="382539"/>
                      </a:lnTo>
                      <a:lnTo>
                        <a:pt x="26836" y="382502"/>
                      </a:lnTo>
                      <a:lnTo>
                        <a:pt x="29264" y="382575"/>
                      </a:lnTo>
                      <a:lnTo>
                        <a:pt x="32409" y="383851"/>
                      </a:lnTo>
                      <a:lnTo>
                        <a:pt x="34195" y="382721"/>
                      </a:lnTo>
                      <a:lnTo>
                        <a:pt x="36247" y="382005"/>
                      </a:lnTo>
                      <a:lnTo>
                        <a:pt x="42197" y="382345"/>
                      </a:lnTo>
                      <a:lnTo>
                        <a:pt x="44990" y="382308"/>
                      </a:lnTo>
                      <a:lnTo>
                        <a:pt x="49009" y="381349"/>
                      </a:lnTo>
                      <a:lnTo>
                        <a:pt x="55517" y="378544"/>
                      </a:lnTo>
                      <a:lnTo>
                        <a:pt x="54898" y="370809"/>
                      </a:lnTo>
                      <a:lnTo>
                        <a:pt x="54619" y="370093"/>
                      </a:lnTo>
                      <a:lnTo>
                        <a:pt x="54085" y="369145"/>
                      </a:lnTo>
                      <a:lnTo>
                        <a:pt x="53380" y="368429"/>
                      </a:lnTo>
                      <a:lnTo>
                        <a:pt x="52239" y="367567"/>
                      </a:lnTo>
                      <a:lnTo>
                        <a:pt x="49203" y="365830"/>
                      </a:lnTo>
                      <a:lnTo>
                        <a:pt x="47612" y="364580"/>
                      </a:lnTo>
                      <a:lnTo>
                        <a:pt x="46192" y="362928"/>
                      </a:lnTo>
                      <a:lnTo>
                        <a:pt x="45038" y="360852"/>
                      </a:lnTo>
                      <a:lnTo>
                        <a:pt x="44868" y="359164"/>
                      </a:lnTo>
                      <a:lnTo>
                        <a:pt x="45245" y="356492"/>
                      </a:lnTo>
                      <a:lnTo>
                        <a:pt x="46082" y="354671"/>
                      </a:lnTo>
                      <a:lnTo>
                        <a:pt x="47491" y="352886"/>
                      </a:lnTo>
                      <a:lnTo>
                        <a:pt x="50284" y="351939"/>
                      </a:lnTo>
                      <a:lnTo>
                        <a:pt x="52433" y="352145"/>
                      </a:lnTo>
                      <a:lnTo>
                        <a:pt x="55930" y="352910"/>
                      </a:lnTo>
                      <a:lnTo>
                        <a:pt x="56355" y="352959"/>
                      </a:lnTo>
                      <a:lnTo>
                        <a:pt x="58408" y="348065"/>
                      </a:lnTo>
                      <a:lnTo>
                        <a:pt x="59828" y="345673"/>
                      </a:lnTo>
                      <a:lnTo>
                        <a:pt x="61079" y="344835"/>
                      </a:lnTo>
                      <a:lnTo>
                        <a:pt x="62767" y="344216"/>
                      </a:lnTo>
                      <a:lnTo>
                        <a:pt x="63410" y="344191"/>
                      </a:lnTo>
                      <a:lnTo>
                        <a:pt x="65171" y="344362"/>
                      </a:lnTo>
                      <a:lnTo>
                        <a:pt x="67248" y="345163"/>
                      </a:lnTo>
                      <a:lnTo>
                        <a:pt x="68000" y="345272"/>
                      </a:lnTo>
                      <a:lnTo>
                        <a:pt x="70781" y="343402"/>
                      </a:lnTo>
                      <a:lnTo>
                        <a:pt x="76306" y="338642"/>
                      </a:lnTo>
                      <a:lnTo>
                        <a:pt x="78043" y="337513"/>
                      </a:lnTo>
                      <a:lnTo>
                        <a:pt x="81066" y="336384"/>
                      </a:lnTo>
                      <a:lnTo>
                        <a:pt x="83106" y="337003"/>
                      </a:lnTo>
                      <a:lnTo>
                        <a:pt x="84855" y="338314"/>
                      </a:lnTo>
                      <a:lnTo>
                        <a:pt x="86348" y="340707"/>
                      </a:lnTo>
                      <a:lnTo>
                        <a:pt x="85875" y="344641"/>
                      </a:lnTo>
                      <a:lnTo>
                        <a:pt x="85389" y="346462"/>
                      </a:lnTo>
                      <a:lnTo>
                        <a:pt x="85644" y="346681"/>
                      </a:lnTo>
                      <a:lnTo>
                        <a:pt x="86336" y="346790"/>
                      </a:lnTo>
                      <a:lnTo>
                        <a:pt x="87356" y="346669"/>
                      </a:lnTo>
                      <a:lnTo>
                        <a:pt x="88765" y="346377"/>
                      </a:lnTo>
                      <a:lnTo>
                        <a:pt x="91849" y="346377"/>
                      </a:lnTo>
                      <a:lnTo>
                        <a:pt x="93464" y="347543"/>
                      </a:lnTo>
                      <a:lnTo>
                        <a:pt x="94569" y="349134"/>
                      </a:lnTo>
                      <a:lnTo>
                        <a:pt x="95091" y="350943"/>
                      </a:lnTo>
                      <a:lnTo>
                        <a:pt x="94654" y="353784"/>
                      </a:lnTo>
                      <a:lnTo>
                        <a:pt x="93646" y="356055"/>
                      </a:lnTo>
                      <a:lnTo>
                        <a:pt x="92068" y="357828"/>
                      </a:lnTo>
                      <a:lnTo>
                        <a:pt x="79136" y="364919"/>
                      </a:lnTo>
                      <a:lnTo>
                        <a:pt x="78601" y="365490"/>
                      </a:lnTo>
                      <a:lnTo>
                        <a:pt x="75238" y="366777"/>
                      </a:lnTo>
                      <a:lnTo>
                        <a:pt x="78322" y="367700"/>
                      </a:lnTo>
                      <a:lnTo>
                        <a:pt x="79694" y="374027"/>
                      </a:lnTo>
                      <a:lnTo>
                        <a:pt x="79925" y="374464"/>
                      </a:lnTo>
                      <a:lnTo>
                        <a:pt x="80993" y="375423"/>
                      </a:lnTo>
                      <a:lnTo>
                        <a:pt x="82232" y="375581"/>
                      </a:lnTo>
                      <a:lnTo>
                        <a:pt x="84903" y="375229"/>
                      </a:lnTo>
                      <a:lnTo>
                        <a:pt x="85304" y="375035"/>
                      </a:lnTo>
                      <a:lnTo>
                        <a:pt x="85851" y="371380"/>
                      </a:lnTo>
                      <a:lnTo>
                        <a:pt x="87065" y="368587"/>
                      </a:lnTo>
                      <a:lnTo>
                        <a:pt x="88279" y="367676"/>
                      </a:lnTo>
                      <a:lnTo>
                        <a:pt x="89846" y="366959"/>
                      </a:lnTo>
                      <a:lnTo>
                        <a:pt x="91655" y="366802"/>
                      </a:lnTo>
                      <a:lnTo>
                        <a:pt x="99098" y="367797"/>
                      </a:lnTo>
                      <a:lnTo>
                        <a:pt x="101576" y="369643"/>
                      </a:lnTo>
                      <a:lnTo>
                        <a:pt x="103919" y="372315"/>
                      </a:lnTo>
                      <a:lnTo>
                        <a:pt x="103324" y="380426"/>
                      </a:lnTo>
                      <a:lnTo>
                        <a:pt x="105571" y="380766"/>
                      </a:lnTo>
                      <a:lnTo>
                        <a:pt x="106178" y="380390"/>
                      </a:lnTo>
                      <a:lnTo>
                        <a:pt x="108570" y="379527"/>
                      </a:lnTo>
                      <a:lnTo>
                        <a:pt x="110707" y="378264"/>
                      </a:lnTo>
                      <a:lnTo>
                        <a:pt x="111472" y="377512"/>
                      </a:lnTo>
                      <a:lnTo>
                        <a:pt x="111727" y="377172"/>
                      </a:lnTo>
                      <a:lnTo>
                        <a:pt x="111897" y="376370"/>
                      </a:lnTo>
                      <a:lnTo>
                        <a:pt x="111958" y="375375"/>
                      </a:lnTo>
                      <a:lnTo>
                        <a:pt x="111788" y="374549"/>
                      </a:lnTo>
                      <a:lnTo>
                        <a:pt x="111824" y="372776"/>
                      </a:lnTo>
                      <a:lnTo>
                        <a:pt x="112371" y="370445"/>
                      </a:lnTo>
                      <a:lnTo>
                        <a:pt x="114302" y="367348"/>
                      </a:lnTo>
                      <a:lnTo>
                        <a:pt x="116439" y="365660"/>
                      </a:lnTo>
                      <a:lnTo>
                        <a:pt x="119729" y="364604"/>
                      </a:lnTo>
                      <a:lnTo>
                        <a:pt x="132698" y="366583"/>
                      </a:lnTo>
                      <a:lnTo>
                        <a:pt x="136292" y="367506"/>
                      </a:lnTo>
                      <a:lnTo>
                        <a:pt x="137507" y="367639"/>
                      </a:lnTo>
                      <a:lnTo>
                        <a:pt x="137725" y="367591"/>
                      </a:lnTo>
                      <a:lnTo>
                        <a:pt x="136997" y="365442"/>
                      </a:lnTo>
                      <a:lnTo>
                        <a:pt x="136742" y="362965"/>
                      </a:lnTo>
                      <a:lnTo>
                        <a:pt x="137191" y="360269"/>
                      </a:lnTo>
                      <a:lnTo>
                        <a:pt x="139231" y="356286"/>
                      </a:lnTo>
                      <a:lnTo>
                        <a:pt x="139583" y="354671"/>
                      </a:lnTo>
                      <a:lnTo>
                        <a:pt x="139790" y="352364"/>
                      </a:lnTo>
                      <a:lnTo>
                        <a:pt x="138539" y="343694"/>
                      </a:lnTo>
                      <a:lnTo>
                        <a:pt x="138393" y="340634"/>
                      </a:lnTo>
                      <a:lnTo>
                        <a:pt x="138199" y="339262"/>
                      </a:lnTo>
                      <a:lnTo>
                        <a:pt x="137871" y="338193"/>
                      </a:lnTo>
                      <a:lnTo>
                        <a:pt x="136839" y="338254"/>
                      </a:lnTo>
                      <a:lnTo>
                        <a:pt x="136049" y="337999"/>
                      </a:lnTo>
                      <a:lnTo>
                        <a:pt x="135151" y="336991"/>
                      </a:lnTo>
                      <a:lnTo>
                        <a:pt x="134264" y="335728"/>
                      </a:lnTo>
                      <a:lnTo>
                        <a:pt x="133342" y="333469"/>
                      </a:lnTo>
                      <a:lnTo>
                        <a:pt x="134374" y="329924"/>
                      </a:lnTo>
                      <a:lnTo>
                        <a:pt x="140154" y="321897"/>
                      </a:lnTo>
                      <a:lnTo>
                        <a:pt x="149249" y="307059"/>
                      </a:lnTo>
                      <a:lnTo>
                        <a:pt x="151240" y="302578"/>
                      </a:lnTo>
                      <a:lnTo>
                        <a:pt x="151823" y="300295"/>
                      </a:lnTo>
                      <a:lnTo>
                        <a:pt x="150475" y="293968"/>
                      </a:lnTo>
                      <a:lnTo>
                        <a:pt x="150342" y="293628"/>
                      </a:lnTo>
                      <a:lnTo>
                        <a:pt x="148605" y="293385"/>
                      </a:lnTo>
                      <a:lnTo>
                        <a:pt x="147342" y="293082"/>
                      </a:lnTo>
                      <a:lnTo>
                        <a:pt x="144865" y="291686"/>
                      </a:lnTo>
                      <a:lnTo>
                        <a:pt x="144404" y="291175"/>
                      </a:lnTo>
                      <a:lnTo>
                        <a:pt x="143627" y="289864"/>
                      </a:lnTo>
                      <a:lnTo>
                        <a:pt x="143202" y="288286"/>
                      </a:lnTo>
                      <a:lnTo>
                        <a:pt x="142631" y="284230"/>
                      </a:lnTo>
                      <a:lnTo>
                        <a:pt x="142412" y="284157"/>
                      </a:lnTo>
                      <a:lnTo>
                        <a:pt x="140044" y="284036"/>
                      </a:lnTo>
                      <a:lnTo>
                        <a:pt x="138102" y="283659"/>
                      </a:lnTo>
                      <a:lnTo>
                        <a:pt x="136049" y="282603"/>
                      </a:lnTo>
                      <a:lnTo>
                        <a:pt x="135163" y="282044"/>
                      </a:lnTo>
                      <a:lnTo>
                        <a:pt x="134082" y="279118"/>
                      </a:lnTo>
                      <a:lnTo>
                        <a:pt x="134313" y="277345"/>
                      </a:lnTo>
                      <a:lnTo>
                        <a:pt x="135163" y="275778"/>
                      </a:lnTo>
                      <a:lnTo>
                        <a:pt x="137009" y="273957"/>
                      </a:lnTo>
                      <a:lnTo>
                        <a:pt x="143056" y="271941"/>
                      </a:lnTo>
                      <a:lnTo>
                        <a:pt x="145181" y="269743"/>
                      </a:lnTo>
                      <a:lnTo>
                        <a:pt x="146529" y="265554"/>
                      </a:lnTo>
                      <a:lnTo>
                        <a:pt x="148277" y="263125"/>
                      </a:lnTo>
                      <a:lnTo>
                        <a:pt x="150317" y="261972"/>
                      </a:lnTo>
                      <a:lnTo>
                        <a:pt x="153329" y="261656"/>
                      </a:lnTo>
                      <a:lnTo>
                        <a:pt x="155260" y="262555"/>
                      </a:lnTo>
                      <a:lnTo>
                        <a:pt x="157385" y="264461"/>
                      </a:lnTo>
                      <a:lnTo>
                        <a:pt x="158708" y="266562"/>
                      </a:lnTo>
                      <a:lnTo>
                        <a:pt x="160930" y="271613"/>
                      </a:lnTo>
                      <a:lnTo>
                        <a:pt x="161258" y="271638"/>
                      </a:lnTo>
                      <a:lnTo>
                        <a:pt x="163201" y="272293"/>
                      </a:lnTo>
                      <a:lnTo>
                        <a:pt x="164391" y="272937"/>
                      </a:lnTo>
                      <a:lnTo>
                        <a:pt x="171750" y="278207"/>
                      </a:lnTo>
                      <a:lnTo>
                        <a:pt x="177020" y="280623"/>
                      </a:lnTo>
                      <a:lnTo>
                        <a:pt x="180383" y="282639"/>
                      </a:lnTo>
                      <a:lnTo>
                        <a:pt x="183298" y="285031"/>
                      </a:lnTo>
                      <a:lnTo>
                        <a:pt x="188288" y="292171"/>
                      </a:lnTo>
                      <a:lnTo>
                        <a:pt x="188859" y="292778"/>
                      </a:lnTo>
                      <a:lnTo>
                        <a:pt x="189794" y="293179"/>
                      </a:lnTo>
                      <a:lnTo>
                        <a:pt x="190814" y="293240"/>
                      </a:lnTo>
                      <a:lnTo>
                        <a:pt x="199982" y="292572"/>
                      </a:lnTo>
                      <a:lnTo>
                        <a:pt x="201621" y="291904"/>
                      </a:lnTo>
                      <a:lnTo>
                        <a:pt x="205519" y="289378"/>
                      </a:lnTo>
                      <a:lnTo>
                        <a:pt x="210838" y="286743"/>
                      </a:lnTo>
                      <a:lnTo>
                        <a:pt x="214250" y="285493"/>
                      </a:lnTo>
                      <a:lnTo>
                        <a:pt x="215986" y="284412"/>
                      </a:lnTo>
                      <a:lnTo>
                        <a:pt x="216679" y="283283"/>
                      </a:lnTo>
                      <a:lnTo>
                        <a:pt x="217407" y="281692"/>
                      </a:lnTo>
                      <a:lnTo>
                        <a:pt x="218002" y="279640"/>
                      </a:lnTo>
                      <a:lnTo>
                        <a:pt x="218196" y="277770"/>
                      </a:lnTo>
                      <a:lnTo>
                        <a:pt x="217771" y="274916"/>
                      </a:lnTo>
                      <a:lnTo>
                        <a:pt x="218184" y="271747"/>
                      </a:lnTo>
                      <a:lnTo>
                        <a:pt x="224256" y="265505"/>
                      </a:lnTo>
                      <a:lnTo>
                        <a:pt x="233849" y="258256"/>
                      </a:lnTo>
                      <a:lnTo>
                        <a:pt x="235269" y="256629"/>
                      </a:lnTo>
                      <a:lnTo>
                        <a:pt x="235937" y="255026"/>
                      </a:lnTo>
                      <a:lnTo>
                        <a:pt x="236496" y="252962"/>
                      </a:lnTo>
                      <a:lnTo>
                        <a:pt x="236799" y="250557"/>
                      </a:lnTo>
                      <a:lnTo>
                        <a:pt x="236824" y="247789"/>
                      </a:lnTo>
                      <a:lnTo>
                        <a:pt x="235233" y="232974"/>
                      </a:lnTo>
                      <a:lnTo>
                        <a:pt x="233812" y="229016"/>
                      </a:lnTo>
                      <a:lnTo>
                        <a:pt x="232100" y="225677"/>
                      </a:lnTo>
                      <a:lnTo>
                        <a:pt x="230072" y="217966"/>
                      </a:lnTo>
                      <a:lnTo>
                        <a:pt x="229077" y="216278"/>
                      </a:lnTo>
                      <a:lnTo>
                        <a:pt x="226089" y="214274"/>
                      </a:lnTo>
                      <a:lnTo>
                        <a:pt x="223005" y="211397"/>
                      </a:lnTo>
                      <a:lnTo>
                        <a:pt x="219289" y="206903"/>
                      </a:lnTo>
                      <a:lnTo>
                        <a:pt x="216108" y="202046"/>
                      </a:lnTo>
                      <a:lnTo>
                        <a:pt x="215367" y="201160"/>
                      </a:lnTo>
                      <a:lnTo>
                        <a:pt x="213461" y="200711"/>
                      </a:lnTo>
                      <a:lnTo>
                        <a:pt x="206224" y="198173"/>
                      </a:lnTo>
                      <a:lnTo>
                        <a:pt x="203491" y="194566"/>
                      </a:lnTo>
                      <a:lnTo>
                        <a:pt x="202289" y="192150"/>
                      </a:lnTo>
                      <a:lnTo>
                        <a:pt x="200431" y="189794"/>
                      </a:lnTo>
                      <a:lnTo>
                        <a:pt x="199290" y="189065"/>
                      </a:lnTo>
                      <a:lnTo>
                        <a:pt x="198088" y="188689"/>
                      </a:lnTo>
                      <a:lnTo>
                        <a:pt x="195696" y="188798"/>
                      </a:lnTo>
                      <a:lnTo>
                        <a:pt x="194591" y="189393"/>
                      </a:lnTo>
                      <a:lnTo>
                        <a:pt x="191203" y="189709"/>
                      </a:lnTo>
                      <a:lnTo>
                        <a:pt x="186916" y="189527"/>
                      </a:lnTo>
                      <a:lnTo>
                        <a:pt x="179375" y="185131"/>
                      </a:lnTo>
                      <a:lnTo>
                        <a:pt x="171798" y="177955"/>
                      </a:lnTo>
                      <a:lnTo>
                        <a:pt x="169588" y="174749"/>
                      </a:lnTo>
                      <a:lnTo>
                        <a:pt x="169443" y="173413"/>
                      </a:lnTo>
                      <a:lnTo>
                        <a:pt x="169491" y="171665"/>
                      </a:lnTo>
                      <a:lnTo>
                        <a:pt x="169843" y="170487"/>
                      </a:lnTo>
                      <a:lnTo>
                        <a:pt x="171215" y="168933"/>
                      </a:lnTo>
                      <a:lnTo>
                        <a:pt x="172005" y="168495"/>
                      </a:lnTo>
                      <a:lnTo>
                        <a:pt x="173826" y="168058"/>
                      </a:lnTo>
                      <a:lnTo>
                        <a:pt x="175380" y="168180"/>
                      </a:lnTo>
                      <a:lnTo>
                        <a:pt x="177918" y="168872"/>
                      </a:lnTo>
                      <a:lnTo>
                        <a:pt x="188531" y="174579"/>
                      </a:lnTo>
                      <a:lnTo>
                        <a:pt x="189357" y="174360"/>
                      </a:lnTo>
                      <a:lnTo>
                        <a:pt x="189940" y="173911"/>
                      </a:lnTo>
                      <a:lnTo>
                        <a:pt x="192368" y="173170"/>
                      </a:lnTo>
                      <a:lnTo>
                        <a:pt x="195137" y="173255"/>
                      </a:lnTo>
                      <a:lnTo>
                        <a:pt x="197335" y="173863"/>
                      </a:lnTo>
                      <a:lnTo>
                        <a:pt x="198634" y="174360"/>
                      </a:lnTo>
                      <a:lnTo>
                        <a:pt x="200808" y="172320"/>
                      </a:lnTo>
                      <a:lnTo>
                        <a:pt x="202836" y="170900"/>
                      </a:lnTo>
                      <a:lnTo>
                        <a:pt x="204973" y="169746"/>
                      </a:lnTo>
                      <a:lnTo>
                        <a:pt x="207511" y="168823"/>
                      </a:lnTo>
                      <a:lnTo>
                        <a:pt x="210000" y="168313"/>
                      </a:lnTo>
                      <a:lnTo>
                        <a:pt x="211093" y="167402"/>
                      </a:lnTo>
                      <a:lnTo>
                        <a:pt x="212246" y="165617"/>
                      </a:lnTo>
                      <a:lnTo>
                        <a:pt x="214614" y="157129"/>
                      </a:lnTo>
                      <a:lnTo>
                        <a:pt x="216484" y="152758"/>
                      </a:lnTo>
                      <a:lnTo>
                        <a:pt x="220006" y="150597"/>
                      </a:lnTo>
                      <a:lnTo>
                        <a:pt x="223612" y="151665"/>
                      </a:lnTo>
                      <a:lnTo>
                        <a:pt x="226490" y="154604"/>
                      </a:lnTo>
                      <a:lnTo>
                        <a:pt x="226830" y="154713"/>
                      </a:lnTo>
                      <a:lnTo>
                        <a:pt x="228397" y="154446"/>
                      </a:lnTo>
                      <a:lnTo>
                        <a:pt x="238402" y="150815"/>
                      </a:lnTo>
                      <a:lnTo>
                        <a:pt x="238937" y="150524"/>
                      </a:lnTo>
                      <a:lnTo>
                        <a:pt x="240588" y="147853"/>
                      </a:lnTo>
                      <a:lnTo>
                        <a:pt x="243381" y="135965"/>
                      </a:lnTo>
                      <a:lnTo>
                        <a:pt x="246356" y="130974"/>
                      </a:lnTo>
                      <a:lnTo>
                        <a:pt x="249574" y="127914"/>
                      </a:lnTo>
                      <a:lnTo>
                        <a:pt x="253411" y="125667"/>
                      </a:lnTo>
                      <a:lnTo>
                        <a:pt x="255840" y="123749"/>
                      </a:lnTo>
                      <a:lnTo>
                        <a:pt x="259871" y="119207"/>
                      </a:lnTo>
                      <a:lnTo>
                        <a:pt x="262312" y="117070"/>
                      </a:lnTo>
                      <a:lnTo>
                        <a:pt x="265372" y="115734"/>
                      </a:lnTo>
                      <a:lnTo>
                        <a:pt x="266367" y="115370"/>
                      </a:lnTo>
                      <a:lnTo>
                        <a:pt x="269209" y="116305"/>
                      </a:lnTo>
                      <a:lnTo>
                        <a:pt x="273981" y="118321"/>
                      </a:lnTo>
                      <a:lnTo>
                        <a:pt x="275390" y="118539"/>
                      </a:lnTo>
                      <a:lnTo>
                        <a:pt x="276543" y="118345"/>
                      </a:lnTo>
                      <a:lnTo>
                        <a:pt x="300708" y="111679"/>
                      </a:lnTo>
                      <a:lnTo>
                        <a:pt x="304873" y="109821"/>
                      </a:lnTo>
                      <a:lnTo>
                        <a:pt x="307435" y="108218"/>
                      </a:lnTo>
                      <a:lnTo>
                        <a:pt x="309111" y="106797"/>
                      </a:lnTo>
                      <a:lnTo>
                        <a:pt x="309742" y="105971"/>
                      </a:lnTo>
                      <a:lnTo>
                        <a:pt x="309815" y="105304"/>
                      </a:lnTo>
                      <a:lnTo>
                        <a:pt x="309791" y="104332"/>
                      </a:lnTo>
                      <a:lnTo>
                        <a:pt x="309584" y="103361"/>
                      </a:lnTo>
                      <a:lnTo>
                        <a:pt x="309232" y="102341"/>
                      </a:lnTo>
                      <a:lnTo>
                        <a:pt x="308467" y="100556"/>
                      </a:lnTo>
                      <a:lnTo>
                        <a:pt x="308127" y="100568"/>
                      </a:lnTo>
                      <a:lnTo>
                        <a:pt x="304678" y="102742"/>
                      </a:lnTo>
                      <a:lnTo>
                        <a:pt x="302651" y="103737"/>
                      </a:lnTo>
                      <a:lnTo>
                        <a:pt x="300319" y="104490"/>
                      </a:lnTo>
                      <a:lnTo>
                        <a:pt x="292268" y="106081"/>
                      </a:lnTo>
                      <a:lnTo>
                        <a:pt x="289221" y="105376"/>
                      </a:lnTo>
                      <a:lnTo>
                        <a:pt x="287326" y="103701"/>
                      </a:lnTo>
                      <a:lnTo>
                        <a:pt x="285881" y="102122"/>
                      </a:lnTo>
                      <a:lnTo>
                        <a:pt x="284740" y="101199"/>
                      </a:lnTo>
                      <a:lnTo>
                        <a:pt x="283210" y="100944"/>
                      </a:lnTo>
                      <a:lnTo>
                        <a:pt x="282445" y="101199"/>
                      </a:lnTo>
                      <a:lnTo>
                        <a:pt x="282433" y="101855"/>
                      </a:lnTo>
                      <a:lnTo>
                        <a:pt x="280720" y="103470"/>
                      </a:lnTo>
                      <a:lnTo>
                        <a:pt x="280150" y="103931"/>
                      </a:lnTo>
                      <a:lnTo>
                        <a:pt x="277478" y="104514"/>
                      </a:lnTo>
                      <a:lnTo>
                        <a:pt x="263210" y="103251"/>
                      </a:lnTo>
                      <a:lnTo>
                        <a:pt x="260017" y="103349"/>
                      </a:lnTo>
                      <a:lnTo>
                        <a:pt x="256131" y="104029"/>
                      </a:lnTo>
                      <a:lnTo>
                        <a:pt x="248797" y="106226"/>
                      </a:lnTo>
                      <a:lnTo>
                        <a:pt x="243308" y="108546"/>
                      </a:lnTo>
                      <a:lnTo>
                        <a:pt x="229914" y="110792"/>
                      </a:lnTo>
                      <a:lnTo>
                        <a:pt x="225179" y="112905"/>
                      </a:lnTo>
                      <a:lnTo>
                        <a:pt x="223126" y="113269"/>
                      </a:lnTo>
                      <a:lnTo>
                        <a:pt x="222046" y="113403"/>
                      </a:lnTo>
                      <a:lnTo>
                        <a:pt x="220564" y="112444"/>
                      </a:lnTo>
                      <a:lnTo>
                        <a:pt x="219241" y="111254"/>
                      </a:lnTo>
                      <a:lnTo>
                        <a:pt x="218439" y="109991"/>
                      </a:lnTo>
                      <a:lnTo>
                        <a:pt x="216193" y="105218"/>
                      </a:lnTo>
                      <a:lnTo>
                        <a:pt x="214906" y="103118"/>
                      </a:lnTo>
                      <a:lnTo>
                        <a:pt x="209684" y="97034"/>
                      </a:lnTo>
                      <a:lnTo>
                        <a:pt x="208179" y="94423"/>
                      </a:lnTo>
                      <a:lnTo>
                        <a:pt x="206612" y="90161"/>
                      </a:lnTo>
                      <a:lnTo>
                        <a:pt x="207656" y="86628"/>
                      </a:lnTo>
                      <a:lnTo>
                        <a:pt x="210704" y="84612"/>
                      </a:lnTo>
                      <a:lnTo>
                        <a:pt x="217213" y="83968"/>
                      </a:lnTo>
                      <a:lnTo>
                        <a:pt x="219678" y="82657"/>
                      </a:lnTo>
                      <a:lnTo>
                        <a:pt x="221548" y="80678"/>
                      </a:lnTo>
                      <a:lnTo>
                        <a:pt x="223139" y="75833"/>
                      </a:lnTo>
                      <a:lnTo>
                        <a:pt x="222956" y="74461"/>
                      </a:lnTo>
                      <a:lnTo>
                        <a:pt x="221791" y="73234"/>
                      </a:lnTo>
                      <a:lnTo>
                        <a:pt x="220249" y="72433"/>
                      </a:lnTo>
                      <a:lnTo>
                        <a:pt x="217468" y="69142"/>
                      </a:lnTo>
                      <a:lnTo>
                        <a:pt x="216424" y="64868"/>
                      </a:lnTo>
                      <a:lnTo>
                        <a:pt x="217067" y="61468"/>
                      </a:lnTo>
                      <a:lnTo>
                        <a:pt x="216800" y="59816"/>
                      </a:lnTo>
                      <a:lnTo>
                        <a:pt x="215343" y="54874"/>
                      </a:lnTo>
                      <a:lnTo>
                        <a:pt x="215124" y="52105"/>
                      </a:lnTo>
                      <a:lnTo>
                        <a:pt x="215440" y="49810"/>
                      </a:lnTo>
                      <a:lnTo>
                        <a:pt x="218476" y="43399"/>
                      </a:lnTo>
                      <a:lnTo>
                        <a:pt x="222301" y="41857"/>
                      </a:lnTo>
                      <a:lnTo>
                        <a:pt x="224559" y="41407"/>
                      </a:lnTo>
                      <a:lnTo>
                        <a:pt x="231287" y="39319"/>
                      </a:lnTo>
                      <a:lnTo>
                        <a:pt x="237018" y="36077"/>
                      </a:lnTo>
                      <a:lnTo>
                        <a:pt x="240709" y="36684"/>
                      </a:lnTo>
                      <a:lnTo>
                        <a:pt x="244729" y="35397"/>
                      </a:lnTo>
                      <a:lnTo>
                        <a:pt x="247692" y="33502"/>
                      </a:lnTo>
                      <a:lnTo>
                        <a:pt x="249574" y="30697"/>
                      </a:lnTo>
                      <a:lnTo>
                        <a:pt x="266574" y="22647"/>
                      </a:lnTo>
                      <a:lnTo>
                        <a:pt x="277539" y="20619"/>
                      </a:lnTo>
                      <a:lnTo>
                        <a:pt x="277575" y="8767"/>
                      </a:lnTo>
                      <a:lnTo>
                        <a:pt x="280138" y="340"/>
                      </a:lnTo>
                      <a:lnTo>
                        <a:pt x="282287" y="1032"/>
                      </a:lnTo>
                      <a:lnTo>
                        <a:pt x="285918" y="0"/>
                      </a:lnTo>
                      <a:lnTo>
                        <a:pt x="286015" y="692"/>
                      </a:lnTo>
                      <a:lnTo>
                        <a:pt x="285918" y="2198"/>
                      </a:lnTo>
                      <a:lnTo>
                        <a:pt x="283501" y="9714"/>
                      </a:lnTo>
                      <a:lnTo>
                        <a:pt x="283586" y="20631"/>
                      </a:lnTo>
                      <a:lnTo>
                        <a:pt x="285323" y="20971"/>
                      </a:lnTo>
                      <a:lnTo>
                        <a:pt x="292256" y="24966"/>
                      </a:lnTo>
                      <a:lnTo>
                        <a:pt x="295377" y="25391"/>
                      </a:lnTo>
                      <a:lnTo>
                        <a:pt x="299020" y="25136"/>
                      </a:lnTo>
                      <a:lnTo>
                        <a:pt x="302566" y="24456"/>
                      </a:lnTo>
                      <a:lnTo>
                        <a:pt x="305626" y="23363"/>
                      </a:lnTo>
                      <a:lnTo>
                        <a:pt x="307326" y="22343"/>
                      </a:lnTo>
                      <a:lnTo>
                        <a:pt x="307508" y="21797"/>
                      </a:lnTo>
                      <a:lnTo>
                        <a:pt x="307617" y="20109"/>
                      </a:lnTo>
                      <a:lnTo>
                        <a:pt x="308030" y="18797"/>
                      </a:lnTo>
                      <a:lnTo>
                        <a:pt x="309511" y="17546"/>
                      </a:lnTo>
                      <a:lnTo>
                        <a:pt x="311090" y="16951"/>
                      </a:lnTo>
                      <a:lnTo>
                        <a:pt x="313276" y="16587"/>
                      </a:lnTo>
                      <a:lnTo>
                        <a:pt x="315231" y="15579"/>
                      </a:lnTo>
                      <a:lnTo>
                        <a:pt x="319711" y="14244"/>
                      </a:lnTo>
                      <a:lnTo>
                        <a:pt x="321084" y="13527"/>
                      </a:lnTo>
                      <a:lnTo>
                        <a:pt x="328564" y="6399"/>
                      </a:lnTo>
                      <a:lnTo>
                        <a:pt x="333882" y="5962"/>
                      </a:lnTo>
                      <a:lnTo>
                        <a:pt x="338654" y="10164"/>
                      </a:lnTo>
                      <a:lnTo>
                        <a:pt x="350166" y="22744"/>
                      </a:lnTo>
                      <a:lnTo>
                        <a:pt x="352133" y="29786"/>
                      </a:lnTo>
                      <a:lnTo>
                        <a:pt x="351635" y="32944"/>
                      </a:lnTo>
                      <a:lnTo>
                        <a:pt x="350737" y="49179"/>
                      </a:lnTo>
                      <a:lnTo>
                        <a:pt x="350967" y="51717"/>
                      </a:lnTo>
                      <a:lnTo>
                        <a:pt x="351477" y="53137"/>
                      </a:lnTo>
                      <a:lnTo>
                        <a:pt x="353505" y="56902"/>
                      </a:lnTo>
                      <a:lnTo>
                        <a:pt x="354307" y="59088"/>
                      </a:lnTo>
                      <a:lnTo>
                        <a:pt x="354865" y="65353"/>
                      </a:lnTo>
                      <a:lnTo>
                        <a:pt x="355327" y="66301"/>
                      </a:lnTo>
                      <a:lnTo>
                        <a:pt x="356359" y="67175"/>
                      </a:lnTo>
                      <a:lnTo>
                        <a:pt x="358472" y="68753"/>
                      </a:lnTo>
                      <a:lnTo>
                        <a:pt x="362965" y="71643"/>
                      </a:lnTo>
                      <a:lnTo>
                        <a:pt x="369170" y="76573"/>
                      </a:lnTo>
                      <a:lnTo>
                        <a:pt x="371914" y="78043"/>
                      </a:lnTo>
                      <a:lnTo>
                        <a:pt x="381750" y="80605"/>
                      </a:lnTo>
                      <a:lnTo>
                        <a:pt x="384433" y="82851"/>
                      </a:lnTo>
                      <a:lnTo>
                        <a:pt x="386570" y="85037"/>
                      </a:lnTo>
                      <a:lnTo>
                        <a:pt x="388574" y="86555"/>
                      </a:lnTo>
                      <a:lnTo>
                        <a:pt x="390444" y="87344"/>
                      </a:lnTo>
                      <a:lnTo>
                        <a:pt x="393820" y="87575"/>
                      </a:lnTo>
                      <a:lnTo>
                        <a:pt x="399624" y="87587"/>
                      </a:lnTo>
                      <a:lnTo>
                        <a:pt x="416211" y="86008"/>
                      </a:lnTo>
                      <a:lnTo>
                        <a:pt x="418701" y="86094"/>
                      </a:lnTo>
                      <a:lnTo>
                        <a:pt x="424469" y="86931"/>
                      </a:lnTo>
                      <a:lnTo>
                        <a:pt x="426751" y="87611"/>
                      </a:lnTo>
                      <a:lnTo>
                        <a:pt x="429131" y="88923"/>
                      </a:lnTo>
                      <a:lnTo>
                        <a:pt x="432446" y="91643"/>
                      </a:lnTo>
                      <a:lnTo>
                        <a:pt x="434559" y="93063"/>
                      </a:lnTo>
                      <a:lnTo>
                        <a:pt x="436709" y="93768"/>
                      </a:lnTo>
                      <a:lnTo>
                        <a:pt x="445027" y="94071"/>
                      </a:lnTo>
                      <a:lnTo>
                        <a:pt x="446957" y="94569"/>
                      </a:lnTo>
                      <a:lnTo>
                        <a:pt x="452276" y="97241"/>
                      </a:lnTo>
                      <a:lnTo>
                        <a:pt x="454595" y="98783"/>
                      </a:lnTo>
                      <a:lnTo>
                        <a:pt x="458809" y="102960"/>
                      </a:lnTo>
                      <a:lnTo>
                        <a:pt x="466350" y="113451"/>
                      </a:lnTo>
                      <a:lnTo>
                        <a:pt x="468547" y="118782"/>
                      </a:lnTo>
                      <a:lnTo>
                        <a:pt x="469519" y="120664"/>
                      </a:lnTo>
                      <a:lnTo>
                        <a:pt x="470782" y="122401"/>
                      </a:lnTo>
                      <a:lnTo>
                        <a:pt x="472215" y="123506"/>
                      </a:lnTo>
                      <a:lnTo>
                        <a:pt x="474060" y="124380"/>
                      </a:lnTo>
                      <a:lnTo>
                        <a:pt x="484272" y="128144"/>
                      </a:lnTo>
                      <a:lnTo>
                        <a:pt x="503033" y="132212"/>
                      </a:lnTo>
                      <a:lnTo>
                        <a:pt x="508765" y="131520"/>
                      </a:lnTo>
                      <a:lnTo>
                        <a:pt x="512019" y="132054"/>
                      </a:lnTo>
                      <a:lnTo>
                        <a:pt x="513998" y="132759"/>
                      </a:lnTo>
                      <a:lnTo>
                        <a:pt x="516136" y="133256"/>
                      </a:lnTo>
                      <a:lnTo>
                        <a:pt x="533913" y="133172"/>
                      </a:lnTo>
                      <a:lnTo>
                        <a:pt x="542012" y="134082"/>
                      </a:lnTo>
                      <a:lnTo>
                        <a:pt x="544161" y="134034"/>
                      </a:lnTo>
                      <a:lnTo>
                        <a:pt x="550051" y="132455"/>
                      </a:lnTo>
                      <a:lnTo>
                        <a:pt x="554932" y="132273"/>
                      </a:lnTo>
                      <a:lnTo>
                        <a:pt x="557604" y="131678"/>
                      </a:lnTo>
                      <a:lnTo>
                        <a:pt x="560919" y="131374"/>
                      </a:lnTo>
                      <a:lnTo>
                        <a:pt x="568739" y="132431"/>
                      </a:lnTo>
                      <a:lnTo>
                        <a:pt x="576559" y="132795"/>
                      </a:lnTo>
                      <a:lnTo>
                        <a:pt x="596413" y="131751"/>
                      </a:lnTo>
                      <a:lnTo>
                        <a:pt x="608592" y="128436"/>
                      </a:lnTo>
                      <a:lnTo>
                        <a:pt x="614906" y="130245"/>
                      </a:lnTo>
                      <a:lnTo>
                        <a:pt x="619508" y="129990"/>
                      </a:lnTo>
                      <a:lnTo>
                        <a:pt x="622836" y="130306"/>
                      </a:lnTo>
                      <a:lnTo>
                        <a:pt x="630024" y="132941"/>
                      </a:lnTo>
                      <a:lnTo>
                        <a:pt x="639605" y="135333"/>
                      </a:lnTo>
                      <a:lnTo>
                        <a:pt x="640807" y="135321"/>
                      </a:lnTo>
                      <a:lnTo>
                        <a:pt x="642131" y="135078"/>
                      </a:lnTo>
                      <a:lnTo>
                        <a:pt x="643964" y="134580"/>
                      </a:lnTo>
                      <a:lnTo>
                        <a:pt x="647401" y="134799"/>
                      </a:lnTo>
                      <a:lnTo>
                        <a:pt x="648360" y="134920"/>
                      </a:lnTo>
                      <a:lnTo>
                        <a:pt x="651080" y="137409"/>
                      </a:lnTo>
                      <a:lnTo>
                        <a:pt x="654419" y="143396"/>
                      </a:lnTo>
                      <a:lnTo>
                        <a:pt x="658730" y="153912"/>
                      </a:lnTo>
                      <a:lnTo>
                        <a:pt x="659362" y="163310"/>
                      </a:lnTo>
                      <a:lnTo>
                        <a:pt x="661414" y="172272"/>
                      </a:lnTo>
                      <a:lnTo>
                        <a:pt x="660005" y="176473"/>
                      </a:lnTo>
                      <a:lnTo>
                        <a:pt x="657067" y="178368"/>
                      </a:lnTo>
                      <a:lnTo>
                        <a:pt x="654529" y="178610"/>
                      </a:lnTo>
                      <a:lnTo>
                        <a:pt x="660515" y="186710"/>
                      </a:lnTo>
                      <a:lnTo>
                        <a:pt x="664255" y="188859"/>
                      </a:lnTo>
                      <a:lnTo>
                        <a:pt x="667728" y="190389"/>
                      </a:lnTo>
                      <a:lnTo>
                        <a:pt x="685554" y="192296"/>
                      </a:lnTo>
                      <a:lnTo>
                        <a:pt x="690302" y="190984"/>
                      </a:lnTo>
                      <a:lnTo>
                        <a:pt x="702238" y="189940"/>
                      </a:lnTo>
                      <a:lnTo>
                        <a:pt x="707435" y="188130"/>
                      </a:lnTo>
                      <a:lnTo>
                        <a:pt x="711479" y="186358"/>
                      </a:lnTo>
                      <a:lnTo>
                        <a:pt x="713495" y="184014"/>
                      </a:lnTo>
                      <a:lnTo>
                        <a:pt x="716919" y="178610"/>
                      </a:lnTo>
                      <a:lnTo>
                        <a:pt x="719457" y="175441"/>
                      </a:lnTo>
                      <a:lnTo>
                        <a:pt x="722845" y="172357"/>
                      </a:lnTo>
                      <a:lnTo>
                        <a:pt x="728382" y="169673"/>
                      </a:lnTo>
                      <a:lnTo>
                        <a:pt x="732462" y="168738"/>
                      </a:lnTo>
                      <a:lnTo>
                        <a:pt x="745686" y="167342"/>
                      </a:lnTo>
                      <a:lnTo>
                        <a:pt x="747325" y="166419"/>
                      </a:lnTo>
                      <a:lnTo>
                        <a:pt x="748527" y="164840"/>
                      </a:lnTo>
                      <a:lnTo>
                        <a:pt x="749875" y="162594"/>
                      </a:lnTo>
                      <a:lnTo>
                        <a:pt x="751077" y="160056"/>
                      </a:lnTo>
                      <a:lnTo>
                        <a:pt x="750980" y="153110"/>
                      </a:lnTo>
                      <a:lnTo>
                        <a:pt x="748697" y="148496"/>
                      </a:lnTo>
                      <a:lnTo>
                        <a:pt x="747811" y="145994"/>
                      </a:lnTo>
                      <a:lnTo>
                        <a:pt x="747094" y="142813"/>
                      </a:lnTo>
                      <a:lnTo>
                        <a:pt x="748175" y="140312"/>
                      </a:lnTo>
                      <a:lnTo>
                        <a:pt x="750470" y="137580"/>
                      </a:lnTo>
                      <a:lnTo>
                        <a:pt x="755461" y="133791"/>
                      </a:lnTo>
                      <a:lnTo>
                        <a:pt x="763050" y="129590"/>
                      </a:lnTo>
                      <a:lnTo>
                        <a:pt x="764872" y="128327"/>
                      </a:lnTo>
                      <a:lnTo>
                        <a:pt x="766074" y="126918"/>
                      </a:lnTo>
                      <a:lnTo>
                        <a:pt x="769280" y="119814"/>
                      </a:lnTo>
                      <a:lnTo>
                        <a:pt x="770846" y="117568"/>
                      </a:lnTo>
                      <a:lnTo>
                        <a:pt x="773760" y="115091"/>
                      </a:lnTo>
                      <a:lnTo>
                        <a:pt x="774974" y="113731"/>
                      </a:lnTo>
                      <a:lnTo>
                        <a:pt x="775594" y="111982"/>
                      </a:lnTo>
                      <a:lnTo>
                        <a:pt x="775970" y="105680"/>
                      </a:lnTo>
                      <a:lnTo>
                        <a:pt x="776310" y="103907"/>
                      </a:lnTo>
                      <a:lnTo>
                        <a:pt x="776420" y="101855"/>
                      </a:lnTo>
                      <a:lnTo>
                        <a:pt x="777452" y="95444"/>
                      </a:lnTo>
                      <a:lnTo>
                        <a:pt x="782260" y="89749"/>
                      </a:lnTo>
                      <a:lnTo>
                        <a:pt x="789000" y="86591"/>
                      </a:lnTo>
                      <a:lnTo>
                        <a:pt x="800268" y="86713"/>
                      </a:lnTo>
                      <a:lnTo>
                        <a:pt x="802563" y="85802"/>
                      </a:lnTo>
                      <a:lnTo>
                        <a:pt x="822660" y="71388"/>
                      </a:lnTo>
                      <a:lnTo>
                        <a:pt x="830747" y="67466"/>
                      </a:lnTo>
                      <a:lnTo>
                        <a:pt x="839866" y="64941"/>
                      </a:lnTo>
                      <a:lnTo>
                        <a:pt x="850115" y="64054"/>
                      </a:lnTo>
                      <a:lnTo>
                        <a:pt x="853090" y="64479"/>
                      </a:lnTo>
                      <a:lnTo>
                        <a:pt x="855883" y="65924"/>
                      </a:lnTo>
                      <a:lnTo>
                        <a:pt x="856951" y="66835"/>
                      </a:lnTo>
                      <a:lnTo>
                        <a:pt x="855482" y="70077"/>
                      </a:lnTo>
                      <a:lnTo>
                        <a:pt x="857838" y="68158"/>
                      </a:lnTo>
                      <a:lnTo>
                        <a:pt x="858639" y="69142"/>
                      </a:lnTo>
                      <a:lnTo>
                        <a:pt x="859271" y="69652"/>
                      </a:lnTo>
                      <a:lnTo>
                        <a:pt x="860121" y="69397"/>
                      </a:lnTo>
                      <a:lnTo>
                        <a:pt x="861019" y="68838"/>
                      </a:lnTo>
                      <a:lnTo>
                        <a:pt x="861796" y="68195"/>
                      </a:lnTo>
                      <a:lnTo>
                        <a:pt x="862088" y="67478"/>
                      </a:lnTo>
                      <a:lnTo>
                        <a:pt x="863836" y="64261"/>
                      </a:lnTo>
                      <a:lnTo>
                        <a:pt x="865828" y="63082"/>
                      </a:lnTo>
                      <a:lnTo>
                        <a:pt x="871936" y="61613"/>
                      </a:lnTo>
                      <a:lnTo>
                        <a:pt x="872883" y="60642"/>
                      </a:lnTo>
                      <a:lnTo>
                        <a:pt x="873684" y="58978"/>
                      </a:lnTo>
                      <a:lnTo>
                        <a:pt x="876914" y="56125"/>
                      </a:lnTo>
                      <a:lnTo>
                        <a:pt x="880630" y="55032"/>
                      </a:lnTo>
                      <a:lnTo>
                        <a:pt x="905535" y="55785"/>
                      </a:lnTo>
                      <a:lnTo>
                        <a:pt x="908595" y="56404"/>
                      </a:lnTo>
                      <a:lnTo>
                        <a:pt x="911789" y="57922"/>
                      </a:lnTo>
                      <a:lnTo>
                        <a:pt x="913756" y="59792"/>
                      </a:lnTo>
                      <a:lnTo>
                        <a:pt x="914970" y="61844"/>
                      </a:lnTo>
                      <a:lnTo>
                        <a:pt x="915541" y="63775"/>
                      </a:lnTo>
                      <a:lnTo>
                        <a:pt x="916063" y="64127"/>
                      </a:lnTo>
                      <a:lnTo>
                        <a:pt x="919779" y="65438"/>
                      </a:lnTo>
                      <a:lnTo>
                        <a:pt x="922208" y="66895"/>
                      </a:lnTo>
                      <a:lnTo>
                        <a:pt x="924248" y="69288"/>
                      </a:lnTo>
                      <a:lnTo>
                        <a:pt x="925401" y="72263"/>
                      </a:lnTo>
                      <a:lnTo>
                        <a:pt x="927417" y="86676"/>
                      </a:lnTo>
                      <a:lnTo>
                        <a:pt x="927441" y="89979"/>
                      </a:lnTo>
                      <a:lnTo>
                        <a:pt x="927150" y="93112"/>
                      </a:lnTo>
                      <a:lnTo>
                        <a:pt x="927320" y="95298"/>
                      </a:lnTo>
                      <a:lnTo>
                        <a:pt x="927988" y="96305"/>
                      </a:lnTo>
                      <a:lnTo>
                        <a:pt x="928959" y="97447"/>
                      </a:lnTo>
                      <a:lnTo>
                        <a:pt x="930440" y="100495"/>
                      </a:lnTo>
                      <a:lnTo>
                        <a:pt x="929420" y="104466"/>
                      </a:lnTo>
                      <a:lnTo>
                        <a:pt x="926567" y="105874"/>
                      </a:lnTo>
                      <a:lnTo>
                        <a:pt x="923677" y="106506"/>
                      </a:lnTo>
                      <a:lnTo>
                        <a:pt x="904467" y="105352"/>
                      </a:lnTo>
                      <a:lnTo>
                        <a:pt x="903313" y="105534"/>
                      </a:lnTo>
                      <a:lnTo>
                        <a:pt x="903095" y="105668"/>
                      </a:lnTo>
                      <a:lnTo>
                        <a:pt x="902791" y="106372"/>
                      </a:lnTo>
                      <a:lnTo>
                        <a:pt x="902743" y="107878"/>
                      </a:lnTo>
                      <a:lnTo>
                        <a:pt x="902828" y="109529"/>
                      </a:lnTo>
                      <a:lnTo>
                        <a:pt x="903083" y="111302"/>
                      </a:lnTo>
                      <a:lnTo>
                        <a:pt x="906944" y="118041"/>
                      </a:lnTo>
                      <a:lnTo>
                        <a:pt x="911886" y="125072"/>
                      </a:lnTo>
                      <a:lnTo>
                        <a:pt x="912615" y="126894"/>
                      </a:lnTo>
                      <a:lnTo>
                        <a:pt x="913695" y="125582"/>
                      </a:lnTo>
                      <a:lnTo>
                        <a:pt x="915213" y="125230"/>
                      </a:lnTo>
                      <a:lnTo>
                        <a:pt x="916889" y="125048"/>
                      </a:lnTo>
                      <a:lnTo>
                        <a:pt x="919123" y="125364"/>
                      </a:lnTo>
                      <a:lnTo>
                        <a:pt x="921491" y="126335"/>
                      </a:lnTo>
                      <a:lnTo>
                        <a:pt x="923640" y="128144"/>
                      </a:lnTo>
                      <a:lnTo>
                        <a:pt x="925255" y="130209"/>
                      </a:lnTo>
                      <a:lnTo>
                        <a:pt x="926312" y="131241"/>
                      </a:lnTo>
                      <a:lnTo>
                        <a:pt x="927065" y="131472"/>
                      </a:lnTo>
                      <a:lnTo>
                        <a:pt x="928097" y="131605"/>
                      </a:lnTo>
                      <a:lnTo>
                        <a:pt x="929530" y="131350"/>
                      </a:lnTo>
                      <a:lnTo>
                        <a:pt x="930829" y="130877"/>
                      </a:lnTo>
                      <a:lnTo>
                        <a:pt x="933282" y="129492"/>
                      </a:lnTo>
                      <a:lnTo>
                        <a:pt x="935771" y="128703"/>
                      </a:lnTo>
                      <a:lnTo>
                        <a:pt x="938904" y="128752"/>
                      </a:lnTo>
                      <a:lnTo>
                        <a:pt x="941673" y="129322"/>
                      </a:lnTo>
                      <a:lnTo>
                        <a:pt x="945971" y="129456"/>
                      </a:lnTo>
                      <a:lnTo>
                        <a:pt x="948558" y="130403"/>
                      </a:lnTo>
                      <a:lnTo>
                        <a:pt x="950573" y="132140"/>
                      </a:lnTo>
                      <a:lnTo>
                        <a:pt x="951035" y="132698"/>
                      </a:lnTo>
                      <a:lnTo>
                        <a:pt x="951885" y="132455"/>
                      </a:lnTo>
                      <a:lnTo>
                        <a:pt x="956876" y="128982"/>
                      </a:lnTo>
                      <a:lnTo>
                        <a:pt x="960907" y="127355"/>
                      </a:lnTo>
                      <a:lnTo>
                        <a:pt x="965072" y="124477"/>
                      </a:lnTo>
                      <a:lnTo>
                        <a:pt x="967355" y="123749"/>
                      </a:lnTo>
                      <a:lnTo>
                        <a:pt x="970561" y="124028"/>
                      </a:lnTo>
                      <a:lnTo>
                        <a:pt x="980178" y="128035"/>
                      </a:lnTo>
                      <a:lnTo>
                        <a:pt x="983384" y="128994"/>
                      </a:lnTo>
                      <a:lnTo>
                        <a:pt x="986213" y="128982"/>
                      </a:lnTo>
                      <a:lnTo>
                        <a:pt x="989237" y="128424"/>
                      </a:lnTo>
                      <a:lnTo>
                        <a:pt x="1011143" y="121247"/>
                      </a:lnTo>
                      <a:lnTo>
                        <a:pt x="1021379" y="116499"/>
                      </a:lnTo>
                      <a:lnTo>
                        <a:pt x="1028568" y="112273"/>
                      </a:lnTo>
                      <a:lnTo>
                        <a:pt x="1031810" y="109736"/>
                      </a:lnTo>
                      <a:lnTo>
                        <a:pt x="1035671" y="105437"/>
                      </a:lnTo>
                      <a:lnTo>
                        <a:pt x="1037687" y="102608"/>
                      </a:lnTo>
                      <a:lnTo>
                        <a:pt x="1040601" y="99681"/>
                      </a:lnTo>
                      <a:lnTo>
                        <a:pt x="1044171" y="97544"/>
                      </a:lnTo>
                      <a:lnTo>
                        <a:pt x="1055501" y="94994"/>
                      </a:lnTo>
                      <a:lnTo>
                        <a:pt x="1062944" y="92347"/>
                      </a:lnTo>
                      <a:lnTo>
                        <a:pt x="1066709" y="87514"/>
                      </a:lnTo>
                      <a:lnTo>
                        <a:pt x="1068554" y="85948"/>
                      </a:lnTo>
                      <a:lnTo>
                        <a:pt x="1070716" y="84952"/>
                      </a:lnTo>
                      <a:lnTo>
                        <a:pt x="1073108" y="84393"/>
                      </a:lnTo>
                      <a:lnTo>
                        <a:pt x="1075051" y="84236"/>
                      </a:lnTo>
                      <a:lnTo>
                        <a:pt x="1079774" y="84576"/>
                      </a:lnTo>
                      <a:lnTo>
                        <a:pt x="1081147" y="84879"/>
                      </a:lnTo>
                      <a:lnTo>
                        <a:pt x="1084741" y="86737"/>
                      </a:lnTo>
                      <a:lnTo>
                        <a:pt x="1087145" y="89943"/>
                      </a:lnTo>
                      <a:lnTo>
                        <a:pt x="1087352" y="96294"/>
                      </a:lnTo>
                      <a:lnTo>
                        <a:pt x="1088517" y="98285"/>
                      </a:lnTo>
                      <a:lnTo>
                        <a:pt x="1089404" y="101090"/>
                      </a:lnTo>
                      <a:lnTo>
                        <a:pt x="1090047" y="106397"/>
                      </a:lnTo>
                      <a:lnTo>
                        <a:pt x="1090035" y="107416"/>
                      </a:lnTo>
                      <a:lnTo>
                        <a:pt x="1090205" y="107429"/>
                      </a:lnTo>
                      <a:lnTo>
                        <a:pt x="1091189" y="107113"/>
                      </a:lnTo>
                      <a:lnTo>
                        <a:pt x="1092670" y="106166"/>
                      </a:lnTo>
                      <a:lnTo>
                        <a:pt x="1093872" y="105279"/>
                      </a:lnTo>
                      <a:lnTo>
                        <a:pt x="1096228" y="103944"/>
                      </a:lnTo>
                      <a:lnTo>
                        <a:pt x="1099397" y="103276"/>
                      </a:lnTo>
                      <a:lnTo>
                        <a:pt x="1103295" y="103628"/>
                      </a:lnTo>
                      <a:lnTo>
                        <a:pt x="1106586" y="104927"/>
                      </a:lnTo>
                      <a:lnTo>
                        <a:pt x="1108687" y="106251"/>
                      </a:lnTo>
                      <a:lnTo>
                        <a:pt x="1112585" y="109639"/>
                      </a:lnTo>
                      <a:lnTo>
                        <a:pt x="1113362" y="109966"/>
                      </a:lnTo>
                      <a:lnTo>
                        <a:pt x="1124898" y="112966"/>
                      </a:lnTo>
                      <a:lnTo>
                        <a:pt x="1137381" y="113767"/>
                      </a:lnTo>
                      <a:lnTo>
                        <a:pt x="1140659" y="113476"/>
                      </a:lnTo>
                      <a:lnTo>
                        <a:pt x="1143998" y="112152"/>
                      </a:lnTo>
                      <a:lnTo>
                        <a:pt x="1156299" y="110926"/>
                      </a:lnTo>
                      <a:lnTo>
                        <a:pt x="1163014" y="108728"/>
                      </a:lnTo>
                      <a:lnTo>
                        <a:pt x="1168369" y="107684"/>
                      </a:lnTo>
                      <a:lnTo>
                        <a:pt x="1175959" y="106991"/>
                      </a:lnTo>
                      <a:lnTo>
                        <a:pt x="1177027" y="106554"/>
                      </a:lnTo>
                      <a:lnTo>
                        <a:pt x="1178254" y="105328"/>
                      </a:lnTo>
                      <a:lnTo>
                        <a:pt x="1178424" y="104769"/>
                      </a:lnTo>
                      <a:lnTo>
                        <a:pt x="1178278" y="103591"/>
                      </a:lnTo>
                      <a:lnTo>
                        <a:pt x="1177695" y="102596"/>
                      </a:lnTo>
                      <a:lnTo>
                        <a:pt x="1176906" y="100252"/>
                      </a:lnTo>
                      <a:lnTo>
                        <a:pt x="1176359" y="96621"/>
                      </a:lnTo>
                      <a:lnTo>
                        <a:pt x="1179262" y="93574"/>
                      </a:lnTo>
                      <a:lnTo>
                        <a:pt x="1183645" y="91327"/>
                      </a:lnTo>
                      <a:lnTo>
                        <a:pt x="1192570" y="88595"/>
                      </a:lnTo>
                      <a:lnTo>
                        <a:pt x="1209133" y="86652"/>
                      </a:lnTo>
                      <a:lnTo>
                        <a:pt x="1215107" y="84952"/>
                      </a:lnTo>
                      <a:lnTo>
                        <a:pt x="1224348" y="81394"/>
                      </a:lnTo>
                      <a:lnTo>
                        <a:pt x="1229958" y="80022"/>
                      </a:lnTo>
                      <a:lnTo>
                        <a:pt x="1233625" y="78638"/>
                      </a:lnTo>
                      <a:lnTo>
                        <a:pt x="1234172" y="78055"/>
                      </a:lnTo>
                      <a:lnTo>
                        <a:pt x="1235277" y="75007"/>
                      </a:lnTo>
                      <a:lnTo>
                        <a:pt x="1235459" y="73222"/>
                      </a:lnTo>
                      <a:lnTo>
                        <a:pt x="1235435" y="71328"/>
                      </a:lnTo>
                      <a:lnTo>
                        <a:pt x="1235848" y="69882"/>
                      </a:lnTo>
                      <a:lnTo>
                        <a:pt x="1236661" y="68680"/>
                      </a:lnTo>
                      <a:lnTo>
                        <a:pt x="1238968" y="67017"/>
                      </a:lnTo>
                      <a:lnTo>
                        <a:pt x="1243279" y="66653"/>
                      </a:lnTo>
                      <a:lnTo>
                        <a:pt x="1250856" y="70210"/>
                      </a:lnTo>
                      <a:lnTo>
                        <a:pt x="1252933" y="70781"/>
                      </a:lnTo>
                      <a:lnTo>
                        <a:pt x="1256952" y="71461"/>
                      </a:lnTo>
                      <a:lnTo>
                        <a:pt x="1263363" y="71218"/>
                      </a:lnTo>
                      <a:lnTo>
                        <a:pt x="1266836" y="71583"/>
                      </a:lnTo>
                      <a:lnTo>
                        <a:pt x="1268816" y="71388"/>
                      </a:lnTo>
                      <a:lnTo>
                        <a:pt x="1271803" y="71497"/>
                      </a:lnTo>
                      <a:lnTo>
                        <a:pt x="1274826" y="72093"/>
                      </a:lnTo>
                      <a:lnTo>
                        <a:pt x="1283533" y="75177"/>
                      </a:lnTo>
                      <a:lnTo>
                        <a:pt x="1287722" y="77569"/>
                      </a:lnTo>
                      <a:lnTo>
                        <a:pt x="1290029" y="82293"/>
                      </a:lnTo>
                      <a:lnTo>
                        <a:pt x="1296914" y="86518"/>
                      </a:lnTo>
                      <a:lnTo>
                        <a:pt x="1297959" y="92031"/>
                      </a:lnTo>
                      <a:lnTo>
                        <a:pt x="1298299" y="92869"/>
                      </a:lnTo>
                      <a:lnTo>
                        <a:pt x="1298687" y="93391"/>
                      </a:lnTo>
                      <a:lnTo>
                        <a:pt x="1299501" y="95225"/>
                      </a:lnTo>
                      <a:lnTo>
                        <a:pt x="1300047" y="97241"/>
                      </a:lnTo>
                      <a:lnTo>
                        <a:pt x="1300557" y="101041"/>
                      </a:lnTo>
                      <a:lnTo>
                        <a:pt x="1300679" y="101090"/>
                      </a:lnTo>
                      <a:lnTo>
                        <a:pt x="1302099" y="100957"/>
                      </a:lnTo>
                      <a:lnTo>
                        <a:pt x="1305791" y="99645"/>
                      </a:lnTo>
                      <a:lnTo>
                        <a:pt x="1307734" y="98358"/>
                      </a:lnTo>
                      <a:lnTo>
                        <a:pt x="1311012" y="95589"/>
                      </a:lnTo>
                      <a:lnTo>
                        <a:pt x="1314522" y="93282"/>
                      </a:lnTo>
                      <a:lnTo>
                        <a:pt x="1316950" y="92262"/>
                      </a:lnTo>
                      <a:lnTo>
                        <a:pt x="1319937" y="91752"/>
                      </a:lnTo>
                      <a:lnTo>
                        <a:pt x="1326689" y="92311"/>
                      </a:lnTo>
                      <a:lnTo>
                        <a:pt x="1335930" y="90368"/>
                      </a:lnTo>
                      <a:lnTo>
                        <a:pt x="1341042" y="90720"/>
                      </a:lnTo>
                      <a:lnTo>
                        <a:pt x="1344733" y="91631"/>
                      </a:lnTo>
                      <a:lnTo>
                        <a:pt x="1348243" y="93513"/>
                      </a:lnTo>
                      <a:lnTo>
                        <a:pt x="1350756" y="96269"/>
                      </a:lnTo>
                      <a:lnTo>
                        <a:pt x="1352323" y="99293"/>
                      </a:lnTo>
                      <a:lnTo>
                        <a:pt x="1353476" y="102219"/>
                      </a:lnTo>
                      <a:lnTo>
                        <a:pt x="1353865" y="102729"/>
                      </a:lnTo>
                      <a:lnTo>
                        <a:pt x="1354496" y="103081"/>
                      </a:lnTo>
                      <a:lnTo>
                        <a:pt x="1356208" y="103251"/>
                      </a:lnTo>
                      <a:lnTo>
                        <a:pt x="1359098" y="102997"/>
                      </a:lnTo>
                      <a:lnTo>
                        <a:pt x="1361794" y="102462"/>
                      </a:lnTo>
                      <a:lnTo>
                        <a:pt x="1365012" y="101430"/>
                      </a:lnTo>
                      <a:lnTo>
                        <a:pt x="1367781" y="98273"/>
                      </a:lnTo>
                      <a:lnTo>
                        <a:pt x="1371096" y="97763"/>
                      </a:lnTo>
                      <a:lnTo>
                        <a:pt x="1374313" y="96646"/>
                      </a:lnTo>
                      <a:lnTo>
                        <a:pt x="1377774" y="96597"/>
                      </a:lnTo>
                      <a:lnTo>
                        <a:pt x="1379802" y="96694"/>
                      </a:lnTo>
                      <a:lnTo>
                        <a:pt x="1380725" y="99208"/>
                      </a:lnTo>
                      <a:lnTo>
                        <a:pt x="1382644" y="99281"/>
                      </a:lnTo>
                      <a:lnTo>
                        <a:pt x="1394532" y="95310"/>
                      </a:lnTo>
                      <a:lnTo>
                        <a:pt x="1395964" y="91789"/>
                      </a:lnTo>
                      <a:lnTo>
                        <a:pt x="1400409" y="88825"/>
                      </a:lnTo>
                      <a:lnTo>
                        <a:pt x="1411641" y="85122"/>
                      </a:lnTo>
                      <a:lnTo>
                        <a:pt x="1413134" y="84272"/>
                      </a:lnTo>
                      <a:lnTo>
                        <a:pt x="1414009" y="83471"/>
                      </a:lnTo>
                      <a:lnTo>
                        <a:pt x="1414215" y="82839"/>
                      </a:lnTo>
                      <a:lnTo>
                        <a:pt x="1416134" y="79718"/>
                      </a:lnTo>
                      <a:lnTo>
                        <a:pt x="1421889" y="84964"/>
                      </a:lnTo>
                      <a:lnTo>
                        <a:pt x="1429952" y="90283"/>
                      </a:lnTo>
                      <a:lnTo>
                        <a:pt x="1434810" y="92432"/>
                      </a:lnTo>
                      <a:lnTo>
                        <a:pt x="1441209" y="93173"/>
                      </a:lnTo>
                      <a:lnTo>
                        <a:pt x="1443589" y="95128"/>
                      </a:lnTo>
                      <a:lnTo>
                        <a:pt x="1444390" y="97313"/>
                      </a:lnTo>
                      <a:lnTo>
                        <a:pt x="1444852" y="101479"/>
                      </a:lnTo>
                      <a:lnTo>
                        <a:pt x="1445350" y="102826"/>
                      </a:lnTo>
                      <a:lnTo>
                        <a:pt x="1447365" y="104830"/>
                      </a:lnTo>
                      <a:lnTo>
                        <a:pt x="1456242" y="110792"/>
                      </a:lnTo>
                      <a:lnTo>
                        <a:pt x="1459278" y="113415"/>
                      </a:lnTo>
                      <a:lnTo>
                        <a:pt x="1461415" y="116135"/>
                      </a:lnTo>
                      <a:lnTo>
                        <a:pt x="1462447" y="118673"/>
                      </a:lnTo>
                      <a:lnTo>
                        <a:pt x="1463139" y="122049"/>
                      </a:lnTo>
                      <a:lnTo>
                        <a:pt x="1463078" y="123469"/>
                      </a:lnTo>
                      <a:lnTo>
                        <a:pt x="1462374" y="125692"/>
                      </a:lnTo>
                      <a:lnTo>
                        <a:pt x="1461439" y="127088"/>
                      </a:lnTo>
                      <a:lnTo>
                        <a:pt x="1458792" y="129881"/>
                      </a:lnTo>
                      <a:lnTo>
                        <a:pt x="1459120" y="130136"/>
                      </a:lnTo>
                      <a:lnTo>
                        <a:pt x="1459630" y="130136"/>
                      </a:lnTo>
                      <a:lnTo>
                        <a:pt x="1461900" y="129674"/>
                      </a:lnTo>
                      <a:lnTo>
                        <a:pt x="1466527" y="128169"/>
                      </a:lnTo>
                      <a:lnTo>
                        <a:pt x="1468373" y="127805"/>
                      </a:lnTo>
                      <a:lnTo>
                        <a:pt x="1470571" y="127719"/>
                      </a:lnTo>
                      <a:lnTo>
                        <a:pt x="1473133" y="128108"/>
                      </a:lnTo>
                      <a:lnTo>
                        <a:pt x="1477128" y="129541"/>
                      </a:lnTo>
                      <a:lnTo>
                        <a:pt x="1498135" y="142242"/>
                      </a:lnTo>
                      <a:lnTo>
                        <a:pt x="1499532" y="142777"/>
                      </a:lnTo>
                      <a:lnTo>
                        <a:pt x="1500224" y="142692"/>
                      </a:lnTo>
                      <a:lnTo>
                        <a:pt x="1504243" y="139583"/>
                      </a:lnTo>
                      <a:lnTo>
                        <a:pt x="1508274" y="138150"/>
                      </a:lnTo>
                      <a:lnTo>
                        <a:pt x="1512233" y="136948"/>
                      </a:lnTo>
                      <a:lnTo>
                        <a:pt x="1512075" y="151434"/>
                      </a:lnTo>
                      <a:lnTo>
                        <a:pt x="1509513" y="156462"/>
                      </a:lnTo>
                      <a:lnTo>
                        <a:pt x="1503490" y="162691"/>
                      </a:lnTo>
                      <a:lnTo>
                        <a:pt x="1501098" y="164670"/>
                      </a:lnTo>
                      <a:lnTo>
                        <a:pt x="1486029" y="172114"/>
                      </a:lnTo>
                      <a:lnTo>
                        <a:pt x="1474323" y="179582"/>
                      </a:lnTo>
                      <a:lnTo>
                        <a:pt x="1472513" y="181318"/>
                      </a:lnTo>
                      <a:lnTo>
                        <a:pt x="1471481" y="182739"/>
                      </a:lnTo>
                      <a:lnTo>
                        <a:pt x="1470728" y="184524"/>
                      </a:lnTo>
                      <a:lnTo>
                        <a:pt x="1470413" y="186017"/>
                      </a:lnTo>
                      <a:lnTo>
                        <a:pt x="1468701" y="198282"/>
                      </a:lnTo>
                      <a:lnTo>
                        <a:pt x="1466539" y="205884"/>
                      </a:lnTo>
                      <a:lnTo>
                        <a:pt x="1466333" y="207596"/>
                      </a:lnTo>
                      <a:lnTo>
                        <a:pt x="1466478" y="209915"/>
                      </a:lnTo>
                      <a:lnTo>
                        <a:pt x="1467462" y="213206"/>
                      </a:lnTo>
                      <a:lnTo>
                        <a:pt x="1468980" y="216654"/>
                      </a:lnTo>
                      <a:lnTo>
                        <a:pt x="1469805" y="217820"/>
                      </a:lnTo>
                      <a:lnTo>
                        <a:pt x="1471032" y="219216"/>
                      </a:lnTo>
                      <a:lnTo>
                        <a:pt x="1472088" y="219921"/>
                      </a:lnTo>
                      <a:lnTo>
                        <a:pt x="1473363" y="220467"/>
                      </a:lnTo>
                      <a:lnTo>
                        <a:pt x="1474493" y="220564"/>
                      </a:lnTo>
                      <a:lnTo>
                        <a:pt x="1475294" y="220552"/>
                      </a:lnTo>
                      <a:lnTo>
                        <a:pt x="1478124" y="219532"/>
                      </a:lnTo>
                      <a:lnTo>
                        <a:pt x="1480030" y="219071"/>
                      </a:lnTo>
                      <a:lnTo>
                        <a:pt x="1482131" y="219095"/>
                      </a:lnTo>
                      <a:lnTo>
                        <a:pt x="1484656" y="220091"/>
                      </a:lnTo>
                      <a:lnTo>
                        <a:pt x="1486745" y="222070"/>
                      </a:lnTo>
                      <a:lnTo>
                        <a:pt x="1488020" y="224207"/>
                      </a:lnTo>
                      <a:lnTo>
                        <a:pt x="1488785" y="227328"/>
                      </a:lnTo>
                      <a:lnTo>
                        <a:pt x="1489052" y="229259"/>
                      </a:lnTo>
                      <a:lnTo>
                        <a:pt x="1489198" y="233691"/>
                      </a:lnTo>
                      <a:lnTo>
                        <a:pt x="1489259" y="252767"/>
                      </a:lnTo>
                      <a:lnTo>
                        <a:pt x="1492246" y="268529"/>
                      </a:lnTo>
                      <a:lnTo>
                        <a:pt x="1491869" y="272476"/>
                      </a:lnTo>
                      <a:lnTo>
                        <a:pt x="1490388" y="275948"/>
                      </a:lnTo>
                      <a:lnTo>
                        <a:pt x="1488481" y="277417"/>
                      </a:lnTo>
                      <a:lnTo>
                        <a:pt x="1480042" y="281473"/>
                      </a:lnTo>
                      <a:lnTo>
                        <a:pt x="1479289" y="282323"/>
                      </a:lnTo>
                      <a:lnTo>
                        <a:pt x="1478548" y="283440"/>
                      </a:lnTo>
                      <a:lnTo>
                        <a:pt x="1477613" y="285711"/>
                      </a:lnTo>
                      <a:lnTo>
                        <a:pt x="1477528" y="286780"/>
                      </a:lnTo>
                      <a:lnTo>
                        <a:pt x="1477626" y="287824"/>
                      </a:lnTo>
                      <a:lnTo>
                        <a:pt x="1478087" y="287387"/>
                      </a:lnTo>
                      <a:lnTo>
                        <a:pt x="1478828" y="287363"/>
                      </a:lnTo>
                      <a:lnTo>
                        <a:pt x="1479593" y="287120"/>
                      </a:lnTo>
                      <a:lnTo>
                        <a:pt x="1480528" y="286683"/>
                      </a:lnTo>
                      <a:lnTo>
                        <a:pt x="1482932" y="285274"/>
                      </a:lnTo>
                      <a:lnTo>
                        <a:pt x="1485968" y="283028"/>
                      </a:lnTo>
                      <a:lnTo>
                        <a:pt x="1487899" y="282190"/>
                      </a:lnTo>
                      <a:lnTo>
                        <a:pt x="1490400" y="281801"/>
                      </a:lnTo>
                      <a:lnTo>
                        <a:pt x="1491881" y="281910"/>
                      </a:lnTo>
                      <a:lnTo>
                        <a:pt x="1495330" y="282821"/>
                      </a:lnTo>
                      <a:lnTo>
                        <a:pt x="1497042" y="283550"/>
                      </a:lnTo>
                      <a:lnTo>
                        <a:pt x="1498487" y="284303"/>
                      </a:lnTo>
                      <a:lnTo>
                        <a:pt x="1501098" y="286124"/>
                      </a:lnTo>
                      <a:lnTo>
                        <a:pt x="1501572" y="287618"/>
                      </a:lnTo>
                      <a:lnTo>
                        <a:pt x="1501827" y="289257"/>
                      </a:lnTo>
                      <a:lnTo>
                        <a:pt x="1501280" y="299700"/>
                      </a:lnTo>
                      <a:lnTo>
                        <a:pt x="1501499" y="300538"/>
                      </a:lnTo>
                      <a:lnTo>
                        <a:pt x="1503575" y="303962"/>
                      </a:lnTo>
                      <a:lnTo>
                        <a:pt x="1504158" y="305103"/>
                      </a:lnTo>
                      <a:lnTo>
                        <a:pt x="1502932" y="308637"/>
                      </a:lnTo>
                      <a:lnTo>
                        <a:pt x="1501377" y="311296"/>
                      </a:lnTo>
                      <a:lnTo>
                        <a:pt x="1500369" y="314016"/>
                      </a:lnTo>
                      <a:lnTo>
                        <a:pt x="1499956" y="315546"/>
                      </a:lnTo>
                      <a:lnTo>
                        <a:pt x="1499544" y="327167"/>
                      </a:lnTo>
                      <a:lnTo>
                        <a:pt x="1499774" y="329936"/>
                      </a:lnTo>
                      <a:lnTo>
                        <a:pt x="1500369" y="332134"/>
                      </a:lnTo>
                      <a:lnTo>
                        <a:pt x="1501037" y="333652"/>
                      </a:lnTo>
                      <a:lnTo>
                        <a:pt x="1502179" y="337695"/>
                      </a:lnTo>
                      <a:lnTo>
                        <a:pt x="1502361" y="341083"/>
                      </a:lnTo>
                      <a:lnTo>
                        <a:pt x="1500709" y="344058"/>
                      </a:lnTo>
                      <a:lnTo>
                        <a:pt x="1498681" y="345090"/>
                      </a:lnTo>
                      <a:lnTo>
                        <a:pt x="1494480" y="346608"/>
                      </a:lnTo>
                      <a:lnTo>
                        <a:pt x="1493071" y="347397"/>
                      </a:lnTo>
                      <a:lnTo>
                        <a:pt x="1491481" y="348672"/>
                      </a:lnTo>
                      <a:lnTo>
                        <a:pt x="1486551" y="353384"/>
                      </a:lnTo>
                      <a:lnTo>
                        <a:pt x="1483673" y="355339"/>
                      </a:lnTo>
                      <a:lnTo>
                        <a:pt x="1480601" y="356541"/>
                      </a:lnTo>
                      <a:lnTo>
                        <a:pt x="1478148" y="357063"/>
                      </a:lnTo>
                      <a:lnTo>
                        <a:pt x="1467207" y="358192"/>
                      </a:lnTo>
                      <a:lnTo>
                        <a:pt x="1465483" y="358836"/>
                      </a:lnTo>
                      <a:lnTo>
                        <a:pt x="1465106" y="359140"/>
                      </a:lnTo>
                      <a:lnTo>
                        <a:pt x="1464353" y="360560"/>
                      </a:lnTo>
                      <a:lnTo>
                        <a:pt x="1464232" y="362212"/>
                      </a:lnTo>
                      <a:lnTo>
                        <a:pt x="1464390" y="363875"/>
                      </a:lnTo>
                      <a:lnTo>
                        <a:pt x="1464353" y="366948"/>
                      </a:lnTo>
                      <a:lnTo>
                        <a:pt x="1462423" y="373869"/>
                      </a:lnTo>
                      <a:lnTo>
                        <a:pt x="1462738" y="373990"/>
                      </a:lnTo>
                      <a:lnTo>
                        <a:pt x="1477043" y="374658"/>
                      </a:lnTo>
                      <a:lnTo>
                        <a:pt x="1478937" y="374998"/>
                      </a:lnTo>
                      <a:lnTo>
                        <a:pt x="1480576" y="375472"/>
                      </a:lnTo>
                      <a:lnTo>
                        <a:pt x="1483709" y="376796"/>
                      </a:lnTo>
                      <a:lnTo>
                        <a:pt x="1488409" y="390116"/>
                      </a:lnTo>
                      <a:lnTo>
                        <a:pt x="1489283" y="395508"/>
                      </a:lnTo>
                      <a:lnTo>
                        <a:pt x="1489004" y="398871"/>
                      </a:lnTo>
                      <a:lnTo>
                        <a:pt x="1488724" y="399988"/>
                      </a:lnTo>
                      <a:lnTo>
                        <a:pt x="1488166" y="401579"/>
                      </a:lnTo>
                      <a:lnTo>
                        <a:pt x="1486939" y="406351"/>
                      </a:lnTo>
                      <a:lnTo>
                        <a:pt x="1485846" y="416515"/>
                      </a:lnTo>
                      <a:lnTo>
                        <a:pt x="1485093" y="419794"/>
                      </a:lnTo>
                      <a:lnTo>
                        <a:pt x="1483746" y="423145"/>
                      </a:lnTo>
                      <a:lnTo>
                        <a:pt x="1482106" y="423886"/>
                      </a:lnTo>
                      <a:lnTo>
                        <a:pt x="1480540" y="424347"/>
                      </a:lnTo>
                      <a:lnTo>
                        <a:pt x="1479216" y="424396"/>
                      </a:lnTo>
                      <a:lnTo>
                        <a:pt x="1476921" y="424128"/>
                      </a:lnTo>
                      <a:lnTo>
                        <a:pt x="1474262" y="423267"/>
                      </a:lnTo>
                      <a:lnTo>
                        <a:pt x="1468178" y="420182"/>
                      </a:lnTo>
                      <a:lnTo>
                        <a:pt x="1467389" y="420983"/>
                      </a:lnTo>
                      <a:lnTo>
                        <a:pt x="1465240" y="424335"/>
                      </a:lnTo>
                      <a:lnTo>
                        <a:pt x="1464621" y="425853"/>
                      </a:lnTo>
                      <a:lnTo>
                        <a:pt x="1464548" y="426751"/>
                      </a:lnTo>
                      <a:lnTo>
                        <a:pt x="1465422" y="426096"/>
                      </a:lnTo>
                      <a:lnTo>
                        <a:pt x="1471068" y="426994"/>
                      </a:lnTo>
                      <a:lnTo>
                        <a:pt x="1473776" y="427990"/>
                      </a:lnTo>
                      <a:lnTo>
                        <a:pt x="1475683" y="430248"/>
                      </a:lnTo>
                      <a:lnTo>
                        <a:pt x="1476071" y="434013"/>
                      </a:lnTo>
                      <a:lnTo>
                        <a:pt x="1475282" y="436381"/>
                      </a:lnTo>
                      <a:lnTo>
                        <a:pt x="1474238" y="438506"/>
                      </a:lnTo>
                      <a:lnTo>
                        <a:pt x="1473230" y="439805"/>
                      </a:lnTo>
                      <a:lnTo>
                        <a:pt x="1472064" y="440983"/>
                      </a:lnTo>
                      <a:lnTo>
                        <a:pt x="1470449" y="442161"/>
                      </a:lnTo>
                      <a:lnTo>
                        <a:pt x="1467037" y="443897"/>
                      </a:lnTo>
                      <a:lnTo>
                        <a:pt x="1463091" y="445245"/>
                      </a:lnTo>
                      <a:lnTo>
                        <a:pt x="1461803" y="445889"/>
                      </a:lnTo>
                      <a:lnTo>
                        <a:pt x="1462265" y="446216"/>
                      </a:lnTo>
                      <a:lnTo>
                        <a:pt x="1463928" y="446812"/>
                      </a:lnTo>
                      <a:lnTo>
                        <a:pt x="1468506" y="447844"/>
                      </a:lnTo>
                      <a:lnTo>
                        <a:pt x="1470364" y="448002"/>
                      </a:lnTo>
                      <a:lnTo>
                        <a:pt x="1470133" y="446338"/>
                      </a:lnTo>
                      <a:lnTo>
                        <a:pt x="1470388" y="444772"/>
                      </a:lnTo>
                      <a:lnTo>
                        <a:pt x="1470789" y="443594"/>
                      </a:lnTo>
                      <a:lnTo>
                        <a:pt x="1471991" y="441614"/>
                      </a:lnTo>
                      <a:lnTo>
                        <a:pt x="1473788" y="439951"/>
                      </a:lnTo>
                      <a:lnTo>
                        <a:pt x="1475962" y="438797"/>
                      </a:lnTo>
                      <a:lnTo>
                        <a:pt x="1478524" y="438239"/>
                      </a:lnTo>
                      <a:lnTo>
                        <a:pt x="1481184" y="438384"/>
                      </a:lnTo>
                      <a:lnTo>
                        <a:pt x="1484681" y="439890"/>
                      </a:lnTo>
                      <a:lnTo>
                        <a:pt x="1486393" y="442209"/>
                      </a:lnTo>
                      <a:lnTo>
                        <a:pt x="1487510" y="444784"/>
                      </a:lnTo>
                      <a:lnTo>
                        <a:pt x="1489416" y="452422"/>
                      </a:lnTo>
                      <a:lnTo>
                        <a:pt x="1490606" y="454899"/>
                      </a:lnTo>
                      <a:lnTo>
                        <a:pt x="1491942" y="456416"/>
                      </a:lnTo>
                      <a:lnTo>
                        <a:pt x="1493836" y="457886"/>
                      </a:lnTo>
                      <a:lnTo>
                        <a:pt x="1495500" y="458445"/>
                      </a:lnTo>
                      <a:lnTo>
                        <a:pt x="1502252" y="459938"/>
                      </a:lnTo>
                      <a:lnTo>
                        <a:pt x="1504704" y="460776"/>
                      </a:lnTo>
                      <a:lnTo>
                        <a:pt x="1506975" y="462075"/>
                      </a:lnTo>
                      <a:lnTo>
                        <a:pt x="1508991" y="463739"/>
                      </a:lnTo>
                      <a:lnTo>
                        <a:pt x="1511092" y="466860"/>
                      </a:lnTo>
                      <a:lnTo>
                        <a:pt x="1513289" y="478565"/>
                      </a:lnTo>
                      <a:lnTo>
                        <a:pt x="1514297" y="480678"/>
                      </a:lnTo>
                      <a:lnTo>
                        <a:pt x="1515572" y="481795"/>
                      </a:lnTo>
                      <a:lnTo>
                        <a:pt x="1525335" y="484345"/>
                      </a:lnTo>
                      <a:lnTo>
                        <a:pt x="1528711" y="485875"/>
                      </a:lnTo>
                      <a:lnTo>
                        <a:pt x="1534880" y="490453"/>
                      </a:lnTo>
                      <a:lnTo>
                        <a:pt x="1536155" y="490356"/>
                      </a:lnTo>
                      <a:lnTo>
                        <a:pt x="1538170" y="490684"/>
                      </a:lnTo>
                      <a:lnTo>
                        <a:pt x="1540502" y="491801"/>
                      </a:lnTo>
                      <a:lnTo>
                        <a:pt x="1544303" y="495565"/>
                      </a:lnTo>
                      <a:lnTo>
                        <a:pt x="1548528" y="499196"/>
                      </a:lnTo>
                      <a:lnTo>
                        <a:pt x="1552341" y="504721"/>
                      </a:lnTo>
                      <a:lnTo>
                        <a:pt x="1553021" y="508449"/>
                      </a:lnTo>
                      <a:lnTo>
                        <a:pt x="1552778" y="512444"/>
                      </a:lnTo>
                      <a:lnTo>
                        <a:pt x="1551285" y="516075"/>
                      </a:lnTo>
                      <a:lnTo>
                        <a:pt x="1549524" y="518661"/>
                      </a:lnTo>
                      <a:lnTo>
                        <a:pt x="1546695" y="520993"/>
                      </a:lnTo>
                      <a:lnTo>
                        <a:pt x="1542930" y="522401"/>
                      </a:lnTo>
                      <a:lnTo>
                        <a:pt x="1536944" y="523154"/>
                      </a:lnTo>
                      <a:lnTo>
                        <a:pt x="1535560" y="523531"/>
                      </a:lnTo>
                      <a:lnTo>
                        <a:pt x="1535742" y="524077"/>
                      </a:lnTo>
                      <a:lnTo>
                        <a:pt x="1538632" y="527695"/>
                      </a:lnTo>
                      <a:lnTo>
                        <a:pt x="1540975" y="532407"/>
                      </a:lnTo>
                      <a:lnTo>
                        <a:pt x="1540538" y="536475"/>
                      </a:lnTo>
                      <a:lnTo>
                        <a:pt x="1537879" y="539304"/>
                      </a:lnTo>
                      <a:lnTo>
                        <a:pt x="1529998" y="542364"/>
                      </a:lnTo>
                      <a:lnTo>
                        <a:pt x="1526076" y="544696"/>
                      </a:lnTo>
                      <a:lnTo>
                        <a:pt x="1524582" y="545922"/>
                      </a:lnTo>
                      <a:lnTo>
                        <a:pt x="1522093" y="548205"/>
                      </a:lnTo>
                      <a:lnTo>
                        <a:pt x="1519774" y="550986"/>
                      </a:lnTo>
                      <a:lnTo>
                        <a:pt x="1517588" y="552552"/>
                      </a:lnTo>
                      <a:lnTo>
                        <a:pt x="1514661" y="551812"/>
                      </a:lnTo>
                      <a:lnTo>
                        <a:pt x="1513350" y="550111"/>
                      </a:lnTo>
                      <a:lnTo>
                        <a:pt x="1512197" y="546979"/>
                      </a:lnTo>
                      <a:lnTo>
                        <a:pt x="1508614" y="541187"/>
                      </a:lnTo>
                      <a:lnTo>
                        <a:pt x="1508019" y="540591"/>
                      </a:lnTo>
                      <a:lnTo>
                        <a:pt x="1504158" y="540458"/>
                      </a:lnTo>
                      <a:lnTo>
                        <a:pt x="1500928" y="541599"/>
                      </a:lnTo>
                      <a:lnTo>
                        <a:pt x="1495913" y="541041"/>
                      </a:lnTo>
                      <a:lnTo>
                        <a:pt x="1491906" y="535431"/>
                      </a:lnTo>
                      <a:lnTo>
                        <a:pt x="1489259" y="527526"/>
                      </a:lnTo>
                      <a:lnTo>
                        <a:pt x="1488943" y="527210"/>
                      </a:lnTo>
                      <a:lnTo>
                        <a:pt x="1486964" y="527684"/>
                      </a:lnTo>
                      <a:lnTo>
                        <a:pt x="1485482" y="528874"/>
                      </a:lnTo>
                      <a:lnTo>
                        <a:pt x="1483066" y="532723"/>
                      </a:lnTo>
                      <a:lnTo>
                        <a:pt x="1481013" y="535030"/>
                      </a:lnTo>
                      <a:lnTo>
                        <a:pt x="1478658" y="536560"/>
                      </a:lnTo>
                      <a:lnTo>
                        <a:pt x="1474614" y="537981"/>
                      </a:lnTo>
                      <a:lnTo>
                        <a:pt x="1473679" y="538734"/>
                      </a:lnTo>
                      <a:lnTo>
                        <a:pt x="1472562" y="540507"/>
                      </a:lnTo>
                      <a:lnTo>
                        <a:pt x="1470158" y="545947"/>
                      </a:lnTo>
                      <a:lnTo>
                        <a:pt x="1468178" y="548922"/>
                      </a:lnTo>
                      <a:lnTo>
                        <a:pt x="1465507" y="551022"/>
                      </a:lnTo>
                      <a:lnTo>
                        <a:pt x="1460553" y="553123"/>
                      </a:lnTo>
                      <a:lnTo>
                        <a:pt x="1460225" y="553378"/>
                      </a:lnTo>
                      <a:lnTo>
                        <a:pt x="1458986" y="555928"/>
                      </a:lnTo>
                      <a:lnTo>
                        <a:pt x="1454688" y="571519"/>
                      </a:lnTo>
                      <a:lnTo>
                        <a:pt x="1454299" y="573960"/>
                      </a:lnTo>
                      <a:lnTo>
                        <a:pt x="1453546" y="577870"/>
                      </a:lnTo>
                      <a:lnTo>
                        <a:pt x="1449369" y="585739"/>
                      </a:lnTo>
                      <a:lnTo>
                        <a:pt x="1438562" y="598343"/>
                      </a:lnTo>
                      <a:lnTo>
                        <a:pt x="1435781" y="604742"/>
                      </a:lnTo>
                      <a:lnTo>
                        <a:pt x="1435732" y="609782"/>
                      </a:lnTo>
                      <a:lnTo>
                        <a:pt x="1437809" y="614360"/>
                      </a:lnTo>
                      <a:lnTo>
                        <a:pt x="1449077" y="627693"/>
                      </a:lnTo>
                      <a:lnTo>
                        <a:pt x="1450535" y="633412"/>
                      </a:lnTo>
                      <a:lnTo>
                        <a:pt x="1447572" y="638597"/>
                      </a:lnTo>
                      <a:lnTo>
                        <a:pt x="1434882" y="646077"/>
                      </a:lnTo>
                      <a:lnTo>
                        <a:pt x="1433814" y="647291"/>
                      </a:lnTo>
                      <a:lnTo>
                        <a:pt x="1433692" y="647777"/>
                      </a:lnTo>
                      <a:lnTo>
                        <a:pt x="1433838" y="649526"/>
                      </a:lnTo>
                      <a:lnTo>
                        <a:pt x="1436242" y="657831"/>
                      </a:lnTo>
                      <a:lnTo>
                        <a:pt x="1433122" y="658560"/>
                      </a:lnTo>
                      <a:lnTo>
                        <a:pt x="1430122" y="660746"/>
                      </a:lnTo>
                      <a:lnTo>
                        <a:pt x="1427475" y="661790"/>
                      </a:lnTo>
                      <a:lnTo>
                        <a:pt x="1413292" y="663369"/>
                      </a:lnTo>
                      <a:lnTo>
                        <a:pt x="1397106" y="661863"/>
                      </a:lnTo>
                      <a:lnTo>
                        <a:pt x="1394677" y="660260"/>
                      </a:lnTo>
                      <a:lnTo>
                        <a:pt x="1391022" y="653897"/>
                      </a:lnTo>
                      <a:lnTo>
                        <a:pt x="1386736" y="650716"/>
                      </a:lnTo>
                      <a:lnTo>
                        <a:pt x="1379911" y="644438"/>
                      </a:lnTo>
                      <a:lnTo>
                        <a:pt x="1374216" y="642543"/>
                      </a:lnTo>
                      <a:lnTo>
                        <a:pt x="1363943" y="636545"/>
                      </a:lnTo>
                      <a:lnTo>
                        <a:pt x="1361260" y="633655"/>
                      </a:lnTo>
                      <a:lnTo>
                        <a:pt x="1369748" y="625993"/>
                      </a:lnTo>
                      <a:lnTo>
                        <a:pt x="1370889" y="624608"/>
                      </a:lnTo>
                      <a:lnTo>
                        <a:pt x="1371424" y="621815"/>
                      </a:lnTo>
                      <a:lnTo>
                        <a:pt x="1371496" y="612648"/>
                      </a:lnTo>
                      <a:lnTo>
                        <a:pt x="1369724" y="607159"/>
                      </a:lnTo>
                      <a:lnTo>
                        <a:pt x="1367222" y="593243"/>
                      </a:lnTo>
                      <a:lnTo>
                        <a:pt x="1358770" y="595150"/>
                      </a:lnTo>
                      <a:lnTo>
                        <a:pt x="1352893" y="592855"/>
                      </a:lnTo>
                      <a:lnTo>
                        <a:pt x="1352165" y="583990"/>
                      </a:lnTo>
                      <a:lnTo>
                        <a:pt x="1354375" y="577688"/>
                      </a:lnTo>
                      <a:lnTo>
                        <a:pt x="1358770" y="571592"/>
                      </a:lnTo>
                      <a:lnTo>
                        <a:pt x="1364004" y="567014"/>
                      </a:lnTo>
                      <a:lnTo>
                        <a:pt x="1366821" y="565691"/>
                      </a:lnTo>
                      <a:lnTo>
                        <a:pt x="1366178" y="563955"/>
                      </a:lnTo>
                      <a:lnTo>
                        <a:pt x="1365158" y="559631"/>
                      </a:lnTo>
                      <a:lnTo>
                        <a:pt x="1364842" y="555442"/>
                      </a:lnTo>
                      <a:lnTo>
                        <a:pt x="1365194" y="551374"/>
                      </a:lnTo>
                      <a:lnTo>
                        <a:pt x="1364708" y="549662"/>
                      </a:lnTo>
                      <a:lnTo>
                        <a:pt x="1364781" y="548581"/>
                      </a:lnTo>
                      <a:lnTo>
                        <a:pt x="1365304" y="546299"/>
                      </a:lnTo>
                      <a:lnTo>
                        <a:pt x="1366202" y="545036"/>
                      </a:lnTo>
                      <a:lnTo>
                        <a:pt x="1369141" y="542571"/>
                      </a:lnTo>
                      <a:lnTo>
                        <a:pt x="1369493" y="541187"/>
                      </a:lnTo>
                      <a:lnTo>
                        <a:pt x="1370003" y="538564"/>
                      </a:lnTo>
                      <a:lnTo>
                        <a:pt x="1369808" y="535394"/>
                      </a:lnTo>
                      <a:lnTo>
                        <a:pt x="1370185" y="531472"/>
                      </a:lnTo>
                      <a:lnTo>
                        <a:pt x="1370877" y="528448"/>
                      </a:lnTo>
                      <a:lnTo>
                        <a:pt x="1371618" y="521624"/>
                      </a:lnTo>
                      <a:lnTo>
                        <a:pt x="1371606" y="519390"/>
                      </a:lnTo>
                      <a:lnTo>
                        <a:pt x="1371351" y="517678"/>
                      </a:lnTo>
                      <a:lnTo>
                        <a:pt x="1370270" y="514411"/>
                      </a:lnTo>
                      <a:lnTo>
                        <a:pt x="1369796" y="513488"/>
                      </a:lnTo>
                      <a:lnTo>
                        <a:pt x="1368278" y="511800"/>
                      </a:lnTo>
                      <a:lnTo>
                        <a:pt x="1365680" y="507891"/>
                      </a:lnTo>
                      <a:lnTo>
                        <a:pt x="1363142" y="507065"/>
                      </a:lnTo>
                      <a:lnTo>
                        <a:pt x="1359924" y="505680"/>
                      </a:lnTo>
                      <a:lnTo>
                        <a:pt x="1356548" y="504830"/>
                      </a:lnTo>
                      <a:lnTo>
                        <a:pt x="1355516" y="504418"/>
                      </a:lnTo>
                      <a:lnTo>
                        <a:pt x="1353549" y="503118"/>
                      </a:lnTo>
                      <a:lnTo>
                        <a:pt x="1351545" y="500568"/>
                      </a:lnTo>
                      <a:lnTo>
                        <a:pt x="1348801" y="495104"/>
                      </a:lnTo>
                      <a:lnTo>
                        <a:pt x="1347866" y="494011"/>
                      </a:lnTo>
                      <a:lnTo>
                        <a:pt x="1343920" y="490733"/>
                      </a:lnTo>
                      <a:lnTo>
                        <a:pt x="1342220" y="488838"/>
                      </a:lnTo>
                      <a:lnTo>
                        <a:pt x="1341127" y="487345"/>
                      </a:lnTo>
                      <a:lnTo>
                        <a:pt x="1331680" y="485827"/>
                      </a:lnTo>
                      <a:lnTo>
                        <a:pt x="1329931" y="486288"/>
                      </a:lnTo>
                      <a:lnTo>
                        <a:pt x="1329215" y="486919"/>
                      </a:lnTo>
                      <a:lnTo>
                        <a:pt x="1328073" y="487636"/>
                      </a:lnTo>
                      <a:lnTo>
                        <a:pt x="1313805" y="492165"/>
                      </a:lnTo>
                      <a:lnTo>
                        <a:pt x="1310976" y="493428"/>
                      </a:lnTo>
                      <a:lnTo>
                        <a:pt x="1310429" y="493987"/>
                      </a:lnTo>
                      <a:lnTo>
                        <a:pt x="1310490" y="496683"/>
                      </a:lnTo>
                      <a:lnTo>
                        <a:pt x="1309944" y="498868"/>
                      </a:lnTo>
                      <a:lnTo>
                        <a:pt x="1308839" y="500787"/>
                      </a:lnTo>
                      <a:lnTo>
                        <a:pt x="1306192" y="503179"/>
                      </a:lnTo>
                      <a:lnTo>
                        <a:pt x="1303338" y="504296"/>
                      </a:lnTo>
                      <a:lnTo>
                        <a:pt x="1301735" y="504333"/>
                      </a:lnTo>
                      <a:lnTo>
                        <a:pt x="1299452" y="503701"/>
                      </a:lnTo>
                      <a:lnTo>
                        <a:pt x="1297364" y="502645"/>
                      </a:lnTo>
                      <a:lnTo>
                        <a:pt x="1296356" y="501746"/>
                      </a:lnTo>
                      <a:lnTo>
                        <a:pt x="1294316" y="499269"/>
                      </a:lnTo>
                      <a:lnTo>
                        <a:pt x="1293539" y="499087"/>
                      </a:lnTo>
                      <a:lnTo>
                        <a:pt x="1289459" y="499135"/>
                      </a:lnTo>
                      <a:lnTo>
                        <a:pt x="1287504" y="498856"/>
                      </a:lnTo>
                      <a:lnTo>
                        <a:pt x="1286471" y="498455"/>
                      </a:lnTo>
                      <a:lnTo>
                        <a:pt x="1272495" y="498832"/>
                      </a:lnTo>
                      <a:lnTo>
                        <a:pt x="1269131" y="498528"/>
                      </a:lnTo>
                      <a:lnTo>
                        <a:pt x="1266970" y="497848"/>
                      </a:lnTo>
                      <a:lnTo>
                        <a:pt x="1265258" y="496998"/>
                      </a:lnTo>
                      <a:lnTo>
                        <a:pt x="1263473" y="495383"/>
                      </a:lnTo>
                      <a:lnTo>
                        <a:pt x="1260716" y="491668"/>
                      </a:lnTo>
                      <a:lnTo>
                        <a:pt x="1259611" y="490587"/>
                      </a:lnTo>
                      <a:lnTo>
                        <a:pt x="1257838" y="490089"/>
                      </a:lnTo>
                      <a:lnTo>
                        <a:pt x="1242611" y="488146"/>
                      </a:lnTo>
                      <a:lnTo>
                        <a:pt x="1239223" y="487357"/>
                      </a:lnTo>
                      <a:lnTo>
                        <a:pt x="1237378" y="485766"/>
                      </a:lnTo>
                      <a:lnTo>
                        <a:pt x="1236467" y="484698"/>
                      </a:lnTo>
                      <a:lnTo>
                        <a:pt x="1233662" y="479865"/>
                      </a:lnTo>
                      <a:lnTo>
                        <a:pt x="1232800" y="478978"/>
                      </a:lnTo>
                      <a:lnTo>
                        <a:pt x="1231913" y="478517"/>
                      </a:lnTo>
                      <a:lnTo>
                        <a:pt x="1228865" y="477460"/>
                      </a:lnTo>
                      <a:lnTo>
                        <a:pt x="1227275" y="477218"/>
                      </a:lnTo>
                      <a:lnTo>
                        <a:pt x="1225623" y="477266"/>
                      </a:lnTo>
                      <a:lnTo>
                        <a:pt x="1214148" y="479282"/>
                      </a:lnTo>
                      <a:lnTo>
                        <a:pt x="1207312" y="482487"/>
                      </a:lnTo>
                      <a:lnTo>
                        <a:pt x="1207045" y="482912"/>
                      </a:lnTo>
                      <a:lnTo>
                        <a:pt x="1204482" y="488013"/>
                      </a:lnTo>
                      <a:lnTo>
                        <a:pt x="1202406" y="489397"/>
                      </a:lnTo>
                      <a:lnTo>
                        <a:pt x="1199443" y="490660"/>
                      </a:lnTo>
                      <a:lnTo>
                        <a:pt x="1194015" y="491668"/>
                      </a:lnTo>
                      <a:lnTo>
                        <a:pt x="1191356" y="491801"/>
                      </a:lnTo>
                      <a:lnTo>
                        <a:pt x="1189364" y="491485"/>
                      </a:lnTo>
                      <a:lnTo>
                        <a:pt x="1187980" y="491194"/>
                      </a:lnTo>
                      <a:lnTo>
                        <a:pt x="1187166" y="489676"/>
                      </a:lnTo>
                      <a:lnTo>
                        <a:pt x="1186729" y="488717"/>
                      </a:lnTo>
                      <a:lnTo>
                        <a:pt x="1185406" y="488061"/>
                      </a:lnTo>
                      <a:lnTo>
                        <a:pt x="1182516" y="487442"/>
                      </a:lnTo>
                      <a:lnTo>
                        <a:pt x="1180318" y="486604"/>
                      </a:lnTo>
                      <a:lnTo>
                        <a:pt x="1177586" y="484540"/>
                      </a:lnTo>
                      <a:lnTo>
                        <a:pt x="1176833" y="482670"/>
                      </a:lnTo>
                      <a:lnTo>
                        <a:pt x="1176578" y="480897"/>
                      </a:lnTo>
                      <a:lnTo>
                        <a:pt x="1176153" y="480545"/>
                      </a:lnTo>
                      <a:lnTo>
                        <a:pt x="1171806" y="479160"/>
                      </a:lnTo>
                      <a:lnTo>
                        <a:pt x="1169583" y="478104"/>
                      </a:lnTo>
                      <a:lnTo>
                        <a:pt x="1168394" y="477060"/>
                      </a:lnTo>
                      <a:lnTo>
                        <a:pt x="1167131" y="475214"/>
                      </a:lnTo>
                      <a:lnTo>
                        <a:pt x="1162201" y="460096"/>
                      </a:lnTo>
                      <a:lnTo>
                        <a:pt x="1164326" y="457679"/>
                      </a:lnTo>
                      <a:lnTo>
                        <a:pt x="1161193" y="458517"/>
                      </a:lnTo>
                      <a:lnTo>
                        <a:pt x="1160282" y="458262"/>
                      </a:lnTo>
                      <a:lnTo>
                        <a:pt x="1159201" y="457607"/>
                      </a:lnTo>
                      <a:lnTo>
                        <a:pt x="1156676" y="455445"/>
                      </a:lnTo>
                      <a:lnTo>
                        <a:pt x="1154951" y="453575"/>
                      </a:lnTo>
                      <a:lnTo>
                        <a:pt x="1151697" y="452033"/>
                      </a:lnTo>
                      <a:lnTo>
                        <a:pt x="1144946" y="451924"/>
                      </a:lnTo>
                      <a:lnTo>
                        <a:pt x="1140805" y="452677"/>
                      </a:lnTo>
                      <a:lnTo>
                        <a:pt x="1139214" y="452470"/>
                      </a:lnTo>
                      <a:lnTo>
                        <a:pt x="1131880" y="448536"/>
                      </a:lnTo>
                      <a:lnTo>
                        <a:pt x="1120708" y="444334"/>
                      </a:lnTo>
                      <a:lnTo>
                        <a:pt x="1118522" y="443982"/>
                      </a:lnTo>
                      <a:lnTo>
                        <a:pt x="1116276" y="444589"/>
                      </a:lnTo>
                      <a:lnTo>
                        <a:pt x="1113240" y="444844"/>
                      </a:lnTo>
                      <a:lnTo>
                        <a:pt x="1110678" y="444492"/>
                      </a:lnTo>
                      <a:lnTo>
                        <a:pt x="1108468" y="443667"/>
                      </a:lnTo>
                      <a:lnTo>
                        <a:pt x="1106197" y="442452"/>
                      </a:lnTo>
                      <a:lnTo>
                        <a:pt x="1105918" y="442671"/>
                      </a:lnTo>
                      <a:lnTo>
                        <a:pt x="1104777" y="443120"/>
                      </a:lnTo>
                      <a:lnTo>
                        <a:pt x="1102737" y="443509"/>
                      </a:lnTo>
                      <a:lnTo>
                        <a:pt x="1102639" y="443751"/>
                      </a:lnTo>
                      <a:lnTo>
                        <a:pt x="1101705" y="444893"/>
                      </a:lnTo>
                      <a:lnTo>
                        <a:pt x="1099604" y="446787"/>
                      </a:lnTo>
                      <a:lnTo>
                        <a:pt x="1097491" y="447722"/>
                      </a:lnTo>
                      <a:lnTo>
                        <a:pt x="1096277" y="447698"/>
                      </a:lnTo>
                      <a:lnTo>
                        <a:pt x="1094625" y="447479"/>
                      </a:lnTo>
                      <a:lnTo>
                        <a:pt x="1082555" y="442853"/>
                      </a:lnTo>
                      <a:lnTo>
                        <a:pt x="1081499" y="442173"/>
                      </a:lnTo>
                      <a:lnTo>
                        <a:pt x="1079859" y="440655"/>
                      </a:lnTo>
                      <a:lnTo>
                        <a:pt x="1079107" y="439489"/>
                      </a:lnTo>
                      <a:lnTo>
                        <a:pt x="1077079" y="435494"/>
                      </a:lnTo>
                      <a:lnTo>
                        <a:pt x="1076083" y="433928"/>
                      </a:lnTo>
                      <a:lnTo>
                        <a:pt x="1073691" y="432264"/>
                      </a:lnTo>
                      <a:lnTo>
                        <a:pt x="1069914" y="430758"/>
                      </a:lnTo>
                      <a:lnTo>
                        <a:pt x="1069574" y="432046"/>
                      </a:lnTo>
                      <a:lnTo>
                        <a:pt x="1070813" y="436041"/>
                      </a:lnTo>
                      <a:lnTo>
                        <a:pt x="1077030" y="450976"/>
                      </a:lnTo>
                      <a:lnTo>
                        <a:pt x="1077322" y="451317"/>
                      </a:lnTo>
                      <a:lnTo>
                        <a:pt x="1078694" y="451656"/>
                      </a:lnTo>
                      <a:lnTo>
                        <a:pt x="1080697" y="452567"/>
                      </a:lnTo>
                      <a:lnTo>
                        <a:pt x="1083563" y="455154"/>
                      </a:lnTo>
                      <a:lnTo>
                        <a:pt x="1084449" y="457291"/>
                      </a:lnTo>
                      <a:lnTo>
                        <a:pt x="1084777" y="459987"/>
                      </a:lnTo>
                      <a:lnTo>
                        <a:pt x="1084255" y="462828"/>
                      </a:lnTo>
                      <a:lnTo>
                        <a:pt x="1083442" y="465075"/>
                      </a:lnTo>
                      <a:lnTo>
                        <a:pt x="1082276" y="467066"/>
                      </a:lnTo>
                      <a:lnTo>
                        <a:pt x="1079993" y="469239"/>
                      </a:lnTo>
                      <a:lnTo>
                        <a:pt x="1073569" y="473028"/>
                      </a:lnTo>
                      <a:lnTo>
                        <a:pt x="1072294" y="474546"/>
                      </a:lnTo>
                      <a:lnTo>
                        <a:pt x="1071286" y="476477"/>
                      </a:lnTo>
                      <a:lnTo>
                        <a:pt x="1070631" y="479853"/>
                      </a:lnTo>
                      <a:lnTo>
                        <a:pt x="1067024" y="486932"/>
                      </a:lnTo>
                      <a:lnTo>
                        <a:pt x="1066320" y="489239"/>
                      </a:lnTo>
                      <a:lnTo>
                        <a:pt x="1065992" y="493198"/>
                      </a:lnTo>
                      <a:lnTo>
                        <a:pt x="1066587" y="502390"/>
                      </a:lnTo>
                      <a:lnTo>
                        <a:pt x="1066393" y="504891"/>
                      </a:lnTo>
                      <a:lnTo>
                        <a:pt x="1065762" y="507150"/>
                      </a:lnTo>
                      <a:lnTo>
                        <a:pt x="1064450" y="509299"/>
                      </a:lnTo>
                      <a:lnTo>
                        <a:pt x="1062592" y="510963"/>
                      </a:lnTo>
                      <a:lnTo>
                        <a:pt x="1060042" y="512177"/>
                      </a:lnTo>
                      <a:lnTo>
                        <a:pt x="1051651" y="513646"/>
                      </a:lnTo>
                      <a:lnTo>
                        <a:pt x="1050546" y="514193"/>
                      </a:lnTo>
                      <a:lnTo>
                        <a:pt x="1049454" y="514982"/>
                      </a:lnTo>
                      <a:lnTo>
                        <a:pt x="1048118" y="516585"/>
                      </a:lnTo>
                      <a:lnTo>
                        <a:pt x="1047086" y="518430"/>
                      </a:lnTo>
                      <a:lnTo>
                        <a:pt x="1044863" y="523761"/>
                      </a:lnTo>
                      <a:lnTo>
                        <a:pt x="1043661" y="525728"/>
                      </a:lnTo>
                      <a:lnTo>
                        <a:pt x="1042216" y="527429"/>
                      </a:lnTo>
                      <a:lnTo>
                        <a:pt x="1041378" y="528874"/>
                      </a:lnTo>
                      <a:lnTo>
                        <a:pt x="1041354" y="529772"/>
                      </a:lnTo>
                      <a:lnTo>
                        <a:pt x="1041427" y="530707"/>
                      </a:lnTo>
                      <a:lnTo>
                        <a:pt x="1043151" y="539256"/>
                      </a:lnTo>
                      <a:lnTo>
                        <a:pt x="1043200" y="542097"/>
                      </a:lnTo>
                      <a:lnTo>
                        <a:pt x="1042860" y="546784"/>
                      </a:lnTo>
                      <a:lnTo>
                        <a:pt x="1041488" y="549225"/>
                      </a:lnTo>
                      <a:lnTo>
                        <a:pt x="1039520" y="551107"/>
                      </a:lnTo>
                      <a:lnTo>
                        <a:pt x="1038913" y="551617"/>
                      </a:lnTo>
                      <a:lnTo>
                        <a:pt x="1036133" y="552151"/>
                      </a:lnTo>
                      <a:lnTo>
                        <a:pt x="1030255" y="552042"/>
                      </a:lnTo>
                      <a:lnTo>
                        <a:pt x="1027705" y="551544"/>
                      </a:lnTo>
                      <a:lnTo>
                        <a:pt x="1024961" y="550658"/>
                      </a:lnTo>
                      <a:lnTo>
                        <a:pt x="1023820" y="550731"/>
                      </a:lnTo>
                      <a:lnTo>
                        <a:pt x="1020990" y="551459"/>
                      </a:lnTo>
                      <a:lnTo>
                        <a:pt x="1018428" y="551799"/>
                      </a:lnTo>
                      <a:lnTo>
                        <a:pt x="1015320" y="551544"/>
                      </a:lnTo>
                      <a:lnTo>
                        <a:pt x="1011895" y="550318"/>
                      </a:lnTo>
                      <a:lnTo>
                        <a:pt x="1009066" y="548484"/>
                      </a:lnTo>
                      <a:lnTo>
                        <a:pt x="1006686" y="546092"/>
                      </a:lnTo>
                      <a:lnTo>
                        <a:pt x="1002800" y="540057"/>
                      </a:lnTo>
                      <a:lnTo>
                        <a:pt x="999570" y="540397"/>
                      </a:lnTo>
                      <a:lnTo>
                        <a:pt x="997105" y="540191"/>
                      </a:lnTo>
                      <a:lnTo>
                        <a:pt x="993183" y="538892"/>
                      </a:lnTo>
                      <a:lnTo>
                        <a:pt x="991859" y="538636"/>
                      </a:lnTo>
                      <a:lnTo>
                        <a:pt x="991009" y="538673"/>
                      </a:lnTo>
                      <a:lnTo>
                        <a:pt x="990002" y="538916"/>
                      </a:lnTo>
                      <a:lnTo>
                        <a:pt x="988824" y="539304"/>
                      </a:lnTo>
                      <a:lnTo>
                        <a:pt x="987488" y="540106"/>
                      </a:lnTo>
                      <a:lnTo>
                        <a:pt x="985958" y="541247"/>
                      </a:lnTo>
                      <a:lnTo>
                        <a:pt x="985242" y="541927"/>
                      </a:lnTo>
                      <a:lnTo>
                        <a:pt x="986602" y="542547"/>
                      </a:lnTo>
                      <a:lnTo>
                        <a:pt x="988909" y="544635"/>
                      </a:lnTo>
                      <a:lnTo>
                        <a:pt x="988326" y="548727"/>
                      </a:lnTo>
                      <a:lnTo>
                        <a:pt x="983712" y="553900"/>
                      </a:lnTo>
                      <a:lnTo>
                        <a:pt x="982400" y="555697"/>
                      </a:lnTo>
                      <a:lnTo>
                        <a:pt x="981574" y="557227"/>
                      </a:lnTo>
                      <a:lnTo>
                        <a:pt x="980044" y="562886"/>
                      </a:lnTo>
                      <a:lnTo>
                        <a:pt x="978077" y="568059"/>
                      </a:lnTo>
                      <a:lnTo>
                        <a:pt x="977604" y="570014"/>
                      </a:lnTo>
                      <a:lnTo>
                        <a:pt x="977592" y="570609"/>
                      </a:lnTo>
                      <a:lnTo>
                        <a:pt x="977895" y="571422"/>
                      </a:lnTo>
                      <a:lnTo>
                        <a:pt x="978356" y="573195"/>
                      </a:lnTo>
                      <a:lnTo>
                        <a:pt x="978539" y="576279"/>
                      </a:lnTo>
                      <a:lnTo>
                        <a:pt x="977774" y="577627"/>
                      </a:lnTo>
                      <a:lnTo>
                        <a:pt x="976608" y="579060"/>
                      </a:lnTo>
                      <a:lnTo>
                        <a:pt x="975527" y="579813"/>
                      </a:lnTo>
                      <a:lnTo>
                        <a:pt x="973147" y="580930"/>
                      </a:lnTo>
                      <a:lnTo>
                        <a:pt x="972321" y="581622"/>
                      </a:lnTo>
                      <a:lnTo>
                        <a:pt x="971095" y="582934"/>
                      </a:lnTo>
                      <a:lnTo>
                        <a:pt x="968909" y="585799"/>
                      </a:lnTo>
                      <a:lnTo>
                        <a:pt x="966578" y="588143"/>
                      </a:lnTo>
                      <a:lnTo>
                        <a:pt x="964562" y="589855"/>
                      </a:lnTo>
                      <a:lnTo>
                        <a:pt x="962668" y="590912"/>
                      </a:lnTo>
                      <a:lnTo>
                        <a:pt x="963676" y="593680"/>
                      </a:lnTo>
                      <a:lnTo>
                        <a:pt x="964283" y="595891"/>
                      </a:lnTo>
                      <a:lnTo>
                        <a:pt x="964671" y="597845"/>
                      </a:lnTo>
                      <a:lnTo>
                        <a:pt x="964720" y="600019"/>
                      </a:lnTo>
                      <a:lnTo>
                        <a:pt x="966044" y="599570"/>
                      </a:lnTo>
                      <a:lnTo>
                        <a:pt x="966554" y="599448"/>
                      </a:lnTo>
                      <a:lnTo>
                        <a:pt x="968788" y="599752"/>
                      </a:lnTo>
                      <a:lnTo>
                        <a:pt x="969869" y="600468"/>
                      </a:lnTo>
                      <a:lnTo>
                        <a:pt x="971132" y="601586"/>
                      </a:lnTo>
                      <a:lnTo>
                        <a:pt x="972139" y="603079"/>
                      </a:lnTo>
                      <a:lnTo>
                        <a:pt x="972479" y="604560"/>
                      </a:lnTo>
                      <a:lnTo>
                        <a:pt x="972407" y="606758"/>
                      </a:lnTo>
                      <a:lnTo>
                        <a:pt x="972747" y="607001"/>
                      </a:lnTo>
                      <a:lnTo>
                        <a:pt x="973451" y="606649"/>
                      </a:lnTo>
                      <a:lnTo>
                        <a:pt x="976025" y="606758"/>
                      </a:lnTo>
                      <a:lnTo>
                        <a:pt x="978612" y="608750"/>
                      </a:lnTo>
                      <a:lnTo>
                        <a:pt x="979255" y="611506"/>
                      </a:lnTo>
                      <a:lnTo>
                        <a:pt x="978964" y="615028"/>
                      </a:lnTo>
                      <a:lnTo>
                        <a:pt x="979231" y="616242"/>
                      </a:lnTo>
                      <a:lnTo>
                        <a:pt x="981016" y="618100"/>
                      </a:lnTo>
                      <a:lnTo>
                        <a:pt x="988496" y="623346"/>
                      </a:lnTo>
                      <a:lnTo>
                        <a:pt x="990099" y="624827"/>
                      </a:lnTo>
                      <a:lnTo>
                        <a:pt x="992163" y="627450"/>
                      </a:lnTo>
                      <a:lnTo>
                        <a:pt x="992527" y="629369"/>
                      </a:lnTo>
                      <a:lnTo>
                        <a:pt x="992576" y="634080"/>
                      </a:lnTo>
                      <a:lnTo>
                        <a:pt x="989637" y="635489"/>
                      </a:lnTo>
                      <a:lnTo>
                        <a:pt x="985569" y="636812"/>
                      </a:lnTo>
                      <a:lnTo>
                        <a:pt x="983056" y="636909"/>
                      </a:lnTo>
                      <a:lnTo>
                        <a:pt x="981781" y="637456"/>
                      </a:lnTo>
                      <a:lnTo>
                        <a:pt x="979595" y="638816"/>
                      </a:lnTo>
                      <a:lnTo>
                        <a:pt x="977907" y="639617"/>
                      </a:lnTo>
                      <a:lnTo>
                        <a:pt x="976669" y="641220"/>
                      </a:lnTo>
                      <a:lnTo>
                        <a:pt x="974811" y="644438"/>
                      </a:lnTo>
                      <a:lnTo>
                        <a:pt x="969274" y="656787"/>
                      </a:lnTo>
                      <a:lnTo>
                        <a:pt x="966821" y="660430"/>
                      </a:lnTo>
                      <a:lnTo>
                        <a:pt x="965279" y="660770"/>
                      </a:lnTo>
                      <a:lnTo>
                        <a:pt x="963821" y="661001"/>
                      </a:lnTo>
                      <a:lnTo>
                        <a:pt x="958248" y="660527"/>
                      </a:lnTo>
                      <a:lnTo>
                        <a:pt x="956912" y="660697"/>
                      </a:lnTo>
                      <a:lnTo>
                        <a:pt x="955613" y="661280"/>
                      </a:lnTo>
                      <a:lnTo>
                        <a:pt x="954071" y="662835"/>
                      </a:lnTo>
                      <a:lnTo>
                        <a:pt x="953403" y="664158"/>
                      </a:lnTo>
                      <a:lnTo>
                        <a:pt x="953415" y="665057"/>
                      </a:lnTo>
                      <a:lnTo>
                        <a:pt x="954228" y="667267"/>
                      </a:lnTo>
                      <a:lnTo>
                        <a:pt x="954702" y="670157"/>
                      </a:lnTo>
                      <a:lnTo>
                        <a:pt x="954690" y="673508"/>
                      </a:lnTo>
                      <a:lnTo>
                        <a:pt x="953245" y="679166"/>
                      </a:lnTo>
                      <a:lnTo>
                        <a:pt x="951861" y="682227"/>
                      </a:lnTo>
                      <a:lnTo>
                        <a:pt x="950003" y="684680"/>
                      </a:lnTo>
                      <a:lnTo>
                        <a:pt x="947562" y="686343"/>
                      </a:lnTo>
                      <a:lnTo>
                        <a:pt x="945085" y="687181"/>
                      </a:lnTo>
                      <a:lnTo>
                        <a:pt x="942826" y="687594"/>
                      </a:lnTo>
                      <a:lnTo>
                        <a:pt x="934836" y="688140"/>
                      </a:lnTo>
                      <a:lnTo>
                        <a:pt x="933804" y="688468"/>
                      </a:lnTo>
                      <a:lnTo>
                        <a:pt x="932711" y="689039"/>
                      </a:lnTo>
                      <a:lnTo>
                        <a:pt x="931606" y="690205"/>
                      </a:lnTo>
                      <a:lnTo>
                        <a:pt x="930938" y="691322"/>
                      </a:lnTo>
                      <a:lnTo>
                        <a:pt x="930113" y="693010"/>
                      </a:lnTo>
                      <a:lnTo>
                        <a:pt x="928765" y="694807"/>
                      </a:lnTo>
                      <a:lnTo>
                        <a:pt x="926069" y="697430"/>
                      </a:lnTo>
                      <a:lnTo>
                        <a:pt x="926178" y="697624"/>
                      </a:lnTo>
                      <a:lnTo>
                        <a:pt x="926433" y="699154"/>
                      </a:lnTo>
                      <a:lnTo>
                        <a:pt x="925996" y="702081"/>
                      </a:lnTo>
                      <a:lnTo>
                        <a:pt x="924575" y="704436"/>
                      </a:lnTo>
                      <a:lnTo>
                        <a:pt x="924442" y="705128"/>
                      </a:lnTo>
                      <a:lnTo>
                        <a:pt x="924284" y="708613"/>
                      </a:lnTo>
                      <a:lnTo>
                        <a:pt x="923446" y="712110"/>
                      </a:lnTo>
                      <a:lnTo>
                        <a:pt x="921965" y="714867"/>
                      </a:lnTo>
                      <a:lnTo>
                        <a:pt x="919937" y="716992"/>
                      </a:lnTo>
                      <a:lnTo>
                        <a:pt x="917545" y="718607"/>
                      </a:lnTo>
                      <a:lnTo>
                        <a:pt x="916719" y="719275"/>
                      </a:lnTo>
                      <a:lnTo>
                        <a:pt x="922900" y="723476"/>
                      </a:lnTo>
                      <a:lnTo>
                        <a:pt x="924527" y="725358"/>
                      </a:lnTo>
                      <a:lnTo>
                        <a:pt x="926324" y="728151"/>
                      </a:lnTo>
                      <a:lnTo>
                        <a:pt x="926105" y="730543"/>
                      </a:lnTo>
                      <a:lnTo>
                        <a:pt x="924770" y="735303"/>
                      </a:lnTo>
                      <a:lnTo>
                        <a:pt x="922147" y="734539"/>
                      </a:lnTo>
                      <a:lnTo>
                        <a:pt x="921916" y="737550"/>
                      </a:lnTo>
                      <a:lnTo>
                        <a:pt x="914703" y="736372"/>
                      </a:lnTo>
                      <a:lnTo>
                        <a:pt x="914120" y="736530"/>
                      </a:lnTo>
                      <a:lnTo>
                        <a:pt x="912785" y="737149"/>
                      </a:lnTo>
                      <a:lnTo>
                        <a:pt x="910720" y="739638"/>
                      </a:lnTo>
                      <a:lnTo>
                        <a:pt x="906810" y="742456"/>
                      </a:lnTo>
                      <a:lnTo>
                        <a:pt x="902767" y="743184"/>
                      </a:lnTo>
                      <a:lnTo>
                        <a:pt x="899440" y="742286"/>
                      </a:lnTo>
                      <a:lnTo>
                        <a:pt x="897375" y="739942"/>
                      </a:lnTo>
                      <a:lnTo>
                        <a:pt x="896720" y="737829"/>
                      </a:lnTo>
                      <a:lnTo>
                        <a:pt x="896355" y="734611"/>
                      </a:lnTo>
                      <a:lnTo>
                        <a:pt x="896027" y="734356"/>
                      </a:lnTo>
                      <a:lnTo>
                        <a:pt x="894012" y="733458"/>
                      </a:lnTo>
                      <a:lnTo>
                        <a:pt x="887892" y="731478"/>
                      </a:lnTo>
                      <a:lnTo>
                        <a:pt x="884601" y="730009"/>
                      </a:lnTo>
                      <a:lnTo>
                        <a:pt x="881468" y="728018"/>
                      </a:lnTo>
                      <a:lnTo>
                        <a:pt x="880642" y="725055"/>
                      </a:lnTo>
                      <a:lnTo>
                        <a:pt x="880375" y="722541"/>
                      </a:lnTo>
                      <a:lnTo>
                        <a:pt x="880533" y="713434"/>
                      </a:lnTo>
                      <a:lnTo>
                        <a:pt x="880205" y="712208"/>
                      </a:lnTo>
                      <a:lnTo>
                        <a:pt x="879525" y="711078"/>
                      </a:lnTo>
                      <a:lnTo>
                        <a:pt x="877655" y="709245"/>
                      </a:lnTo>
                      <a:lnTo>
                        <a:pt x="876161" y="708310"/>
                      </a:lnTo>
                      <a:lnTo>
                        <a:pt x="874668" y="707885"/>
                      </a:lnTo>
                      <a:lnTo>
                        <a:pt x="873454" y="707946"/>
                      </a:lnTo>
                      <a:lnTo>
                        <a:pt x="872337" y="708164"/>
                      </a:lnTo>
                      <a:lnTo>
                        <a:pt x="870721" y="708893"/>
                      </a:lnTo>
                      <a:lnTo>
                        <a:pt x="865160" y="716458"/>
                      </a:lnTo>
                      <a:lnTo>
                        <a:pt x="864504" y="720100"/>
                      </a:lnTo>
                      <a:lnTo>
                        <a:pt x="865536" y="724703"/>
                      </a:lnTo>
                      <a:lnTo>
                        <a:pt x="865488" y="729633"/>
                      </a:lnTo>
                      <a:lnTo>
                        <a:pt x="864650" y="732729"/>
                      </a:lnTo>
                      <a:lnTo>
                        <a:pt x="862622" y="735826"/>
                      </a:lnTo>
                      <a:lnTo>
                        <a:pt x="860534" y="736870"/>
                      </a:lnTo>
                      <a:lnTo>
                        <a:pt x="857996" y="737525"/>
                      </a:lnTo>
                      <a:lnTo>
                        <a:pt x="853454" y="739481"/>
                      </a:lnTo>
                      <a:lnTo>
                        <a:pt x="843036" y="747483"/>
                      </a:lnTo>
                      <a:lnTo>
                        <a:pt x="840862" y="749717"/>
                      </a:lnTo>
                      <a:lnTo>
                        <a:pt x="839951" y="751247"/>
                      </a:lnTo>
                      <a:lnTo>
                        <a:pt x="839599" y="752704"/>
                      </a:lnTo>
                      <a:lnTo>
                        <a:pt x="839356" y="754344"/>
                      </a:lnTo>
                      <a:lnTo>
                        <a:pt x="838118" y="757926"/>
                      </a:lnTo>
                      <a:lnTo>
                        <a:pt x="835422" y="760027"/>
                      </a:lnTo>
                      <a:lnTo>
                        <a:pt x="832726" y="760585"/>
                      </a:lnTo>
                      <a:lnTo>
                        <a:pt x="827942" y="760014"/>
                      </a:lnTo>
                      <a:lnTo>
                        <a:pt x="826558" y="760111"/>
                      </a:lnTo>
                      <a:lnTo>
                        <a:pt x="825125" y="760621"/>
                      </a:lnTo>
                      <a:lnTo>
                        <a:pt x="823449" y="761629"/>
                      </a:lnTo>
                      <a:lnTo>
                        <a:pt x="821300" y="762528"/>
                      </a:lnTo>
                      <a:lnTo>
                        <a:pt x="818762" y="762832"/>
                      </a:lnTo>
                      <a:lnTo>
                        <a:pt x="813006" y="761969"/>
                      </a:lnTo>
                      <a:lnTo>
                        <a:pt x="809910" y="762406"/>
                      </a:lnTo>
                      <a:lnTo>
                        <a:pt x="804093" y="764629"/>
                      </a:lnTo>
                      <a:lnTo>
                        <a:pt x="802187" y="766268"/>
                      </a:lnTo>
                      <a:lnTo>
                        <a:pt x="802053" y="766608"/>
                      </a:lnTo>
                      <a:lnTo>
                        <a:pt x="802830" y="773457"/>
                      </a:lnTo>
                      <a:lnTo>
                        <a:pt x="802842" y="776225"/>
                      </a:lnTo>
                      <a:lnTo>
                        <a:pt x="802612" y="779091"/>
                      </a:lnTo>
                      <a:lnTo>
                        <a:pt x="800183" y="789279"/>
                      </a:lnTo>
                      <a:lnTo>
                        <a:pt x="799868" y="791173"/>
                      </a:lnTo>
                      <a:lnTo>
                        <a:pt x="799904" y="793711"/>
                      </a:lnTo>
                      <a:lnTo>
                        <a:pt x="800523" y="798835"/>
                      </a:lnTo>
                      <a:lnTo>
                        <a:pt x="800122" y="803292"/>
                      </a:lnTo>
                      <a:lnTo>
                        <a:pt x="799017" y="807845"/>
                      </a:lnTo>
                      <a:lnTo>
                        <a:pt x="796103" y="814172"/>
                      </a:lnTo>
                      <a:lnTo>
                        <a:pt x="793468" y="817390"/>
                      </a:lnTo>
                      <a:lnTo>
                        <a:pt x="789643" y="819685"/>
                      </a:lnTo>
                      <a:lnTo>
                        <a:pt x="786267" y="819648"/>
                      </a:lnTo>
                      <a:lnTo>
                        <a:pt x="775314" y="816673"/>
                      </a:lnTo>
                      <a:lnTo>
                        <a:pt x="773675" y="816467"/>
                      </a:lnTo>
                      <a:lnTo>
                        <a:pt x="773772" y="817827"/>
                      </a:lnTo>
                      <a:lnTo>
                        <a:pt x="775824" y="822247"/>
                      </a:lnTo>
                      <a:lnTo>
                        <a:pt x="776432" y="825647"/>
                      </a:lnTo>
                      <a:lnTo>
                        <a:pt x="776140" y="829011"/>
                      </a:lnTo>
                      <a:lnTo>
                        <a:pt x="774987" y="830747"/>
                      </a:lnTo>
                      <a:lnTo>
                        <a:pt x="773007" y="832593"/>
                      </a:lnTo>
                      <a:lnTo>
                        <a:pt x="770712" y="833977"/>
                      </a:lnTo>
                      <a:lnTo>
                        <a:pt x="766851" y="835762"/>
                      </a:lnTo>
                      <a:lnTo>
                        <a:pt x="765673" y="836818"/>
                      </a:lnTo>
                      <a:lnTo>
                        <a:pt x="764702" y="838931"/>
                      </a:lnTo>
                      <a:lnTo>
                        <a:pt x="763293" y="842720"/>
                      </a:lnTo>
                      <a:lnTo>
                        <a:pt x="760561" y="854523"/>
                      </a:lnTo>
                      <a:lnTo>
                        <a:pt x="753992" y="853199"/>
                      </a:lnTo>
                      <a:lnTo>
                        <a:pt x="749195" y="849010"/>
                      </a:lnTo>
                      <a:lnTo>
                        <a:pt x="747191" y="847844"/>
                      </a:lnTo>
                      <a:lnTo>
                        <a:pt x="744957" y="845707"/>
                      </a:lnTo>
                      <a:lnTo>
                        <a:pt x="742201" y="841906"/>
                      </a:lnTo>
                      <a:lnTo>
                        <a:pt x="741897" y="841724"/>
                      </a:lnTo>
                      <a:lnTo>
                        <a:pt x="741096" y="841785"/>
                      </a:lnTo>
                      <a:lnTo>
                        <a:pt x="739189" y="842258"/>
                      </a:lnTo>
                      <a:lnTo>
                        <a:pt x="734551" y="842514"/>
                      </a:lnTo>
                      <a:lnTo>
                        <a:pt x="730349" y="840304"/>
                      </a:lnTo>
                      <a:lnTo>
                        <a:pt x="729693" y="840595"/>
                      </a:lnTo>
                      <a:lnTo>
                        <a:pt x="729378" y="841068"/>
                      </a:lnTo>
                      <a:lnTo>
                        <a:pt x="728115" y="844493"/>
                      </a:lnTo>
                      <a:lnTo>
                        <a:pt x="727374" y="845245"/>
                      </a:lnTo>
                      <a:lnTo>
                        <a:pt x="726148" y="846326"/>
                      </a:lnTo>
                      <a:lnTo>
                        <a:pt x="724751" y="847104"/>
                      </a:lnTo>
                      <a:lnTo>
                        <a:pt x="721873" y="848026"/>
                      </a:lnTo>
                      <a:lnTo>
                        <a:pt x="722043" y="849411"/>
                      </a:lnTo>
                      <a:lnTo>
                        <a:pt x="721873" y="852337"/>
                      </a:lnTo>
                      <a:lnTo>
                        <a:pt x="720623" y="854304"/>
                      </a:lnTo>
                      <a:lnTo>
                        <a:pt x="718425" y="856162"/>
                      </a:lnTo>
                      <a:lnTo>
                        <a:pt x="713483" y="858202"/>
                      </a:lnTo>
                      <a:lnTo>
                        <a:pt x="712086" y="859076"/>
                      </a:lnTo>
                      <a:lnTo>
                        <a:pt x="712013" y="859586"/>
                      </a:lnTo>
                      <a:lnTo>
                        <a:pt x="711770" y="860303"/>
                      </a:lnTo>
                      <a:lnTo>
                        <a:pt x="711115" y="862841"/>
                      </a:lnTo>
                      <a:lnTo>
                        <a:pt x="706245" y="867212"/>
                      </a:lnTo>
                      <a:lnTo>
                        <a:pt x="693422" y="870867"/>
                      </a:lnTo>
                      <a:lnTo>
                        <a:pt x="693301" y="870989"/>
                      </a:lnTo>
                      <a:lnTo>
                        <a:pt x="695985" y="874231"/>
                      </a:lnTo>
                      <a:lnTo>
                        <a:pt x="697563" y="876793"/>
                      </a:lnTo>
                      <a:lnTo>
                        <a:pt x="697733" y="879112"/>
                      </a:lnTo>
                      <a:lnTo>
                        <a:pt x="697551" y="881286"/>
                      </a:lnTo>
                      <a:lnTo>
                        <a:pt x="696908" y="883654"/>
                      </a:lnTo>
                      <a:lnTo>
                        <a:pt x="697673" y="885002"/>
                      </a:lnTo>
                      <a:lnTo>
                        <a:pt x="698268" y="887381"/>
                      </a:lnTo>
                      <a:lnTo>
                        <a:pt x="698450" y="888414"/>
                      </a:lnTo>
                      <a:lnTo>
                        <a:pt x="697260" y="890636"/>
                      </a:lnTo>
                      <a:lnTo>
                        <a:pt x="695074" y="892931"/>
                      </a:lnTo>
                      <a:lnTo>
                        <a:pt x="694054" y="894461"/>
                      </a:lnTo>
                      <a:lnTo>
                        <a:pt x="693932" y="895408"/>
                      </a:lnTo>
                      <a:lnTo>
                        <a:pt x="694467" y="896440"/>
                      </a:lnTo>
                      <a:lnTo>
                        <a:pt x="695912" y="897460"/>
                      </a:lnTo>
                      <a:lnTo>
                        <a:pt x="696434" y="897922"/>
                      </a:lnTo>
                      <a:lnTo>
                        <a:pt x="697393" y="900229"/>
                      </a:lnTo>
                      <a:lnTo>
                        <a:pt x="698425" y="905037"/>
                      </a:lnTo>
                      <a:lnTo>
                        <a:pt x="698680" y="905365"/>
                      </a:lnTo>
                      <a:lnTo>
                        <a:pt x="702566" y="908049"/>
                      </a:lnTo>
                      <a:lnTo>
                        <a:pt x="705213" y="910805"/>
                      </a:lnTo>
                      <a:lnTo>
                        <a:pt x="706027" y="915104"/>
                      </a:lnTo>
                      <a:lnTo>
                        <a:pt x="704242" y="917484"/>
                      </a:lnTo>
                      <a:lnTo>
                        <a:pt x="699555" y="921005"/>
                      </a:lnTo>
                      <a:lnTo>
                        <a:pt x="697418" y="922208"/>
                      </a:lnTo>
                      <a:lnTo>
                        <a:pt x="693945" y="922888"/>
                      </a:lnTo>
                      <a:lnTo>
                        <a:pt x="687740" y="921625"/>
                      </a:lnTo>
                      <a:lnTo>
                        <a:pt x="685700" y="921370"/>
                      </a:lnTo>
                      <a:lnTo>
                        <a:pt x="681328" y="921479"/>
                      </a:lnTo>
                      <a:lnTo>
                        <a:pt x="678535" y="920848"/>
                      </a:lnTo>
                      <a:lnTo>
                        <a:pt x="675730" y="919099"/>
                      </a:lnTo>
                      <a:lnTo>
                        <a:pt x="672233" y="915833"/>
                      </a:lnTo>
                      <a:lnTo>
                        <a:pt x="671322" y="915492"/>
                      </a:lnTo>
                      <a:lnTo>
                        <a:pt x="670266" y="915359"/>
                      </a:lnTo>
                      <a:lnTo>
                        <a:pt x="668918" y="915626"/>
                      </a:lnTo>
                      <a:lnTo>
                        <a:pt x="666732" y="916197"/>
                      </a:lnTo>
                      <a:lnTo>
                        <a:pt x="664207" y="917848"/>
                      </a:lnTo>
                      <a:lnTo>
                        <a:pt x="661814" y="918735"/>
                      </a:lnTo>
                      <a:lnTo>
                        <a:pt x="658900" y="918881"/>
                      </a:lnTo>
                      <a:lnTo>
                        <a:pt x="658147" y="918868"/>
                      </a:lnTo>
                      <a:lnTo>
                        <a:pt x="654492" y="916865"/>
                      </a:lnTo>
                      <a:lnTo>
                        <a:pt x="652501" y="916780"/>
                      </a:lnTo>
                      <a:lnTo>
                        <a:pt x="649951" y="917508"/>
                      </a:lnTo>
                      <a:lnTo>
                        <a:pt x="644571" y="921018"/>
                      </a:lnTo>
                      <a:lnTo>
                        <a:pt x="640236" y="922839"/>
                      </a:lnTo>
                      <a:lnTo>
                        <a:pt x="637565" y="923628"/>
                      </a:lnTo>
                      <a:lnTo>
                        <a:pt x="635197" y="923628"/>
                      </a:lnTo>
                      <a:lnTo>
                        <a:pt x="634420" y="923568"/>
                      </a:lnTo>
                      <a:lnTo>
                        <a:pt x="632902" y="922560"/>
                      </a:lnTo>
                      <a:lnTo>
                        <a:pt x="631870" y="922924"/>
                      </a:lnTo>
                      <a:lnTo>
                        <a:pt x="625228" y="924321"/>
                      </a:lnTo>
                      <a:lnTo>
                        <a:pt x="619763" y="928109"/>
                      </a:lnTo>
                      <a:lnTo>
                        <a:pt x="615623" y="925863"/>
                      </a:lnTo>
                      <a:lnTo>
                        <a:pt x="614226" y="923665"/>
                      </a:lnTo>
                      <a:lnTo>
                        <a:pt x="613097" y="922912"/>
                      </a:lnTo>
                      <a:lnTo>
                        <a:pt x="610037" y="921843"/>
                      </a:lnTo>
                      <a:lnTo>
                        <a:pt x="608555" y="918395"/>
                      </a:lnTo>
                      <a:lnTo>
                        <a:pt x="607973" y="914606"/>
                      </a:lnTo>
                      <a:lnTo>
                        <a:pt x="607353" y="911910"/>
                      </a:lnTo>
                      <a:lnTo>
                        <a:pt x="606722" y="910842"/>
                      </a:lnTo>
                      <a:lnTo>
                        <a:pt x="601889" y="913683"/>
                      </a:lnTo>
                      <a:lnTo>
                        <a:pt x="599473" y="910987"/>
                      </a:lnTo>
                      <a:lnTo>
                        <a:pt x="598708" y="911546"/>
                      </a:lnTo>
                      <a:lnTo>
                        <a:pt x="596182" y="914837"/>
                      </a:lnTo>
                      <a:lnTo>
                        <a:pt x="591725" y="918285"/>
                      </a:lnTo>
                      <a:lnTo>
                        <a:pt x="586662" y="917423"/>
                      </a:lnTo>
                      <a:lnTo>
                        <a:pt x="584683" y="914982"/>
                      </a:lnTo>
                      <a:lnTo>
                        <a:pt x="583395" y="912275"/>
                      </a:lnTo>
                      <a:lnTo>
                        <a:pt x="582473" y="910562"/>
                      </a:lnTo>
                      <a:lnTo>
                        <a:pt x="581647" y="909992"/>
                      </a:lnTo>
                      <a:lnTo>
                        <a:pt x="580105" y="909603"/>
                      </a:lnTo>
                      <a:lnTo>
                        <a:pt x="575685" y="910247"/>
                      </a:lnTo>
                      <a:lnTo>
                        <a:pt x="568933" y="907757"/>
                      </a:lnTo>
                      <a:lnTo>
                        <a:pt x="566310" y="902658"/>
                      </a:lnTo>
                      <a:lnTo>
                        <a:pt x="565132" y="899294"/>
                      </a:lnTo>
                      <a:lnTo>
                        <a:pt x="563019" y="898019"/>
                      </a:lnTo>
                      <a:lnTo>
                        <a:pt x="562692" y="897909"/>
                      </a:lnTo>
                      <a:lnTo>
                        <a:pt x="561489" y="898310"/>
                      </a:lnTo>
                      <a:lnTo>
                        <a:pt x="560992" y="898626"/>
                      </a:lnTo>
                      <a:lnTo>
                        <a:pt x="560287" y="899561"/>
                      </a:lnTo>
                      <a:lnTo>
                        <a:pt x="559474" y="901079"/>
                      </a:lnTo>
                      <a:lnTo>
                        <a:pt x="557021" y="906555"/>
                      </a:lnTo>
                      <a:lnTo>
                        <a:pt x="555345" y="909008"/>
                      </a:lnTo>
                      <a:lnTo>
                        <a:pt x="553609" y="910769"/>
                      </a:lnTo>
                      <a:lnTo>
                        <a:pt x="550743" y="912882"/>
                      </a:lnTo>
                      <a:lnTo>
                        <a:pt x="550452" y="913258"/>
                      </a:lnTo>
                      <a:lnTo>
                        <a:pt x="550597" y="915978"/>
                      </a:lnTo>
                      <a:lnTo>
                        <a:pt x="553499" y="921479"/>
                      </a:lnTo>
                      <a:lnTo>
                        <a:pt x="554653" y="925110"/>
                      </a:lnTo>
                      <a:lnTo>
                        <a:pt x="555467" y="929153"/>
                      </a:lnTo>
                      <a:lnTo>
                        <a:pt x="555989" y="930258"/>
                      </a:lnTo>
                      <a:lnTo>
                        <a:pt x="558296" y="931072"/>
                      </a:lnTo>
                      <a:lnTo>
                        <a:pt x="560676" y="933148"/>
                      </a:lnTo>
                      <a:lnTo>
                        <a:pt x="562315" y="936257"/>
                      </a:lnTo>
                      <a:lnTo>
                        <a:pt x="563335" y="939827"/>
                      </a:lnTo>
                      <a:lnTo>
                        <a:pt x="563651" y="942632"/>
                      </a:lnTo>
                      <a:lnTo>
                        <a:pt x="563615" y="944878"/>
                      </a:lnTo>
                      <a:lnTo>
                        <a:pt x="562692" y="947696"/>
                      </a:lnTo>
                      <a:lnTo>
                        <a:pt x="561526" y="949772"/>
                      </a:lnTo>
                      <a:lnTo>
                        <a:pt x="560749" y="951496"/>
                      </a:lnTo>
                      <a:lnTo>
                        <a:pt x="560372" y="953524"/>
                      </a:lnTo>
                      <a:lnTo>
                        <a:pt x="560445" y="956912"/>
                      </a:lnTo>
                      <a:lnTo>
                        <a:pt x="561089" y="958284"/>
                      </a:lnTo>
                      <a:lnTo>
                        <a:pt x="561878" y="959146"/>
                      </a:lnTo>
                      <a:lnTo>
                        <a:pt x="563189" y="960191"/>
                      </a:lnTo>
                      <a:lnTo>
                        <a:pt x="565181" y="962388"/>
                      </a:lnTo>
                      <a:lnTo>
                        <a:pt x="567233" y="965983"/>
                      </a:lnTo>
                      <a:lnTo>
                        <a:pt x="568144" y="968994"/>
                      </a:lnTo>
                      <a:lnTo>
                        <a:pt x="568071" y="972783"/>
                      </a:lnTo>
                      <a:lnTo>
                        <a:pt x="566650" y="975102"/>
                      </a:lnTo>
                      <a:lnTo>
                        <a:pt x="563833" y="976996"/>
                      </a:lnTo>
                      <a:lnTo>
                        <a:pt x="565970" y="980105"/>
                      </a:lnTo>
                      <a:lnTo>
                        <a:pt x="566942" y="982995"/>
                      </a:lnTo>
                      <a:lnTo>
                        <a:pt x="567257" y="985047"/>
                      </a:lnTo>
                      <a:lnTo>
                        <a:pt x="567087" y="987852"/>
                      </a:lnTo>
                      <a:lnTo>
                        <a:pt x="566529" y="990074"/>
                      </a:lnTo>
                      <a:lnTo>
                        <a:pt x="565545" y="992078"/>
                      </a:lnTo>
                      <a:lnTo>
                        <a:pt x="563068" y="994652"/>
                      </a:lnTo>
                      <a:lnTo>
                        <a:pt x="559619" y="995502"/>
                      </a:lnTo>
                      <a:lnTo>
                        <a:pt x="556304" y="994616"/>
                      </a:lnTo>
                      <a:lnTo>
                        <a:pt x="552941" y="992673"/>
                      </a:lnTo>
                      <a:lnTo>
                        <a:pt x="547513" y="987876"/>
                      </a:lnTo>
                      <a:lnTo>
                        <a:pt x="546420" y="989844"/>
                      </a:lnTo>
                      <a:lnTo>
                        <a:pt x="545097" y="991471"/>
                      </a:lnTo>
                      <a:lnTo>
                        <a:pt x="543117" y="993244"/>
                      </a:lnTo>
                      <a:lnTo>
                        <a:pt x="541077" y="994543"/>
                      </a:lnTo>
                      <a:lnTo>
                        <a:pt x="533536" y="997457"/>
                      </a:lnTo>
                      <a:lnTo>
                        <a:pt x="530306" y="997968"/>
                      </a:lnTo>
                      <a:lnTo>
                        <a:pt x="527453" y="997093"/>
                      </a:lnTo>
                      <a:lnTo>
                        <a:pt x="525704" y="995345"/>
                      </a:lnTo>
                      <a:lnTo>
                        <a:pt x="524405" y="993669"/>
                      </a:lnTo>
                      <a:lnTo>
                        <a:pt x="523737" y="993329"/>
                      </a:lnTo>
                      <a:lnTo>
                        <a:pt x="522996" y="993292"/>
                      </a:lnTo>
                      <a:lnTo>
                        <a:pt x="513573" y="993511"/>
                      </a:lnTo>
                      <a:lnTo>
                        <a:pt x="512323" y="993899"/>
                      </a:lnTo>
                      <a:lnTo>
                        <a:pt x="509068" y="996012"/>
                      </a:lnTo>
                      <a:lnTo>
                        <a:pt x="506190" y="997275"/>
                      </a:lnTo>
                      <a:lnTo>
                        <a:pt x="502220" y="998174"/>
                      </a:lnTo>
                      <a:lnTo>
                        <a:pt x="492797" y="998380"/>
                      </a:lnTo>
                      <a:lnTo>
                        <a:pt x="492275" y="998648"/>
                      </a:lnTo>
                      <a:lnTo>
                        <a:pt x="492250" y="999643"/>
                      </a:lnTo>
                      <a:lnTo>
                        <a:pt x="492736" y="1002861"/>
                      </a:lnTo>
                      <a:lnTo>
                        <a:pt x="492420" y="1008179"/>
                      </a:lnTo>
                      <a:lnTo>
                        <a:pt x="482439" y="1013838"/>
                      </a:lnTo>
                      <a:lnTo>
                        <a:pt x="476100" y="1015854"/>
                      </a:lnTo>
                      <a:lnTo>
                        <a:pt x="472858" y="1015866"/>
                      </a:lnTo>
                      <a:lnTo>
                        <a:pt x="470284" y="1015235"/>
                      </a:lnTo>
                      <a:lnTo>
                        <a:pt x="467697" y="1013960"/>
                      </a:lnTo>
                      <a:lnTo>
                        <a:pt x="465135" y="1013037"/>
                      </a:lnTo>
                      <a:lnTo>
                        <a:pt x="462257" y="1010730"/>
                      </a:lnTo>
                      <a:lnTo>
                        <a:pt x="460557" y="1008593"/>
                      </a:lnTo>
                      <a:lnTo>
                        <a:pt x="459853" y="1007512"/>
                      </a:lnTo>
                      <a:lnTo>
                        <a:pt x="456927" y="1006419"/>
                      </a:lnTo>
                      <a:lnTo>
                        <a:pt x="454595" y="1004622"/>
                      </a:lnTo>
                      <a:lnTo>
                        <a:pt x="452919" y="1002314"/>
                      </a:lnTo>
                      <a:lnTo>
                        <a:pt x="452118" y="999752"/>
                      </a:lnTo>
                      <a:lnTo>
                        <a:pt x="443666" y="1001185"/>
                      </a:lnTo>
                      <a:lnTo>
                        <a:pt x="438943" y="999497"/>
                      </a:lnTo>
                      <a:lnTo>
                        <a:pt x="437838" y="1003553"/>
                      </a:lnTo>
                      <a:lnTo>
                        <a:pt x="436927" y="1005387"/>
                      </a:lnTo>
                      <a:lnTo>
                        <a:pt x="433369" y="1008604"/>
                      </a:lnTo>
                      <a:lnTo>
                        <a:pt x="431511" y="1011142"/>
                      </a:lnTo>
                      <a:lnTo>
                        <a:pt x="429216" y="1012429"/>
                      </a:lnTo>
                      <a:lnTo>
                        <a:pt x="426339" y="1013680"/>
                      </a:lnTo>
                      <a:lnTo>
                        <a:pt x="418251" y="1016097"/>
                      </a:lnTo>
                      <a:lnTo>
                        <a:pt x="418810" y="1017056"/>
                      </a:lnTo>
                      <a:lnTo>
                        <a:pt x="419636" y="1018926"/>
                      </a:lnTo>
                      <a:lnTo>
                        <a:pt x="420413" y="1021561"/>
                      </a:lnTo>
                      <a:lnTo>
                        <a:pt x="422028" y="1030365"/>
                      </a:lnTo>
                      <a:lnTo>
                        <a:pt x="422028" y="1031567"/>
                      </a:lnTo>
                      <a:lnTo>
                        <a:pt x="421433" y="1034008"/>
                      </a:lnTo>
                      <a:lnTo>
                        <a:pt x="421178" y="1034433"/>
                      </a:lnTo>
                      <a:lnTo>
                        <a:pt x="420413" y="1035441"/>
                      </a:lnTo>
                      <a:lnTo>
                        <a:pt x="418543" y="1037092"/>
                      </a:lnTo>
                      <a:lnTo>
                        <a:pt x="416199" y="1037347"/>
                      </a:lnTo>
                      <a:lnTo>
                        <a:pt x="413273" y="1036934"/>
                      </a:lnTo>
                      <a:lnTo>
                        <a:pt x="409921" y="1035696"/>
                      </a:lnTo>
                      <a:lnTo>
                        <a:pt x="407335" y="1035307"/>
                      </a:lnTo>
                      <a:lnTo>
                        <a:pt x="406084" y="1035574"/>
                      </a:lnTo>
                      <a:lnTo>
                        <a:pt x="404688" y="1036703"/>
                      </a:lnTo>
                      <a:lnTo>
                        <a:pt x="400061" y="1039253"/>
                      </a:lnTo>
                      <a:lnTo>
                        <a:pt x="396722" y="1040128"/>
                      </a:lnTo>
                      <a:lnTo>
                        <a:pt x="395678" y="1041816"/>
                      </a:lnTo>
                      <a:lnTo>
                        <a:pt x="393577" y="1043856"/>
                      </a:lnTo>
                      <a:lnTo>
                        <a:pt x="391500" y="1044961"/>
                      </a:lnTo>
                      <a:lnTo>
                        <a:pt x="389048" y="1045434"/>
                      </a:lnTo>
                      <a:lnTo>
                        <a:pt x="387700" y="1045446"/>
                      </a:lnTo>
                      <a:lnTo>
                        <a:pt x="385903" y="1050935"/>
                      </a:lnTo>
                      <a:lnTo>
                        <a:pt x="385125" y="1052198"/>
                      </a:lnTo>
                      <a:lnTo>
                        <a:pt x="383741" y="1053679"/>
                      </a:lnTo>
                      <a:lnTo>
                        <a:pt x="381908" y="1054918"/>
                      </a:lnTo>
                      <a:lnTo>
                        <a:pt x="385830" y="1058791"/>
                      </a:lnTo>
                      <a:lnTo>
                        <a:pt x="384907" y="1062592"/>
                      </a:lnTo>
                      <a:lnTo>
                        <a:pt x="383632" y="1065810"/>
                      </a:lnTo>
                      <a:lnTo>
                        <a:pt x="380402" y="1066988"/>
                      </a:lnTo>
                      <a:lnTo>
                        <a:pt x="376091" y="1067546"/>
                      </a:lnTo>
                      <a:lnTo>
                        <a:pt x="375144" y="1067801"/>
                      </a:lnTo>
                      <a:lnTo>
                        <a:pt x="374282" y="1068226"/>
                      </a:lnTo>
                      <a:lnTo>
                        <a:pt x="373347" y="1068943"/>
                      </a:lnTo>
                      <a:lnTo>
                        <a:pt x="367482" y="1074213"/>
                      </a:lnTo>
                      <a:lnTo>
                        <a:pt x="365551" y="1075451"/>
                      </a:lnTo>
                      <a:lnTo>
                        <a:pt x="363122" y="1076556"/>
                      </a:lnTo>
                      <a:lnTo>
                        <a:pt x="361726" y="1076897"/>
                      </a:lnTo>
                      <a:lnTo>
                        <a:pt x="358751" y="1076654"/>
                      </a:lnTo>
                      <a:lnTo>
                        <a:pt x="358229" y="1076411"/>
                      </a:lnTo>
                      <a:lnTo>
                        <a:pt x="357209" y="1075706"/>
                      </a:lnTo>
                      <a:lnTo>
                        <a:pt x="356723" y="1075221"/>
                      </a:lnTo>
                      <a:lnTo>
                        <a:pt x="356116" y="1074164"/>
                      </a:lnTo>
                      <a:lnTo>
                        <a:pt x="355776" y="1072865"/>
                      </a:lnTo>
                      <a:lnTo>
                        <a:pt x="355764" y="1071250"/>
                      </a:lnTo>
                      <a:lnTo>
                        <a:pt x="355217" y="1069635"/>
                      </a:lnTo>
                      <a:lnTo>
                        <a:pt x="353384" y="1067364"/>
                      </a:lnTo>
                      <a:lnTo>
                        <a:pt x="352813" y="1066077"/>
                      </a:lnTo>
                      <a:lnTo>
                        <a:pt x="352230" y="1062374"/>
                      </a:lnTo>
                      <a:lnTo>
                        <a:pt x="351732" y="1062228"/>
                      </a:lnTo>
                      <a:lnTo>
                        <a:pt x="345904" y="1061742"/>
                      </a:lnTo>
                      <a:lnTo>
                        <a:pt x="343597" y="1061038"/>
                      </a:lnTo>
                      <a:lnTo>
                        <a:pt x="340160" y="1059083"/>
                      </a:lnTo>
                      <a:lnTo>
                        <a:pt x="339407" y="1058864"/>
                      </a:lnTo>
                      <a:lnTo>
                        <a:pt x="337914" y="1064268"/>
                      </a:lnTo>
                      <a:lnTo>
                        <a:pt x="337064" y="1066150"/>
                      </a:lnTo>
                      <a:lnTo>
                        <a:pt x="336165" y="1067619"/>
                      </a:lnTo>
                      <a:lnTo>
                        <a:pt x="334805" y="1069113"/>
                      </a:lnTo>
                      <a:lnTo>
                        <a:pt x="333190" y="1070254"/>
                      </a:lnTo>
                      <a:lnTo>
                        <a:pt x="330628" y="1071675"/>
                      </a:lnTo>
                      <a:lnTo>
                        <a:pt x="329778" y="1072221"/>
                      </a:lnTo>
                      <a:lnTo>
                        <a:pt x="329219" y="1072780"/>
                      </a:lnTo>
                      <a:lnTo>
                        <a:pt x="326293" y="1076168"/>
                      </a:lnTo>
                      <a:lnTo>
                        <a:pt x="324253" y="1078171"/>
                      </a:lnTo>
                      <a:lnTo>
                        <a:pt x="321302" y="1079009"/>
                      </a:lnTo>
                      <a:lnTo>
                        <a:pt x="318485" y="1077868"/>
                      </a:lnTo>
                      <a:lnTo>
                        <a:pt x="317161" y="1076411"/>
                      </a:lnTo>
                      <a:lnTo>
                        <a:pt x="316311" y="1075318"/>
                      </a:lnTo>
                      <a:lnTo>
                        <a:pt x="315595" y="1077735"/>
                      </a:lnTo>
                      <a:lnTo>
                        <a:pt x="314963" y="1078827"/>
                      </a:lnTo>
                      <a:lnTo>
                        <a:pt x="312802" y="1081110"/>
                      </a:lnTo>
                      <a:lnTo>
                        <a:pt x="310058" y="1081875"/>
                      </a:lnTo>
                      <a:lnTo>
                        <a:pt x="307386" y="1081377"/>
                      </a:lnTo>
                      <a:lnTo>
                        <a:pt x="305650" y="1080163"/>
                      </a:lnTo>
                      <a:lnTo>
                        <a:pt x="304521" y="1079034"/>
                      </a:lnTo>
                      <a:lnTo>
                        <a:pt x="304071" y="1080782"/>
                      </a:lnTo>
                      <a:lnTo>
                        <a:pt x="303440" y="1082179"/>
                      </a:lnTo>
                      <a:lnTo>
                        <a:pt x="304035" y="1081923"/>
                      </a:lnTo>
                      <a:lnTo>
                        <a:pt x="305079" y="1081632"/>
                      </a:lnTo>
                      <a:lnTo>
                        <a:pt x="306075" y="1081742"/>
                      </a:lnTo>
                      <a:lnTo>
                        <a:pt x="308503" y="1082385"/>
                      </a:lnTo>
                      <a:lnTo>
                        <a:pt x="308856" y="1082701"/>
                      </a:lnTo>
                      <a:lnTo>
                        <a:pt x="309560" y="1083539"/>
                      </a:lnTo>
                      <a:lnTo>
                        <a:pt x="309815" y="1083964"/>
                      </a:lnTo>
                      <a:lnTo>
                        <a:pt x="310373" y="1085251"/>
                      </a:lnTo>
                      <a:lnTo>
                        <a:pt x="310859" y="1087704"/>
                      </a:lnTo>
                      <a:lnTo>
                        <a:pt x="310944" y="1088772"/>
                      </a:lnTo>
                      <a:lnTo>
                        <a:pt x="313773" y="1088687"/>
                      </a:lnTo>
                      <a:lnTo>
                        <a:pt x="315801" y="1088760"/>
                      </a:lnTo>
                      <a:lnTo>
                        <a:pt x="317052" y="1089695"/>
                      </a:lnTo>
                      <a:lnTo>
                        <a:pt x="318060" y="1090727"/>
                      </a:lnTo>
                      <a:lnTo>
                        <a:pt x="318351" y="1091213"/>
                      </a:lnTo>
                      <a:lnTo>
                        <a:pt x="318959" y="1092622"/>
                      </a:lnTo>
                      <a:lnTo>
                        <a:pt x="319189" y="1093969"/>
                      </a:lnTo>
                      <a:lnTo>
                        <a:pt x="319286" y="1095754"/>
                      </a:lnTo>
                      <a:lnTo>
                        <a:pt x="319481" y="1096762"/>
                      </a:lnTo>
                      <a:lnTo>
                        <a:pt x="320440" y="1097442"/>
                      </a:lnTo>
                      <a:lnTo>
                        <a:pt x="321448" y="1098025"/>
                      </a:lnTo>
                      <a:lnTo>
                        <a:pt x="324071" y="1099118"/>
                      </a:lnTo>
                      <a:lnTo>
                        <a:pt x="325613" y="1100235"/>
                      </a:lnTo>
                      <a:lnTo>
                        <a:pt x="326378" y="1101874"/>
                      </a:lnTo>
                      <a:lnTo>
                        <a:pt x="326499" y="1103599"/>
                      </a:lnTo>
                      <a:lnTo>
                        <a:pt x="326305" y="1104485"/>
                      </a:lnTo>
                      <a:lnTo>
                        <a:pt x="325419" y="1106197"/>
                      </a:lnTo>
                      <a:lnTo>
                        <a:pt x="323913" y="1107509"/>
                      </a:lnTo>
                      <a:lnTo>
                        <a:pt x="322019" y="1108383"/>
                      </a:lnTo>
                      <a:lnTo>
                        <a:pt x="320646" y="1108638"/>
                      </a:lnTo>
                      <a:lnTo>
                        <a:pt x="317101" y="1108990"/>
                      </a:lnTo>
                      <a:lnTo>
                        <a:pt x="316554" y="1109172"/>
                      </a:lnTo>
                      <a:lnTo>
                        <a:pt x="316433" y="1109670"/>
                      </a:lnTo>
                      <a:lnTo>
                        <a:pt x="316773" y="1111941"/>
                      </a:lnTo>
                      <a:lnTo>
                        <a:pt x="317125" y="1112973"/>
                      </a:lnTo>
                      <a:lnTo>
                        <a:pt x="317732" y="1114078"/>
                      </a:lnTo>
                      <a:lnTo>
                        <a:pt x="319068" y="1116179"/>
                      </a:lnTo>
                      <a:lnTo>
                        <a:pt x="319469" y="1117381"/>
                      </a:lnTo>
                      <a:lnTo>
                        <a:pt x="319639" y="1119482"/>
                      </a:lnTo>
                      <a:lnTo>
                        <a:pt x="319408" y="1122323"/>
                      </a:lnTo>
                      <a:lnTo>
                        <a:pt x="320391" y="1121497"/>
                      </a:lnTo>
                      <a:lnTo>
                        <a:pt x="321496" y="1120903"/>
                      </a:lnTo>
                      <a:lnTo>
                        <a:pt x="324678" y="1120526"/>
                      </a:lnTo>
                      <a:lnTo>
                        <a:pt x="326329" y="1121012"/>
                      </a:lnTo>
                      <a:lnTo>
                        <a:pt x="342407" y="1128492"/>
                      </a:lnTo>
                      <a:lnTo>
                        <a:pt x="344107" y="1129572"/>
                      </a:lnTo>
                      <a:lnTo>
                        <a:pt x="345952" y="1131297"/>
                      </a:lnTo>
                      <a:lnTo>
                        <a:pt x="347215" y="1133070"/>
                      </a:lnTo>
                      <a:lnTo>
                        <a:pt x="348102" y="1135170"/>
                      </a:lnTo>
                      <a:lnTo>
                        <a:pt x="348648" y="1137684"/>
                      </a:lnTo>
                      <a:lnTo>
                        <a:pt x="348769" y="1140999"/>
                      </a:lnTo>
                      <a:lnTo>
                        <a:pt x="347652" y="1149487"/>
                      </a:lnTo>
                      <a:lnTo>
                        <a:pt x="347956" y="1155364"/>
                      </a:lnTo>
                      <a:lnTo>
                        <a:pt x="347385" y="1160015"/>
                      </a:lnTo>
                      <a:lnTo>
                        <a:pt x="345685" y="1162771"/>
                      </a:lnTo>
                      <a:lnTo>
                        <a:pt x="343050" y="1164374"/>
                      </a:lnTo>
                      <a:lnTo>
                        <a:pt x="334489" y="1164605"/>
                      </a:lnTo>
                      <a:lnTo>
                        <a:pt x="333530" y="1165054"/>
                      </a:lnTo>
                      <a:lnTo>
                        <a:pt x="332607" y="1165710"/>
                      </a:lnTo>
                      <a:lnTo>
                        <a:pt x="331806" y="1166657"/>
                      </a:lnTo>
                      <a:lnTo>
                        <a:pt x="331951" y="1166742"/>
                      </a:lnTo>
                      <a:lnTo>
                        <a:pt x="335874" y="1167677"/>
                      </a:lnTo>
                      <a:lnTo>
                        <a:pt x="336954" y="1168078"/>
                      </a:lnTo>
                      <a:lnTo>
                        <a:pt x="339177" y="1169693"/>
                      </a:lnTo>
                      <a:lnTo>
                        <a:pt x="339541" y="1170215"/>
                      </a:lnTo>
                      <a:lnTo>
                        <a:pt x="340245" y="1171648"/>
                      </a:lnTo>
                      <a:lnTo>
                        <a:pt x="340597" y="1173396"/>
                      </a:lnTo>
                      <a:lnTo>
                        <a:pt x="340597" y="1176602"/>
                      </a:lnTo>
                      <a:lnTo>
                        <a:pt x="339808" y="1181775"/>
                      </a:lnTo>
                      <a:lnTo>
                        <a:pt x="338290" y="1185734"/>
                      </a:lnTo>
                      <a:lnTo>
                        <a:pt x="336566" y="1188806"/>
                      </a:lnTo>
                      <a:lnTo>
                        <a:pt x="334077" y="1192437"/>
                      </a:lnTo>
                      <a:lnTo>
                        <a:pt x="330798" y="1199139"/>
                      </a:lnTo>
                      <a:lnTo>
                        <a:pt x="325989" y="1205514"/>
                      </a:lnTo>
                      <a:lnTo>
                        <a:pt x="327009" y="1206449"/>
                      </a:lnTo>
                      <a:lnTo>
                        <a:pt x="328345" y="1208174"/>
                      </a:lnTo>
                      <a:lnTo>
                        <a:pt x="329292" y="1210979"/>
                      </a:lnTo>
                      <a:lnTo>
                        <a:pt x="329535" y="1211914"/>
                      </a:lnTo>
                      <a:lnTo>
                        <a:pt x="328503" y="1214670"/>
                      </a:lnTo>
                      <a:lnTo>
                        <a:pt x="324629" y="1222029"/>
                      </a:lnTo>
                      <a:lnTo>
                        <a:pt x="321059" y="1227542"/>
                      </a:lnTo>
                      <a:lnTo>
                        <a:pt x="318837" y="1229812"/>
                      </a:lnTo>
                      <a:lnTo>
                        <a:pt x="315303" y="1232581"/>
                      </a:lnTo>
                      <a:lnTo>
                        <a:pt x="312875" y="1233880"/>
                      </a:lnTo>
                      <a:lnTo>
                        <a:pt x="310289" y="1234876"/>
                      </a:lnTo>
                      <a:lnTo>
                        <a:pt x="304848" y="1235787"/>
                      </a:lnTo>
                      <a:lnTo>
                        <a:pt x="297903" y="1235823"/>
                      </a:lnTo>
                      <a:lnTo>
                        <a:pt x="296421" y="1235423"/>
                      </a:lnTo>
                      <a:lnTo>
                        <a:pt x="295219" y="1234779"/>
                      </a:lnTo>
                      <a:lnTo>
                        <a:pt x="293689" y="1232909"/>
                      </a:lnTo>
                      <a:lnTo>
                        <a:pt x="293568" y="1232411"/>
                      </a:lnTo>
                      <a:lnTo>
                        <a:pt x="293507" y="1231452"/>
                      </a:lnTo>
                      <a:lnTo>
                        <a:pt x="296810" y="1230286"/>
                      </a:lnTo>
                      <a:lnTo>
                        <a:pt x="293786" y="1229994"/>
                      </a:lnTo>
                      <a:lnTo>
                        <a:pt x="294029" y="1227663"/>
                      </a:lnTo>
                      <a:lnTo>
                        <a:pt x="293944" y="1227335"/>
                      </a:lnTo>
                      <a:lnTo>
                        <a:pt x="293410" y="1227432"/>
                      </a:lnTo>
                      <a:lnTo>
                        <a:pt x="292596" y="1227918"/>
                      </a:lnTo>
                      <a:lnTo>
                        <a:pt x="284157" y="1234536"/>
                      </a:lnTo>
                      <a:lnTo>
                        <a:pt x="282190" y="1237074"/>
                      </a:lnTo>
                      <a:lnTo>
                        <a:pt x="281218" y="1240632"/>
                      </a:lnTo>
                      <a:lnTo>
                        <a:pt x="280125" y="1242696"/>
                      </a:lnTo>
                      <a:lnTo>
                        <a:pt x="278158" y="1244773"/>
                      </a:lnTo>
                      <a:lnTo>
                        <a:pt x="277733" y="1244943"/>
                      </a:lnTo>
                      <a:lnTo>
                        <a:pt x="278037" y="1245501"/>
                      </a:lnTo>
                      <a:lnTo>
                        <a:pt x="278571" y="1252265"/>
                      </a:lnTo>
                      <a:lnTo>
                        <a:pt x="267995" y="1252471"/>
                      </a:lnTo>
                      <a:lnTo>
                        <a:pt x="258074" y="1256600"/>
                      </a:lnTo>
                      <a:lnTo>
                        <a:pt x="254844" y="1257511"/>
                      </a:lnTo>
                      <a:lnTo>
                        <a:pt x="252245" y="1257170"/>
                      </a:lnTo>
                      <a:close/>
                      <a:moveTo>
                        <a:pt x="71595" y="744046"/>
                      </a:moveTo>
                      <a:lnTo>
                        <a:pt x="75808" y="745176"/>
                      </a:lnTo>
                      <a:lnTo>
                        <a:pt x="78723" y="746803"/>
                      </a:lnTo>
                      <a:lnTo>
                        <a:pt x="77958" y="744059"/>
                      </a:lnTo>
                      <a:lnTo>
                        <a:pt x="78541" y="742626"/>
                      </a:lnTo>
                      <a:lnTo>
                        <a:pt x="78128" y="742395"/>
                      </a:lnTo>
                      <a:lnTo>
                        <a:pt x="76634" y="742480"/>
                      </a:lnTo>
                      <a:lnTo>
                        <a:pt x="71595" y="743099"/>
                      </a:lnTo>
                      <a:lnTo>
                        <a:pt x="67175" y="742164"/>
                      </a:lnTo>
                      <a:lnTo>
                        <a:pt x="63678" y="739979"/>
                      </a:lnTo>
                      <a:lnTo>
                        <a:pt x="64248" y="742055"/>
                      </a:lnTo>
                      <a:lnTo>
                        <a:pt x="65001" y="743488"/>
                      </a:lnTo>
                      <a:lnTo>
                        <a:pt x="65293" y="743840"/>
                      </a:lnTo>
                      <a:lnTo>
                        <a:pt x="67770" y="743658"/>
                      </a:lnTo>
                      <a:lnTo>
                        <a:pt x="71595" y="744046"/>
                      </a:lnTo>
                      <a:close/>
                    </a:path>
                  </a:pathLst>
                </a:custGeom>
                <a:solidFill>
                  <a:srgbClr val="D7D7D2"/>
                </a:solidFill>
                <a:ln w="12138" cap="flat">
                  <a:noFill/>
                  <a:prstDash val="solid"/>
                  <a:miter/>
                </a:ln>
              </p:spPr>
              <p:txBody>
                <a:bodyPr rtlCol="0" anchor="ctr"/>
                <a:lstStyle/>
                <a:p>
                  <a:endParaRPr lang="en-US"/>
                </a:p>
              </p:txBody>
            </p:sp>
            <p:sp>
              <p:nvSpPr>
                <p:cNvPr id="358" name="Freeform: Shape 357">
                  <a:extLst>
                    <a:ext uri="{FF2B5EF4-FFF2-40B4-BE49-F238E27FC236}">
                      <a16:creationId xmlns:a16="http://schemas.microsoft.com/office/drawing/2014/main" id="{04B01465-1686-4390-8C62-825410DE00B2}"/>
                    </a:ext>
                  </a:extLst>
                </p:cNvPr>
                <p:cNvSpPr/>
                <p:nvPr/>
              </p:nvSpPr>
              <p:spPr>
                <a:xfrm>
                  <a:off x="4197512" y="3733632"/>
                  <a:ext cx="1559298" cy="1261310"/>
                </a:xfrm>
                <a:custGeom>
                  <a:avLst/>
                  <a:gdLst>
                    <a:gd name="connsiteX0" fmla="*/ 286112 w 1559298"/>
                    <a:gd name="connsiteY0" fmla="*/ 1020 h 1261310"/>
                    <a:gd name="connsiteX1" fmla="*/ 286233 w 1559298"/>
                    <a:gd name="connsiteY1" fmla="*/ 1858 h 1261310"/>
                    <a:gd name="connsiteX2" fmla="*/ 283817 w 1559298"/>
                    <a:gd name="connsiteY2" fmla="*/ 9374 h 1261310"/>
                    <a:gd name="connsiteX3" fmla="*/ 283768 w 1559298"/>
                    <a:gd name="connsiteY3" fmla="*/ 23739 h 1261310"/>
                    <a:gd name="connsiteX4" fmla="*/ 287945 w 1559298"/>
                    <a:gd name="connsiteY4" fmla="*/ 24541 h 1261310"/>
                    <a:gd name="connsiteX5" fmla="*/ 293871 w 1559298"/>
                    <a:gd name="connsiteY5" fmla="*/ 28159 h 1261310"/>
                    <a:gd name="connsiteX6" fmla="*/ 298000 w 1559298"/>
                    <a:gd name="connsiteY6" fmla="*/ 28961 h 1261310"/>
                    <a:gd name="connsiteX7" fmla="*/ 302371 w 1559298"/>
                    <a:gd name="connsiteY7" fmla="*/ 28754 h 1261310"/>
                    <a:gd name="connsiteX8" fmla="*/ 306318 w 1559298"/>
                    <a:gd name="connsiteY8" fmla="*/ 28026 h 1261310"/>
                    <a:gd name="connsiteX9" fmla="*/ 309827 w 1559298"/>
                    <a:gd name="connsiteY9" fmla="*/ 26812 h 1261310"/>
                    <a:gd name="connsiteX10" fmla="*/ 312936 w 1559298"/>
                    <a:gd name="connsiteY10" fmla="*/ 25039 h 1261310"/>
                    <a:gd name="connsiteX11" fmla="*/ 313567 w 1559298"/>
                    <a:gd name="connsiteY11" fmla="*/ 24067 h 1261310"/>
                    <a:gd name="connsiteX12" fmla="*/ 313737 w 1559298"/>
                    <a:gd name="connsiteY12" fmla="*/ 22780 h 1261310"/>
                    <a:gd name="connsiteX13" fmla="*/ 313737 w 1559298"/>
                    <a:gd name="connsiteY13" fmla="*/ 21614 h 1261310"/>
                    <a:gd name="connsiteX14" fmla="*/ 313956 w 1559298"/>
                    <a:gd name="connsiteY14" fmla="*/ 20910 h 1261310"/>
                    <a:gd name="connsiteX15" fmla="*/ 314818 w 1559298"/>
                    <a:gd name="connsiteY15" fmla="*/ 20534 h 1261310"/>
                    <a:gd name="connsiteX16" fmla="*/ 317004 w 1559298"/>
                    <a:gd name="connsiteY16" fmla="*/ 20169 h 1261310"/>
                    <a:gd name="connsiteX17" fmla="*/ 319711 w 1559298"/>
                    <a:gd name="connsiteY17" fmla="*/ 18931 h 1261310"/>
                    <a:gd name="connsiteX18" fmla="*/ 323779 w 1559298"/>
                    <a:gd name="connsiteY18" fmla="*/ 17741 h 1261310"/>
                    <a:gd name="connsiteX19" fmla="*/ 325625 w 1559298"/>
                    <a:gd name="connsiteY19" fmla="*/ 16854 h 1261310"/>
                    <a:gd name="connsiteX20" fmla="*/ 333081 w 1559298"/>
                    <a:gd name="connsiteY20" fmla="*/ 9933 h 1261310"/>
                    <a:gd name="connsiteX21" fmla="*/ 336068 w 1559298"/>
                    <a:gd name="connsiteY21" fmla="*/ 9678 h 1261310"/>
                    <a:gd name="connsiteX22" fmla="*/ 339869 w 1559298"/>
                    <a:gd name="connsiteY22" fmla="*/ 13017 h 1261310"/>
                    <a:gd name="connsiteX23" fmla="*/ 350664 w 1559298"/>
                    <a:gd name="connsiteY23" fmla="*/ 24844 h 1261310"/>
                    <a:gd name="connsiteX24" fmla="*/ 352255 w 1559298"/>
                    <a:gd name="connsiteY24" fmla="*/ 30552 h 1261310"/>
                    <a:gd name="connsiteX25" fmla="*/ 351866 w 1559298"/>
                    <a:gd name="connsiteY25" fmla="*/ 33053 h 1261310"/>
                    <a:gd name="connsiteX26" fmla="*/ 350943 w 1559298"/>
                    <a:gd name="connsiteY26" fmla="*/ 49592 h 1261310"/>
                    <a:gd name="connsiteX27" fmla="*/ 351174 w 1559298"/>
                    <a:gd name="connsiteY27" fmla="*/ 52530 h 1261310"/>
                    <a:gd name="connsiteX28" fmla="*/ 351805 w 1559298"/>
                    <a:gd name="connsiteY28" fmla="*/ 54607 h 1261310"/>
                    <a:gd name="connsiteX29" fmla="*/ 354052 w 1559298"/>
                    <a:gd name="connsiteY29" fmla="*/ 58893 h 1261310"/>
                    <a:gd name="connsiteX30" fmla="*/ 354683 w 1559298"/>
                    <a:gd name="connsiteY30" fmla="*/ 60666 h 1261310"/>
                    <a:gd name="connsiteX31" fmla="*/ 355072 w 1559298"/>
                    <a:gd name="connsiteY31" fmla="*/ 66130 h 1261310"/>
                    <a:gd name="connsiteX32" fmla="*/ 355715 w 1559298"/>
                    <a:gd name="connsiteY32" fmla="*/ 67903 h 1261310"/>
                    <a:gd name="connsiteX33" fmla="*/ 357306 w 1559298"/>
                    <a:gd name="connsiteY33" fmla="*/ 69737 h 1261310"/>
                    <a:gd name="connsiteX34" fmla="*/ 359844 w 1559298"/>
                    <a:gd name="connsiteY34" fmla="*/ 71716 h 1261310"/>
                    <a:gd name="connsiteX35" fmla="*/ 364555 w 1559298"/>
                    <a:gd name="connsiteY35" fmla="*/ 74764 h 1261310"/>
                    <a:gd name="connsiteX36" fmla="*/ 370517 w 1559298"/>
                    <a:gd name="connsiteY36" fmla="*/ 79524 h 1261310"/>
                    <a:gd name="connsiteX37" fmla="*/ 373687 w 1559298"/>
                    <a:gd name="connsiteY37" fmla="*/ 81285 h 1261310"/>
                    <a:gd name="connsiteX38" fmla="*/ 383559 w 1559298"/>
                    <a:gd name="connsiteY38" fmla="*/ 83956 h 1261310"/>
                    <a:gd name="connsiteX39" fmla="*/ 385733 w 1559298"/>
                    <a:gd name="connsiteY39" fmla="*/ 85765 h 1261310"/>
                    <a:gd name="connsiteX40" fmla="*/ 387639 w 1559298"/>
                    <a:gd name="connsiteY40" fmla="*/ 87721 h 1261310"/>
                    <a:gd name="connsiteX41" fmla="*/ 389934 w 1559298"/>
                    <a:gd name="connsiteY41" fmla="*/ 89517 h 1261310"/>
                    <a:gd name="connsiteX42" fmla="*/ 392399 w 1559298"/>
                    <a:gd name="connsiteY42" fmla="*/ 90671 h 1261310"/>
                    <a:gd name="connsiteX43" fmla="*/ 396722 w 1559298"/>
                    <a:gd name="connsiteY43" fmla="*/ 91157 h 1261310"/>
                    <a:gd name="connsiteX44" fmla="*/ 402842 w 1559298"/>
                    <a:gd name="connsiteY44" fmla="*/ 91193 h 1261310"/>
                    <a:gd name="connsiteX45" fmla="*/ 419733 w 1559298"/>
                    <a:gd name="connsiteY45" fmla="*/ 89603 h 1261310"/>
                    <a:gd name="connsiteX46" fmla="*/ 421797 w 1559298"/>
                    <a:gd name="connsiteY46" fmla="*/ 89700 h 1261310"/>
                    <a:gd name="connsiteX47" fmla="*/ 427261 w 1559298"/>
                    <a:gd name="connsiteY47" fmla="*/ 90501 h 1261310"/>
                    <a:gd name="connsiteX48" fmla="*/ 429095 w 1559298"/>
                    <a:gd name="connsiteY48" fmla="*/ 91072 h 1261310"/>
                    <a:gd name="connsiteX49" fmla="*/ 430819 w 1559298"/>
                    <a:gd name="connsiteY49" fmla="*/ 92104 h 1261310"/>
                    <a:gd name="connsiteX50" fmla="*/ 433746 w 1559298"/>
                    <a:gd name="connsiteY50" fmla="*/ 94545 h 1261310"/>
                    <a:gd name="connsiteX51" fmla="*/ 436102 w 1559298"/>
                    <a:gd name="connsiteY51" fmla="*/ 96148 h 1261310"/>
                    <a:gd name="connsiteX52" fmla="*/ 438907 w 1559298"/>
                    <a:gd name="connsiteY52" fmla="*/ 97180 h 1261310"/>
                    <a:gd name="connsiteX53" fmla="*/ 448099 w 1559298"/>
                    <a:gd name="connsiteY53" fmla="*/ 97678 h 1261310"/>
                    <a:gd name="connsiteX54" fmla="*/ 449313 w 1559298"/>
                    <a:gd name="connsiteY54" fmla="*/ 98042 h 1261310"/>
                    <a:gd name="connsiteX55" fmla="*/ 454134 w 1559298"/>
                    <a:gd name="connsiteY55" fmla="*/ 100507 h 1261310"/>
                    <a:gd name="connsiteX56" fmla="*/ 456137 w 1559298"/>
                    <a:gd name="connsiteY56" fmla="*/ 101855 h 1261310"/>
                    <a:gd name="connsiteX57" fmla="*/ 459877 w 1559298"/>
                    <a:gd name="connsiteY57" fmla="*/ 105643 h 1261310"/>
                    <a:gd name="connsiteX58" fmla="*/ 467102 w 1559298"/>
                    <a:gd name="connsiteY58" fmla="*/ 115771 h 1261310"/>
                    <a:gd name="connsiteX59" fmla="*/ 468948 w 1559298"/>
                    <a:gd name="connsiteY59" fmla="*/ 120458 h 1261310"/>
                    <a:gd name="connsiteX60" fmla="*/ 470041 w 1559298"/>
                    <a:gd name="connsiteY60" fmla="*/ 122607 h 1261310"/>
                    <a:gd name="connsiteX61" fmla="*/ 471535 w 1559298"/>
                    <a:gd name="connsiteY61" fmla="*/ 124720 h 1261310"/>
                    <a:gd name="connsiteX62" fmla="*/ 473478 w 1559298"/>
                    <a:gd name="connsiteY62" fmla="*/ 126384 h 1261310"/>
                    <a:gd name="connsiteX63" fmla="*/ 475894 w 1559298"/>
                    <a:gd name="connsiteY63" fmla="*/ 127646 h 1261310"/>
                    <a:gd name="connsiteX64" fmla="*/ 486458 w 1559298"/>
                    <a:gd name="connsiteY64" fmla="*/ 131556 h 1261310"/>
                    <a:gd name="connsiteX65" fmla="*/ 505632 w 1559298"/>
                    <a:gd name="connsiteY65" fmla="*/ 135746 h 1261310"/>
                    <a:gd name="connsiteX66" fmla="*/ 512298 w 1559298"/>
                    <a:gd name="connsiteY66" fmla="*/ 135114 h 1261310"/>
                    <a:gd name="connsiteX67" fmla="*/ 514642 w 1559298"/>
                    <a:gd name="connsiteY67" fmla="*/ 135600 h 1261310"/>
                    <a:gd name="connsiteX68" fmla="*/ 516196 w 1559298"/>
                    <a:gd name="connsiteY68" fmla="*/ 136171 h 1261310"/>
                    <a:gd name="connsiteX69" fmla="*/ 518661 w 1559298"/>
                    <a:gd name="connsiteY69" fmla="*/ 136778 h 1261310"/>
                    <a:gd name="connsiteX70" fmla="*/ 537155 w 1559298"/>
                    <a:gd name="connsiteY70" fmla="*/ 136778 h 1261310"/>
                    <a:gd name="connsiteX71" fmla="*/ 544914 w 1559298"/>
                    <a:gd name="connsiteY71" fmla="*/ 137665 h 1261310"/>
                    <a:gd name="connsiteX72" fmla="*/ 547440 w 1559298"/>
                    <a:gd name="connsiteY72" fmla="*/ 137640 h 1261310"/>
                    <a:gd name="connsiteX73" fmla="*/ 554046 w 1559298"/>
                    <a:gd name="connsiteY73" fmla="*/ 135964 h 1261310"/>
                    <a:gd name="connsiteX74" fmla="*/ 558235 w 1559298"/>
                    <a:gd name="connsiteY74" fmla="*/ 135880 h 1261310"/>
                    <a:gd name="connsiteX75" fmla="*/ 561453 w 1559298"/>
                    <a:gd name="connsiteY75" fmla="*/ 135224 h 1261310"/>
                    <a:gd name="connsiteX76" fmla="*/ 564440 w 1559298"/>
                    <a:gd name="connsiteY76" fmla="*/ 134969 h 1261310"/>
                    <a:gd name="connsiteX77" fmla="*/ 571556 w 1559298"/>
                    <a:gd name="connsiteY77" fmla="*/ 136001 h 1261310"/>
                    <a:gd name="connsiteX78" fmla="*/ 579655 w 1559298"/>
                    <a:gd name="connsiteY78" fmla="*/ 136402 h 1261310"/>
                    <a:gd name="connsiteX79" fmla="*/ 599813 w 1559298"/>
                    <a:gd name="connsiteY79" fmla="*/ 135357 h 1261310"/>
                    <a:gd name="connsiteX80" fmla="*/ 611810 w 1559298"/>
                    <a:gd name="connsiteY80" fmla="*/ 132152 h 1261310"/>
                    <a:gd name="connsiteX81" fmla="*/ 617323 w 1559298"/>
                    <a:gd name="connsiteY81" fmla="*/ 133730 h 1261310"/>
                    <a:gd name="connsiteX82" fmla="*/ 622836 w 1559298"/>
                    <a:gd name="connsiteY82" fmla="*/ 133585 h 1261310"/>
                    <a:gd name="connsiteX83" fmla="*/ 625762 w 1559298"/>
                    <a:gd name="connsiteY83" fmla="*/ 133888 h 1261310"/>
                    <a:gd name="connsiteX84" fmla="*/ 632198 w 1559298"/>
                    <a:gd name="connsiteY84" fmla="*/ 136329 h 1261310"/>
                    <a:gd name="connsiteX85" fmla="*/ 642119 w 1559298"/>
                    <a:gd name="connsiteY85" fmla="*/ 138830 h 1261310"/>
                    <a:gd name="connsiteX86" fmla="*/ 643916 w 1559298"/>
                    <a:gd name="connsiteY86" fmla="*/ 138915 h 1261310"/>
                    <a:gd name="connsiteX87" fmla="*/ 645798 w 1559298"/>
                    <a:gd name="connsiteY87" fmla="*/ 138660 h 1261310"/>
                    <a:gd name="connsiteX88" fmla="*/ 647984 w 1559298"/>
                    <a:gd name="connsiteY88" fmla="*/ 138089 h 1261310"/>
                    <a:gd name="connsiteX89" fmla="*/ 650279 w 1559298"/>
                    <a:gd name="connsiteY89" fmla="*/ 138369 h 1261310"/>
                    <a:gd name="connsiteX90" fmla="*/ 652282 w 1559298"/>
                    <a:gd name="connsiteY90" fmla="*/ 140202 h 1261310"/>
                    <a:gd name="connsiteX91" fmla="*/ 654990 w 1559298"/>
                    <a:gd name="connsiteY91" fmla="*/ 145363 h 1261310"/>
                    <a:gd name="connsiteX92" fmla="*/ 659179 w 1559298"/>
                    <a:gd name="connsiteY92" fmla="*/ 155624 h 1261310"/>
                    <a:gd name="connsiteX93" fmla="*/ 659592 w 1559298"/>
                    <a:gd name="connsiteY93" fmla="*/ 164027 h 1261310"/>
                    <a:gd name="connsiteX94" fmla="*/ 661535 w 1559298"/>
                    <a:gd name="connsiteY94" fmla="*/ 172673 h 1261310"/>
                    <a:gd name="connsiteX95" fmla="*/ 660734 w 1559298"/>
                    <a:gd name="connsiteY95" fmla="*/ 175052 h 1261310"/>
                    <a:gd name="connsiteX96" fmla="*/ 659301 w 1559298"/>
                    <a:gd name="connsiteY96" fmla="*/ 175976 h 1261310"/>
                    <a:gd name="connsiteX97" fmla="*/ 657637 w 1559298"/>
                    <a:gd name="connsiteY97" fmla="*/ 176145 h 1261310"/>
                    <a:gd name="connsiteX98" fmla="*/ 656362 w 1559298"/>
                    <a:gd name="connsiteY98" fmla="*/ 176145 h 1261310"/>
                    <a:gd name="connsiteX99" fmla="*/ 655221 w 1559298"/>
                    <a:gd name="connsiteY99" fmla="*/ 176425 h 1261310"/>
                    <a:gd name="connsiteX100" fmla="*/ 654650 w 1559298"/>
                    <a:gd name="connsiteY100" fmla="*/ 176765 h 1261310"/>
                    <a:gd name="connsiteX101" fmla="*/ 654249 w 1559298"/>
                    <a:gd name="connsiteY101" fmla="*/ 177347 h 1261310"/>
                    <a:gd name="connsiteX102" fmla="*/ 654128 w 1559298"/>
                    <a:gd name="connsiteY102" fmla="*/ 177797 h 1261310"/>
                    <a:gd name="connsiteX103" fmla="*/ 654128 w 1559298"/>
                    <a:gd name="connsiteY103" fmla="*/ 178355 h 1261310"/>
                    <a:gd name="connsiteX104" fmla="*/ 654359 w 1559298"/>
                    <a:gd name="connsiteY104" fmla="*/ 179181 h 1261310"/>
                    <a:gd name="connsiteX105" fmla="*/ 655051 w 1559298"/>
                    <a:gd name="connsiteY105" fmla="*/ 180492 h 1261310"/>
                    <a:gd name="connsiteX106" fmla="*/ 661717 w 1559298"/>
                    <a:gd name="connsiteY106" fmla="*/ 189563 h 1261310"/>
                    <a:gd name="connsiteX107" fmla="*/ 666004 w 1559298"/>
                    <a:gd name="connsiteY107" fmla="*/ 192028 h 1261310"/>
                    <a:gd name="connsiteX108" fmla="*/ 669744 w 1559298"/>
                    <a:gd name="connsiteY108" fmla="*/ 193704 h 1261310"/>
                    <a:gd name="connsiteX109" fmla="*/ 688468 w 1559298"/>
                    <a:gd name="connsiteY109" fmla="*/ 195853 h 1261310"/>
                    <a:gd name="connsiteX110" fmla="*/ 694260 w 1559298"/>
                    <a:gd name="connsiteY110" fmla="*/ 194481 h 1261310"/>
                    <a:gd name="connsiteX111" fmla="*/ 705760 w 1559298"/>
                    <a:gd name="connsiteY111" fmla="*/ 193510 h 1261310"/>
                    <a:gd name="connsiteX112" fmla="*/ 711661 w 1559298"/>
                    <a:gd name="connsiteY112" fmla="*/ 191555 h 1261310"/>
                    <a:gd name="connsiteX113" fmla="*/ 716603 w 1559298"/>
                    <a:gd name="connsiteY113" fmla="*/ 189405 h 1261310"/>
                    <a:gd name="connsiteX114" fmla="*/ 719068 w 1559298"/>
                    <a:gd name="connsiteY114" fmla="*/ 186528 h 1261310"/>
                    <a:gd name="connsiteX115" fmla="*/ 722748 w 1559298"/>
                    <a:gd name="connsiteY115" fmla="*/ 180784 h 1261310"/>
                    <a:gd name="connsiteX116" fmla="*/ 725091 w 1559298"/>
                    <a:gd name="connsiteY116" fmla="*/ 177894 h 1261310"/>
                    <a:gd name="connsiteX117" fmla="*/ 728139 w 1559298"/>
                    <a:gd name="connsiteY117" fmla="*/ 175162 h 1261310"/>
                    <a:gd name="connsiteX118" fmla="*/ 732911 w 1559298"/>
                    <a:gd name="connsiteY118" fmla="*/ 172976 h 1261310"/>
                    <a:gd name="connsiteX119" fmla="*/ 736348 w 1559298"/>
                    <a:gd name="connsiteY119" fmla="*/ 172248 h 1261310"/>
                    <a:gd name="connsiteX120" fmla="*/ 749899 w 1559298"/>
                    <a:gd name="connsiteY120" fmla="*/ 170827 h 1261310"/>
                    <a:gd name="connsiteX121" fmla="*/ 752085 w 1559298"/>
                    <a:gd name="connsiteY121" fmla="*/ 169576 h 1261310"/>
                    <a:gd name="connsiteX122" fmla="*/ 754040 w 1559298"/>
                    <a:gd name="connsiteY122" fmla="*/ 167390 h 1261310"/>
                    <a:gd name="connsiteX123" fmla="*/ 755704 w 1559298"/>
                    <a:gd name="connsiteY123" fmla="*/ 164731 h 1261310"/>
                    <a:gd name="connsiteX124" fmla="*/ 757379 w 1559298"/>
                    <a:gd name="connsiteY124" fmla="*/ 161246 h 1261310"/>
                    <a:gd name="connsiteX125" fmla="*/ 757258 w 1559298"/>
                    <a:gd name="connsiteY125" fmla="*/ 152892 h 1261310"/>
                    <a:gd name="connsiteX126" fmla="*/ 754672 w 1559298"/>
                    <a:gd name="connsiteY126" fmla="*/ 147658 h 1261310"/>
                    <a:gd name="connsiteX127" fmla="*/ 753931 w 1559298"/>
                    <a:gd name="connsiteY127" fmla="*/ 145509 h 1261310"/>
                    <a:gd name="connsiteX128" fmla="*/ 753518 w 1559298"/>
                    <a:gd name="connsiteY128" fmla="*/ 143639 h 1261310"/>
                    <a:gd name="connsiteX129" fmla="*/ 754210 w 1559298"/>
                    <a:gd name="connsiteY129" fmla="*/ 142024 h 1261310"/>
                    <a:gd name="connsiteX130" fmla="*/ 755946 w 1559298"/>
                    <a:gd name="connsiteY130" fmla="*/ 140166 h 1261310"/>
                    <a:gd name="connsiteX131" fmla="*/ 760524 w 1559298"/>
                    <a:gd name="connsiteY131" fmla="*/ 136754 h 1261310"/>
                    <a:gd name="connsiteX132" fmla="*/ 767762 w 1559298"/>
                    <a:gd name="connsiteY132" fmla="*/ 132795 h 1261310"/>
                    <a:gd name="connsiteX133" fmla="*/ 769838 w 1559298"/>
                    <a:gd name="connsiteY133" fmla="*/ 131387 h 1261310"/>
                    <a:gd name="connsiteX134" fmla="*/ 771562 w 1559298"/>
                    <a:gd name="connsiteY134" fmla="*/ 129529 h 1261310"/>
                    <a:gd name="connsiteX135" fmla="*/ 775278 w 1559298"/>
                    <a:gd name="connsiteY135" fmla="*/ 121660 h 1261310"/>
                    <a:gd name="connsiteX136" fmla="*/ 776553 w 1559298"/>
                    <a:gd name="connsiteY136" fmla="*/ 119899 h 1261310"/>
                    <a:gd name="connsiteX137" fmla="*/ 778909 w 1559298"/>
                    <a:gd name="connsiteY137" fmla="*/ 118017 h 1261310"/>
                    <a:gd name="connsiteX138" fmla="*/ 780451 w 1559298"/>
                    <a:gd name="connsiteY138" fmla="*/ 116341 h 1261310"/>
                    <a:gd name="connsiteX139" fmla="*/ 781605 w 1559298"/>
                    <a:gd name="connsiteY139" fmla="*/ 113791 h 1261310"/>
                    <a:gd name="connsiteX140" fmla="*/ 781945 w 1559298"/>
                    <a:gd name="connsiteY140" fmla="*/ 112808 h 1261310"/>
                    <a:gd name="connsiteX141" fmla="*/ 782066 w 1559298"/>
                    <a:gd name="connsiteY141" fmla="*/ 112104 h 1261310"/>
                    <a:gd name="connsiteX142" fmla="*/ 782066 w 1559298"/>
                    <a:gd name="connsiteY142" fmla="*/ 111521 h 1261310"/>
                    <a:gd name="connsiteX143" fmla="*/ 782005 w 1559298"/>
                    <a:gd name="connsiteY143" fmla="*/ 110768 h 1261310"/>
                    <a:gd name="connsiteX144" fmla="*/ 782248 w 1559298"/>
                    <a:gd name="connsiteY144" fmla="*/ 106396 h 1261310"/>
                    <a:gd name="connsiteX145" fmla="*/ 782527 w 1559298"/>
                    <a:gd name="connsiteY145" fmla="*/ 105085 h 1261310"/>
                    <a:gd name="connsiteX146" fmla="*/ 782697 w 1559298"/>
                    <a:gd name="connsiteY146" fmla="*/ 102620 h 1261310"/>
                    <a:gd name="connsiteX147" fmla="*/ 783560 w 1559298"/>
                    <a:gd name="connsiteY147" fmla="*/ 97301 h 1261310"/>
                    <a:gd name="connsiteX148" fmla="*/ 787397 w 1559298"/>
                    <a:gd name="connsiteY148" fmla="*/ 92760 h 1261310"/>
                    <a:gd name="connsiteX149" fmla="*/ 792910 w 1559298"/>
                    <a:gd name="connsiteY149" fmla="*/ 90186 h 1261310"/>
                    <a:gd name="connsiteX150" fmla="*/ 803486 w 1559298"/>
                    <a:gd name="connsiteY150" fmla="*/ 90295 h 1261310"/>
                    <a:gd name="connsiteX151" fmla="*/ 806753 w 1559298"/>
                    <a:gd name="connsiteY151" fmla="*/ 89226 h 1261310"/>
                    <a:gd name="connsiteX152" fmla="*/ 827663 w 1559298"/>
                    <a:gd name="connsiteY152" fmla="*/ 74412 h 1261310"/>
                    <a:gd name="connsiteX153" fmla="*/ 835301 w 1559298"/>
                    <a:gd name="connsiteY153" fmla="*/ 70745 h 1261310"/>
                    <a:gd name="connsiteX154" fmla="*/ 843910 w 1559298"/>
                    <a:gd name="connsiteY154" fmla="*/ 68413 h 1261310"/>
                    <a:gd name="connsiteX155" fmla="*/ 853612 w 1559298"/>
                    <a:gd name="connsiteY155" fmla="*/ 67624 h 1261310"/>
                    <a:gd name="connsiteX156" fmla="*/ 855798 w 1559298"/>
                    <a:gd name="connsiteY156" fmla="*/ 68012 h 1261310"/>
                    <a:gd name="connsiteX157" fmla="*/ 857340 w 1559298"/>
                    <a:gd name="connsiteY157" fmla="*/ 68935 h 1261310"/>
                    <a:gd name="connsiteX158" fmla="*/ 858202 w 1559298"/>
                    <a:gd name="connsiteY158" fmla="*/ 69688 h 1261310"/>
                    <a:gd name="connsiteX159" fmla="*/ 858724 w 1559298"/>
                    <a:gd name="connsiteY159" fmla="*/ 70623 h 1261310"/>
                    <a:gd name="connsiteX160" fmla="*/ 859526 w 1559298"/>
                    <a:gd name="connsiteY160" fmla="*/ 71607 h 1261310"/>
                    <a:gd name="connsiteX161" fmla="*/ 860509 w 1559298"/>
                    <a:gd name="connsiteY161" fmla="*/ 72469 h 1261310"/>
                    <a:gd name="connsiteX162" fmla="*/ 861760 w 1559298"/>
                    <a:gd name="connsiteY162" fmla="*/ 72955 h 1261310"/>
                    <a:gd name="connsiteX163" fmla="*/ 863314 w 1559298"/>
                    <a:gd name="connsiteY163" fmla="*/ 72979 h 1261310"/>
                    <a:gd name="connsiteX164" fmla="*/ 865318 w 1559298"/>
                    <a:gd name="connsiteY164" fmla="*/ 72226 h 1261310"/>
                    <a:gd name="connsiteX165" fmla="*/ 866751 w 1559298"/>
                    <a:gd name="connsiteY165" fmla="*/ 71255 h 1261310"/>
                    <a:gd name="connsiteX166" fmla="*/ 867795 w 1559298"/>
                    <a:gd name="connsiteY166" fmla="*/ 69822 h 1261310"/>
                    <a:gd name="connsiteX167" fmla="*/ 869337 w 1559298"/>
                    <a:gd name="connsiteY167" fmla="*/ 67017 h 1261310"/>
                    <a:gd name="connsiteX168" fmla="*/ 870612 w 1559298"/>
                    <a:gd name="connsiteY168" fmla="*/ 66264 h 1261310"/>
                    <a:gd name="connsiteX169" fmla="*/ 875834 w 1559298"/>
                    <a:gd name="connsiteY169" fmla="*/ 65135 h 1261310"/>
                    <a:gd name="connsiteX170" fmla="*/ 877898 w 1559298"/>
                    <a:gd name="connsiteY170" fmla="*/ 63677 h 1261310"/>
                    <a:gd name="connsiteX171" fmla="*/ 879501 w 1559298"/>
                    <a:gd name="connsiteY171" fmla="*/ 61176 h 1261310"/>
                    <a:gd name="connsiteX172" fmla="*/ 881626 w 1559298"/>
                    <a:gd name="connsiteY172" fmla="*/ 59415 h 1261310"/>
                    <a:gd name="connsiteX173" fmla="*/ 884735 w 1559298"/>
                    <a:gd name="connsiteY173" fmla="*/ 58505 h 1261310"/>
                    <a:gd name="connsiteX174" fmla="*/ 908680 w 1559298"/>
                    <a:gd name="connsiteY174" fmla="*/ 59367 h 1261310"/>
                    <a:gd name="connsiteX175" fmla="*/ 911218 w 1559298"/>
                    <a:gd name="connsiteY175" fmla="*/ 59913 h 1261310"/>
                    <a:gd name="connsiteX176" fmla="*/ 913671 w 1559298"/>
                    <a:gd name="connsiteY176" fmla="*/ 61176 h 1261310"/>
                    <a:gd name="connsiteX177" fmla="*/ 914776 w 1559298"/>
                    <a:gd name="connsiteY177" fmla="*/ 62390 h 1261310"/>
                    <a:gd name="connsiteX178" fmla="*/ 915565 w 1559298"/>
                    <a:gd name="connsiteY178" fmla="*/ 63848 h 1261310"/>
                    <a:gd name="connsiteX179" fmla="*/ 915857 w 1559298"/>
                    <a:gd name="connsiteY179" fmla="*/ 65050 h 1261310"/>
                    <a:gd name="connsiteX180" fmla="*/ 916197 w 1559298"/>
                    <a:gd name="connsiteY180" fmla="*/ 65803 h 1261310"/>
                    <a:gd name="connsiteX181" fmla="*/ 916719 w 1559298"/>
                    <a:gd name="connsiteY181" fmla="*/ 66689 h 1261310"/>
                    <a:gd name="connsiteX182" fmla="*/ 917812 w 1559298"/>
                    <a:gd name="connsiteY182" fmla="*/ 67321 h 1261310"/>
                    <a:gd name="connsiteX183" fmla="*/ 922001 w 1559298"/>
                    <a:gd name="connsiteY183" fmla="*/ 68850 h 1261310"/>
                    <a:gd name="connsiteX184" fmla="*/ 923847 w 1559298"/>
                    <a:gd name="connsiteY184" fmla="*/ 70028 h 1261310"/>
                    <a:gd name="connsiteX185" fmla="*/ 925098 w 1559298"/>
                    <a:gd name="connsiteY185" fmla="*/ 71692 h 1261310"/>
                    <a:gd name="connsiteX186" fmla="*/ 925790 w 1559298"/>
                    <a:gd name="connsiteY186" fmla="*/ 73793 h 1261310"/>
                    <a:gd name="connsiteX187" fmla="*/ 927684 w 1559298"/>
                    <a:gd name="connsiteY187" fmla="*/ 87672 h 1261310"/>
                    <a:gd name="connsiteX188" fmla="*/ 927684 w 1559298"/>
                    <a:gd name="connsiteY188" fmla="*/ 90562 h 1261310"/>
                    <a:gd name="connsiteX189" fmla="*/ 927405 w 1559298"/>
                    <a:gd name="connsiteY189" fmla="*/ 93391 h 1261310"/>
                    <a:gd name="connsiteX190" fmla="*/ 927563 w 1559298"/>
                    <a:gd name="connsiteY190" fmla="*/ 96051 h 1261310"/>
                    <a:gd name="connsiteX191" fmla="*/ 928485 w 1559298"/>
                    <a:gd name="connsiteY191" fmla="*/ 98115 h 1261310"/>
                    <a:gd name="connsiteX192" fmla="*/ 929809 w 1559298"/>
                    <a:gd name="connsiteY192" fmla="*/ 99864 h 1261310"/>
                    <a:gd name="connsiteX193" fmla="*/ 930501 w 1559298"/>
                    <a:gd name="connsiteY193" fmla="*/ 101357 h 1261310"/>
                    <a:gd name="connsiteX194" fmla="*/ 930088 w 1559298"/>
                    <a:gd name="connsiteY194" fmla="*/ 102948 h 1261310"/>
                    <a:gd name="connsiteX195" fmla="*/ 928485 w 1559298"/>
                    <a:gd name="connsiteY195" fmla="*/ 103737 h 1261310"/>
                    <a:gd name="connsiteX196" fmla="*/ 926421 w 1559298"/>
                    <a:gd name="connsiteY196" fmla="*/ 104089 h 1261310"/>
                    <a:gd name="connsiteX197" fmla="*/ 907928 w 1559298"/>
                    <a:gd name="connsiteY197" fmla="*/ 102899 h 1261310"/>
                    <a:gd name="connsiteX198" fmla="*/ 905523 w 1559298"/>
                    <a:gd name="connsiteY198" fmla="*/ 103191 h 1261310"/>
                    <a:gd name="connsiteX199" fmla="*/ 903969 w 1559298"/>
                    <a:gd name="connsiteY199" fmla="*/ 104125 h 1261310"/>
                    <a:gd name="connsiteX200" fmla="*/ 903277 w 1559298"/>
                    <a:gd name="connsiteY200" fmla="*/ 105704 h 1261310"/>
                    <a:gd name="connsiteX201" fmla="*/ 902997 w 1559298"/>
                    <a:gd name="connsiteY201" fmla="*/ 108072 h 1261310"/>
                    <a:gd name="connsiteX202" fmla="*/ 903058 w 1559298"/>
                    <a:gd name="connsiteY202" fmla="*/ 110161 h 1261310"/>
                    <a:gd name="connsiteX203" fmla="*/ 903337 w 1559298"/>
                    <a:gd name="connsiteY203" fmla="*/ 112249 h 1261310"/>
                    <a:gd name="connsiteX204" fmla="*/ 903508 w 1559298"/>
                    <a:gd name="connsiteY204" fmla="*/ 112650 h 1261310"/>
                    <a:gd name="connsiteX205" fmla="*/ 907539 w 1559298"/>
                    <a:gd name="connsiteY205" fmla="*/ 120033 h 1261310"/>
                    <a:gd name="connsiteX206" fmla="*/ 912651 w 1559298"/>
                    <a:gd name="connsiteY206" fmla="*/ 127355 h 1261310"/>
                    <a:gd name="connsiteX207" fmla="*/ 913440 w 1559298"/>
                    <a:gd name="connsiteY207" fmla="*/ 129541 h 1261310"/>
                    <a:gd name="connsiteX208" fmla="*/ 913793 w 1559298"/>
                    <a:gd name="connsiteY208" fmla="*/ 131848 h 1261310"/>
                    <a:gd name="connsiteX209" fmla="*/ 914193 w 1559298"/>
                    <a:gd name="connsiteY209" fmla="*/ 133439 h 1261310"/>
                    <a:gd name="connsiteX210" fmla="*/ 914873 w 1559298"/>
                    <a:gd name="connsiteY210" fmla="*/ 133791 h 1261310"/>
                    <a:gd name="connsiteX211" fmla="*/ 916318 w 1559298"/>
                    <a:gd name="connsiteY211" fmla="*/ 132686 h 1261310"/>
                    <a:gd name="connsiteX212" fmla="*/ 917751 w 1559298"/>
                    <a:gd name="connsiteY212" fmla="*/ 129857 h 1261310"/>
                    <a:gd name="connsiteX213" fmla="*/ 918613 w 1559298"/>
                    <a:gd name="connsiteY213" fmla="*/ 128849 h 1261310"/>
                    <a:gd name="connsiteX214" fmla="*/ 919706 w 1559298"/>
                    <a:gd name="connsiteY214" fmla="*/ 128594 h 1261310"/>
                    <a:gd name="connsiteX215" fmla="*/ 921940 w 1559298"/>
                    <a:gd name="connsiteY215" fmla="*/ 128909 h 1261310"/>
                    <a:gd name="connsiteX216" fmla="*/ 923434 w 1559298"/>
                    <a:gd name="connsiteY216" fmla="*/ 129626 h 1261310"/>
                    <a:gd name="connsiteX217" fmla="*/ 924818 w 1559298"/>
                    <a:gd name="connsiteY217" fmla="*/ 130913 h 1261310"/>
                    <a:gd name="connsiteX218" fmla="*/ 926081 w 1559298"/>
                    <a:gd name="connsiteY218" fmla="*/ 132589 h 1261310"/>
                    <a:gd name="connsiteX219" fmla="*/ 927405 w 1559298"/>
                    <a:gd name="connsiteY219" fmla="*/ 133924 h 1261310"/>
                    <a:gd name="connsiteX220" fmla="*/ 928898 w 1559298"/>
                    <a:gd name="connsiteY220" fmla="*/ 134701 h 1261310"/>
                    <a:gd name="connsiteX221" fmla="*/ 930671 w 1559298"/>
                    <a:gd name="connsiteY221" fmla="*/ 135102 h 1261310"/>
                    <a:gd name="connsiteX222" fmla="*/ 933039 w 1559298"/>
                    <a:gd name="connsiteY222" fmla="*/ 134896 h 1261310"/>
                    <a:gd name="connsiteX223" fmla="*/ 934982 w 1559298"/>
                    <a:gd name="connsiteY223" fmla="*/ 134289 h 1261310"/>
                    <a:gd name="connsiteX224" fmla="*/ 937969 w 1559298"/>
                    <a:gd name="connsiteY224" fmla="*/ 132674 h 1261310"/>
                    <a:gd name="connsiteX225" fmla="*/ 939863 w 1559298"/>
                    <a:gd name="connsiteY225" fmla="*/ 132127 h 1261310"/>
                    <a:gd name="connsiteX226" fmla="*/ 941928 w 1559298"/>
                    <a:gd name="connsiteY226" fmla="*/ 132285 h 1261310"/>
                    <a:gd name="connsiteX227" fmla="*/ 944284 w 1559298"/>
                    <a:gd name="connsiteY227" fmla="*/ 132795 h 1261310"/>
                    <a:gd name="connsiteX228" fmla="*/ 949104 w 1559298"/>
                    <a:gd name="connsiteY228" fmla="*/ 133002 h 1261310"/>
                    <a:gd name="connsiteX229" fmla="*/ 950537 w 1559298"/>
                    <a:gd name="connsiteY229" fmla="*/ 133669 h 1261310"/>
                    <a:gd name="connsiteX230" fmla="*/ 951691 w 1559298"/>
                    <a:gd name="connsiteY230" fmla="*/ 134811 h 1261310"/>
                    <a:gd name="connsiteX231" fmla="*/ 952662 w 1559298"/>
                    <a:gd name="connsiteY231" fmla="*/ 136025 h 1261310"/>
                    <a:gd name="connsiteX232" fmla="*/ 954095 w 1559298"/>
                    <a:gd name="connsiteY232" fmla="*/ 136402 h 1261310"/>
                    <a:gd name="connsiteX233" fmla="*/ 955929 w 1559298"/>
                    <a:gd name="connsiteY233" fmla="*/ 135904 h 1261310"/>
                    <a:gd name="connsiteX234" fmla="*/ 961794 w 1559298"/>
                    <a:gd name="connsiteY234" fmla="*/ 132042 h 1261310"/>
                    <a:gd name="connsiteX235" fmla="*/ 965242 w 1559298"/>
                    <a:gd name="connsiteY235" fmla="*/ 130719 h 1261310"/>
                    <a:gd name="connsiteX236" fmla="*/ 970002 w 1559298"/>
                    <a:gd name="connsiteY236" fmla="*/ 127525 h 1261310"/>
                    <a:gd name="connsiteX237" fmla="*/ 971265 w 1559298"/>
                    <a:gd name="connsiteY237" fmla="*/ 127246 h 1261310"/>
                    <a:gd name="connsiteX238" fmla="*/ 973341 w 1559298"/>
                    <a:gd name="connsiteY238" fmla="*/ 127562 h 1261310"/>
                    <a:gd name="connsiteX239" fmla="*/ 982230 w 1559298"/>
                    <a:gd name="connsiteY239" fmla="*/ 131350 h 1261310"/>
                    <a:gd name="connsiteX240" fmla="*/ 985727 w 1559298"/>
                    <a:gd name="connsiteY240" fmla="*/ 132431 h 1261310"/>
                    <a:gd name="connsiteX241" fmla="*/ 989358 w 1559298"/>
                    <a:gd name="connsiteY241" fmla="*/ 132552 h 1261310"/>
                    <a:gd name="connsiteX242" fmla="*/ 992977 w 1559298"/>
                    <a:gd name="connsiteY242" fmla="*/ 131945 h 1261310"/>
                    <a:gd name="connsiteX243" fmla="*/ 1015320 w 1559298"/>
                    <a:gd name="connsiteY243" fmla="*/ 124659 h 1261310"/>
                    <a:gd name="connsiteX244" fmla="*/ 1025884 w 1559298"/>
                    <a:gd name="connsiteY244" fmla="*/ 119802 h 1261310"/>
                    <a:gd name="connsiteX245" fmla="*/ 1033340 w 1559298"/>
                    <a:gd name="connsiteY245" fmla="*/ 115443 h 1261310"/>
                    <a:gd name="connsiteX246" fmla="*/ 1036898 w 1559298"/>
                    <a:gd name="connsiteY246" fmla="*/ 112686 h 1261310"/>
                    <a:gd name="connsiteX247" fmla="*/ 1041148 w 1559298"/>
                    <a:gd name="connsiteY247" fmla="*/ 108036 h 1261310"/>
                    <a:gd name="connsiteX248" fmla="*/ 1043382 w 1559298"/>
                    <a:gd name="connsiteY248" fmla="*/ 104927 h 1261310"/>
                    <a:gd name="connsiteX249" fmla="*/ 1045968 w 1559298"/>
                    <a:gd name="connsiteY249" fmla="*/ 102377 h 1261310"/>
                    <a:gd name="connsiteX250" fmla="*/ 1048895 w 1559298"/>
                    <a:gd name="connsiteY250" fmla="*/ 100725 h 1261310"/>
                    <a:gd name="connsiteX251" fmla="*/ 1059362 w 1559298"/>
                    <a:gd name="connsiteY251" fmla="*/ 98491 h 1261310"/>
                    <a:gd name="connsiteX252" fmla="*/ 1068020 w 1559298"/>
                    <a:gd name="connsiteY252" fmla="*/ 95443 h 1261310"/>
                    <a:gd name="connsiteX253" fmla="*/ 1072331 w 1559298"/>
                    <a:gd name="connsiteY253" fmla="*/ 89906 h 1261310"/>
                    <a:gd name="connsiteX254" fmla="*/ 1073654 w 1559298"/>
                    <a:gd name="connsiteY254" fmla="*/ 88874 h 1261310"/>
                    <a:gd name="connsiteX255" fmla="*/ 1075087 w 1559298"/>
                    <a:gd name="connsiteY255" fmla="*/ 88291 h 1261310"/>
                    <a:gd name="connsiteX256" fmla="*/ 1076982 w 1559298"/>
                    <a:gd name="connsiteY256" fmla="*/ 87891 h 1261310"/>
                    <a:gd name="connsiteX257" fmla="*/ 1078475 w 1559298"/>
                    <a:gd name="connsiteY257" fmla="*/ 87793 h 1261310"/>
                    <a:gd name="connsiteX258" fmla="*/ 1082555 w 1559298"/>
                    <a:gd name="connsiteY258" fmla="*/ 88121 h 1261310"/>
                    <a:gd name="connsiteX259" fmla="*/ 1083709 w 1559298"/>
                    <a:gd name="connsiteY259" fmla="*/ 88376 h 1261310"/>
                    <a:gd name="connsiteX260" fmla="*/ 1085931 w 1559298"/>
                    <a:gd name="connsiteY260" fmla="*/ 89615 h 1261310"/>
                    <a:gd name="connsiteX261" fmla="*/ 1087376 w 1559298"/>
                    <a:gd name="connsiteY261" fmla="*/ 91533 h 1261310"/>
                    <a:gd name="connsiteX262" fmla="*/ 1087546 w 1559298"/>
                    <a:gd name="connsiteY262" fmla="*/ 96925 h 1261310"/>
                    <a:gd name="connsiteX263" fmla="*/ 1088979 w 1559298"/>
                    <a:gd name="connsiteY263" fmla="*/ 100082 h 1261310"/>
                    <a:gd name="connsiteX264" fmla="*/ 1089732 w 1559298"/>
                    <a:gd name="connsiteY264" fmla="*/ 102523 h 1261310"/>
                    <a:gd name="connsiteX265" fmla="*/ 1090254 w 1559298"/>
                    <a:gd name="connsiteY265" fmla="*/ 107271 h 1261310"/>
                    <a:gd name="connsiteX266" fmla="*/ 1090193 w 1559298"/>
                    <a:gd name="connsiteY266" fmla="*/ 109335 h 1261310"/>
                    <a:gd name="connsiteX267" fmla="*/ 1089950 w 1559298"/>
                    <a:gd name="connsiteY267" fmla="*/ 110088 h 1261310"/>
                    <a:gd name="connsiteX268" fmla="*/ 1089890 w 1559298"/>
                    <a:gd name="connsiteY268" fmla="*/ 110525 h 1261310"/>
                    <a:gd name="connsiteX269" fmla="*/ 1090072 w 1559298"/>
                    <a:gd name="connsiteY269" fmla="*/ 110756 h 1261310"/>
                    <a:gd name="connsiteX270" fmla="*/ 1090824 w 1559298"/>
                    <a:gd name="connsiteY270" fmla="*/ 110962 h 1261310"/>
                    <a:gd name="connsiteX271" fmla="*/ 1091857 w 1559298"/>
                    <a:gd name="connsiteY271" fmla="*/ 111108 h 1261310"/>
                    <a:gd name="connsiteX272" fmla="*/ 1093569 w 1559298"/>
                    <a:gd name="connsiteY272" fmla="*/ 111023 h 1261310"/>
                    <a:gd name="connsiteX273" fmla="*/ 1095184 w 1559298"/>
                    <a:gd name="connsiteY273" fmla="*/ 110598 h 1261310"/>
                    <a:gd name="connsiteX274" fmla="*/ 1097370 w 1559298"/>
                    <a:gd name="connsiteY274" fmla="*/ 109371 h 1261310"/>
                    <a:gd name="connsiteX275" fmla="*/ 1098863 w 1559298"/>
                    <a:gd name="connsiteY275" fmla="*/ 108291 h 1261310"/>
                    <a:gd name="connsiteX276" fmla="*/ 1100927 w 1559298"/>
                    <a:gd name="connsiteY276" fmla="*/ 107125 h 1261310"/>
                    <a:gd name="connsiteX277" fmla="*/ 1103052 w 1559298"/>
                    <a:gd name="connsiteY277" fmla="*/ 106821 h 1261310"/>
                    <a:gd name="connsiteX278" fmla="*/ 1106149 w 1559298"/>
                    <a:gd name="connsiteY278" fmla="*/ 107186 h 1261310"/>
                    <a:gd name="connsiteX279" fmla="*/ 1108565 w 1559298"/>
                    <a:gd name="connsiteY279" fmla="*/ 108254 h 1261310"/>
                    <a:gd name="connsiteX280" fmla="*/ 1110229 w 1559298"/>
                    <a:gd name="connsiteY280" fmla="*/ 109347 h 1261310"/>
                    <a:gd name="connsiteX281" fmla="*/ 1113787 w 1559298"/>
                    <a:gd name="connsiteY281" fmla="*/ 112480 h 1261310"/>
                    <a:gd name="connsiteX282" fmla="*/ 1115110 w 1559298"/>
                    <a:gd name="connsiteY282" fmla="*/ 113209 h 1261310"/>
                    <a:gd name="connsiteX283" fmla="*/ 1127326 w 1559298"/>
                    <a:gd name="connsiteY283" fmla="*/ 116475 h 1261310"/>
                    <a:gd name="connsiteX284" fmla="*/ 1140380 w 1559298"/>
                    <a:gd name="connsiteY284" fmla="*/ 117373 h 1261310"/>
                    <a:gd name="connsiteX285" fmla="*/ 1144108 w 1559298"/>
                    <a:gd name="connsiteY285" fmla="*/ 117082 h 1261310"/>
                    <a:gd name="connsiteX286" fmla="*/ 1148236 w 1559298"/>
                    <a:gd name="connsiteY286" fmla="*/ 115588 h 1261310"/>
                    <a:gd name="connsiteX287" fmla="*/ 1159784 w 1559298"/>
                    <a:gd name="connsiteY287" fmla="*/ 114532 h 1261310"/>
                    <a:gd name="connsiteX288" fmla="*/ 1167131 w 1559298"/>
                    <a:gd name="connsiteY288" fmla="*/ 112213 h 1261310"/>
                    <a:gd name="connsiteX289" fmla="*/ 1172134 w 1559298"/>
                    <a:gd name="connsiteY289" fmla="*/ 111266 h 1261310"/>
                    <a:gd name="connsiteX290" fmla="*/ 1179431 w 1559298"/>
                    <a:gd name="connsiteY290" fmla="*/ 110610 h 1261310"/>
                    <a:gd name="connsiteX291" fmla="*/ 1181957 w 1559298"/>
                    <a:gd name="connsiteY291" fmla="*/ 109711 h 1261310"/>
                    <a:gd name="connsiteX292" fmla="*/ 1184131 w 1559298"/>
                    <a:gd name="connsiteY292" fmla="*/ 107525 h 1261310"/>
                    <a:gd name="connsiteX293" fmla="*/ 1184702 w 1559298"/>
                    <a:gd name="connsiteY293" fmla="*/ 105631 h 1261310"/>
                    <a:gd name="connsiteX294" fmla="*/ 1184483 w 1559298"/>
                    <a:gd name="connsiteY294" fmla="*/ 103834 h 1261310"/>
                    <a:gd name="connsiteX295" fmla="*/ 1183669 w 1559298"/>
                    <a:gd name="connsiteY295" fmla="*/ 101988 h 1261310"/>
                    <a:gd name="connsiteX296" fmla="*/ 1182977 w 1559298"/>
                    <a:gd name="connsiteY296" fmla="*/ 99900 h 1261310"/>
                    <a:gd name="connsiteX297" fmla="*/ 1182747 w 1559298"/>
                    <a:gd name="connsiteY297" fmla="*/ 98260 h 1261310"/>
                    <a:gd name="connsiteX298" fmla="*/ 1184641 w 1559298"/>
                    <a:gd name="connsiteY298" fmla="*/ 96281 h 1261310"/>
                    <a:gd name="connsiteX299" fmla="*/ 1188089 w 1559298"/>
                    <a:gd name="connsiteY299" fmla="*/ 94703 h 1261310"/>
                    <a:gd name="connsiteX300" fmla="*/ 1196638 w 1559298"/>
                    <a:gd name="connsiteY300" fmla="*/ 92116 h 1261310"/>
                    <a:gd name="connsiteX301" fmla="*/ 1212667 w 1559298"/>
                    <a:gd name="connsiteY301" fmla="*/ 90283 h 1261310"/>
                    <a:gd name="connsiteX302" fmla="*/ 1219102 w 1559298"/>
                    <a:gd name="connsiteY302" fmla="*/ 88510 h 1261310"/>
                    <a:gd name="connsiteX303" fmla="*/ 1228623 w 1559298"/>
                    <a:gd name="connsiteY303" fmla="*/ 84855 h 1261310"/>
                    <a:gd name="connsiteX304" fmla="*/ 1233856 w 1559298"/>
                    <a:gd name="connsiteY304" fmla="*/ 83592 h 1261310"/>
                    <a:gd name="connsiteX305" fmla="*/ 1237875 w 1559298"/>
                    <a:gd name="connsiteY305" fmla="*/ 82098 h 1261310"/>
                    <a:gd name="connsiteX306" fmla="*/ 1240013 w 1559298"/>
                    <a:gd name="connsiteY306" fmla="*/ 80265 h 1261310"/>
                    <a:gd name="connsiteX307" fmla="*/ 1241324 w 1559298"/>
                    <a:gd name="connsiteY307" fmla="*/ 76670 h 1261310"/>
                    <a:gd name="connsiteX308" fmla="*/ 1241664 w 1559298"/>
                    <a:gd name="connsiteY308" fmla="*/ 74266 h 1261310"/>
                    <a:gd name="connsiteX309" fmla="*/ 1241664 w 1559298"/>
                    <a:gd name="connsiteY309" fmla="*/ 72372 h 1261310"/>
                    <a:gd name="connsiteX310" fmla="*/ 1241955 w 1559298"/>
                    <a:gd name="connsiteY310" fmla="*/ 71340 h 1261310"/>
                    <a:gd name="connsiteX311" fmla="*/ 1242417 w 1559298"/>
                    <a:gd name="connsiteY311" fmla="*/ 70660 h 1261310"/>
                    <a:gd name="connsiteX312" fmla="*/ 1245914 w 1559298"/>
                    <a:gd name="connsiteY312" fmla="*/ 70368 h 1261310"/>
                    <a:gd name="connsiteX313" fmla="*/ 1252751 w 1559298"/>
                    <a:gd name="connsiteY313" fmla="*/ 73586 h 1261310"/>
                    <a:gd name="connsiteX314" fmla="*/ 1255276 w 1559298"/>
                    <a:gd name="connsiteY314" fmla="*/ 74327 h 1261310"/>
                    <a:gd name="connsiteX315" fmla="*/ 1259636 w 1559298"/>
                    <a:gd name="connsiteY315" fmla="*/ 75080 h 1261310"/>
                    <a:gd name="connsiteX316" fmla="*/ 1266642 w 1559298"/>
                    <a:gd name="connsiteY316" fmla="*/ 74885 h 1261310"/>
                    <a:gd name="connsiteX317" fmla="*/ 1269690 w 1559298"/>
                    <a:gd name="connsiteY317" fmla="*/ 75226 h 1261310"/>
                    <a:gd name="connsiteX318" fmla="*/ 1272216 w 1559298"/>
                    <a:gd name="connsiteY318" fmla="*/ 75043 h 1261310"/>
                    <a:gd name="connsiteX319" fmla="*/ 1274851 w 1559298"/>
                    <a:gd name="connsiteY319" fmla="*/ 75165 h 1261310"/>
                    <a:gd name="connsiteX320" fmla="*/ 1277389 w 1559298"/>
                    <a:gd name="connsiteY320" fmla="*/ 75699 h 1261310"/>
                    <a:gd name="connsiteX321" fmla="*/ 1285706 w 1559298"/>
                    <a:gd name="connsiteY321" fmla="*/ 78662 h 1261310"/>
                    <a:gd name="connsiteX322" fmla="*/ 1288584 w 1559298"/>
                    <a:gd name="connsiteY322" fmla="*/ 80362 h 1261310"/>
                    <a:gd name="connsiteX323" fmla="*/ 1290879 w 1559298"/>
                    <a:gd name="connsiteY323" fmla="*/ 85049 h 1261310"/>
                    <a:gd name="connsiteX324" fmla="*/ 1297364 w 1559298"/>
                    <a:gd name="connsiteY324" fmla="*/ 89032 h 1261310"/>
                    <a:gd name="connsiteX325" fmla="*/ 1298165 w 1559298"/>
                    <a:gd name="connsiteY325" fmla="*/ 93233 h 1261310"/>
                    <a:gd name="connsiteX326" fmla="*/ 1298627 w 1559298"/>
                    <a:gd name="connsiteY326" fmla="*/ 94521 h 1261310"/>
                    <a:gd name="connsiteX327" fmla="*/ 1299270 w 1559298"/>
                    <a:gd name="connsiteY327" fmla="*/ 95589 h 1261310"/>
                    <a:gd name="connsiteX328" fmla="*/ 1299889 w 1559298"/>
                    <a:gd name="connsiteY328" fmla="*/ 97046 h 1261310"/>
                    <a:gd name="connsiteX329" fmla="*/ 1300290 w 1559298"/>
                    <a:gd name="connsiteY329" fmla="*/ 98625 h 1261310"/>
                    <a:gd name="connsiteX330" fmla="*/ 1300812 w 1559298"/>
                    <a:gd name="connsiteY330" fmla="*/ 102644 h 1261310"/>
                    <a:gd name="connsiteX331" fmla="*/ 1301614 w 1559298"/>
                    <a:gd name="connsiteY331" fmla="*/ 104077 h 1261310"/>
                    <a:gd name="connsiteX332" fmla="*/ 1303399 w 1559298"/>
                    <a:gd name="connsiteY332" fmla="*/ 104830 h 1261310"/>
                    <a:gd name="connsiteX333" fmla="*/ 1305572 w 1559298"/>
                    <a:gd name="connsiteY333" fmla="*/ 104624 h 1261310"/>
                    <a:gd name="connsiteX334" fmla="*/ 1309944 w 1559298"/>
                    <a:gd name="connsiteY334" fmla="*/ 103166 h 1261310"/>
                    <a:gd name="connsiteX335" fmla="*/ 1312518 w 1559298"/>
                    <a:gd name="connsiteY335" fmla="*/ 101576 h 1261310"/>
                    <a:gd name="connsiteX336" fmla="*/ 1316137 w 1559298"/>
                    <a:gd name="connsiteY336" fmla="*/ 98564 h 1261310"/>
                    <a:gd name="connsiteX337" fmla="*/ 1319367 w 1559298"/>
                    <a:gd name="connsiteY337" fmla="*/ 96451 h 1261310"/>
                    <a:gd name="connsiteX338" fmla="*/ 1321249 w 1559298"/>
                    <a:gd name="connsiteY338" fmla="*/ 95710 h 1261310"/>
                    <a:gd name="connsiteX339" fmla="*/ 1323556 w 1559298"/>
                    <a:gd name="connsiteY339" fmla="*/ 95383 h 1261310"/>
                    <a:gd name="connsiteX340" fmla="*/ 1329579 w 1559298"/>
                    <a:gd name="connsiteY340" fmla="*/ 95965 h 1261310"/>
                    <a:gd name="connsiteX341" fmla="*/ 1339694 w 1559298"/>
                    <a:gd name="connsiteY341" fmla="*/ 93974 h 1261310"/>
                    <a:gd name="connsiteX342" fmla="*/ 1343932 w 1559298"/>
                    <a:gd name="connsiteY342" fmla="*/ 94375 h 1261310"/>
                    <a:gd name="connsiteX343" fmla="*/ 1347150 w 1559298"/>
                    <a:gd name="connsiteY343" fmla="*/ 95201 h 1261310"/>
                    <a:gd name="connsiteX344" fmla="*/ 1349906 w 1559298"/>
                    <a:gd name="connsiteY344" fmla="*/ 96779 h 1261310"/>
                    <a:gd name="connsiteX345" fmla="*/ 1351570 w 1559298"/>
                    <a:gd name="connsiteY345" fmla="*/ 98819 h 1261310"/>
                    <a:gd name="connsiteX346" fmla="*/ 1352772 w 1559298"/>
                    <a:gd name="connsiteY346" fmla="*/ 101260 h 1261310"/>
                    <a:gd name="connsiteX347" fmla="*/ 1353816 w 1559298"/>
                    <a:gd name="connsiteY347" fmla="*/ 103956 h 1261310"/>
                    <a:gd name="connsiteX348" fmla="*/ 1355006 w 1559298"/>
                    <a:gd name="connsiteY348" fmla="*/ 105716 h 1261310"/>
                    <a:gd name="connsiteX349" fmla="*/ 1356743 w 1559298"/>
                    <a:gd name="connsiteY349" fmla="*/ 106688 h 1261310"/>
                    <a:gd name="connsiteX350" fmla="*/ 1359086 w 1559298"/>
                    <a:gd name="connsiteY350" fmla="*/ 106918 h 1261310"/>
                    <a:gd name="connsiteX351" fmla="*/ 1362486 w 1559298"/>
                    <a:gd name="connsiteY351" fmla="*/ 106664 h 1261310"/>
                    <a:gd name="connsiteX352" fmla="*/ 1365522 w 1559298"/>
                    <a:gd name="connsiteY352" fmla="*/ 106093 h 1261310"/>
                    <a:gd name="connsiteX353" fmla="*/ 1369092 w 1559298"/>
                    <a:gd name="connsiteY353" fmla="*/ 104963 h 1261310"/>
                    <a:gd name="connsiteX354" fmla="*/ 1370294 w 1559298"/>
                    <a:gd name="connsiteY354" fmla="*/ 104138 h 1261310"/>
                    <a:gd name="connsiteX355" fmla="*/ 1372468 w 1559298"/>
                    <a:gd name="connsiteY355" fmla="*/ 101758 h 1261310"/>
                    <a:gd name="connsiteX356" fmla="*/ 1374726 w 1559298"/>
                    <a:gd name="connsiteY356" fmla="*/ 101418 h 1261310"/>
                    <a:gd name="connsiteX357" fmla="*/ 1378442 w 1559298"/>
                    <a:gd name="connsiteY357" fmla="*/ 100179 h 1261310"/>
                    <a:gd name="connsiteX358" fmla="*/ 1380810 w 1559298"/>
                    <a:gd name="connsiteY358" fmla="*/ 100289 h 1261310"/>
                    <a:gd name="connsiteX359" fmla="*/ 1380968 w 1559298"/>
                    <a:gd name="connsiteY359" fmla="*/ 100725 h 1261310"/>
                    <a:gd name="connsiteX360" fmla="*/ 1380907 w 1559298"/>
                    <a:gd name="connsiteY360" fmla="*/ 101551 h 1261310"/>
                    <a:gd name="connsiteX361" fmla="*/ 1381138 w 1559298"/>
                    <a:gd name="connsiteY361" fmla="*/ 102413 h 1261310"/>
                    <a:gd name="connsiteX362" fmla="*/ 1382061 w 1559298"/>
                    <a:gd name="connsiteY362" fmla="*/ 102960 h 1261310"/>
                    <a:gd name="connsiteX363" fmla="*/ 1383044 w 1559298"/>
                    <a:gd name="connsiteY363" fmla="*/ 103069 h 1261310"/>
                    <a:gd name="connsiteX364" fmla="*/ 1385910 w 1559298"/>
                    <a:gd name="connsiteY364" fmla="*/ 102960 h 1261310"/>
                    <a:gd name="connsiteX365" fmla="*/ 1399984 w 1559298"/>
                    <a:gd name="connsiteY365" fmla="*/ 98394 h 1261310"/>
                    <a:gd name="connsiteX366" fmla="*/ 1401586 w 1559298"/>
                    <a:gd name="connsiteY366" fmla="*/ 94435 h 1261310"/>
                    <a:gd name="connsiteX367" fmla="*/ 1405254 w 1559298"/>
                    <a:gd name="connsiteY367" fmla="*/ 91995 h 1261310"/>
                    <a:gd name="connsiteX368" fmla="*/ 1415721 w 1559298"/>
                    <a:gd name="connsiteY368" fmla="*/ 88668 h 1261310"/>
                    <a:gd name="connsiteX369" fmla="*/ 1417725 w 1559298"/>
                    <a:gd name="connsiteY369" fmla="*/ 87599 h 1261310"/>
                    <a:gd name="connsiteX370" fmla="*/ 1419109 w 1559298"/>
                    <a:gd name="connsiteY370" fmla="*/ 86445 h 1261310"/>
                    <a:gd name="connsiteX371" fmla="*/ 1419959 w 1559298"/>
                    <a:gd name="connsiteY371" fmla="*/ 85073 h 1261310"/>
                    <a:gd name="connsiteX372" fmla="*/ 1423007 w 1559298"/>
                    <a:gd name="connsiteY372" fmla="*/ 87854 h 1261310"/>
                    <a:gd name="connsiteX373" fmla="*/ 1431434 w 1559298"/>
                    <a:gd name="connsiteY373" fmla="*/ 93464 h 1261310"/>
                    <a:gd name="connsiteX374" fmla="*/ 1436728 w 1559298"/>
                    <a:gd name="connsiteY374" fmla="*/ 95844 h 1261310"/>
                    <a:gd name="connsiteX375" fmla="*/ 1443103 w 1559298"/>
                    <a:gd name="connsiteY375" fmla="*/ 96706 h 1261310"/>
                    <a:gd name="connsiteX376" fmla="*/ 1444184 w 1559298"/>
                    <a:gd name="connsiteY376" fmla="*/ 97593 h 1261310"/>
                    <a:gd name="connsiteX377" fmla="*/ 1444706 w 1559298"/>
                    <a:gd name="connsiteY377" fmla="*/ 99001 h 1261310"/>
                    <a:gd name="connsiteX378" fmla="*/ 1444767 w 1559298"/>
                    <a:gd name="connsiteY378" fmla="*/ 100580 h 1261310"/>
                    <a:gd name="connsiteX379" fmla="*/ 1444998 w 1559298"/>
                    <a:gd name="connsiteY379" fmla="*/ 102474 h 1261310"/>
                    <a:gd name="connsiteX380" fmla="*/ 1445617 w 1559298"/>
                    <a:gd name="connsiteY380" fmla="*/ 104393 h 1261310"/>
                    <a:gd name="connsiteX381" fmla="*/ 1448216 w 1559298"/>
                    <a:gd name="connsiteY381" fmla="*/ 107428 h 1261310"/>
                    <a:gd name="connsiteX382" fmla="*/ 1457687 w 1559298"/>
                    <a:gd name="connsiteY382" fmla="*/ 113925 h 1261310"/>
                    <a:gd name="connsiteX383" fmla="*/ 1460443 w 1559298"/>
                    <a:gd name="connsiteY383" fmla="*/ 116329 h 1261310"/>
                    <a:gd name="connsiteX384" fmla="*/ 1462168 w 1559298"/>
                    <a:gd name="connsiteY384" fmla="*/ 118600 h 1261310"/>
                    <a:gd name="connsiteX385" fmla="*/ 1462738 w 1559298"/>
                    <a:gd name="connsiteY385" fmla="*/ 120276 h 1261310"/>
                    <a:gd name="connsiteX386" fmla="*/ 1463261 w 1559298"/>
                    <a:gd name="connsiteY386" fmla="*/ 122911 h 1261310"/>
                    <a:gd name="connsiteX387" fmla="*/ 1463212 w 1559298"/>
                    <a:gd name="connsiteY387" fmla="*/ 123979 h 1261310"/>
                    <a:gd name="connsiteX388" fmla="*/ 1462969 w 1559298"/>
                    <a:gd name="connsiteY388" fmla="*/ 124732 h 1261310"/>
                    <a:gd name="connsiteX389" fmla="*/ 1462398 w 1559298"/>
                    <a:gd name="connsiteY389" fmla="*/ 125643 h 1261310"/>
                    <a:gd name="connsiteX390" fmla="*/ 1459059 w 1559298"/>
                    <a:gd name="connsiteY390" fmla="*/ 129177 h 1261310"/>
                    <a:gd name="connsiteX391" fmla="*/ 1458719 w 1559298"/>
                    <a:gd name="connsiteY391" fmla="*/ 130549 h 1261310"/>
                    <a:gd name="connsiteX392" fmla="*/ 1459120 w 1559298"/>
                    <a:gd name="connsiteY392" fmla="*/ 132188 h 1261310"/>
                    <a:gd name="connsiteX393" fmla="*/ 1460443 w 1559298"/>
                    <a:gd name="connsiteY393" fmla="*/ 133196 h 1261310"/>
                    <a:gd name="connsiteX394" fmla="*/ 1461816 w 1559298"/>
                    <a:gd name="connsiteY394" fmla="*/ 133657 h 1261310"/>
                    <a:gd name="connsiteX395" fmla="*/ 1463831 w 1559298"/>
                    <a:gd name="connsiteY395" fmla="*/ 133596 h 1261310"/>
                    <a:gd name="connsiteX396" fmla="*/ 1465556 w 1559298"/>
                    <a:gd name="connsiteY396" fmla="*/ 133317 h 1261310"/>
                    <a:gd name="connsiteX397" fmla="*/ 1470607 w 1559298"/>
                    <a:gd name="connsiteY397" fmla="*/ 131702 h 1261310"/>
                    <a:gd name="connsiteX398" fmla="*/ 1472101 w 1559298"/>
                    <a:gd name="connsiteY398" fmla="*/ 131423 h 1261310"/>
                    <a:gd name="connsiteX399" fmla="*/ 1473764 w 1559298"/>
                    <a:gd name="connsiteY399" fmla="*/ 131399 h 1261310"/>
                    <a:gd name="connsiteX400" fmla="*/ 1475780 w 1559298"/>
                    <a:gd name="connsiteY400" fmla="*/ 131739 h 1261310"/>
                    <a:gd name="connsiteX401" fmla="*/ 1479216 w 1559298"/>
                    <a:gd name="connsiteY401" fmla="*/ 133026 h 1261310"/>
                    <a:gd name="connsiteX402" fmla="*/ 1499714 w 1559298"/>
                    <a:gd name="connsiteY402" fmla="*/ 145472 h 1261310"/>
                    <a:gd name="connsiteX403" fmla="*/ 1502300 w 1559298"/>
                    <a:gd name="connsiteY403" fmla="*/ 146516 h 1261310"/>
                    <a:gd name="connsiteX404" fmla="*/ 1503745 w 1559298"/>
                    <a:gd name="connsiteY404" fmla="*/ 146334 h 1261310"/>
                    <a:gd name="connsiteX405" fmla="*/ 1504826 w 1559298"/>
                    <a:gd name="connsiteY405" fmla="*/ 145934 h 1261310"/>
                    <a:gd name="connsiteX406" fmla="*/ 1505749 w 1559298"/>
                    <a:gd name="connsiteY406" fmla="*/ 145351 h 1261310"/>
                    <a:gd name="connsiteX407" fmla="*/ 1509258 w 1559298"/>
                    <a:gd name="connsiteY407" fmla="*/ 142594 h 1261310"/>
                    <a:gd name="connsiteX408" fmla="*/ 1512294 w 1559298"/>
                    <a:gd name="connsiteY408" fmla="*/ 141684 h 1261310"/>
                    <a:gd name="connsiteX409" fmla="*/ 1512184 w 1559298"/>
                    <a:gd name="connsiteY409" fmla="*/ 151325 h 1261310"/>
                    <a:gd name="connsiteX410" fmla="*/ 1509950 w 1559298"/>
                    <a:gd name="connsiteY410" fmla="*/ 155721 h 1261310"/>
                    <a:gd name="connsiteX411" fmla="*/ 1504486 w 1559298"/>
                    <a:gd name="connsiteY411" fmla="*/ 161173 h 1261310"/>
                    <a:gd name="connsiteX412" fmla="*/ 1502312 w 1559298"/>
                    <a:gd name="connsiteY412" fmla="*/ 162946 h 1261310"/>
                    <a:gd name="connsiteX413" fmla="*/ 1487838 w 1559298"/>
                    <a:gd name="connsiteY413" fmla="*/ 170013 h 1261310"/>
                    <a:gd name="connsiteX414" fmla="*/ 1475841 w 1559298"/>
                    <a:gd name="connsiteY414" fmla="*/ 177651 h 1261310"/>
                    <a:gd name="connsiteX415" fmla="*/ 1473606 w 1559298"/>
                    <a:gd name="connsiteY415" fmla="*/ 179715 h 1261310"/>
                    <a:gd name="connsiteX416" fmla="*/ 1472222 w 1559298"/>
                    <a:gd name="connsiteY416" fmla="*/ 181513 h 1261310"/>
                    <a:gd name="connsiteX417" fmla="*/ 1471117 w 1559298"/>
                    <a:gd name="connsiteY417" fmla="*/ 183868 h 1261310"/>
                    <a:gd name="connsiteX418" fmla="*/ 1470607 w 1559298"/>
                    <a:gd name="connsiteY418" fmla="*/ 185908 h 1261310"/>
                    <a:gd name="connsiteX419" fmla="*/ 1468834 w 1559298"/>
                    <a:gd name="connsiteY419" fmla="*/ 198476 h 1261310"/>
                    <a:gd name="connsiteX420" fmla="*/ 1466770 w 1559298"/>
                    <a:gd name="connsiteY420" fmla="*/ 205665 h 1261310"/>
                    <a:gd name="connsiteX421" fmla="*/ 1466478 w 1559298"/>
                    <a:gd name="connsiteY421" fmla="*/ 207814 h 1261310"/>
                    <a:gd name="connsiteX422" fmla="*/ 1466588 w 1559298"/>
                    <a:gd name="connsiteY422" fmla="*/ 210656 h 1261310"/>
                    <a:gd name="connsiteX423" fmla="*/ 1467681 w 1559298"/>
                    <a:gd name="connsiteY423" fmla="*/ 214639 h 1261310"/>
                    <a:gd name="connsiteX424" fmla="*/ 1469344 w 1559298"/>
                    <a:gd name="connsiteY424" fmla="*/ 218488 h 1261310"/>
                    <a:gd name="connsiteX425" fmla="*/ 1470437 w 1559298"/>
                    <a:gd name="connsiteY425" fmla="*/ 220127 h 1261310"/>
                    <a:gd name="connsiteX426" fmla="*/ 1471870 w 1559298"/>
                    <a:gd name="connsiteY426" fmla="*/ 221815 h 1261310"/>
                    <a:gd name="connsiteX427" fmla="*/ 1473424 w 1559298"/>
                    <a:gd name="connsiteY427" fmla="*/ 222981 h 1261310"/>
                    <a:gd name="connsiteX428" fmla="*/ 1475209 w 1559298"/>
                    <a:gd name="connsiteY428" fmla="*/ 223831 h 1261310"/>
                    <a:gd name="connsiteX429" fmla="*/ 1477104 w 1559298"/>
                    <a:gd name="connsiteY429" fmla="*/ 224171 h 1261310"/>
                    <a:gd name="connsiteX430" fmla="*/ 1478366 w 1559298"/>
                    <a:gd name="connsiteY430" fmla="*/ 224207 h 1261310"/>
                    <a:gd name="connsiteX431" fmla="*/ 1479338 w 1559298"/>
                    <a:gd name="connsiteY431" fmla="*/ 224025 h 1261310"/>
                    <a:gd name="connsiteX432" fmla="*/ 1482264 w 1559298"/>
                    <a:gd name="connsiteY432" fmla="*/ 223017 h 1261310"/>
                    <a:gd name="connsiteX433" fmla="*/ 1483867 w 1559298"/>
                    <a:gd name="connsiteY433" fmla="*/ 222653 h 1261310"/>
                    <a:gd name="connsiteX434" fmla="*/ 1485081 w 1559298"/>
                    <a:gd name="connsiteY434" fmla="*/ 222738 h 1261310"/>
                    <a:gd name="connsiteX435" fmla="*/ 1486466 w 1559298"/>
                    <a:gd name="connsiteY435" fmla="*/ 223430 h 1261310"/>
                    <a:gd name="connsiteX436" fmla="*/ 1487668 w 1559298"/>
                    <a:gd name="connsiteY436" fmla="*/ 224741 h 1261310"/>
                    <a:gd name="connsiteX437" fmla="*/ 1488530 w 1559298"/>
                    <a:gd name="connsiteY437" fmla="*/ 226296 h 1261310"/>
                    <a:gd name="connsiteX438" fmla="*/ 1488979 w 1559298"/>
                    <a:gd name="connsiteY438" fmla="*/ 228542 h 1261310"/>
                    <a:gd name="connsiteX439" fmla="*/ 1489222 w 1559298"/>
                    <a:gd name="connsiteY439" fmla="*/ 230303 h 1261310"/>
                    <a:gd name="connsiteX440" fmla="*/ 1489331 w 1559298"/>
                    <a:gd name="connsiteY440" fmla="*/ 234407 h 1261310"/>
                    <a:gd name="connsiteX441" fmla="*/ 1489392 w 1559298"/>
                    <a:gd name="connsiteY441" fmla="*/ 253411 h 1261310"/>
                    <a:gd name="connsiteX442" fmla="*/ 1492428 w 1559298"/>
                    <a:gd name="connsiteY442" fmla="*/ 269719 h 1261310"/>
                    <a:gd name="connsiteX443" fmla="*/ 1492027 w 1559298"/>
                    <a:gd name="connsiteY443" fmla="*/ 272706 h 1261310"/>
                    <a:gd name="connsiteX444" fmla="*/ 1491116 w 1559298"/>
                    <a:gd name="connsiteY444" fmla="*/ 274625 h 1261310"/>
                    <a:gd name="connsiteX445" fmla="*/ 1489793 w 1559298"/>
                    <a:gd name="connsiteY445" fmla="*/ 275657 h 1261310"/>
                    <a:gd name="connsiteX446" fmla="*/ 1481924 w 1559298"/>
                    <a:gd name="connsiteY446" fmla="*/ 279360 h 1261310"/>
                    <a:gd name="connsiteX447" fmla="*/ 1480431 w 1559298"/>
                    <a:gd name="connsiteY447" fmla="*/ 280708 h 1261310"/>
                    <a:gd name="connsiteX448" fmla="*/ 1479277 w 1559298"/>
                    <a:gd name="connsiteY448" fmla="*/ 282287 h 1261310"/>
                    <a:gd name="connsiteX449" fmla="*/ 1478026 w 1559298"/>
                    <a:gd name="connsiteY449" fmla="*/ 285104 h 1261310"/>
                    <a:gd name="connsiteX450" fmla="*/ 1477723 w 1559298"/>
                    <a:gd name="connsiteY450" fmla="*/ 286901 h 1261310"/>
                    <a:gd name="connsiteX451" fmla="*/ 1477784 w 1559298"/>
                    <a:gd name="connsiteY451" fmla="*/ 288577 h 1261310"/>
                    <a:gd name="connsiteX452" fmla="*/ 1478184 w 1559298"/>
                    <a:gd name="connsiteY452" fmla="*/ 289548 h 1261310"/>
                    <a:gd name="connsiteX453" fmla="*/ 1478937 w 1559298"/>
                    <a:gd name="connsiteY453" fmla="*/ 290240 h 1261310"/>
                    <a:gd name="connsiteX454" fmla="*/ 1479909 w 1559298"/>
                    <a:gd name="connsiteY454" fmla="*/ 290726 h 1261310"/>
                    <a:gd name="connsiteX455" fmla="*/ 1481524 w 1559298"/>
                    <a:gd name="connsiteY455" fmla="*/ 290981 h 1261310"/>
                    <a:gd name="connsiteX456" fmla="*/ 1483187 w 1559298"/>
                    <a:gd name="connsiteY456" fmla="*/ 290751 h 1261310"/>
                    <a:gd name="connsiteX457" fmla="*/ 1484790 w 1559298"/>
                    <a:gd name="connsiteY457" fmla="*/ 290131 h 1261310"/>
                    <a:gd name="connsiteX458" fmla="*/ 1487607 w 1559298"/>
                    <a:gd name="connsiteY458" fmla="*/ 288528 h 1261310"/>
                    <a:gd name="connsiteX459" fmla="*/ 1490934 w 1559298"/>
                    <a:gd name="connsiteY459" fmla="*/ 286100 h 1261310"/>
                    <a:gd name="connsiteX460" fmla="*/ 1492149 w 1559298"/>
                    <a:gd name="connsiteY460" fmla="*/ 285638 h 1261310"/>
                    <a:gd name="connsiteX461" fmla="*/ 1493642 w 1559298"/>
                    <a:gd name="connsiteY461" fmla="*/ 285456 h 1261310"/>
                    <a:gd name="connsiteX462" fmla="*/ 1494844 w 1559298"/>
                    <a:gd name="connsiteY462" fmla="*/ 285541 h 1261310"/>
                    <a:gd name="connsiteX463" fmla="*/ 1497661 w 1559298"/>
                    <a:gd name="connsiteY463" fmla="*/ 286343 h 1261310"/>
                    <a:gd name="connsiteX464" fmla="*/ 1498973 w 1559298"/>
                    <a:gd name="connsiteY464" fmla="*/ 286925 h 1261310"/>
                    <a:gd name="connsiteX465" fmla="*/ 1500236 w 1559298"/>
                    <a:gd name="connsiteY465" fmla="*/ 287593 h 1261310"/>
                    <a:gd name="connsiteX466" fmla="*/ 1501669 w 1559298"/>
                    <a:gd name="connsiteY466" fmla="*/ 288613 h 1261310"/>
                    <a:gd name="connsiteX467" fmla="*/ 1501960 w 1559298"/>
                    <a:gd name="connsiteY467" fmla="*/ 289536 h 1261310"/>
                    <a:gd name="connsiteX468" fmla="*/ 1501912 w 1559298"/>
                    <a:gd name="connsiteY468" fmla="*/ 290507 h 1261310"/>
                    <a:gd name="connsiteX469" fmla="*/ 1501729 w 1559298"/>
                    <a:gd name="connsiteY469" fmla="*/ 291601 h 1261310"/>
                    <a:gd name="connsiteX470" fmla="*/ 1501401 w 1559298"/>
                    <a:gd name="connsiteY470" fmla="*/ 300185 h 1261310"/>
                    <a:gd name="connsiteX471" fmla="*/ 1501669 w 1559298"/>
                    <a:gd name="connsiteY471" fmla="*/ 301679 h 1261310"/>
                    <a:gd name="connsiteX472" fmla="*/ 1502191 w 1559298"/>
                    <a:gd name="connsiteY472" fmla="*/ 302857 h 1261310"/>
                    <a:gd name="connsiteX473" fmla="*/ 1502895 w 1559298"/>
                    <a:gd name="connsiteY473" fmla="*/ 303695 h 1261310"/>
                    <a:gd name="connsiteX474" fmla="*/ 1504024 w 1559298"/>
                    <a:gd name="connsiteY474" fmla="*/ 305941 h 1261310"/>
                    <a:gd name="connsiteX475" fmla="*/ 1503223 w 1559298"/>
                    <a:gd name="connsiteY475" fmla="*/ 308248 h 1261310"/>
                    <a:gd name="connsiteX476" fmla="*/ 1501960 w 1559298"/>
                    <a:gd name="connsiteY476" fmla="*/ 310300 h 1261310"/>
                    <a:gd name="connsiteX477" fmla="*/ 1500697 w 1559298"/>
                    <a:gd name="connsiteY477" fmla="*/ 313519 h 1261310"/>
                    <a:gd name="connsiteX478" fmla="*/ 1500187 w 1559298"/>
                    <a:gd name="connsiteY478" fmla="*/ 315315 h 1261310"/>
                    <a:gd name="connsiteX479" fmla="*/ 1499665 w 1559298"/>
                    <a:gd name="connsiteY479" fmla="*/ 327641 h 1261310"/>
                    <a:gd name="connsiteX480" fmla="*/ 1499908 w 1559298"/>
                    <a:gd name="connsiteY480" fmla="*/ 330774 h 1261310"/>
                    <a:gd name="connsiteX481" fmla="*/ 1500588 w 1559298"/>
                    <a:gd name="connsiteY481" fmla="*/ 333481 h 1261310"/>
                    <a:gd name="connsiteX482" fmla="*/ 1501401 w 1559298"/>
                    <a:gd name="connsiteY482" fmla="*/ 335424 h 1261310"/>
                    <a:gd name="connsiteX483" fmla="*/ 1502421 w 1559298"/>
                    <a:gd name="connsiteY483" fmla="*/ 339104 h 1261310"/>
                    <a:gd name="connsiteX484" fmla="*/ 1502470 w 1559298"/>
                    <a:gd name="connsiteY484" fmla="*/ 340937 h 1261310"/>
                    <a:gd name="connsiteX485" fmla="*/ 1501669 w 1559298"/>
                    <a:gd name="connsiteY485" fmla="*/ 342370 h 1261310"/>
                    <a:gd name="connsiteX486" fmla="*/ 1500467 w 1559298"/>
                    <a:gd name="connsiteY486" fmla="*/ 342977 h 1261310"/>
                    <a:gd name="connsiteX487" fmla="*/ 1496617 w 1559298"/>
                    <a:gd name="connsiteY487" fmla="*/ 344349 h 1261310"/>
                    <a:gd name="connsiteX488" fmla="*/ 1494796 w 1559298"/>
                    <a:gd name="connsiteY488" fmla="*/ 345321 h 1261310"/>
                    <a:gd name="connsiteX489" fmla="*/ 1492780 w 1559298"/>
                    <a:gd name="connsiteY489" fmla="*/ 346875 h 1261310"/>
                    <a:gd name="connsiteX490" fmla="*/ 1487607 w 1559298"/>
                    <a:gd name="connsiteY490" fmla="*/ 351781 h 1261310"/>
                    <a:gd name="connsiteX491" fmla="*/ 1485142 w 1559298"/>
                    <a:gd name="connsiteY491" fmla="*/ 353420 h 1261310"/>
                    <a:gd name="connsiteX492" fmla="*/ 1482726 w 1559298"/>
                    <a:gd name="connsiteY492" fmla="*/ 354282 h 1261310"/>
                    <a:gd name="connsiteX493" fmla="*/ 1480710 w 1559298"/>
                    <a:gd name="connsiteY493" fmla="*/ 354683 h 1261310"/>
                    <a:gd name="connsiteX494" fmla="*/ 1470048 w 1559298"/>
                    <a:gd name="connsiteY494" fmla="*/ 355764 h 1261310"/>
                    <a:gd name="connsiteX495" fmla="*/ 1467681 w 1559298"/>
                    <a:gd name="connsiteY495" fmla="*/ 356541 h 1261310"/>
                    <a:gd name="connsiteX496" fmla="*/ 1465847 w 1559298"/>
                    <a:gd name="connsiteY496" fmla="*/ 357804 h 1261310"/>
                    <a:gd name="connsiteX497" fmla="*/ 1464523 w 1559298"/>
                    <a:gd name="connsiteY497" fmla="*/ 360305 h 1261310"/>
                    <a:gd name="connsiteX498" fmla="*/ 1464353 w 1559298"/>
                    <a:gd name="connsiteY498" fmla="*/ 362588 h 1261310"/>
                    <a:gd name="connsiteX499" fmla="*/ 1464523 w 1559298"/>
                    <a:gd name="connsiteY499" fmla="*/ 364713 h 1261310"/>
                    <a:gd name="connsiteX500" fmla="*/ 1464475 w 1559298"/>
                    <a:gd name="connsiteY500" fmla="*/ 367494 h 1261310"/>
                    <a:gd name="connsiteX501" fmla="*/ 1462629 w 1559298"/>
                    <a:gd name="connsiteY501" fmla="*/ 373747 h 1261310"/>
                    <a:gd name="connsiteX502" fmla="*/ 1462629 w 1559298"/>
                    <a:gd name="connsiteY502" fmla="*/ 375703 h 1261310"/>
                    <a:gd name="connsiteX503" fmla="*/ 1463382 w 1559298"/>
                    <a:gd name="connsiteY503" fmla="*/ 376941 h 1261310"/>
                    <a:gd name="connsiteX504" fmla="*/ 1464924 w 1559298"/>
                    <a:gd name="connsiteY504" fmla="*/ 377463 h 1261310"/>
                    <a:gd name="connsiteX505" fmla="*/ 1480030 w 1559298"/>
                    <a:gd name="connsiteY505" fmla="*/ 378289 h 1261310"/>
                    <a:gd name="connsiteX506" fmla="*/ 1481524 w 1559298"/>
                    <a:gd name="connsiteY506" fmla="*/ 378568 h 1261310"/>
                    <a:gd name="connsiteX507" fmla="*/ 1482835 w 1559298"/>
                    <a:gd name="connsiteY507" fmla="*/ 378969 h 1261310"/>
                    <a:gd name="connsiteX508" fmla="*/ 1484450 w 1559298"/>
                    <a:gd name="connsiteY508" fmla="*/ 379661 h 1261310"/>
                    <a:gd name="connsiteX509" fmla="*/ 1488700 w 1559298"/>
                    <a:gd name="connsiteY509" fmla="*/ 391719 h 1261310"/>
                    <a:gd name="connsiteX510" fmla="*/ 1489441 w 1559298"/>
                    <a:gd name="connsiteY510" fmla="*/ 396564 h 1261310"/>
                    <a:gd name="connsiteX511" fmla="*/ 1489161 w 1559298"/>
                    <a:gd name="connsiteY511" fmla="*/ 398920 h 1261310"/>
                    <a:gd name="connsiteX512" fmla="*/ 1488931 w 1559298"/>
                    <a:gd name="connsiteY512" fmla="*/ 399855 h 1261310"/>
                    <a:gd name="connsiteX513" fmla="*/ 1488469 w 1559298"/>
                    <a:gd name="connsiteY513" fmla="*/ 401118 h 1261310"/>
                    <a:gd name="connsiteX514" fmla="*/ 1487158 w 1559298"/>
                    <a:gd name="connsiteY514" fmla="*/ 406169 h 1261310"/>
                    <a:gd name="connsiteX515" fmla="*/ 1485992 w 1559298"/>
                    <a:gd name="connsiteY515" fmla="*/ 416758 h 1261310"/>
                    <a:gd name="connsiteX516" fmla="*/ 1485300 w 1559298"/>
                    <a:gd name="connsiteY516" fmla="*/ 419660 h 1261310"/>
                    <a:gd name="connsiteX517" fmla="*/ 1484559 w 1559298"/>
                    <a:gd name="connsiteY517" fmla="*/ 421433 h 1261310"/>
                    <a:gd name="connsiteX518" fmla="*/ 1483588 w 1559298"/>
                    <a:gd name="connsiteY518" fmla="*/ 421870 h 1261310"/>
                    <a:gd name="connsiteX519" fmla="*/ 1482264 w 1559298"/>
                    <a:gd name="connsiteY519" fmla="*/ 421919 h 1261310"/>
                    <a:gd name="connsiteX520" fmla="*/ 1480491 w 1559298"/>
                    <a:gd name="connsiteY520" fmla="*/ 421664 h 1261310"/>
                    <a:gd name="connsiteX521" fmla="*/ 1478415 w 1559298"/>
                    <a:gd name="connsiteY521" fmla="*/ 420935 h 1261310"/>
                    <a:gd name="connsiteX522" fmla="*/ 1472562 w 1559298"/>
                    <a:gd name="connsiteY522" fmla="*/ 417948 h 1261310"/>
                    <a:gd name="connsiteX523" fmla="*/ 1471238 w 1559298"/>
                    <a:gd name="connsiteY523" fmla="*/ 417462 h 1261310"/>
                    <a:gd name="connsiteX524" fmla="*/ 1469745 w 1559298"/>
                    <a:gd name="connsiteY524" fmla="*/ 418008 h 1261310"/>
                    <a:gd name="connsiteX525" fmla="*/ 1468373 w 1559298"/>
                    <a:gd name="connsiteY525" fmla="*/ 419393 h 1261310"/>
                    <a:gd name="connsiteX526" fmla="*/ 1465847 w 1559298"/>
                    <a:gd name="connsiteY526" fmla="*/ 423193 h 1261310"/>
                    <a:gd name="connsiteX527" fmla="*/ 1464985 w 1559298"/>
                    <a:gd name="connsiteY527" fmla="*/ 425173 h 1261310"/>
                    <a:gd name="connsiteX528" fmla="*/ 1464693 w 1559298"/>
                    <a:gd name="connsiteY528" fmla="*/ 426873 h 1261310"/>
                    <a:gd name="connsiteX529" fmla="*/ 1465094 w 1559298"/>
                    <a:gd name="connsiteY529" fmla="*/ 427759 h 1261310"/>
                    <a:gd name="connsiteX530" fmla="*/ 1465968 w 1559298"/>
                    <a:gd name="connsiteY530" fmla="*/ 428585 h 1261310"/>
                    <a:gd name="connsiteX531" fmla="*/ 1466940 w 1559298"/>
                    <a:gd name="connsiteY531" fmla="*/ 429204 h 1261310"/>
                    <a:gd name="connsiteX532" fmla="*/ 1468312 w 1559298"/>
                    <a:gd name="connsiteY532" fmla="*/ 429654 h 1261310"/>
                    <a:gd name="connsiteX533" fmla="*/ 1473716 w 1559298"/>
                    <a:gd name="connsiteY533" fmla="*/ 430540 h 1261310"/>
                    <a:gd name="connsiteX534" fmla="*/ 1475100 w 1559298"/>
                    <a:gd name="connsiteY534" fmla="*/ 431087 h 1261310"/>
                    <a:gd name="connsiteX535" fmla="*/ 1475901 w 1559298"/>
                    <a:gd name="connsiteY535" fmla="*/ 432033 h 1261310"/>
                    <a:gd name="connsiteX536" fmla="*/ 1476132 w 1559298"/>
                    <a:gd name="connsiteY536" fmla="*/ 434219 h 1261310"/>
                    <a:gd name="connsiteX537" fmla="*/ 1475549 w 1559298"/>
                    <a:gd name="connsiteY537" fmla="*/ 435980 h 1261310"/>
                    <a:gd name="connsiteX538" fmla="*/ 1474796 w 1559298"/>
                    <a:gd name="connsiteY538" fmla="*/ 437437 h 1261310"/>
                    <a:gd name="connsiteX539" fmla="*/ 1474116 w 1559298"/>
                    <a:gd name="connsiteY539" fmla="*/ 438360 h 1261310"/>
                    <a:gd name="connsiteX540" fmla="*/ 1473424 w 1559298"/>
                    <a:gd name="connsiteY540" fmla="*/ 439076 h 1261310"/>
                    <a:gd name="connsiteX541" fmla="*/ 1471809 w 1559298"/>
                    <a:gd name="connsiteY541" fmla="*/ 440254 h 1261310"/>
                    <a:gd name="connsiteX542" fmla="*/ 1468834 w 1559298"/>
                    <a:gd name="connsiteY542" fmla="*/ 441723 h 1261310"/>
                    <a:gd name="connsiteX543" fmla="*/ 1465276 w 1559298"/>
                    <a:gd name="connsiteY543" fmla="*/ 442914 h 1261310"/>
                    <a:gd name="connsiteX544" fmla="*/ 1463382 w 1559298"/>
                    <a:gd name="connsiteY544" fmla="*/ 443824 h 1261310"/>
                    <a:gd name="connsiteX545" fmla="*/ 1462046 w 1559298"/>
                    <a:gd name="connsiteY545" fmla="*/ 445136 h 1261310"/>
                    <a:gd name="connsiteX546" fmla="*/ 1461658 w 1559298"/>
                    <a:gd name="connsiteY546" fmla="*/ 446508 h 1261310"/>
                    <a:gd name="connsiteX547" fmla="*/ 1462107 w 1559298"/>
                    <a:gd name="connsiteY547" fmla="*/ 448147 h 1261310"/>
                    <a:gd name="connsiteX548" fmla="*/ 1463661 w 1559298"/>
                    <a:gd name="connsiteY548" fmla="*/ 449240 h 1261310"/>
                    <a:gd name="connsiteX549" fmla="*/ 1465908 w 1559298"/>
                    <a:gd name="connsiteY549" fmla="*/ 450163 h 1261310"/>
                    <a:gd name="connsiteX550" fmla="*/ 1470959 w 1559298"/>
                    <a:gd name="connsiteY550" fmla="*/ 451341 h 1261310"/>
                    <a:gd name="connsiteX551" fmla="*/ 1473024 w 1559298"/>
                    <a:gd name="connsiteY551" fmla="*/ 451571 h 1261310"/>
                    <a:gd name="connsiteX552" fmla="*/ 1474736 w 1559298"/>
                    <a:gd name="connsiteY552" fmla="*/ 451523 h 1261310"/>
                    <a:gd name="connsiteX553" fmla="*/ 1475780 w 1559298"/>
                    <a:gd name="connsiteY553" fmla="*/ 451207 h 1261310"/>
                    <a:gd name="connsiteX554" fmla="*/ 1476351 w 1559298"/>
                    <a:gd name="connsiteY554" fmla="*/ 450600 h 1261310"/>
                    <a:gd name="connsiteX555" fmla="*/ 1476533 w 1559298"/>
                    <a:gd name="connsiteY555" fmla="*/ 449993 h 1261310"/>
                    <a:gd name="connsiteX556" fmla="*/ 1476472 w 1559298"/>
                    <a:gd name="connsiteY556" fmla="*/ 449192 h 1261310"/>
                    <a:gd name="connsiteX557" fmla="*/ 1476351 w 1559298"/>
                    <a:gd name="connsiteY557" fmla="*/ 448196 h 1261310"/>
                    <a:gd name="connsiteX558" fmla="*/ 1476290 w 1559298"/>
                    <a:gd name="connsiteY558" fmla="*/ 447273 h 1261310"/>
                    <a:gd name="connsiteX559" fmla="*/ 1476411 w 1559298"/>
                    <a:gd name="connsiteY559" fmla="*/ 446302 h 1261310"/>
                    <a:gd name="connsiteX560" fmla="*/ 1476812 w 1559298"/>
                    <a:gd name="connsiteY560" fmla="*/ 445123 h 1261310"/>
                    <a:gd name="connsiteX561" fmla="*/ 1477662 w 1559298"/>
                    <a:gd name="connsiteY561" fmla="*/ 443861 h 1261310"/>
                    <a:gd name="connsiteX562" fmla="*/ 1478876 w 1559298"/>
                    <a:gd name="connsiteY562" fmla="*/ 442853 h 1261310"/>
                    <a:gd name="connsiteX563" fmla="*/ 1480431 w 1559298"/>
                    <a:gd name="connsiteY563" fmla="*/ 442100 h 1261310"/>
                    <a:gd name="connsiteX564" fmla="*/ 1482204 w 1559298"/>
                    <a:gd name="connsiteY564" fmla="*/ 441796 h 1261310"/>
                    <a:gd name="connsiteX565" fmla="*/ 1484049 w 1559298"/>
                    <a:gd name="connsiteY565" fmla="*/ 441978 h 1261310"/>
                    <a:gd name="connsiteX566" fmla="*/ 1485822 w 1559298"/>
                    <a:gd name="connsiteY566" fmla="*/ 442853 h 1261310"/>
                    <a:gd name="connsiteX567" fmla="*/ 1487097 w 1559298"/>
                    <a:gd name="connsiteY567" fmla="*/ 444589 h 1261310"/>
                    <a:gd name="connsiteX568" fmla="*/ 1487838 w 1559298"/>
                    <a:gd name="connsiteY568" fmla="*/ 446472 h 1261310"/>
                    <a:gd name="connsiteX569" fmla="*/ 1489623 w 1559298"/>
                    <a:gd name="connsiteY569" fmla="*/ 453721 h 1261310"/>
                    <a:gd name="connsiteX570" fmla="*/ 1490995 w 1559298"/>
                    <a:gd name="connsiteY570" fmla="*/ 456732 h 1261310"/>
                    <a:gd name="connsiteX571" fmla="*/ 1492719 w 1559298"/>
                    <a:gd name="connsiteY571" fmla="*/ 458894 h 1261310"/>
                    <a:gd name="connsiteX572" fmla="*/ 1495063 w 1559298"/>
                    <a:gd name="connsiteY572" fmla="*/ 460812 h 1261310"/>
                    <a:gd name="connsiteX573" fmla="*/ 1497479 w 1559298"/>
                    <a:gd name="connsiteY573" fmla="*/ 461820 h 1261310"/>
                    <a:gd name="connsiteX574" fmla="*/ 1504717 w 1559298"/>
                    <a:gd name="connsiteY574" fmla="*/ 463484 h 1261310"/>
                    <a:gd name="connsiteX575" fmla="*/ 1506841 w 1559298"/>
                    <a:gd name="connsiteY575" fmla="*/ 464237 h 1261310"/>
                    <a:gd name="connsiteX576" fmla="*/ 1508554 w 1559298"/>
                    <a:gd name="connsiteY576" fmla="*/ 465269 h 1261310"/>
                    <a:gd name="connsiteX577" fmla="*/ 1510169 w 1559298"/>
                    <a:gd name="connsiteY577" fmla="*/ 466641 h 1261310"/>
                    <a:gd name="connsiteX578" fmla="*/ 1511662 w 1559298"/>
                    <a:gd name="connsiteY578" fmla="*/ 469045 h 1261310"/>
                    <a:gd name="connsiteX579" fmla="*/ 1513447 w 1559298"/>
                    <a:gd name="connsiteY579" fmla="*/ 479646 h 1261310"/>
                    <a:gd name="connsiteX580" fmla="*/ 1514649 w 1559298"/>
                    <a:gd name="connsiteY580" fmla="*/ 482451 h 1261310"/>
                    <a:gd name="connsiteX581" fmla="*/ 1516495 w 1559298"/>
                    <a:gd name="connsiteY581" fmla="*/ 484430 h 1261310"/>
                    <a:gd name="connsiteX582" fmla="*/ 1518669 w 1559298"/>
                    <a:gd name="connsiteY582" fmla="*/ 485414 h 1261310"/>
                    <a:gd name="connsiteX583" fmla="*/ 1527691 w 1559298"/>
                    <a:gd name="connsiteY583" fmla="*/ 487842 h 1261310"/>
                    <a:gd name="connsiteX584" fmla="*/ 1530557 w 1559298"/>
                    <a:gd name="connsiteY584" fmla="*/ 489190 h 1261310"/>
                    <a:gd name="connsiteX585" fmla="*/ 1536191 w 1559298"/>
                    <a:gd name="connsiteY585" fmla="*/ 493440 h 1261310"/>
                    <a:gd name="connsiteX586" fmla="*/ 1537733 w 1559298"/>
                    <a:gd name="connsiteY586" fmla="*/ 493902 h 1261310"/>
                    <a:gd name="connsiteX587" fmla="*/ 1539166 w 1559298"/>
                    <a:gd name="connsiteY587" fmla="*/ 493962 h 1261310"/>
                    <a:gd name="connsiteX588" fmla="*/ 1540781 w 1559298"/>
                    <a:gd name="connsiteY588" fmla="*/ 494242 h 1261310"/>
                    <a:gd name="connsiteX589" fmla="*/ 1542153 w 1559298"/>
                    <a:gd name="connsiteY589" fmla="*/ 495007 h 1261310"/>
                    <a:gd name="connsiteX590" fmla="*/ 1545262 w 1559298"/>
                    <a:gd name="connsiteY590" fmla="*/ 498237 h 1261310"/>
                    <a:gd name="connsiteX591" fmla="*/ 1549682 w 1559298"/>
                    <a:gd name="connsiteY591" fmla="*/ 502050 h 1261310"/>
                    <a:gd name="connsiteX592" fmla="*/ 1552608 w 1559298"/>
                    <a:gd name="connsiteY592" fmla="*/ 506433 h 1261310"/>
                    <a:gd name="connsiteX593" fmla="*/ 1553179 w 1559298"/>
                    <a:gd name="connsiteY593" fmla="*/ 509542 h 1261310"/>
                    <a:gd name="connsiteX594" fmla="*/ 1552900 w 1559298"/>
                    <a:gd name="connsiteY594" fmla="*/ 512736 h 1261310"/>
                    <a:gd name="connsiteX595" fmla="*/ 1551685 w 1559298"/>
                    <a:gd name="connsiteY595" fmla="*/ 515346 h 1261310"/>
                    <a:gd name="connsiteX596" fmla="*/ 1550192 w 1559298"/>
                    <a:gd name="connsiteY596" fmla="*/ 517471 h 1261310"/>
                    <a:gd name="connsiteX597" fmla="*/ 1548006 w 1559298"/>
                    <a:gd name="connsiteY597" fmla="*/ 519147 h 1261310"/>
                    <a:gd name="connsiteX598" fmla="*/ 1545140 w 1559298"/>
                    <a:gd name="connsiteY598" fmla="*/ 520082 h 1261310"/>
                    <a:gd name="connsiteX599" fmla="*/ 1539749 w 1559298"/>
                    <a:gd name="connsiteY599" fmla="*/ 520713 h 1261310"/>
                    <a:gd name="connsiteX600" fmla="*/ 1537563 w 1559298"/>
                    <a:gd name="connsiteY600" fmla="*/ 521272 h 1261310"/>
                    <a:gd name="connsiteX601" fmla="*/ 1536070 w 1559298"/>
                    <a:gd name="connsiteY601" fmla="*/ 522243 h 1261310"/>
                    <a:gd name="connsiteX602" fmla="*/ 1535487 w 1559298"/>
                    <a:gd name="connsiteY602" fmla="*/ 524016 h 1261310"/>
                    <a:gd name="connsiteX603" fmla="*/ 1536009 w 1559298"/>
                    <a:gd name="connsiteY603" fmla="*/ 525595 h 1261310"/>
                    <a:gd name="connsiteX604" fmla="*/ 1539348 w 1559298"/>
                    <a:gd name="connsiteY604" fmla="*/ 530076 h 1261310"/>
                    <a:gd name="connsiteX605" fmla="*/ 1541012 w 1559298"/>
                    <a:gd name="connsiteY605" fmla="*/ 533512 h 1261310"/>
                    <a:gd name="connsiteX606" fmla="*/ 1540781 w 1559298"/>
                    <a:gd name="connsiteY606" fmla="*/ 535698 h 1261310"/>
                    <a:gd name="connsiteX607" fmla="*/ 1539288 w 1559298"/>
                    <a:gd name="connsiteY607" fmla="*/ 537288 h 1261310"/>
                    <a:gd name="connsiteX608" fmla="*/ 1532050 w 1559298"/>
                    <a:gd name="connsiteY608" fmla="*/ 540094 h 1261310"/>
                    <a:gd name="connsiteX609" fmla="*/ 1527691 w 1559298"/>
                    <a:gd name="connsiteY609" fmla="*/ 542643 h 1261310"/>
                    <a:gd name="connsiteX610" fmla="*/ 1525845 w 1559298"/>
                    <a:gd name="connsiteY610" fmla="*/ 544113 h 1261310"/>
                    <a:gd name="connsiteX611" fmla="*/ 1523210 w 1559298"/>
                    <a:gd name="connsiteY611" fmla="*/ 546517 h 1261310"/>
                    <a:gd name="connsiteX612" fmla="*/ 1520855 w 1559298"/>
                    <a:gd name="connsiteY612" fmla="*/ 549286 h 1261310"/>
                    <a:gd name="connsiteX613" fmla="*/ 1520114 w 1559298"/>
                    <a:gd name="connsiteY613" fmla="*/ 549820 h 1261310"/>
                    <a:gd name="connsiteX614" fmla="*/ 1519361 w 1559298"/>
                    <a:gd name="connsiteY614" fmla="*/ 549626 h 1261310"/>
                    <a:gd name="connsiteX615" fmla="*/ 1518207 w 1559298"/>
                    <a:gd name="connsiteY615" fmla="*/ 546493 h 1261310"/>
                    <a:gd name="connsiteX616" fmla="*/ 1514370 w 1559298"/>
                    <a:gd name="connsiteY616" fmla="*/ 540166 h 1261310"/>
                    <a:gd name="connsiteX617" fmla="*/ 1512476 w 1559298"/>
                    <a:gd name="connsiteY617" fmla="*/ 538163 h 1261310"/>
                    <a:gd name="connsiteX618" fmla="*/ 1507424 w 1559298"/>
                    <a:gd name="connsiteY618" fmla="*/ 537981 h 1261310"/>
                    <a:gd name="connsiteX619" fmla="*/ 1503806 w 1559298"/>
                    <a:gd name="connsiteY619" fmla="*/ 539073 h 1261310"/>
                    <a:gd name="connsiteX620" fmla="*/ 1500758 w 1559298"/>
                    <a:gd name="connsiteY620" fmla="*/ 538734 h 1261310"/>
                    <a:gd name="connsiteX621" fmla="*/ 1497540 w 1559298"/>
                    <a:gd name="connsiteY621" fmla="*/ 534229 h 1261310"/>
                    <a:gd name="connsiteX622" fmla="*/ 1495063 w 1559298"/>
                    <a:gd name="connsiteY622" fmla="*/ 526408 h 1261310"/>
                    <a:gd name="connsiteX623" fmla="*/ 1493011 w 1559298"/>
                    <a:gd name="connsiteY623" fmla="*/ 524429 h 1261310"/>
                    <a:gd name="connsiteX624" fmla="*/ 1488761 w 1559298"/>
                    <a:gd name="connsiteY624" fmla="*/ 525437 h 1261310"/>
                    <a:gd name="connsiteX625" fmla="*/ 1486745 w 1559298"/>
                    <a:gd name="connsiteY625" fmla="*/ 527052 h 1261310"/>
                    <a:gd name="connsiteX626" fmla="*/ 1483709 w 1559298"/>
                    <a:gd name="connsiteY626" fmla="*/ 531581 h 1261310"/>
                    <a:gd name="connsiteX627" fmla="*/ 1481924 w 1559298"/>
                    <a:gd name="connsiteY627" fmla="*/ 533561 h 1261310"/>
                    <a:gd name="connsiteX628" fmla="*/ 1480309 w 1559298"/>
                    <a:gd name="connsiteY628" fmla="*/ 534483 h 1261310"/>
                    <a:gd name="connsiteX629" fmla="*/ 1476812 w 1559298"/>
                    <a:gd name="connsiteY629" fmla="*/ 535662 h 1261310"/>
                    <a:gd name="connsiteX630" fmla="*/ 1475148 w 1559298"/>
                    <a:gd name="connsiteY630" fmla="*/ 536791 h 1261310"/>
                    <a:gd name="connsiteX631" fmla="*/ 1473303 w 1559298"/>
                    <a:gd name="connsiteY631" fmla="*/ 539243 h 1261310"/>
                    <a:gd name="connsiteX632" fmla="*/ 1470558 w 1559298"/>
                    <a:gd name="connsiteY632" fmla="*/ 545254 h 1261310"/>
                    <a:gd name="connsiteX633" fmla="*/ 1468834 w 1559298"/>
                    <a:gd name="connsiteY633" fmla="*/ 547780 h 1261310"/>
                    <a:gd name="connsiteX634" fmla="*/ 1466940 w 1559298"/>
                    <a:gd name="connsiteY634" fmla="*/ 549091 h 1261310"/>
                    <a:gd name="connsiteX635" fmla="*/ 1462568 w 1559298"/>
                    <a:gd name="connsiteY635" fmla="*/ 550864 h 1261310"/>
                    <a:gd name="connsiteX636" fmla="*/ 1460965 w 1559298"/>
                    <a:gd name="connsiteY636" fmla="*/ 551982 h 1261310"/>
                    <a:gd name="connsiteX637" fmla="*/ 1459423 w 1559298"/>
                    <a:gd name="connsiteY637" fmla="*/ 555151 h 1261310"/>
                    <a:gd name="connsiteX638" fmla="*/ 1454930 w 1559298"/>
                    <a:gd name="connsiteY638" fmla="*/ 571252 h 1261310"/>
                    <a:gd name="connsiteX639" fmla="*/ 1454469 w 1559298"/>
                    <a:gd name="connsiteY639" fmla="*/ 574021 h 1261310"/>
                    <a:gd name="connsiteX640" fmla="*/ 1453728 w 1559298"/>
                    <a:gd name="connsiteY640" fmla="*/ 577858 h 1261310"/>
                    <a:gd name="connsiteX641" fmla="*/ 1449879 w 1559298"/>
                    <a:gd name="connsiteY641" fmla="*/ 584828 h 1261310"/>
                    <a:gd name="connsiteX642" fmla="*/ 1439436 w 1559298"/>
                    <a:gd name="connsiteY642" fmla="*/ 596922 h 1261310"/>
                    <a:gd name="connsiteX643" fmla="*/ 1435927 w 1559298"/>
                    <a:gd name="connsiteY643" fmla="*/ 604670 h 1261310"/>
                    <a:gd name="connsiteX644" fmla="*/ 1435866 w 1559298"/>
                    <a:gd name="connsiteY644" fmla="*/ 610996 h 1261310"/>
                    <a:gd name="connsiteX645" fmla="*/ 1438222 w 1559298"/>
                    <a:gd name="connsiteY645" fmla="*/ 616193 h 1261310"/>
                    <a:gd name="connsiteX646" fmla="*/ 1449478 w 1559298"/>
                    <a:gd name="connsiteY646" fmla="*/ 629684 h 1261310"/>
                    <a:gd name="connsiteX647" fmla="*/ 1450462 w 1559298"/>
                    <a:gd name="connsiteY647" fmla="*/ 633534 h 1261310"/>
                    <a:gd name="connsiteX648" fmla="*/ 1448507 w 1559298"/>
                    <a:gd name="connsiteY648" fmla="*/ 636945 h 1261310"/>
                    <a:gd name="connsiteX649" fmla="*/ 1436510 w 1559298"/>
                    <a:gd name="connsiteY649" fmla="*/ 644013 h 1261310"/>
                    <a:gd name="connsiteX650" fmla="*/ 1434834 w 1559298"/>
                    <a:gd name="connsiteY650" fmla="*/ 645701 h 1261310"/>
                    <a:gd name="connsiteX651" fmla="*/ 1433802 w 1559298"/>
                    <a:gd name="connsiteY651" fmla="*/ 648178 h 1261310"/>
                    <a:gd name="connsiteX652" fmla="*/ 1433984 w 1559298"/>
                    <a:gd name="connsiteY652" fmla="*/ 650339 h 1261310"/>
                    <a:gd name="connsiteX653" fmla="*/ 1434615 w 1559298"/>
                    <a:gd name="connsiteY653" fmla="*/ 652792 h 1261310"/>
                    <a:gd name="connsiteX654" fmla="*/ 1435599 w 1559298"/>
                    <a:gd name="connsiteY654" fmla="*/ 656144 h 1261310"/>
                    <a:gd name="connsiteX655" fmla="*/ 1435040 w 1559298"/>
                    <a:gd name="connsiteY655" fmla="*/ 656277 h 1261310"/>
                    <a:gd name="connsiteX656" fmla="*/ 1431519 w 1559298"/>
                    <a:gd name="connsiteY656" fmla="*/ 658827 h 1261310"/>
                    <a:gd name="connsiteX657" fmla="*/ 1429685 w 1559298"/>
                    <a:gd name="connsiteY657" fmla="*/ 659447 h 1261310"/>
                    <a:gd name="connsiteX658" fmla="*/ 1416146 w 1559298"/>
                    <a:gd name="connsiteY658" fmla="*/ 660879 h 1261310"/>
                    <a:gd name="connsiteX659" fmla="*/ 1401319 w 1559298"/>
                    <a:gd name="connsiteY659" fmla="*/ 659447 h 1261310"/>
                    <a:gd name="connsiteX660" fmla="*/ 1400129 w 1559298"/>
                    <a:gd name="connsiteY660" fmla="*/ 658669 h 1261310"/>
                    <a:gd name="connsiteX661" fmla="*/ 1396839 w 1559298"/>
                    <a:gd name="connsiteY661" fmla="*/ 652926 h 1261310"/>
                    <a:gd name="connsiteX662" fmla="*/ 1395697 w 1559298"/>
                    <a:gd name="connsiteY662" fmla="*/ 651772 h 1261310"/>
                    <a:gd name="connsiteX663" fmla="*/ 1391726 w 1559298"/>
                    <a:gd name="connsiteY663" fmla="*/ 648822 h 1261310"/>
                    <a:gd name="connsiteX664" fmla="*/ 1384672 w 1559298"/>
                    <a:gd name="connsiteY664" fmla="*/ 642301 h 1261310"/>
                    <a:gd name="connsiteX665" fmla="*/ 1378357 w 1559298"/>
                    <a:gd name="connsiteY665" fmla="*/ 640200 h 1261310"/>
                    <a:gd name="connsiteX666" fmla="*/ 1369056 w 1559298"/>
                    <a:gd name="connsiteY666" fmla="*/ 634699 h 1261310"/>
                    <a:gd name="connsiteX667" fmla="*/ 1368764 w 1559298"/>
                    <a:gd name="connsiteY667" fmla="*/ 634383 h 1261310"/>
                    <a:gd name="connsiteX668" fmla="*/ 1374969 w 1559298"/>
                    <a:gd name="connsiteY668" fmla="*/ 628785 h 1261310"/>
                    <a:gd name="connsiteX669" fmla="*/ 1376912 w 1559298"/>
                    <a:gd name="connsiteY669" fmla="*/ 626490 h 1261310"/>
                    <a:gd name="connsiteX670" fmla="*/ 1377604 w 1559298"/>
                    <a:gd name="connsiteY670" fmla="*/ 622933 h 1261310"/>
                    <a:gd name="connsiteX671" fmla="*/ 1377726 w 1559298"/>
                    <a:gd name="connsiteY671" fmla="*/ 613218 h 1261310"/>
                    <a:gd name="connsiteX672" fmla="*/ 1375831 w 1559298"/>
                    <a:gd name="connsiteY672" fmla="*/ 606831 h 1261310"/>
                    <a:gd name="connsiteX673" fmla="*/ 1373415 w 1559298"/>
                    <a:gd name="connsiteY673" fmla="*/ 593280 h 1261310"/>
                    <a:gd name="connsiteX674" fmla="*/ 1371861 w 1559298"/>
                    <a:gd name="connsiteY674" fmla="*/ 590353 h 1261310"/>
                    <a:gd name="connsiteX675" fmla="*/ 1362207 w 1559298"/>
                    <a:gd name="connsiteY675" fmla="*/ 592539 h 1261310"/>
                    <a:gd name="connsiteX676" fmla="*/ 1358953 w 1559298"/>
                    <a:gd name="connsiteY676" fmla="*/ 591276 h 1261310"/>
                    <a:gd name="connsiteX677" fmla="*/ 1358430 w 1559298"/>
                    <a:gd name="connsiteY677" fmla="*/ 585047 h 1261310"/>
                    <a:gd name="connsiteX678" fmla="*/ 1360434 w 1559298"/>
                    <a:gd name="connsiteY678" fmla="*/ 579364 h 1261310"/>
                    <a:gd name="connsiteX679" fmla="*/ 1364393 w 1559298"/>
                    <a:gd name="connsiteY679" fmla="*/ 574070 h 1261310"/>
                    <a:gd name="connsiteX680" fmla="*/ 1369165 w 1559298"/>
                    <a:gd name="connsiteY680" fmla="*/ 569990 h 1261310"/>
                    <a:gd name="connsiteX681" fmla="*/ 1373828 w 1559298"/>
                    <a:gd name="connsiteY681" fmla="*/ 567901 h 1261310"/>
                    <a:gd name="connsiteX682" fmla="*/ 1372213 w 1559298"/>
                    <a:gd name="connsiteY682" fmla="*/ 563566 h 1261310"/>
                    <a:gd name="connsiteX683" fmla="*/ 1371302 w 1559298"/>
                    <a:gd name="connsiteY683" fmla="*/ 559607 h 1261310"/>
                    <a:gd name="connsiteX684" fmla="*/ 1371059 w 1559298"/>
                    <a:gd name="connsiteY684" fmla="*/ 555904 h 1261310"/>
                    <a:gd name="connsiteX685" fmla="*/ 1371399 w 1559298"/>
                    <a:gd name="connsiteY685" fmla="*/ 552334 h 1261310"/>
                    <a:gd name="connsiteX686" fmla="*/ 1370950 w 1559298"/>
                    <a:gd name="connsiteY686" fmla="*/ 550124 h 1261310"/>
                    <a:gd name="connsiteX687" fmla="*/ 1370998 w 1559298"/>
                    <a:gd name="connsiteY687" fmla="*/ 549456 h 1261310"/>
                    <a:gd name="connsiteX688" fmla="*/ 1371302 w 1559298"/>
                    <a:gd name="connsiteY688" fmla="*/ 548254 h 1261310"/>
                    <a:gd name="connsiteX689" fmla="*/ 1371861 w 1559298"/>
                    <a:gd name="connsiteY689" fmla="*/ 547476 h 1261310"/>
                    <a:gd name="connsiteX690" fmla="*/ 1374216 w 1559298"/>
                    <a:gd name="connsiteY690" fmla="*/ 545618 h 1261310"/>
                    <a:gd name="connsiteX691" fmla="*/ 1374896 w 1559298"/>
                    <a:gd name="connsiteY691" fmla="*/ 544647 h 1261310"/>
                    <a:gd name="connsiteX692" fmla="*/ 1375540 w 1559298"/>
                    <a:gd name="connsiteY692" fmla="*/ 542887 h 1261310"/>
                    <a:gd name="connsiteX693" fmla="*/ 1376171 w 1559298"/>
                    <a:gd name="connsiteY693" fmla="*/ 539839 h 1261310"/>
                    <a:gd name="connsiteX694" fmla="*/ 1376050 w 1559298"/>
                    <a:gd name="connsiteY694" fmla="*/ 535965 h 1261310"/>
                    <a:gd name="connsiteX695" fmla="*/ 1376402 w 1559298"/>
                    <a:gd name="connsiteY695" fmla="*/ 532443 h 1261310"/>
                    <a:gd name="connsiteX696" fmla="*/ 1377034 w 1559298"/>
                    <a:gd name="connsiteY696" fmla="*/ 529821 h 1261310"/>
                    <a:gd name="connsiteX697" fmla="*/ 1377835 w 1559298"/>
                    <a:gd name="connsiteY697" fmla="*/ 522620 h 1261310"/>
                    <a:gd name="connsiteX698" fmla="*/ 1377835 w 1559298"/>
                    <a:gd name="connsiteY698" fmla="*/ 520058 h 1261310"/>
                    <a:gd name="connsiteX699" fmla="*/ 1377544 w 1559298"/>
                    <a:gd name="connsiteY699" fmla="*/ 517933 h 1261310"/>
                    <a:gd name="connsiteX700" fmla="*/ 1376354 w 1559298"/>
                    <a:gd name="connsiteY700" fmla="*/ 514168 h 1261310"/>
                    <a:gd name="connsiteX701" fmla="*/ 1375722 w 1559298"/>
                    <a:gd name="connsiteY701" fmla="*/ 512857 h 1261310"/>
                    <a:gd name="connsiteX702" fmla="*/ 1375030 w 1559298"/>
                    <a:gd name="connsiteY702" fmla="*/ 511898 h 1261310"/>
                    <a:gd name="connsiteX703" fmla="*/ 1373706 w 1559298"/>
                    <a:gd name="connsiteY703" fmla="*/ 510440 h 1261310"/>
                    <a:gd name="connsiteX704" fmla="*/ 1371399 w 1559298"/>
                    <a:gd name="connsiteY704" fmla="*/ 506907 h 1261310"/>
                    <a:gd name="connsiteX705" fmla="*/ 1370731 w 1559298"/>
                    <a:gd name="connsiteY705" fmla="*/ 506191 h 1261310"/>
                    <a:gd name="connsiteX706" fmla="*/ 1369978 w 1559298"/>
                    <a:gd name="connsiteY706" fmla="*/ 505668 h 1261310"/>
                    <a:gd name="connsiteX707" fmla="*/ 1369056 w 1559298"/>
                    <a:gd name="connsiteY707" fmla="*/ 505328 h 1261310"/>
                    <a:gd name="connsiteX708" fmla="*/ 1367101 w 1559298"/>
                    <a:gd name="connsiteY708" fmla="*/ 504806 h 1261310"/>
                    <a:gd name="connsiteX709" fmla="*/ 1364344 w 1559298"/>
                    <a:gd name="connsiteY709" fmla="*/ 503568 h 1261310"/>
                    <a:gd name="connsiteX710" fmla="*/ 1360677 w 1559298"/>
                    <a:gd name="connsiteY710" fmla="*/ 502596 h 1261310"/>
                    <a:gd name="connsiteX711" fmla="*/ 1359803 w 1559298"/>
                    <a:gd name="connsiteY711" fmla="*/ 502256 h 1261310"/>
                    <a:gd name="connsiteX712" fmla="*/ 1359001 w 1559298"/>
                    <a:gd name="connsiteY712" fmla="*/ 501770 h 1261310"/>
                    <a:gd name="connsiteX713" fmla="*/ 1358370 w 1559298"/>
                    <a:gd name="connsiteY713" fmla="*/ 501042 h 1261310"/>
                    <a:gd name="connsiteX714" fmla="*/ 1357156 w 1559298"/>
                    <a:gd name="connsiteY714" fmla="*/ 499402 h 1261310"/>
                    <a:gd name="connsiteX715" fmla="*/ 1354690 w 1559298"/>
                    <a:gd name="connsiteY715" fmla="*/ 494412 h 1261310"/>
                    <a:gd name="connsiteX716" fmla="*/ 1353440 w 1559298"/>
                    <a:gd name="connsiteY716" fmla="*/ 492797 h 1261310"/>
                    <a:gd name="connsiteX717" fmla="*/ 1349068 w 1559298"/>
                    <a:gd name="connsiteY717" fmla="*/ 489069 h 1261310"/>
                    <a:gd name="connsiteX718" fmla="*/ 1347696 w 1559298"/>
                    <a:gd name="connsiteY718" fmla="*/ 487490 h 1261310"/>
                    <a:gd name="connsiteX719" fmla="*/ 1346021 w 1559298"/>
                    <a:gd name="connsiteY719" fmla="*/ 485195 h 1261310"/>
                    <a:gd name="connsiteX720" fmla="*/ 1334715 w 1559298"/>
                    <a:gd name="connsiteY720" fmla="*/ 483386 h 1261310"/>
                    <a:gd name="connsiteX721" fmla="*/ 1331619 w 1559298"/>
                    <a:gd name="connsiteY721" fmla="*/ 484187 h 1261310"/>
                    <a:gd name="connsiteX722" fmla="*/ 1330805 w 1559298"/>
                    <a:gd name="connsiteY722" fmla="*/ 484989 h 1261310"/>
                    <a:gd name="connsiteX723" fmla="*/ 1329664 w 1559298"/>
                    <a:gd name="connsiteY723" fmla="*/ 485705 h 1261310"/>
                    <a:gd name="connsiteX724" fmla="*/ 1316112 w 1559298"/>
                    <a:gd name="connsiteY724" fmla="*/ 489907 h 1261310"/>
                    <a:gd name="connsiteX725" fmla="*/ 1312955 w 1559298"/>
                    <a:gd name="connsiteY725" fmla="*/ 491279 h 1261310"/>
                    <a:gd name="connsiteX726" fmla="*/ 1311741 w 1559298"/>
                    <a:gd name="connsiteY726" fmla="*/ 492238 h 1261310"/>
                    <a:gd name="connsiteX727" fmla="*/ 1311000 w 1559298"/>
                    <a:gd name="connsiteY727" fmla="*/ 493173 h 1261310"/>
                    <a:gd name="connsiteX728" fmla="*/ 1310648 w 1559298"/>
                    <a:gd name="connsiteY728" fmla="*/ 495152 h 1261310"/>
                    <a:gd name="connsiteX729" fmla="*/ 1310648 w 1559298"/>
                    <a:gd name="connsiteY729" fmla="*/ 497314 h 1261310"/>
                    <a:gd name="connsiteX730" fmla="*/ 1310247 w 1559298"/>
                    <a:gd name="connsiteY730" fmla="*/ 498553 h 1261310"/>
                    <a:gd name="connsiteX731" fmla="*/ 1309458 w 1559298"/>
                    <a:gd name="connsiteY731" fmla="*/ 499815 h 1261310"/>
                    <a:gd name="connsiteX732" fmla="*/ 1307442 w 1559298"/>
                    <a:gd name="connsiteY732" fmla="*/ 501491 h 1261310"/>
                    <a:gd name="connsiteX733" fmla="*/ 1306046 w 1559298"/>
                    <a:gd name="connsiteY733" fmla="*/ 501916 h 1261310"/>
                    <a:gd name="connsiteX734" fmla="*/ 1304856 w 1559298"/>
                    <a:gd name="connsiteY734" fmla="*/ 501940 h 1261310"/>
                    <a:gd name="connsiteX735" fmla="*/ 1303994 w 1559298"/>
                    <a:gd name="connsiteY735" fmla="*/ 501637 h 1261310"/>
                    <a:gd name="connsiteX736" fmla="*/ 1302269 w 1559298"/>
                    <a:gd name="connsiteY736" fmla="*/ 500775 h 1261310"/>
                    <a:gd name="connsiteX737" fmla="*/ 1301577 w 1559298"/>
                    <a:gd name="connsiteY737" fmla="*/ 500143 h 1261310"/>
                    <a:gd name="connsiteX738" fmla="*/ 1300958 w 1559298"/>
                    <a:gd name="connsiteY738" fmla="*/ 499391 h 1261310"/>
                    <a:gd name="connsiteX739" fmla="*/ 1300436 w 1559298"/>
                    <a:gd name="connsiteY739" fmla="*/ 498383 h 1261310"/>
                    <a:gd name="connsiteX740" fmla="*/ 1299404 w 1559298"/>
                    <a:gd name="connsiteY740" fmla="*/ 497557 h 1261310"/>
                    <a:gd name="connsiteX741" fmla="*/ 1297862 w 1559298"/>
                    <a:gd name="connsiteY741" fmla="*/ 496926 h 1261310"/>
                    <a:gd name="connsiteX742" fmla="*/ 1292737 w 1559298"/>
                    <a:gd name="connsiteY742" fmla="*/ 496743 h 1261310"/>
                    <a:gd name="connsiteX743" fmla="*/ 1291474 w 1559298"/>
                    <a:gd name="connsiteY743" fmla="*/ 496537 h 1261310"/>
                    <a:gd name="connsiteX744" fmla="*/ 1290734 w 1559298"/>
                    <a:gd name="connsiteY744" fmla="*/ 496257 h 1261310"/>
                    <a:gd name="connsiteX745" fmla="*/ 1275628 w 1559298"/>
                    <a:gd name="connsiteY745" fmla="*/ 496440 h 1261310"/>
                    <a:gd name="connsiteX746" fmla="*/ 1272592 w 1559298"/>
                    <a:gd name="connsiteY746" fmla="*/ 496148 h 1261310"/>
                    <a:gd name="connsiteX747" fmla="*/ 1271147 w 1559298"/>
                    <a:gd name="connsiteY747" fmla="*/ 495638 h 1261310"/>
                    <a:gd name="connsiteX748" fmla="*/ 1269823 w 1559298"/>
                    <a:gd name="connsiteY748" fmla="*/ 494946 h 1261310"/>
                    <a:gd name="connsiteX749" fmla="*/ 1268803 w 1559298"/>
                    <a:gd name="connsiteY749" fmla="*/ 493902 h 1261310"/>
                    <a:gd name="connsiteX750" fmla="*/ 1266326 w 1559298"/>
                    <a:gd name="connsiteY750" fmla="*/ 490526 h 1261310"/>
                    <a:gd name="connsiteX751" fmla="*/ 1264942 w 1559298"/>
                    <a:gd name="connsiteY751" fmla="*/ 489118 h 1261310"/>
                    <a:gd name="connsiteX752" fmla="*/ 1262186 w 1559298"/>
                    <a:gd name="connsiteY752" fmla="*/ 487939 h 1261310"/>
                    <a:gd name="connsiteX753" fmla="*/ 1246169 w 1559298"/>
                    <a:gd name="connsiteY753" fmla="*/ 485778 h 1261310"/>
                    <a:gd name="connsiteX754" fmla="*/ 1243765 w 1559298"/>
                    <a:gd name="connsiteY754" fmla="*/ 485208 h 1261310"/>
                    <a:gd name="connsiteX755" fmla="*/ 1242830 w 1559298"/>
                    <a:gd name="connsiteY755" fmla="*/ 484442 h 1261310"/>
                    <a:gd name="connsiteX756" fmla="*/ 1241919 w 1559298"/>
                    <a:gd name="connsiteY756" fmla="*/ 483374 h 1261310"/>
                    <a:gd name="connsiteX757" fmla="*/ 1239442 w 1559298"/>
                    <a:gd name="connsiteY757" fmla="*/ 479015 h 1261310"/>
                    <a:gd name="connsiteX758" fmla="*/ 1238240 w 1559298"/>
                    <a:gd name="connsiteY758" fmla="*/ 477630 h 1261310"/>
                    <a:gd name="connsiteX759" fmla="*/ 1236746 w 1559298"/>
                    <a:gd name="connsiteY759" fmla="*/ 476634 h 1261310"/>
                    <a:gd name="connsiteX760" fmla="*/ 1233079 w 1559298"/>
                    <a:gd name="connsiteY760" fmla="*/ 475263 h 1261310"/>
                    <a:gd name="connsiteX761" fmla="*/ 1230954 w 1559298"/>
                    <a:gd name="connsiteY761" fmla="*/ 474886 h 1261310"/>
                    <a:gd name="connsiteX762" fmla="*/ 1228768 w 1559298"/>
                    <a:gd name="connsiteY762" fmla="*/ 474886 h 1261310"/>
                    <a:gd name="connsiteX763" fmla="*/ 1216771 w 1559298"/>
                    <a:gd name="connsiteY763" fmla="*/ 476950 h 1261310"/>
                    <a:gd name="connsiteX764" fmla="*/ 1209194 w 1559298"/>
                    <a:gd name="connsiteY764" fmla="*/ 480375 h 1261310"/>
                    <a:gd name="connsiteX765" fmla="*/ 1208162 w 1559298"/>
                    <a:gd name="connsiteY765" fmla="*/ 481285 h 1261310"/>
                    <a:gd name="connsiteX766" fmla="*/ 1207457 w 1559298"/>
                    <a:gd name="connsiteY766" fmla="*/ 482038 h 1261310"/>
                    <a:gd name="connsiteX767" fmla="*/ 1205235 w 1559298"/>
                    <a:gd name="connsiteY767" fmla="*/ 486604 h 1261310"/>
                    <a:gd name="connsiteX768" fmla="*/ 1203851 w 1559298"/>
                    <a:gd name="connsiteY768" fmla="*/ 487527 h 1261310"/>
                    <a:gd name="connsiteX769" fmla="*/ 1201434 w 1559298"/>
                    <a:gd name="connsiteY769" fmla="*/ 488498 h 1261310"/>
                    <a:gd name="connsiteX770" fmla="*/ 1196626 w 1559298"/>
                    <a:gd name="connsiteY770" fmla="*/ 489324 h 1261310"/>
                    <a:gd name="connsiteX771" fmla="*/ 1194367 w 1559298"/>
                    <a:gd name="connsiteY771" fmla="*/ 489409 h 1261310"/>
                    <a:gd name="connsiteX772" fmla="*/ 1193117 w 1559298"/>
                    <a:gd name="connsiteY772" fmla="*/ 489154 h 1261310"/>
                    <a:gd name="connsiteX773" fmla="*/ 1192764 w 1559298"/>
                    <a:gd name="connsiteY773" fmla="*/ 488498 h 1261310"/>
                    <a:gd name="connsiteX774" fmla="*/ 1192546 w 1559298"/>
                    <a:gd name="connsiteY774" fmla="*/ 487745 h 1261310"/>
                    <a:gd name="connsiteX775" fmla="*/ 1191684 w 1559298"/>
                    <a:gd name="connsiteY775" fmla="*/ 487017 h 1261310"/>
                    <a:gd name="connsiteX776" fmla="*/ 1190069 w 1559298"/>
                    <a:gd name="connsiteY776" fmla="*/ 486070 h 1261310"/>
                    <a:gd name="connsiteX777" fmla="*/ 1186389 w 1559298"/>
                    <a:gd name="connsiteY777" fmla="*/ 485135 h 1261310"/>
                    <a:gd name="connsiteX778" fmla="*/ 1184556 w 1559298"/>
                    <a:gd name="connsiteY778" fmla="*/ 484406 h 1261310"/>
                    <a:gd name="connsiteX779" fmla="*/ 1183232 w 1559298"/>
                    <a:gd name="connsiteY779" fmla="*/ 483313 h 1261310"/>
                    <a:gd name="connsiteX780" fmla="*/ 1182771 w 1559298"/>
                    <a:gd name="connsiteY780" fmla="*/ 482160 h 1261310"/>
                    <a:gd name="connsiteX781" fmla="*/ 1182564 w 1559298"/>
                    <a:gd name="connsiteY781" fmla="*/ 480107 h 1261310"/>
                    <a:gd name="connsiteX782" fmla="*/ 1181982 w 1559298"/>
                    <a:gd name="connsiteY782" fmla="*/ 479233 h 1261310"/>
                    <a:gd name="connsiteX783" fmla="*/ 1180828 w 1559298"/>
                    <a:gd name="connsiteY783" fmla="*/ 478541 h 1261310"/>
                    <a:gd name="connsiteX784" fmla="*/ 1175886 w 1559298"/>
                    <a:gd name="connsiteY784" fmla="*/ 476878 h 1261310"/>
                    <a:gd name="connsiteX785" fmla="*/ 1174392 w 1559298"/>
                    <a:gd name="connsiteY785" fmla="*/ 476149 h 1261310"/>
                    <a:gd name="connsiteX786" fmla="*/ 1173518 w 1559298"/>
                    <a:gd name="connsiteY786" fmla="*/ 475384 h 1261310"/>
                    <a:gd name="connsiteX787" fmla="*/ 1172850 w 1559298"/>
                    <a:gd name="connsiteY787" fmla="*/ 474255 h 1261310"/>
                    <a:gd name="connsiteX788" fmla="*/ 1168199 w 1559298"/>
                    <a:gd name="connsiteY788" fmla="*/ 459768 h 1261310"/>
                    <a:gd name="connsiteX789" fmla="*/ 1167859 w 1559298"/>
                    <a:gd name="connsiteY789" fmla="*/ 458942 h 1261310"/>
                    <a:gd name="connsiteX790" fmla="*/ 1167434 w 1559298"/>
                    <a:gd name="connsiteY790" fmla="*/ 458274 h 1261310"/>
                    <a:gd name="connsiteX791" fmla="*/ 1166766 w 1559298"/>
                    <a:gd name="connsiteY791" fmla="*/ 457352 h 1261310"/>
                    <a:gd name="connsiteX792" fmla="*/ 1164969 w 1559298"/>
                    <a:gd name="connsiteY792" fmla="*/ 456259 h 1261310"/>
                    <a:gd name="connsiteX793" fmla="*/ 1164289 w 1559298"/>
                    <a:gd name="connsiteY793" fmla="*/ 455895 h 1261310"/>
                    <a:gd name="connsiteX794" fmla="*/ 1161763 w 1559298"/>
                    <a:gd name="connsiteY794" fmla="*/ 453733 h 1261310"/>
                    <a:gd name="connsiteX795" fmla="*/ 1160319 w 1559298"/>
                    <a:gd name="connsiteY795" fmla="*/ 452130 h 1261310"/>
                    <a:gd name="connsiteX796" fmla="*/ 1155510 w 1559298"/>
                    <a:gd name="connsiteY796" fmla="*/ 449604 h 1261310"/>
                    <a:gd name="connsiteX797" fmla="*/ 1148103 w 1559298"/>
                    <a:gd name="connsiteY797" fmla="*/ 449483 h 1261310"/>
                    <a:gd name="connsiteX798" fmla="*/ 1143853 w 1559298"/>
                    <a:gd name="connsiteY798" fmla="*/ 450199 h 1261310"/>
                    <a:gd name="connsiteX799" fmla="*/ 1142687 w 1559298"/>
                    <a:gd name="connsiteY799" fmla="*/ 450054 h 1261310"/>
                    <a:gd name="connsiteX800" fmla="*/ 1136506 w 1559298"/>
                    <a:gd name="connsiteY800" fmla="*/ 446496 h 1261310"/>
                    <a:gd name="connsiteX801" fmla="*/ 1124898 w 1559298"/>
                    <a:gd name="connsiteY801" fmla="*/ 442100 h 1261310"/>
                    <a:gd name="connsiteX802" fmla="*/ 1122202 w 1559298"/>
                    <a:gd name="connsiteY802" fmla="*/ 441590 h 1261310"/>
                    <a:gd name="connsiteX803" fmla="*/ 1118863 w 1559298"/>
                    <a:gd name="connsiteY803" fmla="*/ 442197 h 1261310"/>
                    <a:gd name="connsiteX804" fmla="*/ 1116106 w 1559298"/>
                    <a:gd name="connsiteY804" fmla="*/ 442428 h 1261310"/>
                    <a:gd name="connsiteX805" fmla="*/ 1114333 w 1559298"/>
                    <a:gd name="connsiteY805" fmla="*/ 442112 h 1261310"/>
                    <a:gd name="connsiteX806" fmla="*/ 1112730 w 1559298"/>
                    <a:gd name="connsiteY806" fmla="*/ 441456 h 1261310"/>
                    <a:gd name="connsiteX807" fmla="*/ 1110775 w 1559298"/>
                    <a:gd name="connsiteY807" fmla="*/ 440388 h 1261310"/>
                    <a:gd name="connsiteX808" fmla="*/ 1109330 w 1559298"/>
                    <a:gd name="connsiteY808" fmla="*/ 440242 h 1261310"/>
                    <a:gd name="connsiteX809" fmla="*/ 1108019 w 1559298"/>
                    <a:gd name="connsiteY809" fmla="*/ 440449 h 1261310"/>
                    <a:gd name="connsiteX810" fmla="*/ 1106853 w 1559298"/>
                    <a:gd name="connsiteY810" fmla="*/ 440874 h 1261310"/>
                    <a:gd name="connsiteX811" fmla="*/ 1105372 w 1559298"/>
                    <a:gd name="connsiteY811" fmla="*/ 441116 h 1261310"/>
                    <a:gd name="connsiteX812" fmla="*/ 1104218 w 1559298"/>
                    <a:gd name="connsiteY812" fmla="*/ 441481 h 1261310"/>
                    <a:gd name="connsiteX813" fmla="*/ 1103429 w 1559298"/>
                    <a:gd name="connsiteY813" fmla="*/ 441942 h 1261310"/>
                    <a:gd name="connsiteX814" fmla="*/ 1103028 w 1559298"/>
                    <a:gd name="connsiteY814" fmla="*/ 442464 h 1261310"/>
                    <a:gd name="connsiteX815" fmla="*/ 1102785 w 1559298"/>
                    <a:gd name="connsiteY815" fmla="*/ 443035 h 1261310"/>
                    <a:gd name="connsiteX816" fmla="*/ 1102263 w 1559298"/>
                    <a:gd name="connsiteY816" fmla="*/ 443836 h 1261310"/>
                    <a:gd name="connsiteX817" fmla="*/ 1101474 w 1559298"/>
                    <a:gd name="connsiteY817" fmla="*/ 444601 h 1261310"/>
                    <a:gd name="connsiteX818" fmla="*/ 1099980 w 1559298"/>
                    <a:gd name="connsiteY818" fmla="*/ 445269 h 1261310"/>
                    <a:gd name="connsiteX819" fmla="*/ 1098827 w 1559298"/>
                    <a:gd name="connsiteY819" fmla="*/ 445245 h 1261310"/>
                    <a:gd name="connsiteX820" fmla="*/ 1087048 w 1559298"/>
                    <a:gd name="connsiteY820" fmla="*/ 440728 h 1261310"/>
                    <a:gd name="connsiteX821" fmla="*/ 1086247 w 1559298"/>
                    <a:gd name="connsiteY821" fmla="*/ 440218 h 1261310"/>
                    <a:gd name="connsiteX822" fmla="*/ 1085494 w 1559298"/>
                    <a:gd name="connsiteY822" fmla="*/ 439550 h 1261310"/>
                    <a:gd name="connsiteX823" fmla="*/ 1084935 w 1559298"/>
                    <a:gd name="connsiteY823" fmla="*/ 438724 h 1261310"/>
                    <a:gd name="connsiteX824" fmla="*/ 1082907 w 1559298"/>
                    <a:gd name="connsiteY824" fmla="*/ 434729 h 1261310"/>
                    <a:gd name="connsiteX825" fmla="*/ 1081778 w 1559298"/>
                    <a:gd name="connsiteY825" fmla="*/ 432932 h 1261310"/>
                    <a:gd name="connsiteX826" fmla="*/ 1081086 w 1559298"/>
                    <a:gd name="connsiteY826" fmla="*/ 432179 h 1261310"/>
                    <a:gd name="connsiteX827" fmla="*/ 1078560 w 1559298"/>
                    <a:gd name="connsiteY827" fmla="*/ 430407 h 1261310"/>
                    <a:gd name="connsiteX828" fmla="*/ 1070983 w 1559298"/>
                    <a:gd name="connsiteY828" fmla="*/ 427273 h 1261310"/>
                    <a:gd name="connsiteX829" fmla="*/ 1069538 w 1559298"/>
                    <a:gd name="connsiteY829" fmla="*/ 432726 h 1261310"/>
                    <a:gd name="connsiteX830" fmla="*/ 1071031 w 1559298"/>
                    <a:gd name="connsiteY830" fmla="*/ 437546 h 1261310"/>
                    <a:gd name="connsiteX831" fmla="*/ 1077346 w 1559298"/>
                    <a:gd name="connsiteY831" fmla="*/ 452761 h 1261310"/>
                    <a:gd name="connsiteX832" fmla="*/ 1078791 w 1559298"/>
                    <a:gd name="connsiteY832" fmla="*/ 454656 h 1261310"/>
                    <a:gd name="connsiteX833" fmla="*/ 1081086 w 1559298"/>
                    <a:gd name="connsiteY833" fmla="*/ 455226 h 1261310"/>
                    <a:gd name="connsiteX834" fmla="*/ 1082458 w 1559298"/>
                    <a:gd name="connsiteY834" fmla="*/ 455919 h 1261310"/>
                    <a:gd name="connsiteX835" fmla="*/ 1084122 w 1559298"/>
                    <a:gd name="connsiteY835" fmla="*/ 457534 h 1261310"/>
                    <a:gd name="connsiteX836" fmla="*/ 1084765 w 1559298"/>
                    <a:gd name="connsiteY836" fmla="*/ 459088 h 1261310"/>
                    <a:gd name="connsiteX837" fmla="*/ 1084874 w 1559298"/>
                    <a:gd name="connsiteY837" fmla="*/ 460812 h 1261310"/>
                    <a:gd name="connsiteX838" fmla="*/ 1084425 w 1559298"/>
                    <a:gd name="connsiteY838" fmla="*/ 462792 h 1261310"/>
                    <a:gd name="connsiteX839" fmla="*/ 1083721 w 1559298"/>
                    <a:gd name="connsiteY839" fmla="*/ 464625 h 1261310"/>
                    <a:gd name="connsiteX840" fmla="*/ 1082810 w 1559298"/>
                    <a:gd name="connsiteY840" fmla="*/ 466119 h 1261310"/>
                    <a:gd name="connsiteX841" fmla="*/ 1081134 w 1559298"/>
                    <a:gd name="connsiteY841" fmla="*/ 467576 h 1261310"/>
                    <a:gd name="connsiteX842" fmla="*/ 1075172 w 1559298"/>
                    <a:gd name="connsiteY842" fmla="*/ 471024 h 1261310"/>
                    <a:gd name="connsiteX843" fmla="*/ 1073217 w 1559298"/>
                    <a:gd name="connsiteY843" fmla="*/ 473089 h 1261310"/>
                    <a:gd name="connsiteX844" fmla="*/ 1071784 w 1559298"/>
                    <a:gd name="connsiteY844" fmla="*/ 475615 h 1261310"/>
                    <a:gd name="connsiteX845" fmla="*/ 1070801 w 1559298"/>
                    <a:gd name="connsiteY845" fmla="*/ 479804 h 1261310"/>
                    <a:gd name="connsiteX846" fmla="*/ 1067474 w 1559298"/>
                    <a:gd name="connsiteY846" fmla="*/ 486154 h 1261310"/>
                    <a:gd name="connsiteX847" fmla="*/ 1066563 w 1559298"/>
                    <a:gd name="connsiteY847" fmla="*/ 488935 h 1261310"/>
                    <a:gd name="connsiteX848" fmla="*/ 1066102 w 1559298"/>
                    <a:gd name="connsiteY848" fmla="*/ 493537 h 1261310"/>
                    <a:gd name="connsiteX849" fmla="*/ 1066684 w 1559298"/>
                    <a:gd name="connsiteY849" fmla="*/ 503215 h 1261310"/>
                    <a:gd name="connsiteX850" fmla="*/ 1066490 w 1559298"/>
                    <a:gd name="connsiteY850" fmla="*/ 505255 h 1261310"/>
                    <a:gd name="connsiteX851" fmla="*/ 1065980 w 1559298"/>
                    <a:gd name="connsiteY851" fmla="*/ 506895 h 1261310"/>
                    <a:gd name="connsiteX852" fmla="*/ 1065069 w 1559298"/>
                    <a:gd name="connsiteY852" fmla="*/ 508206 h 1261310"/>
                    <a:gd name="connsiteX853" fmla="*/ 1063794 w 1559298"/>
                    <a:gd name="connsiteY853" fmla="*/ 509238 h 1261310"/>
                    <a:gd name="connsiteX854" fmla="*/ 1061961 w 1559298"/>
                    <a:gd name="connsiteY854" fmla="*/ 510016 h 1261310"/>
                    <a:gd name="connsiteX855" fmla="*/ 1054274 w 1559298"/>
                    <a:gd name="connsiteY855" fmla="*/ 511278 h 1261310"/>
                    <a:gd name="connsiteX856" fmla="*/ 1052489 w 1559298"/>
                    <a:gd name="connsiteY856" fmla="*/ 512031 h 1261310"/>
                    <a:gd name="connsiteX857" fmla="*/ 1050886 w 1559298"/>
                    <a:gd name="connsiteY857" fmla="*/ 513100 h 1261310"/>
                    <a:gd name="connsiteX858" fmla="*/ 1048992 w 1559298"/>
                    <a:gd name="connsiteY858" fmla="*/ 515188 h 1261310"/>
                    <a:gd name="connsiteX859" fmla="*/ 1047596 w 1559298"/>
                    <a:gd name="connsiteY859" fmla="*/ 517520 h 1261310"/>
                    <a:gd name="connsiteX860" fmla="*/ 1045191 w 1559298"/>
                    <a:gd name="connsiteY860" fmla="*/ 523227 h 1261310"/>
                    <a:gd name="connsiteX861" fmla="*/ 1044220 w 1559298"/>
                    <a:gd name="connsiteY861" fmla="*/ 524757 h 1261310"/>
                    <a:gd name="connsiteX862" fmla="*/ 1043066 w 1559298"/>
                    <a:gd name="connsiteY862" fmla="*/ 526068 h 1261310"/>
                    <a:gd name="connsiteX863" fmla="*/ 1041925 w 1559298"/>
                    <a:gd name="connsiteY863" fmla="*/ 527938 h 1261310"/>
                    <a:gd name="connsiteX864" fmla="*/ 1041524 w 1559298"/>
                    <a:gd name="connsiteY864" fmla="*/ 529772 h 1261310"/>
                    <a:gd name="connsiteX865" fmla="*/ 1041524 w 1559298"/>
                    <a:gd name="connsiteY865" fmla="*/ 531351 h 1261310"/>
                    <a:gd name="connsiteX866" fmla="*/ 1043297 w 1559298"/>
                    <a:gd name="connsiteY866" fmla="*/ 540482 h 1261310"/>
                    <a:gd name="connsiteX867" fmla="*/ 1043297 w 1559298"/>
                    <a:gd name="connsiteY867" fmla="*/ 542753 h 1261310"/>
                    <a:gd name="connsiteX868" fmla="*/ 1043018 w 1559298"/>
                    <a:gd name="connsiteY868" fmla="*/ 546542 h 1261310"/>
                    <a:gd name="connsiteX869" fmla="*/ 1041973 w 1559298"/>
                    <a:gd name="connsiteY869" fmla="*/ 548387 h 1261310"/>
                    <a:gd name="connsiteX870" fmla="*/ 1040711 w 1559298"/>
                    <a:gd name="connsiteY870" fmla="*/ 549444 h 1261310"/>
                    <a:gd name="connsiteX871" fmla="*/ 1038707 w 1559298"/>
                    <a:gd name="connsiteY871" fmla="*/ 549820 h 1261310"/>
                    <a:gd name="connsiteX872" fmla="*/ 1033485 w 1559298"/>
                    <a:gd name="connsiteY872" fmla="*/ 549662 h 1261310"/>
                    <a:gd name="connsiteX873" fmla="*/ 1031470 w 1559298"/>
                    <a:gd name="connsiteY873" fmla="*/ 549237 h 1261310"/>
                    <a:gd name="connsiteX874" fmla="*/ 1029065 w 1559298"/>
                    <a:gd name="connsiteY874" fmla="*/ 548436 h 1261310"/>
                    <a:gd name="connsiteX875" fmla="*/ 1028094 w 1559298"/>
                    <a:gd name="connsiteY875" fmla="*/ 548290 h 1261310"/>
                    <a:gd name="connsiteX876" fmla="*/ 1026819 w 1559298"/>
                    <a:gd name="connsiteY876" fmla="*/ 548351 h 1261310"/>
                    <a:gd name="connsiteX877" fmla="*/ 1023431 w 1559298"/>
                    <a:gd name="connsiteY877" fmla="*/ 549152 h 1261310"/>
                    <a:gd name="connsiteX878" fmla="*/ 1021185 w 1559298"/>
                    <a:gd name="connsiteY878" fmla="*/ 549431 h 1261310"/>
                    <a:gd name="connsiteX879" fmla="*/ 1018780 w 1559298"/>
                    <a:gd name="connsiteY879" fmla="*/ 549176 h 1261310"/>
                    <a:gd name="connsiteX880" fmla="*/ 1016133 w 1559298"/>
                    <a:gd name="connsiteY880" fmla="*/ 548144 h 1261310"/>
                    <a:gd name="connsiteX881" fmla="*/ 1013899 w 1559298"/>
                    <a:gd name="connsiteY881" fmla="*/ 546626 h 1261310"/>
                    <a:gd name="connsiteX882" fmla="*/ 1012005 w 1559298"/>
                    <a:gd name="connsiteY882" fmla="*/ 544647 h 1261310"/>
                    <a:gd name="connsiteX883" fmla="*/ 1007815 w 1559298"/>
                    <a:gd name="connsiteY883" fmla="*/ 538041 h 1261310"/>
                    <a:gd name="connsiteX884" fmla="*/ 1007172 w 1559298"/>
                    <a:gd name="connsiteY884" fmla="*/ 537580 h 1261310"/>
                    <a:gd name="connsiteX885" fmla="*/ 1006322 w 1559298"/>
                    <a:gd name="connsiteY885" fmla="*/ 537519 h 1261310"/>
                    <a:gd name="connsiteX886" fmla="*/ 1002303 w 1559298"/>
                    <a:gd name="connsiteY886" fmla="*/ 538041 h 1261310"/>
                    <a:gd name="connsiteX887" fmla="*/ 1000578 w 1559298"/>
                    <a:gd name="connsiteY887" fmla="*/ 537835 h 1261310"/>
                    <a:gd name="connsiteX888" fmla="*/ 997312 w 1559298"/>
                    <a:gd name="connsiteY888" fmla="*/ 536681 h 1261310"/>
                    <a:gd name="connsiteX889" fmla="*/ 995636 w 1559298"/>
                    <a:gd name="connsiteY889" fmla="*/ 536317 h 1261310"/>
                    <a:gd name="connsiteX890" fmla="*/ 994203 w 1559298"/>
                    <a:gd name="connsiteY890" fmla="*/ 536281 h 1261310"/>
                    <a:gd name="connsiteX891" fmla="*/ 992600 w 1559298"/>
                    <a:gd name="connsiteY891" fmla="*/ 536560 h 1261310"/>
                    <a:gd name="connsiteX892" fmla="*/ 991046 w 1559298"/>
                    <a:gd name="connsiteY892" fmla="*/ 537046 h 1261310"/>
                    <a:gd name="connsiteX893" fmla="*/ 989152 w 1559298"/>
                    <a:gd name="connsiteY893" fmla="*/ 538090 h 1261310"/>
                    <a:gd name="connsiteX894" fmla="*/ 987306 w 1559298"/>
                    <a:gd name="connsiteY894" fmla="*/ 539426 h 1261310"/>
                    <a:gd name="connsiteX895" fmla="*/ 984744 w 1559298"/>
                    <a:gd name="connsiteY895" fmla="*/ 541806 h 1261310"/>
                    <a:gd name="connsiteX896" fmla="*/ 983991 w 1559298"/>
                    <a:gd name="connsiteY896" fmla="*/ 542959 h 1261310"/>
                    <a:gd name="connsiteX897" fmla="*/ 983918 w 1559298"/>
                    <a:gd name="connsiteY897" fmla="*/ 543785 h 1261310"/>
                    <a:gd name="connsiteX898" fmla="*/ 984780 w 1559298"/>
                    <a:gd name="connsiteY898" fmla="*/ 544368 h 1261310"/>
                    <a:gd name="connsiteX899" fmla="*/ 988071 w 1559298"/>
                    <a:gd name="connsiteY899" fmla="*/ 545764 h 1261310"/>
                    <a:gd name="connsiteX900" fmla="*/ 988812 w 1559298"/>
                    <a:gd name="connsiteY900" fmla="*/ 546432 h 1261310"/>
                    <a:gd name="connsiteX901" fmla="*/ 988581 w 1559298"/>
                    <a:gd name="connsiteY901" fmla="*/ 548011 h 1261310"/>
                    <a:gd name="connsiteX902" fmla="*/ 984574 w 1559298"/>
                    <a:gd name="connsiteY902" fmla="*/ 552491 h 1261310"/>
                    <a:gd name="connsiteX903" fmla="*/ 983080 w 1559298"/>
                    <a:gd name="connsiteY903" fmla="*/ 554531 h 1261310"/>
                    <a:gd name="connsiteX904" fmla="*/ 982048 w 1559298"/>
                    <a:gd name="connsiteY904" fmla="*/ 556365 h 1261310"/>
                    <a:gd name="connsiteX905" fmla="*/ 980251 w 1559298"/>
                    <a:gd name="connsiteY905" fmla="*/ 562679 h 1261310"/>
                    <a:gd name="connsiteX906" fmla="*/ 978369 w 1559298"/>
                    <a:gd name="connsiteY906" fmla="*/ 567585 h 1261310"/>
                    <a:gd name="connsiteX907" fmla="*/ 977786 w 1559298"/>
                    <a:gd name="connsiteY907" fmla="*/ 569880 h 1261310"/>
                    <a:gd name="connsiteX908" fmla="*/ 977677 w 1559298"/>
                    <a:gd name="connsiteY908" fmla="*/ 571750 h 1261310"/>
                    <a:gd name="connsiteX909" fmla="*/ 978187 w 1559298"/>
                    <a:gd name="connsiteY909" fmla="*/ 573098 h 1261310"/>
                    <a:gd name="connsiteX910" fmla="*/ 978539 w 1559298"/>
                    <a:gd name="connsiteY910" fmla="*/ 574531 h 1261310"/>
                    <a:gd name="connsiteX911" fmla="*/ 978599 w 1559298"/>
                    <a:gd name="connsiteY911" fmla="*/ 576134 h 1261310"/>
                    <a:gd name="connsiteX912" fmla="*/ 978017 w 1559298"/>
                    <a:gd name="connsiteY912" fmla="*/ 577166 h 1261310"/>
                    <a:gd name="connsiteX913" fmla="*/ 976936 w 1559298"/>
                    <a:gd name="connsiteY913" fmla="*/ 577919 h 1261310"/>
                    <a:gd name="connsiteX914" fmla="*/ 975041 w 1559298"/>
                    <a:gd name="connsiteY914" fmla="*/ 578757 h 1261310"/>
                    <a:gd name="connsiteX915" fmla="*/ 973657 w 1559298"/>
                    <a:gd name="connsiteY915" fmla="*/ 579777 h 1261310"/>
                    <a:gd name="connsiteX916" fmla="*/ 972054 w 1559298"/>
                    <a:gd name="connsiteY916" fmla="*/ 581428 h 1261310"/>
                    <a:gd name="connsiteX917" fmla="*/ 969638 w 1559298"/>
                    <a:gd name="connsiteY917" fmla="*/ 584549 h 1261310"/>
                    <a:gd name="connsiteX918" fmla="*/ 967574 w 1559298"/>
                    <a:gd name="connsiteY918" fmla="*/ 586601 h 1261310"/>
                    <a:gd name="connsiteX919" fmla="*/ 965740 w 1559298"/>
                    <a:gd name="connsiteY919" fmla="*/ 588143 h 1261310"/>
                    <a:gd name="connsiteX920" fmla="*/ 963603 w 1559298"/>
                    <a:gd name="connsiteY920" fmla="*/ 589272 h 1261310"/>
                    <a:gd name="connsiteX921" fmla="*/ 962814 w 1559298"/>
                    <a:gd name="connsiteY921" fmla="*/ 590353 h 1261310"/>
                    <a:gd name="connsiteX922" fmla="*/ 962692 w 1559298"/>
                    <a:gd name="connsiteY922" fmla="*/ 591847 h 1261310"/>
                    <a:gd name="connsiteX923" fmla="*/ 963955 w 1559298"/>
                    <a:gd name="connsiteY923" fmla="*/ 595320 h 1261310"/>
                    <a:gd name="connsiteX924" fmla="*/ 964477 w 1559298"/>
                    <a:gd name="connsiteY924" fmla="*/ 597274 h 1261310"/>
                    <a:gd name="connsiteX925" fmla="*/ 964817 w 1559298"/>
                    <a:gd name="connsiteY925" fmla="*/ 599035 h 1261310"/>
                    <a:gd name="connsiteX926" fmla="*/ 964817 w 1559298"/>
                    <a:gd name="connsiteY926" fmla="*/ 600918 h 1261310"/>
                    <a:gd name="connsiteX927" fmla="*/ 965036 w 1559298"/>
                    <a:gd name="connsiteY927" fmla="*/ 602047 h 1261310"/>
                    <a:gd name="connsiteX928" fmla="*/ 965449 w 1559298"/>
                    <a:gd name="connsiteY928" fmla="*/ 602848 h 1261310"/>
                    <a:gd name="connsiteX929" fmla="*/ 966080 w 1559298"/>
                    <a:gd name="connsiteY929" fmla="*/ 603480 h 1261310"/>
                    <a:gd name="connsiteX930" fmla="*/ 967343 w 1559298"/>
                    <a:gd name="connsiteY930" fmla="*/ 603662 h 1261310"/>
                    <a:gd name="connsiteX931" fmla="*/ 969808 w 1559298"/>
                    <a:gd name="connsiteY931" fmla="*/ 603140 h 1261310"/>
                    <a:gd name="connsiteX932" fmla="*/ 970840 w 1559298"/>
                    <a:gd name="connsiteY932" fmla="*/ 603286 h 1261310"/>
                    <a:gd name="connsiteX933" fmla="*/ 971763 w 1559298"/>
                    <a:gd name="connsiteY933" fmla="*/ 603893 h 1261310"/>
                    <a:gd name="connsiteX934" fmla="*/ 972455 w 1559298"/>
                    <a:gd name="connsiteY934" fmla="*/ 604925 h 1261310"/>
                    <a:gd name="connsiteX935" fmla="*/ 972674 w 1559298"/>
                    <a:gd name="connsiteY935" fmla="*/ 605872 h 1261310"/>
                    <a:gd name="connsiteX936" fmla="*/ 972516 w 1559298"/>
                    <a:gd name="connsiteY936" fmla="*/ 607681 h 1261310"/>
                    <a:gd name="connsiteX937" fmla="*/ 972625 w 1559298"/>
                    <a:gd name="connsiteY937" fmla="*/ 608568 h 1261310"/>
                    <a:gd name="connsiteX938" fmla="*/ 973099 w 1559298"/>
                    <a:gd name="connsiteY938" fmla="*/ 609357 h 1261310"/>
                    <a:gd name="connsiteX939" fmla="*/ 974179 w 1559298"/>
                    <a:gd name="connsiteY939" fmla="*/ 610110 h 1261310"/>
                    <a:gd name="connsiteX940" fmla="*/ 975260 w 1559298"/>
                    <a:gd name="connsiteY940" fmla="*/ 610365 h 1261310"/>
                    <a:gd name="connsiteX941" fmla="*/ 976766 w 1559298"/>
                    <a:gd name="connsiteY941" fmla="*/ 610280 h 1261310"/>
                    <a:gd name="connsiteX942" fmla="*/ 978089 w 1559298"/>
                    <a:gd name="connsiteY942" fmla="*/ 610341 h 1261310"/>
                    <a:gd name="connsiteX943" fmla="*/ 979061 w 1559298"/>
                    <a:gd name="connsiteY943" fmla="*/ 611093 h 1261310"/>
                    <a:gd name="connsiteX944" fmla="*/ 979462 w 1559298"/>
                    <a:gd name="connsiteY944" fmla="*/ 612793 h 1261310"/>
                    <a:gd name="connsiteX945" fmla="*/ 979122 w 1559298"/>
                    <a:gd name="connsiteY945" fmla="*/ 615198 h 1261310"/>
                    <a:gd name="connsiteX946" fmla="*/ 979340 w 1559298"/>
                    <a:gd name="connsiteY946" fmla="*/ 617055 h 1261310"/>
                    <a:gd name="connsiteX947" fmla="*/ 979704 w 1559298"/>
                    <a:gd name="connsiteY947" fmla="*/ 618403 h 1261310"/>
                    <a:gd name="connsiteX948" fmla="*/ 981987 w 1559298"/>
                    <a:gd name="connsiteY948" fmla="*/ 620783 h 1261310"/>
                    <a:gd name="connsiteX949" fmla="*/ 989904 w 1559298"/>
                    <a:gd name="connsiteY949" fmla="*/ 626406 h 1261310"/>
                    <a:gd name="connsiteX950" fmla="*/ 991180 w 1559298"/>
                    <a:gd name="connsiteY950" fmla="*/ 627620 h 1261310"/>
                    <a:gd name="connsiteX951" fmla="*/ 992491 w 1559298"/>
                    <a:gd name="connsiteY951" fmla="*/ 629320 h 1261310"/>
                    <a:gd name="connsiteX952" fmla="*/ 992722 w 1559298"/>
                    <a:gd name="connsiteY952" fmla="*/ 630534 h 1261310"/>
                    <a:gd name="connsiteX953" fmla="*/ 992722 w 1559298"/>
                    <a:gd name="connsiteY953" fmla="*/ 632768 h 1261310"/>
                    <a:gd name="connsiteX954" fmla="*/ 991507 w 1559298"/>
                    <a:gd name="connsiteY954" fmla="*/ 633351 h 1261310"/>
                    <a:gd name="connsiteX955" fmla="*/ 987828 w 1559298"/>
                    <a:gd name="connsiteY955" fmla="*/ 634529 h 1261310"/>
                    <a:gd name="connsiteX956" fmla="*/ 985545 w 1559298"/>
                    <a:gd name="connsiteY956" fmla="*/ 634505 h 1261310"/>
                    <a:gd name="connsiteX957" fmla="*/ 983760 w 1559298"/>
                    <a:gd name="connsiteY957" fmla="*/ 635270 h 1261310"/>
                    <a:gd name="connsiteX958" fmla="*/ 981198 w 1559298"/>
                    <a:gd name="connsiteY958" fmla="*/ 636824 h 1261310"/>
                    <a:gd name="connsiteX959" fmla="*/ 979122 w 1559298"/>
                    <a:gd name="connsiteY959" fmla="*/ 637796 h 1261310"/>
                    <a:gd name="connsiteX960" fmla="*/ 977446 w 1559298"/>
                    <a:gd name="connsiteY960" fmla="*/ 639981 h 1261310"/>
                    <a:gd name="connsiteX961" fmla="*/ 975381 w 1559298"/>
                    <a:gd name="connsiteY961" fmla="*/ 643515 h 1261310"/>
                    <a:gd name="connsiteX962" fmla="*/ 969699 w 1559298"/>
                    <a:gd name="connsiteY962" fmla="*/ 656144 h 1261310"/>
                    <a:gd name="connsiteX963" fmla="*/ 968193 w 1559298"/>
                    <a:gd name="connsiteY963" fmla="*/ 658329 h 1261310"/>
                    <a:gd name="connsiteX964" fmla="*/ 967112 w 1559298"/>
                    <a:gd name="connsiteY964" fmla="*/ 658572 h 1261310"/>
                    <a:gd name="connsiteX965" fmla="*/ 966129 w 1559298"/>
                    <a:gd name="connsiteY965" fmla="*/ 658536 h 1261310"/>
                    <a:gd name="connsiteX966" fmla="*/ 961721 w 1559298"/>
                    <a:gd name="connsiteY966" fmla="*/ 658111 h 1261310"/>
                    <a:gd name="connsiteX967" fmla="*/ 959827 w 1559298"/>
                    <a:gd name="connsiteY967" fmla="*/ 658281 h 1261310"/>
                    <a:gd name="connsiteX968" fmla="*/ 957762 w 1559298"/>
                    <a:gd name="connsiteY968" fmla="*/ 659033 h 1261310"/>
                    <a:gd name="connsiteX969" fmla="*/ 955285 w 1559298"/>
                    <a:gd name="connsiteY969" fmla="*/ 661134 h 1261310"/>
                    <a:gd name="connsiteX970" fmla="*/ 954010 w 1559298"/>
                    <a:gd name="connsiteY970" fmla="*/ 663150 h 1261310"/>
                    <a:gd name="connsiteX971" fmla="*/ 953621 w 1559298"/>
                    <a:gd name="connsiteY971" fmla="*/ 665069 h 1261310"/>
                    <a:gd name="connsiteX972" fmla="*/ 953961 w 1559298"/>
                    <a:gd name="connsiteY972" fmla="*/ 667109 h 1261310"/>
                    <a:gd name="connsiteX973" fmla="*/ 954532 w 1559298"/>
                    <a:gd name="connsiteY973" fmla="*/ 668833 h 1261310"/>
                    <a:gd name="connsiteX974" fmla="*/ 954884 w 1559298"/>
                    <a:gd name="connsiteY974" fmla="*/ 671213 h 1261310"/>
                    <a:gd name="connsiteX975" fmla="*/ 954836 w 1559298"/>
                    <a:gd name="connsiteY975" fmla="*/ 674079 h 1261310"/>
                    <a:gd name="connsiteX976" fmla="*/ 953500 w 1559298"/>
                    <a:gd name="connsiteY976" fmla="*/ 678984 h 1261310"/>
                    <a:gd name="connsiteX977" fmla="*/ 952298 w 1559298"/>
                    <a:gd name="connsiteY977" fmla="*/ 681546 h 1261310"/>
                    <a:gd name="connsiteX978" fmla="*/ 950816 w 1559298"/>
                    <a:gd name="connsiteY978" fmla="*/ 683380 h 1261310"/>
                    <a:gd name="connsiteX979" fmla="*/ 949201 w 1559298"/>
                    <a:gd name="connsiteY979" fmla="*/ 684327 h 1261310"/>
                    <a:gd name="connsiteX980" fmla="*/ 947368 w 1559298"/>
                    <a:gd name="connsiteY980" fmla="*/ 684898 h 1261310"/>
                    <a:gd name="connsiteX981" fmla="*/ 945522 w 1559298"/>
                    <a:gd name="connsiteY981" fmla="*/ 685201 h 1261310"/>
                    <a:gd name="connsiteX982" fmla="*/ 937823 w 1559298"/>
                    <a:gd name="connsiteY982" fmla="*/ 685724 h 1261310"/>
                    <a:gd name="connsiteX983" fmla="*/ 936221 w 1559298"/>
                    <a:gd name="connsiteY983" fmla="*/ 686149 h 1261310"/>
                    <a:gd name="connsiteX984" fmla="*/ 934618 w 1559298"/>
                    <a:gd name="connsiteY984" fmla="*/ 686902 h 1261310"/>
                    <a:gd name="connsiteX985" fmla="*/ 932772 w 1559298"/>
                    <a:gd name="connsiteY985" fmla="*/ 688553 h 1261310"/>
                    <a:gd name="connsiteX986" fmla="*/ 931631 w 1559298"/>
                    <a:gd name="connsiteY986" fmla="*/ 690217 h 1261310"/>
                    <a:gd name="connsiteX987" fmla="*/ 930598 w 1559298"/>
                    <a:gd name="connsiteY987" fmla="*/ 692232 h 1261310"/>
                    <a:gd name="connsiteX988" fmla="*/ 929566 w 1559298"/>
                    <a:gd name="connsiteY988" fmla="*/ 693544 h 1261310"/>
                    <a:gd name="connsiteX989" fmla="*/ 926579 w 1559298"/>
                    <a:gd name="connsiteY989" fmla="*/ 696409 h 1261310"/>
                    <a:gd name="connsiteX990" fmla="*/ 925705 w 1559298"/>
                    <a:gd name="connsiteY990" fmla="*/ 697818 h 1261310"/>
                    <a:gd name="connsiteX991" fmla="*/ 926458 w 1559298"/>
                    <a:gd name="connsiteY991" fmla="*/ 699215 h 1261310"/>
                    <a:gd name="connsiteX992" fmla="*/ 926628 w 1559298"/>
                    <a:gd name="connsiteY992" fmla="*/ 700247 h 1261310"/>
                    <a:gd name="connsiteX993" fmla="*/ 926227 w 1559298"/>
                    <a:gd name="connsiteY993" fmla="*/ 702007 h 1261310"/>
                    <a:gd name="connsiteX994" fmla="*/ 925316 w 1559298"/>
                    <a:gd name="connsiteY994" fmla="*/ 703270 h 1261310"/>
                    <a:gd name="connsiteX995" fmla="*/ 924794 w 1559298"/>
                    <a:gd name="connsiteY995" fmla="*/ 704679 h 1261310"/>
                    <a:gd name="connsiteX996" fmla="*/ 924454 w 1559298"/>
                    <a:gd name="connsiteY996" fmla="*/ 708977 h 1261310"/>
                    <a:gd name="connsiteX997" fmla="*/ 923701 w 1559298"/>
                    <a:gd name="connsiteY997" fmla="*/ 711965 h 1261310"/>
                    <a:gd name="connsiteX998" fmla="*/ 922548 w 1559298"/>
                    <a:gd name="connsiteY998" fmla="*/ 713920 h 1261310"/>
                    <a:gd name="connsiteX999" fmla="*/ 921018 w 1559298"/>
                    <a:gd name="connsiteY999" fmla="*/ 715413 h 1261310"/>
                    <a:gd name="connsiteX1000" fmla="*/ 919099 w 1559298"/>
                    <a:gd name="connsiteY1000" fmla="*/ 716652 h 1261310"/>
                    <a:gd name="connsiteX1001" fmla="*/ 917035 w 1559298"/>
                    <a:gd name="connsiteY1001" fmla="*/ 718291 h 1261310"/>
                    <a:gd name="connsiteX1002" fmla="*/ 916124 w 1559298"/>
                    <a:gd name="connsiteY1002" fmla="*/ 719348 h 1261310"/>
                    <a:gd name="connsiteX1003" fmla="*/ 915954 w 1559298"/>
                    <a:gd name="connsiteY1003" fmla="*/ 720841 h 1261310"/>
                    <a:gd name="connsiteX1004" fmla="*/ 924393 w 1559298"/>
                    <a:gd name="connsiteY1004" fmla="*/ 726585 h 1261310"/>
                    <a:gd name="connsiteX1005" fmla="*/ 925316 w 1559298"/>
                    <a:gd name="connsiteY1005" fmla="*/ 727799 h 1261310"/>
                    <a:gd name="connsiteX1006" fmla="*/ 926409 w 1559298"/>
                    <a:gd name="connsiteY1006" fmla="*/ 729523 h 1261310"/>
                    <a:gd name="connsiteX1007" fmla="*/ 926288 w 1559298"/>
                    <a:gd name="connsiteY1007" fmla="*/ 730871 h 1261310"/>
                    <a:gd name="connsiteX1008" fmla="*/ 925061 w 1559298"/>
                    <a:gd name="connsiteY1008" fmla="*/ 735061 h 1261310"/>
                    <a:gd name="connsiteX1009" fmla="*/ 925608 w 1559298"/>
                    <a:gd name="connsiteY1009" fmla="*/ 735158 h 1261310"/>
                    <a:gd name="connsiteX1010" fmla="*/ 925620 w 1559298"/>
                    <a:gd name="connsiteY1010" fmla="*/ 735170 h 1261310"/>
                    <a:gd name="connsiteX1011" fmla="*/ 917763 w 1559298"/>
                    <a:gd name="connsiteY1011" fmla="*/ 733895 h 1261310"/>
                    <a:gd name="connsiteX1012" fmla="*/ 916561 w 1559298"/>
                    <a:gd name="connsiteY1012" fmla="*/ 734198 h 1261310"/>
                    <a:gd name="connsiteX1013" fmla="*/ 914776 w 1559298"/>
                    <a:gd name="connsiteY1013" fmla="*/ 734963 h 1261310"/>
                    <a:gd name="connsiteX1014" fmla="*/ 911728 w 1559298"/>
                    <a:gd name="connsiteY1014" fmla="*/ 738133 h 1261310"/>
                    <a:gd name="connsiteX1015" fmla="*/ 908802 w 1559298"/>
                    <a:gd name="connsiteY1015" fmla="*/ 740197 h 1261310"/>
                    <a:gd name="connsiteX1016" fmla="*/ 906106 w 1559298"/>
                    <a:gd name="connsiteY1016" fmla="*/ 740683 h 1261310"/>
                    <a:gd name="connsiteX1017" fmla="*/ 904321 w 1559298"/>
                    <a:gd name="connsiteY1017" fmla="*/ 740197 h 1261310"/>
                    <a:gd name="connsiteX1018" fmla="*/ 903289 w 1559298"/>
                    <a:gd name="connsiteY1018" fmla="*/ 739019 h 1261310"/>
                    <a:gd name="connsiteX1019" fmla="*/ 902828 w 1559298"/>
                    <a:gd name="connsiteY1019" fmla="*/ 737526 h 1261310"/>
                    <a:gd name="connsiteX1020" fmla="*/ 902427 w 1559298"/>
                    <a:gd name="connsiteY1020" fmla="*/ 733567 h 1261310"/>
                    <a:gd name="connsiteX1021" fmla="*/ 901055 w 1559298"/>
                    <a:gd name="connsiteY1021" fmla="*/ 732535 h 1261310"/>
                    <a:gd name="connsiteX1022" fmla="*/ 898529 w 1559298"/>
                    <a:gd name="connsiteY1022" fmla="*/ 731320 h 1261310"/>
                    <a:gd name="connsiteX1023" fmla="*/ 892032 w 1559298"/>
                    <a:gd name="connsiteY1023" fmla="*/ 729196 h 1261310"/>
                    <a:gd name="connsiteX1024" fmla="*/ 889045 w 1559298"/>
                    <a:gd name="connsiteY1024" fmla="*/ 727848 h 1261310"/>
                    <a:gd name="connsiteX1025" fmla="*/ 887272 w 1559298"/>
                    <a:gd name="connsiteY1025" fmla="*/ 726694 h 1261310"/>
                    <a:gd name="connsiteX1026" fmla="*/ 886750 w 1559298"/>
                    <a:gd name="connsiteY1026" fmla="*/ 724836 h 1261310"/>
                    <a:gd name="connsiteX1027" fmla="*/ 886580 w 1559298"/>
                    <a:gd name="connsiteY1027" fmla="*/ 722881 h 1261310"/>
                    <a:gd name="connsiteX1028" fmla="*/ 886750 w 1559298"/>
                    <a:gd name="connsiteY1028" fmla="*/ 714090 h 1261310"/>
                    <a:gd name="connsiteX1029" fmla="*/ 886362 w 1559298"/>
                    <a:gd name="connsiteY1029" fmla="*/ 712195 h 1261310"/>
                    <a:gd name="connsiteX1030" fmla="*/ 885427 w 1559298"/>
                    <a:gd name="connsiteY1030" fmla="*/ 710337 h 1261310"/>
                    <a:gd name="connsiteX1031" fmla="*/ 883071 w 1559298"/>
                    <a:gd name="connsiteY1031" fmla="*/ 707788 h 1261310"/>
                    <a:gd name="connsiteX1032" fmla="*/ 881067 w 1559298"/>
                    <a:gd name="connsiteY1032" fmla="*/ 706415 h 1261310"/>
                    <a:gd name="connsiteX1033" fmla="*/ 878882 w 1559298"/>
                    <a:gd name="connsiteY1033" fmla="*/ 705638 h 1261310"/>
                    <a:gd name="connsiteX1034" fmla="*/ 876817 w 1559298"/>
                    <a:gd name="connsiteY1034" fmla="*/ 705517 h 1261310"/>
                    <a:gd name="connsiteX1035" fmla="*/ 875105 w 1559298"/>
                    <a:gd name="connsiteY1035" fmla="*/ 705760 h 1261310"/>
                    <a:gd name="connsiteX1036" fmla="*/ 871936 w 1559298"/>
                    <a:gd name="connsiteY1036" fmla="*/ 707047 h 1261310"/>
                    <a:gd name="connsiteX1037" fmla="*/ 865901 w 1559298"/>
                    <a:gd name="connsiteY1037" fmla="*/ 715255 h 1261310"/>
                    <a:gd name="connsiteX1038" fmla="*/ 865209 w 1559298"/>
                    <a:gd name="connsiteY1038" fmla="*/ 717441 h 1261310"/>
                    <a:gd name="connsiteX1039" fmla="*/ 864699 w 1559298"/>
                    <a:gd name="connsiteY1039" fmla="*/ 720149 h 1261310"/>
                    <a:gd name="connsiteX1040" fmla="*/ 865731 w 1559298"/>
                    <a:gd name="connsiteY1040" fmla="*/ 725856 h 1261310"/>
                    <a:gd name="connsiteX1041" fmla="*/ 865634 w 1559298"/>
                    <a:gd name="connsiteY1041" fmla="*/ 730167 h 1261310"/>
                    <a:gd name="connsiteX1042" fmla="*/ 864929 w 1559298"/>
                    <a:gd name="connsiteY1042" fmla="*/ 732438 h 1261310"/>
                    <a:gd name="connsiteX1043" fmla="*/ 863776 w 1559298"/>
                    <a:gd name="connsiteY1043" fmla="*/ 734053 h 1261310"/>
                    <a:gd name="connsiteX1044" fmla="*/ 862355 w 1559298"/>
                    <a:gd name="connsiteY1044" fmla="*/ 734769 h 1261310"/>
                    <a:gd name="connsiteX1045" fmla="*/ 860521 w 1559298"/>
                    <a:gd name="connsiteY1045" fmla="*/ 735170 h 1261310"/>
                    <a:gd name="connsiteX1046" fmla="*/ 855458 w 1559298"/>
                    <a:gd name="connsiteY1046" fmla="*/ 737295 h 1261310"/>
                    <a:gd name="connsiteX1047" fmla="*/ 844384 w 1559298"/>
                    <a:gd name="connsiteY1047" fmla="*/ 745673 h 1261310"/>
                    <a:gd name="connsiteX1048" fmla="*/ 841894 w 1559298"/>
                    <a:gd name="connsiteY1048" fmla="*/ 748175 h 1261310"/>
                    <a:gd name="connsiteX1049" fmla="*/ 840583 w 1559298"/>
                    <a:gd name="connsiteY1049" fmla="*/ 750215 h 1261310"/>
                    <a:gd name="connsiteX1050" fmla="*/ 839891 w 1559298"/>
                    <a:gd name="connsiteY1050" fmla="*/ 752401 h 1261310"/>
                    <a:gd name="connsiteX1051" fmla="*/ 839551 w 1559298"/>
                    <a:gd name="connsiteY1051" fmla="*/ 754441 h 1261310"/>
                    <a:gd name="connsiteX1052" fmla="*/ 838749 w 1559298"/>
                    <a:gd name="connsiteY1052" fmla="*/ 756687 h 1261310"/>
                    <a:gd name="connsiteX1053" fmla="*/ 837316 w 1559298"/>
                    <a:gd name="connsiteY1053" fmla="*/ 757804 h 1261310"/>
                    <a:gd name="connsiteX1054" fmla="*/ 835313 w 1559298"/>
                    <a:gd name="connsiteY1054" fmla="*/ 758217 h 1261310"/>
                    <a:gd name="connsiteX1055" fmla="*/ 831633 w 1559298"/>
                    <a:gd name="connsiteY1055" fmla="*/ 757622 h 1261310"/>
                    <a:gd name="connsiteX1056" fmla="*/ 829678 w 1559298"/>
                    <a:gd name="connsiteY1056" fmla="*/ 757683 h 1261310"/>
                    <a:gd name="connsiteX1057" fmla="*/ 827493 w 1559298"/>
                    <a:gd name="connsiteY1057" fmla="*/ 758314 h 1261310"/>
                    <a:gd name="connsiteX1058" fmla="*/ 825198 w 1559298"/>
                    <a:gd name="connsiteY1058" fmla="*/ 759577 h 1261310"/>
                    <a:gd name="connsiteX1059" fmla="*/ 823364 w 1559298"/>
                    <a:gd name="connsiteY1059" fmla="*/ 760330 h 1261310"/>
                    <a:gd name="connsiteX1060" fmla="*/ 821810 w 1559298"/>
                    <a:gd name="connsiteY1060" fmla="*/ 760415 h 1261310"/>
                    <a:gd name="connsiteX1061" fmla="*/ 816698 w 1559298"/>
                    <a:gd name="connsiteY1061" fmla="*/ 759589 h 1261310"/>
                    <a:gd name="connsiteX1062" fmla="*/ 812788 w 1559298"/>
                    <a:gd name="connsiteY1062" fmla="*/ 760014 h 1261310"/>
                    <a:gd name="connsiteX1063" fmla="*/ 806255 w 1559298"/>
                    <a:gd name="connsiteY1063" fmla="*/ 762394 h 1261310"/>
                    <a:gd name="connsiteX1064" fmla="*/ 803547 w 1559298"/>
                    <a:gd name="connsiteY1064" fmla="*/ 764471 h 1261310"/>
                    <a:gd name="connsiteX1065" fmla="*/ 802175 w 1559298"/>
                    <a:gd name="connsiteY1065" fmla="*/ 766899 h 1261310"/>
                    <a:gd name="connsiteX1066" fmla="*/ 803025 w 1559298"/>
                    <a:gd name="connsiteY1066" fmla="*/ 774416 h 1261310"/>
                    <a:gd name="connsiteX1067" fmla="*/ 803025 w 1559298"/>
                    <a:gd name="connsiteY1067" fmla="*/ 776832 h 1261310"/>
                    <a:gd name="connsiteX1068" fmla="*/ 802806 w 1559298"/>
                    <a:gd name="connsiteY1068" fmla="*/ 779455 h 1261310"/>
                    <a:gd name="connsiteX1069" fmla="*/ 800450 w 1559298"/>
                    <a:gd name="connsiteY1069" fmla="*/ 789182 h 1261310"/>
                    <a:gd name="connsiteX1070" fmla="*/ 800098 w 1559298"/>
                    <a:gd name="connsiteY1070" fmla="*/ 791282 h 1261310"/>
                    <a:gd name="connsiteX1071" fmla="*/ 800098 w 1559298"/>
                    <a:gd name="connsiteY1071" fmla="*/ 794330 h 1261310"/>
                    <a:gd name="connsiteX1072" fmla="*/ 800742 w 1559298"/>
                    <a:gd name="connsiteY1072" fmla="*/ 799807 h 1261310"/>
                    <a:gd name="connsiteX1073" fmla="*/ 800341 w 1559298"/>
                    <a:gd name="connsiteY1073" fmla="*/ 803595 h 1261310"/>
                    <a:gd name="connsiteX1074" fmla="*/ 799309 w 1559298"/>
                    <a:gd name="connsiteY1074" fmla="*/ 807736 h 1261310"/>
                    <a:gd name="connsiteX1075" fmla="*/ 796601 w 1559298"/>
                    <a:gd name="connsiteY1075" fmla="*/ 813516 h 1261310"/>
                    <a:gd name="connsiteX1076" fmla="*/ 794415 w 1559298"/>
                    <a:gd name="connsiteY1076" fmla="*/ 816042 h 1261310"/>
                    <a:gd name="connsiteX1077" fmla="*/ 792133 w 1559298"/>
                    <a:gd name="connsiteY1077" fmla="*/ 817280 h 1261310"/>
                    <a:gd name="connsiteX1078" fmla="*/ 789534 w 1559298"/>
                    <a:gd name="connsiteY1078" fmla="*/ 817256 h 1261310"/>
                    <a:gd name="connsiteX1079" fmla="*/ 779382 w 1559298"/>
                    <a:gd name="connsiteY1079" fmla="*/ 814402 h 1261310"/>
                    <a:gd name="connsiteX1080" fmla="*/ 777646 w 1559298"/>
                    <a:gd name="connsiteY1080" fmla="*/ 814135 h 1261310"/>
                    <a:gd name="connsiteX1081" fmla="*/ 776152 w 1559298"/>
                    <a:gd name="connsiteY1081" fmla="*/ 814075 h 1261310"/>
                    <a:gd name="connsiteX1082" fmla="*/ 773687 w 1559298"/>
                    <a:gd name="connsiteY1082" fmla="*/ 814560 h 1261310"/>
                    <a:gd name="connsiteX1083" fmla="*/ 773979 w 1559298"/>
                    <a:gd name="connsiteY1083" fmla="*/ 818701 h 1261310"/>
                    <a:gd name="connsiteX1084" fmla="*/ 776274 w 1559298"/>
                    <a:gd name="connsiteY1084" fmla="*/ 824093 h 1261310"/>
                    <a:gd name="connsiteX1085" fmla="*/ 776674 w 1559298"/>
                    <a:gd name="connsiteY1085" fmla="*/ 826764 h 1261310"/>
                    <a:gd name="connsiteX1086" fmla="*/ 776456 w 1559298"/>
                    <a:gd name="connsiteY1086" fmla="*/ 828598 h 1261310"/>
                    <a:gd name="connsiteX1087" fmla="*/ 775703 w 1559298"/>
                    <a:gd name="connsiteY1087" fmla="*/ 829727 h 1261310"/>
                    <a:gd name="connsiteX1088" fmla="*/ 774270 w 1559298"/>
                    <a:gd name="connsiteY1088" fmla="*/ 830966 h 1261310"/>
                    <a:gd name="connsiteX1089" fmla="*/ 772437 w 1559298"/>
                    <a:gd name="connsiteY1089" fmla="*/ 832022 h 1261310"/>
                    <a:gd name="connsiteX1090" fmla="*/ 768818 w 1559298"/>
                    <a:gd name="connsiteY1090" fmla="*/ 833686 h 1261310"/>
                    <a:gd name="connsiteX1091" fmla="*/ 767021 w 1559298"/>
                    <a:gd name="connsiteY1091" fmla="*/ 835130 h 1261310"/>
                    <a:gd name="connsiteX1092" fmla="*/ 765309 w 1559298"/>
                    <a:gd name="connsiteY1092" fmla="*/ 838105 h 1261310"/>
                    <a:gd name="connsiteX1093" fmla="*/ 763706 w 1559298"/>
                    <a:gd name="connsiteY1093" fmla="*/ 842307 h 1261310"/>
                    <a:gd name="connsiteX1094" fmla="*/ 761520 w 1559298"/>
                    <a:gd name="connsiteY1094" fmla="*/ 851645 h 1261310"/>
                    <a:gd name="connsiteX1095" fmla="*/ 758642 w 1559298"/>
                    <a:gd name="connsiteY1095" fmla="*/ 851062 h 1261310"/>
                    <a:gd name="connsiteX1096" fmla="*/ 754453 w 1559298"/>
                    <a:gd name="connsiteY1096" fmla="*/ 847395 h 1261310"/>
                    <a:gd name="connsiteX1097" fmla="*/ 752037 w 1559298"/>
                    <a:gd name="connsiteY1097" fmla="*/ 845926 h 1261310"/>
                    <a:gd name="connsiteX1098" fmla="*/ 750373 w 1559298"/>
                    <a:gd name="connsiteY1098" fmla="*/ 844250 h 1261310"/>
                    <a:gd name="connsiteX1099" fmla="*/ 747568 w 1559298"/>
                    <a:gd name="connsiteY1099" fmla="*/ 840303 h 1261310"/>
                    <a:gd name="connsiteX1100" fmla="*/ 745892 w 1559298"/>
                    <a:gd name="connsiteY1100" fmla="*/ 839295 h 1261310"/>
                    <a:gd name="connsiteX1101" fmla="*/ 744119 w 1559298"/>
                    <a:gd name="connsiteY1101" fmla="*/ 839441 h 1261310"/>
                    <a:gd name="connsiteX1102" fmla="*/ 741764 w 1559298"/>
                    <a:gd name="connsiteY1102" fmla="*/ 839988 h 1261310"/>
                    <a:gd name="connsiteX1103" fmla="*/ 738485 w 1559298"/>
                    <a:gd name="connsiteY1103" fmla="*/ 840048 h 1261310"/>
                    <a:gd name="connsiteX1104" fmla="*/ 734976 w 1559298"/>
                    <a:gd name="connsiteY1104" fmla="*/ 838215 h 1261310"/>
                    <a:gd name="connsiteX1105" fmla="*/ 732741 w 1559298"/>
                    <a:gd name="connsiteY1105" fmla="*/ 837984 h 1261310"/>
                    <a:gd name="connsiteX1106" fmla="*/ 730908 w 1559298"/>
                    <a:gd name="connsiteY1106" fmla="*/ 838773 h 1261310"/>
                    <a:gd name="connsiteX1107" fmla="*/ 730094 w 1559298"/>
                    <a:gd name="connsiteY1107" fmla="*/ 840012 h 1261310"/>
                    <a:gd name="connsiteX1108" fmla="*/ 728771 w 1559298"/>
                    <a:gd name="connsiteY1108" fmla="*/ 843424 h 1261310"/>
                    <a:gd name="connsiteX1109" fmla="*/ 727921 w 1559298"/>
                    <a:gd name="connsiteY1109" fmla="*/ 844286 h 1261310"/>
                    <a:gd name="connsiteX1110" fmla="*/ 726524 w 1559298"/>
                    <a:gd name="connsiteY1110" fmla="*/ 845063 h 1261310"/>
                    <a:gd name="connsiteX1111" fmla="*/ 724181 w 1559298"/>
                    <a:gd name="connsiteY1111" fmla="*/ 845756 h 1261310"/>
                    <a:gd name="connsiteX1112" fmla="*/ 722748 w 1559298"/>
                    <a:gd name="connsiteY1112" fmla="*/ 846642 h 1261310"/>
                    <a:gd name="connsiteX1113" fmla="*/ 722056 w 1559298"/>
                    <a:gd name="connsiteY1113" fmla="*/ 847796 h 1261310"/>
                    <a:gd name="connsiteX1114" fmla="*/ 722104 w 1559298"/>
                    <a:gd name="connsiteY1114" fmla="*/ 849192 h 1261310"/>
                    <a:gd name="connsiteX1115" fmla="*/ 722286 w 1559298"/>
                    <a:gd name="connsiteY1115" fmla="*/ 850455 h 1261310"/>
                    <a:gd name="connsiteX1116" fmla="*/ 722165 w 1559298"/>
                    <a:gd name="connsiteY1116" fmla="*/ 851949 h 1261310"/>
                    <a:gd name="connsiteX1117" fmla="*/ 721315 w 1559298"/>
                    <a:gd name="connsiteY1117" fmla="*/ 853272 h 1261310"/>
                    <a:gd name="connsiteX1118" fmla="*/ 719882 w 1559298"/>
                    <a:gd name="connsiteY1118" fmla="*/ 854328 h 1261310"/>
                    <a:gd name="connsiteX1119" fmla="*/ 715632 w 1559298"/>
                    <a:gd name="connsiteY1119" fmla="*/ 855992 h 1261310"/>
                    <a:gd name="connsiteX1120" fmla="*/ 713786 w 1559298"/>
                    <a:gd name="connsiteY1120" fmla="*/ 857085 h 1261310"/>
                    <a:gd name="connsiteX1121" fmla="*/ 712815 w 1559298"/>
                    <a:gd name="connsiteY1121" fmla="*/ 858396 h 1261310"/>
                    <a:gd name="connsiteX1122" fmla="*/ 712244 w 1559298"/>
                    <a:gd name="connsiteY1122" fmla="*/ 859659 h 1261310"/>
                    <a:gd name="connsiteX1123" fmla="*/ 711661 w 1559298"/>
                    <a:gd name="connsiteY1123" fmla="*/ 861784 h 1261310"/>
                    <a:gd name="connsiteX1124" fmla="*/ 707982 w 1559298"/>
                    <a:gd name="connsiteY1124" fmla="*/ 865087 h 1261310"/>
                    <a:gd name="connsiteX1125" fmla="*/ 695135 w 1559298"/>
                    <a:gd name="connsiteY1125" fmla="*/ 868754 h 1261310"/>
                    <a:gd name="connsiteX1126" fmla="*/ 693459 w 1559298"/>
                    <a:gd name="connsiteY1126" fmla="*/ 870309 h 1261310"/>
                    <a:gd name="connsiteX1127" fmla="*/ 693119 w 1559298"/>
                    <a:gd name="connsiteY1127" fmla="*/ 871997 h 1261310"/>
                    <a:gd name="connsiteX1128" fmla="*/ 694260 w 1559298"/>
                    <a:gd name="connsiteY1128" fmla="*/ 873624 h 1261310"/>
                    <a:gd name="connsiteX1129" fmla="*/ 696908 w 1559298"/>
                    <a:gd name="connsiteY1129" fmla="*/ 876781 h 1261310"/>
                    <a:gd name="connsiteX1130" fmla="*/ 697830 w 1559298"/>
                    <a:gd name="connsiteY1130" fmla="*/ 878335 h 1261310"/>
                    <a:gd name="connsiteX1131" fmla="*/ 697940 w 1559298"/>
                    <a:gd name="connsiteY1131" fmla="*/ 879938 h 1261310"/>
                    <a:gd name="connsiteX1132" fmla="*/ 697770 w 1559298"/>
                    <a:gd name="connsiteY1132" fmla="*/ 881577 h 1261310"/>
                    <a:gd name="connsiteX1133" fmla="*/ 697029 w 1559298"/>
                    <a:gd name="connsiteY1133" fmla="*/ 884151 h 1261310"/>
                    <a:gd name="connsiteX1134" fmla="*/ 697029 w 1559298"/>
                    <a:gd name="connsiteY1134" fmla="*/ 884941 h 1261310"/>
                    <a:gd name="connsiteX1135" fmla="*/ 698280 w 1559298"/>
                    <a:gd name="connsiteY1135" fmla="*/ 887127 h 1261310"/>
                    <a:gd name="connsiteX1136" fmla="*/ 698523 w 1559298"/>
                    <a:gd name="connsiteY1136" fmla="*/ 888523 h 1261310"/>
                    <a:gd name="connsiteX1137" fmla="*/ 697830 w 1559298"/>
                    <a:gd name="connsiteY1137" fmla="*/ 889810 h 1261310"/>
                    <a:gd name="connsiteX1138" fmla="*/ 696215 w 1559298"/>
                    <a:gd name="connsiteY1138" fmla="*/ 891365 h 1261310"/>
                    <a:gd name="connsiteX1139" fmla="*/ 694382 w 1559298"/>
                    <a:gd name="connsiteY1139" fmla="*/ 893975 h 1261310"/>
                    <a:gd name="connsiteX1140" fmla="*/ 694042 w 1559298"/>
                    <a:gd name="connsiteY1140" fmla="*/ 896586 h 1261310"/>
                    <a:gd name="connsiteX1141" fmla="*/ 695013 w 1559298"/>
                    <a:gd name="connsiteY1141" fmla="*/ 898456 h 1261310"/>
                    <a:gd name="connsiteX1142" fmla="*/ 697138 w 1559298"/>
                    <a:gd name="connsiteY1142" fmla="*/ 900338 h 1261310"/>
                    <a:gd name="connsiteX1143" fmla="*/ 697830 w 1559298"/>
                    <a:gd name="connsiteY1143" fmla="*/ 902014 h 1261310"/>
                    <a:gd name="connsiteX1144" fmla="*/ 698693 w 1559298"/>
                    <a:gd name="connsiteY1144" fmla="*/ 906264 h 1261310"/>
                    <a:gd name="connsiteX1145" fmla="*/ 699895 w 1559298"/>
                    <a:gd name="connsiteY1145" fmla="*/ 908279 h 1261310"/>
                    <a:gd name="connsiteX1146" fmla="*/ 704084 w 1559298"/>
                    <a:gd name="connsiteY1146" fmla="*/ 911169 h 1261310"/>
                    <a:gd name="connsiteX1147" fmla="*/ 705638 w 1559298"/>
                    <a:gd name="connsiteY1147" fmla="*/ 912845 h 1261310"/>
                    <a:gd name="connsiteX1148" fmla="*/ 706039 w 1559298"/>
                    <a:gd name="connsiteY1148" fmla="*/ 914970 h 1261310"/>
                    <a:gd name="connsiteX1149" fmla="*/ 705055 w 1559298"/>
                    <a:gd name="connsiteY1149" fmla="*/ 916282 h 1261310"/>
                    <a:gd name="connsiteX1150" fmla="*/ 701036 w 1559298"/>
                    <a:gd name="connsiteY1150" fmla="*/ 919148 h 1261310"/>
                    <a:gd name="connsiteX1151" fmla="*/ 699203 w 1559298"/>
                    <a:gd name="connsiteY1151" fmla="*/ 920155 h 1261310"/>
                    <a:gd name="connsiteX1152" fmla="*/ 696786 w 1559298"/>
                    <a:gd name="connsiteY1152" fmla="*/ 920471 h 1261310"/>
                    <a:gd name="connsiteX1153" fmla="*/ 691674 w 1559298"/>
                    <a:gd name="connsiteY1153" fmla="*/ 919257 h 1261310"/>
                    <a:gd name="connsiteX1154" fmla="*/ 689330 w 1559298"/>
                    <a:gd name="connsiteY1154" fmla="*/ 918953 h 1261310"/>
                    <a:gd name="connsiteX1155" fmla="*/ 684510 w 1559298"/>
                    <a:gd name="connsiteY1155" fmla="*/ 919038 h 1261310"/>
                    <a:gd name="connsiteX1156" fmla="*/ 682542 w 1559298"/>
                    <a:gd name="connsiteY1156" fmla="*/ 918516 h 1261310"/>
                    <a:gd name="connsiteX1157" fmla="*/ 680709 w 1559298"/>
                    <a:gd name="connsiteY1157" fmla="*/ 917229 h 1261310"/>
                    <a:gd name="connsiteX1158" fmla="*/ 677552 w 1559298"/>
                    <a:gd name="connsiteY1158" fmla="*/ 914242 h 1261310"/>
                    <a:gd name="connsiteX1159" fmla="*/ 675949 w 1559298"/>
                    <a:gd name="connsiteY1159" fmla="*/ 913416 h 1261310"/>
                    <a:gd name="connsiteX1160" fmla="*/ 674164 w 1559298"/>
                    <a:gd name="connsiteY1160" fmla="*/ 913015 h 1261310"/>
                    <a:gd name="connsiteX1161" fmla="*/ 671869 w 1559298"/>
                    <a:gd name="connsiteY1161" fmla="*/ 913234 h 1261310"/>
                    <a:gd name="connsiteX1162" fmla="*/ 669234 w 1559298"/>
                    <a:gd name="connsiteY1162" fmla="*/ 913889 h 1261310"/>
                    <a:gd name="connsiteX1163" fmla="*/ 665894 w 1559298"/>
                    <a:gd name="connsiteY1163" fmla="*/ 915869 h 1261310"/>
                    <a:gd name="connsiteX1164" fmla="*/ 664061 w 1559298"/>
                    <a:gd name="connsiteY1164" fmla="*/ 916500 h 1261310"/>
                    <a:gd name="connsiteX1165" fmla="*/ 662167 w 1559298"/>
                    <a:gd name="connsiteY1165" fmla="*/ 916476 h 1261310"/>
                    <a:gd name="connsiteX1166" fmla="*/ 658548 w 1559298"/>
                    <a:gd name="connsiteY1166" fmla="*/ 914497 h 1261310"/>
                    <a:gd name="connsiteX1167" fmla="*/ 655852 w 1559298"/>
                    <a:gd name="connsiteY1167" fmla="*/ 914375 h 1261310"/>
                    <a:gd name="connsiteX1168" fmla="*/ 652464 w 1559298"/>
                    <a:gd name="connsiteY1168" fmla="*/ 915177 h 1261310"/>
                    <a:gd name="connsiteX1169" fmla="*/ 646199 w 1559298"/>
                    <a:gd name="connsiteY1169" fmla="*/ 919050 h 1261310"/>
                    <a:gd name="connsiteX1170" fmla="*/ 642301 w 1559298"/>
                    <a:gd name="connsiteY1170" fmla="*/ 920653 h 1261310"/>
                    <a:gd name="connsiteX1171" fmla="*/ 639945 w 1559298"/>
                    <a:gd name="connsiteY1171" fmla="*/ 921345 h 1261310"/>
                    <a:gd name="connsiteX1172" fmla="*/ 638682 w 1559298"/>
                    <a:gd name="connsiteY1172" fmla="*/ 921236 h 1261310"/>
                    <a:gd name="connsiteX1173" fmla="*/ 636557 w 1559298"/>
                    <a:gd name="connsiteY1173" fmla="*/ 919828 h 1261310"/>
                    <a:gd name="connsiteX1174" fmla="*/ 634092 w 1559298"/>
                    <a:gd name="connsiteY1174" fmla="*/ 920690 h 1261310"/>
                    <a:gd name="connsiteX1175" fmla="*/ 627839 w 1559298"/>
                    <a:gd name="connsiteY1175" fmla="*/ 921977 h 1261310"/>
                    <a:gd name="connsiteX1176" fmla="*/ 625762 w 1559298"/>
                    <a:gd name="connsiteY1176" fmla="*/ 923118 h 1261310"/>
                    <a:gd name="connsiteX1177" fmla="*/ 622787 w 1559298"/>
                    <a:gd name="connsiteY1177" fmla="*/ 925195 h 1261310"/>
                    <a:gd name="connsiteX1178" fmla="*/ 620990 w 1559298"/>
                    <a:gd name="connsiteY1178" fmla="*/ 924223 h 1261310"/>
                    <a:gd name="connsiteX1179" fmla="*/ 619678 w 1559298"/>
                    <a:gd name="connsiteY1179" fmla="*/ 922147 h 1261310"/>
                    <a:gd name="connsiteX1180" fmla="*/ 618003 w 1559298"/>
                    <a:gd name="connsiteY1180" fmla="*/ 921030 h 1261310"/>
                    <a:gd name="connsiteX1181" fmla="*/ 615538 w 1559298"/>
                    <a:gd name="connsiteY1181" fmla="*/ 920107 h 1261310"/>
                    <a:gd name="connsiteX1182" fmla="*/ 614566 w 1559298"/>
                    <a:gd name="connsiteY1182" fmla="*/ 917836 h 1261310"/>
                    <a:gd name="connsiteX1183" fmla="*/ 614214 w 1559298"/>
                    <a:gd name="connsiteY1183" fmla="*/ 914885 h 1261310"/>
                    <a:gd name="connsiteX1184" fmla="*/ 613534 w 1559298"/>
                    <a:gd name="connsiteY1184" fmla="*/ 911898 h 1261310"/>
                    <a:gd name="connsiteX1185" fmla="*/ 611749 w 1559298"/>
                    <a:gd name="connsiteY1185" fmla="*/ 908571 h 1261310"/>
                    <a:gd name="connsiteX1186" fmla="*/ 610316 w 1559298"/>
                    <a:gd name="connsiteY1186" fmla="*/ 907769 h 1261310"/>
                    <a:gd name="connsiteX1187" fmla="*/ 605714 w 1559298"/>
                    <a:gd name="connsiteY1187" fmla="*/ 910477 h 1261310"/>
                    <a:gd name="connsiteX1188" fmla="*/ 603128 w 1559298"/>
                    <a:gd name="connsiteY1188" fmla="*/ 907612 h 1261310"/>
                    <a:gd name="connsiteX1189" fmla="*/ 600153 w 1559298"/>
                    <a:gd name="connsiteY1189" fmla="*/ 909773 h 1261310"/>
                    <a:gd name="connsiteX1190" fmla="*/ 597044 w 1559298"/>
                    <a:gd name="connsiteY1190" fmla="*/ 913610 h 1261310"/>
                    <a:gd name="connsiteX1191" fmla="*/ 594178 w 1559298"/>
                    <a:gd name="connsiteY1191" fmla="*/ 915759 h 1261310"/>
                    <a:gd name="connsiteX1192" fmla="*/ 591531 w 1559298"/>
                    <a:gd name="connsiteY1192" fmla="*/ 915310 h 1261310"/>
                    <a:gd name="connsiteX1193" fmla="*/ 590280 w 1559298"/>
                    <a:gd name="connsiteY1193" fmla="*/ 913756 h 1261310"/>
                    <a:gd name="connsiteX1194" fmla="*/ 589418 w 1559298"/>
                    <a:gd name="connsiteY1194" fmla="*/ 911752 h 1261310"/>
                    <a:gd name="connsiteX1195" fmla="*/ 588386 w 1559298"/>
                    <a:gd name="connsiteY1195" fmla="*/ 909822 h 1261310"/>
                    <a:gd name="connsiteX1196" fmla="*/ 586079 w 1559298"/>
                    <a:gd name="connsiteY1196" fmla="*/ 907867 h 1261310"/>
                    <a:gd name="connsiteX1197" fmla="*/ 584075 w 1559298"/>
                    <a:gd name="connsiteY1197" fmla="*/ 907357 h 1261310"/>
                    <a:gd name="connsiteX1198" fmla="*/ 579303 w 1559298"/>
                    <a:gd name="connsiteY1198" fmla="*/ 907842 h 1261310"/>
                    <a:gd name="connsiteX1199" fmla="*/ 574312 w 1559298"/>
                    <a:gd name="connsiteY1199" fmla="*/ 906009 h 1261310"/>
                    <a:gd name="connsiteX1200" fmla="*/ 572236 w 1559298"/>
                    <a:gd name="connsiteY1200" fmla="*/ 901965 h 1261310"/>
                    <a:gd name="connsiteX1201" fmla="*/ 570864 w 1559298"/>
                    <a:gd name="connsiteY1201" fmla="*/ 897946 h 1261310"/>
                    <a:gd name="connsiteX1202" fmla="*/ 567816 w 1559298"/>
                    <a:gd name="connsiteY1202" fmla="*/ 896112 h 1261310"/>
                    <a:gd name="connsiteX1203" fmla="*/ 565934 w 1559298"/>
                    <a:gd name="connsiteY1203" fmla="*/ 895384 h 1261310"/>
                    <a:gd name="connsiteX1204" fmla="*/ 563748 w 1559298"/>
                    <a:gd name="connsiteY1204" fmla="*/ 896136 h 1261310"/>
                    <a:gd name="connsiteX1205" fmla="*/ 562133 w 1559298"/>
                    <a:gd name="connsiteY1205" fmla="*/ 897060 h 1261310"/>
                    <a:gd name="connsiteX1206" fmla="*/ 561101 w 1559298"/>
                    <a:gd name="connsiteY1206" fmla="*/ 898432 h 1261310"/>
                    <a:gd name="connsiteX1207" fmla="*/ 560069 w 1559298"/>
                    <a:gd name="connsiteY1207" fmla="*/ 900289 h 1261310"/>
                    <a:gd name="connsiteX1208" fmla="*/ 557494 w 1559298"/>
                    <a:gd name="connsiteY1208" fmla="*/ 906009 h 1261310"/>
                    <a:gd name="connsiteX1209" fmla="*/ 556110 w 1559298"/>
                    <a:gd name="connsiteY1209" fmla="*/ 907952 h 1261310"/>
                    <a:gd name="connsiteX1210" fmla="*/ 554738 w 1559298"/>
                    <a:gd name="connsiteY1210" fmla="*/ 909275 h 1261310"/>
                    <a:gd name="connsiteX1211" fmla="*/ 552200 w 1559298"/>
                    <a:gd name="connsiteY1211" fmla="*/ 911109 h 1261310"/>
                    <a:gd name="connsiteX1212" fmla="*/ 550585 w 1559298"/>
                    <a:gd name="connsiteY1212" fmla="*/ 912942 h 1261310"/>
                    <a:gd name="connsiteX1213" fmla="*/ 550828 w 1559298"/>
                    <a:gd name="connsiteY1213" fmla="*/ 917484 h 1261310"/>
                    <a:gd name="connsiteX1214" fmla="*/ 554034 w 1559298"/>
                    <a:gd name="connsiteY1214" fmla="*/ 923567 h 1261310"/>
                    <a:gd name="connsiteX1215" fmla="*/ 554969 w 1559298"/>
                    <a:gd name="connsiteY1215" fmla="*/ 926664 h 1261310"/>
                    <a:gd name="connsiteX1216" fmla="*/ 555709 w 1559298"/>
                    <a:gd name="connsiteY1216" fmla="*/ 930428 h 1261310"/>
                    <a:gd name="connsiteX1217" fmla="*/ 556402 w 1559298"/>
                    <a:gd name="connsiteY1217" fmla="*/ 932104 h 1261310"/>
                    <a:gd name="connsiteX1218" fmla="*/ 557312 w 1559298"/>
                    <a:gd name="connsiteY1218" fmla="*/ 933087 h 1261310"/>
                    <a:gd name="connsiteX1219" fmla="*/ 560178 w 1559298"/>
                    <a:gd name="connsiteY1219" fmla="*/ 934484 h 1261310"/>
                    <a:gd name="connsiteX1220" fmla="*/ 561793 w 1559298"/>
                    <a:gd name="connsiteY1220" fmla="*/ 936026 h 1261310"/>
                    <a:gd name="connsiteX1221" fmla="*/ 562765 w 1559298"/>
                    <a:gd name="connsiteY1221" fmla="*/ 938188 h 1261310"/>
                    <a:gd name="connsiteX1222" fmla="*/ 563627 w 1559298"/>
                    <a:gd name="connsiteY1222" fmla="*/ 941320 h 1261310"/>
                    <a:gd name="connsiteX1223" fmla="*/ 563857 w 1559298"/>
                    <a:gd name="connsiteY1223" fmla="*/ 943615 h 1261310"/>
                    <a:gd name="connsiteX1224" fmla="*/ 563809 w 1559298"/>
                    <a:gd name="connsiteY1224" fmla="*/ 945473 h 1261310"/>
                    <a:gd name="connsiteX1225" fmla="*/ 563105 w 1559298"/>
                    <a:gd name="connsiteY1225" fmla="*/ 947258 h 1261310"/>
                    <a:gd name="connsiteX1226" fmla="*/ 562133 w 1559298"/>
                    <a:gd name="connsiteY1226" fmla="*/ 948922 h 1261310"/>
                    <a:gd name="connsiteX1227" fmla="*/ 561222 w 1559298"/>
                    <a:gd name="connsiteY1227" fmla="*/ 950901 h 1261310"/>
                    <a:gd name="connsiteX1228" fmla="*/ 560639 w 1559298"/>
                    <a:gd name="connsiteY1228" fmla="*/ 953548 h 1261310"/>
                    <a:gd name="connsiteX1229" fmla="*/ 560639 w 1559298"/>
                    <a:gd name="connsiteY1229" fmla="*/ 957592 h 1261310"/>
                    <a:gd name="connsiteX1230" fmla="*/ 561453 w 1559298"/>
                    <a:gd name="connsiteY1230" fmla="*/ 959948 h 1261310"/>
                    <a:gd name="connsiteX1231" fmla="*/ 562655 w 1559298"/>
                    <a:gd name="connsiteY1231" fmla="*/ 961611 h 1261310"/>
                    <a:gd name="connsiteX1232" fmla="*/ 564440 w 1559298"/>
                    <a:gd name="connsiteY1232" fmla="*/ 963166 h 1261310"/>
                    <a:gd name="connsiteX1233" fmla="*/ 566152 w 1559298"/>
                    <a:gd name="connsiteY1233" fmla="*/ 965084 h 1261310"/>
                    <a:gd name="connsiteX1234" fmla="*/ 567816 w 1559298"/>
                    <a:gd name="connsiteY1234" fmla="*/ 968120 h 1261310"/>
                    <a:gd name="connsiteX1235" fmla="*/ 568460 w 1559298"/>
                    <a:gd name="connsiteY1235" fmla="*/ 970476 h 1261310"/>
                    <a:gd name="connsiteX1236" fmla="*/ 568338 w 1559298"/>
                    <a:gd name="connsiteY1236" fmla="*/ 972516 h 1261310"/>
                    <a:gd name="connsiteX1237" fmla="*/ 567658 w 1559298"/>
                    <a:gd name="connsiteY1237" fmla="*/ 973633 h 1261310"/>
                    <a:gd name="connsiteX1238" fmla="*/ 565132 w 1559298"/>
                    <a:gd name="connsiteY1238" fmla="*/ 975333 h 1261310"/>
                    <a:gd name="connsiteX1239" fmla="*/ 564258 w 1559298"/>
                    <a:gd name="connsiteY1239" fmla="*/ 976304 h 1261310"/>
                    <a:gd name="connsiteX1240" fmla="*/ 563857 w 1559298"/>
                    <a:gd name="connsiteY1240" fmla="*/ 977810 h 1261310"/>
                    <a:gd name="connsiteX1241" fmla="*/ 563979 w 1559298"/>
                    <a:gd name="connsiteY1241" fmla="*/ 978636 h 1261310"/>
                    <a:gd name="connsiteX1242" fmla="*/ 566735 w 1559298"/>
                    <a:gd name="connsiteY1242" fmla="*/ 982534 h 1261310"/>
                    <a:gd name="connsiteX1243" fmla="*/ 567245 w 1559298"/>
                    <a:gd name="connsiteY1243" fmla="*/ 984452 h 1261310"/>
                    <a:gd name="connsiteX1244" fmla="*/ 567488 w 1559298"/>
                    <a:gd name="connsiteY1244" fmla="*/ 986152 h 1261310"/>
                    <a:gd name="connsiteX1245" fmla="*/ 567306 w 1559298"/>
                    <a:gd name="connsiteY1245" fmla="*/ 988277 h 1261310"/>
                    <a:gd name="connsiteX1246" fmla="*/ 566845 w 1559298"/>
                    <a:gd name="connsiteY1246" fmla="*/ 989941 h 1261310"/>
                    <a:gd name="connsiteX1247" fmla="*/ 566104 w 1559298"/>
                    <a:gd name="connsiteY1247" fmla="*/ 991349 h 1261310"/>
                    <a:gd name="connsiteX1248" fmla="*/ 564829 w 1559298"/>
                    <a:gd name="connsiteY1248" fmla="*/ 992564 h 1261310"/>
                    <a:gd name="connsiteX1249" fmla="*/ 562825 w 1559298"/>
                    <a:gd name="connsiteY1249" fmla="*/ 993025 h 1261310"/>
                    <a:gd name="connsiteX1250" fmla="*/ 560239 w 1559298"/>
                    <a:gd name="connsiteY1250" fmla="*/ 992333 h 1261310"/>
                    <a:gd name="connsiteX1251" fmla="*/ 557713 w 1559298"/>
                    <a:gd name="connsiteY1251" fmla="*/ 990742 h 1261310"/>
                    <a:gd name="connsiteX1252" fmla="*/ 552783 w 1559298"/>
                    <a:gd name="connsiteY1252" fmla="*/ 986322 h 1261310"/>
                    <a:gd name="connsiteX1253" fmla="*/ 550998 w 1559298"/>
                    <a:gd name="connsiteY1253" fmla="*/ 985241 h 1261310"/>
                    <a:gd name="connsiteX1254" fmla="*/ 550075 w 1559298"/>
                    <a:gd name="connsiteY1254" fmla="*/ 985181 h 1261310"/>
                    <a:gd name="connsiteX1255" fmla="*/ 549164 w 1559298"/>
                    <a:gd name="connsiteY1255" fmla="*/ 985812 h 1261310"/>
                    <a:gd name="connsiteX1256" fmla="*/ 547088 w 1559298"/>
                    <a:gd name="connsiteY1256" fmla="*/ 988739 h 1261310"/>
                    <a:gd name="connsiteX1257" fmla="*/ 545898 w 1559298"/>
                    <a:gd name="connsiteY1257" fmla="*/ 990196 h 1261310"/>
                    <a:gd name="connsiteX1258" fmla="*/ 544283 w 1559298"/>
                    <a:gd name="connsiteY1258" fmla="*/ 991580 h 1261310"/>
                    <a:gd name="connsiteX1259" fmla="*/ 542619 w 1559298"/>
                    <a:gd name="connsiteY1259" fmla="*/ 992612 h 1261310"/>
                    <a:gd name="connsiteX1260" fmla="*/ 535613 w 1559298"/>
                    <a:gd name="connsiteY1260" fmla="*/ 995260 h 1261310"/>
                    <a:gd name="connsiteX1261" fmla="*/ 533719 w 1559298"/>
                    <a:gd name="connsiteY1261" fmla="*/ 995515 h 1261310"/>
                    <a:gd name="connsiteX1262" fmla="*/ 532225 w 1559298"/>
                    <a:gd name="connsiteY1262" fmla="*/ 995053 h 1261310"/>
                    <a:gd name="connsiteX1263" fmla="*/ 531011 w 1559298"/>
                    <a:gd name="connsiteY1263" fmla="*/ 993839 h 1261310"/>
                    <a:gd name="connsiteX1264" fmla="*/ 529991 w 1559298"/>
                    <a:gd name="connsiteY1264" fmla="*/ 992491 h 1261310"/>
                    <a:gd name="connsiteX1265" fmla="*/ 528716 w 1559298"/>
                    <a:gd name="connsiteY1265" fmla="*/ 991544 h 1261310"/>
                    <a:gd name="connsiteX1266" fmla="*/ 527064 w 1559298"/>
                    <a:gd name="connsiteY1266" fmla="*/ 991034 h 1261310"/>
                    <a:gd name="connsiteX1267" fmla="*/ 516718 w 1559298"/>
                    <a:gd name="connsiteY1267" fmla="*/ 991119 h 1261310"/>
                    <a:gd name="connsiteX1268" fmla="*/ 514763 w 1559298"/>
                    <a:gd name="connsiteY1268" fmla="*/ 991604 h 1261310"/>
                    <a:gd name="connsiteX1269" fmla="*/ 510683 w 1559298"/>
                    <a:gd name="connsiteY1269" fmla="*/ 994045 h 1261310"/>
                    <a:gd name="connsiteX1270" fmla="*/ 508158 w 1559298"/>
                    <a:gd name="connsiteY1270" fmla="*/ 995138 h 1261310"/>
                    <a:gd name="connsiteX1271" fmla="*/ 504770 w 1559298"/>
                    <a:gd name="connsiteY1271" fmla="*/ 995854 h 1261310"/>
                    <a:gd name="connsiteX1272" fmla="*/ 495189 w 1559298"/>
                    <a:gd name="connsiteY1272" fmla="*/ 996012 h 1261310"/>
                    <a:gd name="connsiteX1273" fmla="*/ 493234 w 1559298"/>
                    <a:gd name="connsiteY1273" fmla="*/ 997032 h 1261310"/>
                    <a:gd name="connsiteX1274" fmla="*/ 492433 w 1559298"/>
                    <a:gd name="connsiteY1274" fmla="*/ 998198 h 1261310"/>
                    <a:gd name="connsiteX1275" fmla="*/ 492372 w 1559298"/>
                    <a:gd name="connsiteY1275" fmla="*/ 1000226 h 1261310"/>
                    <a:gd name="connsiteX1276" fmla="*/ 492882 w 1559298"/>
                    <a:gd name="connsiteY1276" fmla="*/ 1003942 h 1261310"/>
                    <a:gd name="connsiteX1277" fmla="*/ 492663 w 1559298"/>
                    <a:gd name="connsiteY1277" fmla="*/ 1007014 h 1261310"/>
                    <a:gd name="connsiteX1278" fmla="*/ 484103 w 1559298"/>
                    <a:gd name="connsiteY1278" fmla="*/ 1011859 h 1261310"/>
                    <a:gd name="connsiteX1279" fmla="*/ 478359 w 1559298"/>
                    <a:gd name="connsiteY1279" fmla="*/ 1013620 h 1261310"/>
                    <a:gd name="connsiteX1280" fmla="*/ 476173 w 1559298"/>
                    <a:gd name="connsiteY1280" fmla="*/ 1013498 h 1261310"/>
                    <a:gd name="connsiteX1281" fmla="*/ 474218 w 1559298"/>
                    <a:gd name="connsiteY1281" fmla="*/ 1012976 h 1261310"/>
                    <a:gd name="connsiteX1282" fmla="*/ 472275 w 1559298"/>
                    <a:gd name="connsiteY1282" fmla="*/ 1011944 h 1261310"/>
                    <a:gd name="connsiteX1283" fmla="*/ 469349 w 1559298"/>
                    <a:gd name="connsiteY1283" fmla="*/ 1010851 h 1261310"/>
                    <a:gd name="connsiteX1284" fmla="*/ 467455 w 1559298"/>
                    <a:gd name="connsiteY1284" fmla="*/ 1009127 h 1261310"/>
                    <a:gd name="connsiteX1285" fmla="*/ 466192 w 1559298"/>
                    <a:gd name="connsiteY1285" fmla="*/ 1007487 h 1261310"/>
                    <a:gd name="connsiteX1286" fmla="*/ 465560 w 1559298"/>
                    <a:gd name="connsiteY1286" fmla="*/ 1006516 h 1261310"/>
                    <a:gd name="connsiteX1287" fmla="*/ 464637 w 1559298"/>
                    <a:gd name="connsiteY1287" fmla="*/ 1005763 h 1261310"/>
                    <a:gd name="connsiteX1288" fmla="*/ 461310 w 1559298"/>
                    <a:gd name="connsiteY1288" fmla="*/ 1004294 h 1261310"/>
                    <a:gd name="connsiteX1289" fmla="*/ 459695 w 1559298"/>
                    <a:gd name="connsiteY1289" fmla="*/ 1002946 h 1261310"/>
                    <a:gd name="connsiteX1290" fmla="*/ 458602 w 1559298"/>
                    <a:gd name="connsiteY1290" fmla="*/ 1001282 h 1261310"/>
                    <a:gd name="connsiteX1291" fmla="*/ 458032 w 1559298"/>
                    <a:gd name="connsiteY1291" fmla="*/ 999096 h 1261310"/>
                    <a:gd name="connsiteX1292" fmla="*/ 457230 w 1559298"/>
                    <a:gd name="connsiteY1292" fmla="*/ 997639 h 1261310"/>
                    <a:gd name="connsiteX1293" fmla="*/ 456320 w 1559298"/>
                    <a:gd name="connsiteY1293" fmla="*/ 997142 h 1261310"/>
                    <a:gd name="connsiteX1294" fmla="*/ 455287 w 1559298"/>
                    <a:gd name="connsiteY1294" fmla="*/ 997239 h 1261310"/>
                    <a:gd name="connsiteX1295" fmla="*/ 447067 w 1559298"/>
                    <a:gd name="connsiteY1295" fmla="*/ 998696 h 1261310"/>
                    <a:gd name="connsiteX1296" fmla="*/ 441614 w 1559298"/>
                    <a:gd name="connsiteY1296" fmla="*/ 996753 h 1261310"/>
                    <a:gd name="connsiteX1297" fmla="*/ 440339 w 1559298"/>
                    <a:gd name="connsiteY1297" fmla="*/ 996947 h 1261310"/>
                    <a:gd name="connsiteX1298" fmla="*/ 439647 w 1559298"/>
                    <a:gd name="connsiteY1298" fmla="*/ 997555 h 1261310"/>
                    <a:gd name="connsiteX1299" fmla="*/ 438057 w 1559298"/>
                    <a:gd name="connsiteY1299" fmla="*/ 1003407 h 1261310"/>
                    <a:gd name="connsiteX1300" fmla="*/ 437413 w 1559298"/>
                    <a:gd name="connsiteY1300" fmla="*/ 1004585 h 1261310"/>
                    <a:gd name="connsiteX1301" fmla="*/ 434596 w 1559298"/>
                    <a:gd name="connsiteY1301" fmla="*/ 1006904 h 1261310"/>
                    <a:gd name="connsiteX1302" fmla="*/ 433806 w 1559298"/>
                    <a:gd name="connsiteY1302" fmla="*/ 1007803 h 1261310"/>
                    <a:gd name="connsiteX1303" fmla="*/ 432592 w 1559298"/>
                    <a:gd name="connsiteY1303" fmla="*/ 1009467 h 1261310"/>
                    <a:gd name="connsiteX1304" fmla="*/ 430868 w 1559298"/>
                    <a:gd name="connsiteY1304" fmla="*/ 1010438 h 1261310"/>
                    <a:gd name="connsiteX1305" fmla="*/ 428294 w 1559298"/>
                    <a:gd name="connsiteY1305" fmla="*/ 1011531 h 1261310"/>
                    <a:gd name="connsiteX1306" fmla="*/ 419794 w 1559298"/>
                    <a:gd name="connsiteY1306" fmla="*/ 1014057 h 1261310"/>
                    <a:gd name="connsiteX1307" fmla="*/ 418239 w 1559298"/>
                    <a:gd name="connsiteY1307" fmla="*/ 1014894 h 1261310"/>
                    <a:gd name="connsiteX1308" fmla="*/ 418009 w 1559298"/>
                    <a:gd name="connsiteY1308" fmla="*/ 1015429 h 1261310"/>
                    <a:gd name="connsiteX1309" fmla="*/ 417887 w 1559298"/>
                    <a:gd name="connsiteY1309" fmla="*/ 1016157 h 1261310"/>
                    <a:gd name="connsiteX1310" fmla="*/ 418009 w 1559298"/>
                    <a:gd name="connsiteY1310" fmla="*/ 1016679 h 1261310"/>
                    <a:gd name="connsiteX1311" fmla="*/ 419271 w 1559298"/>
                    <a:gd name="connsiteY1311" fmla="*/ 1019108 h 1261310"/>
                    <a:gd name="connsiteX1312" fmla="*/ 420012 w 1559298"/>
                    <a:gd name="connsiteY1312" fmla="*/ 1020808 h 1261310"/>
                    <a:gd name="connsiteX1313" fmla="*/ 420656 w 1559298"/>
                    <a:gd name="connsiteY1313" fmla="*/ 1023055 h 1261310"/>
                    <a:gd name="connsiteX1314" fmla="*/ 422149 w 1559298"/>
                    <a:gd name="connsiteY1314" fmla="*/ 1031300 h 1261310"/>
                    <a:gd name="connsiteX1315" fmla="*/ 422149 w 1559298"/>
                    <a:gd name="connsiteY1315" fmla="*/ 1032222 h 1261310"/>
                    <a:gd name="connsiteX1316" fmla="*/ 421967 w 1559298"/>
                    <a:gd name="connsiteY1316" fmla="*/ 1033133 h 1261310"/>
                    <a:gd name="connsiteX1317" fmla="*/ 421566 w 1559298"/>
                    <a:gd name="connsiteY1317" fmla="*/ 1033825 h 1261310"/>
                    <a:gd name="connsiteX1318" fmla="*/ 420425 w 1559298"/>
                    <a:gd name="connsiteY1318" fmla="*/ 1034833 h 1261310"/>
                    <a:gd name="connsiteX1319" fmla="*/ 419041 w 1559298"/>
                    <a:gd name="connsiteY1319" fmla="*/ 1034979 h 1261310"/>
                    <a:gd name="connsiteX1320" fmla="*/ 416976 w 1559298"/>
                    <a:gd name="connsiteY1320" fmla="*/ 1034603 h 1261310"/>
                    <a:gd name="connsiteX1321" fmla="*/ 414159 w 1559298"/>
                    <a:gd name="connsiteY1321" fmla="*/ 1033522 h 1261310"/>
                    <a:gd name="connsiteX1322" fmla="*/ 411002 w 1559298"/>
                    <a:gd name="connsiteY1322" fmla="*/ 1032975 h 1261310"/>
                    <a:gd name="connsiteX1323" fmla="*/ 408877 w 1559298"/>
                    <a:gd name="connsiteY1323" fmla="*/ 1033230 h 1261310"/>
                    <a:gd name="connsiteX1324" fmla="*/ 407383 w 1559298"/>
                    <a:gd name="connsiteY1324" fmla="*/ 1033923 h 1261310"/>
                    <a:gd name="connsiteX1325" fmla="*/ 406011 w 1559298"/>
                    <a:gd name="connsiteY1325" fmla="*/ 1034955 h 1261310"/>
                    <a:gd name="connsiteX1326" fmla="*/ 401761 w 1559298"/>
                    <a:gd name="connsiteY1326" fmla="*/ 1037250 h 1261310"/>
                    <a:gd name="connsiteX1327" fmla="*/ 399345 w 1559298"/>
                    <a:gd name="connsiteY1327" fmla="*/ 1037772 h 1261310"/>
                    <a:gd name="connsiteX1328" fmla="*/ 398191 w 1559298"/>
                    <a:gd name="connsiteY1328" fmla="*/ 1038221 h 1261310"/>
                    <a:gd name="connsiteX1329" fmla="*/ 397633 w 1559298"/>
                    <a:gd name="connsiteY1329" fmla="*/ 1038634 h 1261310"/>
                    <a:gd name="connsiteX1330" fmla="*/ 396236 w 1559298"/>
                    <a:gd name="connsiteY1330" fmla="*/ 1040880 h 1261310"/>
                    <a:gd name="connsiteX1331" fmla="*/ 394694 w 1559298"/>
                    <a:gd name="connsiteY1331" fmla="*/ 1042253 h 1261310"/>
                    <a:gd name="connsiteX1332" fmla="*/ 393371 w 1559298"/>
                    <a:gd name="connsiteY1332" fmla="*/ 1042860 h 1261310"/>
                    <a:gd name="connsiteX1333" fmla="*/ 391768 w 1559298"/>
                    <a:gd name="connsiteY1333" fmla="*/ 1043091 h 1261310"/>
                    <a:gd name="connsiteX1334" fmla="*/ 389825 w 1559298"/>
                    <a:gd name="connsiteY1334" fmla="*/ 1043091 h 1261310"/>
                    <a:gd name="connsiteX1335" fmla="*/ 388659 w 1559298"/>
                    <a:gd name="connsiteY1335" fmla="*/ 1043564 h 1261310"/>
                    <a:gd name="connsiteX1336" fmla="*/ 388040 w 1559298"/>
                    <a:gd name="connsiteY1336" fmla="*/ 1044378 h 1261310"/>
                    <a:gd name="connsiteX1337" fmla="*/ 386255 w 1559298"/>
                    <a:gd name="connsiteY1337" fmla="*/ 1050340 h 1261310"/>
                    <a:gd name="connsiteX1338" fmla="*/ 385684 w 1559298"/>
                    <a:gd name="connsiteY1338" fmla="*/ 1051263 h 1261310"/>
                    <a:gd name="connsiteX1339" fmla="*/ 384761 w 1559298"/>
                    <a:gd name="connsiteY1339" fmla="*/ 1052161 h 1261310"/>
                    <a:gd name="connsiteX1340" fmla="*/ 383328 w 1559298"/>
                    <a:gd name="connsiteY1340" fmla="*/ 1053060 h 1261310"/>
                    <a:gd name="connsiteX1341" fmla="*/ 380450 w 1559298"/>
                    <a:gd name="connsiteY1341" fmla="*/ 1055282 h 1261310"/>
                    <a:gd name="connsiteX1342" fmla="*/ 385623 w 1559298"/>
                    <a:gd name="connsiteY1342" fmla="*/ 1060394 h 1261310"/>
                    <a:gd name="connsiteX1343" fmla="*/ 385101 w 1559298"/>
                    <a:gd name="connsiteY1343" fmla="*/ 1062543 h 1261310"/>
                    <a:gd name="connsiteX1344" fmla="*/ 384482 w 1559298"/>
                    <a:gd name="connsiteY1344" fmla="*/ 1064074 h 1261310"/>
                    <a:gd name="connsiteX1345" fmla="*/ 382515 w 1559298"/>
                    <a:gd name="connsiteY1345" fmla="*/ 1064790 h 1261310"/>
                    <a:gd name="connsiteX1346" fmla="*/ 378908 w 1559298"/>
                    <a:gd name="connsiteY1346" fmla="*/ 1065190 h 1261310"/>
                    <a:gd name="connsiteX1347" fmla="*/ 377585 w 1559298"/>
                    <a:gd name="connsiteY1347" fmla="*/ 1065506 h 1261310"/>
                    <a:gd name="connsiteX1348" fmla="*/ 376213 w 1559298"/>
                    <a:gd name="connsiteY1348" fmla="*/ 1066114 h 1261310"/>
                    <a:gd name="connsiteX1349" fmla="*/ 374780 w 1559298"/>
                    <a:gd name="connsiteY1349" fmla="*/ 1067109 h 1261310"/>
                    <a:gd name="connsiteX1350" fmla="*/ 368623 w 1559298"/>
                    <a:gd name="connsiteY1350" fmla="*/ 1072598 h 1261310"/>
                    <a:gd name="connsiteX1351" fmla="*/ 367130 w 1559298"/>
                    <a:gd name="connsiteY1351" fmla="*/ 1073509 h 1261310"/>
                    <a:gd name="connsiteX1352" fmla="*/ 365296 w 1559298"/>
                    <a:gd name="connsiteY1352" fmla="*/ 1074310 h 1261310"/>
                    <a:gd name="connsiteX1353" fmla="*/ 364155 w 1559298"/>
                    <a:gd name="connsiteY1353" fmla="*/ 1074589 h 1261310"/>
                    <a:gd name="connsiteX1354" fmla="*/ 363171 w 1559298"/>
                    <a:gd name="connsiteY1354" fmla="*/ 1074528 h 1261310"/>
                    <a:gd name="connsiteX1355" fmla="*/ 362540 w 1559298"/>
                    <a:gd name="connsiteY1355" fmla="*/ 1074249 h 1261310"/>
                    <a:gd name="connsiteX1356" fmla="*/ 362151 w 1559298"/>
                    <a:gd name="connsiteY1356" fmla="*/ 1073848 h 1261310"/>
                    <a:gd name="connsiteX1357" fmla="*/ 361969 w 1559298"/>
                    <a:gd name="connsiteY1357" fmla="*/ 1073302 h 1261310"/>
                    <a:gd name="connsiteX1358" fmla="*/ 361908 w 1559298"/>
                    <a:gd name="connsiteY1358" fmla="*/ 1072452 h 1261310"/>
                    <a:gd name="connsiteX1359" fmla="*/ 362030 w 1559298"/>
                    <a:gd name="connsiteY1359" fmla="*/ 1071760 h 1261310"/>
                    <a:gd name="connsiteX1360" fmla="*/ 362030 w 1559298"/>
                    <a:gd name="connsiteY1360" fmla="*/ 1070958 h 1261310"/>
                    <a:gd name="connsiteX1361" fmla="*/ 361690 w 1559298"/>
                    <a:gd name="connsiteY1361" fmla="*/ 1070036 h 1261310"/>
                    <a:gd name="connsiteX1362" fmla="*/ 361046 w 1559298"/>
                    <a:gd name="connsiteY1362" fmla="*/ 1068846 h 1261310"/>
                    <a:gd name="connsiteX1363" fmla="*/ 359164 w 1559298"/>
                    <a:gd name="connsiteY1363" fmla="*/ 1066453 h 1261310"/>
                    <a:gd name="connsiteX1364" fmla="*/ 358739 w 1559298"/>
                    <a:gd name="connsiteY1364" fmla="*/ 1065506 h 1261310"/>
                    <a:gd name="connsiteX1365" fmla="*/ 358350 w 1559298"/>
                    <a:gd name="connsiteY1365" fmla="*/ 1062373 h 1261310"/>
                    <a:gd name="connsiteX1366" fmla="*/ 358010 w 1559298"/>
                    <a:gd name="connsiteY1366" fmla="*/ 1060674 h 1261310"/>
                    <a:gd name="connsiteX1367" fmla="*/ 357087 w 1559298"/>
                    <a:gd name="connsiteY1367" fmla="*/ 1060273 h 1261310"/>
                    <a:gd name="connsiteX1368" fmla="*/ 355545 w 1559298"/>
                    <a:gd name="connsiteY1368" fmla="*/ 1059933 h 1261310"/>
                    <a:gd name="connsiteX1369" fmla="*/ 349328 w 1559298"/>
                    <a:gd name="connsiteY1369" fmla="*/ 1059386 h 1261310"/>
                    <a:gd name="connsiteX1370" fmla="*/ 347725 w 1559298"/>
                    <a:gd name="connsiteY1370" fmla="*/ 1058840 h 1261310"/>
                    <a:gd name="connsiteX1371" fmla="*/ 344859 w 1559298"/>
                    <a:gd name="connsiteY1371" fmla="*/ 1057140 h 1261310"/>
                    <a:gd name="connsiteX1372" fmla="*/ 342382 w 1559298"/>
                    <a:gd name="connsiteY1372" fmla="*/ 1056314 h 1261310"/>
                    <a:gd name="connsiteX1373" fmla="*/ 341180 w 1559298"/>
                    <a:gd name="connsiteY1373" fmla="*/ 1056253 h 1261310"/>
                    <a:gd name="connsiteX1374" fmla="*/ 340257 w 1559298"/>
                    <a:gd name="connsiteY1374" fmla="*/ 1056739 h 1261310"/>
                    <a:gd name="connsiteX1375" fmla="*/ 339747 w 1559298"/>
                    <a:gd name="connsiteY1375" fmla="*/ 1057710 h 1261310"/>
                    <a:gd name="connsiteX1376" fmla="*/ 338132 w 1559298"/>
                    <a:gd name="connsiteY1376" fmla="*/ 1064207 h 1261310"/>
                    <a:gd name="connsiteX1377" fmla="*/ 337501 w 1559298"/>
                    <a:gd name="connsiteY1377" fmla="*/ 1065494 h 1261310"/>
                    <a:gd name="connsiteX1378" fmla="*/ 336760 w 1559298"/>
                    <a:gd name="connsiteY1378" fmla="*/ 1066672 h 1261310"/>
                    <a:gd name="connsiteX1379" fmla="*/ 335789 w 1559298"/>
                    <a:gd name="connsiteY1379" fmla="*/ 1067680 h 1261310"/>
                    <a:gd name="connsiteX1380" fmla="*/ 334696 w 1559298"/>
                    <a:gd name="connsiteY1380" fmla="*/ 1068396 h 1261310"/>
                    <a:gd name="connsiteX1381" fmla="*/ 332340 w 1559298"/>
                    <a:gd name="connsiteY1381" fmla="*/ 1069684 h 1261310"/>
                    <a:gd name="connsiteX1382" fmla="*/ 331308 w 1559298"/>
                    <a:gd name="connsiteY1382" fmla="*/ 1070351 h 1261310"/>
                    <a:gd name="connsiteX1383" fmla="*/ 330373 w 1559298"/>
                    <a:gd name="connsiteY1383" fmla="*/ 1071177 h 1261310"/>
                    <a:gd name="connsiteX1384" fmla="*/ 327167 w 1559298"/>
                    <a:gd name="connsiteY1384" fmla="*/ 1074856 h 1261310"/>
                    <a:gd name="connsiteX1385" fmla="*/ 325844 w 1559298"/>
                    <a:gd name="connsiteY1385" fmla="*/ 1076143 h 1261310"/>
                    <a:gd name="connsiteX1386" fmla="*/ 324641 w 1559298"/>
                    <a:gd name="connsiteY1386" fmla="*/ 1076484 h 1261310"/>
                    <a:gd name="connsiteX1387" fmla="*/ 323439 w 1559298"/>
                    <a:gd name="connsiteY1387" fmla="*/ 1075998 h 1261310"/>
                    <a:gd name="connsiteX1388" fmla="*/ 322577 w 1559298"/>
                    <a:gd name="connsiteY1388" fmla="*/ 1075051 h 1261310"/>
                    <a:gd name="connsiteX1389" fmla="*/ 321727 w 1559298"/>
                    <a:gd name="connsiteY1389" fmla="*/ 1073933 h 1261310"/>
                    <a:gd name="connsiteX1390" fmla="*/ 320914 w 1559298"/>
                    <a:gd name="connsiteY1390" fmla="*/ 1073035 h 1261310"/>
                    <a:gd name="connsiteX1391" fmla="*/ 319930 w 1559298"/>
                    <a:gd name="connsiteY1391" fmla="*/ 1072343 h 1261310"/>
                    <a:gd name="connsiteX1392" fmla="*/ 318619 w 1559298"/>
                    <a:gd name="connsiteY1392" fmla="*/ 1072088 h 1261310"/>
                    <a:gd name="connsiteX1393" fmla="*/ 317926 w 1559298"/>
                    <a:gd name="connsiteY1393" fmla="*/ 1072379 h 1261310"/>
                    <a:gd name="connsiteX1394" fmla="*/ 317234 w 1559298"/>
                    <a:gd name="connsiteY1394" fmla="*/ 1073181 h 1261310"/>
                    <a:gd name="connsiteX1395" fmla="*/ 315971 w 1559298"/>
                    <a:gd name="connsiteY1395" fmla="*/ 1077188 h 1261310"/>
                    <a:gd name="connsiteX1396" fmla="*/ 315510 w 1559298"/>
                    <a:gd name="connsiteY1396" fmla="*/ 1077989 h 1261310"/>
                    <a:gd name="connsiteX1397" fmla="*/ 314417 w 1559298"/>
                    <a:gd name="connsiteY1397" fmla="*/ 1079058 h 1261310"/>
                    <a:gd name="connsiteX1398" fmla="*/ 313106 w 1559298"/>
                    <a:gd name="connsiteY1398" fmla="*/ 1079422 h 1261310"/>
                    <a:gd name="connsiteX1399" fmla="*/ 311770 w 1559298"/>
                    <a:gd name="connsiteY1399" fmla="*/ 1079167 h 1261310"/>
                    <a:gd name="connsiteX1400" fmla="*/ 310580 w 1559298"/>
                    <a:gd name="connsiteY1400" fmla="*/ 1078341 h 1261310"/>
                    <a:gd name="connsiteX1401" fmla="*/ 309305 w 1559298"/>
                    <a:gd name="connsiteY1401" fmla="*/ 1077018 h 1261310"/>
                    <a:gd name="connsiteX1402" fmla="*/ 307993 w 1559298"/>
                    <a:gd name="connsiteY1402" fmla="*/ 1076046 h 1261310"/>
                    <a:gd name="connsiteX1403" fmla="*/ 306148 w 1559298"/>
                    <a:gd name="connsiteY1403" fmla="*/ 1075840 h 1261310"/>
                    <a:gd name="connsiteX1404" fmla="*/ 305298 w 1559298"/>
                    <a:gd name="connsiteY1404" fmla="*/ 1076896 h 1261310"/>
                    <a:gd name="connsiteX1405" fmla="*/ 304314 w 1559298"/>
                    <a:gd name="connsiteY1405" fmla="*/ 1080685 h 1261310"/>
                    <a:gd name="connsiteX1406" fmla="*/ 301910 w 1559298"/>
                    <a:gd name="connsiteY1406" fmla="*/ 1085943 h 1261310"/>
                    <a:gd name="connsiteX1407" fmla="*/ 301789 w 1559298"/>
                    <a:gd name="connsiteY1407" fmla="*/ 1086696 h 1261310"/>
                    <a:gd name="connsiteX1408" fmla="*/ 301959 w 1559298"/>
                    <a:gd name="connsiteY1408" fmla="*/ 1087181 h 1261310"/>
                    <a:gd name="connsiteX1409" fmla="*/ 302481 w 1559298"/>
                    <a:gd name="connsiteY1409" fmla="*/ 1087643 h 1261310"/>
                    <a:gd name="connsiteX1410" fmla="*/ 303161 w 1559298"/>
                    <a:gd name="connsiteY1410" fmla="*/ 1087874 h 1261310"/>
                    <a:gd name="connsiteX1411" fmla="*/ 303683 w 1559298"/>
                    <a:gd name="connsiteY1411" fmla="*/ 1087934 h 1261310"/>
                    <a:gd name="connsiteX1412" fmla="*/ 304132 w 1559298"/>
                    <a:gd name="connsiteY1412" fmla="*/ 1087752 h 1261310"/>
                    <a:gd name="connsiteX1413" fmla="*/ 304654 w 1559298"/>
                    <a:gd name="connsiteY1413" fmla="*/ 1087522 h 1261310"/>
                    <a:gd name="connsiteX1414" fmla="*/ 306731 w 1559298"/>
                    <a:gd name="connsiteY1414" fmla="*/ 1086089 h 1261310"/>
                    <a:gd name="connsiteX1415" fmla="*/ 308224 w 1559298"/>
                    <a:gd name="connsiteY1415" fmla="*/ 1085457 h 1261310"/>
                    <a:gd name="connsiteX1416" fmla="*/ 309086 w 1559298"/>
                    <a:gd name="connsiteY1416" fmla="*/ 1085214 h 1261310"/>
                    <a:gd name="connsiteX1417" fmla="*/ 309645 w 1559298"/>
                    <a:gd name="connsiteY1417" fmla="*/ 1085275 h 1261310"/>
                    <a:gd name="connsiteX1418" fmla="*/ 310119 w 1559298"/>
                    <a:gd name="connsiteY1418" fmla="*/ 1085700 h 1261310"/>
                    <a:gd name="connsiteX1419" fmla="*/ 310580 w 1559298"/>
                    <a:gd name="connsiteY1419" fmla="*/ 1086501 h 1261310"/>
                    <a:gd name="connsiteX1420" fmla="*/ 311029 w 1559298"/>
                    <a:gd name="connsiteY1420" fmla="*/ 1088784 h 1261310"/>
                    <a:gd name="connsiteX1421" fmla="*/ 311102 w 1559298"/>
                    <a:gd name="connsiteY1421" fmla="*/ 1089671 h 1261310"/>
                    <a:gd name="connsiteX1422" fmla="*/ 311260 w 1559298"/>
                    <a:gd name="connsiteY1422" fmla="*/ 1090496 h 1261310"/>
                    <a:gd name="connsiteX1423" fmla="*/ 311442 w 1559298"/>
                    <a:gd name="connsiteY1423" fmla="*/ 1091128 h 1261310"/>
                    <a:gd name="connsiteX1424" fmla="*/ 312013 w 1559298"/>
                    <a:gd name="connsiteY1424" fmla="*/ 1091929 h 1261310"/>
                    <a:gd name="connsiteX1425" fmla="*/ 312936 w 1559298"/>
                    <a:gd name="connsiteY1425" fmla="*/ 1092415 h 1261310"/>
                    <a:gd name="connsiteX1426" fmla="*/ 314016 w 1559298"/>
                    <a:gd name="connsiteY1426" fmla="*/ 1092646 h 1261310"/>
                    <a:gd name="connsiteX1427" fmla="*/ 315061 w 1559298"/>
                    <a:gd name="connsiteY1427" fmla="*/ 1092682 h 1261310"/>
                    <a:gd name="connsiteX1428" fmla="*/ 317125 w 1559298"/>
                    <a:gd name="connsiteY1428" fmla="*/ 1092403 h 1261310"/>
                    <a:gd name="connsiteX1429" fmla="*/ 317926 w 1559298"/>
                    <a:gd name="connsiteY1429" fmla="*/ 1092427 h 1261310"/>
                    <a:gd name="connsiteX1430" fmla="*/ 318619 w 1559298"/>
                    <a:gd name="connsiteY1430" fmla="*/ 1092949 h 1261310"/>
                    <a:gd name="connsiteX1431" fmla="*/ 319129 w 1559298"/>
                    <a:gd name="connsiteY1431" fmla="*/ 1093799 h 1261310"/>
                    <a:gd name="connsiteX1432" fmla="*/ 319359 w 1559298"/>
                    <a:gd name="connsiteY1432" fmla="*/ 1095147 h 1261310"/>
                    <a:gd name="connsiteX1433" fmla="*/ 319420 w 1559298"/>
                    <a:gd name="connsiteY1433" fmla="*/ 1096556 h 1261310"/>
                    <a:gd name="connsiteX1434" fmla="*/ 319651 w 1559298"/>
                    <a:gd name="connsiteY1434" fmla="*/ 1097928 h 1261310"/>
                    <a:gd name="connsiteX1435" fmla="*/ 320112 w 1559298"/>
                    <a:gd name="connsiteY1435" fmla="*/ 1099021 h 1261310"/>
                    <a:gd name="connsiteX1436" fmla="*/ 320792 w 1559298"/>
                    <a:gd name="connsiteY1436" fmla="*/ 1099907 h 1261310"/>
                    <a:gd name="connsiteX1437" fmla="*/ 321946 w 1559298"/>
                    <a:gd name="connsiteY1437" fmla="*/ 1100660 h 1261310"/>
                    <a:gd name="connsiteX1438" fmla="*/ 323099 w 1559298"/>
                    <a:gd name="connsiteY1438" fmla="*/ 1101328 h 1261310"/>
                    <a:gd name="connsiteX1439" fmla="*/ 325734 w 1559298"/>
                    <a:gd name="connsiteY1439" fmla="*/ 1102445 h 1261310"/>
                    <a:gd name="connsiteX1440" fmla="*/ 326366 w 1559298"/>
                    <a:gd name="connsiteY1440" fmla="*/ 1102907 h 1261310"/>
                    <a:gd name="connsiteX1441" fmla="*/ 326706 w 1559298"/>
                    <a:gd name="connsiteY1441" fmla="*/ 1103623 h 1261310"/>
                    <a:gd name="connsiteX1442" fmla="*/ 326475 w 1559298"/>
                    <a:gd name="connsiteY1442" fmla="*/ 1104692 h 1261310"/>
                    <a:gd name="connsiteX1443" fmla="*/ 325625 w 1559298"/>
                    <a:gd name="connsiteY1443" fmla="*/ 1105517 h 1261310"/>
                    <a:gd name="connsiteX1444" fmla="*/ 324641 w 1559298"/>
                    <a:gd name="connsiteY1444" fmla="*/ 1106064 h 1261310"/>
                    <a:gd name="connsiteX1445" fmla="*/ 323269 w 1559298"/>
                    <a:gd name="connsiteY1445" fmla="*/ 1106319 h 1261310"/>
                    <a:gd name="connsiteX1446" fmla="*/ 319991 w 1559298"/>
                    <a:gd name="connsiteY1446" fmla="*/ 1106635 h 1261310"/>
                    <a:gd name="connsiteX1447" fmla="*/ 317866 w 1559298"/>
                    <a:gd name="connsiteY1447" fmla="*/ 1107242 h 1261310"/>
                    <a:gd name="connsiteX1448" fmla="*/ 317004 w 1559298"/>
                    <a:gd name="connsiteY1448" fmla="*/ 1108177 h 1261310"/>
                    <a:gd name="connsiteX1449" fmla="*/ 316664 w 1559298"/>
                    <a:gd name="connsiteY1449" fmla="*/ 1109646 h 1261310"/>
                    <a:gd name="connsiteX1450" fmla="*/ 316943 w 1559298"/>
                    <a:gd name="connsiteY1450" fmla="*/ 1112864 h 1261310"/>
                    <a:gd name="connsiteX1451" fmla="*/ 317404 w 1559298"/>
                    <a:gd name="connsiteY1451" fmla="*/ 1114479 h 1261310"/>
                    <a:gd name="connsiteX1452" fmla="*/ 318218 w 1559298"/>
                    <a:gd name="connsiteY1452" fmla="*/ 1116106 h 1261310"/>
                    <a:gd name="connsiteX1453" fmla="*/ 319529 w 1559298"/>
                    <a:gd name="connsiteY1453" fmla="*/ 1118182 h 1261310"/>
                    <a:gd name="connsiteX1454" fmla="*/ 319809 w 1559298"/>
                    <a:gd name="connsiteY1454" fmla="*/ 1118947 h 1261310"/>
                    <a:gd name="connsiteX1455" fmla="*/ 319809 w 1559298"/>
                    <a:gd name="connsiteY1455" fmla="*/ 1119894 h 1261310"/>
                    <a:gd name="connsiteX1456" fmla="*/ 319529 w 1559298"/>
                    <a:gd name="connsiteY1456" fmla="*/ 1123513 h 1261310"/>
                    <a:gd name="connsiteX1457" fmla="*/ 319809 w 1559298"/>
                    <a:gd name="connsiteY1457" fmla="*/ 1125067 h 1261310"/>
                    <a:gd name="connsiteX1458" fmla="*/ 320331 w 1559298"/>
                    <a:gd name="connsiteY1458" fmla="*/ 1126306 h 1261310"/>
                    <a:gd name="connsiteX1459" fmla="*/ 321144 w 1559298"/>
                    <a:gd name="connsiteY1459" fmla="*/ 1126767 h 1261310"/>
                    <a:gd name="connsiteX1460" fmla="*/ 321946 w 1559298"/>
                    <a:gd name="connsiteY1460" fmla="*/ 1126767 h 1261310"/>
                    <a:gd name="connsiteX1461" fmla="*/ 322856 w 1559298"/>
                    <a:gd name="connsiteY1461" fmla="*/ 1126391 h 1261310"/>
                    <a:gd name="connsiteX1462" fmla="*/ 323549 w 1559298"/>
                    <a:gd name="connsiteY1462" fmla="*/ 1125966 h 1261310"/>
                    <a:gd name="connsiteX1463" fmla="*/ 325224 w 1559298"/>
                    <a:gd name="connsiteY1463" fmla="*/ 1124727 h 1261310"/>
                    <a:gd name="connsiteX1464" fmla="*/ 326135 w 1559298"/>
                    <a:gd name="connsiteY1464" fmla="*/ 1124242 h 1261310"/>
                    <a:gd name="connsiteX1465" fmla="*/ 327119 w 1559298"/>
                    <a:gd name="connsiteY1465" fmla="*/ 1124120 h 1261310"/>
                    <a:gd name="connsiteX1466" fmla="*/ 328260 w 1559298"/>
                    <a:gd name="connsiteY1466" fmla="*/ 1124412 h 1261310"/>
                    <a:gd name="connsiteX1467" fmla="*/ 344337 w 1559298"/>
                    <a:gd name="connsiteY1467" fmla="*/ 1131892 h 1261310"/>
                    <a:gd name="connsiteX1468" fmla="*/ 345661 w 1559298"/>
                    <a:gd name="connsiteY1468" fmla="*/ 1132754 h 1261310"/>
                    <a:gd name="connsiteX1469" fmla="*/ 347045 w 1559298"/>
                    <a:gd name="connsiteY1469" fmla="*/ 1134102 h 1261310"/>
                    <a:gd name="connsiteX1470" fmla="*/ 347907 w 1559298"/>
                    <a:gd name="connsiteY1470" fmla="*/ 1135389 h 1261310"/>
                    <a:gd name="connsiteX1471" fmla="*/ 348478 w 1559298"/>
                    <a:gd name="connsiteY1471" fmla="*/ 1136883 h 1261310"/>
                    <a:gd name="connsiteX1472" fmla="*/ 348879 w 1559298"/>
                    <a:gd name="connsiteY1472" fmla="*/ 1138910 h 1261310"/>
                    <a:gd name="connsiteX1473" fmla="*/ 348939 w 1559298"/>
                    <a:gd name="connsiteY1473" fmla="*/ 1141691 h 1261310"/>
                    <a:gd name="connsiteX1474" fmla="*/ 347847 w 1559298"/>
                    <a:gd name="connsiteY1474" fmla="*/ 1149706 h 1261310"/>
                    <a:gd name="connsiteX1475" fmla="*/ 348126 w 1559298"/>
                    <a:gd name="connsiteY1475" fmla="*/ 1156129 h 1261310"/>
                    <a:gd name="connsiteX1476" fmla="*/ 347665 w 1559298"/>
                    <a:gd name="connsiteY1476" fmla="*/ 1159602 h 1261310"/>
                    <a:gd name="connsiteX1477" fmla="*/ 346693 w 1559298"/>
                    <a:gd name="connsiteY1477" fmla="*/ 1161181 h 1261310"/>
                    <a:gd name="connsiteX1478" fmla="*/ 345369 w 1559298"/>
                    <a:gd name="connsiteY1478" fmla="*/ 1161982 h 1261310"/>
                    <a:gd name="connsiteX1479" fmla="*/ 337622 w 1559298"/>
                    <a:gd name="connsiteY1479" fmla="*/ 1162188 h 1261310"/>
                    <a:gd name="connsiteX1480" fmla="*/ 335789 w 1559298"/>
                    <a:gd name="connsiteY1480" fmla="*/ 1162796 h 1261310"/>
                    <a:gd name="connsiteX1481" fmla="*/ 334234 w 1559298"/>
                    <a:gd name="connsiteY1481" fmla="*/ 1163743 h 1261310"/>
                    <a:gd name="connsiteX1482" fmla="*/ 332170 w 1559298"/>
                    <a:gd name="connsiteY1482" fmla="*/ 1165941 h 1261310"/>
                    <a:gd name="connsiteX1483" fmla="*/ 331539 w 1559298"/>
                    <a:gd name="connsiteY1483" fmla="*/ 1167361 h 1261310"/>
                    <a:gd name="connsiteX1484" fmla="*/ 331709 w 1559298"/>
                    <a:gd name="connsiteY1484" fmla="*/ 1168758 h 1261310"/>
                    <a:gd name="connsiteX1485" fmla="*/ 332619 w 1559298"/>
                    <a:gd name="connsiteY1485" fmla="*/ 1169559 h 1261310"/>
                    <a:gd name="connsiteX1486" fmla="*/ 333943 w 1559298"/>
                    <a:gd name="connsiteY1486" fmla="*/ 1170142 h 1261310"/>
                    <a:gd name="connsiteX1487" fmla="*/ 338193 w 1559298"/>
                    <a:gd name="connsiteY1487" fmla="*/ 1171198 h 1261310"/>
                    <a:gd name="connsiteX1488" fmla="*/ 339116 w 1559298"/>
                    <a:gd name="connsiteY1488" fmla="*/ 1171539 h 1261310"/>
                    <a:gd name="connsiteX1489" fmla="*/ 339917 w 1559298"/>
                    <a:gd name="connsiteY1489" fmla="*/ 1172061 h 1261310"/>
                    <a:gd name="connsiteX1490" fmla="*/ 340488 w 1559298"/>
                    <a:gd name="connsiteY1490" fmla="*/ 1172862 h 1261310"/>
                    <a:gd name="connsiteX1491" fmla="*/ 340840 w 1559298"/>
                    <a:gd name="connsiteY1491" fmla="*/ 1174611 h 1261310"/>
                    <a:gd name="connsiteX1492" fmla="*/ 340779 w 1559298"/>
                    <a:gd name="connsiteY1492" fmla="*/ 1177136 h 1261310"/>
                    <a:gd name="connsiteX1493" fmla="*/ 340027 w 1559298"/>
                    <a:gd name="connsiteY1493" fmla="*/ 1181909 h 1261310"/>
                    <a:gd name="connsiteX1494" fmla="*/ 338703 w 1559298"/>
                    <a:gd name="connsiteY1494" fmla="*/ 1185211 h 1261310"/>
                    <a:gd name="connsiteX1495" fmla="*/ 337161 w 1559298"/>
                    <a:gd name="connsiteY1495" fmla="*/ 1187907 h 1261310"/>
                    <a:gd name="connsiteX1496" fmla="*/ 334805 w 1559298"/>
                    <a:gd name="connsiteY1496" fmla="*/ 1191319 h 1261310"/>
                    <a:gd name="connsiteX1497" fmla="*/ 331308 w 1559298"/>
                    <a:gd name="connsiteY1497" fmla="*/ 1198387 h 1261310"/>
                    <a:gd name="connsiteX1498" fmla="*/ 326087 w 1559298"/>
                    <a:gd name="connsiteY1498" fmla="*/ 1205223 h 1261310"/>
                    <a:gd name="connsiteX1499" fmla="*/ 325504 w 1559298"/>
                    <a:gd name="connsiteY1499" fmla="*/ 1206219 h 1261310"/>
                    <a:gd name="connsiteX1500" fmla="*/ 325734 w 1559298"/>
                    <a:gd name="connsiteY1500" fmla="*/ 1207044 h 1261310"/>
                    <a:gd name="connsiteX1501" fmla="*/ 328199 w 1559298"/>
                    <a:gd name="connsiteY1501" fmla="*/ 1209291 h 1261310"/>
                    <a:gd name="connsiteX1502" fmla="*/ 329122 w 1559298"/>
                    <a:gd name="connsiteY1502" fmla="*/ 1210554 h 1261310"/>
                    <a:gd name="connsiteX1503" fmla="*/ 329584 w 1559298"/>
                    <a:gd name="connsiteY1503" fmla="*/ 1212326 h 1261310"/>
                    <a:gd name="connsiteX1504" fmla="*/ 328879 w 1559298"/>
                    <a:gd name="connsiteY1504" fmla="*/ 1214185 h 1261310"/>
                    <a:gd name="connsiteX1505" fmla="*/ 325164 w 1559298"/>
                    <a:gd name="connsiteY1505" fmla="*/ 1221191 h 1261310"/>
                    <a:gd name="connsiteX1506" fmla="*/ 321727 w 1559298"/>
                    <a:gd name="connsiteY1506" fmla="*/ 1226473 h 1261310"/>
                    <a:gd name="connsiteX1507" fmla="*/ 319930 w 1559298"/>
                    <a:gd name="connsiteY1507" fmla="*/ 1228234 h 1261310"/>
                    <a:gd name="connsiteX1508" fmla="*/ 316664 w 1559298"/>
                    <a:gd name="connsiteY1508" fmla="*/ 1230759 h 1261310"/>
                    <a:gd name="connsiteX1509" fmla="*/ 314696 w 1559298"/>
                    <a:gd name="connsiteY1509" fmla="*/ 1231767 h 1261310"/>
                    <a:gd name="connsiteX1510" fmla="*/ 312414 w 1559298"/>
                    <a:gd name="connsiteY1510" fmla="*/ 1232629 h 1261310"/>
                    <a:gd name="connsiteX1511" fmla="*/ 307593 w 1559298"/>
                    <a:gd name="connsiteY1511" fmla="*/ 1233382 h 1261310"/>
                    <a:gd name="connsiteX1512" fmla="*/ 301509 w 1559298"/>
                    <a:gd name="connsiteY1512" fmla="*/ 1233382 h 1261310"/>
                    <a:gd name="connsiteX1513" fmla="*/ 300416 w 1559298"/>
                    <a:gd name="connsiteY1513" fmla="*/ 1233091 h 1261310"/>
                    <a:gd name="connsiteX1514" fmla="*/ 299833 w 1559298"/>
                    <a:gd name="connsiteY1514" fmla="*/ 1232787 h 1261310"/>
                    <a:gd name="connsiteX1515" fmla="*/ 299724 w 1559298"/>
                    <a:gd name="connsiteY1515" fmla="*/ 1232326 h 1261310"/>
                    <a:gd name="connsiteX1516" fmla="*/ 299773 w 1559298"/>
                    <a:gd name="connsiteY1516" fmla="*/ 1231743 h 1261310"/>
                    <a:gd name="connsiteX1517" fmla="*/ 300003 w 1559298"/>
                    <a:gd name="connsiteY1517" fmla="*/ 1230893 h 1261310"/>
                    <a:gd name="connsiteX1518" fmla="*/ 300234 w 1559298"/>
                    <a:gd name="connsiteY1518" fmla="*/ 1228562 h 1261310"/>
                    <a:gd name="connsiteX1519" fmla="*/ 300064 w 1559298"/>
                    <a:gd name="connsiteY1519" fmla="*/ 1227287 h 1261310"/>
                    <a:gd name="connsiteX1520" fmla="*/ 299663 w 1559298"/>
                    <a:gd name="connsiteY1520" fmla="*/ 1226024 h 1261310"/>
                    <a:gd name="connsiteX1521" fmla="*/ 298923 w 1559298"/>
                    <a:gd name="connsiteY1521" fmla="*/ 1225198 h 1261310"/>
                    <a:gd name="connsiteX1522" fmla="*/ 297599 w 1559298"/>
                    <a:gd name="connsiteY1522" fmla="*/ 1224773 h 1261310"/>
                    <a:gd name="connsiteX1523" fmla="*/ 296045 w 1559298"/>
                    <a:gd name="connsiteY1523" fmla="*/ 1225052 h 1261310"/>
                    <a:gd name="connsiteX1524" fmla="*/ 294491 w 1559298"/>
                    <a:gd name="connsiteY1524" fmla="*/ 1225781 h 1261310"/>
                    <a:gd name="connsiteX1525" fmla="*/ 285481 w 1559298"/>
                    <a:gd name="connsiteY1525" fmla="*/ 1232739 h 1261310"/>
                    <a:gd name="connsiteX1526" fmla="*/ 283015 w 1559298"/>
                    <a:gd name="connsiteY1526" fmla="*/ 1235774 h 1261310"/>
                    <a:gd name="connsiteX1527" fmla="*/ 281522 w 1559298"/>
                    <a:gd name="connsiteY1527" fmla="*/ 1240292 h 1261310"/>
                    <a:gd name="connsiteX1528" fmla="*/ 280660 w 1559298"/>
                    <a:gd name="connsiteY1528" fmla="*/ 1241822 h 1261310"/>
                    <a:gd name="connsiteX1529" fmla="*/ 279688 w 1559298"/>
                    <a:gd name="connsiteY1529" fmla="*/ 1242757 h 1261310"/>
                    <a:gd name="connsiteX1530" fmla="*/ 277381 w 1559298"/>
                    <a:gd name="connsiteY1530" fmla="*/ 1243619 h 1261310"/>
                    <a:gd name="connsiteX1531" fmla="*/ 277041 w 1559298"/>
                    <a:gd name="connsiteY1531" fmla="*/ 1244311 h 1261310"/>
                    <a:gd name="connsiteX1532" fmla="*/ 277260 w 1559298"/>
                    <a:gd name="connsiteY1532" fmla="*/ 1245173 h 1261310"/>
                    <a:gd name="connsiteX1533" fmla="*/ 278243 w 1559298"/>
                    <a:gd name="connsiteY1533" fmla="*/ 1246970 h 1261310"/>
                    <a:gd name="connsiteX1534" fmla="*/ 278474 w 1559298"/>
                    <a:gd name="connsiteY1534" fmla="*/ 1249873 h 1261310"/>
                    <a:gd name="connsiteX1535" fmla="*/ 271128 w 1559298"/>
                    <a:gd name="connsiteY1535" fmla="*/ 1250018 h 1261310"/>
                    <a:gd name="connsiteX1536" fmla="*/ 260150 w 1559298"/>
                    <a:gd name="connsiteY1536" fmla="*/ 1254353 h 1261310"/>
                    <a:gd name="connsiteX1537" fmla="*/ 257807 w 1559298"/>
                    <a:gd name="connsiteY1537" fmla="*/ 1255009 h 1261310"/>
                    <a:gd name="connsiteX1538" fmla="*/ 255742 w 1559298"/>
                    <a:gd name="connsiteY1538" fmla="*/ 1254754 h 1261310"/>
                    <a:gd name="connsiteX1539" fmla="*/ 252925 w 1559298"/>
                    <a:gd name="connsiteY1539" fmla="*/ 1254001 h 1261310"/>
                    <a:gd name="connsiteX1540" fmla="*/ 248845 w 1559298"/>
                    <a:gd name="connsiteY1540" fmla="*/ 1251354 h 1261310"/>
                    <a:gd name="connsiteX1541" fmla="*/ 246842 w 1559298"/>
                    <a:gd name="connsiteY1541" fmla="*/ 1249083 h 1261310"/>
                    <a:gd name="connsiteX1542" fmla="*/ 245518 w 1559298"/>
                    <a:gd name="connsiteY1542" fmla="*/ 1246375 h 1261310"/>
                    <a:gd name="connsiteX1543" fmla="*/ 243223 w 1559298"/>
                    <a:gd name="connsiteY1543" fmla="*/ 1236443 h 1261310"/>
                    <a:gd name="connsiteX1544" fmla="*/ 242409 w 1559298"/>
                    <a:gd name="connsiteY1544" fmla="*/ 1234293 h 1261310"/>
                    <a:gd name="connsiteX1545" fmla="*/ 240916 w 1559298"/>
                    <a:gd name="connsiteY1545" fmla="*/ 1232520 h 1261310"/>
                    <a:gd name="connsiteX1546" fmla="*/ 239264 w 1559298"/>
                    <a:gd name="connsiteY1546" fmla="*/ 1231476 h 1261310"/>
                    <a:gd name="connsiteX1547" fmla="*/ 236496 w 1559298"/>
                    <a:gd name="connsiteY1547" fmla="*/ 1230723 h 1261310"/>
                    <a:gd name="connsiteX1548" fmla="*/ 232938 w 1559298"/>
                    <a:gd name="connsiteY1548" fmla="*/ 1230128 h 1261310"/>
                    <a:gd name="connsiteX1549" fmla="*/ 231566 w 1559298"/>
                    <a:gd name="connsiteY1549" fmla="*/ 1229727 h 1261310"/>
                    <a:gd name="connsiteX1550" fmla="*/ 230303 w 1559298"/>
                    <a:gd name="connsiteY1550" fmla="*/ 1228926 h 1261310"/>
                    <a:gd name="connsiteX1551" fmla="*/ 229611 w 1559298"/>
                    <a:gd name="connsiteY1551" fmla="*/ 1227979 h 1261310"/>
                    <a:gd name="connsiteX1552" fmla="*/ 229198 w 1559298"/>
                    <a:gd name="connsiteY1552" fmla="*/ 1226607 h 1261310"/>
                    <a:gd name="connsiteX1553" fmla="*/ 228809 w 1559298"/>
                    <a:gd name="connsiteY1553" fmla="*/ 1223534 h 1261310"/>
                    <a:gd name="connsiteX1554" fmla="*/ 228129 w 1559298"/>
                    <a:gd name="connsiteY1554" fmla="*/ 1222733 h 1261310"/>
                    <a:gd name="connsiteX1555" fmla="*/ 227024 w 1559298"/>
                    <a:gd name="connsiteY1555" fmla="*/ 1222418 h 1261310"/>
                    <a:gd name="connsiteX1556" fmla="*/ 225422 w 1559298"/>
                    <a:gd name="connsiteY1556" fmla="*/ 1223632 h 1261310"/>
                    <a:gd name="connsiteX1557" fmla="*/ 224559 w 1559298"/>
                    <a:gd name="connsiteY1557" fmla="*/ 1224579 h 1261310"/>
                    <a:gd name="connsiteX1558" fmla="*/ 221852 w 1559298"/>
                    <a:gd name="connsiteY1558" fmla="*/ 1228914 h 1261310"/>
                    <a:gd name="connsiteX1559" fmla="*/ 220710 w 1559298"/>
                    <a:gd name="connsiteY1559" fmla="*/ 1230395 h 1261310"/>
                    <a:gd name="connsiteX1560" fmla="*/ 219156 w 1559298"/>
                    <a:gd name="connsiteY1560" fmla="*/ 1230978 h 1261310"/>
                    <a:gd name="connsiteX1561" fmla="*/ 216509 w 1559298"/>
                    <a:gd name="connsiteY1561" fmla="*/ 1231355 h 1261310"/>
                    <a:gd name="connsiteX1562" fmla="*/ 207499 w 1559298"/>
                    <a:gd name="connsiteY1562" fmla="*/ 1231804 h 1261310"/>
                    <a:gd name="connsiteX1563" fmla="*/ 203479 w 1559298"/>
                    <a:gd name="connsiteY1563" fmla="*/ 1233929 h 1261310"/>
                    <a:gd name="connsiteX1564" fmla="*/ 201427 w 1559298"/>
                    <a:gd name="connsiteY1564" fmla="*/ 1233674 h 1261310"/>
                    <a:gd name="connsiteX1565" fmla="*/ 198148 w 1559298"/>
                    <a:gd name="connsiteY1565" fmla="*/ 1233309 h 1261310"/>
                    <a:gd name="connsiteX1566" fmla="*/ 195101 w 1559298"/>
                    <a:gd name="connsiteY1566" fmla="*/ 1232593 h 1261310"/>
                    <a:gd name="connsiteX1567" fmla="*/ 193267 w 1559298"/>
                    <a:gd name="connsiteY1567" fmla="*/ 1231306 h 1261310"/>
                    <a:gd name="connsiteX1568" fmla="*/ 192757 w 1559298"/>
                    <a:gd name="connsiteY1568" fmla="*/ 1228987 h 1261310"/>
                    <a:gd name="connsiteX1569" fmla="*/ 193267 w 1559298"/>
                    <a:gd name="connsiteY1569" fmla="*/ 1220705 h 1261310"/>
                    <a:gd name="connsiteX1570" fmla="*/ 191834 w 1559298"/>
                    <a:gd name="connsiteY1570" fmla="*/ 1215897 h 1261310"/>
                    <a:gd name="connsiteX1571" fmla="*/ 185459 w 1559298"/>
                    <a:gd name="connsiteY1571" fmla="*/ 1203657 h 1261310"/>
                    <a:gd name="connsiteX1572" fmla="*/ 182241 w 1559298"/>
                    <a:gd name="connsiteY1572" fmla="*/ 1199406 h 1261310"/>
                    <a:gd name="connsiteX1573" fmla="*/ 171276 w 1559298"/>
                    <a:gd name="connsiteY1573" fmla="*/ 1190506 h 1261310"/>
                    <a:gd name="connsiteX1574" fmla="*/ 167706 w 1559298"/>
                    <a:gd name="connsiteY1574" fmla="*/ 1186972 h 1261310"/>
                    <a:gd name="connsiteX1575" fmla="*/ 164148 w 1559298"/>
                    <a:gd name="connsiteY1575" fmla="*/ 1181981 h 1261310"/>
                    <a:gd name="connsiteX1576" fmla="*/ 163468 w 1559298"/>
                    <a:gd name="connsiteY1576" fmla="*/ 1177998 h 1261310"/>
                    <a:gd name="connsiteX1577" fmla="*/ 168799 w 1559298"/>
                    <a:gd name="connsiteY1577" fmla="*/ 1177391 h 1261310"/>
                    <a:gd name="connsiteX1578" fmla="*/ 168799 w 1559298"/>
                    <a:gd name="connsiteY1578" fmla="*/ 1175958 h 1261310"/>
                    <a:gd name="connsiteX1579" fmla="*/ 165703 w 1559298"/>
                    <a:gd name="connsiteY1579" fmla="*/ 1176068 h 1261310"/>
                    <a:gd name="connsiteX1580" fmla="*/ 162776 w 1559298"/>
                    <a:gd name="connsiteY1580" fmla="*/ 1175303 h 1261310"/>
                    <a:gd name="connsiteX1581" fmla="*/ 160651 w 1559298"/>
                    <a:gd name="connsiteY1581" fmla="*/ 1173748 h 1261310"/>
                    <a:gd name="connsiteX1582" fmla="*/ 159850 w 1559298"/>
                    <a:gd name="connsiteY1582" fmla="*/ 1171429 h 1261310"/>
                    <a:gd name="connsiteX1583" fmla="*/ 159218 w 1559298"/>
                    <a:gd name="connsiteY1583" fmla="*/ 1170798 h 1261310"/>
                    <a:gd name="connsiteX1584" fmla="*/ 157846 w 1559298"/>
                    <a:gd name="connsiteY1584" fmla="*/ 1170312 h 1261310"/>
                    <a:gd name="connsiteX1585" fmla="*/ 156522 w 1559298"/>
                    <a:gd name="connsiteY1585" fmla="*/ 1169426 h 1261310"/>
                    <a:gd name="connsiteX1586" fmla="*/ 155891 w 1559298"/>
                    <a:gd name="connsiteY1586" fmla="*/ 1167507 h 1261310"/>
                    <a:gd name="connsiteX1587" fmla="*/ 156984 w 1559298"/>
                    <a:gd name="connsiteY1587" fmla="*/ 1166499 h 1261310"/>
                    <a:gd name="connsiteX1588" fmla="*/ 157846 w 1559298"/>
                    <a:gd name="connsiteY1588" fmla="*/ 1165467 h 1261310"/>
                    <a:gd name="connsiteX1589" fmla="*/ 158478 w 1559298"/>
                    <a:gd name="connsiteY1589" fmla="*/ 1164143 h 1261310"/>
                    <a:gd name="connsiteX1590" fmla="*/ 158478 w 1559298"/>
                    <a:gd name="connsiteY1590" fmla="*/ 1152911 h 1261310"/>
                    <a:gd name="connsiteX1591" fmla="*/ 158927 w 1559298"/>
                    <a:gd name="connsiteY1591" fmla="*/ 1150045 h 1261310"/>
                    <a:gd name="connsiteX1592" fmla="*/ 160250 w 1559298"/>
                    <a:gd name="connsiteY1592" fmla="*/ 1148273 h 1261310"/>
                    <a:gd name="connsiteX1593" fmla="*/ 161914 w 1559298"/>
                    <a:gd name="connsiteY1593" fmla="*/ 1146670 h 1261310"/>
                    <a:gd name="connsiteX1594" fmla="*/ 163590 w 1559298"/>
                    <a:gd name="connsiteY1594" fmla="*/ 1144350 h 1261310"/>
                    <a:gd name="connsiteX1595" fmla="*/ 159279 w 1559298"/>
                    <a:gd name="connsiteY1595" fmla="*/ 1145686 h 1261310"/>
                    <a:gd name="connsiteX1596" fmla="*/ 156984 w 1559298"/>
                    <a:gd name="connsiteY1596" fmla="*/ 1148698 h 1261310"/>
                    <a:gd name="connsiteX1597" fmla="*/ 156061 w 1559298"/>
                    <a:gd name="connsiteY1597" fmla="*/ 1153190 h 1261310"/>
                    <a:gd name="connsiteX1598" fmla="*/ 155891 w 1559298"/>
                    <a:gd name="connsiteY1598" fmla="*/ 1158898 h 1261310"/>
                    <a:gd name="connsiteX1599" fmla="*/ 154628 w 1559298"/>
                    <a:gd name="connsiteY1599" fmla="*/ 1149596 h 1261310"/>
                    <a:gd name="connsiteX1600" fmla="*/ 154628 w 1559298"/>
                    <a:gd name="connsiteY1600" fmla="*/ 1141837 h 1261310"/>
                    <a:gd name="connsiteX1601" fmla="*/ 153645 w 1559298"/>
                    <a:gd name="connsiteY1601" fmla="*/ 1138850 h 1261310"/>
                    <a:gd name="connsiteX1602" fmla="*/ 152843 w 1559298"/>
                    <a:gd name="connsiteY1602" fmla="*/ 1138668 h 1261310"/>
                    <a:gd name="connsiteX1603" fmla="*/ 151932 w 1559298"/>
                    <a:gd name="connsiteY1603" fmla="*/ 1139360 h 1261310"/>
                    <a:gd name="connsiteX1604" fmla="*/ 150779 w 1559298"/>
                    <a:gd name="connsiteY1604" fmla="*/ 1139056 h 1261310"/>
                    <a:gd name="connsiteX1605" fmla="*/ 149625 w 1559298"/>
                    <a:gd name="connsiteY1605" fmla="*/ 1137684 h 1261310"/>
                    <a:gd name="connsiteX1606" fmla="*/ 148994 w 1559298"/>
                    <a:gd name="connsiteY1606" fmla="*/ 1136421 h 1261310"/>
                    <a:gd name="connsiteX1607" fmla="*/ 148192 w 1559298"/>
                    <a:gd name="connsiteY1607" fmla="*/ 1132511 h 1261310"/>
                    <a:gd name="connsiteX1608" fmla="*/ 143080 w 1559298"/>
                    <a:gd name="connsiteY1608" fmla="*/ 1116725 h 1261310"/>
                    <a:gd name="connsiteX1609" fmla="*/ 142910 w 1559298"/>
                    <a:gd name="connsiteY1609" fmla="*/ 1115717 h 1261310"/>
                    <a:gd name="connsiteX1610" fmla="*/ 143080 w 1559298"/>
                    <a:gd name="connsiteY1610" fmla="*/ 1112062 h 1261310"/>
                    <a:gd name="connsiteX1611" fmla="*/ 142510 w 1559298"/>
                    <a:gd name="connsiteY1611" fmla="*/ 1111431 h 1261310"/>
                    <a:gd name="connsiteX1612" fmla="*/ 139243 w 1559298"/>
                    <a:gd name="connsiteY1612" fmla="*/ 1110022 h 1261310"/>
                    <a:gd name="connsiteX1613" fmla="*/ 139462 w 1559298"/>
                    <a:gd name="connsiteY1613" fmla="*/ 1107509 h 1261310"/>
                    <a:gd name="connsiteX1614" fmla="*/ 140385 w 1559298"/>
                    <a:gd name="connsiteY1614" fmla="*/ 1105833 h 1261310"/>
                    <a:gd name="connsiteX1615" fmla="*/ 141987 w 1559298"/>
                    <a:gd name="connsiteY1615" fmla="*/ 1104606 h 1261310"/>
                    <a:gd name="connsiteX1616" fmla="*/ 144234 w 1559298"/>
                    <a:gd name="connsiteY1616" fmla="*/ 1103441 h 1261310"/>
                    <a:gd name="connsiteX1617" fmla="*/ 140955 w 1559298"/>
                    <a:gd name="connsiteY1617" fmla="*/ 1102093 h 1261310"/>
                    <a:gd name="connsiteX1618" fmla="*/ 138090 w 1559298"/>
                    <a:gd name="connsiteY1618" fmla="*/ 1100296 h 1261310"/>
                    <a:gd name="connsiteX1619" fmla="*/ 136074 w 1559298"/>
                    <a:gd name="connsiteY1619" fmla="*/ 1097588 h 1261310"/>
                    <a:gd name="connsiteX1620" fmla="*/ 134702 w 1559298"/>
                    <a:gd name="connsiteY1620" fmla="*/ 1090642 h 1261310"/>
                    <a:gd name="connsiteX1621" fmla="*/ 131884 w 1559298"/>
                    <a:gd name="connsiteY1621" fmla="*/ 1082640 h 1261310"/>
                    <a:gd name="connsiteX1622" fmla="*/ 130901 w 1559298"/>
                    <a:gd name="connsiteY1622" fmla="*/ 1080964 h 1261310"/>
                    <a:gd name="connsiteX1623" fmla="*/ 129419 w 1559298"/>
                    <a:gd name="connsiteY1623" fmla="*/ 1080139 h 1261310"/>
                    <a:gd name="connsiteX1624" fmla="*/ 128897 w 1559298"/>
                    <a:gd name="connsiteY1624" fmla="*/ 1078159 h 1261310"/>
                    <a:gd name="connsiteX1625" fmla="*/ 129019 w 1559298"/>
                    <a:gd name="connsiteY1625" fmla="*/ 1073800 h 1261310"/>
                    <a:gd name="connsiteX1626" fmla="*/ 129699 w 1559298"/>
                    <a:gd name="connsiteY1626" fmla="*/ 1072331 h 1261310"/>
                    <a:gd name="connsiteX1627" fmla="*/ 131144 w 1559298"/>
                    <a:gd name="connsiteY1627" fmla="*/ 1073436 h 1261310"/>
                    <a:gd name="connsiteX1628" fmla="*/ 132394 w 1559298"/>
                    <a:gd name="connsiteY1628" fmla="*/ 1075184 h 1261310"/>
                    <a:gd name="connsiteX1629" fmla="*/ 132686 w 1559298"/>
                    <a:gd name="connsiteY1629" fmla="*/ 1075852 h 1261310"/>
                    <a:gd name="connsiteX1630" fmla="*/ 136596 w 1559298"/>
                    <a:gd name="connsiteY1630" fmla="*/ 1079981 h 1261310"/>
                    <a:gd name="connsiteX1631" fmla="*/ 138782 w 1559298"/>
                    <a:gd name="connsiteY1631" fmla="*/ 1080782 h 1261310"/>
                    <a:gd name="connsiteX1632" fmla="*/ 143080 w 1559298"/>
                    <a:gd name="connsiteY1632" fmla="*/ 1080989 h 1261310"/>
                    <a:gd name="connsiteX1633" fmla="*/ 141368 w 1559298"/>
                    <a:gd name="connsiteY1633" fmla="*/ 1080381 h 1261310"/>
                    <a:gd name="connsiteX1634" fmla="*/ 139972 w 1559298"/>
                    <a:gd name="connsiteY1634" fmla="*/ 1079616 h 1261310"/>
                    <a:gd name="connsiteX1635" fmla="*/ 138842 w 1559298"/>
                    <a:gd name="connsiteY1635" fmla="*/ 1078609 h 1261310"/>
                    <a:gd name="connsiteX1636" fmla="*/ 137847 w 1559298"/>
                    <a:gd name="connsiteY1636" fmla="*/ 1077176 h 1261310"/>
                    <a:gd name="connsiteX1637" fmla="*/ 138490 w 1559298"/>
                    <a:gd name="connsiteY1637" fmla="*/ 1076229 h 1261310"/>
                    <a:gd name="connsiteX1638" fmla="*/ 140494 w 1559298"/>
                    <a:gd name="connsiteY1638" fmla="*/ 1074043 h 1261310"/>
                    <a:gd name="connsiteX1639" fmla="*/ 141647 w 1559298"/>
                    <a:gd name="connsiteY1639" fmla="*/ 1073132 h 1261310"/>
                    <a:gd name="connsiteX1640" fmla="*/ 138430 w 1559298"/>
                    <a:gd name="connsiteY1640" fmla="*/ 1073035 h 1261310"/>
                    <a:gd name="connsiteX1641" fmla="*/ 135163 w 1559298"/>
                    <a:gd name="connsiteY1641" fmla="*/ 1071893 h 1261310"/>
                    <a:gd name="connsiteX1642" fmla="*/ 132577 w 1559298"/>
                    <a:gd name="connsiteY1642" fmla="*/ 1069853 h 1261310"/>
                    <a:gd name="connsiteX1643" fmla="*/ 131544 w 1559298"/>
                    <a:gd name="connsiteY1643" fmla="*/ 1067109 h 1261310"/>
                    <a:gd name="connsiteX1644" fmla="*/ 131302 w 1559298"/>
                    <a:gd name="connsiteY1644" fmla="*/ 1065604 h 1261310"/>
                    <a:gd name="connsiteX1645" fmla="*/ 131083 w 1559298"/>
                    <a:gd name="connsiteY1645" fmla="*/ 1065361 h 1261310"/>
                    <a:gd name="connsiteX1646" fmla="*/ 131302 w 1559298"/>
                    <a:gd name="connsiteY1646" fmla="*/ 1065239 h 1261310"/>
                    <a:gd name="connsiteX1647" fmla="*/ 132686 w 1559298"/>
                    <a:gd name="connsiteY1647" fmla="*/ 1064001 h 1261310"/>
                    <a:gd name="connsiteX1648" fmla="*/ 133366 w 1559298"/>
                    <a:gd name="connsiteY1648" fmla="*/ 1063855 h 1261310"/>
                    <a:gd name="connsiteX1649" fmla="*/ 139243 w 1559298"/>
                    <a:gd name="connsiteY1649" fmla="*/ 1061244 h 1261310"/>
                    <a:gd name="connsiteX1650" fmla="*/ 139243 w 1559298"/>
                    <a:gd name="connsiteY1650" fmla="*/ 1064486 h 1261310"/>
                    <a:gd name="connsiteX1651" fmla="*/ 140154 w 1559298"/>
                    <a:gd name="connsiteY1651" fmla="*/ 1065834 h 1261310"/>
                    <a:gd name="connsiteX1652" fmla="*/ 141186 w 1559298"/>
                    <a:gd name="connsiteY1652" fmla="*/ 1065434 h 1261310"/>
                    <a:gd name="connsiteX1653" fmla="*/ 141647 w 1559298"/>
                    <a:gd name="connsiteY1653" fmla="*/ 1063284 h 1261310"/>
                    <a:gd name="connsiteX1654" fmla="*/ 140785 w 1559298"/>
                    <a:gd name="connsiteY1654" fmla="*/ 1059836 h 1261310"/>
                    <a:gd name="connsiteX1655" fmla="*/ 138490 w 1559298"/>
                    <a:gd name="connsiteY1655" fmla="*/ 1058548 h 1261310"/>
                    <a:gd name="connsiteX1656" fmla="*/ 135612 w 1559298"/>
                    <a:gd name="connsiteY1656" fmla="*/ 1059156 h 1261310"/>
                    <a:gd name="connsiteX1657" fmla="*/ 132686 w 1559298"/>
                    <a:gd name="connsiteY1657" fmla="*/ 1061256 h 1261310"/>
                    <a:gd name="connsiteX1658" fmla="*/ 130622 w 1559298"/>
                    <a:gd name="connsiteY1658" fmla="*/ 1056630 h 1261310"/>
                    <a:gd name="connsiteX1659" fmla="*/ 130269 w 1559298"/>
                    <a:gd name="connsiteY1659" fmla="*/ 1055343 h 1261310"/>
                    <a:gd name="connsiteX1660" fmla="*/ 130682 w 1559298"/>
                    <a:gd name="connsiteY1660" fmla="*/ 1053995 h 1261310"/>
                    <a:gd name="connsiteX1661" fmla="*/ 132346 w 1559298"/>
                    <a:gd name="connsiteY1661" fmla="*/ 1051615 h 1261310"/>
                    <a:gd name="connsiteX1662" fmla="*/ 132686 w 1559298"/>
                    <a:gd name="connsiteY1662" fmla="*/ 1050012 h 1261310"/>
                    <a:gd name="connsiteX1663" fmla="*/ 132346 w 1559298"/>
                    <a:gd name="connsiteY1663" fmla="*/ 1047450 h 1261310"/>
                    <a:gd name="connsiteX1664" fmla="*/ 131423 w 1559298"/>
                    <a:gd name="connsiteY1664" fmla="*/ 1046017 h 1261310"/>
                    <a:gd name="connsiteX1665" fmla="*/ 128375 w 1559298"/>
                    <a:gd name="connsiteY1665" fmla="*/ 1043430 h 1261310"/>
                    <a:gd name="connsiteX1666" fmla="*/ 126372 w 1559298"/>
                    <a:gd name="connsiteY1666" fmla="*/ 1038233 h 1261310"/>
                    <a:gd name="connsiteX1667" fmla="*/ 127404 w 1559298"/>
                    <a:gd name="connsiteY1667" fmla="*/ 1032866 h 1261310"/>
                    <a:gd name="connsiteX1668" fmla="*/ 129128 w 1559298"/>
                    <a:gd name="connsiteY1668" fmla="*/ 1027960 h 1261310"/>
                    <a:gd name="connsiteX1669" fmla="*/ 129019 w 1559298"/>
                    <a:gd name="connsiteY1669" fmla="*/ 1024184 h 1261310"/>
                    <a:gd name="connsiteX1670" fmla="*/ 127744 w 1559298"/>
                    <a:gd name="connsiteY1670" fmla="*/ 1025605 h 1261310"/>
                    <a:gd name="connsiteX1671" fmla="*/ 125789 w 1559298"/>
                    <a:gd name="connsiteY1671" fmla="*/ 1022678 h 1261310"/>
                    <a:gd name="connsiteX1672" fmla="*/ 123554 w 1559298"/>
                    <a:gd name="connsiteY1672" fmla="*/ 1017287 h 1261310"/>
                    <a:gd name="connsiteX1673" fmla="*/ 122583 w 1559298"/>
                    <a:gd name="connsiteY1673" fmla="*/ 1012114 h 1261310"/>
                    <a:gd name="connsiteX1674" fmla="*/ 124477 w 1559298"/>
                    <a:gd name="connsiteY1674" fmla="*/ 1009819 h 1261310"/>
                    <a:gd name="connsiteX1675" fmla="*/ 124356 w 1559298"/>
                    <a:gd name="connsiteY1675" fmla="*/ 1008993 h 1261310"/>
                    <a:gd name="connsiteX1676" fmla="*/ 122583 w 1559298"/>
                    <a:gd name="connsiteY1676" fmla="*/ 1001780 h 1261310"/>
                    <a:gd name="connsiteX1677" fmla="*/ 122753 w 1559298"/>
                    <a:gd name="connsiteY1677" fmla="*/ 998744 h 1261310"/>
                    <a:gd name="connsiteX1678" fmla="*/ 123615 w 1559298"/>
                    <a:gd name="connsiteY1678" fmla="*/ 996097 h 1261310"/>
                    <a:gd name="connsiteX1679" fmla="*/ 126311 w 1559298"/>
                    <a:gd name="connsiteY1679" fmla="*/ 991240 h 1261310"/>
                    <a:gd name="connsiteX1680" fmla="*/ 121259 w 1559298"/>
                    <a:gd name="connsiteY1680" fmla="*/ 988714 h 1261310"/>
                    <a:gd name="connsiteX1681" fmla="*/ 119766 w 1559298"/>
                    <a:gd name="connsiteY1681" fmla="*/ 986832 h 1261310"/>
                    <a:gd name="connsiteX1682" fmla="*/ 121320 w 1559298"/>
                    <a:gd name="connsiteY1682" fmla="*/ 984549 h 1261310"/>
                    <a:gd name="connsiteX1683" fmla="*/ 119134 w 1559298"/>
                    <a:gd name="connsiteY1683" fmla="*/ 981914 h 1261310"/>
                    <a:gd name="connsiteX1684" fmla="*/ 119183 w 1559298"/>
                    <a:gd name="connsiteY1684" fmla="*/ 979935 h 1261310"/>
                    <a:gd name="connsiteX1685" fmla="*/ 120628 w 1559298"/>
                    <a:gd name="connsiteY1685" fmla="*/ 979619 h 1261310"/>
                    <a:gd name="connsiteX1686" fmla="*/ 122583 w 1559298"/>
                    <a:gd name="connsiteY1686" fmla="*/ 982036 h 1261310"/>
                    <a:gd name="connsiteX1687" fmla="*/ 124077 w 1559298"/>
                    <a:gd name="connsiteY1687" fmla="*/ 977579 h 1261310"/>
                    <a:gd name="connsiteX1688" fmla="*/ 123724 w 1559298"/>
                    <a:gd name="connsiteY1688" fmla="*/ 972953 h 1261310"/>
                    <a:gd name="connsiteX1689" fmla="*/ 122170 w 1559298"/>
                    <a:gd name="connsiteY1689" fmla="*/ 968569 h 1261310"/>
                    <a:gd name="connsiteX1690" fmla="*/ 119875 w 1559298"/>
                    <a:gd name="connsiteY1690" fmla="*/ 964781 h 1261310"/>
                    <a:gd name="connsiteX1691" fmla="*/ 121199 w 1559298"/>
                    <a:gd name="connsiteY1691" fmla="*/ 962085 h 1261310"/>
                    <a:gd name="connsiteX1692" fmla="*/ 120919 w 1559298"/>
                    <a:gd name="connsiteY1692" fmla="*/ 959073 h 1261310"/>
                    <a:gd name="connsiteX1693" fmla="*/ 119875 w 1559298"/>
                    <a:gd name="connsiteY1693" fmla="*/ 956256 h 1261310"/>
                    <a:gd name="connsiteX1694" fmla="*/ 116317 w 1559298"/>
                    <a:gd name="connsiteY1694" fmla="*/ 949687 h 1261310"/>
                    <a:gd name="connsiteX1695" fmla="*/ 116317 w 1559298"/>
                    <a:gd name="connsiteY1695" fmla="*/ 945546 h 1261310"/>
                    <a:gd name="connsiteX1696" fmla="*/ 112942 w 1559298"/>
                    <a:gd name="connsiteY1696" fmla="*/ 939256 h 1261310"/>
                    <a:gd name="connsiteX1697" fmla="*/ 112359 w 1559298"/>
                    <a:gd name="connsiteY1697" fmla="*/ 936245 h 1261310"/>
                    <a:gd name="connsiteX1698" fmla="*/ 111666 w 1559298"/>
                    <a:gd name="connsiteY1698" fmla="*/ 935030 h 1261310"/>
                    <a:gd name="connsiteX1699" fmla="*/ 108291 w 1559298"/>
                    <a:gd name="connsiteY1699" fmla="*/ 931351 h 1261310"/>
                    <a:gd name="connsiteX1700" fmla="*/ 107137 w 1559298"/>
                    <a:gd name="connsiteY1700" fmla="*/ 929068 h 1261310"/>
                    <a:gd name="connsiteX1701" fmla="*/ 110173 w 1559298"/>
                    <a:gd name="connsiteY1701" fmla="*/ 930465 h 1261310"/>
                    <a:gd name="connsiteX1702" fmla="*/ 112759 w 1559298"/>
                    <a:gd name="connsiteY1702" fmla="*/ 932760 h 1261310"/>
                    <a:gd name="connsiteX1703" fmla="*/ 115406 w 1559298"/>
                    <a:gd name="connsiteY1703" fmla="*/ 934217 h 1261310"/>
                    <a:gd name="connsiteX1704" fmla="*/ 118734 w 1559298"/>
                    <a:gd name="connsiteY1704" fmla="*/ 933124 h 1261310"/>
                    <a:gd name="connsiteX1705" fmla="*/ 116038 w 1559298"/>
                    <a:gd name="connsiteY1705" fmla="*/ 929773 h 1261310"/>
                    <a:gd name="connsiteX1706" fmla="*/ 110926 w 1559298"/>
                    <a:gd name="connsiteY1706" fmla="*/ 919815 h 1261310"/>
                    <a:gd name="connsiteX1707" fmla="*/ 108801 w 1559298"/>
                    <a:gd name="connsiteY1707" fmla="*/ 916804 h 1261310"/>
                    <a:gd name="connsiteX1708" fmla="*/ 104029 w 1559298"/>
                    <a:gd name="connsiteY1708" fmla="*/ 912870 h 1261310"/>
                    <a:gd name="connsiteX1709" fmla="*/ 103288 w 1559298"/>
                    <a:gd name="connsiteY1709" fmla="*/ 910489 h 1261310"/>
                    <a:gd name="connsiteX1710" fmla="*/ 103057 w 1559298"/>
                    <a:gd name="connsiteY1710" fmla="*/ 908389 h 1261310"/>
                    <a:gd name="connsiteX1711" fmla="*/ 105243 w 1559298"/>
                    <a:gd name="connsiteY1711" fmla="*/ 905742 h 1261310"/>
                    <a:gd name="connsiteX1712" fmla="*/ 106797 w 1559298"/>
                    <a:gd name="connsiteY1712" fmla="*/ 902791 h 1261310"/>
                    <a:gd name="connsiteX1713" fmla="*/ 104551 w 1559298"/>
                    <a:gd name="connsiteY1713" fmla="*/ 899804 h 1261310"/>
                    <a:gd name="connsiteX1714" fmla="*/ 105935 w 1559298"/>
                    <a:gd name="connsiteY1714" fmla="*/ 895869 h 1261310"/>
                    <a:gd name="connsiteX1715" fmla="*/ 103118 w 1559298"/>
                    <a:gd name="connsiteY1715" fmla="*/ 890915 h 1261310"/>
                    <a:gd name="connsiteX1716" fmla="*/ 96743 w 1559298"/>
                    <a:gd name="connsiteY1716" fmla="*/ 883969 h 1261310"/>
                    <a:gd name="connsiteX1717" fmla="*/ 95650 w 1559298"/>
                    <a:gd name="connsiteY1717" fmla="*/ 880642 h 1261310"/>
                    <a:gd name="connsiteX1718" fmla="*/ 96051 w 1559298"/>
                    <a:gd name="connsiteY1718" fmla="*/ 879088 h 1261310"/>
                    <a:gd name="connsiteX1719" fmla="*/ 97605 w 1559298"/>
                    <a:gd name="connsiteY1719" fmla="*/ 878602 h 1261310"/>
                    <a:gd name="connsiteX1720" fmla="*/ 100070 w 1559298"/>
                    <a:gd name="connsiteY1720" fmla="*/ 878578 h 1261310"/>
                    <a:gd name="connsiteX1721" fmla="*/ 102717 w 1559298"/>
                    <a:gd name="connsiteY1721" fmla="*/ 878141 h 1261310"/>
                    <a:gd name="connsiteX1722" fmla="*/ 109663 w 1559298"/>
                    <a:gd name="connsiteY1722" fmla="*/ 874862 h 1261310"/>
                    <a:gd name="connsiteX1723" fmla="*/ 106906 w 1559298"/>
                    <a:gd name="connsiteY1723" fmla="*/ 873684 h 1261310"/>
                    <a:gd name="connsiteX1724" fmla="*/ 100932 w 1559298"/>
                    <a:gd name="connsiteY1724" fmla="*/ 873077 h 1261310"/>
                    <a:gd name="connsiteX1725" fmla="*/ 98115 w 1559298"/>
                    <a:gd name="connsiteY1725" fmla="*/ 872106 h 1261310"/>
                    <a:gd name="connsiteX1726" fmla="*/ 96111 w 1559298"/>
                    <a:gd name="connsiteY1726" fmla="*/ 870005 h 1261310"/>
                    <a:gd name="connsiteX1727" fmla="*/ 94800 w 1559298"/>
                    <a:gd name="connsiteY1727" fmla="*/ 867139 h 1261310"/>
                    <a:gd name="connsiteX1728" fmla="*/ 94618 w 1559298"/>
                    <a:gd name="connsiteY1728" fmla="*/ 864128 h 1261310"/>
                    <a:gd name="connsiteX1729" fmla="*/ 95711 w 1559298"/>
                    <a:gd name="connsiteY1729" fmla="*/ 861517 h 1261310"/>
                    <a:gd name="connsiteX1730" fmla="*/ 94326 w 1559298"/>
                    <a:gd name="connsiteY1730" fmla="*/ 859963 h 1261310"/>
                    <a:gd name="connsiteX1731" fmla="*/ 92784 w 1559298"/>
                    <a:gd name="connsiteY1731" fmla="*/ 857607 h 1261310"/>
                    <a:gd name="connsiteX1732" fmla="*/ 91801 w 1559298"/>
                    <a:gd name="connsiteY1732" fmla="*/ 855057 h 1261310"/>
                    <a:gd name="connsiteX1733" fmla="*/ 92311 w 1559298"/>
                    <a:gd name="connsiteY1733" fmla="*/ 852956 h 1261310"/>
                    <a:gd name="connsiteX1734" fmla="*/ 94047 w 1559298"/>
                    <a:gd name="connsiteY1734" fmla="*/ 850710 h 1261310"/>
                    <a:gd name="connsiteX1735" fmla="*/ 95140 w 1559298"/>
                    <a:gd name="connsiteY1735" fmla="*/ 848391 h 1261310"/>
                    <a:gd name="connsiteX1736" fmla="*/ 95189 w 1559298"/>
                    <a:gd name="connsiteY1736" fmla="*/ 845986 h 1261310"/>
                    <a:gd name="connsiteX1737" fmla="*/ 93646 w 1559298"/>
                    <a:gd name="connsiteY1737" fmla="*/ 843582 h 1261310"/>
                    <a:gd name="connsiteX1738" fmla="*/ 92675 w 1559298"/>
                    <a:gd name="connsiteY1738" fmla="*/ 841627 h 1261310"/>
                    <a:gd name="connsiteX1739" fmla="*/ 92031 w 1559298"/>
                    <a:gd name="connsiteY1739" fmla="*/ 836357 h 1261310"/>
                    <a:gd name="connsiteX1740" fmla="*/ 91060 w 1559298"/>
                    <a:gd name="connsiteY1740" fmla="*/ 834268 h 1261310"/>
                    <a:gd name="connsiteX1741" fmla="*/ 88073 w 1559298"/>
                    <a:gd name="connsiteY1741" fmla="*/ 830917 h 1261310"/>
                    <a:gd name="connsiteX1742" fmla="*/ 86919 w 1559298"/>
                    <a:gd name="connsiteY1742" fmla="*/ 828780 h 1261310"/>
                    <a:gd name="connsiteX1743" fmla="*/ 85887 w 1559298"/>
                    <a:gd name="connsiteY1743" fmla="*/ 822490 h 1261310"/>
                    <a:gd name="connsiteX1744" fmla="*/ 84284 w 1559298"/>
                    <a:gd name="connsiteY1744" fmla="*/ 818385 h 1261310"/>
                    <a:gd name="connsiteX1745" fmla="*/ 75505 w 1559298"/>
                    <a:gd name="connsiteY1745" fmla="*/ 804178 h 1261310"/>
                    <a:gd name="connsiteX1746" fmla="*/ 75262 w 1559298"/>
                    <a:gd name="connsiteY1746" fmla="*/ 800244 h 1261310"/>
                    <a:gd name="connsiteX1747" fmla="*/ 78711 w 1559298"/>
                    <a:gd name="connsiteY1747" fmla="*/ 796431 h 1261310"/>
                    <a:gd name="connsiteX1748" fmla="*/ 75614 w 1559298"/>
                    <a:gd name="connsiteY1748" fmla="*/ 796285 h 1261310"/>
                    <a:gd name="connsiteX1749" fmla="*/ 73659 w 1559298"/>
                    <a:gd name="connsiteY1749" fmla="*/ 794792 h 1261310"/>
                    <a:gd name="connsiteX1750" fmla="*/ 73028 w 1559298"/>
                    <a:gd name="connsiteY1750" fmla="*/ 792436 h 1261310"/>
                    <a:gd name="connsiteX1751" fmla="*/ 73720 w 1559298"/>
                    <a:gd name="connsiteY1751" fmla="*/ 789825 h 1261310"/>
                    <a:gd name="connsiteX1752" fmla="*/ 75723 w 1559298"/>
                    <a:gd name="connsiteY1752" fmla="*/ 787919 h 1261310"/>
                    <a:gd name="connsiteX1753" fmla="*/ 78140 w 1559298"/>
                    <a:gd name="connsiteY1753" fmla="*/ 786899 h 1261310"/>
                    <a:gd name="connsiteX1754" fmla="*/ 79973 w 1559298"/>
                    <a:gd name="connsiteY1754" fmla="*/ 785344 h 1261310"/>
                    <a:gd name="connsiteX1755" fmla="*/ 80192 w 1559298"/>
                    <a:gd name="connsiteY1755" fmla="*/ 781872 h 1261310"/>
                    <a:gd name="connsiteX1756" fmla="*/ 78018 w 1559298"/>
                    <a:gd name="connsiteY1756" fmla="*/ 782479 h 1261310"/>
                    <a:gd name="connsiteX1757" fmla="*/ 76294 w 1559298"/>
                    <a:gd name="connsiteY1757" fmla="*/ 783693 h 1261310"/>
                    <a:gd name="connsiteX1758" fmla="*/ 74861 w 1559298"/>
                    <a:gd name="connsiteY1758" fmla="*/ 785332 h 1261310"/>
                    <a:gd name="connsiteX1759" fmla="*/ 73720 w 1559298"/>
                    <a:gd name="connsiteY1759" fmla="*/ 787312 h 1261310"/>
                    <a:gd name="connsiteX1760" fmla="*/ 72287 w 1559298"/>
                    <a:gd name="connsiteY1760" fmla="*/ 784786 h 1261310"/>
                    <a:gd name="connsiteX1761" fmla="*/ 69640 w 1559298"/>
                    <a:gd name="connsiteY1761" fmla="*/ 781969 h 1261310"/>
                    <a:gd name="connsiteX1762" fmla="*/ 68498 w 1559298"/>
                    <a:gd name="connsiteY1762" fmla="*/ 779249 h 1261310"/>
                    <a:gd name="connsiteX1763" fmla="*/ 68899 w 1559298"/>
                    <a:gd name="connsiteY1763" fmla="*/ 779006 h 1261310"/>
                    <a:gd name="connsiteX1764" fmla="*/ 69530 w 1559298"/>
                    <a:gd name="connsiteY1764" fmla="*/ 777852 h 1261310"/>
                    <a:gd name="connsiteX1765" fmla="*/ 69810 w 1559298"/>
                    <a:gd name="connsiteY1765" fmla="*/ 776249 h 1261310"/>
                    <a:gd name="connsiteX1766" fmla="*/ 69178 w 1559298"/>
                    <a:gd name="connsiteY1766" fmla="*/ 774659 h 1261310"/>
                    <a:gd name="connsiteX1767" fmla="*/ 67976 w 1559298"/>
                    <a:gd name="connsiteY1767" fmla="*/ 773165 h 1261310"/>
                    <a:gd name="connsiteX1768" fmla="*/ 67563 w 1559298"/>
                    <a:gd name="connsiteY1768" fmla="*/ 771854 h 1261310"/>
                    <a:gd name="connsiteX1769" fmla="*/ 65912 w 1559298"/>
                    <a:gd name="connsiteY1769" fmla="*/ 756869 h 1261310"/>
                    <a:gd name="connsiteX1770" fmla="*/ 63544 w 1559298"/>
                    <a:gd name="connsiteY1770" fmla="*/ 752704 h 1261310"/>
                    <a:gd name="connsiteX1771" fmla="*/ 58335 w 1559298"/>
                    <a:gd name="connsiteY1771" fmla="*/ 751465 h 1261310"/>
                    <a:gd name="connsiteX1772" fmla="*/ 59877 w 1559298"/>
                    <a:gd name="connsiteY1772" fmla="*/ 747422 h 1261310"/>
                    <a:gd name="connsiteX1773" fmla="*/ 60800 w 1559298"/>
                    <a:gd name="connsiteY1773" fmla="*/ 746159 h 1261310"/>
                    <a:gd name="connsiteX1774" fmla="*/ 59828 w 1559298"/>
                    <a:gd name="connsiteY1774" fmla="*/ 744896 h 1261310"/>
                    <a:gd name="connsiteX1775" fmla="*/ 59537 w 1559298"/>
                    <a:gd name="connsiteY1775" fmla="*/ 743196 h 1261310"/>
                    <a:gd name="connsiteX1776" fmla="*/ 59877 w 1559298"/>
                    <a:gd name="connsiteY1776" fmla="*/ 741302 h 1261310"/>
                    <a:gd name="connsiteX1777" fmla="*/ 60800 w 1559298"/>
                    <a:gd name="connsiteY1777" fmla="*/ 739444 h 1261310"/>
                    <a:gd name="connsiteX1778" fmla="*/ 63265 w 1559298"/>
                    <a:gd name="connsiteY1778" fmla="*/ 740330 h 1261310"/>
                    <a:gd name="connsiteX1779" fmla="*/ 64066 w 1559298"/>
                    <a:gd name="connsiteY1779" fmla="*/ 741642 h 1261310"/>
                    <a:gd name="connsiteX1780" fmla="*/ 64418 w 1559298"/>
                    <a:gd name="connsiteY1780" fmla="*/ 743342 h 1261310"/>
                    <a:gd name="connsiteX1781" fmla="*/ 65390 w 1559298"/>
                    <a:gd name="connsiteY1781" fmla="*/ 745443 h 1261310"/>
                    <a:gd name="connsiteX1782" fmla="*/ 66944 w 1559298"/>
                    <a:gd name="connsiteY1782" fmla="*/ 747434 h 1261310"/>
                    <a:gd name="connsiteX1783" fmla="*/ 67685 w 1559298"/>
                    <a:gd name="connsiteY1783" fmla="*/ 747847 h 1261310"/>
                    <a:gd name="connsiteX1784" fmla="*/ 68717 w 1559298"/>
                    <a:gd name="connsiteY1784" fmla="*/ 747531 h 1261310"/>
                    <a:gd name="connsiteX1785" fmla="*/ 71121 w 1559298"/>
                    <a:gd name="connsiteY1785" fmla="*/ 747361 h 1261310"/>
                    <a:gd name="connsiteX1786" fmla="*/ 74400 w 1559298"/>
                    <a:gd name="connsiteY1786" fmla="*/ 747726 h 1261310"/>
                    <a:gd name="connsiteX1787" fmla="*/ 78140 w 1559298"/>
                    <a:gd name="connsiteY1787" fmla="*/ 748770 h 1261310"/>
                    <a:gd name="connsiteX1788" fmla="*/ 81588 w 1559298"/>
                    <a:gd name="connsiteY1788" fmla="*/ 750774 h 1261310"/>
                    <a:gd name="connsiteX1789" fmla="*/ 83932 w 1559298"/>
                    <a:gd name="connsiteY1789" fmla="*/ 754101 h 1261310"/>
                    <a:gd name="connsiteX1790" fmla="*/ 80957 w 1559298"/>
                    <a:gd name="connsiteY1790" fmla="*/ 755873 h 1261310"/>
                    <a:gd name="connsiteX1791" fmla="*/ 80957 w 1559298"/>
                    <a:gd name="connsiteY1791" fmla="*/ 758254 h 1261310"/>
                    <a:gd name="connsiteX1792" fmla="*/ 82851 w 1559298"/>
                    <a:gd name="connsiteY1792" fmla="*/ 758861 h 1261310"/>
                    <a:gd name="connsiteX1793" fmla="*/ 85486 w 1559298"/>
                    <a:gd name="connsiteY1793" fmla="*/ 755303 h 1261310"/>
                    <a:gd name="connsiteX1794" fmla="*/ 85948 w 1559298"/>
                    <a:gd name="connsiteY1794" fmla="*/ 751393 h 1261310"/>
                    <a:gd name="connsiteX1795" fmla="*/ 84284 w 1559298"/>
                    <a:gd name="connsiteY1795" fmla="*/ 744933 h 1261310"/>
                    <a:gd name="connsiteX1796" fmla="*/ 85486 w 1559298"/>
                    <a:gd name="connsiteY1796" fmla="*/ 741934 h 1261310"/>
                    <a:gd name="connsiteX1797" fmla="*/ 82730 w 1559298"/>
                    <a:gd name="connsiteY1797" fmla="*/ 740403 h 1261310"/>
                    <a:gd name="connsiteX1798" fmla="*/ 80095 w 1559298"/>
                    <a:gd name="connsiteY1798" fmla="*/ 740124 h 1261310"/>
                    <a:gd name="connsiteX1799" fmla="*/ 74400 w 1559298"/>
                    <a:gd name="connsiteY1799" fmla="*/ 740756 h 1261310"/>
                    <a:gd name="connsiteX1800" fmla="*/ 71073 w 1559298"/>
                    <a:gd name="connsiteY1800" fmla="*/ 739894 h 1261310"/>
                    <a:gd name="connsiteX1801" fmla="*/ 67806 w 1559298"/>
                    <a:gd name="connsiteY1801" fmla="*/ 737683 h 1261310"/>
                    <a:gd name="connsiteX1802" fmla="*/ 66009 w 1559298"/>
                    <a:gd name="connsiteY1802" fmla="*/ 734672 h 1261310"/>
                    <a:gd name="connsiteX1803" fmla="*/ 67345 w 1559298"/>
                    <a:gd name="connsiteY1803" fmla="*/ 731369 h 1261310"/>
                    <a:gd name="connsiteX1804" fmla="*/ 64297 w 1559298"/>
                    <a:gd name="connsiteY1804" fmla="*/ 731260 h 1261310"/>
                    <a:gd name="connsiteX1805" fmla="*/ 62803 w 1559298"/>
                    <a:gd name="connsiteY1805" fmla="*/ 730337 h 1261310"/>
                    <a:gd name="connsiteX1806" fmla="*/ 59585 w 1559298"/>
                    <a:gd name="connsiteY1806" fmla="*/ 726063 h 1261310"/>
                    <a:gd name="connsiteX1807" fmla="*/ 58493 w 1559298"/>
                    <a:gd name="connsiteY1807" fmla="*/ 725565 h 1261310"/>
                    <a:gd name="connsiteX1808" fmla="*/ 57521 w 1559298"/>
                    <a:gd name="connsiteY1808" fmla="*/ 725747 h 1261310"/>
                    <a:gd name="connsiteX1809" fmla="*/ 56550 w 1559298"/>
                    <a:gd name="connsiteY1809" fmla="*/ 725808 h 1261310"/>
                    <a:gd name="connsiteX1810" fmla="*/ 55627 w 1559298"/>
                    <a:gd name="connsiteY1810" fmla="*/ 724861 h 1261310"/>
                    <a:gd name="connsiteX1811" fmla="*/ 55117 w 1559298"/>
                    <a:gd name="connsiteY1811" fmla="*/ 723537 h 1261310"/>
                    <a:gd name="connsiteX1812" fmla="*/ 55177 w 1559298"/>
                    <a:gd name="connsiteY1812" fmla="*/ 722687 h 1261310"/>
                    <a:gd name="connsiteX1813" fmla="*/ 55445 w 1559298"/>
                    <a:gd name="connsiteY1813" fmla="*/ 721740 h 1261310"/>
                    <a:gd name="connsiteX1814" fmla="*/ 55627 w 1559298"/>
                    <a:gd name="connsiteY1814" fmla="*/ 720125 h 1261310"/>
                    <a:gd name="connsiteX1815" fmla="*/ 55177 w 1559298"/>
                    <a:gd name="connsiteY1815" fmla="*/ 717490 h 1261310"/>
                    <a:gd name="connsiteX1816" fmla="*/ 54073 w 1559298"/>
                    <a:gd name="connsiteY1816" fmla="*/ 715705 h 1261310"/>
                    <a:gd name="connsiteX1817" fmla="*/ 52761 w 1559298"/>
                    <a:gd name="connsiteY1817" fmla="*/ 713944 h 1261310"/>
                    <a:gd name="connsiteX1818" fmla="*/ 51668 w 1559298"/>
                    <a:gd name="connsiteY1818" fmla="*/ 711600 h 1261310"/>
                    <a:gd name="connsiteX1819" fmla="*/ 51328 w 1559298"/>
                    <a:gd name="connsiteY1819" fmla="*/ 709305 h 1261310"/>
                    <a:gd name="connsiteX1820" fmla="*/ 51668 w 1559298"/>
                    <a:gd name="connsiteY1820" fmla="*/ 701607 h 1261310"/>
                    <a:gd name="connsiteX1821" fmla="*/ 52470 w 1559298"/>
                    <a:gd name="connsiteY1821" fmla="*/ 697320 h 1261310"/>
                    <a:gd name="connsiteX1822" fmla="*/ 54655 w 1559298"/>
                    <a:gd name="connsiteY1822" fmla="*/ 693337 h 1261310"/>
                    <a:gd name="connsiteX1823" fmla="*/ 57922 w 1559298"/>
                    <a:gd name="connsiteY1823" fmla="*/ 691018 h 1261310"/>
                    <a:gd name="connsiteX1824" fmla="*/ 62063 w 1559298"/>
                    <a:gd name="connsiteY1824" fmla="*/ 691613 h 1261310"/>
                    <a:gd name="connsiteX1825" fmla="*/ 64758 w 1559298"/>
                    <a:gd name="connsiteY1825" fmla="*/ 694479 h 1261310"/>
                    <a:gd name="connsiteX1826" fmla="*/ 70210 w 1559298"/>
                    <a:gd name="connsiteY1826" fmla="*/ 703732 h 1261310"/>
                    <a:gd name="connsiteX1827" fmla="*/ 73720 w 1559298"/>
                    <a:gd name="connsiteY1827" fmla="*/ 707520 h 1261310"/>
                    <a:gd name="connsiteX1828" fmla="*/ 74861 w 1559298"/>
                    <a:gd name="connsiteY1828" fmla="*/ 703732 h 1261310"/>
                    <a:gd name="connsiteX1829" fmla="*/ 72858 w 1559298"/>
                    <a:gd name="connsiteY1829" fmla="*/ 701789 h 1261310"/>
                    <a:gd name="connsiteX1830" fmla="*/ 69931 w 1559298"/>
                    <a:gd name="connsiteY1830" fmla="*/ 699870 h 1261310"/>
                    <a:gd name="connsiteX1831" fmla="*/ 68498 w 1559298"/>
                    <a:gd name="connsiteY1831" fmla="*/ 696215 h 1261310"/>
                    <a:gd name="connsiteX1832" fmla="*/ 67928 w 1559298"/>
                    <a:gd name="connsiteY1832" fmla="*/ 693228 h 1261310"/>
                    <a:gd name="connsiteX1833" fmla="*/ 66483 w 1559298"/>
                    <a:gd name="connsiteY1833" fmla="*/ 689950 h 1261310"/>
                    <a:gd name="connsiteX1834" fmla="*/ 64576 w 1559298"/>
                    <a:gd name="connsiteY1834" fmla="*/ 687302 h 1261310"/>
                    <a:gd name="connsiteX1835" fmla="*/ 62694 w 1559298"/>
                    <a:gd name="connsiteY1835" fmla="*/ 686209 h 1261310"/>
                    <a:gd name="connsiteX1836" fmla="*/ 57242 w 1559298"/>
                    <a:gd name="connsiteY1836" fmla="*/ 687278 h 1261310"/>
                    <a:gd name="connsiteX1837" fmla="*/ 55177 w 1559298"/>
                    <a:gd name="connsiteY1837" fmla="*/ 686477 h 1261310"/>
                    <a:gd name="connsiteX1838" fmla="*/ 54364 w 1559298"/>
                    <a:gd name="connsiteY1838" fmla="*/ 682943 h 1261310"/>
                    <a:gd name="connsiteX1839" fmla="*/ 49944 w 1559298"/>
                    <a:gd name="connsiteY1839" fmla="*/ 671638 h 1261310"/>
                    <a:gd name="connsiteX1840" fmla="*/ 46617 w 1559298"/>
                    <a:gd name="connsiteY1840" fmla="*/ 669015 h 1261310"/>
                    <a:gd name="connsiteX1841" fmla="*/ 44892 w 1559298"/>
                    <a:gd name="connsiteY1841" fmla="*/ 662749 h 1261310"/>
                    <a:gd name="connsiteX1842" fmla="*/ 44249 w 1559298"/>
                    <a:gd name="connsiteY1842" fmla="*/ 655294 h 1261310"/>
                    <a:gd name="connsiteX1843" fmla="*/ 44370 w 1559298"/>
                    <a:gd name="connsiteY1843" fmla="*/ 645530 h 1261310"/>
                    <a:gd name="connsiteX1844" fmla="*/ 45245 w 1559298"/>
                    <a:gd name="connsiteY1844" fmla="*/ 642361 h 1261310"/>
                    <a:gd name="connsiteX1845" fmla="*/ 46847 w 1559298"/>
                    <a:gd name="connsiteY1845" fmla="*/ 639787 h 1261310"/>
                    <a:gd name="connsiteX1846" fmla="*/ 49361 w 1559298"/>
                    <a:gd name="connsiteY1846" fmla="*/ 638257 h 1261310"/>
                    <a:gd name="connsiteX1847" fmla="*/ 50855 w 1559298"/>
                    <a:gd name="connsiteY1847" fmla="*/ 638318 h 1261310"/>
                    <a:gd name="connsiteX1848" fmla="*/ 53684 w 1559298"/>
                    <a:gd name="connsiteY1848" fmla="*/ 639787 h 1261310"/>
                    <a:gd name="connsiteX1849" fmla="*/ 55627 w 1559298"/>
                    <a:gd name="connsiteY1849" fmla="*/ 639665 h 1261310"/>
                    <a:gd name="connsiteX1850" fmla="*/ 58335 w 1559298"/>
                    <a:gd name="connsiteY1850" fmla="*/ 634493 h 1261310"/>
                    <a:gd name="connsiteX1851" fmla="*/ 60569 w 1559298"/>
                    <a:gd name="connsiteY1851" fmla="*/ 636375 h 1261310"/>
                    <a:gd name="connsiteX1852" fmla="*/ 67345 w 1559298"/>
                    <a:gd name="connsiteY1852" fmla="*/ 643648 h 1261310"/>
                    <a:gd name="connsiteX1853" fmla="*/ 65742 w 1559298"/>
                    <a:gd name="connsiteY1853" fmla="*/ 647158 h 1261310"/>
                    <a:gd name="connsiteX1854" fmla="*/ 66313 w 1559298"/>
                    <a:gd name="connsiteY1854" fmla="*/ 649963 h 1261310"/>
                    <a:gd name="connsiteX1855" fmla="*/ 68438 w 1559298"/>
                    <a:gd name="connsiteY1855" fmla="*/ 651942 h 1261310"/>
                    <a:gd name="connsiteX1856" fmla="*/ 71121 w 1559298"/>
                    <a:gd name="connsiteY1856" fmla="*/ 653059 h 1261310"/>
                    <a:gd name="connsiteX1857" fmla="*/ 69810 w 1559298"/>
                    <a:gd name="connsiteY1857" fmla="*/ 648615 h 1261310"/>
                    <a:gd name="connsiteX1858" fmla="*/ 70502 w 1559298"/>
                    <a:gd name="connsiteY1858" fmla="*/ 643685 h 1261310"/>
                    <a:gd name="connsiteX1859" fmla="*/ 72518 w 1559298"/>
                    <a:gd name="connsiteY1859" fmla="*/ 639374 h 1261310"/>
                    <a:gd name="connsiteX1860" fmla="*/ 75104 w 1559298"/>
                    <a:gd name="connsiteY1860" fmla="*/ 637031 h 1261310"/>
                    <a:gd name="connsiteX1861" fmla="*/ 69810 w 1559298"/>
                    <a:gd name="connsiteY1861" fmla="*/ 634845 h 1261310"/>
                    <a:gd name="connsiteX1862" fmla="*/ 68547 w 1559298"/>
                    <a:gd name="connsiteY1862" fmla="*/ 633327 h 1261310"/>
                    <a:gd name="connsiteX1863" fmla="*/ 67345 w 1559298"/>
                    <a:gd name="connsiteY1863" fmla="*/ 630279 h 1261310"/>
                    <a:gd name="connsiteX1864" fmla="*/ 67563 w 1559298"/>
                    <a:gd name="connsiteY1864" fmla="*/ 629101 h 1261310"/>
                    <a:gd name="connsiteX1865" fmla="*/ 68255 w 1559298"/>
                    <a:gd name="connsiteY1865" fmla="*/ 627365 h 1261310"/>
                    <a:gd name="connsiteX1866" fmla="*/ 68608 w 1559298"/>
                    <a:gd name="connsiteY1866" fmla="*/ 625786 h 1261310"/>
                    <a:gd name="connsiteX1867" fmla="*/ 67867 w 1559298"/>
                    <a:gd name="connsiteY1867" fmla="*/ 625094 h 1261310"/>
                    <a:gd name="connsiteX1868" fmla="*/ 66823 w 1559298"/>
                    <a:gd name="connsiteY1868" fmla="*/ 625240 h 1261310"/>
                    <a:gd name="connsiteX1869" fmla="*/ 65851 w 1559298"/>
                    <a:gd name="connsiteY1869" fmla="*/ 625640 h 1261310"/>
                    <a:gd name="connsiteX1870" fmla="*/ 65098 w 1559298"/>
                    <a:gd name="connsiteY1870" fmla="*/ 626284 h 1261310"/>
                    <a:gd name="connsiteX1871" fmla="*/ 64880 w 1559298"/>
                    <a:gd name="connsiteY1871" fmla="*/ 627037 h 1261310"/>
                    <a:gd name="connsiteX1872" fmla="*/ 61953 w 1559298"/>
                    <a:gd name="connsiteY1872" fmla="*/ 628349 h 1261310"/>
                    <a:gd name="connsiteX1873" fmla="*/ 56319 w 1559298"/>
                    <a:gd name="connsiteY1873" fmla="*/ 625968 h 1261310"/>
                    <a:gd name="connsiteX1874" fmla="*/ 52700 w 1559298"/>
                    <a:gd name="connsiteY1874" fmla="*/ 621318 h 1261310"/>
                    <a:gd name="connsiteX1875" fmla="*/ 55627 w 1559298"/>
                    <a:gd name="connsiteY1875" fmla="*/ 615683 h 1261310"/>
                    <a:gd name="connsiteX1876" fmla="*/ 58553 w 1559298"/>
                    <a:gd name="connsiteY1876" fmla="*/ 618027 h 1261310"/>
                    <a:gd name="connsiteX1877" fmla="*/ 59768 w 1559298"/>
                    <a:gd name="connsiteY1877" fmla="*/ 616206 h 1261310"/>
                    <a:gd name="connsiteX1878" fmla="*/ 60168 w 1559298"/>
                    <a:gd name="connsiteY1878" fmla="*/ 611033 h 1261310"/>
                    <a:gd name="connsiteX1879" fmla="*/ 62512 w 1559298"/>
                    <a:gd name="connsiteY1879" fmla="*/ 610231 h 1261310"/>
                    <a:gd name="connsiteX1880" fmla="*/ 65159 w 1559298"/>
                    <a:gd name="connsiteY1880" fmla="*/ 610923 h 1261310"/>
                    <a:gd name="connsiteX1881" fmla="*/ 67745 w 1559298"/>
                    <a:gd name="connsiteY1881" fmla="*/ 610838 h 1261310"/>
                    <a:gd name="connsiteX1882" fmla="*/ 69870 w 1559298"/>
                    <a:gd name="connsiteY1882" fmla="*/ 607730 h 1261310"/>
                    <a:gd name="connsiteX1883" fmla="*/ 63325 w 1559298"/>
                    <a:gd name="connsiteY1883" fmla="*/ 607730 h 1261310"/>
                    <a:gd name="connsiteX1884" fmla="*/ 63325 w 1559298"/>
                    <a:gd name="connsiteY1884" fmla="*/ 606394 h 1261310"/>
                    <a:gd name="connsiteX1885" fmla="*/ 66070 w 1559298"/>
                    <a:gd name="connsiteY1885" fmla="*/ 606139 h 1261310"/>
                    <a:gd name="connsiteX1886" fmla="*/ 70550 w 1559298"/>
                    <a:gd name="connsiteY1886" fmla="*/ 604232 h 1261310"/>
                    <a:gd name="connsiteX1887" fmla="*/ 79973 w 1559298"/>
                    <a:gd name="connsiteY1887" fmla="*/ 601658 h 1261310"/>
                    <a:gd name="connsiteX1888" fmla="*/ 80775 w 1559298"/>
                    <a:gd name="connsiteY1888" fmla="*/ 601743 h 1261310"/>
                    <a:gd name="connsiteX1889" fmla="*/ 82681 w 1559298"/>
                    <a:gd name="connsiteY1889" fmla="*/ 597845 h 1261310"/>
                    <a:gd name="connsiteX1890" fmla="*/ 79512 w 1559298"/>
                    <a:gd name="connsiteY1890" fmla="*/ 597420 h 1261310"/>
                    <a:gd name="connsiteX1891" fmla="*/ 74291 w 1559298"/>
                    <a:gd name="connsiteY1891" fmla="*/ 598999 h 1261310"/>
                    <a:gd name="connsiteX1892" fmla="*/ 69870 w 1559298"/>
                    <a:gd name="connsiteY1892" fmla="*/ 601100 h 1261310"/>
                    <a:gd name="connsiteX1893" fmla="*/ 68948 w 1559298"/>
                    <a:gd name="connsiteY1893" fmla="*/ 598805 h 1261310"/>
                    <a:gd name="connsiteX1894" fmla="*/ 69749 w 1559298"/>
                    <a:gd name="connsiteY1894" fmla="*/ 593668 h 1261310"/>
                    <a:gd name="connsiteX1895" fmla="*/ 68498 w 1559298"/>
                    <a:gd name="connsiteY1895" fmla="*/ 591823 h 1261310"/>
                    <a:gd name="connsiteX1896" fmla="*/ 70502 w 1559298"/>
                    <a:gd name="connsiteY1896" fmla="*/ 587779 h 1261310"/>
                    <a:gd name="connsiteX1897" fmla="*/ 69360 w 1559298"/>
                    <a:gd name="connsiteY1897" fmla="*/ 586407 h 1261310"/>
                    <a:gd name="connsiteX1898" fmla="*/ 67114 w 1559298"/>
                    <a:gd name="connsiteY1898" fmla="*/ 585581 h 1261310"/>
                    <a:gd name="connsiteX1899" fmla="*/ 65912 w 1559298"/>
                    <a:gd name="connsiteY1899" fmla="*/ 583177 h 1261310"/>
                    <a:gd name="connsiteX1900" fmla="*/ 67345 w 1559298"/>
                    <a:gd name="connsiteY1900" fmla="*/ 569164 h 1261310"/>
                    <a:gd name="connsiteX1901" fmla="*/ 65912 w 1559298"/>
                    <a:gd name="connsiteY1901" fmla="*/ 569164 h 1261310"/>
                    <a:gd name="connsiteX1902" fmla="*/ 62694 w 1559298"/>
                    <a:gd name="connsiteY1902" fmla="*/ 575988 h 1261310"/>
                    <a:gd name="connsiteX1903" fmla="*/ 59925 w 1559298"/>
                    <a:gd name="connsiteY1903" fmla="*/ 578489 h 1261310"/>
                    <a:gd name="connsiteX1904" fmla="*/ 59646 w 1559298"/>
                    <a:gd name="connsiteY1904" fmla="*/ 585241 h 1261310"/>
                    <a:gd name="connsiteX1905" fmla="*/ 58335 w 1559298"/>
                    <a:gd name="connsiteY1905" fmla="*/ 587852 h 1261310"/>
                    <a:gd name="connsiteX1906" fmla="*/ 61431 w 1559298"/>
                    <a:gd name="connsiteY1906" fmla="*/ 590147 h 1261310"/>
                    <a:gd name="connsiteX1907" fmla="*/ 59707 w 1559298"/>
                    <a:gd name="connsiteY1907" fmla="*/ 594227 h 1261310"/>
                    <a:gd name="connsiteX1908" fmla="*/ 51668 w 1559298"/>
                    <a:gd name="connsiteY1908" fmla="*/ 602460 h 1261310"/>
                    <a:gd name="connsiteX1909" fmla="*/ 51668 w 1559298"/>
                    <a:gd name="connsiteY1909" fmla="*/ 600602 h 1261310"/>
                    <a:gd name="connsiteX1910" fmla="*/ 50515 w 1559298"/>
                    <a:gd name="connsiteY1910" fmla="*/ 595830 h 1261310"/>
                    <a:gd name="connsiteX1911" fmla="*/ 47527 w 1559298"/>
                    <a:gd name="connsiteY1911" fmla="*/ 598647 h 1261310"/>
                    <a:gd name="connsiteX1912" fmla="*/ 44091 w 1559298"/>
                    <a:gd name="connsiteY1912" fmla="*/ 603346 h 1261310"/>
                    <a:gd name="connsiteX1913" fmla="*/ 41322 w 1559298"/>
                    <a:gd name="connsiteY1913" fmla="*/ 608774 h 1261310"/>
                    <a:gd name="connsiteX1914" fmla="*/ 39720 w 1559298"/>
                    <a:gd name="connsiteY1914" fmla="*/ 616691 h 1261310"/>
                    <a:gd name="connsiteX1915" fmla="*/ 38517 w 1559298"/>
                    <a:gd name="connsiteY1915" fmla="*/ 619617 h 1261310"/>
                    <a:gd name="connsiteX1916" fmla="*/ 36854 w 1559298"/>
                    <a:gd name="connsiteY1916" fmla="*/ 620771 h 1261310"/>
                    <a:gd name="connsiteX1917" fmla="*/ 35081 w 1559298"/>
                    <a:gd name="connsiteY1917" fmla="*/ 618367 h 1261310"/>
                    <a:gd name="connsiteX1918" fmla="*/ 34899 w 1559298"/>
                    <a:gd name="connsiteY1918" fmla="*/ 616303 h 1261310"/>
                    <a:gd name="connsiteX1919" fmla="*/ 35530 w 1559298"/>
                    <a:gd name="connsiteY1919" fmla="*/ 614263 h 1261310"/>
                    <a:gd name="connsiteX1920" fmla="*/ 35931 w 1559298"/>
                    <a:gd name="connsiteY1920" fmla="*/ 611968 h 1261310"/>
                    <a:gd name="connsiteX1921" fmla="*/ 35081 w 1559298"/>
                    <a:gd name="connsiteY1921" fmla="*/ 609102 h 1261310"/>
                    <a:gd name="connsiteX1922" fmla="*/ 33745 w 1559298"/>
                    <a:gd name="connsiteY1922" fmla="*/ 609102 h 1261310"/>
                    <a:gd name="connsiteX1923" fmla="*/ 33114 w 1559298"/>
                    <a:gd name="connsiteY1923" fmla="*/ 610341 h 1261310"/>
                    <a:gd name="connsiteX1924" fmla="*/ 32312 w 1559298"/>
                    <a:gd name="connsiteY1924" fmla="*/ 611251 h 1261310"/>
                    <a:gd name="connsiteX1925" fmla="*/ 29908 w 1559298"/>
                    <a:gd name="connsiteY1925" fmla="*/ 613206 h 1261310"/>
                    <a:gd name="connsiteX1926" fmla="*/ 28997 w 1559298"/>
                    <a:gd name="connsiteY1926" fmla="*/ 610935 h 1261310"/>
                    <a:gd name="connsiteX1927" fmla="*/ 30017 w 1559298"/>
                    <a:gd name="connsiteY1927" fmla="*/ 608689 h 1261310"/>
                    <a:gd name="connsiteX1928" fmla="*/ 33745 w 1559298"/>
                    <a:gd name="connsiteY1928" fmla="*/ 603783 h 1261310"/>
                    <a:gd name="connsiteX1929" fmla="*/ 34959 w 1559298"/>
                    <a:gd name="connsiteY1929" fmla="*/ 600905 h 1261310"/>
                    <a:gd name="connsiteX1930" fmla="*/ 35469 w 1559298"/>
                    <a:gd name="connsiteY1930" fmla="*/ 598683 h 1261310"/>
                    <a:gd name="connsiteX1931" fmla="*/ 35081 w 1559298"/>
                    <a:gd name="connsiteY1931" fmla="*/ 593049 h 1261310"/>
                    <a:gd name="connsiteX1932" fmla="*/ 36975 w 1559298"/>
                    <a:gd name="connsiteY1932" fmla="*/ 593923 h 1261310"/>
                    <a:gd name="connsiteX1933" fmla="*/ 37704 w 1559298"/>
                    <a:gd name="connsiteY1933" fmla="*/ 594482 h 1261310"/>
                    <a:gd name="connsiteX1934" fmla="*/ 38639 w 1559298"/>
                    <a:gd name="connsiteY1934" fmla="*/ 592697 h 1261310"/>
                    <a:gd name="connsiteX1935" fmla="*/ 39088 w 1559298"/>
                    <a:gd name="connsiteY1935" fmla="*/ 590426 h 1261310"/>
                    <a:gd name="connsiteX1936" fmla="*/ 38517 w 1559298"/>
                    <a:gd name="connsiteY1936" fmla="*/ 588580 h 1261310"/>
                    <a:gd name="connsiteX1937" fmla="*/ 36332 w 1559298"/>
                    <a:gd name="connsiteY1937" fmla="*/ 587840 h 1261310"/>
                    <a:gd name="connsiteX1938" fmla="*/ 38639 w 1559298"/>
                    <a:gd name="connsiteY1938" fmla="*/ 581962 h 1261310"/>
                    <a:gd name="connsiteX1939" fmla="*/ 38857 w 1559298"/>
                    <a:gd name="connsiteY1939" fmla="*/ 579777 h 1261310"/>
                    <a:gd name="connsiteX1940" fmla="*/ 38457 w 1559298"/>
                    <a:gd name="connsiteY1940" fmla="*/ 577676 h 1261310"/>
                    <a:gd name="connsiteX1941" fmla="*/ 36732 w 1559298"/>
                    <a:gd name="connsiteY1941" fmla="*/ 574142 h 1261310"/>
                    <a:gd name="connsiteX1942" fmla="*/ 36332 w 1559298"/>
                    <a:gd name="connsiteY1942" fmla="*/ 572394 h 1261310"/>
                    <a:gd name="connsiteX1943" fmla="*/ 36793 w 1559298"/>
                    <a:gd name="connsiteY1943" fmla="*/ 570961 h 1261310"/>
                    <a:gd name="connsiteX1944" fmla="*/ 38748 w 1559298"/>
                    <a:gd name="connsiteY1944" fmla="*/ 569006 h 1261310"/>
                    <a:gd name="connsiteX1945" fmla="*/ 38857 w 1559298"/>
                    <a:gd name="connsiteY1945" fmla="*/ 567937 h 1261310"/>
                    <a:gd name="connsiteX1946" fmla="*/ 37947 w 1559298"/>
                    <a:gd name="connsiteY1946" fmla="*/ 566735 h 1261310"/>
                    <a:gd name="connsiteX1947" fmla="*/ 36623 w 1559298"/>
                    <a:gd name="connsiteY1947" fmla="*/ 566699 h 1261310"/>
                    <a:gd name="connsiteX1948" fmla="*/ 35530 w 1559298"/>
                    <a:gd name="connsiteY1948" fmla="*/ 567427 h 1261310"/>
                    <a:gd name="connsiteX1949" fmla="*/ 34437 w 1559298"/>
                    <a:gd name="connsiteY1949" fmla="*/ 570354 h 1261310"/>
                    <a:gd name="connsiteX1950" fmla="*/ 33065 w 1559298"/>
                    <a:gd name="connsiteY1950" fmla="*/ 571592 h 1261310"/>
                    <a:gd name="connsiteX1951" fmla="*/ 31681 w 1559298"/>
                    <a:gd name="connsiteY1951" fmla="*/ 571617 h 1261310"/>
                    <a:gd name="connsiteX1952" fmla="*/ 31062 w 1559298"/>
                    <a:gd name="connsiteY1952" fmla="*/ 569807 h 1261310"/>
                    <a:gd name="connsiteX1953" fmla="*/ 31402 w 1559298"/>
                    <a:gd name="connsiteY1953" fmla="*/ 568059 h 1261310"/>
                    <a:gd name="connsiteX1954" fmla="*/ 35020 w 1559298"/>
                    <a:gd name="connsiteY1954" fmla="*/ 559704 h 1261310"/>
                    <a:gd name="connsiteX1955" fmla="*/ 38226 w 1559298"/>
                    <a:gd name="connsiteY1955" fmla="*/ 554046 h 1261310"/>
                    <a:gd name="connsiteX1956" fmla="*/ 40193 w 1559298"/>
                    <a:gd name="connsiteY1956" fmla="*/ 551751 h 1261310"/>
                    <a:gd name="connsiteX1957" fmla="*/ 37364 w 1559298"/>
                    <a:gd name="connsiteY1957" fmla="*/ 551508 h 1261310"/>
                    <a:gd name="connsiteX1958" fmla="*/ 34899 w 1559298"/>
                    <a:gd name="connsiteY1958" fmla="*/ 554580 h 1261310"/>
                    <a:gd name="connsiteX1959" fmla="*/ 32555 w 1559298"/>
                    <a:gd name="connsiteY1959" fmla="*/ 558575 h 1261310"/>
                    <a:gd name="connsiteX1960" fmla="*/ 29908 w 1559298"/>
                    <a:gd name="connsiteY1960" fmla="*/ 561040 h 1261310"/>
                    <a:gd name="connsiteX1961" fmla="*/ 29325 w 1559298"/>
                    <a:gd name="connsiteY1961" fmla="*/ 549262 h 1261310"/>
                    <a:gd name="connsiteX1962" fmla="*/ 29969 w 1559298"/>
                    <a:gd name="connsiteY1962" fmla="*/ 542692 h 1261310"/>
                    <a:gd name="connsiteX1963" fmla="*/ 31802 w 1559298"/>
                    <a:gd name="connsiteY1963" fmla="*/ 539802 h 1261310"/>
                    <a:gd name="connsiteX1964" fmla="*/ 41905 w 1559298"/>
                    <a:gd name="connsiteY1964" fmla="*/ 538794 h 1261310"/>
                    <a:gd name="connsiteX1965" fmla="*/ 47127 w 1559298"/>
                    <a:gd name="connsiteY1965" fmla="*/ 539219 h 1261310"/>
                    <a:gd name="connsiteX1966" fmla="*/ 50575 w 1559298"/>
                    <a:gd name="connsiteY1966" fmla="*/ 543275 h 1261310"/>
                    <a:gd name="connsiteX1967" fmla="*/ 53380 w 1559298"/>
                    <a:gd name="connsiteY1967" fmla="*/ 544271 h 1261310"/>
                    <a:gd name="connsiteX1968" fmla="*/ 58954 w 1559298"/>
                    <a:gd name="connsiteY1968" fmla="*/ 545096 h 1261310"/>
                    <a:gd name="connsiteX1969" fmla="*/ 62002 w 1559298"/>
                    <a:gd name="connsiteY1969" fmla="*/ 544465 h 1261310"/>
                    <a:gd name="connsiteX1970" fmla="*/ 64479 w 1559298"/>
                    <a:gd name="connsiteY1970" fmla="*/ 543494 h 1261310"/>
                    <a:gd name="connsiteX1971" fmla="*/ 66944 w 1559298"/>
                    <a:gd name="connsiteY1971" fmla="*/ 543724 h 1261310"/>
                    <a:gd name="connsiteX1972" fmla="*/ 69870 w 1559298"/>
                    <a:gd name="connsiteY1972" fmla="*/ 546529 h 1261310"/>
                    <a:gd name="connsiteX1973" fmla="*/ 74011 w 1559298"/>
                    <a:gd name="connsiteY1973" fmla="*/ 557215 h 1261310"/>
                    <a:gd name="connsiteX1974" fmla="*/ 77047 w 1559298"/>
                    <a:gd name="connsiteY1974" fmla="*/ 560870 h 1261310"/>
                    <a:gd name="connsiteX1975" fmla="*/ 81358 w 1559298"/>
                    <a:gd name="connsiteY1975" fmla="*/ 558490 h 1261310"/>
                    <a:gd name="connsiteX1976" fmla="*/ 77678 w 1559298"/>
                    <a:gd name="connsiteY1976" fmla="*/ 556559 h 1261310"/>
                    <a:gd name="connsiteX1977" fmla="*/ 77266 w 1559298"/>
                    <a:gd name="connsiteY1977" fmla="*/ 553378 h 1261310"/>
                    <a:gd name="connsiteX1978" fmla="*/ 77508 w 1559298"/>
                    <a:gd name="connsiteY1978" fmla="*/ 550391 h 1261310"/>
                    <a:gd name="connsiteX1979" fmla="*/ 75663 w 1559298"/>
                    <a:gd name="connsiteY1979" fmla="*/ 549104 h 1261310"/>
                    <a:gd name="connsiteX1980" fmla="*/ 74400 w 1559298"/>
                    <a:gd name="connsiteY1980" fmla="*/ 547865 h 1261310"/>
                    <a:gd name="connsiteX1981" fmla="*/ 72396 w 1559298"/>
                    <a:gd name="connsiteY1981" fmla="*/ 545096 h 1261310"/>
                    <a:gd name="connsiteX1982" fmla="*/ 69749 w 1559298"/>
                    <a:gd name="connsiteY1982" fmla="*/ 542340 h 1261310"/>
                    <a:gd name="connsiteX1983" fmla="*/ 66592 w 1559298"/>
                    <a:gd name="connsiteY1983" fmla="*/ 541102 h 1261310"/>
                    <a:gd name="connsiteX1984" fmla="*/ 56428 w 1559298"/>
                    <a:gd name="connsiteY1984" fmla="*/ 541818 h 1261310"/>
                    <a:gd name="connsiteX1985" fmla="*/ 53101 w 1559298"/>
                    <a:gd name="connsiteY1985" fmla="*/ 541102 h 1261310"/>
                    <a:gd name="connsiteX1986" fmla="*/ 50235 w 1559298"/>
                    <a:gd name="connsiteY1986" fmla="*/ 539292 h 1261310"/>
                    <a:gd name="connsiteX1987" fmla="*/ 44892 w 1559298"/>
                    <a:gd name="connsiteY1987" fmla="*/ 534787 h 1261310"/>
                    <a:gd name="connsiteX1988" fmla="*/ 41444 w 1559298"/>
                    <a:gd name="connsiteY1988" fmla="*/ 533123 h 1261310"/>
                    <a:gd name="connsiteX1989" fmla="*/ 38007 w 1559298"/>
                    <a:gd name="connsiteY1989" fmla="*/ 536596 h 1261310"/>
                    <a:gd name="connsiteX1990" fmla="*/ 34899 w 1559298"/>
                    <a:gd name="connsiteY1990" fmla="*/ 536256 h 1261310"/>
                    <a:gd name="connsiteX1991" fmla="*/ 32191 w 1559298"/>
                    <a:gd name="connsiteY1991" fmla="*/ 533694 h 1261310"/>
                    <a:gd name="connsiteX1992" fmla="*/ 27662 w 1559298"/>
                    <a:gd name="connsiteY1992" fmla="*/ 526870 h 1261310"/>
                    <a:gd name="connsiteX1993" fmla="*/ 26982 w 1559298"/>
                    <a:gd name="connsiteY1993" fmla="*/ 525170 h 1261310"/>
                    <a:gd name="connsiteX1994" fmla="*/ 24796 w 1559298"/>
                    <a:gd name="connsiteY1994" fmla="*/ 514399 h 1261310"/>
                    <a:gd name="connsiteX1995" fmla="*/ 24565 w 1559298"/>
                    <a:gd name="connsiteY1995" fmla="*/ 509773 h 1261310"/>
                    <a:gd name="connsiteX1996" fmla="*/ 26010 w 1559298"/>
                    <a:gd name="connsiteY1996" fmla="*/ 507101 h 1261310"/>
                    <a:gd name="connsiteX1997" fmla="*/ 28755 w 1559298"/>
                    <a:gd name="connsiteY1997" fmla="*/ 505401 h 1261310"/>
                    <a:gd name="connsiteX1998" fmla="*/ 49361 w 1559298"/>
                    <a:gd name="connsiteY1998" fmla="*/ 497217 h 1261310"/>
                    <a:gd name="connsiteX1999" fmla="*/ 45184 w 1559298"/>
                    <a:gd name="connsiteY1999" fmla="*/ 495492 h 1261310"/>
                    <a:gd name="connsiteX2000" fmla="*/ 41262 w 1559298"/>
                    <a:gd name="connsiteY2000" fmla="*/ 496379 h 1261310"/>
                    <a:gd name="connsiteX2001" fmla="*/ 37546 w 1559298"/>
                    <a:gd name="connsiteY2001" fmla="*/ 497994 h 1261310"/>
                    <a:gd name="connsiteX2002" fmla="*/ 33745 w 1559298"/>
                    <a:gd name="connsiteY2002" fmla="*/ 498297 h 1261310"/>
                    <a:gd name="connsiteX2003" fmla="*/ 32252 w 1559298"/>
                    <a:gd name="connsiteY2003" fmla="*/ 497642 h 1261310"/>
                    <a:gd name="connsiteX2004" fmla="*/ 31001 w 1559298"/>
                    <a:gd name="connsiteY2004" fmla="*/ 496403 h 1261310"/>
                    <a:gd name="connsiteX2005" fmla="*/ 30248 w 1559298"/>
                    <a:gd name="connsiteY2005" fmla="*/ 494642 h 1261310"/>
                    <a:gd name="connsiteX2006" fmla="*/ 29908 w 1559298"/>
                    <a:gd name="connsiteY2006" fmla="*/ 492360 h 1261310"/>
                    <a:gd name="connsiteX2007" fmla="*/ 29046 w 1559298"/>
                    <a:gd name="connsiteY2007" fmla="*/ 490611 h 1261310"/>
                    <a:gd name="connsiteX2008" fmla="*/ 27042 w 1559298"/>
                    <a:gd name="connsiteY2008" fmla="*/ 489263 h 1261310"/>
                    <a:gd name="connsiteX2009" fmla="*/ 23642 w 1559298"/>
                    <a:gd name="connsiteY2009" fmla="*/ 487770 h 1261310"/>
                    <a:gd name="connsiteX2010" fmla="*/ 22270 w 1559298"/>
                    <a:gd name="connsiteY2010" fmla="*/ 487770 h 1261310"/>
                    <a:gd name="connsiteX2011" fmla="*/ 22962 w 1559298"/>
                    <a:gd name="connsiteY2011" fmla="*/ 489810 h 1261310"/>
                    <a:gd name="connsiteX2012" fmla="*/ 23424 w 1559298"/>
                    <a:gd name="connsiteY2012" fmla="*/ 491680 h 1261310"/>
                    <a:gd name="connsiteX2013" fmla="*/ 23242 w 1559298"/>
                    <a:gd name="connsiteY2013" fmla="*/ 493258 h 1261310"/>
                    <a:gd name="connsiteX2014" fmla="*/ 22270 w 1559298"/>
                    <a:gd name="connsiteY2014" fmla="*/ 494436 h 1261310"/>
                    <a:gd name="connsiteX2015" fmla="*/ 25014 w 1559298"/>
                    <a:gd name="connsiteY2015" fmla="*/ 496840 h 1261310"/>
                    <a:gd name="connsiteX2016" fmla="*/ 26047 w 1559298"/>
                    <a:gd name="connsiteY2016" fmla="*/ 498213 h 1261310"/>
                    <a:gd name="connsiteX2017" fmla="*/ 26229 w 1559298"/>
                    <a:gd name="connsiteY2017" fmla="*/ 499743 h 1261310"/>
                    <a:gd name="connsiteX2018" fmla="*/ 25014 w 1559298"/>
                    <a:gd name="connsiteY2018" fmla="*/ 501030 h 1261310"/>
                    <a:gd name="connsiteX2019" fmla="*/ 23582 w 1559298"/>
                    <a:gd name="connsiteY2019" fmla="*/ 500362 h 1261310"/>
                    <a:gd name="connsiteX2020" fmla="*/ 19963 w 1559298"/>
                    <a:gd name="connsiteY2020" fmla="*/ 496440 h 1261310"/>
                    <a:gd name="connsiteX2021" fmla="*/ 17789 w 1559298"/>
                    <a:gd name="connsiteY2021" fmla="*/ 486446 h 1261310"/>
                    <a:gd name="connsiteX2022" fmla="*/ 19174 w 1559298"/>
                    <a:gd name="connsiteY2022" fmla="*/ 482706 h 1261310"/>
                    <a:gd name="connsiteX2023" fmla="*/ 17559 w 1559298"/>
                    <a:gd name="connsiteY2023" fmla="*/ 474267 h 1261310"/>
                    <a:gd name="connsiteX2024" fmla="*/ 13260 w 1559298"/>
                    <a:gd name="connsiteY2024" fmla="*/ 459719 h 1261310"/>
                    <a:gd name="connsiteX2025" fmla="*/ 14693 w 1559298"/>
                    <a:gd name="connsiteY2025" fmla="*/ 460606 h 1261310"/>
                    <a:gd name="connsiteX2026" fmla="*/ 15774 w 1559298"/>
                    <a:gd name="connsiteY2026" fmla="*/ 461784 h 1261310"/>
                    <a:gd name="connsiteX2027" fmla="*/ 16636 w 1559298"/>
                    <a:gd name="connsiteY2027" fmla="*/ 463277 h 1261310"/>
                    <a:gd name="connsiteX2028" fmla="*/ 17219 w 1559298"/>
                    <a:gd name="connsiteY2028" fmla="*/ 465038 h 1261310"/>
                    <a:gd name="connsiteX2029" fmla="*/ 20716 w 1559298"/>
                    <a:gd name="connsiteY2029" fmla="*/ 463423 h 1261310"/>
                    <a:gd name="connsiteX2030" fmla="*/ 20716 w 1559298"/>
                    <a:gd name="connsiteY2030" fmla="*/ 461565 h 1261310"/>
                    <a:gd name="connsiteX2031" fmla="*/ 19283 w 1559298"/>
                    <a:gd name="connsiteY2031" fmla="*/ 459100 h 1261310"/>
                    <a:gd name="connsiteX2032" fmla="*/ 18433 w 1559298"/>
                    <a:gd name="connsiteY2032" fmla="*/ 455615 h 1261310"/>
                    <a:gd name="connsiteX2033" fmla="*/ 18992 w 1559298"/>
                    <a:gd name="connsiteY2033" fmla="*/ 454498 h 1261310"/>
                    <a:gd name="connsiteX2034" fmla="*/ 20376 w 1559298"/>
                    <a:gd name="connsiteY2034" fmla="*/ 454267 h 1261310"/>
                    <a:gd name="connsiteX2035" fmla="*/ 21639 w 1559298"/>
                    <a:gd name="connsiteY2035" fmla="*/ 453891 h 1261310"/>
                    <a:gd name="connsiteX2036" fmla="*/ 22270 w 1559298"/>
                    <a:gd name="connsiteY2036" fmla="*/ 452349 h 1261310"/>
                    <a:gd name="connsiteX2037" fmla="*/ 22149 w 1559298"/>
                    <a:gd name="connsiteY2037" fmla="*/ 450539 h 1261310"/>
                    <a:gd name="connsiteX2038" fmla="*/ 21930 w 1559298"/>
                    <a:gd name="connsiteY2038" fmla="*/ 449022 h 1261310"/>
                    <a:gd name="connsiteX2039" fmla="*/ 21056 w 1559298"/>
                    <a:gd name="connsiteY2039" fmla="*/ 446289 h 1261310"/>
                    <a:gd name="connsiteX2040" fmla="*/ 13940 w 1559298"/>
                    <a:gd name="connsiteY2040" fmla="*/ 454984 h 1261310"/>
                    <a:gd name="connsiteX2041" fmla="*/ 11645 w 1559298"/>
                    <a:gd name="connsiteY2041" fmla="*/ 455481 h 1261310"/>
                    <a:gd name="connsiteX2042" fmla="*/ 11244 w 1559298"/>
                    <a:gd name="connsiteY2042" fmla="*/ 452033 h 1261310"/>
                    <a:gd name="connsiteX2043" fmla="*/ 11985 w 1559298"/>
                    <a:gd name="connsiteY2043" fmla="*/ 444978 h 1261310"/>
                    <a:gd name="connsiteX2044" fmla="*/ 10674 w 1559298"/>
                    <a:gd name="connsiteY2044" fmla="*/ 442561 h 1261310"/>
                    <a:gd name="connsiteX2045" fmla="*/ 6424 w 1559298"/>
                    <a:gd name="connsiteY2045" fmla="*/ 436879 h 1261310"/>
                    <a:gd name="connsiteX2046" fmla="*/ 6254 w 1559298"/>
                    <a:gd name="connsiteY2046" fmla="*/ 434923 h 1261310"/>
                    <a:gd name="connsiteX2047" fmla="*/ 8148 w 1559298"/>
                    <a:gd name="connsiteY2047" fmla="*/ 432119 h 1261310"/>
                    <a:gd name="connsiteX2048" fmla="*/ 9059 w 1559298"/>
                    <a:gd name="connsiteY2048" fmla="*/ 429155 h 1261310"/>
                    <a:gd name="connsiteX2049" fmla="*/ 9459 w 1559298"/>
                    <a:gd name="connsiteY2049" fmla="*/ 422331 h 1261310"/>
                    <a:gd name="connsiteX2050" fmla="*/ 8779 w 1559298"/>
                    <a:gd name="connsiteY2050" fmla="*/ 417426 h 1261310"/>
                    <a:gd name="connsiteX2051" fmla="*/ 9229 w 1559298"/>
                    <a:gd name="connsiteY2051" fmla="*/ 415240 h 1261310"/>
                    <a:gd name="connsiteX2052" fmla="*/ 11354 w 1559298"/>
                    <a:gd name="connsiteY2052" fmla="*/ 414353 h 1261310"/>
                    <a:gd name="connsiteX2053" fmla="*/ 12847 w 1559298"/>
                    <a:gd name="connsiteY2053" fmla="*/ 413090 h 1261310"/>
                    <a:gd name="connsiteX2054" fmla="*/ 14754 w 1559298"/>
                    <a:gd name="connsiteY2054" fmla="*/ 410115 h 1261310"/>
                    <a:gd name="connsiteX2055" fmla="*/ 16417 w 1559298"/>
                    <a:gd name="connsiteY2055" fmla="*/ 406521 h 1261310"/>
                    <a:gd name="connsiteX2056" fmla="*/ 17219 w 1559298"/>
                    <a:gd name="connsiteY2056" fmla="*/ 403595 h 1261310"/>
                    <a:gd name="connsiteX2057" fmla="*/ 17219 w 1559298"/>
                    <a:gd name="connsiteY2057" fmla="*/ 392205 h 1261310"/>
                    <a:gd name="connsiteX2058" fmla="*/ 17279 w 1559298"/>
                    <a:gd name="connsiteY2058" fmla="*/ 391913 h 1261310"/>
                    <a:gd name="connsiteX2059" fmla="*/ 17316 w 1559298"/>
                    <a:gd name="connsiteY2059" fmla="*/ 391913 h 1261310"/>
                    <a:gd name="connsiteX2060" fmla="*/ 21797 w 1559298"/>
                    <a:gd name="connsiteY2060" fmla="*/ 391318 h 1261310"/>
                    <a:gd name="connsiteX2061" fmla="*/ 25415 w 1559298"/>
                    <a:gd name="connsiteY2061" fmla="*/ 389278 h 1261310"/>
                    <a:gd name="connsiteX2062" fmla="*/ 26678 w 1559298"/>
                    <a:gd name="connsiteY2062" fmla="*/ 388210 h 1261310"/>
                    <a:gd name="connsiteX2063" fmla="*/ 29034 w 1559298"/>
                    <a:gd name="connsiteY2063" fmla="*/ 386631 h 1261310"/>
                    <a:gd name="connsiteX2064" fmla="*/ 30175 w 1559298"/>
                    <a:gd name="connsiteY2064" fmla="*/ 386291 h 1261310"/>
                    <a:gd name="connsiteX2065" fmla="*/ 31268 w 1559298"/>
                    <a:gd name="connsiteY2065" fmla="*/ 386231 h 1261310"/>
                    <a:gd name="connsiteX2066" fmla="*/ 35639 w 1559298"/>
                    <a:gd name="connsiteY2066" fmla="*/ 388003 h 1261310"/>
                    <a:gd name="connsiteX2067" fmla="*/ 36562 w 1559298"/>
                    <a:gd name="connsiteY2067" fmla="*/ 387930 h 1261310"/>
                    <a:gd name="connsiteX2068" fmla="*/ 37643 w 1559298"/>
                    <a:gd name="connsiteY2068" fmla="*/ 386886 h 1261310"/>
                    <a:gd name="connsiteX2069" fmla="*/ 38845 w 1559298"/>
                    <a:gd name="connsiteY2069" fmla="*/ 386194 h 1261310"/>
                    <a:gd name="connsiteX2070" fmla="*/ 40278 w 1559298"/>
                    <a:gd name="connsiteY2070" fmla="*/ 385757 h 1261310"/>
                    <a:gd name="connsiteX2071" fmla="*/ 45050 w 1559298"/>
                    <a:gd name="connsiteY2071" fmla="*/ 386218 h 1261310"/>
                    <a:gd name="connsiteX2072" fmla="*/ 48159 w 1559298"/>
                    <a:gd name="connsiteY2072" fmla="*/ 386194 h 1261310"/>
                    <a:gd name="connsiteX2073" fmla="*/ 52810 w 1559298"/>
                    <a:gd name="connsiteY2073" fmla="*/ 385162 h 1261310"/>
                    <a:gd name="connsiteX2074" fmla="*/ 62099 w 1559298"/>
                    <a:gd name="connsiteY2074" fmla="*/ 381203 h 1261310"/>
                    <a:gd name="connsiteX2075" fmla="*/ 61650 w 1559298"/>
                    <a:gd name="connsiteY2075" fmla="*/ 379127 h 1261310"/>
                    <a:gd name="connsiteX2076" fmla="*/ 61067 w 1559298"/>
                    <a:gd name="connsiteY2076" fmla="*/ 371428 h 1261310"/>
                    <a:gd name="connsiteX2077" fmla="*/ 60666 w 1559298"/>
                    <a:gd name="connsiteY2077" fmla="*/ 370080 h 1261310"/>
                    <a:gd name="connsiteX2078" fmla="*/ 59925 w 1559298"/>
                    <a:gd name="connsiteY2078" fmla="*/ 368623 h 1261310"/>
                    <a:gd name="connsiteX2079" fmla="*/ 58833 w 1559298"/>
                    <a:gd name="connsiteY2079" fmla="*/ 367336 h 1261310"/>
                    <a:gd name="connsiteX2080" fmla="*/ 57290 w 1559298"/>
                    <a:gd name="connsiteY2080" fmla="*/ 366073 h 1261310"/>
                    <a:gd name="connsiteX2081" fmla="*/ 54012 w 1559298"/>
                    <a:gd name="connsiteY2081" fmla="*/ 363912 h 1261310"/>
                    <a:gd name="connsiteX2082" fmla="*/ 52627 w 1559298"/>
                    <a:gd name="connsiteY2082" fmla="*/ 362819 h 1261310"/>
                    <a:gd name="connsiteX2083" fmla="*/ 51717 w 1559298"/>
                    <a:gd name="connsiteY2083" fmla="*/ 361665 h 1261310"/>
                    <a:gd name="connsiteX2084" fmla="*/ 51134 w 1559298"/>
                    <a:gd name="connsiteY2084" fmla="*/ 360572 h 1261310"/>
                    <a:gd name="connsiteX2085" fmla="*/ 51025 w 1559298"/>
                    <a:gd name="connsiteY2085" fmla="*/ 359480 h 1261310"/>
                    <a:gd name="connsiteX2086" fmla="*/ 51134 w 1559298"/>
                    <a:gd name="connsiteY2086" fmla="*/ 358387 h 1261310"/>
                    <a:gd name="connsiteX2087" fmla="*/ 51826 w 1559298"/>
                    <a:gd name="connsiteY2087" fmla="*/ 356893 h 1261310"/>
                    <a:gd name="connsiteX2088" fmla="*/ 52457 w 1559298"/>
                    <a:gd name="connsiteY2088" fmla="*/ 356091 h 1261310"/>
                    <a:gd name="connsiteX2089" fmla="*/ 53781 w 1559298"/>
                    <a:gd name="connsiteY2089" fmla="*/ 355642 h 1261310"/>
                    <a:gd name="connsiteX2090" fmla="*/ 55275 w 1559298"/>
                    <a:gd name="connsiteY2090" fmla="*/ 355788 h 1261310"/>
                    <a:gd name="connsiteX2091" fmla="*/ 58383 w 1559298"/>
                    <a:gd name="connsiteY2091" fmla="*/ 356504 h 1261310"/>
                    <a:gd name="connsiteX2092" fmla="*/ 60095 w 1559298"/>
                    <a:gd name="connsiteY2092" fmla="*/ 356711 h 1261310"/>
                    <a:gd name="connsiteX2093" fmla="*/ 61310 w 1559298"/>
                    <a:gd name="connsiteY2093" fmla="*/ 356577 h 1261310"/>
                    <a:gd name="connsiteX2094" fmla="*/ 61759 w 1559298"/>
                    <a:gd name="connsiteY2094" fmla="*/ 356104 h 1261310"/>
                    <a:gd name="connsiteX2095" fmla="*/ 64345 w 1559298"/>
                    <a:gd name="connsiteY2095" fmla="*/ 349850 h 1261310"/>
                    <a:gd name="connsiteX2096" fmla="*/ 65208 w 1559298"/>
                    <a:gd name="connsiteY2096" fmla="*/ 348442 h 1261310"/>
                    <a:gd name="connsiteX2097" fmla="*/ 66058 w 1559298"/>
                    <a:gd name="connsiteY2097" fmla="*/ 347871 h 1261310"/>
                    <a:gd name="connsiteX2098" fmla="*/ 67211 w 1559298"/>
                    <a:gd name="connsiteY2098" fmla="*/ 347810 h 1261310"/>
                    <a:gd name="connsiteX2099" fmla="*/ 69288 w 1559298"/>
                    <a:gd name="connsiteY2099" fmla="*/ 348611 h 1261310"/>
                    <a:gd name="connsiteX2100" fmla="*/ 70550 w 1559298"/>
                    <a:gd name="connsiteY2100" fmla="*/ 348866 h 1261310"/>
                    <a:gd name="connsiteX2101" fmla="*/ 71595 w 1559298"/>
                    <a:gd name="connsiteY2101" fmla="*/ 348745 h 1261310"/>
                    <a:gd name="connsiteX2102" fmla="*/ 75371 w 1559298"/>
                    <a:gd name="connsiteY2102" fmla="*/ 346681 h 1261310"/>
                    <a:gd name="connsiteX2103" fmla="*/ 81406 w 1559298"/>
                    <a:gd name="connsiteY2103" fmla="*/ 341569 h 1261310"/>
                    <a:gd name="connsiteX2104" fmla="*/ 82778 w 1559298"/>
                    <a:gd name="connsiteY2104" fmla="*/ 340719 h 1261310"/>
                    <a:gd name="connsiteX2105" fmla="*/ 84272 w 1559298"/>
                    <a:gd name="connsiteY2105" fmla="*/ 340196 h 1261310"/>
                    <a:gd name="connsiteX2106" fmla="*/ 85413 w 1559298"/>
                    <a:gd name="connsiteY2106" fmla="*/ 340537 h 1261310"/>
                    <a:gd name="connsiteX2107" fmla="*/ 86336 w 1559298"/>
                    <a:gd name="connsiteY2107" fmla="*/ 342030 h 1261310"/>
                    <a:gd name="connsiteX2108" fmla="*/ 85996 w 1559298"/>
                    <a:gd name="connsiteY2108" fmla="*/ 344908 h 1261310"/>
                    <a:gd name="connsiteX2109" fmla="*/ 85474 w 1559298"/>
                    <a:gd name="connsiteY2109" fmla="*/ 346729 h 1261310"/>
                    <a:gd name="connsiteX2110" fmla="*/ 85413 w 1559298"/>
                    <a:gd name="connsiteY2110" fmla="*/ 348138 h 1261310"/>
                    <a:gd name="connsiteX2111" fmla="*/ 85936 w 1559298"/>
                    <a:gd name="connsiteY2111" fmla="*/ 349109 h 1261310"/>
                    <a:gd name="connsiteX2112" fmla="*/ 87490 w 1559298"/>
                    <a:gd name="connsiteY2112" fmla="*/ 350178 h 1261310"/>
                    <a:gd name="connsiteX2113" fmla="*/ 89032 w 1559298"/>
                    <a:gd name="connsiteY2113" fmla="*/ 350409 h 1261310"/>
                    <a:gd name="connsiteX2114" fmla="*/ 90647 w 1559298"/>
                    <a:gd name="connsiteY2114" fmla="*/ 350324 h 1261310"/>
                    <a:gd name="connsiteX2115" fmla="*/ 92481 w 1559298"/>
                    <a:gd name="connsiteY2115" fmla="*/ 349971 h 1261310"/>
                    <a:gd name="connsiteX2116" fmla="*/ 93974 w 1559298"/>
                    <a:gd name="connsiteY2116" fmla="*/ 350008 h 1261310"/>
                    <a:gd name="connsiteX2117" fmla="*/ 94788 w 1559298"/>
                    <a:gd name="connsiteY2117" fmla="*/ 350591 h 1261310"/>
                    <a:gd name="connsiteX2118" fmla="*/ 95128 w 1559298"/>
                    <a:gd name="connsiteY2118" fmla="*/ 351769 h 1261310"/>
                    <a:gd name="connsiteX2119" fmla="*/ 94788 w 1559298"/>
                    <a:gd name="connsiteY2119" fmla="*/ 353954 h 1261310"/>
                    <a:gd name="connsiteX2120" fmla="*/ 94096 w 1559298"/>
                    <a:gd name="connsiteY2120" fmla="*/ 355266 h 1261310"/>
                    <a:gd name="connsiteX2121" fmla="*/ 93051 w 1559298"/>
                    <a:gd name="connsiteY2121" fmla="*/ 356310 h 1261310"/>
                    <a:gd name="connsiteX2122" fmla="*/ 80823 w 1559298"/>
                    <a:gd name="connsiteY2122" fmla="*/ 362880 h 1261310"/>
                    <a:gd name="connsiteX2123" fmla="*/ 79731 w 1559298"/>
                    <a:gd name="connsiteY2123" fmla="*/ 363827 h 1261310"/>
                    <a:gd name="connsiteX2124" fmla="*/ 79051 w 1559298"/>
                    <a:gd name="connsiteY2124" fmla="*/ 364677 h 1261310"/>
                    <a:gd name="connsiteX2125" fmla="*/ 78698 w 1559298"/>
                    <a:gd name="connsiteY2125" fmla="*/ 365430 h 1261310"/>
                    <a:gd name="connsiteX2126" fmla="*/ 78419 w 1559298"/>
                    <a:gd name="connsiteY2126" fmla="*/ 366462 h 1261310"/>
                    <a:gd name="connsiteX2127" fmla="*/ 78358 w 1559298"/>
                    <a:gd name="connsiteY2127" fmla="*/ 367409 h 1261310"/>
                    <a:gd name="connsiteX2128" fmla="*/ 78419 w 1559298"/>
                    <a:gd name="connsiteY2128" fmla="*/ 368502 h 1261310"/>
                    <a:gd name="connsiteX2129" fmla="*/ 79852 w 1559298"/>
                    <a:gd name="connsiteY2129" fmla="*/ 375302 h 1261310"/>
                    <a:gd name="connsiteX2130" fmla="*/ 80605 w 1559298"/>
                    <a:gd name="connsiteY2130" fmla="*/ 377014 h 1261310"/>
                    <a:gd name="connsiteX2131" fmla="*/ 82098 w 1559298"/>
                    <a:gd name="connsiteY2131" fmla="*/ 378337 h 1261310"/>
                    <a:gd name="connsiteX2132" fmla="*/ 84381 w 1559298"/>
                    <a:gd name="connsiteY2132" fmla="*/ 379103 h 1261310"/>
                    <a:gd name="connsiteX2133" fmla="*/ 88182 w 1559298"/>
                    <a:gd name="connsiteY2133" fmla="*/ 378896 h 1261310"/>
                    <a:gd name="connsiteX2134" fmla="*/ 90125 w 1559298"/>
                    <a:gd name="connsiteY2134" fmla="*/ 378204 h 1261310"/>
                    <a:gd name="connsiteX2135" fmla="*/ 91218 w 1559298"/>
                    <a:gd name="connsiteY2135" fmla="*/ 377402 h 1261310"/>
                    <a:gd name="connsiteX2136" fmla="*/ 91497 w 1559298"/>
                    <a:gd name="connsiteY2136" fmla="*/ 376516 h 1261310"/>
                    <a:gd name="connsiteX2137" fmla="*/ 91679 w 1559298"/>
                    <a:gd name="connsiteY2137" fmla="*/ 374112 h 1261310"/>
                    <a:gd name="connsiteX2138" fmla="*/ 91958 w 1559298"/>
                    <a:gd name="connsiteY2138" fmla="*/ 372557 h 1261310"/>
                    <a:gd name="connsiteX2139" fmla="*/ 92602 w 1559298"/>
                    <a:gd name="connsiteY2139" fmla="*/ 371210 h 1261310"/>
                    <a:gd name="connsiteX2140" fmla="*/ 93403 w 1559298"/>
                    <a:gd name="connsiteY2140" fmla="*/ 370602 h 1261310"/>
                    <a:gd name="connsiteX2141" fmla="*/ 94375 w 1559298"/>
                    <a:gd name="connsiteY2141" fmla="*/ 370457 h 1261310"/>
                    <a:gd name="connsiteX2142" fmla="*/ 101029 w 1559298"/>
                    <a:gd name="connsiteY2142" fmla="*/ 371343 h 1261310"/>
                    <a:gd name="connsiteX2143" fmla="*/ 102875 w 1559298"/>
                    <a:gd name="connsiteY2143" fmla="*/ 372715 h 1261310"/>
                    <a:gd name="connsiteX2144" fmla="*/ 103919 w 1559298"/>
                    <a:gd name="connsiteY2144" fmla="*/ 373966 h 1261310"/>
                    <a:gd name="connsiteX2145" fmla="*/ 103215 w 1559298"/>
                    <a:gd name="connsiteY2145" fmla="*/ 383632 h 1261310"/>
                    <a:gd name="connsiteX2146" fmla="*/ 108218 w 1559298"/>
                    <a:gd name="connsiteY2146" fmla="*/ 384409 h 1261310"/>
                    <a:gd name="connsiteX2147" fmla="*/ 110003 w 1559298"/>
                    <a:gd name="connsiteY2147" fmla="*/ 383984 h 1261310"/>
                    <a:gd name="connsiteX2148" fmla="*/ 112699 w 1559298"/>
                    <a:gd name="connsiteY2148" fmla="*/ 383037 h 1261310"/>
                    <a:gd name="connsiteX2149" fmla="*/ 115334 w 1559298"/>
                    <a:gd name="connsiteY2149" fmla="*/ 381543 h 1261310"/>
                    <a:gd name="connsiteX2150" fmla="*/ 116609 w 1559298"/>
                    <a:gd name="connsiteY2150" fmla="*/ 380414 h 1261310"/>
                    <a:gd name="connsiteX2151" fmla="*/ 117689 w 1559298"/>
                    <a:gd name="connsiteY2151" fmla="*/ 379017 h 1261310"/>
                    <a:gd name="connsiteX2152" fmla="*/ 117981 w 1559298"/>
                    <a:gd name="connsiteY2152" fmla="*/ 377609 h 1261310"/>
                    <a:gd name="connsiteX2153" fmla="*/ 118102 w 1559298"/>
                    <a:gd name="connsiteY2153" fmla="*/ 376261 h 1261310"/>
                    <a:gd name="connsiteX2154" fmla="*/ 117920 w 1559298"/>
                    <a:gd name="connsiteY2154" fmla="*/ 374804 h 1261310"/>
                    <a:gd name="connsiteX2155" fmla="*/ 117981 w 1559298"/>
                    <a:gd name="connsiteY2155" fmla="*/ 373541 h 1261310"/>
                    <a:gd name="connsiteX2156" fmla="*/ 118430 w 1559298"/>
                    <a:gd name="connsiteY2156" fmla="*/ 371841 h 1261310"/>
                    <a:gd name="connsiteX2157" fmla="*/ 119924 w 1559298"/>
                    <a:gd name="connsiteY2157" fmla="*/ 369692 h 1261310"/>
                    <a:gd name="connsiteX2158" fmla="*/ 121247 w 1559298"/>
                    <a:gd name="connsiteY2158" fmla="*/ 368805 h 1261310"/>
                    <a:gd name="connsiteX2159" fmla="*/ 123032 w 1559298"/>
                    <a:gd name="connsiteY2159" fmla="*/ 368320 h 1261310"/>
                    <a:gd name="connsiteX2160" fmla="*/ 135370 w 1559298"/>
                    <a:gd name="connsiteY2160" fmla="*/ 370202 h 1261310"/>
                    <a:gd name="connsiteX2161" fmla="*/ 138660 w 1559298"/>
                    <a:gd name="connsiteY2161" fmla="*/ 371064 h 1261310"/>
                    <a:gd name="connsiteX2162" fmla="*/ 140275 w 1559298"/>
                    <a:gd name="connsiteY2162" fmla="*/ 371270 h 1261310"/>
                    <a:gd name="connsiteX2163" fmla="*/ 142922 w 1559298"/>
                    <a:gd name="connsiteY2163" fmla="*/ 370870 h 1261310"/>
                    <a:gd name="connsiteX2164" fmla="*/ 143894 w 1559298"/>
                    <a:gd name="connsiteY2164" fmla="*/ 369728 h 1261310"/>
                    <a:gd name="connsiteX2165" fmla="*/ 144052 w 1559298"/>
                    <a:gd name="connsiteY2165" fmla="*/ 368162 h 1261310"/>
                    <a:gd name="connsiteX2166" fmla="*/ 143020 w 1559298"/>
                    <a:gd name="connsiteY2166" fmla="*/ 365089 h 1261310"/>
                    <a:gd name="connsiteX2167" fmla="*/ 142922 w 1559298"/>
                    <a:gd name="connsiteY2167" fmla="*/ 363402 h 1261310"/>
                    <a:gd name="connsiteX2168" fmla="*/ 143311 w 1559298"/>
                    <a:gd name="connsiteY2168" fmla="*/ 361495 h 1261310"/>
                    <a:gd name="connsiteX2169" fmla="*/ 145035 w 1559298"/>
                    <a:gd name="connsiteY2169" fmla="*/ 358375 h 1261310"/>
                    <a:gd name="connsiteX2170" fmla="*/ 145667 w 1559298"/>
                    <a:gd name="connsiteY2170" fmla="*/ 356091 h 1261310"/>
                    <a:gd name="connsiteX2171" fmla="*/ 145958 w 1559298"/>
                    <a:gd name="connsiteY2171" fmla="*/ 353287 h 1261310"/>
                    <a:gd name="connsiteX2172" fmla="*/ 144695 w 1559298"/>
                    <a:gd name="connsiteY2172" fmla="*/ 343912 h 1261310"/>
                    <a:gd name="connsiteX2173" fmla="*/ 144574 w 1559298"/>
                    <a:gd name="connsiteY2173" fmla="*/ 341131 h 1261310"/>
                    <a:gd name="connsiteX2174" fmla="*/ 144355 w 1559298"/>
                    <a:gd name="connsiteY2174" fmla="*/ 339480 h 1261310"/>
                    <a:gd name="connsiteX2175" fmla="*/ 143942 w 1559298"/>
                    <a:gd name="connsiteY2175" fmla="*/ 337999 h 1261310"/>
                    <a:gd name="connsiteX2176" fmla="*/ 143372 w 1559298"/>
                    <a:gd name="connsiteY2176" fmla="*/ 337015 h 1261310"/>
                    <a:gd name="connsiteX2177" fmla="*/ 142619 w 1559298"/>
                    <a:gd name="connsiteY2177" fmla="*/ 336529 h 1261310"/>
                    <a:gd name="connsiteX2178" fmla="*/ 140907 w 1559298"/>
                    <a:gd name="connsiteY2178" fmla="*/ 335983 h 1261310"/>
                    <a:gd name="connsiteX2179" fmla="*/ 140215 w 1559298"/>
                    <a:gd name="connsiteY2179" fmla="*/ 335218 h 1261310"/>
                    <a:gd name="connsiteX2180" fmla="*/ 139692 w 1559298"/>
                    <a:gd name="connsiteY2180" fmla="*/ 333955 h 1261310"/>
                    <a:gd name="connsiteX2181" fmla="*/ 140433 w 1559298"/>
                    <a:gd name="connsiteY2181" fmla="*/ 331429 h 1261310"/>
                    <a:gd name="connsiteX2182" fmla="*/ 145727 w 1559298"/>
                    <a:gd name="connsiteY2182" fmla="*/ 324374 h 1261310"/>
                    <a:gd name="connsiteX2183" fmla="*/ 154968 w 1559298"/>
                    <a:gd name="connsiteY2183" fmla="*/ 309305 h 1261310"/>
                    <a:gd name="connsiteX2184" fmla="*/ 157142 w 1559298"/>
                    <a:gd name="connsiteY2184" fmla="*/ 304484 h 1261310"/>
                    <a:gd name="connsiteX2185" fmla="*/ 158077 w 1559298"/>
                    <a:gd name="connsiteY2185" fmla="*/ 301011 h 1261310"/>
                    <a:gd name="connsiteX2186" fmla="*/ 156583 w 1559298"/>
                    <a:gd name="connsiteY2186" fmla="*/ 294005 h 1261310"/>
                    <a:gd name="connsiteX2187" fmla="*/ 156170 w 1559298"/>
                    <a:gd name="connsiteY2187" fmla="*/ 292839 h 1261310"/>
                    <a:gd name="connsiteX2188" fmla="*/ 155770 w 1559298"/>
                    <a:gd name="connsiteY2188" fmla="*/ 291989 h 1261310"/>
                    <a:gd name="connsiteX2189" fmla="*/ 155308 w 1559298"/>
                    <a:gd name="connsiteY2189" fmla="*/ 291503 h 1261310"/>
                    <a:gd name="connsiteX2190" fmla="*/ 154458 w 1559298"/>
                    <a:gd name="connsiteY2190" fmla="*/ 291297 h 1261310"/>
                    <a:gd name="connsiteX2191" fmla="*/ 152272 w 1559298"/>
                    <a:gd name="connsiteY2191" fmla="*/ 291042 h 1261310"/>
                    <a:gd name="connsiteX2192" fmla="*/ 151180 w 1559298"/>
                    <a:gd name="connsiteY2192" fmla="*/ 290787 h 1261310"/>
                    <a:gd name="connsiteX2193" fmla="*/ 150269 w 1559298"/>
                    <a:gd name="connsiteY2193" fmla="*/ 290325 h 1261310"/>
                    <a:gd name="connsiteX2194" fmla="*/ 149686 w 1559298"/>
                    <a:gd name="connsiteY2194" fmla="*/ 289670 h 1261310"/>
                    <a:gd name="connsiteX2195" fmla="*/ 149346 w 1559298"/>
                    <a:gd name="connsiteY2195" fmla="*/ 288504 h 1261310"/>
                    <a:gd name="connsiteX2196" fmla="*/ 148715 w 1559298"/>
                    <a:gd name="connsiteY2196" fmla="*/ 284035 h 1261310"/>
                    <a:gd name="connsiteX2197" fmla="*/ 148362 w 1559298"/>
                    <a:gd name="connsiteY2197" fmla="*/ 282943 h 1261310"/>
                    <a:gd name="connsiteX2198" fmla="*/ 147731 w 1559298"/>
                    <a:gd name="connsiteY2198" fmla="*/ 282311 h 1261310"/>
                    <a:gd name="connsiteX2199" fmla="*/ 146480 w 1559298"/>
                    <a:gd name="connsiteY2199" fmla="*/ 281910 h 1261310"/>
                    <a:gd name="connsiteX2200" fmla="*/ 145145 w 1559298"/>
                    <a:gd name="connsiteY2200" fmla="*/ 281728 h 1261310"/>
                    <a:gd name="connsiteX2201" fmla="*/ 143311 w 1559298"/>
                    <a:gd name="connsiteY2201" fmla="*/ 281643 h 1261310"/>
                    <a:gd name="connsiteX2202" fmla="*/ 141878 w 1559298"/>
                    <a:gd name="connsiteY2202" fmla="*/ 281340 h 1261310"/>
                    <a:gd name="connsiteX2203" fmla="*/ 140785 w 1559298"/>
                    <a:gd name="connsiteY2203" fmla="*/ 280660 h 1261310"/>
                    <a:gd name="connsiteX2204" fmla="*/ 140324 w 1559298"/>
                    <a:gd name="connsiteY2204" fmla="*/ 279397 h 1261310"/>
                    <a:gd name="connsiteX2205" fmla="*/ 140433 w 1559298"/>
                    <a:gd name="connsiteY2205" fmla="*/ 278571 h 1261310"/>
                    <a:gd name="connsiteX2206" fmla="*/ 141769 w 1559298"/>
                    <a:gd name="connsiteY2206" fmla="*/ 277248 h 1261310"/>
                    <a:gd name="connsiteX2207" fmla="*/ 147852 w 1559298"/>
                    <a:gd name="connsiteY2207" fmla="*/ 275219 h 1261310"/>
                    <a:gd name="connsiteX2208" fmla="*/ 150500 w 1559298"/>
                    <a:gd name="connsiteY2208" fmla="*/ 272488 h 1261310"/>
                    <a:gd name="connsiteX2209" fmla="*/ 152503 w 1559298"/>
                    <a:gd name="connsiteY2209" fmla="*/ 267278 h 1261310"/>
                    <a:gd name="connsiteX2210" fmla="*/ 153426 w 1559298"/>
                    <a:gd name="connsiteY2210" fmla="*/ 266100 h 1261310"/>
                    <a:gd name="connsiteX2211" fmla="*/ 154398 w 1559298"/>
                    <a:gd name="connsiteY2211" fmla="*/ 265554 h 1261310"/>
                    <a:gd name="connsiteX2212" fmla="*/ 155940 w 1559298"/>
                    <a:gd name="connsiteY2212" fmla="*/ 265384 h 1261310"/>
                    <a:gd name="connsiteX2213" fmla="*/ 157105 w 1559298"/>
                    <a:gd name="connsiteY2213" fmla="*/ 265930 h 1261310"/>
                    <a:gd name="connsiteX2214" fmla="*/ 158356 w 1559298"/>
                    <a:gd name="connsiteY2214" fmla="*/ 267205 h 1261310"/>
                    <a:gd name="connsiteX2215" fmla="*/ 159218 w 1559298"/>
                    <a:gd name="connsiteY2215" fmla="*/ 268699 h 1261310"/>
                    <a:gd name="connsiteX2216" fmla="*/ 161282 w 1559298"/>
                    <a:gd name="connsiteY2216" fmla="*/ 273447 h 1261310"/>
                    <a:gd name="connsiteX2217" fmla="*/ 162266 w 1559298"/>
                    <a:gd name="connsiteY2217" fmla="*/ 274418 h 1261310"/>
                    <a:gd name="connsiteX2218" fmla="*/ 163408 w 1559298"/>
                    <a:gd name="connsiteY2218" fmla="*/ 275050 h 1261310"/>
                    <a:gd name="connsiteX2219" fmla="*/ 165083 w 1559298"/>
                    <a:gd name="connsiteY2219" fmla="*/ 275693 h 1261310"/>
                    <a:gd name="connsiteX2220" fmla="*/ 166115 w 1559298"/>
                    <a:gd name="connsiteY2220" fmla="*/ 276240 h 1261310"/>
                    <a:gd name="connsiteX2221" fmla="*/ 173110 w 1559298"/>
                    <a:gd name="connsiteY2221" fmla="*/ 281291 h 1261310"/>
                    <a:gd name="connsiteX2222" fmla="*/ 178866 w 1559298"/>
                    <a:gd name="connsiteY2222" fmla="*/ 283999 h 1261310"/>
                    <a:gd name="connsiteX2223" fmla="*/ 181950 w 1559298"/>
                    <a:gd name="connsiteY2223" fmla="*/ 285857 h 1261310"/>
                    <a:gd name="connsiteX2224" fmla="*/ 184476 w 1559298"/>
                    <a:gd name="connsiteY2224" fmla="*/ 287982 h 1261310"/>
                    <a:gd name="connsiteX2225" fmla="*/ 188908 w 1559298"/>
                    <a:gd name="connsiteY2225" fmla="*/ 294503 h 1261310"/>
                    <a:gd name="connsiteX2226" fmla="*/ 190219 w 1559298"/>
                    <a:gd name="connsiteY2226" fmla="*/ 295936 h 1261310"/>
                    <a:gd name="connsiteX2227" fmla="*/ 191713 w 1559298"/>
                    <a:gd name="connsiteY2227" fmla="*/ 296591 h 1261310"/>
                    <a:gd name="connsiteX2228" fmla="*/ 193498 w 1559298"/>
                    <a:gd name="connsiteY2228" fmla="*/ 296858 h 1261310"/>
                    <a:gd name="connsiteX2229" fmla="*/ 203321 w 1559298"/>
                    <a:gd name="connsiteY2229" fmla="*/ 296215 h 1261310"/>
                    <a:gd name="connsiteX2230" fmla="*/ 205726 w 1559298"/>
                    <a:gd name="connsiteY2230" fmla="*/ 295413 h 1261310"/>
                    <a:gd name="connsiteX2231" fmla="*/ 210267 w 1559298"/>
                    <a:gd name="connsiteY2231" fmla="*/ 292584 h 1261310"/>
                    <a:gd name="connsiteX2232" fmla="*/ 215319 w 1559298"/>
                    <a:gd name="connsiteY2232" fmla="*/ 290107 h 1261310"/>
                    <a:gd name="connsiteX2233" fmla="*/ 218415 w 1559298"/>
                    <a:gd name="connsiteY2233" fmla="*/ 288990 h 1261310"/>
                    <a:gd name="connsiteX2234" fmla="*/ 220662 w 1559298"/>
                    <a:gd name="connsiteY2234" fmla="*/ 287678 h 1261310"/>
                    <a:gd name="connsiteX2235" fmla="*/ 222155 w 1559298"/>
                    <a:gd name="connsiteY2235" fmla="*/ 285869 h 1261310"/>
                    <a:gd name="connsiteX2236" fmla="*/ 223248 w 1559298"/>
                    <a:gd name="connsiteY2236" fmla="*/ 283720 h 1261310"/>
                    <a:gd name="connsiteX2237" fmla="*/ 224037 w 1559298"/>
                    <a:gd name="connsiteY2237" fmla="*/ 281194 h 1261310"/>
                    <a:gd name="connsiteX2238" fmla="*/ 224341 w 1559298"/>
                    <a:gd name="connsiteY2238" fmla="*/ 278802 h 1261310"/>
                    <a:gd name="connsiteX2239" fmla="*/ 223928 w 1559298"/>
                    <a:gd name="connsiteY2239" fmla="*/ 275219 h 1261310"/>
                    <a:gd name="connsiteX2240" fmla="*/ 224159 w 1559298"/>
                    <a:gd name="connsiteY2240" fmla="*/ 273835 h 1261310"/>
                    <a:gd name="connsiteX2241" fmla="*/ 229562 w 1559298"/>
                    <a:gd name="connsiteY2241" fmla="*/ 268274 h 1261310"/>
                    <a:gd name="connsiteX2242" fmla="*/ 238803 w 1559298"/>
                    <a:gd name="connsiteY2242" fmla="*/ 261352 h 1261310"/>
                    <a:gd name="connsiteX2243" fmla="*/ 240637 w 1559298"/>
                    <a:gd name="connsiteY2243" fmla="*/ 259349 h 1261310"/>
                    <a:gd name="connsiteX2244" fmla="*/ 241790 w 1559298"/>
                    <a:gd name="connsiteY2244" fmla="*/ 257054 h 1261310"/>
                    <a:gd name="connsiteX2245" fmla="*/ 242543 w 1559298"/>
                    <a:gd name="connsiteY2245" fmla="*/ 254492 h 1261310"/>
                    <a:gd name="connsiteX2246" fmla="*/ 242944 w 1559298"/>
                    <a:gd name="connsiteY2246" fmla="*/ 251662 h 1261310"/>
                    <a:gd name="connsiteX2247" fmla="*/ 243004 w 1559298"/>
                    <a:gd name="connsiteY2247" fmla="*/ 248529 h 1261310"/>
                    <a:gd name="connsiteX2248" fmla="*/ 241389 w 1559298"/>
                    <a:gd name="connsiteY2248" fmla="*/ 233339 h 1261310"/>
                    <a:gd name="connsiteX2249" fmla="*/ 239835 w 1559298"/>
                    <a:gd name="connsiteY2249" fmla="*/ 228724 h 1261310"/>
                    <a:gd name="connsiteX2250" fmla="*/ 237953 w 1559298"/>
                    <a:gd name="connsiteY2250" fmla="*/ 224984 h 1261310"/>
                    <a:gd name="connsiteX2251" fmla="*/ 236156 w 1559298"/>
                    <a:gd name="connsiteY2251" fmla="*/ 217893 h 1261310"/>
                    <a:gd name="connsiteX2252" fmla="*/ 234905 w 1559298"/>
                    <a:gd name="connsiteY2252" fmla="*/ 215525 h 1261310"/>
                    <a:gd name="connsiteX2253" fmla="*/ 233229 w 1559298"/>
                    <a:gd name="connsiteY2253" fmla="*/ 214032 h 1261310"/>
                    <a:gd name="connsiteX2254" fmla="*/ 230983 w 1559298"/>
                    <a:gd name="connsiteY2254" fmla="*/ 212453 h 1261310"/>
                    <a:gd name="connsiteX2255" fmla="*/ 228239 w 1559298"/>
                    <a:gd name="connsiteY2255" fmla="*/ 209854 h 1261310"/>
                    <a:gd name="connsiteX2256" fmla="*/ 224790 w 1559298"/>
                    <a:gd name="connsiteY2256" fmla="*/ 205641 h 1261310"/>
                    <a:gd name="connsiteX2257" fmla="*/ 221815 w 1559298"/>
                    <a:gd name="connsiteY2257" fmla="*/ 201051 h 1261310"/>
                    <a:gd name="connsiteX2258" fmla="*/ 220200 w 1559298"/>
                    <a:gd name="connsiteY2258" fmla="*/ 199096 h 1261310"/>
                    <a:gd name="connsiteX2259" fmla="*/ 217322 w 1559298"/>
                    <a:gd name="connsiteY2259" fmla="*/ 198403 h 1261310"/>
                    <a:gd name="connsiteX2260" fmla="*/ 211251 w 1559298"/>
                    <a:gd name="connsiteY2260" fmla="*/ 196254 h 1261310"/>
                    <a:gd name="connsiteX2261" fmla="*/ 209065 w 1559298"/>
                    <a:gd name="connsiteY2261" fmla="*/ 193376 h 1261310"/>
                    <a:gd name="connsiteX2262" fmla="*/ 208203 w 1559298"/>
                    <a:gd name="connsiteY2262" fmla="*/ 191518 h 1261310"/>
                    <a:gd name="connsiteX2263" fmla="*/ 206017 w 1559298"/>
                    <a:gd name="connsiteY2263" fmla="*/ 188616 h 1261310"/>
                    <a:gd name="connsiteX2264" fmla="*/ 204293 w 1559298"/>
                    <a:gd name="connsiteY2264" fmla="*/ 187305 h 1261310"/>
                    <a:gd name="connsiteX2265" fmla="*/ 202398 w 1559298"/>
                    <a:gd name="connsiteY2265" fmla="*/ 186540 h 1261310"/>
                    <a:gd name="connsiteX2266" fmla="*/ 200456 w 1559298"/>
                    <a:gd name="connsiteY2266" fmla="*/ 186333 h 1261310"/>
                    <a:gd name="connsiteX2267" fmla="*/ 198719 w 1559298"/>
                    <a:gd name="connsiteY2267" fmla="*/ 186418 h 1261310"/>
                    <a:gd name="connsiteX2268" fmla="*/ 196655 w 1559298"/>
                    <a:gd name="connsiteY2268" fmla="*/ 187220 h 1261310"/>
                    <a:gd name="connsiteX2269" fmla="*/ 194238 w 1559298"/>
                    <a:gd name="connsiteY2269" fmla="*/ 187329 h 1261310"/>
                    <a:gd name="connsiteX2270" fmla="*/ 190972 w 1559298"/>
                    <a:gd name="connsiteY2270" fmla="*/ 187183 h 1261310"/>
                    <a:gd name="connsiteX2271" fmla="*/ 184075 w 1559298"/>
                    <a:gd name="connsiteY2271" fmla="*/ 183164 h 1261310"/>
                    <a:gd name="connsiteX2272" fmla="*/ 177080 w 1559298"/>
                    <a:gd name="connsiteY2272" fmla="*/ 176425 h 1261310"/>
                    <a:gd name="connsiteX2273" fmla="*/ 175708 w 1559298"/>
                    <a:gd name="connsiteY2273" fmla="*/ 174348 h 1261310"/>
                    <a:gd name="connsiteX2274" fmla="*/ 175587 w 1559298"/>
                    <a:gd name="connsiteY2274" fmla="*/ 173195 h 1261310"/>
                    <a:gd name="connsiteX2275" fmla="*/ 175866 w 1559298"/>
                    <a:gd name="connsiteY2275" fmla="*/ 172248 h 1261310"/>
                    <a:gd name="connsiteX2276" fmla="*/ 176789 w 1559298"/>
                    <a:gd name="connsiteY2276" fmla="*/ 171738 h 1261310"/>
                    <a:gd name="connsiteX2277" fmla="*/ 178343 w 1559298"/>
                    <a:gd name="connsiteY2277" fmla="*/ 171859 h 1261310"/>
                    <a:gd name="connsiteX2278" fmla="*/ 180238 w 1559298"/>
                    <a:gd name="connsiteY2278" fmla="*/ 172429 h 1261310"/>
                    <a:gd name="connsiteX2279" fmla="*/ 190559 w 1559298"/>
                    <a:gd name="connsiteY2279" fmla="*/ 178052 h 1261310"/>
                    <a:gd name="connsiteX2280" fmla="*/ 191956 w 1559298"/>
                    <a:gd name="connsiteY2280" fmla="*/ 178307 h 1261310"/>
                    <a:gd name="connsiteX2281" fmla="*/ 193328 w 1559298"/>
                    <a:gd name="connsiteY2281" fmla="*/ 177943 h 1261310"/>
                    <a:gd name="connsiteX2282" fmla="*/ 194639 w 1559298"/>
                    <a:gd name="connsiteY2282" fmla="*/ 177190 h 1261310"/>
                    <a:gd name="connsiteX2283" fmla="*/ 196315 w 1559298"/>
                    <a:gd name="connsiteY2283" fmla="*/ 176765 h 1261310"/>
                    <a:gd name="connsiteX2284" fmla="*/ 198039 w 1559298"/>
                    <a:gd name="connsiteY2284" fmla="*/ 176935 h 1261310"/>
                    <a:gd name="connsiteX2285" fmla="*/ 199642 w 1559298"/>
                    <a:gd name="connsiteY2285" fmla="*/ 177420 h 1261310"/>
                    <a:gd name="connsiteX2286" fmla="*/ 200966 w 1559298"/>
                    <a:gd name="connsiteY2286" fmla="*/ 177943 h 1261310"/>
                    <a:gd name="connsiteX2287" fmla="*/ 201998 w 1559298"/>
                    <a:gd name="connsiteY2287" fmla="*/ 178246 h 1261310"/>
                    <a:gd name="connsiteX2288" fmla="*/ 202641 w 1559298"/>
                    <a:gd name="connsiteY2288" fmla="*/ 178283 h 1261310"/>
                    <a:gd name="connsiteX2289" fmla="*/ 202969 w 1559298"/>
                    <a:gd name="connsiteY2289" fmla="*/ 178100 h 1261310"/>
                    <a:gd name="connsiteX2290" fmla="*/ 206078 w 1559298"/>
                    <a:gd name="connsiteY2290" fmla="*/ 175174 h 1261310"/>
                    <a:gd name="connsiteX2291" fmla="*/ 207729 w 1559298"/>
                    <a:gd name="connsiteY2291" fmla="*/ 174057 h 1261310"/>
                    <a:gd name="connsiteX2292" fmla="*/ 209575 w 1559298"/>
                    <a:gd name="connsiteY2292" fmla="*/ 173085 h 1261310"/>
                    <a:gd name="connsiteX2293" fmla="*/ 211712 w 1559298"/>
                    <a:gd name="connsiteY2293" fmla="*/ 172332 h 1261310"/>
                    <a:gd name="connsiteX2294" fmla="*/ 213776 w 1559298"/>
                    <a:gd name="connsiteY2294" fmla="*/ 171932 h 1261310"/>
                    <a:gd name="connsiteX2295" fmla="*/ 215889 w 1559298"/>
                    <a:gd name="connsiteY2295" fmla="*/ 170620 h 1261310"/>
                    <a:gd name="connsiteX2296" fmla="*/ 217844 w 1559298"/>
                    <a:gd name="connsiteY2296" fmla="*/ 168119 h 1261310"/>
                    <a:gd name="connsiteX2297" fmla="*/ 220722 w 1559298"/>
                    <a:gd name="connsiteY2297" fmla="*/ 158648 h 1261310"/>
                    <a:gd name="connsiteX2298" fmla="*/ 222094 w 1559298"/>
                    <a:gd name="connsiteY2298" fmla="*/ 155478 h 1261310"/>
                    <a:gd name="connsiteX2299" fmla="*/ 223649 w 1559298"/>
                    <a:gd name="connsiteY2299" fmla="*/ 154531 h 1261310"/>
                    <a:gd name="connsiteX2300" fmla="*/ 225203 w 1559298"/>
                    <a:gd name="connsiteY2300" fmla="*/ 154993 h 1261310"/>
                    <a:gd name="connsiteX2301" fmla="*/ 228069 w 1559298"/>
                    <a:gd name="connsiteY2301" fmla="*/ 157919 h 1261310"/>
                    <a:gd name="connsiteX2302" fmla="*/ 229854 w 1559298"/>
                    <a:gd name="connsiteY2302" fmla="*/ 158465 h 1261310"/>
                    <a:gd name="connsiteX2303" fmla="*/ 232137 w 1559298"/>
                    <a:gd name="connsiteY2303" fmla="*/ 158065 h 1261310"/>
                    <a:gd name="connsiteX2304" fmla="*/ 242640 w 1559298"/>
                    <a:gd name="connsiteY2304" fmla="*/ 154300 h 1261310"/>
                    <a:gd name="connsiteX2305" fmla="*/ 244316 w 1559298"/>
                    <a:gd name="connsiteY2305" fmla="*/ 153414 h 1261310"/>
                    <a:gd name="connsiteX2306" fmla="*/ 246380 w 1559298"/>
                    <a:gd name="connsiteY2306" fmla="*/ 150087 h 1261310"/>
                    <a:gd name="connsiteX2307" fmla="*/ 249537 w 1559298"/>
                    <a:gd name="connsiteY2307" fmla="*/ 137337 h 1261310"/>
                    <a:gd name="connsiteX2308" fmla="*/ 252136 w 1559298"/>
                    <a:gd name="connsiteY2308" fmla="*/ 133232 h 1261310"/>
                    <a:gd name="connsiteX2309" fmla="*/ 254820 w 1559298"/>
                    <a:gd name="connsiteY2309" fmla="*/ 130792 h 1261310"/>
                    <a:gd name="connsiteX2310" fmla="*/ 258098 w 1559298"/>
                    <a:gd name="connsiteY2310" fmla="*/ 128958 h 1261310"/>
                    <a:gd name="connsiteX2311" fmla="*/ 260903 w 1559298"/>
                    <a:gd name="connsiteY2311" fmla="*/ 126784 h 1261310"/>
                    <a:gd name="connsiteX2312" fmla="*/ 265335 w 1559298"/>
                    <a:gd name="connsiteY2312" fmla="*/ 121891 h 1261310"/>
                    <a:gd name="connsiteX2313" fmla="*/ 267509 w 1559298"/>
                    <a:gd name="connsiteY2313" fmla="*/ 120009 h 1261310"/>
                    <a:gd name="connsiteX2314" fmla="*/ 269634 w 1559298"/>
                    <a:gd name="connsiteY2314" fmla="*/ 119232 h 1261310"/>
                    <a:gd name="connsiteX2315" fmla="*/ 271468 w 1559298"/>
                    <a:gd name="connsiteY2315" fmla="*/ 119839 h 1261310"/>
                    <a:gd name="connsiteX2316" fmla="*/ 276009 w 1559298"/>
                    <a:gd name="connsiteY2316" fmla="*/ 121769 h 1261310"/>
                    <a:gd name="connsiteX2317" fmla="*/ 278025 w 1559298"/>
                    <a:gd name="connsiteY2317" fmla="*/ 122158 h 1261310"/>
                    <a:gd name="connsiteX2318" fmla="*/ 279980 w 1559298"/>
                    <a:gd name="connsiteY2318" fmla="*/ 122012 h 1261310"/>
                    <a:gd name="connsiteX2319" fmla="*/ 304727 w 1559298"/>
                    <a:gd name="connsiteY2319" fmla="*/ 115249 h 1261310"/>
                    <a:gd name="connsiteX2320" fmla="*/ 309317 w 1559298"/>
                    <a:gd name="connsiteY2320" fmla="*/ 113233 h 1261310"/>
                    <a:gd name="connsiteX2321" fmla="*/ 312244 w 1559298"/>
                    <a:gd name="connsiteY2321" fmla="*/ 111448 h 1261310"/>
                    <a:gd name="connsiteX2322" fmla="*/ 314259 w 1559298"/>
                    <a:gd name="connsiteY2322" fmla="*/ 109784 h 1261310"/>
                    <a:gd name="connsiteX2323" fmla="*/ 315291 w 1559298"/>
                    <a:gd name="connsiteY2323" fmla="*/ 108546 h 1261310"/>
                    <a:gd name="connsiteX2324" fmla="*/ 315874 w 1559298"/>
                    <a:gd name="connsiteY2324" fmla="*/ 107028 h 1261310"/>
                    <a:gd name="connsiteX2325" fmla="*/ 316032 w 1559298"/>
                    <a:gd name="connsiteY2325" fmla="*/ 105243 h 1261310"/>
                    <a:gd name="connsiteX2326" fmla="*/ 315814 w 1559298"/>
                    <a:gd name="connsiteY2326" fmla="*/ 103591 h 1261310"/>
                    <a:gd name="connsiteX2327" fmla="*/ 315352 w 1559298"/>
                    <a:gd name="connsiteY2327" fmla="*/ 102085 h 1261310"/>
                    <a:gd name="connsiteX2328" fmla="*/ 314259 w 1559298"/>
                    <a:gd name="connsiteY2328" fmla="*/ 99475 h 1261310"/>
                    <a:gd name="connsiteX2329" fmla="*/ 313798 w 1559298"/>
                    <a:gd name="connsiteY2329" fmla="*/ 98637 h 1261310"/>
                    <a:gd name="connsiteX2330" fmla="*/ 313106 w 1559298"/>
                    <a:gd name="connsiteY2330" fmla="*/ 98151 h 1261310"/>
                    <a:gd name="connsiteX2331" fmla="*/ 312074 w 1559298"/>
                    <a:gd name="connsiteY2331" fmla="*/ 97981 h 1261310"/>
                    <a:gd name="connsiteX2332" fmla="*/ 310811 w 1559298"/>
                    <a:gd name="connsiteY2332" fmla="*/ 98212 h 1261310"/>
                    <a:gd name="connsiteX2333" fmla="*/ 309378 w 1559298"/>
                    <a:gd name="connsiteY2333" fmla="*/ 98856 h 1261310"/>
                    <a:gd name="connsiteX2334" fmla="*/ 306281 w 1559298"/>
                    <a:gd name="connsiteY2334" fmla="*/ 100798 h 1261310"/>
                    <a:gd name="connsiteX2335" fmla="*/ 304557 w 1559298"/>
                    <a:gd name="connsiteY2335" fmla="*/ 101624 h 1261310"/>
                    <a:gd name="connsiteX2336" fmla="*/ 302651 w 1559298"/>
                    <a:gd name="connsiteY2336" fmla="*/ 102207 h 1261310"/>
                    <a:gd name="connsiteX2337" fmla="*/ 295535 w 1559298"/>
                    <a:gd name="connsiteY2337" fmla="*/ 103591 h 1261310"/>
                    <a:gd name="connsiteX2338" fmla="*/ 293871 w 1559298"/>
                    <a:gd name="connsiteY2338" fmla="*/ 103215 h 1261310"/>
                    <a:gd name="connsiteX2339" fmla="*/ 292560 w 1559298"/>
                    <a:gd name="connsiteY2339" fmla="*/ 102049 h 1261310"/>
                    <a:gd name="connsiteX2340" fmla="*/ 291346 w 1559298"/>
                    <a:gd name="connsiteY2340" fmla="*/ 100714 h 1261310"/>
                    <a:gd name="connsiteX2341" fmla="*/ 289913 w 1559298"/>
                    <a:gd name="connsiteY2341" fmla="*/ 99499 h 1261310"/>
                    <a:gd name="connsiteX2342" fmla="*/ 288759 w 1559298"/>
                    <a:gd name="connsiteY2342" fmla="*/ 98989 h 1261310"/>
                    <a:gd name="connsiteX2343" fmla="*/ 287095 w 1559298"/>
                    <a:gd name="connsiteY2343" fmla="*/ 98613 h 1261310"/>
                    <a:gd name="connsiteX2344" fmla="*/ 285311 w 1559298"/>
                    <a:gd name="connsiteY2344" fmla="*/ 98819 h 1261310"/>
                    <a:gd name="connsiteX2345" fmla="*/ 284339 w 1559298"/>
                    <a:gd name="connsiteY2345" fmla="*/ 99184 h 1261310"/>
                    <a:gd name="connsiteX2346" fmla="*/ 283768 w 1559298"/>
                    <a:gd name="connsiteY2346" fmla="*/ 99766 h 1261310"/>
                    <a:gd name="connsiteX2347" fmla="*/ 283076 w 1559298"/>
                    <a:gd name="connsiteY2347" fmla="*/ 100859 h 1261310"/>
                    <a:gd name="connsiteX2348" fmla="*/ 281995 w 1559298"/>
                    <a:gd name="connsiteY2348" fmla="*/ 101746 h 1261310"/>
                    <a:gd name="connsiteX2349" fmla="*/ 280041 w 1559298"/>
                    <a:gd name="connsiteY2349" fmla="*/ 102171 h 1261310"/>
                    <a:gd name="connsiteX2350" fmla="*/ 266708 w 1559298"/>
                    <a:gd name="connsiteY2350" fmla="*/ 100859 h 1261310"/>
                    <a:gd name="connsiteX2351" fmla="*/ 263150 w 1559298"/>
                    <a:gd name="connsiteY2351" fmla="*/ 100944 h 1261310"/>
                    <a:gd name="connsiteX2352" fmla="*/ 258839 w 1559298"/>
                    <a:gd name="connsiteY2352" fmla="*/ 101673 h 1261310"/>
                    <a:gd name="connsiteX2353" fmla="*/ 251152 w 1559298"/>
                    <a:gd name="connsiteY2353" fmla="*/ 103944 h 1261310"/>
                    <a:gd name="connsiteX2354" fmla="*/ 245348 w 1559298"/>
                    <a:gd name="connsiteY2354" fmla="*/ 106384 h 1261310"/>
                    <a:gd name="connsiteX2355" fmla="*/ 232659 w 1559298"/>
                    <a:gd name="connsiteY2355" fmla="*/ 108424 h 1261310"/>
                    <a:gd name="connsiteX2356" fmla="*/ 227207 w 1559298"/>
                    <a:gd name="connsiteY2356" fmla="*/ 110744 h 1261310"/>
                    <a:gd name="connsiteX2357" fmla="*/ 225992 w 1559298"/>
                    <a:gd name="connsiteY2357" fmla="*/ 110889 h 1261310"/>
                    <a:gd name="connsiteX2358" fmla="*/ 225021 w 1559298"/>
                    <a:gd name="connsiteY2358" fmla="*/ 110258 h 1261310"/>
                    <a:gd name="connsiteX2359" fmla="*/ 224219 w 1559298"/>
                    <a:gd name="connsiteY2359" fmla="*/ 108995 h 1261310"/>
                    <a:gd name="connsiteX2360" fmla="*/ 222155 w 1559298"/>
                    <a:gd name="connsiteY2360" fmla="*/ 104575 h 1261310"/>
                    <a:gd name="connsiteX2361" fmla="*/ 220722 w 1559298"/>
                    <a:gd name="connsiteY2361" fmla="*/ 102195 h 1261310"/>
                    <a:gd name="connsiteX2362" fmla="*/ 215209 w 1559298"/>
                    <a:gd name="connsiteY2362" fmla="*/ 95710 h 1261310"/>
                    <a:gd name="connsiteX2363" fmla="*/ 214056 w 1559298"/>
                    <a:gd name="connsiteY2363" fmla="*/ 93610 h 1261310"/>
                    <a:gd name="connsiteX2364" fmla="*/ 213024 w 1559298"/>
                    <a:gd name="connsiteY2364" fmla="*/ 90720 h 1261310"/>
                    <a:gd name="connsiteX2365" fmla="*/ 213473 w 1559298"/>
                    <a:gd name="connsiteY2365" fmla="*/ 89202 h 1261310"/>
                    <a:gd name="connsiteX2366" fmla="*/ 214966 w 1559298"/>
                    <a:gd name="connsiteY2366" fmla="*/ 88218 h 1261310"/>
                    <a:gd name="connsiteX2367" fmla="*/ 220722 w 1559298"/>
                    <a:gd name="connsiteY2367" fmla="*/ 87648 h 1261310"/>
                    <a:gd name="connsiteX2368" fmla="*/ 224159 w 1559298"/>
                    <a:gd name="connsiteY2368" fmla="*/ 86069 h 1261310"/>
                    <a:gd name="connsiteX2369" fmla="*/ 227437 w 1559298"/>
                    <a:gd name="connsiteY2369" fmla="*/ 82900 h 1261310"/>
                    <a:gd name="connsiteX2370" fmla="*/ 229453 w 1559298"/>
                    <a:gd name="connsiteY2370" fmla="*/ 76755 h 1261310"/>
                    <a:gd name="connsiteX2371" fmla="*/ 229040 w 1559298"/>
                    <a:gd name="connsiteY2371" fmla="*/ 73720 h 1261310"/>
                    <a:gd name="connsiteX2372" fmla="*/ 227207 w 1559298"/>
                    <a:gd name="connsiteY2372" fmla="*/ 71789 h 1261310"/>
                    <a:gd name="connsiteX2373" fmla="*/ 225021 w 1559298"/>
                    <a:gd name="connsiteY2373" fmla="*/ 70477 h 1261310"/>
                    <a:gd name="connsiteX2374" fmla="*/ 223466 w 1559298"/>
                    <a:gd name="connsiteY2374" fmla="*/ 68437 h 1261310"/>
                    <a:gd name="connsiteX2375" fmla="*/ 222726 w 1559298"/>
                    <a:gd name="connsiteY2375" fmla="*/ 65426 h 1261310"/>
                    <a:gd name="connsiteX2376" fmla="*/ 223248 w 1559298"/>
                    <a:gd name="connsiteY2376" fmla="*/ 62658 h 1261310"/>
                    <a:gd name="connsiteX2377" fmla="*/ 223017 w 1559298"/>
                    <a:gd name="connsiteY2377" fmla="*/ 60168 h 1261310"/>
                    <a:gd name="connsiteX2378" fmla="*/ 221463 w 1559298"/>
                    <a:gd name="connsiteY2378" fmla="*/ 54680 h 1261310"/>
                    <a:gd name="connsiteX2379" fmla="*/ 221354 w 1559298"/>
                    <a:gd name="connsiteY2379" fmla="*/ 52579 h 1261310"/>
                    <a:gd name="connsiteX2380" fmla="*/ 221633 w 1559298"/>
                    <a:gd name="connsiteY2380" fmla="*/ 50952 h 1261310"/>
                    <a:gd name="connsiteX2381" fmla="*/ 223879 w 1559298"/>
                    <a:gd name="connsiteY2381" fmla="*/ 46410 h 1261310"/>
                    <a:gd name="connsiteX2382" fmla="*/ 226636 w 1559298"/>
                    <a:gd name="connsiteY2382" fmla="*/ 45293 h 1261310"/>
                    <a:gd name="connsiteX2383" fmla="*/ 228239 w 1559298"/>
                    <a:gd name="connsiteY2383" fmla="*/ 45038 h 1261310"/>
                    <a:gd name="connsiteX2384" fmla="*/ 235367 w 1559298"/>
                    <a:gd name="connsiteY2384" fmla="*/ 42852 h 1261310"/>
                    <a:gd name="connsiteX2385" fmla="*/ 240758 w 1559298"/>
                    <a:gd name="connsiteY2385" fmla="*/ 39877 h 1261310"/>
                    <a:gd name="connsiteX2386" fmla="*/ 244134 w 1559298"/>
                    <a:gd name="connsiteY2386" fmla="*/ 40436 h 1261310"/>
                    <a:gd name="connsiteX2387" fmla="*/ 248845 w 1559298"/>
                    <a:gd name="connsiteY2387" fmla="*/ 38918 h 1261310"/>
                    <a:gd name="connsiteX2388" fmla="*/ 253047 w 1559298"/>
                    <a:gd name="connsiteY2388" fmla="*/ 36344 h 1261310"/>
                    <a:gd name="connsiteX2389" fmla="*/ 254820 w 1559298"/>
                    <a:gd name="connsiteY2389" fmla="*/ 33697 h 1261310"/>
                    <a:gd name="connsiteX2390" fmla="*/ 271067 w 1559298"/>
                    <a:gd name="connsiteY2390" fmla="*/ 25998 h 1261310"/>
                    <a:gd name="connsiteX2391" fmla="*/ 283768 w 1559298"/>
                    <a:gd name="connsiteY2391" fmla="*/ 23752 h 1261310"/>
                    <a:gd name="connsiteX2392" fmla="*/ 283817 w 1559298"/>
                    <a:gd name="connsiteY2392" fmla="*/ 9386 h 1261310"/>
                    <a:gd name="connsiteX2393" fmla="*/ 286233 w 1559298"/>
                    <a:gd name="connsiteY2393" fmla="*/ 1870 h 1261310"/>
                    <a:gd name="connsiteX2394" fmla="*/ 286112 w 1559298"/>
                    <a:gd name="connsiteY2394" fmla="*/ 1020 h 1261310"/>
                    <a:gd name="connsiteX2395" fmla="*/ 280441 w 1559298"/>
                    <a:gd name="connsiteY2395" fmla="*/ 0 h 1261310"/>
                    <a:gd name="connsiteX2396" fmla="*/ 278025 w 1559298"/>
                    <a:gd name="connsiteY2396" fmla="*/ 7516 h 1261310"/>
                    <a:gd name="connsiteX2397" fmla="*/ 277745 w 1559298"/>
                    <a:gd name="connsiteY2397" fmla="*/ 8415 h 1261310"/>
                    <a:gd name="connsiteX2398" fmla="*/ 277745 w 1559298"/>
                    <a:gd name="connsiteY2398" fmla="*/ 9350 h 1261310"/>
                    <a:gd name="connsiteX2399" fmla="*/ 277721 w 1559298"/>
                    <a:gd name="connsiteY2399" fmla="*/ 18639 h 1261310"/>
                    <a:gd name="connsiteX2400" fmla="*/ 270023 w 1559298"/>
                    <a:gd name="connsiteY2400" fmla="*/ 19999 h 1261310"/>
                    <a:gd name="connsiteX2401" fmla="*/ 269221 w 1559298"/>
                    <a:gd name="connsiteY2401" fmla="*/ 20145 h 1261310"/>
                    <a:gd name="connsiteX2402" fmla="*/ 268480 w 1559298"/>
                    <a:gd name="connsiteY2402" fmla="*/ 20485 h 1261310"/>
                    <a:gd name="connsiteX2403" fmla="*/ 252233 w 1559298"/>
                    <a:gd name="connsiteY2403" fmla="*/ 28184 h 1261310"/>
                    <a:gd name="connsiteX2404" fmla="*/ 250715 w 1559298"/>
                    <a:gd name="connsiteY2404" fmla="*/ 28912 h 1261310"/>
                    <a:gd name="connsiteX2405" fmla="*/ 249780 w 1559298"/>
                    <a:gd name="connsiteY2405" fmla="*/ 30297 h 1261310"/>
                    <a:gd name="connsiteX2406" fmla="*/ 248748 w 1559298"/>
                    <a:gd name="connsiteY2406" fmla="*/ 31839 h 1261310"/>
                    <a:gd name="connsiteX2407" fmla="*/ 246295 w 1559298"/>
                    <a:gd name="connsiteY2407" fmla="*/ 33332 h 1261310"/>
                    <a:gd name="connsiteX2408" fmla="*/ 243672 w 1559298"/>
                    <a:gd name="connsiteY2408" fmla="*/ 34182 h 1261310"/>
                    <a:gd name="connsiteX2409" fmla="*/ 241754 w 1559298"/>
                    <a:gd name="connsiteY2409" fmla="*/ 33867 h 1261310"/>
                    <a:gd name="connsiteX2410" fmla="*/ 239677 w 1559298"/>
                    <a:gd name="connsiteY2410" fmla="*/ 33526 h 1261310"/>
                    <a:gd name="connsiteX2411" fmla="*/ 237832 w 1559298"/>
                    <a:gd name="connsiteY2411" fmla="*/ 34547 h 1261310"/>
                    <a:gd name="connsiteX2412" fmla="*/ 232999 w 1559298"/>
                    <a:gd name="connsiteY2412" fmla="*/ 37218 h 1261310"/>
                    <a:gd name="connsiteX2413" fmla="*/ 226879 w 1559298"/>
                    <a:gd name="connsiteY2413" fmla="*/ 39088 h 1261310"/>
                    <a:gd name="connsiteX2414" fmla="*/ 225677 w 1559298"/>
                    <a:gd name="connsiteY2414" fmla="*/ 39294 h 1261310"/>
                    <a:gd name="connsiteX2415" fmla="*/ 225009 w 1559298"/>
                    <a:gd name="connsiteY2415" fmla="*/ 39404 h 1261310"/>
                    <a:gd name="connsiteX2416" fmla="*/ 224377 w 1559298"/>
                    <a:gd name="connsiteY2416" fmla="*/ 39659 h 1261310"/>
                    <a:gd name="connsiteX2417" fmla="*/ 221621 w 1559298"/>
                    <a:gd name="connsiteY2417" fmla="*/ 40776 h 1261310"/>
                    <a:gd name="connsiteX2418" fmla="*/ 219484 w 1559298"/>
                    <a:gd name="connsiteY2418" fmla="*/ 41638 h 1261310"/>
                    <a:gd name="connsiteX2419" fmla="*/ 218464 w 1559298"/>
                    <a:gd name="connsiteY2419" fmla="*/ 43715 h 1261310"/>
                    <a:gd name="connsiteX2420" fmla="*/ 216217 w 1559298"/>
                    <a:gd name="connsiteY2420" fmla="*/ 48256 h 1261310"/>
                    <a:gd name="connsiteX2421" fmla="*/ 215829 w 1559298"/>
                    <a:gd name="connsiteY2421" fmla="*/ 49045 h 1261310"/>
                    <a:gd name="connsiteX2422" fmla="*/ 215683 w 1559298"/>
                    <a:gd name="connsiteY2422" fmla="*/ 49907 h 1261310"/>
                    <a:gd name="connsiteX2423" fmla="*/ 215404 w 1559298"/>
                    <a:gd name="connsiteY2423" fmla="*/ 51534 h 1261310"/>
                    <a:gd name="connsiteX2424" fmla="*/ 215282 w 1559298"/>
                    <a:gd name="connsiteY2424" fmla="*/ 52214 h 1261310"/>
                    <a:gd name="connsiteX2425" fmla="*/ 215319 w 1559298"/>
                    <a:gd name="connsiteY2425" fmla="*/ 52894 h 1261310"/>
                    <a:gd name="connsiteX2426" fmla="*/ 215428 w 1559298"/>
                    <a:gd name="connsiteY2426" fmla="*/ 54995 h 1261310"/>
                    <a:gd name="connsiteX2427" fmla="*/ 215464 w 1559298"/>
                    <a:gd name="connsiteY2427" fmla="*/ 55675 h 1261310"/>
                    <a:gd name="connsiteX2428" fmla="*/ 215646 w 1559298"/>
                    <a:gd name="connsiteY2428" fmla="*/ 56331 h 1261310"/>
                    <a:gd name="connsiteX2429" fmla="*/ 217043 w 1559298"/>
                    <a:gd name="connsiteY2429" fmla="*/ 61285 h 1261310"/>
                    <a:gd name="connsiteX2430" fmla="*/ 217140 w 1559298"/>
                    <a:gd name="connsiteY2430" fmla="*/ 62378 h 1261310"/>
                    <a:gd name="connsiteX2431" fmla="*/ 216776 w 1559298"/>
                    <a:gd name="connsiteY2431" fmla="*/ 64297 h 1261310"/>
                    <a:gd name="connsiteX2432" fmla="*/ 216521 w 1559298"/>
                    <a:gd name="connsiteY2432" fmla="*/ 65584 h 1261310"/>
                    <a:gd name="connsiteX2433" fmla="*/ 216836 w 1559298"/>
                    <a:gd name="connsiteY2433" fmla="*/ 66859 h 1261310"/>
                    <a:gd name="connsiteX2434" fmla="*/ 217577 w 1559298"/>
                    <a:gd name="connsiteY2434" fmla="*/ 69870 h 1261310"/>
                    <a:gd name="connsiteX2435" fmla="*/ 217881 w 1559298"/>
                    <a:gd name="connsiteY2435" fmla="*/ 71109 h 1261310"/>
                    <a:gd name="connsiteX2436" fmla="*/ 218634 w 1559298"/>
                    <a:gd name="connsiteY2436" fmla="*/ 72105 h 1261310"/>
                    <a:gd name="connsiteX2437" fmla="*/ 220188 w 1559298"/>
                    <a:gd name="connsiteY2437" fmla="*/ 74145 h 1261310"/>
                    <a:gd name="connsiteX2438" fmla="*/ 220892 w 1559298"/>
                    <a:gd name="connsiteY2438" fmla="*/ 75068 h 1261310"/>
                    <a:gd name="connsiteX2439" fmla="*/ 221888 w 1559298"/>
                    <a:gd name="connsiteY2439" fmla="*/ 75675 h 1261310"/>
                    <a:gd name="connsiteX2440" fmla="*/ 223163 w 1559298"/>
                    <a:gd name="connsiteY2440" fmla="*/ 76428 h 1261310"/>
                    <a:gd name="connsiteX2441" fmla="*/ 222131 w 1559298"/>
                    <a:gd name="connsiteY2441" fmla="*/ 79572 h 1261310"/>
                    <a:gd name="connsiteX2442" fmla="*/ 220674 w 1559298"/>
                    <a:gd name="connsiteY2442" fmla="*/ 80969 h 1261310"/>
                    <a:gd name="connsiteX2443" fmla="*/ 219107 w 1559298"/>
                    <a:gd name="connsiteY2443" fmla="*/ 81698 h 1261310"/>
                    <a:gd name="connsiteX2444" fmla="*/ 214359 w 1559298"/>
                    <a:gd name="connsiteY2444" fmla="*/ 82171 h 1261310"/>
                    <a:gd name="connsiteX2445" fmla="*/ 212866 w 1559298"/>
                    <a:gd name="connsiteY2445" fmla="*/ 82317 h 1261310"/>
                    <a:gd name="connsiteX2446" fmla="*/ 211615 w 1559298"/>
                    <a:gd name="connsiteY2446" fmla="*/ 83130 h 1261310"/>
                    <a:gd name="connsiteX2447" fmla="*/ 210121 w 1559298"/>
                    <a:gd name="connsiteY2447" fmla="*/ 84114 h 1261310"/>
                    <a:gd name="connsiteX2448" fmla="*/ 208276 w 1559298"/>
                    <a:gd name="connsiteY2448" fmla="*/ 85340 h 1261310"/>
                    <a:gd name="connsiteX2449" fmla="*/ 207644 w 1559298"/>
                    <a:gd name="connsiteY2449" fmla="*/ 87466 h 1261310"/>
                    <a:gd name="connsiteX2450" fmla="*/ 207195 w 1559298"/>
                    <a:gd name="connsiteY2450" fmla="*/ 88983 h 1261310"/>
                    <a:gd name="connsiteX2451" fmla="*/ 206636 w 1559298"/>
                    <a:gd name="connsiteY2451" fmla="*/ 90890 h 1261310"/>
                    <a:gd name="connsiteX2452" fmla="*/ 207304 w 1559298"/>
                    <a:gd name="connsiteY2452" fmla="*/ 92760 h 1261310"/>
                    <a:gd name="connsiteX2453" fmla="*/ 208336 w 1559298"/>
                    <a:gd name="connsiteY2453" fmla="*/ 95650 h 1261310"/>
                    <a:gd name="connsiteX2454" fmla="*/ 208494 w 1559298"/>
                    <a:gd name="connsiteY2454" fmla="*/ 96099 h 1261310"/>
                    <a:gd name="connsiteX2455" fmla="*/ 208725 w 1559298"/>
                    <a:gd name="connsiteY2455" fmla="*/ 96512 h 1261310"/>
                    <a:gd name="connsiteX2456" fmla="*/ 209879 w 1559298"/>
                    <a:gd name="connsiteY2456" fmla="*/ 98613 h 1261310"/>
                    <a:gd name="connsiteX2457" fmla="*/ 210170 w 1559298"/>
                    <a:gd name="connsiteY2457" fmla="*/ 99159 h 1261310"/>
                    <a:gd name="connsiteX2458" fmla="*/ 210571 w 1559298"/>
                    <a:gd name="connsiteY2458" fmla="*/ 99633 h 1261310"/>
                    <a:gd name="connsiteX2459" fmla="*/ 215768 w 1559298"/>
                    <a:gd name="connsiteY2459" fmla="*/ 105741 h 1261310"/>
                    <a:gd name="connsiteX2460" fmla="*/ 216776 w 1559298"/>
                    <a:gd name="connsiteY2460" fmla="*/ 107428 h 1261310"/>
                    <a:gd name="connsiteX2461" fmla="*/ 218706 w 1559298"/>
                    <a:gd name="connsiteY2461" fmla="*/ 111557 h 1261310"/>
                    <a:gd name="connsiteX2462" fmla="*/ 218864 w 1559298"/>
                    <a:gd name="connsiteY2462" fmla="*/ 111909 h 1261310"/>
                    <a:gd name="connsiteX2463" fmla="*/ 219071 w 1559298"/>
                    <a:gd name="connsiteY2463" fmla="*/ 112225 h 1261310"/>
                    <a:gd name="connsiteX2464" fmla="*/ 219872 w 1559298"/>
                    <a:gd name="connsiteY2464" fmla="*/ 113488 h 1261310"/>
                    <a:gd name="connsiteX2465" fmla="*/ 220589 w 1559298"/>
                    <a:gd name="connsiteY2465" fmla="*/ 114629 h 1261310"/>
                    <a:gd name="connsiteX2466" fmla="*/ 221718 w 1559298"/>
                    <a:gd name="connsiteY2466" fmla="*/ 115358 h 1261310"/>
                    <a:gd name="connsiteX2467" fmla="*/ 222689 w 1559298"/>
                    <a:gd name="connsiteY2467" fmla="*/ 115989 h 1261310"/>
                    <a:gd name="connsiteX2468" fmla="*/ 224523 w 1559298"/>
                    <a:gd name="connsiteY2468" fmla="*/ 117179 h 1261310"/>
                    <a:gd name="connsiteX2469" fmla="*/ 226697 w 1559298"/>
                    <a:gd name="connsiteY2469" fmla="*/ 116924 h 1261310"/>
                    <a:gd name="connsiteX2470" fmla="*/ 227911 w 1559298"/>
                    <a:gd name="connsiteY2470" fmla="*/ 116779 h 1261310"/>
                    <a:gd name="connsiteX2471" fmla="*/ 228785 w 1559298"/>
                    <a:gd name="connsiteY2471" fmla="*/ 116669 h 1261310"/>
                    <a:gd name="connsiteX2472" fmla="*/ 229587 w 1559298"/>
                    <a:gd name="connsiteY2472" fmla="*/ 116329 h 1261310"/>
                    <a:gd name="connsiteX2473" fmla="*/ 234347 w 1559298"/>
                    <a:gd name="connsiteY2473" fmla="*/ 114301 h 1261310"/>
                    <a:gd name="connsiteX2474" fmla="*/ 246307 w 1559298"/>
                    <a:gd name="connsiteY2474" fmla="*/ 112383 h 1261310"/>
                    <a:gd name="connsiteX2475" fmla="*/ 247024 w 1559298"/>
                    <a:gd name="connsiteY2475" fmla="*/ 112261 h 1261310"/>
                    <a:gd name="connsiteX2476" fmla="*/ 247692 w 1559298"/>
                    <a:gd name="connsiteY2476" fmla="*/ 111982 h 1261310"/>
                    <a:gd name="connsiteX2477" fmla="*/ 253180 w 1559298"/>
                    <a:gd name="connsiteY2477" fmla="*/ 109675 h 1261310"/>
                    <a:gd name="connsiteX2478" fmla="*/ 260187 w 1559298"/>
                    <a:gd name="connsiteY2478" fmla="*/ 107611 h 1261310"/>
                    <a:gd name="connsiteX2479" fmla="*/ 263720 w 1559298"/>
                    <a:gd name="connsiteY2479" fmla="*/ 107016 h 1261310"/>
                    <a:gd name="connsiteX2480" fmla="*/ 266477 w 1559298"/>
                    <a:gd name="connsiteY2480" fmla="*/ 106955 h 1261310"/>
                    <a:gd name="connsiteX2481" fmla="*/ 279433 w 1559298"/>
                    <a:gd name="connsiteY2481" fmla="*/ 108230 h 1261310"/>
                    <a:gd name="connsiteX2482" fmla="*/ 280393 w 1559298"/>
                    <a:gd name="connsiteY2482" fmla="*/ 108315 h 1261310"/>
                    <a:gd name="connsiteX2483" fmla="*/ 281328 w 1559298"/>
                    <a:gd name="connsiteY2483" fmla="*/ 108108 h 1261310"/>
                    <a:gd name="connsiteX2484" fmla="*/ 283283 w 1559298"/>
                    <a:gd name="connsiteY2484" fmla="*/ 107683 h 1261310"/>
                    <a:gd name="connsiteX2485" fmla="*/ 284715 w 1559298"/>
                    <a:gd name="connsiteY2485" fmla="*/ 107380 h 1261310"/>
                    <a:gd name="connsiteX2486" fmla="*/ 285845 w 1559298"/>
                    <a:gd name="connsiteY2486" fmla="*/ 106445 h 1261310"/>
                    <a:gd name="connsiteX2487" fmla="*/ 286925 w 1559298"/>
                    <a:gd name="connsiteY2487" fmla="*/ 105558 h 1261310"/>
                    <a:gd name="connsiteX2488" fmla="*/ 287265 w 1559298"/>
                    <a:gd name="connsiteY2488" fmla="*/ 105291 h 1261310"/>
                    <a:gd name="connsiteX2489" fmla="*/ 288055 w 1559298"/>
                    <a:gd name="connsiteY2489" fmla="*/ 106154 h 1261310"/>
                    <a:gd name="connsiteX2490" fmla="*/ 288273 w 1559298"/>
                    <a:gd name="connsiteY2490" fmla="*/ 106409 h 1261310"/>
                    <a:gd name="connsiteX2491" fmla="*/ 288528 w 1559298"/>
                    <a:gd name="connsiteY2491" fmla="*/ 106627 h 1261310"/>
                    <a:gd name="connsiteX2492" fmla="*/ 289840 w 1559298"/>
                    <a:gd name="connsiteY2492" fmla="*/ 107793 h 1261310"/>
                    <a:gd name="connsiteX2493" fmla="*/ 291006 w 1559298"/>
                    <a:gd name="connsiteY2493" fmla="*/ 108825 h 1261310"/>
                    <a:gd name="connsiteX2494" fmla="*/ 292523 w 1559298"/>
                    <a:gd name="connsiteY2494" fmla="*/ 109165 h 1261310"/>
                    <a:gd name="connsiteX2495" fmla="*/ 294187 w 1559298"/>
                    <a:gd name="connsiteY2495" fmla="*/ 109541 h 1261310"/>
                    <a:gd name="connsiteX2496" fmla="*/ 295438 w 1559298"/>
                    <a:gd name="connsiteY2496" fmla="*/ 109821 h 1261310"/>
                    <a:gd name="connsiteX2497" fmla="*/ 296701 w 1559298"/>
                    <a:gd name="connsiteY2497" fmla="*/ 109578 h 1261310"/>
                    <a:gd name="connsiteX2498" fmla="*/ 303816 w 1559298"/>
                    <a:gd name="connsiteY2498" fmla="*/ 108194 h 1261310"/>
                    <a:gd name="connsiteX2499" fmla="*/ 304120 w 1559298"/>
                    <a:gd name="connsiteY2499" fmla="*/ 108121 h 1261310"/>
                    <a:gd name="connsiteX2500" fmla="*/ 304423 w 1559298"/>
                    <a:gd name="connsiteY2500" fmla="*/ 108036 h 1261310"/>
                    <a:gd name="connsiteX2501" fmla="*/ 306330 w 1559298"/>
                    <a:gd name="connsiteY2501" fmla="*/ 107453 h 1261310"/>
                    <a:gd name="connsiteX2502" fmla="*/ 306779 w 1559298"/>
                    <a:gd name="connsiteY2502" fmla="*/ 107307 h 1261310"/>
                    <a:gd name="connsiteX2503" fmla="*/ 307192 w 1559298"/>
                    <a:gd name="connsiteY2503" fmla="*/ 107101 h 1261310"/>
                    <a:gd name="connsiteX2504" fmla="*/ 308916 w 1559298"/>
                    <a:gd name="connsiteY2504" fmla="*/ 106275 h 1261310"/>
                    <a:gd name="connsiteX2505" fmla="*/ 309086 w 1559298"/>
                    <a:gd name="connsiteY2505" fmla="*/ 106202 h 1261310"/>
                    <a:gd name="connsiteX2506" fmla="*/ 308722 w 1559298"/>
                    <a:gd name="connsiteY2506" fmla="*/ 106493 h 1261310"/>
                    <a:gd name="connsiteX2507" fmla="*/ 306500 w 1559298"/>
                    <a:gd name="connsiteY2507" fmla="*/ 107841 h 1261310"/>
                    <a:gd name="connsiteX2508" fmla="*/ 302699 w 1559298"/>
                    <a:gd name="connsiteY2508" fmla="*/ 109517 h 1261310"/>
                    <a:gd name="connsiteX2509" fmla="*/ 278948 w 1559298"/>
                    <a:gd name="connsiteY2509" fmla="*/ 116001 h 1261310"/>
                    <a:gd name="connsiteX2510" fmla="*/ 278389 w 1559298"/>
                    <a:gd name="connsiteY2510" fmla="*/ 116038 h 1261310"/>
                    <a:gd name="connsiteX2511" fmla="*/ 277794 w 1559298"/>
                    <a:gd name="connsiteY2511" fmla="*/ 115929 h 1261310"/>
                    <a:gd name="connsiteX2512" fmla="*/ 273848 w 1559298"/>
                    <a:gd name="connsiteY2512" fmla="*/ 114241 h 1261310"/>
                    <a:gd name="connsiteX2513" fmla="*/ 271540 w 1559298"/>
                    <a:gd name="connsiteY2513" fmla="*/ 113464 h 1261310"/>
                    <a:gd name="connsiteX2514" fmla="*/ 269525 w 1559298"/>
                    <a:gd name="connsiteY2514" fmla="*/ 112796 h 1261310"/>
                    <a:gd name="connsiteX2515" fmla="*/ 267533 w 1559298"/>
                    <a:gd name="connsiteY2515" fmla="*/ 113537 h 1261310"/>
                    <a:gd name="connsiteX2516" fmla="*/ 265408 w 1559298"/>
                    <a:gd name="connsiteY2516" fmla="*/ 114314 h 1261310"/>
                    <a:gd name="connsiteX2517" fmla="*/ 264376 w 1559298"/>
                    <a:gd name="connsiteY2517" fmla="*/ 114690 h 1261310"/>
                    <a:gd name="connsiteX2518" fmla="*/ 263538 w 1559298"/>
                    <a:gd name="connsiteY2518" fmla="*/ 115419 h 1261310"/>
                    <a:gd name="connsiteX2519" fmla="*/ 261365 w 1559298"/>
                    <a:gd name="connsiteY2519" fmla="*/ 117301 h 1261310"/>
                    <a:gd name="connsiteX2520" fmla="*/ 261085 w 1559298"/>
                    <a:gd name="connsiteY2520" fmla="*/ 117544 h 1261310"/>
                    <a:gd name="connsiteX2521" fmla="*/ 260830 w 1559298"/>
                    <a:gd name="connsiteY2521" fmla="*/ 117823 h 1261310"/>
                    <a:gd name="connsiteX2522" fmla="*/ 256762 w 1559298"/>
                    <a:gd name="connsiteY2522" fmla="*/ 122316 h 1261310"/>
                    <a:gd name="connsiteX2523" fmla="*/ 254735 w 1559298"/>
                    <a:gd name="connsiteY2523" fmla="*/ 123882 h 1261310"/>
                    <a:gd name="connsiteX2524" fmla="*/ 251845 w 1559298"/>
                    <a:gd name="connsiteY2524" fmla="*/ 125497 h 1261310"/>
                    <a:gd name="connsiteX2525" fmla="*/ 251237 w 1559298"/>
                    <a:gd name="connsiteY2525" fmla="*/ 125837 h 1261310"/>
                    <a:gd name="connsiteX2526" fmla="*/ 250727 w 1559298"/>
                    <a:gd name="connsiteY2526" fmla="*/ 126299 h 1261310"/>
                    <a:gd name="connsiteX2527" fmla="*/ 248044 w 1559298"/>
                    <a:gd name="connsiteY2527" fmla="*/ 128739 h 1261310"/>
                    <a:gd name="connsiteX2528" fmla="*/ 247437 w 1559298"/>
                    <a:gd name="connsiteY2528" fmla="*/ 129298 h 1261310"/>
                    <a:gd name="connsiteX2529" fmla="*/ 247000 w 1559298"/>
                    <a:gd name="connsiteY2529" fmla="*/ 129990 h 1261310"/>
                    <a:gd name="connsiteX2530" fmla="*/ 244401 w 1559298"/>
                    <a:gd name="connsiteY2530" fmla="*/ 134094 h 1261310"/>
                    <a:gd name="connsiteX2531" fmla="*/ 243879 w 1559298"/>
                    <a:gd name="connsiteY2531" fmla="*/ 134920 h 1261310"/>
                    <a:gd name="connsiteX2532" fmla="*/ 243636 w 1559298"/>
                    <a:gd name="connsiteY2532" fmla="*/ 135880 h 1261310"/>
                    <a:gd name="connsiteX2533" fmla="*/ 240709 w 1559298"/>
                    <a:gd name="connsiteY2533" fmla="*/ 147707 h 1261310"/>
                    <a:gd name="connsiteX2534" fmla="*/ 240029 w 1559298"/>
                    <a:gd name="connsiteY2534" fmla="*/ 148800 h 1261310"/>
                    <a:gd name="connsiteX2535" fmla="*/ 230837 w 1559298"/>
                    <a:gd name="connsiteY2535" fmla="*/ 152090 h 1261310"/>
                    <a:gd name="connsiteX2536" fmla="*/ 229538 w 1559298"/>
                    <a:gd name="connsiteY2536" fmla="*/ 150767 h 1261310"/>
                    <a:gd name="connsiteX2537" fmla="*/ 228433 w 1559298"/>
                    <a:gd name="connsiteY2537" fmla="*/ 149637 h 1261310"/>
                    <a:gd name="connsiteX2538" fmla="*/ 226915 w 1559298"/>
                    <a:gd name="connsiteY2538" fmla="*/ 149188 h 1261310"/>
                    <a:gd name="connsiteX2539" fmla="*/ 225361 w 1559298"/>
                    <a:gd name="connsiteY2539" fmla="*/ 148727 h 1261310"/>
                    <a:gd name="connsiteX2540" fmla="*/ 222774 w 1559298"/>
                    <a:gd name="connsiteY2540" fmla="*/ 147962 h 1261310"/>
                    <a:gd name="connsiteX2541" fmla="*/ 220467 w 1559298"/>
                    <a:gd name="connsiteY2541" fmla="*/ 149370 h 1261310"/>
                    <a:gd name="connsiteX2542" fmla="*/ 218913 w 1559298"/>
                    <a:gd name="connsiteY2542" fmla="*/ 150317 h 1261310"/>
                    <a:gd name="connsiteX2543" fmla="*/ 217274 w 1559298"/>
                    <a:gd name="connsiteY2543" fmla="*/ 151325 h 1261310"/>
                    <a:gd name="connsiteX2544" fmla="*/ 216509 w 1559298"/>
                    <a:gd name="connsiteY2544" fmla="*/ 153098 h 1261310"/>
                    <a:gd name="connsiteX2545" fmla="*/ 215136 w 1559298"/>
                    <a:gd name="connsiteY2545" fmla="*/ 156267 h 1261310"/>
                    <a:gd name="connsiteX2546" fmla="*/ 215003 w 1559298"/>
                    <a:gd name="connsiteY2546" fmla="*/ 156571 h 1261310"/>
                    <a:gd name="connsiteX2547" fmla="*/ 214906 w 1559298"/>
                    <a:gd name="connsiteY2547" fmla="*/ 156899 h 1261310"/>
                    <a:gd name="connsiteX2548" fmla="*/ 212356 w 1559298"/>
                    <a:gd name="connsiteY2548" fmla="*/ 165290 h 1261310"/>
                    <a:gd name="connsiteX2549" fmla="*/ 211761 w 1559298"/>
                    <a:gd name="connsiteY2549" fmla="*/ 166042 h 1261310"/>
                    <a:gd name="connsiteX2550" fmla="*/ 211506 w 1559298"/>
                    <a:gd name="connsiteY2550" fmla="*/ 166212 h 1261310"/>
                    <a:gd name="connsiteX2551" fmla="*/ 210534 w 1559298"/>
                    <a:gd name="connsiteY2551" fmla="*/ 166407 h 1261310"/>
                    <a:gd name="connsiteX2552" fmla="*/ 210097 w 1559298"/>
                    <a:gd name="connsiteY2552" fmla="*/ 166492 h 1261310"/>
                    <a:gd name="connsiteX2553" fmla="*/ 209684 w 1559298"/>
                    <a:gd name="connsiteY2553" fmla="*/ 166637 h 1261310"/>
                    <a:gd name="connsiteX2554" fmla="*/ 207547 w 1559298"/>
                    <a:gd name="connsiteY2554" fmla="*/ 167390 h 1261310"/>
                    <a:gd name="connsiteX2555" fmla="*/ 207122 w 1559298"/>
                    <a:gd name="connsiteY2555" fmla="*/ 167536 h 1261310"/>
                    <a:gd name="connsiteX2556" fmla="*/ 206734 w 1559298"/>
                    <a:gd name="connsiteY2556" fmla="*/ 167755 h 1261310"/>
                    <a:gd name="connsiteX2557" fmla="*/ 204888 w 1559298"/>
                    <a:gd name="connsiteY2557" fmla="*/ 168726 h 1261310"/>
                    <a:gd name="connsiteX2558" fmla="*/ 204584 w 1559298"/>
                    <a:gd name="connsiteY2558" fmla="*/ 168884 h 1261310"/>
                    <a:gd name="connsiteX2559" fmla="*/ 204305 w 1559298"/>
                    <a:gd name="connsiteY2559" fmla="*/ 169078 h 1261310"/>
                    <a:gd name="connsiteX2560" fmla="*/ 202654 w 1559298"/>
                    <a:gd name="connsiteY2560" fmla="*/ 170195 h 1261310"/>
                    <a:gd name="connsiteX2561" fmla="*/ 202253 w 1559298"/>
                    <a:gd name="connsiteY2561" fmla="*/ 170462 h 1261310"/>
                    <a:gd name="connsiteX2562" fmla="*/ 201901 w 1559298"/>
                    <a:gd name="connsiteY2562" fmla="*/ 170790 h 1261310"/>
                    <a:gd name="connsiteX2563" fmla="*/ 201087 w 1559298"/>
                    <a:gd name="connsiteY2563" fmla="*/ 171555 h 1261310"/>
                    <a:gd name="connsiteX2564" fmla="*/ 199800 w 1559298"/>
                    <a:gd name="connsiteY2564" fmla="*/ 171155 h 1261310"/>
                    <a:gd name="connsiteX2565" fmla="*/ 199217 w 1559298"/>
                    <a:gd name="connsiteY2565" fmla="*/ 170972 h 1261310"/>
                    <a:gd name="connsiteX2566" fmla="*/ 198610 w 1559298"/>
                    <a:gd name="connsiteY2566" fmla="*/ 170912 h 1261310"/>
                    <a:gd name="connsiteX2567" fmla="*/ 196886 w 1559298"/>
                    <a:gd name="connsiteY2567" fmla="*/ 170742 h 1261310"/>
                    <a:gd name="connsiteX2568" fmla="*/ 195829 w 1559298"/>
                    <a:gd name="connsiteY2568" fmla="*/ 170644 h 1261310"/>
                    <a:gd name="connsiteX2569" fmla="*/ 194809 w 1559298"/>
                    <a:gd name="connsiteY2569" fmla="*/ 170900 h 1261310"/>
                    <a:gd name="connsiteX2570" fmla="*/ 193133 w 1559298"/>
                    <a:gd name="connsiteY2570" fmla="*/ 171324 h 1261310"/>
                    <a:gd name="connsiteX2571" fmla="*/ 192344 w 1559298"/>
                    <a:gd name="connsiteY2571" fmla="*/ 171531 h 1261310"/>
                    <a:gd name="connsiteX2572" fmla="*/ 191810 w 1559298"/>
                    <a:gd name="connsiteY2572" fmla="*/ 171835 h 1261310"/>
                    <a:gd name="connsiteX2573" fmla="*/ 183140 w 1559298"/>
                    <a:gd name="connsiteY2573" fmla="*/ 167099 h 1261310"/>
                    <a:gd name="connsiteX2574" fmla="*/ 182581 w 1559298"/>
                    <a:gd name="connsiteY2574" fmla="*/ 166808 h 1261310"/>
                    <a:gd name="connsiteX2575" fmla="*/ 181974 w 1559298"/>
                    <a:gd name="connsiteY2575" fmla="*/ 166625 h 1261310"/>
                    <a:gd name="connsiteX2576" fmla="*/ 180080 w 1559298"/>
                    <a:gd name="connsiteY2576" fmla="*/ 166055 h 1261310"/>
                    <a:gd name="connsiteX2577" fmla="*/ 179448 w 1559298"/>
                    <a:gd name="connsiteY2577" fmla="*/ 165860 h 1261310"/>
                    <a:gd name="connsiteX2578" fmla="*/ 178793 w 1559298"/>
                    <a:gd name="connsiteY2578" fmla="*/ 165800 h 1261310"/>
                    <a:gd name="connsiteX2579" fmla="*/ 177238 w 1559298"/>
                    <a:gd name="connsiteY2579" fmla="*/ 165678 h 1261310"/>
                    <a:gd name="connsiteX2580" fmla="*/ 175429 w 1559298"/>
                    <a:gd name="connsiteY2580" fmla="*/ 165545 h 1261310"/>
                    <a:gd name="connsiteX2581" fmla="*/ 173838 w 1559298"/>
                    <a:gd name="connsiteY2581" fmla="*/ 166419 h 1261310"/>
                    <a:gd name="connsiteX2582" fmla="*/ 172915 w 1559298"/>
                    <a:gd name="connsiteY2582" fmla="*/ 166929 h 1261310"/>
                    <a:gd name="connsiteX2583" fmla="*/ 170754 w 1559298"/>
                    <a:gd name="connsiteY2583" fmla="*/ 168131 h 1261310"/>
                    <a:gd name="connsiteX2584" fmla="*/ 170038 w 1559298"/>
                    <a:gd name="connsiteY2584" fmla="*/ 170499 h 1261310"/>
                    <a:gd name="connsiteX2585" fmla="*/ 169758 w 1559298"/>
                    <a:gd name="connsiteY2585" fmla="*/ 171446 h 1261310"/>
                    <a:gd name="connsiteX2586" fmla="*/ 169406 w 1559298"/>
                    <a:gd name="connsiteY2586" fmla="*/ 172624 h 1261310"/>
                    <a:gd name="connsiteX2587" fmla="*/ 169540 w 1559298"/>
                    <a:gd name="connsiteY2587" fmla="*/ 173850 h 1261310"/>
                    <a:gd name="connsiteX2588" fmla="*/ 169661 w 1559298"/>
                    <a:gd name="connsiteY2588" fmla="*/ 175004 h 1261310"/>
                    <a:gd name="connsiteX2589" fmla="*/ 169819 w 1559298"/>
                    <a:gd name="connsiteY2589" fmla="*/ 176461 h 1261310"/>
                    <a:gd name="connsiteX2590" fmla="*/ 170620 w 1559298"/>
                    <a:gd name="connsiteY2590" fmla="*/ 177700 h 1261310"/>
                    <a:gd name="connsiteX2591" fmla="*/ 171993 w 1559298"/>
                    <a:gd name="connsiteY2591" fmla="*/ 179776 h 1261310"/>
                    <a:gd name="connsiteX2592" fmla="*/ 172369 w 1559298"/>
                    <a:gd name="connsiteY2592" fmla="*/ 180335 h 1261310"/>
                    <a:gd name="connsiteX2593" fmla="*/ 172855 w 1559298"/>
                    <a:gd name="connsiteY2593" fmla="*/ 180808 h 1261310"/>
                    <a:gd name="connsiteX2594" fmla="*/ 179849 w 1559298"/>
                    <a:gd name="connsiteY2594" fmla="*/ 187548 h 1261310"/>
                    <a:gd name="connsiteX2595" fmla="*/ 180371 w 1559298"/>
                    <a:gd name="connsiteY2595" fmla="*/ 188045 h 1261310"/>
                    <a:gd name="connsiteX2596" fmla="*/ 181003 w 1559298"/>
                    <a:gd name="connsiteY2596" fmla="*/ 188410 h 1261310"/>
                    <a:gd name="connsiteX2597" fmla="*/ 187900 w 1559298"/>
                    <a:gd name="connsiteY2597" fmla="*/ 192429 h 1261310"/>
                    <a:gd name="connsiteX2598" fmla="*/ 189199 w 1559298"/>
                    <a:gd name="connsiteY2598" fmla="*/ 193182 h 1261310"/>
                    <a:gd name="connsiteX2599" fmla="*/ 190693 w 1559298"/>
                    <a:gd name="connsiteY2599" fmla="*/ 193255 h 1261310"/>
                    <a:gd name="connsiteX2600" fmla="*/ 193959 w 1559298"/>
                    <a:gd name="connsiteY2600" fmla="*/ 193401 h 1261310"/>
                    <a:gd name="connsiteX2601" fmla="*/ 196910 w 1559298"/>
                    <a:gd name="connsiteY2601" fmla="*/ 193291 h 1261310"/>
                    <a:gd name="connsiteX2602" fmla="*/ 197918 w 1559298"/>
                    <a:gd name="connsiteY2602" fmla="*/ 193243 h 1261310"/>
                    <a:gd name="connsiteX2603" fmla="*/ 198853 w 1559298"/>
                    <a:gd name="connsiteY2603" fmla="*/ 192878 h 1261310"/>
                    <a:gd name="connsiteX2604" fmla="*/ 199982 w 1559298"/>
                    <a:gd name="connsiteY2604" fmla="*/ 192429 h 1261310"/>
                    <a:gd name="connsiteX2605" fmla="*/ 200261 w 1559298"/>
                    <a:gd name="connsiteY2605" fmla="*/ 192417 h 1261310"/>
                    <a:gd name="connsiteX2606" fmla="*/ 200881 w 1559298"/>
                    <a:gd name="connsiteY2606" fmla="*/ 192490 h 1261310"/>
                    <a:gd name="connsiteX2607" fmla="*/ 201233 w 1559298"/>
                    <a:gd name="connsiteY2607" fmla="*/ 192635 h 1261310"/>
                    <a:gd name="connsiteX2608" fmla="*/ 201646 w 1559298"/>
                    <a:gd name="connsiteY2608" fmla="*/ 192939 h 1261310"/>
                    <a:gd name="connsiteX2609" fmla="*/ 202945 w 1559298"/>
                    <a:gd name="connsiteY2609" fmla="*/ 194675 h 1261310"/>
                    <a:gd name="connsiteX2610" fmla="*/ 203540 w 1559298"/>
                    <a:gd name="connsiteY2610" fmla="*/ 195951 h 1261310"/>
                    <a:gd name="connsiteX2611" fmla="*/ 203807 w 1559298"/>
                    <a:gd name="connsiteY2611" fmla="*/ 196533 h 1261310"/>
                    <a:gd name="connsiteX2612" fmla="*/ 204196 w 1559298"/>
                    <a:gd name="connsiteY2612" fmla="*/ 197056 h 1261310"/>
                    <a:gd name="connsiteX2613" fmla="*/ 206381 w 1559298"/>
                    <a:gd name="connsiteY2613" fmla="*/ 199933 h 1261310"/>
                    <a:gd name="connsiteX2614" fmla="*/ 207474 w 1559298"/>
                    <a:gd name="connsiteY2614" fmla="*/ 201391 h 1261310"/>
                    <a:gd name="connsiteX2615" fmla="*/ 209199 w 1559298"/>
                    <a:gd name="connsiteY2615" fmla="*/ 201998 h 1261310"/>
                    <a:gd name="connsiteX2616" fmla="*/ 215270 w 1559298"/>
                    <a:gd name="connsiteY2616" fmla="*/ 204147 h 1261310"/>
                    <a:gd name="connsiteX2617" fmla="*/ 215574 w 1559298"/>
                    <a:gd name="connsiteY2617" fmla="*/ 204256 h 1261310"/>
                    <a:gd name="connsiteX2618" fmla="*/ 215877 w 1559298"/>
                    <a:gd name="connsiteY2618" fmla="*/ 204329 h 1261310"/>
                    <a:gd name="connsiteX2619" fmla="*/ 216776 w 1559298"/>
                    <a:gd name="connsiteY2619" fmla="*/ 204548 h 1261310"/>
                    <a:gd name="connsiteX2620" fmla="*/ 216873 w 1559298"/>
                    <a:gd name="connsiteY2620" fmla="*/ 204669 h 1261310"/>
                    <a:gd name="connsiteX2621" fmla="*/ 219654 w 1559298"/>
                    <a:gd name="connsiteY2621" fmla="*/ 208968 h 1261310"/>
                    <a:gd name="connsiteX2622" fmla="*/ 219836 w 1559298"/>
                    <a:gd name="connsiteY2622" fmla="*/ 209247 h 1261310"/>
                    <a:gd name="connsiteX2623" fmla="*/ 220054 w 1559298"/>
                    <a:gd name="connsiteY2623" fmla="*/ 209502 h 1261310"/>
                    <a:gd name="connsiteX2624" fmla="*/ 223503 w 1559298"/>
                    <a:gd name="connsiteY2624" fmla="*/ 213716 h 1261310"/>
                    <a:gd name="connsiteX2625" fmla="*/ 223746 w 1559298"/>
                    <a:gd name="connsiteY2625" fmla="*/ 213995 h 1261310"/>
                    <a:gd name="connsiteX2626" fmla="*/ 224025 w 1559298"/>
                    <a:gd name="connsiteY2626" fmla="*/ 214262 h 1261310"/>
                    <a:gd name="connsiteX2627" fmla="*/ 226769 w 1559298"/>
                    <a:gd name="connsiteY2627" fmla="*/ 216860 h 1261310"/>
                    <a:gd name="connsiteX2628" fmla="*/ 227085 w 1559298"/>
                    <a:gd name="connsiteY2628" fmla="*/ 217152 h 1261310"/>
                    <a:gd name="connsiteX2629" fmla="*/ 227449 w 1559298"/>
                    <a:gd name="connsiteY2629" fmla="*/ 217407 h 1261310"/>
                    <a:gd name="connsiteX2630" fmla="*/ 229404 w 1559298"/>
                    <a:gd name="connsiteY2630" fmla="*/ 218779 h 1261310"/>
                    <a:gd name="connsiteX2631" fmla="*/ 230012 w 1559298"/>
                    <a:gd name="connsiteY2631" fmla="*/ 219314 h 1261310"/>
                    <a:gd name="connsiteX2632" fmla="*/ 230412 w 1559298"/>
                    <a:gd name="connsiteY2632" fmla="*/ 220066 h 1261310"/>
                    <a:gd name="connsiteX2633" fmla="*/ 232027 w 1559298"/>
                    <a:gd name="connsiteY2633" fmla="*/ 226453 h 1261310"/>
                    <a:gd name="connsiteX2634" fmla="*/ 232197 w 1559298"/>
                    <a:gd name="connsiteY2634" fmla="*/ 227097 h 1261310"/>
                    <a:gd name="connsiteX2635" fmla="*/ 232489 w 1559298"/>
                    <a:gd name="connsiteY2635" fmla="*/ 227692 h 1261310"/>
                    <a:gd name="connsiteX2636" fmla="*/ 234177 w 1559298"/>
                    <a:gd name="connsiteY2636" fmla="*/ 231043 h 1261310"/>
                    <a:gd name="connsiteX2637" fmla="*/ 235391 w 1559298"/>
                    <a:gd name="connsiteY2637" fmla="*/ 234614 h 1261310"/>
                    <a:gd name="connsiteX2638" fmla="*/ 236897 w 1559298"/>
                    <a:gd name="connsiteY2638" fmla="*/ 248760 h 1261310"/>
                    <a:gd name="connsiteX2639" fmla="*/ 236848 w 1559298"/>
                    <a:gd name="connsiteY2639" fmla="*/ 251140 h 1261310"/>
                    <a:gd name="connsiteX2640" fmla="*/ 236569 w 1559298"/>
                    <a:gd name="connsiteY2640" fmla="*/ 253168 h 1261310"/>
                    <a:gd name="connsiteX2641" fmla="*/ 236083 w 1559298"/>
                    <a:gd name="connsiteY2641" fmla="*/ 254795 h 1261310"/>
                    <a:gd name="connsiteX2642" fmla="*/ 235561 w 1559298"/>
                    <a:gd name="connsiteY2642" fmla="*/ 255852 h 1261310"/>
                    <a:gd name="connsiteX2643" fmla="*/ 234687 w 1559298"/>
                    <a:gd name="connsiteY2643" fmla="*/ 256811 h 1261310"/>
                    <a:gd name="connsiteX2644" fmla="*/ 225895 w 1559298"/>
                    <a:gd name="connsiteY2644" fmla="*/ 263392 h 1261310"/>
                    <a:gd name="connsiteX2645" fmla="*/ 225519 w 1559298"/>
                    <a:gd name="connsiteY2645" fmla="*/ 263672 h 1261310"/>
                    <a:gd name="connsiteX2646" fmla="*/ 225191 w 1559298"/>
                    <a:gd name="connsiteY2646" fmla="*/ 264012 h 1261310"/>
                    <a:gd name="connsiteX2647" fmla="*/ 219787 w 1559298"/>
                    <a:gd name="connsiteY2647" fmla="*/ 269573 h 1261310"/>
                    <a:gd name="connsiteX2648" fmla="*/ 218464 w 1559298"/>
                    <a:gd name="connsiteY2648" fmla="*/ 270933 h 1261310"/>
                    <a:gd name="connsiteX2649" fmla="*/ 218148 w 1559298"/>
                    <a:gd name="connsiteY2649" fmla="*/ 272803 h 1261310"/>
                    <a:gd name="connsiteX2650" fmla="*/ 217917 w 1559298"/>
                    <a:gd name="connsiteY2650" fmla="*/ 274187 h 1261310"/>
                    <a:gd name="connsiteX2651" fmla="*/ 217771 w 1559298"/>
                    <a:gd name="connsiteY2651" fmla="*/ 275025 h 1261310"/>
                    <a:gd name="connsiteX2652" fmla="*/ 217869 w 1559298"/>
                    <a:gd name="connsiteY2652" fmla="*/ 275875 h 1261310"/>
                    <a:gd name="connsiteX2653" fmla="*/ 218196 w 1559298"/>
                    <a:gd name="connsiteY2653" fmla="*/ 278717 h 1261310"/>
                    <a:gd name="connsiteX2654" fmla="*/ 218051 w 1559298"/>
                    <a:gd name="connsiteY2654" fmla="*/ 279858 h 1261310"/>
                    <a:gd name="connsiteX2655" fmla="*/ 217577 w 1559298"/>
                    <a:gd name="connsiteY2655" fmla="*/ 281376 h 1261310"/>
                    <a:gd name="connsiteX2656" fmla="*/ 217019 w 1559298"/>
                    <a:gd name="connsiteY2656" fmla="*/ 282481 h 1261310"/>
                    <a:gd name="connsiteX2657" fmla="*/ 216630 w 1559298"/>
                    <a:gd name="connsiteY2657" fmla="*/ 282943 h 1261310"/>
                    <a:gd name="connsiteX2658" fmla="*/ 215804 w 1559298"/>
                    <a:gd name="connsiteY2658" fmla="*/ 283428 h 1261310"/>
                    <a:gd name="connsiteX2659" fmla="*/ 213242 w 1559298"/>
                    <a:gd name="connsiteY2659" fmla="*/ 284351 h 1261310"/>
                    <a:gd name="connsiteX2660" fmla="*/ 212926 w 1559298"/>
                    <a:gd name="connsiteY2660" fmla="*/ 284473 h 1261310"/>
                    <a:gd name="connsiteX2661" fmla="*/ 212623 w 1559298"/>
                    <a:gd name="connsiteY2661" fmla="*/ 284618 h 1261310"/>
                    <a:gd name="connsiteX2662" fmla="*/ 207571 w 1559298"/>
                    <a:gd name="connsiteY2662" fmla="*/ 287096 h 1261310"/>
                    <a:gd name="connsiteX2663" fmla="*/ 207292 w 1559298"/>
                    <a:gd name="connsiteY2663" fmla="*/ 287241 h 1261310"/>
                    <a:gd name="connsiteX2664" fmla="*/ 207025 w 1559298"/>
                    <a:gd name="connsiteY2664" fmla="*/ 287411 h 1261310"/>
                    <a:gd name="connsiteX2665" fmla="*/ 203103 w 1559298"/>
                    <a:gd name="connsiteY2665" fmla="*/ 289864 h 1261310"/>
                    <a:gd name="connsiteX2666" fmla="*/ 202119 w 1559298"/>
                    <a:gd name="connsiteY2666" fmla="*/ 290180 h 1261310"/>
                    <a:gd name="connsiteX2667" fmla="*/ 193741 w 1559298"/>
                    <a:gd name="connsiteY2667" fmla="*/ 290726 h 1261310"/>
                    <a:gd name="connsiteX2668" fmla="*/ 193680 w 1559298"/>
                    <a:gd name="connsiteY2668" fmla="*/ 290726 h 1261310"/>
                    <a:gd name="connsiteX2669" fmla="*/ 193668 w 1559298"/>
                    <a:gd name="connsiteY2669" fmla="*/ 290702 h 1261310"/>
                    <a:gd name="connsiteX2670" fmla="*/ 189478 w 1559298"/>
                    <a:gd name="connsiteY2670" fmla="*/ 284533 h 1261310"/>
                    <a:gd name="connsiteX2671" fmla="*/ 189005 w 1559298"/>
                    <a:gd name="connsiteY2671" fmla="*/ 283841 h 1261310"/>
                    <a:gd name="connsiteX2672" fmla="*/ 188361 w 1559298"/>
                    <a:gd name="connsiteY2672" fmla="*/ 283295 h 1261310"/>
                    <a:gd name="connsiteX2673" fmla="*/ 185836 w 1559298"/>
                    <a:gd name="connsiteY2673" fmla="*/ 281170 h 1261310"/>
                    <a:gd name="connsiteX2674" fmla="*/ 185471 w 1559298"/>
                    <a:gd name="connsiteY2674" fmla="*/ 280866 h 1261310"/>
                    <a:gd name="connsiteX2675" fmla="*/ 185071 w 1559298"/>
                    <a:gd name="connsiteY2675" fmla="*/ 280623 h 1261310"/>
                    <a:gd name="connsiteX2676" fmla="*/ 181986 w 1559298"/>
                    <a:gd name="connsiteY2676" fmla="*/ 278765 h 1261310"/>
                    <a:gd name="connsiteX2677" fmla="*/ 181719 w 1559298"/>
                    <a:gd name="connsiteY2677" fmla="*/ 278595 h 1261310"/>
                    <a:gd name="connsiteX2678" fmla="*/ 181440 w 1559298"/>
                    <a:gd name="connsiteY2678" fmla="*/ 278462 h 1261310"/>
                    <a:gd name="connsiteX2679" fmla="*/ 176194 w 1559298"/>
                    <a:gd name="connsiteY2679" fmla="*/ 275997 h 1261310"/>
                    <a:gd name="connsiteX2680" fmla="*/ 169649 w 1559298"/>
                    <a:gd name="connsiteY2680" fmla="*/ 271273 h 1261310"/>
                    <a:gd name="connsiteX2681" fmla="*/ 169309 w 1559298"/>
                    <a:gd name="connsiteY2681" fmla="*/ 271018 h 1261310"/>
                    <a:gd name="connsiteX2682" fmla="*/ 168933 w 1559298"/>
                    <a:gd name="connsiteY2682" fmla="*/ 270812 h 1261310"/>
                    <a:gd name="connsiteX2683" fmla="*/ 167900 w 1559298"/>
                    <a:gd name="connsiteY2683" fmla="*/ 270265 h 1261310"/>
                    <a:gd name="connsiteX2684" fmla="*/ 167573 w 1559298"/>
                    <a:gd name="connsiteY2684" fmla="*/ 270095 h 1261310"/>
                    <a:gd name="connsiteX2685" fmla="*/ 167233 w 1559298"/>
                    <a:gd name="connsiteY2685" fmla="*/ 269962 h 1261310"/>
                    <a:gd name="connsiteX2686" fmla="*/ 166225 w 1559298"/>
                    <a:gd name="connsiteY2686" fmla="*/ 269573 h 1261310"/>
                    <a:gd name="connsiteX2687" fmla="*/ 164768 w 1559298"/>
                    <a:gd name="connsiteY2687" fmla="*/ 266234 h 1261310"/>
                    <a:gd name="connsiteX2688" fmla="*/ 164634 w 1559298"/>
                    <a:gd name="connsiteY2688" fmla="*/ 265918 h 1261310"/>
                    <a:gd name="connsiteX2689" fmla="*/ 164452 w 1559298"/>
                    <a:gd name="connsiteY2689" fmla="*/ 265615 h 1261310"/>
                    <a:gd name="connsiteX2690" fmla="*/ 163590 w 1559298"/>
                    <a:gd name="connsiteY2690" fmla="*/ 264121 h 1261310"/>
                    <a:gd name="connsiteX2691" fmla="*/ 163213 w 1559298"/>
                    <a:gd name="connsiteY2691" fmla="*/ 263465 h 1261310"/>
                    <a:gd name="connsiteX2692" fmla="*/ 162691 w 1559298"/>
                    <a:gd name="connsiteY2692" fmla="*/ 262919 h 1261310"/>
                    <a:gd name="connsiteX2693" fmla="*/ 161428 w 1559298"/>
                    <a:gd name="connsiteY2693" fmla="*/ 261644 h 1261310"/>
                    <a:gd name="connsiteX2694" fmla="*/ 160663 w 1559298"/>
                    <a:gd name="connsiteY2694" fmla="*/ 260867 h 1261310"/>
                    <a:gd name="connsiteX2695" fmla="*/ 159668 w 1559298"/>
                    <a:gd name="connsiteY2695" fmla="*/ 260405 h 1261310"/>
                    <a:gd name="connsiteX2696" fmla="*/ 158502 w 1559298"/>
                    <a:gd name="connsiteY2696" fmla="*/ 259859 h 1261310"/>
                    <a:gd name="connsiteX2697" fmla="*/ 156972 w 1559298"/>
                    <a:gd name="connsiteY2697" fmla="*/ 259130 h 1261310"/>
                    <a:gd name="connsiteX2698" fmla="*/ 155272 w 1559298"/>
                    <a:gd name="connsiteY2698" fmla="*/ 259312 h 1261310"/>
                    <a:gd name="connsiteX2699" fmla="*/ 153730 w 1559298"/>
                    <a:gd name="connsiteY2699" fmla="*/ 259482 h 1261310"/>
                    <a:gd name="connsiteX2700" fmla="*/ 152491 w 1559298"/>
                    <a:gd name="connsiteY2700" fmla="*/ 259616 h 1261310"/>
                    <a:gd name="connsiteX2701" fmla="*/ 151410 w 1559298"/>
                    <a:gd name="connsiteY2701" fmla="*/ 260223 h 1261310"/>
                    <a:gd name="connsiteX2702" fmla="*/ 150439 w 1559298"/>
                    <a:gd name="connsiteY2702" fmla="*/ 260770 h 1261310"/>
                    <a:gd name="connsiteX2703" fmla="*/ 149395 w 1559298"/>
                    <a:gd name="connsiteY2703" fmla="*/ 261364 h 1261310"/>
                    <a:gd name="connsiteX2704" fmla="*/ 148642 w 1559298"/>
                    <a:gd name="connsiteY2704" fmla="*/ 262312 h 1261310"/>
                    <a:gd name="connsiteX2705" fmla="*/ 147719 w 1559298"/>
                    <a:gd name="connsiteY2705" fmla="*/ 263490 h 1261310"/>
                    <a:gd name="connsiteX2706" fmla="*/ 147148 w 1559298"/>
                    <a:gd name="connsiteY2706" fmla="*/ 264218 h 1261310"/>
                    <a:gd name="connsiteX2707" fmla="*/ 146820 w 1559298"/>
                    <a:gd name="connsiteY2707" fmla="*/ 265068 h 1261310"/>
                    <a:gd name="connsiteX2708" fmla="*/ 145266 w 1559298"/>
                    <a:gd name="connsiteY2708" fmla="*/ 269124 h 1261310"/>
                    <a:gd name="connsiteX2709" fmla="*/ 144513 w 1559298"/>
                    <a:gd name="connsiteY2709" fmla="*/ 269889 h 1261310"/>
                    <a:gd name="connsiteX2710" fmla="*/ 139838 w 1559298"/>
                    <a:gd name="connsiteY2710" fmla="*/ 271443 h 1261310"/>
                    <a:gd name="connsiteX2711" fmla="*/ 138490 w 1559298"/>
                    <a:gd name="connsiteY2711" fmla="*/ 271892 h 1261310"/>
                    <a:gd name="connsiteX2712" fmla="*/ 137482 w 1559298"/>
                    <a:gd name="connsiteY2712" fmla="*/ 272888 h 1261310"/>
                    <a:gd name="connsiteX2713" fmla="*/ 136147 w 1559298"/>
                    <a:gd name="connsiteY2713" fmla="*/ 274212 h 1261310"/>
                    <a:gd name="connsiteX2714" fmla="*/ 134665 w 1559298"/>
                    <a:gd name="connsiteY2714" fmla="*/ 275681 h 1261310"/>
                    <a:gd name="connsiteX2715" fmla="*/ 134398 w 1559298"/>
                    <a:gd name="connsiteY2715" fmla="*/ 277757 h 1261310"/>
                    <a:gd name="connsiteX2716" fmla="*/ 134289 w 1559298"/>
                    <a:gd name="connsiteY2716" fmla="*/ 278583 h 1261310"/>
                    <a:gd name="connsiteX2717" fmla="*/ 134094 w 1559298"/>
                    <a:gd name="connsiteY2717" fmla="*/ 280052 h 1261310"/>
                    <a:gd name="connsiteX2718" fmla="*/ 134604 w 1559298"/>
                    <a:gd name="connsiteY2718" fmla="*/ 281449 h 1261310"/>
                    <a:gd name="connsiteX2719" fmla="*/ 135066 w 1559298"/>
                    <a:gd name="connsiteY2719" fmla="*/ 282712 h 1261310"/>
                    <a:gd name="connsiteX2720" fmla="*/ 135794 w 1559298"/>
                    <a:gd name="connsiteY2720" fmla="*/ 284667 h 1261310"/>
                    <a:gd name="connsiteX2721" fmla="*/ 137567 w 1559298"/>
                    <a:gd name="connsiteY2721" fmla="*/ 285772 h 1261310"/>
                    <a:gd name="connsiteX2722" fmla="*/ 138660 w 1559298"/>
                    <a:gd name="connsiteY2722" fmla="*/ 286452 h 1261310"/>
                    <a:gd name="connsiteX2723" fmla="*/ 139559 w 1559298"/>
                    <a:gd name="connsiteY2723" fmla="*/ 287010 h 1261310"/>
                    <a:gd name="connsiteX2724" fmla="*/ 140579 w 1559298"/>
                    <a:gd name="connsiteY2724" fmla="*/ 287241 h 1261310"/>
                    <a:gd name="connsiteX2725" fmla="*/ 142012 w 1559298"/>
                    <a:gd name="connsiteY2725" fmla="*/ 287545 h 1261310"/>
                    <a:gd name="connsiteX2726" fmla="*/ 142510 w 1559298"/>
                    <a:gd name="connsiteY2726" fmla="*/ 287654 h 1261310"/>
                    <a:gd name="connsiteX2727" fmla="*/ 143020 w 1559298"/>
                    <a:gd name="connsiteY2727" fmla="*/ 287666 h 1261310"/>
                    <a:gd name="connsiteX2728" fmla="*/ 143080 w 1559298"/>
                    <a:gd name="connsiteY2728" fmla="*/ 287678 h 1261310"/>
                    <a:gd name="connsiteX2729" fmla="*/ 143311 w 1559298"/>
                    <a:gd name="connsiteY2729" fmla="*/ 289318 h 1261310"/>
                    <a:gd name="connsiteX2730" fmla="*/ 143372 w 1559298"/>
                    <a:gd name="connsiteY2730" fmla="*/ 289743 h 1261310"/>
                    <a:gd name="connsiteX2731" fmla="*/ 143493 w 1559298"/>
                    <a:gd name="connsiteY2731" fmla="*/ 290155 h 1261310"/>
                    <a:gd name="connsiteX2732" fmla="*/ 143833 w 1559298"/>
                    <a:gd name="connsiteY2732" fmla="*/ 291321 h 1261310"/>
                    <a:gd name="connsiteX2733" fmla="*/ 144210 w 1559298"/>
                    <a:gd name="connsiteY2733" fmla="*/ 292633 h 1261310"/>
                    <a:gd name="connsiteX2734" fmla="*/ 145120 w 1559298"/>
                    <a:gd name="connsiteY2734" fmla="*/ 293665 h 1261310"/>
                    <a:gd name="connsiteX2735" fmla="*/ 145703 w 1559298"/>
                    <a:gd name="connsiteY2735" fmla="*/ 294321 h 1261310"/>
                    <a:gd name="connsiteX2736" fmla="*/ 146468 w 1559298"/>
                    <a:gd name="connsiteY2736" fmla="*/ 295170 h 1261310"/>
                    <a:gd name="connsiteX2737" fmla="*/ 147488 w 1559298"/>
                    <a:gd name="connsiteY2737" fmla="*/ 295692 h 1261310"/>
                    <a:gd name="connsiteX2738" fmla="*/ 148399 w 1559298"/>
                    <a:gd name="connsiteY2738" fmla="*/ 296154 h 1261310"/>
                    <a:gd name="connsiteX2739" fmla="*/ 149042 w 1559298"/>
                    <a:gd name="connsiteY2739" fmla="*/ 296470 h 1261310"/>
                    <a:gd name="connsiteX2740" fmla="*/ 149735 w 1559298"/>
                    <a:gd name="connsiteY2740" fmla="*/ 296640 h 1261310"/>
                    <a:gd name="connsiteX2741" fmla="*/ 150827 w 1559298"/>
                    <a:gd name="connsiteY2741" fmla="*/ 296895 h 1261310"/>
                    <a:gd name="connsiteX2742" fmla="*/ 150973 w 1559298"/>
                    <a:gd name="connsiteY2742" fmla="*/ 296931 h 1261310"/>
                    <a:gd name="connsiteX2743" fmla="*/ 151799 w 1559298"/>
                    <a:gd name="connsiteY2743" fmla="*/ 300780 h 1261310"/>
                    <a:gd name="connsiteX2744" fmla="*/ 151362 w 1559298"/>
                    <a:gd name="connsiteY2744" fmla="*/ 302371 h 1261310"/>
                    <a:gd name="connsiteX2745" fmla="*/ 149552 w 1559298"/>
                    <a:gd name="connsiteY2745" fmla="*/ 306403 h 1261310"/>
                    <a:gd name="connsiteX2746" fmla="*/ 140506 w 1559298"/>
                    <a:gd name="connsiteY2746" fmla="*/ 321144 h 1261310"/>
                    <a:gd name="connsiteX2747" fmla="*/ 135527 w 1559298"/>
                    <a:gd name="connsiteY2747" fmla="*/ 327738 h 1261310"/>
                    <a:gd name="connsiteX2748" fmla="*/ 134860 w 1559298"/>
                    <a:gd name="connsiteY2748" fmla="*/ 328612 h 1261310"/>
                    <a:gd name="connsiteX2749" fmla="*/ 134556 w 1559298"/>
                    <a:gd name="connsiteY2749" fmla="*/ 329681 h 1261310"/>
                    <a:gd name="connsiteX2750" fmla="*/ 133815 w 1559298"/>
                    <a:gd name="connsiteY2750" fmla="*/ 332207 h 1261310"/>
                    <a:gd name="connsiteX2751" fmla="*/ 133220 w 1559298"/>
                    <a:gd name="connsiteY2751" fmla="*/ 334247 h 1261310"/>
                    <a:gd name="connsiteX2752" fmla="*/ 134022 w 1559298"/>
                    <a:gd name="connsiteY2752" fmla="*/ 336214 h 1261310"/>
                    <a:gd name="connsiteX2753" fmla="*/ 134544 w 1559298"/>
                    <a:gd name="connsiteY2753" fmla="*/ 337476 h 1261310"/>
                    <a:gd name="connsiteX2754" fmla="*/ 134944 w 1559298"/>
                    <a:gd name="connsiteY2754" fmla="*/ 338436 h 1261310"/>
                    <a:gd name="connsiteX2755" fmla="*/ 135637 w 1559298"/>
                    <a:gd name="connsiteY2755" fmla="*/ 339201 h 1261310"/>
                    <a:gd name="connsiteX2756" fmla="*/ 136329 w 1559298"/>
                    <a:gd name="connsiteY2756" fmla="*/ 339966 h 1261310"/>
                    <a:gd name="connsiteX2757" fmla="*/ 137434 w 1559298"/>
                    <a:gd name="connsiteY2757" fmla="*/ 341204 h 1261310"/>
                    <a:gd name="connsiteX2758" fmla="*/ 138466 w 1559298"/>
                    <a:gd name="connsiteY2758" fmla="*/ 341532 h 1261310"/>
                    <a:gd name="connsiteX2759" fmla="*/ 138514 w 1559298"/>
                    <a:gd name="connsiteY2759" fmla="*/ 341872 h 1261310"/>
                    <a:gd name="connsiteX2760" fmla="*/ 138587 w 1559298"/>
                    <a:gd name="connsiteY2760" fmla="*/ 344119 h 1261310"/>
                    <a:gd name="connsiteX2761" fmla="*/ 139802 w 1559298"/>
                    <a:gd name="connsiteY2761" fmla="*/ 353323 h 1261310"/>
                    <a:gd name="connsiteX2762" fmla="*/ 139632 w 1559298"/>
                    <a:gd name="connsiteY2762" fmla="*/ 354926 h 1261310"/>
                    <a:gd name="connsiteX2763" fmla="*/ 139328 w 1559298"/>
                    <a:gd name="connsiteY2763" fmla="*/ 356019 h 1261310"/>
                    <a:gd name="connsiteX2764" fmla="*/ 137956 w 1559298"/>
                    <a:gd name="connsiteY2764" fmla="*/ 358508 h 1261310"/>
                    <a:gd name="connsiteX2765" fmla="*/ 137507 w 1559298"/>
                    <a:gd name="connsiteY2765" fmla="*/ 359322 h 1261310"/>
                    <a:gd name="connsiteX2766" fmla="*/ 137324 w 1559298"/>
                    <a:gd name="connsiteY2766" fmla="*/ 360220 h 1261310"/>
                    <a:gd name="connsiteX2767" fmla="*/ 136936 w 1559298"/>
                    <a:gd name="connsiteY2767" fmla="*/ 362127 h 1261310"/>
                    <a:gd name="connsiteX2768" fmla="*/ 136778 w 1559298"/>
                    <a:gd name="connsiteY2768" fmla="*/ 362904 h 1261310"/>
                    <a:gd name="connsiteX2769" fmla="*/ 136827 w 1559298"/>
                    <a:gd name="connsiteY2769" fmla="*/ 363705 h 1261310"/>
                    <a:gd name="connsiteX2770" fmla="*/ 136851 w 1559298"/>
                    <a:gd name="connsiteY2770" fmla="*/ 364251 h 1261310"/>
                    <a:gd name="connsiteX2771" fmla="*/ 136572 w 1559298"/>
                    <a:gd name="connsiteY2771" fmla="*/ 364179 h 1261310"/>
                    <a:gd name="connsiteX2772" fmla="*/ 136256 w 1559298"/>
                    <a:gd name="connsiteY2772" fmla="*/ 364130 h 1261310"/>
                    <a:gd name="connsiteX2773" fmla="*/ 123919 w 1559298"/>
                    <a:gd name="connsiteY2773" fmla="*/ 362248 h 1261310"/>
                    <a:gd name="connsiteX2774" fmla="*/ 122644 w 1559298"/>
                    <a:gd name="connsiteY2774" fmla="*/ 362042 h 1261310"/>
                    <a:gd name="connsiteX2775" fmla="*/ 121405 w 1559298"/>
                    <a:gd name="connsiteY2775" fmla="*/ 362382 h 1261310"/>
                    <a:gd name="connsiteX2776" fmla="*/ 119620 w 1559298"/>
                    <a:gd name="connsiteY2776" fmla="*/ 362867 h 1261310"/>
                    <a:gd name="connsiteX2777" fmla="*/ 118661 w 1559298"/>
                    <a:gd name="connsiteY2777" fmla="*/ 363122 h 1261310"/>
                    <a:gd name="connsiteX2778" fmla="*/ 117835 w 1559298"/>
                    <a:gd name="connsiteY2778" fmla="*/ 363681 h 1261310"/>
                    <a:gd name="connsiteX2779" fmla="*/ 116512 w 1559298"/>
                    <a:gd name="connsiteY2779" fmla="*/ 364567 h 1261310"/>
                    <a:gd name="connsiteX2780" fmla="*/ 115552 w 1559298"/>
                    <a:gd name="connsiteY2780" fmla="*/ 365211 h 1261310"/>
                    <a:gd name="connsiteX2781" fmla="*/ 114896 w 1559298"/>
                    <a:gd name="connsiteY2781" fmla="*/ 366146 h 1261310"/>
                    <a:gd name="connsiteX2782" fmla="*/ 113403 w 1559298"/>
                    <a:gd name="connsiteY2782" fmla="*/ 368295 h 1261310"/>
                    <a:gd name="connsiteX2783" fmla="*/ 112796 w 1559298"/>
                    <a:gd name="connsiteY2783" fmla="*/ 369169 h 1261310"/>
                    <a:gd name="connsiteX2784" fmla="*/ 112529 w 1559298"/>
                    <a:gd name="connsiteY2784" fmla="*/ 370202 h 1261310"/>
                    <a:gd name="connsiteX2785" fmla="*/ 112079 w 1559298"/>
                    <a:gd name="connsiteY2785" fmla="*/ 371902 h 1261310"/>
                    <a:gd name="connsiteX2786" fmla="*/ 111909 w 1559298"/>
                    <a:gd name="connsiteY2786" fmla="*/ 372521 h 1261310"/>
                    <a:gd name="connsiteX2787" fmla="*/ 111885 w 1559298"/>
                    <a:gd name="connsiteY2787" fmla="*/ 373177 h 1261310"/>
                    <a:gd name="connsiteX2788" fmla="*/ 111824 w 1559298"/>
                    <a:gd name="connsiteY2788" fmla="*/ 374440 h 1261310"/>
                    <a:gd name="connsiteX2789" fmla="*/ 111800 w 1559298"/>
                    <a:gd name="connsiteY2789" fmla="*/ 374950 h 1261310"/>
                    <a:gd name="connsiteX2790" fmla="*/ 111861 w 1559298"/>
                    <a:gd name="connsiteY2790" fmla="*/ 375459 h 1261310"/>
                    <a:gd name="connsiteX2791" fmla="*/ 111958 w 1559298"/>
                    <a:gd name="connsiteY2791" fmla="*/ 376285 h 1261310"/>
                    <a:gd name="connsiteX2792" fmla="*/ 111958 w 1559298"/>
                    <a:gd name="connsiteY2792" fmla="*/ 376310 h 1261310"/>
                    <a:gd name="connsiteX2793" fmla="*/ 111751 w 1559298"/>
                    <a:gd name="connsiteY2793" fmla="*/ 376504 h 1261310"/>
                    <a:gd name="connsiteX2794" fmla="*/ 110136 w 1559298"/>
                    <a:gd name="connsiteY2794" fmla="*/ 377415 h 1261310"/>
                    <a:gd name="connsiteX2795" fmla="*/ 109699 w 1559298"/>
                    <a:gd name="connsiteY2795" fmla="*/ 377572 h 1261310"/>
                    <a:gd name="connsiteX2796" fmla="*/ 109942 w 1559298"/>
                    <a:gd name="connsiteY2796" fmla="*/ 374330 h 1261310"/>
                    <a:gd name="connsiteX2797" fmla="*/ 110124 w 1559298"/>
                    <a:gd name="connsiteY2797" fmla="*/ 371877 h 1261310"/>
                    <a:gd name="connsiteX2798" fmla="*/ 108546 w 1559298"/>
                    <a:gd name="connsiteY2798" fmla="*/ 369995 h 1261310"/>
                    <a:gd name="connsiteX2799" fmla="*/ 107501 w 1559298"/>
                    <a:gd name="connsiteY2799" fmla="*/ 368745 h 1261310"/>
                    <a:gd name="connsiteX2800" fmla="*/ 107040 w 1559298"/>
                    <a:gd name="connsiteY2800" fmla="*/ 368198 h 1261310"/>
                    <a:gd name="connsiteX2801" fmla="*/ 106469 w 1559298"/>
                    <a:gd name="connsiteY2801" fmla="*/ 367785 h 1261310"/>
                    <a:gd name="connsiteX2802" fmla="*/ 104624 w 1559298"/>
                    <a:gd name="connsiteY2802" fmla="*/ 366413 h 1261310"/>
                    <a:gd name="connsiteX2803" fmla="*/ 103361 w 1559298"/>
                    <a:gd name="connsiteY2803" fmla="*/ 365466 h 1261310"/>
                    <a:gd name="connsiteX2804" fmla="*/ 101806 w 1559298"/>
                    <a:gd name="connsiteY2804" fmla="*/ 365259 h 1261310"/>
                    <a:gd name="connsiteX2805" fmla="*/ 95152 w 1559298"/>
                    <a:gd name="connsiteY2805" fmla="*/ 364361 h 1261310"/>
                    <a:gd name="connsiteX2806" fmla="*/ 94302 w 1559298"/>
                    <a:gd name="connsiteY2806" fmla="*/ 364251 h 1261310"/>
                    <a:gd name="connsiteX2807" fmla="*/ 93464 w 1559298"/>
                    <a:gd name="connsiteY2807" fmla="*/ 364373 h 1261310"/>
                    <a:gd name="connsiteX2808" fmla="*/ 92493 w 1559298"/>
                    <a:gd name="connsiteY2808" fmla="*/ 364519 h 1261310"/>
                    <a:gd name="connsiteX2809" fmla="*/ 90975 w 1559298"/>
                    <a:gd name="connsiteY2809" fmla="*/ 364750 h 1261310"/>
                    <a:gd name="connsiteX2810" fmla="*/ 89736 w 1559298"/>
                    <a:gd name="connsiteY2810" fmla="*/ 365672 h 1261310"/>
                    <a:gd name="connsiteX2811" fmla="*/ 88935 w 1559298"/>
                    <a:gd name="connsiteY2811" fmla="*/ 366280 h 1261310"/>
                    <a:gd name="connsiteX2812" fmla="*/ 87733 w 1559298"/>
                    <a:gd name="connsiteY2812" fmla="*/ 367178 h 1261310"/>
                    <a:gd name="connsiteX2813" fmla="*/ 87089 w 1559298"/>
                    <a:gd name="connsiteY2813" fmla="*/ 368538 h 1261310"/>
                    <a:gd name="connsiteX2814" fmla="*/ 86446 w 1559298"/>
                    <a:gd name="connsiteY2814" fmla="*/ 369886 h 1261310"/>
                    <a:gd name="connsiteX2815" fmla="*/ 86093 w 1559298"/>
                    <a:gd name="connsiteY2815" fmla="*/ 370615 h 1261310"/>
                    <a:gd name="connsiteX2816" fmla="*/ 85948 w 1559298"/>
                    <a:gd name="connsiteY2816" fmla="*/ 371416 h 1261310"/>
                    <a:gd name="connsiteX2817" fmla="*/ 85693 w 1559298"/>
                    <a:gd name="connsiteY2817" fmla="*/ 372873 h 1261310"/>
                    <a:gd name="connsiteX2818" fmla="*/ 85535 w 1559298"/>
                    <a:gd name="connsiteY2818" fmla="*/ 372885 h 1261310"/>
                    <a:gd name="connsiteX2819" fmla="*/ 84454 w 1559298"/>
                    <a:gd name="connsiteY2819" fmla="*/ 367737 h 1261310"/>
                    <a:gd name="connsiteX2820" fmla="*/ 95905 w 1559298"/>
                    <a:gd name="connsiteY2820" fmla="*/ 361580 h 1261310"/>
                    <a:gd name="connsiteX2821" fmla="*/ 96694 w 1559298"/>
                    <a:gd name="connsiteY2821" fmla="*/ 361155 h 1261310"/>
                    <a:gd name="connsiteX2822" fmla="*/ 97326 w 1559298"/>
                    <a:gd name="connsiteY2822" fmla="*/ 360524 h 1261310"/>
                    <a:gd name="connsiteX2823" fmla="*/ 98370 w 1559298"/>
                    <a:gd name="connsiteY2823" fmla="*/ 359480 h 1261310"/>
                    <a:gd name="connsiteX2824" fmla="*/ 99026 w 1559298"/>
                    <a:gd name="connsiteY2824" fmla="*/ 358824 h 1261310"/>
                    <a:gd name="connsiteX2825" fmla="*/ 99451 w 1559298"/>
                    <a:gd name="connsiteY2825" fmla="*/ 358022 h 1261310"/>
                    <a:gd name="connsiteX2826" fmla="*/ 100143 w 1559298"/>
                    <a:gd name="connsiteY2826" fmla="*/ 356711 h 1261310"/>
                    <a:gd name="connsiteX2827" fmla="*/ 100616 w 1559298"/>
                    <a:gd name="connsiteY2827" fmla="*/ 355812 h 1261310"/>
                    <a:gd name="connsiteX2828" fmla="*/ 100774 w 1559298"/>
                    <a:gd name="connsiteY2828" fmla="*/ 354804 h 1261310"/>
                    <a:gd name="connsiteX2829" fmla="*/ 101114 w 1559298"/>
                    <a:gd name="connsiteY2829" fmla="*/ 352619 h 1261310"/>
                    <a:gd name="connsiteX2830" fmla="*/ 101333 w 1559298"/>
                    <a:gd name="connsiteY2830" fmla="*/ 351404 h 1261310"/>
                    <a:gd name="connsiteX2831" fmla="*/ 100969 w 1559298"/>
                    <a:gd name="connsiteY2831" fmla="*/ 350117 h 1261310"/>
                    <a:gd name="connsiteX2832" fmla="*/ 100629 w 1559298"/>
                    <a:gd name="connsiteY2832" fmla="*/ 348939 h 1261310"/>
                    <a:gd name="connsiteX2833" fmla="*/ 100046 w 1559298"/>
                    <a:gd name="connsiteY2833" fmla="*/ 346912 h 1261310"/>
                    <a:gd name="connsiteX2834" fmla="*/ 98321 w 1559298"/>
                    <a:gd name="connsiteY2834" fmla="*/ 345685 h 1261310"/>
                    <a:gd name="connsiteX2835" fmla="*/ 97508 w 1559298"/>
                    <a:gd name="connsiteY2835" fmla="*/ 345102 h 1261310"/>
                    <a:gd name="connsiteX2836" fmla="*/ 95990 w 1559298"/>
                    <a:gd name="connsiteY2836" fmla="*/ 344009 h 1261310"/>
                    <a:gd name="connsiteX2837" fmla="*/ 94120 w 1559298"/>
                    <a:gd name="connsiteY2837" fmla="*/ 343961 h 1261310"/>
                    <a:gd name="connsiteX2838" fmla="*/ 92626 w 1559298"/>
                    <a:gd name="connsiteY2838" fmla="*/ 343924 h 1261310"/>
                    <a:gd name="connsiteX2839" fmla="*/ 92238 w 1559298"/>
                    <a:gd name="connsiteY2839" fmla="*/ 343912 h 1261310"/>
                    <a:gd name="connsiteX2840" fmla="*/ 92371 w 1559298"/>
                    <a:gd name="connsiteY2840" fmla="*/ 342771 h 1261310"/>
                    <a:gd name="connsiteX2841" fmla="*/ 92626 w 1559298"/>
                    <a:gd name="connsiteY2841" fmla="*/ 340658 h 1261310"/>
                    <a:gd name="connsiteX2842" fmla="*/ 91509 w 1559298"/>
                    <a:gd name="connsiteY2842" fmla="*/ 338861 h 1261310"/>
                    <a:gd name="connsiteX2843" fmla="*/ 90586 w 1559298"/>
                    <a:gd name="connsiteY2843" fmla="*/ 337367 h 1261310"/>
                    <a:gd name="connsiteX2844" fmla="*/ 89372 w 1559298"/>
                    <a:gd name="connsiteY2844" fmla="*/ 335412 h 1261310"/>
                    <a:gd name="connsiteX2845" fmla="*/ 87174 w 1559298"/>
                    <a:gd name="connsiteY2845" fmla="*/ 334744 h 1261310"/>
                    <a:gd name="connsiteX2846" fmla="*/ 86033 w 1559298"/>
                    <a:gd name="connsiteY2846" fmla="*/ 334404 h 1261310"/>
                    <a:gd name="connsiteX2847" fmla="*/ 84138 w 1559298"/>
                    <a:gd name="connsiteY2847" fmla="*/ 333834 h 1261310"/>
                    <a:gd name="connsiteX2848" fmla="*/ 82268 w 1559298"/>
                    <a:gd name="connsiteY2848" fmla="*/ 334489 h 1261310"/>
                    <a:gd name="connsiteX2849" fmla="*/ 80775 w 1559298"/>
                    <a:gd name="connsiteY2849" fmla="*/ 335011 h 1261310"/>
                    <a:gd name="connsiteX2850" fmla="*/ 80143 w 1559298"/>
                    <a:gd name="connsiteY2850" fmla="*/ 335230 h 1261310"/>
                    <a:gd name="connsiteX2851" fmla="*/ 79585 w 1559298"/>
                    <a:gd name="connsiteY2851" fmla="*/ 335582 h 1261310"/>
                    <a:gd name="connsiteX2852" fmla="*/ 78213 w 1559298"/>
                    <a:gd name="connsiteY2852" fmla="*/ 336432 h 1261310"/>
                    <a:gd name="connsiteX2853" fmla="*/ 77836 w 1559298"/>
                    <a:gd name="connsiteY2853" fmla="*/ 336675 h 1261310"/>
                    <a:gd name="connsiteX2854" fmla="*/ 77496 w 1559298"/>
                    <a:gd name="connsiteY2854" fmla="*/ 336954 h 1261310"/>
                    <a:gd name="connsiteX2855" fmla="*/ 71935 w 1559298"/>
                    <a:gd name="connsiteY2855" fmla="*/ 341678 h 1261310"/>
                    <a:gd name="connsiteX2856" fmla="*/ 70356 w 1559298"/>
                    <a:gd name="connsiteY2856" fmla="*/ 342528 h 1261310"/>
                    <a:gd name="connsiteX2857" fmla="*/ 69421 w 1559298"/>
                    <a:gd name="connsiteY2857" fmla="*/ 342176 h 1261310"/>
                    <a:gd name="connsiteX2858" fmla="*/ 68207 w 1559298"/>
                    <a:gd name="connsiteY2858" fmla="*/ 341702 h 1261310"/>
                    <a:gd name="connsiteX2859" fmla="*/ 66908 w 1559298"/>
                    <a:gd name="connsiteY2859" fmla="*/ 341775 h 1261310"/>
                    <a:gd name="connsiteX2860" fmla="*/ 65754 w 1559298"/>
                    <a:gd name="connsiteY2860" fmla="*/ 341836 h 1261310"/>
                    <a:gd name="connsiteX2861" fmla="*/ 64078 w 1559298"/>
                    <a:gd name="connsiteY2861" fmla="*/ 341921 h 1261310"/>
                    <a:gd name="connsiteX2862" fmla="*/ 62682 w 1559298"/>
                    <a:gd name="connsiteY2862" fmla="*/ 342856 h 1261310"/>
                    <a:gd name="connsiteX2863" fmla="*/ 61832 w 1559298"/>
                    <a:gd name="connsiteY2863" fmla="*/ 343426 h 1261310"/>
                    <a:gd name="connsiteX2864" fmla="*/ 60727 w 1559298"/>
                    <a:gd name="connsiteY2864" fmla="*/ 344179 h 1261310"/>
                    <a:gd name="connsiteX2865" fmla="*/ 60023 w 1559298"/>
                    <a:gd name="connsiteY2865" fmla="*/ 345321 h 1261310"/>
                    <a:gd name="connsiteX2866" fmla="*/ 59173 w 1559298"/>
                    <a:gd name="connsiteY2866" fmla="*/ 346729 h 1261310"/>
                    <a:gd name="connsiteX2867" fmla="*/ 58918 w 1559298"/>
                    <a:gd name="connsiteY2867" fmla="*/ 347130 h 1261310"/>
                    <a:gd name="connsiteX2868" fmla="*/ 58735 w 1559298"/>
                    <a:gd name="connsiteY2868" fmla="*/ 347555 h 1261310"/>
                    <a:gd name="connsiteX2869" fmla="*/ 57667 w 1559298"/>
                    <a:gd name="connsiteY2869" fmla="*/ 350142 h 1261310"/>
                    <a:gd name="connsiteX2870" fmla="*/ 56635 w 1559298"/>
                    <a:gd name="connsiteY2870" fmla="*/ 349899 h 1261310"/>
                    <a:gd name="connsiteX2871" fmla="*/ 56246 w 1559298"/>
                    <a:gd name="connsiteY2871" fmla="*/ 349802 h 1261310"/>
                    <a:gd name="connsiteX2872" fmla="*/ 55845 w 1559298"/>
                    <a:gd name="connsiteY2872" fmla="*/ 349765 h 1261310"/>
                    <a:gd name="connsiteX2873" fmla="*/ 54352 w 1559298"/>
                    <a:gd name="connsiteY2873" fmla="*/ 349619 h 1261310"/>
                    <a:gd name="connsiteX2874" fmla="*/ 53053 w 1559298"/>
                    <a:gd name="connsiteY2874" fmla="*/ 349498 h 1261310"/>
                    <a:gd name="connsiteX2875" fmla="*/ 51814 w 1559298"/>
                    <a:gd name="connsiteY2875" fmla="*/ 349911 h 1261310"/>
                    <a:gd name="connsiteX2876" fmla="*/ 50490 w 1559298"/>
                    <a:gd name="connsiteY2876" fmla="*/ 350360 h 1261310"/>
                    <a:gd name="connsiteX2877" fmla="*/ 48790 w 1559298"/>
                    <a:gd name="connsiteY2877" fmla="*/ 350943 h 1261310"/>
                    <a:gd name="connsiteX2878" fmla="*/ 47673 w 1559298"/>
                    <a:gd name="connsiteY2878" fmla="*/ 352352 h 1261310"/>
                    <a:gd name="connsiteX2879" fmla="*/ 47042 w 1559298"/>
                    <a:gd name="connsiteY2879" fmla="*/ 353153 h 1261310"/>
                    <a:gd name="connsiteX2880" fmla="*/ 46592 w 1559298"/>
                    <a:gd name="connsiteY2880" fmla="*/ 353724 h 1261310"/>
                    <a:gd name="connsiteX2881" fmla="*/ 46301 w 1559298"/>
                    <a:gd name="connsiteY2881" fmla="*/ 354379 h 1261310"/>
                    <a:gd name="connsiteX2882" fmla="*/ 45609 w 1559298"/>
                    <a:gd name="connsiteY2882" fmla="*/ 355873 h 1261310"/>
                    <a:gd name="connsiteX2883" fmla="*/ 45184 w 1559298"/>
                    <a:gd name="connsiteY2883" fmla="*/ 356784 h 1261310"/>
                    <a:gd name="connsiteX2884" fmla="*/ 45075 w 1559298"/>
                    <a:gd name="connsiteY2884" fmla="*/ 357779 h 1261310"/>
                    <a:gd name="connsiteX2885" fmla="*/ 44965 w 1559298"/>
                    <a:gd name="connsiteY2885" fmla="*/ 358872 h 1261310"/>
                    <a:gd name="connsiteX2886" fmla="*/ 44905 w 1559298"/>
                    <a:gd name="connsiteY2886" fmla="*/ 359504 h 1261310"/>
                    <a:gd name="connsiteX2887" fmla="*/ 44965 w 1559298"/>
                    <a:gd name="connsiteY2887" fmla="*/ 360135 h 1261310"/>
                    <a:gd name="connsiteX2888" fmla="*/ 45075 w 1559298"/>
                    <a:gd name="connsiteY2888" fmla="*/ 361228 h 1261310"/>
                    <a:gd name="connsiteX2889" fmla="*/ 45196 w 1559298"/>
                    <a:gd name="connsiteY2889" fmla="*/ 362406 h 1261310"/>
                    <a:gd name="connsiteX2890" fmla="*/ 45755 w 1559298"/>
                    <a:gd name="connsiteY2890" fmla="*/ 363463 h 1261310"/>
                    <a:gd name="connsiteX2891" fmla="*/ 46337 w 1559298"/>
                    <a:gd name="connsiteY2891" fmla="*/ 364555 h 1261310"/>
                    <a:gd name="connsiteX2892" fmla="*/ 46592 w 1559298"/>
                    <a:gd name="connsiteY2892" fmla="*/ 365029 h 1261310"/>
                    <a:gd name="connsiteX2893" fmla="*/ 46932 w 1559298"/>
                    <a:gd name="connsiteY2893" fmla="*/ 365454 h 1261310"/>
                    <a:gd name="connsiteX2894" fmla="*/ 47843 w 1559298"/>
                    <a:gd name="connsiteY2894" fmla="*/ 366607 h 1261310"/>
                    <a:gd name="connsiteX2895" fmla="*/ 48293 w 1559298"/>
                    <a:gd name="connsiteY2895" fmla="*/ 367178 h 1261310"/>
                    <a:gd name="connsiteX2896" fmla="*/ 48863 w 1559298"/>
                    <a:gd name="connsiteY2896" fmla="*/ 367615 h 1261310"/>
                    <a:gd name="connsiteX2897" fmla="*/ 50247 w 1559298"/>
                    <a:gd name="connsiteY2897" fmla="*/ 368708 h 1261310"/>
                    <a:gd name="connsiteX2898" fmla="*/ 53672 w 1559298"/>
                    <a:gd name="connsiteY2898" fmla="*/ 370991 h 1261310"/>
                    <a:gd name="connsiteX2899" fmla="*/ 54546 w 1559298"/>
                    <a:gd name="connsiteY2899" fmla="*/ 371720 h 1261310"/>
                    <a:gd name="connsiteX2900" fmla="*/ 54813 w 1559298"/>
                    <a:gd name="connsiteY2900" fmla="*/ 372035 h 1261310"/>
                    <a:gd name="connsiteX2901" fmla="*/ 54983 w 1559298"/>
                    <a:gd name="connsiteY2901" fmla="*/ 372375 h 1261310"/>
                    <a:gd name="connsiteX2902" fmla="*/ 55044 w 1559298"/>
                    <a:gd name="connsiteY2902" fmla="*/ 372582 h 1261310"/>
                    <a:gd name="connsiteX2903" fmla="*/ 55420 w 1559298"/>
                    <a:gd name="connsiteY2903" fmla="*/ 377475 h 1261310"/>
                    <a:gd name="connsiteX2904" fmla="*/ 50927 w 1559298"/>
                    <a:gd name="connsiteY2904" fmla="*/ 379382 h 1261310"/>
                    <a:gd name="connsiteX2905" fmla="*/ 47455 w 1559298"/>
                    <a:gd name="connsiteY2905" fmla="*/ 380147 h 1261310"/>
                    <a:gd name="connsiteX2906" fmla="*/ 45305 w 1559298"/>
                    <a:gd name="connsiteY2906" fmla="*/ 380171 h 1261310"/>
                    <a:gd name="connsiteX2907" fmla="*/ 40849 w 1559298"/>
                    <a:gd name="connsiteY2907" fmla="*/ 379734 h 1261310"/>
                    <a:gd name="connsiteX2908" fmla="*/ 39647 w 1559298"/>
                    <a:gd name="connsiteY2908" fmla="*/ 379625 h 1261310"/>
                    <a:gd name="connsiteX2909" fmla="*/ 38493 w 1559298"/>
                    <a:gd name="connsiteY2909" fmla="*/ 379964 h 1261310"/>
                    <a:gd name="connsiteX2910" fmla="*/ 37060 w 1559298"/>
                    <a:gd name="connsiteY2910" fmla="*/ 380402 h 1261310"/>
                    <a:gd name="connsiteX2911" fmla="*/ 36405 w 1559298"/>
                    <a:gd name="connsiteY2911" fmla="*/ 380608 h 1261310"/>
                    <a:gd name="connsiteX2912" fmla="*/ 35822 w 1559298"/>
                    <a:gd name="connsiteY2912" fmla="*/ 380936 h 1261310"/>
                    <a:gd name="connsiteX2913" fmla="*/ 35215 w 1559298"/>
                    <a:gd name="connsiteY2913" fmla="*/ 381288 h 1261310"/>
                    <a:gd name="connsiteX2914" fmla="*/ 33551 w 1559298"/>
                    <a:gd name="connsiteY2914" fmla="*/ 380608 h 1261310"/>
                    <a:gd name="connsiteX2915" fmla="*/ 32288 w 1559298"/>
                    <a:gd name="connsiteY2915" fmla="*/ 380098 h 1261310"/>
                    <a:gd name="connsiteX2916" fmla="*/ 30928 w 1559298"/>
                    <a:gd name="connsiteY2916" fmla="*/ 380171 h 1261310"/>
                    <a:gd name="connsiteX2917" fmla="*/ 29835 w 1559298"/>
                    <a:gd name="connsiteY2917" fmla="*/ 380232 h 1261310"/>
                    <a:gd name="connsiteX2918" fmla="*/ 29107 w 1559298"/>
                    <a:gd name="connsiteY2918" fmla="*/ 380268 h 1261310"/>
                    <a:gd name="connsiteX2919" fmla="*/ 28415 w 1559298"/>
                    <a:gd name="connsiteY2919" fmla="*/ 380487 h 1261310"/>
                    <a:gd name="connsiteX2920" fmla="*/ 27273 w 1559298"/>
                    <a:gd name="connsiteY2920" fmla="*/ 380827 h 1261310"/>
                    <a:gd name="connsiteX2921" fmla="*/ 26399 w 1559298"/>
                    <a:gd name="connsiteY2921" fmla="*/ 381082 h 1261310"/>
                    <a:gd name="connsiteX2922" fmla="*/ 25646 w 1559298"/>
                    <a:gd name="connsiteY2922" fmla="*/ 381592 h 1261310"/>
                    <a:gd name="connsiteX2923" fmla="*/ 23290 w 1559298"/>
                    <a:gd name="connsiteY2923" fmla="*/ 383170 h 1261310"/>
                    <a:gd name="connsiteX2924" fmla="*/ 23011 w 1559298"/>
                    <a:gd name="connsiteY2924" fmla="*/ 383365 h 1261310"/>
                    <a:gd name="connsiteX2925" fmla="*/ 22756 w 1559298"/>
                    <a:gd name="connsiteY2925" fmla="*/ 383583 h 1261310"/>
                    <a:gd name="connsiteX2926" fmla="*/ 21930 w 1559298"/>
                    <a:gd name="connsiteY2926" fmla="*/ 384288 h 1261310"/>
                    <a:gd name="connsiteX2927" fmla="*/ 19842 w 1559298"/>
                    <a:gd name="connsiteY2927" fmla="*/ 385465 h 1261310"/>
                    <a:gd name="connsiteX2928" fmla="*/ 16915 w 1559298"/>
                    <a:gd name="connsiteY2928" fmla="*/ 385854 h 1261310"/>
                    <a:gd name="connsiteX2929" fmla="*/ 12447 w 1559298"/>
                    <a:gd name="connsiteY2929" fmla="*/ 385854 h 1261310"/>
                    <a:gd name="connsiteX2930" fmla="*/ 11354 w 1559298"/>
                    <a:gd name="connsiteY2930" fmla="*/ 390626 h 1261310"/>
                    <a:gd name="connsiteX2931" fmla="*/ 11208 w 1559298"/>
                    <a:gd name="connsiteY2931" fmla="*/ 391270 h 1261310"/>
                    <a:gd name="connsiteX2932" fmla="*/ 11147 w 1559298"/>
                    <a:gd name="connsiteY2932" fmla="*/ 392229 h 1261310"/>
                    <a:gd name="connsiteX2933" fmla="*/ 11147 w 1559298"/>
                    <a:gd name="connsiteY2933" fmla="*/ 402806 h 1261310"/>
                    <a:gd name="connsiteX2934" fmla="*/ 10686 w 1559298"/>
                    <a:gd name="connsiteY2934" fmla="*/ 404457 h 1261310"/>
                    <a:gd name="connsiteX2935" fmla="*/ 9411 w 1559298"/>
                    <a:gd name="connsiteY2935" fmla="*/ 407225 h 1261310"/>
                    <a:gd name="connsiteX2936" fmla="*/ 8221 w 1559298"/>
                    <a:gd name="connsiteY2936" fmla="*/ 409083 h 1261310"/>
                    <a:gd name="connsiteX2937" fmla="*/ 8136 w 1559298"/>
                    <a:gd name="connsiteY2937" fmla="*/ 409156 h 1261310"/>
                    <a:gd name="connsiteX2938" fmla="*/ 6873 w 1559298"/>
                    <a:gd name="connsiteY2938" fmla="*/ 409690 h 1261310"/>
                    <a:gd name="connsiteX2939" fmla="*/ 3922 w 1559298"/>
                    <a:gd name="connsiteY2939" fmla="*/ 410929 h 1261310"/>
                    <a:gd name="connsiteX2940" fmla="*/ 3279 w 1559298"/>
                    <a:gd name="connsiteY2940" fmla="*/ 414062 h 1261310"/>
                    <a:gd name="connsiteX2941" fmla="*/ 2829 w 1559298"/>
                    <a:gd name="connsiteY2941" fmla="*/ 416248 h 1261310"/>
                    <a:gd name="connsiteX2942" fmla="*/ 2611 w 1559298"/>
                    <a:gd name="connsiteY2942" fmla="*/ 417280 h 1261310"/>
                    <a:gd name="connsiteX2943" fmla="*/ 2757 w 1559298"/>
                    <a:gd name="connsiteY2943" fmla="*/ 418312 h 1261310"/>
                    <a:gd name="connsiteX2944" fmla="*/ 3351 w 1559298"/>
                    <a:gd name="connsiteY2944" fmla="*/ 422623 h 1261310"/>
                    <a:gd name="connsiteX2945" fmla="*/ 3024 w 1559298"/>
                    <a:gd name="connsiteY2945" fmla="*/ 428136 h 1261310"/>
                    <a:gd name="connsiteX2946" fmla="*/ 2599 w 1559298"/>
                    <a:gd name="connsiteY2946" fmla="*/ 429532 h 1261310"/>
                    <a:gd name="connsiteX2947" fmla="*/ 1202 w 1559298"/>
                    <a:gd name="connsiteY2947" fmla="*/ 431596 h 1261310"/>
                    <a:gd name="connsiteX2948" fmla="*/ 0 w 1559298"/>
                    <a:gd name="connsiteY2948" fmla="*/ 433369 h 1261310"/>
                    <a:gd name="connsiteX2949" fmla="*/ 194 w 1559298"/>
                    <a:gd name="connsiteY2949" fmla="*/ 435519 h 1261310"/>
                    <a:gd name="connsiteX2950" fmla="*/ 364 w 1559298"/>
                    <a:gd name="connsiteY2950" fmla="*/ 437473 h 1261310"/>
                    <a:gd name="connsiteX2951" fmla="*/ 510 w 1559298"/>
                    <a:gd name="connsiteY2951" fmla="*/ 439198 h 1261310"/>
                    <a:gd name="connsiteX2952" fmla="*/ 1542 w 1559298"/>
                    <a:gd name="connsiteY2952" fmla="*/ 440582 h 1261310"/>
                    <a:gd name="connsiteX2953" fmla="*/ 5525 w 1559298"/>
                    <a:gd name="connsiteY2953" fmla="*/ 445901 h 1261310"/>
                    <a:gd name="connsiteX2954" fmla="*/ 5731 w 1559298"/>
                    <a:gd name="connsiteY2954" fmla="*/ 446265 h 1261310"/>
                    <a:gd name="connsiteX2955" fmla="*/ 5561 w 1559298"/>
                    <a:gd name="connsiteY2955" fmla="*/ 447880 h 1261310"/>
                    <a:gd name="connsiteX2956" fmla="*/ 2902 w 1559298"/>
                    <a:gd name="connsiteY2956" fmla="*/ 446229 h 1261310"/>
                    <a:gd name="connsiteX2957" fmla="*/ 5428 w 1559298"/>
                    <a:gd name="connsiteY2957" fmla="*/ 454753 h 1261310"/>
                    <a:gd name="connsiteX2958" fmla="*/ 5598 w 1559298"/>
                    <a:gd name="connsiteY2958" fmla="*/ 456234 h 1261310"/>
                    <a:gd name="connsiteX2959" fmla="*/ 6375 w 1559298"/>
                    <a:gd name="connsiteY2959" fmla="*/ 462889 h 1261310"/>
                    <a:gd name="connsiteX2960" fmla="*/ 7735 w 1559298"/>
                    <a:gd name="connsiteY2960" fmla="*/ 462597 h 1261310"/>
                    <a:gd name="connsiteX2961" fmla="*/ 11718 w 1559298"/>
                    <a:gd name="connsiteY2961" fmla="*/ 476051 h 1261310"/>
                    <a:gd name="connsiteX2962" fmla="*/ 12871 w 1559298"/>
                    <a:gd name="connsiteY2962" fmla="*/ 482245 h 1261310"/>
                    <a:gd name="connsiteX2963" fmla="*/ 12082 w 1559298"/>
                    <a:gd name="connsiteY2963" fmla="*/ 484406 h 1261310"/>
                    <a:gd name="connsiteX2964" fmla="*/ 11463 w 1559298"/>
                    <a:gd name="connsiteY2964" fmla="*/ 486082 h 1261310"/>
                    <a:gd name="connsiteX2965" fmla="*/ 11839 w 1559298"/>
                    <a:gd name="connsiteY2965" fmla="*/ 487818 h 1261310"/>
                    <a:gd name="connsiteX2966" fmla="*/ 14013 w 1559298"/>
                    <a:gd name="connsiteY2966" fmla="*/ 497812 h 1261310"/>
                    <a:gd name="connsiteX2967" fmla="*/ 14365 w 1559298"/>
                    <a:gd name="connsiteY2967" fmla="*/ 499427 h 1261310"/>
                    <a:gd name="connsiteX2968" fmla="*/ 15494 w 1559298"/>
                    <a:gd name="connsiteY2968" fmla="*/ 500641 h 1261310"/>
                    <a:gd name="connsiteX2969" fmla="*/ 19113 w 1559298"/>
                    <a:gd name="connsiteY2969" fmla="*/ 504563 h 1261310"/>
                    <a:gd name="connsiteX2970" fmla="*/ 19927 w 1559298"/>
                    <a:gd name="connsiteY2970" fmla="*/ 505450 h 1261310"/>
                    <a:gd name="connsiteX2971" fmla="*/ 19987 w 1559298"/>
                    <a:gd name="connsiteY2971" fmla="*/ 505474 h 1261310"/>
                    <a:gd name="connsiteX2972" fmla="*/ 19210 w 1559298"/>
                    <a:gd name="connsiteY2972" fmla="*/ 506919 h 1261310"/>
                    <a:gd name="connsiteX2973" fmla="*/ 18409 w 1559298"/>
                    <a:gd name="connsiteY2973" fmla="*/ 508413 h 1261310"/>
                    <a:gd name="connsiteX2974" fmla="*/ 18494 w 1559298"/>
                    <a:gd name="connsiteY2974" fmla="*/ 510113 h 1261310"/>
                    <a:gd name="connsiteX2975" fmla="*/ 18724 w 1559298"/>
                    <a:gd name="connsiteY2975" fmla="*/ 514739 h 1261310"/>
                    <a:gd name="connsiteX2976" fmla="*/ 18749 w 1559298"/>
                    <a:gd name="connsiteY2976" fmla="*/ 515188 h 1261310"/>
                    <a:gd name="connsiteX2977" fmla="*/ 18834 w 1559298"/>
                    <a:gd name="connsiteY2977" fmla="*/ 515638 h 1261310"/>
                    <a:gd name="connsiteX2978" fmla="*/ 21019 w 1559298"/>
                    <a:gd name="connsiteY2978" fmla="*/ 526408 h 1261310"/>
                    <a:gd name="connsiteX2979" fmla="*/ 21129 w 1559298"/>
                    <a:gd name="connsiteY2979" fmla="*/ 526955 h 1261310"/>
                    <a:gd name="connsiteX2980" fmla="*/ 21335 w 1559298"/>
                    <a:gd name="connsiteY2980" fmla="*/ 527465 h 1261310"/>
                    <a:gd name="connsiteX2981" fmla="*/ 22015 w 1559298"/>
                    <a:gd name="connsiteY2981" fmla="*/ 529165 h 1261310"/>
                    <a:gd name="connsiteX2982" fmla="*/ 22246 w 1559298"/>
                    <a:gd name="connsiteY2982" fmla="*/ 529736 h 1261310"/>
                    <a:gd name="connsiteX2983" fmla="*/ 22586 w 1559298"/>
                    <a:gd name="connsiteY2983" fmla="*/ 530258 h 1261310"/>
                    <a:gd name="connsiteX2984" fmla="*/ 26715 w 1559298"/>
                    <a:gd name="connsiteY2984" fmla="*/ 536487 h 1261310"/>
                    <a:gd name="connsiteX2985" fmla="*/ 26654 w 1559298"/>
                    <a:gd name="connsiteY2985" fmla="*/ 536584 h 1261310"/>
                    <a:gd name="connsiteX2986" fmla="*/ 24820 w 1559298"/>
                    <a:gd name="connsiteY2986" fmla="*/ 539474 h 1261310"/>
                    <a:gd name="connsiteX2987" fmla="*/ 24043 w 1559298"/>
                    <a:gd name="connsiteY2987" fmla="*/ 540701 h 1261310"/>
                    <a:gd name="connsiteX2988" fmla="*/ 23909 w 1559298"/>
                    <a:gd name="connsiteY2988" fmla="*/ 542134 h 1261310"/>
                    <a:gd name="connsiteX2989" fmla="*/ 23266 w 1559298"/>
                    <a:gd name="connsiteY2989" fmla="*/ 548703 h 1261310"/>
                    <a:gd name="connsiteX2990" fmla="*/ 23229 w 1559298"/>
                    <a:gd name="connsiteY2990" fmla="*/ 549152 h 1261310"/>
                    <a:gd name="connsiteX2991" fmla="*/ 23242 w 1559298"/>
                    <a:gd name="connsiteY2991" fmla="*/ 549589 h 1261310"/>
                    <a:gd name="connsiteX2992" fmla="*/ 23824 w 1559298"/>
                    <a:gd name="connsiteY2992" fmla="*/ 561368 h 1261310"/>
                    <a:gd name="connsiteX2993" fmla="*/ 24468 w 1559298"/>
                    <a:gd name="connsiteY2993" fmla="*/ 574422 h 1261310"/>
                    <a:gd name="connsiteX2994" fmla="*/ 25779 w 1559298"/>
                    <a:gd name="connsiteY2994" fmla="*/ 573195 h 1261310"/>
                    <a:gd name="connsiteX2995" fmla="*/ 25913 w 1559298"/>
                    <a:gd name="connsiteY2995" fmla="*/ 573596 h 1261310"/>
                    <a:gd name="connsiteX2996" fmla="*/ 27346 w 1559298"/>
                    <a:gd name="connsiteY2996" fmla="*/ 577773 h 1261310"/>
                    <a:gd name="connsiteX2997" fmla="*/ 31681 w 1559298"/>
                    <a:gd name="connsiteY2997" fmla="*/ 577700 h 1261310"/>
                    <a:gd name="connsiteX2998" fmla="*/ 32616 w 1559298"/>
                    <a:gd name="connsiteY2998" fmla="*/ 579619 h 1261310"/>
                    <a:gd name="connsiteX2999" fmla="*/ 32701 w 1559298"/>
                    <a:gd name="connsiteY2999" fmla="*/ 580056 h 1261310"/>
                    <a:gd name="connsiteX3000" fmla="*/ 32652 w 1559298"/>
                    <a:gd name="connsiteY3000" fmla="*/ 580529 h 1261310"/>
                    <a:gd name="connsiteX3001" fmla="*/ 31086 w 1559298"/>
                    <a:gd name="connsiteY3001" fmla="*/ 584525 h 1261310"/>
                    <a:gd name="connsiteX3002" fmla="*/ 28281 w 1559298"/>
                    <a:gd name="connsiteY3002" fmla="*/ 583238 h 1261310"/>
                    <a:gd name="connsiteX3003" fmla="*/ 28779 w 1559298"/>
                    <a:gd name="connsiteY3003" fmla="*/ 590402 h 1261310"/>
                    <a:gd name="connsiteX3004" fmla="*/ 28317 w 1559298"/>
                    <a:gd name="connsiteY3004" fmla="*/ 591580 h 1261310"/>
                    <a:gd name="connsiteX3005" fmla="*/ 28864 w 1559298"/>
                    <a:gd name="connsiteY3005" fmla="*/ 591774 h 1261310"/>
                    <a:gd name="connsiteX3006" fmla="*/ 28985 w 1559298"/>
                    <a:gd name="connsiteY3006" fmla="*/ 593486 h 1261310"/>
                    <a:gd name="connsiteX3007" fmla="*/ 29313 w 1559298"/>
                    <a:gd name="connsiteY3007" fmla="*/ 598222 h 1261310"/>
                    <a:gd name="connsiteX3008" fmla="*/ 29119 w 1559298"/>
                    <a:gd name="connsiteY3008" fmla="*/ 599048 h 1261310"/>
                    <a:gd name="connsiteX3009" fmla="*/ 28402 w 1559298"/>
                    <a:gd name="connsiteY3009" fmla="*/ 600747 h 1261310"/>
                    <a:gd name="connsiteX3010" fmla="*/ 25136 w 1559298"/>
                    <a:gd name="connsiteY3010" fmla="*/ 605046 h 1261310"/>
                    <a:gd name="connsiteX3011" fmla="*/ 24723 w 1559298"/>
                    <a:gd name="connsiteY3011" fmla="*/ 605592 h 1261310"/>
                    <a:gd name="connsiteX3012" fmla="*/ 24444 w 1559298"/>
                    <a:gd name="connsiteY3012" fmla="*/ 606212 h 1261310"/>
                    <a:gd name="connsiteX3013" fmla="*/ 23424 w 1559298"/>
                    <a:gd name="connsiteY3013" fmla="*/ 608458 h 1261310"/>
                    <a:gd name="connsiteX3014" fmla="*/ 22343 w 1559298"/>
                    <a:gd name="connsiteY3014" fmla="*/ 610826 h 1261310"/>
                    <a:gd name="connsiteX3015" fmla="*/ 23314 w 1559298"/>
                    <a:gd name="connsiteY3015" fmla="*/ 613231 h 1261310"/>
                    <a:gd name="connsiteX3016" fmla="*/ 24225 w 1559298"/>
                    <a:gd name="connsiteY3016" fmla="*/ 615501 h 1261310"/>
                    <a:gd name="connsiteX3017" fmla="*/ 27309 w 1559298"/>
                    <a:gd name="connsiteY3017" fmla="*/ 623151 h 1261310"/>
                    <a:gd name="connsiteX3018" fmla="*/ 29605 w 1559298"/>
                    <a:gd name="connsiteY3018" fmla="*/ 621281 h 1261310"/>
                    <a:gd name="connsiteX3019" fmla="*/ 30139 w 1559298"/>
                    <a:gd name="connsiteY3019" fmla="*/ 622022 h 1261310"/>
                    <a:gd name="connsiteX3020" fmla="*/ 31912 w 1559298"/>
                    <a:gd name="connsiteY3020" fmla="*/ 624426 h 1261310"/>
                    <a:gd name="connsiteX3021" fmla="*/ 35409 w 1559298"/>
                    <a:gd name="connsiteY3021" fmla="*/ 629162 h 1261310"/>
                    <a:gd name="connsiteX3022" fmla="*/ 40254 w 1559298"/>
                    <a:gd name="connsiteY3022" fmla="*/ 625823 h 1261310"/>
                    <a:gd name="connsiteX3023" fmla="*/ 41917 w 1559298"/>
                    <a:gd name="connsiteY3023" fmla="*/ 624669 h 1261310"/>
                    <a:gd name="connsiteX3024" fmla="*/ 43399 w 1559298"/>
                    <a:gd name="connsiteY3024" fmla="*/ 623649 h 1261310"/>
                    <a:gd name="connsiteX3025" fmla="*/ 44079 w 1559298"/>
                    <a:gd name="connsiteY3025" fmla="*/ 621985 h 1261310"/>
                    <a:gd name="connsiteX3026" fmla="*/ 45281 w 1559298"/>
                    <a:gd name="connsiteY3026" fmla="*/ 619059 h 1261310"/>
                    <a:gd name="connsiteX3027" fmla="*/ 45500 w 1559298"/>
                    <a:gd name="connsiteY3027" fmla="*/ 618513 h 1261310"/>
                    <a:gd name="connsiteX3028" fmla="*/ 45621 w 1559298"/>
                    <a:gd name="connsiteY3028" fmla="*/ 617942 h 1261310"/>
                    <a:gd name="connsiteX3029" fmla="*/ 45779 w 1559298"/>
                    <a:gd name="connsiteY3029" fmla="*/ 617177 h 1261310"/>
                    <a:gd name="connsiteX3030" fmla="*/ 50551 w 1559298"/>
                    <a:gd name="connsiteY3030" fmla="*/ 612295 h 1261310"/>
                    <a:gd name="connsiteX3031" fmla="*/ 50187 w 1559298"/>
                    <a:gd name="connsiteY3031" fmla="*/ 612988 h 1261310"/>
                    <a:gd name="connsiteX3032" fmla="*/ 47260 w 1559298"/>
                    <a:gd name="connsiteY3032" fmla="*/ 618622 h 1261310"/>
                    <a:gd name="connsiteX3033" fmla="*/ 45463 w 1559298"/>
                    <a:gd name="connsiteY3033" fmla="*/ 622071 h 1261310"/>
                    <a:gd name="connsiteX3034" fmla="*/ 47855 w 1559298"/>
                    <a:gd name="connsiteY3034" fmla="*/ 625143 h 1261310"/>
                    <a:gd name="connsiteX3035" fmla="*/ 51474 w 1559298"/>
                    <a:gd name="connsiteY3035" fmla="*/ 629793 h 1261310"/>
                    <a:gd name="connsiteX3036" fmla="*/ 52445 w 1559298"/>
                    <a:gd name="connsiteY3036" fmla="*/ 631056 h 1261310"/>
                    <a:gd name="connsiteX3037" fmla="*/ 53137 w 1559298"/>
                    <a:gd name="connsiteY3037" fmla="*/ 631336 h 1261310"/>
                    <a:gd name="connsiteX3038" fmla="*/ 52907 w 1559298"/>
                    <a:gd name="connsiteY3038" fmla="*/ 631785 h 1261310"/>
                    <a:gd name="connsiteX3039" fmla="*/ 52543 w 1559298"/>
                    <a:gd name="connsiteY3039" fmla="*/ 632477 h 1261310"/>
                    <a:gd name="connsiteX3040" fmla="*/ 52397 w 1559298"/>
                    <a:gd name="connsiteY3040" fmla="*/ 632404 h 1261310"/>
                    <a:gd name="connsiteX3041" fmla="*/ 51049 w 1559298"/>
                    <a:gd name="connsiteY3041" fmla="*/ 632343 h 1261310"/>
                    <a:gd name="connsiteX3042" fmla="*/ 49555 w 1559298"/>
                    <a:gd name="connsiteY3042" fmla="*/ 632283 h 1261310"/>
                    <a:gd name="connsiteX3043" fmla="*/ 47722 w 1559298"/>
                    <a:gd name="connsiteY3043" fmla="*/ 632210 h 1261310"/>
                    <a:gd name="connsiteX3044" fmla="*/ 46155 w 1559298"/>
                    <a:gd name="connsiteY3044" fmla="*/ 633169 h 1261310"/>
                    <a:gd name="connsiteX3045" fmla="*/ 43642 w 1559298"/>
                    <a:gd name="connsiteY3045" fmla="*/ 634699 h 1261310"/>
                    <a:gd name="connsiteX3046" fmla="*/ 42403 w 1559298"/>
                    <a:gd name="connsiteY3046" fmla="*/ 635452 h 1261310"/>
                    <a:gd name="connsiteX3047" fmla="*/ 41638 w 1559298"/>
                    <a:gd name="connsiteY3047" fmla="*/ 636679 h 1261310"/>
                    <a:gd name="connsiteX3048" fmla="*/ 40035 w 1559298"/>
                    <a:gd name="connsiteY3048" fmla="*/ 639253 h 1261310"/>
                    <a:gd name="connsiteX3049" fmla="*/ 39562 w 1559298"/>
                    <a:gd name="connsiteY3049" fmla="*/ 640006 h 1261310"/>
                    <a:gd name="connsiteX3050" fmla="*/ 39331 w 1559298"/>
                    <a:gd name="connsiteY3050" fmla="*/ 640856 h 1261310"/>
                    <a:gd name="connsiteX3051" fmla="*/ 38457 w 1559298"/>
                    <a:gd name="connsiteY3051" fmla="*/ 644025 h 1261310"/>
                    <a:gd name="connsiteX3052" fmla="*/ 38250 w 1559298"/>
                    <a:gd name="connsiteY3052" fmla="*/ 644778 h 1261310"/>
                    <a:gd name="connsiteX3053" fmla="*/ 38238 w 1559298"/>
                    <a:gd name="connsiteY3053" fmla="*/ 645543 h 1261310"/>
                    <a:gd name="connsiteX3054" fmla="*/ 38117 w 1559298"/>
                    <a:gd name="connsiteY3054" fmla="*/ 655306 h 1261310"/>
                    <a:gd name="connsiteX3055" fmla="*/ 38785 w 1559298"/>
                    <a:gd name="connsiteY3055" fmla="*/ 663369 h 1261310"/>
                    <a:gd name="connsiteX3056" fmla="*/ 38833 w 1559298"/>
                    <a:gd name="connsiteY3056" fmla="*/ 663927 h 1261310"/>
                    <a:gd name="connsiteX3057" fmla="*/ 38979 w 1559298"/>
                    <a:gd name="connsiteY3057" fmla="*/ 664462 h 1261310"/>
                    <a:gd name="connsiteX3058" fmla="*/ 40703 w 1559298"/>
                    <a:gd name="connsiteY3058" fmla="*/ 670727 h 1261310"/>
                    <a:gd name="connsiteX3059" fmla="*/ 41225 w 1559298"/>
                    <a:gd name="connsiteY3059" fmla="*/ 672646 h 1261310"/>
                    <a:gd name="connsiteX3060" fmla="*/ 42792 w 1559298"/>
                    <a:gd name="connsiteY3060" fmla="*/ 673885 h 1261310"/>
                    <a:gd name="connsiteX3061" fmla="*/ 44820 w 1559298"/>
                    <a:gd name="connsiteY3061" fmla="*/ 675487 h 1261310"/>
                    <a:gd name="connsiteX3062" fmla="*/ 48475 w 1559298"/>
                    <a:gd name="connsiteY3062" fmla="*/ 684849 h 1261310"/>
                    <a:gd name="connsiteX3063" fmla="*/ 49191 w 1559298"/>
                    <a:gd name="connsiteY3063" fmla="*/ 687946 h 1261310"/>
                    <a:gd name="connsiteX3064" fmla="*/ 49640 w 1559298"/>
                    <a:gd name="connsiteY3064" fmla="*/ 689853 h 1261310"/>
                    <a:gd name="connsiteX3065" fmla="*/ 49264 w 1559298"/>
                    <a:gd name="connsiteY3065" fmla="*/ 690533 h 1261310"/>
                    <a:gd name="connsiteX3066" fmla="*/ 47078 w 1559298"/>
                    <a:gd name="connsiteY3066" fmla="*/ 694515 h 1261310"/>
                    <a:gd name="connsiteX3067" fmla="*/ 46617 w 1559298"/>
                    <a:gd name="connsiteY3067" fmla="*/ 695353 h 1261310"/>
                    <a:gd name="connsiteX3068" fmla="*/ 46435 w 1559298"/>
                    <a:gd name="connsiteY3068" fmla="*/ 696312 h 1261310"/>
                    <a:gd name="connsiteX3069" fmla="*/ 45633 w 1559298"/>
                    <a:gd name="connsiteY3069" fmla="*/ 700599 h 1261310"/>
                    <a:gd name="connsiteX3070" fmla="*/ 45560 w 1559298"/>
                    <a:gd name="connsiteY3070" fmla="*/ 701012 h 1261310"/>
                    <a:gd name="connsiteX3071" fmla="*/ 45548 w 1559298"/>
                    <a:gd name="connsiteY3071" fmla="*/ 701437 h 1261310"/>
                    <a:gd name="connsiteX3072" fmla="*/ 45208 w 1559298"/>
                    <a:gd name="connsiteY3072" fmla="*/ 709135 h 1261310"/>
                    <a:gd name="connsiteX3073" fmla="*/ 45184 w 1559298"/>
                    <a:gd name="connsiteY3073" fmla="*/ 709730 h 1261310"/>
                    <a:gd name="connsiteX3074" fmla="*/ 45269 w 1559298"/>
                    <a:gd name="connsiteY3074" fmla="*/ 710313 h 1261310"/>
                    <a:gd name="connsiteX3075" fmla="*/ 45609 w 1559298"/>
                    <a:gd name="connsiteY3075" fmla="*/ 712608 h 1261310"/>
                    <a:gd name="connsiteX3076" fmla="*/ 45742 w 1559298"/>
                    <a:gd name="connsiteY3076" fmla="*/ 713470 h 1261310"/>
                    <a:gd name="connsiteX3077" fmla="*/ 46107 w 1559298"/>
                    <a:gd name="connsiteY3077" fmla="*/ 714260 h 1261310"/>
                    <a:gd name="connsiteX3078" fmla="*/ 47200 w 1559298"/>
                    <a:gd name="connsiteY3078" fmla="*/ 716603 h 1261310"/>
                    <a:gd name="connsiteX3079" fmla="*/ 47479 w 1559298"/>
                    <a:gd name="connsiteY3079" fmla="*/ 717198 h 1261310"/>
                    <a:gd name="connsiteX3080" fmla="*/ 47880 w 1559298"/>
                    <a:gd name="connsiteY3080" fmla="*/ 717720 h 1261310"/>
                    <a:gd name="connsiteX3081" fmla="*/ 49179 w 1559298"/>
                    <a:gd name="connsiteY3081" fmla="*/ 719445 h 1261310"/>
                    <a:gd name="connsiteX3082" fmla="*/ 49325 w 1559298"/>
                    <a:gd name="connsiteY3082" fmla="*/ 719700 h 1261310"/>
                    <a:gd name="connsiteX3083" fmla="*/ 49434 w 1559298"/>
                    <a:gd name="connsiteY3083" fmla="*/ 720368 h 1261310"/>
                    <a:gd name="connsiteX3084" fmla="*/ 49410 w 1559298"/>
                    <a:gd name="connsiteY3084" fmla="*/ 720635 h 1261310"/>
                    <a:gd name="connsiteX3085" fmla="*/ 49276 w 1559298"/>
                    <a:gd name="connsiteY3085" fmla="*/ 721108 h 1261310"/>
                    <a:gd name="connsiteX3086" fmla="*/ 49118 w 1559298"/>
                    <a:gd name="connsiteY3086" fmla="*/ 721691 h 1261310"/>
                    <a:gd name="connsiteX3087" fmla="*/ 49070 w 1559298"/>
                    <a:gd name="connsiteY3087" fmla="*/ 722298 h 1261310"/>
                    <a:gd name="connsiteX3088" fmla="*/ 49009 w 1559298"/>
                    <a:gd name="connsiteY3088" fmla="*/ 723148 h 1261310"/>
                    <a:gd name="connsiteX3089" fmla="*/ 48900 w 1559298"/>
                    <a:gd name="connsiteY3089" fmla="*/ 724520 h 1261310"/>
                    <a:gd name="connsiteX3090" fmla="*/ 49397 w 1559298"/>
                    <a:gd name="connsiteY3090" fmla="*/ 725796 h 1261310"/>
                    <a:gd name="connsiteX3091" fmla="*/ 49907 w 1559298"/>
                    <a:gd name="connsiteY3091" fmla="*/ 727119 h 1261310"/>
                    <a:gd name="connsiteX3092" fmla="*/ 50357 w 1559298"/>
                    <a:gd name="connsiteY3092" fmla="*/ 728273 h 1261310"/>
                    <a:gd name="connsiteX3093" fmla="*/ 51207 w 1559298"/>
                    <a:gd name="connsiteY3093" fmla="*/ 729147 h 1261310"/>
                    <a:gd name="connsiteX3094" fmla="*/ 52130 w 1559298"/>
                    <a:gd name="connsiteY3094" fmla="*/ 730094 h 1261310"/>
                    <a:gd name="connsiteX3095" fmla="*/ 54073 w 1559298"/>
                    <a:gd name="connsiteY3095" fmla="*/ 732097 h 1261310"/>
                    <a:gd name="connsiteX3096" fmla="*/ 56319 w 1559298"/>
                    <a:gd name="connsiteY3096" fmla="*/ 731964 h 1261310"/>
                    <a:gd name="connsiteX3097" fmla="*/ 57157 w 1559298"/>
                    <a:gd name="connsiteY3097" fmla="*/ 733081 h 1261310"/>
                    <a:gd name="connsiteX3098" fmla="*/ 55299 w 1559298"/>
                    <a:gd name="connsiteY3098" fmla="*/ 736809 h 1261310"/>
                    <a:gd name="connsiteX3099" fmla="*/ 54376 w 1559298"/>
                    <a:gd name="connsiteY3099" fmla="*/ 738667 h 1261310"/>
                    <a:gd name="connsiteX3100" fmla="*/ 53987 w 1559298"/>
                    <a:gd name="connsiteY3100" fmla="*/ 739444 h 1261310"/>
                    <a:gd name="connsiteX3101" fmla="*/ 53830 w 1559298"/>
                    <a:gd name="connsiteY3101" fmla="*/ 740294 h 1261310"/>
                    <a:gd name="connsiteX3102" fmla="*/ 53490 w 1559298"/>
                    <a:gd name="connsiteY3102" fmla="*/ 742189 h 1261310"/>
                    <a:gd name="connsiteX3103" fmla="*/ 53307 w 1559298"/>
                    <a:gd name="connsiteY3103" fmla="*/ 743233 h 1261310"/>
                    <a:gd name="connsiteX3104" fmla="*/ 53490 w 1559298"/>
                    <a:gd name="connsiteY3104" fmla="*/ 744289 h 1261310"/>
                    <a:gd name="connsiteX3105" fmla="*/ 53781 w 1559298"/>
                    <a:gd name="connsiteY3105" fmla="*/ 745977 h 1261310"/>
                    <a:gd name="connsiteX3106" fmla="*/ 53805 w 1559298"/>
                    <a:gd name="connsiteY3106" fmla="*/ 746183 h 1261310"/>
                    <a:gd name="connsiteX3107" fmla="*/ 52591 w 1559298"/>
                    <a:gd name="connsiteY3107" fmla="*/ 749377 h 1261310"/>
                    <a:gd name="connsiteX3108" fmla="*/ 50126 w 1559298"/>
                    <a:gd name="connsiteY3108" fmla="*/ 755849 h 1261310"/>
                    <a:gd name="connsiteX3109" fmla="*/ 56865 w 1559298"/>
                    <a:gd name="connsiteY3109" fmla="*/ 757440 h 1261310"/>
                    <a:gd name="connsiteX3110" fmla="*/ 59500 w 1559298"/>
                    <a:gd name="connsiteY3110" fmla="*/ 758071 h 1261310"/>
                    <a:gd name="connsiteX3111" fmla="*/ 59938 w 1559298"/>
                    <a:gd name="connsiteY3111" fmla="*/ 758837 h 1261310"/>
                    <a:gd name="connsiteX3112" fmla="*/ 61455 w 1559298"/>
                    <a:gd name="connsiteY3112" fmla="*/ 772582 h 1261310"/>
                    <a:gd name="connsiteX3113" fmla="*/ 61516 w 1559298"/>
                    <a:gd name="connsiteY3113" fmla="*/ 773165 h 1261310"/>
                    <a:gd name="connsiteX3114" fmla="*/ 61686 w 1559298"/>
                    <a:gd name="connsiteY3114" fmla="*/ 773724 h 1261310"/>
                    <a:gd name="connsiteX3115" fmla="*/ 62099 w 1559298"/>
                    <a:gd name="connsiteY3115" fmla="*/ 775035 h 1261310"/>
                    <a:gd name="connsiteX3116" fmla="*/ 62354 w 1559298"/>
                    <a:gd name="connsiteY3116" fmla="*/ 775824 h 1261310"/>
                    <a:gd name="connsiteX3117" fmla="*/ 61164 w 1559298"/>
                    <a:gd name="connsiteY3117" fmla="*/ 776529 h 1261310"/>
                    <a:gd name="connsiteX3118" fmla="*/ 62828 w 1559298"/>
                    <a:gd name="connsiteY3118" fmla="*/ 781665 h 1261310"/>
                    <a:gd name="connsiteX3119" fmla="*/ 63969 w 1559298"/>
                    <a:gd name="connsiteY3119" fmla="*/ 784385 h 1261310"/>
                    <a:gd name="connsiteX3120" fmla="*/ 64394 w 1559298"/>
                    <a:gd name="connsiteY3120" fmla="*/ 785381 h 1261310"/>
                    <a:gd name="connsiteX3121" fmla="*/ 65147 w 1559298"/>
                    <a:gd name="connsiteY3121" fmla="*/ 786170 h 1261310"/>
                    <a:gd name="connsiteX3122" fmla="*/ 67296 w 1559298"/>
                    <a:gd name="connsiteY3122" fmla="*/ 788465 h 1261310"/>
                    <a:gd name="connsiteX3123" fmla="*/ 67600 w 1559298"/>
                    <a:gd name="connsiteY3123" fmla="*/ 789012 h 1261310"/>
                    <a:gd name="connsiteX3124" fmla="*/ 67090 w 1559298"/>
                    <a:gd name="connsiteY3124" fmla="*/ 790930 h 1261310"/>
                    <a:gd name="connsiteX3125" fmla="*/ 66677 w 1559298"/>
                    <a:gd name="connsiteY3125" fmla="*/ 792509 h 1261310"/>
                    <a:gd name="connsiteX3126" fmla="*/ 67102 w 1559298"/>
                    <a:gd name="connsiteY3126" fmla="*/ 794075 h 1261310"/>
                    <a:gd name="connsiteX3127" fmla="*/ 67733 w 1559298"/>
                    <a:gd name="connsiteY3127" fmla="*/ 796431 h 1261310"/>
                    <a:gd name="connsiteX3128" fmla="*/ 68268 w 1559298"/>
                    <a:gd name="connsiteY3128" fmla="*/ 798422 h 1261310"/>
                    <a:gd name="connsiteX3129" fmla="*/ 69033 w 1559298"/>
                    <a:gd name="connsiteY3129" fmla="*/ 799005 h 1261310"/>
                    <a:gd name="connsiteX3130" fmla="*/ 69130 w 1559298"/>
                    <a:gd name="connsiteY3130" fmla="*/ 800693 h 1261310"/>
                    <a:gd name="connsiteX3131" fmla="*/ 69373 w 1559298"/>
                    <a:gd name="connsiteY3131" fmla="*/ 804628 h 1261310"/>
                    <a:gd name="connsiteX3132" fmla="*/ 69470 w 1559298"/>
                    <a:gd name="connsiteY3132" fmla="*/ 806145 h 1261310"/>
                    <a:gd name="connsiteX3133" fmla="*/ 70271 w 1559298"/>
                    <a:gd name="connsiteY3133" fmla="*/ 807432 h 1261310"/>
                    <a:gd name="connsiteX3134" fmla="*/ 78759 w 1559298"/>
                    <a:gd name="connsiteY3134" fmla="*/ 821178 h 1261310"/>
                    <a:gd name="connsiteX3135" fmla="*/ 79925 w 1559298"/>
                    <a:gd name="connsiteY3135" fmla="*/ 824165 h 1261310"/>
                    <a:gd name="connsiteX3136" fmla="*/ 80848 w 1559298"/>
                    <a:gd name="connsiteY3136" fmla="*/ 829824 h 1261310"/>
                    <a:gd name="connsiteX3137" fmla="*/ 81018 w 1559298"/>
                    <a:gd name="connsiteY3137" fmla="*/ 830832 h 1261310"/>
                    <a:gd name="connsiteX3138" fmla="*/ 81516 w 1559298"/>
                    <a:gd name="connsiteY3138" fmla="*/ 831730 h 1261310"/>
                    <a:gd name="connsiteX3139" fmla="*/ 82669 w 1559298"/>
                    <a:gd name="connsiteY3139" fmla="*/ 833868 h 1261310"/>
                    <a:gd name="connsiteX3140" fmla="*/ 82997 w 1559298"/>
                    <a:gd name="connsiteY3140" fmla="*/ 834487 h 1261310"/>
                    <a:gd name="connsiteX3141" fmla="*/ 83471 w 1559298"/>
                    <a:gd name="connsiteY3141" fmla="*/ 835009 h 1261310"/>
                    <a:gd name="connsiteX3142" fmla="*/ 85863 w 1559298"/>
                    <a:gd name="connsiteY3142" fmla="*/ 837705 h 1261310"/>
                    <a:gd name="connsiteX3143" fmla="*/ 86057 w 1559298"/>
                    <a:gd name="connsiteY3143" fmla="*/ 838105 h 1261310"/>
                    <a:gd name="connsiteX3144" fmla="*/ 86591 w 1559298"/>
                    <a:gd name="connsiteY3144" fmla="*/ 842416 h 1261310"/>
                    <a:gd name="connsiteX3145" fmla="*/ 86713 w 1559298"/>
                    <a:gd name="connsiteY3145" fmla="*/ 843448 h 1261310"/>
                    <a:gd name="connsiteX3146" fmla="*/ 87174 w 1559298"/>
                    <a:gd name="connsiteY3146" fmla="*/ 844383 h 1261310"/>
                    <a:gd name="connsiteX3147" fmla="*/ 88146 w 1559298"/>
                    <a:gd name="connsiteY3147" fmla="*/ 846338 h 1261310"/>
                    <a:gd name="connsiteX3148" fmla="*/ 88291 w 1559298"/>
                    <a:gd name="connsiteY3148" fmla="*/ 846630 h 1261310"/>
                    <a:gd name="connsiteX3149" fmla="*/ 88473 w 1559298"/>
                    <a:gd name="connsiteY3149" fmla="*/ 846897 h 1261310"/>
                    <a:gd name="connsiteX3150" fmla="*/ 88826 w 1559298"/>
                    <a:gd name="connsiteY3150" fmla="*/ 847455 h 1261310"/>
                    <a:gd name="connsiteX3151" fmla="*/ 88777 w 1559298"/>
                    <a:gd name="connsiteY3151" fmla="*/ 847577 h 1261310"/>
                    <a:gd name="connsiteX3152" fmla="*/ 87453 w 1559298"/>
                    <a:gd name="connsiteY3152" fmla="*/ 849289 h 1261310"/>
                    <a:gd name="connsiteX3153" fmla="*/ 86664 w 1559298"/>
                    <a:gd name="connsiteY3153" fmla="*/ 850321 h 1261310"/>
                    <a:gd name="connsiteX3154" fmla="*/ 86361 w 1559298"/>
                    <a:gd name="connsiteY3154" fmla="*/ 851584 h 1261310"/>
                    <a:gd name="connsiteX3155" fmla="*/ 85851 w 1559298"/>
                    <a:gd name="connsiteY3155" fmla="*/ 853685 h 1261310"/>
                    <a:gd name="connsiteX3156" fmla="*/ 85401 w 1559298"/>
                    <a:gd name="connsiteY3156" fmla="*/ 855531 h 1261310"/>
                    <a:gd name="connsiteX3157" fmla="*/ 86093 w 1559298"/>
                    <a:gd name="connsiteY3157" fmla="*/ 857303 h 1261310"/>
                    <a:gd name="connsiteX3158" fmla="*/ 87077 w 1559298"/>
                    <a:gd name="connsiteY3158" fmla="*/ 859854 h 1261310"/>
                    <a:gd name="connsiteX3159" fmla="*/ 87308 w 1559298"/>
                    <a:gd name="connsiteY3159" fmla="*/ 860461 h 1261310"/>
                    <a:gd name="connsiteX3160" fmla="*/ 87660 w 1559298"/>
                    <a:gd name="connsiteY3160" fmla="*/ 860995 h 1261310"/>
                    <a:gd name="connsiteX3161" fmla="*/ 88680 w 1559298"/>
                    <a:gd name="connsiteY3161" fmla="*/ 862561 h 1261310"/>
                    <a:gd name="connsiteX3162" fmla="*/ 88437 w 1559298"/>
                    <a:gd name="connsiteY3162" fmla="*/ 863157 h 1261310"/>
                    <a:gd name="connsiteX3163" fmla="*/ 88522 w 1559298"/>
                    <a:gd name="connsiteY3163" fmla="*/ 864553 h 1261310"/>
                    <a:gd name="connsiteX3164" fmla="*/ 88704 w 1559298"/>
                    <a:gd name="connsiteY3164" fmla="*/ 867564 h 1261310"/>
                    <a:gd name="connsiteX3165" fmla="*/ 88765 w 1559298"/>
                    <a:gd name="connsiteY3165" fmla="*/ 868706 h 1261310"/>
                    <a:gd name="connsiteX3166" fmla="*/ 89238 w 1559298"/>
                    <a:gd name="connsiteY3166" fmla="*/ 869738 h 1261310"/>
                    <a:gd name="connsiteX3167" fmla="*/ 90550 w 1559298"/>
                    <a:gd name="connsiteY3167" fmla="*/ 872604 h 1261310"/>
                    <a:gd name="connsiteX3168" fmla="*/ 90975 w 1559298"/>
                    <a:gd name="connsiteY3168" fmla="*/ 873526 h 1261310"/>
                    <a:gd name="connsiteX3169" fmla="*/ 91582 w 1559298"/>
                    <a:gd name="connsiteY3169" fmla="*/ 874170 h 1261310"/>
                    <a:gd name="connsiteX3170" fmla="*/ 90963 w 1559298"/>
                    <a:gd name="connsiteY3170" fmla="*/ 874376 h 1261310"/>
                    <a:gd name="connsiteX3171" fmla="*/ 90125 w 1559298"/>
                    <a:gd name="connsiteY3171" fmla="*/ 877655 h 1261310"/>
                    <a:gd name="connsiteX3172" fmla="*/ 89724 w 1559298"/>
                    <a:gd name="connsiteY3172" fmla="*/ 879209 h 1261310"/>
                    <a:gd name="connsiteX3173" fmla="*/ 89287 w 1559298"/>
                    <a:gd name="connsiteY3173" fmla="*/ 880934 h 1261310"/>
                    <a:gd name="connsiteX3174" fmla="*/ 89833 w 1559298"/>
                    <a:gd name="connsiteY3174" fmla="*/ 882609 h 1261310"/>
                    <a:gd name="connsiteX3175" fmla="*/ 90926 w 1559298"/>
                    <a:gd name="connsiteY3175" fmla="*/ 885936 h 1261310"/>
                    <a:gd name="connsiteX3176" fmla="*/ 91339 w 1559298"/>
                    <a:gd name="connsiteY3176" fmla="*/ 887199 h 1261310"/>
                    <a:gd name="connsiteX3177" fmla="*/ 92226 w 1559298"/>
                    <a:gd name="connsiteY3177" fmla="*/ 888159 h 1261310"/>
                    <a:gd name="connsiteX3178" fmla="*/ 98139 w 1559298"/>
                    <a:gd name="connsiteY3178" fmla="*/ 894594 h 1261310"/>
                    <a:gd name="connsiteX3179" fmla="*/ 99244 w 1559298"/>
                    <a:gd name="connsiteY3179" fmla="*/ 896550 h 1261310"/>
                    <a:gd name="connsiteX3180" fmla="*/ 98783 w 1559298"/>
                    <a:gd name="connsiteY3180" fmla="*/ 897873 h 1261310"/>
                    <a:gd name="connsiteX3181" fmla="*/ 97702 w 1559298"/>
                    <a:gd name="connsiteY3181" fmla="*/ 900945 h 1261310"/>
                    <a:gd name="connsiteX3182" fmla="*/ 99451 w 1559298"/>
                    <a:gd name="connsiteY3182" fmla="*/ 903252 h 1261310"/>
                    <a:gd name="connsiteX3183" fmla="*/ 98346 w 1559298"/>
                    <a:gd name="connsiteY3183" fmla="*/ 904600 h 1261310"/>
                    <a:gd name="connsiteX3184" fmla="*/ 96706 w 1559298"/>
                    <a:gd name="connsiteY3184" fmla="*/ 906580 h 1261310"/>
                    <a:gd name="connsiteX3185" fmla="*/ 96986 w 1559298"/>
                    <a:gd name="connsiteY3185" fmla="*/ 909129 h 1261310"/>
                    <a:gd name="connsiteX3186" fmla="*/ 97216 w 1559298"/>
                    <a:gd name="connsiteY3186" fmla="*/ 911230 h 1261310"/>
                    <a:gd name="connsiteX3187" fmla="*/ 97277 w 1559298"/>
                    <a:gd name="connsiteY3187" fmla="*/ 911813 h 1261310"/>
                    <a:gd name="connsiteX3188" fmla="*/ 97447 w 1559298"/>
                    <a:gd name="connsiteY3188" fmla="*/ 912372 h 1261310"/>
                    <a:gd name="connsiteX3189" fmla="*/ 98188 w 1559298"/>
                    <a:gd name="connsiteY3189" fmla="*/ 914752 h 1261310"/>
                    <a:gd name="connsiteX3190" fmla="*/ 98722 w 1559298"/>
                    <a:gd name="connsiteY3190" fmla="*/ 916488 h 1261310"/>
                    <a:gd name="connsiteX3191" fmla="*/ 100119 w 1559298"/>
                    <a:gd name="connsiteY3191" fmla="*/ 917642 h 1261310"/>
                    <a:gd name="connsiteX3192" fmla="*/ 104259 w 1559298"/>
                    <a:gd name="connsiteY3192" fmla="*/ 921054 h 1261310"/>
                    <a:gd name="connsiteX3193" fmla="*/ 104369 w 1559298"/>
                    <a:gd name="connsiteY3193" fmla="*/ 921224 h 1261310"/>
                    <a:gd name="connsiteX3194" fmla="*/ 93816 w 1559298"/>
                    <a:gd name="connsiteY3194" fmla="*/ 916355 h 1261310"/>
                    <a:gd name="connsiteX3195" fmla="*/ 101661 w 1559298"/>
                    <a:gd name="connsiteY3195" fmla="*/ 931897 h 1261310"/>
                    <a:gd name="connsiteX3196" fmla="*/ 102814 w 1559298"/>
                    <a:gd name="connsiteY3196" fmla="*/ 934181 h 1261310"/>
                    <a:gd name="connsiteX3197" fmla="*/ 103191 w 1559298"/>
                    <a:gd name="connsiteY3197" fmla="*/ 934933 h 1261310"/>
                    <a:gd name="connsiteX3198" fmla="*/ 103761 w 1559298"/>
                    <a:gd name="connsiteY3198" fmla="*/ 935552 h 1261310"/>
                    <a:gd name="connsiteX3199" fmla="*/ 106554 w 1559298"/>
                    <a:gd name="connsiteY3199" fmla="*/ 938600 h 1261310"/>
                    <a:gd name="connsiteX3200" fmla="*/ 106919 w 1559298"/>
                    <a:gd name="connsiteY3200" fmla="*/ 940495 h 1261310"/>
                    <a:gd name="connsiteX3201" fmla="*/ 107089 w 1559298"/>
                    <a:gd name="connsiteY3201" fmla="*/ 941393 h 1261310"/>
                    <a:gd name="connsiteX3202" fmla="*/ 107526 w 1559298"/>
                    <a:gd name="connsiteY3202" fmla="*/ 942207 h 1261310"/>
                    <a:gd name="connsiteX3203" fmla="*/ 110173 w 1559298"/>
                    <a:gd name="connsiteY3203" fmla="*/ 947149 h 1261310"/>
                    <a:gd name="connsiteX3204" fmla="*/ 110173 w 1559298"/>
                    <a:gd name="connsiteY3204" fmla="*/ 949760 h 1261310"/>
                    <a:gd name="connsiteX3205" fmla="*/ 110173 w 1559298"/>
                    <a:gd name="connsiteY3205" fmla="*/ 951302 h 1261310"/>
                    <a:gd name="connsiteX3206" fmla="*/ 110914 w 1559298"/>
                    <a:gd name="connsiteY3206" fmla="*/ 952650 h 1261310"/>
                    <a:gd name="connsiteX3207" fmla="*/ 114265 w 1559298"/>
                    <a:gd name="connsiteY3207" fmla="*/ 958843 h 1261310"/>
                    <a:gd name="connsiteX3208" fmla="*/ 114884 w 1559298"/>
                    <a:gd name="connsiteY3208" fmla="*/ 960518 h 1261310"/>
                    <a:gd name="connsiteX3209" fmla="*/ 114933 w 1559298"/>
                    <a:gd name="connsiteY3209" fmla="*/ 961016 h 1261310"/>
                    <a:gd name="connsiteX3210" fmla="*/ 114362 w 1559298"/>
                    <a:gd name="connsiteY3210" fmla="*/ 962170 h 1261310"/>
                    <a:gd name="connsiteX3211" fmla="*/ 112881 w 1559298"/>
                    <a:gd name="connsiteY3211" fmla="*/ 965157 h 1261310"/>
                    <a:gd name="connsiteX3212" fmla="*/ 114605 w 1559298"/>
                    <a:gd name="connsiteY3212" fmla="*/ 967998 h 1261310"/>
                    <a:gd name="connsiteX3213" fmla="*/ 116584 w 1559298"/>
                    <a:gd name="connsiteY3213" fmla="*/ 971265 h 1261310"/>
                    <a:gd name="connsiteX3214" fmla="*/ 117604 w 1559298"/>
                    <a:gd name="connsiteY3214" fmla="*/ 974143 h 1261310"/>
                    <a:gd name="connsiteX3215" fmla="*/ 113172 w 1559298"/>
                    <a:gd name="connsiteY3215" fmla="*/ 975126 h 1261310"/>
                    <a:gd name="connsiteX3216" fmla="*/ 113039 w 1559298"/>
                    <a:gd name="connsiteY3216" fmla="*/ 979862 h 1261310"/>
                    <a:gd name="connsiteX3217" fmla="*/ 112990 w 1559298"/>
                    <a:gd name="connsiteY3217" fmla="*/ 981841 h 1261310"/>
                    <a:gd name="connsiteX3218" fmla="*/ 112929 w 1559298"/>
                    <a:gd name="connsiteY3218" fmla="*/ 984124 h 1261310"/>
                    <a:gd name="connsiteX3219" fmla="*/ 113658 w 1559298"/>
                    <a:gd name="connsiteY3219" fmla="*/ 984987 h 1261310"/>
                    <a:gd name="connsiteX3220" fmla="*/ 112164 w 1559298"/>
                    <a:gd name="connsiteY3220" fmla="*/ 987184 h 1261310"/>
                    <a:gd name="connsiteX3221" fmla="*/ 114945 w 1559298"/>
                    <a:gd name="connsiteY3221" fmla="*/ 990681 h 1261310"/>
                    <a:gd name="connsiteX3222" fmla="*/ 116439 w 1559298"/>
                    <a:gd name="connsiteY3222" fmla="*/ 992564 h 1261310"/>
                    <a:gd name="connsiteX3223" fmla="*/ 117277 w 1559298"/>
                    <a:gd name="connsiteY3223" fmla="*/ 993620 h 1261310"/>
                    <a:gd name="connsiteX3224" fmla="*/ 117896 w 1559298"/>
                    <a:gd name="connsiteY3224" fmla="*/ 993924 h 1261310"/>
                    <a:gd name="connsiteX3225" fmla="*/ 117774 w 1559298"/>
                    <a:gd name="connsiteY3225" fmla="*/ 994300 h 1261310"/>
                    <a:gd name="connsiteX3226" fmla="*/ 116912 w 1559298"/>
                    <a:gd name="connsiteY3226" fmla="*/ 996947 h 1261310"/>
                    <a:gd name="connsiteX3227" fmla="*/ 116669 w 1559298"/>
                    <a:gd name="connsiteY3227" fmla="*/ 997700 h 1261310"/>
                    <a:gd name="connsiteX3228" fmla="*/ 116633 w 1559298"/>
                    <a:gd name="connsiteY3228" fmla="*/ 998477 h 1261310"/>
                    <a:gd name="connsiteX3229" fmla="*/ 116463 w 1559298"/>
                    <a:gd name="connsiteY3229" fmla="*/ 1001513 h 1261310"/>
                    <a:gd name="connsiteX3230" fmla="*/ 116414 w 1559298"/>
                    <a:gd name="connsiteY3230" fmla="*/ 1002424 h 1261310"/>
                    <a:gd name="connsiteX3231" fmla="*/ 116633 w 1559298"/>
                    <a:gd name="connsiteY3231" fmla="*/ 1003298 h 1261310"/>
                    <a:gd name="connsiteX3232" fmla="*/ 117859 w 1559298"/>
                    <a:gd name="connsiteY3232" fmla="*/ 1008301 h 1261310"/>
                    <a:gd name="connsiteX3233" fmla="*/ 117847 w 1559298"/>
                    <a:gd name="connsiteY3233" fmla="*/ 1008325 h 1261310"/>
                    <a:gd name="connsiteX3234" fmla="*/ 116038 w 1559298"/>
                    <a:gd name="connsiteY3234" fmla="*/ 1010523 h 1261310"/>
                    <a:gd name="connsiteX3235" fmla="*/ 116560 w 1559298"/>
                    <a:gd name="connsiteY3235" fmla="*/ 1013316 h 1261310"/>
                    <a:gd name="connsiteX3236" fmla="*/ 117532 w 1559298"/>
                    <a:gd name="connsiteY3236" fmla="*/ 1018489 h 1261310"/>
                    <a:gd name="connsiteX3237" fmla="*/ 117641 w 1559298"/>
                    <a:gd name="connsiteY3237" fmla="*/ 1019108 h 1261310"/>
                    <a:gd name="connsiteX3238" fmla="*/ 117884 w 1559298"/>
                    <a:gd name="connsiteY3238" fmla="*/ 1019691 h 1261310"/>
                    <a:gd name="connsiteX3239" fmla="*/ 120118 w 1559298"/>
                    <a:gd name="connsiteY3239" fmla="*/ 1025083 h 1261310"/>
                    <a:gd name="connsiteX3240" fmla="*/ 120349 w 1559298"/>
                    <a:gd name="connsiteY3240" fmla="*/ 1025641 h 1261310"/>
                    <a:gd name="connsiteX3241" fmla="*/ 120677 w 1559298"/>
                    <a:gd name="connsiteY3241" fmla="*/ 1026127 h 1261310"/>
                    <a:gd name="connsiteX3242" fmla="*/ 122389 w 1559298"/>
                    <a:gd name="connsiteY3242" fmla="*/ 1028701 h 1261310"/>
                    <a:gd name="connsiteX3243" fmla="*/ 121612 w 1559298"/>
                    <a:gd name="connsiteY3243" fmla="*/ 1030935 h 1261310"/>
                    <a:gd name="connsiteX3244" fmla="*/ 121466 w 1559298"/>
                    <a:gd name="connsiteY3244" fmla="*/ 1031360 h 1261310"/>
                    <a:gd name="connsiteX3245" fmla="*/ 121381 w 1559298"/>
                    <a:gd name="connsiteY3245" fmla="*/ 1031797 h 1261310"/>
                    <a:gd name="connsiteX3246" fmla="*/ 120349 w 1559298"/>
                    <a:gd name="connsiteY3246" fmla="*/ 1037165 h 1261310"/>
                    <a:gd name="connsiteX3247" fmla="*/ 120021 w 1559298"/>
                    <a:gd name="connsiteY3247" fmla="*/ 1038877 h 1261310"/>
                    <a:gd name="connsiteX3248" fmla="*/ 120652 w 1559298"/>
                    <a:gd name="connsiteY3248" fmla="*/ 1040504 h 1261310"/>
                    <a:gd name="connsiteX3249" fmla="*/ 122656 w 1559298"/>
                    <a:gd name="connsiteY3249" fmla="*/ 1045701 h 1261310"/>
                    <a:gd name="connsiteX3250" fmla="*/ 123214 w 1559298"/>
                    <a:gd name="connsiteY3250" fmla="*/ 1047146 h 1261310"/>
                    <a:gd name="connsiteX3251" fmla="*/ 124392 w 1559298"/>
                    <a:gd name="connsiteY3251" fmla="*/ 1048142 h 1261310"/>
                    <a:gd name="connsiteX3252" fmla="*/ 126262 w 1559298"/>
                    <a:gd name="connsiteY3252" fmla="*/ 1049733 h 1261310"/>
                    <a:gd name="connsiteX3253" fmla="*/ 125655 w 1559298"/>
                    <a:gd name="connsiteY3253" fmla="*/ 1050607 h 1261310"/>
                    <a:gd name="connsiteX3254" fmla="*/ 125097 w 1559298"/>
                    <a:gd name="connsiteY3254" fmla="*/ 1051396 h 1261310"/>
                    <a:gd name="connsiteX3255" fmla="*/ 124817 w 1559298"/>
                    <a:gd name="connsiteY3255" fmla="*/ 1052319 h 1261310"/>
                    <a:gd name="connsiteX3256" fmla="*/ 124404 w 1559298"/>
                    <a:gd name="connsiteY3256" fmla="*/ 1053667 h 1261310"/>
                    <a:gd name="connsiteX3257" fmla="*/ 123894 w 1559298"/>
                    <a:gd name="connsiteY3257" fmla="*/ 1055331 h 1261310"/>
                    <a:gd name="connsiteX3258" fmla="*/ 124356 w 1559298"/>
                    <a:gd name="connsiteY3258" fmla="*/ 1057019 h 1261310"/>
                    <a:gd name="connsiteX3259" fmla="*/ 124708 w 1559298"/>
                    <a:gd name="connsiteY3259" fmla="*/ 1058306 h 1261310"/>
                    <a:gd name="connsiteX3260" fmla="*/ 124829 w 1559298"/>
                    <a:gd name="connsiteY3260" fmla="*/ 1058755 h 1261310"/>
                    <a:gd name="connsiteX3261" fmla="*/ 125024 w 1559298"/>
                    <a:gd name="connsiteY3261" fmla="*/ 1059192 h 1261310"/>
                    <a:gd name="connsiteX3262" fmla="*/ 125959 w 1559298"/>
                    <a:gd name="connsiteY3262" fmla="*/ 1061281 h 1261310"/>
                    <a:gd name="connsiteX3263" fmla="*/ 121478 w 1559298"/>
                    <a:gd name="connsiteY3263" fmla="*/ 1063697 h 1261310"/>
                    <a:gd name="connsiteX3264" fmla="*/ 125060 w 1559298"/>
                    <a:gd name="connsiteY3264" fmla="*/ 1067826 h 1261310"/>
                    <a:gd name="connsiteX3265" fmla="*/ 124125 w 1559298"/>
                    <a:gd name="connsiteY3265" fmla="*/ 1069878 h 1261310"/>
                    <a:gd name="connsiteX3266" fmla="*/ 123445 w 1559298"/>
                    <a:gd name="connsiteY3266" fmla="*/ 1071347 h 1261310"/>
                    <a:gd name="connsiteX3267" fmla="*/ 122923 w 1559298"/>
                    <a:gd name="connsiteY3267" fmla="*/ 1072476 h 1261310"/>
                    <a:gd name="connsiteX3268" fmla="*/ 122887 w 1559298"/>
                    <a:gd name="connsiteY3268" fmla="*/ 1073715 h 1261310"/>
                    <a:gd name="connsiteX3269" fmla="*/ 122765 w 1559298"/>
                    <a:gd name="connsiteY3269" fmla="*/ 1078074 h 1261310"/>
                    <a:gd name="connsiteX3270" fmla="*/ 122741 w 1559298"/>
                    <a:gd name="connsiteY3270" fmla="*/ 1078949 h 1261310"/>
                    <a:gd name="connsiteX3271" fmla="*/ 122972 w 1559298"/>
                    <a:gd name="connsiteY3271" fmla="*/ 1079787 h 1261310"/>
                    <a:gd name="connsiteX3272" fmla="*/ 123494 w 1559298"/>
                    <a:gd name="connsiteY3272" fmla="*/ 1081766 h 1261310"/>
                    <a:gd name="connsiteX3273" fmla="*/ 124149 w 1559298"/>
                    <a:gd name="connsiteY3273" fmla="*/ 1084267 h 1261310"/>
                    <a:gd name="connsiteX3274" fmla="*/ 126372 w 1559298"/>
                    <a:gd name="connsiteY3274" fmla="*/ 1085518 h 1261310"/>
                    <a:gd name="connsiteX3275" fmla="*/ 128776 w 1559298"/>
                    <a:gd name="connsiteY3275" fmla="*/ 1092342 h 1261310"/>
                    <a:gd name="connsiteX3276" fmla="*/ 130063 w 1559298"/>
                    <a:gd name="connsiteY3276" fmla="*/ 1098863 h 1261310"/>
                    <a:gd name="connsiteX3277" fmla="*/ 130318 w 1559298"/>
                    <a:gd name="connsiteY3277" fmla="*/ 1100211 h 1261310"/>
                    <a:gd name="connsiteX3278" fmla="*/ 131132 w 1559298"/>
                    <a:gd name="connsiteY3278" fmla="*/ 1101304 h 1261310"/>
                    <a:gd name="connsiteX3279" fmla="*/ 133147 w 1559298"/>
                    <a:gd name="connsiteY3279" fmla="*/ 1104012 h 1261310"/>
                    <a:gd name="connsiteX3280" fmla="*/ 133827 w 1559298"/>
                    <a:gd name="connsiteY3280" fmla="*/ 1104934 h 1261310"/>
                    <a:gd name="connsiteX3281" fmla="*/ 133912 w 1559298"/>
                    <a:gd name="connsiteY3281" fmla="*/ 1104983 h 1261310"/>
                    <a:gd name="connsiteX3282" fmla="*/ 133463 w 1559298"/>
                    <a:gd name="connsiteY3282" fmla="*/ 1105797 h 1261310"/>
                    <a:gd name="connsiteX3283" fmla="*/ 133354 w 1559298"/>
                    <a:gd name="connsiteY3283" fmla="*/ 1107060 h 1261310"/>
                    <a:gd name="connsiteX3284" fmla="*/ 133135 w 1559298"/>
                    <a:gd name="connsiteY3284" fmla="*/ 1109585 h 1261310"/>
                    <a:gd name="connsiteX3285" fmla="*/ 132759 w 1559298"/>
                    <a:gd name="connsiteY3285" fmla="*/ 1113944 h 1261310"/>
                    <a:gd name="connsiteX3286" fmla="*/ 136778 w 1559298"/>
                    <a:gd name="connsiteY3286" fmla="*/ 1115681 h 1261310"/>
                    <a:gd name="connsiteX3287" fmla="*/ 136754 w 1559298"/>
                    <a:gd name="connsiteY3287" fmla="*/ 1116167 h 1261310"/>
                    <a:gd name="connsiteX3288" fmla="*/ 136863 w 1559298"/>
                    <a:gd name="connsiteY3288" fmla="*/ 1116822 h 1261310"/>
                    <a:gd name="connsiteX3289" fmla="*/ 137033 w 1559298"/>
                    <a:gd name="connsiteY3289" fmla="*/ 1117830 h 1261310"/>
                    <a:gd name="connsiteX3290" fmla="*/ 137106 w 1559298"/>
                    <a:gd name="connsiteY3290" fmla="*/ 1118267 h 1261310"/>
                    <a:gd name="connsiteX3291" fmla="*/ 137240 w 1559298"/>
                    <a:gd name="connsiteY3291" fmla="*/ 1118680 h 1261310"/>
                    <a:gd name="connsiteX3292" fmla="*/ 142242 w 1559298"/>
                    <a:gd name="connsiteY3292" fmla="*/ 1134138 h 1261310"/>
                    <a:gd name="connsiteX3293" fmla="*/ 142983 w 1559298"/>
                    <a:gd name="connsiteY3293" fmla="*/ 1137720 h 1261310"/>
                    <a:gd name="connsiteX3294" fmla="*/ 143141 w 1559298"/>
                    <a:gd name="connsiteY3294" fmla="*/ 1138498 h 1261310"/>
                    <a:gd name="connsiteX3295" fmla="*/ 143493 w 1559298"/>
                    <a:gd name="connsiteY3295" fmla="*/ 1139214 h 1261310"/>
                    <a:gd name="connsiteX3296" fmla="*/ 144125 w 1559298"/>
                    <a:gd name="connsiteY3296" fmla="*/ 1140477 h 1261310"/>
                    <a:gd name="connsiteX3297" fmla="*/ 144440 w 1559298"/>
                    <a:gd name="connsiteY3297" fmla="*/ 1141120 h 1261310"/>
                    <a:gd name="connsiteX3298" fmla="*/ 144902 w 1559298"/>
                    <a:gd name="connsiteY3298" fmla="*/ 1141667 h 1261310"/>
                    <a:gd name="connsiteX3299" fmla="*/ 146055 w 1559298"/>
                    <a:gd name="connsiteY3299" fmla="*/ 1143039 h 1261310"/>
                    <a:gd name="connsiteX3300" fmla="*/ 147294 w 1559298"/>
                    <a:gd name="connsiteY3300" fmla="*/ 1144508 h 1261310"/>
                    <a:gd name="connsiteX3301" fmla="*/ 148484 w 1559298"/>
                    <a:gd name="connsiteY3301" fmla="*/ 1144824 h 1261310"/>
                    <a:gd name="connsiteX3302" fmla="*/ 148484 w 1559298"/>
                    <a:gd name="connsiteY3302" fmla="*/ 1149669 h 1261310"/>
                    <a:gd name="connsiteX3303" fmla="*/ 148484 w 1559298"/>
                    <a:gd name="connsiteY3303" fmla="*/ 1150082 h 1261310"/>
                    <a:gd name="connsiteX3304" fmla="*/ 148532 w 1559298"/>
                    <a:gd name="connsiteY3304" fmla="*/ 1150483 h 1261310"/>
                    <a:gd name="connsiteX3305" fmla="*/ 149795 w 1559298"/>
                    <a:gd name="connsiteY3305" fmla="*/ 1159784 h 1261310"/>
                    <a:gd name="connsiteX3306" fmla="*/ 152321 w 1559298"/>
                    <a:gd name="connsiteY3306" fmla="*/ 1159651 h 1261310"/>
                    <a:gd name="connsiteX3307" fmla="*/ 152321 w 1559298"/>
                    <a:gd name="connsiteY3307" fmla="*/ 1162541 h 1261310"/>
                    <a:gd name="connsiteX3308" fmla="*/ 151690 w 1559298"/>
                    <a:gd name="connsiteY3308" fmla="*/ 1163123 h 1261310"/>
                    <a:gd name="connsiteX3309" fmla="*/ 148824 w 1559298"/>
                    <a:gd name="connsiteY3309" fmla="*/ 1165771 h 1261310"/>
                    <a:gd name="connsiteX3310" fmla="*/ 150038 w 1559298"/>
                    <a:gd name="connsiteY3310" fmla="*/ 1169474 h 1261310"/>
                    <a:gd name="connsiteX3311" fmla="*/ 150670 w 1559298"/>
                    <a:gd name="connsiteY3311" fmla="*/ 1171393 h 1261310"/>
                    <a:gd name="connsiteX3312" fmla="*/ 151325 w 1559298"/>
                    <a:gd name="connsiteY3312" fmla="*/ 1173384 h 1261310"/>
                    <a:gd name="connsiteX3313" fmla="*/ 153062 w 1559298"/>
                    <a:gd name="connsiteY3313" fmla="*/ 1174550 h 1261310"/>
                    <a:gd name="connsiteX3314" fmla="*/ 154385 w 1559298"/>
                    <a:gd name="connsiteY3314" fmla="*/ 1175436 h 1261310"/>
                    <a:gd name="connsiteX3315" fmla="*/ 154798 w 1559298"/>
                    <a:gd name="connsiteY3315" fmla="*/ 1175703 h 1261310"/>
                    <a:gd name="connsiteX3316" fmla="*/ 154835 w 1559298"/>
                    <a:gd name="connsiteY3316" fmla="*/ 1175825 h 1261310"/>
                    <a:gd name="connsiteX3317" fmla="*/ 155454 w 1559298"/>
                    <a:gd name="connsiteY3317" fmla="*/ 1177610 h 1261310"/>
                    <a:gd name="connsiteX3318" fmla="*/ 156984 w 1559298"/>
                    <a:gd name="connsiteY3318" fmla="*/ 1178727 h 1261310"/>
                    <a:gd name="connsiteX3319" fmla="*/ 157385 w 1559298"/>
                    <a:gd name="connsiteY3319" fmla="*/ 1179019 h 1261310"/>
                    <a:gd name="connsiteX3320" fmla="*/ 157397 w 1559298"/>
                    <a:gd name="connsiteY3320" fmla="*/ 1179103 h 1261310"/>
                    <a:gd name="connsiteX3321" fmla="*/ 158077 w 1559298"/>
                    <a:gd name="connsiteY3321" fmla="*/ 1183086 h 1261310"/>
                    <a:gd name="connsiteX3322" fmla="*/ 158320 w 1559298"/>
                    <a:gd name="connsiteY3322" fmla="*/ 1184446 h 1261310"/>
                    <a:gd name="connsiteX3323" fmla="*/ 159121 w 1559298"/>
                    <a:gd name="connsiteY3323" fmla="*/ 1185588 h 1261310"/>
                    <a:gd name="connsiteX3324" fmla="*/ 162679 w 1559298"/>
                    <a:gd name="connsiteY3324" fmla="*/ 1190579 h 1261310"/>
                    <a:gd name="connsiteX3325" fmla="*/ 162983 w 1559298"/>
                    <a:gd name="connsiteY3325" fmla="*/ 1191004 h 1261310"/>
                    <a:gd name="connsiteX3326" fmla="*/ 163359 w 1559298"/>
                    <a:gd name="connsiteY3326" fmla="*/ 1191368 h 1261310"/>
                    <a:gd name="connsiteX3327" fmla="*/ 166929 w 1559298"/>
                    <a:gd name="connsiteY3327" fmla="*/ 1194901 h 1261310"/>
                    <a:gd name="connsiteX3328" fmla="*/ 177760 w 1559298"/>
                    <a:gd name="connsiteY3328" fmla="*/ 1203741 h 1261310"/>
                    <a:gd name="connsiteX3329" fmla="*/ 180238 w 1559298"/>
                    <a:gd name="connsiteY3329" fmla="*/ 1207008 h 1261310"/>
                    <a:gd name="connsiteX3330" fmla="*/ 186103 w 1559298"/>
                    <a:gd name="connsiteY3330" fmla="*/ 1218277 h 1261310"/>
                    <a:gd name="connsiteX3331" fmla="*/ 187062 w 1559298"/>
                    <a:gd name="connsiteY3331" fmla="*/ 1221507 h 1261310"/>
                    <a:gd name="connsiteX3332" fmla="*/ 186613 w 1559298"/>
                    <a:gd name="connsiteY3332" fmla="*/ 1228719 h 1261310"/>
                    <a:gd name="connsiteX3333" fmla="*/ 186564 w 1559298"/>
                    <a:gd name="connsiteY3333" fmla="*/ 1229557 h 1261310"/>
                    <a:gd name="connsiteX3334" fmla="*/ 186746 w 1559298"/>
                    <a:gd name="connsiteY3334" fmla="*/ 1230383 h 1261310"/>
                    <a:gd name="connsiteX3335" fmla="*/ 187256 w 1559298"/>
                    <a:gd name="connsiteY3335" fmla="*/ 1232702 h 1261310"/>
                    <a:gd name="connsiteX3336" fmla="*/ 187766 w 1559298"/>
                    <a:gd name="connsiteY3336" fmla="*/ 1234997 h 1261310"/>
                    <a:gd name="connsiteX3337" fmla="*/ 189697 w 1559298"/>
                    <a:gd name="connsiteY3337" fmla="*/ 1236345 h 1261310"/>
                    <a:gd name="connsiteX3338" fmla="*/ 191531 w 1559298"/>
                    <a:gd name="connsiteY3338" fmla="*/ 1237633 h 1261310"/>
                    <a:gd name="connsiteX3339" fmla="*/ 192502 w 1559298"/>
                    <a:gd name="connsiteY3339" fmla="*/ 1238325 h 1261310"/>
                    <a:gd name="connsiteX3340" fmla="*/ 193656 w 1559298"/>
                    <a:gd name="connsiteY3340" fmla="*/ 1238592 h 1261310"/>
                    <a:gd name="connsiteX3341" fmla="*/ 196703 w 1559298"/>
                    <a:gd name="connsiteY3341" fmla="*/ 1239308 h 1261310"/>
                    <a:gd name="connsiteX3342" fmla="*/ 197056 w 1559298"/>
                    <a:gd name="connsiteY3342" fmla="*/ 1239381 h 1261310"/>
                    <a:gd name="connsiteX3343" fmla="*/ 197408 w 1559298"/>
                    <a:gd name="connsiteY3343" fmla="*/ 1239430 h 1261310"/>
                    <a:gd name="connsiteX3344" fmla="*/ 200686 w 1559298"/>
                    <a:gd name="connsiteY3344" fmla="*/ 1239794 h 1261310"/>
                    <a:gd name="connsiteX3345" fmla="*/ 202654 w 1559298"/>
                    <a:gd name="connsiteY3345" fmla="*/ 1240049 h 1261310"/>
                    <a:gd name="connsiteX3346" fmla="*/ 204560 w 1559298"/>
                    <a:gd name="connsiteY3346" fmla="*/ 1240292 h 1261310"/>
                    <a:gd name="connsiteX3347" fmla="*/ 206260 w 1559298"/>
                    <a:gd name="connsiteY3347" fmla="*/ 1239405 h 1261310"/>
                    <a:gd name="connsiteX3348" fmla="*/ 209089 w 1559298"/>
                    <a:gd name="connsiteY3348" fmla="*/ 1237912 h 1261310"/>
                    <a:gd name="connsiteX3349" fmla="*/ 216751 w 1559298"/>
                    <a:gd name="connsiteY3349" fmla="*/ 1237523 h 1261310"/>
                    <a:gd name="connsiteX3350" fmla="*/ 219957 w 1559298"/>
                    <a:gd name="connsiteY3350" fmla="*/ 1237098 h 1261310"/>
                    <a:gd name="connsiteX3351" fmla="*/ 220613 w 1559298"/>
                    <a:gd name="connsiteY3351" fmla="*/ 1237001 h 1261310"/>
                    <a:gd name="connsiteX3352" fmla="*/ 221232 w 1559298"/>
                    <a:gd name="connsiteY3352" fmla="*/ 1236770 h 1261310"/>
                    <a:gd name="connsiteX3353" fmla="*/ 222786 w 1559298"/>
                    <a:gd name="connsiteY3353" fmla="*/ 1236187 h 1261310"/>
                    <a:gd name="connsiteX3354" fmla="*/ 224402 w 1559298"/>
                    <a:gd name="connsiteY3354" fmla="*/ 1235568 h 1261310"/>
                    <a:gd name="connsiteX3355" fmla="*/ 225458 w 1559298"/>
                    <a:gd name="connsiteY3355" fmla="*/ 1234208 h 1261310"/>
                    <a:gd name="connsiteX3356" fmla="*/ 225992 w 1559298"/>
                    <a:gd name="connsiteY3356" fmla="*/ 1233504 h 1261310"/>
                    <a:gd name="connsiteX3357" fmla="*/ 226017 w 1559298"/>
                    <a:gd name="connsiteY3357" fmla="*/ 1233540 h 1261310"/>
                    <a:gd name="connsiteX3358" fmla="*/ 226976 w 1559298"/>
                    <a:gd name="connsiteY3358" fmla="*/ 1234160 h 1261310"/>
                    <a:gd name="connsiteX3359" fmla="*/ 228239 w 1559298"/>
                    <a:gd name="connsiteY3359" fmla="*/ 1234961 h 1261310"/>
                    <a:gd name="connsiteX3360" fmla="*/ 228967 w 1559298"/>
                    <a:gd name="connsiteY3360" fmla="*/ 1235422 h 1261310"/>
                    <a:gd name="connsiteX3361" fmla="*/ 229793 w 1559298"/>
                    <a:gd name="connsiteY3361" fmla="*/ 1235665 h 1261310"/>
                    <a:gd name="connsiteX3362" fmla="*/ 231165 w 1559298"/>
                    <a:gd name="connsiteY3362" fmla="*/ 1236066 h 1261310"/>
                    <a:gd name="connsiteX3363" fmla="*/ 231517 w 1559298"/>
                    <a:gd name="connsiteY3363" fmla="*/ 1236175 h 1261310"/>
                    <a:gd name="connsiteX3364" fmla="*/ 231882 w 1559298"/>
                    <a:gd name="connsiteY3364" fmla="*/ 1236236 h 1261310"/>
                    <a:gd name="connsiteX3365" fmla="*/ 235439 w 1559298"/>
                    <a:gd name="connsiteY3365" fmla="*/ 1236831 h 1261310"/>
                    <a:gd name="connsiteX3366" fmla="*/ 236702 w 1559298"/>
                    <a:gd name="connsiteY3366" fmla="*/ 1237183 h 1261310"/>
                    <a:gd name="connsiteX3367" fmla="*/ 236824 w 1559298"/>
                    <a:gd name="connsiteY3367" fmla="*/ 1237256 h 1261310"/>
                    <a:gd name="connsiteX3368" fmla="*/ 237042 w 1559298"/>
                    <a:gd name="connsiteY3368" fmla="*/ 1237523 h 1261310"/>
                    <a:gd name="connsiteX3369" fmla="*/ 237346 w 1559298"/>
                    <a:gd name="connsiteY3369" fmla="*/ 1238313 h 1261310"/>
                    <a:gd name="connsiteX3370" fmla="*/ 239544 w 1559298"/>
                    <a:gd name="connsiteY3370" fmla="*/ 1247845 h 1261310"/>
                    <a:gd name="connsiteX3371" fmla="*/ 239702 w 1559298"/>
                    <a:gd name="connsiteY3371" fmla="*/ 1248525 h 1261310"/>
                    <a:gd name="connsiteX3372" fmla="*/ 240005 w 1559298"/>
                    <a:gd name="connsiteY3372" fmla="*/ 1249156 h 1261310"/>
                    <a:gd name="connsiteX3373" fmla="*/ 241329 w 1559298"/>
                    <a:gd name="connsiteY3373" fmla="*/ 1251864 h 1261310"/>
                    <a:gd name="connsiteX3374" fmla="*/ 241693 w 1559298"/>
                    <a:gd name="connsiteY3374" fmla="*/ 1252605 h 1261310"/>
                    <a:gd name="connsiteX3375" fmla="*/ 242239 w 1559298"/>
                    <a:gd name="connsiteY3375" fmla="*/ 1253224 h 1261310"/>
                    <a:gd name="connsiteX3376" fmla="*/ 244243 w 1559298"/>
                    <a:gd name="connsiteY3376" fmla="*/ 1255495 h 1261310"/>
                    <a:gd name="connsiteX3377" fmla="*/ 244790 w 1559298"/>
                    <a:gd name="connsiteY3377" fmla="*/ 1256126 h 1261310"/>
                    <a:gd name="connsiteX3378" fmla="*/ 245482 w 1559298"/>
                    <a:gd name="connsiteY3378" fmla="*/ 1256575 h 1261310"/>
                    <a:gd name="connsiteX3379" fmla="*/ 249562 w 1559298"/>
                    <a:gd name="connsiteY3379" fmla="*/ 1259222 h 1261310"/>
                    <a:gd name="connsiteX3380" fmla="*/ 250375 w 1559298"/>
                    <a:gd name="connsiteY3380" fmla="*/ 1259745 h 1261310"/>
                    <a:gd name="connsiteX3381" fmla="*/ 251310 w 1559298"/>
                    <a:gd name="connsiteY3381" fmla="*/ 1260000 h 1261310"/>
                    <a:gd name="connsiteX3382" fmla="*/ 254127 w 1559298"/>
                    <a:gd name="connsiteY3382" fmla="*/ 1260753 h 1261310"/>
                    <a:gd name="connsiteX3383" fmla="*/ 254540 w 1559298"/>
                    <a:gd name="connsiteY3383" fmla="*/ 1260862 h 1261310"/>
                    <a:gd name="connsiteX3384" fmla="*/ 254953 w 1559298"/>
                    <a:gd name="connsiteY3384" fmla="*/ 1260910 h 1261310"/>
                    <a:gd name="connsiteX3385" fmla="*/ 257017 w 1559298"/>
                    <a:gd name="connsiteY3385" fmla="*/ 1261165 h 1261310"/>
                    <a:gd name="connsiteX3386" fmla="*/ 258220 w 1559298"/>
                    <a:gd name="connsiteY3386" fmla="*/ 1261311 h 1261310"/>
                    <a:gd name="connsiteX3387" fmla="*/ 259385 w 1559298"/>
                    <a:gd name="connsiteY3387" fmla="*/ 1260995 h 1261310"/>
                    <a:gd name="connsiteX3388" fmla="*/ 261729 w 1559298"/>
                    <a:gd name="connsiteY3388" fmla="*/ 1260340 h 1261310"/>
                    <a:gd name="connsiteX3389" fmla="*/ 262032 w 1559298"/>
                    <a:gd name="connsiteY3389" fmla="*/ 1260255 h 1261310"/>
                    <a:gd name="connsiteX3390" fmla="*/ 262324 w 1559298"/>
                    <a:gd name="connsiteY3390" fmla="*/ 1260133 h 1261310"/>
                    <a:gd name="connsiteX3391" fmla="*/ 272281 w 1559298"/>
                    <a:gd name="connsiteY3391" fmla="*/ 1256199 h 1261310"/>
                    <a:gd name="connsiteX3392" fmla="*/ 278535 w 1559298"/>
                    <a:gd name="connsiteY3392" fmla="*/ 1256077 h 1261310"/>
                    <a:gd name="connsiteX3393" fmla="*/ 284983 w 1559298"/>
                    <a:gd name="connsiteY3393" fmla="*/ 1255944 h 1261310"/>
                    <a:gd name="connsiteX3394" fmla="*/ 284473 w 1559298"/>
                    <a:gd name="connsiteY3394" fmla="*/ 1249520 h 1261310"/>
                    <a:gd name="connsiteX3395" fmla="*/ 284254 w 1559298"/>
                    <a:gd name="connsiteY3395" fmla="*/ 1246849 h 1261310"/>
                    <a:gd name="connsiteX3396" fmla="*/ 284813 w 1559298"/>
                    <a:gd name="connsiteY3396" fmla="*/ 1246315 h 1261310"/>
                    <a:gd name="connsiteX3397" fmla="*/ 285456 w 1559298"/>
                    <a:gd name="connsiteY3397" fmla="*/ 1245683 h 1261310"/>
                    <a:gd name="connsiteX3398" fmla="*/ 285893 w 1559298"/>
                    <a:gd name="connsiteY3398" fmla="*/ 1244918 h 1261310"/>
                    <a:gd name="connsiteX3399" fmla="*/ 286755 w 1559298"/>
                    <a:gd name="connsiteY3399" fmla="*/ 1243388 h 1261310"/>
                    <a:gd name="connsiteX3400" fmla="*/ 287035 w 1559298"/>
                    <a:gd name="connsiteY3400" fmla="*/ 1242878 h 1261310"/>
                    <a:gd name="connsiteX3401" fmla="*/ 287217 w 1559298"/>
                    <a:gd name="connsiteY3401" fmla="*/ 1242320 h 1261310"/>
                    <a:gd name="connsiteX3402" fmla="*/ 288358 w 1559298"/>
                    <a:gd name="connsiteY3402" fmla="*/ 1238859 h 1261310"/>
                    <a:gd name="connsiteX3403" fmla="*/ 289682 w 1559298"/>
                    <a:gd name="connsiteY3403" fmla="*/ 1237232 h 1261310"/>
                    <a:gd name="connsiteX3404" fmla="*/ 293786 w 1559298"/>
                    <a:gd name="connsiteY3404" fmla="*/ 1234050 h 1261310"/>
                    <a:gd name="connsiteX3405" fmla="*/ 294393 w 1559298"/>
                    <a:gd name="connsiteY3405" fmla="*/ 1236552 h 1261310"/>
                    <a:gd name="connsiteX3406" fmla="*/ 296919 w 1559298"/>
                    <a:gd name="connsiteY3406" fmla="*/ 1238288 h 1261310"/>
                    <a:gd name="connsiteX3407" fmla="*/ 297502 w 1559298"/>
                    <a:gd name="connsiteY3407" fmla="*/ 1238592 h 1261310"/>
                    <a:gd name="connsiteX3408" fmla="*/ 298097 w 1559298"/>
                    <a:gd name="connsiteY3408" fmla="*/ 1238907 h 1261310"/>
                    <a:gd name="connsiteX3409" fmla="*/ 298753 w 1559298"/>
                    <a:gd name="connsiteY3409" fmla="*/ 1239090 h 1261310"/>
                    <a:gd name="connsiteX3410" fmla="*/ 299846 w 1559298"/>
                    <a:gd name="connsiteY3410" fmla="*/ 1239381 h 1261310"/>
                    <a:gd name="connsiteX3411" fmla="*/ 300623 w 1559298"/>
                    <a:gd name="connsiteY3411" fmla="*/ 1239600 h 1261310"/>
                    <a:gd name="connsiteX3412" fmla="*/ 301436 w 1559298"/>
                    <a:gd name="connsiteY3412" fmla="*/ 1239600 h 1261310"/>
                    <a:gd name="connsiteX3413" fmla="*/ 307520 w 1559298"/>
                    <a:gd name="connsiteY3413" fmla="*/ 1239600 h 1261310"/>
                    <a:gd name="connsiteX3414" fmla="*/ 307993 w 1559298"/>
                    <a:gd name="connsiteY3414" fmla="*/ 1239600 h 1261310"/>
                    <a:gd name="connsiteX3415" fmla="*/ 308455 w 1559298"/>
                    <a:gd name="connsiteY3415" fmla="*/ 1239527 h 1261310"/>
                    <a:gd name="connsiteX3416" fmla="*/ 313276 w 1559298"/>
                    <a:gd name="connsiteY3416" fmla="*/ 1238774 h 1261310"/>
                    <a:gd name="connsiteX3417" fmla="*/ 313907 w 1559298"/>
                    <a:gd name="connsiteY3417" fmla="*/ 1238677 h 1261310"/>
                    <a:gd name="connsiteX3418" fmla="*/ 314502 w 1559298"/>
                    <a:gd name="connsiteY3418" fmla="*/ 1238446 h 1261310"/>
                    <a:gd name="connsiteX3419" fmla="*/ 316785 w 1559298"/>
                    <a:gd name="connsiteY3419" fmla="*/ 1237584 h 1261310"/>
                    <a:gd name="connsiteX3420" fmla="*/ 317101 w 1559298"/>
                    <a:gd name="connsiteY3420" fmla="*/ 1237462 h 1261310"/>
                    <a:gd name="connsiteX3421" fmla="*/ 317404 w 1559298"/>
                    <a:gd name="connsiteY3421" fmla="*/ 1237292 h 1261310"/>
                    <a:gd name="connsiteX3422" fmla="*/ 319371 w 1559298"/>
                    <a:gd name="connsiteY3422" fmla="*/ 1236285 h 1261310"/>
                    <a:gd name="connsiteX3423" fmla="*/ 319869 w 1559298"/>
                    <a:gd name="connsiteY3423" fmla="*/ 1236029 h 1261310"/>
                    <a:gd name="connsiteX3424" fmla="*/ 320306 w 1559298"/>
                    <a:gd name="connsiteY3424" fmla="*/ 1235690 h 1261310"/>
                    <a:gd name="connsiteX3425" fmla="*/ 323573 w 1559298"/>
                    <a:gd name="connsiteY3425" fmla="*/ 1233164 h 1261310"/>
                    <a:gd name="connsiteX3426" fmla="*/ 323852 w 1559298"/>
                    <a:gd name="connsiteY3426" fmla="*/ 1232945 h 1261310"/>
                    <a:gd name="connsiteX3427" fmla="*/ 324107 w 1559298"/>
                    <a:gd name="connsiteY3427" fmla="*/ 1232690 h 1261310"/>
                    <a:gd name="connsiteX3428" fmla="*/ 325904 w 1559298"/>
                    <a:gd name="connsiteY3428" fmla="*/ 1230930 h 1261310"/>
                    <a:gd name="connsiteX3429" fmla="*/ 326378 w 1559298"/>
                    <a:gd name="connsiteY3429" fmla="*/ 1230468 h 1261310"/>
                    <a:gd name="connsiteX3430" fmla="*/ 326742 w 1559298"/>
                    <a:gd name="connsiteY3430" fmla="*/ 1229909 h 1261310"/>
                    <a:gd name="connsiteX3431" fmla="*/ 330179 w 1559298"/>
                    <a:gd name="connsiteY3431" fmla="*/ 1224627 h 1261310"/>
                    <a:gd name="connsiteX3432" fmla="*/ 334174 w 1559298"/>
                    <a:gd name="connsiteY3432" fmla="*/ 1217147 h 1261310"/>
                    <a:gd name="connsiteX3433" fmla="*/ 334356 w 1559298"/>
                    <a:gd name="connsiteY3433" fmla="*/ 1216807 h 1261310"/>
                    <a:gd name="connsiteX3434" fmla="*/ 334502 w 1559298"/>
                    <a:gd name="connsiteY3434" fmla="*/ 1216443 h 1261310"/>
                    <a:gd name="connsiteX3435" fmla="*/ 335206 w 1559298"/>
                    <a:gd name="connsiteY3435" fmla="*/ 1214585 h 1261310"/>
                    <a:gd name="connsiteX3436" fmla="*/ 335874 w 1559298"/>
                    <a:gd name="connsiteY3436" fmla="*/ 1212800 h 1261310"/>
                    <a:gd name="connsiteX3437" fmla="*/ 335400 w 1559298"/>
                    <a:gd name="connsiteY3437" fmla="*/ 1210955 h 1261310"/>
                    <a:gd name="connsiteX3438" fmla="*/ 334939 w 1559298"/>
                    <a:gd name="connsiteY3438" fmla="*/ 1209181 h 1261310"/>
                    <a:gd name="connsiteX3439" fmla="*/ 334647 w 1559298"/>
                    <a:gd name="connsiteY3439" fmla="*/ 1208052 h 1261310"/>
                    <a:gd name="connsiteX3440" fmla="*/ 333955 w 1559298"/>
                    <a:gd name="connsiteY3440" fmla="*/ 1207105 h 1261310"/>
                    <a:gd name="connsiteX3441" fmla="*/ 333154 w 1559298"/>
                    <a:gd name="connsiteY3441" fmla="*/ 1206000 h 1261310"/>
                    <a:gd name="connsiteX3442" fmla="*/ 336056 w 1559298"/>
                    <a:gd name="connsiteY3442" fmla="*/ 1202187 h 1261310"/>
                    <a:gd name="connsiteX3443" fmla="*/ 336408 w 1559298"/>
                    <a:gd name="connsiteY3443" fmla="*/ 1201726 h 1261310"/>
                    <a:gd name="connsiteX3444" fmla="*/ 336663 w 1559298"/>
                    <a:gd name="connsiteY3444" fmla="*/ 1201204 h 1261310"/>
                    <a:gd name="connsiteX3445" fmla="*/ 339966 w 1559298"/>
                    <a:gd name="connsiteY3445" fmla="*/ 1194525 h 1261310"/>
                    <a:gd name="connsiteX3446" fmla="*/ 342067 w 1559298"/>
                    <a:gd name="connsiteY3446" fmla="*/ 1191477 h 1261310"/>
                    <a:gd name="connsiteX3447" fmla="*/ 343876 w 1559298"/>
                    <a:gd name="connsiteY3447" fmla="*/ 1188344 h 1261310"/>
                    <a:gd name="connsiteX3448" fmla="*/ 344082 w 1559298"/>
                    <a:gd name="connsiteY3448" fmla="*/ 1187992 h 1261310"/>
                    <a:gd name="connsiteX3449" fmla="*/ 344240 w 1559298"/>
                    <a:gd name="connsiteY3449" fmla="*/ 1187604 h 1261310"/>
                    <a:gd name="connsiteX3450" fmla="*/ 345564 w 1559298"/>
                    <a:gd name="connsiteY3450" fmla="*/ 1184301 h 1261310"/>
                    <a:gd name="connsiteX3451" fmla="*/ 345819 w 1559298"/>
                    <a:gd name="connsiteY3451" fmla="*/ 1183657 h 1261310"/>
                    <a:gd name="connsiteX3452" fmla="*/ 345928 w 1559298"/>
                    <a:gd name="connsiteY3452" fmla="*/ 1182977 h 1261310"/>
                    <a:gd name="connsiteX3453" fmla="*/ 346681 w 1559298"/>
                    <a:gd name="connsiteY3453" fmla="*/ 1178205 h 1261310"/>
                    <a:gd name="connsiteX3454" fmla="*/ 346742 w 1559298"/>
                    <a:gd name="connsiteY3454" fmla="*/ 1177804 h 1261310"/>
                    <a:gd name="connsiteX3455" fmla="*/ 346754 w 1559298"/>
                    <a:gd name="connsiteY3455" fmla="*/ 1177404 h 1261310"/>
                    <a:gd name="connsiteX3456" fmla="*/ 346815 w 1559298"/>
                    <a:gd name="connsiteY3456" fmla="*/ 1174878 h 1261310"/>
                    <a:gd name="connsiteX3457" fmla="*/ 346827 w 1559298"/>
                    <a:gd name="connsiteY3457" fmla="*/ 1174186 h 1261310"/>
                    <a:gd name="connsiteX3458" fmla="*/ 346693 w 1559298"/>
                    <a:gd name="connsiteY3458" fmla="*/ 1173518 h 1261310"/>
                    <a:gd name="connsiteX3459" fmla="*/ 346341 w 1559298"/>
                    <a:gd name="connsiteY3459" fmla="*/ 1171769 h 1261310"/>
                    <a:gd name="connsiteX3460" fmla="*/ 346086 w 1559298"/>
                    <a:gd name="connsiteY3460" fmla="*/ 1170506 h 1261310"/>
                    <a:gd name="connsiteX3461" fmla="*/ 345357 w 1559298"/>
                    <a:gd name="connsiteY3461" fmla="*/ 1169474 h 1261310"/>
                    <a:gd name="connsiteX3462" fmla="*/ 344787 w 1559298"/>
                    <a:gd name="connsiteY3462" fmla="*/ 1168673 h 1261310"/>
                    <a:gd name="connsiteX3463" fmla="*/ 344447 w 1559298"/>
                    <a:gd name="connsiteY3463" fmla="*/ 1168187 h 1261310"/>
                    <a:gd name="connsiteX3464" fmla="*/ 345442 w 1559298"/>
                    <a:gd name="connsiteY3464" fmla="*/ 1168163 h 1261310"/>
                    <a:gd name="connsiteX3465" fmla="*/ 347057 w 1559298"/>
                    <a:gd name="connsiteY3465" fmla="*/ 1168114 h 1261310"/>
                    <a:gd name="connsiteX3466" fmla="*/ 348442 w 1559298"/>
                    <a:gd name="connsiteY3466" fmla="*/ 1167276 h 1261310"/>
                    <a:gd name="connsiteX3467" fmla="*/ 349765 w 1559298"/>
                    <a:gd name="connsiteY3467" fmla="*/ 1166475 h 1261310"/>
                    <a:gd name="connsiteX3468" fmla="*/ 351016 w 1559298"/>
                    <a:gd name="connsiteY3468" fmla="*/ 1165722 h 1261310"/>
                    <a:gd name="connsiteX3469" fmla="*/ 351781 w 1559298"/>
                    <a:gd name="connsiteY3469" fmla="*/ 1164483 h 1261310"/>
                    <a:gd name="connsiteX3470" fmla="*/ 352752 w 1559298"/>
                    <a:gd name="connsiteY3470" fmla="*/ 1162905 h 1261310"/>
                    <a:gd name="connsiteX3471" fmla="*/ 353432 w 1559298"/>
                    <a:gd name="connsiteY3471" fmla="*/ 1161800 h 1261310"/>
                    <a:gd name="connsiteX3472" fmla="*/ 353602 w 1559298"/>
                    <a:gd name="connsiteY3472" fmla="*/ 1160525 h 1261310"/>
                    <a:gd name="connsiteX3473" fmla="*/ 354064 w 1559298"/>
                    <a:gd name="connsiteY3473" fmla="*/ 1157052 h 1261310"/>
                    <a:gd name="connsiteX3474" fmla="*/ 354137 w 1559298"/>
                    <a:gd name="connsiteY3474" fmla="*/ 1156518 h 1261310"/>
                    <a:gd name="connsiteX3475" fmla="*/ 354112 w 1559298"/>
                    <a:gd name="connsiteY3475" fmla="*/ 1155983 h 1261310"/>
                    <a:gd name="connsiteX3476" fmla="*/ 353857 w 1559298"/>
                    <a:gd name="connsiteY3476" fmla="*/ 1150106 h 1261310"/>
                    <a:gd name="connsiteX3477" fmla="*/ 354877 w 1559298"/>
                    <a:gd name="connsiteY3477" fmla="*/ 1142626 h 1261310"/>
                    <a:gd name="connsiteX3478" fmla="*/ 354938 w 1559298"/>
                    <a:gd name="connsiteY3478" fmla="*/ 1142153 h 1261310"/>
                    <a:gd name="connsiteX3479" fmla="*/ 354926 w 1559298"/>
                    <a:gd name="connsiteY3479" fmla="*/ 1141679 h 1261310"/>
                    <a:gd name="connsiteX3480" fmla="*/ 354865 w 1559298"/>
                    <a:gd name="connsiteY3480" fmla="*/ 1138898 h 1261310"/>
                    <a:gd name="connsiteX3481" fmla="*/ 354853 w 1559298"/>
                    <a:gd name="connsiteY3481" fmla="*/ 1138364 h 1261310"/>
                    <a:gd name="connsiteX3482" fmla="*/ 354744 w 1559298"/>
                    <a:gd name="connsiteY3482" fmla="*/ 1137842 h 1261310"/>
                    <a:gd name="connsiteX3483" fmla="*/ 354343 w 1559298"/>
                    <a:gd name="connsiteY3483" fmla="*/ 1135814 h 1261310"/>
                    <a:gd name="connsiteX3484" fmla="*/ 354246 w 1559298"/>
                    <a:gd name="connsiteY3484" fmla="*/ 1135316 h 1261310"/>
                    <a:gd name="connsiteX3485" fmla="*/ 354064 w 1559298"/>
                    <a:gd name="connsiteY3485" fmla="*/ 1134843 h 1261310"/>
                    <a:gd name="connsiteX3486" fmla="*/ 353493 w 1559298"/>
                    <a:gd name="connsiteY3486" fmla="*/ 1133349 h 1261310"/>
                    <a:gd name="connsiteX3487" fmla="*/ 353250 w 1559298"/>
                    <a:gd name="connsiteY3487" fmla="*/ 1132693 h 1261310"/>
                    <a:gd name="connsiteX3488" fmla="*/ 352862 w 1559298"/>
                    <a:gd name="connsiteY3488" fmla="*/ 1132123 h 1261310"/>
                    <a:gd name="connsiteX3489" fmla="*/ 351999 w 1559298"/>
                    <a:gd name="connsiteY3489" fmla="*/ 1130835 h 1261310"/>
                    <a:gd name="connsiteX3490" fmla="*/ 351647 w 1559298"/>
                    <a:gd name="connsiteY3490" fmla="*/ 1130313 h 1261310"/>
                    <a:gd name="connsiteX3491" fmla="*/ 351198 w 1559298"/>
                    <a:gd name="connsiteY3491" fmla="*/ 1129876 h 1261310"/>
                    <a:gd name="connsiteX3492" fmla="*/ 349814 w 1559298"/>
                    <a:gd name="connsiteY3492" fmla="*/ 1128528 h 1261310"/>
                    <a:gd name="connsiteX3493" fmla="*/ 349389 w 1559298"/>
                    <a:gd name="connsiteY3493" fmla="*/ 1128115 h 1261310"/>
                    <a:gd name="connsiteX3494" fmla="*/ 348891 w 1559298"/>
                    <a:gd name="connsiteY3494" fmla="*/ 1127799 h 1261310"/>
                    <a:gd name="connsiteX3495" fmla="*/ 347567 w 1559298"/>
                    <a:gd name="connsiteY3495" fmla="*/ 1126938 h 1261310"/>
                    <a:gd name="connsiteX3496" fmla="*/ 347203 w 1559298"/>
                    <a:gd name="connsiteY3496" fmla="*/ 1126683 h 1261310"/>
                    <a:gd name="connsiteX3497" fmla="*/ 346802 w 1559298"/>
                    <a:gd name="connsiteY3497" fmla="*/ 1126500 h 1261310"/>
                    <a:gd name="connsiteX3498" fmla="*/ 330725 w 1559298"/>
                    <a:gd name="connsiteY3498" fmla="*/ 1119020 h 1261310"/>
                    <a:gd name="connsiteX3499" fmla="*/ 330227 w 1559298"/>
                    <a:gd name="connsiteY3499" fmla="*/ 1118778 h 1261310"/>
                    <a:gd name="connsiteX3500" fmla="*/ 329693 w 1559298"/>
                    <a:gd name="connsiteY3500" fmla="*/ 1118644 h 1261310"/>
                    <a:gd name="connsiteX3501" fmla="*/ 328551 w 1559298"/>
                    <a:gd name="connsiteY3501" fmla="*/ 1118352 h 1261310"/>
                    <a:gd name="connsiteX3502" fmla="*/ 327434 w 1559298"/>
                    <a:gd name="connsiteY3502" fmla="*/ 1118061 h 1261310"/>
                    <a:gd name="connsiteX3503" fmla="*/ 326293 w 1559298"/>
                    <a:gd name="connsiteY3503" fmla="*/ 1118207 h 1261310"/>
                    <a:gd name="connsiteX3504" fmla="*/ 325783 w 1559298"/>
                    <a:gd name="connsiteY3504" fmla="*/ 1118267 h 1261310"/>
                    <a:gd name="connsiteX3505" fmla="*/ 325783 w 1559298"/>
                    <a:gd name="connsiteY3505" fmla="*/ 1118000 h 1261310"/>
                    <a:gd name="connsiteX3506" fmla="*/ 325419 w 1559298"/>
                    <a:gd name="connsiteY3506" fmla="*/ 1117005 h 1261310"/>
                    <a:gd name="connsiteX3507" fmla="*/ 325139 w 1559298"/>
                    <a:gd name="connsiteY3507" fmla="*/ 1116239 h 1261310"/>
                    <a:gd name="connsiteX3508" fmla="*/ 324909 w 1559298"/>
                    <a:gd name="connsiteY3508" fmla="*/ 1115608 h 1261310"/>
                    <a:gd name="connsiteX3509" fmla="*/ 324557 w 1559298"/>
                    <a:gd name="connsiteY3509" fmla="*/ 1115050 h 1261310"/>
                    <a:gd name="connsiteX3510" fmla="*/ 323403 w 1559298"/>
                    <a:gd name="connsiteY3510" fmla="*/ 1113240 h 1261310"/>
                    <a:gd name="connsiteX3511" fmla="*/ 323063 w 1559298"/>
                    <a:gd name="connsiteY3511" fmla="*/ 1112548 h 1261310"/>
                    <a:gd name="connsiteX3512" fmla="*/ 323755 w 1559298"/>
                    <a:gd name="connsiteY3512" fmla="*/ 1112487 h 1261310"/>
                    <a:gd name="connsiteX3513" fmla="*/ 325674 w 1559298"/>
                    <a:gd name="connsiteY3513" fmla="*/ 1112147 h 1261310"/>
                    <a:gd name="connsiteX3514" fmla="*/ 326633 w 1559298"/>
                    <a:gd name="connsiteY3514" fmla="*/ 1111965 h 1261310"/>
                    <a:gd name="connsiteX3515" fmla="*/ 327483 w 1559298"/>
                    <a:gd name="connsiteY3515" fmla="*/ 1111492 h 1261310"/>
                    <a:gd name="connsiteX3516" fmla="*/ 328467 w 1559298"/>
                    <a:gd name="connsiteY3516" fmla="*/ 1110945 h 1261310"/>
                    <a:gd name="connsiteX3517" fmla="*/ 329183 w 1559298"/>
                    <a:gd name="connsiteY3517" fmla="*/ 1110544 h 1261310"/>
                    <a:gd name="connsiteX3518" fmla="*/ 329766 w 1559298"/>
                    <a:gd name="connsiteY3518" fmla="*/ 1109974 h 1261310"/>
                    <a:gd name="connsiteX3519" fmla="*/ 330616 w 1559298"/>
                    <a:gd name="connsiteY3519" fmla="*/ 1109148 h 1261310"/>
                    <a:gd name="connsiteX3520" fmla="*/ 331915 w 1559298"/>
                    <a:gd name="connsiteY3520" fmla="*/ 1107885 h 1261310"/>
                    <a:gd name="connsiteX3521" fmla="*/ 332304 w 1559298"/>
                    <a:gd name="connsiteY3521" fmla="*/ 1106100 h 1261310"/>
                    <a:gd name="connsiteX3522" fmla="*/ 332534 w 1559298"/>
                    <a:gd name="connsiteY3522" fmla="*/ 1105031 h 1261310"/>
                    <a:gd name="connsiteX3523" fmla="*/ 332971 w 1559298"/>
                    <a:gd name="connsiteY3523" fmla="*/ 1103016 h 1261310"/>
                    <a:gd name="connsiteX3524" fmla="*/ 332085 w 1559298"/>
                    <a:gd name="connsiteY3524" fmla="*/ 1101146 h 1261310"/>
                    <a:gd name="connsiteX3525" fmla="*/ 331745 w 1559298"/>
                    <a:gd name="connsiteY3525" fmla="*/ 1100429 h 1261310"/>
                    <a:gd name="connsiteX3526" fmla="*/ 331077 w 1559298"/>
                    <a:gd name="connsiteY3526" fmla="*/ 1099045 h 1261310"/>
                    <a:gd name="connsiteX3527" fmla="*/ 329827 w 1559298"/>
                    <a:gd name="connsiteY3527" fmla="*/ 1098134 h 1261310"/>
                    <a:gd name="connsiteX3528" fmla="*/ 329195 w 1559298"/>
                    <a:gd name="connsiteY3528" fmla="*/ 1097673 h 1261310"/>
                    <a:gd name="connsiteX3529" fmla="*/ 328637 w 1559298"/>
                    <a:gd name="connsiteY3529" fmla="*/ 1097272 h 1261310"/>
                    <a:gd name="connsiteX3530" fmla="*/ 327993 w 1559298"/>
                    <a:gd name="connsiteY3530" fmla="*/ 1097005 h 1261310"/>
                    <a:gd name="connsiteX3531" fmla="*/ 325698 w 1559298"/>
                    <a:gd name="connsiteY3531" fmla="*/ 1096034 h 1261310"/>
                    <a:gd name="connsiteX3532" fmla="*/ 325358 w 1559298"/>
                    <a:gd name="connsiteY3532" fmla="*/ 1095827 h 1261310"/>
                    <a:gd name="connsiteX3533" fmla="*/ 325321 w 1559298"/>
                    <a:gd name="connsiteY3533" fmla="*/ 1095050 h 1261310"/>
                    <a:gd name="connsiteX3534" fmla="*/ 325309 w 1559298"/>
                    <a:gd name="connsiteY3534" fmla="*/ 1094661 h 1261310"/>
                    <a:gd name="connsiteX3535" fmla="*/ 325249 w 1559298"/>
                    <a:gd name="connsiteY3535" fmla="*/ 1094285 h 1261310"/>
                    <a:gd name="connsiteX3536" fmla="*/ 325018 w 1559298"/>
                    <a:gd name="connsiteY3536" fmla="*/ 1092937 h 1261310"/>
                    <a:gd name="connsiteX3537" fmla="*/ 324824 w 1559298"/>
                    <a:gd name="connsiteY3537" fmla="*/ 1091820 h 1261310"/>
                    <a:gd name="connsiteX3538" fmla="*/ 324241 w 1559298"/>
                    <a:gd name="connsiteY3538" fmla="*/ 1090849 h 1261310"/>
                    <a:gd name="connsiteX3539" fmla="*/ 323731 w 1559298"/>
                    <a:gd name="connsiteY3539" fmla="*/ 1089999 h 1261310"/>
                    <a:gd name="connsiteX3540" fmla="*/ 323124 w 1559298"/>
                    <a:gd name="connsiteY3540" fmla="*/ 1088966 h 1261310"/>
                    <a:gd name="connsiteX3541" fmla="*/ 322176 w 1559298"/>
                    <a:gd name="connsiteY3541" fmla="*/ 1088250 h 1261310"/>
                    <a:gd name="connsiteX3542" fmla="*/ 321472 w 1559298"/>
                    <a:gd name="connsiteY3542" fmla="*/ 1087728 h 1261310"/>
                    <a:gd name="connsiteX3543" fmla="*/ 319930 w 1559298"/>
                    <a:gd name="connsiteY3543" fmla="*/ 1086562 h 1261310"/>
                    <a:gd name="connsiteX3544" fmla="*/ 317999 w 1559298"/>
                    <a:gd name="connsiteY3544" fmla="*/ 1086501 h 1261310"/>
                    <a:gd name="connsiteX3545" fmla="*/ 317198 w 1559298"/>
                    <a:gd name="connsiteY3545" fmla="*/ 1086477 h 1261310"/>
                    <a:gd name="connsiteX3546" fmla="*/ 316688 w 1559298"/>
                    <a:gd name="connsiteY3546" fmla="*/ 1086465 h 1261310"/>
                    <a:gd name="connsiteX3547" fmla="*/ 316627 w 1559298"/>
                    <a:gd name="connsiteY3547" fmla="*/ 1086477 h 1261310"/>
                    <a:gd name="connsiteX3548" fmla="*/ 316421 w 1559298"/>
                    <a:gd name="connsiteY3548" fmla="*/ 1085482 h 1261310"/>
                    <a:gd name="connsiteX3549" fmla="*/ 316311 w 1559298"/>
                    <a:gd name="connsiteY3549" fmla="*/ 1084935 h 1261310"/>
                    <a:gd name="connsiteX3550" fmla="*/ 317429 w 1559298"/>
                    <a:gd name="connsiteY3550" fmla="*/ 1084631 h 1261310"/>
                    <a:gd name="connsiteX3551" fmla="*/ 318534 w 1559298"/>
                    <a:gd name="connsiteY3551" fmla="*/ 1083551 h 1261310"/>
                    <a:gd name="connsiteX3552" fmla="*/ 319626 w 1559298"/>
                    <a:gd name="connsiteY3552" fmla="*/ 1082482 h 1261310"/>
                    <a:gd name="connsiteX3553" fmla="*/ 320234 w 1559298"/>
                    <a:gd name="connsiteY3553" fmla="*/ 1081887 h 1261310"/>
                    <a:gd name="connsiteX3554" fmla="*/ 320452 w 1559298"/>
                    <a:gd name="connsiteY3554" fmla="*/ 1081511 h 1261310"/>
                    <a:gd name="connsiteX3555" fmla="*/ 321047 w 1559298"/>
                    <a:gd name="connsiteY3555" fmla="*/ 1081766 h 1261310"/>
                    <a:gd name="connsiteX3556" fmla="*/ 322249 w 1559298"/>
                    <a:gd name="connsiteY3556" fmla="*/ 1082252 h 1261310"/>
                    <a:gd name="connsiteX3557" fmla="*/ 324192 w 1559298"/>
                    <a:gd name="connsiteY3557" fmla="*/ 1083029 h 1261310"/>
                    <a:gd name="connsiteX3558" fmla="*/ 326196 w 1559298"/>
                    <a:gd name="connsiteY3558" fmla="*/ 1082446 h 1261310"/>
                    <a:gd name="connsiteX3559" fmla="*/ 327398 w 1559298"/>
                    <a:gd name="connsiteY3559" fmla="*/ 1082106 h 1261310"/>
                    <a:gd name="connsiteX3560" fmla="*/ 328879 w 1559298"/>
                    <a:gd name="connsiteY3560" fmla="*/ 1081693 h 1261310"/>
                    <a:gd name="connsiteX3561" fmla="*/ 329972 w 1559298"/>
                    <a:gd name="connsiteY3561" fmla="*/ 1080612 h 1261310"/>
                    <a:gd name="connsiteX3562" fmla="*/ 331296 w 1559298"/>
                    <a:gd name="connsiteY3562" fmla="*/ 1079325 h 1261310"/>
                    <a:gd name="connsiteX3563" fmla="*/ 334562 w 1559298"/>
                    <a:gd name="connsiteY3563" fmla="*/ 1075597 h 1261310"/>
                    <a:gd name="connsiteX3564" fmla="*/ 334866 w 1559298"/>
                    <a:gd name="connsiteY3564" fmla="*/ 1075330 h 1261310"/>
                    <a:gd name="connsiteX3565" fmla="*/ 335509 w 1559298"/>
                    <a:gd name="connsiteY3565" fmla="*/ 1074929 h 1261310"/>
                    <a:gd name="connsiteX3566" fmla="*/ 337501 w 1559298"/>
                    <a:gd name="connsiteY3566" fmla="*/ 1073848 h 1261310"/>
                    <a:gd name="connsiteX3567" fmla="*/ 338994 w 1559298"/>
                    <a:gd name="connsiteY3567" fmla="*/ 1072901 h 1261310"/>
                    <a:gd name="connsiteX3568" fmla="*/ 339565 w 1559298"/>
                    <a:gd name="connsiteY3568" fmla="*/ 1072525 h 1261310"/>
                    <a:gd name="connsiteX3569" fmla="*/ 340051 w 1559298"/>
                    <a:gd name="connsiteY3569" fmla="*/ 1072027 h 1261310"/>
                    <a:gd name="connsiteX3570" fmla="*/ 341022 w 1559298"/>
                    <a:gd name="connsiteY3570" fmla="*/ 1071031 h 1261310"/>
                    <a:gd name="connsiteX3571" fmla="*/ 341459 w 1559298"/>
                    <a:gd name="connsiteY3571" fmla="*/ 1070582 h 1261310"/>
                    <a:gd name="connsiteX3572" fmla="*/ 341787 w 1559298"/>
                    <a:gd name="connsiteY3572" fmla="*/ 1070048 h 1261310"/>
                    <a:gd name="connsiteX3573" fmla="*/ 342528 w 1559298"/>
                    <a:gd name="connsiteY3573" fmla="*/ 1068870 h 1261310"/>
                    <a:gd name="connsiteX3574" fmla="*/ 342710 w 1559298"/>
                    <a:gd name="connsiteY3574" fmla="*/ 1068591 h 1261310"/>
                    <a:gd name="connsiteX3575" fmla="*/ 342856 w 1559298"/>
                    <a:gd name="connsiteY3575" fmla="*/ 1068299 h 1261310"/>
                    <a:gd name="connsiteX3576" fmla="*/ 343487 w 1559298"/>
                    <a:gd name="connsiteY3576" fmla="*/ 1067012 h 1261310"/>
                    <a:gd name="connsiteX3577" fmla="*/ 343767 w 1559298"/>
                    <a:gd name="connsiteY3577" fmla="*/ 1066441 h 1261310"/>
                    <a:gd name="connsiteX3578" fmla="*/ 343924 w 1559298"/>
                    <a:gd name="connsiteY3578" fmla="*/ 1065822 h 1261310"/>
                    <a:gd name="connsiteX3579" fmla="*/ 344349 w 1559298"/>
                    <a:gd name="connsiteY3579" fmla="*/ 1064098 h 1261310"/>
                    <a:gd name="connsiteX3580" fmla="*/ 344532 w 1559298"/>
                    <a:gd name="connsiteY3580" fmla="*/ 1064207 h 1261310"/>
                    <a:gd name="connsiteX3581" fmla="*/ 345066 w 1559298"/>
                    <a:gd name="connsiteY3581" fmla="*/ 1064523 h 1261310"/>
                    <a:gd name="connsiteX3582" fmla="*/ 345661 w 1559298"/>
                    <a:gd name="connsiteY3582" fmla="*/ 1064729 h 1261310"/>
                    <a:gd name="connsiteX3583" fmla="*/ 347264 w 1559298"/>
                    <a:gd name="connsiteY3583" fmla="*/ 1065276 h 1261310"/>
                    <a:gd name="connsiteX3584" fmla="*/ 347956 w 1559298"/>
                    <a:gd name="connsiteY3584" fmla="*/ 1065518 h 1261310"/>
                    <a:gd name="connsiteX3585" fmla="*/ 348697 w 1559298"/>
                    <a:gd name="connsiteY3585" fmla="*/ 1065579 h 1261310"/>
                    <a:gd name="connsiteX3586" fmla="*/ 352558 w 1559298"/>
                    <a:gd name="connsiteY3586" fmla="*/ 1065919 h 1261310"/>
                    <a:gd name="connsiteX3587" fmla="*/ 352619 w 1559298"/>
                    <a:gd name="connsiteY3587" fmla="*/ 1066405 h 1261310"/>
                    <a:gd name="connsiteX3588" fmla="*/ 352728 w 1559298"/>
                    <a:gd name="connsiteY3588" fmla="*/ 1067291 h 1261310"/>
                    <a:gd name="connsiteX3589" fmla="*/ 353092 w 1559298"/>
                    <a:gd name="connsiteY3589" fmla="*/ 1068105 h 1261310"/>
                    <a:gd name="connsiteX3590" fmla="*/ 353517 w 1559298"/>
                    <a:gd name="connsiteY3590" fmla="*/ 1069052 h 1261310"/>
                    <a:gd name="connsiteX3591" fmla="*/ 353821 w 1559298"/>
                    <a:gd name="connsiteY3591" fmla="*/ 1069744 h 1261310"/>
                    <a:gd name="connsiteX3592" fmla="*/ 354295 w 1559298"/>
                    <a:gd name="connsiteY3592" fmla="*/ 1070351 h 1261310"/>
                    <a:gd name="connsiteX3593" fmla="*/ 355727 w 1559298"/>
                    <a:gd name="connsiteY3593" fmla="*/ 1072149 h 1261310"/>
                    <a:gd name="connsiteX3594" fmla="*/ 355715 w 1559298"/>
                    <a:gd name="connsiteY3594" fmla="*/ 1072258 h 1261310"/>
                    <a:gd name="connsiteX3595" fmla="*/ 355764 w 1559298"/>
                    <a:gd name="connsiteY3595" fmla="*/ 1073011 h 1261310"/>
                    <a:gd name="connsiteX3596" fmla="*/ 355825 w 1559298"/>
                    <a:gd name="connsiteY3596" fmla="*/ 1073861 h 1261310"/>
                    <a:gd name="connsiteX3597" fmla="*/ 355885 w 1559298"/>
                    <a:gd name="connsiteY3597" fmla="*/ 1074638 h 1261310"/>
                    <a:gd name="connsiteX3598" fmla="*/ 356140 w 1559298"/>
                    <a:gd name="connsiteY3598" fmla="*/ 1075379 h 1261310"/>
                    <a:gd name="connsiteX3599" fmla="*/ 356577 w 1559298"/>
                    <a:gd name="connsiteY3599" fmla="*/ 1076678 h 1261310"/>
                    <a:gd name="connsiteX3600" fmla="*/ 357719 w 1559298"/>
                    <a:gd name="connsiteY3600" fmla="*/ 1078220 h 1261310"/>
                    <a:gd name="connsiteX3601" fmla="*/ 358520 w 1559298"/>
                    <a:gd name="connsiteY3601" fmla="*/ 1079034 h 1261310"/>
                    <a:gd name="connsiteX3602" fmla="*/ 359965 w 1559298"/>
                    <a:gd name="connsiteY3602" fmla="*/ 1079908 h 1261310"/>
                    <a:gd name="connsiteX3603" fmla="*/ 360597 w 1559298"/>
                    <a:gd name="connsiteY3603" fmla="*/ 1080187 h 1261310"/>
                    <a:gd name="connsiteX3604" fmla="*/ 361617 w 1559298"/>
                    <a:gd name="connsiteY3604" fmla="*/ 1080649 h 1261310"/>
                    <a:gd name="connsiteX3605" fmla="*/ 362734 w 1559298"/>
                    <a:gd name="connsiteY3605" fmla="*/ 1080722 h 1261310"/>
                    <a:gd name="connsiteX3606" fmla="*/ 363717 w 1559298"/>
                    <a:gd name="connsiteY3606" fmla="*/ 1080782 h 1261310"/>
                    <a:gd name="connsiteX3607" fmla="*/ 364652 w 1559298"/>
                    <a:gd name="connsiteY3607" fmla="*/ 1080843 h 1261310"/>
                    <a:gd name="connsiteX3608" fmla="*/ 365551 w 1559298"/>
                    <a:gd name="connsiteY3608" fmla="*/ 1080612 h 1261310"/>
                    <a:gd name="connsiteX3609" fmla="*/ 366692 w 1559298"/>
                    <a:gd name="connsiteY3609" fmla="*/ 1080333 h 1261310"/>
                    <a:gd name="connsiteX3610" fmla="*/ 367202 w 1559298"/>
                    <a:gd name="connsiteY3610" fmla="*/ 1080199 h 1261310"/>
                    <a:gd name="connsiteX3611" fmla="*/ 367688 w 1559298"/>
                    <a:gd name="connsiteY3611" fmla="*/ 1079993 h 1261310"/>
                    <a:gd name="connsiteX3612" fmla="*/ 369510 w 1559298"/>
                    <a:gd name="connsiteY3612" fmla="*/ 1079191 h 1261310"/>
                    <a:gd name="connsiteX3613" fmla="*/ 369886 w 1559298"/>
                    <a:gd name="connsiteY3613" fmla="*/ 1079021 h 1261310"/>
                    <a:gd name="connsiteX3614" fmla="*/ 370238 w 1559298"/>
                    <a:gd name="connsiteY3614" fmla="*/ 1078803 h 1261310"/>
                    <a:gd name="connsiteX3615" fmla="*/ 371732 w 1559298"/>
                    <a:gd name="connsiteY3615" fmla="*/ 1077892 h 1261310"/>
                    <a:gd name="connsiteX3616" fmla="*/ 372205 w 1559298"/>
                    <a:gd name="connsiteY3616" fmla="*/ 1077613 h 1261310"/>
                    <a:gd name="connsiteX3617" fmla="*/ 372618 w 1559298"/>
                    <a:gd name="connsiteY3617" fmla="*/ 1077249 h 1261310"/>
                    <a:gd name="connsiteX3618" fmla="*/ 378495 w 1559298"/>
                    <a:gd name="connsiteY3618" fmla="*/ 1072003 h 1261310"/>
                    <a:gd name="connsiteX3619" fmla="*/ 379151 w 1559298"/>
                    <a:gd name="connsiteY3619" fmla="*/ 1071554 h 1261310"/>
                    <a:gd name="connsiteX3620" fmla="*/ 379491 w 1559298"/>
                    <a:gd name="connsiteY3620" fmla="*/ 1071396 h 1261310"/>
                    <a:gd name="connsiteX3621" fmla="*/ 379916 w 1559298"/>
                    <a:gd name="connsiteY3621" fmla="*/ 1071286 h 1261310"/>
                    <a:gd name="connsiteX3622" fmla="*/ 383146 w 1559298"/>
                    <a:gd name="connsiteY3622" fmla="*/ 1070934 h 1261310"/>
                    <a:gd name="connsiteX3623" fmla="*/ 383863 w 1559298"/>
                    <a:gd name="connsiteY3623" fmla="*/ 1070849 h 1261310"/>
                    <a:gd name="connsiteX3624" fmla="*/ 384543 w 1559298"/>
                    <a:gd name="connsiteY3624" fmla="*/ 1070594 h 1261310"/>
                    <a:gd name="connsiteX3625" fmla="*/ 386510 w 1559298"/>
                    <a:gd name="connsiteY3625" fmla="*/ 1069878 h 1261310"/>
                    <a:gd name="connsiteX3626" fmla="*/ 389048 w 1559298"/>
                    <a:gd name="connsiteY3626" fmla="*/ 1068967 h 1261310"/>
                    <a:gd name="connsiteX3627" fmla="*/ 390055 w 1559298"/>
                    <a:gd name="connsiteY3627" fmla="*/ 1066466 h 1261310"/>
                    <a:gd name="connsiteX3628" fmla="*/ 390675 w 1559298"/>
                    <a:gd name="connsiteY3628" fmla="*/ 1064935 h 1261310"/>
                    <a:gd name="connsiteX3629" fmla="*/ 390845 w 1559298"/>
                    <a:gd name="connsiteY3629" fmla="*/ 1064523 h 1261310"/>
                    <a:gd name="connsiteX3630" fmla="*/ 390954 w 1559298"/>
                    <a:gd name="connsiteY3630" fmla="*/ 1064086 h 1261310"/>
                    <a:gd name="connsiteX3631" fmla="*/ 391476 w 1559298"/>
                    <a:gd name="connsiteY3631" fmla="*/ 1061936 h 1261310"/>
                    <a:gd name="connsiteX3632" fmla="*/ 392290 w 1559298"/>
                    <a:gd name="connsiteY3632" fmla="*/ 1058597 h 1261310"/>
                    <a:gd name="connsiteX3633" fmla="*/ 389837 w 1559298"/>
                    <a:gd name="connsiteY3633" fmla="*/ 1056193 h 1261310"/>
                    <a:gd name="connsiteX3634" fmla="*/ 389618 w 1559298"/>
                    <a:gd name="connsiteY3634" fmla="*/ 1055962 h 1261310"/>
                    <a:gd name="connsiteX3635" fmla="*/ 389873 w 1559298"/>
                    <a:gd name="connsiteY3635" fmla="*/ 1055707 h 1261310"/>
                    <a:gd name="connsiteX3636" fmla="*/ 390395 w 1559298"/>
                    <a:gd name="connsiteY3636" fmla="*/ 1055185 h 1261310"/>
                    <a:gd name="connsiteX3637" fmla="*/ 390784 w 1559298"/>
                    <a:gd name="connsiteY3637" fmla="*/ 1054541 h 1261310"/>
                    <a:gd name="connsiteX3638" fmla="*/ 391355 w 1559298"/>
                    <a:gd name="connsiteY3638" fmla="*/ 1053619 h 1261310"/>
                    <a:gd name="connsiteX3639" fmla="*/ 391780 w 1559298"/>
                    <a:gd name="connsiteY3639" fmla="*/ 1052939 h 1261310"/>
                    <a:gd name="connsiteX3640" fmla="*/ 392011 w 1559298"/>
                    <a:gd name="connsiteY3640" fmla="*/ 1052186 h 1261310"/>
                    <a:gd name="connsiteX3641" fmla="*/ 392921 w 1559298"/>
                    <a:gd name="connsiteY3641" fmla="*/ 1049150 h 1261310"/>
                    <a:gd name="connsiteX3642" fmla="*/ 394160 w 1559298"/>
                    <a:gd name="connsiteY3642" fmla="*/ 1048967 h 1261310"/>
                    <a:gd name="connsiteX3643" fmla="*/ 395034 w 1559298"/>
                    <a:gd name="connsiteY3643" fmla="*/ 1048846 h 1261310"/>
                    <a:gd name="connsiteX3644" fmla="*/ 395836 w 1559298"/>
                    <a:gd name="connsiteY3644" fmla="*/ 1048482 h 1261310"/>
                    <a:gd name="connsiteX3645" fmla="*/ 397159 w 1559298"/>
                    <a:gd name="connsiteY3645" fmla="*/ 1047875 h 1261310"/>
                    <a:gd name="connsiteX3646" fmla="*/ 397997 w 1559298"/>
                    <a:gd name="connsiteY3646" fmla="*/ 1047486 h 1261310"/>
                    <a:gd name="connsiteX3647" fmla="*/ 398677 w 1559298"/>
                    <a:gd name="connsiteY3647" fmla="*/ 1046879 h 1261310"/>
                    <a:gd name="connsiteX3648" fmla="*/ 400219 w 1559298"/>
                    <a:gd name="connsiteY3648" fmla="*/ 1045507 h 1261310"/>
                    <a:gd name="connsiteX3649" fmla="*/ 400875 w 1559298"/>
                    <a:gd name="connsiteY3649" fmla="*/ 1044924 h 1261310"/>
                    <a:gd name="connsiteX3650" fmla="*/ 401336 w 1559298"/>
                    <a:gd name="connsiteY3650" fmla="*/ 1044171 h 1261310"/>
                    <a:gd name="connsiteX3651" fmla="*/ 401725 w 1559298"/>
                    <a:gd name="connsiteY3651" fmla="*/ 1043540 h 1261310"/>
                    <a:gd name="connsiteX3652" fmla="*/ 402988 w 1559298"/>
                    <a:gd name="connsiteY3652" fmla="*/ 1043272 h 1261310"/>
                    <a:gd name="connsiteX3653" fmla="*/ 403838 w 1559298"/>
                    <a:gd name="connsiteY3653" fmla="*/ 1043091 h 1261310"/>
                    <a:gd name="connsiteX3654" fmla="*/ 404591 w 1559298"/>
                    <a:gd name="connsiteY3654" fmla="*/ 1042678 h 1261310"/>
                    <a:gd name="connsiteX3655" fmla="*/ 408841 w 1559298"/>
                    <a:gd name="connsiteY3655" fmla="*/ 1040382 h 1261310"/>
                    <a:gd name="connsiteX3656" fmla="*/ 409241 w 1559298"/>
                    <a:gd name="connsiteY3656" fmla="*/ 1040164 h 1261310"/>
                    <a:gd name="connsiteX3657" fmla="*/ 409606 w 1559298"/>
                    <a:gd name="connsiteY3657" fmla="*/ 1039897 h 1261310"/>
                    <a:gd name="connsiteX3658" fmla="*/ 410456 w 1559298"/>
                    <a:gd name="connsiteY3658" fmla="*/ 1039253 h 1261310"/>
                    <a:gd name="connsiteX3659" fmla="*/ 410480 w 1559298"/>
                    <a:gd name="connsiteY3659" fmla="*/ 1039241 h 1261310"/>
                    <a:gd name="connsiteX3660" fmla="*/ 410771 w 1559298"/>
                    <a:gd name="connsiteY3660" fmla="*/ 1039205 h 1261310"/>
                    <a:gd name="connsiteX3661" fmla="*/ 412483 w 1559298"/>
                    <a:gd name="connsiteY3661" fmla="*/ 1039496 h 1261310"/>
                    <a:gd name="connsiteX3662" fmla="*/ 414754 w 1559298"/>
                    <a:gd name="connsiteY3662" fmla="*/ 1040358 h 1261310"/>
                    <a:gd name="connsiteX3663" fmla="*/ 415276 w 1559298"/>
                    <a:gd name="connsiteY3663" fmla="*/ 1040565 h 1261310"/>
                    <a:gd name="connsiteX3664" fmla="*/ 415823 w 1559298"/>
                    <a:gd name="connsiteY3664" fmla="*/ 1040674 h 1261310"/>
                    <a:gd name="connsiteX3665" fmla="*/ 417887 w 1559298"/>
                    <a:gd name="connsiteY3665" fmla="*/ 1041051 h 1261310"/>
                    <a:gd name="connsiteX3666" fmla="*/ 418737 w 1559298"/>
                    <a:gd name="connsiteY3666" fmla="*/ 1041208 h 1261310"/>
                    <a:gd name="connsiteX3667" fmla="*/ 419599 w 1559298"/>
                    <a:gd name="connsiteY3667" fmla="*/ 1041111 h 1261310"/>
                    <a:gd name="connsiteX3668" fmla="*/ 420984 w 1559298"/>
                    <a:gd name="connsiteY3668" fmla="*/ 1040965 h 1261310"/>
                    <a:gd name="connsiteX3669" fmla="*/ 422914 w 1559298"/>
                    <a:gd name="connsiteY3669" fmla="*/ 1040771 h 1261310"/>
                    <a:gd name="connsiteX3670" fmla="*/ 424371 w 1559298"/>
                    <a:gd name="connsiteY3670" fmla="*/ 1039484 h 1261310"/>
                    <a:gd name="connsiteX3671" fmla="*/ 425513 w 1559298"/>
                    <a:gd name="connsiteY3671" fmla="*/ 1038476 h 1261310"/>
                    <a:gd name="connsiteX3672" fmla="*/ 426241 w 1559298"/>
                    <a:gd name="connsiteY3672" fmla="*/ 1037832 h 1261310"/>
                    <a:gd name="connsiteX3673" fmla="*/ 426739 w 1559298"/>
                    <a:gd name="connsiteY3673" fmla="*/ 1036995 h 1261310"/>
                    <a:gd name="connsiteX3674" fmla="*/ 427140 w 1559298"/>
                    <a:gd name="connsiteY3674" fmla="*/ 1036302 h 1261310"/>
                    <a:gd name="connsiteX3675" fmla="*/ 427662 w 1559298"/>
                    <a:gd name="connsiteY3675" fmla="*/ 1035416 h 1261310"/>
                    <a:gd name="connsiteX3676" fmla="*/ 427856 w 1559298"/>
                    <a:gd name="connsiteY3676" fmla="*/ 1034396 h 1261310"/>
                    <a:gd name="connsiteX3677" fmla="*/ 428039 w 1559298"/>
                    <a:gd name="connsiteY3677" fmla="*/ 1033485 h 1261310"/>
                    <a:gd name="connsiteX3678" fmla="*/ 428148 w 1559298"/>
                    <a:gd name="connsiteY3678" fmla="*/ 1032902 h 1261310"/>
                    <a:gd name="connsiteX3679" fmla="*/ 428148 w 1559298"/>
                    <a:gd name="connsiteY3679" fmla="*/ 1032320 h 1261310"/>
                    <a:gd name="connsiteX3680" fmla="*/ 428148 w 1559298"/>
                    <a:gd name="connsiteY3680" fmla="*/ 1031397 h 1261310"/>
                    <a:gd name="connsiteX3681" fmla="*/ 428148 w 1559298"/>
                    <a:gd name="connsiteY3681" fmla="*/ 1030851 h 1261310"/>
                    <a:gd name="connsiteX3682" fmla="*/ 428051 w 1559298"/>
                    <a:gd name="connsiteY3682" fmla="*/ 1030316 h 1261310"/>
                    <a:gd name="connsiteX3683" fmla="*/ 426557 w 1559298"/>
                    <a:gd name="connsiteY3683" fmla="*/ 1022071 h 1261310"/>
                    <a:gd name="connsiteX3684" fmla="*/ 425780 w 1559298"/>
                    <a:gd name="connsiteY3684" fmla="*/ 1019242 h 1261310"/>
                    <a:gd name="connsiteX3685" fmla="*/ 425671 w 1559298"/>
                    <a:gd name="connsiteY3685" fmla="*/ 1018853 h 1261310"/>
                    <a:gd name="connsiteX3686" fmla="*/ 425622 w 1559298"/>
                    <a:gd name="connsiteY3686" fmla="*/ 1018744 h 1261310"/>
                    <a:gd name="connsiteX3687" fmla="*/ 429957 w 1559298"/>
                    <a:gd name="connsiteY3687" fmla="*/ 1017469 h 1261310"/>
                    <a:gd name="connsiteX3688" fmla="*/ 430285 w 1559298"/>
                    <a:gd name="connsiteY3688" fmla="*/ 1017372 h 1261310"/>
                    <a:gd name="connsiteX3689" fmla="*/ 430601 w 1559298"/>
                    <a:gd name="connsiteY3689" fmla="*/ 1017226 h 1261310"/>
                    <a:gd name="connsiteX3690" fmla="*/ 433175 w 1559298"/>
                    <a:gd name="connsiteY3690" fmla="*/ 1016133 h 1261310"/>
                    <a:gd name="connsiteX3691" fmla="*/ 433491 w 1559298"/>
                    <a:gd name="connsiteY3691" fmla="*/ 1015999 h 1261310"/>
                    <a:gd name="connsiteX3692" fmla="*/ 433782 w 1559298"/>
                    <a:gd name="connsiteY3692" fmla="*/ 1015830 h 1261310"/>
                    <a:gd name="connsiteX3693" fmla="*/ 435506 w 1559298"/>
                    <a:gd name="connsiteY3693" fmla="*/ 1014858 h 1261310"/>
                    <a:gd name="connsiteX3694" fmla="*/ 436660 w 1559298"/>
                    <a:gd name="connsiteY3694" fmla="*/ 1014203 h 1261310"/>
                    <a:gd name="connsiteX3695" fmla="*/ 437437 w 1559298"/>
                    <a:gd name="connsiteY3695" fmla="*/ 1013146 h 1261310"/>
                    <a:gd name="connsiteX3696" fmla="*/ 438652 w 1559298"/>
                    <a:gd name="connsiteY3696" fmla="*/ 1011482 h 1261310"/>
                    <a:gd name="connsiteX3697" fmla="*/ 438664 w 1559298"/>
                    <a:gd name="connsiteY3697" fmla="*/ 1011458 h 1261310"/>
                    <a:gd name="connsiteX3698" fmla="*/ 441214 w 1559298"/>
                    <a:gd name="connsiteY3698" fmla="*/ 1009357 h 1261310"/>
                    <a:gd name="connsiteX3699" fmla="*/ 442124 w 1559298"/>
                    <a:gd name="connsiteY3699" fmla="*/ 1008605 h 1261310"/>
                    <a:gd name="connsiteX3700" fmla="*/ 442683 w 1559298"/>
                    <a:gd name="connsiteY3700" fmla="*/ 1007572 h 1261310"/>
                    <a:gd name="connsiteX3701" fmla="*/ 443327 w 1559298"/>
                    <a:gd name="connsiteY3701" fmla="*/ 1006395 h 1261310"/>
                    <a:gd name="connsiteX3702" fmla="*/ 443667 w 1559298"/>
                    <a:gd name="connsiteY3702" fmla="*/ 1005763 h 1261310"/>
                    <a:gd name="connsiteX3703" fmla="*/ 443849 w 1559298"/>
                    <a:gd name="connsiteY3703" fmla="*/ 1005071 h 1261310"/>
                    <a:gd name="connsiteX3704" fmla="*/ 444092 w 1559298"/>
                    <a:gd name="connsiteY3704" fmla="*/ 1004184 h 1261310"/>
                    <a:gd name="connsiteX3705" fmla="*/ 444966 w 1559298"/>
                    <a:gd name="connsiteY3705" fmla="*/ 1004488 h 1261310"/>
                    <a:gd name="connsiteX3706" fmla="*/ 446484 w 1559298"/>
                    <a:gd name="connsiteY3706" fmla="*/ 1005035 h 1261310"/>
                    <a:gd name="connsiteX3707" fmla="*/ 448062 w 1559298"/>
                    <a:gd name="connsiteY3707" fmla="*/ 1004755 h 1261310"/>
                    <a:gd name="connsiteX3708" fmla="*/ 452932 w 1559298"/>
                    <a:gd name="connsiteY3708" fmla="*/ 1003893 h 1261310"/>
                    <a:gd name="connsiteX3709" fmla="*/ 453466 w 1559298"/>
                    <a:gd name="connsiteY3709" fmla="*/ 1004707 h 1261310"/>
                    <a:gd name="connsiteX3710" fmla="*/ 454559 w 1559298"/>
                    <a:gd name="connsiteY3710" fmla="*/ 1006370 h 1261310"/>
                    <a:gd name="connsiteX3711" fmla="*/ 455044 w 1559298"/>
                    <a:gd name="connsiteY3711" fmla="*/ 1007123 h 1261310"/>
                    <a:gd name="connsiteX3712" fmla="*/ 455724 w 1559298"/>
                    <a:gd name="connsiteY3712" fmla="*/ 1007682 h 1261310"/>
                    <a:gd name="connsiteX3713" fmla="*/ 457340 w 1559298"/>
                    <a:gd name="connsiteY3713" fmla="*/ 1009029 h 1261310"/>
                    <a:gd name="connsiteX3714" fmla="*/ 457995 w 1559298"/>
                    <a:gd name="connsiteY3714" fmla="*/ 1009588 h 1261310"/>
                    <a:gd name="connsiteX3715" fmla="*/ 458784 w 1559298"/>
                    <a:gd name="connsiteY3715" fmla="*/ 1009928 h 1261310"/>
                    <a:gd name="connsiteX3716" fmla="*/ 461080 w 1559298"/>
                    <a:gd name="connsiteY3716" fmla="*/ 1010948 h 1261310"/>
                    <a:gd name="connsiteX3717" fmla="*/ 462573 w 1559298"/>
                    <a:gd name="connsiteY3717" fmla="*/ 1012915 h 1261310"/>
                    <a:gd name="connsiteX3718" fmla="*/ 462901 w 1559298"/>
                    <a:gd name="connsiteY3718" fmla="*/ 1013340 h 1261310"/>
                    <a:gd name="connsiteX3719" fmla="*/ 463302 w 1559298"/>
                    <a:gd name="connsiteY3719" fmla="*/ 1013692 h 1261310"/>
                    <a:gd name="connsiteX3720" fmla="*/ 465196 w 1559298"/>
                    <a:gd name="connsiteY3720" fmla="*/ 1015417 h 1261310"/>
                    <a:gd name="connsiteX3721" fmla="*/ 466058 w 1559298"/>
                    <a:gd name="connsiteY3721" fmla="*/ 1016194 h 1261310"/>
                    <a:gd name="connsiteX3722" fmla="*/ 467151 w 1559298"/>
                    <a:gd name="connsiteY3722" fmla="*/ 1016607 h 1261310"/>
                    <a:gd name="connsiteX3723" fmla="*/ 469701 w 1559298"/>
                    <a:gd name="connsiteY3723" fmla="*/ 1017554 h 1261310"/>
                    <a:gd name="connsiteX3724" fmla="*/ 471292 w 1559298"/>
                    <a:gd name="connsiteY3724" fmla="*/ 1018392 h 1261310"/>
                    <a:gd name="connsiteX3725" fmla="*/ 471899 w 1559298"/>
                    <a:gd name="connsiteY3725" fmla="*/ 1018719 h 1261310"/>
                    <a:gd name="connsiteX3726" fmla="*/ 472567 w 1559298"/>
                    <a:gd name="connsiteY3726" fmla="*/ 1018902 h 1261310"/>
                    <a:gd name="connsiteX3727" fmla="*/ 474522 w 1559298"/>
                    <a:gd name="connsiteY3727" fmla="*/ 1019424 h 1261310"/>
                    <a:gd name="connsiteX3728" fmla="*/ 475129 w 1559298"/>
                    <a:gd name="connsiteY3728" fmla="*/ 1019582 h 1261310"/>
                    <a:gd name="connsiteX3729" fmla="*/ 475760 w 1559298"/>
                    <a:gd name="connsiteY3729" fmla="*/ 1019618 h 1261310"/>
                    <a:gd name="connsiteX3730" fmla="*/ 477946 w 1559298"/>
                    <a:gd name="connsiteY3730" fmla="*/ 1019740 h 1261310"/>
                    <a:gd name="connsiteX3731" fmla="*/ 479015 w 1559298"/>
                    <a:gd name="connsiteY3731" fmla="*/ 1019800 h 1261310"/>
                    <a:gd name="connsiteX3732" fmla="*/ 480035 w 1559298"/>
                    <a:gd name="connsiteY3732" fmla="*/ 1019497 h 1261310"/>
                    <a:gd name="connsiteX3733" fmla="*/ 485778 w 1559298"/>
                    <a:gd name="connsiteY3733" fmla="*/ 1017736 h 1261310"/>
                    <a:gd name="connsiteX3734" fmla="*/ 486422 w 1559298"/>
                    <a:gd name="connsiteY3734" fmla="*/ 1017530 h 1261310"/>
                    <a:gd name="connsiteX3735" fmla="*/ 487005 w 1559298"/>
                    <a:gd name="connsiteY3735" fmla="*/ 1017214 h 1261310"/>
                    <a:gd name="connsiteX3736" fmla="*/ 495566 w 1559298"/>
                    <a:gd name="connsiteY3736" fmla="*/ 1012357 h 1261310"/>
                    <a:gd name="connsiteX3737" fmla="*/ 498395 w 1559298"/>
                    <a:gd name="connsiteY3737" fmla="*/ 1010754 h 1261310"/>
                    <a:gd name="connsiteX3738" fmla="*/ 498626 w 1559298"/>
                    <a:gd name="connsiteY3738" fmla="*/ 1007500 h 1261310"/>
                    <a:gd name="connsiteX3739" fmla="*/ 498844 w 1559298"/>
                    <a:gd name="connsiteY3739" fmla="*/ 1004427 h 1261310"/>
                    <a:gd name="connsiteX3740" fmla="*/ 498893 w 1559298"/>
                    <a:gd name="connsiteY3740" fmla="*/ 1003796 h 1261310"/>
                    <a:gd name="connsiteX3741" fmla="*/ 498808 w 1559298"/>
                    <a:gd name="connsiteY3741" fmla="*/ 1003165 h 1261310"/>
                    <a:gd name="connsiteX3742" fmla="*/ 498650 w 1559298"/>
                    <a:gd name="connsiteY3742" fmla="*/ 1002084 h 1261310"/>
                    <a:gd name="connsiteX3743" fmla="*/ 504770 w 1559298"/>
                    <a:gd name="connsiteY3743" fmla="*/ 1001987 h 1261310"/>
                    <a:gd name="connsiteX3744" fmla="*/ 505353 w 1559298"/>
                    <a:gd name="connsiteY3744" fmla="*/ 1001974 h 1261310"/>
                    <a:gd name="connsiteX3745" fmla="*/ 505923 w 1559298"/>
                    <a:gd name="connsiteY3745" fmla="*/ 1001853 h 1261310"/>
                    <a:gd name="connsiteX3746" fmla="*/ 509311 w 1559298"/>
                    <a:gd name="connsiteY3746" fmla="*/ 1001136 h 1261310"/>
                    <a:gd name="connsiteX3747" fmla="*/ 509906 w 1559298"/>
                    <a:gd name="connsiteY3747" fmla="*/ 1001003 h 1261310"/>
                    <a:gd name="connsiteX3748" fmla="*/ 510465 w 1559298"/>
                    <a:gd name="connsiteY3748" fmla="*/ 1000760 h 1261310"/>
                    <a:gd name="connsiteX3749" fmla="*/ 512991 w 1559298"/>
                    <a:gd name="connsiteY3749" fmla="*/ 999667 h 1261310"/>
                    <a:gd name="connsiteX3750" fmla="*/ 513355 w 1559298"/>
                    <a:gd name="connsiteY3750" fmla="*/ 999509 h 1261310"/>
                    <a:gd name="connsiteX3751" fmla="*/ 513695 w 1559298"/>
                    <a:gd name="connsiteY3751" fmla="*/ 999291 h 1261310"/>
                    <a:gd name="connsiteX3752" fmla="*/ 516998 w 1559298"/>
                    <a:gd name="connsiteY3752" fmla="*/ 997311 h 1261310"/>
                    <a:gd name="connsiteX3753" fmla="*/ 517374 w 1559298"/>
                    <a:gd name="connsiteY3753" fmla="*/ 997227 h 1261310"/>
                    <a:gd name="connsiteX3754" fmla="*/ 525765 w 1559298"/>
                    <a:gd name="connsiteY3754" fmla="*/ 997154 h 1261310"/>
                    <a:gd name="connsiteX3755" fmla="*/ 526056 w 1559298"/>
                    <a:gd name="connsiteY3755" fmla="*/ 997530 h 1261310"/>
                    <a:gd name="connsiteX3756" fmla="*/ 526311 w 1559298"/>
                    <a:gd name="connsiteY3756" fmla="*/ 997870 h 1261310"/>
                    <a:gd name="connsiteX3757" fmla="*/ 526603 w 1559298"/>
                    <a:gd name="connsiteY3757" fmla="*/ 998162 h 1261310"/>
                    <a:gd name="connsiteX3758" fmla="*/ 527817 w 1559298"/>
                    <a:gd name="connsiteY3758" fmla="*/ 999376 h 1261310"/>
                    <a:gd name="connsiteX3759" fmla="*/ 528874 w 1559298"/>
                    <a:gd name="connsiteY3759" fmla="*/ 1000445 h 1261310"/>
                    <a:gd name="connsiteX3760" fmla="*/ 530306 w 1559298"/>
                    <a:gd name="connsiteY3760" fmla="*/ 1000882 h 1261310"/>
                    <a:gd name="connsiteX3761" fmla="*/ 531800 w 1559298"/>
                    <a:gd name="connsiteY3761" fmla="*/ 1001343 h 1261310"/>
                    <a:gd name="connsiteX3762" fmla="*/ 533087 w 1559298"/>
                    <a:gd name="connsiteY3762" fmla="*/ 1001744 h 1261310"/>
                    <a:gd name="connsiteX3763" fmla="*/ 534423 w 1559298"/>
                    <a:gd name="connsiteY3763" fmla="*/ 1001549 h 1261310"/>
                    <a:gd name="connsiteX3764" fmla="*/ 536317 w 1559298"/>
                    <a:gd name="connsiteY3764" fmla="*/ 1001294 h 1261310"/>
                    <a:gd name="connsiteX3765" fmla="*/ 536997 w 1559298"/>
                    <a:gd name="connsiteY3765" fmla="*/ 1001197 h 1261310"/>
                    <a:gd name="connsiteX3766" fmla="*/ 537641 w 1559298"/>
                    <a:gd name="connsiteY3766" fmla="*/ 1000955 h 1261310"/>
                    <a:gd name="connsiteX3767" fmla="*/ 544647 w 1559298"/>
                    <a:gd name="connsiteY3767" fmla="*/ 998307 h 1261310"/>
                    <a:gd name="connsiteX3768" fmla="*/ 545194 w 1559298"/>
                    <a:gd name="connsiteY3768" fmla="*/ 998089 h 1261310"/>
                    <a:gd name="connsiteX3769" fmla="*/ 545704 w 1559298"/>
                    <a:gd name="connsiteY3769" fmla="*/ 997785 h 1261310"/>
                    <a:gd name="connsiteX3770" fmla="*/ 547367 w 1559298"/>
                    <a:gd name="connsiteY3770" fmla="*/ 996753 h 1261310"/>
                    <a:gd name="connsiteX3771" fmla="*/ 547768 w 1559298"/>
                    <a:gd name="connsiteY3771" fmla="*/ 996498 h 1261310"/>
                    <a:gd name="connsiteX3772" fmla="*/ 548120 w 1559298"/>
                    <a:gd name="connsiteY3772" fmla="*/ 996195 h 1261310"/>
                    <a:gd name="connsiteX3773" fmla="*/ 549735 w 1559298"/>
                    <a:gd name="connsiteY3773" fmla="*/ 994810 h 1261310"/>
                    <a:gd name="connsiteX3774" fmla="*/ 550136 w 1559298"/>
                    <a:gd name="connsiteY3774" fmla="*/ 994470 h 1261310"/>
                    <a:gd name="connsiteX3775" fmla="*/ 550476 w 1559298"/>
                    <a:gd name="connsiteY3775" fmla="*/ 994057 h 1261310"/>
                    <a:gd name="connsiteX3776" fmla="*/ 551192 w 1559298"/>
                    <a:gd name="connsiteY3776" fmla="*/ 993183 h 1261310"/>
                    <a:gd name="connsiteX3777" fmla="*/ 553536 w 1559298"/>
                    <a:gd name="connsiteY3777" fmla="*/ 995284 h 1261310"/>
                    <a:gd name="connsiteX3778" fmla="*/ 553924 w 1559298"/>
                    <a:gd name="connsiteY3778" fmla="*/ 995624 h 1261310"/>
                    <a:gd name="connsiteX3779" fmla="*/ 554362 w 1559298"/>
                    <a:gd name="connsiteY3779" fmla="*/ 995891 h 1261310"/>
                    <a:gd name="connsiteX3780" fmla="*/ 556887 w 1559298"/>
                    <a:gd name="connsiteY3780" fmla="*/ 997482 h 1261310"/>
                    <a:gd name="connsiteX3781" fmla="*/ 557664 w 1559298"/>
                    <a:gd name="connsiteY3781" fmla="*/ 997980 h 1261310"/>
                    <a:gd name="connsiteX3782" fmla="*/ 558563 w 1559298"/>
                    <a:gd name="connsiteY3782" fmla="*/ 998222 h 1261310"/>
                    <a:gd name="connsiteX3783" fmla="*/ 561149 w 1559298"/>
                    <a:gd name="connsiteY3783" fmla="*/ 998915 h 1261310"/>
                    <a:gd name="connsiteX3784" fmla="*/ 562607 w 1559298"/>
                    <a:gd name="connsiteY3784" fmla="*/ 999291 h 1261310"/>
                    <a:gd name="connsiteX3785" fmla="*/ 564076 w 1559298"/>
                    <a:gd name="connsiteY3785" fmla="*/ 998963 h 1261310"/>
                    <a:gd name="connsiteX3786" fmla="*/ 566080 w 1559298"/>
                    <a:gd name="connsiteY3786" fmla="*/ 998502 h 1261310"/>
                    <a:gd name="connsiteX3787" fmla="*/ 567695 w 1559298"/>
                    <a:gd name="connsiteY3787" fmla="*/ 998137 h 1261310"/>
                    <a:gd name="connsiteX3788" fmla="*/ 568897 w 1559298"/>
                    <a:gd name="connsiteY3788" fmla="*/ 996984 h 1261310"/>
                    <a:gd name="connsiteX3789" fmla="*/ 570172 w 1559298"/>
                    <a:gd name="connsiteY3789" fmla="*/ 995769 h 1261310"/>
                    <a:gd name="connsiteX3790" fmla="*/ 570900 w 1559298"/>
                    <a:gd name="connsiteY3790" fmla="*/ 995077 h 1261310"/>
                    <a:gd name="connsiteX3791" fmla="*/ 571374 w 1559298"/>
                    <a:gd name="connsiteY3791" fmla="*/ 994191 h 1261310"/>
                    <a:gd name="connsiteX3792" fmla="*/ 572115 w 1559298"/>
                    <a:gd name="connsiteY3792" fmla="*/ 992782 h 1261310"/>
                    <a:gd name="connsiteX3793" fmla="*/ 572406 w 1559298"/>
                    <a:gd name="connsiteY3793" fmla="*/ 992212 h 1261310"/>
                    <a:gd name="connsiteX3794" fmla="*/ 572576 w 1559298"/>
                    <a:gd name="connsiteY3794" fmla="*/ 991580 h 1261310"/>
                    <a:gd name="connsiteX3795" fmla="*/ 573037 w 1559298"/>
                    <a:gd name="connsiteY3795" fmla="*/ 989917 h 1261310"/>
                    <a:gd name="connsiteX3796" fmla="*/ 573195 w 1559298"/>
                    <a:gd name="connsiteY3796" fmla="*/ 989382 h 1261310"/>
                    <a:gd name="connsiteX3797" fmla="*/ 573244 w 1559298"/>
                    <a:gd name="connsiteY3797" fmla="*/ 988812 h 1261310"/>
                    <a:gd name="connsiteX3798" fmla="*/ 573426 w 1559298"/>
                    <a:gd name="connsiteY3798" fmla="*/ 986686 h 1261310"/>
                    <a:gd name="connsiteX3799" fmla="*/ 573487 w 1559298"/>
                    <a:gd name="connsiteY3799" fmla="*/ 985994 h 1261310"/>
                    <a:gd name="connsiteX3800" fmla="*/ 573390 w 1559298"/>
                    <a:gd name="connsiteY3800" fmla="*/ 985290 h 1261310"/>
                    <a:gd name="connsiteX3801" fmla="*/ 573147 w 1559298"/>
                    <a:gd name="connsiteY3801" fmla="*/ 983590 h 1261310"/>
                    <a:gd name="connsiteX3802" fmla="*/ 573098 w 1559298"/>
                    <a:gd name="connsiteY3802" fmla="*/ 983250 h 1261310"/>
                    <a:gd name="connsiteX3803" fmla="*/ 573013 w 1559298"/>
                    <a:gd name="connsiteY3803" fmla="*/ 982910 h 1261310"/>
                    <a:gd name="connsiteX3804" fmla="*/ 572503 w 1559298"/>
                    <a:gd name="connsiteY3804" fmla="*/ 980991 h 1261310"/>
                    <a:gd name="connsiteX3805" fmla="*/ 572224 w 1559298"/>
                    <a:gd name="connsiteY3805" fmla="*/ 979935 h 1261310"/>
                    <a:gd name="connsiteX3806" fmla="*/ 571592 w 1559298"/>
                    <a:gd name="connsiteY3806" fmla="*/ 979048 h 1261310"/>
                    <a:gd name="connsiteX3807" fmla="*/ 571216 w 1559298"/>
                    <a:gd name="connsiteY3807" fmla="*/ 978502 h 1261310"/>
                    <a:gd name="connsiteX3808" fmla="*/ 572042 w 1559298"/>
                    <a:gd name="connsiteY3808" fmla="*/ 977943 h 1261310"/>
                    <a:gd name="connsiteX3809" fmla="*/ 572734 w 1559298"/>
                    <a:gd name="connsiteY3809" fmla="*/ 976802 h 1261310"/>
                    <a:gd name="connsiteX3810" fmla="*/ 573414 w 1559298"/>
                    <a:gd name="connsiteY3810" fmla="*/ 975685 h 1261310"/>
                    <a:gd name="connsiteX3811" fmla="*/ 574203 w 1559298"/>
                    <a:gd name="connsiteY3811" fmla="*/ 974398 h 1261310"/>
                    <a:gd name="connsiteX3812" fmla="*/ 574288 w 1559298"/>
                    <a:gd name="connsiteY3812" fmla="*/ 972892 h 1261310"/>
                    <a:gd name="connsiteX3813" fmla="*/ 574410 w 1559298"/>
                    <a:gd name="connsiteY3813" fmla="*/ 970852 h 1261310"/>
                    <a:gd name="connsiteX3814" fmla="*/ 574470 w 1559298"/>
                    <a:gd name="connsiteY3814" fmla="*/ 969856 h 1261310"/>
                    <a:gd name="connsiteX3815" fmla="*/ 574215 w 1559298"/>
                    <a:gd name="connsiteY3815" fmla="*/ 968885 h 1261310"/>
                    <a:gd name="connsiteX3816" fmla="*/ 573572 w 1559298"/>
                    <a:gd name="connsiteY3816" fmla="*/ 966529 h 1261310"/>
                    <a:gd name="connsiteX3817" fmla="*/ 573377 w 1559298"/>
                    <a:gd name="connsiteY3817" fmla="*/ 965837 h 1261310"/>
                    <a:gd name="connsiteX3818" fmla="*/ 573037 w 1559298"/>
                    <a:gd name="connsiteY3818" fmla="*/ 965206 h 1261310"/>
                    <a:gd name="connsiteX3819" fmla="*/ 571374 w 1559298"/>
                    <a:gd name="connsiteY3819" fmla="*/ 962170 h 1261310"/>
                    <a:gd name="connsiteX3820" fmla="*/ 571046 w 1559298"/>
                    <a:gd name="connsiteY3820" fmla="*/ 961563 h 1261310"/>
                    <a:gd name="connsiteX3821" fmla="*/ 570585 w 1559298"/>
                    <a:gd name="connsiteY3821" fmla="*/ 961053 h 1261310"/>
                    <a:gd name="connsiteX3822" fmla="*/ 568872 w 1559298"/>
                    <a:gd name="connsiteY3822" fmla="*/ 959134 h 1261310"/>
                    <a:gd name="connsiteX3823" fmla="*/ 568617 w 1559298"/>
                    <a:gd name="connsiteY3823" fmla="*/ 958843 h 1261310"/>
                    <a:gd name="connsiteX3824" fmla="*/ 568326 w 1559298"/>
                    <a:gd name="connsiteY3824" fmla="*/ 958588 h 1261310"/>
                    <a:gd name="connsiteX3825" fmla="*/ 567063 w 1559298"/>
                    <a:gd name="connsiteY3825" fmla="*/ 957483 h 1261310"/>
                    <a:gd name="connsiteX3826" fmla="*/ 566808 w 1559298"/>
                    <a:gd name="connsiteY3826" fmla="*/ 957118 h 1261310"/>
                    <a:gd name="connsiteX3827" fmla="*/ 566614 w 1559298"/>
                    <a:gd name="connsiteY3827" fmla="*/ 956572 h 1261310"/>
                    <a:gd name="connsiteX3828" fmla="*/ 566614 w 1559298"/>
                    <a:gd name="connsiteY3828" fmla="*/ 954216 h 1261310"/>
                    <a:gd name="connsiteX3829" fmla="*/ 566905 w 1559298"/>
                    <a:gd name="connsiteY3829" fmla="*/ 952856 h 1261310"/>
                    <a:gd name="connsiteX3830" fmla="*/ 567549 w 1559298"/>
                    <a:gd name="connsiteY3830" fmla="*/ 951472 h 1261310"/>
                    <a:gd name="connsiteX3831" fmla="*/ 568253 w 1559298"/>
                    <a:gd name="connsiteY3831" fmla="*/ 950331 h 1261310"/>
                    <a:gd name="connsiteX3832" fmla="*/ 568484 w 1559298"/>
                    <a:gd name="connsiteY3832" fmla="*/ 949930 h 1261310"/>
                    <a:gd name="connsiteX3833" fmla="*/ 568654 w 1559298"/>
                    <a:gd name="connsiteY3833" fmla="*/ 949505 h 1261310"/>
                    <a:gd name="connsiteX3834" fmla="*/ 569358 w 1559298"/>
                    <a:gd name="connsiteY3834" fmla="*/ 947720 h 1261310"/>
                    <a:gd name="connsiteX3835" fmla="*/ 569747 w 1559298"/>
                    <a:gd name="connsiteY3835" fmla="*/ 946724 h 1261310"/>
                    <a:gd name="connsiteX3836" fmla="*/ 569771 w 1559298"/>
                    <a:gd name="connsiteY3836" fmla="*/ 945644 h 1261310"/>
                    <a:gd name="connsiteX3837" fmla="*/ 569820 w 1559298"/>
                    <a:gd name="connsiteY3837" fmla="*/ 943785 h 1261310"/>
                    <a:gd name="connsiteX3838" fmla="*/ 569820 w 1559298"/>
                    <a:gd name="connsiteY3838" fmla="*/ 943409 h 1261310"/>
                    <a:gd name="connsiteX3839" fmla="*/ 569783 w 1559298"/>
                    <a:gd name="connsiteY3839" fmla="*/ 943045 h 1261310"/>
                    <a:gd name="connsiteX3840" fmla="*/ 569552 w 1559298"/>
                    <a:gd name="connsiteY3840" fmla="*/ 940750 h 1261310"/>
                    <a:gd name="connsiteX3841" fmla="*/ 569504 w 1559298"/>
                    <a:gd name="connsiteY3841" fmla="*/ 940228 h 1261310"/>
                    <a:gd name="connsiteX3842" fmla="*/ 569358 w 1559298"/>
                    <a:gd name="connsiteY3842" fmla="*/ 939730 h 1261310"/>
                    <a:gd name="connsiteX3843" fmla="*/ 568496 w 1559298"/>
                    <a:gd name="connsiteY3843" fmla="*/ 936597 h 1261310"/>
                    <a:gd name="connsiteX3844" fmla="*/ 568375 w 1559298"/>
                    <a:gd name="connsiteY3844" fmla="*/ 936148 h 1261310"/>
                    <a:gd name="connsiteX3845" fmla="*/ 568180 w 1559298"/>
                    <a:gd name="connsiteY3845" fmla="*/ 935723 h 1261310"/>
                    <a:gd name="connsiteX3846" fmla="*/ 567209 w 1559298"/>
                    <a:gd name="connsiteY3846" fmla="*/ 933561 h 1261310"/>
                    <a:gd name="connsiteX3847" fmla="*/ 566723 w 1559298"/>
                    <a:gd name="connsiteY3847" fmla="*/ 932480 h 1261310"/>
                    <a:gd name="connsiteX3848" fmla="*/ 565873 w 1559298"/>
                    <a:gd name="connsiteY3848" fmla="*/ 931667 h 1261310"/>
                    <a:gd name="connsiteX3849" fmla="*/ 564258 w 1559298"/>
                    <a:gd name="connsiteY3849" fmla="*/ 930125 h 1261310"/>
                    <a:gd name="connsiteX3850" fmla="*/ 563578 w 1559298"/>
                    <a:gd name="connsiteY3850" fmla="*/ 929469 h 1261310"/>
                    <a:gd name="connsiteX3851" fmla="*/ 562728 w 1559298"/>
                    <a:gd name="connsiteY3851" fmla="*/ 929056 h 1261310"/>
                    <a:gd name="connsiteX3852" fmla="*/ 561368 w 1559298"/>
                    <a:gd name="connsiteY3852" fmla="*/ 928388 h 1261310"/>
                    <a:gd name="connsiteX3853" fmla="*/ 560809 w 1559298"/>
                    <a:gd name="connsiteY3853" fmla="*/ 925523 h 1261310"/>
                    <a:gd name="connsiteX3854" fmla="*/ 559741 w 1559298"/>
                    <a:gd name="connsiteY3854" fmla="*/ 921855 h 1261310"/>
                    <a:gd name="connsiteX3855" fmla="*/ 559571 w 1559298"/>
                    <a:gd name="connsiteY3855" fmla="*/ 921285 h 1261310"/>
                    <a:gd name="connsiteX3856" fmla="*/ 559304 w 1559298"/>
                    <a:gd name="connsiteY3856" fmla="*/ 920763 h 1261310"/>
                    <a:gd name="connsiteX3857" fmla="*/ 556717 w 1559298"/>
                    <a:gd name="connsiteY3857" fmla="*/ 915857 h 1261310"/>
                    <a:gd name="connsiteX3858" fmla="*/ 556693 w 1559298"/>
                    <a:gd name="connsiteY3858" fmla="*/ 915310 h 1261310"/>
                    <a:gd name="connsiteX3859" fmla="*/ 558199 w 1559298"/>
                    <a:gd name="connsiteY3859" fmla="*/ 914217 h 1261310"/>
                    <a:gd name="connsiteX3860" fmla="*/ 558539 w 1559298"/>
                    <a:gd name="connsiteY3860" fmla="*/ 913962 h 1261310"/>
                    <a:gd name="connsiteX3861" fmla="*/ 558842 w 1559298"/>
                    <a:gd name="connsiteY3861" fmla="*/ 913671 h 1261310"/>
                    <a:gd name="connsiteX3862" fmla="*/ 560215 w 1559298"/>
                    <a:gd name="connsiteY3862" fmla="*/ 912348 h 1261310"/>
                    <a:gd name="connsiteX3863" fmla="*/ 560627 w 1559298"/>
                    <a:gd name="connsiteY3863" fmla="*/ 911959 h 1261310"/>
                    <a:gd name="connsiteX3864" fmla="*/ 560955 w 1559298"/>
                    <a:gd name="connsiteY3864" fmla="*/ 911510 h 1261310"/>
                    <a:gd name="connsiteX3865" fmla="*/ 562339 w 1559298"/>
                    <a:gd name="connsiteY3865" fmla="*/ 909567 h 1261310"/>
                    <a:gd name="connsiteX3866" fmla="*/ 562679 w 1559298"/>
                    <a:gd name="connsiteY3866" fmla="*/ 909081 h 1261310"/>
                    <a:gd name="connsiteX3867" fmla="*/ 562922 w 1559298"/>
                    <a:gd name="connsiteY3867" fmla="*/ 908535 h 1261310"/>
                    <a:gd name="connsiteX3868" fmla="*/ 565497 w 1559298"/>
                    <a:gd name="connsiteY3868" fmla="*/ 902815 h 1261310"/>
                    <a:gd name="connsiteX3869" fmla="*/ 565812 w 1559298"/>
                    <a:gd name="connsiteY3869" fmla="*/ 902269 h 1261310"/>
                    <a:gd name="connsiteX3870" fmla="*/ 566383 w 1559298"/>
                    <a:gd name="connsiteY3870" fmla="*/ 903969 h 1261310"/>
                    <a:gd name="connsiteX3871" fmla="*/ 566529 w 1559298"/>
                    <a:gd name="connsiteY3871" fmla="*/ 904382 h 1261310"/>
                    <a:gd name="connsiteX3872" fmla="*/ 566735 w 1559298"/>
                    <a:gd name="connsiteY3872" fmla="*/ 904770 h 1261310"/>
                    <a:gd name="connsiteX3873" fmla="*/ 568812 w 1559298"/>
                    <a:gd name="connsiteY3873" fmla="*/ 908814 h 1261310"/>
                    <a:gd name="connsiteX3874" fmla="*/ 569892 w 1559298"/>
                    <a:gd name="connsiteY3874" fmla="*/ 910915 h 1261310"/>
                    <a:gd name="connsiteX3875" fmla="*/ 572115 w 1559298"/>
                    <a:gd name="connsiteY3875" fmla="*/ 911728 h 1261310"/>
                    <a:gd name="connsiteX3876" fmla="*/ 577105 w 1559298"/>
                    <a:gd name="connsiteY3876" fmla="*/ 913562 h 1261310"/>
                    <a:gd name="connsiteX3877" fmla="*/ 578417 w 1559298"/>
                    <a:gd name="connsiteY3877" fmla="*/ 914047 h 1261310"/>
                    <a:gd name="connsiteX3878" fmla="*/ 579813 w 1559298"/>
                    <a:gd name="connsiteY3878" fmla="*/ 913902 h 1261310"/>
                    <a:gd name="connsiteX3879" fmla="*/ 583262 w 1559298"/>
                    <a:gd name="connsiteY3879" fmla="*/ 913562 h 1261310"/>
                    <a:gd name="connsiteX3880" fmla="*/ 583468 w 1559298"/>
                    <a:gd name="connsiteY3880" fmla="*/ 913732 h 1261310"/>
                    <a:gd name="connsiteX3881" fmla="*/ 583954 w 1559298"/>
                    <a:gd name="connsiteY3881" fmla="*/ 914642 h 1261310"/>
                    <a:gd name="connsiteX3882" fmla="*/ 584597 w 1559298"/>
                    <a:gd name="connsiteY3882" fmla="*/ 916197 h 1261310"/>
                    <a:gd name="connsiteX3883" fmla="*/ 584925 w 1559298"/>
                    <a:gd name="connsiteY3883" fmla="*/ 916950 h 1261310"/>
                    <a:gd name="connsiteX3884" fmla="*/ 585435 w 1559298"/>
                    <a:gd name="connsiteY3884" fmla="*/ 917593 h 1261310"/>
                    <a:gd name="connsiteX3885" fmla="*/ 586686 w 1559298"/>
                    <a:gd name="connsiteY3885" fmla="*/ 919148 h 1261310"/>
                    <a:gd name="connsiteX3886" fmla="*/ 588131 w 1559298"/>
                    <a:gd name="connsiteY3886" fmla="*/ 920933 h 1261310"/>
                    <a:gd name="connsiteX3887" fmla="*/ 590402 w 1559298"/>
                    <a:gd name="connsiteY3887" fmla="*/ 921321 h 1261310"/>
                    <a:gd name="connsiteX3888" fmla="*/ 593049 w 1559298"/>
                    <a:gd name="connsiteY3888" fmla="*/ 921770 h 1261310"/>
                    <a:gd name="connsiteX3889" fmla="*/ 595611 w 1559298"/>
                    <a:gd name="connsiteY3889" fmla="*/ 922207 h 1261310"/>
                    <a:gd name="connsiteX3890" fmla="*/ 597700 w 1559298"/>
                    <a:gd name="connsiteY3890" fmla="*/ 920641 h 1261310"/>
                    <a:gd name="connsiteX3891" fmla="*/ 600565 w 1559298"/>
                    <a:gd name="connsiteY3891" fmla="*/ 918492 h 1261310"/>
                    <a:gd name="connsiteX3892" fmla="*/ 601173 w 1559298"/>
                    <a:gd name="connsiteY3892" fmla="*/ 918043 h 1261310"/>
                    <a:gd name="connsiteX3893" fmla="*/ 601646 w 1559298"/>
                    <a:gd name="connsiteY3893" fmla="*/ 917447 h 1261310"/>
                    <a:gd name="connsiteX3894" fmla="*/ 602618 w 1559298"/>
                    <a:gd name="connsiteY3894" fmla="*/ 916257 h 1261310"/>
                    <a:gd name="connsiteX3895" fmla="*/ 604403 w 1559298"/>
                    <a:gd name="connsiteY3895" fmla="*/ 918237 h 1261310"/>
                    <a:gd name="connsiteX3896" fmla="*/ 608118 w 1559298"/>
                    <a:gd name="connsiteY3896" fmla="*/ 916051 h 1261310"/>
                    <a:gd name="connsiteX3897" fmla="*/ 608422 w 1559298"/>
                    <a:gd name="connsiteY3897" fmla="*/ 918589 h 1261310"/>
                    <a:gd name="connsiteX3898" fmla="*/ 608531 w 1559298"/>
                    <a:gd name="connsiteY3898" fmla="*/ 919451 h 1261310"/>
                    <a:gd name="connsiteX3899" fmla="*/ 608871 w 1559298"/>
                    <a:gd name="connsiteY3899" fmla="*/ 920253 h 1261310"/>
                    <a:gd name="connsiteX3900" fmla="*/ 609843 w 1559298"/>
                    <a:gd name="connsiteY3900" fmla="*/ 922523 h 1261310"/>
                    <a:gd name="connsiteX3901" fmla="*/ 610863 w 1559298"/>
                    <a:gd name="connsiteY3901" fmla="*/ 924903 h 1261310"/>
                    <a:gd name="connsiteX3902" fmla="*/ 613291 w 1559298"/>
                    <a:gd name="connsiteY3902" fmla="*/ 925802 h 1261310"/>
                    <a:gd name="connsiteX3903" fmla="*/ 615101 w 1559298"/>
                    <a:gd name="connsiteY3903" fmla="*/ 926494 h 1261310"/>
                    <a:gd name="connsiteX3904" fmla="*/ 615113 w 1559298"/>
                    <a:gd name="connsiteY3904" fmla="*/ 926506 h 1261310"/>
                    <a:gd name="connsiteX3905" fmla="*/ 615732 w 1559298"/>
                    <a:gd name="connsiteY3905" fmla="*/ 927478 h 1261310"/>
                    <a:gd name="connsiteX3906" fmla="*/ 616582 w 1559298"/>
                    <a:gd name="connsiteY3906" fmla="*/ 928825 h 1261310"/>
                    <a:gd name="connsiteX3907" fmla="*/ 617978 w 1559298"/>
                    <a:gd name="connsiteY3907" fmla="*/ 929578 h 1261310"/>
                    <a:gd name="connsiteX3908" fmla="*/ 619776 w 1559298"/>
                    <a:gd name="connsiteY3908" fmla="*/ 930550 h 1261310"/>
                    <a:gd name="connsiteX3909" fmla="*/ 623066 w 1559298"/>
                    <a:gd name="connsiteY3909" fmla="*/ 932335 h 1261310"/>
                    <a:gd name="connsiteX3910" fmla="*/ 626139 w 1559298"/>
                    <a:gd name="connsiteY3910" fmla="*/ 930185 h 1261310"/>
                    <a:gd name="connsiteX3911" fmla="*/ 628846 w 1559298"/>
                    <a:gd name="connsiteY3911" fmla="*/ 928303 h 1261310"/>
                    <a:gd name="connsiteX3912" fmla="*/ 629842 w 1559298"/>
                    <a:gd name="connsiteY3912" fmla="*/ 927757 h 1261310"/>
                    <a:gd name="connsiteX3913" fmla="*/ 635197 w 1559298"/>
                    <a:gd name="connsiteY3913" fmla="*/ 926640 h 1261310"/>
                    <a:gd name="connsiteX3914" fmla="*/ 635598 w 1559298"/>
                    <a:gd name="connsiteY3914" fmla="*/ 926567 h 1261310"/>
                    <a:gd name="connsiteX3915" fmla="*/ 636496 w 1559298"/>
                    <a:gd name="connsiteY3915" fmla="*/ 927162 h 1261310"/>
                    <a:gd name="connsiteX3916" fmla="*/ 638051 w 1559298"/>
                    <a:gd name="connsiteY3916" fmla="*/ 927295 h 1261310"/>
                    <a:gd name="connsiteX3917" fmla="*/ 639314 w 1559298"/>
                    <a:gd name="connsiteY3917" fmla="*/ 927405 h 1261310"/>
                    <a:gd name="connsiteX3918" fmla="*/ 640443 w 1559298"/>
                    <a:gd name="connsiteY3918" fmla="*/ 927502 h 1261310"/>
                    <a:gd name="connsiteX3919" fmla="*/ 641524 w 1559298"/>
                    <a:gd name="connsiteY3919" fmla="*/ 927198 h 1261310"/>
                    <a:gd name="connsiteX3920" fmla="*/ 643879 w 1559298"/>
                    <a:gd name="connsiteY3920" fmla="*/ 926506 h 1261310"/>
                    <a:gd name="connsiteX3921" fmla="*/ 644195 w 1559298"/>
                    <a:gd name="connsiteY3921" fmla="*/ 926409 h 1261310"/>
                    <a:gd name="connsiteX3922" fmla="*/ 644487 w 1559298"/>
                    <a:gd name="connsiteY3922" fmla="*/ 926287 h 1261310"/>
                    <a:gd name="connsiteX3923" fmla="*/ 648384 w 1559298"/>
                    <a:gd name="connsiteY3923" fmla="*/ 924685 h 1261310"/>
                    <a:gd name="connsiteX3924" fmla="*/ 648846 w 1559298"/>
                    <a:gd name="connsiteY3924" fmla="*/ 924490 h 1261310"/>
                    <a:gd name="connsiteX3925" fmla="*/ 649271 w 1559298"/>
                    <a:gd name="connsiteY3925" fmla="*/ 924223 h 1261310"/>
                    <a:gd name="connsiteX3926" fmla="*/ 654699 w 1559298"/>
                    <a:gd name="connsiteY3926" fmla="*/ 920872 h 1261310"/>
                    <a:gd name="connsiteX3927" fmla="*/ 656302 w 1559298"/>
                    <a:gd name="connsiteY3927" fmla="*/ 920495 h 1261310"/>
                    <a:gd name="connsiteX3928" fmla="*/ 656739 w 1559298"/>
                    <a:gd name="connsiteY3928" fmla="*/ 920508 h 1261310"/>
                    <a:gd name="connsiteX3929" fmla="*/ 659119 w 1559298"/>
                    <a:gd name="connsiteY3929" fmla="*/ 921807 h 1261310"/>
                    <a:gd name="connsiteX3930" fmla="*/ 660442 w 1559298"/>
                    <a:gd name="connsiteY3930" fmla="*/ 922535 h 1261310"/>
                    <a:gd name="connsiteX3931" fmla="*/ 661960 w 1559298"/>
                    <a:gd name="connsiteY3931" fmla="*/ 922560 h 1261310"/>
                    <a:gd name="connsiteX3932" fmla="*/ 663854 w 1559298"/>
                    <a:gd name="connsiteY3932" fmla="*/ 922584 h 1261310"/>
                    <a:gd name="connsiteX3933" fmla="*/ 664899 w 1559298"/>
                    <a:gd name="connsiteY3933" fmla="*/ 922596 h 1261310"/>
                    <a:gd name="connsiteX3934" fmla="*/ 665894 w 1559298"/>
                    <a:gd name="connsiteY3934" fmla="*/ 922256 h 1261310"/>
                    <a:gd name="connsiteX3935" fmla="*/ 667728 w 1559298"/>
                    <a:gd name="connsiteY3935" fmla="*/ 921624 h 1261310"/>
                    <a:gd name="connsiteX3936" fmla="*/ 668323 w 1559298"/>
                    <a:gd name="connsiteY3936" fmla="*/ 921418 h 1261310"/>
                    <a:gd name="connsiteX3937" fmla="*/ 668857 w 1559298"/>
                    <a:gd name="connsiteY3937" fmla="*/ 921102 h 1261310"/>
                    <a:gd name="connsiteX3938" fmla="*/ 671419 w 1559298"/>
                    <a:gd name="connsiteY3938" fmla="*/ 919584 h 1261310"/>
                    <a:gd name="connsiteX3939" fmla="*/ 672731 w 1559298"/>
                    <a:gd name="connsiteY3939" fmla="*/ 919257 h 1261310"/>
                    <a:gd name="connsiteX3940" fmla="*/ 673617 w 1559298"/>
                    <a:gd name="connsiteY3940" fmla="*/ 919172 h 1261310"/>
                    <a:gd name="connsiteX3941" fmla="*/ 673702 w 1559298"/>
                    <a:gd name="connsiteY3941" fmla="*/ 919196 h 1261310"/>
                    <a:gd name="connsiteX3942" fmla="*/ 673848 w 1559298"/>
                    <a:gd name="connsiteY3942" fmla="*/ 919269 h 1261310"/>
                    <a:gd name="connsiteX3943" fmla="*/ 676374 w 1559298"/>
                    <a:gd name="connsiteY3943" fmla="*/ 921673 h 1261310"/>
                    <a:gd name="connsiteX3944" fmla="*/ 676690 w 1559298"/>
                    <a:gd name="connsiteY3944" fmla="*/ 921965 h 1261310"/>
                    <a:gd name="connsiteX3945" fmla="*/ 677054 w 1559298"/>
                    <a:gd name="connsiteY3945" fmla="*/ 922220 h 1261310"/>
                    <a:gd name="connsiteX3946" fmla="*/ 678887 w 1559298"/>
                    <a:gd name="connsiteY3946" fmla="*/ 923507 h 1261310"/>
                    <a:gd name="connsiteX3947" fmla="*/ 679774 w 1559298"/>
                    <a:gd name="connsiteY3947" fmla="*/ 924126 h 1261310"/>
                    <a:gd name="connsiteX3948" fmla="*/ 680818 w 1559298"/>
                    <a:gd name="connsiteY3948" fmla="*/ 924405 h 1261310"/>
                    <a:gd name="connsiteX3949" fmla="*/ 682785 w 1559298"/>
                    <a:gd name="connsiteY3949" fmla="*/ 924927 h 1261310"/>
                    <a:gd name="connsiteX3950" fmla="*/ 683599 w 1559298"/>
                    <a:gd name="connsiteY3950" fmla="*/ 925146 h 1261310"/>
                    <a:gd name="connsiteX3951" fmla="*/ 684449 w 1559298"/>
                    <a:gd name="connsiteY3951" fmla="*/ 925134 h 1261310"/>
                    <a:gd name="connsiteX3952" fmla="*/ 688820 w 1559298"/>
                    <a:gd name="connsiteY3952" fmla="*/ 925061 h 1261310"/>
                    <a:gd name="connsiteX3953" fmla="*/ 690411 w 1559298"/>
                    <a:gd name="connsiteY3953" fmla="*/ 925268 h 1261310"/>
                    <a:gd name="connsiteX3954" fmla="*/ 695220 w 1559298"/>
                    <a:gd name="connsiteY3954" fmla="*/ 926409 h 1261310"/>
                    <a:gd name="connsiteX3955" fmla="*/ 696313 w 1559298"/>
                    <a:gd name="connsiteY3955" fmla="*/ 926664 h 1261310"/>
                    <a:gd name="connsiteX3956" fmla="*/ 697418 w 1559298"/>
                    <a:gd name="connsiteY3956" fmla="*/ 926518 h 1261310"/>
                    <a:gd name="connsiteX3957" fmla="*/ 699834 w 1559298"/>
                    <a:gd name="connsiteY3957" fmla="*/ 926203 h 1261310"/>
                    <a:gd name="connsiteX3958" fmla="*/ 700951 w 1559298"/>
                    <a:gd name="connsiteY3958" fmla="*/ 926045 h 1261310"/>
                    <a:gd name="connsiteX3959" fmla="*/ 701947 w 1559298"/>
                    <a:gd name="connsiteY3959" fmla="*/ 925498 h 1261310"/>
                    <a:gd name="connsiteX3960" fmla="*/ 703780 w 1559298"/>
                    <a:gd name="connsiteY3960" fmla="*/ 924490 h 1261310"/>
                    <a:gd name="connsiteX3961" fmla="*/ 704096 w 1559298"/>
                    <a:gd name="connsiteY3961" fmla="*/ 924308 h 1261310"/>
                    <a:gd name="connsiteX3962" fmla="*/ 704388 w 1559298"/>
                    <a:gd name="connsiteY3962" fmla="*/ 924102 h 1261310"/>
                    <a:gd name="connsiteX3963" fmla="*/ 708407 w 1559298"/>
                    <a:gd name="connsiteY3963" fmla="*/ 921236 h 1261310"/>
                    <a:gd name="connsiteX3964" fmla="*/ 709172 w 1559298"/>
                    <a:gd name="connsiteY3964" fmla="*/ 920678 h 1261310"/>
                    <a:gd name="connsiteX3965" fmla="*/ 709730 w 1559298"/>
                    <a:gd name="connsiteY3965" fmla="*/ 919925 h 1261310"/>
                    <a:gd name="connsiteX3966" fmla="*/ 710714 w 1559298"/>
                    <a:gd name="connsiteY3966" fmla="*/ 918613 h 1261310"/>
                    <a:gd name="connsiteX3967" fmla="*/ 712317 w 1559298"/>
                    <a:gd name="connsiteY3967" fmla="*/ 916464 h 1261310"/>
                    <a:gd name="connsiteX3968" fmla="*/ 711819 w 1559298"/>
                    <a:gd name="connsiteY3968" fmla="*/ 913829 h 1261310"/>
                    <a:gd name="connsiteX3969" fmla="*/ 711418 w 1559298"/>
                    <a:gd name="connsiteY3969" fmla="*/ 911704 h 1261310"/>
                    <a:gd name="connsiteX3970" fmla="*/ 711090 w 1559298"/>
                    <a:gd name="connsiteY3970" fmla="*/ 909992 h 1261310"/>
                    <a:gd name="connsiteX3971" fmla="*/ 709901 w 1559298"/>
                    <a:gd name="connsiteY3971" fmla="*/ 908717 h 1261310"/>
                    <a:gd name="connsiteX3972" fmla="*/ 708346 w 1559298"/>
                    <a:gd name="connsiteY3972" fmla="*/ 907041 h 1261310"/>
                    <a:gd name="connsiteX3973" fmla="*/ 707897 w 1559298"/>
                    <a:gd name="connsiteY3973" fmla="*/ 906543 h 1261310"/>
                    <a:gd name="connsiteX3974" fmla="*/ 707350 w 1559298"/>
                    <a:gd name="connsiteY3974" fmla="*/ 906179 h 1261310"/>
                    <a:gd name="connsiteX3975" fmla="*/ 704254 w 1559298"/>
                    <a:gd name="connsiteY3975" fmla="*/ 904030 h 1261310"/>
                    <a:gd name="connsiteX3976" fmla="*/ 703598 w 1559298"/>
                    <a:gd name="connsiteY3976" fmla="*/ 900799 h 1261310"/>
                    <a:gd name="connsiteX3977" fmla="*/ 703477 w 1559298"/>
                    <a:gd name="connsiteY3977" fmla="*/ 900229 h 1261310"/>
                    <a:gd name="connsiteX3978" fmla="*/ 703246 w 1559298"/>
                    <a:gd name="connsiteY3978" fmla="*/ 899682 h 1261310"/>
                    <a:gd name="connsiteX3979" fmla="*/ 702554 w 1559298"/>
                    <a:gd name="connsiteY3979" fmla="*/ 898007 h 1261310"/>
                    <a:gd name="connsiteX3980" fmla="*/ 702020 w 1559298"/>
                    <a:gd name="connsiteY3980" fmla="*/ 896719 h 1261310"/>
                    <a:gd name="connsiteX3981" fmla="*/ 700975 w 1559298"/>
                    <a:gd name="connsiteY3981" fmla="*/ 895797 h 1261310"/>
                    <a:gd name="connsiteX3982" fmla="*/ 700575 w 1559298"/>
                    <a:gd name="connsiteY3982" fmla="*/ 895445 h 1261310"/>
                    <a:gd name="connsiteX3983" fmla="*/ 700648 w 1559298"/>
                    <a:gd name="connsiteY3983" fmla="*/ 895335 h 1261310"/>
                    <a:gd name="connsiteX3984" fmla="*/ 701838 w 1559298"/>
                    <a:gd name="connsiteY3984" fmla="*/ 894182 h 1261310"/>
                    <a:gd name="connsiteX3985" fmla="*/ 702530 w 1559298"/>
                    <a:gd name="connsiteY3985" fmla="*/ 893514 h 1261310"/>
                    <a:gd name="connsiteX3986" fmla="*/ 702979 w 1559298"/>
                    <a:gd name="connsiteY3986" fmla="*/ 892676 h 1261310"/>
                    <a:gd name="connsiteX3987" fmla="*/ 703671 w 1559298"/>
                    <a:gd name="connsiteY3987" fmla="*/ 891389 h 1261310"/>
                    <a:gd name="connsiteX3988" fmla="*/ 704667 w 1559298"/>
                    <a:gd name="connsiteY3988" fmla="*/ 889543 h 1261310"/>
                    <a:gd name="connsiteX3989" fmla="*/ 704315 w 1559298"/>
                    <a:gd name="connsiteY3989" fmla="*/ 887479 h 1261310"/>
                    <a:gd name="connsiteX3990" fmla="*/ 704072 w 1559298"/>
                    <a:gd name="connsiteY3990" fmla="*/ 886082 h 1261310"/>
                    <a:gd name="connsiteX3991" fmla="*/ 703890 w 1559298"/>
                    <a:gd name="connsiteY3991" fmla="*/ 885038 h 1261310"/>
                    <a:gd name="connsiteX3992" fmla="*/ 703355 w 1559298"/>
                    <a:gd name="connsiteY3992" fmla="*/ 884103 h 1261310"/>
                    <a:gd name="connsiteX3993" fmla="*/ 703234 w 1559298"/>
                    <a:gd name="connsiteY3993" fmla="*/ 883884 h 1261310"/>
                    <a:gd name="connsiteX3994" fmla="*/ 703416 w 1559298"/>
                    <a:gd name="connsiteY3994" fmla="*/ 883253 h 1261310"/>
                    <a:gd name="connsiteX3995" fmla="*/ 703562 w 1559298"/>
                    <a:gd name="connsiteY3995" fmla="*/ 882731 h 1261310"/>
                    <a:gd name="connsiteX3996" fmla="*/ 703610 w 1559298"/>
                    <a:gd name="connsiteY3996" fmla="*/ 882197 h 1261310"/>
                    <a:gd name="connsiteX3997" fmla="*/ 703780 w 1559298"/>
                    <a:gd name="connsiteY3997" fmla="*/ 880557 h 1261310"/>
                    <a:gd name="connsiteX3998" fmla="*/ 703841 w 1559298"/>
                    <a:gd name="connsiteY3998" fmla="*/ 880035 h 1261310"/>
                    <a:gd name="connsiteX3999" fmla="*/ 703805 w 1559298"/>
                    <a:gd name="connsiteY3999" fmla="*/ 879501 h 1261310"/>
                    <a:gd name="connsiteX4000" fmla="*/ 703695 w 1559298"/>
                    <a:gd name="connsiteY4000" fmla="*/ 877898 h 1261310"/>
                    <a:gd name="connsiteX4001" fmla="*/ 703598 w 1559298"/>
                    <a:gd name="connsiteY4001" fmla="*/ 876465 h 1261310"/>
                    <a:gd name="connsiteX4002" fmla="*/ 702858 w 1559298"/>
                    <a:gd name="connsiteY4002" fmla="*/ 875214 h 1261310"/>
                    <a:gd name="connsiteX4003" fmla="*/ 701935 w 1559298"/>
                    <a:gd name="connsiteY4003" fmla="*/ 873660 h 1261310"/>
                    <a:gd name="connsiteX4004" fmla="*/ 701680 w 1559298"/>
                    <a:gd name="connsiteY4004" fmla="*/ 873247 h 1261310"/>
                    <a:gd name="connsiteX4005" fmla="*/ 701607 w 1559298"/>
                    <a:gd name="connsiteY4005" fmla="*/ 873162 h 1261310"/>
                    <a:gd name="connsiteX4006" fmla="*/ 709451 w 1559298"/>
                    <a:gd name="connsiteY4006" fmla="*/ 870916 h 1261310"/>
                    <a:gd name="connsiteX4007" fmla="*/ 710799 w 1559298"/>
                    <a:gd name="connsiteY4007" fmla="*/ 870539 h 1261310"/>
                    <a:gd name="connsiteX4008" fmla="*/ 711843 w 1559298"/>
                    <a:gd name="connsiteY4008" fmla="*/ 869604 h 1261310"/>
                    <a:gd name="connsiteX4009" fmla="*/ 715523 w 1559298"/>
                    <a:gd name="connsiteY4009" fmla="*/ 866301 h 1261310"/>
                    <a:gd name="connsiteX4010" fmla="*/ 716846 w 1559298"/>
                    <a:gd name="connsiteY4010" fmla="*/ 865099 h 1261310"/>
                    <a:gd name="connsiteX4011" fmla="*/ 717320 w 1559298"/>
                    <a:gd name="connsiteY4011" fmla="*/ 863375 h 1261310"/>
                    <a:gd name="connsiteX4012" fmla="*/ 717781 w 1559298"/>
                    <a:gd name="connsiteY4012" fmla="*/ 861699 h 1261310"/>
                    <a:gd name="connsiteX4013" fmla="*/ 717818 w 1559298"/>
                    <a:gd name="connsiteY4013" fmla="*/ 861614 h 1261310"/>
                    <a:gd name="connsiteX4014" fmla="*/ 718097 w 1559298"/>
                    <a:gd name="connsiteY4014" fmla="*/ 861444 h 1261310"/>
                    <a:gd name="connsiteX4015" fmla="*/ 721886 w 1559298"/>
                    <a:gd name="connsiteY4015" fmla="*/ 859963 h 1261310"/>
                    <a:gd name="connsiteX4016" fmla="*/ 722626 w 1559298"/>
                    <a:gd name="connsiteY4016" fmla="*/ 859671 h 1261310"/>
                    <a:gd name="connsiteX4017" fmla="*/ 723270 w 1559298"/>
                    <a:gd name="connsiteY4017" fmla="*/ 859198 h 1261310"/>
                    <a:gd name="connsiteX4018" fmla="*/ 724703 w 1559298"/>
                    <a:gd name="connsiteY4018" fmla="*/ 858141 h 1261310"/>
                    <a:gd name="connsiteX4019" fmla="*/ 725613 w 1559298"/>
                    <a:gd name="connsiteY4019" fmla="*/ 857473 h 1261310"/>
                    <a:gd name="connsiteX4020" fmla="*/ 726221 w 1559298"/>
                    <a:gd name="connsiteY4020" fmla="*/ 856514 h 1261310"/>
                    <a:gd name="connsiteX4021" fmla="*/ 727071 w 1559298"/>
                    <a:gd name="connsiteY4021" fmla="*/ 855191 h 1261310"/>
                    <a:gd name="connsiteX4022" fmla="*/ 727872 w 1559298"/>
                    <a:gd name="connsiteY4022" fmla="*/ 853928 h 1261310"/>
                    <a:gd name="connsiteX4023" fmla="*/ 727993 w 1559298"/>
                    <a:gd name="connsiteY4023" fmla="*/ 852434 h 1261310"/>
                    <a:gd name="connsiteX4024" fmla="*/ 728115 w 1559298"/>
                    <a:gd name="connsiteY4024" fmla="*/ 850928 h 1261310"/>
                    <a:gd name="connsiteX4025" fmla="*/ 728127 w 1559298"/>
                    <a:gd name="connsiteY4025" fmla="*/ 850819 h 1261310"/>
                    <a:gd name="connsiteX4026" fmla="*/ 728661 w 1559298"/>
                    <a:gd name="connsiteY4026" fmla="*/ 850661 h 1261310"/>
                    <a:gd name="connsiteX4027" fmla="*/ 729256 w 1559298"/>
                    <a:gd name="connsiteY4027" fmla="*/ 850333 h 1261310"/>
                    <a:gd name="connsiteX4028" fmla="*/ 730653 w 1559298"/>
                    <a:gd name="connsiteY4028" fmla="*/ 849556 h 1261310"/>
                    <a:gd name="connsiteX4029" fmla="*/ 731406 w 1559298"/>
                    <a:gd name="connsiteY4029" fmla="*/ 849131 h 1261310"/>
                    <a:gd name="connsiteX4030" fmla="*/ 732013 w 1559298"/>
                    <a:gd name="connsiteY4030" fmla="*/ 848500 h 1261310"/>
                    <a:gd name="connsiteX4031" fmla="*/ 732863 w 1559298"/>
                    <a:gd name="connsiteY4031" fmla="*/ 847638 h 1261310"/>
                    <a:gd name="connsiteX4032" fmla="*/ 733737 w 1559298"/>
                    <a:gd name="connsiteY4032" fmla="*/ 846751 h 1261310"/>
                    <a:gd name="connsiteX4033" fmla="*/ 734186 w 1559298"/>
                    <a:gd name="connsiteY4033" fmla="*/ 845598 h 1261310"/>
                    <a:gd name="connsiteX4034" fmla="*/ 734466 w 1559298"/>
                    <a:gd name="connsiteY4034" fmla="*/ 844881 h 1261310"/>
                    <a:gd name="connsiteX4035" fmla="*/ 735437 w 1559298"/>
                    <a:gd name="connsiteY4035" fmla="*/ 845391 h 1261310"/>
                    <a:gd name="connsiteX4036" fmla="*/ 736882 w 1559298"/>
                    <a:gd name="connsiteY4036" fmla="*/ 846144 h 1261310"/>
                    <a:gd name="connsiteX4037" fmla="*/ 738509 w 1559298"/>
                    <a:gd name="connsiteY4037" fmla="*/ 846071 h 1261310"/>
                    <a:gd name="connsiteX4038" fmla="*/ 741788 w 1559298"/>
                    <a:gd name="connsiteY4038" fmla="*/ 845926 h 1261310"/>
                    <a:gd name="connsiteX4039" fmla="*/ 742346 w 1559298"/>
                    <a:gd name="connsiteY4039" fmla="*/ 845889 h 1261310"/>
                    <a:gd name="connsiteX4040" fmla="*/ 742893 w 1559298"/>
                    <a:gd name="connsiteY4040" fmla="*/ 845768 h 1261310"/>
                    <a:gd name="connsiteX4041" fmla="*/ 743718 w 1559298"/>
                    <a:gd name="connsiteY4041" fmla="*/ 845573 h 1261310"/>
                    <a:gd name="connsiteX4042" fmla="*/ 745188 w 1559298"/>
                    <a:gd name="connsiteY4042" fmla="*/ 847625 h 1261310"/>
                    <a:gd name="connsiteX4043" fmla="*/ 745479 w 1559298"/>
                    <a:gd name="connsiteY4043" fmla="*/ 848038 h 1261310"/>
                    <a:gd name="connsiteX4044" fmla="*/ 745831 w 1559298"/>
                    <a:gd name="connsiteY4044" fmla="*/ 848391 h 1261310"/>
                    <a:gd name="connsiteX4045" fmla="*/ 747495 w 1559298"/>
                    <a:gd name="connsiteY4045" fmla="*/ 850066 h 1261310"/>
                    <a:gd name="connsiteX4046" fmla="*/ 748017 w 1559298"/>
                    <a:gd name="connsiteY4046" fmla="*/ 850589 h 1261310"/>
                    <a:gd name="connsiteX4047" fmla="*/ 748649 w 1559298"/>
                    <a:gd name="connsiteY4047" fmla="*/ 850977 h 1261310"/>
                    <a:gd name="connsiteX4048" fmla="*/ 750616 w 1559298"/>
                    <a:gd name="connsiteY4048" fmla="*/ 852167 h 1261310"/>
                    <a:gd name="connsiteX4049" fmla="*/ 754404 w 1559298"/>
                    <a:gd name="connsiteY4049" fmla="*/ 855482 h 1261310"/>
                    <a:gd name="connsiteX4050" fmla="*/ 755631 w 1559298"/>
                    <a:gd name="connsiteY4050" fmla="*/ 856551 h 1261310"/>
                    <a:gd name="connsiteX4051" fmla="*/ 757209 w 1559298"/>
                    <a:gd name="connsiteY4051" fmla="*/ 856866 h 1261310"/>
                    <a:gd name="connsiteX4052" fmla="*/ 760087 w 1559298"/>
                    <a:gd name="connsiteY4052" fmla="*/ 857449 h 1261310"/>
                    <a:gd name="connsiteX4053" fmla="*/ 765855 w 1559298"/>
                    <a:gd name="connsiteY4053" fmla="*/ 858615 h 1261310"/>
                    <a:gd name="connsiteX4054" fmla="*/ 767191 w 1559298"/>
                    <a:gd name="connsiteY4054" fmla="*/ 852884 h 1261310"/>
                    <a:gd name="connsiteX4055" fmla="*/ 769280 w 1559298"/>
                    <a:gd name="connsiteY4055" fmla="*/ 843958 h 1261310"/>
                    <a:gd name="connsiteX4056" fmla="*/ 770567 w 1559298"/>
                    <a:gd name="connsiteY4056" fmla="*/ 840583 h 1261310"/>
                    <a:gd name="connsiteX4057" fmla="*/ 771465 w 1559298"/>
                    <a:gd name="connsiteY4057" fmla="*/ 839016 h 1261310"/>
                    <a:gd name="connsiteX4058" fmla="*/ 771781 w 1559298"/>
                    <a:gd name="connsiteY4058" fmla="*/ 838761 h 1261310"/>
                    <a:gd name="connsiteX4059" fmla="*/ 774720 w 1559298"/>
                    <a:gd name="connsiteY4059" fmla="*/ 837413 h 1261310"/>
                    <a:gd name="connsiteX4060" fmla="*/ 777051 w 1559298"/>
                    <a:gd name="connsiteY4060" fmla="*/ 836114 h 1261310"/>
                    <a:gd name="connsiteX4061" fmla="*/ 777549 w 1559298"/>
                    <a:gd name="connsiteY4061" fmla="*/ 835835 h 1261310"/>
                    <a:gd name="connsiteX4062" fmla="*/ 777974 w 1559298"/>
                    <a:gd name="connsiteY4062" fmla="*/ 835458 h 1261310"/>
                    <a:gd name="connsiteX4063" fmla="*/ 779407 w 1559298"/>
                    <a:gd name="connsiteY4063" fmla="*/ 834220 h 1261310"/>
                    <a:gd name="connsiteX4064" fmla="*/ 780038 w 1559298"/>
                    <a:gd name="connsiteY4064" fmla="*/ 833686 h 1261310"/>
                    <a:gd name="connsiteX4065" fmla="*/ 780500 w 1559298"/>
                    <a:gd name="connsiteY4065" fmla="*/ 832993 h 1261310"/>
                    <a:gd name="connsiteX4066" fmla="*/ 781252 w 1559298"/>
                    <a:gd name="connsiteY4066" fmla="*/ 831864 h 1261310"/>
                    <a:gd name="connsiteX4067" fmla="*/ 782066 w 1559298"/>
                    <a:gd name="connsiteY4067" fmla="*/ 830650 h 1261310"/>
                    <a:gd name="connsiteX4068" fmla="*/ 782236 w 1559298"/>
                    <a:gd name="connsiteY4068" fmla="*/ 829205 h 1261310"/>
                    <a:gd name="connsiteX4069" fmla="*/ 782454 w 1559298"/>
                    <a:gd name="connsiteY4069" fmla="*/ 827371 h 1261310"/>
                    <a:gd name="connsiteX4070" fmla="*/ 782552 w 1559298"/>
                    <a:gd name="connsiteY4070" fmla="*/ 826558 h 1261310"/>
                    <a:gd name="connsiteX4071" fmla="*/ 782430 w 1559298"/>
                    <a:gd name="connsiteY4071" fmla="*/ 825756 h 1261310"/>
                    <a:gd name="connsiteX4072" fmla="*/ 782030 w 1559298"/>
                    <a:gd name="connsiteY4072" fmla="*/ 823072 h 1261310"/>
                    <a:gd name="connsiteX4073" fmla="*/ 781908 w 1559298"/>
                    <a:gd name="connsiteY4073" fmla="*/ 822320 h 1261310"/>
                    <a:gd name="connsiteX4074" fmla="*/ 781605 w 1559298"/>
                    <a:gd name="connsiteY4074" fmla="*/ 821615 h 1261310"/>
                    <a:gd name="connsiteX4075" fmla="*/ 781459 w 1559298"/>
                    <a:gd name="connsiteY4075" fmla="*/ 821263 h 1261310"/>
                    <a:gd name="connsiteX4076" fmla="*/ 787640 w 1559298"/>
                    <a:gd name="connsiteY4076" fmla="*/ 823012 h 1261310"/>
                    <a:gd name="connsiteX4077" fmla="*/ 788417 w 1559298"/>
                    <a:gd name="connsiteY4077" fmla="*/ 823230 h 1261310"/>
                    <a:gd name="connsiteX4078" fmla="*/ 789230 w 1559298"/>
                    <a:gd name="connsiteY4078" fmla="*/ 823243 h 1261310"/>
                    <a:gd name="connsiteX4079" fmla="*/ 791829 w 1559298"/>
                    <a:gd name="connsiteY4079" fmla="*/ 823267 h 1261310"/>
                    <a:gd name="connsiteX4080" fmla="*/ 793395 w 1559298"/>
                    <a:gd name="connsiteY4080" fmla="*/ 823279 h 1261310"/>
                    <a:gd name="connsiteX4081" fmla="*/ 794768 w 1559298"/>
                    <a:gd name="connsiteY4081" fmla="*/ 822526 h 1261310"/>
                    <a:gd name="connsiteX4082" fmla="*/ 797050 w 1559298"/>
                    <a:gd name="connsiteY4082" fmla="*/ 821287 h 1261310"/>
                    <a:gd name="connsiteX4083" fmla="*/ 798034 w 1559298"/>
                    <a:gd name="connsiteY4083" fmla="*/ 820765 h 1261310"/>
                    <a:gd name="connsiteX4084" fmla="*/ 798762 w 1559298"/>
                    <a:gd name="connsiteY4084" fmla="*/ 819927 h 1261310"/>
                    <a:gd name="connsiteX4085" fmla="*/ 800948 w 1559298"/>
                    <a:gd name="connsiteY4085" fmla="*/ 817402 h 1261310"/>
                    <a:gd name="connsiteX4086" fmla="*/ 801495 w 1559298"/>
                    <a:gd name="connsiteY4086" fmla="*/ 816758 h 1261310"/>
                    <a:gd name="connsiteX4087" fmla="*/ 801847 w 1559298"/>
                    <a:gd name="connsiteY4087" fmla="*/ 816005 h 1261310"/>
                    <a:gd name="connsiteX4088" fmla="*/ 804555 w 1559298"/>
                    <a:gd name="connsiteY4088" fmla="*/ 810225 h 1261310"/>
                    <a:gd name="connsiteX4089" fmla="*/ 804810 w 1559298"/>
                    <a:gd name="connsiteY4089" fmla="*/ 809691 h 1261310"/>
                    <a:gd name="connsiteX4090" fmla="*/ 804955 w 1559298"/>
                    <a:gd name="connsiteY4090" fmla="*/ 809120 h 1261310"/>
                    <a:gd name="connsiteX4091" fmla="*/ 805988 w 1559298"/>
                    <a:gd name="connsiteY4091" fmla="*/ 804980 h 1261310"/>
                    <a:gd name="connsiteX4092" fmla="*/ 806085 w 1559298"/>
                    <a:gd name="connsiteY4092" fmla="*/ 804567 h 1261310"/>
                    <a:gd name="connsiteX4093" fmla="*/ 806121 w 1559298"/>
                    <a:gd name="connsiteY4093" fmla="*/ 804154 h 1261310"/>
                    <a:gd name="connsiteX4094" fmla="*/ 806522 w 1559298"/>
                    <a:gd name="connsiteY4094" fmla="*/ 800365 h 1261310"/>
                    <a:gd name="connsiteX4095" fmla="*/ 806595 w 1559298"/>
                    <a:gd name="connsiteY4095" fmla="*/ 799685 h 1261310"/>
                    <a:gd name="connsiteX4096" fmla="*/ 806522 w 1559298"/>
                    <a:gd name="connsiteY4096" fmla="*/ 799005 h 1261310"/>
                    <a:gd name="connsiteX4097" fmla="*/ 805915 w 1559298"/>
                    <a:gd name="connsiteY4097" fmla="*/ 793881 h 1261310"/>
                    <a:gd name="connsiteX4098" fmla="*/ 805915 w 1559298"/>
                    <a:gd name="connsiteY4098" fmla="*/ 791695 h 1261310"/>
                    <a:gd name="connsiteX4099" fmla="*/ 806182 w 1559298"/>
                    <a:gd name="connsiteY4099" fmla="*/ 790104 h 1261310"/>
                    <a:gd name="connsiteX4100" fmla="*/ 808453 w 1559298"/>
                    <a:gd name="connsiteY4100" fmla="*/ 780779 h 1261310"/>
                    <a:gd name="connsiteX4101" fmla="*/ 808562 w 1559298"/>
                    <a:gd name="connsiteY4101" fmla="*/ 780329 h 1261310"/>
                    <a:gd name="connsiteX4102" fmla="*/ 808598 w 1559298"/>
                    <a:gd name="connsiteY4102" fmla="*/ 779868 h 1261310"/>
                    <a:gd name="connsiteX4103" fmla="*/ 808817 w 1559298"/>
                    <a:gd name="connsiteY4103" fmla="*/ 777245 h 1261310"/>
                    <a:gd name="connsiteX4104" fmla="*/ 808841 w 1559298"/>
                    <a:gd name="connsiteY4104" fmla="*/ 774319 h 1261310"/>
                    <a:gd name="connsiteX4105" fmla="*/ 808841 w 1559298"/>
                    <a:gd name="connsiteY4105" fmla="*/ 773979 h 1261310"/>
                    <a:gd name="connsiteX4106" fmla="*/ 808805 w 1559298"/>
                    <a:gd name="connsiteY4106" fmla="*/ 773639 h 1261310"/>
                    <a:gd name="connsiteX4107" fmla="*/ 808198 w 1559298"/>
                    <a:gd name="connsiteY4107" fmla="*/ 768271 h 1261310"/>
                    <a:gd name="connsiteX4108" fmla="*/ 808950 w 1559298"/>
                    <a:gd name="connsiteY4108" fmla="*/ 767688 h 1261310"/>
                    <a:gd name="connsiteX4109" fmla="*/ 813917 w 1559298"/>
                    <a:gd name="connsiteY4109" fmla="*/ 765879 h 1261310"/>
                    <a:gd name="connsiteX4110" fmla="*/ 816273 w 1559298"/>
                    <a:gd name="connsiteY4110" fmla="*/ 765624 h 1261310"/>
                    <a:gd name="connsiteX4111" fmla="*/ 820571 w 1559298"/>
                    <a:gd name="connsiteY4111" fmla="*/ 766317 h 1261310"/>
                    <a:gd name="connsiteX4112" fmla="*/ 821215 w 1559298"/>
                    <a:gd name="connsiteY4112" fmla="*/ 766426 h 1261310"/>
                    <a:gd name="connsiteX4113" fmla="*/ 821870 w 1559298"/>
                    <a:gd name="connsiteY4113" fmla="*/ 766389 h 1261310"/>
                    <a:gd name="connsiteX4114" fmla="*/ 823425 w 1559298"/>
                    <a:gd name="connsiteY4114" fmla="*/ 766304 h 1261310"/>
                    <a:gd name="connsiteX4115" fmla="*/ 824445 w 1559298"/>
                    <a:gd name="connsiteY4115" fmla="*/ 766256 h 1261310"/>
                    <a:gd name="connsiteX4116" fmla="*/ 825392 w 1559298"/>
                    <a:gd name="connsiteY4116" fmla="*/ 765867 h 1261310"/>
                    <a:gd name="connsiteX4117" fmla="*/ 827226 w 1559298"/>
                    <a:gd name="connsiteY4117" fmla="*/ 765114 h 1261310"/>
                    <a:gd name="connsiteX4118" fmla="*/ 827553 w 1559298"/>
                    <a:gd name="connsiteY4118" fmla="*/ 764981 h 1261310"/>
                    <a:gd name="connsiteX4119" fmla="*/ 827857 w 1559298"/>
                    <a:gd name="connsiteY4119" fmla="*/ 764799 h 1261310"/>
                    <a:gd name="connsiteX4120" fmla="*/ 829569 w 1559298"/>
                    <a:gd name="connsiteY4120" fmla="*/ 763864 h 1261310"/>
                    <a:gd name="connsiteX4121" fmla="*/ 830358 w 1559298"/>
                    <a:gd name="connsiteY4121" fmla="*/ 763633 h 1261310"/>
                    <a:gd name="connsiteX4122" fmla="*/ 830966 w 1559298"/>
                    <a:gd name="connsiteY4122" fmla="*/ 763608 h 1261310"/>
                    <a:gd name="connsiteX4123" fmla="*/ 834074 w 1559298"/>
                    <a:gd name="connsiteY4123" fmla="*/ 764106 h 1261310"/>
                    <a:gd name="connsiteX4124" fmla="*/ 835179 w 1559298"/>
                    <a:gd name="connsiteY4124" fmla="*/ 764288 h 1261310"/>
                    <a:gd name="connsiteX4125" fmla="*/ 836272 w 1559298"/>
                    <a:gd name="connsiteY4125" fmla="*/ 764058 h 1261310"/>
                    <a:gd name="connsiteX4126" fmla="*/ 838276 w 1559298"/>
                    <a:gd name="connsiteY4126" fmla="*/ 763645 h 1261310"/>
                    <a:gd name="connsiteX4127" fmla="*/ 839648 w 1559298"/>
                    <a:gd name="connsiteY4127" fmla="*/ 763366 h 1261310"/>
                    <a:gd name="connsiteX4128" fmla="*/ 840765 w 1559298"/>
                    <a:gd name="connsiteY4128" fmla="*/ 762504 h 1261310"/>
                    <a:gd name="connsiteX4129" fmla="*/ 842198 w 1559298"/>
                    <a:gd name="connsiteY4129" fmla="*/ 761386 h 1261310"/>
                    <a:gd name="connsiteX4130" fmla="*/ 843594 w 1559298"/>
                    <a:gd name="connsiteY4130" fmla="*/ 760306 h 1261310"/>
                    <a:gd name="connsiteX4131" fmla="*/ 844189 w 1559298"/>
                    <a:gd name="connsiteY4131" fmla="*/ 758630 h 1261310"/>
                    <a:gd name="connsiteX4132" fmla="*/ 844991 w 1559298"/>
                    <a:gd name="connsiteY4132" fmla="*/ 756383 h 1261310"/>
                    <a:gd name="connsiteX4133" fmla="*/ 845173 w 1559298"/>
                    <a:gd name="connsiteY4133" fmla="*/ 755886 h 1261310"/>
                    <a:gd name="connsiteX4134" fmla="*/ 845258 w 1559298"/>
                    <a:gd name="connsiteY4134" fmla="*/ 755351 h 1261310"/>
                    <a:gd name="connsiteX4135" fmla="*/ 845525 w 1559298"/>
                    <a:gd name="connsiteY4135" fmla="*/ 753724 h 1261310"/>
                    <a:gd name="connsiteX4136" fmla="*/ 845841 w 1559298"/>
                    <a:gd name="connsiteY4136" fmla="*/ 752717 h 1261310"/>
                    <a:gd name="connsiteX4137" fmla="*/ 846363 w 1559298"/>
                    <a:gd name="connsiteY4137" fmla="*/ 751915 h 1261310"/>
                    <a:gd name="connsiteX4138" fmla="*/ 848099 w 1559298"/>
                    <a:gd name="connsiteY4138" fmla="*/ 750166 h 1261310"/>
                    <a:gd name="connsiteX4139" fmla="*/ 858226 w 1559298"/>
                    <a:gd name="connsiteY4139" fmla="*/ 742492 h 1261310"/>
                    <a:gd name="connsiteX4140" fmla="*/ 862076 w 1559298"/>
                    <a:gd name="connsiteY4140" fmla="*/ 740877 h 1261310"/>
                    <a:gd name="connsiteX4141" fmla="*/ 863375 w 1559298"/>
                    <a:gd name="connsiteY4141" fmla="*/ 740598 h 1261310"/>
                    <a:gd name="connsiteX4142" fmla="*/ 864116 w 1559298"/>
                    <a:gd name="connsiteY4142" fmla="*/ 740428 h 1261310"/>
                    <a:gd name="connsiteX4143" fmla="*/ 864796 w 1559298"/>
                    <a:gd name="connsiteY4143" fmla="*/ 740100 h 1261310"/>
                    <a:gd name="connsiteX4144" fmla="*/ 866217 w 1559298"/>
                    <a:gd name="connsiteY4144" fmla="*/ 739383 h 1261310"/>
                    <a:gd name="connsiteX4145" fmla="*/ 867564 w 1559298"/>
                    <a:gd name="connsiteY4145" fmla="*/ 738703 h 1261310"/>
                    <a:gd name="connsiteX4146" fmla="*/ 868439 w 1559298"/>
                    <a:gd name="connsiteY4146" fmla="*/ 737477 h 1261310"/>
                    <a:gd name="connsiteX4147" fmla="*/ 869592 w 1559298"/>
                    <a:gd name="connsiteY4147" fmla="*/ 735862 h 1261310"/>
                    <a:gd name="connsiteX4148" fmla="*/ 870163 w 1559298"/>
                    <a:gd name="connsiteY4148" fmla="*/ 735073 h 1261310"/>
                    <a:gd name="connsiteX4149" fmla="*/ 870454 w 1559298"/>
                    <a:gd name="connsiteY4149" fmla="*/ 734126 h 1261310"/>
                    <a:gd name="connsiteX4150" fmla="*/ 871159 w 1559298"/>
                    <a:gd name="connsiteY4150" fmla="*/ 731855 h 1261310"/>
                    <a:gd name="connsiteX4151" fmla="*/ 871414 w 1559298"/>
                    <a:gd name="connsiteY4151" fmla="*/ 731053 h 1261310"/>
                    <a:gd name="connsiteX4152" fmla="*/ 871438 w 1559298"/>
                    <a:gd name="connsiteY4152" fmla="*/ 730215 h 1261310"/>
                    <a:gd name="connsiteX4153" fmla="*/ 871535 w 1559298"/>
                    <a:gd name="connsiteY4153" fmla="*/ 725905 h 1261310"/>
                    <a:gd name="connsiteX4154" fmla="*/ 871547 w 1559298"/>
                    <a:gd name="connsiteY4154" fmla="*/ 725286 h 1261310"/>
                    <a:gd name="connsiteX4155" fmla="*/ 871438 w 1559298"/>
                    <a:gd name="connsiteY4155" fmla="*/ 724678 h 1261310"/>
                    <a:gd name="connsiteX4156" fmla="*/ 870600 w 1559298"/>
                    <a:gd name="connsiteY4156" fmla="*/ 720076 h 1261310"/>
                    <a:gd name="connsiteX4157" fmla="*/ 870843 w 1559298"/>
                    <a:gd name="connsiteY4157" fmla="*/ 718825 h 1261310"/>
                    <a:gd name="connsiteX4158" fmla="*/ 871110 w 1559298"/>
                    <a:gd name="connsiteY4158" fmla="*/ 717951 h 1261310"/>
                    <a:gd name="connsiteX4159" fmla="*/ 875542 w 1559298"/>
                    <a:gd name="connsiteY4159" fmla="*/ 711941 h 1261310"/>
                    <a:gd name="connsiteX4160" fmla="*/ 876429 w 1559298"/>
                    <a:gd name="connsiteY4160" fmla="*/ 711576 h 1261310"/>
                    <a:gd name="connsiteX4161" fmla="*/ 876793 w 1559298"/>
                    <a:gd name="connsiteY4161" fmla="*/ 711527 h 1261310"/>
                    <a:gd name="connsiteX4162" fmla="*/ 877388 w 1559298"/>
                    <a:gd name="connsiteY4162" fmla="*/ 711564 h 1261310"/>
                    <a:gd name="connsiteX4163" fmla="*/ 878007 w 1559298"/>
                    <a:gd name="connsiteY4163" fmla="*/ 711795 h 1261310"/>
                    <a:gd name="connsiteX4164" fmla="*/ 878797 w 1559298"/>
                    <a:gd name="connsiteY4164" fmla="*/ 712341 h 1261310"/>
                    <a:gd name="connsiteX4165" fmla="*/ 880108 w 1559298"/>
                    <a:gd name="connsiteY4165" fmla="*/ 713750 h 1261310"/>
                    <a:gd name="connsiteX4166" fmla="*/ 880302 w 1559298"/>
                    <a:gd name="connsiteY4166" fmla="*/ 714126 h 1261310"/>
                    <a:gd name="connsiteX4167" fmla="*/ 880400 w 1559298"/>
                    <a:gd name="connsiteY4167" fmla="*/ 714575 h 1261310"/>
                    <a:gd name="connsiteX4168" fmla="*/ 880242 w 1559298"/>
                    <a:gd name="connsiteY4168" fmla="*/ 722687 h 1261310"/>
                    <a:gd name="connsiteX4169" fmla="*/ 880242 w 1559298"/>
                    <a:gd name="connsiteY4169" fmla="*/ 723002 h 1261310"/>
                    <a:gd name="connsiteX4170" fmla="*/ 880266 w 1559298"/>
                    <a:gd name="connsiteY4170" fmla="*/ 723330 h 1261310"/>
                    <a:gd name="connsiteX4171" fmla="*/ 880436 w 1559298"/>
                    <a:gd name="connsiteY4171" fmla="*/ 725286 h 1261310"/>
                    <a:gd name="connsiteX4172" fmla="*/ 880484 w 1559298"/>
                    <a:gd name="connsiteY4172" fmla="*/ 725844 h 1261310"/>
                    <a:gd name="connsiteX4173" fmla="*/ 880642 w 1559298"/>
                    <a:gd name="connsiteY4173" fmla="*/ 726391 h 1261310"/>
                    <a:gd name="connsiteX4174" fmla="*/ 881164 w 1559298"/>
                    <a:gd name="connsiteY4174" fmla="*/ 728248 h 1261310"/>
                    <a:gd name="connsiteX4175" fmla="*/ 881784 w 1559298"/>
                    <a:gd name="connsiteY4175" fmla="*/ 730458 h 1261310"/>
                    <a:gd name="connsiteX4176" fmla="*/ 883715 w 1559298"/>
                    <a:gd name="connsiteY4176" fmla="*/ 731721 h 1261310"/>
                    <a:gd name="connsiteX4177" fmla="*/ 885487 w 1559298"/>
                    <a:gd name="connsiteY4177" fmla="*/ 732875 h 1261310"/>
                    <a:gd name="connsiteX4178" fmla="*/ 885864 w 1559298"/>
                    <a:gd name="connsiteY4178" fmla="*/ 733130 h 1261310"/>
                    <a:gd name="connsiteX4179" fmla="*/ 886289 w 1559298"/>
                    <a:gd name="connsiteY4179" fmla="*/ 733312 h 1261310"/>
                    <a:gd name="connsiteX4180" fmla="*/ 889276 w 1559298"/>
                    <a:gd name="connsiteY4180" fmla="*/ 734660 h 1261310"/>
                    <a:gd name="connsiteX4181" fmla="*/ 889580 w 1559298"/>
                    <a:gd name="connsiteY4181" fmla="*/ 734806 h 1261310"/>
                    <a:gd name="connsiteX4182" fmla="*/ 889895 w 1559298"/>
                    <a:gd name="connsiteY4182" fmla="*/ 734915 h 1261310"/>
                    <a:gd name="connsiteX4183" fmla="*/ 896003 w 1559298"/>
                    <a:gd name="connsiteY4183" fmla="*/ 736906 h 1261310"/>
                    <a:gd name="connsiteX4184" fmla="*/ 896428 w 1559298"/>
                    <a:gd name="connsiteY4184" fmla="*/ 737113 h 1261310"/>
                    <a:gd name="connsiteX4185" fmla="*/ 896525 w 1559298"/>
                    <a:gd name="connsiteY4185" fmla="*/ 738072 h 1261310"/>
                    <a:gd name="connsiteX4186" fmla="*/ 896586 w 1559298"/>
                    <a:gd name="connsiteY4186" fmla="*/ 738679 h 1261310"/>
                    <a:gd name="connsiteX4187" fmla="*/ 896768 w 1559298"/>
                    <a:gd name="connsiteY4187" fmla="*/ 739262 h 1261310"/>
                    <a:gd name="connsiteX4188" fmla="*/ 897230 w 1559298"/>
                    <a:gd name="connsiteY4188" fmla="*/ 740756 h 1261310"/>
                    <a:gd name="connsiteX4189" fmla="*/ 897618 w 1559298"/>
                    <a:gd name="connsiteY4189" fmla="*/ 742006 h 1261310"/>
                    <a:gd name="connsiteX4190" fmla="*/ 898468 w 1559298"/>
                    <a:gd name="connsiteY4190" fmla="*/ 742978 h 1261310"/>
                    <a:gd name="connsiteX4191" fmla="*/ 899500 w 1559298"/>
                    <a:gd name="connsiteY4191" fmla="*/ 744156 h 1261310"/>
                    <a:gd name="connsiteX4192" fmla="*/ 900702 w 1559298"/>
                    <a:gd name="connsiteY4192" fmla="*/ 745528 h 1261310"/>
                    <a:gd name="connsiteX4193" fmla="*/ 902463 w 1559298"/>
                    <a:gd name="connsiteY4193" fmla="*/ 746001 h 1261310"/>
                    <a:gd name="connsiteX4194" fmla="*/ 904248 w 1559298"/>
                    <a:gd name="connsiteY4194" fmla="*/ 746487 h 1261310"/>
                    <a:gd name="connsiteX4195" fmla="*/ 905572 w 1559298"/>
                    <a:gd name="connsiteY4195" fmla="*/ 746839 h 1261310"/>
                    <a:gd name="connsiteX4196" fmla="*/ 906920 w 1559298"/>
                    <a:gd name="connsiteY4196" fmla="*/ 746596 h 1261310"/>
                    <a:gd name="connsiteX4197" fmla="*/ 909615 w 1559298"/>
                    <a:gd name="connsiteY4197" fmla="*/ 746111 h 1261310"/>
                    <a:gd name="connsiteX4198" fmla="*/ 910939 w 1559298"/>
                    <a:gd name="connsiteY4198" fmla="*/ 745868 h 1261310"/>
                    <a:gd name="connsiteX4199" fmla="*/ 912044 w 1559298"/>
                    <a:gd name="connsiteY4199" fmla="*/ 745091 h 1261310"/>
                    <a:gd name="connsiteX4200" fmla="*/ 914958 w 1559298"/>
                    <a:gd name="connsiteY4200" fmla="*/ 743026 h 1261310"/>
                    <a:gd name="connsiteX4201" fmla="*/ 915432 w 1559298"/>
                    <a:gd name="connsiteY4201" fmla="*/ 742698 h 1261310"/>
                    <a:gd name="connsiteX4202" fmla="*/ 915833 w 1559298"/>
                    <a:gd name="connsiteY4202" fmla="*/ 742286 h 1261310"/>
                    <a:gd name="connsiteX4203" fmla="*/ 917982 w 1559298"/>
                    <a:gd name="connsiteY4203" fmla="*/ 740051 h 1261310"/>
                    <a:gd name="connsiteX4204" fmla="*/ 924381 w 1559298"/>
                    <a:gd name="connsiteY4204" fmla="*/ 741096 h 1261310"/>
                    <a:gd name="connsiteX4205" fmla="*/ 951885 w 1559298"/>
                    <a:gd name="connsiteY4205" fmla="*/ 745576 h 1261310"/>
                    <a:gd name="connsiteX4206" fmla="*/ 931934 w 1559298"/>
                    <a:gd name="connsiteY4206" fmla="*/ 732195 h 1261310"/>
                    <a:gd name="connsiteX4207" fmla="*/ 932007 w 1559298"/>
                    <a:gd name="connsiteY4207" fmla="*/ 731940 h 1261310"/>
                    <a:gd name="connsiteX4208" fmla="*/ 932056 w 1559298"/>
                    <a:gd name="connsiteY4208" fmla="*/ 731357 h 1261310"/>
                    <a:gd name="connsiteX4209" fmla="*/ 932177 w 1559298"/>
                    <a:gd name="connsiteY4209" fmla="*/ 730009 h 1261310"/>
                    <a:gd name="connsiteX4210" fmla="*/ 932371 w 1559298"/>
                    <a:gd name="connsiteY4210" fmla="*/ 727933 h 1261310"/>
                    <a:gd name="connsiteX4211" fmla="*/ 931254 w 1559298"/>
                    <a:gd name="connsiteY4211" fmla="*/ 726184 h 1261310"/>
                    <a:gd name="connsiteX4212" fmla="*/ 930161 w 1559298"/>
                    <a:gd name="connsiteY4212" fmla="*/ 724460 h 1261310"/>
                    <a:gd name="connsiteX4213" fmla="*/ 928959 w 1559298"/>
                    <a:gd name="connsiteY4213" fmla="*/ 722832 h 1261310"/>
                    <a:gd name="connsiteX4214" fmla="*/ 928364 w 1559298"/>
                    <a:gd name="connsiteY4214" fmla="*/ 722055 h 1261310"/>
                    <a:gd name="connsiteX4215" fmla="*/ 927551 w 1559298"/>
                    <a:gd name="connsiteY4215" fmla="*/ 721497 h 1261310"/>
                    <a:gd name="connsiteX4216" fmla="*/ 924964 w 1559298"/>
                    <a:gd name="connsiteY4216" fmla="*/ 719724 h 1261310"/>
                    <a:gd name="connsiteX4217" fmla="*/ 925000 w 1559298"/>
                    <a:gd name="connsiteY4217" fmla="*/ 719688 h 1261310"/>
                    <a:gd name="connsiteX4218" fmla="*/ 926531 w 1559298"/>
                    <a:gd name="connsiteY4218" fmla="*/ 718194 h 1261310"/>
                    <a:gd name="connsiteX4219" fmla="*/ 927101 w 1559298"/>
                    <a:gd name="connsiteY4219" fmla="*/ 717635 h 1261310"/>
                    <a:gd name="connsiteX4220" fmla="*/ 927514 w 1559298"/>
                    <a:gd name="connsiteY4220" fmla="*/ 716931 h 1261310"/>
                    <a:gd name="connsiteX4221" fmla="*/ 928668 w 1559298"/>
                    <a:gd name="connsiteY4221" fmla="*/ 714976 h 1261310"/>
                    <a:gd name="connsiteX4222" fmla="*/ 929117 w 1559298"/>
                    <a:gd name="connsiteY4222" fmla="*/ 714223 h 1261310"/>
                    <a:gd name="connsiteX4223" fmla="*/ 929336 w 1559298"/>
                    <a:gd name="connsiteY4223" fmla="*/ 713373 h 1261310"/>
                    <a:gd name="connsiteX4224" fmla="*/ 930088 w 1559298"/>
                    <a:gd name="connsiteY4224" fmla="*/ 710386 h 1261310"/>
                    <a:gd name="connsiteX4225" fmla="*/ 930210 w 1559298"/>
                    <a:gd name="connsiteY4225" fmla="*/ 709888 h 1261310"/>
                    <a:gd name="connsiteX4226" fmla="*/ 930246 w 1559298"/>
                    <a:gd name="connsiteY4226" fmla="*/ 709378 h 1261310"/>
                    <a:gd name="connsiteX4227" fmla="*/ 930513 w 1559298"/>
                    <a:gd name="connsiteY4227" fmla="*/ 706015 h 1261310"/>
                    <a:gd name="connsiteX4228" fmla="*/ 930878 w 1559298"/>
                    <a:gd name="connsiteY4228" fmla="*/ 705505 h 1261310"/>
                    <a:gd name="connsiteX4229" fmla="*/ 931606 w 1559298"/>
                    <a:gd name="connsiteY4229" fmla="*/ 704497 h 1261310"/>
                    <a:gd name="connsiteX4230" fmla="*/ 931885 w 1559298"/>
                    <a:gd name="connsiteY4230" fmla="*/ 703295 h 1261310"/>
                    <a:gd name="connsiteX4231" fmla="*/ 932286 w 1559298"/>
                    <a:gd name="connsiteY4231" fmla="*/ 701534 h 1261310"/>
                    <a:gd name="connsiteX4232" fmla="*/ 932553 w 1559298"/>
                    <a:gd name="connsiteY4232" fmla="*/ 700356 h 1261310"/>
                    <a:gd name="connsiteX4233" fmla="*/ 932359 w 1559298"/>
                    <a:gd name="connsiteY4233" fmla="*/ 699166 h 1261310"/>
                    <a:gd name="connsiteX4234" fmla="*/ 932335 w 1559298"/>
                    <a:gd name="connsiteY4234" fmla="*/ 698960 h 1261310"/>
                    <a:gd name="connsiteX4235" fmla="*/ 933513 w 1559298"/>
                    <a:gd name="connsiteY4235" fmla="*/ 697818 h 1261310"/>
                    <a:gd name="connsiteX4236" fmla="*/ 933816 w 1559298"/>
                    <a:gd name="connsiteY4236" fmla="*/ 697527 h 1261310"/>
                    <a:gd name="connsiteX4237" fmla="*/ 934083 w 1559298"/>
                    <a:gd name="connsiteY4237" fmla="*/ 697199 h 1261310"/>
                    <a:gd name="connsiteX4238" fmla="*/ 935116 w 1559298"/>
                    <a:gd name="connsiteY4238" fmla="*/ 695887 h 1261310"/>
                    <a:gd name="connsiteX4239" fmla="*/ 935480 w 1559298"/>
                    <a:gd name="connsiteY4239" fmla="*/ 695426 h 1261310"/>
                    <a:gd name="connsiteX4240" fmla="*/ 935747 w 1559298"/>
                    <a:gd name="connsiteY4240" fmla="*/ 694904 h 1261310"/>
                    <a:gd name="connsiteX4241" fmla="*/ 936597 w 1559298"/>
                    <a:gd name="connsiteY4241" fmla="*/ 693240 h 1261310"/>
                    <a:gd name="connsiteX4242" fmla="*/ 937107 w 1559298"/>
                    <a:gd name="connsiteY4242" fmla="*/ 692500 h 1261310"/>
                    <a:gd name="connsiteX4243" fmla="*/ 937738 w 1559298"/>
                    <a:gd name="connsiteY4243" fmla="*/ 691929 h 1261310"/>
                    <a:gd name="connsiteX4244" fmla="*/ 938042 w 1559298"/>
                    <a:gd name="connsiteY4244" fmla="*/ 691783 h 1261310"/>
                    <a:gd name="connsiteX4245" fmla="*/ 938564 w 1559298"/>
                    <a:gd name="connsiteY4245" fmla="*/ 691638 h 1261310"/>
                    <a:gd name="connsiteX4246" fmla="*/ 945668 w 1559298"/>
                    <a:gd name="connsiteY4246" fmla="*/ 691164 h 1261310"/>
                    <a:gd name="connsiteX4247" fmla="*/ 948108 w 1559298"/>
                    <a:gd name="connsiteY4247" fmla="*/ 690787 h 1261310"/>
                    <a:gd name="connsiteX4248" fmla="*/ 948521 w 1559298"/>
                    <a:gd name="connsiteY4248" fmla="*/ 690714 h 1261310"/>
                    <a:gd name="connsiteX4249" fmla="*/ 948922 w 1559298"/>
                    <a:gd name="connsiteY4249" fmla="*/ 690593 h 1261310"/>
                    <a:gd name="connsiteX4250" fmla="*/ 950756 w 1559298"/>
                    <a:gd name="connsiteY4250" fmla="*/ 690022 h 1261310"/>
                    <a:gd name="connsiteX4251" fmla="*/ 951424 w 1559298"/>
                    <a:gd name="connsiteY4251" fmla="*/ 689804 h 1261310"/>
                    <a:gd name="connsiteX4252" fmla="*/ 952031 w 1559298"/>
                    <a:gd name="connsiteY4252" fmla="*/ 689452 h 1261310"/>
                    <a:gd name="connsiteX4253" fmla="*/ 953646 w 1559298"/>
                    <a:gd name="connsiteY4253" fmla="*/ 688504 h 1261310"/>
                    <a:gd name="connsiteX4254" fmla="*/ 954605 w 1559298"/>
                    <a:gd name="connsiteY4254" fmla="*/ 687946 h 1261310"/>
                    <a:gd name="connsiteX4255" fmla="*/ 955297 w 1559298"/>
                    <a:gd name="connsiteY4255" fmla="*/ 687084 h 1261310"/>
                    <a:gd name="connsiteX4256" fmla="*/ 956779 w 1559298"/>
                    <a:gd name="connsiteY4256" fmla="*/ 685250 h 1261310"/>
                    <a:gd name="connsiteX4257" fmla="*/ 957240 w 1559298"/>
                    <a:gd name="connsiteY4257" fmla="*/ 684679 h 1261310"/>
                    <a:gd name="connsiteX4258" fmla="*/ 957556 w 1559298"/>
                    <a:gd name="connsiteY4258" fmla="*/ 684024 h 1261310"/>
                    <a:gd name="connsiteX4259" fmla="*/ 958758 w 1559298"/>
                    <a:gd name="connsiteY4259" fmla="*/ 681462 h 1261310"/>
                    <a:gd name="connsiteX4260" fmla="*/ 958989 w 1559298"/>
                    <a:gd name="connsiteY4260" fmla="*/ 680976 h 1261310"/>
                    <a:gd name="connsiteX4261" fmla="*/ 959122 w 1559298"/>
                    <a:gd name="connsiteY4261" fmla="*/ 680466 h 1261310"/>
                    <a:gd name="connsiteX4262" fmla="*/ 960458 w 1559298"/>
                    <a:gd name="connsiteY4262" fmla="*/ 675560 h 1261310"/>
                    <a:gd name="connsiteX4263" fmla="*/ 960664 w 1559298"/>
                    <a:gd name="connsiteY4263" fmla="*/ 674819 h 1261310"/>
                    <a:gd name="connsiteX4264" fmla="*/ 960676 w 1559298"/>
                    <a:gd name="connsiteY4264" fmla="*/ 674066 h 1261310"/>
                    <a:gd name="connsiteX4265" fmla="*/ 960725 w 1559298"/>
                    <a:gd name="connsiteY4265" fmla="*/ 671201 h 1261310"/>
                    <a:gd name="connsiteX4266" fmla="*/ 960725 w 1559298"/>
                    <a:gd name="connsiteY4266" fmla="*/ 670715 h 1261310"/>
                    <a:gd name="connsiteX4267" fmla="*/ 960652 w 1559298"/>
                    <a:gd name="connsiteY4267" fmla="*/ 670230 h 1261310"/>
                    <a:gd name="connsiteX4268" fmla="*/ 960300 w 1559298"/>
                    <a:gd name="connsiteY4268" fmla="*/ 667849 h 1261310"/>
                    <a:gd name="connsiteX4269" fmla="*/ 960227 w 1559298"/>
                    <a:gd name="connsiteY4269" fmla="*/ 667315 h 1261310"/>
                    <a:gd name="connsiteX4270" fmla="*/ 960057 w 1559298"/>
                    <a:gd name="connsiteY4270" fmla="*/ 666817 h 1261310"/>
                    <a:gd name="connsiteX4271" fmla="*/ 959632 w 1559298"/>
                    <a:gd name="connsiteY4271" fmla="*/ 665542 h 1261310"/>
                    <a:gd name="connsiteX4272" fmla="*/ 959584 w 1559298"/>
                    <a:gd name="connsiteY4272" fmla="*/ 665226 h 1261310"/>
                    <a:gd name="connsiteX4273" fmla="*/ 959681 w 1559298"/>
                    <a:gd name="connsiteY4273" fmla="*/ 665069 h 1261310"/>
                    <a:gd name="connsiteX4274" fmla="*/ 960616 w 1559298"/>
                    <a:gd name="connsiteY4274" fmla="*/ 664279 h 1261310"/>
                    <a:gd name="connsiteX4275" fmla="*/ 960907 w 1559298"/>
                    <a:gd name="connsiteY4275" fmla="*/ 664170 h 1261310"/>
                    <a:gd name="connsiteX4276" fmla="*/ 961441 w 1559298"/>
                    <a:gd name="connsiteY4276" fmla="*/ 664121 h 1261310"/>
                    <a:gd name="connsiteX4277" fmla="*/ 965291 w 1559298"/>
                    <a:gd name="connsiteY4277" fmla="*/ 664498 h 1261310"/>
                    <a:gd name="connsiteX4278" fmla="*/ 966639 w 1559298"/>
                    <a:gd name="connsiteY4278" fmla="*/ 664559 h 1261310"/>
                    <a:gd name="connsiteX4279" fmla="*/ 967404 w 1559298"/>
                    <a:gd name="connsiteY4279" fmla="*/ 664583 h 1261310"/>
                    <a:gd name="connsiteX4280" fmla="*/ 968156 w 1559298"/>
                    <a:gd name="connsiteY4280" fmla="*/ 664413 h 1261310"/>
                    <a:gd name="connsiteX4281" fmla="*/ 969237 w 1559298"/>
                    <a:gd name="connsiteY4281" fmla="*/ 664170 h 1261310"/>
                    <a:gd name="connsiteX4282" fmla="*/ 971569 w 1559298"/>
                    <a:gd name="connsiteY4282" fmla="*/ 663660 h 1261310"/>
                    <a:gd name="connsiteX4283" fmla="*/ 972929 w 1559298"/>
                    <a:gd name="connsiteY4283" fmla="*/ 661693 h 1261310"/>
                    <a:gd name="connsiteX4284" fmla="*/ 974434 w 1559298"/>
                    <a:gd name="connsiteY4284" fmla="*/ 659507 h 1261310"/>
                    <a:gd name="connsiteX4285" fmla="*/ 974750 w 1559298"/>
                    <a:gd name="connsiteY4285" fmla="*/ 659058 h 1261310"/>
                    <a:gd name="connsiteX4286" fmla="*/ 974981 w 1559298"/>
                    <a:gd name="connsiteY4286" fmla="*/ 658548 h 1261310"/>
                    <a:gd name="connsiteX4287" fmla="*/ 980530 w 1559298"/>
                    <a:gd name="connsiteY4287" fmla="*/ 646210 h 1261310"/>
                    <a:gd name="connsiteX4288" fmla="*/ 982255 w 1559298"/>
                    <a:gd name="connsiteY4288" fmla="*/ 643284 h 1261310"/>
                    <a:gd name="connsiteX4289" fmla="*/ 982789 w 1559298"/>
                    <a:gd name="connsiteY4289" fmla="*/ 642580 h 1261310"/>
                    <a:gd name="connsiteX4290" fmla="*/ 983517 w 1559298"/>
                    <a:gd name="connsiteY4290" fmla="*/ 642240 h 1261310"/>
                    <a:gd name="connsiteX4291" fmla="*/ 983809 w 1559298"/>
                    <a:gd name="connsiteY4291" fmla="*/ 642094 h 1261310"/>
                    <a:gd name="connsiteX4292" fmla="*/ 984088 w 1559298"/>
                    <a:gd name="connsiteY4292" fmla="*/ 641924 h 1261310"/>
                    <a:gd name="connsiteX4293" fmla="*/ 986286 w 1559298"/>
                    <a:gd name="connsiteY4293" fmla="*/ 640589 h 1261310"/>
                    <a:gd name="connsiteX4294" fmla="*/ 986517 w 1559298"/>
                    <a:gd name="connsiteY4294" fmla="*/ 640491 h 1261310"/>
                    <a:gd name="connsiteX4295" fmla="*/ 987512 w 1559298"/>
                    <a:gd name="connsiteY4295" fmla="*/ 640503 h 1261310"/>
                    <a:gd name="connsiteX4296" fmla="*/ 988496 w 1559298"/>
                    <a:gd name="connsiteY4296" fmla="*/ 640516 h 1261310"/>
                    <a:gd name="connsiteX4297" fmla="*/ 989431 w 1559298"/>
                    <a:gd name="connsiteY4297" fmla="*/ 640224 h 1261310"/>
                    <a:gd name="connsiteX4298" fmla="*/ 993110 w 1559298"/>
                    <a:gd name="connsiteY4298" fmla="*/ 639046 h 1261310"/>
                    <a:gd name="connsiteX4299" fmla="*/ 993511 w 1559298"/>
                    <a:gd name="connsiteY4299" fmla="*/ 638913 h 1261310"/>
                    <a:gd name="connsiteX4300" fmla="*/ 993887 w 1559298"/>
                    <a:gd name="connsiteY4300" fmla="*/ 638730 h 1261310"/>
                    <a:gd name="connsiteX4301" fmla="*/ 995102 w 1559298"/>
                    <a:gd name="connsiteY4301" fmla="*/ 638148 h 1261310"/>
                    <a:gd name="connsiteX4302" fmla="*/ 998550 w 1559298"/>
                    <a:gd name="connsiteY4302" fmla="*/ 636496 h 1261310"/>
                    <a:gd name="connsiteX4303" fmla="*/ 998550 w 1559298"/>
                    <a:gd name="connsiteY4303" fmla="*/ 632671 h 1261310"/>
                    <a:gd name="connsiteX4304" fmla="*/ 998550 w 1559298"/>
                    <a:gd name="connsiteY4304" fmla="*/ 630437 h 1261310"/>
                    <a:gd name="connsiteX4305" fmla="*/ 998550 w 1559298"/>
                    <a:gd name="connsiteY4305" fmla="*/ 629866 h 1261310"/>
                    <a:gd name="connsiteX4306" fmla="*/ 998441 w 1559298"/>
                    <a:gd name="connsiteY4306" fmla="*/ 629296 h 1261310"/>
                    <a:gd name="connsiteX4307" fmla="*/ 998210 w 1559298"/>
                    <a:gd name="connsiteY4307" fmla="*/ 628081 h 1261310"/>
                    <a:gd name="connsiteX4308" fmla="*/ 997943 w 1559298"/>
                    <a:gd name="connsiteY4308" fmla="*/ 626661 h 1261310"/>
                    <a:gd name="connsiteX4309" fmla="*/ 997057 w 1559298"/>
                    <a:gd name="connsiteY4309" fmla="*/ 625507 h 1261310"/>
                    <a:gd name="connsiteX4310" fmla="*/ 995745 w 1559298"/>
                    <a:gd name="connsiteY4310" fmla="*/ 623807 h 1261310"/>
                    <a:gd name="connsiteX4311" fmla="*/ 995466 w 1559298"/>
                    <a:gd name="connsiteY4311" fmla="*/ 623442 h 1261310"/>
                    <a:gd name="connsiteX4312" fmla="*/ 995126 w 1559298"/>
                    <a:gd name="connsiteY4312" fmla="*/ 623127 h 1261310"/>
                    <a:gd name="connsiteX4313" fmla="*/ 993851 w 1559298"/>
                    <a:gd name="connsiteY4313" fmla="*/ 621913 h 1261310"/>
                    <a:gd name="connsiteX4314" fmla="*/ 993535 w 1559298"/>
                    <a:gd name="connsiteY4314" fmla="*/ 621621 h 1261310"/>
                    <a:gd name="connsiteX4315" fmla="*/ 993183 w 1559298"/>
                    <a:gd name="connsiteY4315" fmla="*/ 621366 h 1261310"/>
                    <a:gd name="connsiteX4316" fmla="*/ 985727 w 1559298"/>
                    <a:gd name="connsiteY4316" fmla="*/ 616084 h 1261310"/>
                    <a:gd name="connsiteX4317" fmla="*/ 985023 w 1559298"/>
                    <a:gd name="connsiteY4317" fmla="*/ 615331 h 1261310"/>
                    <a:gd name="connsiteX4318" fmla="*/ 984999 w 1559298"/>
                    <a:gd name="connsiteY4318" fmla="*/ 615161 h 1261310"/>
                    <a:gd name="connsiteX4319" fmla="*/ 985229 w 1559298"/>
                    <a:gd name="connsiteY4319" fmla="*/ 613522 h 1261310"/>
                    <a:gd name="connsiteX4320" fmla="*/ 985387 w 1559298"/>
                    <a:gd name="connsiteY4320" fmla="*/ 612393 h 1261310"/>
                    <a:gd name="connsiteX4321" fmla="*/ 985132 w 1559298"/>
                    <a:gd name="connsiteY4321" fmla="*/ 611288 h 1261310"/>
                    <a:gd name="connsiteX4322" fmla="*/ 984732 w 1559298"/>
                    <a:gd name="connsiteY4322" fmla="*/ 609588 h 1261310"/>
                    <a:gd name="connsiteX4323" fmla="*/ 984234 w 1559298"/>
                    <a:gd name="connsiteY4323" fmla="*/ 607474 h 1261310"/>
                    <a:gd name="connsiteX4324" fmla="*/ 982509 w 1559298"/>
                    <a:gd name="connsiteY4324" fmla="*/ 606163 h 1261310"/>
                    <a:gd name="connsiteX4325" fmla="*/ 981538 w 1559298"/>
                    <a:gd name="connsiteY4325" fmla="*/ 605410 h 1261310"/>
                    <a:gd name="connsiteX4326" fmla="*/ 980020 w 1559298"/>
                    <a:gd name="connsiteY4326" fmla="*/ 604245 h 1261310"/>
                    <a:gd name="connsiteX4327" fmla="*/ 978296 w 1559298"/>
                    <a:gd name="connsiteY4327" fmla="*/ 604160 h 1261310"/>
                    <a:gd name="connsiteX4328" fmla="*/ 978126 w 1559298"/>
                    <a:gd name="connsiteY4328" fmla="*/ 603419 h 1261310"/>
                    <a:gd name="connsiteX4329" fmla="*/ 977871 w 1559298"/>
                    <a:gd name="connsiteY4329" fmla="*/ 602326 h 1261310"/>
                    <a:gd name="connsiteX4330" fmla="*/ 977252 w 1559298"/>
                    <a:gd name="connsiteY4330" fmla="*/ 601391 h 1261310"/>
                    <a:gd name="connsiteX4331" fmla="*/ 976559 w 1559298"/>
                    <a:gd name="connsiteY4331" fmla="*/ 600359 h 1261310"/>
                    <a:gd name="connsiteX4332" fmla="*/ 975867 w 1559298"/>
                    <a:gd name="connsiteY4332" fmla="*/ 599339 h 1261310"/>
                    <a:gd name="connsiteX4333" fmla="*/ 974835 w 1559298"/>
                    <a:gd name="connsiteY4333" fmla="*/ 598659 h 1261310"/>
                    <a:gd name="connsiteX4334" fmla="*/ 973912 w 1559298"/>
                    <a:gd name="connsiteY4334" fmla="*/ 598052 h 1261310"/>
                    <a:gd name="connsiteX4335" fmla="*/ 972771 w 1559298"/>
                    <a:gd name="connsiteY4335" fmla="*/ 597311 h 1261310"/>
                    <a:gd name="connsiteX4336" fmla="*/ 971423 w 1559298"/>
                    <a:gd name="connsiteY4336" fmla="*/ 597117 h 1261310"/>
                    <a:gd name="connsiteX4337" fmla="*/ 970391 w 1559298"/>
                    <a:gd name="connsiteY4337" fmla="*/ 596971 h 1261310"/>
                    <a:gd name="connsiteX4338" fmla="*/ 970391 w 1559298"/>
                    <a:gd name="connsiteY4338" fmla="*/ 596971 h 1261310"/>
                    <a:gd name="connsiteX4339" fmla="*/ 970196 w 1559298"/>
                    <a:gd name="connsiteY4339" fmla="*/ 595963 h 1261310"/>
                    <a:gd name="connsiteX4340" fmla="*/ 969577 w 1559298"/>
                    <a:gd name="connsiteY4340" fmla="*/ 593607 h 1261310"/>
                    <a:gd name="connsiteX4341" fmla="*/ 969274 w 1559298"/>
                    <a:gd name="connsiteY4341" fmla="*/ 592758 h 1261310"/>
                    <a:gd name="connsiteX4342" fmla="*/ 969407 w 1559298"/>
                    <a:gd name="connsiteY4342" fmla="*/ 592648 h 1261310"/>
                    <a:gd name="connsiteX4343" fmla="*/ 971241 w 1559298"/>
                    <a:gd name="connsiteY4343" fmla="*/ 591106 h 1261310"/>
                    <a:gd name="connsiteX4344" fmla="*/ 973681 w 1559298"/>
                    <a:gd name="connsiteY4344" fmla="*/ 588726 h 1261310"/>
                    <a:gd name="connsiteX4345" fmla="*/ 973961 w 1559298"/>
                    <a:gd name="connsiteY4345" fmla="*/ 588447 h 1261310"/>
                    <a:gd name="connsiteX4346" fmla="*/ 974204 w 1559298"/>
                    <a:gd name="connsiteY4346" fmla="*/ 588131 h 1261310"/>
                    <a:gd name="connsiteX4347" fmla="*/ 976414 w 1559298"/>
                    <a:gd name="connsiteY4347" fmla="*/ 585289 h 1261310"/>
                    <a:gd name="connsiteX4348" fmla="*/ 977421 w 1559298"/>
                    <a:gd name="connsiteY4348" fmla="*/ 584245 h 1261310"/>
                    <a:gd name="connsiteX4349" fmla="*/ 977871 w 1559298"/>
                    <a:gd name="connsiteY4349" fmla="*/ 583918 h 1261310"/>
                    <a:gd name="connsiteX4350" fmla="*/ 979158 w 1559298"/>
                    <a:gd name="connsiteY4350" fmla="*/ 583346 h 1261310"/>
                    <a:gd name="connsiteX4351" fmla="*/ 979668 w 1559298"/>
                    <a:gd name="connsiteY4351" fmla="*/ 583116 h 1261310"/>
                    <a:gd name="connsiteX4352" fmla="*/ 980129 w 1559298"/>
                    <a:gd name="connsiteY4352" fmla="*/ 582800 h 1261310"/>
                    <a:gd name="connsiteX4353" fmla="*/ 981210 w 1559298"/>
                    <a:gd name="connsiteY4353" fmla="*/ 582047 h 1261310"/>
                    <a:gd name="connsiteX4354" fmla="*/ 982364 w 1559298"/>
                    <a:gd name="connsiteY4354" fmla="*/ 581258 h 1261310"/>
                    <a:gd name="connsiteX4355" fmla="*/ 983056 w 1559298"/>
                    <a:gd name="connsiteY4355" fmla="*/ 580019 h 1261310"/>
                    <a:gd name="connsiteX4356" fmla="*/ 983639 w 1559298"/>
                    <a:gd name="connsiteY4356" fmla="*/ 578987 h 1261310"/>
                    <a:gd name="connsiteX4357" fmla="*/ 984477 w 1559298"/>
                    <a:gd name="connsiteY4357" fmla="*/ 577494 h 1261310"/>
                    <a:gd name="connsiteX4358" fmla="*/ 984416 w 1559298"/>
                    <a:gd name="connsiteY4358" fmla="*/ 575782 h 1261310"/>
                    <a:gd name="connsiteX4359" fmla="*/ 984355 w 1559298"/>
                    <a:gd name="connsiteY4359" fmla="*/ 574179 h 1261310"/>
                    <a:gd name="connsiteX4360" fmla="*/ 984331 w 1559298"/>
                    <a:gd name="connsiteY4360" fmla="*/ 573547 h 1261310"/>
                    <a:gd name="connsiteX4361" fmla="*/ 984185 w 1559298"/>
                    <a:gd name="connsiteY4361" fmla="*/ 572940 h 1261310"/>
                    <a:gd name="connsiteX4362" fmla="*/ 983833 w 1559298"/>
                    <a:gd name="connsiteY4362" fmla="*/ 571507 h 1261310"/>
                    <a:gd name="connsiteX4363" fmla="*/ 983748 w 1559298"/>
                    <a:gd name="connsiteY4363" fmla="*/ 571167 h 1261310"/>
                    <a:gd name="connsiteX4364" fmla="*/ 983627 w 1559298"/>
                    <a:gd name="connsiteY4364" fmla="*/ 570827 h 1261310"/>
                    <a:gd name="connsiteX4365" fmla="*/ 983578 w 1559298"/>
                    <a:gd name="connsiteY4365" fmla="*/ 570694 h 1261310"/>
                    <a:gd name="connsiteX4366" fmla="*/ 983578 w 1559298"/>
                    <a:gd name="connsiteY4366" fmla="*/ 570681 h 1261310"/>
                    <a:gd name="connsiteX4367" fmla="*/ 983930 w 1559298"/>
                    <a:gd name="connsiteY4367" fmla="*/ 569285 h 1261310"/>
                    <a:gd name="connsiteX4368" fmla="*/ 985691 w 1559298"/>
                    <a:gd name="connsiteY4368" fmla="*/ 564719 h 1261310"/>
                    <a:gd name="connsiteX4369" fmla="*/ 987464 w 1559298"/>
                    <a:gd name="connsiteY4369" fmla="*/ 558587 h 1261310"/>
                    <a:gd name="connsiteX4370" fmla="*/ 987974 w 1559298"/>
                    <a:gd name="connsiteY4370" fmla="*/ 557689 h 1261310"/>
                    <a:gd name="connsiteX4371" fmla="*/ 989249 w 1559298"/>
                    <a:gd name="connsiteY4371" fmla="*/ 555940 h 1261310"/>
                    <a:gd name="connsiteX4372" fmla="*/ 992880 w 1559298"/>
                    <a:gd name="connsiteY4372" fmla="*/ 551909 h 1261310"/>
                    <a:gd name="connsiteX4373" fmla="*/ 994106 w 1559298"/>
                    <a:gd name="connsiteY4373" fmla="*/ 550549 h 1261310"/>
                    <a:gd name="connsiteX4374" fmla="*/ 994361 w 1559298"/>
                    <a:gd name="connsiteY4374" fmla="*/ 548727 h 1261310"/>
                    <a:gd name="connsiteX4375" fmla="*/ 994592 w 1559298"/>
                    <a:gd name="connsiteY4375" fmla="*/ 547149 h 1261310"/>
                    <a:gd name="connsiteX4376" fmla="*/ 995053 w 1559298"/>
                    <a:gd name="connsiteY4376" fmla="*/ 543955 h 1261310"/>
                    <a:gd name="connsiteX4377" fmla="*/ 993402 w 1559298"/>
                    <a:gd name="connsiteY4377" fmla="*/ 542462 h 1261310"/>
                    <a:gd name="connsiteX4378" fmla="*/ 993827 w 1559298"/>
                    <a:gd name="connsiteY4378" fmla="*/ 542316 h 1261310"/>
                    <a:gd name="connsiteX4379" fmla="*/ 994446 w 1559298"/>
                    <a:gd name="connsiteY4379" fmla="*/ 542206 h 1261310"/>
                    <a:gd name="connsiteX4380" fmla="*/ 994689 w 1559298"/>
                    <a:gd name="connsiteY4380" fmla="*/ 542218 h 1261310"/>
                    <a:gd name="connsiteX4381" fmla="*/ 995429 w 1559298"/>
                    <a:gd name="connsiteY4381" fmla="*/ 542376 h 1261310"/>
                    <a:gd name="connsiteX4382" fmla="*/ 998344 w 1559298"/>
                    <a:gd name="connsiteY4382" fmla="*/ 543409 h 1261310"/>
                    <a:gd name="connsiteX4383" fmla="*/ 998987 w 1559298"/>
                    <a:gd name="connsiteY4383" fmla="*/ 543639 h 1261310"/>
                    <a:gd name="connsiteX4384" fmla="*/ 999655 w 1559298"/>
                    <a:gd name="connsiteY4384" fmla="*/ 543724 h 1261310"/>
                    <a:gd name="connsiteX4385" fmla="*/ 1001380 w 1559298"/>
                    <a:gd name="connsiteY4385" fmla="*/ 543931 h 1261310"/>
                    <a:gd name="connsiteX4386" fmla="*/ 1002132 w 1559298"/>
                    <a:gd name="connsiteY4386" fmla="*/ 544016 h 1261310"/>
                    <a:gd name="connsiteX4387" fmla="*/ 1002873 w 1559298"/>
                    <a:gd name="connsiteY4387" fmla="*/ 543919 h 1261310"/>
                    <a:gd name="connsiteX4388" fmla="*/ 1004136 w 1559298"/>
                    <a:gd name="connsiteY4388" fmla="*/ 543749 h 1261310"/>
                    <a:gd name="connsiteX4389" fmla="*/ 1006662 w 1559298"/>
                    <a:gd name="connsiteY4389" fmla="*/ 547744 h 1261310"/>
                    <a:gd name="connsiteX4390" fmla="*/ 1006990 w 1559298"/>
                    <a:gd name="connsiteY4390" fmla="*/ 548254 h 1261310"/>
                    <a:gd name="connsiteX4391" fmla="*/ 1007415 w 1559298"/>
                    <a:gd name="connsiteY4391" fmla="*/ 548691 h 1261310"/>
                    <a:gd name="connsiteX4392" fmla="*/ 1009309 w 1559298"/>
                    <a:gd name="connsiteY4392" fmla="*/ 550670 h 1261310"/>
                    <a:gd name="connsiteX4393" fmla="*/ 1009746 w 1559298"/>
                    <a:gd name="connsiteY4393" fmla="*/ 551131 h 1261310"/>
                    <a:gd name="connsiteX4394" fmla="*/ 1010268 w 1559298"/>
                    <a:gd name="connsiteY4394" fmla="*/ 551484 h 1261310"/>
                    <a:gd name="connsiteX4395" fmla="*/ 1012503 w 1559298"/>
                    <a:gd name="connsiteY4395" fmla="*/ 553001 h 1261310"/>
                    <a:gd name="connsiteX4396" fmla="*/ 1013073 w 1559298"/>
                    <a:gd name="connsiteY4396" fmla="*/ 553390 h 1261310"/>
                    <a:gd name="connsiteX4397" fmla="*/ 1013717 w 1559298"/>
                    <a:gd name="connsiteY4397" fmla="*/ 553645 h 1261310"/>
                    <a:gd name="connsiteX4398" fmla="*/ 1016376 w 1559298"/>
                    <a:gd name="connsiteY4398" fmla="*/ 554677 h 1261310"/>
                    <a:gd name="connsiteX4399" fmla="*/ 1017129 w 1559298"/>
                    <a:gd name="connsiteY4399" fmla="*/ 554969 h 1261310"/>
                    <a:gd name="connsiteX4400" fmla="*/ 1017918 w 1559298"/>
                    <a:gd name="connsiteY4400" fmla="*/ 555054 h 1261310"/>
                    <a:gd name="connsiteX4401" fmla="*/ 1020323 w 1559298"/>
                    <a:gd name="connsiteY4401" fmla="*/ 555309 h 1261310"/>
                    <a:gd name="connsiteX4402" fmla="*/ 1021039 w 1559298"/>
                    <a:gd name="connsiteY4402" fmla="*/ 555394 h 1261310"/>
                    <a:gd name="connsiteX4403" fmla="*/ 1021755 w 1559298"/>
                    <a:gd name="connsiteY4403" fmla="*/ 555296 h 1261310"/>
                    <a:gd name="connsiteX4404" fmla="*/ 1024002 w 1559298"/>
                    <a:gd name="connsiteY4404" fmla="*/ 555017 h 1261310"/>
                    <a:gd name="connsiteX4405" fmla="*/ 1024318 w 1559298"/>
                    <a:gd name="connsiteY4405" fmla="*/ 554969 h 1261310"/>
                    <a:gd name="connsiteX4406" fmla="*/ 1024633 w 1559298"/>
                    <a:gd name="connsiteY4406" fmla="*/ 554896 h 1261310"/>
                    <a:gd name="connsiteX4407" fmla="*/ 1027463 w 1559298"/>
                    <a:gd name="connsiteY4407" fmla="*/ 554216 h 1261310"/>
                    <a:gd name="connsiteX4408" fmla="*/ 1027511 w 1559298"/>
                    <a:gd name="connsiteY4408" fmla="*/ 554216 h 1261310"/>
                    <a:gd name="connsiteX4409" fmla="*/ 1029320 w 1559298"/>
                    <a:gd name="connsiteY4409" fmla="*/ 554823 h 1261310"/>
                    <a:gd name="connsiteX4410" fmla="*/ 1029648 w 1559298"/>
                    <a:gd name="connsiteY4410" fmla="*/ 554944 h 1261310"/>
                    <a:gd name="connsiteX4411" fmla="*/ 1029988 w 1559298"/>
                    <a:gd name="connsiteY4411" fmla="*/ 555017 h 1261310"/>
                    <a:gd name="connsiteX4412" fmla="*/ 1032004 w 1559298"/>
                    <a:gd name="connsiteY4412" fmla="*/ 555442 h 1261310"/>
                    <a:gd name="connsiteX4413" fmla="*/ 1032538 w 1559298"/>
                    <a:gd name="connsiteY4413" fmla="*/ 555552 h 1261310"/>
                    <a:gd name="connsiteX4414" fmla="*/ 1033085 w 1559298"/>
                    <a:gd name="connsiteY4414" fmla="*/ 555576 h 1261310"/>
                    <a:gd name="connsiteX4415" fmla="*/ 1038306 w 1559298"/>
                    <a:gd name="connsiteY4415" fmla="*/ 555734 h 1261310"/>
                    <a:gd name="connsiteX4416" fmla="*/ 1038962 w 1559298"/>
                    <a:gd name="connsiteY4416" fmla="*/ 555746 h 1261310"/>
                    <a:gd name="connsiteX4417" fmla="*/ 1039606 w 1559298"/>
                    <a:gd name="connsiteY4417" fmla="*/ 555624 h 1261310"/>
                    <a:gd name="connsiteX4418" fmla="*/ 1041609 w 1559298"/>
                    <a:gd name="connsiteY4418" fmla="*/ 555248 h 1261310"/>
                    <a:gd name="connsiteX4419" fmla="*/ 1043163 w 1559298"/>
                    <a:gd name="connsiteY4419" fmla="*/ 554957 h 1261310"/>
                    <a:gd name="connsiteX4420" fmla="*/ 1044378 w 1559298"/>
                    <a:gd name="connsiteY4420" fmla="*/ 553949 h 1261310"/>
                    <a:gd name="connsiteX4421" fmla="*/ 1045641 w 1559298"/>
                    <a:gd name="connsiteY4421" fmla="*/ 552892 h 1261310"/>
                    <a:gd name="connsiteX4422" fmla="*/ 1046491 w 1559298"/>
                    <a:gd name="connsiteY4422" fmla="*/ 552176 h 1261310"/>
                    <a:gd name="connsiteX4423" fmla="*/ 1047037 w 1559298"/>
                    <a:gd name="connsiteY4423" fmla="*/ 551216 h 1261310"/>
                    <a:gd name="connsiteX4424" fmla="*/ 1048081 w 1559298"/>
                    <a:gd name="connsiteY4424" fmla="*/ 549371 h 1261310"/>
                    <a:gd name="connsiteX4425" fmla="*/ 1048749 w 1559298"/>
                    <a:gd name="connsiteY4425" fmla="*/ 548181 h 1261310"/>
                    <a:gd name="connsiteX4426" fmla="*/ 1048846 w 1559298"/>
                    <a:gd name="connsiteY4426" fmla="*/ 546833 h 1261310"/>
                    <a:gd name="connsiteX4427" fmla="*/ 1049126 w 1559298"/>
                    <a:gd name="connsiteY4427" fmla="*/ 543044 h 1261310"/>
                    <a:gd name="connsiteX4428" fmla="*/ 1049138 w 1559298"/>
                    <a:gd name="connsiteY4428" fmla="*/ 540324 h 1261310"/>
                    <a:gd name="connsiteX4429" fmla="*/ 1049138 w 1559298"/>
                    <a:gd name="connsiteY4429" fmla="*/ 539742 h 1261310"/>
                    <a:gd name="connsiteX4430" fmla="*/ 1049028 w 1559298"/>
                    <a:gd name="connsiteY4430" fmla="*/ 539159 h 1261310"/>
                    <a:gd name="connsiteX4431" fmla="*/ 1047365 w 1559298"/>
                    <a:gd name="connsiteY4431" fmla="*/ 530610 h 1261310"/>
                    <a:gd name="connsiteX4432" fmla="*/ 1047365 w 1559298"/>
                    <a:gd name="connsiteY4432" fmla="*/ 530270 h 1261310"/>
                    <a:gd name="connsiteX4433" fmla="*/ 1047401 w 1559298"/>
                    <a:gd name="connsiteY4433" fmla="*/ 530063 h 1261310"/>
                    <a:gd name="connsiteX4434" fmla="*/ 1047741 w 1559298"/>
                    <a:gd name="connsiteY4434" fmla="*/ 529517 h 1261310"/>
                    <a:gd name="connsiteX4435" fmla="*/ 1048543 w 1559298"/>
                    <a:gd name="connsiteY4435" fmla="*/ 528594 h 1261310"/>
                    <a:gd name="connsiteX4436" fmla="*/ 1048859 w 1559298"/>
                    <a:gd name="connsiteY4436" fmla="*/ 528242 h 1261310"/>
                    <a:gd name="connsiteX4437" fmla="*/ 1049114 w 1559298"/>
                    <a:gd name="connsiteY4437" fmla="*/ 527829 h 1261310"/>
                    <a:gd name="connsiteX4438" fmla="*/ 1050085 w 1559298"/>
                    <a:gd name="connsiteY4438" fmla="*/ 526299 h 1261310"/>
                    <a:gd name="connsiteX4439" fmla="*/ 1050352 w 1559298"/>
                    <a:gd name="connsiteY4439" fmla="*/ 525886 h 1261310"/>
                    <a:gd name="connsiteX4440" fmla="*/ 1050546 w 1559298"/>
                    <a:gd name="connsiteY4440" fmla="*/ 525425 h 1261310"/>
                    <a:gd name="connsiteX4441" fmla="*/ 1052793 w 1559298"/>
                    <a:gd name="connsiteY4441" fmla="*/ 520106 h 1261310"/>
                    <a:gd name="connsiteX4442" fmla="*/ 1053655 w 1559298"/>
                    <a:gd name="connsiteY4442" fmla="*/ 518649 h 1261310"/>
                    <a:gd name="connsiteX4443" fmla="*/ 1054639 w 1559298"/>
                    <a:gd name="connsiteY4443" fmla="*/ 517568 h 1261310"/>
                    <a:gd name="connsiteX4444" fmla="*/ 1055136 w 1559298"/>
                    <a:gd name="connsiteY4444" fmla="*/ 517240 h 1261310"/>
                    <a:gd name="connsiteX4445" fmla="*/ 1055719 w 1559298"/>
                    <a:gd name="connsiteY4445" fmla="*/ 516998 h 1261310"/>
                    <a:gd name="connsiteX4446" fmla="*/ 1062702 w 1559298"/>
                    <a:gd name="connsiteY4446" fmla="*/ 515844 h 1261310"/>
                    <a:gd name="connsiteX4447" fmla="*/ 1063430 w 1559298"/>
                    <a:gd name="connsiteY4447" fmla="*/ 515722 h 1261310"/>
                    <a:gd name="connsiteX4448" fmla="*/ 1064110 w 1559298"/>
                    <a:gd name="connsiteY4448" fmla="*/ 515443 h 1261310"/>
                    <a:gd name="connsiteX4449" fmla="*/ 1065944 w 1559298"/>
                    <a:gd name="connsiteY4449" fmla="*/ 514666 h 1261310"/>
                    <a:gd name="connsiteX4450" fmla="*/ 1066721 w 1559298"/>
                    <a:gd name="connsiteY4450" fmla="*/ 514338 h 1261310"/>
                    <a:gd name="connsiteX4451" fmla="*/ 1067376 w 1559298"/>
                    <a:gd name="connsiteY4451" fmla="*/ 513804 h 1261310"/>
                    <a:gd name="connsiteX4452" fmla="*/ 1068651 w 1559298"/>
                    <a:gd name="connsiteY4452" fmla="*/ 512772 h 1261310"/>
                    <a:gd name="connsiteX4453" fmla="*/ 1069331 w 1559298"/>
                    <a:gd name="connsiteY4453" fmla="*/ 512225 h 1261310"/>
                    <a:gd name="connsiteX4454" fmla="*/ 1069829 w 1559298"/>
                    <a:gd name="connsiteY4454" fmla="*/ 511509 h 1261310"/>
                    <a:gd name="connsiteX4455" fmla="*/ 1070740 w 1559298"/>
                    <a:gd name="connsiteY4455" fmla="*/ 510198 h 1261310"/>
                    <a:gd name="connsiteX4456" fmla="*/ 1071274 w 1559298"/>
                    <a:gd name="connsiteY4456" fmla="*/ 509433 h 1261310"/>
                    <a:gd name="connsiteX4457" fmla="*/ 1071554 w 1559298"/>
                    <a:gd name="connsiteY4457" fmla="*/ 508546 h 1261310"/>
                    <a:gd name="connsiteX4458" fmla="*/ 1072064 w 1559298"/>
                    <a:gd name="connsiteY4458" fmla="*/ 506907 h 1261310"/>
                    <a:gd name="connsiteX4459" fmla="*/ 1072258 w 1559298"/>
                    <a:gd name="connsiteY4459" fmla="*/ 506300 h 1261310"/>
                    <a:gd name="connsiteX4460" fmla="*/ 1072319 w 1559298"/>
                    <a:gd name="connsiteY4460" fmla="*/ 505656 h 1261310"/>
                    <a:gd name="connsiteX4461" fmla="*/ 1072513 w 1559298"/>
                    <a:gd name="connsiteY4461" fmla="*/ 503616 h 1261310"/>
                    <a:gd name="connsiteX4462" fmla="*/ 1072768 w 1559298"/>
                    <a:gd name="connsiteY4462" fmla="*/ 503325 h 1261310"/>
                    <a:gd name="connsiteX4463" fmla="*/ 1072744 w 1559298"/>
                    <a:gd name="connsiteY4463" fmla="*/ 502863 h 1261310"/>
                    <a:gd name="connsiteX4464" fmla="*/ 1072197 w 1559298"/>
                    <a:gd name="connsiteY4464" fmla="*/ 493671 h 1261310"/>
                    <a:gd name="connsiteX4465" fmla="*/ 1072549 w 1559298"/>
                    <a:gd name="connsiteY4465" fmla="*/ 490210 h 1261310"/>
                    <a:gd name="connsiteX4466" fmla="*/ 1073096 w 1559298"/>
                    <a:gd name="connsiteY4466" fmla="*/ 488547 h 1261310"/>
                    <a:gd name="connsiteX4467" fmla="*/ 1076192 w 1559298"/>
                    <a:gd name="connsiteY4467" fmla="*/ 482645 h 1261310"/>
                    <a:gd name="connsiteX4468" fmla="*/ 1076544 w 1559298"/>
                    <a:gd name="connsiteY4468" fmla="*/ 481953 h 1261310"/>
                    <a:gd name="connsiteX4469" fmla="*/ 1076727 w 1559298"/>
                    <a:gd name="connsiteY4469" fmla="*/ 481200 h 1261310"/>
                    <a:gd name="connsiteX4470" fmla="*/ 1077504 w 1559298"/>
                    <a:gd name="connsiteY4470" fmla="*/ 477873 h 1261310"/>
                    <a:gd name="connsiteX4471" fmla="*/ 1078147 w 1559298"/>
                    <a:gd name="connsiteY4471" fmla="*/ 476744 h 1261310"/>
                    <a:gd name="connsiteX4472" fmla="*/ 1078985 w 1559298"/>
                    <a:gd name="connsiteY4472" fmla="*/ 475857 h 1261310"/>
                    <a:gd name="connsiteX4473" fmla="*/ 1084182 w 1559298"/>
                    <a:gd name="connsiteY4473" fmla="*/ 472846 h 1261310"/>
                    <a:gd name="connsiteX4474" fmla="*/ 1084692 w 1559298"/>
                    <a:gd name="connsiteY4474" fmla="*/ 472567 h 1261310"/>
                    <a:gd name="connsiteX4475" fmla="*/ 1085130 w 1559298"/>
                    <a:gd name="connsiteY4475" fmla="*/ 472178 h 1261310"/>
                    <a:gd name="connsiteX4476" fmla="*/ 1086805 w 1559298"/>
                    <a:gd name="connsiteY4476" fmla="*/ 470721 h 1261310"/>
                    <a:gd name="connsiteX4477" fmla="*/ 1087510 w 1559298"/>
                    <a:gd name="connsiteY4477" fmla="*/ 470102 h 1261310"/>
                    <a:gd name="connsiteX4478" fmla="*/ 1088007 w 1559298"/>
                    <a:gd name="connsiteY4478" fmla="*/ 469312 h 1261310"/>
                    <a:gd name="connsiteX4479" fmla="*/ 1088918 w 1559298"/>
                    <a:gd name="connsiteY4479" fmla="*/ 467819 h 1261310"/>
                    <a:gd name="connsiteX4480" fmla="*/ 1089210 w 1559298"/>
                    <a:gd name="connsiteY4480" fmla="*/ 467333 h 1261310"/>
                    <a:gd name="connsiteX4481" fmla="*/ 1089416 w 1559298"/>
                    <a:gd name="connsiteY4481" fmla="*/ 466811 h 1261310"/>
                    <a:gd name="connsiteX4482" fmla="*/ 1090120 w 1559298"/>
                    <a:gd name="connsiteY4482" fmla="*/ 464977 h 1261310"/>
                    <a:gd name="connsiteX4483" fmla="*/ 1090266 w 1559298"/>
                    <a:gd name="connsiteY4483" fmla="*/ 464589 h 1261310"/>
                    <a:gd name="connsiteX4484" fmla="*/ 1090363 w 1559298"/>
                    <a:gd name="connsiteY4484" fmla="*/ 464176 h 1261310"/>
                    <a:gd name="connsiteX4485" fmla="*/ 1090812 w 1559298"/>
                    <a:gd name="connsiteY4485" fmla="*/ 462197 h 1261310"/>
                    <a:gd name="connsiteX4486" fmla="*/ 1091007 w 1559298"/>
                    <a:gd name="connsiteY4486" fmla="*/ 461346 h 1261310"/>
                    <a:gd name="connsiteX4487" fmla="*/ 1090958 w 1559298"/>
                    <a:gd name="connsiteY4487" fmla="*/ 460472 h 1261310"/>
                    <a:gd name="connsiteX4488" fmla="*/ 1090849 w 1559298"/>
                    <a:gd name="connsiteY4488" fmla="*/ 458748 h 1261310"/>
                    <a:gd name="connsiteX4489" fmla="*/ 1090788 w 1559298"/>
                    <a:gd name="connsiteY4489" fmla="*/ 457740 h 1261310"/>
                    <a:gd name="connsiteX4490" fmla="*/ 1090399 w 1559298"/>
                    <a:gd name="connsiteY4490" fmla="*/ 456793 h 1261310"/>
                    <a:gd name="connsiteX4491" fmla="*/ 1089756 w 1559298"/>
                    <a:gd name="connsiteY4491" fmla="*/ 455239 h 1261310"/>
                    <a:gd name="connsiteX4492" fmla="*/ 1089282 w 1559298"/>
                    <a:gd name="connsiteY4492" fmla="*/ 454085 h 1261310"/>
                    <a:gd name="connsiteX4493" fmla="*/ 1088384 w 1559298"/>
                    <a:gd name="connsiteY4493" fmla="*/ 453223 h 1261310"/>
                    <a:gd name="connsiteX4494" fmla="*/ 1086720 w 1559298"/>
                    <a:gd name="connsiteY4494" fmla="*/ 451608 h 1261310"/>
                    <a:gd name="connsiteX4495" fmla="*/ 1086052 w 1559298"/>
                    <a:gd name="connsiteY4495" fmla="*/ 450952 h 1261310"/>
                    <a:gd name="connsiteX4496" fmla="*/ 1085214 w 1559298"/>
                    <a:gd name="connsiteY4496" fmla="*/ 450527 h 1261310"/>
                    <a:gd name="connsiteX4497" fmla="*/ 1083842 w 1559298"/>
                    <a:gd name="connsiteY4497" fmla="*/ 449835 h 1261310"/>
                    <a:gd name="connsiteX4498" fmla="*/ 1083247 w 1559298"/>
                    <a:gd name="connsiteY4498" fmla="*/ 449544 h 1261310"/>
                    <a:gd name="connsiteX4499" fmla="*/ 1082592 w 1559298"/>
                    <a:gd name="connsiteY4499" fmla="*/ 449374 h 1261310"/>
                    <a:gd name="connsiteX4500" fmla="*/ 1082531 w 1559298"/>
                    <a:gd name="connsiteY4500" fmla="*/ 449361 h 1261310"/>
                    <a:gd name="connsiteX4501" fmla="*/ 1077856 w 1559298"/>
                    <a:gd name="connsiteY4501" fmla="*/ 438105 h 1261310"/>
                    <a:gd name="connsiteX4502" fmla="*/ 1079556 w 1559298"/>
                    <a:gd name="connsiteY4502" fmla="*/ 441505 h 1261310"/>
                    <a:gd name="connsiteX4503" fmla="*/ 1079726 w 1559298"/>
                    <a:gd name="connsiteY4503" fmla="*/ 441845 h 1261310"/>
                    <a:gd name="connsiteX4504" fmla="*/ 1079944 w 1559298"/>
                    <a:gd name="connsiteY4504" fmla="*/ 442161 h 1261310"/>
                    <a:gd name="connsiteX4505" fmla="*/ 1080503 w 1559298"/>
                    <a:gd name="connsiteY4505" fmla="*/ 442986 h 1261310"/>
                    <a:gd name="connsiteX4506" fmla="*/ 1080928 w 1559298"/>
                    <a:gd name="connsiteY4506" fmla="*/ 443618 h 1261310"/>
                    <a:gd name="connsiteX4507" fmla="*/ 1081511 w 1559298"/>
                    <a:gd name="connsiteY4507" fmla="*/ 444128 h 1261310"/>
                    <a:gd name="connsiteX4508" fmla="*/ 1082264 w 1559298"/>
                    <a:gd name="connsiteY4508" fmla="*/ 444796 h 1261310"/>
                    <a:gd name="connsiteX4509" fmla="*/ 1082616 w 1559298"/>
                    <a:gd name="connsiteY4509" fmla="*/ 445099 h 1261310"/>
                    <a:gd name="connsiteX4510" fmla="*/ 1083017 w 1559298"/>
                    <a:gd name="connsiteY4510" fmla="*/ 445354 h 1261310"/>
                    <a:gd name="connsiteX4511" fmla="*/ 1083818 w 1559298"/>
                    <a:gd name="connsiteY4511" fmla="*/ 445864 h 1261310"/>
                    <a:gd name="connsiteX4512" fmla="*/ 1084328 w 1559298"/>
                    <a:gd name="connsiteY4512" fmla="*/ 446192 h 1261310"/>
                    <a:gd name="connsiteX4513" fmla="*/ 1084899 w 1559298"/>
                    <a:gd name="connsiteY4513" fmla="*/ 446411 h 1261310"/>
                    <a:gd name="connsiteX4514" fmla="*/ 1096677 w 1559298"/>
                    <a:gd name="connsiteY4514" fmla="*/ 450928 h 1261310"/>
                    <a:gd name="connsiteX4515" fmla="*/ 1097673 w 1559298"/>
                    <a:gd name="connsiteY4515" fmla="*/ 451304 h 1261310"/>
                    <a:gd name="connsiteX4516" fmla="*/ 1098730 w 1559298"/>
                    <a:gd name="connsiteY4516" fmla="*/ 451329 h 1261310"/>
                    <a:gd name="connsiteX4517" fmla="*/ 1099883 w 1559298"/>
                    <a:gd name="connsiteY4517" fmla="*/ 451353 h 1261310"/>
                    <a:gd name="connsiteX4518" fmla="*/ 1101231 w 1559298"/>
                    <a:gd name="connsiteY4518" fmla="*/ 451377 h 1261310"/>
                    <a:gd name="connsiteX4519" fmla="*/ 1102470 w 1559298"/>
                    <a:gd name="connsiteY4519" fmla="*/ 450831 h 1261310"/>
                    <a:gd name="connsiteX4520" fmla="*/ 1103963 w 1559298"/>
                    <a:gd name="connsiteY4520" fmla="*/ 450163 h 1261310"/>
                    <a:gd name="connsiteX4521" fmla="*/ 1104959 w 1559298"/>
                    <a:gd name="connsiteY4521" fmla="*/ 449714 h 1261310"/>
                    <a:gd name="connsiteX4522" fmla="*/ 1105736 w 1559298"/>
                    <a:gd name="connsiteY4522" fmla="*/ 448961 h 1261310"/>
                    <a:gd name="connsiteX4523" fmla="*/ 1106525 w 1559298"/>
                    <a:gd name="connsiteY4523" fmla="*/ 448196 h 1261310"/>
                    <a:gd name="connsiteX4524" fmla="*/ 1107011 w 1559298"/>
                    <a:gd name="connsiteY4524" fmla="*/ 447722 h 1261310"/>
                    <a:gd name="connsiteX4525" fmla="*/ 1107375 w 1559298"/>
                    <a:gd name="connsiteY4525" fmla="*/ 447152 h 1261310"/>
                    <a:gd name="connsiteX4526" fmla="*/ 1107521 w 1559298"/>
                    <a:gd name="connsiteY4526" fmla="*/ 446933 h 1261310"/>
                    <a:gd name="connsiteX4527" fmla="*/ 1107825 w 1559298"/>
                    <a:gd name="connsiteY4527" fmla="*/ 446884 h 1261310"/>
                    <a:gd name="connsiteX4528" fmla="*/ 1108395 w 1559298"/>
                    <a:gd name="connsiteY4528" fmla="*/ 446787 h 1261310"/>
                    <a:gd name="connsiteX4529" fmla="*/ 1108942 w 1559298"/>
                    <a:gd name="connsiteY4529" fmla="*/ 446581 h 1261310"/>
                    <a:gd name="connsiteX4530" fmla="*/ 1109245 w 1559298"/>
                    <a:gd name="connsiteY4530" fmla="*/ 446472 h 1261310"/>
                    <a:gd name="connsiteX4531" fmla="*/ 1109828 w 1559298"/>
                    <a:gd name="connsiteY4531" fmla="*/ 446775 h 1261310"/>
                    <a:gd name="connsiteX4532" fmla="*/ 1110132 w 1559298"/>
                    <a:gd name="connsiteY4532" fmla="*/ 446945 h 1261310"/>
                    <a:gd name="connsiteX4533" fmla="*/ 1110460 w 1559298"/>
                    <a:gd name="connsiteY4533" fmla="*/ 447079 h 1261310"/>
                    <a:gd name="connsiteX4534" fmla="*/ 1112062 w 1559298"/>
                    <a:gd name="connsiteY4534" fmla="*/ 447734 h 1261310"/>
                    <a:gd name="connsiteX4535" fmla="*/ 1112645 w 1559298"/>
                    <a:gd name="connsiteY4535" fmla="*/ 447977 h 1261310"/>
                    <a:gd name="connsiteX4536" fmla="*/ 1113265 w 1559298"/>
                    <a:gd name="connsiteY4536" fmla="*/ 448098 h 1261310"/>
                    <a:gd name="connsiteX4537" fmla="*/ 1115038 w 1559298"/>
                    <a:gd name="connsiteY4537" fmla="*/ 448414 h 1261310"/>
                    <a:gd name="connsiteX4538" fmla="*/ 1115815 w 1559298"/>
                    <a:gd name="connsiteY4538" fmla="*/ 448560 h 1261310"/>
                    <a:gd name="connsiteX4539" fmla="*/ 1116604 w 1559298"/>
                    <a:gd name="connsiteY4539" fmla="*/ 448487 h 1261310"/>
                    <a:gd name="connsiteX4540" fmla="*/ 1119360 w 1559298"/>
                    <a:gd name="connsiteY4540" fmla="*/ 448256 h 1261310"/>
                    <a:gd name="connsiteX4541" fmla="*/ 1122153 w 1559298"/>
                    <a:gd name="connsiteY4541" fmla="*/ 447771 h 1261310"/>
                    <a:gd name="connsiteX4542" fmla="*/ 1123234 w 1559298"/>
                    <a:gd name="connsiteY4542" fmla="*/ 447989 h 1261310"/>
                    <a:gd name="connsiteX4543" fmla="*/ 1133883 w 1559298"/>
                    <a:gd name="connsiteY4543" fmla="*/ 452021 h 1261310"/>
                    <a:gd name="connsiteX4544" fmla="*/ 1139651 w 1559298"/>
                    <a:gd name="connsiteY4544" fmla="*/ 455336 h 1261310"/>
                    <a:gd name="connsiteX4545" fmla="*/ 1140720 w 1559298"/>
                    <a:gd name="connsiteY4545" fmla="*/ 455955 h 1261310"/>
                    <a:gd name="connsiteX4546" fmla="*/ 1141946 w 1559298"/>
                    <a:gd name="connsiteY4546" fmla="*/ 456101 h 1261310"/>
                    <a:gd name="connsiteX4547" fmla="*/ 1143112 w 1559298"/>
                    <a:gd name="connsiteY4547" fmla="*/ 456247 h 1261310"/>
                    <a:gd name="connsiteX4548" fmla="*/ 1143986 w 1559298"/>
                    <a:gd name="connsiteY4548" fmla="*/ 456356 h 1261310"/>
                    <a:gd name="connsiteX4549" fmla="*/ 1144848 w 1559298"/>
                    <a:gd name="connsiteY4549" fmla="*/ 456210 h 1261310"/>
                    <a:gd name="connsiteX4550" fmla="*/ 1148552 w 1559298"/>
                    <a:gd name="connsiteY4550" fmla="*/ 455591 h 1261310"/>
                    <a:gd name="connsiteX4551" fmla="*/ 1153956 w 1559298"/>
                    <a:gd name="connsiteY4551" fmla="*/ 455676 h 1261310"/>
                    <a:gd name="connsiteX4552" fmla="*/ 1156518 w 1559298"/>
                    <a:gd name="connsiteY4552" fmla="*/ 457024 h 1261310"/>
                    <a:gd name="connsiteX4553" fmla="*/ 1157246 w 1559298"/>
                    <a:gd name="connsiteY4553" fmla="*/ 457813 h 1261310"/>
                    <a:gd name="connsiteX4554" fmla="*/ 1157514 w 1559298"/>
                    <a:gd name="connsiteY4554" fmla="*/ 458104 h 1261310"/>
                    <a:gd name="connsiteX4555" fmla="*/ 1157805 w 1559298"/>
                    <a:gd name="connsiteY4555" fmla="*/ 458359 h 1261310"/>
                    <a:gd name="connsiteX4556" fmla="*/ 1160331 w 1559298"/>
                    <a:gd name="connsiteY4556" fmla="*/ 460521 h 1261310"/>
                    <a:gd name="connsiteX4557" fmla="*/ 1160829 w 1559298"/>
                    <a:gd name="connsiteY4557" fmla="*/ 460946 h 1261310"/>
                    <a:gd name="connsiteX4558" fmla="*/ 1161399 w 1559298"/>
                    <a:gd name="connsiteY4558" fmla="*/ 461249 h 1261310"/>
                    <a:gd name="connsiteX4559" fmla="*/ 1162079 w 1559298"/>
                    <a:gd name="connsiteY4559" fmla="*/ 461614 h 1261310"/>
                    <a:gd name="connsiteX4560" fmla="*/ 1162480 w 1559298"/>
                    <a:gd name="connsiteY4560" fmla="*/ 461869 h 1261310"/>
                    <a:gd name="connsiteX4561" fmla="*/ 1162577 w 1559298"/>
                    <a:gd name="connsiteY4561" fmla="*/ 462112 h 1261310"/>
                    <a:gd name="connsiteX4562" fmla="*/ 1167058 w 1559298"/>
                    <a:gd name="connsiteY4562" fmla="*/ 476124 h 1261310"/>
                    <a:gd name="connsiteX4563" fmla="*/ 1167264 w 1559298"/>
                    <a:gd name="connsiteY4563" fmla="*/ 476792 h 1261310"/>
                    <a:gd name="connsiteX4564" fmla="*/ 1167616 w 1559298"/>
                    <a:gd name="connsiteY4564" fmla="*/ 477387 h 1261310"/>
                    <a:gd name="connsiteX4565" fmla="*/ 1168284 w 1559298"/>
                    <a:gd name="connsiteY4565" fmla="*/ 478517 h 1261310"/>
                    <a:gd name="connsiteX4566" fmla="*/ 1168770 w 1559298"/>
                    <a:gd name="connsiteY4566" fmla="*/ 479330 h 1261310"/>
                    <a:gd name="connsiteX4567" fmla="*/ 1169486 w 1559298"/>
                    <a:gd name="connsiteY4567" fmla="*/ 479962 h 1261310"/>
                    <a:gd name="connsiteX4568" fmla="*/ 1170361 w 1559298"/>
                    <a:gd name="connsiteY4568" fmla="*/ 480727 h 1261310"/>
                    <a:gd name="connsiteX4569" fmla="*/ 1170980 w 1559298"/>
                    <a:gd name="connsiteY4569" fmla="*/ 481273 h 1261310"/>
                    <a:gd name="connsiteX4570" fmla="*/ 1171733 w 1559298"/>
                    <a:gd name="connsiteY4570" fmla="*/ 481638 h 1261310"/>
                    <a:gd name="connsiteX4571" fmla="*/ 1173226 w 1559298"/>
                    <a:gd name="connsiteY4571" fmla="*/ 482366 h 1261310"/>
                    <a:gd name="connsiteX4572" fmla="*/ 1173566 w 1559298"/>
                    <a:gd name="connsiteY4572" fmla="*/ 482536 h 1261310"/>
                    <a:gd name="connsiteX4573" fmla="*/ 1173931 w 1559298"/>
                    <a:gd name="connsiteY4573" fmla="*/ 482657 h 1261310"/>
                    <a:gd name="connsiteX4574" fmla="*/ 1176784 w 1559298"/>
                    <a:gd name="connsiteY4574" fmla="*/ 483617 h 1261310"/>
                    <a:gd name="connsiteX4575" fmla="*/ 1176784 w 1559298"/>
                    <a:gd name="connsiteY4575" fmla="*/ 483653 h 1261310"/>
                    <a:gd name="connsiteX4576" fmla="*/ 1177100 w 1559298"/>
                    <a:gd name="connsiteY4576" fmla="*/ 484442 h 1261310"/>
                    <a:gd name="connsiteX4577" fmla="*/ 1177562 w 1559298"/>
                    <a:gd name="connsiteY4577" fmla="*/ 485596 h 1261310"/>
                    <a:gd name="connsiteX4578" fmla="*/ 1178132 w 1559298"/>
                    <a:gd name="connsiteY4578" fmla="*/ 487029 h 1261310"/>
                    <a:gd name="connsiteX4579" fmla="*/ 1179322 w 1559298"/>
                    <a:gd name="connsiteY4579" fmla="*/ 488012 h 1261310"/>
                    <a:gd name="connsiteX4580" fmla="*/ 1180646 w 1559298"/>
                    <a:gd name="connsiteY4580" fmla="*/ 489105 h 1261310"/>
                    <a:gd name="connsiteX4581" fmla="*/ 1181387 w 1559298"/>
                    <a:gd name="connsiteY4581" fmla="*/ 489712 h 1261310"/>
                    <a:gd name="connsiteX4582" fmla="*/ 1182285 w 1559298"/>
                    <a:gd name="connsiteY4582" fmla="*/ 490065 h 1261310"/>
                    <a:gd name="connsiteX4583" fmla="*/ 1184119 w 1559298"/>
                    <a:gd name="connsiteY4583" fmla="*/ 490793 h 1261310"/>
                    <a:gd name="connsiteX4584" fmla="*/ 1184483 w 1559298"/>
                    <a:gd name="connsiteY4584" fmla="*/ 490939 h 1261310"/>
                    <a:gd name="connsiteX4585" fmla="*/ 1184847 w 1559298"/>
                    <a:gd name="connsiteY4585" fmla="*/ 491036 h 1261310"/>
                    <a:gd name="connsiteX4586" fmla="*/ 1187567 w 1559298"/>
                    <a:gd name="connsiteY4586" fmla="*/ 491728 h 1261310"/>
                    <a:gd name="connsiteX4587" fmla="*/ 1187737 w 1559298"/>
                    <a:gd name="connsiteY4587" fmla="*/ 492032 h 1261310"/>
                    <a:gd name="connsiteX4588" fmla="*/ 1189073 w 1559298"/>
                    <a:gd name="connsiteY4588" fmla="*/ 494521 h 1261310"/>
                    <a:gd name="connsiteX4589" fmla="*/ 1191854 w 1559298"/>
                    <a:gd name="connsiteY4589" fmla="*/ 495104 h 1261310"/>
                    <a:gd name="connsiteX4590" fmla="*/ 1193105 w 1559298"/>
                    <a:gd name="connsiteY4590" fmla="*/ 495359 h 1261310"/>
                    <a:gd name="connsiteX4591" fmla="*/ 1193833 w 1559298"/>
                    <a:gd name="connsiteY4591" fmla="*/ 495517 h 1261310"/>
                    <a:gd name="connsiteX4592" fmla="*/ 1194574 w 1559298"/>
                    <a:gd name="connsiteY4592" fmla="*/ 495492 h 1261310"/>
                    <a:gd name="connsiteX4593" fmla="*/ 1196832 w 1559298"/>
                    <a:gd name="connsiteY4593" fmla="*/ 495408 h 1261310"/>
                    <a:gd name="connsiteX4594" fmla="*/ 1197233 w 1559298"/>
                    <a:gd name="connsiteY4594" fmla="*/ 495383 h 1261310"/>
                    <a:gd name="connsiteX4595" fmla="*/ 1197634 w 1559298"/>
                    <a:gd name="connsiteY4595" fmla="*/ 495322 h 1261310"/>
                    <a:gd name="connsiteX4596" fmla="*/ 1202442 w 1559298"/>
                    <a:gd name="connsiteY4596" fmla="*/ 494497 h 1261310"/>
                    <a:gd name="connsiteX4597" fmla="*/ 1203086 w 1559298"/>
                    <a:gd name="connsiteY4597" fmla="*/ 494375 h 1261310"/>
                    <a:gd name="connsiteX4598" fmla="*/ 1203681 w 1559298"/>
                    <a:gd name="connsiteY4598" fmla="*/ 494132 h 1261310"/>
                    <a:gd name="connsiteX4599" fmla="*/ 1206097 w 1559298"/>
                    <a:gd name="connsiteY4599" fmla="*/ 493161 h 1261310"/>
                    <a:gd name="connsiteX4600" fmla="*/ 1206668 w 1559298"/>
                    <a:gd name="connsiteY4600" fmla="*/ 492918 h 1261310"/>
                    <a:gd name="connsiteX4601" fmla="*/ 1207190 w 1559298"/>
                    <a:gd name="connsiteY4601" fmla="*/ 492578 h 1261310"/>
                    <a:gd name="connsiteX4602" fmla="*/ 1208575 w 1559298"/>
                    <a:gd name="connsiteY4602" fmla="*/ 491655 h 1261310"/>
                    <a:gd name="connsiteX4603" fmla="*/ 1209947 w 1559298"/>
                    <a:gd name="connsiteY4603" fmla="*/ 490745 h 1261310"/>
                    <a:gd name="connsiteX4604" fmla="*/ 1210675 w 1559298"/>
                    <a:gd name="connsiteY4604" fmla="*/ 489263 h 1261310"/>
                    <a:gd name="connsiteX4605" fmla="*/ 1212485 w 1559298"/>
                    <a:gd name="connsiteY4605" fmla="*/ 485547 h 1261310"/>
                    <a:gd name="connsiteX4606" fmla="*/ 1218556 w 1559298"/>
                    <a:gd name="connsiteY4606" fmla="*/ 482803 h 1261310"/>
                    <a:gd name="connsiteX4607" fmla="*/ 1229266 w 1559298"/>
                    <a:gd name="connsiteY4607" fmla="*/ 480958 h 1261310"/>
                    <a:gd name="connsiteX4608" fmla="*/ 1230395 w 1559298"/>
                    <a:gd name="connsiteY4608" fmla="*/ 480958 h 1261310"/>
                    <a:gd name="connsiteX4609" fmla="*/ 1231440 w 1559298"/>
                    <a:gd name="connsiteY4609" fmla="*/ 481152 h 1261310"/>
                    <a:gd name="connsiteX4610" fmla="*/ 1233929 w 1559298"/>
                    <a:gd name="connsiteY4610" fmla="*/ 482087 h 1261310"/>
                    <a:gd name="connsiteX4611" fmla="*/ 1234160 w 1559298"/>
                    <a:gd name="connsiteY4611" fmla="*/ 482245 h 1261310"/>
                    <a:gd name="connsiteX4612" fmla="*/ 1234427 w 1559298"/>
                    <a:gd name="connsiteY4612" fmla="*/ 482548 h 1261310"/>
                    <a:gd name="connsiteX4613" fmla="*/ 1236613 w 1559298"/>
                    <a:gd name="connsiteY4613" fmla="*/ 486385 h 1261310"/>
                    <a:gd name="connsiteX4614" fmla="*/ 1236892 w 1559298"/>
                    <a:gd name="connsiteY4614" fmla="*/ 486895 h 1261310"/>
                    <a:gd name="connsiteX4615" fmla="*/ 1237268 w 1559298"/>
                    <a:gd name="connsiteY4615" fmla="*/ 487332 h 1261310"/>
                    <a:gd name="connsiteX4616" fmla="*/ 1238179 w 1559298"/>
                    <a:gd name="connsiteY4616" fmla="*/ 488401 h 1261310"/>
                    <a:gd name="connsiteX4617" fmla="*/ 1238519 w 1559298"/>
                    <a:gd name="connsiteY4617" fmla="*/ 488790 h 1261310"/>
                    <a:gd name="connsiteX4618" fmla="*/ 1238920 w 1559298"/>
                    <a:gd name="connsiteY4618" fmla="*/ 489118 h 1261310"/>
                    <a:gd name="connsiteX4619" fmla="*/ 1239855 w 1559298"/>
                    <a:gd name="connsiteY4619" fmla="*/ 489882 h 1261310"/>
                    <a:gd name="connsiteX4620" fmla="*/ 1240948 w 1559298"/>
                    <a:gd name="connsiteY4620" fmla="*/ 490793 h 1261310"/>
                    <a:gd name="connsiteX4621" fmla="*/ 1242332 w 1559298"/>
                    <a:gd name="connsiteY4621" fmla="*/ 491109 h 1261310"/>
                    <a:gd name="connsiteX4622" fmla="*/ 1244736 w 1559298"/>
                    <a:gd name="connsiteY4622" fmla="*/ 491680 h 1261310"/>
                    <a:gd name="connsiteX4623" fmla="*/ 1260522 w 1559298"/>
                    <a:gd name="connsiteY4623" fmla="*/ 493841 h 1261310"/>
                    <a:gd name="connsiteX4624" fmla="*/ 1261421 w 1559298"/>
                    <a:gd name="connsiteY4624" fmla="*/ 494217 h 1261310"/>
                    <a:gd name="connsiteX4625" fmla="*/ 1261651 w 1559298"/>
                    <a:gd name="connsiteY4625" fmla="*/ 494460 h 1261310"/>
                    <a:gd name="connsiteX4626" fmla="*/ 1263874 w 1559298"/>
                    <a:gd name="connsiteY4626" fmla="*/ 497496 h 1261310"/>
                    <a:gd name="connsiteX4627" fmla="*/ 1264129 w 1559298"/>
                    <a:gd name="connsiteY4627" fmla="*/ 497836 h 1261310"/>
                    <a:gd name="connsiteX4628" fmla="*/ 1264432 w 1559298"/>
                    <a:gd name="connsiteY4628" fmla="*/ 498139 h 1261310"/>
                    <a:gd name="connsiteX4629" fmla="*/ 1265452 w 1559298"/>
                    <a:gd name="connsiteY4629" fmla="*/ 499184 h 1261310"/>
                    <a:gd name="connsiteX4630" fmla="*/ 1266132 w 1559298"/>
                    <a:gd name="connsiteY4630" fmla="*/ 499876 h 1261310"/>
                    <a:gd name="connsiteX4631" fmla="*/ 1266994 w 1559298"/>
                    <a:gd name="connsiteY4631" fmla="*/ 500326 h 1261310"/>
                    <a:gd name="connsiteX4632" fmla="*/ 1268318 w 1559298"/>
                    <a:gd name="connsiteY4632" fmla="*/ 501017 h 1261310"/>
                    <a:gd name="connsiteX4633" fmla="*/ 1268694 w 1559298"/>
                    <a:gd name="connsiteY4633" fmla="*/ 501224 h 1261310"/>
                    <a:gd name="connsiteX4634" fmla="*/ 1269095 w 1559298"/>
                    <a:gd name="connsiteY4634" fmla="*/ 501370 h 1261310"/>
                    <a:gd name="connsiteX4635" fmla="*/ 1270540 w 1559298"/>
                    <a:gd name="connsiteY4635" fmla="*/ 501880 h 1261310"/>
                    <a:gd name="connsiteX4636" fmla="*/ 1271232 w 1559298"/>
                    <a:gd name="connsiteY4636" fmla="*/ 502135 h 1261310"/>
                    <a:gd name="connsiteX4637" fmla="*/ 1271973 w 1559298"/>
                    <a:gd name="connsiteY4637" fmla="*/ 502208 h 1261310"/>
                    <a:gd name="connsiteX4638" fmla="*/ 1275009 w 1559298"/>
                    <a:gd name="connsiteY4638" fmla="*/ 502499 h 1261310"/>
                    <a:gd name="connsiteX4639" fmla="*/ 1275337 w 1559298"/>
                    <a:gd name="connsiteY4639" fmla="*/ 502523 h 1261310"/>
                    <a:gd name="connsiteX4640" fmla="*/ 1275664 w 1559298"/>
                    <a:gd name="connsiteY4640" fmla="*/ 502523 h 1261310"/>
                    <a:gd name="connsiteX4641" fmla="*/ 1289604 w 1559298"/>
                    <a:gd name="connsiteY4641" fmla="*/ 502353 h 1261310"/>
                    <a:gd name="connsiteX4642" fmla="*/ 1289859 w 1559298"/>
                    <a:gd name="connsiteY4642" fmla="*/ 502450 h 1261310"/>
                    <a:gd name="connsiteX4643" fmla="*/ 1290491 w 1559298"/>
                    <a:gd name="connsiteY4643" fmla="*/ 502560 h 1261310"/>
                    <a:gd name="connsiteX4644" fmla="*/ 1291754 w 1559298"/>
                    <a:gd name="connsiteY4644" fmla="*/ 502766 h 1261310"/>
                    <a:gd name="connsiteX4645" fmla="*/ 1292118 w 1559298"/>
                    <a:gd name="connsiteY4645" fmla="*/ 502827 h 1261310"/>
                    <a:gd name="connsiteX4646" fmla="*/ 1292494 w 1559298"/>
                    <a:gd name="connsiteY4646" fmla="*/ 502839 h 1261310"/>
                    <a:gd name="connsiteX4647" fmla="*/ 1295979 w 1559298"/>
                    <a:gd name="connsiteY4647" fmla="*/ 502960 h 1261310"/>
                    <a:gd name="connsiteX4648" fmla="*/ 1296259 w 1559298"/>
                    <a:gd name="connsiteY4648" fmla="*/ 503300 h 1261310"/>
                    <a:gd name="connsiteX4649" fmla="*/ 1296878 w 1559298"/>
                    <a:gd name="connsiteY4649" fmla="*/ 504053 h 1261310"/>
                    <a:gd name="connsiteX4650" fmla="*/ 1297145 w 1559298"/>
                    <a:gd name="connsiteY4650" fmla="*/ 504369 h 1261310"/>
                    <a:gd name="connsiteX4651" fmla="*/ 1297461 w 1559298"/>
                    <a:gd name="connsiteY4651" fmla="*/ 504648 h 1261310"/>
                    <a:gd name="connsiteX4652" fmla="*/ 1298153 w 1559298"/>
                    <a:gd name="connsiteY4652" fmla="*/ 505280 h 1261310"/>
                    <a:gd name="connsiteX4653" fmla="*/ 1298760 w 1559298"/>
                    <a:gd name="connsiteY4653" fmla="*/ 505838 h 1261310"/>
                    <a:gd name="connsiteX4654" fmla="*/ 1299501 w 1559298"/>
                    <a:gd name="connsiteY4654" fmla="*/ 506202 h 1261310"/>
                    <a:gd name="connsiteX4655" fmla="*/ 1301225 w 1559298"/>
                    <a:gd name="connsiteY4655" fmla="*/ 507065 h 1261310"/>
                    <a:gd name="connsiteX4656" fmla="*/ 1301565 w 1559298"/>
                    <a:gd name="connsiteY4656" fmla="*/ 507247 h 1261310"/>
                    <a:gd name="connsiteX4657" fmla="*/ 1301929 w 1559298"/>
                    <a:gd name="connsiteY4657" fmla="*/ 507368 h 1261310"/>
                    <a:gd name="connsiteX4658" fmla="*/ 1302792 w 1559298"/>
                    <a:gd name="connsiteY4658" fmla="*/ 507672 h 1261310"/>
                    <a:gd name="connsiteX4659" fmla="*/ 1303836 w 1559298"/>
                    <a:gd name="connsiteY4659" fmla="*/ 508048 h 1261310"/>
                    <a:gd name="connsiteX4660" fmla="*/ 1304941 w 1559298"/>
                    <a:gd name="connsiteY4660" fmla="*/ 508024 h 1261310"/>
                    <a:gd name="connsiteX4661" fmla="*/ 1306131 w 1559298"/>
                    <a:gd name="connsiteY4661" fmla="*/ 508000 h 1261310"/>
                    <a:gd name="connsiteX4662" fmla="*/ 1306981 w 1559298"/>
                    <a:gd name="connsiteY4662" fmla="*/ 507976 h 1261310"/>
                    <a:gd name="connsiteX4663" fmla="*/ 1307782 w 1559298"/>
                    <a:gd name="connsiteY4663" fmla="*/ 507733 h 1261310"/>
                    <a:gd name="connsiteX4664" fmla="*/ 1309179 w 1559298"/>
                    <a:gd name="connsiteY4664" fmla="*/ 507307 h 1261310"/>
                    <a:gd name="connsiteX4665" fmla="*/ 1310345 w 1559298"/>
                    <a:gd name="connsiteY4665" fmla="*/ 506955 h 1261310"/>
                    <a:gd name="connsiteX4666" fmla="*/ 1311280 w 1559298"/>
                    <a:gd name="connsiteY4666" fmla="*/ 506178 h 1261310"/>
                    <a:gd name="connsiteX4667" fmla="*/ 1313295 w 1559298"/>
                    <a:gd name="connsiteY4667" fmla="*/ 504503 h 1261310"/>
                    <a:gd name="connsiteX4668" fmla="*/ 1314048 w 1559298"/>
                    <a:gd name="connsiteY4668" fmla="*/ 503883 h 1261310"/>
                    <a:gd name="connsiteX4669" fmla="*/ 1314558 w 1559298"/>
                    <a:gd name="connsiteY4669" fmla="*/ 503057 h 1261310"/>
                    <a:gd name="connsiteX4670" fmla="*/ 1315347 w 1559298"/>
                    <a:gd name="connsiteY4670" fmla="*/ 501795 h 1261310"/>
                    <a:gd name="connsiteX4671" fmla="*/ 1315748 w 1559298"/>
                    <a:gd name="connsiteY4671" fmla="*/ 501163 h 1261310"/>
                    <a:gd name="connsiteX4672" fmla="*/ 1315979 w 1559298"/>
                    <a:gd name="connsiteY4672" fmla="*/ 500447 h 1261310"/>
                    <a:gd name="connsiteX4673" fmla="*/ 1316380 w 1559298"/>
                    <a:gd name="connsiteY4673" fmla="*/ 499208 h 1261310"/>
                    <a:gd name="connsiteX4674" fmla="*/ 1316683 w 1559298"/>
                    <a:gd name="connsiteY4674" fmla="*/ 498297 h 1261310"/>
                    <a:gd name="connsiteX4675" fmla="*/ 1316683 w 1559298"/>
                    <a:gd name="connsiteY4675" fmla="*/ 497326 h 1261310"/>
                    <a:gd name="connsiteX4676" fmla="*/ 1316683 w 1559298"/>
                    <a:gd name="connsiteY4676" fmla="*/ 496270 h 1261310"/>
                    <a:gd name="connsiteX4677" fmla="*/ 1318189 w 1559298"/>
                    <a:gd name="connsiteY4677" fmla="*/ 495614 h 1261310"/>
                    <a:gd name="connsiteX4678" fmla="*/ 1331425 w 1559298"/>
                    <a:gd name="connsiteY4678" fmla="*/ 491510 h 1261310"/>
                    <a:gd name="connsiteX4679" fmla="*/ 1332178 w 1559298"/>
                    <a:gd name="connsiteY4679" fmla="*/ 491267 h 1261310"/>
                    <a:gd name="connsiteX4680" fmla="*/ 1332845 w 1559298"/>
                    <a:gd name="connsiteY4680" fmla="*/ 490854 h 1261310"/>
                    <a:gd name="connsiteX4681" fmla="*/ 1333987 w 1559298"/>
                    <a:gd name="connsiteY4681" fmla="*/ 490137 h 1261310"/>
                    <a:gd name="connsiteX4682" fmla="*/ 1334545 w 1559298"/>
                    <a:gd name="connsiteY4682" fmla="*/ 489785 h 1261310"/>
                    <a:gd name="connsiteX4683" fmla="*/ 1334691 w 1559298"/>
                    <a:gd name="connsiteY4683" fmla="*/ 489652 h 1261310"/>
                    <a:gd name="connsiteX4684" fmla="*/ 1334970 w 1559298"/>
                    <a:gd name="connsiteY4684" fmla="*/ 489579 h 1261310"/>
                    <a:gd name="connsiteX4685" fmla="*/ 1342548 w 1559298"/>
                    <a:gd name="connsiteY4685" fmla="*/ 490793 h 1261310"/>
                    <a:gd name="connsiteX4686" fmla="*/ 1342754 w 1559298"/>
                    <a:gd name="connsiteY4686" fmla="*/ 491072 h 1261310"/>
                    <a:gd name="connsiteX4687" fmla="*/ 1344442 w 1559298"/>
                    <a:gd name="connsiteY4687" fmla="*/ 493052 h 1261310"/>
                    <a:gd name="connsiteX4688" fmla="*/ 1344745 w 1559298"/>
                    <a:gd name="connsiteY4688" fmla="*/ 493392 h 1261310"/>
                    <a:gd name="connsiteX4689" fmla="*/ 1345085 w 1559298"/>
                    <a:gd name="connsiteY4689" fmla="*/ 493683 h 1261310"/>
                    <a:gd name="connsiteX4690" fmla="*/ 1348983 w 1559298"/>
                    <a:gd name="connsiteY4690" fmla="*/ 496998 h 1261310"/>
                    <a:gd name="connsiteX4691" fmla="*/ 1349469 w 1559298"/>
                    <a:gd name="connsiteY4691" fmla="*/ 497630 h 1261310"/>
                    <a:gd name="connsiteX4692" fmla="*/ 1351667 w 1559298"/>
                    <a:gd name="connsiteY4692" fmla="*/ 502062 h 1261310"/>
                    <a:gd name="connsiteX4693" fmla="*/ 1351910 w 1559298"/>
                    <a:gd name="connsiteY4693" fmla="*/ 502560 h 1261310"/>
                    <a:gd name="connsiteX4694" fmla="*/ 1352238 w 1559298"/>
                    <a:gd name="connsiteY4694" fmla="*/ 502997 h 1261310"/>
                    <a:gd name="connsiteX4695" fmla="*/ 1353452 w 1559298"/>
                    <a:gd name="connsiteY4695" fmla="*/ 504636 h 1261310"/>
                    <a:gd name="connsiteX4696" fmla="*/ 1354399 w 1559298"/>
                    <a:gd name="connsiteY4696" fmla="*/ 505753 h 1261310"/>
                    <a:gd name="connsiteX4697" fmla="*/ 1355018 w 1559298"/>
                    <a:gd name="connsiteY4697" fmla="*/ 506458 h 1261310"/>
                    <a:gd name="connsiteX4698" fmla="*/ 1355808 w 1559298"/>
                    <a:gd name="connsiteY4698" fmla="*/ 506943 h 1261310"/>
                    <a:gd name="connsiteX4699" fmla="*/ 1356609 w 1559298"/>
                    <a:gd name="connsiteY4699" fmla="*/ 507429 h 1261310"/>
                    <a:gd name="connsiteX4700" fmla="*/ 1357058 w 1559298"/>
                    <a:gd name="connsiteY4700" fmla="*/ 507684 h 1261310"/>
                    <a:gd name="connsiteX4701" fmla="*/ 1357544 w 1559298"/>
                    <a:gd name="connsiteY4701" fmla="*/ 507878 h 1261310"/>
                    <a:gd name="connsiteX4702" fmla="*/ 1358418 w 1559298"/>
                    <a:gd name="connsiteY4702" fmla="*/ 508218 h 1261310"/>
                    <a:gd name="connsiteX4703" fmla="*/ 1358746 w 1559298"/>
                    <a:gd name="connsiteY4703" fmla="*/ 508352 h 1261310"/>
                    <a:gd name="connsiteX4704" fmla="*/ 1359086 w 1559298"/>
                    <a:gd name="connsiteY4704" fmla="*/ 508449 h 1261310"/>
                    <a:gd name="connsiteX4705" fmla="*/ 1362280 w 1559298"/>
                    <a:gd name="connsiteY4705" fmla="*/ 509287 h 1261310"/>
                    <a:gd name="connsiteX4706" fmla="*/ 1364587 w 1559298"/>
                    <a:gd name="connsiteY4706" fmla="*/ 510319 h 1261310"/>
                    <a:gd name="connsiteX4707" fmla="*/ 1365036 w 1559298"/>
                    <a:gd name="connsiteY4707" fmla="*/ 510526 h 1261310"/>
                    <a:gd name="connsiteX4708" fmla="*/ 1365510 w 1559298"/>
                    <a:gd name="connsiteY4708" fmla="*/ 510659 h 1261310"/>
                    <a:gd name="connsiteX4709" fmla="*/ 1366809 w 1559298"/>
                    <a:gd name="connsiteY4709" fmla="*/ 510999 h 1261310"/>
                    <a:gd name="connsiteX4710" fmla="*/ 1368594 w 1559298"/>
                    <a:gd name="connsiteY4710" fmla="*/ 513743 h 1261310"/>
                    <a:gd name="connsiteX4711" fmla="*/ 1368861 w 1559298"/>
                    <a:gd name="connsiteY4711" fmla="*/ 514144 h 1261310"/>
                    <a:gd name="connsiteX4712" fmla="*/ 1369177 w 1559298"/>
                    <a:gd name="connsiteY4712" fmla="*/ 514496 h 1261310"/>
                    <a:gd name="connsiteX4713" fmla="*/ 1370270 w 1559298"/>
                    <a:gd name="connsiteY4713" fmla="*/ 515711 h 1261310"/>
                    <a:gd name="connsiteX4714" fmla="*/ 1370452 w 1559298"/>
                    <a:gd name="connsiteY4714" fmla="*/ 515953 h 1261310"/>
                    <a:gd name="connsiteX4715" fmla="*/ 1370658 w 1559298"/>
                    <a:gd name="connsiteY4715" fmla="*/ 516402 h 1261310"/>
                    <a:gd name="connsiteX4716" fmla="*/ 1371569 w 1559298"/>
                    <a:gd name="connsiteY4716" fmla="*/ 519256 h 1261310"/>
                    <a:gd name="connsiteX4717" fmla="*/ 1371739 w 1559298"/>
                    <a:gd name="connsiteY4717" fmla="*/ 520458 h 1261310"/>
                    <a:gd name="connsiteX4718" fmla="*/ 1371739 w 1559298"/>
                    <a:gd name="connsiteY4718" fmla="*/ 522268 h 1261310"/>
                    <a:gd name="connsiteX4719" fmla="*/ 1371011 w 1559298"/>
                    <a:gd name="connsiteY4719" fmla="*/ 528752 h 1261310"/>
                    <a:gd name="connsiteX4720" fmla="*/ 1370476 w 1559298"/>
                    <a:gd name="connsiteY4720" fmla="*/ 531010 h 1261310"/>
                    <a:gd name="connsiteX4721" fmla="*/ 1370379 w 1559298"/>
                    <a:gd name="connsiteY4721" fmla="*/ 531399 h 1261310"/>
                    <a:gd name="connsiteX4722" fmla="*/ 1370343 w 1559298"/>
                    <a:gd name="connsiteY4722" fmla="*/ 531812 h 1261310"/>
                    <a:gd name="connsiteX4723" fmla="*/ 1369991 w 1559298"/>
                    <a:gd name="connsiteY4723" fmla="*/ 535334 h 1261310"/>
                    <a:gd name="connsiteX4724" fmla="*/ 1369954 w 1559298"/>
                    <a:gd name="connsiteY4724" fmla="*/ 535722 h 1261310"/>
                    <a:gd name="connsiteX4725" fmla="*/ 1369966 w 1559298"/>
                    <a:gd name="connsiteY4725" fmla="*/ 536123 h 1261310"/>
                    <a:gd name="connsiteX4726" fmla="*/ 1370064 w 1559298"/>
                    <a:gd name="connsiteY4726" fmla="*/ 539280 h 1261310"/>
                    <a:gd name="connsiteX4727" fmla="*/ 1369663 w 1559298"/>
                    <a:gd name="connsiteY4727" fmla="*/ 541186 h 1261310"/>
                    <a:gd name="connsiteX4728" fmla="*/ 1369541 w 1559298"/>
                    <a:gd name="connsiteY4728" fmla="*/ 541526 h 1261310"/>
                    <a:gd name="connsiteX4729" fmla="*/ 1368072 w 1559298"/>
                    <a:gd name="connsiteY4729" fmla="*/ 542680 h 1261310"/>
                    <a:gd name="connsiteX4730" fmla="*/ 1367404 w 1559298"/>
                    <a:gd name="connsiteY4730" fmla="*/ 543214 h 1261310"/>
                    <a:gd name="connsiteX4731" fmla="*/ 1366906 w 1559298"/>
                    <a:gd name="connsiteY4731" fmla="*/ 543906 h 1261310"/>
                    <a:gd name="connsiteX4732" fmla="*/ 1366348 w 1559298"/>
                    <a:gd name="connsiteY4732" fmla="*/ 544683 h 1261310"/>
                    <a:gd name="connsiteX4733" fmla="*/ 1365668 w 1559298"/>
                    <a:gd name="connsiteY4733" fmla="*/ 545618 h 1261310"/>
                    <a:gd name="connsiteX4734" fmla="*/ 1365389 w 1559298"/>
                    <a:gd name="connsiteY4734" fmla="*/ 546748 h 1261310"/>
                    <a:gd name="connsiteX4735" fmla="*/ 1365085 w 1559298"/>
                    <a:gd name="connsiteY4735" fmla="*/ 547950 h 1261310"/>
                    <a:gd name="connsiteX4736" fmla="*/ 1364951 w 1559298"/>
                    <a:gd name="connsiteY4736" fmla="*/ 548460 h 1261310"/>
                    <a:gd name="connsiteX4737" fmla="*/ 1364915 w 1559298"/>
                    <a:gd name="connsiteY4737" fmla="*/ 549007 h 1261310"/>
                    <a:gd name="connsiteX4738" fmla="*/ 1364866 w 1559298"/>
                    <a:gd name="connsiteY4738" fmla="*/ 549674 h 1261310"/>
                    <a:gd name="connsiteX4739" fmla="*/ 1364806 w 1559298"/>
                    <a:gd name="connsiteY4739" fmla="*/ 550500 h 1261310"/>
                    <a:gd name="connsiteX4740" fmla="*/ 1364976 w 1559298"/>
                    <a:gd name="connsiteY4740" fmla="*/ 551302 h 1261310"/>
                    <a:gd name="connsiteX4741" fmla="*/ 1365243 w 1559298"/>
                    <a:gd name="connsiteY4741" fmla="*/ 552613 h 1261310"/>
                    <a:gd name="connsiteX4742" fmla="*/ 1364988 w 1559298"/>
                    <a:gd name="connsiteY4742" fmla="*/ 555284 h 1261310"/>
                    <a:gd name="connsiteX4743" fmla="*/ 1364939 w 1559298"/>
                    <a:gd name="connsiteY4743" fmla="*/ 555770 h 1261310"/>
                    <a:gd name="connsiteX4744" fmla="*/ 1364964 w 1559298"/>
                    <a:gd name="connsiteY4744" fmla="*/ 556268 h 1261310"/>
                    <a:gd name="connsiteX4745" fmla="*/ 1365206 w 1559298"/>
                    <a:gd name="connsiteY4745" fmla="*/ 559971 h 1261310"/>
                    <a:gd name="connsiteX4746" fmla="*/ 1365243 w 1559298"/>
                    <a:gd name="connsiteY4746" fmla="*/ 560457 h 1261310"/>
                    <a:gd name="connsiteX4747" fmla="*/ 1365352 w 1559298"/>
                    <a:gd name="connsiteY4747" fmla="*/ 560931 h 1261310"/>
                    <a:gd name="connsiteX4748" fmla="*/ 1366202 w 1559298"/>
                    <a:gd name="connsiteY4748" fmla="*/ 564622 h 1261310"/>
                    <a:gd name="connsiteX4749" fmla="*/ 1365862 w 1559298"/>
                    <a:gd name="connsiteY4749" fmla="*/ 564780 h 1261310"/>
                    <a:gd name="connsiteX4750" fmla="*/ 1365194 w 1559298"/>
                    <a:gd name="connsiteY4750" fmla="*/ 565351 h 1261310"/>
                    <a:gd name="connsiteX4751" fmla="*/ 1360422 w 1559298"/>
                    <a:gd name="connsiteY4751" fmla="*/ 569431 h 1261310"/>
                    <a:gd name="connsiteX4752" fmla="*/ 1359912 w 1559298"/>
                    <a:gd name="connsiteY4752" fmla="*/ 569868 h 1261310"/>
                    <a:gd name="connsiteX4753" fmla="*/ 1359511 w 1559298"/>
                    <a:gd name="connsiteY4753" fmla="*/ 570402 h 1261310"/>
                    <a:gd name="connsiteX4754" fmla="*/ 1355553 w 1559298"/>
                    <a:gd name="connsiteY4754" fmla="*/ 575697 h 1261310"/>
                    <a:gd name="connsiteX4755" fmla="*/ 1354994 w 1559298"/>
                    <a:gd name="connsiteY4755" fmla="*/ 576449 h 1261310"/>
                    <a:gd name="connsiteX4756" fmla="*/ 1354690 w 1559298"/>
                    <a:gd name="connsiteY4756" fmla="*/ 577324 h 1261310"/>
                    <a:gd name="connsiteX4757" fmla="*/ 1352687 w 1559298"/>
                    <a:gd name="connsiteY4757" fmla="*/ 583007 h 1261310"/>
                    <a:gd name="connsiteX4758" fmla="*/ 1352262 w 1559298"/>
                    <a:gd name="connsiteY4758" fmla="*/ 584233 h 1261310"/>
                    <a:gd name="connsiteX4759" fmla="*/ 1352359 w 1559298"/>
                    <a:gd name="connsiteY4759" fmla="*/ 585520 h 1261310"/>
                    <a:gd name="connsiteX4760" fmla="*/ 1352881 w 1559298"/>
                    <a:gd name="connsiteY4760" fmla="*/ 591859 h 1261310"/>
                    <a:gd name="connsiteX4761" fmla="*/ 1353197 w 1559298"/>
                    <a:gd name="connsiteY4761" fmla="*/ 595647 h 1261310"/>
                    <a:gd name="connsiteX4762" fmla="*/ 1356730 w 1559298"/>
                    <a:gd name="connsiteY4762" fmla="*/ 597020 h 1261310"/>
                    <a:gd name="connsiteX4763" fmla="*/ 1359985 w 1559298"/>
                    <a:gd name="connsiteY4763" fmla="*/ 598282 h 1261310"/>
                    <a:gd name="connsiteX4764" fmla="*/ 1361721 w 1559298"/>
                    <a:gd name="connsiteY4764" fmla="*/ 598962 h 1261310"/>
                    <a:gd name="connsiteX4765" fmla="*/ 1363531 w 1559298"/>
                    <a:gd name="connsiteY4765" fmla="*/ 598550 h 1261310"/>
                    <a:gd name="connsiteX4766" fmla="*/ 1367975 w 1559298"/>
                    <a:gd name="connsiteY4766" fmla="*/ 597554 h 1261310"/>
                    <a:gd name="connsiteX4767" fmla="*/ 1369833 w 1559298"/>
                    <a:gd name="connsiteY4767" fmla="*/ 607997 h 1261310"/>
                    <a:gd name="connsiteX4768" fmla="*/ 1369893 w 1559298"/>
                    <a:gd name="connsiteY4768" fmla="*/ 608325 h 1261310"/>
                    <a:gd name="connsiteX4769" fmla="*/ 1369991 w 1559298"/>
                    <a:gd name="connsiteY4769" fmla="*/ 608653 h 1261310"/>
                    <a:gd name="connsiteX4770" fmla="*/ 1371630 w 1559298"/>
                    <a:gd name="connsiteY4770" fmla="*/ 614153 h 1261310"/>
                    <a:gd name="connsiteX4771" fmla="*/ 1371521 w 1559298"/>
                    <a:gd name="connsiteY4771" fmla="*/ 622410 h 1261310"/>
                    <a:gd name="connsiteX4772" fmla="*/ 1371241 w 1559298"/>
                    <a:gd name="connsiteY4772" fmla="*/ 623880 h 1261310"/>
                    <a:gd name="connsiteX4773" fmla="*/ 1370586 w 1559298"/>
                    <a:gd name="connsiteY4773" fmla="*/ 624645 h 1261310"/>
                    <a:gd name="connsiteX4774" fmla="*/ 1364684 w 1559298"/>
                    <a:gd name="connsiteY4774" fmla="*/ 629963 h 1261310"/>
                    <a:gd name="connsiteX4775" fmla="*/ 1360118 w 1559298"/>
                    <a:gd name="connsiteY4775" fmla="*/ 634080 h 1261310"/>
                    <a:gd name="connsiteX4776" fmla="*/ 1364296 w 1559298"/>
                    <a:gd name="connsiteY4776" fmla="*/ 638597 h 1261310"/>
                    <a:gd name="connsiteX4777" fmla="*/ 1364903 w 1559298"/>
                    <a:gd name="connsiteY4777" fmla="*/ 639253 h 1261310"/>
                    <a:gd name="connsiteX4778" fmla="*/ 1365959 w 1559298"/>
                    <a:gd name="connsiteY4778" fmla="*/ 640018 h 1261310"/>
                    <a:gd name="connsiteX4779" fmla="*/ 1375261 w 1559298"/>
                    <a:gd name="connsiteY4779" fmla="*/ 645519 h 1261310"/>
                    <a:gd name="connsiteX4780" fmla="*/ 1375819 w 1559298"/>
                    <a:gd name="connsiteY4780" fmla="*/ 645846 h 1261310"/>
                    <a:gd name="connsiteX4781" fmla="*/ 1376438 w 1559298"/>
                    <a:gd name="connsiteY4781" fmla="*/ 646053 h 1261310"/>
                    <a:gd name="connsiteX4782" fmla="*/ 1381502 w 1559298"/>
                    <a:gd name="connsiteY4782" fmla="*/ 647741 h 1261310"/>
                    <a:gd name="connsiteX4783" fmla="*/ 1387598 w 1559298"/>
                    <a:gd name="connsiteY4783" fmla="*/ 653375 h 1261310"/>
                    <a:gd name="connsiteX4784" fmla="*/ 1387841 w 1559298"/>
                    <a:gd name="connsiteY4784" fmla="*/ 653606 h 1261310"/>
                    <a:gd name="connsiteX4785" fmla="*/ 1388096 w 1559298"/>
                    <a:gd name="connsiteY4785" fmla="*/ 653800 h 1261310"/>
                    <a:gd name="connsiteX4786" fmla="*/ 1391702 w 1559298"/>
                    <a:gd name="connsiteY4786" fmla="*/ 656484 h 1261310"/>
                    <a:gd name="connsiteX4787" fmla="*/ 1391957 w 1559298"/>
                    <a:gd name="connsiteY4787" fmla="*/ 656738 h 1261310"/>
                    <a:gd name="connsiteX4788" fmla="*/ 1394859 w 1559298"/>
                    <a:gd name="connsiteY4788" fmla="*/ 661790 h 1261310"/>
                    <a:gd name="connsiteX4789" fmla="*/ 1395576 w 1559298"/>
                    <a:gd name="connsiteY4789" fmla="*/ 663053 h 1261310"/>
                    <a:gd name="connsiteX4790" fmla="*/ 1396790 w 1559298"/>
                    <a:gd name="connsiteY4790" fmla="*/ 663842 h 1261310"/>
                    <a:gd name="connsiteX4791" fmla="*/ 1397980 w 1559298"/>
                    <a:gd name="connsiteY4791" fmla="*/ 664619 h 1261310"/>
                    <a:gd name="connsiteX4792" fmla="*/ 1399231 w 1559298"/>
                    <a:gd name="connsiteY4792" fmla="*/ 665433 h 1261310"/>
                    <a:gd name="connsiteX4793" fmla="*/ 1400724 w 1559298"/>
                    <a:gd name="connsiteY4793" fmla="*/ 665591 h 1261310"/>
                    <a:gd name="connsiteX4794" fmla="*/ 1415551 w 1559298"/>
                    <a:gd name="connsiteY4794" fmla="*/ 667024 h 1261310"/>
                    <a:gd name="connsiteX4795" fmla="*/ 1416170 w 1559298"/>
                    <a:gd name="connsiteY4795" fmla="*/ 667085 h 1261310"/>
                    <a:gd name="connsiteX4796" fmla="*/ 1416777 w 1559298"/>
                    <a:gd name="connsiteY4796" fmla="*/ 667012 h 1261310"/>
                    <a:gd name="connsiteX4797" fmla="*/ 1430317 w 1559298"/>
                    <a:gd name="connsiteY4797" fmla="*/ 665579 h 1261310"/>
                    <a:gd name="connsiteX4798" fmla="*/ 1430985 w 1559298"/>
                    <a:gd name="connsiteY4798" fmla="*/ 665506 h 1261310"/>
                    <a:gd name="connsiteX4799" fmla="*/ 1431616 w 1559298"/>
                    <a:gd name="connsiteY4799" fmla="*/ 665287 h 1261310"/>
                    <a:gd name="connsiteX4800" fmla="*/ 1433450 w 1559298"/>
                    <a:gd name="connsiteY4800" fmla="*/ 664668 h 1261310"/>
                    <a:gd name="connsiteX4801" fmla="*/ 1434324 w 1559298"/>
                    <a:gd name="connsiteY4801" fmla="*/ 664376 h 1261310"/>
                    <a:gd name="connsiteX4802" fmla="*/ 1435077 w 1559298"/>
                    <a:gd name="connsiteY4802" fmla="*/ 663842 h 1261310"/>
                    <a:gd name="connsiteX4803" fmla="*/ 1437615 w 1559298"/>
                    <a:gd name="connsiteY4803" fmla="*/ 662009 h 1261310"/>
                    <a:gd name="connsiteX4804" fmla="*/ 1442678 w 1559298"/>
                    <a:gd name="connsiteY4804" fmla="*/ 660818 h 1261310"/>
                    <a:gd name="connsiteX4805" fmla="*/ 1441428 w 1559298"/>
                    <a:gd name="connsiteY4805" fmla="*/ 654528 h 1261310"/>
                    <a:gd name="connsiteX4806" fmla="*/ 1440444 w 1559298"/>
                    <a:gd name="connsiteY4806" fmla="*/ 651177 h 1261310"/>
                    <a:gd name="connsiteX4807" fmla="*/ 1439995 w 1559298"/>
                    <a:gd name="connsiteY4807" fmla="*/ 649416 h 1261310"/>
                    <a:gd name="connsiteX4808" fmla="*/ 1439982 w 1559298"/>
                    <a:gd name="connsiteY4808" fmla="*/ 649222 h 1261310"/>
                    <a:gd name="connsiteX4809" fmla="*/ 1439982 w 1559298"/>
                    <a:gd name="connsiteY4809" fmla="*/ 649222 h 1261310"/>
                    <a:gd name="connsiteX4810" fmla="*/ 1440262 w 1559298"/>
                    <a:gd name="connsiteY4810" fmla="*/ 648943 h 1261310"/>
                    <a:gd name="connsiteX4811" fmla="*/ 1451591 w 1559298"/>
                    <a:gd name="connsiteY4811" fmla="*/ 642264 h 1261310"/>
                    <a:gd name="connsiteX4812" fmla="*/ 1452976 w 1559298"/>
                    <a:gd name="connsiteY4812" fmla="*/ 641450 h 1261310"/>
                    <a:gd name="connsiteX4813" fmla="*/ 1453777 w 1559298"/>
                    <a:gd name="connsiteY4813" fmla="*/ 640066 h 1261310"/>
                    <a:gd name="connsiteX4814" fmla="*/ 1455732 w 1559298"/>
                    <a:gd name="connsiteY4814" fmla="*/ 636654 h 1261310"/>
                    <a:gd name="connsiteX4815" fmla="*/ 1456958 w 1559298"/>
                    <a:gd name="connsiteY4815" fmla="*/ 634505 h 1261310"/>
                    <a:gd name="connsiteX4816" fmla="*/ 1456351 w 1559298"/>
                    <a:gd name="connsiteY4816" fmla="*/ 632125 h 1261310"/>
                    <a:gd name="connsiteX4817" fmla="*/ 1455368 w 1559298"/>
                    <a:gd name="connsiteY4817" fmla="*/ 628276 h 1261310"/>
                    <a:gd name="connsiteX4818" fmla="*/ 1455028 w 1559298"/>
                    <a:gd name="connsiteY4818" fmla="*/ 626952 h 1261310"/>
                    <a:gd name="connsiteX4819" fmla="*/ 1454141 w 1559298"/>
                    <a:gd name="connsiteY4819" fmla="*/ 625896 h 1261310"/>
                    <a:gd name="connsiteX4820" fmla="*/ 1443407 w 1559298"/>
                    <a:gd name="connsiteY4820" fmla="*/ 613024 h 1261310"/>
                    <a:gd name="connsiteX4821" fmla="*/ 1441950 w 1559298"/>
                    <a:gd name="connsiteY4821" fmla="*/ 609806 h 1261310"/>
                    <a:gd name="connsiteX4822" fmla="*/ 1441986 w 1559298"/>
                    <a:gd name="connsiteY4822" fmla="*/ 606103 h 1261310"/>
                    <a:gd name="connsiteX4823" fmla="*/ 1444609 w 1559298"/>
                    <a:gd name="connsiteY4823" fmla="*/ 600322 h 1261310"/>
                    <a:gd name="connsiteX4824" fmla="*/ 1454481 w 1559298"/>
                    <a:gd name="connsiteY4824" fmla="*/ 588896 h 1261310"/>
                    <a:gd name="connsiteX4825" fmla="*/ 1454894 w 1559298"/>
                    <a:gd name="connsiteY4825" fmla="*/ 588410 h 1261310"/>
                    <a:gd name="connsiteX4826" fmla="*/ 1455198 w 1559298"/>
                    <a:gd name="connsiteY4826" fmla="*/ 587852 h 1261310"/>
                    <a:gd name="connsiteX4827" fmla="*/ 1459047 w 1559298"/>
                    <a:gd name="connsiteY4827" fmla="*/ 580882 h 1261310"/>
                    <a:gd name="connsiteX4828" fmla="*/ 1459508 w 1559298"/>
                    <a:gd name="connsiteY4828" fmla="*/ 580044 h 1261310"/>
                    <a:gd name="connsiteX4829" fmla="*/ 1459690 w 1559298"/>
                    <a:gd name="connsiteY4829" fmla="*/ 579109 h 1261310"/>
                    <a:gd name="connsiteX4830" fmla="*/ 1460431 w 1559298"/>
                    <a:gd name="connsiteY4830" fmla="*/ 575272 h 1261310"/>
                    <a:gd name="connsiteX4831" fmla="*/ 1460868 w 1559298"/>
                    <a:gd name="connsiteY4831" fmla="*/ 572673 h 1261310"/>
                    <a:gd name="connsiteX4832" fmla="*/ 1465118 w 1559298"/>
                    <a:gd name="connsiteY4832" fmla="*/ 557409 h 1261310"/>
                    <a:gd name="connsiteX4833" fmla="*/ 1465677 w 1559298"/>
                    <a:gd name="connsiteY4833" fmla="*/ 556256 h 1261310"/>
                    <a:gd name="connsiteX4834" fmla="*/ 1469223 w 1559298"/>
                    <a:gd name="connsiteY4834" fmla="*/ 554811 h 1261310"/>
                    <a:gd name="connsiteX4835" fmla="*/ 1469842 w 1559298"/>
                    <a:gd name="connsiteY4835" fmla="*/ 554556 h 1261310"/>
                    <a:gd name="connsiteX4836" fmla="*/ 1470388 w 1559298"/>
                    <a:gd name="connsiteY4836" fmla="*/ 554179 h 1261310"/>
                    <a:gd name="connsiteX4837" fmla="*/ 1472283 w 1559298"/>
                    <a:gd name="connsiteY4837" fmla="*/ 552868 h 1261310"/>
                    <a:gd name="connsiteX4838" fmla="*/ 1473206 w 1559298"/>
                    <a:gd name="connsiteY4838" fmla="*/ 552224 h 1261310"/>
                    <a:gd name="connsiteX4839" fmla="*/ 1473837 w 1559298"/>
                    <a:gd name="connsiteY4839" fmla="*/ 551289 h 1261310"/>
                    <a:gd name="connsiteX4840" fmla="*/ 1475561 w 1559298"/>
                    <a:gd name="connsiteY4840" fmla="*/ 548763 h 1261310"/>
                    <a:gd name="connsiteX4841" fmla="*/ 1475853 w 1559298"/>
                    <a:gd name="connsiteY4841" fmla="*/ 548338 h 1261310"/>
                    <a:gd name="connsiteX4842" fmla="*/ 1476071 w 1559298"/>
                    <a:gd name="connsiteY4842" fmla="*/ 547877 h 1261310"/>
                    <a:gd name="connsiteX4843" fmla="*/ 1478536 w 1559298"/>
                    <a:gd name="connsiteY4843" fmla="*/ 542462 h 1261310"/>
                    <a:gd name="connsiteX4844" fmla="*/ 1479374 w 1559298"/>
                    <a:gd name="connsiteY4844" fmla="*/ 541344 h 1261310"/>
                    <a:gd name="connsiteX4845" fmla="*/ 1479508 w 1559298"/>
                    <a:gd name="connsiteY4845" fmla="*/ 541247 h 1261310"/>
                    <a:gd name="connsiteX4846" fmla="*/ 1482228 w 1559298"/>
                    <a:gd name="connsiteY4846" fmla="*/ 540336 h 1261310"/>
                    <a:gd name="connsiteX4847" fmla="*/ 1482799 w 1559298"/>
                    <a:gd name="connsiteY4847" fmla="*/ 540142 h 1261310"/>
                    <a:gd name="connsiteX4848" fmla="*/ 1483309 w 1559298"/>
                    <a:gd name="connsiteY4848" fmla="*/ 539851 h 1261310"/>
                    <a:gd name="connsiteX4849" fmla="*/ 1484924 w 1559298"/>
                    <a:gd name="connsiteY4849" fmla="*/ 538928 h 1261310"/>
                    <a:gd name="connsiteX4850" fmla="*/ 1485761 w 1559298"/>
                    <a:gd name="connsiteY4850" fmla="*/ 538442 h 1261310"/>
                    <a:gd name="connsiteX4851" fmla="*/ 1486417 w 1559298"/>
                    <a:gd name="connsiteY4851" fmla="*/ 537726 h 1261310"/>
                    <a:gd name="connsiteX4852" fmla="*/ 1488202 w 1559298"/>
                    <a:gd name="connsiteY4852" fmla="*/ 535746 h 1261310"/>
                    <a:gd name="connsiteX4853" fmla="*/ 1488493 w 1559298"/>
                    <a:gd name="connsiteY4853" fmla="*/ 535418 h 1261310"/>
                    <a:gd name="connsiteX4854" fmla="*/ 1488736 w 1559298"/>
                    <a:gd name="connsiteY4854" fmla="*/ 535066 h 1261310"/>
                    <a:gd name="connsiteX4855" fmla="*/ 1490534 w 1559298"/>
                    <a:gd name="connsiteY4855" fmla="*/ 532370 h 1261310"/>
                    <a:gd name="connsiteX4856" fmla="*/ 1491736 w 1559298"/>
                    <a:gd name="connsiteY4856" fmla="*/ 536159 h 1261310"/>
                    <a:gd name="connsiteX4857" fmla="*/ 1492027 w 1559298"/>
                    <a:gd name="connsiteY4857" fmla="*/ 537070 h 1261310"/>
                    <a:gd name="connsiteX4858" fmla="*/ 1492586 w 1559298"/>
                    <a:gd name="connsiteY4858" fmla="*/ 537847 h 1261310"/>
                    <a:gd name="connsiteX4859" fmla="*/ 1495804 w 1559298"/>
                    <a:gd name="connsiteY4859" fmla="*/ 542352 h 1261310"/>
                    <a:gd name="connsiteX4860" fmla="*/ 1497370 w 1559298"/>
                    <a:gd name="connsiteY4860" fmla="*/ 544550 h 1261310"/>
                    <a:gd name="connsiteX4861" fmla="*/ 1500054 w 1559298"/>
                    <a:gd name="connsiteY4861" fmla="*/ 544854 h 1261310"/>
                    <a:gd name="connsiteX4862" fmla="*/ 1503101 w 1559298"/>
                    <a:gd name="connsiteY4862" fmla="*/ 545193 h 1261310"/>
                    <a:gd name="connsiteX4863" fmla="*/ 1504340 w 1559298"/>
                    <a:gd name="connsiteY4863" fmla="*/ 545339 h 1261310"/>
                    <a:gd name="connsiteX4864" fmla="*/ 1505542 w 1559298"/>
                    <a:gd name="connsiteY4864" fmla="*/ 544975 h 1261310"/>
                    <a:gd name="connsiteX4865" fmla="*/ 1508201 w 1559298"/>
                    <a:gd name="connsiteY4865" fmla="*/ 544186 h 1261310"/>
                    <a:gd name="connsiteX4866" fmla="*/ 1509671 w 1559298"/>
                    <a:gd name="connsiteY4866" fmla="*/ 544234 h 1261310"/>
                    <a:gd name="connsiteX4867" fmla="*/ 1512707 w 1559298"/>
                    <a:gd name="connsiteY4867" fmla="*/ 549225 h 1261310"/>
                    <a:gd name="connsiteX4868" fmla="*/ 1513654 w 1559298"/>
                    <a:gd name="connsiteY4868" fmla="*/ 551811 h 1261310"/>
                    <a:gd name="connsiteX4869" fmla="*/ 1514759 w 1559298"/>
                    <a:gd name="connsiteY4869" fmla="*/ 554811 h 1261310"/>
                    <a:gd name="connsiteX4870" fmla="*/ 1517867 w 1559298"/>
                    <a:gd name="connsiteY4870" fmla="*/ 555588 h 1261310"/>
                    <a:gd name="connsiteX4871" fmla="*/ 1518620 w 1559298"/>
                    <a:gd name="connsiteY4871" fmla="*/ 555782 h 1261310"/>
                    <a:gd name="connsiteX4872" fmla="*/ 1521364 w 1559298"/>
                    <a:gd name="connsiteY4872" fmla="*/ 556487 h 1261310"/>
                    <a:gd name="connsiteX4873" fmla="*/ 1523647 w 1559298"/>
                    <a:gd name="connsiteY4873" fmla="*/ 554823 h 1261310"/>
                    <a:gd name="connsiteX4874" fmla="*/ 1524388 w 1559298"/>
                    <a:gd name="connsiteY4874" fmla="*/ 554289 h 1261310"/>
                    <a:gd name="connsiteX4875" fmla="*/ 1524983 w 1559298"/>
                    <a:gd name="connsiteY4875" fmla="*/ 553864 h 1261310"/>
                    <a:gd name="connsiteX4876" fmla="*/ 1525457 w 1559298"/>
                    <a:gd name="connsiteY4876" fmla="*/ 553305 h 1261310"/>
                    <a:gd name="connsiteX4877" fmla="*/ 1527569 w 1559298"/>
                    <a:gd name="connsiteY4877" fmla="*/ 550840 h 1261310"/>
                    <a:gd name="connsiteX4878" fmla="*/ 1529925 w 1559298"/>
                    <a:gd name="connsiteY4878" fmla="*/ 548679 h 1261310"/>
                    <a:gd name="connsiteX4879" fmla="*/ 1531103 w 1559298"/>
                    <a:gd name="connsiteY4879" fmla="*/ 547756 h 1261310"/>
                    <a:gd name="connsiteX4880" fmla="*/ 1534685 w 1559298"/>
                    <a:gd name="connsiteY4880" fmla="*/ 545655 h 1261310"/>
                    <a:gd name="connsiteX4881" fmla="*/ 1541473 w 1559298"/>
                    <a:gd name="connsiteY4881" fmla="*/ 543020 h 1261310"/>
                    <a:gd name="connsiteX4882" fmla="*/ 1542748 w 1559298"/>
                    <a:gd name="connsiteY4882" fmla="*/ 542522 h 1261310"/>
                    <a:gd name="connsiteX4883" fmla="*/ 1543695 w 1559298"/>
                    <a:gd name="connsiteY4883" fmla="*/ 541526 h 1261310"/>
                    <a:gd name="connsiteX4884" fmla="*/ 1545189 w 1559298"/>
                    <a:gd name="connsiteY4884" fmla="*/ 539936 h 1261310"/>
                    <a:gd name="connsiteX4885" fmla="*/ 1546585 w 1559298"/>
                    <a:gd name="connsiteY4885" fmla="*/ 538442 h 1261310"/>
                    <a:gd name="connsiteX4886" fmla="*/ 1546804 w 1559298"/>
                    <a:gd name="connsiteY4886" fmla="*/ 536414 h 1261310"/>
                    <a:gd name="connsiteX4887" fmla="*/ 1547035 w 1559298"/>
                    <a:gd name="connsiteY4887" fmla="*/ 534229 h 1261310"/>
                    <a:gd name="connsiteX4888" fmla="*/ 1547217 w 1559298"/>
                    <a:gd name="connsiteY4888" fmla="*/ 532492 h 1261310"/>
                    <a:gd name="connsiteX4889" fmla="*/ 1546464 w 1559298"/>
                    <a:gd name="connsiteY4889" fmla="*/ 530938 h 1261310"/>
                    <a:gd name="connsiteX4890" fmla="*/ 1544800 w 1559298"/>
                    <a:gd name="connsiteY4890" fmla="*/ 527501 h 1261310"/>
                    <a:gd name="connsiteX4891" fmla="*/ 1544545 w 1559298"/>
                    <a:gd name="connsiteY4891" fmla="*/ 526979 h 1261310"/>
                    <a:gd name="connsiteX4892" fmla="*/ 1544205 w 1559298"/>
                    <a:gd name="connsiteY4892" fmla="*/ 526518 h 1261310"/>
                    <a:gd name="connsiteX4893" fmla="*/ 1544108 w 1559298"/>
                    <a:gd name="connsiteY4893" fmla="*/ 526384 h 1261310"/>
                    <a:gd name="connsiteX4894" fmla="*/ 1545845 w 1559298"/>
                    <a:gd name="connsiteY4894" fmla="*/ 526178 h 1261310"/>
                    <a:gd name="connsiteX4895" fmla="*/ 1546452 w 1559298"/>
                    <a:gd name="connsiteY4895" fmla="*/ 526105 h 1261310"/>
                    <a:gd name="connsiteX4896" fmla="*/ 1547023 w 1559298"/>
                    <a:gd name="connsiteY4896" fmla="*/ 525911 h 1261310"/>
                    <a:gd name="connsiteX4897" fmla="*/ 1549888 w 1559298"/>
                    <a:gd name="connsiteY4897" fmla="*/ 524976 h 1261310"/>
                    <a:gd name="connsiteX4898" fmla="*/ 1550872 w 1559298"/>
                    <a:gd name="connsiteY4898" fmla="*/ 524660 h 1261310"/>
                    <a:gd name="connsiteX4899" fmla="*/ 1551685 w 1559298"/>
                    <a:gd name="connsiteY4899" fmla="*/ 524028 h 1261310"/>
                    <a:gd name="connsiteX4900" fmla="*/ 1553871 w 1559298"/>
                    <a:gd name="connsiteY4900" fmla="*/ 522353 h 1261310"/>
                    <a:gd name="connsiteX4901" fmla="*/ 1554612 w 1559298"/>
                    <a:gd name="connsiteY4901" fmla="*/ 521782 h 1261310"/>
                    <a:gd name="connsiteX4902" fmla="*/ 1555146 w 1559298"/>
                    <a:gd name="connsiteY4902" fmla="*/ 521029 h 1261310"/>
                    <a:gd name="connsiteX4903" fmla="*/ 1556640 w 1559298"/>
                    <a:gd name="connsiteY4903" fmla="*/ 518904 h 1261310"/>
                    <a:gd name="connsiteX4904" fmla="*/ 1556955 w 1559298"/>
                    <a:gd name="connsiteY4904" fmla="*/ 518455 h 1261310"/>
                    <a:gd name="connsiteX4905" fmla="*/ 1557186 w 1559298"/>
                    <a:gd name="connsiteY4905" fmla="*/ 517969 h 1261310"/>
                    <a:gd name="connsiteX4906" fmla="*/ 1558400 w 1559298"/>
                    <a:gd name="connsiteY4906" fmla="*/ 515358 h 1261310"/>
                    <a:gd name="connsiteX4907" fmla="*/ 1558850 w 1559298"/>
                    <a:gd name="connsiteY4907" fmla="*/ 514387 h 1261310"/>
                    <a:gd name="connsiteX4908" fmla="*/ 1558947 w 1559298"/>
                    <a:gd name="connsiteY4908" fmla="*/ 513330 h 1261310"/>
                    <a:gd name="connsiteX4909" fmla="*/ 1559226 w 1559298"/>
                    <a:gd name="connsiteY4909" fmla="*/ 510137 h 1261310"/>
                    <a:gd name="connsiteX4910" fmla="*/ 1559299 w 1559298"/>
                    <a:gd name="connsiteY4910" fmla="*/ 509323 h 1261310"/>
                    <a:gd name="connsiteX4911" fmla="*/ 1559153 w 1559298"/>
                    <a:gd name="connsiteY4911" fmla="*/ 508522 h 1261310"/>
                    <a:gd name="connsiteX4912" fmla="*/ 1558583 w 1559298"/>
                    <a:gd name="connsiteY4912" fmla="*/ 505413 h 1261310"/>
                    <a:gd name="connsiteX4913" fmla="*/ 1558352 w 1559298"/>
                    <a:gd name="connsiteY4913" fmla="*/ 504175 h 1261310"/>
                    <a:gd name="connsiteX4914" fmla="*/ 1557660 w 1559298"/>
                    <a:gd name="connsiteY4914" fmla="*/ 503130 h 1261310"/>
                    <a:gd name="connsiteX4915" fmla="*/ 1554733 w 1559298"/>
                    <a:gd name="connsiteY4915" fmla="*/ 498747 h 1261310"/>
                    <a:gd name="connsiteX4916" fmla="*/ 1554272 w 1559298"/>
                    <a:gd name="connsiteY4916" fmla="*/ 498055 h 1261310"/>
                    <a:gd name="connsiteX4917" fmla="*/ 1553653 w 1559298"/>
                    <a:gd name="connsiteY4917" fmla="*/ 497520 h 1261310"/>
                    <a:gd name="connsiteX4918" fmla="*/ 1549233 w 1559298"/>
                    <a:gd name="connsiteY4918" fmla="*/ 493707 h 1261310"/>
                    <a:gd name="connsiteX4919" fmla="*/ 1546513 w 1559298"/>
                    <a:gd name="connsiteY4919" fmla="*/ 490854 h 1261310"/>
                    <a:gd name="connsiteX4920" fmla="*/ 1545893 w 1559298"/>
                    <a:gd name="connsiteY4920" fmla="*/ 490223 h 1261310"/>
                    <a:gd name="connsiteX4921" fmla="*/ 1545116 w 1559298"/>
                    <a:gd name="connsiteY4921" fmla="*/ 489785 h 1261310"/>
                    <a:gd name="connsiteX4922" fmla="*/ 1543744 w 1559298"/>
                    <a:gd name="connsiteY4922" fmla="*/ 489020 h 1261310"/>
                    <a:gd name="connsiteX4923" fmla="*/ 1542845 w 1559298"/>
                    <a:gd name="connsiteY4923" fmla="*/ 488510 h 1261310"/>
                    <a:gd name="connsiteX4924" fmla="*/ 1541825 w 1559298"/>
                    <a:gd name="connsiteY4924" fmla="*/ 488328 h 1261310"/>
                    <a:gd name="connsiteX4925" fmla="*/ 1540210 w 1559298"/>
                    <a:gd name="connsiteY4925" fmla="*/ 488049 h 1261310"/>
                    <a:gd name="connsiteX4926" fmla="*/ 1539810 w 1559298"/>
                    <a:gd name="connsiteY4926" fmla="*/ 487976 h 1261310"/>
                    <a:gd name="connsiteX4927" fmla="*/ 1539397 w 1559298"/>
                    <a:gd name="connsiteY4927" fmla="*/ 487952 h 1261310"/>
                    <a:gd name="connsiteX4928" fmla="*/ 1538875 w 1559298"/>
                    <a:gd name="connsiteY4928" fmla="*/ 487939 h 1261310"/>
                    <a:gd name="connsiteX4929" fmla="*/ 1534200 w 1559298"/>
                    <a:gd name="connsiteY4929" fmla="*/ 484467 h 1261310"/>
                    <a:gd name="connsiteX4930" fmla="*/ 1533702 w 1559298"/>
                    <a:gd name="connsiteY4930" fmla="*/ 484090 h 1261310"/>
                    <a:gd name="connsiteX4931" fmla="*/ 1533131 w 1559298"/>
                    <a:gd name="connsiteY4931" fmla="*/ 483835 h 1261310"/>
                    <a:gd name="connsiteX4932" fmla="*/ 1530265 w 1559298"/>
                    <a:gd name="connsiteY4932" fmla="*/ 482487 h 1261310"/>
                    <a:gd name="connsiteX4933" fmla="*/ 1529780 w 1559298"/>
                    <a:gd name="connsiteY4933" fmla="*/ 482245 h 1261310"/>
                    <a:gd name="connsiteX4934" fmla="*/ 1529257 w 1559298"/>
                    <a:gd name="connsiteY4934" fmla="*/ 482111 h 1261310"/>
                    <a:gd name="connsiteX4935" fmla="*/ 1520709 w 1559298"/>
                    <a:gd name="connsiteY4935" fmla="*/ 479816 h 1261310"/>
                    <a:gd name="connsiteX4936" fmla="*/ 1520102 w 1559298"/>
                    <a:gd name="connsiteY4936" fmla="*/ 479537 h 1261310"/>
                    <a:gd name="connsiteX4937" fmla="*/ 1519810 w 1559298"/>
                    <a:gd name="connsiteY4937" fmla="*/ 479221 h 1261310"/>
                    <a:gd name="connsiteX4938" fmla="*/ 1519312 w 1559298"/>
                    <a:gd name="connsiteY4938" fmla="*/ 478055 h 1261310"/>
                    <a:gd name="connsiteX4939" fmla="*/ 1517649 w 1559298"/>
                    <a:gd name="connsiteY4939" fmla="*/ 468171 h 1261310"/>
                    <a:gd name="connsiteX4940" fmla="*/ 1517442 w 1559298"/>
                    <a:gd name="connsiteY4940" fmla="*/ 466993 h 1261310"/>
                    <a:gd name="connsiteX4941" fmla="*/ 1516811 w 1559298"/>
                    <a:gd name="connsiteY4941" fmla="*/ 465973 h 1261310"/>
                    <a:gd name="connsiteX4942" fmla="*/ 1515317 w 1559298"/>
                    <a:gd name="connsiteY4942" fmla="*/ 463569 h 1261310"/>
                    <a:gd name="connsiteX4943" fmla="*/ 1514820 w 1559298"/>
                    <a:gd name="connsiteY4943" fmla="*/ 462767 h 1261310"/>
                    <a:gd name="connsiteX4944" fmla="*/ 1514103 w 1559298"/>
                    <a:gd name="connsiteY4944" fmla="*/ 462148 h 1261310"/>
                    <a:gd name="connsiteX4945" fmla="*/ 1512488 w 1559298"/>
                    <a:gd name="connsiteY4945" fmla="*/ 460776 h 1261310"/>
                    <a:gd name="connsiteX4946" fmla="*/ 1512099 w 1559298"/>
                    <a:gd name="connsiteY4946" fmla="*/ 460460 h 1261310"/>
                    <a:gd name="connsiteX4947" fmla="*/ 1511674 w 1559298"/>
                    <a:gd name="connsiteY4947" fmla="*/ 460205 h 1261310"/>
                    <a:gd name="connsiteX4948" fmla="*/ 1509962 w 1559298"/>
                    <a:gd name="connsiteY4948" fmla="*/ 459173 h 1261310"/>
                    <a:gd name="connsiteX4949" fmla="*/ 1509428 w 1559298"/>
                    <a:gd name="connsiteY4949" fmla="*/ 458857 h 1261310"/>
                    <a:gd name="connsiteX4950" fmla="*/ 1508845 w 1559298"/>
                    <a:gd name="connsiteY4950" fmla="*/ 458651 h 1261310"/>
                    <a:gd name="connsiteX4951" fmla="*/ 1506720 w 1559298"/>
                    <a:gd name="connsiteY4951" fmla="*/ 457898 h 1261310"/>
                    <a:gd name="connsiteX4952" fmla="*/ 1506404 w 1559298"/>
                    <a:gd name="connsiteY4952" fmla="*/ 457777 h 1261310"/>
                    <a:gd name="connsiteX4953" fmla="*/ 1506077 w 1559298"/>
                    <a:gd name="connsiteY4953" fmla="*/ 457704 h 1261310"/>
                    <a:gd name="connsiteX4954" fmla="*/ 1499349 w 1559298"/>
                    <a:gd name="connsiteY4954" fmla="*/ 456161 h 1261310"/>
                    <a:gd name="connsiteX4955" fmla="*/ 1498232 w 1559298"/>
                    <a:gd name="connsiteY4955" fmla="*/ 455688 h 1261310"/>
                    <a:gd name="connsiteX4956" fmla="*/ 1497079 w 1559298"/>
                    <a:gd name="connsiteY4956" fmla="*/ 454741 h 1261310"/>
                    <a:gd name="connsiteX4957" fmla="*/ 1496216 w 1559298"/>
                    <a:gd name="connsiteY4957" fmla="*/ 453672 h 1261310"/>
                    <a:gd name="connsiteX4958" fmla="*/ 1495403 w 1559298"/>
                    <a:gd name="connsiteY4958" fmla="*/ 451863 h 1261310"/>
                    <a:gd name="connsiteX4959" fmla="*/ 1493752 w 1559298"/>
                    <a:gd name="connsiteY4959" fmla="*/ 445172 h 1261310"/>
                    <a:gd name="connsiteX4960" fmla="*/ 1493654 w 1559298"/>
                    <a:gd name="connsiteY4960" fmla="*/ 444771 h 1261310"/>
                    <a:gd name="connsiteX4961" fmla="*/ 1493509 w 1559298"/>
                    <a:gd name="connsiteY4961" fmla="*/ 444407 h 1261310"/>
                    <a:gd name="connsiteX4962" fmla="*/ 1492768 w 1559298"/>
                    <a:gd name="connsiteY4962" fmla="*/ 442525 h 1261310"/>
                    <a:gd name="connsiteX4963" fmla="*/ 1492476 w 1559298"/>
                    <a:gd name="connsiteY4963" fmla="*/ 441772 h 1261310"/>
                    <a:gd name="connsiteX4964" fmla="*/ 1492003 w 1559298"/>
                    <a:gd name="connsiteY4964" fmla="*/ 441129 h 1261310"/>
                    <a:gd name="connsiteX4965" fmla="*/ 1490728 w 1559298"/>
                    <a:gd name="connsiteY4965" fmla="*/ 439392 h 1261310"/>
                    <a:gd name="connsiteX4966" fmla="*/ 1489854 w 1559298"/>
                    <a:gd name="connsiteY4966" fmla="*/ 438202 h 1261310"/>
                    <a:gd name="connsiteX4967" fmla="*/ 1488530 w 1559298"/>
                    <a:gd name="connsiteY4967" fmla="*/ 437546 h 1261310"/>
                    <a:gd name="connsiteX4968" fmla="*/ 1486757 w 1559298"/>
                    <a:gd name="connsiteY4968" fmla="*/ 436672 h 1261310"/>
                    <a:gd name="connsiteX4969" fmla="*/ 1485761 w 1559298"/>
                    <a:gd name="connsiteY4969" fmla="*/ 436174 h 1261310"/>
                    <a:gd name="connsiteX4970" fmla="*/ 1484644 w 1559298"/>
                    <a:gd name="connsiteY4970" fmla="*/ 436065 h 1261310"/>
                    <a:gd name="connsiteX4971" fmla="*/ 1482799 w 1559298"/>
                    <a:gd name="connsiteY4971" fmla="*/ 435883 h 1261310"/>
                    <a:gd name="connsiteX4972" fmla="*/ 1482058 w 1559298"/>
                    <a:gd name="connsiteY4972" fmla="*/ 435810 h 1261310"/>
                    <a:gd name="connsiteX4973" fmla="*/ 1482313 w 1559298"/>
                    <a:gd name="connsiteY4973" fmla="*/ 435057 h 1261310"/>
                    <a:gd name="connsiteX4974" fmla="*/ 1482179 w 1559298"/>
                    <a:gd name="connsiteY4974" fmla="*/ 433758 h 1261310"/>
                    <a:gd name="connsiteX4975" fmla="*/ 1481949 w 1559298"/>
                    <a:gd name="connsiteY4975" fmla="*/ 431572 h 1261310"/>
                    <a:gd name="connsiteX4976" fmla="*/ 1481754 w 1559298"/>
                    <a:gd name="connsiteY4976" fmla="*/ 429702 h 1261310"/>
                    <a:gd name="connsiteX4977" fmla="*/ 1480528 w 1559298"/>
                    <a:gd name="connsiteY4977" fmla="*/ 428269 h 1261310"/>
                    <a:gd name="connsiteX4978" fmla="*/ 1480224 w 1559298"/>
                    <a:gd name="connsiteY4978" fmla="*/ 427917 h 1261310"/>
                    <a:gd name="connsiteX4979" fmla="*/ 1481426 w 1559298"/>
                    <a:gd name="connsiteY4979" fmla="*/ 428087 h 1261310"/>
                    <a:gd name="connsiteX4980" fmla="*/ 1481961 w 1559298"/>
                    <a:gd name="connsiteY4980" fmla="*/ 428160 h 1261310"/>
                    <a:gd name="connsiteX4981" fmla="*/ 1482495 w 1559298"/>
                    <a:gd name="connsiteY4981" fmla="*/ 428148 h 1261310"/>
                    <a:gd name="connsiteX4982" fmla="*/ 1483819 w 1559298"/>
                    <a:gd name="connsiteY4982" fmla="*/ 428099 h 1261310"/>
                    <a:gd name="connsiteX4983" fmla="*/ 1485009 w 1559298"/>
                    <a:gd name="connsiteY4983" fmla="*/ 428051 h 1261310"/>
                    <a:gd name="connsiteX4984" fmla="*/ 1486089 w 1559298"/>
                    <a:gd name="connsiteY4984" fmla="*/ 427565 h 1261310"/>
                    <a:gd name="connsiteX4985" fmla="*/ 1487061 w 1559298"/>
                    <a:gd name="connsiteY4985" fmla="*/ 427128 h 1261310"/>
                    <a:gd name="connsiteX4986" fmla="*/ 1489246 w 1559298"/>
                    <a:gd name="connsiteY4986" fmla="*/ 426144 h 1261310"/>
                    <a:gd name="connsiteX4987" fmla="*/ 1490169 w 1559298"/>
                    <a:gd name="connsiteY4987" fmla="*/ 423922 h 1261310"/>
                    <a:gd name="connsiteX4988" fmla="*/ 1490910 w 1559298"/>
                    <a:gd name="connsiteY4988" fmla="*/ 422149 h 1261310"/>
                    <a:gd name="connsiteX4989" fmla="*/ 1491104 w 1559298"/>
                    <a:gd name="connsiteY4989" fmla="*/ 421688 h 1261310"/>
                    <a:gd name="connsiteX4990" fmla="*/ 1491214 w 1559298"/>
                    <a:gd name="connsiteY4990" fmla="*/ 421214 h 1261310"/>
                    <a:gd name="connsiteX4991" fmla="*/ 1491906 w 1559298"/>
                    <a:gd name="connsiteY4991" fmla="*/ 418312 h 1261310"/>
                    <a:gd name="connsiteX4992" fmla="*/ 1491991 w 1559298"/>
                    <a:gd name="connsiteY4992" fmla="*/ 417948 h 1261310"/>
                    <a:gd name="connsiteX4993" fmla="*/ 1492027 w 1559298"/>
                    <a:gd name="connsiteY4993" fmla="*/ 417584 h 1261310"/>
                    <a:gd name="connsiteX4994" fmla="*/ 1493144 w 1559298"/>
                    <a:gd name="connsiteY4994" fmla="*/ 407432 h 1261310"/>
                    <a:gd name="connsiteX4995" fmla="*/ 1494346 w 1559298"/>
                    <a:gd name="connsiteY4995" fmla="*/ 402806 h 1261310"/>
                    <a:gd name="connsiteX4996" fmla="*/ 1494638 w 1559298"/>
                    <a:gd name="connsiteY4996" fmla="*/ 402077 h 1261310"/>
                    <a:gd name="connsiteX4997" fmla="*/ 1494747 w 1559298"/>
                    <a:gd name="connsiteY4997" fmla="*/ 401773 h 1261310"/>
                    <a:gd name="connsiteX4998" fmla="*/ 1494820 w 1559298"/>
                    <a:gd name="connsiteY4998" fmla="*/ 401470 h 1261310"/>
                    <a:gd name="connsiteX4999" fmla="*/ 1495051 w 1559298"/>
                    <a:gd name="connsiteY4999" fmla="*/ 400535 h 1261310"/>
                    <a:gd name="connsiteX5000" fmla="*/ 1495148 w 1559298"/>
                    <a:gd name="connsiteY5000" fmla="*/ 400170 h 1261310"/>
                    <a:gd name="connsiteX5001" fmla="*/ 1495184 w 1559298"/>
                    <a:gd name="connsiteY5001" fmla="*/ 399794 h 1261310"/>
                    <a:gd name="connsiteX5002" fmla="*/ 1495464 w 1559298"/>
                    <a:gd name="connsiteY5002" fmla="*/ 397438 h 1261310"/>
                    <a:gd name="connsiteX5003" fmla="*/ 1495561 w 1559298"/>
                    <a:gd name="connsiteY5003" fmla="*/ 396625 h 1261310"/>
                    <a:gd name="connsiteX5004" fmla="*/ 1495439 w 1559298"/>
                    <a:gd name="connsiteY5004" fmla="*/ 395823 h 1261310"/>
                    <a:gd name="connsiteX5005" fmla="*/ 1494699 w 1559298"/>
                    <a:gd name="connsiteY5005" fmla="*/ 390978 h 1261310"/>
                    <a:gd name="connsiteX5006" fmla="*/ 1494614 w 1559298"/>
                    <a:gd name="connsiteY5006" fmla="*/ 390408 h 1261310"/>
                    <a:gd name="connsiteX5007" fmla="*/ 1494419 w 1559298"/>
                    <a:gd name="connsiteY5007" fmla="*/ 389873 h 1261310"/>
                    <a:gd name="connsiteX5008" fmla="*/ 1490169 w 1559298"/>
                    <a:gd name="connsiteY5008" fmla="*/ 377815 h 1261310"/>
                    <a:gd name="connsiteX5009" fmla="*/ 1489283 w 1559298"/>
                    <a:gd name="connsiteY5009" fmla="*/ 375290 h 1261310"/>
                    <a:gd name="connsiteX5010" fmla="*/ 1486830 w 1559298"/>
                    <a:gd name="connsiteY5010" fmla="*/ 374245 h 1261310"/>
                    <a:gd name="connsiteX5011" fmla="*/ 1485215 w 1559298"/>
                    <a:gd name="connsiteY5011" fmla="*/ 373553 h 1261310"/>
                    <a:gd name="connsiteX5012" fmla="*/ 1484924 w 1559298"/>
                    <a:gd name="connsiteY5012" fmla="*/ 373432 h 1261310"/>
                    <a:gd name="connsiteX5013" fmla="*/ 1484620 w 1559298"/>
                    <a:gd name="connsiteY5013" fmla="*/ 373335 h 1261310"/>
                    <a:gd name="connsiteX5014" fmla="*/ 1483309 w 1559298"/>
                    <a:gd name="connsiteY5014" fmla="*/ 372934 h 1261310"/>
                    <a:gd name="connsiteX5015" fmla="*/ 1482993 w 1559298"/>
                    <a:gd name="connsiteY5015" fmla="*/ 372825 h 1261310"/>
                    <a:gd name="connsiteX5016" fmla="*/ 1482665 w 1559298"/>
                    <a:gd name="connsiteY5016" fmla="*/ 372764 h 1261310"/>
                    <a:gd name="connsiteX5017" fmla="*/ 1481171 w 1559298"/>
                    <a:gd name="connsiteY5017" fmla="*/ 372484 h 1261310"/>
                    <a:gd name="connsiteX5018" fmla="*/ 1480771 w 1559298"/>
                    <a:gd name="connsiteY5018" fmla="*/ 372412 h 1261310"/>
                    <a:gd name="connsiteX5019" fmla="*/ 1480370 w 1559298"/>
                    <a:gd name="connsiteY5019" fmla="*/ 372387 h 1261310"/>
                    <a:gd name="connsiteX5020" fmla="*/ 1469587 w 1559298"/>
                    <a:gd name="connsiteY5020" fmla="*/ 371792 h 1261310"/>
                    <a:gd name="connsiteX5021" fmla="*/ 1470304 w 1559298"/>
                    <a:gd name="connsiteY5021" fmla="*/ 369376 h 1261310"/>
                    <a:gd name="connsiteX5022" fmla="*/ 1470534 w 1559298"/>
                    <a:gd name="connsiteY5022" fmla="*/ 368587 h 1261310"/>
                    <a:gd name="connsiteX5023" fmla="*/ 1470546 w 1559298"/>
                    <a:gd name="connsiteY5023" fmla="*/ 367773 h 1261310"/>
                    <a:gd name="connsiteX5024" fmla="*/ 1470595 w 1559298"/>
                    <a:gd name="connsiteY5024" fmla="*/ 364992 h 1261310"/>
                    <a:gd name="connsiteX5025" fmla="*/ 1470449 w 1559298"/>
                    <a:gd name="connsiteY5025" fmla="*/ 362770 h 1261310"/>
                    <a:gd name="connsiteX5026" fmla="*/ 1470486 w 1559298"/>
                    <a:gd name="connsiteY5026" fmla="*/ 362200 h 1261310"/>
                    <a:gd name="connsiteX5027" fmla="*/ 1470486 w 1559298"/>
                    <a:gd name="connsiteY5027" fmla="*/ 362187 h 1261310"/>
                    <a:gd name="connsiteX5028" fmla="*/ 1471324 w 1559298"/>
                    <a:gd name="connsiteY5028" fmla="*/ 361920 h 1261310"/>
                    <a:gd name="connsiteX5029" fmla="*/ 1481317 w 1559298"/>
                    <a:gd name="connsiteY5029" fmla="*/ 360900 h 1261310"/>
                    <a:gd name="connsiteX5030" fmla="*/ 1483916 w 1559298"/>
                    <a:gd name="connsiteY5030" fmla="*/ 360415 h 1261310"/>
                    <a:gd name="connsiteX5031" fmla="*/ 1484353 w 1559298"/>
                    <a:gd name="connsiteY5031" fmla="*/ 360329 h 1261310"/>
                    <a:gd name="connsiteX5032" fmla="*/ 1484778 w 1559298"/>
                    <a:gd name="connsiteY5032" fmla="*/ 360171 h 1261310"/>
                    <a:gd name="connsiteX5033" fmla="*/ 1487194 w 1559298"/>
                    <a:gd name="connsiteY5033" fmla="*/ 359309 h 1261310"/>
                    <a:gd name="connsiteX5034" fmla="*/ 1487886 w 1559298"/>
                    <a:gd name="connsiteY5034" fmla="*/ 359055 h 1261310"/>
                    <a:gd name="connsiteX5035" fmla="*/ 1488506 w 1559298"/>
                    <a:gd name="connsiteY5035" fmla="*/ 358654 h 1261310"/>
                    <a:gd name="connsiteX5036" fmla="*/ 1490971 w 1559298"/>
                    <a:gd name="connsiteY5036" fmla="*/ 357015 h 1261310"/>
                    <a:gd name="connsiteX5037" fmla="*/ 1491408 w 1559298"/>
                    <a:gd name="connsiteY5037" fmla="*/ 356723 h 1261310"/>
                    <a:gd name="connsiteX5038" fmla="*/ 1491796 w 1559298"/>
                    <a:gd name="connsiteY5038" fmla="*/ 356359 h 1261310"/>
                    <a:gd name="connsiteX5039" fmla="*/ 1496739 w 1559298"/>
                    <a:gd name="connsiteY5039" fmla="*/ 351659 h 1261310"/>
                    <a:gd name="connsiteX5040" fmla="*/ 1498111 w 1559298"/>
                    <a:gd name="connsiteY5040" fmla="*/ 350615 h 1261310"/>
                    <a:gd name="connsiteX5041" fmla="*/ 1499094 w 1559298"/>
                    <a:gd name="connsiteY5041" fmla="*/ 350081 h 1261310"/>
                    <a:gd name="connsiteX5042" fmla="*/ 1502519 w 1559298"/>
                    <a:gd name="connsiteY5042" fmla="*/ 348855 h 1261310"/>
                    <a:gd name="connsiteX5043" fmla="*/ 1502871 w 1559298"/>
                    <a:gd name="connsiteY5043" fmla="*/ 348721 h 1261310"/>
                    <a:gd name="connsiteX5044" fmla="*/ 1503211 w 1559298"/>
                    <a:gd name="connsiteY5044" fmla="*/ 348551 h 1261310"/>
                    <a:gd name="connsiteX5045" fmla="*/ 1504413 w 1559298"/>
                    <a:gd name="connsiteY5045" fmla="*/ 347944 h 1261310"/>
                    <a:gd name="connsiteX5046" fmla="*/ 1506077 w 1559298"/>
                    <a:gd name="connsiteY5046" fmla="*/ 347106 h 1261310"/>
                    <a:gd name="connsiteX5047" fmla="*/ 1506987 w 1559298"/>
                    <a:gd name="connsiteY5047" fmla="*/ 345479 h 1261310"/>
                    <a:gd name="connsiteX5048" fmla="*/ 1507789 w 1559298"/>
                    <a:gd name="connsiteY5048" fmla="*/ 344046 h 1261310"/>
                    <a:gd name="connsiteX5049" fmla="*/ 1508602 w 1559298"/>
                    <a:gd name="connsiteY5049" fmla="*/ 342601 h 1261310"/>
                    <a:gd name="connsiteX5050" fmla="*/ 1508566 w 1559298"/>
                    <a:gd name="connsiteY5050" fmla="*/ 340937 h 1261310"/>
                    <a:gd name="connsiteX5051" fmla="*/ 1508517 w 1559298"/>
                    <a:gd name="connsiteY5051" fmla="*/ 339104 h 1261310"/>
                    <a:gd name="connsiteX5052" fmla="*/ 1508493 w 1559298"/>
                    <a:gd name="connsiteY5052" fmla="*/ 338351 h 1261310"/>
                    <a:gd name="connsiteX5053" fmla="*/ 1508299 w 1559298"/>
                    <a:gd name="connsiteY5053" fmla="*/ 337622 h 1261310"/>
                    <a:gd name="connsiteX5054" fmla="*/ 1507279 w 1559298"/>
                    <a:gd name="connsiteY5054" fmla="*/ 333943 h 1261310"/>
                    <a:gd name="connsiteX5055" fmla="*/ 1507181 w 1559298"/>
                    <a:gd name="connsiteY5055" fmla="*/ 333578 h 1261310"/>
                    <a:gd name="connsiteX5056" fmla="*/ 1507036 w 1559298"/>
                    <a:gd name="connsiteY5056" fmla="*/ 333239 h 1261310"/>
                    <a:gd name="connsiteX5057" fmla="*/ 1506392 w 1559298"/>
                    <a:gd name="connsiteY5057" fmla="*/ 331708 h 1261310"/>
                    <a:gd name="connsiteX5058" fmla="*/ 1505943 w 1559298"/>
                    <a:gd name="connsiteY5058" fmla="*/ 329936 h 1261310"/>
                    <a:gd name="connsiteX5059" fmla="*/ 1505773 w 1559298"/>
                    <a:gd name="connsiteY5059" fmla="*/ 327677 h 1261310"/>
                    <a:gd name="connsiteX5060" fmla="*/ 1506259 w 1559298"/>
                    <a:gd name="connsiteY5060" fmla="*/ 316433 h 1261310"/>
                    <a:gd name="connsiteX5061" fmla="*/ 1506574 w 1559298"/>
                    <a:gd name="connsiteY5061" fmla="*/ 315304 h 1261310"/>
                    <a:gd name="connsiteX5062" fmla="*/ 1507424 w 1559298"/>
                    <a:gd name="connsiteY5062" fmla="*/ 313191 h 1261310"/>
                    <a:gd name="connsiteX5063" fmla="*/ 1508420 w 1559298"/>
                    <a:gd name="connsiteY5063" fmla="*/ 311576 h 1261310"/>
                    <a:gd name="connsiteX5064" fmla="*/ 1508772 w 1559298"/>
                    <a:gd name="connsiteY5064" fmla="*/ 311005 h 1261310"/>
                    <a:gd name="connsiteX5065" fmla="*/ 1508991 w 1559298"/>
                    <a:gd name="connsiteY5065" fmla="*/ 310361 h 1261310"/>
                    <a:gd name="connsiteX5066" fmla="*/ 1509792 w 1559298"/>
                    <a:gd name="connsiteY5066" fmla="*/ 308054 h 1261310"/>
                    <a:gd name="connsiteX5067" fmla="*/ 1510630 w 1559298"/>
                    <a:gd name="connsiteY5067" fmla="*/ 305638 h 1261310"/>
                    <a:gd name="connsiteX5068" fmla="*/ 1509477 w 1559298"/>
                    <a:gd name="connsiteY5068" fmla="*/ 303343 h 1261310"/>
                    <a:gd name="connsiteX5069" fmla="*/ 1508347 w 1559298"/>
                    <a:gd name="connsiteY5069" fmla="*/ 301096 h 1261310"/>
                    <a:gd name="connsiteX5070" fmla="*/ 1508032 w 1559298"/>
                    <a:gd name="connsiteY5070" fmla="*/ 300465 h 1261310"/>
                    <a:gd name="connsiteX5071" fmla="*/ 1507582 w 1559298"/>
                    <a:gd name="connsiteY5071" fmla="*/ 299930 h 1261310"/>
                    <a:gd name="connsiteX5072" fmla="*/ 1507534 w 1559298"/>
                    <a:gd name="connsiteY5072" fmla="*/ 299870 h 1261310"/>
                    <a:gd name="connsiteX5073" fmla="*/ 1507825 w 1559298"/>
                    <a:gd name="connsiteY5073" fmla="*/ 292341 h 1261310"/>
                    <a:gd name="connsiteX5074" fmla="*/ 1507947 w 1559298"/>
                    <a:gd name="connsiteY5074" fmla="*/ 291612 h 1261310"/>
                    <a:gd name="connsiteX5075" fmla="*/ 1507995 w 1559298"/>
                    <a:gd name="connsiteY5075" fmla="*/ 291285 h 1261310"/>
                    <a:gd name="connsiteX5076" fmla="*/ 1508007 w 1559298"/>
                    <a:gd name="connsiteY5076" fmla="*/ 290945 h 1261310"/>
                    <a:gd name="connsiteX5077" fmla="*/ 1508056 w 1559298"/>
                    <a:gd name="connsiteY5077" fmla="*/ 289973 h 1261310"/>
                    <a:gd name="connsiteX5078" fmla="*/ 1508104 w 1559298"/>
                    <a:gd name="connsiteY5078" fmla="*/ 288892 h 1261310"/>
                    <a:gd name="connsiteX5079" fmla="*/ 1507777 w 1559298"/>
                    <a:gd name="connsiteY5079" fmla="*/ 287860 h 1261310"/>
                    <a:gd name="connsiteX5080" fmla="*/ 1507485 w 1559298"/>
                    <a:gd name="connsiteY5080" fmla="*/ 286938 h 1261310"/>
                    <a:gd name="connsiteX5081" fmla="*/ 1506878 w 1559298"/>
                    <a:gd name="connsiteY5081" fmla="*/ 284995 h 1261310"/>
                    <a:gd name="connsiteX5082" fmla="*/ 1505227 w 1559298"/>
                    <a:gd name="connsiteY5082" fmla="*/ 283804 h 1261310"/>
                    <a:gd name="connsiteX5083" fmla="*/ 1503794 w 1559298"/>
                    <a:gd name="connsiteY5083" fmla="*/ 282785 h 1261310"/>
                    <a:gd name="connsiteX5084" fmla="*/ 1503454 w 1559298"/>
                    <a:gd name="connsiteY5084" fmla="*/ 282542 h 1261310"/>
                    <a:gd name="connsiteX5085" fmla="*/ 1503089 w 1559298"/>
                    <a:gd name="connsiteY5085" fmla="*/ 282347 h 1261310"/>
                    <a:gd name="connsiteX5086" fmla="*/ 1501827 w 1559298"/>
                    <a:gd name="connsiteY5086" fmla="*/ 281680 h 1261310"/>
                    <a:gd name="connsiteX5087" fmla="*/ 1500151 w 1559298"/>
                    <a:gd name="connsiteY5087" fmla="*/ 280927 h 1261310"/>
                    <a:gd name="connsiteX5088" fmla="*/ 1499762 w 1559298"/>
                    <a:gd name="connsiteY5088" fmla="*/ 280745 h 1261310"/>
                    <a:gd name="connsiteX5089" fmla="*/ 1499349 w 1559298"/>
                    <a:gd name="connsiteY5089" fmla="*/ 280635 h 1261310"/>
                    <a:gd name="connsiteX5090" fmla="*/ 1496532 w 1559298"/>
                    <a:gd name="connsiteY5090" fmla="*/ 279834 h 1261310"/>
                    <a:gd name="connsiteX5091" fmla="*/ 1495925 w 1559298"/>
                    <a:gd name="connsiteY5091" fmla="*/ 279652 h 1261310"/>
                    <a:gd name="connsiteX5092" fmla="*/ 1495294 w 1559298"/>
                    <a:gd name="connsiteY5092" fmla="*/ 279603 h 1261310"/>
                    <a:gd name="connsiteX5093" fmla="*/ 1494808 w 1559298"/>
                    <a:gd name="connsiteY5093" fmla="*/ 279567 h 1261310"/>
                    <a:gd name="connsiteX5094" fmla="*/ 1494869 w 1559298"/>
                    <a:gd name="connsiteY5094" fmla="*/ 279518 h 1261310"/>
                    <a:gd name="connsiteX5095" fmla="*/ 1496010 w 1559298"/>
                    <a:gd name="connsiteY5095" fmla="*/ 278632 h 1261310"/>
                    <a:gd name="connsiteX5096" fmla="*/ 1496629 w 1559298"/>
                    <a:gd name="connsiteY5096" fmla="*/ 277332 h 1261310"/>
                    <a:gd name="connsiteX5097" fmla="*/ 1497540 w 1559298"/>
                    <a:gd name="connsiteY5097" fmla="*/ 275414 h 1261310"/>
                    <a:gd name="connsiteX5098" fmla="*/ 1497941 w 1559298"/>
                    <a:gd name="connsiteY5098" fmla="*/ 274564 h 1261310"/>
                    <a:gd name="connsiteX5099" fmla="*/ 1498062 w 1559298"/>
                    <a:gd name="connsiteY5099" fmla="*/ 273629 h 1261310"/>
                    <a:gd name="connsiteX5100" fmla="*/ 1498463 w 1559298"/>
                    <a:gd name="connsiteY5100" fmla="*/ 270642 h 1261310"/>
                    <a:gd name="connsiteX5101" fmla="*/ 1498596 w 1559298"/>
                    <a:gd name="connsiteY5101" fmla="*/ 269682 h 1261310"/>
                    <a:gd name="connsiteX5102" fmla="*/ 1498414 w 1559298"/>
                    <a:gd name="connsiteY5102" fmla="*/ 268723 h 1261310"/>
                    <a:gd name="connsiteX5103" fmla="*/ 1495476 w 1559298"/>
                    <a:gd name="connsiteY5103" fmla="*/ 252962 h 1261310"/>
                    <a:gd name="connsiteX5104" fmla="*/ 1495415 w 1559298"/>
                    <a:gd name="connsiteY5104" fmla="*/ 234492 h 1261310"/>
                    <a:gd name="connsiteX5105" fmla="*/ 1495306 w 1559298"/>
                    <a:gd name="connsiteY5105" fmla="*/ 230242 h 1261310"/>
                    <a:gd name="connsiteX5106" fmla="*/ 1495294 w 1559298"/>
                    <a:gd name="connsiteY5106" fmla="*/ 229914 h 1261310"/>
                    <a:gd name="connsiteX5107" fmla="*/ 1495245 w 1559298"/>
                    <a:gd name="connsiteY5107" fmla="*/ 229586 h 1261310"/>
                    <a:gd name="connsiteX5108" fmla="*/ 1495002 w 1559298"/>
                    <a:gd name="connsiteY5108" fmla="*/ 227826 h 1261310"/>
                    <a:gd name="connsiteX5109" fmla="*/ 1494492 w 1559298"/>
                    <a:gd name="connsiteY5109" fmla="*/ 225215 h 1261310"/>
                    <a:gd name="connsiteX5110" fmla="*/ 1494310 w 1559298"/>
                    <a:gd name="connsiteY5110" fmla="*/ 224292 h 1261310"/>
                    <a:gd name="connsiteX5111" fmla="*/ 1493849 w 1559298"/>
                    <a:gd name="connsiteY5111" fmla="*/ 223479 h 1261310"/>
                    <a:gd name="connsiteX5112" fmla="*/ 1492986 w 1559298"/>
                    <a:gd name="connsiteY5112" fmla="*/ 221924 h 1261310"/>
                    <a:gd name="connsiteX5113" fmla="*/ 1492634 w 1559298"/>
                    <a:gd name="connsiteY5113" fmla="*/ 221293 h 1261310"/>
                    <a:gd name="connsiteX5114" fmla="*/ 1492149 w 1559298"/>
                    <a:gd name="connsiteY5114" fmla="*/ 220771 h 1261310"/>
                    <a:gd name="connsiteX5115" fmla="*/ 1490946 w 1559298"/>
                    <a:gd name="connsiteY5115" fmla="*/ 219447 h 1261310"/>
                    <a:gd name="connsiteX5116" fmla="*/ 1490181 w 1559298"/>
                    <a:gd name="connsiteY5116" fmla="*/ 218621 h 1261310"/>
                    <a:gd name="connsiteX5117" fmla="*/ 1489174 w 1559298"/>
                    <a:gd name="connsiteY5117" fmla="*/ 218123 h 1261310"/>
                    <a:gd name="connsiteX5118" fmla="*/ 1487789 w 1559298"/>
                    <a:gd name="connsiteY5118" fmla="*/ 217432 h 1261310"/>
                    <a:gd name="connsiteX5119" fmla="*/ 1486709 w 1559298"/>
                    <a:gd name="connsiteY5119" fmla="*/ 216885 h 1261310"/>
                    <a:gd name="connsiteX5120" fmla="*/ 1485506 w 1559298"/>
                    <a:gd name="connsiteY5120" fmla="*/ 216800 h 1261310"/>
                    <a:gd name="connsiteX5121" fmla="*/ 1484292 w 1559298"/>
                    <a:gd name="connsiteY5121" fmla="*/ 216715 h 1261310"/>
                    <a:gd name="connsiteX5122" fmla="*/ 1483393 w 1559298"/>
                    <a:gd name="connsiteY5122" fmla="*/ 216654 h 1261310"/>
                    <a:gd name="connsiteX5123" fmla="*/ 1482519 w 1559298"/>
                    <a:gd name="connsiteY5123" fmla="*/ 216860 h 1261310"/>
                    <a:gd name="connsiteX5124" fmla="*/ 1480916 w 1559298"/>
                    <a:gd name="connsiteY5124" fmla="*/ 217225 h 1261310"/>
                    <a:gd name="connsiteX5125" fmla="*/ 1480601 w 1559298"/>
                    <a:gd name="connsiteY5125" fmla="*/ 217298 h 1261310"/>
                    <a:gd name="connsiteX5126" fmla="*/ 1480297 w 1559298"/>
                    <a:gd name="connsiteY5126" fmla="*/ 217407 h 1261310"/>
                    <a:gd name="connsiteX5127" fmla="*/ 1477856 w 1559298"/>
                    <a:gd name="connsiteY5127" fmla="*/ 218245 h 1261310"/>
                    <a:gd name="connsiteX5128" fmla="*/ 1477735 w 1559298"/>
                    <a:gd name="connsiteY5128" fmla="*/ 218233 h 1261310"/>
                    <a:gd name="connsiteX5129" fmla="*/ 1477091 w 1559298"/>
                    <a:gd name="connsiteY5129" fmla="*/ 218123 h 1261310"/>
                    <a:gd name="connsiteX5130" fmla="*/ 1476581 w 1559298"/>
                    <a:gd name="connsiteY5130" fmla="*/ 217868 h 1261310"/>
                    <a:gd name="connsiteX5131" fmla="*/ 1476047 w 1559298"/>
                    <a:gd name="connsiteY5131" fmla="*/ 217468 h 1261310"/>
                    <a:gd name="connsiteX5132" fmla="*/ 1475294 w 1559298"/>
                    <a:gd name="connsiteY5132" fmla="*/ 216581 h 1261310"/>
                    <a:gd name="connsiteX5133" fmla="*/ 1474699 w 1559298"/>
                    <a:gd name="connsiteY5133" fmla="*/ 215695 h 1261310"/>
                    <a:gd name="connsiteX5134" fmla="*/ 1473424 w 1559298"/>
                    <a:gd name="connsiteY5134" fmla="*/ 212744 h 1261310"/>
                    <a:gd name="connsiteX5135" fmla="*/ 1472635 w 1559298"/>
                    <a:gd name="connsiteY5135" fmla="*/ 209842 h 1261310"/>
                    <a:gd name="connsiteX5136" fmla="*/ 1472574 w 1559298"/>
                    <a:gd name="connsiteY5136" fmla="*/ 208215 h 1261310"/>
                    <a:gd name="connsiteX5137" fmla="*/ 1472732 w 1559298"/>
                    <a:gd name="connsiteY5137" fmla="*/ 207037 h 1261310"/>
                    <a:gd name="connsiteX5138" fmla="*/ 1474675 w 1559298"/>
                    <a:gd name="connsiteY5138" fmla="*/ 200273 h 1261310"/>
                    <a:gd name="connsiteX5139" fmla="*/ 1474796 w 1559298"/>
                    <a:gd name="connsiteY5139" fmla="*/ 199860 h 1261310"/>
                    <a:gd name="connsiteX5140" fmla="*/ 1474857 w 1559298"/>
                    <a:gd name="connsiteY5140" fmla="*/ 199448 h 1261310"/>
                    <a:gd name="connsiteX5141" fmla="*/ 1476581 w 1559298"/>
                    <a:gd name="connsiteY5141" fmla="*/ 187183 h 1261310"/>
                    <a:gd name="connsiteX5142" fmla="*/ 1476873 w 1559298"/>
                    <a:gd name="connsiteY5142" fmla="*/ 186018 h 1261310"/>
                    <a:gd name="connsiteX5143" fmla="*/ 1477456 w 1559298"/>
                    <a:gd name="connsiteY5143" fmla="*/ 184779 h 1261310"/>
                    <a:gd name="connsiteX5144" fmla="*/ 1478111 w 1559298"/>
                    <a:gd name="connsiteY5144" fmla="*/ 183917 h 1261310"/>
                    <a:gd name="connsiteX5145" fmla="*/ 1479569 w 1559298"/>
                    <a:gd name="connsiteY5145" fmla="*/ 182581 h 1261310"/>
                    <a:gd name="connsiteX5146" fmla="*/ 1490825 w 1559298"/>
                    <a:gd name="connsiteY5146" fmla="*/ 175417 h 1261310"/>
                    <a:gd name="connsiteX5147" fmla="*/ 1504996 w 1559298"/>
                    <a:gd name="connsiteY5147" fmla="*/ 168507 h 1261310"/>
                    <a:gd name="connsiteX5148" fmla="*/ 1505639 w 1559298"/>
                    <a:gd name="connsiteY5148" fmla="*/ 168204 h 1261310"/>
                    <a:gd name="connsiteX5149" fmla="*/ 1506186 w 1559298"/>
                    <a:gd name="connsiteY5149" fmla="*/ 167755 h 1261310"/>
                    <a:gd name="connsiteX5150" fmla="*/ 1508359 w 1559298"/>
                    <a:gd name="connsiteY5150" fmla="*/ 165982 h 1261310"/>
                    <a:gd name="connsiteX5151" fmla="*/ 1514261 w 1559298"/>
                    <a:gd name="connsiteY5151" fmla="*/ 160129 h 1261310"/>
                    <a:gd name="connsiteX5152" fmla="*/ 1514953 w 1559298"/>
                    <a:gd name="connsiteY5152" fmla="*/ 159449 h 1261310"/>
                    <a:gd name="connsiteX5153" fmla="*/ 1515390 w 1559298"/>
                    <a:gd name="connsiteY5153" fmla="*/ 158587 h 1261310"/>
                    <a:gd name="connsiteX5154" fmla="*/ 1517624 w 1559298"/>
                    <a:gd name="connsiteY5154" fmla="*/ 154191 h 1261310"/>
                    <a:gd name="connsiteX5155" fmla="*/ 1518268 w 1559298"/>
                    <a:gd name="connsiteY5155" fmla="*/ 152928 h 1261310"/>
                    <a:gd name="connsiteX5156" fmla="*/ 1518280 w 1559298"/>
                    <a:gd name="connsiteY5156" fmla="*/ 151520 h 1261310"/>
                    <a:gd name="connsiteX5157" fmla="*/ 1518389 w 1559298"/>
                    <a:gd name="connsiteY5157" fmla="*/ 141878 h 1261310"/>
                    <a:gd name="connsiteX5158" fmla="*/ 1518475 w 1559298"/>
                    <a:gd name="connsiteY5158" fmla="*/ 133609 h 1261310"/>
                    <a:gd name="connsiteX5159" fmla="*/ 1510569 w 1559298"/>
                    <a:gd name="connsiteY5159" fmla="*/ 135989 h 1261310"/>
                    <a:gd name="connsiteX5160" fmla="*/ 1507534 w 1559298"/>
                    <a:gd name="connsiteY5160" fmla="*/ 136899 h 1261310"/>
                    <a:gd name="connsiteX5161" fmla="*/ 1506441 w 1559298"/>
                    <a:gd name="connsiteY5161" fmla="*/ 137227 h 1261310"/>
                    <a:gd name="connsiteX5162" fmla="*/ 1505542 w 1559298"/>
                    <a:gd name="connsiteY5162" fmla="*/ 137931 h 1261310"/>
                    <a:gd name="connsiteX5163" fmla="*/ 1502640 w 1559298"/>
                    <a:gd name="connsiteY5163" fmla="*/ 140214 h 1261310"/>
                    <a:gd name="connsiteX5164" fmla="*/ 1502470 w 1559298"/>
                    <a:gd name="connsiteY5164" fmla="*/ 140141 h 1261310"/>
                    <a:gd name="connsiteX5165" fmla="*/ 1482398 w 1559298"/>
                    <a:gd name="connsiteY5165" fmla="*/ 127938 h 1261310"/>
                    <a:gd name="connsiteX5166" fmla="*/ 1481912 w 1559298"/>
                    <a:gd name="connsiteY5166" fmla="*/ 127659 h 1261310"/>
                    <a:gd name="connsiteX5167" fmla="*/ 1481390 w 1559298"/>
                    <a:gd name="connsiteY5167" fmla="*/ 127452 h 1261310"/>
                    <a:gd name="connsiteX5168" fmla="*/ 1477953 w 1559298"/>
                    <a:gd name="connsiteY5168" fmla="*/ 126165 h 1261310"/>
                    <a:gd name="connsiteX5169" fmla="*/ 1477407 w 1559298"/>
                    <a:gd name="connsiteY5169" fmla="*/ 125959 h 1261310"/>
                    <a:gd name="connsiteX5170" fmla="*/ 1476836 w 1559298"/>
                    <a:gd name="connsiteY5170" fmla="*/ 125849 h 1261310"/>
                    <a:gd name="connsiteX5171" fmla="*/ 1474821 w 1559298"/>
                    <a:gd name="connsiteY5171" fmla="*/ 125509 h 1261310"/>
                    <a:gd name="connsiteX5172" fmla="*/ 1474274 w 1559298"/>
                    <a:gd name="connsiteY5172" fmla="*/ 125412 h 1261310"/>
                    <a:gd name="connsiteX5173" fmla="*/ 1473716 w 1559298"/>
                    <a:gd name="connsiteY5173" fmla="*/ 125424 h 1261310"/>
                    <a:gd name="connsiteX5174" fmla="*/ 1472052 w 1559298"/>
                    <a:gd name="connsiteY5174" fmla="*/ 125449 h 1261310"/>
                    <a:gd name="connsiteX5175" fmla="*/ 1471530 w 1559298"/>
                    <a:gd name="connsiteY5175" fmla="*/ 125461 h 1261310"/>
                    <a:gd name="connsiteX5176" fmla="*/ 1471008 w 1559298"/>
                    <a:gd name="connsiteY5176" fmla="*/ 125558 h 1261310"/>
                    <a:gd name="connsiteX5177" fmla="*/ 1469514 w 1559298"/>
                    <a:gd name="connsiteY5177" fmla="*/ 125837 h 1261310"/>
                    <a:gd name="connsiteX5178" fmla="*/ 1469162 w 1559298"/>
                    <a:gd name="connsiteY5178" fmla="*/ 125910 h 1261310"/>
                    <a:gd name="connsiteX5179" fmla="*/ 1469041 w 1559298"/>
                    <a:gd name="connsiteY5179" fmla="*/ 125946 h 1261310"/>
                    <a:gd name="connsiteX5180" fmla="*/ 1469296 w 1559298"/>
                    <a:gd name="connsiteY5180" fmla="*/ 125181 h 1261310"/>
                    <a:gd name="connsiteX5181" fmla="*/ 1469332 w 1559298"/>
                    <a:gd name="connsiteY5181" fmla="*/ 124368 h 1261310"/>
                    <a:gd name="connsiteX5182" fmla="*/ 1469381 w 1559298"/>
                    <a:gd name="connsiteY5182" fmla="*/ 123299 h 1261310"/>
                    <a:gd name="connsiteX5183" fmla="*/ 1469405 w 1559298"/>
                    <a:gd name="connsiteY5183" fmla="*/ 122559 h 1261310"/>
                    <a:gd name="connsiteX5184" fmla="*/ 1469259 w 1559298"/>
                    <a:gd name="connsiteY5184" fmla="*/ 121830 h 1261310"/>
                    <a:gd name="connsiteX5185" fmla="*/ 1468737 w 1559298"/>
                    <a:gd name="connsiteY5185" fmla="*/ 119195 h 1261310"/>
                    <a:gd name="connsiteX5186" fmla="*/ 1468664 w 1559298"/>
                    <a:gd name="connsiteY5186" fmla="*/ 118806 h 1261310"/>
                    <a:gd name="connsiteX5187" fmla="*/ 1468531 w 1559298"/>
                    <a:gd name="connsiteY5187" fmla="*/ 118430 h 1261310"/>
                    <a:gd name="connsiteX5188" fmla="*/ 1467960 w 1559298"/>
                    <a:gd name="connsiteY5188" fmla="*/ 116754 h 1261310"/>
                    <a:gd name="connsiteX5189" fmla="*/ 1467644 w 1559298"/>
                    <a:gd name="connsiteY5189" fmla="*/ 115819 h 1261310"/>
                    <a:gd name="connsiteX5190" fmla="*/ 1467049 w 1559298"/>
                    <a:gd name="connsiteY5190" fmla="*/ 115042 h 1261310"/>
                    <a:gd name="connsiteX5191" fmla="*/ 1465325 w 1559298"/>
                    <a:gd name="connsiteY5191" fmla="*/ 112771 h 1261310"/>
                    <a:gd name="connsiteX5192" fmla="*/ 1464948 w 1559298"/>
                    <a:gd name="connsiteY5192" fmla="*/ 112274 h 1261310"/>
                    <a:gd name="connsiteX5193" fmla="*/ 1464475 w 1559298"/>
                    <a:gd name="connsiteY5193" fmla="*/ 111873 h 1261310"/>
                    <a:gd name="connsiteX5194" fmla="*/ 1461718 w 1559298"/>
                    <a:gd name="connsiteY5194" fmla="*/ 109468 h 1261310"/>
                    <a:gd name="connsiteX5195" fmla="*/ 1461451 w 1559298"/>
                    <a:gd name="connsiteY5195" fmla="*/ 109238 h 1261310"/>
                    <a:gd name="connsiteX5196" fmla="*/ 1461160 w 1559298"/>
                    <a:gd name="connsiteY5196" fmla="*/ 109031 h 1261310"/>
                    <a:gd name="connsiteX5197" fmla="*/ 1452356 w 1559298"/>
                    <a:gd name="connsiteY5197" fmla="*/ 102984 h 1261310"/>
                    <a:gd name="connsiteX5198" fmla="*/ 1451069 w 1559298"/>
                    <a:gd name="connsiteY5198" fmla="*/ 101478 h 1261310"/>
                    <a:gd name="connsiteX5199" fmla="*/ 1450996 w 1559298"/>
                    <a:gd name="connsiteY5199" fmla="*/ 101260 h 1261310"/>
                    <a:gd name="connsiteX5200" fmla="*/ 1450838 w 1559298"/>
                    <a:gd name="connsiteY5200" fmla="*/ 99948 h 1261310"/>
                    <a:gd name="connsiteX5201" fmla="*/ 1450826 w 1559298"/>
                    <a:gd name="connsiteY5201" fmla="*/ 98880 h 1261310"/>
                    <a:gd name="connsiteX5202" fmla="*/ 1450790 w 1559298"/>
                    <a:gd name="connsiteY5202" fmla="*/ 97908 h 1261310"/>
                    <a:gd name="connsiteX5203" fmla="*/ 1450450 w 1559298"/>
                    <a:gd name="connsiteY5203" fmla="*/ 96998 h 1261310"/>
                    <a:gd name="connsiteX5204" fmla="*/ 1449928 w 1559298"/>
                    <a:gd name="connsiteY5204" fmla="*/ 95589 h 1261310"/>
                    <a:gd name="connsiteX5205" fmla="*/ 1449369 w 1559298"/>
                    <a:gd name="connsiteY5205" fmla="*/ 94059 h 1261310"/>
                    <a:gd name="connsiteX5206" fmla="*/ 1448106 w 1559298"/>
                    <a:gd name="connsiteY5206" fmla="*/ 93015 h 1261310"/>
                    <a:gd name="connsiteX5207" fmla="*/ 1447025 w 1559298"/>
                    <a:gd name="connsiteY5207" fmla="*/ 92129 h 1261310"/>
                    <a:gd name="connsiteX5208" fmla="*/ 1445690 w 1559298"/>
                    <a:gd name="connsiteY5208" fmla="*/ 91023 h 1261310"/>
                    <a:gd name="connsiteX5209" fmla="*/ 1443978 w 1559298"/>
                    <a:gd name="connsiteY5209" fmla="*/ 90793 h 1261310"/>
                    <a:gd name="connsiteX5210" fmla="*/ 1438465 w 1559298"/>
                    <a:gd name="connsiteY5210" fmla="*/ 90040 h 1261310"/>
                    <a:gd name="connsiteX5211" fmla="*/ 1434421 w 1559298"/>
                    <a:gd name="connsiteY5211" fmla="*/ 88218 h 1261310"/>
                    <a:gd name="connsiteX5212" fmla="*/ 1426795 w 1559298"/>
                    <a:gd name="connsiteY5212" fmla="*/ 83143 h 1261310"/>
                    <a:gd name="connsiteX5213" fmla="*/ 1424088 w 1559298"/>
                    <a:gd name="connsiteY5213" fmla="*/ 80677 h 1261310"/>
                    <a:gd name="connsiteX5214" fmla="*/ 1418672 w 1559298"/>
                    <a:gd name="connsiteY5214" fmla="*/ 75760 h 1261310"/>
                    <a:gd name="connsiteX5215" fmla="*/ 1414834 w 1559298"/>
                    <a:gd name="connsiteY5215" fmla="*/ 81989 h 1261310"/>
                    <a:gd name="connsiteX5216" fmla="*/ 1414519 w 1559298"/>
                    <a:gd name="connsiteY5216" fmla="*/ 82523 h 1261310"/>
                    <a:gd name="connsiteX5217" fmla="*/ 1414373 w 1559298"/>
                    <a:gd name="connsiteY5217" fmla="*/ 82645 h 1261310"/>
                    <a:gd name="connsiteX5218" fmla="*/ 1413402 w 1559298"/>
                    <a:gd name="connsiteY5218" fmla="*/ 83155 h 1261310"/>
                    <a:gd name="connsiteX5219" fmla="*/ 1403457 w 1559298"/>
                    <a:gd name="connsiteY5219" fmla="*/ 86324 h 1261310"/>
                    <a:gd name="connsiteX5220" fmla="*/ 1402643 w 1559298"/>
                    <a:gd name="connsiteY5220" fmla="*/ 86579 h 1261310"/>
                    <a:gd name="connsiteX5221" fmla="*/ 1401926 w 1559298"/>
                    <a:gd name="connsiteY5221" fmla="*/ 87053 h 1261310"/>
                    <a:gd name="connsiteX5222" fmla="*/ 1398259 w 1559298"/>
                    <a:gd name="connsiteY5222" fmla="*/ 89493 h 1261310"/>
                    <a:gd name="connsiteX5223" fmla="*/ 1396705 w 1559298"/>
                    <a:gd name="connsiteY5223" fmla="*/ 90525 h 1261310"/>
                    <a:gd name="connsiteX5224" fmla="*/ 1396001 w 1559298"/>
                    <a:gd name="connsiteY5224" fmla="*/ 92274 h 1261310"/>
                    <a:gd name="connsiteX5225" fmla="*/ 1395454 w 1559298"/>
                    <a:gd name="connsiteY5225" fmla="*/ 93610 h 1261310"/>
                    <a:gd name="connsiteX5226" fmla="*/ 1385959 w 1559298"/>
                    <a:gd name="connsiteY5226" fmla="*/ 96694 h 1261310"/>
                    <a:gd name="connsiteX5227" fmla="*/ 1385327 w 1559298"/>
                    <a:gd name="connsiteY5227" fmla="*/ 94946 h 1261310"/>
                    <a:gd name="connsiteX5228" fmla="*/ 1381126 w 1559298"/>
                    <a:gd name="connsiteY5228" fmla="*/ 94326 h 1261310"/>
                    <a:gd name="connsiteX5229" fmla="*/ 1378758 w 1559298"/>
                    <a:gd name="connsiteY5229" fmla="*/ 94217 h 1261310"/>
                    <a:gd name="connsiteX5230" fmla="*/ 1377641 w 1559298"/>
                    <a:gd name="connsiteY5230" fmla="*/ 94156 h 1261310"/>
                    <a:gd name="connsiteX5231" fmla="*/ 1376584 w 1559298"/>
                    <a:gd name="connsiteY5231" fmla="*/ 94508 h 1261310"/>
                    <a:gd name="connsiteX5232" fmla="*/ 1373354 w 1559298"/>
                    <a:gd name="connsiteY5232" fmla="*/ 95577 h 1261310"/>
                    <a:gd name="connsiteX5233" fmla="*/ 1371606 w 1559298"/>
                    <a:gd name="connsiteY5233" fmla="*/ 95844 h 1261310"/>
                    <a:gd name="connsiteX5234" fmla="*/ 1369481 w 1559298"/>
                    <a:gd name="connsiteY5234" fmla="*/ 96160 h 1261310"/>
                    <a:gd name="connsiteX5235" fmla="*/ 1368036 w 1559298"/>
                    <a:gd name="connsiteY5235" fmla="*/ 97751 h 1261310"/>
                    <a:gd name="connsiteX5236" fmla="*/ 1366396 w 1559298"/>
                    <a:gd name="connsiteY5236" fmla="*/ 99560 h 1261310"/>
                    <a:gd name="connsiteX5237" fmla="*/ 1364101 w 1559298"/>
                    <a:gd name="connsiteY5237" fmla="*/ 100276 h 1261310"/>
                    <a:gd name="connsiteX5238" fmla="*/ 1361770 w 1559298"/>
                    <a:gd name="connsiteY5238" fmla="*/ 100714 h 1261310"/>
                    <a:gd name="connsiteX5239" fmla="*/ 1359232 w 1559298"/>
                    <a:gd name="connsiteY5239" fmla="*/ 100908 h 1261310"/>
                    <a:gd name="connsiteX5240" fmla="*/ 1359183 w 1559298"/>
                    <a:gd name="connsiteY5240" fmla="*/ 100908 h 1261310"/>
                    <a:gd name="connsiteX5241" fmla="*/ 1358503 w 1559298"/>
                    <a:gd name="connsiteY5241" fmla="*/ 99159 h 1261310"/>
                    <a:gd name="connsiteX5242" fmla="*/ 1357083 w 1559298"/>
                    <a:gd name="connsiteY5242" fmla="*/ 96233 h 1261310"/>
                    <a:gd name="connsiteX5243" fmla="*/ 1356779 w 1559298"/>
                    <a:gd name="connsiteY5243" fmla="*/ 95601 h 1261310"/>
                    <a:gd name="connsiteX5244" fmla="*/ 1356342 w 1559298"/>
                    <a:gd name="connsiteY5244" fmla="*/ 95067 h 1261310"/>
                    <a:gd name="connsiteX5245" fmla="*/ 1354678 w 1559298"/>
                    <a:gd name="connsiteY5245" fmla="*/ 93027 h 1261310"/>
                    <a:gd name="connsiteX5246" fmla="*/ 1353962 w 1559298"/>
                    <a:gd name="connsiteY5246" fmla="*/ 92165 h 1261310"/>
                    <a:gd name="connsiteX5247" fmla="*/ 1352978 w 1559298"/>
                    <a:gd name="connsiteY5247" fmla="*/ 91606 h 1261310"/>
                    <a:gd name="connsiteX5248" fmla="*/ 1350222 w 1559298"/>
                    <a:gd name="connsiteY5248" fmla="*/ 90028 h 1261310"/>
                    <a:gd name="connsiteX5249" fmla="*/ 1349518 w 1559298"/>
                    <a:gd name="connsiteY5249" fmla="*/ 89615 h 1261310"/>
                    <a:gd name="connsiteX5250" fmla="*/ 1348728 w 1559298"/>
                    <a:gd name="connsiteY5250" fmla="*/ 89409 h 1261310"/>
                    <a:gd name="connsiteX5251" fmla="*/ 1345510 w 1559298"/>
                    <a:gd name="connsiteY5251" fmla="*/ 88583 h 1261310"/>
                    <a:gd name="connsiteX5252" fmla="*/ 1345049 w 1559298"/>
                    <a:gd name="connsiteY5252" fmla="*/ 88461 h 1261310"/>
                    <a:gd name="connsiteX5253" fmla="*/ 1344563 w 1559298"/>
                    <a:gd name="connsiteY5253" fmla="*/ 88413 h 1261310"/>
                    <a:gd name="connsiteX5254" fmla="*/ 1340325 w 1559298"/>
                    <a:gd name="connsiteY5254" fmla="*/ 88012 h 1261310"/>
                    <a:gd name="connsiteX5255" fmla="*/ 1339439 w 1559298"/>
                    <a:gd name="connsiteY5255" fmla="*/ 87927 h 1261310"/>
                    <a:gd name="connsiteX5256" fmla="*/ 1338577 w 1559298"/>
                    <a:gd name="connsiteY5256" fmla="*/ 88109 h 1261310"/>
                    <a:gd name="connsiteX5257" fmla="*/ 1329336 w 1559298"/>
                    <a:gd name="connsiteY5257" fmla="*/ 89918 h 1261310"/>
                    <a:gd name="connsiteX5258" fmla="*/ 1324200 w 1559298"/>
                    <a:gd name="connsiteY5258" fmla="*/ 89420 h 1261310"/>
                    <a:gd name="connsiteX5259" fmla="*/ 1323471 w 1559298"/>
                    <a:gd name="connsiteY5259" fmla="*/ 89348 h 1261310"/>
                    <a:gd name="connsiteX5260" fmla="*/ 1322742 w 1559298"/>
                    <a:gd name="connsiteY5260" fmla="*/ 89457 h 1261310"/>
                    <a:gd name="connsiteX5261" fmla="*/ 1320435 w 1559298"/>
                    <a:gd name="connsiteY5261" fmla="*/ 89785 h 1261310"/>
                    <a:gd name="connsiteX5262" fmla="*/ 1319743 w 1559298"/>
                    <a:gd name="connsiteY5262" fmla="*/ 89894 h 1261310"/>
                    <a:gd name="connsiteX5263" fmla="*/ 1319087 w 1559298"/>
                    <a:gd name="connsiteY5263" fmla="*/ 90149 h 1261310"/>
                    <a:gd name="connsiteX5264" fmla="*/ 1317205 w 1559298"/>
                    <a:gd name="connsiteY5264" fmla="*/ 90890 h 1261310"/>
                    <a:gd name="connsiteX5265" fmla="*/ 1316622 w 1559298"/>
                    <a:gd name="connsiteY5265" fmla="*/ 91121 h 1261310"/>
                    <a:gd name="connsiteX5266" fmla="*/ 1316100 w 1559298"/>
                    <a:gd name="connsiteY5266" fmla="*/ 91460 h 1261310"/>
                    <a:gd name="connsiteX5267" fmla="*/ 1312870 w 1559298"/>
                    <a:gd name="connsiteY5267" fmla="*/ 93573 h 1261310"/>
                    <a:gd name="connsiteX5268" fmla="*/ 1312579 w 1559298"/>
                    <a:gd name="connsiteY5268" fmla="*/ 93768 h 1261310"/>
                    <a:gd name="connsiteX5269" fmla="*/ 1312312 w 1559298"/>
                    <a:gd name="connsiteY5269" fmla="*/ 93998 h 1261310"/>
                    <a:gd name="connsiteX5270" fmla="*/ 1309021 w 1559298"/>
                    <a:gd name="connsiteY5270" fmla="*/ 96743 h 1261310"/>
                    <a:gd name="connsiteX5271" fmla="*/ 1307406 w 1559298"/>
                    <a:gd name="connsiteY5271" fmla="*/ 97738 h 1261310"/>
                    <a:gd name="connsiteX5272" fmla="*/ 1306386 w 1559298"/>
                    <a:gd name="connsiteY5272" fmla="*/ 98078 h 1261310"/>
                    <a:gd name="connsiteX5273" fmla="*/ 1306374 w 1559298"/>
                    <a:gd name="connsiteY5273" fmla="*/ 97945 h 1261310"/>
                    <a:gd name="connsiteX5274" fmla="*/ 1306337 w 1559298"/>
                    <a:gd name="connsiteY5274" fmla="*/ 97593 h 1261310"/>
                    <a:gd name="connsiteX5275" fmla="*/ 1306252 w 1559298"/>
                    <a:gd name="connsiteY5275" fmla="*/ 97253 h 1261310"/>
                    <a:gd name="connsiteX5276" fmla="*/ 1305852 w 1559298"/>
                    <a:gd name="connsiteY5276" fmla="*/ 95674 h 1261310"/>
                    <a:gd name="connsiteX5277" fmla="*/ 1305730 w 1559298"/>
                    <a:gd name="connsiteY5277" fmla="*/ 95213 h 1261310"/>
                    <a:gd name="connsiteX5278" fmla="*/ 1305548 w 1559298"/>
                    <a:gd name="connsiteY5278" fmla="*/ 94776 h 1261310"/>
                    <a:gd name="connsiteX5279" fmla="*/ 1304929 w 1559298"/>
                    <a:gd name="connsiteY5279" fmla="*/ 93318 h 1261310"/>
                    <a:gd name="connsiteX5280" fmla="*/ 1304759 w 1559298"/>
                    <a:gd name="connsiteY5280" fmla="*/ 92942 h 1261310"/>
                    <a:gd name="connsiteX5281" fmla="*/ 1304540 w 1559298"/>
                    <a:gd name="connsiteY5281" fmla="*/ 92590 h 1261310"/>
                    <a:gd name="connsiteX5282" fmla="*/ 1304212 w 1559298"/>
                    <a:gd name="connsiteY5282" fmla="*/ 92031 h 1261310"/>
                    <a:gd name="connsiteX5283" fmla="*/ 1304115 w 1559298"/>
                    <a:gd name="connsiteY5283" fmla="*/ 91752 h 1261310"/>
                    <a:gd name="connsiteX5284" fmla="*/ 1303399 w 1559298"/>
                    <a:gd name="connsiteY5284" fmla="*/ 88012 h 1261310"/>
                    <a:gd name="connsiteX5285" fmla="*/ 1302889 w 1559298"/>
                    <a:gd name="connsiteY5285" fmla="*/ 85377 h 1261310"/>
                    <a:gd name="connsiteX5286" fmla="*/ 1300606 w 1559298"/>
                    <a:gd name="connsiteY5286" fmla="*/ 83980 h 1261310"/>
                    <a:gd name="connsiteX5287" fmla="*/ 1295615 w 1559298"/>
                    <a:gd name="connsiteY5287" fmla="*/ 80908 h 1261310"/>
                    <a:gd name="connsiteX5288" fmla="*/ 1294097 w 1559298"/>
                    <a:gd name="connsiteY5288" fmla="*/ 77812 h 1261310"/>
                    <a:gd name="connsiteX5289" fmla="*/ 1293296 w 1559298"/>
                    <a:gd name="connsiteY5289" fmla="*/ 76172 h 1261310"/>
                    <a:gd name="connsiteX5290" fmla="*/ 1291729 w 1559298"/>
                    <a:gd name="connsiteY5290" fmla="*/ 75250 h 1261310"/>
                    <a:gd name="connsiteX5291" fmla="*/ 1288852 w 1559298"/>
                    <a:gd name="connsiteY5291" fmla="*/ 73550 h 1261310"/>
                    <a:gd name="connsiteX5292" fmla="*/ 1288354 w 1559298"/>
                    <a:gd name="connsiteY5292" fmla="*/ 73258 h 1261310"/>
                    <a:gd name="connsiteX5293" fmla="*/ 1287807 w 1559298"/>
                    <a:gd name="connsiteY5293" fmla="*/ 73064 h 1261310"/>
                    <a:gd name="connsiteX5294" fmla="*/ 1279489 w 1559298"/>
                    <a:gd name="connsiteY5294" fmla="*/ 70101 h 1261310"/>
                    <a:gd name="connsiteX5295" fmla="*/ 1279101 w 1559298"/>
                    <a:gd name="connsiteY5295" fmla="*/ 69955 h 1261310"/>
                    <a:gd name="connsiteX5296" fmla="*/ 1278700 w 1559298"/>
                    <a:gd name="connsiteY5296" fmla="*/ 69870 h 1261310"/>
                    <a:gd name="connsiteX5297" fmla="*/ 1276162 w 1559298"/>
                    <a:gd name="connsiteY5297" fmla="*/ 69336 h 1261310"/>
                    <a:gd name="connsiteX5298" fmla="*/ 1275677 w 1559298"/>
                    <a:gd name="connsiteY5298" fmla="*/ 69227 h 1261310"/>
                    <a:gd name="connsiteX5299" fmla="*/ 1275179 w 1559298"/>
                    <a:gd name="connsiteY5299" fmla="*/ 69215 h 1261310"/>
                    <a:gd name="connsiteX5300" fmla="*/ 1272544 w 1559298"/>
                    <a:gd name="connsiteY5300" fmla="*/ 69093 h 1261310"/>
                    <a:gd name="connsiteX5301" fmla="*/ 1272191 w 1559298"/>
                    <a:gd name="connsiteY5301" fmla="*/ 69069 h 1261310"/>
                    <a:gd name="connsiteX5302" fmla="*/ 1271839 w 1559298"/>
                    <a:gd name="connsiteY5302" fmla="*/ 69093 h 1261310"/>
                    <a:gd name="connsiteX5303" fmla="*/ 1269872 w 1559298"/>
                    <a:gd name="connsiteY5303" fmla="*/ 69239 h 1261310"/>
                    <a:gd name="connsiteX5304" fmla="*/ 1267371 w 1559298"/>
                    <a:gd name="connsiteY5304" fmla="*/ 68960 h 1261310"/>
                    <a:gd name="connsiteX5305" fmla="*/ 1266946 w 1559298"/>
                    <a:gd name="connsiteY5305" fmla="*/ 68911 h 1261310"/>
                    <a:gd name="connsiteX5306" fmla="*/ 1266521 w 1559298"/>
                    <a:gd name="connsiteY5306" fmla="*/ 68923 h 1261310"/>
                    <a:gd name="connsiteX5307" fmla="*/ 1260109 w 1559298"/>
                    <a:gd name="connsiteY5307" fmla="*/ 69105 h 1261310"/>
                    <a:gd name="connsiteX5308" fmla="*/ 1256685 w 1559298"/>
                    <a:gd name="connsiteY5308" fmla="*/ 68510 h 1261310"/>
                    <a:gd name="connsiteX5309" fmla="*/ 1254949 w 1559298"/>
                    <a:gd name="connsiteY5309" fmla="*/ 68012 h 1261310"/>
                    <a:gd name="connsiteX5310" fmla="*/ 1248549 w 1559298"/>
                    <a:gd name="connsiteY5310" fmla="*/ 65001 h 1261310"/>
                    <a:gd name="connsiteX5311" fmla="*/ 1247068 w 1559298"/>
                    <a:gd name="connsiteY5311" fmla="*/ 64297 h 1261310"/>
                    <a:gd name="connsiteX5312" fmla="*/ 1245441 w 1559298"/>
                    <a:gd name="connsiteY5312" fmla="*/ 64443 h 1261310"/>
                    <a:gd name="connsiteX5313" fmla="*/ 1241943 w 1559298"/>
                    <a:gd name="connsiteY5313" fmla="*/ 64734 h 1261310"/>
                    <a:gd name="connsiteX5314" fmla="*/ 1239053 w 1559298"/>
                    <a:gd name="connsiteY5314" fmla="*/ 64977 h 1261310"/>
                    <a:gd name="connsiteX5315" fmla="*/ 1237426 w 1559298"/>
                    <a:gd name="connsiteY5315" fmla="*/ 67381 h 1261310"/>
                    <a:gd name="connsiteX5316" fmla="*/ 1236965 w 1559298"/>
                    <a:gd name="connsiteY5316" fmla="*/ 68061 h 1261310"/>
                    <a:gd name="connsiteX5317" fmla="*/ 1236430 w 1559298"/>
                    <a:gd name="connsiteY5317" fmla="*/ 68862 h 1261310"/>
                    <a:gd name="connsiteX5318" fmla="*/ 1236163 w 1559298"/>
                    <a:gd name="connsiteY5318" fmla="*/ 69785 h 1261310"/>
                    <a:gd name="connsiteX5319" fmla="*/ 1235872 w 1559298"/>
                    <a:gd name="connsiteY5319" fmla="*/ 70818 h 1261310"/>
                    <a:gd name="connsiteX5320" fmla="*/ 1235629 w 1559298"/>
                    <a:gd name="connsiteY5320" fmla="*/ 71631 h 1261310"/>
                    <a:gd name="connsiteX5321" fmla="*/ 1235629 w 1559298"/>
                    <a:gd name="connsiteY5321" fmla="*/ 72481 h 1261310"/>
                    <a:gd name="connsiteX5322" fmla="*/ 1235629 w 1559298"/>
                    <a:gd name="connsiteY5322" fmla="*/ 73950 h 1261310"/>
                    <a:gd name="connsiteX5323" fmla="*/ 1235435 w 1559298"/>
                    <a:gd name="connsiteY5323" fmla="*/ 75298 h 1261310"/>
                    <a:gd name="connsiteX5324" fmla="*/ 1234888 w 1559298"/>
                    <a:gd name="connsiteY5324" fmla="*/ 76804 h 1261310"/>
                    <a:gd name="connsiteX5325" fmla="*/ 1234767 w 1559298"/>
                    <a:gd name="connsiteY5325" fmla="*/ 76901 h 1261310"/>
                    <a:gd name="connsiteX5326" fmla="*/ 1232120 w 1559298"/>
                    <a:gd name="connsiteY5326" fmla="*/ 77885 h 1261310"/>
                    <a:gd name="connsiteX5327" fmla="*/ 1227238 w 1559298"/>
                    <a:gd name="connsiteY5327" fmla="*/ 79063 h 1261310"/>
                    <a:gd name="connsiteX5328" fmla="*/ 1226850 w 1559298"/>
                    <a:gd name="connsiteY5328" fmla="*/ 79160 h 1261310"/>
                    <a:gd name="connsiteX5329" fmla="*/ 1226473 w 1559298"/>
                    <a:gd name="connsiteY5329" fmla="*/ 79306 h 1261310"/>
                    <a:gd name="connsiteX5330" fmla="*/ 1216953 w 1559298"/>
                    <a:gd name="connsiteY5330" fmla="*/ 82961 h 1261310"/>
                    <a:gd name="connsiteX5331" fmla="*/ 1211550 w 1559298"/>
                    <a:gd name="connsiteY5331" fmla="*/ 84430 h 1261310"/>
                    <a:gd name="connsiteX5332" fmla="*/ 1195970 w 1559298"/>
                    <a:gd name="connsiteY5332" fmla="*/ 86203 h 1261310"/>
                    <a:gd name="connsiteX5333" fmla="*/ 1195436 w 1559298"/>
                    <a:gd name="connsiteY5333" fmla="*/ 86275 h 1261310"/>
                    <a:gd name="connsiteX5334" fmla="*/ 1194914 w 1559298"/>
                    <a:gd name="connsiteY5334" fmla="*/ 86433 h 1261310"/>
                    <a:gd name="connsiteX5335" fmla="*/ 1186365 w 1559298"/>
                    <a:gd name="connsiteY5335" fmla="*/ 89020 h 1261310"/>
                    <a:gd name="connsiteX5336" fmla="*/ 1185977 w 1559298"/>
                    <a:gd name="connsiteY5336" fmla="*/ 89141 h 1261310"/>
                    <a:gd name="connsiteX5337" fmla="*/ 1185600 w 1559298"/>
                    <a:gd name="connsiteY5337" fmla="*/ 89311 h 1261310"/>
                    <a:gd name="connsiteX5338" fmla="*/ 1182151 w 1559298"/>
                    <a:gd name="connsiteY5338" fmla="*/ 90890 h 1261310"/>
                    <a:gd name="connsiteX5339" fmla="*/ 1181095 w 1559298"/>
                    <a:gd name="connsiteY5339" fmla="*/ 91376 h 1261310"/>
                    <a:gd name="connsiteX5340" fmla="*/ 1180294 w 1559298"/>
                    <a:gd name="connsiteY5340" fmla="*/ 92213 h 1261310"/>
                    <a:gd name="connsiteX5341" fmla="*/ 1178411 w 1559298"/>
                    <a:gd name="connsiteY5341" fmla="*/ 94193 h 1261310"/>
                    <a:gd name="connsiteX5342" fmla="*/ 1176384 w 1559298"/>
                    <a:gd name="connsiteY5342" fmla="*/ 96318 h 1261310"/>
                    <a:gd name="connsiteX5343" fmla="*/ 1176784 w 1559298"/>
                    <a:gd name="connsiteY5343" fmla="*/ 99220 h 1261310"/>
                    <a:gd name="connsiteX5344" fmla="*/ 1177015 w 1559298"/>
                    <a:gd name="connsiteY5344" fmla="*/ 100859 h 1261310"/>
                    <a:gd name="connsiteX5345" fmla="*/ 1177088 w 1559298"/>
                    <a:gd name="connsiteY5345" fmla="*/ 101418 h 1261310"/>
                    <a:gd name="connsiteX5346" fmla="*/ 1177270 w 1559298"/>
                    <a:gd name="connsiteY5346" fmla="*/ 101952 h 1261310"/>
                    <a:gd name="connsiteX5347" fmla="*/ 1177962 w 1559298"/>
                    <a:gd name="connsiteY5347" fmla="*/ 104041 h 1261310"/>
                    <a:gd name="connsiteX5348" fmla="*/ 1178266 w 1559298"/>
                    <a:gd name="connsiteY5348" fmla="*/ 104745 h 1261310"/>
                    <a:gd name="connsiteX5349" fmla="*/ 1178181 w 1559298"/>
                    <a:gd name="connsiteY5349" fmla="*/ 104781 h 1261310"/>
                    <a:gd name="connsiteX5350" fmla="*/ 1171660 w 1559298"/>
                    <a:gd name="connsiteY5350" fmla="*/ 105364 h 1261310"/>
                    <a:gd name="connsiteX5351" fmla="*/ 1166062 w 1559298"/>
                    <a:gd name="connsiteY5351" fmla="*/ 106396 h 1261310"/>
                    <a:gd name="connsiteX5352" fmla="*/ 1165710 w 1559298"/>
                    <a:gd name="connsiteY5352" fmla="*/ 106469 h 1261310"/>
                    <a:gd name="connsiteX5353" fmla="*/ 1165370 w 1559298"/>
                    <a:gd name="connsiteY5353" fmla="*/ 106578 h 1261310"/>
                    <a:gd name="connsiteX5354" fmla="*/ 1158655 w 1559298"/>
                    <a:gd name="connsiteY5354" fmla="*/ 108704 h 1261310"/>
                    <a:gd name="connsiteX5355" fmla="*/ 1147763 w 1559298"/>
                    <a:gd name="connsiteY5355" fmla="*/ 109699 h 1261310"/>
                    <a:gd name="connsiteX5356" fmla="*/ 1146986 w 1559298"/>
                    <a:gd name="connsiteY5356" fmla="*/ 109772 h 1261310"/>
                    <a:gd name="connsiteX5357" fmla="*/ 1146245 w 1559298"/>
                    <a:gd name="connsiteY5357" fmla="*/ 110039 h 1261310"/>
                    <a:gd name="connsiteX5358" fmla="*/ 1142893 w 1559298"/>
                    <a:gd name="connsiteY5358" fmla="*/ 111253 h 1261310"/>
                    <a:gd name="connsiteX5359" fmla="*/ 1140428 w 1559298"/>
                    <a:gd name="connsiteY5359" fmla="*/ 111460 h 1261310"/>
                    <a:gd name="connsiteX5360" fmla="*/ 1128407 w 1559298"/>
                    <a:gd name="connsiteY5360" fmla="*/ 110634 h 1261310"/>
                    <a:gd name="connsiteX5361" fmla="*/ 1117466 w 1559298"/>
                    <a:gd name="connsiteY5361" fmla="*/ 107708 h 1261310"/>
                    <a:gd name="connsiteX5362" fmla="*/ 1117381 w 1559298"/>
                    <a:gd name="connsiteY5362" fmla="*/ 107659 h 1261310"/>
                    <a:gd name="connsiteX5363" fmla="*/ 1114333 w 1559298"/>
                    <a:gd name="connsiteY5363" fmla="*/ 104976 h 1261310"/>
                    <a:gd name="connsiteX5364" fmla="*/ 1114005 w 1559298"/>
                    <a:gd name="connsiteY5364" fmla="*/ 104696 h 1261310"/>
                    <a:gd name="connsiteX5365" fmla="*/ 1113641 w 1559298"/>
                    <a:gd name="connsiteY5365" fmla="*/ 104453 h 1261310"/>
                    <a:gd name="connsiteX5366" fmla="*/ 1111978 w 1559298"/>
                    <a:gd name="connsiteY5366" fmla="*/ 103361 h 1261310"/>
                    <a:gd name="connsiteX5367" fmla="*/ 1111565 w 1559298"/>
                    <a:gd name="connsiteY5367" fmla="*/ 103093 h 1261310"/>
                    <a:gd name="connsiteX5368" fmla="*/ 1111103 w 1559298"/>
                    <a:gd name="connsiteY5368" fmla="*/ 102887 h 1261310"/>
                    <a:gd name="connsiteX5369" fmla="*/ 1108687 w 1559298"/>
                    <a:gd name="connsiteY5369" fmla="*/ 101818 h 1261310"/>
                    <a:gd name="connsiteX5370" fmla="*/ 1107849 w 1559298"/>
                    <a:gd name="connsiteY5370" fmla="*/ 101454 h 1261310"/>
                    <a:gd name="connsiteX5371" fmla="*/ 1106950 w 1559298"/>
                    <a:gd name="connsiteY5371" fmla="*/ 101345 h 1261310"/>
                    <a:gd name="connsiteX5372" fmla="*/ 1103854 w 1559298"/>
                    <a:gd name="connsiteY5372" fmla="*/ 100980 h 1261310"/>
                    <a:gd name="connsiteX5373" fmla="*/ 1103052 w 1559298"/>
                    <a:gd name="connsiteY5373" fmla="*/ 100883 h 1261310"/>
                    <a:gd name="connsiteX5374" fmla="*/ 1102263 w 1559298"/>
                    <a:gd name="connsiteY5374" fmla="*/ 100993 h 1261310"/>
                    <a:gd name="connsiteX5375" fmla="*/ 1100138 w 1559298"/>
                    <a:gd name="connsiteY5375" fmla="*/ 101296 h 1261310"/>
                    <a:gd name="connsiteX5376" fmla="*/ 1099021 w 1559298"/>
                    <a:gd name="connsiteY5376" fmla="*/ 101466 h 1261310"/>
                    <a:gd name="connsiteX5377" fmla="*/ 1098037 w 1559298"/>
                    <a:gd name="connsiteY5377" fmla="*/ 102025 h 1261310"/>
                    <a:gd name="connsiteX5378" fmla="*/ 1095985 w 1559298"/>
                    <a:gd name="connsiteY5378" fmla="*/ 103191 h 1261310"/>
                    <a:gd name="connsiteX5379" fmla="*/ 1095864 w 1559298"/>
                    <a:gd name="connsiteY5379" fmla="*/ 102061 h 1261310"/>
                    <a:gd name="connsiteX5380" fmla="*/ 1095803 w 1559298"/>
                    <a:gd name="connsiteY5380" fmla="*/ 101491 h 1261310"/>
                    <a:gd name="connsiteX5381" fmla="*/ 1095633 w 1559298"/>
                    <a:gd name="connsiteY5381" fmla="*/ 100932 h 1261310"/>
                    <a:gd name="connsiteX5382" fmla="*/ 1094880 w 1559298"/>
                    <a:gd name="connsiteY5382" fmla="*/ 98491 h 1261310"/>
                    <a:gd name="connsiteX5383" fmla="*/ 1094759 w 1559298"/>
                    <a:gd name="connsiteY5383" fmla="*/ 98127 h 1261310"/>
                    <a:gd name="connsiteX5384" fmla="*/ 1094601 w 1559298"/>
                    <a:gd name="connsiteY5384" fmla="*/ 97775 h 1261310"/>
                    <a:gd name="connsiteX5385" fmla="*/ 1093666 w 1559298"/>
                    <a:gd name="connsiteY5385" fmla="*/ 95723 h 1261310"/>
                    <a:gd name="connsiteX5386" fmla="*/ 1093532 w 1559298"/>
                    <a:gd name="connsiteY5386" fmla="*/ 91546 h 1261310"/>
                    <a:gd name="connsiteX5387" fmla="*/ 1093472 w 1559298"/>
                    <a:gd name="connsiteY5387" fmla="*/ 89627 h 1261310"/>
                    <a:gd name="connsiteX5388" fmla="*/ 1092318 w 1559298"/>
                    <a:gd name="connsiteY5388" fmla="*/ 88097 h 1261310"/>
                    <a:gd name="connsiteX5389" fmla="*/ 1090873 w 1559298"/>
                    <a:gd name="connsiteY5389" fmla="*/ 86178 h 1261310"/>
                    <a:gd name="connsiteX5390" fmla="*/ 1090096 w 1559298"/>
                    <a:gd name="connsiteY5390" fmla="*/ 85134 h 1261310"/>
                    <a:gd name="connsiteX5391" fmla="*/ 1088967 w 1559298"/>
                    <a:gd name="connsiteY5391" fmla="*/ 84503 h 1261310"/>
                    <a:gd name="connsiteX5392" fmla="*/ 1086744 w 1559298"/>
                    <a:gd name="connsiteY5392" fmla="*/ 83264 h 1261310"/>
                    <a:gd name="connsiteX5393" fmla="*/ 1085979 w 1559298"/>
                    <a:gd name="connsiteY5393" fmla="*/ 82851 h 1261310"/>
                    <a:gd name="connsiteX5394" fmla="*/ 1085130 w 1559298"/>
                    <a:gd name="connsiteY5394" fmla="*/ 82657 h 1261310"/>
                    <a:gd name="connsiteX5395" fmla="*/ 1083976 w 1559298"/>
                    <a:gd name="connsiteY5395" fmla="*/ 82402 h 1261310"/>
                    <a:gd name="connsiteX5396" fmla="*/ 1083563 w 1559298"/>
                    <a:gd name="connsiteY5396" fmla="*/ 82305 h 1261310"/>
                    <a:gd name="connsiteX5397" fmla="*/ 1083138 w 1559298"/>
                    <a:gd name="connsiteY5397" fmla="*/ 82268 h 1261310"/>
                    <a:gd name="connsiteX5398" fmla="*/ 1079058 w 1559298"/>
                    <a:gd name="connsiteY5398" fmla="*/ 81940 h 1261310"/>
                    <a:gd name="connsiteX5399" fmla="*/ 1078621 w 1559298"/>
                    <a:gd name="connsiteY5399" fmla="*/ 81904 h 1261310"/>
                    <a:gd name="connsiteX5400" fmla="*/ 1078184 w 1559298"/>
                    <a:gd name="connsiteY5400" fmla="*/ 81928 h 1261310"/>
                    <a:gd name="connsiteX5401" fmla="*/ 1076690 w 1559298"/>
                    <a:gd name="connsiteY5401" fmla="*/ 82026 h 1261310"/>
                    <a:gd name="connsiteX5402" fmla="*/ 1076241 w 1559298"/>
                    <a:gd name="connsiteY5402" fmla="*/ 82050 h 1261310"/>
                    <a:gd name="connsiteX5403" fmla="*/ 1075804 w 1559298"/>
                    <a:gd name="connsiteY5403" fmla="*/ 82147 h 1261310"/>
                    <a:gd name="connsiteX5404" fmla="*/ 1073909 w 1559298"/>
                    <a:gd name="connsiteY5404" fmla="*/ 82548 h 1261310"/>
                    <a:gd name="connsiteX5405" fmla="*/ 1073399 w 1559298"/>
                    <a:gd name="connsiteY5405" fmla="*/ 82669 h 1261310"/>
                    <a:gd name="connsiteX5406" fmla="*/ 1072902 w 1559298"/>
                    <a:gd name="connsiteY5406" fmla="*/ 82863 h 1261310"/>
                    <a:gd name="connsiteX5407" fmla="*/ 1071469 w 1559298"/>
                    <a:gd name="connsiteY5407" fmla="*/ 83446 h 1261310"/>
                    <a:gd name="connsiteX5408" fmla="*/ 1070679 w 1559298"/>
                    <a:gd name="connsiteY5408" fmla="*/ 83762 h 1261310"/>
                    <a:gd name="connsiteX5409" fmla="*/ 1070011 w 1559298"/>
                    <a:gd name="connsiteY5409" fmla="*/ 84284 h 1261310"/>
                    <a:gd name="connsiteX5410" fmla="*/ 1068688 w 1559298"/>
                    <a:gd name="connsiteY5410" fmla="*/ 85316 h 1261310"/>
                    <a:gd name="connsiteX5411" fmla="*/ 1068093 w 1559298"/>
                    <a:gd name="connsiteY5411" fmla="*/ 85778 h 1261310"/>
                    <a:gd name="connsiteX5412" fmla="*/ 1067631 w 1559298"/>
                    <a:gd name="connsiteY5412" fmla="*/ 86385 h 1261310"/>
                    <a:gd name="connsiteX5413" fmla="*/ 1064414 w 1559298"/>
                    <a:gd name="connsiteY5413" fmla="*/ 90513 h 1261310"/>
                    <a:gd name="connsiteX5414" fmla="*/ 1057808 w 1559298"/>
                    <a:gd name="connsiteY5414" fmla="*/ 92833 h 1261310"/>
                    <a:gd name="connsiteX5415" fmla="*/ 1047717 w 1559298"/>
                    <a:gd name="connsiteY5415" fmla="*/ 94982 h 1261310"/>
                    <a:gd name="connsiteX5416" fmla="*/ 1046806 w 1559298"/>
                    <a:gd name="connsiteY5416" fmla="*/ 95188 h 1261310"/>
                    <a:gd name="connsiteX5417" fmla="*/ 1045993 w 1559298"/>
                    <a:gd name="connsiteY5417" fmla="*/ 95638 h 1261310"/>
                    <a:gd name="connsiteX5418" fmla="*/ 1043066 w 1559298"/>
                    <a:gd name="connsiteY5418" fmla="*/ 97289 h 1261310"/>
                    <a:gd name="connsiteX5419" fmla="*/ 1042362 w 1559298"/>
                    <a:gd name="connsiteY5419" fmla="*/ 97690 h 1261310"/>
                    <a:gd name="connsiteX5420" fmla="*/ 1041791 w 1559298"/>
                    <a:gd name="connsiteY5420" fmla="*/ 98249 h 1261310"/>
                    <a:gd name="connsiteX5421" fmla="*/ 1039205 w 1559298"/>
                    <a:gd name="connsiteY5421" fmla="*/ 100798 h 1261310"/>
                    <a:gd name="connsiteX5422" fmla="*/ 1038840 w 1559298"/>
                    <a:gd name="connsiteY5422" fmla="*/ 101163 h 1261310"/>
                    <a:gd name="connsiteX5423" fmla="*/ 1038549 w 1559298"/>
                    <a:gd name="connsiteY5423" fmla="*/ 101576 h 1261310"/>
                    <a:gd name="connsiteX5424" fmla="*/ 1036521 w 1559298"/>
                    <a:gd name="connsiteY5424" fmla="*/ 104393 h 1261310"/>
                    <a:gd name="connsiteX5425" fmla="*/ 1032866 w 1559298"/>
                    <a:gd name="connsiteY5425" fmla="*/ 108388 h 1261310"/>
                    <a:gd name="connsiteX5426" fmla="*/ 1030037 w 1559298"/>
                    <a:gd name="connsiteY5426" fmla="*/ 110586 h 1261310"/>
                    <a:gd name="connsiteX5427" fmla="*/ 1022921 w 1559298"/>
                    <a:gd name="connsiteY5427" fmla="*/ 114751 h 1261310"/>
                    <a:gd name="connsiteX5428" fmla="*/ 1013219 w 1559298"/>
                    <a:gd name="connsiteY5428" fmla="*/ 119183 h 1261310"/>
                    <a:gd name="connsiteX5429" fmla="*/ 991629 w 1559298"/>
                    <a:gd name="connsiteY5429" fmla="*/ 126213 h 1261310"/>
                    <a:gd name="connsiteX5430" fmla="*/ 989055 w 1559298"/>
                    <a:gd name="connsiteY5430" fmla="*/ 126651 h 1261310"/>
                    <a:gd name="connsiteX5431" fmla="*/ 986844 w 1559298"/>
                    <a:gd name="connsiteY5431" fmla="*/ 126578 h 1261310"/>
                    <a:gd name="connsiteX5432" fmla="*/ 984428 w 1559298"/>
                    <a:gd name="connsiteY5432" fmla="*/ 125825 h 1261310"/>
                    <a:gd name="connsiteX5433" fmla="*/ 975831 w 1559298"/>
                    <a:gd name="connsiteY5433" fmla="*/ 122146 h 1261310"/>
                    <a:gd name="connsiteX5434" fmla="*/ 975127 w 1559298"/>
                    <a:gd name="connsiteY5434" fmla="*/ 121854 h 1261310"/>
                    <a:gd name="connsiteX5435" fmla="*/ 974374 w 1559298"/>
                    <a:gd name="connsiteY5435" fmla="*/ 121733 h 1261310"/>
                    <a:gd name="connsiteX5436" fmla="*/ 972297 w 1559298"/>
                    <a:gd name="connsiteY5436" fmla="*/ 121417 h 1261310"/>
                    <a:gd name="connsiteX5437" fmla="*/ 971156 w 1559298"/>
                    <a:gd name="connsiteY5437" fmla="*/ 121235 h 1261310"/>
                    <a:gd name="connsiteX5438" fmla="*/ 970039 w 1559298"/>
                    <a:gd name="connsiteY5438" fmla="*/ 121490 h 1261310"/>
                    <a:gd name="connsiteX5439" fmla="*/ 968776 w 1559298"/>
                    <a:gd name="connsiteY5439" fmla="*/ 121769 h 1261310"/>
                    <a:gd name="connsiteX5440" fmla="*/ 967671 w 1559298"/>
                    <a:gd name="connsiteY5440" fmla="*/ 122012 h 1261310"/>
                    <a:gd name="connsiteX5441" fmla="*/ 966724 w 1559298"/>
                    <a:gd name="connsiteY5441" fmla="*/ 122656 h 1261310"/>
                    <a:gd name="connsiteX5442" fmla="*/ 962522 w 1559298"/>
                    <a:gd name="connsiteY5442" fmla="*/ 125461 h 1261310"/>
                    <a:gd name="connsiteX5443" fmla="*/ 959705 w 1559298"/>
                    <a:gd name="connsiteY5443" fmla="*/ 126541 h 1261310"/>
                    <a:gd name="connsiteX5444" fmla="*/ 959098 w 1559298"/>
                    <a:gd name="connsiteY5444" fmla="*/ 126784 h 1261310"/>
                    <a:gd name="connsiteX5445" fmla="*/ 958551 w 1559298"/>
                    <a:gd name="connsiteY5445" fmla="*/ 127148 h 1261310"/>
                    <a:gd name="connsiteX5446" fmla="*/ 954921 w 1559298"/>
                    <a:gd name="connsiteY5446" fmla="*/ 129541 h 1261310"/>
                    <a:gd name="connsiteX5447" fmla="*/ 954921 w 1559298"/>
                    <a:gd name="connsiteY5447" fmla="*/ 129529 h 1261310"/>
                    <a:gd name="connsiteX5448" fmla="*/ 954168 w 1559298"/>
                    <a:gd name="connsiteY5448" fmla="*/ 128776 h 1261310"/>
                    <a:gd name="connsiteX5449" fmla="*/ 953196 w 1559298"/>
                    <a:gd name="connsiteY5449" fmla="*/ 128326 h 1261310"/>
                    <a:gd name="connsiteX5450" fmla="*/ 951764 w 1559298"/>
                    <a:gd name="connsiteY5450" fmla="*/ 127659 h 1261310"/>
                    <a:gd name="connsiteX5451" fmla="*/ 950671 w 1559298"/>
                    <a:gd name="connsiteY5451" fmla="*/ 127161 h 1261310"/>
                    <a:gd name="connsiteX5452" fmla="*/ 949468 w 1559298"/>
                    <a:gd name="connsiteY5452" fmla="*/ 127100 h 1261310"/>
                    <a:gd name="connsiteX5453" fmla="*/ 945170 w 1559298"/>
                    <a:gd name="connsiteY5453" fmla="*/ 126918 h 1261310"/>
                    <a:gd name="connsiteX5454" fmla="*/ 943324 w 1559298"/>
                    <a:gd name="connsiteY5454" fmla="*/ 126529 h 1261310"/>
                    <a:gd name="connsiteX5455" fmla="*/ 942911 w 1559298"/>
                    <a:gd name="connsiteY5455" fmla="*/ 126432 h 1261310"/>
                    <a:gd name="connsiteX5456" fmla="*/ 942486 w 1559298"/>
                    <a:gd name="connsiteY5456" fmla="*/ 126396 h 1261310"/>
                    <a:gd name="connsiteX5457" fmla="*/ 940422 w 1559298"/>
                    <a:gd name="connsiteY5457" fmla="*/ 126238 h 1261310"/>
                    <a:gd name="connsiteX5458" fmla="*/ 939341 w 1559298"/>
                    <a:gd name="connsiteY5458" fmla="*/ 126165 h 1261310"/>
                    <a:gd name="connsiteX5459" fmla="*/ 938297 w 1559298"/>
                    <a:gd name="connsiteY5459" fmla="*/ 126457 h 1261310"/>
                    <a:gd name="connsiteX5460" fmla="*/ 936403 w 1559298"/>
                    <a:gd name="connsiteY5460" fmla="*/ 127003 h 1261310"/>
                    <a:gd name="connsiteX5461" fmla="*/ 935771 w 1559298"/>
                    <a:gd name="connsiteY5461" fmla="*/ 127185 h 1261310"/>
                    <a:gd name="connsiteX5462" fmla="*/ 935201 w 1559298"/>
                    <a:gd name="connsiteY5462" fmla="*/ 127489 h 1261310"/>
                    <a:gd name="connsiteX5463" fmla="*/ 932723 w 1559298"/>
                    <a:gd name="connsiteY5463" fmla="*/ 128824 h 1261310"/>
                    <a:gd name="connsiteX5464" fmla="*/ 931971 w 1559298"/>
                    <a:gd name="connsiteY5464" fmla="*/ 129067 h 1261310"/>
                    <a:gd name="connsiteX5465" fmla="*/ 931205 w 1559298"/>
                    <a:gd name="connsiteY5465" fmla="*/ 129128 h 1261310"/>
                    <a:gd name="connsiteX5466" fmla="*/ 931157 w 1559298"/>
                    <a:gd name="connsiteY5466" fmla="*/ 129116 h 1261310"/>
                    <a:gd name="connsiteX5467" fmla="*/ 930793 w 1559298"/>
                    <a:gd name="connsiteY5467" fmla="*/ 128752 h 1261310"/>
                    <a:gd name="connsiteX5468" fmla="*/ 929773 w 1559298"/>
                    <a:gd name="connsiteY5468" fmla="*/ 127404 h 1261310"/>
                    <a:gd name="connsiteX5469" fmla="*/ 929457 w 1559298"/>
                    <a:gd name="connsiteY5469" fmla="*/ 126991 h 1261310"/>
                    <a:gd name="connsiteX5470" fmla="*/ 929068 w 1559298"/>
                    <a:gd name="connsiteY5470" fmla="*/ 126626 h 1261310"/>
                    <a:gd name="connsiteX5471" fmla="*/ 927684 w 1559298"/>
                    <a:gd name="connsiteY5471" fmla="*/ 125339 h 1261310"/>
                    <a:gd name="connsiteX5472" fmla="*/ 927004 w 1559298"/>
                    <a:gd name="connsiteY5472" fmla="*/ 124708 h 1261310"/>
                    <a:gd name="connsiteX5473" fmla="*/ 926166 w 1559298"/>
                    <a:gd name="connsiteY5473" fmla="*/ 124307 h 1261310"/>
                    <a:gd name="connsiteX5474" fmla="*/ 924673 w 1559298"/>
                    <a:gd name="connsiteY5474" fmla="*/ 123591 h 1261310"/>
                    <a:gd name="connsiteX5475" fmla="*/ 923835 w 1559298"/>
                    <a:gd name="connsiteY5475" fmla="*/ 123190 h 1261310"/>
                    <a:gd name="connsiteX5476" fmla="*/ 922912 w 1559298"/>
                    <a:gd name="connsiteY5476" fmla="*/ 123057 h 1261310"/>
                    <a:gd name="connsiteX5477" fmla="*/ 920678 w 1559298"/>
                    <a:gd name="connsiteY5477" fmla="*/ 122741 h 1261310"/>
                    <a:gd name="connsiteX5478" fmla="*/ 919536 w 1559298"/>
                    <a:gd name="connsiteY5478" fmla="*/ 122571 h 1261310"/>
                    <a:gd name="connsiteX5479" fmla="*/ 918419 w 1559298"/>
                    <a:gd name="connsiteY5479" fmla="*/ 122838 h 1261310"/>
                    <a:gd name="connsiteX5480" fmla="*/ 917326 w 1559298"/>
                    <a:gd name="connsiteY5480" fmla="*/ 123093 h 1261310"/>
                    <a:gd name="connsiteX5481" fmla="*/ 917132 w 1559298"/>
                    <a:gd name="connsiteY5481" fmla="*/ 123141 h 1261310"/>
                    <a:gd name="connsiteX5482" fmla="*/ 912833 w 1559298"/>
                    <a:gd name="connsiteY5482" fmla="*/ 116985 h 1261310"/>
                    <a:gd name="connsiteX5483" fmla="*/ 909336 w 1559298"/>
                    <a:gd name="connsiteY5483" fmla="*/ 110598 h 1261310"/>
                    <a:gd name="connsiteX5484" fmla="*/ 909239 w 1559298"/>
                    <a:gd name="connsiteY5484" fmla="*/ 109833 h 1261310"/>
                    <a:gd name="connsiteX5485" fmla="*/ 909227 w 1559298"/>
                    <a:gd name="connsiteY5485" fmla="*/ 109201 h 1261310"/>
                    <a:gd name="connsiteX5486" fmla="*/ 926154 w 1559298"/>
                    <a:gd name="connsiteY5486" fmla="*/ 110294 h 1261310"/>
                    <a:gd name="connsiteX5487" fmla="*/ 926871 w 1559298"/>
                    <a:gd name="connsiteY5487" fmla="*/ 110343 h 1261310"/>
                    <a:gd name="connsiteX5488" fmla="*/ 927575 w 1559298"/>
                    <a:gd name="connsiteY5488" fmla="*/ 110221 h 1261310"/>
                    <a:gd name="connsiteX5489" fmla="*/ 929639 w 1559298"/>
                    <a:gd name="connsiteY5489" fmla="*/ 109869 h 1261310"/>
                    <a:gd name="connsiteX5490" fmla="*/ 930513 w 1559298"/>
                    <a:gd name="connsiteY5490" fmla="*/ 109711 h 1261310"/>
                    <a:gd name="connsiteX5491" fmla="*/ 931303 w 1559298"/>
                    <a:gd name="connsiteY5491" fmla="*/ 109323 h 1261310"/>
                    <a:gd name="connsiteX5492" fmla="*/ 932905 w 1559298"/>
                    <a:gd name="connsiteY5492" fmla="*/ 108533 h 1261310"/>
                    <a:gd name="connsiteX5493" fmla="*/ 935407 w 1559298"/>
                    <a:gd name="connsiteY5493" fmla="*/ 107295 h 1261310"/>
                    <a:gd name="connsiteX5494" fmla="*/ 936099 w 1559298"/>
                    <a:gd name="connsiteY5494" fmla="*/ 104599 h 1261310"/>
                    <a:gd name="connsiteX5495" fmla="*/ 936512 w 1559298"/>
                    <a:gd name="connsiteY5495" fmla="*/ 103009 h 1261310"/>
                    <a:gd name="connsiteX5496" fmla="*/ 937046 w 1559298"/>
                    <a:gd name="connsiteY5496" fmla="*/ 100908 h 1261310"/>
                    <a:gd name="connsiteX5497" fmla="*/ 936148 w 1559298"/>
                    <a:gd name="connsiteY5497" fmla="*/ 98953 h 1261310"/>
                    <a:gd name="connsiteX5498" fmla="*/ 935456 w 1559298"/>
                    <a:gd name="connsiteY5498" fmla="*/ 97459 h 1261310"/>
                    <a:gd name="connsiteX5499" fmla="*/ 935176 w 1559298"/>
                    <a:gd name="connsiteY5499" fmla="*/ 96852 h 1261310"/>
                    <a:gd name="connsiteX5500" fmla="*/ 934776 w 1559298"/>
                    <a:gd name="connsiteY5500" fmla="*/ 96318 h 1261310"/>
                    <a:gd name="connsiteX5501" fmla="*/ 933877 w 1559298"/>
                    <a:gd name="connsiteY5501" fmla="*/ 95128 h 1261310"/>
                    <a:gd name="connsiteX5502" fmla="*/ 933695 w 1559298"/>
                    <a:gd name="connsiteY5502" fmla="*/ 94727 h 1261310"/>
                    <a:gd name="connsiteX5503" fmla="*/ 933634 w 1559298"/>
                    <a:gd name="connsiteY5503" fmla="*/ 93646 h 1261310"/>
                    <a:gd name="connsiteX5504" fmla="*/ 933865 w 1559298"/>
                    <a:gd name="connsiteY5504" fmla="*/ 91291 h 1261310"/>
                    <a:gd name="connsiteX5505" fmla="*/ 933889 w 1559298"/>
                    <a:gd name="connsiteY5505" fmla="*/ 87805 h 1261310"/>
                    <a:gd name="connsiteX5506" fmla="*/ 933889 w 1559298"/>
                    <a:gd name="connsiteY5506" fmla="*/ 87393 h 1261310"/>
                    <a:gd name="connsiteX5507" fmla="*/ 933841 w 1559298"/>
                    <a:gd name="connsiteY5507" fmla="*/ 86992 h 1261310"/>
                    <a:gd name="connsiteX5508" fmla="*/ 931946 w 1559298"/>
                    <a:gd name="connsiteY5508" fmla="*/ 73113 h 1261310"/>
                    <a:gd name="connsiteX5509" fmla="*/ 931873 w 1559298"/>
                    <a:gd name="connsiteY5509" fmla="*/ 72554 h 1261310"/>
                    <a:gd name="connsiteX5510" fmla="*/ 931691 w 1559298"/>
                    <a:gd name="connsiteY5510" fmla="*/ 72020 h 1261310"/>
                    <a:gd name="connsiteX5511" fmla="*/ 930999 w 1559298"/>
                    <a:gd name="connsiteY5511" fmla="*/ 69919 h 1261310"/>
                    <a:gd name="connsiteX5512" fmla="*/ 930683 w 1559298"/>
                    <a:gd name="connsiteY5512" fmla="*/ 68972 h 1261310"/>
                    <a:gd name="connsiteX5513" fmla="*/ 930088 w 1559298"/>
                    <a:gd name="connsiteY5513" fmla="*/ 68182 h 1261310"/>
                    <a:gd name="connsiteX5514" fmla="*/ 928838 w 1559298"/>
                    <a:gd name="connsiteY5514" fmla="*/ 66519 h 1261310"/>
                    <a:gd name="connsiteX5515" fmla="*/ 928170 w 1559298"/>
                    <a:gd name="connsiteY5515" fmla="*/ 65645 h 1261310"/>
                    <a:gd name="connsiteX5516" fmla="*/ 927247 w 1559298"/>
                    <a:gd name="connsiteY5516" fmla="*/ 65050 h 1261310"/>
                    <a:gd name="connsiteX5517" fmla="*/ 925401 w 1559298"/>
                    <a:gd name="connsiteY5517" fmla="*/ 63872 h 1261310"/>
                    <a:gd name="connsiteX5518" fmla="*/ 924843 w 1559298"/>
                    <a:gd name="connsiteY5518" fmla="*/ 63520 h 1261310"/>
                    <a:gd name="connsiteX5519" fmla="*/ 924223 w 1559298"/>
                    <a:gd name="connsiteY5519" fmla="*/ 63289 h 1261310"/>
                    <a:gd name="connsiteX5520" fmla="*/ 921540 w 1559298"/>
                    <a:gd name="connsiteY5520" fmla="*/ 62317 h 1261310"/>
                    <a:gd name="connsiteX5521" fmla="*/ 921418 w 1559298"/>
                    <a:gd name="connsiteY5521" fmla="*/ 61795 h 1261310"/>
                    <a:gd name="connsiteX5522" fmla="*/ 921042 w 1559298"/>
                    <a:gd name="connsiteY5522" fmla="*/ 61091 h 1261310"/>
                    <a:gd name="connsiteX5523" fmla="*/ 920253 w 1559298"/>
                    <a:gd name="connsiteY5523" fmla="*/ 59634 h 1261310"/>
                    <a:gd name="connsiteX5524" fmla="*/ 919900 w 1559298"/>
                    <a:gd name="connsiteY5524" fmla="*/ 58978 h 1261310"/>
                    <a:gd name="connsiteX5525" fmla="*/ 919403 w 1559298"/>
                    <a:gd name="connsiteY5525" fmla="*/ 58432 h 1261310"/>
                    <a:gd name="connsiteX5526" fmla="*/ 918298 w 1559298"/>
                    <a:gd name="connsiteY5526" fmla="*/ 57218 h 1261310"/>
                    <a:gd name="connsiteX5527" fmla="*/ 917557 w 1559298"/>
                    <a:gd name="connsiteY5527" fmla="*/ 56416 h 1261310"/>
                    <a:gd name="connsiteX5528" fmla="*/ 916573 w 1559298"/>
                    <a:gd name="connsiteY5528" fmla="*/ 55906 h 1261310"/>
                    <a:gd name="connsiteX5529" fmla="*/ 914120 w 1559298"/>
                    <a:gd name="connsiteY5529" fmla="*/ 54643 h 1261310"/>
                    <a:gd name="connsiteX5530" fmla="*/ 913404 w 1559298"/>
                    <a:gd name="connsiteY5530" fmla="*/ 54291 h 1261310"/>
                    <a:gd name="connsiteX5531" fmla="*/ 912627 w 1559298"/>
                    <a:gd name="connsiteY5531" fmla="*/ 54109 h 1261310"/>
                    <a:gd name="connsiteX5532" fmla="*/ 910089 w 1559298"/>
                    <a:gd name="connsiteY5532" fmla="*/ 53562 h 1261310"/>
                    <a:gd name="connsiteX5533" fmla="*/ 909567 w 1559298"/>
                    <a:gd name="connsiteY5533" fmla="*/ 53453 h 1261310"/>
                    <a:gd name="connsiteX5534" fmla="*/ 909033 w 1559298"/>
                    <a:gd name="connsiteY5534" fmla="*/ 53429 h 1261310"/>
                    <a:gd name="connsiteX5535" fmla="*/ 885087 w 1559298"/>
                    <a:gd name="connsiteY5535" fmla="*/ 52567 h 1261310"/>
                    <a:gd name="connsiteX5536" fmla="*/ 884103 w 1559298"/>
                    <a:gd name="connsiteY5536" fmla="*/ 52530 h 1261310"/>
                    <a:gd name="connsiteX5537" fmla="*/ 883156 w 1559298"/>
                    <a:gd name="connsiteY5537" fmla="*/ 52810 h 1261310"/>
                    <a:gd name="connsiteX5538" fmla="*/ 880047 w 1559298"/>
                    <a:gd name="connsiteY5538" fmla="*/ 53720 h 1261310"/>
                    <a:gd name="connsiteX5539" fmla="*/ 878845 w 1559298"/>
                    <a:gd name="connsiteY5539" fmla="*/ 54060 h 1261310"/>
                    <a:gd name="connsiteX5540" fmla="*/ 877874 w 1559298"/>
                    <a:gd name="connsiteY5540" fmla="*/ 54850 h 1261310"/>
                    <a:gd name="connsiteX5541" fmla="*/ 875749 w 1559298"/>
                    <a:gd name="connsiteY5541" fmla="*/ 56610 h 1261310"/>
                    <a:gd name="connsiteX5542" fmla="*/ 875020 w 1559298"/>
                    <a:gd name="connsiteY5542" fmla="*/ 57218 h 1261310"/>
                    <a:gd name="connsiteX5543" fmla="*/ 874510 w 1559298"/>
                    <a:gd name="connsiteY5543" fmla="*/ 58007 h 1261310"/>
                    <a:gd name="connsiteX5544" fmla="*/ 873539 w 1559298"/>
                    <a:gd name="connsiteY5544" fmla="*/ 59513 h 1261310"/>
                    <a:gd name="connsiteX5545" fmla="*/ 873454 w 1559298"/>
                    <a:gd name="connsiteY5545" fmla="*/ 59585 h 1261310"/>
                    <a:gd name="connsiteX5546" fmla="*/ 869447 w 1559298"/>
                    <a:gd name="connsiteY5546" fmla="*/ 60448 h 1261310"/>
                    <a:gd name="connsiteX5547" fmla="*/ 868499 w 1559298"/>
                    <a:gd name="connsiteY5547" fmla="*/ 60654 h 1261310"/>
                    <a:gd name="connsiteX5548" fmla="*/ 867661 w 1559298"/>
                    <a:gd name="connsiteY5548" fmla="*/ 61140 h 1261310"/>
                    <a:gd name="connsiteX5549" fmla="*/ 866387 w 1559298"/>
                    <a:gd name="connsiteY5549" fmla="*/ 61892 h 1261310"/>
                    <a:gd name="connsiteX5550" fmla="*/ 864941 w 1559298"/>
                    <a:gd name="connsiteY5550" fmla="*/ 62742 h 1261310"/>
                    <a:gd name="connsiteX5551" fmla="*/ 864140 w 1559298"/>
                    <a:gd name="connsiteY5551" fmla="*/ 64200 h 1261310"/>
                    <a:gd name="connsiteX5552" fmla="*/ 863157 w 1559298"/>
                    <a:gd name="connsiteY5552" fmla="*/ 65985 h 1261310"/>
                    <a:gd name="connsiteX5553" fmla="*/ 863108 w 1559298"/>
                    <a:gd name="connsiteY5553" fmla="*/ 65900 h 1261310"/>
                    <a:gd name="connsiteX5554" fmla="*/ 862294 w 1559298"/>
                    <a:gd name="connsiteY5554" fmla="*/ 65183 h 1261310"/>
                    <a:gd name="connsiteX5555" fmla="*/ 861432 w 1559298"/>
                    <a:gd name="connsiteY5555" fmla="*/ 64430 h 1261310"/>
                    <a:gd name="connsiteX5556" fmla="*/ 861032 w 1559298"/>
                    <a:gd name="connsiteY5556" fmla="*/ 64102 h 1261310"/>
                    <a:gd name="connsiteX5557" fmla="*/ 860582 w 1559298"/>
                    <a:gd name="connsiteY5557" fmla="*/ 63835 h 1261310"/>
                    <a:gd name="connsiteX5558" fmla="*/ 859040 w 1559298"/>
                    <a:gd name="connsiteY5558" fmla="*/ 62913 h 1261310"/>
                    <a:gd name="connsiteX5559" fmla="*/ 858081 w 1559298"/>
                    <a:gd name="connsiteY5559" fmla="*/ 62342 h 1261310"/>
                    <a:gd name="connsiteX5560" fmla="*/ 856988 w 1559298"/>
                    <a:gd name="connsiteY5560" fmla="*/ 62135 h 1261310"/>
                    <a:gd name="connsiteX5561" fmla="*/ 854802 w 1559298"/>
                    <a:gd name="connsiteY5561" fmla="*/ 61747 h 1261310"/>
                    <a:gd name="connsiteX5562" fmla="*/ 854025 w 1559298"/>
                    <a:gd name="connsiteY5562" fmla="*/ 61601 h 1261310"/>
                    <a:gd name="connsiteX5563" fmla="*/ 853236 w 1559298"/>
                    <a:gd name="connsiteY5563" fmla="*/ 61674 h 1261310"/>
                    <a:gd name="connsiteX5564" fmla="*/ 843533 w 1559298"/>
                    <a:gd name="connsiteY5564" fmla="*/ 62463 h 1261310"/>
                    <a:gd name="connsiteX5565" fmla="*/ 842987 w 1559298"/>
                    <a:gd name="connsiteY5565" fmla="*/ 62512 h 1261310"/>
                    <a:gd name="connsiteX5566" fmla="*/ 842453 w 1559298"/>
                    <a:gd name="connsiteY5566" fmla="*/ 62658 h 1261310"/>
                    <a:gd name="connsiteX5567" fmla="*/ 833844 w 1559298"/>
                    <a:gd name="connsiteY5567" fmla="*/ 64989 h 1261310"/>
                    <a:gd name="connsiteX5568" fmla="*/ 833309 w 1559298"/>
                    <a:gd name="connsiteY5568" fmla="*/ 65135 h 1261310"/>
                    <a:gd name="connsiteX5569" fmla="*/ 832811 w 1559298"/>
                    <a:gd name="connsiteY5569" fmla="*/ 65378 h 1261310"/>
                    <a:gd name="connsiteX5570" fmla="*/ 825173 w 1559298"/>
                    <a:gd name="connsiteY5570" fmla="*/ 69045 h 1261310"/>
                    <a:gd name="connsiteX5571" fmla="*/ 824712 w 1559298"/>
                    <a:gd name="connsiteY5571" fmla="*/ 69275 h 1261310"/>
                    <a:gd name="connsiteX5572" fmla="*/ 824287 w 1559298"/>
                    <a:gd name="connsiteY5572" fmla="*/ 69567 h 1261310"/>
                    <a:gd name="connsiteX5573" fmla="*/ 804130 w 1559298"/>
                    <a:gd name="connsiteY5573" fmla="*/ 83847 h 1261310"/>
                    <a:gd name="connsiteX5574" fmla="*/ 802685 w 1559298"/>
                    <a:gd name="connsiteY5574" fmla="*/ 84321 h 1261310"/>
                    <a:gd name="connsiteX5575" fmla="*/ 793104 w 1559298"/>
                    <a:gd name="connsiteY5575" fmla="*/ 84223 h 1261310"/>
                    <a:gd name="connsiteX5576" fmla="*/ 791732 w 1559298"/>
                    <a:gd name="connsiteY5576" fmla="*/ 84211 h 1261310"/>
                    <a:gd name="connsiteX5577" fmla="*/ 790481 w 1559298"/>
                    <a:gd name="connsiteY5577" fmla="*/ 84794 h 1261310"/>
                    <a:gd name="connsiteX5578" fmla="*/ 784968 w 1559298"/>
                    <a:gd name="connsiteY5578" fmla="*/ 87369 h 1261310"/>
                    <a:gd name="connsiteX5579" fmla="*/ 783754 w 1559298"/>
                    <a:gd name="connsiteY5579" fmla="*/ 87939 h 1261310"/>
                    <a:gd name="connsiteX5580" fmla="*/ 782892 w 1559298"/>
                    <a:gd name="connsiteY5580" fmla="*/ 88959 h 1261310"/>
                    <a:gd name="connsiteX5581" fmla="*/ 779054 w 1559298"/>
                    <a:gd name="connsiteY5581" fmla="*/ 93500 h 1261310"/>
                    <a:gd name="connsiteX5582" fmla="*/ 777974 w 1559298"/>
                    <a:gd name="connsiteY5582" fmla="*/ 94776 h 1261310"/>
                    <a:gd name="connsiteX5583" fmla="*/ 777707 w 1559298"/>
                    <a:gd name="connsiteY5583" fmla="*/ 96439 h 1261310"/>
                    <a:gd name="connsiteX5584" fmla="*/ 776845 w 1559298"/>
                    <a:gd name="connsiteY5584" fmla="*/ 101758 h 1261310"/>
                    <a:gd name="connsiteX5585" fmla="*/ 776638 w 1559298"/>
                    <a:gd name="connsiteY5585" fmla="*/ 104332 h 1261310"/>
                    <a:gd name="connsiteX5586" fmla="*/ 776444 w 1559298"/>
                    <a:gd name="connsiteY5586" fmla="*/ 105255 h 1261310"/>
                    <a:gd name="connsiteX5587" fmla="*/ 776347 w 1559298"/>
                    <a:gd name="connsiteY5587" fmla="*/ 105704 h 1261310"/>
                    <a:gd name="connsiteX5588" fmla="*/ 776322 w 1559298"/>
                    <a:gd name="connsiteY5588" fmla="*/ 106178 h 1261310"/>
                    <a:gd name="connsiteX5589" fmla="*/ 776080 w 1559298"/>
                    <a:gd name="connsiteY5589" fmla="*/ 110549 h 1261310"/>
                    <a:gd name="connsiteX5590" fmla="*/ 776055 w 1559298"/>
                    <a:gd name="connsiteY5590" fmla="*/ 110974 h 1261310"/>
                    <a:gd name="connsiteX5591" fmla="*/ 776092 w 1559298"/>
                    <a:gd name="connsiteY5591" fmla="*/ 111411 h 1261310"/>
                    <a:gd name="connsiteX5592" fmla="*/ 776104 w 1559298"/>
                    <a:gd name="connsiteY5592" fmla="*/ 111605 h 1261310"/>
                    <a:gd name="connsiteX5593" fmla="*/ 775994 w 1559298"/>
                    <a:gd name="connsiteY5593" fmla="*/ 111921 h 1261310"/>
                    <a:gd name="connsiteX5594" fmla="*/ 775485 w 1559298"/>
                    <a:gd name="connsiteY5594" fmla="*/ 113014 h 1261310"/>
                    <a:gd name="connsiteX5595" fmla="*/ 774889 w 1559298"/>
                    <a:gd name="connsiteY5595" fmla="*/ 113670 h 1261310"/>
                    <a:gd name="connsiteX5596" fmla="*/ 772898 w 1559298"/>
                    <a:gd name="connsiteY5596" fmla="*/ 115261 h 1261310"/>
                    <a:gd name="connsiteX5597" fmla="*/ 772254 w 1559298"/>
                    <a:gd name="connsiteY5597" fmla="*/ 115771 h 1261310"/>
                    <a:gd name="connsiteX5598" fmla="*/ 771769 w 1559298"/>
                    <a:gd name="connsiteY5598" fmla="*/ 116439 h 1261310"/>
                    <a:gd name="connsiteX5599" fmla="*/ 770494 w 1559298"/>
                    <a:gd name="connsiteY5599" fmla="*/ 118199 h 1261310"/>
                    <a:gd name="connsiteX5600" fmla="*/ 770166 w 1559298"/>
                    <a:gd name="connsiteY5600" fmla="*/ 118661 h 1261310"/>
                    <a:gd name="connsiteX5601" fmla="*/ 769923 w 1559298"/>
                    <a:gd name="connsiteY5601" fmla="*/ 119171 h 1261310"/>
                    <a:gd name="connsiteX5602" fmla="*/ 766608 w 1559298"/>
                    <a:gd name="connsiteY5602" fmla="*/ 126202 h 1261310"/>
                    <a:gd name="connsiteX5603" fmla="*/ 765989 w 1559298"/>
                    <a:gd name="connsiteY5603" fmla="*/ 126869 h 1261310"/>
                    <a:gd name="connsiteX5604" fmla="*/ 764483 w 1559298"/>
                    <a:gd name="connsiteY5604" fmla="*/ 127901 h 1261310"/>
                    <a:gd name="connsiteX5605" fmla="*/ 757744 w 1559298"/>
                    <a:gd name="connsiteY5605" fmla="*/ 131556 h 1261310"/>
                    <a:gd name="connsiteX5606" fmla="*/ 757367 w 1559298"/>
                    <a:gd name="connsiteY5606" fmla="*/ 131763 h 1261310"/>
                    <a:gd name="connsiteX5607" fmla="*/ 757027 w 1559298"/>
                    <a:gd name="connsiteY5607" fmla="*/ 132018 h 1261310"/>
                    <a:gd name="connsiteX5608" fmla="*/ 752449 w 1559298"/>
                    <a:gd name="connsiteY5608" fmla="*/ 135430 h 1261310"/>
                    <a:gd name="connsiteX5609" fmla="*/ 752000 w 1559298"/>
                    <a:gd name="connsiteY5609" fmla="*/ 135746 h 1261310"/>
                    <a:gd name="connsiteX5610" fmla="*/ 751624 w 1559298"/>
                    <a:gd name="connsiteY5610" fmla="*/ 136147 h 1261310"/>
                    <a:gd name="connsiteX5611" fmla="*/ 749887 w 1559298"/>
                    <a:gd name="connsiteY5611" fmla="*/ 138004 h 1261310"/>
                    <a:gd name="connsiteX5612" fmla="*/ 749171 w 1559298"/>
                    <a:gd name="connsiteY5612" fmla="*/ 138769 h 1261310"/>
                    <a:gd name="connsiteX5613" fmla="*/ 748758 w 1559298"/>
                    <a:gd name="connsiteY5613" fmla="*/ 139741 h 1261310"/>
                    <a:gd name="connsiteX5614" fmla="*/ 748066 w 1559298"/>
                    <a:gd name="connsiteY5614" fmla="*/ 141356 h 1261310"/>
                    <a:gd name="connsiteX5615" fmla="*/ 747301 w 1559298"/>
                    <a:gd name="connsiteY5615" fmla="*/ 143141 h 1261310"/>
                    <a:gd name="connsiteX5616" fmla="*/ 747726 w 1559298"/>
                    <a:gd name="connsiteY5616" fmla="*/ 145035 h 1261310"/>
                    <a:gd name="connsiteX5617" fmla="*/ 748139 w 1559298"/>
                    <a:gd name="connsiteY5617" fmla="*/ 146905 h 1261310"/>
                    <a:gd name="connsiteX5618" fmla="*/ 748211 w 1559298"/>
                    <a:gd name="connsiteY5618" fmla="*/ 147257 h 1261310"/>
                    <a:gd name="connsiteX5619" fmla="*/ 748333 w 1559298"/>
                    <a:gd name="connsiteY5619" fmla="*/ 147585 h 1261310"/>
                    <a:gd name="connsiteX5620" fmla="*/ 749074 w 1559298"/>
                    <a:gd name="connsiteY5620" fmla="*/ 149734 h 1261310"/>
                    <a:gd name="connsiteX5621" fmla="*/ 749195 w 1559298"/>
                    <a:gd name="connsiteY5621" fmla="*/ 150099 h 1261310"/>
                    <a:gd name="connsiteX5622" fmla="*/ 749365 w 1559298"/>
                    <a:gd name="connsiteY5622" fmla="*/ 150439 h 1261310"/>
                    <a:gd name="connsiteX5623" fmla="*/ 751344 w 1559298"/>
                    <a:gd name="connsiteY5623" fmla="*/ 154434 h 1261310"/>
                    <a:gd name="connsiteX5624" fmla="*/ 751429 w 1559298"/>
                    <a:gd name="connsiteY5624" fmla="*/ 159983 h 1261310"/>
                    <a:gd name="connsiteX5625" fmla="*/ 750519 w 1559298"/>
                    <a:gd name="connsiteY5625" fmla="*/ 161877 h 1261310"/>
                    <a:gd name="connsiteX5626" fmla="*/ 749317 w 1559298"/>
                    <a:gd name="connsiteY5626" fmla="*/ 163796 h 1261310"/>
                    <a:gd name="connsiteX5627" fmla="*/ 748369 w 1559298"/>
                    <a:gd name="connsiteY5627" fmla="*/ 164852 h 1261310"/>
                    <a:gd name="connsiteX5628" fmla="*/ 748139 w 1559298"/>
                    <a:gd name="connsiteY5628" fmla="*/ 164986 h 1261310"/>
                    <a:gd name="connsiteX5629" fmla="*/ 735850 w 1559298"/>
                    <a:gd name="connsiteY5629" fmla="*/ 166273 h 1261310"/>
                    <a:gd name="connsiteX5630" fmla="*/ 735546 w 1559298"/>
                    <a:gd name="connsiteY5630" fmla="*/ 166309 h 1261310"/>
                    <a:gd name="connsiteX5631" fmla="*/ 735243 w 1559298"/>
                    <a:gd name="connsiteY5631" fmla="*/ 166370 h 1261310"/>
                    <a:gd name="connsiteX5632" fmla="*/ 731806 w 1559298"/>
                    <a:gd name="connsiteY5632" fmla="*/ 167099 h 1261310"/>
                    <a:gd name="connsiteX5633" fmla="*/ 731151 w 1559298"/>
                    <a:gd name="connsiteY5633" fmla="*/ 167244 h 1261310"/>
                    <a:gd name="connsiteX5634" fmla="*/ 730531 w 1559298"/>
                    <a:gd name="connsiteY5634" fmla="*/ 167512 h 1261310"/>
                    <a:gd name="connsiteX5635" fmla="*/ 725759 w 1559298"/>
                    <a:gd name="connsiteY5635" fmla="*/ 169698 h 1261310"/>
                    <a:gd name="connsiteX5636" fmla="*/ 724921 w 1559298"/>
                    <a:gd name="connsiteY5636" fmla="*/ 170086 h 1261310"/>
                    <a:gd name="connsiteX5637" fmla="*/ 724229 w 1559298"/>
                    <a:gd name="connsiteY5637" fmla="*/ 170693 h 1261310"/>
                    <a:gd name="connsiteX5638" fmla="*/ 721181 w 1559298"/>
                    <a:gd name="connsiteY5638" fmla="*/ 173425 h 1261310"/>
                    <a:gd name="connsiteX5639" fmla="*/ 720817 w 1559298"/>
                    <a:gd name="connsiteY5639" fmla="*/ 173753 h 1261310"/>
                    <a:gd name="connsiteX5640" fmla="*/ 720513 w 1559298"/>
                    <a:gd name="connsiteY5640" fmla="*/ 174130 h 1261310"/>
                    <a:gd name="connsiteX5641" fmla="*/ 718170 w 1559298"/>
                    <a:gd name="connsiteY5641" fmla="*/ 177020 h 1261310"/>
                    <a:gd name="connsiteX5642" fmla="*/ 717951 w 1559298"/>
                    <a:gd name="connsiteY5642" fmla="*/ 177275 h 1261310"/>
                    <a:gd name="connsiteX5643" fmla="*/ 717769 w 1559298"/>
                    <a:gd name="connsiteY5643" fmla="*/ 177554 h 1261310"/>
                    <a:gd name="connsiteX5644" fmla="*/ 714321 w 1559298"/>
                    <a:gd name="connsiteY5644" fmla="*/ 182933 h 1261310"/>
                    <a:gd name="connsiteX5645" fmla="*/ 713046 w 1559298"/>
                    <a:gd name="connsiteY5645" fmla="*/ 184427 h 1261310"/>
                    <a:gd name="connsiteX5646" fmla="*/ 709378 w 1559298"/>
                    <a:gd name="connsiteY5646" fmla="*/ 186018 h 1261310"/>
                    <a:gd name="connsiteX5647" fmla="*/ 704679 w 1559298"/>
                    <a:gd name="connsiteY5647" fmla="*/ 187560 h 1261310"/>
                    <a:gd name="connsiteX5648" fmla="*/ 693884 w 1559298"/>
                    <a:gd name="connsiteY5648" fmla="*/ 188470 h 1261310"/>
                    <a:gd name="connsiteX5649" fmla="*/ 693435 w 1559298"/>
                    <a:gd name="connsiteY5649" fmla="*/ 188507 h 1261310"/>
                    <a:gd name="connsiteX5650" fmla="*/ 692985 w 1559298"/>
                    <a:gd name="connsiteY5650" fmla="*/ 188616 h 1261310"/>
                    <a:gd name="connsiteX5651" fmla="*/ 688225 w 1559298"/>
                    <a:gd name="connsiteY5651" fmla="*/ 189746 h 1261310"/>
                    <a:gd name="connsiteX5652" fmla="*/ 671492 w 1559298"/>
                    <a:gd name="connsiteY5652" fmla="*/ 187827 h 1261310"/>
                    <a:gd name="connsiteX5653" fmla="*/ 668882 w 1559298"/>
                    <a:gd name="connsiteY5653" fmla="*/ 186661 h 1261310"/>
                    <a:gd name="connsiteX5654" fmla="*/ 665979 w 1559298"/>
                    <a:gd name="connsiteY5654" fmla="*/ 184985 h 1261310"/>
                    <a:gd name="connsiteX5655" fmla="*/ 662992 w 1559298"/>
                    <a:gd name="connsiteY5655" fmla="*/ 180930 h 1261310"/>
                    <a:gd name="connsiteX5656" fmla="*/ 664146 w 1559298"/>
                    <a:gd name="connsiteY5656" fmla="*/ 180177 h 1261310"/>
                    <a:gd name="connsiteX5657" fmla="*/ 665931 w 1559298"/>
                    <a:gd name="connsiteY5657" fmla="*/ 179023 h 1261310"/>
                    <a:gd name="connsiteX5658" fmla="*/ 666611 w 1559298"/>
                    <a:gd name="connsiteY5658" fmla="*/ 177008 h 1261310"/>
                    <a:gd name="connsiteX5659" fmla="*/ 667412 w 1559298"/>
                    <a:gd name="connsiteY5659" fmla="*/ 174627 h 1261310"/>
                    <a:gd name="connsiteX5660" fmla="*/ 667947 w 1559298"/>
                    <a:gd name="connsiteY5660" fmla="*/ 173012 h 1261310"/>
                    <a:gd name="connsiteX5661" fmla="*/ 667570 w 1559298"/>
                    <a:gd name="connsiteY5661" fmla="*/ 171361 h 1261310"/>
                    <a:gd name="connsiteX5662" fmla="*/ 665749 w 1559298"/>
                    <a:gd name="connsiteY5662" fmla="*/ 163225 h 1261310"/>
                    <a:gd name="connsiteX5663" fmla="*/ 665360 w 1559298"/>
                    <a:gd name="connsiteY5663" fmla="*/ 155345 h 1261310"/>
                    <a:gd name="connsiteX5664" fmla="*/ 665312 w 1559298"/>
                    <a:gd name="connsiteY5664" fmla="*/ 154300 h 1261310"/>
                    <a:gd name="connsiteX5665" fmla="*/ 664923 w 1559298"/>
                    <a:gd name="connsiteY5665" fmla="*/ 153341 h 1261310"/>
                    <a:gd name="connsiteX5666" fmla="*/ 660734 w 1559298"/>
                    <a:gd name="connsiteY5666" fmla="*/ 143080 h 1261310"/>
                    <a:gd name="connsiteX5667" fmla="*/ 657783 w 1559298"/>
                    <a:gd name="connsiteY5667" fmla="*/ 137397 h 1261310"/>
                    <a:gd name="connsiteX5668" fmla="*/ 657285 w 1559298"/>
                    <a:gd name="connsiteY5668" fmla="*/ 136462 h 1261310"/>
                    <a:gd name="connsiteX5669" fmla="*/ 656508 w 1559298"/>
                    <a:gd name="connsiteY5669" fmla="*/ 135746 h 1261310"/>
                    <a:gd name="connsiteX5670" fmla="*/ 654504 w 1559298"/>
                    <a:gd name="connsiteY5670" fmla="*/ 133912 h 1261310"/>
                    <a:gd name="connsiteX5671" fmla="*/ 653071 w 1559298"/>
                    <a:gd name="connsiteY5671" fmla="*/ 132601 h 1261310"/>
                    <a:gd name="connsiteX5672" fmla="*/ 651141 w 1559298"/>
                    <a:gd name="connsiteY5672" fmla="*/ 132358 h 1261310"/>
                    <a:gd name="connsiteX5673" fmla="*/ 648846 w 1559298"/>
                    <a:gd name="connsiteY5673" fmla="*/ 132079 h 1261310"/>
                    <a:gd name="connsiteX5674" fmla="*/ 647692 w 1559298"/>
                    <a:gd name="connsiteY5674" fmla="*/ 131933 h 1261310"/>
                    <a:gd name="connsiteX5675" fmla="*/ 646563 w 1559298"/>
                    <a:gd name="connsiteY5675" fmla="*/ 132212 h 1261310"/>
                    <a:gd name="connsiteX5676" fmla="*/ 644717 w 1559298"/>
                    <a:gd name="connsiteY5676" fmla="*/ 132698 h 1261310"/>
                    <a:gd name="connsiteX5677" fmla="*/ 643746 w 1559298"/>
                    <a:gd name="connsiteY5677" fmla="*/ 132832 h 1261310"/>
                    <a:gd name="connsiteX5678" fmla="*/ 643114 w 1559298"/>
                    <a:gd name="connsiteY5678" fmla="*/ 132807 h 1261310"/>
                    <a:gd name="connsiteX5679" fmla="*/ 634129 w 1559298"/>
                    <a:gd name="connsiteY5679" fmla="*/ 130537 h 1261310"/>
                    <a:gd name="connsiteX5680" fmla="*/ 628033 w 1559298"/>
                    <a:gd name="connsiteY5680" fmla="*/ 128217 h 1261310"/>
                    <a:gd name="connsiteX5681" fmla="*/ 627292 w 1559298"/>
                    <a:gd name="connsiteY5681" fmla="*/ 127950 h 1261310"/>
                    <a:gd name="connsiteX5682" fmla="*/ 626515 w 1559298"/>
                    <a:gd name="connsiteY5682" fmla="*/ 127865 h 1261310"/>
                    <a:gd name="connsiteX5683" fmla="*/ 623589 w 1559298"/>
                    <a:gd name="connsiteY5683" fmla="*/ 127562 h 1261310"/>
                    <a:gd name="connsiteX5684" fmla="*/ 623200 w 1559298"/>
                    <a:gd name="connsiteY5684" fmla="*/ 127513 h 1261310"/>
                    <a:gd name="connsiteX5685" fmla="*/ 622799 w 1559298"/>
                    <a:gd name="connsiteY5685" fmla="*/ 127525 h 1261310"/>
                    <a:gd name="connsiteX5686" fmla="*/ 618221 w 1559298"/>
                    <a:gd name="connsiteY5686" fmla="*/ 127646 h 1261310"/>
                    <a:gd name="connsiteX5687" fmla="*/ 613607 w 1559298"/>
                    <a:gd name="connsiteY5687" fmla="*/ 126335 h 1261310"/>
                    <a:gd name="connsiteX5688" fmla="*/ 611992 w 1559298"/>
                    <a:gd name="connsiteY5688" fmla="*/ 125874 h 1261310"/>
                    <a:gd name="connsiteX5689" fmla="*/ 610365 w 1559298"/>
                    <a:gd name="connsiteY5689" fmla="*/ 126299 h 1261310"/>
                    <a:gd name="connsiteX5690" fmla="*/ 598975 w 1559298"/>
                    <a:gd name="connsiteY5690" fmla="*/ 129334 h 1261310"/>
                    <a:gd name="connsiteX5691" fmla="*/ 579765 w 1559298"/>
                    <a:gd name="connsiteY5691" fmla="*/ 130330 h 1261310"/>
                    <a:gd name="connsiteX5692" fmla="*/ 571969 w 1559298"/>
                    <a:gd name="connsiteY5692" fmla="*/ 129954 h 1261310"/>
                    <a:gd name="connsiteX5693" fmla="*/ 565412 w 1559298"/>
                    <a:gd name="connsiteY5693" fmla="*/ 128970 h 1261310"/>
                    <a:gd name="connsiteX5694" fmla="*/ 564707 w 1559298"/>
                    <a:gd name="connsiteY5694" fmla="*/ 128873 h 1261310"/>
                    <a:gd name="connsiteX5695" fmla="*/ 564003 w 1559298"/>
                    <a:gd name="connsiteY5695" fmla="*/ 128933 h 1261310"/>
                    <a:gd name="connsiteX5696" fmla="*/ 561016 w 1559298"/>
                    <a:gd name="connsiteY5696" fmla="*/ 129189 h 1261310"/>
                    <a:gd name="connsiteX5697" fmla="*/ 560676 w 1559298"/>
                    <a:gd name="connsiteY5697" fmla="*/ 129213 h 1261310"/>
                    <a:gd name="connsiteX5698" fmla="*/ 560348 w 1559298"/>
                    <a:gd name="connsiteY5698" fmla="*/ 129286 h 1261310"/>
                    <a:gd name="connsiteX5699" fmla="*/ 557664 w 1559298"/>
                    <a:gd name="connsiteY5699" fmla="*/ 129832 h 1261310"/>
                    <a:gd name="connsiteX5700" fmla="*/ 554022 w 1559298"/>
                    <a:gd name="connsiteY5700" fmla="*/ 129905 h 1261310"/>
                    <a:gd name="connsiteX5701" fmla="*/ 553317 w 1559298"/>
                    <a:gd name="connsiteY5701" fmla="*/ 129917 h 1261310"/>
                    <a:gd name="connsiteX5702" fmla="*/ 552649 w 1559298"/>
                    <a:gd name="connsiteY5702" fmla="*/ 130099 h 1261310"/>
                    <a:gd name="connsiteX5703" fmla="*/ 546748 w 1559298"/>
                    <a:gd name="connsiteY5703" fmla="*/ 131593 h 1261310"/>
                    <a:gd name="connsiteX5704" fmla="*/ 545327 w 1559298"/>
                    <a:gd name="connsiteY5704" fmla="*/ 131605 h 1261310"/>
                    <a:gd name="connsiteX5705" fmla="*/ 537944 w 1559298"/>
                    <a:gd name="connsiteY5705" fmla="*/ 130755 h 1261310"/>
                    <a:gd name="connsiteX5706" fmla="*/ 537592 w 1559298"/>
                    <a:gd name="connsiteY5706" fmla="*/ 130719 h 1261310"/>
                    <a:gd name="connsiteX5707" fmla="*/ 537252 w 1559298"/>
                    <a:gd name="connsiteY5707" fmla="*/ 130719 h 1261310"/>
                    <a:gd name="connsiteX5708" fmla="*/ 519487 w 1559298"/>
                    <a:gd name="connsiteY5708" fmla="*/ 130719 h 1261310"/>
                    <a:gd name="connsiteX5709" fmla="*/ 518066 w 1559298"/>
                    <a:gd name="connsiteY5709" fmla="*/ 130379 h 1261310"/>
                    <a:gd name="connsiteX5710" fmla="*/ 516828 w 1559298"/>
                    <a:gd name="connsiteY5710" fmla="*/ 129917 h 1261310"/>
                    <a:gd name="connsiteX5711" fmla="*/ 516403 w 1559298"/>
                    <a:gd name="connsiteY5711" fmla="*/ 129759 h 1261310"/>
                    <a:gd name="connsiteX5712" fmla="*/ 515966 w 1559298"/>
                    <a:gd name="connsiteY5712" fmla="*/ 129674 h 1261310"/>
                    <a:gd name="connsiteX5713" fmla="*/ 513622 w 1559298"/>
                    <a:gd name="connsiteY5713" fmla="*/ 129189 h 1261310"/>
                    <a:gd name="connsiteX5714" fmla="*/ 512723 w 1559298"/>
                    <a:gd name="connsiteY5714" fmla="*/ 128994 h 1261310"/>
                    <a:gd name="connsiteX5715" fmla="*/ 511813 w 1559298"/>
                    <a:gd name="connsiteY5715" fmla="*/ 129079 h 1261310"/>
                    <a:gd name="connsiteX5716" fmla="*/ 506093 w 1559298"/>
                    <a:gd name="connsiteY5716" fmla="*/ 129626 h 1261310"/>
                    <a:gd name="connsiteX5717" fmla="*/ 488255 w 1559298"/>
                    <a:gd name="connsiteY5717" fmla="*/ 125728 h 1261310"/>
                    <a:gd name="connsiteX5718" fmla="*/ 478444 w 1559298"/>
                    <a:gd name="connsiteY5718" fmla="*/ 122097 h 1261310"/>
                    <a:gd name="connsiteX5719" fmla="*/ 476975 w 1559298"/>
                    <a:gd name="connsiteY5719" fmla="*/ 121344 h 1261310"/>
                    <a:gd name="connsiteX5720" fmla="*/ 476137 w 1559298"/>
                    <a:gd name="connsiteY5720" fmla="*/ 120616 h 1261310"/>
                    <a:gd name="connsiteX5721" fmla="*/ 475335 w 1559298"/>
                    <a:gd name="connsiteY5721" fmla="*/ 119486 h 1261310"/>
                    <a:gd name="connsiteX5722" fmla="*/ 474449 w 1559298"/>
                    <a:gd name="connsiteY5722" fmla="*/ 117726 h 1261310"/>
                    <a:gd name="connsiteX5723" fmla="*/ 472846 w 1559298"/>
                    <a:gd name="connsiteY5723" fmla="*/ 113561 h 1261310"/>
                    <a:gd name="connsiteX5724" fmla="*/ 472579 w 1559298"/>
                    <a:gd name="connsiteY5724" fmla="*/ 112868 h 1261310"/>
                    <a:gd name="connsiteX5725" fmla="*/ 472142 w 1559298"/>
                    <a:gd name="connsiteY5725" fmla="*/ 112261 h 1261310"/>
                    <a:gd name="connsiteX5726" fmla="*/ 464917 w 1559298"/>
                    <a:gd name="connsiteY5726" fmla="*/ 102134 h 1261310"/>
                    <a:gd name="connsiteX5727" fmla="*/ 464637 w 1559298"/>
                    <a:gd name="connsiteY5727" fmla="*/ 101746 h 1261310"/>
                    <a:gd name="connsiteX5728" fmla="*/ 464297 w 1559298"/>
                    <a:gd name="connsiteY5728" fmla="*/ 101405 h 1261310"/>
                    <a:gd name="connsiteX5729" fmla="*/ 460557 w 1559298"/>
                    <a:gd name="connsiteY5729" fmla="*/ 97617 h 1261310"/>
                    <a:gd name="connsiteX5730" fmla="*/ 460132 w 1559298"/>
                    <a:gd name="connsiteY5730" fmla="*/ 97180 h 1261310"/>
                    <a:gd name="connsiteX5731" fmla="*/ 459635 w 1559298"/>
                    <a:gd name="connsiteY5731" fmla="*/ 96852 h 1261310"/>
                    <a:gd name="connsiteX5732" fmla="*/ 457631 w 1559298"/>
                    <a:gd name="connsiteY5732" fmla="*/ 95504 h 1261310"/>
                    <a:gd name="connsiteX5733" fmla="*/ 457327 w 1559298"/>
                    <a:gd name="connsiteY5733" fmla="*/ 95285 h 1261310"/>
                    <a:gd name="connsiteX5734" fmla="*/ 457012 w 1559298"/>
                    <a:gd name="connsiteY5734" fmla="*/ 95116 h 1261310"/>
                    <a:gd name="connsiteX5735" fmla="*/ 452191 w 1559298"/>
                    <a:gd name="connsiteY5735" fmla="*/ 92651 h 1261310"/>
                    <a:gd name="connsiteX5736" fmla="*/ 451705 w 1559298"/>
                    <a:gd name="connsiteY5736" fmla="*/ 92395 h 1261310"/>
                    <a:gd name="connsiteX5737" fmla="*/ 451195 w 1559298"/>
                    <a:gd name="connsiteY5737" fmla="*/ 92237 h 1261310"/>
                    <a:gd name="connsiteX5738" fmla="*/ 449981 w 1559298"/>
                    <a:gd name="connsiteY5738" fmla="*/ 91873 h 1261310"/>
                    <a:gd name="connsiteX5739" fmla="*/ 449277 w 1559298"/>
                    <a:gd name="connsiteY5739" fmla="*/ 91655 h 1261310"/>
                    <a:gd name="connsiteX5740" fmla="*/ 448536 w 1559298"/>
                    <a:gd name="connsiteY5740" fmla="*/ 91618 h 1261310"/>
                    <a:gd name="connsiteX5741" fmla="*/ 440254 w 1559298"/>
                    <a:gd name="connsiteY5741" fmla="*/ 91169 h 1261310"/>
                    <a:gd name="connsiteX5742" fmla="*/ 439004 w 1559298"/>
                    <a:gd name="connsiteY5742" fmla="*/ 90708 h 1261310"/>
                    <a:gd name="connsiteX5743" fmla="*/ 437267 w 1559298"/>
                    <a:gd name="connsiteY5743" fmla="*/ 89530 h 1261310"/>
                    <a:gd name="connsiteX5744" fmla="*/ 434814 w 1559298"/>
                    <a:gd name="connsiteY5744" fmla="*/ 87441 h 1261310"/>
                    <a:gd name="connsiteX5745" fmla="*/ 434450 w 1559298"/>
                    <a:gd name="connsiteY5745" fmla="*/ 87138 h 1261310"/>
                    <a:gd name="connsiteX5746" fmla="*/ 434049 w 1559298"/>
                    <a:gd name="connsiteY5746" fmla="*/ 86895 h 1261310"/>
                    <a:gd name="connsiteX5747" fmla="*/ 432325 w 1559298"/>
                    <a:gd name="connsiteY5747" fmla="*/ 85863 h 1261310"/>
                    <a:gd name="connsiteX5748" fmla="*/ 431706 w 1559298"/>
                    <a:gd name="connsiteY5748" fmla="*/ 85486 h 1261310"/>
                    <a:gd name="connsiteX5749" fmla="*/ 431014 w 1559298"/>
                    <a:gd name="connsiteY5749" fmla="*/ 85268 h 1261310"/>
                    <a:gd name="connsiteX5750" fmla="*/ 429180 w 1559298"/>
                    <a:gd name="connsiteY5750" fmla="*/ 84697 h 1261310"/>
                    <a:gd name="connsiteX5751" fmla="*/ 428731 w 1559298"/>
                    <a:gd name="connsiteY5751" fmla="*/ 84551 h 1261310"/>
                    <a:gd name="connsiteX5752" fmla="*/ 428269 w 1559298"/>
                    <a:gd name="connsiteY5752" fmla="*/ 84491 h 1261310"/>
                    <a:gd name="connsiteX5753" fmla="*/ 422805 w 1559298"/>
                    <a:gd name="connsiteY5753" fmla="*/ 83689 h 1261310"/>
                    <a:gd name="connsiteX5754" fmla="*/ 422501 w 1559298"/>
                    <a:gd name="connsiteY5754" fmla="*/ 83641 h 1261310"/>
                    <a:gd name="connsiteX5755" fmla="*/ 422198 w 1559298"/>
                    <a:gd name="connsiteY5755" fmla="*/ 83628 h 1261310"/>
                    <a:gd name="connsiteX5756" fmla="*/ 420134 w 1559298"/>
                    <a:gd name="connsiteY5756" fmla="*/ 83531 h 1261310"/>
                    <a:gd name="connsiteX5757" fmla="*/ 419709 w 1559298"/>
                    <a:gd name="connsiteY5757" fmla="*/ 83507 h 1261310"/>
                    <a:gd name="connsiteX5758" fmla="*/ 419284 w 1559298"/>
                    <a:gd name="connsiteY5758" fmla="*/ 83543 h 1261310"/>
                    <a:gd name="connsiteX5759" fmla="*/ 402393 w 1559298"/>
                    <a:gd name="connsiteY5759" fmla="*/ 85134 h 1261310"/>
                    <a:gd name="connsiteX5760" fmla="*/ 397208 w 1559298"/>
                    <a:gd name="connsiteY5760" fmla="*/ 85073 h 1261310"/>
                    <a:gd name="connsiteX5761" fmla="*/ 394172 w 1559298"/>
                    <a:gd name="connsiteY5761" fmla="*/ 84746 h 1261310"/>
                    <a:gd name="connsiteX5762" fmla="*/ 393249 w 1559298"/>
                    <a:gd name="connsiteY5762" fmla="*/ 84308 h 1261310"/>
                    <a:gd name="connsiteX5763" fmla="*/ 391816 w 1559298"/>
                    <a:gd name="connsiteY5763" fmla="*/ 83179 h 1261310"/>
                    <a:gd name="connsiteX5764" fmla="*/ 390201 w 1559298"/>
                    <a:gd name="connsiteY5764" fmla="*/ 81515 h 1261310"/>
                    <a:gd name="connsiteX5765" fmla="*/ 389983 w 1559298"/>
                    <a:gd name="connsiteY5765" fmla="*/ 81285 h 1261310"/>
                    <a:gd name="connsiteX5766" fmla="*/ 389740 w 1559298"/>
                    <a:gd name="connsiteY5766" fmla="*/ 81078 h 1261310"/>
                    <a:gd name="connsiteX5767" fmla="*/ 387566 w 1559298"/>
                    <a:gd name="connsiteY5767" fmla="*/ 79269 h 1261310"/>
                    <a:gd name="connsiteX5768" fmla="*/ 386546 w 1559298"/>
                    <a:gd name="connsiteY5768" fmla="*/ 78419 h 1261310"/>
                    <a:gd name="connsiteX5769" fmla="*/ 385259 w 1559298"/>
                    <a:gd name="connsiteY5769" fmla="*/ 78079 h 1261310"/>
                    <a:gd name="connsiteX5770" fmla="*/ 376103 w 1559298"/>
                    <a:gd name="connsiteY5770" fmla="*/ 75602 h 1261310"/>
                    <a:gd name="connsiteX5771" fmla="*/ 374027 w 1559298"/>
                    <a:gd name="connsiteY5771" fmla="*/ 74448 h 1261310"/>
                    <a:gd name="connsiteX5772" fmla="*/ 368465 w 1559298"/>
                    <a:gd name="connsiteY5772" fmla="*/ 70016 h 1261310"/>
                    <a:gd name="connsiteX5773" fmla="*/ 363280 w 1559298"/>
                    <a:gd name="connsiteY5773" fmla="*/ 66616 h 1261310"/>
                    <a:gd name="connsiteX5774" fmla="*/ 361653 w 1559298"/>
                    <a:gd name="connsiteY5774" fmla="*/ 65341 h 1261310"/>
                    <a:gd name="connsiteX5775" fmla="*/ 361192 w 1559298"/>
                    <a:gd name="connsiteY5775" fmla="*/ 64807 h 1261310"/>
                    <a:gd name="connsiteX5776" fmla="*/ 360864 w 1559298"/>
                    <a:gd name="connsiteY5776" fmla="*/ 60229 h 1261310"/>
                    <a:gd name="connsiteX5777" fmla="*/ 360815 w 1559298"/>
                    <a:gd name="connsiteY5777" fmla="*/ 59427 h 1261310"/>
                    <a:gd name="connsiteX5778" fmla="*/ 360548 w 1559298"/>
                    <a:gd name="connsiteY5778" fmla="*/ 58650 h 1261310"/>
                    <a:gd name="connsiteX5779" fmla="*/ 359917 w 1559298"/>
                    <a:gd name="connsiteY5779" fmla="*/ 56877 h 1261310"/>
                    <a:gd name="connsiteX5780" fmla="*/ 359771 w 1559298"/>
                    <a:gd name="connsiteY5780" fmla="*/ 56477 h 1261310"/>
                    <a:gd name="connsiteX5781" fmla="*/ 359565 w 1559298"/>
                    <a:gd name="connsiteY5781" fmla="*/ 56088 h 1261310"/>
                    <a:gd name="connsiteX5782" fmla="*/ 357573 w 1559298"/>
                    <a:gd name="connsiteY5782" fmla="*/ 52312 h 1261310"/>
                    <a:gd name="connsiteX5783" fmla="*/ 357306 w 1559298"/>
                    <a:gd name="connsiteY5783" fmla="*/ 51413 h 1261310"/>
                    <a:gd name="connsiteX5784" fmla="*/ 357160 w 1559298"/>
                    <a:gd name="connsiteY5784" fmla="*/ 49543 h 1261310"/>
                    <a:gd name="connsiteX5785" fmla="*/ 358059 w 1559298"/>
                    <a:gd name="connsiteY5785" fmla="*/ 33417 h 1261310"/>
                    <a:gd name="connsiteX5786" fmla="*/ 358387 w 1559298"/>
                    <a:gd name="connsiteY5786" fmla="*/ 31511 h 1261310"/>
                    <a:gd name="connsiteX5787" fmla="*/ 358593 w 1559298"/>
                    <a:gd name="connsiteY5787" fmla="*/ 30212 h 1261310"/>
                    <a:gd name="connsiteX5788" fmla="*/ 358241 w 1559298"/>
                    <a:gd name="connsiteY5788" fmla="*/ 28949 h 1261310"/>
                    <a:gd name="connsiteX5789" fmla="*/ 356650 w 1559298"/>
                    <a:gd name="connsiteY5789" fmla="*/ 23241 h 1261310"/>
                    <a:gd name="connsiteX5790" fmla="*/ 356262 w 1559298"/>
                    <a:gd name="connsiteY5790" fmla="*/ 21857 h 1261310"/>
                    <a:gd name="connsiteX5791" fmla="*/ 355278 w 1559298"/>
                    <a:gd name="connsiteY5791" fmla="*/ 20789 h 1261310"/>
                    <a:gd name="connsiteX5792" fmla="*/ 344483 w 1559298"/>
                    <a:gd name="connsiteY5792" fmla="*/ 8961 h 1261310"/>
                    <a:gd name="connsiteX5793" fmla="*/ 344252 w 1559298"/>
                    <a:gd name="connsiteY5793" fmla="*/ 8706 h 1261310"/>
                    <a:gd name="connsiteX5794" fmla="*/ 343997 w 1559298"/>
                    <a:gd name="connsiteY5794" fmla="*/ 8488 h 1261310"/>
                    <a:gd name="connsiteX5795" fmla="*/ 340197 w 1559298"/>
                    <a:gd name="connsiteY5795" fmla="*/ 5149 h 1261310"/>
                    <a:gd name="connsiteX5796" fmla="*/ 338254 w 1559298"/>
                    <a:gd name="connsiteY5796" fmla="*/ 3436 h 1261310"/>
                    <a:gd name="connsiteX5797" fmla="*/ 335679 w 1559298"/>
                    <a:gd name="connsiteY5797" fmla="*/ 3655 h 1261310"/>
                    <a:gd name="connsiteX5798" fmla="*/ 332692 w 1559298"/>
                    <a:gd name="connsiteY5798" fmla="*/ 3910 h 1261310"/>
                    <a:gd name="connsiteX5799" fmla="*/ 330604 w 1559298"/>
                    <a:gd name="connsiteY5799" fmla="*/ 4080 h 1261310"/>
                    <a:gd name="connsiteX5800" fmla="*/ 329061 w 1559298"/>
                    <a:gd name="connsiteY5800" fmla="*/ 5513 h 1261310"/>
                    <a:gd name="connsiteX5801" fmla="*/ 322274 w 1559298"/>
                    <a:gd name="connsiteY5801" fmla="*/ 11815 h 1261310"/>
                    <a:gd name="connsiteX5802" fmla="*/ 321715 w 1559298"/>
                    <a:gd name="connsiteY5802" fmla="*/ 12082 h 1261310"/>
                    <a:gd name="connsiteX5803" fmla="*/ 318133 w 1559298"/>
                    <a:gd name="connsiteY5803" fmla="*/ 13126 h 1261310"/>
                    <a:gd name="connsiteX5804" fmla="*/ 317720 w 1559298"/>
                    <a:gd name="connsiteY5804" fmla="*/ 13260 h 1261310"/>
                    <a:gd name="connsiteX5805" fmla="*/ 317319 w 1559298"/>
                    <a:gd name="connsiteY5805" fmla="*/ 13442 h 1261310"/>
                    <a:gd name="connsiteX5806" fmla="*/ 315206 w 1559298"/>
                    <a:gd name="connsiteY5806" fmla="*/ 14329 h 1261310"/>
                    <a:gd name="connsiteX5807" fmla="*/ 313810 w 1559298"/>
                    <a:gd name="connsiteY5807" fmla="*/ 14571 h 1261310"/>
                    <a:gd name="connsiteX5808" fmla="*/ 313069 w 1559298"/>
                    <a:gd name="connsiteY5808" fmla="*/ 14705 h 1261310"/>
                    <a:gd name="connsiteX5809" fmla="*/ 312377 w 1559298"/>
                    <a:gd name="connsiteY5809" fmla="*/ 14996 h 1261310"/>
                    <a:gd name="connsiteX5810" fmla="*/ 311515 w 1559298"/>
                    <a:gd name="connsiteY5810" fmla="*/ 15373 h 1261310"/>
                    <a:gd name="connsiteX5811" fmla="*/ 308989 w 1559298"/>
                    <a:gd name="connsiteY5811" fmla="*/ 16490 h 1261310"/>
                    <a:gd name="connsiteX5812" fmla="*/ 308163 w 1559298"/>
                    <a:gd name="connsiteY5812" fmla="*/ 19125 h 1261310"/>
                    <a:gd name="connsiteX5813" fmla="*/ 307945 w 1559298"/>
                    <a:gd name="connsiteY5813" fmla="*/ 19829 h 1261310"/>
                    <a:gd name="connsiteX5814" fmla="*/ 307666 w 1559298"/>
                    <a:gd name="connsiteY5814" fmla="*/ 20716 h 1261310"/>
                    <a:gd name="connsiteX5815" fmla="*/ 307666 w 1559298"/>
                    <a:gd name="connsiteY5815" fmla="*/ 21092 h 1261310"/>
                    <a:gd name="connsiteX5816" fmla="*/ 307313 w 1559298"/>
                    <a:gd name="connsiteY5816" fmla="*/ 21299 h 1261310"/>
                    <a:gd name="connsiteX5817" fmla="*/ 304788 w 1559298"/>
                    <a:gd name="connsiteY5817" fmla="*/ 22161 h 1261310"/>
                    <a:gd name="connsiteX5818" fmla="*/ 301691 w 1559298"/>
                    <a:gd name="connsiteY5818" fmla="*/ 22732 h 1261310"/>
                    <a:gd name="connsiteX5819" fmla="*/ 298461 w 1559298"/>
                    <a:gd name="connsiteY5819" fmla="*/ 22889 h 1261310"/>
                    <a:gd name="connsiteX5820" fmla="*/ 296118 w 1559298"/>
                    <a:gd name="connsiteY5820" fmla="*/ 22428 h 1261310"/>
                    <a:gd name="connsiteX5821" fmla="*/ 291115 w 1559298"/>
                    <a:gd name="connsiteY5821" fmla="*/ 19380 h 1261310"/>
                    <a:gd name="connsiteX5822" fmla="*/ 290180 w 1559298"/>
                    <a:gd name="connsiteY5822" fmla="*/ 18809 h 1261310"/>
                    <a:gd name="connsiteX5823" fmla="*/ 289864 w 1559298"/>
                    <a:gd name="connsiteY5823" fmla="*/ 18749 h 1261310"/>
                    <a:gd name="connsiteX5824" fmla="*/ 289888 w 1559298"/>
                    <a:gd name="connsiteY5824" fmla="*/ 10358 h 1261310"/>
                    <a:gd name="connsiteX5825" fmla="*/ 292013 w 1559298"/>
                    <a:gd name="connsiteY5825" fmla="*/ 3740 h 1261310"/>
                    <a:gd name="connsiteX5826" fmla="*/ 292438 w 1559298"/>
                    <a:gd name="connsiteY5826" fmla="*/ 2416 h 1261310"/>
                    <a:gd name="connsiteX5827" fmla="*/ 292244 w 1559298"/>
                    <a:gd name="connsiteY5827" fmla="*/ 1044 h 1261310"/>
                    <a:gd name="connsiteX5828" fmla="*/ 292123 w 1559298"/>
                    <a:gd name="connsiteY5828" fmla="*/ 206 h 1261310"/>
                    <a:gd name="connsiteX5829" fmla="*/ 284303 w 1559298"/>
                    <a:gd name="connsiteY5829" fmla="*/ 1275 h 1261310"/>
                    <a:gd name="connsiteX5830" fmla="*/ 280441 w 1559298"/>
                    <a:gd name="connsiteY5830" fmla="*/ 0 h 1261310"/>
                    <a:gd name="connsiteX5831" fmla="*/ 280441 w 1559298"/>
                    <a:gd name="connsiteY5831" fmla="*/ 0 h 1261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Lst>
                  <a:rect l="l" t="t" r="r" b="b"/>
                  <a:pathLst>
                    <a:path w="1559298" h="1261310">
                      <a:moveTo>
                        <a:pt x="286112" y="1020"/>
                      </a:moveTo>
                      <a:lnTo>
                        <a:pt x="286233" y="1858"/>
                      </a:lnTo>
                      <a:lnTo>
                        <a:pt x="283817" y="9374"/>
                      </a:lnTo>
                      <a:lnTo>
                        <a:pt x="283768" y="23739"/>
                      </a:lnTo>
                      <a:lnTo>
                        <a:pt x="287945" y="24541"/>
                      </a:lnTo>
                      <a:lnTo>
                        <a:pt x="293871" y="28159"/>
                      </a:lnTo>
                      <a:lnTo>
                        <a:pt x="298000" y="28961"/>
                      </a:lnTo>
                      <a:lnTo>
                        <a:pt x="302371" y="28754"/>
                      </a:lnTo>
                      <a:lnTo>
                        <a:pt x="306318" y="28026"/>
                      </a:lnTo>
                      <a:lnTo>
                        <a:pt x="309827" y="26812"/>
                      </a:lnTo>
                      <a:lnTo>
                        <a:pt x="312936" y="25039"/>
                      </a:lnTo>
                      <a:lnTo>
                        <a:pt x="313567" y="24067"/>
                      </a:lnTo>
                      <a:lnTo>
                        <a:pt x="313737" y="22780"/>
                      </a:lnTo>
                      <a:lnTo>
                        <a:pt x="313737" y="21614"/>
                      </a:lnTo>
                      <a:lnTo>
                        <a:pt x="313956" y="20910"/>
                      </a:lnTo>
                      <a:lnTo>
                        <a:pt x="314818" y="20534"/>
                      </a:lnTo>
                      <a:lnTo>
                        <a:pt x="317004" y="20169"/>
                      </a:lnTo>
                      <a:lnTo>
                        <a:pt x="319711" y="18931"/>
                      </a:lnTo>
                      <a:lnTo>
                        <a:pt x="323779" y="17741"/>
                      </a:lnTo>
                      <a:lnTo>
                        <a:pt x="325625" y="16854"/>
                      </a:lnTo>
                      <a:lnTo>
                        <a:pt x="333081" y="9933"/>
                      </a:lnTo>
                      <a:lnTo>
                        <a:pt x="336068" y="9678"/>
                      </a:lnTo>
                      <a:lnTo>
                        <a:pt x="339869" y="13017"/>
                      </a:lnTo>
                      <a:lnTo>
                        <a:pt x="350664" y="24844"/>
                      </a:lnTo>
                      <a:lnTo>
                        <a:pt x="352255" y="30552"/>
                      </a:lnTo>
                      <a:lnTo>
                        <a:pt x="351866" y="33053"/>
                      </a:lnTo>
                      <a:lnTo>
                        <a:pt x="350943" y="49592"/>
                      </a:lnTo>
                      <a:lnTo>
                        <a:pt x="351174" y="52530"/>
                      </a:lnTo>
                      <a:lnTo>
                        <a:pt x="351805" y="54607"/>
                      </a:lnTo>
                      <a:lnTo>
                        <a:pt x="354052" y="58893"/>
                      </a:lnTo>
                      <a:lnTo>
                        <a:pt x="354683" y="60666"/>
                      </a:lnTo>
                      <a:lnTo>
                        <a:pt x="355072" y="66130"/>
                      </a:lnTo>
                      <a:lnTo>
                        <a:pt x="355715" y="67903"/>
                      </a:lnTo>
                      <a:lnTo>
                        <a:pt x="357306" y="69737"/>
                      </a:lnTo>
                      <a:lnTo>
                        <a:pt x="359844" y="71716"/>
                      </a:lnTo>
                      <a:lnTo>
                        <a:pt x="364555" y="74764"/>
                      </a:lnTo>
                      <a:lnTo>
                        <a:pt x="370517" y="79524"/>
                      </a:lnTo>
                      <a:lnTo>
                        <a:pt x="373687" y="81285"/>
                      </a:lnTo>
                      <a:lnTo>
                        <a:pt x="383559" y="83956"/>
                      </a:lnTo>
                      <a:lnTo>
                        <a:pt x="385733" y="85765"/>
                      </a:lnTo>
                      <a:lnTo>
                        <a:pt x="387639" y="87721"/>
                      </a:lnTo>
                      <a:lnTo>
                        <a:pt x="389934" y="89517"/>
                      </a:lnTo>
                      <a:lnTo>
                        <a:pt x="392399" y="90671"/>
                      </a:lnTo>
                      <a:lnTo>
                        <a:pt x="396722" y="91157"/>
                      </a:lnTo>
                      <a:lnTo>
                        <a:pt x="402842" y="91193"/>
                      </a:lnTo>
                      <a:lnTo>
                        <a:pt x="419733" y="89603"/>
                      </a:lnTo>
                      <a:lnTo>
                        <a:pt x="421797" y="89700"/>
                      </a:lnTo>
                      <a:lnTo>
                        <a:pt x="427261" y="90501"/>
                      </a:lnTo>
                      <a:lnTo>
                        <a:pt x="429095" y="91072"/>
                      </a:lnTo>
                      <a:lnTo>
                        <a:pt x="430819" y="92104"/>
                      </a:lnTo>
                      <a:lnTo>
                        <a:pt x="433746" y="94545"/>
                      </a:lnTo>
                      <a:lnTo>
                        <a:pt x="436102" y="96148"/>
                      </a:lnTo>
                      <a:lnTo>
                        <a:pt x="438907" y="97180"/>
                      </a:lnTo>
                      <a:lnTo>
                        <a:pt x="448099" y="97678"/>
                      </a:lnTo>
                      <a:lnTo>
                        <a:pt x="449313" y="98042"/>
                      </a:lnTo>
                      <a:lnTo>
                        <a:pt x="454134" y="100507"/>
                      </a:lnTo>
                      <a:lnTo>
                        <a:pt x="456137" y="101855"/>
                      </a:lnTo>
                      <a:lnTo>
                        <a:pt x="459877" y="105643"/>
                      </a:lnTo>
                      <a:lnTo>
                        <a:pt x="467102" y="115771"/>
                      </a:lnTo>
                      <a:lnTo>
                        <a:pt x="468948" y="120458"/>
                      </a:lnTo>
                      <a:lnTo>
                        <a:pt x="470041" y="122607"/>
                      </a:lnTo>
                      <a:lnTo>
                        <a:pt x="471535" y="124720"/>
                      </a:lnTo>
                      <a:lnTo>
                        <a:pt x="473478" y="126384"/>
                      </a:lnTo>
                      <a:lnTo>
                        <a:pt x="475894" y="127646"/>
                      </a:lnTo>
                      <a:lnTo>
                        <a:pt x="486458" y="131556"/>
                      </a:lnTo>
                      <a:lnTo>
                        <a:pt x="505632" y="135746"/>
                      </a:lnTo>
                      <a:lnTo>
                        <a:pt x="512298" y="135114"/>
                      </a:lnTo>
                      <a:lnTo>
                        <a:pt x="514642" y="135600"/>
                      </a:lnTo>
                      <a:lnTo>
                        <a:pt x="516196" y="136171"/>
                      </a:lnTo>
                      <a:lnTo>
                        <a:pt x="518661" y="136778"/>
                      </a:lnTo>
                      <a:lnTo>
                        <a:pt x="537155" y="136778"/>
                      </a:lnTo>
                      <a:lnTo>
                        <a:pt x="544914" y="137665"/>
                      </a:lnTo>
                      <a:lnTo>
                        <a:pt x="547440" y="137640"/>
                      </a:lnTo>
                      <a:lnTo>
                        <a:pt x="554046" y="135964"/>
                      </a:lnTo>
                      <a:lnTo>
                        <a:pt x="558235" y="135880"/>
                      </a:lnTo>
                      <a:lnTo>
                        <a:pt x="561453" y="135224"/>
                      </a:lnTo>
                      <a:lnTo>
                        <a:pt x="564440" y="134969"/>
                      </a:lnTo>
                      <a:lnTo>
                        <a:pt x="571556" y="136001"/>
                      </a:lnTo>
                      <a:lnTo>
                        <a:pt x="579655" y="136402"/>
                      </a:lnTo>
                      <a:lnTo>
                        <a:pt x="599813" y="135357"/>
                      </a:lnTo>
                      <a:lnTo>
                        <a:pt x="611810" y="132152"/>
                      </a:lnTo>
                      <a:lnTo>
                        <a:pt x="617323" y="133730"/>
                      </a:lnTo>
                      <a:lnTo>
                        <a:pt x="622836" y="133585"/>
                      </a:lnTo>
                      <a:lnTo>
                        <a:pt x="625762" y="133888"/>
                      </a:lnTo>
                      <a:lnTo>
                        <a:pt x="632198" y="136329"/>
                      </a:lnTo>
                      <a:lnTo>
                        <a:pt x="642119" y="138830"/>
                      </a:lnTo>
                      <a:lnTo>
                        <a:pt x="643916" y="138915"/>
                      </a:lnTo>
                      <a:lnTo>
                        <a:pt x="645798" y="138660"/>
                      </a:lnTo>
                      <a:lnTo>
                        <a:pt x="647984" y="138089"/>
                      </a:lnTo>
                      <a:lnTo>
                        <a:pt x="650279" y="138369"/>
                      </a:lnTo>
                      <a:lnTo>
                        <a:pt x="652282" y="140202"/>
                      </a:lnTo>
                      <a:lnTo>
                        <a:pt x="654990" y="145363"/>
                      </a:lnTo>
                      <a:lnTo>
                        <a:pt x="659179" y="155624"/>
                      </a:lnTo>
                      <a:lnTo>
                        <a:pt x="659592" y="164027"/>
                      </a:lnTo>
                      <a:lnTo>
                        <a:pt x="661535" y="172673"/>
                      </a:lnTo>
                      <a:lnTo>
                        <a:pt x="660734" y="175052"/>
                      </a:lnTo>
                      <a:lnTo>
                        <a:pt x="659301" y="175976"/>
                      </a:lnTo>
                      <a:lnTo>
                        <a:pt x="657637" y="176145"/>
                      </a:lnTo>
                      <a:lnTo>
                        <a:pt x="656362" y="176145"/>
                      </a:lnTo>
                      <a:lnTo>
                        <a:pt x="655221" y="176425"/>
                      </a:lnTo>
                      <a:lnTo>
                        <a:pt x="654650" y="176765"/>
                      </a:lnTo>
                      <a:lnTo>
                        <a:pt x="654249" y="177347"/>
                      </a:lnTo>
                      <a:lnTo>
                        <a:pt x="654128" y="177797"/>
                      </a:lnTo>
                      <a:lnTo>
                        <a:pt x="654128" y="178355"/>
                      </a:lnTo>
                      <a:lnTo>
                        <a:pt x="654359" y="179181"/>
                      </a:lnTo>
                      <a:lnTo>
                        <a:pt x="655051" y="180492"/>
                      </a:lnTo>
                      <a:lnTo>
                        <a:pt x="661717" y="189563"/>
                      </a:lnTo>
                      <a:lnTo>
                        <a:pt x="666004" y="192028"/>
                      </a:lnTo>
                      <a:lnTo>
                        <a:pt x="669744" y="193704"/>
                      </a:lnTo>
                      <a:lnTo>
                        <a:pt x="688468" y="195853"/>
                      </a:lnTo>
                      <a:lnTo>
                        <a:pt x="694260" y="194481"/>
                      </a:lnTo>
                      <a:lnTo>
                        <a:pt x="705760" y="193510"/>
                      </a:lnTo>
                      <a:lnTo>
                        <a:pt x="711661" y="191555"/>
                      </a:lnTo>
                      <a:lnTo>
                        <a:pt x="716603" y="189405"/>
                      </a:lnTo>
                      <a:lnTo>
                        <a:pt x="719068" y="186528"/>
                      </a:lnTo>
                      <a:lnTo>
                        <a:pt x="722748" y="180784"/>
                      </a:lnTo>
                      <a:lnTo>
                        <a:pt x="725091" y="177894"/>
                      </a:lnTo>
                      <a:lnTo>
                        <a:pt x="728139" y="175162"/>
                      </a:lnTo>
                      <a:lnTo>
                        <a:pt x="732911" y="172976"/>
                      </a:lnTo>
                      <a:lnTo>
                        <a:pt x="736348" y="172248"/>
                      </a:lnTo>
                      <a:lnTo>
                        <a:pt x="749899" y="170827"/>
                      </a:lnTo>
                      <a:lnTo>
                        <a:pt x="752085" y="169576"/>
                      </a:lnTo>
                      <a:lnTo>
                        <a:pt x="754040" y="167390"/>
                      </a:lnTo>
                      <a:lnTo>
                        <a:pt x="755704" y="164731"/>
                      </a:lnTo>
                      <a:lnTo>
                        <a:pt x="757379" y="161246"/>
                      </a:lnTo>
                      <a:lnTo>
                        <a:pt x="757258" y="152892"/>
                      </a:lnTo>
                      <a:lnTo>
                        <a:pt x="754672" y="147658"/>
                      </a:lnTo>
                      <a:lnTo>
                        <a:pt x="753931" y="145509"/>
                      </a:lnTo>
                      <a:lnTo>
                        <a:pt x="753518" y="143639"/>
                      </a:lnTo>
                      <a:lnTo>
                        <a:pt x="754210" y="142024"/>
                      </a:lnTo>
                      <a:lnTo>
                        <a:pt x="755946" y="140166"/>
                      </a:lnTo>
                      <a:lnTo>
                        <a:pt x="760524" y="136754"/>
                      </a:lnTo>
                      <a:lnTo>
                        <a:pt x="767762" y="132795"/>
                      </a:lnTo>
                      <a:lnTo>
                        <a:pt x="769838" y="131387"/>
                      </a:lnTo>
                      <a:lnTo>
                        <a:pt x="771562" y="129529"/>
                      </a:lnTo>
                      <a:lnTo>
                        <a:pt x="775278" y="121660"/>
                      </a:lnTo>
                      <a:lnTo>
                        <a:pt x="776553" y="119899"/>
                      </a:lnTo>
                      <a:lnTo>
                        <a:pt x="778909" y="118017"/>
                      </a:lnTo>
                      <a:lnTo>
                        <a:pt x="780451" y="116341"/>
                      </a:lnTo>
                      <a:lnTo>
                        <a:pt x="781605" y="113791"/>
                      </a:lnTo>
                      <a:lnTo>
                        <a:pt x="781945" y="112808"/>
                      </a:lnTo>
                      <a:lnTo>
                        <a:pt x="782066" y="112104"/>
                      </a:lnTo>
                      <a:lnTo>
                        <a:pt x="782066" y="111521"/>
                      </a:lnTo>
                      <a:lnTo>
                        <a:pt x="782005" y="110768"/>
                      </a:lnTo>
                      <a:lnTo>
                        <a:pt x="782248" y="106396"/>
                      </a:lnTo>
                      <a:lnTo>
                        <a:pt x="782527" y="105085"/>
                      </a:lnTo>
                      <a:lnTo>
                        <a:pt x="782697" y="102620"/>
                      </a:lnTo>
                      <a:lnTo>
                        <a:pt x="783560" y="97301"/>
                      </a:lnTo>
                      <a:lnTo>
                        <a:pt x="787397" y="92760"/>
                      </a:lnTo>
                      <a:lnTo>
                        <a:pt x="792910" y="90186"/>
                      </a:lnTo>
                      <a:lnTo>
                        <a:pt x="803486" y="90295"/>
                      </a:lnTo>
                      <a:lnTo>
                        <a:pt x="806753" y="89226"/>
                      </a:lnTo>
                      <a:lnTo>
                        <a:pt x="827663" y="74412"/>
                      </a:lnTo>
                      <a:lnTo>
                        <a:pt x="835301" y="70745"/>
                      </a:lnTo>
                      <a:lnTo>
                        <a:pt x="843910" y="68413"/>
                      </a:lnTo>
                      <a:lnTo>
                        <a:pt x="853612" y="67624"/>
                      </a:lnTo>
                      <a:lnTo>
                        <a:pt x="855798" y="68012"/>
                      </a:lnTo>
                      <a:lnTo>
                        <a:pt x="857340" y="68935"/>
                      </a:lnTo>
                      <a:lnTo>
                        <a:pt x="858202" y="69688"/>
                      </a:lnTo>
                      <a:lnTo>
                        <a:pt x="858724" y="70623"/>
                      </a:lnTo>
                      <a:lnTo>
                        <a:pt x="859526" y="71607"/>
                      </a:lnTo>
                      <a:lnTo>
                        <a:pt x="860509" y="72469"/>
                      </a:lnTo>
                      <a:lnTo>
                        <a:pt x="861760" y="72955"/>
                      </a:lnTo>
                      <a:lnTo>
                        <a:pt x="863314" y="72979"/>
                      </a:lnTo>
                      <a:lnTo>
                        <a:pt x="865318" y="72226"/>
                      </a:lnTo>
                      <a:lnTo>
                        <a:pt x="866751" y="71255"/>
                      </a:lnTo>
                      <a:lnTo>
                        <a:pt x="867795" y="69822"/>
                      </a:lnTo>
                      <a:lnTo>
                        <a:pt x="869337" y="67017"/>
                      </a:lnTo>
                      <a:lnTo>
                        <a:pt x="870612" y="66264"/>
                      </a:lnTo>
                      <a:lnTo>
                        <a:pt x="875834" y="65135"/>
                      </a:lnTo>
                      <a:lnTo>
                        <a:pt x="877898" y="63677"/>
                      </a:lnTo>
                      <a:lnTo>
                        <a:pt x="879501" y="61176"/>
                      </a:lnTo>
                      <a:lnTo>
                        <a:pt x="881626" y="59415"/>
                      </a:lnTo>
                      <a:lnTo>
                        <a:pt x="884735" y="58505"/>
                      </a:lnTo>
                      <a:lnTo>
                        <a:pt x="908680" y="59367"/>
                      </a:lnTo>
                      <a:lnTo>
                        <a:pt x="911218" y="59913"/>
                      </a:lnTo>
                      <a:lnTo>
                        <a:pt x="913671" y="61176"/>
                      </a:lnTo>
                      <a:lnTo>
                        <a:pt x="914776" y="62390"/>
                      </a:lnTo>
                      <a:lnTo>
                        <a:pt x="915565" y="63848"/>
                      </a:lnTo>
                      <a:lnTo>
                        <a:pt x="915857" y="65050"/>
                      </a:lnTo>
                      <a:lnTo>
                        <a:pt x="916197" y="65803"/>
                      </a:lnTo>
                      <a:lnTo>
                        <a:pt x="916719" y="66689"/>
                      </a:lnTo>
                      <a:lnTo>
                        <a:pt x="917812" y="67321"/>
                      </a:lnTo>
                      <a:lnTo>
                        <a:pt x="922001" y="68850"/>
                      </a:lnTo>
                      <a:lnTo>
                        <a:pt x="923847" y="70028"/>
                      </a:lnTo>
                      <a:lnTo>
                        <a:pt x="925098" y="71692"/>
                      </a:lnTo>
                      <a:lnTo>
                        <a:pt x="925790" y="73793"/>
                      </a:lnTo>
                      <a:lnTo>
                        <a:pt x="927684" y="87672"/>
                      </a:lnTo>
                      <a:lnTo>
                        <a:pt x="927684" y="90562"/>
                      </a:lnTo>
                      <a:lnTo>
                        <a:pt x="927405" y="93391"/>
                      </a:lnTo>
                      <a:lnTo>
                        <a:pt x="927563" y="96051"/>
                      </a:lnTo>
                      <a:lnTo>
                        <a:pt x="928485" y="98115"/>
                      </a:lnTo>
                      <a:lnTo>
                        <a:pt x="929809" y="99864"/>
                      </a:lnTo>
                      <a:lnTo>
                        <a:pt x="930501" y="101357"/>
                      </a:lnTo>
                      <a:lnTo>
                        <a:pt x="930088" y="102948"/>
                      </a:lnTo>
                      <a:lnTo>
                        <a:pt x="928485" y="103737"/>
                      </a:lnTo>
                      <a:lnTo>
                        <a:pt x="926421" y="104089"/>
                      </a:lnTo>
                      <a:lnTo>
                        <a:pt x="907928" y="102899"/>
                      </a:lnTo>
                      <a:lnTo>
                        <a:pt x="905523" y="103191"/>
                      </a:lnTo>
                      <a:lnTo>
                        <a:pt x="903969" y="104125"/>
                      </a:lnTo>
                      <a:lnTo>
                        <a:pt x="903277" y="105704"/>
                      </a:lnTo>
                      <a:lnTo>
                        <a:pt x="902997" y="108072"/>
                      </a:lnTo>
                      <a:lnTo>
                        <a:pt x="903058" y="110161"/>
                      </a:lnTo>
                      <a:lnTo>
                        <a:pt x="903337" y="112249"/>
                      </a:lnTo>
                      <a:lnTo>
                        <a:pt x="903508" y="112650"/>
                      </a:lnTo>
                      <a:lnTo>
                        <a:pt x="907539" y="120033"/>
                      </a:lnTo>
                      <a:lnTo>
                        <a:pt x="912651" y="127355"/>
                      </a:lnTo>
                      <a:lnTo>
                        <a:pt x="913440" y="129541"/>
                      </a:lnTo>
                      <a:lnTo>
                        <a:pt x="913793" y="131848"/>
                      </a:lnTo>
                      <a:lnTo>
                        <a:pt x="914193" y="133439"/>
                      </a:lnTo>
                      <a:lnTo>
                        <a:pt x="914873" y="133791"/>
                      </a:lnTo>
                      <a:lnTo>
                        <a:pt x="916318" y="132686"/>
                      </a:lnTo>
                      <a:lnTo>
                        <a:pt x="917751" y="129857"/>
                      </a:lnTo>
                      <a:lnTo>
                        <a:pt x="918613" y="128849"/>
                      </a:lnTo>
                      <a:lnTo>
                        <a:pt x="919706" y="128594"/>
                      </a:lnTo>
                      <a:lnTo>
                        <a:pt x="921940" y="128909"/>
                      </a:lnTo>
                      <a:lnTo>
                        <a:pt x="923434" y="129626"/>
                      </a:lnTo>
                      <a:lnTo>
                        <a:pt x="924818" y="130913"/>
                      </a:lnTo>
                      <a:lnTo>
                        <a:pt x="926081" y="132589"/>
                      </a:lnTo>
                      <a:lnTo>
                        <a:pt x="927405" y="133924"/>
                      </a:lnTo>
                      <a:lnTo>
                        <a:pt x="928898" y="134701"/>
                      </a:lnTo>
                      <a:lnTo>
                        <a:pt x="930671" y="135102"/>
                      </a:lnTo>
                      <a:lnTo>
                        <a:pt x="933039" y="134896"/>
                      </a:lnTo>
                      <a:lnTo>
                        <a:pt x="934982" y="134289"/>
                      </a:lnTo>
                      <a:lnTo>
                        <a:pt x="937969" y="132674"/>
                      </a:lnTo>
                      <a:lnTo>
                        <a:pt x="939863" y="132127"/>
                      </a:lnTo>
                      <a:lnTo>
                        <a:pt x="941928" y="132285"/>
                      </a:lnTo>
                      <a:lnTo>
                        <a:pt x="944284" y="132795"/>
                      </a:lnTo>
                      <a:lnTo>
                        <a:pt x="949104" y="133002"/>
                      </a:lnTo>
                      <a:lnTo>
                        <a:pt x="950537" y="133669"/>
                      </a:lnTo>
                      <a:lnTo>
                        <a:pt x="951691" y="134811"/>
                      </a:lnTo>
                      <a:lnTo>
                        <a:pt x="952662" y="136025"/>
                      </a:lnTo>
                      <a:lnTo>
                        <a:pt x="954095" y="136402"/>
                      </a:lnTo>
                      <a:lnTo>
                        <a:pt x="955929" y="135904"/>
                      </a:lnTo>
                      <a:lnTo>
                        <a:pt x="961794" y="132042"/>
                      </a:lnTo>
                      <a:lnTo>
                        <a:pt x="965242" y="130719"/>
                      </a:lnTo>
                      <a:lnTo>
                        <a:pt x="970002" y="127525"/>
                      </a:lnTo>
                      <a:lnTo>
                        <a:pt x="971265" y="127246"/>
                      </a:lnTo>
                      <a:lnTo>
                        <a:pt x="973341" y="127562"/>
                      </a:lnTo>
                      <a:lnTo>
                        <a:pt x="982230" y="131350"/>
                      </a:lnTo>
                      <a:lnTo>
                        <a:pt x="985727" y="132431"/>
                      </a:lnTo>
                      <a:lnTo>
                        <a:pt x="989358" y="132552"/>
                      </a:lnTo>
                      <a:lnTo>
                        <a:pt x="992977" y="131945"/>
                      </a:lnTo>
                      <a:lnTo>
                        <a:pt x="1015320" y="124659"/>
                      </a:lnTo>
                      <a:lnTo>
                        <a:pt x="1025884" y="119802"/>
                      </a:lnTo>
                      <a:lnTo>
                        <a:pt x="1033340" y="115443"/>
                      </a:lnTo>
                      <a:lnTo>
                        <a:pt x="1036898" y="112686"/>
                      </a:lnTo>
                      <a:lnTo>
                        <a:pt x="1041148" y="108036"/>
                      </a:lnTo>
                      <a:lnTo>
                        <a:pt x="1043382" y="104927"/>
                      </a:lnTo>
                      <a:lnTo>
                        <a:pt x="1045968" y="102377"/>
                      </a:lnTo>
                      <a:lnTo>
                        <a:pt x="1048895" y="100725"/>
                      </a:lnTo>
                      <a:lnTo>
                        <a:pt x="1059362" y="98491"/>
                      </a:lnTo>
                      <a:lnTo>
                        <a:pt x="1068020" y="95443"/>
                      </a:lnTo>
                      <a:lnTo>
                        <a:pt x="1072331" y="89906"/>
                      </a:lnTo>
                      <a:lnTo>
                        <a:pt x="1073654" y="88874"/>
                      </a:lnTo>
                      <a:lnTo>
                        <a:pt x="1075087" y="88291"/>
                      </a:lnTo>
                      <a:lnTo>
                        <a:pt x="1076982" y="87891"/>
                      </a:lnTo>
                      <a:lnTo>
                        <a:pt x="1078475" y="87793"/>
                      </a:lnTo>
                      <a:lnTo>
                        <a:pt x="1082555" y="88121"/>
                      </a:lnTo>
                      <a:lnTo>
                        <a:pt x="1083709" y="88376"/>
                      </a:lnTo>
                      <a:lnTo>
                        <a:pt x="1085931" y="89615"/>
                      </a:lnTo>
                      <a:lnTo>
                        <a:pt x="1087376" y="91533"/>
                      </a:lnTo>
                      <a:lnTo>
                        <a:pt x="1087546" y="96925"/>
                      </a:lnTo>
                      <a:lnTo>
                        <a:pt x="1088979" y="100082"/>
                      </a:lnTo>
                      <a:lnTo>
                        <a:pt x="1089732" y="102523"/>
                      </a:lnTo>
                      <a:lnTo>
                        <a:pt x="1090254" y="107271"/>
                      </a:lnTo>
                      <a:lnTo>
                        <a:pt x="1090193" y="109335"/>
                      </a:lnTo>
                      <a:lnTo>
                        <a:pt x="1089950" y="110088"/>
                      </a:lnTo>
                      <a:lnTo>
                        <a:pt x="1089890" y="110525"/>
                      </a:lnTo>
                      <a:lnTo>
                        <a:pt x="1090072" y="110756"/>
                      </a:lnTo>
                      <a:lnTo>
                        <a:pt x="1090824" y="110962"/>
                      </a:lnTo>
                      <a:lnTo>
                        <a:pt x="1091857" y="111108"/>
                      </a:lnTo>
                      <a:lnTo>
                        <a:pt x="1093569" y="111023"/>
                      </a:lnTo>
                      <a:lnTo>
                        <a:pt x="1095184" y="110598"/>
                      </a:lnTo>
                      <a:lnTo>
                        <a:pt x="1097370" y="109371"/>
                      </a:lnTo>
                      <a:lnTo>
                        <a:pt x="1098863" y="108291"/>
                      </a:lnTo>
                      <a:lnTo>
                        <a:pt x="1100927" y="107125"/>
                      </a:lnTo>
                      <a:lnTo>
                        <a:pt x="1103052" y="106821"/>
                      </a:lnTo>
                      <a:lnTo>
                        <a:pt x="1106149" y="107186"/>
                      </a:lnTo>
                      <a:lnTo>
                        <a:pt x="1108565" y="108254"/>
                      </a:lnTo>
                      <a:lnTo>
                        <a:pt x="1110229" y="109347"/>
                      </a:lnTo>
                      <a:lnTo>
                        <a:pt x="1113787" y="112480"/>
                      </a:lnTo>
                      <a:lnTo>
                        <a:pt x="1115110" y="113209"/>
                      </a:lnTo>
                      <a:lnTo>
                        <a:pt x="1127326" y="116475"/>
                      </a:lnTo>
                      <a:lnTo>
                        <a:pt x="1140380" y="117373"/>
                      </a:lnTo>
                      <a:lnTo>
                        <a:pt x="1144108" y="117082"/>
                      </a:lnTo>
                      <a:lnTo>
                        <a:pt x="1148236" y="115588"/>
                      </a:lnTo>
                      <a:lnTo>
                        <a:pt x="1159784" y="114532"/>
                      </a:lnTo>
                      <a:lnTo>
                        <a:pt x="1167131" y="112213"/>
                      </a:lnTo>
                      <a:lnTo>
                        <a:pt x="1172134" y="111266"/>
                      </a:lnTo>
                      <a:lnTo>
                        <a:pt x="1179431" y="110610"/>
                      </a:lnTo>
                      <a:lnTo>
                        <a:pt x="1181957" y="109711"/>
                      </a:lnTo>
                      <a:lnTo>
                        <a:pt x="1184131" y="107525"/>
                      </a:lnTo>
                      <a:lnTo>
                        <a:pt x="1184702" y="105631"/>
                      </a:lnTo>
                      <a:lnTo>
                        <a:pt x="1184483" y="103834"/>
                      </a:lnTo>
                      <a:lnTo>
                        <a:pt x="1183669" y="101988"/>
                      </a:lnTo>
                      <a:lnTo>
                        <a:pt x="1182977" y="99900"/>
                      </a:lnTo>
                      <a:lnTo>
                        <a:pt x="1182747" y="98260"/>
                      </a:lnTo>
                      <a:lnTo>
                        <a:pt x="1184641" y="96281"/>
                      </a:lnTo>
                      <a:lnTo>
                        <a:pt x="1188089" y="94703"/>
                      </a:lnTo>
                      <a:lnTo>
                        <a:pt x="1196638" y="92116"/>
                      </a:lnTo>
                      <a:lnTo>
                        <a:pt x="1212667" y="90283"/>
                      </a:lnTo>
                      <a:lnTo>
                        <a:pt x="1219102" y="88510"/>
                      </a:lnTo>
                      <a:lnTo>
                        <a:pt x="1228623" y="84855"/>
                      </a:lnTo>
                      <a:lnTo>
                        <a:pt x="1233856" y="83592"/>
                      </a:lnTo>
                      <a:lnTo>
                        <a:pt x="1237875" y="82098"/>
                      </a:lnTo>
                      <a:lnTo>
                        <a:pt x="1240013" y="80265"/>
                      </a:lnTo>
                      <a:lnTo>
                        <a:pt x="1241324" y="76670"/>
                      </a:lnTo>
                      <a:lnTo>
                        <a:pt x="1241664" y="74266"/>
                      </a:lnTo>
                      <a:lnTo>
                        <a:pt x="1241664" y="72372"/>
                      </a:lnTo>
                      <a:lnTo>
                        <a:pt x="1241955" y="71340"/>
                      </a:lnTo>
                      <a:lnTo>
                        <a:pt x="1242417" y="70660"/>
                      </a:lnTo>
                      <a:lnTo>
                        <a:pt x="1245914" y="70368"/>
                      </a:lnTo>
                      <a:lnTo>
                        <a:pt x="1252751" y="73586"/>
                      </a:lnTo>
                      <a:lnTo>
                        <a:pt x="1255276" y="74327"/>
                      </a:lnTo>
                      <a:lnTo>
                        <a:pt x="1259636" y="75080"/>
                      </a:lnTo>
                      <a:lnTo>
                        <a:pt x="1266642" y="74885"/>
                      </a:lnTo>
                      <a:lnTo>
                        <a:pt x="1269690" y="75226"/>
                      </a:lnTo>
                      <a:lnTo>
                        <a:pt x="1272216" y="75043"/>
                      </a:lnTo>
                      <a:lnTo>
                        <a:pt x="1274851" y="75165"/>
                      </a:lnTo>
                      <a:lnTo>
                        <a:pt x="1277389" y="75699"/>
                      </a:lnTo>
                      <a:lnTo>
                        <a:pt x="1285706" y="78662"/>
                      </a:lnTo>
                      <a:lnTo>
                        <a:pt x="1288584" y="80362"/>
                      </a:lnTo>
                      <a:lnTo>
                        <a:pt x="1290879" y="85049"/>
                      </a:lnTo>
                      <a:lnTo>
                        <a:pt x="1297364" y="89032"/>
                      </a:lnTo>
                      <a:lnTo>
                        <a:pt x="1298165" y="93233"/>
                      </a:lnTo>
                      <a:lnTo>
                        <a:pt x="1298627" y="94521"/>
                      </a:lnTo>
                      <a:lnTo>
                        <a:pt x="1299270" y="95589"/>
                      </a:lnTo>
                      <a:lnTo>
                        <a:pt x="1299889" y="97046"/>
                      </a:lnTo>
                      <a:lnTo>
                        <a:pt x="1300290" y="98625"/>
                      </a:lnTo>
                      <a:lnTo>
                        <a:pt x="1300812" y="102644"/>
                      </a:lnTo>
                      <a:lnTo>
                        <a:pt x="1301614" y="104077"/>
                      </a:lnTo>
                      <a:lnTo>
                        <a:pt x="1303399" y="104830"/>
                      </a:lnTo>
                      <a:lnTo>
                        <a:pt x="1305572" y="104624"/>
                      </a:lnTo>
                      <a:lnTo>
                        <a:pt x="1309944" y="103166"/>
                      </a:lnTo>
                      <a:lnTo>
                        <a:pt x="1312518" y="101576"/>
                      </a:lnTo>
                      <a:lnTo>
                        <a:pt x="1316137" y="98564"/>
                      </a:lnTo>
                      <a:lnTo>
                        <a:pt x="1319367" y="96451"/>
                      </a:lnTo>
                      <a:lnTo>
                        <a:pt x="1321249" y="95710"/>
                      </a:lnTo>
                      <a:lnTo>
                        <a:pt x="1323556" y="95383"/>
                      </a:lnTo>
                      <a:lnTo>
                        <a:pt x="1329579" y="95965"/>
                      </a:lnTo>
                      <a:lnTo>
                        <a:pt x="1339694" y="93974"/>
                      </a:lnTo>
                      <a:lnTo>
                        <a:pt x="1343932" y="94375"/>
                      </a:lnTo>
                      <a:lnTo>
                        <a:pt x="1347150" y="95201"/>
                      </a:lnTo>
                      <a:lnTo>
                        <a:pt x="1349906" y="96779"/>
                      </a:lnTo>
                      <a:lnTo>
                        <a:pt x="1351570" y="98819"/>
                      </a:lnTo>
                      <a:lnTo>
                        <a:pt x="1352772" y="101260"/>
                      </a:lnTo>
                      <a:lnTo>
                        <a:pt x="1353816" y="103956"/>
                      </a:lnTo>
                      <a:lnTo>
                        <a:pt x="1355006" y="105716"/>
                      </a:lnTo>
                      <a:lnTo>
                        <a:pt x="1356743" y="106688"/>
                      </a:lnTo>
                      <a:lnTo>
                        <a:pt x="1359086" y="106918"/>
                      </a:lnTo>
                      <a:lnTo>
                        <a:pt x="1362486" y="106664"/>
                      </a:lnTo>
                      <a:lnTo>
                        <a:pt x="1365522" y="106093"/>
                      </a:lnTo>
                      <a:lnTo>
                        <a:pt x="1369092" y="104963"/>
                      </a:lnTo>
                      <a:lnTo>
                        <a:pt x="1370294" y="104138"/>
                      </a:lnTo>
                      <a:lnTo>
                        <a:pt x="1372468" y="101758"/>
                      </a:lnTo>
                      <a:lnTo>
                        <a:pt x="1374726" y="101418"/>
                      </a:lnTo>
                      <a:lnTo>
                        <a:pt x="1378442" y="100179"/>
                      </a:lnTo>
                      <a:lnTo>
                        <a:pt x="1380810" y="100289"/>
                      </a:lnTo>
                      <a:lnTo>
                        <a:pt x="1380968" y="100725"/>
                      </a:lnTo>
                      <a:lnTo>
                        <a:pt x="1380907" y="101551"/>
                      </a:lnTo>
                      <a:lnTo>
                        <a:pt x="1381138" y="102413"/>
                      </a:lnTo>
                      <a:lnTo>
                        <a:pt x="1382061" y="102960"/>
                      </a:lnTo>
                      <a:lnTo>
                        <a:pt x="1383044" y="103069"/>
                      </a:lnTo>
                      <a:lnTo>
                        <a:pt x="1385910" y="102960"/>
                      </a:lnTo>
                      <a:lnTo>
                        <a:pt x="1399984" y="98394"/>
                      </a:lnTo>
                      <a:lnTo>
                        <a:pt x="1401586" y="94435"/>
                      </a:lnTo>
                      <a:lnTo>
                        <a:pt x="1405254" y="91995"/>
                      </a:lnTo>
                      <a:lnTo>
                        <a:pt x="1415721" y="88668"/>
                      </a:lnTo>
                      <a:lnTo>
                        <a:pt x="1417725" y="87599"/>
                      </a:lnTo>
                      <a:lnTo>
                        <a:pt x="1419109" y="86445"/>
                      </a:lnTo>
                      <a:lnTo>
                        <a:pt x="1419959" y="85073"/>
                      </a:lnTo>
                      <a:lnTo>
                        <a:pt x="1423007" y="87854"/>
                      </a:lnTo>
                      <a:lnTo>
                        <a:pt x="1431434" y="93464"/>
                      </a:lnTo>
                      <a:lnTo>
                        <a:pt x="1436728" y="95844"/>
                      </a:lnTo>
                      <a:lnTo>
                        <a:pt x="1443103" y="96706"/>
                      </a:lnTo>
                      <a:lnTo>
                        <a:pt x="1444184" y="97593"/>
                      </a:lnTo>
                      <a:lnTo>
                        <a:pt x="1444706" y="99001"/>
                      </a:lnTo>
                      <a:lnTo>
                        <a:pt x="1444767" y="100580"/>
                      </a:lnTo>
                      <a:lnTo>
                        <a:pt x="1444998" y="102474"/>
                      </a:lnTo>
                      <a:lnTo>
                        <a:pt x="1445617" y="104393"/>
                      </a:lnTo>
                      <a:lnTo>
                        <a:pt x="1448216" y="107428"/>
                      </a:lnTo>
                      <a:lnTo>
                        <a:pt x="1457687" y="113925"/>
                      </a:lnTo>
                      <a:lnTo>
                        <a:pt x="1460443" y="116329"/>
                      </a:lnTo>
                      <a:lnTo>
                        <a:pt x="1462168" y="118600"/>
                      </a:lnTo>
                      <a:lnTo>
                        <a:pt x="1462738" y="120276"/>
                      </a:lnTo>
                      <a:lnTo>
                        <a:pt x="1463261" y="122911"/>
                      </a:lnTo>
                      <a:lnTo>
                        <a:pt x="1463212" y="123979"/>
                      </a:lnTo>
                      <a:lnTo>
                        <a:pt x="1462969" y="124732"/>
                      </a:lnTo>
                      <a:lnTo>
                        <a:pt x="1462398" y="125643"/>
                      </a:lnTo>
                      <a:lnTo>
                        <a:pt x="1459059" y="129177"/>
                      </a:lnTo>
                      <a:lnTo>
                        <a:pt x="1458719" y="130549"/>
                      </a:lnTo>
                      <a:lnTo>
                        <a:pt x="1459120" y="132188"/>
                      </a:lnTo>
                      <a:lnTo>
                        <a:pt x="1460443" y="133196"/>
                      </a:lnTo>
                      <a:lnTo>
                        <a:pt x="1461816" y="133657"/>
                      </a:lnTo>
                      <a:lnTo>
                        <a:pt x="1463831" y="133596"/>
                      </a:lnTo>
                      <a:lnTo>
                        <a:pt x="1465556" y="133317"/>
                      </a:lnTo>
                      <a:lnTo>
                        <a:pt x="1470607" y="131702"/>
                      </a:lnTo>
                      <a:lnTo>
                        <a:pt x="1472101" y="131423"/>
                      </a:lnTo>
                      <a:lnTo>
                        <a:pt x="1473764" y="131399"/>
                      </a:lnTo>
                      <a:lnTo>
                        <a:pt x="1475780" y="131739"/>
                      </a:lnTo>
                      <a:lnTo>
                        <a:pt x="1479216" y="133026"/>
                      </a:lnTo>
                      <a:lnTo>
                        <a:pt x="1499714" y="145472"/>
                      </a:lnTo>
                      <a:lnTo>
                        <a:pt x="1502300" y="146516"/>
                      </a:lnTo>
                      <a:lnTo>
                        <a:pt x="1503745" y="146334"/>
                      </a:lnTo>
                      <a:lnTo>
                        <a:pt x="1504826" y="145934"/>
                      </a:lnTo>
                      <a:lnTo>
                        <a:pt x="1505749" y="145351"/>
                      </a:lnTo>
                      <a:lnTo>
                        <a:pt x="1509258" y="142594"/>
                      </a:lnTo>
                      <a:lnTo>
                        <a:pt x="1512294" y="141684"/>
                      </a:lnTo>
                      <a:lnTo>
                        <a:pt x="1512184" y="151325"/>
                      </a:lnTo>
                      <a:lnTo>
                        <a:pt x="1509950" y="155721"/>
                      </a:lnTo>
                      <a:lnTo>
                        <a:pt x="1504486" y="161173"/>
                      </a:lnTo>
                      <a:lnTo>
                        <a:pt x="1502312" y="162946"/>
                      </a:lnTo>
                      <a:lnTo>
                        <a:pt x="1487838" y="170013"/>
                      </a:lnTo>
                      <a:lnTo>
                        <a:pt x="1475841" y="177651"/>
                      </a:lnTo>
                      <a:lnTo>
                        <a:pt x="1473606" y="179715"/>
                      </a:lnTo>
                      <a:lnTo>
                        <a:pt x="1472222" y="181513"/>
                      </a:lnTo>
                      <a:lnTo>
                        <a:pt x="1471117" y="183868"/>
                      </a:lnTo>
                      <a:lnTo>
                        <a:pt x="1470607" y="185908"/>
                      </a:lnTo>
                      <a:lnTo>
                        <a:pt x="1468834" y="198476"/>
                      </a:lnTo>
                      <a:lnTo>
                        <a:pt x="1466770" y="205665"/>
                      </a:lnTo>
                      <a:lnTo>
                        <a:pt x="1466478" y="207814"/>
                      </a:lnTo>
                      <a:lnTo>
                        <a:pt x="1466588" y="210656"/>
                      </a:lnTo>
                      <a:lnTo>
                        <a:pt x="1467681" y="214639"/>
                      </a:lnTo>
                      <a:lnTo>
                        <a:pt x="1469344" y="218488"/>
                      </a:lnTo>
                      <a:lnTo>
                        <a:pt x="1470437" y="220127"/>
                      </a:lnTo>
                      <a:lnTo>
                        <a:pt x="1471870" y="221815"/>
                      </a:lnTo>
                      <a:lnTo>
                        <a:pt x="1473424" y="222981"/>
                      </a:lnTo>
                      <a:lnTo>
                        <a:pt x="1475209" y="223831"/>
                      </a:lnTo>
                      <a:lnTo>
                        <a:pt x="1477104" y="224171"/>
                      </a:lnTo>
                      <a:lnTo>
                        <a:pt x="1478366" y="224207"/>
                      </a:lnTo>
                      <a:lnTo>
                        <a:pt x="1479338" y="224025"/>
                      </a:lnTo>
                      <a:lnTo>
                        <a:pt x="1482264" y="223017"/>
                      </a:lnTo>
                      <a:lnTo>
                        <a:pt x="1483867" y="222653"/>
                      </a:lnTo>
                      <a:lnTo>
                        <a:pt x="1485081" y="222738"/>
                      </a:lnTo>
                      <a:lnTo>
                        <a:pt x="1486466" y="223430"/>
                      </a:lnTo>
                      <a:lnTo>
                        <a:pt x="1487668" y="224741"/>
                      </a:lnTo>
                      <a:lnTo>
                        <a:pt x="1488530" y="226296"/>
                      </a:lnTo>
                      <a:lnTo>
                        <a:pt x="1488979" y="228542"/>
                      </a:lnTo>
                      <a:lnTo>
                        <a:pt x="1489222" y="230303"/>
                      </a:lnTo>
                      <a:lnTo>
                        <a:pt x="1489331" y="234407"/>
                      </a:lnTo>
                      <a:lnTo>
                        <a:pt x="1489392" y="253411"/>
                      </a:lnTo>
                      <a:lnTo>
                        <a:pt x="1492428" y="269719"/>
                      </a:lnTo>
                      <a:lnTo>
                        <a:pt x="1492027" y="272706"/>
                      </a:lnTo>
                      <a:lnTo>
                        <a:pt x="1491116" y="274625"/>
                      </a:lnTo>
                      <a:lnTo>
                        <a:pt x="1489793" y="275657"/>
                      </a:lnTo>
                      <a:lnTo>
                        <a:pt x="1481924" y="279360"/>
                      </a:lnTo>
                      <a:lnTo>
                        <a:pt x="1480431" y="280708"/>
                      </a:lnTo>
                      <a:lnTo>
                        <a:pt x="1479277" y="282287"/>
                      </a:lnTo>
                      <a:lnTo>
                        <a:pt x="1478026" y="285104"/>
                      </a:lnTo>
                      <a:lnTo>
                        <a:pt x="1477723" y="286901"/>
                      </a:lnTo>
                      <a:lnTo>
                        <a:pt x="1477784" y="288577"/>
                      </a:lnTo>
                      <a:lnTo>
                        <a:pt x="1478184" y="289548"/>
                      </a:lnTo>
                      <a:lnTo>
                        <a:pt x="1478937" y="290240"/>
                      </a:lnTo>
                      <a:lnTo>
                        <a:pt x="1479909" y="290726"/>
                      </a:lnTo>
                      <a:lnTo>
                        <a:pt x="1481524" y="290981"/>
                      </a:lnTo>
                      <a:lnTo>
                        <a:pt x="1483187" y="290751"/>
                      </a:lnTo>
                      <a:lnTo>
                        <a:pt x="1484790" y="290131"/>
                      </a:lnTo>
                      <a:lnTo>
                        <a:pt x="1487607" y="288528"/>
                      </a:lnTo>
                      <a:lnTo>
                        <a:pt x="1490934" y="286100"/>
                      </a:lnTo>
                      <a:lnTo>
                        <a:pt x="1492149" y="285638"/>
                      </a:lnTo>
                      <a:lnTo>
                        <a:pt x="1493642" y="285456"/>
                      </a:lnTo>
                      <a:lnTo>
                        <a:pt x="1494844" y="285541"/>
                      </a:lnTo>
                      <a:lnTo>
                        <a:pt x="1497661" y="286343"/>
                      </a:lnTo>
                      <a:lnTo>
                        <a:pt x="1498973" y="286925"/>
                      </a:lnTo>
                      <a:lnTo>
                        <a:pt x="1500236" y="287593"/>
                      </a:lnTo>
                      <a:lnTo>
                        <a:pt x="1501669" y="288613"/>
                      </a:lnTo>
                      <a:lnTo>
                        <a:pt x="1501960" y="289536"/>
                      </a:lnTo>
                      <a:lnTo>
                        <a:pt x="1501912" y="290507"/>
                      </a:lnTo>
                      <a:lnTo>
                        <a:pt x="1501729" y="291601"/>
                      </a:lnTo>
                      <a:lnTo>
                        <a:pt x="1501401" y="300185"/>
                      </a:lnTo>
                      <a:lnTo>
                        <a:pt x="1501669" y="301679"/>
                      </a:lnTo>
                      <a:lnTo>
                        <a:pt x="1502191" y="302857"/>
                      </a:lnTo>
                      <a:lnTo>
                        <a:pt x="1502895" y="303695"/>
                      </a:lnTo>
                      <a:lnTo>
                        <a:pt x="1504024" y="305941"/>
                      </a:lnTo>
                      <a:lnTo>
                        <a:pt x="1503223" y="308248"/>
                      </a:lnTo>
                      <a:lnTo>
                        <a:pt x="1501960" y="310300"/>
                      </a:lnTo>
                      <a:lnTo>
                        <a:pt x="1500697" y="313519"/>
                      </a:lnTo>
                      <a:lnTo>
                        <a:pt x="1500187" y="315315"/>
                      </a:lnTo>
                      <a:lnTo>
                        <a:pt x="1499665" y="327641"/>
                      </a:lnTo>
                      <a:lnTo>
                        <a:pt x="1499908" y="330774"/>
                      </a:lnTo>
                      <a:lnTo>
                        <a:pt x="1500588" y="333481"/>
                      </a:lnTo>
                      <a:lnTo>
                        <a:pt x="1501401" y="335424"/>
                      </a:lnTo>
                      <a:lnTo>
                        <a:pt x="1502421" y="339104"/>
                      </a:lnTo>
                      <a:lnTo>
                        <a:pt x="1502470" y="340937"/>
                      </a:lnTo>
                      <a:lnTo>
                        <a:pt x="1501669" y="342370"/>
                      </a:lnTo>
                      <a:lnTo>
                        <a:pt x="1500467" y="342977"/>
                      </a:lnTo>
                      <a:lnTo>
                        <a:pt x="1496617" y="344349"/>
                      </a:lnTo>
                      <a:lnTo>
                        <a:pt x="1494796" y="345321"/>
                      </a:lnTo>
                      <a:lnTo>
                        <a:pt x="1492780" y="346875"/>
                      </a:lnTo>
                      <a:lnTo>
                        <a:pt x="1487607" y="351781"/>
                      </a:lnTo>
                      <a:lnTo>
                        <a:pt x="1485142" y="353420"/>
                      </a:lnTo>
                      <a:lnTo>
                        <a:pt x="1482726" y="354282"/>
                      </a:lnTo>
                      <a:lnTo>
                        <a:pt x="1480710" y="354683"/>
                      </a:lnTo>
                      <a:lnTo>
                        <a:pt x="1470048" y="355764"/>
                      </a:lnTo>
                      <a:lnTo>
                        <a:pt x="1467681" y="356541"/>
                      </a:lnTo>
                      <a:lnTo>
                        <a:pt x="1465847" y="357804"/>
                      </a:lnTo>
                      <a:lnTo>
                        <a:pt x="1464523" y="360305"/>
                      </a:lnTo>
                      <a:lnTo>
                        <a:pt x="1464353" y="362588"/>
                      </a:lnTo>
                      <a:lnTo>
                        <a:pt x="1464523" y="364713"/>
                      </a:lnTo>
                      <a:lnTo>
                        <a:pt x="1464475" y="367494"/>
                      </a:lnTo>
                      <a:lnTo>
                        <a:pt x="1462629" y="373747"/>
                      </a:lnTo>
                      <a:lnTo>
                        <a:pt x="1462629" y="375703"/>
                      </a:lnTo>
                      <a:lnTo>
                        <a:pt x="1463382" y="376941"/>
                      </a:lnTo>
                      <a:lnTo>
                        <a:pt x="1464924" y="377463"/>
                      </a:lnTo>
                      <a:lnTo>
                        <a:pt x="1480030" y="378289"/>
                      </a:lnTo>
                      <a:lnTo>
                        <a:pt x="1481524" y="378568"/>
                      </a:lnTo>
                      <a:lnTo>
                        <a:pt x="1482835" y="378969"/>
                      </a:lnTo>
                      <a:lnTo>
                        <a:pt x="1484450" y="379661"/>
                      </a:lnTo>
                      <a:lnTo>
                        <a:pt x="1488700" y="391719"/>
                      </a:lnTo>
                      <a:lnTo>
                        <a:pt x="1489441" y="396564"/>
                      </a:lnTo>
                      <a:lnTo>
                        <a:pt x="1489161" y="398920"/>
                      </a:lnTo>
                      <a:lnTo>
                        <a:pt x="1488931" y="399855"/>
                      </a:lnTo>
                      <a:lnTo>
                        <a:pt x="1488469" y="401118"/>
                      </a:lnTo>
                      <a:lnTo>
                        <a:pt x="1487158" y="406169"/>
                      </a:lnTo>
                      <a:lnTo>
                        <a:pt x="1485992" y="416758"/>
                      </a:lnTo>
                      <a:lnTo>
                        <a:pt x="1485300" y="419660"/>
                      </a:lnTo>
                      <a:lnTo>
                        <a:pt x="1484559" y="421433"/>
                      </a:lnTo>
                      <a:lnTo>
                        <a:pt x="1483588" y="421870"/>
                      </a:lnTo>
                      <a:lnTo>
                        <a:pt x="1482264" y="421919"/>
                      </a:lnTo>
                      <a:lnTo>
                        <a:pt x="1480491" y="421664"/>
                      </a:lnTo>
                      <a:lnTo>
                        <a:pt x="1478415" y="420935"/>
                      </a:lnTo>
                      <a:lnTo>
                        <a:pt x="1472562" y="417948"/>
                      </a:lnTo>
                      <a:lnTo>
                        <a:pt x="1471238" y="417462"/>
                      </a:lnTo>
                      <a:lnTo>
                        <a:pt x="1469745" y="418008"/>
                      </a:lnTo>
                      <a:lnTo>
                        <a:pt x="1468373" y="419393"/>
                      </a:lnTo>
                      <a:lnTo>
                        <a:pt x="1465847" y="423193"/>
                      </a:lnTo>
                      <a:lnTo>
                        <a:pt x="1464985" y="425173"/>
                      </a:lnTo>
                      <a:lnTo>
                        <a:pt x="1464693" y="426873"/>
                      </a:lnTo>
                      <a:lnTo>
                        <a:pt x="1465094" y="427759"/>
                      </a:lnTo>
                      <a:lnTo>
                        <a:pt x="1465968" y="428585"/>
                      </a:lnTo>
                      <a:lnTo>
                        <a:pt x="1466940" y="429204"/>
                      </a:lnTo>
                      <a:lnTo>
                        <a:pt x="1468312" y="429654"/>
                      </a:lnTo>
                      <a:lnTo>
                        <a:pt x="1473716" y="430540"/>
                      </a:lnTo>
                      <a:lnTo>
                        <a:pt x="1475100" y="431087"/>
                      </a:lnTo>
                      <a:lnTo>
                        <a:pt x="1475901" y="432033"/>
                      </a:lnTo>
                      <a:lnTo>
                        <a:pt x="1476132" y="434219"/>
                      </a:lnTo>
                      <a:lnTo>
                        <a:pt x="1475549" y="435980"/>
                      </a:lnTo>
                      <a:lnTo>
                        <a:pt x="1474796" y="437437"/>
                      </a:lnTo>
                      <a:lnTo>
                        <a:pt x="1474116" y="438360"/>
                      </a:lnTo>
                      <a:lnTo>
                        <a:pt x="1473424" y="439076"/>
                      </a:lnTo>
                      <a:lnTo>
                        <a:pt x="1471809" y="440254"/>
                      </a:lnTo>
                      <a:lnTo>
                        <a:pt x="1468834" y="441723"/>
                      </a:lnTo>
                      <a:lnTo>
                        <a:pt x="1465276" y="442914"/>
                      </a:lnTo>
                      <a:lnTo>
                        <a:pt x="1463382" y="443824"/>
                      </a:lnTo>
                      <a:lnTo>
                        <a:pt x="1462046" y="445136"/>
                      </a:lnTo>
                      <a:lnTo>
                        <a:pt x="1461658" y="446508"/>
                      </a:lnTo>
                      <a:lnTo>
                        <a:pt x="1462107" y="448147"/>
                      </a:lnTo>
                      <a:lnTo>
                        <a:pt x="1463661" y="449240"/>
                      </a:lnTo>
                      <a:lnTo>
                        <a:pt x="1465908" y="450163"/>
                      </a:lnTo>
                      <a:lnTo>
                        <a:pt x="1470959" y="451341"/>
                      </a:lnTo>
                      <a:lnTo>
                        <a:pt x="1473024" y="451571"/>
                      </a:lnTo>
                      <a:lnTo>
                        <a:pt x="1474736" y="451523"/>
                      </a:lnTo>
                      <a:lnTo>
                        <a:pt x="1475780" y="451207"/>
                      </a:lnTo>
                      <a:lnTo>
                        <a:pt x="1476351" y="450600"/>
                      </a:lnTo>
                      <a:lnTo>
                        <a:pt x="1476533" y="449993"/>
                      </a:lnTo>
                      <a:lnTo>
                        <a:pt x="1476472" y="449192"/>
                      </a:lnTo>
                      <a:lnTo>
                        <a:pt x="1476351" y="448196"/>
                      </a:lnTo>
                      <a:lnTo>
                        <a:pt x="1476290" y="447273"/>
                      </a:lnTo>
                      <a:lnTo>
                        <a:pt x="1476411" y="446302"/>
                      </a:lnTo>
                      <a:lnTo>
                        <a:pt x="1476812" y="445123"/>
                      </a:lnTo>
                      <a:lnTo>
                        <a:pt x="1477662" y="443861"/>
                      </a:lnTo>
                      <a:lnTo>
                        <a:pt x="1478876" y="442853"/>
                      </a:lnTo>
                      <a:lnTo>
                        <a:pt x="1480431" y="442100"/>
                      </a:lnTo>
                      <a:lnTo>
                        <a:pt x="1482204" y="441796"/>
                      </a:lnTo>
                      <a:lnTo>
                        <a:pt x="1484049" y="441978"/>
                      </a:lnTo>
                      <a:lnTo>
                        <a:pt x="1485822" y="442853"/>
                      </a:lnTo>
                      <a:lnTo>
                        <a:pt x="1487097" y="444589"/>
                      </a:lnTo>
                      <a:lnTo>
                        <a:pt x="1487838" y="446472"/>
                      </a:lnTo>
                      <a:lnTo>
                        <a:pt x="1489623" y="453721"/>
                      </a:lnTo>
                      <a:lnTo>
                        <a:pt x="1490995" y="456732"/>
                      </a:lnTo>
                      <a:lnTo>
                        <a:pt x="1492719" y="458894"/>
                      </a:lnTo>
                      <a:lnTo>
                        <a:pt x="1495063" y="460812"/>
                      </a:lnTo>
                      <a:lnTo>
                        <a:pt x="1497479" y="461820"/>
                      </a:lnTo>
                      <a:lnTo>
                        <a:pt x="1504717" y="463484"/>
                      </a:lnTo>
                      <a:lnTo>
                        <a:pt x="1506841" y="464237"/>
                      </a:lnTo>
                      <a:lnTo>
                        <a:pt x="1508554" y="465269"/>
                      </a:lnTo>
                      <a:lnTo>
                        <a:pt x="1510169" y="466641"/>
                      </a:lnTo>
                      <a:lnTo>
                        <a:pt x="1511662" y="469045"/>
                      </a:lnTo>
                      <a:lnTo>
                        <a:pt x="1513447" y="479646"/>
                      </a:lnTo>
                      <a:lnTo>
                        <a:pt x="1514649" y="482451"/>
                      </a:lnTo>
                      <a:lnTo>
                        <a:pt x="1516495" y="484430"/>
                      </a:lnTo>
                      <a:lnTo>
                        <a:pt x="1518669" y="485414"/>
                      </a:lnTo>
                      <a:lnTo>
                        <a:pt x="1527691" y="487842"/>
                      </a:lnTo>
                      <a:lnTo>
                        <a:pt x="1530557" y="489190"/>
                      </a:lnTo>
                      <a:lnTo>
                        <a:pt x="1536191" y="493440"/>
                      </a:lnTo>
                      <a:lnTo>
                        <a:pt x="1537733" y="493902"/>
                      </a:lnTo>
                      <a:lnTo>
                        <a:pt x="1539166" y="493962"/>
                      </a:lnTo>
                      <a:lnTo>
                        <a:pt x="1540781" y="494242"/>
                      </a:lnTo>
                      <a:lnTo>
                        <a:pt x="1542153" y="495007"/>
                      </a:lnTo>
                      <a:lnTo>
                        <a:pt x="1545262" y="498237"/>
                      </a:lnTo>
                      <a:lnTo>
                        <a:pt x="1549682" y="502050"/>
                      </a:lnTo>
                      <a:lnTo>
                        <a:pt x="1552608" y="506433"/>
                      </a:lnTo>
                      <a:lnTo>
                        <a:pt x="1553179" y="509542"/>
                      </a:lnTo>
                      <a:lnTo>
                        <a:pt x="1552900" y="512736"/>
                      </a:lnTo>
                      <a:lnTo>
                        <a:pt x="1551685" y="515346"/>
                      </a:lnTo>
                      <a:lnTo>
                        <a:pt x="1550192" y="517471"/>
                      </a:lnTo>
                      <a:lnTo>
                        <a:pt x="1548006" y="519147"/>
                      </a:lnTo>
                      <a:lnTo>
                        <a:pt x="1545140" y="520082"/>
                      </a:lnTo>
                      <a:lnTo>
                        <a:pt x="1539749" y="520713"/>
                      </a:lnTo>
                      <a:lnTo>
                        <a:pt x="1537563" y="521272"/>
                      </a:lnTo>
                      <a:lnTo>
                        <a:pt x="1536070" y="522243"/>
                      </a:lnTo>
                      <a:lnTo>
                        <a:pt x="1535487" y="524016"/>
                      </a:lnTo>
                      <a:lnTo>
                        <a:pt x="1536009" y="525595"/>
                      </a:lnTo>
                      <a:lnTo>
                        <a:pt x="1539348" y="530076"/>
                      </a:lnTo>
                      <a:lnTo>
                        <a:pt x="1541012" y="533512"/>
                      </a:lnTo>
                      <a:lnTo>
                        <a:pt x="1540781" y="535698"/>
                      </a:lnTo>
                      <a:lnTo>
                        <a:pt x="1539288" y="537288"/>
                      </a:lnTo>
                      <a:lnTo>
                        <a:pt x="1532050" y="540094"/>
                      </a:lnTo>
                      <a:lnTo>
                        <a:pt x="1527691" y="542643"/>
                      </a:lnTo>
                      <a:lnTo>
                        <a:pt x="1525845" y="544113"/>
                      </a:lnTo>
                      <a:lnTo>
                        <a:pt x="1523210" y="546517"/>
                      </a:lnTo>
                      <a:lnTo>
                        <a:pt x="1520855" y="549286"/>
                      </a:lnTo>
                      <a:lnTo>
                        <a:pt x="1520114" y="549820"/>
                      </a:lnTo>
                      <a:lnTo>
                        <a:pt x="1519361" y="549626"/>
                      </a:lnTo>
                      <a:lnTo>
                        <a:pt x="1518207" y="546493"/>
                      </a:lnTo>
                      <a:lnTo>
                        <a:pt x="1514370" y="540166"/>
                      </a:lnTo>
                      <a:lnTo>
                        <a:pt x="1512476" y="538163"/>
                      </a:lnTo>
                      <a:lnTo>
                        <a:pt x="1507424" y="537981"/>
                      </a:lnTo>
                      <a:lnTo>
                        <a:pt x="1503806" y="539073"/>
                      </a:lnTo>
                      <a:lnTo>
                        <a:pt x="1500758" y="538734"/>
                      </a:lnTo>
                      <a:lnTo>
                        <a:pt x="1497540" y="534229"/>
                      </a:lnTo>
                      <a:lnTo>
                        <a:pt x="1495063" y="526408"/>
                      </a:lnTo>
                      <a:lnTo>
                        <a:pt x="1493011" y="524429"/>
                      </a:lnTo>
                      <a:lnTo>
                        <a:pt x="1488761" y="525437"/>
                      </a:lnTo>
                      <a:lnTo>
                        <a:pt x="1486745" y="527052"/>
                      </a:lnTo>
                      <a:lnTo>
                        <a:pt x="1483709" y="531581"/>
                      </a:lnTo>
                      <a:lnTo>
                        <a:pt x="1481924" y="533561"/>
                      </a:lnTo>
                      <a:lnTo>
                        <a:pt x="1480309" y="534483"/>
                      </a:lnTo>
                      <a:lnTo>
                        <a:pt x="1476812" y="535662"/>
                      </a:lnTo>
                      <a:lnTo>
                        <a:pt x="1475148" y="536791"/>
                      </a:lnTo>
                      <a:lnTo>
                        <a:pt x="1473303" y="539243"/>
                      </a:lnTo>
                      <a:lnTo>
                        <a:pt x="1470558" y="545254"/>
                      </a:lnTo>
                      <a:lnTo>
                        <a:pt x="1468834" y="547780"/>
                      </a:lnTo>
                      <a:lnTo>
                        <a:pt x="1466940" y="549091"/>
                      </a:lnTo>
                      <a:lnTo>
                        <a:pt x="1462568" y="550864"/>
                      </a:lnTo>
                      <a:lnTo>
                        <a:pt x="1460965" y="551982"/>
                      </a:lnTo>
                      <a:lnTo>
                        <a:pt x="1459423" y="555151"/>
                      </a:lnTo>
                      <a:lnTo>
                        <a:pt x="1454930" y="571252"/>
                      </a:lnTo>
                      <a:lnTo>
                        <a:pt x="1454469" y="574021"/>
                      </a:lnTo>
                      <a:lnTo>
                        <a:pt x="1453728" y="577858"/>
                      </a:lnTo>
                      <a:lnTo>
                        <a:pt x="1449879" y="584828"/>
                      </a:lnTo>
                      <a:lnTo>
                        <a:pt x="1439436" y="596922"/>
                      </a:lnTo>
                      <a:lnTo>
                        <a:pt x="1435927" y="604670"/>
                      </a:lnTo>
                      <a:lnTo>
                        <a:pt x="1435866" y="610996"/>
                      </a:lnTo>
                      <a:lnTo>
                        <a:pt x="1438222" y="616193"/>
                      </a:lnTo>
                      <a:lnTo>
                        <a:pt x="1449478" y="629684"/>
                      </a:lnTo>
                      <a:lnTo>
                        <a:pt x="1450462" y="633534"/>
                      </a:lnTo>
                      <a:lnTo>
                        <a:pt x="1448507" y="636945"/>
                      </a:lnTo>
                      <a:lnTo>
                        <a:pt x="1436510" y="644013"/>
                      </a:lnTo>
                      <a:lnTo>
                        <a:pt x="1434834" y="645701"/>
                      </a:lnTo>
                      <a:lnTo>
                        <a:pt x="1433802" y="648178"/>
                      </a:lnTo>
                      <a:lnTo>
                        <a:pt x="1433984" y="650339"/>
                      </a:lnTo>
                      <a:lnTo>
                        <a:pt x="1434615" y="652792"/>
                      </a:lnTo>
                      <a:lnTo>
                        <a:pt x="1435599" y="656144"/>
                      </a:lnTo>
                      <a:lnTo>
                        <a:pt x="1435040" y="656277"/>
                      </a:lnTo>
                      <a:lnTo>
                        <a:pt x="1431519" y="658827"/>
                      </a:lnTo>
                      <a:lnTo>
                        <a:pt x="1429685" y="659447"/>
                      </a:lnTo>
                      <a:lnTo>
                        <a:pt x="1416146" y="660879"/>
                      </a:lnTo>
                      <a:lnTo>
                        <a:pt x="1401319" y="659447"/>
                      </a:lnTo>
                      <a:lnTo>
                        <a:pt x="1400129" y="658669"/>
                      </a:lnTo>
                      <a:lnTo>
                        <a:pt x="1396839" y="652926"/>
                      </a:lnTo>
                      <a:lnTo>
                        <a:pt x="1395697" y="651772"/>
                      </a:lnTo>
                      <a:lnTo>
                        <a:pt x="1391726" y="648822"/>
                      </a:lnTo>
                      <a:lnTo>
                        <a:pt x="1384672" y="642301"/>
                      </a:lnTo>
                      <a:lnTo>
                        <a:pt x="1378357" y="640200"/>
                      </a:lnTo>
                      <a:lnTo>
                        <a:pt x="1369056" y="634699"/>
                      </a:lnTo>
                      <a:lnTo>
                        <a:pt x="1368764" y="634383"/>
                      </a:lnTo>
                      <a:lnTo>
                        <a:pt x="1374969" y="628785"/>
                      </a:lnTo>
                      <a:lnTo>
                        <a:pt x="1376912" y="626490"/>
                      </a:lnTo>
                      <a:lnTo>
                        <a:pt x="1377604" y="622933"/>
                      </a:lnTo>
                      <a:lnTo>
                        <a:pt x="1377726" y="613218"/>
                      </a:lnTo>
                      <a:lnTo>
                        <a:pt x="1375831" y="606831"/>
                      </a:lnTo>
                      <a:lnTo>
                        <a:pt x="1373415" y="593280"/>
                      </a:lnTo>
                      <a:lnTo>
                        <a:pt x="1371861" y="590353"/>
                      </a:lnTo>
                      <a:lnTo>
                        <a:pt x="1362207" y="592539"/>
                      </a:lnTo>
                      <a:lnTo>
                        <a:pt x="1358953" y="591276"/>
                      </a:lnTo>
                      <a:lnTo>
                        <a:pt x="1358430" y="585047"/>
                      </a:lnTo>
                      <a:lnTo>
                        <a:pt x="1360434" y="579364"/>
                      </a:lnTo>
                      <a:lnTo>
                        <a:pt x="1364393" y="574070"/>
                      </a:lnTo>
                      <a:lnTo>
                        <a:pt x="1369165" y="569990"/>
                      </a:lnTo>
                      <a:lnTo>
                        <a:pt x="1373828" y="567901"/>
                      </a:lnTo>
                      <a:lnTo>
                        <a:pt x="1372213" y="563566"/>
                      </a:lnTo>
                      <a:lnTo>
                        <a:pt x="1371302" y="559607"/>
                      </a:lnTo>
                      <a:lnTo>
                        <a:pt x="1371059" y="555904"/>
                      </a:lnTo>
                      <a:lnTo>
                        <a:pt x="1371399" y="552334"/>
                      </a:lnTo>
                      <a:lnTo>
                        <a:pt x="1370950" y="550124"/>
                      </a:lnTo>
                      <a:lnTo>
                        <a:pt x="1370998" y="549456"/>
                      </a:lnTo>
                      <a:lnTo>
                        <a:pt x="1371302" y="548254"/>
                      </a:lnTo>
                      <a:lnTo>
                        <a:pt x="1371861" y="547476"/>
                      </a:lnTo>
                      <a:lnTo>
                        <a:pt x="1374216" y="545618"/>
                      </a:lnTo>
                      <a:lnTo>
                        <a:pt x="1374896" y="544647"/>
                      </a:lnTo>
                      <a:lnTo>
                        <a:pt x="1375540" y="542887"/>
                      </a:lnTo>
                      <a:lnTo>
                        <a:pt x="1376171" y="539839"/>
                      </a:lnTo>
                      <a:lnTo>
                        <a:pt x="1376050" y="535965"/>
                      </a:lnTo>
                      <a:lnTo>
                        <a:pt x="1376402" y="532443"/>
                      </a:lnTo>
                      <a:lnTo>
                        <a:pt x="1377034" y="529821"/>
                      </a:lnTo>
                      <a:lnTo>
                        <a:pt x="1377835" y="522620"/>
                      </a:lnTo>
                      <a:lnTo>
                        <a:pt x="1377835" y="520058"/>
                      </a:lnTo>
                      <a:lnTo>
                        <a:pt x="1377544" y="517933"/>
                      </a:lnTo>
                      <a:lnTo>
                        <a:pt x="1376354" y="514168"/>
                      </a:lnTo>
                      <a:lnTo>
                        <a:pt x="1375722" y="512857"/>
                      </a:lnTo>
                      <a:lnTo>
                        <a:pt x="1375030" y="511898"/>
                      </a:lnTo>
                      <a:lnTo>
                        <a:pt x="1373706" y="510440"/>
                      </a:lnTo>
                      <a:lnTo>
                        <a:pt x="1371399" y="506907"/>
                      </a:lnTo>
                      <a:lnTo>
                        <a:pt x="1370731" y="506191"/>
                      </a:lnTo>
                      <a:lnTo>
                        <a:pt x="1369978" y="505668"/>
                      </a:lnTo>
                      <a:lnTo>
                        <a:pt x="1369056" y="505328"/>
                      </a:lnTo>
                      <a:lnTo>
                        <a:pt x="1367101" y="504806"/>
                      </a:lnTo>
                      <a:lnTo>
                        <a:pt x="1364344" y="503568"/>
                      </a:lnTo>
                      <a:lnTo>
                        <a:pt x="1360677" y="502596"/>
                      </a:lnTo>
                      <a:lnTo>
                        <a:pt x="1359803" y="502256"/>
                      </a:lnTo>
                      <a:lnTo>
                        <a:pt x="1359001" y="501770"/>
                      </a:lnTo>
                      <a:lnTo>
                        <a:pt x="1358370" y="501042"/>
                      </a:lnTo>
                      <a:lnTo>
                        <a:pt x="1357156" y="499402"/>
                      </a:lnTo>
                      <a:lnTo>
                        <a:pt x="1354690" y="494412"/>
                      </a:lnTo>
                      <a:lnTo>
                        <a:pt x="1353440" y="492797"/>
                      </a:lnTo>
                      <a:lnTo>
                        <a:pt x="1349068" y="489069"/>
                      </a:lnTo>
                      <a:lnTo>
                        <a:pt x="1347696" y="487490"/>
                      </a:lnTo>
                      <a:lnTo>
                        <a:pt x="1346021" y="485195"/>
                      </a:lnTo>
                      <a:lnTo>
                        <a:pt x="1334715" y="483386"/>
                      </a:lnTo>
                      <a:lnTo>
                        <a:pt x="1331619" y="484187"/>
                      </a:lnTo>
                      <a:lnTo>
                        <a:pt x="1330805" y="484989"/>
                      </a:lnTo>
                      <a:lnTo>
                        <a:pt x="1329664" y="485705"/>
                      </a:lnTo>
                      <a:lnTo>
                        <a:pt x="1316112" y="489907"/>
                      </a:lnTo>
                      <a:lnTo>
                        <a:pt x="1312955" y="491279"/>
                      </a:lnTo>
                      <a:lnTo>
                        <a:pt x="1311741" y="492238"/>
                      </a:lnTo>
                      <a:lnTo>
                        <a:pt x="1311000" y="493173"/>
                      </a:lnTo>
                      <a:lnTo>
                        <a:pt x="1310648" y="495152"/>
                      </a:lnTo>
                      <a:lnTo>
                        <a:pt x="1310648" y="497314"/>
                      </a:lnTo>
                      <a:lnTo>
                        <a:pt x="1310247" y="498553"/>
                      </a:lnTo>
                      <a:lnTo>
                        <a:pt x="1309458" y="499815"/>
                      </a:lnTo>
                      <a:lnTo>
                        <a:pt x="1307442" y="501491"/>
                      </a:lnTo>
                      <a:lnTo>
                        <a:pt x="1306046" y="501916"/>
                      </a:lnTo>
                      <a:lnTo>
                        <a:pt x="1304856" y="501940"/>
                      </a:lnTo>
                      <a:lnTo>
                        <a:pt x="1303994" y="501637"/>
                      </a:lnTo>
                      <a:lnTo>
                        <a:pt x="1302269" y="500775"/>
                      </a:lnTo>
                      <a:lnTo>
                        <a:pt x="1301577" y="500143"/>
                      </a:lnTo>
                      <a:lnTo>
                        <a:pt x="1300958" y="499391"/>
                      </a:lnTo>
                      <a:lnTo>
                        <a:pt x="1300436" y="498383"/>
                      </a:lnTo>
                      <a:lnTo>
                        <a:pt x="1299404" y="497557"/>
                      </a:lnTo>
                      <a:lnTo>
                        <a:pt x="1297862" y="496926"/>
                      </a:lnTo>
                      <a:lnTo>
                        <a:pt x="1292737" y="496743"/>
                      </a:lnTo>
                      <a:lnTo>
                        <a:pt x="1291474" y="496537"/>
                      </a:lnTo>
                      <a:lnTo>
                        <a:pt x="1290734" y="496257"/>
                      </a:lnTo>
                      <a:lnTo>
                        <a:pt x="1275628" y="496440"/>
                      </a:lnTo>
                      <a:lnTo>
                        <a:pt x="1272592" y="496148"/>
                      </a:lnTo>
                      <a:lnTo>
                        <a:pt x="1271147" y="495638"/>
                      </a:lnTo>
                      <a:lnTo>
                        <a:pt x="1269823" y="494946"/>
                      </a:lnTo>
                      <a:lnTo>
                        <a:pt x="1268803" y="493902"/>
                      </a:lnTo>
                      <a:lnTo>
                        <a:pt x="1266326" y="490526"/>
                      </a:lnTo>
                      <a:lnTo>
                        <a:pt x="1264942" y="489118"/>
                      </a:lnTo>
                      <a:lnTo>
                        <a:pt x="1262186" y="487939"/>
                      </a:lnTo>
                      <a:lnTo>
                        <a:pt x="1246169" y="485778"/>
                      </a:lnTo>
                      <a:lnTo>
                        <a:pt x="1243765" y="485208"/>
                      </a:lnTo>
                      <a:lnTo>
                        <a:pt x="1242830" y="484442"/>
                      </a:lnTo>
                      <a:lnTo>
                        <a:pt x="1241919" y="483374"/>
                      </a:lnTo>
                      <a:lnTo>
                        <a:pt x="1239442" y="479015"/>
                      </a:lnTo>
                      <a:lnTo>
                        <a:pt x="1238240" y="477630"/>
                      </a:lnTo>
                      <a:lnTo>
                        <a:pt x="1236746" y="476634"/>
                      </a:lnTo>
                      <a:lnTo>
                        <a:pt x="1233079" y="475263"/>
                      </a:lnTo>
                      <a:lnTo>
                        <a:pt x="1230954" y="474886"/>
                      </a:lnTo>
                      <a:lnTo>
                        <a:pt x="1228768" y="474886"/>
                      </a:lnTo>
                      <a:lnTo>
                        <a:pt x="1216771" y="476950"/>
                      </a:lnTo>
                      <a:lnTo>
                        <a:pt x="1209194" y="480375"/>
                      </a:lnTo>
                      <a:lnTo>
                        <a:pt x="1208162" y="481285"/>
                      </a:lnTo>
                      <a:lnTo>
                        <a:pt x="1207457" y="482038"/>
                      </a:lnTo>
                      <a:lnTo>
                        <a:pt x="1205235" y="486604"/>
                      </a:lnTo>
                      <a:lnTo>
                        <a:pt x="1203851" y="487527"/>
                      </a:lnTo>
                      <a:lnTo>
                        <a:pt x="1201434" y="488498"/>
                      </a:lnTo>
                      <a:lnTo>
                        <a:pt x="1196626" y="489324"/>
                      </a:lnTo>
                      <a:lnTo>
                        <a:pt x="1194367" y="489409"/>
                      </a:lnTo>
                      <a:lnTo>
                        <a:pt x="1193117" y="489154"/>
                      </a:lnTo>
                      <a:lnTo>
                        <a:pt x="1192764" y="488498"/>
                      </a:lnTo>
                      <a:lnTo>
                        <a:pt x="1192546" y="487745"/>
                      </a:lnTo>
                      <a:lnTo>
                        <a:pt x="1191684" y="487017"/>
                      </a:lnTo>
                      <a:lnTo>
                        <a:pt x="1190069" y="486070"/>
                      </a:lnTo>
                      <a:lnTo>
                        <a:pt x="1186389" y="485135"/>
                      </a:lnTo>
                      <a:lnTo>
                        <a:pt x="1184556" y="484406"/>
                      </a:lnTo>
                      <a:lnTo>
                        <a:pt x="1183232" y="483313"/>
                      </a:lnTo>
                      <a:lnTo>
                        <a:pt x="1182771" y="482160"/>
                      </a:lnTo>
                      <a:lnTo>
                        <a:pt x="1182564" y="480107"/>
                      </a:lnTo>
                      <a:lnTo>
                        <a:pt x="1181982" y="479233"/>
                      </a:lnTo>
                      <a:lnTo>
                        <a:pt x="1180828" y="478541"/>
                      </a:lnTo>
                      <a:lnTo>
                        <a:pt x="1175886" y="476878"/>
                      </a:lnTo>
                      <a:lnTo>
                        <a:pt x="1174392" y="476149"/>
                      </a:lnTo>
                      <a:lnTo>
                        <a:pt x="1173518" y="475384"/>
                      </a:lnTo>
                      <a:lnTo>
                        <a:pt x="1172850" y="474255"/>
                      </a:lnTo>
                      <a:lnTo>
                        <a:pt x="1168199" y="459768"/>
                      </a:lnTo>
                      <a:lnTo>
                        <a:pt x="1167859" y="458942"/>
                      </a:lnTo>
                      <a:lnTo>
                        <a:pt x="1167434" y="458274"/>
                      </a:lnTo>
                      <a:lnTo>
                        <a:pt x="1166766" y="457352"/>
                      </a:lnTo>
                      <a:lnTo>
                        <a:pt x="1164969" y="456259"/>
                      </a:lnTo>
                      <a:lnTo>
                        <a:pt x="1164289" y="455895"/>
                      </a:lnTo>
                      <a:lnTo>
                        <a:pt x="1161763" y="453733"/>
                      </a:lnTo>
                      <a:lnTo>
                        <a:pt x="1160319" y="452130"/>
                      </a:lnTo>
                      <a:lnTo>
                        <a:pt x="1155510" y="449604"/>
                      </a:lnTo>
                      <a:lnTo>
                        <a:pt x="1148103" y="449483"/>
                      </a:lnTo>
                      <a:lnTo>
                        <a:pt x="1143853" y="450199"/>
                      </a:lnTo>
                      <a:lnTo>
                        <a:pt x="1142687" y="450054"/>
                      </a:lnTo>
                      <a:lnTo>
                        <a:pt x="1136506" y="446496"/>
                      </a:lnTo>
                      <a:lnTo>
                        <a:pt x="1124898" y="442100"/>
                      </a:lnTo>
                      <a:lnTo>
                        <a:pt x="1122202" y="441590"/>
                      </a:lnTo>
                      <a:lnTo>
                        <a:pt x="1118863" y="442197"/>
                      </a:lnTo>
                      <a:lnTo>
                        <a:pt x="1116106" y="442428"/>
                      </a:lnTo>
                      <a:lnTo>
                        <a:pt x="1114333" y="442112"/>
                      </a:lnTo>
                      <a:lnTo>
                        <a:pt x="1112730" y="441456"/>
                      </a:lnTo>
                      <a:lnTo>
                        <a:pt x="1110775" y="440388"/>
                      </a:lnTo>
                      <a:lnTo>
                        <a:pt x="1109330" y="440242"/>
                      </a:lnTo>
                      <a:lnTo>
                        <a:pt x="1108019" y="440449"/>
                      </a:lnTo>
                      <a:lnTo>
                        <a:pt x="1106853" y="440874"/>
                      </a:lnTo>
                      <a:lnTo>
                        <a:pt x="1105372" y="441116"/>
                      </a:lnTo>
                      <a:lnTo>
                        <a:pt x="1104218" y="441481"/>
                      </a:lnTo>
                      <a:lnTo>
                        <a:pt x="1103429" y="441942"/>
                      </a:lnTo>
                      <a:lnTo>
                        <a:pt x="1103028" y="442464"/>
                      </a:lnTo>
                      <a:lnTo>
                        <a:pt x="1102785" y="443035"/>
                      </a:lnTo>
                      <a:lnTo>
                        <a:pt x="1102263" y="443836"/>
                      </a:lnTo>
                      <a:lnTo>
                        <a:pt x="1101474" y="444601"/>
                      </a:lnTo>
                      <a:lnTo>
                        <a:pt x="1099980" y="445269"/>
                      </a:lnTo>
                      <a:lnTo>
                        <a:pt x="1098827" y="445245"/>
                      </a:lnTo>
                      <a:lnTo>
                        <a:pt x="1087048" y="440728"/>
                      </a:lnTo>
                      <a:lnTo>
                        <a:pt x="1086247" y="440218"/>
                      </a:lnTo>
                      <a:lnTo>
                        <a:pt x="1085494" y="439550"/>
                      </a:lnTo>
                      <a:lnTo>
                        <a:pt x="1084935" y="438724"/>
                      </a:lnTo>
                      <a:lnTo>
                        <a:pt x="1082907" y="434729"/>
                      </a:lnTo>
                      <a:lnTo>
                        <a:pt x="1081778" y="432932"/>
                      </a:lnTo>
                      <a:lnTo>
                        <a:pt x="1081086" y="432179"/>
                      </a:lnTo>
                      <a:lnTo>
                        <a:pt x="1078560" y="430407"/>
                      </a:lnTo>
                      <a:lnTo>
                        <a:pt x="1070983" y="427273"/>
                      </a:lnTo>
                      <a:lnTo>
                        <a:pt x="1069538" y="432726"/>
                      </a:lnTo>
                      <a:lnTo>
                        <a:pt x="1071031" y="437546"/>
                      </a:lnTo>
                      <a:lnTo>
                        <a:pt x="1077346" y="452761"/>
                      </a:lnTo>
                      <a:lnTo>
                        <a:pt x="1078791" y="454656"/>
                      </a:lnTo>
                      <a:lnTo>
                        <a:pt x="1081086" y="455226"/>
                      </a:lnTo>
                      <a:lnTo>
                        <a:pt x="1082458" y="455919"/>
                      </a:lnTo>
                      <a:lnTo>
                        <a:pt x="1084122" y="457534"/>
                      </a:lnTo>
                      <a:lnTo>
                        <a:pt x="1084765" y="459088"/>
                      </a:lnTo>
                      <a:lnTo>
                        <a:pt x="1084874" y="460812"/>
                      </a:lnTo>
                      <a:lnTo>
                        <a:pt x="1084425" y="462792"/>
                      </a:lnTo>
                      <a:lnTo>
                        <a:pt x="1083721" y="464625"/>
                      </a:lnTo>
                      <a:lnTo>
                        <a:pt x="1082810" y="466119"/>
                      </a:lnTo>
                      <a:lnTo>
                        <a:pt x="1081134" y="467576"/>
                      </a:lnTo>
                      <a:lnTo>
                        <a:pt x="1075172" y="471024"/>
                      </a:lnTo>
                      <a:lnTo>
                        <a:pt x="1073217" y="473089"/>
                      </a:lnTo>
                      <a:lnTo>
                        <a:pt x="1071784" y="475615"/>
                      </a:lnTo>
                      <a:lnTo>
                        <a:pt x="1070801" y="479804"/>
                      </a:lnTo>
                      <a:lnTo>
                        <a:pt x="1067474" y="486154"/>
                      </a:lnTo>
                      <a:lnTo>
                        <a:pt x="1066563" y="488935"/>
                      </a:lnTo>
                      <a:lnTo>
                        <a:pt x="1066102" y="493537"/>
                      </a:lnTo>
                      <a:lnTo>
                        <a:pt x="1066684" y="503215"/>
                      </a:lnTo>
                      <a:lnTo>
                        <a:pt x="1066490" y="505255"/>
                      </a:lnTo>
                      <a:lnTo>
                        <a:pt x="1065980" y="506895"/>
                      </a:lnTo>
                      <a:lnTo>
                        <a:pt x="1065069" y="508206"/>
                      </a:lnTo>
                      <a:lnTo>
                        <a:pt x="1063794" y="509238"/>
                      </a:lnTo>
                      <a:lnTo>
                        <a:pt x="1061961" y="510016"/>
                      </a:lnTo>
                      <a:lnTo>
                        <a:pt x="1054274" y="511278"/>
                      </a:lnTo>
                      <a:lnTo>
                        <a:pt x="1052489" y="512031"/>
                      </a:lnTo>
                      <a:lnTo>
                        <a:pt x="1050886" y="513100"/>
                      </a:lnTo>
                      <a:lnTo>
                        <a:pt x="1048992" y="515188"/>
                      </a:lnTo>
                      <a:lnTo>
                        <a:pt x="1047596" y="517520"/>
                      </a:lnTo>
                      <a:lnTo>
                        <a:pt x="1045191" y="523227"/>
                      </a:lnTo>
                      <a:lnTo>
                        <a:pt x="1044220" y="524757"/>
                      </a:lnTo>
                      <a:lnTo>
                        <a:pt x="1043066" y="526068"/>
                      </a:lnTo>
                      <a:lnTo>
                        <a:pt x="1041925" y="527938"/>
                      </a:lnTo>
                      <a:lnTo>
                        <a:pt x="1041524" y="529772"/>
                      </a:lnTo>
                      <a:lnTo>
                        <a:pt x="1041524" y="531351"/>
                      </a:lnTo>
                      <a:lnTo>
                        <a:pt x="1043297" y="540482"/>
                      </a:lnTo>
                      <a:lnTo>
                        <a:pt x="1043297" y="542753"/>
                      </a:lnTo>
                      <a:lnTo>
                        <a:pt x="1043018" y="546542"/>
                      </a:lnTo>
                      <a:lnTo>
                        <a:pt x="1041973" y="548387"/>
                      </a:lnTo>
                      <a:lnTo>
                        <a:pt x="1040711" y="549444"/>
                      </a:lnTo>
                      <a:lnTo>
                        <a:pt x="1038707" y="549820"/>
                      </a:lnTo>
                      <a:lnTo>
                        <a:pt x="1033485" y="549662"/>
                      </a:lnTo>
                      <a:lnTo>
                        <a:pt x="1031470" y="549237"/>
                      </a:lnTo>
                      <a:lnTo>
                        <a:pt x="1029065" y="548436"/>
                      </a:lnTo>
                      <a:lnTo>
                        <a:pt x="1028094" y="548290"/>
                      </a:lnTo>
                      <a:lnTo>
                        <a:pt x="1026819" y="548351"/>
                      </a:lnTo>
                      <a:lnTo>
                        <a:pt x="1023431" y="549152"/>
                      </a:lnTo>
                      <a:lnTo>
                        <a:pt x="1021185" y="549431"/>
                      </a:lnTo>
                      <a:lnTo>
                        <a:pt x="1018780" y="549176"/>
                      </a:lnTo>
                      <a:lnTo>
                        <a:pt x="1016133" y="548144"/>
                      </a:lnTo>
                      <a:lnTo>
                        <a:pt x="1013899" y="546626"/>
                      </a:lnTo>
                      <a:lnTo>
                        <a:pt x="1012005" y="544647"/>
                      </a:lnTo>
                      <a:lnTo>
                        <a:pt x="1007815" y="538041"/>
                      </a:lnTo>
                      <a:lnTo>
                        <a:pt x="1007172" y="537580"/>
                      </a:lnTo>
                      <a:lnTo>
                        <a:pt x="1006322" y="537519"/>
                      </a:lnTo>
                      <a:lnTo>
                        <a:pt x="1002303" y="538041"/>
                      </a:lnTo>
                      <a:lnTo>
                        <a:pt x="1000578" y="537835"/>
                      </a:lnTo>
                      <a:lnTo>
                        <a:pt x="997312" y="536681"/>
                      </a:lnTo>
                      <a:lnTo>
                        <a:pt x="995636" y="536317"/>
                      </a:lnTo>
                      <a:lnTo>
                        <a:pt x="994203" y="536281"/>
                      </a:lnTo>
                      <a:lnTo>
                        <a:pt x="992600" y="536560"/>
                      </a:lnTo>
                      <a:lnTo>
                        <a:pt x="991046" y="537046"/>
                      </a:lnTo>
                      <a:lnTo>
                        <a:pt x="989152" y="538090"/>
                      </a:lnTo>
                      <a:lnTo>
                        <a:pt x="987306" y="539426"/>
                      </a:lnTo>
                      <a:lnTo>
                        <a:pt x="984744" y="541806"/>
                      </a:lnTo>
                      <a:lnTo>
                        <a:pt x="983991" y="542959"/>
                      </a:lnTo>
                      <a:lnTo>
                        <a:pt x="983918" y="543785"/>
                      </a:lnTo>
                      <a:lnTo>
                        <a:pt x="984780" y="544368"/>
                      </a:lnTo>
                      <a:lnTo>
                        <a:pt x="988071" y="545764"/>
                      </a:lnTo>
                      <a:lnTo>
                        <a:pt x="988812" y="546432"/>
                      </a:lnTo>
                      <a:lnTo>
                        <a:pt x="988581" y="548011"/>
                      </a:lnTo>
                      <a:lnTo>
                        <a:pt x="984574" y="552491"/>
                      </a:lnTo>
                      <a:lnTo>
                        <a:pt x="983080" y="554531"/>
                      </a:lnTo>
                      <a:lnTo>
                        <a:pt x="982048" y="556365"/>
                      </a:lnTo>
                      <a:lnTo>
                        <a:pt x="980251" y="562679"/>
                      </a:lnTo>
                      <a:lnTo>
                        <a:pt x="978369" y="567585"/>
                      </a:lnTo>
                      <a:lnTo>
                        <a:pt x="977786" y="569880"/>
                      </a:lnTo>
                      <a:lnTo>
                        <a:pt x="977677" y="571750"/>
                      </a:lnTo>
                      <a:lnTo>
                        <a:pt x="978187" y="573098"/>
                      </a:lnTo>
                      <a:lnTo>
                        <a:pt x="978539" y="574531"/>
                      </a:lnTo>
                      <a:lnTo>
                        <a:pt x="978599" y="576134"/>
                      </a:lnTo>
                      <a:lnTo>
                        <a:pt x="978017" y="577166"/>
                      </a:lnTo>
                      <a:lnTo>
                        <a:pt x="976936" y="577919"/>
                      </a:lnTo>
                      <a:lnTo>
                        <a:pt x="975041" y="578757"/>
                      </a:lnTo>
                      <a:lnTo>
                        <a:pt x="973657" y="579777"/>
                      </a:lnTo>
                      <a:lnTo>
                        <a:pt x="972054" y="581428"/>
                      </a:lnTo>
                      <a:lnTo>
                        <a:pt x="969638" y="584549"/>
                      </a:lnTo>
                      <a:lnTo>
                        <a:pt x="967574" y="586601"/>
                      </a:lnTo>
                      <a:lnTo>
                        <a:pt x="965740" y="588143"/>
                      </a:lnTo>
                      <a:lnTo>
                        <a:pt x="963603" y="589272"/>
                      </a:lnTo>
                      <a:lnTo>
                        <a:pt x="962814" y="590353"/>
                      </a:lnTo>
                      <a:lnTo>
                        <a:pt x="962692" y="591847"/>
                      </a:lnTo>
                      <a:lnTo>
                        <a:pt x="963955" y="595320"/>
                      </a:lnTo>
                      <a:lnTo>
                        <a:pt x="964477" y="597274"/>
                      </a:lnTo>
                      <a:lnTo>
                        <a:pt x="964817" y="599035"/>
                      </a:lnTo>
                      <a:lnTo>
                        <a:pt x="964817" y="600918"/>
                      </a:lnTo>
                      <a:lnTo>
                        <a:pt x="965036" y="602047"/>
                      </a:lnTo>
                      <a:lnTo>
                        <a:pt x="965449" y="602848"/>
                      </a:lnTo>
                      <a:lnTo>
                        <a:pt x="966080" y="603480"/>
                      </a:lnTo>
                      <a:lnTo>
                        <a:pt x="967343" y="603662"/>
                      </a:lnTo>
                      <a:lnTo>
                        <a:pt x="969808" y="603140"/>
                      </a:lnTo>
                      <a:lnTo>
                        <a:pt x="970840" y="603286"/>
                      </a:lnTo>
                      <a:lnTo>
                        <a:pt x="971763" y="603893"/>
                      </a:lnTo>
                      <a:lnTo>
                        <a:pt x="972455" y="604925"/>
                      </a:lnTo>
                      <a:lnTo>
                        <a:pt x="972674" y="605872"/>
                      </a:lnTo>
                      <a:lnTo>
                        <a:pt x="972516" y="607681"/>
                      </a:lnTo>
                      <a:lnTo>
                        <a:pt x="972625" y="608568"/>
                      </a:lnTo>
                      <a:lnTo>
                        <a:pt x="973099" y="609357"/>
                      </a:lnTo>
                      <a:lnTo>
                        <a:pt x="974179" y="610110"/>
                      </a:lnTo>
                      <a:lnTo>
                        <a:pt x="975260" y="610365"/>
                      </a:lnTo>
                      <a:lnTo>
                        <a:pt x="976766" y="610280"/>
                      </a:lnTo>
                      <a:lnTo>
                        <a:pt x="978089" y="610341"/>
                      </a:lnTo>
                      <a:lnTo>
                        <a:pt x="979061" y="611093"/>
                      </a:lnTo>
                      <a:lnTo>
                        <a:pt x="979462" y="612793"/>
                      </a:lnTo>
                      <a:lnTo>
                        <a:pt x="979122" y="615198"/>
                      </a:lnTo>
                      <a:lnTo>
                        <a:pt x="979340" y="617055"/>
                      </a:lnTo>
                      <a:lnTo>
                        <a:pt x="979704" y="618403"/>
                      </a:lnTo>
                      <a:lnTo>
                        <a:pt x="981987" y="620783"/>
                      </a:lnTo>
                      <a:lnTo>
                        <a:pt x="989904" y="626406"/>
                      </a:lnTo>
                      <a:lnTo>
                        <a:pt x="991180" y="627620"/>
                      </a:lnTo>
                      <a:lnTo>
                        <a:pt x="992491" y="629320"/>
                      </a:lnTo>
                      <a:lnTo>
                        <a:pt x="992722" y="630534"/>
                      </a:lnTo>
                      <a:lnTo>
                        <a:pt x="992722" y="632768"/>
                      </a:lnTo>
                      <a:lnTo>
                        <a:pt x="991507" y="633351"/>
                      </a:lnTo>
                      <a:lnTo>
                        <a:pt x="987828" y="634529"/>
                      </a:lnTo>
                      <a:lnTo>
                        <a:pt x="985545" y="634505"/>
                      </a:lnTo>
                      <a:lnTo>
                        <a:pt x="983760" y="635270"/>
                      </a:lnTo>
                      <a:lnTo>
                        <a:pt x="981198" y="636824"/>
                      </a:lnTo>
                      <a:lnTo>
                        <a:pt x="979122" y="637796"/>
                      </a:lnTo>
                      <a:lnTo>
                        <a:pt x="977446" y="639981"/>
                      </a:lnTo>
                      <a:lnTo>
                        <a:pt x="975381" y="643515"/>
                      </a:lnTo>
                      <a:lnTo>
                        <a:pt x="969699" y="656144"/>
                      </a:lnTo>
                      <a:lnTo>
                        <a:pt x="968193" y="658329"/>
                      </a:lnTo>
                      <a:lnTo>
                        <a:pt x="967112" y="658572"/>
                      </a:lnTo>
                      <a:lnTo>
                        <a:pt x="966129" y="658536"/>
                      </a:lnTo>
                      <a:lnTo>
                        <a:pt x="961721" y="658111"/>
                      </a:lnTo>
                      <a:lnTo>
                        <a:pt x="959827" y="658281"/>
                      </a:lnTo>
                      <a:lnTo>
                        <a:pt x="957762" y="659033"/>
                      </a:lnTo>
                      <a:lnTo>
                        <a:pt x="955285" y="661134"/>
                      </a:lnTo>
                      <a:lnTo>
                        <a:pt x="954010" y="663150"/>
                      </a:lnTo>
                      <a:lnTo>
                        <a:pt x="953621" y="665069"/>
                      </a:lnTo>
                      <a:lnTo>
                        <a:pt x="953961" y="667109"/>
                      </a:lnTo>
                      <a:lnTo>
                        <a:pt x="954532" y="668833"/>
                      </a:lnTo>
                      <a:lnTo>
                        <a:pt x="954884" y="671213"/>
                      </a:lnTo>
                      <a:lnTo>
                        <a:pt x="954836" y="674079"/>
                      </a:lnTo>
                      <a:lnTo>
                        <a:pt x="953500" y="678984"/>
                      </a:lnTo>
                      <a:lnTo>
                        <a:pt x="952298" y="681546"/>
                      </a:lnTo>
                      <a:lnTo>
                        <a:pt x="950816" y="683380"/>
                      </a:lnTo>
                      <a:lnTo>
                        <a:pt x="949201" y="684327"/>
                      </a:lnTo>
                      <a:lnTo>
                        <a:pt x="947368" y="684898"/>
                      </a:lnTo>
                      <a:lnTo>
                        <a:pt x="945522" y="685201"/>
                      </a:lnTo>
                      <a:lnTo>
                        <a:pt x="937823" y="685724"/>
                      </a:lnTo>
                      <a:lnTo>
                        <a:pt x="936221" y="686149"/>
                      </a:lnTo>
                      <a:lnTo>
                        <a:pt x="934618" y="686902"/>
                      </a:lnTo>
                      <a:lnTo>
                        <a:pt x="932772" y="688553"/>
                      </a:lnTo>
                      <a:lnTo>
                        <a:pt x="931631" y="690217"/>
                      </a:lnTo>
                      <a:lnTo>
                        <a:pt x="930598" y="692232"/>
                      </a:lnTo>
                      <a:lnTo>
                        <a:pt x="929566" y="693544"/>
                      </a:lnTo>
                      <a:lnTo>
                        <a:pt x="926579" y="696409"/>
                      </a:lnTo>
                      <a:lnTo>
                        <a:pt x="925705" y="697818"/>
                      </a:lnTo>
                      <a:lnTo>
                        <a:pt x="926458" y="699215"/>
                      </a:lnTo>
                      <a:lnTo>
                        <a:pt x="926628" y="700247"/>
                      </a:lnTo>
                      <a:lnTo>
                        <a:pt x="926227" y="702007"/>
                      </a:lnTo>
                      <a:lnTo>
                        <a:pt x="925316" y="703270"/>
                      </a:lnTo>
                      <a:lnTo>
                        <a:pt x="924794" y="704679"/>
                      </a:lnTo>
                      <a:lnTo>
                        <a:pt x="924454" y="708977"/>
                      </a:lnTo>
                      <a:lnTo>
                        <a:pt x="923701" y="711965"/>
                      </a:lnTo>
                      <a:lnTo>
                        <a:pt x="922548" y="713920"/>
                      </a:lnTo>
                      <a:lnTo>
                        <a:pt x="921018" y="715413"/>
                      </a:lnTo>
                      <a:lnTo>
                        <a:pt x="919099" y="716652"/>
                      </a:lnTo>
                      <a:lnTo>
                        <a:pt x="917035" y="718291"/>
                      </a:lnTo>
                      <a:lnTo>
                        <a:pt x="916124" y="719348"/>
                      </a:lnTo>
                      <a:lnTo>
                        <a:pt x="915954" y="720841"/>
                      </a:lnTo>
                      <a:lnTo>
                        <a:pt x="924393" y="726585"/>
                      </a:lnTo>
                      <a:lnTo>
                        <a:pt x="925316" y="727799"/>
                      </a:lnTo>
                      <a:lnTo>
                        <a:pt x="926409" y="729523"/>
                      </a:lnTo>
                      <a:lnTo>
                        <a:pt x="926288" y="730871"/>
                      </a:lnTo>
                      <a:lnTo>
                        <a:pt x="925061" y="735061"/>
                      </a:lnTo>
                      <a:lnTo>
                        <a:pt x="925608" y="735158"/>
                      </a:lnTo>
                      <a:lnTo>
                        <a:pt x="925620" y="735170"/>
                      </a:lnTo>
                      <a:lnTo>
                        <a:pt x="917763" y="733895"/>
                      </a:lnTo>
                      <a:lnTo>
                        <a:pt x="916561" y="734198"/>
                      </a:lnTo>
                      <a:lnTo>
                        <a:pt x="914776" y="734963"/>
                      </a:lnTo>
                      <a:lnTo>
                        <a:pt x="911728" y="738133"/>
                      </a:lnTo>
                      <a:lnTo>
                        <a:pt x="908802" y="740197"/>
                      </a:lnTo>
                      <a:lnTo>
                        <a:pt x="906106" y="740683"/>
                      </a:lnTo>
                      <a:lnTo>
                        <a:pt x="904321" y="740197"/>
                      </a:lnTo>
                      <a:lnTo>
                        <a:pt x="903289" y="739019"/>
                      </a:lnTo>
                      <a:lnTo>
                        <a:pt x="902828" y="737526"/>
                      </a:lnTo>
                      <a:lnTo>
                        <a:pt x="902427" y="733567"/>
                      </a:lnTo>
                      <a:lnTo>
                        <a:pt x="901055" y="732535"/>
                      </a:lnTo>
                      <a:lnTo>
                        <a:pt x="898529" y="731320"/>
                      </a:lnTo>
                      <a:lnTo>
                        <a:pt x="892032" y="729196"/>
                      </a:lnTo>
                      <a:lnTo>
                        <a:pt x="889045" y="727848"/>
                      </a:lnTo>
                      <a:lnTo>
                        <a:pt x="887272" y="726694"/>
                      </a:lnTo>
                      <a:lnTo>
                        <a:pt x="886750" y="724836"/>
                      </a:lnTo>
                      <a:lnTo>
                        <a:pt x="886580" y="722881"/>
                      </a:lnTo>
                      <a:lnTo>
                        <a:pt x="886750" y="714090"/>
                      </a:lnTo>
                      <a:lnTo>
                        <a:pt x="886362" y="712195"/>
                      </a:lnTo>
                      <a:lnTo>
                        <a:pt x="885427" y="710337"/>
                      </a:lnTo>
                      <a:lnTo>
                        <a:pt x="883071" y="707788"/>
                      </a:lnTo>
                      <a:lnTo>
                        <a:pt x="881067" y="706415"/>
                      </a:lnTo>
                      <a:lnTo>
                        <a:pt x="878882" y="705638"/>
                      </a:lnTo>
                      <a:lnTo>
                        <a:pt x="876817" y="705517"/>
                      </a:lnTo>
                      <a:lnTo>
                        <a:pt x="875105" y="705760"/>
                      </a:lnTo>
                      <a:lnTo>
                        <a:pt x="871936" y="707047"/>
                      </a:lnTo>
                      <a:lnTo>
                        <a:pt x="865901" y="715255"/>
                      </a:lnTo>
                      <a:lnTo>
                        <a:pt x="865209" y="717441"/>
                      </a:lnTo>
                      <a:lnTo>
                        <a:pt x="864699" y="720149"/>
                      </a:lnTo>
                      <a:lnTo>
                        <a:pt x="865731" y="725856"/>
                      </a:lnTo>
                      <a:lnTo>
                        <a:pt x="865634" y="730167"/>
                      </a:lnTo>
                      <a:lnTo>
                        <a:pt x="864929" y="732438"/>
                      </a:lnTo>
                      <a:lnTo>
                        <a:pt x="863776" y="734053"/>
                      </a:lnTo>
                      <a:lnTo>
                        <a:pt x="862355" y="734769"/>
                      </a:lnTo>
                      <a:lnTo>
                        <a:pt x="860521" y="735170"/>
                      </a:lnTo>
                      <a:lnTo>
                        <a:pt x="855458" y="737295"/>
                      </a:lnTo>
                      <a:lnTo>
                        <a:pt x="844384" y="745673"/>
                      </a:lnTo>
                      <a:lnTo>
                        <a:pt x="841894" y="748175"/>
                      </a:lnTo>
                      <a:lnTo>
                        <a:pt x="840583" y="750215"/>
                      </a:lnTo>
                      <a:lnTo>
                        <a:pt x="839891" y="752401"/>
                      </a:lnTo>
                      <a:lnTo>
                        <a:pt x="839551" y="754441"/>
                      </a:lnTo>
                      <a:lnTo>
                        <a:pt x="838749" y="756687"/>
                      </a:lnTo>
                      <a:lnTo>
                        <a:pt x="837316" y="757804"/>
                      </a:lnTo>
                      <a:lnTo>
                        <a:pt x="835313" y="758217"/>
                      </a:lnTo>
                      <a:lnTo>
                        <a:pt x="831633" y="757622"/>
                      </a:lnTo>
                      <a:lnTo>
                        <a:pt x="829678" y="757683"/>
                      </a:lnTo>
                      <a:lnTo>
                        <a:pt x="827493" y="758314"/>
                      </a:lnTo>
                      <a:lnTo>
                        <a:pt x="825198" y="759577"/>
                      </a:lnTo>
                      <a:lnTo>
                        <a:pt x="823364" y="760330"/>
                      </a:lnTo>
                      <a:lnTo>
                        <a:pt x="821810" y="760415"/>
                      </a:lnTo>
                      <a:lnTo>
                        <a:pt x="816698" y="759589"/>
                      </a:lnTo>
                      <a:lnTo>
                        <a:pt x="812788" y="760014"/>
                      </a:lnTo>
                      <a:lnTo>
                        <a:pt x="806255" y="762394"/>
                      </a:lnTo>
                      <a:lnTo>
                        <a:pt x="803547" y="764471"/>
                      </a:lnTo>
                      <a:lnTo>
                        <a:pt x="802175" y="766899"/>
                      </a:lnTo>
                      <a:lnTo>
                        <a:pt x="803025" y="774416"/>
                      </a:lnTo>
                      <a:lnTo>
                        <a:pt x="803025" y="776832"/>
                      </a:lnTo>
                      <a:lnTo>
                        <a:pt x="802806" y="779455"/>
                      </a:lnTo>
                      <a:lnTo>
                        <a:pt x="800450" y="789182"/>
                      </a:lnTo>
                      <a:lnTo>
                        <a:pt x="800098" y="791282"/>
                      </a:lnTo>
                      <a:lnTo>
                        <a:pt x="800098" y="794330"/>
                      </a:lnTo>
                      <a:lnTo>
                        <a:pt x="800742" y="799807"/>
                      </a:lnTo>
                      <a:lnTo>
                        <a:pt x="800341" y="803595"/>
                      </a:lnTo>
                      <a:lnTo>
                        <a:pt x="799309" y="807736"/>
                      </a:lnTo>
                      <a:lnTo>
                        <a:pt x="796601" y="813516"/>
                      </a:lnTo>
                      <a:lnTo>
                        <a:pt x="794415" y="816042"/>
                      </a:lnTo>
                      <a:lnTo>
                        <a:pt x="792133" y="817280"/>
                      </a:lnTo>
                      <a:lnTo>
                        <a:pt x="789534" y="817256"/>
                      </a:lnTo>
                      <a:lnTo>
                        <a:pt x="779382" y="814402"/>
                      </a:lnTo>
                      <a:lnTo>
                        <a:pt x="777646" y="814135"/>
                      </a:lnTo>
                      <a:lnTo>
                        <a:pt x="776152" y="814075"/>
                      </a:lnTo>
                      <a:lnTo>
                        <a:pt x="773687" y="814560"/>
                      </a:lnTo>
                      <a:lnTo>
                        <a:pt x="773979" y="818701"/>
                      </a:lnTo>
                      <a:lnTo>
                        <a:pt x="776274" y="824093"/>
                      </a:lnTo>
                      <a:lnTo>
                        <a:pt x="776674" y="826764"/>
                      </a:lnTo>
                      <a:lnTo>
                        <a:pt x="776456" y="828598"/>
                      </a:lnTo>
                      <a:lnTo>
                        <a:pt x="775703" y="829727"/>
                      </a:lnTo>
                      <a:lnTo>
                        <a:pt x="774270" y="830966"/>
                      </a:lnTo>
                      <a:lnTo>
                        <a:pt x="772437" y="832022"/>
                      </a:lnTo>
                      <a:lnTo>
                        <a:pt x="768818" y="833686"/>
                      </a:lnTo>
                      <a:lnTo>
                        <a:pt x="767021" y="835130"/>
                      </a:lnTo>
                      <a:lnTo>
                        <a:pt x="765309" y="838105"/>
                      </a:lnTo>
                      <a:lnTo>
                        <a:pt x="763706" y="842307"/>
                      </a:lnTo>
                      <a:lnTo>
                        <a:pt x="761520" y="851645"/>
                      </a:lnTo>
                      <a:lnTo>
                        <a:pt x="758642" y="851062"/>
                      </a:lnTo>
                      <a:lnTo>
                        <a:pt x="754453" y="847395"/>
                      </a:lnTo>
                      <a:lnTo>
                        <a:pt x="752037" y="845926"/>
                      </a:lnTo>
                      <a:lnTo>
                        <a:pt x="750373" y="844250"/>
                      </a:lnTo>
                      <a:lnTo>
                        <a:pt x="747568" y="840303"/>
                      </a:lnTo>
                      <a:lnTo>
                        <a:pt x="745892" y="839295"/>
                      </a:lnTo>
                      <a:lnTo>
                        <a:pt x="744119" y="839441"/>
                      </a:lnTo>
                      <a:lnTo>
                        <a:pt x="741764" y="839988"/>
                      </a:lnTo>
                      <a:lnTo>
                        <a:pt x="738485" y="840048"/>
                      </a:lnTo>
                      <a:lnTo>
                        <a:pt x="734976" y="838215"/>
                      </a:lnTo>
                      <a:lnTo>
                        <a:pt x="732741" y="837984"/>
                      </a:lnTo>
                      <a:lnTo>
                        <a:pt x="730908" y="838773"/>
                      </a:lnTo>
                      <a:lnTo>
                        <a:pt x="730094" y="840012"/>
                      </a:lnTo>
                      <a:lnTo>
                        <a:pt x="728771" y="843424"/>
                      </a:lnTo>
                      <a:lnTo>
                        <a:pt x="727921" y="844286"/>
                      </a:lnTo>
                      <a:lnTo>
                        <a:pt x="726524" y="845063"/>
                      </a:lnTo>
                      <a:lnTo>
                        <a:pt x="724181" y="845756"/>
                      </a:lnTo>
                      <a:lnTo>
                        <a:pt x="722748" y="846642"/>
                      </a:lnTo>
                      <a:lnTo>
                        <a:pt x="722056" y="847796"/>
                      </a:lnTo>
                      <a:lnTo>
                        <a:pt x="722104" y="849192"/>
                      </a:lnTo>
                      <a:lnTo>
                        <a:pt x="722286" y="850455"/>
                      </a:lnTo>
                      <a:lnTo>
                        <a:pt x="722165" y="851949"/>
                      </a:lnTo>
                      <a:lnTo>
                        <a:pt x="721315" y="853272"/>
                      </a:lnTo>
                      <a:lnTo>
                        <a:pt x="719882" y="854328"/>
                      </a:lnTo>
                      <a:lnTo>
                        <a:pt x="715632" y="855992"/>
                      </a:lnTo>
                      <a:lnTo>
                        <a:pt x="713786" y="857085"/>
                      </a:lnTo>
                      <a:lnTo>
                        <a:pt x="712815" y="858396"/>
                      </a:lnTo>
                      <a:lnTo>
                        <a:pt x="712244" y="859659"/>
                      </a:lnTo>
                      <a:lnTo>
                        <a:pt x="711661" y="861784"/>
                      </a:lnTo>
                      <a:lnTo>
                        <a:pt x="707982" y="865087"/>
                      </a:lnTo>
                      <a:lnTo>
                        <a:pt x="695135" y="868754"/>
                      </a:lnTo>
                      <a:lnTo>
                        <a:pt x="693459" y="870309"/>
                      </a:lnTo>
                      <a:lnTo>
                        <a:pt x="693119" y="871997"/>
                      </a:lnTo>
                      <a:lnTo>
                        <a:pt x="694260" y="873624"/>
                      </a:lnTo>
                      <a:lnTo>
                        <a:pt x="696908" y="876781"/>
                      </a:lnTo>
                      <a:lnTo>
                        <a:pt x="697830" y="878335"/>
                      </a:lnTo>
                      <a:lnTo>
                        <a:pt x="697940" y="879938"/>
                      </a:lnTo>
                      <a:lnTo>
                        <a:pt x="697770" y="881577"/>
                      </a:lnTo>
                      <a:lnTo>
                        <a:pt x="697029" y="884151"/>
                      </a:lnTo>
                      <a:lnTo>
                        <a:pt x="697029" y="884941"/>
                      </a:lnTo>
                      <a:lnTo>
                        <a:pt x="698280" y="887127"/>
                      </a:lnTo>
                      <a:lnTo>
                        <a:pt x="698523" y="888523"/>
                      </a:lnTo>
                      <a:lnTo>
                        <a:pt x="697830" y="889810"/>
                      </a:lnTo>
                      <a:lnTo>
                        <a:pt x="696215" y="891365"/>
                      </a:lnTo>
                      <a:lnTo>
                        <a:pt x="694382" y="893975"/>
                      </a:lnTo>
                      <a:lnTo>
                        <a:pt x="694042" y="896586"/>
                      </a:lnTo>
                      <a:lnTo>
                        <a:pt x="695013" y="898456"/>
                      </a:lnTo>
                      <a:lnTo>
                        <a:pt x="697138" y="900338"/>
                      </a:lnTo>
                      <a:lnTo>
                        <a:pt x="697830" y="902014"/>
                      </a:lnTo>
                      <a:lnTo>
                        <a:pt x="698693" y="906264"/>
                      </a:lnTo>
                      <a:lnTo>
                        <a:pt x="699895" y="908279"/>
                      </a:lnTo>
                      <a:lnTo>
                        <a:pt x="704084" y="911169"/>
                      </a:lnTo>
                      <a:lnTo>
                        <a:pt x="705638" y="912845"/>
                      </a:lnTo>
                      <a:lnTo>
                        <a:pt x="706039" y="914970"/>
                      </a:lnTo>
                      <a:lnTo>
                        <a:pt x="705055" y="916282"/>
                      </a:lnTo>
                      <a:lnTo>
                        <a:pt x="701036" y="919148"/>
                      </a:lnTo>
                      <a:lnTo>
                        <a:pt x="699203" y="920155"/>
                      </a:lnTo>
                      <a:lnTo>
                        <a:pt x="696786" y="920471"/>
                      </a:lnTo>
                      <a:lnTo>
                        <a:pt x="691674" y="919257"/>
                      </a:lnTo>
                      <a:lnTo>
                        <a:pt x="689330" y="918953"/>
                      </a:lnTo>
                      <a:lnTo>
                        <a:pt x="684510" y="919038"/>
                      </a:lnTo>
                      <a:lnTo>
                        <a:pt x="682542" y="918516"/>
                      </a:lnTo>
                      <a:lnTo>
                        <a:pt x="680709" y="917229"/>
                      </a:lnTo>
                      <a:lnTo>
                        <a:pt x="677552" y="914242"/>
                      </a:lnTo>
                      <a:lnTo>
                        <a:pt x="675949" y="913416"/>
                      </a:lnTo>
                      <a:lnTo>
                        <a:pt x="674164" y="913015"/>
                      </a:lnTo>
                      <a:lnTo>
                        <a:pt x="671869" y="913234"/>
                      </a:lnTo>
                      <a:lnTo>
                        <a:pt x="669234" y="913889"/>
                      </a:lnTo>
                      <a:lnTo>
                        <a:pt x="665894" y="915869"/>
                      </a:lnTo>
                      <a:lnTo>
                        <a:pt x="664061" y="916500"/>
                      </a:lnTo>
                      <a:lnTo>
                        <a:pt x="662167" y="916476"/>
                      </a:lnTo>
                      <a:lnTo>
                        <a:pt x="658548" y="914497"/>
                      </a:lnTo>
                      <a:lnTo>
                        <a:pt x="655852" y="914375"/>
                      </a:lnTo>
                      <a:lnTo>
                        <a:pt x="652464" y="915177"/>
                      </a:lnTo>
                      <a:lnTo>
                        <a:pt x="646199" y="919050"/>
                      </a:lnTo>
                      <a:lnTo>
                        <a:pt x="642301" y="920653"/>
                      </a:lnTo>
                      <a:lnTo>
                        <a:pt x="639945" y="921345"/>
                      </a:lnTo>
                      <a:lnTo>
                        <a:pt x="638682" y="921236"/>
                      </a:lnTo>
                      <a:lnTo>
                        <a:pt x="636557" y="919828"/>
                      </a:lnTo>
                      <a:lnTo>
                        <a:pt x="634092" y="920690"/>
                      </a:lnTo>
                      <a:lnTo>
                        <a:pt x="627839" y="921977"/>
                      </a:lnTo>
                      <a:lnTo>
                        <a:pt x="625762" y="923118"/>
                      </a:lnTo>
                      <a:lnTo>
                        <a:pt x="622787" y="925195"/>
                      </a:lnTo>
                      <a:lnTo>
                        <a:pt x="620990" y="924223"/>
                      </a:lnTo>
                      <a:lnTo>
                        <a:pt x="619678" y="922147"/>
                      </a:lnTo>
                      <a:lnTo>
                        <a:pt x="618003" y="921030"/>
                      </a:lnTo>
                      <a:lnTo>
                        <a:pt x="615538" y="920107"/>
                      </a:lnTo>
                      <a:lnTo>
                        <a:pt x="614566" y="917836"/>
                      </a:lnTo>
                      <a:lnTo>
                        <a:pt x="614214" y="914885"/>
                      </a:lnTo>
                      <a:lnTo>
                        <a:pt x="613534" y="911898"/>
                      </a:lnTo>
                      <a:lnTo>
                        <a:pt x="611749" y="908571"/>
                      </a:lnTo>
                      <a:lnTo>
                        <a:pt x="610316" y="907769"/>
                      </a:lnTo>
                      <a:lnTo>
                        <a:pt x="605714" y="910477"/>
                      </a:lnTo>
                      <a:lnTo>
                        <a:pt x="603128" y="907612"/>
                      </a:lnTo>
                      <a:lnTo>
                        <a:pt x="600153" y="909773"/>
                      </a:lnTo>
                      <a:lnTo>
                        <a:pt x="597044" y="913610"/>
                      </a:lnTo>
                      <a:lnTo>
                        <a:pt x="594178" y="915759"/>
                      </a:lnTo>
                      <a:lnTo>
                        <a:pt x="591531" y="915310"/>
                      </a:lnTo>
                      <a:lnTo>
                        <a:pt x="590280" y="913756"/>
                      </a:lnTo>
                      <a:lnTo>
                        <a:pt x="589418" y="911752"/>
                      </a:lnTo>
                      <a:lnTo>
                        <a:pt x="588386" y="909822"/>
                      </a:lnTo>
                      <a:lnTo>
                        <a:pt x="586079" y="907867"/>
                      </a:lnTo>
                      <a:lnTo>
                        <a:pt x="584075" y="907357"/>
                      </a:lnTo>
                      <a:lnTo>
                        <a:pt x="579303" y="907842"/>
                      </a:lnTo>
                      <a:lnTo>
                        <a:pt x="574312" y="906009"/>
                      </a:lnTo>
                      <a:lnTo>
                        <a:pt x="572236" y="901965"/>
                      </a:lnTo>
                      <a:lnTo>
                        <a:pt x="570864" y="897946"/>
                      </a:lnTo>
                      <a:lnTo>
                        <a:pt x="567816" y="896112"/>
                      </a:lnTo>
                      <a:lnTo>
                        <a:pt x="565934" y="895384"/>
                      </a:lnTo>
                      <a:lnTo>
                        <a:pt x="563748" y="896136"/>
                      </a:lnTo>
                      <a:lnTo>
                        <a:pt x="562133" y="897060"/>
                      </a:lnTo>
                      <a:lnTo>
                        <a:pt x="561101" y="898432"/>
                      </a:lnTo>
                      <a:lnTo>
                        <a:pt x="560069" y="900289"/>
                      </a:lnTo>
                      <a:lnTo>
                        <a:pt x="557494" y="906009"/>
                      </a:lnTo>
                      <a:lnTo>
                        <a:pt x="556110" y="907952"/>
                      </a:lnTo>
                      <a:lnTo>
                        <a:pt x="554738" y="909275"/>
                      </a:lnTo>
                      <a:lnTo>
                        <a:pt x="552200" y="911109"/>
                      </a:lnTo>
                      <a:lnTo>
                        <a:pt x="550585" y="912942"/>
                      </a:lnTo>
                      <a:lnTo>
                        <a:pt x="550828" y="917484"/>
                      </a:lnTo>
                      <a:lnTo>
                        <a:pt x="554034" y="923567"/>
                      </a:lnTo>
                      <a:lnTo>
                        <a:pt x="554969" y="926664"/>
                      </a:lnTo>
                      <a:lnTo>
                        <a:pt x="555709" y="930428"/>
                      </a:lnTo>
                      <a:lnTo>
                        <a:pt x="556402" y="932104"/>
                      </a:lnTo>
                      <a:lnTo>
                        <a:pt x="557312" y="933087"/>
                      </a:lnTo>
                      <a:lnTo>
                        <a:pt x="560178" y="934484"/>
                      </a:lnTo>
                      <a:lnTo>
                        <a:pt x="561793" y="936026"/>
                      </a:lnTo>
                      <a:lnTo>
                        <a:pt x="562765" y="938188"/>
                      </a:lnTo>
                      <a:lnTo>
                        <a:pt x="563627" y="941320"/>
                      </a:lnTo>
                      <a:lnTo>
                        <a:pt x="563857" y="943615"/>
                      </a:lnTo>
                      <a:lnTo>
                        <a:pt x="563809" y="945473"/>
                      </a:lnTo>
                      <a:lnTo>
                        <a:pt x="563105" y="947258"/>
                      </a:lnTo>
                      <a:lnTo>
                        <a:pt x="562133" y="948922"/>
                      </a:lnTo>
                      <a:lnTo>
                        <a:pt x="561222" y="950901"/>
                      </a:lnTo>
                      <a:lnTo>
                        <a:pt x="560639" y="953548"/>
                      </a:lnTo>
                      <a:lnTo>
                        <a:pt x="560639" y="957592"/>
                      </a:lnTo>
                      <a:lnTo>
                        <a:pt x="561453" y="959948"/>
                      </a:lnTo>
                      <a:lnTo>
                        <a:pt x="562655" y="961611"/>
                      </a:lnTo>
                      <a:lnTo>
                        <a:pt x="564440" y="963166"/>
                      </a:lnTo>
                      <a:lnTo>
                        <a:pt x="566152" y="965084"/>
                      </a:lnTo>
                      <a:lnTo>
                        <a:pt x="567816" y="968120"/>
                      </a:lnTo>
                      <a:lnTo>
                        <a:pt x="568460" y="970476"/>
                      </a:lnTo>
                      <a:lnTo>
                        <a:pt x="568338" y="972516"/>
                      </a:lnTo>
                      <a:lnTo>
                        <a:pt x="567658" y="973633"/>
                      </a:lnTo>
                      <a:lnTo>
                        <a:pt x="565132" y="975333"/>
                      </a:lnTo>
                      <a:lnTo>
                        <a:pt x="564258" y="976304"/>
                      </a:lnTo>
                      <a:lnTo>
                        <a:pt x="563857" y="977810"/>
                      </a:lnTo>
                      <a:lnTo>
                        <a:pt x="563979" y="978636"/>
                      </a:lnTo>
                      <a:lnTo>
                        <a:pt x="566735" y="982534"/>
                      </a:lnTo>
                      <a:lnTo>
                        <a:pt x="567245" y="984452"/>
                      </a:lnTo>
                      <a:lnTo>
                        <a:pt x="567488" y="986152"/>
                      </a:lnTo>
                      <a:lnTo>
                        <a:pt x="567306" y="988277"/>
                      </a:lnTo>
                      <a:lnTo>
                        <a:pt x="566845" y="989941"/>
                      </a:lnTo>
                      <a:lnTo>
                        <a:pt x="566104" y="991349"/>
                      </a:lnTo>
                      <a:lnTo>
                        <a:pt x="564829" y="992564"/>
                      </a:lnTo>
                      <a:lnTo>
                        <a:pt x="562825" y="993025"/>
                      </a:lnTo>
                      <a:lnTo>
                        <a:pt x="560239" y="992333"/>
                      </a:lnTo>
                      <a:lnTo>
                        <a:pt x="557713" y="990742"/>
                      </a:lnTo>
                      <a:lnTo>
                        <a:pt x="552783" y="986322"/>
                      </a:lnTo>
                      <a:lnTo>
                        <a:pt x="550998" y="985241"/>
                      </a:lnTo>
                      <a:lnTo>
                        <a:pt x="550075" y="985181"/>
                      </a:lnTo>
                      <a:lnTo>
                        <a:pt x="549164" y="985812"/>
                      </a:lnTo>
                      <a:lnTo>
                        <a:pt x="547088" y="988739"/>
                      </a:lnTo>
                      <a:lnTo>
                        <a:pt x="545898" y="990196"/>
                      </a:lnTo>
                      <a:lnTo>
                        <a:pt x="544283" y="991580"/>
                      </a:lnTo>
                      <a:lnTo>
                        <a:pt x="542619" y="992612"/>
                      </a:lnTo>
                      <a:lnTo>
                        <a:pt x="535613" y="995260"/>
                      </a:lnTo>
                      <a:lnTo>
                        <a:pt x="533719" y="995515"/>
                      </a:lnTo>
                      <a:lnTo>
                        <a:pt x="532225" y="995053"/>
                      </a:lnTo>
                      <a:lnTo>
                        <a:pt x="531011" y="993839"/>
                      </a:lnTo>
                      <a:lnTo>
                        <a:pt x="529991" y="992491"/>
                      </a:lnTo>
                      <a:lnTo>
                        <a:pt x="528716" y="991544"/>
                      </a:lnTo>
                      <a:lnTo>
                        <a:pt x="527064" y="991034"/>
                      </a:lnTo>
                      <a:lnTo>
                        <a:pt x="516718" y="991119"/>
                      </a:lnTo>
                      <a:lnTo>
                        <a:pt x="514763" y="991604"/>
                      </a:lnTo>
                      <a:lnTo>
                        <a:pt x="510683" y="994045"/>
                      </a:lnTo>
                      <a:lnTo>
                        <a:pt x="508158" y="995138"/>
                      </a:lnTo>
                      <a:lnTo>
                        <a:pt x="504770" y="995854"/>
                      </a:lnTo>
                      <a:lnTo>
                        <a:pt x="495189" y="996012"/>
                      </a:lnTo>
                      <a:lnTo>
                        <a:pt x="493234" y="997032"/>
                      </a:lnTo>
                      <a:lnTo>
                        <a:pt x="492433" y="998198"/>
                      </a:lnTo>
                      <a:lnTo>
                        <a:pt x="492372" y="1000226"/>
                      </a:lnTo>
                      <a:lnTo>
                        <a:pt x="492882" y="1003942"/>
                      </a:lnTo>
                      <a:lnTo>
                        <a:pt x="492663" y="1007014"/>
                      </a:lnTo>
                      <a:lnTo>
                        <a:pt x="484103" y="1011859"/>
                      </a:lnTo>
                      <a:lnTo>
                        <a:pt x="478359" y="1013620"/>
                      </a:lnTo>
                      <a:lnTo>
                        <a:pt x="476173" y="1013498"/>
                      </a:lnTo>
                      <a:lnTo>
                        <a:pt x="474218" y="1012976"/>
                      </a:lnTo>
                      <a:lnTo>
                        <a:pt x="472275" y="1011944"/>
                      </a:lnTo>
                      <a:lnTo>
                        <a:pt x="469349" y="1010851"/>
                      </a:lnTo>
                      <a:lnTo>
                        <a:pt x="467455" y="1009127"/>
                      </a:lnTo>
                      <a:lnTo>
                        <a:pt x="466192" y="1007487"/>
                      </a:lnTo>
                      <a:lnTo>
                        <a:pt x="465560" y="1006516"/>
                      </a:lnTo>
                      <a:lnTo>
                        <a:pt x="464637" y="1005763"/>
                      </a:lnTo>
                      <a:lnTo>
                        <a:pt x="461310" y="1004294"/>
                      </a:lnTo>
                      <a:lnTo>
                        <a:pt x="459695" y="1002946"/>
                      </a:lnTo>
                      <a:lnTo>
                        <a:pt x="458602" y="1001282"/>
                      </a:lnTo>
                      <a:lnTo>
                        <a:pt x="458032" y="999096"/>
                      </a:lnTo>
                      <a:lnTo>
                        <a:pt x="457230" y="997639"/>
                      </a:lnTo>
                      <a:lnTo>
                        <a:pt x="456320" y="997142"/>
                      </a:lnTo>
                      <a:lnTo>
                        <a:pt x="455287" y="997239"/>
                      </a:lnTo>
                      <a:lnTo>
                        <a:pt x="447067" y="998696"/>
                      </a:lnTo>
                      <a:lnTo>
                        <a:pt x="441614" y="996753"/>
                      </a:lnTo>
                      <a:lnTo>
                        <a:pt x="440339" y="996947"/>
                      </a:lnTo>
                      <a:lnTo>
                        <a:pt x="439647" y="997555"/>
                      </a:lnTo>
                      <a:lnTo>
                        <a:pt x="438057" y="1003407"/>
                      </a:lnTo>
                      <a:lnTo>
                        <a:pt x="437413" y="1004585"/>
                      </a:lnTo>
                      <a:lnTo>
                        <a:pt x="434596" y="1006904"/>
                      </a:lnTo>
                      <a:lnTo>
                        <a:pt x="433806" y="1007803"/>
                      </a:lnTo>
                      <a:lnTo>
                        <a:pt x="432592" y="1009467"/>
                      </a:lnTo>
                      <a:lnTo>
                        <a:pt x="430868" y="1010438"/>
                      </a:lnTo>
                      <a:lnTo>
                        <a:pt x="428294" y="1011531"/>
                      </a:lnTo>
                      <a:lnTo>
                        <a:pt x="419794" y="1014057"/>
                      </a:lnTo>
                      <a:lnTo>
                        <a:pt x="418239" y="1014894"/>
                      </a:lnTo>
                      <a:lnTo>
                        <a:pt x="418009" y="1015429"/>
                      </a:lnTo>
                      <a:lnTo>
                        <a:pt x="417887" y="1016157"/>
                      </a:lnTo>
                      <a:lnTo>
                        <a:pt x="418009" y="1016679"/>
                      </a:lnTo>
                      <a:lnTo>
                        <a:pt x="419271" y="1019108"/>
                      </a:lnTo>
                      <a:lnTo>
                        <a:pt x="420012" y="1020808"/>
                      </a:lnTo>
                      <a:lnTo>
                        <a:pt x="420656" y="1023055"/>
                      </a:lnTo>
                      <a:lnTo>
                        <a:pt x="422149" y="1031300"/>
                      </a:lnTo>
                      <a:lnTo>
                        <a:pt x="422149" y="1032222"/>
                      </a:lnTo>
                      <a:lnTo>
                        <a:pt x="421967" y="1033133"/>
                      </a:lnTo>
                      <a:lnTo>
                        <a:pt x="421566" y="1033825"/>
                      </a:lnTo>
                      <a:lnTo>
                        <a:pt x="420425" y="1034833"/>
                      </a:lnTo>
                      <a:lnTo>
                        <a:pt x="419041" y="1034979"/>
                      </a:lnTo>
                      <a:lnTo>
                        <a:pt x="416976" y="1034603"/>
                      </a:lnTo>
                      <a:lnTo>
                        <a:pt x="414159" y="1033522"/>
                      </a:lnTo>
                      <a:lnTo>
                        <a:pt x="411002" y="1032975"/>
                      </a:lnTo>
                      <a:lnTo>
                        <a:pt x="408877" y="1033230"/>
                      </a:lnTo>
                      <a:lnTo>
                        <a:pt x="407383" y="1033923"/>
                      </a:lnTo>
                      <a:lnTo>
                        <a:pt x="406011" y="1034955"/>
                      </a:lnTo>
                      <a:lnTo>
                        <a:pt x="401761" y="1037250"/>
                      </a:lnTo>
                      <a:lnTo>
                        <a:pt x="399345" y="1037772"/>
                      </a:lnTo>
                      <a:lnTo>
                        <a:pt x="398191" y="1038221"/>
                      </a:lnTo>
                      <a:lnTo>
                        <a:pt x="397633" y="1038634"/>
                      </a:lnTo>
                      <a:lnTo>
                        <a:pt x="396236" y="1040880"/>
                      </a:lnTo>
                      <a:lnTo>
                        <a:pt x="394694" y="1042253"/>
                      </a:lnTo>
                      <a:lnTo>
                        <a:pt x="393371" y="1042860"/>
                      </a:lnTo>
                      <a:lnTo>
                        <a:pt x="391768" y="1043091"/>
                      </a:lnTo>
                      <a:lnTo>
                        <a:pt x="389825" y="1043091"/>
                      </a:lnTo>
                      <a:lnTo>
                        <a:pt x="388659" y="1043564"/>
                      </a:lnTo>
                      <a:lnTo>
                        <a:pt x="388040" y="1044378"/>
                      </a:lnTo>
                      <a:lnTo>
                        <a:pt x="386255" y="1050340"/>
                      </a:lnTo>
                      <a:lnTo>
                        <a:pt x="385684" y="1051263"/>
                      </a:lnTo>
                      <a:lnTo>
                        <a:pt x="384761" y="1052161"/>
                      </a:lnTo>
                      <a:lnTo>
                        <a:pt x="383328" y="1053060"/>
                      </a:lnTo>
                      <a:lnTo>
                        <a:pt x="380450" y="1055282"/>
                      </a:lnTo>
                      <a:lnTo>
                        <a:pt x="385623" y="1060394"/>
                      </a:lnTo>
                      <a:lnTo>
                        <a:pt x="385101" y="1062543"/>
                      </a:lnTo>
                      <a:lnTo>
                        <a:pt x="384482" y="1064074"/>
                      </a:lnTo>
                      <a:lnTo>
                        <a:pt x="382515" y="1064790"/>
                      </a:lnTo>
                      <a:lnTo>
                        <a:pt x="378908" y="1065190"/>
                      </a:lnTo>
                      <a:lnTo>
                        <a:pt x="377585" y="1065506"/>
                      </a:lnTo>
                      <a:lnTo>
                        <a:pt x="376213" y="1066114"/>
                      </a:lnTo>
                      <a:lnTo>
                        <a:pt x="374780" y="1067109"/>
                      </a:lnTo>
                      <a:lnTo>
                        <a:pt x="368623" y="1072598"/>
                      </a:lnTo>
                      <a:lnTo>
                        <a:pt x="367130" y="1073509"/>
                      </a:lnTo>
                      <a:lnTo>
                        <a:pt x="365296" y="1074310"/>
                      </a:lnTo>
                      <a:lnTo>
                        <a:pt x="364155" y="1074589"/>
                      </a:lnTo>
                      <a:lnTo>
                        <a:pt x="363171" y="1074528"/>
                      </a:lnTo>
                      <a:lnTo>
                        <a:pt x="362540" y="1074249"/>
                      </a:lnTo>
                      <a:lnTo>
                        <a:pt x="362151" y="1073848"/>
                      </a:lnTo>
                      <a:lnTo>
                        <a:pt x="361969" y="1073302"/>
                      </a:lnTo>
                      <a:lnTo>
                        <a:pt x="361908" y="1072452"/>
                      </a:lnTo>
                      <a:lnTo>
                        <a:pt x="362030" y="1071760"/>
                      </a:lnTo>
                      <a:lnTo>
                        <a:pt x="362030" y="1070958"/>
                      </a:lnTo>
                      <a:lnTo>
                        <a:pt x="361690" y="1070036"/>
                      </a:lnTo>
                      <a:lnTo>
                        <a:pt x="361046" y="1068846"/>
                      </a:lnTo>
                      <a:lnTo>
                        <a:pt x="359164" y="1066453"/>
                      </a:lnTo>
                      <a:lnTo>
                        <a:pt x="358739" y="1065506"/>
                      </a:lnTo>
                      <a:lnTo>
                        <a:pt x="358350" y="1062373"/>
                      </a:lnTo>
                      <a:lnTo>
                        <a:pt x="358010" y="1060674"/>
                      </a:lnTo>
                      <a:lnTo>
                        <a:pt x="357087" y="1060273"/>
                      </a:lnTo>
                      <a:lnTo>
                        <a:pt x="355545" y="1059933"/>
                      </a:lnTo>
                      <a:lnTo>
                        <a:pt x="349328" y="1059386"/>
                      </a:lnTo>
                      <a:lnTo>
                        <a:pt x="347725" y="1058840"/>
                      </a:lnTo>
                      <a:lnTo>
                        <a:pt x="344859" y="1057140"/>
                      </a:lnTo>
                      <a:lnTo>
                        <a:pt x="342382" y="1056314"/>
                      </a:lnTo>
                      <a:lnTo>
                        <a:pt x="341180" y="1056253"/>
                      </a:lnTo>
                      <a:lnTo>
                        <a:pt x="340257" y="1056739"/>
                      </a:lnTo>
                      <a:lnTo>
                        <a:pt x="339747" y="1057710"/>
                      </a:lnTo>
                      <a:lnTo>
                        <a:pt x="338132" y="1064207"/>
                      </a:lnTo>
                      <a:lnTo>
                        <a:pt x="337501" y="1065494"/>
                      </a:lnTo>
                      <a:lnTo>
                        <a:pt x="336760" y="1066672"/>
                      </a:lnTo>
                      <a:lnTo>
                        <a:pt x="335789" y="1067680"/>
                      </a:lnTo>
                      <a:lnTo>
                        <a:pt x="334696" y="1068396"/>
                      </a:lnTo>
                      <a:lnTo>
                        <a:pt x="332340" y="1069684"/>
                      </a:lnTo>
                      <a:lnTo>
                        <a:pt x="331308" y="1070351"/>
                      </a:lnTo>
                      <a:lnTo>
                        <a:pt x="330373" y="1071177"/>
                      </a:lnTo>
                      <a:lnTo>
                        <a:pt x="327167" y="1074856"/>
                      </a:lnTo>
                      <a:lnTo>
                        <a:pt x="325844" y="1076143"/>
                      </a:lnTo>
                      <a:lnTo>
                        <a:pt x="324641" y="1076484"/>
                      </a:lnTo>
                      <a:lnTo>
                        <a:pt x="323439" y="1075998"/>
                      </a:lnTo>
                      <a:lnTo>
                        <a:pt x="322577" y="1075051"/>
                      </a:lnTo>
                      <a:lnTo>
                        <a:pt x="321727" y="1073933"/>
                      </a:lnTo>
                      <a:lnTo>
                        <a:pt x="320914" y="1073035"/>
                      </a:lnTo>
                      <a:lnTo>
                        <a:pt x="319930" y="1072343"/>
                      </a:lnTo>
                      <a:lnTo>
                        <a:pt x="318619" y="1072088"/>
                      </a:lnTo>
                      <a:lnTo>
                        <a:pt x="317926" y="1072379"/>
                      </a:lnTo>
                      <a:lnTo>
                        <a:pt x="317234" y="1073181"/>
                      </a:lnTo>
                      <a:lnTo>
                        <a:pt x="315971" y="1077188"/>
                      </a:lnTo>
                      <a:lnTo>
                        <a:pt x="315510" y="1077989"/>
                      </a:lnTo>
                      <a:lnTo>
                        <a:pt x="314417" y="1079058"/>
                      </a:lnTo>
                      <a:lnTo>
                        <a:pt x="313106" y="1079422"/>
                      </a:lnTo>
                      <a:lnTo>
                        <a:pt x="311770" y="1079167"/>
                      </a:lnTo>
                      <a:lnTo>
                        <a:pt x="310580" y="1078341"/>
                      </a:lnTo>
                      <a:lnTo>
                        <a:pt x="309305" y="1077018"/>
                      </a:lnTo>
                      <a:lnTo>
                        <a:pt x="307993" y="1076046"/>
                      </a:lnTo>
                      <a:lnTo>
                        <a:pt x="306148" y="1075840"/>
                      </a:lnTo>
                      <a:lnTo>
                        <a:pt x="305298" y="1076896"/>
                      </a:lnTo>
                      <a:lnTo>
                        <a:pt x="304314" y="1080685"/>
                      </a:lnTo>
                      <a:lnTo>
                        <a:pt x="301910" y="1085943"/>
                      </a:lnTo>
                      <a:lnTo>
                        <a:pt x="301789" y="1086696"/>
                      </a:lnTo>
                      <a:lnTo>
                        <a:pt x="301959" y="1087181"/>
                      </a:lnTo>
                      <a:lnTo>
                        <a:pt x="302481" y="1087643"/>
                      </a:lnTo>
                      <a:lnTo>
                        <a:pt x="303161" y="1087874"/>
                      </a:lnTo>
                      <a:lnTo>
                        <a:pt x="303683" y="1087934"/>
                      </a:lnTo>
                      <a:lnTo>
                        <a:pt x="304132" y="1087752"/>
                      </a:lnTo>
                      <a:lnTo>
                        <a:pt x="304654" y="1087522"/>
                      </a:lnTo>
                      <a:lnTo>
                        <a:pt x="306731" y="1086089"/>
                      </a:lnTo>
                      <a:lnTo>
                        <a:pt x="308224" y="1085457"/>
                      </a:lnTo>
                      <a:lnTo>
                        <a:pt x="309086" y="1085214"/>
                      </a:lnTo>
                      <a:lnTo>
                        <a:pt x="309645" y="1085275"/>
                      </a:lnTo>
                      <a:lnTo>
                        <a:pt x="310119" y="1085700"/>
                      </a:lnTo>
                      <a:lnTo>
                        <a:pt x="310580" y="1086501"/>
                      </a:lnTo>
                      <a:lnTo>
                        <a:pt x="311029" y="1088784"/>
                      </a:lnTo>
                      <a:lnTo>
                        <a:pt x="311102" y="1089671"/>
                      </a:lnTo>
                      <a:lnTo>
                        <a:pt x="311260" y="1090496"/>
                      </a:lnTo>
                      <a:lnTo>
                        <a:pt x="311442" y="1091128"/>
                      </a:lnTo>
                      <a:lnTo>
                        <a:pt x="312013" y="1091929"/>
                      </a:lnTo>
                      <a:lnTo>
                        <a:pt x="312936" y="1092415"/>
                      </a:lnTo>
                      <a:lnTo>
                        <a:pt x="314016" y="1092646"/>
                      </a:lnTo>
                      <a:lnTo>
                        <a:pt x="315061" y="1092682"/>
                      </a:lnTo>
                      <a:lnTo>
                        <a:pt x="317125" y="1092403"/>
                      </a:lnTo>
                      <a:lnTo>
                        <a:pt x="317926" y="1092427"/>
                      </a:lnTo>
                      <a:lnTo>
                        <a:pt x="318619" y="1092949"/>
                      </a:lnTo>
                      <a:lnTo>
                        <a:pt x="319129" y="1093799"/>
                      </a:lnTo>
                      <a:lnTo>
                        <a:pt x="319359" y="1095147"/>
                      </a:lnTo>
                      <a:lnTo>
                        <a:pt x="319420" y="1096556"/>
                      </a:lnTo>
                      <a:lnTo>
                        <a:pt x="319651" y="1097928"/>
                      </a:lnTo>
                      <a:lnTo>
                        <a:pt x="320112" y="1099021"/>
                      </a:lnTo>
                      <a:lnTo>
                        <a:pt x="320792" y="1099907"/>
                      </a:lnTo>
                      <a:lnTo>
                        <a:pt x="321946" y="1100660"/>
                      </a:lnTo>
                      <a:lnTo>
                        <a:pt x="323099" y="1101328"/>
                      </a:lnTo>
                      <a:lnTo>
                        <a:pt x="325734" y="1102445"/>
                      </a:lnTo>
                      <a:lnTo>
                        <a:pt x="326366" y="1102907"/>
                      </a:lnTo>
                      <a:lnTo>
                        <a:pt x="326706" y="1103623"/>
                      </a:lnTo>
                      <a:lnTo>
                        <a:pt x="326475" y="1104692"/>
                      </a:lnTo>
                      <a:lnTo>
                        <a:pt x="325625" y="1105517"/>
                      </a:lnTo>
                      <a:lnTo>
                        <a:pt x="324641" y="1106064"/>
                      </a:lnTo>
                      <a:lnTo>
                        <a:pt x="323269" y="1106319"/>
                      </a:lnTo>
                      <a:lnTo>
                        <a:pt x="319991" y="1106635"/>
                      </a:lnTo>
                      <a:lnTo>
                        <a:pt x="317866" y="1107242"/>
                      </a:lnTo>
                      <a:lnTo>
                        <a:pt x="317004" y="1108177"/>
                      </a:lnTo>
                      <a:lnTo>
                        <a:pt x="316664" y="1109646"/>
                      </a:lnTo>
                      <a:lnTo>
                        <a:pt x="316943" y="1112864"/>
                      </a:lnTo>
                      <a:lnTo>
                        <a:pt x="317404" y="1114479"/>
                      </a:lnTo>
                      <a:lnTo>
                        <a:pt x="318218" y="1116106"/>
                      </a:lnTo>
                      <a:lnTo>
                        <a:pt x="319529" y="1118182"/>
                      </a:lnTo>
                      <a:lnTo>
                        <a:pt x="319809" y="1118947"/>
                      </a:lnTo>
                      <a:lnTo>
                        <a:pt x="319809" y="1119894"/>
                      </a:lnTo>
                      <a:lnTo>
                        <a:pt x="319529" y="1123513"/>
                      </a:lnTo>
                      <a:lnTo>
                        <a:pt x="319809" y="1125067"/>
                      </a:lnTo>
                      <a:lnTo>
                        <a:pt x="320331" y="1126306"/>
                      </a:lnTo>
                      <a:lnTo>
                        <a:pt x="321144" y="1126767"/>
                      </a:lnTo>
                      <a:lnTo>
                        <a:pt x="321946" y="1126767"/>
                      </a:lnTo>
                      <a:lnTo>
                        <a:pt x="322856" y="1126391"/>
                      </a:lnTo>
                      <a:lnTo>
                        <a:pt x="323549" y="1125966"/>
                      </a:lnTo>
                      <a:lnTo>
                        <a:pt x="325224" y="1124727"/>
                      </a:lnTo>
                      <a:lnTo>
                        <a:pt x="326135" y="1124242"/>
                      </a:lnTo>
                      <a:lnTo>
                        <a:pt x="327119" y="1124120"/>
                      </a:lnTo>
                      <a:lnTo>
                        <a:pt x="328260" y="1124412"/>
                      </a:lnTo>
                      <a:lnTo>
                        <a:pt x="344337" y="1131892"/>
                      </a:lnTo>
                      <a:lnTo>
                        <a:pt x="345661" y="1132754"/>
                      </a:lnTo>
                      <a:lnTo>
                        <a:pt x="347045" y="1134102"/>
                      </a:lnTo>
                      <a:lnTo>
                        <a:pt x="347907" y="1135389"/>
                      </a:lnTo>
                      <a:lnTo>
                        <a:pt x="348478" y="1136883"/>
                      </a:lnTo>
                      <a:lnTo>
                        <a:pt x="348879" y="1138910"/>
                      </a:lnTo>
                      <a:lnTo>
                        <a:pt x="348939" y="1141691"/>
                      </a:lnTo>
                      <a:lnTo>
                        <a:pt x="347847" y="1149706"/>
                      </a:lnTo>
                      <a:lnTo>
                        <a:pt x="348126" y="1156129"/>
                      </a:lnTo>
                      <a:lnTo>
                        <a:pt x="347665" y="1159602"/>
                      </a:lnTo>
                      <a:lnTo>
                        <a:pt x="346693" y="1161181"/>
                      </a:lnTo>
                      <a:lnTo>
                        <a:pt x="345369" y="1161982"/>
                      </a:lnTo>
                      <a:lnTo>
                        <a:pt x="337622" y="1162188"/>
                      </a:lnTo>
                      <a:lnTo>
                        <a:pt x="335789" y="1162796"/>
                      </a:lnTo>
                      <a:lnTo>
                        <a:pt x="334234" y="1163743"/>
                      </a:lnTo>
                      <a:lnTo>
                        <a:pt x="332170" y="1165941"/>
                      </a:lnTo>
                      <a:lnTo>
                        <a:pt x="331539" y="1167361"/>
                      </a:lnTo>
                      <a:lnTo>
                        <a:pt x="331709" y="1168758"/>
                      </a:lnTo>
                      <a:lnTo>
                        <a:pt x="332619" y="1169559"/>
                      </a:lnTo>
                      <a:lnTo>
                        <a:pt x="333943" y="1170142"/>
                      </a:lnTo>
                      <a:lnTo>
                        <a:pt x="338193" y="1171198"/>
                      </a:lnTo>
                      <a:lnTo>
                        <a:pt x="339116" y="1171539"/>
                      </a:lnTo>
                      <a:lnTo>
                        <a:pt x="339917" y="1172061"/>
                      </a:lnTo>
                      <a:lnTo>
                        <a:pt x="340488" y="1172862"/>
                      </a:lnTo>
                      <a:lnTo>
                        <a:pt x="340840" y="1174611"/>
                      </a:lnTo>
                      <a:lnTo>
                        <a:pt x="340779" y="1177136"/>
                      </a:lnTo>
                      <a:lnTo>
                        <a:pt x="340027" y="1181909"/>
                      </a:lnTo>
                      <a:lnTo>
                        <a:pt x="338703" y="1185211"/>
                      </a:lnTo>
                      <a:lnTo>
                        <a:pt x="337161" y="1187907"/>
                      </a:lnTo>
                      <a:lnTo>
                        <a:pt x="334805" y="1191319"/>
                      </a:lnTo>
                      <a:lnTo>
                        <a:pt x="331308" y="1198387"/>
                      </a:lnTo>
                      <a:lnTo>
                        <a:pt x="326087" y="1205223"/>
                      </a:lnTo>
                      <a:lnTo>
                        <a:pt x="325504" y="1206219"/>
                      </a:lnTo>
                      <a:lnTo>
                        <a:pt x="325734" y="1207044"/>
                      </a:lnTo>
                      <a:lnTo>
                        <a:pt x="328199" y="1209291"/>
                      </a:lnTo>
                      <a:lnTo>
                        <a:pt x="329122" y="1210554"/>
                      </a:lnTo>
                      <a:lnTo>
                        <a:pt x="329584" y="1212326"/>
                      </a:lnTo>
                      <a:lnTo>
                        <a:pt x="328879" y="1214185"/>
                      </a:lnTo>
                      <a:lnTo>
                        <a:pt x="325164" y="1221191"/>
                      </a:lnTo>
                      <a:lnTo>
                        <a:pt x="321727" y="1226473"/>
                      </a:lnTo>
                      <a:lnTo>
                        <a:pt x="319930" y="1228234"/>
                      </a:lnTo>
                      <a:lnTo>
                        <a:pt x="316664" y="1230759"/>
                      </a:lnTo>
                      <a:lnTo>
                        <a:pt x="314696" y="1231767"/>
                      </a:lnTo>
                      <a:lnTo>
                        <a:pt x="312414" y="1232629"/>
                      </a:lnTo>
                      <a:lnTo>
                        <a:pt x="307593" y="1233382"/>
                      </a:lnTo>
                      <a:lnTo>
                        <a:pt x="301509" y="1233382"/>
                      </a:lnTo>
                      <a:lnTo>
                        <a:pt x="300416" y="1233091"/>
                      </a:lnTo>
                      <a:lnTo>
                        <a:pt x="299833" y="1232787"/>
                      </a:lnTo>
                      <a:lnTo>
                        <a:pt x="299724" y="1232326"/>
                      </a:lnTo>
                      <a:lnTo>
                        <a:pt x="299773" y="1231743"/>
                      </a:lnTo>
                      <a:lnTo>
                        <a:pt x="300003" y="1230893"/>
                      </a:lnTo>
                      <a:lnTo>
                        <a:pt x="300234" y="1228562"/>
                      </a:lnTo>
                      <a:lnTo>
                        <a:pt x="300064" y="1227287"/>
                      </a:lnTo>
                      <a:lnTo>
                        <a:pt x="299663" y="1226024"/>
                      </a:lnTo>
                      <a:lnTo>
                        <a:pt x="298923" y="1225198"/>
                      </a:lnTo>
                      <a:lnTo>
                        <a:pt x="297599" y="1224773"/>
                      </a:lnTo>
                      <a:lnTo>
                        <a:pt x="296045" y="1225052"/>
                      </a:lnTo>
                      <a:lnTo>
                        <a:pt x="294491" y="1225781"/>
                      </a:lnTo>
                      <a:lnTo>
                        <a:pt x="285481" y="1232739"/>
                      </a:lnTo>
                      <a:lnTo>
                        <a:pt x="283015" y="1235774"/>
                      </a:lnTo>
                      <a:lnTo>
                        <a:pt x="281522" y="1240292"/>
                      </a:lnTo>
                      <a:lnTo>
                        <a:pt x="280660" y="1241822"/>
                      </a:lnTo>
                      <a:lnTo>
                        <a:pt x="279688" y="1242757"/>
                      </a:lnTo>
                      <a:lnTo>
                        <a:pt x="277381" y="1243619"/>
                      </a:lnTo>
                      <a:lnTo>
                        <a:pt x="277041" y="1244311"/>
                      </a:lnTo>
                      <a:lnTo>
                        <a:pt x="277260" y="1245173"/>
                      </a:lnTo>
                      <a:lnTo>
                        <a:pt x="278243" y="1246970"/>
                      </a:lnTo>
                      <a:lnTo>
                        <a:pt x="278474" y="1249873"/>
                      </a:lnTo>
                      <a:lnTo>
                        <a:pt x="271128" y="1250018"/>
                      </a:lnTo>
                      <a:lnTo>
                        <a:pt x="260150" y="1254353"/>
                      </a:lnTo>
                      <a:lnTo>
                        <a:pt x="257807" y="1255009"/>
                      </a:lnTo>
                      <a:lnTo>
                        <a:pt x="255742" y="1254754"/>
                      </a:lnTo>
                      <a:lnTo>
                        <a:pt x="252925" y="1254001"/>
                      </a:lnTo>
                      <a:lnTo>
                        <a:pt x="248845" y="1251354"/>
                      </a:lnTo>
                      <a:lnTo>
                        <a:pt x="246842" y="1249083"/>
                      </a:lnTo>
                      <a:lnTo>
                        <a:pt x="245518" y="1246375"/>
                      </a:lnTo>
                      <a:lnTo>
                        <a:pt x="243223" y="1236443"/>
                      </a:lnTo>
                      <a:lnTo>
                        <a:pt x="242409" y="1234293"/>
                      </a:lnTo>
                      <a:lnTo>
                        <a:pt x="240916" y="1232520"/>
                      </a:lnTo>
                      <a:lnTo>
                        <a:pt x="239264" y="1231476"/>
                      </a:lnTo>
                      <a:lnTo>
                        <a:pt x="236496" y="1230723"/>
                      </a:lnTo>
                      <a:lnTo>
                        <a:pt x="232938" y="1230128"/>
                      </a:lnTo>
                      <a:lnTo>
                        <a:pt x="231566" y="1229727"/>
                      </a:lnTo>
                      <a:lnTo>
                        <a:pt x="230303" y="1228926"/>
                      </a:lnTo>
                      <a:lnTo>
                        <a:pt x="229611" y="1227979"/>
                      </a:lnTo>
                      <a:lnTo>
                        <a:pt x="229198" y="1226607"/>
                      </a:lnTo>
                      <a:lnTo>
                        <a:pt x="228809" y="1223534"/>
                      </a:lnTo>
                      <a:lnTo>
                        <a:pt x="228129" y="1222733"/>
                      </a:lnTo>
                      <a:lnTo>
                        <a:pt x="227024" y="1222418"/>
                      </a:lnTo>
                      <a:lnTo>
                        <a:pt x="225422" y="1223632"/>
                      </a:lnTo>
                      <a:lnTo>
                        <a:pt x="224559" y="1224579"/>
                      </a:lnTo>
                      <a:lnTo>
                        <a:pt x="221852" y="1228914"/>
                      </a:lnTo>
                      <a:lnTo>
                        <a:pt x="220710" y="1230395"/>
                      </a:lnTo>
                      <a:lnTo>
                        <a:pt x="219156" y="1230978"/>
                      </a:lnTo>
                      <a:lnTo>
                        <a:pt x="216509" y="1231355"/>
                      </a:lnTo>
                      <a:lnTo>
                        <a:pt x="207499" y="1231804"/>
                      </a:lnTo>
                      <a:lnTo>
                        <a:pt x="203479" y="1233929"/>
                      </a:lnTo>
                      <a:lnTo>
                        <a:pt x="201427" y="1233674"/>
                      </a:lnTo>
                      <a:lnTo>
                        <a:pt x="198148" y="1233309"/>
                      </a:lnTo>
                      <a:lnTo>
                        <a:pt x="195101" y="1232593"/>
                      </a:lnTo>
                      <a:lnTo>
                        <a:pt x="193267" y="1231306"/>
                      </a:lnTo>
                      <a:lnTo>
                        <a:pt x="192757" y="1228987"/>
                      </a:lnTo>
                      <a:lnTo>
                        <a:pt x="193267" y="1220705"/>
                      </a:lnTo>
                      <a:lnTo>
                        <a:pt x="191834" y="1215897"/>
                      </a:lnTo>
                      <a:lnTo>
                        <a:pt x="185459" y="1203657"/>
                      </a:lnTo>
                      <a:lnTo>
                        <a:pt x="182241" y="1199406"/>
                      </a:lnTo>
                      <a:lnTo>
                        <a:pt x="171276" y="1190506"/>
                      </a:lnTo>
                      <a:lnTo>
                        <a:pt x="167706" y="1186972"/>
                      </a:lnTo>
                      <a:lnTo>
                        <a:pt x="164148" y="1181981"/>
                      </a:lnTo>
                      <a:lnTo>
                        <a:pt x="163468" y="1177998"/>
                      </a:lnTo>
                      <a:lnTo>
                        <a:pt x="168799" y="1177391"/>
                      </a:lnTo>
                      <a:lnTo>
                        <a:pt x="168799" y="1175958"/>
                      </a:lnTo>
                      <a:lnTo>
                        <a:pt x="165703" y="1176068"/>
                      </a:lnTo>
                      <a:lnTo>
                        <a:pt x="162776" y="1175303"/>
                      </a:lnTo>
                      <a:lnTo>
                        <a:pt x="160651" y="1173748"/>
                      </a:lnTo>
                      <a:lnTo>
                        <a:pt x="159850" y="1171429"/>
                      </a:lnTo>
                      <a:lnTo>
                        <a:pt x="159218" y="1170798"/>
                      </a:lnTo>
                      <a:lnTo>
                        <a:pt x="157846" y="1170312"/>
                      </a:lnTo>
                      <a:lnTo>
                        <a:pt x="156522" y="1169426"/>
                      </a:lnTo>
                      <a:lnTo>
                        <a:pt x="155891" y="1167507"/>
                      </a:lnTo>
                      <a:lnTo>
                        <a:pt x="156984" y="1166499"/>
                      </a:lnTo>
                      <a:lnTo>
                        <a:pt x="157846" y="1165467"/>
                      </a:lnTo>
                      <a:lnTo>
                        <a:pt x="158478" y="1164143"/>
                      </a:lnTo>
                      <a:lnTo>
                        <a:pt x="158478" y="1152911"/>
                      </a:lnTo>
                      <a:lnTo>
                        <a:pt x="158927" y="1150045"/>
                      </a:lnTo>
                      <a:lnTo>
                        <a:pt x="160250" y="1148273"/>
                      </a:lnTo>
                      <a:lnTo>
                        <a:pt x="161914" y="1146670"/>
                      </a:lnTo>
                      <a:lnTo>
                        <a:pt x="163590" y="1144350"/>
                      </a:lnTo>
                      <a:lnTo>
                        <a:pt x="159279" y="1145686"/>
                      </a:lnTo>
                      <a:lnTo>
                        <a:pt x="156984" y="1148698"/>
                      </a:lnTo>
                      <a:lnTo>
                        <a:pt x="156061" y="1153190"/>
                      </a:lnTo>
                      <a:lnTo>
                        <a:pt x="155891" y="1158898"/>
                      </a:lnTo>
                      <a:lnTo>
                        <a:pt x="154628" y="1149596"/>
                      </a:lnTo>
                      <a:lnTo>
                        <a:pt x="154628" y="1141837"/>
                      </a:lnTo>
                      <a:lnTo>
                        <a:pt x="153645" y="1138850"/>
                      </a:lnTo>
                      <a:lnTo>
                        <a:pt x="152843" y="1138668"/>
                      </a:lnTo>
                      <a:lnTo>
                        <a:pt x="151932" y="1139360"/>
                      </a:lnTo>
                      <a:lnTo>
                        <a:pt x="150779" y="1139056"/>
                      </a:lnTo>
                      <a:lnTo>
                        <a:pt x="149625" y="1137684"/>
                      </a:lnTo>
                      <a:lnTo>
                        <a:pt x="148994" y="1136421"/>
                      </a:lnTo>
                      <a:lnTo>
                        <a:pt x="148192" y="1132511"/>
                      </a:lnTo>
                      <a:lnTo>
                        <a:pt x="143080" y="1116725"/>
                      </a:lnTo>
                      <a:lnTo>
                        <a:pt x="142910" y="1115717"/>
                      </a:lnTo>
                      <a:lnTo>
                        <a:pt x="143080" y="1112062"/>
                      </a:lnTo>
                      <a:lnTo>
                        <a:pt x="142510" y="1111431"/>
                      </a:lnTo>
                      <a:lnTo>
                        <a:pt x="139243" y="1110022"/>
                      </a:lnTo>
                      <a:lnTo>
                        <a:pt x="139462" y="1107509"/>
                      </a:lnTo>
                      <a:lnTo>
                        <a:pt x="140385" y="1105833"/>
                      </a:lnTo>
                      <a:lnTo>
                        <a:pt x="141987" y="1104606"/>
                      </a:lnTo>
                      <a:lnTo>
                        <a:pt x="144234" y="1103441"/>
                      </a:lnTo>
                      <a:lnTo>
                        <a:pt x="140955" y="1102093"/>
                      </a:lnTo>
                      <a:lnTo>
                        <a:pt x="138090" y="1100296"/>
                      </a:lnTo>
                      <a:lnTo>
                        <a:pt x="136074" y="1097588"/>
                      </a:lnTo>
                      <a:lnTo>
                        <a:pt x="134702" y="1090642"/>
                      </a:lnTo>
                      <a:lnTo>
                        <a:pt x="131884" y="1082640"/>
                      </a:lnTo>
                      <a:lnTo>
                        <a:pt x="130901" y="1080964"/>
                      </a:lnTo>
                      <a:lnTo>
                        <a:pt x="129419" y="1080139"/>
                      </a:lnTo>
                      <a:lnTo>
                        <a:pt x="128897" y="1078159"/>
                      </a:lnTo>
                      <a:lnTo>
                        <a:pt x="129019" y="1073800"/>
                      </a:lnTo>
                      <a:lnTo>
                        <a:pt x="129699" y="1072331"/>
                      </a:lnTo>
                      <a:lnTo>
                        <a:pt x="131144" y="1073436"/>
                      </a:lnTo>
                      <a:lnTo>
                        <a:pt x="132394" y="1075184"/>
                      </a:lnTo>
                      <a:lnTo>
                        <a:pt x="132686" y="1075852"/>
                      </a:lnTo>
                      <a:lnTo>
                        <a:pt x="136596" y="1079981"/>
                      </a:lnTo>
                      <a:lnTo>
                        <a:pt x="138782" y="1080782"/>
                      </a:lnTo>
                      <a:lnTo>
                        <a:pt x="143080" y="1080989"/>
                      </a:lnTo>
                      <a:lnTo>
                        <a:pt x="141368" y="1080381"/>
                      </a:lnTo>
                      <a:lnTo>
                        <a:pt x="139972" y="1079616"/>
                      </a:lnTo>
                      <a:lnTo>
                        <a:pt x="138842" y="1078609"/>
                      </a:lnTo>
                      <a:lnTo>
                        <a:pt x="137847" y="1077176"/>
                      </a:lnTo>
                      <a:lnTo>
                        <a:pt x="138490" y="1076229"/>
                      </a:lnTo>
                      <a:lnTo>
                        <a:pt x="140494" y="1074043"/>
                      </a:lnTo>
                      <a:lnTo>
                        <a:pt x="141647" y="1073132"/>
                      </a:lnTo>
                      <a:lnTo>
                        <a:pt x="138430" y="1073035"/>
                      </a:lnTo>
                      <a:lnTo>
                        <a:pt x="135163" y="1071893"/>
                      </a:lnTo>
                      <a:lnTo>
                        <a:pt x="132577" y="1069853"/>
                      </a:lnTo>
                      <a:lnTo>
                        <a:pt x="131544" y="1067109"/>
                      </a:lnTo>
                      <a:lnTo>
                        <a:pt x="131302" y="1065604"/>
                      </a:lnTo>
                      <a:lnTo>
                        <a:pt x="131083" y="1065361"/>
                      </a:lnTo>
                      <a:lnTo>
                        <a:pt x="131302" y="1065239"/>
                      </a:lnTo>
                      <a:lnTo>
                        <a:pt x="132686" y="1064001"/>
                      </a:lnTo>
                      <a:lnTo>
                        <a:pt x="133366" y="1063855"/>
                      </a:lnTo>
                      <a:lnTo>
                        <a:pt x="139243" y="1061244"/>
                      </a:lnTo>
                      <a:lnTo>
                        <a:pt x="139243" y="1064486"/>
                      </a:lnTo>
                      <a:lnTo>
                        <a:pt x="140154" y="1065834"/>
                      </a:lnTo>
                      <a:lnTo>
                        <a:pt x="141186" y="1065434"/>
                      </a:lnTo>
                      <a:lnTo>
                        <a:pt x="141647" y="1063284"/>
                      </a:lnTo>
                      <a:lnTo>
                        <a:pt x="140785" y="1059836"/>
                      </a:lnTo>
                      <a:lnTo>
                        <a:pt x="138490" y="1058548"/>
                      </a:lnTo>
                      <a:lnTo>
                        <a:pt x="135612" y="1059156"/>
                      </a:lnTo>
                      <a:lnTo>
                        <a:pt x="132686" y="1061256"/>
                      </a:lnTo>
                      <a:lnTo>
                        <a:pt x="130622" y="1056630"/>
                      </a:lnTo>
                      <a:lnTo>
                        <a:pt x="130269" y="1055343"/>
                      </a:lnTo>
                      <a:lnTo>
                        <a:pt x="130682" y="1053995"/>
                      </a:lnTo>
                      <a:lnTo>
                        <a:pt x="132346" y="1051615"/>
                      </a:lnTo>
                      <a:lnTo>
                        <a:pt x="132686" y="1050012"/>
                      </a:lnTo>
                      <a:lnTo>
                        <a:pt x="132346" y="1047450"/>
                      </a:lnTo>
                      <a:lnTo>
                        <a:pt x="131423" y="1046017"/>
                      </a:lnTo>
                      <a:lnTo>
                        <a:pt x="128375" y="1043430"/>
                      </a:lnTo>
                      <a:lnTo>
                        <a:pt x="126372" y="1038233"/>
                      </a:lnTo>
                      <a:lnTo>
                        <a:pt x="127404" y="1032866"/>
                      </a:lnTo>
                      <a:lnTo>
                        <a:pt x="129128" y="1027960"/>
                      </a:lnTo>
                      <a:lnTo>
                        <a:pt x="129019" y="1024184"/>
                      </a:lnTo>
                      <a:lnTo>
                        <a:pt x="127744" y="1025605"/>
                      </a:lnTo>
                      <a:lnTo>
                        <a:pt x="125789" y="1022678"/>
                      </a:lnTo>
                      <a:lnTo>
                        <a:pt x="123554" y="1017287"/>
                      </a:lnTo>
                      <a:lnTo>
                        <a:pt x="122583" y="1012114"/>
                      </a:lnTo>
                      <a:lnTo>
                        <a:pt x="124477" y="1009819"/>
                      </a:lnTo>
                      <a:lnTo>
                        <a:pt x="124356" y="1008993"/>
                      </a:lnTo>
                      <a:lnTo>
                        <a:pt x="122583" y="1001780"/>
                      </a:lnTo>
                      <a:lnTo>
                        <a:pt x="122753" y="998744"/>
                      </a:lnTo>
                      <a:lnTo>
                        <a:pt x="123615" y="996097"/>
                      </a:lnTo>
                      <a:lnTo>
                        <a:pt x="126311" y="991240"/>
                      </a:lnTo>
                      <a:lnTo>
                        <a:pt x="121259" y="988714"/>
                      </a:lnTo>
                      <a:lnTo>
                        <a:pt x="119766" y="986832"/>
                      </a:lnTo>
                      <a:lnTo>
                        <a:pt x="121320" y="984549"/>
                      </a:lnTo>
                      <a:lnTo>
                        <a:pt x="119134" y="981914"/>
                      </a:lnTo>
                      <a:lnTo>
                        <a:pt x="119183" y="979935"/>
                      </a:lnTo>
                      <a:lnTo>
                        <a:pt x="120628" y="979619"/>
                      </a:lnTo>
                      <a:lnTo>
                        <a:pt x="122583" y="982036"/>
                      </a:lnTo>
                      <a:lnTo>
                        <a:pt x="124077" y="977579"/>
                      </a:lnTo>
                      <a:lnTo>
                        <a:pt x="123724" y="972953"/>
                      </a:lnTo>
                      <a:lnTo>
                        <a:pt x="122170" y="968569"/>
                      </a:lnTo>
                      <a:lnTo>
                        <a:pt x="119875" y="964781"/>
                      </a:lnTo>
                      <a:lnTo>
                        <a:pt x="121199" y="962085"/>
                      </a:lnTo>
                      <a:lnTo>
                        <a:pt x="120919" y="959073"/>
                      </a:lnTo>
                      <a:lnTo>
                        <a:pt x="119875" y="956256"/>
                      </a:lnTo>
                      <a:lnTo>
                        <a:pt x="116317" y="949687"/>
                      </a:lnTo>
                      <a:lnTo>
                        <a:pt x="116317" y="945546"/>
                      </a:lnTo>
                      <a:lnTo>
                        <a:pt x="112942" y="939256"/>
                      </a:lnTo>
                      <a:lnTo>
                        <a:pt x="112359" y="936245"/>
                      </a:lnTo>
                      <a:lnTo>
                        <a:pt x="111666" y="935030"/>
                      </a:lnTo>
                      <a:lnTo>
                        <a:pt x="108291" y="931351"/>
                      </a:lnTo>
                      <a:lnTo>
                        <a:pt x="107137" y="929068"/>
                      </a:lnTo>
                      <a:lnTo>
                        <a:pt x="110173" y="930465"/>
                      </a:lnTo>
                      <a:lnTo>
                        <a:pt x="112759" y="932760"/>
                      </a:lnTo>
                      <a:lnTo>
                        <a:pt x="115406" y="934217"/>
                      </a:lnTo>
                      <a:lnTo>
                        <a:pt x="118734" y="933124"/>
                      </a:lnTo>
                      <a:lnTo>
                        <a:pt x="116038" y="929773"/>
                      </a:lnTo>
                      <a:lnTo>
                        <a:pt x="110926" y="919815"/>
                      </a:lnTo>
                      <a:lnTo>
                        <a:pt x="108801" y="916804"/>
                      </a:lnTo>
                      <a:lnTo>
                        <a:pt x="104029" y="912870"/>
                      </a:lnTo>
                      <a:lnTo>
                        <a:pt x="103288" y="910489"/>
                      </a:lnTo>
                      <a:lnTo>
                        <a:pt x="103057" y="908389"/>
                      </a:lnTo>
                      <a:lnTo>
                        <a:pt x="105243" y="905742"/>
                      </a:lnTo>
                      <a:lnTo>
                        <a:pt x="106797" y="902791"/>
                      </a:lnTo>
                      <a:lnTo>
                        <a:pt x="104551" y="899804"/>
                      </a:lnTo>
                      <a:lnTo>
                        <a:pt x="105935" y="895869"/>
                      </a:lnTo>
                      <a:lnTo>
                        <a:pt x="103118" y="890915"/>
                      </a:lnTo>
                      <a:lnTo>
                        <a:pt x="96743" y="883969"/>
                      </a:lnTo>
                      <a:lnTo>
                        <a:pt x="95650" y="880642"/>
                      </a:lnTo>
                      <a:lnTo>
                        <a:pt x="96051" y="879088"/>
                      </a:lnTo>
                      <a:lnTo>
                        <a:pt x="97605" y="878602"/>
                      </a:lnTo>
                      <a:lnTo>
                        <a:pt x="100070" y="878578"/>
                      </a:lnTo>
                      <a:lnTo>
                        <a:pt x="102717" y="878141"/>
                      </a:lnTo>
                      <a:lnTo>
                        <a:pt x="109663" y="874862"/>
                      </a:lnTo>
                      <a:lnTo>
                        <a:pt x="106906" y="873684"/>
                      </a:lnTo>
                      <a:lnTo>
                        <a:pt x="100932" y="873077"/>
                      </a:lnTo>
                      <a:lnTo>
                        <a:pt x="98115" y="872106"/>
                      </a:lnTo>
                      <a:lnTo>
                        <a:pt x="96111" y="870005"/>
                      </a:lnTo>
                      <a:lnTo>
                        <a:pt x="94800" y="867139"/>
                      </a:lnTo>
                      <a:lnTo>
                        <a:pt x="94618" y="864128"/>
                      </a:lnTo>
                      <a:lnTo>
                        <a:pt x="95711" y="861517"/>
                      </a:lnTo>
                      <a:lnTo>
                        <a:pt x="94326" y="859963"/>
                      </a:lnTo>
                      <a:lnTo>
                        <a:pt x="92784" y="857607"/>
                      </a:lnTo>
                      <a:lnTo>
                        <a:pt x="91801" y="855057"/>
                      </a:lnTo>
                      <a:lnTo>
                        <a:pt x="92311" y="852956"/>
                      </a:lnTo>
                      <a:lnTo>
                        <a:pt x="94047" y="850710"/>
                      </a:lnTo>
                      <a:lnTo>
                        <a:pt x="95140" y="848391"/>
                      </a:lnTo>
                      <a:lnTo>
                        <a:pt x="95189" y="845986"/>
                      </a:lnTo>
                      <a:lnTo>
                        <a:pt x="93646" y="843582"/>
                      </a:lnTo>
                      <a:lnTo>
                        <a:pt x="92675" y="841627"/>
                      </a:lnTo>
                      <a:lnTo>
                        <a:pt x="92031" y="836357"/>
                      </a:lnTo>
                      <a:lnTo>
                        <a:pt x="91060" y="834268"/>
                      </a:lnTo>
                      <a:lnTo>
                        <a:pt x="88073" y="830917"/>
                      </a:lnTo>
                      <a:lnTo>
                        <a:pt x="86919" y="828780"/>
                      </a:lnTo>
                      <a:lnTo>
                        <a:pt x="85887" y="822490"/>
                      </a:lnTo>
                      <a:lnTo>
                        <a:pt x="84284" y="818385"/>
                      </a:lnTo>
                      <a:lnTo>
                        <a:pt x="75505" y="804178"/>
                      </a:lnTo>
                      <a:lnTo>
                        <a:pt x="75262" y="800244"/>
                      </a:lnTo>
                      <a:lnTo>
                        <a:pt x="78711" y="796431"/>
                      </a:lnTo>
                      <a:lnTo>
                        <a:pt x="75614" y="796285"/>
                      </a:lnTo>
                      <a:lnTo>
                        <a:pt x="73659" y="794792"/>
                      </a:lnTo>
                      <a:lnTo>
                        <a:pt x="73028" y="792436"/>
                      </a:lnTo>
                      <a:lnTo>
                        <a:pt x="73720" y="789825"/>
                      </a:lnTo>
                      <a:lnTo>
                        <a:pt x="75723" y="787919"/>
                      </a:lnTo>
                      <a:lnTo>
                        <a:pt x="78140" y="786899"/>
                      </a:lnTo>
                      <a:lnTo>
                        <a:pt x="79973" y="785344"/>
                      </a:lnTo>
                      <a:lnTo>
                        <a:pt x="80192" y="781872"/>
                      </a:lnTo>
                      <a:lnTo>
                        <a:pt x="78018" y="782479"/>
                      </a:lnTo>
                      <a:lnTo>
                        <a:pt x="76294" y="783693"/>
                      </a:lnTo>
                      <a:lnTo>
                        <a:pt x="74861" y="785332"/>
                      </a:lnTo>
                      <a:lnTo>
                        <a:pt x="73720" y="787312"/>
                      </a:lnTo>
                      <a:lnTo>
                        <a:pt x="72287" y="784786"/>
                      </a:lnTo>
                      <a:lnTo>
                        <a:pt x="69640" y="781969"/>
                      </a:lnTo>
                      <a:lnTo>
                        <a:pt x="68498" y="779249"/>
                      </a:lnTo>
                      <a:lnTo>
                        <a:pt x="68899" y="779006"/>
                      </a:lnTo>
                      <a:lnTo>
                        <a:pt x="69530" y="777852"/>
                      </a:lnTo>
                      <a:lnTo>
                        <a:pt x="69810" y="776249"/>
                      </a:lnTo>
                      <a:lnTo>
                        <a:pt x="69178" y="774659"/>
                      </a:lnTo>
                      <a:lnTo>
                        <a:pt x="67976" y="773165"/>
                      </a:lnTo>
                      <a:lnTo>
                        <a:pt x="67563" y="771854"/>
                      </a:lnTo>
                      <a:lnTo>
                        <a:pt x="65912" y="756869"/>
                      </a:lnTo>
                      <a:lnTo>
                        <a:pt x="63544" y="752704"/>
                      </a:lnTo>
                      <a:lnTo>
                        <a:pt x="58335" y="751465"/>
                      </a:lnTo>
                      <a:lnTo>
                        <a:pt x="59877" y="747422"/>
                      </a:lnTo>
                      <a:lnTo>
                        <a:pt x="60800" y="746159"/>
                      </a:lnTo>
                      <a:lnTo>
                        <a:pt x="59828" y="744896"/>
                      </a:lnTo>
                      <a:lnTo>
                        <a:pt x="59537" y="743196"/>
                      </a:lnTo>
                      <a:lnTo>
                        <a:pt x="59877" y="741302"/>
                      </a:lnTo>
                      <a:lnTo>
                        <a:pt x="60800" y="739444"/>
                      </a:lnTo>
                      <a:lnTo>
                        <a:pt x="63265" y="740330"/>
                      </a:lnTo>
                      <a:lnTo>
                        <a:pt x="64066" y="741642"/>
                      </a:lnTo>
                      <a:lnTo>
                        <a:pt x="64418" y="743342"/>
                      </a:lnTo>
                      <a:lnTo>
                        <a:pt x="65390" y="745443"/>
                      </a:lnTo>
                      <a:lnTo>
                        <a:pt x="66944" y="747434"/>
                      </a:lnTo>
                      <a:lnTo>
                        <a:pt x="67685" y="747847"/>
                      </a:lnTo>
                      <a:lnTo>
                        <a:pt x="68717" y="747531"/>
                      </a:lnTo>
                      <a:lnTo>
                        <a:pt x="71121" y="747361"/>
                      </a:lnTo>
                      <a:lnTo>
                        <a:pt x="74400" y="747726"/>
                      </a:lnTo>
                      <a:lnTo>
                        <a:pt x="78140" y="748770"/>
                      </a:lnTo>
                      <a:lnTo>
                        <a:pt x="81588" y="750774"/>
                      </a:lnTo>
                      <a:lnTo>
                        <a:pt x="83932" y="754101"/>
                      </a:lnTo>
                      <a:lnTo>
                        <a:pt x="80957" y="755873"/>
                      </a:lnTo>
                      <a:lnTo>
                        <a:pt x="80957" y="758254"/>
                      </a:lnTo>
                      <a:lnTo>
                        <a:pt x="82851" y="758861"/>
                      </a:lnTo>
                      <a:lnTo>
                        <a:pt x="85486" y="755303"/>
                      </a:lnTo>
                      <a:lnTo>
                        <a:pt x="85948" y="751393"/>
                      </a:lnTo>
                      <a:lnTo>
                        <a:pt x="84284" y="744933"/>
                      </a:lnTo>
                      <a:lnTo>
                        <a:pt x="85486" y="741934"/>
                      </a:lnTo>
                      <a:lnTo>
                        <a:pt x="82730" y="740403"/>
                      </a:lnTo>
                      <a:lnTo>
                        <a:pt x="80095" y="740124"/>
                      </a:lnTo>
                      <a:lnTo>
                        <a:pt x="74400" y="740756"/>
                      </a:lnTo>
                      <a:lnTo>
                        <a:pt x="71073" y="739894"/>
                      </a:lnTo>
                      <a:lnTo>
                        <a:pt x="67806" y="737683"/>
                      </a:lnTo>
                      <a:lnTo>
                        <a:pt x="66009" y="734672"/>
                      </a:lnTo>
                      <a:lnTo>
                        <a:pt x="67345" y="731369"/>
                      </a:lnTo>
                      <a:lnTo>
                        <a:pt x="64297" y="731260"/>
                      </a:lnTo>
                      <a:lnTo>
                        <a:pt x="62803" y="730337"/>
                      </a:lnTo>
                      <a:lnTo>
                        <a:pt x="59585" y="726063"/>
                      </a:lnTo>
                      <a:lnTo>
                        <a:pt x="58493" y="725565"/>
                      </a:lnTo>
                      <a:lnTo>
                        <a:pt x="57521" y="725747"/>
                      </a:lnTo>
                      <a:lnTo>
                        <a:pt x="56550" y="725808"/>
                      </a:lnTo>
                      <a:lnTo>
                        <a:pt x="55627" y="724861"/>
                      </a:lnTo>
                      <a:lnTo>
                        <a:pt x="55117" y="723537"/>
                      </a:lnTo>
                      <a:lnTo>
                        <a:pt x="55177" y="722687"/>
                      </a:lnTo>
                      <a:lnTo>
                        <a:pt x="55445" y="721740"/>
                      </a:lnTo>
                      <a:lnTo>
                        <a:pt x="55627" y="720125"/>
                      </a:lnTo>
                      <a:lnTo>
                        <a:pt x="55177" y="717490"/>
                      </a:lnTo>
                      <a:lnTo>
                        <a:pt x="54073" y="715705"/>
                      </a:lnTo>
                      <a:lnTo>
                        <a:pt x="52761" y="713944"/>
                      </a:lnTo>
                      <a:lnTo>
                        <a:pt x="51668" y="711600"/>
                      </a:lnTo>
                      <a:lnTo>
                        <a:pt x="51328" y="709305"/>
                      </a:lnTo>
                      <a:lnTo>
                        <a:pt x="51668" y="701607"/>
                      </a:lnTo>
                      <a:lnTo>
                        <a:pt x="52470" y="697320"/>
                      </a:lnTo>
                      <a:lnTo>
                        <a:pt x="54655" y="693337"/>
                      </a:lnTo>
                      <a:lnTo>
                        <a:pt x="57922" y="691018"/>
                      </a:lnTo>
                      <a:lnTo>
                        <a:pt x="62063" y="691613"/>
                      </a:lnTo>
                      <a:lnTo>
                        <a:pt x="64758" y="694479"/>
                      </a:lnTo>
                      <a:lnTo>
                        <a:pt x="70210" y="703732"/>
                      </a:lnTo>
                      <a:lnTo>
                        <a:pt x="73720" y="707520"/>
                      </a:lnTo>
                      <a:lnTo>
                        <a:pt x="74861" y="703732"/>
                      </a:lnTo>
                      <a:lnTo>
                        <a:pt x="72858" y="701789"/>
                      </a:lnTo>
                      <a:lnTo>
                        <a:pt x="69931" y="699870"/>
                      </a:lnTo>
                      <a:lnTo>
                        <a:pt x="68498" y="696215"/>
                      </a:lnTo>
                      <a:lnTo>
                        <a:pt x="67928" y="693228"/>
                      </a:lnTo>
                      <a:lnTo>
                        <a:pt x="66483" y="689950"/>
                      </a:lnTo>
                      <a:lnTo>
                        <a:pt x="64576" y="687302"/>
                      </a:lnTo>
                      <a:lnTo>
                        <a:pt x="62694" y="686209"/>
                      </a:lnTo>
                      <a:lnTo>
                        <a:pt x="57242" y="687278"/>
                      </a:lnTo>
                      <a:lnTo>
                        <a:pt x="55177" y="686477"/>
                      </a:lnTo>
                      <a:lnTo>
                        <a:pt x="54364" y="682943"/>
                      </a:lnTo>
                      <a:lnTo>
                        <a:pt x="49944" y="671638"/>
                      </a:lnTo>
                      <a:lnTo>
                        <a:pt x="46617" y="669015"/>
                      </a:lnTo>
                      <a:lnTo>
                        <a:pt x="44892" y="662749"/>
                      </a:lnTo>
                      <a:lnTo>
                        <a:pt x="44249" y="655294"/>
                      </a:lnTo>
                      <a:lnTo>
                        <a:pt x="44370" y="645530"/>
                      </a:lnTo>
                      <a:lnTo>
                        <a:pt x="45245" y="642361"/>
                      </a:lnTo>
                      <a:lnTo>
                        <a:pt x="46847" y="639787"/>
                      </a:lnTo>
                      <a:lnTo>
                        <a:pt x="49361" y="638257"/>
                      </a:lnTo>
                      <a:lnTo>
                        <a:pt x="50855" y="638318"/>
                      </a:lnTo>
                      <a:lnTo>
                        <a:pt x="53684" y="639787"/>
                      </a:lnTo>
                      <a:lnTo>
                        <a:pt x="55627" y="639665"/>
                      </a:lnTo>
                      <a:lnTo>
                        <a:pt x="58335" y="634493"/>
                      </a:lnTo>
                      <a:lnTo>
                        <a:pt x="60569" y="636375"/>
                      </a:lnTo>
                      <a:lnTo>
                        <a:pt x="67345" y="643648"/>
                      </a:lnTo>
                      <a:lnTo>
                        <a:pt x="65742" y="647158"/>
                      </a:lnTo>
                      <a:lnTo>
                        <a:pt x="66313" y="649963"/>
                      </a:lnTo>
                      <a:lnTo>
                        <a:pt x="68438" y="651942"/>
                      </a:lnTo>
                      <a:lnTo>
                        <a:pt x="71121" y="653059"/>
                      </a:lnTo>
                      <a:lnTo>
                        <a:pt x="69810" y="648615"/>
                      </a:lnTo>
                      <a:lnTo>
                        <a:pt x="70502" y="643685"/>
                      </a:lnTo>
                      <a:lnTo>
                        <a:pt x="72518" y="639374"/>
                      </a:lnTo>
                      <a:lnTo>
                        <a:pt x="75104" y="637031"/>
                      </a:lnTo>
                      <a:lnTo>
                        <a:pt x="69810" y="634845"/>
                      </a:lnTo>
                      <a:lnTo>
                        <a:pt x="68547" y="633327"/>
                      </a:lnTo>
                      <a:lnTo>
                        <a:pt x="67345" y="630279"/>
                      </a:lnTo>
                      <a:lnTo>
                        <a:pt x="67563" y="629101"/>
                      </a:lnTo>
                      <a:lnTo>
                        <a:pt x="68255" y="627365"/>
                      </a:lnTo>
                      <a:lnTo>
                        <a:pt x="68608" y="625786"/>
                      </a:lnTo>
                      <a:lnTo>
                        <a:pt x="67867" y="625094"/>
                      </a:lnTo>
                      <a:lnTo>
                        <a:pt x="66823" y="625240"/>
                      </a:lnTo>
                      <a:lnTo>
                        <a:pt x="65851" y="625640"/>
                      </a:lnTo>
                      <a:lnTo>
                        <a:pt x="65098" y="626284"/>
                      </a:lnTo>
                      <a:lnTo>
                        <a:pt x="64880" y="627037"/>
                      </a:lnTo>
                      <a:lnTo>
                        <a:pt x="61953" y="628349"/>
                      </a:lnTo>
                      <a:lnTo>
                        <a:pt x="56319" y="625968"/>
                      </a:lnTo>
                      <a:lnTo>
                        <a:pt x="52700" y="621318"/>
                      </a:lnTo>
                      <a:lnTo>
                        <a:pt x="55627" y="615683"/>
                      </a:lnTo>
                      <a:lnTo>
                        <a:pt x="58553" y="618027"/>
                      </a:lnTo>
                      <a:lnTo>
                        <a:pt x="59768" y="616206"/>
                      </a:lnTo>
                      <a:lnTo>
                        <a:pt x="60168" y="611033"/>
                      </a:lnTo>
                      <a:lnTo>
                        <a:pt x="62512" y="610231"/>
                      </a:lnTo>
                      <a:lnTo>
                        <a:pt x="65159" y="610923"/>
                      </a:lnTo>
                      <a:lnTo>
                        <a:pt x="67745" y="610838"/>
                      </a:lnTo>
                      <a:lnTo>
                        <a:pt x="69870" y="607730"/>
                      </a:lnTo>
                      <a:lnTo>
                        <a:pt x="63325" y="607730"/>
                      </a:lnTo>
                      <a:lnTo>
                        <a:pt x="63325" y="606394"/>
                      </a:lnTo>
                      <a:lnTo>
                        <a:pt x="66070" y="606139"/>
                      </a:lnTo>
                      <a:lnTo>
                        <a:pt x="70550" y="604232"/>
                      </a:lnTo>
                      <a:lnTo>
                        <a:pt x="79973" y="601658"/>
                      </a:lnTo>
                      <a:lnTo>
                        <a:pt x="80775" y="601743"/>
                      </a:lnTo>
                      <a:lnTo>
                        <a:pt x="82681" y="597845"/>
                      </a:lnTo>
                      <a:lnTo>
                        <a:pt x="79512" y="597420"/>
                      </a:lnTo>
                      <a:lnTo>
                        <a:pt x="74291" y="598999"/>
                      </a:lnTo>
                      <a:lnTo>
                        <a:pt x="69870" y="601100"/>
                      </a:lnTo>
                      <a:lnTo>
                        <a:pt x="68948" y="598805"/>
                      </a:lnTo>
                      <a:lnTo>
                        <a:pt x="69749" y="593668"/>
                      </a:lnTo>
                      <a:lnTo>
                        <a:pt x="68498" y="591823"/>
                      </a:lnTo>
                      <a:lnTo>
                        <a:pt x="70502" y="587779"/>
                      </a:lnTo>
                      <a:lnTo>
                        <a:pt x="69360" y="586407"/>
                      </a:lnTo>
                      <a:lnTo>
                        <a:pt x="67114" y="585581"/>
                      </a:lnTo>
                      <a:lnTo>
                        <a:pt x="65912" y="583177"/>
                      </a:lnTo>
                      <a:lnTo>
                        <a:pt x="67345" y="569164"/>
                      </a:lnTo>
                      <a:lnTo>
                        <a:pt x="65912" y="569164"/>
                      </a:lnTo>
                      <a:lnTo>
                        <a:pt x="62694" y="575988"/>
                      </a:lnTo>
                      <a:lnTo>
                        <a:pt x="59925" y="578489"/>
                      </a:lnTo>
                      <a:lnTo>
                        <a:pt x="59646" y="585241"/>
                      </a:lnTo>
                      <a:lnTo>
                        <a:pt x="58335" y="587852"/>
                      </a:lnTo>
                      <a:lnTo>
                        <a:pt x="61431" y="590147"/>
                      </a:lnTo>
                      <a:lnTo>
                        <a:pt x="59707" y="594227"/>
                      </a:lnTo>
                      <a:lnTo>
                        <a:pt x="51668" y="602460"/>
                      </a:lnTo>
                      <a:lnTo>
                        <a:pt x="51668" y="600602"/>
                      </a:lnTo>
                      <a:lnTo>
                        <a:pt x="50515" y="595830"/>
                      </a:lnTo>
                      <a:lnTo>
                        <a:pt x="47527" y="598647"/>
                      </a:lnTo>
                      <a:lnTo>
                        <a:pt x="44091" y="603346"/>
                      </a:lnTo>
                      <a:lnTo>
                        <a:pt x="41322" y="608774"/>
                      </a:lnTo>
                      <a:lnTo>
                        <a:pt x="39720" y="616691"/>
                      </a:lnTo>
                      <a:lnTo>
                        <a:pt x="38517" y="619617"/>
                      </a:lnTo>
                      <a:lnTo>
                        <a:pt x="36854" y="620771"/>
                      </a:lnTo>
                      <a:lnTo>
                        <a:pt x="35081" y="618367"/>
                      </a:lnTo>
                      <a:lnTo>
                        <a:pt x="34899" y="616303"/>
                      </a:lnTo>
                      <a:lnTo>
                        <a:pt x="35530" y="614263"/>
                      </a:lnTo>
                      <a:lnTo>
                        <a:pt x="35931" y="611968"/>
                      </a:lnTo>
                      <a:lnTo>
                        <a:pt x="35081" y="609102"/>
                      </a:lnTo>
                      <a:lnTo>
                        <a:pt x="33745" y="609102"/>
                      </a:lnTo>
                      <a:lnTo>
                        <a:pt x="33114" y="610341"/>
                      </a:lnTo>
                      <a:lnTo>
                        <a:pt x="32312" y="611251"/>
                      </a:lnTo>
                      <a:lnTo>
                        <a:pt x="29908" y="613206"/>
                      </a:lnTo>
                      <a:lnTo>
                        <a:pt x="28997" y="610935"/>
                      </a:lnTo>
                      <a:lnTo>
                        <a:pt x="30017" y="608689"/>
                      </a:lnTo>
                      <a:lnTo>
                        <a:pt x="33745" y="603783"/>
                      </a:lnTo>
                      <a:lnTo>
                        <a:pt x="34959" y="600905"/>
                      </a:lnTo>
                      <a:lnTo>
                        <a:pt x="35469" y="598683"/>
                      </a:lnTo>
                      <a:lnTo>
                        <a:pt x="35081" y="593049"/>
                      </a:lnTo>
                      <a:lnTo>
                        <a:pt x="36975" y="593923"/>
                      </a:lnTo>
                      <a:lnTo>
                        <a:pt x="37704" y="594482"/>
                      </a:lnTo>
                      <a:lnTo>
                        <a:pt x="38639" y="592697"/>
                      </a:lnTo>
                      <a:lnTo>
                        <a:pt x="39088" y="590426"/>
                      </a:lnTo>
                      <a:lnTo>
                        <a:pt x="38517" y="588580"/>
                      </a:lnTo>
                      <a:lnTo>
                        <a:pt x="36332" y="587840"/>
                      </a:lnTo>
                      <a:lnTo>
                        <a:pt x="38639" y="581962"/>
                      </a:lnTo>
                      <a:lnTo>
                        <a:pt x="38857" y="579777"/>
                      </a:lnTo>
                      <a:lnTo>
                        <a:pt x="38457" y="577676"/>
                      </a:lnTo>
                      <a:lnTo>
                        <a:pt x="36732" y="574142"/>
                      </a:lnTo>
                      <a:lnTo>
                        <a:pt x="36332" y="572394"/>
                      </a:lnTo>
                      <a:lnTo>
                        <a:pt x="36793" y="570961"/>
                      </a:lnTo>
                      <a:lnTo>
                        <a:pt x="38748" y="569006"/>
                      </a:lnTo>
                      <a:lnTo>
                        <a:pt x="38857" y="567937"/>
                      </a:lnTo>
                      <a:lnTo>
                        <a:pt x="37947" y="566735"/>
                      </a:lnTo>
                      <a:lnTo>
                        <a:pt x="36623" y="566699"/>
                      </a:lnTo>
                      <a:lnTo>
                        <a:pt x="35530" y="567427"/>
                      </a:lnTo>
                      <a:lnTo>
                        <a:pt x="34437" y="570354"/>
                      </a:lnTo>
                      <a:lnTo>
                        <a:pt x="33065" y="571592"/>
                      </a:lnTo>
                      <a:lnTo>
                        <a:pt x="31681" y="571617"/>
                      </a:lnTo>
                      <a:lnTo>
                        <a:pt x="31062" y="569807"/>
                      </a:lnTo>
                      <a:lnTo>
                        <a:pt x="31402" y="568059"/>
                      </a:lnTo>
                      <a:lnTo>
                        <a:pt x="35020" y="559704"/>
                      </a:lnTo>
                      <a:lnTo>
                        <a:pt x="38226" y="554046"/>
                      </a:lnTo>
                      <a:lnTo>
                        <a:pt x="40193" y="551751"/>
                      </a:lnTo>
                      <a:lnTo>
                        <a:pt x="37364" y="551508"/>
                      </a:lnTo>
                      <a:lnTo>
                        <a:pt x="34899" y="554580"/>
                      </a:lnTo>
                      <a:lnTo>
                        <a:pt x="32555" y="558575"/>
                      </a:lnTo>
                      <a:lnTo>
                        <a:pt x="29908" y="561040"/>
                      </a:lnTo>
                      <a:lnTo>
                        <a:pt x="29325" y="549262"/>
                      </a:lnTo>
                      <a:lnTo>
                        <a:pt x="29969" y="542692"/>
                      </a:lnTo>
                      <a:lnTo>
                        <a:pt x="31802" y="539802"/>
                      </a:lnTo>
                      <a:lnTo>
                        <a:pt x="41905" y="538794"/>
                      </a:lnTo>
                      <a:lnTo>
                        <a:pt x="47127" y="539219"/>
                      </a:lnTo>
                      <a:lnTo>
                        <a:pt x="50575" y="543275"/>
                      </a:lnTo>
                      <a:lnTo>
                        <a:pt x="53380" y="544271"/>
                      </a:lnTo>
                      <a:lnTo>
                        <a:pt x="58954" y="545096"/>
                      </a:lnTo>
                      <a:lnTo>
                        <a:pt x="62002" y="544465"/>
                      </a:lnTo>
                      <a:lnTo>
                        <a:pt x="64479" y="543494"/>
                      </a:lnTo>
                      <a:lnTo>
                        <a:pt x="66944" y="543724"/>
                      </a:lnTo>
                      <a:lnTo>
                        <a:pt x="69870" y="546529"/>
                      </a:lnTo>
                      <a:lnTo>
                        <a:pt x="74011" y="557215"/>
                      </a:lnTo>
                      <a:lnTo>
                        <a:pt x="77047" y="560870"/>
                      </a:lnTo>
                      <a:lnTo>
                        <a:pt x="81358" y="558490"/>
                      </a:lnTo>
                      <a:lnTo>
                        <a:pt x="77678" y="556559"/>
                      </a:lnTo>
                      <a:lnTo>
                        <a:pt x="77266" y="553378"/>
                      </a:lnTo>
                      <a:lnTo>
                        <a:pt x="77508" y="550391"/>
                      </a:lnTo>
                      <a:lnTo>
                        <a:pt x="75663" y="549104"/>
                      </a:lnTo>
                      <a:lnTo>
                        <a:pt x="74400" y="547865"/>
                      </a:lnTo>
                      <a:lnTo>
                        <a:pt x="72396" y="545096"/>
                      </a:lnTo>
                      <a:lnTo>
                        <a:pt x="69749" y="542340"/>
                      </a:lnTo>
                      <a:lnTo>
                        <a:pt x="66592" y="541102"/>
                      </a:lnTo>
                      <a:lnTo>
                        <a:pt x="56428" y="541818"/>
                      </a:lnTo>
                      <a:lnTo>
                        <a:pt x="53101" y="541102"/>
                      </a:lnTo>
                      <a:lnTo>
                        <a:pt x="50235" y="539292"/>
                      </a:lnTo>
                      <a:lnTo>
                        <a:pt x="44892" y="534787"/>
                      </a:lnTo>
                      <a:lnTo>
                        <a:pt x="41444" y="533123"/>
                      </a:lnTo>
                      <a:lnTo>
                        <a:pt x="38007" y="536596"/>
                      </a:lnTo>
                      <a:lnTo>
                        <a:pt x="34899" y="536256"/>
                      </a:lnTo>
                      <a:lnTo>
                        <a:pt x="32191" y="533694"/>
                      </a:lnTo>
                      <a:lnTo>
                        <a:pt x="27662" y="526870"/>
                      </a:lnTo>
                      <a:lnTo>
                        <a:pt x="26982" y="525170"/>
                      </a:lnTo>
                      <a:lnTo>
                        <a:pt x="24796" y="514399"/>
                      </a:lnTo>
                      <a:lnTo>
                        <a:pt x="24565" y="509773"/>
                      </a:lnTo>
                      <a:lnTo>
                        <a:pt x="26010" y="507101"/>
                      </a:lnTo>
                      <a:lnTo>
                        <a:pt x="28755" y="505401"/>
                      </a:lnTo>
                      <a:lnTo>
                        <a:pt x="49361" y="497217"/>
                      </a:lnTo>
                      <a:lnTo>
                        <a:pt x="45184" y="495492"/>
                      </a:lnTo>
                      <a:lnTo>
                        <a:pt x="41262" y="496379"/>
                      </a:lnTo>
                      <a:lnTo>
                        <a:pt x="37546" y="497994"/>
                      </a:lnTo>
                      <a:lnTo>
                        <a:pt x="33745" y="498297"/>
                      </a:lnTo>
                      <a:lnTo>
                        <a:pt x="32252" y="497642"/>
                      </a:lnTo>
                      <a:lnTo>
                        <a:pt x="31001" y="496403"/>
                      </a:lnTo>
                      <a:lnTo>
                        <a:pt x="30248" y="494642"/>
                      </a:lnTo>
                      <a:lnTo>
                        <a:pt x="29908" y="492360"/>
                      </a:lnTo>
                      <a:lnTo>
                        <a:pt x="29046" y="490611"/>
                      </a:lnTo>
                      <a:lnTo>
                        <a:pt x="27042" y="489263"/>
                      </a:lnTo>
                      <a:lnTo>
                        <a:pt x="23642" y="487770"/>
                      </a:lnTo>
                      <a:lnTo>
                        <a:pt x="22270" y="487770"/>
                      </a:lnTo>
                      <a:lnTo>
                        <a:pt x="22962" y="489810"/>
                      </a:lnTo>
                      <a:lnTo>
                        <a:pt x="23424" y="491680"/>
                      </a:lnTo>
                      <a:lnTo>
                        <a:pt x="23242" y="493258"/>
                      </a:lnTo>
                      <a:lnTo>
                        <a:pt x="22270" y="494436"/>
                      </a:lnTo>
                      <a:lnTo>
                        <a:pt x="25014" y="496840"/>
                      </a:lnTo>
                      <a:lnTo>
                        <a:pt x="26047" y="498213"/>
                      </a:lnTo>
                      <a:lnTo>
                        <a:pt x="26229" y="499743"/>
                      </a:lnTo>
                      <a:lnTo>
                        <a:pt x="25014" y="501030"/>
                      </a:lnTo>
                      <a:lnTo>
                        <a:pt x="23582" y="500362"/>
                      </a:lnTo>
                      <a:lnTo>
                        <a:pt x="19963" y="496440"/>
                      </a:lnTo>
                      <a:lnTo>
                        <a:pt x="17789" y="486446"/>
                      </a:lnTo>
                      <a:lnTo>
                        <a:pt x="19174" y="482706"/>
                      </a:lnTo>
                      <a:lnTo>
                        <a:pt x="17559" y="474267"/>
                      </a:lnTo>
                      <a:lnTo>
                        <a:pt x="13260" y="459719"/>
                      </a:lnTo>
                      <a:lnTo>
                        <a:pt x="14693" y="460606"/>
                      </a:lnTo>
                      <a:lnTo>
                        <a:pt x="15774" y="461784"/>
                      </a:lnTo>
                      <a:lnTo>
                        <a:pt x="16636" y="463277"/>
                      </a:lnTo>
                      <a:lnTo>
                        <a:pt x="17219" y="465038"/>
                      </a:lnTo>
                      <a:lnTo>
                        <a:pt x="20716" y="463423"/>
                      </a:lnTo>
                      <a:lnTo>
                        <a:pt x="20716" y="461565"/>
                      </a:lnTo>
                      <a:lnTo>
                        <a:pt x="19283" y="459100"/>
                      </a:lnTo>
                      <a:lnTo>
                        <a:pt x="18433" y="455615"/>
                      </a:lnTo>
                      <a:lnTo>
                        <a:pt x="18992" y="454498"/>
                      </a:lnTo>
                      <a:lnTo>
                        <a:pt x="20376" y="454267"/>
                      </a:lnTo>
                      <a:lnTo>
                        <a:pt x="21639" y="453891"/>
                      </a:lnTo>
                      <a:lnTo>
                        <a:pt x="22270" y="452349"/>
                      </a:lnTo>
                      <a:lnTo>
                        <a:pt x="22149" y="450539"/>
                      </a:lnTo>
                      <a:lnTo>
                        <a:pt x="21930" y="449022"/>
                      </a:lnTo>
                      <a:lnTo>
                        <a:pt x="21056" y="446289"/>
                      </a:lnTo>
                      <a:lnTo>
                        <a:pt x="13940" y="454984"/>
                      </a:lnTo>
                      <a:lnTo>
                        <a:pt x="11645" y="455481"/>
                      </a:lnTo>
                      <a:lnTo>
                        <a:pt x="11244" y="452033"/>
                      </a:lnTo>
                      <a:lnTo>
                        <a:pt x="11985" y="444978"/>
                      </a:lnTo>
                      <a:lnTo>
                        <a:pt x="10674" y="442561"/>
                      </a:lnTo>
                      <a:lnTo>
                        <a:pt x="6424" y="436879"/>
                      </a:lnTo>
                      <a:lnTo>
                        <a:pt x="6254" y="434923"/>
                      </a:lnTo>
                      <a:lnTo>
                        <a:pt x="8148" y="432119"/>
                      </a:lnTo>
                      <a:lnTo>
                        <a:pt x="9059" y="429155"/>
                      </a:lnTo>
                      <a:lnTo>
                        <a:pt x="9459" y="422331"/>
                      </a:lnTo>
                      <a:lnTo>
                        <a:pt x="8779" y="417426"/>
                      </a:lnTo>
                      <a:lnTo>
                        <a:pt x="9229" y="415240"/>
                      </a:lnTo>
                      <a:lnTo>
                        <a:pt x="11354" y="414353"/>
                      </a:lnTo>
                      <a:lnTo>
                        <a:pt x="12847" y="413090"/>
                      </a:lnTo>
                      <a:lnTo>
                        <a:pt x="14754" y="410115"/>
                      </a:lnTo>
                      <a:lnTo>
                        <a:pt x="16417" y="406521"/>
                      </a:lnTo>
                      <a:lnTo>
                        <a:pt x="17219" y="403595"/>
                      </a:lnTo>
                      <a:lnTo>
                        <a:pt x="17219" y="392205"/>
                      </a:lnTo>
                      <a:lnTo>
                        <a:pt x="17279" y="391913"/>
                      </a:lnTo>
                      <a:lnTo>
                        <a:pt x="17316" y="391913"/>
                      </a:lnTo>
                      <a:lnTo>
                        <a:pt x="21797" y="391318"/>
                      </a:lnTo>
                      <a:lnTo>
                        <a:pt x="25415" y="389278"/>
                      </a:lnTo>
                      <a:lnTo>
                        <a:pt x="26678" y="388210"/>
                      </a:lnTo>
                      <a:lnTo>
                        <a:pt x="29034" y="386631"/>
                      </a:lnTo>
                      <a:lnTo>
                        <a:pt x="30175" y="386291"/>
                      </a:lnTo>
                      <a:lnTo>
                        <a:pt x="31268" y="386231"/>
                      </a:lnTo>
                      <a:lnTo>
                        <a:pt x="35639" y="388003"/>
                      </a:lnTo>
                      <a:lnTo>
                        <a:pt x="36562" y="387930"/>
                      </a:lnTo>
                      <a:lnTo>
                        <a:pt x="37643" y="386886"/>
                      </a:lnTo>
                      <a:lnTo>
                        <a:pt x="38845" y="386194"/>
                      </a:lnTo>
                      <a:lnTo>
                        <a:pt x="40278" y="385757"/>
                      </a:lnTo>
                      <a:lnTo>
                        <a:pt x="45050" y="386218"/>
                      </a:lnTo>
                      <a:lnTo>
                        <a:pt x="48159" y="386194"/>
                      </a:lnTo>
                      <a:lnTo>
                        <a:pt x="52810" y="385162"/>
                      </a:lnTo>
                      <a:lnTo>
                        <a:pt x="62099" y="381203"/>
                      </a:lnTo>
                      <a:lnTo>
                        <a:pt x="61650" y="379127"/>
                      </a:lnTo>
                      <a:lnTo>
                        <a:pt x="61067" y="371428"/>
                      </a:lnTo>
                      <a:lnTo>
                        <a:pt x="60666" y="370080"/>
                      </a:lnTo>
                      <a:lnTo>
                        <a:pt x="59925" y="368623"/>
                      </a:lnTo>
                      <a:lnTo>
                        <a:pt x="58833" y="367336"/>
                      </a:lnTo>
                      <a:lnTo>
                        <a:pt x="57290" y="366073"/>
                      </a:lnTo>
                      <a:lnTo>
                        <a:pt x="54012" y="363912"/>
                      </a:lnTo>
                      <a:lnTo>
                        <a:pt x="52627" y="362819"/>
                      </a:lnTo>
                      <a:lnTo>
                        <a:pt x="51717" y="361665"/>
                      </a:lnTo>
                      <a:lnTo>
                        <a:pt x="51134" y="360572"/>
                      </a:lnTo>
                      <a:lnTo>
                        <a:pt x="51025" y="359480"/>
                      </a:lnTo>
                      <a:lnTo>
                        <a:pt x="51134" y="358387"/>
                      </a:lnTo>
                      <a:lnTo>
                        <a:pt x="51826" y="356893"/>
                      </a:lnTo>
                      <a:lnTo>
                        <a:pt x="52457" y="356091"/>
                      </a:lnTo>
                      <a:lnTo>
                        <a:pt x="53781" y="355642"/>
                      </a:lnTo>
                      <a:lnTo>
                        <a:pt x="55275" y="355788"/>
                      </a:lnTo>
                      <a:lnTo>
                        <a:pt x="58383" y="356504"/>
                      </a:lnTo>
                      <a:lnTo>
                        <a:pt x="60095" y="356711"/>
                      </a:lnTo>
                      <a:lnTo>
                        <a:pt x="61310" y="356577"/>
                      </a:lnTo>
                      <a:lnTo>
                        <a:pt x="61759" y="356104"/>
                      </a:lnTo>
                      <a:lnTo>
                        <a:pt x="64345" y="349850"/>
                      </a:lnTo>
                      <a:lnTo>
                        <a:pt x="65208" y="348442"/>
                      </a:lnTo>
                      <a:lnTo>
                        <a:pt x="66058" y="347871"/>
                      </a:lnTo>
                      <a:lnTo>
                        <a:pt x="67211" y="347810"/>
                      </a:lnTo>
                      <a:lnTo>
                        <a:pt x="69288" y="348611"/>
                      </a:lnTo>
                      <a:lnTo>
                        <a:pt x="70550" y="348866"/>
                      </a:lnTo>
                      <a:lnTo>
                        <a:pt x="71595" y="348745"/>
                      </a:lnTo>
                      <a:lnTo>
                        <a:pt x="75371" y="346681"/>
                      </a:lnTo>
                      <a:lnTo>
                        <a:pt x="81406" y="341569"/>
                      </a:lnTo>
                      <a:lnTo>
                        <a:pt x="82778" y="340719"/>
                      </a:lnTo>
                      <a:lnTo>
                        <a:pt x="84272" y="340196"/>
                      </a:lnTo>
                      <a:lnTo>
                        <a:pt x="85413" y="340537"/>
                      </a:lnTo>
                      <a:lnTo>
                        <a:pt x="86336" y="342030"/>
                      </a:lnTo>
                      <a:lnTo>
                        <a:pt x="85996" y="344908"/>
                      </a:lnTo>
                      <a:lnTo>
                        <a:pt x="85474" y="346729"/>
                      </a:lnTo>
                      <a:lnTo>
                        <a:pt x="85413" y="348138"/>
                      </a:lnTo>
                      <a:lnTo>
                        <a:pt x="85936" y="349109"/>
                      </a:lnTo>
                      <a:lnTo>
                        <a:pt x="87490" y="350178"/>
                      </a:lnTo>
                      <a:lnTo>
                        <a:pt x="89032" y="350409"/>
                      </a:lnTo>
                      <a:lnTo>
                        <a:pt x="90647" y="350324"/>
                      </a:lnTo>
                      <a:lnTo>
                        <a:pt x="92481" y="349971"/>
                      </a:lnTo>
                      <a:lnTo>
                        <a:pt x="93974" y="350008"/>
                      </a:lnTo>
                      <a:lnTo>
                        <a:pt x="94788" y="350591"/>
                      </a:lnTo>
                      <a:lnTo>
                        <a:pt x="95128" y="351769"/>
                      </a:lnTo>
                      <a:lnTo>
                        <a:pt x="94788" y="353954"/>
                      </a:lnTo>
                      <a:lnTo>
                        <a:pt x="94096" y="355266"/>
                      </a:lnTo>
                      <a:lnTo>
                        <a:pt x="93051" y="356310"/>
                      </a:lnTo>
                      <a:lnTo>
                        <a:pt x="80823" y="362880"/>
                      </a:lnTo>
                      <a:lnTo>
                        <a:pt x="79731" y="363827"/>
                      </a:lnTo>
                      <a:lnTo>
                        <a:pt x="79051" y="364677"/>
                      </a:lnTo>
                      <a:lnTo>
                        <a:pt x="78698" y="365430"/>
                      </a:lnTo>
                      <a:lnTo>
                        <a:pt x="78419" y="366462"/>
                      </a:lnTo>
                      <a:lnTo>
                        <a:pt x="78358" y="367409"/>
                      </a:lnTo>
                      <a:lnTo>
                        <a:pt x="78419" y="368502"/>
                      </a:lnTo>
                      <a:lnTo>
                        <a:pt x="79852" y="375302"/>
                      </a:lnTo>
                      <a:lnTo>
                        <a:pt x="80605" y="377014"/>
                      </a:lnTo>
                      <a:lnTo>
                        <a:pt x="82098" y="378337"/>
                      </a:lnTo>
                      <a:lnTo>
                        <a:pt x="84381" y="379103"/>
                      </a:lnTo>
                      <a:lnTo>
                        <a:pt x="88182" y="378896"/>
                      </a:lnTo>
                      <a:lnTo>
                        <a:pt x="90125" y="378204"/>
                      </a:lnTo>
                      <a:lnTo>
                        <a:pt x="91218" y="377402"/>
                      </a:lnTo>
                      <a:lnTo>
                        <a:pt x="91497" y="376516"/>
                      </a:lnTo>
                      <a:lnTo>
                        <a:pt x="91679" y="374112"/>
                      </a:lnTo>
                      <a:lnTo>
                        <a:pt x="91958" y="372557"/>
                      </a:lnTo>
                      <a:lnTo>
                        <a:pt x="92602" y="371210"/>
                      </a:lnTo>
                      <a:lnTo>
                        <a:pt x="93403" y="370602"/>
                      </a:lnTo>
                      <a:lnTo>
                        <a:pt x="94375" y="370457"/>
                      </a:lnTo>
                      <a:lnTo>
                        <a:pt x="101029" y="371343"/>
                      </a:lnTo>
                      <a:lnTo>
                        <a:pt x="102875" y="372715"/>
                      </a:lnTo>
                      <a:lnTo>
                        <a:pt x="103919" y="373966"/>
                      </a:lnTo>
                      <a:lnTo>
                        <a:pt x="103215" y="383632"/>
                      </a:lnTo>
                      <a:lnTo>
                        <a:pt x="108218" y="384409"/>
                      </a:lnTo>
                      <a:lnTo>
                        <a:pt x="110003" y="383984"/>
                      </a:lnTo>
                      <a:lnTo>
                        <a:pt x="112699" y="383037"/>
                      </a:lnTo>
                      <a:lnTo>
                        <a:pt x="115334" y="381543"/>
                      </a:lnTo>
                      <a:lnTo>
                        <a:pt x="116609" y="380414"/>
                      </a:lnTo>
                      <a:lnTo>
                        <a:pt x="117689" y="379017"/>
                      </a:lnTo>
                      <a:lnTo>
                        <a:pt x="117981" y="377609"/>
                      </a:lnTo>
                      <a:lnTo>
                        <a:pt x="118102" y="376261"/>
                      </a:lnTo>
                      <a:lnTo>
                        <a:pt x="117920" y="374804"/>
                      </a:lnTo>
                      <a:lnTo>
                        <a:pt x="117981" y="373541"/>
                      </a:lnTo>
                      <a:lnTo>
                        <a:pt x="118430" y="371841"/>
                      </a:lnTo>
                      <a:lnTo>
                        <a:pt x="119924" y="369692"/>
                      </a:lnTo>
                      <a:lnTo>
                        <a:pt x="121247" y="368805"/>
                      </a:lnTo>
                      <a:lnTo>
                        <a:pt x="123032" y="368320"/>
                      </a:lnTo>
                      <a:lnTo>
                        <a:pt x="135370" y="370202"/>
                      </a:lnTo>
                      <a:lnTo>
                        <a:pt x="138660" y="371064"/>
                      </a:lnTo>
                      <a:lnTo>
                        <a:pt x="140275" y="371270"/>
                      </a:lnTo>
                      <a:lnTo>
                        <a:pt x="142922" y="370870"/>
                      </a:lnTo>
                      <a:lnTo>
                        <a:pt x="143894" y="369728"/>
                      </a:lnTo>
                      <a:lnTo>
                        <a:pt x="144052" y="368162"/>
                      </a:lnTo>
                      <a:lnTo>
                        <a:pt x="143020" y="365089"/>
                      </a:lnTo>
                      <a:lnTo>
                        <a:pt x="142922" y="363402"/>
                      </a:lnTo>
                      <a:lnTo>
                        <a:pt x="143311" y="361495"/>
                      </a:lnTo>
                      <a:lnTo>
                        <a:pt x="145035" y="358375"/>
                      </a:lnTo>
                      <a:lnTo>
                        <a:pt x="145667" y="356091"/>
                      </a:lnTo>
                      <a:lnTo>
                        <a:pt x="145958" y="353287"/>
                      </a:lnTo>
                      <a:lnTo>
                        <a:pt x="144695" y="343912"/>
                      </a:lnTo>
                      <a:lnTo>
                        <a:pt x="144574" y="341131"/>
                      </a:lnTo>
                      <a:lnTo>
                        <a:pt x="144355" y="339480"/>
                      </a:lnTo>
                      <a:lnTo>
                        <a:pt x="143942" y="337999"/>
                      </a:lnTo>
                      <a:lnTo>
                        <a:pt x="143372" y="337015"/>
                      </a:lnTo>
                      <a:lnTo>
                        <a:pt x="142619" y="336529"/>
                      </a:lnTo>
                      <a:lnTo>
                        <a:pt x="140907" y="335983"/>
                      </a:lnTo>
                      <a:lnTo>
                        <a:pt x="140215" y="335218"/>
                      </a:lnTo>
                      <a:lnTo>
                        <a:pt x="139692" y="333955"/>
                      </a:lnTo>
                      <a:lnTo>
                        <a:pt x="140433" y="331429"/>
                      </a:lnTo>
                      <a:lnTo>
                        <a:pt x="145727" y="324374"/>
                      </a:lnTo>
                      <a:lnTo>
                        <a:pt x="154968" y="309305"/>
                      </a:lnTo>
                      <a:lnTo>
                        <a:pt x="157142" y="304484"/>
                      </a:lnTo>
                      <a:lnTo>
                        <a:pt x="158077" y="301011"/>
                      </a:lnTo>
                      <a:lnTo>
                        <a:pt x="156583" y="294005"/>
                      </a:lnTo>
                      <a:lnTo>
                        <a:pt x="156170" y="292839"/>
                      </a:lnTo>
                      <a:lnTo>
                        <a:pt x="155770" y="291989"/>
                      </a:lnTo>
                      <a:lnTo>
                        <a:pt x="155308" y="291503"/>
                      </a:lnTo>
                      <a:lnTo>
                        <a:pt x="154458" y="291297"/>
                      </a:lnTo>
                      <a:lnTo>
                        <a:pt x="152272" y="291042"/>
                      </a:lnTo>
                      <a:lnTo>
                        <a:pt x="151180" y="290787"/>
                      </a:lnTo>
                      <a:lnTo>
                        <a:pt x="150269" y="290325"/>
                      </a:lnTo>
                      <a:lnTo>
                        <a:pt x="149686" y="289670"/>
                      </a:lnTo>
                      <a:lnTo>
                        <a:pt x="149346" y="288504"/>
                      </a:lnTo>
                      <a:lnTo>
                        <a:pt x="148715" y="284035"/>
                      </a:lnTo>
                      <a:lnTo>
                        <a:pt x="148362" y="282943"/>
                      </a:lnTo>
                      <a:lnTo>
                        <a:pt x="147731" y="282311"/>
                      </a:lnTo>
                      <a:lnTo>
                        <a:pt x="146480" y="281910"/>
                      </a:lnTo>
                      <a:lnTo>
                        <a:pt x="145145" y="281728"/>
                      </a:lnTo>
                      <a:lnTo>
                        <a:pt x="143311" y="281643"/>
                      </a:lnTo>
                      <a:lnTo>
                        <a:pt x="141878" y="281340"/>
                      </a:lnTo>
                      <a:lnTo>
                        <a:pt x="140785" y="280660"/>
                      </a:lnTo>
                      <a:lnTo>
                        <a:pt x="140324" y="279397"/>
                      </a:lnTo>
                      <a:lnTo>
                        <a:pt x="140433" y="278571"/>
                      </a:lnTo>
                      <a:lnTo>
                        <a:pt x="141769" y="277248"/>
                      </a:lnTo>
                      <a:lnTo>
                        <a:pt x="147852" y="275219"/>
                      </a:lnTo>
                      <a:lnTo>
                        <a:pt x="150500" y="272488"/>
                      </a:lnTo>
                      <a:lnTo>
                        <a:pt x="152503" y="267278"/>
                      </a:lnTo>
                      <a:lnTo>
                        <a:pt x="153426" y="266100"/>
                      </a:lnTo>
                      <a:lnTo>
                        <a:pt x="154398" y="265554"/>
                      </a:lnTo>
                      <a:lnTo>
                        <a:pt x="155940" y="265384"/>
                      </a:lnTo>
                      <a:lnTo>
                        <a:pt x="157105" y="265930"/>
                      </a:lnTo>
                      <a:lnTo>
                        <a:pt x="158356" y="267205"/>
                      </a:lnTo>
                      <a:lnTo>
                        <a:pt x="159218" y="268699"/>
                      </a:lnTo>
                      <a:lnTo>
                        <a:pt x="161282" y="273447"/>
                      </a:lnTo>
                      <a:lnTo>
                        <a:pt x="162266" y="274418"/>
                      </a:lnTo>
                      <a:lnTo>
                        <a:pt x="163408" y="275050"/>
                      </a:lnTo>
                      <a:lnTo>
                        <a:pt x="165083" y="275693"/>
                      </a:lnTo>
                      <a:lnTo>
                        <a:pt x="166115" y="276240"/>
                      </a:lnTo>
                      <a:lnTo>
                        <a:pt x="173110" y="281291"/>
                      </a:lnTo>
                      <a:lnTo>
                        <a:pt x="178866" y="283999"/>
                      </a:lnTo>
                      <a:lnTo>
                        <a:pt x="181950" y="285857"/>
                      </a:lnTo>
                      <a:lnTo>
                        <a:pt x="184476" y="287982"/>
                      </a:lnTo>
                      <a:lnTo>
                        <a:pt x="188908" y="294503"/>
                      </a:lnTo>
                      <a:lnTo>
                        <a:pt x="190219" y="295936"/>
                      </a:lnTo>
                      <a:lnTo>
                        <a:pt x="191713" y="296591"/>
                      </a:lnTo>
                      <a:lnTo>
                        <a:pt x="193498" y="296858"/>
                      </a:lnTo>
                      <a:lnTo>
                        <a:pt x="203321" y="296215"/>
                      </a:lnTo>
                      <a:lnTo>
                        <a:pt x="205726" y="295413"/>
                      </a:lnTo>
                      <a:lnTo>
                        <a:pt x="210267" y="292584"/>
                      </a:lnTo>
                      <a:lnTo>
                        <a:pt x="215319" y="290107"/>
                      </a:lnTo>
                      <a:lnTo>
                        <a:pt x="218415" y="288990"/>
                      </a:lnTo>
                      <a:lnTo>
                        <a:pt x="220662" y="287678"/>
                      </a:lnTo>
                      <a:lnTo>
                        <a:pt x="222155" y="285869"/>
                      </a:lnTo>
                      <a:lnTo>
                        <a:pt x="223248" y="283720"/>
                      </a:lnTo>
                      <a:lnTo>
                        <a:pt x="224037" y="281194"/>
                      </a:lnTo>
                      <a:lnTo>
                        <a:pt x="224341" y="278802"/>
                      </a:lnTo>
                      <a:lnTo>
                        <a:pt x="223928" y="275219"/>
                      </a:lnTo>
                      <a:lnTo>
                        <a:pt x="224159" y="273835"/>
                      </a:lnTo>
                      <a:lnTo>
                        <a:pt x="229562" y="268274"/>
                      </a:lnTo>
                      <a:lnTo>
                        <a:pt x="238803" y="261352"/>
                      </a:lnTo>
                      <a:lnTo>
                        <a:pt x="240637" y="259349"/>
                      </a:lnTo>
                      <a:lnTo>
                        <a:pt x="241790" y="257054"/>
                      </a:lnTo>
                      <a:lnTo>
                        <a:pt x="242543" y="254492"/>
                      </a:lnTo>
                      <a:lnTo>
                        <a:pt x="242944" y="251662"/>
                      </a:lnTo>
                      <a:lnTo>
                        <a:pt x="243004" y="248529"/>
                      </a:lnTo>
                      <a:lnTo>
                        <a:pt x="241389" y="233339"/>
                      </a:lnTo>
                      <a:lnTo>
                        <a:pt x="239835" y="228724"/>
                      </a:lnTo>
                      <a:lnTo>
                        <a:pt x="237953" y="224984"/>
                      </a:lnTo>
                      <a:lnTo>
                        <a:pt x="236156" y="217893"/>
                      </a:lnTo>
                      <a:lnTo>
                        <a:pt x="234905" y="215525"/>
                      </a:lnTo>
                      <a:lnTo>
                        <a:pt x="233229" y="214032"/>
                      </a:lnTo>
                      <a:lnTo>
                        <a:pt x="230983" y="212453"/>
                      </a:lnTo>
                      <a:lnTo>
                        <a:pt x="228239" y="209854"/>
                      </a:lnTo>
                      <a:lnTo>
                        <a:pt x="224790" y="205641"/>
                      </a:lnTo>
                      <a:lnTo>
                        <a:pt x="221815" y="201051"/>
                      </a:lnTo>
                      <a:lnTo>
                        <a:pt x="220200" y="199096"/>
                      </a:lnTo>
                      <a:lnTo>
                        <a:pt x="217322" y="198403"/>
                      </a:lnTo>
                      <a:lnTo>
                        <a:pt x="211251" y="196254"/>
                      </a:lnTo>
                      <a:lnTo>
                        <a:pt x="209065" y="193376"/>
                      </a:lnTo>
                      <a:lnTo>
                        <a:pt x="208203" y="191518"/>
                      </a:lnTo>
                      <a:lnTo>
                        <a:pt x="206017" y="188616"/>
                      </a:lnTo>
                      <a:lnTo>
                        <a:pt x="204293" y="187305"/>
                      </a:lnTo>
                      <a:lnTo>
                        <a:pt x="202398" y="186540"/>
                      </a:lnTo>
                      <a:lnTo>
                        <a:pt x="200456" y="186333"/>
                      </a:lnTo>
                      <a:lnTo>
                        <a:pt x="198719" y="186418"/>
                      </a:lnTo>
                      <a:lnTo>
                        <a:pt x="196655" y="187220"/>
                      </a:lnTo>
                      <a:lnTo>
                        <a:pt x="194238" y="187329"/>
                      </a:lnTo>
                      <a:lnTo>
                        <a:pt x="190972" y="187183"/>
                      </a:lnTo>
                      <a:lnTo>
                        <a:pt x="184075" y="183164"/>
                      </a:lnTo>
                      <a:lnTo>
                        <a:pt x="177080" y="176425"/>
                      </a:lnTo>
                      <a:lnTo>
                        <a:pt x="175708" y="174348"/>
                      </a:lnTo>
                      <a:lnTo>
                        <a:pt x="175587" y="173195"/>
                      </a:lnTo>
                      <a:lnTo>
                        <a:pt x="175866" y="172248"/>
                      </a:lnTo>
                      <a:lnTo>
                        <a:pt x="176789" y="171738"/>
                      </a:lnTo>
                      <a:lnTo>
                        <a:pt x="178343" y="171859"/>
                      </a:lnTo>
                      <a:lnTo>
                        <a:pt x="180238" y="172429"/>
                      </a:lnTo>
                      <a:lnTo>
                        <a:pt x="190559" y="178052"/>
                      </a:lnTo>
                      <a:lnTo>
                        <a:pt x="191956" y="178307"/>
                      </a:lnTo>
                      <a:lnTo>
                        <a:pt x="193328" y="177943"/>
                      </a:lnTo>
                      <a:lnTo>
                        <a:pt x="194639" y="177190"/>
                      </a:lnTo>
                      <a:lnTo>
                        <a:pt x="196315" y="176765"/>
                      </a:lnTo>
                      <a:lnTo>
                        <a:pt x="198039" y="176935"/>
                      </a:lnTo>
                      <a:lnTo>
                        <a:pt x="199642" y="177420"/>
                      </a:lnTo>
                      <a:lnTo>
                        <a:pt x="200966" y="177943"/>
                      </a:lnTo>
                      <a:lnTo>
                        <a:pt x="201998" y="178246"/>
                      </a:lnTo>
                      <a:lnTo>
                        <a:pt x="202641" y="178283"/>
                      </a:lnTo>
                      <a:lnTo>
                        <a:pt x="202969" y="178100"/>
                      </a:lnTo>
                      <a:lnTo>
                        <a:pt x="206078" y="175174"/>
                      </a:lnTo>
                      <a:lnTo>
                        <a:pt x="207729" y="174057"/>
                      </a:lnTo>
                      <a:lnTo>
                        <a:pt x="209575" y="173085"/>
                      </a:lnTo>
                      <a:lnTo>
                        <a:pt x="211712" y="172332"/>
                      </a:lnTo>
                      <a:lnTo>
                        <a:pt x="213776" y="171932"/>
                      </a:lnTo>
                      <a:lnTo>
                        <a:pt x="215889" y="170620"/>
                      </a:lnTo>
                      <a:lnTo>
                        <a:pt x="217844" y="168119"/>
                      </a:lnTo>
                      <a:lnTo>
                        <a:pt x="220722" y="158648"/>
                      </a:lnTo>
                      <a:lnTo>
                        <a:pt x="222094" y="155478"/>
                      </a:lnTo>
                      <a:lnTo>
                        <a:pt x="223649" y="154531"/>
                      </a:lnTo>
                      <a:lnTo>
                        <a:pt x="225203" y="154993"/>
                      </a:lnTo>
                      <a:lnTo>
                        <a:pt x="228069" y="157919"/>
                      </a:lnTo>
                      <a:lnTo>
                        <a:pt x="229854" y="158465"/>
                      </a:lnTo>
                      <a:lnTo>
                        <a:pt x="232137" y="158065"/>
                      </a:lnTo>
                      <a:lnTo>
                        <a:pt x="242640" y="154300"/>
                      </a:lnTo>
                      <a:lnTo>
                        <a:pt x="244316" y="153414"/>
                      </a:lnTo>
                      <a:lnTo>
                        <a:pt x="246380" y="150087"/>
                      </a:lnTo>
                      <a:lnTo>
                        <a:pt x="249537" y="137337"/>
                      </a:lnTo>
                      <a:lnTo>
                        <a:pt x="252136" y="133232"/>
                      </a:lnTo>
                      <a:lnTo>
                        <a:pt x="254820" y="130792"/>
                      </a:lnTo>
                      <a:lnTo>
                        <a:pt x="258098" y="128958"/>
                      </a:lnTo>
                      <a:lnTo>
                        <a:pt x="260903" y="126784"/>
                      </a:lnTo>
                      <a:lnTo>
                        <a:pt x="265335" y="121891"/>
                      </a:lnTo>
                      <a:lnTo>
                        <a:pt x="267509" y="120009"/>
                      </a:lnTo>
                      <a:lnTo>
                        <a:pt x="269634" y="119232"/>
                      </a:lnTo>
                      <a:lnTo>
                        <a:pt x="271468" y="119839"/>
                      </a:lnTo>
                      <a:lnTo>
                        <a:pt x="276009" y="121769"/>
                      </a:lnTo>
                      <a:lnTo>
                        <a:pt x="278025" y="122158"/>
                      </a:lnTo>
                      <a:lnTo>
                        <a:pt x="279980" y="122012"/>
                      </a:lnTo>
                      <a:lnTo>
                        <a:pt x="304727" y="115249"/>
                      </a:lnTo>
                      <a:lnTo>
                        <a:pt x="309317" y="113233"/>
                      </a:lnTo>
                      <a:lnTo>
                        <a:pt x="312244" y="111448"/>
                      </a:lnTo>
                      <a:lnTo>
                        <a:pt x="314259" y="109784"/>
                      </a:lnTo>
                      <a:lnTo>
                        <a:pt x="315291" y="108546"/>
                      </a:lnTo>
                      <a:lnTo>
                        <a:pt x="315874" y="107028"/>
                      </a:lnTo>
                      <a:lnTo>
                        <a:pt x="316032" y="105243"/>
                      </a:lnTo>
                      <a:lnTo>
                        <a:pt x="315814" y="103591"/>
                      </a:lnTo>
                      <a:lnTo>
                        <a:pt x="315352" y="102085"/>
                      </a:lnTo>
                      <a:lnTo>
                        <a:pt x="314259" y="99475"/>
                      </a:lnTo>
                      <a:lnTo>
                        <a:pt x="313798" y="98637"/>
                      </a:lnTo>
                      <a:lnTo>
                        <a:pt x="313106" y="98151"/>
                      </a:lnTo>
                      <a:lnTo>
                        <a:pt x="312074" y="97981"/>
                      </a:lnTo>
                      <a:lnTo>
                        <a:pt x="310811" y="98212"/>
                      </a:lnTo>
                      <a:lnTo>
                        <a:pt x="309378" y="98856"/>
                      </a:lnTo>
                      <a:lnTo>
                        <a:pt x="306281" y="100798"/>
                      </a:lnTo>
                      <a:lnTo>
                        <a:pt x="304557" y="101624"/>
                      </a:lnTo>
                      <a:lnTo>
                        <a:pt x="302651" y="102207"/>
                      </a:lnTo>
                      <a:lnTo>
                        <a:pt x="295535" y="103591"/>
                      </a:lnTo>
                      <a:lnTo>
                        <a:pt x="293871" y="103215"/>
                      </a:lnTo>
                      <a:lnTo>
                        <a:pt x="292560" y="102049"/>
                      </a:lnTo>
                      <a:lnTo>
                        <a:pt x="291346" y="100714"/>
                      </a:lnTo>
                      <a:lnTo>
                        <a:pt x="289913" y="99499"/>
                      </a:lnTo>
                      <a:lnTo>
                        <a:pt x="288759" y="98989"/>
                      </a:lnTo>
                      <a:lnTo>
                        <a:pt x="287095" y="98613"/>
                      </a:lnTo>
                      <a:lnTo>
                        <a:pt x="285311" y="98819"/>
                      </a:lnTo>
                      <a:lnTo>
                        <a:pt x="284339" y="99184"/>
                      </a:lnTo>
                      <a:lnTo>
                        <a:pt x="283768" y="99766"/>
                      </a:lnTo>
                      <a:lnTo>
                        <a:pt x="283076" y="100859"/>
                      </a:lnTo>
                      <a:lnTo>
                        <a:pt x="281995" y="101746"/>
                      </a:lnTo>
                      <a:lnTo>
                        <a:pt x="280041" y="102171"/>
                      </a:lnTo>
                      <a:lnTo>
                        <a:pt x="266708" y="100859"/>
                      </a:lnTo>
                      <a:lnTo>
                        <a:pt x="263150" y="100944"/>
                      </a:lnTo>
                      <a:lnTo>
                        <a:pt x="258839" y="101673"/>
                      </a:lnTo>
                      <a:lnTo>
                        <a:pt x="251152" y="103944"/>
                      </a:lnTo>
                      <a:lnTo>
                        <a:pt x="245348" y="106384"/>
                      </a:lnTo>
                      <a:lnTo>
                        <a:pt x="232659" y="108424"/>
                      </a:lnTo>
                      <a:lnTo>
                        <a:pt x="227207" y="110744"/>
                      </a:lnTo>
                      <a:lnTo>
                        <a:pt x="225992" y="110889"/>
                      </a:lnTo>
                      <a:lnTo>
                        <a:pt x="225021" y="110258"/>
                      </a:lnTo>
                      <a:lnTo>
                        <a:pt x="224219" y="108995"/>
                      </a:lnTo>
                      <a:lnTo>
                        <a:pt x="222155" y="104575"/>
                      </a:lnTo>
                      <a:lnTo>
                        <a:pt x="220722" y="102195"/>
                      </a:lnTo>
                      <a:lnTo>
                        <a:pt x="215209" y="95710"/>
                      </a:lnTo>
                      <a:lnTo>
                        <a:pt x="214056" y="93610"/>
                      </a:lnTo>
                      <a:lnTo>
                        <a:pt x="213024" y="90720"/>
                      </a:lnTo>
                      <a:lnTo>
                        <a:pt x="213473" y="89202"/>
                      </a:lnTo>
                      <a:lnTo>
                        <a:pt x="214966" y="88218"/>
                      </a:lnTo>
                      <a:lnTo>
                        <a:pt x="220722" y="87648"/>
                      </a:lnTo>
                      <a:lnTo>
                        <a:pt x="224159" y="86069"/>
                      </a:lnTo>
                      <a:lnTo>
                        <a:pt x="227437" y="82900"/>
                      </a:lnTo>
                      <a:lnTo>
                        <a:pt x="229453" y="76755"/>
                      </a:lnTo>
                      <a:lnTo>
                        <a:pt x="229040" y="73720"/>
                      </a:lnTo>
                      <a:lnTo>
                        <a:pt x="227207" y="71789"/>
                      </a:lnTo>
                      <a:lnTo>
                        <a:pt x="225021" y="70477"/>
                      </a:lnTo>
                      <a:lnTo>
                        <a:pt x="223466" y="68437"/>
                      </a:lnTo>
                      <a:lnTo>
                        <a:pt x="222726" y="65426"/>
                      </a:lnTo>
                      <a:lnTo>
                        <a:pt x="223248" y="62658"/>
                      </a:lnTo>
                      <a:lnTo>
                        <a:pt x="223017" y="60168"/>
                      </a:lnTo>
                      <a:lnTo>
                        <a:pt x="221463" y="54680"/>
                      </a:lnTo>
                      <a:lnTo>
                        <a:pt x="221354" y="52579"/>
                      </a:lnTo>
                      <a:lnTo>
                        <a:pt x="221633" y="50952"/>
                      </a:lnTo>
                      <a:lnTo>
                        <a:pt x="223879" y="46410"/>
                      </a:lnTo>
                      <a:lnTo>
                        <a:pt x="226636" y="45293"/>
                      </a:lnTo>
                      <a:lnTo>
                        <a:pt x="228239" y="45038"/>
                      </a:lnTo>
                      <a:lnTo>
                        <a:pt x="235367" y="42852"/>
                      </a:lnTo>
                      <a:lnTo>
                        <a:pt x="240758" y="39877"/>
                      </a:lnTo>
                      <a:lnTo>
                        <a:pt x="244134" y="40436"/>
                      </a:lnTo>
                      <a:lnTo>
                        <a:pt x="248845" y="38918"/>
                      </a:lnTo>
                      <a:lnTo>
                        <a:pt x="253047" y="36344"/>
                      </a:lnTo>
                      <a:lnTo>
                        <a:pt x="254820" y="33697"/>
                      </a:lnTo>
                      <a:lnTo>
                        <a:pt x="271067" y="25998"/>
                      </a:lnTo>
                      <a:lnTo>
                        <a:pt x="283768" y="23752"/>
                      </a:lnTo>
                      <a:lnTo>
                        <a:pt x="283817" y="9386"/>
                      </a:lnTo>
                      <a:lnTo>
                        <a:pt x="286233" y="1870"/>
                      </a:lnTo>
                      <a:lnTo>
                        <a:pt x="286112" y="1020"/>
                      </a:lnTo>
                      <a:moveTo>
                        <a:pt x="280441" y="0"/>
                      </a:moveTo>
                      <a:lnTo>
                        <a:pt x="278025" y="7516"/>
                      </a:lnTo>
                      <a:lnTo>
                        <a:pt x="277745" y="8415"/>
                      </a:lnTo>
                      <a:lnTo>
                        <a:pt x="277745" y="9350"/>
                      </a:lnTo>
                      <a:lnTo>
                        <a:pt x="277721" y="18639"/>
                      </a:lnTo>
                      <a:lnTo>
                        <a:pt x="270023" y="19999"/>
                      </a:lnTo>
                      <a:lnTo>
                        <a:pt x="269221" y="20145"/>
                      </a:lnTo>
                      <a:lnTo>
                        <a:pt x="268480" y="20485"/>
                      </a:lnTo>
                      <a:lnTo>
                        <a:pt x="252233" y="28184"/>
                      </a:lnTo>
                      <a:lnTo>
                        <a:pt x="250715" y="28912"/>
                      </a:lnTo>
                      <a:lnTo>
                        <a:pt x="249780" y="30297"/>
                      </a:lnTo>
                      <a:lnTo>
                        <a:pt x="248748" y="31839"/>
                      </a:lnTo>
                      <a:lnTo>
                        <a:pt x="246295" y="33332"/>
                      </a:lnTo>
                      <a:lnTo>
                        <a:pt x="243672" y="34182"/>
                      </a:lnTo>
                      <a:lnTo>
                        <a:pt x="241754" y="33867"/>
                      </a:lnTo>
                      <a:lnTo>
                        <a:pt x="239677" y="33526"/>
                      </a:lnTo>
                      <a:lnTo>
                        <a:pt x="237832" y="34547"/>
                      </a:lnTo>
                      <a:lnTo>
                        <a:pt x="232999" y="37218"/>
                      </a:lnTo>
                      <a:lnTo>
                        <a:pt x="226879" y="39088"/>
                      </a:lnTo>
                      <a:lnTo>
                        <a:pt x="225677" y="39294"/>
                      </a:lnTo>
                      <a:lnTo>
                        <a:pt x="225009" y="39404"/>
                      </a:lnTo>
                      <a:lnTo>
                        <a:pt x="224377" y="39659"/>
                      </a:lnTo>
                      <a:lnTo>
                        <a:pt x="221621" y="40776"/>
                      </a:lnTo>
                      <a:lnTo>
                        <a:pt x="219484" y="41638"/>
                      </a:lnTo>
                      <a:lnTo>
                        <a:pt x="218464" y="43715"/>
                      </a:lnTo>
                      <a:lnTo>
                        <a:pt x="216217" y="48256"/>
                      </a:lnTo>
                      <a:lnTo>
                        <a:pt x="215829" y="49045"/>
                      </a:lnTo>
                      <a:lnTo>
                        <a:pt x="215683" y="49907"/>
                      </a:lnTo>
                      <a:lnTo>
                        <a:pt x="215404" y="51534"/>
                      </a:lnTo>
                      <a:lnTo>
                        <a:pt x="215282" y="52214"/>
                      </a:lnTo>
                      <a:lnTo>
                        <a:pt x="215319" y="52894"/>
                      </a:lnTo>
                      <a:lnTo>
                        <a:pt x="215428" y="54995"/>
                      </a:lnTo>
                      <a:lnTo>
                        <a:pt x="215464" y="55675"/>
                      </a:lnTo>
                      <a:lnTo>
                        <a:pt x="215646" y="56331"/>
                      </a:lnTo>
                      <a:lnTo>
                        <a:pt x="217043" y="61285"/>
                      </a:lnTo>
                      <a:lnTo>
                        <a:pt x="217140" y="62378"/>
                      </a:lnTo>
                      <a:lnTo>
                        <a:pt x="216776" y="64297"/>
                      </a:lnTo>
                      <a:lnTo>
                        <a:pt x="216521" y="65584"/>
                      </a:lnTo>
                      <a:lnTo>
                        <a:pt x="216836" y="66859"/>
                      </a:lnTo>
                      <a:lnTo>
                        <a:pt x="217577" y="69870"/>
                      </a:lnTo>
                      <a:lnTo>
                        <a:pt x="217881" y="71109"/>
                      </a:lnTo>
                      <a:lnTo>
                        <a:pt x="218634" y="72105"/>
                      </a:lnTo>
                      <a:lnTo>
                        <a:pt x="220188" y="74145"/>
                      </a:lnTo>
                      <a:lnTo>
                        <a:pt x="220892" y="75068"/>
                      </a:lnTo>
                      <a:lnTo>
                        <a:pt x="221888" y="75675"/>
                      </a:lnTo>
                      <a:lnTo>
                        <a:pt x="223163" y="76428"/>
                      </a:lnTo>
                      <a:lnTo>
                        <a:pt x="222131" y="79572"/>
                      </a:lnTo>
                      <a:lnTo>
                        <a:pt x="220674" y="80969"/>
                      </a:lnTo>
                      <a:lnTo>
                        <a:pt x="219107" y="81698"/>
                      </a:lnTo>
                      <a:lnTo>
                        <a:pt x="214359" y="82171"/>
                      </a:lnTo>
                      <a:lnTo>
                        <a:pt x="212866" y="82317"/>
                      </a:lnTo>
                      <a:lnTo>
                        <a:pt x="211615" y="83130"/>
                      </a:lnTo>
                      <a:lnTo>
                        <a:pt x="210121" y="84114"/>
                      </a:lnTo>
                      <a:lnTo>
                        <a:pt x="208276" y="85340"/>
                      </a:lnTo>
                      <a:lnTo>
                        <a:pt x="207644" y="87466"/>
                      </a:lnTo>
                      <a:lnTo>
                        <a:pt x="207195" y="88983"/>
                      </a:lnTo>
                      <a:lnTo>
                        <a:pt x="206636" y="90890"/>
                      </a:lnTo>
                      <a:lnTo>
                        <a:pt x="207304" y="92760"/>
                      </a:lnTo>
                      <a:lnTo>
                        <a:pt x="208336" y="95650"/>
                      </a:lnTo>
                      <a:lnTo>
                        <a:pt x="208494" y="96099"/>
                      </a:lnTo>
                      <a:lnTo>
                        <a:pt x="208725" y="96512"/>
                      </a:lnTo>
                      <a:lnTo>
                        <a:pt x="209879" y="98613"/>
                      </a:lnTo>
                      <a:lnTo>
                        <a:pt x="210170" y="99159"/>
                      </a:lnTo>
                      <a:lnTo>
                        <a:pt x="210571" y="99633"/>
                      </a:lnTo>
                      <a:lnTo>
                        <a:pt x="215768" y="105741"/>
                      </a:lnTo>
                      <a:lnTo>
                        <a:pt x="216776" y="107428"/>
                      </a:lnTo>
                      <a:lnTo>
                        <a:pt x="218706" y="111557"/>
                      </a:lnTo>
                      <a:lnTo>
                        <a:pt x="218864" y="111909"/>
                      </a:lnTo>
                      <a:lnTo>
                        <a:pt x="219071" y="112225"/>
                      </a:lnTo>
                      <a:lnTo>
                        <a:pt x="219872" y="113488"/>
                      </a:lnTo>
                      <a:lnTo>
                        <a:pt x="220589" y="114629"/>
                      </a:lnTo>
                      <a:lnTo>
                        <a:pt x="221718" y="115358"/>
                      </a:lnTo>
                      <a:lnTo>
                        <a:pt x="222689" y="115989"/>
                      </a:lnTo>
                      <a:lnTo>
                        <a:pt x="224523" y="117179"/>
                      </a:lnTo>
                      <a:lnTo>
                        <a:pt x="226697" y="116924"/>
                      </a:lnTo>
                      <a:lnTo>
                        <a:pt x="227911" y="116779"/>
                      </a:lnTo>
                      <a:lnTo>
                        <a:pt x="228785" y="116669"/>
                      </a:lnTo>
                      <a:lnTo>
                        <a:pt x="229587" y="116329"/>
                      </a:lnTo>
                      <a:lnTo>
                        <a:pt x="234347" y="114301"/>
                      </a:lnTo>
                      <a:lnTo>
                        <a:pt x="246307" y="112383"/>
                      </a:lnTo>
                      <a:lnTo>
                        <a:pt x="247024" y="112261"/>
                      </a:lnTo>
                      <a:lnTo>
                        <a:pt x="247692" y="111982"/>
                      </a:lnTo>
                      <a:lnTo>
                        <a:pt x="253180" y="109675"/>
                      </a:lnTo>
                      <a:lnTo>
                        <a:pt x="260187" y="107611"/>
                      </a:lnTo>
                      <a:lnTo>
                        <a:pt x="263720" y="107016"/>
                      </a:lnTo>
                      <a:lnTo>
                        <a:pt x="266477" y="106955"/>
                      </a:lnTo>
                      <a:lnTo>
                        <a:pt x="279433" y="108230"/>
                      </a:lnTo>
                      <a:lnTo>
                        <a:pt x="280393" y="108315"/>
                      </a:lnTo>
                      <a:lnTo>
                        <a:pt x="281328" y="108108"/>
                      </a:lnTo>
                      <a:lnTo>
                        <a:pt x="283283" y="107683"/>
                      </a:lnTo>
                      <a:lnTo>
                        <a:pt x="284715" y="107380"/>
                      </a:lnTo>
                      <a:lnTo>
                        <a:pt x="285845" y="106445"/>
                      </a:lnTo>
                      <a:lnTo>
                        <a:pt x="286925" y="105558"/>
                      </a:lnTo>
                      <a:lnTo>
                        <a:pt x="287265" y="105291"/>
                      </a:lnTo>
                      <a:lnTo>
                        <a:pt x="288055" y="106154"/>
                      </a:lnTo>
                      <a:lnTo>
                        <a:pt x="288273" y="106409"/>
                      </a:lnTo>
                      <a:lnTo>
                        <a:pt x="288528" y="106627"/>
                      </a:lnTo>
                      <a:lnTo>
                        <a:pt x="289840" y="107793"/>
                      </a:lnTo>
                      <a:lnTo>
                        <a:pt x="291006" y="108825"/>
                      </a:lnTo>
                      <a:lnTo>
                        <a:pt x="292523" y="109165"/>
                      </a:lnTo>
                      <a:lnTo>
                        <a:pt x="294187" y="109541"/>
                      </a:lnTo>
                      <a:lnTo>
                        <a:pt x="295438" y="109821"/>
                      </a:lnTo>
                      <a:lnTo>
                        <a:pt x="296701" y="109578"/>
                      </a:lnTo>
                      <a:lnTo>
                        <a:pt x="303816" y="108194"/>
                      </a:lnTo>
                      <a:lnTo>
                        <a:pt x="304120" y="108121"/>
                      </a:lnTo>
                      <a:lnTo>
                        <a:pt x="304423" y="108036"/>
                      </a:lnTo>
                      <a:lnTo>
                        <a:pt x="306330" y="107453"/>
                      </a:lnTo>
                      <a:lnTo>
                        <a:pt x="306779" y="107307"/>
                      </a:lnTo>
                      <a:lnTo>
                        <a:pt x="307192" y="107101"/>
                      </a:lnTo>
                      <a:lnTo>
                        <a:pt x="308916" y="106275"/>
                      </a:lnTo>
                      <a:lnTo>
                        <a:pt x="309086" y="106202"/>
                      </a:lnTo>
                      <a:lnTo>
                        <a:pt x="308722" y="106493"/>
                      </a:lnTo>
                      <a:lnTo>
                        <a:pt x="306500" y="107841"/>
                      </a:lnTo>
                      <a:lnTo>
                        <a:pt x="302699" y="109517"/>
                      </a:lnTo>
                      <a:lnTo>
                        <a:pt x="278948" y="116001"/>
                      </a:lnTo>
                      <a:lnTo>
                        <a:pt x="278389" y="116038"/>
                      </a:lnTo>
                      <a:lnTo>
                        <a:pt x="277794" y="115929"/>
                      </a:lnTo>
                      <a:lnTo>
                        <a:pt x="273848" y="114241"/>
                      </a:lnTo>
                      <a:lnTo>
                        <a:pt x="271540" y="113464"/>
                      </a:lnTo>
                      <a:lnTo>
                        <a:pt x="269525" y="112796"/>
                      </a:lnTo>
                      <a:lnTo>
                        <a:pt x="267533" y="113537"/>
                      </a:lnTo>
                      <a:lnTo>
                        <a:pt x="265408" y="114314"/>
                      </a:lnTo>
                      <a:lnTo>
                        <a:pt x="264376" y="114690"/>
                      </a:lnTo>
                      <a:lnTo>
                        <a:pt x="263538" y="115419"/>
                      </a:lnTo>
                      <a:lnTo>
                        <a:pt x="261365" y="117301"/>
                      </a:lnTo>
                      <a:lnTo>
                        <a:pt x="261085" y="117544"/>
                      </a:lnTo>
                      <a:lnTo>
                        <a:pt x="260830" y="117823"/>
                      </a:lnTo>
                      <a:lnTo>
                        <a:pt x="256762" y="122316"/>
                      </a:lnTo>
                      <a:lnTo>
                        <a:pt x="254735" y="123882"/>
                      </a:lnTo>
                      <a:lnTo>
                        <a:pt x="251845" y="125497"/>
                      </a:lnTo>
                      <a:lnTo>
                        <a:pt x="251237" y="125837"/>
                      </a:lnTo>
                      <a:lnTo>
                        <a:pt x="250727" y="126299"/>
                      </a:lnTo>
                      <a:lnTo>
                        <a:pt x="248044" y="128739"/>
                      </a:lnTo>
                      <a:lnTo>
                        <a:pt x="247437" y="129298"/>
                      </a:lnTo>
                      <a:lnTo>
                        <a:pt x="247000" y="129990"/>
                      </a:lnTo>
                      <a:lnTo>
                        <a:pt x="244401" y="134094"/>
                      </a:lnTo>
                      <a:lnTo>
                        <a:pt x="243879" y="134920"/>
                      </a:lnTo>
                      <a:lnTo>
                        <a:pt x="243636" y="135880"/>
                      </a:lnTo>
                      <a:lnTo>
                        <a:pt x="240709" y="147707"/>
                      </a:lnTo>
                      <a:lnTo>
                        <a:pt x="240029" y="148800"/>
                      </a:lnTo>
                      <a:lnTo>
                        <a:pt x="230837" y="152090"/>
                      </a:lnTo>
                      <a:lnTo>
                        <a:pt x="229538" y="150767"/>
                      </a:lnTo>
                      <a:lnTo>
                        <a:pt x="228433" y="149637"/>
                      </a:lnTo>
                      <a:lnTo>
                        <a:pt x="226915" y="149188"/>
                      </a:lnTo>
                      <a:lnTo>
                        <a:pt x="225361" y="148727"/>
                      </a:lnTo>
                      <a:lnTo>
                        <a:pt x="222774" y="147962"/>
                      </a:lnTo>
                      <a:lnTo>
                        <a:pt x="220467" y="149370"/>
                      </a:lnTo>
                      <a:lnTo>
                        <a:pt x="218913" y="150317"/>
                      </a:lnTo>
                      <a:lnTo>
                        <a:pt x="217274" y="151325"/>
                      </a:lnTo>
                      <a:lnTo>
                        <a:pt x="216509" y="153098"/>
                      </a:lnTo>
                      <a:lnTo>
                        <a:pt x="215136" y="156267"/>
                      </a:lnTo>
                      <a:lnTo>
                        <a:pt x="215003" y="156571"/>
                      </a:lnTo>
                      <a:lnTo>
                        <a:pt x="214906" y="156899"/>
                      </a:lnTo>
                      <a:lnTo>
                        <a:pt x="212356" y="165290"/>
                      </a:lnTo>
                      <a:lnTo>
                        <a:pt x="211761" y="166042"/>
                      </a:lnTo>
                      <a:lnTo>
                        <a:pt x="211506" y="166212"/>
                      </a:lnTo>
                      <a:lnTo>
                        <a:pt x="210534" y="166407"/>
                      </a:lnTo>
                      <a:lnTo>
                        <a:pt x="210097" y="166492"/>
                      </a:lnTo>
                      <a:lnTo>
                        <a:pt x="209684" y="166637"/>
                      </a:lnTo>
                      <a:lnTo>
                        <a:pt x="207547" y="167390"/>
                      </a:lnTo>
                      <a:lnTo>
                        <a:pt x="207122" y="167536"/>
                      </a:lnTo>
                      <a:lnTo>
                        <a:pt x="206734" y="167755"/>
                      </a:lnTo>
                      <a:lnTo>
                        <a:pt x="204888" y="168726"/>
                      </a:lnTo>
                      <a:lnTo>
                        <a:pt x="204584" y="168884"/>
                      </a:lnTo>
                      <a:lnTo>
                        <a:pt x="204305" y="169078"/>
                      </a:lnTo>
                      <a:lnTo>
                        <a:pt x="202654" y="170195"/>
                      </a:lnTo>
                      <a:lnTo>
                        <a:pt x="202253" y="170462"/>
                      </a:lnTo>
                      <a:lnTo>
                        <a:pt x="201901" y="170790"/>
                      </a:lnTo>
                      <a:lnTo>
                        <a:pt x="201087" y="171555"/>
                      </a:lnTo>
                      <a:lnTo>
                        <a:pt x="199800" y="171155"/>
                      </a:lnTo>
                      <a:lnTo>
                        <a:pt x="199217" y="170972"/>
                      </a:lnTo>
                      <a:lnTo>
                        <a:pt x="198610" y="170912"/>
                      </a:lnTo>
                      <a:lnTo>
                        <a:pt x="196886" y="170742"/>
                      </a:lnTo>
                      <a:lnTo>
                        <a:pt x="195829" y="170644"/>
                      </a:lnTo>
                      <a:lnTo>
                        <a:pt x="194809" y="170900"/>
                      </a:lnTo>
                      <a:lnTo>
                        <a:pt x="193133" y="171324"/>
                      </a:lnTo>
                      <a:lnTo>
                        <a:pt x="192344" y="171531"/>
                      </a:lnTo>
                      <a:lnTo>
                        <a:pt x="191810" y="171835"/>
                      </a:lnTo>
                      <a:lnTo>
                        <a:pt x="183140" y="167099"/>
                      </a:lnTo>
                      <a:lnTo>
                        <a:pt x="182581" y="166808"/>
                      </a:lnTo>
                      <a:lnTo>
                        <a:pt x="181974" y="166625"/>
                      </a:lnTo>
                      <a:lnTo>
                        <a:pt x="180080" y="166055"/>
                      </a:lnTo>
                      <a:lnTo>
                        <a:pt x="179448" y="165860"/>
                      </a:lnTo>
                      <a:lnTo>
                        <a:pt x="178793" y="165800"/>
                      </a:lnTo>
                      <a:lnTo>
                        <a:pt x="177238" y="165678"/>
                      </a:lnTo>
                      <a:lnTo>
                        <a:pt x="175429" y="165545"/>
                      </a:lnTo>
                      <a:lnTo>
                        <a:pt x="173838" y="166419"/>
                      </a:lnTo>
                      <a:lnTo>
                        <a:pt x="172915" y="166929"/>
                      </a:lnTo>
                      <a:lnTo>
                        <a:pt x="170754" y="168131"/>
                      </a:lnTo>
                      <a:lnTo>
                        <a:pt x="170038" y="170499"/>
                      </a:lnTo>
                      <a:lnTo>
                        <a:pt x="169758" y="171446"/>
                      </a:lnTo>
                      <a:lnTo>
                        <a:pt x="169406" y="172624"/>
                      </a:lnTo>
                      <a:lnTo>
                        <a:pt x="169540" y="173850"/>
                      </a:lnTo>
                      <a:lnTo>
                        <a:pt x="169661" y="175004"/>
                      </a:lnTo>
                      <a:lnTo>
                        <a:pt x="169819" y="176461"/>
                      </a:lnTo>
                      <a:lnTo>
                        <a:pt x="170620" y="177700"/>
                      </a:lnTo>
                      <a:lnTo>
                        <a:pt x="171993" y="179776"/>
                      </a:lnTo>
                      <a:lnTo>
                        <a:pt x="172369" y="180335"/>
                      </a:lnTo>
                      <a:lnTo>
                        <a:pt x="172855" y="180808"/>
                      </a:lnTo>
                      <a:lnTo>
                        <a:pt x="179849" y="187548"/>
                      </a:lnTo>
                      <a:lnTo>
                        <a:pt x="180371" y="188045"/>
                      </a:lnTo>
                      <a:lnTo>
                        <a:pt x="181003" y="188410"/>
                      </a:lnTo>
                      <a:lnTo>
                        <a:pt x="187900" y="192429"/>
                      </a:lnTo>
                      <a:lnTo>
                        <a:pt x="189199" y="193182"/>
                      </a:lnTo>
                      <a:lnTo>
                        <a:pt x="190693" y="193255"/>
                      </a:lnTo>
                      <a:lnTo>
                        <a:pt x="193959" y="193401"/>
                      </a:lnTo>
                      <a:lnTo>
                        <a:pt x="196910" y="193291"/>
                      </a:lnTo>
                      <a:lnTo>
                        <a:pt x="197918" y="193243"/>
                      </a:lnTo>
                      <a:lnTo>
                        <a:pt x="198853" y="192878"/>
                      </a:lnTo>
                      <a:lnTo>
                        <a:pt x="199982" y="192429"/>
                      </a:lnTo>
                      <a:lnTo>
                        <a:pt x="200261" y="192417"/>
                      </a:lnTo>
                      <a:lnTo>
                        <a:pt x="200881" y="192490"/>
                      </a:lnTo>
                      <a:lnTo>
                        <a:pt x="201233" y="192635"/>
                      </a:lnTo>
                      <a:lnTo>
                        <a:pt x="201646" y="192939"/>
                      </a:lnTo>
                      <a:lnTo>
                        <a:pt x="202945" y="194675"/>
                      </a:lnTo>
                      <a:lnTo>
                        <a:pt x="203540" y="195951"/>
                      </a:lnTo>
                      <a:lnTo>
                        <a:pt x="203807" y="196533"/>
                      </a:lnTo>
                      <a:lnTo>
                        <a:pt x="204196" y="197056"/>
                      </a:lnTo>
                      <a:lnTo>
                        <a:pt x="206381" y="199933"/>
                      </a:lnTo>
                      <a:lnTo>
                        <a:pt x="207474" y="201391"/>
                      </a:lnTo>
                      <a:lnTo>
                        <a:pt x="209199" y="201998"/>
                      </a:lnTo>
                      <a:lnTo>
                        <a:pt x="215270" y="204147"/>
                      </a:lnTo>
                      <a:lnTo>
                        <a:pt x="215574" y="204256"/>
                      </a:lnTo>
                      <a:lnTo>
                        <a:pt x="215877" y="204329"/>
                      </a:lnTo>
                      <a:lnTo>
                        <a:pt x="216776" y="204548"/>
                      </a:lnTo>
                      <a:lnTo>
                        <a:pt x="216873" y="204669"/>
                      </a:lnTo>
                      <a:lnTo>
                        <a:pt x="219654" y="208968"/>
                      </a:lnTo>
                      <a:lnTo>
                        <a:pt x="219836" y="209247"/>
                      </a:lnTo>
                      <a:lnTo>
                        <a:pt x="220054" y="209502"/>
                      </a:lnTo>
                      <a:lnTo>
                        <a:pt x="223503" y="213716"/>
                      </a:lnTo>
                      <a:lnTo>
                        <a:pt x="223746" y="213995"/>
                      </a:lnTo>
                      <a:lnTo>
                        <a:pt x="224025" y="214262"/>
                      </a:lnTo>
                      <a:lnTo>
                        <a:pt x="226769" y="216860"/>
                      </a:lnTo>
                      <a:lnTo>
                        <a:pt x="227085" y="217152"/>
                      </a:lnTo>
                      <a:lnTo>
                        <a:pt x="227449" y="217407"/>
                      </a:lnTo>
                      <a:lnTo>
                        <a:pt x="229404" y="218779"/>
                      </a:lnTo>
                      <a:lnTo>
                        <a:pt x="230012" y="219314"/>
                      </a:lnTo>
                      <a:lnTo>
                        <a:pt x="230412" y="220066"/>
                      </a:lnTo>
                      <a:lnTo>
                        <a:pt x="232027" y="226453"/>
                      </a:lnTo>
                      <a:lnTo>
                        <a:pt x="232197" y="227097"/>
                      </a:lnTo>
                      <a:lnTo>
                        <a:pt x="232489" y="227692"/>
                      </a:lnTo>
                      <a:lnTo>
                        <a:pt x="234177" y="231043"/>
                      </a:lnTo>
                      <a:lnTo>
                        <a:pt x="235391" y="234614"/>
                      </a:lnTo>
                      <a:lnTo>
                        <a:pt x="236897" y="248760"/>
                      </a:lnTo>
                      <a:lnTo>
                        <a:pt x="236848" y="251140"/>
                      </a:lnTo>
                      <a:lnTo>
                        <a:pt x="236569" y="253168"/>
                      </a:lnTo>
                      <a:lnTo>
                        <a:pt x="236083" y="254795"/>
                      </a:lnTo>
                      <a:lnTo>
                        <a:pt x="235561" y="255852"/>
                      </a:lnTo>
                      <a:lnTo>
                        <a:pt x="234687" y="256811"/>
                      </a:lnTo>
                      <a:lnTo>
                        <a:pt x="225895" y="263392"/>
                      </a:lnTo>
                      <a:lnTo>
                        <a:pt x="225519" y="263672"/>
                      </a:lnTo>
                      <a:lnTo>
                        <a:pt x="225191" y="264012"/>
                      </a:lnTo>
                      <a:lnTo>
                        <a:pt x="219787" y="269573"/>
                      </a:lnTo>
                      <a:lnTo>
                        <a:pt x="218464" y="270933"/>
                      </a:lnTo>
                      <a:lnTo>
                        <a:pt x="218148" y="272803"/>
                      </a:lnTo>
                      <a:lnTo>
                        <a:pt x="217917" y="274187"/>
                      </a:lnTo>
                      <a:lnTo>
                        <a:pt x="217771" y="275025"/>
                      </a:lnTo>
                      <a:lnTo>
                        <a:pt x="217869" y="275875"/>
                      </a:lnTo>
                      <a:lnTo>
                        <a:pt x="218196" y="278717"/>
                      </a:lnTo>
                      <a:lnTo>
                        <a:pt x="218051" y="279858"/>
                      </a:lnTo>
                      <a:lnTo>
                        <a:pt x="217577" y="281376"/>
                      </a:lnTo>
                      <a:lnTo>
                        <a:pt x="217019" y="282481"/>
                      </a:lnTo>
                      <a:lnTo>
                        <a:pt x="216630" y="282943"/>
                      </a:lnTo>
                      <a:lnTo>
                        <a:pt x="215804" y="283428"/>
                      </a:lnTo>
                      <a:lnTo>
                        <a:pt x="213242" y="284351"/>
                      </a:lnTo>
                      <a:lnTo>
                        <a:pt x="212926" y="284473"/>
                      </a:lnTo>
                      <a:lnTo>
                        <a:pt x="212623" y="284618"/>
                      </a:lnTo>
                      <a:lnTo>
                        <a:pt x="207571" y="287096"/>
                      </a:lnTo>
                      <a:lnTo>
                        <a:pt x="207292" y="287241"/>
                      </a:lnTo>
                      <a:lnTo>
                        <a:pt x="207025" y="287411"/>
                      </a:lnTo>
                      <a:lnTo>
                        <a:pt x="203103" y="289864"/>
                      </a:lnTo>
                      <a:lnTo>
                        <a:pt x="202119" y="290180"/>
                      </a:lnTo>
                      <a:lnTo>
                        <a:pt x="193741" y="290726"/>
                      </a:lnTo>
                      <a:lnTo>
                        <a:pt x="193680" y="290726"/>
                      </a:lnTo>
                      <a:lnTo>
                        <a:pt x="193668" y="290702"/>
                      </a:lnTo>
                      <a:lnTo>
                        <a:pt x="189478" y="284533"/>
                      </a:lnTo>
                      <a:lnTo>
                        <a:pt x="189005" y="283841"/>
                      </a:lnTo>
                      <a:lnTo>
                        <a:pt x="188361" y="283295"/>
                      </a:lnTo>
                      <a:lnTo>
                        <a:pt x="185836" y="281170"/>
                      </a:lnTo>
                      <a:lnTo>
                        <a:pt x="185471" y="280866"/>
                      </a:lnTo>
                      <a:lnTo>
                        <a:pt x="185071" y="280623"/>
                      </a:lnTo>
                      <a:lnTo>
                        <a:pt x="181986" y="278765"/>
                      </a:lnTo>
                      <a:lnTo>
                        <a:pt x="181719" y="278595"/>
                      </a:lnTo>
                      <a:lnTo>
                        <a:pt x="181440" y="278462"/>
                      </a:lnTo>
                      <a:lnTo>
                        <a:pt x="176194" y="275997"/>
                      </a:lnTo>
                      <a:lnTo>
                        <a:pt x="169649" y="271273"/>
                      </a:lnTo>
                      <a:lnTo>
                        <a:pt x="169309" y="271018"/>
                      </a:lnTo>
                      <a:lnTo>
                        <a:pt x="168933" y="270812"/>
                      </a:lnTo>
                      <a:lnTo>
                        <a:pt x="167900" y="270265"/>
                      </a:lnTo>
                      <a:lnTo>
                        <a:pt x="167573" y="270095"/>
                      </a:lnTo>
                      <a:lnTo>
                        <a:pt x="167233" y="269962"/>
                      </a:lnTo>
                      <a:lnTo>
                        <a:pt x="166225" y="269573"/>
                      </a:lnTo>
                      <a:lnTo>
                        <a:pt x="164768" y="266234"/>
                      </a:lnTo>
                      <a:lnTo>
                        <a:pt x="164634" y="265918"/>
                      </a:lnTo>
                      <a:lnTo>
                        <a:pt x="164452" y="265615"/>
                      </a:lnTo>
                      <a:lnTo>
                        <a:pt x="163590" y="264121"/>
                      </a:lnTo>
                      <a:lnTo>
                        <a:pt x="163213" y="263465"/>
                      </a:lnTo>
                      <a:lnTo>
                        <a:pt x="162691" y="262919"/>
                      </a:lnTo>
                      <a:lnTo>
                        <a:pt x="161428" y="261644"/>
                      </a:lnTo>
                      <a:lnTo>
                        <a:pt x="160663" y="260867"/>
                      </a:lnTo>
                      <a:lnTo>
                        <a:pt x="159668" y="260405"/>
                      </a:lnTo>
                      <a:lnTo>
                        <a:pt x="158502" y="259859"/>
                      </a:lnTo>
                      <a:lnTo>
                        <a:pt x="156972" y="259130"/>
                      </a:lnTo>
                      <a:lnTo>
                        <a:pt x="155272" y="259312"/>
                      </a:lnTo>
                      <a:lnTo>
                        <a:pt x="153730" y="259482"/>
                      </a:lnTo>
                      <a:lnTo>
                        <a:pt x="152491" y="259616"/>
                      </a:lnTo>
                      <a:lnTo>
                        <a:pt x="151410" y="260223"/>
                      </a:lnTo>
                      <a:lnTo>
                        <a:pt x="150439" y="260770"/>
                      </a:lnTo>
                      <a:lnTo>
                        <a:pt x="149395" y="261364"/>
                      </a:lnTo>
                      <a:lnTo>
                        <a:pt x="148642" y="262312"/>
                      </a:lnTo>
                      <a:lnTo>
                        <a:pt x="147719" y="263490"/>
                      </a:lnTo>
                      <a:lnTo>
                        <a:pt x="147148" y="264218"/>
                      </a:lnTo>
                      <a:lnTo>
                        <a:pt x="146820" y="265068"/>
                      </a:lnTo>
                      <a:lnTo>
                        <a:pt x="145266" y="269124"/>
                      </a:lnTo>
                      <a:lnTo>
                        <a:pt x="144513" y="269889"/>
                      </a:lnTo>
                      <a:lnTo>
                        <a:pt x="139838" y="271443"/>
                      </a:lnTo>
                      <a:lnTo>
                        <a:pt x="138490" y="271892"/>
                      </a:lnTo>
                      <a:lnTo>
                        <a:pt x="137482" y="272888"/>
                      </a:lnTo>
                      <a:lnTo>
                        <a:pt x="136147" y="274212"/>
                      </a:lnTo>
                      <a:lnTo>
                        <a:pt x="134665" y="275681"/>
                      </a:lnTo>
                      <a:lnTo>
                        <a:pt x="134398" y="277757"/>
                      </a:lnTo>
                      <a:lnTo>
                        <a:pt x="134289" y="278583"/>
                      </a:lnTo>
                      <a:lnTo>
                        <a:pt x="134094" y="280052"/>
                      </a:lnTo>
                      <a:lnTo>
                        <a:pt x="134604" y="281449"/>
                      </a:lnTo>
                      <a:lnTo>
                        <a:pt x="135066" y="282712"/>
                      </a:lnTo>
                      <a:lnTo>
                        <a:pt x="135794" y="284667"/>
                      </a:lnTo>
                      <a:lnTo>
                        <a:pt x="137567" y="285772"/>
                      </a:lnTo>
                      <a:lnTo>
                        <a:pt x="138660" y="286452"/>
                      </a:lnTo>
                      <a:lnTo>
                        <a:pt x="139559" y="287010"/>
                      </a:lnTo>
                      <a:lnTo>
                        <a:pt x="140579" y="287241"/>
                      </a:lnTo>
                      <a:lnTo>
                        <a:pt x="142012" y="287545"/>
                      </a:lnTo>
                      <a:lnTo>
                        <a:pt x="142510" y="287654"/>
                      </a:lnTo>
                      <a:lnTo>
                        <a:pt x="143020" y="287666"/>
                      </a:lnTo>
                      <a:lnTo>
                        <a:pt x="143080" y="287678"/>
                      </a:lnTo>
                      <a:lnTo>
                        <a:pt x="143311" y="289318"/>
                      </a:lnTo>
                      <a:lnTo>
                        <a:pt x="143372" y="289743"/>
                      </a:lnTo>
                      <a:lnTo>
                        <a:pt x="143493" y="290155"/>
                      </a:lnTo>
                      <a:lnTo>
                        <a:pt x="143833" y="291321"/>
                      </a:lnTo>
                      <a:lnTo>
                        <a:pt x="144210" y="292633"/>
                      </a:lnTo>
                      <a:lnTo>
                        <a:pt x="145120" y="293665"/>
                      </a:lnTo>
                      <a:lnTo>
                        <a:pt x="145703" y="294321"/>
                      </a:lnTo>
                      <a:lnTo>
                        <a:pt x="146468" y="295170"/>
                      </a:lnTo>
                      <a:lnTo>
                        <a:pt x="147488" y="295692"/>
                      </a:lnTo>
                      <a:lnTo>
                        <a:pt x="148399" y="296154"/>
                      </a:lnTo>
                      <a:lnTo>
                        <a:pt x="149042" y="296470"/>
                      </a:lnTo>
                      <a:lnTo>
                        <a:pt x="149735" y="296640"/>
                      </a:lnTo>
                      <a:lnTo>
                        <a:pt x="150827" y="296895"/>
                      </a:lnTo>
                      <a:lnTo>
                        <a:pt x="150973" y="296931"/>
                      </a:lnTo>
                      <a:lnTo>
                        <a:pt x="151799" y="300780"/>
                      </a:lnTo>
                      <a:lnTo>
                        <a:pt x="151362" y="302371"/>
                      </a:lnTo>
                      <a:lnTo>
                        <a:pt x="149552" y="306403"/>
                      </a:lnTo>
                      <a:lnTo>
                        <a:pt x="140506" y="321144"/>
                      </a:lnTo>
                      <a:lnTo>
                        <a:pt x="135527" y="327738"/>
                      </a:lnTo>
                      <a:lnTo>
                        <a:pt x="134860" y="328612"/>
                      </a:lnTo>
                      <a:lnTo>
                        <a:pt x="134556" y="329681"/>
                      </a:lnTo>
                      <a:lnTo>
                        <a:pt x="133815" y="332207"/>
                      </a:lnTo>
                      <a:lnTo>
                        <a:pt x="133220" y="334247"/>
                      </a:lnTo>
                      <a:lnTo>
                        <a:pt x="134022" y="336214"/>
                      </a:lnTo>
                      <a:lnTo>
                        <a:pt x="134544" y="337476"/>
                      </a:lnTo>
                      <a:lnTo>
                        <a:pt x="134944" y="338436"/>
                      </a:lnTo>
                      <a:lnTo>
                        <a:pt x="135637" y="339201"/>
                      </a:lnTo>
                      <a:lnTo>
                        <a:pt x="136329" y="339966"/>
                      </a:lnTo>
                      <a:lnTo>
                        <a:pt x="137434" y="341204"/>
                      </a:lnTo>
                      <a:lnTo>
                        <a:pt x="138466" y="341532"/>
                      </a:lnTo>
                      <a:lnTo>
                        <a:pt x="138514" y="341872"/>
                      </a:lnTo>
                      <a:lnTo>
                        <a:pt x="138587" y="344119"/>
                      </a:lnTo>
                      <a:lnTo>
                        <a:pt x="139802" y="353323"/>
                      </a:lnTo>
                      <a:lnTo>
                        <a:pt x="139632" y="354926"/>
                      </a:lnTo>
                      <a:lnTo>
                        <a:pt x="139328" y="356019"/>
                      </a:lnTo>
                      <a:lnTo>
                        <a:pt x="137956" y="358508"/>
                      </a:lnTo>
                      <a:lnTo>
                        <a:pt x="137507" y="359322"/>
                      </a:lnTo>
                      <a:lnTo>
                        <a:pt x="137324" y="360220"/>
                      </a:lnTo>
                      <a:lnTo>
                        <a:pt x="136936" y="362127"/>
                      </a:lnTo>
                      <a:lnTo>
                        <a:pt x="136778" y="362904"/>
                      </a:lnTo>
                      <a:lnTo>
                        <a:pt x="136827" y="363705"/>
                      </a:lnTo>
                      <a:lnTo>
                        <a:pt x="136851" y="364251"/>
                      </a:lnTo>
                      <a:lnTo>
                        <a:pt x="136572" y="364179"/>
                      </a:lnTo>
                      <a:lnTo>
                        <a:pt x="136256" y="364130"/>
                      </a:lnTo>
                      <a:lnTo>
                        <a:pt x="123919" y="362248"/>
                      </a:lnTo>
                      <a:lnTo>
                        <a:pt x="122644" y="362042"/>
                      </a:lnTo>
                      <a:lnTo>
                        <a:pt x="121405" y="362382"/>
                      </a:lnTo>
                      <a:lnTo>
                        <a:pt x="119620" y="362867"/>
                      </a:lnTo>
                      <a:lnTo>
                        <a:pt x="118661" y="363122"/>
                      </a:lnTo>
                      <a:lnTo>
                        <a:pt x="117835" y="363681"/>
                      </a:lnTo>
                      <a:lnTo>
                        <a:pt x="116512" y="364567"/>
                      </a:lnTo>
                      <a:lnTo>
                        <a:pt x="115552" y="365211"/>
                      </a:lnTo>
                      <a:lnTo>
                        <a:pt x="114896" y="366146"/>
                      </a:lnTo>
                      <a:lnTo>
                        <a:pt x="113403" y="368295"/>
                      </a:lnTo>
                      <a:lnTo>
                        <a:pt x="112796" y="369169"/>
                      </a:lnTo>
                      <a:lnTo>
                        <a:pt x="112529" y="370202"/>
                      </a:lnTo>
                      <a:lnTo>
                        <a:pt x="112079" y="371902"/>
                      </a:lnTo>
                      <a:lnTo>
                        <a:pt x="111909" y="372521"/>
                      </a:lnTo>
                      <a:lnTo>
                        <a:pt x="111885" y="373177"/>
                      </a:lnTo>
                      <a:lnTo>
                        <a:pt x="111824" y="374440"/>
                      </a:lnTo>
                      <a:lnTo>
                        <a:pt x="111800" y="374950"/>
                      </a:lnTo>
                      <a:lnTo>
                        <a:pt x="111861" y="375459"/>
                      </a:lnTo>
                      <a:lnTo>
                        <a:pt x="111958" y="376285"/>
                      </a:lnTo>
                      <a:lnTo>
                        <a:pt x="111958" y="376310"/>
                      </a:lnTo>
                      <a:lnTo>
                        <a:pt x="111751" y="376504"/>
                      </a:lnTo>
                      <a:lnTo>
                        <a:pt x="110136" y="377415"/>
                      </a:lnTo>
                      <a:lnTo>
                        <a:pt x="109699" y="377572"/>
                      </a:lnTo>
                      <a:lnTo>
                        <a:pt x="109942" y="374330"/>
                      </a:lnTo>
                      <a:lnTo>
                        <a:pt x="110124" y="371877"/>
                      </a:lnTo>
                      <a:lnTo>
                        <a:pt x="108546" y="369995"/>
                      </a:lnTo>
                      <a:lnTo>
                        <a:pt x="107501" y="368745"/>
                      </a:lnTo>
                      <a:lnTo>
                        <a:pt x="107040" y="368198"/>
                      </a:lnTo>
                      <a:lnTo>
                        <a:pt x="106469" y="367785"/>
                      </a:lnTo>
                      <a:lnTo>
                        <a:pt x="104624" y="366413"/>
                      </a:lnTo>
                      <a:lnTo>
                        <a:pt x="103361" y="365466"/>
                      </a:lnTo>
                      <a:lnTo>
                        <a:pt x="101806" y="365259"/>
                      </a:lnTo>
                      <a:lnTo>
                        <a:pt x="95152" y="364361"/>
                      </a:lnTo>
                      <a:lnTo>
                        <a:pt x="94302" y="364251"/>
                      </a:lnTo>
                      <a:lnTo>
                        <a:pt x="93464" y="364373"/>
                      </a:lnTo>
                      <a:lnTo>
                        <a:pt x="92493" y="364519"/>
                      </a:lnTo>
                      <a:lnTo>
                        <a:pt x="90975" y="364750"/>
                      </a:lnTo>
                      <a:lnTo>
                        <a:pt x="89736" y="365672"/>
                      </a:lnTo>
                      <a:lnTo>
                        <a:pt x="88935" y="366280"/>
                      </a:lnTo>
                      <a:lnTo>
                        <a:pt x="87733" y="367178"/>
                      </a:lnTo>
                      <a:lnTo>
                        <a:pt x="87089" y="368538"/>
                      </a:lnTo>
                      <a:lnTo>
                        <a:pt x="86446" y="369886"/>
                      </a:lnTo>
                      <a:lnTo>
                        <a:pt x="86093" y="370615"/>
                      </a:lnTo>
                      <a:lnTo>
                        <a:pt x="85948" y="371416"/>
                      </a:lnTo>
                      <a:lnTo>
                        <a:pt x="85693" y="372873"/>
                      </a:lnTo>
                      <a:lnTo>
                        <a:pt x="85535" y="372885"/>
                      </a:lnTo>
                      <a:lnTo>
                        <a:pt x="84454" y="367737"/>
                      </a:lnTo>
                      <a:lnTo>
                        <a:pt x="95905" y="361580"/>
                      </a:lnTo>
                      <a:lnTo>
                        <a:pt x="96694" y="361155"/>
                      </a:lnTo>
                      <a:lnTo>
                        <a:pt x="97326" y="360524"/>
                      </a:lnTo>
                      <a:lnTo>
                        <a:pt x="98370" y="359480"/>
                      </a:lnTo>
                      <a:lnTo>
                        <a:pt x="99026" y="358824"/>
                      </a:lnTo>
                      <a:lnTo>
                        <a:pt x="99451" y="358022"/>
                      </a:lnTo>
                      <a:lnTo>
                        <a:pt x="100143" y="356711"/>
                      </a:lnTo>
                      <a:lnTo>
                        <a:pt x="100616" y="355812"/>
                      </a:lnTo>
                      <a:lnTo>
                        <a:pt x="100774" y="354804"/>
                      </a:lnTo>
                      <a:lnTo>
                        <a:pt x="101114" y="352619"/>
                      </a:lnTo>
                      <a:lnTo>
                        <a:pt x="101333" y="351404"/>
                      </a:lnTo>
                      <a:lnTo>
                        <a:pt x="100969" y="350117"/>
                      </a:lnTo>
                      <a:lnTo>
                        <a:pt x="100629" y="348939"/>
                      </a:lnTo>
                      <a:lnTo>
                        <a:pt x="100046" y="346912"/>
                      </a:lnTo>
                      <a:lnTo>
                        <a:pt x="98321" y="345685"/>
                      </a:lnTo>
                      <a:lnTo>
                        <a:pt x="97508" y="345102"/>
                      </a:lnTo>
                      <a:lnTo>
                        <a:pt x="95990" y="344009"/>
                      </a:lnTo>
                      <a:lnTo>
                        <a:pt x="94120" y="343961"/>
                      </a:lnTo>
                      <a:lnTo>
                        <a:pt x="92626" y="343924"/>
                      </a:lnTo>
                      <a:lnTo>
                        <a:pt x="92238" y="343912"/>
                      </a:lnTo>
                      <a:lnTo>
                        <a:pt x="92371" y="342771"/>
                      </a:lnTo>
                      <a:lnTo>
                        <a:pt x="92626" y="340658"/>
                      </a:lnTo>
                      <a:lnTo>
                        <a:pt x="91509" y="338861"/>
                      </a:lnTo>
                      <a:lnTo>
                        <a:pt x="90586" y="337367"/>
                      </a:lnTo>
                      <a:lnTo>
                        <a:pt x="89372" y="335412"/>
                      </a:lnTo>
                      <a:lnTo>
                        <a:pt x="87174" y="334744"/>
                      </a:lnTo>
                      <a:lnTo>
                        <a:pt x="86033" y="334404"/>
                      </a:lnTo>
                      <a:lnTo>
                        <a:pt x="84138" y="333834"/>
                      </a:lnTo>
                      <a:lnTo>
                        <a:pt x="82268" y="334489"/>
                      </a:lnTo>
                      <a:lnTo>
                        <a:pt x="80775" y="335011"/>
                      </a:lnTo>
                      <a:lnTo>
                        <a:pt x="80143" y="335230"/>
                      </a:lnTo>
                      <a:lnTo>
                        <a:pt x="79585" y="335582"/>
                      </a:lnTo>
                      <a:lnTo>
                        <a:pt x="78213" y="336432"/>
                      </a:lnTo>
                      <a:lnTo>
                        <a:pt x="77836" y="336675"/>
                      </a:lnTo>
                      <a:lnTo>
                        <a:pt x="77496" y="336954"/>
                      </a:lnTo>
                      <a:lnTo>
                        <a:pt x="71935" y="341678"/>
                      </a:lnTo>
                      <a:lnTo>
                        <a:pt x="70356" y="342528"/>
                      </a:lnTo>
                      <a:lnTo>
                        <a:pt x="69421" y="342176"/>
                      </a:lnTo>
                      <a:lnTo>
                        <a:pt x="68207" y="341702"/>
                      </a:lnTo>
                      <a:lnTo>
                        <a:pt x="66908" y="341775"/>
                      </a:lnTo>
                      <a:lnTo>
                        <a:pt x="65754" y="341836"/>
                      </a:lnTo>
                      <a:lnTo>
                        <a:pt x="64078" y="341921"/>
                      </a:lnTo>
                      <a:lnTo>
                        <a:pt x="62682" y="342856"/>
                      </a:lnTo>
                      <a:lnTo>
                        <a:pt x="61832" y="343426"/>
                      </a:lnTo>
                      <a:lnTo>
                        <a:pt x="60727" y="344179"/>
                      </a:lnTo>
                      <a:lnTo>
                        <a:pt x="60023" y="345321"/>
                      </a:lnTo>
                      <a:lnTo>
                        <a:pt x="59173" y="346729"/>
                      </a:lnTo>
                      <a:lnTo>
                        <a:pt x="58918" y="347130"/>
                      </a:lnTo>
                      <a:lnTo>
                        <a:pt x="58735" y="347555"/>
                      </a:lnTo>
                      <a:lnTo>
                        <a:pt x="57667" y="350142"/>
                      </a:lnTo>
                      <a:lnTo>
                        <a:pt x="56635" y="349899"/>
                      </a:lnTo>
                      <a:lnTo>
                        <a:pt x="56246" y="349802"/>
                      </a:lnTo>
                      <a:lnTo>
                        <a:pt x="55845" y="349765"/>
                      </a:lnTo>
                      <a:lnTo>
                        <a:pt x="54352" y="349619"/>
                      </a:lnTo>
                      <a:lnTo>
                        <a:pt x="53053" y="349498"/>
                      </a:lnTo>
                      <a:lnTo>
                        <a:pt x="51814" y="349911"/>
                      </a:lnTo>
                      <a:lnTo>
                        <a:pt x="50490" y="350360"/>
                      </a:lnTo>
                      <a:lnTo>
                        <a:pt x="48790" y="350943"/>
                      </a:lnTo>
                      <a:lnTo>
                        <a:pt x="47673" y="352352"/>
                      </a:lnTo>
                      <a:lnTo>
                        <a:pt x="47042" y="353153"/>
                      </a:lnTo>
                      <a:lnTo>
                        <a:pt x="46592" y="353724"/>
                      </a:lnTo>
                      <a:lnTo>
                        <a:pt x="46301" y="354379"/>
                      </a:lnTo>
                      <a:lnTo>
                        <a:pt x="45609" y="355873"/>
                      </a:lnTo>
                      <a:lnTo>
                        <a:pt x="45184" y="356784"/>
                      </a:lnTo>
                      <a:lnTo>
                        <a:pt x="45075" y="357779"/>
                      </a:lnTo>
                      <a:lnTo>
                        <a:pt x="44965" y="358872"/>
                      </a:lnTo>
                      <a:lnTo>
                        <a:pt x="44905" y="359504"/>
                      </a:lnTo>
                      <a:lnTo>
                        <a:pt x="44965" y="360135"/>
                      </a:lnTo>
                      <a:lnTo>
                        <a:pt x="45075" y="361228"/>
                      </a:lnTo>
                      <a:lnTo>
                        <a:pt x="45196" y="362406"/>
                      </a:lnTo>
                      <a:lnTo>
                        <a:pt x="45755" y="363463"/>
                      </a:lnTo>
                      <a:lnTo>
                        <a:pt x="46337" y="364555"/>
                      </a:lnTo>
                      <a:lnTo>
                        <a:pt x="46592" y="365029"/>
                      </a:lnTo>
                      <a:lnTo>
                        <a:pt x="46932" y="365454"/>
                      </a:lnTo>
                      <a:lnTo>
                        <a:pt x="47843" y="366607"/>
                      </a:lnTo>
                      <a:lnTo>
                        <a:pt x="48293" y="367178"/>
                      </a:lnTo>
                      <a:lnTo>
                        <a:pt x="48863" y="367615"/>
                      </a:lnTo>
                      <a:lnTo>
                        <a:pt x="50247" y="368708"/>
                      </a:lnTo>
                      <a:lnTo>
                        <a:pt x="53672" y="370991"/>
                      </a:lnTo>
                      <a:lnTo>
                        <a:pt x="54546" y="371720"/>
                      </a:lnTo>
                      <a:lnTo>
                        <a:pt x="54813" y="372035"/>
                      </a:lnTo>
                      <a:lnTo>
                        <a:pt x="54983" y="372375"/>
                      </a:lnTo>
                      <a:lnTo>
                        <a:pt x="55044" y="372582"/>
                      </a:lnTo>
                      <a:lnTo>
                        <a:pt x="55420" y="377475"/>
                      </a:lnTo>
                      <a:lnTo>
                        <a:pt x="50927" y="379382"/>
                      </a:lnTo>
                      <a:lnTo>
                        <a:pt x="47455" y="380147"/>
                      </a:lnTo>
                      <a:lnTo>
                        <a:pt x="45305" y="380171"/>
                      </a:lnTo>
                      <a:lnTo>
                        <a:pt x="40849" y="379734"/>
                      </a:lnTo>
                      <a:lnTo>
                        <a:pt x="39647" y="379625"/>
                      </a:lnTo>
                      <a:lnTo>
                        <a:pt x="38493" y="379964"/>
                      </a:lnTo>
                      <a:lnTo>
                        <a:pt x="37060" y="380402"/>
                      </a:lnTo>
                      <a:lnTo>
                        <a:pt x="36405" y="380608"/>
                      </a:lnTo>
                      <a:lnTo>
                        <a:pt x="35822" y="380936"/>
                      </a:lnTo>
                      <a:lnTo>
                        <a:pt x="35215" y="381288"/>
                      </a:lnTo>
                      <a:lnTo>
                        <a:pt x="33551" y="380608"/>
                      </a:lnTo>
                      <a:lnTo>
                        <a:pt x="32288" y="380098"/>
                      </a:lnTo>
                      <a:lnTo>
                        <a:pt x="30928" y="380171"/>
                      </a:lnTo>
                      <a:lnTo>
                        <a:pt x="29835" y="380232"/>
                      </a:lnTo>
                      <a:lnTo>
                        <a:pt x="29107" y="380268"/>
                      </a:lnTo>
                      <a:lnTo>
                        <a:pt x="28415" y="380487"/>
                      </a:lnTo>
                      <a:lnTo>
                        <a:pt x="27273" y="380827"/>
                      </a:lnTo>
                      <a:lnTo>
                        <a:pt x="26399" y="381082"/>
                      </a:lnTo>
                      <a:lnTo>
                        <a:pt x="25646" y="381592"/>
                      </a:lnTo>
                      <a:lnTo>
                        <a:pt x="23290" y="383170"/>
                      </a:lnTo>
                      <a:lnTo>
                        <a:pt x="23011" y="383365"/>
                      </a:lnTo>
                      <a:lnTo>
                        <a:pt x="22756" y="383583"/>
                      </a:lnTo>
                      <a:lnTo>
                        <a:pt x="21930" y="384288"/>
                      </a:lnTo>
                      <a:lnTo>
                        <a:pt x="19842" y="385465"/>
                      </a:lnTo>
                      <a:lnTo>
                        <a:pt x="16915" y="385854"/>
                      </a:lnTo>
                      <a:lnTo>
                        <a:pt x="12447" y="385854"/>
                      </a:lnTo>
                      <a:lnTo>
                        <a:pt x="11354" y="390626"/>
                      </a:lnTo>
                      <a:lnTo>
                        <a:pt x="11208" y="391270"/>
                      </a:lnTo>
                      <a:lnTo>
                        <a:pt x="11147" y="392229"/>
                      </a:lnTo>
                      <a:lnTo>
                        <a:pt x="11147" y="402806"/>
                      </a:lnTo>
                      <a:lnTo>
                        <a:pt x="10686" y="404457"/>
                      </a:lnTo>
                      <a:lnTo>
                        <a:pt x="9411" y="407225"/>
                      </a:lnTo>
                      <a:lnTo>
                        <a:pt x="8221" y="409083"/>
                      </a:lnTo>
                      <a:lnTo>
                        <a:pt x="8136" y="409156"/>
                      </a:lnTo>
                      <a:lnTo>
                        <a:pt x="6873" y="409690"/>
                      </a:lnTo>
                      <a:lnTo>
                        <a:pt x="3922" y="410929"/>
                      </a:lnTo>
                      <a:lnTo>
                        <a:pt x="3279" y="414062"/>
                      </a:lnTo>
                      <a:lnTo>
                        <a:pt x="2829" y="416248"/>
                      </a:lnTo>
                      <a:lnTo>
                        <a:pt x="2611" y="417280"/>
                      </a:lnTo>
                      <a:lnTo>
                        <a:pt x="2757" y="418312"/>
                      </a:lnTo>
                      <a:lnTo>
                        <a:pt x="3351" y="422623"/>
                      </a:lnTo>
                      <a:lnTo>
                        <a:pt x="3024" y="428136"/>
                      </a:lnTo>
                      <a:lnTo>
                        <a:pt x="2599" y="429532"/>
                      </a:lnTo>
                      <a:lnTo>
                        <a:pt x="1202" y="431596"/>
                      </a:lnTo>
                      <a:lnTo>
                        <a:pt x="0" y="433369"/>
                      </a:lnTo>
                      <a:lnTo>
                        <a:pt x="194" y="435519"/>
                      </a:lnTo>
                      <a:lnTo>
                        <a:pt x="364" y="437473"/>
                      </a:lnTo>
                      <a:lnTo>
                        <a:pt x="510" y="439198"/>
                      </a:lnTo>
                      <a:lnTo>
                        <a:pt x="1542" y="440582"/>
                      </a:lnTo>
                      <a:lnTo>
                        <a:pt x="5525" y="445901"/>
                      </a:lnTo>
                      <a:lnTo>
                        <a:pt x="5731" y="446265"/>
                      </a:lnTo>
                      <a:lnTo>
                        <a:pt x="5561" y="447880"/>
                      </a:lnTo>
                      <a:lnTo>
                        <a:pt x="2902" y="446229"/>
                      </a:lnTo>
                      <a:lnTo>
                        <a:pt x="5428" y="454753"/>
                      </a:lnTo>
                      <a:lnTo>
                        <a:pt x="5598" y="456234"/>
                      </a:lnTo>
                      <a:lnTo>
                        <a:pt x="6375" y="462889"/>
                      </a:lnTo>
                      <a:lnTo>
                        <a:pt x="7735" y="462597"/>
                      </a:lnTo>
                      <a:lnTo>
                        <a:pt x="11718" y="476051"/>
                      </a:lnTo>
                      <a:lnTo>
                        <a:pt x="12871" y="482245"/>
                      </a:lnTo>
                      <a:lnTo>
                        <a:pt x="12082" y="484406"/>
                      </a:lnTo>
                      <a:lnTo>
                        <a:pt x="11463" y="486082"/>
                      </a:lnTo>
                      <a:lnTo>
                        <a:pt x="11839" y="487818"/>
                      </a:lnTo>
                      <a:lnTo>
                        <a:pt x="14013" y="497812"/>
                      </a:lnTo>
                      <a:lnTo>
                        <a:pt x="14365" y="499427"/>
                      </a:lnTo>
                      <a:lnTo>
                        <a:pt x="15494" y="500641"/>
                      </a:lnTo>
                      <a:lnTo>
                        <a:pt x="19113" y="504563"/>
                      </a:lnTo>
                      <a:lnTo>
                        <a:pt x="19927" y="505450"/>
                      </a:lnTo>
                      <a:lnTo>
                        <a:pt x="19987" y="505474"/>
                      </a:lnTo>
                      <a:lnTo>
                        <a:pt x="19210" y="506919"/>
                      </a:lnTo>
                      <a:lnTo>
                        <a:pt x="18409" y="508413"/>
                      </a:lnTo>
                      <a:lnTo>
                        <a:pt x="18494" y="510113"/>
                      </a:lnTo>
                      <a:lnTo>
                        <a:pt x="18724" y="514739"/>
                      </a:lnTo>
                      <a:lnTo>
                        <a:pt x="18749" y="515188"/>
                      </a:lnTo>
                      <a:lnTo>
                        <a:pt x="18834" y="515638"/>
                      </a:lnTo>
                      <a:lnTo>
                        <a:pt x="21019" y="526408"/>
                      </a:lnTo>
                      <a:lnTo>
                        <a:pt x="21129" y="526955"/>
                      </a:lnTo>
                      <a:lnTo>
                        <a:pt x="21335" y="527465"/>
                      </a:lnTo>
                      <a:lnTo>
                        <a:pt x="22015" y="529165"/>
                      </a:lnTo>
                      <a:lnTo>
                        <a:pt x="22246" y="529736"/>
                      </a:lnTo>
                      <a:lnTo>
                        <a:pt x="22586" y="530258"/>
                      </a:lnTo>
                      <a:lnTo>
                        <a:pt x="26715" y="536487"/>
                      </a:lnTo>
                      <a:lnTo>
                        <a:pt x="26654" y="536584"/>
                      </a:lnTo>
                      <a:lnTo>
                        <a:pt x="24820" y="539474"/>
                      </a:lnTo>
                      <a:lnTo>
                        <a:pt x="24043" y="540701"/>
                      </a:lnTo>
                      <a:lnTo>
                        <a:pt x="23909" y="542134"/>
                      </a:lnTo>
                      <a:lnTo>
                        <a:pt x="23266" y="548703"/>
                      </a:lnTo>
                      <a:lnTo>
                        <a:pt x="23229" y="549152"/>
                      </a:lnTo>
                      <a:lnTo>
                        <a:pt x="23242" y="549589"/>
                      </a:lnTo>
                      <a:lnTo>
                        <a:pt x="23824" y="561368"/>
                      </a:lnTo>
                      <a:lnTo>
                        <a:pt x="24468" y="574422"/>
                      </a:lnTo>
                      <a:lnTo>
                        <a:pt x="25779" y="573195"/>
                      </a:lnTo>
                      <a:lnTo>
                        <a:pt x="25913" y="573596"/>
                      </a:lnTo>
                      <a:lnTo>
                        <a:pt x="27346" y="577773"/>
                      </a:lnTo>
                      <a:lnTo>
                        <a:pt x="31681" y="577700"/>
                      </a:lnTo>
                      <a:lnTo>
                        <a:pt x="32616" y="579619"/>
                      </a:lnTo>
                      <a:lnTo>
                        <a:pt x="32701" y="580056"/>
                      </a:lnTo>
                      <a:lnTo>
                        <a:pt x="32652" y="580529"/>
                      </a:lnTo>
                      <a:lnTo>
                        <a:pt x="31086" y="584525"/>
                      </a:lnTo>
                      <a:lnTo>
                        <a:pt x="28281" y="583238"/>
                      </a:lnTo>
                      <a:lnTo>
                        <a:pt x="28779" y="590402"/>
                      </a:lnTo>
                      <a:lnTo>
                        <a:pt x="28317" y="591580"/>
                      </a:lnTo>
                      <a:lnTo>
                        <a:pt x="28864" y="591774"/>
                      </a:lnTo>
                      <a:lnTo>
                        <a:pt x="28985" y="593486"/>
                      </a:lnTo>
                      <a:lnTo>
                        <a:pt x="29313" y="598222"/>
                      </a:lnTo>
                      <a:lnTo>
                        <a:pt x="29119" y="599048"/>
                      </a:lnTo>
                      <a:lnTo>
                        <a:pt x="28402" y="600747"/>
                      </a:lnTo>
                      <a:lnTo>
                        <a:pt x="25136" y="605046"/>
                      </a:lnTo>
                      <a:lnTo>
                        <a:pt x="24723" y="605592"/>
                      </a:lnTo>
                      <a:lnTo>
                        <a:pt x="24444" y="606212"/>
                      </a:lnTo>
                      <a:lnTo>
                        <a:pt x="23424" y="608458"/>
                      </a:lnTo>
                      <a:lnTo>
                        <a:pt x="22343" y="610826"/>
                      </a:lnTo>
                      <a:lnTo>
                        <a:pt x="23314" y="613231"/>
                      </a:lnTo>
                      <a:lnTo>
                        <a:pt x="24225" y="615501"/>
                      </a:lnTo>
                      <a:lnTo>
                        <a:pt x="27309" y="623151"/>
                      </a:lnTo>
                      <a:lnTo>
                        <a:pt x="29605" y="621281"/>
                      </a:lnTo>
                      <a:lnTo>
                        <a:pt x="30139" y="622022"/>
                      </a:lnTo>
                      <a:lnTo>
                        <a:pt x="31912" y="624426"/>
                      </a:lnTo>
                      <a:lnTo>
                        <a:pt x="35409" y="629162"/>
                      </a:lnTo>
                      <a:lnTo>
                        <a:pt x="40254" y="625823"/>
                      </a:lnTo>
                      <a:lnTo>
                        <a:pt x="41917" y="624669"/>
                      </a:lnTo>
                      <a:lnTo>
                        <a:pt x="43399" y="623649"/>
                      </a:lnTo>
                      <a:lnTo>
                        <a:pt x="44079" y="621985"/>
                      </a:lnTo>
                      <a:lnTo>
                        <a:pt x="45281" y="619059"/>
                      </a:lnTo>
                      <a:lnTo>
                        <a:pt x="45500" y="618513"/>
                      </a:lnTo>
                      <a:lnTo>
                        <a:pt x="45621" y="617942"/>
                      </a:lnTo>
                      <a:lnTo>
                        <a:pt x="45779" y="617177"/>
                      </a:lnTo>
                      <a:lnTo>
                        <a:pt x="50551" y="612295"/>
                      </a:lnTo>
                      <a:lnTo>
                        <a:pt x="50187" y="612988"/>
                      </a:lnTo>
                      <a:lnTo>
                        <a:pt x="47260" y="618622"/>
                      </a:lnTo>
                      <a:lnTo>
                        <a:pt x="45463" y="622071"/>
                      </a:lnTo>
                      <a:lnTo>
                        <a:pt x="47855" y="625143"/>
                      </a:lnTo>
                      <a:lnTo>
                        <a:pt x="51474" y="629793"/>
                      </a:lnTo>
                      <a:lnTo>
                        <a:pt x="52445" y="631056"/>
                      </a:lnTo>
                      <a:lnTo>
                        <a:pt x="53137" y="631336"/>
                      </a:lnTo>
                      <a:lnTo>
                        <a:pt x="52907" y="631785"/>
                      </a:lnTo>
                      <a:lnTo>
                        <a:pt x="52543" y="632477"/>
                      </a:lnTo>
                      <a:lnTo>
                        <a:pt x="52397" y="632404"/>
                      </a:lnTo>
                      <a:lnTo>
                        <a:pt x="51049" y="632343"/>
                      </a:lnTo>
                      <a:lnTo>
                        <a:pt x="49555" y="632283"/>
                      </a:lnTo>
                      <a:lnTo>
                        <a:pt x="47722" y="632210"/>
                      </a:lnTo>
                      <a:lnTo>
                        <a:pt x="46155" y="633169"/>
                      </a:lnTo>
                      <a:lnTo>
                        <a:pt x="43642" y="634699"/>
                      </a:lnTo>
                      <a:lnTo>
                        <a:pt x="42403" y="635452"/>
                      </a:lnTo>
                      <a:lnTo>
                        <a:pt x="41638" y="636679"/>
                      </a:lnTo>
                      <a:lnTo>
                        <a:pt x="40035" y="639253"/>
                      </a:lnTo>
                      <a:lnTo>
                        <a:pt x="39562" y="640006"/>
                      </a:lnTo>
                      <a:lnTo>
                        <a:pt x="39331" y="640856"/>
                      </a:lnTo>
                      <a:lnTo>
                        <a:pt x="38457" y="644025"/>
                      </a:lnTo>
                      <a:lnTo>
                        <a:pt x="38250" y="644778"/>
                      </a:lnTo>
                      <a:lnTo>
                        <a:pt x="38238" y="645543"/>
                      </a:lnTo>
                      <a:lnTo>
                        <a:pt x="38117" y="655306"/>
                      </a:lnTo>
                      <a:lnTo>
                        <a:pt x="38785" y="663369"/>
                      </a:lnTo>
                      <a:lnTo>
                        <a:pt x="38833" y="663927"/>
                      </a:lnTo>
                      <a:lnTo>
                        <a:pt x="38979" y="664462"/>
                      </a:lnTo>
                      <a:lnTo>
                        <a:pt x="40703" y="670727"/>
                      </a:lnTo>
                      <a:lnTo>
                        <a:pt x="41225" y="672646"/>
                      </a:lnTo>
                      <a:lnTo>
                        <a:pt x="42792" y="673885"/>
                      </a:lnTo>
                      <a:lnTo>
                        <a:pt x="44820" y="675487"/>
                      </a:lnTo>
                      <a:lnTo>
                        <a:pt x="48475" y="684849"/>
                      </a:lnTo>
                      <a:lnTo>
                        <a:pt x="49191" y="687946"/>
                      </a:lnTo>
                      <a:lnTo>
                        <a:pt x="49640" y="689853"/>
                      </a:lnTo>
                      <a:lnTo>
                        <a:pt x="49264" y="690533"/>
                      </a:lnTo>
                      <a:lnTo>
                        <a:pt x="47078" y="694515"/>
                      </a:lnTo>
                      <a:lnTo>
                        <a:pt x="46617" y="695353"/>
                      </a:lnTo>
                      <a:lnTo>
                        <a:pt x="46435" y="696312"/>
                      </a:lnTo>
                      <a:lnTo>
                        <a:pt x="45633" y="700599"/>
                      </a:lnTo>
                      <a:lnTo>
                        <a:pt x="45560" y="701012"/>
                      </a:lnTo>
                      <a:lnTo>
                        <a:pt x="45548" y="701437"/>
                      </a:lnTo>
                      <a:lnTo>
                        <a:pt x="45208" y="709135"/>
                      </a:lnTo>
                      <a:lnTo>
                        <a:pt x="45184" y="709730"/>
                      </a:lnTo>
                      <a:lnTo>
                        <a:pt x="45269" y="710313"/>
                      </a:lnTo>
                      <a:lnTo>
                        <a:pt x="45609" y="712608"/>
                      </a:lnTo>
                      <a:lnTo>
                        <a:pt x="45742" y="713470"/>
                      </a:lnTo>
                      <a:lnTo>
                        <a:pt x="46107" y="714260"/>
                      </a:lnTo>
                      <a:lnTo>
                        <a:pt x="47200" y="716603"/>
                      </a:lnTo>
                      <a:lnTo>
                        <a:pt x="47479" y="717198"/>
                      </a:lnTo>
                      <a:lnTo>
                        <a:pt x="47880" y="717720"/>
                      </a:lnTo>
                      <a:lnTo>
                        <a:pt x="49179" y="719445"/>
                      </a:lnTo>
                      <a:lnTo>
                        <a:pt x="49325" y="719700"/>
                      </a:lnTo>
                      <a:lnTo>
                        <a:pt x="49434" y="720368"/>
                      </a:lnTo>
                      <a:lnTo>
                        <a:pt x="49410" y="720635"/>
                      </a:lnTo>
                      <a:lnTo>
                        <a:pt x="49276" y="721108"/>
                      </a:lnTo>
                      <a:lnTo>
                        <a:pt x="49118" y="721691"/>
                      </a:lnTo>
                      <a:lnTo>
                        <a:pt x="49070" y="722298"/>
                      </a:lnTo>
                      <a:lnTo>
                        <a:pt x="49009" y="723148"/>
                      </a:lnTo>
                      <a:lnTo>
                        <a:pt x="48900" y="724520"/>
                      </a:lnTo>
                      <a:lnTo>
                        <a:pt x="49397" y="725796"/>
                      </a:lnTo>
                      <a:lnTo>
                        <a:pt x="49907" y="727119"/>
                      </a:lnTo>
                      <a:lnTo>
                        <a:pt x="50357" y="728273"/>
                      </a:lnTo>
                      <a:lnTo>
                        <a:pt x="51207" y="729147"/>
                      </a:lnTo>
                      <a:lnTo>
                        <a:pt x="52130" y="730094"/>
                      </a:lnTo>
                      <a:lnTo>
                        <a:pt x="54073" y="732097"/>
                      </a:lnTo>
                      <a:lnTo>
                        <a:pt x="56319" y="731964"/>
                      </a:lnTo>
                      <a:lnTo>
                        <a:pt x="57157" y="733081"/>
                      </a:lnTo>
                      <a:lnTo>
                        <a:pt x="55299" y="736809"/>
                      </a:lnTo>
                      <a:lnTo>
                        <a:pt x="54376" y="738667"/>
                      </a:lnTo>
                      <a:lnTo>
                        <a:pt x="53987" y="739444"/>
                      </a:lnTo>
                      <a:lnTo>
                        <a:pt x="53830" y="740294"/>
                      </a:lnTo>
                      <a:lnTo>
                        <a:pt x="53490" y="742189"/>
                      </a:lnTo>
                      <a:lnTo>
                        <a:pt x="53307" y="743233"/>
                      </a:lnTo>
                      <a:lnTo>
                        <a:pt x="53490" y="744289"/>
                      </a:lnTo>
                      <a:lnTo>
                        <a:pt x="53781" y="745977"/>
                      </a:lnTo>
                      <a:lnTo>
                        <a:pt x="53805" y="746183"/>
                      </a:lnTo>
                      <a:lnTo>
                        <a:pt x="52591" y="749377"/>
                      </a:lnTo>
                      <a:lnTo>
                        <a:pt x="50126" y="755849"/>
                      </a:lnTo>
                      <a:lnTo>
                        <a:pt x="56865" y="757440"/>
                      </a:lnTo>
                      <a:lnTo>
                        <a:pt x="59500" y="758071"/>
                      </a:lnTo>
                      <a:lnTo>
                        <a:pt x="59938" y="758837"/>
                      </a:lnTo>
                      <a:lnTo>
                        <a:pt x="61455" y="772582"/>
                      </a:lnTo>
                      <a:lnTo>
                        <a:pt x="61516" y="773165"/>
                      </a:lnTo>
                      <a:lnTo>
                        <a:pt x="61686" y="773724"/>
                      </a:lnTo>
                      <a:lnTo>
                        <a:pt x="62099" y="775035"/>
                      </a:lnTo>
                      <a:lnTo>
                        <a:pt x="62354" y="775824"/>
                      </a:lnTo>
                      <a:lnTo>
                        <a:pt x="61164" y="776529"/>
                      </a:lnTo>
                      <a:lnTo>
                        <a:pt x="62828" y="781665"/>
                      </a:lnTo>
                      <a:lnTo>
                        <a:pt x="63969" y="784385"/>
                      </a:lnTo>
                      <a:lnTo>
                        <a:pt x="64394" y="785381"/>
                      </a:lnTo>
                      <a:lnTo>
                        <a:pt x="65147" y="786170"/>
                      </a:lnTo>
                      <a:lnTo>
                        <a:pt x="67296" y="788465"/>
                      </a:lnTo>
                      <a:lnTo>
                        <a:pt x="67600" y="789012"/>
                      </a:lnTo>
                      <a:lnTo>
                        <a:pt x="67090" y="790930"/>
                      </a:lnTo>
                      <a:lnTo>
                        <a:pt x="66677" y="792509"/>
                      </a:lnTo>
                      <a:lnTo>
                        <a:pt x="67102" y="794075"/>
                      </a:lnTo>
                      <a:lnTo>
                        <a:pt x="67733" y="796431"/>
                      </a:lnTo>
                      <a:lnTo>
                        <a:pt x="68268" y="798422"/>
                      </a:lnTo>
                      <a:lnTo>
                        <a:pt x="69033" y="799005"/>
                      </a:lnTo>
                      <a:lnTo>
                        <a:pt x="69130" y="800693"/>
                      </a:lnTo>
                      <a:lnTo>
                        <a:pt x="69373" y="804628"/>
                      </a:lnTo>
                      <a:lnTo>
                        <a:pt x="69470" y="806145"/>
                      </a:lnTo>
                      <a:lnTo>
                        <a:pt x="70271" y="807432"/>
                      </a:lnTo>
                      <a:lnTo>
                        <a:pt x="78759" y="821178"/>
                      </a:lnTo>
                      <a:lnTo>
                        <a:pt x="79925" y="824165"/>
                      </a:lnTo>
                      <a:lnTo>
                        <a:pt x="80848" y="829824"/>
                      </a:lnTo>
                      <a:lnTo>
                        <a:pt x="81018" y="830832"/>
                      </a:lnTo>
                      <a:lnTo>
                        <a:pt x="81516" y="831730"/>
                      </a:lnTo>
                      <a:lnTo>
                        <a:pt x="82669" y="833868"/>
                      </a:lnTo>
                      <a:lnTo>
                        <a:pt x="82997" y="834487"/>
                      </a:lnTo>
                      <a:lnTo>
                        <a:pt x="83471" y="835009"/>
                      </a:lnTo>
                      <a:lnTo>
                        <a:pt x="85863" y="837705"/>
                      </a:lnTo>
                      <a:lnTo>
                        <a:pt x="86057" y="838105"/>
                      </a:lnTo>
                      <a:lnTo>
                        <a:pt x="86591" y="842416"/>
                      </a:lnTo>
                      <a:lnTo>
                        <a:pt x="86713" y="843448"/>
                      </a:lnTo>
                      <a:lnTo>
                        <a:pt x="87174" y="844383"/>
                      </a:lnTo>
                      <a:lnTo>
                        <a:pt x="88146" y="846338"/>
                      </a:lnTo>
                      <a:lnTo>
                        <a:pt x="88291" y="846630"/>
                      </a:lnTo>
                      <a:lnTo>
                        <a:pt x="88473" y="846897"/>
                      </a:lnTo>
                      <a:lnTo>
                        <a:pt x="88826" y="847455"/>
                      </a:lnTo>
                      <a:lnTo>
                        <a:pt x="88777" y="847577"/>
                      </a:lnTo>
                      <a:lnTo>
                        <a:pt x="87453" y="849289"/>
                      </a:lnTo>
                      <a:lnTo>
                        <a:pt x="86664" y="850321"/>
                      </a:lnTo>
                      <a:lnTo>
                        <a:pt x="86361" y="851584"/>
                      </a:lnTo>
                      <a:lnTo>
                        <a:pt x="85851" y="853685"/>
                      </a:lnTo>
                      <a:lnTo>
                        <a:pt x="85401" y="855531"/>
                      </a:lnTo>
                      <a:lnTo>
                        <a:pt x="86093" y="857303"/>
                      </a:lnTo>
                      <a:lnTo>
                        <a:pt x="87077" y="859854"/>
                      </a:lnTo>
                      <a:lnTo>
                        <a:pt x="87308" y="860461"/>
                      </a:lnTo>
                      <a:lnTo>
                        <a:pt x="87660" y="860995"/>
                      </a:lnTo>
                      <a:lnTo>
                        <a:pt x="88680" y="862561"/>
                      </a:lnTo>
                      <a:lnTo>
                        <a:pt x="88437" y="863157"/>
                      </a:lnTo>
                      <a:lnTo>
                        <a:pt x="88522" y="864553"/>
                      </a:lnTo>
                      <a:lnTo>
                        <a:pt x="88704" y="867564"/>
                      </a:lnTo>
                      <a:lnTo>
                        <a:pt x="88765" y="868706"/>
                      </a:lnTo>
                      <a:lnTo>
                        <a:pt x="89238" y="869738"/>
                      </a:lnTo>
                      <a:lnTo>
                        <a:pt x="90550" y="872604"/>
                      </a:lnTo>
                      <a:lnTo>
                        <a:pt x="90975" y="873526"/>
                      </a:lnTo>
                      <a:lnTo>
                        <a:pt x="91582" y="874170"/>
                      </a:lnTo>
                      <a:lnTo>
                        <a:pt x="90963" y="874376"/>
                      </a:lnTo>
                      <a:lnTo>
                        <a:pt x="90125" y="877655"/>
                      </a:lnTo>
                      <a:lnTo>
                        <a:pt x="89724" y="879209"/>
                      </a:lnTo>
                      <a:lnTo>
                        <a:pt x="89287" y="880934"/>
                      </a:lnTo>
                      <a:lnTo>
                        <a:pt x="89833" y="882609"/>
                      </a:lnTo>
                      <a:lnTo>
                        <a:pt x="90926" y="885936"/>
                      </a:lnTo>
                      <a:lnTo>
                        <a:pt x="91339" y="887199"/>
                      </a:lnTo>
                      <a:lnTo>
                        <a:pt x="92226" y="888159"/>
                      </a:lnTo>
                      <a:lnTo>
                        <a:pt x="98139" y="894594"/>
                      </a:lnTo>
                      <a:lnTo>
                        <a:pt x="99244" y="896550"/>
                      </a:lnTo>
                      <a:lnTo>
                        <a:pt x="98783" y="897873"/>
                      </a:lnTo>
                      <a:lnTo>
                        <a:pt x="97702" y="900945"/>
                      </a:lnTo>
                      <a:lnTo>
                        <a:pt x="99451" y="903252"/>
                      </a:lnTo>
                      <a:lnTo>
                        <a:pt x="98346" y="904600"/>
                      </a:lnTo>
                      <a:lnTo>
                        <a:pt x="96706" y="906580"/>
                      </a:lnTo>
                      <a:lnTo>
                        <a:pt x="96986" y="909129"/>
                      </a:lnTo>
                      <a:lnTo>
                        <a:pt x="97216" y="911230"/>
                      </a:lnTo>
                      <a:lnTo>
                        <a:pt x="97277" y="911813"/>
                      </a:lnTo>
                      <a:lnTo>
                        <a:pt x="97447" y="912372"/>
                      </a:lnTo>
                      <a:lnTo>
                        <a:pt x="98188" y="914752"/>
                      </a:lnTo>
                      <a:lnTo>
                        <a:pt x="98722" y="916488"/>
                      </a:lnTo>
                      <a:lnTo>
                        <a:pt x="100119" y="917642"/>
                      </a:lnTo>
                      <a:lnTo>
                        <a:pt x="104259" y="921054"/>
                      </a:lnTo>
                      <a:lnTo>
                        <a:pt x="104369" y="921224"/>
                      </a:lnTo>
                      <a:lnTo>
                        <a:pt x="93816" y="916355"/>
                      </a:lnTo>
                      <a:lnTo>
                        <a:pt x="101661" y="931897"/>
                      </a:lnTo>
                      <a:lnTo>
                        <a:pt x="102814" y="934181"/>
                      </a:lnTo>
                      <a:lnTo>
                        <a:pt x="103191" y="934933"/>
                      </a:lnTo>
                      <a:lnTo>
                        <a:pt x="103761" y="935552"/>
                      </a:lnTo>
                      <a:lnTo>
                        <a:pt x="106554" y="938600"/>
                      </a:lnTo>
                      <a:lnTo>
                        <a:pt x="106919" y="940495"/>
                      </a:lnTo>
                      <a:lnTo>
                        <a:pt x="107089" y="941393"/>
                      </a:lnTo>
                      <a:lnTo>
                        <a:pt x="107526" y="942207"/>
                      </a:lnTo>
                      <a:lnTo>
                        <a:pt x="110173" y="947149"/>
                      </a:lnTo>
                      <a:lnTo>
                        <a:pt x="110173" y="949760"/>
                      </a:lnTo>
                      <a:lnTo>
                        <a:pt x="110173" y="951302"/>
                      </a:lnTo>
                      <a:lnTo>
                        <a:pt x="110914" y="952650"/>
                      </a:lnTo>
                      <a:lnTo>
                        <a:pt x="114265" y="958843"/>
                      </a:lnTo>
                      <a:lnTo>
                        <a:pt x="114884" y="960518"/>
                      </a:lnTo>
                      <a:lnTo>
                        <a:pt x="114933" y="961016"/>
                      </a:lnTo>
                      <a:lnTo>
                        <a:pt x="114362" y="962170"/>
                      </a:lnTo>
                      <a:lnTo>
                        <a:pt x="112881" y="965157"/>
                      </a:lnTo>
                      <a:lnTo>
                        <a:pt x="114605" y="967998"/>
                      </a:lnTo>
                      <a:lnTo>
                        <a:pt x="116584" y="971265"/>
                      </a:lnTo>
                      <a:lnTo>
                        <a:pt x="117604" y="974143"/>
                      </a:lnTo>
                      <a:lnTo>
                        <a:pt x="113172" y="975126"/>
                      </a:lnTo>
                      <a:lnTo>
                        <a:pt x="113039" y="979862"/>
                      </a:lnTo>
                      <a:lnTo>
                        <a:pt x="112990" y="981841"/>
                      </a:lnTo>
                      <a:lnTo>
                        <a:pt x="112929" y="984124"/>
                      </a:lnTo>
                      <a:lnTo>
                        <a:pt x="113658" y="984987"/>
                      </a:lnTo>
                      <a:lnTo>
                        <a:pt x="112164" y="987184"/>
                      </a:lnTo>
                      <a:lnTo>
                        <a:pt x="114945" y="990681"/>
                      </a:lnTo>
                      <a:lnTo>
                        <a:pt x="116439" y="992564"/>
                      </a:lnTo>
                      <a:lnTo>
                        <a:pt x="117277" y="993620"/>
                      </a:lnTo>
                      <a:lnTo>
                        <a:pt x="117896" y="993924"/>
                      </a:lnTo>
                      <a:lnTo>
                        <a:pt x="117774" y="994300"/>
                      </a:lnTo>
                      <a:lnTo>
                        <a:pt x="116912" y="996947"/>
                      </a:lnTo>
                      <a:lnTo>
                        <a:pt x="116669" y="997700"/>
                      </a:lnTo>
                      <a:lnTo>
                        <a:pt x="116633" y="998477"/>
                      </a:lnTo>
                      <a:lnTo>
                        <a:pt x="116463" y="1001513"/>
                      </a:lnTo>
                      <a:lnTo>
                        <a:pt x="116414" y="1002424"/>
                      </a:lnTo>
                      <a:lnTo>
                        <a:pt x="116633" y="1003298"/>
                      </a:lnTo>
                      <a:lnTo>
                        <a:pt x="117859" y="1008301"/>
                      </a:lnTo>
                      <a:lnTo>
                        <a:pt x="117847" y="1008325"/>
                      </a:lnTo>
                      <a:lnTo>
                        <a:pt x="116038" y="1010523"/>
                      </a:lnTo>
                      <a:lnTo>
                        <a:pt x="116560" y="1013316"/>
                      </a:lnTo>
                      <a:lnTo>
                        <a:pt x="117532" y="1018489"/>
                      </a:lnTo>
                      <a:lnTo>
                        <a:pt x="117641" y="1019108"/>
                      </a:lnTo>
                      <a:lnTo>
                        <a:pt x="117884" y="1019691"/>
                      </a:lnTo>
                      <a:lnTo>
                        <a:pt x="120118" y="1025083"/>
                      </a:lnTo>
                      <a:lnTo>
                        <a:pt x="120349" y="1025641"/>
                      </a:lnTo>
                      <a:lnTo>
                        <a:pt x="120677" y="1026127"/>
                      </a:lnTo>
                      <a:lnTo>
                        <a:pt x="122389" y="1028701"/>
                      </a:lnTo>
                      <a:lnTo>
                        <a:pt x="121612" y="1030935"/>
                      </a:lnTo>
                      <a:lnTo>
                        <a:pt x="121466" y="1031360"/>
                      </a:lnTo>
                      <a:lnTo>
                        <a:pt x="121381" y="1031797"/>
                      </a:lnTo>
                      <a:lnTo>
                        <a:pt x="120349" y="1037165"/>
                      </a:lnTo>
                      <a:lnTo>
                        <a:pt x="120021" y="1038877"/>
                      </a:lnTo>
                      <a:lnTo>
                        <a:pt x="120652" y="1040504"/>
                      </a:lnTo>
                      <a:lnTo>
                        <a:pt x="122656" y="1045701"/>
                      </a:lnTo>
                      <a:lnTo>
                        <a:pt x="123214" y="1047146"/>
                      </a:lnTo>
                      <a:lnTo>
                        <a:pt x="124392" y="1048142"/>
                      </a:lnTo>
                      <a:lnTo>
                        <a:pt x="126262" y="1049733"/>
                      </a:lnTo>
                      <a:lnTo>
                        <a:pt x="125655" y="1050607"/>
                      </a:lnTo>
                      <a:lnTo>
                        <a:pt x="125097" y="1051396"/>
                      </a:lnTo>
                      <a:lnTo>
                        <a:pt x="124817" y="1052319"/>
                      </a:lnTo>
                      <a:lnTo>
                        <a:pt x="124404" y="1053667"/>
                      </a:lnTo>
                      <a:lnTo>
                        <a:pt x="123894" y="1055331"/>
                      </a:lnTo>
                      <a:lnTo>
                        <a:pt x="124356" y="1057019"/>
                      </a:lnTo>
                      <a:lnTo>
                        <a:pt x="124708" y="1058306"/>
                      </a:lnTo>
                      <a:lnTo>
                        <a:pt x="124829" y="1058755"/>
                      </a:lnTo>
                      <a:lnTo>
                        <a:pt x="125024" y="1059192"/>
                      </a:lnTo>
                      <a:lnTo>
                        <a:pt x="125959" y="1061281"/>
                      </a:lnTo>
                      <a:lnTo>
                        <a:pt x="121478" y="1063697"/>
                      </a:lnTo>
                      <a:lnTo>
                        <a:pt x="125060" y="1067826"/>
                      </a:lnTo>
                      <a:lnTo>
                        <a:pt x="124125" y="1069878"/>
                      </a:lnTo>
                      <a:lnTo>
                        <a:pt x="123445" y="1071347"/>
                      </a:lnTo>
                      <a:lnTo>
                        <a:pt x="122923" y="1072476"/>
                      </a:lnTo>
                      <a:lnTo>
                        <a:pt x="122887" y="1073715"/>
                      </a:lnTo>
                      <a:lnTo>
                        <a:pt x="122765" y="1078074"/>
                      </a:lnTo>
                      <a:lnTo>
                        <a:pt x="122741" y="1078949"/>
                      </a:lnTo>
                      <a:lnTo>
                        <a:pt x="122972" y="1079787"/>
                      </a:lnTo>
                      <a:lnTo>
                        <a:pt x="123494" y="1081766"/>
                      </a:lnTo>
                      <a:lnTo>
                        <a:pt x="124149" y="1084267"/>
                      </a:lnTo>
                      <a:lnTo>
                        <a:pt x="126372" y="1085518"/>
                      </a:lnTo>
                      <a:lnTo>
                        <a:pt x="128776" y="1092342"/>
                      </a:lnTo>
                      <a:lnTo>
                        <a:pt x="130063" y="1098863"/>
                      </a:lnTo>
                      <a:lnTo>
                        <a:pt x="130318" y="1100211"/>
                      </a:lnTo>
                      <a:lnTo>
                        <a:pt x="131132" y="1101304"/>
                      </a:lnTo>
                      <a:lnTo>
                        <a:pt x="133147" y="1104012"/>
                      </a:lnTo>
                      <a:lnTo>
                        <a:pt x="133827" y="1104934"/>
                      </a:lnTo>
                      <a:lnTo>
                        <a:pt x="133912" y="1104983"/>
                      </a:lnTo>
                      <a:lnTo>
                        <a:pt x="133463" y="1105797"/>
                      </a:lnTo>
                      <a:lnTo>
                        <a:pt x="133354" y="1107060"/>
                      </a:lnTo>
                      <a:lnTo>
                        <a:pt x="133135" y="1109585"/>
                      </a:lnTo>
                      <a:lnTo>
                        <a:pt x="132759" y="1113944"/>
                      </a:lnTo>
                      <a:lnTo>
                        <a:pt x="136778" y="1115681"/>
                      </a:lnTo>
                      <a:lnTo>
                        <a:pt x="136754" y="1116167"/>
                      </a:lnTo>
                      <a:lnTo>
                        <a:pt x="136863" y="1116822"/>
                      </a:lnTo>
                      <a:lnTo>
                        <a:pt x="137033" y="1117830"/>
                      </a:lnTo>
                      <a:lnTo>
                        <a:pt x="137106" y="1118267"/>
                      </a:lnTo>
                      <a:lnTo>
                        <a:pt x="137240" y="1118680"/>
                      </a:lnTo>
                      <a:lnTo>
                        <a:pt x="142242" y="1134138"/>
                      </a:lnTo>
                      <a:lnTo>
                        <a:pt x="142983" y="1137720"/>
                      </a:lnTo>
                      <a:lnTo>
                        <a:pt x="143141" y="1138498"/>
                      </a:lnTo>
                      <a:lnTo>
                        <a:pt x="143493" y="1139214"/>
                      </a:lnTo>
                      <a:lnTo>
                        <a:pt x="144125" y="1140477"/>
                      </a:lnTo>
                      <a:lnTo>
                        <a:pt x="144440" y="1141120"/>
                      </a:lnTo>
                      <a:lnTo>
                        <a:pt x="144902" y="1141667"/>
                      </a:lnTo>
                      <a:lnTo>
                        <a:pt x="146055" y="1143039"/>
                      </a:lnTo>
                      <a:lnTo>
                        <a:pt x="147294" y="1144508"/>
                      </a:lnTo>
                      <a:lnTo>
                        <a:pt x="148484" y="1144824"/>
                      </a:lnTo>
                      <a:lnTo>
                        <a:pt x="148484" y="1149669"/>
                      </a:lnTo>
                      <a:lnTo>
                        <a:pt x="148484" y="1150082"/>
                      </a:lnTo>
                      <a:lnTo>
                        <a:pt x="148532" y="1150483"/>
                      </a:lnTo>
                      <a:lnTo>
                        <a:pt x="149795" y="1159784"/>
                      </a:lnTo>
                      <a:lnTo>
                        <a:pt x="152321" y="1159651"/>
                      </a:lnTo>
                      <a:lnTo>
                        <a:pt x="152321" y="1162541"/>
                      </a:lnTo>
                      <a:lnTo>
                        <a:pt x="151690" y="1163123"/>
                      </a:lnTo>
                      <a:lnTo>
                        <a:pt x="148824" y="1165771"/>
                      </a:lnTo>
                      <a:lnTo>
                        <a:pt x="150038" y="1169474"/>
                      </a:lnTo>
                      <a:lnTo>
                        <a:pt x="150670" y="1171393"/>
                      </a:lnTo>
                      <a:lnTo>
                        <a:pt x="151325" y="1173384"/>
                      </a:lnTo>
                      <a:lnTo>
                        <a:pt x="153062" y="1174550"/>
                      </a:lnTo>
                      <a:lnTo>
                        <a:pt x="154385" y="1175436"/>
                      </a:lnTo>
                      <a:lnTo>
                        <a:pt x="154798" y="1175703"/>
                      </a:lnTo>
                      <a:lnTo>
                        <a:pt x="154835" y="1175825"/>
                      </a:lnTo>
                      <a:lnTo>
                        <a:pt x="155454" y="1177610"/>
                      </a:lnTo>
                      <a:lnTo>
                        <a:pt x="156984" y="1178727"/>
                      </a:lnTo>
                      <a:lnTo>
                        <a:pt x="157385" y="1179019"/>
                      </a:lnTo>
                      <a:lnTo>
                        <a:pt x="157397" y="1179103"/>
                      </a:lnTo>
                      <a:lnTo>
                        <a:pt x="158077" y="1183086"/>
                      </a:lnTo>
                      <a:lnTo>
                        <a:pt x="158320" y="1184446"/>
                      </a:lnTo>
                      <a:lnTo>
                        <a:pt x="159121" y="1185588"/>
                      </a:lnTo>
                      <a:lnTo>
                        <a:pt x="162679" y="1190579"/>
                      </a:lnTo>
                      <a:lnTo>
                        <a:pt x="162983" y="1191004"/>
                      </a:lnTo>
                      <a:lnTo>
                        <a:pt x="163359" y="1191368"/>
                      </a:lnTo>
                      <a:lnTo>
                        <a:pt x="166929" y="1194901"/>
                      </a:lnTo>
                      <a:lnTo>
                        <a:pt x="177760" y="1203741"/>
                      </a:lnTo>
                      <a:lnTo>
                        <a:pt x="180238" y="1207008"/>
                      </a:lnTo>
                      <a:lnTo>
                        <a:pt x="186103" y="1218277"/>
                      </a:lnTo>
                      <a:lnTo>
                        <a:pt x="187062" y="1221507"/>
                      </a:lnTo>
                      <a:lnTo>
                        <a:pt x="186613" y="1228719"/>
                      </a:lnTo>
                      <a:lnTo>
                        <a:pt x="186564" y="1229557"/>
                      </a:lnTo>
                      <a:lnTo>
                        <a:pt x="186746" y="1230383"/>
                      </a:lnTo>
                      <a:lnTo>
                        <a:pt x="187256" y="1232702"/>
                      </a:lnTo>
                      <a:lnTo>
                        <a:pt x="187766" y="1234997"/>
                      </a:lnTo>
                      <a:lnTo>
                        <a:pt x="189697" y="1236345"/>
                      </a:lnTo>
                      <a:lnTo>
                        <a:pt x="191531" y="1237633"/>
                      </a:lnTo>
                      <a:lnTo>
                        <a:pt x="192502" y="1238325"/>
                      </a:lnTo>
                      <a:lnTo>
                        <a:pt x="193656" y="1238592"/>
                      </a:lnTo>
                      <a:lnTo>
                        <a:pt x="196703" y="1239308"/>
                      </a:lnTo>
                      <a:lnTo>
                        <a:pt x="197056" y="1239381"/>
                      </a:lnTo>
                      <a:lnTo>
                        <a:pt x="197408" y="1239430"/>
                      </a:lnTo>
                      <a:lnTo>
                        <a:pt x="200686" y="1239794"/>
                      </a:lnTo>
                      <a:lnTo>
                        <a:pt x="202654" y="1240049"/>
                      </a:lnTo>
                      <a:lnTo>
                        <a:pt x="204560" y="1240292"/>
                      </a:lnTo>
                      <a:lnTo>
                        <a:pt x="206260" y="1239405"/>
                      </a:lnTo>
                      <a:lnTo>
                        <a:pt x="209089" y="1237912"/>
                      </a:lnTo>
                      <a:lnTo>
                        <a:pt x="216751" y="1237523"/>
                      </a:lnTo>
                      <a:lnTo>
                        <a:pt x="219957" y="1237098"/>
                      </a:lnTo>
                      <a:lnTo>
                        <a:pt x="220613" y="1237001"/>
                      </a:lnTo>
                      <a:lnTo>
                        <a:pt x="221232" y="1236770"/>
                      </a:lnTo>
                      <a:lnTo>
                        <a:pt x="222786" y="1236187"/>
                      </a:lnTo>
                      <a:lnTo>
                        <a:pt x="224402" y="1235568"/>
                      </a:lnTo>
                      <a:lnTo>
                        <a:pt x="225458" y="1234208"/>
                      </a:lnTo>
                      <a:lnTo>
                        <a:pt x="225992" y="1233504"/>
                      </a:lnTo>
                      <a:lnTo>
                        <a:pt x="226017" y="1233540"/>
                      </a:lnTo>
                      <a:lnTo>
                        <a:pt x="226976" y="1234160"/>
                      </a:lnTo>
                      <a:lnTo>
                        <a:pt x="228239" y="1234961"/>
                      </a:lnTo>
                      <a:lnTo>
                        <a:pt x="228967" y="1235422"/>
                      </a:lnTo>
                      <a:lnTo>
                        <a:pt x="229793" y="1235665"/>
                      </a:lnTo>
                      <a:lnTo>
                        <a:pt x="231165" y="1236066"/>
                      </a:lnTo>
                      <a:lnTo>
                        <a:pt x="231517" y="1236175"/>
                      </a:lnTo>
                      <a:lnTo>
                        <a:pt x="231882" y="1236236"/>
                      </a:lnTo>
                      <a:lnTo>
                        <a:pt x="235439" y="1236831"/>
                      </a:lnTo>
                      <a:lnTo>
                        <a:pt x="236702" y="1237183"/>
                      </a:lnTo>
                      <a:lnTo>
                        <a:pt x="236824" y="1237256"/>
                      </a:lnTo>
                      <a:lnTo>
                        <a:pt x="237042" y="1237523"/>
                      </a:lnTo>
                      <a:lnTo>
                        <a:pt x="237346" y="1238313"/>
                      </a:lnTo>
                      <a:lnTo>
                        <a:pt x="239544" y="1247845"/>
                      </a:lnTo>
                      <a:lnTo>
                        <a:pt x="239702" y="1248525"/>
                      </a:lnTo>
                      <a:lnTo>
                        <a:pt x="240005" y="1249156"/>
                      </a:lnTo>
                      <a:lnTo>
                        <a:pt x="241329" y="1251864"/>
                      </a:lnTo>
                      <a:lnTo>
                        <a:pt x="241693" y="1252605"/>
                      </a:lnTo>
                      <a:lnTo>
                        <a:pt x="242239" y="1253224"/>
                      </a:lnTo>
                      <a:lnTo>
                        <a:pt x="244243" y="1255495"/>
                      </a:lnTo>
                      <a:lnTo>
                        <a:pt x="244790" y="1256126"/>
                      </a:lnTo>
                      <a:lnTo>
                        <a:pt x="245482" y="1256575"/>
                      </a:lnTo>
                      <a:lnTo>
                        <a:pt x="249562" y="1259222"/>
                      </a:lnTo>
                      <a:lnTo>
                        <a:pt x="250375" y="1259745"/>
                      </a:lnTo>
                      <a:lnTo>
                        <a:pt x="251310" y="1260000"/>
                      </a:lnTo>
                      <a:lnTo>
                        <a:pt x="254127" y="1260753"/>
                      </a:lnTo>
                      <a:lnTo>
                        <a:pt x="254540" y="1260862"/>
                      </a:lnTo>
                      <a:lnTo>
                        <a:pt x="254953" y="1260910"/>
                      </a:lnTo>
                      <a:lnTo>
                        <a:pt x="257017" y="1261165"/>
                      </a:lnTo>
                      <a:lnTo>
                        <a:pt x="258220" y="1261311"/>
                      </a:lnTo>
                      <a:lnTo>
                        <a:pt x="259385" y="1260995"/>
                      </a:lnTo>
                      <a:lnTo>
                        <a:pt x="261729" y="1260340"/>
                      </a:lnTo>
                      <a:lnTo>
                        <a:pt x="262032" y="1260255"/>
                      </a:lnTo>
                      <a:lnTo>
                        <a:pt x="262324" y="1260133"/>
                      </a:lnTo>
                      <a:lnTo>
                        <a:pt x="272281" y="1256199"/>
                      </a:lnTo>
                      <a:lnTo>
                        <a:pt x="278535" y="1256077"/>
                      </a:lnTo>
                      <a:lnTo>
                        <a:pt x="284983" y="1255944"/>
                      </a:lnTo>
                      <a:lnTo>
                        <a:pt x="284473" y="1249520"/>
                      </a:lnTo>
                      <a:lnTo>
                        <a:pt x="284254" y="1246849"/>
                      </a:lnTo>
                      <a:lnTo>
                        <a:pt x="284813" y="1246315"/>
                      </a:lnTo>
                      <a:lnTo>
                        <a:pt x="285456" y="1245683"/>
                      </a:lnTo>
                      <a:lnTo>
                        <a:pt x="285893" y="1244918"/>
                      </a:lnTo>
                      <a:lnTo>
                        <a:pt x="286755" y="1243388"/>
                      </a:lnTo>
                      <a:lnTo>
                        <a:pt x="287035" y="1242878"/>
                      </a:lnTo>
                      <a:lnTo>
                        <a:pt x="287217" y="1242320"/>
                      </a:lnTo>
                      <a:lnTo>
                        <a:pt x="288358" y="1238859"/>
                      </a:lnTo>
                      <a:lnTo>
                        <a:pt x="289682" y="1237232"/>
                      </a:lnTo>
                      <a:lnTo>
                        <a:pt x="293786" y="1234050"/>
                      </a:lnTo>
                      <a:lnTo>
                        <a:pt x="294393" y="1236552"/>
                      </a:lnTo>
                      <a:lnTo>
                        <a:pt x="296919" y="1238288"/>
                      </a:lnTo>
                      <a:lnTo>
                        <a:pt x="297502" y="1238592"/>
                      </a:lnTo>
                      <a:lnTo>
                        <a:pt x="298097" y="1238907"/>
                      </a:lnTo>
                      <a:lnTo>
                        <a:pt x="298753" y="1239090"/>
                      </a:lnTo>
                      <a:lnTo>
                        <a:pt x="299846" y="1239381"/>
                      </a:lnTo>
                      <a:lnTo>
                        <a:pt x="300623" y="1239600"/>
                      </a:lnTo>
                      <a:lnTo>
                        <a:pt x="301436" y="1239600"/>
                      </a:lnTo>
                      <a:lnTo>
                        <a:pt x="307520" y="1239600"/>
                      </a:lnTo>
                      <a:lnTo>
                        <a:pt x="307993" y="1239600"/>
                      </a:lnTo>
                      <a:lnTo>
                        <a:pt x="308455" y="1239527"/>
                      </a:lnTo>
                      <a:lnTo>
                        <a:pt x="313276" y="1238774"/>
                      </a:lnTo>
                      <a:lnTo>
                        <a:pt x="313907" y="1238677"/>
                      </a:lnTo>
                      <a:lnTo>
                        <a:pt x="314502" y="1238446"/>
                      </a:lnTo>
                      <a:lnTo>
                        <a:pt x="316785" y="1237584"/>
                      </a:lnTo>
                      <a:lnTo>
                        <a:pt x="317101" y="1237462"/>
                      </a:lnTo>
                      <a:lnTo>
                        <a:pt x="317404" y="1237292"/>
                      </a:lnTo>
                      <a:lnTo>
                        <a:pt x="319371" y="1236285"/>
                      </a:lnTo>
                      <a:lnTo>
                        <a:pt x="319869" y="1236029"/>
                      </a:lnTo>
                      <a:lnTo>
                        <a:pt x="320306" y="1235690"/>
                      </a:lnTo>
                      <a:lnTo>
                        <a:pt x="323573" y="1233164"/>
                      </a:lnTo>
                      <a:lnTo>
                        <a:pt x="323852" y="1232945"/>
                      </a:lnTo>
                      <a:lnTo>
                        <a:pt x="324107" y="1232690"/>
                      </a:lnTo>
                      <a:lnTo>
                        <a:pt x="325904" y="1230930"/>
                      </a:lnTo>
                      <a:lnTo>
                        <a:pt x="326378" y="1230468"/>
                      </a:lnTo>
                      <a:lnTo>
                        <a:pt x="326742" y="1229909"/>
                      </a:lnTo>
                      <a:lnTo>
                        <a:pt x="330179" y="1224627"/>
                      </a:lnTo>
                      <a:lnTo>
                        <a:pt x="334174" y="1217147"/>
                      </a:lnTo>
                      <a:lnTo>
                        <a:pt x="334356" y="1216807"/>
                      </a:lnTo>
                      <a:lnTo>
                        <a:pt x="334502" y="1216443"/>
                      </a:lnTo>
                      <a:lnTo>
                        <a:pt x="335206" y="1214585"/>
                      </a:lnTo>
                      <a:lnTo>
                        <a:pt x="335874" y="1212800"/>
                      </a:lnTo>
                      <a:lnTo>
                        <a:pt x="335400" y="1210955"/>
                      </a:lnTo>
                      <a:lnTo>
                        <a:pt x="334939" y="1209181"/>
                      </a:lnTo>
                      <a:lnTo>
                        <a:pt x="334647" y="1208052"/>
                      </a:lnTo>
                      <a:lnTo>
                        <a:pt x="333955" y="1207105"/>
                      </a:lnTo>
                      <a:lnTo>
                        <a:pt x="333154" y="1206000"/>
                      </a:lnTo>
                      <a:lnTo>
                        <a:pt x="336056" y="1202187"/>
                      </a:lnTo>
                      <a:lnTo>
                        <a:pt x="336408" y="1201726"/>
                      </a:lnTo>
                      <a:lnTo>
                        <a:pt x="336663" y="1201204"/>
                      </a:lnTo>
                      <a:lnTo>
                        <a:pt x="339966" y="1194525"/>
                      </a:lnTo>
                      <a:lnTo>
                        <a:pt x="342067" y="1191477"/>
                      </a:lnTo>
                      <a:lnTo>
                        <a:pt x="343876" y="1188344"/>
                      </a:lnTo>
                      <a:lnTo>
                        <a:pt x="344082" y="1187992"/>
                      </a:lnTo>
                      <a:lnTo>
                        <a:pt x="344240" y="1187604"/>
                      </a:lnTo>
                      <a:lnTo>
                        <a:pt x="345564" y="1184301"/>
                      </a:lnTo>
                      <a:lnTo>
                        <a:pt x="345819" y="1183657"/>
                      </a:lnTo>
                      <a:lnTo>
                        <a:pt x="345928" y="1182977"/>
                      </a:lnTo>
                      <a:lnTo>
                        <a:pt x="346681" y="1178205"/>
                      </a:lnTo>
                      <a:lnTo>
                        <a:pt x="346742" y="1177804"/>
                      </a:lnTo>
                      <a:lnTo>
                        <a:pt x="346754" y="1177404"/>
                      </a:lnTo>
                      <a:lnTo>
                        <a:pt x="346815" y="1174878"/>
                      </a:lnTo>
                      <a:lnTo>
                        <a:pt x="346827" y="1174186"/>
                      </a:lnTo>
                      <a:lnTo>
                        <a:pt x="346693" y="1173518"/>
                      </a:lnTo>
                      <a:lnTo>
                        <a:pt x="346341" y="1171769"/>
                      </a:lnTo>
                      <a:lnTo>
                        <a:pt x="346086" y="1170506"/>
                      </a:lnTo>
                      <a:lnTo>
                        <a:pt x="345357" y="1169474"/>
                      </a:lnTo>
                      <a:lnTo>
                        <a:pt x="344787" y="1168673"/>
                      </a:lnTo>
                      <a:lnTo>
                        <a:pt x="344447" y="1168187"/>
                      </a:lnTo>
                      <a:lnTo>
                        <a:pt x="345442" y="1168163"/>
                      </a:lnTo>
                      <a:lnTo>
                        <a:pt x="347057" y="1168114"/>
                      </a:lnTo>
                      <a:lnTo>
                        <a:pt x="348442" y="1167276"/>
                      </a:lnTo>
                      <a:lnTo>
                        <a:pt x="349765" y="1166475"/>
                      </a:lnTo>
                      <a:lnTo>
                        <a:pt x="351016" y="1165722"/>
                      </a:lnTo>
                      <a:lnTo>
                        <a:pt x="351781" y="1164483"/>
                      </a:lnTo>
                      <a:lnTo>
                        <a:pt x="352752" y="1162905"/>
                      </a:lnTo>
                      <a:lnTo>
                        <a:pt x="353432" y="1161800"/>
                      </a:lnTo>
                      <a:lnTo>
                        <a:pt x="353602" y="1160525"/>
                      </a:lnTo>
                      <a:lnTo>
                        <a:pt x="354064" y="1157052"/>
                      </a:lnTo>
                      <a:lnTo>
                        <a:pt x="354137" y="1156518"/>
                      </a:lnTo>
                      <a:lnTo>
                        <a:pt x="354112" y="1155983"/>
                      </a:lnTo>
                      <a:lnTo>
                        <a:pt x="353857" y="1150106"/>
                      </a:lnTo>
                      <a:lnTo>
                        <a:pt x="354877" y="1142626"/>
                      </a:lnTo>
                      <a:lnTo>
                        <a:pt x="354938" y="1142153"/>
                      </a:lnTo>
                      <a:lnTo>
                        <a:pt x="354926" y="1141679"/>
                      </a:lnTo>
                      <a:lnTo>
                        <a:pt x="354865" y="1138898"/>
                      </a:lnTo>
                      <a:lnTo>
                        <a:pt x="354853" y="1138364"/>
                      </a:lnTo>
                      <a:lnTo>
                        <a:pt x="354744" y="1137842"/>
                      </a:lnTo>
                      <a:lnTo>
                        <a:pt x="354343" y="1135814"/>
                      </a:lnTo>
                      <a:lnTo>
                        <a:pt x="354246" y="1135316"/>
                      </a:lnTo>
                      <a:lnTo>
                        <a:pt x="354064" y="1134843"/>
                      </a:lnTo>
                      <a:lnTo>
                        <a:pt x="353493" y="1133349"/>
                      </a:lnTo>
                      <a:lnTo>
                        <a:pt x="353250" y="1132693"/>
                      </a:lnTo>
                      <a:lnTo>
                        <a:pt x="352862" y="1132123"/>
                      </a:lnTo>
                      <a:lnTo>
                        <a:pt x="351999" y="1130835"/>
                      </a:lnTo>
                      <a:lnTo>
                        <a:pt x="351647" y="1130313"/>
                      </a:lnTo>
                      <a:lnTo>
                        <a:pt x="351198" y="1129876"/>
                      </a:lnTo>
                      <a:lnTo>
                        <a:pt x="349814" y="1128528"/>
                      </a:lnTo>
                      <a:lnTo>
                        <a:pt x="349389" y="1128115"/>
                      </a:lnTo>
                      <a:lnTo>
                        <a:pt x="348891" y="1127799"/>
                      </a:lnTo>
                      <a:lnTo>
                        <a:pt x="347567" y="1126938"/>
                      </a:lnTo>
                      <a:lnTo>
                        <a:pt x="347203" y="1126683"/>
                      </a:lnTo>
                      <a:lnTo>
                        <a:pt x="346802" y="1126500"/>
                      </a:lnTo>
                      <a:lnTo>
                        <a:pt x="330725" y="1119020"/>
                      </a:lnTo>
                      <a:lnTo>
                        <a:pt x="330227" y="1118778"/>
                      </a:lnTo>
                      <a:lnTo>
                        <a:pt x="329693" y="1118644"/>
                      </a:lnTo>
                      <a:lnTo>
                        <a:pt x="328551" y="1118352"/>
                      </a:lnTo>
                      <a:lnTo>
                        <a:pt x="327434" y="1118061"/>
                      </a:lnTo>
                      <a:lnTo>
                        <a:pt x="326293" y="1118207"/>
                      </a:lnTo>
                      <a:lnTo>
                        <a:pt x="325783" y="1118267"/>
                      </a:lnTo>
                      <a:lnTo>
                        <a:pt x="325783" y="1118000"/>
                      </a:lnTo>
                      <a:lnTo>
                        <a:pt x="325419" y="1117005"/>
                      </a:lnTo>
                      <a:lnTo>
                        <a:pt x="325139" y="1116239"/>
                      </a:lnTo>
                      <a:lnTo>
                        <a:pt x="324909" y="1115608"/>
                      </a:lnTo>
                      <a:lnTo>
                        <a:pt x="324557" y="1115050"/>
                      </a:lnTo>
                      <a:lnTo>
                        <a:pt x="323403" y="1113240"/>
                      </a:lnTo>
                      <a:lnTo>
                        <a:pt x="323063" y="1112548"/>
                      </a:lnTo>
                      <a:lnTo>
                        <a:pt x="323755" y="1112487"/>
                      </a:lnTo>
                      <a:lnTo>
                        <a:pt x="325674" y="1112147"/>
                      </a:lnTo>
                      <a:lnTo>
                        <a:pt x="326633" y="1111965"/>
                      </a:lnTo>
                      <a:lnTo>
                        <a:pt x="327483" y="1111492"/>
                      </a:lnTo>
                      <a:lnTo>
                        <a:pt x="328467" y="1110945"/>
                      </a:lnTo>
                      <a:lnTo>
                        <a:pt x="329183" y="1110544"/>
                      </a:lnTo>
                      <a:lnTo>
                        <a:pt x="329766" y="1109974"/>
                      </a:lnTo>
                      <a:lnTo>
                        <a:pt x="330616" y="1109148"/>
                      </a:lnTo>
                      <a:lnTo>
                        <a:pt x="331915" y="1107885"/>
                      </a:lnTo>
                      <a:lnTo>
                        <a:pt x="332304" y="1106100"/>
                      </a:lnTo>
                      <a:lnTo>
                        <a:pt x="332534" y="1105031"/>
                      </a:lnTo>
                      <a:lnTo>
                        <a:pt x="332971" y="1103016"/>
                      </a:lnTo>
                      <a:lnTo>
                        <a:pt x="332085" y="1101146"/>
                      </a:lnTo>
                      <a:lnTo>
                        <a:pt x="331745" y="1100429"/>
                      </a:lnTo>
                      <a:lnTo>
                        <a:pt x="331077" y="1099045"/>
                      </a:lnTo>
                      <a:lnTo>
                        <a:pt x="329827" y="1098134"/>
                      </a:lnTo>
                      <a:lnTo>
                        <a:pt x="329195" y="1097673"/>
                      </a:lnTo>
                      <a:lnTo>
                        <a:pt x="328637" y="1097272"/>
                      </a:lnTo>
                      <a:lnTo>
                        <a:pt x="327993" y="1097005"/>
                      </a:lnTo>
                      <a:lnTo>
                        <a:pt x="325698" y="1096034"/>
                      </a:lnTo>
                      <a:lnTo>
                        <a:pt x="325358" y="1095827"/>
                      </a:lnTo>
                      <a:lnTo>
                        <a:pt x="325321" y="1095050"/>
                      </a:lnTo>
                      <a:lnTo>
                        <a:pt x="325309" y="1094661"/>
                      </a:lnTo>
                      <a:lnTo>
                        <a:pt x="325249" y="1094285"/>
                      </a:lnTo>
                      <a:lnTo>
                        <a:pt x="325018" y="1092937"/>
                      </a:lnTo>
                      <a:lnTo>
                        <a:pt x="324824" y="1091820"/>
                      </a:lnTo>
                      <a:lnTo>
                        <a:pt x="324241" y="1090849"/>
                      </a:lnTo>
                      <a:lnTo>
                        <a:pt x="323731" y="1089999"/>
                      </a:lnTo>
                      <a:lnTo>
                        <a:pt x="323124" y="1088966"/>
                      </a:lnTo>
                      <a:lnTo>
                        <a:pt x="322176" y="1088250"/>
                      </a:lnTo>
                      <a:lnTo>
                        <a:pt x="321472" y="1087728"/>
                      </a:lnTo>
                      <a:lnTo>
                        <a:pt x="319930" y="1086562"/>
                      </a:lnTo>
                      <a:lnTo>
                        <a:pt x="317999" y="1086501"/>
                      </a:lnTo>
                      <a:lnTo>
                        <a:pt x="317198" y="1086477"/>
                      </a:lnTo>
                      <a:lnTo>
                        <a:pt x="316688" y="1086465"/>
                      </a:lnTo>
                      <a:lnTo>
                        <a:pt x="316627" y="1086477"/>
                      </a:lnTo>
                      <a:lnTo>
                        <a:pt x="316421" y="1085482"/>
                      </a:lnTo>
                      <a:lnTo>
                        <a:pt x="316311" y="1084935"/>
                      </a:lnTo>
                      <a:lnTo>
                        <a:pt x="317429" y="1084631"/>
                      </a:lnTo>
                      <a:lnTo>
                        <a:pt x="318534" y="1083551"/>
                      </a:lnTo>
                      <a:lnTo>
                        <a:pt x="319626" y="1082482"/>
                      </a:lnTo>
                      <a:lnTo>
                        <a:pt x="320234" y="1081887"/>
                      </a:lnTo>
                      <a:lnTo>
                        <a:pt x="320452" y="1081511"/>
                      </a:lnTo>
                      <a:lnTo>
                        <a:pt x="321047" y="1081766"/>
                      </a:lnTo>
                      <a:lnTo>
                        <a:pt x="322249" y="1082252"/>
                      </a:lnTo>
                      <a:lnTo>
                        <a:pt x="324192" y="1083029"/>
                      </a:lnTo>
                      <a:lnTo>
                        <a:pt x="326196" y="1082446"/>
                      </a:lnTo>
                      <a:lnTo>
                        <a:pt x="327398" y="1082106"/>
                      </a:lnTo>
                      <a:lnTo>
                        <a:pt x="328879" y="1081693"/>
                      </a:lnTo>
                      <a:lnTo>
                        <a:pt x="329972" y="1080612"/>
                      </a:lnTo>
                      <a:lnTo>
                        <a:pt x="331296" y="1079325"/>
                      </a:lnTo>
                      <a:lnTo>
                        <a:pt x="334562" y="1075597"/>
                      </a:lnTo>
                      <a:lnTo>
                        <a:pt x="334866" y="1075330"/>
                      </a:lnTo>
                      <a:lnTo>
                        <a:pt x="335509" y="1074929"/>
                      </a:lnTo>
                      <a:lnTo>
                        <a:pt x="337501" y="1073848"/>
                      </a:lnTo>
                      <a:lnTo>
                        <a:pt x="338994" y="1072901"/>
                      </a:lnTo>
                      <a:lnTo>
                        <a:pt x="339565" y="1072525"/>
                      </a:lnTo>
                      <a:lnTo>
                        <a:pt x="340051" y="1072027"/>
                      </a:lnTo>
                      <a:lnTo>
                        <a:pt x="341022" y="1071031"/>
                      </a:lnTo>
                      <a:lnTo>
                        <a:pt x="341459" y="1070582"/>
                      </a:lnTo>
                      <a:lnTo>
                        <a:pt x="341787" y="1070048"/>
                      </a:lnTo>
                      <a:lnTo>
                        <a:pt x="342528" y="1068870"/>
                      </a:lnTo>
                      <a:lnTo>
                        <a:pt x="342710" y="1068591"/>
                      </a:lnTo>
                      <a:lnTo>
                        <a:pt x="342856" y="1068299"/>
                      </a:lnTo>
                      <a:lnTo>
                        <a:pt x="343487" y="1067012"/>
                      </a:lnTo>
                      <a:lnTo>
                        <a:pt x="343767" y="1066441"/>
                      </a:lnTo>
                      <a:lnTo>
                        <a:pt x="343924" y="1065822"/>
                      </a:lnTo>
                      <a:lnTo>
                        <a:pt x="344349" y="1064098"/>
                      </a:lnTo>
                      <a:lnTo>
                        <a:pt x="344532" y="1064207"/>
                      </a:lnTo>
                      <a:lnTo>
                        <a:pt x="345066" y="1064523"/>
                      </a:lnTo>
                      <a:lnTo>
                        <a:pt x="345661" y="1064729"/>
                      </a:lnTo>
                      <a:lnTo>
                        <a:pt x="347264" y="1065276"/>
                      </a:lnTo>
                      <a:lnTo>
                        <a:pt x="347956" y="1065518"/>
                      </a:lnTo>
                      <a:lnTo>
                        <a:pt x="348697" y="1065579"/>
                      </a:lnTo>
                      <a:lnTo>
                        <a:pt x="352558" y="1065919"/>
                      </a:lnTo>
                      <a:lnTo>
                        <a:pt x="352619" y="1066405"/>
                      </a:lnTo>
                      <a:lnTo>
                        <a:pt x="352728" y="1067291"/>
                      </a:lnTo>
                      <a:lnTo>
                        <a:pt x="353092" y="1068105"/>
                      </a:lnTo>
                      <a:lnTo>
                        <a:pt x="353517" y="1069052"/>
                      </a:lnTo>
                      <a:lnTo>
                        <a:pt x="353821" y="1069744"/>
                      </a:lnTo>
                      <a:lnTo>
                        <a:pt x="354295" y="1070351"/>
                      </a:lnTo>
                      <a:lnTo>
                        <a:pt x="355727" y="1072149"/>
                      </a:lnTo>
                      <a:lnTo>
                        <a:pt x="355715" y="1072258"/>
                      </a:lnTo>
                      <a:lnTo>
                        <a:pt x="355764" y="1073011"/>
                      </a:lnTo>
                      <a:lnTo>
                        <a:pt x="355825" y="1073861"/>
                      </a:lnTo>
                      <a:lnTo>
                        <a:pt x="355885" y="1074638"/>
                      </a:lnTo>
                      <a:lnTo>
                        <a:pt x="356140" y="1075379"/>
                      </a:lnTo>
                      <a:lnTo>
                        <a:pt x="356577" y="1076678"/>
                      </a:lnTo>
                      <a:lnTo>
                        <a:pt x="357719" y="1078220"/>
                      </a:lnTo>
                      <a:lnTo>
                        <a:pt x="358520" y="1079034"/>
                      </a:lnTo>
                      <a:lnTo>
                        <a:pt x="359965" y="1079908"/>
                      </a:lnTo>
                      <a:lnTo>
                        <a:pt x="360597" y="1080187"/>
                      </a:lnTo>
                      <a:lnTo>
                        <a:pt x="361617" y="1080649"/>
                      </a:lnTo>
                      <a:lnTo>
                        <a:pt x="362734" y="1080722"/>
                      </a:lnTo>
                      <a:lnTo>
                        <a:pt x="363717" y="1080782"/>
                      </a:lnTo>
                      <a:lnTo>
                        <a:pt x="364652" y="1080843"/>
                      </a:lnTo>
                      <a:lnTo>
                        <a:pt x="365551" y="1080612"/>
                      </a:lnTo>
                      <a:lnTo>
                        <a:pt x="366692" y="1080333"/>
                      </a:lnTo>
                      <a:lnTo>
                        <a:pt x="367202" y="1080199"/>
                      </a:lnTo>
                      <a:lnTo>
                        <a:pt x="367688" y="1079993"/>
                      </a:lnTo>
                      <a:lnTo>
                        <a:pt x="369510" y="1079191"/>
                      </a:lnTo>
                      <a:lnTo>
                        <a:pt x="369886" y="1079021"/>
                      </a:lnTo>
                      <a:lnTo>
                        <a:pt x="370238" y="1078803"/>
                      </a:lnTo>
                      <a:lnTo>
                        <a:pt x="371732" y="1077892"/>
                      </a:lnTo>
                      <a:lnTo>
                        <a:pt x="372205" y="1077613"/>
                      </a:lnTo>
                      <a:lnTo>
                        <a:pt x="372618" y="1077249"/>
                      </a:lnTo>
                      <a:lnTo>
                        <a:pt x="378495" y="1072003"/>
                      </a:lnTo>
                      <a:lnTo>
                        <a:pt x="379151" y="1071554"/>
                      </a:lnTo>
                      <a:lnTo>
                        <a:pt x="379491" y="1071396"/>
                      </a:lnTo>
                      <a:lnTo>
                        <a:pt x="379916" y="1071286"/>
                      </a:lnTo>
                      <a:lnTo>
                        <a:pt x="383146" y="1070934"/>
                      </a:lnTo>
                      <a:lnTo>
                        <a:pt x="383863" y="1070849"/>
                      </a:lnTo>
                      <a:lnTo>
                        <a:pt x="384543" y="1070594"/>
                      </a:lnTo>
                      <a:lnTo>
                        <a:pt x="386510" y="1069878"/>
                      </a:lnTo>
                      <a:lnTo>
                        <a:pt x="389048" y="1068967"/>
                      </a:lnTo>
                      <a:lnTo>
                        <a:pt x="390055" y="1066466"/>
                      </a:lnTo>
                      <a:lnTo>
                        <a:pt x="390675" y="1064935"/>
                      </a:lnTo>
                      <a:lnTo>
                        <a:pt x="390845" y="1064523"/>
                      </a:lnTo>
                      <a:lnTo>
                        <a:pt x="390954" y="1064086"/>
                      </a:lnTo>
                      <a:lnTo>
                        <a:pt x="391476" y="1061936"/>
                      </a:lnTo>
                      <a:lnTo>
                        <a:pt x="392290" y="1058597"/>
                      </a:lnTo>
                      <a:lnTo>
                        <a:pt x="389837" y="1056193"/>
                      </a:lnTo>
                      <a:lnTo>
                        <a:pt x="389618" y="1055962"/>
                      </a:lnTo>
                      <a:lnTo>
                        <a:pt x="389873" y="1055707"/>
                      </a:lnTo>
                      <a:lnTo>
                        <a:pt x="390395" y="1055185"/>
                      </a:lnTo>
                      <a:lnTo>
                        <a:pt x="390784" y="1054541"/>
                      </a:lnTo>
                      <a:lnTo>
                        <a:pt x="391355" y="1053619"/>
                      </a:lnTo>
                      <a:lnTo>
                        <a:pt x="391780" y="1052939"/>
                      </a:lnTo>
                      <a:lnTo>
                        <a:pt x="392011" y="1052186"/>
                      </a:lnTo>
                      <a:lnTo>
                        <a:pt x="392921" y="1049150"/>
                      </a:lnTo>
                      <a:lnTo>
                        <a:pt x="394160" y="1048967"/>
                      </a:lnTo>
                      <a:lnTo>
                        <a:pt x="395034" y="1048846"/>
                      </a:lnTo>
                      <a:lnTo>
                        <a:pt x="395836" y="1048482"/>
                      </a:lnTo>
                      <a:lnTo>
                        <a:pt x="397159" y="1047875"/>
                      </a:lnTo>
                      <a:lnTo>
                        <a:pt x="397997" y="1047486"/>
                      </a:lnTo>
                      <a:lnTo>
                        <a:pt x="398677" y="1046879"/>
                      </a:lnTo>
                      <a:lnTo>
                        <a:pt x="400219" y="1045507"/>
                      </a:lnTo>
                      <a:lnTo>
                        <a:pt x="400875" y="1044924"/>
                      </a:lnTo>
                      <a:lnTo>
                        <a:pt x="401336" y="1044171"/>
                      </a:lnTo>
                      <a:lnTo>
                        <a:pt x="401725" y="1043540"/>
                      </a:lnTo>
                      <a:lnTo>
                        <a:pt x="402988" y="1043272"/>
                      </a:lnTo>
                      <a:lnTo>
                        <a:pt x="403838" y="1043091"/>
                      </a:lnTo>
                      <a:lnTo>
                        <a:pt x="404591" y="1042678"/>
                      </a:lnTo>
                      <a:lnTo>
                        <a:pt x="408841" y="1040382"/>
                      </a:lnTo>
                      <a:lnTo>
                        <a:pt x="409241" y="1040164"/>
                      </a:lnTo>
                      <a:lnTo>
                        <a:pt x="409606" y="1039897"/>
                      </a:lnTo>
                      <a:lnTo>
                        <a:pt x="410456" y="1039253"/>
                      </a:lnTo>
                      <a:lnTo>
                        <a:pt x="410480" y="1039241"/>
                      </a:lnTo>
                      <a:lnTo>
                        <a:pt x="410771" y="1039205"/>
                      </a:lnTo>
                      <a:lnTo>
                        <a:pt x="412483" y="1039496"/>
                      </a:lnTo>
                      <a:lnTo>
                        <a:pt x="414754" y="1040358"/>
                      </a:lnTo>
                      <a:lnTo>
                        <a:pt x="415276" y="1040565"/>
                      </a:lnTo>
                      <a:lnTo>
                        <a:pt x="415823" y="1040674"/>
                      </a:lnTo>
                      <a:lnTo>
                        <a:pt x="417887" y="1041051"/>
                      </a:lnTo>
                      <a:lnTo>
                        <a:pt x="418737" y="1041208"/>
                      </a:lnTo>
                      <a:lnTo>
                        <a:pt x="419599" y="1041111"/>
                      </a:lnTo>
                      <a:lnTo>
                        <a:pt x="420984" y="1040965"/>
                      </a:lnTo>
                      <a:lnTo>
                        <a:pt x="422914" y="1040771"/>
                      </a:lnTo>
                      <a:lnTo>
                        <a:pt x="424371" y="1039484"/>
                      </a:lnTo>
                      <a:lnTo>
                        <a:pt x="425513" y="1038476"/>
                      </a:lnTo>
                      <a:lnTo>
                        <a:pt x="426241" y="1037832"/>
                      </a:lnTo>
                      <a:lnTo>
                        <a:pt x="426739" y="1036995"/>
                      </a:lnTo>
                      <a:lnTo>
                        <a:pt x="427140" y="1036302"/>
                      </a:lnTo>
                      <a:lnTo>
                        <a:pt x="427662" y="1035416"/>
                      </a:lnTo>
                      <a:lnTo>
                        <a:pt x="427856" y="1034396"/>
                      </a:lnTo>
                      <a:lnTo>
                        <a:pt x="428039" y="1033485"/>
                      </a:lnTo>
                      <a:lnTo>
                        <a:pt x="428148" y="1032902"/>
                      </a:lnTo>
                      <a:lnTo>
                        <a:pt x="428148" y="1032320"/>
                      </a:lnTo>
                      <a:lnTo>
                        <a:pt x="428148" y="1031397"/>
                      </a:lnTo>
                      <a:lnTo>
                        <a:pt x="428148" y="1030851"/>
                      </a:lnTo>
                      <a:lnTo>
                        <a:pt x="428051" y="1030316"/>
                      </a:lnTo>
                      <a:lnTo>
                        <a:pt x="426557" y="1022071"/>
                      </a:lnTo>
                      <a:lnTo>
                        <a:pt x="425780" y="1019242"/>
                      </a:lnTo>
                      <a:lnTo>
                        <a:pt x="425671" y="1018853"/>
                      </a:lnTo>
                      <a:lnTo>
                        <a:pt x="425622" y="1018744"/>
                      </a:lnTo>
                      <a:lnTo>
                        <a:pt x="429957" y="1017469"/>
                      </a:lnTo>
                      <a:lnTo>
                        <a:pt x="430285" y="1017372"/>
                      </a:lnTo>
                      <a:lnTo>
                        <a:pt x="430601" y="1017226"/>
                      </a:lnTo>
                      <a:lnTo>
                        <a:pt x="433175" y="1016133"/>
                      </a:lnTo>
                      <a:lnTo>
                        <a:pt x="433491" y="1015999"/>
                      </a:lnTo>
                      <a:lnTo>
                        <a:pt x="433782" y="1015830"/>
                      </a:lnTo>
                      <a:lnTo>
                        <a:pt x="435506" y="1014858"/>
                      </a:lnTo>
                      <a:lnTo>
                        <a:pt x="436660" y="1014203"/>
                      </a:lnTo>
                      <a:lnTo>
                        <a:pt x="437437" y="1013146"/>
                      </a:lnTo>
                      <a:lnTo>
                        <a:pt x="438652" y="1011482"/>
                      </a:lnTo>
                      <a:lnTo>
                        <a:pt x="438664" y="1011458"/>
                      </a:lnTo>
                      <a:lnTo>
                        <a:pt x="441214" y="1009357"/>
                      </a:lnTo>
                      <a:lnTo>
                        <a:pt x="442124" y="1008605"/>
                      </a:lnTo>
                      <a:lnTo>
                        <a:pt x="442683" y="1007572"/>
                      </a:lnTo>
                      <a:lnTo>
                        <a:pt x="443327" y="1006395"/>
                      </a:lnTo>
                      <a:lnTo>
                        <a:pt x="443667" y="1005763"/>
                      </a:lnTo>
                      <a:lnTo>
                        <a:pt x="443849" y="1005071"/>
                      </a:lnTo>
                      <a:lnTo>
                        <a:pt x="444092" y="1004184"/>
                      </a:lnTo>
                      <a:lnTo>
                        <a:pt x="444966" y="1004488"/>
                      </a:lnTo>
                      <a:lnTo>
                        <a:pt x="446484" y="1005035"/>
                      </a:lnTo>
                      <a:lnTo>
                        <a:pt x="448062" y="1004755"/>
                      </a:lnTo>
                      <a:lnTo>
                        <a:pt x="452932" y="1003893"/>
                      </a:lnTo>
                      <a:lnTo>
                        <a:pt x="453466" y="1004707"/>
                      </a:lnTo>
                      <a:lnTo>
                        <a:pt x="454559" y="1006370"/>
                      </a:lnTo>
                      <a:lnTo>
                        <a:pt x="455044" y="1007123"/>
                      </a:lnTo>
                      <a:lnTo>
                        <a:pt x="455724" y="1007682"/>
                      </a:lnTo>
                      <a:lnTo>
                        <a:pt x="457340" y="1009029"/>
                      </a:lnTo>
                      <a:lnTo>
                        <a:pt x="457995" y="1009588"/>
                      </a:lnTo>
                      <a:lnTo>
                        <a:pt x="458784" y="1009928"/>
                      </a:lnTo>
                      <a:lnTo>
                        <a:pt x="461080" y="1010948"/>
                      </a:lnTo>
                      <a:lnTo>
                        <a:pt x="462573" y="1012915"/>
                      </a:lnTo>
                      <a:lnTo>
                        <a:pt x="462901" y="1013340"/>
                      </a:lnTo>
                      <a:lnTo>
                        <a:pt x="463302" y="1013692"/>
                      </a:lnTo>
                      <a:lnTo>
                        <a:pt x="465196" y="1015417"/>
                      </a:lnTo>
                      <a:lnTo>
                        <a:pt x="466058" y="1016194"/>
                      </a:lnTo>
                      <a:lnTo>
                        <a:pt x="467151" y="1016607"/>
                      </a:lnTo>
                      <a:lnTo>
                        <a:pt x="469701" y="1017554"/>
                      </a:lnTo>
                      <a:lnTo>
                        <a:pt x="471292" y="1018392"/>
                      </a:lnTo>
                      <a:lnTo>
                        <a:pt x="471899" y="1018719"/>
                      </a:lnTo>
                      <a:lnTo>
                        <a:pt x="472567" y="1018902"/>
                      </a:lnTo>
                      <a:lnTo>
                        <a:pt x="474522" y="1019424"/>
                      </a:lnTo>
                      <a:lnTo>
                        <a:pt x="475129" y="1019582"/>
                      </a:lnTo>
                      <a:lnTo>
                        <a:pt x="475760" y="1019618"/>
                      </a:lnTo>
                      <a:lnTo>
                        <a:pt x="477946" y="1019740"/>
                      </a:lnTo>
                      <a:lnTo>
                        <a:pt x="479015" y="1019800"/>
                      </a:lnTo>
                      <a:lnTo>
                        <a:pt x="480035" y="1019497"/>
                      </a:lnTo>
                      <a:lnTo>
                        <a:pt x="485778" y="1017736"/>
                      </a:lnTo>
                      <a:lnTo>
                        <a:pt x="486422" y="1017530"/>
                      </a:lnTo>
                      <a:lnTo>
                        <a:pt x="487005" y="1017214"/>
                      </a:lnTo>
                      <a:lnTo>
                        <a:pt x="495566" y="1012357"/>
                      </a:lnTo>
                      <a:lnTo>
                        <a:pt x="498395" y="1010754"/>
                      </a:lnTo>
                      <a:lnTo>
                        <a:pt x="498626" y="1007500"/>
                      </a:lnTo>
                      <a:lnTo>
                        <a:pt x="498844" y="1004427"/>
                      </a:lnTo>
                      <a:lnTo>
                        <a:pt x="498893" y="1003796"/>
                      </a:lnTo>
                      <a:lnTo>
                        <a:pt x="498808" y="1003165"/>
                      </a:lnTo>
                      <a:lnTo>
                        <a:pt x="498650" y="1002084"/>
                      </a:lnTo>
                      <a:lnTo>
                        <a:pt x="504770" y="1001987"/>
                      </a:lnTo>
                      <a:lnTo>
                        <a:pt x="505353" y="1001974"/>
                      </a:lnTo>
                      <a:lnTo>
                        <a:pt x="505923" y="1001853"/>
                      </a:lnTo>
                      <a:lnTo>
                        <a:pt x="509311" y="1001136"/>
                      </a:lnTo>
                      <a:lnTo>
                        <a:pt x="509906" y="1001003"/>
                      </a:lnTo>
                      <a:lnTo>
                        <a:pt x="510465" y="1000760"/>
                      </a:lnTo>
                      <a:lnTo>
                        <a:pt x="512991" y="999667"/>
                      </a:lnTo>
                      <a:lnTo>
                        <a:pt x="513355" y="999509"/>
                      </a:lnTo>
                      <a:lnTo>
                        <a:pt x="513695" y="999291"/>
                      </a:lnTo>
                      <a:lnTo>
                        <a:pt x="516998" y="997311"/>
                      </a:lnTo>
                      <a:lnTo>
                        <a:pt x="517374" y="997227"/>
                      </a:lnTo>
                      <a:lnTo>
                        <a:pt x="525765" y="997154"/>
                      </a:lnTo>
                      <a:lnTo>
                        <a:pt x="526056" y="997530"/>
                      </a:lnTo>
                      <a:lnTo>
                        <a:pt x="526311" y="997870"/>
                      </a:lnTo>
                      <a:lnTo>
                        <a:pt x="526603" y="998162"/>
                      </a:lnTo>
                      <a:lnTo>
                        <a:pt x="527817" y="999376"/>
                      </a:lnTo>
                      <a:lnTo>
                        <a:pt x="528874" y="1000445"/>
                      </a:lnTo>
                      <a:lnTo>
                        <a:pt x="530306" y="1000882"/>
                      </a:lnTo>
                      <a:lnTo>
                        <a:pt x="531800" y="1001343"/>
                      </a:lnTo>
                      <a:lnTo>
                        <a:pt x="533087" y="1001744"/>
                      </a:lnTo>
                      <a:lnTo>
                        <a:pt x="534423" y="1001549"/>
                      </a:lnTo>
                      <a:lnTo>
                        <a:pt x="536317" y="1001294"/>
                      </a:lnTo>
                      <a:lnTo>
                        <a:pt x="536997" y="1001197"/>
                      </a:lnTo>
                      <a:lnTo>
                        <a:pt x="537641" y="1000955"/>
                      </a:lnTo>
                      <a:lnTo>
                        <a:pt x="544647" y="998307"/>
                      </a:lnTo>
                      <a:lnTo>
                        <a:pt x="545194" y="998089"/>
                      </a:lnTo>
                      <a:lnTo>
                        <a:pt x="545704" y="997785"/>
                      </a:lnTo>
                      <a:lnTo>
                        <a:pt x="547367" y="996753"/>
                      </a:lnTo>
                      <a:lnTo>
                        <a:pt x="547768" y="996498"/>
                      </a:lnTo>
                      <a:lnTo>
                        <a:pt x="548120" y="996195"/>
                      </a:lnTo>
                      <a:lnTo>
                        <a:pt x="549735" y="994810"/>
                      </a:lnTo>
                      <a:lnTo>
                        <a:pt x="550136" y="994470"/>
                      </a:lnTo>
                      <a:lnTo>
                        <a:pt x="550476" y="994057"/>
                      </a:lnTo>
                      <a:lnTo>
                        <a:pt x="551192" y="993183"/>
                      </a:lnTo>
                      <a:lnTo>
                        <a:pt x="553536" y="995284"/>
                      </a:lnTo>
                      <a:lnTo>
                        <a:pt x="553924" y="995624"/>
                      </a:lnTo>
                      <a:lnTo>
                        <a:pt x="554362" y="995891"/>
                      </a:lnTo>
                      <a:lnTo>
                        <a:pt x="556887" y="997482"/>
                      </a:lnTo>
                      <a:lnTo>
                        <a:pt x="557664" y="997980"/>
                      </a:lnTo>
                      <a:lnTo>
                        <a:pt x="558563" y="998222"/>
                      </a:lnTo>
                      <a:lnTo>
                        <a:pt x="561149" y="998915"/>
                      </a:lnTo>
                      <a:lnTo>
                        <a:pt x="562607" y="999291"/>
                      </a:lnTo>
                      <a:lnTo>
                        <a:pt x="564076" y="998963"/>
                      </a:lnTo>
                      <a:lnTo>
                        <a:pt x="566080" y="998502"/>
                      </a:lnTo>
                      <a:lnTo>
                        <a:pt x="567695" y="998137"/>
                      </a:lnTo>
                      <a:lnTo>
                        <a:pt x="568897" y="996984"/>
                      </a:lnTo>
                      <a:lnTo>
                        <a:pt x="570172" y="995769"/>
                      </a:lnTo>
                      <a:lnTo>
                        <a:pt x="570900" y="995077"/>
                      </a:lnTo>
                      <a:lnTo>
                        <a:pt x="571374" y="994191"/>
                      </a:lnTo>
                      <a:lnTo>
                        <a:pt x="572115" y="992782"/>
                      </a:lnTo>
                      <a:lnTo>
                        <a:pt x="572406" y="992212"/>
                      </a:lnTo>
                      <a:lnTo>
                        <a:pt x="572576" y="991580"/>
                      </a:lnTo>
                      <a:lnTo>
                        <a:pt x="573037" y="989917"/>
                      </a:lnTo>
                      <a:lnTo>
                        <a:pt x="573195" y="989382"/>
                      </a:lnTo>
                      <a:lnTo>
                        <a:pt x="573244" y="988812"/>
                      </a:lnTo>
                      <a:lnTo>
                        <a:pt x="573426" y="986686"/>
                      </a:lnTo>
                      <a:lnTo>
                        <a:pt x="573487" y="985994"/>
                      </a:lnTo>
                      <a:lnTo>
                        <a:pt x="573390" y="985290"/>
                      </a:lnTo>
                      <a:lnTo>
                        <a:pt x="573147" y="983590"/>
                      </a:lnTo>
                      <a:lnTo>
                        <a:pt x="573098" y="983250"/>
                      </a:lnTo>
                      <a:lnTo>
                        <a:pt x="573013" y="982910"/>
                      </a:lnTo>
                      <a:lnTo>
                        <a:pt x="572503" y="980991"/>
                      </a:lnTo>
                      <a:lnTo>
                        <a:pt x="572224" y="979935"/>
                      </a:lnTo>
                      <a:lnTo>
                        <a:pt x="571592" y="979048"/>
                      </a:lnTo>
                      <a:lnTo>
                        <a:pt x="571216" y="978502"/>
                      </a:lnTo>
                      <a:lnTo>
                        <a:pt x="572042" y="977943"/>
                      </a:lnTo>
                      <a:lnTo>
                        <a:pt x="572734" y="976802"/>
                      </a:lnTo>
                      <a:lnTo>
                        <a:pt x="573414" y="975685"/>
                      </a:lnTo>
                      <a:lnTo>
                        <a:pt x="574203" y="974398"/>
                      </a:lnTo>
                      <a:lnTo>
                        <a:pt x="574288" y="972892"/>
                      </a:lnTo>
                      <a:lnTo>
                        <a:pt x="574410" y="970852"/>
                      </a:lnTo>
                      <a:lnTo>
                        <a:pt x="574470" y="969856"/>
                      </a:lnTo>
                      <a:lnTo>
                        <a:pt x="574215" y="968885"/>
                      </a:lnTo>
                      <a:lnTo>
                        <a:pt x="573572" y="966529"/>
                      </a:lnTo>
                      <a:lnTo>
                        <a:pt x="573377" y="965837"/>
                      </a:lnTo>
                      <a:lnTo>
                        <a:pt x="573037" y="965206"/>
                      </a:lnTo>
                      <a:lnTo>
                        <a:pt x="571374" y="962170"/>
                      </a:lnTo>
                      <a:lnTo>
                        <a:pt x="571046" y="961563"/>
                      </a:lnTo>
                      <a:lnTo>
                        <a:pt x="570585" y="961053"/>
                      </a:lnTo>
                      <a:lnTo>
                        <a:pt x="568872" y="959134"/>
                      </a:lnTo>
                      <a:lnTo>
                        <a:pt x="568617" y="958843"/>
                      </a:lnTo>
                      <a:lnTo>
                        <a:pt x="568326" y="958588"/>
                      </a:lnTo>
                      <a:lnTo>
                        <a:pt x="567063" y="957483"/>
                      </a:lnTo>
                      <a:lnTo>
                        <a:pt x="566808" y="957118"/>
                      </a:lnTo>
                      <a:lnTo>
                        <a:pt x="566614" y="956572"/>
                      </a:lnTo>
                      <a:lnTo>
                        <a:pt x="566614" y="954216"/>
                      </a:lnTo>
                      <a:lnTo>
                        <a:pt x="566905" y="952856"/>
                      </a:lnTo>
                      <a:lnTo>
                        <a:pt x="567549" y="951472"/>
                      </a:lnTo>
                      <a:lnTo>
                        <a:pt x="568253" y="950331"/>
                      </a:lnTo>
                      <a:lnTo>
                        <a:pt x="568484" y="949930"/>
                      </a:lnTo>
                      <a:lnTo>
                        <a:pt x="568654" y="949505"/>
                      </a:lnTo>
                      <a:lnTo>
                        <a:pt x="569358" y="947720"/>
                      </a:lnTo>
                      <a:lnTo>
                        <a:pt x="569747" y="946724"/>
                      </a:lnTo>
                      <a:lnTo>
                        <a:pt x="569771" y="945644"/>
                      </a:lnTo>
                      <a:lnTo>
                        <a:pt x="569820" y="943785"/>
                      </a:lnTo>
                      <a:lnTo>
                        <a:pt x="569820" y="943409"/>
                      </a:lnTo>
                      <a:lnTo>
                        <a:pt x="569783" y="943045"/>
                      </a:lnTo>
                      <a:lnTo>
                        <a:pt x="569552" y="940750"/>
                      </a:lnTo>
                      <a:lnTo>
                        <a:pt x="569504" y="940228"/>
                      </a:lnTo>
                      <a:lnTo>
                        <a:pt x="569358" y="939730"/>
                      </a:lnTo>
                      <a:lnTo>
                        <a:pt x="568496" y="936597"/>
                      </a:lnTo>
                      <a:lnTo>
                        <a:pt x="568375" y="936148"/>
                      </a:lnTo>
                      <a:lnTo>
                        <a:pt x="568180" y="935723"/>
                      </a:lnTo>
                      <a:lnTo>
                        <a:pt x="567209" y="933561"/>
                      </a:lnTo>
                      <a:lnTo>
                        <a:pt x="566723" y="932480"/>
                      </a:lnTo>
                      <a:lnTo>
                        <a:pt x="565873" y="931667"/>
                      </a:lnTo>
                      <a:lnTo>
                        <a:pt x="564258" y="930125"/>
                      </a:lnTo>
                      <a:lnTo>
                        <a:pt x="563578" y="929469"/>
                      </a:lnTo>
                      <a:lnTo>
                        <a:pt x="562728" y="929056"/>
                      </a:lnTo>
                      <a:lnTo>
                        <a:pt x="561368" y="928388"/>
                      </a:lnTo>
                      <a:lnTo>
                        <a:pt x="560809" y="925523"/>
                      </a:lnTo>
                      <a:lnTo>
                        <a:pt x="559741" y="921855"/>
                      </a:lnTo>
                      <a:lnTo>
                        <a:pt x="559571" y="921285"/>
                      </a:lnTo>
                      <a:lnTo>
                        <a:pt x="559304" y="920763"/>
                      </a:lnTo>
                      <a:lnTo>
                        <a:pt x="556717" y="915857"/>
                      </a:lnTo>
                      <a:lnTo>
                        <a:pt x="556693" y="915310"/>
                      </a:lnTo>
                      <a:lnTo>
                        <a:pt x="558199" y="914217"/>
                      </a:lnTo>
                      <a:lnTo>
                        <a:pt x="558539" y="913962"/>
                      </a:lnTo>
                      <a:lnTo>
                        <a:pt x="558842" y="913671"/>
                      </a:lnTo>
                      <a:lnTo>
                        <a:pt x="560215" y="912348"/>
                      </a:lnTo>
                      <a:lnTo>
                        <a:pt x="560627" y="911959"/>
                      </a:lnTo>
                      <a:lnTo>
                        <a:pt x="560955" y="911510"/>
                      </a:lnTo>
                      <a:lnTo>
                        <a:pt x="562339" y="909567"/>
                      </a:lnTo>
                      <a:lnTo>
                        <a:pt x="562679" y="909081"/>
                      </a:lnTo>
                      <a:lnTo>
                        <a:pt x="562922" y="908535"/>
                      </a:lnTo>
                      <a:lnTo>
                        <a:pt x="565497" y="902815"/>
                      </a:lnTo>
                      <a:lnTo>
                        <a:pt x="565812" y="902269"/>
                      </a:lnTo>
                      <a:lnTo>
                        <a:pt x="566383" y="903969"/>
                      </a:lnTo>
                      <a:lnTo>
                        <a:pt x="566529" y="904382"/>
                      </a:lnTo>
                      <a:lnTo>
                        <a:pt x="566735" y="904770"/>
                      </a:lnTo>
                      <a:lnTo>
                        <a:pt x="568812" y="908814"/>
                      </a:lnTo>
                      <a:lnTo>
                        <a:pt x="569892" y="910915"/>
                      </a:lnTo>
                      <a:lnTo>
                        <a:pt x="572115" y="911728"/>
                      </a:lnTo>
                      <a:lnTo>
                        <a:pt x="577105" y="913562"/>
                      </a:lnTo>
                      <a:lnTo>
                        <a:pt x="578417" y="914047"/>
                      </a:lnTo>
                      <a:lnTo>
                        <a:pt x="579813" y="913902"/>
                      </a:lnTo>
                      <a:lnTo>
                        <a:pt x="583262" y="913562"/>
                      </a:lnTo>
                      <a:lnTo>
                        <a:pt x="583468" y="913732"/>
                      </a:lnTo>
                      <a:lnTo>
                        <a:pt x="583954" y="914642"/>
                      </a:lnTo>
                      <a:lnTo>
                        <a:pt x="584597" y="916197"/>
                      </a:lnTo>
                      <a:lnTo>
                        <a:pt x="584925" y="916950"/>
                      </a:lnTo>
                      <a:lnTo>
                        <a:pt x="585435" y="917593"/>
                      </a:lnTo>
                      <a:lnTo>
                        <a:pt x="586686" y="919148"/>
                      </a:lnTo>
                      <a:lnTo>
                        <a:pt x="588131" y="920933"/>
                      </a:lnTo>
                      <a:lnTo>
                        <a:pt x="590402" y="921321"/>
                      </a:lnTo>
                      <a:lnTo>
                        <a:pt x="593049" y="921770"/>
                      </a:lnTo>
                      <a:lnTo>
                        <a:pt x="595611" y="922207"/>
                      </a:lnTo>
                      <a:lnTo>
                        <a:pt x="597700" y="920641"/>
                      </a:lnTo>
                      <a:lnTo>
                        <a:pt x="600565" y="918492"/>
                      </a:lnTo>
                      <a:lnTo>
                        <a:pt x="601173" y="918043"/>
                      </a:lnTo>
                      <a:lnTo>
                        <a:pt x="601646" y="917447"/>
                      </a:lnTo>
                      <a:lnTo>
                        <a:pt x="602618" y="916257"/>
                      </a:lnTo>
                      <a:lnTo>
                        <a:pt x="604403" y="918237"/>
                      </a:lnTo>
                      <a:lnTo>
                        <a:pt x="608118" y="916051"/>
                      </a:lnTo>
                      <a:lnTo>
                        <a:pt x="608422" y="918589"/>
                      </a:lnTo>
                      <a:lnTo>
                        <a:pt x="608531" y="919451"/>
                      </a:lnTo>
                      <a:lnTo>
                        <a:pt x="608871" y="920253"/>
                      </a:lnTo>
                      <a:lnTo>
                        <a:pt x="609843" y="922523"/>
                      </a:lnTo>
                      <a:lnTo>
                        <a:pt x="610863" y="924903"/>
                      </a:lnTo>
                      <a:lnTo>
                        <a:pt x="613291" y="925802"/>
                      </a:lnTo>
                      <a:lnTo>
                        <a:pt x="615101" y="926494"/>
                      </a:lnTo>
                      <a:lnTo>
                        <a:pt x="615113" y="926506"/>
                      </a:lnTo>
                      <a:lnTo>
                        <a:pt x="615732" y="927478"/>
                      </a:lnTo>
                      <a:lnTo>
                        <a:pt x="616582" y="928825"/>
                      </a:lnTo>
                      <a:lnTo>
                        <a:pt x="617978" y="929578"/>
                      </a:lnTo>
                      <a:lnTo>
                        <a:pt x="619776" y="930550"/>
                      </a:lnTo>
                      <a:lnTo>
                        <a:pt x="623066" y="932335"/>
                      </a:lnTo>
                      <a:lnTo>
                        <a:pt x="626139" y="930185"/>
                      </a:lnTo>
                      <a:lnTo>
                        <a:pt x="628846" y="928303"/>
                      </a:lnTo>
                      <a:lnTo>
                        <a:pt x="629842" y="927757"/>
                      </a:lnTo>
                      <a:lnTo>
                        <a:pt x="635197" y="926640"/>
                      </a:lnTo>
                      <a:lnTo>
                        <a:pt x="635598" y="926567"/>
                      </a:lnTo>
                      <a:lnTo>
                        <a:pt x="636496" y="927162"/>
                      </a:lnTo>
                      <a:lnTo>
                        <a:pt x="638051" y="927295"/>
                      </a:lnTo>
                      <a:lnTo>
                        <a:pt x="639314" y="927405"/>
                      </a:lnTo>
                      <a:lnTo>
                        <a:pt x="640443" y="927502"/>
                      </a:lnTo>
                      <a:lnTo>
                        <a:pt x="641524" y="927198"/>
                      </a:lnTo>
                      <a:lnTo>
                        <a:pt x="643879" y="926506"/>
                      </a:lnTo>
                      <a:lnTo>
                        <a:pt x="644195" y="926409"/>
                      </a:lnTo>
                      <a:lnTo>
                        <a:pt x="644487" y="926287"/>
                      </a:lnTo>
                      <a:lnTo>
                        <a:pt x="648384" y="924685"/>
                      </a:lnTo>
                      <a:lnTo>
                        <a:pt x="648846" y="924490"/>
                      </a:lnTo>
                      <a:lnTo>
                        <a:pt x="649271" y="924223"/>
                      </a:lnTo>
                      <a:lnTo>
                        <a:pt x="654699" y="920872"/>
                      </a:lnTo>
                      <a:lnTo>
                        <a:pt x="656302" y="920495"/>
                      </a:lnTo>
                      <a:lnTo>
                        <a:pt x="656739" y="920508"/>
                      </a:lnTo>
                      <a:lnTo>
                        <a:pt x="659119" y="921807"/>
                      </a:lnTo>
                      <a:lnTo>
                        <a:pt x="660442" y="922535"/>
                      </a:lnTo>
                      <a:lnTo>
                        <a:pt x="661960" y="922560"/>
                      </a:lnTo>
                      <a:lnTo>
                        <a:pt x="663854" y="922584"/>
                      </a:lnTo>
                      <a:lnTo>
                        <a:pt x="664899" y="922596"/>
                      </a:lnTo>
                      <a:lnTo>
                        <a:pt x="665894" y="922256"/>
                      </a:lnTo>
                      <a:lnTo>
                        <a:pt x="667728" y="921624"/>
                      </a:lnTo>
                      <a:lnTo>
                        <a:pt x="668323" y="921418"/>
                      </a:lnTo>
                      <a:lnTo>
                        <a:pt x="668857" y="921102"/>
                      </a:lnTo>
                      <a:lnTo>
                        <a:pt x="671419" y="919584"/>
                      </a:lnTo>
                      <a:lnTo>
                        <a:pt x="672731" y="919257"/>
                      </a:lnTo>
                      <a:lnTo>
                        <a:pt x="673617" y="919172"/>
                      </a:lnTo>
                      <a:lnTo>
                        <a:pt x="673702" y="919196"/>
                      </a:lnTo>
                      <a:lnTo>
                        <a:pt x="673848" y="919269"/>
                      </a:lnTo>
                      <a:lnTo>
                        <a:pt x="676374" y="921673"/>
                      </a:lnTo>
                      <a:lnTo>
                        <a:pt x="676690" y="921965"/>
                      </a:lnTo>
                      <a:lnTo>
                        <a:pt x="677054" y="922220"/>
                      </a:lnTo>
                      <a:lnTo>
                        <a:pt x="678887" y="923507"/>
                      </a:lnTo>
                      <a:lnTo>
                        <a:pt x="679774" y="924126"/>
                      </a:lnTo>
                      <a:lnTo>
                        <a:pt x="680818" y="924405"/>
                      </a:lnTo>
                      <a:lnTo>
                        <a:pt x="682785" y="924927"/>
                      </a:lnTo>
                      <a:lnTo>
                        <a:pt x="683599" y="925146"/>
                      </a:lnTo>
                      <a:lnTo>
                        <a:pt x="684449" y="925134"/>
                      </a:lnTo>
                      <a:lnTo>
                        <a:pt x="688820" y="925061"/>
                      </a:lnTo>
                      <a:lnTo>
                        <a:pt x="690411" y="925268"/>
                      </a:lnTo>
                      <a:lnTo>
                        <a:pt x="695220" y="926409"/>
                      </a:lnTo>
                      <a:lnTo>
                        <a:pt x="696313" y="926664"/>
                      </a:lnTo>
                      <a:lnTo>
                        <a:pt x="697418" y="926518"/>
                      </a:lnTo>
                      <a:lnTo>
                        <a:pt x="699834" y="926203"/>
                      </a:lnTo>
                      <a:lnTo>
                        <a:pt x="700951" y="926045"/>
                      </a:lnTo>
                      <a:lnTo>
                        <a:pt x="701947" y="925498"/>
                      </a:lnTo>
                      <a:lnTo>
                        <a:pt x="703780" y="924490"/>
                      </a:lnTo>
                      <a:lnTo>
                        <a:pt x="704096" y="924308"/>
                      </a:lnTo>
                      <a:lnTo>
                        <a:pt x="704388" y="924102"/>
                      </a:lnTo>
                      <a:lnTo>
                        <a:pt x="708407" y="921236"/>
                      </a:lnTo>
                      <a:lnTo>
                        <a:pt x="709172" y="920678"/>
                      </a:lnTo>
                      <a:lnTo>
                        <a:pt x="709730" y="919925"/>
                      </a:lnTo>
                      <a:lnTo>
                        <a:pt x="710714" y="918613"/>
                      </a:lnTo>
                      <a:lnTo>
                        <a:pt x="712317" y="916464"/>
                      </a:lnTo>
                      <a:lnTo>
                        <a:pt x="711819" y="913829"/>
                      </a:lnTo>
                      <a:lnTo>
                        <a:pt x="711418" y="911704"/>
                      </a:lnTo>
                      <a:lnTo>
                        <a:pt x="711090" y="909992"/>
                      </a:lnTo>
                      <a:lnTo>
                        <a:pt x="709901" y="908717"/>
                      </a:lnTo>
                      <a:lnTo>
                        <a:pt x="708346" y="907041"/>
                      </a:lnTo>
                      <a:lnTo>
                        <a:pt x="707897" y="906543"/>
                      </a:lnTo>
                      <a:lnTo>
                        <a:pt x="707350" y="906179"/>
                      </a:lnTo>
                      <a:lnTo>
                        <a:pt x="704254" y="904030"/>
                      </a:lnTo>
                      <a:lnTo>
                        <a:pt x="703598" y="900799"/>
                      </a:lnTo>
                      <a:lnTo>
                        <a:pt x="703477" y="900229"/>
                      </a:lnTo>
                      <a:lnTo>
                        <a:pt x="703246" y="899682"/>
                      </a:lnTo>
                      <a:lnTo>
                        <a:pt x="702554" y="898007"/>
                      </a:lnTo>
                      <a:lnTo>
                        <a:pt x="702020" y="896719"/>
                      </a:lnTo>
                      <a:lnTo>
                        <a:pt x="700975" y="895797"/>
                      </a:lnTo>
                      <a:lnTo>
                        <a:pt x="700575" y="895445"/>
                      </a:lnTo>
                      <a:lnTo>
                        <a:pt x="700648" y="895335"/>
                      </a:lnTo>
                      <a:lnTo>
                        <a:pt x="701838" y="894182"/>
                      </a:lnTo>
                      <a:lnTo>
                        <a:pt x="702530" y="893514"/>
                      </a:lnTo>
                      <a:lnTo>
                        <a:pt x="702979" y="892676"/>
                      </a:lnTo>
                      <a:lnTo>
                        <a:pt x="703671" y="891389"/>
                      </a:lnTo>
                      <a:lnTo>
                        <a:pt x="704667" y="889543"/>
                      </a:lnTo>
                      <a:lnTo>
                        <a:pt x="704315" y="887479"/>
                      </a:lnTo>
                      <a:lnTo>
                        <a:pt x="704072" y="886082"/>
                      </a:lnTo>
                      <a:lnTo>
                        <a:pt x="703890" y="885038"/>
                      </a:lnTo>
                      <a:lnTo>
                        <a:pt x="703355" y="884103"/>
                      </a:lnTo>
                      <a:lnTo>
                        <a:pt x="703234" y="883884"/>
                      </a:lnTo>
                      <a:lnTo>
                        <a:pt x="703416" y="883253"/>
                      </a:lnTo>
                      <a:lnTo>
                        <a:pt x="703562" y="882731"/>
                      </a:lnTo>
                      <a:lnTo>
                        <a:pt x="703610" y="882197"/>
                      </a:lnTo>
                      <a:lnTo>
                        <a:pt x="703780" y="880557"/>
                      </a:lnTo>
                      <a:lnTo>
                        <a:pt x="703841" y="880035"/>
                      </a:lnTo>
                      <a:lnTo>
                        <a:pt x="703805" y="879501"/>
                      </a:lnTo>
                      <a:lnTo>
                        <a:pt x="703695" y="877898"/>
                      </a:lnTo>
                      <a:lnTo>
                        <a:pt x="703598" y="876465"/>
                      </a:lnTo>
                      <a:lnTo>
                        <a:pt x="702858" y="875214"/>
                      </a:lnTo>
                      <a:lnTo>
                        <a:pt x="701935" y="873660"/>
                      </a:lnTo>
                      <a:lnTo>
                        <a:pt x="701680" y="873247"/>
                      </a:lnTo>
                      <a:lnTo>
                        <a:pt x="701607" y="873162"/>
                      </a:lnTo>
                      <a:lnTo>
                        <a:pt x="709451" y="870916"/>
                      </a:lnTo>
                      <a:lnTo>
                        <a:pt x="710799" y="870539"/>
                      </a:lnTo>
                      <a:lnTo>
                        <a:pt x="711843" y="869604"/>
                      </a:lnTo>
                      <a:lnTo>
                        <a:pt x="715523" y="866301"/>
                      </a:lnTo>
                      <a:lnTo>
                        <a:pt x="716846" y="865099"/>
                      </a:lnTo>
                      <a:lnTo>
                        <a:pt x="717320" y="863375"/>
                      </a:lnTo>
                      <a:lnTo>
                        <a:pt x="717781" y="861699"/>
                      </a:lnTo>
                      <a:lnTo>
                        <a:pt x="717818" y="861614"/>
                      </a:lnTo>
                      <a:lnTo>
                        <a:pt x="718097" y="861444"/>
                      </a:lnTo>
                      <a:lnTo>
                        <a:pt x="721886" y="859963"/>
                      </a:lnTo>
                      <a:lnTo>
                        <a:pt x="722626" y="859671"/>
                      </a:lnTo>
                      <a:lnTo>
                        <a:pt x="723270" y="859198"/>
                      </a:lnTo>
                      <a:lnTo>
                        <a:pt x="724703" y="858141"/>
                      </a:lnTo>
                      <a:lnTo>
                        <a:pt x="725613" y="857473"/>
                      </a:lnTo>
                      <a:lnTo>
                        <a:pt x="726221" y="856514"/>
                      </a:lnTo>
                      <a:lnTo>
                        <a:pt x="727071" y="855191"/>
                      </a:lnTo>
                      <a:lnTo>
                        <a:pt x="727872" y="853928"/>
                      </a:lnTo>
                      <a:lnTo>
                        <a:pt x="727993" y="852434"/>
                      </a:lnTo>
                      <a:lnTo>
                        <a:pt x="728115" y="850928"/>
                      </a:lnTo>
                      <a:lnTo>
                        <a:pt x="728127" y="850819"/>
                      </a:lnTo>
                      <a:lnTo>
                        <a:pt x="728661" y="850661"/>
                      </a:lnTo>
                      <a:lnTo>
                        <a:pt x="729256" y="850333"/>
                      </a:lnTo>
                      <a:lnTo>
                        <a:pt x="730653" y="849556"/>
                      </a:lnTo>
                      <a:lnTo>
                        <a:pt x="731406" y="849131"/>
                      </a:lnTo>
                      <a:lnTo>
                        <a:pt x="732013" y="848500"/>
                      </a:lnTo>
                      <a:lnTo>
                        <a:pt x="732863" y="847638"/>
                      </a:lnTo>
                      <a:lnTo>
                        <a:pt x="733737" y="846751"/>
                      </a:lnTo>
                      <a:lnTo>
                        <a:pt x="734186" y="845598"/>
                      </a:lnTo>
                      <a:lnTo>
                        <a:pt x="734466" y="844881"/>
                      </a:lnTo>
                      <a:lnTo>
                        <a:pt x="735437" y="845391"/>
                      </a:lnTo>
                      <a:lnTo>
                        <a:pt x="736882" y="846144"/>
                      </a:lnTo>
                      <a:lnTo>
                        <a:pt x="738509" y="846071"/>
                      </a:lnTo>
                      <a:lnTo>
                        <a:pt x="741788" y="845926"/>
                      </a:lnTo>
                      <a:lnTo>
                        <a:pt x="742346" y="845889"/>
                      </a:lnTo>
                      <a:lnTo>
                        <a:pt x="742893" y="845768"/>
                      </a:lnTo>
                      <a:lnTo>
                        <a:pt x="743718" y="845573"/>
                      </a:lnTo>
                      <a:lnTo>
                        <a:pt x="745188" y="847625"/>
                      </a:lnTo>
                      <a:lnTo>
                        <a:pt x="745479" y="848038"/>
                      </a:lnTo>
                      <a:lnTo>
                        <a:pt x="745831" y="848391"/>
                      </a:lnTo>
                      <a:lnTo>
                        <a:pt x="747495" y="850066"/>
                      </a:lnTo>
                      <a:lnTo>
                        <a:pt x="748017" y="850589"/>
                      </a:lnTo>
                      <a:lnTo>
                        <a:pt x="748649" y="850977"/>
                      </a:lnTo>
                      <a:lnTo>
                        <a:pt x="750616" y="852167"/>
                      </a:lnTo>
                      <a:lnTo>
                        <a:pt x="754404" y="855482"/>
                      </a:lnTo>
                      <a:lnTo>
                        <a:pt x="755631" y="856551"/>
                      </a:lnTo>
                      <a:lnTo>
                        <a:pt x="757209" y="856866"/>
                      </a:lnTo>
                      <a:lnTo>
                        <a:pt x="760087" y="857449"/>
                      </a:lnTo>
                      <a:lnTo>
                        <a:pt x="765855" y="858615"/>
                      </a:lnTo>
                      <a:lnTo>
                        <a:pt x="767191" y="852884"/>
                      </a:lnTo>
                      <a:lnTo>
                        <a:pt x="769280" y="843958"/>
                      </a:lnTo>
                      <a:lnTo>
                        <a:pt x="770567" y="840583"/>
                      </a:lnTo>
                      <a:lnTo>
                        <a:pt x="771465" y="839016"/>
                      </a:lnTo>
                      <a:lnTo>
                        <a:pt x="771781" y="838761"/>
                      </a:lnTo>
                      <a:lnTo>
                        <a:pt x="774720" y="837413"/>
                      </a:lnTo>
                      <a:lnTo>
                        <a:pt x="777051" y="836114"/>
                      </a:lnTo>
                      <a:lnTo>
                        <a:pt x="777549" y="835835"/>
                      </a:lnTo>
                      <a:lnTo>
                        <a:pt x="777974" y="835458"/>
                      </a:lnTo>
                      <a:lnTo>
                        <a:pt x="779407" y="834220"/>
                      </a:lnTo>
                      <a:lnTo>
                        <a:pt x="780038" y="833686"/>
                      </a:lnTo>
                      <a:lnTo>
                        <a:pt x="780500" y="832993"/>
                      </a:lnTo>
                      <a:lnTo>
                        <a:pt x="781252" y="831864"/>
                      </a:lnTo>
                      <a:lnTo>
                        <a:pt x="782066" y="830650"/>
                      </a:lnTo>
                      <a:lnTo>
                        <a:pt x="782236" y="829205"/>
                      </a:lnTo>
                      <a:lnTo>
                        <a:pt x="782454" y="827371"/>
                      </a:lnTo>
                      <a:lnTo>
                        <a:pt x="782552" y="826558"/>
                      </a:lnTo>
                      <a:lnTo>
                        <a:pt x="782430" y="825756"/>
                      </a:lnTo>
                      <a:lnTo>
                        <a:pt x="782030" y="823072"/>
                      </a:lnTo>
                      <a:lnTo>
                        <a:pt x="781908" y="822320"/>
                      </a:lnTo>
                      <a:lnTo>
                        <a:pt x="781605" y="821615"/>
                      </a:lnTo>
                      <a:lnTo>
                        <a:pt x="781459" y="821263"/>
                      </a:lnTo>
                      <a:lnTo>
                        <a:pt x="787640" y="823012"/>
                      </a:lnTo>
                      <a:lnTo>
                        <a:pt x="788417" y="823230"/>
                      </a:lnTo>
                      <a:lnTo>
                        <a:pt x="789230" y="823243"/>
                      </a:lnTo>
                      <a:lnTo>
                        <a:pt x="791829" y="823267"/>
                      </a:lnTo>
                      <a:lnTo>
                        <a:pt x="793395" y="823279"/>
                      </a:lnTo>
                      <a:lnTo>
                        <a:pt x="794768" y="822526"/>
                      </a:lnTo>
                      <a:lnTo>
                        <a:pt x="797050" y="821287"/>
                      </a:lnTo>
                      <a:lnTo>
                        <a:pt x="798034" y="820765"/>
                      </a:lnTo>
                      <a:lnTo>
                        <a:pt x="798762" y="819927"/>
                      </a:lnTo>
                      <a:lnTo>
                        <a:pt x="800948" y="817402"/>
                      </a:lnTo>
                      <a:lnTo>
                        <a:pt x="801495" y="816758"/>
                      </a:lnTo>
                      <a:lnTo>
                        <a:pt x="801847" y="816005"/>
                      </a:lnTo>
                      <a:lnTo>
                        <a:pt x="804555" y="810225"/>
                      </a:lnTo>
                      <a:lnTo>
                        <a:pt x="804810" y="809691"/>
                      </a:lnTo>
                      <a:lnTo>
                        <a:pt x="804955" y="809120"/>
                      </a:lnTo>
                      <a:lnTo>
                        <a:pt x="805988" y="804980"/>
                      </a:lnTo>
                      <a:lnTo>
                        <a:pt x="806085" y="804567"/>
                      </a:lnTo>
                      <a:lnTo>
                        <a:pt x="806121" y="804154"/>
                      </a:lnTo>
                      <a:lnTo>
                        <a:pt x="806522" y="800365"/>
                      </a:lnTo>
                      <a:lnTo>
                        <a:pt x="806595" y="799685"/>
                      </a:lnTo>
                      <a:lnTo>
                        <a:pt x="806522" y="799005"/>
                      </a:lnTo>
                      <a:lnTo>
                        <a:pt x="805915" y="793881"/>
                      </a:lnTo>
                      <a:lnTo>
                        <a:pt x="805915" y="791695"/>
                      </a:lnTo>
                      <a:lnTo>
                        <a:pt x="806182" y="790104"/>
                      </a:lnTo>
                      <a:lnTo>
                        <a:pt x="808453" y="780779"/>
                      </a:lnTo>
                      <a:lnTo>
                        <a:pt x="808562" y="780329"/>
                      </a:lnTo>
                      <a:lnTo>
                        <a:pt x="808598" y="779868"/>
                      </a:lnTo>
                      <a:lnTo>
                        <a:pt x="808817" y="777245"/>
                      </a:lnTo>
                      <a:lnTo>
                        <a:pt x="808841" y="774319"/>
                      </a:lnTo>
                      <a:lnTo>
                        <a:pt x="808841" y="773979"/>
                      </a:lnTo>
                      <a:lnTo>
                        <a:pt x="808805" y="773639"/>
                      </a:lnTo>
                      <a:lnTo>
                        <a:pt x="808198" y="768271"/>
                      </a:lnTo>
                      <a:lnTo>
                        <a:pt x="808950" y="767688"/>
                      </a:lnTo>
                      <a:lnTo>
                        <a:pt x="813917" y="765879"/>
                      </a:lnTo>
                      <a:lnTo>
                        <a:pt x="816273" y="765624"/>
                      </a:lnTo>
                      <a:lnTo>
                        <a:pt x="820571" y="766317"/>
                      </a:lnTo>
                      <a:lnTo>
                        <a:pt x="821215" y="766426"/>
                      </a:lnTo>
                      <a:lnTo>
                        <a:pt x="821870" y="766389"/>
                      </a:lnTo>
                      <a:lnTo>
                        <a:pt x="823425" y="766304"/>
                      </a:lnTo>
                      <a:lnTo>
                        <a:pt x="824445" y="766256"/>
                      </a:lnTo>
                      <a:lnTo>
                        <a:pt x="825392" y="765867"/>
                      </a:lnTo>
                      <a:lnTo>
                        <a:pt x="827226" y="765114"/>
                      </a:lnTo>
                      <a:lnTo>
                        <a:pt x="827553" y="764981"/>
                      </a:lnTo>
                      <a:lnTo>
                        <a:pt x="827857" y="764799"/>
                      </a:lnTo>
                      <a:lnTo>
                        <a:pt x="829569" y="763864"/>
                      </a:lnTo>
                      <a:lnTo>
                        <a:pt x="830358" y="763633"/>
                      </a:lnTo>
                      <a:lnTo>
                        <a:pt x="830966" y="763608"/>
                      </a:lnTo>
                      <a:lnTo>
                        <a:pt x="834074" y="764106"/>
                      </a:lnTo>
                      <a:lnTo>
                        <a:pt x="835179" y="764288"/>
                      </a:lnTo>
                      <a:lnTo>
                        <a:pt x="836272" y="764058"/>
                      </a:lnTo>
                      <a:lnTo>
                        <a:pt x="838276" y="763645"/>
                      </a:lnTo>
                      <a:lnTo>
                        <a:pt x="839648" y="763366"/>
                      </a:lnTo>
                      <a:lnTo>
                        <a:pt x="840765" y="762504"/>
                      </a:lnTo>
                      <a:lnTo>
                        <a:pt x="842198" y="761386"/>
                      </a:lnTo>
                      <a:lnTo>
                        <a:pt x="843594" y="760306"/>
                      </a:lnTo>
                      <a:lnTo>
                        <a:pt x="844189" y="758630"/>
                      </a:lnTo>
                      <a:lnTo>
                        <a:pt x="844991" y="756383"/>
                      </a:lnTo>
                      <a:lnTo>
                        <a:pt x="845173" y="755886"/>
                      </a:lnTo>
                      <a:lnTo>
                        <a:pt x="845258" y="755351"/>
                      </a:lnTo>
                      <a:lnTo>
                        <a:pt x="845525" y="753724"/>
                      </a:lnTo>
                      <a:lnTo>
                        <a:pt x="845841" y="752717"/>
                      </a:lnTo>
                      <a:lnTo>
                        <a:pt x="846363" y="751915"/>
                      </a:lnTo>
                      <a:lnTo>
                        <a:pt x="848099" y="750166"/>
                      </a:lnTo>
                      <a:lnTo>
                        <a:pt x="858226" y="742492"/>
                      </a:lnTo>
                      <a:lnTo>
                        <a:pt x="862076" y="740877"/>
                      </a:lnTo>
                      <a:lnTo>
                        <a:pt x="863375" y="740598"/>
                      </a:lnTo>
                      <a:lnTo>
                        <a:pt x="864116" y="740428"/>
                      </a:lnTo>
                      <a:lnTo>
                        <a:pt x="864796" y="740100"/>
                      </a:lnTo>
                      <a:lnTo>
                        <a:pt x="866217" y="739383"/>
                      </a:lnTo>
                      <a:lnTo>
                        <a:pt x="867564" y="738703"/>
                      </a:lnTo>
                      <a:lnTo>
                        <a:pt x="868439" y="737477"/>
                      </a:lnTo>
                      <a:lnTo>
                        <a:pt x="869592" y="735862"/>
                      </a:lnTo>
                      <a:lnTo>
                        <a:pt x="870163" y="735073"/>
                      </a:lnTo>
                      <a:lnTo>
                        <a:pt x="870454" y="734126"/>
                      </a:lnTo>
                      <a:lnTo>
                        <a:pt x="871159" y="731855"/>
                      </a:lnTo>
                      <a:lnTo>
                        <a:pt x="871414" y="731053"/>
                      </a:lnTo>
                      <a:lnTo>
                        <a:pt x="871438" y="730215"/>
                      </a:lnTo>
                      <a:lnTo>
                        <a:pt x="871535" y="725905"/>
                      </a:lnTo>
                      <a:lnTo>
                        <a:pt x="871547" y="725286"/>
                      </a:lnTo>
                      <a:lnTo>
                        <a:pt x="871438" y="724678"/>
                      </a:lnTo>
                      <a:lnTo>
                        <a:pt x="870600" y="720076"/>
                      </a:lnTo>
                      <a:lnTo>
                        <a:pt x="870843" y="718825"/>
                      </a:lnTo>
                      <a:lnTo>
                        <a:pt x="871110" y="717951"/>
                      </a:lnTo>
                      <a:lnTo>
                        <a:pt x="875542" y="711941"/>
                      </a:lnTo>
                      <a:lnTo>
                        <a:pt x="876429" y="711576"/>
                      </a:lnTo>
                      <a:lnTo>
                        <a:pt x="876793" y="711527"/>
                      </a:lnTo>
                      <a:lnTo>
                        <a:pt x="877388" y="711564"/>
                      </a:lnTo>
                      <a:lnTo>
                        <a:pt x="878007" y="711795"/>
                      </a:lnTo>
                      <a:lnTo>
                        <a:pt x="878797" y="712341"/>
                      </a:lnTo>
                      <a:lnTo>
                        <a:pt x="880108" y="713750"/>
                      </a:lnTo>
                      <a:lnTo>
                        <a:pt x="880302" y="714126"/>
                      </a:lnTo>
                      <a:lnTo>
                        <a:pt x="880400" y="714575"/>
                      </a:lnTo>
                      <a:lnTo>
                        <a:pt x="880242" y="722687"/>
                      </a:lnTo>
                      <a:lnTo>
                        <a:pt x="880242" y="723002"/>
                      </a:lnTo>
                      <a:lnTo>
                        <a:pt x="880266" y="723330"/>
                      </a:lnTo>
                      <a:lnTo>
                        <a:pt x="880436" y="725286"/>
                      </a:lnTo>
                      <a:lnTo>
                        <a:pt x="880484" y="725844"/>
                      </a:lnTo>
                      <a:lnTo>
                        <a:pt x="880642" y="726391"/>
                      </a:lnTo>
                      <a:lnTo>
                        <a:pt x="881164" y="728248"/>
                      </a:lnTo>
                      <a:lnTo>
                        <a:pt x="881784" y="730458"/>
                      </a:lnTo>
                      <a:lnTo>
                        <a:pt x="883715" y="731721"/>
                      </a:lnTo>
                      <a:lnTo>
                        <a:pt x="885487" y="732875"/>
                      </a:lnTo>
                      <a:lnTo>
                        <a:pt x="885864" y="733130"/>
                      </a:lnTo>
                      <a:lnTo>
                        <a:pt x="886289" y="733312"/>
                      </a:lnTo>
                      <a:lnTo>
                        <a:pt x="889276" y="734660"/>
                      </a:lnTo>
                      <a:lnTo>
                        <a:pt x="889580" y="734806"/>
                      </a:lnTo>
                      <a:lnTo>
                        <a:pt x="889895" y="734915"/>
                      </a:lnTo>
                      <a:lnTo>
                        <a:pt x="896003" y="736906"/>
                      </a:lnTo>
                      <a:lnTo>
                        <a:pt x="896428" y="737113"/>
                      </a:lnTo>
                      <a:lnTo>
                        <a:pt x="896525" y="738072"/>
                      </a:lnTo>
                      <a:lnTo>
                        <a:pt x="896586" y="738679"/>
                      </a:lnTo>
                      <a:lnTo>
                        <a:pt x="896768" y="739262"/>
                      </a:lnTo>
                      <a:lnTo>
                        <a:pt x="897230" y="740756"/>
                      </a:lnTo>
                      <a:lnTo>
                        <a:pt x="897618" y="742006"/>
                      </a:lnTo>
                      <a:lnTo>
                        <a:pt x="898468" y="742978"/>
                      </a:lnTo>
                      <a:lnTo>
                        <a:pt x="899500" y="744156"/>
                      </a:lnTo>
                      <a:lnTo>
                        <a:pt x="900702" y="745528"/>
                      </a:lnTo>
                      <a:lnTo>
                        <a:pt x="902463" y="746001"/>
                      </a:lnTo>
                      <a:lnTo>
                        <a:pt x="904248" y="746487"/>
                      </a:lnTo>
                      <a:lnTo>
                        <a:pt x="905572" y="746839"/>
                      </a:lnTo>
                      <a:lnTo>
                        <a:pt x="906920" y="746596"/>
                      </a:lnTo>
                      <a:lnTo>
                        <a:pt x="909615" y="746111"/>
                      </a:lnTo>
                      <a:lnTo>
                        <a:pt x="910939" y="745868"/>
                      </a:lnTo>
                      <a:lnTo>
                        <a:pt x="912044" y="745091"/>
                      </a:lnTo>
                      <a:lnTo>
                        <a:pt x="914958" y="743026"/>
                      </a:lnTo>
                      <a:lnTo>
                        <a:pt x="915432" y="742698"/>
                      </a:lnTo>
                      <a:lnTo>
                        <a:pt x="915833" y="742286"/>
                      </a:lnTo>
                      <a:lnTo>
                        <a:pt x="917982" y="740051"/>
                      </a:lnTo>
                      <a:lnTo>
                        <a:pt x="924381" y="741096"/>
                      </a:lnTo>
                      <a:lnTo>
                        <a:pt x="951885" y="745576"/>
                      </a:lnTo>
                      <a:lnTo>
                        <a:pt x="931934" y="732195"/>
                      </a:lnTo>
                      <a:lnTo>
                        <a:pt x="932007" y="731940"/>
                      </a:lnTo>
                      <a:lnTo>
                        <a:pt x="932056" y="731357"/>
                      </a:lnTo>
                      <a:lnTo>
                        <a:pt x="932177" y="730009"/>
                      </a:lnTo>
                      <a:lnTo>
                        <a:pt x="932371" y="727933"/>
                      </a:lnTo>
                      <a:lnTo>
                        <a:pt x="931254" y="726184"/>
                      </a:lnTo>
                      <a:lnTo>
                        <a:pt x="930161" y="724460"/>
                      </a:lnTo>
                      <a:lnTo>
                        <a:pt x="928959" y="722832"/>
                      </a:lnTo>
                      <a:lnTo>
                        <a:pt x="928364" y="722055"/>
                      </a:lnTo>
                      <a:lnTo>
                        <a:pt x="927551" y="721497"/>
                      </a:lnTo>
                      <a:lnTo>
                        <a:pt x="924964" y="719724"/>
                      </a:lnTo>
                      <a:lnTo>
                        <a:pt x="925000" y="719688"/>
                      </a:lnTo>
                      <a:lnTo>
                        <a:pt x="926531" y="718194"/>
                      </a:lnTo>
                      <a:lnTo>
                        <a:pt x="927101" y="717635"/>
                      </a:lnTo>
                      <a:lnTo>
                        <a:pt x="927514" y="716931"/>
                      </a:lnTo>
                      <a:lnTo>
                        <a:pt x="928668" y="714976"/>
                      </a:lnTo>
                      <a:lnTo>
                        <a:pt x="929117" y="714223"/>
                      </a:lnTo>
                      <a:lnTo>
                        <a:pt x="929336" y="713373"/>
                      </a:lnTo>
                      <a:lnTo>
                        <a:pt x="930088" y="710386"/>
                      </a:lnTo>
                      <a:lnTo>
                        <a:pt x="930210" y="709888"/>
                      </a:lnTo>
                      <a:lnTo>
                        <a:pt x="930246" y="709378"/>
                      </a:lnTo>
                      <a:lnTo>
                        <a:pt x="930513" y="706015"/>
                      </a:lnTo>
                      <a:lnTo>
                        <a:pt x="930878" y="705505"/>
                      </a:lnTo>
                      <a:lnTo>
                        <a:pt x="931606" y="704497"/>
                      </a:lnTo>
                      <a:lnTo>
                        <a:pt x="931885" y="703295"/>
                      </a:lnTo>
                      <a:lnTo>
                        <a:pt x="932286" y="701534"/>
                      </a:lnTo>
                      <a:lnTo>
                        <a:pt x="932553" y="700356"/>
                      </a:lnTo>
                      <a:lnTo>
                        <a:pt x="932359" y="699166"/>
                      </a:lnTo>
                      <a:lnTo>
                        <a:pt x="932335" y="698960"/>
                      </a:lnTo>
                      <a:lnTo>
                        <a:pt x="933513" y="697818"/>
                      </a:lnTo>
                      <a:lnTo>
                        <a:pt x="933816" y="697527"/>
                      </a:lnTo>
                      <a:lnTo>
                        <a:pt x="934083" y="697199"/>
                      </a:lnTo>
                      <a:lnTo>
                        <a:pt x="935116" y="695887"/>
                      </a:lnTo>
                      <a:lnTo>
                        <a:pt x="935480" y="695426"/>
                      </a:lnTo>
                      <a:lnTo>
                        <a:pt x="935747" y="694904"/>
                      </a:lnTo>
                      <a:lnTo>
                        <a:pt x="936597" y="693240"/>
                      </a:lnTo>
                      <a:lnTo>
                        <a:pt x="937107" y="692500"/>
                      </a:lnTo>
                      <a:lnTo>
                        <a:pt x="937738" y="691929"/>
                      </a:lnTo>
                      <a:lnTo>
                        <a:pt x="938042" y="691783"/>
                      </a:lnTo>
                      <a:lnTo>
                        <a:pt x="938564" y="691638"/>
                      </a:lnTo>
                      <a:lnTo>
                        <a:pt x="945668" y="691164"/>
                      </a:lnTo>
                      <a:lnTo>
                        <a:pt x="948108" y="690787"/>
                      </a:lnTo>
                      <a:lnTo>
                        <a:pt x="948521" y="690714"/>
                      </a:lnTo>
                      <a:lnTo>
                        <a:pt x="948922" y="690593"/>
                      </a:lnTo>
                      <a:lnTo>
                        <a:pt x="950756" y="690022"/>
                      </a:lnTo>
                      <a:lnTo>
                        <a:pt x="951424" y="689804"/>
                      </a:lnTo>
                      <a:lnTo>
                        <a:pt x="952031" y="689452"/>
                      </a:lnTo>
                      <a:lnTo>
                        <a:pt x="953646" y="688504"/>
                      </a:lnTo>
                      <a:lnTo>
                        <a:pt x="954605" y="687946"/>
                      </a:lnTo>
                      <a:lnTo>
                        <a:pt x="955297" y="687084"/>
                      </a:lnTo>
                      <a:lnTo>
                        <a:pt x="956779" y="685250"/>
                      </a:lnTo>
                      <a:lnTo>
                        <a:pt x="957240" y="684679"/>
                      </a:lnTo>
                      <a:lnTo>
                        <a:pt x="957556" y="684024"/>
                      </a:lnTo>
                      <a:lnTo>
                        <a:pt x="958758" y="681462"/>
                      </a:lnTo>
                      <a:lnTo>
                        <a:pt x="958989" y="680976"/>
                      </a:lnTo>
                      <a:lnTo>
                        <a:pt x="959122" y="680466"/>
                      </a:lnTo>
                      <a:lnTo>
                        <a:pt x="960458" y="675560"/>
                      </a:lnTo>
                      <a:lnTo>
                        <a:pt x="960664" y="674819"/>
                      </a:lnTo>
                      <a:lnTo>
                        <a:pt x="960676" y="674066"/>
                      </a:lnTo>
                      <a:lnTo>
                        <a:pt x="960725" y="671201"/>
                      </a:lnTo>
                      <a:lnTo>
                        <a:pt x="960725" y="670715"/>
                      </a:lnTo>
                      <a:lnTo>
                        <a:pt x="960652" y="670230"/>
                      </a:lnTo>
                      <a:lnTo>
                        <a:pt x="960300" y="667849"/>
                      </a:lnTo>
                      <a:lnTo>
                        <a:pt x="960227" y="667315"/>
                      </a:lnTo>
                      <a:lnTo>
                        <a:pt x="960057" y="666817"/>
                      </a:lnTo>
                      <a:lnTo>
                        <a:pt x="959632" y="665542"/>
                      </a:lnTo>
                      <a:lnTo>
                        <a:pt x="959584" y="665226"/>
                      </a:lnTo>
                      <a:lnTo>
                        <a:pt x="959681" y="665069"/>
                      </a:lnTo>
                      <a:lnTo>
                        <a:pt x="960616" y="664279"/>
                      </a:lnTo>
                      <a:lnTo>
                        <a:pt x="960907" y="664170"/>
                      </a:lnTo>
                      <a:lnTo>
                        <a:pt x="961441" y="664121"/>
                      </a:lnTo>
                      <a:lnTo>
                        <a:pt x="965291" y="664498"/>
                      </a:lnTo>
                      <a:lnTo>
                        <a:pt x="966639" y="664559"/>
                      </a:lnTo>
                      <a:lnTo>
                        <a:pt x="967404" y="664583"/>
                      </a:lnTo>
                      <a:lnTo>
                        <a:pt x="968156" y="664413"/>
                      </a:lnTo>
                      <a:lnTo>
                        <a:pt x="969237" y="664170"/>
                      </a:lnTo>
                      <a:lnTo>
                        <a:pt x="971569" y="663660"/>
                      </a:lnTo>
                      <a:lnTo>
                        <a:pt x="972929" y="661693"/>
                      </a:lnTo>
                      <a:lnTo>
                        <a:pt x="974434" y="659507"/>
                      </a:lnTo>
                      <a:lnTo>
                        <a:pt x="974750" y="659058"/>
                      </a:lnTo>
                      <a:lnTo>
                        <a:pt x="974981" y="658548"/>
                      </a:lnTo>
                      <a:lnTo>
                        <a:pt x="980530" y="646210"/>
                      </a:lnTo>
                      <a:lnTo>
                        <a:pt x="982255" y="643284"/>
                      </a:lnTo>
                      <a:lnTo>
                        <a:pt x="982789" y="642580"/>
                      </a:lnTo>
                      <a:lnTo>
                        <a:pt x="983517" y="642240"/>
                      </a:lnTo>
                      <a:lnTo>
                        <a:pt x="983809" y="642094"/>
                      </a:lnTo>
                      <a:lnTo>
                        <a:pt x="984088" y="641924"/>
                      </a:lnTo>
                      <a:lnTo>
                        <a:pt x="986286" y="640589"/>
                      </a:lnTo>
                      <a:lnTo>
                        <a:pt x="986517" y="640491"/>
                      </a:lnTo>
                      <a:lnTo>
                        <a:pt x="987512" y="640503"/>
                      </a:lnTo>
                      <a:lnTo>
                        <a:pt x="988496" y="640516"/>
                      </a:lnTo>
                      <a:lnTo>
                        <a:pt x="989431" y="640224"/>
                      </a:lnTo>
                      <a:lnTo>
                        <a:pt x="993110" y="639046"/>
                      </a:lnTo>
                      <a:lnTo>
                        <a:pt x="993511" y="638913"/>
                      </a:lnTo>
                      <a:lnTo>
                        <a:pt x="993887" y="638730"/>
                      </a:lnTo>
                      <a:lnTo>
                        <a:pt x="995102" y="638148"/>
                      </a:lnTo>
                      <a:lnTo>
                        <a:pt x="998550" y="636496"/>
                      </a:lnTo>
                      <a:lnTo>
                        <a:pt x="998550" y="632671"/>
                      </a:lnTo>
                      <a:lnTo>
                        <a:pt x="998550" y="630437"/>
                      </a:lnTo>
                      <a:lnTo>
                        <a:pt x="998550" y="629866"/>
                      </a:lnTo>
                      <a:lnTo>
                        <a:pt x="998441" y="629296"/>
                      </a:lnTo>
                      <a:lnTo>
                        <a:pt x="998210" y="628081"/>
                      </a:lnTo>
                      <a:lnTo>
                        <a:pt x="997943" y="626661"/>
                      </a:lnTo>
                      <a:lnTo>
                        <a:pt x="997057" y="625507"/>
                      </a:lnTo>
                      <a:lnTo>
                        <a:pt x="995745" y="623807"/>
                      </a:lnTo>
                      <a:lnTo>
                        <a:pt x="995466" y="623442"/>
                      </a:lnTo>
                      <a:lnTo>
                        <a:pt x="995126" y="623127"/>
                      </a:lnTo>
                      <a:lnTo>
                        <a:pt x="993851" y="621913"/>
                      </a:lnTo>
                      <a:lnTo>
                        <a:pt x="993535" y="621621"/>
                      </a:lnTo>
                      <a:lnTo>
                        <a:pt x="993183" y="621366"/>
                      </a:lnTo>
                      <a:lnTo>
                        <a:pt x="985727" y="616084"/>
                      </a:lnTo>
                      <a:lnTo>
                        <a:pt x="985023" y="615331"/>
                      </a:lnTo>
                      <a:lnTo>
                        <a:pt x="984999" y="615161"/>
                      </a:lnTo>
                      <a:lnTo>
                        <a:pt x="985229" y="613522"/>
                      </a:lnTo>
                      <a:lnTo>
                        <a:pt x="985387" y="612393"/>
                      </a:lnTo>
                      <a:lnTo>
                        <a:pt x="985132" y="611288"/>
                      </a:lnTo>
                      <a:lnTo>
                        <a:pt x="984732" y="609588"/>
                      </a:lnTo>
                      <a:lnTo>
                        <a:pt x="984234" y="607474"/>
                      </a:lnTo>
                      <a:lnTo>
                        <a:pt x="982509" y="606163"/>
                      </a:lnTo>
                      <a:lnTo>
                        <a:pt x="981538" y="605410"/>
                      </a:lnTo>
                      <a:lnTo>
                        <a:pt x="980020" y="604245"/>
                      </a:lnTo>
                      <a:lnTo>
                        <a:pt x="978296" y="604160"/>
                      </a:lnTo>
                      <a:lnTo>
                        <a:pt x="978126" y="603419"/>
                      </a:lnTo>
                      <a:lnTo>
                        <a:pt x="977871" y="602326"/>
                      </a:lnTo>
                      <a:lnTo>
                        <a:pt x="977252" y="601391"/>
                      </a:lnTo>
                      <a:lnTo>
                        <a:pt x="976559" y="600359"/>
                      </a:lnTo>
                      <a:lnTo>
                        <a:pt x="975867" y="599339"/>
                      </a:lnTo>
                      <a:lnTo>
                        <a:pt x="974835" y="598659"/>
                      </a:lnTo>
                      <a:lnTo>
                        <a:pt x="973912" y="598052"/>
                      </a:lnTo>
                      <a:lnTo>
                        <a:pt x="972771" y="597311"/>
                      </a:lnTo>
                      <a:lnTo>
                        <a:pt x="971423" y="597117"/>
                      </a:lnTo>
                      <a:lnTo>
                        <a:pt x="970391" y="596971"/>
                      </a:lnTo>
                      <a:lnTo>
                        <a:pt x="970391" y="596971"/>
                      </a:lnTo>
                      <a:lnTo>
                        <a:pt x="970196" y="595963"/>
                      </a:lnTo>
                      <a:lnTo>
                        <a:pt x="969577" y="593607"/>
                      </a:lnTo>
                      <a:lnTo>
                        <a:pt x="969274" y="592758"/>
                      </a:lnTo>
                      <a:lnTo>
                        <a:pt x="969407" y="592648"/>
                      </a:lnTo>
                      <a:lnTo>
                        <a:pt x="971241" y="591106"/>
                      </a:lnTo>
                      <a:lnTo>
                        <a:pt x="973681" y="588726"/>
                      </a:lnTo>
                      <a:lnTo>
                        <a:pt x="973961" y="588447"/>
                      </a:lnTo>
                      <a:lnTo>
                        <a:pt x="974204" y="588131"/>
                      </a:lnTo>
                      <a:lnTo>
                        <a:pt x="976414" y="585289"/>
                      </a:lnTo>
                      <a:lnTo>
                        <a:pt x="977421" y="584245"/>
                      </a:lnTo>
                      <a:lnTo>
                        <a:pt x="977871" y="583918"/>
                      </a:lnTo>
                      <a:lnTo>
                        <a:pt x="979158" y="583346"/>
                      </a:lnTo>
                      <a:lnTo>
                        <a:pt x="979668" y="583116"/>
                      </a:lnTo>
                      <a:lnTo>
                        <a:pt x="980129" y="582800"/>
                      </a:lnTo>
                      <a:lnTo>
                        <a:pt x="981210" y="582047"/>
                      </a:lnTo>
                      <a:lnTo>
                        <a:pt x="982364" y="581258"/>
                      </a:lnTo>
                      <a:lnTo>
                        <a:pt x="983056" y="580019"/>
                      </a:lnTo>
                      <a:lnTo>
                        <a:pt x="983639" y="578987"/>
                      </a:lnTo>
                      <a:lnTo>
                        <a:pt x="984477" y="577494"/>
                      </a:lnTo>
                      <a:lnTo>
                        <a:pt x="984416" y="575782"/>
                      </a:lnTo>
                      <a:lnTo>
                        <a:pt x="984355" y="574179"/>
                      </a:lnTo>
                      <a:lnTo>
                        <a:pt x="984331" y="573547"/>
                      </a:lnTo>
                      <a:lnTo>
                        <a:pt x="984185" y="572940"/>
                      </a:lnTo>
                      <a:lnTo>
                        <a:pt x="983833" y="571507"/>
                      </a:lnTo>
                      <a:lnTo>
                        <a:pt x="983748" y="571167"/>
                      </a:lnTo>
                      <a:lnTo>
                        <a:pt x="983627" y="570827"/>
                      </a:lnTo>
                      <a:lnTo>
                        <a:pt x="983578" y="570694"/>
                      </a:lnTo>
                      <a:lnTo>
                        <a:pt x="983578" y="570681"/>
                      </a:lnTo>
                      <a:lnTo>
                        <a:pt x="983930" y="569285"/>
                      </a:lnTo>
                      <a:lnTo>
                        <a:pt x="985691" y="564719"/>
                      </a:lnTo>
                      <a:lnTo>
                        <a:pt x="987464" y="558587"/>
                      </a:lnTo>
                      <a:lnTo>
                        <a:pt x="987974" y="557689"/>
                      </a:lnTo>
                      <a:lnTo>
                        <a:pt x="989249" y="555940"/>
                      </a:lnTo>
                      <a:lnTo>
                        <a:pt x="992880" y="551909"/>
                      </a:lnTo>
                      <a:lnTo>
                        <a:pt x="994106" y="550549"/>
                      </a:lnTo>
                      <a:lnTo>
                        <a:pt x="994361" y="548727"/>
                      </a:lnTo>
                      <a:lnTo>
                        <a:pt x="994592" y="547149"/>
                      </a:lnTo>
                      <a:lnTo>
                        <a:pt x="995053" y="543955"/>
                      </a:lnTo>
                      <a:lnTo>
                        <a:pt x="993402" y="542462"/>
                      </a:lnTo>
                      <a:lnTo>
                        <a:pt x="993827" y="542316"/>
                      </a:lnTo>
                      <a:lnTo>
                        <a:pt x="994446" y="542206"/>
                      </a:lnTo>
                      <a:lnTo>
                        <a:pt x="994689" y="542218"/>
                      </a:lnTo>
                      <a:lnTo>
                        <a:pt x="995429" y="542376"/>
                      </a:lnTo>
                      <a:lnTo>
                        <a:pt x="998344" y="543409"/>
                      </a:lnTo>
                      <a:lnTo>
                        <a:pt x="998987" y="543639"/>
                      </a:lnTo>
                      <a:lnTo>
                        <a:pt x="999655" y="543724"/>
                      </a:lnTo>
                      <a:lnTo>
                        <a:pt x="1001380" y="543931"/>
                      </a:lnTo>
                      <a:lnTo>
                        <a:pt x="1002132" y="544016"/>
                      </a:lnTo>
                      <a:lnTo>
                        <a:pt x="1002873" y="543919"/>
                      </a:lnTo>
                      <a:lnTo>
                        <a:pt x="1004136" y="543749"/>
                      </a:lnTo>
                      <a:lnTo>
                        <a:pt x="1006662" y="547744"/>
                      </a:lnTo>
                      <a:lnTo>
                        <a:pt x="1006990" y="548254"/>
                      </a:lnTo>
                      <a:lnTo>
                        <a:pt x="1007415" y="548691"/>
                      </a:lnTo>
                      <a:lnTo>
                        <a:pt x="1009309" y="550670"/>
                      </a:lnTo>
                      <a:lnTo>
                        <a:pt x="1009746" y="551131"/>
                      </a:lnTo>
                      <a:lnTo>
                        <a:pt x="1010268" y="551484"/>
                      </a:lnTo>
                      <a:lnTo>
                        <a:pt x="1012503" y="553001"/>
                      </a:lnTo>
                      <a:lnTo>
                        <a:pt x="1013073" y="553390"/>
                      </a:lnTo>
                      <a:lnTo>
                        <a:pt x="1013717" y="553645"/>
                      </a:lnTo>
                      <a:lnTo>
                        <a:pt x="1016376" y="554677"/>
                      </a:lnTo>
                      <a:lnTo>
                        <a:pt x="1017129" y="554969"/>
                      </a:lnTo>
                      <a:lnTo>
                        <a:pt x="1017918" y="555054"/>
                      </a:lnTo>
                      <a:lnTo>
                        <a:pt x="1020323" y="555309"/>
                      </a:lnTo>
                      <a:lnTo>
                        <a:pt x="1021039" y="555394"/>
                      </a:lnTo>
                      <a:lnTo>
                        <a:pt x="1021755" y="555296"/>
                      </a:lnTo>
                      <a:lnTo>
                        <a:pt x="1024002" y="555017"/>
                      </a:lnTo>
                      <a:lnTo>
                        <a:pt x="1024318" y="554969"/>
                      </a:lnTo>
                      <a:lnTo>
                        <a:pt x="1024633" y="554896"/>
                      </a:lnTo>
                      <a:lnTo>
                        <a:pt x="1027463" y="554216"/>
                      </a:lnTo>
                      <a:lnTo>
                        <a:pt x="1027511" y="554216"/>
                      </a:lnTo>
                      <a:lnTo>
                        <a:pt x="1029320" y="554823"/>
                      </a:lnTo>
                      <a:lnTo>
                        <a:pt x="1029648" y="554944"/>
                      </a:lnTo>
                      <a:lnTo>
                        <a:pt x="1029988" y="555017"/>
                      </a:lnTo>
                      <a:lnTo>
                        <a:pt x="1032004" y="555442"/>
                      </a:lnTo>
                      <a:lnTo>
                        <a:pt x="1032538" y="555552"/>
                      </a:lnTo>
                      <a:lnTo>
                        <a:pt x="1033085" y="555576"/>
                      </a:lnTo>
                      <a:lnTo>
                        <a:pt x="1038306" y="555734"/>
                      </a:lnTo>
                      <a:lnTo>
                        <a:pt x="1038962" y="555746"/>
                      </a:lnTo>
                      <a:lnTo>
                        <a:pt x="1039606" y="555624"/>
                      </a:lnTo>
                      <a:lnTo>
                        <a:pt x="1041609" y="555248"/>
                      </a:lnTo>
                      <a:lnTo>
                        <a:pt x="1043163" y="554957"/>
                      </a:lnTo>
                      <a:lnTo>
                        <a:pt x="1044378" y="553949"/>
                      </a:lnTo>
                      <a:lnTo>
                        <a:pt x="1045641" y="552892"/>
                      </a:lnTo>
                      <a:lnTo>
                        <a:pt x="1046491" y="552176"/>
                      </a:lnTo>
                      <a:lnTo>
                        <a:pt x="1047037" y="551216"/>
                      </a:lnTo>
                      <a:lnTo>
                        <a:pt x="1048081" y="549371"/>
                      </a:lnTo>
                      <a:lnTo>
                        <a:pt x="1048749" y="548181"/>
                      </a:lnTo>
                      <a:lnTo>
                        <a:pt x="1048846" y="546833"/>
                      </a:lnTo>
                      <a:lnTo>
                        <a:pt x="1049126" y="543044"/>
                      </a:lnTo>
                      <a:lnTo>
                        <a:pt x="1049138" y="540324"/>
                      </a:lnTo>
                      <a:lnTo>
                        <a:pt x="1049138" y="539742"/>
                      </a:lnTo>
                      <a:lnTo>
                        <a:pt x="1049028" y="539159"/>
                      </a:lnTo>
                      <a:lnTo>
                        <a:pt x="1047365" y="530610"/>
                      </a:lnTo>
                      <a:lnTo>
                        <a:pt x="1047365" y="530270"/>
                      </a:lnTo>
                      <a:lnTo>
                        <a:pt x="1047401" y="530063"/>
                      </a:lnTo>
                      <a:lnTo>
                        <a:pt x="1047741" y="529517"/>
                      </a:lnTo>
                      <a:lnTo>
                        <a:pt x="1048543" y="528594"/>
                      </a:lnTo>
                      <a:lnTo>
                        <a:pt x="1048859" y="528242"/>
                      </a:lnTo>
                      <a:lnTo>
                        <a:pt x="1049114" y="527829"/>
                      </a:lnTo>
                      <a:lnTo>
                        <a:pt x="1050085" y="526299"/>
                      </a:lnTo>
                      <a:lnTo>
                        <a:pt x="1050352" y="525886"/>
                      </a:lnTo>
                      <a:lnTo>
                        <a:pt x="1050546" y="525425"/>
                      </a:lnTo>
                      <a:lnTo>
                        <a:pt x="1052793" y="520106"/>
                      </a:lnTo>
                      <a:lnTo>
                        <a:pt x="1053655" y="518649"/>
                      </a:lnTo>
                      <a:lnTo>
                        <a:pt x="1054639" y="517568"/>
                      </a:lnTo>
                      <a:lnTo>
                        <a:pt x="1055136" y="517240"/>
                      </a:lnTo>
                      <a:lnTo>
                        <a:pt x="1055719" y="516998"/>
                      </a:lnTo>
                      <a:lnTo>
                        <a:pt x="1062702" y="515844"/>
                      </a:lnTo>
                      <a:lnTo>
                        <a:pt x="1063430" y="515722"/>
                      </a:lnTo>
                      <a:lnTo>
                        <a:pt x="1064110" y="515443"/>
                      </a:lnTo>
                      <a:lnTo>
                        <a:pt x="1065944" y="514666"/>
                      </a:lnTo>
                      <a:lnTo>
                        <a:pt x="1066721" y="514338"/>
                      </a:lnTo>
                      <a:lnTo>
                        <a:pt x="1067376" y="513804"/>
                      </a:lnTo>
                      <a:lnTo>
                        <a:pt x="1068651" y="512772"/>
                      </a:lnTo>
                      <a:lnTo>
                        <a:pt x="1069331" y="512225"/>
                      </a:lnTo>
                      <a:lnTo>
                        <a:pt x="1069829" y="511509"/>
                      </a:lnTo>
                      <a:lnTo>
                        <a:pt x="1070740" y="510198"/>
                      </a:lnTo>
                      <a:lnTo>
                        <a:pt x="1071274" y="509433"/>
                      </a:lnTo>
                      <a:lnTo>
                        <a:pt x="1071554" y="508546"/>
                      </a:lnTo>
                      <a:lnTo>
                        <a:pt x="1072064" y="506907"/>
                      </a:lnTo>
                      <a:lnTo>
                        <a:pt x="1072258" y="506300"/>
                      </a:lnTo>
                      <a:lnTo>
                        <a:pt x="1072319" y="505656"/>
                      </a:lnTo>
                      <a:lnTo>
                        <a:pt x="1072513" y="503616"/>
                      </a:lnTo>
                      <a:lnTo>
                        <a:pt x="1072768" y="503325"/>
                      </a:lnTo>
                      <a:lnTo>
                        <a:pt x="1072744" y="502863"/>
                      </a:lnTo>
                      <a:lnTo>
                        <a:pt x="1072197" y="493671"/>
                      </a:lnTo>
                      <a:lnTo>
                        <a:pt x="1072549" y="490210"/>
                      </a:lnTo>
                      <a:lnTo>
                        <a:pt x="1073096" y="488547"/>
                      </a:lnTo>
                      <a:lnTo>
                        <a:pt x="1076192" y="482645"/>
                      </a:lnTo>
                      <a:lnTo>
                        <a:pt x="1076544" y="481953"/>
                      </a:lnTo>
                      <a:lnTo>
                        <a:pt x="1076727" y="481200"/>
                      </a:lnTo>
                      <a:lnTo>
                        <a:pt x="1077504" y="477873"/>
                      </a:lnTo>
                      <a:lnTo>
                        <a:pt x="1078147" y="476744"/>
                      </a:lnTo>
                      <a:lnTo>
                        <a:pt x="1078985" y="475857"/>
                      </a:lnTo>
                      <a:lnTo>
                        <a:pt x="1084182" y="472846"/>
                      </a:lnTo>
                      <a:lnTo>
                        <a:pt x="1084692" y="472567"/>
                      </a:lnTo>
                      <a:lnTo>
                        <a:pt x="1085130" y="472178"/>
                      </a:lnTo>
                      <a:lnTo>
                        <a:pt x="1086805" y="470721"/>
                      </a:lnTo>
                      <a:lnTo>
                        <a:pt x="1087510" y="470102"/>
                      </a:lnTo>
                      <a:lnTo>
                        <a:pt x="1088007" y="469312"/>
                      </a:lnTo>
                      <a:lnTo>
                        <a:pt x="1088918" y="467819"/>
                      </a:lnTo>
                      <a:lnTo>
                        <a:pt x="1089210" y="467333"/>
                      </a:lnTo>
                      <a:lnTo>
                        <a:pt x="1089416" y="466811"/>
                      </a:lnTo>
                      <a:lnTo>
                        <a:pt x="1090120" y="464977"/>
                      </a:lnTo>
                      <a:lnTo>
                        <a:pt x="1090266" y="464589"/>
                      </a:lnTo>
                      <a:lnTo>
                        <a:pt x="1090363" y="464176"/>
                      </a:lnTo>
                      <a:lnTo>
                        <a:pt x="1090812" y="462197"/>
                      </a:lnTo>
                      <a:lnTo>
                        <a:pt x="1091007" y="461346"/>
                      </a:lnTo>
                      <a:lnTo>
                        <a:pt x="1090958" y="460472"/>
                      </a:lnTo>
                      <a:lnTo>
                        <a:pt x="1090849" y="458748"/>
                      </a:lnTo>
                      <a:lnTo>
                        <a:pt x="1090788" y="457740"/>
                      </a:lnTo>
                      <a:lnTo>
                        <a:pt x="1090399" y="456793"/>
                      </a:lnTo>
                      <a:lnTo>
                        <a:pt x="1089756" y="455239"/>
                      </a:lnTo>
                      <a:lnTo>
                        <a:pt x="1089282" y="454085"/>
                      </a:lnTo>
                      <a:lnTo>
                        <a:pt x="1088384" y="453223"/>
                      </a:lnTo>
                      <a:lnTo>
                        <a:pt x="1086720" y="451608"/>
                      </a:lnTo>
                      <a:lnTo>
                        <a:pt x="1086052" y="450952"/>
                      </a:lnTo>
                      <a:lnTo>
                        <a:pt x="1085214" y="450527"/>
                      </a:lnTo>
                      <a:lnTo>
                        <a:pt x="1083842" y="449835"/>
                      </a:lnTo>
                      <a:lnTo>
                        <a:pt x="1083247" y="449544"/>
                      </a:lnTo>
                      <a:lnTo>
                        <a:pt x="1082592" y="449374"/>
                      </a:lnTo>
                      <a:lnTo>
                        <a:pt x="1082531" y="449361"/>
                      </a:lnTo>
                      <a:lnTo>
                        <a:pt x="1077856" y="438105"/>
                      </a:lnTo>
                      <a:lnTo>
                        <a:pt x="1079556" y="441505"/>
                      </a:lnTo>
                      <a:lnTo>
                        <a:pt x="1079726" y="441845"/>
                      </a:lnTo>
                      <a:lnTo>
                        <a:pt x="1079944" y="442161"/>
                      </a:lnTo>
                      <a:lnTo>
                        <a:pt x="1080503" y="442986"/>
                      </a:lnTo>
                      <a:lnTo>
                        <a:pt x="1080928" y="443618"/>
                      </a:lnTo>
                      <a:lnTo>
                        <a:pt x="1081511" y="444128"/>
                      </a:lnTo>
                      <a:lnTo>
                        <a:pt x="1082264" y="444796"/>
                      </a:lnTo>
                      <a:lnTo>
                        <a:pt x="1082616" y="445099"/>
                      </a:lnTo>
                      <a:lnTo>
                        <a:pt x="1083017" y="445354"/>
                      </a:lnTo>
                      <a:lnTo>
                        <a:pt x="1083818" y="445864"/>
                      </a:lnTo>
                      <a:lnTo>
                        <a:pt x="1084328" y="446192"/>
                      </a:lnTo>
                      <a:lnTo>
                        <a:pt x="1084899" y="446411"/>
                      </a:lnTo>
                      <a:lnTo>
                        <a:pt x="1096677" y="450928"/>
                      </a:lnTo>
                      <a:lnTo>
                        <a:pt x="1097673" y="451304"/>
                      </a:lnTo>
                      <a:lnTo>
                        <a:pt x="1098730" y="451329"/>
                      </a:lnTo>
                      <a:lnTo>
                        <a:pt x="1099883" y="451353"/>
                      </a:lnTo>
                      <a:lnTo>
                        <a:pt x="1101231" y="451377"/>
                      </a:lnTo>
                      <a:lnTo>
                        <a:pt x="1102470" y="450831"/>
                      </a:lnTo>
                      <a:lnTo>
                        <a:pt x="1103963" y="450163"/>
                      </a:lnTo>
                      <a:lnTo>
                        <a:pt x="1104959" y="449714"/>
                      </a:lnTo>
                      <a:lnTo>
                        <a:pt x="1105736" y="448961"/>
                      </a:lnTo>
                      <a:lnTo>
                        <a:pt x="1106525" y="448196"/>
                      </a:lnTo>
                      <a:lnTo>
                        <a:pt x="1107011" y="447722"/>
                      </a:lnTo>
                      <a:lnTo>
                        <a:pt x="1107375" y="447152"/>
                      </a:lnTo>
                      <a:lnTo>
                        <a:pt x="1107521" y="446933"/>
                      </a:lnTo>
                      <a:lnTo>
                        <a:pt x="1107825" y="446884"/>
                      </a:lnTo>
                      <a:lnTo>
                        <a:pt x="1108395" y="446787"/>
                      </a:lnTo>
                      <a:lnTo>
                        <a:pt x="1108942" y="446581"/>
                      </a:lnTo>
                      <a:lnTo>
                        <a:pt x="1109245" y="446472"/>
                      </a:lnTo>
                      <a:lnTo>
                        <a:pt x="1109828" y="446775"/>
                      </a:lnTo>
                      <a:lnTo>
                        <a:pt x="1110132" y="446945"/>
                      </a:lnTo>
                      <a:lnTo>
                        <a:pt x="1110460" y="447079"/>
                      </a:lnTo>
                      <a:lnTo>
                        <a:pt x="1112062" y="447734"/>
                      </a:lnTo>
                      <a:lnTo>
                        <a:pt x="1112645" y="447977"/>
                      </a:lnTo>
                      <a:lnTo>
                        <a:pt x="1113265" y="448098"/>
                      </a:lnTo>
                      <a:lnTo>
                        <a:pt x="1115038" y="448414"/>
                      </a:lnTo>
                      <a:lnTo>
                        <a:pt x="1115815" y="448560"/>
                      </a:lnTo>
                      <a:lnTo>
                        <a:pt x="1116604" y="448487"/>
                      </a:lnTo>
                      <a:lnTo>
                        <a:pt x="1119360" y="448256"/>
                      </a:lnTo>
                      <a:lnTo>
                        <a:pt x="1122153" y="447771"/>
                      </a:lnTo>
                      <a:lnTo>
                        <a:pt x="1123234" y="447989"/>
                      </a:lnTo>
                      <a:lnTo>
                        <a:pt x="1133883" y="452021"/>
                      </a:lnTo>
                      <a:lnTo>
                        <a:pt x="1139651" y="455336"/>
                      </a:lnTo>
                      <a:lnTo>
                        <a:pt x="1140720" y="455955"/>
                      </a:lnTo>
                      <a:lnTo>
                        <a:pt x="1141946" y="456101"/>
                      </a:lnTo>
                      <a:lnTo>
                        <a:pt x="1143112" y="456247"/>
                      </a:lnTo>
                      <a:lnTo>
                        <a:pt x="1143986" y="456356"/>
                      </a:lnTo>
                      <a:lnTo>
                        <a:pt x="1144848" y="456210"/>
                      </a:lnTo>
                      <a:lnTo>
                        <a:pt x="1148552" y="455591"/>
                      </a:lnTo>
                      <a:lnTo>
                        <a:pt x="1153956" y="455676"/>
                      </a:lnTo>
                      <a:lnTo>
                        <a:pt x="1156518" y="457024"/>
                      </a:lnTo>
                      <a:lnTo>
                        <a:pt x="1157246" y="457813"/>
                      </a:lnTo>
                      <a:lnTo>
                        <a:pt x="1157514" y="458104"/>
                      </a:lnTo>
                      <a:lnTo>
                        <a:pt x="1157805" y="458359"/>
                      </a:lnTo>
                      <a:lnTo>
                        <a:pt x="1160331" y="460521"/>
                      </a:lnTo>
                      <a:lnTo>
                        <a:pt x="1160829" y="460946"/>
                      </a:lnTo>
                      <a:lnTo>
                        <a:pt x="1161399" y="461249"/>
                      </a:lnTo>
                      <a:lnTo>
                        <a:pt x="1162079" y="461614"/>
                      </a:lnTo>
                      <a:lnTo>
                        <a:pt x="1162480" y="461869"/>
                      </a:lnTo>
                      <a:lnTo>
                        <a:pt x="1162577" y="462112"/>
                      </a:lnTo>
                      <a:lnTo>
                        <a:pt x="1167058" y="476124"/>
                      </a:lnTo>
                      <a:lnTo>
                        <a:pt x="1167264" y="476792"/>
                      </a:lnTo>
                      <a:lnTo>
                        <a:pt x="1167616" y="477387"/>
                      </a:lnTo>
                      <a:lnTo>
                        <a:pt x="1168284" y="478517"/>
                      </a:lnTo>
                      <a:lnTo>
                        <a:pt x="1168770" y="479330"/>
                      </a:lnTo>
                      <a:lnTo>
                        <a:pt x="1169486" y="479962"/>
                      </a:lnTo>
                      <a:lnTo>
                        <a:pt x="1170361" y="480727"/>
                      </a:lnTo>
                      <a:lnTo>
                        <a:pt x="1170980" y="481273"/>
                      </a:lnTo>
                      <a:lnTo>
                        <a:pt x="1171733" y="481638"/>
                      </a:lnTo>
                      <a:lnTo>
                        <a:pt x="1173226" y="482366"/>
                      </a:lnTo>
                      <a:lnTo>
                        <a:pt x="1173566" y="482536"/>
                      </a:lnTo>
                      <a:lnTo>
                        <a:pt x="1173931" y="482657"/>
                      </a:lnTo>
                      <a:lnTo>
                        <a:pt x="1176784" y="483617"/>
                      </a:lnTo>
                      <a:lnTo>
                        <a:pt x="1176784" y="483653"/>
                      </a:lnTo>
                      <a:lnTo>
                        <a:pt x="1177100" y="484442"/>
                      </a:lnTo>
                      <a:lnTo>
                        <a:pt x="1177562" y="485596"/>
                      </a:lnTo>
                      <a:lnTo>
                        <a:pt x="1178132" y="487029"/>
                      </a:lnTo>
                      <a:lnTo>
                        <a:pt x="1179322" y="488012"/>
                      </a:lnTo>
                      <a:lnTo>
                        <a:pt x="1180646" y="489105"/>
                      </a:lnTo>
                      <a:lnTo>
                        <a:pt x="1181387" y="489712"/>
                      </a:lnTo>
                      <a:lnTo>
                        <a:pt x="1182285" y="490065"/>
                      </a:lnTo>
                      <a:lnTo>
                        <a:pt x="1184119" y="490793"/>
                      </a:lnTo>
                      <a:lnTo>
                        <a:pt x="1184483" y="490939"/>
                      </a:lnTo>
                      <a:lnTo>
                        <a:pt x="1184847" y="491036"/>
                      </a:lnTo>
                      <a:lnTo>
                        <a:pt x="1187567" y="491728"/>
                      </a:lnTo>
                      <a:lnTo>
                        <a:pt x="1187737" y="492032"/>
                      </a:lnTo>
                      <a:lnTo>
                        <a:pt x="1189073" y="494521"/>
                      </a:lnTo>
                      <a:lnTo>
                        <a:pt x="1191854" y="495104"/>
                      </a:lnTo>
                      <a:lnTo>
                        <a:pt x="1193105" y="495359"/>
                      </a:lnTo>
                      <a:lnTo>
                        <a:pt x="1193833" y="495517"/>
                      </a:lnTo>
                      <a:lnTo>
                        <a:pt x="1194574" y="495492"/>
                      </a:lnTo>
                      <a:lnTo>
                        <a:pt x="1196832" y="495408"/>
                      </a:lnTo>
                      <a:lnTo>
                        <a:pt x="1197233" y="495383"/>
                      </a:lnTo>
                      <a:lnTo>
                        <a:pt x="1197634" y="495322"/>
                      </a:lnTo>
                      <a:lnTo>
                        <a:pt x="1202442" y="494497"/>
                      </a:lnTo>
                      <a:lnTo>
                        <a:pt x="1203086" y="494375"/>
                      </a:lnTo>
                      <a:lnTo>
                        <a:pt x="1203681" y="494132"/>
                      </a:lnTo>
                      <a:lnTo>
                        <a:pt x="1206097" y="493161"/>
                      </a:lnTo>
                      <a:lnTo>
                        <a:pt x="1206668" y="492918"/>
                      </a:lnTo>
                      <a:lnTo>
                        <a:pt x="1207190" y="492578"/>
                      </a:lnTo>
                      <a:lnTo>
                        <a:pt x="1208575" y="491655"/>
                      </a:lnTo>
                      <a:lnTo>
                        <a:pt x="1209947" y="490745"/>
                      </a:lnTo>
                      <a:lnTo>
                        <a:pt x="1210675" y="489263"/>
                      </a:lnTo>
                      <a:lnTo>
                        <a:pt x="1212485" y="485547"/>
                      </a:lnTo>
                      <a:lnTo>
                        <a:pt x="1218556" y="482803"/>
                      </a:lnTo>
                      <a:lnTo>
                        <a:pt x="1229266" y="480958"/>
                      </a:lnTo>
                      <a:lnTo>
                        <a:pt x="1230395" y="480958"/>
                      </a:lnTo>
                      <a:lnTo>
                        <a:pt x="1231440" y="481152"/>
                      </a:lnTo>
                      <a:lnTo>
                        <a:pt x="1233929" y="482087"/>
                      </a:lnTo>
                      <a:lnTo>
                        <a:pt x="1234160" y="482245"/>
                      </a:lnTo>
                      <a:lnTo>
                        <a:pt x="1234427" y="482548"/>
                      </a:lnTo>
                      <a:lnTo>
                        <a:pt x="1236613" y="486385"/>
                      </a:lnTo>
                      <a:lnTo>
                        <a:pt x="1236892" y="486895"/>
                      </a:lnTo>
                      <a:lnTo>
                        <a:pt x="1237268" y="487332"/>
                      </a:lnTo>
                      <a:lnTo>
                        <a:pt x="1238179" y="488401"/>
                      </a:lnTo>
                      <a:lnTo>
                        <a:pt x="1238519" y="488790"/>
                      </a:lnTo>
                      <a:lnTo>
                        <a:pt x="1238920" y="489118"/>
                      </a:lnTo>
                      <a:lnTo>
                        <a:pt x="1239855" y="489882"/>
                      </a:lnTo>
                      <a:lnTo>
                        <a:pt x="1240948" y="490793"/>
                      </a:lnTo>
                      <a:lnTo>
                        <a:pt x="1242332" y="491109"/>
                      </a:lnTo>
                      <a:lnTo>
                        <a:pt x="1244736" y="491680"/>
                      </a:lnTo>
                      <a:lnTo>
                        <a:pt x="1260522" y="493841"/>
                      </a:lnTo>
                      <a:lnTo>
                        <a:pt x="1261421" y="494217"/>
                      </a:lnTo>
                      <a:lnTo>
                        <a:pt x="1261651" y="494460"/>
                      </a:lnTo>
                      <a:lnTo>
                        <a:pt x="1263874" y="497496"/>
                      </a:lnTo>
                      <a:lnTo>
                        <a:pt x="1264129" y="497836"/>
                      </a:lnTo>
                      <a:lnTo>
                        <a:pt x="1264432" y="498139"/>
                      </a:lnTo>
                      <a:lnTo>
                        <a:pt x="1265452" y="499184"/>
                      </a:lnTo>
                      <a:lnTo>
                        <a:pt x="1266132" y="499876"/>
                      </a:lnTo>
                      <a:lnTo>
                        <a:pt x="1266994" y="500326"/>
                      </a:lnTo>
                      <a:lnTo>
                        <a:pt x="1268318" y="501017"/>
                      </a:lnTo>
                      <a:lnTo>
                        <a:pt x="1268694" y="501224"/>
                      </a:lnTo>
                      <a:lnTo>
                        <a:pt x="1269095" y="501370"/>
                      </a:lnTo>
                      <a:lnTo>
                        <a:pt x="1270540" y="501880"/>
                      </a:lnTo>
                      <a:lnTo>
                        <a:pt x="1271232" y="502135"/>
                      </a:lnTo>
                      <a:lnTo>
                        <a:pt x="1271973" y="502208"/>
                      </a:lnTo>
                      <a:lnTo>
                        <a:pt x="1275009" y="502499"/>
                      </a:lnTo>
                      <a:lnTo>
                        <a:pt x="1275337" y="502523"/>
                      </a:lnTo>
                      <a:lnTo>
                        <a:pt x="1275664" y="502523"/>
                      </a:lnTo>
                      <a:lnTo>
                        <a:pt x="1289604" y="502353"/>
                      </a:lnTo>
                      <a:lnTo>
                        <a:pt x="1289859" y="502450"/>
                      </a:lnTo>
                      <a:lnTo>
                        <a:pt x="1290491" y="502560"/>
                      </a:lnTo>
                      <a:lnTo>
                        <a:pt x="1291754" y="502766"/>
                      </a:lnTo>
                      <a:lnTo>
                        <a:pt x="1292118" y="502827"/>
                      </a:lnTo>
                      <a:lnTo>
                        <a:pt x="1292494" y="502839"/>
                      </a:lnTo>
                      <a:lnTo>
                        <a:pt x="1295979" y="502960"/>
                      </a:lnTo>
                      <a:lnTo>
                        <a:pt x="1296259" y="503300"/>
                      </a:lnTo>
                      <a:lnTo>
                        <a:pt x="1296878" y="504053"/>
                      </a:lnTo>
                      <a:lnTo>
                        <a:pt x="1297145" y="504369"/>
                      </a:lnTo>
                      <a:lnTo>
                        <a:pt x="1297461" y="504648"/>
                      </a:lnTo>
                      <a:lnTo>
                        <a:pt x="1298153" y="505280"/>
                      </a:lnTo>
                      <a:lnTo>
                        <a:pt x="1298760" y="505838"/>
                      </a:lnTo>
                      <a:lnTo>
                        <a:pt x="1299501" y="506202"/>
                      </a:lnTo>
                      <a:lnTo>
                        <a:pt x="1301225" y="507065"/>
                      </a:lnTo>
                      <a:lnTo>
                        <a:pt x="1301565" y="507247"/>
                      </a:lnTo>
                      <a:lnTo>
                        <a:pt x="1301929" y="507368"/>
                      </a:lnTo>
                      <a:lnTo>
                        <a:pt x="1302792" y="507672"/>
                      </a:lnTo>
                      <a:lnTo>
                        <a:pt x="1303836" y="508048"/>
                      </a:lnTo>
                      <a:lnTo>
                        <a:pt x="1304941" y="508024"/>
                      </a:lnTo>
                      <a:lnTo>
                        <a:pt x="1306131" y="508000"/>
                      </a:lnTo>
                      <a:lnTo>
                        <a:pt x="1306981" y="507976"/>
                      </a:lnTo>
                      <a:lnTo>
                        <a:pt x="1307782" y="507733"/>
                      </a:lnTo>
                      <a:lnTo>
                        <a:pt x="1309179" y="507307"/>
                      </a:lnTo>
                      <a:lnTo>
                        <a:pt x="1310345" y="506955"/>
                      </a:lnTo>
                      <a:lnTo>
                        <a:pt x="1311280" y="506178"/>
                      </a:lnTo>
                      <a:lnTo>
                        <a:pt x="1313295" y="504503"/>
                      </a:lnTo>
                      <a:lnTo>
                        <a:pt x="1314048" y="503883"/>
                      </a:lnTo>
                      <a:lnTo>
                        <a:pt x="1314558" y="503057"/>
                      </a:lnTo>
                      <a:lnTo>
                        <a:pt x="1315347" y="501795"/>
                      </a:lnTo>
                      <a:lnTo>
                        <a:pt x="1315748" y="501163"/>
                      </a:lnTo>
                      <a:lnTo>
                        <a:pt x="1315979" y="500447"/>
                      </a:lnTo>
                      <a:lnTo>
                        <a:pt x="1316380" y="499208"/>
                      </a:lnTo>
                      <a:lnTo>
                        <a:pt x="1316683" y="498297"/>
                      </a:lnTo>
                      <a:lnTo>
                        <a:pt x="1316683" y="497326"/>
                      </a:lnTo>
                      <a:lnTo>
                        <a:pt x="1316683" y="496270"/>
                      </a:lnTo>
                      <a:lnTo>
                        <a:pt x="1318189" y="495614"/>
                      </a:lnTo>
                      <a:lnTo>
                        <a:pt x="1331425" y="491510"/>
                      </a:lnTo>
                      <a:lnTo>
                        <a:pt x="1332178" y="491267"/>
                      </a:lnTo>
                      <a:lnTo>
                        <a:pt x="1332845" y="490854"/>
                      </a:lnTo>
                      <a:lnTo>
                        <a:pt x="1333987" y="490137"/>
                      </a:lnTo>
                      <a:lnTo>
                        <a:pt x="1334545" y="489785"/>
                      </a:lnTo>
                      <a:lnTo>
                        <a:pt x="1334691" y="489652"/>
                      </a:lnTo>
                      <a:lnTo>
                        <a:pt x="1334970" y="489579"/>
                      </a:lnTo>
                      <a:lnTo>
                        <a:pt x="1342548" y="490793"/>
                      </a:lnTo>
                      <a:lnTo>
                        <a:pt x="1342754" y="491072"/>
                      </a:lnTo>
                      <a:lnTo>
                        <a:pt x="1344442" y="493052"/>
                      </a:lnTo>
                      <a:lnTo>
                        <a:pt x="1344745" y="493392"/>
                      </a:lnTo>
                      <a:lnTo>
                        <a:pt x="1345085" y="493683"/>
                      </a:lnTo>
                      <a:lnTo>
                        <a:pt x="1348983" y="496998"/>
                      </a:lnTo>
                      <a:lnTo>
                        <a:pt x="1349469" y="497630"/>
                      </a:lnTo>
                      <a:lnTo>
                        <a:pt x="1351667" y="502062"/>
                      </a:lnTo>
                      <a:lnTo>
                        <a:pt x="1351910" y="502560"/>
                      </a:lnTo>
                      <a:lnTo>
                        <a:pt x="1352238" y="502997"/>
                      </a:lnTo>
                      <a:lnTo>
                        <a:pt x="1353452" y="504636"/>
                      </a:lnTo>
                      <a:lnTo>
                        <a:pt x="1354399" y="505753"/>
                      </a:lnTo>
                      <a:lnTo>
                        <a:pt x="1355018" y="506458"/>
                      </a:lnTo>
                      <a:lnTo>
                        <a:pt x="1355808" y="506943"/>
                      </a:lnTo>
                      <a:lnTo>
                        <a:pt x="1356609" y="507429"/>
                      </a:lnTo>
                      <a:lnTo>
                        <a:pt x="1357058" y="507684"/>
                      </a:lnTo>
                      <a:lnTo>
                        <a:pt x="1357544" y="507878"/>
                      </a:lnTo>
                      <a:lnTo>
                        <a:pt x="1358418" y="508218"/>
                      </a:lnTo>
                      <a:lnTo>
                        <a:pt x="1358746" y="508352"/>
                      </a:lnTo>
                      <a:lnTo>
                        <a:pt x="1359086" y="508449"/>
                      </a:lnTo>
                      <a:lnTo>
                        <a:pt x="1362280" y="509287"/>
                      </a:lnTo>
                      <a:lnTo>
                        <a:pt x="1364587" y="510319"/>
                      </a:lnTo>
                      <a:lnTo>
                        <a:pt x="1365036" y="510526"/>
                      </a:lnTo>
                      <a:lnTo>
                        <a:pt x="1365510" y="510659"/>
                      </a:lnTo>
                      <a:lnTo>
                        <a:pt x="1366809" y="510999"/>
                      </a:lnTo>
                      <a:lnTo>
                        <a:pt x="1368594" y="513743"/>
                      </a:lnTo>
                      <a:lnTo>
                        <a:pt x="1368861" y="514144"/>
                      </a:lnTo>
                      <a:lnTo>
                        <a:pt x="1369177" y="514496"/>
                      </a:lnTo>
                      <a:lnTo>
                        <a:pt x="1370270" y="515711"/>
                      </a:lnTo>
                      <a:lnTo>
                        <a:pt x="1370452" y="515953"/>
                      </a:lnTo>
                      <a:lnTo>
                        <a:pt x="1370658" y="516402"/>
                      </a:lnTo>
                      <a:lnTo>
                        <a:pt x="1371569" y="519256"/>
                      </a:lnTo>
                      <a:lnTo>
                        <a:pt x="1371739" y="520458"/>
                      </a:lnTo>
                      <a:lnTo>
                        <a:pt x="1371739" y="522268"/>
                      </a:lnTo>
                      <a:lnTo>
                        <a:pt x="1371011" y="528752"/>
                      </a:lnTo>
                      <a:lnTo>
                        <a:pt x="1370476" y="531010"/>
                      </a:lnTo>
                      <a:lnTo>
                        <a:pt x="1370379" y="531399"/>
                      </a:lnTo>
                      <a:lnTo>
                        <a:pt x="1370343" y="531812"/>
                      </a:lnTo>
                      <a:lnTo>
                        <a:pt x="1369991" y="535334"/>
                      </a:lnTo>
                      <a:lnTo>
                        <a:pt x="1369954" y="535722"/>
                      </a:lnTo>
                      <a:lnTo>
                        <a:pt x="1369966" y="536123"/>
                      </a:lnTo>
                      <a:lnTo>
                        <a:pt x="1370064" y="539280"/>
                      </a:lnTo>
                      <a:lnTo>
                        <a:pt x="1369663" y="541186"/>
                      </a:lnTo>
                      <a:lnTo>
                        <a:pt x="1369541" y="541526"/>
                      </a:lnTo>
                      <a:lnTo>
                        <a:pt x="1368072" y="542680"/>
                      </a:lnTo>
                      <a:lnTo>
                        <a:pt x="1367404" y="543214"/>
                      </a:lnTo>
                      <a:lnTo>
                        <a:pt x="1366906" y="543906"/>
                      </a:lnTo>
                      <a:lnTo>
                        <a:pt x="1366348" y="544683"/>
                      </a:lnTo>
                      <a:lnTo>
                        <a:pt x="1365668" y="545618"/>
                      </a:lnTo>
                      <a:lnTo>
                        <a:pt x="1365389" y="546748"/>
                      </a:lnTo>
                      <a:lnTo>
                        <a:pt x="1365085" y="547950"/>
                      </a:lnTo>
                      <a:lnTo>
                        <a:pt x="1364951" y="548460"/>
                      </a:lnTo>
                      <a:lnTo>
                        <a:pt x="1364915" y="549007"/>
                      </a:lnTo>
                      <a:lnTo>
                        <a:pt x="1364866" y="549674"/>
                      </a:lnTo>
                      <a:lnTo>
                        <a:pt x="1364806" y="550500"/>
                      </a:lnTo>
                      <a:lnTo>
                        <a:pt x="1364976" y="551302"/>
                      </a:lnTo>
                      <a:lnTo>
                        <a:pt x="1365243" y="552613"/>
                      </a:lnTo>
                      <a:lnTo>
                        <a:pt x="1364988" y="555284"/>
                      </a:lnTo>
                      <a:lnTo>
                        <a:pt x="1364939" y="555770"/>
                      </a:lnTo>
                      <a:lnTo>
                        <a:pt x="1364964" y="556268"/>
                      </a:lnTo>
                      <a:lnTo>
                        <a:pt x="1365206" y="559971"/>
                      </a:lnTo>
                      <a:lnTo>
                        <a:pt x="1365243" y="560457"/>
                      </a:lnTo>
                      <a:lnTo>
                        <a:pt x="1365352" y="560931"/>
                      </a:lnTo>
                      <a:lnTo>
                        <a:pt x="1366202" y="564622"/>
                      </a:lnTo>
                      <a:lnTo>
                        <a:pt x="1365862" y="564780"/>
                      </a:lnTo>
                      <a:lnTo>
                        <a:pt x="1365194" y="565351"/>
                      </a:lnTo>
                      <a:lnTo>
                        <a:pt x="1360422" y="569431"/>
                      </a:lnTo>
                      <a:lnTo>
                        <a:pt x="1359912" y="569868"/>
                      </a:lnTo>
                      <a:lnTo>
                        <a:pt x="1359511" y="570402"/>
                      </a:lnTo>
                      <a:lnTo>
                        <a:pt x="1355553" y="575697"/>
                      </a:lnTo>
                      <a:lnTo>
                        <a:pt x="1354994" y="576449"/>
                      </a:lnTo>
                      <a:lnTo>
                        <a:pt x="1354690" y="577324"/>
                      </a:lnTo>
                      <a:lnTo>
                        <a:pt x="1352687" y="583007"/>
                      </a:lnTo>
                      <a:lnTo>
                        <a:pt x="1352262" y="584233"/>
                      </a:lnTo>
                      <a:lnTo>
                        <a:pt x="1352359" y="585520"/>
                      </a:lnTo>
                      <a:lnTo>
                        <a:pt x="1352881" y="591859"/>
                      </a:lnTo>
                      <a:lnTo>
                        <a:pt x="1353197" y="595647"/>
                      </a:lnTo>
                      <a:lnTo>
                        <a:pt x="1356730" y="597020"/>
                      </a:lnTo>
                      <a:lnTo>
                        <a:pt x="1359985" y="598282"/>
                      </a:lnTo>
                      <a:lnTo>
                        <a:pt x="1361721" y="598962"/>
                      </a:lnTo>
                      <a:lnTo>
                        <a:pt x="1363531" y="598550"/>
                      </a:lnTo>
                      <a:lnTo>
                        <a:pt x="1367975" y="597554"/>
                      </a:lnTo>
                      <a:lnTo>
                        <a:pt x="1369833" y="607997"/>
                      </a:lnTo>
                      <a:lnTo>
                        <a:pt x="1369893" y="608325"/>
                      </a:lnTo>
                      <a:lnTo>
                        <a:pt x="1369991" y="608653"/>
                      </a:lnTo>
                      <a:lnTo>
                        <a:pt x="1371630" y="614153"/>
                      </a:lnTo>
                      <a:lnTo>
                        <a:pt x="1371521" y="622410"/>
                      </a:lnTo>
                      <a:lnTo>
                        <a:pt x="1371241" y="623880"/>
                      </a:lnTo>
                      <a:lnTo>
                        <a:pt x="1370586" y="624645"/>
                      </a:lnTo>
                      <a:lnTo>
                        <a:pt x="1364684" y="629963"/>
                      </a:lnTo>
                      <a:lnTo>
                        <a:pt x="1360118" y="634080"/>
                      </a:lnTo>
                      <a:lnTo>
                        <a:pt x="1364296" y="638597"/>
                      </a:lnTo>
                      <a:lnTo>
                        <a:pt x="1364903" y="639253"/>
                      </a:lnTo>
                      <a:lnTo>
                        <a:pt x="1365959" y="640018"/>
                      </a:lnTo>
                      <a:lnTo>
                        <a:pt x="1375261" y="645519"/>
                      </a:lnTo>
                      <a:lnTo>
                        <a:pt x="1375819" y="645846"/>
                      </a:lnTo>
                      <a:lnTo>
                        <a:pt x="1376438" y="646053"/>
                      </a:lnTo>
                      <a:lnTo>
                        <a:pt x="1381502" y="647741"/>
                      </a:lnTo>
                      <a:lnTo>
                        <a:pt x="1387598" y="653375"/>
                      </a:lnTo>
                      <a:lnTo>
                        <a:pt x="1387841" y="653606"/>
                      </a:lnTo>
                      <a:lnTo>
                        <a:pt x="1388096" y="653800"/>
                      </a:lnTo>
                      <a:lnTo>
                        <a:pt x="1391702" y="656484"/>
                      </a:lnTo>
                      <a:lnTo>
                        <a:pt x="1391957" y="656738"/>
                      </a:lnTo>
                      <a:lnTo>
                        <a:pt x="1394859" y="661790"/>
                      </a:lnTo>
                      <a:lnTo>
                        <a:pt x="1395576" y="663053"/>
                      </a:lnTo>
                      <a:lnTo>
                        <a:pt x="1396790" y="663842"/>
                      </a:lnTo>
                      <a:lnTo>
                        <a:pt x="1397980" y="664619"/>
                      </a:lnTo>
                      <a:lnTo>
                        <a:pt x="1399231" y="665433"/>
                      </a:lnTo>
                      <a:lnTo>
                        <a:pt x="1400724" y="665591"/>
                      </a:lnTo>
                      <a:lnTo>
                        <a:pt x="1415551" y="667024"/>
                      </a:lnTo>
                      <a:lnTo>
                        <a:pt x="1416170" y="667085"/>
                      </a:lnTo>
                      <a:lnTo>
                        <a:pt x="1416777" y="667012"/>
                      </a:lnTo>
                      <a:lnTo>
                        <a:pt x="1430317" y="665579"/>
                      </a:lnTo>
                      <a:lnTo>
                        <a:pt x="1430985" y="665506"/>
                      </a:lnTo>
                      <a:lnTo>
                        <a:pt x="1431616" y="665287"/>
                      </a:lnTo>
                      <a:lnTo>
                        <a:pt x="1433450" y="664668"/>
                      </a:lnTo>
                      <a:lnTo>
                        <a:pt x="1434324" y="664376"/>
                      </a:lnTo>
                      <a:lnTo>
                        <a:pt x="1435077" y="663842"/>
                      </a:lnTo>
                      <a:lnTo>
                        <a:pt x="1437615" y="662009"/>
                      </a:lnTo>
                      <a:lnTo>
                        <a:pt x="1442678" y="660818"/>
                      </a:lnTo>
                      <a:lnTo>
                        <a:pt x="1441428" y="654528"/>
                      </a:lnTo>
                      <a:lnTo>
                        <a:pt x="1440444" y="651177"/>
                      </a:lnTo>
                      <a:lnTo>
                        <a:pt x="1439995" y="649416"/>
                      </a:lnTo>
                      <a:lnTo>
                        <a:pt x="1439982" y="649222"/>
                      </a:lnTo>
                      <a:lnTo>
                        <a:pt x="1439982" y="649222"/>
                      </a:lnTo>
                      <a:lnTo>
                        <a:pt x="1440262" y="648943"/>
                      </a:lnTo>
                      <a:lnTo>
                        <a:pt x="1451591" y="642264"/>
                      </a:lnTo>
                      <a:lnTo>
                        <a:pt x="1452976" y="641450"/>
                      </a:lnTo>
                      <a:lnTo>
                        <a:pt x="1453777" y="640066"/>
                      </a:lnTo>
                      <a:lnTo>
                        <a:pt x="1455732" y="636654"/>
                      </a:lnTo>
                      <a:lnTo>
                        <a:pt x="1456958" y="634505"/>
                      </a:lnTo>
                      <a:lnTo>
                        <a:pt x="1456351" y="632125"/>
                      </a:lnTo>
                      <a:lnTo>
                        <a:pt x="1455368" y="628276"/>
                      </a:lnTo>
                      <a:lnTo>
                        <a:pt x="1455028" y="626952"/>
                      </a:lnTo>
                      <a:lnTo>
                        <a:pt x="1454141" y="625896"/>
                      </a:lnTo>
                      <a:lnTo>
                        <a:pt x="1443407" y="613024"/>
                      </a:lnTo>
                      <a:lnTo>
                        <a:pt x="1441950" y="609806"/>
                      </a:lnTo>
                      <a:lnTo>
                        <a:pt x="1441986" y="606103"/>
                      </a:lnTo>
                      <a:lnTo>
                        <a:pt x="1444609" y="600322"/>
                      </a:lnTo>
                      <a:lnTo>
                        <a:pt x="1454481" y="588896"/>
                      </a:lnTo>
                      <a:lnTo>
                        <a:pt x="1454894" y="588410"/>
                      </a:lnTo>
                      <a:lnTo>
                        <a:pt x="1455198" y="587852"/>
                      </a:lnTo>
                      <a:lnTo>
                        <a:pt x="1459047" y="580882"/>
                      </a:lnTo>
                      <a:lnTo>
                        <a:pt x="1459508" y="580044"/>
                      </a:lnTo>
                      <a:lnTo>
                        <a:pt x="1459690" y="579109"/>
                      </a:lnTo>
                      <a:lnTo>
                        <a:pt x="1460431" y="575272"/>
                      </a:lnTo>
                      <a:lnTo>
                        <a:pt x="1460868" y="572673"/>
                      </a:lnTo>
                      <a:lnTo>
                        <a:pt x="1465118" y="557409"/>
                      </a:lnTo>
                      <a:lnTo>
                        <a:pt x="1465677" y="556256"/>
                      </a:lnTo>
                      <a:lnTo>
                        <a:pt x="1469223" y="554811"/>
                      </a:lnTo>
                      <a:lnTo>
                        <a:pt x="1469842" y="554556"/>
                      </a:lnTo>
                      <a:lnTo>
                        <a:pt x="1470388" y="554179"/>
                      </a:lnTo>
                      <a:lnTo>
                        <a:pt x="1472283" y="552868"/>
                      </a:lnTo>
                      <a:lnTo>
                        <a:pt x="1473206" y="552224"/>
                      </a:lnTo>
                      <a:lnTo>
                        <a:pt x="1473837" y="551289"/>
                      </a:lnTo>
                      <a:lnTo>
                        <a:pt x="1475561" y="548763"/>
                      </a:lnTo>
                      <a:lnTo>
                        <a:pt x="1475853" y="548338"/>
                      </a:lnTo>
                      <a:lnTo>
                        <a:pt x="1476071" y="547877"/>
                      </a:lnTo>
                      <a:lnTo>
                        <a:pt x="1478536" y="542462"/>
                      </a:lnTo>
                      <a:lnTo>
                        <a:pt x="1479374" y="541344"/>
                      </a:lnTo>
                      <a:lnTo>
                        <a:pt x="1479508" y="541247"/>
                      </a:lnTo>
                      <a:lnTo>
                        <a:pt x="1482228" y="540336"/>
                      </a:lnTo>
                      <a:lnTo>
                        <a:pt x="1482799" y="540142"/>
                      </a:lnTo>
                      <a:lnTo>
                        <a:pt x="1483309" y="539851"/>
                      </a:lnTo>
                      <a:lnTo>
                        <a:pt x="1484924" y="538928"/>
                      </a:lnTo>
                      <a:lnTo>
                        <a:pt x="1485761" y="538442"/>
                      </a:lnTo>
                      <a:lnTo>
                        <a:pt x="1486417" y="537726"/>
                      </a:lnTo>
                      <a:lnTo>
                        <a:pt x="1488202" y="535746"/>
                      </a:lnTo>
                      <a:lnTo>
                        <a:pt x="1488493" y="535418"/>
                      </a:lnTo>
                      <a:lnTo>
                        <a:pt x="1488736" y="535066"/>
                      </a:lnTo>
                      <a:lnTo>
                        <a:pt x="1490534" y="532370"/>
                      </a:lnTo>
                      <a:lnTo>
                        <a:pt x="1491736" y="536159"/>
                      </a:lnTo>
                      <a:lnTo>
                        <a:pt x="1492027" y="537070"/>
                      </a:lnTo>
                      <a:lnTo>
                        <a:pt x="1492586" y="537847"/>
                      </a:lnTo>
                      <a:lnTo>
                        <a:pt x="1495804" y="542352"/>
                      </a:lnTo>
                      <a:lnTo>
                        <a:pt x="1497370" y="544550"/>
                      </a:lnTo>
                      <a:lnTo>
                        <a:pt x="1500054" y="544854"/>
                      </a:lnTo>
                      <a:lnTo>
                        <a:pt x="1503101" y="545193"/>
                      </a:lnTo>
                      <a:lnTo>
                        <a:pt x="1504340" y="545339"/>
                      </a:lnTo>
                      <a:lnTo>
                        <a:pt x="1505542" y="544975"/>
                      </a:lnTo>
                      <a:lnTo>
                        <a:pt x="1508201" y="544186"/>
                      </a:lnTo>
                      <a:lnTo>
                        <a:pt x="1509671" y="544234"/>
                      </a:lnTo>
                      <a:lnTo>
                        <a:pt x="1512707" y="549225"/>
                      </a:lnTo>
                      <a:lnTo>
                        <a:pt x="1513654" y="551811"/>
                      </a:lnTo>
                      <a:lnTo>
                        <a:pt x="1514759" y="554811"/>
                      </a:lnTo>
                      <a:lnTo>
                        <a:pt x="1517867" y="555588"/>
                      </a:lnTo>
                      <a:lnTo>
                        <a:pt x="1518620" y="555782"/>
                      </a:lnTo>
                      <a:lnTo>
                        <a:pt x="1521364" y="556487"/>
                      </a:lnTo>
                      <a:lnTo>
                        <a:pt x="1523647" y="554823"/>
                      </a:lnTo>
                      <a:lnTo>
                        <a:pt x="1524388" y="554289"/>
                      </a:lnTo>
                      <a:lnTo>
                        <a:pt x="1524983" y="553864"/>
                      </a:lnTo>
                      <a:lnTo>
                        <a:pt x="1525457" y="553305"/>
                      </a:lnTo>
                      <a:lnTo>
                        <a:pt x="1527569" y="550840"/>
                      </a:lnTo>
                      <a:lnTo>
                        <a:pt x="1529925" y="548679"/>
                      </a:lnTo>
                      <a:lnTo>
                        <a:pt x="1531103" y="547756"/>
                      </a:lnTo>
                      <a:lnTo>
                        <a:pt x="1534685" y="545655"/>
                      </a:lnTo>
                      <a:lnTo>
                        <a:pt x="1541473" y="543020"/>
                      </a:lnTo>
                      <a:lnTo>
                        <a:pt x="1542748" y="542522"/>
                      </a:lnTo>
                      <a:lnTo>
                        <a:pt x="1543695" y="541526"/>
                      </a:lnTo>
                      <a:lnTo>
                        <a:pt x="1545189" y="539936"/>
                      </a:lnTo>
                      <a:lnTo>
                        <a:pt x="1546585" y="538442"/>
                      </a:lnTo>
                      <a:lnTo>
                        <a:pt x="1546804" y="536414"/>
                      </a:lnTo>
                      <a:lnTo>
                        <a:pt x="1547035" y="534229"/>
                      </a:lnTo>
                      <a:lnTo>
                        <a:pt x="1547217" y="532492"/>
                      </a:lnTo>
                      <a:lnTo>
                        <a:pt x="1546464" y="530938"/>
                      </a:lnTo>
                      <a:lnTo>
                        <a:pt x="1544800" y="527501"/>
                      </a:lnTo>
                      <a:lnTo>
                        <a:pt x="1544545" y="526979"/>
                      </a:lnTo>
                      <a:lnTo>
                        <a:pt x="1544205" y="526518"/>
                      </a:lnTo>
                      <a:lnTo>
                        <a:pt x="1544108" y="526384"/>
                      </a:lnTo>
                      <a:lnTo>
                        <a:pt x="1545845" y="526178"/>
                      </a:lnTo>
                      <a:lnTo>
                        <a:pt x="1546452" y="526105"/>
                      </a:lnTo>
                      <a:lnTo>
                        <a:pt x="1547023" y="525911"/>
                      </a:lnTo>
                      <a:lnTo>
                        <a:pt x="1549888" y="524976"/>
                      </a:lnTo>
                      <a:lnTo>
                        <a:pt x="1550872" y="524660"/>
                      </a:lnTo>
                      <a:lnTo>
                        <a:pt x="1551685" y="524028"/>
                      </a:lnTo>
                      <a:lnTo>
                        <a:pt x="1553871" y="522353"/>
                      </a:lnTo>
                      <a:lnTo>
                        <a:pt x="1554612" y="521782"/>
                      </a:lnTo>
                      <a:lnTo>
                        <a:pt x="1555146" y="521029"/>
                      </a:lnTo>
                      <a:lnTo>
                        <a:pt x="1556640" y="518904"/>
                      </a:lnTo>
                      <a:lnTo>
                        <a:pt x="1556955" y="518455"/>
                      </a:lnTo>
                      <a:lnTo>
                        <a:pt x="1557186" y="517969"/>
                      </a:lnTo>
                      <a:lnTo>
                        <a:pt x="1558400" y="515358"/>
                      </a:lnTo>
                      <a:lnTo>
                        <a:pt x="1558850" y="514387"/>
                      </a:lnTo>
                      <a:lnTo>
                        <a:pt x="1558947" y="513330"/>
                      </a:lnTo>
                      <a:lnTo>
                        <a:pt x="1559226" y="510137"/>
                      </a:lnTo>
                      <a:lnTo>
                        <a:pt x="1559299" y="509323"/>
                      </a:lnTo>
                      <a:lnTo>
                        <a:pt x="1559153" y="508522"/>
                      </a:lnTo>
                      <a:lnTo>
                        <a:pt x="1558583" y="505413"/>
                      </a:lnTo>
                      <a:lnTo>
                        <a:pt x="1558352" y="504175"/>
                      </a:lnTo>
                      <a:lnTo>
                        <a:pt x="1557660" y="503130"/>
                      </a:lnTo>
                      <a:lnTo>
                        <a:pt x="1554733" y="498747"/>
                      </a:lnTo>
                      <a:lnTo>
                        <a:pt x="1554272" y="498055"/>
                      </a:lnTo>
                      <a:lnTo>
                        <a:pt x="1553653" y="497520"/>
                      </a:lnTo>
                      <a:lnTo>
                        <a:pt x="1549233" y="493707"/>
                      </a:lnTo>
                      <a:lnTo>
                        <a:pt x="1546513" y="490854"/>
                      </a:lnTo>
                      <a:lnTo>
                        <a:pt x="1545893" y="490223"/>
                      </a:lnTo>
                      <a:lnTo>
                        <a:pt x="1545116" y="489785"/>
                      </a:lnTo>
                      <a:lnTo>
                        <a:pt x="1543744" y="489020"/>
                      </a:lnTo>
                      <a:lnTo>
                        <a:pt x="1542845" y="488510"/>
                      </a:lnTo>
                      <a:lnTo>
                        <a:pt x="1541825" y="488328"/>
                      </a:lnTo>
                      <a:lnTo>
                        <a:pt x="1540210" y="488049"/>
                      </a:lnTo>
                      <a:lnTo>
                        <a:pt x="1539810" y="487976"/>
                      </a:lnTo>
                      <a:lnTo>
                        <a:pt x="1539397" y="487952"/>
                      </a:lnTo>
                      <a:lnTo>
                        <a:pt x="1538875" y="487939"/>
                      </a:lnTo>
                      <a:lnTo>
                        <a:pt x="1534200" y="484467"/>
                      </a:lnTo>
                      <a:lnTo>
                        <a:pt x="1533702" y="484090"/>
                      </a:lnTo>
                      <a:lnTo>
                        <a:pt x="1533131" y="483835"/>
                      </a:lnTo>
                      <a:lnTo>
                        <a:pt x="1530265" y="482487"/>
                      </a:lnTo>
                      <a:lnTo>
                        <a:pt x="1529780" y="482245"/>
                      </a:lnTo>
                      <a:lnTo>
                        <a:pt x="1529257" y="482111"/>
                      </a:lnTo>
                      <a:lnTo>
                        <a:pt x="1520709" y="479816"/>
                      </a:lnTo>
                      <a:lnTo>
                        <a:pt x="1520102" y="479537"/>
                      </a:lnTo>
                      <a:lnTo>
                        <a:pt x="1519810" y="479221"/>
                      </a:lnTo>
                      <a:lnTo>
                        <a:pt x="1519312" y="478055"/>
                      </a:lnTo>
                      <a:lnTo>
                        <a:pt x="1517649" y="468171"/>
                      </a:lnTo>
                      <a:lnTo>
                        <a:pt x="1517442" y="466993"/>
                      </a:lnTo>
                      <a:lnTo>
                        <a:pt x="1516811" y="465973"/>
                      </a:lnTo>
                      <a:lnTo>
                        <a:pt x="1515317" y="463569"/>
                      </a:lnTo>
                      <a:lnTo>
                        <a:pt x="1514820" y="462767"/>
                      </a:lnTo>
                      <a:lnTo>
                        <a:pt x="1514103" y="462148"/>
                      </a:lnTo>
                      <a:lnTo>
                        <a:pt x="1512488" y="460776"/>
                      </a:lnTo>
                      <a:lnTo>
                        <a:pt x="1512099" y="460460"/>
                      </a:lnTo>
                      <a:lnTo>
                        <a:pt x="1511674" y="460205"/>
                      </a:lnTo>
                      <a:lnTo>
                        <a:pt x="1509962" y="459173"/>
                      </a:lnTo>
                      <a:lnTo>
                        <a:pt x="1509428" y="458857"/>
                      </a:lnTo>
                      <a:lnTo>
                        <a:pt x="1508845" y="458651"/>
                      </a:lnTo>
                      <a:lnTo>
                        <a:pt x="1506720" y="457898"/>
                      </a:lnTo>
                      <a:lnTo>
                        <a:pt x="1506404" y="457777"/>
                      </a:lnTo>
                      <a:lnTo>
                        <a:pt x="1506077" y="457704"/>
                      </a:lnTo>
                      <a:lnTo>
                        <a:pt x="1499349" y="456161"/>
                      </a:lnTo>
                      <a:lnTo>
                        <a:pt x="1498232" y="455688"/>
                      </a:lnTo>
                      <a:lnTo>
                        <a:pt x="1497079" y="454741"/>
                      </a:lnTo>
                      <a:lnTo>
                        <a:pt x="1496216" y="453672"/>
                      </a:lnTo>
                      <a:lnTo>
                        <a:pt x="1495403" y="451863"/>
                      </a:lnTo>
                      <a:lnTo>
                        <a:pt x="1493752" y="445172"/>
                      </a:lnTo>
                      <a:lnTo>
                        <a:pt x="1493654" y="444771"/>
                      </a:lnTo>
                      <a:lnTo>
                        <a:pt x="1493509" y="444407"/>
                      </a:lnTo>
                      <a:lnTo>
                        <a:pt x="1492768" y="442525"/>
                      </a:lnTo>
                      <a:lnTo>
                        <a:pt x="1492476" y="441772"/>
                      </a:lnTo>
                      <a:lnTo>
                        <a:pt x="1492003" y="441129"/>
                      </a:lnTo>
                      <a:lnTo>
                        <a:pt x="1490728" y="439392"/>
                      </a:lnTo>
                      <a:lnTo>
                        <a:pt x="1489854" y="438202"/>
                      </a:lnTo>
                      <a:lnTo>
                        <a:pt x="1488530" y="437546"/>
                      </a:lnTo>
                      <a:lnTo>
                        <a:pt x="1486757" y="436672"/>
                      </a:lnTo>
                      <a:lnTo>
                        <a:pt x="1485761" y="436174"/>
                      </a:lnTo>
                      <a:lnTo>
                        <a:pt x="1484644" y="436065"/>
                      </a:lnTo>
                      <a:lnTo>
                        <a:pt x="1482799" y="435883"/>
                      </a:lnTo>
                      <a:lnTo>
                        <a:pt x="1482058" y="435810"/>
                      </a:lnTo>
                      <a:lnTo>
                        <a:pt x="1482313" y="435057"/>
                      </a:lnTo>
                      <a:lnTo>
                        <a:pt x="1482179" y="433758"/>
                      </a:lnTo>
                      <a:lnTo>
                        <a:pt x="1481949" y="431572"/>
                      </a:lnTo>
                      <a:lnTo>
                        <a:pt x="1481754" y="429702"/>
                      </a:lnTo>
                      <a:lnTo>
                        <a:pt x="1480528" y="428269"/>
                      </a:lnTo>
                      <a:lnTo>
                        <a:pt x="1480224" y="427917"/>
                      </a:lnTo>
                      <a:lnTo>
                        <a:pt x="1481426" y="428087"/>
                      </a:lnTo>
                      <a:lnTo>
                        <a:pt x="1481961" y="428160"/>
                      </a:lnTo>
                      <a:lnTo>
                        <a:pt x="1482495" y="428148"/>
                      </a:lnTo>
                      <a:lnTo>
                        <a:pt x="1483819" y="428099"/>
                      </a:lnTo>
                      <a:lnTo>
                        <a:pt x="1485009" y="428051"/>
                      </a:lnTo>
                      <a:lnTo>
                        <a:pt x="1486089" y="427565"/>
                      </a:lnTo>
                      <a:lnTo>
                        <a:pt x="1487061" y="427128"/>
                      </a:lnTo>
                      <a:lnTo>
                        <a:pt x="1489246" y="426144"/>
                      </a:lnTo>
                      <a:lnTo>
                        <a:pt x="1490169" y="423922"/>
                      </a:lnTo>
                      <a:lnTo>
                        <a:pt x="1490910" y="422149"/>
                      </a:lnTo>
                      <a:lnTo>
                        <a:pt x="1491104" y="421688"/>
                      </a:lnTo>
                      <a:lnTo>
                        <a:pt x="1491214" y="421214"/>
                      </a:lnTo>
                      <a:lnTo>
                        <a:pt x="1491906" y="418312"/>
                      </a:lnTo>
                      <a:lnTo>
                        <a:pt x="1491991" y="417948"/>
                      </a:lnTo>
                      <a:lnTo>
                        <a:pt x="1492027" y="417584"/>
                      </a:lnTo>
                      <a:lnTo>
                        <a:pt x="1493144" y="407432"/>
                      </a:lnTo>
                      <a:lnTo>
                        <a:pt x="1494346" y="402806"/>
                      </a:lnTo>
                      <a:lnTo>
                        <a:pt x="1494638" y="402077"/>
                      </a:lnTo>
                      <a:lnTo>
                        <a:pt x="1494747" y="401773"/>
                      </a:lnTo>
                      <a:lnTo>
                        <a:pt x="1494820" y="401470"/>
                      </a:lnTo>
                      <a:lnTo>
                        <a:pt x="1495051" y="400535"/>
                      </a:lnTo>
                      <a:lnTo>
                        <a:pt x="1495148" y="400170"/>
                      </a:lnTo>
                      <a:lnTo>
                        <a:pt x="1495184" y="399794"/>
                      </a:lnTo>
                      <a:lnTo>
                        <a:pt x="1495464" y="397438"/>
                      </a:lnTo>
                      <a:lnTo>
                        <a:pt x="1495561" y="396625"/>
                      </a:lnTo>
                      <a:lnTo>
                        <a:pt x="1495439" y="395823"/>
                      </a:lnTo>
                      <a:lnTo>
                        <a:pt x="1494699" y="390978"/>
                      </a:lnTo>
                      <a:lnTo>
                        <a:pt x="1494614" y="390408"/>
                      </a:lnTo>
                      <a:lnTo>
                        <a:pt x="1494419" y="389873"/>
                      </a:lnTo>
                      <a:lnTo>
                        <a:pt x="1490169" y="377815"/>
                      </a:lnTo>
                      <a:lnTo>
                        <a:pt x="1489283" y="375290"/>
                      </a:lnTo>
                      <a:lnTo>
                        <a:pt x="1486830" y="374245"/>
                      </a:lnTo>
                      <a:lnTo>
                        <a:pt x="1485215" y="373553"/>
                      </a:lnTo>
                      <a:lnTo>
                        <a:pt x="1484924" y="373432"/>
                      </a:lnTo>
                      <a:lnTo>
                        <a:pt x="1484620" y="373335"/>
                      </a:lnTo>
                      <a:lnTo>
                        <a:pt x="1483309" y="372934"/>
                      </a:lnTo>
                      <a:lnTo>
                        <a:pt x="1482993" y="372825"/>
                      </a:lnTo>
                      <a:lnTo>
                        <a:pt x="1482665" y="372764"/>
                      </a:lnTo>
                      <a:lnTo>
                        <a:pt x="1481171" y="372484"/>
                      </a:lnTo>
                      <a:lnTo>
                        <a:pt x="1480771" y="372412"/>
                      </a:lnTo>
                      <a:lnTo>
                        <a:pt x="1480370" y="372387"/>
                      </a:lnTo>
                      <a:lnTo>
                        <a:pt x="1469587" y="371792"/>
                      </a:lnTo>
                      <a:lnTo>
                        <a:pt x="1470304" y="369376"/>
                      </a:lnTo>
                      <a:lnTo>
                        <a:pt x="1470534" y="368587"/>
                      </a:lnTo>
                      <a:lnTo>
                        <a:pt x="1470546" y="367773"/>
                      </a:lnTo>
                      <a:lnTo>
                        <a:pt x="1470595" y="364992"/>
                      </a:lnTo>
                      <a:lnTo>
                        <a:pt x="1470449" y="362770"/>
                      </a:lnTo>
                      <a:lnTo>
                        <a:pt x="1470486" y="362200"/>
                      </a:lnTo>
                      <a:lnTo>
                        <a:pt x="1470486" y="362187"/>
                      </a:lnTo>
                      <a:lnTo>
                        <a:pt x="1471324" y="361920"/>
                      </a:lnTo>
                      <a:lnTo>
                        <a:pt x="1481317" y="360900"/>
                      </a:lnTo>
                      <a:lnTo>
                        <a:pt x="1483916" y="360415"/>
                      </a:lnTo>
                      <a:lnTo>
                        <a:pt x="1484353" y="360329"/>
                      </a:lnTo>
                      <a:lnTo>
                        <a:pt x="1484778" y="360171"/>
                      </a:lnTo>
                      <a:lnTo>
                        <a:pt x="1487194" y="359309"/>
                      </a:lnTo>
                      <a:lnTo>
                        <a:pt x="1487886" y="359055"/>
                      </a:lnTo>
                      <a:lnTo>
                        <a:pt x="1488506" y="358654"/>
                      </a:lnTo>
                      <a:lnTo>
                        <a:pt x="1490971" y="357015"/>
                      </a:lnTo>
                      <a:lnTo>
                        <a:pt x="1491408" y="356723"/>
                      </a:lnTo>
                      <a:lnTo>
                        <a:pt x="1491796" y="356359"/>
                      </a:lnTo>
                      <a:lnTo>
                        <a:pt x="1496739" y="351659"/>
                      </a:lnTo>
                      <a:lnTo>
                        <a:pt x="1498111" y="350615"/>
                      </a:lnTo>
                      <a:lnTo>
                        <a:pt x="1499094" y="350081"/>
                      </a:lnTo>
                      <a:lnTo>
                        <a:pt x="1502519" y="348855"/>
                      </a:lnTo>
                      <a:lnTo>
                        <a:pt x="1502871" y="348721"/>
                      </a:lnTo>
                      <a:lnTo>
                        <a:pt x="1503211" y="348551"/>
                      </a:lnTo>
                      <a:lnTo>
                        <a:pt x="1504413" y="347944"/>
                      </a:lnTo>
                      <a:lnTo>
                        <a:pt x="1506077" y="347106"/>
                      </a:lnTo>
                      <a:lnTo>
                        <a:pt x="1506987" y="345479"/>
                      </a:lnTo>
                      <a:lnTo>
                        <a:pt x="1507789" y="344046"/>
                      </a:lnTo>
                      <a:lnTo>
                        <a:pt x="1508602" y="342601"/>
                      </a:lnTo>
                      <a:lnTo>
                        <a:pt x="1508566" y="340937"/>
                      </a:lnTo>
                      <a:lnTo>
                        <a:pt x="1508517" y="339104"/>
                      </a:lnTo>
                      <a:lnTo>
                        <a:pt x="1508493" y="338351"/>
                      </a:lnTo>
                      <a:lnTo>
                        <a:pt x="1508299" y="337622"/>
                      </a:lnTo>
                      <a:lnTo>
                        <a:pt x="1507279" y="333943"/>
                      </a:lnTo>
                      <a:lnTo>
                        <a:pt x="1507181" y="333578"/>
                      </a:lnTo>
                      <a:lnTo>
                        <a:pt x="1507036" y="333239"/>
                      </a:lnTo>
                      <a:lnTo>
                        <a:pt x="1506392" y="331708"/>
                      </a:lnTo>
                      <a:lnTo>
                        <a:pt x="1505943" y="329936"/>
                      </a:lnTo>
                      <a:lnTo>
                        <a:pt x="1505773" y="327677"/>
                      </a:lnTo>
                      <a:lnTo>
                        <a:pt x="1506259" y="316433"/>
                      </a:lnTo>
                      <a:lnTo>
                        <a:pt x="1506574" y="315304"/>
                      </a:lnTo>
                      <a:lnTo>
                        <a:pt x="1507424" y="313191"/>
                      </a:lnTo>
                      <a:lnTo>
                        <a:pt x="1508420" y="311576"/>
                      </a:lnTo>
                      <a:lnTo>
                        <a:pt x="1508772" y="311005"/>
                      </a:lnTo>
                      <a:lnTo>
                        <a:pt x="1508991" y="310361"/>
                      </a:lnTo>
                      <a:lnTo>
                        <a:pt x="1509792" y="308054"/>
                      </a:lnTo>
                      <a:lnTo>
                        <a:pt x="1510630" y="305638"/>
                      </a:lnTo>
                      <a:lnTo>
                        <a:pt x="1509477" y="303343"/>
                      </a:lnTo>
                      <a:lnTo>
                        <a:pt x="1508347" y="301096"/>
                      </a:lnTo>
                      <a:lnTo>
                        <a:pt x="1508032" y="300465"/>
                      </a:lnTo>
                      <a:lnTo>
                        <a:pt x="1507582" y="299930"/>
                      </a:lnTo>
                      <a:lnTo>
                        <a:pt x="1507534" y="299870"/>
                      </a:lnTo>
                      <a:lnTo>
                        <a:pt x="1507825" y="292341"/>
                      </a:lnTo>
                      <a:lnTo>
                        <a:pt x="1507947" y="291612"/>
                      </a:lnTo>
                      <a:lnTo>
                        <a:pt x="1507995" y="291285"/>
                      </a:lnTo>
                      <a:lnTo>
                        <a:pt x="1508007" y="290945"/>
                      </a:lnTo>
                      <a:lnTo>
                        <a:pt x="1508056" y="289973"/>
                      </a:lnTo>
                      <a:lnTo>
                        <a:pt x="1508104" y="288892"/>
                      </a:lnTo>
                      <a:lnTo>
                        <a:pt x="1507777" y="287860"/>
                      </a:lnTo>
                      <a:lnTo>
                        <a:pt x="1507485" y="286938"/>
                      </a:lnTo>
                      <a:lnTo>
                        <a:pt x="1506878" y="284995"/>
                      </a:lnTo>
                      <a:lnTo>
                        <a:pt x="1505227" y="283804"/>
                      </a:lnTo>
                      <a:lnTo>
                        <a:pt x="1503794" y="282785"/>
                      </a:lnTo>
                      <a:lnTo>
                        <a:pt x="1503454" y="282542"/>
                      </a:lnTo>
                      <a:lnTo>
                        <a:pt x="1503089" y="282347"/>
                      </a:lnTo>
                      <a:lnTo>
                        <a:pt x="1501827" y="281680"/>
                      </a:lnTo>
                      <a:lnTo>
                        <a:pt x="1500151" y="280927"/>
                      </a:lnTo>
                      <a:lnTo>
                        <a:pt x="1499762" y="280745"/>
                      </a:lnTo>
                      <a:lnTo>
                        <a:pt x="1499349" y="280635"/>
                      </a:lnTo>
                      <a:lnTo>
                        <a:pt x="1496532" y="279834"/>
                      </a:lnTo>
                      <a:lnTo>
                        <a:pt x="1495925" y="279652"/>
                      </a:lnTo>
                      <a:lnTo>
                        <a:pt x="1495294" y="279603"/>
                      </a:lnTo>
                      <a:lnTo>
                        <a:pt x="1494808" y="279567"/>
                      </a:lnTo>
                      <a:lnTo>
                        <a:pt x="1494869" y="279518"/>
                      </a:lnTo>
                      <a:lnTo>
                        <a:pt x="1496010" y="278632"/>
                      </a:lnTo>
                      <a:lnTo>
                        <a:pt x="1496629" y="277332"/>
                      </a:lnTo>
                      <a:lnTo>
                        <a:pt x="1497540" y="275414"/>
                      </a:lnTo>
                      <a:lnTo>
                        <a:pt x="1497941" y="274564"/>
                      </a:lnTo>
                      <a:lnTo>
                        <a:pt x="1498062" y="273629"/>
                      </a:lnTo>
                      <a:lnTo>
                        <a:pt x="1498463" y="270642"/>
                      </a:lnTo>
                      <a:lnTo>
                        <a:pt x="1498596" y="269682"/>
                      </a:lnTo>
                      <a:lnTo>
                        <a:pt x="1498414" y="268723"/>
                      </a:lnTo>
                      <a:lnTo>
                        <a:pt x="1495476" y="252962"/>
                      </a:lnTo>
                      <a:lnTo>
                        <a:pt x="1495415" y="234492"/>
                      </a:lnTo>
                      <a:lnTo>
                        <a:pt x="1495306" y="230242"/>
                      </a:lnTo>
                      <a:lnTo>
                        <a:pt x="1495294" y="229914"/>
                      </a:lnTo>
                      <a:lnTo>
                        <a:pt x="1495245" y="229586"/>
                      </a:lnTo>
                      <a:lnTo>
                        <a:pt x="1495002" y="227826"/>
                      </a:lnTo>
                      <a:lnTo>
                        <a:pt x="1494492" y="225215"/>
                      </a:lnTo>
                      <a:lnTo>
                        <a:pt x="1494310" y="224292"/>
                      </a:lnTo>
                      <a:lnTo>
                        <a:pt x="1493849" y="223479"/>
                      </a:lnTo>
                      <a:lnTo>
                        <a:pt x="1492986" y="221924"/>
                      </a:lnTo>
                      <a:lnTo>
                        <a:pt x="1492634" y="221293"/>
                      </a:lnTo>
                      <a:lnTo>
                        <a:pt x="1492149" y="220771"/>
                      </a:lnTo>
                      <a:lnTo>
                        <a:pt x="1490946" y="219447"/>
                      </a:lnTo>
                      <a:lnTo>
                        <a:pt x="1490181" y="218621"/>
                      </a:lnTo>
                      <a:lnTo>
                        <a:pt x="1489174" y="218123"/>
                      </a:lnTo>
                      <a:lnTo>
                        <a:pt x="1487789" y="217432"/>
                      </a:lnTo>
                      <a:lnTo>
                        <a:pt x="1486709" y="216885"/>
                      </a:lnTo>
                      <a:lnTo>
                        <a:pt x="1485506" y="216800"/>
                      </a:lnTo>
                      <a:lnTo>
                        <a:pt x="1484292" y="216715"/>
                      </a:lnTo>
                      <a:lnTo>
                        <a:pt x="1483393" y="216654"/>
                      </a:lnTo>
                      <a:lnTo>
                        <a:pt x="1482519" y="216860"/>
                      </a:lnTo>
                      <a:lnTo>
                        <a:pt x="1480916" y="217225"/>
                      </a:lnTo>
                      <a:lnTo>
                        <a:pt x="1480601" y="217298"/>
                      </a:lnTo>
                      <a:lnTo>
                        <a:pt x="1480297" y="217407"/>
                      </a:lnTo>
                      <a:lnTo>
                        <a:pt x="1477856" y="218245"/>
                      </a:lnTo>
                      <a:lnTo>
                        <a:pt x="1477735" y="218233"/>
                      </a:lnTo>
                      <a:lnTo>
                        <a:pt x="1477091" y="218123"/>
                      </a:lnTo>
                      <a:lnTo>
                        <a:pt x="1476581" y="217868"/>
                      </a:lnTo>
                      <a:lnTo>
                        <a:pt x="1476047" y="217468"/>
                      </a:lnTo>
                      <a:lnTo>
                        <a:pt x="1475294" y="216581"/>
                      </a:lnTo>
                      <a:lnTo>
                        <a:pt x="1474699" y="215695"/>
                      </a:lnTo>
                      <a:lnTo>
                        <a:pt x="1473424" y="212744"/>
                      </a:lnTo>
                      <a:lnTo>
                        <a:pt x="1472635" y="209842"/>
                      </a:lnTo>
                      <a:lnTo>
                        <a:pt x="1472574" y="208215"/>
                      </a:lnTo>
                      <a:lnTo>
                        <a:pt x="1472732" y="207037"/>
                      </a:lnTo>
                      <a:lnTo>
                        <a:pt x="1474675" y="200273"/>
                      </a:lnTo>
                      <a:lnTo>
                        <a:pt x="1474796" y="199860"/>
                      </a:lnTo>
                      <a:lnTo>
                        <a:pt x="1474857" y="199448"/>
                      </a:lnTo>
                      <a:lnTo>
                        <a:pt x="1476581" y="187183"/>
                      </a:lnTo>
                      <a:lnTo>
                        <a:pt x="1476873" y="186018"/>
                      </a:lnTo>
                      <a:lnTo>
                        <a:pt x="1477456" y="184779"/>
                      </a:lnTo>
                      <a:lnTo>
                        <a:pt x="1478111" y="183917"/>
                      </a:lnTo>
                      <a:lnTo>
                        <a:pt x="1479569" y="182581"/>
                      </a:lnTo>
                      <a:lnTo>
                        <a:pt x="1490825" y="175417"/>
                      </a:lnTo>
                      <a:lnTo>
                        <a:pt x="1504996" y="168507"/>
                      </a:lnTo>
                      <a:lnTo>
                        <a:pt x="1505639" y="168204"/>
                      </a:lnTo>
                      <a:lnTo>
                        <a:pt x="1506186" y="167755"/>
                      </a:lnTo>
                      <a:lnTo>
                        <a:pt x="1508359" y="165982"/>
                      </a:lnTo>
                      <a:lnTo>
                        <a:pt x="1514261" y="160129"/>
                      </a:lnTo>
                      <a:lnTo>
                        <a:pt x="1514953" y="159449"/>
                      </a:lnTo>
                      <a:lnTo>
                        <a:pt x="1515390" y="158587"/>
                      </a:lnTo>
                      <a:lnTo>
                        <a:pt x="1517624" y="154191"/>
                      </a:lnTo>
                      <a:lnTo>
                        <a:pt x="1518268" y="152928"/>
                      </a:lnTo>
                      <a:lnTo>
                        <a:pt x="1518280" y="151520"/>
                      </a:lnTo>
                      <a:lnTo>
                        <a:pt x="1518389" y="141878"/>
                      </a:lnTo>
                      <a:lnTo>
                        <a:pt x="1518475" y="133609"/>
                      </a:lnTo>
                      <a:lnTo>
                        <a:pt x="1510569" y="135989"/>
                      </a:lnTo>
                      <a:lnTo>
                        <a:pt x="1507534" y="136899"/>
                      </a:lnTo>
                      <a:lnTo>
                        <a:pt x="1506441" y="137227"/>
                      </a:lnTo>
                      <a:lnTo>
                        <a:pt x="1505542" y="137931"/>
                      </a:lnTo>
                      <a:lnTo>
                        <a:pt x="1502640" y="140214"/>
                      </a:lnTo>
                      <a:lnTo>
                        <a:pt x="1502470" y="140141"/>
                      </a:lnTo>
                      <a:lnTo>
                        <a:pt x="1482398" y="127938"/>
                      </a:lnTo>
                      <a:lnTo>
                        <a:pt x="1481912" y="127659"/>
                      </a:lnTo>
                      <a:lnTo>
                        <a:pt x="1481390" y="127452"/>
                      </a:lnTo>
                      <a:lnTo>
                        <a:pt x="1477953" y="126165"/>
                      </a:lnTo>
                      <a:lnTo>
                        <a:pt x="1477407" y="125959"/>
                      </a:lnTo>
                      <a:lnTo>
                        <a:pt x="1476836" y="125849"/>
                      </a:lnTo>
                      <a:lnTo>
                        <a:pt x="1474821" y="125509"/>
                      </a:lnTo>
                      <a:lnTo>
                        <a:pt x="1474274" y="125412"/>
                      </a:lnTo>
                      <a:lnTo>
                        <a:pt x="1473716" y="125424"/>
                      </a:lnTo>
                      <a:lnTo>
                        <a:pt x="1472052" y="125449"/>
                      </a:lnTo>
                      <a:lnTo>
                        <a:pt x="1471530" y="125461"/>
                      </a:lnTo>
                      <a:lnTo>
                        <a:pt x="1471008" y="125558"/>
                      </a:lnTo>
                      <a:lnTo>
                        <a:pt x="1469514" y="125837"/>
                      </a:lnTo>
                      <a:lnTo>
                        <a:pt x="1469162" y="125910"/>
                      </a:lnTo>
                      <a:lnTo>
                        <a:pt x="1469041" y="125946"/>
                      </a:lnTo>
                      <a:lnTo>
                        <a:pt x="1469296" y="125181"/>
                      </a:lnTo>
                      <a:lnTo>
                        <a:pt x="1469332" y="124368"/>
                      </a:lnTo>
                      <a:lnTo>
                        <a:pt x="1469381" y="123299"/>
                      </a:lnTo>
                      <a:lnTo>
                        <a:pt x="1469405" y="122559"/>
                      </a:lnTo>
                      <a:lnTo>
                        <a:pt x="1469259" y="121830"/>
                      </a:lnTo>
                      <a:lnTo>
                        <a:pt x="1468737" y="119195"/>
                      </a:lnTo>
                      <a:lnTo>
                        <a:pt x="1468664" y="118806"/>
                      </a:lnTo>
                      <a:lnTo>
                        <a:pt x="1468531" y="118430"/>
                      </a:lnTo>
                      <a:lnTo>
                        <a:pt x="1467960" y="116754"/>
                      </a:lnTo>
                      <a:lnTo>
                        <a:pt x="1467644" y="115819"/>
                      </a:lnTo>
                      <a:lnTo>
                        <a:pt x="1467049" y="115042"/>
                      </a:lnTo>
                      <a:lnTo>
                        <a:pt x="1465325" y="112771"/>
                      </a:lnTo>
                      <a:lnTo>
                        <a:pt x="1464948" y="112274"/>
                      </a:lnTo>
                      <a:lnTo>
                        <a:pt x="1464475" y="111873"/>
                      </a:lnTo>
                      <a:lnTo>
                        <a:pt x="1461718" y="109468"/>
                      </a:lnTo>
                      <a:lnTo>
                        <a:pt x="1461451" y="109238"/>
                      </a:lnTo>
                      <a:lnTo>
                        <a:pt x="1461160" y="109031"/>
                      </a:lnTo>
                      <a:lnTo>
                        <a:pt x="1452356" y="102984"/>
                      </a:lnTo>
                      <a:lnTo>
                        <a:pt x="1451069" y="101478"/>
                      </a:lnTo>
                      <a:lnTo>
                        <a:pt x="1450996" y="101260"/>
                      </a:lnTo>
                      <a:lnTo>
                        <a:pt x="1450838" y="99948"/>
                      </a:lnTo>
                      <a:lnTo>
                        <a:pt x="1450826" y="98880"/>
                      </a:lnTo>
                      <a:lnTo>
                        <a:pt x="1450790" y="97908"/>
                      </a:lnTo>
                      <a:lnTo>
                        <a:pt x="1450450" y="96998"/>
                      </a:lnTo>
                      <a:lnTo>
                        <a:pt x="1449928" y="95589"/>
                      </a:lnTo>
                      <a:lnTo>
                        <a:pt x="1449369" y="94059"/>
                      </a:lnTo>
                      <a:lnTo>
                        <a:pt x="1448106" y="93015"/>
                      </a:lnTo>
                      <a:lnTo>
                        <a:pt x="1447025" y="92129"/>
                      </a:lnTo>
                      <a:lnTo>
                        <a:pt x="1445690" y="91023"/>
                      </a:lnTo>
                      <a:lnTo>
                        <a:pt x="1443978" y="90793"/>
                      </a:lnTo>
                      <a:lnTo>
                        <a:pt x="1438465" y="90040"/>
                      </a:lnTo>
                      <a:lnTo>
                        <a:pt x="1434421" y="88218"/>
                      </a:lnTo>
                      <a:lnTo>
                        <a:pt x="1426795" y="83143"/>
                      </a:lnTo>
                      <a:lnTo>
                        <a:pt x="1424088" y="80677"/>
                      </a:lnTo>
                      <a:lnTo>
                        <a:pt x="1418672" y="75760"/>
                      </a:lnTo>
                      <a:lnTo>
                        <a:pt x="1414834" y="81989"/>
                      </a:lnTo>
                      <a:lnTo>
                        <a:pt x="1414519" y="82523"/>
                      </a:lnTo>
                      <a:lnTo>
                        <a:pt x="1414373" y="82645"/>
                      </a:lnTo>
                      <a:lnTo>
                        <a:pt x="1413402" y="83155"/>
                      </a:lnTo>
                      <a:lnTo>
                        <a:pt x="1403457" y="86324"/>
                      </a:lnTo>
                      <a:lnTo>
                        <a:pt x="1402643" y="86579"/>
                      </a:lnTo>
                      <a:lnTo>
                        <a:pt x="1401926" y="87053"/>
                      </a:lnTo>
                      <a:lnTo>
                        <a:pt x="1398259" y="89493"/>
                      </a:lnTo>
                      <a:lnTo>
                        <a:pt x="1396705" y="90525"/>
                      </a:lnTo>
                      <a:lnTo>
                        <a:pt x="1396001" y="92274"/>
                      </a:lnTo>
                      <a:lnTo>
                        <a:pt x="1395454" y="93610"/>
                      </a:lnTo>
                      <a:lnTo>
                        <a:pt x="1385959" y="96694"/>
                      </a:lnTo>
                      <a:lnTo>
                        <a:pt x="1385327" y="94946"/>
                      </a:lnTo>
                      <a:lnTo>
                        <a:pt x="1381126" y="94326"/>
                      </a:lnTo>
                      <a:lnTo>
                        <a:pt x="1378758" y="94217"/>
                      </a:lnTo>
                      <a:lnTo>
                        <a:pt x="1377641" y="94156"/>
                      </a:lnTo>
                      <a:lnTo>
                        <a:pt x="1376584" y="94508"/>
                      </a:lnTo>
                      <a:lnTo>
                        <a:pt x="1373354" y="95577"/>
                      </a:lnTo>
                      <a:lnTo>
                        <a:pt x="1371606" y="95844"/>
                      </a:lnTo>
                      <a:lnTo>
                        <a:pt x="1369481" y="96160"/>
                      </a:lnTo>
                      <a:lnTo>
                        <a:pt x="1368036" y="97751"/>
                      </a:lnTo>
                      <a:lnTo>
                        <a:pt x="1366396" y="99560"/>
                      </a:lnTo>
                      <a:lnTo>
                        <a:pt x="1364101" y="100276"/>
                      </a:lnTo>
                      <a:lnTo>
                        <a:pt x="1361770" y="100714"/>
                      </a:lnTo>
                      <a:lnTo>
                        <a:pt x="1359232" y="100908"/>
                      </a:lnTo>
                      <a:lnTo>
                        <a:pt x="1359183" y="100908"/>
                      </a:lnTo>
                      <a:lnTo>
                        <a:pt x="1358503" y="99159"/>
                      </a:lnTo>
                      <a:lnTo>
                        <a:pt x="1357083" y="96233"/>
                      </a:lnTo>
                      <a:lnTo>
                        <a:pt x="1356779" y="95601"/>
                      </a:lnTo>
                      <a:lnTo>
                        <a:pt x="1356342" y="95067"/>
                      </a:lnTo>
                      <a:lnTo>
                        <a:pt x="1354678" y="93027"/>
                      </a:lnTo>
                      <a:lnTo>
                        <a:pt x="1353962" y="92165"/>
                      </a:lnTo>
                      <a:lnTo>
                        <a:pt x="1352978" y="91606"/>
                      </a:lnTo>
                      <a:lnTo>
                        <a:pt x="1350222" y="90028"/>
                      </a:lnTo>
                      <a:lnTo>
                        <a:pt x="1349518" y="89615"/>
                      </a:lnTo>
                      <a:lnTo>
                        <a:pt x="1348728" y="89409"/>
                      </a:lnTo>
                      <a:lnTo>
                        <a:pt x="1345510" y="88583"/>
                      </a:lnTo>
                      <a:lnTo>
                        <a:pt x="1345049" y="88461"/>
                      </a:lnTo>
                      <a:lnTo>
                        <a:pt x="1344563" y="88413"/>
                      </a:lnTo>
                      <a:lnTo>
                        <a:pt x="1340325" y="88012"/>
                      </a:lnTo>
                      <a:lnTo>
                        <a:pt x="1339439" y="87927"/>
                      </a:lnTo>
                      <a:lnTo>
                        <a:pt x="1338577" y="88109"/>
                      </a:lnTo>
                      <a:lnTo>
                        <a:pt x="1329336" y="89918"/>
                      </a:lnTo>
                      <a:lnTo>
                        <a:pt x="1324200" y="89420"/>
                      </a:lnTo>
                      <a:lnTo>
                        <a:pt x="1323471" y="89348"/>
                      </a:lnTo>
                      <a:lnTo>
                        <a:pt x="1322742" y="89457"/>
                      </a:lnTo>
                      <a:lnTo>
                        <a:pt x="1320435" y="89785"/>
                      </a:lnTo>
                      <a:lnTo>
                        <a:pt x="1319743" y="89894"/>
                      </a:lnTo>
                      <a:lnTo>
                        <a:pt x="1319087" y="90149"/>
                      </a:lnTo>
                      <a:lnTo>
                        <a:pt x="1317205" y="90890"/>
                      </a:lnTo>
                      <a:lnTo>
                        <a:pt x="1316622" y="91121"/>
                      </a:lnTo>
                      <a:lnTo>
                        <a:pt x="1316100" y="91460"/>
                      </a:lnTo>
                      <a:lnTo>
                        <a:pt x="1312870" y="93573"/>
                      </a:lnTo>
                      <a:lnTo>
                        <a:pt x="1312579" y="93768"/>
                      </a:lnTo>
                      <a:lnTo>
                        <a:pt x="1312312" y="93998"/>
                      </a:lnTo>
                      <a:lnTo>
                        <a:pt x="1309021" y="96743"/>
                      </a:lnTo>
                      <a:lnTo>
                        <a:pt x="1307406" y="97738"/>
                      </a:lnTo>
                      <a:lnTo>
                        <a:pt x="1306386" y="98078"/>
                      </a:lnTo>
                      <a:lnTo>
                        <a:pt x="1306374" y="97945"/>
                      </a:lnTo>
                      <a:lnTo>
                        <a:pt x="1306337" y="97593"/>
                      </a:lnTo>
                      <a:lnTo>
                        <a:pt x="1306252" y="97253"/>
                      </a:lnTo>
                      <a:lnTo>
                        <a:pt x="1305852" y="95674"/>
                      </a:lnTo>
                      <a:lnTo>
                        <a:pt x="1305730" y="95213"/>
                      </a:lnTo>
                      <a:lnTo>
                        <a:pt x="1305548" y="94776"/>
                      </a:lnTo>
                      <a:lnTo>
                        <a:pt x="1304929" y="93318"/>
                      </a:lnTo>
                      <a:lnTo>
                        <a:pt x="1304759" y="92942"/>
                      </a:lnTo>
                      <a:lnTo>
                        <a:pt x="1304540" y="92590"/>
                      </a:lnTo>
                      <a:lnTo>
                        <a:pt x="1304212" y="92031"/>
                      </a:lnTo>
                      <a:lnTo>
                        <a:pt x="1304115" y="91752"/>
                      </a:lnTo>
                      <a:lnTo>
                        <a:pt x="1303399" y="88012"/>
                      </a:lnTo>
                      <a:lnTo>
                        <a:pt x="1302889" y="85377"/>
                      </a:lnTo>
                      <a:lnTo>
                        <a:pt x="1300606" y="83980"/>
                      </a:lnTo>
                      <a:lnTo>
                        <a:pt x="1295615" y="80908"/>
                      </a:lnTo>
                      <a:lnTo>
                        <a:pt x="1294097" y="77812"/>
                      </a:lnTo>
                      <a:lnTo>
                        <a:pt x="1293296" y="76172"/>
                      </a:lnTo>
                      <a:lnTo>
                        <a:pt x="1291729" y="75250"/>
                      </a:lnTo>
                      <a:lnTo>
                        <a:pt x="1288852" y="73550"/>
                      </a:lnTo>
                      <a:lnTo>
                        <a:pt x="1288354" y="73258"/>
                      </a:lnTo>
                      <a:lnTo>
                        <a:pt x="1287807" y="73064"/>
                      </a:lnTo>
                      <a:lnTo>
                        <a:pt x="1279489" y="70101"/>
                      </a:lnTo>
                      <a:lnTo>
                        <a:pt x="1279101" y="69955"/>
                      </a:lnTo>
                      <a:lnTo>
                        <a:pt x="1278700" y="69870"/>
                      </a:lnTo>
                      <a:lnTo>
                        <a:pt x="1276162" y="69336"/>
                      </a:lnTo>
                      <a:lnTo>
                        <a:pt x="1275677" y="69227"/>
                      </a:lnTo>
                      <a:lnTo>
                        <a:pt x="1275179" y="69215"/>
                      </a:lnTo>
                      <a:lnTo>
                        <a:pt x="1272544" y="69093"/>
                      </a:lnTo>
                      <a:lnTo>
                        <a:pt x="1272191" y="69069"/>
                      </a:lnTo>
                      <a:lnTo>
                        <a:pt x="1271839" y="69093"/>
                      </a:lnTo>
                      <a:lnTo>
                        <a:pt x="1269872" y="69239"/>
                      </a:lnTo>
                      <a:lnTo>
                        <a:pt x="1267371" y="68960"/>
                      </a:lnTo>
                      <a:lnTo>
                        <a:pt x="1266946" y="68911"/>
                      </a:lnTo>
                      <a:lnTo>
                        <a:pt x="1266521" y="68923"/>
                      </a:lnTo>
                      <a:lnTo>
                        <a:pt x="1260109" y="69105"/>
                      </a:lnTo>
                      <a:lnTo>
                        <a:pt x="1256685" y="68510"/>
                      </a:lnTo>
                      <a:lnTo>
                        <a:pt x="1254949" y="68012"/>
                      </a:lnTo>
                      <a:lnTo>
                        <a:pt x="1248549" y="65001"/>
                      </a:lnTo>
                      <a:lnTo>
                        <a:pt x="1247068" y="64297"/>
                      </a:lnTo>
                      <a:lnTo>
                        <a:pt x="1245441" y="64443"/>
                      </a:lnTo>
                      <a:lnTo>
                        <a:pt x="1241943" y="64734"/>
                      </a:lnTo>
                      <a:lnTo>
                        <a:pt x="1239053" y="64977"/>
                      </a:lnTo>
                      <a:lnTo>
                        <a:pt x="1237426" y="67381"/>
                      </a:lnTo>
                      <a:lnTo>
                        <a:pt x="1236965" y="68061"/>
                      </a:lnTo>
                      <a:lnTo>
                        <a:pt x="1236430" y="68862"/>
                      </a:lnTo>
                      <a:lnTo>
                        <a:pt x="1236163" y="69785"/>
                      </a:lnTo>
                      <a:lnTo>
                        <a:pt x="1235872" y="70818"/>
                      </a:lnTo>
                      <a:lnTo>
                        <a:pt x="1235629" y="71631"/>
                      </a:lnTo>
                      <a:lnTo>
                        <a:pt x="1235629" y="72481"/>
                      </a:lnTo>
                      <a:lnTo>
                        <a:pt x="1235629" y="73950"/>
                      </a:lnTo>
                      <a:lnTo>
                        <a:pt x="1235435" y="75298"/>
                      </a:lnTo>
                      <a:lnTo>
                        <a:pt x="1234888" y="76804"/>
                      </a:lnTo>
                      <a:lnTo>
                        <a:pt x="1234767" y="76901"/>
                      </a:lnTo>
                      <a:lnTo>
                        <a:pt x="1232120" y="77885"/>
                      </a:lnTo>
                      <a:lnTo>
                        <a:pt x="1227238" y="79063"/>
                      </a:lnTo>
                      <a:lnTo>
                        <a:pt x="1226850" y="79160"/>
                      </a:lnTo>
                      <a:lnTo>
                        <a:pt x="1226473" y="79306"/>
                      </a:lnTo>
                      <a:lnTo>
                        <a:pt x="1216953" y="82961"/>
                      </a:lnTo>
                      <a:lnTo>
                        <a:pt x="1211550" y="84430"/>
                      </a:lnTo>
                      <a:lnTo>
                        <a:pt x="1195970" y="86203"/>
                      </a:lnTo>
                      <a:lnTo>
                        <a:pt x="1195436" y="86275"/>
                      </a:lnTo>
                      <a:lnTo>
                        <a:pt x="1194914" y="86433"/>
                      </a:lnTo>
                      <a:lnTo>
                        <a:pt x="1186365" y="89020"/>
                      </a:lnTo>
                      <a:lnTo>
                        <a:pt x="1185977" y="89141"/>
                      </a:lnTo>
                      <a:lnTo>
                        <a:pt x="1185600" y="89311"/>
                      </a:lnTo>
                      <a:lnTo>
                        <a:pt x="1182151" y="90890"/>
                      </a:lnTo>
                      <a:lnTo>
                        <a:pt x="1181095" y="91376"/>
                      </a:lnTo>
                      <a:lnTo>
                        <a:pt x="1180294" y="92213"/>
                      </a:lnTo>
                      <a:lnTo>
                        <a:pt x="1178411" y="94193"/>
                      </a:lnTo>
                      <a:lnTo>
                        <a:pt x="1176384" y="96318"/>
                      </a:lnTo>
                      <a:lnTo>
                        <a:pt x="1176784" y="99220"/>
                      </a:lnTo>
                      <a:lnTo>
                        <a:pt x="1177015" y="100859"/>
                      </a:lnTo>
                      <a:lnTo>
                        <a:pt x="1177088" y="101418"/>
                      </a:lnTo>
                      <a:lnTo>
                        <a:pt x="1177270" y="101952"/>
                      </a:lnTo>
                      <a:lnTo>
                        <a:pt x="1177962" y="104041"/>
                      </a:lnTo>
                      <a:lnTo>
                        <a:pt x="1178266" y="104745"/>
                      </a:lnTo>
                      <a:lnTo>
                        <a:pt x="1178181" y="104781"/>
                      </a:lnTo>
                      <a:lnTo>
                        <a:pt x="1171660" y="105364"/>
                      </a:lnTo>
                      <a:lnTo>
                        <a:pt x="1166062" y="106396"/>
                      </a:lnTo>
                      <a:lnTo>
                        <a:pt x="1165710" y="106469"/>
                      </a:lnTo>
                      <a:lnTo>
                        <a:pt x="1165370" y="106578"/>
                      </a:lnTo>
                      <a:lnTo>
                        <a:pt x="1158655" y="108704"/>
                      </a:lnTo>
                      <a:lnTo>
                        <a:pt x="1147763" y="109699"/>
                      </a:lnTo>
                      <a:lnTo>
                        <a:pt x="1146986" y="109772"/>
                      </a:lnTo>
                      <a:lnTo>
                        <a:pt x="1146245" y="110039"/>
                      </a:lnTo>
                      <a:lnTo>
                        <a:pt x="1142893" y="111253"/>
                      </a:lnTo>
                      <a:lnTo>
                        <a:pt x="1140428" y="111460"/>
                      </a:lnTo>
                      <a:lnTo>
                        <a:pt x="1128407" y="110634"/>
                      </a:lnTo>
                      <a:lnTo>
                        <a:pt x="1117466" y="107708"/>
                      </a:lnTo>
                      <a:lnTo>
                        <a:pt x="1117381" y="107659"/>
                      </a:lnTo>
                      <a:lnTo>
                        <a:pt x="1114333" y="104976"/>
                      </a:lnTo>
                      <a:lnTo>
                        <a:pt x="1114005" y="104696"/>
                      </a:lnTo>
                      <a:lnTo>
                        <a:pt x="1113641" y="104453"/>
                      </a:lnTo>
                      <a:lnTo>
                        <a:pt x="1111978" y="103361"/>
                      </a:lnTo>
                      <a:lnTo>
                        <a:pt x="1111565" y="103093"/>
                      </a:lnTo>
                      <a:lnTo>
                        <a:pt x="1111103" y="102887"/>
                      </a:lnTo>
                      <a:lnTo>
                        <a:pt x="1108687" y="101818"/>
                      </a:lnTo>
                      <a:lnTo>
                        <a:pt x="1107849" y="101454"/>
                      </a:lnTo>
                      <a:lnTo>
                        <a:pt x="1106950" y="101345"/>
                      </a:lnTo>
                      <a:lnTo>
                        <a:pt x="1103854" y="100980"/>
                      </a:lnTo>
                      <a:lnTo>
                        <a:pt x="1103052" y="100883"/>
                      </a:lnTo>
                      <a:lnTo>
                        <a:pt x="1102263" y="100993"/>
                      </a:lnTo>
                      <a:lnTo>
                        <a:pt x="1100138" y="101296"/>
                      </a:lnTo>
                      <a:lnTo>
                        <a:pt x="1099021" y="101466"/>
                      </a:lnTo>
                      <a:lnTo>
                        <a:pt x="1098037" y="102025"/>
                      </a:lnTo>
                      <a:lnTo>
                        <a:pt x="1095985" y="103191"/>
                      </a:lnTo>
                      <a:lnTo>
                        <a:pt x="1095864" y="102061"/>
                      </a:lnTo>
                      <a:lnTo>
                        <a:pt x="1095803" y="101491"/>
                      </a:lnTo>
                      <a:lnTo>
                        <a:pt x="1095633" y="100932"/>
                      </a:lnTo>
                      <a:lnTo>
                        <a:pt x="1094880" y="98491"/>
                      </a:lnTo>
                      <a:lnTo>
                        <a:pt x="1094759" y="98127"/>
                      </a:lnTo>
                      <a:lnTo>
                        <a:pt x="1094601" y="97775"/>
                      </a:lnTo>
                      <a:lnTo>
                        <a:pt x="1093666" y="95723"/>
                      </a:lnTo>
                      <a:lnTo>
                        <a:pt x="1093532" y="91546"/>
                      </a:lnTo>
                      <a:lnTo>
                        <a:pt x="1093472" y="89627"/>
                      </a:lnTo>
                      <a:lnTo>
                        <a:pt x="1092318" y="88097"/>
                      </a:lnTo>
                      <a:lnTo>
                        <a:pt x="1090873" y="86178"/>
                      </a:lnTo>
                      <a:lnTo>
                        <a:pt x="1090096" y="85134"/>
                      </a:lnTo>
                      <a:lnTo>
                        <a:pt x="1088967" y="84503"/>
                      </a:lnTo>
                      <a:lnTo>
                        <a:pt x="1086744" y="83264"/>
                      </a:lnTo>
                      <a:lnTo>
                        <a:pt x="1085979" y="82851"/>
                      </a:lnTo>
                      <a:lnTo>
                        <a:pt x="1085130" y="82657"/>
                      </a:lnTo>
                      <a:lnTo>
                        <a:pt x="1083976" y="82402"/>
                      </a:lnTo>
                      <a:lnTo>
                        <a:pt x="1083563" y="82305"/>
                      </a:lnTo>
                      <a:lnTo>
                        <a:pt x="1083138" y="82268"/>
                      </a:lnTo>
                      <a:lnTo>
                        <a:pt x="1079058" y="81940"/>
                      </a:lnTo>
                      <a:lnTo>
                        <a:pt x="1078621" y="81904"/>
                      </a:lnTo>
                      <a:lnTo>
                        <a:pt x="1078184" y="81928"/>
                      </a:lnTo>
                      <a:lnTo>
                        <a:pt x="1076690" y="82026"/>
                      </a:lnTo>
                      <a:lnTo>
                        <a:pt x="1076241" y="82050"/>
                      </a:lnTo>
                      <a:lnTo>
                        <a:pt x="1075804" y="82147"/>
                      </a:lnTo>
                      <a:lnTo>
                        <a:pt x="1073909" y="82548"/>
                      </a:lnTo>
                      <a:lnTo>
                        <a:pt x="1073399" y="82669"/>
                      </a:lnTo>
                      <a:lnTo>
                        <a:pt x="1072902" y="82863"/>
                      </a:lnTo>
                      <a:lnTo>
                        <a:pt x="1071469" y="83446"/>
                      </a:lnTo>
                      <a:lnTo>
                        <a:pt x="1070679" y="83762"/>
                      </a:lnTo>
                      <a:lnTo>
                        <a:pt x="1070011" y="84284"/>
                      </a:lnTo>
                      <a:lnTo>
                        <a:pt x="1068688" y="85316"/>
                      </a:lnTo>
                      <a:lnTo>
                        <a:pt x="1068093" y="85778"/>
                      </a:lnTo>
                      <a:lnTo>
                        <a:pt x="1067631" y="86385"/>
                      </a:lnTo>
                      <a:lnTo>
                        <a:pt x="1064414" y="90513"/>
                      </a:lnTo>
                      <a:lnTo>
                        <a:pt x="1057808" y="92833"/>
                      </a:lnTo>
                      <a:lnTo>
                        <a:pt x="1047717" y="94982"/>
                      </a:lnTo>
                      <a:lnTo>
                        <a:pt x="1046806" y="95188"/>
                      </a:lnTo>
                      <a:lnTo>
                        <a:pt x="1045993" y="95638"/>
                      </a:lnTo>
                      <a:lnTo>
                        <a:pt x="1043066" y="97289"/>
                      </a:lnTo>
                      <a:lnTo>
                        <a:pt x="1042362" y="97690"/>
                      </a:lnTo>
                      <a:lnTo>
                        <a:pt x="1041791" y="98249"/>
                      </a:lnTo>
                      <a:lnTo>
                        <a:pt x="1039205" y="100798"/>
                      </a:lnTo>
                      <a:lnTo>
                        <a:pt x="1038840" y="101163"/>
                      </a:lnTo>
                      <a:lnTo>
                        <a:pt x="1038549" y="101576"/>
                      </a:lnTo>
                      <a:lnTo>
                        <a:pt x="1036521" y="104393"/>
                      </a:lnTo>
                      <a:lnTo>
                        <a:pt x="1032866" y="108388"/>
                      </a:lnTo>
                      <a:lnTo>
                        <a:pt x="1030037" y="110586"/>
                      </a:lnTo>
                      <a:lnTo>
                        <a:pt x="1022921" y="114751"/>
                      </a:lnTo>
                      <a:lnTo>
                        <a:pt x="1013219" y="119183"/>
                      </a:lnTo>
                      <a:lnTo>
                        <a:pt x="991629" y="126213"/>
                      </a:lnTo>
                      <a:lnTo>
                        <a:pt x="989055" y="126651"/>
                      </a:lnTo>
                      <a:lnTo>
                        <a:pt x="986844" y="126578"/>
                      </a:lnTo>
                      <a:lnTo>
                        <a:pt x="984428" y="125825"/>
                      </a:lnTo>
                      <a:lnTo>
                        <a:pt x="975831" y="122146"/>
                      </a:lnTo>
                      <a:lnTo>
                        <a:pt x="975127" y="121854"/>
                      </a:lnTo>
                      <a:lnTo>
                        <a:pt x="974374" y="121733"/>
                      </a:lnTo>
                      <a:lnTo>
                        <a:pt x="972297" y="121417"/>
                      </a:lnTo>
                      <a:lnTo>
                        <a:pt x="971156" y="121235"/>
                      </a:lnTo>
                      <a:lnTo>
                        <a:pt x="970039" y="121490"/>
                      </a:lnTo>
                      <a:lnTo>
                        <a:pt x="968776" y="121769"/>
                      </a:lnTo>
                      <a:lnTo>
                        <a:pt x="967671" y="122012"/>
                      </a:lnTo>
                      <a:lnTo>
                        <a:pt x="966724" y="122656"/>
                      </a:lnTo>
                      <a:lnTo>
                        <a:pt x="962522" y="125461"/>
                      </a:lnTo>
                      <a:lnTo>
                        <a:pt x="959705" y="126541"/>
                      </a:lnTo>
                      <a:lnTo>
                        <a:pt x="959098" y="126784"/>
                      </a:lnTo>
                      <a:lnTo>
                        <a:pt x="958551" y="127148"/>
                      </a:lnTo>
                      <a:lnTo>
                        <a:pt x="954921" y="129541"/>
                      </a:lnTo>
                      <a:lnTo>
                        <a:pt x="954921" y="129529"/>
                      </a:lnTo>
                      <a:lnTo>
                        <a:pt x="954168" y="128776"/>
                      </a:lnTo>
                      <a:lnTo>
                        <a:pt x="953196" y="128326"/>
                      </a:lnTo>
                      <a:lnTo>
                        <a:pt x="951764" y="127659"/>
                      </a:lnTo>
                      <a:lnTo>
                        <a:pt x="950671" y="127161"/>
                      </a:lnTo>
                      <a:lnTo>
                        <a:pt x="949468" y="127100"/>
                      </a:lnTo>
                      <a:lnTo>
                        <a:pt x="945170" y="126918"/>
                      </a:lnTo>
                      <a:lnTo>
                        <a:pt x="943324" y="126529"/>
                      </a:lnTo>
                      <a:lnTo>
                        <a:pt x="942911" y="126432"/>
                      </a:lnTo>
                      <a:lnTo>
                        <a:pt x="942486" y="126396"/>
                      </a:lnTo>
                      <a:lnTo>
                        <a:pt x="940422" y="126238"/>
                      </a:lnTo>
                      <a:lnTo>
                        <a:pt x="939341" y="126165"/>
                      </a:lnTo>
                      <a:lnTo>
                        <a:pt x="938297" y="126457"/>
                      </a:lnTo>
                      <a:lnTo>
                        <a:pt x="936403" y="127003"/>
                      </a:lnTo>
                      <a:lnTo>
                        <a:pt x="935771" y="127185"/>
                      </a:lnTo>
                      <a:lnTo>
                        <a:pt x="935201" y="127489"/>
                      </a:lnTo>
                      <a:lnTo>
                        <a:pt x="932723" y="128824"/>
                      </a:lnTo>
                      <a:lnTo>
                        <a:pt x="931971" y="129067"/>
                      </a:lnTo>
                      <a:lnTo>
                        <a:pt x="931205" y="129128"/>
                      </a:lnTo>
                      <a:lnTo>
                        <a:pt x="931157" y="129116"/>
                      </a:lnTo>
                      <a:lnTo>
                        <a:pt x="930793" y="128752"/>
                      </a:lnTo>
                      <a:lnTo>
                        <a:pt x="929773" y="127404"/>
                      </a:lnTo>
                      <a:lnTo>
                        <a:pt x="929457" y="126991"/>
                      </a:lnTo>
                      <a:lnTo>
                        <a:pt x="929068" y="126626"/>
                      </a:lnTo>
                      <a:lnTo>
                        <a:pt x="927684" y="125339"/>
                      </a:lnTo>
                      <a:lnTo>
                        <a:pt x="927004" y="124708"/>
                      </a:lnTo>
                      <a:lnTo>
                        <a:pt x="926166" y="124307"/>
                      </a:lnTo>
                      <a:lnTo>
                        <a:pt x="924673" y="123591"/>
                      </a:lnTo>
                      <a:lnTo>
                        <a:pt x="923835" y="123190"/>
                      </a:lnTo>
                      <a:lnTo>
                        <a:pt x="922912" y="123057"/>
                      </a:lnTo>
                      <a:lnTo>
                        <a:pt x="920678" y="122741"/>
                      </a:lnTo>
                      <a:lnTo>
                        <a:pt x="919536" y="122571"/>
                      </a:lnTo>
                      <a:lnTo>
                        <a:pt x="918419" y="122838"/>
                      </a:lnTo>
                      <a:lnTo>
                        <a:pt x="917326" y="123093"/>
                      </a:lnTo>
                      <a:lnTo>
                        <a:pt x="917132" y="123141"/>
                      </a:lnTo>
                      <a:lnTo>
                        <a:pt x="912833" y="116985"/>
                      </a:lnTo>
                      <a:lnTo>
                        <a:pt x="909336" y="110598"/>
                      </a:lnTo>
                      <a:lnTo>
                        <a:pt x="909239" y="109833"/>
                      </a:lnTo>
                      <a:lnTo>
                        <a:pt x="909227" y="109201"/>
                      </a:lnTo>
                      <a:lnTo>
                        <a:pt x="926154" y="110294"/>
                      </a:lnTo>
                      <a:lnTo>
                        <a:pt x="926871" y="110343"/>
                      </a:lnTo>
                      <a:lnTo>
                        <a:pt x="927575" y="110221"/>
                      </a:lnTo>
                      <a:lnTo>
                        <a:pt x="929639" y="109869"/>
                      </a:lnTo>
                      <a:lnTo>
                        <a:pt x="930513" y="109711"/>
                      </a:lnTo>
                      <a:lnTo>
                        <a:pt x="931303" y="109323"/>
                      </a:lnTo>
                      <a:lnTo>
                        <a:pt x="932905" y="108533"/>
                      </a:lnTo>
                      <a:lnTo>
                        <a:pt x="935407" y="107295"/>
                      </a:lnTo>
                      <a:lnTo>
                        <a:pt x="936099" y="104599"/>
                      </a:lnTo>
                      <a:lnTo>
                        <a:pt x="936512" y="103009"/>
                      </a:lnTo>
                      <a:lnTo>
                        <a:pt x="937046" y="100908"/>
                      </a:lnTo>
                      <a:lnTo>
                        <a:pt x="936148" y="98953"/>
                      </a:lnTo>
                      <a:lnTo>
                        <a:pt x="935456" y="97459"/>
                      </a:lnTo>
                      <a:lnTo>
                        <a:pt x="935176" y="96852"/>
                      </a:lnTo>
                      <a:lnTo>
                        <a:pt x="934776" y="96318"/>
                      </a:lnTo>
                      <a:lnTo>
                        <a:pt x="933877" y="95128"/>
                      </a:lnTo>
                      <a:lnTo>
                        <a:pt x="933695" y="94727"/>
                      </a:lnTo>
                      <a:lnTo>
                        <a:pt x="933634" y="93646"/>
                      </a:lnTo>
                      <a:lnTo>
                        <a:pt x="933865" y="91291"/>
                      </a:lnTo>
                      <a:lnTo>
                        <a:pt x="933889" y="87805"/>
                      </a:lnTo>
                      <a:lnTo>
                        <a:pt x="933889" y="87393"/>
                      </a:lnTo>
                      <a:lnTo>
                        <a:pt x="933841" y="86992"/>
                      </a:lnTo>
                      <a:lnTo>
                        <a:pt x="931946" y="73113"/>
                      </a:lnTo>
                      <a:lnTo>
                        <a:pt x="931873" y="72554"/>
                      </a:lnTo>
                      <a:lnTo>
                        <a:pt x="931691" y="72020"/>
                      </a:lnTo>
                      <a:lnTo>
                        <a:pt x="930999" y="69919"/>
                      </a:lnTo>
                      <a:lnTo>
                        <a:pt x="930683" y="68972"/>
                      </a:lnTo>
                      <a:lnTo>
                        <a:pt x="930088" y="68182"/>
                      </a:lnTo>
                      <a:lnTo>
                        <a:pt x="928838" y="66519"/>
                      </a:lnTo>
                      <a:lnTo>
                        <a:pt x="928170" y="65645"/>
                      </a:lnTo>
                      <a:lnTo>
                        <a:pt x="927247" y="65050"/>
                      </a:lnTo>
                      <a:lnTo>
                        <a:pt x="925401" y="63872"/>
                      </a:lnTo>
                      <a:lnTo>
                        <a:pt x="924843" y="63520"/>
                      </a:lnTo>
                      <a:lnTo>
                        <a:pt x="924223" y="63289"/>
                      </a:lnTo>
                      <a:lnTo>
                        <a:pt x="921540" y="62317"/>
                      </a:lnTo>
                      <a:lnTo>
                        <a:pt x="921418" y="61795"/>
                      </a:lnTo>
                      <a:lnTo>
                        <a:pt x="921042" y="61091"/>
                      </a:lnTo>
                      <a:lnTo>
                        <a:pt x="920253" y="59634"/>
                      </a:lnTo>
                      <a:lnTo>
                        <a:pt x="919900" y="58978"/>
                      </a:lnTo>
                      <a:lnTo>
                        <a:pt x="919403" y="58432"/>
                      </a:lnTo>
                      <a:lnTo>
                        <a:pt x="918298" y="57218"/>
                      </a:lnTo>
                      <a:lnTo>
                        <a:pt x="917557" y="56416"/>
                      </a:lnTo>
                      <a:lnTo>
                        <a:pt x="916573" y="55906"/>
                      </a:lnTo>
                      <a:lnTo>
                        <a:pt x="914120" y="54643"/>
                      </a:lnTo>
                      <a:lnTo>
                        <a:pt x="913404" y="54291"/>
                      </a:lnTo>
                      <a:lnTo>
                        <a:pt x="912627" y="54109"/>
                      </a:lnTo>
                      <a:lnTo>
                        <a:pt x="910089" y="53562"/>
                      </a:lnTo>
                      <a:lnTo>
                        <a:pt x="909567" y="53453"/>
                      </a:lnTo>
                      <a:lnTo>
                        <a:pt x="909033" y="53429"/>
                      </a:lnTo>
                      <a:lnTo>
                        <a:pt x="885087" y="52567"/>
                      </a:lnTo>
                      <a:lnTo>
                        <a:pt x="884103" y="52530"/>
                      </a:lnTo>
                      <a:lnTo>
                        <a:pt x="883156" y="52810"/>
                      </a:lnTo>
                      <a:lnTo>
                        <a:pt x="880047" y="53720"/>
                      </a:lnTo>
                      <a:lnTo>
                        <a:pt x="878845" y="54060"/>
                      </a:lnTo>
                      <a:lnTo>
                        <a:pt x="877874" y="54850"/>
                      </a:lnTo>
                      <a:lnTo>
                        <a:pt x="875749" y="56610"/>
                      </a:lnTo>
                      <a:lnTo>
                        <a:pt x="875020" y="57218"/>
                      </a:lnTo>
                      <a:lnTo>
                        <a:pt x="874510" y="58007"/>
                      </a:lnTo>
                      <a:lnTo>
                        <a:pt x="873539" y="59513"/>
                      </a:lnTo>
                      <a:lnTo>
                        <a:pt x="873454" y="59585"/>
                      </a:lnTo>
                      <a:lnTo>
                        <a:pt x="869447" y="60448"/>
                      </a:lnTo>
                      <a:lnTo>
                        <a:pt x="868499" y="60654"/>
                      </a:lnTo>
                      <a:lnTo>
                        <a:pt x="867661" y="61140"/>
                      </a:lnTo>
                      <a:lnTo>
                        <a:pt x="866387" y="61892"/>
                      </a:lnTo>
                      <a:lnTo>
                        <a:pt x="864941" y="62742"/>
                      </a:lnTo>
                      <a:lnTo>
                        <a:pt x="864140" y="64200"/>
                      </a:lnTo>
                      <a:lnTo>
                        <a:pt x="863157" y="65985"/>
                      </a:lnTo>
                      <a:lnTo>
                        <a:pt x="863108" y="65900"/>
                      </a:lnTo>
                      <a:lnTo>
                        <a:pt x="862294" y="65183"/>
                      </a:lnTo>
                      <a:lnTo>
                        <a:pt x="861432" y="64430"/>
                      </a:lnTo>
                      <a:lnTo>
                        <a:pt x="861032" y="64102"/>
                      </a:lnTo>
                      <a:lnTo>
                        <a:pt x="860582" y="63835"/>
                      </a:lnTo>
                      <a:lnTo>
                        <a:pt x="859040" y="62913"/>
                      </a:lnTo>
                      <a:lnTo>
                        <a:pt x="858081" y="62342"/>
                      </a:lnTo>
                      <a:lnTo>
                        <a:pt x="856988" y="62135"/>
                      </a:lnTo>
                      <a:lnTo>
                        <a:pt x="854802" y="61747"/>
                      </a:lnTo>
                      <a:lnTo>
                        <a:pt x="854025" y="61601"/>
                      </a:lnTo>
                      <a:lnTo>
                        <a:pt x="853236" y="61674"/>
                      </a:lnTo>
                      <a:lnTo>
                        <a:pt x="843533" y="62463"/>
                      </a:lnTo>
                      <a:lnTo>
                        <a:pt x="842987" y="62512"/>
                      </a:lnTo>
                      <a:lnTo>
                        <a:pt x="842453" y="62658"/>
                      </a:lnTo>
                      <a:lnTo>
                        <a:pt x="833844" y="64989"/>
                      </a:lnTo>
                      <a:lnTo>
                        <a:pt x="833309" y="65135"/>
                      </a:lnTo>
                      <a:lnTo>
                        <a:pt x="832811" y="65378"/>
                      </a:lnTo>
                      <a:lnTo>
                        <a:pt x="825173" y="69045"/>
                      </a:lnTo>
                      <a:lnTo>
                        <a:pt x="824712" y="69275"/>
                      </a:lnTo>
                      <a:lnTo>
                        <a:pt x="824287" y="69567"/>
                      </a:lnTo>
                      <a:lnTo>
                        <a:pt x="804130" y="83847"/>
                      </a:lnTo>
                      <a:lnTo>
                        <a:pt x="802685" y="84321"/>
                      </a:lnTo>
                      <a:lnTo>
                        <a:pt x="793104" y="84223"/>
                      </a:lnTo>
                      <a:lnTo>
                        <a:pt x="791732" y="84211"/>
                      </a:lnTo>
                      <a:lnTo>
                        <a:pt x="790481" y="84794"/>
                      </a:lnTo>
                      <a:lnTo>
                        <a:pt x="784968" y="87369"/>
                      </a:lnTo>
                      <a:lnTo>
                        <a:pt x="783754" y="87939"/>
                      </a:lnTo>
                      <a:lnTo>
                        <a:pt x="782892" y="88959"/>
                      </a:lnTo>
                      <a:lnTo>
                        <a:pt x="779054" y="93500"/>
                      </a:lnTo>
                      <a:lnTo>
                        <a:pt x="777974" y="94776"/>
                      </a:lnTo>
                      <a:lnTo>
                        <a:pt x="777707" y="96439"/>
                      </a:lnTo>
                      <a:lnTo>
                        <a:pt x="776845" y="101758"/>
                      </a:lnTo>
                      <a:lnTo>
                        <a:pt x="776638" y="104332"/>
                      </a:lnTo>
                      <a:lnTo>
                        <a:pt x="776444" y="105255"/>
                      </a:lnTo>
                      <a:lnTo>
                        <a:pt x="776347" y="105704"/>
                      </a:lnTo>
                      <a:lnTo>
                        <a:pt x="776322" y="106178"/>
                      </a:lnTo>
                      <a:lnTo>
                        <a:pt x="776080" y="110549"/>
                      </a:lnTo>
                      <a:lnTo>
                        <a:pt x="776055" y="110974"/>
                      </a:lnTo>
                      <a:lnTo>
                        <a:pt x="776092" y="111411"/>
                      </a:lnTo>
                      <a:lnTo>
                        <a:pt x="776104" y="111605"/>
                      </a:lnTo>
                      <a:lnTo>
                        <a:pt x="775994" y="111921"/>
                      </a:lnTo>
                      <a:lnTo>
                        <a:pt x="775485" y="113014"/>
                      </a:lnTo>
                      <a:lnTo>
                        <a:pt x="774889" y="113670"/>
                      </a:lnTo>
                      <a:lnTo>
                        <a:pt x="772898" y="115261"/>
                      </a:lnTo>
                      <a:lnTo>
                        <a:pt x="772254" y="115771"/>
                      </a:lnTo>
                      <a:lnTo>
                        <a:pt x="771769" y="116439"/>
                      </a:lnTo>
                      <a:lnTo>
                        <a:pt x="770494" y="118199"/>
                      </a:lnTo>
                      <a:lnTo>
                        <a:pt x="770166" y="118661"/>
                      </a:lnTo>
                      <a:lnTo>
                        <a:pt x="769923" y="119171"/>
                      </a:lnTo>
                      <a:lnTo>
                        <a:pt x="766608" y="126202"/>
                      </a:lnTo>
                      <a:lnTo>
                        <a:pt x="765989" y="126869"/>
                      </a:lnTo>
                      <a:lnTo>
                        <a:pt x="764483" y="127901"/>
                      </a:lnTo>
                      <a:lnTo>
                        <a:pt x="757744" y="131556"/>
                      </a:lnTo>
                      <a:lnTo>
                        <a:pt x="757367" y="131763"/>
                      </a:lnTo>
                      <a:lnTo>
                        <a:pt x="757027" y="132018"/>
                      </a:lnTo>
                      <a:lnTo>
                        <a:pt x="752449" y="135430"/>
                      </a:lnTo>
                      <a:lnTo>
                        <a:pt x="752000" y="135746"/>
                      </a:lnTo>
                      <a:lnTo>
                        <a:pt x="751624" y="136147"/>
                      </a:lnTo>
                      <a:lnTo>
                        <a:pt x="749887" y="138004"/>
                      </a:lnTo>
                      <a:lnTo>
                        <a:pt x="749171" y="138769"/>
                      </a:lnTo>
                      <a:lnTo>
                        <a:pt x="748758" y="139741"/>
                      </a:lnTo>
                      <a:lnTo>
                        <a:pt x="748066" y="141356"/>
                      </a:lnTo>
                      <a:lnTo>
                        <a:pt x="747301" y="143141"/>
                      </a:lnTo>
                      <a:lnTo>
                        <a:pt x="747726" y="145035"/>
                      </a:lnTo>
                      <a:lnTo>
                        <a:pt x="748139" y="146905"/>
                      </a:lnTo>
                      <a:lnTo>
                        <a:pt x="748211" y="147257"/>
                      </a:lnTo>
                      <a:lnTo>
                        <a:pt x="748333" y="147585"/>
                      </a:lnTo>
                      <a:lnTo>
                        <a:pt x="749074" y="149734"/>
                      </a:lnTo>
                      <a:lnTo>
                        <a:pt x="749195" y="150099"/>
                      </a:lnTo>
                      <a:lnTo>
                        <a:pt x="749365" y="150439"/>
                      </a:lnTo>
                      <a:lnTo>
                        <a:pt x="751344" y="154434"/>
                      </a:lnTo>
                      <a:lnTo>
                        <a:pt x="751429" y="159983"/>
                      </a:lnTo>
                      <a:lnTo>
                        <a:pt x="750519" y="161877"/>
                      </a:lnTo>
                      <a:lnTo>
                        <a:pt x="749317" y="163796"/>
                      </a:lnTo>
                      <a:lnTo>
                        <a:pt x="748369" y="164852"/>
                      </a:lnTo>
                      <a:lnTo>
                        <a:pt x="748139" y="164986"/>
                      </a:lnTo>
                      <a:lnTo>
                        <a:pt x="735850" y="166273"/>
                      </a:lnTo>
                      <a:lnTo>
                        <a:pt x="735546" y="166309"/>
                      </a:lnTo>
                      <a:lnTo>
                        <a:pt x="735243" y="166370"/>
                      </a:lnTo>
                      <a:lnTo>
                        <a:pt x="731806" y="167099"/>
                      </a:lnTo>
                      <a:lnTo>
                        <a:pt x="731151" y="167244"/>
                      </a:lnTo>
                      <a:lnTo>
                        <a:pt x="730531" y="167512"/>
                      </a:lnTo>
                      <a:lnTo>
                        <a:pt x="725759" y="169698"/>
                      </a:lnTo>
                      <a:lnTo>
                        <a:pt x="724921" y="170086"/>
                      </a:lnTo>
                      <a:lnTo>
                        <a:pt x="724229" y="170693"/>
                      </a:lnTo>
                      <a:lnTo>
                        <a:pt x="721181" y="173425"/>
                      </a:lnTo>
                      <a:lnTo>
                        <a:pt x="720817" y="173753"/>
                      </a:lnTo>
                      <a:lnTo>
                        <a:pt x="720513" y="174130"/>
                      </a:lnTo>
                      <a:lnTo>
                        <a:pt x="718170" y="177020"/>
                      </a:lnTo>
                      <a:lnTo>
                        <a:pt x="717951" y="177275"/>
                      </a:lnTo>
                      <a:lnTo>
                        <a:pt x="717769" y="177554"/>
                      </a:lnTo>
                      <a:lnTo>
                        <a:pt x="714321" y="182933"/>
                      </a:lnTo>
                      <a:lnTo>
                        <a:pt x="713046" y="184427"/>
                      </a:lnTo>
                      <a:lnTo>
                        <a:pt x="709378" y="186018"/>
                      </a:lnTo>
                      <a:lnTo>
                        <a:pt x="704679" y="187560"/>
                      </a:lnTo>
                      <a:lnTo>
                        <a:pt x="693884" y="188470"/>
                      </a:lnTo>
                      <a:lnTo>
                        <a:pt x="693435" y="188507"/>
                      </a:lnTo>
                      <a:lnTo>
                        <a:pt x="692985" y="188616"/>
                      </a:lnTo>
                      <a:lnTo>
                        <a:pt x="688225" y="189746"/>
                      </a:lnTo>
                      <a:lnTo>
                        <a:pt x="671492" y="187827"/>
                      </a:lnTo>
                      <a:lnTo>
                        <a:pt x="668882" y="186661"/>
                      </a:lnTo>
                      <a:lnTo>
                        <a:pt x="665979" y="184985"/>
                      </a:lnTo>
                      <a:lnTo>
                        <a:pt x="662992" y="180930"/>
                      </a:lnTo>
                      <a:lnTo>
                        <a:pt x="664146" y="180177"/>
                      </a:lnTo>
                      <a:lnTo>
                        <a:pt x="665931" y="179023"/>
                      </a:lnTo>
                      <a:lnTo>
                        <a:pt x="666611" y="177008"/>
                      </a:lnTo>
                      <a:lnTo>
                        <a:pt x="667412" y="174627"/>
                      </a:lnTo>
                      <a:lnTo>
                        <a:pt x="667947" y="173012"/>
                      </a:lnTo>
                      <a:lnTo>
                        <a:pt x="667570" y="171361"/>
                      </a:lnTo>
                      <a:lnTo>
                        <a:pt x="665749" y="163225"/>
                      </a:lnTo>
                      <a:lnTo>
                        <a:pt x="665360" y="155345"/>
                      </a:lnTo>
                      <a:lnTo>
                        <a:pt x="665312" y="154300"/>
                      </a:lnTo>
                      <a:lnTo>
                        <a:pt x="664923" y="153341"/>
                      </a:lnTo>
                      <a:lnTo>
                        <a:pt x="660734" y="143080"/>
                      </a:lnTo>
                      <a:lnTo>
                        <a:pt x="657783" y="137397"/>
                      </a:lnTo>
                      <a:lnTo>
                        <a:pt x="657285" y="136462"/>
                      </a:lnTo>
                      <a:lnTo>
                        <a:pt x="656508" y="135746"/>
                      </a:lnTo>
                      <a:lnTo>
                        <a:pt x="654504" y="133912"/>
                      </a:lnTo>
                      <a:lnTo>
                        <a:pt x="653071" y="132601"/>
                      </a:lnTo>
                      <a:lnTo>
                        <a:pt x="651141" y="132358"/>
                      </a:lnTo>
                      <a:lnTo>
                        <a:pt x="648846" y="132079"/>
                      </a:lnTo>
                      <a:lnTo>
                        <a:pt x="647692" y="131933"/>
                      </a:lnTo>
                      <a:lnTo>
                        <a:pt x="646563" y="132212"/>
                      </a:lnTo>
                      <a:lnTo>
                        <a:pt x="644717" y="132698"/>
                      </a:lnTo>
                      <a:lnTo>
                        <a:pt x="643746" y="132832"/>
                      </a:lnTo>
                      <a:lnTo>
                        <a:pt x="643114" y="132807"/>
                      </a:lnTo>
                      <a:lnTo>
                        <a:pt x="634129" y="130537"/>
                      </a:lnTo>
                      <a:lnTo>
                        <a:pt x="628033" y="128217"/>
                      </a:lnTo>
                      <a:lnTo>
                        <a:pt x="627292" y="127950"/>
                      </a:lnTo>
                      <a:lnTo>
                        <a:pt x="626515" y="127865"/>
                      </a:lnTo>
                      <a:lnTo>
                        <a:pt x="623589" y="127562"/>
                      </a:lnTo>
                      <a:lnTo>
                        <a:pt x="623200" y="127513"/>
                      </a:lnTo>
                      <a:lnTo>
                        <a:pt x="622799" y="127525"/>
                      </a:lnTo>
                      <a:lnTo>
                        <a:pt x="618221" y="127646"/>
                      </a:lnTo>
                      <a:lnTo>
                        <a:pt x="613607" y="126335"/>
                      </a:lnTo>
                      <a:lnTo>
                        <a:pt x="611992" y="125874"/>
                      </a:lnTo>
                      <a:lnTo>
                        <a:pt x="610365" y="126299"/>
                      </a:lnTo>
                      <a:lnTo>
                        <a:pt x="598975" y="129334"/>
                      </a:lnTo>
                      <a:lnTo>
                        <a:pt x="579765" y="130330"/>
                      </a:lnTo>
                      <a:lnTo>
                        <a:pt x="571969" y="129954"/>
                      </a:lnTo>
                      <a:lnTo>
                        <a:pt x="565412" y="128970"/>
                      </a:lnTo>
                      <a:lnTo>
                        <a:pt x="564707" y="128873"/>
                      </a:lnTo>
                      <a:lnTo>
                        <a:pt x="564003" y="128933"/>
                      </a:lnTo>
                      <a:lnTo>
                        <a:pt x="561016" y="129189"/>
                      </a:lnTo>
                      <a:lnTo>
                        <a:pt x="560676" y="129213"/>
                      </a:lnTo>
                      <a:lnTo>
                        <a:pt x="560348" y="129286"/>
                      </a:lnTo>
                      <a:lnTo>
                        <a:pt x="557664" y="129832"/>
                      </a:lnTo>
                      <a:lnTo>
                        <a:pt x="554022" y="129905"/>
                      </a:lnTo>
                      <a:lnTo>
                        <a:pt x="553317" y="129917"/>
                      </a:lnTo>
                      <a:lnTo>
                        <a:pt x="552649" y="130099"/>
                      </a:lnTo>
                      <a:lnTo>
                        <a:pt x="546748" y="131593"/>
                      </a:lnTo>
                      <a:lnTo>
                        <a:pt x="545327" y="131605"/>
                      </a:lnTo>
                      <a:lnTo>
                        <a:pt x="537944" y="130755"/>
                      </a:lnTo>
                      <a:lnTo>
                        <a:pt x="537592" y="130719"/>
                      </a:lnTo>
                      <a:lnTo>
                        <a:pt x="537252" y="130719"/>
                      </a:lnTo>
                      <a:lnTo>
                        <a:pt x="519487" y="130719"/>
                      </a:lnTo>
                      <a:lnTo>
                        <a:pt x="518066" y="130379"/>
                      </a:lnTo>
                      <a:lnTo>
                        <a:pt x="516828" y="129917"/>
                      </a:lnTo>
                      <a:lnTo>
                        <a:pt x="516403" y="129759"/>
                      </a:lnTo>
                      <a:lnTo>
                        <a:pt x="515966" y="129674"/>
                      </a:lnTo>
                      <a:lnTo>
                        <a:pt x="513622" y="129189"/>
                      </a:lnTo>
                      <a:lnTo>
                        <a:pt x="512723" y="128994"/>
                      </a:lnTo>
                      <a:lnTo>
                        <a:pt x="511813" y="129079"/>
                      </a:lnTo>
                      <a:lnTo>
                        <a:pt x="506093" y="129626"/>
                      </a:lnTo>
                      <a:lnTo>
                        <a:pt x="488255" y="125728"/>
                      </a:lnTo>
                      <a:lnTo>
                        <a:pt x="478444" y="122097"/>
                      </a:lnTo>
                      <a:lnTo>
                        <a:pt x="476975" y="121344"/>
                      </a:lnTo>
                      <a:lnTo>
                        <a:pt x="476137" y="120616"/>
                      </a:lnTo>
                      <a:lnTo>
                        <a:pt x="475335" y="119486"/>
                      </a:lnTo>
                      <a:lnTo>
                        <a:pt x="474449" y="117726"/>
                      </a:lnTo>
                      <a:lnTo>
                        <a:pt x="472846" y="113561"/>
                      </a:lnTo>
                      <a:lnTo>
                        <a:pt x="472579" y="112868"/>
                      </a:lnTo>
                      <a:lnTo>
                        <a:pt x="472142" y="112261"/>
                      </a:lnTo>
                      <a:lnTo>
                        <a:pt x="464917" y="102134"/>
                      </a:lnTo>
                      <a:lnTo>
                        <a:pt x="464637" y="101746"/>
                      </a:lnTo>
                      <a:lnTo>
                        <a:pt x="464297" y="101405"/>
                      </a:lnTo>
                      <a:lnTo>
                        <a:pt x="460557" y="97617"/>
                      </a:lnTo>
                      <a:lnTo>
                        <a:pt x="460132" y="97180"/>
                      </a:lnTo>
                      <a:lnTo>
                        <a:pt x="459635" y="96852"/>
                      </a:lnTo>
                      <a:lnTo>
                        <a:pt x="457631" y="95504"/>
                      </a:lnTo>
                      <a:lnTo>
                        <a:pt x="457327" y="95285"/>
                      </a:lnTo>
                      <a:lnTo>
                        <a:pt x="457012" y="95116"/>
                      </a:lnTo>
                      <a:lnTo>
                        <a:pt x="452191" y="92651"/>
                      </a:lnTo>
                      <a:lnTo>
                        <a:pt x="451705" y="92395"/>
                      </a:lnTo>
                      <a:lnTo>
                        <a:pt x="451195" y="92237"/>
                      </a:lnTo>
                      <a:lnTo>
                        <a:pt x="449981" y="91873"/>
                      </a:lnTo>
                      <a:lnTo>
                        <a:pt x="449277" y="91655"/>
                      </a:lnTo>
                      <a:lnTo>
                        <a:pt x="448536" y="91618"/>
                      </a:lnTo>
                      <a:lnTo>
                        <a:pt x="440254" y="91169"/>
                      </a:lnTo>
                      <a:lnTo>
                        <a:pt x="439004" y="90708"/>
                      </a:lnTo>
                      <a:lnTo>
                        <a:pt x="437267" y="89530"/>
                      </a:lnTo>
                      <a:lnTo>
                        <a:pt x="434814" y="87441"/>
                      </a:lnTo>
                      <a:lnTo>
                        <a:pt x="434450" y="87138"/>
                      </a:lnTo>
                      <a:lnTo>
                        <a:pt x="434049" y="86895"/>
                      </a:lnTo>
                      <a:lnTo>
                        <a:pt x="432325" y="85863"/>
                      </a:lnTo>
                      <a:lnTo>
                        <a:pt x="431706" y="85486"/>
                      </a:lnTo>
                      <a:lnTo>
                        <a:pt x="431014" y="85268"/>
                      </a:lnTo>
                      <a:lnTo>
                        <a:pt x="429180" y="84697"/>
                      </a:lnTo>
                      <a:lnTo>
                        <a:pt x="428731" y="84551"/>
                      </a:lnTo>
                      <a:lnTo>
                        <a:pt x="428269" y="84491"/>
                      </a:lnTo>
                      <a:lnTo>
                        <a:pt x="422805" y="83689"/>
                      </a:lnTo>
                      <a:lnTo>
                        <a:pt x="422501" y="83641"/>
                      </a:lnTo>
                      <a:lnTo>
                        <a:pt x="422198" y="83628"/>
                      </a:lnTo>
                      <a:lnTo>
                        <a:pt x="420134" y="83531"/>
                      </a:lnTo>
                      <a:lnTo>
                        <a:pt x="419709" y="83507"/>
                      </a:lnTo>
                      <a:lnTo>
                        <a:pt x="419284" y="83543"/>
                      </a:lnTo>
                      <a:lnTo>
                        <a:pt x="402393" y="85134"/>
                      </a:lnTo>
                      <a:lnTo>
                        <a:pt x="397208" y="85073"/>
                      </a:lnTo>
                      <a:lnTo>
                        <a:pt x="394172" y="84746"/>
                      </a:lnTo>
                      <a:lnTo>
                        <a:pt x="393249" y="84308"/>
                      </a:lnTo>
                      <a:lnTo>
                        <a:pt x="391816" y="83179"/>
                      </a:lnTo>
                      <a:lnTo>
                        <a:pt x="390201" y="81515"/>
                      </a:lnTo>
                      <a:lnTo>
                        <a:pt x="389983" y="81285"/>
                      </a:lnTo>
                      <a:lnTo>
                        <a:pt x="389740" y="81078"/>
                      </a:lnTo>
                      <a:lnTo>
                        <a:pt x="387566" y="79269"/>
                      </a:lnTo>
                      <a:lnTo>
                        <a:pt x="386546" y="78419"/>
                      </a:lnTo>
                      <a:lnTo>
                        <a:pt x="385259" y="78079"/>
                      </a:lnTo>
                      <a:lnTo>
                        <a:pt x="376103" y="75602"/>
                      </a:lnTo>
                      <a:lnTo>
                        <a:pt x="374027" y="74448"/>
                      </a:lnTo>
                      <a:lnTo>
                        <a:pt x="368465" y="70016"/>
                      </a:lnTo>
                      <a:lnTo>
                        <a:pt x="363280" y="66616"/>
                      </a:lnTo>
                      <a:lnTo>
                        <a:pt x="361653" y="65341"/>
                      </a:lnTo>
                      <a:lnTo>
                        <a:pt x="361192" y="64807"/>
                      </a:lnTo>
                      <a:lnTo>
                        <a:pt x="360864" y="60229"/>
                      </a:lnTo>
                      <a:lnTo>
                        <a:pt x="360815" y="59427"/>
                      </a:lnTo>
                      <a:lnTo>
                        <a:pt x="360548" y="58650"/>
                      </a:lnTo>
                      <a:lnTo>
                        <a:pt x="359917" y="56877"/>
                      </a:lnTo>
                      <a:lnTo>
                        <a:pt x="359771" y="56477"/>
                      </a:lnTo>
                      <a:lnTo>
                        <a:pt x="359565" y="56088"/>
                      </a:lnTo>
                      <a:lnTo>
                        <a:pt x="357573" y="52312"/>
                      </a:lnTo>
                      <a:lnTo>
                        <a:pt x="357306" y="51413"/>
                      </a:lnTo>
                      <a:lnTo>
                        <a:pt x="357160" y="49543"/>
                      </a:lnTo>
                      <a:lnTo>
                        <a:pt x="358059" y="33417"/>
                      </a:lnTo>
                      <a:lnTo>
                        <a:pt x="358387" y="31511"/>
                      </a:lnTo>
                      <a:lnTo>
                        <a:pt x="358593" y="30212"/>
                      </a:lnTo>
                      <a:lnTo>
                        <a:pt x="358241" y="28949"/>
                      </a:lnTo>
                      <a:lnTo>
                        <a:pt x="356650" y="23241"/>
                      </a:lnTo>
                      <a:lnTo>
                        <a:pt x="356262" y="21857"/>
                      </a:lnTo>
                      <a:lnTo>
                        <a:pt x="355278" y="20789"/>
                      </a:lnTo>
                      <a:lnTo>
                        <a:pt x="344483" y="8961"/>
                      </a:lnTo>
                      <a:lnTo>
                        <a:pt x="344252" y="8706"/>
                      </a:lnTo>
                      <a:lnTo>
                        <a:pt x="343997" y="8488"/>
                      </a:lnTo>
                      <a:lnTo>
                        <a:pt x="340197" y="5149"/>
                      </a:lnTo>
                      <a:lnTo>
                        <a:pt x="338254" y="3436"/>
                      </a:lnTo>
                      <a:lnTo>
                        <a:pt x="335679" y="3655"/>
                      </a:lnTo>
                      <a:lnTo>
                        <a:pt x="332692" y="3910"/>
                      </a:lnTo>
                      <a:lnTo>
                        <a:pt x="330604" y="4080"/>
                      </a:lnTo>
                      <a:lnTo>
                        <a:pt x="329061" y="5513"/>
                      </a:lnTo>
                      <a:lnTo>
                        <a:pt x="322274" y="11815"/>
                      </a:lnTo>
                      <a:lnTo>
                        <a:pt x="321715" y="12082"/>
                      </a:lnTo>
                      <a:lnTo>
                        <a:pt x="318133" y="13126"/>
                      </a:lnTo>
                      <a:lnTo>
                        <a:pt x="317720" y="13260"/>
                      </a:lnTo>
                      <a:lnTo>
                        <a:pt x="317319" y="13442"/>
                      </a:lnTo>
                      <a:lnTo>
                        <a:pt x="315206" y="14329"/>
                      </a:lnTo>
                      <a:lnTo>
                        <a:pt x="313810" y="14571"/>
                      </a:lnTo>
                      <a:lnTo>
                        <a:pt x="313069" y="14705"/>
                      </a:lnTo>
                      <a:lnTo>
                        <a:pt x="312377" y="14996"/>
                      </a:lnTo>
                      <a:lnTo>
                        <a:pt x="311515" y="15373"/>
                      </a:lnTo>
                      <a:lnTo>
                        <a:pt x="308989" y="16490"/>
                      </a:lnTo>
                      <a:lnTo>
                        <a:pt x="308163" y="19125"/>
                      </a:lnTo>
                      <a:lnTo>
                        <a:pt x="307945" y="19829"/>
                      </a:lnTo>
                      <a:lnTo>
                        <a:pt x="307666" y="20716"/>
                      </a:lnTo>
                      <a:lnTo>
                        <a:pt x="307666" y="21092"/>
                      </a:lnTo>
                      <a:lnTo>
                        <a:pt x="307313" y="21299"/>
                      </a:lnTo>
                      <a:lnTo>
                        <a:pt x="304788" y="22161"/>
                      </a:lnTo>
                      <a:lnTo>
                        <a:pt x="301691" y="22732"/>
                      </a:lnTo>
                      <a:lnTo>
                        <a:pt x="298461" y="22889"/>
                      </a:lnTo>
                      <a:lnTo>
                        <a:pt x="296118" y="22428"/>
                      </a:lnTo>
                      <a:lnTo>
                        <a:pt x="291115" y="19380"/>
                      </a:lnTo>
                      <a:lnTo>
                        <a:pt x="290180" y="18809"/>
                      </a:lnTo>
                      <a:lnTo>
                        <a:pt x="289864" y="18749"/>
                      </a:lnTo>
                      <a:lnTo>
                        <a:pt x="289888" y="10358"/>
                      </a:lnTo>
                      <a:lnTo>
                        <a:pt x="292013" y="3740"/>
                      </a:lnTo>
                      <a:lnTo>
                        <a:pt x="292438" y="2416"/>
                      </a:lnTo>
                      <a:lnTo>
                        <a:pt x="292244" y="1044"/>
                      </a:lnTo>
                      <a:lnTo>
                        <a:pt x="292123" y="206"/>
                      </a:lnTo>
                      <a:lnTo>
                        <a:pt x="284303" y="1275"/>
                      </a:lnTo>
                      <a:lnTo>
                        <a:pt x="280441" y="0"/>
                      </a:lnTo>
                      <a:lnTo>
                        <a:pt x="280441" y="0"/>
                      </a:lnTo>
                      <a:close/>
                    </a:path>
                  </a:pathLst>
                </a:custGeom>
                <a:solidFill>
                  <a:srgbClr val="FFFFFF"/>
                </a:solidFill>
                <a:ln w="12138" cap="flat">
                  <a:noFill/>
                  <a:prstDash val="solid"/>
                  <a:miter/>
                </a:ln>
              </p:spPr>
              <p:txBody>
                <a:bodyPr rtlCol="0" anchor="ctr"/>
                <a:lstStyle/>
                <a:p>
                  <a:endParaRPr lang="en-US"/>
                </a:p>
              </p:txBody>
            </p:sp>
          </p:grpSp>
          <p:grpSp>
            <p:nvGrpSpPr>
              <p:cNvPr id="246" name="Graphic 280">
                <a:extLst>
                  <a:ext uri="{FF2B5EF4-FFF2-40B4-BE49-F238E27FC236}">
                    <a16:creationId xmlns:a16="http://schemas.microsoft.com/office/drawing/2014/main" id="{01E2C2CA-EB5B-491D-BA2D-30C01E6DA6D0}"/>
                  </a:ext>
                </a:extLst>
              </p:cNvPr>
              <p:cNvGrpSpPr/>
              <p:nvPr/>
            </p:nvGrpSpPr>
            <p:grpSpPr>
              <a:xfrm>
                <a:off x="4982371" y="2364333"/>
                <a:ext cx="106882" cy="103955"/>
                <a:chOff x="4982371" y="2364333"/>
                <a:chExt cx="106882" cy="103955"/>
              </a:xfrm>
            </p:grpSpPr>
            <p:sp>
              <p:nvSpPr>
                <p:cNvPr id="355" name="Freeform: Shape 354">
                  <a:extLst>
                    <a:ext uri="{FF2B5EF4-FFF2-40B4-BE49-F238E27FC236}">
                      <a16:creationId xmlns:a16="http://schemas.microsoft.com/office/drawing/2014/main" id="{3B640A1D-9F2F-48C0-853A-02D69F972963}"/>
                    </a:ext>
                  </a:extLst>
                </p:cNvPr>
                <p:cNvSpPr/>
                <p:nvPr/>
              </p:nvSpPr>
              <p:spPr>
                <a:xfrm>
                  <a:off x="4985479" y="2367394"/>
                  <a:ext cx="100652" cy="97726"/>
                </a:xfrm>
                <a:custGeom>
                  <a:avLst/>
                  <a:gdLst>
                    <a:gd name="connsiteX0" fmla="*/ 61868 w 100652"/>
                    <a:gd name="connsiteY0" fmla="*/ 94727 h 97726"/>
                    <a:gd name="connsiteX1" fmla="*/ 58335 w 100652"/>
                    <a:gd name="connsiteY1" fmla="*/ 92481 h 97726"/>
                    <a:gd name="connsiteX2" fmla="*/ 54157 w 100652"/>
                    <a:gd name="connsiteY2" fmla="*/ 90258 h 97726"/>
                    <a:gd name="connsiteX3" fmla="*/ 51425 w 100652"/>
                    <a:gd name="connsiteY3" fmla="*/ 88328 h 97726"/>
                    <a:gd name="connsiteX4" fmla="*/ 49580 w 100652"/>
                    <a:gd name="connsiteY4" fmla="*/ 86433 h 97726"/>
                    <a:gd name="connsiteX5" fmla="*/ 48377 w 100652"/>
                    <a:gd name="connsiteY5" fmla="*/ 84405 h 97726"/>
                    <a:gd name="connsiteX6" fmla="*/ 46277 w 100652"/>
                    <a:gd name="connsiteY6" fmla="*/ 78237 h 97726"/>
                    <a:gd name="connsiteX7" fmla="*/ 45815 w 100652"/>
                    <a:gd name="connsiteY7" fmla="*/ 77363 h 97726"/>
                    <a:gd name="connsiteX8" fmla="*/ 34534 w 100652"/>
                    <a:gd name="connsiteY8" fmla="*/ 72056 h 97726"/>
                    <a:gd name="connsiteX9" fmla="*/ 34462 w 100652"/>
                    <a:gd name="connsiteY9" fmla="*/ 75213 h 97726"/>
                    <a:gd name="connsiteX10" fmla="*/ 31329 w 100652"/>
                    <a:gd name="connsiteY10" fmla="*/ 76610 h 97726"/>
                    <a:gd name="connsiteX11" fmla="*/ 27844 w 100652"/>
                    <a:gd name="connsiteY11" fmla="*/ 77350 h 97726"/>
                    <a:gd name="connsiteX12" fmla="*/ 17134 w 100652"/>
                    <a:gd name="connsiteY12" fmla="*/ 78188 h 97726"/>
                    <a:gd name="connsiteX13" fmla="*/ 8209 w 100652"/>
                    <a:gd name="connsiteY13" fmla="*/ 80665 h 97726"/>
                    <a:gd name="connsiteX14" fmla="*/ 6946 w 100652"/>
                    <a:gd name="connsiteY14" fmla="*/ 75626 h 97726"/>
                    <a:gd name="connsiteX15" fmla="*/ 6812 w 100652"/>
                    <a:gd name="connsiteY15" fmla="*/ 74448 h 97726"/>
                    <a:gd name="connsiteX16" fmla="*/ 6071 w 100652"/>
                    <a:gd name="connsiteY16" fmla="*/ 73331 h 97726"/>
                    <a:gd name="connsiteX17" fmla="*/ 5355 w 100652"/>
                    <a:gd name="connsiteY17" fmla="*/ 72566 h 97726"/>
                    <a:gd name="connsiteX18" fmla="*/ 2841 w 100652"/>
                    <a:gd name="connsiteY18" fmla="*/ 70405 h 97726"/>
                    <a:gd name="connsiteX19" fmla="*/ 461 w 100652"/>
                    <a:gd name="connsiteY19" fmla="*/ 67745 h 97726"/>
                    <a:gd name="connsiteX20" fmla="*/ 0 w 100652"/>
                    <a:gd name="connsiteY20" fmla="*/ 64552 h 97726"/>
                    <a:gd name="connsiteX21" fmla="*/ 1056 w 100652"/>
                    <a:gd name="connsiteY21" fmla="*/ 61455 h 97726"/>
                    <a:gd name="connsiteX22" fmla="*/ 5574 w 100652"/>
                    <a:gd name="connsiteY22" fmla="*/ 57205 h 97726"/>
                    <a:gd name="connsiteX23" fmla="*/ 6715 w 100652"/>
                    <a:gd name="connsiteY23" fmla="*/ 54510 h 97726"/>
                    <a:gd name="connsiteX24" fmla="*/ 8524 w 100652"/>
                    <a:gd name="connsiteY24" fmla="*/ 52275 h 97726"/>
                    <a:gd name="connsiteX25" fmla="*/ 11281 w 100652"/>
                    <a:gd name="connsiteY25" fmla="*/ 51170 h 97726"/>
                    <a:gd name="connsiteX26" fmla="*/ 15677 w 100652"/>
                    <a:gd name="connsiteY26" fmla="*/ 50381 h 97726"/>
                    <a:gd name="connsiteX27" fmla="*/ 16004 w 100652"/>
                    <a:gd name="connsiteY27" fmla="*/ 47479 h 97726"/>
                    <a:gd name="connsiteX28" fmla="*/ 17170 w 100652"/>
                    <a:gd name="connsiteY28" fmla="*/ 44297 h 97726"/>
                    <a:gd name="connsiteX29" fmla="*/ 20983 w 100652"/>
                    <a:gd name="connsiteY29" fmla="*/ 40982 h 97726"/>
                    <a:gd name="connsiteX30" fmla="*/ 21214 w 100652"/>
                    <a:gd name="connsiteY30" fmla="*/ 40533 h 97726"/>
                    <a:gd name="connsiteX31" fmla="*/ 20934 w 100652"/>
                    <a:gd name="connsiteY31" fmla="*/ 39258 h 97726"/>
                    <a:gd name="connsiteX32" fmla="*/ 20012 w 100652"/>
                    <a:gd name="connsiteY32" fmla="*/ 37752 h 97726"/>
                    <a:gd name="connsiteX33" fmla="*/ 19441 w 100652"/>
                    <a:gd name="connsiteY33" fmla="*/ 35737 h 97726"/>
                    <a:gd name="connsiteX34" fmla="*/ 19599 w 100652"/>
                    <a:gd name="connsiteY34" fmla="*/ 31742 h 97726"/>
                    <a:gd name="connsiteX35" fmla="*/ 18919 w 100652"/>
                    <a:gd name="connsiteY35" fmla="*/ 21639 h 97726"/>
                    <a:gd name="connsiteX36" fmla="*/ 19089 w 100652"/>
                    <a:gd name="connsiteY36" fmla="*/ 18676 h 97726"/>
                    <a:gd name="connsiteX37" fmla="*/ 19392 w 100652"/>
                    <a:gd name="connsiteY37" fmla="*/ 16405 h 97726"/>
                    <a:gd name="connsiteX38" fmla="*/ 21092 w 100652"/>
                    <a:gd name="connsiteY38" fmla="*/ 12956 h 97726"/>
                    <a:gd name="connsiteX39" fmla="*/ 23642 w 100652"/>
                    <a:gd name="connsiteY39" fmla="*/ 10346 h 97726"/>
                    <a:gd name="connsiteX40" fmla="*/ 28888 w 100652"/>
                    <a:gd name="connsiteY40" fmla="*/ 7504 h 97726"/>
                    <a:gd name="connsiteX41" fmla="*/ 34073 w 100652"/>
                    <a:gd name="connsiteY41" fmla="*/ 5816 h 97726"/>
                    <a:gd name="connsiteX42" fmla="*/ 40023 w 100652"/>
                    <a:gd name="connsiteY42" fmla="*/ 5889 h 97726"/>
                    <a:gd name="connsiteX43" fmla="*/ 42646 w 100652"/>
                    <a:gd name="connsiteY43" fmla="*/ 3825 h 97726"/>
                    <a:gd name="connsiteX44" fmla="*/ 42962 w 100652"/>
                    <a:gd name="connsiteY44" fmla="*/ 3072 h 97726"/>
                    <a:gd name="connsiteX45" fmla="*/ 45730 w 100652"/>
                    <a:gd name="connsiteY45" fmla="*/ 0 h 97726"/>
                    <a:gd name="connsiteX46" fmla="*/ 48802 w 100652"/>
                    <a:gd name="connsiteY46" fmla="*/ 36 h 97726"/>
                    <a:gd name="connsiteX47" fmla="*/ 58116 w 100652"/>
                    <a:gd name="connsiteY47" fmla="*/ 2453 h 97726"/>
                    <a:gd name="connsiteX48" fmla="*/ 60945 w 100652"/>
                    <a:gd name="connsiteY48" fmla="*/ 3606 h 97726"/>
                    <a:gd name="connsiteX49" fmla="*/ 63143 w 100652"/>
                    <a:gd name="connsiteY49" fmla="*/ 4250 h 97726"/>
                    <a:gd name="connsiteX50" fmla="*/ 69834 w 100652"/>
                    <a:gd name="connsiteY50" fmla="*/ 1700 h 97726"/>
                    <a:gd name="connsiteX51" fmla="*/ 70453 w 100652"/>
                    <a:gd name="connsiteY51" fmla="*/ 583 h 97726"/>
                    <a:gd name="connsiteX52" fmla="*/ 75772 w 100652"/>
                    <a:gd name="connsiteY52" fmla="*/ 3521 h 97726"/>
                    <a:gd name="connsiteX53" fmla="*/ 75347 w 100652"/>
                    <a:gd name="connsiteY53" fmla="*/ 4298 h 97726"/>
                    <a:gd name="connsiteX54" fmla="*/ 78261 w 100652"/>
                    <a:gd name="connsiteY54" fmla="*/ 10929 h 97726"/>
                    <a:gd name="connsiteX55" fmla="*/ 76500 w 100652"/>
                    <a:gd name="connsiteY55" fmla="*/ 14936 h 97726"/>
                    <a:gd name="connsiteX56" fmla="*/ 78006 w 100652"/>
                    <a:gd name="connsiteY56" fmla="*/ 16927 h 97726"/>
                    <a:gd name="connsiteX57" fmla="*/ 79512 w 100652"/>
                    <a:gd name="connsiteY57" fmla="*/ 21384 h 97726"/>
                    <a:gd name="connsiteX58" fmla="*/ 94411 w 100652"/>
                    <a:gd name="connsiteY58" fmla="*/ 34146 h 97726"/>
                    <a:gd name="connsiteX59" fmla="*/ 95832 w 100652"/>
                    <a:gd name="connsiteY59" fmla="*/ 37497 h 97726"/>
                    <a:gd name="connsiteX60" fmla="*/ 96658 w 100652"/>
                    <a:gd name="connsiteY60" fmla="*/ 40023 h 97726"/>
                    <a:gd name="connsiteX61" fmla="*/ 96913 w 100652"/>
                    <a:gd name="connsiteY61" fmla="*/ 42573 h 97726"/>
                    <a:gd name="connsiteX62" fmla="*/ 97107 w 100652"/>
                    <a:gd name="connsiteY62" fmla="*/ 43484 h 97726"/>
                    <a:gd name="connsiteX63" fmla="*/ 99778 w 100652"/>
                    <a:gd name="connsiteY63" fmla="*/ 50405 h 97726"/>
                    <a:gd name="connsiteX64" fmla="*/ 100446 w 100652"/>
                    <a:gd name="connsiteY64" fmla="*/ 52870 h 97726"/>
                    <a:gd name="connsiteX65" fmla="*/ 100653 w 100652"/>
                    <a:gd name="connsiteY65" fmla="*/ 54995 h 97726"/>
                    <a:gd name="connsiteX66" fmla="*/ 100240 w 100652"/>
                    <a:gd name="connsiteY66" fmla="*/ 57302 h 97726"/>
                    <a:gd name="connsiteX67" fmla="*/ 98868 w 100652"/>
                    <a:gd name="connsiteY67" fmla="*/ 59561 h 97726"/>
                    <a:gd name="connsiteX68" fmla="*/ 97653 w 100652"/>
                    <a:gd name="connsiteY68" fmla="*/ 60885 h 97726"/>
                    <a:gd name="connsiteX69" fmla="*/ 94618 w 100652"/>
                    <a:gd name="connsiteY69" fmla="*/ 63544 h 97726"/>
                    <a:gd name="connsiteX70" fmla="*/ 93792 w 100652"/>
                    <a:gd name="connsiteY70" fmla="*/ 64503 h 97726"/>
                    <a:gd name="connsiteX71" fmla="*/ 93367 w 100652"/>
                    <a:gd name="connsiteY71" fmla="*/ 65390 h 97726"/>
                    <a:gd name="connsiteX72" fmla="*/ 93318 w 100652"/>
                    <a:gd name="connsiteY72" fmla="*/ 65863 h 97726"/>
                    <a:gd name="connsiteX73" fmla="*/ 93586 w 100652"/>
                    <a:gd name="connsiteY73" fmla="*/ 66215 h 97726"/>
                    <a:gd name="connsiteX74" fmla="*/ 98431 w 100652"/>
                    <a:gd name="connsiteY74" fmla="*/ 75468 h 97726"/>
                    <a:gd name="connsiteX75" fmla="*/ 99778 w 100652"/>
                    <a:gd name="connsiteY75" fmla="*/ 77727 h 97726"/>
                    <a:gd name="connsiteX76" fmla="*/ 94569 w 100652"/>
                    <a:gd name="connsiteY76" fmla="*/ 80836 h 97726"/>
                    <a:gd name="connsiteX77" fmla="*/ 94205 w 100652"/>
                    <a:gd name="connsiteY77" fmla="*/ 80228 h 97726"/>
                    <a:gd name="connsiteX78" fmla="*/ 85413 w 100652"/>
                    <a:gd name="connsiteY78" fmla="*/ 81783 h 97726"/>
                    <a:gd name="connsiteX79" fmla="*/ 83750 w 100652"/>
                    <a:gd name="connsiteY79" fmla="*/ 82499 h 97726"/>
                    <a:gd name="connsiteX80" fmla="*/ 81005 w 100652"/>
                    <a:gd name="connsiteY80" fmla="*/ 84053 h 97726"/>
                    <a:gd name="connsiteX81" fmla="*/ 79645 w 100652"/>
                    <a:gd name="connsiteY81" fmla="*/ 85425 h 97726"/>
                    <a:gd name="connsiteX82" fmla="*/ 79949 w 100652"/>
                    <a:gd name="connsiteY82" fmla="*/ 85693 h 97726"/>
                    <a:gd name="connsiteX83" fmla="*/ 81382 w 100652"/>
                    <a:gd name="connsiteY83" fmla="*/ 87550 h 97726"/>
                    <a:gd name="connsiteX84" fmla="*/ 82536 w 100652"/>
                    <a:gd name="connsiteY84" fmla="*/ 90064 h 97726"/>
                    <a:gd name="connsiteX85" fmla="*/ 82329 w 100652"/>
                    <a:gd name="connsiteY85" fmla="*/ 91934 h 97726"/>
                    <a:gd name="connsiteX86" fmla="*/ 81443 w 100652"/>
                    <a:gd name="connsiteY86" fmla="*/ 93719 h 97726"/>
                    <a:gd name="connsiteX87" fmla="*/ 80471 w 100652"/>
                    <a:gd name="connsiteY87" fmla="*/ 94678 h 97726"/>
                    <a:gd name="connsiteX88" fmla="*/ 78079 w 100652"/>
                    <a:gd name="connsiteY88" fmla="*/ 96196 h 97726"/>
                    <a:gd name="connsiteX89" fmla="*/ 70308 w 100652"/>
                    <a:gd name="connsiteY89" fmla="*/ 97726 h 9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00652" h="97726">
                      <a:moveTo>
                        <a:pt x="61868" y="94727"/>
                      </a:moveTo>
                      <a:lnTo>
                        <a:pt x="58335" y="92481"/>
                      </a:lnTo>
                      <a:lnTo>
                        <a:pt x="54157" y="90258"/>
                      </a:lnTo>
                      <a:lnTo>
                        <a:pt x="51425" y="88328"/>
                      </a:lnTo>
                      <a:lnTo>
                        <a:pt x="49580" y="86433"/>
                      </a:lnTo>
                      <a:lnTo>
                        <a:pt x="48377" y="84405"/>
                      </a:lnTo>
                      <a:lnTo>
                        <a:pt x="46277" y="78237"/>
                      </a:lnTo>
                      <a:lnTo>
                        <a:pt x="45815" y="77363"/>
                      </a:lnTo>
                      <a:lnTo>
                        <a:pt x="34534" y="72056"/>
                      </a:lnTo>
                      <a:lnTo>
                        <a:pt x="34462" y="75213"/>
                      </a:lnTo>
                      <a:lnTo>
                        <a:pt x="31329" y="76610"/>
                      </a:lnTo>
                      <a:lnTo>
                        <a:pt x="27844" y="77350"/>
                      </a:lnTo>
                      <a:lnTo>
                        <a:pt x="17134" y="78188"/>
                      </a:lnTo>
                      <a:lnTo>
                        <a:pt x="8209" y="80665"/>
                      </a:lnTo>
                      <a:lnTo>
                        <a:pt x="6946" y="75626"/>
                      </a:lnTo>
                      <a:lnTo>
                        <a:pt x="6812" y="74448"/>
                      </a:lnTo>
                      <a:lnTo>
                        <a:pt x="6071" y="73331"/>
                      </a:lnTo>
                      <a:lnTo>
                        <a:pt x="5355" y="72566"/>
                      </a:lnTo>
                      <a:lnTo>
                        <a:pt x="2841" y="70405"/>
                      </a:lnTo>
                      <a:lnTo>
                        <a:pt x="461" y="67745"/>
                      </a:lnTo>
                      <a:lnTo>
                        <a:pt x="0" y="64552"/>
                      </a:lnTo>
                      <a:lnTo>
                        <a:pt x="1056" y="61455"/>
                      </a:lnTo>
                      <a:lnTo>
                        <a:pt x="5574" y="57205"/>
                      </a:lnTo>
                      <a:lnTo>
                        <a:pt x="6715" y="54510"/>
                      </a:lnTo>
                      <a:lnTo>
                        <a:pt x="8524" y="52275"/>
                      </a:lnTo>
                      <a:lnTo>
                        <a:pt x="11281" y="51170"/>
                      </a:lnTo>
                      <a:lnTo>
                        <a:pt x="15677" y="50381"/>
                      </a:lnTo>
                      <a:lnTo>
                        <a:pt x="16004" y="47479"/>
                      </a:lnTo>
                      <a:lnTo>
                        <a:pt x="17170" y="44297"/>
                      </a:lnTo>
                      <a:lnTo>
                        <a:pt x="20983" y="40982"/>
                      </a:lnTo>
                      <a:lnTo>
                        <a:pt x="21214" y="40533"/>
                      </a:lnTo>
                      <a:lnTo>
                        <a:pt x="20934" y="39258"/>
                      </a:lnTo>
                      <a:lnTo>
                        <a:pt x="20012" y="37752"/>
                      </a:lnTo>
                      <a:lnTo>
                        <a:pt x="19441" y="35737"/>
                      </a:lnTo>
                      <a:lnTo>
                        <a:pt x="19599" y="31742"/>
                      </a:lnTo>
                      <a:lnTo>
                        <a:pt x="18919" y="21639"/>
                      </a:lnTo>
                      <a:lnTo>
                        <a:pt x="19089" y="18676"/>
                      </a:lnTo>
                      <a:lnTo>
                        <a:pt x="19392" y="16405"/>
                      </a:lnTo>
                      <a:lnTo>
                        <a:pt x="21092" y="12956"/>
                      </a:lnTo>
                      <a:lnTo>
                        <a:pt x="23642" y="10346"/>
                      </a:lnTo>
                      <a:lnTo>
                        <a:pt x="28888" y="7504"/>
                      </a:lnTo>
                      <a:lnTo>
                        <a:pt x="34073" y="5816"/>
                      </a:lnTo>
                      <a:lnTo>
                        <a:pt x="40023" y="5889"/>
                      </a:lnTo>
                      <a:lnTo>
                        <a:pt x="42646" y="3825"/>
                      </a:lnTo>
                      <a:lnTo>
                        <a:pt x="42962" y="3072"/>
                      </a:lnTo>
                      <a:lnTo>
                        <a:pt x="45730" y="0"/>
                      </a:lnTo>
                      <a:lnTo>
                        <a:pt x="48802" y="36"/>
                      </a:lnTo>
                      <a:lnTo>
                        <a:pt x="58116" y="2453"/>
                      </a:lnTo>
                      <a:lnTo>
                        <a:pt x="60945" y="3606"/>
                      </a:lnTo>
                      <a:lnTo>
                        <a:pt x="63143" y="4250"/>
                      </a:lnTo>
                      <a:lnTo>
                        <a:pt x="69834" y="1700"/>
                      </a:lnTo>
                      <a:lnTo>
                        <a:pt x="70453" y="583"/>
                      </a:lnTo>
                      <a:lnTo>
                        <a:pt x="75772" y="3521"/>
                      </a:lnTo>
                      <a:lnTo>
                        <a:pt x="75347" y="4298"/>
                      </a:lnTo>
                      <a:lnTo>
                        <a:pt x="78261" y="10929"/>
                      </a:lnTo>
                      <a:lnTo>
                        <a:pt x="76500" y="14936"/>
                      </a:lnTo>
                      <a:lnTo>
                        <a:pt x="78006" y="16927"/>
                      </a:lnTo>
                      <a:lnTo>
                        <a:pt x="79512" y="21384"/>
                      </a:lnTo>
                      <a:lnTo>
                        <a:pt x="94411" y="34146"/>
                      </a:lnTo>
                      <a:lnTo>
                        <a:pt x="95832" y="37497"/>
                      </a:lnTo>
                      <a:lnTo>
                        <a:pt x="96658" y="40023"/>
                      </a:lnTo>
                      <a:lnTo>
                        <a:pt x="96913" y="42573"/>
                      </a:lnTo>
                      <a:lnTo>
                        <a:pt x="97107" y="43484"/>
                      </a:lnTo>
                      <a:lnTo>
                        <a:pt x="99778" y="50405"/>
                      </a:lnTo>
                      <a:lnTo>
                        <a:pt x="100446" y="52870"/>
                      </a:lnTo>
                      <a:lnTo>
                        <a:pt x="100653" y="54995"/>
                      </a:lnTo>
                      <a:lnTo>
                        <a:pt x="100240" y="57302"/>
                      </a:lnTo>
                      <a:lnTo>
                        <a:pt x="98868" y="59561"/>
                      </a:lnTo>
                      <a:lnTo>
                        <a:pt x="97653" y="60885"/>
                      </a:lnTo>
                      <a:lnTo>
                        <a:pt x="94618" y="63544"/>
                      </a:lnTo>
                      <a:lnTo>
                        <a:pt x="93792" y="64503"/>
                      </a:lnTo>
                      <a:lnTo>
                        <a:pt x="93367" y="65390"/>
                      </a:lnTo>
                      <a:lnTo>
                        <a:pt x="93318" y="65863"/>
                      </a:lnTo>
                      <a:lnTo>
                        <a:pt x="93586" y="66215"/>
                      </a:lnTo>
                      <a:lnTo>
                        <a:pt x="98431" y="75468"/>
                      </a:lnTo>
                      <a:lnTo>
                        <a:pt x="99778" y="77727"/>
                      </a:lnTo>
                      <a:lnTo>
                        <a:pt x="94569" y="80836"/>
                      </a:lnTo>
                      <a:lnTo>
                        <a:pt x="94205" y="80228"/>
                      </a:lnTo>
                      <a:lnTo>
                        <a:pt x="85413" y="81783"/>
                      </a:lnTo>
                      <a:lnTo>
                        <a:pt x="83750" y="82499"/>
                      </a:lnTo>
                      <a:lnTo>
                        <a:pt x="81005" y="84053"/>
                      </a:lnTo>
                      <a:lnTo>
                        <a:pt x="79645" y="85425"/>
                      </a:lnTo>
                      <a:lnTo>
                        <a:pt x="79949" y="85693"/>
                      </a:lnTo>
                      <a:lnTo>
                        <a:pt x="81382" y="87550"/>
                      </a:lnTo>
                      <a:lnTo>
                        <a:pt x="82536" y="90064"/>
                      </a:lnTo>
                      <a:lnTo>
                        <a:pt x="82329" y="91934"/>
                      </a:lnTo>
                      <a:lnTo>
                        <a:pt x="81443" y="93719"/>
                      </a:lnTo>
                      <a:lnTo>
                        <a:pt x="80471" y="94678"/>
                      </a:lnTo>
                      <a:lnTo>
                        <a:pt x="78079" y="96196"/>
                      </a:lnTo>
                      <a:lnTo>
                        <a:pt x="70308" y="97726"/>
                      </a:lnTo>
                      <a:close/>
                    </a:path>
                  </a:pathLst>
                </a:custGeom>
                <a:solidFill>
                  <a:srgbClr val="D7D7D2"/>
                </a:solidFill>
                <a:ln w="12138" cap="flat">
                  <a:noFill/>
                  <a:prstDash val="solid"/>
                  <a:miter/>
                </a:ln>
              </p:spPr>
              <p:txBody>
                <a:bodyPr rtlCol="0" anchor="ctr"/>
                <a:lstStyle/>
                <a:p>
                  <a:endParaRPr lang="en-US"/>
                </a:p>
              </p:txBody>
            </p:sp>
            <p:sp>
              <p:nvSpPr>
                <p:cNvPr id="356" name="Freeform: Shape 355">
                  <a:extLst>
                    <a:ext uri="{FF2B5EF4-FFF2-40B4-BE49-F238E27FC236}">
                      <a16:creationId xmlns:a16="http://schemas.microsoft.com/office/drawing/2014/main" id="{DB8DA013-F8BC-4523-B594-F0A3D6935C1A}"/>
                    </a:ext>
                  </a:extLst>
                </p:cNvPr>
                <p:cNvSpPr/>
                <p:nvPr/>
              </p:nvSpPr>
              <p:spPr>
                <a:xfrm>
                  <a:off x="4982371" y="2364333"/>
                  <a:ext cx="106882" cy="103955"/>
                </a:xfrm>
                <a:custGeom>
                  <a:avLst/>
                  <a:gdLst>
                    <a:gd name="connsiteX0" fmla="*/ 76221 w 106882"/>
                    <a:gd name="connsiteY0" fmla="*/ 5124 h 103955"/>
                    <a:gd name="connsiteX1" fmla="*/ 75068 w 106882"/>
                    <a:gd name="connsiteY1" fmla="*/ 7213 h 103955"/>
                    <a:gd name="connsiteX2" fmla="*/ 78055 w 106882"/>
                    <a:gd name="connsiteY2" fmla="*/ 13989 h 103955"/>
                    <a:gd name="connsiteX3" fmla="*/ 76112 w 106882"/>
                    <a:gd name="connsiteY3" fmla="*/ 18409 h 103955"/>
                    <a:gd name="connsiteX4" fmla="*/ 78686 w 106882"/>
                    <a:gd name="connsiteY4" fmla="*/ 21821 h 103955"/>
                    <a:gd name="connsiteX5" fmla="*/ 80010 w 106882"/>
                    <a:gd name="connsiteY5" fmla="*/ 26217 h 103955"/>
                    <a:gd name="connsiteX6" fmla="*/ 94994 w 106882"/>
                    <a:gd name="connsiteY6" fmla="*/ 39052 h 103955"/>
                    <a:gd name="connsiteX7" fmla="*/ 96136 w 106882"/>
                    <a:gd name="connsiteY7" fmla="*/ 41747 h 103955"/>
                    <a:gd name="connsiteX8" fmla="*/ 96889 w 106882"/>
                    <a:gd name="connsiteY8" fmla="*/ 44043 h 103955"/>
                    <a:gd name="connsiteX9" fmla="*/ 96998 w 106882"/>
                    <a:gd name="connsiteY9" fmla="*/ 45827 h 103955"/>
                    <a:gd name="connsiteX10" fmla="*/ 97229 w 106882"/>
                    <a:gd name="connsiteY10" fmla="*/ 47090 h 103955"/>
                    <a:gd name="connsiteX11" fmla="*/ 100046 w 106882"/>
                    <a:gd name="connsiteY11" fmla="*/ 54546 h 103955"/>
                    <a:gd name="connsiteX12" fmla="*/ 100617 w 106882"/>
                    <a:gd name="connsiteY12" fmla="*/ 56708 h 103955"/>
                    <a:gd name="connsiteX13" fmla="*/ 100738 w 106882"/>
                    <a:gd name="connsiteY13" fmla="*/ 58286 h 103955"/>
                    <a:gd name="connsiteX14" fmla="*/ 100398 w 106882"/>
                    <a:gd name="connsiteY14" fmla="*/ 59634 h 103955"/>
                    <a:gd name="connsiteX15" fmla="*/ 99524 w 106882"/>
                    <a:gd name="connsiteY15" fmla="*/ 60848 h 103955"/>
                    <a:gd name="connsiteX16" fmla="*/ 98552 w 106882"/>
                    <a:gd name="connsiteY16" fmla="*/ 61868 h 103955"/>
                    <a:gd name="connsiteX17" fmla="*/ 95735 w 106882"/>
                    <a:gd name="connsiteY17" fmla="*/ 64321 h 103955"/>
                    <a:gd name="connsiteX18" fmla="*/ 94642 w 106882"/>
                    <a:gd name="connsiteY18" fmla="*/ 65548 h 103955"/>
                    <a:gd name="connsiteX19" fmla="*/ 93841 w 106882"/>
                    <a:gd name="connsiteY19" fmla="*/ 66956 h 103955"/>
                    <a:gd name="connsiteX20" fmla="*/ 93270 w 106882"/>
                    <a:gd name="connsiteY20" fmla="*/ 69822 h 103955"/>
                    <a:gd name="connsiteX21" fmla="*/ 94302 w 106882"/>
                    <a:gd name="connsiteY21" fmla="*/ 71146 h 103955"/>
                    <a:gd name="connsiteX22" fmla="*/ 98844 w 106882"/>
                    <a:gd name="connsiteY22" fmla="*/ 79937 h 103955"/>
                    <a:gd name="connsiteX23" fmla="*/ 100277 w 106882"/>
                    <a:gd name="connsiteY23" fmla="*/ 82341 h 103955"/>
                    <a:gd name="connsiteX24" fmla="*/ 98831 w 106882"/>
                    <a:gd name="connsiteY24" fmla="*/ 79937 h 103955"/>
                    <a:gd name="connsiteX25" fmla="*/ 87988 w 106882"/>
                    <a:gd name="connsiteY25" fmla="*/ 81856 h 103955"/>
                    <a:gd name="connsiteX26" fmla="*/ 85741 w 106882"/>
                    <a:gd name="connsiteY26" fmla="*/ 82742 h 103955"/>
                    <a:gd name="connsiteX27" fmla="*/ 82633 w 106882"/>
                    <a:gd name="connsiteY27" fmla="*/ 84466 h 103955"/>
                    <a:gd name="connsiteX28" fmla="*/ 79828 w 106882"/>
                    <a:gd name="connsiteY28" fmla="*/ 87138 h 103955"/>
                    <a:gd name="connsiteX29" fmla="*/ 79196 w 106882"/>
                    <a:gd name="connsiteY29" fmla="*/ 88546 h 103955"/>
                    <a:gd name="connsiteX30" fmla="*/ 79767 w 106882"/>
                    <a:gd name="connsiteY30" fmla="*/ 89894 h 103955"/>
                    <a:gd name="connsiteX31" fmla="*/ 81030 w 106882"/>
                    <a:gd name="connsiteY31" fmla="*/ 91023 h 103955"/>
                    <a:gd name="connsiteX32" fmla="*/ 82014 w 106882"/>
                    <a:gd name="connsiteY32" fmla="*/ 92396 h 103955"/>
                    <a:gd name="connsiteX33" fmla="*/ 82536 w 106882"/>
                    <a:gd name="connsiteY33" fmla="*/ 93598 h 103955"/>
                    <a:gd name="connsiteX34" fmla="*/ 82414 w 106882"/>
                    <a:gd name="connsiteY34" fmla="*/ 94630 h 103955"/>
                    <a:gd name="connsiteX35" fmla="*/ 81443 w 106882"/>
                    <a:gd name="connsiteY35" fmla="*/ 95589 h 103955"/>
                    <a:gd name="connsiteX36" fmla="*/ 79646 w 106882"/>
                    <a:gd name="connsiteY36" fmla="*/ 96646 h 103955"/>
                    <a:gd name="connsiteX37" fmla="*/ 73683 w 106882"/>
                    <a:gd name="connsiteY37" fmla="*/ 97678 h 103955"/>
                    <a:gd name="connsiteX38" fmla="*/ 65985 w 106882"/>
                    <a:gd name="connsiteY38" fmla="*/ 94946 h 103955"/>
                    <a:gd name="connsiteX39" fmla="*/ 63119 w 106882"/>
                    <a:gd name="connsiteY39" fmla="*/ 93027 h 103955"/>
                    <a:gd name="connsiteX40" fmla="*/ 58699 w 106882"/>
                    <a:gd name="connsiteY40" fmla="*/ 90647 h 103955"/>
                    <a:gd name="connsiteX41" fmla="*/ 56295 w 106882"/>
                    <a:gd name="connsiteY41" fmla="*/ 88923 h 103955"/>
                    <a:gd name="connsiteX42" fmla="*/ 54898 w 106882"/>
                    <a:gd name="connsiteY42" fmla="*/ 87429 h 103955"/>
                    <a:gd name="connsiteX43" fmla="*/ 54158 w 106882"/>
                    <a:gd name="connsiteY43" fmla="*/ 86045 h 103955"/>
                    <a:gd name="connsiteX44" fmla="*/ 52263 w 106882"/>
                    <a:gd name="connsiteY44" fmla="*/ 80338 h 103955"/>
                    <a:gd name="connsiteX45" fmla="*/ 51632 w 106882"/>
                    <a:gd name="connsiteY45" fmla="*/ 79075 h 103955"/>
                    <a:gd name="connsiteX46" fmla="*/ 50721 w 106882"/>
                    <a:gd name="connsiteY46" fmla="*/ 78152 h 103955"/>
                    <a:gd name="connsiteX47" fmla="*/ 38032 w 106882"/>
                    <a:gd name="connsiteY47" fmla="*/ 71947 h 103955"/>
                    <a:gd name="connsiteX48" fmla="*/ 36939 w 106882"/>
                    <a:gd name="connsiteY48" fmla="*/ 71838 h 103955"/>
                    <a:gd name="connsiteX49" fmla="*/ 35725 w 106882"/>
                    <a:gd name="connsiteY49" fmla="*/ 72153 h 103955"/>
                    <a:gd name="connsiteX50" fmla="*/ 34632 w 106882"/>
                    <a:gd name="connsiteY50" fmla="*/ 73878 h 103955"/>
                    <a:gd name="connsiteX51" fmla="*/ 34571 w 106882"/>
                    <a:gd name="connsiteY51" fmla="*/ 76294 h 103955"/>
                    <a:gd name="connsiteX52" fmla="*/ 33199 w 106882"/>
                    <a:gd name="connsiteY52" fmla="*/ 76914 h 103955"/>
                    <a:gd name="connsiteX53" fmla="*/ 30394 w 106882"/>
                    <a:gd name="connsiteY53" fmla="*/ 77436 h 103955"/>
                    <a:gd name="connsiteX54" fmla="*/ 19999 w 106882"/>
                    <a:gd name="connsiteY54" fmla="*/ 78237 h 103955"/>
                    <a:gd name="connsiteX55" fmla="*/ 13503 w 106882"/>
                    <a:gd name="connsiteY55" fmla="*/ 79998 h 103955"/>
                    <a:gd name="connsiteX56" fmla="*/ 13042 w 106882"/>
                    <a:gd name="connsiteY56" fmla="*/ 78152 h 103955"/>
                    <a:gd name="connsiteX57" fmla="*/ 12932 w 106882"/>
                    <a:gd name="connsiteY57" fmla="*/ 77181 h 103955"/>
                    <a:gd name="connsiteX58" fmla="*/ 12532 w 106882"/>
                    <a:gd name="connsiteY58" fmla="*/ 76063 h 103955"/>
                    <a:gd name="connsiteX59" fmla="*/ 11779 w 106882"/>
                    <a:gd name="connsiteY59" fmla="*/ 74825 h 103955"/>
                    <a:gd name="connsiteX60" fmla="*/ 10759 w 106882"/>
                    <a:gd name="connsiteY60" fmla="*/ 73647 h 103955"/>
                    <a:gd name="connsiteX61" fmla="*/ 7942 w 106882"/>
                    <a:gd name="connsiteY61" fmla="*/ 71182 h 103955"/>
                    <a:gd name="connsiteX62" fmla="*/ 6448 w 106882"/>
                    <a:gd name="connsiteY62" fmla="*/ 69482 h 103955"/>
                    <a:gd name="connsiteX63" fmla="*/ 6217 w 106882"/>
                    <a:gd name="connsiteY63" fmla="*/ 67903 h 103955"/>
                    <a:gd name="connsiteX64" fmla="*/ 6788 w 106882"/>
                    <a:gd name="connsiteY64" fmla="*/ 66215 h 103955"/>
                    <a:gd name="connsiteX65" fmla="*/ 10759 w 106882"/>
                    <a:gd name="connsiteY65" fmla="*/ 62475 h 103955"/>
                    <a:gd name="connsiteX66" fmla="*/ 12532 w 106882"/>
                    <a:gd name="connsiteY66" fmla="*/ 58942 h 103955"/>
                    <a:gd name="connsiteX67" fmla="*/ 13442 w 106882"/>
                    <a:gd name="connsiteY67" fmla="*/ 57886 h 103955"/>
                    <a:gd name="connsiteX68" fmla="*/ 15519 w 106882"/>
                    <a:gd name="connsiteY68" fmla="*/ 57048 h 103955"/>
                    <a:gd name="connsiteX69" fmla="*/ 18894 w 106882"/>
                    <a:gd name="connsiteY69" fmla="*/ 56538 h 103955"/>
                    <a:gd name="connsiteX70" fmla="*/ 20570 w 106882"/>
                    <a:gd name="connsiteY70" fmla="*/ 56100 h 103955"/>
                    <a:gd name="connsiteX71" fmla="*/ 21663 w 106882"/>
                    <a:gd name="connsiteY71" fmla="*/ 55020 h 103955"/>
                    <a:gd name="connsiteX72" fmla="*/ 22125 w 106882"/>
                    <a:gd name="connsiteY72" fmla="*/ 50879 h 103955"/>
                    <a:gd name="connsiteX73" fmla="*/ 22817 w 106882"/>
                    <a:gd name="connsiteY73" fmla="*/ 49179 h 103955"/>
                    <a:gd name="connsiteX74" fmla="*/ 26083 w 106882"/>
                    <a:gd name="connsiteY74" fmla="*/ 46338 h 103955"/>
                    <a:gd name="connsiteX75" fmla="*/ 27516 w 106882"/>
                    <a:gd name="connsiteY75" fmla="*/ 44006 h 103955"/>
                    <a:gd name="connsiteX76" fmla="*/ 26994 w 106882"/>
                    <a:gd name="connsiteY76" fmla="*/ 41662 h 103955"/>
                    <a:gd name="connsiteX77" fmla="*/ 25792 w 106882"/>
                    <a:gd name="connsiteY77" fmla="*/ 39392 h 103955"/>
                    <a:gd name="connsiteX78" fmla="*/ 25500 w 106882"/>
                    <a:gd name="connsiteY78" fmla="*/ 38129 h 103955"/>
                    <a:gd name="connsiteX79" fmla="*/ 25731 w 106882"/>
                    <a:gd name="connsiteY79" fmla="*/ 35032 h 103955"/>
                    <a:gd name="connsiteX80" fmla="*/ 25051 w 106882"/>
                    <a:gd name="connsiteY80" fmla="*/ 24517 h 103955"/>
                    <a:gd name="connsiteX81" fmla="*/ 25221 w 106882"/>
                    <a:gd name="connsiteY81" fmla="*/ 21942 h 103955"/>
                    <a:gd name="connsiteX82" fmla="*/ 25500 w 106882"/>
                    <a:gd name="connsiteY82" fmla="*/ 19878 h 103955"/>
                    <a:gd name="connsiteX83" fmla="*/ 26836 w 106882"/>
                    <a:gd name="connsiteY83" fmla="*/ 17522 h 103955"/>
                    <a:gd name="connsiteX84" fmla="*/ 28839 w 106882"/>
                    <a:gd name="connsiteY84" fmla="*/ 15616 h 103955"/>
                    <a:gd name="connsiteX85" fmla="*/ 33381 w 106882"/>
                    <a:gd name="connsiteY85" fmla="*/ 13272 h 103955"/>
                    <a:gd name="connsiteX86" fmla="*/ 38093 w 106882"/>
                    <a:gd name="connsiteY86" fmla="*/ 11779 h 103955"/>
                    <a:gd name="connsiteX87" fmla="*/ 44164 w 106882"/>
                    <a:gd name="connsiteY87" fmla="*/ 12010 h 103955"/>
                    <a:gd name="connsiteX88" fmla="*/ 47625 w 106882"/>
                    <a:gd name="connsiteY88" fmla="*/ 9277 h 103955"/>
                    <a:gd name="connsiteX89" fmla="*/ 48596 w 106882"/>
                    <a:gd name="connsiteY89" fmla="*/ 7808 h 103955"/>
                    <a:gd name="connsiteX90" fmla="*/ 50150 w 106882"/>
                    <a:gd name="connsiteY90" fmla="*/ 6120 h 103955"/>
                    <a:gd name="connsiteX91" fmla="*/ 51863 w 106882"/>
                    <a:gd name="connsiteY91" fmla="*/ 6144 h 103955"/>
                    <a:gd name="connsiteX92" fmla="*/ 60423 w 106882"/>
                    <a:gd name="connsiteY92" fmla="*/ 8452 h 103955"/>
                    <a:gd name="connsiteX93" fmla="*/ 62888 w 106882"/>
                    <a:gd name="connsiteY93" fmla="*/ 9472 h 103955"/>
                    <a:gd name="connsiteX94" fmla="*/ 65366 w 106882"/>
                    <a:gd name="connsiteY94" fmla="*/ 10224 h 103955"/>
                    <a:gd name="connsiteX95" fmla="*/ 66507 w 106882"/>
                    <a:gd name="connsiteY95" fmla="*/ 10285 h 103955"/>
                    <a:gd name="connsiteX96" fmla="*/ 75056 w 106882"/>
                    <a:gd name="connsiteY96" fmla="*/ 7213 h 103955"/>
                    <a:gd name="connsiteX97" fmla="*/ 76221 w 106882"/>
                    <a:gd name="connsiteY97" fmla="*/ 5124 h 103955"/>
                    <a:gd name="connsiteX98" fmla="*/ 47527 w 106882"/>
                    <a:gd name="connsiteY98" fmla="*/ 0 h 103955"/>
                    <a:gd name="connsiteX99" fmla="*/ 45694 w 106882"/>
                    <a:gd name="connsiteY99" fmla="*/ 2004 h 103955"/>
                    <a:gd name="connsiteX100" fmla="*/ 44140 w 106882"/>
                    <a:gd name="connsiteY100" fmla="*/ 3691 h 103955"/>
                    <a:gd name="connsiteX101" fmla="*/ 43812 w 106882"/>
                    <a:gd name="connsiteY101" fmla="*/ 4044 h 103955"/>
                    <a:gd name="connsiteX102" fmla="*/ 43545 w 106882"/>
                    <a:gd name="connsiteY102" fmla="*/ 4444 h 103955"/>
                    <a:gd name="connsiteX103" fmla="*/ 43107 w 106882"/>
                    <a:gd name="connsiteY103" fmla="*/ 5100 h 103955"/>
                    <a:gd name="connsiteX104" fmla="*/ 42160 w 106882"/>
                    <a:gd name="connsiteY104" fmla="*/ 5841 h 103955"/>
                    <a:gd name="connsiteX105" fmla="*/ 38323 w 106882"/>
                    <a:gd name="connsiteY105" fmla="*/ 5695 h 103955"/>
                    <a:gd name="connsiteX106" fmla="*/ 37267 w 106882"/>
                    <a:gd name="connsiteY106" fmla="*/ 5659 h 103955"/>
                    <a:gd name="connsiteX107" fmla="*/ 36259 w 106882"/>
                    <a:gd name="connsiteY107" fmla="*/ 5974 h 103955"/>
                    <a:gd name="connsiteX108" fmla="*/ 31547 w 106882"/>
                    <a:gd name="connsiteY108" fmla="*/ 7468 h 103955"/>
                    <a:gd name="connsiteX109" fmla="*/ 31062 w 106882"/>
                    <a:gd name="connsiteY109" fmla="*/ 7626 h 103955"/>
                    <a:gd name="connsiteX110" fmla="*/ 30600 w 106882"/>
                    <a:gd name="connsiteY110" fmla="*/ 7869 h 103955"/>
                    <a:gd name="connsiteX111" fmla="*/ 26059 w 106882"/>
                    <a:gd name="connsiteY111" fmla="*/ 10212 h 103955"/>
                    <a:gd name="connsiteX112" fmla="*/ 25294 w 106882"/>
                    <a:gd name="connsiteY112" fmla="*/ 10613 h 103955"/>
                    <a:gd name="connsiteX113" fmla="*/ 24662 w 106882"/>
                    <a:gd name="connsiteY113" fmla="*/ 11208 h 103955"/>
                    <a:gd name="connsiteX114" fmla="*/ 22659 w 106882"/>
                    <a:gd name="connsiteY114" fmla="*/ 13114 h 103955"/>
                    <a:gd name="connsiteX115" fmla="*/ 22003 w 106882"/>
                    <a:gd name="connsiteY115" fmla="*/ 13734 h 103955"/>
                    <a:gd name="connsiteX116" fmla="*/ 21554 w 106882"/>
                    <a:gd name="connsiteY116" fmla="*/ 14523 h 103955"/>
                    <a:gd name="connsiteX117" fmla="*/ 20218 w 106882"/>
                    <a:gd name="connsiteY117" fmla="*/ 16879 h 103955"/>
                    <a:gd name="connsiteX118" fmla="*/ 19647 w 106882"/>
                    <a:gd name="connsiteY118" fmla="*/ 17899 h 103955"/>
                    <a:gd name="connsiteX119" fmla="*/ 19490 w 106882"/>
                    <a:gd name="connsiteY119" fmla="*/ 19052 h 103955"/>
                    <a:gd name="connsiteX120" fmla="*/ 19210 w 106882"/>
                    <a:gd name="connsiteY120" fmla="*/ 21117 h 103955"/>
                    <a:gd name="connsiteX121" fmla="*/ 18992 w 106882"/>
                    <a:gd name="connsiteY121" fmla="*/ 24104 h 103955"/>
                    <a:gd name="connsiteX122" fmla="*/ 18967 w 106882"/>
                    <a:gd name="connsiteY122" fmla="*/ 24505 h 103955"/>
                    <a:gd name="connsiteX123" fmla="*/ 18992 w 106882"/>
                    <a:gd name="connsiteY123" fmla="*/ 24905 h 103955"/>
                    <a:gd name="connsiteX124" fmla="*/ 19647 w 106882"/>
                    <a:gd name="connsiteY124" fmla="*/ 35008 h 103955"/>
                    <a:gd name="connsiteX125" fmla="*/ 19441 w 106882"/>
                    <a:gd name="connsiteY125" fmla="*/ 37680 h 103955"/>
                    <a:gd name="connsiteX126" fmla="*/ 19368 w 106882"/>
                    <a:gd name="connsiteY126" fmla="*/ 38590 h 103955"/>
                    <a:gd name="connsiteX127" fmla="*/ 19574 w 106882"/>
                    <a:gd name="connsiteY127" fmla="*/ 39489 h 103955"/>
                    <a:gd name="connsiteX128" fmla="*/ 19866 w 106882"/>
                    <a:gd name="connsiteY128" fmla="*/ 40752 h 103955"/>
                    <a:gd name="connsiteX129" fmla="*/ 20048 w 106882"/>
                    <a:gd name="connsiteY129" fmla="*/ 41529 h 103955"/>
                    <a:gd name="connsiteX130" fmla="*/ 20425 w 106882"/>
                    <a:gd name="connsiteY130" fmla="*/ 42233 h 103955"/>
                    <a:gd name="connsiteX131" fmla="*/ 20777 w 106882"/>
                    <a:gd name="connsiteY131" fmla="*/ 42901 h 103955"/>
                    <a:gd name="connsiteX132" fmla="*/ 18822 w 106882"/>
                    <a:gd name="connsiteY132" fmla="*/ 44601 h 103955"/>
                    <a:gd name="connsiteX133" fmla="*/ 17741 w 106882"/>
                    <a:gd name="connsiteY133" fmla="*/ 45548 h 103955"/>
                    <a:gd name="connsiteX134" fmla="*/ 17194 w 106882"/>
                    <a:gd name="connsiteY134" fmla="*/ 46884 h 103955"/>
                    <a:gd name="connsiteX135" fmla="*/ 16502 w 106882"/>
                    <a:gd name="connsiteY135" fmla="*/ 48584 h 103955"/>
                    <a:gd name="connsiteX136" fmla="*/ 16187 w 106882"/>
                    <a:gd name="connsiteY136" fmla="*/ 49373 h 103955"/>
                    <a:gd name="connsiteX137" fmla="*/ 16090 w 106882"/>
                    <a:gd name="connsiteY137" fmla="*/ 50223 h 103955"/>
                    <a:gd name="connsiteX138" fmla="*/ 16029 w 106882"/>
                    <a:gd name="connsiteY138" fmla="*/ 50843 h 103955"/>
                    <a:gd name="connsiteX139" fmla="*/ 14620 w 106882"/>
                    <a:gd name="connsiteY139" fmla="*/ 51049 h 103955"/>
                    <a:gd name="connsiteX140" fmla="*/ 13916 w 106882"/>
                    <a:gd name="connsiteY140" fmla="*/ 51158 h 103955"/>
                    <a:gd name="connsiteX141" fmla="*/ 13248 w 106882"/>
                    <a:gd name="connsiteY141" fmla="*/ 51425 h 103955"/>
                    <a:gd name="connsiteX142" fmla="*/ 11172 w 106882"/>
                    <a:gd name="connsiteY142" fmla="*/ 52263 h 103955"/>
                    <a:gd name="connsiteX143" fmla="*/ 9812 w 106882"/>
                    <a:gd name="connsiteY143" fmla="*/ 52810 h 103955"/>
                    <a:gd name="connsiteX144" fmla="*/ 8852 w 106882"/>
                    <a:gd name="connsiteY144" fmla="*/ 53915 h 103955"/>
                    <a:gd name="connsiteX145" fmla="*/ 7942 w 106882"/>
                    <a:gd name="connsiteY145" fmla="*/ 54971 h 103955"/>
                    <a:gd name="connsiteX146" fmla="*/ 7444 w 106882"/>
                    <a:gd name="connsiteY146" fmla="*/ 55542 h 103955"/>
                    <a:gd name="connsiteX147" fmla="*/ 7104 w 106882"/>
                    <a:gd name="connsiteY147" fmla="*/ 56222 h 103955"/>
                    <a:gd name="connsiteX148" fmla="*/ 5817 w 106882"/>
                    <a:gd name="connsiteY148" fmla="*/ 58796 h 103955"/>
                    <a:gd name="connsiteX149" fmla="*/ 2623 w 106882"/>
                    <a:gd name="connsiteY149" fmla="*/ 61808 h 103955"/>
                    <a:gd name="connsiteX150" fmla="*/ 1530 w 106882"/>
                    <a:gd name="connsiteY150" fmla="*/ 62840 h 103955"/>
                    <a:gd name="connsiteX151" fmla="*/ 1044 w 106882"/>
                    <a:gd name="connsiteY151" fmla="*/ 64273 h 103955"/>
                    <a:gd name="connsiteX152" fmla="*/ 474 w 106882"/>
                    <a:gd name="connsiteY152" fmla="*/ 65961 h 103955"/>
                    <a:gd name="connsiteX153" fmla="*/ 0 w 106882"/>
                    <a:gd name="connsiteY153" fmla="*/ 67345 h 103955"/>
                    <a:gd name="connsiteX154" fmla="*/ 219 w 106882"/>
                    <a:gd name="connsiteY154" fmla="*/ 68802 h 103955"/>
                    <a:gd name="connsiteX155" fmla="*/ 449 w 106882"/>
                    <a:gd name="connsiteY155" fmla="*/ 70381 h 103955"/>
                    <a:gd name="connsiteX156" fmla="*/ 704 w 106882"/>
                    <a:gd name="connsiteY156" fmla="*/ 72153 h 103955"/>
                    <a:gd name="connsiteX157" fmla="*/ 1894 w 106882"/>
                    <a:gd name="connsiteY157" fmla="*/ 73501 h 103955"/>
                    <a:gd name="connsiteX158" fmla="*/ 3388 w 106882"/>
                    <a:gd name="connsiteY158" fmla="*/ 75201 h 103955"/>
                    <a:gd name="connsiteX159" fmla="*/ 3643 w 106882"/>
                    <a:gd name="connsiteY159" fmla="*/ 75505 h 103955"/>
                    <a:gd name="connsiteX160" fmla="*/ 3947 w 106882"/>
                    <a:gd name="connsiteY160" fmla="*/ 75760 h 103955"/>
                    <a:gd name="connsiteX161" fmla="*/ 6448 w 106882"/>
                    <a:gd name="connsiteY161" fmla="*/ 77946 h 103955"/>
                    <a:gd name="connsiteX162" fmla="*/ 6861 w 106882"/>
                    <a:gd name="connsiteY162" fmla="*/ 78419 h 103955"/>
                    <a:gd name="connsiteX163" fmla="*/ 6994 w 106882"/>
                    <a:gd name="connsiteY163" fmla="*/ 78638 h 103955"/>
                    <a:gd name="connsiteX164" fmla="*/ 7007 w 106882"/>
                    <a:gd name="connsiteY164" fmla="*/ 78820 h 103955"/>
                    <a:gd name="connsiteX165" fmla="*/ 7055 w 106882"/>
                    <a:gd name="connsiteY165" fmla="*/ 79233 h 103955"/>
                    <a:gd name="connsiteX166" fmla="*/ 7152 w 106882"/>
                    <a:gd name="connsiteY166" fmla="*/ 79634 h 103955"/>
                    <a:gd name="connsiteX167" fmla="*/ 7614 w 106882"/>
                    <a:gd name="connsiteY167" fmla="*/ 81479 h 103955"/>
                    <a:gd name="connsiteX168" fmla="*/ 9119 w 106882"/>
                    <a:gd name="connsiteY168" fmla="*/ 87478 h 103955"/>
                    <a:gd name="connsiteX169" fmla="*/ 15094 w 106882"/>
                    <a:gd name="connsiteY169" fmla="*/ 85863 h 103955"/>
                    <a:gd name="connsiteX170" fmla="*/ 21044 w 106882"/>
                    <a:gd name="connsiteY170" fmla="*/ 84260 h 103955"/>
                    <a:gd name="connsiteX171" fmla="*/ 30867 w 106882"/>
                    <a:gd name="connsiteY171" fmla="*/ 83507 h 103955"/>
                    <a:gd name="connsiteX172" fmla="*/ 31183 w 106882"/>
                    <a:gd name="connsiteY172" fmla="*/ 83483 h 103955"/>
                    <a:gd name="connsiteX173" fmla="*/ 31499 w 106882"/>
                    <a:gd name="connsiteY173" fmla="*/ 83422 h 103955"/>
                    <a:gd name="connsiteX174" fmla="*/ 34304 w 106882"/>
                    <a:gd name="connsiteY174" fmla="*/ 82900 h 103955"/>
                    <a:gd name="connsiteX175" fmla="*/ 35020 w 106882"/>
                    <a:gd name="connsiteY175" fmla="*/ 82766 h 103955"/>
                    <a:gd name="connsiteX176" fmla="*/ 35688 w 106882"/>
                    <a:gd name="connsiteY176" fmla="*/ 82475 h 103955"/>
                    <a:gd name="connsiteX177" fmla="*/ 37060 w 106882"/>
                    <a:gd name="connsiteY177" fmla="*/ 81856 h 103955"/>
                    <a:gd name="connsiteX178" fmla="*/ 40558 w 106882"/>
                    <a:gd name="connsiteY178" fmla="*/ 80289 h 103955"/>
                    <a:gd name="connsiteX179" fmla="*/ 40558 w 106882"/>
                    <a:gd name="connsiteY179" fmla="*/ 79961 h 103955"/>
                    <a:gd name="connsiteX180" fmla="*/ 46738 w 106882"/>
                    <a:gd name="connsiteY180" fmla="*/ 82985 h 103955"/>
                    <a:gd name="connsiteX181" fmla="*/ 48402 w 106882"/>
                    <a:gd name="connsiteY181" fmla="*/ 87988 h 103955"/>
                    <a:gd name="connsiteX182" fmla="*/ 48572 w 106882"/>
                    <a:gd name="connsiteY182" fmla="*/ 88486 h 103955"/>
                    <a:gd name="connsiteX183" fmla="*/ 48815 w 106882"/>
                    <a:gd name="connsiteY183" fmla="*/ 88935 h 103955"/>
                    <a:gd name="connsiteX184" fmla="*/ 49555 w 106882"/>
                    <a:gd name="connsiteY184" fmla="*/ 90319 h 103955"/>
                    <a:gd name="connsiteX185" fmla="*/ 49932 w 106882"/>
                    <a:gd name="connsiteY185" fmla="*/ 91023 h 103955"/>
                    <a:gd name="connsiteX186" fmla="*/ 50466 w 106882"/>
                    <a:gd name="connsiteY186" fmla="*/ 91594 h 103955"/>
                    <a:gd name="connsiteX187" fmla="*/ 51863 w 106882"/>
                    <a:gd name="connsiteY187" fmla="*/ 93088 h 103955"/>
                    <a:gd name="connsiteX188" fmla="*/ 52275 w 106882"/>
                    <a:gd name="connsiteY188" fmla="*/ 93537 h 103955"/>
                    <a:gd name="connsiteX189" fmla="*/ 52761 w 106882"/>
                    <a:gd name="connsiteY189" fmla="*/ 93889 h 103955"/>
                    <a:gd name="connsiteX190" fmla="*/ 55165 w 106882"/>
                    <a:gd name="connsiteY190" fmla="*/ 95614 h 103955"/>
                    <a:gd name="connsiteX191" fmla="*/ 55481 w 106882"/>
                    <a:gd name="connsiteY191" fmla="*/ 95844 h 103955"/>
                    <a:gd name="connsiteX192" fmla="*/ 55821 w 106882"/>
                    <a:gd name="connsiteY192" fmla="*/ 96026 h 103955"/>
                    <a:gd name="connsiteX193" fmla="*/ 60241 w 106882"/>
                    <a:gd name="connsiteY193" fmla="*/ 98406 h 103955"/>
                    <a:gd name="connsiteX194" fmla="*/ 62621 w 106882"/>
                    <a:gd name="connsiteY194" fmla="*/ 100022 h 103955"/>
                    <a:gd name="connsiteX195" fmla="*/ 63241 w 106882"/>
                    <a:gd name="connsiteY195" fmla="*/ 100434 h 103955"/>
                    <a:gd name="connsiteX196" fmla="*/ 63957 w 106882"/>
                    <a:gd name="connsiteY196" fmla="*/ 100689 h 103955"/>
                    <a:gd name="connsiteX197" fmla="*/ 71655 w 106882"/>
                    <a:gd name="connsiteY197" fmla="*/ 103422 h 103955"/>
                    <a:gd name="connsiteX198" fmla="*/ 73161 w 106882"/>
                    <a:gd name="connsiteY198" fmla="*/ 103956 h 103955"/>
                    <a:gd name="connsiteX199" fmla="*/ 74728 w 106882"/>
                    <a:gd name="connsiteY199" fmla="*/ 103689 h 103955"/>
                    <a:gd name="connsiteX200" fmla="*/ 80690 w 106882"/>
                    <a:gd name="connsiteY200" fmla="*/ 102657 h 103955"/>
                    <a:gd name="connsiteX201" fmla="*/ 81771 w 106882"/>
                    <a:gd name="connsiteY201" fmla="*/ 102462 h 103955"/>
                    <a:gd name="connsiteX202" fmla="*/ 82730 w 106882"/>
                    <a:gd name="connsiteY202" fmla="*/ 101904 h 103955"/>
                    <a:gd name="connsiteX203" fmla="*/ 84527 w 106882"/>
                    <a:gd name="connsiteY203" fmla="*/ 100847 h 103955"/>
                    <a:gd name="connsiteX204" fmla="*/ 85183 w 106882"/>
                    <a:gd name="connsiteY204" fmla="*/ 100459 h 103955"/>
                    <a:gd name="connsiteX205" fmla="*/ 85717 w 106882"/>
                    <a:gd name="connsiteY205" fmla="*/ 99924 h 103955"/>
                    <a:gd name="connsiteX206" fmla="*/ 86689 w 106882"/>
                    <a:gd name="connsiteY206" fmla="*/ 98965 h 103955"/>
                    <a:gd name="connsiteX207" fmla="*/ 88206 w 106882"/>
                    <a:gd name="connsiteY207" fmla="*/ 97459 h 103955"/>
                    <a:gd name="connsiteX208" fmla="*/ 88449 w 106882"/>
                    <a:gd name="connsiteY208" fmla="*/ 95334 h 103955"/>
                    <a:gd name="connsiteX209" fmla="*/ 88571 w 106882"/>
                    <a:gd name="connsiteY209" fmla="*/ 94302 h 103955"/>
                    <a:gd name="connsiteX210" fmla="*/ 88765 w 106882"/>
                    <a:gd name="connsiteY210" fmla="*/ 92687 h 103955"/>
                    <a:gd name="connsiteX211" fmla="*/ 88121 w 106882"/>
                    <a:gd name="connsiteY211" fmla="*/ 91194 h 103955"/>
                    <a:gd name="connsiteX212" fmla="*/ 87599 w 106882"/>
                    <a:gd name="connsiteY212" fmla="*/ 89991 h 103955"/>
                    <a:gd name="connsiteX213" fmla="*/ 87344 w 106882"/>
                    <a:gd name="connsiteY213" fmla="*/ 89396 h 103955"/>
                    <a:gd name="connsiteX214" fmla="*/ 87053 w 106882"/>
                    <a:gd name="connsiteY214" fmla="*/ 88983 h 103955"/>
                    <a:gd name="connsiteX215" fmla="*/ 88364 w 106882"/>
                    <a:gd name="connsiteY215" fmla="*/ 88255 h 103955"/>
                    <a:gd name="connsiteX216" fmla="*/ 89663 w 106882"/>
                    <a:gd name="connsiteY216" fmla="*/ 87745 h 103955"/>
                    <a:gd name="connsiteX217" fmla="*/ 99912 w 106882"/>
                    <a:gd name="connsiteY217" fmla="*/ 85936 h 103955"/>
                    <a:gd name="connsiteX218" fmla="*/ 99378 w 106882"/>
                    <a:gd name="connsiteY218" fmla="*/ 82912 h 103955"/>
                    <a:gd name="connsiteX219" fmla="*/ 105510 w 106882"/>
                    <a:gd name="connsiteY219" fmla="*/ 79257 h 103955"/>
                    <a:gd name="connsiteX220" fmla="*/ 104077 w 106882"/>
                    <a:gd name="connsiteY220" fmla="*/ 76853 h 103955"/>
                    <a:gd name="connsiteX221" fmla="*/ 99924 w 106882"/>
                    <a:gd name="connsiteY221" fmla="*/ 68790 h 103955"/>
                    <a:gd name="connsiteX222" fmla="*/ 100021 w 106882"/>
                    <a:gd name="connsiteY222" fmla="*/ 68681 h 103955"/>
                    <a:gd name="connsiteX223" fmla="*/ 102559 w 106882"/>
                    <a:gd name="connsiteY223" fmla="*/ 66471 h 103955"/>
                    <a:gd name="connsiteX224" fmla="*/ 103944 w 106882"/>
                    <a:gd name="connsiteY224" fmla="*/ 65050 h 103955"/>
                    <a:gd name="connsiteX225" fmla="*/ 104223 w 106882"/>
                    <a:gd name="connsiteY225" fmla="*/ 64758 h 103955"/>
                    <a:gd name="connsiteX226" fmla="*/ 104466 w 106882"/>
                    <a:gd name="connsiteY226" fmla="*/ 64430 h 103955"/>
                    <a:gd name="connsiteX227" fmla="*/ 105340 w 106882"/>
                    <a:gd name="connsiteY227" fmla="*/ 63216 h 103955"/>
                    <a:gd name="connsiteX228" fmla="*/ 106020 w 106882"/>
                    <a:gd name="connsiteY228" fmla="*/ 62269 h 103955"/>
                    <a:gd name="connsiteX229" fmla="*/ 106299 w 106882"/>
                    <a:gd name="connsiteY229" fmla="*/ 61140 h 103955"/>
                    <a:gd name="connsiteX230" fmla="*/ 106639 w 106882"/>
                    <a:gd name="connsiteY230" fmla="*/ 59792 h 103955"/>
                    <a:gd name="connsiteX231" fmla="*/ 106882 w 106882"/>
                    <a:gd name="connsiteY231" fmla="*/ 58845 h 103955"/>
                    <a:gd name="connsiteX232" fmla="*/ 106809 w 106882"/>
                    <a:gd name="connsiteY232" fmla="*/ 57861 h 103955"/>
                    <a:gd name="connsiteX233" fmla="*/ 106688 w 106882"/>
                    <a:gd name="connsiteY233" fmla="*/ 56283 h 103955"/>
                    <a:gd name="connsiteX234" fmla="*/ 106651 w 106882"/>
                    <a:gd name="connsiteY234" fmla="*/ 55736 h 103955"/>
                    <a:gd name="connsiteX235" fmla="*/ 106506 w 106882"/>
                    <a:gd name="connsiteY235" fmla="*/ 55202 h 103955"/>
                    <a:gd name="connsiteX236" fmla="*/ 105935 w 106882"/>
                    <a:gd name="connsiteY236" fmla="*/ 53040 h 103955"/>
                    <a:gd name="connsiteX237" fmla="*/ 105862 w 106882"/>
                    <a:gd name="connsiteY237" fmla="*/ 52737 h 103955"/>
                    <a:gd name="connsiteX238" fmla="*/ 105753 w 106882"/>
                    <a:gd name="connsiteY238" fmla="*/ 52433 h 103955"/>
                    <a:gd name="connsiteX239" fmla="*/ 103130 w 106882"/>
                    <a:gd name="connsiteY239" fmla="*/ 45500 h 103955"/>
                    <a:gd name="connsiteX240" fmla="*/ 103057 w 106882"/>
                    <a:gd name="connsiteY240" fmla="*/ 45135 h 103955"/>
                    <a:gd name="connsiteX241" fmla="*/ 102972 w 106882"/>
                    <a:gd name="connsiteY241" fmla="*/ 43715 h 103955"/>
                    <a:gd name="connsiteX242" fmla="*/ 102924 w 106882"/>
                    <a:gd name="connsiteY242" fmla="*/ 42938 h 103955"/>
                    <a:gd name="connsiteX243" fmla="*/ 102681 w 106882"/>
                    <a:gd name="connsiteY243" fmla="*/ 42185 h 103955"/>
                    <a:gd name="connsiteX244" fmla="*/ 101928 w 106882"/>
                    <a:gd name="connsiteY244" fmla="*/ 39890 h 103955"/>
                    <a:gd name="connsiteX245" fmla="*/ 100617 w 106882"/>
                    <a:gd name="connsiteY245" fmla="*/ 36720 h 103955"/>
                    <a:gd name="connsiteX246" fmla="*/ 100058 w 106882"/>
                    <a:gd name="connsiteY246" fmla="*/ 35409 h 103955"/>
                    <a:gd name="connsiteX247" fmla="*/ 98977 w 106882"/>
                    <a:gd name="connsiteY247" fmla="*/ 34474 h 103955"/>
                    <a:gd name="connsiteX248" fmla="*/ 85341 w 106882"/>
                    <a:gd name="connsiteY248" fmla="*/ 22792 h 103955"/>
                    <a:gd name="connsiteX249" fmla="*/ 84539 w 106882"/>
                    <a:gd name="connsiteY249" fmla="*/ 20109 h 103955"/>
                    <a:gd name="connsiteX250" fmla="*/ 84223 w 106882"/>
                    <a:gd name="connsiteY250" fmla="*/ 19077 h 103955"/>
                    <a:gd name="connsiteX251" fmla="*/ 83568 w 106882"/>
                    <a:gd name="connsiteY251" fmla="*/ 18214 h 103955"/>
                    <a:gd name="connsiteX252" fmla="*/ 83131 w 106882"/>
                    <a:gd name="connsiteY252" fmla="*/ 17644 h 103955"/>
                    <a:gd name="connsiteX253" fmla="*/ 83641 w 106882"/>
                    <a:gd name="connsiteY253" fmla="*/ 16490 h 103955"/>
                    <a:gd name="connsiteX254" fmla="*/ 84721 w 106882"/>
                    <a:gd name="connsiteY254" fmla="*/ 14037 h 103955"/>
                    <a:gd name="connsiteX255" fmla="*/ 83641 w 106882"/>
                    <a:gd name="connsiteY255" fmla="*/ 11584 h 103955"/>
                    <a:gd name="connsiteX256" fmla="*/ 80654 w 106882"/>
                    <a:gd name="connsiteY256" fmla="*/ 4809 h 103955"/>
                    <a:gd name="connsiteX257" fmla="*/ 77849 w 106882"/>
                    <a:gd name="connsiteY257" fmla="*/ 6047 h 103955"/>
                    <a:gd name="connsiteX258" fmla="*/ 73866 w 106882"/>
                    <a:gd name="connsiteY258" fmla="*/ 3849 h 103955"/>
                    <a:gd name="connsiteX259" fmla="*/ 73040 w 106882"/>
                    <a:gd name="connsiteY259" fmla="*/ 1542 h 103955"/>
                    <a:gd name="connsiteX260" fmla="*/ 71012 w 106882"/>
                    <a:gd name="connsiteY260" fmla="*/ 2271 h 103955"/>
                    <a:gd name="connsiteX261" fmla="*/ 70939 w 106882"/>
                    <a:gd name="connsiteY261" fmla="*/ 2234 h 103955"/>
                    <a:gd name="connsiteX262" fmla="*/ 70891 w 106882"/>
                    <a:gd name="connsiteY262" fmla="*/ 2319 h 103955"/>
                    <a:gd name="connsiteX263" fmla="*/ 65948 w 106882"/>
                    <a:gd name="connsiteY263" fmla="*/ 4092 h 103955"/>
                    <a:gd name="connsiteX264" fmla="*/ 64686 w 106882"/>
                    <a:gd name="connsiteY264" fmla="*/ 3704 h 103955"/>
                    <a:gd name="connsiteX265" fmla="*/ 62779 w 106882"/>
                    <a:gd name="connsiteY265" fmla="*/ 2890 h 103955"/>
                    <a:gd name="connsiteX266" fmla="*/ 62415 w 106882"/>
                    <a:gd name="connsiteY266" fmla="*/ 2744 h 103955"/>
                    <a:gd name="connsiteX267" fmla="*/ 62038 w 106882"/>
                    <a:gd name="connsiteY267" fmla="*/ 2635 h 103955"/>
                    <a:gd name="connsiteX268" fmla="*/ 53478 w 106882"/>
                    <a:gd name="connsiteY268" fmla="*/ 328 h 103955"/>
                    <a:gd name="connsiteX269" fmla="*/ 52737 w 106882"/>
                    <a:gd name="connsiteY269" fmla="*/ 134 h 103955"/>
                    <a:gd name="connsiteX270" fmla="*/ 51972 w 106882"/>
                    <a:gd name="connsiteY270" fmla="*/ 122 h 103955"/>
                    <a:gd name="connsiteX271" fmla="*/ 50260 w 106882"/>
                    <a:gd name="connsiteY271" fmla="*/ 97 h 103955"/>
                    <a:gd name="connsiteX272" fmla="*/ 47527 w 106882"/>
                    <a:gd name="connsiteY272" fmla="*/ 0 h 103955"/>
                    <a:gd name="connsiteX273" fmla="*/ 47527 w 106882"/>
                    <a:gd name="connsiteY273" fmla="*/ 0 h 103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Lst>
                  <a:rect l="l" t="t" r="r" b="b"/>
                  <a:pathLst>
                    <a:path w="106882" h="103955">
                      <a:moveTo>
                        <a:pt x="76221" y="5124"/>
                      </a:moveTo>
                      <a:lnTo>
                        <a:pt x="75068" y="7213"/>
                      </a:lnTo>
                      <a:lnTo>
                        <a:pt x="78055" y="13989"/>
                      </a:lnTo>
                      <a:lnTo>
                        <a:pt x="76112" y="18409"/>
                      </a:lnTo>
                      <a:lnTo>
                        <a:pt x="78686" y="21821"/>
                      </a:lnTo>
                      <a:lnTo>
                        <a:pt x="80010" y="26217"/>
                      </a:lnTo>
                      <a:lnTo>
                        <a:pt x="94994" y="39052"/>
                      </a:lnTo>
                      <a:lnTo>
                        <a:pt x="96136" y="41747"/>
                      </a:lnTo>
                      <a:lnTo>
                        <a:pt x="96889" y="44043"/>
                      </a:lnTo>
                      <a:lnTo>
                        <a:pt x="96998" y="45827"/>
                      </a:lnTo>
                      <a:lnTo>
                        <a:pt x="97229" y="47090"/>
                      </a:lnTo>
                      <a:lnTo>
                        <a:pt x="100046" y="54546"/>
                      </a:lnTo>
                      <a:lnTo>
                        <a:pt x="100617" y="56708"/>
                      </a:lnTo>
                      <a:lnTo>
                        <a:pt x="100738" y="58286"/>
                      </a:lnTo>
                      <a:lnTo>
                        <a:pt x="100398" y="59634"/>
                      </a:lnTo>
                      <a:lnTo>
                        <a:pt x="99524" y="60848"/>
                      </a:lnTo>
                      <a:lnTo>
                        <a:pt x="98552" y="61868"/>
                      </a:lnTo>
                      <a:lnTo>
                        <a:pt x="95735" y="64321"/>
                      </a:lnTo>
                      <a:lnTo>
                        <a:pt x="94642" y="65548"/>
                      </a:lnTo>
                      <a:lnTo>
                        <a:pt x="93841" y="66956"/>
                      </a:lnTo>
                      <a:lnTo>
                        <a:pt x="93270" y="69822"/>
                      </a:lnTo>
                      <a:lnTo>
                        <a:pt x="94302" y="71146"/>
                      </a:lnTo>
                      <a:lnTo>
                        <a:pt x="98844" y="79937"/>
                      </a:lnTo>
                      <a:lnTo>
                        <a:pt x="100277" y="82341"/>
                      </a:lnTo>
                      <a:lnTo>
                        <a:pt x="98831" y="79937"/>
                      </a:lnTo>
                      <a:lnTo>
                        <a:pt x="87988" y="81856"/>
                      </a:lnTo>
                      <a:lnTo>
                        <a:pt x="85741" y="82742"/>
                      </a:lnTo>
                      <a:lnTo>
                        <a:pt x="82633" y="84466"/>
                      </a:lnTo>
                      <a:lnTo>
                        <a:pt x="79828" y="87138"/>
                      </a:lnTo>
                      <a:lnTo>
                        <a:pt x="79196" y="88546"/>
                      </a:lnTo>
                      <a:lnTo>
                        <a:pt x="79767" y="89894"/>
                      </a:lnTo>
                      <a:lnTo>
                        <a:pt x="81030" y="91023"/>
                      </a:lnTo>
                      <a:lnTo>
                        <a:pt x="82014" y="92396"/>
                      </a:lnTo>
                      <a:lnTo>
                        <a:pt x="82536" y="93598"/>
                      </a:lnTo>
                      <a:lnTo>
                        <a:pt x="82414" y="94630"/>
                      </a:lnTo>
                      <a:lnTo>
                        <a:pt x="81443" y="95589"/>
                      </a:lnTo>
                      <a:lnTo>
                        <a:pt x="79646" y="96646"/>
                      </a:lnTo>
                      <a:lnTo>
                        <a:pt x="73683" y="97678"/>
                      </a:lnTo>
                      <a:lnTo>
                        <a:pt x="65985" y="94946"/>
                      </a:lnTo>
                      <a:lnTo>
                        <a:pt x="63119" y="93027"/>
                      </a:lnTo>
                      <a:lnTo>
                        <a:pt x="58699" y="90647"/>
                      </a:lnTo>
                      <a:lnTo>
                        <a:pt x="56295" y="88923"/>
                      </a:lnTo>
                      <a:lnTo>
                        <a:pt x="54898" y="87429"/>
                      </a:lnTo>
                      <a:lnTo>
                        <a:pt x="54158" y="86045"/>
                      </a:lnTo>
                      <a:lnTo>
                        <a:pt x="52263" y="80338"/>
                      </a:lnTo>
                      <a:lnTo>
                        <a:pt x="51632" y="79075"/>
                      </a:lnTo>
                      <a:lnTo>
                        <a:pt x="50721" y="78152"/>
                      </a:lnTo>
                      <a:lnTo>
                        <a:pt x="38032" y="71947"/>
                      </a:lnTo>
                      <a:lnTo>
                        <a:pt x="36939" y="71838"/>
                      </a:lnTo>
                      <a:lnTo>
                        <a:pt x="35725" y="72153"/>
                      </a:lnTo>
                      <a:lnTo>
                        <a:pt x="34632" y="73878"/>
                      </a:lnTo>
                      <a:lnTo>
                        <a:pt x="34571" y="76294"/>
                      </a:lnTo>
                      <a:lnTo>
                        <a:pt x="33199" y="76914"/>
                      </a:lnTo>
                      <a:lnTo>
                        <a:pt x="30394" y="77436"/>
                      </a:lnTo>
                      <a:lnTo>
                        <a:pt x="19999" y="78237"/>
                      </a:lnTo>
                      <a:lnTo>
                        <a:pt x="13503" y="79998"/>
                      </a:lnTo>
                      <a:lnTo>
                        <a:pt x="13042" y="78152"/>
                      </a:lnTo>
                      <a:lnTo>
                        <a:pt x="12932" y="77181"/>
                      </a:lnTo>
                      <a:lnTo>
                        <a:pt x="12532" y="76063"/>
                      </a:lnTo>
                      <a:lnTo>
                        <a:pt x="11779" y="74825"/>
                      </a:lnTo>
                      <a:lnTo>
                        <a:pt x="10759" y="73647"/>
                      </a:lnTo>
                      <a:lnTo>
                        <a:pt x="7942" y="71182"/>
                      </a:lnTo>
                      <a:lnTo>
                        <a:pt x="6448" y="69482"/>
                      </a:lnTo>
                      <a:lnTo>
                        <a:pt x="6217" y="67903"/>
                      </a:lnTo>
                      <a:lnTo>
                        <a:pt x="6788" y="66215"/>
                      </a:lnTo>
                      <a:lnTo>
                        <a:pt x="10759" y="62475"/>
                      </a:lnTo>
                      <a:lnTo>
                        <a:pt x="12532" y="58942"/>
                      </a:lnTo>
                      <a:lnTo>
                        <a:pt x="13442" y="57886"/>
                      </a:lnTo>
                      <a:lnTo>
                        <a:pt x="15519" y="57048"/>
                      </a:lnTo>
                      <a:lnTo>
                        <a:pt x="18894" y="56538"/>
                      </a:lnTo>
                      <a:lnTo>
                        <a:pt x="20570" y="56100"/>
                      </a:lnTo>
                      <a:lnTo>
                        <a:pt x="21663" y="55020"/>
                      </a:lnTo>
                      <a:lnTo>
                        <a:pt x="22125" y="50879"/>
                      </a:lnTo>
                      <a:lnTo>
                        <a:pt x="22817" y="49179"/>
                      </a:lnTo>
                      <a:lnTo>
                        <a:pt x="26083" y="46338"/>
                      </a:lnTo>
                      <a:lnTo>
                        <a:pt x="27516" y="44006"/>
                      </a:lnTo>
                      <a:lnTo>
                        <a:pt x="26994" y="41662"/>
                      </a:lnTo>
                      <a:lnTo>
                        <a:pt x="25792" y="39392"/>
                      </a:lnTo>
                      <a:lnTo>
                        <a:pt x="25500" y="38129"/>
                      </a:lnTo>
                      <a:lnTo>
                        <a:pt x="25731" y="35032"/>
                      </a:lnTo>
                      <a:lnTo>
                        <a:pt x="25051" y="24517"/>
                      </a:lnTo>
                      <a:lnTo>
                        <a:pt x="25221" y="21942"/>
                      </a:lnTo>
                      <a:lnTo>
                        <a:pt x="25500" y="19878"/>
                      </a:lnTo>
                      <a:lnTo>
                        <a:pt x="26836" y="17522"/>
                      </a:lnTo>
                      <a:lnTo>
                        <a:pt x="28839" y="15616"/>
                      </a:lnTo>
                      <a:lnTo>
                        <a:pt x="33381" y="13272"/>
                      </a:lnTo>
                      <a:lnTo>
                        <a:pt x="38093" y="11779"/>
                      </a:lnTo>
                      <a:lnTo>
                        <a:pt x="44164" y="12010"/>
                      </a:lnTo>
                      <a:lnTo>
                        <a:pt x="47625" y="9277"/>
                      </a:lnTo>
                      <a:lnTo>
                        <a:pt x="48596" y="7808"/>
                      </a:lnTo>
                      <a:lnTo>
                        <a:pt x="50150" y="6120"/>
                      </a:lnTo>
                      <a:lnTo>
                        <a:pt x="51863" y="6144"/>
                      </a:lnTo>
                      <a:lnTo>
                        <a:pt x="60423" y="8452"/>
                      </a:lnTo>
                      <a:lnTo>
                        <a:pt x="62888" y="9472"/>
                      </a:lnTo>
                      <a:lnTo>
                        <a:pt x="65366" y="10224"/>
                      </a:lnTo>
                      <a:lnTo>
                        <a:pt x="66507" y="10285"/>
                      </a:lnTo>
                      <a:lnTo>
                        <a:pt x="75056" y="7213"/>
                      </a:lnTo>
                      <a:lnTo>
                        <a:pt x="76221" y="5124"/>
                      </a:lnTo>
                      <a:moveTo>
                        <a:pt x="47527" y="0"/>
                      </a:moveTo>
                      <a:lnTo>
                        <a:pt x="45694" y="2004"/>
                      </a:lnTo>
                      <a:lnTo>
                        <a:pt x="44140" y="3691"/>
                      </a:lnTo>
                      <a:lnTo>
                        <a:pt x="43812" y="4044"/>
                      </a:lnTo>
                      <a:lnTo>
                        <a:pt x="43545" y="4444"/>
                      </a:lnTo>
                      <a:lnTo>
                        <a:pt x="43107" y="5100"/>
                      </a:lnTo>
                      <a:lnTo>
                        <a:pt x="42160" y="5841"/>
                      </a:lnTo>
                      <a:lnTo>
                        <a:pt x="38323" y="5695"/>
                      </a:lnTo>
                      <a:lnTo>
                        <a:pt x="37267" y="5659"/>
                      </a:lnTo>
                      <a:lnTo>
                        <a:pt x="36259" y="5974"/>
                      </a:lnTo>
                      <a:lnTo>
                        <a:pt x="31547" y="7468"/>
                      </a:lnTo>
                      <a:lnTo>
                        <a:pt x="31062" y="7626"/>
                      </a:lnTo>
                      <a:lnTo>
                        <a:pt x="30600" y="7869"/>
                      </a:lnTo>
                      <a:lnTo>
                        <a:pt x="26059" y="10212"/>
                      </a:lnTo>
                      <a:lnTo>
                        <a:pt x="25294" y="10613"/>
                      </a:lnTo>
                      <a:lnTo>
                        <a:pt x="24662" y="11208"/>
                      </a:lnTo>
                      <a:lnTo>
                        <a:pt x="22659" y="13114"/>
                      </a:lnTo>
                      <a:lnTo>
                        <a:pt x="22003" y="13734"/>
                      </a:lnTo>
                      <a:lnTo>
                        <a:pt x="21554" y="14523"/>
                      </a:lnTo>
                      <a:lnTo>
                        <a:pt x="20218" y="16879"/>
                      </a:lnTo>
                      <a:lnTo>
                        <a:pt x="19647" y="17899"/>
                      </a:lnTo>
                      <a:lnTo>
                        <a:pt x="19490" y="19052"/>
                      </a:lnTo>
                      <a:lnTo>
                        <a:pt x="19210" y="21117"/>
                      </a:lnTo>
                      <a:lnTo>
                        <a:pt x="18992" y="24104"/>
                      </a:lnTo>
                      <a:lnTo>
                        <a:pt x="18967" y="24505"/>
                      </a:lnTo>
                      <a:lnTo>
                        <a:pt x="18992" y="24905"/>
                      </a:lnTo>
                      <a:lnTo>
                        <a:pt x="19647" y="35008"/>
                      </a:lnTo>
                      <a:lnTo>
                        <a:pt x="19441" y="37680"/>
                      </a:lnTo>
                      <a:lnTo>
                        <a:pt x="19368" y="38590"/>
                      </a:lnTo>
                      <a:lnTo>
                        <a:pt x="19574" y="39489"/>
                      </a:lnTo>
                      <a:lnTo>
                        <a:pt x="19866" y="40752"/>
                      </a:lnTo>
                      <a:lnTo>
                        <a:pt x="20048" y="41529"/>
                      </a:lnTo>
                      <a:lnTo>
                        <a:pt x="20425" y="42233"/>
                      </a:lnTo>
                      <a:lnTo>
                        <a:pt x="20777" y="42901"/>
                      </a:lnTo>
                      <a:lnTo>
                        <a:pt x="18822" y="44601"/>
                      </a:lnTo>
                      <a:lnTo>
                        <a:pt x="17741" y="45548"/>
                      </a:lnTo>
                      <a:lnTo>
                        <a:pt x="17194" y="46884"/>
                      </a:lnTo>
                      <a:lnTo>
                        <a:pt x="16502" y="48584"/>
                      </a:lnTo>
                      <a:lnTo>
                        <a:pt x="16187" y="49373"/>
                      </a:lnTo>
                      <a:lnTo>
                        <a:pt x="16090" y="50223"/>
                      </a:lnTo>
                      <a:lnTo>
                        <a:pt x="16029" y="50843"/>
                      </a:lnTo>
                      <a:lnTo>
                        <a:pt x="14620" y="51049"/>
                      </a:lnTo>
                      <a:lnTo>
                        <a:pt x="13916" y="51158"/>
                      </a:lnTo>
                      <a:lnTo>
                        <a:pt x="13248" y="51425"/>
                      </a:lnTo>
                      <a:lnTo>
                        <a:pt x="11172" y="52263"/>
                      </a:lnTo>
                      <a:lnTo>
                        <a:pt x="9812" y="52810"/>
                      </a:lnTo>
                      <a:lnTo>
                        <a:pt x="8852" y="53915"/>
                      </a:lnTo>
                      <a:lnTo>
                        <a:pt x="7942" y="54971"/>
                      </a:lnTo>
                      <a:lnTo>
                        <a:pt x="7444" y="55542"/>
                      </a:lnTo>
                      <a:lnTo>
                        <a:pt x="7104" y="56222"/>
                      </a:lnTo>
                      <a:lnTo>
                        <a:pt x="5817" y="58796"/>
                      </a:lnTo>
                      <a:lnTo>
                        <a:pt x="2623" y="61808"/>
                      </a:lnTo>
                      <a:lnTo>
                        <a:pt x="1530" y="62840"/>
                      </a:lnTo>
                      <a:lnTo>
                        <a:pt x="1044" y="64273"/>
                      </a:lnTo>
                      <a:lnTo>
                        <a:pt x="474" y="65961"/>
                      </a:lnTo>
                      <a:lnTo>
                        <a:pt x="0" y="67345"/>
                      </a:lnTo>
                      <a:lnTo>
                        <a:pt x="219" y="68802"/>
                      </a:lnTo>
                      <a:lnTo>
                        <a:pt x="449" y="70381"/>
                      </a:lnTo>
                      <a:lnTo>
                        <a:pt x="704" y="72153"/>
                      </a:lnTo>
                      <a:lnTo>
                        <a:pt x="1894" y="73501"/>
                      </a:lnTo>
                      <a:lnTo>
                        <a:pt x="3388" y="75201"/>
                      </a:lnTo>
                      <a:lnTo>
                        <a:pt x="3643" y="75505"/>
                      </a:lnTo>
                      <a:lnTo>
                        <a:pt x="3947" y="75760"/>
                      </a:lnTo>
                      <a:lnTo>
                        <a:pt x="6448" y="77946"/>
                      </a:lnTo>
                      <a:lnTo>
                        <a:pt x="6861" y="78419"/>
                      </a:lnTo>
                      <a:lnTo>
                        <a:pt x="6994" y="78638"/>
                      </a:lnTo>
                      <a:lnTo>
                        <a:pt x="7007" y="78820"/>
                      </a:lnTo>
                      <a:lnTo>
                        <a:pt x="7055" y="79233"/>
                      </a:lnTo>
                      <a:lnTo>
                        <a:pt x="7152" y="79634"/>
                      </a:lnTo>
                      <a:lnTo>
                        <a:pt x="7614" y="81479"/>
                      </a:lnTo>
                      <a:lnTo>
                        <a:pt x="9119" y="87478"/>
                      </a:lnTo>
                      <a:lnTo>
                        <a:pt x="15094" y="85863"/>
                      </a:lnTo>
                      <a:lnTo>
                        <a:pt x="21044" y="84260"/>
                      </a:lnTo>
                      <a:lnTo>
                        <a:pt x="30867" y="83507"/>
                      </a:lnTo>
                      <a:lnTo>
                        <a:pt x="31183" y="83483"/>
                      </a:lnTo>
                      <a:lnTo>
                        <a:pt x="31499" y="83422"/>
                      </a:lnTo>
                      <a:lnTo>
                        <a:pt x="34304" y="82900"/>
                      </a:lnTo>
                      <a:lnTo>
                        <a:pt x="35020" y="82766"/>
                      </a:lnTo>
                      <a:lnTo>
                        <a:pt x="35688" y="82475"/>
                      </a:lnTo>
                      <a:lnTo>
                        <a:pt x="37060" y="81856"/>
                      </a:lnTo>
                      <a:lnTo>
                        <a:pt x="40558" y="80289"/>
                      </a:lnTo>
                      <a:lnTo>
                        <a:pt x="40558" y="79961"/>
                      </a:lnTo>
                      <a:lnTo>
                        <a:pt x="46738" y="82985"/>
                      </a:lnTo>
                      <a:lnTo>
                        <a:pt x="48402" y="87988"/>
                      </a:lnTo>
                      <a:lnTo>
                        <a:pt x="48572" y="88486"/>
                      </a:lnTo>
                      <a:lnTo>
                        <a:pt x="48815" y="88935"/>
                      </a:lnTo>
                      <a:lnTo>
                        <a:pt x="49555" y="90319"/>
                      </a:lnTo>
                      <a:lnTo>
                        <a:pt x="49932" y="91023"/>
                      </a:lnTo>
                      <a:lnTo>
                        <a:pt x="50466" y="91594"/>
                      </a:lnTo>
                      <a:lnTo>
                        <a:pt x="51863" y="93088"/>
                      </a:lnTo>
                      <a:lnTo>
                        <a:pt x="52275" y="93537"/>
                      </a:lnTo>
                      <a:lnTo>
                        <a:pt x="52761" y="93889"/>
                      </a:lnTo>
                      <a:lnTo>
                        <a:pt x="55165" y="95614"/>
                      </a:lnTo>
                      <a:lnTo>
                        <a:pt x="55481" y="95844"/>
                      </a:lnTo>
                      <a:lnTo>
                        <a:pt x="55821" y="96026"/>
                      </a:lnTo>
                      <a:lnTo>
                        <a:pt x="60241" y="98406"/>
                      </a:lnTo>
                      <a:lnTo>
                        <a:pt x="62621" y="100022"/>
                      </a:lnTo>
                      <a:lnTo>
                        <a:pt x="63241" y="100434"/>
                      </a:lnTo>
                      <a:lnTo>
                        <a:pt x="63957" y="100689"/>
                      </a:lnTo>
                      <a:lnTo>
                        <a:pt x="71655" y="103422"/>
                      </a:lnTo>
                      <a:lnTo>
                        <a:pt x="73161" y="103956"/>
                      </a:lnTo>
                      <a:lnTo>
                        <a:pt x="74728" y="103689"/>
                      </a:lnTo>
                      <a:lnTo>
                        <a:pt x="80690" y="102657"/>
                      </a:lnTo>
                      <a:lnTo>
                        <a:pt x="81771" y="102462"/>
                      </a:lnTo>
                      <a:lnTo>
                        <a:pt x="82730" y="101904"/>
                      </a:lnTo>
                      <a:lnTo>
                        <a:pt x="84527" y="100847"/>
                      </a:lnTo>
                      <a:lnTo>
                        <a:pt x="85183" y="100459"/>
                      </a:lnTo>
                      <a:lnTo>
                        <a:pt x="85717" y="99924"/>
                      </a:lnTo>
                      <a:lnTo>
                        <a:pt x="86689" y="98965"/>
                      </a:lnTo>
                      <a:lnTo>
                        <a:pt x="88206" y="97459"/>
                      </a:lnTo>
                      <a:lnTo>
                        <a:pt x="88449" y="95334"/>
                      </a:lnTo>
                      <a:lnTo>
                        <a:pt x="88571" y="94302"/>
                      </a:lnTo>
                      <a:lnTo>
                        <a:pt x="88765" y="92687"/>
                      </a:lnTo>
                      <a:lnTo>
                        <a:pt x="88121" y="91194"/>
                      </a:lnTo>
                      <a:lnTo>
                        <a:pt x="87599" y="89991"/>
                      </a:lnTo>
                      <a:lnTo>
                        <a:pt x="87344" y="89396"/>
                      </a:lnTo>
                      <a:lnTo>
                        <a:pt x="87053" y="88983"/>
                      </a:lnTo>
                      <a:lnTo>
                        <a:pt x="88364" y="88255"/>
                      </a:lnTo>
                      <a:lnTo>
                        <a:pt x="89663" y="87745"/>
                      </a:lnTo>
                      <a:lnTo>
                        <a:pt x="99912" y="85936"/>
                      </a:lnTo>
                      <a:lnTo>
                        <a:pt x="99378" y="82912"/>
                      </a:lnTo>
                      <a:lnTo>
                        <a:pt x="105510" y="79257"/>
                      </a:lnTo>
                      <a:lnTo>
                        <a:pt x="104077" y="76853"/>
                      </a:lnTo>
                      <a:lnTo>
                        <a:pt x="99924" y="68790"/>
                      </a:lnTo>
                      <a:lnTo>
                        <a:pt x="100021" y="68681"/>
                      </a:lnTo>
                      <a:lnTo>
                        <a:pt x="102559" y="66471"/>
                      </a:lnTo>
                      <a:lnTo>
                        <a:pt x="103944" y="65050"/>
                      </a:lnTo>
                      <a:lnTo>
                        <a:pt x="104223" y="64758"/>
                      </a:lnTo>
                      <a:lnTo>
                        <a:pt x="104466" y="64430"/>
                      </a:lnTo>
                      <a:lnTo>
                        <a:pt x="105340" y="63216"/>
                      </a:lnTo>
                      <a:lnTo>
                        <a:pt x="106020" y="62269"/>
                      </a:lnTo>
                      <a:lnTo>
                        <a:pt x="106299" y="61140"/>
                      </a:lnTo>
                      <a:lnTo>
                        <a:pt x="106639" y="59792"/>
                      </a:lnTo>
                      <a:lnTo>
                        <a:pt x="106882" y="58845"/>
                      </a:lnTo>
                      <a:lnTo>
                        <a:pt x="106809" y="57861"/>
                      </a:lnTo>
                      <a:lnTo>
                        <a:pt x="106688" y="56283"/>
                      </a:lnTo>
                      <a:lnTo>
                        <a:pt x="106651" y="55736"/>
                      </a:lnTo>
                      <a:lnTo>
                        <a:pt x="106506" y="55202"/>
                      </a:lnTo>
                      <a:lnTo>
                        <a:pt x="105935" y="53040"/>
                      </a:lnTo>
                      <a:lnTo>
                        <a:pt x="105862" y="52737"/>
                      </a:lnTo>
                      <a:lnTo>
                        <a:pt x="105753" y="52433"/>
                      </a:lnTo>
                      <a:lnTo>
                        <a:pt x="103130" y="45500"/>
                      </a:lnTo>
                      <a:lnTo>
                        <a:pt x="103057" y="45135"/>
                      </a:lnTo>
                      <a:lnTo>
                        <a:pt x="102972" y="43715"/>
                      </a:lnTo>
                      <a:lnTo>
                        <a:pt x="102924" y="42938"/>
                      </a:lnTo>
                      <a:lnTo>
                        <a:pt x="102681" y="42185"/>
                      </a:lnTo>
                      <a:lnTo>
                        <a:pt x="101928" y="39890"/>
                      </a:lnTo>
                      <a:lnTo>
                        <a:pt x="100617" y="36720"/>
                      </a:lnTo>
                      <a:lnTo>
                        <a:pt x="100058" y="35409"/>
                      </a:lnTo>
                      <a:lnTo>
                        <a:pt x="98977" y="34474"/>
                      </a:lnTo>
                      <a:lnTo>
                        <a:pt x="85341" y="22792"/>
                      </a:lnTo>
                      <a:lnTo>
                        <a:pt x="84539" y="20109"/>
                      </a:lnTo>
                      <a:lnTo>
                        <a:pt x="84223" y="19077"/>
                      </a:lnTo>
                      <a:lnTo>
                        <a:pt x="83568" y="18214"/>
                      </a:lnTo>
                      <a:lnTo>
                        <a:pt x="83131" y="17644"/>
                      </a:lnTo>
                      <a:lnTo>
                        <a:pt x="83641" y="16490"/>
                      </a:lnTo>
                      <a:lnTo>
                        <a:pt x="84721" y="14037"/>
                      </a:lnTo>
                      <a:lnTo>
                        <a:pt x="83641" y="11584"/>
                      </a:lnTo>
                      <a:lnTo>
                        <a:pt x="80654" y="4809"/>
                      </a:lnTo>
                      <a:lnTo>
                        <a:pt x="77849" y="6047"/>
                      </a:lnTo>
                      <a:lnTo>
                        <a:pt x="73866" y="3849"/>
                      </a:lnTo>
                      <a:lnTo>
                        <a:pt x="73040" y="1542"/>
                      </a:lnTo>
                      <a:lnTo>
                        <a:pt x="71012" y="2271"/>
                      </a:lnTo>
                      <a:lnTo>
                        <a:pt x="70939" y="2234"/>
                      </a:lnTo>
                      <a:lnTo>
                        <a:pt x="70891" y="2319"/>
                      </a:lnTo>
                      <a:lnTo>
                        <a:pt x="65948" y="4092"/>
                      </a:lnTo>
                      <a:lnTo>
                        <a:pt x="64686" y="3704"/>
                      </a:lnTo>
                      <a:lnTo>
                        <a:pt x="62779" y="2890"/>
                      </a:lnTo>
                      <a:lnTo>
                        <a:pt x="62415" y="2744"/>
                      </a:lnTo>
                      <a:lnTo>
                        <a:pt x="62038" y="2635"/>
                      </a:lnTo>
                      <a:lnTo>
                        <a:pt x="53478" y="328"/>
                      </a:lnTo>
                      <a:lnTo>
                        <a:pt x="52737" y="134"/>
                      </a:lnTo>
                      <a:lnTo>
                        <a:pt x="51972" y="122"/>
                      </a:lnTo>
                      <a:lnTo>
                        <a:pt x="50260" y="97"/>
                      </a:lnTo>
                      <a:lnTo>
                        <a:pt x="47527" y="0"/>
                      </a:lnTo>
                      <a:lnTo>
                        <a:pt x="47527" y="0"/>
                      </a:lnTo>
                      <a:close/>
                    </a:path>
                  </a:pathLst>
                </a:custGeom>
                <a:solidFill>
                  <a:srgbClr val="FFFFFF"/>
                </a:solidFill>
                <a:ln w="12138" cap="flat">
                  <a:noFill/>
                  <a:prstDash val="solid"/>
                  <a:miter/>
                </a:ln>
              </p:spPr>
              <p:txBody>
                <a:bodyPr rtlCol="0" anchor="ctr"/>
                <a:lstStyle/>
                <a:p>
                  <a:endParaRPr lang="en-US"/>
                </a:p>
              </p:txBody>
            </p:sp>
          </p:grpSp>
          <p:grpSp>
            <p:nvGrpSpPr>
              <p:cNvPr id="247" name="Graphic 280">
                <a:extLst>
                  <a:ext uri="{FF2B5EF4-FFF2-40B4-BE49-F238E27FC236}">
                    <a16:creationId xmlns:a16="http://schemas.microsoft.com/office/drawing/2014/main" id="{AF0228B8-1F96-4E8B-B60D-4C8D164C419C}"/>
                  </a:ext>
                </a:extLst>
              </p:cNvPr>
              <p:cNvGrpSpPr/>
              <p:nvPr/>
            </p:nvGrpSpPr>
            <p:grpSpPr>
              <a:xfrm>
                <a:off x="7903597" y="5359037"/>
                <a:ext cx="291539" cy="1314521"/>
                <a:chOff x="7903597" y="5359037"/>
                <a:chExt cx="291539" cy="1314521"/>
              </a:xfrm>
              <a:solidFill>
                <a:srgbClr val="D7D7D2"/>
              </a:solidFill>
            </p:grpSpPr>
            <p:sp>
              <p:nvSpPr>
                <p:cNvPr id="344" name="Freeform: Shape 343">
                  <a:extLst>
                    <a:ext uri="{FF2B5EF4-FFF2-40B4-BE49-F238E27FC236}">
                      <a16:creationId xmlns:a16="http://schemas.microsoft.com/office/drawing/2014/main" id="{DEDBB87C-23C3-4F01-B293-02615066BDCC}"/>
                    </a:ext>
                  </a:extLst>
                </p:cNvPr>
                <p:cNvSpPr/>
                <p:nvPr/>
              </p:nvSpPr>
              <p:spPr>
                <a:xfrm>
                  <a:off x="8142473" y="6580021"/>
                  <a:ext cx="52663" cy="93537"/>
                </a:xfrm>
                <a:custGeom>
                  <a:avLst/>
                  <a:gdLst>
                    <a:gd name="connsiteX0" fmla="*/ 38639 w 52663"/>
                    <a:gd name="connsiteY0" fmla="*/ 5222 h 93537"/>
                    <a:gd name="connsiteX1" fmla="*/ 40484 w 52663"/>
                    <a:gd name="connsiteY1" fmla="*/ 7772 h 93537"/>
                    <a:gd name="connsiteX2" fmla="*/ 41468 w 52663"/>
                    <a:gd name="connsiteY2" fmla="*/ 11572 h 93537"/>
                    <a:gd name="connsiteX3" fmla="*/ 42658 w 52663"/>
                    <a:gd name="connsiteY3" fmla="*/ 14742 h 93537"/>
                    <a:gd name="connsiteX4" fmla="*/ 43411 w 52663"/>
                    <a:gd name="connsiteY4" fmla="*/ 18397 h 93537"/>
                    <a:gd name="connsiteX5" fmla="*/ 43872 w 52663"/>
                    <a:gd name="connsiteY5" fmla="*/ 25852 h 93537"/>
                    <a:gd name="connsiteX6" fmla="*/ 44625 w 52663"/>
                    <a:gd name="connsiteY6" fmla="*/ 28767 h 93537"/>
                    <a:gd name="connsiteX7" fmla="*/ 47612 w 52663"/>
                    <a:gd name="connsiteY7" fmla="*/ 34098 h 93537"/>
                    <a:gd name="connsiteX8" fmla="*/ 49434 w 52663"/>
                    <a:gd name="connsiteY8" fmla="*/ 38955 h 93537"/>
                    <a:gd name="connsiteX9" fmla="*/ 50794 w 52663"/>
                    <a:gd name="connsiteY9" fmla="*/ 41007 h 93537"/>
                    <a:gd name="connsiteX10" fmla="*/ 52409 w 52663"/>
                    <a:gd name="connsiteY10" fmla="*/ 43253 h 93537"/>
                    <a:gd name="connsiteX11" fmla="*/ 52664 w 52663"/>
                    <a:gd name="connsiteY11" fmla="*/ 53308 h 93537"/>
                    <a:gd name="connsiteX12" fmla="*/ 50988 w 52663"/>
                    <a:gd name="connsiteY12" fmla="*/ 58043 h 93537"/>
                    <a:gd name="connsiteX13" fmla="*/ 45803 w 52663"/>
                    <a:gd name="connsiteY13" fmla="*/ 68814 h 93537"/>
                    <a:gd name="connsiteX14" fmla="*/ 45074 w 52663"/>
                    <a:gd name="connsiteY14" fmla="*/ 75396 h 93537"/>
                    <a:gd name="connsiteX15" fmla="*/ 45694 w 52663"/>
                    <a:gd name="connsiteY15" fmla="*/ 76853 h 93537"/>
                    <a:gd name="connsiteX16" fmla="*/ 46908 w 52663"/>
                    <a:gd name="connsiteY16" fmla="*/ 78176 h 93537"/>
                    <a:gd name="connsiteX17" fmla="*/ 47819 w 52663"/>
                    <a:gd name="connsiteY17" fmla="*/ 79634 h 93537"/>
                    <a:gd name="connsiteX18" fmla="*/ 47612 w 52663"/>
                    <a:gd name="connsiteY18" fmla="*/ 81710 h 93537"/>
                    <a:gd name="connsiteX19" fmla="*/ 46738 w 52663"/>
                    <a:gd name="connsiteY19" fmla="*/ 82487 h 93537"/>
                    <a:gd name="connsiteX20" fmla="*/ 45135 w 52663"/>
                    <a:gd name="connsiteY20" fmla="*/ 83082 h 93537"/>
                    <a:gd name="connsiteX21" fmla="*/ 43277 w 52663"/>
                    <a:gd name="connsiteY21" fmla="*/ 83191 h 93537"/>
                    <a:gd name="connsiteX22" fmla="*/ 41723 w 52663"/>
                    <a:gd name="connsiteY22" fmla="*/ 82427 h 93537"/>
                    <a:gd name="connsiteX23" fmla="*/ 39452 w 52663"/>
                    <a:gd name="connsiteY23" fmla="*/ 82487 h 93537"/>
                    <a:gd name="connsiteX24" fmla="*/ 37254 w 52663"/>
                    <a:gd name="connsiteY24" fmla="*/ 86033 h 93537"/>
                    <a:gd name="connsiteX25" fmla="*/ 34668 w 52663"/>
                    <a:gd name="connsiteY25" fmla="*/ 93537 h 93537"/>
                    <a:gd name="connsiteX26" fmla="*/ 30649 w 52663"/>
                    <a:gd name="connsiteY26" fmla="*/ 91958 h 93537"/>
                    <a:gd name="connsiteX27" fmla="*/ 30029 w 52663"/>
                    <a:gd name="connsiteY27" fmla="*/ 89105 h 93537"/>
                    <a:gd name="connsiteX28" fmla="*/ 30782 w 52663"/>
                    <a:gd name="connsiteY28" fmla="*/ 85535 h 93537"/>
                    <a:gd name="connsiteX29" fmla="*/ 30831 w 52663"/>
                    <a:gd name="connsiteY29" fmla="*/ 81710 h 93537"/>
                    <a:gd name="connsiteX30" fmla="*/ 29289 w 52663"/>
                    <a:gd name="connsiteY30" fmla="*/ 80119 h 93537"/>
                    <a:gd name="connsiteX31" fmla="*/ 26811 w 52663"/>
                    <a:gd name="connsiteY31" fmla="*/ 78407 h 93537"/>
                    <a:gd name="connsiteX32" fmla="*/ 25379 w 52663"/>
                    <a:gd name="connsiteY32" fmla="*/ 76428 h 93537"/>
                    <a:gd name="connsiteX33" fmla="*/ 26981 w 52663"/>
                    <a:gd name="connsiteY33" fmla="*/ 74011 h 93537"/>
                    <a:gd name="connsiteX34" fmla="*/ 25209 w 52663"/>
                    <a:gd name="connsiteY34" fmla="*/ 72348 h 93537"/>
                    <a:gd name="connsiteX35" fmla="*/ 23715 w 52663"/>
                    <a:gd name="connsiteY35" fmla="*/ 70575 h 93537"/>
                    <a:gd name="connsiteX36" fmla="*/ 23253 w 52663"/>
                    <a:gd name="connsiteY36" fmla="*/ 68583 h 93537"/>
                    <a:gd name="connsiteX37" fmla="*/ 24456 w 52663"/>
                    <a:gd name="connsiteY37" fmla="*/ 66288 h 93537"/>
                    <a:gd name="connsiteX38" fmla="*/ 22804 w 52663"/>
                    <a:gd name="connsiteY38" fmla="*/ 65596 h 93537"/>
                    <a:gd name="connsiteX39" fmla="*/ 21930 w 52663"/>
                    <a:gd name="connsiteY39" fmla="*/ 64224 h 93537"/>
                    <a:gd name="connsiteX40" fmla="*/ 21651 w 52663"/>
                    <a:gd name="connsiteY40" fmla="*/ 62257 h 93537"/>
                    <a:gd name="connsiteX41" fmla="*/ 21772 w 52663"/>
                    <a:gd name="connsiteY41" fmla="*/ 59853 h 93537"/>
                    <a:gd name="connsiteX42" fmla="*/ 18542 w 52663"/>
                    <a:gd name="connsiteY42" fmla="*/ 59998 h 93537"/>
                    <a:gd name="connsiteX43" fmla="*/ 16526 w 52663"/>
                    <a:gd name="connsiteY43" fmla="*/ 56258 h 93537"/>
                    <a:gd name="connsiteX44" fmla="*/ 14911 w 52663"/>
                    <a:gd name="connsiteY44" fmla="*/ 51134 h 93537"/>
                    <a:gd name="connsiteX45" fmla="*/ 12798 w 52663"/>
                    <a:gd name="connsiteY45" fmla="*/ 46969 h 93537"/>
                    <a:gd name="connsiteX46" fmla="*/ 10224 w 52663"/>
                    <a:gd name="connsiteY46" fmla="*/ 44419 h 93537"/>
                    <a:gd name="connsiteX47" fmla="*/ 6605 w 52663"/>
                    <a:gd name="connsiteY47" fmla="*/ 41651 h 93537"/>
                    <a:gd name="connsiteX48" fmla="*/ 2866 w 52663"/>
                    <a:gd name="connsiteY48" fmla="*/ 40582 h 93537"/>
                    <a:gd name="connsiteX49" fmla="*/ 0 w 52663"/>
                    <a:gd name="connsiteY49" fmla="*/ 43120 h 93537"/>
                    <a:gd name="connsiteX50" fmla="*/ 60 w 52663"/>
                    <a:gd name="connsiteY50" fmla="*/ 23047 h 93537"/>
                    <a:gd name="connsiteX51" fmla="*/ 789 w 52663"/>
                    <a:gd name="connsiteY51" fmla="*/ 20801 h 93537"/>
                    <a:gd name="connsiteX52" fmla="*/ 5112 w 52663"/>
                    <a:gd name="connsiteY52" fmla="*/ 11305 h 93537"/>
                    <a:gd name="connsiteX53" fmla="*/ 6763 w 52663"/>
                    <a:gd name="connsiteY53" fmla="*/ 10820 h 93537"/>
                    <a:gd name="connsiteX54" fmla="*/ 10953 w 52663"/>
                    <a:gd name="connsiteY54" fmla="*/ 10820 h 93537"/>
                    <a:gd name="connsiteX55" fmla="*/ 12750 w 52663"/>
                    <a:gd name="connsiteY55" fmla="*/ 10212 h 93537"/>
                    <a:gd name="connsiteX56" fmla="*/ 14122 w 52663"/>
                    <a:gd name="connsiteY56" fmla="*/ 8840 h 93537"/>
                    <a:gd name="connsiteX57" fmla="*/ 15166 w 52663"/>
                    <a:gd name="connsiteY57" fmla="*/ 7468 h 93537"/>
                    <a:gd name="connsiteX58" fmla="*/ 16004 w 52663"/>
                    <a:gd name="connsiteY58" fmla="*/ 6861 h 93537"/>
                    <a:gd name="connsiteX59" fmla="*/ 16976 w 52663"/>
                    <a:gd name="connsiteY59" fmla="*/ 6545 h 93537"/>
                    <a:gd name="connsiteX60" fmla="*/ 21772 w 52663"/>
                    <a:gd name="connsiteY60" fmla="*/ 4286 h 93537"/>
                    <a:gd name="connsiteX61" fmla="*/ 23072 w 52663"/>
                    <a:gd name="connsiteY61" fmla="*/ 5671 h 93537"/>
                    <a:gd name="connsiteX62" fmla="*/ 27856 w 52663"/>
                    <a:gd name="connsiteY62" fmla="*/ 1372 h 93537"/>
                    <a:gd name="connsiteX63" fmla="*/ 30891 w 52663"/>
                    <a:gd name="connsiteY63" fmla="*/ 0 h 93537"/>
                    <a:gd name="connsiteX64" fmla="*/ 34049 w 52663"/>
                    <a:gd name="connsiteY64" fmla="*/ 1105 h 93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52663" h="93537">
                      <a:moveTo>
                        <a:pt x="38639" y="5222"/>
                      </a:moveTo>
                      <a:lnTo>
                        <a:pt x="40484" y="7772"/>
                      </a:lnTo>
                      <a:lnTo>
                        <a:pt x="41468" y="11572"/>
                      </a:lnTo>
                      <a:lnTo>
                        <a:pt x="42658" y="14742"/>
                      </a:lnTo>
                      <a:lnTo>
                        <a:pt x="43411" y="18397"/>
                      </a:lnTo>
                      <a:lnTo>
                        <a:pt x="43872" y="25852"/>
                      </a:lnTo>
                      <a:lnTo>
                        <a:pt x="44625" y="28767"/>
                      </a:lnTo>
                      <a:lnTo>
                        <a:pt x="47612" y="34098"/>
                      </a:lnTo>
                      <a:lnTo>
                        <a:pt x="49434" y="38955"/>
                      </a:lnTo>
                      <a:lnTo>
                        <a:pt x="50794" y="41007"/>
                      </a:lnTo>
                      <a:lnTo>
                        <a:pt x="52409" y="43253"/>
                      </a:lnTo>
                      <a:lnTo>
                        <a:pt x="52664" y="53308"/>
                      </a:lnTo>
                      <a:lnTo>
                        <a:pt x="50988" y="58043"/>
                      </a:lnTo>
                      <a:lnTo>
                        <a:pt x="45803" y="68814"/>
                      </a:lnTo>
                      <a:lnTo>
                        <a:pt x="45074" y="75396"/>
                      </a:lnTo>
                      <a:lnTo>
                        <a:pt x="45694" y="76853"/>
                      </a:lnTo>
                      <a:lnTo>
                        <a:pt x="46908" y="78176"/>
                      </a:lnTo>
                      <a:lnTo>
                        <a:pt x="47819" y="79634"/>
                      </a:lnTo>
                      <a:lnTo>
                        <a:pt x="47612" y="81710"/>
                      </a:lnTo>
                      <a:lnTo>
                        <a:pt x="46738" y="82487"/>
                      </a:lnTo>
                      <a:lnTo>
                        <a:pt x="45135" y="83082"/>
                      </a:lnTo>
                      <a:lnTo>
                        <a:pt x="43277" y="83191"/>
                      </a:lnTo>
                      <a:lnTo>
                        <a:pt x="41723" y="82427"/>
                      </a:lnTo>
                      <a:lnTo>
                        <a:pt x="39452" y="82487"/>
                      </a:lnTo>
                      <a:lnTo>
                        <a:pt x="37254" y="86033"/>
                      </a:lnTo>
                      <a:lnTo>
                        <a:pt x="34668" y="93537"/>
                      </a:lnTo>
                      <a:lnTo>
                        <a:pt x="30649" y="91958"/>
                      </a:lnTo>
                      <a:lnTo>
                        <a:pt x="30029" y="89105"/>
                      </a:lnTo>
                      <a:lnTo>
                        <a:pt x="30782" y="85535"/>
                      </a:lnTo>
                      <a:lnTo>
                        <a:pt x="30831" y="81710"/>
                      </a:lnTo>
                      <a:lnTo>
                        <a:pt x="29289" y="80119"/>
                      </a:lnTo>
                      <a:lnTo>
                        <a:pt x="26811" y="78407"/>
                      </a:lnTo>
                      <a:lnTo>
                        <a:pt x="25379" y="76428"/>
                      </a:lnTo>
                      <a:lnTo>
                        <a:pt x="26981" y="74011"/>
                      </a:lnTo>
                      <a:lnTo>
                        <a:pt x="25209" y="72348"/>
                      </a:lnTo>
                      <a:lnTo>
                        <a:pt x="23715" y="70575"/>
                      </a:lnTo>
                      <a:lnTo>
                        <a:pt x="23253" y="68583"/>
                      </a:lnTo>
                      <a:lnTo>
                        <a:pt x="24456" y="66288"/>
                      </a:lnTo>
                      <a:lnTo>
                        <a:pt x="22804" y="65596"/>
                      </a:lnTo>
                      <a:lnTo>
                        <a:pt x="21930" y="64224"/>
                      </a:lnTo>
                      <a:lnTo>
                        <a:pt x="21651" y="62257"/>
                      </a:lnTo>
                      <a:lnTo>
                        <a:pt x="21772" y="59853"/>
                      </a:lnTo>
                      <a:lnTo>
                        <a:pt x="18542" y="59998"/>
                      </a:lnTo>
                      <a:lnTo>
                        <a:pt x="16526" y="56258"/>
                      </a:lnTo>
                      <a:lnTo>
                        <a:pt x="14911" y="51134"/>
                      </a:lnTo>
                      <a:lnTo>
                        <a:pt x="12798" y="46969"/>
                      </a:lnTo>
                      <a:lnTo>
                        <a:pt x="10224" y="44419"/>
                      </a:lnTo>
                      <a:lnTo>
                        <a:pt x="6605" y="41651"/>
                      </a:lnTo>
                      <a:lnTo>
                        <a:pt x="2866" y="40582"/>
                      </a:lnTo>
                      <a:lnTo>
                        <a:pt x="0" y="43120"/>
                      </a:lnTo>
                      <a:lnTo>
                        <a:pt x="60" y="23047"/>
                      </a:lnTo>
                      <a:lnTo>
                        <a:pt x="789" y="20801"/>
                      </a:lnTo>
                      <a:lnTo>
                        <a:pt x="5112" y="11305"/>
                      </a:lnTo>
                      <a:lnTo>
                        <a:pt x="6763" y="10820"/>
                      </a:lnTo>
                      <a:lnTo>
                        <a:pt x="10953" y="10820"/>
                      </a:lnTo>
                      <a:lnTo>
                        <a:pt x="12750" y="10212"/>
                      </a:lnTo>
                      <a:lnTo>
                        <a:pt x="14122" y="8840"/>
                      </a:lnTo>
                      <a:lnTo>
                        <a:pt x="15166" y="7468"/>
                      </a:lnTo>
                      <a:lnTo>
                        <a:pt x="16004" y="6861"/>
                      </a:lnTo>
                      <a:lnTo>
                        <a:pt x="16976" y="6545"/>
                      </a:lnTo>
                      <a:lnTo>
                        <a:pt x="21772" y="4286"/>
                      </a:lnTo>
                      <a:lnTo>
                        <a:pt x="23072" y="5671"/>
                      </a:lnTo>
                      <a:lnTo>
                        <a:pt x="27856" y="1372"/>
                      </a:lnTo>
                      <a:lnTo>
                        <a:pt x="30891" y="0"/>
                      </a:lnTo>
                      <a:lnTo>
                        <a:pt x="34049" y="1105"/>
                      </a:lnTo>
                      <a:close/>
                    </a:path>
                  </a:pathLst>
                </a:custGeom>
                <a:solidFill>
                  <a:srgbClr val="D7D7D2"/>
                </a:solidFill>
                <a:ln w="12138" cap="flat">
                  <a:noFill/>
                  <a:prstDash val="solid"/>
                  <a:miter/>
                </a:ln>
              </p:spPr>
              <p:txBody>
                <a:bodyPr rtlCol="0" anchor="ctr"/>
                <a:lstStyle/>
                <a:p>
                  <a:endParaRPr lang="en-US"/>
                </a:p>
              </p:txBody>
            </p:sp>
            <p:sp>
              <p:nvSpPr>
                <p:cNvPr id="345" name="Freeform: Shape 344">
                  <a:extLst>
                    <a:ext uri="{FF2B5EF4-FFF2-40B4-BE49-F238E27FC236}">
                      <a16:creationId xmlns:a16="http://schemas.microsoft.com/office/drawing/2014/main" id="{4557F6A8-EFCC-406B-80AA-1CDC80CC2C83}"/>
                    </a:ext>
                  </a:extLst>
                </p:cNvPr>
                <p:cNvSpPr/>
                <p:nvPr/>
              </p:nvSpPr>
              <p:spPr>
                <a:xfrm>
                  <a:off x="8132127" y="6541710"/>
                  <a:ext cx="26289" cy="36149"/>
                </a:xfrm>
                <a:custGeom>
                  <a:avLst/>
                  <a:gdLst>
                    <a:gd name="connsiteX0" fmla="*/ 9435 w 26289"/>
                    <a:gd name="connsiteY0" fmla="*/ 35348 h 36149"/>
                    <a:gd name="connsiteX1" fmla="*/ 6387 w 26289"/>
                    <a:gd name="connsiteY1" fmla="*/ 36150 h 36149"/>
                    <a:gd name="connsiteX2" fmla="*/ 4469 w 26289"/>
                    <a:gd name="connsiteY2" fmla="*/ 34887 h 36149"/>
                    <a:gd name="connsiteX3" fmla="*/ 4202 w 26289"/>
                    <a:gd name="connsiteY3" fmla="*/ 33515 h 36149"/>
                    <a:gd name="connsiteX4" fmla="*/ 4372 w 26289"/>
                    <a:gd name="connsiteY4" fmla="*/ 31839 h 36149"/>
                    <a:gd name="connsiteX5" fmla="*/ 3959 w 26289"/>
                    <a:gd name="connsiteY5" fmla="*/ 29726 h 36149"/>
                    <a:gd name="connsiteX6" fmla="*/ 3170 w 26289"/>
                    <a:gd name="connsiteY6" fmla="*/ 28366 h 36149"/>
                    <a:gd name="connsiteX7" fmla="*/ 0 w 26289"/>
                    <a:gd name="connsiteY7" fmla="*/ 24553 h 36149"/>
                    <a:gd name="connsiteX8" fmla="*/ 2417 w 26289"/>
                    <a:gd name="connsiteY8" fmla="*/ 22367 h 36149"/>
                    <a:gd name="connsiteX9" fmla="*/ 3036 w 26289"/>
                    <a:gd name="connsiteY9" fmla="*/ 18433 h 36149"/>
                    <a:gd name="connsiteX10" fmla="*/ 4262 w 26289"/>
                    <a:gd name="connsiteY10" fmla="*/ 14681 h 36149"/>
                    <a:gd name="connsiteX11" fmla="*/ 8403 w 26289"/>
                    <a:gd name="connsiteY11" fmla="*/ 12981 h 36149"/>
                    <a:gd name="connsiteX12" fmla="*/ 13734 w 26289"/>
                    <a:gd name="connsiteY12" fmla="*/ 11742 h 36149"/>
                    <a:gd name="connsiteX13" fmla="*/ 15725 w 26289"/>
                    <a:gd name="connsiteY13" fmla="*/ 8610 h 36149"/>
                    <a:gd name="connsiteX14" fmla="*/ 16830 w 26289"/>
                    <a:gd name="connsiteY14" fmla="*/ 4396 h 36149"/>
                    <a:gd name="connsiteX15" fmla="*/ 19283 w 26289"/>
                    <a:gd name="connsiteY15" fmla="*/ 0 h 36149"/>
                    <a:gd name="connsiteX16" fmla="*/ 19283 w 26289"/>
                    <a:gd name="connsiteY16" fmla="*/ 5137 h 36149"/>
                    <a:gd name="connsiteX17" fmla="*/ 19745 w 26289"/>
                    <a:gd name="connsiteY17" fmla="*/ 8731 h 36149"/>
                    <a:gd name="connsiteX18" fmla="*/ 21651 w 26289"/>
                    <a:gd name="connsiteY18" fmla="*/ 10625 h 36149"/>
                    <a:gd name="connsiteX19" fmla="*/ 23958 w 26289"/>
                    <a:gd name="connsiteY19" fmla="*/ 12022 h 36149"/>
                    <a:gd name="connsiteX20" fmla="*/ 25719 w 26289"/>
                    <a:gd name="connsiteY20" fmla="*/ 14256 h 36149"/>
                    <a:gd name="connsiteX21" fmla="*/ 26290 w 26289"/>
                    <a:gd name="connsiteY21" fmla="*/ 17778 h 36149"/>
                    <a:gd name="connsiteX22" fmla="*/ 25209 w 26289"/>
                    <a:gd name="connsiteY22" fmla="*/ 20364 h 36149"/>
                    <a:gd name="connsiteX23" fmla="*/ 22792 w 26289"/>
                    <a:gd name="connsiteY23" fmla="*/ 22489 h 36149"/>
                    <a:gd name="connsiteX24" fmla="*/ 19283 w 26289"/>
                    <a:gd name="connsiteY24" fmla="*/ 24553 h 36149"/>
                    <a:gd name="connsiteX25" fmla="*/ 15980 w 26289"/>
                    <a:gd name="connsiteY25" fmla="*/ 27662 h 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289" h="36149">
                      <a:moveTo>
                        <a:pt x="9435" y="35348"/>
                      </a:moveTo>
                      <a:lnTo>
                        <a:pt x="6387" y="36150"/>
                      </a:lnTo>
                      <a:lnTo>
                        <a:pt x="4469" y="34887"/>
                      </a:lnTo>
                      <a:lnTo>
                        <a:pt x="4202" y="33515"/>
                      </a:lnTo>
                      <a:lnTo>
                        <a:pt x="4372" y="31839"/>
                      </a:lnTo>
                      <a:lnTo>
                        <a:pt x="3959" y="29726"/>
                      </a:lnTo>
                      <a:lnTo>
                        <a:pt x="3170" y="28366"/>
                      </a:lnTo>
                      <a:lnTo>
                        <a:pt x="0" y="24553"/>
                      </a:lnTo>
                      <a:lnTo>
                        <a:pt x="2417" y="22367"/>
                      </a:lnTo>
                      <a:lnTo>
                        <a:pt x="3036" y="18433"/>
                      </a:lnTo>
                      <a:lnTo>
                        <a:pt x="4262" y="14681"/>
                      </a:lnTo>
                      <a:lnTo>
                        <a:pt x="8403" y="12981"/>
                      </a:lnTo>
                      <a:lnTo>
                        <a:pt x="13734" y="11742"/>
                      </a:lnTo>
                      <a:lnTo>
                        <a:pt x="15725" y="8610"/>
                      </a:lnTo>
                      <a:lnTo>
                        <a:pt x="16830" y="4396"/>
                      </a:lnTo>
                      <a:lnTo>
                        <a:pt x="19283" y="0"/>
                      </a:lnTo>
                      <a:lnTo>
                        <a:pt x="19283" y="5137"/>
                      </a:lnTo>
                      <a:lnTo>
                        <a:pt x="19745" y="8731"/>
                      </a:lnTo>
                      <a:lnTo>
                        <a:pt x="21651" y="10625"/>
                      </a:lnTo>
                      <a:lnTo>
                        <a:pt x="23958" y="12022"/>
                      </a:lnTo>
                      <a:lnTo>
                        <a:pt x="25719" y="14256"/>
                      </a:lnTo>
                      <a:lnTo>
                        <a:pt x="26290" y="17778"/>
                      </a:lnTo>
                      <a:lnTo>
                        <a:pt x="25209" y="20364"/>
                      </a:lnTo>
                      <a:lnTo>
                        <a:pt x="22792" y="22489"/>
                      </a:lnTo>
                      <a:lnTo>
                        <a:pt x="19283" y="24553"/>
                      </a:lnTo>
                      <a:lnTo>
                        <a:pt x="15980" y="27662"/>
                      </a:lnTo>
                      <a:close/>
                    </a:path>
                  </a:pathLst>
                </a:custGeom>
                <a:solidFill>
                  <a:srgbClr val="D7D7D2"/>
                </a:solidFill>
                <a:ln w="12138" cap="flat">
                  <a:noFill/>
                  <a:prstDash val="solid"/>
                  <a:miter/>
                </a:ln>
              </p:spPr>
              <p:txBody>
                <a:bodyPr rtlCol="0" anchor="ctr"/>
                <a:lstStyle/>
                <a:p>
                  <a:endParaRPr lang="en-US"/>
                </a:p>
              </p:txBody>
            </p:sp>
            <p:sp>
              <p:nvSpPr>
                <p:cNvPr id="346" name="Freeform: Shape 345">
                  <a:extLst>
                    <a:ext uri="{FF2B5EF4-FFF2-40B4-BE49-F238E27FC236}">
                      <a16:creationId xmlns:a16="http://schemas.microsoft.com/office/drawing/2014/main" id="{1E4F1760-8092-4C42-8A67-4000A09592BA}"/>
                    </a:ext>
                  </a:extLst>
                </p:cNvPr>
                <p:cNvSpPr/>
                <p:nvPr/>
              </p:nvSpPr>
              <p:spPr>
                <a:xfrm>
                  <a:off x="8077909" y="6433735"/>
                  <a:ext cx="29131" cy="27928"/>
                </a:xfrm>
                <a:custGeom>
                  <a:avLst/>
                  <a:gdLst>
                    <a:gd name="connsiteX0" fmla="*/ 24019 w 29131"/>
                    <a:gd name="connsiteY0" fmla="*/ 11912 h 27928"/>
                    <a:gd name="connsiteX1" fmla="*/ 29022 w 29131"/>
                    <a:gd name="connsiteY1" fmla="*/ 20121 h 27928"/>
                    <a:gd name="connsiteX2" fmla="*/ 29131 w 29131"/>
                    <a:gd name="connsiteY2" fmla="*/ 22197 h 27928"/>
                    <a:gd name="connsiteX3" fmla="*/ 28560 w 29131"/>
                    <a:gd name="connsiteY3" fmla="*/ 25889 h 27928"/>
                    <a:gd name="connsiteX4" fmla="*/ 28050 w 29131"/>
                    <a:gd name="connsiteY4" fmla="*/ 27929 h 27928"/>
                    <a:gd name="connsiteX5" fmla="*/ 26824 w 29131"/>
                    <a:gd name="connsiteY5" fmla="*/ 27565 h 27928"/>
                    <a:gd name="connsiteX6" fmla="*/ 24711 w 29131"/>
                    <a:gd name="connsiteY6" fmla="*/ 25294 h 27928"/>
                    <a:gd name="connsiteX7" fmla="*/ 21760 w 29131"/>
                    <a:gd name="connsiteY7" fmla="*/ 23715 h 27928"/>
                    <a:gd name="connsiteX8" fmla="*/ 20643 w 29131"/>
                    <a:gd name="connsiteY8" fmla="*/ 23630 h 27928"/>
                    <a:gd name="connsiteX9" fmla="*/ 18202 w 29131"/>
                    <a:gd name="connsiteY9" fmla="*/ 24031 h 27928"/>
                    <a:gd name="connsiteX10" fmla="*/ 15798 w 29131"/>
                    <a:gd name="connsiteY10" fmla="*/ 24845 h 27928"/>
                    <a:gd name="connsiteX11" fmla="*/ 13806 w 29131"/>
                    <a:gd name="connsiteY11" fmla="*/ 25780 h 27928"/>
                    <a:gd name="connsiteX12" fmla="*/ 11791 w 29131"/>
                    <a:gd name="connsiteY12" fmla="*/ 26180 h 27928"/>
                    <a:gd name="connsiteX13" fmla="*/ 9265 w 29131"/>
                    <a:gd name="connsiteY13" fmla="*/ 25294 h 27928"/>
                    <a:gd name="connsiteX14" fmla="*/ 7492 w 29131"/>
                    <a:gd name="connsiteY14" fmla="*/ 23776 h 27928"/>
                    <a:gd name="connsiteX15" fmla="*/ 6606 w 29131"/>
                    <a:gd name="connsiteY15" fmla="*/ 21906 h 27928"/>
                    <a:gd name="connsiteX16" fmla="*/ 6739 w 29131"/>
                    <a:gd name="connsiteY16" fmla="*/ 19781 h 27928"/>
                    <a:gd name="connsiteX17" fmla="*/ 8099 w 29131"/>
                    <a:gd name="connsiteY17" fmla="*/ 17450 h 27928"/>
                    <a:gd name="connsiteX18" fmla="*/ 6667 w 29131"/>
                    <a:gd name="connsiteY18" fmla="*/ 16162 h 27928"/>
                    <a:gd name="connsiteX19" fmla="*/ 5173 w 29131"/>
                    <a:gd name="connsiteY19" fmla="*/ 17450 h 27928"/>
                    <a:gd name="connsiteX20" fmla="*/ 3412 w 29131"/>
                    <a:gd name="connsiteY20" fmla="*/ 17547 h 27928"/>
                    <a:gd name="connsiteX21" fmla="*/ 1615 w 29131"/>
                    <a:gd name="connsiteY21" fmla="*/ 16648 h 27928"/>
                    <a:gd name="connsiteX22" fmla="*/ 316 w 29131"/>
                    <a:gd name="connsiteY22" fmla="*/ 14863 h 27928"/>
                    <a:gd name="connsiteX23" fmla="*/ 0 w 29131"/>
                    <a:gd name="connsiteY23" fmla="*/ 12726 h 27928"/>
                    <a:gd name="connsiteX24" fmla="*/ 1554 w 29131"/>
                    <a:gd name="connsiteY24" fmla="*/ 5221 h 27928"/>
                    <a:gd name="connsiteX25" fmla="*/ 3291 w 29131"/>
                    <a:gd name="connsiteY25" fmla="*/ 2866 h 27928"/>
                    <a:gd name="connsiteX26" fmla="*/ 7371 w 29131"/>
                    <a:gd name="connsiteY26" fmla="*/ 1008 h 27928"/>
                    <a:gd name="connsiteX27" fmla="*/ 12240 w 29131"/>
                    <a:gd name="connsiteY27" fmla="*/ 0 h 27928"/>
                    <a:gd name="connsiteX28" fmla="*/ 16199 w 29131"/>
                    <a:gd name="connsiteY28" fmla="*/ 340 h 27928"/>
                    <a:gd name="connsiteX29" fmla="*/ 16842 w 29131"/>
                    <a:gd name="connsiteY29" fmla="*/ 2016 h 27928"/>
                    <a:gd name="connsiteX30" fmla="*/ 17085 w 29131"/>
                    <a:gd name="connsiteY30" fmla="*/ 3789 h 27928"/>
                    <a:gd name="connsiteX31" fmla="*/ 17085 w 29131"/>
                    <a:gd name="connsiteY31" fmla="*/ 7723 h 27928"/>
                    <a:gd name="connsiteX32" fmla="*/ 18057 w 29131"/>
                    <a:gd name="connsiteY32" fmla="*/ 9326 h 27928"/>
                    <a:gd name="connsiteX33" fmla="*/ 22343 w 29131"/>
                    <a:gd name="connsiteY33" fmla="*/ 10844 h 27928"/>
                    <a:gd name="connsiteX34" fmla="*/ 23315 w 29131"/>
                    <a:gd name="connsiteY34" fmla="*/ 11718 h 27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9131" h="27928">
                      <a:moveTo>
                        <a:pt x="24019" y="11912"/>
                      </a:moveTo>
                      <a:lnTo>
                        <a:pt x="29022" y="20121"/>
                      </a:lnTo>
                      <a:lnTo>
                        <a:pt x="29131" y="22197"/>
                      </a:lnTo>
                      <a:lnTo>
                        <a:pt x="28560" y="25889"/>
                      </a:lnTo>
                      <a:lnTo>
                        <a:pt x="28050" y="27929"/>
                      </a:lnTo>
                      <a:lnTo>
                        <a:pt x="26824" y="27565"/>
                      </a:lnTo>
                      <a:lnTo>
                        <a:pt x="24711" y="25294"/>
                      </a:lnTo>
                      <a:lnTo>
                        <a:pt x="21760" y="23715"/>
                      </a:lnTo>
                      <a:lnTo>
                        <a:pt x="20643" y="23630"/>
                      </a:lnTo>
                      <a:lnTo>
                        <a:pt x="18202" y="24031"/>
                      </a:lnTo>
                      <a:lnTo>
                        <a:pt x="15798" y="24845"/>
                      </a:lnTo>
                      <a:lnTo>
                        <a:pt x="13806" y="25780"/>
                      </a:lnTo>
                      <a:lnTo>
                        <a:pt x="11791" y="26180"/>
                      </a:lnTo>
                      <a:lnTo>
                        <a:pt x="9265" y="25294"/>
                      </a:lnTo>
                      <a:lnTo>
                        <a:pt x="7492" y="23776"/>
                      </a:lnTo>
                      <a:lnTo>
                        <a:pt x="6606" y="21906"/>
                      </a:lnTo>
                      <a:lnTo>
                        <a:pt x="6739" y="19781"/>
                      </a:lnTo>
                      <a:lnTo>
                        <a:pt x="8099" y="17450"/>
                      </a:lnTo>
                      <a:lnTo>
                        <a:pt x="6667" y="16162"/>
                      </a:lnTo>
                      <a:lnTo>
                        <a:pt x="5173" y="17450"/>
                      </a:lnTo>
                      <a:lnTo>
                        <a:pt x="3412" y="17547"/>
                      </a:lnTo>
                      <a:lnTo>
                        <a:pt x="1615" y="16648"/>
                      </a:lnTo>
                      <a:lnTo>
                        <a:pt x="316" y="14863"/>
                      </a:lnTo>
                      <a:lnTo>
                        <a:pt x="0" y="12726"/>
                      </a:lnTo>
                      <a:lnTo>
                        <a:pt x="1554" y="5221"/>
                      </a:lnTo>
                      <a:lnTo>
                        <a:pt x="3291" y="2866"/>
                      </a:lnTo>
                      <a:lnTo>
                        <a:pt x="7371" y="1008"/>
                      </a:lnTo>
                      <a:lnTo>
                        <a:pt x="12240" y="0"/>
                      </a:lnTo>
                      <a:lnTo>
                        <a:pt x="16199" y="340"/>
                      </a:lnTo>
                      <a:lnTo>
                        <a:pt x="16842" y="2016"/>
                      </a:lnTo>
                      <a:lnTo>
                        <a:pt x="17085" y="3789"/>
                      </a:lnTo>
                      <a:lnTo>
                        <a:pt x="17085" y="7723"/>
                      </a:lnTo>
                      <a:lnTo>
                        <a:pt x="18057" y="9326"/>
                      </a:lnTo>
                      <a:lnTo>
                        <a:pt x="22343" y="10844"/>
                      </a:lnTo>
                      <a:lnTo>
                        <a:pt x="23315" y="11718"/>
                      </a:lnTo>
                      <a:close/>
                    </a:path>
                  </a:pathLst>
                </a:custGeom>
                <a:solidFill>
                  <a:srgbClr val="D7D7D2"/>
                </a:solidFill>
                <a:ln w="12138" cap="flat">
                  <a:noFill/>
                  <a:prstDash val="solid"/>
                  <a:miter/>
                </a:ln>
              </p:spPr>
              <p:txBody>
                <a:bodyPr rtlCol="0" anchor="ctr"/>
                <a:lstStyle/>
                <a:p>
                  <a:endParaRPr lang="en-US"/>
                </a:p>
              </p:txBody>
            </p:sp>
            <p:sp>
              <p:nvSpPr>
                <p:cNvPr id="347" name="Freeform: Shape 346">
                  <a:extLst>
                    <a:ext uri="{FF2B5EF4-FFF2-40B4-BE49-F238E27FC236}">
                      <a16:creationId xmlns:a16="http://schemas.microsoft.com/office/drawing/2014/main" id="{1BE041D5-9518-4123-B584-42242637C0BA}"/>
                    </a:ext>
                  </a:extLst>
                </p:cNvPr>
                <p:cNvSpPr/>
                <p:nvPr/>
              </p:nvSpPr>
              <p:spPr>
                <a:xfrm>
                  <a:off x="8132310" y="6329549"/>
                  <a:ext cx="6204" cy="24747"/>
                </a:xfrm>
                <a:custGeom>
                  <a:avLst/>
                  <a:gdLst>
                    <a:gd name="connsiteX0" fmla="*/ 2744 w 6204"/>
                    <a:gd name="connsiteY0" fmla="*/ 24686 h 24747"/>
                    <a:gd name="connsiteX1" fmla="*/ 1202 w 6204"/>
                    <a:gd name="connsiteY1" fmla="*/ 24747 h 24747"/>
                    <a:gd name="connsiteX2" fmla="*/ 971 w 6204"/>
                    <a:gd name="connsiteY2" fmla="*/ 22440 h 24747"/>
                    <a:gd name="connsiteX3" fmla="*/ 2283 w 6204"/>
                    <a:gd name="connsiteY3" fmla="*/ 14802 h 24747"/>
                    <a:gd name="connsiteX4" fmla="*/ 2344 w 6204"/>
                    <a:gd name="connsiteY4" fmla="*/ 11730 h 24747"/>
                    <a:gd name="connsiteX5" fmla="*/ 121 w 6204"/>
                    <a:gd name="connsiteY5" fmla="*/ 5185 h 24747"/>
                    <a:gd name="connsiteX6" fmla="*/ 0 w 6204"/>
                    <a:gd name="connsiteY6" fmla="*/ 2089 h 24747"/>
                    <a:gd name="connsiteX7" fmla="*/ 2344 w 6204"/>
                    <a:gd name="connsiteY7" fmla="*/ 0 h 24747"/>
                    <a:gd name="connsiteX8" fmla="*/ 2344 w 6204"/>
                    <a:gd name="connsiteY8" fmla="*/ 3983 h 24747"/>
                    <a:gd name="connsiteX9" fmla="*/ 4991 w 6204"/>
                    <a:gd name="connsiteY9" fmla="*/ 9265 h 24747"/>
                    <a:gd name="connsiteX10" fmla="*/ 5974 w 6204"/>
                    <a:gd name="connsiteY10" fmla="*/ 11973 h 24747"/>
                    <a:gd name="connsiteX11" fmla="*/ 6205 w 6204"/>
                    <a:gd name="connsiteY11" fmla="*/ 15591 h 24747"/>
                    <a:gd name="connsiteX12" fmla="*/ 5622 w 6204"/>
                    <a:gd name="connsiteY12" fmla="*/ 18057 h 24747"/>
                    <a:gd name="connsiteX13" fmla="*/ 4347 w 6204"/>
                    <a:gd name="connsiteY13" fmla="*/ 21760 h 2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04" h="24747">
                      <a:moveTo>
                        <a:pt x="2744" y="24686"/>
                      </a:moveTo>
                      <a:lnTo>
                        <a:pt x="1202" y="24747"/>
                      </a:lnTo>
                      <a:lnTo>
                        <a:pt x="971" y="22440"/>
                      </a:lnTo>
                      <a:lnTo>
                        <a:pt x="2283" y="14802"/>
                      </a:lnTo>
                      <a:lnTo>
                        <a:pt x="2344" y="11730"/>
                      </a:lnTo>
                      <a:lnTo>
                        <a:pt x="121" y="5185"/>
                      </a:lnTo>
                      <a:lnTo>
                        <a:pt x="0" y="2089"/>
                      </a:lnTo>
                      <a:lnTo>
                        <a:pt x="2344" y="0"/>
                      </a:lnTo>
                      <a:lnTo>
                        <a:pt x="2344" y="3983"/>
                      </a:lnTo>
                      <a:lnTo>
                        <a:pt x="4991" y="9265"/>
                      </a:lnTo>
                      <a:lnTo>
                        <a:pt x="5974" y="11973"/>
                      </a:lnTo>
                      <a:lnTo>
                        <a:pt x="6205" y="15591"/>
                      </a:lnTo>
                      <a:lnTo>
                        <a:pt x="5622" y="18057"/>
                      </a:lnTo>
                      <a:lnTo>
                        <a:pt x="4347" y="21760"/>
                      </a:lnTo>
                      <a:close/>
                    </a:path>
                  </a:pathLst>
                </a:custGeom>
                <a:solidFill>
                  <a:srgbClr val="D7D7D2"/>
                </a:solidFill>
                <a:ln w="12138" cap="flat">
                  <a:noFill/>
                  <a:prstDash val="solid"/>
                  <a:miter/>
                </a:ln>
              </p:spPr>
              <p:txBody>
                <a:bodyPr rtlCol="0" anchor="ctr"/>
                <a:lstStyle/>
                <a:p>
                  <a:endParaRPr lang="en-US"/>
                </a:p>
              </p:txBody>
            </p:sp>
            <p:sp>
              <p:nvSpPr>
                <p:cNvPr id="348" name="Freeform: Shape 347">
                  <a:extLst>
                    <a:ext uri="{FF2B5EF4-FFF2-40B4-BE49-F238E27FC236}">
                      <a16:creationId xmlns:a16="http://schemas.microsoft.com/office/drawing/2014/main" id="{1D671DA5-288D-49E0-A4F2-816A5217D3F9}"/>
                    </a:ext>
                  </a:extLst>
                </p:cNvPr>
                <p:cNvSpPr/>
                <p:nvPr/>
              </p:nvSpPr>
              <p:spPr>
                <a:xfrm>
                  <a:off x="7966012" y="6198187"/>
                  <a:ext cx="23545" cy="29118"/>
                </a:xfrm>
                <a:custGeom>
                  <a:avLst/>
                  <a:gdLst>
                    <a:gd name="connsiteX0" fmla="*/ 23205 w 23545"/>
                    <a:gd name="connsiteY0" fmla="*/ 22513 h 29118"/>
                    <a:gd name="connsiteX1" fmla="*/ 17122 w 23545"/>
                    <a:gd name="connsiteY1" fmla="*/ 29119 h 29118"/>
                    <a:gd name="connsiteX2" fmla="*/ 4238 w 23545"/>
                    <a:gd name="connsiteY2" fmla="*/ 25209 h 29118"/>
                    <a:gd name="connsiteX3" fmla="*/ 2234 w 23545"/>
                    <a:gd name="connsiteY3" fmla="*/ 22112 h 29118"/>
                    <a:gd name="connsiteX4" fmla="*/ 619 w 23545"/>
                    <a:gd name="connsiteY4" fmla="*/ 16830 h 29118"/>
                    <a:gd name="connsiteX5" fmla="*/ 0 w 23545"/>
                    <a:gd name="connsiteY5" fmla="*/ 11839 h 29118"/>
                    <a:gd name="connsiteX6" fmla="*/ 1032 w 23545"/>
                    <a:gd name="connsiteY6" fmla="*/ 9593 h 29118"/>
                    <a:gd name="connsiteX7" fmla="*/ 3910 w 23545"/>
                    <a:gd name="connsiteY7" fmla="*/ 8767 h 29118"/>
                    <a:gd name="connsiteX8" fmla="*/ 6897 w 23545"/>
                    <a:gd name="connsiteY8" fmla="*/ 6630 h 29118"/>
                    <a:gd name="connsiteX9" fmla="*/ 8610 w 23545"/>
                    <a:gd name="connsiteY9" fmla="*/ 3704 h 29118"/>
                    <a:gd name="connsiteX10" fmla="*/ 7990 w 23545"/>
                    <a:gd name="connsiteY10" fmla="*/ 546 h 29118"/>
                    <a:gd name="connsiteX11" fmla="*/ 10212 w 23545"/>
                    <a:gd name="connsiteY11" fmla="*/ 0 h 29118"/>
                    <a:gd name="connsiteX12" fmla="*/ 12070 w 23545"/>
                    <a:gd name="connsiteY12" fmla="*/ 923 h 29118"/>
                    <a:gd name="connsiteX13" fmla="*/ 16296 w 23545"/>
                    <a:gd name="connsiteY13" fmla="*/ 4408 h 29118"/>
                    <a:gd name="connsiteX14" fmla="*/ 19295 w 23545"/>
                    <a:gd name="connsiteY14" fmla="*/ 6229 h 29118"/>
                    <a:gd name="connsiteX15" fmla="*/ 23545 w 23545"/>
                    <a:gd name="connsiteY15" fmla="*/ 11693 h 29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545" h="29118">
                      <a:moveTo>
                        <a:pt x="23205" y="22513"/>
                      </a:moveTo>
                      <a:lnTo>
                        <a:pt x="17122" y="29119"/>
                      </a:lnTo>
                      <a:lnTo>
                        <a:pt x="4238" y="25209"/>
                      </a:lnTo>
                      <a:lnTo>
                        <a:pt x="2234" y="22112"/>
                      </a:lnTo>
                      <a:lnTo>
                        <a:pt x="619" y="16830"/>
                      </a:lnTo>
                      <a:lnTo>
                        <a:pt x="0" y="11839"/>
                      </a:lnTo>
                      <a:lnTo>
                        <a:pt x="1032" y="9593"/>
                      </a:lnTo>
                      <a:lnTo>
                        <a:pt x="3910" y="8767"/>
                      </a:lnTo>
                      <a:lnTo>
                        <a:pt x="6897" y="6630"/>
                      </a:lnTo>
                      <a:lnTo>
                        <a:pt x="8610" y="3704"/>
                      </a:lnTo>
                      <a:lnTo>
                        <a:pt x="7990" y="546"/>
                      </a:lnTo>
                      <a:lnTo>
                        <a:pt x="10212" y="0"/>
                      </a:lnTo>
                      <a:lnTo>
                        <a:pt x="12070" y="923"/>
                      </a:lnTo>
                      <a:lnTo>
                        <a:pt x="16296" y="4408"/>
                      </a:lnTo>
                      <a:lnTo>
                        <a:pt x="19295" y="6229"/>
                      </a:lnTo>
                      <a:lnTo>
                        <a:pt x="23545" y="11693"/>
                      </a:lnTo>
                      <a:close/>
                    </a:path>
                  </a:pathLst>
                </a:custGeom>
                <a:solidFill>
                  <a:srgbClr val="D7D7D2"/>
                </a:solidFill>
                <a:ln w="12138" cap="flat">
                  <a:noFill/>
                  <a:prstDash val="solid"/>
                  <a:miter/>
                </a:ln>
              </p:spPr>
              <p:txBody>
                <a:bodyPr rtlCol="0" anchor="ctr"/>
                <a:lstStyle/>
                <a:p>
                  <a:endParaRPr lang="en-US"/>
                </a:p>
              </p:txBody>
            </p:sp>
            <p:sp>
              <p:nvSpPr>
                <p:cNvPr id="349" name="Freeform: Shape 348">
                  <a:extLst>
                    <a:ext uri="{FF2B5EF4-FFF2-40B4-BE49-F238E27FC236}">
                      <a16:creationId xmlns:a16="http://schemas.microsoft.com/office/drawing/2014/main" id="{849FA4FD-0754-46AB-8F73-BCD28FE5E83C}"/>
                    </a:ext>
                  </a:extLst>
                </p:cNvPr>
                <p:cNvSpPr/>
                <p:nvPr/>
              </p:nvSpPr>
              <p:spPr>
                <a:xfrm>
                  <a:off x="7903597" y="5889149"/>
                  <a:ext cx="41735" cy="73501"/>
                </a:xfrm>
                <a:custGeom>
                  <a:avLst/>
                  <a:gdLst>
                    <a:gd name="connsiteX0" fmla="*/ 38748 w 41735"/>
                    <a:gd name="connsiteY0" fmla="*/ 19963 h 73501"/>
                    <a:gd name="connsiteX1" fmla="*/ 39270 w 41735"/>
                    <a:gd name="connsiteY1" fmla="*/ 23570 h 73501"/>
                    <a:gd name="connsiteX2" fmla="*/ 39622 w 41735"/>
                    <a:gd name="connsiteY2" fmla="*/ 30199 h 73501"/>
                    <a:gd name="connsiteX3" fmla="*/ 41735 w 41735"/>
                    <a:gd name="connsiteY3" fmla="*/ 35312 h 73501"/>
                    <a:gd name="connsiteX4" fmla="*/ 41335 w 41735"/>
                    <a:gd name="connsiteY4" fmla="*/ 41177 h 73501"/>
                    <a:gd name="connsiteX5" fmla="*/ 37303 w 41735"/>
                    <a:gd name="connsiteY5" fmla="*/ 45536 h 73501"/>
                    <a:gd name="connsiteX6" fmla="*/ 34790 w 41735"/>
                    <a:gd name="connsiteY6" fmla="*/ 47977 h 73501"/>
                    <a:gd name="connsiteX7" fmla="*/ 32908 w 41735"/>
                    <a:gd name="connsiteY7" fmla="*/ 49494 h 73501"/>
                    <a:gd name="connsiteX8" fmla="*/ 30782 w 41735"/>
                    <a:gd name="connsiteY8" fmla="*/ 52142 h 73501"/>
                    <a:gd name="connsiteX9" fmla="*/ 31171 w 41735"/>
                    <a:gd name="connsiteY9" fmla="*/ 57618 h 73501"/>
                    <a:gd name="connsiteX10" fmla="*/ 33818 w 41735"/>
                    <a:gd name="connsiteY10" fmla="*/ 58189 h 73501"/>
                    <a:gd name="connsiteX11" fmla="*/ 37255 w 41735"/>
                    <a:gd name="connsiteY11" fmla="*/ 59719 h 73501"/>
                    <a:gd name="connsiteX12" fmla="*/ 32094 w 41735"/>
                    <a:gd name="connsiteY12" fmla="*/ 65948 h 73501"/>
                    <a:gd name="connsiteX13" fmla="*/ 29981 w 41735"/>
                    <a:gd name="connsiteY13" fmla="*/ 70283 h 73501"/>
                    <a:gd name="connsiteX14" fmla="*/ 25792 w 41735"/>
                    <a:gd name="connsiteY14" fmla="*/ 73501 h 73501"/>
                    <a:gd name="connsiteX15" fmla="*/ 19465 w 41735"/>
                    <a:gd name="connsiteY15" fmla="*/ 71947 h 73501"/>
                    <a:gd name="connsiteX16" fmla="*/ 16466 w 41735"/>
                    <a:gd name="connsiteY16" fmla="*/ 69106 h 73501"/>
                    <a:gd name="connsiteX17" fmla="*/ 12860 w 41735"/>
                    <a:gd name="connsiteY17" fmla="*/ 66446 h 73501"/>
                    <a:gd name="connsiteX18" fmla="*/ 8670 w 41735"/>
                    <a:gd name="connsiteY18" fmla="*/ 66240 h 73501"/>
                    <a:gd name="connsiteX19" fmla="*/ 5792 w 41735"/>
                    <a:gd name="connsiteY19" fmla="*/ 69445 h 73501"/>
                    <a:gd name="connsiteX20" fmla="*/ 1615 w 41735"/>
                    <a:gd name="connsiteY20" fmla="*/ 69445 h 73501"/>
                    <a:gd name="connsiteX21" fmla="*/ 462 w 41735"/>
                    <a:gd name="connsiteY21" fmla="*/ 67187 h 73501"/>
                    <a:gd name="connsiteX22" fmla="*/ 5052 w 41735"/>
                    <a:gd name="connsiteY22" fmla="*/ 60751 h 73501"/>
                    <a:gd name="connsiteX23" fmla="*/ 7189 w 41735"/>
                    <a:gd name="connsiteY23" fmla="*/ 54898 h 73501"/>
                    <a:gd name="connsiteX24" fmla="*/ 7759 w 41735"/>
                    <a:gd name="connsiteY24" fmla="*/ 50527 h 73501"/>
                    <a:gd name="connsiteX25" fmla="*/ 6254 w 41735"/>
                    <a:gd name="connsiteY25" fmla="*/ 47115 h 73501"/>
                    <a:gd name="connsiteX26" fmla="*/ 2793 w 41735"/>
                    <a:gd name="connsiteY26" fmla="*/ 44067 h 73501"/>
                    <a:gd name="connsiteX27" fmla="*/ 741 w 41735"/>
                    <a:gd name="connsiteY27" fmla="*/ 42379 h 73501"/>
                    <a:gd name="connsiteX28" fmla="*/ 571 w 41735"/>
                    <a:gd name="connsiteY28" fmla="*/ 33660 h 73501"/>
                    <a:gd name="connsiteX29" fmla="*/ 571 w 41735"/>
                    <a:gd name="connsiteY29" fmla="*/ 27589 h 73501"/>
                    <a:gd name="connsiteX30" fmla="*/ 0 w 41735"/>
                    <a:gd name="connsiteY30" fmla="*/ 22853 h 73501"/>
                    <a:gd name="connsiteX31" fmla="*/ 231 w 41735"/>
                    <a:gd name="connsiteY31" fmla="*/ 21129 h 73501"/>
                    <a:gd name="connsiteX32" fmla="*/ 1955 w 41735"/>
                    <a:gd name="connsiteY32" fmla="*/ 21530 h 73501"/>
                    <a:gd name="connsiteX33" fmla="*/ 5902 w 41735"/>
                    <a:gd name="connsiteY33" fmla="*/ 20036 h 73501"/>
                    <a:gd name="connsiteX34" fmla="*/ 7456 w 41735"/>
                    <a:gd name="connsiteY34" fmla="*/ 18324 h 73501"/>
                    <a:gd name="connsiteX35" fmla="*/ 8780 w 41735"/>
                    <a:gd name="connsiteY35" fmla="*/ 13782 h 73501"/>
                    <a:gd name="connsiteX36" fmla="*/ 9982 w 41735"/>
                    <a:gd name="connsiteY36" fmla="*/ 8464 h 73501"/>
                    <a:gd name="connsiteX37" fmla="*/ 20085 w 41735"/>
                    <a:gd name="connsiteY37" fmla="*/ 1858 h 73501"/>
                    <a:gd name="connsiteX38" fmla="*/ 28487 w 41735"/>
                    <a:gd name="connsiteY38" fmla="*/ 0 h 73501"/>
                    <a:gd name="connsiteX39" fmla="*/ 32507 w 41735"/>
                    <a:gd name="connsiteY39" fmla="*/ 3995 h 73501"/>
                    <a:gd name="connsiteX40" fmla="*/ 35555 w 41735"/>
                    <a:gd name="connsiteY40" fmla="*/ 8755 h 73501"/>
                    <a:gd name="connsiteX41" fmla="*/ 36065 w 41735"/>
                    <a:gd name="connsiteY41" fmla="*/ 15215 h 7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1735" h="73501">
                      <a:moveTo>
                        <a:pt x="38748" y="19963"/>
                      </a:moveTo>
                      <a:lnTo>
                        <a:pt x="39270" y="23570"/>
                      </a:lnTo>
                      <a:lnTo>
                        <a:pt x="39622" y="30199"/>
                      </a:lnTo>
                      <a:lnTo>
                        <a:pt x="41735" y="35312"/>
                      </a:lnTo>
                      <a:lnTo>
                        <a:pt x="41335" y="41177"/>
                      </a:lnTo>
                      <a:lnTo>
                        <a:pt x="37303" y="45536"/>
                      </a:lnTo>
                      <a:lnTo>
                        <a:pt x="34790" y="47977"/>
                      </a:lnTo>
                      <a:lnTo>
                        <a:pt x="32908" y="49494"/>
                      </a:lnTo>
                      <a:lnTo>
                        <a:pt x="30782" y="52142"/>
                      </a:lnTo>
                      <a:lnTo>
                        <a:pt x="31171" y="57618"/>
                      </a:lnTo>
                      <a:lnTo>
                        <a:pt x="33818" y="58189"/>
                      </a:lnTo>
                      <a:lnTo>
                        <a:pt x="37255" y="59719"/>
                      </a:lnTo>
                      <a:lnTo>
                        <a:pt x="32094" y="65948"/>
                      </a:lnTo>
                      <a:lnTo>
                        <a:pt x="29981" y="70283"/>
                      </a:lnTo>
                      <a:lnTo>
                        <a:pt x="25792" y="73501"/>
                      </a:lnTo>
                      <a:lnTo>
                        <a:pt x="19465" y="71947"/>
                      </a:lnTo>
                      <a:lnTo>
                        <a:pt x="16466" y="69106"/>
                      </a:lnTo>
                      <a:lnTo>
                        <a:pt x="12860" y="66446"/>
                      </a:lnTo>
                      <a:lnTo>
                        <a:pt x="8670" y="66240"/>
                      </a:lnTo>
                      <a:lnTo>
                        <a:pt x="5792" y="69445"/>
                      </a:lnTo>
                      <a:lnTo>
                        <a:pt x="1615" y="69445"/>
                      </a:lnTo>
                      <a:lnTo>
                        <a:pt x="462" y="67187"/>
                      </a:lnTo>
                      <a:lnTo>
                        <a:pt x="5052" y="60751"/>
                      </a:lnTo>
                      <a:lnTo>
                        <a:pt x="7189" y="54898"/>
                      </a:lnTo>
                      <a:lnTo>
                        <a:pt x="7759" y="50527"/>
                      </a:lnTo>
                      <a:lnTo>
                        <a:pt x="6254" y="47115"/>
                      </a:lnTo>
                      <a:lnTo>
                        <a:pt x="2793" y="44067"/>
                      </a:lnTo>
                      <a:lnTo>
                        <a:pt x="741" y="42379"/>
                      </a:lnTo>
                      <a:lnTo>
                        <a:pt x="571" y="33660"/>
                      </a:lnTo>
                      <a:lnTo>
                        <a:pt x="571" y="27589"/>
                      </a:lnTo>
                      <a:lnTo>
                        <a:pt x="0" y="22853"/>
                      </a:lnTo>
                      <a:lnTo>
                        <a:pt x="231" y="21129"/>
                      </a:lnTo>
                      <a:lnTo>
                        <a:pt x="1955" y="21530"/>
                      </a:lnTo>
                      <a:lnTo>
                        <a:pt x="5902" y="20036"/>
                      </a:lnTo>
                      <a:lnTo>
                        <a:pt x="7456" y="18324"/>
                      </a:lnTo>
                      <a:lnTo>
                        <a:pt x="8780" y="13782"/>
                      </a:lnTo>
                      <a:lnTo>
                        <a:pt x="9982" y="8464"/>
                      </a:lnTo>
                      <a:lnTo>
                        <a:pt x="20085" y="1858"/>
                      </a:lnTo>
                      <a:lnTo>
                        <a:pt x="28487" y="0"/>
                      </a:lnTo>
                      <a:lnTo>
                        <a:pt x="32507" y="3995"/>
                      </a:lnTo>
                      <a:lnTo>
                        <a:pt x="35555" y="8755"/>
                      </a:lnTo>
                      <a:lnTo>
                        <a:pt x="36065" y="15215"/>
                      </a:lnTo>
                      <a:close/>
                    </a:path>
                  </a:pathLst>
                </a:custGeom>
                <a:solidFill>
                  <a:srgbClr val="D7D7D2"/>
                </a:solidFill>
                <a:ln w="12138" cap="flat">
                  <a:noFill/>
                  <a:prstDash val="solid"/>
                  <a:miter/>
                </a:ln>
              </p:spPr>
              <p:txBody>
                <a:bodyPr rtlCol="0" anchor="ctr"/>
                <a:lstStyle/>
                <a:p>
                  <a:endParaRPr lang="en-US"/>
                </a:p>
              </p:txBody>
            </p:sp>
            <p:sp>
              <p:nvSpPr>
                <p:cNvPr id="350" name="Freeform: Shape 349">
                  <a:extLst>
                    <a:ext uri="{FF2B5EF4-FFF2-40B4-BE49-F238E27FC236}">
                      <a16:creationId xmlns:a16="http://schemas.microsoft.com/office/drawing/2014/main" id="{23F5A906-8F32-4CC1-ABCB-6067FE67248E}"/>
                    </a:ext>
                  </a:extLst>
                </p:cNvPr>
                <p:cNvSpPr/>
                <p:nvPr/>
              </p:nvSpPr>
              <p:spPr>
                <a:xfrm>
                  <a:off x="7944482" y="5772820"/>
                  <a:ext cx="19926" cy="28535"/>
                </a:xfrm>
                <a:custGeom>
                  <a:avLst/>
                  <a:gdLst>
                    <a:gd name="connsiteX0" fmla="*/ 9824 w 19926"/>
                    <a:gd name="connsiteY0" fmla="*/ 28305 h 28535"/>
                    <a:gd name="connsiteX1" fmla="*/ 7747 w 19926"/>
                    <a:gd name="connsiteY1" fmla="*/ 28536 h 28535"/>
                    <a:gd name="connsiteX2" fmla="*/ 4882 w 19926"/>
                    <a:gd name="connsiteY2" fmla="*/ 27989 h 28535"/>
                    <a:gd name="connsiteX3" fmla="*/ 3218 w 19926"/>
                    <a:gd name="connsiteY3" fmla="*/ 26994 h 28535"/>
                    <a:gd name="connsiteX4" fmla="*/ 1882 w 19926"/>
                    <a:gd name="connsiteY4" fmla="*/ 25779 h 28535"/>
                    <a:gd name="connsiteX5" fmla="*/ 0 w 19926"/>
                    <a:gd name="connsiteY5" fmla="*/ 24650 h 28535"/>
                    <a:gd name="connsiteX6" fmla="*/ 1032 w 19926"/>
                    <a:gd name="connsiteY6" fmla="*/ 20291 h 28535"/>
                    <a:gd name="connsiteX7" fmla="*/ 1360 w 19926"/>
                    <a:gd name="connsiteY7" fmla="*/ 19344 h 28535"/>
                    <a:gd name="connsiteX8" fmla="*/ 2769 w 19926"/>
                    <a:gd name="connsiteY8" fmla="*/ 18409 h 28535"/>
                    <a:gd name="connsiteX9" fmla="*/ 5683 w 19926"/>
                    <a:gd name="connsiteY9" fmla="*/ 18165 h 28535"/>
                    <a:gd name="connsiteX10" fmla="*/ 7043 w 19926"/>
                    <a:gd name="connsiteY10" fmla="*/ 17449 h 28535"/>
                    <a:gd name="connsiteX11" fmla="*/ 8209 w 19926"/>
                    <a:gd name="connsiteY11" fmla="*/ 14814 h 28535"/>
                    <a:gd name="connsiteX12" fmla="*/ 7808 w 19926"/>
                    <a:gd name="connsiteY12" fmla="*/ 11621 h 28535"/>
                    <a:gd name="connsiteX13" fmla="*/ 6363 w 19926"/>
                    <a:gd name="connsiteY13" fmla="*/ 5841 h 28535"/>
                    <a:gd name="connsiteX14" fmla="*/ 7869 w 19926"/>
                    <a:gd name="connsiteY14" fmla="*/ 24 h 28535"/>
                    <a:gd name="connsiteX15" fmla="*/ 11378 w 19926"/>
                    <a:gd name="connsiteY15" fmla="*/ 0 h 28535"/>
                    <a:gd name="connsiteX16" fmla="*/ 15276 w 19926"/>
                    <a:gd name="connsiteY16" fmla="*/ 3351 h 28535"/>
                    <a:gd name="connsiteX17" fmla="*/ 18020 w 19926"/>
                    <a:gd name="connsiteY17" fmla="*/ 7662 h 28535"/>
                    <a:gd name="connsiteX18" fmla="*/ 19235 w 19926"/>
                    <a:gd name="connsiteY18" fmla="*/ 10212 h 28535"/>
                    <a:gd name="connsiteX19" fmla="*/ 18020 w 19926"/>
                    <a:gd name="connsiteY19" fmla="*/ 12446 h 28535"/>
                    <a:gd name="connsiteX20" fmla="*/ 16126 w 19926"/>
                    <a:gd name="connsiteY20" fmla="*/ 14948 h 28535"/>
                    <a:gd name="connsiteX21" fmla="*/ 15543 w 19926"/>
                    <a:gd name="connsiteY21" fmla="*/ 18165 h 28535"/>
                    <a:gd name="connsiteX22" fmla="*/ 17158 w 19926"/>
                    <a:gd name="connsiteY22" fmla="*/ 20655 h 28535"/>
                    <a:gd name="connsiteX23" fmla="*/ 19356 w 19926"/>
                    <a:gd name="connsiteY23" fmla="*/ 22100 h 28535"/>
                    <a:gd name="connsiteX24" fmla="*/ 19927 w 19926"/>
                    <a:gd name="connsiteY24" fmla="*/ 23508 h 28535"/>
                    <a:gd name="connsiteX25" fmla="*/ 16709 w 19926"/>
                    <a:gd name="connsiteY25" fmla="*/ 25949 h 28535"/>
                    <a:gd name="connsiteX26" fmla="*/ 14936 w 19926"/>
                    <a:gd name="connsiteY26" fmla="*/ 26751 h 2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926" h="28535">
                      <a:moveTo>
                        <a:pt x="9824" y="28305"/>
                      </a:moveTo>
                      <a:lnTo>
                        <a:pt x="7747" y="28536"/>
                      </a:lnTo>
                      <a:lnTo>
                        <a:pt x="4882" y="27989"/>
                      </a:lnTo>
                      <a:lnTo>
                        <a:pt x="3218" y="26994"/>
                      </a:lnTo>
                      <a:lnTo>
                        <a:pt x="1882" y="25779"/>
                      </a:lnTo>
                      <a:lnTo>
                        <a:pt x="0" y="24650"/>
                      </a:lnTo>
                      <a:lnTo>
                        <a:pt x="1032" y="20291"/>
                      </a:lnTo>
                      <a:lnTo>
                        <a:pt x="1360" y="19344"/>
                      </a:lnTo>
                      <a:lnTo>
                        <a:pt x="2769" y="18409"/>
                      </a:lnTo>
                      <a:lnTo>
                        <a:pt x="5683" y="18165"/>
                      </a:lnTo>
                      <a:lnTo>
                        <a:pt x="7043" y="17449"/>
                      </a:lnTo>
                      <a:lnTo>
                        <a:pt x="8209" y="14814"/>
                      </a:lnTo>
                      <a:lnTo>
                        <a:pt x="7808" y="11621"/>
                      </a:lnTo>
                      <a:lnTo>
                        <a:pt x="6363" y="5841"/>
                      </a:lnTo>
                      <a:lnTo>
                        <a:pt x="7869" y="24"/>
                      </a:lnTo>
                      <a:lnTo>
                        <a:pt x="11378" y="0"/>
                      </a:lnTo>
                      <a:lnTo>
                        <a:pt x="15276" y="3351"/>
                      </a:lnTo>
                      <a:lnTo>
                        <a:pt x="18020" y="7662"/>
                      </a:lnTo>
                      <a:lnTo>
                        <a:pt x="19235" y="10212"/>
                      </a:lnTo>
                      <a:lnTo>
                        <a:pt x="18020" y="12446"/>
                      </a:lnTo>
                      <a:lnTo>
                        <a:pt x="16126" y="14948"/>
                      </a:lnTo>
                      <a:lnTo>
                        <a:pt x="15543" y="18165"/>
                      </a:lnTo>
                      <a:lnTo>
                        <a:pt x="17158" y="20655"/>
                      </a:lnTo>
                      <a:lnTo>
                        <a:pt x="19356" y="22100"/>
                      </a:lnTo>
                      <a:lnTo>
                        <a:pt x="19927" y="23508"/>
                      </a:lnTo>
                      <a:lnTo>
                        <a:pt x="16709" y="25949"/>
                      </a:lnTo>
                      <a:lnTo>
                        <a:pt x="14936" y="26751"/>
                      </a:lnTo>
                      <a:close/>
                    </a:path>
                  </a:pathLst>
                </a:custGeom>
                <a:solidFill>
                  <a:srgbClr val="D7D7D2"/>
                </a:solidFill>
                <a:ln w="12138" cap="flat">
                  <a:noFill/>
                  <a:prstDash val="solid"/>
                  <a:miter/>
                </a:ln>
              </p:spPr>
              <p:txBody>
                <a:bodyPr rtlCol="0" anchor="ctr"/>
                <a:lstStyle/>
                <a:p>
                  <a:endParaRPr lang="en-US"/>
                </a:p>
              </p:txBody>
            </p:sp>
            <p:sp>
              <p:nvSpPr>
                <p:cNvPr id="351" name="Freeform: Shape 350">
                  <a:extLst>
                    <a:ext uri="{FF2B5EF4-FFF2-40B4-BE49-F238E27FC236}">
                      <a16:creationId xmlns:a16="http://schemas.microsoft.com/office/drawing/2014/main" id="{F1DF315C-7DD9-4B71-8582-41047E3BC466}"/>
                    </a:ext>
                  </a:extLst>
                </p:cNvPr>
                <p:cNvSpPr/>
                <p:nvPr/>
              </p:nvSpPr>
              <p:spPr>
                <a:xfrm>
                  <a:off x="8010746" y="5672240"/>
                  <a:ext cx="22391" cy="26823"/>
                </a:xfrm>
                <a:custGeom>
                  <a:avLst/>
                  <a:gdLst>
                    <a:gd name="connsiteX0" fmla="*/ 22392 w 22391"/>
                    <a:gd name="connsiteY0" fmla="*/ 26265 h 26823"/>
                    <a:gd name="connsiteX1" fmla="*/ 19235 w 22391"/>
                    <a:gd name="connsiteY1" fmla="*/ 26824 h 26823"/>
                    <a:gd name="connsiteX2" fmla="*/ 16575 w 22391"/>
                    <a:gd name="connsiteY2" fmla="*/ 23837 h 26823"/>
                    <a:gd name="connsiteX3" fmla="*/ 14936 w 22391"/>
                    <a:gd name="connsiteY3" fmla="*/ 20060 h 26823"/>
                    <a:gd name="connsiteX4" fmla="*/ 14632 w 22391"/>
                    <a:gd name="connsiteY4" fmla="*/ 18458 h 26823"/>
                    <a:gd name="connsiteX5" fmla="*/ 12871 w 22391"/>
                    <a:gd name="connsiteY5" fmla="*/ 17340 h 26823"/>
                    <a:gd name="connsiteX6" fmla="*/ 10224 w 22391"/>
                    <a:gd name="connsiteY6" fmla="*/ 16745 h 26823"/>
                    <a:gd name="connsiteX7" fmla="*/ 8209 w 22391"/>
                    <a:gd name="connsiteY7" fmla="*/ 15737 h 26823"/>
                    <a:gd name="connsiteX8" fmla="*/ 6266 w 22391"/>
                    <a:gd name="connsiteY8" fmla="*/ 13977 h 26823"/>
                    <a:gd name="connsiteX9" fmla="*/ 5173 w 22391"/>
                    <a:gd name="connsiteY9" fmla="*/ 12337 h 26823"/>
                    <a:gd name="connsiteX10" fmla="*/ 3837 w 22391"/>
                    <a:gd name="connsiteY10" fmla="*/ 11147 h 26823"/>
                    <a:gd name="connsiteX11" fmla="*/ 1154 w 22391"/>
                    <a:gd name="connsiteY11" fmla="*/ 10650 h 26823"/>
                    <a:gd name="connsiteX12" fmla="*/ 0 w 22391"/>
                    <a:gd name="connsiteY12" fmla="*/ 9046 h 26823"/>
                    <a:gd name="connsiteX13" fmla="*/ 1943 w 22391"/>
                    <a:gd name="connsiteY13" fmla="*/ 5428 h 26823"/>
                    <a:gd name="connsiteX14" fmla="*/ 4772 w 22391"/>
                    <a:gd name="connsiteY14" fmla="*/ 1773 h 26823"/>
                    <a:gd name="connsiteX15" fmla="*/ 6363 w 22391"/>
                    <a:gd name="connsiteY15" fmla="*/ 170 h 26823"/>
                    <a:gd name="connsiteX16" fmla="*/ 12690 w 22391"/>
                    <a:gd name="connsiteY16" fmla="*/ 0 h 26823"/>
                    <a:gd name="connsiteX17" fmla="*/ 14681 w 22391"/>
                    <a:gd name="connsiteY17" fmla="*/ 1069 h 26823"/>
                    <a:gd name="connsiteX18" fmla="*/ 13442 w 22391"/>
                    <a:gd name="connsiteY18" fmla="*/ 4056 h 26823"/>
                    <a:gd name="connsiteX19" fmla="*/ 17510 w 22391"/>
                    <a:gd name="connsiteY19" fmla="*/ 12944 h 26823"/>
                    <a:gd name="connsiteX20" fmla="*/ 17923 w 22391"/>
                    <a:gd name="connsiteY20" fmla="*/ 14438 h 26823"/>
                    <a:gd name="connsiteX21" fmla="*/ 19065 w 22391"/>
                    <a:gd name="connsiteY21" fmla="*/ 16053 h 2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391" h="26823">
                      <a:moveTo>
                        <a:pt x="22392" y="26265"/>
                      </a:moveTo>
                      <a:lnTo>
                        <a:pt x="19235" y="26824"/>
                      </a:lnTo>
                      <a:lnTo>
                        <a:pt x="16575" y="23837"/>
                      </a:lnTo>
                      <a:lnTo>
                        <a:pt x="14936" y="20060"/>
                      </a:lnTo>
                      <a:lnTo>
                        <a:pt x="14632" y="18458"/>
                      </a:lnTo>
                      <a:lnTo>
                        <a:pt x="12871" y="17340"/>
                      </a:lnTo>
                      <a:lnTo>
                        <a:pt x="10224" y="16745"/>
                      </a:lnTo>
                      <a:lnTo>
                        <a:pt x="8209" y="15737"/>
                      </a:lnTo>
                      <a:lnTo>
                        <a:pt x="6266" y="13977"/>
                      </a:lnTo>
                      <a:lnTo>
                        <a:pt x="5173" y="12337"/>
                      </a:lnTo>
                      <a:lnTo>
                        <a:pt x="3837" y="11147"/>
                      </a:lnTo>
                      <a:lnTo>
                        <a:pt x="1154" y="10650"/>
                      </a:lnTo>
                      <a:lnTo>
                        <a:pt x="0" y="9046"/>
                      </a:lnTo>
                      <a:lnTo>
                        <a:pt x="1943" y="5428"/>
                      </a:lnTo>
                      <a:lnTo>
                        <a:pt x="4772" y="1773"/>
                      </a:lnTo>
                      <a:lnTo>
                        <a:pt x="6363" y="170"/>
                      </a:lnTo>
                      <a:lnTo>
                        <a:pt x="12690" y="0"/>
                      </a:lnTo>
                      <a:lnTo>
                        <a:pt x="14681" y="1069"/>
                      </a:lnTo>
                      <a:lnTo>
                        <a:pt x="13442" y="4056"/>
                      </a:lnTo>
                      <a:lnTo>
                        <a:pt x="17510" y="12944"/>
                      </a:lnTo>
                      <a:lnTo>
                        <a:pt x="17923" y="14438"/>
                      </a:lnTo>
                      <a:lnTo>
                        <a:pt x="19065" y="16053"/>
                      </a:lnTo>
                      <a:close/>
                    </a:path>
                  </a:pathLst>
                </a:custGeom>
                <a:solidFill>
                  <a:srgbClr val="D7D7D2"/>
                </a:solidFill>
                <a:ln w="12138" cap="flat">
                  <a:noFill/>
                  <a:prstDash val="solid"/>
                  <a:miter/>
                </a:ln>
              </p:spPr>
              <p:txBody>
                <a:bodyPr rtlCol="0" anchor="ctr"/>
                <a:lstStyle/>
                <a:p>
                  <a:endParaRPr lang="en-US"/>
                </a:p>
              </p:txBody>
            </p:sp>
            <p:sp>
              <p:nvSpPr>
                <p:cNvPr id="352" name="Freeform: Shape 351">
                  <a:extLst>
                    <a:ext uri="{FF2B5EF4-FFF2-40B4-BE49-F238E27FC236}">
                      <a16:creationId xmlns:a16="http://schemas.microsoft.com/office/drawing/2014/main" id="{1518A378-C73D-42C1-82EF-A1CD227259A9}"/>
                    </a:ext>
                  </a:extLst>
                </p:cNvPr>
                <p:cNvSpPr/>
                <p:nvPr/>
              </p:nvSpPr>
              <p:spPr>
                <a:xfrm>
                  <a:off x="7958835" y="5491019"/>
                  <a:ext cx="12640" cy="36489"/>
                </a:xfrm>
                <a:custGeom>
                  <a:avLst/>
                  <a:gdLst>
                    <a:gd name="connsiteX0" fmla="*/ 4602 w 12640"/>
                    <a:gd name="connsiteY0" fmla="*/ 35251 h 36489"/>
                    <a:gd name="connsiteX1" fmla="*/ 2356 w 12640"/>
                    <a:gd name="connsiteY1" fmla="*/ 36489 h 36489"/>
                    <a:gd name="connsiteX2" fmla="*/ 0 w 12640"/>
                    <a:gd name="connsiteY2" fmla="*/ 23047 h 36489"/>
                    <a:gd name="connsiteX3" fmla="*/ 522 w 12640"/>
                    <a:gd name="connsiteY3" fmla="*/ 20983 h 36489"/>
                    <a:gd name="connsiteX4" fmla="*/ 1445 w 12640"/>
                    <a:gd name="connsiteY4" fmla="*/ 18748 h 36489"/>
                    <a:gd name="connsiteX5" fmla="*/ 2744 w 12640"/>
                    <a:gd name="connsiteY5" fmla="*/ 8318 h 36489"/>
                    <a:gd name="connsiteX6" fmla="*/ 2356 w 12640"/>
                    <a:gd name="connsiteY6" fmla="*/ 5136 h 36489"/>
                    <a:gd name="connsiteX7" fmla="*/ 4651 w 12640"/>
                    <a:gd name="connsiteY7" fmla="*/ 2890 h 36489"/>
                    <a:gd name="connsiteX8" fmla="*/ 6035 w 12640"/>
                    <a:gd name="connsiteY8" fmla="*/ 1068 h 36489"/>
                    <a:gd name="connsiteX9" fmla="*/ 7177 w 12640"/>
                    <a:gd name="connsiteY9" fmla="*/ 0 h 36489"/>
                    <a:gd name="connsiteX10" fmla="*/ 8779 w 12640"/>
                    <a:gd name="connsiteY10" fmla="*/ 24 h 36489"/>
                    <a:gd name="connsiteX11" fmla="*/ 9799 w 12640"/>
                    <a:gd name="connsiteY11" fmla="*/ 546 h 36489"/>
                    <a:gd name="connsiteX12" fmla="*/ 10686 w 12640"/>
                    <a:gd name="connsiteY12" fmla="*/ 1263 h 36489"/>
                    <a:gd name="connsiteX13" fmla="*/ 11354 w 12640"/>
                    <a:gd name="connsiteY13" fmla="*/ 2125 h 36489"/>
                    <a:gd name="connsiteX14" fmla="*/ 11815 w 12640"/>
                    <a:gd name="connsiteY14" fmla="*/ 3072 h 36489"/>
                    <a:gd name="connsiteX15" fmla="*/ 12641 w 12640"/>
                    <a:gd name="connsiteY15" fmla="*/ 5136 h 36489"/>
                    <a:gd name="connsiteX16" fmla="*/ 11669 w 12640"/>
                    <a:gd name="connsiteY16" fmla="*/ 8184 h 36489"/>
                    <a:gd name="connsiteX17" fmla="*/ 11208 w 12640"/>
                    <a:gd name="connsiteY17" fmla="*/ 17826 h 36489"/>
                    <a:gd name="connsiteX18" fmla="*/ 10176 w 12640"/>
                    <a:gd name="connsiteY18" fmla="*/ 22161 h 36489"/>
                    <a:gd name="connsiteX19" fmla="*/ 8889 w 12640"/>
                    <a:gd name="connsiteY19" fmla="*/ 24116 h 36489"/>
                    <a:gd name="connsiteX20" fmla="*/ 5914 w 12640"/>
                    <a:gd name="connsiteY20" fmla="*/ 27516 h 36489"/>
                    <a:gd name="connsiteX21" fmla="*/ 5064 w 12640"/>
                    <a:gd name="connsiteY21" fmla="*/ 28682 h 36489"/>
                    <a:gd name="connsiteX22" fmla="*/ 4651 w 12640"/>
                    <a:gd name="connsiteY22" fmla="*/ 31171 h 36489"/>
                    <a:gd name="connsiteX23" fmla="*/ 4942 w 12640"/>
                    <a:gd name="connsiteY23" fmla="*/ 33417 h 36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640" h="36489">
                      <a:moveTo>
                        <a:pt x="4602" y="35251"/>
                      </a:moveTo>
                      <a:lnTo>
                        <a:pt x="2356" y="36489"/>
                      </a:lnTo>
                      <a:lnTo>
                        <a:pt x="0" y="23047"/>
                      </a:lnTo>
                      <a:lnTo>
                        <a:pt x="522" y="20983"/>
                      </a:lnTo>
                      <a:lnTo>
                        <a:pt x="1445" y="18748"/>
                      </a:lnTo>
                      <a:lnTo>
                        <a:pt x="2744" y="8318"/>
                      </a:lnTo>
                      <a:lnTo>
                        <a:pt x="2356" y="5136"/>
                      </a:lnTo>
                      <a:lnTo>
                        <a:pt x="4651" y="2890"/>
                      </a:lnTo>
                      <a:lnTo>
                        <a:pt x="6035" y="1068"/>
                      </a:lnTo>
                      <a:lnTo>
                        <a:pt x="7177" y="0"/>
                      </a:lnTo>
                      <a:lnTo>
                        <a:pt x="8779" y="24"/>
                      </a:lnTo>
                      <a:lnTo>
                        <a:pt x="9799" y="546"/>
                      </a:lnTo>
                      <a:lnTo>
                        <a:pt x="10686" y="1263"/>
                      </a:lnTo>
                      <a:lnTo>
                        <a:pt x="11354" y="2125"/>
                      </a:lnTo>
                      <a:lnTo>
                        <a:pt x="11815" y="3072"/>
                      </a:lnTo>
                      <a:lnTo>
                        <a:pt x="12641" y="5136"/>
                      </a:lnTo>
                      <a:lnTo>
                        <a:pt x="11669" y="8184"/>
                      </a:lnTo>
                      <a:lnTo>
                        <a:pt x="11208" y="17826"/>
                      </a:lnTo>
                      <a:lnTo>
                        <a:pt x="10176" y="22161"/>
                      </a:lnTo>
                      <a:lnTo>
                        <a:pt x="8889" y="24116"/>
                      </a:lnTo>
                      <a:lnTo>
                        <a:pt x="5914" y="27516"/>
                      </a:lnTo>
                      <a:lnTo>
                        <a:pt x="5064" y="28682"/>
                      </a:lnTo>
                      <a:lnTo>
                        <a:pt x="4651" y="31171"/>
                      </a:lnTo>
                      <a:lnTo>
                        <a:pt x="4942" y="33417"/>
                      </a:lnTo>
                      <a:close/>
                    </a:path>
                  </a:pathLst>
                </a:custGeom>
                <a:solidFill>
                  <a:srgbClr val="D7D7D2"/>
                </a:solidFill>
                <a:ln w="12138" cap="flat">
                  <a:noFill/>
                  <a:prstDash val="solid"/>
                  <a:miter/>
                </a:ln>
              </p:spPr>
              <p:txBody>
                <a:bodyPr rtlCol="0" anchor="ctr"/>
                <a:lstStyle/>
                <a:p>
                  <a:endParaRPr lang="en-US"/>
                </a:p>
              </p:txBody>
            </p:sp>
            <p:sp>
              <p:nvSpPr>
                <p:cNvPr id="353" name="Freeform: Shape 352">
                  <a:extLst>
                    <a:ext uri="{FF2B5EF4-FFF2-40B4-BE49-F238E27FC236}">
                      <a16:creationId xmlns:a16="http://schemas.microsoft.com/office/drawing/2014/main" id="{509D8E13-03F7-4A56-A378-63F814B09C15}"/>
                    </a:ext>
                  </a:extLst>
                </p:cNvPr>
                <p:cNvSpPr/>
                <p:nvPr/>
              </p:nvSpPr>
              <p:spPr>
                <a:xfrm>
                  <a:off x="7931611" y="5378526"/>
                  <a:ext cx="104125" cy="396904"/>
                </a:xfrm>
                <a:custGeom>
                  <a:avLst/>
                  <a:gdLst>
                    <a:gd name="connsiteX0" fmla="*/ 92153 w 104125"/>
                    <a:gd name="connsiteY0" fmla="*/ 2064 h 396904"/>
                    <a:gd name="connsiteX1" fmla="*/ 93379 w 104125"/>
                    <a:gd name="connsiteY1" fmla="*/ 2307 h 396904"/>
                    <a:gd name="connsiteX2" fmla="*/ 95043 w 104125"/>
                    <a:gd name="connsiteY2" fmla="*/ 1724 h 396904"/>
                    <a:gd name="connsiteX3" fmla="*/ 97059 w 104125"/>
                    <a:gd name="connsiteY3" fmla="*/ 1324 h 396904"/>
                    <a:gd name="connsiteX4" fmla="*/ 98492 w 104125"/>
                    <a:gd name="connsiteY4" fmla="*/ 2246 h 396904"/>
                    <a:gd name="connsiteX5" fmla="*/ 101527 w 104125"/>
                    <a:gd name="connsiteY5" fmla="*/ 7844 h 396904"/>
                    <a:gd name="connsiteX6" fmla="*/ 99402 w 104125"/>
                    <a:gd name="connsiteY6" fmla="*/ 14329 h 396904"/>
                    <a:gd name="connsiteX7" fmla="*/ 99172 w 104125"/>
                    <a:gd name="connsiteY7" fmla="*/ 20388 h 396904"/>
                    <a:gd name="connsiteX8" fmla="*/ 100252 w 104125"/>
                    <a:gd name="connsiteY8" fmla="*/ 32713 h 396904"/>
                    <a:gd name="connsiteX9" fmla="*/ 101139 w 104125"/>
                    <a:gd name="connsiteY9" fmla="*/ 32349 h 396904"/>
                    <a:gd name="connsiteX10" fmla="*/ 103252 w 104125"/>
                    <a:gd name="connsiteY10" fmla="*/ 31899 h 396904"/>
                    <a:gd name="connsiteX11" fmla="*/ 104126 w 104125"/>
                    <a:gd name="connsiteY11" fmla="*/ 31523 h 396904"/>
                    <a:gd name="connsiteX12" fmla="*/ 103762 w 104125"/>
                    <a:gd name="connsiteY12" fmla="*/ 34571 h 396904"/>
                    <a:gd name="connsiteX13" fmla="*/ 99973 w 104125"/>
                    <a:gd name="connsiteY13" fmla="*/ 37267 h 396904"/>
                    <a:gd name="connsiteX14" fmla="*/ 99002 w 104125"/>
                    <a:gd name="connsiteY14" fmla="*/ 39938 h 396904"/>
                    <a:gd name="connsiteX15" fmla="*/ 97921 w 104125"/>
                    <a:gd name="connsiteY15" fmla="*/ 42148 h 396904"/>
                    <a:gd name="connsiteX16" fmla="*/ 95383 w 104125"/>
                    <a:gd name="connsiteY16" fmla="*/ 43848 h 396904"/>
                    <a:gd name="connsiteX17" fmla="*/ 92347 w 104125"/>
                    <a:gd name="connsiteY17" fmla="*/ 45366 h 396904"/>
                    <a:gd name="connsiteX18" fmla="*/ 89882 w 104125"/>
                    <a:gd name="connsiteY18" fmla="*/ 47175 h 396904"/>
                    <a:gd name="connsiteX19" fmla="*/ 89761 w 104125"/>
                    <a:gd name="connsiteY19" fmla="*/ 43812 h 396904"/>
                    <a:gd name="connsiteX20" fmla="*/ 88194 w 104125"/>
                    <a:gd name="connsiteY20" fmla="*/ 42148 h 396904"/>
                    <a:gd name="connsiteX21" fmla="*/ 86130 w 104125"/>
                    <a:gd name="connsiteY21" fmla="*/ 42318 h 396904"/>
                    <a:gd name="connsiteX22" fmla="*/ 84819 w 104125"/>
                    <a:gd name="connsiteY22" fmla="*/ 44443 h 396904"/>
                    <a:gd name="connsiteX23" fmla="*/ 85207 w 104125"/>
                    <a:gd name="connsiteY23" fmla="*/ 47406 h 396904"/>
                    <a:gd name="connsiteX24" fmla="*/ 87284 w 104125"/>
                    <a:gd name="connsiteY24" fmla="*/ 49701 h 396904"/>
                    <a:gd name="connsiteX25" fmla="*/ 89931 w 104125"/>
                    <a:gd name="connsiteY25" fmla="*/ 50854 h 396904"/>
                    <a:gd name="connsiteX26" fmla="*/ 93889 w 104125"/>
                    <a:gd name="connsiteY26" fmla="*/ 50004 h 396904"/>
                    <a:gd name="connsiteX27" fmla="*/ 95771 w 104125"/>
                    <a:gd name="connsiteY27" fmla="*/ 51765 h 396904"/>
                    <a:gd name="connsiteX28" fmla="*/ 99002 w 104125"/>
                    <a:gd name="connsiteY28" fmla="*/ 56185 h 396904"/>
                    <a:gd name="connsiteX29" fmla="*/ 103300 w 104125"/>
                    <a:gd name="connsiteY29" fmla="*/ 59003 h 396904"/>
                    <a:gd name="connsiteX30" fmla="*/ 104004 w 104125"/>
                    <a:gd name="connsiteY30" fmla="*/ 60751 h 396904"/>
                    <a:gd name="connsiteX31" fmla="*/ 99742 w 104125"/>
                    <a:gd name="connsiteY31" fmla="*/ 67442 h 396904"/>
                    <a:gd name="connsiteX32" fmla="*/ 98953 w 104125"/>
                    <a:gd name="connsiteY32" fmla="*/ 72748 h 396904"/>
                    <a:gd name="connsiteX33" fmla="*/ 99002 w 104125"/>
                    <a:gd name="connsiteY33" fmla="*/ 84952 h 396904"/>
                    <a:gd name="connsiteX34" fmla="*/ 98151 w 104125"/>
                    <a:gd name="connsiteY34" fmla="*/ 90550 h 396904"/>
                    <a:gd name="connsiteX35" fmla="*/ 96027 w 104125"/>
                    <a:gd name="connsiteY35" fmla="*/ 98479 h 396904"/>
                    <a:gd name="connsiteX36" fmla="*/ 92736 w 104125"/>
                    <a:gd name="connsiteY36" fmla="*/ 103907 h 396904"/>
                    <a:gd name="connsiteX37" fmla="*/ 88704 w 104125"/>
                    <a:gd name="connsiteY37" fmla="*/ 102013 h 396904"/>
                    <a:gd name="connsiteX38" fmla="*/ 87344 w 104125"/>
                    <a:gd name="connsiteY38" fmla="*/ 102013 h 396904"/>
                    <a:gd name="connsiteX39" fmla="*/ 86579 w 104125"/>
                    <a:gd name="connsiteY39" fmla="*/ 103907 h 396904"/>
                    <a:gd name="connsiteX40" fmla="*/ 85207 w 104125"/>
                    <a:gd name="connsiteY40" fmla="*/ 104708 h 396904"/>
                    <a:gd name="connsiteX41" fmla="*/ 83592 w 104125"/>
                    <a:gd name="connsiteY41" fmla="*/ 104490 h 396904"/>
                    <a:gd name="connsiteX42" fmla="*/ 82354 w 104125"/>
                    <a:gd name="connsiteY42" fmla="*/ 103312 h 396904"/>
                    <a:gd name="connsiteX43" fmla="*/ 81831 w 104125"/>
                    <a:gd name="connsiteY43" fmla="*/ 101138 h 396904"/>
                    <a:gd name="connsiteX44" fmla="*/ 82815 w 104125"/>
                    <a:gd name="connsiteY44" fmla="*/ 96548 h 396904"/>
                    <a:gd name="connsiteX45" fmla="*/ 82354 w 104125"/>
                    <a:gd name="connsiteY45" fmla="*/ 94169 h 396904"/>
                    <a:gd name="connsiteX46" fmla="*/ 80969 w 104125"/>
                    <a:gd name="connsiteY46" fmla="*/ 94169 h 396904"/>
                    <a:gd name="connsiteX47" fmla="*/ 80969 w 104125"/>
                    <a:gd name="connsiteY47" fmla="*/ 98103 h 396904"/>
                    <a:gd name="connsiteX48" fmla="*/ 77302 w 104125"/>
                    <a:gd name="connsiteY48" fmla="*/ 97520 h 396904"/>
                    <a:gd name="connsiteX49" fmla="*/ 75748 w 104125"/>
                    <a:gd name="connsiteY49" fmla="*/ 100750 h 396904"/>
                    <a:gd name="connsiteX50" fmla="*/ 75699 w 104125"/>
                    <a:gd name="connsiteY50" fmla="*/ 105085 h 396904"/>
                    <a:gd name="connsiteX51" fmla="*/ 76440 w 104125"/>
                    <a:gd name="connsiteY51" fmla="*/ 107841 h 396904"/>
                    <a:gd name="connsiteX52" fmla="*/ 79828 w 104125"/>
                    <a:gd name="connsiteY52" fmla="*/ 111545 h 396904"/>
                    <a:gd name="connsiteX53" fmla="*/ 80921 w 104125"/>
                    <a:gd name="connsiteY53" fmla="*/ 113804 h 396904"/>
                    <a:gd name="connsiteX54" fmla="*/ 80228 w 104125"/>
                    <a:gd name="connsiteY54" fmla="*/ 115904 h 396904"/>
                    <a:gd name="connsiteX55" fmla="*/ 78395 w 104125"/>
                    <a:gd name="connsiteY55" fmla="*/ 119037 h 396904"/>
                    <a:gd name="connsiteX56" fmla="*/ 77120 w 104125"/>
                    <a:gd name="connsiteY56" fmla="*/ 119037 h 396904"/>
                    <a:gd name="connsiteX57" fmla="*/ 76841 w 104125"/>
                    <a:gd name="connsiteY57" fmla="*/ 115479 h 396904"/>
                    <a:gd name="connsiteX58" fmla="*/ 75456 w 104125"/>
                    <a:gd name="connsiteY58" fmla="*/ 113949 h 396904"/>
                    <a:gd name="connsiteX59" fmla="*/ 73441 w 104125"/>
                    <a:gd name="connsiteY59" fmla="*/ 113646 h 396904"/>
                    <a:gd name="connsiteX60" fmla="*/ 71328 w 104125"/>
                    <a:gd name="connsiteY60" fmla="*/ 113718 h 396904"/>
                    <a:gd name="connsiteX61" fmla="*/ 70818 w 104125"/>
                    <a:gd name="connsiteY61" fmla="*/ 115273 h 396904"/>
                    <a:gd name="connsiteX62" fmla="*/ 66738 w 104125"/>
                    <a:gd name="connsiteY62" fmla="*/ 123603 h 396904"/>
                    <a:gd name="connsiteX63" fmla="*/ 66434 w 104125"/>
                    <a:gd name="connsiteY63" fmla="*/ 125206 h 396904"/>
                    <a:gd name="connsiteX64" fmla="*/ 65863 w 104125"/>
                    <a:gd name="connsiteY64" fmla="*/ 126213 h 396904"/>
                    <a:gd name="connsiteX65" fmla="*/ 65973 w 104125"/>
                    <a:gd name="connsiteY65" fmla="*/ 127197 h 396904"/>
                    <a:gd name="connsiteX66" fmla="*/ 67405 w 104125"/>
                    <a:gd name="connsiteY66" fmla="*/ 128739 h 396904"/>
                    <a:gd name="connsiteX67" fmla="*/ 69664 w 104125"/>
                    <a:gd name="connsiteY67" fmla="*/ 129456 h 396904"/>
                    <a:gd name="connsiteX68" fmla="*/ 71376 w 104125"/>
                    <a:gd name="connsiteY68" fmla="*/ 128253 h 396904"/>
                    <a:gd name="connsiteX69" fmla="*/ 73283 w 104125"/>
                    <a:gd name="connsiteY69" fmla="*/ 125667 h 396904"/>
                    <a:gd name="connsiteX70" fmla="*/ 74946 w 104125"/>
                    <a:gd name="connsiteY70" fmla="*/ 126639 h 396904"/>
                    <a:gd name="connsiteX71" fmla="*/ 75638 w 104125"/>
                    <a:gd name="connsiteY71" fmla="*/ 128375 h 396904"/>
                    <a:gd name="connsiteX72" fmla="*/ 75918 w 104125"/>
                    <a:gd name="connsiteY72" fmla="*/ 130027 h 396904"/>
                    <a:gd name="connsiteX73" fmla="*/ 76440 w 104125"/>
                    <a:gd name="connsiteY73" fmla="*/ 130755 h 396904"/>
                    <a:gd name="connsiteX74" fmla="*/ 77982 w 104125"/>
                    <a:gd name="connsiteY74" fmla="*/ 131435 h 396904"/>
                    <a:gd name="connsiteX75" fmla="*/ 82354 w 104125"/>
                    <a:gd name="connsiteY75" fmla="*/ 136086 h 396904"/>
                    <a:gd name="connsiteX76" fmla="*/ 81722 w 104125"/>
                    <a:gd name="connsiteY76" fmla="*/ 139486 h 396904"/>
                    <a:gd name="connsiteX77" fmla="*/ 82693 w 104125"/>
                    <a:gd name="connsiteY77" fmla="*/ 143578 h 396904"/>
                    <a:gd name="connsiteX78" fmla="*/ 83082 w 104125"/>
                    <a:gd name="connsiteY78" fmla="*/ 147865 h 396904"/>
                    <a:gd name="connsiteX79" fmla="*/ 80969 w 104125"/>
                    <a:gd name="connsiteY79" fmla="*/ 151677 h 396904"/>
                    <a:gd name="connsiteX80" fmla="*/ 84053 w 104125"/>
                    <a:gd name="connsiteY80" fmla="*/ 155235 h 396904"/>
                    <a:gd name="connsiteX81" fmla="*/ 86130 w 104125"/>
                    <a:gd name="connsiteY81" fmla="*/ 158915 h 396904"/>
                    <a:gd name="connsiteX82" fmla="*/ 87284 w 104125"/>
                    <a:gd name="connsiteY82" fmla="*/ 162873 h 396904"/>
                    <a:gd name="connsiteX83" fmla="*/ 87344 w 104125"/>
                    <a:gd name="connsiteY83" fmla="*/ 167305 h 396904"/>
                    <a:gd name="connsiteX84" fmla="*/ 84770 w 104125"/>
                    <a:gd name="connsiteY84" fmla="*/ 176109 h 396904"/>
                    <a:gd name="connsiteX85" fmla="*/ 84017 w 104125"/>
                    <a:gd name="connsiteY85" fmla="*/ 181197 h 396904"/>
                    <a:gd name="connsiteX86" fmla="*/ 87053 w 104125"/>
                    <a:gd name="connsiteY86" fmla="*/ 188070 h 396904"/>
                    <a:gd name="connsiteX87" fmla="*/ 87526 w 104125"/>
                    <a:gd name="connsiteY87" fmla="*/ 192866 h 396904"/>
                    <a:gd name="connsiteX88" fmla="*/ 87344 w 104125"/>
                    <a:gd name="connsiteY88" fmla="*/ 201949 h 396904"/>
                    <a:gd name="connsiteX89" fmla="*/ 85668 w 104125"/>
                    <a:gd name="connsiteY89" fmla="*/ 204451 h 396904"/>
                    <a:gd name="connsiteX90" fmla="*/ 82524 w 104125"/>
                    <a:gd name="connsiteY90" fmla="*/ 207316 h 396904"/>
                    <a:gd name="connsiteX91" fmla="*/ 80811 w 104125"/>
                    <a:gd name="connsiteY91" fmla="*/ 209903 h 396904"/>
                    <a:gd name="connsiteX92" fmla="*/ 83495 w 104125"/>
                    <a:gd name="connsiteY92" fmla="*/ 211651 h 396904"/>
                    <a:gd name="connsiteX93" fmla="*/ 82050 w 104125"/>
                    <a:gd name="connsiteY93" fmla="*/ 214298 h 396904"/>
                    <a:gd name="connsiteX94" fmla="*/ 79634 w 104125"/>
                    <a:gd name="connsiteY94" fmla="*/ 215707 h 396904"/>
                    <a:gd name="connsiteX95" fmla="*/ 77569 w 104125"/>
                    <a:gd name="connsiteY95" fmla="*/ 217407 h 396904"/>
                    <a:gd name="connsiteX96" fmla="*/ 77120 w 104125"/>
                    <a:gd name="connsiteY96" fmla="*/ 220880 h 396904"/>
                    <a:gd name="connsiteX97" fmla="*/ 75809 w 104125"/>
                    <a:gd name="connsiteY97" fmla="*/ 220880 h 396904"/>
                    <a:gd name="connsiteX98" fmla="*/ 74837 w 104125"/>
                    <a:gd name="connsiteY98" fmla="*/ 218743 h 396904"/>
                    <a:gd name="connsiteX99" fmla="*/ 73343 w 104125"/>
                    <a:gd name="connsiteY99" fmla="*/ 216885 h 396904"/>
                    <a:gd name="connsiteX100" fmla="*/ 71485 w 104125"/>
                    <a:gd name="connsiteY100" fmla="*/ 215331 h 396904"/>
                    <a:gd name="connsiteX101" fmla="*/ 69421 w 104125"/>
                    <a:gd name="connsiteY101" fmla="*/ 214250 h 396904"/>
                    <a:gd name="connsiteX102" fmla="*/ 69786 w 104125"/>
                    <a:gd name="connsiteY102" fmla="*/ 215161 h 396904"/>
                    <a:gd name="connsiteX103" fmla="*/ 70696 w 104125"/>
                    <a:gd name="connsiteY103" fmla="*/ 218257 h 396904"/>
                    <a:gd name="connsiteX104" fmla="*/ 65341 w 104125"/>
                    <a:gd name="connsiteY104" fmla="*/ 218694 h 396904"/>
                    <a:gd name="connsiteX105" fmla="*/ 60338 w 104125"/>
                    <a:gd name="connsiteY105" fmla="*/ 218257 h 396904"/>
                    <a:gd name="connsiteX106" fmla="*/ 60338 w 104125"/>
                    <a:gd name="connsiteY106" fmla="*/ 219435 h 396904"/>
                    <a:gd name="connsiteX107" fmla="*/ 61626 w 104125"/>
                    <a:gd name="connsiteY107" fmla="*/ 221451 h 396904"/>
                    <a:gd name="connsiteX108" fmla="*/ 63520 w 104125"/>
                    <a:gd name="connsiteY108" fmla="*/ 227425 h 396904"/>
                    <a:gd name="connsiteX109" fmla="*/ 64880 w 104125"/>
                    <a:gd name="connsiteY109" fmla="*/ 228676 h 396904"/>
                    <a:gd name="connsiteX110" fmla="*/ 66944 w 104125"/>
                    <a:gd name="connsiteY110" fmla="*/ 229222 h 396904"/>
                    <a:gd name="connsiteX111" fmla="*/ 69203 w 104125"/>
                    <a:gd name="connsiteY111" fmla="*/ 230716 h 396904"/>
                    <a:gd name="connsiteX112" fmla="*/ 70818 w 104125"/>
                    <a:gd name="connsiteY112" fmla="*/ 232828 h 396904"/>
                    <a:gd name="connsiteX113" fmla="*/ 70696 w 104125"/>
                    <a:gd name="connsiteY113" fmla="*/ 235160 h 396904"/>
                    <a:gd name="connsiteX114" fmla="*/ 73161 w 104125"/>
                    <a:gd name="connsiteY114" fmla="*/ 236362 h 396904"/>
                    <a:gd name="connsiteX115" fmla="*/ 72773 w 104125"/>
                    <a:gd name="connsiteY115" fmla="*/ 237297 h 396904"/>
                    <a:gd name="connsiteX116" fmla="*/ 70915 w 104125"/>
                    <a:gd name="connsiteY116" fmla="*/ 238160 h 396904"/>
                    <a:gd name="connsiteX117" fmla="*/ 69421 w 104125"/>
                    <a:gd name="connsiteY117" fmla="*/ 239192 h 396904"/>
                    <a:gd name="connsiteX118" fmla="*/ 67770 w 104125"/>
                    <a:gd name="connsiteY118" fmla="*/ 240685 h 396904"/>
                    <a:gd name="connsiteX119" fmla="*/ 66786 w 104125"/>
                    <a:gd name="connsiteY119" fmla="*/ 240916 h 396904"/>
                    <a:gd name="connsiteX120" fmla="*/ 66434 w 104125"/>
                    <a:gd name="connsiteY120" fmla="*/ 241232 h 396904"/>
                    <a:gd name="connsiteX121" fmla="*/ 66738 w 104125"/>
                    <a:gd name="connsiteY121" fmla="*/ 242956 h 396904"/>
                    <a:gd name="connsiteX122" fmla="*/ 67648 w 104125"/>
                    <a:gd name="connsiteY122" fmla="*/ 244534 h 396904"/>
                    <a:gd name="connsiteX123" fmla="*/ 69093 w 104125"/>
                    <a:gd name="connsiteY123" fmla="*/ 245542 h 396904"/>
                    <a:gd name="connsiteX124" fmla="*/ 70344 w 104125"/>
                    <a:gd name="connsiteY124" fmla="*/ 246878 h 396904"/>
                    <a:gd name="connsiteX125" fmla="*/ 70696 w 104125"/>
                    <a:gd name="connsiteY125" fmla="*/ 249586 h 396904"/>
                    <a:gd name="connsiteX126" fmla="*/ 69664 w 104125"/>
                    <a:gd name="connsiteY126" fmla="*/ 250994 h 396904"/>
                    <a:gd name="connsiteX127" fmla="*/ 67770 w 104125"/>
                    <a:gd name="connsiteY127" fmla="*/ 252573 h 396904"/>
                    <a:gd name="connsiteX128" fmla="*/ 66568 w 104125"/>
                    <a:gd name="connsiteY128" fmla="*/ 254431 h 396904"/>
                    <a:gd name="connsiteX129" fmla="*/ 67405 w 104125"/>
                    <a:gd name="connsiteY129" fmla="*/ 256677 h 396904"/>
                    <a:gd name="connsiteX130" fmla="*/ 68231 w 104125"/>
                    <a:gd name="connsiteY130" fmla="*/ 257964 h 396904"/>
                    <a:gd name="connsiteX131" fmla="*/ 68960 w 104125"/>
                    <a:gd name="connsiteY131" fmla="*/ 259944 h 396904"/>
                    <a:gd name="connsiteX132" fmla="*/ 69263 w 104125"/>
                    <a:gd name="connsiteY132" fmla="*/ 261765 h 396904"/>
                    <a:gd name="connsiteX133" fmla="*/ 68754 w 104125"/>
                    <a:gd name="connsiteY133" fmla="*/ 262555 h 396904"/>
                    <a:gd name="connsiteX134" fmla="*/ 65183 w 104125"/>
                    <a:gd name="connsiteY134" fmla="*/ 262457 h 396904"/>
                    <a:gd name="connsiteX135" fmla="*/ 65584 w 104125"/>
                    <a:gd name="connsiteY135" fmla="*/ 265833 h 396904"/>
                    <a:gd name="connsiteX136" fmla="*/ 63581 w 104125"/>
                    <a:gd name="connsiteY136" fmla="*/ 268128 h 396904"/>
                    <a:gd name="connsiteX137" fmla="*/ 59670 w 104125"/>
                    <a:gd name="connsiteY137" fmla="*/ 271067 h 396904"/>
                    <a:gd name="connsiteX138" fmla="*/ 56732 w 104125"/>
                    <a:gd name="connsiteY138" fmla="*/ 274127 h 396904"/>
                    <a:gd name="connsiteX139" fmla="*/ 57885 w 104125"/>
                    <a:gd name="connsiteY139" fmla="*/ 276859 h 396904"/>
                    <a:gd name="connsiteX140" fmla="*/ 57885 w 104125"/>
                    <a:gd name="connsiteY140" fmla="*/ 278292 h 396904"/>
                    <a:gd name="connsiteX141" fmla="*/ 56453 w 104125"/>
                    <a:gd name="connsiteY141" fmla="*/ 278778 h 396904"/>
                    <a:gd name="connsiteX142" fmla="*/ 52761 w 104125"/>
                    <a:gd name="connsiteY142" fmla="*/ 280878 h 396904"/>
                    <a:gd name="connsiteX143" fmla="*/ 53222 w 104125"/>
                    <a:gd name="connsiteY143" fmla="*/ 282578 h 396904"/>
                    <a:gd name="connsiteX144" fmla="*/ 51462 w 104125"/>
                    <a:gd name="connsiteY144" fmla="*/ 283744 h 396904"/>
                    <a:gd name="connsiteX145" fmla="*/ 48584 w 104125"/>
                    <a:gd name="connsiteY145" fmla="*/ 284436 h 396904"/>
                    <a:gd name="connsiteX146" fmla="*/ 45706 w 104125"/>
                    <a:gd name="connsiteY146" fmla="*/ 284667 h 396904"/>
                    <a:gd name="connsiteX147" fmla="*/ 43581 w 104125"/>
                    <a:gd name="connsiteY147" fmla="*/ 286051 h 396904"/>
                    <a:gd name="connsiteX148" fmla="*/ 45427 w 104125"/>
                    <a:gd name="connsiteY148" fmla="*/ 289147 h 396904"/>
                    <a:gd name="connsiteX149" fmla="*/ 50187 w 104125"/>
                    <a:gd name="connsiteY149" fmla="*/ 293883 h 396904"/>
                    <a:gd name="connsiteX150" fmla="*/ 48026 w 104125"/>
                    <a:gd name="connsiteY150" fmla="*/ 293604 h 396904"/>
                    <a:gd name="connsiteX151" fmla="*/ 46155 w 104125"/>
                    <a:gd name="connsiteY151" fmla="*/ 293907 h 396904"/>
                    <a:gd name="connsiteX152" fmla="*/ 44795 w 104125"/>
                    <a:gd name="connsiteY152" fmla="*/ 294879 h 396904"/>
                    <a:gd name="connsiteX153" fmla="*/ 43824 w 104125"/>
                    <a:gd name="connsiteY153" fmla="*/ 296591 h 396904"/>
                    <a:gd name="connsiteX154" fmla="*/ 45075 w 104125"/>
                    <a:gd name="connsiteY154" fmla="*/ 296591 h 396904"/>
                    <a:gd name="connsiteX155" fmla="*/ 41407 w 104125"/>
                    <a:gd name="connsiteY155" fmla="*/ 301412 h 396904"/>
                    <a:gd name="connsiteX156" fmla="*/ 40436 w 104125"/>
                    <a:gd name="connsiteY156" fmla="*/ 303913 h 396904"/>
                    <a:gd name="connsiteX157" fmla="*/ 39866 w 104125"/>
                    <a:gd name="connsiteY157" fmla="*/ 308151 h 396904"/>
                    <a:gd name="connsiteX158" fmla="*/ 39866 w 104125"/>
                    <a:gd name="connsiteY158" fmla="*/ 323852 h 396904"/>
                    <a:gd name="connsiteX159" fmla="*/ 41237 w 104125"/>
                    <a:gd name="connsiteY159" fmla="*/ 323852 h 396904"/>
                    <a:gd name="connsiteX160" fmla="*/ 42039 w 104125"/>
                    <a:gd name="connsiteY160" fmla="*/ 317453 h 396904"/>
                    <a:gd name="connsiteX161" fmla="*/ 42901 w 104125"/>
                    <a:gd name="connsiteY161" fmla="*/ 313773 h 396904"/>
                    <a:gd name="connsiteX162" fmla="*/ 44455 w 104125"/>
                    <a:gd name="connsiteY162" fmla="*/ 312171 h 396904"/>
                    <a:gd name="connsiteX163" fmla="*/ 47139 w 104125"/>
                    <a:gd name="connsiteY163" fmla="*/ 312340 h 396904"/>
                    <a:gd name="connsiteX164" fmla="*/ 49337 w 104125"/>
                    <a:gd name="connsiteY164" fmla="*/ 313239 h 396904"/>
                    <a:gd name="connsiteX165" fmla="*/ 50830 w 104125"/>
                    <a:gd name="connsiteY165" fmla="*/ 315595 h 396904"/>
                    <a:gd name="connsiteX166" fmla="*/ 51523 w 104125"/>
                    <a:gd name="connsiteY166" fmla="*/ 319978 h 396904"/>
                    <a:gd name="connsiteX167" fmla="*/ 51000 w 104125"/>
                    <a:gd name="connsiteY167" fmla="*/ 326439 h 396904"/>
                    <a:gd name="connsiteX168" fmla="*/ 44091 w 104125"/>
                    <a:gd name="connsiteY168" fmla="*/ 356177 h 396904"/>
                    <a:gd name="connsiteX169" fmla="*/ 43071 w 104125"/>
                    <a:gd name="connsiteY169" fmla="*/ 357609 h 396904"/>
                    <a:gd name="connsiteX170" fmla="*/ 39283 w 104125"/>
                    <a:gd name="connsiteY170" fmla="*/ 357974 h 396904"/>
                    <a:gd name="connsiteX171" fmla="*/ 37085 w 104125"/>
                    <a:gd name="connsiteY171" fmla="*/ 359006 h 396904"/>
                    <a:gd name="connsiteX172" fmla="*/ 30940 w 104125"/>
                    <a:gd name="connsiteY172" fmla="*/ 365430 h 396904"/>
                    <a:gd name="connsiteX173" fmla="*/ 29811 w 104125"/>
                    <a:gd name="connsiteY173" fmla="*/ 367360 h 396904"/>
                    <a:gd name="connsiteX174" fmla="*/ 29580 w 104125"/>
                    <a:gd name="connsiteY174" fmla="*/ 369825 h 396904"/>
                    <a:gd name="connsiteX175" fmla="*/ 29580 w 104125"/>
                    <a:gd name="connsiteY175" fmla="*/ 373954 h 396904"/>
                    <a:gd name="connsiteX176" fmla="*/ 30382 w 104125"/>
                    <a:gd name="connsiteY176" fmla="*/ 374646 h 396904"/>
                    <a:gd name="connsiteX177" fmla="*/ 32228 w 104125"/>
                    <a:gd name="connsiteY177" fmla="*/ 374707 h 396904"/>
                    <a:gd name="connsiteX178" fmla="*/ 33988 w 104125"/>
                    <a:gd name="connsiteY178" fmla="*/ 374075 h 396904"/>
                    <a:gd name="connsiteX179" fmla="*/ 34862 w 104125"/>
                    <a:gd name="connsiteY179" fmla="*/ 372703 h 396904"/>
                    <a:gd name="connsiteX180" fmla="*/ 34862 w 104125"/>
                    <a:gd name="connsiteY180" fmla="*/ 365514 h 396904"/>
                    <a:gd name="connsiteX181" fmla="*/ 35725 w 104125"/>
                    <a:gd name="connsiteY181" fmla="*/ 365903 h 396904"/>
                    <a:gd name="connsiteX182" fmla="*/ 37850 w 104125"/>
                    <a:gd name="connsiteY182" fmla="*/ 366437 h 396904"/>
                    <a:gd name="connsiteX183" fmla="*/ 38639 w 104125"/>
                    <a:gd name="connsiteY183" fmla="*/ 366802 h 396904"/>
                    <a:gd name="connsiteX184" fmla="*/ 38469 w 104125"/>
                    <a:gd name="connsiteY184" fmla="*/ 363244 h 396904"/>
                    <a:gd name="connsiteX185" fmla="*/ 39562 w 104125"/>
                    <a:gd name="connsiteY185" fmla="*/ 361143 h 396904"/>
                    <a:gd name="connsiteX186" fmla="*/ 41468 w 104125"/>
                    <a:gd name="connsiteY186" fmla="*/ 360924 h 396904"/>
                    <a:gd name="connsiteX187" fmla="*/ 43824 w 104125"/>
                    <a:gd name="connsiteY187" fmla="*/ 362904 h 396904"/>
                    <a:gd name="connsiteX188" fmla="*/ 44346 w 104125"/>
                    <a:gd name="connsiteY188" fmla="*/ 364737 h 396904"/>
                    <a:gd name="connsiteX189" fmla="*/ 45123 w 104125"/>
                    <a:gd name="connsiteY189" fmla="*/ 371210 h 396904"/>
                    <a:gd name="connsiteX190" fmla="*/ 45075 w 104125"/>
                    <a:gd name="connsiteY190" fmla="*/ 373286 h 396904"/>
                    <a:gd name="connsiteX191" fmla="*/ 44152 w 104125"/>
                    <a:gd name="connsiteY191" fmla="*/ 374877 h 396904"/>
                    <a:gd name="connsiteX192" fmla="*/ 41760 w 104125"/>
                    <a:gd name="connsiteY192" fmla="*/ 377232 h 396904"/>
                    <a:gd name="connsiteX193" fmla="*/ 41237 w 104125"/>
                    <a:gd name="connsiteY193" fmla="*/ 379187 h 396904"/>
                    <a:gd name="connsiteX194" fmla="*/ 41237 w 104125"/>
                    <a:gd name="connsiteY194" fmla="*/ 384979 h 396904"/>
                    <a:gd name="connsiteX195" fmla="*/ 39404 w 104125"/>
                    <a:gd name="connsiteY195" fmla="*/ 391306 h 396904"/>
                    <a:gd name="connsiteX196" fmla="*/ 37850 w 104125"/>
                    <a:gd name="connsiteY196" fmla="*/ 394658 h 396904"/>
                    <a:gd name="connsiteX197" fmla="*/ 36004 w 104125"/>
                    <a:gd name="connsiteY197" fmla="*/ 396904 h 396904"/>
                    <a:gd name="connsiteX198" fmla="*/ 35324 w 104125"/>
                    <a:gd name="connsiteY198" fmla="*/ 394463 h 396904"/>
                    <a:gd name="connsiteX199" fmla="*/ 34170 w 104125"/>
                    <a:gd name="connsiteY199" fmla="*/ 393735 h 396904"/>
                    <a:gd name="connsiteX200" fmla="*/ 32628 w 104125"/>
                    <a:gd name="connsiteY200" fmla="*/ 393601 h 396904"/>
                    <a:gd name="connsiteX201" fmla="*/ 30892 w 104125"/>
                    <a:gd name="connsiteY201" fmla="*/ 392885 h 396904"/>
                    <a:gd name="connsiteX202" fmla="*/ 25100 w 104125"/>
                    <a:gd name="connsiteY202" fmla="*/ 387044 h 396904"/>
                    <a:gd name="connsiteX203" fmla="*/ 24347 w 104125"/>
                    <a:gd name="connsiteY203" fmla="*/ 385210 h 396904"/>
                    <a:gd name="connsiteX204" fmla="*/ 24529 w 104125"/>
                    <a:gd name="connsiteY204" fmla="*/ 383292 h 396904"/>
                    <a:gd name="connsiteX205" fmla="*/ 24286 w 104125"/>
                    <a:gd name="connsiteY205" fmla="*/ 381835 h 396904"/>
                    <a:gd name="connsiteX206" fmla="*/ 22574 w 104125"/>
                    <a:gd name="connsiteY206" fmla="*/ 381227 h 396904"/>
                    <a:gd name="connsiteX207" fmla="*/ 20376 w 104125"/>
                    <a:gd name="connsiteY207" fmla="*/ 380135 h 396904"/>
                    <a:gd name="connsiteX208" fmla="*/ 18882 w 104125"/>
                    <a:gd name="connsiteY208" fmla="*/ 377718 h 396904"/>
                    <a:gd name="connsiteX209" fmla="*/ 18105 w 104125"/>
                    <a:gd name="connsiteY209" fmla="*/ 375047 h 396904"/>
                    <a:gd name="connsiteX210" fmla="*/ 18105 w 104125"/>
                    <a:gd name="connsiteY210" fmla="*/ 373286 h 396904"/>
                    <a:gd name="connsiteX211" fmla="*/ 19295 w 104125"/>
                    <a:gd name="connsiteY211" fmla="*/ 372059 h 396904"/>
                    <a:gd name="connsiteX212" fmla="*/ 21080 w 104125"/>
                    <a:gd name="connsiteY212" fmla="*/ 371659 h 396904"/>
                    <a:gd name="connsiteX213" fmla="*/ 22635 w 104125"/>
                    <a:gd name="connsiteY213" fmla="*/ 371173 h 396904"/>
                    <a:gd name="connsiteX214" fmla="*/ 23218 w 104125"/>
                    <a:gd name="connsiteY214" fmla="*/ 369510 h 396904"/>
                    <a:gd name="connsiteX215" fmla="*/ 22112 w 104125"/>
                    <a:gd name="connsiteY215" fmla="*/ 368234 h 396904"/>
                    <a:gd name="connsiteX216" fmla="*/ 19915 w 104125"/>
                    <a:gd name="connsiteY216" fmla="*/ 367810 h 396904"/>
                    <a:gd name="connsiteX217" fmla="*/ 17753 w 104125"/>
                    <a:gd name="connsiteY217" fmla="*/ 367069 h 396904"/>
                    <a:gd name="connsiteX218" fmla="*/ 16757 w 104125"/>
                    <a:gd name="connsiteY218" fmla="*/ 364859 h 396904"/>
                    <a:gd name="connsiteX219" fmla="*/ 16612 w 104125"/>
                    <a:gd name="connsiteY219" fmla="*/ 362734 h 396904"/>
                    <a:gd name="connsiteX220" fmla="*/ 15640 w 104125"/>
                    <a:gd name="connsiteY220" fmla="*/ 359103 h 396904"/>
                    <a:gd name="connsiteX221" fmla="*/ 15385 w 104125"/>
                    <a:gd name="connsiteY221" fmla="*/ 356966 h 396904"/>
                    <a:gd name="connsiteX222" fmla="*/ 14754 w 104125"/>
                    <a:gd name="connsiteY222" fmla="*/ 354234 h 396904"/>
                    <a:gd name="connsiteX223" fmla="*/ 13321 w 104125"/>
                    <a:gd name="connsiteY223" fmla="*/ 354003 h 396904"/>
                    <a:gd name="connsiteX224" fmla="*/ 11609 w 104125"/>
                    <a:gd name="connsiteY224" fmla="*/ 354780 h 396904"/>
                    <a:gd name="connsiteX225" fmla="*/ 10273 w 104125"/>
                    <a:gd name="connsiteY225" fmla="*/ 355120 h 396904"/>
                    <a:gd name="connsiteX226" fmla="*/ 7177 w 104125"/>
                    <a:gd name="connsiteY226" fmla="*/ 352971 h 396904"/>
                    <a:gd name="connsiteX227" fmla="*/ 6606 w 104125"/>
                    <a:gd name="connsiteY227" fmla="*/ 349960 h 396904"/>
                    <a:gd name="connsiteX228" fmla="*/ 7820 w 104125"/>
                    <a:gd name="connsiteY228" fmla="*/ 341423 h 396904"/>
                    <a:gd name="connsiteX229" fmla="*/ 7820 w 104125"/>
                    <a:gd name="connsiteY229" fmla="*/ 333651 h 396904"/>
                    <a:gd name="connsiteX230" fmla="*/ 7177 w 104125"/>
                    <a:gd name="connsiteY230" fmla="*/ 332352 h 396904"/>
                    <a:gd name="connsiteX231" fmla="*/ 5635 w 104125"/>
                    <a:gd name="connsiteY231" fmla="*/ 331611 h 396904"/>
                    <a:gd name="connsiteX232" fmla="*/ 3861 w 104125"/>
                    <a:gd name="connsiteY232" fmla="*/ 331065 h 396904"/>
                    <a:gd name="connsiteX233" fmla="*/ 1785 w 104125"/>
                    <a:gd name="connsiteY233" fmla="*/ 329912 h 396904"/>
                    <a:gd name="connsiteX234" fmla="*/ 1081 w 104125"/>
                    <a:gd name="connsiteY234" fmla="*/ 330094 h 396904"/>
                    <a:gd name="connsiteX235" fmla="*/ 571 w 104125"/>
                    <a:gd name="connsiteY235" fmla="*/ 330094 h 396904"/>
                    <a:gd name="connsiteX236" fmla="*/ 61 w 104125"/>
                    <a:gd name="connsiteY236" fmla="*/ 329061 h 396904"/>
                    <a:gd name="connsiteX237" fmla="*/ 0 w 104125"/>
                    <a:gd name="connsiteY237" fmla="*/ 327872 h 396904"/>
                    <a:gd name="connsiteX238" fmla="*/ 474 w 104125"/>
                    <a:gd name="connsiteY238" fmla="*/ 327021 h 396904"/>
                    <a:gd name="connsiteX239" fmla="*/ 1032 w 104125"/>
                    <a:gd name="connsiteY239" fmla="*/ 326523 h 396904"/>
                    <a:gd name="connsiteX240" fmla="*/ 1336 w 104125"/>
                    <a:gd name="connsiteY240" fmla="*/ 326475 h 396904"/>
                    <a:gd name="connsiteX241" fmla="*/ 2769 w 104125"/>
                    <a:gd name="connsiteY241" fmla="*/ 320865 h 396904"/>
                    <a:gd name="connsiteX242" fmla="*/ 7128 w 104125"/>
                    <a:gd name="connsiteY242" fmla="*/ 314077 h 396904"/>
                    <a:gd name="connsiteX243" fmla="*/ 8573 w 104125"/>
                    <a:gd name="connsiteY243" fmla="*/ 313603 h 396904"/>
                    <a:gd name="connsiteX244" fmla="*/ 9763 w 104125"/>
                    <a:gd name="connsiteY244" fmla="*/ 314587 h 396904"/>
                    <a:gd name="connsiteX245" fmla="*/ 12592 w 104125"/>
                    <a:gd name="connsiteY245" fmla="*/ 318716 h 396904"/>
                    <a:gd name="connsiteX246" fmla="*/ 13102 w 104125"/>
                    <a:gd name="connsiteY246" fmla="*/ 320039 h 396904"/>
                    <a:gd name="connsiteX247" fmla="*/ 14147 w 104125"/>
                    <a:gd name="connsiteY247" fmla="*/ 320671 h 396904"/>
                    <a:gd name="connsiteX248" fmla="*/ 16757 w 104125"/>
                    <a:gd name="connsiteY248" fmla="*/ 319978 h 396904"/>
                    <a:gd name="connsiteX249" fmla="*/ 15519 w 104125"/>
                    <a:gd name="connsiteY249" fmla="*/ 323087 h 396904"/>
                    <a:gd name="connsiteX250" fmla="*/ 16090 w 104125"/>
                    <a:gd name="connsiteY250" fmla="*/ 325418 h 396904"/>
                    <a:gd name="connsiteX251" fmla="*/ 17389 w 104125"/>
                    <a:gd name="connsiteY251" fmla="*/ 326196 h 396904"/>
                    <a:gd name="connsiteX252" fmla="*/ 18105 w 104125"/>
                    <a:gd name="connsiteY252" fmla="*/ 324581 h 396904"/>
                    <a:gd name="connsiteX253" fmla="*/ 18676 w 104125"/>
                    <a:gd name="connsiteY253" fmla="*/ 314077 h 396904"/>
                    <a:gd name="connsiteX254" fmla="*/ 19599 w 104125"/>
                    <a:gd name="connsiteY254" fmla="*/ 311491 h 396904"/>
                    <a:gd name="connsiteX255" fmla="*/ 19186 w 104125"/>
                    <a:gd name="connsiteY255" fmla="*/ 308588 h 396904"/>
                    <a:gd name="connsiteX256" fmla="*/ 18372 w 104125"/>
                    <a:gd name="connsiteY256" fmla="*/ 305686 h 396904"/>
                    <a:gd name="connsiteX257" fmla="*/ 18105 w 104125"/>
                    <a:gd name="connsiteY257" fmla="*/ 303064 h 396904"/>
                    <a:gd name="connsiteX258" fmla="*/ 18785 w 104125"/>
                    <a:gd name="connsiteY258" fmla="*/ 300198 h 396904"/>
                    <a:gd name="connsiteX259" fmla="*/ 21080 w 104125"/>
                    <a:gd name="connsiteY259" fmla="*/ 295972 h 396904"/>
                    <a:gd name="connsiteX260" fmla="*/ 21930 w 104125"/>
                    <a:gd name="connsiteY260" fmla="*/ 293883 h 396904"/>
                    <a:gd name="connsiteX261" fmla="*/ 21603 w 104125"/>
                    <a:gd name="connsiteY261" fmla="*/ 274880 h 396904"/>
                    <a:gd name="connsiteX262" fmla="*/ 22574 w 104125"/>
                    <a:gd name="connsiteY262" fmla="*/ 271079 h 396904"/>
                    <a:gd name="connsiteX263" fmla="*/ 26885 w 104125"/>
                    <a:gd name="connsiteY263" fmla="*/ 262530 h 396904"/>
                    <a:gd name="connsiteX264" fmla="*/ 29398 w 104125"/>
                    <a:gd name="connsiteY264" fmla="*/ 258996 h 396904"/>
                    <a:gd name="connsiteX265" fmla="*/ 30892 w 104125"/>
                    <a:gd name="connsiteY265" fmla="*/ 261267 h 396904"/>
                    <a:gd name="connsiteX266" fmla="*/ 32288 w 104125"/>
                    <a:gd name="connsiteY266" fmla="*/ 261267 h 396904"/>
                    <a:gd name="connsiteX267" fmla="*/ 33527 w 104125"/>
                    <a:gd name="connsiteY267" fmla="*/ 257928 h 396904"/>
                    <a:gd name="connsiteX268" fmla="*/ 35275 w 104125"/>
                    <a:gd name="connsiteY268" fmla="*/ 256532 h 396904"/>
                    <a:gd name="connsiteX269" fmla="*/ 36757 w 104125"/>
                    <a:gd name="connsiteY269" fmla="*/ 257673 h 396904"/>
                    <a:gd name="connsiteX270" fmla="*/ 37400 w 104125"/>
                    <a:gd name="connsiteY270" fmla="*/ 261935 h 396904"/>
                    <a:gd name="connsiteX271" fmla="*/ 36417 w 104125"/>
                    <a:gd name="connsiteY271" fmla="*/ 265663 h 396904"/>
                    <a:gd name="connsiteX272" fmla="*/ 36466 w 104125"/>
                    <a:gd name="connsiteY272" fmla="*/ 267242 h 396904"/>
                    <a:gd name="connsiteX273" fmla="*/ 38007 w 104125"/>
                    <a:gd name="connsiteY273" fmla="*/ 267910 h 396904"/>
                    <a:gd name="connsiteX274" fmla="*/ 39173 w 104125"/>
                    <a:gd name="connsiteY274" fmla="*/ 267667 h 396904"/>
                    <a:gd name="connsiteX275" fmla="*/ 39622 w 104125"/>
                    <a:gd name="connsiteY275" fmla="*/ 267181 h 396904"/>
                    <a:gd name="connsiteX276" fmla="*/ 39926 w 104125"/>
                    <a:gd name="connsiteY276" fmla="*/ 266695 h 396904"/>
                    <a:gd name="connsiteX277" fmla="*/ 40546 w 104125"/>
                    <a:gd name="connsiteY277" fmla="*/ 266477 h 396904"/>
                    <a:gd name="connsiteX278" fmla="*/ 44285 w 104125"/>
                    <a:gd name="connsiteY278" fmla="*/ 266550 h 396904"/>
                    <a:gd name="connsiteX279" fmla="*/ 45075 w 104125"/>
                    <a:gd name="connsiteY279" fmla="*/ 266477 h 396904"/>
                    <a:gd name="connsiteX280" fmla="*/ 48584 w 104125"/>
                    <a:gd name="connsiteY280" fmla="*/ 264740 h 396904"/>
                    <a:gd name="connsiteX281" fmla="*/ 49507 w 104125"/>
                    <a:gd name="connsiteY281" fmla="*/ 263562 h 396904"/>
                    <a:gd name="connsiteX282" fmla="*/ 50187 w 104125"/>
                    <a:gd name="connsiteY282" fmla="*/ 261267 h 396904"/>
                    <a:gd name="connsiteX283" fmla="*/ 48280 w 104125"/>
                    <a:gd name="connsiteY283" fmla="*/ 253484 h 396904"/>
                    <a:gd name="connsiteX284" fmla="*/ 46981 w 104125"/>
                    <a:gd name="connsiteY284" fmla="*/ 253083 h 396904"/>
                    <a:gd name="connsiteX285" fmla="*/ 45536 w 104125"/>
                    <a:gd name="connsiteY285" fmla="*/ 252172 h 396904"/>
                    <a:gd name="connsiteX286" fmla="*/ 44346 w 104125"/>
                    <a:gd name="connsiteY286" fmla="*/ 251080 h 396904"/>
                    <a:gd name="connsiteX287" fmla="*/ 43824 w 104125"/>
                    <a:gd name="connsiteY287" fmla="*/ 250193 h 396904"/>
                    <a:gd name="connsiteX288" fmla="*/ 43885 w 104125"/>
                    <a:gd name="connsiteY288" fmla="*/ 248153 h 396904"/>
                    <a:gd name="connsiteX289" fmla="*/ 44152 w 104125"/>
                    <a:gd name="connsiteY289" fmla="*/ 248092 h 396904"/>
                    <a:gd name="connsiteX290" fmla="*/ 44917 w 104125"/>
                    <a:gd name="connsiteY290" fmla="*/ 248578 h 396904"/>
                    <a:gd name="connsiteX291" fmla="*/ 48026 w 104125"/>
                    <a:gd name="connsiteY291" fmla="*/ 247631 h 396904"/>
                    <a:gd name="connsiteX292" fmla="*/ 49616 w 104125"/>
                    <a:gd name="connsiteY292" fmla="*/ 247607 h 396904"/>
                    <a:gd name="connsiteX293" fmla="*/ 50478 w 104125"/>
                    <a:gd name="connsiteY293" fmla="*/ 246878 h 396904"/>
                    <a:gd name="connsiteX294" fmla="*/ 50187 w 104125"/>
                    <a:gd name="connsiteY294" fmla="*/ 244389 h 396904"/>
                    <a:gd name="connsiteX295" fmla="*/ 49142 w 104125"/>
                    <a:gd name="connsiteY295" fmla="*/ 242494 h 396904"/>
                    <a:gd name="connsiteX296" fmla="*/ 47552 w 104125"/>
                    <a:gd name="connsiteY296" fmla="*/ 241766 h 396904"/>
                    <a:gd name="connsiteX297" fmla="*/ 43071 w 104125"/>
                    <a:gd name="connsiteY297" fmla="*/ 241766 h 396904"/>
                    <a:gd name="connsiteX298" fmla="*/ 39100 w 104125"/>
                    <a:gd name="connsiteY298" fmla="*/ 240248 h 396904"/>
                    <a:gd name="connsiteX299" fmla="*/ 37024 w 104125"/>
                    <a:gd name="connsiteY299" fmla="*/ 236496 h 396904"/>
                    <a:gd name="connsiteX300" fmla="*/ 36186 w 104125"/>
                    <a:gd name="connsiteY300" fmla="*/ 231784 h 396904"/>
                    <a:gd name="connsiteX301" fmla="*/ 36878 w 104125"/>
                    <a:gd name="connsiteY301" fmla="*/ 186673 h 396904"/>
                    <a:gd name="connsiteX302" fmla="*/ 37850 w 104125"/>
                    <a:gd name="connsiteY302" fmla="*/ 184087 h 396904"/>
                    <a:gd name="connsiteX303" fmla="*/ 41237 w 104125"/>
                    <a:gd name="connsiteY303" fmla="*/ 180189 h 396904"/>
                    <a:gd name="connsiteX304" fmla="*/ 42209 w 104125"/>
                    <a:gd name="connsiteY304" fmla="*/ 178125 h 396904"/>
                    <a:gd name="connsiteX305" fmla="*/ 43071 w 104125"/>
                    <a:gd name="connsiteY305" fmla="*/ 177117 h 396904"/>
                    <a:gd name="connsiteX306" fmla="*/ 44091 w 104125"/>
                    <a:gd name="connsiteY306" fmla="*/ 176837 h 396904"/>
                    <a:gd name="connsiteX307" fmla="*/ 46920 w 104125"/>
                    <a:gd name="connsiteY307" fmla="*/ 176716 h 396904"/>
                    <a:gd name="connsiteX308" fmla="*/ 47649 w 104125"/>
                    <a:gd name="connsiteY308" fmla="*/ 176546 h 396904"/>
                    <a:gd name="connsiteX309" fmla="*/ 48414 w 104125"/>
                    <a:gd name="connsiteY309" fmla="*/ 174190 h 396904"/>
                    <a:gd name="connsiteX310" fmla="*/ 47321 w 104125"/>
                    <a:gd name="connsiteY310" fmla="*/ 173365 h 396904"/>
                    <a:gd name="connsiteX311" fmla="*/ 45245 w 104125"/>
                    <a:gd name="connsiteY311" fmla="*/ 172915 h 396904"/>
                    <a:gd name="connsiteX312" fmla="*/ 43071 w 104125"/>
                    <a:gd name="connsiteY312" fmla="*/ 171871 h 396904"/>
                    <a:gd name="connsiteX313" fmla="*/ 41760 w 104125"/>
                    <a:gd name="connsiteY313" fmla="*/ 168908 h 396904"/>
                    <a:gd name="connsiteX314" fmla="*/ 41237 w 104125"/>
                    <a:gd name="connsiteY314" fmla="*/ 155612 h 396904"/>
                    <a:gd name="connsiteX315" fmla="*/ 39866 w 104125"/>
                    <a:gd name="connsiteY315" fmla="*/ 147099 h 396904"/>
                    <a:gd name="connsiteX316" fmla="*/ 40485 w 104125"/>
                    <a:gd name="connsiteY316" fmla="*/ 144707 h 396904"/>
                    <a:gd name="connsiteX317" fmla="*/ 41990 w 104125"/>
                    <a:gd name="connsiteY317" fmla="*/ 143092 h 396904"/>
                    <a:gd name="connsiteX318" fmla="*/ 43691 w 104125"/>
                    <a:gd name="connsiteY318" fmla="*/ 141659 h 396904"/>
                    <a:gd name="connsiteX319" fmla="*/ 45075 w 104125"/>
                    <a:gd name="connsiteY319" fmla="*/ 139850 h 396904"/>
                    <a:gd name="connsiteX320" fmla="*/ 48875 w 104125"/>
                    <a:gd name="connsiteY320" fmla="*/ 140821 h 396904"/>
                    <a:gd name="connsiteX321" fmla="*/ 51632 w 104125"/>
                    <a:gd name="connsiteY321" fmla="*/ 137446 h 396904"/>
                    <a:gd name="connsiteX322" fmla="*/ 53356 w 104125"/>
                    <a:gd name="connsiteY322" fmla="*/ 132358 h 396904"/>
                    <a:gd name="connsiteX323" fmla="*/ 54048 w 104125"/>
                    <a:gd name="connsiteY323" fmla="*/ 128169 h 396904"/>
                    <a:gd name="connsiteX324" fmla="*/ 54048 w 104125"/>
                    <a:gd name="connsiteY324" fmla="*/ 118308 h 396904"/>
                    <a:gd name="connsiteX325" fmla="*/ 56841 w 104125"/>
                    <a:gd name="connsiteY325" fmla="*/ 113148 h 396904"/>
                    <a:gd name="connsiteX326" fmla="*/ 58128 w 104125"/>
                    <a:gd name="connsiteY326" fmla="*/ 109930 h 396904"/>
                    <a:gd name="connsiteX327" fmla="*/ 57242 w 104125"/>
                    <a:gd name="connsiteY327" fmla="*/ 108533 h 396904"/>
                    <a:gd name="connsiteX328" fmla="*/ 53077 w 104125"/>
                    <a:gd name="connsiteY328" fmla="*/ 106493 h 396904"/>
                    <a:gd name="connsiteX329" fmla="*/ 53283 w 104125"/>
                    <a:gd name="connsiteY329" fmla="*/ 101794 h 396904"/>
                    <a:gd name="connsiteX330" fmla="*/ 57145 w 104125"/>
                    <a:gd name="connsiteY330" fmla="*/ 90574 h 396904"/>
                    <a:gd name="connsiteX331" fmla="*/ 60654 w 104125"/>
                    <a:gd name="connsiteY331" fmla="*/ 84272 h 396904"/>
                    <a:gd name="connsiteX332" fmla="*/ 61504 w 104125"/>
                    <a:gd name="connsiteY332" fmla="*/ 83118 h 396904"/>
                    <a:gd name="connsiteX333" fmla="*/ 61735 w 104125"/>
                    <a:gd name="connsiteY333" fmla="*/ 82463 h 396904"/>
                    <a:gd name="connsiteX334" fmla="*/ 61176 w 104125"/>
                    <a:gd name="connsiteY334" fmla="*/ 81333 h 396904"/>
                    <a:gd name="connsiteX335" fmla="*/ 58638 w 104125"/>
                    <a:gd name="connsiteY335" fmla="*/ 78468 h 396904"/>
                    <a:gd name="connsiteX336" fmla="*/ 57885 w 104125"/>
                    <a:gd name="connsiteY336" fmla="*/ 77144 h 396904"/>
                    <a:gd name="connsiteX337" fmla="*/ 59962 w 104125"/>
                    <a:gd name="connsiteY337" fmla="*/ 74655 h 396904"/>
                    <a:gd name="connsiteX338" fmla="*/ 59500 w 104125"/>
                    <a:gd name="connsiteY338" fmla="*/ 70708 h 396904"/>
                    <a:gd name="connsiteX339" fmla="*/ 59610 w 104125"/>
                    <a:gd name="connsiteY339" fmla="*/ 67041 h 396904"/>
                    <a:gd name="connsiteX340" fmla="*/ 63581 w 104125"/>
                    <a:gd name="connsiteY340" fmla="*/ 65402 h 396904"/>
                    <a:gd name="connsiteX341" fmla="*/ 63581 w 104125"/>
                    <a:gd name="connsiteY341" fmla="*/ 63641 h 396904"/>
                    <a:gd name="connsiteX342" fmla="*/ 60921 w 104125"/>
                    <a:gd name="connsiteY342" fmla="*/ 55214 h 396904"/>
                    <a:gd name="connsiteX343" fmla="*/ 61735 w 104125"/>
                    <a:gd name="connsiteY343" fmla="*/ 52251 h 396904"/>
                    <a:gd name="connsiteX344" fmla="*/ 61735 w 104125"/>
                    <a:gd name="connsiteY344" fmla="*/ 51073 h 396904"/>
                    <a:gd name="connsiteX345" fmla="*/ 59306 w 104125"/>
                    <a:gd name="connsiteY345" fmla="*/ 48353 h 396904"/>
                    <a:gd name="connsiteX346" fmla="*/ 60472 w 104125"/>
                    <a:gd name="connsiteY346" fmla="*/ 44528 h 396904"/>
                    <a:gd name="connsiteX347" fmla="*/ 67867 w 104125"/>
                    <a:gd name="connsiteY347" fmla="*/ 35263 h 396904"/>
                    <a:gd name="connsiteX348" fmla="*/ 68754 w 104125"/>
                    <a:gd name="connsiteY348" fmla="*/ 33818 h 396904"/>
                    <a:gd name="connsiteX349" fmla="*/ 69421 w 104125"/>
                    <a:gd name="connsiteY349" fmla="*/ 31523 h 396904"/>
                    <a:gd name="connsiteX350" fmla="*/ 69531 w 104125"/>
                    <a:gd name="connsiteY350" fmla="*/ 29665 h 396904"/>
                    <a:gd name="connsiteX351" fmla="*/ 69312 w 104125"/>
                    <a:gd name="connsiteY351" fmla="*/ 24978 h 396904"/>
                    <a:gd name="connsiteX352" fmla="*/ 69421 w 104125"/>
                    <a:gd name="connsiteY352" fmla="*/ 23606 h 396904"/>
                    <a:gd name="connsiteX353" fmla="*/ 70696 w 104125"/>
                    <a:gd name="connsiteY353" fmla="*/ 20995 h 396904"/>
                    <a:gd name="connsiteX354" fmla="*/ 70975 w 104125"/>
                    <a:gd name="connsiteY354" fmla="*/ 21080 h 396904"/>
                    <a:gd name="connsiteX355" fmla="*/ 73283 w 104125"/>
                    <a:gd name="connsiteY355" fmla="*/ 19550 h 396904"/>
                    <a:gd name="connsiteX356" fmla="*/ 77460 w 104125"/>
                    <a:gd name="connsiteY356" fmla="*/ 14669 h 396904"/>
                    <a:gd name="connsiteX357" fmla="*/ 78395 w 104125"/>
                    <a:gd name="connsiteY357" fmla="*/ 13151 h 396904"/>
                    <a:gd name="connsiteX358" fmla="*/ 78856 w 104125"/>
                    <a:gd name="connsiteY358" fmla="*/ 11171 h 396904"/>
                    <a:gd name="connsiteX359" fmla="*/ 78856 w 104125"/>
                    <a:gd name="connsiteY359" fmla="*/ 7868 h 396904"/>
                    <a:gd name="connsiteX360" fmla="*/ 79634 w 104125"/>
                    <a:gd name="connsiteY360" fmla="*/ 6411 h 396904"/>
                    <a:gd name="connsiteX361" fmla="*/ 81322 w 104125"/>
                    <a:gd name="connsiteY361" fmla="*/ 5343 h 396904"/>
                    <a:gd name="connsiteX362" fmla="*/ 84819 w 104125"/>
                    <a:gd name="connsiteY362" fmla="*/ 4651 h 396904"/>
                    <a:gd name="connsiteX363" fmla="*/ 86130 w 104125"/>
                    <a:gd name="connsiteY363" fmla="*/ 3922 h 396904"/>
                    <a:gd name="connsiteX364" fmla="*/ 87526 w 104125"/>
                    <a:gd name="connsiteY364" fmla="*/ 5379 h 396904"/>
                    <a:gd name="connsiteX365" fmla="*/ 88607 w 104125"/>
                    <a:gd name="connsiteY365" fmla="*/ 5998 h 396904"/>
                    <a:gd name="connsiteX366" fmla="*/ 89688 w 104125"/>
                    <a:gd name="connsiteY366" fmla="*/ 5950 h 396904"/>
                    <a:gd name="connsiteX367" fmla="*/ 91315 w 104125"/>
                    <a:gd name="connsiteY367" fmla="*/ 5234 h 396904"/>
                    <a:gd name="connsiteX368" fmla="*/ 90198 w 104125"/>
                    <a:gd name="connsiteY368" fmla="*/ 4104 h 396904"/>
                    <a:gd name="connsiteX369" fmla="*/ 89931 w 104125"/>
                    <a:gd name="connsiteY369" fmla="*/ 3048 h 396904"/>
                    <a:gd name="connsiteX370" fmla="*/ 90331 w 104125"/>
                    <a:gd name="connsiteY370" fmla="*/ 1785 h 396904"/>
                    <a:gd name="connsiteX371" fmla="*/ 91315 w 104125"/>
                    <a:gd name="connsiteY371" fmla="*/ 0 h 396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Lst>
                  <a:rect l="l" t="t" r="r" b="b"/>
                  <a:pathLst>
                    <a:path w="104125" h="396904">
                      <a:moveTo>
                        <a:pt x="92153" y="2064"/>
                      </a:moveTo>
                      <a:lnTo>
                        <a:pt x="93379" y="2307"/>
                      </a:lnTo>
                      <a:lnTo>
                        <a:pt x="95043" y="1724"/>
                      </a:lnTo>
                      <a:lnTo>
                        <a:pt x="97059" y="1324"/>
                      </a:lnTo>
                      <a:lnTo>
                        <a:pt x="98492" y="2246"/>
                      </a:lnTo>
                      <a:lnTo>
                        <a:pt x="101527" y="7844"/>
                      </a:lnTo>
                      <a:lnTo>
                        <a:pt x="99402" y="14329"/>
                      </a:lnTo>
                      <a:lnTo>
                        <a:pt x="99172" y="20388"/>
                      </a:lnTo>
                      <a:lnTo>
                        <a:pt x="100252" y="32713"/>
                      </a:lnTo>
                      <a:lnTo>
                        <a:pt x="101139" y="32349"/>
                      </a:lnTo>
                      <a:lnTo>
                        <a:pt x="103252" y="31899"/>
                      </a:lnTo>
                      <a:lnTo>
                        <a:pt x="104126" y="31523"/>
                      </a:lnTo>
                      <a:lnTo>
                        <a:pt x="103762" y="34571"/>
                      </a:lnTo>
                      <a:lnTo>
                        <a:pt x="99973" y="37267"/>
                      </a:lnTo>
                      <a:lnTo>
                        <a:pt x="99002" y="39938"/>
                      </a:lnTo>
                      <a:lnTo>
                        <a:pt x="97921" y="42148"/>
                      </a:lnTo>
                      <a:lnTo>
                        <a:pt x="95383" y="43848"/>
                      </a:lnTo>
                      <a:lnTo>
                        <a:pt x="92347" y="45366"/>
                      </a:lnTo>
                      <a:lnTo>
                        <a:pt x="89882" y="47175"/>
                      </a:lnTo>
                      <a:lnTo>
                        <a:pt x="89761" y="43812"/>
                      </a:lnTo>
                      <a:lnTo>
                        <a:pt x="88194" y="42148"/>
                      </a:lnTo>
                      <a:lnTo>
                        <a:pt x="86130" y="42318"/>
                      </a:lnTo>
                      <a:lnTo>
                        <a:pt x="84819" y="44443"/>
                      </a:lnTo>
                      <a:lnTo>
                        <a:pt x="85207" y="47406"/>
                      </a:lnTo>
                      <a:lnTo>
                        <a:pt x="87284" y="49701"/>
                      </a:lnTo>
                      <a:lnTo>
                        <a:pt x="89931" y="50854"/>
                      </a:lnTo>
                      <a:lnTo>
                        <a:pt x="93889" y="50004"/>
                      </a:lnTo>
                      <a:lnTo>
                        <a:pt x="95771" y="51765"/>
                      </a:lnTo>
                      <a:lnTo>
                        <a:pt x="99002" y="56185"/>
                      </a:lnTo>
                      <a:lnTo>
                        <a:pt x="103300" y="59003"/>
                      </a:lnTo>
                      <a:lnTo>
                        <a:pt x="104004" y="60751"/>
                      </a:lnTo>
                      <a:lnTo>
                        <a:pt x="99742" y="67442"/>
                      </a:lnTo>
                      <a:lnTo>
                        <a:pt x="98953" y="72748"/>
                      </a:lnTo>
                      <a:lnTo>
                        <a:pt x="99002" y="84952"/>
                      </a:lnTo>
                      <a:lnTo>
                        <a:pt x="98151" y="90550"/>
                      </a:lnTo>
                      <a:lnTo>
                        <a:pt x="96027" y="98479"/>
                      </a:lnTo>
                      <a:lnTo>
                        <a:pt x="92736" y="103907"/>
                      </a:lnTo>
                      <a:lnTo>
                        <a:pt x="88704" y="102013"/>
                      </a:lnTo>
                      <a:lnTo>
                        <a:pt x="87344" y="102013"/>
                      </a:lnTo>
                      <a:lnTo>
                        <a:pt x="86579" y="103907"/>
                      </a:lnTo>
                      <a:lnTo>
                        <a:pt x="85207" y="104708"/>
                      </a:lnTo>
                      <a:lnTo>
                        <a:pt x="83592" y="104490"/>
                      </a:lnTo>
                      <a:lnTo>
                        <a:pt x="82354" y="103312"/>
                      </a:lnTo>
                      <a:lnTo>
                        <a:pt x="81831" y="101138"/>
                      </a:lnTo>
                      <a:lnTo>
                        <a:pt x="82815" y="96548"/>
                      </a:lnTo>
                      <a:lnTo>
                        <a:pt x="82354" y="94169"/>
                      </a:lnTo>
                      <a:lnTo>
                        <a:pt x="80969" y="94169"/>
                      </a:lnTo>
                      <a:lnTo>
                        <a:pt x="80969" y="98103"/>
                      </a:lnTo>
                      <a:lnTo>
                        <a:pt x="77302" y="97520"/>
                      </a:lnTo>
                      <a:lnTo>
                        <a:pt x="75748" y="100750"/>
                      </a:lnTo>
                      <a:lnTo>
                        <a:pt x="75699" y="105085"/>
                      </a:lnTo>
                      <a:lnTo>
                        <a:pt x="76440" y="107841"/>
                      </a:lnTo>
                      <a:lnTo>
                        <a:pt x="79828" y="111545"/>
                      </a:lnTo>
                      <a:lnTo>
                        <a:pt x="80921" y="113804"/>
                      </a:lnTo>
                      <a:lnTo>
                        <a:pt x="80228" y="115904"/>
                      </a:lnTo>
                      <a:lnTo>
                        <a:pt x="78395" y="119037"/>
                      </a:lnTo>
                      <a:lnTo>
                        <a:pt x="77120" y="119037"/>
                      </a:lnTo>
                      <a:lnTo>
                        <a:pt x="76841" y="115479"/>
                      </a:lnTo>
                      <a:lnTo>
                        <a:pt x="75456" y="113949"/>
                      </a:lnTo>
                      <a:lnTo>
                        <a:pt x="73441" y="113646"/>
                      </a:lnTo>
                      <a:lnTo>
                        <a:pt x="71328" y="113718"/>
                      </a:lnTo>
                      <a:lnTo>
                        <a:pt x="70818" y="115273"/>
                      </a:lnTo>
                      <a:lnTo>
                        <a:pt x="66738" y="123603"/>
                      </a:lnTo>
                      <a:lnTo>
                        <a:pt x="66434" y="125206"/>
                      </a:lnTo>
                      <a:lnTo>
                        <a:pt x="65863" y="126213"/>
                      </a:lnTo>
                      <a:lnTo>
                        <a:pt x="65973" y="127197"/>
                      </a:lnTo>
                      <a:lnTo>
                        <a:pt x="67405" y="128739"/>
                      </a:lnTo>
                      <a:lnTo>
                        <a:pt x="69664" y="129456"/>
                      </a:lnTo>
                      <a:lnTo>
                        <a:pt x="71376" y="128253"/>
                      </a:lnTo>
                      <a:lnTo>
                        <a:pt x="73283" y="125667"/>
                      </a:lnTo>
                      <a:lnTo>
                        <a:pt x="74946" y="126639"/>
                      </a:lnTo>
                      <a:lnTo>
                        <a:pt x="75638" y="128375"/>
                      </a:lnTo>
                      <a:lnTo>
                        <a:pt x="75918" y="130027"/>
                      </a:lnTo>
                      <a:lnTo>
                        <a:pt x="76440" y="130755"/>
                      </a:lnTo>
                      <a:lnTo>
                        <a:pt x="77982" y="131435"/>
                      </a:lnTo>
                      <a:lnTo>
                        <a:pt x="82354" y="136086"/>
                      </a:lnTo>
                      <a:lnTo>
                        <a:pt x="81722" y="139486"/>
                      </a:lnTo>
                      <a:lnTo>
                        <a:pt x="82693" y="143578"/>
                      </a:lnTo>
                      <a:lnTo>
                        <a:pt x="83082" y="147865"/>
                      </a:lnTo>
                      <a:lnTo>
                        <a:pt x="80969" y="151677"/>
                      </a:lnTo>
                      <a:lnTo>
                        <a:pt x="84053" y="155235"/>
                      </a:lnTo>
                      <a:lnTo>
                        <a:pt x="86130" y="158915"/>
                      </a:lnTo>
                      <a:lnTo>
                        <a:pt x="87284" y="162873"/>
                      </a:lnTo>
                      <a:lnTo>
                        <a:pt x="87344" y="167305"/>
                      </a:lnTo>
                      <a:lnTo>
                        <a:pt x="84770" y="176109"/>
                      </a:lnTo>
                      <a:lnTo>
                        <a:pt x="84017" y="181197"/>
                      </a:lnTo>
                      <a:lnTo>
                        <a:pt x="87053" y="188070"/>
                      </a:lnTo>
                      <a:lnTo>
                        <a:pt x="87526" y="192866"/>
                      </a:lnTo>
                      <a:lnTo>
                        <a:pt x="87344" y="201949"/>
                      </a:lnTo>
                      <a:lnTo>
                        <a:pt x="85668" y="204451"/>
                      </a:lnTo>
                      <a:lnTo>
                        <a:pt x="82524" y="207316"/>
                      </a:lnTo>
                      <a:lnTo>
                        <a:pt x="80811" y="209903"/>
                      </a:lnTo>
                      <a:lnTo>
                        <a:pt x="83495" y="211651"/>
                      </a:lnTo>
                      <a:lnTo>
                        <a:pt x="82050" y="214298"/>
                      </a:lnTo>
                      <a:lnTo>
                        <a:pt x="79634" y="215707"/>
                      </a:lnTo>
                      <a:lnTo>
                        <a:pt x="77569" y="217407"/>
                      </a:lnTo>
                      <a:lnTo>
                        <a:pt x="77120" y="220880"/>
                      </a:lnTo>
                      <a:lnTo>
                        <a:pt x="75809" y="220880"/>
                      </a:lnTo>
                      <a:lnTo>
                        <a:pt x="74837" y="218743"/>
                      </a:lnTo>
                      <a:lnTo>
                        <a:pt x="73343" y="216885"/>
                      </a:lnTo>
                      <a:lnTo>
                        <a:pt x="71485" y="215331"/>
                      </a:lnTo>
                      <a:lnTo>
                        <a:pt x="69421" y="214250"/>
                      </a:lnTo>
                      <a:lnTo>
                        <a:pt x="69786" y="215161"/>
                      </a:lnTo>
                      <a:lnTo>
                        <a:pt x="70696" y="218257"/>
                      </a:lnTo>
                      <a:lnTo>
                        <a:pt x="65341" y="218694"/>
                      </a:lnTo>
                      <a:lnTo>
                        <a:pt x="60338" y="218257"/>
                      </a:lnTo>
                      <a:lnTo>
                        <a:pt x="60338" y="219435"/>
                      </a:lnTo>
                      <a:lnTo>
                        <a:pt x="61626" y="221451"/>
                      </a:lnTo>
                      <a:lnTo>
                        <a:pt x="63520" y="227425"/>
                      </a:lnTo>
                      <a:lnTo>
                        <a:pt x="64880" y="228676"/>
                      </a:lnTo>
                      <a:lnTo>
                        <a:pt x="66944" y="229222"/>
                      </a:lnTo>
                      <a:lnTo>
                        <a:pt x="69203" y="230716"/>
                      </a:lnTo>
                      <a:lnTo>
                        <a:pt x="70818" y="232828"/>
                      </a:lnTo>
                      <a:lnTo>
                        <a:pt x="70696" y="235160"/>
                      </a:lnTo>
                      <a:lnTo>
                        <a:pt x="73161" y="236362"/>
                      </a:lnTo>
                      <a:lnTo>
                        <a:pt x="72773" y="237297"/>
                      </a:lnTo>
                      <a:lnTo>
                        <a:pt x="70915" y="238160"/>
                      </a:lnTo>
                      <a:lnTo>
                        <a:pt x="69421" y="239192"/>
                      </a:lnTo>
                      <a:lnTo>
                        <a:pt x="67770" y="240685"/>
                      </a:lnTo>
                      <a:lnTo>
                        <a:pt x="66786" y="240916"/>
                      </a:lnTo>
                      <a:lnTo>
                        <a:pt x="66434" y="241232"/>
                      </a:lnTo>
                      <a:lnTo>
                        <a:pt x="66738" y="242956"/>
                      </a:lnTo>
                      <a:lnTo>
                        <a:pt x="67648" y="244534"/>
                      </a:lnTo>
                      <a:lnTo>
                        <a:pt x="69093" y="245542"/>
                      </a:lnTo>
                      <a:lnTo>
                        <a:pt x="70344" y="246878"/>
                      </a:lnTo>
                      <a:lnTo>
                        <a:pt x="70696" y="249586"/>
                      </a:lnTo>
                      <a:lnTo>
                        <a:pt x="69664" y="250994"/>
                      </a:lnTo>
                      <a:lnTo>
                        <a:pt x="67770" y="252573"/>
                      </a:lnTo>
                      <a:lnTo>
                        <a:pt x="66568" y="254431"/>
                      </a:lnTo>
                      <a:lnTo>
                        <a:pt x="67405" y="256677"/>
                      </a:lnTo>
                      <a:lnTo>
                        <a:pt x="68231" y="257964"/>
                      </a:lnTo>
                      <a:lnTo>
                        <a:pt x="68960" y="259944"/>
                      </a:lnTo>
                      <a:lnTo>
                        <a:pt x="69263" y="261765"/>
                      </a:lnTo>
                      <a:lnTo>
                        <a:pt x="68754" y="262555"/>
                      </a:lnTo>
                      <a:lnTo>
                        <a:pt x="65183" y="262457"/>
                      </a:lnTo>
                      <a:lnTo>
                        <a:pt x="65584" y="265833"/>
                      </a:lnTo>
                      <a:lnTo>
                        <a:pt x="63581" y="268128"/>
                      </a:lnTo>
                      <a:lnTo>
                        <a:pt x="59670" y="271067"/>
                      </a:lnTo>
                      <a:lnTo>
                        <a:pt x="56732" y="274127"/>
                      </a:lnTo>
                      <a:lnTo>
                        <a:pt x="57885" y="276859"/>
                      </a:lnTo>
                      <a:lnTo>
                        <a:pt x="57885" y="278292"/>
                      </a:lnTo>
                      <a:lnTo>
                        <a:pt x="56453" y="278778"/>
                      </a:lnTo>
                      <a:lnTo>
                        <a:pt x="52761" y="280878"/>
                      </a:lnTo>
                      <a:lnTo>
                        <a:pt x="53222" y="282578"/>
                      </a:lnTo>
                      <a:lnTo>
                        <a:pt x="51462" y="283744"/>
                      </a:lnTo>
                      <a:lnTo>
                        <a:pt x="48584" y="284436"/>
                      </a:lnTo>
                      <a:lnTo>
                        <a:pt x="45706" y="284667"/>
                      </a:lnTo>
                      <a:lnTo>
                        <a:pt x="43581" y="286051"/>
                      </a:lnTo>
                      <a:lnTo>
                        <a:pt x="45427" y="289147"/>
                      </a:lnTo>
                      <a:lnTo>
                        <a:pt x="50187" y="293883"/>
                      </a:lnTo>
                      <a:lnTo>
                        <a:pt x="48026" y="293604"/>
                      </a:lnTo>
                      <a:lnTo>
                        <a:pt x="46155" y="293907"/>
                      </a:lnTo>
                      <a:lnTo>
                        <a:pt x="44795" y="294879"/>
                      </a:lnTo>
                      <a:lnTo>
                        <a:pt x="43824" y="296591"/>
                      </a:lnTo>
                      <a:lnTo>
                        <a:pt x="45075" y="296591"/>
                      </a:lnTo>
                      <a:lnTo>
                        <a:pt x="41407" y="301412"/>
                      </a:lnTo>
                      <a:lnTo>
                        <a:pt x="40436" y="303913"/>
                      </a:lnTo>
                      <a:lnTo>
                        <a:pt x="39866" y="308151"/>
                      </a:lnTo>
                      <a:lnTo>
                        <a:pt x="39866" y="323852"/>
                      </a:lnTo>
                      <a:lnTo>
                        <a:pt x="41237" y="323852"/>
                      </a:lnTo>
                      <a:lnTo>
                        <a:pt x="42039" y="317453"/>
                      </a:lnTo>
                      <a:lnTo>
                        <a:pt x="42901" y="313773"/>
                      </a:lnTo>
                      <a:lnTo>
                        <a:pt x="44455" y="312171"/>
                      </a:lnTo>
                      <a:lnTo>
                        <a:pt x="47139" y="312340"/>
                      </a:lnTo>
                      <a:lnTo>
                        <a:pt x="49337" y="313239"/>
                      </a:lnTo>
                      <a:lnTo>
                        <a:pt x="50830" y="315595"/>
                      </a:lnTo>
                      <a:lnTo>
                        <a:pt x="51523" y="319978"/>
                      </a:lnTo>
                      <a:lnTo>
                        <a:pt x="51000" y="326439"/>
                      </a:lnTo>
                      <a:lnTo>
                        <a:pt x="44091" y="356177"/>
                      </a:lnTo>
                      <a:lnTo>
                        <a:pt x="43071" y="357609"/>
                      </a:lnTo>
                      <a:lnTo>
                        <a:pt x="39283" y="357974"/>
                      </a:lnTo>
                      <a:lnTo>
                        <a:pt x="37085" y="359006"/>
                      </a:lnTo>
                      <a:lnTo>
                        <a:pt x="30940" y="365430"/>
                      </a:lnTo>
                      <a:lnTo>
                        <a:pt x="29811" y="367360"/>
                      </a:lnTo>
                      <a:lnTo>
                        <a:pt x="29580" y="369825"/>
                      </a:lnTo>
                      <a:lnTo>
                        <a:pt x="29580" y="373954"/>
                      </a:lnTo>
                      <a:lnTo>
                        <a:pt x="30382" y="374646"/>
                      </a:lnTo>
                      <a:lnTo>
                        <a:pt x="32228" y="374707"/>
                      </a:lnTo>
                      <a:lnTo>
                        <a:pt x="33988" y="374075"/>
                      </a:lnTo>
                      <a:lnTo>
                        <a:pt x="34862" y="372703"/>
                      </a:lnTo>
                      <a:lnTo>
                        <a:pt x="34862" y="365514"/>
                      </a:lnTo>
                      <a:lnTo>
                        <a:pt x="35725" y="365903"/>
                      </a:lnTo>
                      <a:lnTo>
                        <a:pt x="37850" y="366437"/>
                      </a:lnTo>
                      <a:lnTo>
                        <a:pt x="38639" y="366802"/>
                      </a:lnTo>
                      <a:lnTo>
                        <a:pt x="38469" y="363244"/>
                      </a:lnTo>
                      <a:lnTo>
                        <a:pt x="39562" y="361143"/>
                      </a:lnTo>
                      <a:lnTo>
                        <a:pt x="41468" y="360924"/>
                      </a:lnTo>
                      <a:lnTo>
                        <a:pt x="43824" y="362904"/>
                      </a:lnTo>
                      <a:lnTo>
                        <a:pt x="44346" y="364737"/>
                      </a:lnTo>
                      <a:lnTo>
                        <a:pt x="45123" y="371210"/>
                      </a:lnTo>
                      <a:lnTo>
                        <a:pt x="45075" y="373286"/>
                      </a:lnTo>
                      <a:lnTo>
                        <a:pt x="44152" y="374877"/>
                      </a:lnTo>
                      <a:lnTo>
                        <a:pt x="41760" y="377232"/>
                      </a:lnTo>
                      <a:lnTo>
                        <a:pt x="41237" y="379187"/>
                      </a:lnTo>
                      <a:lnTo>
                        <a:pt x="41237" y="384979"/>
                      </a:lnTo>
                      <a:lnTo>
                        <a:pt x="39404" y="391306"/>
                      </a:lnTo>
                      <a:lnTo>
                        <a:pt x="37850" y="394658"/>
                      </a:lnTo>
                      <a:lnTo>
                        <a:pt x="36004" y="396904"/>
                      </a:lnTo>
                      <a:lnTo>
                        <a:pt x="35324" y="394463"/>
                      </a:lnTo>
                      <a:lnTo>
                        <a:pt x="34170" y="393735"/>
                      </a:lnTo>
                      <a:lnTo>
                        <a:pt x="32628" y="393601"/>
                      </a:lnTo>
                      <a:lnTo>
                        <a:pt x="30892" y="392885"/>
                      </a:lnTo>
                      <a:lnTo>
                        <a:pt x="25100" y="387044"/>
                      </a:lnTo>
                      <a:lnTo>
                        <a:pt x="24347" y="385210"/>
                      </a:lnTo>
                      <a:lnTo>
                        <a:pt x="24529" y="383292"/>
                      </a:lnTo>
                      <a:lnTo>
                        <a:pt x="24286" y="381835"/>
                      </a:lnTo>
                      <a:lnTo>
                        <a:pt x="22574" y="381227"/>
                      </a:lnTo>
                      <a:lnTo>
                        <a:pt x="20376" y="380135"/>
                      </a:lnTo>
                      <a:lnTo>
                        <a:pt x="18882" y="377718"/>
                      </a:lnTo>
                      <a:lnTo>
                        <a:pt x="18105" y="375047"/>
                      </a:lnTo>
                      <a:lnTo>
                        <a:pt x="18105" y="373286"/>
                      </a:lnTo>
                      <a:lnTo>
                        <a:pt x="19295" y="372059"/>
                      </a:lnTo>
                      <a:lnTo>
                        <a:pt x="21080" y="371659"/>
                      </a:lnTo>
                      <a:lnTo>
                        <a:pt x="22635" y="371173"/>
                      </a:lnTo>
                      <a:lnTo>
                        <a:pt x="23218" y="369510"/>
                      </a:lnTo>
                      <a:lnTo>
                        <a:pt x="22112" y="368234"/>
                      </a:lnTo>
                      <a:lnTo>
                        <a:pt x="19915" y="367810"/>
                      </a:lnTo>
                      <a:lnTo>
                        <a:pt x="17753" y="367069"/>
                      </a:lnTo>
                      <a:lnTo>
                        <a:pt x="16757" y="364859"/>
                      </a:lnTo>
                      <a:lnTo>
                        <a:pt x="16612" y="362734"/>
                      </a:lnTo>
                      <a:lnTo>
                        <a:pt x="15640" y="359103"/>
                      </a:lnTo>
                      <a:lnTo>
                        <a:pt x="15385" y="356966"/>
                      </a:lnTo>
                      <a:lnTo>
                        <a:pt x="14754" y="354234"/>
                      </a:lnTo>
                      <a:lnTo>
                        <a:pt x="13321" y="354003"/>
                      </a:lnTo>
                      <a:lnTo>
                        <a:pt x="11609" y="354780"/>
                      </a:lnTo>
                      <a:lnTo>
                        <a:pt x="10273" y="355120"/>
                      </a:lnTo>
                      <a:lnTo>
                        <a:pt x="7177" y="352971"/>
                      </a:lnTo>
                      <a:lnTo>
                        <a:pt x="6606" y="349960"/>
                      </a:lnTo>
                      <a:lnTo>
                        <a:pt x="7820" y="341423"/>
                      </a:lnTo>
                      <a:lnTo>
                        <a:pt x="7820" y="333651"/>
                      </a:lnTo>
                      <a:lnTo>
                        <a:pt x="7177" y="332352"/>
                      </a:lnTo>
                      <a:lnTo>
                        <a:pt x="5635" y="331611"/>
                      </a:lnTo>
                      <a:lnTo>
                        <a:pt x="3861" y="331065"/>
                      </a:lnTo>
                      <a:lnTo>
                        <a:pt x="1785" y="329912"/>
                      </a:lnTo>
                      <a:lnTo>
                        <a:pt x="1081" y="330094"/>
                      </a:lnTo>
                      <a:lnTo>
                        <a:pt x="571" y="330094"/>
                      </a:lnTo>
                      <a:lnTo>
                        <a:pt x="61" y="329061"/>
                      </a:lnTo>
                      <a:lnTo>
                        <a:pt x="0" y="327872"/>
                      </a:lnTo>
                      <a:lnTo>
                        <a:pt x="474" y="327021"/>
                      </a:lnTo>
                      <a:lnTo>
                        <a:pt x="1032" y="326523"/>
                      </a:lnTo>
                      <a:lnTo>
                        <a:pt x="1336" y="326475"/>
                      </a:lnTo>
                      <a:lnTo>
                        <a:pt x="2769" y="320865"/>
                      </a:lnTo>
                      <a:lnTo>
                        <a:pt x="7128" y="314077"/>
                      </a:lnTo>
                      <a:lnTo>
                        <a:pt x="8573" y="313603"/>
                      </a:lnTo>
                      <a:lnTo>
                        <a:pt x="9763" y="314587"/>
                      </a:lnTo>
                      <a:lnTo>
                        <a:pt x="12592" y="318716"/>
                      </a:lnTo>
                      <a:lnTo>
                        <a:pt x="13102" y="320039"/>
                      </a:lnTo>
                      <a:lnTo>
                        <a:pt x="14147" y="320671"/>
                      </a:lnTo>
                      <a:lnTo>
                        <a:pt x="16757" y="319978"/>
                      </a:lnTo>
                      <a:lnTo>
                        <a:pt x="15519" y="323087"/>
                      </a:lnTo>
                      <a:lnTo>
                        <a:pt x="16090" y="325418"/>
                      </a:lnTo>
                      <a:lnTo>
                        <a:pt x="17389" y="326196"/>
                      </a:lnTo>
                      <a:lnTo>
                        <a:pt x="18105" y="324581"/>
                      </a:lnTo>
                      <a:lnTo>
                        <a:pt x="18676" y="314077"/>
                      </a:lnTo>
                      <a:lnTo>
                        <a:pt x="19599" y="311491"/>
                      </a:lnTo>
                      <a:lnTo>
                        <a:pt x="19186" y="308588"/>
                      </a:lnTo>
                      <a:lnTo>
                        <a:pt x="18372" y="305686"/>
                      </a:lnTo>
                      <a:lnTo>
                        <a:pt x="18105" y="303064"/>
                      </a:lnTo>
                      <a:lnTo>
                        <a:pt x="18785" y="300198"/>
                      </a:lnTo>
                      <a:lnTo>
                        <a:pt x="21080" y="295972"/>
                      </a:lnTo>
                      <a:lnTo>
                        <a:pt x="21930" y="293883"/>
                      </a:lnTo>
                      <a:lnTo>
                        <a:pt x="21603" y="274880"/>
                      </a:lnTo>
                      <a:lnTo>
                        <a:pt x="22574" y="271079"/>
                      </a:lnTo>
                      <a:lnTo>
                        <a:pt x="26885" y="262530"/>
                      </a:lnTo>
                      <a:lnTo>
                        <a:pt x="29398" y="258996"/>
                      </a:lnTo>
                      <a:lnTo>
                        <a:pt x="30892" y="261267"/>
                      </a:lnTo>
                      <a:lnTo>
                        <a:pt x="32288" y="261267"/>
                      </a:lnTo>
                      <a:lnTo>
                        <a:pt x="33527" y="257928"/>
                      </a:lnTo>
                      <a:lnTo>
                        <a:pt x="35275" y="256532"/>
                      </a:lnTo>
                      <a:lnTo>
                        <a:pt x="36757" y="257673"/>
                      </a:lnTo>
                      <a:lnTo>
                        <a:pt x="37400" y="261935"/>
                      </a:lnTo>
                      <a:lnTo>
                        <a:pt x="36417" y="265663"/>
                      </a:lnTo>
                      <a:lnTo>
                        <a:pt x="36466" y="267242"/>
                      </a:lnTo>
                      <a:lnTo>
                        <a:pt x="38007" y="267910"/>
                      </a:lnTo>
                      <a:lnTo>
                        <a:pt x="39173" y="267667"/>
                      </a:lnTo>
                      <a:lnTo>
                        <a:pt x="39622" y="267181"/>
                      </a:lnTo>
                      <a:lnTo>
                        <a:pt x="39926" y="266695"/>
                      </a:lnTo>
                      <a:lnTo>
                        <a:pt x="40546" y="266477"/>
                      </a:lnTo>
                      <a:lnTo>
                        <a:pt x="44285" y="266550"/>
                      </a:lnTo>
                      <a:lnTo>
                        <a:pt x="45075" y="266477"/>
                      </a:lnTo>
                      <a:lnTo>
                        <a:pt x="48584" y="264740"/>
                      </a:lnTo>
                      <a:lnTo>
                        <a:pt x="49507" y="263562"/>
                      </a:lnTo>
                      <a:lnTo>
                        <a:pt x="50187" y="261267"/>
                      </a:lnTo>
                      <a:lnTo>
                        <a:pt x="48280" y="253484"/>
                      </a:lnTo>
                      <a:lnTo>
                        <a:pt x="46981" y="253083"/>
                      </a:lnTo>
                      <a:lnTo>
                        <a:pt x="45536" y="252172"/>
                      </a:lnTo>
                      <a:lnTo>
                        <a:pt x="44346" y="251080"/>
                      </a:lnTo>
                      <a:lnTo>
                        <a:pt x="43824" y="250193"/>
                      </a:lnTo>
                      <a:lnTo>
                        <a:pt x="43885" y="248153"/>
                      </a:lnTo>
                      <a:lnTo>
                        <a:pt x="44152" y="248092"/>
                      </a:lnTo>
                      <a:lnTo>
                        <a:pt x="44917" y="248578"/>
                      </a:lnTo>
                      <a:lnTo>
                        <a:pt x="48026" y="247631"/>
                      </a:lnTo>
                      <a:lnTo>
                        <a:pt x="49616" y="247607"/>
                      </a:lnTo>
                      <a:lnTo>
                        <a:pt x="50478" y="246878"/>
                      </a:lnTo>
                      <a:lnTo>
                        <a:pt x="50187" y="244389"/>
                      </a:lnTo>
                      <a:lnTo>
                        <a:pt x="49142" y="242494"/>
                      </a:lnTo>
                      <a:lnTo>
                        <a:pt x="47552" y="241766"/>
                      </a:lnTo>
                      <a:lnTo>
                        <a:pt x="43071" y="241766"/>
                      </a:lnTo>
                      <a:lnTo>
                        <a:pt x="39100" y="240248"/>
                      </a:lnTo>
                      <a:lnTo>
                        <a:pt x="37024" y="236496"/>
                      </a:lnTo>
                      <a:lnTo>
                        <a:pt x="36186" y="231784"/>
                      </a:lnTo>
                      <a:lnTo>
                        <a:pt x="36878" y="186673"/>
                      </a:lnTo>
                      <a:lnTo>
                        <a:pt x="37850" y="184087"/>
                      </a:lnTo>
                      <a:lnTo>
                        <a:pt x="41237" y="180189"/>
                      </a:lnTo>
                      <a:lnTo>
                        <a:pt x="42209" y="178125"/>
                      </a:lnTo>
                      <a:lnTo>
                        <a:pt x="43071" y="177117"/>
                      </a:lnTo>
                      <a:lnTo>
                        <a:pt x="44091" y="176837"/>
                      </a:lnTo>
                      <a:lnTo>
                        <a:pt x="46920" y="176716"/>
                      </a:lnTo>
                      <a:lnTo>
                        <a:pt x="47649" y="176546"/>
                      </a:lnTo>
                      <a:lnTo>
                        <a:pt x="48414" y="174190"/>
                      </a:lnTo>
                      <a:lnTo>
                        <a:pt x="47321" y="173365"/>
                      </a:lnTo>
                      <a:lnTo>
                        <a:pt x="45245" y="172915"/>
                      </a:lnTo>
                      <a:lnTo>
                        <a:pt x="43071" y="171871"/>
                      </a:lnTo>
                      <a:lnTo>
                        <a:pt x="41760" y="168908"/>
                      </a:lnTo>
                      <a:lnTo>
                        <a:pt x="41237" y="155612"/>
                      </a:lnTo>
                      <a:lnTo>
                        <a:pt x="39866" y="147099"/>
                      </a:lnTo>
                      <a:lnTo>
                        <a:pt x="40485" y="144707"/>
                      </a:lnTo>
                      <a:lnTo>
                        <a:pt x="41990" y="143092"/>
                      </a:lnTo>
                      <a:lnTo>
                        <a:pt x="43691" y="141659"/>
                      </a:lnTo>
                      <a:lnTo>
                        <a:pt x="45075" y="139850"/>
                      </a:lnTo>
                      <a:lnTo>
                        <a:pt x="48875" y="140821"/>
                      </a:lnTo>
                      <a:lnTo>
                        <a:pt x="51632" y="137446"/>
                      </a:lnTo>
                      <a:lnTo>
                        <a:pt x="53356" y="132358"/>
                      </a:lnTo>
                      <a:lnTo>
                        <a:pt x="54048" y="128169"/>
                      </a:lnTo>
                      <a:lnTo>
                        <a:pt x="54048" y="118308"/>
                      </a:lnTo>
                      <a:lnTo>
                        <a:pt x="56841" y="113148"/>
                      </a:lnTo>
                      <a:lnTo>
                        <a:pt x="58128" y="109930"/>
                      </a:lnTo>
                      <a:lnTo>
                        <a:pt x="57242" y="108533"/>
                      </a:lnTo>
                      <a:lnTo>
                        <a:pt x="53077" y="106493"/>
                      </a:lnTo>
                      <a:lnTo>
                        <a:pt x="53283" y="101794"/>
                      </a:lnTo>
                      <a:lnTo>
                        <a:pt x="57145" y="90574"/>
                      </a:lnTo>
                      <a:lnTo>
                        <a:pt x="60654" y="84272"/>
                      </a:lnTo>
                      <a:lnTo>
                        <a:pt x="61504" y="83118"/>
                      </a:lnTo>
                      <a:lnTo>
                        <a:pt x="61735" y="82463"/>
                      </a:lnTo>
                      <a:lnTo>
                        <a:pt x="61176" y="81333"/>
                      </a:lnTo>
                      <a:lnTo>
                        <a:pt x="58638" y="78468"/>
                      </a:lnTo>
                      <a:lnTo>
                        <a:pt x="57885" y="77144"/>
                      </a:lnTo>
                      <a:lnTo>
                        <a:pt x="59962" y="74655"/>
                      </a:lnTo>
                      <a:lnTo>
                        <a:pt x="59500" y="70708"/>
                      </a:lnTo>
                      <a:lnTo>
                        <a:pt x="59610" y="67041"/>
                      </a:lnTo>
                      <a:lnTo>
                        <a:pt x="63581" y="65402"/>
                      </a:lnTo>
                      <a:lnTo>
                        <a:pt x="63581" y="63641"/>
                      </a:lnTo>
                      <a:lnTo>
                        <a:pt x="60921" y="55214"/>
                      </a:lnTo>
                      <a:lnTo>
                        <a:pt x="61735" y="52251"/>
                      </a:lnTo>
                      <a:lnTo>
                        <a:pt x="61735" y="51073"/>
                      </a:lnTo>
                      <a:lnTo>
                        <a:pt x="59306" y="48353"/>
                      </a:lnTo>
                      <a:lnTo>
                        <a:pt x="60472" y="44528"/>
                      </a:lnTo>
                      <a:lnTo>
                        <a:pt x="67867" y="35263"/>
                      </a:lnTo>
                      <a:lnTo>
                        <a:pt x="68754" y="33818"/>
                      </a:lnTo>
                      <a:lnTo>
                        <a:pt x="69421" y="31523"/>
                      </a:lnTo>
                      <a:lnTo>
                        <a:pt x="69531" y="29665"/>
                      </a:lnTo>
                      <a:lnTo>
                        <a:pt x="69312" y="24978"/>
                      </a:lnTo>
                      <a:lnTo>
                        <a:pt x="69421" y="23606"/>
                      </a:lnTo>
                      <a:lnTo>
                        <a:pt x="70696" y="20995"/>
                      </a:lnTo>
                      <a:lnTo>
                        <a:pt x="70975" y="21080"/>
                      </a:lnTo>
                      <a:lnTo>
                        <a:pt x="73283" y="19550"/>
                      </a:lnTo>
                      <a:lnTo>
                        <a:pt x="77460" y="14669"/>
                      </a:lnTo>
                      <a:lnTo>
                        <a:pt x="78395" y="13151"/>
                      </a:lnTo>
                      <a:lnTo>
                        <a:pt x="78856" y="11171"/>
                      </a:lnTo>
                      <a:lnTo>
                        <a:pt x="78856" y="7868"/>
                      </a:lnTo>
                      <a:lnTo>
                        <a:pt x="79634" y="6411"/>
                      </a:lnTo>
                      <a:lnTo>
                        <a:pt x="81322" y="5343"/>
                      </a:lnTo>
                      <a:lnTo>
                        <a:pt x="84819" y="4651"/>
                      </a:lnTo>
                      <a:lnTo>
                        <a:pt x="86130" y="3922"/>
                      </a:lnTo>
                      <a:lnTo>
                        <a:pt x="87526" y="5379"/>
                      </a:lnTo>
                      <a:lnTo>
                        <a:pt x="88607" y="5998"/>
                      </a:lnTo>
                      <a:lnTo>
                        <a:pt x="89688" y="5950"/>
                      </a:lnTo>
                      <a:lnTo>
                        <a:pt x="91315" y="5234"/>
                      </a:lnTo>
                      <a:lnTo>
                        <a:pt x="90198" y="4104"/>
                      </a:lnTo>
                      <a:lnTo>
                        <a:pt x="89931" y="3048"/>
                      </a:lnTo>
                      <a:lnTo>
                        <a:pt x="90331" y="1785"/>
                      </a:lnTo>
                      <a:lnTo>
                        <a:pt x="91315" y="0"/>
                      </a:lnTo>
                      <a:close/>
                    </a:path>
                  </a:pathLst>
                </a:custGeom>
                <a:solidFill>
                  <a:srgbClr val="D7D7D2"/>
                </a:solidFill>
                <a:ln w="12138" cap="flat">
                  <a:noFill/>
                  <a:prstDash val="solid"/>
                  <a:miter/>
                </a:ln>
              </p:spPr>
              <p:txBody>
                <a:bodyPr rtlCol="0" anchor="ctr"/>
                <a:lstStyle/>
                <a:p>
                  <a:endParaRPr lang="en-US"/>
                </a:p>
              </p:txBody>
            </p:sp>
            <p:sp>
              <p:nvSpPr>
                <p:cNvPr id="354" name="Freeform: Shape 353">
                  <a:extLst>
                    <a:ext uri="{FF2B5EF4-FFF2-40B4-BE49-F238E27FC236}">
                      <a16:creationId xmlns:a16="http://schemas.microsoft.com/office/drawing/2014/main" id="{F6133584-4514-44CF-A898-BEF1BAF77D57}"/>
                    </a:ext>
                  </a:extLst>
                </p:cNvPr>
                <p:cNvSpPr/>
                <p:nvPr/>
              </p:nvSpPr>
              <p:spPr>
                <a:xfrm>
                  <a:off x="8018955" y="5359037"/>
                  <a:ext cx="11657" cy="7637"/>
                </a:xfrm>
                <a:custGeom>
                  <a:avLst/>
                  <a:gdLst>
                    <a:gd name="connsiteX0" fmla="*/ 9763 w 11657"/>
                    <a:gd name="connsiteY0" fmla="*/ 3473 h 7637"/>
                    <a:gd name="connsiteX1" fmla="*/ 11657 w 11657"/>
                    <a:gd name="connsiteY1" fmla="*/ 7638 h 7637"/>
                    <a:gd name="connsiteX2" fmla="*/ 5391 w 11657"/>
                    <a:gd name="connsiteY2" fmla="*/ 5877 h 7637"/>
                    <a:gd name="connsiteX3" fmla="*/ 1822 w 11657"/>
                    <a:gd name="connsiteY3" fmla="*/ 4299 h 7637"/>
                    <a:gd name="connsiteX4" fmla="*/ 0 w 11657"/>
                    <a:gd name="connsiteY4" fmla="*/ 2441 h 7637"/>
                    <a:gd name="connsiteX5" fmla="*/ 5391 w 11657"/>
                    <a:gd name="connsiteY5" fmla="*/ 0 h 7637"/>
                    <a:gd name="connsiteX6" fmla="*/ 7966 w 11657"/>
                    <a:gd name="connsiteY6" fmla="*/ 0 h 7637"/>
                    <a:gd name="connsiteX7" fmla="*/ 9083 w 11657"/>
                    <a:gd name="connsiteY7" fmla="*/ 2441 h 7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57" h="7637">
                      <a:moveTo>
                        <a:pt x="9763" y="3473"/>
                      </a:moveTo>
                      <a:lnTo>
                        <a:pt x="11657" y="7638"/>
                      </a:lnTo>
                      <a:lnTo>
                        <a:pt x="5391" y="5877"/>
                      </a:lnTo>
                      <a:lnTo>
                        <a:pt x="1822" y="4299"/>
                      </a:lnTo>
                      <a:lnTo>
                        <a:pt x="0" y="2441"/>
                      </a:lnTo>
                      <a:lnTo>
                        <a:pt x="5391" y="0"/>
                      </a:lnTo>
                      <a:lnTo>
                        <a:pt x="7966" y="0"/>
                      </a:lnTo>
                      <a:lnTo>
                        <a:pt x="9083" y="2441"/>
                      </a:lnTo>
                      <a:close/>
                    </a:path>
                  </a:pathLst>
                </a:custGeom>
                <a:solidFill>
                  <a:srgbClr val="D7D7D2"/>
                </a:solidFill>
                <a:ln w="12138" cap="flat">
                  <a:noFill/>
                  <a:prstDash val="solid"/>
                  <a:miter/>
                </a:ln>
              </p:spPr>
              <p:txBody>
                <a:bodyPr rtlCol="0" anchor="ctr"/>
                <a:lstStyle/>
                <a:p>
                  <a:endParaRPr lang="en-US"/>
                </a:p>
              </p:txBody>
            </p:sp>
          </p:grpSp>
          <p:grpSp>
            <p:nvGrpSpPr>
              <p:cNvPr id="248" name="Graphic 280">
                <a:extLst>
                  <a:ext uri="{FF2B5EF4-FFF2-40B4-BE49-F238E27FC236}">
                    <a16:creationId xmlns:a16="http://schemas.microsoft.com/office/drawing/2014/main" id="{6F6B3814-3E34-4588-AEDB-3FC4A5D07A8F}"/>
                  </a:ext>
                </a:extLst>
              </p:cNvPr>
              <p:cNvGrpSpPr/>
              <p:nvPr/>
            </p:nvGrpSpPr>
            <p:grpSpPr>
              <a:xfrm>
                <a:off x="4869296" y="5380348"/>
                <a:ext cx="784555" cy="1048506"/>
                <a:chOff x="4869296" y="5380348"/>
                <a:chExt cx="784555" cy="1048506"/>
              </a:xfrm>
            </p:grpSpPr>
            <p:sp>
              <p:nvSpPr>
                <p:cNvPr id="342" name="Freeform: Shape 341">
                  <a:extLst>
                    <a:ext uri="{FF2B5EF4-FFF2-40B4-BE49-F238E27FC236}">
                      <a16:creationId xmlns:a16="http://schemas.microsoft.com/office/drawing/2014/main" id="{DC8B14DE-F91D-4062-8E3F-0C6366708A57}"/>
                    </a:ext>
                  </a:extLst>
                </p:cNvPr>
                <p:cNvSpPr/>
                <p:nvPr/>
              </p:nvSpPr>
              <p:spPr>
                <a:xfrm>
                  <a:off x="4872392" y="5383468"/>
                  <a:ext cx="778289" cy="1042277"/>
                </a:xfrm>
                <a:custGeom>
                  <a:avLst/>
                  <a:gdLst>
                    <a:gd name="connsiteX0" fmla="*/ 231165 w 778289"/>
                    <a:gd name="connsiteY0" fmla="*/ 1040018 h 1042277"/>
                    <a:gd name="connsiteX1" fmla="*/ 205689 w 778289"/>
                    <a:gd name="connsiteY1" fmla="*/ 1032308 h 1042277"/>
                    <a:gd name="connsiteX2" fmla="*/ 203406 w 778289"/>
                    <a:gd name="connsiteY2" fmla="*/ 1031360 h 1042277"/>
                    <a:gd name="connsiteX3" fmla="*/ 200358 w 778289"/>
                    <a:gd name="connsiteY3" fmla="*/ 1027754 h 1042277"/>
                    <a:gd name="connsiteX4" fmla="*/ 199253 w 778289"/>
                    <a:gd name="connsiteY4" fmla="*/ 1026904 h 1042277"/>
                    <a:gd name="connsiteX5" fmla="*/ 195088 w 778289"/>
                    <a:gd name="connsiteY5" fmla="*/ 1024330 h 1042277"/>
                    <a:gd name="connsiteX6" fmla="*/ 191409 w 778289"/>
                    <a:gd name="connsiteY6" fmla="*/ 1023419 h 1042277"/>
                    <a:gd name="connsiteX7" fmla="*/ 187936 w 778289"/>
                    <a:gd name="connsiteY7" fmla="*/ 1021257 h 1042277"/>
                    <a:gd name="connsiteX8" fmla="*/ 169503 w 778289"/>
                    <a:gd name="connsiteY8" fmla="*/ 1004476 h 1042277"/>
                    <a:gd name="connsiteX9" fmla="*/ 163553 w 778289"/>
                    <a:gd name="connsiteY9" fmla="*/ 1000129 h 1042277"/>
                    <a:gd name="connsiteX10" fmla="*/ 167876 w 778289"/>
                    <a:gd name="connsiteY10" fmla="*/ 995527 h 1042277"/>
                    <a:gd name="connsiteX11" fmla="*/ 168945 w 778289"/>
                    <a:gd name="connsiteY11" fmla="*/ 995138 h 1042277"/>
                    <a:gd name="connsiteX12" fmla="*/ 170159 w 778289"/>
                    <a:gd name="connsiteY12" fmla="*/ 994883 h 1042277"/>
                    <a:gd name="connsiteX13" fmla="*/ 171592 w 778289"/>
                    <a:gd name="connsiteY13" fmla="*/ 994810 h 1042277"/>
                    <a:gd name="connsiteX14" fmla="*/ 174445 w 778289"/>
                    <a:gd name="connsiteY14" fmla="*/ 995138 h 1042277"/>
                    <a:gd name="connsiteX15" fmla="*/ 175441 w 778289"/>
                    <a:gd name="connsiteY15" fmla="*/ 994798 h 1042277"/>
                    <a:gd name="connsiteX16" fmla="*/ 175951 w 778289"/>
                    <a:gd name="connsiteY16" fmla="*/ 994191 h 1042277"/>
                    <a:gd name="connsiteX17" fmla="*/ 175818 w 778289"/>
                    <a:gd name="connsiteY17" fmla="*/ 993973 h 1042277"/>
                    <a:gd name="connsiteX18" fmla="*/ 175745 w 778289"/>
                    <a:gd name="connsiteY18" fmla="*/ 992855 h 1042277"/>
                    <a:gd name="connsiteX19" fmla="*/ 175453 w 778289"/>
                    <a:gd name="connsiteY19" fmla="*/ 991082 h 1042277"/>
                    <a:gd name="connsiteX20" fmla="*/ 175526 w 778289"/>
                    <a:gd name="connsiteY20" fmla="*/ 989771 h 1042277"/>
                    <a:gd name="connsiteX21" fmla="*/ 176631 w 778289"/>
                    <a:gd name="connsiteY21" fmla="*/ 986674 h 1042277"/>
                    <a:gd name="connsiteX22" fmla="*/ 178890 w 778289"/>
                    <a:gd name="connsiteY22" fmla="*/ 982546 h 1042277"/>
                    <a:gd name="connsiteX23" fmla="*/ 183249 w 778289"/>
                    <a:gd name="connsiteY23" fmla="*/ 977276 h 1042277"/>
                    <a:gd name="connsiteX24" fmla="*/ 184561 w 778289"/>
                    <a:gd name="connsiteY24" fmla="*/ 975005 h 1042277"/>
                    <a:gd name="connsiteX25" fmla="*/ 184743 w 778289"/>
                    <a:gd name="connsiteY25" fmla="*/ 974325 h 1042277"/>
                    <a:gd name="connsiteX26" fmla="*/ 184585 w 778289"/>
                    <a:gd name="connsiteY26" fmla="*/ 973342 h 1042277"/>
                    <a:gd name="connsiteX27" fmla="*/ 183103 w 778289"/>
                    <a:gd name="connsiteY27" fmla="*/ 968254 h 1042277"/>
                    <a:gd name="connsiteX28" fmla="*/ 182788 w 778289"/>
                    <a:gd name="connsiteY28" fmla="*/ 966080 h 1042277"/>
                    <a:gd name="connsiteX29" fmla="*/ 182824 w 778289"/>
                    <a:gd name="connsiteY29" fmla="*/ 963530 h 1042277"/>
                    <a:gd name="connsiteX30" fmla="*/ 183249 w 778289"/>
                    <a:gd name="connsiteY30" fmla="*/ 961587 h 1042277"/>
                    <a:gd name="connsiteX31" fmla="*/ 185241 w 778289"/>
                    <a:gd name="connsiteY31" fmla="*/ 959620 h 1042277"/>
                    <a:gd name="connsiteX32" fmla="*/ 187365 w 778289"/>
                    <a:gd name="connsiteY32" fmla="*/ 959924 h 1042277"/>
                    <a:gd name="connsiteX33" fmla="*/ 187754 w 778289"/>
                    <a:gd name="connsiteY33" fmla="*/ 960057 h 1042277"/>
                    <a:gd name="connsiteX34" fmla="*/ 188483 w 778289"/>
                    <a:gd name="connsiteY34" fmla="*/ 960434 h 1042277"/>
                    <a:gd name="connsiteX35" fmla="*/ 190207 w 778289"/>
                    <a:gd name="connsiteY35" fmla="*/ 961976 h 1042277"/>
                    <a:gd name="connsiteX36" fmla="*/ 190328 w 778289"/>
                    <a:gd name="connsiteY36" fmla="*/ 961952 h 1042277"/>
                    <a:gd name="connsiteX37" fmla="*/ 191555 w 778289"/>
                    <a:gd name="connsiteY37" fmla="*/ 961005 h 1042277"/>
                    <a:gd name="connsiteX38" fmla="*/ 194518 w 778289"/>
                    <a:gd name="connsiteY38" fmla="*/ 957799 h 1042277"/>
                    <a:gd name="connsiteX39" fmla="*/ 196011 w 778289"/>
                    <a:gd name="connsiteY39" fmla="*/ 955467 h 1042277"/>
                    <a:gd name="connsiteX40" fmla="*/ 196861 w 778289"/>
                    <a:gd name="connsiteY40" fmla="*/ 953063 h 1042277"/>
                    <a:gd name="connsiteX41" fmla="*/ 196594 w 778289"/>
                    <a:gd name="connsiteY41" fmla="*/ 952334 h 1042277"/>
                    <a:gd name="connsiteX42" fmla="*/ 196084 w 778289"/>
                    <a:gd name="connsiteY42" fmla="*/ 951351 h 1042277"/>
                    <a:gd name="connsiteX43" fmla="*/ 195307 w 778289"/>
                    <a:gd name="connsiteY43" fmla="*/ 950331 h 1042277"/>
                    <a:gd name="connsiteX44" fmla="*/ 192211 w 778289"/>
                    <a:gd name="connsiteY44" fmla="*/ 946955 h 1042277"/>
                    <a:gd name="connsiteX45" fmla="*/ 183759 w 778289"/>
                    <a:gd name="connsiteY45" fmla="*/ 940361 h 1042277"/>
                    <a:gd name="connsiteX46" fmla="*/ 181865 w 778289"/>
                    <a:gd name="connsiteY46" fmla="*/ 938261 h 1042277"/>
                    <a:gd name="connsiteX47" fmla="*/ 180602 w 778289"/>
                    <a:gd name="connsiteY47" fmla="*/ 936075 h 1042277"/>
                    <a:gd name="connsiteX48" fmla="*/ 179740 w 778289"/>
                    <a:gd name="connsiteY48" fmla="*/ 933901 h 1042277"/>
                    <a:gd name="connsiteX49" fmla="*/ 179254 w 778289"/>
                    <a:gd name="connsiteY49" fmla="*/ 931534 h 1042277"/>
                    <a:gd name="connsiteX50" fmla="*/ 179072 w 778289"/>
                    <a:gd name="connsiteY50" fmla="*/ 927963 h 1042277"/>
                    <a:gd name="connsiteX51" fmla="*/ 178841 w 778289"/>
                    <a:gd name="connsiteY51" fmla="*/ 926834 h 1042277"/>
                    <a:gd name="connsiteX52" fmla="*/ 178392 w 778289"/>
                    <a:gd name="connsiteY52" fmla="*/ 925681 h 1042277"/>
                    <a:gd name="connsiteX53" fmla="*/ 177918 w 778289"/>
                    <a:gd name="connsiteY53" fmla="*/ 922645 h 1042277"/>
                    <a:gd name="connsiteX54" fmla="*/ 178356 w 778289"/>
                    <a:gd name="connsiteY54" fmla="*/ 919937 h 1042277"/>
                    <a:gd name="connsiteX55" fmla="*/ 178513 w 778289"/>
                    <a:gd name="connsiteY55" fmla="*/ 919330 h 1042277"/>
                    <a:gd name="connsiteX56" fmla="*/ 181015 w 778289"/>
                    <a:gd name="connsiteY56" fmla="*/ 916015 h 1042277"/>
                    <a:gd name="connsiteX57" fmla="*/ 188993 w 778289"/>
                    <a:gd name="connsiteY57" fmla="*/ 903775 h 1042277"/>
                    <a:gd name="connsiteX58" fmla="*/ 191834 w 778289"/>
                    <a:gd name="connsiteY58" fmla="*/ 894024 h 1042277"/>
                    <a:gd name="connsiteX59" fmla="*/ 191858 w 778289"/>
                    <a:gd name="connsiteY59" fmla="*/ 893575 h 1042277"/>
                    <a:gd name="connsiteX60" fmla="*/ 190923 w 778289"/>
                    <a:gd name="connsiteY60" fmla="*/ 892312 h 1042277"/>
                    <a:gd name="connsiteX61" fmla="*/ 189709 w 778289"/>
                    <a:gd name="connsiteY61" fmla="*/ 891328 h 1042277"/>
                    <a:gd name="connsiteX62" fmla="*/ 186746 w 778289"/>
                    <a:gd name="connsiteY62" fmla="*/ 889774 h 1042277"/>
                    <a:gd name="connsiteX63" fmla="*/ 182861 w 778289"/>
                    <a:gd name="connsiteY63" fmla="*/ 886483 h 1042277"/>
                    <a:gd name="connsiteX64" fmla="*/ 180456 w 778289"/>
                    <a:gd name="connsiteY64" fmla="*/ 880715 h 1042277"/>
                    <a:gd name="connsiteX65" fmla="*/ 176048 w 778289"/>
                    <a:gd name="connsiteY65" fmla="*/ 868694 h 1042277"/>
                    <a:gd name="connsiteX66" fmla="*/ 175125 w 778289"/>
                    <a:gd name="connsiteY66" fmla="*/ 863849 h 1042277"/>
                    <a:gd name="connsiteX67" fmla="*/ 175988 w 778289"/>
                    <a:gd name="connsiteY67" fmla="*/ 862489 h 1042277"/>
                    <a:gd name="connsiteX68" fmla="*/ 176656 w 778289"/>
                    <a:gd name="connsiteY68" fmla="*/ 861639 h 1042277"/>
                    <a:gd name="connsiteX69" fmla="*/ 177918 w 778289"/>
                    <a:gd name="connsiteY69" fmla="*/ 860521 h 1042277"/>
                    <a:gd name="connsiteX70" fmla="*/ 185022 w 778289"/>
                    <a:gd name="connsiteY70" fmla="*/ 855506 h 1042277"/>
                    <a:gd name="connsiteX71" fmla="*/ 187997 w 778289"/>
                    <a:gd name="connsiteY71" fmla="*/ 850819 h 1042277"/>
                    <a:gd name="connsiteX72" fmla="*/ 192368 w 778289"/>
                    <a:gd name="connsiteY72" fmla="*/ 840389 h 1042277"/>
                    <a:gd name="connsiteX73" fmla="*/ 203054 w 778289"/>
                    <a:gd name="connsiteY73" fmla="*/ 806850 h 1042277"/>
                    <a:gd name="connsiteX74" fmla="*/ 208349 w 778289"/>
                    <a:gd name="connsiteY74" fmla="*/ 798010 h 1042277"/>
                    <a:gd name="connsiteX75" fmla="*/ 212659 w 778289"/>
                    <a:gd name="connsiteY75" fmla="*/ 784980 h 1042277"/>
                    <a:gd name="connsiteX76" fmla="*/ 214031 w 778289"/>
                    <a:gd name="connsiteY76" fmla="*/ 782163 h 1042277"/>
                    <a:gd name="connsiteX77" fmla="*/ 215464 w 778289"/>
                    <a:gd name="connsiteY77" fmla="*/ 780160 h 1042277"/>
                    <a:gd name="connsiteX78" fmla="*/ 220103 w 778289"/>
                    <a:gd name="connsiteY78" fmla="*/ 776067 h 1042277"/>
                    <a:gd name="connsiteX79" fmla="*/ 220176 w 778289"/>
                    <a:gd name="connsiteY79" fmla="*/ 773238 h 1042277"/>
                    <a:gd name="connsiteX80" fmla="*/ 219338 w 778289"/>
                    <a:gd name="connsiteY80" fmla="*/ 771307 h 1042277"/>
                    <a:gd name="connsiteX81" fmla="*/ 214007 w 778289"/>
                    <a:gd name="connsiteY81" fmla="*/ 765127 h 1042277"/>
                    <a:gd name="connsiteX82" fmla="*/ 212295 w 778289"/>
                    <a:gd name="connsiteY82" fmla="*/ 762103 h 1042277"/>
                    <a:gd name="connsiteX83" fmla="*/ 210704 w 778289"/>
                    <a:gd name="connsiteY83" fmla="*/ 758242 h 1042277"/>
                    <a:gd name="connsiteX84" fmla="*/ 210389 w 778289"/>
                    <a:gd name="connsiteY84" fmla="*/ 757914 h 1042277"/>
                    <a:gd name="connsiteX85" fmla="*/ 209660 w 778289"/>
                    <a:gd name="connsiteY85" fmla="*/ 757817 h 1042277"/>
                    <a:gd name="connsiteX86" fmla="*/ 206782 w 778289"/>
                    <a:gd name="connsiteY86" fmla="*/ 757914 h 1042277"/>
                    <a:gd name="connsiteX87" fmla="*/ 205993 w 778289"/>
                    <a:gd name="connsiteY87" fmla="*/ 758157 h 1042277"/>
                    <a:gd name="connsiteX88" fmla="*/ 197481 w 778289"/>
                    <a:gd name="connsiteY88" fmla="*/ 762249 h 1042277"/>
                    <a:gd name="connsiteX89" fmla="*/ 195234 w 778289"/>
                    <a:gd name="connsiteY89" fmla="*/ 762297 h 1042277"/>
                    <a:gd name="connsiteX90" fmla="*/ 191883 w 778289"/>
                    <a:gd name="connsiteY90" fmla="*/ 761982 h 1042277"/>
                    <a:gd name="connsiteX91" fmla="*/ 190122 w 778289"/>
                    <a:gd name="connsiteY91" fmla="*/ 760440 h 1042277"/>
                    <a:gd name="connsiteX92" fmla="*/ 188264 w 778289"/>
                    <a:gd name="connsiteY92" fmla="*/ 758545 h 1042277"/>
                    <a:gd name="connsiteX93" fmla="*/ 187123 w 778289"/>
                    <a:gd name="connsiteY93" fmla="*/ 757877 h 1042277"/>
                    <a:gd name="connsiteX94" fmla="*/ 186212 w 778289"/>
                    <a:gd name="connsiteY94" fmla="*/ 757574 h 1042277"/>
                    <a:gd name="connsiteX95" fmla="*/ 184901 w 778289"/>
                    <a:gd name="connsiteY95" fmla="*/ 757258 h 1042277"/>
                    <a:gd name="connsiteX96" fmla="*/ 182739 w 778289"/>
                    <a:gd name="connsiteY96" fmla="*/ 756432 h 1042277"/>
                    <a:gd name="connsiteX97" fmla="*/ 181343 w 778289"/>
                    <a:gd name="connsiteY97" fmla="*/ 755497 h 1042277"/>
                    <a:gd name="connsiteX98" fmla="*/ 180323 w 778289"/>
                    <a:gd name="connsiteY98" fmla="*/ 754295 h 1042277"/>
                    <a:gd name="connsiteX99" fmla="*/ 179983 w 778289"/>
                    <a:gd name="connsiteY99" fmla="*/ 753664 h 1042277"/>
                    <a:gd name="connsiteX100" fmla="*/ 179376 w 778289"/>
                    <a:gd name="connsiteY100" fmla="*/ 751915 h 1042277"/>
                    <a:gd name="connsiteX101" fmla="*/ 179327 w 778289"/>
                    <a:gd name="connsiteY101" fmla="*/ 750567 h 1042277"/>
                    <a:gd name="connsiteX102" fmla="*/ 179570 w 778289"/>
                    <a:gd name="connsiteY102" fmla="*/ 748333 h 1042277"/>
                    <a:gd name="connsiteX103" fmla="*/ 188641 w 778289"/>
                    <a:gd name="connsiteY103" fmla="*/ 719105 h 1042277"/>
                    <a:gd name="connsiteX104" fmla="*/ 188932 w 778289"/>
                    <a:gd name="connsiteY104" fmla="*/ 716895 h 1042277"/>
                    <a:gd name="connsiteX105" fmla="*/ 188956 w 778289"/>
                    <a:gd name="connsiteY105" fmla="*/ 713896 h 1042277"/>
                    <a:gd name="connsiteX106" fmla="*/ 187876 w 778289"/>
                    <a:gd name="connsiteY106" fmla="*/ 710641 h 1042277"/>
                    <a:gd name="connsiteX107" fmla="*/ 186746 w 778289"/>
                    <a:gd name="connsiteY107" fmla="*/ 702554 h 1042277"/>
                    <a:gd name="connsiteX108" fmla="*/ 186904 w 778289"/>
                    <a:gd name="connsiteY108" fmla="*/ 699482 h 1042277"/>
                    <a:gd name="connsiteX109" fmla="*/ 187402 w 778289"/>
                    <a:gd name="connsiteY109" fmla="*/ 696920 h 1042277"/>
                    <a:gd name="connsiteX110" fmla="*/ 192854 w 778289"/>
                    <a:gd name="connsiteY110" fmla="*/ 686064 h 1042277"/>
                    <a:gd name="connsiteX111" fmla="*/ 193218 w 778289"/>
                    <a:gd name="connsiteY111" fmla="*/ 683830 h 1042277"/>
                    <a:gd name="connsiteX112" fmla="*/ 193146 w 778289"/>
                    <a:gd name="connsiteY112" fmla="*/ 682591 h 1042277"/>
                    <a:gd name="connsiteX113" fmla="*/ 189442 w 778289"/>
                    <a:gd name="connsiteY113" fmla="*/ 671590 h 1042277"/>
                    <a:gd name="connsiteX114" fmla="*/ 186430 w 778289"/>
                    <a:gd name="connsiteY114" fmla="*/ 665142 h 1042277"/>
                    <a:gd name="connsiteX115" fmla="*/ 186430 w 778289"/>
                    <a:gd name="connsiteY115" fmla="*/ 663017 h 1042277"/>
                    <a:gd name="connsiteX116" fmla="*/ 187208 w 778289"/>
                    <a:gd name="connsiteY116" fmla="*/ 660139 h 1042277"/>
                    <a:gd name="connsiteX117" fmla="*/ 196206 w 778289"/>
                    <a:gd name="connsiteY117" fmla="*/ 641232 h 1042277"/>
                    <a:gd name="connsiteX118" fmla="*/ 196801 w 778289"/>
                    <a:gd name="connsiteY118" fmla="*/ 638403 h 1042277"/>
                    <a:gd name="connsiteX119" fmla="*/ 196740 w 778289"/>
                    <a:gd name="connsiteY119" fmla="*/ 637432 h 1042277"/>
                    <a:gd name="connsiteX120" fmla="*/ 194591 w 778289"/>
                    <a:gd name="connsiteY120" fmla="*/ 635877 h 1042277"/>
                    <a:gd name="connsiteX121" fmla="*/ 192660 w 778289"/>
                    <a:gd name="connsiteY121" fmla="*/ 633461 h 1042277"/>
                    <a:gd name="connsiteX122" fmla="*/ 191215 w 778289"/>
                    <a:gd name="connsiteY122" fmla="*/ 630291 h 1042277"/>
                    <a:gd name="connsiteX123" fmla="*/ 190693 w 778289"/>
                    <a:gd name="connsiteY123" fmla="*/ 625422 h 1042277"/>
                    <a:gd name="connsiteX124" fmla="*/ 189758 w 778289"/>
                    <a:gd name="connsiteY124" fmla="*/ 622386 h 1042277"/>
                    <a:gd name="connsiteX125" fmla="*/ 188944 w 778289"/>
                    <a:gd name="connsiteY125" fmla="*/ 621524 h 1042277"/>
                    <a:gd name="connsiteX126" fmla="*/ 184427 w 778289"/>
                    <a:gd name="connsiteY126" fmla="*/ 613716 h 1042277"/>
                    <a:gd name="connsiteX127" fmla="*/ 182630 w 778289"/>
                    <a:gd name="connsiteY127" fmla="*/ 612223 h 1042277"/>
                    <a:gd name="connsiteX128" fmla="*/ 179740 w 778289"/>
                    <a:gd name="connsiteY128" fmla="*/ 613049 h 1042277"/>
                    <a:gd name="connsiteX129" fmla="*/ 173583 w 778289"/>
                    <a:gd name="connsiteY129" fmla="*/ 616509 h 1042277"/>
                    <a:gd name="connsiteX130" fmla="*/ 164828 w 778289"/>
                    <a:gd name="connsiteY130" fmla="*/ 619654 h 1042277"/>
                    <a:gd name="connsiteX131" fmla="*/ 162800 w 778289"/>
                    <a:gd name="connsiteY131" fmla="*/ 620687 h 1042277"/>
                    <a:gd name="connsiteX132" fmla="*/ 161185 w 778289"/>
                    <a:gd name="connsiteY132" fmla="*/ 621803 h 1042277"/>
                    <a:gd name="connsiteX133" fmla="*/ 153329 w 778289"/>
                    <a:gd name="connsiteY133" fmla="*/ 629332 h 1042277"/>
                    <a:gd name="connsiteX134" fmla="*/ 146602 w 778289"/>
                    <a:gd name="connsiteY134" fmla="*/ 634080 h 1042277"/>
                    <a:gd name="connsiteX135" fmla="*/ 142898 w 778289"/>
                    <a:gd name="connsiteY135" fmla="*/ 635683 h 1042277"/>
                    <a:gd name="connsiteX136" fmla="*/ 138685 w 778289"/>
                    <a:gd name="connsiteY136" fmla="*/ 636205 h 1042277"/>
                    <a:gd name="connsiteX137" fmla="*/ 135054 w 778289"/>
                    <a:gd name="connsiteY137" fmla="*/ 634201 h 1042277"/>
                    <a:gd name="connsiteX138" fmla="*/ 133147 w 778289"/>
                    <a:gd name="connsiteY138" fmla="*/ 633740 h 1042277"/>
                    <a:gd name="connsiteX139" fmla="*/ 131241 w 778289"/>
                    <a:gd name="connsiteY139" fmla="*/ 632793 h 1042277"/>
                    <a:gd name="connsiteX140" fmla="*/ 128994 w 778289"/>
                    <a:gd name="connsiteY140" fmla="*/ 630826 h 1042277"/>
                    <a:gd name="connsiteX141" fmla="*/ 124999 w 778289"/>
                    <a:gd name="connsiteY141" fmla="*/ 626248 h 1042277"/>
                    <a:gd name="connsiteX142" fmla="*/ 122935 w 778289"/>
                    <a:gd name="connsiteY142" fmla="*/ 624305 h 1042277"/>
                    <a:gd name="connsiteX143" fmla="*/ 120992 w 778289"/>
                    <a:gd name="connsiteY143" fmla="*/ 622811 h 1042277"/>
                    <a:gd name="connsiteX144" fmla="*/ 117434 w 778289"/>
                    <a:gd name="connsiteY144" fmla="*/ 620565 h 1042277"/>
                    <a:gd name="connsiteX145" fmla="*/ 115054 w 778289"/>
                    <a:gd name="connsiteY145" fmla="*/ 618234 h 1042277"/>
                    <a:gd name="connsiteX146" fmla="*/ 114132 w 778289"/>
                    <a:gd name="connsiteY146" fmla="*/ 615623 h 1042277"/>
                    <a:gd name="connsiteX147" fmla="*/ 113901 w 778289"/>
                    <a:gd name="connsiteY147" fmla="*/ 612259 h 1042277"/>
                    <a:gd name="connsiteX148" fmla="*/ 114447 w 778289"/>
                    <a:gd name="connsiteY148" fmla="*/ 606807 h 1042277"/>
                    <a:gd name="connsiteX149" fmla="*/ 114022 w 778289"/>
                    <a:gd name="connsiteY149" fmla="*/ 605386 h 1042277"/>
                    <a:gd name="connsiteX150" fmla="*/ 113148 w 778289"/>
                    <a:gd name="connsiteY150" fmla="*/ 603941 h 1042277"/>
                    <a:gd name="connsiteX151" fmla="*/ 110658 w 778289"/>
                    <a:gd name="connsiteY151" fmla="*/ 600408 h 1042277"/>
                    <a:gd name="connsiteX152" fmla="*/ 109517 w 778289"/>
                    <a:gd name="connsiteY152" fmla="*/ 598003 h 1042277"/>
                    <a:gd name="connsiteX153" fmla="*/ 108849 w 778289"/>
                    <a:gd name="connsiteY153" fmla="*/ 595635 h 1042277"/>
                    <a:gd name="connsiteX154" fmla="*/ 108473 w 778289"/>
                    <a:gd name="connsiteY154" fmla="*/ 593013 h 1042277"/>
                    <a:gd name="connsiteX155" fmla="*/ 109044 w 778289"/>
                    <a:gd name="connsiteY155" fmla="*/ 586298 h 1042277"/>
                    <a:gd name="connsiteX156" fmla="*/ 111108 w 778289"/>
                    <a:gd name="connsiteY156" fmla="*/ 581185 h 1042277"/>
                    <a:gd name="connsiteX157" fmla="*/ 111849 w 778289"/>
                    <a:gd name="connsiteY157" fmla="*/ 570706 h 1042277"/>
                    <a:gd name="connsiteX158" fmla="*/ 110804 w 778289"/>
                    <a:gd name="connsiteY158" fmla="*/ 555637 h 1042277"/>
                    <a:gd name="connsiteX159" fmla="*/ 111241 w 778289"/>
                    <a:gd name="connsiteY159" fmla="*/ 551678 h 1042277"/>
                    <a:gd name="connsiteX160" fmla="*/ 113913 w 778289"/>
                    <a:gd name="connsiteY160" fmla="*/ 548812 h 1042277"/>
                    <a:gd name="connsiteX161" fmla="*/ 116852 w 778289"/>
                    <a:gd name="connsiteY161" fmla="*/ 548436 h 1042277"/>
                    <a:gd name="connsiteX162" fmla="*/ 118758 w 778289"/>
                    <a:gd name="connsiteY162" fmla="*/ 547914 h 1042277"/>
                    <a:gd name="connsiteX163" fmla="*/ 119826 w 778289"/>
                    <a:gd name="connsiteY163" fmla="*/ 547319 h 1042277"/>
                    <a:gd name="connsiteX164" fmla="*/ 121211 w 778289"/>
                    <a:gd name="connsiteY164" fmla="*/ 545558 h 1042277"/>
                    <a:gd name="connsiteX165" fmla="*/ 121587 w 778289"/>
                    <a:gd name="connsiteY165" fmla="*/ 543518 h 1042277"/>
                    <a:gd name="connsiteX166" fmla="*/ 121599 w 778289"/>
                    <a:gd name="connsiteY166" fmla="*/ 536973 h 1042277"/>
                    <a:gd name="connsiteX167" fmla="*/ 122170 w 778289"/>
                    <a:gd name="connsiteY167" fmla="*/ 533986 h 1042277"/>
                    <a:gd name="connsiteX168" fmla="*/ 123409 w 778289"/>
                    <a:gd name="connsiteY168" fmla="*/ 530537 h 1042277"/>
                    <a:gd name="connsiteX169" fmla="*/ 123664 w 778289"/>
                    <a:gd name="connsiteY169" fmla="*/ 528995 h 1042277"/>
                    <a:gd name="connsiteX170" fmla="*/ 123664 w 778289"/>
                    <a:gd name="connsiteY170" fmla="*/ 527502 h 1042277"/>
                    <a:gd name="connsiteX171" fmla="*/ 123372 w 778289"/>
                    <a:gd name="connsiteY171" fmla="*/ 526482 h 1042277"/>
                    <a:gd name="connsiteX172" fmla="*/ 122850 w 778289"/>
                    <a:gd name="connsiteY172" fmla="*/ 526141 h 1042277"/>
                    <a:gd name="connsiteX173" fmla="*/ 122109 w 778289"/>
                    <a:gd name="connsiteY173" fmla="*/ 525984 h 1042277"/>
                    <a:gd name="connsiteX174" fmla="*/ 120142 w 778289"/>
                    <a:gd name="connsiteY174" fmla="*/ 524976 h 1042277"/>
                    <a:gd name="connsiteX175" fmla="*/ 118054 w 778289"/>
                    <a:gd name="connsiteY175" fmla="*/ 523240 h 1042277"/>
                    <a:gd name="connsiteX176" fmla="*/ 116244 w 778289"/>
                    <a:gd name="connsiteY176" fmla="*/ 520556 h 1042277"/>
                    <a:gd name="connsiteX177" fmla="*/ 115297 w 778289"/>
                    <a:gd name="connsiteY177" fmla="*/ 518309 h 1042277"/>
                    <a:gd name="connsiteX178" fmla="*/ 114277 w 778289"/>
                    <a:gd name="connsiteY178" fmla="*/ 515055 h 1042277"/>
                    <a:gd name="connsiteX179" fmla="*/ 113536 w 778289"/>
                    <a:gd name="connsiteY179" fmla="*/ 513367 h 1042277"/>
                    <a:gd name="connsiteX180" fmla="*/ 112747 w 778289"/>
                    <a:gd name="connsiteY180" fmla="*/ 512262 h 1042277"/>
                    <a:gd name="connsiteX181" fmla="*/ 102802 w 778289"/>
                    <a:gd name="connsiteY181" fmla="*/ 507708 h 1042277"/>
                    <a:gd name="connsiteX182" fmla="*/ 93901 w 778289"/>
                    <a:gd name="connsiteY182" fmla="*/ 505049 h 1042277"/>
                    <a:gd name="connsiteX183" fmla="*/ 90477 w 778289"/>
                    <a:gd name="connsiteY183" fmla="*/ 503361 h 1042277"/>
                    <a:gd name="connsiteX184" fmla="*/ 87356 w 778289"/>
                    <a:gd name="connsiteY184" fmla="*/ 500824 h 1042277"/>
                    <a:gd name="connsiteX185" fmla="*/ 84260 w 778289"/>
                    <a:gd name="connsiteY185" fmla="*/ 495614 h 1042277"/>
                    <a:gd name="connsiteX186" fmla="*/ 83155 w 778289"/>
                    <a:gd name="connsiteY186" fmla="*/ 491279 h 1042277"/>
                    <a:gd name="connsiteX187" fmla="*/ 82912 w 778289"/>
                    <a:gd name="connsiteY187" fmla="*/ 488073 h 1042277"/>
                    <a:gd name="connsiteX188" fmla="*/ 83337 w 778289"/>
                    <a:gd name="connsiteY188" fmla="*/ 484831 h 1042277"/>
                    <a:gd name="connsiteX189" fmla="*/ 84150 w 778289"/>
                    <a:gd name="connsiteY189" fmla="*/ 481771 h 1042277"/>
                    <a:gd name="connsiteX190" fmla="*/ 85073 w 778289"/>
                    <a:gd name="connsiteY190" fmla="*/ 479658 h 1042277"/>
                    <a:gd name="connsiteX191" fmla="*/ 86312 w 778289"/>
                    <a:gd name="connsiteY191" fmla="*/ 477788 h 1042277"/>
                    <a:gd name="connsiteX192" fmla="*/ 87721 w 778289"/>
                    <a:gd name="connsiteY192" fmla="*/ 476368 h 1042277"/>
                    <a:gd name="connsiteX193" fmla="*/ 89979 w 778289"/>
                    <a:gd name="connsiteY193" fmla="*/ 475202 h 1042277"/>
                    <a:gd name="connsiteX194" fmla="*/ 92663 w 778289"/>
                    <a:gd name="connsiteY194" fmla="*/ 474910 h 1042277"/>
                    <a:gd name="connsiteX195" fmla="*/ 95286 w 778289"/>
                    <a:gd name="connsiteY195" fmla="*/ 475481 h 1042277"/>
                    <a:gd name="connsiteX196" fmla="*/ 99402 w 778289"/>
                    <a:gd name="connsiteY196" fmla="*/ 477315 h 1042277"/>
                    <a:gd name="connsiteX197" fmla="*/ 99985 w 778289"/>
                    <a:gd name="connsiteY197" fmla="*/ 477145 h 1042277"/>
                    <a:gd name="connsiteX198" fmla="*/ 99341 w 778289"/>
                    <a:gd name="connsiteY198" fmla="*/ 476853 h 1042277"/>
                    <a:gd name="connsiteX199" fmla="*/ 97301 w 778289"/>
                    <a:gd name="connsiteY199" fmla="*/ 474352 h 1042277"/>
                    <a:gd name="connsiteX200" fmla="*/ 95395 w 778289"/>
                    <a:gd name="connsiteY200" fmla="*/ 470721 h 1042277"/>
                    <a:gd name="connsiteX201" fmla="*/ 93149 w 778289"/>
                    <a:gd name="connsiteY201" fmla="*/ 463630 h 1042277"/>
                    <a:gd name="connsiteX202" fmla="*/ 91922 w 778289"/>
                    <a:gd name="connsiteY202" fmla="*/ 460655 h 1042277"/>
                    <a:gd name="connsiteX203" fmla="*/ 90659 w 778289"/>
                    <a:gd name="connsiteY203" fmla="*/ 459222 h 1042277"/>
                    <a:gd name="connsiteX204" fmla="*/ 89736 w 778289"/>
                    <a:gd name="connsiteY204" fmla="*/ 458712 h 1042277"/>
                    <a:gd name="connsiteX205" fmla="*/ 88158 w 778289"/>
                    <a:gd name="connsiteY205" fmla="*/ 457170 h 1042277"/>
                    <a:gd name="connsiteX206" fmla="*/ 86045 w 778289"/>
                    <a:gd name="connsiteY206" fmla="*/ 453855 h 1042277"/>
                    <a:gd name="connsiteX207" fmla="*/ 85802 w 778289"/>
                    <a:gd name="connsiteY207" fmla="*/ 451766 h 1042277"/>
                    <a:gd name="connsiteX208" fmla="*/ 86263 w 778289"/>
                    <a:gd name="connsiteY208" fmla="*/ 449168 h 1042277"/>
                    <a:gd name="connsiteX209" fmla="*/ 87781 w 778289"/>
                    <a:gd name="connsiteY209" fmla="*/ 446290 h 1042277"/>
                    <a:gd name="connsiteX210" fmla="*/ 87988 w 778289"/>
                    <a:gd name="connsiteY210" fmla="*/ 445804 h 1042277"/>
                    <a:gd name="connsiteX211" fmla="*/ 85899 w 778289"/>
                    <a:gd name="connsiteY211" fmla="*/ 447370 h 1042277"/>
                    <a:gd name="connsiteX212" fmla="*/ 84308 w 778289"/>
                    <a:gd name="connsiteY212" fmla="*/ 448269 h 1042277"/>
                    <a:gd name="connsiteX213" fmla="*/ 80738 w 778289"/>
                    <a:gd name="connsiteY213" fmla="*/ 449216 h 1042277"/>
                    <a:gd name="connsiteX214" fmla="*/ 67539 w 778289"/>
                    <a:gd name="connsiteY214" fmla="*/ 449945 h 1042277"/>
                    <a:gd name="connsiteX215" fmla="*/ 63629 w 778289"/>
                    <a:gd name="connsiteY215" fmla="*/ 450782 h 1042277"/>
                    <a:gd name="connsiteX216" fmla="*/ 61237 w 778289"/>
                    <a:gd name="connsiteY216" fmla="*/ 450831 h 1042277"/>
                    <a:gd name="connsiteX217" fmla="*/ 58699 w 778289"/>
                    <a:gd name="connsiteY217" fmla="*/ 450284 h 1042277"/>
                    <a:gd name="connsiteX218" fmla="*/ 53660 w 778289"/>
                    <a:gd name="connsiteY218" fmla="*/ 448123 h 1042277"/>
                    <a:gd name="connsiteX219" fmla="*/ 48305 w 778289"/>
                    <a:gd name="connsiteY219" fmla="*/ 449738 h 1042277"/>
                    <a:gd name="connsiteX220" fmla="*/ 45657 w 778289"/>
                    <a:gd name="connsiteY220" fmla="*/ 450017 h 1042277"/>
                    <a:gd name="connsiteX221" fmla="*/ 43107 w 778289"/>
                    <a:gd name="connsiteY221" fmla="*/ 449495 h 1042277"/>
                    <a:gd name="connsiteX222" fmla="*/ 42354 w 778289"/>
                    <a:gd name="connsiteY222" fmla="*/ 449289 h 1042277"/>
                    <a:gd name="connsiteX223" fmla="*/ 39574 w 778289"/>
                    <a:gd name="connsiteY223" fmla="*/ 446569 h 1042277"/>
                    <a:gd name="connsiteX224" fmla="*/ 39343 w 778289"/>
                    <a:gd name="connsiteY224" fmla="*/ 442999 h 1042277"/>
                    <a:gd name="connsiteX225" fmla="*/ 40302 w 778289"/>
                    <a:gd name="connsiteY225" fmla="*/ 440364 h 1042277"/>
                    <a:gd name="connsiteX226" fmla="*/ 44528 w 778289"/>
                    <a:gd name="connsiteY226" fmla="*/ 434292 h 1042277"/>
                    <a:gd name="connsiteX227" fmla="*/ 46568 w 778289"/>
                    <a:gd name="connsiteY227" fmla="*/ 432252 h 1042277"/>
                    <a:gd name="connsiteX228" fmla="*/ 57400 w 778289"/>
                    <a:gd name="connsiteY228" fmla="*/ 424469 h 1042277"/>
                    <a:gd name="connsiteX229" fmla="*/ 57898 w 778289"/>
                    <a:gd name="connsiteY229" fmla="*/ 423084 h 1042277"/>
                    <a:gd name="connsiteX230" fmla="*/ 54619 w 778289"/>
                    <a:gd name="connsiteY230" fmla="*/ 421312 h 1042277"/>
                    <a:gd name="connsiteX231" fmla="*/ 50199 w 778289"/>
                    <a:gd name="connsiteY231" fmla="*/ 414439 h 1042277"/>
                    <a:gd name="connsiteX232" fmla="*/ 48985 w 778289"/>
                    <a:gd name="connsiteY232" fmla="*/ 413698 h 1042277"/>
                    <a:gd name="connsiteX233" fmla="*/ 47248 w 778289"/>
                    <a:gd name="connsiteY233" fmla="*/ 413006 h 1042277"/>
                    <a:gd name="connsiteX234" fmla="*/ 45548 w 778289"/>
                    <a:gd name="connsiteY234" fmla="*/ 412556 h 1042277"/>
                    <a:gd name="connsiteX235" fmla="*/ 42816 w 778289"/>
                    <a:gd name="connsiteY235" fmla="*/ 411524 h 1042277"/>
                    <a:gd name="connsiteX236" fmla="*/ 40472 w 778289"/>
                    <a:gd name="connsiteY236" fmla="*/ 409958 h 1042277"/>
                    <a:gd name="connsiteX237" fmla="*/ 36319 w 778289"/>
                    <a:gd name="connsiteY237" fmla="*/ 406072 h 1042277"/>
                    <a:gd name="connsiteX238" fmla="*/ 35130 w 778289"/>
                    <a:gd name="connsiteY238" fmla="*/ 405574 h 1042277"/>
                    <a:gd name="connsiteX239" fmla="*/ 15324 w 778289"/>
                    <a:gd name="connsiteY239" fmla="*/ 399405 h 1042277"/>
                    <a:gd name="connsiteX240" fmla="*/ 6496 w 778289"/>
                    <a:gd name="connsiteY240" fmla="*/ 397839 h 1042277"/>
                    <a:gd name="connsiteX241" fmla="*/ 4044 w 778289"/>
                    <a:gd name="connsiteY241" fmla="*/ 395556 h 1042277"/>
                    <a:gd name="connsiteX242" fmla="*/ 2477 w 778289"/>
                    <a:gd name="connsiteY242" fmla="*/ 392921 h 1042277"/>
                    <a:gd name="connsiteX243" fmla="*/ 2210 w 778289"/>
                    <a:gd name="connsiteY243" fmla="*/ 391914 h 1042277"/>
                    <a:gd name="connsiteX244" fmla="*/ 4979 w 778289"/>
                    <a:gd name="connsiteY244" fmla="*/ 390043 h 1042277"/>
                    <a:gd name="connsiteX245" fmla="*/ 1749 w 778289"/>
                    <a:gd name="connsiteY245" fmla="*/ 389740 h 1042277"/>
                    <a:gd name="connsiteX246" fmla="*/ 886 w 778289"/>
                    <a:gd name="connsiteY246" fmla="*/ 388149 h 1042277"/>
                    <a:gd name="connsiteX247" fmla="*/ 0 w 778289"/>
                    <a:gd name="connsiteY247" fmla="*/ 385745 h 1042277"/>
                    <a:gd name="connsiteX248" fmla="*/ 170 w 778289"/>
                    <a:gd name="connsiteY248" fmla="*/ 383668 h 1042277"/>
                    <a:gd name="connsiteX249" fmla="*/ 1360 w 778289"/>
                    <a:gd name="connsiteY249" fmla="*/ 379929 h 1042277"/>
                    <a:gd name="connsiteX250" fmla="*/ 1311 w 778289"/>
                    <a:gd name="connsiteY250" fmla="*/ 379200 h 1042277"/>
                    <a:gd name="connsiteX251" fmla="*/ 510 w 778289"/>
                    <a:gd name="connsiteY251" fmla="*/ 377123 h 1042277"/>
                    <a:gd name="connsiteX252" fmla="*/ 279 w 778289"/>
                    <a:gd name="connsiteY252" fmla="*/ 374828 h 1042277"/>
                    <a:gd name="connsiteX253" fmla="*/ 850 w 778289"/>
                    <a:gd name="connsiteY253" fmla="*/ 372157 h 1042277"/>
                    <a:gd name="connsiteX254" fmla="*/ 2441 w 778289"/>
                    <a:gd name="connsiteY254" fmla="*/ 369473 h 1042277"/>
                    <a:gd name="connsiteX255" fmla="*/ 3485 w 778289"/>
                    <a:gd name="connsiteY255" fmla="*/ 367883 h 1042277"/>
                    <a:gd name="connsiteX256" fmla="*/ 10115 w 778289"/>
                    <a:gd name="connsiteY256" fmla="*/ 368732 h 1042277"/>
                    <a:gd name="connsiteX257" fmla="*/ 13151 w 778289"/>
                    <a:gd name="connsiteY257" fmla="*/ 370056 h 1042277"/>
                    <a:gd name="connsiteX258" fmla="*/ 17012 w 778289"/>
                    <a:gd name="connsiteY258" fmla="*/ 371404 h 1042277"/>
                    <a:gd name="connsiteX259" fmla="*/ 19162 w 778289"/>
                    <a:gd name="connsiteY259" fmla="*/ 371355 h 1042277"/>
                    <a:gd name="connsiteX260" fmla="*/ 22185 w 778289"/>
                    <a:gd name="connsiteY260" fmla="*/ 370675 h 1042277"/>
                    <a:gd name="connsiteX261" fmla="*/ 23970 w 778289"/>
                    <a:gd name="connsiteY261" fmla="*/ 369364 h 1042277"/>
                    <a:gd name="connsiteX262" fmla="*/ 25002 w 778289"/>
                    <a:gd name="connsiteY262" fmla="*/ 367797 h 1042277"/>
                    <a:gd name="connsiteX263" fmla="*/ 25779 w 778289"/>
                    <a:gd name="connsiteY263" fmla="*/ 366268 h 1042277"/>
                    <a:gd name="connsiteX264" fmla="*/ 27710 w 778289"/>
                    <a:gd name="connsiteY264" fmla="*/ 363912 h 1042277"/>
                    <a:gd name="connsiteX265" fmla="*/ 30527 w 778289"/>
                    <a:gd name="connsiteY265" fmla="*/ 361835 h 1042277"/>
                    <a:gd name="connsiteX266" fmla="*/ 34717 w 778289"/>
                    <a:gd name="connsiteY266" fmla="*/ 360718 h 1042277"/>
                    <a:gd name="connsiteX267" fmla="*/ 35117 w 778289"/>
                    <a:gd name="connsiteY267" fmla="*/ 360548 h 1042277"/>
                    <a:gd name="connsiteX268" fmla="*/ 34425 w 778289"/>
                    <a:gd name="connsiteY268" fmla="*/ 359176 h 1042277"/>
                    <a:gd name="connsiteX269" fmla="*/ 36162 w 778289"/>
                    <a:gd name="connsiteY269" fmla="*/ 355801 h 1042277"/>
                    <a:gd name="connsiteX270" fmla="*/ 37024 w 778289"/>
                    <a:gd name="connsiteY270" fmla="*/ 354489 h 1042277"/>
                    <a:gd name="connsiteX271" fmla="*/ 38311 w 778289"/>
                    <a:gd name="connsiteY271" fmla="*/ 352935 h 1042277"/>
                    <a:gd name="connsiteX272" fmla="*/ 40145 w 778289"/>
                    <a:gd name="connsiteY272" fmla="*/ 351138 h 1042277"/>
                    <a:gd name="connsiteX273" fmla="*/ 42610 w 778289"/>
                    <a:gd name="connsiteY273" fmla="*/ 349219 h 1042277"/>
                    <a:gd name="connsiteX274" fmla="*/ 45560 w 778289"/>
                    <a:gd name="connsiteY274" fmla="*/ 347434 h 1042277"/>
                    <a:gd name="connsiteX275" fmla="*/ 49822 w 778289"/>
                    <a:gd name="connsiteY275" fmla="*/ 346232 h 1042277"/>
                    <a:gd name="connsiteX276" fmla="*/ 54340 w 778289"/>
                    <a:gd name="connsiteY276" fmla="*/ 346195 h 1042277"/>
                    <a:gd name="connsiteX277" fmla="*/ 61322 w 778289"/>
                    <a:gd name="connsiteY277" fmla="*/ 348551 h 1042277"/>
                    <a:gd name="connsiteX278" fmla="*/ 64030 w 778289"/>
                    <a:gd name="connsiteY278" fmla="*/ 351283 h 1042277"/>
                    <a:gd name="connsiteX279" fmla="*/ 65948 w 778289"/>
                    <a:gd name="connsiteY279" fmla="*/ 355400 h 1042277"/>
                    <a:gd name="connsiteX280" fmla="*/ 65475 w 778289"/>
                    <a:gd name="connsiteY280" fmla="*/ 360123 h 1042277"/>
                    <a:gd name="connsiteX281" fmla="*/ 65548 w 778289"/>
                    <a:gd name="connsiteY281" fmla="*/ 361483 h 1042277"/>
                    <a:gd name="connsiteX282" fmla="*/ 66470 w 778289"/>
                    <a:gd name="connsiteY282" fmla="*/ 362430 h 1042277"/>
                    <a:gd name="connsiteX283" fmla="*/ 67527 w 778289"/>
                    <a:gd name="connsiteY283" fmla="*/ 362758 h 1042277"/>
                    <a:gd name="connsiteX284" fmla="*/ 69664 w 778289"/>
                    <a:gd name="connsiteY284" fmla="*/ 362916 h 1042277"/>
                    <a:gd name="connsiteX285" fmla="*/ 73404 w 778289"/>
                    <a:gd name="connsiteY285" fmla="*/ 362940 h 1042277"/>
                    <a:gd name="connsiteX286" fmla="*/ 100386 w 778289"/>
                    <a:gd name="connsiteY286" fmla="*/ 360828 h 1042277"/>
                    <a:gd name="connsiteX287" fmla="*/ 104004 w 778289"/>
                    <a:gd name="connsiteY287" fmla="*/ 361180 h 1042277"/>
                    <a:gd name="connsiteX288" fmla="*/ 112686 w 778289"/>
                    <a:gd name="connsiteY288" fmla="*/ 363584 h 1042277"/>
                    <a:gd name="connsiteX289" fmla="*/ 113366 w 778289"/>
                    <a:gd name="connsiteY289" fmla="*/ 362370 h 1042277"/>
                    <a:gd name="connsiteX290" fmla="*/ 115164 w 778289"/>
                    <a:gd name="connsiteY290" fmla="*/ 351441 h 1042277"/>
                    <a:gd name="connsiteX291" fmla="*/ 120069 w 778289"/>
                    <a:gd name="connsiteY291" fmla="*/ 342674 h 1042277"/>
                    <a:gd name="connsiteX292" fmla="*/ 127622 w 778289"/>
                    <a:gd name="connsiteY292" fmla="*/ 332073 h 1042277"/>
                    <a:gd name="connsiteX293" fmla="*/ 130306 w 778289"/>
                    <a:gd name="connsiteY293" fmla="*/ 329985 h 1042277"/>
                    <a:gd name="connsiteX294" fmla="*/ 133500 w 778289"/>
                    <a:gd name="connsiteY294" fmla="*/ 328722 h 1042277"/>
                    <a:gd name="connsiteX295" fmla="*/ 138490 w 778289"/>
                    <a:gd name="connsiteY295" fmla="*/ 328394 h 1042277"/>
                    <a:gd name="connsiteX296" fmla="*/ 141040 w 778289"/>
                    <a:gd name="connsiteY296" fmla="*/ 328078 h 1042277"/>
                    <a:gd name="connsiteX297" fmla="*/ 143785 w 778289"/>
                    <a:gd name="connsiteY297" fmla="*/ 326706 h 1042277"/>
                    <a:gd name="connsiteX298" fmla="*/ 146881 w 778289"/>
                    <a:gd name="connsiteY298" fmla="*/ 325795 h 1042277"/>
                    <a:gd name="connsiteX299" fmla="*/ 150536 w 778289"/>
                    <a:gd name="connsiteY299" fmla="*/ 326730 h 1042277"/>
                    <a:gd name="connsiteX300" fmla="*/ 153924 w 778289"/>
                    <a:gd name="connsiteY300" fmla="*/ 328600 h 1042277"/>
                    <a:gd name="connsiteX301" fmla="*/ 165059 w 778289"/>
                    <a:gd name="connsiteY301" fmla="*/ 339978 h 1042277"/>
                    <a:gd name="connsiteX302" fmla="*/ 165569 w 778289"/>
                    <a:gd name="connsiteY302" fmla="*/ 340148 h 1042277"/>
                    <a:gd name="connsiteX303" fmla="*/ 166273 w 778289"/>
                    <a:gd name="connsiteY303" fmla="*/ 338885 h 1042277"/>
                    <a:gd name="connsiteX304" fmla="*/ 166674 w 778289"/>
                    <a:gd name="connsiteY304" fmla="*/ 335898 h 1042277"/>
                    <a:gd name="connsiteX305" fmla="*/ 167973 w 778289"/>
                    <a:gd name="connsiteY305" fmla="*/ 332972 h 1042277"/>
                    <a:gd name="connsiteX306" fmla="*/ 170620 w 778289"/>
                    <a:gd name="connsiteY306" fmla="*/ 331757 h 1042277"/>
                    <a:gd name="connsiteX307" fmla="*/ 173814 w 778289"/>
                    <a:gd name="connsiteY307" fmla="*/ 330859 h 1042277"/>
                    <a:gd name="connsiteX308" fmla="*/ 179400 w 778289"/>
                    <a:gd name="connsiteY308" fmla="*/ 330057 h 1042277"/>
                    <a:gd name="connsiteX309" fmla="*/ 188968 w 778289"/>
                    <a:gd name="connsiteY309" fmla="*/ 330410 h 1042277"/>
                    <a:gd name="connsiteX310" fmla="*/ 190632 w 778289"/>
                    <a:gd name="connsiteY310" fmla="*/ 329827 h 1042277"/>
                    <a:gd name="connsiteX311" fmla="*/ 192453 w 778289"/>
                    <a:gd name="connsiteY311" fmla="*/ 328819 h 1042277"/>
                    <a:gd name="connsiteX312" fmla="*/ 195513 w 778289"/>
                    <a:gd name="connsiteY312" fmla="*/ 327592 h 1042277"/>
                    <a:gd name="connsiteX313" fmla="*/ 199229 w 778289"/>
                    <a:gd name="connsiteY313" fmla="*/ 327774 h 1042277"/>
                    <a:gd name="connsiteX314" fmla="*/ 201488 w 778289"/>
                    <a:gd name="connsiteY314" fmla="*/ 328928 h 1042277"/>
                    <a:gd name="connsiteX315" fmla="*/ 204220 w 778289"/>
                    <a:gd name="connsiteY315" fmla="*/ 329754 h 1042277"/>
                    <a:gd name="connsiteX316" fmla="*/ 206224 w 778289"/>
                    <a:gd name="connsiteY316" fmla="*/ 330677 h 1042277"/>
                    <a:gd name="connsiteX317" fmla="*/ 210231 w 778289"/>
                    <a:gd name="connsiteY317" fmla="*/ 333858 h 1042277"/>
                    <a:gd name="connsiteX318" fmla="*/ 211821 w 778289"/>
                    <a:gd name="connsiteY318" fmla="*/ 334137 h 1042277"/>
                    <a:gd name="connsiteX319" fmla="*/ 213716 w 778289"/>
                    <a:gd name="connsiteY319" fmla="*/ 333943 h 1042277"/>
                    <a:gd name="connsiteX320" fmla="*/ 217626 w 778289"/>
                    <a:gd name="connsiteY320" fmla="*/ 332705 h 1042277"/>
                    <a:gd name="connsiteX321" fmla="*/ 223843 w 778289"/>
                    <a:gd name="connsiteY321" fmla="*/ 332450 h 1042277"/>
                    <a:gd name="connsiteX322" fmla="*/ 224001 w 778289"/>
                    <a:gd name="connsiteY322" fmla="*/ 332377 h 1042277"/>
                    <a:gd name="connsiteX323" fmla="*/ 226502 w 778289"/>
                    <a:gd name="connsiteY323" fmla="*/ 329633 h 1042277"/>
                    <a:gd name="connsiteX324" fmla="*/ 227716 w 778289"/>
                    <a:gd name="connsiteY324" fmla="*/ 327046 h 1042277"/>
                    <a:gd name="connsiteX325" fmla="*/ 231177 w 778289"/>
                    <a:gd name="connsiteY325" fmla="*/ 317198 h 1042277"/>
                    <a:gd name="connsiteX326" fmla="*/ 232695 w 778289"/>
                    <a:gd name="connsiteY326" fmla="*/ 314381 h 1042277"/>
                    <a:gd name="connsiteX327" fmla="*/ 235901 w 778289"/>
                    <a:gd name="connsiteY327" fmla="*/ 310070 h 1042277"/>
                    <a:gd name="connsiteX328" fmla="*/ 236945 w 778289"/>
                    <a:gd name="connsiteY328" fmla="*/ 307726 h 1042277"/>
                    <a:gd name="connsiteX329" fmla="*/ 240807 w 778289"/>
                    <a:gd name="connsiteY329" fmla="*/ 305541 h 1042277"/>
                    <a:gd name="connsiteX330" fmla="*/ 243199 w 778289"/>
                    <a:gd name="connsiteY330" fmla="*/ 304424 h 1042277"/>
                    <a:gd name="connsiteX331" fmla="*/ 263963 w 778289"/>
                    <a:gd name="connsiteY331" fmla="*/ 302359 h 1042277"/>
                    <a:gd name="connsiteX332" fmla="*/ 267181 w 778289"/>
                    <a:gd name="connsiteY332" fmla="*/ 301594 h 1042277"/>
                    <a:gd name="connsiteX333" fmla="*/ 268310 w 778289"/>
                    <a:gd name="connsiteY333" fmla="*/ 301048 h 1042277"/>
                    <a:gd name="connsiteX334" fmla="*/ 269585 w 778289"/>
                    <a:gd name="connsiteY334" fmla="*/ 300271 h 1042277"/>
                    <a:gd name="connsiteX335" fmla="*/ 270739 w 778289"/>
                    <a:gd name="connsiteY335" fmla="*/ 299360 h 1042277"/>
                    <a:gd name="connsiteX336" fmla="*/ 272682 w 778289"/>
                    <a:gd name="connsiteY336" fmla="*/ 295183 h 1042277"/>
                    <a:gd name="connsiteX337" fmla="*/ 279543 w 778289"/>
                    <a:gd name="connsiteY337" fmla="*/ 286513 h 1042277"/>
                    <a:gd name="connsiteX338" fmla="*/ 281073 w 778289"/>
                    <a:gd name="connsiteY338" fmla="*/ 282858 h 1042277"/>
                    <a:gd name="connsiteX339" fmla="*/ 283635 w 778289"/>
                    <a:gd name="connsiteY339" fmla="*/ 280915 h 1042277"/>
                    <a:gd name="connsiteX340" fmla="*/ 286367 w 778289"/>
                    <a:gd name="connsiteY340" fmla="*/ 278134 h 1042277"/>
                    <a:gd name="connsiteX341" fmla="*/ 289840 w 778289"/>
                    <a:gd name="connsiteY341" fmla="*/ 279033 h 1042277"/>
                    <a:gd name="connsiteX342" fmla="*/ 287727 w 778289"/>
                    <a:gd name="connsiteY342" fmla="*/ 276689 h 1042277"/>
                    <a:gd name="connsiteX343" fmla="*/ 290702 w 778289"/>
                    <a:gd name="connsiteY343" fmla="*/ 277515 h 1042277"/>
                    <a:gd name="connsiteX344" fmla="*/ 288237 w 778289"/>
                    <a:gd name="connsiteY344" fmla="*/ 275536 h 1042277"/>
                    <a:gd name="connsiteX345" fmla="*/ 288492 w 778289"/>
                    <a:gd name="connsiteY345" fmla="*/ 274224 h 1042277"/>
                    <a:gd name="connsiteX346" fmla="*/ 288067 w 778289"/>
                    <a:gd name="connsiteY346" fmla="*/ 272427 h 1042277"/>
                    <a:gd name="connsiteX347" fmla="*/ 283343 w 778289"/>
                    <a:gd name="connsiteY347" fmla="*/ 264862 h 1042277"/>
                    <a:gd name="connsiteX348" fmla="*/ 282299 w 778289"/>
                    <a:gd name="connsiteY348" fmla="*/ 264109 h 1042277"/>
                    <a:gd name="connsiteX349" fmla="*/ 281400 w 778289"/>
                    <a:gd name="connsiteY349" fmla="*/ 263101 h 1042277"/>
                    <a:gd name="connsiteX350" fmla="*/ 277029 w 778289"/>
                    <a:gd name="connsiteY350" fmla="*/ 260867 h 1042277"/>
                    <a:gd name="connsiteX351" fmla="*/ 272087 w 778289"/>
                    <a:gd name="connsiteY351" fmla="*/ 260029 h 1042277"/>
                    <a:gd name="connsiteX352" fmla="*/ 239689 w 778289"/>
                    <a:gd name="connsiteY352" fmla="*/ 259798 h 1042277"/>
                    <a:gd name="connsiteX353" fmla="*/ 236204 w 778289"/>
                    <a:gd name="connsiteY353" fmla="*/ 259045 h 1042277"/>
                    <a:gd name="connsiteX354" fmla="*/ 233970 w 778289"/>
                    <a:gd name="connsiteY354" fmla="*/ 255767 h 1042277"/>
                    <a:gd name="connsiteX355" fmla="*/ 234432 w 778289"/>
                    <a:gd name="connsiteY355" fmla="*/ 252172 h 1042277"/>
                    <a:gd name="connsiteX356" fmla="*/ 234298 w 778289"/>
                    <a:gd name="connsiteY356" fmla="*/ 251857 h 1042277"/>
                    <a:gd name="connsiteX357" fmla="*/ 231505 w 778289"/>
                    <a:gd name="connsiteY357" fmla="*/ 250060 h 1042277"/>
                    <a:gd name="connsiteX358" fmla="*/ 231505 w 778289"/>
                    <a:gd name="connsiteY358" fmla="*/ 245385 h 1042277"/>
                    <a:gd name="connsiteX359" fmla="*/ 233205 w 778289"/>
                    <a:gd name="connsiteY359" fmla="*/ 242167 h 1042277"/>
                    <a:gd name="connsiteX360" fmla="*/ 235257 w 778289"/>
                    <a:gd name="connsiteY360" fmla="*/ 239945 h 1042277"/>
                    <a:gd name="connsiteX361" fmla="*/ 237649 w 778289"/>
                    <a:gd name="connsiteY361" fmla="*/ 238293 h 1042277"/>
                    <a:gd name="connsiteX362" fmla="*/ 245239 w 778289"/>
                    <a:gd name="connsiteY362" fmla="*/ 234456 h 1042277"/>
                    <a:gd name="connsiteX363" fmla="*/ 250424 w 778289"/>
                    <a:gd name="connsiteY363" fmla="*/ 229065 h 1042277"/>
                    <a:gd name="connsiteX364" fmla="*/ 252112 w 778289"/>
                    <a:gd name="connsiteY364" fmla="*/ 226150 h 1042277"/>
                    <a:gd name="connsiteX365" fmla="*/ 255876 w 778289"/>
                    <a:gd name="connsiteY365" fmla="*/ 221839 h 1042277"/>
                    <a:gd name="connsiteX366" fmla="*/ 257029 w 778289"/>
                    <a:gd name="connsiteY366" fmla="*/ 219994 h 1042277"/>
                    <a:gd name="connsiteX367" fmla="*/ 257965 w 778289"/>
                    <a:gd name="connsiteY367" fmla="*/ 217492 h 1042277"/>
                    <a:gd name="connsiteX368" fmla="*/ 260527 w 778289"/>
                    <a:gd name="connsiteY368" fmla="*/ 206345 h 1042277"/>
                    <a:gd name="connsiteX369" fmla="*/ 260587 w 778289"/>
                    <a:gd name="connsiteY369" fmla="*/ 204888 h 1042277"/>
                    <a:gd name="connsiteX370" fmla="*/ 260490 w 778289"/>
                    <a:gd name="connsiteY370" fmla="*/ 204621 h 1042277"/>
                    <a:gd name="connsiteX371" fmla="*/ 259628 w 778289"/>
                    <a:gd name="connsiteY371" fmla="*/ 204949 h 1042277"/>
                    <a:gd name="connsiteX372" fmla="*/ 257369 w 778289"/>
                    <a:gd name="connsiteY372" fmla="*/ 205337 h 1042277"/>
                    <a:gd name="connsiteX373" fmla="*/ 255014 w 778289"/>
                    <a:gd name="connsiteY373" fmla="*/ 204985 h 1042277"/>
                    <a:gd name="connsiteX374" fmla="*/ 253763 w 778289"/>
                    <a:gd name="connsiteY374" fmla="*/ 204086 h 1042277"/>
                    <a:gd name="connsiteX375" fmla="*/ 252780 w 778289"/>
                    <a:gd name="connsiteY375" fmla="*/ 202884 h 1042277"/>
                    <a:gd name="connsiteX376" fmla="*/ 252512 w 778289"/>
                    <a:gd name="connsiteY376" fmla="*/ 202289 h 1042277"/>
                    <a:gd name="connsiteX377" fmla="*/ 252124 w 778289"/>
                    <a:gd name="connsiteY377" fmla="*/ 200771 h 1042277"/>
                    <a:gd name="connsiteX378" fmla="*/ 253496 w 778289"/>
                    <a:gd name="connsiteY378" fmla="*/ 196048 h 1042277"/>
                    <a:gd name="connsiteX379" fmla="*/ 253338 w 778289"/>
                    <a:gd name="connsiteY379" fmla="*/ 195489 h 1042277"/>
                    <a:gd name="connsiteX380" fmla="*/ 252670 w 778289"/>
                    <a:gd name="connsiteY380" fmla="*/ 194299 h 1042277"/>
                    <a:gd name="connsiteX381" fmla="*/ 252197 w 778289"/>
                    <a:gd name="connsiteY381" fmla="*/ 193984 h 1042277"/>
                    <a:gd name="connsiteX382" fmla="*/ 251662 w 778289"/>
                    <a:gd name="connsiteY382" fmla="*/ 193352 h 1042277"/>
                    <a:gd name="connsiteX383" fmla="*/ 251067 w 778289"/>
                    <a:gd name="connsiteY383" fmla="*/ 189819 h 1042277"/>
                    <a:gd name="connsiteX384" fmla="*/ 251638 w 778289"/>
                    <a:gd name="connsiteY384" fmla="*/ 184670 h 1042277"/>
                    <a:gd name="connsiteX385" fmla="*/ 254407 w 778289"/>
                    <a:gd name="connsiteY385" fmla="*/ 176073 h 1042277"/>
                    <a:gd name="connsiteX386" fmla="*/ 259507 w 778289"/>
                    <a:gd name="connsiteY386" fmla="*/ 165338 h 1042277"/>
                    <a:gd name="connsiteX387" fmla="*/ 265032 w 778289"/>
                    <a:gd name="connsiteY387" fmla="*/ 163310 h 1042277"/>
                    <a:gd name="connsiteX388" fmla="*/ 267060 w 778289"/>
                    <a:gd name="connsiteY388" fmla="*/ 162958 h 1042277"/>
                    <a:gd name="connsiteX389" fmla="*/ 269634 w 778289"/>
                    <a:gd name="connsiteY389" fmla="*/ 163055 h 1042277"/>
                    <a:gd name="connsiteX390" fmla="*/ 273617 w 778289"/>
                    <a:gd name="connsiteY390" fmla="*/ 163966 h 1042277"/>
                    <a:gd name="connsiteX391" fmla="*/ 275013 w 778289"/>
                    <a:gd name="connsiteY391" fmla="*/ 164112 h 1042277"/>
                    <a:gd name="connsiteX392" fmla="*/ 276264 w 778289"/>
                    <a:gd name="connsiteY392" fmla="*/ 163784 h 1042277"/>
                    <a:gd name="connsiteX393" fmla="*/ 277794 w 778289"/>
                    <a:gd name="connsiteY393" fmla="*/ 163140 h 1042277"/>
                    <a:gd name="connsiteX394" fmla="*/ 285432 w 778289"/>
                    <a:gd name="connsiteY394" fmla="*/ 158648 h 1042277"/>
                    <a:gd name="connsiteX395" fmla="*/ 287569 w 778289"/>
                    <a:gd name="connsiteY395" fmla="*/ 157798 h 1042277"/>
                    <a:gd name="connsiteX396" fmla="*/ 286743 w 778289"/>
                    <a:gd name="connsiteY396" fmla="*/ 156510 h 1042277"/>
                    <a:gd name="connsiteX397" fmla="*/ 285930 w 778289"/>
                    <a:gd name="connsiteY397" fmla="*/ 154434 h 1042277"/>
                    <a:gd name="connsiteX398" fmla="*/ 286197 w 778289"/>
                    <a:gd name="connsiteY398" fmla="*/ 152127 h 1042277"/>
                    <a:gd name="connsiteX399" fmla="*/ 287132 w 778289"/>
                    <a:gd name="connsiteY399" fmla="*/ 149492 h 1042277"/>
                    <a:gd name="connsiteX400" fmla="*/ 290872 w 778289"/>
                    <a:gd name="connsiteY400" fmla="*/ 144040 h 1042277"/>
                    <a:gd name="connsiteX401" fmla="*/ 292815 w 778289"/>
                    <a:gd name="connsiteY401" fmla="*/ 140093 h 1042277"/>
                    <a:gd name="connsiteX402" fmla="*/ 295098 w 778289"/>
                    <a:gd name="connsiteY402" fmla="*/ 130391 h 1042277"/>
                    <a:gd name="connsiteX403" fmla="*/ 305067 w 778289"/>
                    <a:gd name="connsiteY403" fmla="*/ 127003 h 1042277"/>
                    <a:gd name="connsiteX404" fmla="*/ 315194 w 778289"/>
                    <a:gd name="connsiteY404" fmla="*/ 126614 h 1042277"/>
                    <a:gd name="connsiteX405" fmla="*/ 317501 w 778289"/>
                    <a:gd name="connsiteY405" fmla="*/ 126882 h 1042277"/>
                    <a:gd name="connsiteX406" fmla="*/ 319881 w 778289"/>
                    <a:gd name="connsiteY406" fmla="*/ 127586 h 1042277"/>
                    <a:gd name="connsiteX407" fmla="*/ 322784 w 778289"/>
                    <a:gd name="connsiteY407" fmla="*/ 129347 h 1042277"/>
                    <a:gd name="connsiteX408" fmla="*/ 324751 w 778289"/>
                    <a:gd name="connsiteY408" fmla="*/ 131095 h 1042277"/>
                    <a:gd name="connsiteX409" fmla="*/ 326293 w 778289"/>
                    <a:gd name="connsiteY409" fmla="*/ 132953 h 1042277"/>
                    <a:gd name="connsiteX410" fmla="*/ 327701 w 778289"/>
                    <a:gd name="connsiteY410" fmla="*/ 135066 h 1042277"/>
                    <a:gd name="connsiteX411" fmla="*/ 330652 w 778289"/>
                    <a:gd name="connsiteY411" fmla="*/ 138345 h 1042277"/>
                    <a:gd name="connsiteX412" fmla="*/ 332170 w 778289"/>
                    <a:gd name="connsiteY412" fmla="*/ 139389 h 1042277"/>
                    <a:gd name="connsiteX413" fmla="*/ 332741 w 778289"/>
                    <a:gd name="connsiteY413" fmla="*/ 139571 h 1042277"/>
                    <a:gd name="connsiteX414" fmla="*/ 333724 w 778289"/>
                    <a:gd name="connsiteY414" fmla="*/ 139353 h 1042277"/>
                    <a:gd name="connsiteX415" fmla="*/ 334259 w 778289"/>
                    <a:gd name="connsiteY415" fmla="*/ 137713 h 1042277"/>
                    <a:gd name="connsiteX416" fmla="*/ 334951 w 778289"/>
                    <a:gd name="connsiteY416" fmla="*/ 136633 h 1042277"/>
                    <a:gd name="connsiteX417" fmla="*/ 338800 w 778289"/>
                    <a:gd name="connsiteY417" fmla="*/ 131387 h 1042277"/>
                    <a:gd name="connsiteX418" fmla="*/ 342771 w 778289"/>
                    <a:gd name="connsiteY418" fmla="*/ 130840 h 1042277"/>
                    <a:gd name="connsiteX419" fmla="*/ 346304 w 778289"/>
                    <a:gd name="connsiteY419" fmla="*/ 131848 h 1042277"/>
                    <a:gd name="connsiteX420" fmla="*/ 353214 w 778289"/>
                    <a:gd name="connsiteY420" fmla="*/ 135965 h 1042277"/>
                    <a:gd name="connsiteX421" fmla="*/ 361872 w 778289"/>
                    <a:gd name="connsiteY421" fmla="*/ 142971 h 1042277"/>
                    <a:gd name="connsiteX422" fmla="*/ 367069 w 778289"/>
                    <a:gd name="connsiteY422" fmla="*/ 145533 h 1042277"/>
                    <a:gd name="connsiteX423" fmla="*/ 379795 w 778289"/>
                    <a:gd name="connsiteY423" fmla="*/ 148472 h 1042277"/>
                    <a:gd name="connsiteX424" fmla="*/ 388902 w 778289"/>
                    <a:gd name="connsiteY424" fmla="*/ 161295 h 1042277"/>
                    <a:gd name="connsiteX425" fmla="*/ 393128 w 778289"/>
                    <a:gd name="connsiteY425" fmla="*/ 165095 h 1042277"/>
                    <a:gd name="connsiteX426" fmla="*/ 402757 w 778289"/>
                    <a:gd name="connsiteY426" fmla="*/ 171167 h 1042277"/>
                    <a:gd name="connsiteX427" fmla="*/ 406861 w 778289"/>
                    <a:gd name="connsiteY427" fmla="*/ 172248 h 1042277"/>
                    <a:gd name="connsiteX428" fmla="*/ 408258 w 778289"/>
                    <a:gd name="connsiteY428" fmla="*/ 172454 h 1042277"/>
                    <a:gd name="connsiteX429" fmla="*/ 409812 w 778289"/>
                    <a:gd name="connsiteY429" fmla="*/ 172503 h 1042277"/>
                    <a:gd name="connsiteX430" fmla="*/ 413406 w 778289"/>
                    <a:gd name="connsiteY430" fmla="*/ 172357 h 1042277"/>
                    <a:gd name="connsiteX431" fmla="*/ 414317 w 778289"/>
                    <a:gd name="connsiteY431" fmla="*/ 172187 h 1042277"/>
                    <a:gd name="connsiteX432" fmla="*/ 415580 w 778289"/>
                    <a:gd name="connsiteY432" fmla="*/ 171616 h 1042277"/>
                    <a:gd name="connsiteX433" fmla="*/ 417486 w 778289"/>
                    <a:gd name="connsiteY433" fmla="*/ 170621 h 1042277"/>
                    <a:gd name="connsiteX434" fmla="*/ 424262 w 778289"/>
                    <a:gd name="connsiteY434" fmla="*/ 163250 h 1042277"/>
                    <a:gd name="connsiteX435" fmla="*/ 425051 w 778289"/>
                    <a:gd name="connsiteY435" fmla="*/ 160773 h 1042277"/>
                    <a:gd name="connsiteX436" fmla="*/ 425209 w 778289"/>
                    <a:gd name="connsiteY436" fmla="*/ 158708 h 1042277"/>
                    <a:gd name="connsiteX437" fmla="*/ 424966 w 778289"/>
                    <a:gd name="connsiteY437" fmla="*/ 156960 h 1042277"/>
                    <a:gd name="connsiteX438" fmla="*/ 425379 w 778289"/>
                    <a:gd name="connsiteY438" fmla="*/ 153900 h 1042277"/>
                    <a:gd name="connsiteX439" fmla="*/ 426715 w 778289"/>
                    <a:gd name="connsiteY439" fmla="*/ 151580 h 1042277"/>
                    <a:gd name="connsiteX440" fmla="*/ 428913 w 778289"/>
                    <a:gd name="connsiteY440" fmla="*/ 150755 h 1042277"/>
                    <a:gd name="connsiteX441" fmla="*/ 430759 w 778289"/>
                    <a:gd name="connsiteY441" fmla="*/ 151010 h 1042277"/>
                    <a:gd name="connsiteX442" fmla="*/ 432009 w 778289"/>
                    <a:gd name="connsiteY442" fmla="*/ 151580 h 1042277"/>
                    <a:gd name="connsiteX443" fmla="*/ 433564 w 778289"/>
                    <a:gd name="connsiteY443" fmla="*/ 152904 h 1042277"/>
                    <a:gd name="connsiteX444" fmla="*/ 433734 w 778289"/>
                    <a:gd name="connsiteY444" fmla="*/ 152868 h 1042277"/>
                    <a:gd name="connsiteX445" fmla="*/ 440279 w 778289"/>
                    <a:gd name="connsiteY445" fmla="*/ 147865 h 1042277"/>
                    <a:gd name="connsiteX446" fmla="*/ 441141 w 778289"/>
                    <a:gd name="connsiteY446" fmla="*/ 146990 h 1042277"/>
                    <a:gd name="connsiteX447" fmla="*/ 441699 w 778289"/>
                    <a:gd name="connsiteY447" fmla="*/ 145995 h 1042277"/>
                    <a:gd name="connsiteX448" fmla="*/ 446642 w 778289"/>
                    <a:gd name="connsiteY448" fmla="*/ 132905 h 1042277"/>
                    <a:gd name="connsiteX449" fmla="*/ 449811 w 778289"/>
                    <a:gd name="connsiteY449" fmla="*/ 120604 h 1042277"/>
                    <a:gd name="connsiteX450" fmla="*/ 451316 w 778289"/>
                    <a:gd name="connsiteY450" fmla="*/ 116864 h 1042277"/>
                    <a:gd name="connsiteX451" fmla="*/ 451547 w 778289"/>
                    <a:gd name="connsiteY451" fmla="*/ 115419 h 1042277"/>
                    <a:gd name="connsiteX452" fmla="*/ 451839 w 778289"/>
                    <a:gd name="connsiteY452" fmla="*/ 110452 h 1042277"/>
                    <a:gd name="connsiteX453" fmla="*/ 452422 w 778289"/>
                    <a:gd name="connsiteY453" fmla="*/ 107732 h 1042277"/>
                    <a:gd name="connsiteX454" fmla="*/ 452956 w 778289"/>
                    <a:gd name="connsiteY454" fmla="*/ 105996 h 1042277"/>
                    <a:gd name="connsiteX455" fmla="*/ 455166 w 778289"/>
                    <a:gd name="connsiteY455" fmla="*/ 102499 h 1042277"/>
                    <a:gd name="connsiteX456" fmla="*/ 456793 w 778289"/>
                    <a:gd name="connsiteY456" fmla="*/ 100701 h 1042277"/>
                    <a:gd name="connsiteX457" fmla="*/ 459416 w 778289"/>
                    <a:gd name="connsiteY457" fmla="*/ 99208 h 1042277"/>
                    <a:gd name="connsiteX458" fmla="*/ 459999 w 778289"/>
                    <a:gd name="connsiteY458" fmla="*/ 98941 h 1042277"/>
                    <a:gd name="connsiteX459" fmla="*/ 462950 w 778289"/>
                    <a:gd name="connsiteY459" fmla="*/ 98856 h 1042277"/>
                    <a:gd name="connsiteX460" fmla="*/ 464176 w 778289"/>
                    <a:gd name="connsiteY460" fmla="*/ 98674 h 1042277"/>
                    <a:gd name="connsiteX461" fmla="*/ 464686 w 778289"/>
                    <a:gd name="connsiteY461" fmla="*/ 98322 h 1042277"/>
                    <a:gd name="connsiteX462" fmla="*/ 465439 w 778289"/>
                    <a:gd name="connsiteY462" fmla="*/ 97107 h 1042277"/>
                    <a:gd name="connsiteX463" fmla="*/ 467066 w 778289"/>
                    <a:gd name="connsiteY463" fmla="*/ 93440 h 1042277"/>
                    <a:gd name="connsiteX464" fmla="*/ 469082 w 778289"/>
                    <a:gd name="connsiteY464" fmla="*/ 91947 h 1042277"/>
                    <a:gd name="connsiteX465" fmla="*/ 472190 w 778289"/>
                    <a:gd name="connsiteY465" fmla="*/ 90854 h 1042277"/>
                    <a:gd name="connsiteX466" fmla="*/ 480278 w 778289"/>
                    <a:gd name="connsiteY466" fmla="*/ 89809 h 1042277"/>
                    <a:gd name="connsiteX467" fmla="*/ 484078 w 778289"/>
                    <a:gd name="connsiteY467" fmla="*/ 88583 h 1042277"/>
                    <a:gd name="connsiteX468" fmla="*/ 486992 w 778289"/>
                    <a:gd name="connsiteY468" fmla="*/ 87988 h 1042277"/>
                    <a:gd name="connsiteX469" fmla="*/ 496537 w 778289"/>
                    <a:gd name="connsiteY469" fmla="*/ 86919 h 1042277"/>
                    <a:gd name="connsiteX470" fmla="*/ 500265 w 778289"/>
                    <a:gd name="connsiteY470" fmla="*/ 88777 h 1042277"/>
                    <a:gd name="connsiteX471" fmla="*/ 501819 w 778289"/>
                    <a:gd name="connsiteY471" fmla="*/ 91655 h 1042277"/>
                    <a:gd name="connsiteX472" fmla="*/ 502669 w 778289"/>
                    <a:gd name="connsiteY472" fmla="*/ 94788 h 1042277"/>
                    <a:gd name="connsiteX473" fmla="*/ 502924 w 778289"/>
                    <a:gd name="connsiteY473" fmla="*/ 95250 h 1042277"/>
                    <a:gd name="connsiteX474" fmla="*/ 503046 w 778289"/>
                    <a:gd name="connsiteY474" fmla="*/ 95237 h 1042277"/>
                    <a:gd name="connsiteX475" fmla="*/ 505000 w 778289"/>
                    <a:gd name="connsiteY475" fmla="*/ 94096 h 1042277"/>
                    <a:gd name="connsiteX476" fmla="*/ 505559 w 778289"/>
                    <a:gd name="connsiteY476" fmla="*/ 93076 h 1042277"/>
                    <a:gd name="connsiteX477" fmla="*/ 505911 w 778289"/>
                    <a:gd name="connsiteY477" fmla="*/ 92080 h 1042277"/>
                    <a:gd name="connsiteX478" fmla="*/ 505838 w 778289"/>
                    <a:gd name="connsiteY478" fmla="*/ 91303 h 1042277"/>
                    <a:gd name="connsiteX479" fmla="*/ 506810 w 778289"/>
                    <a:gd name="connsiteY479" fmla="*/ 87138 h 1042277"/>
                    <a:gd name="connsiteX480" fmla="*/ 509141 w 778289"/>
                    <a:gd name="connsiteY480" fmla="*/ 85134 h 1042277"/>
                    <a:gd name="connsiteX481" fmla="*/ 511291 w 778289"/>
                    <a:gd name="connsiteY481" fmla="*/ 84612 h 1042277"/>
                    <a:gd name="connsiteX482" fmla="*/ 515237 w 778289"/>
                    <a:gd name="connsiteY482" fmla="*/ 84551 h 1042277"/>
                    <a:gd name="connsiteX483" fmla="*/ 520301 w 778289"/>
                    <a:gd name="connsiteY483" fmla="*/ 85329 h 1042277"/>
                    <a:gd name="connsiteX484" fmla="*/ 522231 w 778289"/>
                    <a:gd name="connsiteY484" fmla="*/ 85972 h 1042277"/>
                    <a:gd name="connsiteX485" fmla="*/ 524016 w 778289"/>
                    <a:gd name="connsiteY485" fmla="*/ 86895 h 1042277"/>
                    <a:gd name="connsiteX486" fmla="*/ 524963 w 778289"/>
                    <a:gd name="connsiteY486" fmla="*/ 87721 h 1042277"/>
                    <a:gd name="connsiteX487" fmla="*/ 526445 w 778289"/>
                    <a:gd name="connsiteY487" fmla="*/ 90198 h 1042277"/>
                    <a:gd name="connsiteX488" fmla="*/ 526906 w 778289"/>
                    <a:gd name="connsiteY488" fmla="*/ 92323 h 1042277"/>
                    <a:gd name="connsiteX489" fmla="*/ 527441 w 778289"/>
                    <a:gd name="connsiteY489" fmla="*/ 92541 h 1042277"/>
                    <a:gd name="connsiteX490" fmla="*/ 531460 w 778289"/>
                    <a:gd name="connsiteY490" fmla="*/ 92784 h 1042277"/>
                    <a:gd name="connsiteX491" fmla="*/ 534119 w 778289"/>
                    <a:gd name="connsiteY491" fmla="*/ 93525 h 1042277"/>
                    <a:gd name="connsiteX492" fmla="*/ 536669 w 778289"/>
                    <a:gd name="connsiteY492" fmla="*/ 95079 h 1042277"/>
                    <a:gd name="connsiteX493" fmla="*/ 538369 w 778289"/>
                    <a:gd name="connsiteY493" fmla="*/ 95869 h 1042277"/>
                    <a:gd name="connsiteX494" fmla="*/ 540191 w 778289"/>
                    <a:gd name="connsiteY494" fmla="*/ 95893 h 1042277"/>
                    <a:gd name="connsiteX495" fmla="*/ 543105 w 778289"/>
                    <a:gd name="connsiteY495" fmla="*/ 94934 h 1042277"/>
                    <a:gd name="connsiteX496" fmla="*/ 550330 w 778289"/>
                    <a:gd name="connsiteY496" fmla="*/ 94278 h 1042277"/>
                    <a:gd name="connsiteX497" fmla="*/ 552176 w 778289"/>
                    <a:gd name="connsiteY497" fmla="*/ 93841 h 1042277"/>
                    <a:gd name="connsiteX498" fmla="*/ 554143 w 778289"/>
                    <a:gd name="connsiteY498" fmla="*/ 92068 h 1042277"/>
                    <a:gd name="connsiteX499" fmla="*/ 558466 w 778289"/>
                    <a:gd name="connsiteY499" fmla="*/ 86676 h 1042277"/>
                    <a:gd name="connsiteX500" fmla="*/ 564926 w 778289"/>
                    <a:gd name="connsiteY500" fmla="*/ 77339 h 1042277"/>
                    <a:gd name="connsiteX501" fmla="*/ 568107 w 778289"/>
                    <a:gd name="connsiteY501" fmla="*/ 74412 h 1042277"/>
                    <a:gd name="connsiteX502" fmla="*/ 571690 w 778289"/>
                    <a:gd name="connsiteY502" fmla="*/ 73562 h 1042277"/>
                    <a:gd name="connsiteX503" fmla="*/ 575927 w 778289"/>
                    <a:gd name="connsiteY503" fmla="*/ 74327 h 1042277"/>
                    <a:gd name="connsiteX504" fmla="*/ 578332 w 778289"/>
                    <a:gd name="connsiteY504" fmla="*/ 76343 h 1042277"/>
                    <a:gd name="connsiteX505" fmla="*/ 579437 w 778289"/>
                    <a:gd name="connsiteY505" fmla="*/ 77509 h 1042277"/>
                    <a:gd name="connsiteX506" fmla="*/ 579595 w 778289"/>
                    <a:gd name="connsiteY506" fmla="*/ 77569 h 1042277"/>
                    <a:gd name="connsiteX507" fmla="*/ 580165 w 778289"/>
                    <a:gd name="connsiteY507" fmla="*/ 77423 h 1042277"/>
                    <a:gd name="connsiteX508" fmla="*/ 582400 w 778289"/>
                    <a:gd name="connsiteY508" fmla="*/ 75638 h 1042277"/>
                    <a:gd name="connsiteX509" fmla="*/ 585873 w 778289"/>
                    <a:gd name="connsiteY509" fmla="*/ 71073 h 1042277"/>
                    <a:gd name="connsiteX510" fmla="*/ 589698 w 778289"/>
                    <a:gd name="connsiteY510" fmla="*/ 67636 h 1042277"/>
                    <a:gd name="connsiteX511" fmla="*/ 591155 w 778289"/>
                    <a:gd name="connsiteY511" fmla="*/ 65706 h 1042277"/>
                    <a:gd name="connsiteX512" fmla="*/ 593280 w 778289"/>
                    <a:gd name="connsiteY512" fmla="*/ 64042 h 1042277"/>
                    <a:gd name="connsiteX513" fmla="*/ 599072 w 778289"/>
                    <a:gd name="connsiteY513" fmla="*/ 61152 h 1042277"/>
                    <a:gd name="connsiteX514" fmla="*/ 599521 w 778289"/>
                    <a:gd name="connsiteY514" fmla="*/ 60290 h 1042277"/>
                    <a:gd name="connsiteX515" fmla="*/ 599643 w 778289"/>
                    <a:gd name="connsiteY515" fmla="*/ 58711 h 1042277"/>
                    <a:gd name="connsiteX516" fmla="*/ 599254 w 778289"/>
                    <a:gd name="connsiteY516" fmla="*/ 57728 h 1042277"/>
                    <a:gd name="connsiteX517" fmla="*/ 599023 w 778289"/>
                    <a:gd name="connsiteY517" fmla="*/ 56040 h 1042277"/>
                    <a:gd name="connsiteX518" fmla="*/ 599351 w 778289"/>
                    <a:gd name="connsiteY518" fmla="*/ 53623 h 1042277"/>
                    <a:gd name="connsiteX519" fmla="*/ 601513 w 778289"/>
                    <a:gd name="connsiteY519" fmla="*/ 49082 h 1042277"/>
                    <a:gd name="connsiteX520" fmla="*/ 601719 w 778289"/>
                    <a:gd name="connsiteY520" fmla="*/ 45257 h 1042277"/>
                    <a:gd name="connsiteX521" fmla="*/ 602302 w 778289"/>
                    <a:gd name="connsiteY521" fmla="*/ 43120 h 1042277"/>
                    <a:gd name="connsiteX522" fmla="*/ 603674 w 778289"/>
                    <a:gd name="connsiteY522" fmla="*/ 40898 h 1042277"/>
                    <a:gd name="connsiteX523" fmla="*/ 604828 w 778289"/>
                    <a:gd name="connsiteY523" fmla="*/ 39902 h 1042277"/>
                    <a:gd name="connsiteX524" fmla="*/ 609078 w 778289"/>
                    <a:gd name="connsiteY524" fmla="*/ 38190 h 1042277"/>
                    <a:gd name="connsiteX525" fmla="*/ 614226 w 778289"/>
                    <a:gd name="connsiteY525" fmla="*/ 37522 h 1042277"/>
                    <a:gd name="connsiteX526" fmla="*/ 617347 w 778289"/>
                    <a:gd name="connsiteY526" fmla="*/ 37582 h 1042277"/>
                    <a:gd name="connsiteX527" fmla="*/ 621063 w 778289"/>
                    <a:gd name="connsiteY527" fmla="*/ 38287 h 1042277"/>
                    <a:gd name="connsiteX528" fmla="*/ 623795 w 778289"/>
                    <a:gd name="connsiteY528" fmla="*/ 39453 h 1042277"/>
                    <a:gd name="connsiteX529" fmla="*/ 626333 w 778289"/>
                    <a:gd name="connsiteY529" fmla="*/ 41213 h 1042277"/>
                    <a:gd name="connsiteX530" fmla="*/ 629320 w 778289"/>
                    <a:gd name="connsiteY530" fmla="*/ 44759 h 1042277"/>
                    <a:gd name="connsiteX531" fmla="*/ 630996 w 778289"/>
                    <a:gd name="connsiteY531" fmla="*/ 47916 h 1042277"/>
                    <a:gd name="connsiteX532" fmla="*/ 632137 w 778289"/>
                    <a:gd name="connsiteY532" fmla="*/ 49337 h 1042277"/>
                    <a:gd name="connsiteX533" fmla="*/ 635197 w 778289"/>
                    <a:gd name="connsiteY533" fmla="*/ 49422 h 1042277"/>
                    <a:gd name="connsiteX534" fmla="*/ 647182 w 778289"/>
                    <a:gd name="connsiteY534" fmla="*/ 46836 h 1042277"/>
                    <a:gd name="connsiteX535" fmla="*/ 650619 w 778289"/>
                    <a:gd name="connsiteY535" fmla="*/ 47248 h 1042277"/>
                    <a:gd name="connsiteX536" fmla="*/ 651299 w 778289"/>
                    <a:gd name="connsiteY536" fmla="*/ 47382 h 1042277"/>
                    <a:gd name="connsiteX537" fmla="*/ 654383 w 778289"/>
                    <a:gd name="connsiteY537" fmla="*/ 49677 h 1042277"/>
                    <a:gd name="connsiteX538" fmla="*/ 655257 w 778289"/>
                    <a:gd name="connsiteY538" fmla="*/ 53878 h 1042277"/>
                    <a:gd name="connsiteX539" fmla="*/ 655197 w 778289"/>
                    <a:gd name="connsiteY539" fmla="*/ 56550 h 1042277"/>
                    <a:gd name="connsiteX540" fmla="*/ 654942 w 778289"/>
                    <a:gd name="connsiteY540" fmla="*/ 57679 h 1042277"/>
                    <a:gd name="connsiteX541" fmla="*/ 655026 w 778289"/>
                    <a:gd name="connsiteY541" fmla="*/ 57946 h 1042277"/>
                    <a:gd name="connsiteX542" fmla="*/ 658342 w 778289"/>
                    <a:gd name="connsiteY542" fmla="*/ 59816 h 1042277"/>
                    <a:gd name="connsiteX543" fmla="*/ 660382 w 778289"/>
                    <a:gd name="connsiteY543" fmla="*/ 59622 h 1042277"/>
                    <a:gd name="connsiteX544" fmla="*/ 664279 w 778289"/>
                    <a:gd name="connsiteY544" fmla="*/ 59610 h 1042277"/>
                    <a:gd name="connsiteX545" fmla="*/ 667036 w 778289"/>
                    <a:gd name="connsiteY545" fmla="*/ 60448 h 1042277"/>
                    <a:gd name="connsiteX546" fmla="*/ 667485 w 778289"/>
                    <a:gd name="connsiteY546" fmla="*/ 60363 h 1042277"/>
                    <a:gd name="connsiteX547" fmla="*/ 667631 w 778289"/>
                    <a:gd name="connsiteY547" fmla="*/ 60035 h 1042277"/>
                    <a:gd name="connsiteX548" fmla="*/ 667461 w 778289"/>
                    <a:gd name="connsiteY548" fmla="*/ 59756 h 1042277"/>
                    <a:gd name="connsiteX549" fmla="*/ 666939 w 778289"/>
                    <a:gd name="connsiteY549" fmla="*/ 59537 h 1042277"/>
                    <a:gd name="connsiteX550" fmla="*/ 665943 w 778289"/>
                    <a:gd name="connsiteY550" fmla="*/ 58918 h 1042277"/>
                    <a:gd name="connsiteX551" fmla="*/ 664838 w 778289"/>
                    <a:gd name="connsiteY551" fmla="*/ 58359 h 1042277"/>
                    <a:gd name="connsiteX552" fmla="*/ 662919 w 778289"/>
                    <a:gd name="connsiteY552" fmla="*/ 57169 h 1042277"/>
                    <a:gd name="connsiteX553" fmla="*/ 661450 w 778289"/>
                    <a:gd name="connsiteY553" fmla="*/ 55105 h 1042277"/>
                    <a:gd name="connsiteX554" fmla="*/ 661037 w 778289"/>
                    <a:gd name="connsiteY554" fmla="*/ 53162 h 1042277"/>
                    <a:gd name="connsiteX555" fmla="*/ 661025 w 778289"/>
                    <a:gd name="connsiteY555" fmla="*/ 50843 h 1042277"/>
                    <a:gd name="connsiteX556" fmla="*/ 661887 w 778289"/>
                    <a:gd name="connsiteY556" fmla="*/ 48280 h 1042277"/>
                    <a:gd name="connsiteX557" fmla="*/ 662179 w 778289"/>
                    <a:gd name="connsiteY557" fmla="*/ 47552 h 1042277"/>
                    <a:gd name="connsiteX558" fmla="*/ 664741 w 778289"/>
                    <a:gd name="connsiteY558" fmla="*/ 45500 h 1042277"/>
                    <a:gd name="connsiteX559" fmla="*/ 668712 w 778289"/>
                    <a:gd name="connsiteY559" fmla="*/ 45451 h 1042277"/>
                    <a:gd name="connsiteX560" fmla="*/ 670970 w 778289"/>
                    <a:gd name="connsiteY560" fmla="*/ 46568 h 1042277"/>
                    <a:gd name="connsiteX561" fmla="*/ 672779 w 778289"/>
                    <a:gd name="connsiteY561" fmla="*/ 46690 h 1042277"/>
                    <a:gd name="connsiteX562" fmla="*/ 675074 w 778289"/>
                    <a:gd name="connsiteY562" fmla="*/ 46131 h 1042277"/>
                    <a:gd name="connsiteX563" fmla="*/ 685165 w 778289"/>
                    <a:gd name="connsiteY563" fmla="*/ 42051 h 1042277"/>
                    <a:gd name="connsiteX564" fmla="*/ 699749 w 778289"/>
                    <a:gd name="connsiteY564" fmla="*/ 33381 h 1042277"/>
                    <a:gd name="connsiteX565" fmla="*/ 700441 w 778289"/>
                    <a:gd name="connsiteY565" fmla="*/ 32264 h 1042277"/>
                    <a:gd name="connsiteX566" fmla="*/ 700465 w 778289"/>
                    <a:gd name="connsiteY566" fmla="*/ 31329 h 1042277"/>
                    <a:gd name="connsiteX567" fmla="*/ 700235 w 778289"/>
                    <a:gd name="connsiteY567" fmla="*/ 30515 h 1042277"/>
                    <a:gd name="connsiteX568" fmla="*/ 699725 w 778289"/>
                    <a:gd name="connsiteY568" fmla="*/ 29362 h 1042277"/>
                    <a:gd name="connsiteX569" fmla="*/ 699567 w 778289"/>
                    <a:gd name="connsiteY569" fmla="*/ 27953 h 1042277"/>
                    <a:gd name="connsiteX570" fmla="*/ 699955 w 778289"/>
                    <a:gd name="connsiteY570" fmla="*/ 25306 h 1042277"/>
                    <a:gd name="connsiteX571" fmla="*/ 701789 w 778289"/>
                    <a:gd name="connsiteY571" fmla="*/ 22185 h 1042277"/>
                    <a:gd name="connsiteX572" fmla="*/ 704861 w 778289"/>
                    <a:gd name="connsiteY572" fmla="*/ 18712 h 1042277"/>
                    <a:gd name="connsiteX573" fmla="*/ 708103 w 778289"/>
                    <a:gd name="connsiteY573" fmla="*/ 15944 h 1042277"/>
                    <a:gd name="connsiteX574" fmla="*/ 712560 w 778289"/>
                    <a:gd name="connsiteY574" fmla="*/ 13843 h 1042277"/>
                    <a:gd name="connsiteX575" fmla="*/ 717077 w 778289"/>
                    <a:gd name="connsiteY575" fmla="*/ 12483 h 1042277"/>
                    <a:gd name="connsiteX576" fmla="*/ 717210 w 778289"/>
                    <a:gd name="connsiteY576" fmla="*/ 12240 h 1042277"/>
                    <a:gd name="connsiteX577" fmla="*/ 716130 w 778289"/>
                    <a:gd name="connsiteY577" fmla="*/ 11172 h 1042277"/>
                    <a:gd name="connsiteX578" fmla="*/ 714551 w 778289"/>
                    <a:gd name="connsiteY578" fmla="*/ 9872 h 1042277"/>
                    <a:gd name="connsiteX579" fmla="*/ 712718 w 778289"/>
                    <a:gd name="connsiteY579" fmla="*/ 7553 h 1042277"/>
                    <a:gd name="connsiteX580" fmla="*/ 712438 w 778289"/>
                    <a:gd name="connsiteY580" fmla="*/ 6132 h 1042277"/>
                    <a:gd name="connsiteX581" fmla="*/ 712463 w 778289"/>
                    <a:gd name="connsiteY581" fmla="*/ 4530 h 1042277"/>
                    <a:gd name="connsiteX582" fmla="*/ 712669 w 778289"/>
                    <a:gd name="connsiteY582" fmla="*/ 3789 h 1042277"/>
                    <a:gd name="connsiteX583" fmla="*/ 713495 w 778289"/>
                    <a:gd name="connsiteY583" fmla="*/ 2186 h 1042277"/>
                    <a:gd name="connsiteX584" fmla="*/ 714102 w 778289"/>
                    <a:gd name="connsiteY584" fmla="*/ 1566 h 1042277"/>
                    <a:gd name="connsiteX585" fmla="*/ 715717 w 778289"/>
                    <a:gd name="connsiteY585" fmla="*/ 522 h 1042277"/>
                    <a:gd name="connsiteX586" fmla="*/ 717757 w 778289"/>
                    <a:gd name="connsiteY586" fmla="*/ 0 h 1042277"/>
                    <a:gd name="connsiteX587" fmla="*/ 719736 w 778289"/>
                    <a:gd name="connsiteY587" fmla="*/ 450 h 1042277"/>
                    <a:gd name="connsiteX588" fmla="*/ 724885 w 778289"/>
                    <a:gd name="connsiteY588" fmla="*/ 3801 h 1042277"/>
                    <a:gd name="connsiteX589" fmla="*/ 727119 w 778289"/>
                    <a:gd name="connsiteY589" fmla="*/ 4700 h 1042277"/>
                    <a:gd name="connsiteX590" fmla="*/ 730556 w 778289"/>
                    <a:gd name="connsiteY590" fmla="*/ 4627 h 1042277"/>
                    <a:gd name="connsiteX591" fmla="*/ 732304 w 778289"/>
                    <a:gd name="connsiteY591" fmla="*/ 4700 h 1042277"/>
                    <a:gd name="connsiteX592" fmla="*/ 733494 w 778289"/>
                    <a:gd name="connsiteY592" fmla="*/ 6958 h 1042277"/>
                    <a:gd name="connsiteX593" fmla="*/ 733761 w 778289"/>
                    <a:gd name="connsiteY593" fmla="*/ 8306 h 1042277"/>
                    <a:gd name="connsiteX594" fmla="*/ 733689 w 778289"/>
                    <a:gd name="connsiteY594" fmla="*/ 10625 h 1042277"/>
                    <a:gd name="connsiteX595" fmla="*/ 733385 w 778289"/>
                    <a:gd name="connsiteY595" fmla="*/ 11876 h 1042277"/>
                    <a:gd name="connsiteX596" fmla="*/ 732899 w 778289"/>
                    <a:gd name="connsiteY596" fmla="*/ 13297 h 1042277"/>
                    <a:gd name="connsiteX597" fmla="*/ 731818 w 778289"/>
                    <a:gd name="connsiteY597" fmla="*/ 15130 h 1042277"/>
                    <a:gd name="connsiteX598" fmla="*/ 735376 w 778289"/>
                    <a:gd name="connsiteY598" fmla="*/ 14669 h 1042277"/>
                    <a:gd name="connsiteX599" fmla="*/ 738764 w 778289"/>
                    <a:gd name="connsiteY599" fmla="*/ 14705 h 1042277"/>
                    <a:gd name="connsiteX600" fmla="*/ 748673 w 778289"/>
                    <a:gd name="connsiteY600" fmla="*/ 16843 h 1042277"/>
                    <a:gd name="connsiteX601" fmla="*/ 752085 w 778289"/>
                    <a:gd name="connsiteY601" fmla="*/ 16381 h 1042277"/>
                    <a:gd name="connsiteX602" fmla="*/ 755849 w 778289"/>
                    <a:gd name="connsiteY602" fmla="*/ 14499 h 1042277"/>
                    <a:gd name="connsiteX603" fmla="*/ 755849 w 778289"/>
                    <a:gd name="connsiteY603" fmla="*/ 12143 h 1042277"/>
                    <a:gd name="connsiteX604" fmla="*/ 759055 w 778289"/>
                    <a:gd name="connsiteY604" fmla="*/ 12957 h 1042277"/>
                    <a:gd name="connsiteX605" fmla="*/ 762552 w 778289"/>
                    <a:gd name="connsiteY605" fmla="*/ 13175 h 1042277"/>
                    <a:gd name="connsiteX606" fmla="*/ 762917 w 778289"/>
                    <a:gd name="connsiteY606" fmla="*/ 16685 h 1042277"/>
                    <a:gd name="connsiteX607" fmla="*/ 762589 w 778289"/>
                    <a:gd name="connsiteY607" fmla="*/ 18214 h 1042277"/>
                    <a:gd name="connsiteX608" fmla="*/ 763669 w 778289"/>
                    <a:gd name="connsiteY608" fmla="*/ 19210 h 1042277"/>
                    <a:gd name="connsiteX609" fmla="*/ 766620 w 778289"/>
                    <a:gd name="connsiteY609" fmla="*/ 20898 h 1042277"/>
                    <a:gd name="connsiteX610" fmla="*/ 767227 w 778289"/>
                    <a:gd name="connsiteY610" fmla="*/ 21578 h 1042277"/>
                    <a:gd name="connsiteX611" fmla="*/ 768211 w 778289"/>
                    <a:gd name="connsiteY611" fmla="*/ 20923 h 1042277"/>
                    <a:gd name="connsiteX612" fmla="*/ 773238 w 778289"/>
                    <a:gd name="connsiteY612" fmla="*/ 19720 h 1042277"/>
                    <a:gd name="connsiteX613" fmla="*/ 775521 w 778289"/>
                    <a:gd name="connsiteY613" fmla="*/ 25452 h 1042277"/>
                    <a:gd name="connsiteX614" fmla="*/ 777525 w 778289"/>
                    <a:gd name="connsiteY614" fmla="*/ 32992 h 1042277"/>
                    <a:gd name="connsiteX615" fmla="*/ 778289 w 778289"/>
                    <a:gd name="connsiteY615" fmla="*/ 38372 h 1042277"/>
                    <a:gd name="connsiteX616" fmla="*/ 777913 w 778289"/>
                    <a:gd name="connsiteY616" fmla="*/ 44322 h 1042277"/>
                    <a:gd name="connsiteX617" fmla="*/ 776140 w 778289"/>
                    <a:gd name="connsiteY617" fmla="*/ 54243 h 1042277"/>
                    <a:gd name="connsiteX618" fmla="*/ 775788 w 778289"/>
                    <a:gd name="connsiteY618" fmla="*/ 59221 h 1042277"/>
                    <a:gd name="connsiteX619" fmla="*/ 776055 w 778289"/>
                    <a:gd name="connsiteY619" fmla="*/ 59161 h 1042277"/>
                    <a:gd name="connsiteX620" fmla="*/ 775509 w 778289"/>
                    <a:gd name="connsiteY620" fmla="*/ 67770 h 1042277"/>
                    <a:gd name="connsiteX621" fmla="*/ 773602 w 778289"/>
                    <a:gd name="connsiteY621" fmla="*/ 72299 h 1042277"/>
                    <a:gd name="connsiteX622" fmla="*/ 771477 w 778289"/>
                    <a:gd name="connsiteY622" fmla="*/ 75687 h 1042277"/>
                    <a:gd name="connsiteX623" fmla="*/ 770494 w 778289"/>
                    <a:gd name="connsiteY623" fmla="*/ 78565 h 1042277"/>
                    <a:gd name="connsiteX624" fmla="*/ 772145 w 778289"/>
                    <a:gd name="connsiteY624" fmla="*/ 85717 h 1042277"/>
                    <a:gd name="connsiteX625" fmla="*/ 770433 w 778289"/>
                    <a:gd name="connsiteY625" fmla="*/ 88619 h 1042277"/>
                    <a:gd name="connsiteX626" fmla="*/ 766596 w 778289"/>
                    <a:gd name="connsiteY626" fmla="*/ 92833 h 1042277"/>
                    <a:gd name="connsiteX627" fmla="*/ 766122 w 778289"/>
                    <a:gd name="connsiteY627" fmla="*/ 100046 h 1042277"/>
                    <a:gd name="connsiteX628" fmla="*/ 763512 w 778289"/>
                    <a:gd name="connsiteY628" fmla="*/ 114107 h 1042277"/>
                    <a:gd name="connsiteX629" fmla="*/ 762455 w 778289"/>
                    <a:gd name="connsiteY629" fmla="*/ 136924 h 1042277"/>
                    <a:gd name="connsiteX630" fmla="*/ 760245 w 778289"/>
                    <a:gd name="connsiteY630" fmla="*/ 151143 h 1042277"/>
                    <a:gd name="connsiteX631" fmla="*/ 756736 w 778289"/>
                    <a:gd name="connsiteY631" fmla="*/ 161453 h 1042277"/>
                    <a:gd name="connsiteX632" fmla="*/ 755946 w 778289"/>
                    <a:gd name="connsiteY632" fmla="*/ 167731 h 1042277"/>
                    <a:gd name="connsiteX633" fmla="*/ 754550 w 778289"/>
                    <a:gd name="connsiteY633" fmla="*/ 171361 h 1042277"/>
                    <a:gd name="connsiteX634" fmla="*/ 750834 w 778289"/>
                    <a:gd name="connsiteY634" fmla="*/ 177166 h 1042277"/>
                    <a:gd name="connsiteX635" fmla="*/ 749741 w 778289"/>
                    <a:gd name="connsiteY635" fmla="*/ 180116 h 1042277"/>
                    <a:gd name="connsiteX636" fmla="*/ 747750 w 778289"/>
                    <a:gd name="connsiteY636" fmla="*/ 188592 h 1042277"/>
                    <a:gd name="connsiteX637" fmla="*/ 747483 w 778289"/>
                    <a:gd name="connsiteY637" fmla="*/ 192017 h 1042277"/>
                    <a:gd name="connsiteX638" fmla="*/ 746706 w 778289"/>
                    <a:gd name="connsiteY638" fmla="*/ 195222 h 1042277"/>
                    <a:gd name="connsiteX639" fmla="*/ 742152 w 778289"/>
                    <a:gd name="connsiteY639" fmla="*/ 206661 h 1042277"/>
                    <a:gd name="connsiteX640" fmla="*/ 735401 w 778289"/>
                    <a:gd name="connsiteY640" fmla="*/ 218063 h 1042277"/>
                    <a:gd name="connsiteX641" fmla="*/ 734927 w 778289"/>
                    <a:gd name="connsiteY641" fmla="*/ 220322 h 1042277"/>
                    <a:gd name="connsiteX642" fmla="*/ 730762 w 778289"/>
                    <a:gd name="connsiteY642" fmla="*/ 228324 h 1042277"/>
                    <a:gd name="connsiteX643" fmla="*/ 728807 w 778289"/>
                    <a:gd name="connsiteY643" fmla="*/ 230910 h 1042277"/>
                    <a:gd name="connsiteX644" fmla="*/ 723501 w 778289"/>
                    <a:gd name="connsiteY644" fmla="*/ 234250 h 1042277"/>
                    <a:gd name="connsiteX645" fmla="*/ 719785 w 778289"/>
                    <a:gd name="connsiteY645" fmla="*/ 240758 h 1042277"/>
                    <a:gd name="connsiteX646" fmla="*/ 720975 w 778289"/>
                    <a:gd name="connsiteY646" fmla="*/ 240005 h 1042277"/>
                    <a:gd name="connsiteX647" fmla="*/ 702773 w 778289"/>
                    <a:gd name="connsiteY647" fmla="*/ 268250 h 1042277"/>
                    <a:gd name="connsiteX648" fmla="*/ 699810 w 778289"/>
                    <a:gd name="connsiteY648" fmla="*/ 271516 h 1042277"/>
                    <a:gd name="connsiteX649" fmla="*/ 698960 w 778289"/>
                    <a:gd name="connsiteY649" fmla="*/ 272828 h 1042277"/>
                    <a:gd name="connsiteX650" fmla="*/ 693483 w 778289"/>
                    <a:gd name="connsiteY650" fmla="*/ 284108 h 1042277"/>
                    <a:gd name="connsiteX651" fmla="*/ 688019 w 778289"/>
                    <a:gd name="connsiteY651" fmla="*/ 290690 h 1042277"/>
                    <a:gd name="connsiteX652" fmla="*/ 686841 w 778289"/>
                    <a:gd name="connsiteY652" fmla="*/ 293058 h 1042277"/>
                    <a:gd name="connsiteX653" fmla="*/ 686950 w 778289"/>
                    <a:gd name="connsiteY653" fmla="*/ 293993 h 1042277"/>
                    <a:gd name="connsiteX654" fmla="*/ 687217 w 778289"/>
                    <a:gd name="connsiteY654" fmla="*/ 300550 h 1042277"/>
                    <a:gd name="connsiteX655" fmla="*/ 686258 w 778289"/>
                    <a:gd name="connsiteY655" fmla="*/ 302748 h 1042277"/>
                    <a:gd name="connsiteX656" fmla="*/ 684874 w 778289"/>
                    <a:gd name="connsiteY656" fmla="*/ 304752 h 1042277"/>
                    <a:gd name="connsiteX657" fmla="*/ 684704 w 778289"/>
                    <a:gd name="connsiteY657" fmla="*/ 305966 h 1042277"/>
                    <a:gd name="connsiteX658" fmla="*/ 682737 w 778289"/>
                    <a:gd name="connsiteY658" fmla="*/ 307265 h 1042277"/>
                    <a:gd name="connsiteX659" fmla="*/ 678365 w 778289"/>
                    <a:gd name="connsiteY659" fmla="*/ 308759 h 1042277"/>
                    <a:gd name="connsiteX660" fmla="*/ 676520 w 778289"/>
                    <a:gd name="connsiteY660" fmla="*/ 310373 h 1042277"/>
                    <a:gd name="connsiteX661" fmla="*/ 673010 w 778289"/>
                    <a:gd name="connsiteY661" fmla="*/ 313822 h 1042277"/>
                    <a:gd name="connsiteX662" fmla="*/ 670096 w 778289"/>
                    <a:gd name="connsiteY662" fmla="*/ 315389 h 1042277"/>
                    <a:gd name="connsiteX663" fmla="*/ 668019 w 778289"/>
                    <a:gd name="connsiteY663" fmla="*/ 315182 h 1042277"/>
                    <a:gd name="connsiteX664" fmla="*/ 666028 w 778289"/>
                    <a:gd name="connsiteY664" fmla="*/ 314101 h 1042277"/>
                    <a:gd name="connsiteX665" fmla="*/ 664814 w 778289"/>
                    <a:gd name="connsiteY665" fmla="*/ 312644 h 1042277"/>
                    <a:gd name="connsiteX666" fmla="*/ 662810 w 778289"/>
                    <a:gd name="connsiteY666" fmla="*/ 311430 h 1042277"/>
                    <a:gd name="connsiteX667" fmla="*/ 661365 w 778289"/>
                    <a:gd name="connsiteY667" fmla="*/ 310094 h 1042277"/>
                    <a:gd name="connsiteX668" fmla="*/ 660806 w 778289"/>
                    <a:gd name="connsiteY668" fmla="*/ 308370 h 1042277"/>
                    <a:gd name="connsiteX669" fmla="*/ 660892 w 778289"/>
                    <a:gd name="connsiteY669" fmla="*/ 306634 h 1042277"/>
                    <a:gd name="connsiteX670" fmla="*/ 661098 w 778289"/>
                    <a:gd name="connsiteY670" fmla="*/ 306051 h 1042277"/>
                    <a:gd name="connsiteX671" fmla="*/ 661839 w 778289"/>
                    <a:gd name="connsiteY671" fmla="*/ 304691 h 1042277"/>
                    <a:gd name="connsiteX672" fmla="*/ 663017 w 778289"/>
                    <a:gd name="connsiteY672" fmla="*/ 303404 h 1042277"/>
                    <a:gd name="connsiteX673" fmla="*/ 660163 w 778289"/>
                    <a:gd name="connsiteY673" fmla="*/ 303962 h 1042277"/>
                    <a:gd name="connsiteX674" fmla="*/ 656544 w 778289"/>
                    <a:gd name="connsiteY674" fmla="*/ 303549 h 1042277"/>
                    <a:gd name="connsiteX675" fmla="*/ 654407 w 778289"/>
                    <a:gd name="connsiteY675" fmla="*/ 301995 h 1042277"/>
                    <a:gd name="connsiteX676" fmla="*/ 652258 w 778289"/>
                    <a:gd name="connsiteY676" fmla="*/ 299178 h 1042277"/>
                    <a:gd name="connsiteX677" fmla="*/ 651554 w 778289"/>
                    <a:gd name="connsiteY677" fmla="*/ 300101 h 1042277"/>
                    <a:gd name="connsiteX678" fmla="*/ 654602 w 778289"/>
                    <a:gd name="connsiteY678" fmla="*/ 302845 h 1042277"/>
                    <a:gd name="connsiteX679" fmla="*/ 655537 w 778289"/>
                    <a:gd name="connsiteY679" fmla="*/ 305067 h 1042277"/>
                    <a:gd name="connsiteX680" fmla="*/ 655694 w 778289"/>
                    <a:gd name="connsiteY680" fmla="*/ 306366 h 1042277"/>
                    <a:gd name="connsiteX681" fmla="*/ 652574 w 778289"/>
                    <a:gd name="connsiteY681" fmla="*/ 307909 h 1042277"/>
                    <a:gd name="connsiteX682" fmla="*/ 655609 w 778289"/>
                    <a:gd name="connsiteY682" fmla="*/ 307909 h 1042277"/>
                    <a:gd name="connsiteX683" fmla="*/ 655609 w 778289"/>
                    <a:gd name="connsiteY683" fmla="*/ 308504 h 1042277"/>
                    <a:gd name="connsiteX684" fmla="*/ 656629 w 778289"/>
                    <a:gd name="connsiteY684" fmla="*/ 308916 h 1042277"/>
                    <a:gd name="connsiteX685" fmla="*/ 657674 w 778289"/>
                    <a:gd name="connsiteY685" fmla="*/ 310046 h 1042277"/>
                    <a:gd name="connsiteX686" fmla="*/ 658475 w 778289"/>
                    <a:gd name="connsiteY686" fmla="*/ 311564 h 1042277"/>
                    <a:gd name="connsiteX687" fmla="*/ 658815 w 778289"/>
                    <a:gd name="connsiteY687" fmla="*/ 313227 h 1042277"/>
                    <a:gd name="connsiteX688" fmla="*/ 658876 w 778289"/>
                    <a:gd name="connsiteY688" fmla="*/ 315559 h 1042277"/>
                    <a:gd name="connsiteX689" fmla="*/ 658329 w 778289"/>
                    <a:gd name="connsiteY689" fmla="*/ 318133 h 1042277"/>
                    <a:gd name="connsiteX690" fmla="*/ 657637 w 778289"/>
                    <a:gd name="connsiteY690" fmla="*/ 319942 h 1042277"/>
                    <a:gd name="connsiteX691" fmla="*/ 657297 w 778289"/>
                    <a:gd name="connsiteY691" fmla="*/ 320586 h 1042277"/>
                    <a:gd name="connsiteX692" fmla="*/ 658269 w 778289"/>
                    <a:gd name="connsiteY692" fmla="*/ 321035 h 1042277"/>
                    <a:gd name="connsiteX693" fmla="*/ 659665 w 778289"/>
                    <a:gd name="connsiteY693" fmla="*/ 322152 h 1042277"/>
                    <a:gd name="connsiteX694" fmla="*/ 660770 w 778289"/>
                    <a:gd name="connsiteY694" fmla="*/ 323464 h 1042277"/>
                    <a:gd name="connsiteX695" fmla="*/ 661754 w 778289"/>
                    <a:gd name="connsiteY695" fmla="*/ 323367 h 1042277"/>
                    <a:gd name="connsiteX696" fmla="*/ 663187 w 778289"/>
                    <a:gd name="connsiteY696" fmla="*/ 323464 h 1042277"/>
                    <a:gd name="connsiteX697" fmla="*/ 668857 w 778289"/>
                    <a:gd name="connsiteY697" fmla="*/ 324763 h 1042277"/>
                    <a:gd name="connsiteX698" fmla="*/ 678292 w 778289"/>
                    <a:gd name="connsiteY698" fmla="*/ 324508 h 1042277"/>
                    <a:gd name="connsiteX699" fmla="*/ 675888 w 778289"/>
                    <a:gd name="connsiteY699" fmla="*/ 336335 h 1042277"/>
                    <a:gd name="connsiteX700" fmla="*/ 673751 w 778289"/>
                    <a:gd name="connsiteY700" fmla="*/ 337987 h 1042277"/>
                    <a:gd name="connsiteX701" fmla="*/ 672779 w 778289"/>
                    <a:gd name="connsiteY701" fmla="*/ 340743 h 1042277"/>
                    <a:gd name="connsiteX702" fmla="*/ 669331 w 778289"/>
                    <a:gd name="connsiteY702" fmla="*/ 358484 h 1042277"/>
                    <a:gd name="connsiteX703" fmla="*/ 668748 w 778289"/>
                    <a:gd name="connsiteY703" fmla="*/ 365624 h 1042277"/>
                    <a:gd name="connsiteX704" fmla="*/ 666890 w 778289"/>
                    <a:gd name="connsiteY704" fmla="*/ 373201 h 1042277"/>
                    <a:gd name="connsiteX705" fmla="*/ 666562 w 778289"/>
                    <a:gd name="connsiteY705" fmla="*/ 376589 h 1042277"/>
                    <a:gd name="connsiteX706" fmla="*/ 667582 w 778289"/>
                    <a:gd name="connsiteY706" fmla="*/ 383620 h 1042277"/>
                    <a:gd name="connsiteX707" fmla="*/ 671845 w 778289"/>
                    <a:gd name="connsiteY707" fmla="*/ 396758 h 1042277"/>
                    <a:gd name="connsiteX708" fmla="*/ 675827 w 778289"/>
                    <a:gd name="connsiteY708" fmla="*/ 397281 h 1042277"/>
                    <a:gd name="connsiteX709" fmla="*/ 678584 w 778289"/>
                    <a:gd name="connsiteY709" fmla="*/ 400450 h 1042277"/>
                    <a:gd name="connsiteX710" fmla="*/ 679713 w 778289"/>
                    <a:gd name="connsiteY710" fmla="*/ 411282 h 1042277"/>
                    <a:gd name="connsiteX711" fmla="*/ 679094 w 778289"/>
                    <a:gd name="connsiteY711" fmla="*/ 414257 h 1042277"/>
                    <a:gd name="connsiteX712" fmla="*/ 678632 w 778289"/>
                    <a:gd name="connsiteY712" fmla="*/ 415859 h 1042277"/>
                    <a:gd name="connsiteX713" fmla="*/ 676483 w 778289"/>
                    <a:gd name="connsiteY713" fmla="*/ 416479 h 1042277"/>
                    <a:gd name="connsiteX714" fmla="*/ 678268 w 778289"/>
                    <a:gd name="connsiteY714" fmla="*/ 417304 h 1042277"/>
                    <a:gd name="connsiteX715" fmla="*/ 678402 w 778289"/>
                    <a:gd name="connsiteY715" fmla="*/ 417098 h 1042277"/>
                    <a:gd name="connsiteX716" fmla="*/ 679834 w 778289"/>
                    <a:gd name="connsiteY716" fmla="*/ 417195 h 1042277"/>
                    <a:gd name="connsiteX717" fmla="*/ 681207 w 778289"/>
                    <a:gd name="connsiteY717" fmla="*/ 419126 h 1042277"/>
                    <a:gd name="connsiteX718" fmla="*/ 681790 w 778289"/>
                    <a:gd name="connsiteY718" fmla="*/ 420862 h 1042277"/>
                    <a:gd name="connsiteX719" fmla="*/ 682130 w 778289"/>
                    <a:gd name="connsiteY719" fmla="*/ 435665 h 1042277"/>
                    <a:gd name="connsiteX720" fmla="*/ 685930 w 778289"/>
                    <a:gd name="connsiteY720" fmla="*/ 454911 h 1042277"/>
                    <a:gd name="connsiteX721" fmla="*/ 685408 w 778289"/>
                    <a:gd name="connsiteY721" fmla="*/ 484576 h 1042277"/>
                    <a:gd name="connsiteX722" fmla="*/ 683611 w 778289"/>
                    <a:gd name="connsiteY722" fmla="*/ 493295 h 1042277"/>
                    <a:gd name="connsiteX723" fmla="*/ 676532 w 778289"/>
                    <a:gd name="connsiteY723" fmla="*/ 491704 h 1042277"/>
                    <a:gd name="connsiteX724" fmla="*/ 674516 w 778289"/>
                    <a:gd name="connsiteY724" fmla="*/ 491656 h 1042277"/>
                    <a:gd name="connsiteX725" fmla="*/ 672233 w 778289"/>
                    <a:gd name="connsiteY725" fmla="*/ 493016 h 1042277"/>
                    <a:gd name="connsiteX726" fmla="*/ 671917 w 778289"/>
                    <a:gd name="connsiteY726" fmla="*/ 493477 h 1042277"/>
                    <a:gd name="connsiteX727" fmla="*/ 670861 w 778289"/>
                    <a:gd name="connsiteY727" fmla="*/ 494558 h 1042277"/>
                    <a:gd name="connsiteX728" fmla="*/ 667934 w 778289"/>
                    <a:gd name="connsiteY728" fmla="*/ 494193 h 1042277"/>
                    <a:gd name="connsiteX729" fmla="*/ 664789 w 778289"/>
                    <a:gd name="connsiteY729" fmla="*/ 492870 h 1042277"/>
                    <a:gd name="connsiteX730" fmla="*/ 665190 w 778289"/>
                    <a:gd name="connsiteY730" fmla="*/ 496525 h 1042277"/>
                    <a:gd name="connsiteX731" fmla="*/ 664365 w 778289"/>
                    <a:gd name="connsiteY731" fmla="*/ 498359 h 1042277"/>
                    <a:gd name="connsiteX732" fmla="*/ 662980 w 778289"/>
                    <a:gd name="connsiteY732" fmla="*/ 499330 h 1042277"/>
                    <a:gd name="connsiteX733" fmla="*/ 661232 w 778289"/>
                    <a:gd name="connsiteY733" fmla="*/ 499900 h 1042277"/>
                    <a:gd name="connsiteX734" fmla="*/ 659847 w 778289"/>
                    <a:gd name="connsiteY734" fmla="*/ 500083 h 1042277"/>
                    <a:gd name="connsiteX735" fmla="*/ 659544 w 778289"/>
                    <a:gd name="connsiteY735" fmla="*/ 499949 h 1042277"/>
                    <a:gd name="connsiteX736" fmla="*/ 659216 w 778289"/>
                    <a:gd name="connsiteY736" fmla="*/ 500629 h 1042277"/>
                    <a:gd name="connsiteX737" fmla="*/ 658123 w 778289"/>
                    <a:gd name="connsiteY737" fmla="*/ 501807 h 1042277"/>
                    <a:gd name="connsiteX738" fmla="*/ 658172 w 778289"/>
                    <a:gd name="connsiteY738" fmla="*/ 501856 h 1042277"/>
                    <a:gd name="connsiteX739" fmla="*/ 659702 w 778289"/>
                    <a:gd name="connsiteY739" fmla="*/ 501880 h 1042277"/>
                    <a:gd name="connsiteX740" fmla="*/ 662494 w 778289"/>
                    <a:gd name="connsiteY740" fmla="*/ 502839 h 1042277"/>
                    <a:gd name="connsiteX741" fmla="*/ 663757 w 778289"/>
                    <a:gd name="connsiteY741" fmla="*/ 503373 h 1042277"/>
                    <a:gd name="connsiteX742" fmla="*/ 663952 w 778289"/>
                    <a:gd name="connsiteY742" fmla="*/ 503980 h 1042277"/>
                    <a:gd name="connsiteX743" fmla="*/ 664061 w 778289"/>
                    <a:gd name="connsiteY743" fmla="*/ 503920 h 1042277"/>
                    <a:gd name="connsiteX744" fmla="*/ 667558 w 778289"/>
                    <a:gd name="connsiteY744" fmla="*/ 503993 h 1042277"/>
                    <a:gd name="connsiteX745" fmla="*/ 669039 w 778289"/>
                    <a:gd name="connsiteY745" fmla="*/ 505268 h 1042277"/>
                    <a:gd name="connsiteX746" fmla="*/ 669902 w 778289"/>
                    <a:gd name="connsiteY746" fmla="*/ 506531 h 1042277"/>
                    <a:gd name="connsiteX747" fmla="*/ 671055 w 778289"/>
                    <a:gd name="connsiteY747" fmla="*/ 506628 h 1042277"/>
                    <a:gd name="connsiteX748" fmla="*/ 672779 w 778289"/>
                    <a:gd name="connsiteY748" fmla="*/ 507004 h 1042277"/>
                    <a:gd name="connsiteX749" fmla="*/ 675900 w 778289"/>
                    <a:gd name="connsiteY749" fmla="*/ 508194 h 1042277"/>
                    <a:gd name="connsiteX750" fmla="*/ 676265 w 778289"/>
                    <a:gd name="connsiteY750" fmla="*/ 511643 h 1042277"/>
                    <a:gd name="connsiteX751" fmla="*/ 675342 w 778289"/>
                    <a:gd name="connsiteY751" fmla="*/ 513379 h 1042277"/>
                    <a:gd name="connsiteX752" fmla="*/ 675585 w 778289"/>
                    <a:gd name="connsiteY752" fmla="*/ 513853 h 1042277"/>
                    <a:gd name="connsiteX753" fmla="*/ 674990 w 778289"/>
                    <a:gd name="connsiteY753" fmla="*/ 515140 h 1042277"/>
                    <a:gd name="connsiteX754" fmla="*/ 677746 w 778289"/>
                    <a:gd name="connsiteY754" fmla="*/ 517010 h 1042277"/>
                    <a:gd name="connsiteX755" fmla="*/ 677952 w 778289"/>
                    <a:gd name="connsiteY755" fmla="*/ 518006 h 1042277"/>
                    <a:gd name="connsiteX756" fmla="*/ 680539 w 778289"/>
                    <a:gd name="connsiteY756" fmla="*/ 519001 h 1042277"/>
                    <a:gd name="connsiteX757" fmla="*/ 684352 w 778289"/>
                    <a:gd name="connsiteY757" fmla="*/ 518771 h 1042277"/>
                    <a:gd name="connsiteX758" fmla="*/ 684959 w 778289"/>
                    <a:gd name="connsiteY758" fmla="*/ 532164 h 1042277"/>
                    <a:gd name="connsiteX759" fmla="*/ 685007 w 778289"/>
                    <a:gd name="connsiteY759" fmla="*/ 563214 h 1042277"/>
                    <a:gd name="connsiteX760" fmla="*/ 686707 w 778289"/>
                    <a:gd name="connsiteY760" fmla="*/ 570257 h 1042277"/>
                    <a:gd name="connsiteX761" fmla="*/ 687533 w 778289"/>
                    <a:gd name="connsiteY761" fmla="*/ 603601 h 1042277"/>
                    <a:gd name="connsiteX762" fmla="*/ 686197 w 778289"/>
                    <a:gd name="connsiteY762" fmla="*/ 620116 h 1042277"/>
                    <a:gd name="connsiteX763" fmla="*/ 684959 w 778289"/>
                    <a:gd name="connsiteY763" fmla="*/ 623236 h 1042277"/>
                    <a:gd name="connsiteX764" fmla="*/ 684303 w 778289"/>
                    <a:gd name="connsiteY764" fmla="*/ 624621 h 1042277"/>
                    <a:gd name="connsiteX765" fmla="*/ 679604 w 778289"/>
                    <a:gd name="connsiteY765" fmla="*/ 625592 h 1042277"/>
                    <a:gd name="connsiteX766" fmla="*/ 676265 w 778289"/>
                    <a:gd name="connsiteY766" fmla="*/ 626709 h 1042277"/>
                    <a:gd name="connsiteX767" fmla="*/ 671347 w 778289"/>
                    <a:gd name="connsiteY767" fmla="*/ 627559 h 1042277"/>
                    <a:gd name="connsiteX768" fmla="*/ 670290 w 778289"/>
                    <a:gd name="connsiteY768" fmla="*/ 627171 h 1042277"/>
                    <a:gd name="connsiteX769" fmla="*/ 670181 w 778289"/>
                    <a:gd name="connsiteY769" fmla="*/ 628227 h 1042277"/>
                    <a:gd name="connsiteX770" fmla="*/ 665142 w 778289"/>
                    <a:gd name="connsiteY770" fmla="*/ 629660 h 1042277"/>
                    <a:gd name="connsiteX771" fmla="*/ 630692 w 778289"/>
                    <a:gd name="connsiteY771" fmla="*/ 622338 h 1042277"/>
                    <a:gd name="connsiteX772" fmla="*/ 627948 w 778289"/>
                    <a:gd name="connsiteY772" fmla="*/ 622168 h 1042277"/>
                    <a:gd name="connsiteX773" fmla="*/ 625337 w 778289"/>
                    <a:gd name="connsiteY773" fmla="*/ 621621 h 1042277"/>
                    <a:gd name="connsiteX774" fmla="*/ 623965 w 778289"/>
                    <a:gd name="connsiteY774" fmla="*/ 620188 h 1042277"/>
                    <a:gd name="connsiteX775" fmla="*/ 623127 w 778289"/>
                    <a:gd name="connsiteY775" fmla="*/ 618343 h 1042277"/>
                    <a:gd name="connsiteX776" fmla="*/ 623030 w 778289"/>
                    <a:gd name="connsiteY776" fmla="*/ 617165 h 1042277"/>
                    <a:gd name="connsiteX777" fmla="*/ 619314 w 778289"/>
                    <a:gd name="connsiteY777" fmla="*/ 618331 h 1042277"/>
                    <a:gd name="connsiteX778" fmla="*/ 609187 w 778289"/>
                    <a:gd name="connsiteY778" fmla="*/ 620018 h 1042277"/>
                    <a:gd name="connsiteX779" fmla="*/ 604354 w 778289"/>
                    <a:gd name="connsiteY779" fmla="*/ 619824 h 1042277"/>
                    <a:gd name="connsiteX780" fmla="*/ 598477 w 778289"/>
                    <a:gd name="connsiteY780" fmla="*/ 617371 h 1042277"/>
                    <a:gd name="connsiteX781" fmla="*/ 597323 w 778289"/>
                    <a:gd name="connsiteY781" fmla="*/ 617092 h 1042277"/>
                    <a:gd name="connsiteX782" fmla="*/ 595854 w 778289"/>
                    <a:gd name="connsiteY782" fmla="*/ 617639 h 1042277"/>
                    <a:gd name="connsiteX783" fmla="*/ 592697 w 778289"/>
                    <a:gd name="connsiteY783" fmla="*/ 620541 h 1042277"/>
                    <a:gd name="connsiteX784" fmla="*/ 581234 w 778289"/>
                    <a:gd name="connsiteY784" fmla="*/ 627256 h 1042277"/>
                    <a:gd name="connsiteX785" fmla="*/ 578065 w 778289"/>
                    <a:gd name="connsiteY785" fmla="*/ 629891 h 1042277"/>
                    <a:gd name="connsiteX786" fmla="*/ 576450 w 778289"/>
                    <a:gd name="connsiteY786" fmla="*/ 632198 h 1042277"/>
                    <a:gd name="connsiteX787" fmla="*/ 576207 w 778289"/>
                    <a:gd name="connsiteY787" fmla="*/ 633631 h 1042277"/>
                    <a:gd name="connsiteX788" fmla="*/ 576304 w 778289"/>
                    <a:gd name="connsiteY788" fmla="*/ 635671 h 1042277"/>
                    <a:gd name="connsiteX789" fmla="*/ 575818 w 778289"/>
                    <a:gd name="connsiteY789" fmla="*/ 639642 h 1042277"/>
                    <a:gd name="connsiteX790" fmla="*/ 573438 w 778289"/>
                    <a:gd name="connsiteY790" fmla="*/ 641366 h 1042277"/>
                    <a:gd name="connsiteX791" fmla="*/ 570839 w 778289"/>
                    <a:gd name="connsiteY791" fmla="*/ 642204 h 1042277"/>
                    <a:gd name="connsiteX792" fmla="*/ 570281 w 778289"/>
                    <a:gd name="connsiteY792" fmla="*/ 642859 h 1042277"/>
                    <a:gd name="connsiteX793" fmla="*/ 569771 w 778289"/>
                    <a:gd name="connsiteY793" fmla="*/ 644705 h 1042277"/>
                    <a:gd name="connsiteX794" fmla="*/ 570099 w 778289"/>
                    <a:gd name="connsiteY794" fmla="*/ 646405 h 1042277"/>
                    <a:gd name="connsiteX795" fmla="*/ 571350 w 778289"/>
                    <a:gd name="connsiteY795" fmla="*/ 659046 h 1042277"/>
                    <a:gd name="connsiteX796" fmla="*/ 572746 w 778289"/>
                    <a:gd name="connsiteY796" fmla="*/ 663296 h 1042277"/>
                    <a:gd name="connsiteX797" fmla="*/ 580080 w 778289"/>
                    <a:gd name="connsiteY797" fmla="*/ 668772 h 1042277"/>
                    <a:gd name="connsiteX798" fmla="*/ 569322 w 778289"/>
                    <a:gd name="connsiteY798" fmla="*/ 675961 h 1042277"/>
                    <a:gd name="connsiteX799" fmla="*/ 562218 w 778289"/>
                    <a:gd name="connsiteY799" fmla="*/ 683210 h 1042277"/>
                    <a:gd name="connsiteX800" fmla="*/ 551544 w 778289"/>
                    <a:gd name="connsiteY800" fmla="*/ 697818 h 1042277"/>
                    <a:gd name="connsiteX801" fmla="*/ 547974 w 778289"/>
                    <a:gd name="connsiteY801" fmla="*/ 705141 h 1042277"/>
                    <a:gd name="connsiteX802" fmla="*/ 544198 w 778289"/>
                    <a:gd name="connsiteY802" fmla="*/ 709597 h 1042277"/>
                    <a:gd name="connsiteX803" fmla="*/ 543069 w 778289"/>
                    <a:gd name="connsiteY803" fmla="*/ 713677 h 1042277"/>
                    <a:gd name="connsiteX804" fmla="*/ 539474 w 778289"/>
                    <a:gd name="connsiteY804" fmla="*/ 718571 h 1042277"/>
                    <a:gd name="connsiteX805" fmla="*/ 531836 w 778289"/>
                    <a:gd name="connsiteY805" fmla="*/ 725541 h 1042277"/>
                    <a:gd name="connsiteX806" fmla="*/ 521831 w 778289"/>
                    <a:gd name="connsiteY806" fmla="*/ 739554 h 1042277"/>
                    <a:gd name="connsiteX807" fmla="*/ 521746 w 778289"/>
                    <a:gd name="connsiteY807" fmla="*/ 740392 h 1042277"/>
                    <a:gd name="connsiteX808" fmla="*/ 521818 w 778289"/>
                    <a:gd name="connsiteY808" fmla="*/ 741788 h 1042277"/>
                    <a:gd name="connsiteX809" fmla="*/ 521211 w 778289"/>
                    <a:gd name="connsiteY809" fmla="*/ 744714 h 1042277"/>
                    <a:gd name="connsiteX810" fmla="*/ 519912 w 778289"/>
                    <a:gd name="connsiteY810" fmla="*/ 746949 h 1042277"/>
                    <a:gd name="connsiteX811" fmla="*/ 517314 w 778289"/>
                    <a:gd name="connsiteY811" fmla="*/ 749232 h 1042277"/>
                    <a:gd name="connsiteX812" fmla="*/ 516548 w 778289"/>
                    <a:gd name="connsiteY812" fmla="*/ 750009 h 1042277"/>
                    <a:gd name="connsiteX813" fmla="*/ 515201 w 778289"/>
                    <a:gd name="connsiteY813" fmla="*/ 752267 h 1042277"/>
                    <a:gd name="connsiteX814" fmla="*/ 513658 w 778289"/>
                    <a:gd name="connsiteY814" fmla="*/ 755558 h 1042277"/>
                    <a:gd name="connsiteX815" fmla="*/ 512553 w 778289"/>
                    <a:gd name="connsiteY815" fmla="*/ 759298 h 1042277"/>
                    <a:gd name="connsiteX816" fmla="*/ 511509 w 778289"/>
                    <a:gd name="connsiteY816" fmla="*/ 767907 h 1042277"/>
                    <a:gd name="connsiteX817" fmla="*/ 509105 w 778289"/>
                    <a:gd name="connsiteY817" fmla="*/ 775849 h 1042277"/>
                    <a:gd name="connsiteX818" fmla="*/ 509627 w 778289"/>
                    <a:gd name="connsiteY818" fmla="*/ 778678 h 1042277"/>
                    <a:gd name="connsiteX819" fmla="*/ 512723 w 778289"/>
                    <a:gd name="connsiteY819" fmla="*/ 784555 h 1042277"/>
                    <a:gd name="connsiteX820" fmla="*/ 517277 w 778289"/>
                    <a:gd name="connsiteY820" fmla="*/ 789935 h 1042277"/>
                    <a:gd name="connsiteX821" fmla="*/ 531994 w 778289"/>
                    <a:gd name="connsiteY821" fmla="*/ 802891 h 1042277"/>
                    <a:gd name="connsiteX822" fmla="*/ 537726 w 778289"/>
                    <a:gd name="connsiteY822" fmla="*/ 805150 h 1042277"/>
                    <a:gd name="connsiteX823" fmla="*/ 544805 w 778289"/>
                    <a:gd name="connsiteY823" fmla="*/ 806619 h 1042277"/>
                    <a:gd name="connsiteX824" fmla="*/ 569771 w 778289"/>
                    <a:gd name="connsiteY824" fmla="*/ 807056 h 1042277"/>
                    <a:gd name="connsiteX825" fmla="*/ 572782 w 778289"/>
                    <a:gd name="connsiteY825" fmla="*/ 805708 h 1042277"/>
                    <a:gd name="connsiteX826" fmla="*/ 576486 w 778289"/>
                    <a:gd name="connsiteY826" fmla="*/ 803025 h 1042277"/>
                    <a:gd name="connsiteX827" fmla="*/ 582375 w 778289"/>
                    <a:gd name="connsiteY827" fmla="*/ 800256 h 1042277"/>
                    <a:gd name="connsiteX828" fmla="*/ 588641 w 778289"/>
                    <a:gd name="connsiteY828" fmla="*/ 802490 h 1042277"/>
                    <a:gd name="connsiteX829" fmla="*/ 590657 w 778289"/>
                    <a:gd name="connsiteY829" fmla="*/ 806534 h 1042277"/>
                    <a:gd name="connsiteX830" fmla="*/ 589600 w 778289"/>
                    <a:gd name="connsiteY830" fmla="*/ 809230 h 1042277"/>
                    <a:gd name="connsiteX831" fmla="*/ 588192 w 778289"/>
                    <a:gd name="connsiteY831" fmla="*/ 811428 h 1042277"/>
                    <a:gd name="connsiteX832" fmla="*/ 588143 w 778289"/>
                    <a:gd name="connsiteY832" fmla="*/ 811841 h 1042277"/>
                    <a:gd name="connsiteX833" fmla="*/ 588325 w 778289"/>
                    <a:gd name="connsiteY833" fmla="*/ 812836 h 1042277"/>
                    <a:gd name="connsiteX834" fmla="*/ 588847 w 778289"/>
                    <a:gd name="connsiteY834" fmla="*/ 813577 h 1042277"/>
                    <a:gd name="connsiteX835" fmla="*/ 589855 w 778289"/>
                    <a:gd name="connsiteY835" fmla="*/ 814646 h 1042277"/>
                    <a:gd name="connsiteX836" fmla="*/ 590462 w 778289"/>
                    <a:gd name="connsiteY836" fmla="*/ 816236 h 1042277"/>
                    <a:gd name="connsiteX837" fmla="*/ 591361 w 778289"/>
                    <a:gd name="connsiteY837" fmla="*/ 817426 h 1042277"/>
                    <a:gd name="connsiteX838" fmla="*/ 593595 w 778289"/>
                    <a:gd name="connsiteY838" fmla="*/ 819381 h 1042277"/>
                    <a:gd name="connsiteX839" fmla="*/ 606491 w 778289"/>
                    <a:gd name="connsiteY839" fmla="*/ 828877 h 1042277"/>
                    <a:gd name="connsiteX840" fmla="*/ 612393 w 778289"/>
                    <a:gd name="connsiteY840" fmla="*/ 835349 h 1042277"/>
                    <a:gd name="connsiteX841" fmla="*/ 605204 w 778289"/>
                    <a:gd name="connsiteY841" fmla="*/ 839454 h 1042277"/>
                    <a:gd name="connsiteX842" fmla="*/ 600735 w 778289"/>
                    <a:gd name="connsiteY842" fmla="*/ 837329 h 1042277"/>
                    <a:gd name="connsiteX843" fmla="*/ 588216 w 778289"/>
                    <a:gd name="connsiteY843" fmla="*/ 826606 h 1042277"/>
                    <a:gd name="connsiteX844" fmla="*/ 575952 w 778289"/>
                    <a:gd name="connsiteY844" fmla="*/ 820013 h 1042277"/>
                    <a:gd name="connsiteX845" fmla="*/ 565072 w 778289"/>
                    <a:gd name="connsiteY845" fmla="*/ 818823 h 1042277"/>
                    <a:gd name="connsiteX846" fmla="*/ 562388 w 778289"/>
                    <a:gd name="connsiteY846" fmla="*/ 817171 h 1042277"/>
                    <a:gd name="connsiteX847" fmla="*/ 560348 w 778289"/>
                    <a:gd name="connsiteY847" fmla="*/ 817293 h 1042277"/>
                    <a:gd name="connsiteX848" fmla="*/ 556110 w 778289"/>
                    <a:gd name="connsiteY848" fmla="*/ 816151 h 1042277"/>
                    <a:gd name="connsiteX849" fmla="*/ 554070 w 778289"/>
                    <a:gd name="connsiteY849" fmla="*/ 815921 h 1042277"/>
                    <a:gd name="connsiteX850" fmla="*/ 547428 w 778289"/>
                    <a:gd name="connsiteY850" fmla="*/ 819248 h 1042277"/>
                    <a:gd name="connsiteX851" fmla="*/ 540895 w 778289"/>
                    <a:gd name="connsiteY851" fmla="*/ 819054 h 1042277"/>
                    <a:gd name="connsiteX852" fmla="*/ 539778 w 778289"/>
                    <a:gd name="connsiteY852" fmla="*/ 819576 h 1042277"/>
                    <a:gd name="connsiteX853" fmla="*/ 538734 w 778289"/>
                    <a:gd name="connsiteY853" fmla="*/ 819904 h 1042277"/>
                    <a:gd name="connsiteX854" fmla="*/ 532723 w 778289"/>
                    <a:gd name="connsiteY854" fmla="*/ 817450 h 1042277"/>
                    <a:gd name="connsiteX855" fmla="*/ 526542 w 778289"/>
                    <a:gd name="connsiteY855" fmla="*/ 815811 h 1042277"/>
                    <a:gd name="connsiteX856" fmla="*/ 520070 w 778289"/>
                    <a:gd name="connsiteY856" fmla="*/ 815046 h 1042277"/>
                    <a:gd name="connsiteX857" fmla="*/ 515383 w 778289"/>
                    <a:gd name="connsiteY857" fmla="*/ 815617 h 1042277"/>
                    <a:gd name="connsiteX858" fmla="*/ 514411 w 778289"/>
                    <a:gd name="connsiteY858" fmla="*/ 816151 h 1042277"/>
                    <a:gd name="connsiteX859" fmla="*/ 510562 w 778289"/>
                    <a:gd name="connsiteY859" fmla="*/ 819503 h 1042277"/>
                    <a:gd name="connsiteX860" fmla="*/ 507854 w 778289"/>
                    <a:gd name="connsiteY860" fmla="*/ 820061 h 1042277"/>
                    <a:gd name="connsiteX861" fmla="*/ 505656 w 778289"/>
                    <a:gd name="connsiteY861" fmla="*/ 820013 h 1042277"/>
                    <a:gd name="connsiteX862" fmla="*/ 503932 w 778289"/>
                    <a:gd name="connsiteY862" fmla="*/ 819661 h 1042277"/>
                    <a:gd name="connsiteX863" fmla="*/ 502888 w 778289"/>
                    <a:gd name="connsiteY863" fmla="*/ 819709 h 1042277"/>
                    <a:gd name="connsiteX864" fmla="*/ 496865 w 778289"/>
                    <a:gd name="connsiteY864" fmla="*/ 820596 h 1042277"/>
                    <a:gd name="connsiteX865" fmla="*/ 494072 w 778289"/>
                    <a:gd name="connsiteY865" fmla="*/ 821433 h 1042277"/>
                    <a:gd name="connsiteX866" fmla="*/ 489263 w 778289"/>
                    <a:gd name="connsiteY866" fmla="*/ 824129 h 1042277"/>
                    <a:gd name="connsiteX867" fmla="*/ 481407 w 778289"/>
                    <a:gd name="connsiteY867" fmla="*/ 826121 h 1042277"/>
                    <a:gd name="connsiteX868" fmla="*/ 479379 w 778289"/>
                    <a:gd name="connsiteY868" fmla="*/ 827566 h 1042277"/>
                    <a:gd name="connsiteX869" fmla="*/ 478128 w 778289"/>
                    <a:gd name="connsiteY869" fmla="*/ 828889 h 1042277"/>
                    <a:gd name="connsiteX870" fmla="*/ 475615 w 778289"/>
                    <a:gd name="connsiteY870" fmla="*/ 830686 h 1042277"/>
                    <a:gd name="connsiteX871" fmla="*/ 472676 w 778289"/>
                    <a:gd name="connsiteY871" fmla="*/ 832010 h 1042277"/>
                    <a:gd name="connsiteX872" fmla="*/ 461954 w 778289"/>
                    <a:gd name="connsiteY872" fmla="*/ 832860 h 1042277"/>
                    <a:gd name="connsiteX873" fmla="*/ 461456 w 778289"/>
                    <a:gd name="connsiteY873" fmla="*/ 833163 h 1042277"/>
                    <a:gd name="connsiteX874" fmla="*/ 460618 w 778289"/>
                    <a:gd name="connsiteY874" fmla="*/ 835252 h 1042277"/>
                    <a:gd name="connsiteX875" fmla="*/ 458797 w 778289"/>
                    <a:gd name="connsiteY875" fmla="*/ 838361 h 1042277"/>
                    <a:gd name="connsiteX876" fmla="*/ 455324 w 778289"/>
                    <a:gd name="connsiteY876" fmla="*/ 840049 h 1042277"/>
                    <a:gd name="connsiteX877" fmla="*/ 451802 w 778289"/>
                    <a:gd name="connsiteY877" fmla="*/ 841032 h 1042277"/>
                    <a:gd name="connsiteX878" fmla="*/ 426399 w 778289"/>
                    <a:gd name="connsiteY878" fmla="*/ 844056 h 1042277"/>
                    <a:gd name="connsiteX879" fmla="*/ 420024 w 778289"/>
                    <a:gd name="connsiteY879" fmla="*/ 845550 h 1042277"/>
                    <a:gd name="connsiteX880" fmla="*/ 413516 w 778289"/>
                    <a:gd name="connsiteY880" fmla="*/ 848549 h 1042277"/>
                    <a:gd name="connsiteX881" fmla="*/ 407359 w 778289"/>
                    <a:gd name="connsiteY881" fmla="*/ 852556 h 1042277"/>
                    <a:gd name="connsiteX882" fmla="*/ 381859 w 778289"/>
                    <a:gd name="connsiteY882" fmla="*/ 873514 h 1042277"/>
                    <a:gd name="connsiteX883" fmla="*/ 378095 w 778289"/>
                    <a:gd name="connsiteY883" fmla="*/ 878141 h 1042277"/>
                    <a:gd name="connsiteX884" fmla="*/ 371902 w 778289"/>
                    <a:gd name="connsiteY884" fmla="*/ 889349 h 1042277"/>
                    <a:gd name="connsiteX885" fmla="*/ 371246 w 778289"/>
                    <a:gd name="connsiteY885" fmla="*/ 891802 h 1042277"/>
                    <a:gd name="connsiteX886" fmla="*/ 370687 w 778289"/>
                    <a:gd name="connsiteY886" fmla="*/ 903690 h 1042277"/>
                    <a:gd name="connsiteX887" fmla="*/ 370311 w 778289"/>
                    <a:gd name="connsiteY887" fmla="*/ 905815 h 1042277"/>
                    <a:gd name="connsiteX888" fmla="*/ 375569 w 778289"/>
                    <a:gd name="connsiteY888" fmla="*/ 895760 h 1042277"/>
                    <a:gd name="connsiteX889" fmla="*/ 378556 w 778289"/>
                    <a:gd name="connsiteY889" fmla="*/ 909810 h 1042277"/>
                    <a:gd name="connsiteX890" fmla="*/ 375217 w 778289"/>
                    <a:gd name="connsiteY890" fmla="*/ 913744 h 1042277"/>
                    <a:gd name="connsiteX891" fmla="*/ 371222 w 778289"/>
                    <a:gd name="connsiteY891" fmla="*/ 915614 h 1042277"/>
                    <a:gd name="connsiteX892" fmla="*/ 368939 w 778289"/>
                    <a:gd name="connsiteY892" fmla="*/ 917156 h 1042277"/>
                    <a:gd name="connsiteX893" fmla="*/ 368477 w 778289"/>
                    <a:gd name="connsiteY893" fmla="*/ 917921 h 1042277"/>
                    <a:gd name="connsiteX894" fmla="*/ 366899 w 778289"/>
                    <a:gd name="connsiteY894" fmla="*/ 922560 h 1042277"/>
                    <a:gd name="connsiteX895" fmla="*/ 363790 w 778289"/>
                    <a:gd name="connsiteY895" fmla="*/ 926713 h 1042277"/>
                    <a:gd name="connsiteX896" fmla="*/ 366510 w 778289"/>
                    <a:gd name="connsiteY896" fmla="*/ 932347 h 1042277"/>
                    <a:gd name="connsiteX897" fmla="*/ 362005 w 778289"/>
                    <a:gd name="connsiteY897" fmla="*/ 932347 h 1042277"/>
                    <a:gd name="connsiteX898" fmla="*/ 362904 w 778289"/>
                    <a:gd name="connsiteY898" fmla="*/ 933731 h 1042277"/>
                    <a:gd name="connsiteX899" fmla="*/ 364592 w 778289"/>
                    <a:gd name="connsiteY899" fmla="*/ 940957 h 1042277"/>
                    <a:gd name="connsiteX900" fmla="*/ 361981 w 778289"/>
                    <a:gd name="connsiteY900" fmla="*/ 961818 h 1042277"/>
                    <a:gd name="connsiteX901" fmla="*/ 360815 w 778289"/>
                    <a:gd name="connsiteY901" fmla="*/ 964659 h 1042277"/>
                    <a:gd name="connsiteX902" fmla="*/ 358872 w 778289"/>
                    <a:gd name="connsiteY902" fmla="*/ 967367 h 1042277"/>
                    <a:gd name="connsiteX903" fmla="*/ 353347 w 778289"/>
                    <a:gd name="connsiteY903" fmla="*/ 972601 h 1042277"/>
                    <a:gd name="connsiteX904" fmla="*/ 352643 w 778289"/>
                    <a:gd name="connsiteY904" fmla="*/ 973451 h 1042277"/>
                    <a:gd name="connsiteX905" fmla="*/ 349595 w 778289"/>
                    <a:gd name="connsiteY905" fmla="*/ 983930 h 1042277"/>
                    <a:gd name="connsiteX906" fmla="*/ 347919 w 778289"/>
                    <a:gd name="connsiteY906" fmla="*/ 986614 h 1042277"/>
                    <a:gd name="connsiteX907" fmla="*/ 347191 w 778289"/>
                    <a:gd name="connsiteY907" fmla="*/ 987658 h 1042277"/>
                    <a:gd name="connsiteX908" fmla="*/ 342698 w 778289"/>
                    <a:gd name="connsiteY908" fmla="*/ 988411 h 1042277"/>
                    <a:gd name="connsiteX909" fmla="*/ 336068 w 778289"/>
                    <a:gd name="connsiteY909" fmla="*/ 991228 h 1042277"/>
                    <a:gd name="connsiteX910" fmla="*/ 300149 w 778289"/>
                    <a:gd name="connsiteY910" fmla="*/ 1012976 h 1042277"/>
                    <a:gd name="connsiteX911" fmla="*/ 298449 w 778289"/>
                    <a:gd name="connsiteY911" fmla="*/ 1014980 h 1042277"/>
                    <a:gd name="connsiteX912" fmla="*/ 293507 w 778289"/>
                    <a:gd name="connsiteY912" fmla="*/ 1021671 h 1042277"/>
                    <a:gd name="connsiteX913" fmla="*/ 289864 w 778289"/>
                    <a:gd name="connsiteY913" fmla="*/ 1023480 h 1042277"/>
                    <a:gd name="connsiteX914" fmla="*/ 268638 w 778289"/>
                    <a:gd name="connsiteY914" fmla="*/ 1027159 h 1042277"/>
                    <a:gd name="connsiteX915" fmla="*/ 259992 w 778289"/>
                    <a:gd name="connsiteY915" fmla="*/ 1030158 h 1042277"/>
                    <a:gd name="connsiteX916" fmla="*/ 255876 w 778289"/>
                    <a:gd name="connsiteY916" fmla="*/ 1033267 h 1042277"/>
                    <a:gd name="connsiteX917" fmla="*/ 256823 w 778289"/>
                    <a:gd name="connsiteY917" fmla="*/ 1040625 h 1042277"/>
                    <a:gd name="connsiteX918" fmla="*/ 243102 w 778289"/>
                    <a:gd name="connsiteY918" fmla="*/ 1042277 h 104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Lst>
                  <a:rect l="l" t="t" r="r" b="b"/>
                  <a:pathLst>
                    <a:path w="778289" h="1042277">
                      <a:moveTo>
                        <a:pt x="231165" y="1040018"/>
                      </a:moveTo>
                      <a:lnTo>
                        <a:pt x="205689" y="1032308"/>
                      </a:lnTo>
                      <a:lnTo>
                        <a:pt x="203406" y="1031360"/>
                      </a:lnTo>
                      <a:lnTo>
                        <a:pt x="200358" y="1027754"/>
                      </a:lnTo>
                      <a:lnTo>
                        <a:pt x="199253" y="1026904"/>
                      </a:lnTo>
                      <a:lnTo>
                        <a:pt x="195088" y="1024330"/>
                      </a:lnTo>
                      <a:lnTo>
                        <a:pt x="191409" y="1023419"/>
                      </a:lnTo>
                      <a:lnTo>
                        <a:pt x="187936" y="1021257"/>
                      </a:lnTo>
                      <a:lnTo>
                        <a:pt x="169503" y="1004476"/>
                      </a:lnTo>
                      <a:lnTo>
                        <a:pt x="163553" y="1000129"/>
                      </a:lnTo>
                      <a:lnTo>
                        <a:pt x="167876" y="995527"/>
                      </a:lnTo>
                      <a:lnTo>
                        <a:pt x="168945" y="995138"/>
                      </a:lnTo>
                      <a:lnTo>
                        <a:pt x="170159" y="994883"/>
                      </a:lnTo>
                      <a:lnTo>
                        <a:pt x="171592" y="994810"/>
                      </a:lnTo>
                      <a:lnTo>
                        <a:pt x="174445" y="995138"/>
                      </a:lnTo>
                      <a:lnTo>
                        <a:pt x="175441" y="994798"/>
                      </a:lnTo>
                      <a:lnTo>
                        <a:pt x="175951" y="994191"/>
                      </a:lnTo>
                      <a:lnTo>
                        <a:pt x="175818" y="993973"/>
                      </a:lnTo>
                      <a:lnTo>
                        <a:pt x="175745" y="992855"/>
                      </a:lnTo>
                      <a:lnTo>
                        <a:pt x="175453" y="991082"/>
                      </a:lnTo>
                      <a:lnTo>
                        <a:pt x="175526" y="989771"/>
                      </a:lnTo>
                      <a:lnTo>
                        <a:pt x="176631" y="986674"/>
                      </a:lnTo>
                      <a:lnTo>
                        <a:pt x="178890" y="982546"/>
                      </a:lnTo>
                      <a:lnTo>
                        <a:pt x="183249" y="977276"/>
                      </a:lnTo>
                      <a:lnTo>
                        <a:pt x="184561" y="975005"/>
                      </a:lnTo>
                      <a:lnTo>
                        <a:pt x="184743" y="974325"/>
                      </a:lnTo>
                      <a:lnTo>
                        <a:pt x="184585" y="973342"/>
                      </a:lnTo>
                      <a:lnTo>
                        <a:pt x="183103" y="968254"/>
                      </a:lnTo>
                      <a:lnTo>
                        <a:pt x="182788" y="966080"/>
                      </a:lnTo>
                      <a:lnTo>
                        <a:pt x="182824" y="963530"/>
                      </a:lnTo>
                      <a:lnTo>
                        <a:pt x="183249" y="961587"/>
                      </a:lnTo>
                      <a:lnTo>
                        <a:pt x="185241" y="959620"/>
                      </a:lnTo>
                      <a:lnTo>
                        <a:pt x="187365" y="959924"/>
                      </a:lnTo>
                      <a:lnTo>
                        <a:pt x="187754" y="960057"/>
                      </a:lnTo>
                      <a:lnTo>
                        <a:pt x="188483" y="960434"/>
                      </a:lnTo>
                      <a:lnTo>
                        <a:pt x="190207" y="961976"/>
                      </a:lnTo>
                      <a:lnTo>
                        <a:pt x="190328" y="961952"/>
                      </a:lnTo>
                      <a:lnTo>
                        <a:pt x="191555" y="961005"/>
                      </a:lnTo>
                      <a:lnTo>
                        <a:pt x="194518" y="957799"/>
                      </a:lnTo>
                      <a:lnTo>
                        <a:pt x="196011" y="955467"/>
                      </a:lnTo>
                      <a:lnTo>
                        <a:pt x="196861" y="953063"/>
                      </a:lnTo>
                      <a:lnTo>
                        <a:pt x="196594" y="952334"/>
                      </a:lnTo>
                      <a:lnTo>
                        <a:pt x="196084" y="951351"/>
                      </a:lnTo>
                      <a:lnTo>
                        <a:pt x="195307" y="950331"/>
                      </a:lnTo>
                      <a:lnTo>
                        <a:pt x="192211" y="946955"/>
                      </a:lnTo>
                      <a:lnTo>
                        <a:pt x="183759" y="940361"/>
                      </a:lnTo>
                      <a:lnTo>
                        <a:pt x="181865" y="938261"/>
                      </a:lnTo>
                      <a:lnTo>
                        <a:pt x="180602" y="936075"/>
                      </a:lnTo>
                      <a:lnTo>
                        <a:pt x="179740" y="933901"/>
                      </a:lnTo>
                      <a:lnTo>
                        <a:pt x="179254" y="931534"/>
                      </a:lnTo>
                      <a:lnTo>
                        <a:pt x="179072" y="927963"/>
                      </a:lnTo>
                      <a:lnTo>
                        <a:pt x="178841" y="926834"/>
                      </a:lnTo>
                      <a:lnTo>
                        <a:pt x="178392" y="925681"/>
                      </a:lnTo>
                      <a:lnTo>
                        <a:pt x="177918" y="922645"/>
                      </a:lnTo>
                      <a:lnTo>
                        <a:pt x="178356" y="919937"/>
                      </a:lnTo>
                      <a:lnTo>
                        <a:pt x="178513" y="919330"/>
                      </a:lnTo>
                      <a:lnTo>
                        <a:pt x="181015" y="916015"/>
                      </a:lnTo>
                      <a:lnTo>
                        <a:pt x="188993" y="903775"/>
                      </a:lnTo>
                      <a:lnTo>
                        <a:pt x="191834" y="894024"/>
                      </a:lnTo>
                      <a:lnTo>
                        <a:pt x="191858" y="893575"/>
                      </a:lnTo>
                      <a:lnTo>
                        <a:pt x="190923" y="892312"/>
                      </a:lnTo>
                      <a:lnTo>
                        <a:pt x="189709" y="891328"/>
                      </a:lnTo>
                      <a:lnTo>
                        <a:pt x="186746" y="889774"/>
                      </a:lnTo>
                      <a:lnTo>
                        <a:pt x="182861" y="886483"/>
                      </a:lnTo>
                      <a:lnTo>
                        <a:pt x="180456" y="880715"/>
                      </a:lnTo>
                      <a:lnTo>
                        <a:pt x="176048" y="868694"/>
                      </a:lnTo>
                      <a:lnTo>
                        <a:pt x="175125" y="863849"/>
                      </a:lnTo>
                      <a:lnTo>
                        <a:pt x="175988" y="862489"/>
                      </a:lnTo>
                      <a:lnTo>
                        <a:pt x="176656" y="861639"/>
                      </a:lnTo>
                      <a:lnTo>
                        <a:pt x="177918" y="860521"/>
                      </a:lnTo>
                      <a:lnTo>
                        <a:pt x="185022" y="855506"/>
                      </a:lnTo>
                      <a:lnTo>
                        <a:pt x="187997" y="850819"/>
                      </a:lnTo>
                      <a:lnTo>
                        <a:pt x="192368" y="840389"/>
                      </a:lnTo>
                      <a:lnTo>
                        <a:pt x="203054" y="806850"/>
                      </a:lnTo>
                      <a:lnTo>
                        <a:pt x="208349" y="798010"/>
                      </a:lnTo>
                      <a:lnTo>
                        <a:pt x="212659" y="784980"/>
                      </a:lnTo>
                      <a:lnTo>
                        <a:pt x="214031" y="782163"/>
                      </a:lnTo>
                      <a:lnTo>
                        <a:pt x="215464" y="780160"/>
                      </a:lnTo>
                      <a:lnTo>
                        <a:pt x="220103" y="776067"/>
                      </a:lnTo>
                      <a:lnTo>
                        <a:pt x="220176" y="773238"/>
                      </a:lnTo>
                      <a:lnTo>
                        <a:pt x="219338" y="771307"/>
                      </a:lnTo>
                      <a:lnTo>
                        <a:pt x="214007" y="765127"/>
                      </a:lnTo>
                      <a:lnTo>
                        <a:pt x="212295" y="762103"/>
                      </a:lnTo>
                      <a:lnTo>
                        <a:pt x="210704" y="758242"/>
                      </a:lnTo>
                      <a:lnTo>
                        <a:pt x="210389" y="757914"/>
                      </a:lnTo>
                      <a:lnTo>
                        <a:pt x="209660" y="757817"/>
                      </a:lnTo>
                      <a:lnTo>
                        <a:pt x="206782" y="757914"/>
                      </a:lnTo>
                      <a:lnTo>
                        <a:pt x="205993" y="758157"/>
                      </a:lnTo>
                      <a:lnTo>
                        <a:pt x="197481" y="762249"/>
                      </a:lnTo>
                      <a:lnTo>
                        <a:pt x="195234" y="762297"/>
                      </a:lnTo>
                      <a:lnTo>
                        <a:pt x="191883" y="761982"/>
                      </a:lnTo>
                      <a:lnTo>
                        <a:pt x="190122" y="760440"/>
                      </a:lnTo>
                      <a:lnTo>
                        <a:pt x="188264" y="758545"/>
                      </a:lnTo>
                      <a:lnTo>
                        <a:pt x="187123" y="757877"/>
                      </a:lnTo>
                      <a:lnTo>
                        <a:pt x="186212" y="757574"/>
                      </a:lnTo>
                      <a:lnTo>
                        <a:pt x="184901" y="757258"/>
                      </a:lnTo>
                      <a:lnTo>
                        <a:pt x="182739" y="756432"/>
                      </a:lnTo>
                      <a:lnTo>
                        <a:pt x="181343" y="755497"/>
                      </a:lnTo>
                      <a:lnTo>
                        <a:pt x="180323" y="754295"/>
                      </a:lnTo>
                      <a:lnTo>
                        <a:pt x="179983" y="753664"/>
                      </a:lnTo>
                      <a:lnTo>
                        <a:pt x="179376" y="751915"/>
                      </a:lnTo>
                      <a:lnTo>
                        <a:pt x="179327" y="750567"/>
                      </a:lnTo>
                      <a:lnTo>
                        <a:pt x="179570" y="748333"/>
                      </a:lnTo>
                      <a:lnTo>
                        <a:pt x="188641" y="719105"/>
                      </a:lnTo>
                      <a:lnTo>
                        <a:pt x="188932" y="716895"/>
                      </a:lnTo>
                      <a:lnTo>
                        <a:pt x="188956" y="713896"/>
                      </a:lnTo>
                      <a:lnTo>
                        <a:pt x="187876" y="710641"/>
                      </a:lnTo>
                      <a:lnTo>
                        <a:pt x="186746" y="702554"/>
                      </a:lnTo>
                      <a:lnTo>
                        <a:pt x="186904" y="699482"/>
                      </a:lnTo>
                      <a:lnTo>
                        <a:pt x="187402" y="696920"/>
                      </a:lnTo>
                      <a:lnTo>
                        <a:pt x="192854" y="686064"/>
                      </a:lnTo>
                      <a:lnTo>
                        <a:pt x="193218" y="683830"/>
                      </a:lnTo>
                      <a:lnTo>
                        <a:pt x="193146" y="682591"/>
                      </a:lnTo>
                      <a:lnTo>
                        <a:pt x="189442" y="671590"/>
                      </a:lnTo>
                      <a:lnTo>
                        <a:pt x="186430" y="665142"/>
                      </a:lnTo>
                      <a:lnTo>
                        <a:pt x="186430" y="663017"/>
                      </a:lnTo>
                      <a:lnTo>
                        <a:pt x="187208" y="660139"/>
                      </a:lnTo>
                      <a:lnTo>
                        <a:pt x="196206" y="641232"/>
                      </a:lnTo>
                      <a:lnTo>
                        <a:pt x="196801" y="638403"/>
                      </a:lnTo>
                      <a:lnTo>
                        <a:pt x="196740" y="637432"/>
                      </a:lnTo>
                      <a:lnTo>
                        <a:pt x="194591" y="635877"/>
                      </a:lnTo>
                      <a:lnTo>
                        <a:pt x="192660" y="633461"/>
                      </a:lnTo>
                      <a:lnTo>
                        <a:pt x="191215" y="630291"/>
                      </a:lnTo>
                      <a:lnTo>
                        <a:pt x="190693" y="625422"/>
                      </a:lnTo>
                      <a:lnTo>
                        <a:pt x="189758" y="622386"/>
                      </a:lnTo>
                      <a:lnTo>
                        <a:pt x="188944" y="621524"/>
                      </a:lnTo>
                      <a:lnTo>
                        <a:pt x="184427" y="613716"/>
                      </a:lnTo>
                      <a:lnTo>
                        <a:pt x="182630" y="612223"/>
                      </a:lnTo>
                      <a:lnTo>
                        <a:pt x="179740" y="613049"/>
                      </a:lnTo>
                      <a:lnTo>
                        <a:pt x="173583" y="616509"/>
                      </a:lnTo>
                      <a:lnTo>
                        <a:pt x="164828" y="619654"/>
                      </a:lnTo>
                      <a:lnTo>
                        <a:pt x="162800" y="620687"/>
                      </a:lnTo>
                      <a:lnTo>
                        <a:pt x="161185" y="621803"/>
                      </a:lnTo>
                      <a:lnTo>
                        <a:pt x="153329" y="629332"/>
                      </a:lnTo>
                      <a:lnTo>
                        <a:pt x="146602" y="634080"/>
                      </a:lnTo>
                      <a:lnTo>
                        <a:pt x="142898" y="635683"/>
                      </a:lnTo>
                      <a:lnTo>
                        <a:pt x="138685" y="636205"/>
                      </a:lnTo>
                      <a:lnTo>
                        <a:pt x="135054" y="634201"/>
                      </a:lnTo>
                      <a:lnTo>
                        <a:pt x="133147" y="633740"/>
                      </a:lnTo>
                      <a:lnTo>
                        <a:pt x="131241" y="632793"/>
                      </a:lnTo>
                      <a:lnTo>
                        <a:pt x="128994" y="630826"/>
                      </a:lnTo>
                      <a:lnTo>
                        <a:pt x="124999" y="626248"/>
                      </a:lnTo>
                      <a:lnTo>
                        <a:pt x="122935" y="624305"/>
                      </a:lnTo>
                      <a:lnTo>
                        <a:pt x="120992" y="622811"/>
                      </a:lnTo>
                      <a:lnTo>
                        <a:pt x="117434" y="620565"/>
                      </a:lnTo>
                      <a:lnTo>
                        <a:pt x="115054" y="618234"/>
                      </a:lnTo>
                      <a:lnTo>
                        <a:pt x="114132" y="615623"/>
                      </a:lnTo>
                      <a:lnTo>
                        <a:pt x="113901" y="612259"/>
                      </a:lnTo>
                      <a:lnTo>
                        <a:pt x="114447" y="606807"/>
                      </a:lnTo>
                      <a:lnTo>
                        <a:pt x="114022" y="605386"/>
                      </a:lnTo>
                      <a:lnTo>
                        <a:pt x="113148" y="603941"/>
                      </a:lnTo>
                      <a:lnTo>
                        <a:pt x="110658" y="600408"/>
                      </a:lnTo>
                      <a:lnTo>
                        <a:pt x="109517" y="598003"/>
                      </a:lnTo>
                      <a:lnTo>
                        <a:pt x="108849" y="595635"/>
                      </a:lnTo>
                      <a:lnTo>
                        <a:pt x="108473" y="593013"/>
                      </a:lnTo>
                      <a:lnTo>
                        <a:pt x="109044" y="586298"/>
                      </a:lnTo>
                      <a:lnTo>
                        <a:pt x="111108" y="581185"/>
                      </a:lnTo>
                      <a:lnTo>
                        <a:pt x="111849" y="570706"/>
                      </a:lnTo>
                      <a:lnTo>
                        <a:pt x="110804" y="555637"/>
                      </a:lnTo>
                      <a:lnTo>
                        <a:pt x="111241" y="551678"/>
                      </a:lnTo>
                      <a:lnTo>
                        <a:pt x="113913" y="548812"/>
                      </a:lnTo>
                      <a:lnTo>
                        <a:pt x="116852" y="548436"/>
                      </a:lnTo>
                      <a:lnTo>
                        <a:pt x="118758" y="547914"/>
                      </a:lnTo>
                      <a:lnTo>
                        <a:pt x="119826" y="547319"/>
                      </a:lnTo>
                      <a:lnTo>
                        <a:pt x="121211" y="545558"/>
                      </a:lnTo>
                      <a:lnTo>
                        <a:pt x="121587" y="543518"/>
                      </a:lnTo>
                      <a:lnTo>
                        <a:pt x="121599" y="536973"/>
                      </a:lnTo>
                      <a:lnTo>
                        <a:pt x="122170" y="533986"/>
                      </a:lnTo>
                      <a:lnTo>
                        <a:pt x="123409" y="530537"/>
                      </a:lnTo>
                      <a:lnTo>
                        <a:pt x="123664" y="528995"/>
                      </a:lnTo>
                      <a:lnTo>
                        <a:pt x="123664" y="527502"/>
                      </a:lnTo>
                      <a:lnTo>
                        <a:pt x="123372" y="526482"/>
                      </a:lnTo>
                      <a:lnTo>
                        <a:pt x="122850" y="526141"/>
                      </a:lnTo>
                      <a:lnTo>
                        <a:pt x="122109" y="525984"/>
                      </a:lnTo>
                      <a:lnTo>
                        <a:pt x="120142" y="524976"/>
                      </a:lnTo>
                      <a:lnTo>
                        <a:pt x="118054" y="523240"/>
                      </a:lnTo>
                      <a:lnTo>
                        <a:pt x="116244" y="520556"/>
                      </a:lnTo>
                      <a:lnTo>
                        <a:pt x="115297" y="518309"/>
                      </a:lnTo>
                      <a:lnTo>
                        <a:pt x="114277" y="515055"/>
                      </a:lnTo>
                      <a:lnTo>
                        <a:pt x="113536" y="513367"/>
                      </a:lnTo>
                      <a:lnTo>
                        <a:pt x="112747" y="512262"/>
                      </a:lnTo>
                      <a:lnTo>
                        <a:pt x="102802" y="507708"/>
                      </a:lnTo>
                      <a:lnTo>
                        <a:pt x="93901" y="505049"/>
                      </a:lnTo>
                      <a:lnTo>
                        <a:pt x="90477" y="503361"/>
                      </a:lnTo>
                      <a:lnTo>
                        <a:pt x="87356" y="500824"/>
                      </a:lnTo>
                      <a:lnTo>
                        <a:pt x="84260" y="495614"/>
                      </a:lnTo>
                      <a:lnTo>
                        <a:pt x="83155" y="491279"/>
                      </a:lnTo>
                      <a:lnTo>
                        <a:pt x="82912" y="488073"/>
                      </a:lnTo>
                      <a:lnTo>
                        <a:pt x="83337" y="484831"/>
                      </a:lnTo>
                      <a:lnTo>
                        <a:pt x="84150" y="481771"/>
                      </a:lnTo>
                      <a:lnTo>
                        <a:pt x="85073" y="479658"/>
                      </a:lnTo>
                      <a:lnTo>
                        <a:pt x="86312" y="477788"/>
                      </a:lnTo>
                      <a:lnTo>
                        <a:pt x="87721" y="476368"/>
                      </a:lnTo>
                      <a:lnTo>
                        <a:pt x="89979" y="475202"/>
                      </a:lnTo>
                      <a:lnTo>
                        <a:pt x="92663" y="474910"/>
                      </a:lnTo>
                      <a:lnTo>
                        <a:pt x="95286" y="475481"/>
                      </a:lnTo>
                      <a:lnTo>
                        <a:pt x="99402" y="477315"/>
                      </a:lnTo>
                      <a:lnTo>
                        <a:pt x="99985" y="477145"/>
                      </a:lnTo>
                      <a:lnTo>
                        <a:pt x="99341" y="476853"/>
                      </a:lnTo>
                      <a:lnTo>
                        <a:pt x="97301" y="474352"/>
                      </a:lnTo>
                      <a:lnTo>
                        <a:pt x="95395" y="470721"/>
                      </a:lnTo>
                      <a:lnTo>
                        <a:pt x="93149" y="463630"/>
                      </a:lnTo>
                      <a:lnTo>
                        <a:pt x="91922" y="460655"/>
                      </a:lnTo>
                      <a:lnTo>
                        <a:pt x="90659" y="459222"/>
                      </a:lnTo>
                      <a:lnTo>
                        <a:pt x="89736" y="458712"/>
                      </a:lnTo>
                      <a:lnTo>
                        <a:pt x="88158" y="457170"/>
                      </a:lnTo>
                      <a:lnTo>
                        <a:pt x="86045" y="453855"/>
                      </a:lnTo>
                      <a:lnTo>
                        <a:pt x="85802" y="451766"/>
                      </a:lnTo>
                      <a:lnTo>
                        <a:pt x="86263" y="449168"/>
                      </a:lnTo>
                      <a:lnTo>
                        <a:pt x="87781" y="446290"/>
                      </a:lnTo>
                      <a:lnTo>
                        <a:pt x="87988" y="445804"/>
                      </a:lnTo>
                      <a:lnTo>
                        <a:pt x="85899" y="447370"/>
                      </a:lnTo>
                      <a:lnTo>
                        <a:pt x="84308" y="448269"/>
                      </a:lnTo>
                      <a:lnTo>
                        <a:pt x="80738" y="449216"/>
                      </a:lnTo>
                      <a:lnTo>
                        <a:pt x="67539" y="449945"/>
                      </a:lnTo>
                      <a:lnTo>
                        <a:pt x="63629" y="450782"/>
                      </a:lnTo>
                      <a:lnTo>
                        <a:pt x="61237" y="450831"/>
                      </a:lnTo>
                      <a:lnTo>
                        <a:pt x="58699" y="450284"/>
                      </a:lnTo>
                      <a:lnTo>
                        <a:pt x="53660" y="448123"/>
                      </a:lnTo>
                      <a:lnTo>
                        <a:pt x="48305" y="449738"/>
                      </a:lnTo>
                      <a:lnTo>
                        <a:pt x="45657" y="450017"/>
                      </a:lnTo>
                      <a:lnTo>
                        <a:pt x="43107" y="449495"/>
                      </a:lnTo>
                      <a:lnTo>
                        <a:pt x="42354" y="449289"/>
                      </a:lnTo>
                      <a:lnTo>
                        <a:pt x="39574" y="446569"/>
                      </a:lnTo>
                      <a:lnTo>
                        <a:pt x="39343" y="442999"/>
                      </a:lnTo>
                      <a:lnTo>
                        <a:pt x="40302" y="440364"/>
                      </a:lnTo>
                      <a:lnTo>
                        <a:pt x="44528" y="434292"/>
                      </a:lnTo>
                      <a:lnTo>
                        <a:pt x="46568" y="432252"/>
                      </a:lnTo>
                      <a:lnTo>
                        <a:pt x="57400" y="424469"/>
                      </a:lnTo>
                      <a:lnTo>
                        <a:pt x="57898" y="423084"/>
                      </a:lnTo>
                      <a:lnTo>
                        <a:pt x="54619" y="421312"/>
                      </a:lnTo>
                      <a:lnTo>
                        <a:pt x="50199" y="414439"/>
                      </a:lnTo>
                      <a:lnTo>
                        <a:pt x="48985" y="413698"/>
                      </a:lnTo>
                      <a:lnTo>
                        <a:pt x="47248" y="413006"/>
                      </a:lnTo>
                      <a:lnTo>
                        <a:pt x="45548" y="412556"/>
                      </a:lnTo>
                      <a:lnTo>
                        <a:pt x="42816" y="411524"/>
                      </a:lnTo>
                      <a:lnTo>
                        <a:pt x="40472" y="409958"/>
                      </a:lnTo>
                      <a:lnTo>
                        <a:pt x="36319" y="406072"/>
                      </a:lnTo>
                      <a:lnTo>
                        <a:pt x="35130" y="405574"/>
                      </a:lnTo>
                      <a:lnTo>
                        <a:pt x="15324" y="399405"/>
                      </a:lnTo>
                      <a:lnTo>
                        <a:pt x="6496" y="397839"/>
                      </a:lnTo>
                      <a:lnTo>
                        <a:pt x="4044" y="395556"/>
                      </a:lnTo>
                      <a:lnTo>
                        <a:pt x="2477" y="392921"/>
                      </a:lnTo>
                      <a:lnTo>
                        <a:pt x="2210" y="391914"/>
                      </a:lnTo>
                      <a:lnTo>
                        <a:pt x="4979" y="390043"/>
                      </a:lnTo>
                      <a:lnTo>
                        <a:pt x="1749" y="389740"/>
                      </a:lnTo>
                      <a:lnTo>
                        <a:pt x="886" y="388149"/>
                      </a:lnTo>
                      <a:lnTo>
                        <a:pt x="0" y="385745"/>
                      </a:lnTo>
                      <a:lnTo>
                        <a:pt x="170" y="383668"/>
                      </a:lnTo>
                      <a:lnTo>
                        <a:pt x="1360" y="379929"/>
                      </a:lnTo>
                      <a:lnTo>
                        <a:pt x="1311" y="379200"/>
                      </a:lnTo>
                      <a:lnTo>
                        <a:pt x="510" y="377123"/>
                      </a:lnTo>
                      <a:lnTo>
                        <a:pt x="279" y="374828"/>
                      </a:lnTo>
                      <a:lnTo>
                        <a:pt x="850" y="372157"/>
                      </a:lnTo>
                      <a:lnTo>
                        <a:pt x="2441" y="369473"/>
                      </a:lnTo>
                      <a:lnTo>
                        <a:pt x="3485" y="367883"/>
                      </a:lnTo>
                      <a:lnTo>
                        <a:pt x="10115" y="368732"/>
                      </a:lnTo>
                      <a:lnTo>
                        <a:pt x="13151" y="370056"/>
                      </a:lnTo>
                      <a:lnTo>
                        <a:pt x="17012" y="371404"/>
                      </a:lnTo>
                      <a:lnTo>
                        <a:pt x="19162" y="371355"/>
                      </a:lnTo>
                      <a:lnTo>
                        <a:pt x="22185" y="370675"/>
                      </a:lnTo>
                      <a:lnTo>
                        <a:pt x="23970" y="369364"/>
                      </a:lnTo>
                      <a:lnTo>
                        <a:pt x="25002" y="367797"/>
                      </a:lnTo>
                      <a:lnTo>
                        <a:pt x="25779" y="366268"/>
                      </a:lnTo>
                      <a:lnTo>
                        <a:pt x="27710" y="363912"/>
                      </a:lnTo>
                      <a:lnTo>
                        <a:pt x="30527" y="361835"/>
                      </a:lnTo>
                      <a:lnTo>
                        <a:pt x="34717" y="360718"/>
                      </a:lnTo>
                      <a:lnTo>
                        <a:pt x="35117" y="360548"/>
                      </a:lnTo>
                      <a:lnTo>
                        <a:pt x="34425" y="359176"/>
                      </a:lnTo>
                      <a:lnTo>
                        <a:pt x="36162" y="355801"/>
                      </a:lnTo>
                      <a:lnTo>
                        <a:pt x="37024" y="354489"/>
                      </a:lnTo>
                      <a:lnTo>
                        <a:pt x="38311" y="352935"/>
                      </a:lnTo>
                      <a:lnTo>
                        <a:pt x="40145" y="351138"/>
                      </a:lnTo>
                      <a:lnTo>
                        <a:pt x="42610" y="349219"/>
                      </a:lnTo>
                      <a:lnTo>
                        <a:pt x="45560" y="347434"/>
                      </a:lnTo>
                      <a:lnTo>
                        <a:pt x="49822" y="346232"/>
                      </a:lnTo>
                      <a:lnTo>
                        <a:pt x="54340" y="346195"/>
                      </a:lnTo>
                      <a:lnTo>
                        <a:pt x="61322" y="348551"/>
                      </a:lnTo>
                      <a:lnTo>
                        <a:pt x="64030" y="351283"/>
                      </a:lnTo>
                      <a:lnTo>
                        <a:pt x="65948" y="355400"/>
                      </a:lnTo>
                      <a:lnTo>
                        <a:pt x="65475" y="360123"/>
                      </a:lnTo>
                      <a:lnTo>
                        <a:pt x="65548" y="361483"/>
                      </a:lnTo>
                      <a:lnTo>
                        <a:pt x="66470" y="362430"/>
                      </a:lnTo>
                      <a:lnTo>
                        <a:pt x="67527" y="362758"/>
                      </a:lnTo>
                      <a:lnTo>
                        <a:pt x="69664" y="362916"/>
                      </a:lnTo>
                      <a:lnTo>
                        <a:pt x="73404" y="362940"/>
                      </a:lnTo>
                      <a:lnTo>
                        <a:pt x="100386" y="360828"/>
                      </a:lnTo>
                      <a:lnTo>
                        <a:pt x="104004" y="361180"/>
                      </a:lnTo>
                      <a:lnTo>
                        <a:pt x="112686" y="363584"/>
                      </a:lnTo>
                      <a:lnTo>
                        <a:pt x="113366" y="362370"/>
                      </a:lnTo>
                      <a:lnTo>
                        <a:pt x="115164" y="351441"/>
                      </a:lnTo>
                      <a:lnTo>
                        <a:pt x="120069" y="342674"/>
                      </a:lnTo>
                      <a:lnTo>
                        <a:pt x="127622" y="332073"/>
                      </a:lnTo>
                      <a:lnTo>
                        <a:pt x="130306" y="329985"/>
                      </a:lnTo>
                      <a:lnTo>
                        <a:pt x="133500" y="328722"/>
                      </a:lnTo>
                      <a:lnTo>
                        <a:pt x="138490" y="328394"/>
                      </a:lnTo>
                      <a:lnTo>
                        <a:pt x="141040" y="328078"/>
                      </a:lnTo>
                      <a:lnTo>
                        <a:pt x="143785" y="326706"/>
                      </a:lnTo>
                      <a:lnTo>
                        <a:pt x="146881" y="325795"/>
                      </a:lnTo>
                      <a:lnTo>
                        <a:pt x="150536" y="326730"/>
                      </a:lnTo>
                      <a:lnTo>
                        <a:pt x="153924" y="328600"/>
                      </a:lnTo>
                      <a:lnTo>
                        <a:pt x="165059" y="339978"/>
                      </a:lnTo>
                      <a:lnTo>
                        <a:pt x="165569" y="340148"/>
                      </a:lnTo>
                      <a:lnTo>
                        <a:pt x="166273" y="338885"/>
                      </a:lnTo>
                      <a:lnTo>
                        <a:pt x="166674" y="335898"/>
                      </a:lnTo>
                      <a:lnTo>
                        <a:pt x="167973" y="332972"/>
                      </a:lnTo>
                      <a:lnTo>
                        <a:pt x="170620" y="331757"/>
                      </a:lnTo>
                      <a:lnTo>
                        <a:pt x="173814" y="330859"/>
                      </a:lnTo>
                      <a:lnTo>
                        <a:pt x="179400" y="330057"/>
                      </a:lnTo>
                      <a:lnTo>
                        <a:pt x="188968" y="330410"/>
                      </a:lnTo>
                      <a:lnTo>
                        <a:pt x="190632" y="329827"/>
                      </a:lnTo>
                      <a:lnTo>
                        <a:pt x="192453" y="328819"/>
                      </a:lnTo>
                      <a:lnTo>
                        <a:pt x="195513" y="327592"/>
                      </a:lnTo>
                      <a:lnTo>
                        <a:pt x="199229" y="327774"/>
                      </a:lnTo>
                      <a:lnTo>
                        <a:pt x="201488" y="328928"/>
                      </a:lnTo>
                      <a:lnTo>
                        <a:pt x="204220" y="329754"/>
                      </a:lnTo>
                      <a:lnTo>
                        <a:pt x="206224" y="330677"/>
                      </a:lnTo>
                      <a:lnTo>
                        <a:pt x="210231" y="333858"/>
                      </a:lnTo>
                      <a:lnTo>
                        <a:pt x="211821" y="334137"/>
                      </a:lnTo>
                      <a:lnTo>
                        <a:pt x="213716" y="333943"/>
                      </a:lnTo>
                      <a:lnTo>
                        <a:pt x="217626" y="332705"/>
                      </a:lnTo>
                      <a:lnTo>
                        <a:pt x="223843" y="332450"/>
                      </a:lnTo>
                      <a:lnTo>
                        <a:pt x="224001" y="332377"/>
                      </a:lnTo>
                      <a:lnTo>
                        <a:pt x="226502" y="329633"/>
                      </a:lnTo>
                      <a:lnTo>
                        <a:pt x="227716" y="327046"/>
                      </a:lnTo>
                      <a:lnTo>
                        <a:pt x="231177" y="317198"/>
                      </a:lnTo>
                      <a:lnTo>
                        <a:pt x="232695" y="314381"/>
                      </a:lnTo>
                      <a:lnTo>
                        <a:pt x="235901" y="310070"/>
                      </a:lnTo>
                      <a:lnTo>
                        <a:pt x="236945" y="307726"/>
                      </a:lnTo>
                      <a:lnTo>
                        <a:pt x="240807" y="305541"/>
                      </a:lnTo>
                      <a:lnTo>
                        <a:pt x="243199" y="304424"/>
                      </a:lnTo>
                      <a:lnTo>
                        <a:pt x="263963" y="302359"/>
                      </a:lnTo>
                      <a:lnTo>
                        <a:pt x="267181" y="301594"/>
                      </a:lnTo>
                      <a:lnTo>
                        <a:pt x="268310" y="301048"/>
                      </a:lnTo>
                      <a:lnTo>
                        <a:pt x="269585" y="300271"/>
                      </a:lnTo>
                      <a:lnTo>
                        <a:pt x="270739" y="299360"/>
                      </a:lnTo>
                      <a:lnTo>
                        <a:pt x="272682" y="295183"/>
                      </a:lnTo>
                      <a:lnTo>
                        <a:pt x="279543" y="286513"/>
                      </a:lnTo>
                      <a:lnTo>
                        <a:pt x="281073" y="282858"/>
                      </a:lnTo>
                      <a:lnTo>
                        <a:pt x="283635" y="280915"/>
                      </a:lnTo>
                      <a:lnTo>
                        <a:pt x="286367" y="278134"/>
                      </a:lnTo>
                      <a:lnTo>
                        <a:pt x="289840" y="279033"/>
                      </a:lnTo>
                      <a:lnTo>
                        <a:pt x="287727" y="276689"/>
                      </a:lnTo>
                      <a:lnTo>
                        <a:pt x="290702" y="277515"/>
                      </a:lnTo>
                      <a:lnTo>
                        <a:pt x="288237" y="275536"/>
                      </a:lnTo>
                      <a:lnTo>
                        <a:pt x="288492" y="274224"/>
                      </a:lnTo>
                      <a:lnTo>
                        <a:pt x="288067" y="272427"/>
                      </a:lnTo>
                      <a:lnTo>
                        <a:pt x="283343" y="264862"/>
                      </a:lnTo>
                      <a:lnTo>
                        <a:pt x="282299" y="264109"/>
                      </a:lnTo>
                      <a:lnTo>
                        <a:pt x="281400" y="263101"/>
                      </a:lnTo>
                      <a:lnTo>
                        <a:pt x="277029" y="260867"/>
                      </a:lnTo>
                      <a:lnTo>
                        <a:pt x="272087" y="260029"/>
                      </a:lnTo>
                      <a:lnTo>
                        <a:pt x="239689" y="259798"/>
                      </a:lnTo>
                      <a:lnTo>
                        <a:pt x="236204" y="259045"/>
                      </a:lnTo>
                      <a:lnTo>
                        <a:pt x="233970" y="255767"/>
                      </a:lnTo>
                      <a:lnTo>
                        <a:pt x="234432" y="252172"/>
                      </a:lnTo>
                      <a:lnTo>
                        <a:pt x="234298" y="251857"/>
                      </a:lnTo>
                      <a:lnTo>
                        <a:pt x="231505" y="250060"/>
                      </a:lnTo>
                      <a:lnTo>
                        <a:pt x="231505" y="245385"/>
                      </a:lnTo>
                      <a:lnTo>
                        <a:pt x="233205" y="242167"/>
                      </a:lnTo>
                      <a:lnTo>
                        <a:pt x="235257" y="239945"/>
                      </a:lnTo>
                      <a:lnTo>
                        <a:pt x="237649" y="238293"/>
                      </a:lnTo>
                      <a:lnTo>
                        <a:pt x="245239" y="234456"/>
                      </a:lnTo>
                      <a:lnTo>
                        <a:pt x="250424" y="229065"/>
                      </a:lnTo>
                      <a:lnTo>
                        <a:pt x="252112" y="226150"/>
                      </a:lnTo>
                      <a:lnTo>
                        <a:pt x="255876" y="221839"/>
                      </a:lnTo>
                      <a:lnTo>
                        <a:pt x="257029" y="219994"/>
                      </a:lnTo>
                      <a:lnTo>
                        <a:pt x="257965" y="217492"/>
                      </a:lnTo>
                      <a:lnTo>
                        <a:pt x="260527" y="206345"/>
                      </a:lnTo>
                      <a:lnTo>
                        <a:pt x="260587" y="204888"/>
                      </a:lnTo>
                      <a:lnTo>
                        <a:pt x="260490" y="204621"/>
                      </a:lnTo>
                      <a:lnTo>
                        <a:pt x="259628" y="204949"/>
                      </a:lnTo>
                      <a:lnTo>
                        <a:pt x="257369" y="205337"/>
                      </a:lnTo>
                      <a:lnTo>
                        <a:pt x="255014" y="204985"/>
                      </a:lnTo>
                      <a:lnTo>
                        <a:pt x="253763" y="204086"/>
                      </a:lnTo>
                      <a:lnTo>
                        <a:pt x="252780" y="202884"/>
                      </a:lnTo>
                      <a:lnTo>
                        <a:pt x="252512" y="202289"/>
                      </a:lnTo>
                      <a:lnTo>
                        <a:pt x="252124" y="200771"/>
                      </a:lnTo>
                      <a:lnTo>
                        <a:pt x="253496" y="196048"/>
                      </a:lnTo>
                      <a:lnTo>
                        <a:pt x="253338" y="195489"/>
                      </a:lnTo>
                      <a:lnTo>
                        <a:pt x="252670" y="194299"/>
                      </a:lnTo>
                      <a:lnTo>
                        <a:pt x="252197" y="193984"/>
                      </a:lnTo>
                      <a:lnTo>
                        <a:pt x="251662" y="193352"/>
                      </a:lnTo>
                      <a:lnTo>
                        <a:pt x="251067" y="189819"/>
                      </a:lnTo>
                      <a:lnTo>
                        <a:pt x="251638" y="184670"/>
                      </a:lnTo>
                      <a:lnTo>
                        <a:pt x="254407" y="176073"/>
                      </a:lnTo>
                      <a:lnTo>
                        <a:pt x="259507" y="165338"/>
                      </a:lnTo>
                      <a:lnTo>
                        <a:pt x="265032" y="163310"/>
                      </a:lnTo>
                      <a:lnTo>
                        <a:pt x="267060" y="162958"/>
                      </a:lnTo>
                      <a:lnTo>
                        <a:pt x="269634" y="163055"/>
                      </a:lnTo>
                      <a:lnTo>
                        <a:pt x="273617" y="163966"/>
                      </a:lnTo>
                      <a:lnTo>
                        <a:pt x="275013" y="164112"/>
                      </a:lnTo>
                      <a:lnTo>
                        <a:pt x="276264" y="163784"/>
                      </a:lnTo>
                      <a:lnTo>
                        <a:pt x="277794" y="163140"/>
                      </a:lnTo>
                      <a:lnTo>
                        <a:pt x="285432" y="158648"/>
                      </a:lnTo>
                      <a:lnTo>
                        <a:pt x="287569" y="157798"/>
                      </a:lnTo>
                      <a:lnTo>
                        <a:pt x="286743" y="156510"/>
                      </a:lnTo>
                      <a:lnTo>
                        <a:pt x="285930" y="154434"/>
                      </a:lnTo>
                      <a:lnTo>
                        <a:pt x="286197" y="152127"/>
                      </a:lnTo>
                      <a:lnTo>
                        <a:pt x="287132" y="149492"/>
                      </a:lnTo>
                      <a:lnTo>
                        <a:pt x="290872" y="144040"/>
                      </a:lnTo>
                      <a:lnTo>
                        <a:pt x="292815" y="140093"/>
                      </a:lnTo>
                      <a:lnTo>
                        <a:pt x="295098" y="130391"/>
                      </a:lnTo>
                      <a:lnTo>
                        <a:pt x="305067" y="127003"/>
                      </a:lnTo>
                      <a:lnTo>
                        <a:pt x="315194" y="126614"/>
                      </a:lnTo>
                      <a:lnTo>
                        <a:pt x="317501" y="126882"/>
                      </a:lnTo>
                      <a:lnTo>
                        <a:pt x="319881" y="127586"/>
                      </a:lnTo>
                      <a:lnTo>
                        <a:pt x="322784" y="129347"/>
                      </a:lnTo>
                      <a:lnTo>
                        <a:pt x="324751" y="131095"/>
                      </a:lnTo>
                      <a:lnTo>
                        <a:pt x="326293" y="132953"/>
                      </a:lnTo>
                      <a:lnTo>
                        <a:pt x="327701" y="135066"/>
                      </a:lnTo>
                      <a:lnTo>
                        <a:pt x="330652" y="138345"/>
                      </a:lnTo>
                      <a:lnTo>
                        <a:pt x="332170" y="139389"/>
                      </a:lnTo>
                      <a:lnTo>
                        <a:pt x="332741" y="139571"/>
                      </a:lnTo>
                      <a:lnTo>
                        <a:pt x="333724" y="139353"/>
                      </a:lnTo>
                      <a:lnTo>
                        <a:pt x="334259" y="137713"/>
                      </a:lnTo>
                      <a:lnTo>
                        <a:pt x="334951" y="136633"/>
                      </a:lnTo>
                      <a:lnTo>
                        <a:pt x="338800" y="131387"/>
                      </a:lnTo>
                      <a:lnTo>
                        <a:pt x="342771" y="130840"/>
                      </a:lnTo>
                      <a:lnTo>
                        <a:pt x="346304" y="131848"/>
                      </a:lnTo>
                      <a:lnTo>
                        <a:pt x="353214" y="135965"/>
                      </a:lnTo>
                      <a:lnTo>
                        <a:pt x="361872" y="142971"/>
                      </a:lnTo>
                      <a:lnTo>
                        <a:pt x="367069" y="145533"/>
                      </a:lnTo>
                      <a:lnTo>
                        <a:pt x="379795" y="148472"/>
                      </a:lnTo>
                      <a:lnTo>
                        <a:pt x="388902" y="161295"/>
                      </a:lnTo>
                      <a:lnTo>
                        <a:pt x="393128" y="165095"/>
                      </a:lnTo>
                      <a:lnTo>
                        <a:pt x="402757" y="171167"/>
                      </a:lnTo>
                      <a:lnTo>
                        <a:pt x="406861" y="172248"/>
                      </a:lnTo>
                      <a:lnTo>
                        <a:pt x="408258" y="172454"/>
                      </a:lnTo>
                      <a:lnTo>
                        <a:pt x="409812" y="172503"/>
                      </a:lnTo>
                      <a:lnTo>
                        <a:pt x="413406" y="172357"/>
                      </a:lnTo>
                      <a:lnTo>
                        <a:pt x="414317" y="172187"/>
                      </a:lnTo>
                      <a:lnTo>
                        <a:pt x="415580" y="171616"/>
                      </a:lnTo>
                      <a:lnTo>
                        <a:pt x="417486" y="170621"/>
                      </a:lnTo>
                      <a:lnTo>
                        <a:pt x="424262" y="163250"/>
                      </a:lnTo>
                      <a:lnTo>
                        <a:pt x="425051" y="160773"/>
                      </a:lnTo>
                      <a:lnTo>
                        <a:pt x="425209" y="158708"/>
                      </a:lnTo>
                      <a:lnTo>
                        <a:pt x="424966" y="156960"/>
                      </a:lnTo>
                      <a:lnTo>
                        <a:pt x="425379" y="153900"/>
                      </a:lnTo>
                      <a:lnTo>
                        <a:pt x="426715" y="151580"/>
                      </a:lnTo>
                      <a:lnTo>
                        <a:pt x="428913" y="150755"/>
                      </a:lnTo>
                      <a:lnTo>
                        <a:pt x="430759" y="151010"/>
                      </a:lnTo>
                      <a:lnTo>
                        <a:pt x="432009" y="151580"/>
                      </a:lnTo>
                      <a:lnTo>
                        <a:pt x="433564" y="152904"/>
                      </a:lnTo>
                      <a:lnTo>
                        <a:pt x="433734" y="152868"/>
                      </a:lnTo>
                      <a:lnTo>
                        <a:pt x="440279" y="147865"/>
                      </a:lnTo>
                      <a:lnTo>
                        <a:pt x="441141" y="146990"/>
                      </a:lnTo>
                      <a:lnTo>
                        <a:pt x="441699" y="145995"/>
                      </a:lnTo>
                      <a:lnTo>
                        <a:pt x="446642" y="132905"/>
                      </a:lnTo>
                      <a:lnTo>
                        <a:pt x="449811" y="120604"/>
                      </a:lnTo>
                      <a:lnTo>
                        <a:pt x="451316" y="116864"/>
                      </a:lnTo>
                      <a:lnTo>
                        <a:pt x="451547" y="115419"/>
                      </a:lnTo>
                      <a:lnTo>
                        <a:pt x="451839" y="110452"/>
                      </a:lnTo>
                      <a:lnTo>
                        <a:pt x="452422" y="107732"/>
                      </a:lnTo>
                      <a:lnTo>
                        <a:pt x="452956" y="105996"/>
                      </a:lnTo>
                      <a:lnTo>
                        <a:pt x="455166" y="102499"/>
                      </a:lnTo>
                      <a:lnTo>
                        <a:pt x="456793" y="100701"/>
                      </a:lnTo>
                      <a:lnTo>
                        <a:pt x="459416" y="99208"/>
                      </a:lnTo>
                      <a:lnTo>
                        <a:pt x="459999" y="98941"/>
                      </a:lnTo>
                      <a:lnTo>
                        <a:pt x="462950" y="98856"/>
                      </a:lnTo>
                      <a:lnTo>
                        <a:pt x="464176" y="98674"/>
                      </a:lnTo>
                      <a:lnTo>
                        <a:pt x="464686" y="98322"/>
                      </a:lnTo>
                      <a:lnTo>
                        <a:pt x="465439" y="97107"/>
                      </a:lnTo>
                      <a:lnTo>
                        <a:pt x="467066" y="93440"/>
                      </a:lnTo>
                      <a:lnTo>
                        <a:pt x="469082" y="91947"/>
                      </a:lnTo>
                      <a:lnTo>
                        <a:pt x="472190" y="90854"/>
                      </a:lnTo>
                      <a:lnTo>
                        <a:pt x="480278" y="89809"/>
                      </a:lnTo>
                      <a:lnTo>
                        <a:pt x="484078" y="88583"/>
                      </a:lnTo>
                      <a:lnTo>
                        <a:pt x="486992" y="87988"/>
                      </a:lnTo>
                      <a:lnTo>
                        <a:pt x="496537" y="86919"/>
                      </a:lnTo>
                      <a:lnTo>
                        <a:pt x="500265" y="88777"/>
                      </a:lnTo>
                      <a:lnTo>
                        <a:pt x="501819" y="91655"/>
                      </a:lnTo>
                      <a:lnTo>
                        <a:pt x="502669" y="94788"/>
                      </a:lnTo>
                      <a:lnTo>
                        <a:pt x="502924" y="95250"/>
                      </a:lnTo>
                      <a:lnTo>
                        <a:pt x="503046" y="95237"/>
                      </a:lnTo>
                      <a:lnTo>
                        <a:pt x="505000" y="94096"/>
                      </a:lnTo>
                      <a:lnTo>
                        <a:pt x="505559" y="93076"/>
                      </a:lnTo>
                      <a:lnTo>
                        <a:pt x="505911" y="92080"/>
                      </a:lnTo>
                      <a:lnTo>
                        <a:pt x="505838" y="91303"/>
                      </a:lnTo>
                      <a:lnTo>
                        <a:pt x="506810" y="87138"/>
                      </a:lnTo>
                      <a:lnTo>
                        <a:pt x="509141" y="85134"/>
                      </a:lnTo>
                      <a:lnTo>
                        <a:pt x="511291" y="84612"/>
                      </a:lnTo>
                      <a:lnTo>
                        <a:pt x="515237" y="84551"/>
                      </a:lnTo>
                      <a:lnTo>
                        <a:pt x="520301" y="85329"/>
                      </a:lnTo>
                      <a:lnTo>
                        <a:pt x="522231" y="85972"/>
                      </a:lnTo>
                      <a:lnTo>
                        <a:pt x="524016" y="86895"/>
                      </a:lnTo>
                      <a:lnTo>
                        <a:pt x="524963" y="87721"/>
                      </a:lnTo>
                      <a:lnTo>
                        <a:pt x="526445" y="90198"/>
                      </a:lnTo>
                      <a:lnTo>
                        <a:pt x="526906" y="92323"/>
                      </a:lnTo>
                      <a:lnTo>
                        <a:pt x="527441" y="92541"/>
                      </a:lnTo>
                      <a:lnTo>
                        <a:pt x="531460" y="92784"/>
                      </a:lnTo>
                      <a:lnTo>
                        <a:pt x="534119" y="93525"/>
                      </a:lnTo>
                      <a:lnTo>
                        <a:pt x="536669" y="95079"/>
                      </a:lnTo>
                      <a:lnTo>
                        <a:pt x="538369" y="95869"/>
                      </a:lnTo>
                      <a:lnTo>
                        <a:pt x="540191" y="95893"/>
                      </a:lnTo>
                      <a:lnTo>
                        <a:pt x="543105" y="94934"/>
                      </a:lnTo>
                      <a:lnTo>
                        <a:pt x="550330" y="94278"/>
                      </a:lnTo>
                      <a:lnTo>
                        <a:pt x="552176" y="93841"/>
                      </a:lnTo>
                      <a:lnTo>
                        <a:pt x="554143" y="92068"/>
                      </a:lnTo>
                      <a:lnTo>
                        <a:pt x="558466" y="86676"/>
                      </a:lnTo>
                      <a:lnTo>
                        <a:pt x="564926" y="77339"/>
                      </a:lnTo>
                      <a:lnTo>
                        <a:pt x="568107" y="74412"/>
                      </a:lnTo>
                      <a:lnTo>
                        <a:pt x="571690" y="73562"/>
                      </a:lnTo>
                      <a:lnTo>
                        <a:pt x="575927" y="74327"/>
                      </a:lnTo>
                      <a:lnTo>
                        <a:pt x="578332" y="76343"/>
                      </a:lnTo>
                      <a:lnTo>
                        <a:pt x="579437" y="77509"/>
                      </a:lnTo>
                      <a:lnTo>
                        <a:pt x="579595" y="77569"/>
                      </a:lnTo>
                      <a:lnTo>
                        <a:pt x="580165" y="77423"/>
                      </a:lnTo>
                      <a:lnTo>
                        <a:pt x="582400" y="75638"/>
                      </a:lnTo>
                      <a:lnTo>
                        <a:pt x="585873" y="71073"/>
                      </a:lnTo>
                      <a:lnTo>
                        <a:pt x="589698" y="67636"/>
                      </a:lnTo>
                      <a:lnTo>
                        <a:pt x="591155" y="65706"/>
                      </a:lnTo>
                      <a:lnTo>
                        <a:pt x="593280" y="64042"/>
                      </a:lnTo>
                      <a:lnTo>
                        <a:pt x="599072" y="61152"/>
                      </a:lnTo>
                      <a:lnTo>
                        <a:pt x="599521" y="60290"/>
                      </a:lnTo>
                      <a:lnTo>
                        <a:pt x="599643" y="58711"/>
                      </a:lnTo>
                      <a:lnTo>
                        <a:pt x="599254" y="57728"/>
                      </a:lnTo>
                      <a:lnTo>
                        <a:pt x="599023" y="56040"/>
                      </a:lnTo>
                      <a:lnTo>
                        <a:pt x="599351" y="53623"/>
                      </a:lnTo>
                      <a:lnTo>
                        <a:pt x="601513" y="49082"/>
                      </a:lnTo>
                      <a:lnTo>
                        <a:pt x="601719" y="45257"/>
                      </a:lnTo>
                      <a:lnTo>
                        <a:pt x="602302" y="43120"/>
                      </a:lnTo>
                      <a:lnTo>
                        <a:pt x="603674" y="40898"/>
                      </a:lnTo>
                      <a:lnTo>
                        <a:pt x="604828" y="39902"/>
                      </a:lnTo>
                      <a:lnTo>
                        <a:pt x="609078" y="38190"/>
                      </a:lnTo>
                      <a:lnTo>
                        <a:pt x="614226" y="37522"/>
                      </a:lnTo>
                      <a:lnTo>
                        <a:pt x="617347" y="37582"/>
                      </a:lnTo>
                      <a:lnTo>
                        <a:pt x="621063" y="38287"/>
                      </a:lnTo>
                      <a:lnTo>
                        <a:pt x="623795" y="39453"/>
                      </a:lnTo>
                      <a:lnTo>
                        <a:pt x="626333" y="41213"/>
                      </a:lnTo>
                      <a:lnTo>
                        <a:pt x="629320" y="44759"/>
                      </a:lnTo>
                      <a:lnTo>
                        <a:pt x="630996" y="47916"/>
                      </a:lnTo>
                      <a:lnTo>
                        <a:pt x="632137" y="49337"/>
                      </a:lnTo>
                      <a:lnTo>
                        <a:pt x="635197" y="49422"/>
                      </a:lnTo>
                      <a:lnTo>
                        <a:pt x="647182" y="46836"/>
                      </a:lnTo>
                      <a:lnTo>
                        <a:pt x="650619" y="47248"/>
                      </a:lnTo>
                      <a:lnTo>
                        <a:pt x="651299" y="47382"/>
                      </a:lnTo>
                      <a:lnTo>
                        <a:pt x="654383" y="49677"/>
                      </a:lnTo>
                      <a:lnTo>
                        <a:pt x="655257" y="53878"/>
                      </a:lnTo>
                      <a:lnTo>
                        <a:pt x="655197" y="56550"/>
                      </a:lnTo>
                      <a:lnTo>
                        <a:pt x="654942" y="57679"/>
                      </a:lnTo>
                      <a:lnTo>
                        <a:pt x="655026" y="57946"/>
                      </a:lnTo>
                      <a:lnTo>
                        <a:pt x="658342" y="59816"/>
                      </a:lnTo>
                      <a:lnTo>
                        <a:pt x="660382" y="59622"/>
                      </a:lnTo>
                      <a:lnTo>
                        <a:pt x="664279" y="59610"/>
                      </a:lnTo>
                      <a:lnTo>
                        <a:pt x="667036" y="60448"/>
                      </a:lnTo>
                      <a:lnTo>
                        <a:pt x="667485" y="60363"/>
                      </a:lnTo>
                      <a:lnTo>
                        <a:pt x="667631" y="60035"/>
                      </a:lnTo>
                      <a:lnTo>
                        <a:pt x="667461" y="59756"/>
                      </a:lnTo>
                      <a:lnTo>
                        <a:pt x="666939" y="59537"/>
                      </a:lnTo>
                      <a:lnTo>
                        <a:pt x="665943" y="58918"/>
                      </a:lnTo>
                      <a:lnTo>
                        <a:pt x="664838" y="58359"/>
                      </a:lnTo>
                      <a:lnTo>
                        <a:pt x="662919" y="57169"/>
                      </a:lnTo>
                      <a:lnTo>
                        <a:pt x="661450" y="55105"/>
                      </a:lnTo>
                      <a:lnTo>
                        <a:pt x="661037" y="53162"/>
                      </a:lnTo>
                      <a:lnTo>
                        <a:pt x="661025" y="50843"/>
                      </a:lnTo>
                      <a:lnTo>
                        <a:pt x="661887" y="48280"/>
                      </a:lnTo>
                      <a:lnTo>
                        <a:pt x="662179" y="47552"/>
                      </a:lnTo>
                      <a:lnTo>
                        <a:pt x="664741" y="45500"/>
                      </a:lnTo>
                      <a:lnTo>
                        <a:pt x="668712" y="45451"/>
                      </a:lnTo>
                      <a:lnTo>
                        <a:pt x="670970" y="46568"/>
                      </a:lnTo>
                      <a:lnTo>
                        <a:pt x="672779" y="46690"/>
                      </a:lnTo>
                      <a:lnTo>
                        <a:pt x="675074" y="46131"/>
                      </a:lnTo>
                      <a:lnTo>
                        <a:pt x="685165" y="42051"/>
                      </a:lnTo>
                      <a:lnTo>
                        <a:pt x="699749" y="33381"/>
                      </a:lnTo>
                      <a:lnTo>
                        <a:pt x="700441" y="32264"/>
                      </a:lnTo>
                      <a:lnTo>
                        <a:pt x="700465" y="31329"/>
                      </a:lnTo>
                      <a:lnTo>
                        <a:pt x="700235" y="30515"/>
                      </a:lnTo>
                      <a:lnTo>
                        <a:pt x="699725" y="29362"/>
                      </a:lnTo>
                      <a:lnTo>
                        <a:pt x="699567" y="27953"/>
                      </a:lnTo>
                      <a:lnTo>
                        <a:pt x="699955" y="25306"/>
                      </a:lnTo>
                      <a:lnTo>
                        <a:pt x="701789" y="22185"/>
                      </a:lnTo>
                      <a:lnTo>
                        <a:pt x="704861" y="18712"/>
                      </a:lnTo>
                      <a:lnTo>
                        <a:pt x="708103" y="15944"/>
                      </a:lnTo>
                      <a:lnTo>
                        <a:pt x="712560" y="13843"/>
                      </a:lnTo>
                      <a:lnTo>
                        <a:pt x="717077" y="12483"/>
                      </a:lnTo>
                      <a:lnTo>
                        <a:pt x="717210" y="12240"/>
                      </a:lnTo>
                      <a:lnTo>
                        <a:pt x="716130" y="11172"/>
                      </a:lnTo>
                      <a:lnTo>
                        <a:pt x="714551" y="9872"/>
                      </a:lnTo>
                      <a:lnTo>
                        <a:pt x="712718" y="7553"/>
                      </a:lnTo>
                      <a:lnTo>
                        <a:pt x="712438" y="6132"/>
                      </a:lnTo>
                      <a:lnTo>
                        <a:pt x="712463" y="4530"/>
                      </a:lnTo>
                      <a:lnTo>
                        <a:pt x="712669" y="3789"/>
                      </a:lnTo>
                      <a:lnTo>
                        <a:pt x="713495" y="2186"/>
                      </a:lnTo>
                      <a:lnTo>
                        <a:pt x="714102" y="1566"/>
                      </a:lnTo>
                      <a:lnTo>
                        <a:pt x="715717" y="522"/>
                      </a:lnTo>
                      <a:lnTo>
                        <a:pt x="717757" y="0"/>
                      </a:lnTo>
                      <a:lnTo>
                        <a:pt x="719736" y="450"/>
                      </a:lnTo>
                      <a:lnTo>
                        <a:pt x="724885" y="3801"/>
                      </a:lnTo>
                      <a:lnTo>
                        <a:pt x="727119" y="4700"/>
                      </a:lnTo>
                      <a:lnTo>
                        <a:pt x="730556" y="4627"/>
                      </a:lnTo>
                      <a:lnTo>
                        <a:pt x="732304" y="4700"/>
                      </a:lnTo>
                      <a:lnTo>
                        <a:pt x="733494" y="6958"/>
                      </a:lnTo>
                      <a:lnTo>
                        <a:pt x="733761" y="8306"/>
                      </a:lnTo>
                      <a:lnTo>
                        <a:pt x="733689" y="10625"/>
                      </a:lnTo>
                      <a:lnTo>
                        <a:pt x="733385" y="11876"/>
                      </a:lnTo>
                      <a:lnTo>
                        <a:pt x="732899" y="13297"/>
                      </a:lnTo>
                      <a:lnTo>
                        <a:pt x="731818" y="15130"/>
                      </a:lnTo>
                      <a:lnTo>
                        <a:pt x="735376" y="14669"/>
                      </a:lnTo>
                      <a:lnTo>
                        <a:pt x="738764" y="14705"/>
                      </a:lnTo>
                      <a:lnTo>
                        <a:pt x="748673" y="16843"/>
                      </a:lnTo>
                      <a:lnTo>
                        <a:pt x="752085" y="16381"/>
                      </a:lnTo>
                      <a:lnTo>
                        <a:pt x="755849" y="14499"/>
                      </a:lnTo>
                      <a:lnTo>
                        <a:pt x="755849" y="12143"/>
                      </a:lnTo>
                      <a:lnTo>
                        <a:pt x="759055" y="12957"/>
                      </a:lnTo>
                      <a:lnTo>
                        <a:pt x="762552" y="13175"/>
                      </a:lnTo>
                      <a:lnTo>
                        <a:pt x="762917" y="16685"/>
                      </a:lnTo>
                      <a:lnTo>
                        <a:pt x="762589" y="18214"/>
                      </a:lnTo>
                      <a:lnTo>
                        <a:pt x="763669" y="19210"/>
                      </a:lnTo>
                      <a:lnTo>
                        <a:pt x="766620" y="20898"/>
                      </a:lnTo>
                      <a:lnTo>
                        <a:pt x="767227" y="21578"/>
                      </a:lnTo>
                      <a:lnTo>
                        <a:pt x="768211" y="20923"/>
                      </a:lnTo>
                      <a:lnTo>
                        <a:pt x="773238" y="19720"/>
                      </a:lnTo>
                      <a:lnTo>
                        <a:pt x="775521" y="25452"/>
                      </a:lnTo>
                      <a:lnTo>
                        <a:pt x="777525" y="32992"/>
                      </a:lnTo>
                      <a:lnTo>
                        <a:pt x="778289" y="38372"/>
                      </a:lnTo>
                      <a:lnTo>
                        <a:pt x="777913" y="44322"/>
                      </a:lnTo>
                      <a:lnTo>
                        <a:pt x="776140" y="54243"/>
                      </a:lnTo>
                      <a:lnTo>
                        <a:pt x="775788" y="59221"/>
                      </a:lnTo>
                      <a:lnTo>
                        <a:pt x="776055" y="59161"/>
                      </a:lnTo>
                      <a:lnTo>
                        <a:pt x="775509" y="67770"/>
                      </a:lnTo>
                      <a:lnTo>
                        <a:pt x="773602" y="72299"/>
                      </a:lnTo>
                      <a:lnTo>
                        <a:pt x="771477" y="75687"/>
                      </a:lnTo>
                      <a:lnTo>
                        <a:pt x="770494" y="78565"/>
                      </a:lnTo>
                      <a:lnTo>
                        <a:pt x="772145" y="85717"/>
                      </a:lnTo>
                      <a:lnTo>
                        <a:pt x="770433" y="88619"/>
                      </a:lnTo>
                      <a:lnTo>
                        <a:pt x="766596" y="92833"/>
                      </a:lnTo>
                      <a:lnTo>
                        <a:pt x="766122" y="100046"/>
                      </a:lnTo>
                      <a:lnTo>
                        <a:pt x="763512" y="114107"/>
                      </a:lnTo>
                      <a:lnTo>
                        <a:pt x="762455" y="136924"/>
                      </a:lnTo>
                      <a:lnTo>
                        <a:pt x="760245" y="151143"/>
                      </a:lnTo>
                      <a:lnTo>
                        <a:pt x="756736" y="161453"/>
                      </a:lnTo>
                      <a:lnTo>
                        <a:pt x="755946" y="167731"/>
                      </a:lnTo>
                      <a:lnTo>
                        <a:pt x="754550" y="171361"/>
                      </a:lnTo>
                      <a:lnTo>
                        <a:pt x="750834" y="177166"/>
                      </a:lnTo>
                      <a:lnTo>
                        <a:pt x="749741" y="180116"/>
                      </a:lnTo>
                      <a:lnTo>
                        <a:pt x="747750" y="188592"/>
                      </a:lnTo>
                      <a:lnTo>
                        <a:pt x="747483" y="192017"/>
                      </a:lnTo>
                      <a:lnTo>
                        <a:pt x="746706" y="195222"/>
                      </a:lnTo>
                      <a:lnTo>
                        <a:pt x="742152" y="206661"/>
                      </a:lnTo>
                      <a:lnTo>
                        <a:pt x="735401" y="218063"/>
                      </a:lnTo>
                      <a:lnTo>
                        <a:pt x="734927" y="220322"/>
                      </a:lnTo>
                      <a:lnTo>
                        <a:pt x="730762" y="228324"/>
                      </a:lnTo>
                      <a:lnTo>
                        <a:pt x="728807" y="230910"/>
                      </a:lnTo>
                      <a:lnTo>
                        <a:pt x="723501" y="234250"/>
                      </a:lnTo>
                      <a:lnTo>
                        <a:pt x="719785" y="240758"/>
                      </a:lnTo>
                      <a:lnTo>
                        <a:pt x="720975" y="240005"/>
                      </a:lnTo>
                      <a:lnTo>
                        <a:pt x="702773" y="268250"/>
                      </a:lnTo>
                      <a:lnTo>
                        <a:pt x="699810" y="271516"/>
                      </a:lnTo>
                      <a:lnTo>
                        <a:pt x="698960" y="272828"/>
                      </a:lnTo>
                      <a:lnTo>
                        <a:pt x="693483" y="284108"/>
                      </a:lnTo>
                      <a:lnTo>
                        <a:pt x="688019" y="290690"/>
                      </a:lnTo>
                      <a:lnTo>
                        <a:pt x="686841" y="293058"/>
                      </a:lnTo>
                      <a:lnTo>
                        <a:pt x="686950" y="293993"/>
                      </a:lnTo>
                      <a:lnTo>
                        <a:pt x="687217" y="300550"/>
                      </a:lnTo>
                      <a:lnTo>
                        <a:pt x="686258" y="302748"/>
                      </a:lnTo>
                      <a:lnTo>
                        <a:pt x="684874" y="304752"/>
                      </a:lnTo>
                      <a:lnTo>
                        <a:pt x="684704" y="305966"/>
                      </a:lnTo>
                      <a:lnTo>
                        <a:pt x="682737" y="307265"/>
                      </a:lnTo>
                      <a:lnTo>
                        <a:pt x="678365" y="308759"/>
                      </a:lnTo>
                      <a:lnTo>
                        <a:pt x="676520" y="310373"/>
                      </a:lnTo>
                      <a:lnTo>
                        <a:pt x="673010" y="313822"/>
                      </a:lnTo>
                      <a:lnTo>
                        <a:pt x="670096" y="315389"/>
                      </a:lnTo>
                      <a:lnTo>
                        <a:pt x="668019" y="315182"/>
                      </a:lnTo>
                      <a:lnTo>
                        <a:pt x="666028" y="314101"/>
                      </a:lnTo>
                      <a:lnTo>
                        <a:pt x="664814" y="312644"/>
                      </a:lnTo>
                      <a:lnTo>
                        <a:pt x="662810" y="311430"/>
                      </a:lnTo>
                      <a:lnTo>
                        <a:pt x="661365" y="310094"/>
                      </a:lnTo>
                      <a:lnTo>
                        <a:pt x="660806" y="308370"/>
                      </a:lnTo>
                      <a:lnTo>
                        <a:pt x="660892" y="306634"/>
                      </a:lnTo>
                      <a:lnTo>
                        <a:pt x="661098" y="306051"/>
                      </a:lnTo>
                      <a:lnTo>
                        <a:pt x="661839" y="304691"/>
                      </a:lnTo>
                      <a:lnTo>
                        <a:pt x="663017" y="303404"/>
                      </a:lnTo>
                      <a:lnTo>
                        <a:pt x="660163" y="303962"/>
                      </a:lnTo>
                      <a:lnTo>
                        <a:pt x="656544" y="303549"/>
                      </a:lnTo>
                      <a:lnTo>
                        <a:pt x="654407" y="301995"/>
                      </a:lnTo>
                      <a:lnTo>
                        <a:pt x="652258" y="299178"/>
                      </a:lnTo>
                      <a:lnTo>
                        <a:pt x="651554" y="300101"/>
                      </a:lnTo>
                      <a:lnTo>
                        <a:pt x="654602" y="302845"/>
                      </a:lnTo>
                      <a:lnTo>
                        <a:pt x="655537" y="305067"/>
                      </a:lnTo>
                      <a:lnTo>
                        <a:pt x="655694" y="306366"/>
                      </a:lnTo>
                      <a:lnTo>
                        <a:pt x="652574" y="307909"/>
                      </a:lnTo>
                      <a:lnTo>
                        <a:pt x="655609" y="307909"/>
                      </a:lnTo>
                      <a:lnTo>
                        <a:pt x="655609" y="308504"/>
                      </a:lnTo>
                      <a:lnTo>
                        <a:pt x="656629" y="308916"/>
                      </a:lnTo>
                      <a:lnTo>
                        <a:pt x="657674" y="310046"/>
                      </a:lnTo>
                      <a:lnTo>
                        <a:pt x="658475" y="311564"/>
                      </a:lnTo>
                      <a:lnTo>
                        <a:pt x="658815" y="313227"/>
                      </a:lnTo>
                      <a:lnTo>
                        <a:pt x="658876" y="315559"/>
                      </a:lnTo>
                      <a:lnTo>
                        <a:pt x="658329" y="318133"/>
                      </a:lnTo>
                      <a:lnTo>
                        <a:pt x="657637" y="319942"/>
                      </a:lnTo>
                      <a:lnTo>
                        <a:pt x="657297" y="320586"/>
                      </a:lnTo>
                      <a:lnTo>
                        <a:pt x="658269" y="321035"/>
                      </a:lnTo>
                      <a:lnTo>
                        <a:pt x="659665" y="322152"/>
                      </a:lnTo>
                      <a:lnTo>
                        <a:pt x="660770" y="323464"/>
                      </a:lnTo>
                      <a:lnTo>
                        <a:pt x="661754" y="323367"/>
                      </a:lnTo>
                      <a:lnTo>
                        <a:pt x="663187" y="323464"/>
                      </a:lnTo>
                      <a:lnTo>
                        <a:pt x="668857" y="324763"/>
                      </a:lnTo>
                      <a:lnTo>
                        <a:pt x="678292" y="324508"/>
                      </a:lnTo>
                      <a:lnTo>
                        <a:pt x="675888" y="336335"/>
                      </a:lnTo>
                      <a:lnTo>
                        <a:pt x="673751" y="337987"/>
                      </a:lnTo>
                      <a:lnTo>
                        <a:pt x="672779" y="340743"/>
                      </a:lnTo>
                      <a:lnTo>
                        <a:pt x="669331" y="358484"/>
                      </a:lnTo>
                      <a:lnTo>
                        <a:pt x="668748" y="365624"/>
                      </a:lnTo>
                      <a:lnTo>
                        <a:pt x="666890" y="373201"/>
                      </a:lnTo>
                      <a:lnTo>
                        <a:pt x="666562" y="376589"/>
                      </a:lnTo>
                      <a:lnTo>
                        <a:pt x="667582" y="383620"/>
                      </a:lnTo>
                      <a:lnTo>
                        <a:pt x="671845" y="396758"/>
                      </a:lnTo>
                      <a:lnTo>
                        <a:pt x="675827" y="397281"/>
                      </a:lnTo>
                      <a:lnTo>
                        <a:pt x="678584" y="400450"/>
                      </a:lnTo>
                      <a:lnTo>
                        <a:pt x="679713" y="411282"/>
                      </a:lnTo>
                      <a:lnTo>
                        <a:pt x="679094" y="414257"/>
                      </a:lnTo>
                      <a:lnTo>
                        <a:pt x="678632" y="415859"/>
                      </a:lnTo>
                      <a:lnTo>
                        <a:pt x="676483" y="416479"/>
                      </a:lnTo>
                      <a:lnTo>
                        <a:pt x="678268" y="417304"/>
                      </a:lnTo>
                      <a:lnTo>
                        <a:pt x="678402" y="417098"/>
                      </a:lnTo>
                      <a:lnTo>
                        <a:pt x="679834" y="417195"/>
                      </a:lnTo>
                      <a:lnTo>
                        <a:pt x="681207" y="419126"/>
                      </a:lnTo>
                      <a:lnTo>
                        <a:pt x="681790" y="420862"/>
                      </a:lnTo>
                      <a:lnTo>
                        <a:pt x="682130" y="435665"/>
                      </a:lnTo>
                      <a:lnTo>
                        <a:pt x="685930" y="454911"/>
                      </a:lnTo>
                      <a:lnTo>
                        <a:pt x="685408" y="484576"/>
                      </a:lnTo>
                      <a:lnTo>
                        <a:pt x="683611" y="493295"/>
                      </a:lnTo>
                      <a:lnTo>
                        <a:pt x="676532" y="491704"/>
                      </a:lnTo>
                      <a:lnTo>
                        <a:pt x="674516" y="491656"/>
                      </a:lnTo>
                      <a:lnTo>
                        <a:pt x="672233" y="493016"/>
                      </a:lnTo>
                      <a:lnTo>
                        <a:pt x="671917" y="493477"/>
                      </a:lnTo>
                      <a:lnTo>
                        <a:pt x="670861" y="494558"/>
                      </a:lnTo>
                      <a:lnTo>
                        <a:pt x="667934" y="494193"/>
                      </a:lnTo>
                      <a:lnTo>
                        <a:pt x="664789" y="492870"/>
                      </a:lnTo>
                      <a:lnTo>
                        <a:pt x="665190" y="496525"/>
                      </a:lnTo>
                      <a:lnTo>
                        <a:pt x="664365" y="498359"/>
                      </a:lnTo>
                      <a:lnTo>
                        <a:pt x="662980" y="499330"/>
                      </a:lnTo>
                      <a:lnTo>
                        <a:pt x="661232" y="499900"/>
                      </a:lnTo>
                      <a:lnTo>
                        <a:pt x="659847" y="500083"/>
                      </a:lnTo>
                      <a:lnTo>
                        <a:pt x="659544" y="499949"/>
                      </a:lnTo>
                      <a:lnTo>
                        <a:pt x="659216" y="500629"/>
                      </a:lnTo>
                      <a:lnTo>
                        <a:pt x="658123" y="501807"/>
                      </a:lnTo>
                      <a:lnTo>
                        <a:pt x="658172" y="501856"/>
                      </a:lnTo>
                      <a:lnTo>
                        <a:pt x="659702" y="501880"/>
                      </a:lnTo>
                      <a:lnTo>
                        <a:pt x="662494" y="502839"/>
                      </a:lnTo>
                      <a:lnTo>
                        <a:pt x="663757" y="503373"/>
                      </a:lnTo>
                      <a:lnTo>
                        <a:pt x="663952" y="503980"/>
                      </a:lnTo>
                      <a:lnTo>
                        <a:pt x="664061" y="503920"/>
                      </a:lnTo>
                      <a:lnTo>
                        <a:pt x="667558" y="503993"/>
                      </a:lnTo>
                      <a:lnTo>
                        <a:pt x="669039" y="505268"/>
                      </a:lnTo>
                      <a:lnTo>
                        <a:pt x="669902" y="506531"/>
                      </a:lnTo>
                      <a:lnTo>
                        <a:pt x="671055" y="506628"/>
                      </a:lnTo>
                      <a:lnTo>
                        <a:pt x="672779" y="507004"/>
                      </a:lnTo>
                      <a:lnTo>
                        <a:pt x="675900" y="508194"/>
                      </a:lnTo>
                      <a:lnTo>
                        <a:pt x="676265" y="511643"/>
                      </a:lnTo>
                      <a:lnTo>
                        <a:pt x="675342" y="513379"/>
                      </a:lnTo>
                      <a:lnTo>
                        <a:pt x="675585" y="513853"/>
                      </a:lnTo>
                      <a:lnTo>
                        <a:pt x="674990" y="515140"/>
                      </a:lnTo>
                      <a:lnTo>
                        <a:pt x="677746" y="517010"/>
                      </a:lnTo>
                      <a:lnTo>
                        <a:pt x="677952" y="518006"/>
                      </a:lnTo>
                      <a:lnTo>
                        <a:pt x="680539" y="519001"/>
                      </a:lnTo>
                      <a:lnTo>
                        <a:pt x="684352" y="518771"/>
                      </a:lnTo>
                      <a:lnTo>
                        <a:pt x="684959" y="532164"/>
                      </a:lnTo>
                      <a:lnTo>
                        <a:pt x="685007" y="563214"/>
                      </a:lnTo>
                      <a:lnTo>
                        <a:pt x="686707" y="570257"/>
                      </a:lnTo>
                      <a:lnTo>
                        <a:pt x="687533" y="603601"/>
                      </a:lnTo>
                      <a:lnTo>
                        <a:pt x="686197" y="620116"/>
                      </a:lnTo>
                      <a:lnTo>
                        <a:pt x="684959" y="623236"/>
                      </a:lnTo>
                      <a:lnTo>
                        <a:pt x="684303" y="624621"/>
                      </a:lnTo>
                      <a:lnTo>
                        <a:pt x="679604" y="625592"/>
                      </a:lnTo>
                      <a:lnTo>
                        <a:pt x="676265" y="626709"/>
                      </a:lnTo>
                      <a:lnTo>
                        <a:pt x="671347" y="627559"/>
                      </a:lnTo>
                      <a:lnTo>
                        <a:pt x="670290" y="627171"/>
                      </a:lnTo>
                      <a:lnTo>
                        <a:pt x="670181" y="628227"/>
                      </a:lnTo>
                      <a:lnTo>
                        <a:pt x="665142" y="629660"/>
                      </a:lnTo>
                      <a:lnTo>
                        <a:pt x="630692" y="622338"/>
                      </a:lnTo>
                      <a:lnTo>
                        <a:pt x="627948" y="622168"/>
                      </a:lnTo>
                      <a:lnTo>
                        <a:pt x="625337" y="621621"/>
                      </a:lnTo>
                      <a:lnTo>
                        <a:pt x="623965" y="620188"/>
                      </a:lnTo>
                      <a:lnTo>
                        <a:pt x="623127" y="618343"/>
                      </a:lnTo>
                      <a:lnTo>
                        <a:pt x="623030" y="617165"/>
                      </a:lnTo>
                      <a:lnTo>
                        <a:pt x="619314" y="618331"/>
                      </a:lnTo>
                      <a:lnTo>
                        <a:pt x="609187" y="620018"/>
                      </a:lnTo>
                      <a:lnTo>
                        <a:pt x="604354" y="619824"/>
                      </a:lnTo>
                      <a:lnTo>
                        <a:pt x="598477" y="617371"/>
                      </a:lnTo>
                      <a:lnTo>
                        <a:pt x="597323" y="617092"/>
                      </a:lnTo>
                      <a:lnTo>
                        <a:pt x="595854" y="617639"/>
                      </a:lnTo>
                      <a:lnTo>
                        <a:pt x="592697" y="620541"/>
                      </a:lnTo>
                      <a:lnTo>
                        <a:pt x="581234" y="627256"/>
                      </a:lnTo>
                      <a:lnTo>
                        <a:pt x="578065" y="629891"/>
                      </a:lnTo>
                      <a:lnTo>
                        <a:pt x="576450" y="632198"/>
                      </a:lnTo>
                      <a:lnTo>
                        <a:pt x="576207" y="633631"/>
                      </a:lnTo>
                      <a:lnTo>
                        <a:pt x="576304" y="635671"/>
                      </a:lnTo>
                      <a:lnTo>
                        <a:pt x="575818" y="639642"/>
                      </a:lnTo>
                      <a:lnTo>
                        <a:pt x="573438" y="641366"/>
                      </a:lnTo>
                      <a:lnTo>
                        <a:pt x="570839" y="642204"/>
                      </a:lnTo>
                      <a:lnTo>
                        <a:pt x="570281" y="642859"/>
                      </a:lnTo>
                      <a:lnTo>
                        <a:pt x="569771" y="644705"/>
                      </a:lnTo>
                      <a:lnTo>
                        <a:pt x="570099" y="646405"/>
                      </a:lnTo>
                      <a:lnTo>
                        <a:pt x="571350" y="659046"/>
                      </a:lnTo>
                      <a:lnTo>
                        <a:pt x="572746" y="663296"/>
                      </a:lnTo>
                      <a:lnTo>
                        <a:pt x="580080" y="668772"/>
                      </a:lnTo>
                      <a:lnTo>
                        <a:pt x="569322" y="675961"/>
                      </a:lnTo>
                      <a:lnTo>
                        <a:pt x="562218" y="683210"/>
                      </a:lnTo>
                      <a:lnTo>
                        <a:pt x="551544" y="697818"/>
                      </a:lnTo>
                      <a:lnTo>
                        <a:pt x="547974" y="705141"/>
                      </a:lnTo>
                      <a:lnTo>
                        <a:pt x="544198" y="709597"/>
                      </a:lnTo>
                      <a:lnTo>
                        <a:pt x="543069" y="713677"/>
                      </a:lnTo>
                      <a:lnTo>
                        <a:pt x="539474" y="718571"/>
                      </a:lnTo>
                      <a:lnTo>
                        <a:pt x="531836" y="725541"/>
                      </a:lnTo>
                      <a:lnTo>
                        <a:pt x="521831" y="739554"/>
                      </a:lnTo>
                      <a:lnTo>
                        <a:pt x="521746" y="740392"/>
                      </a:lnTo>
                      <a:lnTo>
                        <a:pt x="521818" y="741788"/>
                      </a:lnTo>
                      <a:lnTo>
                        <a:pt x="521211" y="744714"/>
                      </a:lnTo>
                      <a:lnTo>
                        <a:pt x="519912" y="746949"/>
                      </a:lnTo>
                      <a:lnTo>
                        <a:pt x="517314" y="749232"/>
                      </a:lnTo>
                      <a:lnTo>
                        <a:pt x="516548" y="750009"/>
                      </a:lnTo>
                      <a:lnTo>
                        <a:pt x="515201" y="752267"/>
                      </a:lnTo>
                      <a:lnTo>
                        <a:pt x="513658" y="755558"/>
                      </a:lnTo>
                      <a:lnTo>
                        <a:pt x="512553" y="759298"/>
                      </a:lnTo>
                      <a:lnTo>
                        <a:pt x="511509" y="767907"/>
                      </a:lnTo>
                      <a:lnTo>
                        <a:pt x="509105" y="775849"/>
                      </a:lnTo>
                      <a:lnTo>
                        <a:pt x="509627" y="778678"/>
                      </a:lnTo>
                      <a:lnTo>
                        <a:pt x="512723" y="784555"/>
                      </a:lnTo>
                      <a:lnTo>
                        <a:pt x="517277" y="789935"/>
                      </a:lnTo>
                      <a:lnTo>
                        <a:pt x="531994" y="802891"/>
                      </a:lnTo>
                      <a:lnTo>
                        <a:pt x="537726" y="805150"/>
                      </a:lnTo>
                      <a:lnTo>
                        <a:pt x="544805" y="806619"/>
                      </a:lnTo>
                      <a:lnTo>
                        <a:pt x="569771" y="807056"/>
                      </a:lnTo>
                      <a:lnTo>
                        <a:pt x="572782" y="805708"/>
                      </a:lnTo>
                      <a:lnTo>
                        <a:pt x="576486" y="803025"/>
                      </a:lnTo>
                      <a:lnTo>
                        <a:pt x="582375" y="800256"/>
                      </a:lnTo>
                      <a:lnTo>
                        <a:pt x="588641" y="802490"/>
                      </a:lnTo>
                      <a:lnTo>
                        <a:pt x="590657" y="806534"/>
                      </a:lnTo>
                      <a:lnTo>
                        <a:pt x="589600" y="809230"/>
                      </a:lnTo>
                      <a:lnTo>
                        <a:pt x="588192" y="811428"/>
                      </a:lnTo>
                      <a:lnTo>
                        <a:pt x="588143" y="811841"/>
                      </a:lnTo>
                      <a:lnTo>
                        <a:pt x="588325" y="812836"/>
                      </a:lnTo>
                      <a:lnTo>
                        <a:pt x="588847" y="813577"/>
                      </a:lnTo>
                      <a:lnTo>
                        <a:pt x="589855" y="814646"/>
                      </a:lnTo>
                      <a:lnTo>
                        <a:pt x="590462" y="816236"/>
                      </a:lnTo>
                      <a:lnTo>
                        <a:pt x="591361" y="817426"/>
                      </a:lnTo>
                      <a:lnTo>
                        <a:pt x="593595" y="819381"/>
                      </a:lnTo>
                      <a:lnTo>
                        <a:pt x="606491" y="828877"/>
                      </a:lnTo>
                      <a:lnTo>
                        <a:pt x="612393" y="835349"/>
                      </a:lnTo>
                      <a:lnTo>
                        <a:pt x="605204" y="839454"/>
                      </a:lnTo>
                      <a:lnTo>
                        <a:pt x="600735" y="837329"/>
                      </a:lnTo>
                      <a:lnTo>
                        <a:pt x="588216" y="826606"/>
                      </a:lnTo>
                      <a:lnTo>
                        <a:pt x="575952" y="820013"/>
                      </a:lnTo>
                      <a:lnTo>
                        <a:pt x="565072" y="818823"/>
                      </a:lnTo>
                      <a:lnTo>
                        <a:pt x="562388" y="817171"/>
                      </a:lnTo>
                      <a:lnTo>
                        <a:pt x="560348" y="817293"/>
                      </a:lnTo>
                      <a:lnTo>
                        <a:pt x="556110" y="816151"/>
                      </a:lnTo>
                      <a:lnTo>
                        <a:pt x="554070" y="815921"/>
                      </a:lnTo>
                      <a:lnTo>
                        <a:pt x="547428" y="819248"/>
                      </a:lnTo>
                      <a:lnTo>
                        <a:pt x="540895" y="819054"/>
                      </a:lnTo>
                      <a:lnTo>
                        <a:pt x="539778" y="819576"/>
                      </a:lnTo>
                      <a:lnTo>
                        <a:pt x="538734" y="819904"/>
                      </a:lnTo>
                      <a:lnTo>
                        <a:pt x="532723" y="817450"/>
                      </a:lnTo>
                      <a:lnTo>
                        <a:pt x="526542" y="815811"/>
                      </a:lnTo>
                      <a:lnTo>
                        <a:pt x="520070" y="815046"/>
                      </a:lnTo>
                      <a:lnTo>
                        <a:pt x="515383" y="815617"/>
                      </a:lnTo>
                      <a:lnTo>
                        <a:pt x="514411" y="816151"/>
                      </a:lnTo>
                      <a:lnTo>
                        <a:pt x="510562" y="819503"/>
                      </a:lnTo>
                      <a:lnTo>
                        <a:pt x="507854" y="820061"/>
                      </a:lnTo>
                      <a:lnTo>
                        <a:pt x="505656" y="820013"/>
                      </a:lnTo>
                      <a:lnTo>
                        <a:pt x="503932" y="819661"/>
                      </a:lnTo>
                      <a:lnTo>
                        <a:pt x="502888" y="819709"/>
                      </a:lnTo>
                      <a:lnTo>
                        <a:pt x="496865" y="820596"/>
                      </a:lnTo>
                      <a:lnTo>
                        <a:pt x="494072" y="821433"/>
                      </a:lnTo>
                      <a:lnTo>
                        <a:pt x="489263" y="824129"/>
                      </a:lnTo>
                      <a:lnTo>
                        <a:pt x="481407" y="826121"/>
                      </a:lnTo>
                      <a:lnTo>
                        <a:pt x="479379" y="827566"/>
                      </a:lnTo>
                      <a:lnTo>
                        <a:pt x="478128" y="828889"/>
                      </a:lnTo>
                      <a:lnTo>
                        <a:pt x="475615" y="830686"/>
                      </a:lnTo>
                      <a:lnTo>
                        <a:pt x="472676" y="832010"/>
                      </a:lnTo>
                      <a:lnTo>
                        <a:pt x="461954" y="832860"/>
                      </a:lnTo>
                      <a:lnTo>
                        <a:pt x="461456" y="833163"/>
                      </a:lnTo>
                      <a:lnTo>
                        <a:pt x="460618" y="835252"/>
                      </a:lnTo>
                      <a:lnTo>
                        <a:pt x="458797" y="838361"/>
                      </a:lnTo>
                      <a:lnTo>
                        <a:pt x="455324" y="840049"/>
                      </a:lnTo>
                      <a:lnTo>
                        <a:pt x="451802" y="841032"/>
                      </a:lnTo>
                      <a:lnTo>
                        <a:pt x="426399" y="844056"/>
                      </a:lnTo>
                      <a:lnTo>
                        <a:pt x="420024" y="845550"/>
                      </a:lnTo>
                      <a:lnTo>
                        <a:pt x="413516" y="848549"/>
                      </a:lnTo>
                      <a:lnTo>
                        <a:pt x="407359" y="852556"/>
                      </a:lnTo>
                      <a:lnTo>
                        <a:pt x="381859" y="873514"/>
                      </a:lnTo>
                      <a:lnTo>
                        <a:pt x="378095" y="878141"/>
                      </a:lnTo>
                      <a:lnTo>
                        <a:pt x="371902" y="889349"/>
                      </a:lnTo>
                      <a:lnTo>
                        <a:pt x="371246" y="891802"/>
                      </a:lnTo>
                      <a:lnTo>
                        <a:pt x="370687" y="903690"/>
                      </a:lnTo>
                      <a:lnTo>
                        <a:pt x="370311" y="905815"/>
                      </a:lnTo>
                      <a:lnTo>
                        <a:pt x="375569" y="895760"/>
                      </a:lnTo>
                      <a:lnTo>
                        <a:pt x="378556" y="909810"/>
                      </a:lnTo>
                      <a:lnTo>
                        <a:pt x="375217" y="913744"/>
                      </a:lnTo>
                      <a:lnTo>
                        <a:pt x="371222" y="915614"/>
                      </a:lnTo>
                      <a:lnTo>
                        <a:pt x="368939" y="917156"/>
                      </a:lnTo>
                      <a:lnTo>
                        <a:pt x="368477" y="917921"/>
                      </a:lnTo>
                      <a:lnTo>
                        <a:pt x="366899" y="922560"/>
                      </a:lnTo>
                      <a:lnTo>
                        <a:pt x="363790" y="926713"/>
                      </a:lnTo>
                      <a:lnTo>
                        <a:pt x="366510" y="932347"/>
                      </a:lnTo>
                      <a:lnTo>
                        <a:pt x="362005" y="932347"/>
                      </a:lnTo>
                      <a:lnTo>
                        <a:pt x="362904" y="933731"/>
                      </a:lnTo>
                      <a:lnTo>
                        <a:pt x="364592" y="940957"/>
                      </a:lnTo>
                      <a:lnTo>
                        <a:pt x="361981" y="961818"/>
                      </a:lnTo>
                      <a:lnTo>
                        <a:pt x="360815" y="964659"/>
                      </a:lnTo>
                      <a:lnTo>
                        <a:pt x="358872" y="967367"/>
                      </a:lnTo>
                      <a:lnTo>
                        <a:pt x="353347" y="972601"/>
                      </a:lnTo>
                      <a:lnTo>
                        <a:pt x="352643" y="973451"/>
                      </a:lnTo>
                      <a:lnTo>
                        <a:pt x="349595" y="983930"/>
                      </a:lnTo>
                      <a:lnTo>
                        <a:pt x="347919" y="986614"/>
                      </a:lnTo>
                      <a:lnTo>
                        <a:pt x="347191" y="987658"/>
                      </a:lnTo>
                      <a:lnTo>
                        <a:pt x="342698" y="988411"/>
                      </a:lnTo>
                      <a:lnTo>
                        <a:pt x="336068" y="991228"/>
                      </a:lnTo>
                      <a:lnTo>
                        <a:pt x="300149" y="1012976"/>
                      </a:lnTo>
                      <a:lnTo>
                        <a:pt x="298449" y="1014980"/>
                      </a:lnTo>
                      <a:lnTo>
                        <a:pt x="293507" y="1021671"/>
                      </a:lnTo>
                      <a:lnTo>
                        <a:pt x="289864" y="1023480"/>
                      </a:lnTo>
                      <a:lnTo>
                        <a:pt x="268638" y="1027159"/>
                      </a:lnTo>
                      <a:lnTo>
                        <a:pt x="259992" y="1030158"/>
                      </a:lnTo>
                      <a:lnTo>
                        <a:pt x="255876" y="1033267"/>
                      </a:lnTo>
                      <a:lnTo>
                        <a:pt x="256823" y="1040625"/>
                      </a:lnTo>
                      <a:lnTo>
                        <a:pt x="243102" y="1042277"/>
                      </a:lnTo>
                      <a:close/>
                    </a:path>
                  </a:pathLst>
                </a:custGeom>
                <a:solidFill>
                  <a:srgbClr val="D7D7D2"/>
                </a:solidFill>
                <a:ln w="12138" cap="flat">
                  <a:noFill/>
                  <a:prstDash val="solid"/>
                  <a:miter/>
                </a:ln>
              </p:spPr>
              <p:txBody>
                <a:bodyPr rtlCol="0" anchor="ctr"/>
                <a:lstStyle/>
                <a:p>
                  <a:endParaRPr lang="en-US"/>
                </a:p>
              </p:txBody>
            </p:sp>
            <p:sp>
              <p:nvSpPr>
                <p:cNvPr id="343" name="Freeform: Shape 342">
                  <a:extLst>
                    <a:ext uri="{FF2B5EF4-FFF2-40B4-BE49-F238E27FC236}">
                      <a16:creationId xmlns:a16="http://schemas.microsoft.com/office/drawing/2014/main" id="{A37A70E4-5F76-4EBE-9C88-1C24633B4D39}"/>
                    </a:ext>
                  </a:extLst>
                </p:cNvPr>
                <p:cNvSpPr/>
                <p:nvPr/>
              </p:nvSpPr>
              <p:spPr>
                <a:xfrm>
                  <a:off x="4869296" y="5380348"/>
                  <a:ext cx="784555" cy="1048506"/>
                </a:xfrm>
                <a:custGeom>
                  <a:avLst/>
                  <a:gdLst>
                    <a:gd name="connsiteX0" fmla="*/ 720902 w 784555"/>
                    <a:gd name="connsiteY0" fmla="*/ 6242 h 1048506"/>
                    <a:gd name="connsiteX1" fmla="*/ 722153 w 784555"/>
                    <a:gd name="connsiteY1" fmla="*/ 6521 h 1048506"/>
                    <a:gd name="connsiteX2" fmla="*/ 726233 w 784555"/>
                    <a:gd name="connsiteY2" fmla="*/ 9387 h 1048506"/>
                    <a:gd name="connsiteX3" fmla="*/ 729001 w 784555"/>
                    <a:gd name="connsiteY3" fmla="*/ 10601 h 1048506"/>
                    <a:gd name="connsiteX4" fmla="*/ 733531 w 784555"/>
                    <a:gd name="connsiteY4" fmla="*/ 10783 h 1048506"/>
                    <a:gd name="connsiteX5" fmla="*/ 733822 w 784555"/>
                    <a:gd name="connsiteY5" fmla="*/ 11330 h 1048506"/>
                    <a:gd name="connsiteX6" fmla="*/ 733761 w 784555"/>
                    <a:gd name="connsiteY6" fmla="*/ 13333 h 1048506"/>
                    <a:gd name="connsiteX7" fmla="*/ 733531 w 784555"/>
                    <a:gd name="connsiteY7" fmla="*/ 14256 h 1048506"/>
                    <a:gd name="connsiteX8" fmla="*/ 733130 w 784555"/>
                    <a:gd name="connsiteY8" fmla="*/ 15434 h 1048506"/>
                    <a:gd name="connsiteX9" fmla="*/ 732098 w 784555"/>
                    <a:gd name="connsiteY9" fmla="*/ 17049 h 1048506"/>
                    <a:gd name="connsiteX10" fmla="*/ 731806 w 784555"/>
                    <a:gd name="connsiteY10" fmla="*/ 17838 h 1048506"/>
                    <a:gd name="connsiteX11" fmla="*/ 731527 w 784555"/>
                    <a:gd name="connsiteY11" fmla="*/ 18991 h 1048506"/>
                    <a:gd name="connsiteX12" fmla="*/ 731466 w 784555"/>
                    <a:gd name="connsiteY12" fmla="*/ 20024 h 1048506"/>
                    <a:gd name="connsiteX13" fmla="*/ 732377 w 784555"/>
                    <a:gd name="connsiteY13" fmla="*/ 20861 h 1048506"/>
                    <a:gd name="connsiteX14" fmla="*/ 734150 w 784555"/>
                    <a:gd name="connsiteY14" fmla="*/ 21226 h 1048506"/>
                    <a:gd name="connsiteX15" fmla="*/ 738752 w 784555"/>
                    <a:gd name="connsiteY15" fmla="*/ 20801 h 1048506"/>
                    <a:gd name="connsiteX16" fmla="*/ 741800 w 784555"/>
                    <a:gd name="connsiteY16" fmla="*/ 20861 h 1048506"/>
                    <a:gd name="connsiteX17" fmla="*/ 751101 w 784555"/>
                    <a:gd name="connsiteY17" fmla="*/ 22926 h 1048506"/>
                    <a:gd name="connsiteX18" fmla="*/ 755461 w 784555"/>
                    <a:gd name="connsiteY18" fmla="*/ 22525 h 1048506"/>
                    <a:gd name="connsiteX19" fmla="*/ 761775 w 784555"/>
                    <a:gd name="connsiteY19" fmla="*/ 19599 h 1048506"/>
                    <a:gd name="connsiteX20" fmla="*/ 761957 w 784555"/>
                    <a:gd name="connsiteY20" fmla="*/ 19137 h 1048506"/>
                    <a:gd name="connsiteX21" fmla="*/ 761957 w 784555"/>
                    <a:gd name="connsiteY21" fmla="*/ 19101 h 1048506"/>
                    <a:gd name="connsiteX22" fmla="*/ 763038 w 784555"/>
                    <a:gd name="connsiteY22" fmla="*/ 19174 h 1048506"/>
                    <a:gd name="connsiteX23" fmla="*/ 762358 w 784555"/>
                    <a:gd name="connsiteY23" fmla="*/ 22416 h 1048506"/>
                    <a:gd name="connsiteX24" fmla="*/ 764714 w 784555"/>
                    <a:gd name="connsiteY24" fmla="*/ 24577 h 1048506"/>
                    <a:gd name="connsiteX25" fmla="*/ 768150 w 784555"/>
                    <a:gd name="connsiteY25" fmla="*/ 26642 h 1048506"/>
                    <a:gd name="connsiteX26" fmla="*/ 770737 w 784555"/>
                    <a:gd name="connsiteY26" fmla="*/ 29714 h 1048506"/>
                    <a:gd name="connsiteX27" fmla="*/ 771708 w 784555"/>
                    <a:gd name="connsiteY27" fmla="*/ 27795 h 1048506"/>
                    <a:gd name="connsiteX28" fmla="*/ 772012 w 784555"/>
                    <a:gd name="connsiteY28" fmla="*/ 27018 h 1048506"/>
                    <a:gd name="connsiteX29" fmla="*/ 774477 w 784555"/>
                    <a:gd name="connsiteY29" fmla="*/ 26423 h 1048506"/>
                    <a:gd name="connsiteX30" fmla="*/ 775788 w 784555"/>
                    <a:gd name="connsiteY30" fmla="*/ 29714 h 1048506"/>
                    <a:gd name="connsiteX31" fmla="*/ 777682 w 784555"/>
                    <a:gd name="connsiteY31" fmla="*/ 36902 h 1048506"/>
                    <a:gd name="connsiteX32" fmla="*/ 778374 w 784555"/>
                    <a:gd name="connsiteY32" fmla="*/ 41917 h 1048506"/>
                    <a:gd name="connsiteX33" fmla="*/ 777974 w 784555"/>
                    <a:gd name="connsiteY33" fmla="*/ 47236 h 1048506"/>
                    <a:gd name="connsiteX34" fmla="*/ 776250 w 784555"/>
                    <a:gd name="connsiteY34" fmla="*/ 56853 h 1048506"/>
                    <a:gd name="connsiteX35" fmla="*/ 775849 w 784555"/>
                    <a:gd name="connsiteY35" fmla="*/ 62196 h 1048506"/>
                    <a:gd name="connsiteX36" fmla="*/ 773894 w 784555"/>
                    <a:gd name="connsiteY36" fmla="*/ 61419 h 1048506"/>
                    <a:gd name="connsiteX37" fmla="*/ 773141 w 784555"/>
                    <a:gd name="connsiteY37" fmla="*/ 60994 h 1048506"/>
                    <a:gd name="connsiteX38" fmla="*/ 772801 w 784555"/>
                    <a:gd name="connsiteY38" fmla="*/ 64491 h 1048506"/>
                    <a:gd name="connsiteX39" fmla="*/ 772012 w 784555"/>
                    <a:gd name="connsiteY39" fmla="*/ 67502 h 1048506"/>
                    <a:gd name="connsiteX40" fmla="*/ 772862 w 784555"/>
                    <a:gd name="connsiteY40" fmla="*/ 67138 h 1048506"/>
                    <a:gd name="connsiteX41" fmla="*/ 775849 w 784555"/>
                    <a:gd name="connsiteY41" fmla="*/ 66337 h 1048506"/>
                    <a:gd name="connsiteX42" fmla="*/ 775570 w 784555"/>
                    <a:gd name="connsiteY42" fmla="*/ 70721 h 1048506"/>
                    <a:gd name="connsiteX43" fmla="*/ 773954 w 784555"/>
                    <a:gd name="connsiteY43" fmla="*/ 74145 h 1048506"/>
                    <a:gd name="connsiteX44" fmla="*/ 772012 w 784555"/>
                    <a:gd name="connsiteY44" fmla="*/ 77193 h 1048506"/>
                    <a:gd name="connsiteX45" fmla="*/ 770737 w 784555"/>
                    <a:gd name="connsiteY45" fmla="*/ 80666 h 1048506"/>
                    <a:gd name="connsiteX46" fmla="*/ 770737 w 784555"/>
                    <a:gd name="connsiteY46" fmla="*/ 82669 h 1048506"/>
                    <a:gd name="connsiteX47" fmla="*/ 772012 w 784555"/>
                    <a:gd name="connsiteY47" fmla="*/ 88352 h 1048506"/>
                    <a:gd name="connsiteX48" fmla="*/ 770907 w 784555"/>
                    <a:gd name="connsiteY48" fmla="*/ 90222 h 1048506"/>
                    <a:gd name="connsiteX49" fmla="*/ 767470 w 784555"/>
                    <a:gd name="connsiteY49" fmla="*/ 93901 h 1048506"/>
                    <a:gd name="connsiteX50" fmla="*/ 766778 w 784555"/>
                    <a:gd name="connsiteY50" fmla="*/ 95650 h 1048506"/>
                    <a:gd name="connsiteX51" fmla="*/ 766195 w 784555"/>
                    <a:gd name="connsiteY51" fmla="*/ 102948 h 1048506"/>
                    <a:gd name="connsiteX52" fmla="*/ 763621 w 784555"/>
                    <a:gd name="connsiteY52" fmla="*/ 116706 h 1048506"/>
                    <a:gd name="connsiteX53" fmla="*/ 762516 w 784555"/>
                    <a:gd name="connsiteY53" fmla="*/ 139935 h 1048506"/>
                    <a:gd name="connsiteX54" fmla="*/ 760342 w 784555"/>
                    <a:gd name="connsiteY54" fmla="*/ 153827 h 1048506"/>
                    <a:gd name="connsiteX55" fmla="*/ 756954 w 784555"/>
                    <a:gd name="connsiteY55" fmla="*/ 163626 h 1048506"/>
                    <a:gd name="connsiteX56" fmla="*/ 756032 w 784555"/>
                    <a:gd name="connsiteY56" fmla="*/ 170487 h 1048506"/>
                    <a:gd name="connsiteX57" fmla="*/ 754842 w 784555"/>
                    <a:gd name="connsiteY57" fmla="*/ 173353 h 1048506"/>
                    <a:gd name="connsiteX58" fmla="*/ 751381 w 784555"/>
                    <a:gd name="connsiteY58" fmla="*/ 178671 h 1048506"/>
                    <a:gd name="connsiteX59" fmla="*/ 750009 w 784555"/>
                    <a:gd name="connsiteY59" fmla="*/ 182169 h 1048506"/>
                    <a:gd name="connsiteX60" fmla="*/ 747884 w 784555"/>
                    <a:gd name="connsiteY60" fmla="*/ 191033 h 1048506"/>
                    <a:gd name="connsiteX61" fmla="*/ 747544 w 784555"/>
                    <a:gd name="connsiteY61" fmla="*/ 194906 h 1048506"/>
                    <a:gd name="connsiteX62" fmla="*/ 746851 w 784555"/>
                    <a:gd name="connsiteY62" fmla="*/ 197614 h 1048506"/>
                    <a:gd name="connsiteX63" fmla="*/ 742431 w 784555"/>
                    <a:gd name="connsiteY63" fmla="*/ 208689 h 1048506"/>
                    <a:gd name="connsiteX64" fmla="*/ 735886 w 784555"/>
                    <a:gd name="connsiteY64" fmla="*/ 219653 h 1048506"/>
                    <a:gd name="connsiteX65" fmla="*/ 735085 w 784555"/>
                    <a:gd name="connsiteY65" fmla="*/ 222701 h 1048506"/>
                    <a:gd name="connsiteX66" fmla="*/ 731175 w 784555"/>
                    <a:gd name="connsiteY66" fmla="*/ 230048 h 1048506"/>
                    <a:gd name="connsiteX67" fmla="*/ 729511 w 784555"/>
                    <a:gd name="connsiteY67" fmla="*/ 232197 h 1048506"/>
                    <a:gd name="connsiteX68" fmla="*/ 725079 w 784555"/>
                    <a:gd name="connsiteY68" fmla="*/ 234760 h 1048506"/>
                    <a:gd name="connsiteX69" fmla="*/ 724399 w 784555"/>
                    <a:gd name="connsiteY69" fmla="*/ 235391 h 1048506"/>
                    <a:gd name="connsiteX70" fmla="*/ 723950 w 784555"/>
                    <a:gd name="connsiteY70" fmla="*/ 235974 h 1048506"/>
                    <a:gd name="connsiteX71" fmla="*/ 717963 w 784555"/>
                    <a:gd name="connsiteY71" fmla="*/ 246380 h 1048506"/>
                    <a:gd name="connsiteX72" fmla="*/ 714126 w 784555"/>
                    <a:gd name="connsiteY72" fmla="*/ 250254 h 1048506"/>
                    <a:gd name="connsiteX73" fmla="*/ 704193 w 784555"/>
                    <a:gd name="connsiteY73" fmla="*/ 255220 h 1048506"/>
                    <a:gd name="connsiteX74" fmla="*/ 702639 w 784555"/>
                    <a:gd name="connsiteY74" fmla="*/ 257540 h 1048506"/>
                    <a:gd name="connsiteX75" fmla="*/ 704351 w 784555"/>
                    <a:gd name="connsiteY75" fmla="*/ 258341 h 1048506"/>
                    <a:gd name="connsiteX76" fmla="*/ 708273 w 784555"/>
                    <a:gd name="connsiteY76" fmla="*/ 256641 h 1048506"/>
                    <a:gd name="connsiteX77" fmla="*/ 714126 w 784555"/>
                    <a:gd name="connsiteY77" fmla="*/ 252962 h 1048506"/>
                    <a:gd name="connsiteX78" fmla="*/ 703319 w 784555"/>
                    <a:gd name="connsiteY78" fmla="*/ 269731 h 1048506"/>
                    <a:gd name="connsiteX79" fmla="*/ 700684 w 784555"/>
                    <a:gd name="connsiteY79" fmla="*/ 272572 h 1048506"/>
                    <a:gd name="connsiteX80" fmla="*/ 699543 w 784555"/>
                    <a:gd name="connsiteY80" fmla="*/ 274260 h 1048506"/>
                    <a:gd name="connsiteX81" fmla="*/ 693848 w 784555"/>
                    <a:gd name="connsiteY81" fmla="*/ 285893 h 1048506"/>
                    <a:gd name="connsiteX82" fmla="*/ 688796 w 784555"/>
                    <a:gd name="connsiteY82" fmla="*/ 291843 h 1048506"/>
                    <a:gd name="connsiteX83" fmla="*/ 687254 w 784555"/>
                    <a:gd name="connsiteY83" fmla="*/ 294770 h 1048506"/>
                    <a:gd name="connsiteX84" fmla="*/ 687023 w 784555"/>
                    <a:gd name="connsiteY84" fmla="*/ 296773 h 1048506"/>
                    <a:gd name="connsiteX85" fmla="*/ 687254 w 784555"/>
                    <a:gd name="connsiteY85" fmla="*/ 303136 h 1048506"/>
                    <a:gd name="connsiteX86" fmla="*/ 686841 w 784555"/>
                    <a:gd name="connsiteY86" fmla="*/ 304144 h 1048506"/>
                    <a:gd name="connsiteX87" fmla="*/ 685068 w 784555"/>
                    <a:gd name="connsiteY87" fmla="*/ 306731 h 1048506"/>
                    <a:gd name="connsiteX88" fmla="*/ 684959 w 784555"/>
                    <a:gd name="connsiteY88" fmla="*/ 307483 h 1048506"/>
                    <a:gd name="connsiteX89" fmla="*/ 684838 w 784555"/>
                    <a:gd name="connsiteY89" fmla="*/ 307520 h 1048506"/>
                    <a:gd name="connsiteX90" fmla="*/ 680478 w 784555"/>
                    <a:gd name="connsiteY90" fmla="*/ 309013 h 1048506"/>
                    <a:gd name="connsiteX91" fmla="*/ 677770 w 784555"/>
                    <a:gd name="connsiteY91" fmla="*/ 311078 h 1048506"/>
                    <a:gd name="connsiteX92" fmla="*/ 673982 w 784555"/>
                    <a:gd name="connsiteY92" fmla="*/ 314781 h 1048506"/>
                    <a:gd name="connsiteX93" fmla="*/ 672658 w 784555"/>
                    <a:gd name="connsiteY93" fmla="*/ 315413 h 1048506"/>
                    <a:gd name="connsiteX94" fmla="*/ 671456 w 784555"/>
                    <a:gd name="connsiteY94" fmla="*/ 315291 h 1048506"/>
                    <a:gd name="connsiteX95" fmla="*/ 670254 w 784555"/>
                    <a:gd name="connsiteY95" fmla="*/ 313834 h 1048506"/>
                    <a:gd name="connsiteX96" fmla="*/ 669501 w 784555"/>
                    <a:gd name="connsiteY96" fmla="*/ 313166 h 1048506"/>
                    <a:gd name="connsiteX97" fmla="*/ 667728 w 784555"/>
                    <a:gd name="connsiteY97" fmla="*/ 312110 h 1048506"/>
                    <a:gd name="connsiteX98" fmla="*/ 667097 w 784555"/>
                    <a:gd name="connsiteY98" fmla="*/ 311527 h 1048506"/>
                    <a:gd name="connsiteX99" fmla="*/ 666842 w 784555"/>
                    <a:gd name="connsiteY99" fmla="*/ 310762 h 1048506"/>
                    <a:gd name="connsiteX100" fmla="*/ 667145 w 784555"/>
                    <a:gd name="connsiteY100" fmla="*/ 309876 h 1048506"/>
                    <a:gd name="connsiteX101" fmla="*/ 669659 w 784555"/>
                    <a:gd name="connsiteY101" fmla="*/ 307144 h 1048506"/>
                    <a:gd name="connsiteX102" fmla="*/ 670181 w 784555"/>
                    <a:gd name="connsiteY102" fmla="*/ 306342 h 1048506"/>
                    <a:gd name="connsiteX103" fmla="*/ 670521 w 784555"/>
                    <a:gd name="connsiteY103" fmla="*/ 305286 h 1048506"/>
                    <a:gd name="connsiteX104" fmla="*/ 670521 w 784555"/>
                    <a:gd name="connsiteY104" fmla="*/ 304302 h 1048506"/>
                    <a:gd name="connsiteX105" fmla="*/ 669719 w 784555"/>
                    <a:gd name="connsiteY105" fmla="*/ 303245 h 1048506"/>
                    <a:gd name="connsiteX106" fmla="*/ 668287 w 784555"/>
                    <a:gd name="connsiteY106" fmla="*/ 303124 h 1048506"/>
                    <a:gd name="connsiteX107" fmla="*/ 662725 w 784555"/>
                    <a:gd name="connsiteY107" fmla="*/ 304096 h 1048506"/>
                    <a:gd name="connsiteX108" fmla="*/ 660819 w 784555"/>
                    <a:gd name="connsiteY108" fmla="*/ 303792 h 1048506"/>
                    <a:gd name="connsiteX109" fmla="*/ 659265 w 784555"/>
                    <a:gd name="connsiteY109" fmla="*/ 302663 h 1048506"/>
                    <a:gd name="connsiteX110" fmla="*/ 658184 w 784555"/>
                    <a:gd name="connsiteY110" fmla="*/ 300999 h 1048506"/>
                    <a:gd name="connsiteX111" fmla="*/ 656642 w 784555"/>
                    <a:gd name="connsiteY111" fmla="*/ 299129 h 1048506"/>
                    <a:gd name="connsiteX112" fmla="*/ 655476 w 784555"/>
                    <a:gd name="connsiteY112" fmla="*/ 298583 h 1048506"/>
                    <a:gd name="connsiteX113" fmla="*/ 654626 w 784555"/>
                    <a:gd name="connsiteY113" fmla="*/ 298704 h 1048506"/>
                    <a:gd name="connsiteX114" fmla="*/ 654395 w 784555"/>
                    <a:gd name="connsiteY114" fmla="*/ 298886 h 1048506"/>
                    <a:gd name="connsiteX115" fmla="*/ 654274 w 784555"/>
                    <a:gd name="connsiteY115" fmla="*/ 298995 h 1048506"/>
                    <a:gd name="connsiteX116" fmla="*/ 652440 w 784555"/>
                    <a:gd name="connsiteY116" fmla="*/ 301096 h 1048506"/>
                    <a:gd name="connsiteX117" fmla="*/ 651639 w 784555"/>
                    <a:gd name="connsiteY117" fmla="*/ 302335 h 1048506"/>
                    <a:gd name="connsiteX118" fmla="*/ 651408 w 784555"/>
                    <a:gd name="connsiteY118" fmla="*/ 303573 h 1048506"/>
                    <a:gd name="connsiteX119" fmla="*/ 651748 w 784555"/>
                    <a:gd name="connsiteY119" fmla="*/ 304752 h 1048506"/>
                    <a:gd name="connsiteX120" fmla="*/ 655148 w 784555"/>
                    <a:gd name="connsiteY120" fmla="*/ 307799 h 1048506"/>
                    <a:gd name="connsiteX121" fmla="*/ 655658 w 784555"/>
                    <a:gd name="connsiteY121" fmla="*/ 309013 h 1048506"/>
                    <a:gd name="connsiteX122" fmla="*/ 655767 w 784555"/>
                    <a:gd name="connsiteY122" fmla="*/ 309900 h 1048506"/>
                    <a:gd name="connsiteX123" fmla="*/ 655658 w 784555"/>
                    <a:gd name="connsiteY123" fmla="*/ 311066 h 1048506"/>
                    <a:gd name="connsiteX124" fmla="*/ 655658 w 784555"/>
                    <a:gd name="connsiteY124" fmla="*/ 312292 h 1048506"/>
                    <a:gd name="connsiteX125" fmla="*/ 655889 w 784555"/>
                    <a:gd name="connsiteY125" fmla="*/ 313264 h 1048506"/>
                    <a:gd name="connsiteX126" fmla="*/ 656520 w 784555"/>
                    <a:gd name="connsiteY126" fmla="*/ 314065 h 1048506"/>
                    <a:gd name="connsiteX127" fmla="*/ 657953 w 784555"/>
                    <a:gd name="connsiteY127" fmla="*/ 314636 h 1048506"/>
                    <a:gd name="connsiteX128" fmla="*/ 658585 w 784555"/>
                    <a:gd name="connsiteY128" fmla="*/ 315328 h 1048506"/>
                    <a:gd name="connsiteX129" fmla="*/ 658925 w 784555"/>
                    <a:gd name="connsiteY129" fmla="*/ 317003 h 1048506"/>
                    <a:gd name="connsiteX130" fmla="*/ 658925 w 784555"/>
                    <a:gd name="connsiteY130" fmla="*/ 318728 h 1048506"/>
                    <a:gd name="connsiteX131" fmla="*/ 658463 w 784555"/>
                    <a:gd name="connsiteY131" fmla="*/ 320561 h 1048506"/>
                    <a:gd name="connsiteX132" fmla="*/ 657892 w 784555"/>
                    <a:gd name="connsiteY132" fmla="*/ 321994 h 1048506"/>
                    <a:gd name="connsiteX133" fmla="*/ 656860 w 784555"/>
                    <a:gd name="connsiteY133" fmla="*/ 323913 h 1048506"/>
                    <a:gd name="connsiteX134" fmla="*/ 656860 w 784555"/>
                    <a:gd name="connsiteY134" fmla="*/ 325176 h 1048506"/>
                    <a:gd name="connsiteX135" fmla="*/ 657431 w 784555"/>
                    <a:gd name="connsiteY135" fmla="*/ 325977 h 1048506"/>
                    <a:gd name="connsiteX136" fmla="*/ 658463 w 784555"/>
                    <a:gd name="connsiteY136" fmla="*/ 326232 h 1048506"/>
                    <a:gd name="connsiteX137" fmla="*/ 659568 w 784555"/>
                    <a:gd name="connsiteY137" fmla="*/ 326645 h 1048506"/>
                    <a:gd name="connsiteX138" fmla="*/ 660418 w 784555"/>
                    <a:gd name="connsiteY138" fmla="*/ 327264 h 1048506"/>
                    <a:gd name="connsiteX139" fmla="*/ 661972 w 784555"/>
                    <a:gd name="connsiteY139" fmla="*/ 329110 h 1048506"/>
                    <a:gd name="connsiteX140" fmla="*/ 662786 w 784555"/>
                    <a:gd name="connsiteY140" fmla="*/ 329596 h 1048506"/>
                    <a:gd name="connsiteX141" fmla="*/ 663575 w 784555"/>
                    <a:gd name="connsiteY141" fmla="*/ 329741 h 1048506"/>
                    <a:gd name="connsiteX142" fmla="*/ 664547 w 784555"/>
                    <a:gd name="connsiteY142" fmla="*/ 329560 h 1048506"/>
                    <a:gd name="connsiteX143" fmla="*/ 665470 w 784555"/>
                    <a:gd name="connsiteY143" fmla="*/ 329560 h 1048506"/>
                    <a:gd name="connsiteX144" fmla="*/ 666392 w 784555"/>
                    <a:gd name="connsiteY144" fmla="*/ 329741 h 1048506"/>
                    <a:gd name="connsiteX145" fmla="*/ 667364 w 784555"/>
                    <a:gd name="connsiteY145" fmla="*/ 330082 h 1048506"/>
                    <a:gd name="connsiteX146" fmla="*/ 671335 w 784555"/>
                    <a:gd name="connsiteY146" fmla="*/ 330883 h 1048506"/>
                    <a:gd name="connsiteX147" fmla="*/ 676386 w 784555"/>
                    <a:gd name="connsiteY147" fmla="*/ 330786 h 1048506"/>
                    <a:gd name="connsiteX148" fmla="*/ 677649 w 784555"/>
                    <a:gd name="connsiteY148" fmla="*/ 330762 h 1048506"/>
                    <a:gd name="connsiteX149" fmla="*/ 676216 w 784555"/>
                    <a:gd name="connsiteY149" fmla="*/ 337768 h 1048506"/>
                    <a:gd name="connsiteX150" fmla="*/ 674261 w 784555"/>
                    <a:gd name="connsiteY150" fmla="*/ 339286 h 1048506"/>
                    <a:gd name="connsiteX151" fmla="*/ 672998 w 784555"/>
                    <a:gd name="connsiteY151" fmla="*/ 342880 h 1048506"/>
                    <a:gd name="connsiteX152" fmla="*/ 669428 w 784555"/>
                    <a:gd name="connsiteY152" fmla="*/ 361046 h 1048506"/>
                    <a:gd name="connsiteX153" fmla="*/ 668809 w 784555"/>
                    <a:gd name="connsiteY153" fmla="*/ 368514 h 1048506"/>
                    <a:gd name="connsiteX154" fmla="*/ 667024 w 784555"/>
                    <a:gd name="connsiteY154" fmla="*/ 375605 h 1048506"/>
                    <a:gd name="connsiteX155" fmla="*/ 666623 w 784555"/>
                    <a:gd name="connsiteY155" fmla="*/ 379418 h 1048506"/>
                    <a:gd name="connsiteX156" fmla="*/ 667655 w 784555"/>
                    <a:gd name="connsiteY156" fmla="*/ 387165 h 1048506"/>
                    <a:gd name="connsiteX157" fmla="*/ 672015 w 784555"/>
                    <a:gd name="connsiteY157" fmla="*/ 400656 h 1048506"/>
                    <a:gd name="connsiteX158" fmla="*/ 672998 w 784555"/>
                    <a:gd name="connsiteY158" fmla="*/ 408039 h 1048506"/>
                    <a:gd name="connsiteX159" fmla="*/ 674322 w 784555"/>
                    <a:gd name="connsiteY159" fmla="*/ 408039 h 1048506"/>
                    <a:gd name="connsiteX160" fmla="*/ 675123 w 784555"/>
                    <a:gd name="connsiteY160" fmla="*/ 406400 h 1048506"/>
                    <a:gd name="connsiteX161" fmla="*/ 675463 w 784555"/>
                    <a:gd name="connsiteY161" fmla="*/ 404991 h 1048506"/>
                    <a:gd name="connsiteX162" fmla="*/ 675172 w 784555"/>
                    <a:gd name="connsiteY162" fmla="*/ 403838 h 1048506"/>
                    <a:gd name="connsiteX163" fmla="*/ 674322 w 784555"/>
                    <a:gd name="connsiteY163" fmla="*/ 402866 h 1048506"/>
                    <a:gd name="connsiteX164" fmla="*/ 677370 w 784555"/>
                    <a:gd name="connsiteY164" fmla="*/ 403267 h 1048506"/>
                    <a:gd name="connsiteX165" fmla="*/ 678742 w 784555"/>
                    <a:gd name="connsiteY165" fmla="*/ 404846 h 1048506"/>
                    <a:gd name="connsiteX166" fmla="*/ 679774 w 784555"/>
                    <a:gd name="connsiteY166" fmla="*/ 414718 h 1048506"/>
                    <a:gd name="connsiteX167" fmla="*/ 679252 w 784555"/>
                    <a:gd name="connsiteY167" fmla="*/ 416527 h 1048506"/>
                    <a:gd name="connsiteX168" fmla="*/ 677588 w 784555"/>
                    <a:gd name="connsiteY168" fmla="*/ 417013 h 1048506"/>
                    <a:gd name="connsiteX169" fmla="*/ 672367 w 784555"/>
                    <a:gd name="connsiteY169" fmla="*/ 417013 h 1048506"/>
                    <a:gd name="connsiteX170" fmla="*/ 671152 w 784555"/>
                    <a:gd name="connsiteY170" fmla="*/ 416758 h 1048506"/>
                    <a:gd name="connsiteX171" fmla="*/ 669890 w 784555"/>
                    <a:gd name="connsiteY171" fmla="*/ 416636 h 1048506"/>
                    <a:gd name="connsiteX172" fmla="*/ 667886 w 784555"/>
                    <a:gd name="connsiteY172" fmla="*/ 417122 h 1048506"/>
                    <a:gd name="connsiteX173" fmla="*/ 666222 w 784555"/>
                    <a:gd name="connsiteY173" fmla="*/ 418009 h 1048506"/>
                    <a:gd name="connsiteX174" fmla="*/ 664437 w 784555"/>
                    <a:gd name="connsiteY174" fmla="*/ 419393 h 1048506"/>
                    <a:gd name="connsiteX175" fmla="*/ 653934 w 784555"/>
                    <a:gd name="connsiteY175" fmla="*/ 429702 h 1048506"/>
                    <a:gd name="connsiteX176" fmla="*/ 652440 w 784555"/>
                    <a:gd name="connsiteY176" fmla="*/ 432689 h 1048506"/>
                    <a:gd name="connsiteX177" fmla="*/ 653703 w 784555"/>
                    <a:gd name="connsiteY177" fmla="*/ 432689 h 1048506"/>
                    <a:gd name="connsiteX178" fmla="*/ 656180 w 784555"/>
                    <a:gd name="connsiteY178" fmla="*/ 431366 h 1048506"/>
                    <a:gd name="connsiteX179" fmla="*/ 664790 w 784555"/>
                    <a:gd name="connsiteY179" fmla="*/ 425246 h 1048506"/>
                    <a:gd name="connsiteX180" fmla="*/ 666623 w 784555"/>
                    <a:gd name="connsiteY180" fmla="*/ 424311 h 1048506"/>
                    <a:gd name="connsiteX181" fmla="*/ 667995 w 784555"/>
                    <a:gd name="connsiteY181" fmla="*/ 420923 h 1048506"/>
                    <a:gd name="connsiteX182" fmla="*/ 671213 w 784555"/>
                    <a:gd name="connsiteY182" fmla="*/ 420060 h 1048506"/>
                    <a:gd name="connsiteX183" fmla="*/ 675062 w 784555"/>
                    <a:gd name="connsiteY183" fmla="*/ 420814 h 1048506"/>
                    <a:gd name="connsiteX184" fmla="*/ 680053 w 784555"/>
                    <a:gd name="connsiteY184" fmla="*/ 423169 h 1048506"/>
                    <a:gd name="connsiteX185" fmla="*/ 681267 w 784555"/>
                    <a:gd name="connsiteY185" fmla="*/ 423254 h 1048506"/>
                    <a:gd name="connsiteX186" fmla="*/ 681838 w 784555"/>
                    <a:gd name="connsiteY186" fmla="*/ 424056 h 1048506"/>
                    <a:gd name="connsiteX187" fmla="*/ 682178 w 784555"/>
                    <a:gd name="connsiteY187" fmla="*/ 438870 h 1048506"/>
                    <a:gd name="connsiteX188" fmla="*/ 686040 w 784555"/>
                    <a:gd name="connsiteY188" fmla="*/ 458627 h 1048506"/>
                    <a:gd name="connsiteX189" fmla="*/ 685457 w 784555"/>
                    <a:gd name="connsiteY189" fmla="*/ 487648 h 1048506"/>
                    <a:gd name="connsiteX190" fmla="*/ 684364 w 784555"/>
                    <a:gd name="connsiteY190" fmla="*/ 492797 h 1048506"/>
                    <a:gd name="connsiteX191" fmla="*/ 680284 w 784555"/>
                    <a:gd name="connsiteY191" fmla="*/ 491874 h 1048506"/>
                    <a:gd name="connsiteX192" fmla="*/ 676787 w 784555"/>
                    <a:gd name="connsiteY192" fmla="*/ 491728 h 1048506"/>
                    <a:gd name="connsiteX193" fmla="*/ 673751 w 784555"/>
                    <a:gd name="connsiteY193" fmla="*/ 493538 h 1048506"/>
                    <a:gd name="connsiteX194" fmla="*/ 672828 w 784555"/>
                    <a:gd name="connsiteY194" fmla="*/ 494485 h 1048506"/>
                    <a:gd name="connsiteX195" fmla="*/ 671395 w 784555"/>
                    <a:gd name="connsiteY195" fmla="*/ 494303 h 1048506"/>
                    <a:gd name="connsiteX196" fmla="*/ 667716 w 784555"/>
                    <a:gd name="connsiteY196" fmla="*/ 492639 h 1048506"/>
                    <a:gd name="connsiteX197" fmla="*/ 663915 w 784555"/>
                    <a:gd name="connsiteY197" fmla="*/ 491570 h 1048506"/>
                    <a:gd name="connsiteX198" fmla="*/ 662665 w 784555"/>
                    <a:gd name="connsiteY198" fmla="*/ 492153 h 1048506"/>
                    <a:gd name="connsiteX199" fmla="*/ 662264 w 784555"/>
                    <a:gd name="connsiteY199" fmla="*/ 493489 h 1048506"/>
                    <a:gd name="connsiteX200" fmla="*/ 663126 w 784555"/>
                    <a:gd name="connsiteY200" fmla="*/ 494448 h 1048506"/>
                    <a:gd name="connsiteX201" fmla="*/ 664316 w 784555"/>
                    <a:gd name="connsiteY201" fmla="*/ 494983 h 1048506"/>
                    <a:gd name="connsiteX202" fmla="*/ 665008 w 784555"/>
                    <a:gd name="connsiteY202" fmla="*/ 496634 h 1048506"/>
                    <a:gd name="connsiteX203" fmla="*/ 665190 w 784555"/>
                    <a:gd name="connsiteY203" fmla="*/ 499099 h 1048506"/>
                    <a:gd name="connsiteX204" fmla="*/ 664959 w 784555"/>
                    <a:gd name="connsiteY204" fmla="*/ 499609 h 1048506"/>
                    <a:gd name="connsiteX205" fmla="*/ 663915 w 784555"/>
                    <a:gd name="connsiteY205" fmla="*/ 500010 h 1048506"/>
                    <a:gd name="connsiteX206" fmla="*/ 663005 w 784555"/>
                    <a:gd name="connsiteY206" fmla="*/ 500131 h 1048506"/>
                    <a:gd name="connsiteX207" fmla="*/ 660770 w 784555"/>
                    <a:gd name="connsiteY207" fmla="*/ 498128 h 1048506"/>
                    <a:gd name="connsiteX208" fmla="*/ 657832 w 784555"/>
                    <a:gd name="connsiteY208" fmla="*/ 498140 h 1048506"/>
                    <a:gd name="connsiteX209" fmla="*/ 657662 w 784555"/>
                    <a:gd name="connsiteY209" fmla="*/ 499670 h 1048506"/>
                    <a:gd name="connsiteX210" fmla="*/ 658754 w 784555"/>
                    <a:gd name="connsiteY210" fmla="*/ 500884 h 1048506"/>
                    <a:gd name="connsiteX211" fmla="*/ 660139 w 784555"/>
                    <a:gd name="connsiteY211" fmla="*/ 501248 h 1048506"/>
                    <a:gd name="connsiteX212" fmla="*/ 659568 w 784555"/>
                    <a:gd name="connsiteY212" fmla="*/ 502426 h 1048506"/>
                    <a:gd name="connsiteX213" fmla="*/ 658014 w 784555"/>
                    <a:gd name="connsiteY213" fmla="*/ 503896 h 1048506"/>
                    <a:gd name="connsiteX214" fmla="*/ 657892 w 784555"/>
                    <a:gd name="connsiteY214" fmla="*/ 505960 h 1048506"/>
                    <a:gd name="connsiteX215" fmla="*/ 659216 w 784555"/>
                    <a:gd name="connsiteY215" fmla="*/ 507223 h 1048506"/>
                    <a:gd name="connsiteX216" fmla="*/ 660819 w 784555"/>
                    <a:gd name="connsiteY216" fmla="*/ 507988 h 1048506"/>
                    <a:gd name="connsiteX217" fmla="*/ 662725 w 784555"/>
                    <a:gd name="connsiteY217" fmla="*/ 508024 h 1048506"/>
                    <a:gd name="connsiteX218" fmla="*/ 664377 w 784555"/>
                    <a:gd name="connsiteY218" fmla="*/ 508740 h 1048506"/>
                    <a:gd name="connsiteX219" fmla="*/ 664959 w 784555"/>
                    <a:gd name="connsiteY219" fmla="*/ 510501 h 1048506"/>
                    <a:gd name="connsiteX220" fmla="*/ 666283 w 784555"/>
                    <a:gd name="connsiteY220" fmla="*/ 511072 h 1048506"/>
                    <a:gd name="connsiteX221" fmla="*/ 667934 w 784555"/>
                    <a:gd name="connsiteY221" fmla="*/ 510100 h 1048506"/>
                    <a:gd name="connsiteX222" fmla="*/ 669489 w 784555"/>
                    <a:gd name="connsiteY222" fmla="*/ 510137 h 1048506"/>
                    <a:gd name="connsiteX223" fmla="*/ 670181 w 784555"/>
                    <a:gd name="connsiteY223" fmla="*/ 510732 h 1048506"/>
                    <a:gd name="connsiteX224" fmla="*/ 670460 w 784555"/>
                    <a:gd name="connsiteY224" fmla="*/ 511594 h 1048506"/>
                    <a:gd name="connsiteX225" fmla="*/ 670302 w 784555"/>
                    <a:gd name="connsiteY225" fmla="*/ 512590 h 1048506"/>
                    <a:gd name="connsiteX226" fmla="*/ 670825 w 784555"/>
                    <a:gd name="connsiteY226" fmla="*/ 513294 h 1048506"/>
                    <a:gd name="connsiteX227" fmla="*/ 672646 w 784555"/>
                    <a:gd name="connsiteY227" fmla="*/ 512687 h 1048506"/>
                    <a:gd name="connsiteX228" fmla="*/ 673751 w 784555"/>
                    <a:gd name="connsiteY228" fmla="*/ 512748 h 1048506"/>
                    <a:gd name="connsiteX229" fmla="*/ 674783 w 784555"/>
                    <a:gd name="connsiteY229" fmla="*/ 512978 h 1048506"/>
                    <a:gd name="connsiteX230" fmla="*/ 676155 w 784555"/>
                    <a:gd name="connsiteY230" fmla="*/ 513500 h 1048506"/>
                    <a:gd name="connsiteX231" fmla="*/ 676265 w 784555"/>
                    <a:gd name="connsiteY231" fmla="*/ 514557 h 1048506"/>
                    <a:gd name="connsiteX232" fmla="*/ 674783 w 784555"/>
                    <a:gd name="connsiteY232" fmla="*/ 515820 h 1048506"/>
                    <a:gd name="connsiteX233" fmla="*/ 674941 w 784555"/>
                    <a:gd name="connsiteY233" fmla="*/ 516597 h 1048506"/>
                    <a:gd name="connsiteX234" fmla="*/ 675293 w 784555"/>
                    <a:gd name="connsiteY234" fmla="*/ 517289 h 1048506"/>
                    <a:gd name="connsiteX235" fmla="*/ 674382 w 784555"/>
                    <a:gd name="connsiteY235" fmla="*/ 518382 h 1048506"/>
                    <a:gd name="connsiteX236" fmla="*/ 675172 w 784555"/>
                    <a:gd name="connsiteY236" fmla="*/ 520143 h 1048506"/>
                    <a:gd name="connsiteX237" fmla="*/ 677005 w 784555"/>
                    <a:gd name="connsiteY237" fmla="*/ 521175 h 1048506"/>
                    <a:gd name="connsiteX238" fmla="*/ 678098 w 784555"/>
                    <a:gd name="connsiteY238" fmla="*/ 521940 h 1048506"/>
                    <a:gd name="connsiteX239" fmla="*/ 678402 w 784555"/>
                    <a:gd name="connsiteY239" fmla="*/ 523385 h 1048506"/>
                    <a:gd name="connsiteX240" fmla="*/ 683150 w 784555"/>
                    <a:gd name="connsiteY240" fmla="*/ 525207 h 1048506"/>
                    <a:gd name="connsiteX241" fmla="*/ 684546 w 784555"/>
                    <a:gd name="connsiteY241" fmla="*/ 525121 h 1048506"/>
                    <a:gd name="connsiteX242" fmla="*/ 685007 w 784555"/>
                    <a:gd name="connsiteY242" fmla="*/ 535431 h 1048506"/>
                    <a:gd name="connsiteX243" fmla="*/ 685056 w 784555"/>
                    <a:gd name="connsiteY243" fmla="*/ 566359 h 1048506"/>
                    <a:gd name="connsiteX244" fmla="*/ 686829 w 784555"/>
                    <a:gd name="connsiteY244" fmla="*/ 574082 h 1048506"/>
                    <a:gd name="connsiteX245" fmla="*/ 687582 w 784555"/>
                    <a:gd name="connsiteY245" fmla="*/ 606807 h 1048506"/>
                    <a:gd name="connsiteX246" fmla="*/ 686258 w 784555"/>
                    <a:gd name="connsiteY246" fmla="*/ 623006 h 1048506"/>
                    <a:gd name="connsiteX247" fmla="*/ 685287 w 784555"/>
                    <a:gd name="connsiteY247" fmla="*/ 625094 h 1048506"/>
                    <a:gd name="connsiteX248" fmla="*/ 682069 w 784555"/>
                    <a:gd name="connsiteY248" fmla="*/ 625762 h 1048506"/>
                    <a:gd name="connsiteX249" fmla="*/ 678402 w 784555"/>
                    <a:gd name="connsiteY249" fmla="*/ 626976 h 1048506"/>
                    <a:gd name="connsiteX250" fmla="*/ 674722 w 784555"/>
                    <a:gd name="connsiteY250" fmla="*/ 627584 h 1048506"/>
                    <a:gd name="connsiteX251" fmla="*/ 671614 w 784555"/>
                    <a:gd name="connsiteY251" fmla="*/ 626430 h 1048506"/>
                    <a:gd name="connsiteX252" fmla="*/ 671905 w 784555"/>
                    <a:gd name="connsiteY252" fmla="*/ 622374 h 1048506"/>
                    <a:gd name="connsiteX253" fmla="*/ 667594 w 784555"/>
                    <a:gd name="connsiteY253" fmla="*/ 620031 h 1048506"/>
                    <a:gd name="connsiteX254" fmla="*/ 644341 w 784555"/>
                    <a:gd name="connsiteY254" fmla="*/ 616327 h 1048506"/>
                    <a:gd name="connsiteX255" fmla="*/ 642094 w 784555"/>
                    <a:gd name="connsiteY255" fmla="*/ 617153 h 1048506"/>
                    <a:gd name="connsiteX256" fmla="*/ 640783 w 784555"/>
                    <a:gd name="connsiteY256" fmla="*/ 619934 h 1048506"/>
                    <a:gd name="connsiteX257" fmla="*/ 643831 w 784555"/>
                    <a:gd name="connsiteY257" fmla="*/ 619751 h 1048506"/>
                    <a:gd name="connsiteX258" fmla="*/ 646866 w 784555"/>
                    <a:gd name="connsiteY258" fmla="*/ 619909 h 1048506"/>
                    <a:gd name="connsiteX259" fmla="*/ 649684 w 784555"/>
                    <a:gd name="connsiteY259" fmla="*/ 620395 h 1048506"/>
                    <a:gd name="connsiteX260" fmla="*/ 652440 w 784555"/>
                    <a:gd name="connsiteY260" fmla="*/ 621221 h 1048506"/>
                    <a:gd name="connsiteX261" fmla="*/ 653994 w 784555"/>
                    <a:gd name="connsiteY261" fmla="*/ 621974 h 1048506"/>
                    <a:gd name="connsiteX262" fmla="*/ 655889 w 784555"/>
                    <a:gd name="connsiteY262" fmla="*/ 623321 h 1048506"/>
                    <a:gd name="connsiteX263" fmla="*/ 657552 w 784555"/>
                    <a:gd name="connsiteY263" fmla="*/ 623807 h 1048506"/>
                    <a:gd name="connsiteX264" fmla="*/ 662665 w 784555"/>
                    <a:gd name="connsiteY264" fmla="*/ 623807 h 1048506"/>
                    <a:gd name="connsiteX265" fmla="*/ 667934 w 784555"/>
                    <a:gd name="connsiteY265" fmla="*/ 625082 h 1048506"/>
                    <a:gd name="connsiteX266" fmla="*/ 670703 w 784555"/>
                    <a:gd name="connsiteY266" fmla="*/ 626734 h 1048506"/>
                    <a:gd name="connsiteX267" fmla="*/ 670460 w 784555"/>
                    <a:gd name="connsiteY267" fmla="*/ 629004 h 1048506"/>
                    <a:gd name="connsiteX268" fmla="*/ 668129 w 784555"/>
                    <a:gd name="connsiteY268" fmla="*/ 629648 h 1048506"/>
                    <a:gd name="connsiteX269" fmla="*/ 634420 w 784555"/>
                    <a:gd name="connsiteY269" fmla="*/ 622496 h 1048506"/>
                    <a:gd name="connsiteX270" fmla="*/ 631263 w 784555"/>
                    <a:gd name="connsiteY270" fmla="*/ 622253 h 1048506"/>
                    <a:gd name="connsiteX271" fmla="*/ 629988 w 784555"/>
                    <a:gd name="connsiteY271" fmla="*/ 621974 h 1048506"/>
                    <a:gd name="connsiteX272" fmla="*/ 629247 w 784555"/>
                    <a:gd name="connsiteY272" fmla="*/ 621208 h 1048506"/>
                    <a:gd name="connsiteX273" fmla="*/ 629077 w 784555"/>
                    <a:gd name="connsiteY273" fmla="*/ 619193 h 1048506"/>
                    <a:gd name="connsiteX274" fmla="*/ 630049 w 784555"/>
                    <a:gd name="connsiteY274" fmla="*/ 618658 h 1048506"/>
                    <a:gd name="connsiteX275" fmla="*/ 631603 w 784555"/>
                    <a:gd name="connsiteY275" fmla="*/ 618731 h 1048506"/>
                    <a:gd name="connsiteX276" fmla="*/ 633218 w 784555"/>
                    <a:gd name="connsiteY276" fmla="*/ 618501 h 1048506"/>
                    <a:gd name="connsiteX277" fmla="*/ 638901 w 784555"/>
                    <a:gd name="connsiteY277" fmla="*/ 616218 h 1048506"/>
                    <a:gd name="connsiteX278" fmla="*/ 639484 w 784555"/>
                    <a:gd name="connsiteY278" fmla="*/ 614894 h 1048506"/>
                    <a:gd name="connsiteX279" fmla="*/ 635683 w 784555"/>
                    <a:gd name="connsiteY279" fmla="*/ 613461 h 1048506"/>
                    <a:gd name="connsiteX280" fmla="*/ 632064 w 784555"/>
                    <a:gd name="connsiteY280" fmla="*/ 614930 h 1048506"/>
                    <a:gd name="connsiteX281" fmla="*/ 624718 w 784555"/>
                    <a:gd name="connsiteY281" fmla="*/ 614469 h 1048506"/>
                    <a:gd name="connsiteX282" fmla="*/ 625398 w 784555"/>
                    <a:gd name="connsiteY282" fmla="*/ 616048 h 1048506"/>
                    <a:gd name="connsiteX283" fmla="*/ 625398 w 784555"/>
                    <a:gd name="connsiteY283" fmla="*/ 617335 h 1048506"/>
                    <a:gd name="connsiteX284" fmla="*/ 621500 w 784555"/>
                    <a:gd name="connsiteY284" fmla="*/ 618574 h 1048506"/>
                    <a:gd name="connsiteX285" fmla="*/ 611798 w 784555"/>
                    <a:gd name="connsiteY285" fmla="*/ 620152 h 1048506"/>
                    <a:gd name="connsiteX286" fmla="*/ 607608 w 784555"/>
                    <a:gd name="connsiteY286" fmla="*/ 619921 h 1048506"/>
                    <a:gd name="connsiteX287" fmla="*/ 602836 w 784555"/>
                    <a:gd name="connsiteY287" fmla="*/ 617736 h 1048506"/>
                    <a:gd name="connsiteX288" fmla="*/ 600250 w 784555"/>
                    <a:gd name="connsiteY288" fmla="*/ 617043 h 1048506"/>
                    <a:gd name="connsiteX289" fmla="*/ 597906 w 784555"/>
                    <a:gd name="connsiteY289" fmla="*/ 617894 h 1048506"/>
                    <a:gd name="connsiteX290" fmla="*/ 593826 w 784555"/>
                    <a:gd name="connsiteY290" fmla="*/ 621342 h 1048506"/>
                    <a:gd name="connsiteX291" fmla="*/ 582800 w 784555"/>
                    <a:gd name="connsiteY291" fmla="*/ 627742 h 1048506"/>
                    <a:gd name="connsiteX292" fmla="*/ 579242 w 784555"/>
                    <a:gd name="connsiteY292" fmla="*/ 630631 h 1048506"/>
                    <a:gd name="connsiteX293" fmla="*/ 576656 w 784555"/>
                    <a:gd name="connsiteY293" fmla="*/ 634129 h 1048506"/>
                    <a:gd name="connsiteX294" fmla="*/ 576304 w 784555"/>
                    <a:gd name="connsiteY294" fmla="*/ 636241 h 1048506"/>
                    <a:gd name="connsiteX295" fmla="*/ 576365 w 784555"/>
                    <a:gd name="connsiteY295" fmla="*/ 638852 h 1048506"/>
                    <a:gd name="connsiteX296" fmla="*/ 576073 w 784555"/>
                    <a:gd name="connsiteY296" fmla="*/ 641062 h 1048506"/>
                    <a:gd name="connsiteX297" fmla="*/ 574762 w 784555"/>
                    <a:gd name="connsiteY297" fmla="*/ 642009 h 1048506"/>
                    <a:gd name="connsiteX298" fmla="*/ 572175 w 784555"/>
                    <a:gd name="connsiteY298" fmla="*/ 642702 h 1048506"/>
                    <a:gd name="connsiteX299" fmla="*/ 570633 w 784555"/>
                    <a:gd name="connsiteY299" fmla="*/ 644511 h 1048506"/>
                    <a:gd name="connsiteX300" fmla="*/ 569941 w 784555"/>
                    <a:gd name="connsiteY300" fmla="*/ 647000 h 1048506"/>
                    <a:gd name="connsiteX301" fmla="*/ 570172 w 784555"/>
                    <a:gd name="connsiteY301" fmla="*/ 649769 h 1048506"/>
                    <a:gd name="connsiteX302" fmla="*/ 571422 w 784555"/>
                    <a:gd name="connsiteY302" fmla="*/ 662458 h 1048506"/>
                    <a:gd name="connsiteX303" fmla="*/ 573256 w 784555"/>
                    <a:gd name="connsiteY303" fmla="*/ 668274 h 1048506"/>
                    <a:gd name="connsiteX304" fmla="*/ 577919 w 784555"/>
                    <a:gd name="connsiteY304" fmla="*/ 671747 h 1048506"/>
                    <a:gd name="connsiteX305" fmla="*/ 570730 w 784555"/>
                    <a:gd name="connsiteY305" fmla="*/ 676556 h 1048506"/>
                    <a:gd name="connsiteX306" fmla="*/ 563153 w 784555"/>
                    <a:gd name="connsiteY306" fmla="*/ 684194 h 1048506"/>
                    <a:gd name="connsiteX307" fmla="*/ 552188 w 784555"/>
                    <a:gd name="connsiteY307" fmla="*/ 699142 h 1048506"/>
                    <a:gd name="connsiteX308" fmla="*/ 548351 w 784555"/>
                    <a:gd name="connsiteY308" fmla="*/ 706901 h 1048506"/>
                    <a:gd name="connsiteX309" fmla="*/ 545011 w 784555"/>
                    <a:gd name="connsiteY309" fmla="*/ 710714 h 1048506"/>
                    <a:gd name="connsiteX310" fmla="*/ 544489 w 784555"/>
                    <a:gd name="connsiteY310" fmla="*/ 711479 h 1048506"/>
                    <a:gd name="connsiteX311" fmla="*/ 543239 w 784555"/>
                    <a:gd name="connsiteY311" fmla="*/ 715960 h 1048506"/>
                    <a:gd name="connsiteX312" fmla="*/ 540191 w 784555"/>
                    <a:gd name="connsiteY312" fmla="*/ 719773 h 1048506"/>
                    <a:gd name="connsiteX313" fmla="*/ 532893 w 784555"/>
                    <a:gd name="connsiteY313" fmla="*/ 726391 h 1048506"/>
                    <a:gd name="connsiteX314" fmla="*/ 521988 w 784555"/>
                    <a:gd name="connsiteY314" fmla="*/ 741533 h 1048506"/>
                    <a:gd name="connsiteX315" fmla="*/ 521819 w 784555"/>
                    <a:gd name="connsiteY315" fmla="*/ 743172 h 1048506"/>
                    <a:gd name="connsiteX316" fmla="*/ 521879 w 784555"/>
                    <a:gd name="connsiteY316" fmla="*/ 744982 h 1048506"/>
                    <a:gd name="connsiteX317" fmla="*/ 521357 w 784555"/>
                    <a:gd name="connsiteY317" fmla="*/ 747070 h 1048506"/>
                    <a:gd name="connsiteX318" fmla="*/ 520495 w 784555"/>
                    <a:gd name="connsiteY318" fmla="*/ 748333 h 1048506"/>
                    <a:gd name="connsiteX319" fmla="*/ 518491 w 784555"/>
                    <a:gd name="connsiteY319" fmla="*/ 749972 h 1048506"/>
                    <a:gd name="connsiteX320" fmla="*/ 517508 w 784555"/>
                    <a:gd name="connsiteY320" fmla="*/ 750944 h 1048506"/>
                    <a:gd name="connsiteX321" fmla="*/ 515735 w 784555"/>
                    <a:gd name="connsiteY321" fmla="*/ 753724 h 1048506"/>
                    <a:gd name="connsiteX322" fmla="*/ 514011 w 784555"/>
                    <a:gd name="connsiteY322" fmla="*/ 757355 h 1048506"/>
                    <a:gd name="connsiteX323" fmla="*/ 512748 w 784555"/>
                    <a:gd name="connsiteY323" fmla="*/ 761520 h 1048506"/>
                    <a:gd name="connsiteX324" fmla="*/ 511594 w 784555"/>
                    <a:gd name="connsiteY324" fmla="*/ 770627 h 1048506"/>
                    <a:gd name="connsiteX325" fmla="*/ 509299 w 784555"/>
                    <a:gd name="connsiteY325" fmla="*/ 778059 h 1048506"/>
                    <a:gd name="connsiteX326" fmla="*/ 509700 w 784555"/>
                    <a:gd name="connsiteY326" fmla="*/ 782078 h 1048506"/>
                    <a:gd name="connsiteX327" fmla="*/ 513088 w 784555"/>
                    <a:gd name="connsiteY327" fmla="*/ 788987 h 1048506"/>
                    <a:gd name="connsiteX328" fmla="*/ 518030 w 784555"/>
                    <a:gd name="connsiteY328" fmla="*/ 794962 h 1048506"/>
                    <a:gd name="connsiteX329" fmla="*/ 533075 w 784555"/>
                    <a:gd name="connsiteY329" fmla="*/ 808258 h 1048506"/>
                    <a:gd name="connsiteX330" fmla="*/ 539620 w 784555"/>
                    <a:gd name="connsiteY330" fmla="*/ 811039 h 1048506"/>
                    <a:gd name="connsiteX331" fmla="*/ 547258 w 784555"/>
                    <a:gd name="connsiteY331" fmla="*/ 812678 h 1048506"/>
                    <a:gd name="connsiteX332" fmla="*/ 572807 w 784555"/>
                    <a:gd name="connsiteY332" fmla="*/ 813188 h 1048506"/>
                    <a:gd name="connsiteX333" fmla="*/ 576935 w 784555"/>
                    <a:gd name="connsiteY333" fmla="*/ 811646 h 1048506"/>
                    <a:gd name="connsiteX334" fmla="*/ 581307 w 784555"/>
                    <a:gd name="connsiteY334" fmla="*/ 808623 h 1048506"/>
                    <a:gd name="connsiteX335" fmla="*/ 585618 w 784555"/>
                    <a:gd name="connsiteY335" fmla="*/ 806619 h 1048506"/>
                    <a:gd name="connsiteX336" fmla="*/ 589564 w 784555"/>
                    <a:gd name="connsiteY336" fmla="*/ 808028 h 1048506"/>
                    <a:gd name="connsiteX337" fmla="*/ 590438 w 784555"/>
                    <a:gd name="connsiteY337" fmla="*/ 809776 h 1048506"/>
                    <a:gd name="connsiteX338" fmla="*/ 589867 w 784555"/>
                    <a:gd name="connsiteY338" fmla="*/ 811209 h 1048506"/>
                    <a:gd name="connsiteX339" fmla="*/ 588775 w 784555"/>
                    <a:gd name="connsiteY339" fmla="*/ 812824 h 1048506"/>
                    <a:gd name="connsiteX340" fmla="*/ 588192 w 784555"/>
                    <a:gd name="connsiteY340" fmla="*/ 815119 h 1048506"/>
                    <a:gd name="connsiteX341" fmla="*/ 588544 w 784555"/>
                    <a:gd name="connsiteY341" fmla="*/ 817122 h 1048506"/>
                    <a:gd name="connsiteX342" fmla="*/ 589455 w 784555"/>
                    <a:gd name="connsiteY342" fmla="*/ 818410 h 1048506"/>
                    <a:gd name="connsiteX343" fmla="*/ 590317 w 784555"/>
                    <a:gd name="connsiteY343" fmla="*/ 819357 h 1048506"/>
                    <a:gd name="connsiteX344" fmla="*/ 590730 w 784555"/>
                    <a:gd name="connsiteY344" fmla="*/ 820425 h 1048506"/>
                    <a:gd name="connsiteX345" fmla="*/ 591932 w 784555"/>
                    <a:gd name="connsiteY345" fmla="*/ 822198 h 1048506"/>
                    <a:gd name="connsiteX346" fmla="*/ 594628 w 784555"/>
                    <a:gd name="connsiteY346" fmla="*/ 824688 h 1048506"/>
                    <a:gd name="connsiteX347" fmla="*/ 607778 w 784555"/>
                    <a:gd name="connsiteY347" fmla="*/ 834402 h 1048506"/>
                    <a:gd name="connsiteX348" fmla="*/ 610705 w 784555"/>
                    <a:gd name="connsiteY348" fmla="*/ 837669 h 1048506"/>
                    <a:gd name="connsiteX349" fmla="*/ 608167 w 784555"/>
                    <a:gd name="connsiteY349" fmla="*/ 839113 h 1048506"/>
                    <a:gd name="connsiteX350" fmla="*/ 605131 w 784555"/>
                    <a:gd name="connsiteY350" fmla="*/ 837669 h 1048506"/>
                    <a:gd name="connsiteX351" fmla="*/ 593304 w 784555"/>
                    <a:gd name="connsiteY351" fmla="*/ 827396 h 1048506"/>
                    <a:gd name="connsiteX352" fmla="*/ 580493 w 784555"/>
                    <a:gd name="connsiteY352" fmla="*/ 820425 h 1048506"/>
                    <a:gd name="connsiteX353" fmla="*/ 569200 w 784555"/>
                    <a:gd name="connsiteY353" fmla="*/ 818981 h 1048506"/>
                    <a:gd name="connsiteX354" fmla="*/ 566262 w 784555"/>
                    <a:gd name="connsiteY354" fmla="*/ 817183 h 1048506"/>
                    <a:gd name="connsiteX355" fmla="*/ 563275 w 784555"/>
                    <a:gd name="connsiteY355" fmla="*/ 817353 h 1048506"/>
                    <a:gd name="connsiteX356" fmla="*/ 560117 w 784555"/>
                    <a:gd name="connsiteY356" fmla="*/ 816358 h 1048506"/>
                    <a:gd name="connsiteX357" fmla="*/ 556608 w 784555"/>
                    <a:gd name="connsiteY357" fmla="*/ 815896 h 1048506"/>
                    <a:gd name="connsiteX358" fmla="*/ 549844 w 784555"/>
                    <a:gd name="connsiteY358" fmla="*/ 819284 h 1048506"/>
                    <a:gd name="connsiteX359" fmla="*/ 544089 w 784555"/>
                    <a:gd name="connsiteY359" fmla="*/ 819102 h 1048506"/>
                    <a:gd name="connsiteX360" fmla="*/ 541964 w 784555"/>
                    <a:gd name="connsiteY360" fmla="*/ 819770 h 1048506"/>
                    <a:gd name="connsiteX361" fmla="*/ 536973 w 784555"/>
                    <a:gd name="connsiteY361" fmla="*/ 817730 h 1048506"/>
                    <a:gd name="connsiteX362" fmla="*/ 530428 w 784555"/>
                    <a:gd name="connsiteY362" fmla="*/ 815969 h 1048506"/>
                    <a:gd name="connsiteX363" fmla="*/ 523543 w 784555"/>
                    <a:gd name="connsiteY363" fmla="*/ 815119 h 1048506"/>
                    <a:gd name="connsiteX364" fmla="*/ 517508 w 784555"/>
                    <a:gd name="connsiteY364" fmla="*/ 815775 h 1048506"/>
                    <a:gd name="connsiteX365" fmla="*/ 516026 w 784555"/>
                    <a:gd name="connsiteY365" fmla="*/ 816600 h 1048506"/>
                    <a:gd name="connsiteX366" fmla="*/ 512286 w 784555"/>
                    <a:gd name="connsiteY366" fmla="*/ 819770 h 1048506"/>
                    <a:gd name="connsiteX367" fmla="*/ 510331 w 784555"/>
                    <a:gd name="connsiteY367" fmla="*/ 820170 h 1048506"/>
                    <a:gd name="connsiteX368" fmla="*/ 508959 w 784555"/>
                    <a:gd name="connsiteY368" fmla="*/ 820073 h 1048506"/>
                    <a:gd name="connsiteX369" fmla="*/ 507696 w 784555"/>
                    <a:gd name="connsiteY369" fmla="*/ 819794 h 1048506"/>
                    <a:gd name="connsiteX370" fmla="*/ 506020 w 784555"/>
                    <a:gd name="connsiteY370" fmla="*/ 819770 h 1048506"/>
                    <a:gd name="connsiteX371" fmla="*/ 499536 w 784555"/>
                    <a:gd name="connsiteY371" fmla="*/ 820680 h 1048506"/>
                    <a:gd name="connsiteX372" fmla="*/ 496331 w 784555"/>
                    <a:gd name="connsiteY372" fmla="*/ 821603 h 1048506"/>
                    <a:gd name="connsiteX373" fmla="*/ 490915 w 784555"/>
                    <a:gd name="connsiteY373" fmla="*/ 824542 h 1048506"/>
                    <a:gd name="connsiteX374" fmla="*/ 483799 w 784555"/>
                    <a:gd name="connsiteY374" fmla="*/ 826254 h 1048506"/>
                    <a:gd name="connsiteX375" fmla="*/ 480872 w 784555"/>
                    <a:gd name="connsiteY375" fmla="*/ 828076 h 1048506"/>
                    <a:gd name="connsiteX376" fmla="*/ 479100 w 784555"/>
                    <a:gd name="connsiteY376" fmla="*/ 829812 h 1048506"/>
                    <a:gd name="connsiteX377" fmla="*/ 476975 w 784555"/>
                    <a:gd name="connsiteY377" fmla="*/ 831281 h 1048506"/>
                    <a:gd name="connsiteX378" fmla="*/ 474570 w 784555"/>
                    <a:gd name="connsiteY378" fmla="*/ 832313 h 1048506"/>
                    <a:gd name="connsiteX379" fmla="*/ 464856 w 784555"/>
                    <a:gd name="connsiteY379" fmla="*/ 832920 h 1048506"/>
                    <a:gd name="connsiteX380" fmla="*/ 462100 w 784555"/>
                    <a:gd name="connsiteY380" fmla="*/ 834232 h 1048506"/>
                    <a:gd name="connsiteX381" fmla="*/ 460897 w 784555"/>
                    <a:gd name="connsiteY381" fmla="*/ 837183 h 1048506"/>
                    <a:gd name="connsiteX382" fmla="*/ 459744 w 784555"/>
                    <a:gd name="connsiteY382" fmla="*/ 839113 h 1048506"/>
                    <a:gd name="connsiteX383" fmla="*/ 457097 w 784555"/>
                    <a:gd name="connsiteY383" fmla="*/ 840389 h 1048506"/>
                    <a:gd name="connsiteX384" fmla="*/ 454122 w 784555"/>
                    <a:gd name="connsiteY384" fmla="*/ 841166 h 1048506"/>
                    <a:gd name="connsiteX385" fmla="*/ 429131 w 784555"/>
                    <a:gd name="connsiteY385" fmla="*/ 844117 h 1048506"/>
                    <a:gd name="connsiteX386" fmla="*/ 422429 w 784555"/>
                    <a:gd name="connsiteY386" fmla="*/ 845671 h 1048506"/>
                    <a:gd name="connsiteX387" fmla="*/ 415361 w 784555"/>
                    <a:gd name="connsiteY387" fmla="*/ 848864 h 1048506"/>
                    <a:gd name="connsiteX388" fmla="*/ 408816 w 784555"/>
                    <a:gd name="connsiteY388" fmla="*/ 853090 h 1048506"/>
                    <a:gd name="connsiteX389" fmla="*/ 383025 w 784555"/>
                    <a:gd name="connsiteY389" fmla="*/ 874243 h 1048506"/>
                    <a:gd name="connsiteX390" fmla="*/ 378848 w 784555"/>
                    <a:gd name="connsiteY390" fmla="*/ 879270 h 1048506"/>
                    <a:gd name="connsiteX391" fmla="*/ 372351 w 784555"/>
                    <a:gd name="connsiteY391" fmla="*/ 890952 h 1048506"/>
                    <a:gd name="connsiteX392" fmla="*/ 371428 w 784555"/>
                    <a:gd name="connsiteY392" fmla="*/ 893999 h 1048506"/>
                    <a:gd name="connsiteX393" fmla="*/ 370748 w 784555"/>
                    <a:gd name="connsiteY393" fmla="*/ 906604 h 1048506"/>
                    <a:gd name="connsiteX394" fmla="*/ 369995 w 784555"/>
                    <a:gd name="connsiteY394" fmla="*/ 910854 h 1048506"/>
                    <a:gd name="connsiteX395" fmla="*/ 368502 w 784555"/>
                    <a:gd name="connsiteY395" fmla="*/ 914327 h 1048506"/>
                    <a:gd name="connsiteX396" fmla="*/ 371028 w 784555"/>
                    <a:gd name="connsiteY396" fmla="*/ 912384 h 1048506"/>
                    <a:gd name="connsiteX397" fmla="*/ 373432 w 784555"/>
                    <a:gd name="connsiteY397" fmla="*/ 912068 h 1048506"/>
                    <a:gd name="connsiteX398" fmla="*/ 375618 w 784555"/>
                    <a:gd name="connsiteY398" fmla="*/ 911291 h 1048506"/>
                    <a:gd name="connsiteX399" fmla="*/ 377451 w 784555"/>
                    <a:gd name="connsiteY399" fmla="*/ 907758 h 1048506"/>
                    <a:gd name="connsiteX400" fmla="*/ 378374 w 784555"/>
                    <a:gd name="connsiteY400" fmla="*/ 912068 h 1048506"/>
                    <a:gd name="connsiteX401" fmla="*/ 376431 w 784555"/>
                    <a:gd name="connsiteY401" fmla="*/ 914351 h 1048506"/>
                    <a:gd name="connsiteX402" fmla="*/ 373031 w 784555"/>
                    <a:gd name="connsiteY402" fmla="*/ 915942 h 1048506"/>
                    <a:gd name="connsiteX403" fmla="*/ 369777 w 784555"/>
                    <a:gd name="connsiteY403" fmla="*/ 918091 h 1048506"/>
                    <a:gd name="connsiteX404" fmla="*/ 368963 w 784555"/>
                    <a:gd name="connsiteY404" fmla="*/ 919439 h 1048506"/>
                    <a:gd name="connsiteX405" fmla="*/ 367130 w 784555"/>
                    <a:gd name="connsiteY405" fmla="*/ 924636 h 1048506"/>
                    <a:gd name="connsiteX406" fmla="*/ 364361 w 784555"/>
                    <a:gd name="connsiteY406" fmla="*/ 928109 h 1048506"/>
                    <a:gd name="connsiteX407" fmla="*/ 363681 w 784555"/>
                    <a:gd name="connsiteY407" fmla="*/ 930125 h 1048506"/>
                    <a:gd name="connsiteX408" fmla="*/ 364774 w 784555"/>
                    <a:gd name="connsiteY408" fmla="*/ 932396 h 1048506"/>
                    <a:gd name="connsiteX409" fmla="*/ 359540 w 784555"/>
                    <a:gd name="connsiteY409" fmla="*/ 932396 h 1048506"/>
                    <a:gd name="connsiteX410" fmla="*/ 363438 w 784555"/>
                    <a:gd name="connsiteY410" fmla="*/ 938455 h 1048506"/>
                    <a:gd name="connsiteX411" fmla="*/ 364713 w 784555"/>
                    <a:gd name="connsiteY411" fmla="*/ 944660 h 1048506"/>
                    <a:gd name="connsiteX412" fmla="*/ 362066 w 784555"/>
                    <a:gd name="connsiteY412" fmla="*/ 964501 h 1048506"/>
                    <a:gd name="connsiteX413" fmla="*/ 361155 w 784555"/>
                    <a:gd name="connsiteY413" fmla="*/ 966481 h 1048506"/>
                    <a:gd name="connsiteX414" fmla="*/ 359540 w 784555"/>
                    <a:gd name="connsiteY414" fmla="*/ 968630 h 1048506"/>
                    <a:gd name="connsiteX415" fmla="*/ 354367 w 784555"/>
                    <a:gd name="connsiteY415" fmla="*/ 973475 h 1048506"/>
                    <a:gd name="connsiteX416" fmla="*/ 352995 w 784555"/>
                    <a:gd name="connsiteY416" fmla="*/ 975090 h 1048506"/>
                    <a:gd name="connsiteX417" fmla="*/ 349777 w 784555"/>
                    <a:gd name="connsiteY417" fmla="*/ 986176 h 1048506"/>
                    <a:gd name="connsiteX418" fmla="*/ 348527 w 784555"/>
                    <a:gd name="connsiteY418" fmla="*/ 987961 h 1048506"/>
                    <a:gd name="connsiteX419" fmla="*/ 345297 w 784555"/>
                    <a:gd name="connsiteY419" fmla="*/ 988496 h 1048506"/>
                    <a:gd name="connsiteX420" fmla="*/ 337999 w 784555"/>
                    <a:gd name="connsiteY420" fmla="*/ 991508 h 1048506"/>
                    <a:gd name="connsiteX421" fmla="*/ 301667 w 784555"/>
                    <a:gd name="connsiteY421" fmla="*/ 1013474 h 1048506"/>
                    <a:gd name="connsiteX422" fmla="*/ 299311 w 784555"/>
                    <a:gd name="connsiteY422" fmla="*/ 1016012 h 1048506"/>
                    <a:gd name="connsiteX423" fmla="*/ 294600 w 784555"/>
                    <a:gd name="connsiteY423" fmla="*/ 1022363 h 1048506"/>
                    <a:gd name="connsiteX424" fmla="*/ 291613 w 784555"/>
                    <a:gd name="connsiteY424" fmla="*/ 1023832 h 1048506"/>
                    <a:gd name="connsiteX425" fmla="*/ 271225 w 784555"/>
                    <a:gd name="connsiteY425" fmla="*/ 1027256 h 1048506"/>
                    <a:gd name="connsiteX426" fmla="*/ 262093 w 784555"/>
                    <a:gd name="connsiteY426" fmla="*/ 1030377 h 1048506"/>
                    <a:gd name="connsiteX427" fmla="*/ 255730 w 784555"/>
                    <a:gd name="connsiteY427" fmla="*/ 1035003 h 1048506"/>
                    <a:gd name="connsiteX428" fmla="*/ 256520 w 784555"/>
                    <a:gd name="connsiteY428" fmla="*/ 1041063 h 1048506"/>
                    <a:gd name="connsiteX429" fmla="*/ 246307 w 784555"/>
                    <a:gd name="connsiteY429" fmla="*/ 1042301 h 1048506"/>
                    <a:gd name="connsiteX430" fmla="*/ 234820 w 784555"/>
                    <a:gd name="connsiteY430" fmla="*/ 1040116 h 1048506"/>
                    <a:gd name="connsiteX431" fmla="*/ 209672 w 784555"/>
                    <a:gd name="connsiteY431" fmla="*/ 1032490 h 1048506"/>
                    <a:gd name="connsiteX432" fmla="*/ 208349 w 784555"/>
                    <a:gd name="connsiteY432" fmla="*/ 1031931 h 1048506"/>
                    <a:gd name="connsiteX433" fmla="*/ 205774 w 784555"/>
                    <a:gd name="connsiteY433" fmla="*/ 1028883 h 1048506"/>
                    <a:gd name="connsiteX434" fmla="*/ 204281 w 784555"/>
                    <a:gd name="connsiteY434" fmla="*/ 1027645 h 1048506"/>
                    <a:gd name="connsiteX435" fmla="*/ 199800 w 784555"/>
                    <a:gd name="connsiteY435" fmla="*/ 1024840 h 1048506"/>
                    <a:gd name="connsiteX436" fmla="*/ 195319 w 784555"/>
                    <a:gd name="connsiteY436" fmla="*/ 1023577 h 1048506"/>
                    <a:gd name="connsiteX437" fmla="*/ 192733 w 784555"/>
                    <a:gd name="connsiteY437" fmla="*/ 1021816 h 1048506"/>
                    <a:gd name="connsiteX438" fmla="*/ 174640 w 784555"/>
                    <a:gd name="connsiteY438" fmla="*/ 1005314 h 1048506"/>
                    <a:gd name="connsiteX439" fmla="*/ 171203 w 784555"/>
                    <a:gd name="connsiteY439" fmla="*/ 1002788 h 1048506"/>
                    <a:gd name="connsiteX440" fmla="*/ 172697 w 784555"/>
                    <a:gd name="connsiteY440" fmla="*/ 1001197 h 1048506"/>
                    <a:gd name="connsiteX441" fmla="*/ 173207 w 784555"/>
                    <a:gd name="connsiteY441" fmla="*/ 1001003 h 1048506"/>
                    <a:gd name="connsiteX442" fmla="*/ 174361 w 784555"/>
                    <a:gd name="connsiteY442" fmla="*/ 1000906 h 1048506"/>
                    <a:gd name="connsiteX443" fmla="*/ 177858 w 784555"/>
                    <a:gd name="connsiteY443" fmla="*/ 1001282 h 1048506"/>
                    <a:gd name="connsiteX444" fmla="*/ 179473 w 784555"/>
                    <a:gd name="connsiteY444" fmla="*/ 1000760 h 1048506"/>
                    <a:gd name="connsiteX445" fmla="*/ 180906 w 784555"/>
                    <a:gd name="connsiteY445" fmla="*/ 999643 h 1048506"/>
                    <a:gd name="connsiteX446" fmla="*/ 181537 w 784555"/>
                    <a:gd name="connsiteY446" fmla="*/ 998562 h 1048506"/>
                    <a:gd name="connsiteX447" fmla="*/ 181828 w 784555"/>
                    <a:gd name="connsiteY447" fmla="*/ 997263 h 1048506"/>
                    <a:gd name="connsiteX448" fmla="*/ 181877 w 784555"/>
                    <a:gd name="connsiteY448" fmla="*/ 996037 h 1048506"/>
                    <a:gd name="connsiteX449" fmla="*/ 181598 w 784555"/>
                    <a:gd name="connsiteY449" fmla="*/ 994009 h 1048506"/>
                    <a:gd name="connsiteX450" fmla="*/ 181646 w 784555"/>
                    <a:gd name="connsiteY450" fmla="*/ 993001 h 1048506"/>
                    <a:gd name="connsiteX451" fmla="*/ 182521 w 784555"/>
                    <a:gd name="connsiteY451" fmla="*/ 990912 h 1048506"/>
                    <a:gd name="connsiteX452" fmla="*/ 184646 w 784555"/>
                    <a:gd name="connsiteY452" fmla="*/ 987063 h 1048506"/>
                    <a:gd name="connsiteX453" fmla="*/ 188665 w 784555"/>
                    <a:gd name="connsiteY453" fmla="*/ 982291 h 1048506"/>
                    <a:gd name="connsiteX454" fmla="*/ 190256 w 784555"/>
                    <a:gd name="connsiteY454" fmla="*/ 979620 h 1048506"/>
                    <a:gd name="connsiteX455" fmla="*/ 190948 w 784555"/>
                    <a:gd name="connsiteY455" fmla="*/ 977531 h 1048506"/>
                    <a:gd name="connsiteX456" fmla="*/ 190668 w 784555"/>
                    <a:gd name="connsiteY456" fmla="*/ 975879 h 1048506"/>
                    <a:gd name="connsiteX457" fmla="*/ 189114 w 784555"/>
                    <a:gd name="connsiteY457" fmla="*/ 970464 h 1048506"/>
                    <a:gd name="connsiteX458" fmla="*/ 188884 w 784555"/>
                    <a:gd name="connsiteY458" fmla="*/ 968727 h 1048506"/>
                    <a:gd name="connsiteX459" fmla="*/ 188944 w 784555"/>
                    <a:gd name="connsiteY459" fmla="*/ 966954 h 1048506"/>
                    <a:gd name="connsiteX460" fmla="*/ 189114 w 784555"/>
                    <a:gd name="connsiteY460" fmla="*/ 966165 h 1048506"/>
                    <a:gd name="connsiteX461" fmla="*/ 189454 w 784555"/>
                    <a:gd name="connsiteY461" fmla="*/ 965837 h 1048506"/>
                    <a:gd name="connsiteX462" fmla="*/ 189855 w 784555"/>
                    <a:gd name="connsiteY462" fmla="*/ 965983 h 1048506"/>
                    <a:gd name="connsiteX463" fmla="*/ 190316 w 784555"/>
                    <a:gd name="connsiteY463" fmla="*/ 966299 h 1048506"/>
                    <a:gd name="connsiteX464" fmla="*/ 191652 w 784555"/>
                    <a:gd name="connsiteY464" fmla="*/ 967610 h 1048506"/>
                    <a:gd name="connsiteX465" fmla="*/ 192624 w 784555"/>
                    <a:gd name="connsiteY465" fmla="*/ 968302 h 1048506"/>
                    <a:gd name="connsiteX466" fmla="*/ 194105 w 784555"/>
                    <a:gd name="connsiteY466" fmla="*/ 967962 h 1048506"/>
                    <a:gd name="connsiteX467" fmla="*/ 196242 w 784555"/>
                    <a:gd name="connsiteY467" fmla="*/ 966651 h 1048506"/>
                    <a:gd name="connsiteX468" fmla="*/ 199800 w 784555"/>
                    <a:gd name="connsiteY468" fmla="*/ 962972 h 1048506"/>
                    <a:gd name="connsiteX469" fmla="*/ 201633 w 784555"/>
                    <a:gd name="connsiteY469" fmla="*/ 960203 h 1048506"/>
                    <a:gd name="connsiteX470" fmla="*/ 202787 w 784555"/>
                    <a:gd name="connsiteY470" fmla="*/ 957191 h 1048506"/>
                    <a:gd name="connsiteX471" fmla="*/ 202726 w 784555"/>
                    <a:gd name="connsiteY471" fmla="*/ 955297 h 1048506"/>
                    <a:gd name="connsiteX472" fmla="*/ 202034 w 784555"/>
                    <a:gd name="connsiteY472" fmla="*/ 953378 h 1048506"/>
                    <a:gd name="connsiteX473" fmla="*/ 200941 w 784555"/>
                    <a:gd name="connsiteY473" fmla="*/ 951715 h 1048506"/>
                    <a:gd name="connsiteX474" fmla="*/ 197553 w 784555"/>
                    <a:gd name="connsiteY474" fmla="*/ 947963 h 1048506"/>
                    <a:gd name="connsiteX475" fmla="*/ 188726 w 784555"/>
                    <a:gd name="connsiteY475" fmla="*/ 941029 h 1048506"/>
                    <a:gd name="connsiteX476" fmla="*/ 187268 w 784555"/>
                    <a:gd name="connsiteY476" fmla="*/ 939329 h 1048506"/>
                    <a:gd name="connsiteX477" fmla="*/ 186358 w 784555"/>
                    <a:gd name="connsiteY477" fmla="*/ 937665 h 1048506"/>
                    <a:gd name="connsiteX478" fmla="*/ 185678 w 784555"/>
                    <a:gd name="connsiteY478" fmla="*/ 935869 h 1048506"/>
                    <a:gd name="connsiteX479" fmla="*/ 185326 w 784555"/>
                    <a:gd name="connsiteY479" fmla="*/ 934023 h 1048506"/>
                    <a:gd name="connsiteX480" fmla="*/ 185204 w 784555"/>
                    <a:gd name="connsiteY480" fmla="*/ 930902 h 1048506"/>
                    <a:gd name="connsiteX481" fmla="*/ 184925 w 784555"/>
                    <a:gd name="connsiteY481" fmla="*/ 929348 h 1048506"/>
                    <a:gd name="connsiteX482" fmla="*/ 184342 w 784555"/>
                    <a:gd name="connsiteY482" fmla="*/ 927708 h 1048506"/>
                    <a:gd name="connsiteX483" fmla="*/ 184014 w 784555"/>
                    <a:gd name="connsiteY483" fmla="*/ 925292 h 1048506"/>
                    <a:gd name="connsiteX484" fmla="*/ 184403 w 784555"/>
                    <a:gd name="connsiteY484" fmla="*/ 923713 h 1048506"/>
                    <a:gd name="connsiteX485" fmla="*/ 186528 w 784555"/>
                    <a:gd name="connsiteY485" fmla="*/ 920908 h 1048506"/>
                    <a:gd name="connsiteX486" fmla="*/ 194627 w 784555"/>
                    <a:gd name="connsiteY486" fmla="*/ 908498 h 1048506"/>
                    <a:gd name="connsiteX487" fmla="*/ 197833 w 784555"/>
                    <a:gd name="connsiteY487" fmla="*/ 897970 h 1048506"/>
                    <a:gd name="connsiteX488" fmla="*/ 198015 w 784555"/>
                    <a:gd name="connsiteY488" fmla="*/ 895942 h 1048506"/>
                    <a:gd name="connsiteX489" fmla="*/ 197784 w 784555"/>
                    <a:gd name="connsiteY489" fmla="*/ 895238 h 1048506"/>
                    <a:gd name="connsiteX490" fmla="*/ 197213 w 784555"/>
                    <a:gd name="connsiteY490" fmla="*/ 894340 h 1048506"/>
                    <a:gd name="connsiteX491" fmla="*/ 196242 w 784555"/>
                    <a:gd name="connsiteY491" fmla="*/ 893295 h 1048506"/>
                    <a:gd name="connsiteX492" fmla="*/ 194749 w 784555"/>
                    <a:gd name="connsiteY492" fmla="*/ 892045 h 1048506"/>
                    <a:gd name="connsiteX493" fmla="*/ 191300 w 784555"/>
                    <a:gd name="connsiteY493" fmla="*/ 890162 h 1048506"/>
                    <a:gd name="connsiteX494" fmla="*/ 188483 w 784555"/>
                    <a:gd name="connsiteY494" fmla="*/ 887721 h 1048506"/>
                    <a:gd name="connsiteX495" fmla="*/ 186358 w 784555"/>
                    <a:gd name="connsiteY495" fmla="*/ 882609 h 1048506"/>
                    <a:gd name="connsiteX496" fmla="*/ 181998 w 784555"/>
                    <a:gd name="connsiteY496" fmla="*/ 870709 h 1048506"/>
                    <a:gd name="connsiteX497" fmla="*/ 181416 w 784555"/>
                    <a:gd name="connsiteY497" fmla="*/ 867528 h 1048506"/>
                    <a:gd name="connsiteX498" fmla="*/ 181768 w 784555"/>
                    <a:gd name="connsiteY498" fmla="*/ 866969 h 1048506"/>
                    <a:gd name="connsiteX499" fmla="*/ 183030 w 784555"/>
                    <a:gd name="connsiteY499" fmla="*/ 865840 h 1048506"/>
                    <a:gd name="connsiteX500" fmla="*/ 189855 w 784555"/>
                    <a:gd name="connsiteY500" fmla="*/ 861044 h 1048506"/>
                    <a:gd name="connsiteX501" fmla="*/ 193595 w 784555"/>
                    <a:gd name="connsiteY501" fmla="*/ 855591 h 1048506"/>
                    <a:gd name="connsiteX502" fmla="*/ 198258 w 784555"/>
                    <a:gd name="connsiteY502" fmla="*/ 844626 h 1048506"/>
                    <a:gd name="connsiteX503" fmla="*/ 209041 w 784555"/>
                    <a:gd name="connsiteY503" fmla="*/ 810832 h 1048506"/>
                    <a:gd name="connsiteX504" fmla="*/ 214032 w 784555"/>
                    <a:gd name="connsiteY504" fmla="*/ 802648 h 1048506"/>
                    <a:gd name="connsiteX505" fmla="*/ 218621 w 784555"/>
                    <a:gd name="connsiteY505" fmla="*/ 789012 h 1048506"/>
                    <a:gd name="connsiteX506" fmla="*/ 219836 w 784555"/>
                    <a:gd name="connsiteY506" fmla="*/ 786571 h 1048506"/>
                    <a:gd name="connsiteX507" fmla="*/ 220989 w 784555"/>
                    <a:gd name="connsiteY507" fmla="*/ 785029 h 1048506"/>
                    <a:gd name="connsiteX508" fmla="*/ 226199 w 784555"/>
                    <a:gd name="connsiteY508" fmla="*/ 780524 h 1048506"/>
                    <a:gd name="connsiteX509" fmla="*/ 226320 w 784555"/>
                    <a:gd name="connsiteY509" fmla="*/ 775715 h 1048506"/>
                    <a:gd name="connsiteX510" fmla="*/ 225227 w 784555"/>
                    <a:gd name="connsiteY510" fmla="*/ 773165 h 1048506"/>
                    <a:gd name="connsiteX511" fmla="*/ 219435 w 784555"/>
                    <a:gd name="connsiteY511" fmla="*/ 766244 h 1048506"/>
                    <a:gd name="connsiteX512" fmla="*/ 218063 w 784555"/>
                    <a:gd name="connsiteY512" fmla="*/ 763718 h 1048506"/>
                    <a:gd name="connsiteX513" fmla="*/ 216618 w 784555"/>
                    <a:gd name="connsiteY513" fmla="*/ 760160 h 1048506"/>
                    <a:gd name="connsiteX514" fmla="*/ 215586 w 784555"/>
                    <a:gd name="connsiteY514" fmla="*/ 758812 h 1048506"/>
                    <a:gd name="connsiteX515" fmla="*/ 214384 w 784555"/>
                    <a:gd name="connsiteY515" fmla="*/ 758023 h 1048506"/>
                    <a:gd name="connsiteX516" fmla="*/ 213121 w 784555"/>
                    <a:gd name="connsiteY516" fmla="*/ 757865 h 1048506"/>
                    <a:gd name="connsiteX517" fmla="*/ 209794 w 784555"/>
                    <a:gd name="connsiteY517" fmla="*/ 757950 h 1048506"/>
                    <a:gd name="connsiteX518" fmla="*/ 208409 w 784555"/>
                    <a:gd name="connsiteY518" fmla="*/ 758266 h 1048506"/>
                    <a:gd name="connsiteX519" fmla="*/ 199861 w 784555"/>
                    <a:gd name="connsiteY519" fmla="*/ 762285 h 1048506"/>
                    <a:gd name="connsiteX520" fmla="*/ 198258 w 784555"/>
                    <a:gd name="connsiteY520" fmla="*/ 762321 h 1048506"/>
                    <a:gd name="connsiteX521" fmla="*/ 196242 w 784555"/>
                    <a:gd name="connsiteY521" fmla="*/ 762115 h 1048506"/>
                    <a:gd name="connsiteX522" fmla="*/ 195210 w 784555"/>
                    <a:gd name="connsiteY522" fmla="*/ 761216 h 1048506"/>
                    <a:gd name="connsiteX523" fmla="*/ 193534 w 784555"/>
                    <a:gd name="connsiteY523" fmla="*/ 759492 h 1048506"/>
                    <a:gd name="connsiteX524" fmla="*/ 192733 w 784555"/>
                    <a:gd name="connsiteY524" fmla="*/ 758800 h 1048506"/>
                    <a:gd name="connsiteX525" fmla="*/ 191591 w 784555"/>
                    <a:gd name="connsiteY525" fmla="*/ 758217 h 1048506"/>
                    <a:gd name="connsiteX526" fmla="*/ 190316 w 784555"/>
                    <a:gd name="connsiteY526" fmla="*/ 757768 h 1048506"/>
                    <a:gd name="connsiteX527" fmla="*/ 188762 w 784555"/>
                    <a:gd name="connsiteY527" fmla="*/ 757367 h 1048506"/>
                    <a:gd name="connsiteX528" fmla="*/ 187572 w 784555"/>
                    <a:gd name="connsiteY528" fmla="*/ 756906 h 1048506"/>
                    <a:gd name="connsiteX529" fmla="*/ 186649 w 784555"/>
                    <a:gd name="connsiteY529" fmla="*/ 756481 h 1048506"/>
                    <a:gd name="connsiteX530" fmla="*/ 186078 w 784555"/>
                    <a:gd name="connsiteY530" fmla="*/ 755873 h 1048506"/>
                    <a:gd name="connsiteX531" fmla="*/ 185508 w 784555"/>
                    <a:gd name="connsiteY531" fmla="*/ 754841 h 1048506"/>
                    <a:gd name="connsiteX532" fmla="*/ 185447 w 784555"/>
                    <a:gd name="connsiteY532" fmla="*/ 753494 h 1048506"/>
                    <a:gd name="connsiteX533" fmla="*/ 185678 w 784555"/>
                    <a:gd name="connsiteY533" fmla="*/ 751793 h 1048506"/>
                    <a:gd name="connsiteX534" fmla="*/ 194627 w 784555"/>
                    <a:gd name="connsiteY534" fmla="*/ 723063 h 1048506"/>
                    <a:gd name="connsiteX535" fmla="*/ 195028 w 784555"/>
                    <a:gd name="connsiteY535" fmla="*/ 720392 h 1048506"/>
                    <a:gd name="connsiteX536" fmla="*/ 195089 w 784555"/>
                    <a:gd name="connsiteY536" fmla="*/ 717004 h 1048506"/>
                    <a:gd name="connsiteX537" fmla="*/ 193874 w 784555"/>
                    <a:gd name="connsiteY537" fmla="*/ 712839 h 1048506"/>
                    <a:gd name="connsiteX538" fmla="*/ 192842 w 784555"/>
                    <a:gd name="connsiteY538" fmla="*/ 705201 h 1048506"/>
                    <a:gd name="connsiteX539" fmla="*/ 193024 w 784555"/>
                    <a:gd name="connsiteY539" fmla="*/ 702760 h 1048506"/>
                    <a:gd name="connsiteX540" fmla="*/ 193473 w 784555"/>
                    <a:gd name="connsiteY540" fmla="*/ 700575 h 1048506"/>
                    <a:gd name="connsiteX541" fmla="*/ 198646 w 784555"/>
                    <a:gd name="connsiteY541" fmla="*/ 690496 h 1048506"/>
                    <a:gd name="connsiteX542" fmla="*/ 199278 w 784555"/>
                    <a:gd name="connsiteY542" fmla="*/ 687509 h 1048506"/>
                    <a:gd name="connsiteX543" fmla="*/ 199278 w 784555"/>
                    <a:gd name="connsiteY543" fmla="*/ 685651 h 1048506"/>
                    <a:gd name="connsiteX544" fmla="*/ 195429 w 784555"/>
                    <a:gd name="connsiteY544" fmla="*/ 673714 h 1048506"/>
                    <a:gd name="connsiteX545" fmla="*/ 192563 w 784555"/>
                    <a:gd name="connsiteY545" fmla="*/ 667534 h 1048506"/>
                    <a:gd name="connsiteX546" fmla="*/ 192563 w 784555"/>
                    <a:gd name="connsiteY546" fmla="*/ 666077 h 1048506"/>
                    <a:gd name="connsiteX547" fmla="*/ 193194 w 784555"/>
                    <a:gd name="connsiteY547" fmla="*/ 664121 h 1048506"/>
                    <a:gd name="connsiteX548" fmla="*/ 202034 w 784555"/>
                    <a:gd name="connsiteY548" fmla="*/ 645604 h 1048506"/>
                    <a:gd name="connsiteX549" fmla="*/ 202848 w 784555"/>
                    <a:gd name="connsiteY549" fmla="*/ 642167 h 1048506"/>
                    <a:gd name="connsiteX550" fmla="*/ 202848 w 784555"/>
                    <a:gd name="connsiteY550" fmla="*/ 640066 h 1048506"/>
                    <a:gd name="connsiteX551" fmla="*/ 202435 w 784555"/>
                    <a:gd name="connsiteY551" fmla="*/ 638694 h 1048506"/>
                    <a:gd name="connsiteX552" fmla="*/ 201694 w 784555"/>
                    <a:gd name="connsiteY552" fmla="*/ 637929 h 1048506"/>
                    <a:gd name="connsiteX553" fmla="*/ 199338 w 784555"/>
                    <a:gd name="connsiteY553" fmla="*/ 636399 h 1048506"/>
                    <a:gd name="connsiteX554" fmla="*/ 198258 w 784555"/>
                    <a:gd name="connsiteY554" fmla="*/ 634821 h 1048506"/>
                    <a:gd name="connsiteX555" fmla="*/ 197092 w 784555"/>
                    <a:gd name="connsiteY555" fmla="*/ 632149 h 1048506"/>
                    <a:gd name="connsiteX556" fmla="*/ 196813 w 784555"/>
                    <a:gd name="connsiteY556" fmla="*/ 628276 h 1048506"/>
                    <a:gd name="connsiteX557" fmla="*/ 195781 w 784555"/>
                    <a:gd name="connsiteY557" fmla="*/ 624633 h 1048506"/>
                    <a:gd name="connsiteX558" fmla="*/ 194518 w 784555"/>
                    <a:gd name="connsiteY558" fmla="*/ 622848 h 1048506"/>
                    <a:gd name="connsiteX559" fmla="*/ 190158 w 784555"/>
                    <a:gd name="connsiteY559" fmla="*/ 615271 h 1048506"/>
                    <a:gd name="connsiteX560" fmla="*/ 189454 w 784555"/>
                    <a:gd name="connsiteY560" fmla="*/ 614384 h 1048506"/>
                    <a:gd name="connsiteX561" fmla="*/ 186418 w 784555"/>
                    <a:gd name="connsiteY561" fmla="*/ 611955 h 1048506"/>
                    <a:gd name="connsiteX562" fmla="*/ 181998 w 784555"/>
                    <a:gd name="connsiteY562" fmla="*/ 613218 h 1048506"/>
                    <a:gd name="connsiteX563" fmla="*/ 175223 w 784555"/>
                    <a:gd name="connsiteY563" fmla="*/ 616934 h 1048506"/>
                    <a:gd name="connsiteX564" fmla="*/ 166905 w 784555"/>
                    <a:gd name="connsiteY564" fmla="*/ 619885 h 1048506"/>
                    <a:gd name="connsiteX565" fmla="*/ 164537 w 784555"/>
                    <a:gd name="connsiteY565" fmla="*/ 621063 h 1048506"/>
                    <a:gd name="connsiteX566" fmla="*/ 162582 w 784555"/>
                    <a:gd name="connsiteY566" fmla="*/ 622374 h 1048506"/>
                    <a:gd name="connsiteX567" fmla="*/ 154325 w 784555"/>
                    <a:gd name="connsiteY567" fmla="*/ 630218 h 1048506"/>
                    <a:gd name="connsiteX568" fmla="*/ 147950 w 784555"/>
                    <a:gd name="connsiteY568" fmla="*/ 634699 h 1048506"/>
                    <a:gd name="connsiteX569" fmla="*/ 144841 w 784555"/>
                    <a:gd name="connsiteY569" fmla="*/ 635962 h 1048506"/>
                    <a:gd name="connsiteX570" fmla="*/ 142425 w 784555"/>
                    <a:gd name="connsiteY570" fmla="*/ 636193 h 1048506"/>
                    <a:gd name="connsiteX571" fmla="*/ 139620 w 784555"/>
                    <a:gd name="connsiteY571" fmla="*/ 634639 h 1048506"/>
                    <a:gd name="connsiteX572" fmla="*/ 138587 w 784555"/>
                    <a:gd name="connsiteY572" fmla="*/ 634298 h 1048506"/>
                    <a:gd name="connsiteX573" fmla="*/ 136985 w 784555"/>
                    <a:gd name="connsiteY573" fmla="*/ 633898 h 1048506"/>
                    <a:gd name="connsiteX574" fmla="*/ 135831 w 784555"/>
                    <a:gd name="connsiteY574" fmla="*/ 633242 h 1048506"/>
                    <a:gd name="connsiteX575" fmla="*/ 134155 w 784555"/>
                    <a:gd name="connsiteY575" fmla="*/ 631688 h 1048506"/>
                    <a:gd name="connsiteX576" fmla="*/ 130379 w 784555"/>
                    <a:gd name="connsiteY576" fmla="*/ 627353 h 1048506"/>
                    <a:gd name="connsiteX577" fmla="*/ 128132 w 784555"/>
                    <a:gd name="connsiteY577" fmla="*/ 625203 h 1048506"/>
                    <a:gd name="connsiteX578" fmla="*/ 125959 w 784555"/>
                    <a:gd name="connsiteY578" fmla="*/ 623504 h 1048506"/>
                    <a:gd name="connsiteX579" fmla="*/ 122158 w 784555"/>
                    <a:gd name="connsiteY579" fmla="*/ 621099 h 1048506"/>
                    <a:gd name="connsiteX580" fmla="*/ 120786 w 784555"/>
                    <a:gd name="connsiteY580" fmla="*/ 619690 h 1048506"/>
                    <a:gd name="connsiteX581" fmla="*/ 120094 w 784555"/>
                    <a:gd name="connsiteY581" fmla="*/ 617711 h 1048506"/>
                    <a:gd name="connsiteX582" fmla="*/ 120033 w 784555"/>
                    <a:gd name="connsiteY582" fmla="*/ 615295 h 1048506"/>
                    <a:gd name="connsiteX583" fmla="*/ 120555 w 784555"/>
                    <a:gd name="connsiteY583" fmla="*/ 610219 h 1048506"/>
                    <a:gd name="connsiteX584" fmla="*/ 120094 w 784555"/>
                    <a:gd name="connsiteY584" fmla="*/ 607900 h 1048506"/>
                    <a:gd name="connsiteX585" fmla="*/ 118940 w 784555"/>
                    <a:gd name="connsiteY585" fmla="*/ 605654 h 1048506"/>
                    <a:gd name="connsiteX586" fmla="*/ 116244 w 784555"/>
                    <a:gd name="connsiteY586" fmla="*/ 601780 h 1048506"/>
                    <a:gd name="connsiteX587" fmla="*/ 115382 w 784555"/>
                    <a:gd name="connsiteY587" fmla="*/ 599861 h 1048506"/>
                    <a:gd name="connsiteX588" fmla="*/ 114872 w 784555"/>
                    <a:gd name="connsiteY588" fmla="*/ 597967 h 1048506"/>
                    <a:gd name="connsiteX589" fmla="*/ 114581 w 784555"/>
                    <a:gd name="connsiteY589" fmla="*/ 595720 h 1048506"/>
                    <a:gd name="connsiteX590" fmla="*/ 115164 w 784555"/>
                    <a:gd name="connsiteY590" fmla="*/ 589697 h 1048506"/>
                    <a:gd name="connsiteX591" fmla="*/ 116985 w 784555"/>
                    <a:gd name="connsiteY591" fmla="*/ 585496 h 1048506"/>
                    <a:gd name="connsiteX592" fmla="*/ 117106 w 784555"/>
                    <a:gd name="connsiteY592" fmla="*/ 584585 h 1048506"/>
                    <a:gd name="connsiteX593" fmla="*/ 117289 w 784555"/>
                    <a:gd name="connsiteY593" fmla="*/ 583918 h 1048506"/>
                    <a:gd name="connsiteX594" fmla="*/ 117969 w 784555"/>
                    <a:gd name="connsiteY594" fmla="*/ 574021 h 1048506"/>
                    <a:gd name="connsiteX595" fmla="*/ 116924 w 784555"/>
                    <a:gd name="connsiteY595" fmla="*/ 558551 h 1048506"/>
                    <a:gd name="connsiteX596" fmla="*/ 117228 w 784555"/>
                    <a:gd name="connsiteY596" fmla="*/ 556146 h 1048506"/>
                    <a:gd name="connsiteX597" fmla="*/ 118479 w 784555"/>
                    <a:gd name="connsiteY597" fmla="*/ 554799 h 1048506"/>
                    <a:gd name="connsiteX598" fmla="*/ 120337 w 784555"/>
                    <a:gd name="connsiteY598" fmla="*/ 554556 h 1048506"/>
                    <a:gd name="connsiteX599" fmla="*/ 122619 w 784555"/>
                    <a:gd name="connsiteY599" fmla="*/ 553961 h 1048506"/>
                    <a:gd name="connsiteX600" fmla="*/ 124927 w 784555"/>
                    <a:gd name="connsiteY600" fmla="*/ 552771 h 1048506"/>
                    <a:gd name="connsiteX601" fmla="*/ 127161 w 784555"/>
                    <a:gd name="connsiteY601" fmla="*/ 549966 h 1048506"/>
                    <a:gd name="connsiteX602" fmla="*/ 127671 w 784555"/>
                    <a:gd name="connsiteY602" fmla="*/ 547185 h 1048506"/>
                    <a:gd name="connsiteX603" fmla="*/ 127732 w 784555"/>
                    <a:gd name="connsiteY603" fmla="*/ 540118 h 1048506"/>
                    <a:gd name="connsiteX604" fmla="*/ 128242 w 784555"/>
                    <a:gd name="connsiteY604" fmla="*/ 537750 h 1048506"/>
                    <a:gd name="connsiteX605" fmla="*/ 129347 w 784555"/>
                    <a:gd name="connsiteY605" fmla="*/ 534702 h 1048506"/>
                    <a:gd name="connsiteX606" fmla="*/ 129735 w 784555"/>
                    <a:gd name="connsiteY606" fmla="*/ 532687 h 1048506"/>
                    <a:gd name="connsiteX607" fmla="*/ 129796 w 784555"/>
                    <a:gd name="connsiteY607" fmla="*/ 530719 h 1048506"/>
                    <a:gd name="connsiteX608" fmla="*/ 129286 w 784555"/>
                    <a:gd name="connsiteY608" fmla="*/ 528473 h 1048506"/>
                    <a:gd name="connsiteX609" fmla="*/ 128654 w 784555"/>
                    <a:gd name="connsiteY609" fmla="*/ 527404 h 1048506"/>
                    <a:gd name="connsiteX610" fmla="*/ 127610 w 784555"/>
                    <a:gd name="connsiteY610" fmla="*/ 526712 h 1048506"/>
                    <a:gd name="connsiteX611" fmla="*/ 126177 w 784555"/>
                    <a:gd name="connsiteY611" fmla="*/ 526226 h 1048506"/>
                    <a:gd name="connsiteX612" fmla="*/ 124696 w 784555"/>
                    <a:gd name="connsiteY612" fmla="*/ 525425 h 1048506"/>
                    <a:gd name="connsiteX613" fmla="*/ 123142 w 784555"/>
                    <a:gd name="connsiteY613" fmla="*/ 524077 h 1048506"/>
                    <a:gd name="connsiteX614" fmla="*/ 121939 w 784555"/>
                    <a:gd name="connsiteY614" fmla="*/ 522098 h 1048506"/>
                    <a:gd name="connsiteX615" fmla="*/ 121186 w 784555"/>
                    <a:gd name="connsiteY615" fmla="*/ 520289 h 1048506"/>
                    <a:gd name="connsiteX616" fmla="*/ 120276 w 784555"/>
                    <a:gd name="connsiteY616" fmla="*/ 517301 h 1048506"/>
                    <a:gd name="connsiteX617" fmla="*/ 119414 w 784555"/>
                    <a:gd name="connsiteY617" fmla="*/ 515298 h 1048506"/>
                    <a:gd name="connsiteX618" fmla="*/ 118382 w 784555"/>
                    <a:gd name="connsiteY618" fmla="*/ 513719 h 1048506"/>
                    <a:gd name="connsiteX619" fmla="*/ 116706 w 784555"/>
                    <a:gd name="connsiteY619" fmla="*/ 512505 h 1048506"/>
                    <a:gd name="connsiteX620" fmla="*/ 107174 w 784555"/>
                    <a:gd name="connsiteY620" fmla="*/ 508085 h 1048506"/>
                    <a:gd name="connsiteX621" fmla="*/ 97872 w 784555"/>
                    <a:gd name="connsiteY621" fmla="*/ 505280 h 1048506"/>
                    <a:gd name="connsiteX622" fmla="*/ 94946 w 784555"/>
                    <a:gd name="connsiteY622" fmla="*/ 503786 h 1048506"/>
                    <a:gd name="connsiteX623" fmla="*/ 92420 w 784555"/>
                    <a:gd name="connsiteY623" fmla="*/ 501637 h 1048506"/>
                    <a:gd name="connsiteX624" fmla="*/ 90016 w 784555"/>
                    <a:gd name="connsiteY624" fmla="*/ 497278 h 1048506"/>
                    <a:gd name="connsiteX625" fmla="*/ 89202 w 784555"/>
                    <a:gd name="connsiteY625" fmla="*/ 493744 h 1048506"/>
                    <a:gd name="connsiteX626" fmla="*/ 89032 w 784555"/>
                    <a:gd name="connsiteY626" fmla="*/ 491012 h 1048506"/>
                    <a:gd name="connsiteX627" fmla="*/ 89433 w 784555"/>
                    <a:gd name="connsiteY627" fmla="*/ 488425 h 1048506"/>
                    <a:gd name="connsiteX628" fmla="*/ 90174 w 784555"/>
                    <a:gd name="connsiteY628" fmla="*/ 485693 h 1048506"/>
                    <a:gd name="connsiteX629" fmla="*/ 90926 w 784555"/>
                    <a:gd name="connsiteY629" fmla="*/ 484066 h 1048506"/>
                    <a:gd name="connsiteX630" fmla="*/ 91910 w 784555"/>
                    <a:gd name="connsiteY630" fmla="*/ 482621 h 1048506"/>
                    <a:gd name="connsiteX631" fmla="*/ 92881 w 784555"/>
                    <a:gd name="connsiteY631" fmla="*/ 481711 h 1048506"/>
                    <a:gd name="connsiteX632" fmla="*/ 94254 w 784555"/>
                    <a:gd name="connsiteY632" fmla="*/ 481128 h 1048506"/>
                    <a:gd name="connsiteX633" fmla="*/ 95869 w 784555"/>
                    <a:gd name="connsiteY633" fmla="*/ 481067 h 1048506"/>
                    <a:gd name="connsiteX634" fmla="*/ 97593 w 784555"/>
                    <a:gd name="connsiteY634" fmla="*/ 481528 h 1048506"/>
                    <a:gd name="connsiteX635" fmla="*/ 101260 w 784555"/>
                    <a:gd name="connsiteY635" fmla="*/ 483216 h 1048506"/>
                    <a:gd name="connsiteX636" fmla="*/ 102924 w 784555"/>
                    <a:gd name="connsiteY636" fmla="*/ 483471 h 1048506"/>
                    <a:gd name="connsiteX637" fmla="*/ 104660 w 784555"/>
                    <a:gd name="connsiteY637" fmla="*/ 482985 h 1048506"/>
                    <a:gd name="connsiteX638" fmla="*/ 105971 w 784555"/>
                    <a:gd name="connsiteY638" fmla="*/ 482014 h 1048506"/>
                    <a:gd name="connsiteX639" fmla="*/ 106894 w 784555"/>
                    <a:gd name="connsiteY639" fmla="*/ 480217 h 1048506"/>
                    <a:gd name="connsiteX640" fmla="*/ 106664 w 784555"/>
                    <a:gd name="connsiteY640" fmla="*/ 479051 h 1048506"/>
                    <a:gd name="connsiteX641" fmla="*/ 105741 w 784555"/>
                    <a:gd name="connsiteY641" fmla="*/ 478201 h 1048506"/>
                    <a:gd name="connsiteX642" fmla="*/ 104357 w 784555"/>
                    <a:gd name="connsiteY642" fmla="*/ 477533 h 1048506"/>
                    <a:gd name="connsiteX643" fmla="*/ 102741 w 784555"/>
                    <a:gd name="connsiteY643" fmla="*/ 475554 h 1048506"/>
                    <a:gd name="connsiteX644" fmla="*/ 101199 w 784555"/>
                    <a:gd name="connsiteY644" fmla="*/ 472482 h 1048506"/>
                    <a:gd name="connsiteX645" fmla="*/ 99147 w 784555"/>
                    <a:gd name="connsiteY645" fmla="*/ 465852 h 1048506"/>
                    <a:gd name="connsiteX646" fmla="*/ 97824 w 784555"/>
                    <a:gd name="connsiteY646" fmla="*/ 462622 h 1048506"/>
                    <a:gd name="connsiteX647" fmla="*/ 96148 w 784555"/>
                    <a:gd name="connsiteY647" fmla="*/ 460472 h 1048506"/>
                    <a:gd name="connsiteX648" fmla="*/ 94606 w 784555"/>
                    <a:gd name="connsiteY648" fmla="*/ 459355 h 1048506"/>
                    <a:gd name="connsiteX649" fmla="*/ 93403 w 784555"/>
                    <a:gd name="connsiteY649" fmla="*/ 458141 h 1048506"/>
                    <a:gd name="connsiteX650" fmla="*/ 92080 w 784555"/>
                    <a:gd name="connsiteY650" fmla="*/ 455955 h 1048506"/>
                    <a:gd name="connsiteX651" fmla="*/ 91910 w 784555"/>
                    <a:gd name="connsiteY651" fmla="*/ 454522 h 1048506"/>
                    <a:gd name="connsiteX652" fmla="*/ 92298 w 784555"/>
                    <a:gd name="connsiteY652" fmla="*/ 453029 h 1048506"/>
                    <a:gd name="connsiteX653" fmla="*/ 93513 w 784555"/>
                    <a:gd name="connsiteY653" fmla="*/ 450904 h 1048506"/>
                    <a:gd name="connsiteX654" fmla="*/ 94484 w 784555"/>
                    <a:gd name="connsiteY654" fmla="*/ 448584 h 1048506"/>
                    <a:gd name="connsiteX655" fmla="*/ 94946 w 784555"/>
                    <a:gd name="connsiteY655" fmla="*/ 445136 h 1048506"/>
                    <a:gd name="connsiteX656" fmla="*/ 94715 w 784555"/>
                    <a:gd name="connsiteY656" fmla="*/ 443764 h 1048506"/>
                    <a:gd name="connsiteX657" fmla="*/ 93914 w 784555"/>
                    <a:gd name="connsiteY657" fmla="*/ 443400 h 1048506"/>
                    <a:gd name="connsiteX658" fmla="*/ 92541 w 784555"/>
                    <a:gd name="connsiteY658" fmla="*/ 444091 h 1048506"/>
                    <a:gd name="connsiteX659" fmla="*/ 87186 w 784555"/>
                    <a:gd name="connsiteY659" fmla="*/ 448050 h 1048506"/>
                    <a:gd name="connsiteX660" fmla="*/ 85936 w 784555"/>
                    <a:gd name="connsiteY660" fmla="*/ 448742 h 1048506"/>
                    <a:gd name="connsiteX661" fmla="*/ 83167 w 784555"/>
                    <a:gd name="connsiteY661" fmla="*/ 449374 h 1048506"/>
                    <a:gd name="connsiteX662" fmla="*/ 70478 w 784555"/>
                    <a:gd name="connsiteY662" fmla="*/ 450042 h 1048506"/>
                    <a:gd name="connsiteX663" fmla="*/ 66118 w 784555"/>
                    <a:gd name="connsiteY663" fmla="*/ 450928 h 1048506"/>
                    <a:gd name="connsiteX664" fmla="*/ 64333 w 784555"/>
                    <a:gd name="connsiteY664" fmla="*/ 450928 h 1048506"/>
                    <a:gd name="connsiteX665" fmla="*/ 62561 w 784555"/>
                    <a:gd name="connsiteY665" fmla="*/ 450467 h 1048506"/>
                    <a:gd name="connsiteX666" fmla="*/ 57970 w 784555"/>
                    <a:gd name="connsiteY666" fmla="*/ 448463 h 1048506"/>
                    <a:gd name="connsiteX667" fmla="*/ 56878 w 784555"/>
                    <a:gd name="connsiteY667" fmla="*/ 448160 h 1048506"/>
                    <a:gd name="connsiteX668" fmla="*/ 55894 w 784555"/>
                    <a:gd name="connsiteY668" fmla="*/ 448147 h 1048506"/>
                    <a:gd name="connsiteX669" fmla="*/ 54923 w 784555"/>
                    <a:gd name="connsiteY669" fmla="*/ 448390 h 1048506"/>
                    <a:gd name="connsiteX670" fmla="*/ 50381 w 784555"/>
                    <a:gd name="connsiteY670" fmla="*/ 450017 h 1048506"/>
                    <a:gd name="connsiteX671" fmla="*/ 48560 w 784555"/>
                    <a:gd name="connsiteY671" fmla="*/ 450139 h 1048506"/>
                    <a:gd name="connsiteX672" fmla="*/ 47005 w 784555"/>
                    <a:gd name="connsiteY672" fmla="*/ 449714 h 1048506"/>
                    <a:gd name="connsiteX673" fmla="*/ 45621 w 784555"/>
                    <a:gd name="connsiteY673" fmla="*/ 448366 h 1048506"/>
                    <a:gd name="connsiteX674" fmla="*/ 45512 w 784555"/>
                    <a:gd name="connsiteY674" fmla="*/ 446593 h 1048506"/>
                    <a:gd name="connsiteX675" fmla="*/ 46253 w 784555"/>
                    <a:gd name="connsiteY675" fmla="*/ 444553 h 1048506"/>
                    <a:gd name="connsiteX676" fmla="*/ 50090 w 784555"/>
                    <a:gd name="connsiteY676" fmla="*/ 439222 h 1048506"/>
                    <a:gd name="connsiteX677" fmla="*/ 51765 w 784555"/>
                    <a:gd name="connsiteY677" fmla="*/ 437607 h 1048506"/>
                    <a:gd name="connsiteX678" fmla="*/ 63022 w 784555"/>
                    <a:gd name="connsiteY678" fmla="*/ 429544 h 1048506"/>
                    <a:gd name="connsiteX679" fmla="*/ 64746 w 784555"/>
                    <a:gd name="connsiteY679" fmla="*/ 424833 h 1048506"/>
                    <a:gd name="connsiteX680" fmla="*/ 59853 w 784555"/>
                    <a:gd name="connsiteY680" fmla="*/ 422161 h 1048506"/>
                    <a:gd name="connsiteX681" fmla="*/ 55845 w 784555"/>
                    <a:gd name="connsiteY681" fmla="*/ 415944 h 1048506"/>
                    <a:gd name="connsiteX682" fmla="*/ 53951 w 784555"/>
                    <a:gd name="connsiteY682" fmla="*/ 414463 h 1048506"/>
                    <a:gd name="connsiteX683" fmla="*/ 51595 w 784555"/>
                    <a:gd name="connsiteY683" fmla="*/ 413394 h 1048506"/>
                    <a:gd name="connsiteX684" fmla="*/ 49470 w 784555"/>
                    <a:gd name="connsiteY684" fmla="*/ 412787 h 1048506"/>
                    <a:gd name="connsiteX685" fmla="*/ 47005 w 784555"/>
                    <a:gd name="connsiteY685" fmla="*/ 411840 h 1048506"/>
                    <a:gd name="connsiteX686" fmla="*/ 45342 w 784555"/>
                    <a:gd name="connsiteY686" fmla="*/ 410638 h 1048506"/>
                    <a:gd name="connsiteX687" fmla="*/ 41493 w 784555"/>
                    <a:gd name="connsiteY687" fmla="*/ 407007 h 1048506"/>
                    <a:gd name="connsiteX688" fmla="*/ 39647 w 784555"/>
                    <a:gd name="connsiteY688" fmla="*/ 406035 h 1048506"/>
                    <a:gd name="connsiteX689" fmla="*/ 19319 w 784555"/>
                    <a:gd name="connsiteY689" fmla="*/ 399660 h 1048506"/>
                    <a:gd name="connsiteX690" fmla="*/ 11002 w 784555"/>
                    <a:gd name="connsiteY690" fmla="*/ 398155 h 1048506"/>
                    <a:gd name="connsiteX691" fmla="*/ 9204 w 784555"/>
                    <a:gd name="connsiteY691" fmla="*/ 396479 h 1048506"/>
                    <a:gd name="connsiteX692" fmla="*/ 8415 w 784555"/>
                    <a:gd name="connsiteY692" fmla="*/ 394961 h 1048506"/>
                    <a:gd name="connsiteX693" fmla="*/ 8233 w 784555"/>
                    <a:gd name="connsiteY693" fmla="*/ 394269 h 1048506"/>
                    <a:gd name="connsiteX694" fmla="*/ 8233 w 784555"/>
                    <a:gd name="connsiteY694" fmla="*/ 393978 h 1048506"/>
                    <a:gd name="connsiteX695" fmla="*/ 8075 w 784555"/>
                    <a:gd name="connsiteY695" fmla="*/ 393188 h 1048506"/>
                    <a:gd name="connsiteX696" fmla="*/ 7771 w 784555"/>
                    <a:gd name="connsiteY696" fmla="*/ 392083 h 1048506"/>
                    <a:gd name="connsiteX697" fmla="*/ 7383 w 784555"/>
                    <a:gd name="connsiteY697" fmla="*/ 391172 h 1048506"/>
                    <a:gd name="connsiteX698" fmla="*/ 6630 w 784555"/>
                    <a:gd name="connsiteY698" fmla="*/ 389825 h 1048506"/>
                    <a:gd name="connsiteX699" fmla="*/ 6169 w 784555"/>
                    <a:gd name="connsiteY699" fmla="*/ 388513 h 1048506"/>
                    <a:gd name="connsiteX700" fmla="*/ 6290 w 784555"/>
                    <a:gd name="connsiteY700" fmla="*/ 387081 h 1048506"/>
                    <a:gd name="connsiteX701" fmla="*/ 7322 w 784555"/>
                    <a:gd name="connsiteY701" fmla="*/ 384069 h 1048506"/>
                    <a:gd name="connsiteX702" fmla="*/ 7431 w 784555"/>
                    <a:gd name="connsiteY702" fmla="*/ 382600 h 1048506"/>
                    <a:gd name="connsiteX703" fmla="*/ 6521 w 784555"/>
                    <a:gd name="connsiteY703" fmla="*/ 379442 h 1048506"/>
                    <a:gd name="connsiteX704" fmla="*/ 6399 w 784555"/>
                    <a:gd name="connsiteY704" fmla="*/ 377767 h 1048506"/>
                    <a:gd name="connsiteX705" fmla="*/ 6861 w 784555"/>
                    <a:gd name="connsiteY705" fmla="*/ 376140 h 1048506"/>
                    <a:gd name="connsiteX706" fmla="*/ 8075 w 784555"/>
                    <a:gd name="connsiteY706" fmla="*/ 374294 h 1048506"/>
                    <a:gd name="connsiteX707" fmla="*/ 12823 w 784555"/>
                    <a:gd name="connsiteY707" fmla="*/ 374901 h 1048506"/>
                    <a:gd name="connsiteX708" fmla="*/ 14899 w 784555"/>
                    <a:gd name="connsiteY708" fmla="*/ 375933 h 1048506"/>
                    <a:gd name="connsiteX709" fmla="*/ 19089 w 784555"/>
                    <a:gd name="connsiteY709" fmla="*/ 377427 h 1048506"/>
                    <a:gd name="connsiteX710" fmla="*/ 22137 w 784555"/>
                    <a:gd name="connsiteY710" fmla="*/ 377548 h 1048506"/>
                    <a:gd name="connsiteX711" fmla="*/ 26557 w 784555"/>
                    <a:gd name="connsiteY711" fmla="*/ 376662 h 1048506"/>
                    <a:gd name="connsiteX712" fmla="*/ 28852 w 784555"/>
                    <a:gd name="connsiteY712" fmla="*/ 374986 h 1048506"/>
                    <a:gd name="connsiteX713" fmla="*/ 30515 w 784555"/>
                    <a:gd name="connsiteY713" fmla="*/ 372776 h 1048506"/>
                    <a:gd name="connsiteX714" fmla="*/ 31547 w 784555"/>
                    <a:gd name="connsiteY714" fmla="*/ 370857 h 1048506"/>
                    <a:gd name="connsiteX715" fmla="*/ 33102 w 784555"/>
                    <a:gd name="connsiteY715" fmla="*/ 369060 h 1048506"/>
                    <a:gd name="connsiteX716" fmla="*/ 35348 w 784555"/>
                    <a:gd name="connsiteY716" fmla="*/ 367506 h 1048506"/>
                    <a:gd name="connsiteX717" fmla="*/ 38445 w 784555"/>
                    <a:gd name="connsiteY717" fmla="*/ 366838 h 1048506"/>
                    <a:gd name="connsiteX718" fmla="*/ 39938 w 784555"/>
                    <a:gd name="connsiteY718" fmla="*/ 366292 h 1048506"/>
                    <a:gd name="connsiteX719" fmla="*/ 40800 w 784555"/>
                    <a:gd name="connsiteY719" fmla="*/ 365770 h 1048506"/>
                    <a:gd name="connsiteX720" fmla="*/ 41310 w 784555"/>
                    <a:gd name="connsiteY720" fmla="*/ 365138 h 1048506"/>
                    <a:gd name="connsiteX721" fmla="*/ 41541 w 784555"/>
                    <a:gd name="connsiteY721" fmla="*/ 364252 h 1048506"/>
                    <a:gd name="connsiteX722" fmla="*/ 41602 w 784555"/>
                    <a:gd name="connsiteY722" fmla="*/ 363730 h 1048506"/>
                    <a:gd name="connsiteX723" fmla="*/ 40922 w 784555"/>
                    <a:gd name="connsiteY723" fmla="*/ 362357 h 1048506"/>
                    <a:gd name="connsiteX724" fmla="*/ 41954 w 784555"/>
                    <a:gd name="connsiteY724" fmla="*/ 360354 h 1048506"/>
                    <a:gd name="connsiteX725" fmla="*/ 42634 w 784555"/>
                    <a:gd name="connsiteY725" fmla="*/ 359346 h 1048506"/>
                    <a:gd name="connsiteX726" fmla="*/ 43727 w 784555"/>
                    <a:gd name="connsiteY726" fmla="*/ 358059 h 1048506"/>
                    <a:gd name="connsiteX727" fmla="*/ 45342 w 784555"/>
                    <a:gd name="connsiteY727" fmla="*/ 356505 h 1048506"/>
                    <a:gd name="connsiteX728" fmla="*/ 47564 w 784555"/>
                    <a:gd name="connsiteY728" fmla="*/ 354780 h 1048506"/>
                    <a:gd name="connsiteX729" fmla="*/ 50211 w 784555"/>
                    <a:gd name="connsiteY729" fmla="*/ 353202 h 1048506"/>
                    <a:gd name="connsiteX730" fmla="*/ 53660 w 784555"/>
                    <a:gd name="connsiteY730" fmla="*/ 352339 h 1048506"/>
                    <a:gd name="connsiteX731" fmla="*/ 57388 w 784555"/>
                    <a:gd name="connsiteY731" fmla="*/ 352400 h 1048506"/>
                    <a:gd name="connsiteX732" fmla="*/ 62743 w 784555"/>
                    <a:gd name="connsiteY732" fmla="*/ 354331 h 1048506"/>
                    <a:gd name="connsiteX733" fmla="*/ 64977 w 784555"/>
                    <a:gd name="connsiteY733" fmla="*/ 356589 h 1048506"/>
                    <a:gd name="connsiteX734" fmla="*/ 65948 w 784555"/>
                    <a:gd name="connsiteY734" fmla="*/ 359006 h 1048506"/>
                    <a:gd name="connsiteX735" fmla="*/ 65548 w 784555"/>
                    <a:gd name="connsiteY735" fmla="*/ 362989 h 1048506"/>
                    <a:gd name="connsiteX736" fmla="*/ 65608 w 784555"/>
                    <a:gd name="connsiteY736" fmla="*/ 364774 h 1048506"/>
                    <a:gd name="connsiteX737" fmla="*/ 66118 w 784555"/>
                    <a:gd name="connsiteY737" fmla="*/ 366401 h 1048506"/>
                    <a:gd name="connsiteX738" fmla="*/ 67381 w 784555"/>
                    <a:gd name="connsiteY738" fmla="*/ 367700 h 1048506"/>
                    <a:gd name="connsiteX739" fmla="*/ 69288 w 784555"/>
                    <a:gd name="connsiteY739" fmla="*/ 368635 h 1048506"/>
                    <a:gd name="connsiteX740" fmla="*/ 72323 w 784555"/>
                    <a:gd name="connsiteY740" fmla="*/ 369073 h 1048506"/>
                    <a:gd name="connsiteX741" fmla="*/ 76452 w 784555"/>
                    <a:gd name="connsiteY741" fmla="*/ 369133 h 1048506"/>
                    <a:gd name="connsiteX742" fmla="*/ 103725 w 784555"/>
                    <a:gd name="connsiteY742" fmla="*/ 367008 h 1048506"/>
                    <a:gd name="connsiteX743" fmla="*/ 106773 w 784555"/>
                    <a:gd name="connsiteY743" fmla="*/ 367336 h 1048506"/>
                    <a:gd name="connsiteX744" fmla="*/ 116876 w 784555"/>
                    <a:gd name="connsiteY744" fmla="*/ 370177 h 1048506"/>
                    <a:gd name="connsiteX745" fmla="*/ 118029 w 784555"/>
                    <a:gd name="connsiteY745" fmla="*/ 368805 h 1048506"/>
                    <a:gd name="connsiteX746" fmla="*/ 119062 w 784555"/>
                    <a:gd name="connsiteY746" fmla="*/ 367081 h 1048506"/>
                    <a:gd name="connsiteX747" fmla="*/ 121247 w 784555"/>
                    <a:gd name="connsiteY747" fmla="*/ 355132 h 1048506"/>
                    <a:gd name="connsiteX748" fmla="*/ 125777 w 784555"/>
                    <a:gd name="connsiteY748" fmla="*/ 347349 h 1048506"/>
                    <a:gd name="connsiteX749" fmla="*/ 133184 w 784555"/>
                    <a:gd name="connsiteY749" fmla="*/ 336979 h 1048506"/>
                    <a:gd name="connsiteX750" fmla="*/ 135139 w 784555"/>
                    <a:gd name="connsiteY750" fmla="*/ 335607 h 1048506"/>
                    <a:gd name="connsiteX751" fmla="*/ 137616 w 784555"/>
                    <a:gd name="connsiteY751" fmla="*/ 334720 h 1048506"/>
                    <a:gd name="connsiteX752" fmla="*/ 141684 w 784555"/>
                    <a:gd name="connsiteY752" fmla="*/ 334574 h 1048506"/>
                    <a:gd name="connsiteX753" fmla="*/ 144501 w 784555"/>
                    <a:gd name="connsiteY753" fmla="*/ 334234 h 1048506"/>
                    <a:gd name="connsiteX754" fmla="*/ 148120 w 784555"/>
                    <a:gd name="connsiteY754" fmla="*/ 332619 h 1048506"/>
                    <a:gd name="connsiteX755" fmla="*/ 150014 w 784555"/>
                    <a:gd name="connsiteY755" fmla="*/ 332073 h 1048506"/>
                    <a:gd name="connsiteX756" fmla="*/ 152880 w 784555"/>
                    <a:gd name="connsiteY756" fmla="*/ 332814 h 1048506"/>
                    <a:gd name="connsiteX757" fmla="*/ 155466 w 784555"/>
                    <a:gd name="connsiteY757" fmla="*/ 334356 h 1048506"/>
                    <a:gd name="connsiteX758" fmla="*/ 165970 w 784555"/>
                    <a:gd name="connsiteY758" fmla="*/ 345236 h 1048506"/>
                    <a:gd name="connsiteX759" fmla="*/ 168496 w 784555"/>
                    <a:gd name="connsiteY759" fmla="*/ 346450 h 1048506"/>
                    <a:gd name="connsiteX760" fmla="*/ 170621 w 784555"/>
                    <a:gd name="connsiteY760" fmla="*/ 346025 h 1048506"/>
                    <a:gd name="connsiteX761" fmla="*/ 172017 w 784555"/>
                    <a:gd name="connsiteY761" fmla="*/ 343524 h 1048506"/>
                    <a:gd name="connsiteX762" fmla="*/ 172758 w 784555"/>
                    <a:gd name="connsiteY762" fmla="*/ 339626 h 1048506"/>
                    <a:gd name="connsiteX763" fmla="*/ 173328 w 784555"/>
                    <a:gd name="connsiteY763" fmla="*/ 338436 h 1048506"/>
                    <a:gd name="connsiteX764" fmla="*/ 174992 w 784555"/>
                    <a:gd name="connsiteY764" fmla="*/ 337671 h 1048506"/>
                    <a:gd name="connsiteX765" fmla="*/ 177688 w 784555"/>
                    <a:gd name="connsiteY765" fmla="*/ 336954 h 1048506"/>
                    <a:gd name="connsiteX766" fmla="*/ 182909 w 784555"/>
                    <a:gd name="connsiteY766" fmla="*/ 336226 h 1048506"/>
                    <a:gd name="connsiteX767" fmla="*/ 191931 w 784555"/>
                    <a:gd name="connsiteY767" fmla="*/ 336602 h 1048506"/>
                    <a:gd name="connsiteX768" fmla="*/ 194518 w 784555"/>
                    <a:gd name="connsiteY768" fmla="*/ 335898 h 1048506"/>
                    <a:gd name="connsiteX769" fmla="*/ 196922 w 784555"/>
                    <a:gd name="connsiteY769" fmla="*/ 334659 h 1048506"/>
                    <a:gd name="connsiteX770" fmla="*/ 199108 w 784555"/>
                    <a:gd name="connsiteY770" fmla="*/ 333797 h 1048506"/>
                    <a:gd name="connsiteX771" fmla="*/ 201512 w 784555"/>
                    <a:gd name="connsiteY771" fmla="*/ 333919 h 1048506"/>
                    <a:gd name="connsiteX772" fmla="*/ 203188 w 784555"/>
                    <a:gd name="connsiteY772" fmla="*/ 334781 h 1048506"/>
                    <a:gd name="connsiteX773" fmla="*/ 206406 w 784555"/>
                    <a:gd name="connsiteY773" fmla="*/ 335789 h 1048506"/>
                    <a:gd name="connsiteX774" fmla="*/ 208009 w 784555"/>
                    <a:gd name="connsiteY774" fmla="*/ 336554 h 1048506"/>
                    <a:gd name="connsiteX775" fmla="*/ 211396 w 784555"/>
                    <a:gd name="connsiteY775" fmla="*/ 339334 h 1048506"/>
                    <a:gd name="connsiteX776" fmla="*/ 213983 w 784555"/>
                    <a:gd name="connsiteY776" fmla="*/ 340160 h 1048506"/>
                    <a:gd name="connsiteX777" fmla="*/ 216849 w 784555"/>
                    <a:gd name="connsiteY777" fmla="*/ 340112 h 1048506"/>
                    <a:gd name="connsiteX778" fmla="*/ 221560 w 784555"/>
                    <a:gd name="connsiteY778" fmla="*/ 338752 h 1048506"/>
                    <a:gd name="connsiteX779" fmla="*/ 227012 w 784555"/>
                    <a:gd name="connsiteY779" fmla="*/ 338618 h 1048506"/>
                    <a:gd name="connsiteX780" fmla="*/ 229089 w 784555"/>
                    <a:gd name="connsiteY780" fmla="*/ 337817 h 1048506"/>
                    <a:gd name="connsiteX781" fmla="*/ 231833 w 784555"/>
                    <a:gd name="connsiteY781" fmla="*/ 334817 h 1048506"/>
                    <a:gd name="connsiteX782" fmla="*/ 233509 w 784555"/>
                    <a:gd name="connsiteY782" fmla="*/ 331575 h 1048506"/>
                    <a:gd name="connsiteX783" fmla="*/ 237127 w 784555"/>
                    <a:gd name="connsiteY783" fmla="*/ 321326 h 1048506"/>
                    <a:gd name="connsiteX784" fmla="*/ 238439 w 784555"/>
                    <a:gd name="connsiteY784" fmla="*/ 319007 h 1048506"/>
                    <a:gd name="connsiteX785" fmla="*/ 241426 w 784555"/>
                    <a:gd name="connsiteY785" fmla="*/ 315012 h 1048506"/>
                    <a:gd name="connsiteX786" fmla="*/ 242361 w 784555"/>
                    <a:gd name="connsiteY786" fmla="*/ 313033 h 1048506"/>
                    <a:gd name="connsiteX787" fmla="*/ 245397 w 784555"/>
                    <a:gd name="connsiteY787" fmla="*/ 311308 h 1048506"/>
                    <a:gd name="connsiteX788" fmla="*/ 247570 w 784555"/>
                    <a:gd name="connsiteY788" fmla="*/ 310300 h 1048506"/>
                    <a:gd name="connsiteX789" fmla="*/ 267327 w 784555"/>
                    <a:gd name="connsiteY789" fmla="*/ 308516 h 1048506"/>
                    <a:gd name="connsiteX790" fmla="*/ 270945 w 784555"/>
                    <a:gd name="connsiteY790" fmla="*/ 307702 h 1048506"/>
                    <a:gd name="connsiteX791" fmla="*/ 272609 w 784555"/>
                    <a:gd name="connsiteY791" fmla="*/ 306973 h 1048506"/>
                    <a:gd name="connsiteX792" fmla="*/ 274224 w 784555"/>
                    <a:gd name="connsiteY792" fmla="*/ 306026 h 1048506"/>
                    <a:gd name="connsiteX793" fmla="*/ 276276 w 784555"/>
                    <a:gd name="connsiteY793" fmla="*/ 304424 h 1048506"/>
                    <a:gd name="connsiteX794" fmla="*/ 278523 w 784555"/>
                    <a:gd name="connsiteY794" fmla="*/ 299603 h 1048506"/>
                    <a:gd name="connsiteX795" fmla="*/ 285007 w 784555"/>
                    <a:gd name="connsiteY795" fmla="*/ 291564 h 1048506"/>
                    <a:gd name="connsiteX796" fmla="*/ 286622 w 784555"/>
                    <a:gd name="connsiteY796" fmla="*/ 287946 h 1048506"/>
                    <a:gd name="connsiteX797" fmla="*/ 288565 w 784555"/>
                    <a:gd name="connsiteY797" fmla="*/ 286476 h 1048506"/>
                    <a:gd name="connsiteX798" fmla="*/ 290301 w 784555"/>
                    <a:gd name="connsiteY798" fmla="*/ 284728 h 1048506"/>
                    <a:gd name="connsiteX799" fmla="*/ 291613 w 784555"/>
                    <a:gd name="connsiteY799" fmla="*/ 283416 h 1048506"/>
                    <a:gd name="connsiteX800" fmla="*/ 292244 w 784555"/>
                    <a:gd name="connsiteY800" fmla="*/ 282894 h 1048506"/>
                    <a:gd name="connsiteX801" fmla="*/ 292936 w 784555"/>
                    <a:gd name="connsiteY801" fmla="*/ 282165 h 1048506"/>
                    <a:gd name="connsiteX802" fmla="*/ 293398 w 784555"/>
                    <a:gd name="connsiteY802" fmla="*/ 281412 h 1048506"/>
                    <a:gd name="connsiteX803" fmla="*/ 293798 w 784555"/>
                    <a:gd name="connsiteY803" fmla="*/ 280648 h 1048506"/>
                    <a:gd name="connsiteX804" fmla="*/ 294138 w 784555"/>
                    <a:gd name="connsiteY804" fmla="*/ 279822 h 1048506"/>
                    <a:gd name="connsiteX805" fmla="*/ 294539 w 784555"/>
                    <a:gd name="connsiteY805" fmla="*/ 278049 h 1048506"/>
                    <a:gd name="connsiteX806" fmla="*/ 294661 w 784555"/>
                    <a:gd name="connsiteY806" fmla="*/ 277126 h 1048506"/>
                    <a:gd name="connsiteX807" fmla="*/ 294661 w 784555"/>
                    <a:gd name="connsiteY807" fmla="*/ 276143 h 1048506"/>
                    <a:gd name="connsiteX808" fmla="*/ 293968 w 784555"/>
                    <a:gd name="connsiteY808" fmla="*/ 274430 h 1048506"/>
                    <a:gd name="connsiteX809" fmla="*/ 288686 w 784555"/>
                    <a:gd name="connsiteY809" fmla="*/ 265870 h 1048506"/>
                    <a:gd name="connsiteX810" fmla="*/ 287132 w 784555"/>
                    <a:gd name="connsiteY810" fmla="*/ 264777 h 1048506"/>
                    <a:gd name="connsiteX811" fmla="*/ 286379 w 784555"/>
                    <a:gd name="connsiteY811" fmla="*/ 263805 h 1048506"/>
                    <a:gd name="connsiteX812" fmla="*/ 281510 w 784555"/>
                    <a:gd name="connsiteY812" fmla="*/ 261304 h 1048506"/>
                    <a:gd name="connsiteX813" fmla="*/ 275754 w 784555"/>
                    <a:gd name="connsiteY813" fmla="*/ 260187 h 1048506"/>
                    <a:gd name="connsiteX814" fmla="*/ 242810 w 784555"/>
                    <a:gd name="connsiteY814" fmla="*/ 259907 h 1048506"/>
                    <a:gd name="connsiteX815" fmla="*/ 241147 w 784555"/>
                    <a:gd name="connsiteY815" fmla="*/ 259507 h 1048506"/>
                    <a:gd name="connsiteX816" fmla="*/ 240224 w 784555"/>
                    <a:gd name="connsiteY816" fmla="*/ 258159 h 1048506"/>
                    <a:gd name="connsiteX817" fmla="*/ 240625 w 784555"/>
                    <a:gd name="connsiteY817" fmla="*/ 254941 h 1048506"/>
                    <a:gd name="connsiteX818" fmla="*/ 239872 w 784555"/>
                    <a:gd name="connsiteY818" fmla="*/ 252986 h 1048506"/>
                    <a:gd name="connsiteX819" fmla="*/ 237637 w 784555"/>
                    <a:gd name="connsiteY819" fmla="*/ 251553 h 1048506"/>
                    <a:gd name="connsiteX820" fmla="*/ 237637 w 784555"/>
                    <a:gd name="connsiteY820" fmla="*/ 249234 h 1048506"/>
                    <a:gd name="connsiteX821" fmla="*/ 237929 w 784555"/>
                    <a:gd name="connsiteY821" fmla="*/ 248627 h 1048506"/>
                    <a:gd name="connsiteX822" fmla="*/ 238949 w 784555"/>
                    <a:gd name="connsiteY822" fmla="*/ 246805 h 1048506"/>
                    <a:gd name="connsiteX823" fmla="*/ 240503 w 784555"/>
                    <a:gd name="connsiteY823" fmla="*/ 245239 h 1048506"/>
                    <a:gd name="connsiteX824" fmla="*/ 242397 w 784555"/>
                    <a:gd name="connsiteY824" fmla="*/ 244000 h 1048506"/>
                    <a:gd name="connsiteX825" fmla="*/ 249695 w 784555"/>
                    <a:gd name="connsiteY825" fmla="*/ 240321 h 1048506"/>
                    <a:gd name="connsiteX826" fmla="*/ 255670 w 784555"/>
                    <a:gd name="connsiteY826" fmla="*/ 234359 h 1048506"/>
                    <a:gd name="connsiteX827" fmla="*/ 257795 w 784555"/>
                    <a:gd name="connsiteY827" fmla="*/ 230886 h 1048506"/>
                    <a:gd name="connsiteX828" fmla="*/ 261243 w 784555"/>
                    <a:gd name="connsiteY828" fmla="*/ 227012 h 1048506"/>
                    <a:gd name="connsiteX829" fmla="*/ 262676 w 784555"/>
                    <a:gd name="connsiteY829" fmla="*/ 224790 h 1048506"/>
                    <a:gd name="connsiteX830" fmla="*/ 263878 w 784555"/>
                    <a:gd name="connsiteY830" fmla="*/ 221754 h 1048506"/>
                    <a:gd name="connsiteX831" fmla="*/ 266586 w 784555"/>
                    <a:gd name="connsiteY831" fmla="*/ 210182 h 1048506"/>
                    <a:gd name="connsiteX832" fmla="*/ 266744 w 784555"/>
                    <a:gd name="connsiteY832" fmla="*/ 207511 h 1048506"/>
                    <a:gd name="connsiteX833" fmla="*/ 265894 w 784555"/>
                    <a:gd name="connsiteY833" fmla="*/ 205361 h 1048506"/>
                    <a:gd name="connsiteX834" fmla="*/ 264923 w 784555"/>
                    <a:gd name="connsiteY834" fmla="*/ 204693 h 1048506"/>
                    <a:gd name="connsiteX835" fmla="*/ 263477 w 784555"/>
                    <a:gd name="connsiteY835" fmla="*/ 204718 h 1048506"/>
                    <a:gd name="connsiteX836" fmla="*/ 261875 w 784555"/>
                    <a:gd name="connsiteY836" fmla="*/ 205179 h 1048506"/>
                    <a:gd name="connsiteX837" fmla="*/ 260442 w 784555"/>
                    <a:gd name="connsiteY837" fmla="*/ 205410 h 1048506"/>
                    <a:gd name="connsiteX838" fmla="*/ 259288 w 784555"/>
                    <a:gd name="connsiteY838" fmla="*/ 205240 h 1048506"/>
                    <a:gd name="connsiteX839" fmla="*/ 258645 w 784555"/>
                    <a:gd name="connsiteY839" fmla="*/ 204779 h 1048506"/>
                    <a:gd name="connsiteX840" fmla="*/ 258256 w 784555"/>
                    <a:gd name="connsiteY840" fmla="*/ 203916 h 1048506"/>
                    <a:gd name="connsiteX841" fmla="*/ 258256 w 784555"/>
                    <a:gd name="connsiteY841" fmla="*/ 203795 h 1048506"/>
                    <a:gd name="connsiteX842" fmla="*/ 259470 w 784555"/>
                    <a:gd name="connsiteY842" fmla="*/ 200152 h 1048506"/>
                    <a:gd name="connsiteX843" fmla="*/ 259470 w 784555"/>
                    <a:gd name="connsiteY843" fmla="*/ 198634 h 1048506"/>
                    <a:gd name="connsiteX844" fmla="*/ 258596 w 784555"/>
                    <a:gd name="connsiteY844" fmla="*/ 196351 h 1048506"/>
                    <a:gd name="connsiteX845" fmla="*/ 257612 w 784555"/>
                    <a:gd name="connsiteY845" fmla="*/ 195173 h 1048506"/>
                    <a:gd name="connsiteX846" fmla="*/ 257151 w 784555"/>
                    <a:gd name="connsiteY846" fmla="*/ 192441 h 1048506"/>
                    <a:gd name="connsiteX847" fmla="*/ 257734 w 784555"/>
                    <a:gd name="connsiteY847" fmla="*/ 188216 h 1048506"/>
                    <a:gd name="connsiteX848" fmla="*/ 260381 w 784555"/>
                    <a:gd name="connsiteY848" fmla="*/ 180153 h 1048506"/>
                    <a:gd name="connsiteX849" fmla="*/ 264801 w 784555"/>
                    <a:gd name="connsiteY849" fmla="*/ 170875 h 1048506"/>
                    <a:gd name="connsiteX850" fmla="*/ 269173 w 784555"/>
                    <a:gd name="connsiteY850" fmla="*/ 169273 h 1048506"/>
                    <a:gd name="connsiteX851" fmla="*/ 270545 w 784555"/>
                    <a:gd name="connsiteY851" fmla="*/ 169090 h 1048506"/>
                    <a:gd name="connsiteX852" fmla="*/ 272548 w 784555"/>
                    <a:gd name="connsiteY852" fmla="*/ 169212 h 1048506"/>
                    <a:gd name="connsiteX853" fmla="*/ 275997 w 784555"/>
                    <a:gd name="connsiteY853" fmla="*/ 170037 h 1048506"/>
                    <a:gd name="connsiteX854" fmla="*/ 277770 w 784555"/>
                    <a:gd name="connsiteY854" fmla="*/ 170244 h 1048506"/>
                    <a:gd name="connsiteX855" fmla="*/ 279846 w 784555"/>
                    <a:gd name="connsiteY855" fmla="*/ 169904 h 1048506"/>
                    <a:gd name="connsiteX856" fmla="*/ 281971 w 784555"/>
                    <a:gd name="connsiteY856" fmla="*/ 169102 h 1048506"/>
                    <a:gd name="connsiteX857" fmla="*/ 290058 w 784555"/>
                    <a:gd name="connsiteY857" fmla="*/ 164391 h 1048506"/>
                    <a:gd name="connsiteX858" fmla="*/ 291795 w 784555"/>
                    <a:gd name="connsiteY858" fmla="*/ 163723 h 1048506"/>
                    <a:gd name="connsiteX859" fmla="*/ 293045 w 784555"/>
                    <a:gd name="connsiteY859" fmla="*/ 163055 h 1048506"/>
                    <a:gd name="connsiteX860" fmla="*/ 294017 w 784555"/>
                    <a:gd name="connsiteY860" fmla="*/ 162121 h 1048506"/>
                    <a:gd name="connsiteX861" fmla="*/ 293920 w 784555"/>
                    <a:gd name="connsiteY861" fmla="*/ 160384 h 1048506"/>
                    <a:gd name="connsiteX862" fmla="*/ 293337 w 784555"/>
                    <a:gd name="connsiteY862" fmla="*/ 159328 h 1048506"/>
                    <a:gd name="connsiteX863" fmla="*/ 292523 w 784555"/>
                    <a:gd name="connsiteY863" fmla="*/ 158174 h 1048506"/>
                    <a:gd name="connsiteX864" fmla="*/ 292123 w 784555"/>
                    <a:gd name="connsiteY864" fmla="*/ 157142 h 1048506"/>
                    <a:gd name="connsiteX865" fmla="*/ 292305 w 784555"/>
                    <a:gd name="connsiteY865" fmla="*/ 155587 h 1048506"/>
                    <a:gd name="connsiteX866" fmla="*/ 293045 w 784555"/>
                    <a:gd name="connsiteY866" fmla="*/ 153717 h 1048506"/>
                    <a:gd name="connsiteX867" fmla="*/ 296446 w 784555"/>
                    <a:gd name="connsiteY867" fmla="*/ 148909 h 1048506"/>
                    <a:gd name="connsiteX868" fmla="*/ 298619 w 784555"/>
                    <a:gd name="connsiteY868" fmla="*/ 144574 h 1048506"/>
                    <a:gd name="connsiteX869" fmla="*/ 300744 w 784555"/>
                    <a:gd name="connsiteY869" fmla="*/ 135843 h 1048506"/>
                    <a:gd name="connsiteX870" fmla="*/ 309135 w 784555"/>
                    <a:gd name="connsiteY870" fmla="*/ 133014 h 1048506"/>
                    <a:gd name="connsiteX871" fmla="*/ 318364 w 784555"/>
                    <a:gd name="connsiteY871" fmla="*/ 132771 h 1048506"/>
                    <a:gd name="connsiteX872" fmla="*/ 320209 w 784555"/>
                    <a:gd name="connsiteY872" fmla="*/ 133014 h 1048506"/>
                    <a:gd name="connsiteX873" fmla="*/ 322043 w 784555"/>
                    <a:gd name="connsiteY873" fmla="*/ 133609 h 1048506"/>
                    <a:gd name="connsiteX874" fmla="*/ 324229 w 784555"/>
                    <a:gd name="connsiteY874" fmla="*/ 135017 h 1048506"/>
                    <a:gd name="connsiteX875" fmla="*/ 325783 w 784555"/>
                    <a:gd name="connsiteY875" fmla="*/ 136450 h 1048506"/>
                    <a:gd name="connsiteX876" fmla="*/ 327046 w 784555"/>
                    <a:gd name="connsiteY876" fmla="*/ 137993 h 1048506"/>
                    <a:gd name="connsiteX877" fmla="*/ 328248 w 784555"/>
                    <a:gd name="connsiteY877" fmla="*/ 139838 h 1048506"/>
                    <a:gd name="connsiteX878" fmla="*/ 331466 w 784555"/>
                    <a:gd name="connsiteY878" fmla="*/ 143481 h 1048506"/>
                    <a:gd name="connsiteX879" fmla="*/ 333469 w 784555"/>
                    <a:gd name="connsiteY879" fmla="*/ 144950 h 1048506"/>
                    <a:gd name="connsiteX880" fmla="*/ 335655 w 784555"/>
                    <a:gd name="connsiteY880" fmla="*/ 145812 h 1048506"/>
                    <a:gd name="connsiteX881" fmla="*/ 338424 w 784555"/>
                    <a:gd name="connsiteY881" fmla="*/ 145266 h 1048506"/>
                    <a:gd name="connsiteX882" fmla="*/ 339395 w 784555"/>
                    <a:gd name="connsiteY882" fmla="*/ 144489 h 1048506"/>
                    <a:gd name="connsiteX883" fmla="*/ 339735 w 784555"/>
                    <a:gd name="connsiteY883" fmla="*/ 143311 h 1048506"/>
                    <a:gd name="connsiteX884" fmla="*/ 339905 w 784555"/>
                    <a:gd name="connsiteY884" fmla="*/ 142473 h 1048506"/>
                    <a:gd name="connsiteX885" fmla="*/ 340597 w 784555"/>
                    <a:gd name="connsiteY885" fmla="*/ 141393 h 1048506"/>
                    <a:gd name="connsiteX886" fmla="*/ 343572 w 784555"/>
                    <a:gd name="connsiteY886" fmla="*/ 137337 h 1048506"/>
                    <a:gd name="connsiteX887" fmla="*/ 345649 w 784555"/>
                    <a:gd name="connsiteY887" fmla="*/ 137057 h 1048506"/>
                    <a:gd name="connsiteX888" fmla="*/ 348575 w 784555"/>
                    <a:gd name="connsiteY888" fmla="*/ 137883 h 1048506"/>
                    <a:gd name="connsiteX889" fmla="*/ 354720 w 784555"/>
                    <a:gd name="connsiteY889" fmla="*/ 141672 h 1048506"/>
                    <a:gd name="connsiteX890" fmla="*/ 363050 w 784555"/>
                    <a:gd name="connsiteY890" fmla="*/ 148460 h 1048506"/>
                    <a:gd name="connsiteX891" fmla="*/ 368793 w 784555"/>
                    <a:gd name="connsiteY891" fmla="*/ 151362 h 1048506"/>
                    <a:gd name="connsiteX892" fmla="*/ 381070 w 784555"/>
                    <a:gd name="connsiteY892" fmla="*/ 154288 h 1048506"/>
                    <a:gd name="connsiteX893" fmla="*/ 389521 w 784555"/>
                    <a:gd name="connsiteY893" fmla="*/ 166176 h 1048506"/>
                    <a:gd name="connsiteX894" fmla="*/ 394160 w 784555"/>
                    <a:gd name="connsiteY894" fmla="*/ 170462 h 1048506"/>
                    <a:gd name="connsiteX895" fmla="*/ 404226 w 784555"/>
                    <a:gd name="connsiteY895" fmla="*/ 176862 h 1048506"/>
                    <a:gd name="connsiteX896" fmla="*/ 409096 w 784555"/>
                    <a:gd name="connsiteY896" fmla="*/ 178295 h 1048506"/>
                    <a:gd name="connsiteX897" fmla="*/ 410868 w 784555"/>
                    <a:gd name="connsiteY897" fmla="*/ 178574 h 1048506"/>
                    <a:gd name="connsiteX898" fmla="*/ 412775 w 784555"/>
                    <a:gd name="connsiteY898" fmla="*/ 178659 h 1048506"/>
                    <a:gd name="connsiteX899" fmla="*/ 416612 w 784555"/>
                    <a:gd name="connsiteY899" fmla="*/ 178513 h 1048506"/>
                    <a:gd name="connsiteX900" fmla="*/ 417887 w 784555"/>
                    <a:gd name="connsiteY900" fmla="*/ 178307 h 1048506"/>
                    <a:gd name="connsiteX901" fmla="*/ 419781 w 784555"/>
                    <a:gd name="connsiteY901" fmla="*/ 177554 h 1048506"/>
                    <a:gd name="connsiteX902" fmla="*/ 421967 w 784555"/>
                    <a:gd name="connsiteY902" fmla="*/ 176437 h 1048506"/>
                    <a:gd name="connsiteX903" fmla="*/ 430054 w 784555"/>
                    <a:gd name="connsiteY903" fmla="*/ 167913 h 1048506"/>
                    <a:gd name="connsiteX904" fmla="*/ 431038 w 784555"/>
                    <a:gd name="connsiteY904" fmla="*/ 164792 h 1048506"/>
                    <a:gd name="connsiteX905" fmla="*/ 431317 w 784555"/>
                    <a:gd name="connsiteY905" fmla="*/ 162132 h 1048506"/>
                    <a:gd name="connsiteX906" fmla="*/ 431087 w 784555"/>
                    <a:gd name="connsiteY906" fmla="*/ 159777 h 1048506"/>
                    <a:gd name="connsiteX907" fmla="*/ 431378 w 784555"/>
                    <a:gd name="connsiteY907" fmla="*/ 158052 h 1048506"/>
                    <a:gd name="connsiteX908" fmla="*/ 431900 w 784555"/>
                    <a:gd name="connsiteY908" fmla="*/ 157142 h 1048506"/>
                    <a:gd name="connsiteX909" fmla="*/ 432592 w 784555"/>
                    <a:gd name="connsiteY909" fmla="*/ 156887 h 1048506"/>
                    <a:gd name="connsiteX910" fmla="*/ 433843 w 784555"/>
                    <a:gd name="connsiteY910" fmla="*/ 157458 h 1048506"/>
                    <a:gd name="connsiteX911" fmla="*/ 434996 w 784555"/>
                    <a:gd name="connsiteY911" fmla="*/ 158587 h 1048506"/>
                    <a:gd name="connsiteX912" fmla="*/ 436429 w 784555"/>
                    <a:gd name="connsiteY912" fmla="*/ 159157 h 1048506"/>
                    <a:gd name="connsiteX913" fmla="*/ 438105 w 784555"/>
                    <a:gd name="connsiteY913" fmla="*/ 158842 h 1048506"/>
                    <a:gd name="connsiteX914" fmla="*/ 445221 w 784555"/>
                    <a:gd name="connsiteY914" fmla="*/ 153402 h 1048506"/>
                    <a:gd name="connsiteX915" fmla="*/ 446362 w 784555"/>
                    <a:gd name="connsiteY915" fmla="*/ 152273 h 1048506"/>
                    <a:gd name="connsiteX916" fmla="*/ 447334 w 784555"/>
                    <a:gd name="connsiteY916" fmla="*/ 150779 h 1048506"/>
                    <a:gd name="connsiteX917" fmla="*/ 452567 w 784555"/>
                    <a:gd name="connsiteY917" fmla="*/ 137118 h 1048506"/>
                    <a:gd name="connsiteX918" fmla="*/ 455846 w 784555"/>
                    <a:gd name="connsiteY918" fmla="*/ 124490 h 1048506"/>
                    <a:gd name="connsiteX919" fmla="*/ 457218 w 784555"/>
                    <a:gd name="connsiteY919" fmla="*/ 121150 h 1048506"/>
                    <a:gd name="connsiteX920" fmla="*/ 457619 w 784555"/>
                    <a:gd name="connsiteY920" fmla="*/ 119147 h 1048506"/>
                    <a:gd name="connsiteX921" fmla="*/ 457959 w 784555"/>
                    <a:gd name="connsiteY921" fmla="*/ 113779 h 1048506"/>
                    <a:gd name="connsiteX922" fmla="*/ 458469 w 784555"/>
                    <a:gd name="connsiteY922" fmla="*/ 111533 h 1048506"/>
                    <a:gd name="connsiteX923" fmla="*/ 458942 w 784555"/>
                    <a:gd name="connsiteY923" fmla="*/ 110051 h 1048506"/>
                    <a:gd name="connsiteX924" fmla="*/ 460776 w 784555"/>
                    <a:gd name="connsiteY924" fmla="*/ 107319 h 1048506"/>
                    <a:gd name="connsiteX925" fmla="*/ 462100 w 784555"/>
                    <a:gd name="connsiteY925" fmla="*/ 105911 h 1048506"/>
                    <a:gd name="connsiteX926" fmla="*/ 463824 w 784555"/>
                    <a:gd name="connsiteY926" fmla="*/ 105085 h 1048506"/>
                    <a:gd name="connsiteX927" fmla="*/ 466119 w 784555"/>
                    <a:gd name="connsiteY927" fmla="*/ 105024 h 1048506"/>
                    <a:gd name="connsiteX928" fmla="*/ 468414 w 784555"/>
                    <a:gd name="connsiteY928" fmla="*/ 104708 h 1048506"/>
                    <a:gd name="connsiteX929" fmla="*/ 470029 w 784555"/>
                    <a:gd name="connsiteY929" fmla="*/ 103591 h 1048506"/>
                    <a:gd name="connsiteX930" fmla="*/ 471110 w 784555"/>
                    <a:gd name="connsiteY930" fmla="*/ 101831 h 1048506"/>
                    <a:gd name="connsiteX931" fmla="*/ 472603 w 784555"/>
                    <a:gd name="connsiteY931" fmla="*/ 98540 h 1048506"/>
                    <a:gd name="connsiteX932" fmla="*/ 473987 w 784555"/>
                    <a:gd name="connsiteY932" fmla="*/ 97508 h 1048506"/>
                    <a:gd name="connsiteX933" fmla="*/ 476112 w 784555"/>
                    <a:gd name="connsiteY933" fmla="*/ 96901 h 1048506"/>
                    <a:gd name="connsiteX934" fmla="*/ 483738 w 784555"/>
                    <a:gd name="connsiteY934" fmla="*/ 95954 h 1048506"/>
                    <a:gd name="connsiteX935" fmla="*/ 488061 w 784555"/>
                    <a:gd name="connsiteY935" fmla="*/ 94630 h 1048506"/>
                    <a:gd name="connsiteX936" fmla="*/ 490696 w 784555"/>
                    <a:gd name="connsiteY936" fmla="*/ 94096 h 1048506"/>
                    <a:gd name="connsiteX937" fmla="*/ 499075 w 784555"/>
                    <a:gd name="connsiteY937" fmla="*/ 93173 h 1048506"/>
                    <a:gd name="connsiteX938" fmla="*/ 501139 w 784555"/>
                    <a:gd name="connsiteY938" fmla="*/ 94205 h 1048506"/>
                    <a:gd name="connsiteX939" fmla="*/ 502244 w 784555"/>
                    <a:gd name="connsiteY939" fmla="*/ 96245 h 1048506"/>
                    <a:gd name="connsiteX940" fmla="*/ 502815 w 784555"/>
                    <a:gd name="connsiteY940" fmla="*/ 98625 h 1048506"/>
                    <a:gd name="connsiteX941" fmla="*/ 503786 w 784555"/>
                    <a:gd name="connsiteY941" fmla="*/ 100665 h 1048506"/>
                    <a:gd name="connsiteX942" fmla="*/ 505280 w 784555"/>
                    <a:gd name="connsiteY942" fmla="*/ 101515 h 1048506"/>
                    <a:gd name="connsiteX943" fmla="*/ 507113 w 784555"/>
                    <a:gd name="connsiteY943" fmla="*/ 101321 h 1048506"/>
                    <a:gd name="connsiteX944" fmla="*/ 509639 w 784555"/>
                    <a:gd name="connsiteY944" fmla="*/ 99827 h 1048506"/>
                    <a:gd name="connsiteX945" fmla="*/ 511023 w 784555"/>
                    <a:gd name="connsiteY945" fmla="*/ 98091 h 1048506"/>
                    <a:gd name="connsiteX946" fmla="*/ 511764 w 784555"/>
                    <a:gd name="connsiteY946" fmla="*/ 96451 h 1048506"/>
                    <a:gd name="connsiteX947" fmla="*/ 511946 w 784555"/>
                    <a:gd name="connsiteY947" fmla="*/ 94727 h 1048506"/>
                    <a:gd name="connsiteX948" fmla="*/ 512626 w 784555"/>
                    <a:gd name="connsiteY948" fmla="*/ 91922 h 1048506"/>
                    <a:gd name="connsiteX949" fmla="*/ 513659 w 784555"/>
                    <a:gd name="connsiteY949" fmla="*/ 91036 h 1048506"/>
                    <a:gd name="connsiteX950" fmla="*/ 515091 w 784555"/>
                    <a:gd name="connsiteY950" fmla="*/ 90696 h 1048506"/>
                    <a:gd name="connsiteX951" fmla="*/ 518309 w 784555"/>
                    <a:gd name="connsiteY951" fmla="*/ 90720 h 1048506"/>
                    <a:gd name="connsiteX952" fmla="*/ 522911 w 784555"/>
                    <a:gd name="connsiteY952" fmla="*/ 91461 h 1048506"/>
                    <a:gd name="connsiteX953" fmla="*/ 524284 w 784555"/>
                    <a:gd name="connsiteY953" fmla="*/ 91958 h 1048506"/>
                    <a:gd name="connsiteX954" fmla="*/ 525376 w 784555"/>
                    <a:gd name="connsiteY954" fmla="*/ 92541 h 1048506"/>
                    <a:gd name="connsiteX955" fmla="*/ 526069 w 784555"/>
                    <a:gd name="connsiteY955" fmla="*/ 93148 h 1048506"/>
                    <a:gd name="connsiteX956" fmla="*/ 526579 w 784555"/>
                    <a:gd name="connsiteY956" fmla="*/ 93974 h 1048506"/>
                    <a:gd name="connsiteX957" fmla="*/ 527162 w 784555"/>
                    <a:gd name="connsiteY957" fmla="*/ 96670 h 1048506"/>
                    <a:gd name="connsiteX958" fmla="*/ 527963 w 784555"/>
                    <a:gd name="connsiteY958" fmla="*/ 97908 h 1048506"/>
                    <a:gd name="connsiteX959" fmla="*/ 529396 w 784555"/>
                    <a:gd name="connsiteY959" fmla="*/ 98491 h 1048506"/>
                    <a:gd name="connsiteX960" fmla="*/ 534277 w 784555"/>
                    <a:gd name="connsiteY960" fmla="*/ 98953 h 1048506"/>
                    <a:gd name="connsiteX961" fmla="*/ 536342 w 784555"/>
                    <a:gd name="connsiteY961" fmla="*/ 99572 h 1048506"/>
                    <a:gd name="connsiteX962" fmla="*/ 538066 w 784555"/>
                    <a:gd name="connsiteY962" fmla="*/ 100738 h 1048506"/>
                    <a:gd name="connsiteX963" fmla="*/ 540130 w 784555"/>
                    <a:gd name="connsiteY963" fmla="*/ 101746 h 1048506"/>
                    <a:gd name="connsiteX964" fmla="*/ 542947 w 784555"/>
                    <a:gd name="connsiteY964" fmla="*/ 102049 h 1048506"/>
                    <a:gd name="connsiteX965" fmla="*/ 546954 w 784555"/>
                    <a:gd name="connsiteY965" fmla="*/ 101017 h 1048506"/>
                    <a:gd name="connsiteX966" fmla="*/ 553682 w 784555"/>
                    <a:gd name="connsiteY966" fmla="*/ 100446 h 1048506"/>
                    <a:gd name="connsiteX967" fmla="*/ 555928 w 784555"/>
                    <a:gd name="connsiteY967" fmla="*/ 99948 h 1048506"/>
                    <a:gd name="connsiteX968" fmla="*/ 557883 w 784555"/>
                    <a:gd name="connsiteY968" fmla="*/ 98637 h 1048506"/>
                    <a:gd name="connsiteX969" fmla="*/ 559195 w 784555"/>
                    <a:gd name="connsiteY969" fmla="*/ 97532 h 1048506"/>
                    <a:gd name="connsiteX970" fmla="*/ 563906 w 784555"/>
                    <a:gd name="connsiteY970" fmla="*/ 91740 h 1048506"/>
                    <a:gd name="connsiteX971" fmla="*/ 570512 w 784555"/>
                    <a:gd name="connsiteY971" fmla="*/ 82208 h 1048506"/>
                    <a:gd name="connsiteX972" fmla="*/ 572637 w 784555"/>
                    <a:gd name="connsiteY972" fmla="*/ 80338 h 1048506"/>
                    <a:gd name="connsiteX973" fmla="*/ 574871 w 784555"/>
                    <a:gd name="connsiteY973" fmla="*/ 79803 h 1048506"/>
                    <a:gd name="connsiteX974" fmla="*/ 577688 w 784555"/>
                    <a:gd name="connsiteY974" fmla="*/ 80314 h 1048506"/>
                    <a:gd name="connsiteX975" fmla="*/ 579473 w 784555"/>
                    <a:gd name="connsiteY975" fmla="*/ 81807 h 1048506"/>
                    <a:gd name="connsiteX976" fmla="*/ 580845 w 784555"/>
                    <a:gd name="connsiteY976" fmla="*/ 83300 h 1048506"/>
                    <a:gd name="connsiteX977" fmla="*/ 582570 w 784555"/>
                    <a:gd name="connsiteY977" fmla="*/ 83871 h 1048506"/>
                    <a:gd name="connsiteX978" fmla="*/ 584634 w 784555"/>
                    <a:gd name="connsiteY978" fmla="*/ 83361 h 1048506"/>
                    <a:gd name="connsiteX979" fmla="*/ 587390 w 784555"/>
                    <a:gd name="connsiteY979" fmla="*/ 81151 h 1048506"/>
                    <a:gd name="connsiteX980" fmla="*/ 591361 w 784555"/>
                    <a:gd name="connsiteY980" fmla="*/ 76088 h 1048506"/>
                    <a:gd name="connsiteX981" fmla="*/ 594798 w 784555"/>
                    <a:gd name="connsiteY981" fmla="*/ 73052 h 1048506"/>
                    <a:gd name="connsiteX982" fmla="*/ 596631 w 784555"/>
                    <a:gd name="connsiteY982" fmla="*/ 70721 h 1048506"/>
                    <a:gd name="connsiteX983" fmla="*/ 598125 w 784555"/>
                    <a:gd name="connsiteY983" fmla="*/ 69664 h 1048506"/>
                    <a:gd name="connsiteX984" fmla="*/ 604391 w 784555"/>
                    <a:gd name="connsiteY984" fmla="*/ 66568 h 1048506"/>
                    <a:gd name="connsiteX985" fmla="*/ 605605 w 784555"/>
                    <a:gd name="connsiteY985" fmla="*/ 64285 h 1048506"/>
                    <a:gd name="connsiteX986" fmla="*/ 605763 w 784555"/>
                    <a:gd name="connsiteY986" fmla="*/ 62075 h 1048506"/>
                    <a:gd name="connsiteX987" fmla="*/ 605301 w 784555"/>
                    <a:gd name="connsiteY987" fmla="*/ 60156 h 1048506"/>
                    <a:gd name="connsiteX988" fmla="*/ 605131 w 784555"/>
                    <a:gd name="connsiteY988" fmla="*/ 58808 h 1048506"/>
                    <a:gd name="connsiteX989" fmla="*/ 605423 w 784555"/>
                    <a:gd name="connsiteY989" fmla="*/ 57375 h 1048506"/>
                    <a:gd name="connsiteX990" fmla="*/ 607317 w 784555"/>
                    <a:gd name="connsiteY990" fmla="*/ 53587 h 1048506"/>
                    <a:gd name="connsiteX991" fmla="*/ 607608 w 784555"/>
                    <a:gd name="connsiteY991" fmla="*/ 51984 h 1048506"/>
                    <a:gd name="connsiteX992" fmla="*/ 607839 w 784555"/>
                    <a:gd name="connsiteY992" fmla="*/ 48620 h 1048506"/>
                    <a:gd name="connsiteX993" fmla="*/ 608288 w 784555"/>
                    <a:gd name="connsiteY993" fmla="*/ 47187 h 1048506"/>
                    <a:gd name="connsiteX994" fmla="*/ 609041 w 784555"/>
                    <a:gd name="connsiteY994" fmla="*/ 46094 h 1048506"/>
                    <a:gd name="connsiteX995" fmla="*/ 609903 w 784555"/>
                    <a:gd name="connsiteY995" fmla="*/ 45354 h 1048506"/>
                    <a:gd name="connsiteX996" fmla="*/ 613182 w 784555"/>
                    <a:gd name="connsiteY996" fmla="*/ 44188 h 1048506"/>
                    <a:gd name="connsiteX997" fmla="*/ 617663 w 784555"/>
                    <a:gd name="connsiteY997" fmla="*/ 43678 h 1048506"/>
                    <a:gd name="connsiteX998" fmla="*/ 620346 w 784555"/>
                    <a:gd name="connsiteY998" fmla="*/ 43763 h 1048506"/>
                    <a:gd name="connsiteX999" fmla="*/ 623564 w 784555"/>
                    <a:gd name="connsiteY999" fmla="*/ 44407 h 1048506"/>
                    <a:gd name="connsiteX1000" fmla="*/ 625629 w 784555"/>
                    <a:gd name="connsiteY1000" fmla="*/ 45354 h 1048506"/>
                    <a:gd name="connsiteX1001" fmla="*/ 627644 w 784555"/>
                    <a:gd name="connsiteY1001" fmla="*/ 46811 h 1048506"/>
                    <a:gd name="connsiteX1002" fmla="*/ 630049 w 784555"/>
                    <a:gd name="connsiteY1002" fmla="*/ 49798 h 1048506"/>
                    <a:gd name="connsiteX1003" fmla="*/ 631384 w 784555"/>
                    <a:gd name="connsiteY1003" fmla="*/ 52433 h 1048506"/>
                    <a:gd name="connsiteX1004" fmla="*/ 632817 w 784555"/>
                    <a:gd name="connsiteY1004" fmla="*/ 54327 h 1048506"/>
                    <a:gd name="connsiteX1005" fmla="*/ 634760 w 784555"/>
                    <a:gd name="connsiteY1005" fmla="*/ 55506 h 1048506"/>
                    <a:gd name="connsiteX1006" fmla="*/ 638209 w 784555"/>
                    <a:gd name="connsiteY1006" fmla="*/ 55603 h 1048506"/>
                    <a:gd name="connsiteX1007" fmla="*/ 650898 w 784555"/>
                    <a:gd name="connsiteY1007" fmla="*/ 52955 h 1048506"/>
                    <a:gd name="connsiteX1008" fmla="*/ 653145 w 784555"/>
                    <a:gd name="connsiteY1008" fmla="*/ 53380 h 1048506"/>
                    <a:gd name="connsiteX1009" fmla="*/ 654735 w 784555"/>
                    <a:gd name="connsiteY1009" fmla="*/ 54570 h 1048506"/>
                    <a:gd name="connsiteX1010" fmla="*/ 655379 w 784555"/>
                    <a:gd name="connsiteY1010" fmla="*/ 57643 h 1048506"/>
                    <a:gd name="connsiteX1011" fmla="*/ 655257 w 784555"/>
                    <a:gd name="connsiteY1011" fmla="*/ 59500 h 1048506"/>
                    <a:gd name="connsiteX1012" fmla="*/ 654917 w 784555"/>
                    <a:gd name="connsiteY1012" fmla="*/ 60933 h 1048506"/>
                    <a:gd name="connsiteX1013" fmla="*/ 655257 w 784555"/>
                    <a:gd name="connsiteY1013" fmla="*/ 62148 h 1048506"/>
                    <a:gd name="connsiteX1014" fmla="*/ 656289 w 784555"/>
                    <a:gd name="connsiteY1014" fmla="*/ 63544 h 1048506"/>
                    <a:gd name="connsiteX1015" fmla="*/ 660782 w 784555"/>
                    <a:gd name="connsiteY1015" fmla="*/ 66070 h 1048506"/>
                    <a:gd name="connsiteX1016" fmla="*/ 663770 w 784555"/>
                    <a:gd name="connsiteY1016" fmla="*/ 65790 h 1048506"/>
                    <a:gd name="connsiteX1017" fmla="*/ 667376 w 784555"/>
                    <a:gd name="connsiteY1017" fmla="*/ 65790 h 1048506"/>
                    <a:gd name="connsiteX1018" fmla="*/ 669039 w 784555"/>
                    <a:gd name="connsiteY1018" fmla="*/ 66434 h 1048506"/>
                    <a:gd name="connsiteX1019" fmla="*/ 671165 w 784555"/>
                    <a:gd name="connsiteY1019" fmla="*/ 66434 h 1048506"/>
                    <a:gd name="connsiteX1020" fmla="*/ 672840 w 784555"/>
                    <a:gd name="connsiteY1020" fmla="*/ 65790 h 1048506"/>
                    <a:gd name="connsiteX1021" fmla="*/ 673873 w 784555"/>
                    <a:gd name="connsiteY1021" fmla="*/ 63666 h 1048506"/>
                    <a:gd name="connsiteX1022" fmla="*/ 673812 w 784555"/>
                    <a:gd name="connsiteY1022" fmla="*/ 62378 h 1048506"/>
                    <a:gd name="connsiteX1023" fmla="*/ 673120 w 784555"/>
                    <a:gd name="connsiteY1023" fmla="*/ 61285 h 1048506"/>
                    <a:gd name="connsiteX1024" fmla="*/ 671966 w 784555"/>
                    <a:gd name="connsiteY1024" fmla="*/ 60338 h 1048506"/>
                    <a:gd name="connsiteX1025" fmla="*/ 670654 w 784555"/>
                    <a:gd name="connsiteY1025" fmla="*/ 59513 h 1048506"/>
                    <a:gd name="connsiteX1026" fmla="*/ 669343 w 784555"/>
                    <a:gd name="connsiteY1026" fmla="*/ 58820 h 1048506"/>
                    <a:gd name="connsiteX1027" fmla="*/ 668129 w 784555"/>
                    <a:gd name="connsiteY1027" fmla="*/ 58068 h 1048506"/>
                    <a:gd name="connsiteX1028" fmla="*/ 667376 w 784555"/>
                    <a:gd name="connsiteY1028" fmla="*/ 56999 h 1048506"/>
                    <a:gd name="connsiteX1029" fmla="*/ 667097 w 784555"/>
                    <a:gd name="connsiteY1029" fmla="*/ 55687 h 1048506"/>
                    <a:gd name="connsiteX1030" fmla="*/ 667157 w 784555"/>
                    <a:gd name="connsiteY1030" fmla="*/ 54109 h 1048506"/>
                    <a:gd name="connsiteX1031" fmla="*/ 667789 w 784555"/>
                    <a:gd name="connsiteY1031" fmla="*/ 52579 h 1048506"/>
                    <a:gd name="connsiteX1032" fmla="*/ 668918 w 784555"/>
                    <a:gd name="connsiteY1032" fmla="*/ 51668 h 1048506"/>
                    <a:gd name="connsiteX1033" fmla="*/ 671116 w 784555"/>
                    <a:gd name="connsiteY1033" fmla="*/ 51644 h 1048506"/>
                    <a:gd name="connsiteX1034" fmla="*/ 672719 w 784555"/>
                    <a:gd name="connsiteY1034" fmla="*/ 52433 h 1048506"/>
                    <a:gd name="connsiteX1035" fmla="*/ 675427 w 784555"/>
                    <a:gd name="connsiteY1035" fmla="*/ 52834 h 1048506"/>
                    <a:gd name="connsiteX1036" fmla="*/ 678693 w 784555"/>
                    <a:gd name="connsiteY1036" fmla="*/ 52263 h 1048506"/>
                    <a:gd name="connsiteX1037" fmla="*/ 689379 w 784555"/>
                    <a:gd name="connsiteY1037" fmla="*/ 48013 h 1048506"/>
                    <a:gd name="connsiteX1038" fmla="*/ 705043 w 784555"/>
                    <a:gd name="connsiteY1038" fmla="*/ 38736 h 1048506"/>
                    <a:gd name="connsiteX1039" fmla="*/ 706537 w 784555"/>
                    <a:gd name="connsiteY1039" fmla="*/ 36307 h 1048506"/>
                    <a:gd name="connsiteX1040" fmla="*/ 706598 w 784555"/>
                    <a:gd name="connsiteY1040" fmla="*/ 34571 h 1048506"/>
                    <a:gd name="connsiteX1041" fmla="*/ 706318 w 784555"/>
                    <a:gd name="connsiteY1041" fmla="*/ 33077 h 1048506"/>
                    <a:gd name="connsiteX1042" fmla="*/ 705796 w 784555"/>
                    <a:gd name="connsiteY1042" fmla="*/ 31754 h 1048506"/>
                    <a:gd name="connsiteX1043" fmla="*/ 705675 w 784555"/>
                    <a:gd name="connsiteY1043" fmla="*/ 30734 h 1048506"/>
                    <a:gd name="connsiteX1044" fmla="*/ 706027 w 784555"/>
                    <a:gd name="connsiteY1044" fmla="*/ 29058 h 1048506"/>
                    <a:gd name="connsiteX1045" fmla="*/ 707399 w 784555"/>
                    <a:gd name="connsiteY1045" fmla="*/ 27006 h 1048506"/>
                    <a:gd name="connsiteX1046" fmla="*/ 710216 w 784555"/>
                    <a:gd name="connsiteY1046" fmla="*/ 23849 h 1048506"/>
                    <a:gd name="connsiteX1047" fmla="*/ 713143 w 784555"/>
                    <a:gd name="connsiteY1047" fmla="*/ 21408 h 1048506"/>
                    <a:gd name="connsiteX1048" fmla="*/ 716883 w 784555"/>
                    <a:gd name="connsiteY1048" fmla="*/ 19745 h 1048506"/>
                    <a:gd name="connsiteX1049" fmla="*/ 721181 w 784555"/>
                    <a:gd name="connsiteY1049" fmla="*/ 18482 h 1048506"/>
                    <a:gd name="connsiteX1050" fmla="*/ 722517 w 784555"/>
                    <a:gd name="connsiteY1050" fmla="*/ 17668 h 1048506"/>
                    <a:gd name="connsiteX1051" fmla="*/ 723306 w 784555"/>
                    <a:gd name="connsiteY1051" fmla="*/ 16199 h 1048506"/>
                    <a:gd name="connsiteX1052" fmla="*/ 723428 w 784555"/>
                    <a:gd name="connsiteY1052" fmla="*/ 14620 h 1048506"/>
                    <a:gd name="connsiteX1053" fmla="*/ 723076 w 784555"/>
                    <a:gd name="connsiteY1053" fmla="*/ 13636 h 1048506"/>
                    <a:gd name="connsiteX1054" fmla="*/ 722335 w 784555"/>
                    <a:gd name="connsiteY1054" fmla="*/ 12701 h 1048506"/>
                    <a:gd name="connsiteX1055" fmla="*/ 720841 w 784555"/>
                    <a:gd name="connsiteY1055" fmla="*/ 11754 h 1048506"/>
                    <a:gd name="connsiteX1056" fmla="*/ 719627 w 784555"/>
                    <a:gd name="connsiteY1056" fmla="*/ 10710 h 1048506"/>
                    <a:gd name="connsiteX1057" fmla="*/ 718656 w 784555"/>
                    <a:gd name="connsiteY1057" fmla="*/ 9423 h 1048506"/>
                    <a:gd name="connsiteX1058" fmla="*/ 718473 w 784555"/>
                    <a:gd name="connsiteY1058" fmla="*/ 8500 h 1048506"/>
                    <a:gd name="connsiteX1059" fmla="*/ 718777 w 784555"/>
                    <a:gd name="connsiteY1059" fmla="*/ 7444 h 1048506"/>
                    <a:gd name="connsiteX1060" fmla="*/ 719578 w 784555"/>
                    <a:gd name="connsiteY1060" fmla="*/ 6618 h 1048506"/>
                    <a:gd name="connsiteX1061" fmla="*/ 720902 w 784555"/>
                    <a:gd name="connsiteY1061" fmla="*/ 6242 h 1048506"/>
                    <a:gd name="connsiteX1062" fmla="*/ 720805 w 784555"/>
                    <a:gd name="connsiteY1062" fmla="*/ 0 h 1048506"/>
                    <a:gd name="connsiteX1063" fmla="*/ 719372 w 784555"/>
                    <a:gd name="connsiteY1063" fmla="*/ 364 h 1048506"/>
                    <a:gd name="connsiteX1064" fmla="*/ 718048 w 784555"/>
                    <a:gd name="connsiteY1064" fmla="*/ 704 h 1048506"/>
                    <a:gd name="connsiteX1065" fmla="*/ 716397 w 784555"/>
                    <a:gd name="connsiteY1065" fmla="*/ 1141 h 1048506"/>
                    <a:gd name="connsiteX1066" fmla="*/ 715207 w 784555"/>
                    <a:gd name="connsiteY1066" fmla="*/ 2380 h 1048506"/>
                    <a:gd name="connsiteX1067" fmla="*/ 714406 w 784555"/>
                    <a:gd name="connsiteY1067" fmla="*/ 3206 h 1048506"/>
                    <a:gd name="connsiteX1068" fmla="*/ 713361 w 784555"/>
                    <a:gd name="connsiteY1068" fmla="*/ 4286 h 1048506"/>
                    <a:gd name="connsiteX1069" fmla="*/ 712948 w 784555"/>
                    <a:gd name="connsiteY1069" fmla="*/ 5744 h 1048506"/>
                    <a:gd name="connsiteX1070" fmla="*/ 712645 w 784555"/>
                    <a:gd name="connsiteY1070" fmla="*/ 6800 h 1048506"/>
                    <a:gd name="connsiteX1071" fmla="*/ 712244 w 784555"/>
                    <a:gd name="connsiteY1071" fmla="*/ 8196 h 1048506"/>
                    <a:gd name="connsiteX1072" fmla="*/ 712511 w 784555"/>
                    <a:gd name="connsiteY1072" fmla="*/ 9617 h 1048506"/>
                    <a:gd name="connsiteX1073" fmla="*/ 712693 w 784555"/>
                    <a:gd name="connsiteY1073" fmla="*/ 10540 h 1048506"/>
                    <a:gd name="connsiteX1074" fmla="*/ 712961 w 784555"/>
                    <a:gd name="connsiteY1074" fmla="*/ 11912 h 1048506"/>
                    <a:gd name="connsiteX1075" fmla="*/ 713810 w 784555"/>
                    <a:gd name="connsiteY1075" fmla="*/ 13042 h 1048506"/>
                    <a:gd name="connsiteX1076" fmla="*/ 714600 w 784555"/>
                    <a:gd name="connsiteY1076" fmla="*/ 14098 h 1048506"/>
                    <a:gd name="connsiteX1077" fmla="*/ 714418 w 784555"/>
                    <a:gd name="connsiteY1077" fmla="*/ 14183 h 1048506"/>
                    <a:gd name="connsiteX1078" fmla="*/ 710678 w 784555"/>
                    <a:gd name="connsiteY1078" fmla="*/ 15846 h 1048506"/>
                    <a:gd name="connsiteX1079" fmla="*/ 709913 w 784555"/>
                    <a:gd name="connsiteY1079" fmla="*/ 16187 h 1048506"/>
                    <a:gd name="connsiteX1080" fmla="*/ 709257 w 784555"/>
                    <a:gd name="connsiteY1080" fmla="*/ 16733 h 1048506"/>
                    <a:gd name="connsiteX1081" fmla="*/ 706330 w 784555"/>
                    <a:gd name="connsiteY1081" fmla="*/ 19174 h 1048506"/>
                    <a:gd name="connsiteX1082" fmla="*/ 705990 w 784555"/>
                    <a:gd name="connsiteY1082" fmla="*/ 19453 h 1048506"/>
                    <a:gd name="connsiteX1083" fmla="*/ 705699 w 784555"/>
                    <a:gd name="connsiteY1083" fmla="*/ 19781 h 1048506"/>
                    <a:gd name="connsiteX1084" fmla="*/ 702882 w 784555"/>
                    <a:gd name="connsiteY1084" fmla="*/ 22938 h 1048506"/>
                    <a:gd name="connsiteX1085" fmla="*/ 702603 w 784555"/>
                    <a:gd name="connsiteY1085" fmla="*/ 23242 h 1048506"/>
                    <a:gd name="connsiteX1086" fmla="*/ 702360 w 784555"/>
                    <a:gd name="connsiteY1086" fmla="*/ 23594 h 1048506"/>
                    <a:gd name="connsiteX1087" fmla="*/ 700988 w 784555"/>
                    <a:gd name="connsiteY1087" fmla="*/ 25646 h 1048506"/>
                    <a:gd name="connsiteX1088" fmla="*/ 700332 w 784555"/>
                    <a:gd name="connsiteY1088" fmla="*/ 26629 h 1048506"/>
                    <a:gd name="connsiteX1089" fmla="*/ 700089 w 784555"/>
                    <a:gd name="connsiteY1089" fmla="*/ 27783 h 1048506"/>
                    <a:gd name="connsiteX1090" fmla="*/ 699737 w 784555"/>
                    <a:gd name="connsiteY1090" fmla="*/ 29459 h 1048506"/>
                    <a:gd name="connsiteX1091" fmla="*/ 699530 w 784555"/>
                    <a:gd name="connsiteY1091" fmla="*/ 30430 h 1048506"/>
                    <a:gd name="connsiteX1092" fmla="*/ 699640 w 784555"/>
                    <a:gd name="connsiteY1092" fmla="*/ 31402 h 1048506"/>
                    <a:gd name="connsiteX1093" fmla="*/ 699761 w 784555"/>
                    <a:gd name="connsiteY1093" fmla="*/ 32422 h 1048506"/>
                    <a:gd name="connsiteX1094" fmla="*/ 699846 w 784555"/>
                    <a:gd name="connsiteY1094" fmla="*/ 33199 h 1048506"/>
                    <a:gd name="connsiteX1095" fmla="*/ 700138 w 784555"/>
                    <a:gd name="connsiteY1095" fmla="*/ 33940 h 1048506"/>
                    <a:gd name="connsiteX1096" fmla="*/ 700332 w 784555"/>
                    <a:gd name="connsiteY1096" fmla="*/ 34437 h 1048506"/>
                    <a:gd name="connsiteX1097" fmla="*/ 686683 w 784555"/>
                    <a:gd name="connsiteY1097" fmla="*/ 42513 h 1048506"/>
                    <a:gd name="connsiteX1098" fmla="*/ 677017 w 784555"/>
                    <a:gd name="connsiteY1098" fmla="*/ 46349 h 1048506"/>
                    <a:gd name="connsiteX1099" fmla="*/ 675330 w 784555"/>
                    <a:gd name="connsiteY1099" fmla="*/ 46629 h 1048506"/>
                    <a:gd name="connsiteX1100" fmla="*/ 674540 w 784555"/>
                    <a:gd name="connsiteY1100" fmla="*/ 46507 h 1048506"/>
                    <a:gd name="connsiteX1101" fmla="*/ 673787 w 784555"/>
                    <a:gd name="connsiteY1101" fmla="*/ 46143 h 1048506"/>
                    <a:gd name="connsiteX1102" fmla="*/ 672488 w 784555"/>
                    <a:gd name="connsiteY1102" fmla="*/ 45500 h 1048506"/>
                    <a:gd name="connsiteX1103" fmla="*/ 671031 w 784555"/>
                    <a:gd name="connsiteY1103" fmla="*/ 45512 h 1048506"/>
                    <a:gd name="connsiteX1104" fmla="*/ 668833 w 784555"/>
                    <a:gd name="connsiteY1104" fmla="*/ 45536 h 1048506"/>
                    <a:gd name="connsiteX1105" fmla="*/ 666732 w 784555"/>
                    <a:gd name="connsiteY1105" fmla="*/ 45560 h 1048506"/>
                    <a:gd name="connsiteX1106" fmla="*/ 665093 w 784555"/>
                    <a:gd name="connsiteY1106" fmla="*/ 46872 h 1048506"/>
                    <a:gd name="connsiteX1107" fmla="*/ 663964 w 784555"/>
                    <a:gd name="connsiteY1107" fmla="*/ 47782 h 1048506"/>
                    <a:gd name="connsiteX1108" fmla="*/ 662750 w 784555"/>
                    <a:gd name="connsiteY1108" fmla="*/ 48766 h 1048506"/>
                    <a:gd name="connsiteX1109" fmla="*/ 662154 w 784555"/>
                    <a:gd name="connsiteY1109" fmla="*/ 50199 h 1048506"/>
                    <a:gd name="connsiteX1110" fmla="*/ 661523 w 784555"/>
                    <a:gd name="connsiteY1110" fmla="*/ 51729 h 1048506"/>
                    <a:gd name="connsiteX1111" fmla="*/ 661110 w 784555"/>
                    <a:gd name="connsiteY1111" fmla="*/ 52737 h 1048506"/>
                    <a:gd name="connsiteX1112" fmla="*/ 661074 w 784555"/>
                    <a:gd name="connsiteY1112" fmla="*/ 53818 h 1048506"/>
                    <a:gd name="connsiteX1113" fmla="*/ 661025 w 784555"/>
                    <a:gd name="connsiteY1113" fmla="*/ 55020 h 1048506"/>
                    <a:gd name="connsiteX1114" fmla="*/ 660661 w 784555"/>
                    <a:gd name="connsiteY1114" fmla="*/ 53259 h 1048506"/>
                    <a:gd name="connsiteX1115" fmla="*/ 660187 w 784555"/>
                    <a:gd name="connsiteY1115" fmla="*/ 51000 h 1048506"/>
                    <a:gd name="connsiteX1116" fmla="*/ 658342 w 784555"/>
                    <a:gd name="connsiteY1116" fmla="*/ 49628 h 1048506"/>
                    <a:gd name="connsiteX1117" fmla="*/ 656751 w 784555"/>
                    <a:gd name="connsiteY1117" fmla="*/ 48438 h 1048506"/>
                    <a:gd name="connsiteX1118" fmla="*/ 655634 w 784555"/>
                    <a:gd name="connsiteY1118" fmla="*/ 47612 h 1048506"/>
                    <a:gd name="connsiteX1119" fmla="*/ 654262 w 784555"/>
                    <a:gd name="connsiteY1119" fmla="*/ 47357 h 1048506"/>
                    <a:gd name="connsiteX1120" fmla="*/ 652015 w 784555"/>
                    <a:gd name="connsiteY1120" fmla="*/ 46932 h 1048506"/>
                    <a:gd name="connsiteX1121" fmla="*/ 650825 w 784555"/>
                    <a:gd name="connsiteY1121" fmla="*/ 46702 h 1048506"/>
                    <a:gd name="connsiteX1122" fmla="*/ 649635 w 784555"/>
                    <a:gd name="connsiteY1122" fmla="*/ 46957 h 1048506"/>
                    <a:gd name="connsiteX1123" fmla="*/ 637638 w 784555"/>
                    <a:gd name="connsiteY1123" fmla="*/ 49458 h 1048506"/>
                    <a:gd name="connsiteX1124" fmla="*/ 636739 w 784555"/>
                    <a:gd name="connsiteY1124" fmla="*/ 49422 h 1048506"/>
                    <a:gd name="connsiteX1125" fmla="*/ 636521 w 784555"/>
                    <a:gd name="connsiteY1125" fmla="*/ 49155 h 1048506"/>
                    <a:gd name="connsiteX1126" fmla="*/ 635428 w 784555"/>
                    <a:gd name="connsiteY1126" fmla="*/ 47005 h 1048506"/>
                    <a:gd name="connsiteX1127" fmla="*/ 635149 w 784555"/>
                    <a:gd name="connsiteY1127" fmla="*/ 46435 h 1048506"/>
                    <a:gd name="connsiteX1128" fmla="*/ 634748 w 784555"/>
                    <a:gd name="connsiteY1128" fmla="*/ 45937 h 1048506"/>
                    <a:gd name="connsiteX1129" fmla="*/ 632343 w 784555"/>
                    <a:gd name="connsiteY1129" fmla="*/ 42949 h 1048506"/>
                    <a:gd name="connsiteX1130" fmla="*/ 631834 w 784555"/>
                    <a:gd name="connsiteY1130" fmla="*/ 42318 h 1048506"/>
                    <a:gd name="connsiteX1131" fmla="*/ 631166 w 784555"/>
                    <a:gd name="connsiteY1131" fmla="*/ 41833 h 1048506"/>
                    <a:gd name="connsiteX1132" fmla="*/ 629150 w 784555"/>
                    <a:gd name="connsiteY1132" fmla="*/ 40375 h 1048506"/>
                    <a:gd name="connsiteX1133" fmla="*/ 628664 w 784555"/>
                    <a:gd name="connsiteY1133" fmla="*/ 40035 h 1048506"/>
                    <a:gd name="connsiteX1134" fmla="*/ 628130 w 784555"/>
                    <a:gd name="connsiteY1134" fmla="*/ 39780 h 1048506"/>
                    <a:gd name="connsiteX1135" fmla="*/ 626066 w 784555"/>
                    <a:gd name="connsiteY1135" fmla="*/ 38833 h 1048506"/>
                    <a:gd name="connsiteX1136" fmla="*/ 625422 w 784555"/>
                    <a:gd name="connsiteY1136" fmla="*/ 38542 h 1048506"/>
                    <a:gd name="connsiteX1137" fmla="*/ 624718 w 784555"/>
                    <a:gd name="connsiteY1137" fmla="*/ 38396 h 1048506"/>
                    <a:gd name="connsiteX1138" fmla="*/ 621500 w 784555"/>
                    <a:gd name="connsiteY1138" fmla="*/ 37753 h 1048506"/>
                    <a:gd name="connsiteX1139" fmla="*/ 621002 w 784555"/>
                    <a:gd name="connsiteY1139" fmla="*/ 37655 h 1048506"/>
                    <a:gd name="connsiteX1140" fmla="*/ 620492 w 784555"/>
                    <a:gd name="connsiteY1140" fmla="*/ 37631 h 1048506"/>
                    <a:gd name="connsiteX1141" fmla="*/ 617809 w 784555"/>
                    <a:gd name="connsiteY1141" fmla="*/ 37546 h 1048506"/>
                    <a:gd name="connsiteX1142" fmla="*/ 617371 w 784555"/>
                    <a:gd name="connsiteY1142" fmla="*/ 37534 h 1048506"/>
                    <a:gd name="connsiteX1143" fmla="*/ 616934 w 784555"/>
                    <a:gd name="connsiteY1143" fmla="*/ 37582 h 1048506"/>
                    <a:gd name="connsiteX1144" fmla="*/ 612453 w 784555"/>
                    <a:gd name="connsiteY1144" fmla="*/ 38092 h 1048506"/>
                    <a:gd name="connsiteX1145" fmla="*/ 611761 w 784555"/>
                    <a:gd name="connsiteY1145" fmla="*/ 38178 h 1048506"/>
                    <a:gd name="connsiteX1146" fmla="*/ 611106 w 784555"/>
                    <a:gd name="connsiteY1146" fmla="*/ 38408 h 1048506"/>
                    <a:gd name="connsiteX1147" fmla="*/ 607827 w 784555"/>
                    <a:gd name="connsiteY1147" fmla="*/ 39574 h 1048506"/>
                    <a:gd name="connsiteX1148" fmla="*/ 606771 w 784555"/>
                    <a:gd name="connsiteY1148" fmla="*/ 39950 h 1048506"/>
                    <a:gd name="connsiteX1149" fmla="*/ 605908 w 784555"/>
                    <a:gd name="connsiteY1149" fmla="*/ 40691 h 1048506"/>
                    <a:gd name="connsiteX1150" fmla="*/ 605046 w 784555"/>
                    <a:gd name="connsiteY1150" fmla="*/ 41432 h 1048506"/>
                    <a:gd name="connsiteX1151" fmla="*/ 604451 w 784555"/>
                    <a:gd name="connsiteY1151" fmla="*/ 41942 h 1048506"/>
                    <a:gd name="connsiteX1152" fmla="*/ 604002 w 784555"/>
                    <a:gd name="connsiteY1152" fmla="*/ 42597 h 1048506"/>
                    <a:gd name="connsiteX1153" fmla="*/ 603249 w 784555"/>
                    <a:gd name="connsiteY1153" fmla="*/ 43690 h 1048506"/>
                    <a:gd name="connsiteX1154" fmla="*/ 602727 w 784555"/>
                    <a:gd name="connsiteY1154" fmla="*/ 44443 h 1048506"/>
                    <a:gd name="connsiteX1155" fmla="*/ 602460 w 784555"/>
                    <a:gd name="connsiteY1155" fmla="*/ 45317 h 1048506"/>
                    <a:gd name="connsiteX1156" fmla="*/ 602010 w 784555"/>
                    <a:gd name="connsiteY1156" fmla="*/ 46750 h 1048506"/>
                    <a:gd name="connsiteX1157" fmla="*/ 601792 w 784555"/>
                    <a:gd name="connsiteY1157" fmla="*/ 47430 h 1048506"/>
                    <a:gd name="connsiteX1158" fmla="*/ 601743 w 784555"/>
                    <a:gd name="connsiteY1158" fmla="*/ 48159 h 1048506"/>
                    <a:gd name="connsiteX1159" fmla="*/ 601537 w 784555"/>
                    <a:gd name="connsiteY1159" fmla="*/ 51195 h 1048506"/>
                    <a:gd name="connsiteX1160" fmla="*/ 601464 w 784555"/>
                    <a:gd name="connsiteY1160" fmla="*/ 51607 h 1048506"/>
                    <a:gd name="connsiteX1161" fmla="*/ 599958 w 784555"/>
                    <a:gd name="connsiteY1161" fmla="*/ 54631 h 1048506"/>
                    <a:gd name="connsiteX1162" fmla="*/ 599594 w 784555"/>
                    <a:gd name="connsiteY1162" fmla="*/ 55348 h 1048506"/>
                    <a:gd name="connsiteX1163" fmla="*/ 599436 w 784555"/>
                    <a:gd name="connsiteY1163" fmla="*/ 56125 h 1048506"/>
                    <a:gd name="connsiteX1164" fmla="*/ 599145 w 784555"/>
                    <a:gd name="connsiteY1164" fmla="*/ 57557 h 1048506"/>
                    <a:gd name="connsiteX1165" fmla="*/ 598950 w 784555"/>
                    <a:gd name="connsiteY1165" fmla="*/ 58529 h 1048506"/>
                    <a:gd name="connsiteX1166" fmla="*/ 599072 w 784555"/>
                    <a:gd name="connsiteY1166" fmla="*/ 59500 h 1048506"/>
                    <a:gd name="connsiteX1167" fmla="*/ 599242 w 784555"/>
                    <a:gd name="connsiteY1167" fmla="*/ 60848 h 1048506"/>
                    <a:gd name="connsiteX1168" fmla="*/ 599278 w 784555"/>
                    <a:gd name="connsiteY1168" fmla="*/ 61188 h 1048506"/>
                    <a:gd name="connsiteX1169" fmla="*/ 599351 w 784555"/>
                    <a:gd name="connsiteY1169" fmla="*/ 61528 h 1048506"/>
                    <a:gd name="connsiteX1170" fmla="*/ 599497 w 784555"/>
                    <a:gd name="connsiteY1170" fmla="*/ 62135 h 1048506"/>
                    <a:gd name="connsiteX1171" fmla="*/ 595393 w 784555"/>
                    <a:gd name="connsiteY1171" fmla="*/ 64163 h 1048506"/>
                    <a:gd name="connsiteX1172" fmla="*/ 594968 w 784555"/>
                    <a:gd name="connsiteY1172" fmla="*/ 64382 h 1048506"/>
                    <a:gd name="connsiteX1173" fmla="*/ 594579 w 784555"/>
                    <a:gd name="connsiteY1173" fmla="*/ 64649 h 1048506"/>
                    <a:gd name="connsiteX1174" fmla="*/ 593086 w 784555"/>
                    <a:gd name="connsiteY1174" fmla="*/ 65706 h 1048506"/>
                    <a:gd name="connsiteX1175" fmla="*/ 592357 w 784555"/>
                    <a:gd name="connsiteY1175" fmla="*/ 66215 h 1048506"/>
                    <a:gd name="connsiteX1176" fmla="*/ 591810 w 784555"/>
                    <a:gd name="connsiteY1176" fmla="*/ 66920 h 1048506"/>
                    <a:gd name="connsiteX1177" fmla="*/ 590317 w 784555"/>
                    <a:gd name="connsiteY1177" fmla="*/ 68814 h 1048506"/>
                    <a:gd name="connsiteX1178" fmla="*/ 587293 w 784555"/>
                    <a:gd name="connsiteY1178" fmla="*/ 71485 h 1048506"/>
                    <a:gd name="connsiteX1179" fmla="*/ 586880 w 784555"/>
                    <a:gd name="connsiteY1179" fmla="*/ 71850 h 1048506"/>
                    <a:gd name="connsiteX1180" fmla="*/ 586540 w 784555"/>
                    <a:gd name="connsiteY1180" fmla="*/ 72287 h 1048506"/>
                    <a:gd name="connsiteX1181" fmla="*/ 582995 w 784555"/>
                    <a:gd name="connsiteY1181" fmla="*/ 76792 h 1048506"/>
                    <a:gd name="connsiteX1182" fmla="*/ 582983 w 784555"/>
                    <a:gd name="connsiteY1182" fmla="*/ 76804 h 1048506"/>
                    <a:gd name="connsiteX1183" fmla="*/ 581538 w 784555"/>
                    <a:gd name="connsiteY1183" fmla="*/ 75590 h 1048506"/>
                    <a:gd name="connsiteX1184" fmla="*/ 580299 w 784555"/>
                    <a:gd name="connsiteY1184" fmla="*/ 74558 h 1048506"/>
                    <a:gd name="connsiteX1185" fmla="*/ 578720 w 784555"/>
                    <a:gd name="connsiteY1185" fmla="*/ 74278 h 1048506"/>
                    <a:gd name="connsiteX1186" fmla="*/ 575903 w 784555"/>
                    <a:gd name="connsiteY1186" fmla="*/ 73768 h 1048506"/>
                    <a:gd name="connsiteX1187" fmla="*/ 574652 w 784555"/>
                    <a:gd name="connsiteY1187" fmla="*/ 73538 h 1048506"/>
                    <a:gd name="connsiteX1188" fmla="*/ 573414 w 784555"/>
                    <a:gd name="connsiteY1188" fmla="*/ 73829 h 1048506"/>
                    <a:gd name="connsiteX1189" fmla="*/ 571180 w 784555"/>
                    <a:gd name="connsiteY1189" fmla="*/ 74363 h 1048506"/>
                    <a:gd name="connsiteX1190" fmla="*/ 569710 w 784555"/>
                    <a:gd name="connsiteY1190" fmla="*/ 74716 h 1048506"/>
                    <a:gd name="connsiteX1191" fmla="*/ 568569 w 784555"/>
                    <a:gd name="connsiteY1191" fmla="*/ 75711 h 1048506"/>
                    <a:gd name="connsiteX1192" fmla="*/ 566444 w 784555"/>
                    <a:gd name="connsiteY1192" fmla="*/ 77581 h 1048506"/>
                    <a:gd name="connsiteX1193" fmla="*/ 565897 w 784555"/>
                    <a:gd name="connsiteY1193" fmla="*/ 78067 h 1048506"/>
                    <a:gd name="connsiteX1194" fmla="*/ 565472 w 784555"/>
                    <a:gd name="connsiteY1194" fmla="*/ 78674 h 1048506"/>
                    <a:gd name="connsiteX1195" fmla="*/ 558867 w 784555"/>
                    <a:gd name="connsiteY1195" fmla="*/ 88206 h 1048506"/>
                    <a:gd name="connsiteX1196" fmla="*/ 554811 w 784555"/>
                    <a:gd name="connsiteY1196" fmla="*/ 93173 h 1048506"/>
                    <a:gd name="connsiteX1197" fmla="*/ 554179 w 784555"/>
                    <a:gd name="connsiteY1197" fmla="*/ 93707 h 1048506"/>
                    <a:gd name="connsiteX1198" fmla="*/ 553439 w 784555"/>
                    <a:gd name="connsiteY1198" fmla="*/ 94193 h 1048506"/>
                    <a:gd name="connsiteX1199" fmla="*/ 552710 w 784555"/>
                    <a:gd name="connsiteY1199" fmla="*/ 94363 h 1048506"/>
                    <a:gd name="connsiteX1200" fmla="*/ 546396 w 784555"/>
                    <a:gd name="connsiteY1200" fmla="*/ 94897 h 1048506"/>
                    <a:gd name="connsiteX1201" fmla="*/ 545886 w 784555"/>
                    <a:gd name="connsiteY1201" fmla="*/ 94933 h 1048506"/>
                    <a:gd name="connsiteX1202" fmla="*/ 545388 w 784555"/>
                    <a:gd name="connsiteY1202" fmla="*/ 95067 h 1048506"/>
                    <a:gd name="connsiteX1203" fmla="*/ 542449 w 784555"/>
                    <a:gd name="connsiteY1203" fmla="*/ 95820 h 1048506"/>
                    <a:gd name="connsiteX1204" fmla="*/ 541782 w 784555"/>
                    <a:gd name="connsiteY1204" fmla="*/ 95747 h 1048506"/>
                    <a:gd name="connsiteX1205" fmla="*/ 541041 w 784555"/>
                    <a:gd name="connsiteY1205" fmla="*/ 95395 h 1048506"/>
                    <a:gd name="connsiteX1206" fmla="*/ 539681 w 784555"/>
                    <a:gd name="connsiteY1206" fmla="*/ 94472 h 1048506"/>
                    <a:gd name="connsiteX1207" fmla="*/ 538916 w 784555"/>
                    <a:gd name="connsiteY1207" fmla="*/ 93950 h 1048506"/>
                    <a:gd name="connsiteX1208" fmla="*/ 538017 w 784555"/>
                    <a:gd name="connsiteY1208" fmla="*/ 93683 h 1048506"/>
                    <a:gd name="connsiteX1209" fmla="*/ 535953 w 784555"/>
                    <a:gd name="connsiteY1209" fmla="*/ 93063 h 1048506"/>
                    <a:gd name="connsiteX1210" fmla="*/ 535382 w 784555"/>
                    <a:gd name="connsiteY1210" fmla="*/ 92893 h 1048506"/>
                    <a:gd name="connsiteX1211" fmla="*/ 534799 w 784555"/>
                    <a:gd name="connsiteY1211" fmla="*/ 92833 h 1048506"/>
                    <a:gd name="connsiteX1212" fmla="*/ 532456 w 784555"/>
                    <a:gd name="connsiteY1212" fmla="*/ 92614 h 1048506"/>
                    <a:gd name="connsiteX1213" fmla="*/ 532237 w 784555"/>
                    <a:gd name="connsiteY1213" fmla="*/ 91606 h 1048506"/>
                    <a:gd name="connsiteX1214" fmla="*/ 531691 w 784555"/>
                    <a:gd name="connsiteY1214" fmla="*/ 90732 h 1048506"/>
                    <a:gd name="connsiteX1215" fmla="*/ 531181 w 784555"/>
                    <a:gd name="connsiteY1215" fmla="*/ 89906 h 1048506"/>
                    <a:gd name="connsiteX1216" fmla="*/ 530695 w 784555"/>
                    <a:gd name="connsiteY1216" fmla="*/ 89117 h 1048506"/>
                    <a:gd name="connsiteX1217" fmla="*/ 529991 w 784555"/>
                    <a:gd name="connsiteY1217" fmla="*/ 88510 h 1048506"/>
                    <a:gd name="connsiteX1218" fmla="*/ 529299 w 784555"/>
                    <a:gd name="connsiteY1218" fmla="*/ 87903 h 1048506"/>
                    <a:gd name="connsiteX1219" fmla="*/ 528776 w 784555"/>
                    <a:gd name="connsiteY1219" fmla="*/ 87453 h 1048506"/>
                    <a:gd name="connsiteX1220" fmla="*/ 528157 w 784555"/>
                    <a:gd name="connsiteY1220" fmla="*/ 87125 h 1048506"/>
                    <a:gd name="connsiteX1221" fmla="*/ 527064 w 784555"/>
                    <a:gd name="connsiteY1221" fmla="*/ 86543 h 1048506"/>
                    <a:gd name="connsiteX1222" fmla="*/ 526688 w 784555"/>
                    <a:gd name="connsiteY1222" fmla="*/ 86336 h 1048506"/>
                    <a:gd name="connsiteX1223" fmla="*/ 526287 w 784555"/>
                    <a:gd name="connsiteY1223" fmla="*/ 86190 h 1048506"/>
                    <a:gd name="connsiteX1224" fmla="*/ 524915 w 784555"/>
                    <a:gd name="connsiteY1224" fmla="*/ 85693 h 1048506"/>
                    <a:gd name="connsiteX1225" fmla="*/ 524369 w 784555"/>
                    <a:gd name="connsiteY1225" fmla="*/ 85486 h 1048506"/>
                    <a:gd name="connsiteX1226" fmla="*/ 523798 w 784555"/>
                    <a:gd name="connsiteY1226" fmla="*/ 85389 h 1048506"/>
                    <a:gd name="connsiteX1227" fmla="*/ 519196 w 784555"/>
                    <a:gd name="connsiteY1227" fmla="*/ 84649 h 1048506"/>
                    <a:gd name="connsiteX1228" fmla="*/ 518746 w 784555"/>
                    <a:gd name="connsiteY1228" fmla="*/ 84576 h 1048506"/>
                    <a:gd name="connsiteX1229" fmla="*/ 518285 w 784555"/>
                    <a:gd name="connsiteY1229" fmla="*/ 84576 h 1048506"/>
                    <a:gd name="connsiteX1230" fmla="*/ 515067 w 784555"/>
                    <a:gd name="connsiteY1230" fmla="*/ 84551 h 1048506"/>
                    <a:gd name="connsiteX1231" fmla="*/ 514326 w 784555"/>
                    <a:gd name="connsiteY1231" fmla="*/ 84551 h 1048506"/>
                    <a:gd name="connsiteX1232" fmla="*/ 513598 w 784555"/>
                    <a:gd name="connsiteY1232" fmla="*/ 84721 h 1048506"/>
                    <a:gd name="connsiteX1233" fmla="*/ 512165 w 784555"/>
                    <a:gd name="connsiteY1233" fmla="*/ 85061 h 1048506"/>
                    <a:gd name="connsiteX1234" fmla="*/ 510732 w 784555"/>
                    <a:gd name="connsiteY1234" fmla="*/ 85401 h 1048506"/>
                    <a:gd name="connsiteX1235" fmla="*/ 509615 w 784555"/>
                    <a:gd name="connsiteY1235" fmla="*/ 86361 h 1048506"/>
                    <a:gd name="connsiteX1236" fmla="*/ 508583 w 784555"/>
                    <a:gd name="connsiteY1236" fmla="*/ 87247 h 1048506"/>
                    <a:gd name="connsiteX1237" fmla="*/ 507101 w 784555"/>
                    <a:gd name="connsiteY1237" fmla="*/ 88522 h 1048506"/>
                    <a:gd name="connsiteX1238" fmla="*/ 506640 w 784555"/>
                    <a:gd name="connsiteY1238" fmla="*/ 90404 h 1048506"/>
                    <a:gd name="connsiteX1239" fmla="*/ 506421 w 784555"/>
                    <a:gd name="connsiteY1239" fmla="*/ 91278 h 1048506"/>
                    <a:gd name="connsiteX1240" fmla="*/ 506397 w 784555"/>
                    <a:gd name="connsiteY1240" fmla="*/ 91205 h 1048506"/>
                    <a:gd name="connsiteX1241" fmla="*/ 505486 w 784555"/>
                    <a:gd name="connsiteY1241" fmla="*/ 89518 h 1048506"/>
                    <a:gd name="connsiteX1242" fmla="*/ 503762 w 784555"/>
                    <a:gd name="connsiteY1242" fmla="*/ 88668 h 1048506"/>
                    <a:gd name="connsiteX1243" fmla="*/ 501698 w 784555"/>
                    <a:gd name="connsiteY1243" fmla="*/ 87636 h 1048506"/>
                    <a:gd name="connsiteX1244" fmla="*/ 500095 w 784555"/>
                    <a:gd name="connsiteY1244" fmla="*/ 86846 h 1048506"/>
                    <a:gd name="connsiteX1245" fmla="*/ 498322 w 784555"/>
                    <a:gd name="connsiteY1245" fmla="*/ 87041 h 1048506"/>
                    <a:gd name="connsiteX1246" fmla="*/ 489943 w 784555"/>
                    <a:gd name="connsiteY1246" fmla="*/ 87963 h 1048506"/>
                    <a:gd name="connsiteX1247" fmla="*/ 486774 w 784555"/>
                    <a:gd name="connsiteY1247" fmla="*/ 88583 h 1048506"/>
                    <a:gd name="connsiteX1248" fmla="*/ 482403 w 784555"/>
                    <a:gd name="connsiteY1248" fmla="*/ 89894 h 1048506"/>
                    <a:gd name="connsiteX1249" fmla="*/ 475287 w 784555"/>
                    <a:gd name="connsiteY1249" fmla="*/ 90781 h 1048506"/>
                    <a:gd name="connsiteX1250" fmla="*/ 474825 w 784555"/>
                    <a:gd name="connsiteY1250" fmla="*/ 90841 h 1048506"/>
                    <a:gd name="connsiteX1251" fmla="*/ 474376 w 784555"/>
                    <a:gd name="connsiteY1251" fmla="*/ 90975 h 1048506"/>
                    <a:gd name="connsiteX1252" fmla="*/ 472251 w 784555"/>
                    <a:gd name="connsiteY1252" fmla="*/ 91582 h 1048506"/>
                    <a:gd name="connsiteX1253" fmla="*/ 471183 w 784555"/>
                    <a:gd name="connsiteY1253" fmla="*/ 91874 h 1048506"/>
                    <a:gd name="connsiteX1254" fmla="*/ 470284 w 784555"/>
                    <a:gd name="connsiteY1254" fmla="*/ 92554 h 1048506"/>
                    <a:gd name="connsiteX1255" fmla="*/ 468900 w 784555"/>
                    <a:gd name="connsiteY1255" fmla="*/ 93586 h 1048506"/>
                    <a:gd name="connsiteX1256" fmla="*/ 467649 w 784555"/>
                    <a:gd name="connsiteY1256" fmla="*/ 94521 h 1048506"/>
                    <a:gd name="connsiteX1257" fmla="*/ 467005 w 784555"/>
                    <a:gd name="connsiteY1257" fmla="*/ 95941 h 1048506"/>
                    <a:gd name="connsiteX1258" fmla="*/ 465694 w 784555"/>
                    <a:gd name="connsiteY1258" fmla="*/ 98844 h 1048506"/>
                    <a:gd name="connsiteX1259" fmla="*/ 465560 w 784555"/>
                    <a:gd name="connsiteY1259" fmla="*/ 98868 h 1048506"/>
                    <a:gd name="connsiteX1260" fmla="*/ 463605 w 784555"/>
                    <a:gd name="connsiteY1260" fmla="*/ 98916 h 1048506"/>
                    <a:gd name="connsiteX1261" fmla="*/ 462306 w 784555"/>
                    <a:gd name="connsiteY1261" fmla="*/ 98953 h 1048506"/>
                    <a:gd name="connsiteX1262" fmla="*/ 461128 w 784555"/>
                    <a:gd name="connsiteY1262" fmla="*/ 99524 h 1048506"/>
                    <a:gd name="connsiteX1263" fmla="*/ 459404 w 784555"/>
                    <a:gd name="connsiteY1263" fmla="*/ 100349 h 1048506"/>
                    <a:gd name="connsiteX1264" fmla="*/ 458384 w 784555"/>
                    <a:gd name="connsiteY1264" fmla="*/ 100835 h 1048506"/>
                    <a:gd name="connsiteX1265" fmla="*/ 457607 w 784555"/>
                    <a:gd name="connsiteY1265" fmla="*/ 101661 h 1048506"/>
                    <a:gd name="connsiteX1266" fmla="*/ 456283 w 784555"/>
                    <a:gd name="connsiteY1266" fmla="*/ 103069 h 1048506"/>
                    <a:gd name="connsiteX1267" fmla="*/ 455943 w 784555"/>
                    <a:gd name="connsiteY1267" fmla="*/ 103421 h 1048506"/>
                    <a:gd name="connsiteX1268" fmla="*/ 455676 w 784555"/>
                    <a:gd name="connsiteY1268" fmla="*/ 103822 h 1048506"/>
                    <a:gd name="connsiteX1269" fmla="*/ 453842 w 784555"/>
                    <a:gd name="connsiteY1269" fmla="*/ 106554 h 1048506"/>
                    <a:gd name="connsiteX1270" fmla="*/ 453357 w 784555"/>
                    <a:gd name="connsiteY1270" fmla="*/ 107283 h 1048506"/>
                    <a:gd name="connsiteX1271" fmla="*/ 453102 w 784555"/>
                    <a:gd name="connsiteY1271" fmla="*/ 108097 h 1048506"/>
                    <a:gd name="connsiteX1272" fmla="*/ 452628 w 784555"/>
                    <a:gd name="connsiteY1272" fmla="*/ 109578 h 1048506"/>
                    <a:gd name="connsiteX1273" fmla="*/ 451972 w 784555"/>
                    <a:gd name="connsiteY1273" fmla="*/ 112322 h 1048506"/>
                    <a:gd name="connsiteX1274" fmla="*/ 451863 w 784555"/>
                    <a:gd name="connsiteY1274" fmla="*/ 112796 h 1048506"/>
                    <a:gd name="connsiteX1275" fmla="*/ 451839 w 784555"/>
                    <a:gd name="connsiteY1275" fmla="*/ 113282 h 1048506"/>
                    <a:gd name="connsiteX1276" fmla="*/ 451523 w 784555"/>
                    <a:gd name="connsiteY1276" fmla="*/ 118260 h 1048506"/>
                    <a:gd name="connsiteX1277" fmla="*/ 451317 w 784555"/>
                    <a:gd name="connsiteY1277" fmla="*/ 119280 h 1048506"/>
                    <a:gd name="connsiteX1278" fmla="*/ 450163 w 784555"/>
                    <a:gd name="connsiteY1278" fmla="*/ 122073 h 1048506"/>
                    <a:gd name="connsiteX1279" fmla="*/ 450005 w 784555"/>
                    <a:gd name="connsiteY1279" fmla="*/ 122461 h 1048506"/>
                    <a:gd name="connsiteX1280" fmla="*/ 449908 w 784555"/>
                    <a:gd name="connsiteY1280" fmla="*/ 122862 h 1048506"/>
                    <a:gd name="connsiteX1281" fmla="*/ 446715 w 784555"/>
                    <a:gd name="connsiteY1281" fmla="*/ 135163 h 1048506"/>
                    <a:gd name="connsiteX1282" fmla="*/ 441833 w 784555"/>
                    <a:gd name="connsiteY1282" fmla="*/ 147901 h 1048506"/>
                    <a:gd name="connsiteX1283" fmla="*/ 441566 w 784555"/>
                    <a:gd name="connsiteY1283" fmla="*/ 148302 h 1048506"/>
                    <a:gd name="connsiteX1284" fmla="*/ 441165 w 784555"/>
                    <a:gd name="connsiteY1284" fmla="*/ 148702 h 1048506"/>
                    <a:gd name="connsiteX1285" fmla="*/ 436782 w 784555"/>
                    <a:gd name="connsiteY1285" fmla="*/ 152054 h 1048506"/>
                    <a:gd name="connsiteX1286" fmla="*/ 436296 w 784555"/>
                    <a:gd name="connsiteY1286" fmla="*/ 151823 h 1048506"/>
                    <a:gd name="connsiteX1287" fmla="*/ 435045 w 784555"/>
                    <a:gd name="connsiteY1287" fmla="*/ 151252 h 1048506"/>
                    <a:gd name="connsiteX1288" fmla="*/ 432750 w 784555"/>
                    <a:gd name="connsiteY1288" fmla="*/ 150208 h 1048506"/>
                    <a:gd name="connsiteX1289" fmla="*/ 430382 w 784555"/>
                    <a:gd name="connsiteY1289" fmla="*/ 151094 h 1048506"/>
                    <a:gd name="connsiteX1290" fmla="*/ 429690 w 784555"/>
                    <a:gd name="connsiteY1290" fmla="*/ 151349 h 1048506"/>
                    <a:gd name="connsiteX1291" fmla="*/ 427650 w 784555"/>
                    <a:gd name="connsiteY1291" fmla="*/ 152115 h 1048506"/>
                    <a:gd name="connsiteX1292" fmla="*/ 426569 w 784555"/>
                    <a:gd name="connsiteY1292" fmla="*/ 154009 h 1048506"/>
                    <a:gd name="connsiteX1293" fmla="*/ 426047 w 784555"/>
                    <a:gd name="connsiteY1293" fmla="*/ 154920 h 1048506"/>
                    <a:gd name="connsiteX1294" fmla="*/ 425513 w 784555"/>
                    <a:gd name="connsiteY1294" fmla="*/ 155855 h 1048506"/>
                    <a:gd name="connsiteX1295" fmla="*/ 425331 w 784555"/>
                    <a:gd name="connsiteY1295" fmla="*/ 156923 h 1048506"/>
                    <a:gd name="connsiteX1296" fmla="*/ 425039 w 784555"/>
                    <a:gd name="connsiteY1296" fmla="*/ 158648 h 1048506"/>
                    <a:gd name="connsiteX1297" fmla="*/ 424906 w 784555"/>
                    <a:gd name="connsiteY1297" fmla="*/ 159437 h 1048506"/>
                    <a:gd name="connsiteX1298" fmla="*/ 424979 w 784555"/>
                    <a:gd name="connsiteY1298" fmla="*/ 160238 h 1048506"/>
                    <a:gd name="connsiteX1299" fmla="*/ 425149 w 784555"/>
                    <a:gd name="connsiteY1299" fmla="*/ 161987 h 1048506"/>
                    <a:gd name="connsiteX1300" fmla="*/ 424991 w 784555"/>
                    <a:gd name="connsiteY1300" fmla="*/ 163420 h 1048506"/>
                    <a:gd name="connsiteX1301" fmla="*/ 424614 w 784555"/>
                    <a:gd name="connsiteY1301" fmla="*/ 164622 h 1048506"/>
                    <a:gd name="connsiteX1302" fmla="*/ 418203 w 784555"/>
                    <a:gd name="connsiteY1302" fmla="*/ 171386 h 1048506"/>
                    <a:gd name="connsiteX1303" fmla="*/ 416940 w 784555"/>
                    <a:gd name="connsiteY1303" fmla="*/ 172029 h 1048506"/>
                    <a:gd name="connsiteX1304" fmla="*/ 416260 w 784555"/>
                    <a:gd name="connsiteY1304" fmla="*/ 172284 h 1048506"/>
                    <a:gd name="connsiteX1305" fmla="*/ 415944 w 784555"/>
                    <a:gd name="connsiteY1305" fmla="*/ 172332 h 1048506"/>
                    <a:gd name="connsiteX1306" fmla="*/ 412471 w 784555"/>
                    <a:gd name="connsiteY1306" fmla="*/ 172466 h 1048506"/>
                    <a:gd name="connsiteX1307" fmla="*/ 411464 w 784555"/>
                    <a:gd name="connsiteY1307" fmla="*/ 172405 h 1048506"/>
                    <a:gd name="connsiteX1308" fmla="*/ 410371 w 784555"/>
                    <a:gd name="connsiteY1308" fmla="*/ 172235 h 1048506"/>
                    <a:gd name="connsiteX1309" fmla="*/ 406691 w 784555"/>
                    <a:gd name="connsiteY1309" fmla="*/ 171142 h 1048506"/>
                    <a:gd name="connsiteX1310" fmla="*/ 397815 w 784555"/>
                    <a:gd name="connsiteY1310" fmla="*/ 165496 h 1048506"/>
                    <a:gd name="connsiteX1311" fmla="*/ 394038 w 784555"/>
                    <a:gd name="connsiteY1311" fmla="*/ 162011 h 1048506"/>
                    <a:gd name="connsiteX1312" fmla="*/ 385951 w 784555"/>
                    <a:gd name="connsiteY1312" fmla="*/ 150633 h 1048506"/>
                    <a:gd name="connsiteX1313" fmla="*/ 384628 w 784555"/>
                    <a:gd name="connsiteY1313" fmla="*/ 148787 h 1048506"/>
                    <a:gd name="connsiteX1314" fmla="*/ 382405 w 784555"/>
                    <a:gd name="connsiteY1314" fmla="*/ 148253 h 1048506"/>
                    <a:gd name="connsiteX1315" fmla="*/ 370821 w 784555"/>
                    <a:gd name="connsiteY1315" fmla="*/ 145484 h 1048506"/>
                    <a:gd name="connsiteX1316" fmla="*/ 366304 w 784555"/>
                    <a:gd name="connsiteY1316" fmla="*/ 143202 h 1048506"/>
                    <a:gd name="connsiteX1317" fmla="*/ 358484 w 784555"/>
                    <a:gd name="connsiteY1317" fmla="*/ 136839 h 1048506"/>
                    <a:gd name="connsiteX1318" fmla="*/ 358168 w 784555"/>
                    <a:gd name="connsiteY1318" fmla="*/ 136584 h 1048506"/>
                    <a:gd name="connsiteX1319" fmla="*/ 357828 w 784555"/>
                    <a:gd name="connsiteY1319" fmla="*/ 136365 h 1048506"/>
                    <a:gd name="connsiteX1320" fmla="*/ 351684 w 784555"/>
                    <a:gd name="connsiteY1320" fmla="*/ 132577 h 1048506"/>
                    <a:gd name="connsiteX1321" fmla="*/ 350967 w 784555"/>
                    <a:gd name="connsiteY1321" fmla="*/ 132139 h 1048506"/>
                    <a:gd name="connsiteX1322" fmla="*/ 350166 w 784555"/>
                    <a:gd name="connsiteY1322" fmla="*/ 131897 h 1048506"/>
                    <a:gd name="connsiteX1323" fmla="*/ 347240 w 784555"/>
                    <a:gd name="connsiteY1323" fmla="*/ 131071 h 1048506"/>
                    <a:gd name="connsiteX1324" fmla="*/ 346013 w 784555"/>
                    <a:gd name="connsiteY1324" fmla="*/ 130731 h 1048506"/>
                    <a:gd name="connsiteX1325" fmla="*/ 344750 w 784555"/>
                    <a:gd name="connsiteY1325" fmla="*/ 130913 h 1048506"/>
                    <a:gd name="connsiteX1326" fmla="*/ 342674 w 784555"/>
                    <a:gd name="connsiteY1326" fmla="*/ 131192 h 1048506"/>
                    <a:gd name="connsiteX1327" fmla="*/ 340124 w 784555"/>
                    <a:gd name="connsiteY1327" fmla="*/ 131532 h 1048506"/>
                    <a:gd name="connsiteX1328" fmla="*/ 338606 w 784555"/>
                    <a:gd name="connsiteY1328" fmla="*/ 133609 h 1048506"/>
                    <a:gd name="connsiteX1329" fmla="*/ 335631 w 784555"/>
                    <a:gd name="connsiteY1329" fmla="*/ 137665 h 1048506"/>
                    <a:gd name="connsiteX1330" fmla="*/ 335145 w 784555"/>
                    <a:gd name="connsiteY1330" fmla="*/ 138417 h 1048506"/>
                    <a:gd name="connsiteX1331" fmla="*/ 333020 w 784555"/>
                    <a:gd name="connsiteY1331" fmla="*/ 136025 h 1048506"/>
                    <a:gd name="connsiteX1332" fmla="*/ 332061 w 784555"/>
                    <a:gd name="connsiteY1332" fmla="*/ 134556 h 1048506"/>
                    <a:gd name="connsiteX1333" fmla="*/ 331879 w 784555"/>
                    <a:gd name="connsiteY1333" fmla="*/ 134277 h 1048506"/>
                    <a:gd name="connsiteX1334" fmla="*/ 331660 w 784555"/>
                    <a:gd name="connsiteY1334" fmla="*/ 134021 h 1048506"/>
                    <a:gd name="connsiteX1335" fmla="*/ 330397 w 784555"/>
                    <a:gd name="connsiteY1335" fmla="*/ 132480 h 1048506"/>
                    <a:gd name="connsiteX1336" fmla="*/ 330130 w 784555"/>
                    <a:gd name="connsiteY1336" fmla="*/ 132152 h 1048506"/>
                    <a:gd name="connsiteX1337" fmla="*/ 329827 w 784555"/>
                    <a:gd name="connsiteY1337" fmla="*/ 131872 h 1048506"/>
                    <a:gd name="connsiteX1338" fmla="*/ 328272 w 784555"/>
                    <a:gd name="connsiteY1338" fmla="*/ 130439 h 1048506"/>
                    <a:gd name="connsiteX1339" fmla="*/ 327884 w 784555"/>
                    <a:gd name="connsiteY1339" fmla="*/ 130087 h 1048506"/>
                    <a:gd name="connsiteX1340" fmla="*/ 327447 w 784555"/>
                    <a:gd name="connsiteY1340" fmla="*/ 129808 h 1048506"/>
                    <a:gd name="connsiteX1341" fmla="*/ 325261 w 784555"/>
                    <a:gd name="connsiteY1341" fmla="*/ 128399 h 1048506"/>
                    <a:gd name="connsiteX1342" fmla="*/ 324593 w 784555"/>
                    <a:gd name="connsiteY1342" fmla="*/ 127962 h 1048506"/>
                    <a:gd name="connsiteX1343" fmla="*/ 323828 w 784555"/>
                    <a:gd name="connsiteY1343" fmla="*/ 127719 h 1048506"/>
                    <a:gd name="connsiteX1344" fmla="*/ 321994 w 784555"/>
                    <a:gd name="connsiteY1344" fmla="*/ 127124 h 1048506"/>
                    <a:gd name="connsiteX1345" fmla="*/ 321460 w 784555"/>
                    <a:gd name="connsiteY1345" fmla="*/ 126942 h 1048506"/>
                    <a:gd name="connsiteX1346" fmla="*/ 320914 w 784555"/>
                    <a:gd name="connsiteY1346" fmla="*/ 126869 h 1048506"/>
                    <a:gd name="connsiteX1347" fmla="*/ 319068 w 784555"/>
                    <a:gd name="connsiteY1347" fmla="*/ 126627 h 1048506"/>
                    <a:gd name="connsiteX1348" fmla="*/ 318607 w 784555"/>
                    <a:gd name="connsiteY1348" fmla="*/ 126566 h 1048506"/>
                    <a:gd name="connsiteX1349" fmla="*/ 318133 w 784555"/>
                    <a:gd name="connsiteY1349" fmla="*/ 126578 h 1048506"/>
                    <a:gd name="connsiteX1350" fmla="*/ 308904 w 784555"/>
                    <a:gd name="connsiteY1350" fmla="*/ 126821 h 1048506"/>
                    <a:gd name="connsiteX1351" fmla="*/ 307981 w 784555"/>
                    <a:gd name="connsiteY1351" fmla="*/ 126845 h 1048506"/>
                    <a:gd name="connsiteX1352" fmla="*/ 307107 w 784555"/>
                    <a:gd name="connsiteY1352" fmla="*/ 127137 h 1048506"/>
                    <a:gd name="connsiteX1353" fmla="*/ 298716 w 784555"/>
                    <a:gd name="connsiteY1353" fmla="*/ 129966 h 1048506"/>
                    <a:gd name="connsiteX1354" fmla="*/ 295547 w 784555"/>
                    <a:gd name="connsiteY1354" fmla="*/ 131034 h 1048506"/>
                    <a:gd name="connsiteX1355" fmla="*/ 294758 w 784555"/>
                    <a:gd name="connsiteY1355" fmla="*/ 134289 h 1048506"/>
                    <a:gd name="connsiteX1356" fmla="*/ 292803 w 784555"/>
                    <a:gd name="connsiteY1356" fmla="*/ 142352 h 1048506"/>
                    <a:gd name="connsiteX1357" fmla="*/ 291139 w 784555"/>
                    <a:gd name="connsiteY1357" fmla="*/ 145654 h 1048506"/>
                    <a:gd name="connsiteX1358" fmla="*/ 288006 w 784555"/>
                    <a:gd name="connsiteY1358" fmla="*/ 150099 h 1048506"/>
                    <a:gd name="connsiteX1359" fmla="*/ 287593 w 784555"/>
                    <a:gd name="connsiteY1359" fmla="*/ 150694 h 1048506"/>
                    <a:gd name="connsiteX1360" fmla="*/ 287326 w 784555"/>
                    <a:gd name="connsiteY1360" fmla="*/ 151374 h 1048506"/>
                    <a:gd name="connsiteX1361" fmla="*/ 286585 w 784555"/>
                    <a:gd name="connsiteY1361" fmla="*/ 153244 h 1048506"/>
                    <a:gd name="connsiteX1362" fmla="*/ 286294 w 784555"/>
                    <a:gd name="connsiteY1362" fmla="*/ 153985 h 1048506"/>
                    <a:gd name="connsiteX1363" fmla="*/ 286197 w 784555"/>
                    <a:gd name="connsiteY1363" fmla="*/ 154762 h 1048506"/>
                    <a:gd name="connsiteX1364" fmla="*/ 286015 w 784555"/>
                    <a:gd name="connsiteY1364" fmla="*/ 156316 h 1048506"/>
                    <a:gd name="connsiteX1365" fmla="*/ 285833 w 784555"/>
                    <a:gd name="connsiteY1365" fmla="*/ 157822 h 1048506"/>
                    <a:gd name="connsiteX1366" fmla="*/ 286379 w 784555"/>
                    <a:gd name="connsiteY1366" fmla="*/ 159230 h 1048506"/>
                    <a:gd name="connsiteX1367" fmla="*/ 286403 w 784555"/>
                    <a:gd name="connsiteY1367" fmla="*/ 159303 h 1048506"/>
                    <a:gd name="connsiteX1368" fmla="*/ 279263 w 784555"/>
                    <a:gd name="connsiteY1368" fmla="*/ 163468 h 1048506"/>
                    <a:gd name="connsiteX1369" fmla="*/ 278170 w 784555"/>
                    <a:gd name="connsiteY1369" fmla="*/ 163881 h 1048506"/>
                    <a:gd name="connsiteX1370" fmla="*/ 277527 w 784555"/>
                    <a:gd name="connsiteY1370" fmla="*/ 163990 h 1048506"/>
                    <a:gd name="connsiteX1371" fmla="*/ 276968 w 784555"/>
                    <a:gd name="connsiteY1371" fmla="*/ 163930 h 1048506"/>
                    <a:gd name="connsiteX1372" fmla="*/ 273884 w 784555"/>
                    <a:gd name="connsiteY1372" fmla="*/ 163177 h 1048506"/>
                    <a:gd name="connsiteX1373" fmla="*/ 273362 w 784555"/>
                    <a:gd name="connsiteY1373" fmla="*/ 163055 h 1048506"/>
                    <a:gd name="connsiteX1374" fmla="*/ 272828 w 784555"/>
                    <a:gd name="connsiteY1374" fmla="*/ 163019 h 1048506"/>
                    <a:gd name="connsiteX1375" fmla="*/ 270824 w 784555"/>
                    <a:gd name="connsiteY1375" fmla="*/ 162898 h 1048506"/>
                    <a:gd name="connsiteX1376" fmla="*/ 270253 w 784555"/>
                    <a:gd name="connsiteY1376" fmla="*/ 162861 h 1048506"/>
                    <a:gd name="connsiteX1377" fmla="*/ 269695 w 784555"/>
                    <a:gd name="connsiteY1377" fmla="*/ 162934 h 1048506"/>
                    <a:gd name="connsiteX1378" fmla="*/ 268323 w 784555"/>
                    <a:gd name="connsiteY1378" fmla="*/ 163116 h 1048506"/>
                    <a:gd name="connsiteX1379" fmla="*/ 267643 w 784555"/>
                    <a:gd name="connsiteY1379" fmla="*/ 163213 h 1048506"/>
                    <a:gd name="connsiteX1380" fmla="*/ 267011 w 784555"/>
                    <a:gd name="connsiteY1380" fmla="*/ 163444 h 1048506"/>
                    <a:gd name="connsiteX1381" fmla="*/ 262640 w 784555"/>
                    <a:gd name="connsiteY1381" fmla="*/ 165047 h 1048506"/>
                    <a:gd name="connsiteX1382" fmla="*/ 260308 w 784555"/>
                    <a:gd name="connsiteY1382" fmla="*/ 165897 h 1048506"/>
                    <a:gd name="connsiteX1383" fmla="*/ 259252 w 784555"/>
                    <a:gd name="connsiteY1383" fmla="*/ 168143 h 1048506"/>
                    <a:gd name="connsiteX1384" fmla="*/ 254832 w 784555"/>
                    <a:gd name="connsiteY1384" fmla="*/ 177420 h 1048506"/>
                    <a:gd name="connsiteX1385" fmla="*/ 254662 w 784555"/>
                    <a:gd name="connsiteY1385" fmla="*/ 177761 h 1048506"/>
                    <a:gd name="connsiteX1386" fmla="*/ 254540 w 784555"/>
                    <a:gd name="connsiteY1386" fmla="*/ 178125 h 1048506"/>
                    <a:gd name="connsiteX1387" fmla="*/ 251893 w 784555"/>
                    <a:gd name="connsiteY1387" fmla="*/ 186188 h 1048506"/>
                    <a:gd name="connsiteX1388" fmla="*/ 251723 w 784555"/>
                    <a:gd name="connsiteY1388" fmla="*/ 186710 h 1048506"/>
                    <a:gd name="connsiteX1389" fmla="*/ 251650 w 784555"/>
                    <a:gd name="connsiteY1389" fmla="*/ 187256 h 1048506"/>
                    <a:gd name="connsiteX1390" fmla="*/ 251068 w 784555"/>
                    <a:gd name="connsiteY1390" fmla="*/ 191482 h 1048506"/>
                    <a:gd name="connsiteX1391" fmla="*/ 250934 w 784555"/>
                    <a:gd name="connsiteY1391" fmla="*/ 192405 h 1048506"/>
                    <a:gd name="connsiteX1392" fmla="*/ 251092 w 784555"/>
                    <a:gd name="connsiteY1392" fmla="*/ 193328 h 1048506"/>
                    <a:gd name="connsiteX1393" fmla="*/ 251553 w 784555"/>
                    <a:gd name="connsiteY1393" fmla="*/ 196060 h 1048506"/>
                    <a:gd name="connsiteX1394" fmla="*/ 251832 w 784555"/>
                    <a:gd name="connsiteY1394" fmla="*/ 197687 h 1048506"/>
                    <a:gd name="connsiteX1395" fmla="*/ 252889 w 784555"/>
                    <a:gd name="connsiteY1395" fmla="*/ 198950 h 1048506"/>
                    <a:gd name="connsiteX1396" fmla="*/ 253217 w 784555"/>
                    <a:gd name="connsiteY1396" fmla="*/ 199338 h 1048506"/>
                    <a:gd name="connsiteX1397" fmla="*/ 253217 w 784555"/>
                    <a:gd name="connsiteY1397" fmla="*/ 199338 h 1048506"/>
                    <a:gd name="connsiteX1398" fmla="*/ 252428 w 784555"/>
                    <a:gd name="connsiteY1398" fmla="*/ 201731 h 1048506"/>
                    <a:gd name="connsiteX1399" fmla="*/ 252112 w 784555"/>
                    <a:gd name="connsiteY1399" fmla="*/ 202666 h 1048506"/>
                    <a:gd name="connsiteX1400" fmla="*/ 252112 w 784555"/>
                    <a:gd name="connsiteY1400" fmla="*/ 203649 h 1048506"/>
                    <a:gd name="connsiteX1401" fmla="*/ 252112 w 784555"/>
                    <a:gd name="connsiteY1401" fmla="*/ 204948 h 1048506"/>
                    <a:gd name="connsiteX1402" fmla="*/ 252646 w 784555"/>
                    <a:gd name="connsiteY1402" fmla="*/ 206260 h 1048506"/>
                    <a:gd name="connsiteX1403" fmla="*/ 253035 w 784555"/>
                    <a:gd name="connsiteY1403" fmla="*/ 207122 h 1048506"/>
                    <a:gd name="connsiteX1404" fmla="*/ 253702 w 784555"/>
                    <a:gd name="connsiteY1404" fmla="*/ 208592 h 1048506"/>
                    <a:gd name="connsiteX1405" fmla="*/ 255014 w 784555"/>
                    <a:gd name="connsiteY1405" fmla="*/ 209539 h 1048506"/>
                    <a:gd name="connsiteX1406" fmla="*/ 255657 w 784555"/>
                    <a:gd name="connsiteY1406" fmla="*/ 210000 h 1048506"/>
                    <a:gd name="connsiteX1407" fmla="*/ 256872 w 784555"/>
                    <a:gd name="connsiteY1407" fmla="*/ 210874 h 1048506"/>
                    <a:gd name="connsiteX1408" fmla="*/ 258353 w 784555"/>
                    <a:gd name="connsiteY1408" fmla="*/ 211093 h 1048506"/>
                    <a:gd name="connsiteX1409" fmla="*/ 259507 w 784555"/>
                    <a:gd name="connsiteY1409" fmla="*/ 211263 h 1048506"/>
                    <a:gd name="connsiteX1410" fmla="*/ 259980 w 784555"/>
                    <a:gd name="connsiteY1410" fmla="*/ 211324 h 1048506"/>
                    <a:gd name="connsiteX1411" fmla="*/ 258001 w 784555"/>
                    <a:gd name="connsiteY1411" fmla="*/ 219775 h 1048506"/>
                    <a:gd name="connsiteX1412" fmla="*/ 257188 w 784555"/>
                    <a:gd name="connsiteY1412" fmla="*/ 221827 h 1048506"/>
                    <a:gd name="connsiteX1413" fmla="*/ 256337 w 784555"/>
                    <a:gd name="connsiteY1413" fmla="*/ 223151 h 1048506"/>
                    <a:gd name="connsiteX1414" fmla="*/ 253192 w 784555"/>
                    <a:gd name="connsiteY1414" fmla="*/ 226684 h 1048506"/>
                    <a:gd name="connsiteX1415" fmla="*/ 252840 w 784555"/>
                    <a:gd name="connsiteY1415" fmla="*/ 227085 h 1048506"/>
                    <a:gd name="connsiteX1416" fmla="*/ 252561 w 784555"/>
                    <a:gd name="connsiteY1416" fmla="*/ 227547 h 1048506"/>
                    <a:gd name="connsiteX1417" fmla="*/ 250800 w 784555"/>
                    <a:gd name="connsiteY1417" fmla="*/ 230400 h 1048506"/>
                    <a:gd name="connsiteX1418" fmla="*/ 246028 w 784555"/>
                    <a:gd name="connsiteY1418" fmla="*/ 235172 h 1048506"/>
                    <a:gd name="connsiteX1419" fmla="*/ 239592 w 784555"/>
                    <a:gd name="connsiteY1419" fmla="*/ 238414 h 1048506"/>
                    <a:gd name="connsiteX1420" fmla="*/ 239301 w 784555"/>
                    <a:gd name="connsiteY1420" fmla="*/ 238560 h 1048506"/>
                    <a:gd name="connsiteX1421" fmla="*/ 239022 w 784555"/>
                    <a:gd name="connsiteY1421" fmla="*/ 238754 h 1048506"/>
                    <a:gd name="connsiteX1422" fmla="*/ 237127 w 784555"/>
                    <a:gd name="connsiteY1422" fmla="*/ 239993 h 1048506"/>
                    <a:gd name="connsiteX1423" fmla="*/ 236581 w 784555"/>
                    <a:gd name="connsiteY1423" fmla="*/ 240345 h 1048506"/>
                    <a:gd name="connsiteX1424" fmla="*/ 236120 w 784555"/>
                    <a:gd name="connsiteY1424" fmla="*/ 240794 h 1048506"/>
                    <a:gd name="connsiteX1425" fmla="*/ 234565 w 784555"/>
                    <a:gd name="connsiteY1425" fmla="*/ 242361 h 1048506"/>
                    <a:gd name="connsiteX1426" fmla="*/ 233982 w 784555"/>
                    <a:gd name="connsiteY1426" fmla="*/ 242956 h 1048506"/>
                    <a:gd name="connsiteX1427" fmla="*/ 233582 w 784555"/>
                    <a:gd name="connsiteY1427" fmla="*/ 243684 h 1048506"/>
                    <a:gd name="connsiteX1428" fmla="*/ 232562 w 784555"/>
                    <a:gd name="connsiteY1428" fmla="*/ 245506 h 1048506"/>
                    <a:gd name="connsiteX1429" fmla="*/ 232100 w 784555"/>
                    <a:gd name="connsiteY1429" fmla="*/ 246441 h 1048506"/>
                    <a:gd name="connsiteX1430" fmla="*/ 231505 w 784555"/>
                    <a:gd name="connsiteY1430" fmla="*/ 247692 h 1048506"/>
                    <a:gd name="connsiteX1431" fmla="*/ 231505 w 784555"/>
                    <a:gd name="connsiteY1431" fmla="*/ 249076 h 1048506"/>
                    <a:gd name="connsiteX1432" fmla="*/ 231505 w 784555"/>
                    <a:gd name="connsiteY1432" fmla="*/ 251395 h 1048506"/>
                    <a:gd name="connsiteX1433" fmla="*/ 231505 w 784555"/>
                    <a:gd name="connsiteY1433" fmla="*/ 254710 h 1048506"/>
                    <a:gd name="connsiteX1434" fmla="*/ 234237 w 784555"/>
                    <a:gd name="connsiteY1434" fmla="*/ 256471 h 1048506"/>
                    <a:gd name="connsiteX1435" fmla="*/ 234140 w 784555"/>
                    <a:gd name="connsiteY1435" fmla="*/ 257236 h 1048506"/>
                    <a:gd name="connsiteX1436" fmla="*/ 233861 w 784555"/>
                    <a:gd name="connsiteY1436" fmla="*/ 259519 h 1048506"/>
                    <a:gd name="connsiteX1437" fmla="*/ 235160 w 784555"/>
                    <a:gd name="connsiteY1437" fmla="*/ 261413 h 1048506"/>
                    <a:gd name="connsiteX1438" fmla="*/ 236083 w 784555"/>
                    <a:gd name="connsiteY1438" fmla="*/ 262761 h 1048506"/>
                    <a:gd name="connsiteX1439" fmla="*/ 237394 w 784555"/>
                    <a:gd name="connsiteY1439" fmla="*/ 264680 h 1048506"/>
                    <a:gd name="connsiteX1440" fmla="*/ 239653 w 784555"/>
                    <a:gd name="connsiteY1440" fmla="*/ 265238 h 1048506"/>
                    <a:gd name="connsiteX1441" fmla="*/ 241317 w 784555"/>
                    <a:gd name="connsiteY1441" fmla="*/ 265639 h 1048506"/>
                    <a:gd name="connsiteX1442" fmla="*/ 241997 w 784555"/>
                    <a:gd name="connsiteY1442" fmla="*/ 265797 h 1048506"/>
                    <a:gd name="connsiteX1443" fmla="*/ 242701 w 784555"/>
                    <a:gd name="connsiteY1443" fmla="*/ 265809 h 1048506"/>
                    <a:gd name="connsiteX1444" fmla="*/ 275086 w 784555"/>
                    <a:gd name="connsiteY1444" fmla="*/ 266088 h 1048506"/>
                    <a:gd name="connsiteX1445" fmla="*/ 279445 w 784555"/>
                    <a:gd name="connsiteY1445" fmla="*/ 266926 h 1048506"/>
                    <a:gd name="connsiteX1446" fmla="*/ 282348 w 784555"/>
                    <a:gd name="connsiteY1446" fmla="*/ 268408 h 1048506"/>
                    <a:gd name="connsiteX1447" fmla="*/ 282833 w 784555"/>
                    <a:gd name="connsiteY1447" fmla="*/ 269051 h 1048506"/>
                    <a:gd name="connsiteX1448" fmla="*/ 283586 w 784555"/>
                    <a:gd name="connsiteY1448" fmla="*/ 269573 h 1048506"/>
                    <a:gd name="connsiteX1449" fmla="*/ 284108 w 784555"/>
                    <a:gd name="connsiteY1449" fmla="*/ 269938 h 1048506"/>
                    <a:gd name="connsiteX1450" fmla="*/ 288456 w 784555"/>
                    <a:gd name="connsiteY1450" fmla="*/ 277005 h 1048506"/>
                    <a:gd name="connsiteX1451" fmla="*/ 288443 w 784555"/>
                    <a:gd name="connsiteY1451" fmla="*/ 277102 h 1048506"/>
                    <a:gd name="connsiteX1452" fmla="*/ 288285 w 784555"/>
                    <a:gd name="connsiteY1452" fmla="*/ 277757 h 1048506"/>
                    <a:gd name="connsiteX1453" fmla="*/ 288103 w 784555"/>
                    <a:gd name="connsiteY1453" fmla="*/ 278195 h 1048506"/>
                    <a:gd name="connsiteX1454" fmla="*/ 288103 w 784555"/>
                    <a:gd name="connsiteY1454" fmla="*/ 278195 h 1048506"/>
                    <a:gd name="connsiteX1455" fmla="*/ 288031 w 784555"/>
                    <a:gd name="connsiteY1455" fmla="*/ 278267 h 1048506"/>
                    <a:gd name="connsiteX1456" fmla="*/ 287691 w 784555"/>
                    <a:gd name="connsiteY1456" fmla="*/ 278559 h 1048506"/>
                    <a:gd name="connsiteX1457" fmla="*/ 285930 w 784555"/>
                    <a:gd name="connsiteY1457" fmla="*/ 280283 h 1048506"/>
                    <a:gd name="connsiteX1458" fmla="*/ 284497 w 784555"/>
                    <a:gd name="connsiteY1458" fmla="*/ 281716 h 1048506"/>
                    <a:gd name="connsiteX1459" fmla="*/ 282894 w 784555"/>
                    <a:gd name="connsiteY1459" fmla="*/ 282943 h 1048506"/>
                    <a:gd name="connsiteX1460" fmla="*/ 281656 w 784555"/>
                    <a:gd name="connsiteY1460" fmla="*/ 283877 h 1048506"/>
                    <a:gd name="connsiteX1461" fmla="*/ 281024 w 784555"/>
                    <a:gd name="connsiteY1461" fmla="*/ 285298 h 1048506"/>
                    <a:gd name="connsiteX1462" fmla="*/ 279725 w 784555"/>
                    <a:gd name="connsiteY1462" fmla="*/ 288188 h 1048506"/>
                    <a:gd name="connsiteX1463" fmla="*/ 273738 w 784555"/>
                    <a:gd name="connsiteY1463" fmla="*/ 295620 h 1048506"/>
                    <a:gd name="connsiteX1464" fmla="*/ 273265 w 784555"/>
                    <a:gd name="connsiteY1464" fmla="*/ 296191 h 1048506"/>
                    <a:gd name="connsiteX1465" fmla="*/ 272961 w 784555"/>
                    <a:gd name="connsiteY1465" fmla="*/ 296871 h 1048506"/>
                    <a:gd name="connsiteX1466" fmla="*/ 271334 w 784555"/>
                    <a:gd name="connsiteY1466" fmla="*/ 300368 h 1048506"/>
                    <a:gd name="connsiteX1467" fmla="*/ 270751 w 784555"/>
                    <a:gd name="connsiteY1467" fmla="*/ 300817 h 1048506"/>
                    <a:gd name="connsiteX1468" fmla="*/ 269792 w 784555"/>
                    <a:gd name="connsiteY1468" fmla="*/ 301388 h 1048506"/>
                    <a:gd name="connsiteX1469" fmla="*/ 269003 w 784555"/>
                    <a:gd name="connsiteY1469" fmla="*/ 301728 h 1048506"/>
                    <a:gd name="connsiteX1470" fmla="*/ 266331 w 784555"/>
                    <a:gd name="connsiteY1470" fmla="*/ 302335 h 1048506"/>
                    <a:gd name="connsiteX1471" fmla="*/ 246975 w 784555"/>
                    <a:gd name="connsiteY1471" fmla="*/ 304096 h 1048506"/>
                    <a:gd name="connsiteX1472" fmla="*/ 245919 w 784555"/>
                    <a:gd name="connsiteY1472" fmla="*/ 304193 h 1048506"/>
                    <a:gd name="connsiteX1473" fmla="*/ 244960 w 784555"/>
                    <a:gd name="connsiteY1473" fmla="*/ 304642 h 1048506"/>
                    <a:gd name="connsiteX1474" fmla="*/ 242786 w 784555"/>
                    <a:gd name="connsiteY1474" fmla="*/ 305650 h 1048506"/>
                    <a:gd name="connsiteX1475" fmla="*/ 239313 w 784555"/>
                    <a:gd name="connsiteY1475" fmla="*/ 307580 h 1048506"/>
                    <a:gd name="connsiteX1476" fmla="*/ 237637 w 784555"/>
                    <a:gd name="connsiteY1476" fmla="*/ 308528 h 1048506"/>
                    <a:gd name="connsiteX1477" fmla="*/ 236812 w 784555"/>
                    <a:gd name="connsiteY1477" fmla="*/ 310276 h 1048506"/>
                    <a:gd name="connsiteX1478" fmla="*/ 236132 w 784555"/>
                    <a:gd name="connsiteY1478" fmla="*/ 311709 h 1048506"/>
                    <a:gd name="connsiteX1479" fmla="*/ 233509 w 784555"/>
                    <a:gd name="connsiteY1479" fmla="*/ 315206 h 1048506"/>
                    <a:gd name="connsiteX1480" fmla="*/ 233266 w 784555"/>
                    <a:gd name="connsiteY1480" fmla="*/ 315522 h 1048506"/>
                    <a:gd name="connsiteX1481" fmla="*/ 233072 w 784555"/>
                    <a:gd name="connsiteY1481" fmla="*/ 315862 h 1048506"/>
                    <a:gd name="connsiteX1482" fmla="*/ 231760 w 784555"/>
                    <a:gd name="connsiteY1482" fmla="*/ 318181 h 1048506"/>
                    <a:gd name="connsiteX1483" fmla="*/ 231505 w 784555"/>
                    <a:gd name="connsiteY1483" fmla="*/ 318631 h 1048506"/>
                    <a:gd name="connsiteX1484" fmla="*/ 231323 w 784555"/>
                    <a:gd name="connsiteY1484" fmla="*/ 319141 h 1048506"/>
                    <a:gd name="connsiteX1485" fmla="*/ 227850 w 784555"/>
                    <a:gd name="connsiteY1485" fmla="*/ 328988 h 1048506"/>
                    <a:gd name="connsiteX1486" fmla="*/ 226733 w 784555"/>
                    <a:gd name="connsiteY1486" fmla="*/ 331138 h 1048506"/>
                    <a:gd name="connsiteX1487" fmla="*/ 225567 w 784555"/>
                    <a:gd name="connsiteY1487" fmla="*/ 332413 h 1048506"/>
                    <a:gd name="connsiteX1488" fmla="*/ 221329 w 784555"/>
                    <a:gd name="connsiteY1488" fmla="*/ 332510 h 1048506"/>
                    <a:gd name="connsiteX1489" fmla="*/ 220540 w 784555"/>
                    <a:gd name="connsiteY1489" fmla="*/ 332534 h 1048506"/>
                    <a:gd name="connsiteX1490" fmla="*/ 219787 w 784555"/>
                    <a:gd name="connsiteY1490" fmla="*/ 332753 h 1048506"/>
                    <a:gd name="connsiteX1491" fmla="*/ 215853 w 784555"/>
                    <a:gd name="connsiteY1491" fmla="*/ 333894 h 1048506"/>
                    <a:gd name="connsiteX1492" fmla="*/ 214797 w 784555"/>
                    <a:gd name="connsiteY1492" fmla="*/ 333919 h 1048506"/>
                    <a:gd name="connsiteX1493" fmla="*/ 214274 w 784555"/>
                    <a:gd name="connsiteY1493" fmla="*/ 333737 h 1048506"/>
                    <a:gd name="connsiteX1494" fmla="*/ 211785 w 784555"/>
                    <a:gd name="connsiteY1494" fmla="*/ 331697 h 1048506"/>
                    <a:gd name="connsiteX1495" fmla="*/ 211214 w 784555"/>
                    <a:gd name="connsiteY1495" fmla="*/ 331223 h 1048506"/>
                    <a:gd name="connsiteX1496" fmla="*/ 210546 w 784555"/>
                    <a:gd name="connsiteY1496" fmla="*/ 330907 h 1048506"/>
                    <a:gd name="connsiteX1497" fmla="*/ 208944 w 784555"/>
                    <a:gd name="connsiteY1497" fmla="*/ 330142 h 1048506"/>
                    <a:gd name="connsiteX1498" fmla="*/ 208555 w 784555"/>
                    <a:gd name="connsiteY1498" fmla="*/ 329948 h 1048506"/>
                    <a:gd name="connsiteX1499" fmla="*/ 208130 w 784555"/>
                    <a:gd name="connsiteY1499" fmla="*/ 329814 h 1048506"/>
                    <a:gd name="connsiteX1500" fmla="*/ 205422 w 784555"/>
                    <a:gd name="connsiteY1500" fmla="*/ 328977 h 1048506"/>
                    <a:gd name="connsiteX1501" fmla="*/ 204208 w 784555"/>
                    <a:gd name="connsiteY1501" fmla="*/ 328345 h 1048506"/>
                    <a:gd name="connsiteX1502" fmla="*/ 203042 w 784555"/>
                    <a:gd name="connsiteY1502" fmla="*/ 327738 h 1048506"/>
                    <a:gd name="connsiteX1503" fmla="*/ 201731 w 784555"/>
                    <a:gd name="connsiteY1503" fmla="*/ 327677 h 1048506"/>
                    <a:gd name="connsiteX1504" fmla="*/ 199326 w 784555"/>
                    <a:gd name="connsiteY1504" fmla="*/ 327556 h 1048506"/>
                    <a:gd name="connsiteX1505" fmla="*/ 198015 w 784555"/>
                    <a:gd name="connsiteY1505" fmla="*/ 327483 h 1048506"/>
                    <a:gd name="connsiteX1506" fmla="*/ 196789 w 784555"/>
                    <a:gd name="connsiteY1506" fmla="*/ 327969 h 1048506"/>
                    <a:gd name="connsiteX1507" fmla="*/ 194603 w 784555"/>
                    <a:gd name="connsiteY1507" fmla="*/ 328831 h 1048506"/>
                    <a:gd name="connsiteX1508" fmla="*/ 192259 w 784555"/>
                    <a:gd name="connsiteY1508" fmla="*/ 330009 h 1048506"/>
                    <a:gd name="connsiteX1509" fmla="*/ 191166 w 784555"/>
                    <a:gd name="connsiteY1509" fmla="*/ 330300 h 1048506"/>
                    <a:gd name="connsiteX1510" fmla="*/ 183079 w 784555"/>
                    <a:gd name="connsiteY1510" fmla="*/ 329960 h 1048506"/>
                    <a:gd name="connsiteX1511" fmla="*/ 182533 w 784555"/>
                    <a:gd name="connsiteY1511" fmla="*/ 329948 h 1048506"/>
                    <a:gd name="connsiteX1512" fmla="*/ 181998 w 784555"/>
                    <a:gd name="connsiteY1512" fmla="*/ 330021 h 1048506"/>
                    <a:gd name="connsiteX1513" fmla="*/ 176765 w 784555"/>
                    <a:gd name="connsiteY1513" fmla="*/ 330749 h 1048506"/>
                    <a:gd name="connsiteX1514" fmla="*/ 176413 w 784555"/>
                    <a:gd name="connsiteY1514" fmla="*/ 330798 h 1048506"/>
                    <a:gd name="connsiteX1515" fmla="*/ 176061 w 784555"/>
                    <a:gd name="connsiteY1515" fmla="*/ 330895 h 1048506"/>
                    <a:gd name="connsiteX1516" fmla="*/ 173365 w 784555"/>
                    <a:gd name="connsiteY1516" fmla="*/ 331611 h 1048506"/>
                    <a:gd name="connsiteX1517" fmla="*/ 172843 w 784555"/>
                    <a:gd name="connsiteY1517" fmla="*/ 331757 h 1048506"/>
                    <a:gd name="connsiteX1518" fmla="*/ 172357 w 784555"/>
                    <a:gd name="connsiteY1518" fmla="*/ 331988 h 1048506"/>
                    <a:gd name="connsiteX1519" fmla="*/ 170693 w 784555"/>
                    <a:gd name="connsiteY1519" fmla="*/ 332753 h 1048506"/>
                    <a:gd name="connsiteX1520" fmla="*/ 168726 w 784555"/>
                    <a:gd name="connsiteY1520" fmla="*/ 333651 h 1048506"/>
                    <a:gd name="connsiteX1521" fmla="*/ 167779 w 784555"/>
                    <a:gd name="connsiteY1521" fmla="*/ 335607 h 1048506"/>
                    <a:gd name="connsiteX1522" fmla="*/ 167208 w 784555"/>
                    <a:gd name="connsiteY1522" fmla="*/ 336796 h 1048506"/>
                    <a:gd name="connsiteX1523" fmla="*/ 166917 w 784555"/>
                    <a:gd name="connsiteY1523" fmla="*/ 337392 h 1048506"/>
                    <a:gd name="connsiteX1524" fmla="*/ 159740 w 784555"/>
                    <a:gd name="connsiteY1524" fmla="*/ 329972 h 1048506"/>
                    <a:gd name="connsiteX1525" fmla="*/ 159182 w 784555"/>
                    <a:gd name="connsiteY1525" fmla="*/ 329389 h 1048506"/>
                    <a:gd name="connsiteX1526" fmla="*/ 158490 w 784555"/>
                    <a:gd name="connsiteY1526" fmla="*/ 328977 h 1048506"/>
                    <a:gd name="connsiteX1527" fmla="*/ 155903 w 784555"/>
                    <a:gd name="connsiteY1527" fmla="*/ 327434 h 1048506"/>
                    <a:gd name="connsiteX1528" fmla="*/ 155150 w 784555"/>
                    <a:gd name="connsiteY1528" fmla="*/ 326985 h 1048506"/>
                    <a:gd name="connsiteX1529" fmla="*/ 154300 w 784555"/>
                    <a:gd name="connsiteY1529" fmla="*/ 326767 h 1048506"/>
                    <a:gd name="connsiteX1530" fmla="*/ 151435 w 784555"/>
                    <a:gd name="connsiteY1530" fmla="*/ 326026 h 1048506"/>
                    <a:gd name="connsiteX1531" fmla="*/ 149832 w 784555"/>
                    <a:gd name="connsiteY1531" fmla="*/ 325613 h 1048506"/>
                    <a:gd name="connsiteX1532" fmla="*/ 148241 w 784555"/>
                    <a:gd name="connsiteY1532" fmla="*/ 326074 h 1048506"/>
                    <a:gd name="connsiteX1533" fmla="*/ 146347 w 784555"/>
                    <a:gd name="connsiteY1533" fmla="*/ 326621 h 1048506"/>
                    <a:gd name="connsiteX1534" fmla="*/ 145934 w 784555"/>
                    <a:gd name="connsiteY1534" fmla="*/ 326742 h 1048506"/>
                    <a:gd name="connsiteX1535" fmla="*/ 145545 w 784555"/>
                    <a:gd name="connsiteY1535" fmla="*/ 326912 h 1048506"/>
                    <a:gd name="connsiteX1536" fmla="*/ 142765 w 784555"/>
                    <a:gd name="connsiteY1536" fmla="*/ 328163 h 1048506"/>
                    <a:gd name="connsiteX1537" fmla="*/ 140858 w 784555"/>
                    <a:gd name="connsiteY1537" fmla="*/ 328406 h 1048506"/>
                    <a:gd name="connsiteX1538" fmla="*/ 137312 w 784555"/>
                    <a:gd name="connsiteY1538" fmla="*/ 328503 h 1048506"/>
                    <a:gd name="connsiteX1539" fmla="*/ 136365 w 784555"/>
                    <a:gd name="connsiteY1539" fmla="*/ 328539 h 1048506"/>
                    <a:gd name="connsiteX1540" fmla="*/ 135467 w 784555"/>
                    <a:gd name="connsiteY1540" fmla="*/ 328855 h 1048506"/>
                    <a:gd name="connsiteX1541" fmla="*/ 132989 w 784555"/>
                    <a:gd name="connsiteY1541" fmla="*/ 329741 h 1048506"/>
                    <a:gd name="connsiteX1542" fmla="*/ 132225 w 784555"/>
                    <a:gd name="connsiteY1542" fmla="*/ 330021 h 1048506"/>
                    <a:gd name="connsiteX1543" fmla="*/ 131557 w 784555"/>
                    <a:gd name="connsiteY1543" fmla="*/ 330482 h 1048506"/>
                    <a:gd name="connsiteX1544" fmla="*/ 129602 w 784555"/>
                    <a:gd name="connsiteY1544" fmla="*/ 331854 h 1048506"/>
                    <a:gd name="connsiteX1545" fmla="*/ 128752 w 784555"/>
                    <a:gd name="connsiteY1545" fmla="*/ 332449 h 1048506"/>
                    <a:gd name="connsiteX1546" fmla="*/ 128157 w 784555"/>
                    <a:gd name="connsiteY1546" fmla="*/ 333287 h 1048506"/>
                    <a:gd name="connsiteX1547" fmla="*/ 120749 w 784555"/>
                    <a:gd name="connsiteY1547" fmla="*/ 343657 h 1048506"/>
                    <a:gd name="connsiteX1548" fmla="*/ 115917 w 784555"/>
                    <a:gd name="connsiteY1548" fmla="*/ 351914 h 1048506"/>
                    <a:gd name="connsiteX1549" fmla="*/ 115382 w 784555"/>
                    <a:gd name="connsiteY1549" fmla="*/ 352837 h 1048506"/>
                    <a:gd name="connsiteX1550" fmla="*/ 115188 w 784555"/>
                    <a:gd name="connsiteY1550" fmla="*/ 353882 h 1048506"/>
                    <a:gd name="connsiteX1551" fmla="*/ 113549 w 784555"/>
                    <a:gd name="connsiteY1551" fmla="*/ 362795 h 1048506"/>
                    <a:gd name="connsiteX1552" fmla="*/ 108327 w 784555"/>
                    <a:gd name="connsiteY1552" fmla="*/ 361325 h 1048506"/>
                    <a:gd name="connsiteX1553" fmla="*/ 107841 w 784555"/>
                    <a:gd name="connsiteY1553" fmla="*/ 361192 h 1048506"/>
                    <a:gd name="connsiteX1554" fmla="*/ 107331 w 784555"/>
                    <a:gd name="connsiteY1554" fmla="*/ 361131 h 1048506"/>
                    <a:gd name="connsiteX1555" fmla="*/ 104284 w 784555"/>
                    <a:gd name="connsiteY1555" fmla="*/ 360803 h 1048506"/>
                    <a:gd name="connsiteX1556" fmla="*/ 103725 w 784555"/>
                    <a:gd name="connsiteY1556" fmla="*/ 360743 h 1048506"/>
                    <a:gd name="connsiteX1557" fmla="*/ 103166 w 784555"/>
                    <a:gd name="connsiteY1557" fmla="*/ 360791 h 1048506"/>
                    <a:gd name="connsiteX1558" fmla="*/ 75893 w 784555"/>
                    <a:gd name="connsiteY1558" fmla="*/ 362916 h 1048506"/>
                    <a:gd name="connsiteX1559" fmla="*/ 72736 w 784555"/>
                    <a:gd name="connsiteY1559" fmla="*/ 362843 h 1048506"/>
                    <a:gd name="connsiteX1560" fmla="*/ 71570 w 784555"/>
                    <a:gd name="connsiteY1560" fmla="*/ 362673 h 1048506"/>
                    <a:gd name="connsiteX1561" fmla="*/ 71898 w 784555"/>
                    <a:gd name="connsiteY1561" fmla="*/ 359419 h 1048506"/>
                    <a:gd name="connsiteX1562" fmla="*/ 72044 w 784555"/>
                    <a:gd name="connsiteY1562" fmla="*/ 357937 h 1048506"/>
                    <a:gd name="connsiteX1563" fmla="*/ 71486 w 784555"/>
                    <a:gd name="connsiteY1563" fmla="*/ 356553 h 1048506"/>
                    <a:gd name="connsiteX1564" fmla="*/ 70514 w 784555"/>
                    <a:gd name="connsiteY1564" fmla="*/ 354137 h 1048506"/>
                    <a:gd name="connsiteX1565" fmla="*/ 70053 w 784555"/>
                    <a:gd name="connsiteY1565" fmla="*/ 352995 h 1048506"/>
                    <a:gd name="connsiteX1566" fmla="*/ 69190 w 784555"/>
                    <a:gd name="connsiteY1566" fmla="*/ 352121 h 1048506"/>
                    <a:gd name="connsiteX1567" fmla="*/ 66956 w 784555"/>
                    <a:gd name="connsiteY1567" fmla="*/ 349862 h 1048506"/>
                    <a:gd name="connsiteX1568" fmla="*/ 65997 w 784555"/>
                    <a:gd name="connsiteY1568" fmla="*/ 348903 h 1048506"/>
                    <a:gd name="connsiteX1569" fmla="*/ 64710 w 784555"/>
                    <a:gd name="connsiteY1569" fmla="*/ 348429 h 1048506"/>
                    <a:gd name="connsiteX1570" fmla="*/ 59355 w 784555"/>
                    <a:gd name="connsiteY1570" fmla="*/ 346499 h 1048506"/>
                    <a:gd name="connsiteX1571" fmla="*/ 58395 w 784555"/>
                    <a:gd name="connsiteY1571" fmla="*/ 346159 h 1048506"/>
                    <a:gd name="connsiteX1572" fmla="*/ 57388 w 784555"/>
                    <a:gd name="connsiteY1572" fmla="*/ 346147 h 1048506"/>
                    <a:gd name="connsiteX1573" fmla="*/ 53660 w 784555"/>
                    <a:gd name="connsiteY1573" fmla="*/ 346086 h 1048506"/>
                    <a:gd name="connsiteX1574" fmla="*/ 52870 w 784555"/>
                    <a:gd name="connsiteY1574" fmla="*/ 346074 h 1048506"/>
                    <a:gd name="connsiteX1575" fmla="*/ 52093 w 784555"/>
                    <a:gd name="connsiteY1575" fmla="*/ 346268 h 1048506"/>
                    <a:gd name="connsiteX1576" fmla="*/ 48645 w 784555"/>
                    <a:gd name="connsiteY1576" fmla="*/ 347130 h 1048506"/>
                    <a:gd name="connsiteX1577" fmla="*/ 47782 w 784555"/>
                    <a:gd name="connsiteY1577" fmla="*/ 347361 h 1048506"/>
                    <a:gd name="connsiteX1578" fmla="*/ 47018 w 784555"/>
                    <a:gd name="connsiteY1578" fmla="*/ 347810 h 1048506"/>
                    <a:gd name="connsiteX1579" fmla="*/ 44370 w 784555"/>
                    <a:gd name="connsiteY1579" fmla="*/ 349389 h 1048506"/>
                    <a:gd name="connsiteX1580" fmla="*/ 44055 w 784555"/>
                    <a:gd name="connsiteY1580" fmla="*/ 349583 h 1048506"/>
                    <a:gd name="connsiteX1581" fmla="*/ 43763 w 784555"/>
                    <a:gd name="connsiteY1581" fmla="*/ 349814 h 1048506"/>
                    <a:gd name="connsiteX1582" fmla="*/ 41541 w 784555"/>
                    <a:gd name="connsiteY1582" fmla="*/ 351538 h 1048506"/>
                    <a:gd name="connsiteX1583" fmla="*/ 41286 w 784555"/>
                    <a:gd name="connsiteY1583" fmla="*/ 351745 h 1048506"/>
                    <a:gd name="connsiteX1584" fmla="*/ 41055 w 784555"/>
                    <a:gd name="connsiteY1584" fmla="*/ 351975 h 1048506"/>
                    <a:gd name="connsiteX1585" fmla="*/ 39440 w 784555"/>
                    <a:gd name="connsiteY1585" fmla="*/ 353530 h 1048506"/>
                    <a:gd name="connsiteX1586" fmla="*/ 39210 w 784555"/>
                    <a:gd name="connsiteY1586" fmla="*/ 353748 h 1048506"/>
                    <a:gd name="connsiteX1587" fmla="*/ 39003 w 784555"/>
                    <a:gd name="connsiteY1587" fmla="*/ 354003 h 1048506"/>
                    <a:gd name="connsiteX1588" fmla="*/ 37910 w 784555"/>
                    <a:gd name="connsiteY1588" fmla="*/ 355290 h 1048506"/>
                    <a:gd name="connsiteX1589" fmla="*/ 37704 w 784555"/>
                    <a:gd name="connsiteY1589" fmla="*/ 355545 h 1048506"/>
                    <a:gd name="connsiteX1590" fmla="*/ 37522 w 784555"/>
                    <a:gd name="connsiteY1590" fmla="*/ 355800 h 1048506"/>
                    <a:gd name="connsiteX1591" fmla="*/ 36842 w 784555"/>
                    <a:gd name="connsiteY1591" fmla="*/ 356808 h 1048506"/>
                    <a:gd name="connsiteX1592" fmla="*/ 36635 w 784555"/>
                    <a:gd name="connsiteY1592" fmla="*/ 357099 h 1048506"/>
                    <a:gd name="connsiteX1593" fmla="*/ 36465 w 784555"/>
                    <a:gd name="connsiteY1593" fmla="*/ 357427 h 1048506"/>
                    <a:gd name="connsiteX1594" fmla="*/ 35433 w 784555"/>
                    <a:gd name="connsiteY1594" fmla="*/ 359431 h 1048506"/>
                    <a:gd name="connsiteX1595" fmla="*/ 34462 w 784555"/>
                    <a:gd name="connsiteY1595" fmla="*/ 361313 h 1048506"/>
                    <a:gd name="connsiteX1596" fmla="*/ 33976 w 784555"/>
                    <a:gd name="connsiteY1596" fmla="*/ 361410 h 1048506"/>
                    <a:gd name="connsiteX1597" fmla="*/ 32798 w 784555"/>
                    <a:gd name="connsiteY1597" fmla="*/ 361665 h 1048506"/>
                    <a:gd name="connsiteX1598" fmla="*/ 31802 w 784555"/>
                    <a:gd name="connsiteY1598" fmla="*/ 362357 h 1048506"/>
                    <a:gd name="connsiteX1599" fmla="*/ 29556 w 784555"/>
                    <a:gd name="connsiteY1599" fmla="*/ 363912 h 1048506"/>
                    <a:gd name="connsiteX1600" fmla="*/ 28912 w 784555"/>
                    <a:gd name="connsiteY1600" fmla="*/ 364349 h 1048506"/>
                    <a:gd name="connsiteX1601" fmla="*/ 28402 w 784555"/>
                    <a:gd name="connsiteY1601" fmla="*/ 364944 h 1048506"/>
                    <a:gd name="connsiteX1602" fmla="*/ 26848 w 784555"/>
                    <a:gd name="connsiteY1602" fmla="*/ 366741 h 1048506"/>
                    <a:gd name="connsiteX1603" fmla="*/ 26411 w 784555"/>
                    <a:gd name="connsiteY1603" fmla="*/ 367239 h 1048506"/>
                    <a:gd name="connsiteX1604" fmla="*/ 26095 w 784555"/>
                    <a:gd name="connsiteY1604" fmla="*/ 367834 h 1048506"/>
                    <a:gd name="connsiteX1605" fmla="*/ 25282 w 784555"/>
                    <a:gd name="connsiteY1605" fmla="*/ 369339 h 1048506"/>
                    <a:gd name="connsiteX1606" fmla="*/ 24553 w 784555"/>
                    <a:gd name="connsiteY1606" fmla="*/ 370566 h 1048506"/>
                    <a:gd name="connsiteX1607" fmla="*/ 24055 w 784555"/>
                    <a:gd name="connsiteY1607" fmla="*/ 370918 h 1048506"/>
                    <a:gd name="connsiteX1608" fmla="*/ 21651 w 784555"/>
                    <a:gd name="connsiteY1608" fmla="*/ 371404 h 1048506"/>
                    <a:gd name="connsiteX1609" fmla="*/ 20255 w 784555"/>
                    <a:gd name="connsiteY1609" fmla="*/ 371343 h 1048506"/>
                    <a:gd name="connsiteX1610" fmla="*/ 17279 w 784555"/>
                    <a:gd name="connsiteY1610" fmla="*/ 370287 h 1048506"/>
                    <a:gd name="connsiteX1611" fmla="*/ 15531 w 784555"/>
                    <a:gd name="connsiteY1611" fmla="*/ 369425 h 1048506"/>
                    <a:gd name="connsiteX1612" fmla="*/ 14608 w 784555"/>
                    <a:gd name="connsiteY1612" fmla="*/ 368963 h 1048506"/>
                    <a:gd name="connsiteX1613" fmla="*/ 13588 w 784555"/>
                    <a:gd name="connsiteY1613" fmla="*/ 368830 h 1048506"/>
                    <a:gd name="connsiteX1614" fmla="*/ 8840 w 784555"/>
                    <a:gd name="connsiteY1614" fmla="*/ 368223 h 1048506"/>
                    <a:gd name="connsiteX1615" fmla="*/ 5076 w 784555"/>
                    <a:gd name="connsiteY1615" fmla="*/ 367749 h 1048506"/>
                    <a:gd name="connsiteX1616" fmla="*/ 2999 w 784555"/>
                    <a:gd name="connsiteY1616" fmla="*/ 370930 h 1048506"/>
                    <a:gd name="connsiteX1617" fmla="*/ 1785 w 784555"/>
                    <a:gd name="connsiteY1617" fmla="*/ 372776 h 1048506"/>
                    <a:gd name="connsiteX1618" fmla="*/ 1275 w 784555"/>
                    <a:gd name="connsiteY1618" fmla="*/ 373541 h 1048506"/>
                    <a:gd name="connsiteX1619" fmla="*/ 1020 w 784555"/>
                    <a:gd name="connsiteY1619" fmla="*/ 374427 h 1048506"/>
                    <a:gd name="connsiteX1620" fmla="*/ 559 w 784555"/>
                    <a:gd name="connsiteY1620" fmla="*/ 376055 h 1048506"/>
                    <a:gd name="connsiteX1621" fmla="*/ 267 w 784555"/>
                    <a:gd name="connsiteY1621" fmla="*/ 377087 h 1048506"/>
                    <a:gd name="connsiteX1622" fmla="*/ 340 w 784555"/>
                    <a:gd name="connsiteY1622" fmla="*/ 378155 h 1048506"/>
                    <a:gd name="connsiteX1623" fmla="*/ 461 w 784555"/>
                    <a:gd name="connsiteY1623" fmla="*/ 379831 h 1048506"/>
                    <a:gd name="connsiteX1624" fmla="*/ 498 w 784555"/>
                    <a:gd name="connsiteY1624" fmla="*/ 380475 h 1048506"/>
                    <a:gd name="connsiteX1625" fmla="*/ 680 w 784555"/>
                    <a:gd name="connsiteY1625" fmla="*/ 381094 h 1048506"/>
                    <a:gd name="connsiteX1626" fmla="*/ 1239 w 784555"/>
                    <a:gd name="connsiteY1626" fmla="*/ 383025 h 1048506"/>
                    <a:gd name="connsiteX1627" fmla="*/ 534 w 784555"/>
                    <a:gd name="connsiteY1627" fmla="*/ 385077 h 1048506"/>
                    <a:gd name="connsiteX1628" fmla="*/ 291 w 784555"/>
                    <a:gd name="connsiteY1628" fmla="*/ 385793 h 1048506"/>
                    <a:gd name="connsiteX1629" fmla="*/ 231 w 784555"/>
                    <a:gd name="connsiteY1629" fmla="*/ 386546 h 1048506"/>
                    <a:gd name="connsiteX1630" fmla="*/ 109 w 784555"/>
                    <a:gd name="connsiteY1630" fmla="*/ 387979 h 1048506"/>
                    <a:gd name="connsiteX1631" fmla="*/ 0 w 784555"/>
                    <a:gd name="connsiteY1631" fmla="*/ 389266 h 1048506"/>
                    <a:gd name="connsiteX1632" fmla="*/ 437 w 784555"/>
                    <a:gd name="connsiteY1632" fmla="*/ 390492 h 1048506"/>
                    <a:gd name="connsiteX1633" fmla="*/ 899 w 784555"/>
                    <a:gd name="connsiteY1633" fmla="*/ 391804 h 1048506"/>
                    <a:gd name="connsiteX1634" fmla="*/ 1069 w 784555"/>
                    <a:gd name="connsiteY1634" fmla="*/ 392290 h 1048506"/>
                    <a:gd name="connsiteX1635" fmla="*/ 1324 w 784555"/>
                    <a:gd name="connsiteY1635" fmla="*/ 392739 h 1048506"/>
                    <a:gd name="connsiteX1636" fmla="*/ 1919 w 784555"/>
                    <a:gd name="connsiteY1636" fmla="*/ 393808 h 1048506"/>
                    <a:gd name="connsiteX1637" fmla="*/ 2016 w 784555"/>
                    <a:gd name="connsiteY1637" fmla="*/ 394050 h 1048506"/>
                    <a:gd name="connsiteX1638" fmla="*/ 2161 w 784555"/>
                    <a:gd name="connsiteY1638" fmla="*/ 394561 h 1048506"/>
                    <a:gd name="connsiteX1639" fmla="*/ 2161 w 784555"/>
                    <a:gd name="connsiteY1639" fmla="*/ 394755 h 1048506"/>
                    <a:gd name="connsiteX1640" fmla="*/ 2368 w 784555"/>
                    <a:gd name="connsiteY1640" fmla="*/ 395824 h 1048506"/>
                    <a:gd name="connsiteX1641" fmla="*/ 2550 w 784555"/>
                    <a:gd name="connsiteY1641" fmla="*/ 396515 h 1048506"/>
                    <a:gd name="connsiteX1642" fmla="*/ 2720 w 784555"/>
                    <a:gd name="connsiteY1642" fmla="*/ 397159 h 1048506"/>
                    <a:gd name="connsiteX1643" fmla="*/ 3024 w 784555"/>
                    <a:gd name="connsiteY1643" fmla="*/ 397754 h 1048506"/>
                    <a:gd name="connsiteX1644" fmla="*/ 3813 w 784555"/>
                    <a:gd name="connsiteY1644" fmla="*/ 399272 h 1048506"/>
                    <a:gd name="connsiteX1645" fmla="*/ 4299 w 784555"/>
                    <a:gd name="connsiteY1645" fmla="*/ 400207 h 1048506"/>
                    <a:gd name="connsiteX1646" fmla="*/ 5064 w 784555"/>
                    <a:gd name="connsiteY1646" fmla="*/ 400923 h 1048506"/>
                    <a:gd name="connsiteX1647" fmla="*/ 6861 w 784555"/>
                    <a:gd name="connsiteY1647" fmla="*/ 402599 h 1048506"/>
                    <a:gd name="connsiteX1648" fmla="*/ 8160 w 784555"/>
                    <a:gd name="connsiteY1648" fmla="*/ 403813 h 1048506"/>
                    <a:gd name="connsiteX1649" fmla="*/ 9921 w 784555"/>
                    <a:gd name="connsiteY1649" fmla="*/ 404129 h 1048506"/>
                    <a:gd name="connsiteX1650" fmla="*/ 17862 w 784555"/>
                    <a:gd name="connsiteY1650" fmla="*/ 405562 h 1048506"/>
                    <a:gd name="connsiteX1651" fmla="*/ 37303 w 784555"/>
                    <a:gd name="connsiteY1651" fmla="*/ 411670 h 1048506"/>
                    <a:gd name="connsiteX1652" fmla="*/ 37922 w 784555"/>
                    <a:gd name="connsiteY1652" fmla="*/ 411986 h 1048506"/>
                    <a:gd name="connsiteX1653" fmla="*/ 41177 w 784555"/>
                    <a:gd name="connsiteY1653" fmla="*/ 415058 h 1048506"/>
                    <a:gd name="connsiteX1654" fmla="*/ 41468 w 784555"/>
                    <a:gd name="connsiteY1654" fmla="*/ 415325 h 1048506"/>
                    <a:gd name="connsiteX1655" fmla="*/ 41784 w 784555"/>
                    <a:gd name="connsiteY1655" fmla="*/ 415556 h 1048506"/>
                    <a:gd name="connsiteX1656" fmla="*/ 43447 w 784555"/>
                    <a:gd name="connsiteY1656" fmla="*/ 416758 h 1048506"/>
                    <a:gd name="connsiteX1657" fmla="*/ 44091 w 784555"/>
                    <a:gd name="connsiteY1657" fmla="*/ 417219 h 1048506"/>
                    <a:gd name="connsiteX1658" fmla="*/ 44820 w 784555"/>
                    <a:gd name="connsiteY1658" fmla="*/ 417498 h 1048506"/>
                    <a:gd name="connsiteX1659" fmla="*/ 47285 w 784555"/>
                    <a:gd name="connsiteY1659" fmla="*/ 418446 h 1048506"/>
                    <a:gd name="connsiteX1660" fmla="*/ 49470 w 784555"/>
                    <a:gd name="connsiteY1660" fmla="*/ 419089 h 1048506"/>
                    <a:gd name="connsiteX1661" fmla="*/ 50782 w 784555"/>
                    <a:gd name="connsiteY1661" fmla="*/ 419684 h 1048506"/>
                    <a:gd name="connsiteX1662" fmla="*/ 51292 w 784555"/>
                    <a:gd name="connsiteY1662" fmla="*/ 420085 h 1048506"/>
                    <a:gd name="connsiteX1663" fmla="*/ 54740 w 784555"/>
                    <a:gd name="connsiteY1663" fmla="*/ 425440 h 1048506"/>
                    <a:gd name="connsiteX1664" fmla="*/ 55578 w 784555"/>
                    <a:gd name="connsiteY1664" fmla="*/ 426727 h 1048506"/>
                    <a:gd name="connsiteX1665" fmla="*/ 56088 w 784555"/>
                    <a:gd name="connsiteY1665" fmla="*/ 427007 h 1048506"/>
                    <a:gd name="connsiteX1666" fmla="*/ 48220 w 784555"/>
                    <a:gd name="connsiteY1666" fmla="*/ 432641 h 1048506"/>
                    <a:gd name="connsiteX1667" fmla="*/ 47867 w 784555"/>
                    <a:gd name="connsiteY1667" fmla="*/ 432896 h 1048506"/>
                    <a:gd name="connsiteX1668" fmla="*/ 47552 w 784555"/>
                    <a:gd name="connsiteY1668" fmla="*/ 433199 h 1048506"/>
                    <a:gd name="connsiteX1669" fmla="*/ 45876 w 784555"/>
                    <a:gd name="connsiteY1669" fmla="*/ 434814 h 1048506"/>
                    <a:gd name="connsiteX1670" fmla="*/ 45475 w 784555"/>
                    <a:gd name="connsiteY1670" fmla="*/ 435191 h 1048506"/>
                    <a:gd name="connsiteX1671" fmla="*/ 45160 w 784555"/>
                    <a:gd name="connsiteY1671" fmla="*/ 435640 h 1048506"/>
                    <a:gd name="connsiteX1672" fmla="*/ 41322 w 784555"/>
                    <a:gd name="connsiteY1672" fmla="*/ 440971 h 1048506"/>
                    <a:gd name="connsiteX1673" fmla="*/ 40825 w 784555"/>
                    <a:gd name="connsiteY1673" fmla="*/ 441663 h 1048506"/>
                    <a:gd name="connsiteX1674" fmla="*/ 40545 w 784555"/>
                    <a:gd name="connsiteY1674" fmla="*/ 442440 h 1048506"/>
                    <a:gd name="connsiteX1675" fmla="*/ 39805 w 784555"/>
                    <a:gd name="connsiteY1675" fmla="*/ 444480 h 1048506"/>
                    <a:gd name="connsiteX1676" fmla="*/ 39367 w 784555"/>
                    <a:gd name="connsiteY1676" fmla="*/ 445682 h 1048506"/>
                    <a:gd name="connsiteX1677" fmla="*/ 39440 w 784555"/>
                    <a:gd name="connsiteY1677" fmla="*/ 446945 h 1048506"/>
                    <a:gd name="connsiteX1678" fmla="*/ 39550 w 784555"/>
                    <a:gd name="connsiteY1678" fmla="*/ 448718 h 1048506"/>
                    <a:gd name="connsiteX1679" fmla="*/ 39695 w 784555"/>
                    <a:gd name="connsiteY1679" fmla="*/ 451049 h 1048506"/>
                    <a:gd name="connsiteX1680" fmla="*/ 41359 w 784555"/>
                    <a:gd name="connsiteY1680" fmla="*/ 452676 h 1048506"/>
                    <a:gd name="connsiteX1681" fmla="*/ 42743 w 784555"/>
                    <a:gd name="connsiteY1681" fmla="*/ 454025 h 1048506"/>
                    <a:gd name="connsiteX1682" fmla="*/ 43860 w 784555"/>
                    <a:gd name="connsiteY1682" fmla="*/ 455129 h 1048506"/>
                    <a:gd name="connsiteX1683" fmla="*/ 45378 w 784555"/>
                    <a:gd name="connsiteY1683" fmla="*/ 455542 h 1048506"/>
                    <a:gd name="connsiteX1684" fmla="*/ 46933 w 784555"/>
                    <a:gd name="connsiteY1684" fmla="*/ 455967 h 1048506"/>
                    <a:gd name="connsiteX1685" fmla="*/ 47916 w 784555"/>
                    <a:gd name="connsiteY1685" fmla="*/ 456223 h 1048506"/>
                    <a:gd name="connsiteX1686" fmla="*/ 48924 w 784555"/>
                    <a:gd name="connsiteY1686" fmla="*/ 456162 h 1048506"/>
                    <a:gd name="connsiteX1687" fmla="*/ 50745 w 784555"/>
                    <a:gd name="connsiteY1687" fmla="*/ 456040 h 1048506"/>
                    <a:gd name="connsiteX1688" fmla="*/ 51595 w 784555"/>
                    <a:gd name="connsiteY1688" fmla="*/ 455979 h 1048506"/>
                    <a:gd name="connsiteX1689" fmla="*/ 52397 w 784555"/>
                    <a:gd name="connsiteY1689" fmla="*/ 455700 h 1048506"/>
                    <a:gd name="connsiteX1690" fmla="*/ 56234 w 784555"/>
                    <a:gd name="connsiteY1690" fmla="*/ 454328 h 1048506"/>
                    <a:gd name="connsiteX1691" fmla="*/ 60095 w 784555"/>
                    <a:gd name="connsiteY1691" fmla="*/ 456016 h 1048506"/>
                    <a:gd name="connsiteX1692" fmla="*/ 60533 w 784555"/>
                    <a:gd name="connsiteY1692" fmla="*/ 456210 h 1048506"/>
                    <a:gd name="connsiteX1693" fmla="*/ 60994 w 784555"/>
                    <a:gd name="connsiteY1693" fmla="*/ 456331 h 1048506"/>
                    <a:gd name="connsiteX1694" fmla="*/ 62767 w 784555"/>
                    <a:gd name="connsiteY1694" fmla="*/ 456793 h 1048506"/>
                    <a:gd name="connsiteX1695" fmla="*/ 63520 w 784555"/>
                    <a:gd name="connsiteY1695" fmla="*/ 457000 h 1048506"/>
                    <a:gd name="connsiteX1696" fmla="*/ 64297 w 784555"/>
                    <a:gd name="connsiteY1696" fmla="*/ 457000 h 1048506"/>
                    <a:gd name="connsiteX1697" fmla="*/ 66082 w 784555"/>
                    <a:gd name="connsiteY1697" fmla="*/ 457000 h 1048506"/>
                    <a:gd name="connsiteX1698" fmla="*/ 66689 w 784555"/>
                    <a:gd name="connsiteY1698" fmla="*/ 457000 h 1048506"/>
                    <a:gd name="connsiteX1699" fmla="*/ 67296 w 784555"/>
                    <a:gd name="connsiteY1699" fmla="*/ 456878 h 1048506"/>
                    <a:gd name="connsiteX1700" fmla="*/ 71206 w 784555"/>
                    <a:gd name="connsiteY1700" fmla="*/ 456076 h 1048506"/>
                    <a:gd name="connsiteX1701" fmla="*/ 83434 w 784555"/>
                    <a:gd name="connsiteY1701" fmla="*/ 455433 h 1048506"/>
                    <a:gd name="connsiteX1702" fmla="*/ 83956 w 784555"/>
                    <a:gd name="connsiteY1702" fmla="*/ 455409 h 1048506"/>
                    <a:gd name="connsiteX1703" fmla="*/ 84466 w 784555"/>
                    <a:gd name="connsiteY1703" fmla="*/ 455287 h 1048506"/>
                    <a:gd name="connsiteX1704" fmla="*/ 85802 w 784555"/>
                    <a:gd name="connsiteY1704" fmla="*/ 454996 h 1048506"/>
                    <a:gd name="connsiteX1705" fmla="*/ 85826 w 784555"/>
                    <a:gd name="connsiteY1705" fmla="*/ 455251 h 1048506"/>
                    <a:gd name="connsiteX1706" fmla="*/ 85996 w 784555"/>
                    <a:gd name="connsiteY1706" fmla="*/ 456684 h 1048506"/>
                    <a:gd name="connsiteX1707" fmla="*/ 86154 w 784555"/>
                    <a:gd name="connsiteY1707" fmla="*/ 457995 h 1048506"/>
                    <a:gd name="connsiteX1708" fmla="*/ 86846 w 784555"/>
                    <a:gd name="connsiteY1708" fmla="*/ 459137 h 1048506"/>
                    <a:gd name="connsiteX1709" fmla="*/ 88170 w 784555"/>
                    <a:gd name="connsiteY1709" fmla="*/ 461322 h 1048506"/>
                    <a:gd name="connsiteX1710" fmla="*/ 88546 w 784555"/>
                    <a:gd name="connsiteY1710" fmla="*/ 461942 h 1048506"/>
                    <a:gd name="connsiteX1711" fmla="*/ 89044 w 784555"/>
                    <a:gd name="connsiteY1711" fmla="*/ 462440 h 1048506"/>
                    <a:gd name="connsiteX1712" fmla="*/ 90246 w 784555"/>
                    <a:gd name="connsiteY1712" fmla="*/ 463654 h 1048506"/>
                    <a:gd name="connsiteX1713" fmla="*/ 90598 w 784555"/>
                    <a:gd name="connsiteY1713" fmla="*/ 464018 h 1048506"/>
                    <a:gd name="connsiteX1714" fmla="*/ 91011 w 784555"/>
                    <a:gd name="connsiteY1714" fmla="*/ 464297 h 1048506"/>
                    <a:gd name="connsiteX1715" fmla="*/ 91849 w 784555"/>
                    <a:gd name="connsiteY1715" fmla="*/ 464917 h 1048506"/>
                    <a:gd name="connsiteX1716" fmla="*/ 92481 w 784555"/>
                    <a:gd name="connsiteY1716" fmla="*/ 465706 h 1048506"/>
                    <a:gd name="connsiteX1717" fmla="*/ 93489 w 784555"/>
                    <a:gd name="connsiteY1717" fmla="*/ 468159 h 1048506"/>
                    <a:gd name="connsiteX1718" fmla="*/ 95371 w 784555"/>
                    <a:gd name="connsiteY1718" fmla="*/ 474291 h 1048506"/>
                    <a:gd name="connsiteX1719" fmla="*/ 95516 w 784555"/>
                    <a:gd name="connsiteY1719" fmla="*/ 474764 h 1048506"/>
                    <a:gd name="connsiteX1720" fmla="*/ 95638 w 784555"/>
                    <a:gd name="connsiteY1720" fmla="*/ 475008 h 1048506"/>
                    <a:gd name="connsiteX1721" fmla="*/ 95614 w 784555"/>
                    <a:gd name="connsiteY1721" fmla="*/ 475008 h 1048506"/>
                    <a:gd name="connsiteX1722" fmla="*/ 93998 w 784555"/>
                    <a:gd name="connsiteY1722" fmla="*/ 475068 h 1048506"/>
                    <a:gd name="connsiteX1723" fmla="*/ 92881 w 784555"/>
                    <a:gd name="connsiteY1723" fmla="*/ 475117 h 1048506"/>
                    <a:gd name="connsiteX1724" fmla="*/ 91849 w 784555"/>
                    <a:gd name="connsiteY1724" fmla="*/ 475554 h 1048506"/>
                    <a:gd name="connsiteX1725" fmla="*/ 90477 w 784555"/>
                    <a:gd name="connsiteY1725" fmla="*/ 476137 h 1048506"/>
                    <a:gd name="connsiteX1726" fmla="*/ 89481 w 784555"/>
                    <a:gd name="connsiteY1726" fmla="*/ 476550 h 1048506"/>
                    <a:gd name="connsiteX1727" fmla="*/ 88692 w 784555"/>
                    <a:gd name="connsiteY1727" fmla="*/ 477303 h 1048506"/>
                    <a:gd name="connsiteX1728" fmla="*/ 87721 w 784555"/>
                    <a:gd name="connsiteY1728" fmla="*/ 478213 h 1048506"/>
                    <a:gd name="connsiteX1729" fmla="*/ 87235 w 784555"/>
                    <a:gd name="connsiteY1729" fmla="*/ 478663 h 1048506"/>
                    <a:gd name="connsiteX1730" fmla="*/ 86858 w 784555"/>
                    <a:gd name="connsiteY1730" fmla="*/ 479221 h 1048506"/>
                    <a:gd name="connsiteX1731" fmla="*/ 85875 w 784555"/>
                    <a:gd name="connsiteY1731" fmla="*/ 480666 h 1048506"/>
                    <a:gd name="connsiteX1732" fmla="*/ 85596 w 784555"/>
                    <a:gd name="connsiteY1732" fmla="*/ 481079 h 1048506"/>
                    <a:gd name="connsiteX1733" fmla="*/ 85389 w 784555"/>
                    <a:gd name="connsiteY1733" fmla="*/ 481528 h 1048506"/>
                    <a:gd name="connsiteX1734" fmla="*/ 84636 w 784555"/>
                    <a:gd name="connsiteY1734" fmla="*/ 483155 h 1048506"/>
                    <a:gd name="connsiteX1735" fmla="*/ 84418 w 784555"/>
                    <a:gd name="connsiteY1735" fmla="*/ 483617 h 1048506"/>
                    <a:gd name="connsiteX1736" fmla="*/ 84284 w 784555"/>
                    <a:gd name="connsiteY1736" fmla="*/ 484115 h 1048506"/>
                    <a:gd name="connsiteX1737" fmla="*/ 83543 w 784555"/>
                    <a:gd name="connsiteY1737" fmla="*/ 486847 h 1048506"/>
                    <a:gd name="connsiteX1738" fmla="*/ 83458 w 784555"/>
                    <a:gd name="connsiteY1738" fmla="*/ 487162 h 1048506"/>
                    <a:gd name="connsiteX1739" fmla="*/ 83410 w 784555"/>
                    <a:gd name="connsiteY1739" fmla="*/ 487490 h 1048506"/>
                    <a:gd name="connsiteX1740" fmla="*/ 83009 w 784555"/>
                    <a:gd name="connsiteY1740" fmla="*/ 490077 h 1048506"/>
                    <a:gd name="connsiteX1741" fmla="*/ 82912 w 784555"/>
                    <a:gd name="connsiteY1741" fmla="*/ 490732 h 1048506"/>
                    <a:gd name="connsiteX1742" fmla="*/ 82949 w 784555"/>
                    <a:gd name="connsiteY1742" fmla="*/ 491400 h 1048506"/>
                    <a:gd name="connsiteX1743" fmla="*/ 83118 w 784555"/>
                    <a:gd name="connsiteY1743" fmla="*/ 494132 h 1048506"/>
                    <a:gd name="connsiteX1744" fmla="*/ 83143 w 784555"/>
                    <a:gd name="connsiteY1744" fmla="*/ 494631 h 1048506"/>
                    <a:gd name="connsiteX1745" fmla="*/ 83252 w 784555"/>
                    <a:gd name="connsiteY1745" fmla="*/ 495116 h 1048506"/>
                    <a:gd name="connsiteX1746" fmla="*/ 84066 w 784555"/>
                    <a:gd name="connsiteY1746" fmla="*/ 498650 h 1048506"/>
                    <a:gd name="connsiteX1747" fmla="*/ 84260 w 784555"/>
                    <a:gd name="connsiteY1747" fmla="*/ 499475 h 1048506"/>
                    <a:gd name="connsiteX1748" fmla="*/ 84673 w 784555"/>
                    <a:gd name="connsiteY1748" fmla="*/ 500216 h 1048506"/>
                    <a:gd name="connsiteX1749" fmla="*/ 87077 w 784555"/>
                    <a:gd name="connsiteY1749" fmla="*/ 504576 h 1048506"/>
                    <a:gd name="connsiteX1750" fmla="*/ 87611 w 784555"/>
                    <a:gd name="connsiteY1750" fmla="*/ 505547 h 1048506"/>
                    <a:gd name="connsiteX1751" fmla="*/ 88461 w 784555"/>
                    <a:gd name="connsiteY1751" fmla="*/ 506275 h 1048506"/>
                    <a:gd name="connsiteX1752" fmla="*/ 90987 w 784555"/>
                    <a:gd name="connsiteY1752" fmla="*/ 508425 h 1048506"/>
                    <a:gd name="connsiteX1753" fmla="*/ 91521 w 784555"/>
                    <a:gd name="connsiteY1753" fmla="*/ 508886 h 1048506"/>
                    <a:gd name="connsiteX1754" fmla="*/ 92153 w 784555"/>
                    <a:gd name="connsiteY1754" fmla="*/ 509202 h 1048506"/>
                    <a:gd name="connsiteX1755" fmla="*/ 95079 w 784555"/>
                    <a:gd name="connsiteY1755" fmla="*/ 510696 h 1048506"/>
                    <a:gd name="connsiteX1756" fmla="*/ 95565 w 784555"/>
                    <a:gd name="connsiteY1756" fmla="*/ 510951 h 1048506"/>
                    <a:gd name="connsiteX1757" fmla="*/ 96087 w 784555"/>
                    <a:gd name="connsiteY1757" fmla="*/ 511108 h 1048506"/>
                    <a:gd name="connsiteX1758" fmla="*/ 104976 w 784555"/>
                    <a:gd name="connsiteY1758" fmla="*/ 513804 h 1048506"/>
                    <a:gd name="connsiteX1759" fmla="*/ 113585 w 784555"/>
                    <a:gd name="connsiteY1759" fmla="*/ 517799 h 1048506"/>
                    <a:gd name="connsiteX1760" fmla="*/ 113877 w 784555"/>
                    <a:gd name="connsiteY1760" fmla="*/ 518018 h 1048506"/>
                    <a:gd name="connsiteX1761" fmla="*/ 114010 w 784555"/>
                    <a:gd name="connsiteY1761" fmla="*/ 518212 h 1048506"/>
                    <a:gd name="connsiteX1762" fmla="*/ 114520 w 784555"/>
                    <a:gd name="connsiteY1762" fmla="*/ 519426 h 1048506"/>
                    <a:gd name="connsiteX1763" fmla="*/ 115334 w 784555"/>
                    <a:gd name="connsiteY1763" fmla="*/ 522110 h 1048506"/>
                    <a:gd name="connsiteX1764" fmla="*/ 116269 w 784555"/>
                    <a:gd name="connsiteY1764" fmla="*/ 524454 h 1048506"/>
                    <a:gd name="connsiteX1765" fmla="*/ 116451 w 784555"/>
                    <a:gd name="connsiteY1765" fmla="*/ 524891 h 1048506"/>
                    <a:gd name="connsiteX1766" fmla="*/ 116694 w 784555"/>
                    <a:gd name="connsiteY1766" fmla="*/ 525291 h 1048506"/>
                    <a:gd name="connsiteX1767" fmla="*/ 117896 w 784555"/>
                    <a:gd name="connsiteY1767" fmla="*/ 527271 h 1048506"/>
                    <a:gd name="connsiteX1768" fmla="*/ 118394 w 784555"/>
                    <a:gd name="connsiteY1768" fmla="*/ 528072 h 1048506"/>
                    <a:gd name="connsiteX1769" fmla="*/ 119110 w 784555"/>
                    <a:gd name="connsiteY1769" fmla="*/ 528691 h 1048506"/>
                    <a:gd name="connsiteX1770" fmla="*/ 120664 w 784555"/>
                    <a:gd name="connsiteY1770" fmla="*/ 530039 h 1048506"/>
                    <a:gd name="connsiteX1771" fmla="*/ 121162 w 784555"/>
                    <a:gd name="connsiteY1771" fmla="*/ 530476 h 1048506"/>
                    <a:gd name="connsiteX1772" fmla="*/ 121745 w 784555"/>
                    <a:gd name="connsiteY1772" fmla="*/ 530792 h 1048506"/>
                    <a:gd name="connsiteX1773" fmla="*/ 123227 w 784555"/>
                    <a:gd name="connsiteY1773" fmla="*/ 531594 h 1048506"/>
                    <a:gd name="connsiteX1774" fmla="*/ 123639 w 784555"/>
                    <a:gd name="connsiteY1774" fmla="*/ 531824 h 1048506"/>
                    <a:gd name="connsiteX1775" fmla="*/ 123639 w 784555"/>
                    <a:gd name="connsiteY1775" fmla="*/ 532043 h 1048506"/>
                    <a:gd name="connsiteX1776" fmla="*/ 123433 w 784555"/>
                    <a:gd name="connsiteY1776" fmla="*/ 533123 h 1048506"/>
                    <a:gd name="connsiteX1777" fmla="*/ 122486 w 784555"/>
                    <a:gd name="connsiteY1777" fmla="*/ 535710 h 1048506"/>
                    <a:gd name="connsiteX1778" fmla="*/ 122340 w 784555"/>
                    <a:gd name="connsiteY1778" fmla="*/ 536098 h 1048506"/>
                    <a:gd name="connsiteX1779" fmla="*/ 122255 w 784555"/>
                    <a:gd name="connsiteY1779" fmla="*/ 536499 h 1048506"/>
                    <a:gd name="connsiteX1780" fmla="*/ 121745 w 784555"/>
                    <a:gd name="connsiteY1780" fmla="*/ 538867 h 1048506"/>
                    <a:gd name="connsiteX1781" fmla="*/ 121612 w 784555"/>
                    <a:gd name="connsiteY1781" fmla="*/ 539474 h 1048506"/>
                    <a:gd name="connsiteX1782" fmla="*/ 121612 w 784555"/>
                    <a:gd name="connsiteY1782" fmla="*/ 540106 h 1048506"/>
                    <a:gd name="connsiteX1783" fmla="*/ 121563 w 784555"/>
                    <a:gd name="connsiteY1783" fmla="*/ 546639 h 1048506"/>
                    <a:gd name="connsiteX1784" fmla="*/ 121417 w 784555"/>
                    <a:gd name="connsiteY1784" fmla="*/ 547416 h 1048506"/>
                    <a:gd name="connsiteX1785" fmla="*/ 120944 w 784555"/>
                    <a:gd name="connsiteY1785" fmla="*/ 548011 h 1048506"/>
                    <a:gd name="connsiteX1786" fmla="*/ 120397 w 784555"/>
                    <a:gd name="connsiteY1786" fmla="*/ 548290 h 1048506"/>
                    <a:gd name="connsiteX1787" fmla="*/ 119134 w 784555"/>
                    <a:gd name="connsiteY1787" fmla="*/ 548606 h 1048506"/>
                    <a:gd name="connsiteX1788" fmla="*/ 117653 w 784555"/>
                    <a:gd name="connsiteY1788" fmla="*/ 548800 h 1048506"/>
                    <a:gd name="connsiteX1789" fmla="*/ 115467 w 784555"/>
                    <a:gd name="connsiteY1789" fmla="*/ 549079 h 1048506"/>
                    <a:gd name="connsiteX1790" fmla="*/ 113962 w 784555"/>
                    <a:gd name="connsiteY1790" fmla="*/ 550695 h 1048506"/>
                    <a:gd name="connsiteX1791" fmla="*/ 112711 w 784555"/>
                    <a:gd name="connsiteY1791" fmla="*/ 552042 h 1048506"/>
                    <a:gd name="connsiteX1792" fmla="*/ 111387 w 784555"/>
                    <a:gd name="connsiteY1792" fmla="*/ 553475 h 1048506"/>
                    <a:gd name="connsiteX1793" fmla="*/ 111144 w 784555"/>
                    <a:gd name="connsiteY1793" fmla="*/ 555406 h 1048506"/>
                    <a:gd name="connsiteX1794" fmla="*/ 110841 w 784555"/>
                    <a:gd name="connsiteY1794" fmla="*/ 557810 h 1048506"/>
                    <a:gd name="connsiteX1795" fmla="*/ 110768 w 784555"/>
                    <a:gd name="connsiteY1795" fmla="*/ 558393 h 1048506"/>
                    <a:gd name="connsiteX1796" fmla="*/ 110804 w 784555"/>
                    <a:gd name="connsiteY1796" fmla="*/ 558976 h 1048506"/>
                    <a:gd name="connsiteX1797" fmla="*/ 111824 w 784555"/>
                    <a:gd name="connsiteY1797" fmla="*/ 574045 h 1048506"/>
                    <a:gd name="connsiteX1798" fmla="*/ 111217 w 784555"/>
                    <a:gd name="connsiteY1798" fmla="*/ 582910 h 1048506"/>
                    <a:gd name="connsiteX1799" fmla="*/ 111193 w 784555"/>
                    <a:gd name="connsiteY1799" fmla="*/ 582983 h 1048506"/>
                    <a:gd name="connsiteX1800" fmla="*/ 111084 w 784555"/>
                    <a:gd name="connsiteY1800" fmla="*/ 583395 h 1048506"/>
                    <a:gd name="connsiteX1801" fmla="*/ 111035 w 784555"/>
                    <a:gd name="connsiteY1801" fmla="*/ 583820 h 1048506"/>
                    <a:gd name="connsiteX1802" fmla="*/ 111023 w 784555"/>
                    <a:gd name="connsiteY1802" fmla="*/ 583893 h 1048506"/>
                    <a:gd name="connsiteX1803" fmla="*/ 109541 w 784555"/>
                    <a:gd name="connsiteY1803" fmla="*/ 587293 h 1048506"/>
                    <a:gd name="connsiteX1804" fmla="*/ 109165 w 784555"/>
                    <a:gd name="connsiteY1804" fmla="*/ 588168 h 1048506"/>
                    <a:gd name="connsiteX1805" fmla="*/ 109080 w 784555"/>
                    <a:gd name="connsiteY1805" fmla="*/ 589115 h 1048506"/>
                    <a:gd name="connsiteX1806" fmla="*/ 108497 w 784555"/>
                    <a:gd name="connsiteY1806" fmla="*/ 595137 h 1048506"/>
                    <a:gd name="connsiteX1807" fmla="*/ 108424 w 784555"/>
                    <a:gd name="connsiteY1807" fmla="*/ 595842 h 1048506"/>
                    <a:gd name="connsiteX1808" fmla="*/ 108521 w 784555"/>
                    <a:gd name="connsiteY1808" fmla="*/ 596534 h 1048506"/>
                    <a:gd name="connsiteX1809" fmla="*/ 108813 w 784555"/>
                    <a:gd name="connsiteY1809" fmla="*/ 598780 h 1048506"/>
                    <a:gd name="connsiteX1810" fmla="*/ 108861 w 784555"/>
                    <a:gd name="connsiteY1810" fmla="*/ 599169 h 1048506"/>
                    <a:gd name="connsiteX1811" fmla="*/ 108959 w 784555"/>
                    <a:gd name="connsiteY1811" fmla="*/ 599558 h 1048506"/>
                    <a:gd name="connsiteX1812" fmla="*/ 109469 w 784555"/>
                    <a:gd name="connsiteY1812" fmla="*/ 601452 h 1048506"/>
                    <a:gd name="connsiteX1813" fmla="*/ 109590 w 784555"/>
                    <a:gd name="connsiteY1813" fmla="*/ 601913 h 1048506"/>
                    <a:gd name="connsiteX1814" fmla="*/ 109784 w 784555"/>
                    <a:gd name="connsiteY1814" fmla="*/ 602351 h 1048506"/>
                    <a:gd name="connsiteX1815" fmla="*/ 110646 w 784555"/>
                    <a:gd name="connsiteY1815" fmla="*/ 604269 h 1048506"/>
                    <a:gd name="connsiteX1816" fmla="*/ 110889 w 784555"/>
                    <a:gd name="connsiteY1816" fmla="*/ 604791 h 1048506"/>
                    <a:gd name="connsiteX1817" fmla="*/ 111205 w 784555"/>
                    <a:gd name="connsiteY1817" fmla="*/ 605253 h 1048506"/>
                    <a:gd name="connsiteX1818" fmla="*/ 113670 w 784555"/>
                    <a:gd name="connsiteY1818" fmla="*/ 608798 h 1048506"/>
                    <a:gd name="connsiteX1819" fmla="*/ 114253 w 784555"/>
                    <a:gd name="connsiteY1819" fmla="*/ 609928 h 1048506"/>
                    <a:gd name="connsiteX1820" fmla="*/ 114374 w 784555"/>
                    <a:gd name="connsiteY1820" fmla="*/ 610523 h 1048506"/>
                    <a:gd name="connsiteX1821" fmla="*/ 113937 w 784555"/>
                    <a:gd name="connsiteY1821" fmla="*/ 614700 h 1048506"/>
                    <a:gd name="connsiteX1822" fmla="*/ 113901 w 784555"/>
                    <a:gd name="connsiteY1822" fmla="*/ 615076 h 1048506"/>
                    <a:gd name="connsiteX1823" fmla="*/ 113901 w 784555"/>
                    <a:gd name="connsiteY1823" fmla="*/ 615465 h 1048506"/>
                    <a:gd name="connsiteX1824" fmla="*/ 113962 w 784555"/>
                    <a:gd name="connsiteY1824" fmla="*/ 617881 h 1048506"/>
                    <a:gd name="connsiteX1825" fmla="*/ 113986 w 784555"/>
                    <a:gd name="connsiteY1825" fmla="*/ 618828 h 1048506"/>
                    <a:gd name="connsiteX1826" fmla="*/ 114302 w 784555"/>
                    <a:gd name="connsiteY1826" fmla="*/ 619727 h 1048506"/>
                    <a:gd name="connsiteX1827" fmla="*/ 114994 w 784555"/>
                    <a:gd name="connsiteY1827" fmla="*/ 621706 h 1048506"/>
                    <a:gd name="connsiteX1828" fmla="*/ 115431 w 784555"/>
                    <a:gd name="connsiteY1828" fmla="*/ 622969 h 1048506"/>
                    <a:gd name="connsiteX1829" fmla="*/ 116366 w 784555"/>
                    <a:gd name="connsiteY1829" fmla="*/ 623928 h 1048506"/>
                    <a:gd name="connsiteX1830" fmla="*/ 117738 w 784555"/>
                    <a:gd name="connsiteY1830" fmla="*/ 625337 h 1048506"/>
                    <a:gd name="connsiteX1831" fmla="*/ 118248 w 784555"/>
                    <a:gd name="connsiteY1831" fmla="*/ 625847 h 1048506"/>
                    <a:gd name="connsiteX1832" fmla="*/ 118855 w 784555"/>
                    <a:gd name="connsiteY1832" fmla="*/ 626236 h 1048506"/>
                    <a:gd name="connsiteX1833" fmla="*/ 122656 w 784555"/>
                    <a:gd name="connsiteY1833" fmla="*/ 628640 h 1048506"/>
                    <a:gd name="connsiteX1834" fmla="*/ 124077 w 784555"/>
                    <a:gd name="connsiteY1834" fmla="*/ 629769 h 1048506"/>
                    <a:gd name="connsiteX1835" fmla="*/ 126141 w 784555"/>
                    <a:gd name="connsiteY1835" fmla="*/ 631736 h 1048506"/>
                    <a:gd name="connsiteX1836" fmla="*/ 129529 w 784555"/>
                    <a:gd name="connsiteY1836" fmla="*/ 635671 h 1048506"/>
                    <a:gd name="connsiteX1837" fmla="*/ 129735 w 784555"/>
                    <a:gd name="connsiteY1837" fmla="*/ 635926 h 1048506"/>
                    <a:gd name="connsiteX1838" fmla="*/ 129978 w 784555"/>
                    <a:gd name="connsiteY1838" fmla="*/ 636144 h 1048506"/>
                    <a:gd name="connsiteX1839" fmla="*/ 131654 w 784555"/>
                    <a:gd name="connsiteY1839" fmla="*/ 637698 h 1048506"/>
                    <a:gd name="connsiteX1840" fmla="*/ 132176 w 784555"/>
                    <a:gd name="connsiteY1840" fmla="*/ 638184 h 1048506"/>
                    <a:gd name="connsiteX1841" fmla="*/ 132795 w 784555"/>
                    <a:gd name="connsiteY1841" fmla="*/ 638536 h 1048506"/>
                    <a:gd name="connsiteX1842" fmla="*/ 133949 w 784555"/>
                    <a:gd name="connsiteY1842" fmla="*/ 639192 h 1048506"/>
                    <a:gd name="connsiteX1843" fmla="*/ 134665 w 784555"/>
                    <a:gd name="connsiteY1843" fmla="*/ 639593 h 1048506"/>
                    <a:gd name="connsiteX1844" fmla="*/ 135454 w 784555"/>
                    <a:gd name="connsiteY1844" fmla="*/ 639787 h 1048506"/>
                    <a:gd name="connsiteX1845" fmla="*/ 137045 w 784555"/>
                    <a:gd name="connsiteY1845" fmla="*/ 640188 h 1048506"/>
                    <a:gd name="connsiteX1846" fmla="*/ 139450 w 784555"/>
                    <a:gd name="connsiteY1846" fmla="*/ 641511 h 1048506"/>
                    <a:gd name="connsiteX1847" fmla="*/ 141089 w 784555"/>
                    <a:gd name="connsiteY1847" fmla="*/ 642410 h 1048506"/>
                    <a:gd name="connsiteX1848" fmla="*/ 142947 w 784555"/>
                    <a:gd name="connsiteY1848" fmla="*/ 642240 h 1048506"/>
                    <a:gd name="connsiteX1849" fmla="*/ 145363 w 784555"/>
                    <a:gd name="connsiteY1849" fmla="*/ 642009 h 1048506"/>
                    <a:gd name="connsiteX1850" fmla="*/ 146262 w 784555"/>
                    <a:gd name="connsiteY1850" fmla="*/ 641924 h 1048506"/>
                    <a:gd name="connsiteX1851" fmla="*/ 147087 w 784555"/>
                    <a:gd name="connsiteY1851" fmla="*/ 641584 h 1048506"/>
                    <a:gd name="connsiteX1852" fmla="*/ 150196 w 784555"/>
                    <a:gd name="connsiteY1852" fmla="*/ 640321 h 1048506"/>
                    <a:gd name="connsiteX1853" fmla="*/ 150828 w 784555"/>
                    <a:gd name="connsiteY1853" fmla="*/ 640066 h 1048506"/>
                    <a:gd name="connsiteX1854" fmla="*/ 151386 w 784555"/>
                    <a:gd name="connsiteY1854" fmla="*/ 639678 h 1048506"/>
                    <a:gd name="connsiteX1855" fmla="*/ 157761 w 784555"/>
                    <a:gd name="connsiteY1855" fmla="*/ 635197 h 1048506"/>
                    <a:gd name="connsiteX1856" fmla="*/ 158125 w 784555"/>
                    <a:gd name="connsiteY1856" fmla="*/ 634942 h 1048506"/>
                    <a:gd name="connsiteX1857" fmla="*/ 158453 w 784555"/>
                    <a:gd name="connsiteY1857" fmla="*/ 634639 h 1048506"/>
                    <a:gd name="connsiteX1858" fmla="*/ 166334 w 784555"/>
                    <a:gd name="connsiteY1858" fmla="*/ 627159 h 1048506"/>
                    <a:gd name="connsiteX1859" fmla="*/ 167536 w 784555"/>
                    <a:gd name="connsiteY1859" fmla="*/ 626357 h 1048506"/>
                    <a:gd name="connsiteX1860" fmla="*/ 169212 w 784555"/>
                    <a:gd name="connsiteY1860" fmla="*/ 625519 h 1048506"/>
                    <a:gd name="connsiteX1861" fmla="*/ 177190 w 784555"/>
                    <a:gd name="connsiteY1861" fmla="*/ 622702 h 1048506"/>
                    <a:gd name="connsiteX1862" fmla="*/ 177651 w 784555"/>
                    <a:gd name="connsiteY1862" fmla="*/ 622532 h 1048506"/>
                    <a:gd name="connsiteX1863" fmla="*/ 178076 w 784555"/>
                    <a:gd name="connsiteY1863" fmla="*/ 622289 h 1048506"/>
                    <a:gd name="connsiteX1864" fmla="*/ 184257 w 784555"/>
                    <a:gd name="connsiteY1864" fmla="*/ 618913 h 1048506"/>
                    <a:gd name="connsiteX1865" fmla="*/ 185010 w 784555"/>
                    <a:gd name="connsiteY1865" fmla="*/ 618695 h 1048506"/>
                    <a:gd name="connsiteX1866" fmla="*/ 185058 w 784555"/>
                    <a:gd name="connsiteY1866" fmla="*/ 618731 h 1048506"/>
                    <a:gd name="connsiteX1867" fmla="*/ 189187 w 784555"/>
                    <a:gd name="connsiteY1867" fmla="*/ 625920 h 1048506"/>
                    <a:gd name="connsiteX1868" fmla="*/ 190146 w 784555"/>
                    <a:gd name="connsiteY1868" fmla="*/ 627304 h 1048506"/>
                    <a:gd name="connsiteX1869" fmla="*/ 190729 w 784555"/>
                    <a:gd name="connsiteY1869" fmla="*/ 629381 h 1048506"/>
                    <a:gd name="connsiteX1870" fmla="*/ 190972 w 784555"/>
                    <a:gd name="connsiteY1870" fmla="*/ 632647 h 1048506"/>
                    <a:gd name="connsiteX1871" fmla="*/ 191045 w 784555"/>
                    <a:gd name="connsiteY1871" fmla="*/ 633679 h 1048506"/>
                    <a:gd name="connsiteX1872" fmla="*/ 191458 w 784555"/>
                    <a:gd name="connsiteY1872" fmla="*/ 634626 h 1048506"/>
                    <a:gd name="connsiteX1873" fmla="*/ 192624 w 784555"/>
                    <a:gd name="connsiteY1873" fmla="*/ 637298 h 1048506"/>
                    <a:gd name="connsiteX1874" fmla="*/ 192854 w 784555"/>
                    <a:gd name="connsiteY1874" fmla="*/ 637832 h 1048506"/>
                    <a:gd name="connsiteX1875" fmla="*/ 193182 w 784555"/>
                    <a:gd name="connsiteY1875" fmla="*/ 638306 h 1048506"/>
                    <a:gd name="connsiteX1876" fmla="*/ 194263 w 784555"/>
                    <a:gd name="connsiteY1876" fmla="*/ 639884 h 1048506"/>
                    <a:gd name="connsiteX1877" fmla="*/ 194955 w 784555"/>
                    <a:gd name="connsiteY1877" fmla="*/ 640892 h 1048506"/>
                    <a:gd name="connsiteX1878" fmla="*/ 195975 w 784555"/>
                    <a:gd name="connsiteY1878" fmla="*/ 641560 h 1048506"/>
                    <a:gd name="connsiteX1879" fmla="*/ 196606 w 784555"/>
                    <a:gd name="connsiteY1879" fmla="*/ 641961 h 1048506"/>
                    <a:gd name="connsiteX1880" fmla="*/ 196218 w 784555"/>
                    <a:gd name="connsiteY1880" fmla="*/ 643649 h 1048506"/>
                    <a:gd name="connsiteX1881" fmla="*/ 187657 w 784555"/>
                    <a:gd name="connsiteY1881" fmla="*/ 661584 h 1048506"/>
                    <a:gd name="connsiteX1882" fmla="*/ 187475 w 784555"/>
                    <a:gd name="connsiteY1882" fmla="*/ 661960 h 1048506"/>
                    <a:gd name="connsiteX1883" fmla="*/ 187353 w 784555"/>
                    <a:gd name="connsiteY1883" fmla="*/ 662337 h 1048506"/>
                    <a:gd name="connsiteX1884" fmla="*/ 186722 w 784555"/>
                    <a:gd name="connsiteY1884" fmla="*/ 664291 h 1048506"/>
                    <a:gd name="connsiteX1885" fmla="*/ 186430 w 784555"/>
                    <a:gd name="connsiteY1885" fmla="*/ 665202 h 1048506"/>
                    <a:gd name="connsiteX1886" fmla="*/ 186430 w 784555"/>
                    <a:gd name="connsiteY1886" fmla="*/ 666150 h 1048506"/>
                    <a:gd name="connsiteX1887" fmla="*/ 186430 w 784555"/>
                    <a:gd name="connsiteY1887" fmla="*/ 667607 h 1048506"/>
                    <a:gd name="connsiteX1888" fmla="*/ 186430 w 784555"/>
                    <a:gd name="connsiteY1888" fmla="*/ 668942 h 1048506"/>
                    <a:gd name="connsiteX1889" fmla="*/ 186989 w 784555"/>
                    <a:gd name="connsiteY1889" fmla="*/ 670157 h 1048506"/>
                    <a:gd name="connsiteX1890" fmla="*/ 189697 w 784555"/>
                    <a:gd name="connsiteY1890" fmla="*/ 675998 h 1048506"/>
                    <a:gd name="connsiteX1891" fmla="*/ 193133 w 784555"/>
                    <a:gd name="connsiteY1891" fmla="*/ 686671 h 1048506"/>
                    <a:gd name="connsiteX1892" fmla="*/ 193133 w 784555"/>
                    <a:gd name="connsiteY1892" fmla="*/ 686950 h 1048506"/>
                    <a:gd name="connsiteX1893" fmla="*/ 192806 w 784555"/>
                    <a:gd name="connsiteY1893" fmla="*/ 688517 h 1048506"/>
                    <a:gd name="connsiteX1894" fmla="*/ 187997 w 784555"/>
                    <a:gd name="connsiteY1894" fmla="*/ 697879 h 1048506"/>
                    <a:gd name="connsiteX1895" fmla="*/ 187621 w 784555"/>
                    <a:gd name="connsiteY1895" fmla="*/ 698632 h 1048506"/>
                    <a:gd name="connsiteX1896" fmla="*/ 187450 w 784555"/>
                    <a:gd name="connsiteY1896" fmla="*/ 699446 h 1048506"/>
                    <a:gd name="connsiteX1897" fmla="*/ 187001 w 784555"/>
                    <a:gd name="connsiteY1897" fmla="*/ 701631 h 1048506"/>
                    <a:gd name="connsiteX1898" fmla="*/ 186928 w 784555"/>
                    <a:gd name="connsiteY1898" fmla="*/ 701995 h 1048506"/>
                    <a:gd name="connsiteX1899" fmla="*/ 186904 w 784555"/>
                    <a:gd name="connsiteY1899" fmla="*/ 702384 h 1048506"/>
                    <a:gd name="connsiteX1900" fmla="*/ 186722 w 784555"/>
                    <a:gd name="connsiteY1900" fmla="*/ 704825 h 1048506"/>
                    <a:gd name="connsiteX1901" fmla="*/ 186673 w 784555"/>
                    <a:gd name="connsiteY1901" fmla="*/ 705456 h 1048506"/>
                    <a:gd name="connsiteX1902" fmla="*/ 186758 w 784555"/>
                    <a:gd name="connsiteY1902" fmla="*/ 706100 h 1048506"/>
                    <a:gd name="connsiteX1903" fmla="*/ 187791 w 784555"/>
                    <a:gd name="connsiteY1903" fmla="*/ 713738 h 1048506"/>
                    <a:gd name="connsiteX1904" fmla="*/ 187851 w 784555"/>
                    <a:gd name="connsiteY1904" fmla="*/ 714187 h 1048506"/>
                    <a:gd name="connsiteX1905" fmla="*/ 187985 w 784555"/>
                    <a:gd name="connsiteY1905" fmla="*/ 714624 h 1048506"/>
                    <a:gd name="connsiteX1906" fmla="*/ 188944 w 784555"/>
                    <a:gd name="connsiteY1906" fmla="*/ 717890 h 1048506"/>
                    <a:gd name="connsiteX1907" fmla="*/ 188908 w 784555"/>
                    <a:gd name="connsiteY1907" fmla="*/ 719967 h 1048506"/>
                    <a:gd name="connsiteX1908" fmla="*/ 188641 w 784555"/>
                    <a:gd name="connsiteY1908" fmla="*/ 721776 h 1048506"/>
                    <a:gd name="connsiteX1909" fmla="*/ 179825 w 784555"/>
                    <a:gd name="connsiteY1909" fmla="*/ 750069 h 1048506"/>
                    <a:gd name="connsiteX1910" fmla="*/ 179667 w 784555"/>
                    <a:gd name="connsiteY1910" fmla="*/ 750555 h 1048506"/>
                    <a:gd name="connsiteX1911" fmla="*/ 179606 w 784555"/>
                    <a:gd name="connsiteY1911" fmla="*/ 751077 h 1048506"/>
                    <a:gd name="connsiteX1912" fmla="*/ 179376 w 784555"/>
                    <a:gd name="connsiteY1912" fmla="*/ 752777 h 1048506"/>
                    <a:gd name="connsiteX1913" fmla="*/ 179303 w 784555"/>
                    <a:gd name="connsiteY1913" fmla="*/ 753299 h 1048506"/>
                    <a:gd name="connsiteX1914" fmla="*/ 179327 w 784555"/>
                    <a:gd name="connsiteY1914" fmla="*/ 753833 h 1048506"/>
                    <a:gd name="connsiteX1915" fmla="*/ 179388 w 784555"/>
                    <a:gd name="connsiteY1915" fmla="*/ 755182 h 1048506"/>
                    <a:gd name="connsiteX1916" fmla="*/ 179448 w 784555"/>
                    <a:gd name="connsiteY1916" fmla="*/ 756602 h 1048506"/>
                    <a:gd name="connsiteX1917" fmla="*/ 180128 w 784555"/>
                    <a:gd name="connsiteY1917" fmla="*/ 757853 h 1048506"/>
                    <a:gd name="connsiteX1918" fmla="*/ 180699 w 784555"/>
                    <a:gd name="connsiteY1918" fmla="*/ 758885 h 1048506"/>
                    <a:gd name="connsiteX1919" fmla="*/ 181076 w 784555"/>
                    <a:gd name="connsiteY1919" fmla="*/ 759565 h 1048506"/>
                    <a:gd name="connsiteX1920" fmla="*/ 181598 w 784555"/>
                    <a:gd name="connsiteY1920" fmla="*/ 760124 h 1048506"/>
                    <a:gd name="connsiteX1921" fmla="*/ 182168 w 784555"/>
                    <a:gd name="connsiteY1921" fmla="*/ 760731 h 1048506"/>
                    <a:gd name="connsiteX1922" fmla="*/ 182982 w 784555"/>
                    <a:gd name="connsiteY1922" fmla="*/ 761581 h 1048506"/>
                    <a:gd name="connsiteX1923" fmla="*/ 184050 w 784555"/>
                    <a:gd name="connsiteY1923" fmla="*/ 762079 h 1048506"/>
                    <a:gd name="connsiteX1924" fmla="*/ 184973 w 784555"/>
                    <a:gd name="connsiteY1924" fmla="*/ 762504 h 1048506"/>
                    <a:gd name="connsiteX1925" fmla="*/ 186504 w 784555"/>
                    <a:gd name="connsiteY1925" fmla="*/ 763111 h 1048506"/>
                    <a:gd name="connsiteX1926" fmla="*/ 186831 w 784555"/>
                    <a:gd name="connsiteY1926" fmla="*/ 763245 h 1048506"/>
                    <a:gd name="connsiteX1927" fmla="*/ 187171 w 784555"/>
                    <a:gd name="connsiteY1927" fmla="*/ 763342 h 1048506"/>
                    <a:gd name="connsiteX1928" fmla="*/ 188726 w 784555"/>
                    <a:gd name="connsiteY1928" fmla="*/ 763742 h 1048506"/>
                    <a:gd name="connsiteX1929" fmla="*/ 189029 w 784555"/>
                    <a:gd name="connsiteY1929" fmla="*/ 763864 h 1048506"/>
                    <a:gd name="connsiteX1930" fmla="*/ 189272 w 784555"/>
                    <a:gd name="connsiteY1930" fmla="*/ 763985 h 1048506"/>
                    <a:gd name="connsiteX1931" fmla="*/ 189539 w 784555"/>
                    <a:gd name="connsiteY1931" fmla="*/ 764216 h 1048506"/>
                    <a:gd name="connsiteX1932" fmla="*/ 190802 w 784555"/>
                    <a:gd name="connsiteY1932" fmla="*/ 765539 h 1048506"/>
                    <a:gd name="connsiteX1933" fmla="*/ 192186 w 784555"/>
                    <a:gd name="connsiteY1933" fmla="*/ 766790 h 1048506"/>
                    <a:gd name="connsiteX1934" fmla="*/ 193656 w 784555"/>
                    <a:gd name="connsiteY1934" fmla="*/ 768053 h 1048506"/>
                    <a:gd name="connsiteX1935" fmla="*/ 195586 w 784555"/>
                    <a:gd name="connsiteY1935" fmla="*/ 768247 h 1048506"/>
                    <a:gd name="connsiteX1936" fmla="*/ 197602 w 784555"/>
                    <a:gd name="connsiteY1936" fmla="*/ 768454 h 1048506"/>
                    <a:gd name="connsiteX1937" fmla="*/ 197966 w 784555"/>
                    <a:gd name="connsiteY1937" fmla="*/ 768502 h 1048506"/>
                    <a:gd name="connsiteX1938" fmla="*/ 198343 w 784555"/>
                    <a:gd name="connsiteY1938" fmla="*/ 768490 h 1048506"/>
                    <a:gd name="connsiteX1939" fmla="*/ 199946 w 784555"/>
                    <a:gd name="connsiteY1939" fmla="*/ 768454 h 1048506"/>
                    <a:gd name="connsiteX1940" fmla="*/ 201233 w 784555"/>
                    <a:gd name="connsiteY1940" fmla="*/ 768417 h 1048506"/>
                    <a:gd name="connsiteX1941" fmla="*/ 202398 w 784555"/>
                    <a:gd name="connsiteY1941" fmla="*/ 767871 h 1048506"/>
                    <a:gd name="connsiteX1942" fmla="*/ 210352 w 784555"/>
                    <a:gd name="connsiteY1942" fmla="*/ 764131 h 1048506"/>
                    <a:gd name="connsiteX1943" fmla="*/ 210510 w 784555"/>
                    <a:gd name="connsiteY1943" fmla="*/ 764094 h 1048506"/>
                    <a:gd name="connsiteX1944" fmla="*/ 211554 w 784555"/>
                    <a:gd name="connsiteY1944" fmla="*/ 764058 h 1048506"/>
                    <a:gd name="connsiteX1945" fmla="*/ 212380 w 784555"/>
                    <a:gd name="connsiteY1945" fmla="*/ 766086 h 1048506"/>
                    <a:gd name="connsiteX1946" fmla="*/ 212514 w 784555"/>
                    <a:gd name="connsiteY1946" fmla="*/ 766401 h 1048506"/>
                    <a:gd name="connsiteX1947" fmla="*/ 212684 w 784555"/>
                    <a:gd name="connsiteY1947" fmla="*/ 766705 h 1048506"/>
                    <a:gd name="connsiteX1948" fmla="*/ 214056 w 784555"/>
                    <a:gd name="connsiteY1948" fmla="*/ 769231 h 1048506"/>
                    <a:gd name="connsiteX1949" fmla="*/ 214335 w 784555"/>
                    <a:gd name="connsiteY1949" fmla="*/ 769765 h 1048506"/>
                    <a:gd name="connsiteX1950" fmla="*/ 214724 w 784555"/>
                    <a:gd name="connsiteY1950" fmla="*/ 770214 h 1048506"/>
                    <a:gd name="connsiteX1951" fmla="*/ 219945 w 784555"/>
                    <a:gd name="connsiteY1951" fmla="*/ 776468 h 1048506"/>
                    <a:gd name="connsiteX1952" fmla="*/ 220164 w 784555"/>
                    <a:gd name="connsiteY1952" fmla="*/ 776978 h 1048506"/>
                    <a:gd name="connsiteX1953" fmla="*/ 220139 w 784555"/>
                    <a:gd name="connsiteY1953" fmla="*/ 777767 h 1048506"/>
                    <a:gd name="connsiteX1954" fmla="*/ 216958 w 784555"/>
                    <a:gd name="connsiteY1954" fmla="*/ 780524 h 1048506"/>
                    <a:gd name="connsiteX1955" fmla="*/ 216460 w 784555"/>
                    <a:gd name="connsiteY1955" fmla="*/ 780949 h 1048506"/>
                    <a:gd name="connsiteX1956" fmla="*/ 216059 w 784555"/>
                    <a:gd name="connsiteY1956" fmla="*/ 781483 h 1048506"/>
                    <a:gd name="connsiteX1957" fmla="*/ 214906 w 784555"/>
                    <a:gd name="connsiteY1957" fmla="*/ 783025 h 1048506"/>
                    <a:gd name="connsiteX1958" fmla="*/ 214578 w 784555"/>
                    <a:gd name="connsiteY1958" fmla="*/ 783462 h 1048506"/>
                    <a:gd name="connsiteX1959" fmla="*/ 214335 w 784555"/>
                    <a:gd name="connsiteY1959" fmla="*/ 783948 h 1048506"/>
                    <a:gd name="connsiteX1960" fmla="*/ 213121 w 784555"/>
                    <a:gd name="connsiteY1960" fmla="*/ 786389 h 1048506"/>
                    <a:gd name="connsiteX1961" fmla="*/ 212939 w 784555"/>
                    <a:gd name="connsiteY1961" fmla="*/ 786753 h 1048506"/>
                    <a:gd name="connsiteX1962" fmla="*/ 212805 w 784555"/>
                    <a:gd name="connsiteY1962" fmla="*/ 787154 h 1048506"/>
                    <a:gd name="connsiteX1963" fmla="*/ 208434 w 784555"/>
                    <a:gd name="connsiteY1963" fmla="*/ 800135 h 1048506"/>
                    <a:gd name="connsiteX1964" fmla="*/ 203795 w 784555"/>
                    <a:gd name="connsiteY1964" fmla="*/ 807736 h 1048506"/>
                    <a:gd name="connsiteX1965" fmla="*/ 203418 w 784555"/>
                    <a:gd name="connsiteY1965" fmla="*/ 808368 h 1048506"/>
                    <a:gd name="connsiteX1966" fmla="*/ 203200 w 784555"/>
                    <a:gd name="connsiteY1966" fmla="*/ 809060 h 1048506"/>
                    <a:gd name="connsiteX1967" fmla="*/ 192405 w 784555"/>
                    <a:gd name="connsiteY1967" fmla="*/ 842854 h 1048506"/>
                    <a:gd name="connsiteX1968" fmla="*/ 188179 w 784555"/>
                    <a:gd name="connsiteY1968" fmla="*/ 852726 h 1048506"/>
                    <a:gd name="connsiteX1969" fmla="*/ 185398 w 784555"/>
                    <a:gd name="connsiteY1969" fmla="*/ 856782 h 1048506"/>
                    <a:gd name="connsiteX1970" fmla="*/ 179473 w 784555"/>
                    <a:gd name="connsiteY1970" fmla="*/ 860946 h 1048506"/>
                    <a:gd name="connsiteX1971" fmla="*/ 179181 w 784555"/>
                    <a:gd name="connsiteY1971" fmla="*/ 861153 h 1048506"/>
                    <a:gd name="connsiteX1972" fmla="*/ 178914 w 784555"/>
                    <a:gd name="connsiteY1972" fmla="*/ 861396 h 1048506"/>
                    <a:gd name="connsiteX1973" fmla="*/ 177651 w 784555"/>
                    <a:gd name="connsiteY1973" fmla="*/ 862525 h 1048506"/>
                    <a:gd name="connsiteX1974" fmla="*/ 177008 w 784555"/>
                    <a:gd name="connsiteY1974" fmla="*/ 863096 h 1048506"/>
                    <a:gd name="connsiteX1975" fmla="*/ 176546 w 784555"/>
                    <a:gd name="connsiteY1975" fmla="*/ 863837 h 1048506"/>
                    <a:gd name="connsiteX1976" fmla="*/ 176194 w 784555"/>
                    <a:gd name="connsiteY1976" fmla="*/ 864395 h 1048506"/>
                    <a:gd name="connsiteX1977" fmla="*/ 174931 w 784555"/>
                    <a:gd name="connsiteY1977" fmla="*/ 866386 h 1048506"/>
                    <a:gd name="connsiteX1978" fmla="*/ 175356 w 784555"/>
                    <a:gd name="connsiteY1978" fmla="*/ 868706 h 1048506"/>
                    <a:gd name="connsiteX1979" fmla="*/ 175939 w 784555"/>
                    <a:gd name="connsiteY1979" fmla="*/ 871887 h 1048506"/>
                    <a:gd name="connsiteX1980" fmla="*/ 176024 w 784555"/>
                    <a:gd name="connsiteY1980" fmla="*/ 872397 h 1048506"/>
                    <a:gd name="connsiteX1981" fmla="*/ 176206 w 784555"/>
                    <a:gd name="connsiteY1981" fmla="*/ 872883 h 1048506"/>
                    <a:gd name="connsiteX1982" fmla="*/ 180566 w 784555"/>
                    <a:gd name="connsiteY1982" fmla="*/ 884783 h 1048506"/>
                    <a:gd name="connsiteX1983" fmla="*/ 182800 w 784555"/>
                    <a:gd name="connsiteY1983" fmla="*/ 890138 h 1048506"/>
                    <a:gd name="connsiteX1984" fmla="*/ 183346 w 784555"/>
                    <a:gd name="connsiteY1984" fmla="*/ 891449 h 1048506"/>
                    <a:gd name="connsiteX1985" fmla="*/ 184427 w 784555"/>
                    <a:gd name="connsiteY1985" fmla="*/ 892384 h 1048506"/>
                    <a:gd name="connsiteX1986" fmla="*/ 187244 w 784555"/>
                    <a:gd name="connsiteY1986" fmla="*/ 894825 h 1048506"/>
                    <a:gd name="connsiteX1987" fmla="*/ 187742 w 784555"/>
                    <a:gd name="connsiteY1987" fmla="*/ 895250 h 1048506"/>
                    <a:gd name="connsiteX1988" fmla="*/ 188313 w 784555"/>
                    <a:gd name="connsiteY1988" fmla="*/ 895554 h 1048506"/>
                    <a:gd name="connsiteX1989" fmla="*/ 191239 w 784555"/>
                    <a:gd name="connsiteY1989" fmla="*/ 897157 h 1048506"/>
                    <a:gd name="connsiteX1990" fmla="*/ 191591 w 784555"/>
                    <a:gd name="connsiteY1990" fmla="*/ 897448 h 1048506"/>
                    <a:gd name="connsiteX1991" fmla="*/ 189005 w 784555"/>
                    <a:gd name="connsiteY1991" fmla="*/ 905960 h 1048506"/>
                    <a:gd name="connsiteX1992" fmla="*/ 181379 w 784555"/>
                    <a:gd name="connsiteY1992" fmla="*/ 917654 h 1048506"/>
                    <a:gd name="connsiteX1993" fmla="*/ 179497 w 784555"/>
                    <a:gd name="connsiteY1993" fmla="*/ 920119 h 1048506"/>
                    <a:gd name="connsiteX1994" fmla="*/ 178744 w 784555"/>
                    <a:gd name="connsiteY1994" fmla="*/ 921115 h 1048506"/>
                    <a:gd name="connsiteX1995" fmla="*/ 178441 w 784555"/>
                    <a:gd name="connsiteY1995" fmla="*/ 922341 h 1048506"/>
                    <a:gd name="connsiteX1996" fmla="*/ 178052 w 784555"/>
                    <a:gd name="connsiteY1996" fmla="*/ 923920 h 1048506"/>
                    <a:gd name="connsiteX1997" fmla="*/ 177785 w 784555"/>
                    <a:gd name="connsiteY1997" fmla="*/ 925037 h 1048506"/>
                    <a:gd name="connsiteX1998" fmla="*/ 177943 w 784555"/>
                    <a:gd name="connsiteY1998" fmla="*/ 926178 h 1048506"/>
                    <a:gd name="connsiteX1999" fmla="*/ 178270 w 784555"/>
                    <a:gd name="connsiteY1999" fmla="*/ 928595 h 1048506"/>
                    <a:gd name="connsiteX2000" fmla="*/ 178356 w 784555"/>
                    <a:gd name="connsiteY2000" fmla="*/ 929238 h 1048506"/>
                    <a:gd name="connsiteX2001" fmla="*/ 178574 w 784555"/>
                    <a:gd name="connsiteY2001" fmla="*/ 929846 h 1048506"/>
                    <a:gd name="connsiteX2002" fmla="*/ 178987 w 784555"/>
                    <a:gd name="connsiteY2002" fmla="*/ 931011 h 1048506"/>
                    <a:gd name="connsiteX2003" fmla="*/ 179096 w 784555"/>
                    <a:gd name="connsiteY2003" fmla="*/ 931643 h 1048506"/>
                    <a:gd name="connsiteX2004" fmla="*/ 179205 w 784555"/>
                    <a:gd name="connsiteY2004" fmla="*/ 934338 h 1048506"/>
                    <a:gd name="connsiteX2005" fmla="*/ 179218 w 784555"/>
                    <a:gd name="connsiteY2005" fmla="*/ 934800 h 1048506"/>
                    <a:gd name="connsiteX2006" fmla="*/ 179303 w 784555"/>
                    <a:gd name="connsiteY2006" fmla="*/ 935237 h 1048506"/>
                    <a:gd name="connsiteX2007" fmla="*/ 179655 w 784555"/>
                    <a:gd name="connsiteY2007" fmla="*/ 937083 h 1048506"/>
                    <a:gd name="connsiteX2008" fmla="*/ 179752 w 784555"/>
                    <a:gd name="connsiteY2008" fmla="*/ 937605 h 1048506"/>
                    <a:gd name="connsiteX2009" fmla="*/ 179946 w 784555"/>
                    <a:gd name="connsiteY2009" fmla="*/ 938103 h 1048506"/>
                    <a:gd name="connsiteX2010" fmla="*/ 180626 w 784555"/>
                    <a:gd name="connsiteY2010" fmla="*/ 939900 h 1048506"/>
                    <a:gd name="connsiteX2011" fmla="*/ 180784 w 784555"/>
                    <a:gd name="connsiteY2011" fmla="*/ 940301 h 1048506"/>
                    <a:gd name="connsiteX2012" fmla="*/ 180990 w 784555"/>
                    <a:gd name="connsiteY2012" fmla="*/ 940677 h 1048506"/>
                    <a:gd name="connsiteX2013" fmla="*/ 181901 w 784555"/>
                    <a:gd name="connsiteY2013" fmla="*/ 942341 h 1048506"/>
                    <a:gd name="connsiteX2014" fmla="*/ 182205 w 784555"/>
                    <a:gd name="connsiteY2014" fmla="*/ 942887 h 1048506"/>
                    <a:gd name="connsiteX2015" fmla="*/ 182606 w 784555"/>
                    <a:gd name="connsiteY2015" fmla="*/ 943360 h 1048506"/>
                    <a:gd name="connsiteX2016" fmla="*/ 184063 w 784555"/>
                    <a:gd name="connsiteY2016" fmla="*/ 945061 h 1048506"/>
                    <a:gd name="connsiteX2017" fmla="*/ 184451 w 784555"/>
                    <a:gd name="connsiteY2017" fmla="*/ 945510 h 1048506"/>
                    <a:gd name="connsiteX2018" fmla="*/ 184925 w 784555"/>
                    <a:gd name="connsiteY2018" fmla="*/ 945886 h 1048506"/>
                    <a:gd name="connsiteX2019" fmla="*/ 193352 w 784555"/>
                    <a:gd name="connsiteY2019" fmla="*/ 952504 h 1048506"/>
                    <a:gd name="connsiteX2020" fmla="*/ 196084 w 784555"/>
                    <a:gd name="connsiteY2020" fmla="*/ 955516 h 1048506"/>
                    <a:gd name="connsiteX2021" fmla="*/ 196521 w 784555"/>
                    <a:gd name="connsiteY2021" fmla="*/ 956196 h 1048506"/>
                    <a:gd name="connsiteX2022" fmla="*/ 196582 w 784555"/>
                    <a:gd name="connsiteY2022" fmla="*/ 956378 h 1048506"/>
                    <a:gd name="connsiteX2023" fmla="*/ 196157 w 784555"/>
                    <a:gd name="connsiteY2023" fmla="*/ 957495 h 1048506"/>
                    <a:gd name="connsiteX2024" fmla="*/ 195004 w 784555"/>
                    <a:gd name="connsiteY2024" fmla="*/ 959244 h 1048506"/>
                    <a:gd name="connsiteX2025" fmla="*/ 193231 w 784555"/>
                    <a:gd name="connsiteY2025" fmla="*/ 961053 h 1048506"/>
                    <a:gd name="connsiteX2026" fmla="*/ 193049 w 784555"/>
                    <a:gd name="connsiteY2026" fmla="*/ 960932 h 1048506"/>
                    <a:gd name="connsiteX2027" fmla="*/ 191822 w 784555"/>
                    <a:gd name="connsiteY2027" fmla="*/ 960336 h 1048506"/>
                    <a:gd name="connsiteX2028" fmla="*/ 188252 w 784555"/>
                    <a:gd name="connsiteY2028" fmla="*/ 959073 h 1048506"/>
                    <a:gd name="connsiteX2029" fmla="*/ 185143 w 784555"/>
                    <a:gd name="connsiteY2029" fmla="*/ 961587 h 1048506"/>
                    <a:gd name="connsiteX2030" fmla="*/ 183856 w 784555"/>
                    <a:gd name="connsiteY2030" fmla="*/ 962850 h 1048506"/>
                    <a:gd name="connsiteX2031" fmla="*/ 183128 w 784555"/>
                    <a:gd name="connsiteY2031" fmla="*/ 964963 h 1048506"/>
                    <a:gd name="connsiteX2032" fmla="*/ 182958 w 784555"/>
                    <a:gd name="connsiteY2032" fmla="*/ 965752 h 1048506"/>
                    <a:gd name="connsiteX2033" fmla="*/ 182848 w 784555"/>
                    <a:gd name="connsiteY2033" fmla="*/ 966286 h 1048506"/>
                    <a:gd name="connsiteX2034" fmla="*/ 182836 w 784555"/>
                    <a:gd name="connsiteY2034" fmla="*/ 966833 h 1048506"/>
                    <a:gd name="connsiteX2035" fmla="*/ 182776 w 784555"/>
                    <a:gd name="connsiteY2035" fmla="*/ 968606 h 1048506"/>
                    <a:gd name="connsiteX2036" fmla="*/ 182763 w 784555"/>
                    <a:gd name="connsiteY2036" fmla="*/ 969104 h 1048506"/>
                    <a:gd name="connsiteX2037" fmla="*/ 182824 w 784555"/>
                    <a:gd name="connsiteY2037" fmla="*/ 969614 h 1048506"/>
                    <a:gd name="connsiteX2038" fmla="*/ 183055 w 784555"/>
                    <a:gd name="connsiteY2038" fmla="*/ 971350 h 1048506"/>
                    <a:gd name="connsiteX2039" fmla="*/ 183116 w 784555"/>
                    <a:gd name="connsiteY2039" fmla="*/ 971787 h 1048506"/>
                    <a:gd name="connsiteX2040" fmla="*/ 183237 w 784555"/>
                    <a:gd name="connsiteY2040" fmla="*/ 972212 h 1048506"/>
                    <a:gd name="connsiteX2041" fmla="*/ 184658 w 784555"/>
                    <a:gd name="connsiteY2041" fmla="*/ 977167 h 1048506"/>
                    <a:gd name="connsiteX2042" fmla="*/ 183662 w 784555"/>
                    <a:gd name="connsiteY2042" fmla="*/ 978830 h 1048506"/>
                    <a:gd name="connsiteX2043" fmla="*/ 179958 w 784555"/>
                    <a:gd name="connsiteY2043" fmla="*/ 983214 h 1048506"/>
                    <a:gd name="connsiteX2044" fmla="*/ 179570 w 784555"/>
                    <a:gd name="connsiteY2044" fmla="*/ 983675 h 1048506"/>
                    <a:gd name="connsiteX2045" fmla="*/ 179278 w 784555"/>
                    <a:gd name="connsiteY2045" fmla="*/ 984197 h 1048506"/>
                    <a:gd name="connsiteX2046" fmla="*/ 177153 w 784555"/>
                    <a:gd name="connsiteY2046" fmla="*/ 988047 h 1048506"/>
                    <a:gd name="connsiteX2047" fmla="*/ 176996 w 784555"/>
                    <a:gd name="connsiteY2047" fmla="*/ 988326 h 1048506"/>
                    <a:gd name="connsiteX2048" fmla="*/ 176874 w 784555"/>
                    <a:gd name="connsiteY2048" fmla="*/ 988629 h 1048506"/>
                    <a:gd name="connsiteX2049" fmla="*/ 176000 w 784555"/>
                    <a:gd name="connsiteY2049" fmla="*/ 990718 h 1048506"/>
                    <a:gd name="connsiteX2050" fmla="*/ 175599 w 784555"/>
                    <a:gd name="connsiteY2050" fmla="*/ 991677 h 1048506"/>
                    <a:gd name="connsiteX2051" fmla="*/ 175538 w 784555"/>
                    <a:gd name="connsiteY2051" fmla="*/ 992734 h 1048506"/>
                    <a:gd name="connsiteX2052" fmla="*/ 175490 w 784555"/>
                    <a:gd name="connsiteY2052" fmla="*/ 993742 h 1048506"/>
                    <a:gd name="connsiteX2053" fmla="*/ 175465 w 784555"/>
                    <a:gd name="connsiteY2053" fmla="*/ 994312 h 1048506"/>
                    <a:gd name="connsiteX2054" fmla="*/ 175550 w 784555"/>
                    <a:gd name="connsiteY2054" fmla="*/ 994895 h 1048506"/>
                    <a:gd name="connsiteX2055" fmla="*/ 175563 w 784555"/>
                    <a:gd name="connsiteY2055" fmla="*/ 994980 h 1048506"/>
                    <a:gd name="connsiteX2056" fmla="*/ 174980 w 784555"/>
                    <a:gd name="connsiteY2056" fmla="*/ 994919 h 1048506"/>
                    <a:gd name="connsiteX2057" fmla="*/ 174409 w 784555"/>
                    <a:gd name="connsiteY2057" fmla="*/ 994859 h 1048506"/>
                    <a:gd name="connsiteX2058" fmla="*/ 173838 w 784555"/>
                    <a:gd name="connsiteY2058" fmla="*/ 994908 h 1048506"/>
                    <a:gd name="connsiteX2059" fmla="*/ 172685 w 784555"/>
                    <a:gd name="connsiteY2059" fmla="*/ 995005 h 1048506"/>
                    <a:gd name="connsiteX2060" fmla="*/ 171847 w 784555"/>
                    <a:gd name="connsiteY2060" fmla="*/ 995065 h 1048506"/>
                    <a:gd name="connsiteX2061" fmla="*/ 171070 w 784555"/>
                    <a:gd name="connsiteY2061" fmla="*/ 995357 h 1048506"/>
                    <a:gd name="connsiteX2062" fmla="*/ 169734 w 784555"/>
                    <a:gd name="connsiteY2062" fmla="*/ 995854 h 1048506"/>
                    <a:gd name="connsiteX2063" fmla="*/ 168253 w 784555"/>
                    <a:gd name="connsiteY2063" fmla="*/ 997081 h 1048506"/>
                    <a:gd name="connsiteX2064" fmla="*/ 166759 w 784555"/>
                    <a:gd name="connsiteY2064" fmla="*/ 998672 h 1048506"/>
                    <a:gd name="connsiteX2065" fmla="*/ 162060 w 784555"/>
                    <a:gd name="connsiteY2065" fmla="*/ 1003662 h 1048506"/>
                    <a:gd name="connsiteX2066" fmla="*/ 167585 w 784555"/>
                    <a:gd name="connsiteY2066" fmla="*/ 1007730 h 1048506"/>
                    <a:gd name="connsiteX2067" fmla="*/ 170766 w 784555"/>
                    <a:gd name="connsiteY2067" fmla="*/ 1010062 h 1048506"/>
                    <a:gd name="connsiteX2068" fmla="*/ 188616 w 784555"/>
                    <a:gd name="connsiteY2068" fmla="*/ 1026345 h 1048506"/>
                    <a:gd name="connsiteX2069" fmla="*/ 188932 w 784555"/>
                    <a:gd name="connsiteY2069" fmla="*/ 1026637 h 1048506"/>
                    <a:gd name="connsiteX2070" fmla="*/ 189296 w 784555"/>
                    <a:gd name="connsiteY2070" fmla="*/ 1026892 h 1048506"/>
                    <a:gd name="connsiteX2071" fmla="*/ 191883 w 784555"/>
                    <a:gd name="connsiteY2071" fmla="*/ 1028653 h 1048506"/>
                    <a:gd name="connsiteX2072" fmla="*/ 192696 w 784555"/>
                    <a:gd name="connsiteY2072" fmla="*/ 1029199 h 1048506"/>
                    <a:gd name="connsiteX2073" fmla="*/ 193644 w 784555"/>
                    <a:gd name="connsiteY2073" fmla="*/ 1029466 h 1048506"/>
                    <a:gd name="connsiteX2074" fmla="*/ 197274 w 784555"/>
                    <a:gd name="connsiteY2074" fmla="*/ 1030486 h 1048506"/>
                    <a:gd name="connsiteX2075" fmla="*/ 200686 w 784555"/>
                    <a:gd name="connsiteY2075" fmla="*/ 1032623 h 1048506"/>
                    <a:gd name="connsiteX2076" fmla="*/ 201451 w 784555"/>
                    <a:gd name="connsiteY2076" fmla="*/ 1033267 h 1048506"/>
                    <a:gd name="connsiteX2077" fmla="*/ 203674 w 784555"/>
                    <a:gd name="connsiteY2077" fmla="*/ 1035890 h 1048506"/>
                    <a:gd name="connsiteX2078" fmla="*/ 204609 w 784555"/>
                    <a:gd name="connsiteY2078" fmla="*/ 1037007 h 1048506"/>
                    <a:gd name="connsiteX2079" fmla="*/ 205944 w 784555"/>
                    <a:gd name="connsiteY2079" fmla="*/ 1037578 h 1048506"/>
                    <a:gd name="connsiteX2080" fmla="*/ 207268 w 784555"/>
                    <a:gd name="connsiteY2080" fmla="*/ 1038136 h 1048506"/>
                    <a:gd name="connsiteX2081" fmla="*/ 207559 w 784555"/>
                    <a:gd name="connsiteY2081" fmla="*/ 1038258 h 1048506"/>
                    <a:gd name="connsiteX2082" fmla="*/ 207863 w 784555"/>
                    <a:gd name="connsiteY2082" fmla="*/ 1038355 h 1048506"/>
                    <a:gd name="connsiteX2083" fmla="*/ 233011 w 784555"/>
                    <a:gd name="connsiteY2083" fmla="*/ 1045981 h 1048506"/>
                    <a:gd name="connsiteX2084" fmla="*/ 233314 w 784555"/>
                    <a:gd name="connsiteY2084" fmla="*/ 1046078 h 1048506"/>
                    <a:gd name="connsiteX2085" fmla="*/ 233630 w 784555"/>
                    <a:gd name="connsiteY2085" fmla="*/ 1046138 h 1048506"/>
                    <a:gd name="connsiteX2086" fmla="*/ 245117 w 784555"/>
                    <a:gd name="connsiteY2086" fmla="*/ 1048324 h 1048506"/>
                    <a:gd name="connsiteX2087" fmla="*/ 246040 w 784555"/>
                    <a:gd name="connsiteY2087" fmla="*/ 1048506 h 1048506"/>
                    <a:gd name="connsiteX2088" fmla="*/ 246975 w 784555"/>
                    <a:gd name="connsiteY2088" fmla="*/ 1048385 h 1048506"/>
                    <a:gd name="connsiteX2089" fmla="*/ 257188 w 784555"/>
                    <a:gd name="connsiteY2089" fmla="*/ 1047146 h 1048506"/>
                    <a:gd name="connsiteX2090" fmla="*/ 263271 w 784555"/>
                    <a:gd name="connsiteY2090" fmla="*/ 1046406 h 1048506"/>
                    <a:gd name="connsiteX2091" fmla="*/ 262482 w 784555"/>
                    <a:gd name="connsiteY2091" fmla="*/ 1040334 h 1048506"/>
                    <a:gd name="connsiteX2092" fmla="*/ 262166 w 784555"/>
                    <a:gd name="connsiteY2092" fmla="*/ 1037857 h 1048506"/>
                    <a:gd name="connsiteX2093" fmla="*/ 264874 w 784555"/>
                    <a:gd name="connsiteY2093" fmla="*/ 1035890 h 1048506"/>
                    <a:gd name="connsiteX2094" fmla="*/ 272670 w 784555"/>
                    <a:gd name="connsiteY2094" fmla="*/ 1033218 h 1048506"/>
                    <a:gd name="connsiteX2095" fmla="*/ 292572 w 784555"/>
                    <a:gd name="connsiteY2095" fmla="*/ 1029879 h 1048506"/>
                    <a:gd name="connsiteX2096" fmla="*/ 293446 w 784555"/>
                    <a:gd name="connsiteY2096" fmla="*/ 1029721 h 1048506"/>
                    <a:gd name="connsiteX2097" fmla="*/ 294236 w 784555"/>
                    <a:gd name="connsiteY2097" fmla="*/ 1029333 h 1048506"/>
                    <a:gd name="connsiteX2098" fmla="*/ 297223 w 784555"/>
                    <a:gd name="connsiteY2098" fmla="*/ 1027863 h 1048506"/>
                    <a:gd name="connsiteX2099" fmla="*/ 298546 w 784555"/>
                    <a:gd name="connsiteY2099" fmla="*/ 1027220 h 1048506"/>
                    <a:gd name="connsiteX2100" fmla="*/ 299421 w 784555"/>
                    <a:gd name="connsiteY2100" fmla="*/ 1026030 h 1048506"/>
                    <a:gd name="connsiteX2101" fmla="*/ 303938 w 784555"/>
                    <a:gd name="connsiteY2101" fmla="*/ 1019946 h 1048506"/>
                    <a:gd name="connsiteX2102" fmla="*/ 305480 w 784555"/>
                    <a:gd name="connsiteY2102" fmla="*/ 1018270 h 1048506"/>
                    <a:gd name="connsiteX2103" fmla="*/ 340682 w 784555"/>
                    <a:gd name="connsiteY2103" fmla="*/ 996984 h 1048506"/>
                    <a:gd name="connsiteX2104" fmla="*/ 346912 w 784555"/>
                    <a:gd name="connsiteY2104" fmla="*/ 994422 h 1048506"/>
                    <a:gd name="connsiteX2105" fmla="*/ 349449 w 784555"/>
                    <a:gd name="connsiteY2105" fmla="*/ 993997 h 1048506"/>
                    <a:gd name="connsiteX2106" fmla="*/ 351975 w 784555"/>
                    <a:gd name="connsiteY2106" fmla="*/ 993584 h 1048506"/>
                    <a:gd name="connsiteX2107" fmla="*/ 353445 w 784555"/>
                    <a:gd name="connsiteY2107" fmla="*/ 991483 h 1048506"/>
                    <a:gd name="connsiteX2108" fmla="*/ 354695 w 784555"/>
                    <a:gd name="connsiteY2108" fmla="*/ 989698 h 1048506"/>
                    <a:gd name="connsiteX2109" fmla="*/ 355266 w 784555"/>
                    <a:gd name="connsiteY2109" fmla="*/ 988885 h 1048506"/>
                    <a:gd name="connsiteX2110" fmla="*/ 355545 w 784555"/>
                    <a:gd name="connsiteY2110" fmla="*/ 987925 h 1048506"/>
                    <a:gd name="connsiteX2111" fmla="*/ 358399 w 784555"/>
                    <a:gd name="connsiteY2111" fmla="*/ 978077 h 1048506"/>
                    <a:gd name="connsiteX2112" fmla="*/ 358703 w 784555"/>
                    <a:gd name="connsiteY2112" fmla="*/ 977725 h 1048506"/>
                    <a:gd name="connsiteX2113" fmla="*/ 363620 w 784555"/>
                    <a:gd name="connsiteY2113" fmla="*/ 973111 h 1048506"/>
                    <a:gd name="connsiteX2114" fmla="*/ 364009 w 784555"/>
                    <a:gd name="connsiteY2114" fmla="*/ 972746 h 1048506"/>
                    <a:gd name="connsiteX2115" fmla="*/ 364325 w 784555"/>
                    <a:gd name="connsiteY2115" fmla="*/ 972334 h 1048506"/>
                    <a:gd name="connsiteX2116" fmla="*/ 365940 w 784555"/>
                    <a:gd name="connsiteY2116" fmla="*/ 970184 h 1048506"/>
                    <a:gd name="connsiteX2117" fmla="*/ 366328 w 784555"/>
                    <a:gd name="connsiteY2117" fmla="*/ 969662 h 1048506"/>
                    <a:gd name="connsiteX2118" fmla="*/ 366595 w 784555"/>
                    <a:gd name="connsiteY2118" fmla="*/ 969067 h 1048506"/>
                    <a:gd name="connsiteX2119" fmla="*/ 367506 w 784555"/>
                    <a:gd name="connsiteY2119" fmla="*/ 967088 h 1048506"/>
                    <a:gd name="connsiteX2120" fmla="*/ 367895 w 784555"/>
                    <a:gd name="connsiteY2120" fmla="*/ 966262 h 1048506"/>
                    <a:gd name="connsiteX2121" fmla="*/ 368016 w 784555"/>
                    <a:gd name="connsiteY2121" fmla="*/ 965364 h 1048506"/>
                    <a:gd name="connsiteX2122" fmla="*/ 370663 w 784555"/>
                    <a:gd name="connsiteY2122" fmla="*/ 945522 h 1048506"/>
                    <a:gd name="connsiteX2123" fmla="*/ 370797 w 784555"/>
                    <a:gd name="connsiteY2123" fmla="*/ 944502 h 1048506"/>
                    <a:gd name="connsiteX2124" fmla="*/ 370590 w 784555"/>
                    <a:gd name="connsiteY2124" fmla="*/ 943494 h 1048506"/>
                    <a:gd name="connsiteX2125" fmla="*/ 369570 w 784555"/>
                    <a:gd name="connsiteY2125" fmla="*/ 938528 h 1048506"/>
                    <a:gd name="connsiteX2126" fmla="*/ 374367 w 784555"/>
                    <a:gd name="connsiteY2126" fmla="*/ 938528 h 1048506"/>
                    <a:gd name="connsiteX2127" fmla="*/ 370384 w 784555"/>
                    <a:gd name="connsiteY2127" fmla="*/ 930270 h 1048506"/>
                    <a:gd name="connsiteX2128" fmla="*/ 371805 w 784555"/>
                    <a:gd name="connsiteY2128" fmla="*/ 928486 h 1048506"/>
                    <a:gd name="connsiteX2129" fmla="*/ 372436 w 784555"/>
                    <a:gd name="connsiteY2129" fmla="*/ 927696 h 1048506"/>
                    <a:gd name="connsiteX2130" fmla="*/ 372776 w 784555"/>
                    <a:gd name="connsiteY2130" fmla="*/ 926725 h 1048506"/>
                    <a:gd name="connsiteX2131" fmla="*/ 374294 w 784555"/>
                    <a:gd name="connsiteY2131" fmla="*/ 922402 h 1048506"/>
                    <a:gd name="connsiteX2132" fmla="*/ 375909 w 784555"/>
                    <a:gd name="connsiteY2132" fmla="*/ 921333 h 1048506"/>
                    <a:gd name="connsiteX2133" fmla="*/ 378908 w 784555"/>
                    <a:gd name="connsiteY2133" fmla="*/ 919937 h 1048506"/>
                    <a:gd name="connsiteX2134" fmla="*/ 380111 w 784555"/>
                    <a:gd name="connsiteY2134" fmla="*/ 919378 h 1048506"/>
                    <a:gd name="connsiteX2135" fmla="*/ 380960 w 784555"/>
                    <a:gd name="connsiteY2135" fmla="*/ 918370 h 1048506"/>
                    <a:gd name="connsiteX2136" fmla="*/ 382903 w 784555"/>
                    <a:gd name="connsiteY2136" fmla="*/ 916087 h 1048506"/>
                    <a:gd name="connsiteX2137" fmla="*/ 384834 w 784555"/>
                    <a:gd name="connsiteY2137" fmla="*/ 913805 h 1048506"/>
                    <a:gd name="connsiteX2138" fmla="*/ 384215 w 784555"/>
                    <a:gd name="connsiteY2138" fmla="*/ 910878 h 1048506"/>
                    <a:gd name="connsiteX2139" fmla="*/ 383292 w 784555"/>
                    <a:gd name="connsiteY2139" fmla="*/ 906567 h 1048506"/>
                    <a:gd name="connsiteX2140" fmla="*/ 379771 w 784555"/>
                    <a:gd name="connsiteY2140" fmla="*/ 890041 h 1048506"/>
                    <a:gd name="connsiteX2141" fmla="*/ 377682 w 784555"/>
                    <a:gd name="connsiteY2141" fmla="*/ 894036 h 1048506"/>
                    <a:gd name="connsiteX2142" fmla="*/ 377864 w 784555"/>
                    <a:gd name="connsiteY2142" fmla="*/ 893429 h 1048506"/>
                    <a:gd name="connsiteX2143" fmla="*/ 383765 w 784555"/>
                    <a:gd name="connsiteY2143" fmla="*/ 882816 h 1048506"/>
                    <a:gd name="connsiteX2144" fmla="*/ 387214 w 784555"/>
                    <a:gd name="connsiteY2144" fmla="*/ 878663 h 1048506"/>
                    <a:gd name="connsiteX2145" fmla="*/ 412277 w 784555"/>
                    <a:gd name="connsiteY2145" fmla="*/ 858093 h 1048506"/>
                    <a:gd name="connsiteX2146" fmla="*/ 418154 w 784555"/>
                    <a:gd name="connsiteY2146" fmla="*/ 854304 h 1048506"/>
                    <a:gd name="connsiteX2147" fmla="*/ 424262 w 784555"/>
                    <a:gd name="connsiteY2147" fmla="*/ 851536 h 1048506"/>
                    <a:gd name="connsiteX2148" fmla="*/ 430067 w 784555"/>
                    <a:gd name="connsiteY2148" fmla="*/ 850200 h 1048506"/>
                    <a:gd name="connsiteX2149" fmla="*/ 454729 w 784555"/>
                    <a:gd name="connsiteY2149" fmla="*/ 847286 h 1048506"/>
                    <a:gd name="connsiteX2150" fmla="*/ 455154 w 784555"/>
                    <a:gd name="connsiteY2150" fmla="*/ 847237 h 1048506"/>
                    <a:gd name="connsiteX2151" fmla="*/ 455567 w 784555"/>
                    <a:gd name="connsiteY2151" fmla="*/ 847128 h 1048506"/>
                    <a:gd name="connsiteX2152" fmla="*/ 458542 w 784555"/>
                    <a:gd name="connsiteY2152" fmla="*/ 846351 h 1048506"/>
                    <a:gd name="connsiteX2153" fmla="*/ 459112 w 784555"/>
                    <a:gd name="connsiteY2153" fmla="*/ 846205 h 1048506"/>
                    <a:gd name="connsiteX2154" fmla="*/ 459635 w 784555"/>
                    <a:gd name="connsiteY2154" fmla="*/ 845950 h 1048506"/>
                    <a:gd name="connsiteX2155" fmla="*/ 462282 w 784555"/>
                    <a:gd name="connsiteY2155" fmla="*/ 844675 h 1048506"/>
                    <a:gd name="connsiteX2156" fmla="*/ 463921 w 784555"/>
                    <a:gd name="connsiteY2156" fmla="*/ 843886 h 1048506"/>
                    <a:gd name="connsiteX2157" fmla="*/ 464856 w 784555"/>
                    <a:gd name="connsiteY2157" fmla="*/ 842319 h 1048506"/>
                    <a:gd name="connsiteX2158" fmla="*/ 466010 w 784555"/>
                    <a:gd name="connsiteY2158" fmla="*/ 840389 h 1048506"/>
                    <a:gd name="connsiteX2159" fmla="*/ 466240 w 784555"/>
                    <a:gd name="connsiteY2159" fmla="*/ 840000 h 1048506"/>
                    <a:gd name="connsiteX2160" fmla="*/ 466410 w 784555"/>
                    <a:gd name="connsiteY2160" fmla="*/ 839575 h 1048506"/>
                    <a:gd name="connsiteX2161" fmla="*/ 466653 w 784555"/>
                    <a:gd name="connsiteY2161" fmla="*/ 838980 h 1048506"/>
                    <a:gd name="connsiteX2162" fmla="*/ 474838 w 784555"/>
                    <a:gd name="connsiteY2162" fmla="*/ 838470 h 1048506"/>
                    <a:gd name="connsiteX2163" fmla="*/ 475882 w 784555"/>
                    <a:gd name="connsiteY2163" fmla="*/ 838409 h 1048506"/>
                    <a:gd name="connsiteX2164" fmla="*/ 476853 w 784555"/>
                    <a:gd name="connsiteY2164" fmla="*/ 837996 h 1048506"/>
                    <a:gd name="connsiteX2165" fmla="*/ 479258 w 784555"/>
                    <a:gd name="connsiteY2165" fmla="*/ 836964 h 1048506"/>
                    <a:gd name="connsiteX2166" fmla="*/ 479816 w 784555"/>
                    <a:gd name="connsiteY2166" fmla="*/ 836709 h 1048506"/>
                    <a:gd name="connsiteX2167" fmla="*/ 480326 w 784555"/>
                    <a:gd name="connsiteY2167" fmla="*/ 836369 h 1048506"/>
                    <a:gd name="connsiteX2168" fmla="*/ 482451 w 784555"/>
                    <a:gd name="connsiteY2168" fmla="*/ 834900 h 1048506"/>
                    <a:gd name="connsiteX2169" fmla="*/ 482876 w 784555"/>
                    <a:gd name="connsiteY2169" fmla="*/ 834608 h 1048506"/>
                    <a:gd name="connsiteX2170" fmla="*/ 483240 w 784555"/>
                    <a:gd name="connsiteY2170" fmla="*/ 834256 h 1048506"/>
                    <a:gd name="connsiteX2171" fmla="*/ 484540 w 784555"/>
                    <a:gd name="connsiteY2171" fmla="*/ 832993 h 1048506"/>
                    <a:gd name="connsiteX2172" fmla="*/ 486070 w 784555"/>
                    <a:gd name="connsiteY2172" fmla="*/ 832034 h 1048506"/>
                    <a:gd name="connsiteX2173" fmla="*/ 492226 w 784555"/>
                    <a:gd name="connsiteY2173" fmla="*/ 830565 h 1048506"/>
                    <a:gd name="connsiteX2174" fmla="*/ 493003 w 784555"/>
                    <a:gd name="connsiteY2174" fmla="*/ 830370 h 1048506"/>
                    <a:gd name="connsiteX2175" fmla="*/ 493708 w 784555"/>
                    <a:gd name="connsiteY2175" fmla="*/ 829994 h 1048506"/>
                    <a:gd name="connsiteX2176" fmla="*/ 498540 w 784555"/>
                    <a:gd name="connsiteY2176" fmla="*/ 827371 h 1048506"/>
                    <a:gd name="connsiteX2177" fmla="*/ 500702 w 784555"/>
                    <a:gd name="connsiteY2177" fmla="*/ 826740 h 1048506"/>
                    <a:gd name="connsiteX2178" fmla="*/ 506300 w 784555"/>
                    <a:gd name="connsiteY2178" fmla="*/ 825963 h 1048506"/>
                    <a:gd name="connsiteX2179" fmla="*/ 506871 w 784555"/>
                    <a:gd name="connsiteY2179" fmla="*/ 825963 h 1048506"/>
                    <a:gd name="connsiteX2180" fmla="*/ 507514 w 784555"/>
                    <a:gd name="connsiteY2180" fmla="*/ 826109 h 1048506"/>
                    <a:gd name="connsiteX2181" fmla="*/ 507963 w 784555"/>
                    <a:gd name="connsiteY2181" fmla="*/ 826217 h 1048506"/>
                    <a:gd name="connsiteX2182" fmla="*/ 508437 w 784555"/>
                    <a:gd name="connsiteY2182" fmla="*/ 826254 h 1048506"/>
                    <a:gd name="connsiteX2183" fmla="*/ 509809 w 784555"/>
                    <a:gd name="connsiteY2183" fmla="*/ 826351 h 1048506"/>
                    <a:gd name="connsiteX2184" fmla="*/ 510635 w 784555"/>
                    <a:gd name="connsiteY2184" fmla="*/ 826412 h 1048506"/>
                    <a:gd name="connsiteX2185" fmla="*/ 511448 w 784555"/>
                    <a:gd name="connsiteY2185" fmla="*/ 826230 h 1048506"/>
                    <a:gd name="connsiteX2186" fmla="*/ 513403 w 784555"/>
                    <a:gd name="connsiteY2186" fmla="*/ 825829 h 1048506"/>
                    <a:gd name="connsiteX2187" fmla="*/ 514921 w 784555"/>
                    <a:gd name="connsiteY2187" fmla="*/ 825526 h 1048506"/>
                    <a:gd name="connsiteX2188" fmla="*/ 516099 w 784555"/>
                    <a:gd name="connsiteY2188" fmla="*/ 824530 h 1048506"/>
                    <a:gd name="connsiteX2189" fmla="*/ 519317 w 784555"/>
                    <a:gd name="connsiteY2189" fmla="*/ 821785 h 1048506"/>
                    <a:gd name="connsiteX2190" fmla="*/ 523373 w 784555"/>
                    <a:gd name="connsiteY2190" fmla="*/ 821349 h 1048506"/>
                    <a:gd name="connsiteX2191" fmla="*/ 529141 w 784555"/>
                    <a:gd name="connsiteY2191" fmla="*/ 822077 h 1048506"/>
                    <a:gd name="connsiteX2192" fmla="*/ 534909 w 784555"/>
                    <a:gd name="connsiteY2192" fmla="*/ 823619 h 1048506"/>
                    <a:gd name="connsiteX2193" fmla="*/ 539547 w 784555"/>
                    <a:gd name="connsiteY2193" fmla="*/ 825513 h 1048506"/>
                    <a:gd name="connsiteX2194" fmla="*/ 541575 w 784555"/>
                    <a:gd name="connsiteY2194" fmla="*/ 826339 h 1048506"/>
                    <a:gd name="connsiteX2195" fmla="*/ 543664 w 784555"/>
                    <a:gd name="connsiteY2195" fmla="*/ 825683 h 1048506"/>
                    <a:gd name="connsiteX2196" fmla="*/ 544805 w 784555"/>
                    <a:gd name="connsiteY2196" fmla="*/ 825319 h 1048506"/>
                    <a:gd name="connsiteX2197" fmla="*/ 549541 w 784555"/>
                    <a:gd name="connsiteY2197" fmla="*/ 825477 h 1048506"/>
                    <a:gd name="connsiteX2198" fmla="*/ 551071 w 784555"/>
                    <a:gd name="connsiteY2198" fmla="*/ 825526 h 1048506"/>
                    <a:gd name="connsiteX2199" fmla="*/ 552443 w 784555"/>
                    <a:gd name="connsiteY2199" fmla="*/ 824833 h 1048506"/>
                    <a:gd name="connsiteX2200" fmla="*/ 557543 w 784555"/>
                    <a:gd name="connsiteY2200" fmla="*/ 822271 h 1048506"/>
                    <a:gd name="connsiteX2201" fmla="*/ 558672 w 784555"/>
                    <a:gd name="connsiteY2201" fmla="*/ 822429 h 1048506"/>
                    <a:gd name="connsiteX2202" fmla="*/ 561319 w 784555"/>
                    <a:gd name="connsiteY2202" fmla="*/ 823255 h 1048506"/>
                    <a:gd name="connsiteX2203" fmla="*/ 562376 w 784555"/>
                    <a:gd name="connsiteY2203" fmla="*/ 823583 h 1048506"/>
                    <a:gd name="connsiteX2204" fmla="*/ 563481 w 784555"/>
                    <a:gd name="connsiteY2204" fmla="*/ 823522 h 1048506"/>
                    <a:gd name="connsiteX2205" fmla="*/ 564574 w 784555"/>
                    <a:gd name="connsiteY2205" fmla="*/ 823461 h 1048506"/>
                    <a:gd name="connsiteX2206" fmla="*/ 565885 w 784555"/>
                    <a:gd name="connsiteY2206" fmla="*/ 824263 h 1048506"/>
                    <a:gd name="connsiteX2207" fmla="*/ 567002 w 784555"/>
                    <a:gd name="connsiteY2207" fmla="*/ 824955 h 1048506"/>
                    <a:gd name="connsiteX2208" fmla="*/ 568290 w 784555"/>
                    <a:gd name="connsiteY2208" fmla="*/ 825125 h 1048506"/>
                    <a:gd name="connsiteX2209" fmla="*/ 578453 w 784555"/>
                    <a:gd name="connsiteY2209" fmla="*/ 826424 h 1048506"/>
                    <a:gd name="connsiteX2210" fmla="*/ 589685 w 784555"/>
                    <a:gd name="connsiteY2210" fmla="*/ 832532 h 1048506"/>
                    <a:gd name="connsiteX2211" fmla="*/ 601015 w 784555"/>
                    <a:gd name="connsiteY2211" fmla="*/ 842380 h 1048506"/>
                    <a:gd name="connsiteX2212" fmla="*/ 601634 w 784555"/>
                    <a:gd name="connsiteY2212" fmla="*/ 842914 h 1048506"/>
                    <a:gd name="connsiteX2213" fmla="*/ 602375 w 784555"/>
                    <a:gd name="connsiteY2213" fmla="*/ 843266 h 1048506"/>
                    <a:gd name="connsiteX2214" fmla="*/ 605411 w 784555"/>
                    <a:gd name="connsiteY2214" fmla="*/ 844711 h 1048506"/>
                    <a:gd name="connsiteX2215" fmla="*/ 608276 w 784555"/>
                    <a:gd name="connsiteY2215" fmla="*/ 846071 h 1048506"/>
                    <a:gd name="connsiteX2216" fmla="*/ 611033 w 784555"/>
                    <a:gd name="connsiteY2216" fmla="*/ 844505 h 1048506"/>
                    <a:gd name="connsiteX2217" fmla="*/ 613571 w 784555"/>
                    <a:gd name="connsiteY2217" fmla="*/ 843060 h 1048506"/>
                    <a:gd name="connsiteX2218" fmla="*/ 620116 w 784555"/>
                    <a:gd name="connsiteY2218" fmla="*/ 839320 h 1048506"/>
                    <a:gd name="connsiteX2219" fmla="*/ 615088 w 784555"/>
                    <a:gd name="connsiteY2219" fmla="*/ 833722 h 1048506"/>
                    <a:gd name="connsiteX2220" fmla="*/ 612162 w 784555"/>
                    <a:gd name="connsiteY2220" fmla="*/ 830456 h 1048506"/>
                    <a:gd name="connsiteX2221" fmla="*/ 611749 w 784555"/>
                    <a:gd name="connsiteY2221" fmla="*/ 829994 h 1048506"/>
                    <a:gd name="connsiteX2222" fmla="*/ 611251 w 784555"/>
                    <a:gd name="connsiteY2222" fmla="*/ 829630 h 1048506"/>
                    <a:gd name="connsiteX2223" fmla="*/ 598368 w 784555"/>
                    <a:gd name="connsiteY2223" fmla="*/ 820122 h 1048506"/>
                    <a:gd name="connsiteX2224" fmla="*/ 596437 w 784555"/>
                    <a:gd name="connsiteY2224" fmla="*/ 818337 h 1048506"/>
                    <a:gd name="connsiteX2225" fmla="*/ 596012 w 784555"/>
                    <a:gd name="connsiteY2225" fmla="*/ 817705 h 1048506"/>
                    <a:gd name="connsiteX2226" fmla="*/ 595842 w 784555"/>
                    <a:gd name="connsiteY2226" fmla="*/ 817268 h 1048506"/>
                    <a:gd name="connsiteX2227" fmla="*/ 595441 w 784555"/>
                    <a:gd name="connsiteY2227" fmla="*/ 816224 h 1048506"/>
                    <a:gd name="connsiteX2228" fmla="*/ 594688 w 784555"/>
                    <a:gd name="connsiteY2228" fmla="*/ 815398 h 1048506"/>
                    <a:gd name="connsiteX2229" fmla="*/ 594470 w 784555"/>
                    <a:gd name="connsiteY2229" fmla="*/ 815155 h 1048506"/>
                    <a:gd name="connsiteX2230" fmla="*/ 594761 w 784555"/>
                    <a:gd name="connsiteY2230" fmla="*/ 814718 h 1048506"/>
                    <a:gd name="connsiteX2231" fmla="*/ 595138 w 784555"/>
                    <a:gd name="connsiteY2231" fmla="*/ 814172 h 1048506"/>
                    <a:gd name="connsiteX2232" fmla="*/ 595380 w 784555"/>
                    <a:gd name="connsiteY2232" fmla="*/ 813552 h 1048506"/>
                    <a:gd name="connsiteX2233" fmla="*/ 595951 w 784555"/>
                    <a:gd name="connsiteY2233" fmla="*/ 812120 h 1048506"/>
                    <a:gd name="connsiteX2234" fmla="*/ 596959 w 784555"/>
                    <a:gd name="connsiteY2234" fmla="*/ 809594 h 1048506"/>
                    <a:gd name="connsiteX2235" fmla="*/ 595745 w 784555"/>
                    <a:gd name="connsiteY2235" fmla="*/ 807166 h 1048506"/>
                    <a:gd name="connsiteX2236" fmla="*/ 594870 w 784555"/>
                    <a:gd name="connsiteY2236" fmla="*/ 805417 h 1048506"/>
                    <a:gd name="connsiteX2237" fmla="*/ 593778 w 784555"/>
                    <a:gd name="connsiteY2237" fmla="*/ 803231 h 1048506"/>
                    <a:gd name="connsiteX2238" fmla="*/ 591483 w 784555"/>
                    <a:gd name="connsiteY2238" fmla="*/ 802417 h 1048506"/>
                    <a:gd name="connsiteX2239" fmla="*/ 587536 w 784555"/>
                    <a:gd name="connsiteY2239" fmla="*/ 801009 h 1048506"/>
                    <a:gd name="connsiteX2240" fmla="*/ 585193 w 784555"/>
                    <a:gd name="connsiteY2240" fmla="*/ 800171 h 1048506"/>
                    <a:gd name="connsiteX2241" fmla="*/ 582934 w 784555"/>
                    <a:gd name="connsiteY2241" fmla="*/ 801228 h 1048506"/>
                    <a:gd name="connsiteX2242" fmla="*/ 578623 w 784555"/>
                    <a:gd name="connsiteY2242" fmla="*/ 803231 h 1048506"/>
                    <a:gd name="connsiteX2243" fmla="*/ 578150 w 784555"/>
                    <a:gd name="connsiteY2243" fmla="*/ 803449 h 1048506"/>
                    <a:gd name="connsiteX2244" fmla="*/ 577725 w 784555"/>
                    <a:gd name="connsiteY2244" fmla="*/ 803741 h 1048506"/>
                    <a:gd name="connsiteX2245" fmla="*/ 573972 w 784555"/>
                    <a:gd name="connsiteY2245" fmla="*/ 806340 h 1048506"/>
                    <a:gd name="connsiteX2246" fmla="*/ 571641 w 784555"/>
                    <a:gd name="connsiteY2246" fmla="*/ 807202 h 1048506"/>
                    <a:gd name="connsiteX2247" fmla="*/ 547841 w 784555"/>
                    <a:gd name="connsiteY2247" fmla="*/ 806728 h 1048506"/>
                    <a:gd name="connsiteX2248" fmla="*/ 541344 w 784555"/>
                    <a:gd name="connsiteY2248" fmla="*/ 805344 h 1048506"/>
                    <a:gd name="connsiteX2249" fmla="*/ 536244 w 784555"/>
                    <a:gd name="connsiteY2249" fmla="*/ 803158 h 1048506"/>
                    <a:gd name="connsiteX2250" fmla="*/ 522414 w 784555"/>
                    <a:gd name="connsiteY2250" fmla="*/ 790760 h 1048506"/>
                    <a:gd name="connsiteX2251" fmla="*/ 518236 w 784555"/>
                    <a:gd name="connsiteY2251" fmla="*/ 785697 h 1048506"/>
                    <a:gd name="connsiteX2252" fmla="*/ 515650 w 784555"/>
                    <a:gd name="connsiteY2252" fmla="*/ 780415 h 1048506"/>
                    <a:gd name="connsiteX2253" fmla="*/ 515480 w 784555"/>
                    <a:gd name="connsiteY2253" fmla="*/ 778690 h 1048506"/>
                    <a:gd name="connsiteX2254" fmla="*/ 517411 w 784555"/>
                    <a:gd name="connsiteY2254" fmla="*/ 772424 h 1048506"/>
                    <a:gd name="connsiteX2255" fmla="*/ 517568 w 784555"/>
                    <a:gd name="connsiteY2255" fmla="*/ 771914 h 1048506"/>
                    <a:gd name="connsiteX2256" fmla="*/ 517629 w 784555"/>
                    <a:gd name="connsiteY2256" fmla="*/ 771392 h 1048506"/>
                    <a:gd name="connsiteX2257" fmla="*/ 518710 w 784555"/>
                    <a:gd name="connsiteY2257" fmla="*/ 762795 h 1048506"/>
                    <a:gd name="connsiteX2258" fmla="*/ 519694 w 784555"/>
                    <a:gd name="connsiteY2258" fmla="*/ 759553 h 1048506"/>
                    <a:gd name="connsiteX2259" fmla="*/ 521054 w 784555"/>
                    <a:gd name="connsiteY2259" fmla="*/ 756687 h 1048506"/>
                    <a:gd name="connsiteX2260" fmla="*/ 522256 w 784555"/>
                    <a:gd name="connsiteY2260" fmla="*/ 754805 h 1048506"/>
                    <a:gd name="connsiteX2261" fmla="*/ 522766 w 784555"/>
                    <a:gd name="connsiteY2261" fmla="*/ 754307 h 1048506"/>
                    <a:gd name="connsiteX2262" fmla="*/ 524344 w 784555"/>
                    <a:gd name="connsiteY2262" fmla="*/ 753056 h 1048506"/>
                    <a:gd name="connsiteX2263" fmla="*/ 525036 w 784555"/>
                    <a:gd name="connsiteY2263" fmla="*/ 752486 h 1048506"/>
                    <a:gd name="connsiteX2264" fmla="*/ 525534 w 784555"/>
                    <a:gd name="connsiteY2264" fmla="*/ 751745 h 1048506"/>
                    <a:gd name="connsiteX2265" fmla="*/ 526396 w 784555"/>
                    <a:gd name="connsiteY2265" fmla="*/ 750482 h 1048506"/>
                    <a:gd name="connsiteX2266" fmla="*/ 526991 w 784555"/>
                    <a:gd name="connsiteY2266" fmla="*/ 749596 h 1048506"/>
                    <a:gd name="connsiteX2267" fmla="*/ 527246 w 784555"/>
                    <a:gd name="connsiteY2267" fmla="*/ 748551 h 1048506"/>
                    <a:gd name="connsiteX2268" fmla="*/ 527769 w 784555"/>
                    <a:gd name="connsiteY2268" fmla="*/ 746463 h 1048506"/>
                    <a:gd name="connsiteX2269" fmla="*/ 527975 w 784555"/>
                    <a:gd name="connsiteY2269" fmla="*/ 745649 h 1048506"/>
                    <a:gd name="connsiteX2270" fmla="*/ 527951 w 784555"/>
                    <a:gd name="connsiteY2270" fmla="*/ 744799 h 1048506"/>
                    <a:gd name="connsiteX2271" fmla="*/ 527914 w 784555"/>
                    <a:gd name="connsiteY2271" fmla="*/ 743719 h 1048506"/>
                    <a:gd name="connsiteX2272" fmla="*/ 537459 w 784555"/>
                    <a:gd name="connsiteY2272" fmla="*/ 730471 h 1048506"/>
                    <a:gd name="connsiteX2273" fmla="*/ 544283 w 784555"/>
                    <a:gd name="connsiteY2273" fmla="*/ 724278 h 1048506"/>
                    <a:gd name="connsiteX2274" fmla="*/ 544647 w 784555"/>
                    <a:gd name="connsiteY2274" fmla="*/ 723962 h 1048506"/>
                    <a:gd name="connsiteX2275" fmla="*/ 544951 w 784555"/>
                    <a:gd name="connsiteY2275" fmla="*/ 723574 h 1048506"/>
                    <a:gd name="connsiteX2276" fmla="*/ 547999 w 784555"/>
                    <a:gd name="connsiteY2276" fmla="*/ 719760 h 1048506"/>
                    <a:gd name="connsiteX2277" fmla="*/ 548764 w 784555"/>
                    <a:gd name="connsiteY2277" fmla="*/ 718801 h 1048506"/>
                    <a:gd name="connsiteX2278" fmla="*/ 549092 w 784555"/>
                    <a:gd name="connsiteY2278" fmla="*/ 717611 h 1048506"/>
                    <a:gd name="connsiteX2279" fmla="*/ 550051 w 784555"/>
                    <a:gd name="connsiteY2279" fmla="*/ 714199 h 1048506"/>
                    <a:gd name="connsiteX2280" fmla="*/ 552929 w 784555"/>
                    <a:gd name="connsiteY2280" fmla="*/ 710908 h 1048506"/>
                    <a:gd name="connsiteX2281" fmla="*/ 553451 w 784555"/>
                    <a:gd name="connsiteY2281" fmla="*/ 710313 h 1048506"/>
                    <a:gd name="connsiteX2282" fmla="*/ 553803 w 784555"/>
                    <a:gd name="connsiteY2282" fmla="*/ 709597 h 1048506"/>
                    <a:gd name="connsiteX2283" fmla="*/ 557397 w 784555"/>
                    <a:gd name="connsiteY2283" fmla="*/ 702311 h 1048506"/>
                    <a:gd name="connsiteX2284" fmla="*/ 567792 w 784555"/>
                    <a:gd name="connsiteY2284" fmla="*/ 688152 h 1048506"/>
                    <a:gd name="connsiteX2285" fmla="*/ 574616 w 784555"/>
                    <a:gd name="connsiteY2285" fmla="*/ 681267 h 1048506"/>
                    <a:gd name="connsiteX2286" fmla="*/ 581295 w 784555"/>
                    <a:gd name="connsiteY2286" fmla="*/ 676811 h 1048506"/>
                    <a:gd name="connsiteX2287" fmla="*/ 588447 w 784555"/>
                    <a:gd name="connsiteY2287" fmla="*/ 672026 h 1048506"/>
                    <a:gd name="connsiteX2288" fmla="*/ 581550 w 784555"/>
                    <a:gd name="connsiteY2288" fmla="*/ 666890 h 1048506"/>
                    <a:gd name="connsiteX2289" fmla="*/ 578465 w 784555"/>
                    <a:gd name="connsiteY2289" fmla="*/ 664583 h 1048506"/>
                    <a:gd name="connsiteX2290" fmla="*/ 577409 w 784555"/>
                    <a:gd name="connsiteY2290" fmla="*/ 661244 h 1048506"/>
                    <a:gd name="connsiteX2291" fmla="*/ 576219 w 784555"/>
                    <a:gd name="connsiteY2291" fmla="*/ 649186 h 1048506"/>
                    <a:gd name="connsiteX2292" fmla="*/ 576122 w 784555"/>
                    <a:gd name="connsiteY2292" fmla="*/ 647947 h 1048506"/>
                    <a:gd name="connsiteX2293" fmla="*/ 576328 w 784555"/>
                    <a:gd name="connsiteY2293" fmla="*/ 647887 h 1048506"/>
                    <a:gd name="connsiteX2294" fmla="*/ 577409 w 784555"/>
                    <a:gd name="connsiteY2294" fmla="*/ 647607 h 1048506"/>
                    <a:gd name="connsiteX2295" fmla="*/ 578320 w 784555"/>
                    <a:gd name="connsiteY2295" fmla="*/ 646939 h 1048506"/>
                    <a:gd name="connsiteX2296" fmla="*/ 579631 w 784555"/>
                    <a:gd name="connsiteY2296" fmla="*/ 645992 h 1048506"/>
                    <a:gd name="connsiteX2297" fmla="*/ 581756 w 784555"/>
                    <a:gd name="connsiteY2297" fmla="*/ 644462 h 1048506"/>
                    <a:gd name="connsiteX2298" fmla="*/ 582096 w 784555"/>
                    <a:gd name="connsiteY2298" fmla="*/ 641864 h 1048506"/>
                    <a:gd name="connsiteX2299" fmla="*/ 582387 w 784555"/>
                    <a:gd name="connsiteY2299" fmla="*/ 639654 h 1048506"/>
                    <a:gd name="connsiteX2300" fmla="*/ 582448 w 784555"/>
                    <a:gd name="connsiteY2300" fmla="*/ 639192 h 1048506"/>
                    <a:gd name="connsiteX2301" fmla="*/ 582448 w 784555"/>
                    <a:gd name="connsiteY2301" fmla="*/ 638719 h 1048506"/>
                    <a:gd name="connsiteX2302" fmla="*/ 582400 w 784555"/>
                    <a:gd name="connsiteY2302" fmla="*/ 636679 h 1048506"/>
                    <a:gd name="connsiteX2303" fmla="*/ 582412 w 784555"/>
                    <a:gd name="connsiteY2303" fmla="*/ 636569 h 1048506"/>
                    <a:gd name="connsiteX2304" fmla="*/ 583675 w 784555"/>
                    <a:gd name="connsiteY2304" fmla="*/ 634857 h 1048506"/>
                    <a:gd name="connsiteX2305" fmla="*/ 586261 w 784555"/>
                    <a:gd name="connsiteY2305" fmla="*/ 632756 h 1048506"/>
                    <a:gd name="connsiteX2306" fmla="*/ 596874 w 784555"/>
                    <a:gd name="connsiteY2306" fmla="*/ 626588 h 1048506"/>
                    <a:gd name="connsiteX2307" fmla="*/ 597335 w 784555"/>
                    <a:gd name="connsiteY2307" fmla="*/ 626321 h 1048506"/>
                    <a:gd name="connsiteX2308" fmla="*/ 597748 w 784555"/>
                    <a:gd name="connsiteY2308" fmla="*/ 625981 h 1048506"/>
                    <a:gd name="connsiteX2309" fmla="*/ 600735 w 784555"/>
                    <a:gd name="connsiteY2309" fmla="*/ 623455 h 1048506"/>
                    <a:gd name="connsiteX2310" fmla="*/ 600772 w 784555"/>
                    <a:gd name="connsiteY2310" fmla="*/ 623467 h 1048506"/>
                    <a:gd name="connsiteX2311" fmla="*/ 605071 w 784555"/>
                    <a:gd name="connsiteY2311" fmla="*/ 625434 h 1048506"/>
                    <a:gd name="connsiteX2312" fmla="*/ 606115 w 784555"/>
                    <a:gd name="connsiteY2312" fmla="*/ 625908 h 1048506"/>
                    <a:gd name="connsiteX2313" fmla="*/ 607268 w 784555"/>
                    <a:gd name="connsiteY2313" fmla="*/ 625968 h 1048506"/>
                    <a:gd name="connsiteX2314" fmla="*/ 611458 w 784555"/>
                    <a:gd name="connsiteY2314" fmla="*/ 626199 h 1048506"/>
                    <a:gd name="connsiteX2315" fmla="*/ 612113 w 784555"/>
                    <a:gd name="connsiteY2315" fmla="*/ 626236 h 1048506"/>
                    <a:gd name="connsiteX2316" fmla="*/ 612757 w 784555"/>
                    <a:gd name="connsiteY2316" fmla="*/ 626126 h 1048506"/>
                    <a:gd name="connsiteX2317" fmla="*/ 622459 w 784555"/>
                    <a:gd name="connsiteY2317" fmla="*/ 624548 h 1048506"/>
                    <a:gd name="connsiteX2318" fmla="*/ 622896 w 784555"/>
                    <a:gd name="connsiteY2318" fmla="*/ 624475 h 1048506"/>
                    <a:gd name="connsiteX2319" fmla="*/ 623321 w 784555"/>
                    <a:gd name="connsiteY2319" fmla="*/ 624341 h 1048506"/>
                    <a:gd name="connsiteX2320" fmla="*/ 623722 w 784555"/>
                    <a:gd name="connsiteY2320" fmla="*/ 624220 h 1048506"/>
                    <a:gd name="connsiteX2321" fmla="*/ 624863 w 784555"/>
                    <a:gd name="connsiteY2321" fmla="*/ 625410 h 1048506"/>
                    <a:gd name="connsiteX2322" fmla="*/ 625604 w 784555"/>
                    <a:gd name="connsiteY2322" fmla="*/ 626175 h 1048506"/>
                    <a:gd name="connsiteX2323" fmla="*/ 626867 w 784555"/>
                    <a:gd name="connsiteY2323" fmla="*/ 627486 h 1048506"/>
                    <a:gd name="connsiteX2324" fmla="*/ 628652 w 784555"/>
                    <a:gd name="connsiteY2324" fmla="*/ 627887 h 1048506"/>
                    <a:gd name="connsiteX2325" fmla="*/ 629927 w 784555"/>
                    <a:gd name="connsiteY2325" fmla="*/ 628166 h 1048506"/>
                    <a:gd name="connsiteX2326" fmla="*/ 630352 w 784555"/>
                    <a:gd name="connsiteY2326" fmla="*/ 628264 h 1048506"/>
                    <a:gd name="connsiteX2327" fmla="*/ 630789 w 784555"/>
                    <a:gd name="connsiteY2327" fmla="*/ 628300 h 1048506"/>
                    <a:gd name="connsiteX2328" fmla="*/ 633546 w 784555"/>
                    <a:gd name="connsiteY2328" fmla="*/ 628506 h 1048506"/>
                    <a:gd name="connsiteX2329" fmla="*/ 666866 w 784555"/>
                    <a:gd name="connsiteY2329" fmla="*/ 635574 h 1048506"/>
                    <a:gd name="connsiteX2330" fmla="*/ 668335 w 784555"/>
                    <a:gd name="connsiteY2330" fmla="*/ 635877 h 1048506"/>
                    <a:gd name="connsiteX2331" fmla="*/ 669780 w 784555"/>
                    <a:gd name="connsiteY2331" fmla="*/ 635476 h 1048506"/>
                    <a:gd name="connsiteX2332" fmla="*/ 672124 w 784555"/>
                    <a:gd name="connsiteY2332" fmla="*/ 634809 h 1048506"/>
                    <a:gd name="connsiteX2333" fmla="*/ 676070 w 784555"/>
                    <a:gd name="connsiteY2333" fmla="*/ 633679 h 1048506"/>
                    <a:gd name="connsiteX2334" fmla="*/ 676095 w 784555"/>
                    <a:gd name="connsiteY2334" fmla="*/ 633448 h 1048506"/>
                    <a:gd name="connsiteX2335" fmla="*/ 679385 w 784555"/>
                    <a:gd name="connsiteY2335" fmla="*/ 632902 h 1048506"/>
                    <a:gd name="connsiteX2336" fmla="*/ 679859 w 784555"/>
                    <a:gd name="connsiteY2336" fmla="*/ 632829 h 1048506"/>
                    <a:gd name="connsiteX2337" fmla="*/ 680308 w 784555"/>
                    <a:gd name="connsiteY2337" fmla="*/ 632671 h 1048506"/>
                    <a:gd name="connsiteX2338" fmla="*/ 683647 w 784555"/>
                    <a:gd name="connsiteY2338" fmla="*/ 631566 h 1048506"/>
                    <a:gd name="connsiteX2339" fmla="*/ 686513 w 784555"/>
                    <a:gd name="connsiteY2339" fmla="*/ 630971 h 1048506"/>
                    <a:gd name="connsiteX2340" fmla="*/ 689500 w 784555"/>
                    <a:gd name="connsiteY2340" fmla="*/ 630352 h 1048506"/>
                    <a:gd name="connsiteX2341" fmla="*/ 690787 w 784555"/>
                    <a:gd name="connsiteY2341" fmla="*/ 627584 h 1048506"/>
                    <a:gd name="connsiteX2342" fmla="*/ 691759 w 784555"/>
                    <a:gd name="connsiteY2342" fmla="*/ 625495 h 1048506"/>
                    <a:gd name="connsiteX2343" fmla="*/ 692220 w 784555"/>
                    <a:gd name="connsiteY2343" fmla="*/ 624511 h 1048506"/>
                    <a:gd name="connsiteX2344" fmla="*/ 692305 w 784555"/>
                    <a:gd name="connsiteY2344" fmla="*/ 623431 h 1048506"/>
                    <a:gd name="connsiteX2345" fmla="*/ 693629 w 784555"/>
                    <a:gd name="connsiteY2345" fmla="*/ 607232 h 1048506"/>
                    <a:gd name="connsiteX2346" fmla="*/ 693653 w 784555"/>
                    <a:gd name="connsiteY2346" fmla="*/ 606916 h 1048506"/>
                    <a:gd name="connsiteX2347" fmla="*/ 693653 w 784555"/>
                    <a:gd name="connsiteY2347" fmla="*/ 606600 h 1048506"/>
                    <a:gd name="connsiteX2348" fmla="*/ 692900 w 784555"/>
                    <a:gd name="connsiteY2348" fmla="*/ 573875 h 1048506"/>
                    <a:gd name="connsiteX2349" fmla="*/ 692888 w 784555"/>
                    <a:gd name="connsiteY2349" fmla="*/ 573256 h 1048506"/>
                    <a:gd name="connsiteX2350" fmla="*/ 692755 w 784555"/>
                    <a:gd name="connsiteY2350" fmla="*/ 572649 h 1048506"/>
                    <a:gd name="connsiteX2351" fmla="*/ 691127 w 784555"/>
                    <a:gd name="connsiteY2351" fmla="*/ 565594 h 1048506"/>
                    <a:gd name="connsiteX2352" fmla="*/ 691079 w 784555"/>
                    <a:gd name="connsiteY2352" fmla="*/ 535358 h 1048506"/>
                    <a:gd name="connsiteX2353" fmla="*/ 690605 w 784555"/>
                    <a:gd name="connsiteY2353" fmla="*/ 524793 h 1048506"/>
                    <a:gd name="connsiteX2354" fmla="*/ 690326 w 784555"/>
                    <a:gd name="connsiteY2354" fmla="*/ 518637 h 1048506"/>
                    <a:gd name="connsiteX2355" fmla="*/ 684182 w 784555"/>
                    <a:gd name="connsiteY2355" fmla="*/ 519001 h 1048506"/>
                    <a:gd name="connsiteX2356" fmla="*/ 684109 w 784555"/>
                    <a:gd name="connsiteY2356" fmla="*/ 519001 h 1048506"/>
                    <a:gd name="connsiteX2357" fmla="*/ 683672 w 784555"/>
                    <a:gd name="connsiteY2357" fmla="*/ 518831 h 1048506"/>
                    <a:gd name="connsiteX2358" fmla="*/ 683562 w 784555"/>
                    <a:gd name="connsiteY2358" fmla="*/ 518285 h 1048506"/>
                    <a:gd name="connsiteX2359" fmla="*/ 682263 w 784555"/>
                    <a:gd name="connsiteY2359" fmla="*/ 517374 h 1048506"/>
                    <a:gd name="connsiteX2360" fmla="*/ 682652 w 784555"/>
                    <a:gd name="connsiteY2360" fmla="*/ 517046 h 1048506"/>
                    <a:gd name="connsiteX2361" fmla="*/ 682312 w 784555"/>
                    <a:gd name="connsiteY2361" fmla="*/ 513853 h 1048506"/>
                    <a:gd name="connsiteX2362" fmla="*/ 682202 w 784555"/>
                    <a:gd name="connsiteY2362" fmla="*/ 512796 h 1048506"/>
                    <a:gd name="connsiteX2363" fmla="*/ 681814 w 784555"/>
                    <a:gd name="connsiteY2363" fmla="*/ 509081 h 1048506"/>
                    <a:gd name="connsiteX2364" fmla="*/ 678329 w 784555"/>
                    <a:gd name="connsiteY2364" fmla="*/ 507769 h 1048506"/>
                    <a:gd name="connsiteX2365" fmla="*/ 676957 w 784555"/>
                    <a:gd name="connsiteY2365" fmla="*/ 507247 h 1048506"/>
                    <a:gd name="connsiteX2366" fmla="*/ 676532 w 784555"/>
                    <a:gd name="connsiteY2366" fmla="*/ 507077 h 1048506"/>
                    <a:gd name="connsiteX2367" fmla="*/ 676095 w 784555"/>
                    <a:gd name="connsiteY2367" fmla="*/ 506980 h 1048506"/>
                    <a:gd name="connsiteX2368" fmla="*/ 675062 w 784555"/>
                    <a:gd name="connsiteY2368" fmla="*/ 506749 h 1048506"/>
                    <a:gd name="connsiteX2369" fmla="*/ 674929 w 784555"/>
                    <a:gd name="connsiteY2369" fmla="*/ 506713 h 1048506"/>
                    <a:gd name="connsiteX2370" fmla="*/ 674140 w 784555"/>
                    <a:gd name="connsiteY2370" fmla="*/ 506045 h 1048506"/>
                    <a:gd name="connsiteX2371" fmla="*/ 673447 w 784555"/>
                    <a:gd name="connsiteY2371" fmla="*/ 505450 h 1048506"/>
                    <a:gd name="connsiteX2372" fmla="*/ 671808 w 784555"/>
                    <a:gd name="connsiteY2372" fmla="*/ 504041 h 1048506"/>
                    <a:gd name="connsiteX2373" fmla="*/ 669647 w 784555"/>
                    <a:gd name="connsiteY2373" fmla="*/ 503993 h 1048506"/>
                    <a:gd name="connsiteX2374" fmla="*/ 669634 w 784555"/>
                    <a:gd name="connsiteY2374" fmla="*/ 503993 h 1048506"/>
                    <a:gd name="connsiteX2375" fmla="*/ 670521 w 784555"/>
                    <a:gd name="connsiteY2375" fmla="*/ 502050 h 1048506"/>
                    <a:gd name="connsiteX2376" fmla="*/ 671165 w 784555"/>
                    <a:gd name="connsiteY2376" fmla="*/ 500641 h 1048506"/>
                    <a:gd name="connsiteX2377" fmla="*/ 671177 w 784555"/>
                    <a:gd name="connsiteY2377" fmla="*/ 500326 h 1048506"/>
                    <a:gd name="connsiteX2378" fmla="*/ 672112 w 784555"/>
                    <a:gd name="connsiteY2378" fmla="*/ 500447 h 1048506"/>
                    <a:gd name="connsiteX2379" fmla="*/ 675099 w 784555"/>
                    <a:gd name="connsiteY2379" fmla="*/ 500811 h 1048506"/>
                    <a:gd name="connsiteX2380" fmla="*/ 677200 w 784555"/>
                    <a:gd name="connsiteY2380" fmla="*/ 498650 h 1048506"/>
                    <a:gd name="connsiteX2381" fmla="*/ 677576 w 784555"/>
                    <a:gd name="connsiteY2381" fmla="*/ 498273 h 1048506"/>
                    <a:gd name="connsiteX2382" fmla="*/ 678377 w 784555"/>
                    <a:gd name="connsiteY2382" fmla="*/ 497800 h 1048506"/>
                    <a:gd name="connsiteX2383" fmla="*/ 679519 w 784555"/>
                    <a:gd name="connsiteY2383" fmla="*/ 497848 h 1048506"/>
                    <a:gd name="connsiteX2384" fmla="*/ 683065 w 784555"/>
                    <a:gd name="connsiteY2384" fmla="*/ 498638 h 1048506"/>
                    <a:gd name="connsiteX2385" fmla="*/ 689063 w 784555"/>
                    <a:gd name="connsiteY2385" fmla="*/ 499998 h 1048506"/>
                    <a:gd name="connsiteX2386" fmla="*/ 690338 w 784555"/>
                    <a:gd name="connsiteY2386" fmla="*/ 493975 h 1048506"/>
                    <a:gd name="connsiteX2387" fmla="*/ 691431 w 784555"/>
                    <a:gd name="connsiteY2387" fmla="*/ 488826 h 1048506"/>
                    <a:gd name="connsiteX2388" fmla="*/ 691553 w 784555"/>
                    <a:gd name="connsiteY2388" fmla="*/ 488267 h 1048506"/>
                    <a:gd name="connsiteX2389" fmla="*/ 691565 w 784555"/>
                    <a:gd name="connsiteY2389" fmla="*/ 487685 h 1048506"/>
                    <a:gd name="connsiteX2390" fmla="*/ 692148 w 784555"/>
                    <a:gd name="connsiteY2390" fmla="*/ 458663 h 1048506"/>
                    <a:gd name="connsiteX2391" fmla="*/ 692160 w 784555"/>
                    <a:gd name="connsiteY2391" fmla="*/ 458019 h 1048506"/>
                    <a:gd name="connsiteX2392" fmla="*/ 692038 w 784555"/>
                    <a:gd name="connsiteY2392" fmla="*/ 457376 h 1048506"/>
                    <a:gd name="connsiteX2393" fmla="*/ 688274 w 784555"/>
                    <a:gd name="connsiteY2393" fmla="*/ 438129 h 1048506"/>
                    <a:gd name="connsiteX2394" fmla="*/ 687946 w 784555"/>
                    <a:gd name="connsiteY2394" fmla="*/ 423825 h 1048506"/>
                    <a:gd name="connsiteX2395" fmla="*/ 687910 w 784555"/>
                    <a:gd name="connsiteY2395" fmla="*/ 421979 h 1048506"/>
                    <a:gd name="connsiteX2396" fmla="*/ 686841 w 784555"/>
                    <a:gd name="connsiteY2396" fmla="*/ 420474 h 1048506"/>
                    <a:gd name="connsiteX2397" fmla="*/ 686270 w 784555"/>
                    <a:gd name="connsiteY2397" fmla="*/ 419672 h 1048506"/>
                    <a:gd name="connsiteX2398" fmla="*/ 685141 w 784555"/>
                    <a:gd name="connsiteY2398" fmla="*/ 418069 h 1048506"/>
                    <a:gd name="connsiteX2399" fmla="*/ 685651 w 784555"/>
                    <a:gd name="connsiteY2399" fmla="*/ 416308 h 1048506"/>
                    <a:gd name="connsiteX2400" fmla="*/ 685979 w 784555"/>
                    <a:gd name="connsiteY2400" fmla="*/ 415179 h 1048506"/>
                    <a:gd name="connsiteX2401" fmla="*/ 685858 w 784555"/>
                    <a:gd name="connsiteY2401" fmla="*/ 414001 h 1048506"/>
                    <a:gd name="connsiteX2402" fmla="*/ 684825 w 784555"/>
                    <a:gd name="connsiteY2402" fmla="*/ 404129 h 1048506"/>
                    <a:gd name="connsiteX2403" fmla="*/ 684631 w 784555"/>
                    <a:gd name="connsiteY2403" fmla="*/ 402223 h 1048506"/>
                    <a:gd name="connsiteX2404" fmla="*/ 683368 w 784555"/>
                    <a:gd name="connsiteY2404" fmla="*/ 400766 h 1048506"/>
                    <a:gd name="connsiteX2405" fmla="*/ 681996 w 784555"/>
                    <a:gd name="connsiteY2405" fmla="*/ 399187 h 1048506"/>
                    <a:gd name="connsiteX2406" fmla="*/ 680490 w 784555"/>
                    <a:gd name="connsiteY2406" fmla="*/ 397463 h 1048506"/>
                    <a:gd name="connsiteX2407" fmla="*/ 678207 w 784555"/>
                    <a:gd name="connsiteY2407" fmla="*/ 397159 h 1048506"/>
                    <a:gd name="connsiteX2408" fmla="*/ 677297 w 784555"/>
                    <a:gd name="connsiteY2408" fmla="*/ 397038 h 1048506"/>
                    <a:gd name="connsiteX2409" fmla="*/ 673642 w 784555"/>
                    <a:gd name="connsiteY2409" fmla="*/ 385721 h 1048506"/>
                    <a:gd name="connsiteX2410" fmla="*/ 672779 w 784555"/>
                    <a:gd name="connsiteY2410" fmla="*/ 379236 h 1048506"/>
                    <a:gd name="connsiteX2411" fmla="*/ 673059 w 784555"/>
                    <a:gd name="connsiteY2411" fmla="*/ 376553 h 1048506"/>
                    <a:gd name="connsiteX2412" fmla="*/ 674735 w 784555"/>
                    <a:gd name="connsiteY2412" fmla="*/ 369886 h 1048506"/>
                    <a:gd name="connsiteX2413" fmla="*/ 674856 w 784555"/>
                    <a:gd name="connsiteY2413" fmla="*/ 369400 h 1048506"/>
                    <a:gd name="connsiteX2414" fmla="*/ 674893 w 784555"/>
                    <a:gd name="connsiteY2414" fmla="*/ 368915 h 1048506"/>
                    <a:gd name="connsiteX2415" fmla="*/ 675487 w 784555"/>
                    <a:gd name="connsiteY2415" fmla="*/ 361775 h 1048506"/>
                    <a:gd name="connsiteX2416" fmla="*/ 678912 w 784555"/>
                    <a:gd name="connsiteY2416" fmla="*/ 344362 h 1048506"/>
                    <a:gd name="connsiteX2417" fmla="*/ 679434 w 784555"/>
                    <a:gd name="connsiteY2417" fmla="*/ 342868 h 1048506"/>
                    <a:gd name="connsiteX2418" fmla="*/ 679980 w 784555"/>
                    <a:gd name="connsiteY2418" fmla="*/ 342455 h 1048506"/>
                    <a:gd name="connsiteX2419" fmla="*/ 681753 w 784555"/>
                    <a:gd name="connsiteY2419" fmla="*/ 341071 h 1048506"/>
                    <a:gd name="connsiteX2420" fmla="*/ 682202 w 784555"/>
                    <a:gd name="connsiteY2420" fmla="*/ 338861 h 1048506"/>
                    <a:gd name="connsiteX2421" fmla="*/ 683635 w 784555"/>
                    <a:gd name="connsiteY2421" fmla="*/ 331854 h 1048506"/>
                    <a:gd name="connsiteX2422" fmla="*/ 685153 w 784555"/>
                    <a:gd name="connsiteY2422" fmla="*/ 324435 h 1048506"/>
                    <a:gd name="connsiteX2423" fmla="*/ 677576 w 784555"/>
                    <a:gd name="connsiteY2423" fmla="*/ 324581 h 1048506"/>
                    <a:gd name="connsiteX2424" fmla="*/ 676313 w 784555"/>
                    <a:gd name="connsiteY2424" fmla="*/ 324605 h 1048506"/>
                    <a:gd name="connsiteX2425" fmla="*/ 671930 w 784555"/>
                    <a:gd name="connsiteY2425" fmla="*/ 324690 h 1048506"/>
                    <a:gd name="connsiteX2426" fmla="*/ 669027 w 784555"/>
                    <a:gd name="connsiteY2426" fmla="*/ 324095 h 1048506"/>
                    <a:gd name="connsiteX2427" fmla="*/ 668457 w 784555"/>
                    <a:gd name="connsiteY2427" fmla="*/ 323889 h 1048506"/>
                    <a:gd name="connsiteX2428" fmla="*/ 668032 w 784555"/>
                    <a:gd name="connsiteY2428" fmla="*/ 323731 h 1048506"/>
                    <a:gd name="connsiteX2429" fmla="*/ 667582 w 784555"/>
                    <a:gd name="connsiteY2429" fmla="*/ 323646 h 1048506"/>
                    <a:gd name="connsiteX2430" fmla="*/ 666659 w 784555"/>
                    <a:gd name="connsiteY2430" fmla="*/ 323464 h 1048506"/>
                    <a:gd name="connsiteX2431" fmla="*/ 666101 w 784555"/>
                    <a:gd name="connsiteY2431" fmla="*/ 323354 h 1048506"/>
                    <a:gd name="connsiteX2432" fmla="*/ 665518 w 784555"/>
                    <a:gd name="connsiteY2432" fmla="*/ 323354 h 1048506"/>
                    <a:gd name="connsiteX2433" fmla="*/ 665227 w 784555"/>
                    <a:gd name="connsiteY2433" fmla="*/ 323354 h 1048506"/>
                    <a:gd name="connsiteX2434" fmla="*/ 665117 w 784555"/>
                    <a:gd name="connsiteY2434" fmla="*/ 323221 h 1048506"/>
                    <a:gd name="connsiteX2435" fmla="*/ 664644 w 784555"/>
                    <a:gd name="connsiteY2435" fmla="*/ 322650 h 1048506"/>
                    <a:gd name="connsiteX2436" fmla="*/ 664267 w 784555"/>
                    <a:gd name="connsiteY2436" fmla="*/ 322383 h 1048506"/>
                    <a:gd name="connsiteX2437" fmla="*/ 664304 w 784555"/>
                    <a:gd name="connsiteY2437" fmla="*/ 322286 h 1048506"/>
                    <a:gd name="connsiteX2438" fmla="*/ 664401 w 784555"/>
                    <a:gd name="connsiteY2438" fmla="*/ 321897 h 1048506"/>
                    <a:gd name="connsiteX2439" fmla="*/ 664862 w 784555"/>
                    <a:gd name="connsiteY2439" fmla="*/ 320064 h 1048506"/>
                    <a:gd name="connsiteX2440" fmla="*/ 665045 w 784555"/>
                    <a:gd name="connsiteY2440" fmla="*/ 319323 h 1048506"/>
                    <a:gd name="connsiteX2441" fmla="*/ 665045 w 784555"/>
                    <a:gd name="connsiteY2441" fmla="*/ 318570 h 1048506"/>
                    <a:gd name="connsiteX2442" fmla="*/ 665045 w 784555"/>
                    <a:gd name="connsiteY2442" fmla="*/ 317441 h 1048506"/>
                    <a:gd name="connsiteX2443" fmla="*/ 665931 w 784555"/>
                    <a:gd name="connsiteY2443" fmla="*/ 317975 h 1048506"/>
                    <a:gd name="connsiteX2444" fmla="*/ 666817 w 784555"/>
                    <a:gd name="connsiteY2444" fmla="*/ 319043 h 1048506"/>
                    <a:gd name="connsiteX2445" fmla="*/ 668408 w 784555"/>
                    <a:gd name="connsiteY2445" fmla="*/ 320974 h 1048506"/>
                    <a:gd name="connsiteX2446" fmla="*/ 670897 w 784555"/>
                    <a:gd name="connsiteY2446" fmla="*/ 321217 h 1048506"/>
                    <a:gd name="connsiteX2447" fmla="*/ 672099 w 784555"/>
                    <a:gd name="connsiteY2447" fmla="*/ 321339 h 1048506"/>
                    <a:gd name="connsiteX2448" fmla="*/ 673775 w 784555"/>
                    <a:gd name="connsiteY2448" fmla="*/ 321508 h 1048506"/>
                    <a:gd name="connsiteX2449" fmla="*/ 675293 w 784555"/>
                    <a:gd name="connsiteY2449" fmla="*/ 320792 h 1048506"/>
                    <a:gd name="connsiteX2450" fmla="*/ 676617 w 784555"/>
                    <a:gd name="connsiteY2450" fmla="*/ 320161 h 1048506"/>
                    <a:gd name="connsiteX2451" fmla="*/ 677540 w 784555"/>
                    <a:gd name="connsiteY2451" fmla="*/ 319723 h 1048506"/>
                    <a:gd name="connsiteX2452" fmla="*/ 678268 w 784555"/>
                    <a:gd name="connsiteY2452" fmla="*/ 319007 h 1048506"/>
                    <a:gd name="connsiteX2453" fmla="*/ 681802 w 784555"/>
                    <a:gd name="connsiteY2453" fmla="*/ 315571 h 1048506"/>
                    <a:gd name="connsiteX2454" fmla="*/ 683429 w 784555"/>
                    <a:gd name="connsiteY2454" fmla="*/ 314320 h 1048506"/>
                    <a:gd name="connsiteX2455" fmla="*/ 686865 w 784555"/>
                    <a:gd name="connsiteY2455" fmla="*/ 313142 h 1048506"/>
                    <a:gd name="connsiteX2456" fmla="*/ 690387 w 784555"/>
                    <a:gd name="connsiteY2456" fmla="*/ 311940 h 1048506"/>
                    <a:gd name="connsiteX2457" fmla="*/ 690909 w 784555"/>
                    <a:gd name="connsiteY2457" fmla="*/ 308929 h 1048506"/>
                    <a:gd name="connsiteX2458" fmla="*/ 691917 w 784555"/>
                    <a:gd name="connsiteY2458" fmla="*/ 307472 h 1048506"/>
                    <a:gd name="connsiteX2459" fmla="*/ 692293 w 784555"/>
                    <a:gd name="connsiteY2459" fmla="*/ 306925 h 1048506"/>
                    <a:gd name="connsiteX2460" fmla="*/ 692548 w 784555"/>
                    <a:gd name="connsiteY2460" fmla="*/ 306318 h 1048506"/>
                    <a:gd name="connsiteX2461" fmla="*/ 692961 w 784555"/>
                    <a:gd name="connsiteY2461" fmla="*/ 305310 h 1048506"/>
                    <a:gd name="connsiteX2462" fmla="*/ 693447 w 784555"/>
                    <a:gd name="connsiteY2462" fmla="*/ 304096 h 1048506"/>
                    <a:gd name="connsiteX2463" fmla="*/ 693398 w 784555"/>
                    <a:gd name="connsiteY2463" fmla="*/ 302796 h 1048506"/>
                    <a:gd name="connsiteX2464" fmla="*/ 693180 w 784555"/>
                    <a:gd name="connsiteY2464" fmla="*/ 296895 h 1048506"/>
                    <a:gd name="connsiteX2465" fmla="*/ 693228 w 784555"/>
                    <a:gd name="connsiteY2465" fmla="*/ 296482 h 1048506"/>
                    <a:gd name="connsiteX2466" fmla="*/ 693933 w 784555"/>
                    <a:gd name="connsiteY2466" fmla="*/ 295146 h 1048506"/>
                    <a:gd name="connsiteX2467" fmla="*/ 698547 w 784555"/>
                    <a:gd name="connsiteY2467" fmla="*/ 289706 h 1048506"/>
                    <a:gd name="connsiteX2468" fmla="*/ 699033 w 784555"/>
                    <a:gd name="connsiteY2468" fmla="*/ 289136 h 1048506"/>
                    <a:gd name="connsiteX2469" fmla="*/ 699373 w 784555"/>
                    <a:gd name="connsiteY2469" fmla="*/ 288443 h 1048506"/>
                    <a:gd name="connsiteX2470" fmla="*/ 704885 w 784555"/>
                    <a:gd name="connsiteY2470" fmla="*/ 277187 h 1048506"/>
                    <a:gd name="connsiteX2471" fmla="*/ 705529 w 784555"/>
                    <a:gd name="connsiteY2471" fmla="*/ 276240 h 1048506"/>
                    <a:gd name="connsiteX2472" fmla="*/ 707848 w 784555"/>
                    <a:gd name="connsiteY2472" fmla="*/ 273738 h 1048506"/>
                    <a:gd name="connsiteX2473" fmla="*/ 708213 w 784555"/>
                    <a:gd name="connsiteY2473" fmla="*/ 273350 h 1048506"/>
                    <a:gd name="connsiteX2474" fmla="*/ 708504 w 784555"/>
                    <a:gd name="connsiteY2474" fmla="*/ 272900 h 1048506"/>
                    <a:gd name="connsiteX2475" fmla="*/ 719311 w 784555"/>
                    <a:gd name="connsiteY2475" fmla="*/ 256131 h 1048506"/>
                    <a:gd name="connsiteX2476" fmla="*/ 730726 w 784555"/>
                    <a:gd name="connsiteY2476" fmla="*/ 238414 h 1048506"/>
                    <a:gd name="connsiteX2477" fmla="*/ 732632 w 784555"/>
                    <a:gd name="connsiteY2477" fmla="*/ 237309 h 1048506"/>
                    <a:gd name="connsiteX2478" fmla="*/ 733652 w 784555"/>
                    <a:gd name="connsiteY2478" fmla="*/ 236714 h 1048506"/>
                    <a:gd name="connsiteX2479" fmla="*/ 734381 w 784555"/>
                    <a:gd name="connsiteY2479" fmla="*/ 235779 h 1048506"/>
                    <a:gd name="connsiteX2480" fmla="*/ 736044 w 784555"/>
                    <a:gd name="connsiteY2480" fmla="*/ 233630 h 1048506"/>
                    <a:gd name="connsiteX2481" fmla="*/ 736360 w 784555"/>
                    <a:gd name="connsiteY2481" fmla="*/ 233217 h 1048506"/>
                    <a:gd name="connsiteX2482" fmla="*/ 736603 w 784555"/>
                    <a:gd name="connsiteY2482" fmla="*/ 232756 h 1048506"/>
                    <a:gd name="connsiteX2483" fmla="*/ 740513 w 784555"/>
                    <a:gd name="connsiteY2483" fmla="*/ 225409 h 1048506"/>
                    <a:gd name="connsiteX2484" fmla="*/ 740841 w 784555"/>
                    <a:gd name="connsiteY2484" fmla="*/ 224790 h 1048506"/>
                    <a:gd name="connsiteX2485" fmla="*/ 741023 w 784555"/>
                    <a:gd name="connsiteY2485" fmla="*/ 224098 h 1048506"/>
                    <a:gd name="connsiteX2486" fmla="*/ 741606 w 784555"/>
                    <a:gd name="connsiteY2486" fmla="*/ 221876 h 1048506"/>
                    <a:gd name="connsiteX2487" fmla="*/ 747701 w 784555"/>
                    <a:gd name="connsiteY2487" fmla="*/ 211639 h 1048506"/>
                    <a:gd name="connsiteX2488" fmla="*/ 747957 w 784555"/>
                    <a:gd name="connsiteY2488" fmla="*/ 211239 h 1048506"/>
                    <a:gd name="connsiteX2489" fmla="*/ 748139 w 784555"/>
                    <a:gd name="connsiteY2489" fmla="*/ 210789 h 1048506"/>
                    <a:gd name="connsiteX2490" fmla="*/ 752559 w 784555"/>
                    <a:gd name="connsiteY2490" fmla="*/ 199715 h 1048506"/>
                    <a:gd name="connsiteX2491" fmla="*/ 752704 w 784555"/>
                    <a:gd name="connsiteY2491" fmla="*/ 199351 h 1048506"/>
                    <a:gd name="connsiteX2492" fmla="*/ 752802 w 784555"/>
                    <a:gd name="connsiteY2492" fmla="*/ 198974 h 1048506"/>
                    <a:gd name="connsiteX2493" fmla="*/ 753494 w 784555"/>
                    <a:gd name="connsiteY2493" fmla="*/ 196266 h 1048506"/>
                    <a:gd name="connsiteX2494" fmla="*/ 753615 w 784555"/>
                    <a:gd name="connsiteY2494" fmla="*/ 195780 h 1048506"/>
                    <a:gd name="connsiteX2495" fmla="*/ 753652 w 784555"/>
                    <a:gd name="connsiteY2495" fmla="*/ 195283 h 1048506"/>
                    <a:gd name="connsiteX2496" fmla="*/ 753955 w 784555"/>
                    <a:gd name="connsiteY2496" fmla="*/ 191858 h 1048506"/>
                    <a:gd name="connsiteX2497" fmla="*/ 755874 w 784555"/>
                    <a:gd name="connsiteY2497" fmla="*/ 183844 h 1048506"/>
                    <a:gd name="connsiteX2498" fmla="*/ 756869 w 784555"/>
                    <a:gd name="connsiteY2498" fmla="*/ 181318 h 1048506"/>
                    <a:gd name="connsiteX2499" fmla="*/ 759990 w 784555"/>
                    <a:gd name="connsiteY2499" fmla="*/ 176510 h 1048506"/>
                    <a:gd name="connsiteX2500" fmla="*/ 760294 w 784555"/>
                    <a:gd name="connsiteY2500" fmla="*/ 176048 h 1048506"/>
                    <a:gd name="connsiteX2501" fmla="*/ 760512 w 784555"/>
                    <a:gd name="connsiteY2501" fmla="*/ 175526 h 1048506"/>
                    <a:gd name="connsiteX2502" fmla="*/ 761702 w 784555"/>
                    <a:gd name="connsiteY2502" fmla="*/ 172660 h 1048506"/>
                    <a:gd name="connsiteX2503" fmla="*/ 762006 w 784555"/>
                    <a:gd name="connsiteY2503" fmla="*/ 171932 h 1048506"/>
                    <a:gd name="connsiteX2504" fmla="*/ 762115 w 784555"/>
                    <a:gd name="connsiteY2504" fmla="*/ 171142 h 1048506"/>
                    <a:gd name="connsiteX2505" fmla="*/ 762953 w 784555"/>
                    <a:gd name="connsiteY2505" fmla="*/ 164877 h 1048506"/>
                    <a:gd name="connsiteX2506" fmla="*/ 766147 w 784555"/>
                    <a:gd name="connsiteY2506" fmla="*/ 155648 h 1048506"/>
                    <a:gd name="connsiteX2507" fmla="*/ 766329 w 784555"/>
                    <a:gd name="connsiteY2507" fmla="*/ 155138 h 1048506"/>
                    <a:gd name="connsiteX2508" fmla="*/ 766414 w 784555"/>
                    <a:gd name="connsiteY2508" fmla="*/ 154604 h 1048506"/>
                    <a:gd name="connsiteX2509" fmla="*/ 768587 w 784555"/>
                    <a:gd name="connsiteY2509" fmla="*/ 140713 h 1048506"/>
                    <a:gd name="connsiteX2510" fmla="*/ 768636 w 784555"/>
                    <a:gd name="connsiteY2510" fmla="*/ 140397 h 1048506"/>
                    <a:gd name="connsiteX2511" fmla="*/ 768648 w 784555"/>
                    <a:gd name="connsiteY2511" fmla="*/ 140069 h 1048506"/>
                    <a:gd name="connsiteX2512" fmla="*/ 769729 w 784555"/>
                    <a:gd name="connsiteY2512" fmla="*/ 117252 h 1048506"/>
                    <a:gd name="connsiteX2513" fmla="*/ 772230 w 784555"/>
                    <a:gd name="connsiteY2513" fmla="*/ 103907 h 1048506"/>
                    <a:gd name="connsiteX2514" fmla="*/ 772279 w 784555"/>
                    <a:gd name="connsiteY2514" fmla="*/ 103604 h 1048506"/>
                    <a:gd name="connsiteX2515" fmla="*/ 772303 w 784555"/>
                    <a:gd name="connsiteY2515" fmla="*/ 103288 h 1048506"/>
                    <a:gd name="connsiteX2516" fmla="*/ 772813 w 784555"/>
                    <a:gd name="connsiteY2516" fmla="*/ 96998 h 1048506"/>
                    <a:gd name="connsiteX2517" fmla="*/ 775400 w 784555"/>
                    <a:gd name="connsiteY2517" fmla="*/ 94229 h 1048506"/>
                    <a:gd name="connsiteX2518" fmla="*/ 775861 w 784555"/>
                    <a:gd name="connsiteY2518" fmla="*/ 93731 h 1048506"/>
                    <a:gd name="connsiteX2519" fmla="*/ 776201 w 784555"/>
                    <a:gd name="connsiteY2519" fmla="*/ 93161 h 1048506"/>
                    <a:gd name="connsiteX2520" fmla="*/ 777306 w 784555"/>
                    <a:gd name="connsiteY2520" fmla="*/ 91291 h 1048506"/>
                    <a:gd name="connsiteX2521" fmla="*/ 778532 w 784555"/>
                    <a:gd name="connsiteY2521" fmla="*/ 89214 h 1048506"/>
                    <a:gd name="connsiteX2522" fmla="*/ 778010 w 784555"/>
                    <a:gd name="connsiteY2522" fmla="*/ 86883 h 1048506"/>
                    <a:gd name="connsiteX2523" fmla="*/ 776881 w 784555"/>
                    <a:gd name="connsiteY2523" fmla="*/ 81856 h 1048506"/>
                    <a:gd name="connsiteX2524" fmla="*/ 776881 w 784555"/>
                    <a:gd name="connsiteY2524" fmla="*/ 81601 h 1048506"/>
                    <a:gd name="connsiteX2525" fmla="*/ 777561 w 784555"/>
                    <a:gd name="connsiteY2525" fmla="*/ 79767 h 1048506"/>
                    <a:gd name="connsiteX2526" fmla="*/ 779152 w 784555"/>
                    <a:gd name="connsiteY2526" fmla="*/ 77266 h 1048506"/>
                    <a:gd name="connsiteX2527" fmla="*/ 779358 w 784555"/>
                    <a:gd name="connsiteY2527" fmla="*/ 76950 h 1048506"/>
                    <a:gd name="connsiteX2528" fmla="*/ 779528 w 784555"/>
                    <a:gd name="connsiteY2528" fmla="*/ 76598 h 1048506"/>
                    <a:gd name="connsiteX2529" fmla="*/ 781143 w 784555"/>
                    <a:gd name="connsiteY2529" fmla="*/ 73173 h 1048506"/>
                    <a:gd name="connsiteX2530" fmla="*/ 781641 w 784555"/>
                    <a:gd name="connsiteY2530" fmla="*/ 72129 h 1048506"/>
                    <a:gd name="connsiteX2531" fmla="*/ 781714 w 784555"/>
                    <a:gd name="connsiteY2531" fmla="*/ 70963 h 1048506"/>
                    <a:gd name="connsiteX2532" fmla="*/ 781993 w 784555"/>
                    <a:gd name="connsiteY2532" fmla="*/ 66580 h 1048506"/>
                    <a:gd name="connsiteX2533" fmla="*/ 782527 w 784555"/>
                    <a:gd name="connsiteY2533" fmla="*/ 58128 h 1048506"/>
                    <a:gd name="connsiteX2534" fmla="*/ 782309 w 784555"/>
                    <a:gd name="connsiteY2534" fmla="*/ 58189 h 1048506"/>
                    <a:gd name="connsiteX2535" fmla="*/ 782357 w 784555"/>
                    <a:gd name="connsiteY2535" fmla="*/ 57497 h 1048506"/>
                    <a:gd name="connsiteX2536" fmla="*/ 784033 w 784555"/>
                    <a:gd name="connsiteY2536" fmla="*/ 48171 h 1048506"/>
                    <a:gd name="connsiteX2537" fmla="*/ 784082 w 784555"/>
                    <a:gd name="connsiteY2537" fmla="*/ 47867 h 1048506"/>
                    <a:gd name="connsiteX2538" fmla="*/ 784106 w 784555"/>
                    <a:gd name="connsiteY2538" fmla="*/ 47564 h 1048506"/>
                    <a:gd name="connsiteX2539" fmla="*/ 784507 w 784555"/>
                    <a:gd name="connsiteY2539" fmla="*/ 42245 h 1048506"/>
                    <a:gd name="connsiteX2540" fmla="*/ 784555 w 784555"/>
                    <a:gd name="connsiteY2540" fmla="*/ 41602 h 1048506"/>
                    <a:gd name="connsiteX2541" fmla="*/ 784470 w 784555"/>
                    <a:gd name="connsiteY2541" fmla="*/ 40958 h 1048506"/>
                    <a:gd name="connsiteX2542" fmla="*/ 783778 w 784555"/>
                    <a:gd name="connsiteY2542" fmla="*/ 35943 h 1048506"/>
                    <a:gd name="connsiteX2543" fmla="*/ 783730 w 784555"/>
                    <a:gd name="connsiteY2543" fmla="*/ 35591 h 1048506"/>
                    <a:gd name="connsiteX2544" fmla="*/ 783632 w 784555"/>
                    <a:gd name="connsiteY2544" fmla="*/ 35227 h 1048506"/>
                    <a:gd name="connsiteX2545" fmla="*/ 781738 w 784555"/>
                    <a:gd name="connsiteY2545" fmla="*/ 28038 h 1048506"/>
                    <a:gd name="connsiteX2546" fmla="*/ 781641 w 784555"/>
                    <a:gd name="connsiteY2546" fmla="*/ 27698 h 1048506"/>
                    <a:gd name="connsiteX2547" fmla="*/ 781507 w 784555"/>
                    <a:gd name="connsiteY2547" fmla="*/ 27358 h 1048506"/>
                    <a:gd name="connsiteX2548" fmla="*/ 780196 w 784555"/>
                    <a:gd name="connsiteY2548" fmla="*/ 24067 h 1048506"/>
                    <a:gd name="connsiteX2549" fmla="*/ 778253 w 784555"/>
                    <a:gd name="connsiteY2549" fmla="*/ 19174 h 1048506"/>
                    <a:gd name="connsiteX2550" fmla="*/ 773141 w 784555"/>
                    <a:gd name="connsiteY2550" fmla="*/ 20412 h 1048506"/>
                    <a:gd name="connsiteX2551" fmla="*/ 770773 w 784555"/>
                    <a:gd name="connsiteY2551" fmla="*/ 20983 h 1048506"/>
                    <a:gd name="connsiteX2552" fmla="*/ 769134 w 784555"/>
                    <a:gd name="connsiteY2552" fmla="*/ 19999 h 1048506"/>
                    <a:gd name="connsiteX2553" fmla="*/ 770506 w 784555"/>
                    <a:gd name="connsiteY2553" fmla="*/ 13491 h 1048506"/>
                    <a:gd name="connsiteX2554" fmla="*/ 763524 w 784555"/>
                    <a:gd name="connsiteY2554" fmla="*/ 13029 h 1048506"/>
                    <a:gd name="connsiteX2555" fmla="*/ 762443 w 784555"/>
                    <a:gd name="connsiteY2555" fmla="*/ 12956 h 1048506"/>
                    <a:gd name="connsiteX2556" fmla="*/ 755971 w 784555"/>
                    <a:gd name="connsiteY2556" fmla="*/ 12532 h 1048506"/>
                    <a:gd name="connsiteX2557" fmla="*/ 755971 w 784555"/>
                    <a:gd name="connsiteY2557" fmla="*/ 15555 h 1048506"/>
                    <a:gd name="connsiteX2558" fmla="*/ 753943 w 784555"/>
                    <a:gd name="connsiteY2558" fmla="*/ 16490 h 1048506"/>
                    <a:gd name="connsiteX2559" fmla="*/ 751575 w 784555"/>
                    <a:gd name="connsiteY2559" fmla="*/ 16721 h 1048506"/>
                    <a:gd name="connsiteX2560" fmla="*/ 743209 w 784555"/>
                    <a:gd name="connsiteY2560" fmla="*/ 14863 h 1048506"/>
                    <a:gd name="connsiteX2561" fmla="*/ 742614 w 784555"/>
                    <a:gd name="connsiteY2561" fmla="*/ 14730 h 1048506"/>
                    <a:gd name="connsiteX2562" fmla="*/ 742006 w 784555"/>
                    <a:gd name="connsiteY2562" fmla="*/ 14717 h 1048506"/>
                    <a:gd name="connsiteX2563" fmla="*/ 739748 w 784555"/>
                    <a:gd name="connsiteY2563" fmla="*/ 14669 h 1048506"/>
                    <a:gd name="connsiteX2564" fmla="*/ 739894 w 784555"/>
                    <a:gd name="connsiteY2564" fmla="*/ 14086 h 1048506"/>
                    <a:gd name="connsiteX2565" fmla="*/ 739906 w 784555"/>
                    <a:gd name="connsiteY2565" fmla="*/ 13430 h 1048506"/>
                    <a:gd name="connsiteX2566" fmla="*/ 739966 w 784555"/>
                    <a:gd name="connsiteY2566" fmla="*/ 11427 h 1048506"/>
                    <a:gd name="connsiteX2567" fmla="*/ 740015 w 784555"/>
                    <a:gd name="connsiteY2567" fmla="*/ 9812 h 1048506"/>
                    <a:gd name="connsiteX2568" fmla="*/ 739262 w 784555"/>
                    <a:gd name="connsiteY2568" fmla="*/ 8391 h 1048506"/>
                    <a:gd name="connsiteX2569" fmla="*/ 738971 w 784555"/>
                    <a:gd name="connsiteY2569" fmla="*/ 7844 h 1048506"/>
                    <a:gd name="connsiteX2570" fmla="*/ 737331 w 784555"/>
                    <a:gd name="connsiteY2570" fmla="*/ 4772 h 1048506"/>
                    <a:gd name="connsiteX2571" fmla="*/ 733846 w 784555"/>
                    <a:gd name="connsiteY2571" fmla="*/ 4627 h 1048506"/>
                    <a:gd name="connsiteX2572" fmla="*/ 730458 w 784555"/>
                    <a:gd name="connsiteY2572" fmla="*/ 4493 h 1048506"/>
                    <a:gd name="connsiteX2573" fmla="*/ 729305 w 784555"/>
                    <a:gd name="connsiteY2573" fmla="*/ 3983 h 1048506"/>
                    <a:gd name="connsiteX2574" fmla="*/ 725723 w 784555"/>
                    <a:gd name="connsiteY2574" fmla="*/ 1469 h 1048506"/>
                    <a:gd name="connsiteX2575" fmla="*/ 724739 w 784555"/>
                    <a:gd name="connsiteY2575" fmla="*/ 777 h 1048506"/>
                    <a:gd name="connsiteX2576" fmla="*/ 723573 w 784555"/>
                    <a:gd name="connsiteY2576" fmla="*/ 522 h 1048506"/>
                    <a:gd name="connsiteX2577" fmla="*/ 722323 w 784555"/>
                    <a:gd name="connsiteY2577" fmla="*/ 243 h 1048506"/>
                    <a:gd name="connsiteX2578" fmla="*/ 720805 w 784555"/>
                    <a:gd name="connsiteY2578" fmla="*/ 0 h 1048506"/>
                    <a:gd name="connsiteX2579" fmla="*/ 720805 w 784555"/>
                    <a:gd name="connsiteY2579" fmla="*/ 0 h 1048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Lst>
                  <a:rect l="l" t="t" r="r" b="b"/>
                  <a:pathLst>
                    <a:path w="784555" h="1048506">
                      <a:moveTo>
                        <a:pt x="720902" y="6242"/>
                      </a:moveTo>
                      <a:lnTo>
                        <a:pt x="722153" y="6521"/>
                      </a:lnTo>
                      <a:lnTo>
                        <a:pt x="726233" y="9387"/>
                      </a:lnTo>
                      <a:lnTo>
                        <a:pt x="729001" y="10601"/>
                      </a:lnTo>
                      <a:lnTo>
                        <a:pt x="733531" y="10783"/>
                      </a:lnTo>
                      <a:lnTo>
                        <a:pt x="733822" y="11330"/>
                      </a:lnTo>
                      <a:lnTo>
                        <a:pt x="733761" y="13333"/>
                      </a:lnTo>
                      <a:lnTo>
                        <a:pt x="733531" y="14256"/>
                      </a:lnTo>
                      <a:lnTo>
                        <a:pt x="733130" y="15434"/>
                      </a:lnTo>
                      <a:lnTo>
                        <a:pt x="732098" y="17049"/>
                      </a:lnTo>
                      <a:lnTo>
                        <a:pt x="731806" y="17838"/>
                      </a:lnTo>
                      <a:lnTo>
                        <a:pt x="731527" y="18991"/>
                      </a:lnTo>
                      <a:lnTo>
                        <a:pt x="731466" y="20024"/>
                      </a:lnTo>
                      <a:lnTo>
                        <a:pt x="732377" y="20861"/>
                      </a:lnTo>
                      <a:lnTo>
                        <a:pt x="734150" y="21226"/>
                      </a:lnTo>
                      <a:lnTo>
                        <a:pt x="738752" y="20801"/>
                      </a:lnTo>
                      <a:lnTo>
                        <a:pt x="741800" y="20861"/>
                      </a:lnTo>
                      <a:lnTo>
                        <a:pt x="751101" y="22926"/>
                      </a:lnTo>
                      <a:lnTo>
                        <a:pt x="755461" y="22525"/>
                      </a:lnTo>
                      <a:lnTo>
                        <a:pt x="761775" y="19599"/>
                      </a:lnTo>
                      <a:lnTo>
                        <a:pt x="761957" y="19137"/>
                      </a:lnTo>
                      <a:lnTo>
                        <a:pt x="761957" y="19101"/>
                      </a:lnTo>
                      <a:lnTo>
                        <a:pt x="763038" y="19174"/>
                      </a:lnTo>
                      <a:lnTo>
                        <a:pt x="762358" y="22416"/>
                      </a:lnTo>
                      <a:lnTo>
                        <a:pt x="764714" y="24577"/>
                      </a:lnTo>
                      <a:lnTo>
                        <a:pt x="768150" y="26642"/>
                      </a:lnTo>
                      <a:lnTo>
                        <a:pt x="770737" y="29714"/>
                      </a:lnTo>
                      <a:lnTo>
                        <a:pt x="771708" y="27795"/>
                      </a:lnTo>
                      <a:lnTo>
                        <a:pt x="772012" y="27018"/>
                      </a:lnTo>
                      <a:lnTo>
                        <a:pt x="774477" y="26423"/>
                      </a:lnTo>
                      <a:lnTo>
                        <a:pt x="775788" y="29714"/>
                      </a:lnTo>
                      <a:lnTo>
                        <a:pt x="777682" y="36902"/>
                      </a:lnTo>
                      <a:lnTo>
                        <a:pt x="778374" y="41917"/>
                      </a:lnTo>
                      <a:lnTo>
                        <a:pt x="777974" y="47236"/>
                      </a:lnTo>
                      <a:lnTo>
                        <a:pt x="776250" y="56853"/>
                      </a:lnTo>
                      <a:lnTo>
                        <a:pt x="775849" y="62196"/>
                      </a:lnTo>
                      <a:lnTo>
                        <a:pt x="773894" y="61419"/>
                      </a:lnTo>
                      <a:lnTo>
                        <a:pt x="773141" y="60994"/>
                      </a:lnTo>
                      <a:lnTo>
                        <a:pt x="772801" y="64491"/>
                      </a:lnTo>
                      <a:lnTo>
                        <a:pt x="772012" y="67502"/>
                      </a:lnTo>
                      <a:lnTo>
                        <a:pt x="772862" y="67138"/>
                      </a:lnTo>
                      <a:lnTo>
                        <a:pt x="775849" y="66337"/>
                      </a:lnTo>
                      <a:lnTo>
                        <a:pt x="775570" y="70721"/>
                      </a:lnTo>
                      <a:lnTo>
                        <a:pt x="773954" y="74145"/>
                      </a:lnTo>
                      <a:lnTo>
                        <a:pt x="772012" y="77193"/>
                      </a:lnTo>
                      <a:lnTo>
                        <a:pt x="770737" y="80666"/>
                      </a:lnTo>
                      <a:lnTo>
                        <a:pt x="770737" y="82669"/>
                      </a:lnTo>
                      <a:lnTo>
                        <a:pt x="772012" y="88352"/>
                      </a:lnTo>
                      <a:lnTo>
                        <a:pt x="770907" y="90222"/>
                      </a:lnTo>
                      <a:lnTo>
                        <a:pt x="767470" y="93901"/>
                      </a:lnTo>
                      <a:lnTo>
                        <a:pt x="766778" y="95650"/>
                      </a:lnTo>
                      <a:lnTo>
                        <a:pt x="766195" y="102948"/>
                      </a:lnTo>
                      <a:lnTo>
                        <a:pt x="763621" y="116706"/>
                      </a:lnTo>
                      <a:lnTo>
                        <a:pt x="762516" y="139935"/>
                      </a:lnTo>
                      <a:lnTo>
                        <a:pt x="760342" y="153827"/>
                      </a:lnTo>
                      <a:lnTo>
                        <a:pt x="756954" y="163626"/>
                      </a:lnTo>
                      <a:lnTo>
                        <a:pt x="756032" y="170487"/>
                      </a:lnTo>
                      <a:lnTo>
                        <a:pt x="754842" y="173353"/>
                      </a:lnTo>
                      <a:lnTo>
                        <a:pt x="751381" y="178671"/>
                      </a:lnTo>
                      <a:lnTo>
                        <a:pt x="750009" y="182169"/>
                      </a:lnTo>
                      <a:lnTo>
                        <a:pt x="747884" y="191033"/>
                      </a:lnTo>
                      <a:lnTo>
                        <a:pt x="747544" y="194906"/>
                      </a:lnTo>
                      <a:lnTo>
                        <a:pt x="746851" y="197614"/>
                      </a:lnTo>
                      <a:lnTo>
                        <a:pt x="742431" y="208689"/>
                      </a:lnTo>
                      <a:lnTo>
                        <a:pt x="735886" y="219653"/>
                      </a:lnTo>
                      <a:lnTo>
                        <a:pt x="735085" y="222701"/>
                      </a:lnTo>
                      <a:lnTo>
                        <a:pt x="731175" y="230048"/>
                      </a:lnTo>
                      <a:lnTo>
                        <a:pt x="729511" y="232197"/>
                      </a:lnTo>
                      <a:lnTo>
                        <a:pt x="725079" y="234760"/>
                      </a:lnTo>
                      <a:lnTo>
                        <a:pt x="724399" y="235391"/>
                      </a:lnTo>
                      <a:lnTo>
                        <a:pt x="723950" y="235974"/>
                      </a:lnTo>
                      <a:lnTo>
                        <a:pt x="717963" y="246380"/>
                      </a:lnTo>
                      <a:lnTo>
                        <a:pt x="714126" y="250254"/>
                      </a:lnTo>
                      <a:lnTo>
                        <a:pt x="704193" y="255220"/>
                      </a:lnTo>
                      <a:lnTo>
                        <a:pt x="702639" y="257540"/>
                      </a:lnTo>
                      <a:lnTo>
                        <a:pt x="704351" y="258341"/>
                      </a:lnTo>
                      <a:lnTo>
                        <a:pt x="708273" y="256641"/>
                      </a:lnTo>
                      <a:lnTo>
                        <a:pt x="714126" y="252962"/>
                      </a:lnTo>
                      <a:lnTo>
                        <a:pt x="703319" y="269731"/>
                      </a:lnTo>
                      <a:lnTo>
                        <a:pt x="700684" y="272572"/>
                      </a:lnTo>
                      <a:lnTo>
                        <a:pt x="699543" y="274260"/>
                      </a:lnTo>
                      <a:lnTo>
                        <a:pt x="693848" y="285893"/>
                      </a:lnTo>
                      <a:lnTo>
                        <a:pt x="688796" y="291843"/>
                      </a:lnTo>
                      <a:lnTo>
                        <a:pt x="687254" y="294770"/>
                      </a:lnTo>
                      <a:lnTo>
                        <a:pt x="687023" y="296773"/>
                      </a:lnTo>
                      <a:lnTo>
                        <a:pt x="687254" y="303136"/>
                      </a:lnTo>
                      <a:lnTo>
                        <a:pt x="686841" y="304144"/>
                      </a:lnTo>
                      <a:lnTo>
                        <a:pt x="685068" y="306731"/>
                      </a:lnTo>
                      <a:lnTo>
                        <a:pt x="684959" y="307483"/>
                      </a:lnTo>
                      <a:lnTo>
                        <a:pt x="684838" y="307520"/>
                      </a:lnTo>
                      <a:lnTo>
                        <a:pt x="680478" y="309013"/>
                      </a:lnTo>
                      <a:lnTo>
                        <a:pt x="677770" y="311078"/>
                      </a:lnTo>
                      <a:lnTo>
                        <a:pt x="673982" y="314781"/>
                      </a:lnTo>
                      <a:lnTo>
                        <a:pt x="672658" y="315413"/>
                      </a:lnTo>
                      <a:lnTo>
                        <a:pt x="671456" y="315291"/>
                      </a:lnTo>
                      <a:lnTo>
                        <a:pt x="670254" y="313834"/>
                      </a:lnTo>
                      <a:lnTo>
                        <a:pt x="669501" y="313166"/>
                      </a:lnTo>
                      <a:lnTo>
                        <a:pt x="667728" y="312110"/>
                      </a:lnTo>
                      <a:lnTo>
                        <a:pt x="667097" y="311527"/>
                      </a:lnTo>
                      <a:lnTo>
                        <a:pt x="666842" y="310762"/>
                      </a:lnTo>
                      <a:lnTo>
                        <a:pt x="667145" y="309876"/>
                      </a:lnTo>
                      <a:lnTo>
                        <a:pt x="669659" y="307144"/>
                      </a:lnTo>
                      <a:lnTo>
                        <a:pt x="670181" y="306342"/>
                      </a:lnTo>
                      <a:lnTo>
                        <a:pt x="670521" y="305286"/>
                      </a:lnTo>
                      <a:lnTo>
                        <a:pt x="670521" y="304302"/>
                      </a:lnTo>
                      <a:lnTo>
                        <a:pt x="669719" y="303245"/>
                      </a:lnTo>
                      <a:lnTo>
                        <a:pt x="668287" y="303124"/>
                      </a:lnTo>
                      <a:lnTo>
                        <a:pt x="662725" y="304096"/>
                      </a:lnTo>
                      <a:lnTo>
                        <a:pt x="660819" y="303792"/>
                      </a:lnTo>
                      <a:lnTo>
                        <a:pt x="659265" y="302663"/>
                      </a:lnTo>
                      <a:lnTo>
                        <a:pt x="658184" y="300999"/>
                      </a:lnTo>
                      <a:lnTo>
                        <a:pt x="656642" y="299129"/>
                      </a:lnTo>
                      <a:lnTo>
                        <a:pt x="655476" y="298583"/>
                      </a:lnTo>
                      <a:lnTo>
                        <a:pt x="654626" y="298704"/>
                      </a:lnTo>
                      <a:lnTo>
                        <a:pt x="654395" y="298886"/>
                      </a:lnTo>
                      <a:lnTo>
                        <a:pt x="654274" y="298995"/>
                      </a:lnTo>
                      <a:lnTo>
                        <a:pt x="652440" y="301096"/>
                      </a:lnTo>
                      <a:lnTo>
                        <a:pt x="651639" y="302335"/>
                      </a:lnTo>
                      <a:lnTo>
                        <a:pt x="651408" y="303573"/>
                      </a:lnTo>
                      <a:lnTo>
                        <a:pt x="651748" y="304752"/>
                      </a:lnTo>
                      <a:lnTo>
                        <a:pt x="655148" y="307799"/>
                      </a:lnTo>
                      <a:lnTo>
                        <a:pt x="655658" y="309013"/>
                      </a:lnTo>
                      <a:lnTo>
                        <a:pt x="655767" y="309900"/>
                      </a:lnTo>
                      <a:lnTo>
                        <a:pt x="655658" y="311066"/>
                      </a:lnTo>
                      <a:lnTo>
                        <a:pt x="655658" y="312292"/>
                      </a:lnTo>
                      <a:lnTo>
                        <a:pt x="655889" y="313264"/>
                      </a:lnTo>
                      <a:lnTo>
                        <a:pt x="656520" y="314065"/>
                      </a:lnTo>
                      <a:lnTo>
                        <a:pt x="657953" y="314636"/>
                      </a:lnTo>
                      <a:lnTo>
                        <a:pt x="658585" y="315328"/>
                      </a:lnTo>
                      <a:lnTo>
                        <a:pt x="658925" y="317003"/>
                      </a:lnTo>
                      <a:lnTo>
                        <a:pt x="658925" y="318728"/>
                      </a:lnTo>
                      <a:lnTo>
                        <a:pt x="658463" y="320561"/>
                      </a:lnTo>
                      <a:lnTo>
                        <a:pt x="657892" y="321994"/>
                      </a:lnTo>
                      <a:lnTo>
                        <a:pt x="656860" y="323913"/>
                      </a:lnTo>
                      <a:lnTo>
                        <a:pt x="656860" y="325176"/>
                      </a:lnTo>
                      <a:lnTo>
                        <a:pt x="657431" y="325977"/>
                      </a:lnTo>
                      <a:lnTo>
                        <a:pt x="658463" y="326232"/>
                      </a:lnTo>
                      <a:lnTo>
                        <a:pt x="659568" y="326645"/>
                      </a:lnTo>
                      <a:lnTo>
                        <a:pt x="660418" y="327264"/>
                      </a:lnTo>
                      <a:lnTo>
                        <a:pt x="661972" y="329110"/>
                      </a:lnTo>
                      <a:lnTo>
                        <a:pt x="662786" y="329596"/>
                      </a:lnTo>
                      <a:lnTo>
                        <a:pt x="663575" y="329741"/>
                      </a:lnTo>
                      <a:lnTo>
                        <a:pt x="664547" y="329560"/>
                      </a:lnTo>
                      <a:lnTo>
                        <a:pt x="665470" y="329560"/>
                      </a:lnTo>
                      <a:lnTo>
                        <a:pt x="666392" y="329741"/>
                      </a:lnTo>
                      <a:lnTo>
                        <a:pt x="667364" y="330082"/>
                      </a:lnTo>
                      <a:lnTo>
                        <a:pt x="671335" y="330883"/>
                      </a:lnTo>
                      <a:lnTo>
                        <a:pt x="676386" y="330786"/>
                      </a:lnTo>
                      <a:lnTo>
                        <a:pt x="677649" y="330762"/>
                      </a:lnTo>
                      <a:lnTo>
                        <a:pt x="676216" y="337768"/>
                      </a:lnTo>
                      <a:lnTo>
                        <a:pt x="674261" y="339286"/>
                      </a:lnTo>
                      <a:lnTo>
                        <a:pt x="672998" y="342880"/>
                      </a:lnTo>
                      <a:lnTo>
                        <a:pt x="669428" y="361046"/>
                      </a:lnTo>
                      <a:lnTo>
                        <a:pt x="668809" y="368514"/>
                      </a:lnTo>
                      <a:lnTo>
                        <a:pt x="667024" y="375605"/>
                      </a:lnTo>
                      <a:lnTo>
                        <a:pt x="666623" y="379418"/>
                      </a:lnTo>
                      <a:lnTo>
                        <a:pt x="667655" y="387165"/>
                      </a:lnTo>
                      <a:lnTo>
                        <a:pt x="672015" y="400656"/>
                      </a:lnTo>
                      <a:lnTo>
                        <a:pt x="672998" y="408039"/>
                      </a:lnTo>
                      <a:lnTo>
                        <a:pt x="674322" y="408039"/>
                      </a:lnTo>
                      <a:lnTo>
                        <a:pt x="675123" y="406400"/>
                      </a:lnTo>
                      <a:lnTo>
                        <a:pt x="675463" y="404991"/>
                      </a:lnTo>
                      <a:lnTo>
                        <a:pt x="675172" y="403838"/>
                      </a:lnTo>
                      <a:lnTo>
                        <a:pt x="674322" y="402866"/>
                      </a:lnTo>
                      <a:lnTo>
                        <a:pt x="677370" y="403267"/>
                      </a:lnTo>
                      <a:lnTo>
                        <a:pt x="678742" y="404846"/>
                      </a:lnTo>
                      <a:lnTo>
                        <a:pt x="679774" y="414718"/>
                      </a:lnTo>
                      <a:lnTo>
                        <a:pt x="679252" y="416527"/>
                      </a:lnTo>
                      <a:lnTo>
                        <a:pt x="677588" y="417013"/>
                      </a:lnTo>
                      <a:lnTo>
                        <a:pt x="672367" y="417013"/>
                      </a:lnTo>
                      <a:lnTo>
                        <a:pt x="671152" y="416758"/>
                      </a:lnTo>
                      <a:lnTo>
                        <a:pt x="669890" y="416636"/>
                      </a:lnTo>
                      <a:lnTo>
                        <a:pt x="667886" y="417122"/>
                      </a:lnTo>
                      <a:lnTo>
                        <a:pt x="666222" y="418009"/>
                      </a:lnTo>
                      <a:lnTo>
                        <a:pt x="664437" y="419393"/>
                      </a:lnTo>
                      <a:lnTo>
                        <a:pt x="653934" y="429702"/>
                      </a:lnTo>
                      <a:lnTo>
                        <a:pt x="652440" y="432689"/>
                      </a:lnTo>
                      <a:lnTo>
                        <a:pt x="653703" y="432689"/>
                      </a:lnTo>
                      <a:lnTo>
                        <a:pt x="656180" y="431366"/>
                      </a:lnTo>
                      <a:lnTo>
                        <a:pt x="664790" y="425246"/>
                      </a:lnTo>
                      <a:lnTo>
                        <a:pt x="666623" y="424311"/>
                      </a:lnTo>
                      <a:lnTo>
                        <a:pt x="667995" y="420923"/>
                      </a:lnTo>
                      <a:lnTo>
                        <a:pt x="671213" y="420060"/>
                      </a:lnTo>
                      <a:lnTo>
                        <a:pt x="675062" y="420814"/>
                      </a:lnTo>
                      <a:lnTo>
                        <a:pt x="680053" y="423169"/>
                      </a:lnTo>
                      <a:lnTo>
                        <a:pt x="681267" y="423254"/>
                      </a:lnTo>
                      <a:lnTo>
                        <a:pt x="681838" y="424056"/>
                      </a:lnTo>
                      <a:lnTo>
                        <a:pt x="682178" y="438870"/>
                      </a:lnTo>
                      <a:lnTo>
                        <a:pt x="686040" y="458627"/>
                      </a:lnTo>
                      <a:lnTo>
                        <a:pt x="685457" y="487648"/>
                      </a:lnTo>
                      <a:lnTo>
                        <a:pt x="684364" y="492797"/>
                      </a:lnTo>
                      <a:lnTo>
                        <a:pt x="680284" y="491874"/>
                      </a:lnTo>
                      <a:lnTo>
                        <a:pt x="676787" y="491728"/>
                      </a:lnTo>
                      <a:lnTo>
                        <a:pt x="673751" y="493538"/>
                      </a:lnTo>
                      <a:lnTo>
                        <a:pt x="672828" y="494485"/>
                      </a:lnTo>
                      <a:lnTo>
                        <a:pt x="671395" y="494303"/>
                      </a:lnTo>
                      <a:lnTo>
                        <a:pt x="667716" y="492639"/>
                      </a:lnTo>
                      <a:lnTo>
                        <a:pt x="663915" y="491570"/>
                      </a:lnTo>
                      <a:lnTo>
                        <a:pt x="662665" y="492153"/>
                      </a:lnTo>
                      <a:lnTo>
                        <a:pt x="662264" y="493489"/>
                      </a:lnTo>
                      <a:lnTo>
                        <a:pt x="663126" y="494448"/>
                      </a:lnTo>
                      <a:lnTo>
                        <a:pt x="664316" y="494983"/>
                      </a:lnTo>
                      <a:lnTo>
                        <a:pt x="665008" y="496634"/>
                      </a:lnTo>
                      <a:lnTo>
                        <a:pt x="665190" y="499099"/>
                      </a:lnTo>
                      <a:lnTo>
                        <a:pt x="664959" y="499609"/>
                      </a:lnTo>
                      <a:lnTo>
                        <a:pt x="663915" y="500010"/>
                      </a:lnTo>
                      <a:lnTo>
                        <a:pt x="663005" y="500131"/>
                      </a:lnTo>
                      <a:lnTo>
                        <a:pt x="660770" y="498128"/>
                      </a:lnTo>
                      <a:lnTo>
                        <a:pt x="657832" y="498140"/>
                      </a:lnTo>
                      <a:lnTo>
                        <a:pt x="657662" y="499670"/>
                      </a:lnTo>
                      <a:lnTo>
                        <a:pt x="658754" y="500884"/>
                      </a:lnTo>
                      <a:lnTo>
                        <a:pt x="660139" y="501248"/>
                      </a:lnTo>
                      <a:lnTo>
                        <a:pt x="659568" y="502426"/>
                      </a:lnTo>
                      <a:lnTo>
                        <a:pt x="658014" y="503896"/>
                      </a:lnTo>
                      <a:lnTo>
                        <a:pt x="657892" y="505960"/>
                      </a:lnTo>
                      <a:lnTo>
                        <a:pt x="659216" y="507223"/>
                      </a:lnTo>
                      <a:lnTo>
                        <a:pt x="660819" y="507988"/>
                      </a:lnTo>
                      <a:lnTo>
                        <a:pt x="662725" y="508024"/>
                      </a:lnTo>
                      <a:lnTo>
                        <a:pt x="664377" y="508740"/>
                      </a:lnTo>
                      <a:lnTo>
                        <a:pt x="664959" y="510501"/>
                      </a:lnTo>
                      <a:lnTo>
                        <a:pt x="666283" y="511072"/>
                      </a:lnTo>
                      <a:lnTo>
                        <a:pt x="667934" y="510100"/>
                      </a:lnTo>
                      <a:lnTo>
                        <a:pt x="669489" y="510137"/>
                      </a:lnTo>
                      <a:lnTo>
                        <a:pt x="670181" y="510732"/>
                      </a:lnTo>
                      <a:lnTo>
                        <a:pt x="670460" y="511594"/>
                      </a:lnTo>
                      <a:lnTo>
                        <a:pt x="670302" y="512590"/>
                      </a:lnTo>
                      <a:lnTo>
                        <a:pt x="670825" y="513294"/>
                      </a:lnTo>
                      <a:lnTo>
                        <a:pt x="672646" y="512687"/>
                      </a:lnTo>
                      <a:lnTo>
                        <a:pt x="673751" y="512748"/>
                      </a:lnTo>
                      <a:lnTo>
                        <a:pt x="674783" y="512978"/>
                      </a:lnTo>
                      <a:lnTo>
                        <a:pt x="676155" y="513500"/>
                      </a:lnTo>
                      <a:lnTo>
                        <a:pt x="676265" y="514557"/>
                      </a:lnTo>
                      <a:lnTo>
                        <a:pt x="674783" y="515820"/>
                      </a:lnTo>
                      <a:lnTo>
                        <a:pt x="674941" y="516597"/>
                      </a:lnTo>
                      <a:lnTo>
                        <a:pt x="675293" y="517289"/>
                      </a:lnTo>
                      <a:lnTo>
                        <a:pt x="674382" y="518382"/>
                      </a:lnTo>
                      <a:lnTo>
                        <a:pt x="675172" y="520143"/>
                      </a:lnTo>
                      <a:lnTo>
                        <a:pt x="677005" y="521175"/>
                      </a:lnTo>
                      <a:lnTo>
                        <a:pt x="678098" y="521940"/>
                      </a:lnTo>
                      <a:lnTo>
                        <a:pt x="678402" y="523385"/>
                      </a:lnTo>
                      <a:lnTo>
                        <a:pt x="683150" y="525207"/>
                      </a:lnTo>
                      <a:lnTo>
                        <a:pt x="684546" y="525121"/>
                      </a:lnTo>
                      <a:lnTo>
                        <a:pt x="685007" y="535431"/>
                      </a:lnTo>
                      <a:lnTo>
                        <a:pt x="685056" y="566359"/>
                      </a:lnTo>
                      <a:lnTo>
                        <a:pt x="686829" y="574082"/>
                      </a:lnTo>
                      <a:lnTo>
                        <a:pt x="687582" y="606807"/>
                      </a:lnTo>
                      <a:lnTo>
                        <a:pt x="686258" y="623006"/>
                      </a:lnTo>
                      <a:lnTo>
                        <a:pt x="685287" y="625094"/>
                      </a:lnTo>
                      <a:lnTo>
                        <a:pt x="682069" y="625762"/>
                      </a:lnTo>
                      <a:lnTo>
                        <a:pt x="678402" y="626976"/>
                      </a:lnTo>
                      <a:lnTo>
                        <a:pt x="674722" y="627584"/>
                      </a:lnTo>
                      <a:lnTo>
                        <a:pt x="671614" y="626430"/>
                      </a:lnTo>
                      <a:lnTo>
                        <a:pt x="671905" y="622374"/>
                      </a:lnTo>
                      <a:lnTo>
                        <a:pt x="667594" y="620031"/>
                      </a:lnTo>
                      <a:lnTo>
                        <a:pt x="644341" y="616327"/>
                      </a:lnTo>
                      <a:lnTo>
                        <a:pt x="642094" y="617153"/>
                      </a:lnTo>
                      <a:lnTo>
                        <a:pt x="640783" y="619934"/>
                      </a:lnTo>
                      <a:lnTo>
                        <a:pt x="643831" y="619751"/>
                      </a:lnTo>
                      <a:lnTo>
                        <a:pt x="646866" y="619909"/>
                      </a:lnTo>
                      <a:lnTo>
                        <a:pt x="649684" y="620395"/>
                      </a:lnTo>
                      <a:lnTo>
                        <a:pt x="652440" y="621221"/>
                      </a:lnTo>
                      <a:lnTo>
                        <a:pt x="653994" y="621974"/>
                      </a:lnTo>
                      <a:lnTo>
                        <a:pt x="655889" y="623321"/>
                      </a:lnTo>
                      <a:lnTo>
                        <a:pt x="657552" y="623807"/>
                      </a:lnTo>
                      <a:lnTo>
                        <a:pt x="662665" y="623807"/>
                      </a:lnTo>
                      <a:lnTo>
                        <a:pt x="667934" y="625082"/>
                      </a:lnTo>
                      <a:lnTo>
                        <a:pt x="670703" y="626734"/>
                      </a:lnTo>
                      <a:lnTo>
                        <a:pt x="670460" y="629004"/>
                      </a:lnTo>
                      <a:lnTo>
                        <a:pt x="668129" y="629648"/>
                      </a:lnTo>
                      <a:lnTo>
                        <a:pt x="634420" y="622496"/>
                      </a:lnTo>
                      <a:lnTo>
                        <a:pt x="631263" y="622253"/>
                      </a:lnTo>
                      <a:lnTo>
                        <a:pt x="629988" y="621974"/>
                      </a:lnTo>
                      <a:lnTo>
                        <a:pt x="629247" y="621208"/>
                      </a:lnTo>
                      <a:lnTo>
                        <a:pt x="629077" y="619193"/>
                      </a:lnTo>
                      <a:lnTo>
                        <a:pt x="630049" y="618658"/>
                      </a:lnTo>
                      <a:lnTo>
                        <a:pt x="631603" y="618731"/>
                      </a:lnTo>
                      <a:lnTo>
                        <a:pt x="633218" y="618501"/>
                      </a:lnTo>
                      <a:lnTo>
                        <a:pt x="638901" y="616218"/>
                      </a:lnTo>
                      <a:lnTo>
                        <a:pt x="639484" y="614894"/>
                      </a:lnTo>
                      <a:lnTo>
                        <a:pt x="635683" y="613461"/>
                      </a:lnTo>
                      <a:lnTo>
                        <a:pt x="632064" y="614930"/>
                      </a:lnTo>
                      <a:lnTo>
                        <a:pt x="624718" y="614469"/>
                      </a:lnTo>
                      <a:lnTo>
                        <a:pt x="625398" y="616048"/>
                      </a:lnTo>
                      <a:lnTo>
                        <a:pt x="625398" y="617335"/>
                      </a:lnTo>
                      <a:lnTo>
                        <a:pt x="621500" y="618574"/>
                      </a:lnTo>
                      <a:lnTo>
                        <a:pt x="611798" y="620152"/>
                      </a:lnTo>
                      <a:lnTo>
                        <a:pt x="607608" y="619921"/>
                      </a:lnTo>
                      <a:lnTo>
                        <a:pt x="602836" y="617736"/>
                      </a:lnTo>
                      <a:lnTo>
                        <a:pt x="600250" y="617043"/>
                      </a:lnTo>
                      <a:lnTo>
                        <a:pt x="597906" y="617894"/>
                      </a:lnTo>
                      <a:lnTo>
                        <a:pt x="593826" y="621342"/>
                      </a:lnTo>
                      <a:lnTo>
                        <a:pt x="582800" y="627742"/>
                      </a:lnTo>
                      <a:lnTo>
                        <a:pt x="579242" y="630631"/>
                      </a:lnTo>
                      <a:lnTo>
                        <a:pt x="576656" y="634129"/>
                      </a:lnTo>
                      <a:lnTo>
                        <a:pt x="576304" y="636241"/>
                      </a:lnTo>
                      <a:lnTo>
                        <a:pt x="576365" y="638852"/>
                      </a:lnTo>
                      <a:lnTo>
                        <a:pt x="576073" y="641062"/>
                      </a:lnTo>
                      <a:lnTo>
                        <a:pt x="574762" y="642009"/>
                      </a:lnTo>
                      <a:lnTo>
                        <a:pt x="572175" y="642702"/>
                      </a:lnTo>
                      <a:lnTo>
                        <a:pt x="570633" y="644511"/>
                      </a:lnTo>
                      <a:lnTo>
                        <a:pt x="569941" y="647000"/>
                      </a:lnTo>
                      <a:lnTo>
                        <a:pt x="570172" y="649769"/>
                      </a:lnTo>
                      <a:lnTo>
                        <a:pt x="571422" y="662458"/>
                      </a:lnTo>
                      <a:lnTo>
                        <a:pt x="573256" y="668274"/>
                      </a:lnTo>
                      <a:lnTo>
                        <a:pt x="577919" y="671747"/>
                      </a:lnTo>
                      <a:lnTo>
                        <a:pt x="570730" y="676556"/>
                      </a:lnTo>
                      <a:lnTo>
                        <a:pt x="563153" y="684194"/>
                      </a:lnTo>
                      <a:lnTo>
                        <a:pt x="552188" y="699142"/>
                      </a:lnTo>
                      <a:lnTo>
                        <a:pt x="548351" y="706901"/>
                      </a:lnTo>
                      <a:lnTo>
                        <a:pt x="545011" y="710714"/>
                      </a:lnTo>
                      <a:lnTo>
                        <a:pt x="544489" y="711479"/>
                      </a:lnTo>
                      <a:lnTo>
                        <a:pt x="543239" y="715960"/>
                      </a:lnTo>
                      <a:lnTo>
                        <a:pt x="540191" y="719773"/>
                      </a:lnTo>
                      <a:lnTo>
                        <a:pt x="532893" y="726391"/>
                      </a:lnTo>
                      <a:lnTo>
                        <a:pt x="521988" y="741533"/>
                      </a:lnTo>
                      <a:lnTo>
                        <a:pt x="521819" y="743172"/>
                      </a:lnTo>
                      <a:lnTo>
                        <a:pt x="521879" y="744982"/>
                      </a:lnTo>
                      <a:lnTo>
                        <a:pt x="521357" y="747070"/>
                      </a:lnTo>
                      <a:lnTo>
                        <a:pt x="520495" y="748333"/>
                      </a:lnTo>
                      <a:lnTo>
                        <a:pt x="518491" y="749972"/>
                      </a:lnTo>
                      <a:lnTo>
                        <a:pt x="517508" y="750944"/>
                      </a:lnTo>
                      <a:lnTo>
                        <a:pt x="515735" y="753724"/>
                      </a:lnTo>
                      <a:lnTo>
                        <a:pt x="514011" y="757355"/>
                      </a:lnTo>
                      <a:lnTo>
                        <a:pt x="512748" y="761520"/>
                      </a:lnTo>
                      <a:lnTo>
                        <a:pt x="511594" y="770627"/>
                      </a:lnTo>
                      <a:lnTo>
                        <a:pt x="509299" y="778059"/>
                      </a:lnTo>
                      <a:lnTo>
                        <a:pt x="509700" y="782078"/>
                      </a:lnTo>
                      <a:lnTo>
                        <a:pt x="513088" y="788987"/>
                      </a:lnTo>
                      <a:lnTo>
                        <a:pt x="518030" y="794962"/>
                      </a:lnTo>
                      <a:lnTo>
                        <a:pt x="533075" y="808258"/>
                      </a:lnTo>
                      <a:lnTo>
                        <a:pt x="539620" y="811039"/>
                      </a:lnTo>
                      <a:lnTo>
                        <a:pt x="547258" y="812678"/>
                      </a:lnTo>
                      <a:lnTo>
                        <a:pt x="572807" y="813188"/>
                      </a:lnTo>
                      <a:lnTo>
                        <a:pt x="576935" y="811646"/>
                      </a:lnTo>
                      <a:lnTo>
                        <a:pt x="581307" y="808623"/>
                      </a:lnTo>
                      <a:lnTo>
                        <a:pt x="585618" y="806619"/>
                      </a:lnTo>
                      <a:lnTo>
                        <a:pt x="589564" y="808028"/>
                      </a:lnTo>
                      <a:lnTo>
                        <a:pt x="590438" y="809776"/>
                      </a:lnTo>
                      <a:lnTo>
                        <a:pt x="589867" y="811209"/>
                      </a:lnTo>
                      <a:lnTo>
                        <a:pt x="588775" y="812824"/>
                      </a:lnTo>
                      <a:lnTo>
                        <a:pt x="588192" y="815119"/>
                      </a:lnTo>
                      <a:lnTo>
                        <a:pt x="588544" y="817122"/>
                      </a:lnTo>
                      <a:lnTo>
                        <a:pt x="589455" y="818410"/>
                      </a:lnTo>
                      <a:lnTo>
                        <a:pt x="590317" y="819357"/>
                      </a:lnTo>
                      <a:lnTo>
                        <a:pt x="590730" y="820425"/>
                      </a:lnTo>
                      <a:lnTo>
                        <a:pt x="591932" y="822198"/>
                      </a:lnTo>
                      <a:lnTo>
                        <a:pt x="594628" y="824688"/>
                      </a:lnTo>
                      <a:lnTo>
                        <a:pt x="607778" y="834402"/>
                      </a:lnTo>
                      <a:lnTo>
                        <a:pt x="610705" y="837669"/>
                      </a:lnTo>
                      <a:lnTo>
                        <a:pt x="608167" y="839113"/>
                      </a:lnTo>
                      <a:lnTo>
                        <a:pt x="605131" y="837669"/>
                      </a:lnTo>
                      <a:lnTo>
                        <a:pt x="593304" y="827396"/>
                      </a:lnTo>
                      <a:lnTo>
                        <a:pt x="580493" y="820425"/>
                      </a:lnTo>
                      <a:lnTo>
                        <a:pt x="569200" y="818981"/>
                      </a:lnTo>
                      <a:lnTo>
                        <a:pt x="566262" y="817183"/>
                      </a:lnTo>
                      <a:lnTo>
                        <a:pt x="563275" y="817353"/>
                      </a:lnTo>
                      <a:lnTo>
                        <a:pt x="560117" y="816358"/>
                      </a:lnTo>
                      <a:lnTo>
                        <a:pt x="556608" y="815896"/>
                      </a:lnTo>
                      <a:lnTo>
                        <a:pt x="549844" y="819284"/>
                      </a:lnTo>
                      <a:lnTo>
                        <a:pt x="544089" y="819102"/>
                      </a:lnTo>
                      <a:lnTo>
                        <a:pt x="541964" y="819770"/>
                      </a:lnTo>
                      <a:lnTo>
                        <a:pt x="536973" y="817730"/>
                      </a:lnTo>
                      <a:lnTo>
                        <a:pt x="530428" y="815969"/>
                      </a:lnTo>
                      <a:lnTo>
                        <a:pt x="523543" y="815119"/>
                      </a:lnTo>
                      <a:lnTo>
                        <a:pt x="517508" y="815775"/>
                      </a:lnTo>
                      <a:lnTo>
                        <a:pt x="516026" y="816600"/>
                      </a:lnTo>
                      <a:lnTo>
                        <a:pt x="512286" y="819770"/>
                      </a:lnTo>
                      <a:lnTo>
                        <a:pt x="510331" y="820170"/>
                      </a:lnTo>
                      <a:lnTo>
                        <a:pt x="508959" y="820073"/>
                      </a:lnTo>
                      <a:lnTo>
                        <a:pt x="507696" y="819794"/>
                      </a:lnTo>
                      <a:lnTo>
                        <a:pt x="506020" y="819770"/>
                      </a:lnTo>
                      <a:lnTo>
                        <a:pt x="499536" y="820680"/>
                      </a:lnTo>
                      <a:lnTo>
                        <a:pt x="496331" y="821603"/>
                      </a:lnTo>
                      <a:lnTo>
                        <a:pt x="490915" y="824542"/>
                      </a:lnTo>
                      <a:lnTo>
                        <a:pt x="483799" y="826254"/>
                      </a:lnTo>
                      <a:lnTo>
                        <a:pt x="480872" y="828076"/>
                      </a:lnTo>
                      <a:lnTo>
                        <a:pt x="479100" y="829812"/>
                      </a:lnTo>
                      <a:lnTo>
                        <a:pt x="476975" y="831281"/>
                      </a:lnTo>
                      <a:lnTo>
                        <a:pt x="474570" y="832313"/>
                      </a:lnTo>
                      <a:lnTo>
                        <a:pt x="464856" y="832920"/>
                      </a:lnTo>
                      <a:lnTo>
                        <a:pt x="462100" y="834232"/>
                      </a:lnTo>
                      <a:lnTo>
                        <a:pt x="460897" y="837183"/>
                      </a:lnTo>
                      <a:lnTo>
                        <a:pt x="459744" y="839113"/>
                      </a:lnTo>
                      <a:lnTo>
                        <a:pt x="457097" y="840389"/>
                      </a:lnTo>
                      <a:lnTo>
                        <a:pt x="454122" y="841166"/>
                      </a:lnTo>
                      <a:lnTo>
                        <a:pt x="429131" y="844117"/>
                      </a:lnTo>
                      <a:lnTo>
                        <a:pt x="422429" y="845671"/>
                      </a:lnTo>
                      <a:lnTo>
                        <a:pt x="415361" y="848864"/>
                      </a:lnTo>
                      <a:lnTo>
                        <a:pt x="408816" y="853090"/>
                      </a:lnTo>
                      <a:lnTo>
                        <a:pt x="383025" y="874243"/>
                      </a:lnTo>
                      <a:lnTo>
                        <a:pt x="378848" y="879270"/>
                      </a:lnTo>
                      <a:lnTo>
                        <a:pt x="372351" y="890952"/>
                      </a:lnTo>
                      <a:lnTo>
                        <a:pt x="371428" y="893999"/>
                      </a:lnTo>
                      <a:lnTo>
                        <a:pt x="370748" y="906604"/>
                      </a:lnTo>
                      <a:lnTo>
                        <a:pt x="369995" y="910854"/>
                      </a:lnTo>
                      <a:lnTo>
                        <a:pt x="368502" y="914327"/>
                      </a:lnTo>
                      <a:lnTo>
                        <a:pt x="371028" y="912384"/>
                      </a:lnTo>
                      <a:lnTo>
                        <a:pt x="373432" y="912068"/>
                      </a:lnTo>
                      <a:lnTo>
                        <a:pt x="375618" y="911291"/>
                      </a:lnTo>
                      <a:lnTo>
                        <a:pt x="377451" y="907758"/>
                      </a:lnTo>
                      <a:lnTo>
                        <a:pt x="378374" y="912068"/>
                      </a:lnTo>
                      <a:lnTo>
                        <a:pt x="376431" y="914351"/>
                      </a:lnTo>
                      <a:lnTo>
                        <a:pt x="373031" y="915942"/>
                      </a:lnTo>
                      <a:lnTo>
                        <a:pt x="369777" y="918091"/>
                      </a:lnTo>
                      <a:lnTo>
                        <a:pt x="368963" y="919439"/>
                      </a:lnTo>
                      <a:lnTo>
                        <a:pt x="367130" y="924636"/>
                      </a:lnTo>
                      <a:lnTo>
                        <a:pt x="364361" y="928109"/>
                      </a:lnTo>
                      <a:lnTo>
                        <a:pt x="363681" y="930125"/>
                      </a:lnTo>
                      <a:lnTo>
                        <a:pt x="364774" y="932396"/>
                      </a:lnTo>
                      <a:lnTo>
                        <a:pt x="359540" y="932396"/>
                      </a:lnTo>
                      <a:lnTo>
                        <a:pt x="363438" y="938455"/>
                      </a:lnTo>
                      <a:lnTo>
                        <a:pt x="364713" y="944660"/>
                      </a:lnTo>
                      <a:lnTo>
                        <a:pt x="362066" y="964501"/>
                      </a:lnTo>
                      <a:lnTo>
                        <a:pt x="361155" y="966481"/>
                      </a:lnTo>
                      <a:lnTo>
                        <a:pt x="359540" y="968630"/>
                      </a:lnTo>
                      <a:lnTo>
                        <a:pt x="354367" y="973475"/>
                      </a:lnTo>
                      <a:lnTo>
                        <a:pt x="352995" y="975090"/>
                      </a:lnTo>
                      <a:lnTo>
                        <a:pt x="349777" y="986176"/>
                      </a:lnTo>
                      <a:lnTo>
                        <a:pt x="348527" y="987961"/>
                      </a:lnTo>
                      <a:lnTo>
                        <a:pt x="345297" y="988496"/>
                      </a:lnTo>
                      <a:lnTo>
                        <a:pt x="337999" y="991508"/>
                      </a:lnTo>
                      <a:lnTo>
                        <a:pt x="301667" y="1013474"/>
                      </a:lnTo>
                      <a:lnTo>
                        <a:pt x="299311" y="1016012"/>
                      </a:lnTo>
                      <a:lnTo>
                        <a:pt x="294600" y="1022363"/>
                      </a:lnTo>
                      <a:lnTo>
                        <a:pt x="291613" y="1023832"/>
                      </a:lnTo>
                      <a:lnTo>
                        <a:pt x="271225" y="1027256"/>
                      </a:lnTo>
                      <a:lnTo>
                        <a:pt x="262093" y="1030377"/>
                      </a:lnTo>
                      <a:lnTo>
                        <a:pt x="255730" y="1035003"/>
                      </a:lnTo>
                      <a:lnTo>
                        <a:pt x="256520" y="1041063"/>
                      </a:lnTo>
                      <a:lnTo>
                        <a:pt x="246307" y="1042301"/>
                      </a:lnTo>
                      <a:lnTo>
                        <a:pt x="234820" y="1040116"/>
                      </a:lnTo>
                      <a:lnTo>
                        <a:pt x="209672" y="1032490"/>
                      </a:lnTo>
                      <a:lnTo>
                        <a:pt x="208349" y="1031931"/>
                      </a:lnTo>
                      <a:lnTo>
                        <a:pt x="205774" y="1028883"/>
                      </a:lnTo>
                      <a:lnTo>
                        <a:pt x="204281" y="1027645"/>
                      </a:lnTo>
                      <a:lnTo>
                        <a:pt x="199800" y="1024840"/>
                      </a:lnTo>
                      <a:lnTo>
                        <a:pt x="195319" y="1023577"/>
                      </a:lnTo>
                      <a:lnTo>
                        <a:pt x="192733" y="1021816"/>
                      </a:lnTo>
                      <a:lnTo>
                        <a:pt x="174640" y="1005314"/>
                      </a:lnTo>
                      <a:lnTo>
                        <a:pt x="171203" y="1002788"/>
                      </a:lnTo>
                      <a:lnTo>
                        <a:pt x="172697" y="1001197"/>
                      </a:lnTo>
                      <a:lnTo>
                        <a:pt x="173207" y="1001003"/>
                      </a:lnTo>
                      <a:lnTo>
                        <a:pt x="174361" y="1000906"/>
                      </a:lnTo>
                      <a:lnTo>
                        <a:pt x="177858" y="1001282"/>
                      </a:lnTo>
                      <a:lnTo>
                        <a:pt x="179473" y="1000760"/>
                      </a:lnTo>
                      <a:lnTo>
                        <a:pt x="180906" y="999643"/>
                      </a:lnTo>
                      <a:lnTo>
                        <a:pt x="181537" y="998562"/>
                      </a:lnTo>
                      <a:lnTo>
                        <a:pt x="181828" y="997263"/>
                      </a:lnTo>
                      <a:lnTo>
                        <a:pt x="181877" y="996037"/>
                      </a:lnTo>
                      <a:lnTo>
                        <a:pt x="181598" y="994009"/>
                      </a:lnTo>
                      <a:lnTo>
                        <a:pt x="181646" y="993001"/>
                      </a:lnTo>
                      <a:lnTo>
                        <a:pt x="182521" y="990912"/>
                      </a:lnTo>
                      <a:lnTo>
                        <a:pt x="184646" y="987063"/>
                      </a:lnTo>
                      <a:lnTo>
                        <a:pt x="188665" y="982291"/>
                      </a:lnTo>
                      <a:lnTo>
                        <a:pt x="190256" y="979620"/>
                      </a:lnTo>
                      <a:lnTo>
                        <a:pt x="190948" y="977531"/>
                      </a:lnTo>
                      <a:lnTo>
                        <a:pt x="190668" y="975879"/>
                      </a:lnTo>
                      <a:lnTo>
                        <a:pt x="189114" y="970464"/>
                      </a:lnTo>
                      <a:lnTo>
                        <a:pt x="188884" y="968727"/>
                      </a:lnTo>
                      <a:lnTo>
                        <a:pt x="188944" y="966954"/>
                      </a:lnTo>
                      <a:lnTo>
                        <a:pt x="189114" y="966165"/>
                      </a:lnTo>
                      <a:lnTo>
                        <a:pt x="189454" y="965837"/>
                      </a:lnTo>
                      <a:lnTo>
                        <a:pt x="189855" y="965983"/>
                      </a:lnTo>
                      <a:lnTo>
                        <a:pt x="190316" y="966299"/>
                      </a:lnTo>
                      <a:lnTo>
                        <a:pt x="191652" y="967610"/>
                      </a:lnTo>
                      <a:lnTo>
                        <a:pt x="192624" y="968302"/>
                      </a:lnTo>
                      <a:lnTo>
                        <a:pt x="194105" y="967962"/>
                      </a:lnTo>
                      <a:lnTo>
                        <a:pt x="196242" y="966651"/>
                      </a:lnTo>
                      <a:lnTo>
                        <a:pt x="199800" y="962972"/>
                      </a:lnTo>
                      <a:lnTo>
                        <a:pt x="201633" y="960203"/>
                      </a:lnTo>
                      <a:lnTo>
                        <a:pt x="202787" y="957191"/>
                      </a:lnTo>
                      <a:lnTo>
                        <a:pt x="202726" y="955297"/>
                      </a:lnTo>
                      <a:lnTo>
                        <a:pt x="202034" y="953378"/>
                      </a:lnTo>
                      <a:lnTo>
                        <a:pt x="200941" y="951715"/>
                      </a:lnTo>
                      <a:lnTo>
                        <a:pt x="197553" y="947963"/>
                      </a:lnTo>
                      <a:lnTo>
                        <a:pt x="188726" y="941029"/>
                      </a:lnTo>
                      <a:lnTo>
                        <a:pt x="187268" y="939329"/>
                      </a:lnTo>
                      <a:lnTo>
                        <a:pt x="186358" y="937665"/>
                      </a:lnTo>
                      <a:lnTo>
                        <a:pt x="185678" y="935869"/>
                      </a:lnTo>
                      <a:lnTo>
                        <a:pt x="185326" y="934023"/>
                      </a:lnTo>
                      <a:lnTo>
                        <a:pt x="185204" y="930902"/>
                      </a:lnTo>
                      <a:lnTo>
                        <a:pt x="184925" y="929348"/>
                      </a:lnTo>
                      <a:lnTo>
                        <a:pt x="184342" y="927708"/>
                      </a:lnTo>
                      <a:lnTo>
                        <a:pt x="184014" y="925292"/>
                      </a:lnTo>
                      <a:lnTo>
                        <a:pt x="184403" y="923713"/>
                      </a:lnTo>
                      <a:lnTo>
                        <a:pt x="186528" y="920908"/>
                      </a:lnTo>
                      <a:lnTo>
                        <a:pt x="194627" y="908498"/>
                      </a:lnTo>
                      <a:lnTo>
                        <a:pt x="197833" y="897970"/>
                      </a:lnTo>
                      <a:lnTo>
                        <a:pt x="198015" y="895942"/>
                      </a:lnTo>
                      <a:lnTo>
                        <a:pt x="197784" y="895238"/>
                      </a:lnTo>
                      <a:lnTo>
                        <a:pt x="197213" y="894340"/>
                      </a:lnTo>
                      <a:lnTo>
                        <a:pt x="196242" y="893295"/>
                      </a:lnTo>
                      <a:lnTo>
                        <a:pt x="194749" y="892045"/>
                      </a:lnTo>
                      <a:lnTo>
                        <a:pt x="191300" y="890162"/>
                      </a:lnTo>
                      <a:lnTo>
                        <a:pt x="188483" y="887721"/>
                      </a:lnTo>
                      <a:lnTo>
                        <a:pt x="186358" y="882609"/>
                      </a:lnTo>
                      <a:lnTo>
                        <a:pt x="181998" y="870709"/>
                      </a:lnTo>
                      <a:lnTo>
                        <a:pt x="181416" y="867528"/>
                      </a:lnTo>
                      <a:lnTo>
                        <a:pt x="181768" y="866969"/>
                      </a:lnTo>
                      <a:lnTo>
                        <a:pt x="183030" y="865840"/>
                      </a:lnTo>
                      <a:lnTo>
                        <a:pt x="189855" y="861044"/>
                      </a:lnTo>
                      <a:lnTo>
                        <a:pt x="193595" y="855591"/>
                      </a:lnTo>
                      <a:lnTo>
                        <a:pt x="198258" y="844626"/>
                      </a:lnTo>
                      <a:lnTo>
                        <a:pt x="209041" y="810832"/>
                      </a:lnTo>
                      <a:lnTo>
                        <a:pt x="214032" y="802648"/>
                      </a:lnTo>
                      <a:lnTo>
                        <a:pt x="218621" y="789012"/>
                      </a:lnTo>
                      <a:lnTo>
                        <a:pt x="219836" y="786571"/>
                      </a:lnTo>
                      <a:lnTo>
                        <a:pt x="220989" y="785029"/>
                      </a:lnTo>
                      <a:lnTo>
                        <a:pt x="226199" y="780524"/>
                      </a:lnTo>
                      <a:lnTo>
                        <a:pt x="226320" y="775715"/>
                      </a:lnTo>
                      <a:lnTo>
                        <a:pt x="225227" y="773165"/>
                      </a:lnTo>
                      <a:lnTo>
                        <a:pt x="219435" y="766244"/>
                      </a:lnTo>
                      <a:lnTo>
                        <a:pt x="218063" y="763718"/>
                      </a:lnTo>
                      <a:lnTo>
                        <a:pt x="216618" y="760160"/>
                      </a:lnTo>
                      <a:lnTo>
                        <a:pt x="215586" y="758812"/>
                      </a:lnTo>
                      <a:lnTo>
                        <a:pt x="214384" y="758023"/>
                      </a:lnTo>
                      <a:lnTo>
                        <a:pt x="213121" y="757865"/>
                      </a:lnTo>
                      <a:lnTo>
                        <a:pt x="209794" y="757950"/>
                      </a:lnTo>
                      <a:lnTo>
                        <a:pt x="208409" y="758266"/>
                      </a:lnTo>
                      <a:lnTo>
                        <a:pt x="199861" y="762285"/>
                      </a:lnTo>
                      <a:lnTo>
                        <a:pt x="198258" y="762321"/>
                      </a:lnTo>
                      <a:lnTo>
                        <a:pt x="196242" y="762115"/>
                      </a:lnTo>
                      <a:lnTo>
                        <a:pt x="195210" y="761216"/>
                      </a:lnTo>
                      <a:lnTo>
                        <a:pt x="193534" y="759492"/>
                      </a:lnTo>
                      <a:lnTo>
                        <a:pt x="192733" y="758800"/>
                      </a:lnTo>
                      <a:lnTo>
                        <a:pt x="191591" y="758217"/>
                      </a:lnTo>
                      <a:lnTo>
                        <a:pt x="190316" y="757768"/>
                      </a:lnTo>
                      <a:lnTo>
                        <a:pt x="188762" y="757367"/>
                      </a:lnTo>
                      <a:lnTo>
                        <a:pt x="187572" y="756906"/>
                      </a:lnTo>
                      <a:lnTo>
                        <a:pt x="186649" y="756481"/>
                      </a:lnTo>
                      <a:lnTo>
                        <a:pt x="186078" y="755873"/>
                      </a:lnTo>
                      <a:lnTo>
                        <a:pt x="185508" y="754841"/>
                      </a:lnTo>
                      <a:lnTo>
                        <a:pt x="185447" y="753494"/>
                      </a:lnTo>
                      <a:lnTo>
                        <a:pt x="185678" y="751793"/>
                      </a:lnTo>
                      <a:lnTo>
                        <a:pt x="194627" y="723063"/>
                      </a:lnTo>
                      <a:lnTo>
                        <a:pt x="195028" y="720392"/>
                      </a:lnTo>
                      <a:lnTo>
                        <a:pt x="195089" y="717004"/>
                      </a:lnTo>
                      <a:lnTo>
                        <a:pt x="193874" y="712839"/>
                      </a:lnTo>
                      <a:lnTo>
                        <a:pt x="192842" y="705201"/>
                      </a:lnTo>
                      <a:lnTo>
                        <a:pt x="193024" y="702760"/>
                      </a:lnTo>
                      <a:lnTo>
                        <a:pt x="193473" y="700575"/>
                      </a:lnTo>
                      <a:lnTo>
                        <a:pt x="198646" y="690496"/>
                      </a:lnTo>
                      <a:lnTo>
                        <a:pt x="199278" y="687509"/>
                      </a:lnTo>
                      <a:lnTo>
                        <a:pt x="199278" y="685651"/>
                      </a:lnTo>
                      <a:lnTo>
                        <a:pt x="195429" y="673714"/>
                      </a:lnTo>
                      <a:lnTo>
                        <a:pt x="192563" y="667534"/>
                      </a:lnTo>
                      <a:lnTo>
                        <a:pt x="192563" y="666077"/>
                      </a:lnTo>
                      <a:lnTo>
                        <a:pt x="193194" y="664121"/>
                      </a:lnTo>
                      <a:lnTo>
                        <a:pt x="202034" y="645604"/>
                      </a:lnTo>
                      <a:lnTo>
                        <a:pt x="202848" y="642167"/>
                      </a:lnTo>
                      <a:lnTo>
                        <a:pt x="202848" y="640066"/>
                      </a:lnTo>
                      <a:lnTo>
                        <a:pt x="202435" y="638694"/>
                      </a:lnTo>
                      <a:lnTo>
                        <a:pt x="201694" y="637929"/>
                      </a:lnTo>
                      <a:lnTo>
                        <a:pt x="199338" y="636399"/>
                      </a:lnTo>
                      <a:lnTo>
                        <a:pt x="198258" y="634821"/>
                      </a:lnTo>
                      <a:lnTo>
                        <a:pt x="197092" y="632149"/>
                      </a:lnTo>
                      <a:lnTo>
                        <a:pt x="196813" y="628276"/>
                      </a:lnTo>
                      <a:lnTo>
                        <a:pt x="195781" y="624633"/>
                      </a:lnTo>
                      <a:lnTo>
                        <a:pt x="194518" y="622848"/>
                      </a:lnTo>
                      <a:lnTo>
                        <a:pt x="190158" y="615271"/>
                      </a:lnTo>
                      <a:lnTo>
                        <a:pt x="189454" y="614384"/>
                      </a:lnTo>
                      <a:lnTo>
                        <a:pt x="186418" y="611955"/>
                      </a:lnTo>
                      <a:lnTo>
                        <a:pt x="181998" y="613218"/>
                      </a:lnTo>
                      <a:lnTo>
                        <a:pt x="175223" y="616934"/>
                      </a:lnTo>
                      <a:lnTo>
                        <a:pt x="166905" y="619885"/>
                      </a:lnTo>
                      <a:lnTo>
                        <a:pt x="164537" y="621063"/>
                      </a:lnTo>
                      <a:lnTo>
                        <a:pt x="162582" y="622374"/>
                      </a:lnTo>
                      <a:lnTo>
                        <a:pt x="154325" y="630218"/>
                      </a:lnTo>
                      <a:lnTo>
                        <a:pt x="147950" y="634699"/>
                      </a:lnTo>
                      <a:lnTo>
                        <a:pt x="144841" y="635962"/>
                      </a:lnTo>
                      <a:lnTo>
                        <a:pt x="142425" y="636193"/>
                      </a:lnTo>
                      <a:lnTo>
                        <a:pt x="139620" y="634639"/>
                      </a:lnTo>
                      <a:lnTo>
                        <a:pt x="138587" y="634298"/>
                      </a:lnTo>
                      <a:lnTo>
                        <a:pt x="136985" y="633898"/>
                      </a:lnTo>
                      <a:lnTo>
                        <a:pt x="135831" y="633242"/>
                      </a:lnTo>
                      <a:lnTo>
                        <a:pt x="134155" y="631688"/>
                      </a:lnTo>
                      <a:lnTo>
                        <a:pt x="130379" y="627353"/>
                      </a:lnTo>
                      <a:lnTo>
                        <a:pt x="128132" y="625203"/>
                      </a:lnTo>
                      <a:lnTo>
                        <a:pt x="125959" y="623504"/>
                      </a:lnTo>
                      <a:lnTo>
                        <a:pt x="122158" y="621099"/>
                      </a:lnTo>
                      <a:lnTo>
                        <a:pt x="120786" y="619690"/>
                      </a:lnTo>
                      <a:lnTo>
                        <a:pt x="120094" y="617711"/>
                      </a:lnTo>
                      <a:lnTo>
                        <a:pt x="120033" y="615295"/>
                      </a:lnTo>
                      <a:lnTo>
                        <a:pt x="120555" y="610219"/>
                      </a:lnTo>
                      <a:lnTo>
                        <a:pt x="120094" y="607900"/>
                      </a:lnTo>
                      <a:lnTo>
                        <a:pt x="118940" y="605654"/>
                      </a:lnTo>
                      <a:lnTo>
                        <a:pt x="116244" y="601780"/>
                      </a:lnTo>
                      <a:lnTo>
                        <a:pt x="115382" y="599861"/>
                      </a:lnTo>
                      <a:lnTo>
                        <a:pt x="114872" y="597967"/>
                      </a:lnTo>
                      <a:lnTo>
                        <a:pt x="114581" y="595720"/>
                      </a:lnTo>
                      <a:lnTo>
                        <a:pt x="115164" y="589697"/>
                      </a:lnTo>
                      <a:lnTo>
                        <a:pt x="116985" y="585496"/>
                      </a:lnTo>
                      <a:lnTo>
                        <a:pt x="117106" y="584585"/>
                      </a:lnTo>
                      <a:lnTo>
                        <a:pt x="117289" y="583918"/>
                      </a:lnTo>
                      <a:lnTo>
                        <a:pt x="117969" y="574021"/>
                      </a:lnTo>
                      <a:lnTo>
                        <a:pt x="116924" y="558551"/>
                      </a:lnTo>
                      <a:lnTo>
                        <a:pt x="117228" y="556146"/>
                      </a:lnTo>
                      <a:lnTo>
                        <a:pt x="118479" y="554799"/>
                      </a:lnTo>
                      <a:lnTo>
                        <a:pt x="120337" y="554556"/>
                      </a:lnTo>
                      <a:lnTo>
                        <a:pt x="122619" y="553961"/>
                      </a:lnTo>
                      <a:lnTo>
                        <a:pt x="124927" y="552771"/>
                      </a:lnTo>
                      <a:lnTo>
                        <a:pt x="127161" y="549966"/>
                      </a:lnTo>
                      <a:lnTo>
                        <a:pt x="127671" y="547185"/>
                      </a:lnTo>
                      <a:lnTo>
                        <a:pt x="127732" y="540118"/>
                      </a:lnTo>
                      <a:lnTo>
                        <a:pt x="128242" y="537750"/>
                      </a:lnTo>
                      <a:lnTo>
                        <a:pt x="129347" y="534702"/>
                      </a:lnTo>
                      <a:lnTo>
                        <a:pt x="129735" y="532687"/>
                      </a:lnTo>
                      <a:lnTo>
                        <a:pt x="129796" y="530719"/>
                      </a:lnTo>
                      <a:lnTo>
                        <a:pt x="129286" y="528473"/>
                      </a:lnTo>
                      <a:lnTo>
                        <a:pt x="128654" y="527404"/>
                      </a:lnTo>
                      <a:lnTo>
                        <a:pt x="127610" y="526712"/>
                      </a:lnTo>
                      <a:lnTo>
                        <a:pt x="126177" y="526226"/>
                      </a:lnTo>
                      <a:lnTo>
                        <a:pt x="124696" y="525425"/>
                      </a:lnTo>
                      <a:lnTo>
                        <a:pt x="123142" y="524077"/>
                      </a:lnTo>
                      <a:lnTo>
                        <a:pt x="121939" y="522098"/>
                      </a:lnTo>
                      <a:lnTo>
                        <a:pt x="121186" y="520289"/>
                      </a:lnTo>
                      <a:lnTo>
                        <a:pt x="120276" y="517301"/>
                      </a:lnTo>
                      <a:lnTo>
                        <a:pt x="119414" y="515298"/>
                      </a:lnTo>
                      <a:lnTo>
                        <a:pt x="118382" y="513719"/>
                      </a:lnTo>
                      <a:lnTo>
                        <a:pt x="116706" y="512505"/>
                      </a:lnTo>
                      <a:lnTo>
                        <a:pt x="107174" y="508085"/>
                      </a:lnTo>
                      <a:lnTo>
                        <a:pt x="97872" y="505280"/>
                      </a:lnTo>
                      <a:lnTo>
                        <a:pt x="94946" y="503786"/>
                      </a:lnTo>
                      <a:lnTo>
                        <a:pt x="92420" y="501637"/>
                      </a:lnTo>
                      <a:lnTo>
                        <a:pt x="90016" y="497278"/>
                      </a:lnTo>
                      <a:lnTo>
                        <a:pt x="89202" y="493744"/>
                      </a:lnTo>
                      <a:lnTo>
                        <a:pt x="89032" y="491012"/>
                      </a:lnTo>
                      <a:lnTo>
                        <a:pt x="89433" y="488425"/>
                      </a:lnTo>
                      <a:lnTo>
                        <a:pt x="90174" y="485693"/>
                      </a:lnTo>
                      <a:lnTo>
                        <a:pt x="90926" y="484066"/>
                      </a:lnTo>
                      <a:lnTo>
                        <a:pt x="91910" y="482621"/>
                      </a:lnTo>
                      <a:lnTo>
                        <a:pt x="92881" y="481711"/>
                      </a:lnTo>
                      <a:lnTo>
                        <a:pt x="94254" y="481128"/>
                      </a:lnTo>
                      <a:lnTo>
                        <a:pt x="95869" y="481067"/>
                      </a:lnTo>
                      <a:lnTo>
                        <a:pt x="97593" y="481528"/>
                      </a:lnTo>
                      <a:lnTo>
                        <a:pt x="101260" y="483216"/>
                      </a:lnTo>
                      <a:lnTo>
                        <a:pt x="102924" y="483471"/>
                      </a:lnTo>
                      <a:lnTo>
                        <a:pt x="104660" y="482985"/>
                      </a:lnTo>
                      <a:lnTo>
                        <a:pt x="105971" y="482014"/>
                      </a:lnTo>
                      <a:lnTo>
                        <a:pt x="106894" y="480217"/>
                      </a:lnTo>
                      <a:lnTo>
                        <a:pt x="106664" y="479051"/>
                      </a:lnTo>
                      <a:lnTo>
                        <a:pt x="105741" y="478201"/>
                      </a:lnTo>
                      <a:lnTo>
                        <a:pt x="104357" y="477533"/>
                      </a:lnTo>
                      <a:lnTo>
                        <a:pt x="102741" y="475554"/>
                      </a:lnTo>
                      <a:lnTo>
                        <a:pt x="101199" y="472482"/>
                      </a:lnTo>
                      <a:lnTo>
                        <a:pt x="99147" y="465852"/>
                      </a:lnTo>
                      <a:lnTo>
                        <a:pt x="97824" y="462622"/>
                      </a:lnTo>
                      <a:lnTo>
                        <a:pt x="96148" y="460472"/>
                      </a:lnTo>
                      <a:lnTo>
                        <a:pt x="94606" y="459355"/>
                      </a:lnTo>
                      <a:lnTo>
                        <a:pt x="93403" y="458141"/>
                      </a:lnTo>
                      <a:lnTo>
                        <a:pt x="92080" y="455955"/>
                      </a:lnTo>
                      <a:lnTo>
                        <a:pt x="91910" y="454522"/>
                      </a:lnTo>
                      <a:lnTo>
                        <a:pt x="92298" y="453029"/>
                      </a:lnTo>
                      <a:lnTo>
                        <a:pt x="93513" y="450904"/>
                      </a:lnTo>
                      <a:lnTo>
                        <a:pt x="94484" y="448584"/>
                      </a:lnTo>
                      <a:lnTo>
                        <a:pt x="94946" y="445136"/>
                      </a:lnTo>
                      <a:lnTo>
                        <a:pt x="94715" y="443764"/>
                      </a:lnTo>
                      <a:lnTo>
                        <a:pt x="93914" y="443400"/>
                      </a:lnTo>
                      <a:lnTo>
                        <a:pt x="92541" y="444091"/>
                      </a:lnTo>
                      <a:lnTo>
                        <a:pt x="87186" y="448050"/>
                      </a:lnTo>
                      <a:lnTo>
                        <a:pt x="85936" y="448742"/>
                      </a:lnTo>
                      <a:lnTo>
                        <a:pt x="83167" y="449374"/>
                      </a:lnTo>
                      <a:lnTo>
                        <a:pt x="70478" y="450042"/>
                      </a:lnTo>
                      <a:lnTo>
                        <a:pt x="66118" y="450928"/>
                      </a:lnTo>
                      <a:lnTo>
                        <a:pt x="64333" y="450928"/>
                      </a:lnTo>
                      <a:lnTo>
                        <a:pt x="62561" y="450467"/>
                      </a:lnTo>
                      <a:lnTo>
                        <a:pt x="57970" y="448463"/>
                      </a:lnTo>
                      <a:lnTo>
                        <a:pt x="56878" y="448160"/>
                      </a:lnTo>
                      <a:lnTo>
                        <a:pt x="55894" y="448147"/>
                      </a:lnTo>
                      <a:lnTo>
                        <a:pt x="54923" y="448390"/>
                      </a:lnTo>
                      <a:lnTo>
                        <a:pt x="50381" y="450017"/>
                      </a:lnTo>
                      <a:lnTo>
                        <a:pt x="48560" y="450139"/>
                      </a:lnTo>
                      <a:lnTo>
                        <a:pt x="47005" y="449714"/>
                      </a:lnTo>
                      <a:lnTo>
                        <a:pt x="45621" y="448366"/>
                      </a:lnTo>
                      <a:lnTo>
                        <a:pt x="45512" y="446593"/>
                      </a:lnTo>
                      <a:lnTo>
                        <a:pt x="46253" y="444553"/>
                      </a:lnTo>
                      <a:lnTo>
                        <a:pt x="50090" y="439222"/>
                      </a:lnTo>
                      <a:lnTo>
                        <a:pt x="51765" y="437607"/>
                      </a:lnTo>
                      <a:lnTo>
                        <a:pt x="63022" y="429544"/>
                      </a:lnTo>
                      <a:lnTo>
                        <a:pt x="64746" y="424833"/>
                      </a:lnTo>
                      <a:lnTo>
                        <a:pt x="59853" y="422161"/>
                      </a:lnTo>
                      <a:lnTo>
                        <a:pt x="55845" y="415944"/>
                      </a:lnTo>
                      <a:lnTo>
                        <a:pt x="53951" y="414463"/>
                      </a:lnTo>
                      <a:lnTo>
                        <a:pt x="51595" y="413394"/>
                      </a:lnTo>
                      <a:lnTo>
                        <a:pt x="49470" y="412787"/>
                      </a:lnTo>
                      <a:lnTo>
                        <a:pt x="47005" y="411840"/>
                      </a:lnTo>
                      <a:lnTo>
                        <a:pt x="45342" y="410638"/>
                      </a:lnTo>
                      <a:lnTo>
                        <a:pt x="41493" y="407007"/>
                      </a:lnTo>
                      <a:lnTo>
                        <a:pt x="39647" y="406035"/>
                      </a:lnTo>
                      <a:lnTo>
                        <a:pt x="19319" y="399660"/>
                      </a:lnTo>
                      <a:lnTo>
                        <a:pt x="11002" y="398155"/>
                      </a:lnTo>
                      <a:lnTo>
                        <a:pt x="9204" y="396479"/>
                      </a:lnTo>
                      <a:lnTo>
                        <a:pt x="8415" y="394961"/>
                      </a:lnTo>
                      <a:lnTo>
                        <a:pt x="8233" y="394269"/>
                      </a:lnTo>
                      <a:lnTo>
                        <a:pt x="8233" y="393978"/>
                      </a:lnTo>
                      <a:lnTo>
                        <a:pt x="8075" y="393188"/>
                      </a:lnTo>
                      <a:lnTo>
                        <a:pt x="7771" y="392083"/>
                      </a:lnTo>
                      <a:lnTo>
                        <a:pt x="7383" y="391172"/>
                      </a:lnTo>
                      <a:lnTo>
                        <a:pt x="6630" y="389825"/>
                      </a:lnTo>
                      <a:lnTo>
                        <a:pt x="6169" y="388513"/>
                      </a:lnTo>
                      <a:lnTo>
                        <a:pt x="6290" y="387081"/>
                      </a:lnTo>
                      <a:lnTo>
                        <a:pt x="7322" y="384069"/>
                      </a:lnTo>
                      <a:lnTo>
                        <a:pt x="7431" y="382600"/>
                      </a:lnTo>
                      <a:lnTo>
                        <a:pt x="6521" y="379442"/>
                      </a:lnTo>
                      <a:lnTo>
                        <a:pt x="6399" y="377767"/>
                      </a:lnTo>
                      <a:lnTo>
                        <a:pt x="6861" y="376140"/>
                      </a:lnTo>
                      <a:lnTo>
                        <a:pt x="8075" y="374294"/>
                      </a:lnTo>
                      <a:lnTo>
                        <a:pt x="12823" y="374901"/>
                      </a:lnTo>
                      <a:lnTo>
                        <a:pt x="14899" y="375933"/>
                      </a:lnTo>
                      <a:lnTo>
                        <a:pt x="19089" y="377427"/>
                      </a:lnTo>
                      <a:lnTo>
                        <a:pt x="22137" y="377548"/>
                      </a:lnTo>
                      <a:lnTo>
                        <a:pt x="26557" y="376662"/>
                      </a:lnTo>
                      <a:lnTo>
                        <a:pt x="28852" y="374986"/>
                      </a:lnTo>
                      <a:lnTo>
                        <a:pt x="30515" y="372776"/>
                      </a:lnTo>
                      <a:lnTo>
                        <a:pt x="31547" y="370857"/>
                      </a:lnTo>
                      <a:lnTo>
                        <a:pt x="33102" y="369060"/>
                      </a:lnTo>
                      <a:lnTo>
                        <a:pt x="35348" y="367506"/>
                      </a:lnTo>
                      <a:lnTo>
                        <a:pt x="38445" y="366838"/>
                      </a:lnTo>
                      <a:lnTo>
                        <a:pt x="39938" y="366292"/>
                      </a:lnTo>
                      <a:lnTo>
                        <a:pt x="40800" y="365770"/>
                      </a:lnTo>
                      <a:lnTo>
                        <a:pt x="41310" y="365138"/>
                      </a:lnTo>
                      <a:lnTo>
                        <a:pt x="41541" y="364252"/>
                      </a:lnTo>
                      <a:lnTo>
                        <a:pt x="41602" y="363730"/>
                      </a:lnTo>
                      <a:lnTo>
                        <a:pt x="40922" y="362357"/>
                      </a:lnTo>
                      <a:lnTo>
                        <a:pt x="41954" y="360354"/>
                      </a:lnTo>
                      <a:lnTo>
                        <a:pt x="42634" y="359346"/>
                      </a:lnTo>
                      <a:lnTo>
                        <a:pt x="43727" y="358059"/>
                      </a:lnTo>
                      <a:lnTo>
                        <a:pt x="45342" y="356505"/>
                      </a:lnTo>
                      <a:lnTo>
                        <a:pt x="47564" y="354780"/>
                      </a:lnTo>
                      <a:lnTo>
                        <a:pt x="50211" y="353202"/>
                      </a:lnTo>
                      <a:lnTo>
                        <a:pt x="53660" y="352339"/>
                      </a:lnTo>
                      <a:lnTo>
                        <a:pt x="57388" y="352400"/>
                      </a:lnTo>
                      <a:lnTo>
                        <a:pt x="62743" y="354331"/>
                      </a:lnTo>
                      <a:lnTo>
                        <a:pt x="64977" y="356589"/>
                      </a:lnTo>
                      <a:lnTo>
                        <a:pt x="65948" y="359006"/>
                      </a:lnTo>
                      <a:lnTo>
                        <a:pt x="65548" y="362989"/>
                      </a:lnTo>
                      <a:lnTo>
                        <a:pt x="65608" y="364774"/>
                      </a:lnTo>
                      <a:lnTo>
                        <a:pt x="66118" y="366401"/>
                      </a:lnTo>
                      <a:lnTo>
                        <a:pt x="67381" y="367700"/>
                      </a:lnTo>
                      <a:lnTo>
                        <a:pt x="69288" y="368635"/>
                      </a:lnTo>
                      <a:lnTo>
                        <a:pt x="72323" y="369073"/>
                      </a:lnTo>
                      <a:lnTo>
                        <a:pt x="76452" y="369133"/>
                      </a:lnTo>
                      <a:lnTo>
                        <a:pt x="103725" y="367008"/>
                      </a:lnTo>
                      <a:lnTo>
                        <a:pt x="106773" y="367336"/>
                      </a:lnTo>
                      <a:lnTo>
                        <a:pt x="116876" y="370177"/>
                      </a:lnTo>
                      <a:lnTo>
                        <a:pt x="118029" y="368805"/>
                      </a:lnTo>
                      <a:lnTo>
                        <a:pt x="119062" y="367081"/>
                      </a:lnTo>
                      <a:lnTo>
                        <a:pt x="121247" y="355132"/>
                      </a:lnTo>
                      <a:lnTo>
                        <a:pt x="125777" y="347349"/>
                      </a:lnTo>
                      <a:lnTo>
                        <a:pt x="133184" y="336979"/>
                      </a:lnTo>
                      <a:lnTo>
                        <a:pt x="135139" y="335607"/>
                      </a:lnTo>
                      <a:lnTo>
                        <a:pt x="137616" y="334720"/>
                      </a:lnTo>
                      <a:lnTo>
                        <a:pt x="141684" y="334574"/>
                      </a:lnTo>
                      <a:lnTo>
                        <a:pt x="144501" y="334234"/>
                      </a:lnTo>
                      <a:lnTo>
                        <a:pt x="148120" y="332619"/>
                      </a:lnTo>
                      <a:lnTo>
                        <a:pt x="150014" y="332073"/>
                      </a:lnTo>
                      <a:lnTo>
                        <a:pt x="152880" y="332814"/>
                      </a:lnTo>
                      <a:lnTo>
                        <a:pt x="155466" y="334356"/>
                      </a:lnTo>
                      <a:lnTo>
                        <a:pt x="165970" y="345236"/>
                      </a:lnTo>
                      <a:lnTo>
                        <a:pt x="168496" y="346450"/>
                      </a:lnTo>
                      <a:lnTo>
                        <a:pt x="170621" y="346025"/>
                      </a:lnTo>
                      <a:lnTo>
                        <a:pt x="172017" y="343524"/>
                      </a:lnTo>
                      <a:lnTo>
                        <a:pt x="172758" y="339626"/>
                      </a:lnTo>
                      <a:lnTo>
                        <a:pt x="173328" y="338436"/>
                      </a:lnTo>
                      <a:lnTo>
                        <a:pt x="174992" y="337671"/>
                      </a:lnTo>
                      <a:lnTo>
                        <a:pt x="177688" y="336954"/>
                      </a:lnTo>
                      <a:lnTo>
                        <a:pt x="182909" y="336226"/>
                      </a:lnTo>
                      <a:lnTo>
                        <a:pt x="191931" y="336602"/>
                      </a:lnTo>
                      <a:lnTo>
                        <a:pt x="194518" y="335898"/>
                      </a:lnTo>
                      <a:lnTo>
                        <a:pt x="196922" y="334659"/>
                      </a:lnTo>
                      <a:lnTo>
                        <a:pt x="199108" y="333797"/>
                      </a:lnTo>
                      <a:lnTo>
                        <a:pt x="201512" y="333919"/>
                      </a:lnTo>
                      <a:lnTo>
                        <a:pt x="203188" y="334781"/>
                      </a:lnTo>
                      <a:lnTo>
                        <a:pt x="206406" y="335789"/>
                      </a:lnTo>
                      <a:lnTo>
                        <a:pt x="208009" y="336554"/>
                      </a:lnTo>
                      <a:lnTo>
                        <a:pt x="211396" y="339334"/>
                      </a:lnTo>
                      <a:lnTo>
                        <a:pt x="213983" y="340160"/>
                      </a:lnTo>
                      <a:lnTo>
                        <a:pt x="216849" y="340112"/>
                      </a:lnTo>
                      <a:lnTo>
                        <a:pt x="221560" y="338752"/>
                      </a:lnTo>
                      <a:lnTo>
                        <a:pt x="227012" y="338618"/>
                      </a:lnTo>
                      <a:lnTo>
                        <a:pt x="229089" y="337817"/>
                      </a:lnTo>
                      <a:lnTo>
                        <a:pt x="231833" y="334817"/>
                      </a:lnTo>
                      <a:lnTo>
                        <a:pt x="233509" y="331575"/>
                      </a:lnTo>
                      <a:lnTo>
                        <a:pt x="237127" y="321326"/>
                      </a:lnTo>
                      <a:lnTo>
                        <a:pt x="238439" y="319007"/>
                      </a:lnTo>
                      <a:lnTo>
                        <a:pt x="241426" y="315012"/>
                      </a:lnTo>
                      <a:lnTo>
                        <a:pt x="242361" y="313033"/>
                      </a:lnTo>
                      <a:lnTo>
                        <a:pt x="245397" y="311308"/>
                      </a:lnTo>
                      <a:lnTo>
                        <a:pt x="247570" y="310300"/>
                      </a:lnTo>
                      <a:lnTo>
                        <a:pt x="267327" y="308516"/>
                      </a:lnTo>
                      <a:lnTo>
                        <a:pt x="270945" y="307702"/>
                      </a:lnTo>
                      <a:lnTo>
                        <a:pt x="272609" y="306973"/>
                      </a:lnTo>
                      <a:lnTo>
                        <a:pt x="274224" y="306026"/>
                      </a:lnTo>
                      <a:lnTo>
                        <a:pt x="276276" y="304424"/>
                      </a:lnTo>
                      <a:lnTo>
                        <a:pt x="278523" y="299603"/>
                      </a:lnTo>
                      <a:lnTo>
                        <a:pt x="285007" y="291564"/>
                      </a:lnTo>
                      <a:lnTo>
                        <a:pt x="286622" y="287946"/>
                      </a:lnTo>
                      <a:lnTo>
                        <a:pt x="288565" y="286476"/>
                      </a:lnTo>
                      <a:lnTo>
                        <a:pt x="290301" y="284728"/>
                      </a:lnTo>
                      <a:lnTo>
                        <a:pt x="291613" y="283416"/>
                      </a:lnTo>
                      <a:lnTo>
                        <a:pt x="292244" y="282894"/>
                      </a:lnTo>
                      <a:lnTo>
                        <a:pt x="292936" y="282165"/>
                      </a:lnTo>
                      <a:lnTo>
                        <a:pt x="293398" y="281412"/>
                      </a:lnTo>
                      <a:lnTo>
                        <a:pt x="293798" y="280648"/>
                      </a:lnTo>
                      <a:lnTo>
                        <a:pt x="294138" y="279822"/>
                      </a:lnTo>
                      <a:lnTo>
                        <a:pt x="294539" y="278049"/>
                      </a:lnTo>
                      <a:lnTo>
                        <a:pt x="294661" y="277126"/>
                      </a:lnTo>
                      <a:lnTo>
                        <a:pt x="294661" y="276143"/>
                      </a:lnTo>
                      <a:lnTo>
                        <a:pt x="293968" y="274430"/>
                      </a:lnTo>
                      <a:lnTo>
                        <a:pt x="288686" y="265870"/>
                      </a:lnTo>
                      <a:lnTo>
                        <a:pt x="287132" y="264777"/>
                      </a:lnTo>
                      <a:lnTo>
                        <a:pt x="286379" y="263805"/>
                      </a:lnTo>
                      <a:lnTo>
                        <a:pt x="281510" y="261304"/>
                      </a:lnTo>
                      <a:lnTo>
                        <a:pt x="275754" y="260187"/>
                      </a:lnTo>
                      <a:lnTo>
                        <a:pt x="242810" y="259907"/>
                      </a:lnTo>
                      <a:lnTo>
                        <a:pt x="241147" y="259507"/>
                      </a:lnTo>
                      <a:lnTo>
                        <a:pt x="240224" y="258159"/>
                      </a:lnTo>
                      <a:lnTo>
                        <a:pt x="240625" y="254941"/>
                      </a:lnTo>
                      <a:lnTo>
                        <a:pt x="239872" y="252986"/>
                      </a:lnTo>
                      <a:lnTo>
                        <a:pt x="237637" y="251553"/>
                      </a:lnTo>
                      <a:lnTo>
                        <a:pt x="237637" y="249234"/>
                      </a:lnTo>
                      <a:lnTo>
                        <a:pt x="237929" y="248627"/>
                      </a:lnTo>
                      <a:lnTo>
                        <a:pt x="238949" y="246805"/>
                      </a:lnTo>
                      <a:lnTo>
                        <a:pt x="240503" y="245239"/>
                      </a:lnTo>
                      <a:lnTo>
                        <a:pt x="242397" y="244000"/>
                      </a:lnTo>
                      <a:lnTo>
                        <a:pt x="249695" y="240321"/>
                      </a:lnTo>
                      <a:lnTo>
                        <a:pt x="255670" y="234359"/>
                      </a:lnTo>
                      <a:lnTo>
                        <a:pt x="257795" y="230886"/>
                      </a:lnTo>
                      <a:lnTo>
                        <a:pt x="261243" y="227012"/>
                      </a:lnTo>
                      <a:lnTo>
                        <a:pt x="262676" y="224790"/>
                      </a:lnTo>
                      <a:lnTo>
                        <a:pt x="263878" y="221754"/>
                      </a:lnTo>
                      <a:lnTo>
                        <a:pt x="266586" y="210182"/>
                      </a:lnTo>
                      <a:lnTo>
                        <a:pt x="266744" y="207511"/>
                      </a:lnTo>
                      <a:lnTo>
                        <a:pt x="265894" y="205361"/>
                      </a:lnTo>
                      <a:lnTo>
                        <a:pt x="264923" y="204693"/>
                      </a:lnTo>
                      <a:lnTo>
                        <a:pt x="263477" y="204718"/>
                      </a:lnTo>
                      <a:lnTo>
                        <a:pt x="261875" y="205179"/>
                      </a:lnTo>
                      <a:lnTo>
                        <a:pt x="260442" y="205410"/>
                      </a:lnTo>
                      <a:lnTo>
                        <a:pt x="259288" y="205240"/>
                      </a:lnTo>
                      <a:lnTo>
                        <a:pt x="258645" y="204779"/>
                      </a:lnTo>
                      <a:lnTo>
                        <a:pt x="258256" y="203916"/>
                      </a:lnTo>
                      <a:lnTo>
                        <a:pt x="258256" y="203795"/>
                      </a:lnTo>
                      <a:lnTo>
                        <a:pt x="259470" y="200152"/>
                      </a:lnTo>
                      <a:lnTo>
                        <a:pt x="259470" y="198634"/>
                      </a:lnTo>
                      <a:lnTo>
                        <a:pt x="258596" y="196351"/>
                      </a:lnTo>
                      <a:lnTo>
                        <a:pt x="257612" y="195173"/>
                      </a:lnTo>
                      <a:lnTo>
                        <a:pt x="257151" y="192441"/>
                      </a:lnTo>
                      <a:lnTo>
                        <a:pt x="257734" y="188216"/>
                      </a:lnTo>
                      <a:lnTo>
                        <a:pt x="260381" y="180153"/>
                      </a:lnTo>
                      <a:lnTo>
                        <a:pt x="264801" y="170875"/>
                      </a:lnTo>
                      <a:lnTo>
                        <a:pt x="269173" y="169273"/>
                      </a:lnTo>
                      <a:lnTo>
                        <a:pt x="270545" y="169090"/>
                      </a:lnTo>
                      <a:lnTo>
                        <a:pt x="272548" y="169212"/>
                      </a:lnTo>
                      <a:lnTo>
                        <a:pt x="275997" y="170037"/>
                      </a:lnTo>
                      <a:lnTo>
                        <a:pt x="277770" y="170244"/>
                      </a:lnTo>
                      <a:lnTo>
                        <a:pt x="279846" y="169904"/>
                      </a:lnTo>
                      <a:lnTo>
                        <a:pt x="281971" y="169102"/>
                      </a:lnTo>
                      <a:lnTo>
                        <a:pt x="290058" y="164391"/>
                      </a:lnTo>
                      <a:lnTo>
                        <a:pt x="291795" y="163723"/>
                      </a:lnTo>
                      <a:lnTo>
                        <a:pt x="293045" y="163055"/>
                      </a:lnTo>
                      <a:lnTo>
                        <a:pt x="294017" y="162121"/>
                      </a:lnTo>
                      <a:lnTo>
                        <a:pt x="293920" y="160384"/>
                      </a:lnTo>
                      <a:lnTo>
                        <a:pt x="293337" y="159328"/>
                      </a:lnTo>
                      <a:lnTo>
                        <a:pt x="292523" y="158174"/>
                      </a:lnTo>
                      <a:lnTo>
                        <a:pt x="292123" y="157142"/>
                      </a:lnTo>
                      <a:lnTo>
                        <a:pt x="292305" y="155587"/>
                      </a:lnTo>
                      <a:lnTo>
                        <a:pt x="293045" y="153717"/>
                      </a:lnTo>
                      <a:lnTo>
                        <a:pt x="296446" y="148909"/>
                      </a:lnTo>
                      <a:lnTo>
                        <a:pt x="298619" y="144574"/>
                      </a:lnTo>
                      <a:lnTo>
                        <a:pt x="300744" y="135843"/>
                      </a:lnTo>
                      <a:lnTo>
                        <a:pt x="309135" y="133014"/>
                      </a:lnTo>
                      <a:lnTo>
                        <a:pt x="318364" y="132771"/>
                      </a:lnTo>
                      <a:lnTo>
                        <a:pt x="320209" y="133014"/>
                      </a:lnTo>
                      <a:lnTo>
                        <a:pt x="322043" y="133609"/>
                      </a:lnTo>
                      <a:lnTo>
                        <a:pt x="324229" y="135017"/>
                      </a:lnTo>
                      <a:lnTo>
                        <a:pt x="325783" y="136450"/>
                      </a:lnTo>
                      <a:lnTo>
                        <a:pt x="327046" y="137993"/>
                      </a:lnTo>
                      <a:lnTo>
                        <a:pt x="328248" y="139838"/>
                      </a:lnTo>
                      <a:lnTo>
                        <a:pt x="331466" y="143481"/>
                      </a:lnTo>
                      <a:lnTo>
                        <a:pt x="333469" y="144950"/>
                      </a:lnTo>
                      <a:lnTo>
                        <a:pt x="335655" y="145812"/>
                      </a:lnTo>
                      <a:lnTo>
                        <a:pt x="338424" y="145266"/>
                      </a:lnTo>
                      <a:lnTo>
                        <a:pt x="339395" y="144489"/>
                      </a:lnTo>
                      <a:lnTo>
                        <a:pt x="339735" y="143311"/>
                      </a:lnTo>
                      <a:lnTo>
                        <a:pt x="339905" y="142473"/>
                      </a:lnTo>
                      <a:lnTo>
                        <a:pt x="340597" y="141393"/>
                      </a:lnTo>
                      <a:lnTo>
                        <a:pt x="343572" y="137337"/>
                      </a:lnTo>
                      <a:lnTo>
                        <a:pt x="345649" y="137057"/>
                      </a:lnTo>
                      <a:lnTo>
                        <a:pt x="348575" y="137883"/>
                      </a:lnTo>
                      <a:lnTo>
                        <a:pt x="354720" y="141672"/>
                      </a:lnTo>
                      <a:lnTo>
                        <a:pt x="363050" y="148460"/>
                      </a:lnTo>
                      <a:lnTo>
                        <a:pt x="368793" y="151362"/>
                      </a:lnTo>
                      <a:lnTo>
                        <a:pt x="381070" y="154288"/>
                      </a:lnTo>
                      <a:lnTo>
                        <a:pt x="389521" y="166176"/>
                      </a:lnTo>
                      <a:lnTo>
                        <a:pt x="394160" y="170462"/>
                      </a:lnTo>
                      <a:lnTo>
                        <a:pt x="404226" y="176862"/>
                      </a:lnTo>
                      <a:lnTo>
                        <a:pt x="409096" y="178295"/>
                      </a:lnTo>
                      <a:lnTo>
                        <a:pt x="410868" y="178574"/>
                      </a:lnTo>
                      <a:lnTo>
                        <a:pt x="412775" y="178659"/>
                      </a:lnTo>
                      <a:lnTo>
                        <a:pt x="416612" y="178513"/>
                      </a:lnTo>
                      <a:lnTo>
                        <a:pt x="417887" y="178307"/>
                      </a:lnTo>
                      <a:lnTo>
                        <a:pt x="419781" y="177554"/>
                      </a:lnTo>
                      <a:lnTo>
                        <a:pt x="421967" y="176437"/>
                      </a:lnTo>
                      <a:lnTo>
                        <a:pt x="430054" y="167913"/>
                      </a:lnTo>
                      <a:lnTo>
                        <a:pt x="431038" y="164792"/>
                      </a:lnTo>
                      <a:lnTo>
                        <a:pt x="431317" y="162132"/>
                      </a:lnTo>
                      <a:lnTo>
                        <a:pt x="431087" y="159777"/>
                      </a:lnTo>
                      <a:lnTo>
                        <a:pt x="431378" y="158052"/>
                      </a:lnTo>
                      <a:lnTo>
                        <a:pt x="431900" y="157142"/>
                      </a:lnTo>
                      <a:lnTo>
                        <a:pt x="432592" y="156887"/>
                      </a:lnTo>
                      <a:lnTo>
                        <a:pt x="433843" y="157458"/>
                      </a:lnTo>
                      <a:lnTo>
                        <a:pt x="434996" y="158587"/>
                      </a:lnTo>
                      <a:lnTo>
                        <a:pt x="436429" y="159157"/>
                      </a:lnTo>
                      <a:lnTo>
                        <a:pt x="438105" y="158842"/>
                      </a:lnTo>
                      <a:lnTo>
                        <a:pt x="445221" y="153402"/>
                      </a:lnTo>
                      <a:lnTo>
                        <a:pt x="446362" y="152273"/>
                      </a:lnTo>
                      <a:lnTo>
                        <a:pt x="447334" y="150779"/>
                      </a:lnTo>
                      <a:lnTo>
                        <a:pt x="452567" y="137118"/>
                      </a:lnTo>
                      <a:lnTo>
                        <a:pt x="455846" y="124490"/>
                      </a:lnTo>
                      <a:lnTo>
                        <a:pt x="457218" y="121150"/>
                      </a:lnTo>
                      <a:lnTo>
                        <a:pt x="457619" y="119147"/>
                      </a:lnTo>
                      <a:lnTo>
                        <a:pt x="457959" y="113779"/>
                      </a:lnTo>
                      <a:lnTo>
                        <a:pt x="458469" y="111533"/>
                      </a:lnTo>
                      <a:lnTo>
                        <a:pt x="458942" y="110051"/>
                      </a:lnTo>
                      <a:lnTo>
                        <a:pt x="460776" y="107319"/>
                      </a:lnTo>
                      <a:lnTo>
                        <a:pt x="462100" y="105911"/>
                      </a:lnTo>
                      <a:lnTo>
                        <a:pt x="463824" y="105085"/>
                      </a:lnTo>
                      <a:lnTo>
                        <a:pt x="466119" y="105024"/>
                      </a:lnTo>
                      <a:lnTo>
                        <a:pt x="468414" y="104708"/>
                      </a:lnTo>
                      <a:lnTo>
                        <a:pt x="470029" y="103591"/>
                      </a:lnTo>
                      <a:lnTo>
                        <a:pt x="471110" y="101831"/>
                      </a:lnTo>
                      <a:lnTo>
                        <a:pt x="472603" y="98540"/>
                      </a:lnTo>
                      <a:lnTo>
                        <a:pt x="473987" y="97508"/>
                      </a:lnTo>
                      <a:lnTo>
                        <a:pt x="476112" y="96901"/>
                      </a:lnTo>
                      <a:lnTo>
                        <a:pt x="483738" y="95954"/>
                      </a:lnTo>
                      <a:lnTo>
                        <a:pt x="488061" y="94630"/>
                      </a:lnTo>
                      <a:lnTo>
                        <a:pt x="490696" y="94096"/>
                      </a:lnTo>
                      <a:lnTo>
                        <a:pt x="499075" y="93173"/>
                      </a:lnTo>
                      <a:lnTo>
                        <a:pt x="501139" y="94205"/>
                      </a:lnTo>
                      <a:lnTo>
                        <a:pt x="502244" y="96245"/>
                      </a:lnTo>
                      <a:lnTo>
                        <a:pt x="502815" y="98625"/>
                      </a:lnTo>
                      <a:lnTo>
                        <a:pt x="503786" y="100665"/>
                      </a:lnTo>
                      <a:lnTo>
                        <a:pt x="505280" y="101515"/>
                      </a:lnTo>
                      <a:lnTo>
                        <a:pt x="507113" y="101321"/>
                      </a:lnTo>
                      <a:lnTo>
                        <a:pt x="509639" y="99827"/>
                      </a:lnTo>
                      <a:lnTo>
                        <a:pt x="511023" y="98091"/>
                      </a:lnTo>
                      <a:lnTo>
                        <a:pt x="511764" y="96451"/>
                      </a:lnTo>
                      <a:lnTo>
                        <a:pt x="511946" y="94727"/>
                      </a:lnTo>
                      <a:lnTo>
                        <a:pt x="512626" y="91922"/>
                      </a:lnTo>
                      <a:lnTo>
                        <a:pt x="513659" y="91036"/>
                      </a:lnTo>
                      <a:lnTo>
                        <a:pt x="515091" y="90696"/>
                      </a:lnTo>
                      <a:lnTo>
                        <a:pt x="518309" y="90720"/>
                      </a:lnTo>
                      <a:lnTo>
                        <a:pt x="522911" y="91461"/>
                      </a:lnTo>
                      <a:lnTo>
                        <a:pt x="524284" y="91958"/>
                      </a:lnTo>
                      <a:lnTo>
                        <a:pt x="525376" y="92541"/>
                      </a:lnTo>
                      <a:lnTo>
                        <a:pt x="526069" y="93148"/>
                      </a:lnTo>
                      <a:lnTo>
                        <a:pt x="526579" y="93974"/>
                      </a:lnTo>
                      <a:lnTo>
                        <a:pt x="527162" y="96670"/>
                      </a:lnTo>
                      <a:lnTo>
                        <a:pt x="527963" y="97908"/>
                      </a:lnTo>
                      <a:lnTo>
                        <a:pt x="529396" y="98491"/>
                      </a:lnTo>
                      <a:lnTo>
                        <a:pt x="534277" y="98953"/>
                      </a:lnTo>
                      <a:lnTo>
                        <a:pt x="536342" y="99572"/>
                      </a:lnTo>
                      <a:lnTo>
                        <a:pt x="538066" y="100738"/>
                      </a:lnTo>
                      <a:lnTo>
                        <a:pt x="540130" y="101746"/>
                      </a:lnTo>
                      <a:lnTo>
                        <a:pt x="542947" y="102049"/>
                      </a:lnTo>
                      <a:lnTo>
                        <a:pt x="546954" y="101017"/>
                      </a:lnTo>
                      <a:lnTo>
                        <a:pt x="553682" y="100446"/>
                      </a:lnTo>
                      <a:lnTo>
                        <a:pt x="555928" y="99948"/>
                      </a:lnTo>
                      <a:lnTo>
                        <a:pt x="557883" y="98637"/>
                      </a:lnTo>
                      <a:lnTo>
                        <a:pt x="559195" y="97532"/>
                      </a:lnTo>
                      <a:lnTo>
                        <a:pt x="563906" y="91740"/>
                      </a:lnTo>
                      <a:lnTo>
                        <a:pt x="570512" y="82208"/>
                      </a:lnTo>
                      <a:lnTo>
                        <a:pt x="572637" y="80338"/>
                      </a:lnTo>
                      <a:lnTo>
                        <a:pt x="574871" y="79803"/>
                      </a:lnTo>
                      <a:lnTo>
                        <a:pt x="577688" y="80314"/>
                      </a:lnTo>
                      <a:lnTo>
                        <a:pt x="579473" y="81807"/>
                      </a:lnTo>
                      <a:lnTo>
                        <a:pt x="580845" y="83300"/>
                      </a:lnTo>
                      <a:lnTo>
                        <a:pt x="582570" y="83871"/>
                      </a:lnTo>
                      <a:lnTo>
                        <a:pt x="584634" y="83361"/>
                      </a:lnTo>
                      <a:lnTo>
                        <a:pt x="587390" y="81151"/>
                      </a:lnTo>
                      <a:lnTo>
                        <a:pt x="591361" y="76088"/>
                      </a:lnTo>
                      <a:lnTo>
                        <a:pt x="594798" y="73052"/>
                      </a:lnTo>
                      <a:lnTo>
                        <a:pt x="596631" y="70721"/>
                      </a:lnTo>
                      <a:lnTo>
                        <a:pt x="598125" y="69664"/>
                      </a:lnTo>
                      <a:lnTo>
                        <a:pt x="604391" y="66568"/>
                      </a:lnTo>
                      <a:lnTo>
                        <a:pt x="605605" y="64285"/>
                      </a:lnTo>
                      <a:lnTo>
                        <a:pt x="605763" y="62075"/>
                      </a:lnTo>
                      <a:lnTo>
                        <a:pt x="605301" y="60156"/>
                      </a:lnTo>
                      <a:lnTo>
                        <a:pt x="605131" y="58808"/>
                      </a:lnTo>
                      <a:lnTo>
                        <a:pt x="605423" y="57375"/>
                      </a:lnTo>
                      <a:lnTo>
                        <a:pt x="607317" y="53587"/>
                      </a:lnTo>
                      <a:lnTo>
                        <a:pt x="607608" y="51984"/>
                      </a:lnTo>
                      <a:lnTo>
                        <a:pt x="607839" y="48620"/>
                      </a:lnTo>
                      <a:lnTo>
                        <a:pt x="608288" y="47187"/>
                      </a:lnTo>
                      <a:lnTo>
                        <a:pt x="609041" y="46094"/>
                      </a:lnTo>
                      <a:lnTo>
                        <a:pt x="609903" y="45354"/>
                      </a:lnTo>
                      <a:lnTo>
                        <a:pt x="613182" y="44188"/>
                      </a:lnTo>
                      <a:lnTo>
                        <a:pt x="617663" y="43678"/>
                      </a:lnTo>
                      <a:lnTo>
                        <a:pt x="620346" y="43763"/>
                      </a:lnTo>
                      <a:lnTo>
                        <a:pt x="623564" y="44407"/>
                      </a:lnTo>
                      <a:lnTo>
                        <a:pt x="625629" y="45354"/>
                      </a:lnTo>
                      <a:lnTo>
                        <a:pt x="627644" y="46811"/>
                      </a:lnTo>
                      <a:lnTo>
                        <a:pt x="630049" y="49798"/>
                      </a:lnTo>
                      <a:lnTo>
                        <a:pt x="631384" y="52433"/>
                      </a:lnTo>
                      <a:lnTo>
                        <a:pt x="632817" y="54327"/>
                      </a:lnTo>
                      <a:lnTo>
                        <a:pt x="634760" y="55506"/>
                      </a:lnTo>
                      <a:lnTo>
                        <a:pt x="638209" y="55603"/>
                      </a:lnTo>
                      <a:lnTo>
                        <a:pt x="650898" y="52955"/>
                      </a:lnTo>
                      <a:lnTo>
                        <a:pt x="653145" y="53380"/>
                      </a:lnTo>
                      <a:lnTo>
                        <a:pt x="654735" y="54570"/>
                      </a:lnTo>
                      <a:lnTo>
                        <a:pt x="655379" y="57643"/>
                      </a:lnTo>
                      <a:lnTo>
                        <a:pt x="655257" y="59500"/>
                      </a:lnTo>
                      <a:lnTo>
                        <a:pt x="654917" y="60933"/>
                      </a:lnTo>
                      <a:lnTo>
                        <a:pt x="655257" y="62148"/>
                      </a:lnTo>
                      <a:lnTo>
                        <a:pt x="656289" y="63544"/>
                      </a:lnTo>
                      <a:lnTo>
                        <a:pt x="660782" y="66070"/>
                      </a:lnTo>
                      <a:lnTo>
                        <a:pt x="663770" y="65790"/>
                      </a:lnTo>
                      <a:lnTo>
                        <a:pt x="667376" y="65790"/>
                      </a:lnTo>
                      <a:lnTo>
                        <a:pt x="669039" y="66434"/>
                      </a:lnTo>
                      <a:lnTo>
                        <a:pt x="671165" y="66434"/>
                      </a:lnTo>
                      <a:lnTo>
                        <a:pt x="672840" y="65790"/>
                      </a:lnTo>
                      <a:lnTo>
                        <a:pt x="673873" y="63666"/>
                      </a:lnTo>
                      <a:lnTo>
                        <a:pt x="673812" y="62378"/>
                      </a:lnTo>
                      <a:lnTo>
                        <a:pt x="673120" y="61285"/>
                      </a:lnTo>
                      <a:lnTo>
                        <a:pt x="671966" y="60338"/>
                      </a:lnTo>
                      <a:lnTo>
                        <a:pt x="670654" y="59513"/>
                      </a:lnTo>
                      <a:lnTo>
                        <a:pt x="669343" y="58820"/>
                      </a:lnTo>
                      <a:lnTo>
                        <a:pt x="668129" y="58068"/>
                      </a:lnTo>
                      <a:lnTo>
                        <a:pt x="667376" y="56999"/>
                      </a:lnTo>
                      <a:lnTo>
                        <a:pt x="667097" y="55687"/>
                      </a:lnTo>
                      <a:lnTo>
                        <a:pt x="667157" y="54109"/>
                      </a:lnTo>
                      <a:lnTo>
                        <a:pt x="667789" y="52579"/>
                      </a:lnTo>
                      <a:lnTo>
                        <a:pt x="668918" y="51668"/>
                      </a:lnTo>
                      <a:lnTo>
                        <a:pt x="671116" y="51644"/>
                      </a:lnTo>
                      <a:lnTo>
                        <a:pt x="672719" y="52433"/>
                      </a:lnTo>
                      <a:lnTo>
                        <a:pt x="675427" y="52834"/>
                      </a:lnTo>
                      <a:lnTo>
                        <a:pt x="678693" y="52263"/>
                      </a:lnTo>
                      <a:lnTo>
                        <a:pt x="689379" y="48013"/>
                      </a:lnTo>
                      <a:lnTo>
                        <a:pt x="705043" y="38736"/>
                      </a:lnTo>
                      <a:lnTo>
                        <a:pt x="706537" y="36307"/>
                      </a:lnTo>
                      <a:lnTo>
                        <a:pt x="706598" y="34571"/>
                      </a:lnTo>
                      <a:lnTo>
                        <a:pt x="706318" y="33077"/>
                      </a:lnTo>
                      <a:lnTo>
                        <a:pt x="705796" y="31754"/>
                      </a:lnTo>
                      <a:lnTo>
                        <a:pt x="705675" y="30734"/>
                      </a:lnTo>
                      <a:lnTo>
                        <a:pt x="706027" y="29058"/>
                      </a:lnTo>
                      <a:lnTo>
                        <a:pt x="707399" y="27006"/>
                      </a:lnTo>
                      <a:lnTo>
                        <a:pt x="710216" y="23849"/>
                      </a:lnTo>
                      <a:lnTo>
                        <a:pt x="713143" y="21408"/>
                      </a:lnTo>
                      <a:lnTo>
                        <a:pt x="716883" y="19745"/>
                      </a:lnTo>
                      <a:lnTo>
                        <a:pt x="721181" y="18482"/>
                      </a:lnTo>
                      <a:lnTo>
                        <a:pt x="722517" y="17668"/>
                      </a:lnTo>
                      <a:lnTo>
                        <a:pt x="723306" y="16199"/>
                      </a:lnTo>
                      <a:lnTo>
                        <a:pt x="723428" y="14620"/>
                      </a:lnTo>
                      <a:lnTo>
                        <a:pt x="723076" y="13636"/>
                      </a:lnTo>
                      <a:lnTo>
                        <a:pt x="722335" y="12701"/>
                      </a:lnTo>
                      <a:lnTo>
                        <a:pt x="720841" y="11754"/>
                      </a:lnTo>
                      <a:lnTo>
                        <a:pt x="719627" y="10710"/>
                      </a:lnTo>
                      <a:lnTo>
                        <a:pt x="718656" y="9423"/>
                      </a:lnTo>
                      <a:lnTo>
                        <a:pt x="718473" y="8500"/>
                      </a:lnTo>
                      <a:lnTo>
                        <a:pt x="718777" y="7444"/>
                      </a:lnTo>
                      <a:lnTo>
                        <a:pt x="719578" y="6618"/>
                      </a:lnTo>
                      <a:lnTo>
                        <a:pt x="720902" y="6242"/>
                      </a:lnTo>
                      <a:moveTo>
                        <a:pt x="720805" y="0"/>
                      </a:moveTo>
                      <a:lnTo>
                        <a:pt x="719372" y="364"/>
                      </a:lnTo>
                      <a:lnTo>
                        <a:pt x="718048" y="704"/>
                      </a:lnTo>
                      <a:lnTo>
                        <a:pt x="716397" y="1141"/>
                      </a:lnTo>
                      <a:lnTo>
                        <a:pt x="715207" y="2380"/>
                      </a:lnTo>
                      <a:lnTo>
                        <a:pt x="714406" y="3206"/>
                      </a:lnTo>
                      <a:lnTo>
                        <a:pt x="713361" y="4286"/>
                      </a:lnTo>
                      <a:lnTo>
                        <a:pt x="712948" y="5744"/>
                      </a:lnTo>
                      <a:lnTo>
                        <a:pt x="712645" y="6800"/>
                      </a:lnTo>
                      <a:lnTo>
                        <a:pt x="712244" y="8196"/>
                      </a:lnTo>
                      <a:lnTo>
                        <a:pt x="712511" y="9617"/>
                      </a:lnTo>
                      <a:lnTo>
                        <a:pt x="712693" y="10540"/>
                      </a:lnTo>
                      <a:lnTo>
                        <a:pt x="712961" y="11912"/>
                      </a:lnTo>
                      <a:lnTo>
                        <a:pt x="713810" y="13042"/>
                      </a:lnTo>
                      <a:lnTo>
                        <a:pt x="714600" y="14098"/>
                      </a:lnTo>
                      <a:lnTo>
                        <a:pt x="714418" y="14183"/>
                      </a:lnTo>
                      <a:lnTo>
                        <a:pt x="710678" y="15846"/>
                      </a:lnTo>
                      <a:lnTo>
                        <a:pt x="709913" y="16187"/>
                      </a:lnTo>
                      <a:lnTo>
                        <a:pt x="709257" y="16733"/>
                      </a:lnTo>
                      <a:lnTo>
                        <a:pt x="706330" y="19174"/>
                      </a:lnTo>
                      <a:lnTo>
                        <a:pt x="705990" y="19453"/>
                      </a:lnTo>
                      <a:lnTo>
                        <a:pt x="705699" y="19781"/>
                      </a:lnTo>
                      <a:lnTo>
                        <a:pt x="702882" y="22938"/>
                      </a:lnTo>
                      <a:lnTo>
                        <a:pt x="702603" y="23242"/>
                      </a:lnTo>
                      <a:lnTo>
                        <a:pt x="702360" y="23594"/>
                      </a:lnTo>
                      <a:lnTo>
                        <a:pt x="700988" y="25646"/>
                      </a:lnTo>
                      <a:lnTo>
                        <a:pt x="700332" y="26629"/>
                      </a:lnTo>
                      <a:lnTo>
                        <a:pt x="700089" y="27783"/>
                      </a:lnTo>
                      <a:lnTo>
                        <a:pt x="699737" y="29459"/>
                      </a:lnTo>
                      <a:lnTo>
                        <a:pt x="699530" y="30430"/>
                      </a:lnTo>
                      <a:lnTo>
                        <a:pt x="699640" y="31402"/>
                      </a:lnTo>
                      <a:lnTo>
                        <a:pt x="699761" y="32422"/>
                      </a:lnTo>
                      <a:lnTo>
                        <a:pt x="699846" y="33199"/>
                      </a:lnTo>
                      <a:lnTo>
                        <a:pt x="700138" y="33940"/>
                      </a:lnTo>
                      <a:lnTo>
                        <a:pt x="700332" y="34437"/>
                      </a:lnTo>
                      <a:lnTo>
                        <a:pt x="686683" y="42513"/>
                      </a:lnTo>
                      <a:lnTo>
                        <a:pt x="677017" y="46349"/>
                      </a:lnTo>
                      <a:lnTo>
                        <a:pt x="675330" y="46629"/>
                      </a:lnTo>
                      <a:lnTo>
                        <a:pt x="674540" y="46507"/>
                      </a:lnTo>
                      <a:lnTo>
                        <a:pt x="673787" y="46143"/>
                      </a:lnTo>
                      <a:lnTo>
                        <a:pt x="672488" y="45500"/>
                      </a:lnTo>
                      <a:lnTo>
                        <a:pt x="671031" y="45512"/>
                      </a:lnTo>
                      <a:lnTo>
                        <a:pt x="668833" y="45536"/>
                      </a:lnTo>
                      <a:lnTo>
                        <a:pt x="666732" y="45560"/>
                      </a:lnTo>
                      <a:lnTo>
                        <a:pt x="665093" y="46872"/>
                      </a:lnTo>
                      <a:lnTo>
                        <a:pt x="663964" y="47782"/>
                      </a:lnTo>
                      <a:lnTo>
                        <a:pt x="662750" y="48766"/>
                      </a:lnTo>
                      <a:lnTo>
                        <a:pt x="662154" y="50199"/>
                      </a:lnTo>
                      <a:lnTo>
                        <a:pt x="661523" y="51729"/>
                      </a:lnTo>
                      <a:lnTo>
                        <a:pt x="661110" y="52737"/>
                      </a:lnTo>
                      <a:lnTo>
                        <a:pt x="661074" y="53818"/>
                      </a:lnTo>
                      <a:lnTo>
                        <a:pt x="661025" y="55020"/>
                      </a:lnTo>
                      <a:lnTo>
                        <a:pt x="660661" y="53259"/>
                      </a:lnTo>
                      <a:lnTo>
                        <a:pt x="660187" y="51000"/>
                      </a:lnTo>
                      <a:lnTo>
                        <a:pt x="658342" y="49628"/>
                      </a:lnTo>
                      <a:lnTo>
                        <a:pt x="656751" y="48438"/>
                      </a:lnTo>
                      <a:lnTo>
                        <a:pt x="655634" y="47612"/>
                      </a:lnTo>
                      <a:lnTo>
                        <a:pt x="654262" y="47357"/>
                      </a:lnTo>
                      <a:lnTo>
                        <a:pt x="652015" y="46932"/>
                      </a:lnTo>
                      <a:lnTo>
                        <a:pt x="650825" y="46702"/>
                      </a:lnTo>
                      <a:lnTo>
                        <a:pt x="649635" y="46957"/>
                      </a:lnTo>
                      <a:lnTo>
                        <a:pt x="637638" y="49458"/>
                      </a:lnTo>
                      <a:lnTo>
                        <a:pt x="636739" y="49422"/>
                      </a:lnTo>
                      <a:lnTo>
                        <a:pt x="636521" y="49155"/>
                      </a:lnTo>
                      <a:lnTo>
                        <a:pt x="635428" y="47005"/>
                      </a:lnTo>
                      <a:lnTo>
                        <a:pt x="635149" y="46435"/>
                      </a:lnTo>
                      <a:lnTo>
                        <a:pt x="634748" y="45937"/>
                      </a:lnTo>
                      <a:lnTo>
                        <a:pt x="632343" y="42949"/>
                      </a:lnTo>
                      <a:lnTo>
                        <a:pt x="631834" y="42318"/>
                      </a:lnTo>
                      <a:lnTo>
                        <a:pt x="631166" y="41833"/>
                      </a:lnTo>
                      <a:lnTo>
                        <a:pt x="629150" y="40375"/>
                      </a:lnTo>
                      <a:lnTo>
                        <a:pt x="628664" y="40035"/>
                      </a:lnTo>
                      <a:lnTo>
                        <a:pt x="628130" y="39780"/>
                      </a:lnTo>
                      <a:lnTo>
                        <a:pt x="626066" y="38833"/>
                      </a:lnTo>
                      <a:lnTo>
                        <a:pt x="625422" y="38542"/>
                      </a:lnTo>
                      <a:lnTo>
                        <a:pt x="624718" y="38396"/>
                      </a:lnTo>
                      <a:lnTo>
                        <a:pt x="621500" y="37753"/>
                      </a:lnTo>
                      <a:lnTo>
                        <a:pt x="621002" y="37655"/>
                      </a:lnTo>
                      <a:lnTo>
                        <a:pt x="620492" y="37631"/>
                      </a:lnTo>
                      <a:lnTo>
                        <a:pt x="617809" y="37546"/>
                      </a:lnTo>
                      <a:lnTo>
                        <a:pt x="617371" y="37534"/>
                      </a:lnTo>
                      <a:lnTo>
                        <a:pt x="616934" y="37582"/>
                      </a:lnTo>
                      <a:lnTo>
                        <a:pt x="612453" y="38092"/>
                      </a:lnTo>
                      <a:lnTo>
                        <a:pt x="611761" y="38178"/>
                      </a:lnTo>
                      <a:lnTo>
                        <a:pt x="611106" y="38408"/>
                      </a:lnTo>
                      <a:lnTo>
                        <a:pt x="607827" y="39574"/>
                      </a:lnTo>
                      <a:lnTo>
                        <a:pt x="606771" y="39950"/>
                      </a:lnTo>
                      <a:lnTo>
                        <a:pt x="605908" y="40691"/>
                      </a:lnTo>
                      <a:lnTo>
                        <a:pt x="605046" y="41432"/>
                      </a:lnTo>
                      <a:lnTo>
                        <a:pt x="604451" y="41942"/>
                      </a:lnTo>
                      <a:lnTo>
                        <a:pt x="604002" y="42597"/>
                      </a:lnTo>
                      <a:lnTo>
                        <a:pt x="603249" y="43690"/>
                      </a:lnTo>
                      <a:lnTo>
                        <a:pt x="602727" y="44443"/>
                      </a:lnTo>
                      <a:lnTo>
                        <a:pt x="602460" y="45317"/>
                      </a:lnTo>
                      <a:lnTo>
                        <a:pt x="602010" y="46750"/>
                      </a:lnTo>
                      <a:lnTo>
                        <a:pt x="601792" y="47430"/>
                      </a:lnTo>
                      <a:lnTo>
                        <a:pt x="601743" y="48159"/>
                      </a:lnTo>
                      <a:lnTo>
                        <a:pt x="601537" y="51195"/>
                      </a:lnTo>
                      <a:lnTo>
                        <a:pt x="601464" y="51607"/>
                      </a:lnTo>
                      <a:lnTo>
                        <a:pt x="599958" y="54631"/>
                      </a:lnTo>
                      <a:lnTo>
                        <a:pt x="599594" y="55348"/>
                      </a:lnTo>
                      <a:lnTo>
                        <a:pt x="599436" y="56125"/>
                      </a:lnTo>
                      <a:lnTo>
                        <a:pt x="599145" y="57557"/>
                      </a:lnTo>
                      <a:lnTo>
                        <a:pt x="598950" y="58529"/>
                      </a:lnTo>
                      <a:lnTo>
                        <a:pt x="599072" y="59500"/>
                      </a:lnTo>
                      <a:lnTo>
                        <a:pt x="599242" y="60848"/>
                      </a:lnTo>
                      <a:lnTo>
                        <a:pt x="599278" y="61188"/>
                      </a:lnTo>
                      <a:lnTo>
                        <a:pt x="599351" y="61528"/>
                      </a:lnTo>
                      <a:lnTo>
                        <a:pt x="599497" y="62135"/>
                      </a:lnTo>
                      <a:lnTo>
                        <a:pt x="595393" y="64163"/>
                      </a:lnTo>
                      <a:lnTo>
                        <a:pt x="594968" y="64382"/>
                      </a:lnTo>
                      <a:lnTo>
                        <a:pt x="594579" y="64649"/>
                      </a:lnTo>
                      <a:lnTo>
                        <a:pt x="593086" y="65706"/>
                      </a:lnTo>
                      <a:lnTo>
                        <a:pt x="592357" y="66215"/>
                      </a:lnTo>
                      <a:lnTo>
                        <a:pt x="591810" y="66920"/>
                      </a:lnTo>
                      <a:lnTo>
                        <a:pt x="590317" y="68814"/>
                      </a:lnTo>
                      <a:lnTo>
                        <a:pt x="587293" y="71485"/>
                      </a:lnTo>
                      <a:lnTo>
                        <a:pt x="586880" y="71850"/>
                      </a:lnTo>
                      <a:lnTo>
                        <a:pt x="586540" y="72287"/>
                      </a:lnTo>
                      <a:lnTo>
                        <a:pt x="582995" y="76792"/>
                      </a:lnTo>
                      <a:lnTo>
                        <a:pt x="582983" y="76804"/>
                      </a:lnTo>
                      <a:lnTo>
                        <a:pt x="581538" y="75590"/>
                      </a:lnTo>
                      <a:lnTo>
                        <a:pt x="580299" y="74558"/>
                      </a:lnTo>
                      <a:lnTo>
                        <a:pt x="578720" y="74278"/>
                      </a:lnTo>
                      <a:lnTo>
                        <a:pt x="575903" y="73768"/>
                      </a:lnTo>
                      <a:lnTo>
                        <a:pt x="574652" y="73538"/>
                      </a:lnTo>
                      <a:lnTo>
                        <a:pt x="573414" y="73829"/>
                      </a:lnTo>
                      <a:lnTo>
                        <a:pt x="571180" y="74363"/>
                      </a:lnTo>
                      <a:lnTo>
                        <a:pt x="569710" y="74716"/>
                      </a:lnTo>
                      <a:lnTo>
                        <a:pt x="568569" y="75711"/>
                      </a:lnTo>
                      <a:lnTo>
                        <a:pt x="566444" y="77581"/>
                      </a:lnTo>
                      <a:lnTo>
                        <a:pt x="565897" y="78067"/>
                      </a:lnTo>
                      <a:lnTo>
                        <a:pt x="565472" y="78674"/>
                      </a:lnTo>
                      <a:lnTo>
                        <a:pt x="558867" y="88206"/>
                      </a:lnTo>
                      <a:lnTo>
                        <a:pt x="554811" y="93173"/>
                      </a:lnTo>
                      <a:lnTo>
                        <a:pt x="554179" y="93707"/>
                      </a:lnTo>
                      <a:lnTo>
                        <a:pt x="553439" y="94193"/>
                      </a:lnTo>
                      <a:lnTo>
                        <a:pt x="552710" y="94363"/>
                      </a:lnTo>
                      <a:lnTo>
                        <a:pt x="546396" y="94897"/>
                      </a:lnTo>
                      <a:lnTo>
                        <a:pt x="545886" y="94933"/>
                      </a:lnTo>
                      <a:lnTo>
                        <a:pt x="545388" y="95067"/>
                      </a:lnTo>
                      <a:lnTo>
                        <a:pt x="542449" y="95820"/>
                      </a:lnTo>
                      <a:lnTo>
                        <a:pt x="541782" y="95747"/>
                      </a:lnTo>
                      <a:lnTo>
                        <a:pt x="541041" y="95395"/>
                      </a:lnTo>
                      <a:lnTo>
                        <a:pt x="539681" y="94472"/>
                      </a:lnTo>
                      <a:lnTo>
                        <a:pt x="538916" y="93950"/>
                      </a:lnTo>
                      <a:lnTo>
                        <a:pt x="538017" y="93683"/>
                      </a:lnTo>
                      <a:lnTo>
                        <a:pt x="535953" y="93063"/>
                      </a:lnTo>
                      <a:lnTo>
                        <a:pt x="535382" y="92893"/>
                      </a:lnTo>
                      <a:lnTo>
                        <a:pt x="534799" y="92833"/>
                      </a:lnTo>
                      <a:lnTo>
                        <a:pt x="532456" y="92614"/>
                      </a:lnTo>
                      <a:lnTo>
                        <a:pt x="532237" y="91606"/>
                      </a:lnTo>
                      <a:lnTo>
                        <a:pt x="531691" y="90732"/>
                      </a:lnTo>
                      <a:lnTo>
                        <a:pt x="531181" y="89906"/>
                      </a:lnTo>
                      <a:lnTo>
                        <a:pt x="530695" y="89117"/>
                      </a:lnTo>
                      <a:lnTo>
                        <a:pt x="529991" y="88510"/>
                      </a:lnTo>
                      <a:lnTo>
                        <a:pt x="529299" y="87903"/>
                      </a:lnTo>
                      <a:lnTo>
                        <a:pt x="528776" y="87453"/>
                      </a:lnTo>
                      <a:lnTo>
                        <a:pt x="528157" y="87125"/>
                      </a:lnTo>
                      <a:lnTo>
                        <a:pt x="527064" y="86543"/>
                      </a:lnTo>
                      <a:lnTo>
                        <a:pt x="526688" y="86336"/>
                      </a:lnTo>
                      <a:lnTo>
                        <a:pt x="526287" y="86190"/>
                      </a:lnTo>
                      <a:lnTo>
                        <a:pt x="524915" y="85693"/>
                      </a:lnTo>
                      <a:lnTo>
                        <a:pt x="524369" y="85486"/>
                      </a:lnTo>
                      <a:lnTo>
                        <a:pt x="523798" y="85389"/>
                      </a:lnTo>
                      <a:lnTo>
                        <a:pt x="519196" y="84649"/>
                      </a:lnTo>
                      <a:lnTo>
                        <a:pt x="518746" y="84576"/>
                      </a:lnTo>
                      <a:lnTo>
                        <a:pt x="518285" y="84576"/>
                      </a:lnTo>
                      <a:lnTo>
                        <a:pt x="515067" y="84551"/>
                      </a:lnTo>
                      <a:lnTo>
                        <a:pt x="514326" y="84551"/>
                      </a:lnTo>
                      <a:lnTo>
                        <a:pt x="513598" y="84721"/>
                      </a:lnTo>
                      <a:lnTo>
                        <a:pt x="512165" y="85061"/>
                      </a:lnTo>
                      <a:lnTo>
                        <a:pt x="510732" y="85401"/>
                      </a:lnTo>
                      <a:lnTo>
                        <a:pt x="509615" y="86361"/>
                      </a:lnTo>
                      <a:lnTo>
                        <a:pt x="508583" y="87247"/>
                      </a:lnTo>
                      <a:lnTo>
                        <a:pt x="507101" y="88522"/>
                      </a:lnTo>
                      <a:lnTo>
                        <a:pt x="506640" y="90404"/>
                      </a:lnTo>
                      <a:lnTo>
                        <a:pt x="506421" y="91278"/>
                      </a:lnTo>
                      <a:lnTo>
                        <a:pt x="506397" y="91205"/>
                      </a:lnTo>
                      <a:lnTo>
                        <a:pt x="505486" y="89518"/>
                      </a:lnTo>
                      <a:lnTo>
                        <a:pt x="503762" y="88668"/>
                      </a:lnTo>
                      <a:lnTo>
                        <a:pt x="501698" y="87636"/>
                      </a:lnTo>
                      <a:lnTo>
                        <a:pt x="500095" y="86846"/>
                      </a:lnTo>
                      <a:lnTo>
                        <a:pt x="498322" y="87041"/>
                      </a:lnTo>
                      <a:lnTo>
                        <a:pt x="489943" y="87963"/>
                      </a:lnTo>
                      <a:lnTo>
                        <a:pt x="486774" y="88583"/>
                      </a:lnTo>
                      <a:lnTo>
                        <a:pt x="482403" y="89894"/>
                      </a:lnTo>
                      <a:lnTo>
                        <a:pt x="475287" y="90781"/>
                      </a:lnTo>
                      <a:lnTo>
                        <a:pt x="474825" y="90841"/>
                      </a:lnTo>
                      <a:lnTo>
                        <a:pt x="474376" y="90975"/>
                      </a:lnTo>
                      <a:lnTo>
                        <a:pt x="472251" y="91582"/>
                      </a:lnTo>
                      <a:lnTo>
                        <a:pt x="471183" y="91874"/>
                      </a:lnTo>
                      <a:lnTo>
                        <a:pt x="470284" y="92554"/>
                      </a:lnTo>
                      <a:lnTo>
                        <a:pt x="468900" y="93586"/>
                      </a:lnTo>
                      <a:lnTo>
                        <a:pt x="467649" y="94521"/>
                      </a:lnTo>
                      <a:lnTo>
                        <a:pt x="467005" y="95941"/>
                      </a:lnTo>
                      <a:lnTo>
                        <a:pt x="465694" y="98844"/>
                      </a:lnTo>
                      <a:lnTo>
                        <a:pt x="465560" y="98868"/>
                      </a:lnTo>
                      <a:lnTo>
                        <a:pt x="463605" y="98916"/>
                      </a:lnTo>
                      <a:lnTo>
                        <a:pt x="462306" y="98953"/>
                      </a:lnTo>
                      <a:lnTo>
                        <a:pt x="461128" y="99524"/>
                      </a:lnTo>
                      <a:lnTo>
                        <a:pt x="459404" y="100349"/>
                      </a:lnTo>
                      <a:lnTo>
                        <a:pt x="458384" y="100835"/>
                      </a:lnTo>
                      <a:lnTo>
                        <a:pt x="457607" y="101661"/>
                      </a:lnTo>
                      <a:lnTo>
                        <a:pt x="456283" y="103069"/>
                      </a:lnTo>
                      <a:lnTo>
                        <a:pt x="455943" y="103421"/>
                      </a:lnTo>
                      <a:lnTo>
                        <a:pt x="455676" y="103822"/>
                      </a:lnTo>
                      <a:lnTo>
                        <a:pt x="453842" y="106554"/>
                      </a:lnTo>
                      <a:lnTo>
                        <a:pt x="453357" y="107283"/>
                      </a:lnTo>
                      <a:lnTo>
                        <a:pt x="453102" y="108097"/>
                      </a:lnTo>
                      <a:lnTo>
                        <a:pt x="452628" y="109578"/>
                      </a:lnTo>
                      <a:lnTo>
                        <a:pt x="451972" y="112322"/>
                      </a:lnTo>
                      <a:lnTo>
                        <a:pt x="451863" y="112796"/>
                      </a:lnTo>
                      <a:lnTo>
                        <a:pt x="451839" y="113282"/>
                      </a:lnTo>
                      <a:lnTo>
                        <a:pt x="451523" y="118260"/>
                      </a:lnTo>
                      <a:lnTo>
                        <a:pt x="451317" y="119280"/>
                      </a:lnTo>
                      <a:lnTo>
                        <a:pt x="450163" y="122073"/>
                      </a:lnTo>
                      <a:lnTo>
                        <a:pt x="450005" y="122461"/>
                      </a:lnTo>
                      <a:lnTo>
                        <a:pt x="449908" y="122862"/>
                      </a:lnTo>
                      <a:lnTo>
                        <a:pt x="446715" y="135163"/>
                      </a:lnTo>
                      <a:lnTo>
                        <a:pt x="441833" y="147901"/>
                      </a:lnTo>
                      <a:lnTo>
                        <a:pt x="441566" y="148302"/>
                      </a:lnTo>
                      <a:lnTo>
                        <a:pt x="441165" y="148702"/>
                      </a:lnTo>
                      <a:lnTo>
                        <a:pt x="436782" y="152054"/>
                      </a:lnTo>
                      <a:lnTo>
                        <a:pt x="436296" y="151823"/>
                      </a:lnTo>
                      <a:lnTo>
                        <a:pt x="435045" y="151252"/>
                      </a:lnTo>
                      <a:lnTo>
                        <a:pt x="432750" y="150208"/>
                      </a:lnTo>
                      <a:lnTo>
                        <a:pt x="430382" y="151094"/>
                      </a:lnTo>
                      <a:lnTo>
                        <a:pt x="429690" y="151349"/>
                      </a:lnTo>
                      <a:lnTo>
                        <a:pt x="427650" y="152115"/>
                      </a:lnTo>
                      <a:lnTo>
                        <a:pt x="426569" y="154009"/>
                      </a:lnTo>
                      <a:lnTo>
                        <a:pt x="426047" y="154920"/>
                      </a:lnTo>
                      <a:lnTo>
                        <a:pt x="425513" y="155855"/>
                      </a:lnTo>
                      <a:lnTo>
                        <a:pt x="425331" y="156923"/>
                      </a:lnTo>
                      <a:lnTo>
                        <a:pt x="425039" y="158648"/>
                      </a:lnTo>
                      <a:lnTo>
                        <a:pt x="424906" y="159437"/>
                      </a:lnTo>
                      <a:lnTo>
                        <a:pt x="424979" y="160238"/>
                      </a:lnTo>
                      <a:lnTo>
                        <a:pt x="425149" y="161987"/>
                      </a:lnTo>
                      <a:lnTo>
                        <a:pt x="424991" y="163420"/>
                      </a:lnTo>
                      <a:lnTo>
                        <a:pt x="424614" y="164622"/>
                      </a:lnTo>
                      <a:lnTo>
                        <a:pt x="418203" y="171386"/>
                      </a:lnTo>
                      <a:lnTo>
                        <a:pt x="416940" y="172029"/>
                      </a:lnTo>
                      <a:lnTo>
                        <a:pt x="416260" y="172284"/>
                      </a:lnTo>
                      <a:lnTo>
                        <a:pt x="415944" y="172332"/>
                      </a:lnTo>
                      <a:lnTo>
                        <a:pt x="412471" y="172466"/>
                      </a:lnTo>
                      <a:lnTo>
                        <a:pt x="411464" y="172405"/>
                      </a:lnTo>
                      <a:lnTo>
                        <a:pt x="410371" y="172235"/>
                      </a:lnTo>
                      <a:lnTo>
                        <a:pt x="406691" y="171142"/>
                      </a:lnTo>
                      <a:lnTo>
                        <a:pt x="397815" y="165496"/>
                      </a:lnTo>
                      <a:lnTo>
                        <a:pt x="394038" y="162011"/>
                      </a:lnTo>
                      <a:lnTo>
                        <a:pt x="385951" y="150633"/>
                      </a:lnTo>
                      <a:lnTo>
                        <a:pt x="384628" y="148787"/>
                      </a:lnTo>
                      <a:lnTo>
                        <a:pt x="382405" y="148253"/>
                      </a:lnTo>
                      <a:lnTo>
                        <a:pt x="370821" y="145484"/>
                      </a:lnTo>
                      <a:lnTo>
                        <a:pt x="366304" y="143202"/>
                      </a:lnTo>
                      <a:lnTo>
                        <a:pt x="358484" y="136839"/>
                      </a:lnTo>
                      <a:lnTo>
                        <a:pt x="358168" y="136584"/>
                      </a:lnTo>
                      <a:lnTo>
                        <a:pt x="357828" y="136365"/>
                      </a:lnTo>
                      <a:lnTo>
                        <a:pt x="351684" y="132577"/>
                      </a:lnTo>
                      <a:lnTo>
                        <a:pt x="350967" y="132139"/>
                      </a:lnTo>
                      <a:lnTo>
                        <a:pt x="350166" y="131897"/>
                      </a:lnTo>
                      <a:lnTo>
                        <a:pt x="347240" y="131071"/>
                      </a:lnTo>
                      <a:lnTo>
                        <a:pt x="346013" y="130731"/>
                      </a:lnTo>
                      <a:lnTo>
                        <a:pt x="344750" y="130913"/>
                      </a:lnTo>
                      <a:lnTo>
                        <a:pt x="342674" y="131192"/>
                      </a:lnTo>
                      <a:lnTo>
                        <a:pt x="340124" y="131532"/>
                      </a:lnTo>
                      <a:lnTo>
                        <a:pt x="338606" y="133609"/>
                      </a:lnTo>
                      <a:lnTo>
                        <a:pt x="335631" y="137665"/>
                      </a:lnTo>
                      <a:lnTo>
                        <a:pt x="335145" y="138417"/>
                      </a:lnTo>
                      <a:lnTo>
                        <a:pt x="333020" y="136025"/>
                      </a:lnTo>
                      <a:lnTo>
                        <a:pt x="332061" y="134556"/>
                      </a:lnTo>
                      <a:lnTo>
                        <a:pt x="331879" y="134277"/>
                      </a:lnTo>
                      <a:lnTo>
                        <a:pt x="331660" y="134021"/>
                      </a:lnTo>
                      <a:lnTo>
                        <a:pt x="330397" y="132480"/>
                      </a:lnTo>
                      <a:lnTo>
                        <a:pt x="330130" y="132152"/>
                      </a:lnTo>
                      <a:lnTo>
                        <a:pt x="329827" y="131872"/>
                      </a:lnTo>
                      <a:lnTo>
                        <a:pt x="328272" y="130439"/>
                      </a:lnTo>
                      <a:lnTo>
                        <a:pt x="327884" y="130087"/>
                      </a:lnTo>
                      <a:lnTo>
                        <a:pt x="327447" y="129808"/>
                      </a:lnTo>
                      <a:lnTo>
                        <a:pt x="325261" y="128399"/>
                      </a:lnTo>
                      <a:lnTo>
                        <a:pt x="324593" y="127962"/>
                      </a:lnTo>
                      <a:lnTo>
                        <a:pt x="323828" y="127719"/>
                      </a:lnTo>
                      <a:lnTo>
                        <a:pt x="321994" y="127124"/>
                      </a:lnTo>
                      <a:lnTo>
                        <a:pt x="321460" y="126942"/>
                      </a:lnTo>
                      <a:lnTo>
                        <a:pt x="320914" y="126869"/>
                      </a:lnTo>
                      <a:lnTo>
                        <a:pt x="319068" y="126627"/>
                      </a:lnTo>
                      <a:lnTo>
                        <a:pt x="318607" y="126566"/>
                      </a:lnTo>
                      <a:lnTo>
                        <a:pt x="318133" y="126578"/>
                      </a:lnTo>
                      <a:lnTo>
                        <a:pt x="308904" y="126821"/>
                      </a:lnTo>
                      <a:lnTo>
                        <a:pt x="307981" y="126845"/>
                      </a:lnTo>
                      <a:lnTo>
                        <a:pt x="307107" y="127137"/>
                      </a:lnTo>
                      <a:lnTo>
                        <a:pt x="298716" y="129966"/>
                      </a:lnTo>
                      <a:lnTo>
                        <a:pt x="295547" y="131034"/>
                      </a:lnTo>
                      <a:lnTo>
                        <a:pt x="294758" y="134289"/>
                      </a:lnTo>
                      <a:lnTo>
                        <a:pt x="292803" y="142352"/>
                      </a:lnTo>
                      <a:lnTo>
                        <a:pt x="291139" y="145654"/>
                      </a:lnTo>
                      <a:lnTo>
                        <a:pt x="288006" y="150099"/>
                      </a:lnTo>
                      <a:lnTo>
                        <a:pt x="287593" y="150694"/>
                      </a:lnTo>
                      <a:lnTo>
                        <a:pt x="287326" y="151374"/>
                      </a:lnTo>
                      <a:lnTo>
                        <a:pt x="286585" y="153244"/>
                      </a:lnTo>
                      <a:lnTo>
                        <a:pt x="286294" y="153985"/>
                      </a:lnTo>
                      <a:lnTo>
                        <a:pt x="286197" y="154762"/>
                      </a:lnTo>
                      <a:lnTo>
                        <a:pt x="286015" y="156316"/>
                      </a:lnTo>
                      <a:lnTo>
                        <a:pt x="285833" y="157822"/>
                      </a:lnTo>
                      <a:lnTo>
                        <a:pt x="286379" y="159230"/>
                      </a:lnTo>
                      <a:lnTo>
                        <a:pt x="286403" y="159303"/>
                      </a:lnTo>
                      <a:lnTo>
                        <a:pt x="279263" y="163468"/>
                      </a:lnTo>
                      <a:lnTo>
                        <a:pt x="278170" y="163881"/>
                      </a:lnTo>
                      <a:lnTo>
                        <a:pt x="277527" y="163990"/>
                      </a:lnTo>
                      <a:lnTo>
                        <a:pt x="276968" y="163930"/>
                      </a:lnTo>
                      <a:lnTo>
                        <a:pt x="273884" y="163177"/>
                      </a:lnTo>
                      <a:lnTo>
                        <a:pt x="273362" y="163055"/>
                      </a:lnTo>
                      <a:lnTo>
                        <a:pt x="272828" y="163019"/>
                      </a:lnTo>
                      <a:lnTo>
                        <a:pt x="270824" y="162898"/>
                      </a:lnTo>
                      <a:lnTo>
                        <a:pt x="270253" y="162861"/>
                      </a:lnTo>
                      <a:lnTo>
                        <a:pt x="269695" y="162934"/>
                      </a:lnTo>
                      <a:lnTo>
                        <a:pt x="268323" y="163116"/>
                      </a:lnTo>
                      <a:lnTo>
                        <a:pt x="267643" y="163213"/>
                      </a:lnTo>
                      <a:lnTo>
                        <a:pt x="267011" y="163444"/>
                      </a:lnTo>
                      <a:lnTo>
                        <a:pt x="262640" y="165047"/>
                      </a:lnTo>
                      <a:lnTo>
                        <a:pt x="260308" y="165897"/>
                      </a:lnTo>
                      <a:lnTo>
                        <a:pt x="259252" y="168143"/>
                      </a:lnTo>
                      <a:lnTo>
                        <a:pt x="254832" y="177420"/>
                      </a:lnTo>
                      <a:lnTo>
                        <a:pt x="254662" y="177761"/>
                      </a:lnTo>
                      <a:lnTo>
                        <a:pt x="254540" y="178125"/>
                      </a:lnTo>
                      <a:lnTo>
                        <a:pt x="251893" y="186188"/>
                      </a:lnTo>
                      <a:lnTo>
                        <a:pt x="251723" y="186710"/>
                      </a:lnTo>
                      <a:lnTo>
                        <a:pt x="251650" y="187256"/>
                      </a:lnTo>
                      <a:lnTo>
                        <a:pt x="251068" y="191482"/>
                      </a:lnTo>
                      <a:lnTo>
                        <a:pt x="250934" y="192405"/>
                      </a:lnTo>
                      <a:lnTo>
                        <a:pt x="251092" y="193328"/>
                      </a:lnTo>
                      <a:lnTo>
                        <a:pt x="251553" y="196060"/>
                      </a:lnTo>
                      <a:lnTo>
                        <a:pt x="251832" y="197687"/>
                      </a:lnTo>
                      <a:lnTo>
                        <a:pt x="252889" y="198950"/>
                      </a:lnTo>
                      <a:lnTo>
                        <a:pt x="253217" y="199338"/>
                      </a:lnTo>
                      <a:lnTo>
                        <a:pt x="253217" y="199338"/>
                      </a:lnTo>
                      <a:lnTo>
                        <a:pt x="252428" y="201731"/>
                      </a:lnTo>
                      <a:lnTo>
                        <a:pt x="252112" y="202666"/>
                      </a:lnTo>
                      <a:lnTo>
                        <a:pt x="252112" y="203649"/>
                      </a:lnTo>
                      <a:lnTo>
                        <a:pt x="252112" y="204948"/>
                      </a:lnTo>
                      <a:lnTo>
                        <a:pt x="252646" y="206260"/>
                      </a:lnTo>
                      <a:lnTo>
                        <a:pt x="253035" y="207122"/>
                      </a:lnTo>
                      <a:lnTo>
                        <a:pt x="253702" y="208592"/>
                      </a:lnTo>
                      <a:lnTo>
                        <a:pt x="255014" y="209539"/>
                      </a:lnTo>
                      <a:lnTo>
                        <a:pt x="255657" y="210000"/>
                      </a:lnTo>
                      <a:lnTo>
                        <a:pt x="256872" y="210874"/>
                      </a:lnTo>
                      <a:lnTo>
                        <a:pt x="258353" y="211093"/>
                      </a:lnTo>
                      <a:lnTo>
                        <a:pt x="259507" y="211263"/>
                      </a:lnTo>
                      <a:lnTo>
                        <a:pt x="259980" y="211324"/>
                      </a:lnTo>
                      <a:lnTo>
                        <a:pt x="258001" y="219775"/>
                      </a:lnTo>
                      <a:lnTo>
                        <a:pt x="257188" y="221827"/>
                      </a:lnTo>
                      <a:lnTo>
                        <a:pt x="256337" y="223151"/>
                      </a:lnTo>
                      <a:lnTo>
                        <a:pt x="253192" y="226684"/>
                      </a:lnTo>
                      <a:lnTo>
                        <a:pt x="252840" y="227085"/>
                      </a:lnTo>
                      <a:lnTo>
                        <a:pt x="252561" y="227547"/>
                      </a:lnTo>
                      <a:lnTo>
                        <a:pt x="250800" y="230400"/>
                      </a:lnTo>
                      <a:lnTo>
                        <a:pt x="246028" y="235172"/>
                      </a:lnTo>
                      <a:lnTo>
                        <a:pt x="239592" y="238414"/>
                      </a:lnTo>
                      <a:lnTo>
                        <a:pt x="239301" y="238560"/>
                      </a:lnTo>
                      <a:lnTo>
                        <a:pt x="239022" y="238754"/>
                      </a:lnTo>
                      <a:lnTo>
                        <a:pt x="237127" y="239993"/>
                      </a:lnTo>
                      <a:lnTo>
                        <a:pt x="236581" y="240345"/>
                      </a:lnTo>
                      <a:lnTo>
                        <a:pt x="236120" y="240794"/>
                      </a:lnTo>
                      <a:lnTo>
                        <a:pt x="234565" y="242361"/>
                      </a:lnTo>
                      <a:lnTo>
                        <a:pt x="233982" y="242956"/>
                      </a:lnTo>
                      <a:lnTo>
                        <a:pt x="233582" y="243684"/>
                      </a:lnTo>
                      <a:lnTo>
                        <a:pt x="232562" y="245506"/>
                      </a:lnTo>
                      <a:lnTo>
                        <a:pt x="232100" y="246441"/>
                      </a:lnTo>
                      <a:lnTo>
                        <a:pt x="231505" y="247692"/>
                      </a:lnTo>
                      <a:lnTo>
                        <a:pt x="231505" y="249076"/>
                      </a:lnTo>
                      <a:lnTo>
                        <a:pt x="231505" y="251395"/>
                      </a:lnTo>
                      <a:lnTo>
                        <a:pt x="231505" y="254710"/>
                      </a:lnTo>
                      <a:lnTo>
                        <a:pt x="234237" y="256471"/>
                      </a:lnTo>
                      <a:lnTo>
                        <a:pt x="234140" y="257236"/>
                      </a:lnTo>
                      <a:lnTo>
                        <a:pt x="233861" y="259519"/>
                      </a:lnTo>
                      <a:lnTo>
                        <a:pt x="235160" y="261413"/>
                      </a:lnTo>
                      <a:lnTo>
                        <a:pt x="236083" y="262761"/>
                      </a:lnTo>
                      <a:lnTo>
                        <a:pt x="237394" y="264680"/>
                      </a:lnTo>
                      <a:lnTo>
                        <a:pt x="239653" y="265238"/>
                      </a:lnTo>
                      <a:lnTo>
                        <a:pt x="241317" y="265639"/>
                      </a:lnTo>
                      <a:lnTo>
                        <a:pt x="241997" y="265797"/>
                      </a:lnTo>
                      <a:lnTo>
                        <a:pt x="242701" y="265809"/>
                      </a:lnTo>
                      <a:lnTo>
                        <a:pt x="275086" y="266088"/>
                      </a:lnTo>
                      <a:lnTo>
                        <a:pt x="279445" y="266926"/>
                      </a:lnTo>
                      <a:lnTo>
                        <a:pt x="282348" y="268408"/>
                      </a:lnTo>
                      <a:lnTo>
                        <a:pt x="282833" y="269051"/>
                      </a:lnTo>
                      <a:lnTo>
                        <a:pt x="283586" y="269573"/>
                      </a:lnTo>
                      <a:lnTo>
                        <a:pt x="284108" y="269938"/>
                      </a:lnTo>
                      <a:lnTo>
                        <a:pt x="288456" y="277005"/>
                      </a:lnTo>
                      <a:lnTo>
                        <a:pt x="288443" y="277102"/>
                      </a:lnTo>
                      <a:lnTo>
                        <a:pt x="288285" y="277757"/>
                      </a:lnTo>
                      <a:lnTo>
                        <a:pt x="288103" y="278195"/>
                      </a:lnTo>
                      <a:lnTo>
                        <a:pt x="288103" y="278195"/>
                      </a:lnTo>
                      <a:lnTo>
                        <a:pt x="288031" y="278267"/>
                      </a:lnTo>
                      <a:lnTo>
                        <a:pt x="287691" y="278559"/>
                      </a:lnTo>
                      <a:lnTo>
                        <a:pt x="285930" y="280283"/>
                      </a:lnTo>
                      <a:lnTo>
                        <a:pt x="284497" y="281716"/>
                      </a:lnTo>
                      <a:lnTo>
                        <a:pt x="282894" y="282943"/>
                      </a:lnTo>
                      <a:lnTo>
                        <a:pt x="281656" y="283877"/>
                      </a:lnTo>
                      <a:lnTo>
                        <a:pt x="281024" y="285298"/>
                      </a:lnTo>
                      <a:lnTo>
                        <a:pt x="279725" y="288188"/>
                      </a:lnTo>
                      <a:lnTo>
                        <a:pt x="273738" y="295620"/>
                      </a:lnTo>
                      <a:lnTo>
                        <a:pt x="273265" y="296191"/>
                      </a:lnTo>
                      <a:lnTo>
                        <a:pt x="272961" y="296871"/>
                      </a:lnTo>
                      <a:lnTo>
                        <a:pt x="271334" y="300368"/>
                      </a:lnTo>
                      <a:lnTo>
                        <a:pt x="270751" y="300817"/>
                      </a:lnTo>
                      <a:lnTo>
                        <a:pt x="269792" y="301388"/>
                      </a:lnTo>
                      <a:lnTo>
                        <a:pt x="269003" y="301728"/>
                      </a:lnTo>
                      <a:lnTo>
                        <a:pt x="266331" y="302335"/>
                      </a:lnTo>
                      <a:lnTo>
                        <a:pt x="246975" y="304096"/>
                      </a:lnTo>
                      <a:lnTo>
                        <a:pt x="245919" y="304193"/>
                      </a:lnTo>
                      <a:lnTo>
                        <a:pt x="244960" y="304642"/>
                      </a:lnTo>
                      <a:lnTo>
                        <a:pt x="242786" y="305650"/>
                      </a:lnTo>
                      <a:lnTo>
                        <a:pt x="239313" y="307580"/>
                      </a:lnTo>
                      <a:lnTo>
                        <a:pt x="237637" y="308528"/>
                      </a:lnTo>
                      <a:lnTo>
                        <a:pt x="236812" y="310276"/>
                      </a:lnTo>
                      <a:lnTo>
                        <a:pt x="236132" y="311709"/>
                      </a:lnTo>
                      <a:lnTo>
                        <a:pt x="233509" y="315206"/>
                      </a:lnTo>
                      <a:lnTo>
                        <a:pt x="233266" y="315522"/>
                      </a:lnTo>
                      <a:lnTo>
                        <a:pt x="233072" y="315862"/>
                      </a:lnTo>
                      <a:lnTo>
                        <a:pt x="231760" y="318181"/>
                      </a:lnTo>
                      <a:lnTo>
                        <a:pt x="231505" y="318631"/>
                      </a:lnTo>
                      <a:lnTo>
                        <a:pt x="231323" y="319141"/>
                      </a:lnTo>
                      <a:lnTo>
                        <a:pt x="227850" y="328988"/>
                      </a:lnTo>
                      <a:lnTo>
                        <a:pt x="226733" y="331138"/>
                      </a:lnTo>
                      <a:lnTo>
                        <a:pt x="225567" y="332413"/>
                      </a:lnTo>
                      <a:lnTo>
                        <a:pt x="221329" y="332510"/>
                      </a:lnTo>
                      <a:lnTo>
                        <a:pt x="220540" y="332534"/>
                      </a:lnTo>
                      <a:lnTo>
                        <a:pt x="219787" y="332753"/>
                      </a:lnTo>
                      <a:lnTo>
                        <a:pt x="215853" y="333894"/>
                      </a:lnTo>
                      <a:lnTo>
                        <a:pt x="214797" y="333919"/>
                      </a:lnTo>
                      <a:lnTo>
                        <a:pt x="214274" y="333737"/>
                      </a:lnTo>
                      <a:lnTo>
                        <a:pt x="211785" y="331697"/>
                      </a:lnTo>
                      <a:lnTo>
                        <a:pt x="211214" y="331223"/>
                      </a:lnTo>
                      <a:lnTo>
                        <a:pt x="210546" y="330907"/>
                      </a:lnTo>
                      <a:lnTo>
                        <a:pt x="208944" y="330142"/>
                      </a:lnTo>
                      <a:lnTo>
                        <a:pt x="208555" y="329948"/>
                      </a:lnTo>
                      <a:lnTo>
                        <a:pt x="208130" y="329814"/>
                      </a:lnTo>
                      <a:lnTo>
                        <a:pt x="205422" y="328977"/>
                      </a:lnTo>
                      <a:lnTo>
                        <a:pt x="204208" y="328345"/>
                      </a:lnTo>
                      <a:lnTo>
                        <a:pt x="203042" y="327738"/>
                      </a:lnTo>
                      <a:lnTo>
                        <a:pt x="201731" y="327677"/>
                      </a:lnTo>
                      <a:lnTo>
                        <a:pt x="199326" y="327556"/>
                      </a:lnTo>
                      <a:lnTo>
                        <a:pt x="198015" y="327483"/>
                      </a:lnTo>
                      <a:lnTo>
                        <a:pt x="196789" y="327969"/>
                      </a:lnTo>
                      <a:lnTo>
                        <a:pt x="194603" y="328831"/>
                      </a:lnTo>
                      <a:lnTo>
                        <a:pt x="192259" y="330009"/>
                      </a:lnTo>
                      <a:lnTo>
                        <a:pt x="191166" y="330300"/>
                      </a:lnTo>
                      <a:lnTo>
                        <a:pt x="183079" y="329960"/>
                      </a:lnTo>
                      <a:lnTo>
                        <a:pt x="182533" y="329948"/>
                      </a:lnTo>
                      <a:lnTo>
                        <a:pt x="181998" y="330021"/>
                      </a:lnTo>
                      <a:lnTo>
                        <a:pt x="176765" y="330749"/>
                      </a:lnTo>
                      <a:lnTo>
                        <a:pt x="176413" y="330798"/>
                      </a:lnTo>
                      <a:lnTo>
                        <a:pt x="176061" y="330895"/>
                      </a:lnTo>
                      <a:lnTo>
                        <a:pt x="173365" y="331611"/>
                      </a:lnTo>
                      <a:lnTo>
                        <a:pt x="172843" y="331757"/>
                      </a:lnTo>
                      <a:lnTo>
                        <a:pt x="172357" y="331988"/>
                      </a:lnTo>
                      <a:lnTo>
                        <a:pt x="170693" y="332753"/>
                      </a:lnTo>
                      <a:lnTo>
                        <a:pt x="168726" y="333651"/>
                      </a:lnTo>
                      <a:lnTo>
                        <a:pt x="167779" y="335607"/>
                      </a:lnTo>
                      <a:lnTo>
                        <a:pt x="167208" y="336796"/>
                      </a:lnTo>
                      <a:lnTo>
                        <a:pt x="166917" y="337392"/>
                      </a:lnTo>
                      <a:lnTo>
                        <a:pt x="159740" y="329972"/>
                      </a:lnTo>
                      <a:lnTo>
                        <a:pt x="159182" y="329389"/>
                      </a:lnTo>
                      <a:lnTo>
                        <a:pt x="158490" y="328977"/>
                      </a:lnTo>
                      <a:lnTo>
                        <a:pt x="155903" y="327434"/>
                      </a:lnTo>
                      <a:lnTo>
                        <a:pt x="155150" y="326985"/>
                      </a:lnTo>
                      <a:lnTo>
                        <a:pt x="154300" y="326767"/>
                      </a:lnTo>
                      <a:lnTo>
                        <a:pt x="151435" y="326026"/>
                      </a:lnTo>
                      <a:lnTo>
                        <a:pt x="149832" y="325613"/>
                      </a:lnTo>
                      <a:lnTo>
                        <a:pt x="148241" y="326074"/>
                      </a:lnTo>
                      <a:lnTo>
                        <a:pt x="146347" y="326621"/>
                      </a:lnTo>
                      <a:lnTo>
                        <a:pt x="145934" y="326742"/>
                      </a:lnTo>
                      <a:lnTo>
                        <a:pt x="145545" y="326912"/>
                      </a:lnTo>
                      <a:lnTo>
                        <a:pt x="142765" y="328163"/>
                      </a:lnTo>
                      <a:lnTo>
                        <a:pt x="140858" y="328406"/>
                      </a:lnTo>
                      <a:lnTo>
                        <a:pt x="137312" y="328503"/>
                      </a:lnTo>
                      <a:lnTo>
                        <a:pt x="136365" y="328539"/>
                      </a:lnTo>
                      <a:lnTo>
                        <a:pt x="135467" y="328855"/>
                      </a:lnTo>
                      <a:lnTo>
                        <a:pt x="132989" y="329741"/>
                      </a:lnTo>
                      <a:lnTo>
                        <a:pt x="132225" y="330021"/>
                      </a:lnTo>
                      <a:lnTo>
                        <a:pt x="131557" y="330482"/>
                      </a:lnTo>
                      <a:lnTo>
                        <a:pt x="129602" y="331854"/>
                      </a:lnTo>
                      <a:lnTo>
                        <a:pt x="128752" y="332449"/>
                      </a:lnTo>
                      <a:lnTo>
                        <a:pt x="128157" y="333287"/>
                      </a:lnTo>
                      <a:lnTo>
                        <a:pt x="120749" y="343657"/>
                      </a:lnTo>
                      <a:lnTo>
                        <a:pt x="115917" y="351914"/>
                      </a:lnTo>
                      <a:lnTo>
                        <a:pt x="115382" y="352837"/>
                      </a:lnTo>
                      <a:lnTo>
                        <a:pt x="115188" y="353882"/>
                      </a:lnTo>
                      <a:lnTo>
                        <a:pt x="113549" y="362795"/>
                      </a:lnTo>
                      <a:lnTo>
                        <a:pt x="108327" y="361325"/>
                      </a:lnTo>
                      <a:lnTo>
                        <a:pt x="107841" y="361192"/>
                      </a:lnTo>
                      <a:lnTo>
                        <a:pt x="107331" y="361131"/>
                      </a:lnTo>
                      <a:lnTo>
                        <a:pt x="104284" y="360803"/>
                      </a:lnTo>
                      <a:lnTo>
                        <a:pt x="103725" y="360743"/>
                      </a:lnTo>
                      <a:lnTo>
                        <a:pt x="103166" y="360791"/>
                      </a:lnTo>
                      <a:lnTo>
                        <a:pt x="75893" y="362916"/>
                      </a:lnTo>
                      <a:lnTo>
                        <a:pt x="72736" y="362843"/>
                      </a:lnTo>
                      <a:lnTo>
                        <a:pt x="71570" y="362673"/>
                      </a:lnTo>
                      <a:lnTo>
                        <a:pt x="71898" y="359419"/>
                      </a:lnTo>
                      <a:lnTo>
                        <a:pt x="72044" y="357937"/>
                      </a:lnTo>
                      <a:lnTo>
                        <a:pt x="71486" y="356553"/>
                      </a:lnTo>
                      <a:lnTo>
                        <a:pt x="70514" y="354137"/>
                      </a:lnTo>
                      <a:lnTo>
                        <a:pt x="70053" y="352995"/>
                      </a:lnTo>
                      <a:lnTo>
                        <a:pt x="69190" y="352121"/>
                      </a:lnTo>
                      <a:lnTo>
                        <a:pt x="66956" y="349862"/>
                      </a:lnTo>
                      <a:lnTo>
                        <a:pt x="65997" y="348903"/>
                      </a:lnTo>
                      <a:lnTo>
                        <a:pt x="64710" y="348429"/>
                      </a:lnTo>
                      <a:lnTo>
                        <a:pt x="59355" y="346499"/>
                      </a:lnTo>
                      <a:lnTo>
                        <a:pt x="58395" y="346159"/>
                      </a:lnTo>
                      <a:lnTo>
                        <a:pt x="57388" y="346147"/>
                      </a:lnTo>
                      <a:lnTo>
                        <a:pt x="53660" y="346086"/>
                      </a:lnTo>
                      <a:lnTo>
                        <a:pt x="52870" y="346074"/>
                      </a:lnTo>
                      <a:lnTo>
                        <a:pt x="52093" y="346268"/>
                      </a:lnTo>
                      <a:lnTo>
                        <a:pt x="48645" y="347130"/>
                      </a:lnTo>
                      <a:lnTo>
                        <a:pt x="47782" y="347361"/>
                      </a:lnTo>
                      <a:lnTo>
                        <a:pt x="47018" y="347810"/>
                      </a:lnTo>
                      <a:lnTo>
                        <a:pt x="44370" y="349389"/>
                      </a:lnTo>
                      <a:lnTo>
                        <a:pt x="44055" y="349583"/>
                      </a:lnTo>
                      <a:lnTo>
                        <a:pt x="43763" y="349814"/>
                      </a:lnTo>
                      <a:lnTo>
                        <a:pt x="41541" y="351538"/>
                      </a:lnTo>
                      <a:lnTo>
                        <a:pt x="41286" y="351745"/>
                      </a:lnTo>
                      <a:lnTo>
                        <a:pt x="41055" y="351975"/>
                      </a:lnTo>
                      <a:lnTo>
                        <a:pt x="39440" y="353530"/>
                      </a:lnTo>
                      <a:lnTo>
                        <a:pt x="39210" y="353748"/>
                      </a:lnTo>
                      <a:lnTo>
                        <a:pt x="39003" y="354003"/>
                      </a:lnTo>
                      <a:lnTo>
                        <a:pt x="37910" y="355290"/>
                      </a:lnTo>
                      <a:lnTo>
                        <a:pt x="37704" y="355545"/>
                      </a:lnTo>
                      <a:lnTo>
                        <a:pt x="37522" y="355800"/>
                      </a:lnTo>
                      <a:lnTo>
                        <a:pt x="36842" y="356808"/>
                      </a:lnTo>
                      <a:lnTo>
                        <a:pt x="36635" y="357099"/>
                      </a:lnTo>
                      <a:lnTo>
                        <a:pt x="36465" y="357427"/>
                      </a:lnTo>
                      <a:lnTo>
                        <a:pt x="35433" y="359431"/>
                      </a:lnTo>
                      <a:lnTo>
                        <a:pt x="34462" y="361313"/>
                      </a:lnTo>
                      <a:lnTo>
                        <a:pt x="33976" y="361410"/>
                      </a:lnTo>
                      <a:lnTo>
                        <a:pt x="32798" y="361665"/>
                      </a:lnTo>
                      <a:lnTo>
                        <a:pt x="31802" y="362357"/>
                      </a:lnTo>
                      <a:lnTo>
                        <a:pt x="29556" y="363912"/>
                      </a:lnTo>
                      <a:lnTo>
                        <a:pt x="28912" y="364349"/>
                      </a:lnTo>
                      <a:lnTo>
                        <a:pt x="28402" y="364944"/>
                      </a:lnTo>
                      <a:lnTo>
                        <a:pt x="26848" y="366741"/>
                      </a:lnTo>
                      <a:lnTo>
                        <a:pt x="26411" y="367239"/>
                      </a:lnTo>
                      <a:lnTo>
                        <a:pt x="26095" y="367834"/>
                      </a:lnTo>
                      <a:lnTo>
                        <a:pt x="25282" y="369339"/>
                      </a:lnTo>
                      <a:lnTo>
                        <a:pt x="24553" y="370566"/>
                      </a:lnTo>
                      <a:lnTo>
                        <a:pt x="24055" y="370918"/>
                      </a:lnTo>
                      <a:lnTo>
                        <a:pt x="21651" y="371404"/>
                      </a:lnTo>
                      <a:lnTo>
                        <a:pt x="20255" y="371343"/>
                      </a:lnTo>
                      <a:lnTo>
                        <a:pt x="17279" y="370287"/>
                      </a:lnTo>
                      <a:lnTo>
                        <a:pt x="15531" y="369425"/>
                      </a:lnTo>
                      <a:lnTo>
                        <a:pt x="14608" y="368963"/>
                      </a:lnTo>
                      <a:lnTo>
                        <a:pt x="13588" y="368830"/>
                      </a:lnTo>
                      <a:lnTo>
                        <a:pt x="8840" y="368223"/>
                      </a:lnTo>
                      <a:lnTo>
                        <a:pt x="5076" y="367749"/>
                      </a:lnTo>
                      <a:lnTo>
                        <a:pt x="2999" y="370930"/>
                      </a:lnTo>
                      <a:lnTo>
                        <a:pt x="1785" y="372776"/>
                      </a:lnTo>
                      <a:lnTo>
                        <a:pt x="1275" y="373541"/>
                      </a:lnTo>
                      <a:lnTo>
                        <a:pt x="1020" y="374427"/>
                      </a:lnTo>
                      <a:lnTo>
                        <a:pt x="559" y="376055"/>
                      </a:lnTo>
                      <a:lnTo>
                        <a:pt x="267" y="377087"/>
                      </a:lnTo>
                      <a:lnTo>
                        <a:pt x="340" y="378155"/>
                      </a:lnTo>
                      <a:lnTo>
                        <a:pt x="461" y="379831"/>
                      </a:lnTo>
                      <a:lnTo>
                        <a:pt x="498" y="380475"/>
                      </a:lnTo>
                      <a:lnTo>
                        <a:pt x="680" y="381094"/>
                      </a:lnTo>
                      <a:lnTo>
                        <a:pt x="1239" y="383025"/>
                      </a:lnTo>
                      <a:lnTo>
                        <a:pt x="534" y="385077"/>
                      </a:lnTo>
                      <a:lnTo>
                        <a:pt x="291" y="385793"/>
                      </a:lnTo>
                      <a:lnTo>
                        <a:pt x="231" y="386546"/>
                      </a:lnTo>
                      <a:lnTo>
                        <a:pt x="109" y="387979"/>
                      </a:lnTo>
                      <a:lnTo>
                        <a:pt x="0" y="389266"/>
                      </a:lnTo>
                      <a:lnTo>
                        <a:pt x="437" y="390492"/>
                      </a:lnTo>
                      <a:lnTo>
                        <a:pt x="899" y="391804"/>
                      </a:lnTo>
                      <a:lnTo>
                        <a:pt x="1069" y="392290"/>
                      </a:lnTo>
                      <a:lnTo>
                        <a:pt x="1324" y="392739"/>
                      </a:lnTo>
                      <a:lnTo>
                        <a:pt x="1919" y="393808"/>
                      </a:lnTo>
                      <a:lnTo>
                        <a:pt x="2016" y="394050"/>
                      </a:lnTo>
                      <a:lnTo>
                        <a:pt x="2161" y="394561"/>
                      </a:lnTo>
                      <a:lnTo>
                        <a:pt x="2161" y="394755"/>
                      </a:lnTo>
                      <a:lnTo>
                        <a:pt x="2368" y="395824"/>
                      </a:lnTo>
                      <a:lnTo>
                        <a:pt x="2550" y="396515"/>
                      </a:lnTo>
                      <a:lnTo>
                        <a:pt x="2720" y="397159"/>
                      </a:lnTo>
                      <a:lnTo>
                        <a:pt x="3024" y="397754"/>
                      </a:lnTo>
                      <a:lnTo>
                        <a:pt x="3813" y="399272"/>
                      </a:lnTo>
                      <a:lnTo>
                        <a:pt x="4299" y="400207"/>
                      </a:lnTo>
                      <a:lnTo>
                        <a:pt x="5064" y="400923"/>
                      </a:lnTo>
                      <a:lnTo>
                        <a:pt x="6861" y="402599"/>
                      </a:lnTo>
                      <a:lnTo>
                        <a:pt x="8160" y="403813"/>
                      </a:lnTo>
                      <a:lnTo>
                        <a:pt x="9921" y="404129"/>
                      </a:lnTo>
                      <a:lnTo>
                        <a:pt x="17862" y="405562"/>
                      </a:lnTo>
                      <a:lnTo>
                        <a:pt x="37303" y="411670"/>
                      </a:lnTo>
                      <a:lnTo>
                        <a:pt x="37922" y="411986"/>
                      </a:lnTo>
                      <a:lnTo>
                        <a:pt x="41177" y="415058"/>
                      </a:lnTo>
                      <a:lnTo>
                        <a:pt x="41468" y="415325"/>
                      </a:lnTo>
                      <a:lnTo>
                        <a:pt x="41784" y="415556"/>
                      </a:lnTo>
                      <a:lnTo>
                        <a:pt x="43447" y="416758"/>
                      </a:lnTo>
                      <a:lnTo>
                        <a:pt x="44091" y="417219"/>
                      </a:lnTo>
                      <a:lnTo>
                        <a:pt x="44820" y="417498"/>
                      </a:lnTo>
                      <a:lnTo>
                        <a:pt x="47285" y="418446"/>
                      </a:lnTo>
                      <a:lnTo>
                        <a:pt x="49470" y="419089"/>
                      </a:lnTo>
                      <a:lnTo>
                        <a:pt x="50782" y="419684"/>
                      </a:lnTo>
                      <a:lnTo>
                        <a:pt x="51292" y="420085"/>
                      </a:lnTo>
                      <a:lnTo>
                        <a:pt x="54740" y="425440"/>
                      </a:lnTo>
                      <a:lnTo>
                        <a:pt x="55578" y="426727"/>
                      </a:lnTo>
                      <a:lnTo>
                        <a:pt x="56088" y="427007"/>
                      </a:lnTo>
                      <a:lnTo>
                        <a:pt x="48220" y="432641"/>
                      </a:lnTo>
                      <a:lnTo>
                        <a:pt x="47867" y="432896"/>
                      </a:lnTo>
                      <a:lnTo>
                        <a:pt x="47552" y="433199"/>
                      </a:lnTo>
                      <a:lnTo>
                        <a:pt x="45876" y="434814"/>
                      </a:lnTo>
                      <a:lnTo>
                        <a:pt x="45475" y="435191"/>
                      </a:lnTo>
                      <a:lnTo>
                        <a:pt x="45160" y="435640"/>
                      </a:lnTo>
                      <a:lnTo>
                        <a:pt x="41322" y="440971"/>
                      </a:lnTo>
                      <a:lnTo>
                        <a:pt x="40825" y="441663"/>
                      </a:lnTo>
                      <a:lnTo>
                        <a:pt x="40545" y="442440"/>
                      </a:lnTo>
                      <a:lnTo>
                        <a:pt x="39805" y="444480"/>
                      </a:lnTo>
                      <a:lnTo>
                        <a:pt x="39367" y="445682"/>
                      </a:lnTo>
                      <a:lnTo>
                        <a:pt x="39440" y="446945"/>
                      </a:lnTo>
                      <a:lnTo>
                        <a:pt x="39550" y="448718"/>
                      </a:lnTo>
                      <a:lnTo>
                        <a:pt x="39695" y="451049"/>
                      </a:lnTo>
                      <a:lnTo>
                        <a:pt x="41359" y="452676"/>
                      </a:lnTo>
                      <a:lnTo>
                        <a:pt x="42743" y="454025"/>
                      </a:lnTo>
                      <a:lnTo>
                        <a:pt x="43860" y="455129"/>
                      </a:lnTo>
                      <a:lnTo>
                        <a:pt x="45378" y="455542"/>
                      </a:lnTo>
                      <a:lnTo>
                        <a:pt x="46933" y="455967"/>
                      </a:lnTo>
                      <a:lnTo>
                        <a:pt x="47916" y="456223"/>
                      </a:lnTo>
                      <a:lnTo>
                        <a:pt x="48924" y="456162"/>
                      </a:lnTo>
                      <a:lnTo>
                        <a:pt x="50745" y="456040"/>
                      </a:lnTo>
                      <a:lnTo>
                        <a:pt x="51595" y="455979"/>
                      </a:lnTo>
                      <a:lnTo>
                        <a:pt x="52397" y="455700"/>
                      </a:lnTo>
                      <a:lnTo>
                        <a:pt x="56234" y="454328"/>
                      </a:lnTo>
                      <a:lnTo>
                        <a:pt x="60095" y="456016"/>
                      </a:lnTo>
                      <a:lnTo>
                        <a:pt x="60533" y="456210"/>
                      </a:lnTo>
                      <a:lnTo>
                        <a:pt x="60994" y="456331"/>
                      </a:lnTo>
                      <a:lnTo>
                        <a:pt x="62767" y="456793"/>
                      </a:lnTo>
                      <a:lnTo>
                        <a:pt x="63520" y="457000"/>
                      </a:lnTo>
                      <a:lnTo>
                        <a:pt x="64297" y="457000"/>
                      </a:lnTo>
                      <a:lnTo>
                        <a:pt x="66082" y="457000"/>
                      </a:lnTo>
                      <a:lnTo>
                        <a:pt x="66689" y="457000"/>
                      </a:lnTo>
                      <a:lnTo>
                        <a:pt x="67296" y="456878"/>
                      </a:lnTo>
                      <a:lnTo>
                        <a:pt x="71206" y="456076"/>
                      </a:lnTo>
                      <a:lnTo>
                        <a:pt x="83434" y="455433"/>
                      </a:lnTo>
                      <a:lnTo>
                        <a:pt x="83956" y="455409"/>
                      </a:lnTo>
                      <a:lnTo>
                        <a:pt x="84466" y="455287"/>
                      </a:lnTo>
                      <a:lnTo>
                        <a:pt x="85802" y="454996"/>
                      </a:lnTo>
                      <a:lnTo>
                        <a:pt x="85826" y="455251"/>
                      </a:lnTo>
                      <a:lnTo>
                        <a:pt x="85996" y="456684"/>
                      </a:lnTo>
                      <a:lnTo>
                        <a:pt x="86154" y="457995"/>
                      </a:lnTo>
                      <a:lnTo>
                        <a:pt x="86846" y="459137"/>
                      </a:lnTo>
                      <a:lnTo>
                        <a:pt x="88170" y="461322"/>
                      </a:lnTo>
                      <a:lnTo>
                        <a:pt x="88546" y="461942"/>
                      </a:lnTo>
                      <a:lnTo>
                        <a:pt x="89044" y="462440"/>
                      </a:lnTo>
                      <a:lnTo>
                        <a:pt x="90246" y="463654"/>
                      </a:lnTo>
                      <a:lnTo>
                        <a:pt x="90598" y="464018"/>
                      </a:lnTo>
                      <a:lnTo>
                        <a:pt x="91011" y="464297"/>
                      </a:lnTo>
                      <a:lnTo>
                        <a:pt x="91849" y="464917"/>
                      </a:lnTo>
                      <a:lnTo>
                        <a:pt x="92481" y="465706"/>
                      </a:lnTo>
                      <a:lnTo>
                        <a:pt x="93489" y="468159"/>
                      </a:lnTo>
                      <a:lnTo>
                        <a:pt x="95371" y="474291"/>
                      </a:lnTo>
                      <a:lnTo>
                        <a:pt x="95516" y="474764"/>
                      </a:lnTo>
                      <a:lnTo>
                        <a:pt x="95638" y="475008"/>
                      </a:lnTo>
                      <a:lnTo>
                        <a:pt x="95614" y="475008"/>
                      </a:lnTo>
                      <a:lnTo>
                        <a:pt x="93998" y="475068"/>
                      </a:lnTo>
                      <a:lnTo>
                        <a:pt x="92881" y="475117"/>
                      </a:lnTo>
                      <a:lnTo>
                        <a:pt x="91849" y="475554"/>
                      </a:lnTo>
                      <a:lnTo>
                        <a:pt x="90477" y="476137"/>
                      </a:lnTo>
                      <a:lnTo>
                        <a:pt x="89481" y="476550"/>
                      </a:lnTo>
                      <a:lnTo>
                        <a:pt x="88692" y="477303"/>
                      </a:lnTo>
                      <a:lnTo>
                        <a:pt x="87721" y="478213"/>
                      </a:lnTo>
                      <a:lnTo>
                        <a:pt x="87235" y="478663"/>
                      </a:lnTo>
                      <a:lnTo>
                        <a:pt x="86858" y="479221"/>
                      </a:lnTo>
                      <a:lnTo>
                        <a:pt x="85875" y="480666"/>
                      </a:lnTo>
                      <a:lnTo>
                        <a:pt x="85596" y="481079"/>
                      </a:lnTo>
                      <a:lnTo>
                        <a:pt x="85389" y="481528"/>
                      </a:lnTo>
                      <a:lnTo>
                        <a:pt x="84636" y="483155"/>
                      </a:lnTo>
                      <a:lnTo>
                        <a:pt x="84418" y="483617"/>
                      </a:lnTo>
                      <a:lnTo>
                        <a:pt x="84284" y="484115"/>
                      </a:lnTo>
                      <a:lnTo>
                        <a:pt x="83543" y="486847"/>
                      </a:lnTo>
                      <a:lnTo>
                        <a:pt x="83458" y="487162"/>
                      </a:lnTo>
                      <a:lnTo>
                        <a:pt x="83410" y="487490"/>
                      </a:lnTo>
                      <a:lnTo>
                        <a:pt x="83009" y="490077"/>
                      </a:lnTo>
                      <a:lnTo>
                        <a:pt x="82912" y="490732"/>
                      </a:lnTo>
                      <a:lnTo>
                        <a:pt x="82949" y="491400"/>
                      </a:lnTo>
                      <a:lnTo>
                        <a:pt x="83118" y="494132"/>
                      </a:lnTo>
                      <a:lnTo>
                        <a:pt x="83143" y="494631"/>
                      </a:lnTo>
                      <a:lnTo>
                        <a:pt x="83252" y="495116"/>
                      </a:lnTo>
                      <a:lnTo>
                        <a:pt x="84066" y="498650"/>
                      </a:lnTo>
                      <a:lnTo>
                        <a:pt x="84260" y="499475"/>
                      </a:lnTo>
                      <a:lnTo>
                        <a:pt x="84673" y="500216"/>
                      </a:lnTo>
                      <a:lnTo>
                        <a:pt x="87077" y="504576"/>
                      </a:lnTo>
                      <a:lnTo>
                        <a:pt x="87611" y="505547"/>
                      </a:lnTo>
                      <a:lnTo>
                        <a:pt x="88461" y="506275"/>
                      </a:lnTo>
                      <a:lnTo>
                        <a:pt x="90987" y="508425"/>
                      </a:lnTo>
                      <a:lnTo>
                        <a:pt x="91521" y="508886"/>
                      </a:lnTo>
                      <a:lnTo>
                        <a:pt x="92153" y="509202"/>
                      </a:lnTo>
                      <a:lnTo>
                        <a:pt x="95079" y="510696"/>
                      </a:lnTo>
                      <a:lnTo>
                        <a:pt x="95565" y="510951"/>
                      </a:lnTo>
                      <a:lnTo>
                        <a:pt x="96087" y="511108"/>
                      </a:lnTo>
                      <a:lnTo>
                        <a:pt x="104976" y="513804"/>
                      </a:lnTo>
                      <a:lnTo>
                        <a:pt x="113585" y="517799"/>
                      </a:lnTo>
                      <a:lnTo>
                        <a:pt x="113877" y="518018"/>
                      </a:lnTo>
                      <a:lnTo>
                        <a:pt x="114010" y="518212"/>
                      </a:lnTo>
                      <a:lnTo>
                        <a:pt x="114520" y="519426"/>
                      </a:lnTo>
                      <a:lnTo>
                        <a:pt x="115334" y="522110"/>
                      </a:lnTo>
                      <a:lnTo>
                        <a:pt x="116269" y="524454"/>
                      </a:lnTo>
                      <a:lnTo>
                        <a:pt x="116451" y="524891"/>
                      </a:lnTo>
                      <a:lnTo>
                        <a:pt x="116694" y="525291"/>
                      </a:lnTo>
                      <a:lnTo>
                        <a:pt x="117896" y="527271"/>
                      </a:lnTo>
                      <a:lnTo>
                        <a:pt x="118394" y="528072"/>
                      </a:lnTo>
                      <a:lnTo>
                        <a:pt x="119110" y="528691"/>
                      </a:lnTo>
                      <a:lnTo>
                        <a:pt x="120664" y="530039"/>
                      </a:lnTo>
                      <a:lnTo>
                        <a:pt x="121162" y="530476"/>
                      </a:lnTo>
                      <a:lnTo>
                        <a:pt x="121745" y="530792"/>
                      </a:lnTo>
                      <a:lnTo>
                        <a:pt x="123227" y="531594"/>
                      </a:lnTo>
                      <a:lnTo>
                        <a:pt x="123639" y="531824"/>
                      </a:lnTo>
                      <a:lnTo>
                        <a:pt x="123639" y="532043"/>
                      </a:lnTo>
                      <a:lnTo>
                        <a:pt x="123433" y="533123"/>
                      </a:lnTo>
                      <a:lnTo>
                        <a:pt x="122486" y="535710"/>
                      </a:lnTo>
                      <a:lnTo>
                        <a:pt x="122340" y="536098"/>
                      </a:lnTo>
                      <a:lnTo>
                        <a:pt x="122255" y="536499"/>
                      </a:lnTo>
                      <a:lnTo>
                        <a:pt x="121745" y="538867"/>
                      </a:lnTo>
                      <a:lnTo>
                        <a:pt x="121612" y="539474"/>
                      </a:lnTo>
                      <a:lnTo>
                        <a:pt x="121612" y="540106"/>
                      </a:lnTo>
                      <a:lnTo>
                        <a:pt x="121563" y="546639"/>
                      </a:lnTo>
                      <a:lnTo>
                        <a:pt x="121417" y="547416"/>
                      </a:lnTo>
                      <a:lnTo>
                        <a:pt x="120944" y="548011"/>
                      </a:lnTo>
                      <a:lnTo>
                        <a:pt x="120397" y="548290"/>
                      </a:lnTo>
                      <a:lnTo>
                        <a:pt x="119134" y="548606"/>
                      </a:lnTo>
                      <a:lnTo>
                        <a:pt x="117653" y="548800"/>
                      </a:lnTo>
                      <a:lnTo>
                        <a:pt x="115467" y="549079"/>
                      </a:lnTo>
                      <a:lnTo>
                        <a:pt x="113962" y="550695"/>
                      </a:lnTo>
                      <a:lnTo>
                        <a:pt x="112711" y="552042"/>
                      </a:lnTo>
                      <a:lnTo>
                        <a:pt x="111387" y="553475"/>
                      </a:lnTo>
                      <a:lnTo>
                        <a:pt x="111144" y="555406"/>
                      </a:lnTo>
                      <a:lnTo>
                        <a:pt x="110841" y="557810"/>
                      </a:lnTo>
                      <a:lnTo>
                        <a:pt x="110768" y="558393"/>
                      </a:lnTo>
                      <a:lnTo>
                        <a:pt x="110804" y="558976"/>
                      </a:lnTo>
                      <a:lnTo>
                        <a:pt x="111824" y="574045"/>
                      </a:lnTo>
                      <a:lnTo>
                        <a:pt x="111217" y="582910"/>
                      </a:lnTo>
                      <a:lnTo>
                        <a:pt x="111193" y="582983"/>
                      </a:lnTo>
                      <a:lnTo>
                        <a:pt x="111084" y="583395"/>
                      </a:lnTo>
                      <a:lnTo>
                        <a:pt x="111035" y="583820"/>
                      </a:lnTo>
                      <a:lnTo>
                        <a:pt x="111023" y="583893"/>
                      </a:lnTo>
                      <a:lnTo>
                        <a:pt x="109541" y="587293"/>
                      </a:lnTo>
                      <a:lnTo>
                        <a:pt x="109165" y="588168"/>
                      </a:lnTo>
                      <a:lnTo>
                        <a:pt x="109080" y="589115"/>
                      </a:lnTo>
                      <a:lnTo>
                        <a:pt x="108497" y="595137"/>
                      </a:lnTo>
                      <a:lnTo>
                        <a:pt x="108424" y="595842"/>
                      </a:lnTo>
                      <a:lnTo>
                        <a:pt x="108521" y="596534"/>
                      </a:lnTo>
                      <a:lnTo>
                        <a:pt x="108813" y="598780"/>
                      </a:lnTo>
                      <a:lnTo>
                        <a:pt x="108861" y="599169"/>
                      </a:lnTo>
                      <a:lnTo>
                        <a:pt x="108959" y="599558"/>
                      </a:lnTo>
                      <a:lnTo>
                        <a:pt x="109469" y="601452"/>
                      </a:lnTo>
                      <a:lnTo>
                        <a:pt x="109590" y="601913"/>
                      </a:lnTo>
                      <a:lnTo>
                        <a:pt x="109784" y="602351"/>
                      </a:lnTo>
                      <a:lnTo>
                        <a:pt x="110646" y="604269"/>
                      </a:lnTo>
                      <a:lnTo>
                        <a:pt x="110889" y="604791"/>
                      </a:lnTo>
                      <a:lnTo>
                        <a:pt x="111205" y="605253"/>
                      </a:lnTo>
                      <a:lnTo>
                        <a:pt x="113670" y="608798"/>
                      </a:lnTo>
                      <a:lnTo>
                        <a:pt x="114253" y="609928"/>
                      </a:lnTo>
                      <a:lnTo>
                        <a:pt x="114374" y="610523"/>
                      </a:lnTo>
                      <a:lnTo>
                        <a:pt x="113937" y="614700"/>
                      </a:lnTo>
                      <a:lnTo>
                        <a:pt x="113901" y="615076"/>
                      </a:lnTo>
                      <a:lnTo>
                        <a:pt x="113901" y="615465"/>
                      </a:lnTo>
                      <a:lnTo>
                        <a:pt x="113962" y="617881"/>
                      </a:lnTo>
                      <a:lnTo>
                        <a:pt x="113986" y="618828"/>
                      </a:lnTo>
                      <a:lnTo>
                        <a:pt x="114302" y="619727"/>
                      </a:lnTo>
                      <a:lnTo>
                        <a:pt x="114994" y="621706"/>
                      </a:lnTo>
                      <a:lnTo>
                        <a:pt x="115431" y="622969"/>
                      </a:lnTo>
                      <a:lnTo>
                        <a:pt x="116366" y="623928"/>
                      </a:lnTo>
                      <a:lnTo>
                        <a:pt x="117738" y="625337"/>
                      </a:lnTo>
                      <a:lnTo>
                        <a:pt x="118248" y="625847"/>
                      </a:lnTo>
                      <a:lnTo>
                        <a:pt x="118855" y="626236"/>
                      </a:lnTo>
                      <a:lnTo>
                        <a:pt x="122656" y="628640"/>
                      </a:lnTo>
                      <a:lnTo>
                        <a:pt x="124077" y="629769"/>
                      </a:lnTo>
                      <a:lnTo>
                        <a:pt x="126141" y="631736"/>
                      </a:lnTo>
                      <a:lnTo>
                        <a:pt x="129529" y="635671"/>
                      </a:lnTo>
                      <a:lnTo>
                        <a:pt x="129735" y="635926"/>
                      </a:lnTo>
                      <a:lnTo>
                        <a:pt x="129978" y="636144"/>
                      </a:lnTo>
                      <a:lnTo>
                        <a:pt x="131654" y="637698"/>
                      </a:lnTo>
                      <a:lnTo>
                        <a:pt x="132176" y="638184"/>
                      </a:lnTo>
                      <a:lnTo>
                        <a:pt x="132795" y="638536"/>
                      </a:lnTo>
                      <a:lnTo>
                        <a:pt x="133949" y="639192"/>
                      </a:lnTo>
                      <a:lnTo>
                        <a:pt x="134665" y="639593"/>
                      </a:lnTo>
                      <a:lnTo>
                        <a:pt x="135454" y="639787"/>
                      </a:lnTo>
                      <a:lnTo>
                        <a:pt x="137045" y="640188"/>
                      </a:lnTo>
                      <a:lnTo>
                        <a:pt x="139450" y="641511"/>
                      </a:lnTo>
                      <a:lnTo>
                        <a:pt x="141089" y="642410"/>
                      </a:lnTo>
                      <a:lnTo>
                        <a:pt x="142947" y="642240"/>
                      </a:lnTo>
                      <a:lnTo>
                        <a:pt x="145363" y="642009"/>
                      </a:lnTo>
                      <a:lnTo>
                        <a:pt x="146262" y="641924"/>
                      </a:lnTo>
                      <a:lnTo>
                        <a:pt x="147087" y="641584"/>
                      </a:lnTo>
                      <a:lnTo>
                        <a:pt x="150196" y="640321"/>
                      </a:lnTo>
                      <a:lnTo>
                        <a:pt x="150828" y="640066"/>
                      </a:lnTo>
                      <a:lnTo>
                        <a:pt x="151386" y="639678"/>
                      </a:lnTo>
                      <a:lnTo>
                        <a:pt x="157761" y="635197"/>
                      </a:lnTo>
                      <a:lnTo>
                        <a:pt x="158125" y="634942"/>
                      </a:lnTo>
                      <a:lnTo>
                        <a:pt x="158453" y="634639"/>
                      </a:lnTo>
                      <a:lnTo>
                        <a:pt x="166334" y="627159"/>
                      </a:lnTo>
                      <a:lnTo>
                        <a:pt x="167536" y="626357"/>
                      </a:lnTo>
                      <a:lnTo>
                        <a:pt x="169212" y="625519"/>
                      </a:lnTo>
                      <a:lnTo>
                        <a:pt x="177190" y="622702"/>
                      </a:lnTo>
                      <a:lnTo>
                        <a:pt x="177651" y="622532"/>
                      </a:lnTo>
                      <a:lnTo>
                        <a:pt x="178076" y="622289"/>
                      </a:lnTo>
                      <a:lnTo>
                        <a:pt x="184257" y="618913"/>
                      </a:lnTo>
                      <a:lnTo>
                        <a:pt x="185010" y="618695"/>
                      </a:lnTo>
                      <a:lnTo>
                        <a:pt x="185058" y="618731"/>
                      </a:lnTo>
                      <a:lnTo>
                        <a:pt x="189187" y="625920"/>
                      </a:lnTo>
                      <a:lnTo>
                        <a:pt x="190146" y="627304"/>
                      </a:lnTo>
                      <a:lnTo>
                        <a:pt x="190729" y="629381"/>
                      </a:lnTo>
                      <a:lnTo>
                        <a:pt x="190972" y="632647"/>
                      </a:lnTo>
                      <a:lnTo>
                        <a:pt x="191045" y="633679"/>
                      </a:lnTo>
                      <a:lnTo>
                        <a:pt x="191458" y="634626"/>
                      </a:lnTo>
                      <a:lnTo>
                        <a:pt x="192624" y="637298"/>
                      </a:lnTo>
                      <a:lnTo>
                        <a:pt x="192854" y="637832"/>
                      </a:lnTo>
                      <a:lnTo>
                        <a:pt x="193182" y="638306"/>
                      </a:lnTo>
                      <a:lnTo>
                        <a:pt x="194263" y="639884"/>
                      </a:lnTo>
                      <a:lnTo>
                        <a:pt x="194955" y="640892"/>
                      </a:lnTo>
                      <a:lnTo>
                        <a:pt x="195975" y="641560"/>
                      </a:lnTo>
                      <a:lnTo>
                        <a:pt x="196606" y="641961"/>
                      </a:lnTo>
                      <a:lnTo>
                        <a:pt x="196218" y="643649"/>
                      </a:lnTo>
                      <a:lnTo>
                        <a:pt x="187657" y="661584"/>
                      </a:lnTo>
                      <a:lnTo>
                        <a:pt x="187475" y="661960"/>
                      </a:lnTo>
                      <a:lnTo>
                        <a:pt x="187353" y="662337"/>
                      </a:lnTo>
                      <a:lnTo>
                        <a:pt x="186722" y="664291"/>
                      </a:lnTo>
                      <a:lnTo>
                        <a:pt x="186430" y="665202"/>
                      </a:lnTo>
                      <a:lnTo>
                        <a:pt x="186430" y="666150"/>
                      </a:lnTo>
                      <a:lnTo>
                        <a:pt x="186430" y="667607"/>
                      </a:lnTo>
                      <a:lnTo>
                        <a:pt x="186430" y="668942"/>
                      </a:lnTo>
                      <a:lnTo>
                        <a:pt x="186989" y="670157"/>
                      </a:lnTo>
                      <a:lnTo>
                        <a:pt x="189697" y="675998"/>
                      </a:lnTo>
                      <a:lnTo>
                        <a:pt x="193133" y="686671"/>
                      </a:lnTo>
                      <a:lnTo>
                        <a:pt x="193133" y="686950"/>
                      </a:lnTo>
                      <a:lnTo>
                        <a:pt x="192806" y="688517"/>
                      </a:lnTo>
                      <a:lnTo>
                        <a:pt x="187997" y="697879"/>
                      </a:lnTo>
                      <a:lnTo>
                        <a:pt x="187621" y="698632"/>
                      </a:lnTo>
                      <a:lnTo>
                        <a:pt x="187450" y="699446"/>
                      </a:lnTo>
                      <a:lnTo>
                        <a:pt x="187001" y="701631"/>
                      </a:lnTo>
                      <a:lnTo>
                        <a:pt x="186928" y="701995"/>
                      </a:lnTo>
                      <a:lnTo>
                        <a:pt x="186904" y="702384"/>
                      </a:lnTo>
                      <a:lnTo>
                        <a:pt x="186722" y="704825"/>
                      </a:lnTo>
                      <a:lnTo>
                        <a:pt x="186673" y="705456"/>
                      </a:lnTo>
                      <a:lnTo>
                        <a:pt x="186758" y="706100"/>
                      </a:lnTo>
                      <a:lnTo>
                        <a:pt x="187791" y="713738"/>
                      </a:lnTo>
                      <a:lnTo>
                        <a:pt x="187851" y="714187"/>
                      </a:lnTo>
                      <a:lnTo>
                        <a:pt x="187985" y="714624"/>
                      </a:lnTo>
                      <a:lnTo>
                        <a:pt x="188944" y="717890"/>
                      </a:lnTo>
                      <a:lnTo>
                        <a:pt x="188908" y="719967"/>
                      </a:lnTo>
                      <a:lnTo>
                        <a:pt x="188641" y="721776"/>
                      </a:lnTo>
                      <a:lnTo>
                        <a:pt x="179825" y="750069"/>
                      </a:lnTo>
                      <a:lnTo>
                        <a:pt x="179667" y="750555"/>
                      </a:lnTo>
                      <a:lnTo>
                        <a:pt x="179606" y="751077"/>
                      </a:lnTo>
                      <a:lnTo>
                        <a:pt x="179376" y="752777"/>
                      </a:lnTo>
                      <a:lnTo>
                        <a:pt x="179303" y="753299"/>
                      </a:lnTo>
                      <a:lnTo>
                        <a:pt x="179327" y="753833"/>
                      </a:lnTo>
                      <a:lnTo>
                        <a:pt x="179388" y="755182"/>
                      </a:lnTo>
                      <a:lnTo>
                        <a:pt x="179448" y="756602"/>
                      </a:lnTo>
                      <a:lnTo>
                        <a:pt x="180128" y="757853"/>
                      </a:lnTo>
                      <a:lnTo>
                        <a:pt x="180699" y="758885"/>
                      </a:lnTo>
                      <a:lnTo>
                        <a:pt x="181076" y="759565"/>
                      </a:lnTo>
                      <a:lnTo>
                        <a:pt x="181598" y="760124"/>
                      </a:lnTo>
                      <a:lnTo>
                        <a:pt x="182168" y="760731"/>
                      </a:lnTo>
                      <a:lnTo>
                        <a:pt x="182982" y="761581"/>
                      </a:lnTo>
                      <a:lnTo>
                        <a:pt x="184050" y="762079"/>
                      </a:lnTo>
                      <a:lnTo>
                        <a:pt x="184973" y="762504"/>
                      </a:lnTo>
                      <a:lnTo>
                        <a:pt x="186504" y="763111"/>
                      </a:lnTo>
                      <a:lnTo>
                        <a:pt x="186831" y="763245"/>
                      </a:lnTo>
                      <a:lnTo>
                        <a:pt x="187171" y="763342"/>
                      </a:lnTo>
                      <a:lnTo>
                        <a:pt x="188726" y="763742"/>
                      </a:lnTo>
                      <a:lnTo>
                        <a:pt x="189029" y="763864"/>
                      </a:lnTo>
                      <a:lnTo>
                        <a:pt x="189272" y="763985"/>
                      </a:lnTo>
                      <a:lnTo>
                        <a:pt x="189539" y="764216"/>
                      </a:lnTo>
                      <a:lnTo>
                        <a:pt x="190802" y="765539"/>
                      </a:lnTo>
                      <a:lnTo>
                        <a:pt x="192186" y="766790"/>
                      </a:lnTo>
                      <a:lnTo>
                        <a:pt x="193656" y="768053"/>
                      </a:lnTo>
                      <a:lnTo>
                        <a:pt x="195586" y="768247"/>
                      </a:lnTo>
                      <a:lnTo>
                        <a:pt x="197602" y="768454"/>
                      </a:lnTo>
                      <a:lnTo>
                        <a:pt x="197966" y="768502"/>
                      </a:lnTo>
                      <a:lnTo>
                        <a:pt x="198343" y="768490"/>
                      </a:lnTo>
                      <a:lnTo>
                        <a:pt x="199946" y="768454"/>
                      </a:lnTo>
                      <a:lnTo>
                        <a:pt x="201233" y="768417"/>
                      </a:lnTo>
                      <a:lnTo>
                        <a:pt x="202398" y="767871"/>
                      </a:lnTo>
                      <a:lnTo>
                        <a:pt x="210352" y="764131"/>
                      </a:lnTo>
                      <a:lnTo>
                        <a:pt x="210510" y="764094"/>
                      </a:lnTo>
                      <a:lnTo>
                        <a:pt x="211554" y="764058"/>
                      </a:lnTo>
                      <a:lnTo>
                        <a:pt x="212380" y="766086"/>
                      </a:lnTo>
                      <a:lnTo>
                        <a:pt x="212514" y="766401"/>
                      </a:lnTo>
                      <a:lnTo>
                        <a:pt x="212684" y="766705"/>
                      </a:lnTo>
                      <a:lnTo>
                        <a:pt x="214056" y="769231"/>
                      </a:lnTo>
                      <a:lnTo>
                        <a:pt x="214335" y="769765"/>
                      </a:lnTo>
                      <a:lnTo>
                        <a:pt x="214724" y="770214"/>
                      </a:lnTo>
                      <a:lnTo>
                        <a:pt x="219945" y="776468"/>
                      </a:lnTo>
                      <a:lnTo>
                        <a:pt x="220164" y="776978"/>
                      </a:lnTo>
                      <a:lnTo>
                        <a:pt x="220139" y="777767"/>
                      </a:lnTo>
                      <a:lnTo>
                        <a:pt x="216958" y="780524"/>
                      </a:lnTo>
                      <a:lnTo>
                        <a:pt x="216460" y="780949"/>
                      </a:lnTo>
                      <a:lnTo>
                        <a:pt x="216059" y="781483"/>
                      </a:lnTo>
                      <a:lnTo>
                        <a:pt x="214906" y="783025"/>
                      </a:lnTo>
                      <a:lnTo>
                        <a:pt x="214578" y="783462"/>
                      </a:lnTo>
                      <a:lnTo>
                        <a:pt x="214335" y="783948"/>
                      </a:lnTo>
                      <a:lnTo>
                        <a:pt x="213121" y="786389"/>
                      </a:lnTo>
                      <a:lnTo>
                        <a:pt x="212939" y="786753"/>
                      </a:lnTo>
                      <a:lnTo>
                        <a:pt x="212805" y="787154"/>
                      </a:lnTo>
                      <a:lnTo>
                        <a:pt x="208434" y="800135"/>
                      </a:lnTo>
                      <a:lnTo>
                        <a:pt x="203795" y="807736"/>
                      </a:lnTo>
                      <a:lnTo>
                        <a:pt x="203418" y="808368"/>
                      </a:lnTo>
                      <a:lnTo>
                        <a:pt x="203200" y="809060"/>
                      </a:lnTo>
                      <a:lnTo>
                        <a:pt x="192405" y="842854"/>
                      </a:lnTo>
                      <a:lnTo>
                        <a:pt x="188179" y="852726"/>
                      </a:lnTo>
                      <a:lnTo>
                        <a:pt x="185398" y="856782"/>
                      </a:lnTo>
                      <a:lnTo>
                        <a:pt x="179473" y="860946"/>
                      </a:lnTo>
                      <a:lnTo>
                        <a:pt x="179181" y="861153"/>
                      </a:lnTo>
                      <a:lnTo>
                        <a:pt x="178914" y="861396"/>
                      </a:lnTo>
                      <a:lnTo>
                        <a:pt x="177651" y="862525"/>
                      </a:lnTo>
                      <a:lnTo>
                        <a:pt x="177008" y="863096"/>
                      </a:lnTo>
                      <a:lnTo>
                        <a:pt x="176546" y="863837"/>
                      </a:lnTo>
                      <a:lnTo>
                        <a:pt x="176194" y="864395"/>
                      </a:lnTo>
                      <a:lnTo>
                        <a:pt x="174931" y="866386"/>
                      </a:lnTo>
                      <a:lnTo>
                        <a:pt x="175356" y="868706"/>
                      </a:lnTo>
                      <a:lnTo>
                        <a:pt x="175939" y="871887"/>
                      </a:lnTo>
                      <a:lnTo>
                        <a:pt x="176024" y="872397"/>
                      </a:lnTo>
                      <a:lnTo>
                        <a:pt x="176206" y="872883"/>
                      </a:lnTo>
                      <a:lnTo>
                        <a:pt x="180566" y="884783"/>
                      </a:lnTo>
                      <a:lnTo>
                        <a:pt x="182800" y="890138"/>
                      </a:lnTo>
                      <a:lnTo>
                        <a:pt x="183346" y="891449"/>
                      </a:lnTo>
                      <a:lnTo>
                        <a:pt x="184427" y="892384"/>
                      </a:lnTo>
                      <a:lnTo>
                        <a:pt x="187244" y="894825"/>
                      </a:lnTo>
                      <a:lnTo>
                        <a:pt x="187742" y="895250"/>
                      </a:lnTo>
                      <a:lnTo>
                        <a:pt x="188313" y="895554"/>
                      </a:lnTo>
                      <a:lnTo>
                        <a:pt x="191239" y="897157"/>
                      </a:lnTo>
                      <a:lnTo>
                        <a:pt x="191591" y="897448"/>
                      </a:lnTo>
                      <a:lnTo>
                        <a:pt x="189005" y="905960"/>
                      </a:lnTo>
                      <a:lnTo>
                        <a:pt x="181379" y="917654"/>
                      </a:lnTo>
                      <a:lnTo>
                        <a:pt x="179497" y="920119"/>
                      </a:lnTo>
                      <a:lnTo>
                        <a:pt x="178744" y="921115"/>
                      </a:lnTo>
                      <a:lnTo>
                        <a:pt x="178441" y="922341"/>
                      </a:lnTo>
                      <a:lnTo>
                        <a:pt x="178052" y="923920"/>
                      </a:lnTo>
                      <a:lnTo>
                        <a:pt x="177785" y="925037"/>
                      </a:lnTo>
                      <a:lnTo>
                        <a:pt x="177943" y="926178"/>
                      </a:lnTo>
                      <a:lnTo>
                        <a:pt x="178270" y="928595"/>
                      </a:lnTo>
                      <a:lnTo>
                        <a:pt x="178356" y="929238"/>
                      </a:lnTo>
                      <a:lnTo>
                        <a:pt x="178574" y="929846"/>
                      </a:lnTo>
                      <a:lnTo>
                        <a:pt x="178987" y="931011"/>
                      </a:lnTo>
                      <a:lnTo>
                        <a:pt x="179096" y="931643"/>
                      </a:lnTo>
                      <a:lnTo>
                        <a:pt x="179205" y="934338"/>
                      </a:lnTo>
                      <a:lnTo>
                        <a:pt x="179218" y="934800"/>
                      </a:lnTo>
                      <a:lnTo>
                        <a:pt x="179303" y="935237"/>
                      </a:lnTo>
                      <a:lnTo>
                        <a:pt x="179655" y="937083"/>
                      </a:lnTo>
                      <a:lnTo>
                        <a:pt x="179752" y="937605"/>
                      </a:lnTo>
                      <a:lnTo>
                        <a:pt x="179946" y="938103"/>
                      </a:lnTo>
                      <a:lnTo>
                        <a:pt x="180626" y="939900"/>
                      </a:lnTo>
                      <a:lnTo>
                        <a:pt x="180784" y="940301"/>
                      </a:lnTo>
                      <a:lnTo>
                        <a:pt x="180990" y="940677"/>
                      </a:lnTo>
                      <a:lnTo>
                        <a:pt x="181901" y="942341"/>
                      </a:lnTo>
                      <a:lnTo>
                        <a:pt x="182205" y="942887"/>
                      </a:lnTo>
                      <a:lnTo>
                        <a:pt x="182606" y="943360"/>
                      </a:lnTo>
                      <a:lnTo>
                        <a:pt x="184063" y="945061"/>
                      </a:lnTo>
                      <a:lnTo>
                        <a:pt x="184451" y="945510"/>
                      </a:lnTo>
                      <a:lnTo>
                        <a:pt x="184925" y="945886"/>
                      </a:lnTo>
                      <a:lnTo>
                        <a:pt x="193352" y="952504"/>
                      </a:lnTo>
                      <a:lnTo>
                        <a:pt x="196084" y="955516"/>
                      </a:lnTo>
                      <a:lnTo>
                        <a:pt x="196521" y="956196"/>
                      </a:lnTo>
                      <a:lnTo>
                        <a:pt x="196582" y="956378"/>
                      </a:lnTo>
                      <a:lnTo>
                        <a:pt x="196157" y="957495"/>
                      </a:lnTo>
                      <a:lnTo>
                        <a:pt x="195004" y="959244"/>
                      </a:lnTo>
                      <a:lnTo>
                        <a:pt x="193231" y="961053"/>
                      </a:lnTo>
                      <a:lnTo>
                        <a:pt x="193049" y="960932"/>
                      </a:lnTo>
                      <a:lnTo>
                        <a:pt x="191822" y="960336"/>
                      </a:lnTo>
                      <a:lnTo>
                        <a:pt x="188252" y="959073"/>
                      </a:lnTo>
                      <a:lnTo>
                        <a:pt x="185143" y="961587"/>
                      </a:lnTo>
                      <a:lnTo>
                        <a:pt x="183856" y="962850"/>
                      </a:lnTo>
                      <a:lnTo>
                        <a:pt x="183128" y="964963"/>
                      </a:lnTo>
                      <a:lnTo>
                        <a:pt x="182958" y="965752"/>
                      </a:lnTo>
                      <a:lnTo>
                        <a:pt x="182848" y="966286"/>
                      </a:lnTo>
                      <a:lnTo>
                        <a:pt x="182836" y="966833"/>
                      </a:lnTo>
                      <a:lnTo>
                        <a:pt x="182776" y="968606"/>
                      </a:lnTo>
                      <a:lnTo>
                        <a:pt x="182763" y="969104"/>
                      </a:lnTo>
                      <a:lnTo>
                        <a:pt x="182824" y="969614"/>
                      </a:lnTo>
                      <a:lnTo>
                        <a:pt x="183055" y="971350"/>
                      </a:lnTo>
                      <a:lnTo>
                        <a:pt x="183116" y="971787"/>
                      </a:lnTo>
                      <a:lnTo>
                        <a:pt x="183237" y="972212"/>
                      </a:lnTo>
                      <a:lnTo>
                        <a:pt x="184658" y="977167"/>
                      </a:lnTo>
                      <a:lnTo>
                        <a:pt x="183662" y="978830"/>
                      </a:lnTo>
                      <a:lnTo>
                        <a:pt x="179958" y="983214"/>
                      </a:lnTo>
                      <a:lnTo>
                        <a:pt x="179570" y="983675"/>
                      </a:lnTo>
                      <a:lnTo>
                        <a:pt x="179278" y="984197"/>
                      </a:lnTo>
                      <a:lnTo>
                        <a:pt x="177153" y="988047"/>
                      </a:lnTo>
                      <a:lnTo>
                        <a:pt x="176996" y="988326"/>
                      </a:lnTo>
                      <a:lnTo>
                        <a:pt x="176874" y="988629"/>
                      </a:lnTo>
                      <a:lnTo>
                        <a:pt x="176000" y="990718"/>
                      </a:lnTo>
                      <a:lnTo>
                        <a:pt x="175599" y="991677"/>
                      </a:lnTo>
                      <a:lnTo>
                        <a:pt x="175538" y="992734"/>
                      </a:lnTo>
                      <a:lnTo>
                        <a:pt x="175490" y="993742"/>
                      </a:lnTo>
                      <a:lnTo>
                        <a:pt x="175465" y="994312"/>
                      </a:lnTo>
                      <a:lnTo>
                        <a:pt x="175550" y="994895"/>
                      </a:lnTo>
                      <a:lnTo>
                        <a:pt x="175563" y="994980"/>
                      </a:lnTo>
                      <a:lnTo>
                        <a:pt x="174980" y="994919"/>
                      </a:lnTo>
                      <a:lnTo>
                        <a:pt x="174409" y="994859"/>
                      </a:lnTo>
                      <a:lnTo>
                        <a:pt x="173838" y="994908"/>
                      </a:lnTo>
                      <a:lnTo>
                        <a:pt x="172685" y="995005"/>
                      </a:lnTo>
                      <a:lnTo>
                        <a:pt x="171847" y="995065"/>
                      </a:lnTo>
                      <a:lnTo>
                        <a:pt x="171070" y="995357"/>
                      </a:lnTo>
                      <a:lnTo>
                        <a:pt x="169734" y="995854"/>
                      </a:lnTo>
                      <a:lnTo>
                        <a:pt x="168253" y="997081"/>
                      </a:lnTo>
                      <a:lnTo>
                        <a:pt x="166759" y="998672"/>
                      </a:lnTo>
                      <a:lnTo>
                        <a:pt x="162060" y="1003662"/>
                      </a:lnTo>
                      <a:lnTo>
                        <a:pt x="167585" y="1007730"/>
                      </a:lnTo>
                      <a:lnTo>
                        <a:pt x="170766" y="1010062"/>
                      </a:lnTo>
                      <a:lnTo>
                        <a:pt x="188616" y="1026345"/>
                      </a:lnTo>
                      <a:lnTo>
                        <a:pt x="188932" y="1026637"/>
                      </a:lnTo>
                      <a:lnTo>
                        <a:pt x="189296" y="1026892"/>
                      </a:lnTo>
                      <a:lnTo>
                        <a:pt x="191883" y="1028653"/>
                      </a:lnTo>
                      <a:lnTo>
                        <a:pt x="192696" y="1029199"/>
                      </a:lnTo>
                      <a:lnTo>
                        <a:pt x="193644" y="1029466"/>
                      </a:lnTo>
                      <a:lnTo>
                        <a:pt x="197274" y="1030486"/>
                      </a:lnTo>
                      <a:lnTo>
                        <a:pt x="200686" y="1032623"/>
                      </a:lnTo>
                      <a:lnTo>
                        <a:pt x="201451" y="1033267"/>
                      </a:lnTo>
                      <a:lnTo>
                        <a:pt x="203674" y="1035890"/>
                      </a:lnTo>
                      <a:lnTo>
                        <a:pt x="204609" y="1037007"/>
                      </a:lnTo>
                      <a:lnTo>
                        <a:pt x="205944" y="1037578"/>
                      </a:lnTo>
                      <a:lnTo>
                        <a:pt x="207268" y="1038136"/>
                      </a:lnTo>
                      <a:lnTo>
                        <a:pt x="207559" y="1038258"/>
                      </a:lnTo>
                      <a:lnTo>
                        <a:pt x="207863" y="1038355"/>
                      </a:lnTo>
                      <a:lnTo>
                        <a:pt x="233011" y="1045981"/>
                      </a:lnTo>
                      <a:lnTo>
                        <a:pt x="233314" y="1046078"/>
                      </a:lnTo>
                      <a:lnTo>
                        <a:pt x="233630" y="1046138"/>
                      </a:lnTo>
                      <a:lnTo>
                        <a:pt x="245117" y="1048324"/>
                      </a:lnTo>
                      <a:lnTo>
                        <a:pt x="246040" y="1048506"/>
                      </a:lnTo>
                      <a:lnTo>
                        <a:pt x="246975" y="1048385"/>
                      </a:lnTo>
                      <a:lnTo>
                        <a:pt x="257188" y="1047146"/>
                      </a:lnTo>
                      <a:lnTo>
                        <a:pt x="263271" y="1046406"/>
                      </a:lnTo>
                      <a:lnTo>
                        <a:pt x="262482" y="1040334"/>
                      </a:lnTo>
                      <a:lnTo>
                        <a:pt x="262166" y="1037857"/>
                      </a:lnTo>
                      <a:lnTo>
                        <a:pt x="264874" y="1035890"/>
                      </a:lnTo>
                      <a:lnTo>
                        <a:pt x="272670" y="1033218"/>
                      </a:lnTo>
                      <a:lnTo>
                        <a:pt x="292572" y="1029879"/>
                      </a:lnTo>
                      <a:lnTo>
                        <a:pt x="293446" y="1029721"/>
                      </a:lnTo>
                      <a:lnTo>
                        <a:pt x="294236" y="1029333"/>
                      </a:lnTo>
                      <a:lnTo>
                        <a:pt x="297223" y="1027863"/>
                      </a:lnTo>
                      <a:lnTo>
                        <a:pt x="298546" y="1027220"/>
                      </a:lnTo>
                      <a:lnTo>
                        <a:pt x="299421" y="1026030"/>
                      </a:lnTo>
                      <a:lnTo>
                        <a:pt x="303938" y="1019946"/>
                      </a:lnTo>
                      <a:lnTo>
                        <a:pt x="305480" y="1018270"/>
                      </a:lnTo>
                      <a:lnTo>
                        <a:pt x="340682" y="996984"/>
                      </a:lnTo>
                      <a:lnTo>
                        <a:pt x="346912" y="994422"/>
                      </a:lnTo>
                      <a:lnTo>
                        <a:pt x="349449" y="993997"/>
                      </a:lnTo>
                      <a:lnTo>
                        <a:pt x="351975" y="993584"/>
                      </a:lnTo>
                      <a:lnTo>
                        <a:pt x="353445" y="991483"/>
                      </a:lnTo>
                      <a:lnTo>
                        <a:pt x="354695" y="989698"/>
                      </a:lnTo>
                      <a:lnTo>
                        <a:pt x="355266" y="988885"/>
                      </a:lnTo>
                      <a:lnTo>
                        <a:pt x="355545" y="987925"/>
                      </a:lnTo>
                      <a:lnTo>
                        <a:pt x="358399" y="978077"/>
                      </a:lnTo>
                      <a:lnTo>
                        <a:pt x="358703" y="977725"/>
                      </a:lnTo>
                      <a:lnTo>
                        <a:pt x="363620" y="973111"/>
                      </a:lnTo>
                      <a:lnTo>
                        <a:pt x="364009" y="972746"/>
                      </a:lnTo>
                      <a:lnTo>
                        <a:pt x="364325" y="972334"/>
                      </a:lnTo>
                      <a:lnTo>
                        <a:pt x="365940" y="970184"/>
                      </a:lnTo>
                      <a:lnTo>
                        <a:pt x="366328" y="969662"/>
                      </a:lnTo>
                      <a:lnTo>
                        <a:pt x="366595" y="969067"/>
                      </a:lnTo>
                      <a:lnTo>
                        <a:pt x="367506" y="967088"/>
                      </a:lnTo>
                      <a:lnTo>
                        <a:pt x="367895" y="966262"/>
                      </a:lnTo>
                      <a:lnTo>
                        <a:pt x="368016" y="965364"/>
                      </a:lnTo>
                      <a:lnTo>
                        <a:pt x="370663" y="945522"/>
                      </a:lnTo>
                      <a:lnTo>
                        <a:pt x="370797" y="944502"/>
                      </a:lnTo>
                      <a:lnTo>
                        <a:pt x="370590" y="943494"/>
                      </a:lnTo>
                      <a:lnTo>
                        <a:pt x="369570" y="938528"/>
                      </a:lnTo>
                      <a:lnTo>
                        <a:pt x="374367" y="938528"/>
                      </a:lnTo>
                      <a:lnTo>
                        <a:pt x="370384" y="930270"/>
                      </a:lnTo>
                      <a:lnTo>
                        <a:pt x="371805" y="928486"/>
                      </a:lnTo>
                      <a:lnTo>
                        <a:pt x="372436" y="927696"/>
                      </a:lnTo>
                      <a:lnTo>
                        <a:pt x="372776" y="926725"/>
                      </a:lnTo>
                      <a:lnTo>
                        <a:pt x="374294" y="922402"/>
                      </a:lnTo>
                      <a:lnTo>
                        <a:pt x="375909" y="921333"/>
                      </a:lnTo>
                      <a:lnTo>
                        <a:pt x="378908" y="919937"/>
                      </a:lnTo>
                      <a:lnTo>
                        <a:pt x="380111" y="919378"/>
                      </a:lnTo>
                      <a:lnTo>
                        <a:pt x="380960" y="918370"/>
                      </a:lnTo>
                      <a:lnTo>
                        <a:pt x="382903" y="916087"/>
                      </a:lnTo>
                      <a:lnTo>
                        <a:pt x="384834" y="913805"/>
                      </a:lnTo>
                      <a:lnTo>
                        <a:pt x="384215" y="910878"/>
                      </a:lnTo>
                      <a:lnTo>
                        <a:pt x="383292" y="906567"/>
                      </a:lnTo>
                      <a:lnTo>
                        <a:pt x="379771" y="890041"/>
                      </a:lnTo>
                      <a:lnTo>
                        <a:pt x="377682" y="894036"/>
                      </a:lnTo>
                      <a:lnTo>
                        <a:pt x="377864" y="893429"/>
                      </a:lnTo>
                      <a:lnTo>
                        <a:pt x="383765" y="882816"/>
                      </a:lnTo>
                      <a:lnTo>
                        <a:pt x="387214" y="878663"/>
                      </a:lnTo>
                      <a:lnTo>
                        <a:pt x="412277" y="858093"/>
                      </a:lnTo>
                      <a:lnTo>
                        <a:pt x="418154" y="854304"/>
                      </a:lnTo>
                      <a:lnTo>
                        <a:pt x="424262" y="851536"/>
                      </a:lnTo>
                      <a:lnTo>
                        <a:pt x="430067" y="850200"/>
                      </a:lnTo>
                      <a:lnTo>
                        <a:pt x="454729" y="847286"/>
                      </a:lnTo>
                      <a:lnTo>
                        <a:pt x="455154" y="847237"/>
                      </a:lnTo>
                      <a:lnTo>
                        <a:pt x="455567" y="847128"/>
                      </a:lnTo>
                      <a:lnTo>
                        <a:pt x="458542" y="846351"/>
                      </a:lnTo>
                      <a:lnTo>
                        <a:pt x="459112" y="846205"/>
                      </a:lnTo>
                      <a:lnTo>
                        <a:pt x="459635" y="845950"/>
                      </a:lnTo>
                      <a:lnTo>
                        <a:pt x="462282" y="844675"/>
                      </a:lnTo>
                      <a:lnTo>
                        <a:pt x="463921" y="843886"/>
                      </a:lnTo>
                      <a:lnTo>
                        <a:pt x="464856" y="842319"/>
                      </a:lnTo>
                      <a:lnTo>
                        <a:pt x="466010" y="840389"/>
                      </a:lnTo>
                      <a:lnTo>
                        <a:pt x="466240" y="840000"/>
                      </a:lnTo>
                      <a:lnTo>
                        <a:pt x="466410" y="839575"/>
                      </a:lnTo>
                      <a:lnTo>
                        <a:pt x="466653" y="838980"/>
                      </a:lnTo>
                      <a:lnTo>
                        <a:pt x="474838" y="838470"/>
                      </a:lnTo>
                      <a:lnTo>
                        <a:pt x="475882" y="838409"/>
                      </a:lnTo>
                      <a:lnTo>
                        <a:pt x="476853" y="837996"/>
                      </a:lnTo>
                      <a:lnTo>
                        <a:pt x="479258" y="836964"/>
                      </a:lnTo>
                      <a:lnTo>
                        <a:pt x="479816" y="836709"/>
                      </a:lnTo>
                      <a:lnTo>
                        <a:pt x="480326" y="836369"/>
                      </a:lnTo>
                      <a:lnTo>
                        <a:pt x="482451" y="834900"/>
                      </a:lnTo>
                      <a:lnTo>
                        <a:pt x="482876" y="834608"/>
                      </a:lnTo>
                      <a:lnTo>
                        <a:pt x="483240" y="834256"/>
                      </a:lnTo>
                      <a:lnTo>
                        <a:pt x="484540" y="832993"/>
                      </a:lnTo>
                      <a:lnTo>
                        <a:pt x="486070" y="832034"/>
                      </a:lnTo>
                      <a:lnTo>
                        <a:pt x="492226" y="830565"/>
                      </a:lnTo>
                      <a:lnTo>
                        <a:pt x="493003" y="830370"/>
                      </a:lnTo>
                      <a:lnTo>
                        <a:pt x="493708" y="829994"/>
                      </a:lnTo>
                      <a:lnTo>
                        <a:pt x="498540" y="827371"/>
                      </a:lnTo>
                      <a:lnTo>
                        <a:pt x="500702" y="826740"/>
                      </a:lnTo>
                      <a:lnTo>
                        <a:pt x="506300" y="825963"/>
                      </a:lnTo>
                      <a:lnTo>
                        <a:pt x="506871" y="825963"/>
                      </a:lnTo>
                      <a:lnTo>
                        <a:pt x="507514" y="826109"/>
                      </a:lnTo>
                      <a:lnTo>
                        <a:pt x="507963" y="826217"/>
                      </a:lnTo>
                      <a:lnTo>
                        <a:pt x="508437" y="826254"/>
                      </a:lnTo>
                      <a:lnTo>
                        <a:pt x="509809" y="826351"/>
                      </a:lnTo>
                      <a:lnTo>
                        <a:pt x="510635" y="826412"/>
                      </a:lnTo>
                      <a:lnTo>
                        <a:pt x="511448" y="826230"/>
                      </a:lnTo>
                      <a:lnTo>
                        <a:pt x="513403" y="825829"/>
                      </a:lnTo>
                      <a:lnTo>
                        <a:pt x="514921" y="825526"/>
                      </a:lnTo>
                      <a:lnTo>
                        <a:pt x="516099" y="824530"/>
                      </a:lnTo>
                      <a:lnTo>
                        <a:pt x="519317" y="821785"/>
                      </a:lnTo>
                      <a:lnTo>
                        <a:pt x="523373" y="821349"/>
                      </a:lnTo>
                      <a:lnTo>
                        <a:pt x="529141" y="822077"/>
                      </a:lnTo>
                      <a:lnTo>
                        <a:pt x="534909" y="823619"/>
                      </a:lnTo>
                      <a:lnTo>
                        <a:pt x="539547" y="825513"/>
                      </a:lnTo>
                      <a:lnTo>
                        <a:pt x="541575" y="826339"/>
                      </a:lnTo>
                      <a:lnTo>
                        <a:pt x="543664" y="825683"/>
                      </a:lnTo>
                      <a:lnTo>
                        <a:pt x="544805" y="825319"/>
                      </a:lnTo>
                      <a:lnTo>
                        <a:pt x="549541" y="825477"/>
                      </a:lnTo>
                      <a:lnTo>
                        <a:pt x="551071" y="825526"/>
                      </a:lnTo>
                      <a:lnTo>
                        <a:pt x="552443" y="824833"/>
                      </a:lnTo>
                      <a:lnTo>
                        <a:pt x="557543" y="822271"/>
                      </a:lnTo>
                      <a:lnTo>
                        <a:pt x="558672" y="822429"/>
                      </a:lnTo>
                      <a:lnTo>
                        <a:pt x="561319" y="823255"/>
                      </a:lnTo>
                      <a:lnTo>
                        <a:pt x="562376" y="823583"/>
                      </a:lnTo>
                      <a:lnTo>
                        <a:pt x="563481" y="823522"/>
                      </a:lnTo>
                      <a:lnTo>
                        <a:pt x="564574" y="823461"/>
                      </a:lnTo>
                      <a:lnTo>
                        <a:pt x="565885" y="824263"/>
                      </a:lnTo>
                      <a:lnTo>
                        <a:pt x="567002" y="824955"/>
                      </a:lnTo>
                      <a:lnTo>
                        <a:pt x="568290" y="825125"/>
                      </a:lnTo>
                      <a:lnTo>
                        <a:pt x="578453" y="826424"/>
                      </a:lnTo>
                      <a:lnTo>
                        <a:pt x="589685" y="832532"/>
                      </a:lnTo>
                      <a:lnTo>
                        <a:pt x="601015" y="842380"/>
                      </a:lnTo>
                      <a:lnTo>
                        <a:pt x="601634" y="842914"/>
                      </a:lnTo>
                      <a:lnTo>
                        <a:pt x="602375" y="843266"/>
                      </a:lnTo>
                      <a:lnTo>
                        <a:pt x="605411" y="844711"/>
                      </a:lnTo>
                      <a:lnTo>
                        <a:pt x="608276" y="846071"/>
                      </a:lnTo>
                      <a:lnTo>
                        <a:pt x="611033" y="844505"/>
                      </a:lnTo>
                      <a:lnTo>
                        <a:pt x="613571" y="843060"/>
                      </a:lnTo>
                      <a:lnTo>
                        <a:pt x="620116" y="839320"/>
                      </a:lnTo>
                      <a:lnTo>
                        <a:pt x="615088" y="833722"/>
                      </a:lnTo>
                      <a:lnTo>
                        <a:pt x="612162" y="830456"/>
                      </a:lnTo>
                      <a:lnTo>
                        <a:pt x="611749" y="829994"/>
                      </a:lnTo>
                      <a:lnTo>
                        <a:pt x="611251" y="829630"/>
                      </a:lnTo>
                      <a:lnTo>
                        <a:pt x="598368" y="820122"/>
                      </a:lnTo>
                      <a:lnTo>
                        <a:pt x="596437" y="818337"/>
                      </a:lnTo>
                      <a:lnTo>
                        <a:pt x="596012" y="817705"/>
                      </a:lnTo>
                      <a:lnTo>
                        <a:pt x="595842" y="817268"/>
                      </a:lnTo>
                      <a:lnTo>
                        <a:pt x="595441" y="816224"/>
                      </a:lnTo>
                      <a:lnTo>
                        <a:pt x="594688" y="815398"/>
                      </a:lnTo>
                      <a:lnTo>
                        <a:pt x="594470" y="815155"/>
                      </a:lnTo>
                      <a:lnTo>
                        <a:pt x="594761" y="814718"/>
                      </a:lnTo>
                      <a:lnTo>
                        <a:pt x="595138" y="814172"/>
                      </a:lnTo>
                      <a:lnTo>
                        <a:pt x="595380" y="813552"/>
                      </a:lnTo>
                      <a:lnTo>
                        <a:pt x="595951" y="812120"/>
                      </a:lnTo>
                      <a:lnTo>
                        <a:pt x="596959" y="809594"/>
                      </a:lnTo>
                      <a:lnTo>
                        <a:pt x="595745" y="807166"/>
                      </a:lnTo>
                      <a:lnTo>
                        <a:pt x="594870" y="805417"/>
                      </a:lnTo>
                      <a:lnTo>
                        <a:pt x="593778" y="803231"/>
                      </a:lnTo>
                      <a:lnTo>
                        <a:pt x="591483" y="802417"/>
                      </a:lnTo>
                      <a:lnTo>
                        <a:pt x="587536" y="801009"/>
                      </a:lnTo>
                      <a:lnTo>
                        <a:pt x="585193" y="800171"/>
                      </a:lnTo>
                      <a:lnTo>
                        <a:pt x="582934" y="801228"/>
                      </a:lnTo>
                      <a:lnTo>
                        <a:pt x="578623" y="803231"/>
                      </a:lnTo>
                      <a:lnTo>
                        <a:pt x="578150" y="803449"/>
                      </a:lnTo>
                      <a:lnTo>
                        <a:pt x="577725" y="803741"/>
                      </a:lnTo>
                      <a:lnTo>
                        <a:pt x="573972" y="806340"/>
                      </a:lnTo>
                      <a:lnTo>
                        <a:pt x="571641" y="807202"/>
                      </a:lnTo>
                      <a:lnTo>
                        <a:pt x="547841" y="806728"/>
                      </a:lnTo>
                      <a:lnTo>
                        <a:pt x="541344" y="805344"/>
                      </a:lnTo>
                      <a:lnTo>
                        <a:pt x="536244" y="803158"/>
                      </a:lnTo>
                      <a:lnTo>
                        <a:pt x="522414" y="790760"/>
                      </a:lnTo>
                      <a:lnTo>
                        <a:pt x="518236" y="785697"/>
                      </a:lnTo>
                      <a:lnTo>
                        <a:pt x="515650" y="780415"/>
                      </a:lnTo>
                      <a:lnTo>
                        <a:pt x="515480" y="778690"/>
                      </a:lnTo>
                      <a:lnTo>
                        <a:pt x="517411" y="772424"/>
                      </a:lnTo>
                      <a:lnTo>
                        <a:pt x="517568" y="771914"/>
                      </a:lnTo>
                      <a:lnTo>
                        <a:pt x="517629" y="771392"/>
                      </a:lnTo>
                      <a:lnTo>
                        <a:pt x="518710" y="762795"/>
                      </a:lnTo>
                      <a:lnTo>
                        <a:pt x="519694" y="759553"/>
                      </a:lnTo>
                      <a:lnTo>
                        <a:pt x="521054" y="756687"/>
                      </a:lnTo>
                      <a:lnTo>
                        <a:pt x="522256" y="754805"/>
                      </a:lnTo>
                      <a:lnTo>
                        <a:pt x="522766" y="754307"/>
                      </a:lnTo>
                      <a:lnTo>
                        <a:pt x="524344" y="753056"/>
                      </a:lnTo>
                      <a:lnTo>
                        <a:pt x="525036" y="752486"/>
                      </a:lnTo>
                      <a:lnTo>
                        <a:pt x="525534" y="751745"/>
                      </a:lnTo>
                      <a:lnTo>
                        <a:pt x="526396" y="750482"/>
                      </a:lnTo>
                      <a:lnTo>
                        <a:pt x="526991" y="749596"/>
                      </a:lnTo>
                      <a:lnTo>
                        <a:pt x="527246" y="748551"/>
                      </a:lnTo>
                      <a:lnTo>
                        <a:pt x="527769" y="746463"/>
                      </a:lnTo>
                      <a:lnTo>
                        <a:pt x="527975" y="745649"/>
                      </a:lnTo>
                      <a:lnTo>
                        <a:pt x="527951" y="744799"/>
                      </a:lnTo>
                      <a:lnTo>
                        <a:pt x="527914" y="743719"/>
                      </a:lnTo>
                      <a:lnTo>
                        <a:pt x="537459" y="730471"/>
                      </a:lnTo>
                      <a:lnTo>
                        <a:pt x="544283" y="724278"/>
                      </a:lnTo>
                      <a:lnTo>
                        <a:pt x="544647" y="723962"/>
                      </a:lnTo>
                      <a:lnTo>
                        <a:pt x="544951" y="723574"/>
                      </a:lnTo>
                      <a:lnTo>
                        <a:pt x="547999" y="719760"/>
                      </a:lnTo>
                      <a:lnTo>
                        <a:pt x="548764" y="718801"/>
                      </a:lnTo>
                      <a:lnTo>
                        <a:pt x="549092" y="717611"/>
                      </a:lnTo>
                      <a:lnTo>
                        <a:pt x="550051" y="714199"/>
                      </a:lnTo>
                      <a:lnTo>
                        <a:pt x="552929" y="710908"/>
                      </a:lnTo>
                      <a:lnTo>
                        <a:pt x="553451" y="710313"/>
                      </a:lnTo>
                      <a:lnTo>
                        <a:pt x="553803" y="709597"/>
                      </a:lnTo>
                      <a:lnTo>
                        <a:pt x="557397" y="702311"/>
                      </a:lnTo>
                      <a:lnTo>
                        <a:pt x="567792" y="688152"/>
                      </a:lnTo>
                      <a:lnTo>
                        <a:pt x="574616" y="681267"/>
                      </a:lnTo>
                      <a:lnTo>
                        <a:pt x="581295" y="676811"/>
                      </a:lnTo>
                      <a:lnTo>
                        <a:pt x="588447" y="672026"/>
                      </a:lnTo>
                      <a:lnTo>
                        <a:pt x="581550" y="666890"/>
                      </a:lnTo>
                      <a:lnTo>
                        <a:pt x="578465" y="664583"/>
                      </a:lnTo>
                      <a:lnTo>
                        <a:pt x="577409" y="661244"/>
                      </a:lnTo>
                      <a:lnTo>
                        <a:pt x="576219" y="649186"/>
                      </a:lnTo>
                      <a:lnTo>
                        <a:pt x="576122" y="647947"/>
                      </a:lnTo>
                      <a:lnTo>
                        <a:pt x="576328" y="647887"/>
                      </a:lnTo>
                      <a:lnTo>
                        <a:pt x="577409" y="647607"/>
                      </a:lnTo>
                      <a:lnTo>
                        <a:pt x="578320" y="646939"/>
                      </a:lnTo>
                      <a:lnTo>
                        <a:pt x="579631" y="645992"/>
                      </a:lnTo>
                      <a:lnTo>
                        <a:pt x="581756" y="644462"/>
                      </a:lnTo>
                      <a:lnTo>
                        <a:pt x="582096" y="641864"/>
                      </a:lnTo>
                      <a:lnTo>
                        <a:pt x="582387" y="639654"/>
                      </a:lnTo>
                      <a:lnTo>
                        <a:pt x="582448" y="639192"/>
                      </a:lnTo>
                      <a:lnTo>
                        <a:pt x="582448" y="638719"/>
                      </a:lnTo>
                      <a:lnTo>
                        <a:pt x="582400" y="636679"/>
                      </a:lnTo>
                      <a:lnTo>
                        <a:pt x="582412" y="636569"/>
                      </a:lnTo>
                      <a:lnTo>
                        <a:pt x="583675" y="634857"/>
                      </a:lnTo>
                      <a:lnTo>
                        <a:pt x="586261" y="632756"/>
                      </a:lnTo>
                      <a:lnTo>
                        <a:pt x="596874" y="626588"/>
                      </a:lnTo>
                      <a:lnTo>
                        <a:pt x="597335" y="626321"/>
                      </a:lnTo>
                      <a:lnTo>
                        <a:pt x="597748" y="625981"/>
                      </a:lnTo>
                      <a:lnTo>
                        <a:pt x="600735" y="623455"/>
                      </a:lnTo>
                      <a:lnTo>
                        <a:pt x="600772" y="623467"/>
                      </a:lnTo>
                      <a:lnTo>
                        <a:pt x="605071" y="625434"/>
                      </a:lnTo>
                      <a:lnTo>
                        <a:pt x="606115" y="625908"/>
                      </a:lnTo>
                      <a:lnTo>
                        <a:pt x="607268" y="625968"/>
                      </a:lnTo>
                      <a:lnTo>
                        <a:pt x="611458" y="626199"/>
                      </a:lnTo>
                      <a:lnTo>
                        <a:pt x="612113" y="626236"/>
                      </a:lnTo>
                      <a:lnTo>
                        <a:pt x="612757" y="626126"/>
                      </a:lnTo>
                      <a:lnTo>
                        <a:pt x="622459" y="624548"/>
                      </a:lnTo>
                      <a:lnTo>
                        <a:pt x="622896" y="624475"/>
                      </a:lnTo>
                      <a:lnTo>
                        <a:pt x="623321" y="624341"/>
                      </a:lnTo>
                      <a:lnTo>
                        <a:pt x="623722" y="624220"/>
                      </a:lnTo>
                      <a:lnTo>
                        <a:pt x="624863" y="625410"/>
                      </a:lnTo>
                      <a:lnTo>
                        <a:pt x="625604" y="626175"/>
                      </a:lnTo>
                      <a:lnTo>
                        <a:pt x="626867" y="627486"/>
                      </a:lnTo>
                      <a:lnTo>
                        <a:pt x="628652" y="627887"/>
                      </a:lnTo>
                      <a:lnTo>
                        <a:pt x="629927" y="628166"/>
                      </a:lnTo>
                      <a:lnTo>
                        <a:pt x="630352" y="628264"/>
                      </a:lnTo>
                      <a:lnTo>
                        <a:pt x="630789" y="628300"/>
                      </a:lnTo>
                      <a:lnTo>
                        <a:pt x="633546" y="628506"/>
                      </a:lnTo>
                      <a:lnTo>
                        <a:pt x="666866" y="635574"/>
                      </a:lnTo>
                      <a:lnTo>
                        <a:pt x="668335" y="635877"/>
                      </a:lnTo>
                      <a:lnTo>
                        <a:pt x="669780" y="635476"/>
                      </a:lnTo>
                      <a:lnTo>
                        <a:pt x="672124" y="634809"/>
                      </a:lnTo>
                      <a:lnTo>
                        <a:pt x="676070" y="633679"/>
                      </a:lnTo>
                      <a:lnTo>
                        <a:pt x="676095" y="633448"/>
                      </a:lnTo>
                      <a:lnTo>
                        <a:pt x="679385" y="632902"/>
                      </a:lnTo>
                      <a:lnTo>
                        <a:pt x="679859" y="632829"/>
                      </a:lnTo>
                      <a:lnTo>
                        <a:pt x="680308" y="632671"/>
                      </a:lnTo>
                      <a:lnTo>
                        <a:pt x="683647" y="631566"/>
                      </a:lnTo>
                      <a:lnTo>
                        <a:pt x="686513" y="630971"/>
                      </a:lnTo>
                      <a:lnTo>
                        <a:pt x="689500" y="630352"/>
                      </a:lnTo>
                      <a:lnTo>
                        <a:pt x="690787" y="627584"/>
                      </a:lnTo>
                      <a:lnTo>
                        <a:pt x="691759" y="625495"/>
                      </a:lnTo>
                      <a:lnTo>
                        <a:pt x="692220" y="624511"/>
                      </a:lnTo>
                      <a:lnTo>
                        <a:pt x="692305" y="623431"/>
                      </a:lnTo>
                      <a:lnTo>
                        <a:pt x="693629" y="607232"/>
                      </a:lnTo>
                      <a:lnTo>
                        <a:pt x="693653" y="606916"/>
                      </a:lnTo>
                      <a:lnTo>
                        <a:pt x="693653" y="606600"/>
                      </a:lnTo>
                      <a:lnTo>
                        <a:pt x="692900" y="573875"/>
                      </a:lnTo>
                      <a:lnTo>
                        <a:pt x="692888" y="573256"/>
                      </a:lnTo>
                      <a:lnTo>
                        <a:pt x="692755" y="572649"/>
                      </a:lnTo>
                      <a:lnTo>
                        <a:pt x="691127" y="565594"/>
                      </a:lnTo>
                      <a:lnTo>
                        <a:pt x="691079" y="535358"/>
                      </a:lnTo>
                      <a:lnTo>
                        <a:pt x="690605" y="524793"/>
                      </a:lnTo>
                      <a:lnTo>
                        <a:pt x="690326" y="518637"/>
                      </a:lnTo>
                      <a:lnTo>
                        <a:pt x="684182" y="519001"/>
                      </a:lnTo>
                      <a:lnTo>
                        <a:pt x="684109" y="519001"/>
                      </a:lnTo>
                      <a:lnTo>
                        <a:pt x="683672" y="518831"/>
                      </a:lnTo>
                      <a:lnTo>
                        <a:pt x="683562" y="518285"/>
                      </a:lnTo>
                      <a:lnTo>
                        <a:pt x="682263" y="517374"/>
                      </a:lnTo>
                      <a:lnTo>
                        <a:pt x="682652" y="517046"/>
                      </a:lnTo>
                      <a:lnTo>
                        <a:pt x="682312" y="513853"/>
                      </a:lnTo>
                      <a:lnTo>
                        <a:pt x="682202" y="512796"/>
                      </a:lnTo>
                      <a:lnTo>
                        <a:pt x="681814" y="509081"/>
                      </a:lnTo>
                      <a:lnTo>
                        <a:pt x="678329" y="507769"/>
                      </a:lnTo>
                      <a:lnTo>
                        <a:pt x="676957" y="507247"/>
                      </a:lnTo>
                      <a:lnTo>
                        <a:pt x="676532" y="507077"/>
                      </a:lnTo>
                      <a:lnTo>
                        <a:pt x="676095" y="506980"/>
                      </a:lnTo>
                      <a:lnTo>
                        <a:pt x="675062" y="506749"/>
                      </a:lnTo>
                      <a:lnTo>
                        <a:pt x="674929" y="506713"/>
                      </a:lnTo>
                      <a:lnTo>
                        <a:pt x="674140" y="506045"/>
                      </a:lnTo>
                      <a:lnTo>
                        <a:pt x="673447" y="505450"/>
                      </a:lnTo>
                      <a:lnTo>
                        <a:pt x="671808" y="504041"/>
                      </a:lnTo>
                      <a:lnTo>
                        <a:pt x="669647" y="503993"/>
                      </a:lnTo>
                      <a:lnTo>
                        <a:pt x="669634" y="503993"/>
                      </a:lnTo>
                      <a:lnTo>
                        <a:pt x="670521" y="502050"/>
                      </a:lnTo>
                      <a:lnTo>
                        <a:pt x="671165" y="500641"/>
                      </a:lnTo>
                      <a:lnTo>
                        <a:pt x="671177" y="500326"/>
                      </a:lnTo>
                      <a:lnTo>
                        <a:pt x="672112" y="500447"/>
                      </a:lnTo>
                      <a:lnTo>
                        <a:pt x="675099" y="500811"/>
                      </a:lnTo>
                      <a:lnTo>
                        <a:pt x="677200" y="498650"/>
                      </a:lnTo>
                      <a:lnTo>
                        <a:pt x="677576" y="498273"/>
                      </a:lnTo>
                      <a:lnTo>
                        <a:pt x="678377" y="497800"/>
                      </a:lnTo>
                      <a:lnTo>
                        <a:pt x="679519" y="497848"/>
                      </a:lnTo>
                      <a:lnTo>
                        <a:pt x="683065" y="498638"/>
                      </a:lnTo>
                      <a:lnTo>
                        <a:pt x="689063" y="499998"/>
                      </a:lnTo>
                      <a:lnTo>
                        <a:pt x="690338" y="493975"/>
                      </a:lnTo>
                      <a:lnTo>
                        <a:pt x="691431" y="488826"/>
                      </a:lnTo>
                      <a:lnTo>
                        <a:pt x="691553" y="488267"/>
                      </a:lnTo>
                      <a:lnTo>
                        <a:pt x="691565" y="487685"/>
                      </a:lnTo>
                      <a:lnTo>
                        <a:pt x="692148" y="458663"/>
                      </a:lnTo>
                      <a:lnTo>
                        <a:pt x="692160" y="458019"/>
                      </a:lnTo>
                      <a:lnTo>
                        <a:pt x="692038" y="457376"/>
                      </a:lnTo>
                      <a:lnTo>
                        <a:pt x="688274" y="438129"/>
                      </a:lnTo>
                      <a:lnTo>
                        <a:pt x="687946" y="423825"/>
                      </a:lnTo>
                      <a:lnTo>
                        <a:pt x="687910" y="421979"/>
                      </a:lnTo>
                      <a:lnTo>
                        <a:pt x="686841" y="420474"/>
                      </a:lnTo>
                      <a:lnTo>
                        <a:pt x="686270" y="419672"/>
                      </a:lnTo>
                      <a:lnTo>
                        <a:pt x="685141" y="418069"/>
                      </a:lnTo>
                      <a:lnTo>
                        <a:pt x="685651" y="416308"/>
                      </a:lnTo>
                      <a:lnTo>
                        <a:pt x="685979" y="415179"/>
                      </a:lnTo>
                      <a:lnTo>
                        <a:pt x="685858" y="414001"/>
                      </a:lnTo>
                      <a:lnTo>
                        <a:pt x="684825" y="404129"/>
                      </a:lnTo>
                      <a:lnTo>
                        <a:pt x="684631" y="402223"/>
                      </a:lnTo>
                      <a:lnTo>
                        <a:pt x="683368" y="400766"/>
                      </a:lnTo>
                      <a:lnTo>
                        <a:pt x="681996" y="399187"/>
                      </a:lnTo>
                      <a:lnTo>
                        <a:pt x="680490" y="397463"/>
                      </a:lnTo>
                      <a:lnTo>
                        <a:pt x="678207" y="397159"/>
                      </a:lnTo>
                      <a:lnTo>
                        <a:pt x="677297" y="397038"/>
                      </a:lnTo>
                      <a:lnTo>
                        <a:pt x="673642" y="385721"/>
                      </a:lnTo>
                      <a:lnTo>
                        <a:pt x="672779" y="379236"/>
                      </a:lnTo>
                      <a:lnTo>
                        <a:pt x="673059" y="376553"/>
                      </a:lnTo>
                      <a:lnTo>
                        <a:pt x="674735" y="369886"/>
                      </a:lnTo>
                      <a:lnTo>
                        <a:pt x="674856" y="369400"/>
                      </a:lnTo>
                      <a:lnTo>
                        <a:pt x="674893" y="368915"/>
                      </a:lnTo>
                      <a:lnTo>
                        <a:pt x="675487" y="361775"/>
                      </a:lnTo>
                      <a:lnTo>
                        <a:pt x="678912" y="344362"/>
                      </a:lnTo>
                      <a:lnTo>
                        <a:pt x="679434" y="342868"/>
                      </a:lnTo>
                      <a:lnTo>
                        <a:pt x="679980" y="342455"/>
                      </a:lnTo>
                      <a:lnTo>
                        <a:pt x="681753" y="341071"/>
                      </a:lnTo>
                      <a:lnTo>
                        <a:pt x="682202" y="338861"/>
                      </a:lnTo>
                      <a:lnTo>
                        <a:pt x="683635" y="331854"/>
                      </a:lnTo>
                      <a:lnTo>
                        <a:pt x="685153" y="324435"/>
                      </a:lnTo>
                      <a:lnTo>
                        <a:pt x="677576" y="324581"/>
                      </a:lnTo>
                      <a:lnTo>
                        <a:pt x="676313" y="324605"/>
                      </a:lnTo>
                      <a:lnTo>
                        <a:pt x="671930" y="324690"/>
                      </a:lnTo>
                      <a:lnTo>
                        <a:pt x="669027" y="324095"/>
                      </a:lnTo>
                      <a:lnTo>
                        <a:pt x="668457" y="323889"/>
                      </a:lnTo>
                      <a:lnTo>
                        <a:pt x="668032" y="323731"/>
                      </a:lnTo>
                      <a:lnTo>
                        <a:pt x="667582" y="323646"/>
                      </a:lnTo>
                      <a:lnTo>
                        <a:pt x="666659" y="323464"/>
                      </a:lnTo>
                      <a:lnTo>
                        <a:pt x="666101" y="323354"/>
                      </a:lnTo>
                      <a:lnTo>
                        <a:pt x="665518" y="323354"/>
                      </a:lnTo>
                      <a:lnTo>
                        <a:pt x="665227" y="323354"/>
                      </a:lnTo>
                      <a:lnTo>
                        <a:pt x="665117" y="323221"/>
                      </a:lnTo>
                      <a:lnTo>
                        <a:pt x="664644" y="322650"/>
                      </a:lnTo>
                      <a:lnTo>
                        <a:pt x="664267" y="322383"/>
                      </a:lnTo>
                      <a:lnTo>
                        <a:pt x="664304" y="322286"/>
                      </a:lnTo>
                      <a:lnTo>
                        <a:pt x="664401" y="321897"/>
                      </a:lnTo>
                      <a:lnTo>
                        <a:pt x="664862" y="320064"/>
                      </a:lnTo>
                      <a:lnTo>
                        <a:pt x="665045" y="319323"/>
                      </a:lnTo>
                      <a:lnTo>
                        <a:pt x="665045" y="318570"/>
                      </a:lnTo>
                      <a:lnTo>
                        <a:pt x="665045" y="317441"/>
                      </a:lnTo>
                      <a:lnTo>
                        <a:pt x="665931" y="317975"/>
                      </a:lnTo>
                      <a:lnTo>
                        <a:pt x="666817" y="319043"/>
                      </a:lnTo>
                      <a:lnTo>
                        <a:pt x="668408" y="320974"/>
                      </a:lnTo>
                      <a:lnTo>
                        <a:pt x="670897" y="321217"/>
                      </a:lnTo>
                      <a:lnTo>
                        <a:pt x="672099" y="321339"/>
                      </a:lnTo>
                      <a:lnTo>
                        <a:pt x="673775" y="321508"/>
                      </a:lnTo>
                      <a:lnTo>
                        <a:pt x="675293" y="320792"/>
                      </a:lnTo>
                      <a:lnTo>
                        <a:pt x="676617" y="320161"/>
                      </a:lnTo>
                      <a:lnTo>
                        <a:pt x="677540" y="319723"/>
                      </a:lnTo>
                      <a:lnTo>
                        <a:pt x="678268" y="319007"/>
                      </a:lnTo>
                      <a:lnTo>
                        <a:pt x="681802" y="315571"/>
                      </a:lnTo>
                      <a:lnTo>
                        <a:pt x="683429" y="314320"/>
                      </a:lnTo>
                      <a:lnTo>
                        <a:pt x="686865" y="313142"/>
                      </a:lnTo>
                      <a:lnTo>
                        <a:pt x="690387" y="311940"/>
                      </a:lnTo>
                      <a:lnTo>
                        <a:pt x="690909" y="308929"/>
                      </a:lnTo>
                      <a:lnTo>
                        <a:pt x="691917" y="307472"/>
                      </a:lnTo>
                      <a:lnTo>
                        <a:pt x="692293" y="306925"/>
                      </a:lnTo>
                      <a:lnTo>
                        <a:pt x="692548" y="306318"/>
                      </a:lnTo>
                      <a:lnTo>
                        <a:pt x="692961" y="305310"/>
                      </a:lnTo>
                      <a:lnTo>
                        <a:pt x="693447" y="304096"/>
                      </a:lnTo>
                      <a:lnTo>
                        <a:pt x="693398" y="302796"/>
                      </a:lnTo>
                      <a:lnTo>
                        <a:pt x="693180" y="296895"/>
                      </a:lnTo>
                      <a:lnTo>
                        <a:pt x="693228" y="296482"/>
                      </a:lnTo>
                      <a:lnTo>
                        <a:pt x="693933" y="295146"/>
                      </a:lnTo>
                      <a:lnTo>
                        <a:pt x="698547" y="289706"/>
                      </a:lnTo>
                      <a:lnTo>
                        <a:pt x="699033" y="289136"/>
                      </a:lnTo>
                      <a:lnTo>
                        <a:pt x="699373" y="288443"/>
                      </a:lnTo>
                      <a:lnTo>
                        <a:pt x="704885" y="277187"/>
                      </a:lnTo>
                      <a:lnTo>
                        <a:pt x="705529" y="276240"/>
                      </a:lnTo>
                      <a:lnTo>
                        <a:pt x="707848" y="273738"/>
                      </a:lnTo>
                      <a:lnTo>
                        <a:pt x="708213" y="273350"/>
                      </a:lnTo>
                      <a:lnTo>
                        <a:pt x="708504" y="272900"/>
                      </a:lnTo>
                      <a:lnTo>
                        <a:pt x="719311" y="256131"/>
                      </a:lnTo>
                      <a:lnTo>
                        <a:pt x="730726" y="238414"/>
                      </a:lnTo>
                      <a:lnTo>
                        <a:pt x="732632" y="237309"/>
                      </a:lnTo>
                      <a:lnTo>
                        <a:pt x="733652" y="236714"/>
                      </a:lnTo>
                      <a:lnTo>
                        <a:pt x="734381" y="235779"/>
                      </a:lnTo>
                      <a:lnTo>
                        <a:pt x="736044" y="233630"/>
                      </a:lnTo>
                      <a:lnTo>
                        <a:pt x="736360" y="233217"/>
                      </a:lnTo>
                      <a:lnTo>
                        <a:pt x="736603" y="232756"/>
                      </a:lnTo>
                      <a:lnTo>
                        <a:pt x="740513" y="225409"/>
                      </a:lnTo>
                      <a:lnTo>
                        <a:pt x="740841" y="224790"/>
                      </a:lnTo>
                      <a:lnTo>
                        <a:pt x="741023" y="224098"/>
                      </a:lnTo>
                      <a:lnTo>
                        <a:pt x="741606" y="221876"/>
                      </a:lnTo>
                      <a:lnTo>
                        <a:pt x="747701" y="211639"/>
                      </a:lnTo>
                      <a:lnTo>
                        <a:pt x="747957" y="211239"/>
                      </a:lnTo>
                      <a:lnTo>
                        <a:pt x="748139" y="210789"/>
                      </a:lnTo>
                      <a:lnTo>
                        <a:pt x="752559" y="199715"/>
                      </a:lnTo>
                      <a:lnTo>
                        <a:pt x="752704" y="199351"/>
                      </a:lnTo>
                      <a:lnTo>
                        <a:pt x="752802" y="198974"/>
                      </a:lnTo>
                      <a:lnTo>
                        <a:pt x="753494" y="196266"/>
                      </a:lnTo>
                      <a:lnTo>
                        <a:pt x="753615" y="195780"/>
                      </a:lnTo>
                      <a:lnTo>
                        <a:pt x="753652" y="195283"/>
                      </a:lnTo>
                      <a:lnTo>
                        <a:pt x="753955" y="191858"/>
                      </a:lnTo>
                      <a:lnTo>
                        <a:pt x="755874" y="183844"/>
                      </a:lnTo>
                      <a:lnTo>
                        <a:pt x="756869" y="181318"/>
                      </a:lnTo>
                      <a:lnTo>
                        <a:pt x="759990" y="176510"/>
                      </a:lnTo>
                      <a:lnTo>
                        <a:pt x="760294" y="176048"/>
                      </a:lnTo>
                      <a:lnTo>
                        <a:pt x="760512" y="175526"/>
                      </a:lnTo>
                      <a:lnTo>
                        <a:pt x="761702" y="172660"/>
                      </a:lnTo>
                      <a:lnTo>
                        <a:pt x="762006" y="171932"/>
                      </a:lnTo>
                      <a:lnTo>
                        <a:pt x="762115" y="171142"/>
                      </a:lnTo>
                      <a:lnTo>
                        <a:pt x="762953" y="164877"/>
                      </a:lnTo>
                      <a:lnTo>
                        <a:pt x="766147" y="155648"/>
                      </a:lnTo>
                      <a:lnTo>
                        <a:pt x="766329" y="155138"/>
                      </a:lnTo>
                      <a:lnTo>
                        <a:pt x="766414" y="154604"/>
                      </a:lnTo>
                      <a:lnTo>
                        <a:pt x="768587" y="140713"/>
                      </a:lnTo>
                      <a:lnTo>
                        <a:pt x="768636" y="140397"/>
                      </a:lnTo>
                      <a:lnTo>
                        <a:pt x="768648" y="140069"/>
                      </a:lnTo>
                      <a:lnTo>
                        <a:pt x="769729" y="117252"/>
                      </a:lnTo>
                      <a:lnTo>
                        <a:pt x="772230" y="103907"/>
                      </a:lnTo>
                      <a:lnTo>
                        <a:pt x="772279" y="103604"/>
                      </a:lnTo>
                      <a:lnTo>
                        <a:pt x="772303" y="103288"/>
                      </a:lnTo>
                      <a:lnTo>
                        <a:pt x="772813" y="96998"/>
                      </a:lnTo>
                      <a:lnTo>
                        <a:pt x="775400" y="94229"/>
                      </a:lnTo>
                      <a:lnTo>
                        <a:pt x="775861" y="93731"/>
                      </a:lnTo>
                      <a:lnTo>
                        <a:pt x="776201" y="93161"/>
                      </a:lnTo>
                      <a:lnTo>
                        <a:pt x="777306" y="91291"/>
                      </a:lnTo>
                      <a:lnTo>
                        <a:pt x="778532" y="89214"/>
                      </a:lnTo>
                      <a:lnTo>
                        <a:pt x="778010" y="86883"/>
                      </a:lnTo>
                      <a:lnTo>
                        <a:pt x="776881" y="81856"/>
                      </a:lnTo>
                      <a:lnTo>
                        <a:pt x="776881" y="81601"/>
                      </a:lnTo>
                      <a:lnTo>
                        <a:pt x="777561" y="79767"/>
                      </a:lnTo>
                      <a:lnTo>
                        <a:pt x="779152" y="77266"/>
                      </a:lnTo>
                      <a:lnTo>
                        <a:pt x="779358" y="76950"/>
                      </a:lnTo>
                      <a:lnTo>
                        <a:pt x="779528" y="76598"/>
                      </a:lnTo>
                      <a:lnTo>
                        <a:pt x="781143" y="73173"/>
                      </a:lnTo>
                      <a:lnTo>
                        <a:pt x="781641" y="72129"/>
                      </a:lnTo>
                      <a:lnTo>
                        <a:pt x="781714" y="70963"/>
                      </a:lnTo>
                      <a:lnTo>
                        <a:pt x="781993" y="66580"/>
                      </a:lnTo>
                      <a:lnTo>
                        <a:pt x="782527" y="58128"/>
                      </a:lnTo>
                      <a:lnTo>
                        <a:pt x="782309" y="58189"/>
                      </a:lnTo>
                      <a:lnTo>
                        <a:pt x="782357" y="57497"/>
                      </a:lnTo>
                      <a:lnTo>
                        <a:pt x="784033" y="48171"/>
                      </a:lnTo>
                      <a:lnTo>
                        <a:pt x="784082" y="47867"/>
                      </a:lnTo>
                      <a:lnTo>
                        <a:pt x="784106" y="47564"/>
                      </a:lnTo>
                      <a:lnTo>
                        <a:pt x="784507" y="42245"/>
                      </a:lnTo>
                      <a:lnTo>
                        <a:pt x="784555" y="41602"/>
                      </a:lnTo>
                      <a:lnTo>
                        <a:pt x="784470" y="40958"/>
                      </a:lnTo>
                      <a:lnTo>
                        <a:pt x="783778" y="35943"/>
                      </a:lnTo>
                      <a:lnTo>
                        <a:pt x="783730" y="35591"/>
                      </a:lnTo>
                      <a:lnTo>
                        <a:pt x="783632" y="35227"/>
                      </a:lnTo>
                      <a:lnTo>
                        <a:pt x="781738" y="28038"/>
                      </a:lnTo>
                      <a:lnTo>
                        <a:pt x="781641" y="27698"/>
                      </a:lnTo>
                      <a:lnTo>
                        <a:pt x="781507" y="27358"/>
                      </a:lnTo>
                      <a:lnTo>
                        <a:pt x="780196" y="24067"/>
                      </a:lnTo>
                      <a:lnTo>
                        <a:pt x="778253" y="19174"/>
                      </a:lnTo>
                      <a:lnTo>
                        <a:pt x="773141" y="20412"/>
                      </a:lnTo>
                      <a:lnTo>
                        <a:pt x="770773" y="20983"/>
                      </a:lnTo>
                      <a:lnTo>
                        <a:pt x="769134" y="19999"/>
                      </a:lnTo>
                      <a:lnTo>
                        <a:pt x="770506" y="13491"/>
                      </a:lnTo>
                      <a:lnTo>
                        <a:pt x="763524" y="13029"/>
                      </a:lnTo>
                      <a:lnTo>
                        <a:pt x="762443" y="12956"/>
                      </a:lnTo>
                      <a:lnTo>
                        <a:pt x="755971" y="12532"/>
                      </a:lnTo>
                      <a:lnTo>
                        <a:pt x="755971" y="15555"/>
                      </a:lnTo>
                      <a:lnTo>
                        <a:pt x="753943" y="16490"/>
                      </a:lnTo>
                      <a:lnTo>
                        <a:pt x="751575" y="16721"/>
                      </a:lnTo>
                      <a:lnTo>
                        <a:pt x="743209" y="14863"/>
                      </a:lnTo>
                      <a:lnTo>
                        <a:pt x="742614" y="14730"/>
                      </a:lnTo>
                      <a:lnTo>
                        <a:pt x="742006" y="14717"/>
                      </a:lnTo>
                      <a:lnTo>
                        <a:pt x="739748" y="14669"/>
                      </a:lnTo>
                      <a:lnTo>
                        <a:pt x="739894" y="14086"/>
                      </a:lnTo>
                      <a:lnTo>
                        <a:pt x="739906" y="13430"/>
                      </a:lnTo>
                      <a:lnTo>
                        <a:pt x="739966" y="11427"/>
                      </a:lnTo>
                      <a:lnTo>
                        <a:pt x="740015" y="9812"/>
                      </a:lnTo>
                      <a:lnTo>
                        <a:pt x="739262" y="8391"/>
                      </a:lnTo>
                      <a:lnTo>
                        <a:pt x="738971" y="7844"/>
                      </a:lnTo>
                      <a:lnTo>
                        <a:pt x="737331" y="4772"/>
                      </a:lnTo>
                      <a:lnTo>
                        <a:pt x="733846" y="4627"/>
                      </a:lnTo>
                      <a:lnTo>
                        <a:pt x="730458" y="4493"/>
                      </a:lnTo>
                      <a:lnTo>
                        <a:pt x="729305" y="3983"/>
                      </a:lnTo>
                      <a:lnTo>
                        <a:pt x="725723" y="1469"/>
                      </a:lnTo>
                      <a:lnTo>
                        <a:pt x="724739" y="777"/>
                      </a:lnTo>
                      <a:lnTo>
                        <a:pt x="723573" y="522"/>
                      </a:lnTo>
                      <a:lnTo>
                        <a:pt x="722323" y="243"/>
                      </a:lnTo>
                      <a:lnTo>
                        <a:pt x="720805" y="0"/>
                      </a:lnTo>
                      <a:lnTo>
                        <a:pt x="720805" y="0"/>
                      </a:lnTo>
                      <a:close/>
                    </a:path>
                  </a:pathLst>
                </a:custGeom>
                <a:solidFill>
                  <a:srgbClr val="FFFFFF"/>
                </a:solidFill>
                <a:ln w="12138" cap="flat">
                  <a:noFill/>
                  <a:prstDash val="solid"/>
                  <a:miter/>
                </a:ln>
              </p:spPr>
              <p:txBody>
                <a:bodyPr rtlCol="0" anchor="ctr"/>
                <a:lstStyle/>
                <a:p>
                  <a:endParaRPr lang="en-US"/>
                </a:p>
              </p:txBody>
            </p:sp>
          </p:grpSp>
          <p:grpSp>
            <p:nvGrpSpPr>
              <p:cNvPr id="249" name="Graphic 280">
                <a:extLst>
                  <a:ext uri="{FF2B5EF4-FFF2-40B4-BE49-F238E27FC236}">
                    <a16:creationId xmlns:a16="http://schemas.microsoft.com/office/drawing/2014/main" id="{00691FDF-6911-412B-A016-72CA3B1A79C5}"/>
                  </a:ext>
                </a:extLst>
              </p:cNvPr>
              <p:cNvGrpSpPr/>
              <p:nvPr/>
            </p:nvGrpSpPr>
            <p:grpSpPr>
              <a:xfrm>
                <a:off x="4455537" y="2774303"/>
                <a:ext cx="1661518" cy="1161399"/>
                <a:chOff x="4455537" y="2774303"/>
                <a:chExt cx="1661518" cy="1161399"/>
              </a:xfrm>
            </p:grpSpPr>
            <p:sp>
              <p:nvSpPr>
                <p:cNvPr id="340" name="Freeform: Shape 339">
                  <a:extLst>
                    <a:ext uri="{FF2B5EF4-FFF2-40B4-BE49-F238E27FC236}">
                      <a16:creationId xmlns:a16="http://schemas.microsoft.com/office/drawing/2014/main" id="{AB3135F6-72DC-492F-A104-0FC02D0AC9FB}"/>
                    </a:ext>
                  </a:extLst>
                </p:cNvPr>
                <p:cNvSpPr/>
                <p:nvPr/>
              </p:nvSpPr>
              <p:spPr>
                <a:xfrm>
                  <a:off x="4458658" y="2777400"/>
                  <a:ext cx="1655446" cy="1155218"/>
                </a:xfrm>
                <a:custGeom>
                  <a:avLst/>
                  <a:gdLst>
                    <a:gd name="connsiteX0" fmla="*/ 408258 w 1655446"/>
                    <a:gd name="connsiteY0" fmla="*/ 1153008 h 1155218"/>
                    <a:gd name="connsiteX1" fmla="*/ 403619 w 1655446"/>
                    <a:gd name="connsiteY1" fmla="*/ 1151102 h 1155218"/>
                    <a:gd name="connsiteX2" fmla="*/ 398507 w 1655446"/>
                    <a:gd name="connsiteY2" fmla="*/ 1148176 h 1155218"/>
                    <a:gd name="connsiteX3" fmla="*/ 391452 w 1655446"/>
                    <a:gd name="connsiteY3" fmla="*/ 1138595 h 1155218"/>
                    <a:gd name="connsiteX4" fmla="*/ 390383 w 1655446"/>
                    <a:gd name="connsiteY4" fmla="*/ 1136603 h 1155218"/>
                    <a:gd name="connsiteX5" fmla="*/ 390055 w 1655446"/>
                    <a:gd name="connsiteY5" fmla="*/ 1135462 h 1155218"/>
                    <a:gd name="connsiteX6" fmla="*/ 390043 w 1655446"/>
                    <a:gd name="connsiteY6" fmla="*/ 1133313 h 1155218"/>
                    <a:gd name="connsiteX7" fmla="*/ 390177 w 1655446"/>
                    <a:gd name="connsiteY7" fmla="*/ 1132790 h 1155218"/>
                    <a:gd name="connsiteX8" fmla="*/ 390602 w 1655446"/>
                    <a:gd name="connsiteY8" fmla="*/ 1131904 h 1155218"/>
                    <a:gd name="connsiteX9" fmla="*/ 390978 w 1655446"/>
                    <a:gd name="connsiteY9" fmla="*/ 1131370 h 1155218"/>
                    <a:gd name="connsiteX10" fmla="*/ 391938 w 1655446"/>
                    <a:gd name="connsiteY10" fmla="*/ 1130459 h 1155218"/>
                    <a:gd name="connsiteX11" fmla="*/ 392326 w 1655446"/>
                    <a:gd name="connsiteY11" fmla="*/ 1130216 h 1155218"/>
                    <a:gd name="connsiteX12" fmla="*/ 393334 w 1655446"/>
                    <a:gd name="connsiteY12" fmla="*/ 1129767 h 1155218"/>
                    <a:gd name="connsiteX13" fmla="*/ 395216 w 1655446"/>
                    <a:gd name="connsiteY13" fmla="*/ 1129390 h 1155218"/>
                    <a:gd name="connsiteX14" fmla="*/ 396491 w 1655446"/>
                    <a:gd name="connsiteY14" fmla="*/ 1129390 h 1155218"/>
                    <a:gd name="connsiteX15" fmla="*/ 397062 w 1655446"/>
                    <a:gd name="connsiteY15" fmla="*/ 1129330 h 1155218"/>
                    <a:gd name="connsiteX16" fmla="*/ 397244 w 1655446"/>
                    <a:gd name="connsiteY16" fmla="*/ 1128783 h 1155218"/>
                    <a:gd name="connsiteX17" fmla="*/ 395483 w 1655446"/>
                    <a:gd name="connsiteY17" fmla="*/ 1120975 h 1155218"/>
                    <a:gd name="connsiteX18" fmla="*/ 394998 w 1655446"/>
                    <a:gd name="connsiteY18" fmla="*/ 1112050 h 1155218"/>
                    <a:gd name="connsiteX19" fmla="*/ 391027 w 1655446"/>
                    <a:gd name="connsiteY19" fmla="*/ 1102797 h 1155218"/>
                    <a:gd name="connsiteX20" fmla="*/ 388440 w 1655446"/>
                    <a:gd name="connsiteY20" fmla="*/ 1097891 h 1155218"/>
                    <a:gd name="connsiteX21" fmla="*/ 388003 w 1655446"/>
                    <a:gd name="connsiteY21" fmla="*/ 1097564 h 1155218"/>
                    <a:gd name="connsiteX22" fmla="*/ 386461 w 1655446"/>
                    <a:gd name="connsiteY22" fmla="*/ 1097369 h 1155218"/>
                    <a:gd name="connsiteX23" fmla="*/ 385417 w 1655446"/>
                    <a:gd name="connsiteY23" fmla="*/ 1097867 h 1155218"/>
                    <a:gd name="connsiteX24" fmla="*/ 383183 w 1655446"/>
                    <a:gd name="connsiteY24" fmla="*/ 1098207 h 1155218"/>
                    <a:gd name="connsiteX25" fmla="*/ 380827 w 1655446"/>
                    <a:gd name="connsiteY25" fmla="*/ 1098146 h 1155218"/>
                    <a:gd name="connsiteX26" fmla="*/ 370311 w 1655446"/>
                    <a:gd name="connsiteY26" fmla="*/ 1095548 h 1155218"/>
                    <a:gd name="connsiteX27" fmla="*/ 363535 w 1655446"/>
                    <a:gd name="connsiteY27" fmla="*/ 1092998 h 1155218"/>
                    <a:gd name="connsiteX28" fmla="*/ 361362 w 1655446"/>
                    <a:gd name="connsiteY28" fmla="*/ 1092876 h 1155218"/>
                    <a:gd name="connsiteX29" fmla="*/ 356250 w 1655446"/>
                    <a:gd name="connsiteY29" fmla="*/ 1093034 h 1155218"/>
                    <a:gd name="connsiteX30" fmla="*/ 350676 w 1655446"/>
                    <a:gd name="connsiteY30" fmla="*/ 1091565 h 1155218"/>
                    <a:gd name="connsiteX31" fmla="*/ 339444 w 1655446"/>
                    <a:gd name="connsiteY31" fmla="*/ 1094552 h 1155218"/>
                    <a:gd name="connsiteX32" fmla="*/ 318667 w 1655446"/>
                    <a:gd name="connsiteY32" fmla="*/ 1095706 h 1155218"/>
                    <a:gd name="connsiteX33" fmla="*/ 310264 w 1655446"/>
                    <a:gd name="connsiteY33" fmla="*/ 1095293 h 1155218"/>
                    <a:gd name="connsiteX34" fmla="*/ 302857 w 1655446"/>
                    <a:gd name="connsiteY34" fmla="*/ 1094236 h 1155218"/>
                    <a:gd name="connsiteX35" fmla="*/ 300574 w 1655446"/>
                    <a:gd name="connsiteY35" fmla="*/ 1094516 h 1155218"/>
                    <a:gd name="connsiteX36" fmla="*/ 297696 w 1655446"/>
                    <a:gd name="connsiteY36" fmla="*/ 1095123 h 1155218"/>
                    <a:gd name="connsiteX37" fmla="*/ 292961 w 1655446"/>
                    <a:gd name="connsiteY37" fmla="*/ 1095269 h 1155218"/>
                    <a:gd name="connsiteX38" fmla="*/ 287035 w 1655446"/>
                    <a:gd name="connsiteY38" fmla="*/ 1096835 h 1155218"/>
                    <a:gd name="connsiteX39" fmla="*/ 283793 w 1655446"/>
                    <a:gd name="connsiteY39" fmla="*/ 1096957 h 1155218"/>
                    <a:gd name="connsiteX40" fmla="*/ 275669 w 1655446"/>
                    <a:gd name="connsiteY40" fmla="*/ 1096046 h 1155218"/>
                    <a:gd name="connsiteX41" fmla="*/ 257515 w 1655446"/>
                    <a:gd name="connsiteY41" fmla="*/ 1096070 h 1155218"/>
                    <a:gd name="connsiteX42" fmla="*/ 254322 w 1655446"/>
                    <a:gd name="connsiteY42" fmla="*/ 1095378 h 1155218"/>
                    <a:gd name="connsiteX43" fmla="*/ 252452 w 1655446"/>
                    <a:gd name="connsiteY43" fmla="*/ 1094710 h 1155218"/>
                    <a:gd name="connsiteX44" fmla="*/ 250533 w 1655446"/>
                    <a:gd name="connsiteY44" fmla="*/ 1094346 h 1155218"/>
                    <a:gd name="connsiteX45" fmla="*/ 244765 w 1655446"/>
                    <a:gd name="connsiteY45" fmla="*/ 1095026 h 1155218"/>
                    <a:gd name="connsiteX46" fmla="*/ 224669 w 1655446"/>
                    <a:gd name="connsiteY46" fmla="*/ 1090776 h 1155218"/>
                    <a:gd name="connsiteX47" fmla="*/ 213691 w 1655446"/>
                    <a:gd name="connsiteY47" fmla="*/ 1086744 h 1155218"/>
                    <a:gd name="connsiteX48" fmla="*/ 210923 w 1655446"/>
                    <a:gd name="connsiteY48" fmla="*/ 1085336 h 1155218"/>
                    <a:gd name="connsiteX49" fmla="*/ 208421 w 1655446"/>
                    <a:gd name="connsiteY49" fmla="*/ 1083296 h 1155218"/>
                    <a:gd name="connsiteX50" fmla="*/ 206418 w 1655446"/>
                    <a:gd name="connsiteY50" fmla="*/ 1080624 h 1155218"/>
                    <a:gd name="connsiteX51" fmla="*/ 205094 w 1655446"/>
                    <a:gd name="connsiteY51" fmla="*/ 1078098 h 1155218"/>
                    <a:gd name="connsiteX52" fmla="*/ 203139 w 1655446"/>
                    <a:gd name="connsiteY52" fmla="*/ 1073156 h 1155218"/>
                    <a:gd name="connsiteX53" fmla="*/ 196254 w 1655446"/>
                    <a:gd name="connsiteY53" fmla="*/ 1063685 h 1155218"/>
                    <a:gd name="connsiteX54" fmla="*/ 192830 w 1655446"/>
                    <a:gd name="connsiteY54" fmla="*/ 1060261 h 1155218"/>
                    <a:gd name="connsiteX55" fmla="*/ 191288 w 1655446"/>
                    <a:gd name="connsiteY55" fmla="*/ 1059289 h 1155218"/>
                    <a:gd name="connsiteX56" fmla="*/ 186783 w 1655446"/>
                    <a:gd name="connsiteY56" fmla="*/ 1057006 h 1155218"/>
                    <a:gd name="connsiteX57" fmla="*/ 186066 w 1655446"/>
                    <a:gd name="connsiteY57" fmla="*/ 1056836 h 1155218"/>
                    <a:gd name="connsiteX58" fmla="*/ 177590 w 1655446"/>
                    <a:gd name="connsiteY58" fmla="*/ 1056472 h 1155218"/>
                    <a:gd name="connsiteX59" fmla="*/ 173899 w 1655446"/>
                    <a:gd name="connsiteY59" fmla="*/ 1055258 h 1155218"/>
                    <a:gd name="connsiteX60" fmla="*/ 170888 w 1655446"/>
                    <a:gd name="connsiteY60" fmla="*/ 1053315 h 1155218"/>
                    <a:gd name="connsiteX61" fmla="*/ 167730 w 1655446"/>
                    <a:gd name="connsiteY61" fmla="*/ 1050704 h 1155218"/>
                    <a:gd name="connsiteX62" fmla="*/ 166382 w 1655446"/>
                    <a:gd name="connsiteY62" fmla="*/ 1049939 h 1155218"/>
                    <a:gd name="connsiteX63" fmla="*/ 165217 w 1655446"/>
                    <a:gd name="connsiteY63" fmla="*/ 1049660 h 1155218"/>
                    <a:gd name="connsiteX64" fmla="*/ 160202 w 1655446"/>
                    <a:gd name="connsiteY64" fmla="*/ 1048955 h 1155218"/>
                    <a:gd name="connsiteX65" fmla="*/ 158441 w 1655446"/>
                    <a:gd name="connsiteY65" fmla="*/ 1048895 h 1155218"/>
                    <a:gd name="connsiteX66" fmla="*/ 141987 w 1655446"/>
                    <a:gd name="connsiteY66" fmla="*/ 1050473 h 1155218"/>
                    <a:gd name="connsiteX67" fmla="*/ 135552 w 1655446"/>
                    <a:gd name="connsiteY67" fmla="*/ 1050449 h 1155218"/>
                    <a:gd name="connsiteX68" fmla="*/ 130913 w 1655446"/>
                    <a:gd name="connsiteY68" fmla="*/ 1049939 h 1155218"/>
                    <a:gd name="connsiteX69" fmla="*/ 127501 w 1655446"/>
                    <a:gd name="connsiteY69" fmla="*/ 1048530 h 1155218"/>
                    <a:gd name="connsiteX70" fmla="*/ 124611 w 1655446"/>
                    <a:gd name="connsiteY70" fmla="*/ 1046369 h 1155218"/>
                    <a:gd name="connsiteX71" fmla="*/ 122413 w 1655446"/>
                    <a:gd name="connsiteY71" fmla="*/ 1044147 h 1155218"/>
                    <a:gd name="connsiteX72" fmla="*/ 120992 w 1655446"/>
                    <a:gd name="connsiteY72" fmla="*/ 1042969 h 1155218"/>
                    <a:gd name="connsiteX73" fmla="*/ 111739 w 1655446"/>
                    <a:gd name="connsiteY73" fmla="*/ 1040467 h 1155218"/>
                    <a:gd name="connsiteX74" fmla="*/ 107902 w 1655446"/>
                    <a:gd name="connsiteY74" fmla="*/ 1038440 h 1155218"/>
                    <a:gd name="connsiteX75" fmla="*/ 101515 w 1655446"/>
                    <a:gd name="connsiteY75" fmla="*/ 1033400 h 1155218"/>
                    <a:gd name="connsiteX76" fmla="*/ 97046 w 1655446"/>
                    <a:gd name="connsiteY76" fmla="*/ 1030522 h 1155218"/>
                    <a:gd name="connsiteX77" fmla="*/ 94290 w 1655446"/>
                    <a:gd name="connsiteY77" fmla="*/ 1028397 h 1155218"/>
                    <a:gd name="connsiteX78" fmla="*/ 92274 w 1655446"/>
                    <a:gd name="connsiteY78" fmla="*/ 1026151 h 1155218"/>
                    <a:gd name="connsiteX79" fmla="*/ 91072 w 1655446"/>
                    <a:gd name="connsiteY79" fmla="*/ 1023431 h 1155218"/>
                    <a:gd name="connsiteX80" fmla="*/ 90501 w 1655446"/>
                    <a:gd name="connsiteY80" fmla="*/ 1017141 h 1155218"/>
                    <a:gd name="connsiteX81" fmla="*/ 90040 w 1655446"/>
                    <a:gd name="connsiteY81" fmla="*/ 1016157 h 1155218"/>
                    <a:gd name="connsiteX82" fmla="*/ 87976 w 1655446"/>
                    <a:gd name="connsiteY82" fmla="*/ 1012284 h 1155218"/>
                    <a:gd name="connsiteX83" fmla="*/ 87113 w 1655446"/>
                    <a:gd name="connsiteY83" fmla="*/ 1009685 h 1155218"/>
                    <a:gd name="connsiteX84" fmla="*/ 86773 w 1655446"/>
                    <a:gd name="connsiteY84" fmla="*/ 1006091 h 1155218"/>
                    <a:gd name="connsiteX85" fmla="*/ 87684 w 1655446"/>
                    <a:gd name="connsiteY85" fmla="*/ 989139 h 1155218"/>
                    <a:gd name="connsiteX86" fmla="*/ 88012 w 1655446"/>
                    <a:gd name="connsiteY86" fmla="*/ 987002 h 1155218"/>
                    <a:gd name="connsiteX87" fmla="*/ 86786 w 1655446"/>
                    <a:gd name="connsiteY87" fmla="*/ 982619 h 1155218"/>
                    <a:gd name="connsiteX88" fmla="*/ 76476 w 1655446"/>
                    <a:gd name="connsiteY88" fmla="*/ 971326 h 1155218"/>
                    <a:gd name="connsiteX89" fmla="*/ 73890 w 1655446"/>
                    <a:gd name="connsiteY89" fmla="*/ 969067 h 1155218"/>
                    <a:gd name="connsiteX90" fmla="*/ 73234 w 1655446"/>
                    <a:gd name="connsiteY90" fmla="*/ 969128 h 1155218"/>
                    <a:gd name="connsiteX91" fmla="*/ 66543 w 1655446"/>
                    <a:gd name="connsiteY91" fmla="*/ 975345 h 1155218"/>
                    <a:gd name="connsiteX92" fmla="*/ 63945 w 1655446"/>
                    <a:gd name="connsiteY92" fmla="*/ 976741 h 1155218"/>
                    <a:gd name="connsiteX93" fmla="*/ 59415 w 1655446"/>
                    <a:gd name="connsiteY93" fmla="*/ 978101 h 1155218"/>
                    <a:gd name="connsiteX94" fmla="*/ 57108 w 1655446"/>
                    <a:gd name="connsiteY94" fmla="*/ 979182 h 1155218"/>
                    <a:gd name="connsiteX95" fmla="*/ 55590 w 1655446"/>
                    <a:gd name="connsiteY95" fmla="*/ 979486 h 1155218"/>
                    <a:gd name="connsiteX96" fmla="*/ 55347 w 1655446"/>
                    <a:gd name="connsiteY96" fmla="*/ 981404 h 1155218"/>
                    <a:gd name="connsiteX97" fmla="*/ 54558 w 1655446"/>
                    <a:gd name="connsiteY97" fmla="*/ 982594 h 1155218"/>
                    <a:gd name="connsiteX98" fmla="*/ 53295 w 1655446"/>
                    <a:gd name="connsiteY98" fmla="*/ 983930 h 1155218"/>
                    <a:gd name="connsiteX99" fmla="*/ 50187 w 1655446"/>
                    <a:gd name="connsiteY99" fmla="*/ 985703 h 1155218"/>
                    <a:gd name="connsiteX100" fmla="*/ 46155 w 1655446"/>
                    <a:gd name="connsiteY100" fmla="*/ 987148 h 1155218"/>
                    <a:gd name="connsiteX101" fmla="*/ 41772 w 1655446"/>
                    <a:gd name="connsiteY101" fmla="*/ 987998 h 1155218"/>
                    <a:gd name="connsiteX102" fmla="*/ 36999 w 1655446"/>
                    <a:gd name="connsiteY102" fmla="*/ 988241 h 1155218"/>
                    <a:gd name="connsiteX103" fmla="*/ 32142 w 1655446"/>
                    <a:gd name="connsiteY103" fmla="*/ 987379 h 1155218"/>
                    <a:gd name="connsiteX104" fmla="*/ 25209 w 1655446"/>
                    <a:gd name="connsiteY104" fmla="*/ 983384 h 1155218"/>
                    <a:gd name="connsiteX105" fmla="*/ 22052 w 1655446"/>
                    <a:gd name="connsiteY105" fmla="*/ 982959 h 1155218"/>
                    <a:gd name="connsiteX106" fmla="*/ 19574 w 1655446"/>
                    <a:gd name="connsiteY106" fmla="*/ 982473 h 1155218"/>
                    <a:gd name="connsiteX107" fmla="*/ 19635 w 1655446"/>
                    <a:gd name="connsiteY107" fmla="*/ 965606 h 1155218"/>
                    <a:gd name="connsiteX108" fmla="*/ 21991 w 1655446"/>
                    <a:gd name="connsiteY108" fmla="*/ 957859 h 1155218"/>
                    <a:gd name="connsiteX109" fmla="*/ 21833 w 1655446"/>
                    <a:gd name="connsiteY109" fmla="*/ 956827 h 1155218"/>
                    <a:gd name="connsiteX110" fmla="*/ 20704 w 1655446"/>
                    <a:gd name="connsiteY110" fmla="*/ 955419 h 1155218"/>
                    <a:gd name="connsiteX111" fmla="*/ 19429 w 1655446"/>
                    <a:gd name="connsiteY111" fmla="*/ 954253 h 1155218"/>
                    <a:gd name="connsiteX112" fmla="*/ 17911 w 1655446"/>
                    <a:gd name="connsiteY112" fmla="*/ 952103 h 1155218"/>
                    <a:gd name="connsiteX113" fmla="*/ 16927 w 1655446"/>
                    <a:gd name="connsiteY113" fmla="*/ 949140 h 1155218"/>
                    <a:gd name="connsiteX114" fmla="*/ 16271 w 1655446"/>
                    <a:gd name="connsiteY114" fmla="*/ 944174 h 1155218"/>
                    <a:gd name="connsiteX115" fmla="*/ 15482 w 1655446"/>
                    <a:gd name="connsiteY115" fmla="*/ 941223 h 1155218"/>
                    <a:gd name="connsiteX116" fmla="*/ 13758 w 1655446"/>
                    <a:gd name="connsiteY116" fmla="*/ 937556 h 1155218"/>
                    <a:gd name="connsiteX117" fmla="*/ 12580 w 1655446"/>
                    <a:gd name="connsiteY117" fmla="*/ 936148 h 1155218"/>
                    <a:gd name="connsiteX118" fmla="*/ 9860 w 1655446"/>
                    <a:gd name="connsiteY118" fmla="*/ 933804 h 1155218"/>
                    <a:gd name="connsiteX119" fmla="*/ 7954 w 1655446"/>
                    <a:gd name="connsiteY119" fmla="*/ 931133 h 1155218"/>
                    <a:gd name="connsiteX120" fmla="*/ 7516 w 1655446"/>
                    <a:gd name="connsiteY120" fmla="*/ 928583 h 1155218"/>
                    <a:gd name="connsiteX121" fmla="*/ 7686 w 1655446"/>
                    <a:gd name="connsiteY121" fmla="*/ 922098 h 1155218"/>
                    <a:gd name="connsiteX122" fmla="*/ 7419 w 1655446"/>
                    <a:gd name="connsiteY122" fmla="*/ 919937 h 1155218"/>
                    <a:gd name="connsiteX123" fmla="*/ 6484 w 1655446"/>
                    <a:gd name="connsiteY123" fmla="*/ 916804 h 1155218"/>
                    <a:gd name="connsiteX124" fmla="*/ 5999 w 1655446"/>
                    <a:gd name="connsiteY124" fmla="*/ 912918 h 1155218"/>
                    <a:gd name="connsiteX125" fmla="*/ 6557 w 1655446"/>
                    <a:gd name="connsiteY125" fmla="*/ 907005 h 1155218"/>
                    <a:gd name="connsiteX126" fmla="*/ 7990 w 1655446"/>
                    <a:gd name="connsiteY126" fmla="*/ 903325 h 1155218"/>
                    <a:gd name="connsiteX127" fmla="*/ 9471 w 1655446"/>
                    <a:gd name="connsiteY127" fmla="*/ 901006 h 1155218"/>
                    <a:gd name="connsiteX128" fmla="*/ 11463 w 1655446"/>
                    <a:gd name="connsiteY128" fmla="*/ 899415 h 1155218"/>
                    <a:gd name="connsiteX129" fmla="*/ 13721 w 1655446"/>
                    <a:gd name="connsiteY129" fmla="*/ 898699 h 1155218"/>
                    <a:gd name="connsiteX130" fmla="*/ 15968 w 1655446"/>
                    <a:gd name="connsiteY130" fmla="*/ 898772 h 1155218"/>
                    <a:gd name="connsiteX131" fmla="*/ 18141 w 1655446"/>
                    <a:gd name="connsiteY131" fmla="*/ 899585 h 1155218"/>
                    <a:gd name="connsiteX132" fmla="*/ 20157 w 1655446"/>
                    <a:gd name="connsiteY132" fmla="*/ 901030 h 1155218"/>
                    <a:gd name="connsiteX133" fmla="*/ 23096 w 1655446"/>
                    <a:gd name="connsiteY133" fmla="*/ 903969 h 1155218"/>
                    <a:gd name="connsiteX134" fmla="*/ 23788 w 1655446"/>
                    <a:gd name="connsiteY134" fmla="*/ 904248 h 1155218"/>
                    <a:gd name="connsiteX135" fmla="*/ 24772 w 1655446"/>
                    <a:gd name="connsiteY135" fmla="*/ 904321 h 1155218"/>
                    <a:gd name="connsiteX136" fmla="*/ 26289 w 1655446"/>
                    <a:gd name="connsiteY136" fmla="*/ 904212 h 1155218"/>
                    <a:gd name="connsiteX137" fmla="*/ 31608 w 1655446"/>
                    <a:gd name="connsiteY137" fmla="*/ 903095 h 1155218"/>
                    <a:gd name="connsiteX138" fmla="*/ 34279 w 1655446"/>
                    <a:gd name="connsiteY138" fmla="*/ 902099 h 1155218"/>
                    <a:gd name="connsiteX139" fmla="*/ 36757 w 1655446"/>
                    <a:gd name="connsiteY139" fmla="*/ 900751 h 1155218"/>
                    <a:gd name="connsiteX140" fmla="*/ 38724 w 1655446"/>
                    <a:gd name="connsiteY140" fmla="*/ 899257 h 1155218"/>
                    <a:gd name="connsiteX141" fmla="*/ 40169 w 1655446"/>
                    <a:gd name="connsiteY141" fmla="*/ 897691 h 1155218"/>
                    <a:gd name="connsiteX142" fmla="*/ 41007 w 1655446"/>
                    <a:gd name="connsiteY142" fmla="*/ 896574 h 1155218"/>
                    <a:gd name="connsiteX143" fmla="*/ 41590 w 1655446"/>
                    <a:gd name="connsiteY143" fmla="*/ 895214 h 1155218"/>
                    <a:gd name="connsiteX144" fmla="*/ 41541 w 1655446"/>
                    <a:gd name="connsiteY144" fmla="*/ 894412 h 1155218"/>
                    <a:gd name="connsiteX145" fmla="*/ 40290 w 1655446"/>
                    <a:gd name="connsiteY145" fmla="*/ 893186 h 1155218"/>
                    <a:gd name="connsiteX146" fmla="*/ 38663 w 1655446"/>
                    <a:gd name="connsiteY146" fmla="*/ 892542 h 1155218"/>
                    <a:gd name="connsiteX147" fmla="*/ 34644 w 1655446"/>
                    <a:gd name="connsiteY147" fmla="*/ 891717 h 1155218"/>
                    <a:gd name="connsiteX148" fmla="*/ 29094 w 1655446"/>
                    <a:gd name="connsiteY148" fmla="*/ 891413 h 1155218"/>
                    <a:gd name="connsiteX149" fmla="*/ 22197 w 1655446"/>
                    <a:gd name="connsiteY149" fmla="*/ 892530 h 1155218"/>
                    <a:gd name="connsiteX150" fmla="*/ 19028 w 1655446"/>
                    <a:gd name="connsiteY150" fmla="*/ 892639 h 1155218"/>
                    <a:gd name="connsiteX151" fmla="*/ 15628 w 1655446"/>
                    <a:gd name="connsiteY151" fmla="*/ 891121 h 1155218"/>
                    <a:gd name="connsiteX152" fmla="*/ 12034 w 1655446"/>
                    <a:gd name="connsiteY152" fmla="*/ 888705 h 1155218"/>
                    <a:gd name="connsiteX153" fmla="*/ 3145 w 1655446"/>
                    <a:gd name="connsiteY153" fmla="*/ 880412 h 1155218"/>
                    <a:gd name="connsiteX154" fmla="*/ 316 w 1655446"/>
                    <a:gd name="connsiteY154" fmla="*/ 877230 h 1155218"/>
                    <a:gd name="connsiteX155" fmla="*/ 0 w 1655446"/>
                    <a:gd name="connsiteY155" fmla="*/ 873150 h 1155218"/>
                    <a:gd name="connsiteX156" fmla="*/ 2234 w 1655446"/>
                    <a:gd name="connsiteY156" fmla="*/ 868147 h 1155218"/>
                    <a:gd name="connsiteX157" fmla="*/ 4566 w 1655446"/>
                    <a:gd name="connsiteY157" fmla="*/ 866338 h 1155218"/>
                    <a:gd name="connsiteX158" fmla="*/ 6436 w 1655446"/>
                    <a:gd name="connsiteY158" fmla="*/ 865257 h 1155218"/>
                    <a:gd name="connsiteX159" fmla="*/ 9180 w 1655446"/>
                    <a:gd name="connsiteY159" fmla="*/ 864723 h 1155218"/>
                    <a:gd name="connsiteX160" fmla="*/ 10504 w 1655446"/>
                    <a:gd name="connsiteY160" fmla="*/ 864832 h 1155218"/>
                    <a:gd name="connsiteX161" fmla="*/ 21784 w 1655446"/>
                    <a:gd name="connsiteY161" fmla="*/ 868196 h 1155218"/>
                    <a:gd name="connsiteX162" fmla="*/ 22987 w 1655446"/>
                    <a:gd name="connsiteY162" fmla="*/ 868196 h 1155218"/>
                    <a:gd name="connsiteX163" fmla="*/ 24055 w 1655446"/>
                    <a:gd name="connsiteY163" fmla="*/ 867856 h 1155218"/>
                    <a:gd name="connsiteX164" fmla="*/ 25743 w 1655446"/>
                    <a:gd name="connsiteY164" fmla="*/ 867127 h 1155218"/>
                    <a:gd name="connsiteX165" fmla="*/ 26994 w 1655446"/>
                    <a:gd name="connsiteY165" fmla="*/ 866192 h 1155218"/>
                    <a:gd name="connsiteX166" fmla="*/ 33259 w 1655446"/>
                    <a:gd name="connsiteY166" fmla="*/ 858979 h 1155218"/>
                    <a:gd name="connsiteX167" fmla="*/ 47758 w 1655446"/>
                    <a:gd name="connsiteY167" fmla="*/ 847929 h 1155218"/>
                    <a:gd name="connsiteX168" fmla="*/ 50077 w 1655446"/>
                    <a:gd name="connsiteY168" fmla="*/ 846958 h 1155218"/>
                    <a:gd name="connsiteX169" fmla="*/ 52749 w 1655446"/>
                    <a:gd name="connsiteY169" fmla="*/ 846484 h 1155218"/>
                    <a:gd name="connsiteX170" fmla="*/ 58092 w 1655446"/>
                    <a:gd name="connsiteY170" fmla="*/ 846533 h 1155218"/>
                    <a:gd name="connsiteX171" fmla="*/ 59998 w 1655446"/>
                    <a:gd name="connsiteY171" fmla="*/ 846241 h 1155218"/>
                    <a:gd name="connsiteX172" fmla="*/ 60739 w 1655446"/>
                    <a:gd name="connsiteY172" fmla="*/ 845865 h 1155218"/>
                    <a:gd name="connsiteX173" fmla="*/ 62609 w 1655446"/>
                    <a:gd name="connsiteY173" fmla="*/ 844748 h 1155218"/>
                    <a:gd name="connsiteX174" fmla="*/ 64127 w 1655446"/>
                    <a:gd name="connsiteY174" fmla="*/ 843497 h 1155218"/>
                    <a:gd name="connsiteX175" fmla="*/ 65402 w 1655446"/>
                    <a:gd name="connsiteY175" fmla="*/ 842052 h 1155218"/>
                    <a:gd name="connsiteX176" fmla="*/ 66640 w 1655446"/>
                    <a:gd name="connsiteY176" fmla="*/ 840376 h 1155218"/>
                    <a:gd name="connsiteX177" fmla="*/ 81406 w 1655446"/>
                    <a:gd name="connsiteY177" fmla="*/ 811172 h 1155218"/>
                    <a:gd name="connsiteX178" fmla="*/ 81516 w 1655446"/>
                    <a:gd name="connsiteY178" fmla="*/ 808841 h 1155218"/>
                    <a:gd name="connsiteX179" fmla="*/ 80350 w 1655446"/>
                    <a:gd name="connsiteY179" fmla="*/ 805781 h 1155218"/>
                    <a:gd name="connsiteX180" fmla="*/ 76076 w 1655446"/>
                    <a:gd name="connsiteY180" fmla="*/ 800499 h 1155218"/>
                    <a:gd name="connsiteX181" fmla="*/ 74473 w 1655446"/>
                    <a:gd name="connsiteY181" fmla="*/ 799722 h 1155218"/>
                    <a:gd name="connsiteX182" fmla="*/ 73671 w 1655446"/>
                    <a:gd name="connsiteY182" fmla="*/ 800232 h 1155218"/>
                    <a:gd name="connsiteX183" fmla="*/ 71850 w 1655446"/>
                    <a:gd name="connsiteY183" fmla="*/ 801070 h 1155218"/>
                    <a:gd name="connsiteX184" fmla="*/ 69664 w 1655446"/>
                    <a:gd name="connsiteY184" fmla="*/ 801519 h 1155218"/>
                    <a:gd name="connsiteX185" fmla="*/ 67260 w 1655446"/>
                    <a:gd name="connsiteY185" fmla="*/ 801397 h 1155218"/>
                    <a:gd name="connsiteX186" fmla="*/ 64795 w 1655446"/>
                    <a:gd name="connsiteY186" fmla="*/ 800402 h 1155218"/>
                    <a:gd name="connsiteX187" fmla="*/ 63240 w 1655446"/>
                    <a:gd name="connsiteY187" fmla="*/ 797767 h 1155218"/>
                    <a:gd name="connsiteX188" fmla="*/ 62111 w 1655446"/>
                    <a:gd name="connsiteY188" fmla="*/ 794014 h 1155218"/>
                    <a:gd name="connsiteX189" fmla="*/ 59974 w 1655446"/>
                    <a:gd name="connsiteY189" fmla="*/ 776189 h 1155218"/>
                    <a:gd name="connsiteX190" fmla="*/ 55384 w 1655446"/>
                    <a:gd name="connsiteY190" fmla="*/ 764932 h 1155218"/>
                    <a:gd name="connsiteX191" fmla="*/ 60763 w 1655446"/>
                    <a:gd name="connsiteY191" fmla="*/ 761484 h 1155218"/>
                    <a:gd name="connsiteX192" fmla="*/ 63058 w 1655446"/>
                    <a:gd name="connsiteY192" fmla="*/ 759310 h 1155218"/>
                    <a:gd name="connsiteX193" fmla="*/ 64746 w 1655446"/>
                    <a:gd name="connsiteY193" fmla="*/ 757986 h 1155218"/>
                    <a:gd name="connsiteX194" fmla="*/ 67466 w 1655446"/>
                    <a:gd name="connsiteY194" fmla="*/ 756663 h 1155218"/>
                    <a:gd name="connsiteX195" fmla="*/ 70490 w 1655446"/>
                    <a:gd name="connsiteY195" fmla="*/ 755934 h 1155218"/>
                    <a:gd name="connsiteX196" fmla="*/ 74970 w 1655446"/>
                    <a:gd name="connsiteY196" fmla="*/ 755922 h 1155218"/>
                    <a:gd name="connsiteX197" fmla="*/ 78407 w 1655446"/>
                    <a:gd name="connsiteY197" fmla="*/ 756687 h 1155218"/>
                    <a:gd name="connsiteX198" fmla="*/ 81649 w 1655446"/>
                    <a:gd name="connsiteY198" fmla="*/ 757853 h 1155218"/>
                    <a:gd name="connsiteX199" fmla="*/ 84539 w 1655446"/>
                    <a:gd name="connsiteY199" fmla="*/ 758351 h 1155218"/>
                    <a:gd name="connsiteX200" fmla="*/ 87405 w 1655446"/>
                    <a:gd name="connsiteY200" fmla="*/ 757926 h 1155218"/>
                    <a:gd name="connsiteX201" fmla="*/ 100240 w 1655446"/>
                    <a:gd name="connsiteY201" fmla="*/ 751041 h 1155218"/>
                    <a:gd name="connsiteX202" fmla="*/ 112529 w 1655446"/>
                    <a:gd name="connsiteY202" fmla="*/ 748029 h 1155218"/>
                    <a:gd name="connsiteX203" fmla="*/ 121939 w 1655446"/>
                    <a:gd name="connsiteY203" fmla="*/ 741606 h 1155218"/>
                    <a:gd name="connsiteX204" fmla="*/ 129092 w 1655446"/>
                    <a:gd name="connsiteY204" fmla="*/ 738995 h 1155218"/>
                    <a:gd name="connsiteX205" fmla="*/ 127161 w 1655446"/>
                    <a:gd name="connsiteY205" fmla="*/ 737647 h 1155218"/>
                    <a:gd name="connsiteX206" fmla="*/ 125291 w 1655446"/>
                    <a:gd name="connsiteY206" fmla="*/ 735850 h 1155218"/>
                    <a:gd name="connsiteX207" fmla="*/ 122886 w 1655446"/>
                    <a:gd name="connsiteY207" fmla="*/ 732413 h 1155218"/>
                    <a:gd name="connsiteX208" fmla="*/ 122024 w 1655446"/>
                    <a:gd name="connsiteY208" fmla="*/ 731733 h 1155218"/>
                    <a:gd name="connsiteX209" fmla="*/ 120628 w 1655446"/>
                    <a:gd name="connsiteY209" fmla="*/ 731199 h 1155218"/>
                    <a:gd name="connsiteX210" fmla="*/ 115273 w 1655446"/>
                    <a:gd name="connsiteY210" fmla="*/ 731466 h 1155218"/>
                    <a:gd name="connsiteX211" fmla="*/ 112747 w 1655446"/>
                    <a:gd name="connsiteY211" fmla="*/ 731163 h 1155218"/>
                    <a:gd name="connsiteX212" fmla="*/ 106372 w 1655446"/>
                    <a:gd name="connsiteY212" fmla="*/ 728770 h 1155218"/>
                    <a:gd name="connsiteX213" fmla="*/ 101114 w 1655446"/>
                    <a:gd name="connsiteY213" fmla="*/ 727836 h 1155218"/>
                    <a:gd name="connsiteX214" fmla="*/ 99050 w 1655446"/>
                    <a:gd name="connsiteY214" fmla="*/ 727095 h 1155218"/>
                    <a:gd name="connsiteX215" fmla="*/ 97544 w 1655446"/>
                    <a:gd name="connsiteY215" fmla="*/ 726269 h 1155218"/>
                    <a:gd name="connsiteX216" fmla="*/ 95917 w 1655446"/>
                    <a:gd name="connsiteY216" fmla="*/ 724885 h 1155218"/>
                    <a:gd name="connsiteX217" fmla="*/ 94132 w 1655446"/>
                    <a:gd name="connsiteY217" fmla="*/ 722529 h 1155218"/>
                    <a:gd name="connsiteX218" fmla="*/ 93039 w 1655446"/>
                    <a:gd name="connsiteY218" fmla="*/ 719493 h 1155218"/>
                    <a:gd name="connsiteX219" fmla="*/ 93197 w 1655446"/>
                    <a:gd name="connsiteY219" fmla="*/ 715632 h 1155218"/>
                    <a:gd name="connsiteX220" fmla="*/ 100155 w 1655446"/>
                    <a:gd name="connsiteY220" fmla="*/ 702299 h 1155218"/>
                    <a:gd name="connsiteX221" fmla="*/ 102790 w 1655446"/>
                    <a:gd name="connsiteY221" fmla="*/ 698680 h 1155218"/>
                    <a:gd name="connsiteX222" fmla="*/ 114884 w 1655446"/>
                    <a:gd name="connsiteY222" fmla="*/ 687825 h 1155218"/>
                    <a:gd name="connsiteX223" fmla="*/ 118345 w 1655446"/>
                    <a:gd name="connsiteY223" fmla="*/ 685529 h 1155218"/>
                    <a:gd name="connsiteX224" fmla="*/ 128788 w 1655446"/>
                    <a:gd name="connsiteY224" fmla="*/ 682312 h 1155218"/>
                    <a:gd name="connsiteX225" fmla="*/ 133002 w 1655446"/>
                    <a:gd name="connsiteY225" fmla="*/ 680915 h 1155218"/>
                    <a:gd name="connsiteX226" fmla="*/ 142910 w 1655446"/>
                    <a:gd name="connsiteY226" fmla="*/ 674261 h 1155218"/>
                    <a:gd name="connsiteX227" fmla="*/ 145521 w 1655446"/>
                    <a:gd name="connsiteY227" fmla="*/ 673204 h 1155218"/>
                    <a:gd name="connsiteX228" fmla="*/ 150633 w 1655446"/>
                    <a:gd name="connsiteY228" fmla="*/ 672051 h 1155218"/>
                    <a:gd name="connsiteX229" fmla="*/ 151459 w 1655446"/>
                    <a:gd name="connsiteY229" fmla="*/ 671553 h 1155218"/>
                    <a:gd name="connsiteX230" fmla="*/ 156462 w 1655446"/>
                    <a:gd name="connsiteY230" fmla="*/ 666744 h 1155218"/>
                    <a:gd name="connsiteX231" fmla="*/ 157955 w 1655446"/>
                    <a:gd name="connsiteY231" fmla="*/ 664838 h 1155218"/>
                    <a:gd name="connsiteX232" fmla="*/ 159376 w 1655446"/>
                    <a:gd name="connsiteY232" fmla="*/ 662434 h 1155218"/>
                    <a:gd name="connsiteX233" fmla="*/ 160675 w 1655446"/>
                    <a:gd name="connsiteY233" fmla="*/ 659277 h 1155218"/>
                    <a:gd name="connsiteX234" fmla="*/ 163177 w 1655446"/>
                    <a:gd name="connsiteY234" fmla="*/ 651638 h 1155218"/>
                    <a:gd name="connsiteX235" fmla="*/ 164452 w 1655446"/>
                    <a:gd name="connsiteY235" fmla="*/ 649076 h 1155218"/>
                    <a:gd name="connsiteX236" fmla="*/ 166346 w 1655446"/>
                    <a:gd name="connsiteY236" fmla="*/ 646526 h 1155218"/>
                    <a:gd name="connsiteX237" fmla="*/ 168289 w 1655446"/>
                    <a:gd name="connsiteY237" fmla="*/ 644486 h 1155218"/>
                    <a:gd name="connsiteX238" fmla="*/ 169831 w 1655446"/>
                    <a:gd name="connsiteY238" fmla="*/ 642398 h 1155218"/>
                    <a:gd name="connsiteX239" fmla="*/ 171118 w 1655446"/>
                    <a:gd name="connsiteY239" fmla="*/ 639909 h 1155218"/>
                    <a:gd name="connsiteX240" fmla="*/ 171555 w 1655446"/>
                    <a:gd name="connsiteY240" fmla="*/ 636630 h 1155218"/>
                    <a:gd name="connsiteX241" fmla="*/ 171689 w 1655446"/>
                    <a:gd name="connsiteY241" fmla="*/ 633473 h 1155218"/>
                    <a:gd name="connsiteX242" fmla="*/ 171470 w 1655446"/>
                    <a:gd name="connsiteY242" fmla="*/ 630558 h 1155218"/>
                    <a:gd name="connsiteX243" fmla="*/ 170317 w 1655446"/>
                    <a:gd name="connsiteY243" fmla="*/ 624875 h 1155218"/>
                    <a:gd name="connsiteX244" fmla="*/ 167706 w 1655446"/>
                    <a:gd name="connsiteY244" fmla="*/ 620395 h 1155218"/>
                    <a:gd name="connsiteX245" fmla="*/ 165605 w 1655446"/>
                    <a:gd name="connsiteY245" fmla="*/ 617845 h 1155218"/>
                    <a:gd name="connsiteX246" fmla="*/ 164962 w 1655446"/>
                    <a:gd name="connsiteY246" fmla="*/ 614287 h 1155218"/>
                    <a:gd name="connsiteX247" fmla="*/ 164634 w 1655446"/>
                    <a:gd name="connsiteY247" fmla="*/ 610280 h 1155218"/>
                    <a:gd name="connsiteX248" fmla="*/ 164804 w 1655446"/>
                    <a:gd name="connsiteY248" fmla="*/ 603771 h 1155218"/>
                    <a:gd name="connsiteX249" fmla="*/ 165800 w 1655446"/>
                    <a:gd name="connsiteY249" fmla="*/ 595271 h 1155218"/>
                    <a:gd name="connsiteX250" fmla="*/ 173170 w 1655446"/>
                    <a:gd name="connsiteY250" fmla="*/ 573717 h 1155218"/>
                    <a:gd name="connsiteX251" fmla="*/ 174968 w 1655446"/>
                    <a:gd name="connsiteY251" fmla="*/ 570560 h 1155218"/>
                    <a:gd name="connsiteX252" fmla="*/ 176534 w 1655446"/>
                    <a:gd name="connsiteY252" fmla="*/ 568520 h 1155218"/>
                    <a:gd name="connsiteX253" fmla="*/ 177008 w 1655446"/>
                    <a:gd name="connsiteY253" fmla="*/ 567719 h 1155218"/>
                    <a:gd name="connsiteX254" fmla="*/ 176145 w 1655446"/>
                    <a:gd name="connsiteY254" fmla="*/ 566431 h 1155218"/>
                    <a:gd name="connsiteX255" fmla="*/ 174737 w 1655446"/>
                    <a:gd name="connsiteY255" fmla="*/ 565169 h 1155218"/>
                    <a:gd name="connsiteX256" fmla="*/ 170851 w 1655446"/>
                    <a:gd name="connsiteY256" fmla="*/ 562194 h 1155218"/>
                    <a:gd name="connsiteX257" fmla="*/ 168520 w 1655446"/>
                    <a:gd name="connsiteY257" fmla="*/ 559546 h 1155218"/>
                    <a:gd name="connsiteX258" fmla="*/ 166480 w 1655446"/>
                    <a:gd name="connsiteY258" fmla="*/ 556681 h 1155218"/>
                    <a:gd name="connsiteX259" fmla="*/ 164634 w 1655446"/>
                    <a:gd name="connsiteY259" fmla="*/ 553232 h 1155218"/>
                    <a:gd name="connsiteX260" fmla="*/ 163116 w 1655446"/>
                    <a:gd name="connsiteY260" fmla="*/ 549541 h 1155218"/>
                    <a:gd name="connsiteX261" fmla="*/ 162096 w 1655446"/>
                    <a:gd name="connsiteY261" fmla="*/ 544878 h 1155218"/>
                    <a:gd name="connsiteX262" fmla="*/ 161404 w 1655446"/>
                    <a:gd name="connsiteY262" fmla="*/ 534581 h 1155218"/>
                    <a:gd name="connsiteX263" fmla="*/ 160505 w 1655446"/>
                    <a:gd name="connsiteY263" fmla="*/ 531946 h 1155218"/>
                    <a:gd name="connsiteX264" fmla="*/ 159060 w 1655446"/>
                    <a:gd name="connsiteY264" fmla="*/ 529821 h 1155218"/>
                    <a:gd name="connsiteX265" fmla="*/ 157045 w 1655446"/>
                    <a:gd name="connsiteY265" fmla="*/ 528327 h 1155218"/>
                    <a:gd name="connsiteX266" fmla="*/ 154543 w 1655446"/>
                    <a:gd name="connsiteY266" fmla="*/ 526833 h 1155218"/>
                    <a:gd name="connsiteX267" fmla="*/ 152017 w 1655446"/>
                    <a:gd name="connsiteY267" fmla="*/ 526105 h 1155218"/>
                    <a:gd name="connsiteX268" fmla="*/ 149492 w 1655446"/>
                    <a:gd name="connsiteY268" fmla="*/ 525850 h 1155218"/>
                    <a:gd name="connsiteX269" fmla="*/ 141259 w 1655446"/>
                    <a:gd name="connsiteY269" fmla="*/ 527101 h 1155218"/>
                    <a:gd name="connsiteX270" fmla="*/ 138187 w 1655446"/>
                    <a:gd name="connsiteY270" fmla="*/ 527028 h 1155218"/>
                    <a:gd name="connsiteX271" fmla="*/ 134204 w 1655446"/>
                    <a:gd name="connsiteY271" fmla="*/ 525826 h 1155218"/>
                    <a:gd name="connsiteX272" fmla="*/ 132358 w 1655446"/>
                    <a:gd name="connsiteY272" fmla="*/ 522353 h 1155218"/>
                    <a:gd name="connsiteX273" fmla="*/ 133232 w 1655446"/>
                    <a:gd name="connsiteY273" fmla="*/ 518613 h 1155218"/>
                    <a:gd name="connsiteX274" fmla="*/ 135977 w 1655446"/>
                    <a:gd name="connsiteY274" fmla="*/ 515286 h 1155218"/>
                    <a:gd name="connsiteX275" fmla="*/ 137276 w 1655446"/>
                    <a:gd name="connsiteY275" fmla="*/ 513100 h 1155218"/>
                    <a:gd name="connsiteX276" fmla="*/ 137859 w 1655446"/>
                    <a:gd name="connsiteY276" fmla="*/ 510526 h 1155218"/>
                    <a:gd name="connsiteX277" fmla="*/ 137871 w 1655446"/>
                    <a:gd name="connsiteY277" fmla="*/ 508267 h 1155218"/>
                    <a:gd name="connsiteX278" fmla="*/ 138174 w 1655446"/>
                    <a:gd name="connsiteY278" fmla="*/ 505547 h 1155218"/>
                    <a:gd name="connsiteX279" fmla="*/ 139510 w 1655446"/>
                    <a:gd name="connsiteY279" fmla="*/ 502463 h 1155218"/>
                    <a:gd name="connsiteX280" fmla="*/ 150997 w 1655446"/>
                    <a:gd name="connsiteY280" fmla="*/ 492396 h 1155218"/>
                    <a:gd name="connsiteX281" fmla="*/ 153377 w 1655446"/>
                    <a:gd name="connsiteY281" fmla="*/ 489627 h 1155218"/>
                    <a:gd name="connsiteX282" fmla="*/ 154167 w 1655446"/>
                    <a:gd name="connsiteY282" fmla="*/ 487976 h 1155218"/>
                    <a:gd name="connsiteX283" fmla="*/ 153997 w 1655446"/>
                    <a:gd name="connsiteY283" fmla="*/ 485960 h 1155218"/>
                    <a:gd name="connsiteX284" fmla="*/ 152588 w 1655446"/>
                    <a:gd name="connsiteY284" fmla="*/ 484467 h 1155218"/>
                    <a:gd name="connsiteX285" fmla="*/ 150293 w 1655446"/>
                    <a:gd name="connsiteY285" fmla="*/ 483471 h 1155218"/>
                    <a:gd name="connsiteX286" fmla="*/ 131860 w 1655446"/>
                    <a:gd name="connsiteY286" fmla="*/ 478322 h 1155218"/>
                    <a:gd name="connsiteX287" fmla="*/ 129723 w 1655446"/>
                    <a:gd name="connsiteY287" fmla="*/ 475894 h 1155218"/>
                    <a:gd name="connsiteX288" fmla="*/ 129079 w 1655446"/>
                    <a:gd name="connsiteY288" fmla="*/ 473502 h 1155218"/>
                    <a:gd name="connsiteX289" fmla="*/ 128909 w 1655446"/>
                    <a:gd name="connsiteY289" fmla="*/ 471061 h 1155218"/>
                    <a:gd name="connsiteX290" fmla="*/ 129638 w 1655446"/>
                    <a:gd name="connsiteY290" fmla="*/ 467710 h 1155218"/>
                    <a:gd name="connsiteX291" fmla="*/ 130622 w 1655446"/>
                    <a:gd name="connsiteY291" fmla="*/ 465451 h 1155218"/>
                    <a:gd name="connsiteX292" fmla="*/ 136292 w 1655446"/>
                    <a:gd name="connsiteY292" fmla="*/ 455979 h 1155218"/>
                    <a:gd name="connsiteX293" fmla="*/ 142485 w 1655446"/>
                    <a:gd name="connsiteY293" fmla="*/ 441675 h 1155218"/>
                    <a:gd name="connsiteX294" fmla="*/ 142449 w 1655446"/>
                    <a:gd name="connsiteY294" fmla="*/ 440995 h 1155218"/>
                    <a:gd name="connsiteX295" fmla="*/ 140882 w 1655446"/>
                    <a:gd name="connsiteY295" fmla="*/ 438372 h 1155218"/>
                    <a:gd name="connsiteX296" fmla="*/ 140044 w 1655446"/>
                    <a:gd name="connsiteY296" fmla="*/ 435737 h 1155218"/>
                    <a:gd name="connsiteX297" fmla="*/ 139704 w 1655446"/>
                    <a:gd name="connsiteY297" fmla="*/ 429836 h 1155218"/>
                    <a:gd name="connsiteX298" fmla="*/ 140117 w 1655446"/>
                    <a:gd name="connsiteY298" fmla="*/ 422987 h 1155218"/>
                    <a:gd name="connsiteX299" fmla="*/ 141064 w 1655446"/>
                    <a:gd name="connsiteY299" fmla="*/ 419854 h 1155218"/>
                    <a:gd name="connsiteX300" fmla="*/ 142631 w 1655446"/>
                    <a:gd name="connsiteY300" fmla="*/ 417644 h 1155218"/>
                    <a:gd name="connsiteX301" fmla="*/ 143554 w 1655446"/>
                    <a:gd name="connsiteY301" fmla="*/ 416515 h 1155218"/>
                    <a:gd name="connsiteX302" fmla="*/ 148290 w 1655446"/>
                    <a:gd name="connsiteY302" fmla="*/ 416563 h 1155218"/>
                    <a:gd name="connsiteX303" fmla="*/ 150390 w 1655446"/>
                    <a:gd name="connsiteY303" fmla="*/ 419040 h 1155218"/>
                    <a:gd name="connsiteX304" fmla="*/ 151823 w 1655446"/>
                    <a:gd name="connsiteY304" fmla="*/ 422671 h 1155218"/>
                    <a:gd name="connsiteX305" fmla="*/ 152746 w 1655446"/>
                    <a:gd name="connsiteY305" fmla="*/ 428257 h 1155218"/>
                    <a:gd name="connsiteX306" fmla="*/ 153268 w 1655446"/>
                    <a:gd name="connsiteY306" fmla="*/ 429459 h 1155218"/>
                    <a:gd name="connsiteX307" fmla="*/ 153839 w 1655446"/>
                    <a:gd name="connsiteY307" fmla="*/ 429714 h 1155218"/>
                    <a:gd name="connsiteX308" fmla="*/ 156304 w 1655446"/>
                    <a:gd name="connsiteY308" fmla="*/ 431050 h 1155218"/>
                    <a:gd name="connsiteX309" fmla="*/ 158198 w 1655446"/>
                    <a:gd name="connsiteY309" fmla="*/ 432896 h 1155218"/>
                    <a:gd name="connsiteX310" fmla="*/ 160833 w 1655446"/>
                    <a:gd name="connsiteY310" fmla="*/ 438263 h 1155218"/>
                    <a:gd name="connsiteX311" fmla="*/ 161914 w 1655446"/>
                    <a:gd name="connsiteY311" fmla="*/ 439684 h 1155218"/>
                    <a:gd name="connsiteX312" fmla="*/ 162035 w 1655446"/>
                    <a:gd name="connsiteY312" fmla="*/ 439732 h 1155218"/>
                    <a:gd name="connsiteX313" fmla="*/ 163832 w 1655446"/>
                    <a:gd name="connsiteY313" fmla="*/ 439817 h 1155218"/>
                    <a:gd name="connsiteX314" fmla="*/ 170693 w 1655446"/>
                    <a:gd name="connsiteY314" fmla="*/ 439502 h 1155218"/>
                    <a:gd name="connsiteX315" fmla="*/ 172673 w 1655446"/>
                    <a:gd name="connsiteY315" fmla="*/ 439052 h 1155218"/>
                    <a:gd name="connsiteX316" fmla="*/ 174348 w 1655446"/>
                    <a:gd name="connsiteY316" fmla="*/ 438178 h 1155218"/>
                    <a:gd name="connsiteX317" fmla="*/ 176145 w 1655446"/>
                    <a:gd name="connsiteY317" fmla="*/ 436781 h 1155218"/>
                    <a:gd name="connsiteX318" fmla="*/ 176570 w 1655446"/>
                    <a:gd name="connsiteY318" fmla="*/ 436065 h 1155218"/>
                    <a:gd name="connsiteX319" fmla="*/ 176995 w 1655446"/>
                    <a:gd name="connsiteY319" fmla="*/ 432981 h 1155218"/>
                    <a:gd name="connsiteX320" fmla="*/ 176801 w 1655446"/>
                    <a:gd name="connsiteY320" fmla="*/ 431001 h 1155218"/>
                    <a:gd name="connsiteX321" fmla="*/ 176910 w 1655446"/>
                    <a:gd name="connsiteY321" fmla="*/ 428257 h 1155218"/>
                    <a:gd name="connsiteX322" fmla="*/ 177736 w 1655446"/>
                    <a:gd name="connsiteY322" fmla="*/ 425258 h 1155218"/>
                    <a:gd name="connsiteX323" fmla="*/ 179193 w 1655446"/>
                    <a:gd name="connsiteY323" fmla="*/ 421967 h 1155218"/>
                    <a:gd name="connsiteX324" fmla="*/ 179157 w 1655446"/>
                    <a:gd name="connsiteY324" fmla="*/ 421384 h 1155218"/>
                    <a:gd name="connsiteX325" fmla="*/ 178914 w 1655446"/>
                    <a:gd name="connsiteY325" fmla="*/ 420947 h 1155218"/>
                    <a:gd name="connsiteX326" fmla="*/ 178708 w 1655446"/>
                    <a:gd name="connsiteY326" fmla="*/ 420838 h 1155218"/>
                    <a:gd name="connsiteX327" fmla="*/ 177882 w 1655446"/>
                    <a:gd name="connsiteY327" fmla="*/ 420753 h 1155218"/>
                    <a:gd name="connsiteX328" fmla="*/ 175344 w 1655446"/>
                    <a:gd name="connsiteY328" fmla="*/ 421457 h 1155218"/>
                    <a:gd name="connsiteX329" fmla="*/ 173049 w 1655446"/>
                    <a:gd name="connsiteY329" fmla="*/ 421785 h 1155218"/>
                    <a:gd name="connsiteX330" fmla="*/ 170159 w 1655446"/>
                    <a:gd name="connsiteY330" fmla="*/ 421360 h 1155218"/>
                    <a:gd name="connsiteX331" fmla="*/ 165484 w 1655446"/>
                    <a:gd name="connsiteY331" fmla="*/ 419988 h 1155218"/>
                    <a:gd name="connsiteX332" fmla="*/ 163104 w 1655446"/>
                    <a:gd name="connsiteY332" fmla="*/ 419806 h 1155218"/>
                    <a:gd name="connsiteX333" fmla="*/ 157749 w 1655446"/>
                    <a:gd name="connsiteY333" fmla="*/ 419878 h 1155218"/>
                    <a:gd name="connsiteX334" fmla="*/ 154458 w 1655446"/>
                    <a:gd name="connsiteY334" fmla="*/ 419393 h 1155218"/>
                    <a:gd name="connsiteX335" fmla="*/ 152940 w 1655446"/>
                    <a:gd name="connsiteY335" fmla="*/ 418360 h 1155218"/>
                    <a:gd name="connsiteX336" fmla="*/ 151677 w 1655446"/>
                    <a:gd name="connsiteY336" fmla="*/ 416563 h 1155218"/>
                    <a:gd name="connsiteX337" fmla="*/ 151520 w 1655446"/>
                    <a:gd name="connsiteY337" fmla="*/ 415920 h 1155218"/>
                    <a:gd name="connsiteX338" fmla="*/ 151350 w 1655446"/>
                    <a:gd name="connsiteY338" fmla="*/ 414086 h 1155218"/>
                    <a:gd name="connsiteX339" fmla="*/ 152503 w 1655446"/>
                    <a:gd name="connsiteY339" fmla="*/ 408088 h 1155218"/>
                    <a:gd name="connsiteX340" fmla="*/ 152625 w 1655446"/>
                    <a:gd name="connsiteY340" fmla="*/ 406084 h 1155218"/>
                    <a:gd name="connsiteX341" fmla="*/ 152515 w 1655446"/>
                    <a:gd name="connsiteY341" fmla="*/ 404251 h 1155218"/>
                    <a:gd name="connsiteX342" fmla="*/ 151969 w 1655446"/>
                    <a:gd name="connsiteY342" fmla="*/ 402478 h 1155218"/>
                    <a:gd name="connsiteX343" fmla="*/ 148217 w 1655446"/>
                    <a:gd name="connsiteY343" fmla="*/ 393030 h 1155218"/>
                    <a:gd name="connsiteX344" fmla="*/ 148897 w 1655446"/>
                    <a:gd name="connsiteY344" fmla="*/ 388780 h 1155218"/>
                    <a:gd name="connsiteX345" fmla="*/ 152102 w 1655446"/>
                    <a:gd name="connsiteY345" fmla="*/ 386461 h 1155218"/>
                    <a:gd name="connsiteX346" fmla="*/ 157045 w 1655446"/>
                    <a:gd name="connsiteY346" fmla="*/ 386498 h 1155218"/>
                    <a:gd name="connsiteX347" fmla="*/ 161088 w 1655446"/>
                    <a:gd name="connsiteY347" fmla="*/ 387736 h 1155218"/>
                    <a:gd name="connsiteX348" fmla="*/ 164233 w 1655446"/>
                    <a:gd name="connsiteY348" fmla="*/ 389485 h 1155218"/>
                    <a:gd name="connsiteX349" fmla="*/ 167998 w 1655446"/>
                    <a:gd name="connsiteY349" fmla="*/ 393370 h 1155218"/>
                    <a:gd name="connsiteX350" fmla="*/ 169054 w 1655446"/>
                    <a:gd name="connsiteY350" fmla="*/ 394148 h 1155218"/>
                    <a:gd name="connsiteX351" fmla="*/ 170208 w 1655446"/>
                    <a:gd name="connsiteY351" fmla="*/ 394524 h 1155218"/>
                    <a:gd name="connsiteX352" fmla="*/ 171653 w 1655446"/>
                    <a:gd name="connsiteY352" fmla="*/ 394791 h 1155218"/>
                    <a:gd name="connsiteX353" fmla="*/ 174057 w 1655446"/>
                    <a:gd name="connsiteY353" fmla="*/ 395738 h 1155218"/>
                    <a:gd name="connsiteX354" fmla="*/ 178744 w 1655446"/>
                    <a:gd name="connsiteY354" fmla="*/ 398895 h 1155218"/>
                    <a:gd name="connsiteX355" fmla="*/ 181088 w 1655446"/>
                    <a:gd name="connsiteY355" fmla="*/ 399976 h 1155218"/>
                    <a:gd name="connsiteX356" fmla="*/ 183225 w 1655446"/>
                    <a:gd name="connsiteY356" fmla="*/ 400389 h 1155218"/>
                    <a:gd name="connsiteX357" fmla="*/ 184876 w 1655446"/>
                    <a:gd name="connsiteY357" fmla="*/ 400122 h 1155218"/>
                    <a:gd name="connsiteX358" fmla="*/ 185763 w 1655446"/>
                    <a:gd name="connsiteY358" fmla="*/ 399794 h 1155218"/>
                    <a:gd name="connsiteX359" fmla="*/ 187074 w 1655446"/>
                    <a:gd name="connsiteY359" fmla="*/ 398835 h 1155218"/>
                    <a:gd name="connsiteX360" fmla="*/ 192417 w 1655446"/>
                    <a:gd name="connsiteY360" fmla="*/ 394220 h 1155218"/>
                    <a:gd name="connsiteX361" fmla="*/ 194603 w 1655446"/>
                    <a:gd name="connsiteY361" fmla="*/ 393200 h 1155218"/>
                    <a:gd name="connsiteX362" fmla="*/ 195951 w 1655446"/>
                    <a:gd name="connsiteY362" fmla="*/ 393298 h 1155218"/>
                    <a:gd name="connsiteX363" fmla="*/ 197602 w 1655446"/>
                    <a:gd name="connsiteY363" fmla="*/ 393625 h 1155218"/>
                    <a:gd name="connsiteX364" fmla="*/ 200698 w 1655446"/>
                    <a:gd name="connsiteY364" fmla="*/ 395083 h 1155218"/>
                    <a:gd name="connsiteX365" fmla="*/ 201148 w 1655446"/>
                    <a:gd name="connsiteY365" fmla="*/ 395204 h 1155218"/>
                    <a:gd name="connsiteX366" fmla="*/ 201585 w 1655446"/>
                    <a:gd name="connsiteY366" fmla="*/ 394682 h 1155218"/>
                    <a:gd name="connsiteX367" fmla="*/ 201949 w 1655446"/>
                    <a:gd name="connsiteY367" fmla="*/ 393662 h 1155218"/>
                    <a:gd name="connsiteX368" fmla="*/ 202447 w 1655446"/>
                    <a:gd name="connsiteY368" fmla="*/ 390007 h 1155218"/>
                    <a:gd name="connsiteX369" fmla="*/ 202301 w 1655446"/>
                    <a:gd name="connsiteY369" fmla="*/ 388052 h 1155218"/>
                    <a:gd name="connsiteX370" fmla="*/ 200468 w 1655446"/>
                    <a:gd name="connsiteY370" fmla="*/ 380365 h 1155218"/>
                    <a:gd name="connsiteX371" fmla="*/ 201172 w 1655446"/>
                    <a:gd name="connsiteY371" fmla="*/ 378022 h 1155218"/>
                    <a:gd name="connsiteX372" fmla="*/ 201658 w 1655446"/>
                    <a:gd name="connsiteY372" fmla="*/ 377087 h 1155218"/>
                    <a:gd name="connsiteX373" fmla="*/ 202957 w 1655446"/>
                    <a:gd name="connsiteY373" fmla="*/ 375447 h 1155218"/>
                    <a:gd name="connsiteX374" fmla="*/ 205386 w 1655446"/>
                    <a:gd name="connsiteY374" fmla="*/ 373407 h 1155218"/>
                    <a:gd name="connsiteX375" fmla="*/ 206090 w 1655446"/>
                    <a:gd name="connsiteY375" fmla="*/ 372545 h 1155218"/>
                    <a:gd name="connsiteX376" fmla="*/ 206563 w 1655446"/>
                    <a:gd name="connsiteY376" fmla="*/ 371817 h 1155218"/>
                    <a:gd name="connsiteX377" fmla="*/ 206806 w 1655446"/>
                    <a:gd name="connsiteY377" fmla="*/ 371161 h 1155218"/>
                    <a:gd name="connsiteX378" fmla="*/ 207413 w 1655446"/>
                    <a:gd name="connsiteY378" fmla="*/ 368708 h 1155218"/>
                    <a:gd name="connsiteX379" fmla="*/ 207826 w 1655446"/>
                    <a:gd name="connsiteY379" fmla="*/ 367591 h 1155218"/>
                    <a:gd name="connsiteX380" fmla="*/ 208312 w 1655446"/>
                    <a:gd name="connsiteY380" fmla="*/ 366632 h 1155218"/>
                    <a:gd name="connsiteX381" fmla="*/ 209769 w 1655446"/>
                    <a:gd name="connsiteY381" fmla="*/ 365259 h 1155218"/>
                    <a:gd name="connsiteX382" fmla="*/ 211554 w 1655446"/>
                    <a:gd name="connsiteY382" fmla="*/ 364458 h 1155218"/>
                    <a:gd name="connsiteX383" fmla="*/ 215246 w 1655446"/>
                    <a:gd name="connsiteY383" fmla="*/ 363875 h 1155218"/>
                    <a:gd name="connsiteX384" fmla="*/ 225021 w 1655446"/>
                    <a:gd name="connsiteY384" fmla="*/ 364907 h 1155218"/>
                    <a:gd name="connsiteX385" fmla="*/ 230133 w 1655446"/>
                    <a:gd name="connsiteY385" fmla="*/ 364968 h 1155218"/>
                    <a:gd name="connsiteX386" fmla="*/ 236144 w 1655446"/>
                    <a:gd name="connsiteY386" fmla="*/ 363450 h 1155218"/>
                    <a:gd name="connsiteX387" fmla="*/ 242276 w 1655446"/>
                    <a:gd name="connsiteY387" fmla="*/ 361544 h 1155218"/>
                    <a:gd name="connsiteX388" fmla="*/ 244583 w 1655446"/>
                    <a:gd name="connsiteY388" fmla="*/ 361119 h 1155218"/>
                    <a:gd name="connsiteX389" fmla="*/ 245919 w 1655446"/>
                    <a:gd name="connsiteY389" fmla="*/ 361119 h 1155218"/>
                    <a:gd name="connsiteX390" fmla="*/ 247935 w 1655446"/>
                    <a:gd name="connsiteY390" fmla="*/ 361835 h 1155218"/>
                    <a:gd name="connsiteX391" fmla="*/ 249768 w 1655446"/>
                    <a:gd name="connsiteY391" fmla="*/ 364446 h 1155218"/>
                    <a:gd name="connsiteX392" fmla="*/ 249647 w 1655446"/>
                    <a:gd name="connsiteY392" fmla="*/ 366146 h 1155218"/>
                    <a:gd name="connsiteX393" fmla="*/ 249076 w 1655446"/>
                    <a:gd name="connsiteY393" fmla="*/ 368125 h 1155218"/>
                    <a:gd name="connsiteX394" fmla="*/ 246538 w 1655446"/>
                    <a:gd name="connsiteY394" fmla="*/ 371902 h 1155218"/>
                    <a:gd name="connsiteX395" fmla="*/ 243842 w 1655446"/>
                    <a:gd name="connsiteY395" fmla="*/ 377257 h 1155218"/>
                    <a:gd name="connsiteX396" fmla="*/ 243988 w 1655446"/>
                    <a:gd name="connsiteY396" fmla="*/ 378228 h 1155218"/>
                    <a:gd name="connsiteX397" fmla="*/ 244777 w 1655446"/>
                    <a:gd name="connsiteY397" fmla="*/ 379260 h 1155218"/>
                    <a:gd name="connsiteX398" fmla="*/ 247971 w 1655446"/>
                    <a:gd name="connsiteY398" fmla="*/ 383025 h 1155218"/>
                    <a:gd name="connsiteX399" fmla="*/ 249428 w 1655446"/>
                    <a:gd name="connsiteY399" fmla="*/ 386801 h 1155218"/>
                    <a:gd name="connsiteX400" fmla="*/ 248991 w 1655446"/>
                    <a:gd name="connsiteY400" fmla="*/ 390371 h 1155218"/>
                    <a:gd name="connsiteX401" fmla="*/ 246647 w 1655446"/>
                    <a:gd name="connsiteY401" fmla="*/ 392715 h 1155218"/>
                    <a:gd name="connsiteX402" fmla="*/ 243672 w 1655446"/>
                    <a:gd name="connsiteY402" fmla="*/ 393892 h 1155218"/>
                    <a:gd name="connsiteX403" fmla="*/ 241025 w 1655446"/>
                    <a:gd name="connsiteY403" fmla="*/ 393625 h 1155218"/>
                    <a:gd name="connsiteX404" fmla="*/ 238232 w 1655446"/>
                    <a:gd name="connsiteY404" fmla="*/ 392800 h 1155218"/>
                    <a:gd name="connsiteX405" fmla="*/ 235221 w 1655446"/>
                    <a:gd name="connsiteY405" fmla="*/ 391476 h 1155218"/>
                    <a:gd name="connsiteX406" fmla="*/ 234832 w 1655446"/>
                    <a:gd name="connsiteY406" fmla="*/ 392460 h 1155218"/>
                    <a:gd name="connsiteX407" fmla="*/ 235573 w 1655446"/>
                    <a:gd name="connsiteY407" fmla="*/ 393431 h 1155218"/>
                    <a:gd name="connsiteX408" fmla="*/ 237771 w 1655446"/>
                    <a:gd name="connsiteY408" fmla="*/ 394670 h 1155218"/>
                    <a:gd name="connsiteX409" fmla="*/ 242458 w 1655446"/>
                    <a:gd name="connsiteY409" fmla="*/ 395508 h 1155218"/>
                    <a:gd name="connsiteX410" fmla="*/ 246222 w 1655446"/>
                    <a:gd name="connsiteY410" fmla="*/ 395277 h 1155218"/>
                    <a:gd name="connsiteX411" fmla="*/ 250108 w 1655446"/>
                    <a:gd name="connsiteY411" fmla="*/ 394658 h 1155218"/>
                    <a:gd name="connsiteX412" fmla="*/ 257673 w 1655446"/>
                    <a:gd name="connsiteY412" fmla="*/ 392180 h 1155218"/>
                    <a:gd name="connsiteX413" fmla="*/ 260624 w 1655446"/>
                    <a:gd name="connsiteY413" fmla="*/ 392035 h 1155218"/>
                    <a:gd name="connsiteX414" fmla="*/ 263077 w 1655446"/>
                    <a:gd name="connsiteY414" fmla="*/ 392751 h 1155218"/>
                    <a:gd name="connsiteX415" fmla="*/ 264510 w 1655446"/>
                    <a:gd name="connsiteY415" fmla="*/ 393298 h 1155218"/>
                    <a:gd name="connsiteX416" fmla="*/ 265469 w 1655446"/>
                    <a:gd name="connsiteY416" fmla="*/ 396710 h 1155218"/>
                    <a:gd name="connsiteX417" fmla="*/ 265238 w 1655446"/>
                    <a:gd name="connsiteY417" fmla="*/ 397827 h 1155218"/>
                    <a:gd name="connsiteX418" fmla="*/ 264825 w 1655446"/>
                    <a:gd name="connsiteY418" fmla="*/ 399332 h 1155218"/>
                    <a:gd name="connsiteX419" fmla="*/ 264012 w 1655446"/>
                    <a:gd name="connsiteY419" fmla="*/ 400911 h 1155218"/>
                    <a:gd name="connsiteX420" fmla="*/ 262348 w 1655446"/>
                    <a:gd name="connsiteY420" fmla="*/ 403158 h 1155218"/>
                    <a:gd name="connsiteX421" fmla="*/ 260260 w 1655446"/>
                    <a:gd name="connsiteY421" fmla="*/ 405319 h 1155218"/>
                    <a:gd name="connsiteX422" fmla="*/ 257321 w 1655446"/>
                    <a:gd name="connsiteY422" fmla="*/ 407456 h 1155218"/>
                    <a:gd name="connsiteX423" fmla="*/ 253969 w 1655446"/>
                    <a:gd name="connsiteY423" fmla="*/ 409205 h 1155218"/>
                    <a:gd name="connsiteX424" fmla="*/ 250035 w 1655446"/>
                    <a:gd name="connsiteY424" fmla="*/ 410395 h 1155218"/>
                    <a:gd name="connsiteX425" fmla="*/ 246247 w 1655446"/>
                    <a:gd name="connsiteY425" fmla="*/ 410978 h 1155218"/>
                    <a:gd name="connsiteX426" fmla="*/ 241899 w 1655446"/>
                    <a:gd name="connsiteY426" fmla="*/ 411123 h 1155218"/>
                    <a:gd name="connsiteX427" fmla="*/ 238123 w 1655446"/>
                    <a:gd name="connsiteY427" fmla="*/ 410795 h 1155218"/>
                    <a:gd name="connsiteX428" fmla="*/ 234395 w 1655446"/>
                    <a:gd name="connsiteY428" fmla="*/ 409824 h 1155218"/>
                    <a:gd name="connsiteX429" fmla="*/ 231068 w 1655446"/>
                    <a:gd name="connsiteY429" fmla="*/ 408306 h 1155218"/>
                    <a:gd name="connsiteX430" fmla="*/ 228117 w 1655446"/>
                    <a:gd name="connsiteY430" fmla="*/ 405951 h 1155218"/>
                    <a:gd name="connsiteX431" fmla="*/ 224377 w 1655446"/>
                    <a:gd name="connsiteY431" fmla="*/ 401858 h 1155218"/>
                    <a:gd name="connsiteX432" fmla="*/ 226466 w 1655446"/>
                    <a:gd name="connsiteY432" fmla="*/ 405161 h 1155218"/>
                    <a:gd name="connsiteX433" fmla="*/ 227668 w 1655446"/>
                    <a:gd name="connsiteY433" fmla="*/ 407687 h 1155218"/>
                    <a:gd name="connsiteX434" fmla="*/ 228591 w 1655446"/>
                    <a:gd name="connsiteY434" fmla="*/ 411731 h 1155218"/>
                    <a:gd name="connsiteX435" fmla="*/ 227862 w 1655446"/>
                    <a:gd name="connsiteY435" fmla="*/ 415264 h 1155218"/>
                    <a:gd name="connsiteX436" fmla="*/ 226296 w 1655446"/>
                    <a:gd name="connsiteY436" fmla="*/ 417486 h 1155218"/>
                    <a:gd name="connsiteX437" fmla="*/ 221779 w 1655446"/>
                    <a:gd name="connsiteY437" fmla="*/ 421141 h 1155218"/>
                    <a:gd name="connsiteX438" fmla="*/ 221196 w 1655446"/>
                    <a:gd name="connsiteY438" fmla="*/ 422526 h 1155218"/>
                    <a:gd name="connsiteX439" fmla="*/ 221244 w 1655446"/>
                    <a:gd name="connsiteY439" fmla="*/ 423813 h 1155218"/>
                    <a:gd name="connsiteX440" fmla="*/ 221779 w 1655446"/>
                    <a:gd name="connsiteY440" fmla="*/ 425088 h 1155218"/>
                    <a:gd name="connsiteX441" fmla="*/ 222653 w 1655446"/>
                    <a:gd name="connsiteY441" fmla="*/ 426011 h 1155218"/>
                    <a:gd name="connsiteX442" fmla="*/ 224110 w 1655446"/>
                    <a:gd name="connsiteY442" fmla="*/ 427274 h 1155218"/>
                    <a:gd name="connsiteX443" fmla="*/ 225847 w 1655446"/>
                    <a:gd name="connsiteY443" fmla="*/ 428318 h 1155218"/>
                    <a:gd name="connsiteX444" fmla="*/ 228190 w 1655446"/>
                    <a:gd name="connsiteY444" fmla="*/ 428767 h 1155218"/>
                    <a:gd name="connsiteX445" fmla="*/ 231541 w 1655446"/>
                    <a:gd name="connsiteY445" fmla="*/ 428791 h 1155218"/>
                    <a:gd name="connsiteX446" fmla="*/ 238002 w 1655446"/>
                    <a:gd name="connsiteY446" fmla="*/ 428039 h 1155218"/>
                    <a:gd name="connsiteX447" fmla="*/ 243854 w 1655446"/>
                    <a:gd name="connsiteY447" fmla="*/ 427893 h 1155218"/>
                    <a:gd name="connsiteX448" fmla="*/ 250606 w 1655446"/>
                    <a:gd name="connsiteY448" fmla="*/ 428937 h 1155218"/>
                    <a:gd name="connsiteX449" fmla="*/ 259677 w 1655446"/>
                    <a:gd name="connsiteY449" fmla="*/ 432070 h 1155218"/>
                    <a:gd name="connsiteX450" fmla="*/ 264534 w 1655446"/>
                    <a:gd name="connsiteY450" fmla="*/ 432677 h 1155218"/>
                    <a:gd name="connsiteX451" fmla="*/ 269816 w 1655446"/>
                    <a:gd name="connsiteY451" fmla="*/ 432216 h 1155218"/>
                    <a:gd name="connsiteX452" fmla="*/ 288480 w 1655446"/>
                    <a:gd name="connsiteY452" fmla="*/ 427783 h 1155218"/>
                    <a:gd name="connsiteX453" fmla="*/ 298121 w 1655446"/>
                    <a:gd name="connsiteY453" fmla="*/ 427359 h 1155218"/>
                    <a:gd name="connsiteX454" fmla="*/ 307034 w 1655446"/>
                    <a:gd name="connsiteY454" fmla="*/ 425246 h 1155218"/>
                    <a:gd name="connsiteX455" fmla="*/ 319080 w 1655446"/>
                    <a:gd name="connsiteY455" fmla="*/ 418324 h 1155218"/>
                    <a:gd name="connsiteX456" fmla="*/ 322359 w 1655446"/>
                    <a:gd name="connsiteY456" fmla="*/ 417158 h 1155218"/>
                    <a:gd name="connsiteX457" fmla="*/ 326014 w 1655446"/>
                    <a:gd name="connsiteY457" fmla="*/ 416879 h 1155218"/>
                    <a:gd name="connsiteX458" fmla="*/ 329025 w 1655446"/>
                    <a:gd name="connsiteY458" fmla="*/ 417474 h 1155218"/>
                    <a:gd name="connsiteX459" fmla="*/ 331733 w 1655446"/>
                    <a:gd name="connsiteY459" fmla="*/ 419126 h 1155218"/>
                    <a:gd name="connsiteX460" fmla="*/ 334708 w 1655446"/>
                    <a:gd name="connsiteY460" fmla="*/ 421858 h 1155218"/>
                    <a:gd name="connsiteX461" fmla="*/ 341010 w 1655446"/>
                    <a:gd name="connsiteY461" fmla="*/ 430576 h 1155218"/>
                    <a:gd name="connsiteX462" fmla="*/ 342467 w 1655446"/>
                    <a:gd name="connsiteY462" fmla="*/ 435664 h 1155218"/>
                    <a:gd name="connsiteX463" fmla="*/ 342382 w 1655446"/>
                    <a:gd name="connsiteY463" fmla="*/ 439004 h 1155218"/>
                    <a:gd name="connsiteX464" fmla="*/ 341447 w 1655446"/>
                    <a:gd name="connsiteY464" fmla="*/ 441869 h 1155218"/>
                    <a:gd name="connsiteX465" fmla="*/ 341472 w 1655446"/>
                    <a:gd name="connsiteY465" fmla="*/ 442027 h 1155218"/>
                    <a:gd name="connsiteX466" fmla="*/ 342552 w 1655446"/>
                    <a:gd name="connsiteY466" fmla="*/ 444286 h 1155218"/>
                    <a:gd name="connsiteX467" fmla="*/ 345661 w 1655446"/>
                    <a:gd name="connsiteY467" fmla="*/ 447091 h 1155218"/>
                    <a:gd name="connsiteX468" fmla="*/ 352024 w 1655446"/>
                    <a:gd name="connsiteY468" fmla="*/ 454741 h 1155218"/>
                    <a:gd name="connsiteX469" fmla="*/ 353117 w 1655446"/>
                    <a:gd name="connsiteY469" fmla="*/ 472676 h 1155218"/>
                    <a:gd name="connsiteX470" fmla="*/ 352934 w 1655446"/>
                    <a:gd name="connsiteY470" fmla="*/ 476088 h 1155218"/>
                    <a:gd name="connsiteX471" fmla="*/ 352558 w 1655446"/>
                    <a:gd name="connsiteY471" fmla="*/ 477181 h 1155218"/>
                    <a:gd name="connsiteX472" fmla="*/ 351720 w 1655446"/>
                    <a:gd name="connsiteY472" fmla="*/ 478808 h 1155218"/>
                    <a:gd name="connsiteX473" fmla="*/ 349984 w 1655446"/>
                    <a:gd name="connsiteY473" fmla="*/ 481297 h 1155218"/>
                    <a:gd name="connsiteX474" fmla="*/ 346620 w 1655446"/>
                    <a:gd name="connsiteY474" fmla="*/ 483969 h 1155218"/>
                    <a:gd name="connsiteX475" fmla="*/ 343026 w 1655446"/>
                    <a:gd name="connsiteY475" fmla="*/ 484807 h 1155218"/>
                    <a:gd name="connsiteX476" fmla="*/ 339990 w 1655446"/>
                    <a:gd name="connsiteY476" fmla="*/ 483969 h 1155218"/>
                    <a:gd name="connsiteX477" fmla="*/ 333481 w 1655446"/>
                    <a:gd name="connsiteY477" fmla="*/ 479779 h 1155218"/>
                    <a:gd name="connsiteX478" fmla="*/ 331939 w 1655446"/>
                    <a:gd name="connsiteY478" fmla="*/ 479537 h 1155218"/>
                    <a:gd name="connsiteX479" fmla="*/ 331089 w 1655446"/>
                    <a:gd name="connsiteY479" fmla="*/ 479755 h 1155218"/>
                    <a:gd name="connsiteX480" fmla="*/ 329511 w 1655446"/>
                    <a:gd name="connsiteY480" fmla="*/ 481212 h 1155218"/>
                    <a:gd name="connsiteX481" fmla="*/ 328369 w 1655446"/>
                    <a:gd name="connsiteY481" fmla="*/ 483447 h 1155218"/>
                    <a:gd name="connsiteX482" fmla="*/ 326791 w 1655446"/>
                    <a:gd name="connsiteY482" fmla="*/ 488571 h 1155218"/>
                    <a:gd name="connsiteX483" fmla="*/ 326766 w 1655446"/>
                    <a:gd name="connsiteY483" fmla="*/ 490987 h 1155218"/>
                    <a:gd name="connsiteX484" fmla="*/ 327264 w 1655446"/>
                    <a:gd name="connsiteY484" fmla="*/ 492882 h 1155218"/>
                    <a:gd name="connsiteX485" fmla="*/ 327884 w 1655446"/>
                    <a:gd name="connsiteY485" fmla="*/ 494764 h 1155218"/>
                    <a:gd name="connsiteX486" fmla="*/ 329037 w 1655446"/>
                    <a:gd name="connsiteY486" fmla="*/ 503750 h 1155218"/>
                    <a:gd name="connsiteX487" fmla="*/ 329887 w 1655446"/>
                    <a:gd name="connsiteY487" fmla="*/ 506154 h 1155218"/>
                    <a:gd name="connsiteX488" fmla="*/ 330713 w 1655446"/>
                    <a:gd name="connsiteY488" fmla="*/ 506822 h 1155218"/>
                    <a:gd name="connsiteX489" fmla="*/ 333445 w 1655446"/>
                    <a:gd name="connsiteY489" fmla="*/ 507733 h 1155218"/>
                    <a:gd name="connsiteX490" fmla="*/ 335376 w 1655446"/>
                    <a:gd name="connsiteY490" fmla="*/ 508643 h 1155218"/>
                    <a:gd name="connsiteX491" fmla="*/ 337537 w 1655446"/>
                    <a:gd name="connsiteY491" fmla="*/ 510501 h 1155218"/>
                    <a:gd name="connsiteX492" fmla="*/ 338922 w 1655446"/>
                    <a:gd name="connsiteY492" fmla="*/ 512930 h 1155218"/>
                    <a:gd name="connsiteX493" fmla="*/ 339784 w 1655446"/>
                    <a:gd name="connsiteY493" fmla="*/ 516281 h 1155218"/>
                    <a:gd name="connsiteX494" fmla="*/ 339565 w 1655446"/>
                    <a:gd name="connsiteY494" fmla="*/ 521260 h 1155218"/>
                    <a:gd name="connsiteX495" fmla="*/ 337962 w 1655446"/>
                    <a:gd name="connsiteY495" fmla="*/ 526117 h 1155218"/>
                    <a:gd name="connsiteX496" fmla="*/ 330713 w 1655446"/>
                    <a:gd name="connsiteY496" fmla="*/ 535042 h 1155218"/>
                    <a:gd name="connsiteX497" fmla="*/ 328989 w 1655446"/>
                    <a:gd name="connsiteY497" fmla="*/ 538721 h 1155218"/>
                    <a:gd name="connsiteX498" fmla="*/ 329049 w 1655446"/>
                    <a:gd name="connsiteY498" fmla="*/ 541186 h 1155218"/>
                    <a:gd name="connsiteX499" fmla="*/ 329693 w 1655446"/>
                    <a:gd name="connsiteY499" fmla="*/ 543105 h 1155218"/>
                    <a:gd name="connsiteX500" fmla="*/ 331454 w 1655446"/>
                    <a:gd name="connsiteY500" fmla="*/ 545072 h 1155218"/>
                    <a:gd name="connsiteX501" fmla="*/ 339286 w 1655446"/>
                    <a:gd name="connsiteY501" fmla="*/ 549261 h 1155218"/>
                    <a:gd name="connsiteX502" fmla="*/ 341423 w 1655446"/>
                    <a:gd name="connsiteY502" fmla="*/ 553487 h 1155218"/>
                    <a:gd name="connsiteX503" fmla="*/ 340027 w 1655446"/>
                    <a:gd name="connsiteY503" fmla="*/ 556863 h 1155218"/>
                    <a:gd name="connsiteX504" fmla="*/ 337452 w 1655446"/>
                    <a:gd name="connsiteY504" fmla="*/ 560846 h 1155218"/>
                    <a:gd name="connsiteX505" fmla="*/ 331587 w 1655446"/>
                    <a:gd name="connsiteY505" fmla="*/ 566359 h 1155218"/>
                    <a:gd name="connsiteX506" fmla="*/ 329414 w 1655446"/>
                    <a:gd name="connsiteY506" fmla="*/ 569771 h 1155218"/>
                    <a:gd name="connsiteX507" fmla="*/ 327944 w 1655446"/>
                    <a:gd name="connsiteY507" fmla="*/ 572479 h 1155218"/>
                    <a:gd name="connsiteX508" fmla="*/ 327276 w 1655446"/>
                    <a:gd name="connsiteY508" fmla="*/ 574701 h 1155218"/>
                    <a:gd name="connsiteX509" fmla="*/ 324532 w 1655446"/>
                    <a:gd name="connsiteY509" fmla="*/ 577725 h 1155218"/>
                    <a:gd name="connsiteX510" fmla="*/ 322856 w 1655446"/>
                    <a:gd name="connsiteY510" fmla="*/ 578113 h 1155218"/>
                    <a:gd name="connsiteX511" fmla="*/ 321460 w 1655446"/>
                    <a:gd name="connsiteY511" fmla="*/ 578052 h 1155218"/>
                    <a:gd name="connsiteX512" fmla="*/ 320258 w 1655446"/>
                    <a:gd name="connsiteY512" fmla="*/ 577676 h 1155218"/>
                    <a:gd name="connsiteX513" fmla="*/ 318376 w 1655446"/>
                    <a:gd name="connsiteY513" fmla="*/ 576790 h 1155218"/>
                    <a:gd name="connsiteX514" fmla="*/ 314247 w 1655446"/>
                    <a:gd name="connsiteY514" fmla="*/ 573341 h 1155218"/>
                    <a:gd name="connsiteX515" fmla="*/ 313579 w 1655446"/>
                    <a:gd name="connsiteY515" fmla="*/ 573474 h 1155218"/>
                    <a:gd name="connsiteX516" fmla="*/ 308965 w 1655446"/>
                    <a:gd name="connsiteY516" fmla="*/ 577494 h 1155218"/>
                    <a:gd name="connsiteX517" fmla="*/ 305929 w 1655446"/>
                    <a:gd name="connsiteY517" fmla="*/ 578854 h 1155218"/>
                    <a:gd name="connsiteX518" fmla="*/ 302687 w 1655446"/>
                    <a:gd name="connsiteY518" fmla="*/ 579109 h 1155218"/>
                    <a:gd name="connsiteX519" fmla="*/ 299226 w 1655446"/>
                    <a:gd name="connsiteY519" fmla="*/ 578101 h 1155218"/>
                    <a:gd name="connsiteX520" fmla="*/ 295935 w 1655446"/>
                    <a:gd name="connsiteY520" fmla="*/ 575575 h 1155218"/>
                    <a:gd name="connsiteX521" fmla="*/ 295061 w 1655446"/>
                    <a:gd name="connsiteY521" fmla="*/ 575174 h 1155218"/>
                    <a:gd name="connsiteX522" fmla="*/ 292924 w 1655446"/>
                    <a:gd name="connsiteY522" fmla="*/ 574701 h 1155218"/>
                    <a:gd name="connsiteX523" fmla="*/ 290823 w 1655446"/>
                    <a:gd name="connsiteY523" fmla="*/ 573632 h 1155218"/>
                    <a:gd name="connsiteX524" fmla="*/ 286950 w 1655446"/>
                    <a:gd name="connsiteY524" fmla="*/ 570390 h 1155218"/>
                    <a:gd name="connsiteX525" fmla="*/ 286039 w 1655446"/>
                    <a:gd name="connsiteY525" fmla="*/ 569832 h 1155218"/>
                    <a:gd name="connsiteX526" fmla="*/ 285675 w 1655446"/>
                    <a:gd name="connsiteY526" fmla="*/ 569783 h 1155218"/>
                    <a:gd name="connsiteX527" fmla="*/ 284545 w 1655446"/>
                    <a:gd name="connsiteY527" fmla="*/ 570269 h 1155218"/>
                    <a:gd name="connsiteX528" fmla="*/ 283149 w 1655446"/>
                    <a:gd name="connsiteY528" fmla="*/ 573487 h 1155218"/>
                    <a:gd name="connsiteX529" fmla="*/ 280320 w 1655446"/>
                    <a:gd name="connsiteY529" fmla="*/ 578040 h 1155218"/>
                    <a:gd name="connsiteX530" fmla="*/ 280939 w 1655446"/>
                    <a:gd name="connsiteY530" fmla="*/ 586152 h 1155218"/>
                    <a:gd name="connsiteX531" fmla="*/ 282663 w 1655446"/>
                    <a:gd name="connsiteY531" fmla="*/ 589139 h 1155218"/>
                    <a:gd name="connsiteX532" fmla="*/ 283222 w 1655446"/>
                    <a:gd name="connsiteY532" fmla="*/ 589442 h 1155218"/>
                    <a:gd name="connsiteX533" fmla="*/ 286124 w 1655446"/>
                    <a:gd name="connsiteY533" fmla="*/ 591531 h 1155218"/>
                    <a:gd name="connsiteX534" fmla="*/ 296603 w 1655446"/>
                    <a:gd name="connsiteY534" fmla="*/ 597554 h 1155218"/>
                    <a:gd name="connsiteX535" fmla="*/ 297988 w 1655446"/>
                    <a:gd name="connsiteY535" fmla="*/ 599740 h 1155218"/>
                    <a:gd name="connsiteX536" fmla="*/ 299263 w 1655446"/>
                    <a:gd name="connsiteY536" fmla="*/ 602654 h 1155218"/>
                    <a:gd name="connsiteX537" fmla="*/ 299712 w 1655446"/>
                    <a:gd name="connsiteY537" fmla="*/ 607511 h 1155218"/>
                    <a:gd name="connsiteX538" fmla="*/ 300101 w 1655446"/>
                    <a:gd name="connsiteY538" fmla="*/ 608446 h 1155218"/>
                    <a:gd name="connsiteX539" fmla="*/ 305905 w 1655446"/>
                    <a:gd name="connsiteY539" fmla="*/ 609053 h 1155218"/>
                    <a:gd name="connsiteX540" fmla="*/ 309220 w 1655446"/>
                    <a:gd name="connsiteY540" fmla="*/ 609818 h 1155218"/>
                    <a:gd name="connsiteX541" fmla="*/ 312195 w 1655446"/>
                    <a:gd name="connsiteY541" fmla="*/ 611178 h 1155218"/>
                    <a:gd name="connsiteX542" fmla="*/ 315170 w 1655446"/>
                    <a:gd name="connsiteY542" fmla="*/ 613558 h 1155218"/>
                    <a:gd name="connsiteX543" fmla="*/ 315571 w 1655446"/>
                    <a:gd name="connsiteY543" fmla="*/ 612769 h 1155218"/>
                    <a:gd name="connsiteX544" fmla="*/ 315850 w 1655446"/>
                    <a:gd name="connsiteY544" fmla="*/ 611433 h 1155218"/>
                    <a:gd name="connsiteX545" fmla="*/ 316093 w 1655446"/>
                    <a:gd name="connsiteY545" fmla="*/ 609867 h 1155218"/>
                    <a:gd name="connsiteX546" fmla="*/ 316518 w 1655446"/>
                    <a:gd name="connsiteY546" fmla="*/ 607997 h 1155218"/>
                    <a:gd name="connsiteX547" fmla="*/ 319578 w 1655446"/>
                    <a:gd name="connsiteY547" fmla="*/ 601792 h 1155218"/>
                    <a:gd name="connsiteX548" fmla="*/ 319675 w 1655446"/>
                    <a:gd name="connsiteY548" fmla="*/ 600820 h 1155218"/>
                    <a:gd name="connsiteX549" fmla="*/ 319335 w 1655446"/>
                    <a:gd name="connsiteY549" fmla="*/ 599825 h 1155218"/>
                    <a:gd name="connsiteX550" fmla="*/ 318291 w 1655446"/>
                    <a:gd name="connsiteY550" fmla="*/ 595987 h 1155218"/>
                    <a:gd name="connsiteX551" fmla="*/ 317999 w 1655446"/>
                    <a:gd name="connsiteY551" fmla="*/ 593110 h 1155218"/>
                    <a:gd name="connsiteX552" fmla="*/ 319250 w 1655446"/>
                    <a:gd name="connsiteY552" fmla="*/ 590584 h 1155218"/>
                    <a:gd name="connsiteX553" fmla="*/ 321581 w 1655446"/>
                    <a:gd name="connsiteY553" fmla="*/ 588775 h 1155218"/>
                    <a:gd name="connsiteX554" fmla="*/ 325504 w 1655446"/>
                    <a:gd name="connsiteY554" fmla="*/ 588544 h 1155218"/>
                    <a:gd name="connsiteX555" fmla="*/ 327896 w 1655446"/>
                    <a:gd name="connsiteY555" fmla="*/ 589928 h 1155218"/>
                    <a:gd name="connsiteX556" fmla="*/ 330215 w 1655446"/>
                    <a:gd name="connsiteY556" fmla="*/ 592162 h 1155218"/>
                    <a:gd name="connsiteX557" fmla="*/ 332121 w 1655446"/>
                    <a:gd name="connsiteY557" fmla="*/ 594482 h 1155218"/>
                    <a:gd name="connsiteX558" fmla="*/ 333032 w 1655446"/>
                    <a:gd name="connsiteY558" fmla="*/ 595393 h 1155218"/>
                    <a:gd name="connsiteX559" fmla="*/ 334914 w 1655446"/>
                    <a:gd name="connsiteY559" fmla="*/ 595562 h 1155218"/>
                    <a:gd name="connsiteX560" fmla="*/ 337574 w 1655446"/>
                    <a:gd name="connsiteY560" fmla="*/ 594652 h 1155218"/>
                    <a:gd name="connsiteX561" fmla="*/ 343548 w 1655446"/>
                    <a:gd name="connsiteY561" fmla="*/ 591373 h 1155218"/>
                    <a:gd name="connsiteX562" fmla="*/ 353845 w 1655446"/>
                    <a:gd name="connsiteY562" fmla="*/ 588410 h 1155218"/>
                    <a:gd name="connsiteX563" fmla="*/ 367154 w 1655446"/>
                    <a:gd name="connsiteY563" fmla="*/ 581307 h 1155218"/>
                    <a:gd name="connsiteX564" fmla="*/ 369206 w 1655446"/>
                    <a:gd name="connsiteY564" fmla="*/ 579692 h 1155218"/>
                    <a:gd name="connsiteX565" fmla="*/ 370420 w 1655446"/>
                    <a:gd name="connsiteY565" fmla="*/ 577045 h 1155218"/>
                    <a:gd name="connsiteX566" fmla="*/ 370833 w 1655446"/>
                    <a:gd name="connsiteY566" fmla="*/ 575490 h 1155218"/>
                    <a:gd name="connsiteX567" fmla="*/ 368745 w 1655446"/>
                    <a:gd name="connsiteY567" fmla="*/ 573645 h 1155218"/>
                    <a:gd name="connsiteX568" fmla="*/ 366401 w 1655446"/>
                    <a:gd name="connsiteY568" fmla="*/ 570402 h 1155218"/>
                    <a:gd name="connsiteX569" fmla="*/ 367895 w 1655446"/>
                    <a:gd name="connsiteY569" fmla="*/ 566662 h 1155218"/>
                    <a:gd name="connsiteX570" fmla="*/ 371197 w 1655446"/>
                    <a:gd name="connsiteY570" fmla="*/ 562886 h 1155218"/>
                    <a:gd name="connsiteX571" fmla="*/ 387639 w 1655446"/>
                    <a:gd name="connsiteY571" fmla="*/ 553014 h 1155218"/>
                    <a:gd name="connsiteX572" fmla="*/ 392569 w 1655446"/>
                    <a:gd name="connsiteY572" fmla="*/ 547221 h 1155218"/>
                    <a:gd name="connsiteX573" fmla="*/ 392909 w 1655446"/>
                    <a:gd name="connsiteY573" fmla="*/ 544854 h 1155218"/>
                    <a:gd name="connsiteX574" fmla="*/ 392873 w 1655446"/>
                    <a:gd name="connsiteY574" fmla="*/ 543336 h 1155218"/>
                    <a:gd name="connsiteX575" fmla="*/ 392326 w 1655446"/>
                    <a:gd name="connsiteY575" fmla="*/ 539061 h 1155218"/>
                    <a:gd name="connsiteX576" fmla="*/ 392302 w 1655446"/>
                    <a:gd name="connsiteY576" fmla="*/ 536171 h 1155218"/>
                    <a:gd name="connsiteX577" fmla="*/ 392945 w 1655446"/>
                    <a:gd name="connsiteY577" fmla="*/ 528813 h 1155218"/>
                    <a:gd name="connsiteX578" fmla="*/ 392448 w 1655446"/>
                    <a:gd name="connsiteY578" fmla="*/ 525558 h 1155218"/>
                    <a:gd name="connsiteX579" fmla="*/ 392605 w 1655446"/>
                    <a:gd name="connsiteY579" fmla="*/ 522887 h 1155218"/>
                    <a:gd name="connsiteX580" fmla="*/ 393650 w 1655446"/>
                    <a:gd name="connsiteY580" fmla="*/ 518297 h 1155218"/>
                    <a:gd name="connsiteX581" fmla="*/ 393796 w 1655446"/>
                    <a:gd name="connsiteY581" fmla="*/ 512990 h 1155218"/>
                    <a:gd name="connsiteX582" fmla="*/ 394476 w 1655446"/>
                    <a:gd name="connsiteY582" fmla="*/ 510307 h 1155218"/>
                    <a:gd name="connsiteX583" fmla="*/ 395969 w 1655446"/>
                    <a:gd name="connsiteY583" fmla="*/ 507915 h 1155218"/>
                    <a:gd name="connsiteX584" fmla="*/ 398058 w 1655446"/>
                    <a:gd name="connsiteY584" fmla="*/ 506106 h 1155218"/>
                    <a:gd name="connsiteX585" fmla="*/ 401093 w 1655446"/>
                    <a:gd name="connsiteY585" fmla="*/ 504284 h 1155218"/>
                    <a:gd name="connsiteX586" fmla="*/ 404846 w 1655446"/>
                    <a:gd name="connsiteY586" fmla="*/ 502535 h 1155218"/>
                    <a:gd name="connsiteX587" fmla="*/ 407274 w 1655446"/>
                    <a:gd name="connsiteY587" fmla="*/ 502001 h 1155218"/>
                    <a:gd name="connsiteX588" fmla="*/ 409411 w 1655446"/>
                    <a:gd name="connsiteY588" fmla="*/ 502147 h 1155218"/>
                    <a:gd name="connsiteX589" fmla="*/ 410990 w 1655446"/>
                    <a:gd name="connsiteY589" fmla="*/ 502365 h 1155218"/>
                    <a:gd name="connsiteX590" fmla="*/ 412653 w 1655446"/>
                    <a:gd name="connsiteY590" fmla="*/ 505668 h 1155218"/>
                    <a:gd name="connsiteX591" fmla="*/ 412738 w 1655446"/>
                    <a:gd name="connsiteY591" fmla="*/ 507720 h 1155218"/>
                    <a:gd name="connsiteX592" fmla="*/ 412022 w 1655446"/>
                    <a:gd name="connsiteY592" fmla="*/ 511485 h 1155218"/>
                    <a:gd name="connsiteX593" fmla="*/ 412022 w 1655446"/>
                    <a:gd name="connsiteY593" fmla="*/ 512226 h 1155218"/>
                    <a:gd name="connsiteX594" fmla="*/ 412228 w 1655446"/>
                    <a:gd name="connsiteY594" fmla="*/ 512857 h 1155218"/>
                    <a:gd name="connsiteX595" fmla="*/ 412848 w 1655446"/>
                    <a:gd name="connsiteY595" fmla="*/ 513743 h 1155218"/>
                    <a:gd name="connsiteX596" fmla="*/ 413953 w 1655446"/>
                    <a:gd name="connsiteY596" fmla="*/ 515164 h 1155218"/>
                    <a:gd name="connsiteX597" fmla="*/ 415628 w 1655446"/>
                    <a:gd name="connsiteY597" fmla="*/ 516342 h 1155218"/>
                    <a:gd name="connsiteX598" fmla="*/ 417183 w 1655446"/>
                    <a:gd name="connsiteY598" fmla="*/ 516852 h 1155218"/>
                    <a:gd name="connsiteX599" fmla="*/ 421032 w 1655446"/>
                    <a:gd name="connsiteY599" fmla="*/ 516682 h 1155218"/>
                    <a:gd name="connsiteX600" fmla="*/ 426800 w 1655446"/>
                    <a:gd name="connsiteY600" fmla="*/ 515528 h 1155218"/>
                    <a:gd name="connsiteX601" fmla="*/ 431026 w 1655446"/>
                    <a:gd name="connsiteY601" fmla="*/ 515832 h 1155218"/>
                    <a:gd name="connsiteX602" fmla="*/ 441833 w 1655446"/>
                    <a:gd name="connsiteY602" fmla="*/ 519584 h 1155218"/>
                    <a:gd name="connsiteX603" fmla="*/ 445816 w 1655446"/>
                    <a:gd name="connsiteY603" fmla="*/ 520495 h 1155218"/>
                    <a:gd name="connsiteX604" fmla="*/ 450187 w 1655446"/>
                    <a:gd name="connsiteY604" fmla="*/ 520519 h 1155218"/>
                    <a:gd name="connsiteX605" fmla="*/ 458772 w 1655446"/>
                    <a:gd name="connsiteY605" fmla="*/ 519463 h 1155218"/>
                    <a:gd name="connsiteX606" fmla="*/ 461954 w 1655446"/>
                    <a:gd name="connsiteY606" fmla="*/ 520106 h 1155218"/>
                    <a:gd name="connsiteX607" fmla="*/ 462609 w 1655446"/>
                    <a:gd name="connsiteY607" fmla="*/ 520288 h 1155218"/>
                    <a:gd name="connsiteX608" fmla="*/ 465123 w 1655446"/>
                    <a:gd name="connsiteY608" fmla="*/ 522474 h 1155218"/>
                    <a:gd name="connsiteX609" fmla="*/ 466981 w 1655446"/>
                    <a:gd name="connsiteY609" fmla="*/ 525510 h 1155218"/>
                    <a:gd name="connsiteX610" fmla="*/ 468511 w 1655446"/>
                    <a:gd name="connsiteY610" fmla="*/ 530246 h 1155218"/>
                    <a:gd name="connsiteX611" fmla="*/ 469240 w 1655446"/>
                    <a:gd name="connsiteY611" fmla="*/ 530658 h 1155218"/>
                    <a:gd name="connsiteX612" fmla="*/ 472676 w 1655446"/>
                    <a:gd name="connsiteY612" fmla="*/ 530149 h 1155218"/>
                    <a:gd name="connsiteX613" fmla="*/ 474412 w 1655446"/>
                    <a:gd name="connsiteY613" fmla="*/ 529493 h 1155218"/>
                    <a:gd name="connsiteX614" fmla="*/ 474655 w 1655446"/>
                    <a:gd name="connsiteY614" fmla="*/ 529274 h 1155218"/>
                    <a:gd name="connsiteX615" fmla="*/ 475129 w 1655446"/>
                    <a:gd name="connsiteY615" fmla="*/ 528400 h 1155218"/>
                    <a:gd name="connsiteX616" fmla="*/ 476829 w 1655446"/>
                    <a:gd name="connsiteY616" fmla="*/ 522195 h 1155218"/>
                    <a:gd name="connsiteX617" fmla="*/ 478298 w 1655446"/>
                    <a:gd name="connsiteY617" fmla="*/ 519366 h 1155218"/>
                    <a:gd name="connsiteX618" fmla="*/ 480435 w 1655446"/>
                    <a:gd name="connsiteY618" fmla="*/ 516925 h 1155218"/>
                    <a:gd name="connsiteX619" fmla="*/ 483155 w 1655446"/>
                    <a:gd name="connsiteY619" fmla="*/ 515067 h 1155218"/>
                    <a:gd name="connsiteX620" fmla="*/ 488923 w 1655446"/>
                    <a:gd name="connsiteY620" fmla="*/ 512505 h 1155218"/>
                    <a:gd name="connsiteX621" fmla="*/ 494388 w 1655446"/>
                    <a:gd name="connsiteY621" fmla="*/ 510744 h 1155218"/>
                    <a:gd name="connsiteX622" fmla="*/ 498116 w 1655446"/>
                    <a:gd name="connsiteY622" fmla="*/ 510550 h 1155218"/>
                    <a:gd name="connsiteX623" fmla="*/ 501540 w 1655446"/>
                    <a:gd name="connsiteY623" fmla="*/ 512092 h 1155218"/>
                    <a:gd name="connsiteX624" fmla="*/ 503106 w 1655446"/>
                    <a:gd name="connsiteY624" fmla="*/ 516160 h 1155218"/>
                    <a:gd name="connsiteX625" fmla="*/ 502803 w 1655446"/>
                    <a:gd name="connsiteY625" fmla="*/ 519013 h 1155218"/>
                    <a:gd name="connsiteX626" fmla="*/ 501795 w 1655446"/>
                    <a:gd name="connsiteY626" fmla="*/ 521855 h 1155218"/>
                    <a:gd name="connsiteX627" fmla="*/ 499816 w 1655446"/>
                    <a:gd name="connsiteY627" fmla="*/ 525546 h 1155218"/>
                    <a:gd name="connsiteX628" fmla="*/ 499366 w 1655446"/>
                    <a:gd name="connsiteY628" fmla="*/ 526688 h 1155218"/>
                    <a:gd name="connsiteX629" fmla="*/ 501078 w 1655446"/>
                    <a:gd name="connsiteY629" fmla="*/ 528461 h 1155218"/>
                    <a:gd name="connsiteX630" fmla="*/ 511205 w 1655446"/>
                    <a:gd name="connsiteY630" fmla="*/ 535066 h 1155218"/>
                    <a:gd name="connsiteX631" fmla="*/ 514873 w 1655446"/>
                    <a:gd name="connsiteY631" fmla="*/ 538066 h 1155218"/>
                    <a:gd name="connsiteX632" fmla="*/ 518188 w 1655446"/>
                    <a:gd name="connsiteY632" fmla="*/ 540215 h 1155218"/>
                    <a:gd name="connsiteX633" fmla="*/ 521758 w 1655446"/>
                    <a:gd name="connsiteY633" fmla="*/ 540045 h 1155218"/>
                    <a:gd name="connsiteX634" fmla="*/ 524818 w 1655446"/>
                    <a:gd name="connsiteY634" fmla="*/ 538321 h 1155218"/>
                    <a:gd name="connsiteX635" fmla="*/ 526773 w 1655446"/>
                    <a:gd name="connsiteY635" fmla="*/ 537592 h 1155218"/>
                    <a:gd name="connsiteX636" fmla="*/ 529068 w 1655446"/>
                    <a:gd name="connsiteY636" fmla="*/ 537410 h 1155218"/>
                    <a:gd name="connsiteX637" fmla="*/ 531545 w 1655446"/>
                    <a:gd name="connsiteY637" fmla="*/ 537750 h 1155218"/>
                    <a:gd name="connsiteX638" fmla="*/ 533427 w 1655446"/>
                    <a:gd name="connsiteY638" fmla="*/ 537750 h 1155218"/>
                    <a:gd name="connsiteX639" fmla="*/ 533840 w 1655446"/>
                    <a:gd name="connsiteY639" fmla="*/ 537641 h 1155218"/>
                    <a:gd name="connsiteX640" fmla="*/ 534653 w 1655446"/>
                    <a:gd name="connsiteY640" fmla="*/ 536851 h 1155218"/>
                    <a:gd name="connsiteX641" fmla="*/ 534811 w 1655446"/>
                    <a:gd name="connsiteY641" fmla="*/ 536038 h 1155218"/>
                    <a:gd name="connsiteX642" fmla="*/ 535479 w 1655446"/>
                    <a:gd name="connsiteY642" fmla="*/ 533864 h 1155218"/>
                    <a:gd name="connsiteX643" fmla="*/ 537106 w 1655446"/>
                    <a:gd name="connsiteY643" fmla="*/ 531205 h 1155218"/>
                    <a:gd name="connsiteX644" fmla="*/ 538029 w 1655446"/>
                    <a:gd name="connsiteY644" fmla="*/ 530039 h 1155218"/>
                    <a:gd name="connsiteX645" fmla="*/ 538151 w 1655446"/>
                    <a:gd name="connsiteY645" fmla="*/ 529481 h 1155218"/>
                    <a:gd name="connsiteX646" fmla="*/ 537823 w 1655446"/>
                    <a:gd name="connsiteY646" fmla="*/ 527854 h 1155218"/>
                    <a:gd name="connsiteX647" fmla="*/ 535686 w 1655446"/>
                    <a:gd name="connsiteY647" fmla="*/ 524854 h 1155218"/>
                    <a:gd name="connsiteX648" fmla="*/ 527161 w 1655446"/>
                    <a:gd name="connsiteY648" fmla="*/ 514168 h 1155218"/>
                    <a:gd name="connsiteX649" fmla="*/ 524745 w 1655446"/>
                    <a:gd name="connsiteY649" fmla="*/ 509433 h 1155218"/>
                    <a:gd name="connsiteX650" fmla="*/ 523421 w 1655446"/>
                    <a:gd name="connsiteY650" fmla="*/ 504260 h 1155218"/>
                    <a:gd name="connsiteX651" fmla="*/ 523676 w 1655446"/>
                    <a:gd name="connsiteY651" fmla="*/ 490344 h 1155218"/>
                    <a:gd name="connsiteX652" fmla="*/ 522231 w 1655446"/>
                    <a:gd name="connsiteY652" fmla="*/ 485912 h 1155218"/>
                    <a:gd name="connsiteX653" fmla="*/ 521758 w 1655446"/>
                    <a:gd name="connsiteY653" fmla="*/ 483993 h 1155218"/>
                    <a:gd name="connsiteX654" fmla="*/ 521624 w 1655446"/>
                    <a:gd name="connsiteY654" fmla="*/ 481953 h 1155218"/>
                    <a:gd name="connsiteX655" fmla="*/ 521794 w 1655446"/>
                    <a:gd name="connsiteY655" fmla="*/ 480144 h 1155218"/>
                    <a:gd name="connsiteX656" fmla="*/ 523324 w 1655446"/>
                    <a:gd name="connsiteY656" fmla="*/ 474510 h 1155218"/>
                    <a:gd name="connsiteX657" fmla="*/ 523276 w 1655446"/>
                    <a:gd name="connsiteY657" fmla="*/ 473113 h 1155218"/>
                    <a:gd name="connsiteX658" fmla="*/ 523118 w 1655446"/>
                    <a:gd name="connsiteY658" fmla="*/ 471790 h 1155218"/>
                    <a:gd name="connsiteX659" fmla="*/ 521782 w 1655446"/>
                    <a:gd name="connsiteY659" fmla="*/ 465184 h 1155218"/>
                    <a:gd name="connsiteX660" fmla="*/ 521891 w 1655446"/>
                    <a:gd name="connsiteY660" fmla="*/ 461747 h 1155218"/>
                    <a:gd name="connsiteX661" fmla="*/ 523518 w 1655446"/>
                    <a:gd name="connsiteY661" fmla="*/ 459112 h 1155218"/>
                    <a:gd name="connsiteX662" fmla="*/ 526955 w 1655446"/>
                    <a:gd name="connsiteY662" fmla="*/ 457497 h 1155218"/>
                    <a:gd name="connsiteX663" fmla="*/ 528837 w 1655446"/>
                    <a:gd name="connsiteY663" fmla="*/ 457424 h 1155218"/>
                    <a:gd name="connsiteX664" fmla="*/ 530901 w 1655446"/>
                    <a:gd name="connsiteY664" fmla="*/ 457813 h 1155218"/>
                    <a:gd name="connsiteX665" fmla="*/ 532990 w 1655446"/>
                    <a:gd name="connsiteY665" fmla="*/ 458882 h 1155218"/>
                    <a:gd name="connsiteX666" fmla="*/ 533913 w 1655446"/>
                    <a:gd name="connsiteY666" fmla="*/ 459222 h 1155218"/>
                    <a:gd name="connsiteX667" fmla="*/ 534629 w 1655446"/>
                    <a:gd name="connsiteY667" fmla="*/ 459319 h 1155218"/>
                    <a:gd name="connsiteX668" fmla="*/ 537155 w 1655446"/>
                    <a:gd name="connsiteY668" fmla="*/ 459294 h 1155218"/>
                    <a:gd name="connsiteX669" fmla="*/ 538758 w 1655446"/>
                    <a:gd name="connsiteY669" fmla="*/ 459817 h 1155218"/>
                    <a:gd name="connsiteX670" fmla="*/ 541126 w 1655446"/>
                    <a:gd name="connsiteY670" fmla="*/ 461541 h 1155218"/>
                    <a:gd name="connsiteX671" fmla="*/ 541988 w 1655446"/>
                    <a:gd name="connsiteY671" fmla="*/ 462658 h 1155218"/>
                    <a:gd name="connsiteX672" fmla="*/ 542923 w 1655446"/>
                    <a:gd name="connsiteY672" fmla="*/ 464164 h 1155218"/>
                    <a:gd name="connsiteX673" fmla="*/ 544453 w 1655446"/>
                    <a:gd name="connsiteY673" fmla="*/ 467782 h 1155218"/>
                    <a:gd name="connsiteX674" fmla="*/ 544975 w 1655446"/>
                    <a:gd name="connsiteY674" fmla="*/ 469871 h 1155218"/>
                    <a:gd name="connsiteX675" fmla="*/ 545169 w 1655446"/>
                    <a:gd name="connsiteY675" fmla="*/ 471158 h 1155218"/>
                    <a:gd name="connsiteX676" fmla="*/ 545084 w 1655446"/>
                    <a:gd name="connsiteY676" fmla="*/ 473441 h 1155218"/>
                    <a:gd name="connsiteX677" fmla="*/ 546566 w 1655446"/>
                    <a:gd name="connsiteY677" fmla="*/ 473429 h 1155218"/>
                    <a:gd name="connsiteX678" fmla="*/ 549079 w 1655446"/>
                    <a:gd name="connsiteY678" fmla="*/ 472919 h 1155218"/>
                    <a:gd name="connsiteX679" fmla="*/ 566492 w 1655446"/>
                    <a:gd name="connsiteY679" fmla="*/ 465281 h 1155218"/>
                    <a:gd name="connsiteX680" fmla="*/ 567937 w 1655446"/>
                    <a:gd name="connsiteY680" fmla="*/ 464212 h 1155218"/>
                    <a:gd name="connsiteX681" fmla="*/ 568265 w 1655446"/>
                    <a:gd name="connsiteY681" fmla="*/ 463666 h 1155218"/>
                    <a:gd name="connsiteX682" fmla="*/ 569261 w 1655446"/>
                    <a:gd name="connsiteY682" fmla="*/ 462306 h 1155218"/>
                    <a:gd name="connsiteX683" fmla="*/ 569516 w 1655446"/>
                    <a:gd name="connsiteY683" fmla="*/ 459877 h 1155218"/>
                    <a:gd name="connsiteX684" fmla="*/ 569164 w 1655446"/>
                    <a:gd name="connsiteY684" fmla="*/ 455530 h 1155218"/>
                    <a:gd name="connsiteX685" fmla="*/ 566844 w 1655446"/>
                    <a:gd name="connsiteY685" fmla="*/ 446678 h 1155218"/>
                    <a:gd name="connsiteX686" fmla="*/ 565302 w 1655446"/>
                    <a:gd name="connsiteY686" fmla="*/ 442938 h 1155218"/>
                    <a:gd name="connsiteX687" fmla="*/ 563663 w 1655446"/>
                    <a:gd name="connsiteY687" fmla="*/ 440206 h 1155218"/>
                    <a:gd name="connsiteX688" fmla="*/ 561623 w 1655446"/>
                    <a:gd name="connsiteY688" fmla="*/ 438056 h 1155218"/>
                    <a:gd name="connsiteX689" fmla="*/ 552953 w 1655446"/>
                    <a:gd name="connsiteY689" fmla="*/ 430710 h 1155218"/>
                    <a:gd name="connsiteX690" fmla="*/ 551569 w 1655446"/>
                    <a:gd name="connsiteY690" fmla="*/ 430079 h 1155218"/>
                    <a:gd name="connsiteX691" fmla="*/ 550476 w 1655446"/>
                    <a:gd name="connsiteY691" fmla="*/ 430066 h 1155218"/>
                    <a:gd name="connsiteX692" fmla="*/ 549067 w 1655446"/>
                    <a:gd name="connsiteY692" fmla="*/ 430564 h 1155218"/>
                    <a:gd name="connsiteX693" fmla="*/ 546894 w 1655446"/>
                    <a:gd name="connsiteY693" fmla="*/ 430953 h 1155218"/>
                    <a:gd name="connsiteX694" fmla="*/ 537252 w 1655446"/>
                    <a:gd name="connsiteY694" fmla="*/ 430091 h 1155218"/>
                    <a:gd name="connsiteX695" fmla="*/ 531132 w 1655446"/>
                    <a:gd name="connsiteY695" fmla="*/ 426606 h 1155218"/>
                    <a:gd name="connsiteX696" fmla="*/ 520410 w 1655446"/>
                    <a:gd name="connsiteY696" fmla="*/ 414596 h 1155218"/>
                    <a:gd name="connsiteX697" fmla="*/ 517666 w 1655446"/>
                    <a:gd name="connsiteY697" fmla="*/ 412204 h 1155218"/>
                    <a:gd name="connsiteX698" fmla="*/ 516706 w 1655446"/>
                    <a:gd name="connsiteY698" fmla="*/ 407918 h 1155218"/>
                    <a:gd name="connsiteX699" fmla="*/ 518613 w 1655446"/>
                    <a:gd name="connsiteY699" fmla="*/ 405015 h 1155218"/>
                    <a:gd name="connsiteX700" fmla="*/ 520118 w 1655446"/>
                    <a:gd name="connsiteY700" fmla="*/ 403303 h 1155218"/>
                    <a:gd name="connsiteX701" fmla="*/ 521952 w 1655446"/>
                    <a:gd name="connsiteY701" fmla="*/ 402077 h 1155218"/>
                    <a:gd name="connsiteX702" fmla="*/ 524138 w 1655446"/>
                    <a:gd name="connsiteY702" fmla="*/ 401688 h 1155218"/>
                    <a:gd name="connsiteX703" fmla="*/ 528400 w 1655446"/>
                    <a:gd name="connsiteY703" fmla="*/ 401373 h 1155218"/>
                    <a:gd name="connsiteX704" fmla="*/ 531751 w 1655446"/>
                    <a:gd name="connsiteY704" fmla="*/ 400535 h 1155218"/>
                    <a:gd name="connsiteX705" fmla="*/ 533257 w 1655446"/>
                    <a:gd name="connsiteY705" fmla="*/ 399879 h 1155218"/>
                    <a:gd name="connsiteX706" fmla="*/ 534860 w 1655446"/>
                    <a:gd name="connsiteY706" fmla="*/ 398823 h 1155218"/>
                    <a:gd name="connsiteX707" fmla="*/ 535856 w 1655446"/>
                    <a:gd name="connsiteY707" fmla="*/ 397463 h 1155218"/>
                    <a:gd name="connsiteX708" fmla="*/ 536232 w 1655446"/>
                    <a:gd name="connsiteY708" fmla="*/ 396515 h 1155218"/>
                    <a:gd name="connsiteX709" fmla="*/ 536293 w 1655446"/>
                    <a:gd name="connsiteY709" fmla="*/ 395908 h 1155218"/>
                    <a:gd name="connsiteX710" fmla="*/ 536026 w 1655446"/>
                    <a:gd name="connsiteY710" fmla="*/ 392229 h 1155218"/>
                    <a:gd name="connsiteX711" fmla="*/ 535321 w 1655446"/>
                    <a:gd name="connsiteY711" fmla="*/ 389691 h 1155218"/>
                    <a:gd name="connsiteX712" fmla="*/ 532771 w 1655446"/>
                    <a:gd name="connsiteY712" fmla="*/ 383778 h 1155218"/>
                    <a:gd name="connsiteX713" fmla="*/ 530015 w 1655446"/>
                    <a:gd name="connsiteY713" fmla="*/ 378580 h 1155218"/>
                    <a:gd name="connsiteX714" fmla="*/ 529408 w 1655446"/>
                    <a:gd name="connsiteY714" fmla="*/ 377062 h 1155218"/>
                    <a:gd name="connsiteX715" fmla="*/ 529141 w 1655446"/>
                    <a:gd name="connsiteY715" fmla="*/ 375800 h 1155218"/>
                    <a:gd name="connsiteX716" fmla="*/ 529104 w 1655446"/>
                    <a:gd name="connsiteY716" fmla="*/ 375253 h 1155218"/>
                    <a:gd name="connsiteX717" fmla="*/ 529201 w 1655446"/>
                    <a:gd name="connsiteY717" fmla="*/ 373893 h 1155218"/>
                    <a:gd name="connsiteX718" fmla="*/ 529541 w 1655446"/>
                    <a:gd name="connsiteY718" fmla="*/ 372727 h 1155218"/>
                    <a:gd name="connsiteX719" fmla="*/ 530549 w 1655446"/>
                    <a:gd name="connsiteY719" fmla="*/ 370736 h 1155218"/>
                    <a:gd name="connsiteX720" fmla="*/ 532468 w 1655446"/>
                    <a:gd name="connsiteY720" fmla="*/ 367676 h 1155218"/>
                    <a:gd name="connsiteX721" fmla="*/ 534569 w 1655446"/>
                    <a:gd name="connsiteY721" fmla="*/ 365709 h 1155218"/>
                    <a:gd name="connsiteX722" fmla="*/ 537993 w 1655446"/>
                    <a:gd name="connsiteY722" fmla="*/ 363960 h 1155218"/>
                    <a:gd name="connsiteX723" fmla="*/ 544611 w 1655446"/>
                    <a:gd name="connsiteY723" fmla="*/ 362527 h 1155218"/>
                    <a:gd name="connsiteX724" fmla="*/ 559777 w 1655446"/>
                    <a:gd name="connsiteY724" fmla="*/ 355764 h 1155218"/>
                    <a:gd name="connsiteX725" fmla="*/ 561902 w 1655446"/>
                    <a:gd name="connsiteY725" fmla="*/ 355290 h 1155218"/>
                    <a:gd name="connsiteX726" fmla="*/ 564319 w 1655446"/>
                    <a:gd name="connsiteY726" fmla="*/ 355205 h 1155218"/>
                    <a:gd name="connsiteX727" fmla="*/ 568544 w 1655446"/>
                    <a:gd name="connsiteY727" fmla="*/ 355545 h 1155218"/>
                    <a:gd name="connsiteX728" fmla="*/ 577251 w 1655446"/>
                    <a:gd name="connsiteY728" fmla="*/ 354307 h 1155218"/>
                    <a:gd name="connsiteX729" fmla="*/ 595223 w 1655446"/>
                    <a:gd name="connsiteY729" fmla="*/ 347725 h 1155218"/>
                    <a:gd name="connsiteX730" fmla="*/ 598975 w 1655446"/>
                    <a:gd name="connsiteY730" fmla="*/ 347094 h 1155218"/>
                    <a:gd name="connsiteX731" fmla="*/ 602897 w 1655446"/>
                    <a:gd name="connsiteY731" fmla="*/ 348369 h 1155218"/>
                    <a:gd name="connsiteX732" fmla="*/ 604645 w 1655446"/>
                    <a:gd name="connsiteY732" fmla="*/ 348478 h 1155218"/>
                    <a:gd name="connsiteX733" fmla="*/ 607693 w 1655446"/>
                    <a:gd name="connsiteY733" fmla="*/ 347239 h 1155218"/>
                    <a:gd name="connsiteX734" fmla="*/ 610923 w 1655446"/>
                    <a:gd name="connsiteY734" fmla="*/ 346948 h 1155218"/>
                    <a:gd name="connsiteX735" fmla="*/ 614408 w 1655446"/>
                    <a:gd name="connsiteY735" fmla="*/ 347774 h 1155218"/>
                    <a:gd name="connsiteX736" fmla="*/ 618148 w 1655446"/>
                    <a:gd name="connsiteY736" fmla="*/ 350093 h 1155218"/>
                    <a:gd name="connsiteX737" fmla="*/ 620067 w 1655446"/>
                    <a:gd name="connsiteY737" fmla="*/ 351089 h 1155218"/>
                    <a:gd name="connsiteX738" fmla="*/ 622241 w 1655446"/>
                    <a:gd name="connsiteY738" fmla="*/ 351247 h 1155218"/>
                    <a:gd name="connsiteX739" fmla="*/ 623904 w 1655446"/>
                    <a:gd name="connsiteY739" fmla="*/ 350506 h 1155218"/>
                    <a:gd name="connsiteX740" fmla="*/ 624730 w 1655446"/>
                    <a:gd name="connsiteY740" fmla="*/ 349328 h 1155218"/>
                    <a:gd name="connsiteX741" fmla="*/ 625252 w 1655446"/>
                    <a:gd name="connsiteY741" fmla="*/ 348454 h 1155218"/>
                    <a:gd name="connsiteX742" fmla="*/ 627073 w 1655446"/>
                    <a:gd name="connsiteY742" fmla="*/ 346584 h 1155218"/>
                    <a:gd name="connsiteX743" fmla="*/ 628725 w 1655446"/>
                    <a:gd name="connsiteY743" fmla="*/ 345916 h 1155218"/>
                    <a:gd name="connsiteX744" fmla="*/ 630510 w 1655446"/>
                    <a:gd name="connsiteY744" fmla="*/ 345467 h 1155218"/>
                    <a:gd name="connsiteX745" fmla="*/ 630923 w 1655446"/>
                    <a:gd name="connsiteY745" fmla="*/ 344787 h 1155218"/>
                    <a:gd name="connsiteX746" fmla="*/ 631068 w 1655446"/>
                    <a:gd name="connsiteY746" fmla="*/ 343366 h 1155218"/>
                    <a:gd name="connsiteX747" fmla="*/ 630619 w 1655446"/>
                    <a:gd name="connsiteY747" fmla="*/ 339844 h 1155218"/>
                    <a:gd name="connsiteX748" fmla="*/ 630862 w 1655446"/>
                    <a:gd name="connsiteY748" fmla="*/ 337476 h 1155218"/>
                    <a:gd name="connsiteX749" fmla="*/ 631906 w 1655446"/>
                    <a:gd name="connsiteY749" fmla="*/ 335084 h 1155218"/>
                    <a:gd name="connsiteX750" fmla="*/ 632793 w 1655446"/>
                    <a:gd name="connsiteY750" fmla="*/ 333858 h 1155218"/>
                    <a:gd name="connsiteX751" fmla="*/ 632829 w 1655446"/>
                    <a:gd name="connsiteY751" fmla="*/ 333712 h 1155218"/>
                    <a:gd name="connsiteX752" fmla="*/ 632574 w 1655446"/>
                    <a:gd name="connsiteY752" fmla="*/ 332704 h 1155218"/>
                    <a:gd name="connsiteX753" fmla="*/ 628239 w 1655446"/>
                    <a:gd name="connsiteY753" fmla="*/ 327799 h 1155218"/>
                    <a:gd name="connsiteX754" fmla="*/ 626636 w 1655446"/>
                    <a:gd name="connsiteY754" fmla="*/ 325261 h 1155218"/>
                    <a:gd name="connsiteX755" fmla="*/ 625799 w 1655446"/>
                    <a:gd name="connsiteY755" fmla="*/ 323245 h 1155218"/>
                    <a:gd name="connsiteX756" fmla="*/ 625252 w 1655446"/>
                    <a:gd name="connsiteY756" fmla="*/ 320695 h 1155218"/>
                    <a:gd name="connsiteX757" fmla="*/ 625143 w 1655446"/>
                    <a:gd name="connsiteY757" fmla="*/ 318291 h 1155218"/>
                    <a:gd name="connsiteX758" fmla="*/ 625349 w 1655446"/>
                    <a:gd name="connsiteY758" fmla="*/ 316433 h 1155218"/>
                    <a:gd name="connsiteX759" fmla="*/ 625993 w 1655446"/>
                    <a:gd name="connsiteY759" fmla="*/ 314356 h 1155218"/>
                    <a:gd name="connsiteX760" fmla="*/ 626697 w 1655446"/>
                    <a:gd name="connsiteY760" fmla="*/ 312656 h 1155218"/>
                    <a:gd name="connsiteX761" fmla="*/ 626588 w 1655446"/>
                    <a:gd name="connsiteY761" fmla="*/ 311454 h 1155218"/>
                    <a:gd name="connsiteX762" fmla="*/ 624147 w 1655446"/>
                    <a:gd name="connsiteY762" fmla="*/ 308127 h 1155218"/>
                    <a:gd name="connsiteX763" fmla="*/ 623018 w 1655446"/>
                    <a:gd name="connsiteY763" fmla="*/ 305796 h 1155218"/>
                    <a:gd name="connsiteX764" fmla="*/ 622435 w 1655446"/>
                    <a:gd name="connsiteY764" fmla="*/ 303100 h 1155218"/>
                    <a:gd name="connsiteX765" fmla="*/ 622508 w 1655446"/>
                    <a:gd name="connsiteY765" fmla="*/ 300125 h 1155218"/>
                    <a:gd name="connsiteX766" fmla="*/ 623151 w 1655446"/>
                    <a:gd name="connsiteY766" fmla="*/ 297623 h 1155218"/>
                    <a:gd name="connsiteX767" fmla="*/ 624256 w 1655446"/>
                    <a:gd name="connsiteY767" fmla="*/ 295438 h 1155218"/>
                    <a:gd name="connsiteX768" fmla="*/ 625167 w 1655446"/>
                    <a:gd name="connsiteY768" fmla="*/ 294138 h 1155218"/>
                    <a:gd name="connsiteX769" fmla="*/ 624973 w 1655446"/>
                    <a:gd name="connsiteY769" fmla="*/ 293458 h 1155218"/>
                    <a:gd name="connsiteX770" fmla="*/ 624414 w 1655446"/>
                    <a:gd name="connsiteY770" fmla="*/ 292572 h 1155218"/>
                    <a:gd name="connsiteX771" fmla="*/ 623722 w 1655446"/>
                    <a:gd name="connsiteY771" fmla="*/ 291722 h 1155218"/>
                    <a:gd name="connsiteX772" fmla="*/ 622993 w 1655446"/>
                    <a:gd name="connsiteY772" fmla="*/ 291030 h 1155218"/>
                    <a:gd name="connsiteX773" fmla="*/ 622192 w 1655446"/>
                    <a:gd name="connsiteY773" fmla="*/ 290568 h 1155218"/>
                    <a:gd name="connsiteX774" fmla="*/ 621366 w 1655446"/>
                    <a:gd name="connsiteY774" fmla="*/ 290240 h 1155218"/>
                    <a:gd name="connsiteX775" fmla="*/ 619144 w 1655446"/>
                    <a:gd name="connsiteY775" fmla="*/ 289985 h 1155218"/>
                    <a:gd name="connsiteX776" fmla="*/ 617784 w 1655446"/>
                    <a:gd name="connsiteY776" fmla="*/ 290022 h 1155218"/>
                    <a:gd name="connsiteX777" fmla="*/ 614336 w 1655446"/>
                    <a:gd name="connsiteY777" fmla="*/ 290580 h 1155218"/>
                    <a:gd name="connsiteX778" fmla="*/ 610146 w 1655446"/>
                    <a:gd name="connsiteY778" fmla="*/ 292268 h 1155218"/>
                    <a:gd name="connsiteX779" fmla="*/ 607244 w 1655446"/>
                    <a:gd name="connsiteY779" fmla="*/ 294211 h 1155218"/>
                    <a:gd name="connsiteX780" fmla="*/ 606200 w 1655446"/>
                    <a:gd name="connsiteY780" fmla="*/ 295523 h 1155218"/>
                    <a:gd name="connsiteX781" fmla="*/ 605556 w 1655446"/>
                    <a:gd name="connsiteY781" fmla="*/ 296968 h 1155218"/>
                    <a:gd name="connsiteX782" fmla="*/ 603917 w 1655446"/>
                    <a:gd name="connsiteY782" fmla="*/ 302286 h 1155218"/>
                    <a:gd name="connsiteX783" fmla="*/ 602885 w 1655446"/>
                    <a:gd name="connsiteY783" fmla="*/ 304484 h 1155218"/>
                    <a:gd name="connsiteX784" fmla="*/ 601500 w 1655446"/>
                    <a:gd name="connsiteY784" fmla="*/ 306633 h 1155218"/>
                    <a:gd name="connsiteX785" fmla="*/ 599460 w 1655446"/>
                    <a:gd name="connsiteY785" fmla="*/ 308649 h 1155218"/>
                    <a:gd name="connsiteX786" fmla="*/ 596497 w 1655446"/>
                    <a:gd name="connsiteY786" fmla="*/ 310301 h 1155218"/>
                    <a:gd name="connsiteX787" fmla="*/ 592612 w 1655446"/>
                    <a:gd name="connsiteY787" fmla="*/ 311163 h 1155218"/>
                    <a:gd name="connsiteX788" fmla="*/ 587330 w 1655446"/>
                    <a:gd name="connsiteY788" fmla="*/ 310738 h 1155218"/>
                    <a:gd name="connsiteX789" fmla="*/ 584027 w 1655446"/>
                    <a:gd name="connsiteY789" fmla="*/ 309863 h 1155218"/>
                    <a:gd name="connsiteX790" fmla="*/ 580020 w 1655446"/>
                    <a:gd name="connsiteY790" fmla="*/ 308018 h 1155218"/>
                    <a:gd name="connsiteX791" fmla="*/ 578769 w 1655446"/>
                    <a:gd name="connsiteY791" fmla="*/ 308054 h 1155218"/>
                    <a:gd name="connsiteX792" fmla="*/ 576656 w 1655446"/>
                    <a:gd name="connsiteY792" fmla="*/ 308467 h 1155218"/>
                    <a:gd name="connsiteX793" fmla="*/ 573122 w 1655446"/>
                    <a:gd name="connsiteY793" fmla="*/ 310143 h 1155218"/>
                    <a:gd name="connsiteX794" fmla="*/ 568241 w 1655446"/>
                    <a:gd name="connsiteY794" fmla="*/ 313118 h 1155218"/>
                    <a:gd name="connsiteX795" fmla="*/ 562509 w 1655446"/>
                    <a:gd name="connsiteY795" fmla="*/ 315413 h 1155218"/>
                    <a:gd name="connsiteX796" fmla="*/ 552067 w 1655446"/>
                    <a:gd name="connsiteY796" fmla="*/ 315425 h 1155218"/>
                    <a:gd name="connsiteX797" fmla="*/ 548921 w 1655446"/>
                    <a:gd name="connsiteY797" fmla="*/ 317416 h 1155218"/>
                    <a:gd name="connsiteX798" fmla="*/ 546505 w 1655446"/>
                    <a:gd name="connsiteY798" fmla="*/ 317975 h 1155218"/>
                    <a:gd name="connsiteX799" fmla="*/ 543967 w 1655446"/>
                    <a:gd name="connsiteY799" fmla="*/ 317149 h 1155218"/>
                    <a:gd name="connsiteX800" fmla="*/ 536536 w 1655446"/>
                    <a:gd name="connsiteY800" fmla="*/ 311709 h 1155218"/>
                    <a:gd name="connsiteX801" fmla="*/ 535406 w 1655446"/>
                    <a:gd name="connsiteY801" fmla="*/ 311284 h 1155218"/>
                    <a:gd name="connsiteX802" fmla="*/ 528327 w 1655446"/>
                    <a:gd name="connsiteY802" fmla="*/ 310191 h 1155218"/>
                    <a:gd name="connsiteX803" fmla="*/ 527246 w 1655446"/>
                    <a:gd name="connsiteY803" fmla="*/ 310264 h 1155218"/>
                    <a:gd name="connsiteX804" fmla="*/ 520920 w 1655446"/>
                    <a:gd name="connsiteY804" fmla="*/ 312559 h 1155218"/>
                    <a:gd name="connsiteX805" fmla="*/ 518479 w 1655446"/>
                    <a:gd name="connsiteY805" fmla="*/ 312693 h 1155218"/>
                    <a:gd name="connsiteX806" fmla="*/ 516172 w 1655446"/>
                    <a:gd name="connsiteY806" fmla="*/ 312037 h 1155218"/>
                    <a:gd name="connsiteX807" fmla="*/ 514387 w 1655446"/>
                    <a:gd name="connsiteY807" fmla="*/ 311017 h 1155218"/>
                    <a:gd name="connsiteX808" fmla="*/ 506239 w 1655446"/>
                    <a:gd name="connsiteY808" fmla="*/ 304958 h 1155218"/>
                    <a:gd name="connsiteX809" fmla="*/ 504745 w 1655446"/>
                    <a:gd name="connsiteY809" fmla="*/ 304363 h 1155218"/>
                    <a:gd name="connsiteX810" fmla="*/ 502778 w 1655446"/>
                    <a:gd name="connsiteY810" fmla="*/ 303780 h 1155218"/>
                    <a:gd name="connsiteX811" fmla="*/ 501200 w 1655446"/>
                    <a:gd name="connsiteY811" fmla="*/ 303634 h 1155218"/>
                    <a:gd name="connsiteX812" fmla="*/ 497690 w 1655446"/>
                    <a:gd name="connsiteY812" fmla="*/ 303622 h 1155218"/>
                    <a:gd name="connsiteX813" fmla="*/ 495408 w 1655446"/>
                    <a:gd name="connsiteY813" fmla="*/ 303258 h 1155218"/>
                    <a:gd name="connsiteX814" fmla="*/ 492396 w 1655446"/>
                    <a:gd name="connsiteY814" fmla="*/ 301788 h 1155218"/>
                    <a:gd name="connsiteX815" fmla="*/ 490186 w 1655446"/>
                    <a:gd name="connsiteY815" fmla="*/ 299676 h 1155218"/>
                    <a:gd name="connsiteX816" fmla="*/ 485426 w 1655446"/>
                    <a:gd name="connsiteY816" fmla="*/ 291431 h 1155218"/>
                    <a:gd name="connsiteX817" fmla="*/ 484576 w 1655446"/>
                    <a:gd name="connsiteY817" fmla="*/ 290835 h 1155218"/>
                    <a:gd name="connsiteX818" fmla="*/ 482973 w 1655446"/>
                    <a:gd name="connsiteY818" fmla="*/ 289973 h 1155218"/>
                    <a:gd name="connsiteX819" fmla="*/ 481200 w 1655446"/>
                    <a:gd name="connsiteY819" fmla="*/ 289779 h 1155218"/>
                    <a:gd name="connsiteX820" fmla="*/ 479500 w 1655446"/>
                    <a:gd name="connsiteY820" fmla="*/ 289475 h 1155218"/>
                    <a:gd name="connsiteX821" fmla="*/ 476962 w 1655446"/>
                    <a:gd name="connsiteY821" fmla="*/ 288261 h 1155218"/>
                    <a:gd name="connsiteX822" fmla="*/ 474789 w 1655446"/>
                    <a:gd name="connsiteY822" fmla="*/ 286173 h 1155218"/>
                    <a:gd name="connsiteX823" fmla="*/ 473356 w 1655446"/>
                    <a:gd name="connsiteY823" fmla="*/ 283040 h 1155218"/>
                    <a:gd name="connsiteX824" fmla="*/ 472130 w 1655446"/>
                    <a:gd name="connsiteY824" fmla="*/ 277940 h 1155218"/>
                    <a:gd name="connsiteX825" fmla="*/ 468487 w 1655446"/>
                    <a:gd name="connsiteY825" fmla="*/ 267011 h 1155218"/>
                    <a:gd name="connsiteX826" fmla="*/ 462937 w 1655446"/>
                    <a:gd name="connsiteY826" fmla="*/ 239313 h 1155218"/>
                    <a:gd name="connsiteX827" fmla="*/ 462209 w 1655446"/>
                    <a:gd name="connsiteY827" fmla="*/ 237492 h 1155218"/>
                    <a:gd name="connsiteX828" fmla="*/ 461225 w 1655446"/>
                    <a:gd name="connsiteY828" fmla="*/ 235755 h 1155218"/>
                    <a:gd name="connsiteX829" fmla="*/ 460144 w 1655446"/>
                    <a:gd name="connsiteY829" fmla="*/ 232197 h 1155218"/>
                    <a:gd name="connsiteX830" fmla="*/ 461043 w 1655446"/>
                    <a:gd name="connsiteY830" fmla="*/ 227923 h 1155218"/>
                    <a:gd name="connsiteX831" fmla="*/ 463666 w 1655446"/>
                    <a:gd name="connsiteY831" fmla="*/ 225798 h 1155218"/>
                    <a:gd name="connsiteX832" fmla="*/ 467187 w 1655446"/>
                    <a:gd name="connsiteY832" fmla="*/ 225106 h 1155218"/>
                    <a:gd name="connsiteX833" fmla="*/ 467758 w 1655446"/>
                    <a:gd name="connsiteY833" fmla="*/ 223539 h 1155218"/>
                    <a:gd name="connsiteX834" fmla="*/ 467467 w 1655446"/>
                    <a:gd name="connsiteY834" fmla="*/ 219022 h 1155218"/>
                    <a:gd name="connsiteX835" fmla="*/ 467709 w 1655446"/>
                    <a:gd name="connsiteY835" fmla="*/ 215926 h 1155218"/>
                    <a:gd name="connsiteX836" fmla="*/ 468875 w 1655446"/>
                    <a:gd name="connsiteY836" fmla="*/ 212513 h 1155218"/>
                    <a:gd name="connsiteX837" fmla="*/ 473878 w 1655446"/>
                    <a:gd name="connsiteY837" fmla="*/ 203868 h 1155218"/>
                    <a:gd name="connsiteX838" fmla="*/ 476537 w 1655446"/>
                    <a:gd name="connsiteY838" fmla="*/ 202860 h 1155218"/>
                    <a:gd name="connsiteX839" fmla="*/ 480739 w 1655446"/>
                    <a:gd name="connsiteY839" fmla="*/ 198731 h 1155218"/>
                    <a:gd name="connsiteX840" fmla="*/ 483665 w 1655446"/>
                    <a:gd name="connsiteY840" fmla="*/ 196885 h 1155218"/>
                    <a:gd name="connsiteX841" fmla="*/ 487928 w 1655446"/>
                    <a:gd name="connsiteY841" fmla="*/ 196679 h 1155218"/>
                    <a:gd name="connsiteX842" fmla="*/ 488850 w 1655446"/>
                    <a:gd name="connsiteY842" fmla="*/ 195489 h 1155218"/>
                    <a:gd name="connsiteX843" fmla="*/ 490065 w 1655446"/>
                    <a:gd name="connsiteY843" fmla="*/ 192028 h 1155218"/>
                    <a:gd name="connsiteX844" fmla="*/ 492020 w 1655446"/>
                    <a:gd name="connsiteY844" fmla="*/ 189187 h 1155218"/>
                    <a:gd name="connsiteX845" fmla="*/ 495140 w 1655446"/>
                    <a:gd name="connsiteY845" fmla="*/ 188470 h 1155218"/>
                    <a:gd name="connsiteX846" fmla="*/ 505887 w 1655446"/>
                    <a:gd name="connsiteY846" fmla="*/ 189211 h 1155218"/>
                    <a:gd name="connsiteX847" fmla="*/ 508498 w 1655446"/>
                    <a:gd name="connsiteY847" fmla="*/ 189818 h 1155218"/>
                    <a:gd name="connsiteX848" fmla="*/ 508996 w 1655446"/>
                    <a:gd name="connsiteY848" fmla="*/ 189770 h 1155218"/>
                    <a:gd name="connsiteX849" fmla="*/ 510841 w 1655446"/>
                    <a:gd name="connsiteY849" fmla="*/ 188689 h 1155218"/>
                    <a:gd name="connsiteX850" fmla="*/ 513743 w 1655446"/>
                    <a:gd name="connsiteY850" fmla="*/ 184852 h 1155218"/>
                    <a:gd name="connsiteX851" fmla="*/ 516111 w 1655446"/>
                    <a:gd name="connsiteY851" fmla="*/ 182812 h 1155218"/>
                    <a:gd name="connsiteX852" fmla="*/ 518406 w 1655446"/>
                    <a:gd name="connsiteY852" fmla="*/ 181622 h 1155218"/>
                    <a:gd name="connsiteX853" fmla="*/ 520446 w 1655446"/>
                    <a:gd name="connsiteY853" fmla="*/ 180978 h 1155218"/>
                    <a:gd name="connsiteX854" fmla="*/ 520798 w 1655446"/>
                    <a:gd name="connsiteY854" fmla="*/ 180760 h 1155218"/>
                    <a:gd name="connsiteX855" fmla="*/ 522001 w 1655446"/>
                    <a:gd name="connsiteY855" fmla="*/ 179193 h 1155218"/>
                    <a:gd name="connsiteX856" fmla="*/ 522073 w 1655446"/>
                    <a:gd name="connsiteY856" fmla="*/ 178064 h 1155218"/>
                    <a:gd name="connsiteX857" fmla="*/ 521964 w 1655446"/>
                    <a:gd name="connsiteY857" fmla="*/ 176558 h 1155218"/>
                    <a:gd name="connsiteX858" fmla="*/ 522268 w 1655446"/>
                    <a:gd name="connsiteY858" fmla="*/ 173899 h 1155218"/>
                    <a:gd name="connsiteX859" fmla="*/ 524247 w 1655446"/>
                    <a:gd name="connsiteY859" fmla="*/ 169952 h 1155218"/>
                    <a:gd name="connsiteX860" fmla="*/ 535819 w 1655446"/>
                    <a:gd name="connsiteY860" fmla="*/ 162922 h 1155218"/>
                    <a:gd name="connsiteX861" fmla="*/ 538005 w 1655446"/>
                    <a:gd name="connsiteY861" fmla="*/ 160870 h 1155218"/>
                    <a:gd name="connsiteX862" fmla="*/ 538539 w 1655446"/>
                    <a:gd name="connsiteY862" fmla="*/ 158599 h 1155218"/>
                    <a:gd name="connsiteX863" fmla="*/ 539474 w 1655446"/>
                    <a:gd name="connsiteY863" fmla="*/ 156462 h 1155218"/>
                    <a:gd name="connsiteX864" fmla="*/ 541781 w 1655446"/>
                    <a:gd name="connsiteY864" fmla="*/ 153948 h 1155218"/>
                    <a:gd name="connsiteX865" fmla="*/ 542413 w 1655446"/>
                    <a:gd name="connsiteY865" fmla="*/ 153353 h 1155218"/>
                    <a:gd name="connsiteX866" fmla="*/ 548776 w 1655446"/>
                    <a:gd name="connsiteY866" fmla="*/ 152017 h 1155218"/>
                    <a:gd name="connsiteX867" fmla="*/ 549468 w 1655446"/>
                    <a:gd name="connsiteY867" fmla="*/ 151520 h 1155218"/>
                    <a:gd name="connsiteX868" fmla="*/ 551350 w 1655446"/>
                    <a:gd name="connsiteY868" fmla="*/ 149212 h 1155218"/>
                    <a:gd name="connsiteX869" fmla="*/ 553560 w 1655446"/>
                    <a:gd name="connsiteY869" fmla="*/ 147500 h 1155218"/>
                    <a:gd name="connsiteX870" fmla="*/ 557689 w 1655446"/>
                    <a:gd name="connsiteY870" fmla="*/ 146104 h 1155218"/>
                    <a:gd name="connsiteX871" fmla="*/ 558381 w 1655446"/>
                    <a:gd name="connsiteY871" fmla="*/ 145096 h 1155218"/>
                    <a:gd name="connsiteX872" fmla="*/ 558988 w 1655446"/>
                    <a:gd name="connsiteY872" fmla="*/ 143408 h 1155218"/>
                    <a:gd name="connsiteX873" fmla="*/ 560846 w 1655446"/>
                    <a:gd name="connsiteY873" fmla="*/ 140397 h 1155218"/>
                    <a:gd name="connsiteX874" fmla="*/ 562983 w 1655446"/>
                    <a:gd name="connsiteY874" fmla="*/ 138964 h 1155218"/>
                    <a:gd name="connsiteX875" fmla="*/ 569042 w 1655446"/>
                    <a:gd name="connsiteY875" fmla="*/ 136171 h 1155218"/>
                    <a:gd name="connsiteX876" fmla="*/ 572102 w 1655446"/>
                    <a:gd name="connsiteY876" fmla="*/ 135454 h 1155218"/>
                    <a:gd name="connsiteX877" fmla="*/ 575357 w 1655446"/>
                    <a:gd name="connsiteY877" fmla="*/ 135843 h 1155218"/>
                    <a:gd name="connsiteX878" fmla="*/ 575672 w 1655446"/>
                    <a:gd name="connsiteY878" fmla="*/ 135624 h 1155218"/>
                    <a:gd name="connsiteX879" fmla="*/ 576267 w 1655446"/>
                    <a:gd name="connsiteY879" fmla="*/ 134556 h 1155218"/>
                    <a:gd name="connsiteX880" fmla="*/ 576304 w 1655446"/>
                    <a:gd name="connsiteY880" fmla="*/ 132406 h 1155218"/>
                    <a:gd name="connsiteX881" fmla="*/ 577324 w 1655446"/>
                    <a:gd name="connsiteY881" fmla="*/ 129480 h 1155218"/>
                    <a:gd name="connsiteX882" fmla="*/ 583480 w 1655446"/>
                    <a:gd name="connsiteY882" fmla="*/ 125206 h 1155218"/>
                    <a:gd name="connsiteX883" fmla="*/ 589491 w 1655446"/>
                    <a:gd name="connsiteY883" fmla="*/ 124781 h 1155218"/>
                    <a:gd name="connsiteX884" fmla="*/ 595356 w 1655446"/>
                    <a:gd name="connsiteY884" fmla="*/ 125242 h 1155218"/>
                    <a:gd name="connsiteX885" fmla="*/ 598902 w 1655446"/>
                    <a:gd name="connsiteY885" fmla="*/ 124562 h 1155218"/>
                    <a:gd name="connsiteX886" fmla="*/ 602059 w 1655446"/>
                    <a:gd name="connsiteY886" fmla="*/ 121150 h 1155218"/>
                    <a:gd name="connsiteX887" fmla="*/ 607390 w 1655446"/>
                    <a:gd name="connsiteY887" fmla="*/ 118102 h 1155218"/>
                    <a:gd name="connsiteX888" fmla="*/ 609065 w 1655446"/>
                    <a:gd name="connsiteY888" fmla="*/ 116512 h 1155218"/>
                    <a:gd name="connsiteX889" fmla="*/ 612065 w 1655446"/>
                    <a:gd name="connsiteY889" fmla="*/ 114374 h 1155218"/>
                    <a:gd name="connsiteX890" fmla="*/ 613158 w 1655446"/>
                    <a:gd name="connsiteY890" fmla="*/ 113403 h 1155218"/>
                    <a:gd name="connsiteX891" fmla="*/ 613886 w 1655446"/>
                    <a:gd name="connsiteY891" fmla="*/ 112249 h 1155218"/>
                    <a:gd name="connsiteX892" fmla="*/ 614858 w 1655446"/>
                    <a:gd name="connsiteY892" fmla="*/ 109638 h 1155218"/>
                    <a:gd name="connsiteX893" fmla="*/ 615623 w 1655446"/>
                    <a:gd name="connsiteY893" fmla="*/ 108060 h 1155218"/>
                    <a:gd name="connsiteX894" fmla="*/ 619399 w 1655446"/>
                    <a:gd name="connsiteY894" fmla="*/ 103324 h 1155218"/>
                    <a:gd name="connsiteX895" fmla="*/ 622241 w 1655446"/>
                    <a:gd name="connsiteY895" fmla="*/ 101017 h 1155218"/>
                    <a:gd name="connsiteX896" fmla="*/ 625847 w 1655446"/>
                    <a:gd name="connsiteY896" fmla="*/ 99742 h 1155218"/>
                    <a:gd name="connsiteX897" fmla="*/ 632550 w 1655446"/>
                    <a:gd name="connsiteY897" fmla="*/ 99766 h 1155218"/>
                    <a:gd name="connsiteX898" fmla="*/ 634772 w 1655446"/>
                    <a:gd name="connsiteY898" fmla="*/ 99366 h 1155218"/>
                    <a:gd name="connsiteX899" fmla="*/ 636205 w 1655446"/>
                    <a:gd name="connsiteY899" fmla="*/ 98467 h 1155218"/>
                    <a:gd name="connsiteX900" fmla="*/ 638245 w 1655446"/>
                    <a:gd name="connsiteY900" fmla="*/ 97423 h 1155218"/>
                    <a:gd name="connsiteX901" fmla="*/ 639144 w 1655446"/>
                    <a:gd name="connsiteY901" fmla="*/ 98382 h 1155218"/>
                    <a:gd name="connsiteX902" fmla="*/ 638913 w 1655446"/>
                    <a:gd name="connsiteY902" fmla="*/ 94642 h 1155218"/>
                    <a:gd name="connsiteX903" fmla="*/ 642216 w 1655446"/>
                    <a:gd name="connsiteY903" fmla="*/ 90198 h 1155218"/>
                    <a:gd name="connsiteX904" fmla="*/ 646660 w 1655446"/>
                    <a:gd name="connsiteY904" fmla="*/ 89238 h 1155218"/>
                    <a:gd name="connsiteX905" fmla="*/ 654529 w 1655446"/>
                    <a:gd name="connsiteY905" fmla="*/ 90137 h 1155218"/>
                    <a:gd name="connsiteX906" fmla="*/ 656581 w 1655446"/>
                    <a:gd name="connsiteY906" fmla="*/ 89421 h 1155218"/>
                    <a:gd name="connsiteX907" fmla="*/ 657710 w 1655446"/>
                    <a:gd name="connsiteY907" fmla="*/ 88061 h 1155218"/>
                    <a:gd name="connsiteX908" fmla="*/ 665652 w 1655446"/>
                    <a:gd name="connsiteY908" fmla="*/ 83398 h 1155218"/>
                    <a:gd name="connsiteX909" fmla="*/ 675014 w 1655446"/>
                    <a:gd name="connsiteY909" fmla="*/ 76440 h 1155218"/>
                    <a:gd name="connsiteX910" fmla="*/ 678317 w 1655446"/>
                    <a:gd name="connsiteY910" fmla="*/ 74995 h 1155218"/>
                    <a:gd name="connsiteX911" fmla="*/ 681765 w 1655446"/>
                    <a:gd name="connsiteY911" fmla="*/ 74388 h 1155218"/>
                    <a:gd name="connsiteX912" fmla="*/ 687982 w 1655446"/>
                    <a:gd name="connsiteY912" fmla="*/ 72578 h 1155218"/>
                    <a:gd name="connsiteX913" fmla="*/ 691953 w 1655446"/>
                    <a:gd name="connsiteY913" fmla="*/ 72056 h 1155218"/>
                    <a:gd name="connsiteX914" fmla="*/ 693763 w 1655446"/>
                    <a:gd name="connsiteY914" fmla="*/ 71534 h 1155218"/>
                    <a:gd name="connsiteX915" fmla="*/ 695438 w 1655446"/>
                    <a:gd name="connsiteY915" fmla="*/ 70077 h 1155218"/>
                    <a:gd name="connsiteX916" fmla="*/ 698692 w 1655446"/>
                    <a:gd name="connsiteY916" fmla="*/ 65766 h 1155218"/>
                    <a:gd name="connsiteX917" fmla="*/ 704752 w 1655446"/>
                    <a:gd name="connsiteY917" fmla="*/ 62949 h 1155218"/>
                    <a:gd name="connsiteX918" fmla="*/ 711916 w 1655446"/>
                    <a:gd name="connsiteY918" fmla="*/ 60666 h 1155218"/>
                    <a:gd name="connsiteX919" fmla="*/ 713458 w 1655446"/>
                    <a:gd name="connsiteY919" fmla="*/ 59330 h 1155218"/>
                    <a:gd name="connsiteX920" fmla="*/ 710750 w 1655446"/>
                    <a:gd name="connsiteY920" fmla="*/ 52385 h 1155218"/>
                    <a:gd name="connsiteX921" fmla="*/ 723440 w 1655446"/>
                    <a:gd name="connsiteY921" fmla="*/ 48560 h 1155218"/>
                    <a:gd name="connsiteX922" fmla="*/ 723986 w 1655446"/>
                    <a:gd name="connsiteY922" fmla="*/ 48159 h 1155218"/>
                    <a:gd name="connsiteX923" fmla="*/ 724630 w 1655446"/>
                    <a:gd name="connsiteY923" fmla="*/ 46993 h 1155218"/>
                    <a:gd name="connsiteX924" fmla="*/ 724873 w 1655446"/>
                    <a:gd name="connsiteY924" fmla="*/ 44455 h 1155218"/>
                    <a:gd name="connsiteX925" fmla="*/ 726245 w 1655446"/>
                    <a:gd name="connsiteY925" fmla="*/ 41772 h 1155218"/>
                    <a:gd name="connsiteX926" fmla="*/ 726658 w 1655446"/>
                    <a:gd name="connsiteY926" fmla="*/ 41080 h 1155218"/>
                    <a:gd name="connsiteX927" fmla="*/ 728965 w 1655446"/>
                    <a:gd name="connsiteY927" fmla="*/ 39792 h 1155218"/>
                    <a:gd name="connsiteX928" fmla="*/ 731916 w 1655446"/>
                    <a:gd name="connsiteY928" fmla="*/ 39100 h 1155218"/>
                    <a:gd name="connsiteX929" fmla="*/ 735862 w 1655446"/>
                    <a:gd name="connsiteY929" fmla="*/ 38930 h 1155218"/>
                    <a:gd name="connsiteX930" fmla="*/ 738691 w 1655446"/>
                    <a:gd name="connsiteY930" fmla="*/ 38323 h 1155218"/>
                    <a:gd name="connsiteX931" fmla="*/ 743184 w 1655446"/>
                    <a:gd name="connsiteY931" fmla="*/ 35712 h 1155218"/>
                    <a:gd name="connsiteX932" fmla="*/ 748175 w 1655446"/>
                    <a:gd name="connsiteY932" fmla="*/ 33648 h 1155218"/>
                    <a:gd name="connsiteX933" fmla="*/ 751551 w 1655446"/>
                    <a:gd name="connsiteY933" fmla="*/ 32919 h 1155218"/>
                    <a:gd name="connsiteX934" fmla="*/ 754198 w 1655446"/>
                    <a:gd name="connsiteY934" fmla="*/ 34352 h 1155218"/>
                    <a:gd name="connsiteX935" fmla="*/ 756068 w 1655446"/>
                    <a:gd name="connsiteY935" fmla="*/ 35858 h 1155218"/>
                    <a:gd name="connsiteX936" fmla="*/ 757015 w 1655446"/>
                    <a:gd name="connsiteY936" fmla="*/ 36077 h 1155218"/>
                    <a:gd name="connsiteX937" fmla="*/ 758326 w 1655446"/>
                    <a:gd name="connsiteY937" fmla="*/ 36222 h 1155218"/>
                    <a:gd name="connsiteX938" fmla="*/ 759796 w 1655446"/>
                    <a:gd name="connsiteY938" fmla="*/ 36174 h 1155218"/>
                    <a:gd name="connsiteX939" fmla="*/ 761605 w 1655446"/>
                    <a:gd name="connsiteY939" fmla="*/ 35894 h 1155218"/>
                    <a:gd name="connsiteX940" fmla="*/ 761581 w 1655446"/>
                    <a:gd name="connsiteY940" fmla="*/ 34972 h 1155218"/>
                    <a:gd name="connsiteX941" fmla="*/ 762042 w 1655446"/>
                    <a:gd name="connsiteY941" fmla="*/ 30637 h 1155218"/>
                    <a:gd name="connsiteX942" fmla="*/ 762734 w 1655446"/>
                    <a:gd name="connsiteY942" fmla="*/ 28512 h 1155218"/>
                    <a:gd name="connsiteX943" fmla="*/ 764422 w 1655446"/>
                    <a:gd name="connsiteY943" fmla="*/ 25573 h 1155218"/>
                    <a:gd name="connsiteX944" fmla="*/ 764398 w 1655446"/>
                    <a:gd name="connsiteY944" fmla="*/ 24529 h 1155218"/>
                    <a:gd name="connsiteX945" fmla="*/ 763451 w 1655446"/>
                    <a:gd name="connsiteY945" fmla="*/ 22003 h 1155218"/>
                    <a:gd name="connsiteX946" fmla="*/ 762989 w 1655446"/>
                    <a:gd name="connsiteY946" fmla="*/ 18591 h 1155218"/>
                    <a:gd name="connsiteX947" fmla="*/ 765819 w 1655446"/>
                    <a:gd name="connsiteY947" fmla="*/ 12981 h 1155218"/>
                    <a:gd name="connsiteX948" fmla="*/ 771283 w 1655446"/>
                    <a:gd name="connsiteY948" fmla="*/ 13114 h 1155218"/>
                    <a:gd name="connsiteX949" fmla="*/ 776638 w 1655446"/>
                    <a:gd name="connsiteY949" fmla="*/ 15069 h 1155218"/>
                    <a:gd name="connsiteX950" fmla="*/ 776772 w 1655446"/>
                    <a:gd name="connsiteY950" fmla="*/ 14972 h 1155218"/>
                    <a:gd name="connsiteX951" fmla="*/ 777913 w 1655446"/>
                    <a:gd name="connsiteY951" fmla="*/ 6363 h 1155218"/>
                    <a:gd name="connsiteX952" fmla="*/ 782892 w 1655446"/>
                    <a:gd name="connsiteY952" fmla="*/ 8330 h 1155218"/>
                    <a:gd name="connsiteX953" fmla="*/ 785126 w 1655446"/>
                    <a:gd name="connsiteY953" fmla="*/ 7480 h 1155218"/>
                    <a:gd name="connsiteX954" fmla="*/ 789765 w 1655446"/>
                    <a:gd name="connsiteY954" fmla="*/ 7225 h 1155218"/>
                    <a:gd name="connsiteX955" fmla="*/ 793432 w 1655446"/>
                    <a:gd name="connsiteY955" fmla="*/ 8160 h 1155218"/>
                    <a:gd name="connsiteX956" fmla="*/ 794901 w 1655446"/>
                    <a:gd name="connsiteY956" fmla="*/ 8330 h 1155218"/>
                    <a:gd name="connsiteX957" fmla="*/ 797123 w 1655446"/>
                    <a:gd name="connsiteY957" fmla="*/ 4578 h 1155218"/>
                    <a:gd name="connsiteX958" fmla="*/ 799200 w 1655446"/>
                    <a:gd name="connsiteY958" fmla="*/ 2465 h 1155218"/>
                    <a:gd name="connsiteX959" fmla="*/ 801276 w 1655446"/>
                    <a:gd name="connsiteY959" fmla="*/ 1093 h 1155218"/>
                    <a:gd name="connsiteX960" fmla="*/ 809460 w 1655446"/>
                    <a:gd name="connsiteY960" fmla="*/ 0 h 1155218"/>
                    <a:gd name="connsiteX961" fmla="*/ 814658 w 1655446"/>
                    <a:gd name="connsiteY961" fmla="*/ 267 h 1155218"/>
                    <a:gd name="connsiteX962" fmla="*/ 820523 w 1655446"/>
                    <a:gd name="connsiteY962" fmla="*/ 2368 h 1155218"/>
                    <a:gd name="connsiteX963" fmla="*/ 822963 w 1655446"/>
                    <a:gd name="connsiteY963" fmla="*/ 7067 h 1155218"/>
                    <a:gd name="connsiteX964" fmla="*/ 823740 w 1655446"/>
                    <a:gd name="connsiteY964" fmla="*/ 7274 h 1155218"/>
                    <a:gd name="connsiteX965" fmla="*/ 827104 w 1655446"/>
                    <a:gd name="connsiteY965" fmla="*/ 7031 h 1155218"/>
                    <a:gd name="connsiteX966" fmla="*/ 830698 w 1655446"/>
                    <a:gd name="connsiteY966" fmla="*/ 7832 h 1155218"/>
                    <a:gd name="connsiteX967" fmla="*/ 832301 w 1655446"/>
                    <a:gd name="connsiteY967" fmla="*/ 9775 h 1155218"/>
                    <a:gd name="connsiteX968" fmla="*/ 833503 w 1655446"/>
                    <a:gd name="connsiteY968" fmla="*/ 11791 h 1155218"/>
                    <a:gd name="connsiteX969" fmla="*/ 834681 w 1655446"/>
                    <a:gd name="connsiteY969" fmla="*/ 13090 h 1155218"/>
                    <a:gd name="connsiteX970" fmla="*/ 836697 w 1655446"/>
                    <a:gd name="connsiteY970" fmla="*/ 13977 h 1155218"/>
                    <a:gd name="connsiteX971" fmla="*/ 842538 w 1655446"/>
                    <a:gd name="connsiteY971" fmla="*/ 14438 h 1155218"/>
                    <a:gd name="connsiteX972" fmla="*/ 846666 w 1655446"/>
                    <a:gd name="connsiteY972" fmla="*/ 15531 h 1155218"/>
                    <a:gd name="connsiteX973" fmla="*/ 855895 w 1655446"/>
                    <a:gd name="connsiteY973" fmla="*/ 20813 h 1155218"/>
                    <a:gd name="connsiteX974" fmla="*/ 858566 w 1655446"/>
                    <a:gd name="connsiteY974" fmla="*/ 20922 h 1155218"/>
                    <a:gd name="connsiteX975" fmla="*/ 859429 w 1655446"/>
                    <a:gd name="connsiteY975" fmla="*/ 20097 h 1155218"/>
                    <a:gd name="connsiteX976" fmla="*/ 859939 w 1655446"/>
                    <a:gd name="connsiteY976" fmla="*/ 19198 h 1155218"/>
                    <a:gd name="connsiteX977" fmla="*/ 862088 w 1655446"/>
                    <a:gd name="connsiteY977" fmla="*/ 17389 h 1155218"/>
                    <a:gd name="connsiteX978" fmla="*/ 862744 w 1655446"/>
                    <a:gd name="connsiteY978" fmla="*/ 16903 h 1155218"/>
                    <a:gd name="connsiteX979" fmla="*/ 865124 w 1655446"/>
                    <a:gd name="connsiteY979" fmla="*/ 16636 h 1155218"/>
                    <a:gd name="connsiteX980" fmla="*/ 869519 w 1655446"/>
                    <a:gd name="connsiteY980" fmla="*/ 17073 h 1155218"/>
                    <a:gd name="connsiteX981" fmla="*/ 870539 w 1655446"/>
                    <a:gd name="connsiteY981" fmla="*/ 16915 h 1155218"/>
                    <a:gd name="connsiteX982" fmla="*/ 877764 w 1655446"/>
                    <a:gd name="connsiteY982" fmla="*/ 12519 h 1155218"/>
                    <a:gd name="connsiteX983" fmla="*/ 883520 w 1655446"/>
                    <a:gd name="connsiteY983" fmla="*/ 12131 h 1155218"/>
                    <a:gd name="connsiteX984" fmla="*/ 885305 w 1655446"/>
                    <a:gd name="connsiteY984" fmla="*/ 15166 h 1155218"/>
                    <a:gd name="connsiteX985" fmla="*/ 888511 w 1655446"/>
                    <a:gd name="connsiteY985" fmla="*/ 14001 h 1155218"/>
                    <a:gd name="connsiteX986" fmla="*/ 892737 w 1655446"/>
                    <a:gd name="connsiteY986" fmla="*/ 15689 h 1155218"/>
                    <a:gd name="connsiteX987" fmla="*/ 893732 w 1655446"/>
                    <a:gd name="connsiteY987" fmla="*/ 19417 h 1155218"/>
                    <a:gd name="connsiteX988" fmla="*/ 895287 w 1655446"/>
                    <a:gd name="connsiteY988" fmla="*/ 19319 h 1155218"/>
                    <a:gd name="connsiteX989" fmla="*/ 898602 w 1655446"/>
                    <a:gd name="connsiteY989" fmla="*/ 19841 h 1155218"/>
                    <a:gd name="connsiteX990" fmla="*/ 902888 w 1655446"/>
                    <a:gd name="connsiteY990" fmla="*/ 23266 h 1155218"/>
                    <a:gd name="connsiteX991" fmla="*/ 909033 w 1655446"/>
                    <a:gd name="connsiteY991" fmla="*/ 30916 h 1155218"/>
                    <a:gd name="connsiteX992" fmla="*/ 911060 w 1655446"/>
                    <a:gd name="connsiteY992" fmla="*/ 31972 h 1155218"/>
                    <a:gd name="connsiteX993" fmla="*/ 912663 w 1655446"/>
                    <a:gd name="connsiteY993" fmla="*/ 32069 h 1155218"/>
                    <a:gd name="connsiteX994" fmla="*/ 917690 w 1655446"/>
                    <a:gd name="connsiteY994" fmla="*/ 30637 h 1155218"/>
                    <a:gd name="connsiteX995" fmla="*/ 921163 w 1655446"/>
                    <a:gd name="connsiteY995" fmla="*/ 30600 h 1155218"/>
                    <a:gd name="connsiteX996" fmla="*/ 924090 w 1655446"/>
                    <a:gd name="connsiteY996" fmla="*/ 31256 h 1155218"/>
                    <a:gd name="connsiteX997" fmla="*/ 927016 w 1655446"/>
                    <a:gd name="connsiteY997" fmla="*/ 35008 h 1155218"/>
                    <a:gd name="connsiteX998" fmla="*/ 927490 w 1655446"/>
                    <a:gd name="connsiteY998" fmla="*/ 37182 h 1155218"/>
                    <a:gd name="connsiteX999" fmla="*/ 927538 w 1655446"/>
                    <a:gd name="connsiteY999" fmla="*/ 38954 h 1155218"/>
                    <a:gd name="connsiteX1000" fmla="*/ 927745 w 1655446"/>
                    <a:gd name="connsiteY1000" fmla="*/ 40193 h 1155218"/>
                    <a:gd name="connsiteX1001" fmla="*/ 927684 w 1655446"/>
                    <a:gd name="connsiteY1001" fmla="*/ 41735 h 1155218"/>
                    <a:gd name="connsiteX1002" fmla="*/ 928995 w 1655446"/>
                    <a:gd name="connsiteY1002" fmla="*/ 47576 h 1155218"/>
                    <a:gd name="connsiteX1003" fmla="*/ 931594 w 1655446"/>
                    <a:gd name="connsiteY1003" fmla="*/ 55007 h 1155218"/>
                    <a:gd name="connsiteX1004" fmla="*/ 934108 w 1655446"/>
                    <a:gd name="connsiteY1004" fmla="*/ 59622 h 1155218"/>
                    <a:gd name="connsiteX1005" fmla="*/ 944053 w 1655446"/>
                    <a:gd name="connsiteY1005" fmla="*/ 74254 h 1155218"/>
                    <a:gd name="connsiteX1006" fmla="*/ 946761 w 1655446"/>
                    <a:gd name="connsiteY1006" fmla="*/ 80763 h 1155218"/>
                    <a:gd name="connsiteX1007" fmla="*/ 948424 w 1655446"/>
                    <a:gd name="connsiteY1007" fmla="*/ 86579 h 1155218"/>
                    <a:gd name="connsiteX1008" fmla="*/ 949043 w 1655446"/>
                    <a:gd name="connsiteY1008" fmla="*/ 93003 h 1155218"/>
                    <a:gd name="connsiteX1009" fmla="*/ 947028 w 1655446"/>
                    <a:gd name="connsiteY1009" fmla="*/ 99851 h 1155218"/>
                    <a:gd name="connsiteX1010" fmla="*/ 947926 w 1655446"/>
                    <a:gd name="connsiteY1010" fmla="*/ 100847 h 1155218"/>
                    <a:gd name="connsiteX1011" fmla="*/ 949311 w 1655446"/>
                    <a:gd name="connsiteY1011" fmla="*/ 101879 h 1155218"/>
                    <a:gd name="connsiteX1012" fmla="*/ 950015 w 1655446"/>
                    <a:gd name="connsiteY1012" fmla="*/ 102681 h 1155218"/>
                    <a:gd name="connsiteX1013" fmla="*/ 950707 w 1655446"/>
                    <a:gd name="connsiteY1013" fmla="*/ 104453 h 1155218"/>
                    <a:gd name="connsiteX1014" fmla="*/ 950743 w 1655446"/>
                    <a:gd name="connsiteY1014" fmla="*/ 105133 h 1155218"/>
                    <a:gd name="connsiteX1015" fmla="*/ 950537 w 1655446"/>
                    <a:gd name="connsiteY1015" fmla="*/ 106918 h 1155218"/>
                    <a:gd name="connsiteX1016" fmla="*/ 950015 w 1655446"/>
                    <a:gd name="connsiteY1016" fmla="*/ 108181 h 1155218"/>
                    <a:gd name="connsiteX1017" fmla="*/ 945656 w 1655446"/>
                    <a:gd name="connsiteY1017" fmla="*/ 115261 h 1155218"/>
                    <a:gd name="connsiteX1018" fmla="*/ 943931 w 1655446"/>
                    <a:gd name="connsiteY1018" fmla="*/ 117398 h 1155218"/>
                    <a:gd name="connsiteX1019" fmla="*/ 941855 w 1655446"/>
                    <a:gd name="connsiteY1019" fmla="*/ 119244 h 1155218"/>
                    <a:gd name="connsiteX1020" fmla="*/ 939026 w 1655446"/>
                    <a:gd name="connsiteY1020" fmla="*/ 120628 h 1155218"/>
                    <a:gd name="connsiteX1021" fmla="*/ 933233 w 1655446"/>
                    <a:gd name="connsiteY1021" fmla="*/ 121891 h 1155218"/>
                    <a:gd name="connsiteX1022" fmla="*/ 931728 w 1655446"/>
                    <a:gd name="connsiteY1022" fmla="*/ 122352 h 1155218"/>
                    <a:gd name="connsiteX1023" fmla="*/ 930538 w 1655446"/>
                    <a:gd name="connsiteY1023" fmla="*/ 122874 h 1155218"/>
                    <a:gd name="connsiteX1024" fmla="*/ 929736 w 1655446"/>
                    <a:gd name="connsiteY1024" fmla="*/ 123542 h 1155218"/>
                    <a:gd name="connsiteX1025" fmla="*/ 927429 w 1655446"/>
                    <a:gd name="connsiteY1025" fmla="*/ 125655 h 1155218"/>
                    <a:gd name="connsiteX1026" fmla="*/ 927162 w 1655446"/>
                    <a:gd name="connsiteY1026" fmla="*/ 127464 h 1155218"/>
                    <a:gd name="connsiteX1027" fmla="*/ 927696 w 1655446"/>
                    <a:gd name="connsiteY1027" fmla="*/ 129104 h 1155218"/>
                    <a:gd name="connsiteX1028" fmla="*/ 928522 w 1655446"/>
                    <a:gd name="connsiteY1028" fmla="*/ 130488 h 1155218"/>
                    <a:gd name="connsiteX1029" fmla="*/ 930817 w 1655446"/>
                    <a:gd name="connsiteY1029" fmla="*/ 133864 h 1155218"/>
                    <a:gd name="connsiteX1030" fmla="*/ 931218 w 1655446"/>
                    <a:gd name="connsiteY1030" fmla="*/ 136572 h 1155218"/>
                    <a:gd name="connsiteX1031" fmla="*/ 930198 w 1655446"/>
                    <a:gd name="connsiteY1031" fmla="*/ 139170 h 1155218"/>
                    <a:gd name="connsiteX1032" fmla="*/ 928012 w 1655446"/>
                    <a:gd name="connsiteY1032" fmla="*/ 141174 h 1155218"/>
                    <a:gd name="connsiteX1033" fmla="*/ 924308 w 1655446"/>
                    <a:gd name="connsiteY1033" fmla="*/ 142752 h 1155218"/>
                    <a:gd name="connsiteX1034" fmla="*/ 924163 w 1655446"/>
                    <a:gd name="connsiteY1034" fmla="*/ 142898 h 1155218"/>
                    <a:gd name="connsiteX1035" fmla="*/ 923798 w 1655446"/>
                    <a:gd name="connsiteY1035" fmla="*/ 144027 h 1155218"/>
                    <a:gd name="connsiteX1036" fmla="*/ 924235 w 1655446"/>
                    <a:gd name="connsiteY1036" fmla="*/ 146650 h 1155218"/>
                    <a:gd name="connsiteX1037" fmla="*/ 924952 w 1655446"/>
                    <a:gd name="connsiteY1037" fmla="*/ 148083 h 1155218"/>
                    <a:gd name="connsiteX1038" fmla="*/ 925887 w 1655446"/>
                    <a:gd name="connsiteY1038" fmla="*/ 148884 h 1155218"/>
                    <a:gd name="connsiteX1039" fmla="*/ 928267 w 1655446"/>
                    <a:gd name="connsiteY1039" fmla="*/ 150208 h 1155218"/>
                    <a:gd name="connsiteX1040" fmla="*/ 929882 w 1655446"/>
                    <a:gd name="connsiteY1040" fmla="*/ 151811 h 1155218"/>
                    <a:gd name="connsiteX1041" fmla="*/ 930768 w 1655446"/>
                    <a:gd name="connsiteY1041" fmla="*/ 152807 h 1155218"/>
                    <a:gd name="connsiteX1042" fmla="*/ 930477 w 1655446"/>
                    <a:gd name="connsiteY1042" fmla="*/ 156085 h 1155218"/>
                    <a:gd name="connsiteX1043" fmla="*/ 928898 w 1655446"/>
                    <a:gd name="connsiteY1043" fmla="*/ 159619 h 1155218"/>
                    <a:gd name="connsiteX1044" fmla="*/ 922693 w 1655446"/>
                    <a:gd name="connsiteY1044" fmla="*/ 169017 h 1155218"/>
                    <a:gd name="connsiteX1045" fmla="*/ 919026 w 1655446"/>
                    <a:gd name="connsiteY1045" fmla="*/ 177165 h 1155218"/>
                    <a:gd name="connsiteX1046" fmla="*/ 918698 w 1655446"/>
                    <a:gd name="connsiteY1046" fmla="*/ 180553 h 1155218"/>
                    <a:gd name="connsiteX1047" fmla="*/ 917873 w 1655446"/>
                    <a:gd name="connsiteY1047" fmla="*/ 183128 h 1155218"/>
                    <a:gd name="connsiteX1048" fmla="*/ 916391 w 1655446"/>
                    <a:gd name="connsiteY1048" fmla="*/ 186103 h 1155218"/>
                    <a:gd name="connsiteX1049" fmla="*/ 907697 w 1655446"/>
                    <a:gd name="connsiteY1049" fmla="*/ 196752 h 1155218"/>
                    <a:gd name="connsiteX1050" fmla="*/ 906082 w 1655446"/>
                    <a:gd name="connsiteY1050" fmla="*/ 201718 h 1155218"/>
                    <a:gd name="connsiteX1051" fmla="*/ 902840 w 1655446"/>
                    <a:gd name="connsiteY1051" fmla="*/ 209502 h 1155218"/>
                    <a:gd name="connsiteX1052" fmla="*/ 899075 w 1655446"/>
                    <a:gd name="connsiteY1052" fmla="*/ 212914 h 1155218"/>
                    <a:gd name="connsiteX1053" fmla="*/ 895687 w 1655446"/>
                    <a:gd name="connsiteY1053" fmla="*/ 215355 h 1155218"/>
                    <a:gd name="connsiteX1054" fmla="*/ 892858 w 1655446"/>
                    <a:gd name="connsiteY1054" fmla="*/ 216933 h 1155218"/>
                    <a:gd name="connsiteX1055" fmla="*/ 890879 w 1655446"/>
                    <a:gd name="connsiteY1055" fmla="*/ 218391 h 1155218"/>
                    <a:gd name="connsiteX1056" fmla="*/ 889822 w 1655446"/>
                    <a:gd name="connsiteY1056" fmla="*/ 219945 h 1155218"/>
                    <a:gd name="connsiteX1057" fmla="*/ 889082 w 1655446"/>
                    <a:gd name="connsiteY1057" fmla="*/ 222276 h 1155218"/>
                    <a:gd name="connsiteX1058" fmla="*/ 888474 w 1655446"/>
                    <a:gd name="connsiteY1058" fmla="*/ 224681 h 1155218"/>
                    <a:gd name="connsiteX1059" fmla="*/ 888207 w 1655446"/>
                    <a:gd name="connsiteY1059" fmla="*/ 226478 h 1155218"/>
                    <a:gd name="connsiteX1060" fmla="*/ 888050 w 1655446"/>
                    <a:gd name="connsiteY1060" fmla="*/ 228287 h 1155218"/>
                    <a:gd name="connsiteX1061" fmla="*/ 888317 w 1655446"/>
                    <a:gd name="connsiteY1061" fmla="*/ 229526 h 1155218"/>
                    <a:gd name="connsiteX1062" fmla="*/ 888839 w 1655446"/>
                    <a:gd name="connsiteY1062" fmla="*/ 230959 h 1155218"/>
                    <a:gd name="connsiteX1063" fmla="*/ 891085 w 1655446"/>
                    <a:gd name="connsiteY1063" fmla="*/ 234990 h 1155218"/>
                    <a:gd name="connsiteX1064" fmla="*/ 892166 w 1655446"/>
                    <a:gd name="connsiteY1064" fmla="*/ 237747 h 1155218"/>
                    <a:gd name="connsiteX1065" fmla="*/ 892931 w 1655446"/>
                    <a:gd name="connsiteY1065" fmla="*/ 240369 h 1155218"/>
                    <a:gd name="connsiteX1066" fmla="*/ 893222 w 1655446"/>
                    <a:gd name="connsiteY1066" fmla="*/ 242761 h 1155218"/>
                    <a:gd name="connsiteX1067" fmla="*/ 893234 w 1655446"/>
                    <a:gd name="connsiteY1067" fmla="*/ 244789 h 1155218"/>
                    <a:gd name="connsiteX1068" fmla="*/ 892882 w 1655446"/>
                    <a:gd name="connsiteY1068" fmla="*/ 246222 h 1155218"/>
                    <a:gd name="connsiteX1069" fmla="*/ 892263 w 1655446"/>
                    <a:gd name="connsiteY1069" fmla="*/ 247837 h 1155218"/>
                    <a:gd name="connsiteX1070" fmla="*/ 891049 w 1655446"/>
                    <a:gd name="connsiteY1070" fmla="*/ 249817 h 1155218"/>
                    <a:gd name="connsiteX1071" fmla="*/ 884115 w 1655446"/>
                    <a:gd name="connsiteY1071" fmla="*/ 253569 h 1155218"/>
                    <a:gd name="connsiteX1072" fmla="*/ 864832 w 1655446"/>
                    <a:gd name="connsiteY1072" fmla="*/ 257540 h 1155218"/>
                    <a:gd name="connsiteX1073" fmla="*/ 859441 w 1655446"/>
                    <a:gd name="connsiteY1073" fmla="*/ 260672 h 1155218"/>
                    <a:gd name="connsiteX1074" fmla="*/ 857874 w 1655446"/>
                    <a:gd name="connsiteY1074" fmla="*/ 261984 h 1155218"/>
                    <a:gd name="connsiteX1075" fmla="*/ 854887 w 1655446"/>
                    <a:gd name="connsiteY1075" fmla="*/ 263672 h 1155218"/>
                    <a:gd name="connsiteX1076" fmla="*/ 851876 w 1655446"/>
                    <a:gd name="connsiteY1076" fmla="*/ 264522 h 1155218"/>
                    <a:gd name="connsiteX1077" fmla="*/ 847371 w 1655446"/>
                    <a:gd name="connsiteY1077" fmla="*/ 264558 h 1155218"/>
                    <a:gd name="connsiteX1078" fmla="*/ 841117 w 1655446"/>
                    <a:gd name="connsiteY1078" fmla="*/ 263441 h 1155218"/>
                    <a:gd name="connsiteX1079" fmla="*/ 839162 w 1655446"/>
                    <a:gd name="connsiteY1079" fmla="*/ 263599 h 1155218"/>
                    <a:gd name="connsiteX1080" fmla="*/ 835519 w 1655446"/>
                    <a:gd name="connsiteY1080" fmla="*/ 264169 h 1155218"/>
                    <a:gd name="connsiteX1081" fmla="*/ 819758 w 1655446"/>
                    <a:gd name="connsiteY1081" fmla="*/ 268298 h 1155218"/>
                    <a:gd name="connsiteX1082" fmla="*/ 818422 w 1655446"/>
                    <a:gd name="connsiteY1082" fmla="*/ 269634 h 1155218"/>
                    <a:gd name="connsiteX1083" fmla="*/ 816576 w 1655446"/>
                    <a:gd name="connsiteY1083" fmla="*/ 280040 h 1155218"/>
                    <a:gd name="connsiteX1084" fmla="*/ 813067 w 1655446"/>
                    <a:gd name="connsiteY1084" fmla="*/ 284934 h 1155218"/>
                    <a:gd name="connsiteX1085" fmla="*/ 799746 w 1655446"/>
                    <a:gd name="connsiteY1085" fmla="*/ 296118 h 1155218"/>
                    <a:gd name="connsiteX1086" fmla="*/ 798872 w 1655446"/>
                    <a:gd name="connsiteY1086" fmla="*/ 297174 h 1155218"/>
                    <a:gd name="connsiteX1087" fmla="*/ 798945 w 1655446"/>
                    <a:gd name="connsiteY1087" fmla="*/ 298255 h 1155218"/>
                    <a:gd name="connsiteX1088" fmla="*/ 799612 w 1655446"/>
                    <a:gd name="connsiteY1088" fmla="*/ 299700 h 1155218"/>
                    <a:gd name="connsiteX1089" fmla="*/ 802211 w 1655446"/>
                    <a:gd name="connsiteY1089" fmla="*/ 303088 h 1155218"/>
                    <a:gd name="connsiteX1090" fmla="*/ 804166 w 1655446"/>
                    <a:gd name="connsiteY1090" fmla="*/ 305055 h 1155218"/>
                    <a:gd name="connsiteX1091" fmla="*/ 806947 w 1655446"/>
                    <a:gd name="connsiteY1091" fmla="*/ 308722 h 1155218"/>
                    <a:gd name="connsiteX1092" fmla="*/ 816734 w 1655446"/>
                    <a:gd name="connsiteY1092" fmla="*/ 329146 h 1155218"/>
                    <a:gd name="connsiteX1093" fmla="*/ 818847 w 1655446"/>
                    <a:gd name="connsiteY1093" fmla="*/ 332376 h 1155218"/>
                    <a:gd name="connsiteX1094" fmla="*/ 820000 w 1655446"/>
                    <a:gd name="connsiteY1094" fmla="*/ 335886 h 1155218"/>
                    <a:gd name="connsiteX1095" fmla="*/ 820401 w 1655446"/>
                    <a:gd name="connsiteY1095" fmla="*/ 338472 h 1155218"/>
                    <a:gd name="connsiteX1096" fmla="*/ 819066 w 1655446"/>
                    <a:gd name="connsiteY1096" fmla="*/ 344993 h 1155218"/>
                    <a:gd name="connsiteX1097" fmla="*/ 816018 w 1655446"/>
                    <a:gd name="connsiteY1097" fmla="*/ 349911 h 1155218"/>
                    <a:gd name="connsiteX1098" fmla="*/ 815702 w 1655446"/>
                    <a:gd name="connsiteY1098" fmla="*/ 351016 h 1155218"/>
                    <a:gd name="connsiteX1099" fmla="*/ 815192 w 1655446"/>
                    <a:gd name="connsiteY1099" fmla="*/ 353736 h 1155218"/>
                    <a:gd name="connsiteX1100" fmla="*/ 814439 w 1655446"/>
                    <a:gd name="connsiteY1100" fmla="*/ 359625 h 1155218"/>
                    <a:gd name="connsiteX1101" fmla="*/ 813674 w 1655446"/>
                    <a:gd name="connsiteY1101" fmla="*/ 360682 h 1155218"/>
                    <a:gd name="connsiteX1102" fmla="*/ 813650 w 1655446"/>
                    <a:gd name="connsiteY1102" fmla="*/ 362127 h 1155218"/>
                    <a:gd name="connsiteX1103" fmla="*/ 815702 w 1655446"/>
                    <a:gd name="connsiteY1103" fmla="*/ 366437 h 1155218"/>
                    <a:gd name="connsiteX1104" fmla="*/ 814815 w 1655446"/>
                    <a:gd name="connsiteY1104" fmla="*/ 371938 h 1155218"/>
                    <a:gd name="connsiteX1105" fmla="*/ 812314 w 1655446"/>
                    <a:gd name="connsiteY1105" fmla="*/ 377026 h 1155218"/>
                    <a:gd name="connsiteX1106" fmla="*/ 809740 w 1655446"/>
                    <a:gd name="connsiteY1106" fmla="*/ 380377 h 1155218"/>
                    <a:gd name="connsiteX1107" fmla="*/ 798981 w 1655446"/>
                    <a:gd name="connsiteY1107" fmla="*/ 390201 h 1155218"/>
                    <a:gd name="connsiteX1108" fmla="*/ 792400 w 1655446"/>
                    <a:gd name="connsiteY1108" fmla="*/ 393480 h 1155218"/>
                    <a:gd name="connsiteX1109" fmla="*/ 784422 w 1655446"/>
                    <a:gd name="connsiteY1109" fmla="*/ 399879 h 1155218"/>
                    <a:gd name="connsiteX1110" fmla="*/ 783450 w 1655446"/>
                    <a:gd name="connsiteY1110" fmla="*/ 401360 h 1155218"/>
                    <a:gd name="connsiteX1111" fmla="*/ 783450 w 1655446"/>
                    <a:gd name="connsiteY1111" fmla="*/ 402891 h 1155218"/>
                    <a:gd name="connsiteX1112" fmla="*/ 783559 w 1655446"/>
                    <a:gd name="connsiteY1112" fmla="*/ 403085 h 1155218"/>
                    <a:gd name="connsiteX1113" fmla="*/ 784422 w 1655446"/>
                    <a:gd name="connsiteY1113" fmla="*/ 403947 h 1155218"/>
                    <a:gd name="connsiteX1114" fmla="*/ 786364 w 1655446"/>
                    <a:gd name="connsiteY1114" fmla="*/ 404530 h 1155218"/>
                    <a:gd name="connsiteX1115" fmla="*/ 787797 w 1655446"/>
                    <a:gd name="connsiteY1115" fmla="*/ 405756 h 1155218"/>
                    <a:gd name="connsiteX1116" fmla="*/ 793820 w 1655446"/>
                    <a:gd name="connsiteY1116" fmla="*/ 416175 h 1155218"/>
                    <a:gd name="connsiteX1117" fmla="*/ 794282 w 1655446"/>
                    <a:gd name="connsiteY1117" fmla="*/ 420971 h 1155218"/>
                    <a:gd name="connsiteX1118" fmla="*/ 794294 w 1655446"/>
                    <a:gd name="connsiteY1118" fmla="*/ 425367 h 1155218"/>
                    <a:gd name="connsiteX1119" fmla="*/ 794925 w 1655446"/>
                    <a:gd name="connsiteY1119" fmla="*/ 428451 h 1155218"/>
                    <a:gd name="connsiteX1120" fmla="*/ 796443 w 1655446"/>
                    <a:gd name="connsiteY1120" fmla="*/ 430419 h 1155218"/>
                    <a:gd name="connsiteX1121" fmla="*/ 798277 w 1655446"/>
                    <a:gd name="connsiteY1121" fmla="*/ 432374 h 1155218"/>
                    <a:gd name="connsiteX1122" fmla="*/ 800329 w 1655446"/>
                    <a:gd name="connsiteY1122" fmla="*/ 435834 h 1155218"/>
                    <a:gd name="connsiteX1123" fmla="*/ 801325 w 1655446"/>
                    <a:gd name="connsiteY1123" fmla="*/ 441626 h 1155218"/>
                    <a:gd name="connsiteX1124" fmla="*/ 801167 w 1655446"/>
                    <a:gd name="connsiteY1124" fmla="*/ 443691 h 1155218"/>
                    <a:gd name="connsiteX1125" fmla="*/ 800280 w 1655446"/>
                    <a:gd name="connsiteY1125" fmla="*/ 446654 h 1155218"/>
                    <a:gd name="connsiteX1126" fmla="*/ 800353 w 1655446"/>
                    <a:gd name="connsiteY1126" fmla="*/ 446799 h 1155218"/>
                    <a:gd name="connsiteX1127" fmla="*/ 801907 w 1655446"/>
                    <a:gd name="connsiteY1127" fmla="*/ 448414 h 1155218"/>
                    <a:gd name="connsiteX1128" fmla="*/ 802855 w 1655446"/>
                    <a:gd name="connsiteY1128" fmla="*/ 450333 h 1155218"/>
                    <a:gd name="connsiteX1129" fmla="*/ 802430 w 1655446"/>
                    <a:gd name="connsiteY1129" fmla="*/ 455421 h 1155218"/>
                    <a:gd name="connsiteX1130" fmla="*/ 801252 w 1655446"/>
                    <a:gd name="connsiteY1130" fmla="*/ 459877 h 1155218"/>
                    <a:gd name="connsiteX1131" fmla="*/ 799030 w 1655446"/>
                    <a:gd name="connsiteY1131" fmla="*/ 464200 h 1155218"/>
                    <a:gd name="connsiteX1132" fmla="*/ 794124 w 1655446"/>
                    <a:gd name="connsiteY1132" fmla="*/ 470891 h 1155218"/>
                    <a:gd name="connsiteX1133" fmla="*/ 796880 w 1655446"/>
                    <a:gd name="connsiteY1133" fmla="*/ 475797 h 1155218"/>
                    <a:gd name="connsiteX1134" fmla="*/ 796990 w 1655446"/>
                    <a:gd name="connsiteY1134" fmla="*/ 476076 h 1155218"/>
                    <a:gd name="connsiteX1135" fmla="*/ 797961 w 1655446"/>
                    <a:gd name="connsiteY1135" fmla="*/ 476683 h 1155218"/>
                    <a:gd name="connsiteX1136" fmla="*/ 798544 w 1655446"/>
                    <a:gd name="connsiteY1136" fmla="*/ 476562 h 1155218"/>
                    <a:gd name="connsiteX1137" fmla="*/ 800596 w 1655446"/>
                    <a:gd name="connsiteY1137" fmla="*/ 477399 h 1155218"/>
                    <a:gd name="connsiteX1138" fmla="*/ 801932 w 1655446"/>
                    <a:gd name="connsiteY1138" fmla="*/ 478031 h 1155218"/>
                    <a:gd name="connsiteX1139" fmla="*/ 802721 w 1655446"/>
                    <a:gd name="connsiteY1139" fmla="*/ 481516 h 1155218"/>
                    <a:gd name="connsiteX1140" fmla="*/ 803328 w 1655446"/>
                    <a:gd name="connsiteY1140" fmla="*/ 483228 h 1155218"/>
                    <a:gd name="connsiteX1141" fmla="*/ 805380 w 1655446"/>
                    <a:gd name="connsiteY1141" fmla="*/ 484940 h 1155218"/>
                    <a:gd name="connsiteX1142" fmla="*/ 808404 w 1655446"/>
                    <a:gd name="connsiteY1142" fmla="*/ 486968 h 1155218"/>
                    <a:gd name="connsiteX1143" fmla="*/ 812739 w 1655446"/>
                    <a:gd name="connsiteY1143" fmla="*/ 488802 h 1155218"/>
                    <a:gd name="connsiteX1144" fmla="*/ 814864 w 1655446"/>
                    <a:gd name="connsiteY1144" fmla="*/ 490101 h 1155218"/>
                    <a:gd name="connsiteX1145" fmla="*/ 817183 w 1655446"/>
                    <a:gd name="connsiteY1145" fmla="*/ 492590 h 1155218"/>
                    <a:gd name="connsiteX1146" fmla="*/ 817863 w 1655446"/>
                    <a:gd name="connsiteY1146" fmla="*/ 495456 h 1155218"/>
                    <a:gd name="connsiteX1147" fmla="*/ 817293 w 1655446"/>
                    <a:gd name="connsiteY1147" fmla="*/ 497800 h 1155218"/>
                    <a:gd name="connsiteX1148" fmla="*/ 813577 w 1655446"/>
                    <a:gd name="connsiteY1148" fmla="*/ 504369 h 1155218"/>
                    <a:gd name="connsiteX1149" fmla="*/ 813383 w 1655446"/>
                    <a:gd name="connsiteY1149" fmla="*/ 505583 h 1155218"/>
                    <a:gd name="connsiteX1150" fmla="*/ 813638 w 1655446"/>
                    <a:gd name="connsiteY1150" fmla="*/ 506931 h 1155218"/>
                    <a:gd name="connsiteX1151" fmla="*/ 814390 w 1655446"/>
                    <a:gd name="connsiteY1151" fmla="*/ 508073 h 1155218"/>
                    <a:gd name="connsiteX1152" fmla="*/ 815908 w 1655446"/>
                    <a:gd name="connsiteY1152" fmla="*/ 509833 h 1155218"/>
                    <a:gd name="connsiteX1153" fmla="*/ 817669 w 1655446"/>
                    <a:gd name="connsiteY1153" fmla="*/ 511509 h 1155218"/>
                    <a:gd name="connsiteX1154" fmla="*/ 819539 w 1655446"/>
                    <a:gd name="connsiteY1154" fmla="*/ 512298 h 1155218"/>
                    <a:gd name="connsiteX1155" fmla="*/ 820377 w 1655446"/>
                    <a:gd name="connsiteY1155" fmla="*/ 512262 h 1155218"/>
                    <a:gd name="connsiteX1156" fmla="*/ 824214 w 1655446"/>
                    <a:gd name="connsiteY1156" fmla="*/ 510950 h 1155218"/>
                    <a:gd name="connsiteX1157" fmla="*/ 826436 w 1655446"/>
                    <a:gd name="connsiteY1157" fmla="*/ 509348 h 1155218"/>
                    <a:gd name="connsiteX1158" fmla="*/ 828185 w 1655446"/>
                    <a:gd name="connsiteY1158" fmla="*/ 507684 h 1155218"/>
                    <a:gd name="connsiteX1159" fmla="*/ 829181 w 1655446"/>
                    <a:gd name="connsiteY1159" fmla="*/ 506251 h 1155218"/>
                    <a:gd name="connsiteX1160" fmla="*/ 829606 w 1655446"/>
                    <a:gd name="connsiteY1160" fmla="*/ 505183 h 1155218"/>
                    <a:gd name="connsiteX1161" fmla="*/ 829691 w 1655446"/>
                    <a:gd name="connsiteY1161" fmla="*/ 502705 h 1155218"/>
                    <a:gd name="connsiteX1162" fmla="*/ 829921 w 1655446"/>
                    <a:gd name="connsiteY1162" fmla="*/ 500532 h 1155218"/>
                    <a:gd name="connsiteX1163" fmla="*/ 830686 w 1655446"/>
                    <a:gd name="connsiteY1163" fmla="*/ 497824 h 1155218"/>
                    <a:gd name="connsiteX1164" fmla="*/ 831706 w 1655446"/>
                    <a:gd name="connsiteY1164" fmla="*/ 495638 h 1155218"/>
                    <a:gd name="connsiteX1165" fmla="*/ 833078 w 1655446"/>
                    <a:gd name="connsiteY1165" fmla="*/ 493562 h 1155218"/>
                    <a:gd name="connsiteX1166" fmla="*/ 834754 w 1655446"/>
                    <a:gd name="connsiteY1166" fmla="*/ 491510 h 1155218"/>
                    <a:gd name="connsiteX1167" fmla="*/ 837778 w 1655446"/>
                    <a:gd name="connsiteY1167" fmla="*/ 490210 h 1155218"/>
                    <a:gd name="connsiteX1168" fmla="*/ 840692 w 1655446"/>
                    <a:gd name="connsiteY1168" fmla="*/ 490429 h 1155218"/>
                    <a:gd name="connsiteX1169" fmla="*/ 845367 w 1655446"/>
                    <a:gd name="connsiteY1169" fmla="*/ 492214 h 1155218"/>
                    <a:gd name="connsiteX1170" fmla="*/ 850710 w 1655446"/>
                    <a:gd name="connsiteY1170" fmla="*/ 495274 h 1155218"/>
                    <a:gd name="connsiteX1171" fmla="*/ 861371 w 1655446"/>
                    <a:gd name="connsiteY1171" fmla="*/ 504163 h 1155218"/>
                    <a:gd name="connsiteX1172" fmla="*/ 864905 w 1655446"/>
                    <a:gd name="connsiteY1172" fmla="*/ 506397 h 1155218"/>
                    <a:gd name="connsiteX1173" fmla="*/ 871001 w 1655446"/>
                    <a:gd name="connsiteY1173" fmla="*/ 512432 h 1155218"/>
                    <a:gd name="connsiteX1174" fmla="*/ 873454 w 1655446"/>
                    <a:gd name="connsiteY1174" fmla="*/ 514108 h 1155218"/>
                    <a:gd name="connsiteX1175" fmla="*/ 876247 w 1655446"/>
                    <a:gd name="connsiteY1175" fmla="*/ 515322 h 1155218"/>
                    <a:gd name="connsiteX1176" fmla="*/ 878687 w 1655446"/>
                    <a:gd name="connsiteY1176" fmla="*/ 515990 h 1155218"/>
                    <a:gd name="connsiteX1177" fmla="*/ 884152 w 1655446"/>
                    <a:gd name="connsiteY1177" fmla="*/ 516427 h 1155218"/>
                    <a:gd name="connsiteX1178" fmla="*/ 886702 w 1655446"/>
                    <a:gd name="connsiteY1178" fmla="*/ 516366 h 1155218"/>
                    <a:gd name="connsiteX1179" fmla="*/ 889713 w 1655446"/>
                    <a:gd name="connsiteY1179" fmla="*/ 516646 h 1155218"/>
                    <a:gd name="connsiteX1180" fmla="*/ 891207 w 1655446"/>
                    <a:gd name="connsiteY1180" fmla="*/ 517581 h 1155218"/>
                    <a:gd name="connsiteX1181" fmla="*/ 892470 w 1655446"/>
                    <a:gd name="connsiteY1181" fmla="*/ 519147 h 1155218"/>
                    <a:gd name="connsiteX1182" fmla="*/ 892931 w 1655446"/>
                    <a:gd name="connsiteY1182" fmla="*/ 520446 h 1155218"/>
                    <a:gd name="connsiteX1183" fmla="*/ 893174 w 1655446"/>
                    <a:gd name="connsiteY1183" fmla="*/ 523300 h 1155218"/>
                    <a:gd name="connsiteX1184" fmla="*/ 893441 w 1655446"/>
                    <a:gd name="connsiteY1184" fmla="*/ 525194 h 1155218"/>
                    <a:gd name="connsiteX1185" fmla="*/ 894060 w 1655446"/>
                    <a:gd name="connsiteY1185" fmla="*/ 526408 h 1155218"/>
                    <a:gd name="connsiteX1186" fmla="*/ 896125 w 1655446"/>
                    <a:gd name="connsiteY1186" fmla="*/ 528254 h 1155218"/>
                    <a:gd name="connsiteX1187" fmla="*/ 897557 w 1655446"/>
                    <a:gd name="connsiteY1187" fmla="*/ 528813 h 1155218"/>
                    <a:gd name="connsiteX1188" fmla="*/ 899427 w 1655446"/>
                    <a:gd name="connsiteY1188" fmla="*/ 528485 h 1155218"/>
                    <a:gd name="connsiteX1189" fmla="*/ 901905 w 1655446"/>
                    <a:gd name="connsiteY1189" fmla="*/ 526846 h 1155218"/>
                    <a:gd name="connsiteX1190" fmla="*/ 906252 w 1655446"/>
                    <a:gd name="connsiteY1190" fmla="*/ 522413 h 1155218"/>
                    <a:gd name="connsiteX1191" fmla="*/ 908911 w 1655446"/>
                    <a:gd name="connsiteY1191" fmla="*/ 519111 h 1155218"/>
                    <a:gd name="connsiteX1192" fmla="*/ 910975 w 1655446"/>
                    <a:gd name="connsiteY1192" fmla="*/ 514873 h 1155218"/>
                    <a:gd name="connsiteX1193" fmla="*/ 912554 w 1655446"/>
                    <a:gd name="connsiteY1193" fmla="*/ 509773 h 1155218"/>
                    <a:gd name="connsiteX1194" fmla="*/ 915213 w 1655446"/>
                    <a:gd name="connsiteY1194" fmla="*/ 504818 h 1155218"/>
                    <a:gd name="connsiteX1195" fmla="*/ 922159 w 1655446"/>
                    <a:gd name="connsiteY1195" fmla="*/ 498249 h 1155218"/>
                    <a:gd name="connsiteX1196" fmla="*/ 924272 w 1655446"/>
                    <a:gd name="connsiteY1196" fmla="*/ 496415 h 1155218"/>
                    <a:gd name="connsiteX1197" fmla="*/ 925632 w 1655446"/>
                    <a:gd name="connsiteY1197" fmla="*/ 494983 h 1155218"/>
                    <a:gd name="connsiteX1198" fmla="*/ 927089 w 1655446"/>
                    <a:gd name="connsiteY1198" fmla="*/ 492797 h 1155218"/>
                    <a:gd name="connsiteX1199" fmla="*/ 928303 w 1655446"/>
                    <a:gd name="connsiteY1199" fmla="*/ 489907 h 1155218"/>
                    <a:gd name="connsiteX1200" fmla="*/ 929360 w 1655446"/>
                    <a:gd name="connsiteY1200" fmla="*/ 486677 h 1155218"/>
                    <a:gd name="connsiteX1201" fmla="*/ 929226 w 1655446"/>
                    <a:gd name="connsiteY1201" fmla="*/ 484018 h 1155218"/>
                    <a:gd name="connsiteX1202" fmla="*/ 927247 w 1655446"/>
                    <a:gd name="connsiteY1202" fmla="*/ 482912 h 1155218"/>
                    <a:gd name="connsiteX1203" fmla="*/ 924296 w 1655446"/>
                    <a:gd name="connsiteY1203" fmla="*/ 482633 h 1155218"/>
                    <a:gd name="connsiteX1204" fmla="*/ 922681 w 1655446"/>
                    <a:gd name="connsiteY1204" fmla="*/ 482572 h 1155218"/>
                    <a:gd name="connsiteX1205" fmla="*/ 919755 w 1655446"/>
                    <a:gd name="connsiteY1205" fmla="*/ 481735 h 1155218"/>
                    <a:gd name="connsiteX1206" fmla="*/ 918565 w 1655446"/>
                    <a:gd name="connsiteY1206" fmla="*/ 480654 h 1155218"/>
                    <a:gd name="connsiteX1207" fmla="*/ 917557 w 1655446"/>
                    <a:gd name="connsiteY1207" fmla="*/ 478990 h 1155218"/>
                    <a:gd name="connsiteX1208" fmla="*/ 917132 w 1655446"/>
                    <a:gd name="connsiteY1208" fmla="*/ 477084 h 1155218"/>
                    <a:gd name="connsiteX1209" fmla="*/ 917022 w 1655446"/>
                    <a:gd name="connsiteY1209" fmla="*/ 475736 h 1155218"/>
                    <a:gd name="connsiteX1210" fmla="*/ 917144 w 1655446"/>
                    <a:gd name="connsiteY1210" fmla="*/ 474242 h 1155218"/>
                    <a:gd name="connsiteX1211" fmla="*/ 917484 w 1655446"/>
                    <a:gd name="connsiteY1211" fmla="*/ 472931 h 1155218"/>
                    <a:gd name="connsiteX1212" fmla="*/ 918674 w 1655446"/>
                    <a:gd name="connsiteY1212" fmla="*/ 470017 h 1155218"/>
                    <a:gd name="connsiteX1213" fmla="*/ 917338 w 1655446"/>
                    <a:gd name="connsiteY1213" fmla="*/ 467807 h 1155218"/>
                    <a:gd name="connsiteX1214" fmla="*/ 913865 w 1655446"/>
                    <a:gd name="connsiteY1214" fmla="*/ 463387 h 1155218"/>
                    <a:gd name="connsiteX1215" fmla="*/ 912433 w 1655446"/>
                    <a:gd name="connsiteY1215" fmla="*/ 460533 h 1155218"/>
                    <a:gd name="connsiteX1216" fmla="*/ 911473 w 1655446"/>
                    <a:gd name="connsiteY1216" fmla="*/ 456769 h 1155218"/>
                    <a:gd name="connsiteX1217" fmla="*/ 910611 w 1655446"/>
                    <a:gd name="connsiteY1217" fmla="*/ 454073 h 1155218"/>
                    <a:gd name="connsiteX1218" fmla="*/ 909445 w 1655446"/>
                    <a:gd name="connsiteY1218" fmla="*/ 452179 h 1155218"/>
                    <a:gd name="connsiteX1219" fmla="*/ 907247 w 1655446"/>
                    <a:gd name="connsiteY1219" fmla="*/ 450345 h 1155218"/>
                    <a:gd name="connsiteX1220" fmla="*/ 905365 w 1655446"/>
                    <a:gd name="connsiteY1220" fmla="*/ 449665 h 1155218"/>
                    <a:gd name="connsiteX1221" fmla="*/ 903277 w 1655446"/>
                    <a:gd name="connsiteY1221" fmla="*/ 449410 h 1155218"/>
                    <a:gd name="connsiteX1222" fmla="*/ 901613 w 1655446"/>
                    <a:gd name="connsiteY1222" fmla="*/ 449616 h 1155218"/>
                    <a:gd name="connsiteX1223" fmla="*/ 897727 w 1655446"/>
                    <a:gd name="connsiteY1223" fmla="*/ 450394 h 1155218"/>
                    <a:gd name="connsiteX1224" fmla="*/ 892639 w 1655446"/>
                    <a:gd name="connsiteY1224" fmla="*/ 452239 h 1155218"/>
                    <a:gd name="connsiteX1225" fmla="*/ 890041 w 1655446"/>
                    <a:gd name="connsiteY1225" fmla="*/ 452822 h 1155218"/>
                    <a:gd name="connsiteX1226" fmla="*/ 886386 w 1655446"/>
                    <a:gd name="connsiteY1226" fmla="*/ 452555 h 1155218"/>
                    <a:gd name="connsiteX1227" fmla="*/ 884467 w 1655446"/>
                    <a:gd name="connsiteY1227" fmla="*/ 451231 h 1155218"/>
                    <a:gd name="connsiteX1228" fmla="*/ 882561 w 1655446"/>
                    <a:gd name="connsiteY1228" fmla="*/ 448912 h 1155218"/>
                    <a:gd name="connsiteX1229" fmla="*/ 880970 w 1655446"/>
                    <a:gd name="connsiteY1229" fmla="*/ 445986 h 1155218"/>
                    <a:gd name="connsiteX1230" fmla="*/ 879926 w 1655446"/>
                    <a:gd name="connsiteY1230" fmla="*/ 443120 h 1155218"/>
                    <a:gd name="connsiteX1231" fmla="*/ 879829 w 1655446"/>
                    <a:gd name="connsiteY1231" fmla="*/ 438117 h 1155218"/>
                    <a:gd name="connsiteX1232" fmla="*/ 880922 w 1655446"/>
                    <a:gd name="connsiteY1232" fmla="*/ 435834 h 1155218"/>
                    <a:gd name="connsiteX1233" fmla="*/ 883411 w 1655446"/>
                    <a:gd name="connsiteY1233" fmla="*/ 432422 h 1155218"/>
                    <a:gd name="connsiteX1234" fmla="*/ 883763 w 1655446"/>
                    <a:gd name="connsiteY1234" fmla="*/ 430236 h 1155218"/>
                    <a:gd name="connsiteX1235" fmla="*/ 883666 w 1655446"/>
                    <a:gd name="connsiteY1235" fmla="*/ 428415 h 1155218"/>
                    <a:gd name="connsiteX1236" fmla="*/ 882889 w 1655446"/>
                    <a:gd name="connsiteY1236" fmla="*/ 422574 h 1155218"/>
                    <a:gd name="connsiteX1237" fmla="*/ 882974 w 1655446"/>
                    <a:gd name="connsiteY1237" fmla="*/ 412933 h 1155218"/>
                    <a:gd name="connsiteX1238" fmla="*/ 882537 w 1655446"/>
                    <a:gd name="connsiteY1238" fmla="*/ 410298 h 1155218"/>
                    <a:gd name="connsiteX1239" fmla="*/ 881492 w 1655446"/>
                    <a:gd name="connsiteY1239" fmla="*/ 407128 h 1155218"/>
                    <a:gd name="connsiteX1240" fmla="*/ 879124 w 1655446"/>
                    <a:gd name="connsiteY1240" fmla="*/ 402611 h 1155218"/>
                    <a:gd name="connsiteX1241" fmla="*/ 877121 w 1655446"/>
                    <a:gd name="connsiteY1241" fmla="*/ 400134 h 1155218"/>
                    <a:gd name="connsiteX1242" fmla="*/ 870139 w 1655446"/>
                    <a:gd name="connsiteY1242" fmla="*/ 393310 h 1155218"/>
                    <a:gd name="connsiteX1243" fmla="*/ 867759 w 1655446"/>
                    <a:gd name="connsiteY1243" fmla="*/ 389388 h 1155218"/>
                    <a:gd name="connsiteX1244" fmla="*/ 865913 w 1655446"/>
                    <a:gd name="connsiteY1244" fmla="*/ 384178 h 1155218"/>
                    <a:gd name="connsiteX1245" fmla="*/ 861882 w 1655446"/>
                    <a:gd name="connsiteY1245" fmla="*/ 363705 h 1155218"/>
                    <a:gd name="connsiteX1246" fmla="*/ 861554 w 1655446"/>
                    <a:gd name="connsiteY1246" fmla="*/ 354404 h 1155218"/>
                    <a:gd name="connsiteX1247" fmla="*/ 860109 w 1655446"/>
                    <a:gd name="connsiteY1247" fmla="*/ 349644 h 1155218"/>
                    <a:gd name="connsiteX1248" fmla="*/ 853539 w 1655446"/>
                    <a:gd name="connsiteY1248" fmla="*/ 334902 h 1155218"/>
                    <a:gd name="connsiteX1249" fmla="*/ 851706 w 1655446"/>
                    <a:gd name="connsiteY1249" fmla="*/ 332789 h 1155218"/>
                    <a:gd name="connsiteX1250" fmla="*/ 849520 w 1655446"/>
                    <a:gd name="connsiteY1250" fmla="*/ 330761 h 1155218"/>
                    <a:gd name="connsiteX1251" fmla="*/ 846023 w 1655446"/>
                    <a:gd name="connsiteY1251" fmla="*/ 328090 h 1155218"/>
                    <a:gd name="connsiteX1252" fmla="*/ 844432 w 1655446"/>
                    <a:gd name="connsiteY1252" fmla="*/ 326621 h 1155218"/>
                    <a:gd name="connsiteX1253" fmla="*/ 842938 w 1655446"/>
                    <a:gd name="connsiteY1253" fmla="*/ 324629 h 1155218"/>
                    <a:gd name="connsiteX1254" fmla="*/ 842088 w 1655446"/>
                    <a:gd name="connsiteY1254" fmla="*/ 322261 h 1155218"/>
                    <a:gd name="connsiteX1255" fmla="*/ 841906 w 1655446"/>
                    <a:gd name="connsiteY1255" fmla="*/ 320015 h 1155218"/>
                    <a:gd name="connsiteX1256" fmla="*/ 842489 w 1655446"/>
                    <a:gd name="connsiteY1256" fmla="*/ 317392 h 1155218"/>
                    <a:gd name="connsiteX1257" fmla="*/ 843509 w 1655446"/>
                    <a:gd name="connsiteY1257" fmla="*/ 315097 h 1155218"/>
                    <a:gd name="connsiteX1258" fmla="*/ 845513 w 1655446"/>
                    <a:gd name="connsiteY1258" fmla="*/ 311503 h 1155218"/>
                    <a:gd name="connsiteX1259" fmla="*/ 850297 w 1655446"/>
                    <a:gd name="connsiteY1259" fmla="*/ 304824 h 1155218"/>
                    <a:gd name="connsiteX1260" fmla="*/ 851973 w 1655446"/>
                    <a:gd name="connsiteY1260" fmla="*/ 303076 h 1155218"/>
                    <a:gd name="connsiteX1261" fmla="*/ 854426 w 1655446"/>
                    <a:gd name="connsiteY1261" fmla="*/ 301133 h 1155218"/>
                    <a:gd name="connsiteX1262" fmla="*/ 853843 w 1655446"/>
                    <a:gd name="connsiteY1262" fmla="*/ 299032 h 1155218"/>
                    <a:gd name="connsiteX1263" fmla="*/ 853563 w 1655446"/>
                    <a:gd name="connsiteY1263" fmla="*/ 297101 h 1155218"/>
                    <a:gd name="connsiteX1264" fmla="*/ 854146 w 1655446"/>
                    <a:gd name="connsiteY1264" fmla="*/ 295061 h 1155218"/>
                    <a:gd name="connsiteX1265" fmla="*/ 855373 w 1655446"/>
                    <a:gd name="connsiteY1265" fmla="*/ 293033 h 1155218"/>
                    <a:gd name="connsiteX1266" fmla="*/ 857389 w 1655446"/>
                    <a:gd name="connsiteY1266" fmla="*/ 291443 h 1155218"/>
                    <a:gd name="connsiteX1267" fmla="*/ 859526 w 1655446"/>
                    <a:gd name="connsiteY1267" fmla="*/ 290495 h 1155218"/>
                    <a:gd name="connsiteX1268" fmla="*/ 863096 w 1655446"/>
                    <a:gd name="connsiteY1268" fmla="*/ 290022 h 1155218"/>
                    <a:gd name="connsiteX1269" fmla="*/ 867079 w 1655446"/>
                    <a:gd name="connsiteY1269" fmla="*/ 289973 h 1155218"/>
                    <a:gd name="connsiteX1270" fmla="*/ 871911 w 1655446"/>
                    <a:gd name="connsiteY1270" fmla="*/ 291309 h 1155218"/>
                    <a:gd name="connsiteX1271" fmla="*/ 874498 w 1655446"/>
                    <a:gd name="connsiteY1271" fmla="*/ 292438 h 1155218"/>
                    <a:gd name="connsiteX1272" fmla="*/ 875287 w 1655446"/>
                    <a:gd name="connsiteY1272" fmla="*/ 293361 h 1155218"/>
                    <a:gd name="connsiteX1273" fmla="*/ 876210 w 1655446"/>
                    <a:gd name="connsiteY1273" fmla="*/ 294733 h 1155218"/>
                    <a:gd name="connsiteX1274" fmla="*/ 877182 w 1655446"/>
                    <a:gd name="connsiteY1274" fmla="*/ 297308 h 1155218"/>
                    <a:gd name="connsiteX1275" fmla="*/ 877704 w 1655446"/>
                    <a:gd name="connsiteY1275" fmla="*/ 297733 h 1155218"/>
                    <a:gd name="connsiteX1276" fmla="*/ 879926 w 1655446"/>
                    <a:gd name="connsiteY1276" fmla="*/ 298898 h 1155218"/>
                    <a:gd name="connsiteX1277" fmla="*/ 881784 w 1655446"/>
                    <a:gd name="connsiteY1277" fmla="*/ 300525 h 1155218"/>
                    <a:gd name="connsiteX1278" fmla="*/ 884115 w 1655446"/>
                    <a:gd name="connsiteY1278" fmla="*/ 303173 h 1155218"/>
                    <a:gd name="connsiteX1279" fmla="*/ 883180 w 1655446"/>
                    <a:gd name="connsiteY1279" fmla="*/ 301048 h 1155218"/>
                    <a:gd name="connsiteX1280" fmla="*/ 882707 w 1655446"/>
                    <a:gd name="connsiteY1280" fmla="*/ 299263 h 1155218"/>
                    <a:gd name="connsiteX1281" fmla="*/ 882901 w 1655446"/>
                    <a:gd name="connsiteY1281" fmla="*/ 296458 h 1155218"/>
                    <a:gd name="connsiteX1282" fmla="*/ 883872 w 1655446"/>
                    <a:gd name="connsiteY1282" fmla="*/ 294187 h 1155218"/>
                    <a:gd name="connsiteX1283" fmla="*/ 886022 w 1655446"/>
                    <a:gd name="connsiteY1283" fmla="*/ 291030 h 1155218"/>
                    <a:gd name="connsiteX1284" fmla="*/ 885961 w 1655446"/>
                    <a:gd name="connsiteY1284" fmla="*/ 290083 h 1155218"/>
                    <a:gd name="connsiteX1285" fmla="*/ 882816 w 1655446"/>
                    <a:gd name="connsiteY1285" fmla="*/ 287253 h 1155218"/>
                    <a:gd name="connsiteX1286" fmla="*/ 881517 w 1655446"/>
                    <a:gd name="connsiteY1286" fmla="*/ 285152 h 1155218"/>
                    <a:gd name="connsiteX1287" fmla="*/ 881140 w 1655446"/>
                    <a:gd name="connsiteY1287" fmla="*/ 284412 h 1155218"/>
                    <a:gd name="connsiteX1288" fmla="*/ 881480 w 1655446"/>
                    <a:gd name="connsiteY1288" fmla="*/ 279032 h 1155218"/>
                    <a:gd name="connsiteX1289" fmla="*/ 882269 w 1655446"/>
                    <a:gd name="connsiteY1289" fmla="*/ 275754 h 1155218"/>
                    <a:gd name="connsiteX1290" fmla="*/ 884152 w 1655446"/>
                    <a:gd name="connsiteY1290" fmla="*/ 273665 h 1155218"/>
                    <a:gd name="connsiteX1291" fmla="*/ 886896 w 1655446"/>
                    <a:gd name="connsiteY1291" fmla="*/ 272063 h 1155218"/>
                    <a:gd name="connsiteX1292" fmla="*/ 889737 w 1655446"/>
                    <a:gd name="connsiteY1292" fmla="*/ 271443 h 1155218"/>
                    <a:gd name="connsiteX1293" fmla="*/ 890842 w 1655446"/>
                    <a:gd name="connsiteY1293" fmla="*/ 271043 h 1155218"/>
                    <a:gd name="connsiteX1294" fmla="*/ 893502 w 1655446"/>
                    <a:gd name="connsiteY1294" fmla="*/ 268869 h 1155218"/>
                    <a:gd name="connsiteX1295" fmla="*/ 896003 w 1655446"/>
                    <a:gd name="connsiteY1295" fmla="*/ 267011 h 1155218"/>
                    <a:gd name="connsiteX1296" fmla="*/ 899804 w 1655446"/>
                    <a:gd name="connsiteY1296" fmla="*/ 272427 h 1155218"/>
                    <a:gd name="connsiteX1297" fmla="*/ 900702 w 1655446"/>
                    <a:gd name="connsiteY1297" fmla="*/ 274151 h 1155218"/>
                    <a:gd name="connsiteX1298" fmla="*/ 901055 w 1655446"/>
                    <a:gd name="connsiteY1298" fmla="*/ 275183 h 1155218"/>
                    <a:gd name="connsiteX1299" fmla="*/ 901807 w 1655446"/>
                    <a:gd name="connsiteY1299" fmla="*/ 280162 h 1155218"/>
                    <a:gd name="connsiteX1300" fmla="*/ 901613 w 1655446"/>
                    <a:gd name="connsiteY1300" fmla="*/ 288419 h 1155218"/>
                    <a:gd name="connsiteX1301" fmla="*/ 901747 w 1655446"/>
                    <a:gd name="connsiteY1301" fmla="*/ 289378 h 1155218"/>
                    <a:gd name="connsiteX1302" fmla="*/ 902220 w 1655446"/>
                    <a:gd name="connsiteY1302" fmla="*/ 289548 h 1155218"/>
                    <a:gd name="connsiteX1303" fmla="*/ 904357 w 1655446"/>
                    <a:gd name="connsiteY1303" fmla="*/ 289257 h 1155218"/>
                    <a:gd name="connsiteX1304" fmla="*/ 905730 w 1655446"/>
                    <a:gd name="connsiteY1304" fmla="*/ 288395 h 1155218"/>
                    <a:gd name="connsiteX1305" fmla="*/ 905973 w 1655446"/>
                    <a:gd name="connsiteY1305" fmla="*/ 286743 h 1155218"/>
                    <a:gd name="connsiteX1306" fmla="*/ 905438 w 1655446"/>
                    <a:gd name="connsiteY1306" fmla="*/ 280089 h 1155218"/>
                    <a:gd name="connsiteX1307" fmla="*/ 905535 w 1655446"/>
                    <a:gd name="connsiteY1307" fmla="*/ 277733 h 1155218"/>
                    <a:gd name="connsiteX1308" fmla="*/ 905778 w 1655446"/>
                    <a:gd name="connsiteY1308" fmla="*/ 275900 h 1155218"/>
                    <a:gd name="connsiteX1309" fmla="*/ 906240 w 1655446"/>
                    <a:gd name="connsiteY1309" fmla="*/ 274637 h 1155218"/>
                    <a:gd name="connsiteX1310" fmla="*/ 907515 w 1655446"/>
                    <a:gd name="connsiteY1310" fmla="*/ 271820 h 1155218"/>
                    <a:gd name="connsiteX1311" fmla="*/ 909348 w 1655446"/>
                    <a:gd name="connsiteY1311" fmla="*/ 269282 h 1155218"/>
                    <a:gd name="connsiteX1312" fmla="*/ 911534 w 1655446"/>
                    <a:gd name="connsiteY1312" fmla="*/ 267132 h 1155218"/>
                    <a:gd name="connsiteX1313" fmla="*/ 914715 w 1655446"/>
                    <a:gd name="connsiteY1313" fmla="*/ 265663 h 1155218"/>
                    <a:gd name="connsiteX1314" fmla="*/ 915529 w 1655446"/>
                    <a:gd name="connsiteY1314" fmla="*/ 265347 h 1155218"/>
                    <a:gd name="connsiteX1315" fmla="*/ 919172 w 1655446"/>
                    <a:gd name="connsiteY1315" fmla="*/ 266064 h 1155218"/>
                    <a:gd name="connsiteX1316" fmla="*/ 922572 w 1655446"/>
                    <a:gd name="connsiteY1316" fmla="*/ 269391 h 1155218"/>
                    <a:gd name="connsiteX1317" fmla="*/ 923555 w 1655446"/>
                    <a:gd name="connsiteY1317" fmla="*/ 272245 h 1155218"/>
                    <a:gd name="connsiteX1318" fmla="*/ 924065 w 1655446"/>
                    <a:gd name="connsiteY1318" fmla="*/ 274564 h 1155218"/>
                    <a:gd name="connsiteX1319" fmla="*/ 924126 w 1655446"/>
                    <a:gd name="connsiteY1319" fmla="*/ 279032 h 1155218"/>
                    <a:gd name="connsiteX1320" fmla="*/ 923750 w 1655446"/>
                    <a:gd name="connsiteY1320" fmla="*/ 281765 h 1155218"/>
                    <a:gd name="connsiteX1321" fmla="*/ 922790 w 1655446"/>
                    <a:gd name="connsiteY1321" fmla="*/ 284570 h 1155218"/>
                    <a:gd name="connsiteX1322" fmla="*/ 922426 w 1655446"/>
                    <a:gd name="connsiteY1322" fmla="*/ 285323 h 1155218"/>
                    <a:gd name="connsiteX1323" fmla="*/ 922633 w 1655446"/>
                    <a:gd name="connsiteY1323" fmla="*/ 285310 h 1155218"/>
                    <a:gd name="connsiteX1324" fmla="*/ 924017 w 1655446"/>
                    <a:gd name="connsiteY1324" fmla="*/ 284825 h 1155218"/>
                    <a:gd name="connsiteX1325" fmla="*/ 926567 w 1655446"/>
                    <a:gd name="connsiteY1325" fmla="*/ 284424 h 1155218"/>
                    <a:gd name="connsiteX1326" fmla="*/ 928886 w 1655446"/>
                    <a:gd name="connsiteY1326" fmla="*/ 284800 h 1155218"/>
                    <a:gd name="connsiteX1327" fmla="*/ 930987 w 1655446"/>
                    <a:gd name="connsiteY1327" fmla="*/ 286840 h 1155218"/>
                    <a:gd name="connsiteX1328" fmla="*/ 931424 w 1655446"/>
                    <a:gd name="connsiteY1328" fmla="*/ 287994 h 1155218"/>
                    <a:gd name="connsiteX1329" fmla="*/ 931764 w 1655446"/>
                    <a:gd name="connsiteY1329" fmla="*/ 289451 h 1155218"/>
                    <a:gd name="connsiteX1330" fmla="*/ 931764 w 1655446"/>
                    <a:gd name="connsiteY1330" fmla="*/ 290799 h 1155218"/>
                    <a:gd name="connsiteX1331" fmla="*/ 931290 w 1655446"/>
                    <a:gd name="connsiteY1331" fmla="*/ 296822 h 1155218"/>
                    <a:gd name="connsiteX1332" fmla="*/ 930732 w 1655446"/>
                    <a:gd name="connsiteY1332" fmla="*/ 299615 h 1155218"/>
                    <a:gd name="connsiteX1333" fmla="*/ 926955 w 1655446"/>
                    <a:gd name="connsiteY1333" fmla="*/ 306233 h 1155218"/>
                    <a:gd name="connsiteX1334" fmla="*/ 926870 w 1655446"/>
                    <a:gd name="connsiteY1334" fmla="*/ 307447 h 1155218"/>
                    <a:gd name="connsiteX1335" fmla="*/ 926931 w 1655446"/>
                    <a:gd name="connsiteY1335" fmla="*/ 308661 h 1155218"/>
                    <a:gd name="connsiteX1336" fmla="*/ 927453 w 1655446"/>
                    <a:gd name="connsiteY1336" fmla="*/ 311187 h 1155218"/>
                    <a:gd name="connsiteX1337" fmla="*/ 927563 w 1655446"/>
                    <a:gd name="connsiteY1337" fmla="*/ 313446 h 1155218"/>
                    <a:gd name="connsiteX1338" fmla="*/ 926968 w 1655446"/>
                    <a:gd name="connsiteY1338" fmla="*/ 316603 h 1155218"/>
                    <a:gd name="connsiteX1339" fmla="*/ 925341 w 1655446"/>
                    <a:gd name="connsiteY1339" fmla="*/ 318728 h 1155218"/>
                    <a:gd name="connsiteX1340" fmla="*/ 923786 w 1655446"/>
                    <a:gd name="connsiteY1340" fmla="*/ 320136 h 1155218"/>
                    <a:gd name="connsiteX1341" fmla="*/ 919002 w 1655446"/>
                    <a:gd name="connsiteY1341" fmla="*/ 323269 h 1155218"/>
                    <a:gd name="connsiteX1342" fmla="*/ 916622 w 1655446"/>
                    <a:gd name="connsiteY1342" fmla="*/ 325309 h 1155218"/>
                    <a:gd name="connsiteX1343" fmla="*/ 915322 w 1655446"/>
                    <a:gd name="connsiteY1343" fmla="*/ 327386 h 1155218"/>
                    <a:gd name="connsiteX1344" fmla="*/ 914181 w 1655446"/>
                    <a:gd name="connsiteY1344" fmla="*/ 329851 h 1155218"/>
                    <a:gd name="connsiteX1345" fmla="*/ 913525 w 1655446"/>
                    <a:gd name="connsiteY1345" fmla="*/ 332644 h 1155218"/>
                    <a:gd name="connsiteX1346" fmla="*/ 913367 w 1655446"/>
                    <a:gd name="connsiteY1346" fmla="*/ 334999 h 1155218"/>
                    <a:gd name="connsiteX1347" fmla="*/ 913707 w 1655446"/>
                    <a:gd name="connsiteY1347" fmla="*/ 337416 h 1155218"/>
                    <a:gd name="connsiteX1348" fmla="*/ 913902 w 1655446"/>
                    <a:gd name="connsiteY1348" fmla="*/ 337707 h 1155218"/>
                    <a:gd name="connsiteX1349" fmla="*/ 914448 w 1655446"/>
                    <a:gd name="connsiteY1349" fmla="*/ 338047 h 1155218"/>
                    <a:gd name="connsiteX1350" fmla="*/ 914752 w 1655446"/>
                    <a:gd name="connsiteY1350" fmla="*/ 338035 h 1155218"/>
                    <a:gd name="connsiteX1351" fmla="*/ 917144 w 1655446"/>
                    <a:gd name="connsiteY1351" fmla="*/ 336335 h 1155218"/>
                    <a:gd name="connsiteX1352" fmla="*/ 918358 w 1655446"/>
                    <a:gd name="connsiteY1352" fmla="*/ 334829 h 1155218"/>
                    <a:gd name="connsiteX1353" fmla="*/ 920690 w 1655446"/>
                    <a:gd name="connsiteY1353" fmla="*/ 331563 h 1155218"/>
                    <a:gd name="connsiteX1354" fmla="*/ 922657 w 1655446"/>
                    <a:gd name="connsiteY1354" fmla="*/ 329826 h 1155218"/>
                    <a:gd name="connsiteX1355" fmla="*/ 925098 w 1655446"/>
                    <a:gd name="connsiteY1355" fmla="*/ 328551 h 1155218"/>
                    <a:gd name="connsiteX1356" fmla="*/ 928619 w 1655446"/>
                    <a:gd name="connsiteY1356" fmla="*/ 327932 h 1155218"/>
                    <a:gd name="connsiteX1357" fmla="*/ 929712 w 1655446"/>
                    <a:gd name="connsiteY1357" fmla="*/ 327677 h 1155218"/>
                    <a:gd name="connsiteX1358" fmla="*/ 930392 w 1655446"/>
                    <a:gd name="connsiteY1358" fmla="*/ 327034 h 1155218"/>
                    <a:gd name="connsiteX1359" fmla="*/ 930635 w 1655446"/>
                    <a:gd name="connsiteY1359" fmla="*/ 325941 h 1155218"/>
                    <a:gd name="connsiteX1360" fmla="*/ 930683 w 1655446"/>
                    <a:gd name="connsiteY1360" fmla="*/ 324253 h 1155218"/>
                    <a:gd name="connsiteX1361" fmla="*/ 930526 w 1655446"/>
                    <a:gd name="connsiteY1361" fmla="*/ 322662 h 1155218"/>
                    <a:gd name="connsiteX1362" fmla="*/ 930793 w 1655446"/>
                    <a:gd name="connsiteY1362" fmla="*/ 319590 h 1155218"/>
                    <a:gd name="connsiteX1363" fmla="*/ 932857 w 1655446"/>
                    <a:gd name="connsiteY1363" fmla="*/ 317234 h 1155218"/>
                    <a:gd name="connsiteX1364" fmla="*/ 935225 w 1655446"/>
                    <a:gd name="connsiteY1364" fmla="*/ 316627 h 1155218"/>
                    <a:gd name="connsiteX1365" fmla="*/ 939912 w 1655446"/>
                    <a:gd name="connsiteY1365" fmla="*/ 316894 h 1155218"/>
                    <a:gd name="connsiteX1366" fmla="*/ 941952 w 1655446"/>
                    <a:gd name="connsiteY1366" fmla="*/ 318121 h 1155218"/>
                    <a:gd name="connsiteX1367" fmla="*/ 942960 w 1655446"/>
                    <a:gd name="connsiteY1367" fmla="*/ 318873 h 1155218"/>
                    <a:gd name="connsiteX1368" fmla="*/ 941588 w 1655446"/>
                    <a:gd name="connsiteY1368" fmla="*/ 321836 h 1155218"/>
                    <a:gd name="connsiteX1369" fmla="*/ 944453 w 1655446"/>
                    <a:gd name="connsiteY1369" fmla="*/ 320440 h 1155218"/>
                    <a:gd name="connsiteX1370" fmla="*/ 945668 w 1655446"/>
                    <a:gd name="connsiteY1370" fmla="*/ 320756 h 1155218"/>
                    <a:gd name="connsiteX1371" fmla="*/ 946238 w 1655446"/>
                    <a:gd name="connsiteY1371" fmla="*/ 321023 h 1155218"/>
                    <a:gd name="connsiteX1372" fmla="*/ 946991 w 1655446"/>
                    <a:gd name="connsiteY1372" fmla="*/ 321861 h 1155218"/>
                    <a:gd name="connsiteX1373" fmla="*/ 947635 w 1655446"/>
                    <a:gd name="connsiteY1373" fmla="*/ 322808 h 1155218"/>
                    <a:gd name="connsiteX1374" fmla="*/ 948193 w 1655446"/>
                    <a:gd name="connsiteY1374" fmla="*/ 324083 h 1155218"/>
                    <a:gd name="connsiteX1375" fmla="*/ 947878 w 1655446"/>
                    <a:gd name="connsiteY1375" fmla="*/ 326026 h 1155218"/>
                    <a:gd name="connsiteX1376" fmla="*/ 947258 w 1655446"/>
                    <a:gd name="connsiteY1376" fmla="*/ 327313 h 1155218"/>
                    <a:gd name="connsiteX1377" fmla="*/ 941709 w 1655446"/>
                    <a:gd name="connsiteY1377" fmla="*/ 333056 h 1155218"/>
                    <a:gd name="connsiteX1378" fmla="*/ 941102 w 1655446"/>
                    <a:gd name="connsiteY1378" fmla="*/ 334647 h 1155218"/>
                    <a:gd name="connsiteX1379" fmla="*/ 940738 w 1655446"/>
                    <a:gd name="connsiteY1379" fmla="*/ 336274 h 1155218"/>
                    <a:gd name="connsiteX1380" fmla="*/ 940896 w 1655446"/>
                    <a:gd name="connsiteY1380" fmla="*/ 337695 h 1155218"/>
                    <a:gd name="connsiteX1381" fmla="*/ 941272 w 1655446"/>
                    <a:gd name="connsiteY1381" fmla="*/ 337987 h 1155218"/>
                    <a:gd name="connsiteX1382" fmla="*/ 942292 w 1655446"/>
                    <a:gd name="connsiteY1382" fmla="*/ 337829 h 1155218"/>
                    <a:gd name="connsiteX1383" fmla="*/ 944988 w 1655446"/>
                    <a:gd name="connsiteY1383" fmla="*/ 336942 h 1155218"/>
                    <a:gd name="connsiteX1384" fmla="*/ 950853 w 1655446"/>
                    <a:gd name="connsiteY1384" fmla="*/ 334283 h 1155218"/>
                    <a:gd name="connsiteX1385" fmla="*/ 954775 w 1655446"/>
                    <a:gd name="connsiteY1385" fmla="*/ 333724 h 1155218"/>
                    <a:gd name="connsiteX1386" fmla="*/ 957325 w 1655446"/>
                    <a:gd name="connsiteY1386" fmla="*/ 334101 h 1155218"/>
                    <a:gd name="connsiteX1387" fmla="*/ 959110 w 1655446"/>
                    <a:gd name="connsiteY1387" fmla="*/ 334489 h 1155218"/>
                    <a:gd name="connsiteX1388" fmla="*/ 960130 w 1655446"/>
                    <a:gd name="connsiteY1388" fmla="*/ 338047 h 1155218"/>
                    <a:gd name="connsiteX1389" fmla="*/ 960810 w 1655446"/>
                    <a:gd name="connsiteY1389" fmla="*/ 343682 h 1155218"/>
                    <a:gd name="connsiteX1390" fmla="*/ 962231 w 1655446"/>
                    <a:gd name="connsiteY1390" fmla="*/ 341301 h 1155218"/>
                    <a:gd name="connsiteX1391" fmla="*/ 963967 w 1655446"/>
                    <a:gd name="connsiteY1391" fmla="*/ 339189 h 1155218"/>
                    <a:gd name="connsiteX1392" fmla="*/ 967404 w 1655446"/>
                    <a:gd name="connsiteY1392" fmla="*/ 336760 h 1155218"/>
                    <a:gd name="connsiteX1393" fmla="*/ 970294 w 1655446"/>
                    <a:gd name="connsiteY1393" fmla="*/ 336602 h 1155218"/>
                    <a:gd name="connsiteX1394" fmla="*/ 972880 w 1655446"/>
                    <a:gd name="connsiteY1394" fmla="*/ 337051 h 1155218"/>
                    <a:gd name="connsiteX1395" fmla="*/ 975952 w 1655446"/>
                    <a:gd name="connsiteY1395" fmla="*/ 338351 h 1155218"/>
                    <a:gd name="connsiteX1396" fmla="*/ 976644 w 1655446"/>
                    <a:gd name="connsiteY1396" fmla="*/ 338205 h 1155218"/>
                    <a:gd name="connsiteX1397" fmla="*/ 978405 w 1655446"/>
                    <a:gd name="connsiteY1397" fmla="*/ 338023 h 1155218"/>
                    <a:gd name="connsiteX1398" fmla="*/ 980275 w 1655446"/>
                    <a:gd name="connsiteY1398" fmla="*/ 338035 h 1155218"/>
                    <a:gd name="connsiteX1399" fmla="*/ 983068 w 1655446"/>
                    <a:gd name="connsiteY1399" fmla="*/ 338679 h 1155218"/>
                    <a:gd name="connsiteX1400" fmla="*/ 987500 w 1655446"/>
                    <a:gd name="connsiteY1400" fmla="*/ 340330 h 1155218"/>
                    <a:gd name="connsiteX1401" fmla="*/ 987707 w 1655446"/>
                    <a:gd name="connsiteY1401" fmla="*/ 339954 h 1155218"/>
                    <a:gd name="connsiteX1402" fmla="*/ 987707 w 1655446"/>
                    <a:gd name="connsiteY1402" fmla="*/ 338339 h 1155218"/>
                    <a:gd name="connsiteX1403" fmla="*/ 987136 w 1655446"/>
                    <a:gd name="connsiteY1403" fmla="*/ 335546 h 1155218"/>
                    <a:gd name="connsiteX1404" fmla="*/ 982692 w 1655446"/>
                    <a:gd name="connsiteY1404" fmla="*/ 322091 h 1155218"/>
                    <a:gd name="connsiteX1405" fmla="*/ 982315 w 1655446"/>
                    <a:gd name="connsiteY1405" fmla="*/ 318971 h 1155218"/>
                    <a:gd name="connsiteX1406" fmla="*/ 982364 w 1655446"/>
                    <a:gd name="connsiteY1406" fmla="*/ 316809 h 1155218"/>
                    <a:gd name="connsiteX1407" fmla="*/ 982801 w 1655446"/>
                    <a:gd name="connsiteY1407" fmla="*/ 313846 h 1155218"/>
                    <a:gd name="connsiteX1408" fmla="*/ 985205 w 1655446"/>
                    <a:gd name="connsiteY1408" fmla="*/ 308078 h 1155218"/>
                    <a:gd name="connsiteX1409" fmla="*/ 991556 w 1655446"/>
                    <a:gd name="connsiteY1409" fmla="*/ 300161 h 1155218"/>
                    <a:gd name="connsiteX1410" fmla="*/ 995320 w 1655446"/>
                    <a:gd name="connsiteY1410" fmla="*/ 300161 h 1155218"/>
                    <a:gd name="connsiteX1411" fmla="*/ 996510 w 1655446"/>
                    <a:gd name="connsiteY1411" fmla="*/ 300671 h 1155218"/>
                    <a:gd name="connsiteX1412" fmla="*/ 998052 w 1655446"/>
                    <a:gd name="connsiteY1412" fmla="*/ 301643 h 1155218"/>
                    <a:gd name="connsiteX1413" fmla="*/ 999765 w 1655446"/>
                    <a:gd name="connsiteY1413" fmla="*/ 303537 h 1155218"/>
                    <a:gd name="connsiteX1414" fmla="*/ 1000287 w 1655446"/>
                    <a:gd name="connsiteY1414" fmla="*/ 306281 h 1155218"/>
                    <a:gd name="connsiteX1415" fmla="*/ 999534 w 1655446"/>
                    <a:gd name="connsiteY1415" fmla="*/ 309038 h 1155218"/>
                    <a:gd name="connsiteX1416" fmla="*/ 994507 w 1655446"/>
                    <a:gd name="connsiteY1416" fmla="*/ 317173 h 1155218"/>
                    <a:gd name="connsiteX1417" fmla="*/ 993936 w 1655446"/>
                    <a:gd name="connsiteY1417" fmla="*/ 318631 h 1155218"/>
                    <a:gd name="connsiteX1418" fmla="*/ 993717 w 1655446"/>
                    <a:gd name="connsiteY1418" fmla="*/ 319456 h 1155218"/>
                    <a:gd name="connsiteX1419" fmla="*/ 993572 w 1655446"/>
                    <a:gd name="connsiteY1419" fmla="*/ 320634 h 1155218"/>
                    <a:gd name="connsiteX1420" fmla="*/ 993766 w 1655446"/>
                    <a:gd name="connsiteY1420" fmla="*/ 321885 h 1155218"/>
                    <a:gd name="connsiteX1421" fmla="*/ 994349 w 1655446"/>
                    <a:gd name="connsiteY1421" fmla="*/ 323172 h 1155218"/>
                    <a:gd name="connsiteX1422" fmla="*/ 995478 w 1655446"/>
                    <a:gd name="connsiteY1422" fmla="*/ 324459 h 1155218"/>
                    <a:gd name="connsiteX1423" fmla="*/ 995587 w 1655446"/>
                    <a:gd name="connsiteY1423" fmla="*/ 324471 h 1155218"/>
                    <a:gd name="connsiteX1424" fmla="*/ 996037 w 1655446"/>
                    <a:gd name="connsiteY1424" fmla="*/ 324326 h 1155218"/>
                    <a:gd name="connsiteX1425" fmla="*/ 996122 w 1655446"/>
                    <a:gd name="connsiteY1425" fmla="*/ 323694 h 1155218"/>
                    <a:gd name="connsiteX1426" fmla="*/ 996534 w 1655446"/>
                    <a:gd name="connsiteY1426" fmla="*/ 322820 h 1155218"/>
                    <a:gd name="connsiteX1427" fmla="*/ 997530 w 1655446"/>
                    <a:gd name="connsiteY1427" fmla="*/ 321193 h 1155218"/>
                    <a:gd name="connsiteX1428" fmla="*/ 999412 w 1655446"/>
                    <a:gd name="connsiteY1428" fmla="*/ 319238 h 1155218"/>
                    <a:gd name="connsiteX1429" fmla="*/ 1002157 w 1655446"/>
                    <a:gd name="connsiteY1429" fmla="*/ 317659 h 1155218"/>
                    <a:gd name="connsiteX1430" fmla="*/ 1004950 w 1655446"/>
                    <a:gd name="connsiteY1430" fmla="*/ 316943 h 1155218"/>
                    <a:gd name="connsiteX1431" fmla="*/ 1007840 w 1655446"/>
                    <a:gd name="connsiteY1431" fmla="*/ 317173 h 1155218"/>
                    <a:gd name="connsiteX1432" fmla="*/ 1010171 w 1655446"/>
                    <a:gd name="connsiteY1432" fmla="*/ 318121 h 1155218"/>
                    <a:gd name="connsiteX1433" fmla="*/ 1010924 w 1655446"/>
                    <a:gd name="connsiteY1433" fmla="*/ 317781 h 1155218"/>
                    <a:gd name="connsiteX1434" fmla="*/ 1013377 w 1655446"/>
                    <a:gd name="connsiteY1434" fmla="*/ 315146 h 1155218"/>
                    <a:gd name="connsiteX1435" fmla="*/ 1015101 w 1655446"/>
                    <a:gd name="connsiteY1435" fmla="*/ 313822 h 1155218"/>
                    <a:gd name="connsiteX1436" fmla="*/ 1017238 w 1655446"/>
                    <a:gd name="connsiteY1436" fmla="*/ 312851 h 1155218"/>
                    <a:gd name="connsiteX1437" fmla="*/ 1019375 w 1655446"/>
                    <a:gd name="connsiteY1437" fmla="*/ 311988 h 1155218"/>
                    <a:gd name="connsiteX1438" fmla="*/ 1022338 w 1655446"/>
                    <a:gd name="connsiteY1438" fmla="*/ 315862 h 1155218"/>
                    <a:gd name="connsiteX1439" fmla="*/ 1021695 w 1655446"/>
                    <a:gd name="connsiteY1439" fmla="*/ 319396 h 1155218"/>
                    <a:gd name="connsiteX1440" fmla="*/ 1018622 w 1655446"/>
                    <a:gd name="connsiteY1440" fmla="*/ 326001 h 1155218"/>
                    <a:gd name="connsiteX1441" fmla="*/ 1011871 w 1655446"/>
                    <a:gd name="connsiteY1441" fmla="*/ 334987 h 1155218"/>
                    <a:gd name="connsiteX1442" fmla="*/ 1009892 w 1655446"/>
                    <a:gd name="connsiteY1442" fmla="*/ 339735 h 1155218"/>
                    <a:gd name="connsiteX1443" fmla="*/ 1007900 w 1655446"/>
                    <a:gd name="connsiteY1443" fmla="*/ 342807 h 1155218"/>
                    <a:gd name="connsiteX1444" fmla="*/ 1002812 w 1655446"/>
                    <a:gd name="connsiteY1444" fmla="*/ 347494 h 1155218"/>
                    <a:gd name="connsiteX1445" fmla="*/ 1002302 w 1655446"/>
                    <a:gd name="connsiteY1445" fmla="*/ 348356 h 1155218"/>
                    <a:gd name="connsiteX1446" fmla="*/ 1001683 w 1655446"/>
                    <a:gd name="connsiteY1446" fmla="*/ 351307 h 1155218"/>
                    <a:gd name="connsiteX1447" fmla="*/ 1001331 w 1655446"/>
                    <a:gd name="connsiteY1447" fmla="*/ 354076 h 1155218"/>
                    <a:gd name="connsiteX1448" fmla="*/ 1001355 w 1655446"/>
                    <a:gd name="connsiteY1448" fmla="*/ 356201 h 1155218"/>
                    <a:gd name="connsiteX1449" fmla="*/ 1001574 w 1655446"/>
                    <a:gd name="connsiteY1449" fmla="*/ 357549 h 1155218"/>
                    <a:gd name="connsiteX1450" fmla="*/ 1003007 w 1655446"/>
                    <a:gd name="connsiteY1450" fmla="*/ 358472 h 1155218"/>
                    <a:gd name="connsiteX1451" fmla="*/ 1003723 w 1655446"/>
                    <a:gd name="connsiteY1451" fmla="*/ 358751 h 1155218"/>
                    <a:gd name="connsiteX1452" fmla="*/ 1007524 w 1655446"/>
                    <a:gd name="connsiteY1452" fmla="*/ 358387 h 1155218"/>
                    <a:gd name="connsiteX1453" fmla="*/ 1007682 w 1655446"/>
                    <a:gd name="connsiteY1453" fmla="*/ 357949 h 1155218"/>
                    <a:gd name="connsiteX1454" fmla="*/ 1007026 w 1655446"/>
                    <a:gd name="connsiteY1454" fmla="*/ 353760 h 1155218"/>
                    <a:gd name="connsiteX1455" fmla="*/ 1006832 w 1655446"/>
                    <a:gd name="connsiteY1455" fmla="*/ 350069 h 1155218"/>
                    <a:gd name="connsiteX1456" fmla="*/ 1007281 w 1655446"/>
                    <a:gd name="connsiteY1456" fmla="*/ 347142 h 1155218"/>
                    <a:gd name="connsiteX1457" fmla="*/ 1009042 w 1655446"/>
                    <a:gd name="connsiteY1457" fmla="*/ 345564 h 1155218"/>
                    <a:gd name="connsiteX1458" fmla="*/ 1011798 w 1655446"/>
                    <a:gd name="connsiteY1458" fmla="*/ 344325 h 1155218"/>
                    <a:gd name="connsiteX1459" fmla="*/ 1016218 w 1655446"/>
                    <a:gd name="connsiteY1459" fmla="*/ 344034 h 1155218"/>
                    <a:gd name="connsiteX1460" fmla="*/ 1019363 w 1655446"/>
                    <a:gd name="connsiteY1460" fmla="*/ 344872 h 1155218"/>
                    <a:gd name="connsiteX1461" fmla="*/ 1021622 w 1655446"/>
                    <a:gd name="connsiteY1461" fmla="*/ 346365 h 1155218"/>
                    <a:gd name="connsiteX1462" fmla="*/ 1022290 w 1655446"/>
                    <a:gd name="connsiteY1462" fmla="*/ 346863 h 1155218"/>
                    <a:gd name="connsiteX1463" fmla="*/ 1023225 w 1655446"/>
                    <a:gd name="connsiteY1463" fmla="*/ 349146 h 1155218"/>
                    <a:gd name="connsiteX1464" fmla="*/ 1023759 w 1655446"/>
                    <a:gd name="connsiteY1464" fmla="*/ 352084 h 1155218"/>
                    <a:gd name="connsiteX1465" fmla="*/ 1024645 w 1655446"/>
                    <a:gd name="connsiteY1465" fmla="*/ 352339 h 1155218"/>
                    <a:gd name="connsiteX1466" fmla="*/ 1027256 w 1655446"/>
                    <a:gd name="connsiteY1466" fmla="*/ 350700 h 1155218"/>
                    <a:gd name="connsiteX1467" fmla="*/ 1028094 w 1655446"/>
                    <a:gd name="connsiteY1467" fmla="*/ 349826 h 1155218"/>
                    <a:gd name="connsiteX1468" fmla="*/ 1031482 w 1655446"/>
                    <a:gd name="connsiteY1468" fmla="*/ 343050 h 1155218"/>
                    <a:gd name="connsiteX1469" fmla="*/ 1033510 w 1655446"/>
                    <a:gd name="connsiteY1469" fmla="*/ 340427 h 1155218"/>
                    <a:gd name="connsiteX1470" fmla="*/ 1036473 w 1655446"/>
                    <a:gd name="connsiteY1470" fmla="*/ 337987 h 1155218"/>
                    <a:gd name="connsiteX1471" fmla="*/ 1039642 w 1655446"/>
                    <a:gd name="connsiteY1471" fmla="*/ 337258 h 1155218"/>
                    <a:gd name="connsiteX1472" fmla="*/ 1041099 w 1655446"/>
                    <a:gd name="connsiteY1472" fmla="*/ 337173 h 1155218"/>
                    <a:gd name="connsiteX1473" fmla="*/ 1043370 w 1655446"/>
                    <a:gd name="connsiteY1473" fmla="*/ 337537 h 1155218"/>
                    <a:gd name="connsiteX1474" fmla="*/ 1045616 w 1655446"/>
                    <a:gd name="connsiteY1474" fmla="*/ 338278 h 1155218"/>
                    <a:gd name="connsiteX1475" fmla="*/ 1053291 w 1655446"/>
                    <a:gd name="connsiteY1475" fmla="*/ 341860 h 1155218"/>
                    <a:gd name="connsiteX1476" fmla="*/ 1058682 w 1655446"/>
                    <a:gd name="connsiteY1476" fmla="*/ 343317 h 1155218"/>
                    <a:gd name="connsiteX1477" fmla="*/ 1060516 w 1655446"/>
                    <a:gd name="connsiteY1477" fmla="*/ 343451 h 1155218"/>
                    <a:gd name="connsiteX1478" fmla="*/ 1074225 w 1655446"/>
                    <a:gd name="connsiteY1478" fmla="*/ 342589 h 1155218"/>
                    <a:gd name="connsiteX1479" fmla="*/ 1079167 w 1655446"/>
                    <a:gd name="connsiteY1479" fmla="*/ 341617 h 1155218"/>
                    <a:gd name="connsiteX1480" fmla="*/ 1080661 w 1655446"/>
                    <a:gd name="connsiteY1480" fmla="*/ 341836 h 1155218"/>
                    <a:gd name="connsiteX1481" fmla="*/ 1082640 w 1655446"/>
                    <a:gd name="connsiteY1481" fmla="*/ 342674 h 1155218"/>
                    <a:gd name="connsiteX1482" fmla="*/ 1084340 w 1655446"/>
                    <a:gd name="connsiteY1482" fmla="*/ 343985 h 1155218"/>
                    <a:gd name="connsiteX1483" fmla="*/ 1086417 w 1655446"/>
                    <a:gd name="connsiteY1483" fmla="*/ 346559 h 1155218"/>
                    <a:gd name="connsiteX1484" fmla="*/ 1086514 w 1655446"/>
                    <a:gd name="connsiteY1484" fmla="*/ 346584 h 1155218"/>
                    <a:gd name="connsiteX1485" fmla="*/ 1088250 w 1655446"/>
                    <a:gd name="connsiteY1485" fmla="*/ 346147 h 1155218"/>
                    <a:gd name="connsiteX1486" fmla="*/ 1092075 w 1655446"/>
                    <a:gd name="connsiteY1486" fmla="*/ 343973 h 1155218"/>
                    <a:gd name="connsiteX1487" fmla="*/ 1094880 w 1655446"/>
                    <a:gd name="connsiteY1487" fmla="*/ 343002 h 1155218"/>
                    <a:gd name="connsiteX1488" fmla="*/ 1096046 w 1655446"/>
                    <a:gd name="connsiteY1488" fmla="*/ 342771 h 1155218"/>
                    <a:gd name="connsiteX1489" fmla="*/ 1096009 w 1655446"/>
                    <a:gd name="connsiteY1489" fmla="*/ 342613 h 1155218"/>
                    <a:gd name="connsiteX1490" fmla="*/ 1095597 w 1655446"/>
                    <a:gd name="connsiteY1490" fmla="*/ 341909 h 1155218"/>
                    <a:gd name="connsiteX1491" fmla="*/ 1092962 w 1655446"/>
                    <a:gd name="connsiteY1491" fmla="*/ 339079 h 1155218"/>
                    <a:gd name="connsiteX1492" fmla="*/ 1091626 w 1655446"/>
                    <a:gd name="connsiteY1492" fmla="*/ 337246 h 1155218"/>
                    <a:gd name="connsiteX1493" fmla="*/ 1090557 w 1655446"/>
                    <a:gd name="connsiteY1493" fmla="*/ 335279 h 1155218"/>
                    <a:gd name="connsiteX1494" fmla="*/ 1089889 w 1655446"/>
                    <a:gd name="connsiteY1494" fmla="*/ 333287 h 1155218"/>
                    <a:gd name="connsiteX1495" fmla="*/ 1089634 w 1655446"/>
                    <a:gd name="connsiteY1495" fmla="*/ 331939 h 1155218"/>
                    <a:gd name="connsiteX1496" fmla="*/ 1089622 w 1655446"/>
                    <a:gd name="connsiteY1496" fmla="*/ 329851 h 1155218"/>
                    <a:gd name="connsiteX1497" fmla="*/ 1089744 w 1655446"/>
                    <a:gd name="connsiteY1497" fmla="*/ 329025 h 1155218"/>
                    <a:gd name="connsiteX1498" fmla="*/ 1090448 w 1655446"/>
                    <a:gd name="connsiteY1498" fmla="*/ 327301 h 1155218"/>
                    <a:gd name="connsiteX1499" fmla="*/ 1091517 w 1655446"/>
                    <a:gd name="connsiteY1499" fmla="*/ 326014 h 1155218"/>
                    <a:gd name="connsiteX1500" fmla="*/ 1094394 w 1655446"/>
                    <a:gd name="connsiteY1500" fmla="*/ 323998 h 1155218"/>
                    <a:gd name="connsiteX1501" fmla="*/ 1099713 w 1655446"/>
                    <a:gd name="connsiteY1501" fmla="*/ 322273 h 1155218"/>
                    <a:gd name="connsiteX1502" fmla="*/ 1105080 w 1655446"/>
                    <a:gd name="connsiteY1502" fmla="*/ 321909 h 1155218"/>
                    <a:gd name="connsiteX1503" fmla="*/ 1107084 w 1655446"/>
                    <a:gd name="connsiteY1503" fmla="*/ 321217 h 1155218"/>
                    <a:gd name="connsiteX1504" fmla="*/ 1110022 w 1655446"/>
                    <a:gd name="connsiteY1504" fmla="*/ 319396 h 1155218"/>
                    <a:gd name="connsiteX1505" fmla="*/ 1116920 w 1655446"/>
                    <a:gd name="connsiteY1505" fmla="*/ 314235 h 1155218"/>
                    <a:gd name="connsiteX1506" fmla="*/ 1121534 w 1655446"/>
                    <a:gd name="connsiteY1506" fmla="*/ 309863 h 1155218"/>
                    <a:gd name="connsiteX1507" fmla="*/ 1124897 w 1655446"/>
                    <a:gd name="connsiteY1507" fmla="*/ 307447 h 1155218"/>
                    <a:gd name="connsiteX1508" fmla="*/ 1140113 w 1655446"/>
                    <a:gd name="connsiteY1508" fmla="*/ 300428 h 1155218"/>
                    <a:gd name="connsiteX1509" fmla="*/ 1145808 w 1655446"/>
                    <a:gd name="connsiteY1509" fmla="*/ 303148 h 1155218"/>
                    <a:gd name="connsiteX1510" fmla="*/ 1153470 w 1655446"/>
                    <a:gd name="connsiteY1510" fmla="*/ 297587 h 1155218"/>
                    <a:gd name="connsiteX1511" fmla="*/ 1154465 w 1655446"/>
                    <a:gd name="connsiteY1511" fmla="*/ 296531 h 1155218"/>
                    <a:gd name="connsiteX1512" fmla="*/ 1155328 w 1655446"/>
                    <a:gd name="connsiteY1512" fmla="*/ 295389 h 1155218"/>
                    <a:gd name="connsiteX1513" fmla="*/ 1156153 w 1655446"/>
                    <a:gd name="connsiteY1513" fmla="*/ 293240 h 1155218"/>
                    <a:gd name="connsiteX1514" fmla="*/ 1157599 w 1655446"/>
                    <a:gd name="connsiteY1514" fmla="*/ 291030 h 1155218"/>
                    <a:gd name="connsiteX1515" fmla="*/ 1160367 w 1655446"/>
                    <a:gd name="connsiteY1515" fmla="*/ 289767 h 1155218"/>
                    <a:gd name="connsiteX1516" fmla="*/ 1162553 w 1655446"/>
                    <a:gd name="connsiteY1516" fmla="*/ 289900 h 1155218"/>
                    <a:gd name="connsiteX1517" fmla="*/ 1166463 w 1655446"/>
                    <a:gd name="connsiteY1517" fmla="*/ 291406 h 1155218"/>
                    <a:gd name="connsiteX1518" fmla="*/ 1166997 w 1655446"/>
                    <a:gd name="connsiteY1518" fmla="*/ 291370 h 1155218"/>
                    <a:gd name="connsiteX1519" fmla="*/ 1167446 w 1655446"/>
                    <a:gd name="connsiteY1519" fmla="*/ 291188 h 1155218"/>
                    <a:gd name="connsiteX1520" fmla="*/ 1170458 w 1655446"/>
                    <a:gd name="connsiteY1520" fmla="*/ 290253 h 1155218"/>
                    <a:gd name="connsiteX1521" fmla="*/ 1173469 w 1655446"/>
                    <a:gd name="connsiteY1521" fmla="*/ 289670 h 1155218"/>
                    <a:gd name="connsiteX1522" fmla="*/ 1175825 w 1655446"/>
                    <a:gd name="connsiteY1522" fmla="*/ 289791 h 1155218"/>
                    <a:gd name="connsiteX1523" fmla="*/ 1178897 w 1655446"/>
                    <a:gd name="connsiteY1523" fmla="*/ 290617 h 1155218"/>
                    <a:gd name="connsiteX1524" fmla="*/ 1180791 w 1655446"/>
                    <a:gd name="connsiteY1524" fmla="*/ 293592 h 1155218"/>
                    <a:gd name="connsiteX1525" fmla="*/ 1183596 w 1655446"/>
                    <a:gd name="connsiteY1525" fmla="*/ 297368 h 1155218"/>
                    <a:gd name="connsiteX1526" fmla="*/ 1184544 w 1655446"/>
                    <a:gd name="connsiteY1526" fmla="*/ 299311 h 1155218"/>
                    <a:gd name="connsiteX1527" fmla="*/ 1185248 w 1655446"/>
                    <a:gd name="connsiteY1527" fmla="*/ 301460 h 1155218"/>
                    <a:gd name="connsiteX1528" fmla="*/ 1186280 w 1655446"/>
                    <a:gd name="connsiteY1528" fmla="*/ 308224 h 1155218"/>
                    <a:gd name="connsiteX1529" fmla="*/ 1186656 w 1655446"/>
                    <a:gd name="connsiteY1529" fmla="*/ 316251 h 1155218"/>
                    <a:gd name="connsiteX1530" fmla="*/ 1186936 w 1655446"/>
                    <a:gd name="connsiteY1530" fmla="*/ 317088 h 1155218"/>
                    <a:gd name="connsiteX1531" fmla="*/ 1188964 w 1655446"/>
                    <a:gd name="connsiteY1531" fmla="*/ 317793 h 1155218"/>
                    <a:gd name="connsiteX1532" fmla="*/ 1192339 w 1655446"/>
                    <a:gd name="connsiteY1532" fmla="*/ 319736 h 1155218"/>
                    <a:gd name="connsiteX1533" fmla="*/ 1193493 w 1655446"/>
                    <a:gd name="connsiteY1533" fmla="*/ 320865 h 1155218"/>
                    <a:gd name="connsiteX1534" fmla="*/ 1194635 w 1655446"/>
                    <a:gd name="connsiteY1534" fmla="*/ 322310 h 1155218"/>
                    <a:gd name="connsiteX1535" fmla="*/ 1195533 w 1655446"/>
                    <a:gd name="connsiteY1535" fmla="*/ 323998 h 1155218"/>
                    <a:gd name="connsiteX1536" fmla="*/ 1197367 w 1655446"/>
                    <a:gd name="connsiteY1536" fmla="*/ 323634 h 1155218"/>
                    <a:gd name="connsiteX1537" fmla="*/ 1197986 w 1655446"/>
                    <a:gd name="connsiteY1537" fmla="*/ 323719 h 1155218"/>
                    <a:gd name="connsiteX1538" fmla="*/ 1199455 w 1655446"/>
                    <a:gd name="connsiteY1538" fmla="*/ 324180 h 1155218"/>
                    <a:gd name="connsiteX1539" fmla="*/ 1199929 w 1655446"/>
                    <a:gd name="connsiteY1539" fmla="*/ 324459 h 1155218"/>
                    <a:gd name="connsiteX1540" fmla="*/ 1201107 w 1655446"/>
                    <a:gd name="connsiteY1540" fmla="*/ 325419 h 1155218"/>
                    <a:gd name="connsiteX1541" fmla="*/ 1202151 w 1655446"/>
                    <a:gd name="connsiteY1541" fmla="*/ 326876 h 1155218"/>
                    <a:gd name="connsiteX1542" fmla="*/ 1202831 w 1655446"/>
                    <a:gd name="connsiteY1542" fmla="*/ 328199 h 1155218"/>
                    <a:gd name="connsiteX1543" fmla="*/ 1203280 w 1655446"/>
                    <a:gd name="connsiteY1543" fmla="*/ 329851 h 1155218"/>
                    <a:gd name="connsiteX1544" fmla="*/ 1203693 w 1655446"/>
                    <a:gd name="connsiteY1544" fmla="*/ 333360 h 1155218"/>
                    <a:gd name="connsiteX1545" fmla="*/ 1205442 w 1655446"/>
                    <a:gd name="connsiteY1545" fmla="*/ 336663 h 1155218"/>
                    <a:gd name="connsiteX1546" fmla="*/ 1205867 w 1655446"/>
                    <a:gd name="connsiteY1546" fmla="*/ 337938 h 1155218"/>
                    <a:gd name="connsiteX1547" fmla="*/ 1205867 w 1655446"/>
                    <a:gd name="connsiteY1547" fmla="*/ 338909 h 1155218"/>
                    <a:gd name="connsiteX1548" fmla="*/ 1205454 w 1655446"/>
                    <a:gd name="connsiteY1548" fmla="*/ 341714 h 1155218"/>
                    <a:gd name="connsiteX1549" fmla="*/ 1204373 w 1655446"/>
                    <a:gd name="connsiteY1549" fmla="*/ 343123 h 1155218"/>
                    <a:gd name="connsiteX1550" fmla="*/ 1203402 w 1655446"/>
                    <a:gd name="connsiteY1550" fmla="*/ 344046 h 1155218"/>
                    <a:gd name="connsiteX1551" fmla="*/ 1200645 w 1655446"/>
                    <a:gd name="connsiteY1551" fmla="*/ 345624 h 1155218"/>
                    <a:gd name="connsiteX1552" fmla="*/ 1197318 w 1655446"/>
                    <a:gd name="connsiteY1552" fmla="*/ 346984 h 1155218"/>
                    <a:gd name="connsiteX1553" fmla="*/ 1195327 w 1655446"/>
                    <a:gd name="connsiteY1553" fmla="*/ 348272 h 1155218"/>
                    <a:gd name="connsiteX1554" fmla="*/ 1193991 w 1655446"/>
                    <a:gd name="connsiteY1554" fmla="*/ 348988 h 1155218"/>
                    <a:gd name="connsiteX1555" fmla="*/ 1192291 w 1655446"/>
                    <a:gd name="connsiteY1555" fmla="*/ 349607 h 1155218"/>
                    <a:gd name="connsiteX1556" fmla="*/ 1191283 w 1655446"/>
                    <a:gd name="connsiteY1556" fmla="*/ 351222 h 1155218"/>
                    <a:gd name="connsiteX1557" fmla="*/ 1189959 w 1655446"/>
                    <a:gd name="connsiteY1557" fmla="*/ 353044 h 1155218"/>
                    <a:gd name="connsiteX1558" fmla="*/ 1185928 w 1655446"/>
                    <a:gd name="connsiteY1558" fmla="*/ 357087 h 1155218"/>
                    <a:gd name="connsiteX1559" fmla="*/ 1184774 w 1655446"/>
                    <a:gd name="connsiteY1559" fmla="*/ 358812 h 1155218"/>
                    <a:gd name="connsiteX1560" fmla="*/ 1182370 w 1655446"/>
                    <a:gd name="connsiteY1560" fmla="*/ 360949 h 1155218"/>
                    <a:gd name="connsiteX1561" fmla="*/ 1178921 w 1655446"/>
                    <a:gd name="connsiteY1561" fmla="*/ 361981 h 1155218"/>
                    <a:gd name="connsiteX1562" fmla="*/ 1176602 w 1655446"/>
                    <a:gd name="connsiteY1562" fmla="*/ 361957 h 1155218"/>
                    <a:gd name="connsiteX1563" fmla="*/ 1176614 w 1655446"/>
                    <a:gd name="connsiteY1563" fmla="*/ 363292 h 1155218"/>
                    <a:gd name="connsiteX1564" fmla="*/ 1177707 w 1655446"/>
                    <a:gd name="connsiteY1564" fmla="*/ 367057 h 1155218"/>
                    <a:gd name="connsiteX1565" fmla="*/ 1178460 w 1655446"/>
                    <a:gd name="connsiteY1565" fmla="*/ 368368 h 1155218"/>
                    <a:gd name="connsiteX1566" fmla="*/ 1179917 w 1655446"/>
                    <a:gd name="connsiteY1566" fmla="*/ 370420 h 1155218"/>
                    <a:gd name="connsiteX1567" fmla="*/ 1180767 w 1655446"/>
                    <a:gd name="connsiteY1567" fmla="*/ 370845 h 1155218"/>
                    <a:gd name="connsiteX1568" fmla="*/ 1186037 w 1655446"/>
                    <a:gd name="connsiteY1568" fmla="*/ 368963 h 1155218"/>
                    <a:gd name="connsiteX1569" fmla="*/ 1189219 w 1655446"/>
                    <a:gd name="connsiteY1569" fmla="*/ 368392 h 1155218"/>
                    <a:gd name="connsiteX1570" fmla="*/ 1193165 w 1655446"/>
                    <a:gd name="connsiteY1570" fmla="*/ 368927 h 1155218"/>
                    <a:gd name="connsiteX1571" fmla="*/ 1195266 w 1655446"/>
                    <a:gd name="connsiteY1571" fmla="*/ 369570 h 1155218"/>
                    <a:gd name="connsiteX1572" fmla="*/ 1197197 w 1655446"/>
                    <a:gd name="connsiteY1572" fmla="*/ 370408 h 1155218"/>
                    <a:gd name="connsiteX1573" fmla="*/ 1197913 w 1655446"/>
                    <a:gd name="connsiteY1573" fmla="*/ 370639 h 1155218"/>
                    <a:gd name="connsiteX1574" fmla="*/ 1197925 w 1655446"/>
                    <a:gd name="connsiteY1574" fmla="*/ 370457 h 1155218"/>
                    <a:gd name="connsiteX1575" fmla="*/ 1196759 w 1655446"/>
                    <a:gd name="connsiteY1575" fmla="*/ 366607 h 1155218"/>
                    <a:gd name="connsiteX1576" fmla="*/ 1196480 w 1655446"/>
                    <a:gd name="connsiteY1576" fmla="*/ 364737 h 1155218"/>
                    <a:gd name="connsiteX1577" fmla="*/ 1196650 w 1655446"/>
                    <a:gd name="connsiteY1577" fmla="*/ 362139 h 1155218"/>
                    <a:gd name="connsiteX1578" fmla="*/ 1198860 w 1655446"/>
                    <a:gd name="connsiteY1578" fmla="*/ 360402 h 1155218"/>
                    <a:gd name="connsiteX1579" fmla="*/ 1200779 w 1655446"/>
                    <a:gd name="connsiteY1579" fmla="*/ 360342 h 1155218"/>
                    <a:gd name="connsiteX1580" fmla="*/ 1202952 w 1655446"/>
                    <a:gd name="connsiteY1580" fmla="*/ 360839 h 1155218"/>
                    <a:gd name="connsiteX1581" fmla="*/ 1206692 w 1655446"/>
                    <a:gd name="connsiteY1581" fmla="*/ 364871 h 1155218"/>
                    <a:gd name="connsiteX1582" fmla="*/ 1210092 w 1655446"/>
                    <a:gd name="connsiteY1582" fmla="*/ 369570 h 1155218"/>
                    <a:gd name="connsiteX1583" fmla="*/ 1210408 w 1655446"/>
                    <a:gd name="connsiteY1583" fmla="*/ 369886 h 1155218"/>
                    <a:gd name="connsiteX1584" fmla="*/ 1211574 w 1655446"/>
                    <a:gd name="connsiteY1584" fmla="*/ 369764 h 1155218"/>
                    <a:gd name="connsiteX1585" fmla="*/ 1212715 w 1655446"/>
                    <a:gd name="connsiteY1585" fmla="*/ 369437 h 1155218"/>
                    <a:gd name="connsiteX1586" fmla="*/ 1216297 w 1655446"/>
                    <a:gd name="connsiteY1586" fmla="*/ 367032 h 1155218"/>
                    <a:gd name="connsiteX1587" fmla="*/ 1212278 w 1655446"/>
                    <a:gd name="connsiteY1587" fmla="*/ 365308 h 1155218"/>
                    <a:gd name="connsiteX1588" fmla="*/ 1210080 w 1655446"/>
                    <a:gd name="connsiteY1588" fmla="*/ 363681 h 1155218"/>
                    <a:gd name="connsiteX1589" fmla="*/ 1208465 w 1655446"/>
                    <a:gd name="connsiteY1589" fmla="*/ 361362 h 1155218"/>
                    <a:gd name="connsiteX1590" fmla="*/ 1206632 w 1655446"/>
                    <a:gd name="connsiteY1590" fmla="*/ 354622 h 1155218"/>
                    <a:gd name="connsiteX1591" fmla="*/ 1206510 w 1655446"/>
                    <a:gd name="connsiteY1591" fmla="*/ 352874 h 1155218"/>
                    <a:gd name="connsiteX1592" fmla="*/ 1207275 w 1655446"/>
                    <a:gd name="connsiteY1592" fmla="*/ 350712 h 1155218"/>
                    <a:gd name="connsiteX1593" fmla="*/ 1209133 w 1655446"/>
                    <a:gd name="connsiteY1593" fmla="*/ 349729 h 1155218"/>
                    <a:gd name="connsiteX1594" fmla="*/ 1209789 w 1655446"/>
                    <a:gd name="connsiteY1594" fmla="*/ 349571 h 1155218"/>
                    <a:gd name="connsiteX1595" fmla="*/ 1211246 w 1655446"/>
                    <a:gd name="connsiteY1595" fmla="*/ 349522 h 1155218"/>
                    <a:gd name="connsiteX1596" fmla="*/ 1213019 w 1655446"/>
                    <a:gd name="connsiteY1596" fmla="*/ 349911 h 1155218"/>
                    <a:gd name="connsiteX1597" fmla="*/ 1216686 w 1655446"/>
                    <a:gd name="connsiteY1597" fmla="*/ 351562 h 1155218"/>
                    <a:gd name="connsiteX1598" fmla="*/ 1221956 w 1655446"/>
                    <a:gd name="connsiteY1598" fmla="*/ 352315 h 1155218"/>
                    <a:gd name="connsiteX1599" fmla="*/ 1223146 w 1655446"/>
                    <a:gd name="connsiteY1599" fmla="*/ 352218 h 1155218"/>
                    <a:gd name="connsiteX1600" fmla="*/ 1224372 w 1655446"/>
                    <a:gd name="connsiteY1600" fmla="*/ 351999 h 1155218"/>
                    <a:gd name="connsiteX1601" fmla="*/ 1224688 w 1655446"/>
                    <a:gd name="connsiteY1601" fmla="*/ 351890 h 1155218"/>
                    <a:gd name="connsiteX1602" fmla="*/ 1224627 w 1655446"/>
                    <a:gd name="connsiteY1602" fmla="*/ 351125 h 1155218"/>
                    <a:gd name="connsiteX1603" fmla="*/ 1224300 w 1655446"/>
                    <a:gd name="connsiteY1603" fmla="*/ 349741 h 1155218"/>
                    <a:gd name="connsiteX1604" fmla="*/ 1224069 w 1655446"/>
                    <a:gd name="connsiteY1604" fmla="*/ 347312 h 1155218"/>
                    <a:gd name="connsiteX1605" fmla="*/ 1224834 w 1655446"/>
                    <a:gd name="connsiteY1605" fmla="*/ 344653 h 1155218"/>
                    <a:gd name="connsiteX1606" fmla="*/ 1227323 w 1655446"/>
                    <a:gd name="connsiteY1606" fmla="*/ 343099 h 1155218"/>
                    <a:gd name="connsiteX1607" fmla="*/ 1228817 w 1655446"/>
                    <a:gd name="connsiteY1607" fmla="*/ 342662 h 1155218"/>
                    <a:gd name="connsiteX1608" fmla="*/ 1231707 w 1655446"/>
                    <a:gd name="connsiteY1608" fmla="*/ 342771 h 1155218"/>
                    <a:gd name="connsiteX1609" fmla="*/ 1232375 w 1655446"/>
                    <a:gd name="connsiteY1609" fmla="*/ 342844 h 1155218"/>
                    <a:gd name="connsiteX1610" fmla="*/ 1234099 w 1655446"/>
                    <a:gd name="connsiteY1610" fmla="*/ 343936 h 1155218"/>
                    <a:gd name="connsiteX1611" fmla="*/ 1236200 w 1655446"/>
                    <a:gd name="connsiteY1611" fmla="*/ 346462 h 1155218"/>
                    <a:gd name="connsiteX1612" fmla="*/ 1238179 w 1655446"/>
                    <a:gd name="connsiteY1612" fmla="*/ 351101 h 1155218"/>
                    <a:gd name="connsiteX1613" fmla="*/ 1238993 w 1655446"/>
                    <a:gd name="connsiteY1613" fmla="*/ 352728 h 1155218"/>
                    <a:gd name="connsiteX1614" fmla="*/ 1239940 w 1655446"/>
                    <a:gd name="connsiteY1614" fmla="*/ 354112 h 1155218"/>
                    <a:gd name="connsiteX1615" fmla="*/ 1244238 w 1655446"/>
                    <a:gd name="connsiteY1615" fmla="*/ 358192 h 1155218"/>
                    <a:gd name="connsiteX1616" fmla="*/ 1245465 w 1655446"/>
                    <a:gd name="connsiteY1616" fmla="*/ 358897 h 1155218"/>
                    <a:gd name="connsiteX1617" fmla="*/ 1246533 w 1655446"/>
                    <a:gd name="connsiteY1617" fmla="*/ 358702 h 1155218"/>
                    <a:gd name="connsiteX1618" fmla="*/ 1249533 w 1655446"/>
                    <a:gd name="connsiteY1618" fmla="*/ 357634 h 1155218"/>
                    <a:gd name="connsiteX1619" fmla="*/ 1251828 w 1655446"/>
                    <a:gd name="connsiteY1619" fmla="*/ 357124 h 1155218"/>
                    <a:gd name="connsiteX1620" fmla="*/ 1256503 w 1655446"/>
                    <a:gd name="connsiteY1620" fmla="*/ 356990 h 1155218"/>
                    <a:gd name="connsiteX1621" fmla="*/ 1257207 w 1655446"/>
                    <a:gd name="connsiteY1621" fmla="*/ 356820 h 1155218"/>
                    <a:gd name="connsiteX1622" fmla="*/ 1256187 w 1655446"/>
                    <a:gd name="connsiteY1622" fmla="*/ 355824 h 1155218"/>
                    <a:gd name="connsiteX1623" fmla="*/ 1248282 w 1655446"/>
                    <a:gd name="connsiteY1623" fmla="*/ 350797 h 1155218"/>
                    <a:gd name="connsiteX1624" fmla="*/ 1247250 w 1655446"/>
                    <a:gd name="connsiteY1624" fmla="*/ 349972 h 1155218"/>
                    <a:gd name="connsiteX1625" fmla="*/ 1246655 w 1655446"/>
                    <a:gd name="connsiteY1625" fmla="*/ 349000 h 1155218"/>
                    <a:gd name="connsiteX1626" fmla="*/ 1245683 w 1655446"/>
                    <a:gd name="connsiteY1626" fmla="*/ 346353 h 1155218"/>
                    <a:gd name="connsiteX1627" fmla="*/ 1245878 w 1655446"/>
                    <a:gd name="connsiteY1627" fmla="*/ 345151 h 1155218"/>
                    <a:gd name="connsiteX1628" fmla="*/ 1246971 w 1655446"/>
                    <a:gd name="connsiteY1628" fmla="*/ 343730 h 1155218"/>
                    <a:gd name="connsiteX1629" fmla="*/ 1248355 w 1655446"/>
                    <a:gd name="connsiteY1629" fmla="*/ 342819 h 1155218"/>
                    <a:gd name="connsiteX1630" fmla="*/ 1249508 w 1655446"/>
                    <a:gd name="connsiteY1630" fmla="*/ 342358 h 1155218"/>
                    <a:gd name="connsiteX1631" fmla="*/ 1252058 w 1655446"/>
                    <a:gd name="connsiteY1631" fmla="*/ 341848 h 1155218"/>
                    <a:gd name="connsiteX1632" fmla="*/ 1266436 w 1655446"/>
                    <a:gd name="connsiteY1632" fmla="*/ 341374 h 1155218"/>
                    <a:gd name="connsiteX1633" fmla="*/ 1267565 w 1655446"/>
                    <a:gd name="connsiteY1633" fmla="*/ 341119 h 1155218"/>
                    <a:gd name="connsiteX1634" fmla="*/ 1268439 w 1655446"/>
                    <a:gd name="connsiteY1634" fmla="*/ 340658 h 1155218"/>
                    <a:gd name="connsiteX1635" fmla="*/ 1268779 w 1655446"/>
                    <a:gd name="connsiteY1635" fmla="*/ 340160 h 1155218"/>
                    <a:gd name="connsiteX1636" fmla="*/ 1268949 w 1655446"/>
                    <a:gd name="connsiteY1636" fmla="*/ 339650 h 1155218"/>
                    <a:gd name="connsiteX1637" fmla="*/ 1269848 w 1655446"/>
                    <a:gd name="connsiteY1637" fmla="*/ 335570 h 1155218"/>
                    <a:gd name="connsiteX1638" fmla="*/ 1270321 w 1655446"/>
                    <a:gd name="connsiteY1638" fmla="*/ 334392 h 1155218"/>
                    <a:gd name="connsiteX1639" fmla="*/ 1271390 w 1655446"/>
                    <a:gd name="connsiteY1639" fmla="*/ 332716 h 1155218"/>
                    <a:gd name="connsiteX1640" fmla="*/ 1272653 w 1655446"/>
                    <a:gd name="connsiteY1640" fmla="*/ 331526 h 1155218"/>
                    <a:gd name="connsiteX1641" fmla="*/ 1273952 w 1655446"/>
                    <a:gd name="connsiteY1641" fmla="*/ 330810 h 1155218"/>
                    <a:gd name="connsiteX1642" fmla="*/ 1275130 w 1655446"/>
                    <a:gd name="connsiteY1642" fmla="*/ 330348 h 1155218"/>
                    <a:gd name="connsiteX1643" fmla="*/ 1276624 w 1655446"/>
                    <a:gd name="connsiteY1643" fmla="*/ 329863 h 1155218"/>
                    <a:gd name="connsiteX1644" fmla="*/ 1278821 w 1655446"/>
                    <a:gd name="connsiteY1644" fmla="*/ 329511 h 1155218"/>
                    <a:gd name="connsiteX1645" fmla="*/ 1280558 w 1655446"/>
                    <a:gd name="connsiteY1645" fmla="*/ 329511 h 1155218"/>
                    <a:gd name="connsiteX1646" fmla="*/ 1282877 w 1655446"/>
                    <a:gd name="connsiteY1646" fmla="*/ 329960 h 1155218"/>
                    <a:gd name="connsiteX1647" fmla="*/ 1284128 w 1655446"/>
                    <a:gd name="connsiteY1647" fmla="*/ 330506 h 1155218"/>
                    <a:gd name="connsiteX1648" fmla="*/ 1286884 w 1655446"/>
                    <a:gd name="connsiteY1648" fmla="*/ 332607 h 1155218"/>
                    <a:gd name="connsiteX1649" fmla="*/ 1288099 w 1655446"/>
                    <a:gd name="connsiteY1649" fmla="*/ 335388 h 1155218"/>
                    <a:gd name="connsiteX1650" fmla="*/ 1287953 w 1655446"/>
                    <a:gd name="connsiteY1650" fmla="*/ 338715 h 1155218"/>
                    <a:gd name="connsiteX1651" fmla="*/ 1282246 w 1655446"/>
                    <a:gd name="connsiteY1651" fmla="*/ 352303 h 1155218"/>
                    <a:gd name="connsiteX1652" fmla="*/ 1281942 w 1655446"/>
                    <a:gd name="connsiteY1652" fmla="*/ 353639 h 1155218"/>
                    <a:gd name="connsiteX1653" fmla="*/ 1281396 w 1655446"/>
                    <a:gd name="connsiteY1653" fmla="*/ 359540 h 1155218"/>
                    <a:gd name="connsiteX1654" fmla="*/ 1280776 w 1655446"/>
                    <a:gd name="connsiteY1654" fmla="*/ 360597 h 1155218"/>
                    <a:gd name="connsiteX1655" fmla="*/ 1279866 w 1655446"/>
                    <a:gd name="connsiteY1655" fmla="*/ 361750 h 1155218"/>
                    <a:gd name="connsiteX1656" fmla="*/ 1276526 w 1655446"/>
                    <a:gd name="connsiteY1656" fmla="*/ 364422 h 1155218"/>
                    <a:gd name="connsiteX1657" fmla="*/ 1276016 w 1655446"/>
                    <a:gd name="connsiteY1657" fmla="*/ 365041 h 1155218"/>
                    <a:gd name="connsiteX1658" fmla="*/ 1275494 w 1655446"/>
                    <a:gd name="connsiteY1658" fmla="*/ 365818 h 1155218"/>
                    <a:gd name="connsiteX1659" fmla="*/ 1275312 w 1655446"/>
                    <a:gd name="connsiteY1659" fmla="*/ 368307 h 1155218"/>
                    <a:gd name="connsiteX1660" fmla="*/ 1275045 w 1655446"/>
                    <a:gd name="connsiteY1660" fmla="*/ 370020 h 1155218"/>
                    <a:gd name="connsiteX1661" fmla="*/ 1274061 w 1655446"/>
                    <a:gd name="connsiteY1661" fmla="*/ 372400 h 1155218"/>
                    <a:gd name="connsiteX1662" fmla="*/ 1273321 w 1655446"/>
                    <a:gd name="connsiteY1662" fmla="*/ 373760 h 1155218"/>
                    <a:gd name="connsiteX1663" fmla="*/ 1271803 w 1655446"/>
                    <a:gd name="connsiteY1663" fmla="*/ 375763 h 1155218"/>
                    <a:gd name="connsiteX1664" fmla="*/ 1269908 w 1655446"/>
                    <a:gd name="connsiteY1664" fmla="*/ 377682 h 1155218"/>
                    <a:gd name="connsiteX1665" fmla="*/ 1269726 w 1655446"/>
                    <a:gd name="connsiteY1665" fmla="*/ 378325 h 1155218"/>
                    <a:gd name="connsiteX1666" fmla="*/ 1270018 w 1655446"/>
                    <a:gd name="connsiteY1666" fmla="*/ 378653 h 1155218"/>
                    <a:gd name="connsiteX1667" fmla="*/ 1271256 w 1655446"/>
                    <a:gd name="connsiteY1667" fmla="*/ 379030 h 1155218"/>
                    <a:gd name="connsiteX1668" fmla="*/ 1275130 w 1655446"/>
                    <a:gd name="connsiteY1668" fmla="*/ 379236 h 1155218"/>
                    <a:gd name="connsiteX1669" fmla="*/ 1279999 w 1655446"/>
                    <a:gd name="connsiteY1669" fmla="*/ 379066 h 1155218"/>
                    <a:gd name="connsiteX1670" fmla="*/ 1280946 w 1655446"/>
                    <a:gd name="connsiteY1670" fmla="*/ 378896 h 1155218"/>
                    <a:gd name="connsiteX1671" fmla="*/ 1290479 w 1655446"/>
                    <a:gd name="connsiteY1671" fmla="*/ 376273 h 1155218"/>
                    <a:gd name="connsiteX1672" fmla="*/ 1292798 w 1655446"/>
                    <a:gd name="connsiteY1672" fmla="*/ 376224 h 1155218"/>
                    <a:gd name="connsiteX1673" fmla="*/ 1295044 w 1655446"/>
                    <a:gd name="connsiteY1673" fmla="*/ 376904 h 1155218"/>
                    <a:gd name="connsiteX1674" fmla="*/ 1297534 w 1655446"/>
                    <a:gd name="connsiteY1674" fmla="*/ 378884 h 1155218"/>
                    <a:gd name="connsiteX1675" fmla="*/ 1299707 w 1655446"/>
                    <a:gd name="connsiteY1675" fmla="*/ 381774 h 1155218"/>
                    <a:gd name="connsiteX1676" fmla="*/ 1300472 w 1655446"/>
                    <a:gd name="connsiteY1676" fmla="*/ 382138 h 1155218"/>
                    <a:gd name="connsiteX1677" fmla="*/ 1301856 w 1655446"/>
                    <a:gd name="connsiteY1677" fmla="*/ 382539 h 1155218"/>
                    <a:gd name="connsiteX1678" fmla="*/ 1303884 w 1655446"/>
                    <a:gd name="connsiteY1678" fmla="*/ 382308 h 1155218"/>
                    <a:gd name="connsiteX1679" fmla="*/ 1305475 w 1655446"/>
                    <a:gd name="connsiteY1679" fmla="*/ 381871 h 1155218"/>
                    <a:gd name="connsiteX1680" fmla="*/ 1310405 w 1655446"/>
                    <a:gd name="connsiteY1680" fmla="*/ 379892 h 1155218"/>
                    <a:gd name="connsiteX1681" fmla="*/ 1312700 w 1655446"/>
                    <a:gd name="connsiteY1681" fmla="*/ 379625 h 1155218"/>
                    <a:gd name="connsiteX1682" fmla="*/ 1315323 w 1655446"/>
                    <a:gd name="connsiteY1682" fmla="*/ 380742 h 1155218"/>
                    <a:gd name="connsiteX1683" fmla="*/ 1318784 w 1655446"/>
                    <a:gd name="connsiteY1683" fmla="*/ 382855 h 1155218"/>
                    <a:gd name="connsiteX1684" fmla="*/ 1326264 w 1655446"/>
                    <a:gd name="connsiteY1684" fmla="*/ 389472 h 1155218"/>
                    <a:gd name="connsiteX1685" fmla="*/ 1328838 w 1655446"/>
                    <a:gd name="connsiteY1685" fmla="*/ 390578 h 1155218"/>
                    <a:gd name="connsiteX1686" fmla="*/ 1332335 w 1655446"/>
                    <a:gd name="connsiteY1686" fmla="*/ 386267 h 1155218"/>
                    <a:gd name="connsiteX1687" fmla="*/ 1333805 w 1655446"/>
                    <a:gd name="connsiteY1687" fmla="*/ 384773 h 1155218"/>
                    <a:gd name="connsiteX1688" fmla="*/ 1335578 w 1655446"/>
                    <a:gd name="connsiteY1688" fmla="*/ 383632 h 1155218"/>
                    <a:gd name="connsiteX1689" fmla="*/ 1338577 w 1655446"/>
                    <a:gd name="connsiteY1689" fmla="*/ 382855 h 1155218"/>
                    <a:gd name="connsiteX1690" fmla="*/ 1342778 w 1655446"/>
                    <a:gd name="connsiteY1690" fmla="*/ 382648 h 1155218"/>
                    <a:gd name="connsiteX1691" fmla="*/ 1343082 w 1655446"/>
                    <a:gd name="connsiteY1691" fmla="*/ 381762 h 1155218"/>
                    <a:gd name="connsiteX1692" fmla="*/ 1342742 w 1655446"/>
                    <a:gd name="connsiteY1692" fmla="*/ 380547 h 1155218"/>
                    <a:gd name="connsiteX1693" fmla="*/ 1341868 w 1655446"/>
                    <a:gd name="connsiteY1693" fmla="*/ 378556 h 1155218"/>
                    <a:gd name="connsiteX1694" fmla="*/ 1341358 w 1655446"/>
                    <a:gd name="connsiteY1694" fmla="*/ 377767 h 1155218"/>
                    <a:gd name="connsiteX1695" fmla="*/ 1340847 w 1655446"/>
                    <a:gd name="connsiteY1695" fmla="*/ 375957 h 1155218"/>
                    <a:gd name="connsiteX1696" fmla="*/ 1341103 w 1655446"/>
                    <a:gd name="connsiteY1696" fmla="*/ 373480 h 1155218"/>
                    <a:gd name="connsiteX1697" fmla="*/ 1341661 w 1655446"/>
                    <a:gd name="connsiteY1697" fmla="*/ 371416 h 1155218"/>
                    <a:gd name="connsiteX1698" fmla="*/ 1342487 w 1655446"/>
                    <a:gd name="connsiteY1698" fmla="*/ 369667 h 1155218"/>
                    <a:gd name="connsiteX1699" fmla="*/ 1347878 w 1655446"/>
                    <a:gd name="connsiteY1699" fmla="*/ 364045 h 1155218"/>
                    <a:gd name="connsiteX1700" fmla="*/ 1350683 w 1655446"/>
                    <a:gd name="connsiteY1700" fmla="*/ 360463 h 1155218"/>
                    <a:gd name="connsiteX1701" fmla="*/ 1352942 w 1655446"/>
                    <a:gd name="connsiteY1701" fmla="*/ 356675 h 1155218"/>
                    <a:gd name="connsiteX1702" fmla="*/ 1353306 w 1655446"/>
                    <a:gd name="connsiteY1702" fmla="*/ 355448 h 1155218"/>
                    <a:gd name="connsiteX1703" fmla="*/ 1353476 w 1655446"/>
                    <a:gd name="connsiteY1703" fmla="*/ 354513 h 1155218"/>
                    <a:gd name="connsiteX1704" fmla="*/ 1353610 w 1655446"/>
                    <a:gd name="connsiteY1704" fmla="*/ 352776 h 1155218"/>
                    <a:gd name="connsiteX1705" fmla="*/ 1353537 w 1655446"/>
                    <a:gd name="connsiteY1705" fmla="*/ 351040 h 1155218"/>
                    <a:gd name="connsiteX1706" fmla="*/ 1352128 w 1655446"/>
                    <a:gd name="connsiteY1706" fmla="*/ 344738 h 1155218"/>
                    <a:gd name="connsiteX1707" fmla="*/ 1353063 w 1655446"/>
                    <a:gd name="connsiteY1707" fmla="*/ 341253 h 1155218"/>
                    <a:gd name="connsiteX1708" fmla="*/ 1356111 w 1655446"/>
                    <a:gd name="connsiteY1708" fmla="*/ 339067 h 1155218"/>
                    <a:gd name="connsiteX1709" fmla="*/ 1359827 w 1655446"/>
                    <a:gd name="connsiteY1709" fmla="*/ 339395 h 1155218"/>
                    <a:gd name="connsiteX1710" fmla="*/ 1362717 w 1655446"/>
                    <a:gd name="connsiteY1710" fmla="*/ 340281 h 1155218"/>
                    <a:gd name="connsiteX1711" fmla="*/ 1364089 w 1655446"/>
                    <a:gd name="connsiteY1711" fmla="*/ 340124 h 1155218"/>
                    <a:gd name="connsiteX1712" fmla="*/ 1366008 w 1655446"/>
                    <a:gd name="connsiteY1712" fmla="*/ 339261 h 1155218"/>
                    <a:gd name="connsiteX1713" fmla="*/ 1369432 w 1655446"/>
                    <a:gd name="connsiteY1713" fmla="*/ 338594 h 1155218"/>
                    <a:gd name="connsiteX1714" fmla="*/ 1373111 w 1655446"/>
                    <a:gd name="connsiteY1714" fmla="*/ 339541 h 1155218"/>
                    <a:gd name="connsiteX1715" fmla="*/ 1375843 w 1655446"/>
                    <a:gd name="connsiteY1715" fmla="*/ 340609 h 1155218"/>
                    <a:gd name="connsiteX1716" fmla="*/ 1379826 w 1655446"/>
                    <a:gd name="connsiteY1716" fmla="*/ 341775 h 1155218"/>
                    <a:gd name="connsiteX1717" fmla="*/ 1382376 w 1655446"/>
                    <a:gd name="connsiteY1717" fmla="*/ 343123 h 1155218"/>
                    <a:gd name="connsiteX1718" fmla="*/ 1383190 w 1655446"/>
                    <a:gd name="connsiteY1718" fmla="*/ 344289 h 1155218"/>
                    <a:gd name="connsiteX1719" fmla="*/ 1383919 w 1655446"/>
                    <a:gd name="connsiteY1719" fmla="*/ 345904 h 1155218"/>
                    <a:gd name="connsiteX1720" fmla="*/ 1384016 w 1655446"/>
                    <a:gd name="connsiteY1720" fmla="*/ 346535 h 1155218"/>
                    <a:gd name="connsiteX1721" fmla="*/ 1383967 w 1655446"/>
                    <a:gd name="connsiteY1721" fmla="*/ 348004 h 1155218"/>
                    <a:gd name="connsiteX1722" fmla="*/ 1382947 w 1655446"/>
                    <a:gd name="connsiteY1722" fmla="*/ 351307 h 1155218"/>
                    <a:gd name="connsiteX1723" fmla="*/ 1383676 w 1655446"/>
                    <a:gd name="connsiteY1723" fmla="*/ 351732 h 1155218"/>
                    <a:gd name="connsiteX1724" fmla="*/ 1385449 w 1655446"/>
                    <a:gd name="connsiteY1724" fmla="*/ 352072 h 1155218"/>
                    <a:gd name="connsiteX1725" fmla="*/ 1389954 w 1655446"/>
                    <a:gd name="connsiteY1725" fmla="*/ 352218 h 1155218"/>
                    <a:gd name="connsiteX1726" fmla="*/ 1394519 w 1655446"/>
                    <a:gd name="connsiteY1726" fmla="*/ 351587 h 1155218"/>
                    <a:gd name="connsiteX1727" fmla="*/ 1396049 w 1655446"/>
                    <a:gd name="connsiteY1727" fmla="*/ 350882 h 1155218"/>
                    <a:gd name="connsiteX1728" fmla="*/ 1396171 w 1655446"/>
                    <a:gd name="connsiteY1728" fmla="*/ 350542 h 1155218"/>
                    <a:gd name="connsiteX1729" fmla="*/ 1395722 w 1655446"/>
                    <a:gd name="connsiteY1729" fmla="*/ 350008 h 1155218"/>
                    <a:gd name="connsiteX1730" fmla="*/ 1391071 w 1655446"/>
                    <a:gd name="connsiteY1730" fmla="*/ 347422 h 1155218"/>
                    <a:gd name="connsiteX1731" fmla="*/ 1389395 w 1655446"/>
                    <a:gd name="connsiteY1731" fmla="*/ 345892 h 1155218"/>
                    <a:gd name="connsiteX1732" fmla="*/ 1386699 w 1655446"/>
                    <a:gd name="connsiteY1732" fmla="*/ 342091 h 1155218"/>
                    <a:gd name="connsiteX1733" fmla="*/ 1393232 w 1655446"/>
                    <a:gd name="connsiteY1733" fmla="*/ 338496 h 1155218"/>
                    <a:gd name="connsiteX1734" fmla="*/ 1413268 w 1655446"/>
                    <a:gd name="connsiteY1734" fmla="*/ 332607 h 1155218"/>
                    <a:gd name="connsiteX1735" fmla="*/ 1419012 w 1655446"/>
                    <a:gd name="connsiteY1735" fmla="*/ 340707 h 1155218"/>
                    <a:gd name="connsiteX1736" fmla="*/ 1419983 w 1655446"/>
                    <a:gd name="connsiteY1736" fmla="*/ 347009 h 1155218"/>
                    <a:gd name="connsiteX1737" fmla="*/ 1420530 w 1655446"/>
                    <a:gd name="connsiteY1737" fmla="*/ 347883 h 1155218"/>
                    <a:gd name="connsiteX1738" fmla="*/ 1421841 w 1655446"/>
                    <a:gd name="connsiteY1738" fmla="*/ 349462 h 1155218"/>
                    <a:gd name="connsiteX1739" fmla="*/ 1423092 w 1655446"/>
                    <a:gd name="connsiteY1739" fmla="*/ 351902 h 1155218"/>
                    <a:gd name="connsiteX1740" fmla="*/ 1423383 w 1655446"/>
                    <a:gd name="connsiteY1740" fmla="*/ 354343 h 1155218"/>
                    <a:gd name="connsiteX1741" fmla="*/ 1421890 w 1655446"/>
                    <a:gd name="connsiteY1741" fmla="*/ 356832 h 1155218"/>
                    <a:gd name="connsiteX1742" fmla="*/ 1422035 w 1655446"/>
                    <a:gd name="connsiteY1742" fmla="*/ 357075 h 1155218"/>
                    <a:gd name="connsiteX1743" fmla="*/ 1422861 w 1655446"/>
                    <a:gd name="connsiteY1743" fmla="*/ 357646 h 1155218"/>
                    <a:gd name="connsiteX1744" fmla="*/ 1424525 w 1655446"/>
                    <a:gd name="connsiteY1744" fmla="*/ 357852 h 1155218"/>
                    <a:gd name="connsiteX1745" fmla="*/ 1428775 w 1655446"/>
                    <a:gd name="connsiteY1745" fmla="*/ 358180 h 1155218"/>
                    <a:gd name="connsiteX1746" fmla="*/ 1436850 w 1655446"/>
                    <a:gd name="connsiteY1746" fmla="*/ 360208 h 1155218"/>
                    <a:gd name="connsiteX1747" fmla="*/ 1445034 w 1655446"/>
                    <a:gd name="connsiteY1747" fmla="*/ 359953 h 1155218"/>
                    <a:gd name="connsiteX1748" fmla="*/ 1447887 w 1655446"/>
                    <a:gd name="connsiteY1748" fmla="*/ 361993 h 1155218"/>
                    <a:gd name="connsiteX1749" fmla="*/ 1449138 w 1655446"/>
                    <a:gd name="connsiteY1749" fmla="*/ 365090 h 1155218"/>
                    <a:gd name="connsiteX1750" fmla="*/ 1449624 w 1655446"/>
                    <a:gd name="connsiteY1750" fmla="*/ 367737 h 1155218"/>
                    <a:gd name="connsiteX1751" fmla="*/ 1450875 w 1655446"/>
                    <a:gd name="connsiteY1751" fmla="*/ 368611 h 1155218"/>
                    <a:gd name="connsiteX1752" fmla="*/ 1453255 w 1655446"/>
                    <a:gd name="connsiteY1752" fmla="*/ 368987 h 1155218"/>
                    <a:gd name="connsiteX1753" fmla="*/ 1454967 w 1655446"/>
                    <a:gd name="connsiteY1753" fmla="*/ 368878 h 1155218"/>
                    <a:gd name="connsiteX1754" fmla="*/ 1456254 w 1655446"/>
                    <a:gd name="connsiteY1754" fmla="*/ 368344 h 1155218"/>
                    <a:gd name="connsiteX1755" fmla="*/ 1458646 w 1655446"/>
                    <a:gd name="connsiteY1755" fmla="*/ 366972 h 1155218"/>
                    <a:gd name="connsiteX1756" fmla="*/ 1460370 w 1655446"/>
                    <a:gd name="connsiteY1756" fmla="*/ 366304 h 1155218"/>
                    <a:gd name="connsiteX1757" fmla="*/ 1462508 w 1655446"/>
                    <a:gd name="connsiteY1757" fmla="*/ 365939 h 1155218"/>
                    <a:gd name="connsiteX1758" fmla="*/ 1464535 w 1655446"/>
                    <a:gd name="connsiteY1758" fmla="*/ 365855 h 1155218"/>
                    <a:gd name="connsiteX1759" fmla="*/ 1467875 w 1655446"/>
                    <a:gd name="connsiteY1759" fmla="*/ 366498 h 1155218"/>
                    <a:gd name="connsiteX1760" fmla="*/ 1470765 w 1655446"/>
                    <a:gd name="connsiteY1760" fmla="*/ 367967 h 1155218"/>
                    <a:gd name="connsiteX1761" fmla="*/ 1473861 w 1655446"/>
                    <a:gd name="connsiteY1761" fmla="*/ 371367 h 1155218"/>
                    <a:gd name="connsiteX1762" fmla="*/ 1475525 w 1655446"/>
                    <a:gd name="connsiteY1762" fmla="*/ 374901 h 1155218"/>
                    <a:gd name="connsiteX1763" fmla="*/ 1478196 w 1655446"/>
                    <a:gd name="connsiteY1763" fmla="*/ 378908 h 1155218"/>
                    <a:gd name="connsiteX1764" fmla="*/ 1478500 w 1655446"/>
                    <a:gd name="connsiteY1764" fmla="*/ 381495 h 1155218"/>
                    <a:gd name="connsiteX1765" fmla="*/ 1478208 w 1655446"/>
                    <a:gd name="connsiteY1765" fmla="*/ 384105 h 1155218"/>
                    <a:gd name="connsiteX1766" fmla="*/ 1477079 w 1655446"/>
                    <a:gd name="connsiteY1766" fmla="*/ 386595 h 1155218"/>
                    <a:gd name="connsiteX1767" fmla="*/ 1476812 w 1655446"/>
                    <a:gd name="connsiteY1767" fmla="*/ 387457 h 1155218"/>
                    <a:gd name="connsiteX1768" fmla="*/ 1477164 w 1655446"/>
                    <a:gd name="connsiteY1768" fmla="*/ 387663 h 1155218"/>
                    <a:gd name="connsiteX1769" fmla="*/ 1477711 w 1655446"/>
                    <a:gd name="connsiteY1769" fmla="*/ 388367 h 1155218"/>
                    <a:gd name="connsiteX1770" fmla="*/ 1478925 w 1655446"/>
                    <a:gd name="connsiteY1770" fmla="*/ 389691 h 1155218"/>
                    <a:gd name="connsiteX1771" fmla="*/ 1492428 w 1655446"/>
                    <a:gd name="connsiteY1771" fmla="*/ 399308 h 1155218"/>
                    <a:gd name="connsiteX1772" fmla="*/ 1494456 w 1655446"/>
                    <a:gd name="connsiteY1772" fmla="*/ 400255 h 1155218"/>
                    <a:gd name="connsiteX1773" fmla="*/ 1496034 w 1655446"/>
                    <a:gd name="connsiteY1773" fmla="*/ 400668 h 1155218"/>
                    <a:gd name="connsiteX1774" fmla="*/ 1499191 w 1655446"/>
                    <a:gd name="connsiteY1774" fmla="*/ 400972 h 1155218"/>
                    <a:gd name="connsiteX1775" fmla="*/ 1503332 w 1655446"/>
                    <a:gd name="connsiteY1775" fmla="*/ 400850 h 1155218"/>
                    <a:gd name="connsiteX1776" fmla="*/ 1505445 w 1655446"/>
                    <a:gd name="connsiteY1776" fmla="*/ 401057 h 1155218"/>
                    <a:gd name="connsiteX1777" fmla="*/ 1510812 w 1655446"/>
                    <a:gd name="connsiteY1777" fmla="*/ 403340 h 1155218"/>
                    <a:gd name="connsiteX1778" fmla="*/ 1520551 w 1655446"/>
                    <a:gd name="connsiteY1778" fmla="*/ 410856 h 1155218"/>
                    <a:gd name="connsiteX1779" fmla="*/ 1522178 w 1655446"/>
                    <a:gd name="connsiteY1779" fmla="*/ 411342 h 1155218"/>
                    <a:gd name="connsiteX1780" fmla="*/ 1523405 w 1655446"/>
                    <a:gd name="connsiteY1780" fmla="*/ 411378 h 1155218"/>
                    <a:gd name="connsiteX1781" fmla="*/ 1525396 w 1655446"/>
                    <a:gd name="connsiteY1781" fmla="*/ 410601 h 1155218"/>
                    <a:gd name="connsiteX1782" fmla="*/ 1526586 w 1655446"/>
                    <a:gd name="connsiteY1782" fmla="*/ 409970 h 1155218"/>
                    <a:gd name="connsiteX1783" fmla="*/ 1534175 w 1655446"/>
                    <a:gd name="connsiteY1783" fmla="*/ 404457 h 1155218"/>
                    <a:gd name="connsiteX1784" fmla="*/ 1536410 w 1655446"/>
                    <a:gd name="connsiteY1784" fmla="*/ 403643 h 1155218"/>
                    <a:gd name="connsiteX1785" fmla="*/ 1537842 w 1655446"/>
                    <a:gd name="connsiteY1785" fmla="*/ 403886 h 1155218"/>
                    <a:gd name="connsiteX1786" fmla="*/ 1539008 w 1655446"/>
                    <a:gd name="connsiteY1786" fmla="*/ 404348 h 1155218"/>
                    <a:gd name="connsiteX1787" fmla="*/ 1539627 w 1655446"/>
                    <a:gd name="connsiteY1787" fmla="*/ 404760 h 1155218"/>
                    <a:gd name="connsiteX1788" fmla="*/ 1540684 w 1655446"/>
                    <a:gd name="connsiteY1788" fmla="*/ 405878 h 1155218"/>
                    <a:gd name="connsiteX1789" fmla="*/ 1541364 w 1655446"/>
                    <a:gd name="connsiteY1789" fmla="*/ 407116 h 1155218"/>
                    <a:gd name="connsiteX1790" fmla="*/ 1542190 w 1655446"/>
                    <a:gd name="connsiteY1790" fmla="*/ 409606 h 1155218"/>
                    <a:gd name="connsiteX1791" fmla="*/ 1542542 w 1655446"/>
                    <a:gd name="connsiteY1791" fmla="*/ 414511 h 1155218"/>
                    <a:gd name="connsiteX1792" fmla="*/ 1541728 w 1655446"/>
                    <a:gd name="connsiteY1792" fmla="*/ 417875 h 1155218"/>
                    <a:gd name="connsiteX1793" fmla="*/ 1540975 w 1655446"/>
                    <a:gd name="connsiteY1793" fmla="*/ 419903 h 1155218"/>
                    <a:gd name="connsiteX1794" fmla="*/ 1540405 w 1655446"/>
                    <a:gd name="connsiteY1794" fmla="*/ 421081 h 1155218"/>
                    <a:gd name="connsiteX1795" fmla="*/ 1540975 w 1655446"/>
                    <a:gd name="connsiteY1795" fmla="*/ 421494 h 1155218"/>
                    <a:gd name="connsiteX1796" fmla="*/ 1541922 w 1655446"/>
                    <a:gd name="connsiteY1796" fmla="*/ 420316 h 1155218"/>
                    <a:gd name="connsiteX1797" fmla="*/ 1543173 w 1655446"/>
                    <a:gd name="connsiteY1797" fmla="*/ 417875 h 1155218"/>
                    <a:gd name="connsiteX1798" fmla="*/ 1543914 w 1655446"/>
                    <a:gd name="connsiteY1798" fmla="*/ 416806 h 1155218"/>
                    <a:gd name="connsiteX1799" fmla="*/ 1546075 w 1655446"/>
                    <a:gd name="connsiteY1799" fmla="*/ 414366 h 1155218"/>
                    <a:gd name="connsiteX1800" fmla="*/ 1549208 w 1655446"/>
                    <a:gd name="connsiteY1800" fmla="*/ 414766 h 1155218"/>
                    <a:gd name="connsiteX1801" fmla="*/ 1550908 w 1655446"/>
                    <a:gd name="connsiteY1801" fmla="*/ 416272 h 1155218"/>
                    <a:gd name="connsiteX1802" fmla="*/ 1551892 w 1655446"/>
                    <a:gd name="connsiteY1802" fmla="*/ 418106 h 1155218"/>
                    <a:gd name="connsiteX1803" fmla="*/ 1552025 w 1655446"/>
                    <a:gd name="connsiteY1803" fmla="*/ 422611 h 1155218"/>
                    <a:gd name="connsiteX1804" fmla="*/ 1551382 w 1655446"/>
                    <a:gd name="connsiteY1804" fmla="*/ 431584 h 1155218"/>
                    <a:gd name="connsiteX1805" fmla="*/ 1551503 w 1655446"/>
                    <a:gd name="connsiteY1805" fmla="*/ 431863 h 1155218"/>
                    <a:gd name="connsiteX1806" fmla="*/ 1554308 w 1655446"/>
                    <a:gd name="connsiteY1806" fmla="*/ 430941 h 1155218"/>
                    <a:gd name="connsiteX1807" fmla="*/ 1555632 w 1655446"/>
                    <a:gd name="connsiteY1807" fmla="*/ 430977 h 1155218"/>
                    <a:gd name="connsiteX1808" fmla="*/ 1558145 w 1655446"/>
                    <a:gd name="connsiteY1808" fmla="*/ 431742 h 1155218"/>
                    <a:gd name="connsiteX1809" fmla="*/ 1561060 w 1655446"/>
                    <a:gd name="connsiteY1809" fmla="*/ 433223 h 1155218"/>
                    <a:gd name="connsiteX1810" fmla="*/ 1562298 w 1655446"/>
                    <a:gd name="connsiteY1810" fmla="*/ 435810 h 1155218"/>
                    <a:gd name="connsiteX1811" fmla="*/ 1563245 w 1655446"/>
                    <a:gd name="connsiteY1811" fmla="*/ 440291 h 1155218"/>
                    <a:gd name="connsiteX1812" fmla="*/ 1560489 w 1655446"/>
                    <a:gd name="connsiteY1812" fmla="*/ 445949 h 1155218"/>
                    <a:gd name="connsiteX1813" fmla="*/ 1565577 w 1655446"/>
                    <a:gd name="connsiteY1813" fmla="*/ 445451 h 1155218"/>
                    <a:gd name="connsiteX1814" fmla="*/ 1573421 w 1655446"/>
                    <a:gd name="connsiteY1814" fmla="*/ 446362 h 1155218"/>
                    <a:gd name="connsiteX1815" fmla="*/ 1574077 w 1655446"/>
                    <a:gd name="connsiteY1815" fmla="*/ 446107 h 1155218"/>
                    <a:gd name="connsiteX1816" fmla="*/ 1575728 w 1655446"/>
                    <a:gd name="connsiteY1816" fmla="*/ 444626 h 1155218"/>
                    <a:gd name="connsiteX1817" fmla="*/ 1576166 w 1655446"/>
                    <a:gd name="connsiteY1817" fmla="*/ 443193 h 1155218"/>
                    <a:gd name="connsiteX1818" fmla="*/ 1576093 w 1655446"/>
                    <a:gd name="connsiteY1818" fmla="*/ 442234 h 1155218"/>
                    <a:gd name="connsiteX1819" fmla="*/ 1575473 w 1655446"/>
                    <a:gd name="connsiteY1819" fmla="*/ 439708 h 1155218"/>
                    <a:gd name="connsiteX1820" fmla="*/ 1575316 w 1655446"/>
                    <a:gd name="connsiteY1820" fmla="*/ 437486 h 1155218"/>
                    <a:gd name="connsiteX1821" fmla="*/ 1575303 w 1655446"/>
                    <a:gd name="connsiteY1821" fmla="*/ 435482 h 1155218"/>
                    <a:gd name="connsiteX1822" fmla="*/ 1575558 w 1655446"/>
                    <a:gd name="connsiteY1822" fmla="*/ 433357 h 1155218"/>
                    <a:gd name="connsiteX1823" fmla="*/ 1576627 w 1655446"/>
                    <a:gd name="connsiteY1823" fmla="*/ 429593 h 1155218"/>
                    <a:gd name="connsiteX1824" fmla="*/ 1581083 w 1655446"/>
                    <a:gd name="connsiteY1824" fmla="*/ 428634 h 1155218"/>
                    <a:gd name="connsiteX1825" fmla="*/ 1583816 w 1655446"/>
                    <a:gd name="connsiteY1825" fmla="*/ 428451 h 1155218"/>
                    <a:gd name="connsiteX1826" fmla="*/ 1602844 w 1655446"/>
                    <a:gd name="connsiteY1826" fmla="*/ 434608 h 1155218"/>
                    <a:gd name="connsiteX1827" fmla="*/ 1610821 w 1655446"/>
                    <a:gd name="connsiteY1827" fmla="*/ 435288 h 1155218"/>
                    <a:gd name="connsiteX1828" fmla="*/ 1613359 w 1655446"/>
                    <a:gd name="connsiteY1828" fmla="*/ 435045 h 1155218"/>
                    <a:gd name="connsiteX1829" fmla="*/ 1615205 w 1655446"/>
                    <a:gd name="connsiteY1829" fmla="*/ 434535 h 1155218"/>
                    <a:gd name="connsiteX1830" fmla="*/ 1627530 w 1655446"/>
                    <a:gd name="connsiteY1830" fmla="*/ 429131 h 1155218"/>
                    <a:gd name="connsiteX1831" fmla="*/ 1629740 w 1655446"/>
                    <a:gd name="connsiteY1831" fmla="*/ 428609 h 1155218"/>
                    <a:gd name="connsiteX1832" fmla="*/ 1632582 w 1655446"/>
                    <a:gd name="connsiteY1832" fmla="*/ 428536 h 1155218"/>
                    <a:gd name="connsiteX1833" fmla="*/ 1635411 w 1655446"/>
                    <a:gd name="connsiteY1833" fmla="*/ 430273 h 1155218"/>
                    <a:gd name="connsiteX1834" fmla="*/ 1636552 w 1655446"/>
                    <a:gd name="connsiteY1834" fmla="*/ 433272 h 1155218"/>
                    <a:gd name="connsiteX1835" fmla="*/ 1636103 w 1655446"/>
                    <a:gd name="connsiteY1835" fmla="*/ 438299 h 1155218"/>
                    <a:gd name="connsiteX1836" fmla="*/ 1636200 w 1655446"/>
                    <a:gd name="connsiteY1836" fmla="*/ 438408 h 1155218"/>
                    <a:gd name="connsiteX1837" fmla="*/ 1636929 w 1655446"/>
                    <a:gd name="connsiteY1837" fmla="*/ 438591 h 1155218"/>
                    <a:gd name="connsiteX1838" fmla="*/ 1642527 w 1655446"/>
                    <a:gd name="connsiteY1838" fmla="*/ 438834 h 1155218"/>
                    <a:gd name="connsiteX1839" fmla="*/ 1645332 w 1655446"/>
                    <a:gd name="connsiteY1839" fmla="*/ 439465 h 1155218"/>
                    <a:gd name="connsiteX1840" fmla="*/ 1647214 w 1655446"/>
                    <a:gd name="connsiteY1840" fmla="*/ 441469 h 1155218"/>
                    <a:gd name="connsiteX1841" fmla="*/ 1648647 w 1655446"/>
                    <a:gd name="connsiteY1841" fmla="*/ 444334 h 1155218"/>
                    <a:gd name="connsiteX1842" fmla="*/ 1649910 w 1655446"/>
                    <a:gd name="connsiteY1842" fmla="*/ 449471 h 1155218"/>
                    <a:gd name="connsiteX1843" fmla="*/ 1650747 w 1655446"/>
                    <a:gd name="connsiteY1843" fmla="*/ 451183 h 1155218"/>
                    <a:gd name="connsiteX1844" fmla="*/ 1651780 w 1655446"/>
                    <a:gd name="connsiteY1844" fmla="*/ 452664 h 1155218"/>
                    <a:gd name="connsiteX1845" fmla="*/ 1654208 w 1655446"/>
                    <a:gd name="connsiteY1845" fmla="*/ 454656 h 1155218"/>
                    <a:gd name="connsiteX1846" fmla="*/ 1655447 w 1655446"/>
                    <a:gd name="connsiteY1846" fmla="*/ 457339 h 1155218"/>
                    <a:gd name="connsiteX1847" fmla="*/ 1655216 w 1655446"/>
                    <a:gd name="connsiteY1847" fmla="*/ 460521 h 1155218"/>
                    <a:gd name="connsiteX1848" fmla="*/ 1652678 w 1655446"/>
                    <a:gd name="connsiteY1848" fmla="*/ 464795 h 1155218"/>
                    <a:gd name="connsiteX1849" fmla="*/ 1649776 w 1655446"/>
                    <a:gd name="connsiteY1849" fmla="*/ 466289 h 1155218"/>
                    <a:gd name="connsiteX1850" fmla="*/ 1645392 w 1655446"/>
                    <a:gd name="connsiteY1850" fmla="*/ 466920 h 1155218"/>
                    <a:gd name="connsiteX1851" fmla="*/ 1640681 w 1655446"/>
                    <a:gd name="connsiteY1851" fmla="*/ 465293 h 1155218"/>
                    <a:gd name="connsiteX1852" fmla="*/ 1639892 w 1655446"/>
                    <a:gd name="connsiteY1852" fmla="*/ 465839 h 1155218"/>
                    <a:gd name="connsiteX1853" fmla="*/ 1639673 w 1655446"/>
                    <a:gd name="connsiteY1853" fmla="*/ 466264 h 1155218"/>
                    <a:gd name="connsiteX1854" fmla="*/ 1639600 w 1655446"/>
                    <a:gd name="connsiteY1854" fmla="*/ 467454 h 1155218"/>
                    <a:gd name="connsiteX1855" fmla="*/ 1639867 w 1655446"/>
                    <a:gd name="connsiteY1855" fmla="*/ 469992 h 1155218"/>
                    <a:gd name="connsiteX1856" fmla="*/ 1641191 w 1655446"/>
                    <a:gd name="connsiteY1856" fmla="*/ 473344 h 1155218"/>
                    <a:gd name="connsiteX1857" fmla="*/ 1641264 w 1655446"/>
                    <a:gd name="connsiteY1857" fmla="*/ 478541 h 1155218"/>
                    <a:gd name="connsiteX1858" fmla="*/ 1639370 w 1655446"/>
                    <a:gd name="connsiteY1858" fmla="*/ 488182 h 1155218"/>
                    <a:gd name="connsiteX1859" fmla="*/ 1639370 w 1655446"/>
                    <a:gd name="connsiteY1859" fmla="*/ 490198 h 1155218"/>
                    <a:gd name="connsiteX1860" fmla="*/ 1639467 w 1655446"/>
                    <a:gd name="connsiteY1860" fmla="*/ 490307 h 1155218"/>
                    <a:gd name="connsiteX1861" fmla="*/ 1642794 w 1655446"/>
                    <a:gd name="connsiteY1861" fmla="*/ 491740 h 1155218"/>
                    <a:gd name="connsiteX1862" fmla="*/ 1644482 w 1655446"/>
                    <a:gd name="connsiteY1862" fmla="*/ 493950 h 1155218"/>
                    <a:gd name="connsiteX1863" fmla="*/ 1645696 w 1655446"/>
                    <a:gd name="connsiteY1863" fmla="*/ 497605 h 1155218"/>
                    <a:gd name="connsiteX1864" fmla="*/ 1645392 w 1655446"/>
                    <a:gd name="connsiteY1864" fmla="*/ 509639 h 1155218"/>
                    <a:gd name="connsiteX1865" fmla="*/ 1644797 w 1655446"/>
                    <a:gd name="connsiteY1865" fmla="*/ 512675 h 1155218"/>
                    <a:gd name="connsiteX1866" fmla="*/ 1643862 w 1655446"/>
                    <a:gd name="connsiteY1866" fmla="*/ 515565 h 1155218"/>
                    <a:gd name="connsiteX1867" fmla="*/ 1640572 w 1655446"/>
                    <a:gd name="connsiteY1867" fmla="*/ 521430 h 1155218"/>
                    <a:gd name="connsiteX1868" fmla="*/ 1639297 w 1655446"/>
                    <a:gd name="connsiteY1868" fmla="*/ 533828 h 1155218"/>
                    <a:gd name="connsiteX1869" fmla="*/ 1636589 w 1655446"/>
                    <a:gd name="connsiteY1869" fmla="*/ 537094 h 1155218"/>
                    <a:gd name="connsiteX1870" fmla="*/ 1632849 w 1655446"/>
                    <a:gd name="connsiteY1870" fmla="*/ 539511 h 1155218"/>
                    <a:gd name="connsiteX1871" fmla="*/ 1628769 w 1655446"/>
                    <a:gd name="connsiteY1871" fmla="*/ 539839 h 1155218"/>
                    <a:gd name="connsiteX1872" fmla="*/ 1629169 w 1655446"/>
                    <a:gd name="connsiteY1872" fmla="*/ 540907 h 1155218"/>
                    <a:gd name="connsiteX1873" fmla="*/ 1630311 w 1655446"/>
                    <a:gd name="connsiteY1873" fmla="*/ 542510 h 1155218"/>
                    <a:gd name="connsiteX1874" fmla="*/ 1632497 w 1655446"/>
                    <a:gd name="connsiteY1874" fmla="*/ 544878 h 1155218"/>
                    <a:gd name="connsiteX1875" fmla="*/ 1635460 w 1655446"/>
                    <a:gd name="connsiteY1875" fmla="*/ 547161 h 1155218"/>
                    <a:gd name="connsiteX1876" fmla="*/ 1637597 w 1655446"/>
                    <a:gd name="connsiteY1876" fmla="*/ 548569 h 1155218"/>
                    <a:gd name="connsiteX1877" fmla="*/ 1639248 w 1655446"/>
                    <a:gd name="connsiteY1877" fmla="*/ 550282 h 1155218"/>
                    <a:gd name="connsiteX1878" fmla="*/ 1640353 w 1655446"/>
                    <a:gd name="connsiteY1878" fmla="*/ 552795 h 1155218"/>
                    <a:gd name="connsiteX1879" fmla="*/ 1640511 w 1655446"/>
                    <a:gd name="connsiteY1879" fmla="*/ 556462 h 1155218"/>
                    <a:gd name="connsiteX1880" fmla="*/ 1639515 w 1655446"/>
                    <a:gd name="connsiteY1880" fmla="*/ 560239 h 1155218"/>
                    <a:gd name="connsiteX1881" fmla="*/ 1640742 w 1655446"/>
                    <a:gd name="connsiteY1881" fmla="*/ 560809 h 1155218"/>
                    <a:gd name="connsiteX1882" fmla="*/ 1645283 w 1655446"/>
                    <a:gd name="connsiteY1882" fmla="*/ 564634 h 1155218"/>
                    <a:gd name="connsiteX1883" fmla="*/ 1652885 w 1655446"/>
                    <a:gd name="connsiteY1883" fmla="*/ 575466 h 1155218"/>
                    <a:gd name="connsiteX1884" fmla="*/ 1649472 w 1655446"/>
                    <a:gd name="connsiteY1884" fmla="*/ 579959 h 1155218"/>
                    <a:gd name="connsiteX1885" fmla="*/ 1649472 w 1655446"/>
                    <a:gd name="connsiteY1885" fmla="*/ 580262 h 1155218"/>
                    <a:gd name="connsiteX1886" fmla="*/ 1649023 w 1655446"/>
                    <a:gd name="connsiteY1886" fmla="*/ 582994 h 1155218"/>
                    <a:gd name="connsiteX1887" fmla="*/ 1649011 w 1655446"/>
                    <a:gd name="connsiteY1887" fmla="*/ 585071 h 1155218"/>
                    <a:gd name="connsiteX1888" fmla="*/ 1647614 w 1655446"/>
                    <a:gd name="connsiteY1888" fmla="*/ 588981 h 1155218"/>
                    <a:gd name="connsiteX1889" fmla="*/ 1645101 w 1655446"/>
                    <a:gd name="connsiteY1889" fmla="*/ 591422 h 1155218"/>
                    <a:gd name="connsiteX1890" fmla="*/ 1638434 w 1655446"/>
                    <a:gd name="connsiteY1890" fmla="*/ 594895 h 1155218"/>
                    <a:gd name="connsiteX1891" fmla="*/ 1634852 w 1655446"/>
                    <a:gd name="connsiteY1891" fmla="*/ 596158 h 1155218"/>
                    <a:gd name="connsiteX1892" fmla="*/ 1629024 w 1655446"/>
                    <a:gd name="connsiteY1892" fmla="*/ 596971 h 1155218"/>
                    <a:gd name="connsiteX1893" fmla="*/ 1625842 w 1655446"/>
                    <a:gd name="connsiteY1893" fmla="*/ 598610 h 1155218"/>
                    <a:gd name="connsiteX1894" fmla="*/ 1625029 w 1655446"/>
                    <a:gd name="connsiteY1894" fmla="*/ 599521 h 1155218"/>
                    <a:gd name="connsiteX1895" fmla="*/ 1624506 w 1655446"/>
                    <a:gd name="connsiteY1895" fmla="*/ 601585 h 1155218"/>
                    <a:gd name="connsiteX1896" fmla="*/ 1624555 w 1655446"/>
                    <a:gd name="connsiteY1896" fmla="*/ 603638 h 1155218"/>
                    <a:gd name="connsiteX1897" fmla="*/ 1623790 w 1655446"/>
                    <a:gd name="connsiteY1897" fmla="*/ 607414 h 1155218"/>
                    <a:gd name="connsiteX1898" fmla="*/ 1621702 w 1655446"/>
                    <a:gd name="connsiteY1898" fmla="*/ 609588 h 1155218"/>
                    <a:gd name="connsiteX1899" fmla="*/ 1615181 w 1655446"/>
                    <a:gd name="connsiteY1899" fmla="*/ 613352 h 1155218"/>
                    <a:gd name="connsiteX1900" fmla="*/ 1606559 w 1655446"/>
                    <a:gd name="connsiteY1900" fmla="*/ 616825 h 1155218"/>
                    <a:gd name="connsiteX1901" fmla="*/ 1604398 w 1655446"/>
                    <a:gd name="connsiteY1901" fmla="*/ 618476 h 1155218"/>
                    <a:gd name="connsiteX1902" fmla="*/ 1603560 w 1655446"/>
                    <a:gd name="connsiteY1902" fmla="*/ 619958 h 1155218"/>
                    <a:gd name="connsiteX1903" fmla="*/ 1603208 w 1655446"/>
                    <a:gd name="connsiteY1903" fmla="*/ 620468 h 1155218"/>
                    <a:gd name="connsiteX1904" fmla="*/ 1599662 w 1655446"/>
                    <a:gd name="connsiteY1904" fmla="*/ 622666 h 1155218"/>
                    <a:gd name="connsiteX1905" fmla="*/ 1592753 w 1655446"/>
                    <a:gd name="connsiteY1905" fmla="*/ 623333 h 1155218"/>
                    <a:gd name="connsiteX1906" fmla="*/ 1576433 w 1655446"/>
                    <a:gd name="connsiteY1906" fmla="*/ 621196 h 1155218"/>
                    <a:gd name="connsiteX1907" fmla="*/ 1548079 w 1655446"/>
                    <a:gd name="connsiteY1907" fmla="*/ 620735 h 1155218"/>
                    <a:gd name="connsiteX1908" fmla="*/ 1543999 w 1655446"/>
                    <a:gd name="connsiteY1908" fmla="*/ 620128 h 1155218"/>
                    <a:gd name="connsiteX1909" fmla="*/ 1536167 w 1655446"/>
                    <a:gd name="connsiteY1909" fmla="*/ 617638 h 1155218"/>
                    <a:gd name="connsiteX1910" fmla="*/ 1519191 w 1655446"/>
                    <a:gd name="connsiteY1910" fmla="*/ 618148 h 1155218"/>
                    <a:gd name="connsiteX1911" fmla="*/ 1512500 w 1655446"/>
                    <a:gd name="connsiteY1911" fmla="*/ 617541 h 1155218"/>
                    <a:gd name="connsiteX1912" fmla="*/ 1503077 w 1655446"/>
                    <a:gd name="connsiteY1912" fmla="*/ 612053 h 1155218"/>
                    <a:gd name="connsiteX1913" fmla="*/ 1498742 w 1655446"/>
                    <a:gd name="connsiteY1913" fmla="*/ 610425 h 1155218"/>
                    <a:gd name="connsiteX1914" fmla="*/ 1486878 w 1655446"/>
                    <a:gd name="connsiteY1914" fmla="*/ 609794 h 1155218"/>
                    <a:gd name="connsiteX1915" fmla="*/ 1483005 w 1655446"/>
                    <a:gd name="connsiteY1915" fmla="*/ 611336 h 1155218"/>
                    <a:gd name="connsiteX1916" fmla="*/ 1474359 w 1655446"/>
                    <a:gd name="connsiteY1916" fmla="*/ 616424 h 1155218"/>
                    <a:gd name="connsiteX1917" fmla="*/ 1469308 w 1655446"/>
                    <a:gd name="connsiteY1917" fmla="*/ 618561 h 1155218"/>
                    <a:gd name="connsiteX1918" fmla="*/ 1463078 w 1655446"/>
                    <a:gd name="connsiteY1918" fmla="*/ 618889 h 1155218"/>
                    <a:gd name="connsiteX1919" fmla="*/ 1456570 w 1655446"/>
                    <a:gd name="connsiteY1919" fmla="*/ 617408 h 1155218"/>
                    <a:gd name="connsiteX1920" fmla="*/ 1449272 w 1655446"/>
                    <a:gd name="connsiteY1920" fmla="*/ 612332 h 1155218"/>
                    <a:gd name="connsiteX1921" fmla="*/ 1440675 w 1655446"/>
                    <a:gd name="connsiteY1921" fmla="*/ 602848 h 1155218"/>
                    <a:gd name="connsiteX1922" fmla="*/ 1438234 w 1655446"/>
                    <a:gd name="connsiteY1922" fmla="*/ 600966 h 1155218"/>
                    <a:gd name="connsiteX1923" fmla="*/ 1432745 w 1655446"/>
                    <a:gd name="connsiteY1923" fmla="*/ 600942 h 1155218"/>
                    <a:gd name="connsiteX1924" fmla="*/ 1432005 w 1655446"/>
                    <a:gd name="connsiteY1924" fmla="*/ 601585 h 1155218"/>
                    <a:gd name="connsiteX1925" fmla="*/ 1432296 w 1655446"/>
                    <a:gd name="connsiteY1925" fmla="*/ 601877 h 1155218"/>
                    <a:gd name="connsiteX1926" fmla="*/ 1432757 w 1655446"/>
                    <a:gd name="connsiteY1926" fmla="*/ 606467 h 1155218"/>
                    <a:gd name="connsiteX1927" fmla="*/ 1431337 w 1655446"/>
                    <a:gd name="connsiteY1927" fmla="*/ 608592 h 1155218"/>
                    <a:gd name="connsiteX1928" fmla="*/ 1431482 w 1655446"/>
                    <a:gd name="connsiteY1928" fmla="*/ 609090 h 1155218"/>
                    <a:gd name="connsiteX1929" fmla="*/ 1433705 w 1655446"/>
                    <a:gd name="connsiteY1929" fmla="*/ 611713 h 1155218"/>
                    <a:gd name="connsiteX1930" fmla="*/ 1438902 w 1655446"/>
                    <a:gd name="connsiteY1930" fmla="*/ 624001 h 1155218"/>
                    <a:gd name="connsiteX1931" fmla="*/ 1441622 w 1655446"/>
                    <a:gd name="connsiteY1931" fmla="*/ 628069 h 1155218"/>
                    <a:gd name="connsiteX1932" fmla="*/ 1442945 w 1655446"/>
                    <a:gd name="connsiteY1932" fmla="*/ 632623 h 1155218"/>
                    <a:gd name="connsiteX1933" fmla="*/ 1443115 w 1655446"/>
                    <a:gd name="connsiteY1933" fmla="*/ 637286 h 1155218"/>
                    <a:gd name="connsiteX1934" fmla="*/ 1441513 w 1655446"/>
                    <a:gd name="connsiteY1934" fmla="*/ 640467 h 1155218"/>
                    <a:gd name="connsiteX1935" fmla="*/ 1439387 w 1655446"/>
                    <a:gd name="connsiteY1935" fmla="*/ 642969 h 1155218"/>
                    <a:gd name="connsiteX1936" fmla="*/ 1436789 w 1655446"/>
                    <a:gd name="connsiteY1936" fmla="*/ 646648 h 1155218"/>
                    <a:gd name="connsiteX1937" fmla="*/ 1434433 w 1655446"/>
                    <a:gd name="connsiteY1937" fmla="*/ 648494 h 1155218"/>
                    <a:gd name="connsiteX1938" fmla="*/ 1430547 w 1655446"/>
                    <a:gd name="connsiteY1938" fmla="*/ 649999 h 1155218"/>
                    <a:gd name="connsiteX1939" fmla="*/ 1430353 w 1655446"/>
                    <a:gd name="connsiteY1939" fmla="*/ 650254 h 1155218"/>
                    <a:gd name="connsiteX1940" fmla="*/ 1429649 w 1655446"/>
                    <a:gd name="connsiteY1940" fmla="*/ 656447 h 1155218"/>
                    <a:gd name="connsiteX1941" fmla="*/ 1428240 w 1655446"/>
                    <a:gd name="connsiteY1941" fmla="*/ 659908 h 1155218"/>
                    <a:gd name="connsiteX1942" fmla="*/ 1426382 w 1655446"/>
                    <a:gd name="connsiteY1942" fmla="*/ 662142 h 1155218"/>
                    <a:gd name="connsiteX1943" fmla="*/ 1425593 w 1655446"/>
                    <a:gd name="connsiteY1943" fmla="*/ 662761 h 1155218"/>
                    <a:gd name="connsiteX1944" fmla="*/ 1425860 w 1655446"/>
                    <a:gd name="connsiteY1944" fmla="*/ 663672 h 1155218"/>
                    <a:gd name="connsiteX1945" fmla="*/ 1426868 w 1655446"/>
                    <a:gd name="connsiteY1945" fmla="*/ 665882 h 1155218"/>
                    <a:gd name="connsiteX1946" fmla="*/ 1429115 w 1655446"/>
                    <a:gd name="connsiteY1946" fmla="*/ 669562 h 1155218"/>
                    <a:gd name="connsiteX1947" fmla="*/ 1430511 w 1655446"/>
                    <a:gd name="connsiteY1947" fmla="*/ 673217 h 1155218"/>
                    <a:gd name="connsiteX1948" fmla="*/ 1431203 w 1655446"/>
                    <a:gd name="connsiteY1948" fmla="*/ 674249 h 1155218"/>
                    <a:gd name="connsiteX1949" fmla="*/ 1432126 w 1655446"/>
                    <a:gd name="connsiteY1949" fmla="*/ 674613 h 1155218"/>
                    <a:gd name="connsiteX1950" fmla="*/ 1433583 w 1655446"/>
                    <a:gd name="connsiteY1950" fmla="*/ 674018 h 1155218"/>
                    <a:gd name="connsiteX1951" fmla="*/ 1438112 w 1655446"/>
                    <a:gd name="connsiteY1951" fmla="*/ 670497 h 1155218"/>
                    <a:gd name="connsiteX1952" fmla="*/ 1444050 w 1655446"/>
                    <a:gd name="connsiteY1952" fmla="*/ 667910 h 1155218"/>
                    <a:gd name="connsiteX1953" fmla="*/ 1446953 w 1655446"/>
                    <a:gd name="connsiteY1953" fmla="*/ 664947 h 1155218"/>
                    <a:gd name="connsiteX1954" fmla="*/ 1450037 w 1655446"/>
                    <a:gd name="connsiteY1954" fmla="*/ 662919 h 1155218"/>
                    <a:gd name="connsiteX1955" fmla="*/ 1454238 w 1655446"/>
                    <a:gd name="connsiteY1955" fmla="*/ 662604 h 1155218"/>
                    <a:gd name="connsiteX1956" fmla="*/ 1458549 w 1655446"/>
                    <a:gd name="connsiteY1956" fmla="*/ 664255 h 1155218"/>
                    <a:gd name="connsiteX1957" fmla="*/ 1462326 w 1655446"/>
                    <a:gd name="connsiteY1957" fmla="*/ 665239 h 1155218"/>
                    <a:gd name="connsiteX1958" fmla="*/ 1473509 w 1655446"/>
                    <a:gd name="connsiteY1958" fmla="*/ 669974 h 1155218"/>
                    <a:gd name="connsiteX1959" fmla="*/ 1482325 w 1655446"/>
                    <a:gd name="connsiteY1959" fmla="*/ 670290 h 1155218"/>
                    <a:gd name="connsiteX1960" fmla="*/ 1487316 w 1655446"/>
                    <a:gd name="connsiteY1960" fmla="*/ 672816 h 1155218"/>
                    <a:gd name="connsiteX1961" fmla="*/ 1492039 w 1655446"/>
                    <a:gd name="connsiteY1961" fmla="*/ 679057 h 1155218"/>
                    <a:gd name="connsiteX1962" fmla="*/ 1497030 w 1655446"/>
                    <a:gd name="connsiteY1962" fmla="*/ 688772 h 1155218"/>
                    <a:gd name="connsiteX1963" fmla="*/ 1499714 w 1655446"/>
                    <a:gd name="connsiteY1963" fmla="*/ 692172 h 1155218"/>
                    <a:gd name="connsiteX1964" fmla="*/ 1500600 w 1655446"/>
                    <a:gd name="connsiteY1964" fmla="*/ 692621 h 1155218"/>
                    <a:gd name="connsiteX1965" fmla="*/ 1502968 w 1655446"/>
                    <a:gd name="connsiteY1965" fmla="*/ 692621 h 1155218"/>
                    <a:gd name="connsiteX1966" fmla="*/ 1506307 w 1655446"/>
                    <a:gd name="connsiteY1966" fmla="*/ 694454 h 1155218"/>
                    <a:gd name="connsiteX1967" fmla="*/ 1507437 w 1655446"/>
                    <a:gd name="connsiteY1967" fmla="*/ 697891 h 1155218"/>
                    <a:gd name="connsiteX1968" fmla="*/ 1507570 w 1655446"/>
                    <a:gd name="connsiteY1968" fmla="*/ 698170 h 1155218"/>
                    <a:gd name="connsiteX1969" fmla="*/ 1516884 w 1655446"/>
                    <a:gd name="connsiteY1969" fmla="*/ 696725 h 1155218"/>
                    <a:gd name="connsiteX1970" fmla="*/ 1520782 w 1655446"/>
                    <a:gd name="connsiteY1970" fmla="*/ 697332 h 1155218"/>
                    <a:gd name="connsiteX1971" fmla="*/ 1523890 w 1655446"/>
                    <a:gd name="connsiteY1971" fmla="*/ 698984 h 1155218"/>
                    <a:gd name="connsiteX1972" fmla="*/ 1526671 w 1655446"/>
                    <a:gd name="connsiteY1972" fmla="*/ 702141 h 1155218"/>
                    <a:gd name="connsiteX1973" fmla="*/ 1533131 w 1655446"/>
                    <a:gd name="connsiteY1973" fmla="*/ 706173 h 1155218"/>
                    <a:gd name="connsiteX1974" fmla="*/ 1536713 w 1655446"/>
                    <a:gd name="connsiteY1974" fmla="*/ 710860 h 1155218"/>
                    <a:gd name="connsiteX1975" fmla="*/ 1537636 w 1655446"/>
                    <a:gd name="connsiteY1975" fmla="*/ 716360 h 1155218"/>
                    <a:gd name="connsiteX1976" fmla="*/ 1532718 w 1655446"/>
                    <a:gd name="connsiteY1976" fmla="*/ 732571 h 1155218"/>
                    <a:gd name="connsiteX1977" fmla="*/ 1531431 w 1655446"/>
                    <a:gd name="connsiteY1977" fmla="*/ 740076 h 1155218"/>
                    <a:gd name="connsiteX1978" fmla="*/ 1531297 w 1655446"/>
                    <a:gd name="connsiteY1978" fmla="*/ 744071 h 1155218"/>
                    <a:gd name="connsiteX1979" fmla="*/ 1528322 w 1655446"/>
                    <a:gd name="connsiteY1979" fmla="*/ 751988 h 1155218"/>
                    <a:gd name="connsiteX1980" fmla="*/ 1524352 w 1655446"/>
                    <a:gd name="connsiteY1980" fmla="*/ 757744 h 1155218"/>
                    <a:gd name="connsiteX1981" fmla="*/ 1518887 w 1655446"/>
                    <a:gd name="connsiteY1981" fmla="*/ 756068 h 1155218"/>
                    <a:gd name="connsiteX1982" fmla="*/ 1515439 w 1655446"/>
                    <a:gd name="connsiteY1982" fmla="*/ 755776 h 1155218"/>
                    <a:gd name="connsiteX1983" fmla="*/ 1512755 w 1655446"/>
                    <a:gd name="connsiteY1983" fmla="*/ 756408 h 1155218"/>
                    <a:gd name="connsiteX1984" fmla="*/ 1504328 w 1655446"/>
                    <a:gd name="connsiteY1984" fmla="*/ 761726 h 1155218"/>
                    <a:gd name="connsiteX1985" fmla="*/ 1493448 w 1655446"/>
                    <a:gd name="connsiteY1985" fmla="*/ 765199 h 1155218"/>
                    <a:gd name="connsiteX1986" fmla="*/ 1491262 w 1655446"/>
                    <a:gd name="connsiteY1986" fmla="*/ 766754 h 1155218"/>
                    <a:gd name="connsiteX1987" fmla="*/ 1489343 w 1655446"/>
                    <a:gd name="connsiteY1987" fmla="*/ 771064 h 1155218"/>
                    <a:gd name="connsiteX1988" fmla="*/ 1489429 w 1655446"/>
                    <a:gd name="connsiteY1988" fmla="*/ 773541 h 1155218"/>
                    <a:gd name="connsiteX1989" fmla="*/ 1491651 w 1655446"/>
                    <a:gd name="connsiteY1989" fmla="*/ 780451 h 1155218"/>
                    <a:gd name="connsiteX1990" fmla="*/ 1490497 w 1655446"/>
                    <a:gd name="connsiteY1990" fmla="*/ 785478 h 1155218"/>
                    <a:gd name="connsiteX1991" fmla="*/ 1483527 w 1655446"/>
                    <a:gd name="connsiteY1991" fmla="*/ 792618 h 1155218"/>
                    <a:gd name="connsiteX1992" fmla="*/ 1475561 w 1655446"/>
                    <a:gd name="connsiteY1992" fmla="*/ 799054 h 1155218"/>
                    <a:gd name="connsiteX1993" fmla="*/ 1471263 w 1655446"/>
                    <a:gd name="connsiteY1993" fmla="*/ 801167 h 1155218"/>
                    <a:gd name="connsiteX1994" fmla="*/ 1463601 w 1655446"/>
                    <a:gd name="connsiteY1994" fmla="*/ 803474 h 1155218"/>
                    <a:gd name="connsiteX1995" fmla="*/ 1461512 w 1655446"/>
                    <a:gd name="connsiteY1995" fmla="*/ 804555 h 1155218"/>
                    <a:gd name="connsiteX1996" fmla="*/ 1460237 w 1655446"/>
                    <a:gd name="connsiteY1996" fmla="*/ 807068 h 1155218"/>
                    <a:gd name="connsiteX1997" fmla="*/ 1460079 w 1655446"/>
                    <a:gd name="connsiteY1997" fmla="*/ 810505 h 1155218"/>
                    <a:gd name="connsiteX1998" fmla="*/ 1461306 w 1655446"/>
                    <a:gd name="connsiteY1998" fmla="*/ 815957 h 1155218"/>
                    <a:gd name="connsiteX1999" fmla="*/ 1461682 w 1655446"/>
                    <a:gd name="connsiteY1999" fmla="*/ 824845 h 1155218"/>
                    <a:gd name="connsiteX2000" fmla="*/ 1457699 w 1655446"/>
                    <a:gd name="connsiteY2000" fmla="*/ 829496 h 1155218"/>
                    <a:gd name="connsiteX2001" fmla="*/ 1457226 w 1655446"/>
                    <a:gd name="connsiteY2001" fmla="*/ 830249 h 1155218"/>
                    <a:gd name="connsiteX2002" fmla="*/ 1457104 w 1655446"/>
                    <a:gd name="connsiteY2002" fmla="*/ 832277 h 1155218"/>
                    <a:gd name="connsiteX2003" fmla="*/ 1458088 w 1655446"/>
                    <a:gd name="connsiteY2003" fmla="*/ 835216 h 1155218"/>
                    <a:gd name="connsiteX2004" fmla="*/ 1458124 w 1655446"/>
                    <a:gd name="connsiteY2004" fmla="*/ 841020 h 1155218"/>
                    <a:gd name="connsiteX2005" fmla="*/ 1453667 w 1655446"/>
                    <a:gd name="connsiteY2005" fmla="*/ 845015 h 1155218"/>
                    <a:gd name="connsiteX2006" fmla="*/ 1448932 w 1655446"/>
                    <a:gd name="connsiteY2006" fmla="*/ 845816 h 1155218"/>
                    <a:gd name="connsiteX2007" fmla="*/ 1438695 w 1655446"/>
                    <a:gd name="connsiteY2007" fmla="*/ 852920 h 1155218"/>
                    <a:gd name="connsiteX2008" fmla="*/ 1436619 w 1655446"/>
                    <a:gd name="connsiteY2008" fmla="*/ 855846 h 1155218"/>
                    <a:gd name="connsiteX2009" fmla="*/ 1436206 w 1655446"/>
                    <a:gd name="connsiteY2009" fmla="*/ 857984 h 1155218"/>
                    <a:gd name="connsiteX2010" fmla="*/ 1436024 w 1655446"/>
                    <a:gd name="connsiteY2010" fmla="*/ 860995 h 1155218"/>
                    <a:gd name="connsiteX2011" fmla="*/ 1433947 w 1655446"/>
                    <a:gd name="connsiteY2011" fmla="*/ 864225 h 1155218"/>
                    <a:gd name="connsiteX2012" fmla="*/ 1429904 w 1655446"/>
                    <a:gd name="connsiteY2012" fmla="*/ 866508 h 1155218"/>
                    <a:gd name="connsiteX2013" fmla="*/ 1425581 w 1655446"/>
                    <a:gd name="connsiteY2013" fmla="*/ 868171 h 1155218"/>
                    <a:gd name="connsiteX2014" fmla="*/ 1420153 w 1655446"/>
                    <a:gd name="connsiteY2014" fmla="*/ 868912 h 1155218"/>
                    <a:gd name="connsiteX2015" fmla="*/ 1417457 w 1655446"/>
                    <a:gd name="connsiteY2015" fmla="*/ 870151 h 1155218"/>
                    <a:gd name="connsiteX2016" fmla="*/ 1413790 w 1655446"/>
                    <a:gd name="connsiteY2016" fmla="*/ 870879 h 1155218"/>
                    <a:gd name="connsiteX2017" fmla="*/ 1409200 w 1655446"/>
                    <a:gd name="connsiteY2017" fmla="*/ 874121 h 1155218"/>
                    <a:gd name="connsiteX2018" fmla="*/ 1405691 w 1655446"/>
                    <a:gd name="connsiteY2018" fmla="*/ 877716 h 1155218"/>
                    <a:gd name="connsiteX2019" fmla="*/ 1402874 w 1655446"/>
                    <a:gd name="connsiteY2019" fmla="*/ 879841 h 1155218"/>
                    <a:gd name="connsiteX2020" fmla="*/ 1399097 w 1655446"/>
                    <a:gd name="connsiteY2020" fmla="*/ 882063 h 1155218"/>
                    <a:gd name="connsiteX2021" fmla="*/ 1397652 w 1655446"/>
                    <a:gd name="connsiteY2021" fmla="*/ 883897 h 1155218"/>
                    <a:gd name="connsiteX2022" fmla="*/ 1394022 w 1655446"/>
                    <a:gd name="connsiteY2022" fmla="*/ 886313 h 1155218"/>
                    <a:gd name="connsiteX2023" fmla="*/ 1390342 w 1655446"/>
                    <a:gd name="connsiteY2023" fmla="*/ 887284 h 1155218"/>
                    <a:gd name="connsiteX2024" fmla="*/ 1388946 w 1655446"/>
                    <a:gd name="connsiteY2024" fmla="*/ 887576 h 1155218"/>
                    <a:gd name="connsiteX2025" fmla="*/ 1385084 w 1655446"/>
                    <a:gd name="connsiteY2025" fmla="*/ 884540 h 1155218"/>
                    <a:gd name="connsiteX2026" fmla="*/ 1380725 w 1655446"/>
                    <a:gd name="connsiteY2026" fmla="*/ 877169 h 1155218"/>
                    <a:gd name="connsiteX2027" fmla="*/ 1379571 w 1655446"/>
                    <a:gd name="connsiteY2027" fmla="*/ 876028 h 1155218"/>
                    <a:gd name="connsiteX2028" fmla="*/ 1378041 w 1655446"/>
                    <a:gd name="connsiteY2028" fmla="*/ 875445 h 1155218"/>
                    <a:gd name="connsiteX2029" fmla="*/ 1377191 w 1655446"/>
                    <a:gd name="connsiteY2029" fmla="*/ 875506 h 1155218"/>
                    <a:gd name="connsiteX2030" fmla="*/ 1372711 w 1655446"/>
                    <a:gd name="connsiteY2030" fmla="*/ 879234 h 1155218"/>
                    <a:gd name="connsiteX2031" fmla="*/ 1366651 w 1655446"/>
                    <a:gd name="connsiteY2031" fmla="*/ 879999 h 1155218"/>
                    <a:gd name="connsiteX2032" fmla="*/ 1364283 w 1655446"/>
                    <a:gd name="connsiteY2032" fmla="*/ 880824 h 1155218"/>
                    <a:gd name="connsiteX2033" fmla="*/ 1361770 w 1655446"/>
                    <a:gd name="connsiteY2033" fmla="*/ 883289 h 1155218"/>
                    <a:gd name="connsiteX2034" fmla="*/ 1355747 w 1655446"/>
                    <a:gd name="connsiteY2034" fmla="*/ 886119 h 1155218"/>
                    <a:gd name="connsiteX2035" fmla="*/ 1352323 w 1655446"/>
                    <a:gd name="connsiteY2035" fmla="*/ 885341 h 1155218"/>
                    <a:gd name="connsiteX2036" fmla="*/ 1348631 w 1655446"/>
                    <a:gd name="connsiteY2036" fmla="*/ 883508 h 1155218"/>
                    <a:gd name="connsiteX2037" fmla="*/ 1346955 w 1655446"/>
                    <a:gd name="connsiteY2037" fmla="*/ 878554 h 1155218"/>
                    <a:gd name="connsiteX2038" fmla="*/ 1346057 w 1655446"/>
                    <a:gd name="connsiteY2038" fmla="*/ 878979 h 1155218"/>
                    <a:gd name="connsiteX2039" fmla="*/ 1344466 w 1655446"/>
                    <a:gd name="connsiteY2039" fmla="*/ 880921 h 1155218"/>
                    <a:gd name="connsiteX2040" fmla="*/ 1338322 w 1655446"/>
                    <a:gd name="connsiteY2040" fmla="*/ 889033 h 1155218"/>
                    <a:gd name="connsiteX2041" fmla="*/ 1337217 w 1655446"/>
                    <a:gd name="connsiteY2041" fmla="*/ 892615 h 1155218"/>
                    <a:gd name="connsiteX2042" fmla="*/ 1337047 w 1655446"/>
                    <a:gd name="connsiteY2042" fmla="*/ 898723 h 1155218"/>
                    <a:gd name="connsiteX2043" fmla="*/ 1337654 w 1655446"/>
                    <a:gd name="connsiteY2043" fmla="*/ 903653 h 1155218"/>
                    <a:gd name="connsiteX2044" fmla="*/ 1337314 w 1655446"/>
                    <a:gd name="connsiteY2044" fmla="*/ 909287 h 1155218"/>
                    <a:gd name="connsiteX2045" fmla="*/ 1336658 w 1655446"/>
                    <a:gd name="connsiteY2045" fmla="*/ 913027 h 1155218"/>
                    <a:gd name="connsiteX2046" fmla="*/ 1331449 w 1655446"/>
                    <a:gd name="connsiteY2046" fmla="*/ 922171 h 1155218"/>
                    <a:gd name="connsiteX2047" fmla="*/ 1322949 w 1655446"/>
                    <a:gd name="connsiteY2047" fmla="*/ 927101 h 1155218"/>
                    <a:gd name="connsiteX2048" fmla="*/ 1321552 w 1655446"/>
                    <a:gd name="connsiteY2048" fmla="*/ 928340 h 1155218"/>
                    <a:gd name="connsiteX2049" fmla="*/ 1319452 w 1655446"/>
                    <a:gd name="connsiteY2049" fmla="*/ 930938 h 1155218"/>
                    <a:gd name="connsiteX2050" fmla="*/ 1318553 w 1655446"/>
                    <a:gd name="connsiteY2050" fmla="*/ 933452 h 1155218"/>
                    <a:gd name="connsiteX2051" fmla="*/ 1318274 w 1655446"/>
                    <a:gd name="connsiteY2051" fmla="*/ 942887 h 1155218"/>
                    <a:gd name="connsiteX2052" fmla="*/ 1316890 w 1655446"/>
                    <a:gd name="connsiteY2052" fmla="*/ 946894 h 1155218"/>
                    <a:gd name="connsiteX2053" fmla="*/ 1314570 w 1655446"/>
                    <a:gd name="connsiteY2053" fmla="*/ 948618 h 1155218"/>
                    <a:gd name="connsiteX2054" fmla="*/ 1312603 w 1655446"/>
                    <a:gd name="connsiteY2054" fmla="*/ 949311 h 1155218"/>
                    <a:gd name="connsiteX2055" fmla="*/ 1313672 w 1655446"/>
                    <a:gd name="connsiteY2055" fmla="*/ 951011 h 1155218"/>
                    <a:gd name="connsiteX2056" fmla="*/ 1314837 w 1655446"/>
                    <a:gd name="connsiteY2056" fmla="*/ 954192 h 1155218"/>
                    <a:gd name="connsiteX2057" fmla="*/ 1314813 w 1655446"/>
                    <a:gd name="connsiteY2057" fmla="*/ 958211 h 1155218"/>
                    <a:gd name="connsiteX2058" fmla="*/ 1314764 w 1655446"/>
                    <a:gd name="connsiteY2058" fmla="*/ 959146 h 1155218"/>
                    <a:gd name="connsiteX2059" fmla="*/ 1311972 w 1655446"/>
                    <a:gd name="connsiteY2059" fmla="*/ 962826 h 1155218"/>
                    <a:gd name="connsiteX2060" fmla="*/ 1308438 w 1655446"/>
                    <a:gd name="connsiteY2060" fmla="*/ 964040 h 1155218"/>
                    <a:gd name="connsiteX2061" fmla="*/ 1305123 w 1655446"/>
                    <a:gd name="connsiteY2061" fmla="*/ 962449 h 1155218"/>
                    <a:gd name="connsiteX2062" fmla="*/ 1299889 w 1655446"/>
                    <a:gd name="connsiteY2062" fmla="*/ 954556 h 1155218"/>
                    <a:gd name="connsiteX2063" fmla="*/ 1298639 w 1655446"/>
                    <a:gd name="connsiteY2063" fmla="*/ 953961 h 1155218"/>
                    <a:gd name="connsiteX2064" fmla="*/ 1297461 w 1655446"/>
                    <a:gd name="connsiteY2064" fmla="*/ 954143 h 1155218"/>
                    <a:gd name="connsiteX2065" fmla="*/ 1295142 w 1655446"/>
                    <a:gd name="connsiteY2065" fmla="*/ 956038 h 1155218"/>
                    <a:gd name="connsiteX2066" fmla="*/ 1292361 w 1655446"/>
                    <a:gd name="connsiteY2066" fmla="*/ 960798 h 1155218"/>
                    <a:gd name="connsiteX2067" fmla="*/ 1284881 w 1655446"/>
                    <a:gd name="connsiteY2067" fmla="*/ 976195 h 1155218"/>
                    <a:gd name="connsiteX2068" fmla="*/ 1283326 w 1655446"/>
                    <a:gd name="connsiteY2068" fmla="*/ 981052 h 1155218"/>
                    <a:gd name="connsiteX2069" fmla="*/ 1283059 w 1655446"/>
                    <a:gd name="connsiteY2069" fmla="*/ 988727 h 1155218"/>
                    <a:gd name="connsiteX2070" fmla="*/ 1284019 w 1655446"/>
                    <a:gd name="connsiteY2070" fmla="*/ 1001149 h 1155218"/>
                    <a:gd name="connsiteX2071" fmla="*/ 1280764 w 1655446"/>
                    <a:gd name="connsiteY2071" fmla="*/ 1010280 h 1155218"/>
                    <a:gd name="connsiteX2072" fmla="*/ 1277474 w 1655446"/>
                    <a:gd name="connsiteY2072" fmla="*/ 1016339 h 1155218"/>
                    <a:gd name="connsiteX2073" fmla="*/ 1272762 w 1655446"/>
                    <a:gd name="connsiteY2073" fmla="*/ 1020322 h 1155218"/>
                    <a:gd name="connsiteX2074" fmla="*/ 1266739 w 1655446"/>
                    <a:gd name="connsiteY2074" fmla="*/ 1021209 h 1155218"/>
                    <a:gd name="connsiteX2075" fmla="*/ 1265246 w 1655446"/>
                    <a:gd name="connsiteY2075" fmla="*/ 1022873 h 1155218"/>
                    <a:gd name="connsiteX2076" fmla="*/ 1263679 w 1655446"/>
                    <a:gd name="connsiteY2076" fmla="*/ 1027620 h 1155218"/>
                    <a:gd name="connsiteX2077" fmla="*/ 1262683 w 1655446"/>
                    <a:gd name="connsiteY2077" fmla="*/ 1046199 h 1155218"/>
                    <a:gd name="connsiteX2078" fmla="*/ 1261882 w 1655446"/>
                    <a:gd name="connsiteY2078" fmla="*/ 1049380 h 1155218"/>
                    <a:gd name="connsiteX2079" fmla="*/ 1261384 w 1655446"/>
                    <a:gd name="connsiteY2079" fmla="*/ 1052453 h 1155218"/>
                    <a:gd name="connsiteX2080" fmla="*/ 1262683 w 1655446"/>
                    <a:gd name="connsiteY2080" fmla="*/ 1068931 h 1155218"/>
                    <a:gd name="connsiteX2081" fmla="*/ 1262101 w 1655446"/>
                    <a:gd name="connsiteY2081" fmla="*/ 1074371 h 1155218"/>
                    <a:gd name="connsiteX2082" fmla="*/ 1259053 w 1655446"/>
                    <a:gd name="connsiteY2082" fmla="*/ 1082676 h 1155218"/>
                    <a:gd name="connsiteX2083" fmla="*/ 1257680 w 1655446"/>
                    <a:gd name="connsiteY2083" fmla="*/ 1089270 h 1155218"/>
                    <a:gd name="connsiteX2084" fmla="*/ 1253443 w 1655446"/>
                    <a:gd name="connsiteY2084" fmla="*/ 1100454 h 1155218"/>
                    <a:gd name="connsiteX2085" fmla="*/ 1248986 w 1655446"/>
                    <a:gd name="connsiteY2085" fmla="*/ 1101802 h 1155218"/>
                    <a:gd name="connsiteX2086" fmla="*/ 1246351 w 1655446"/>
                    <a:gd name="connsiteY2086" fmla="*/ 1104121 h 1155218"/>
                    <a:gd name="connsiteX2087" fmla="*/ 1245307 w 1655446"/>
                    <a:gd name="connsiteY2087" fmla="*/ 1104789 h 1155218"/>
                    <a:gd name="connsiteX2088" fmla="*/ 1242963 w 1655446"/>
                    <a:gd name="connsiteY2088" fmla="*/ 1105639 h 1155218"/>
                    <a:gd name="connsiteX2089" fmla="*/ 1240741 w 1655446"/>
                    <a:gd name="connsiteY2089" fmla="*/ 1105906 h 1155218"/>
                    <a:gd name="connsiteX2090" fmla="*/ 1237426 w 1655446"/>
                    <a:gd name="connsiteY2090" fmla="*/ 1104570 h 1155218"/>
                    <a:gd name="connsiteX2091" fmla="*/ 1216492 w 1655446"/>
                    <a:gd name="connsiteY2091" fmla="*/ 1091905 h 1155218"/>
                    <a:gd name="connsiteX2092" fmla="*/ 1213565 w 1655446"/>
                    <a:gd name="connsiteY2092" fmla="*/ 1090861 h 1155218"/>
                    <a:gd name="connsiteX2093" fmla="*/ 1212108 w 1655446"/>
                    <a:gd name="connsiteY2093" fmla="*/ 1090666 h 1155218"/>
                    <a:gd name="connsiteX2094" fmla="*/ 1210991 w 1655446"/>
                    <a:gd name="connsiteY2094" fmla="*/ 1090727 h 1155218"/>
                    <a:gd name="connsiteX2095" fmla="*/ 1210032 w 1655446"/>
                    <a:gd name="connsiteY2095" fmla="*/ 1090958 h 1155218"/>
                    <a:gd name="connsiteX2096" fmla="*/ 1205332 w 1655446"/>
                    <a:gd name="connsiteY2096" fmla="*/ 1092488 h 1155218"/>
                    <a:gd name="connsiteX2097" fmla="*/ 1203183 w 1655446"/>
                    <a:gd name="connsiteY2097" fmla="*/ 1092876 h 1155218"/>
                    <a:gd name="connsiteX2098" fmla="*/ 1200755 w 1655446"/>
                    <a:gd name="connsiteY2098" fmla="*/ 1092974 h 1155218"/>
                    <a:gd name="connsiteX2099" fmla="*/ 1198326 w 1655446"/>
                    <a:gd name="connsiteY2099" fmla="*/ 1092354 h 1155218"/>
                    <a:gd name="connsiteX2100" fmla="*/ 1196140 w 1655446"/>
                    <a:gd name="connsiteY2100" fmla="*/ 1090885 h 1155218"/>
                    <a:gd name="connsiteX2101" fmla="*/ 1195278 w 1655446"/>
                    <a:gd name="connsiteY2101" fmla="*/ 1090229 h 1155218"/>
                    <a:gd name="connsiteX2102" fmla="*/ 1194440 w 1655446"/>
                    <a:gd name="connsiteY2102" fmla="*/ 1086829 h 1155218"/>
                    <a:gd name="connsiteX2103" fmla="*/ 1195157 w 1655446"/>
                    <a:gd name="connsiteY2103" fmla="*/ 1083952 h 1155218"/>
                    <a:gd name="connsiteX2104" fmla="*/ 1199042 w 1655446"/>
                    <a:gd name="connsiteY2104" fmla="*/ 1079835 h 1155218"/>
                    <a:gd name="connsiteX2105" fmla="*/ 1198617 w 1655446"/>
                    <a:gd name="connsiteY2105" fmla="*/ 1077152 h 1155218"/>
                    <a:gd name="connsiteX2106" fmla="*/ 1198144 w 1655446"/>
                    <a:gd name="connsiteY2106" fmla="*/ 1075864 h 1155218"/>
                    <a:gd name="connsiteX2107" fmla="*/ 1196881 w 1655446"/>
                    <a:gd name="connsiteY2107" fmla="*/ 1074468 h 1155218"/>
                    <a:gd name="connsiteX2108" fmla="*/ 1194537 w 1655446"/>
                    <a:gd name="connsiteY2108" fmla="*/ 1072513 h 1155218"/>
                    <a:gd name="connsiteX2109" fmla="*/ 1185345 w 1655446"/>
                    <a:gd name="connsiteY2109" fmla="*/ 1066223 h 1155218"/>
                    <a:gd name="connsiteX2110" fmla="*/ 1182164 w 1655446"/>
                    <a:gd name="connsiteY2110" fmla="*/ 1062653 h 1155218"/>
                    <a:gd name="connsiteX2111" fmla="*/ 1180961 w 1655446"/>
                    <a:gd name="connsiteY2111" fmla="*/ 1059702 h 1155218"/>
                    <a:gd name="connsiteX2112" fmla="*/ 1180609 w 1655446"/>
                    <a:gd name="connsiteY2112" fmla="*/ 1057237 h 1155218"/>
                    <a:gd name="connsiteX2113" fmla="*/ 1180549 w 1655446"/>
                    <a:gd name="connsiteY2113" fmla="*/ 1055853 h 1155218"/>
                    <a:gd name="connsiteX2114" fmla="*/ 1175169 w 1655446"/>
                    <a:gd name="connsiteY2114" fmla="*/ 1055136 h 1155218"/>
                    <a:gd name="connsiteX2115" fmla="*/ 1169037 w 1655446"/>
                    <a:gd name="connsiteY2115" fmla="*/ 1052501 h 1155218"/>
                    <a:gd name="connsiteX2116" fmla="*/ 1160173 w 1655446"/>
                    <a:gd name="connsiteY2116" fmla="*/ 1046660 h 1155218"/>
                    <a:gd name="connsiteX2117" fmla="*/ 1159092 w 1655446"/>
                    <a:gd name="connsiteY2117" fmla="*/ 1045689 h 1155218"/>
                    <a:gd name="connsiteX2118" fmla="*/ 1158509 w 1655446"/>
                    <a:gd name="connsiteY2118" fmla="*/ 1046211 h 1155218"/>
                    <a:gd name="connsiteX2119" fmla="*/ 1155996 w 1655446"/>
                    <a:gd name="connsiteY2119" fmla="*/ 1047632 h 1155218"/>
                    <a:gd name="connsiteX2120" fmla="*/ 1145031 w 1655446"/>
                    <a:gd name="connsiteY2120" fmla="*/ 1051178 h 1155218"/>
                    <a:gd name="connsiteX2121" fmla="*/ 1142930 w 1655446"/>
                    <a:gd name="connsiteY2121" fmla="*/ 1052683 h 1155218"/>
                    <a:gd name="connsiteX2122" fmla="*/ 1141120 w 1655446"/>
                    <a:gd name="connsiteY2122" fmla="*/ 1057140 h 1155218"/>
                    <a:gd name="connsiteX2123" fmla="*/ 1125699 w 1655446"/>
                    <a:gd name="connsiteY2123" fmla="*/ 1062143 h 1155218"/>
                    <a:gd name="connsiteX2124" fmla="*/ 1121789 w 1655446"/>
                    <a:gd name="connsiteY2124" fmla="*/ 1062398 h 1155218"/>
                    <a:gd name="connsiteX2125" fmla="*/ 1119931 w 1655446"/>
                    <a:gd name="connsiteY2125" fmla="*/ 1062203 h 1155218"/>
                    <a:gd name="connsiteX2126" fmla="*/ 1118292 w 1655446"/>
                    <a:gd name="connsiteY2126" fmla="*/ 1061232 h 1155218"/>
                    <a:gd name="connsiteX2127" fmla="*/ 1117090 w 1655446"/>
                    <a:gd name="connsiteY2127" fmla="*/ 1059520 h 1155218"/>
                    <a:gd name="connsiteX2128" fmla="*/ 1114528 w 1655446"/>
                    <a:gd name="connsiteY2128" fmla="*/ 1060576 h 1155218"/>
                    <a:gd name="connsiteX2129" fmla="*/ 1112864 w 1655446"/>
                    <a:gd name="connsiteY2129" fmla="*/ 1060868 h 1155218"/>
                    <a:gd name="connsiteX2130" fmla="*/ 1111395 w 1655446"/>
                    <a:gd name="connsiteY2130" fmla="*/ 1062458 h 1155218"/>
                    <a:gd name="connsiteX2131" fmla="*/ 1109670 w 1655446"/>
                    <a:gd name="connsiteY2131" fmla="*/ 1063758 h 1155218"/>
                    <a:gd name="connsiteX2132" fmla="*/ 1105287 w 1655446"/>
                    <a:gd name="connsiteY2132" fmla="*/ 1065275 h 1155218"/>
                    <a:gd name="connsiteX2133" fmla="*/ 1101899 w 1655446"/>
                    <a:gd name="connsiteY2133" fmla="*/ 1065931 h 1155218"/>
                    <a:gd name="connsiteX2134" fmla="*/ 1098159 w 1655446"/>
                    <a:gd name="connsiteY2134" fmla="*/ 1066223 h 1155218"/>
                    <a:gd name="connsiteX2135" fmla="*/ 1094674 w 1655446"/>
                    <a:gd name="connsiteY2135" fmla="*/ 1065931 h 1155218"/>
                    <a:gd name="connsiteX2136" fmla="*/ 1091747 w 1655446"/>
                    <a:gd name="connsiteY2136" fmla="*/ 1064304 h 1155218"/>
                    <a:gd name="connsiteX2137" fmla="*/ 1090157 w 1655446"/>
                    <a:gd name="connsiteY2137" fmla="*/ 1061936 h 1155218"/>
                    <a:gd name="connsiteX2138" fmla="*/ 1088797 w 1655446"/>
                    <a:gd name="connsiteY2138" fmla="*/ 1058658 h 1155218"/>
                    <a:gd name="connsiteX2139" fmla="*/ 1087704 w 1655446"/>
                    <a:gd name="connsiteY2139" fmla="*/ 1056448 h 1155218"/>
                    <a:gd name="connsiteX2140" fmla="*/ 1086404 w 1655446"/>
                    <a:gd name="connsiteY2140" fmla="*/ 1054991 h 1155218"/>
                    <a:gd name="connsiteX2141" fmla="*/ 1084498 w 1655446"/>
                    <a:gd name="connsiteY2141" fmla="*/ 1054128 h 1155218"/>
                    <a:gd name="connsiteX2142" fmla="*/ 1082033 w 1655446"/>
                    <a:gd name="connsiteY2142" fmla="*/ 1053606 h 1155218"/>
                    <a:gd name="connsiteX2143" fmla="*/ 1078256 w 1655446"/>
                    <a:gd name="connsiteY2143" fmla="*/ 1053279 h 1155218"/>
                    <a:gd name="connsiteX2144" fmla="*/ 1069016 w 1655446"/>
                    <a:gd name="connsiteY2144" fmla="*/ 1055233 h 1155218"/>
                    <a:gd name="connsiteX2145" fmla="*/ 1062119 w 1655446"/>
                    <a:gd name="connsiteY2145" fmla="*/ 1054699 h 1155218"/>
                    <a:gd name="connsiteX2146" fmla="*/ 1060540 w 1655446"/>
                    <a:gd name="connsiteY2146" fmla="*/ 1055003 h 1155218"/>
                    <a:gd name="connsiteX2147" fmla="*/ 1059326 w 1655446"/>
                    <a:gd name="connsiteY2147" fmla="*/ 1055561 h 1155218"/>
                    <a:gd name="connsiteX2148" fmla="*/ 1056654 w 1655446"/>
                    <a:gd name="connsiteY2148" fmla="*/ 1057383 h 1155218"/>
                    <a:gd name="connsiteX2149" fmla="*/ 1053303 w 1655446"/>
                    <a:gd name="connsiteY2149" fmla="*/ 1060200 h 1155218"/>
                    <a:gd name="connsiteX2150" fmla="*/ 1050388 w 1655446"/>
                    <a:gd name="connsiteY2150" fmla="*/ 1062033 h 1155218"/>
                    <a:gd name="connsiteX2151" fmla="*/ 1045386 w 1655446"/>
                    <a:gd name="connsiteY2151" fmla="*/ 1063794 h 1155218"/>
                    <a:gd name="connsiteX2152" fmla="*/ 1041779 w 1655446"/>
                    <a:gd name="connsiteY2152" fmla="*/ 1064207 h 1155218"/>
                    <a:gd name="connsiteX2153" fmla="*/ 1038318 w 1655446"/>
                    <a:gd name="connsiteY2153" fmla="*/ 1062762 h 1155218"/>
                    <a:gd name="connsiteX2154" fmla="*/ 1037019 w 1655446"/>
                    <a:gd name="connsiteY2154" fmla="*/ 1060406 h 1155218"/>
                    <a:gd name="connsiteX2155" fmla="*/ 1036133 w 1655446"/>
                    <a:gd name="connsiteY2155" fmla="*/ 1055306 h 1155218"/>
                    <a:gd name="connsiteX2156" fmla="*/ 1035793 w 1655446"/>
                    <a:gd name="connsiteY2156" fmla="*/ 1054080 h 1155218"/>
                    <a:gd name="connsiteX2157" fmla="*/ 1035331 w 1655446"/>
                    <a:gd name="connsiteY2157" fmla="*/ 1053060 h 1155218"/>
                    <a:gd name="connsiteX2158" fmla="*/ 1034882 w 1655446"/>
                    <a:gd name="connsiteY2158" fmla="*/ 1052368 h 1155218"/>
                    <a:gd name="connsiteX2159" fmla="*/ 1034165 w 1655446"/>
                    <a:gd name="connsiteY2159" fmla="*/ 1050534 h 1155218"/>
                    <a:gd name="connsiteX2160" fmla="*/ 1033498 w 1655446"/>
                    <a:gd name="connsiteY2160" fmla="*/ 1047207 h 1155218"/>
                    <a:gd name="connsiteX2161" fmla="*/ 1027402 w 1655446"/>
                    <a:gd name="connsiteY2161" fmla="*/ 1043455 h 1155218"/>
                    <a:gd name="connsiteX2162" fmla="*/ 1025119 w 1655446"/>
                    <a:gd name="connsiteY2162" fmla="*/ 1038804 h 1155218"/>
                    <a:gd name="connsiteX2163" fmla="*/ 1023018 w 1655446"/>
                    <a:gd name="connsiteY2163" fmla="*/ 1037578 h 1155218"/>
                    <a:gd name="connsiteX2164" fmla="*/ 1015222 w 1655446"/>
                    <a:gd name="connsiteY2164" fmla="*/ 1034845 h 1155218"/>
                    <a:gd name="connsiteX2165" fmla="*/ 1013085 w 1655446"/>
                    <a:gd name="connsiteY2165" fmla="*/ 1034433 h 1155218"/>
                    <a:gd name="connsiteX2166" fmla="*/ 1010936 w 1655446"/>
                    <a:gd name="connsiteY2166" fmla="*/ 1034372 h 1155218"/>
                    <a:gd name="connsiteX2167" fmla="*/ 1008750 w 1655446"/>
                    <a:gd name="connsiteY2167" fmla="*/ 1034542 h 1155218"/>
                    <a:gd name="connsiteX2168" fmla="*/ 1005156 w 1655446"/>
                    <a:gd name="connsiteY2168" fmla="*/ 1034178 h 1155218"/>
                    <a:gd name="connsiteX2169" fmla="*/ 998574 w 1655446"/>
                    <a:gd name="connsiteY2169" fmla="*/ 1034396 h 1155218"/>
                    <a:gd name="connsiteX2170" fmla="*/ 993620 w 1655446"/>
                    <a:gd name="connsiteY2170" fmla="*/ 1033595 h 1155218"/>
                    <a:gd name="connsiteX2171" fmla="*/ 990754 w 1655446"/>
                    <a:gd name="connsiteY2171" fmla="*/ 1032793 h 1155218"/>
                    <a:gd name="connsiteX2172" fmla="*/ 984222 w 1655446"/>
                    <a:gd name="connsiteY2172" fmla="*/ 1029757 h 1155218"/>
                    <a:gd name="connsiteX2173" fmla="*/ 983651 w 1655446"/>
                    <a:gd name="connsiteY2173" fmla="*/ 1029806 h 1155218"/>
                    <a:gd name="connsiteX2174" fmla="*/ 983177 w 1655446"/>
                    <a:gd name="connsiteY2174" fmla="*/ 1033400 h 1155218"/>
                    <a:gd name="connsiteX2175" fmla="*/ 981441 w 1655446"/>
                    <a:gd name="connsiteY2175" fmla="*/ 1038355 h 1155218"/>
                    <a:gd name="connsiteX2176" fmla="*/ 978709 w 1655446"/>
                    <a:gd name="connsiteY2176" fmla="*/ 1040698 h 1155218"/>
                    <a:gd name="connsiteX2177" fmla="*/ 973779 w 1655446"/>
                    <a:gd name="connsiteY2177" fmla="*/ 1042738 h 1155218"/>
                    <a:gd name="connsiteX2178" fmla="*/ 968193 w 1655446"/>
                    <a:gd name="connsiteY2178" fmla="*/ 1044111 h 1155218"/>
                    <a:gd name="connsiteX2179" fmla="*/ 959037 w 1655446"/>
                    <a:gd name="connsiteY2179" fmla="*/ 1047644 h 1155218"/>
                    <a:gd name="connsiteX2180" fmla="*/ 952322 w 1655446"/>
                    <a:gd name="connsiteY2180" fmla="*/ 1049514 h 1155218"/>
                    <a:gd name="connsiteX2181" fmla="*/ 935832 w 1655446"/>
                    <a:gd name="connsiteY2181" fmla="*/ 1051433 h 1155218"/>
                    <a:gd name="connsiteX2182" fmla="*/ 927818 w 1655446"/>
                    <a:gd name="connsiteY2182" fmla="*/ 1053910 h 1155218"/>
                    <a:gd name="connsiteX2183" fmla="*/ 924770 w 1655446"/>
                    <a:gd name="connsiteY2183" fmla="*/ 1055330 h 1155218"/>
                    <a:gd name="connsiteX2184" fmla="*/ 924830 w 1655446"/>
                    <a:gd name="connsiteY2184" fmla="*/ 1055792 h 1155218"/>
                    <a:gd name="connsiteX2185" fmla="*/ 925401 w 1655446"/>
                    <a:gd name="connsiteY2185" fmla="*/ 1057334 h 1155218"/>
                    <a:gd name="connsiteX2186" fmla="*/ 926118 w 1655446"/>
                    <a:gd name="connsiteY2186" fmla="*/ 1058913 h 1155218"/>
                    <a:gd name="connsiteX2187" fmla="*/ 926640 w 1655446"/>
                    <a:gd name="connsiteY2187" fmla="*/ 1062203 h 1155218"/>
                    <a:gd name="connsiteX2188" fmla="*/ 925668 w 1655446"/>
                    <a:gd name="connsiteY2188" fmla="*/ 1065433 h 1155218"/>
                    <a:gd name="connsiteX2189" fmla="*/ 922475 w 1655446"/>
                    <a:gd name="connsiteY2189" fmla="*/ 1068651 h 1155218"/>
                    <a:gd name="connsiteX2190" fmla="*/ 919305 w 1655446"/>
                    <a:gd name="connsiteY2190" fmla="*/ 1069781 h 1155218"/>
                    <a:gd name="connsiteX2191" fmla="*/ 911267 w 1655446"/>
                    <a:gd name="connsiteY2191" fmla="*/ 1070594 h 1155218"/>
                    <a:gd name="connsiteX2192" fmla="*/ 906543 w 1655446"/>
                    <a:gd name="connsiteY2192" fmla="*/ 1071505 h 1155218"/>
                    <a:gd name="connsiteX2193" fmla="*/ 899549 w 1655446"/>
                    <a:gd name="connsiteY2193" fmla="*/ 1073739 h 1155218"/>
                    <a:gd name="connsiteX2194" fmla="*/ 887370 w 1655446"/>
                    <a:gd name="connsiteY2194" fmla="*/ 1074929 h 1155218"/>
                    <a:gd name="connsiteX2195" fmla="*/ 883994 w 1655446"/>
                    <a:gd name="connsiteY2195" fmla="*/ 1076253 h 1155218"/>
                    <a:gd name="connsiteX2196" fmla="*/ 879477 w 1655446"/>
                    <a:gd name="connsiteY2196" fmla="*/ 1076714 h 1155218"/>
                    <a:gd name="connsiteX2197" fmla="*/ 865974 w 1655446"/>
                    <a:gd name="connsiteY2197" fmla="*/ 1075816 h 1155218"/>
                    <a:gd name="connsiteX2198" fmla="*/ 853175 w 1655446"/>
                    <a:gd name="connsiteY2198" fmla="*/ 1072464 h 1155218"/>
                    <a:gd name="connsiteX2199" fmla="*/ 851183 w 1655446"/>
                    <a:gd name="connsiteY2199" fmla="*/ 1071481 h 1155218"/>
                    <a:gd name="connsiteX2200" fmla="*/ 847079 w 1655446"/>
                    <a:gd name="connsiteY2200" fmla="*/ 1067959 h 1155218"/>
                    <a:gd name="connsiteX2201" fmla="*/ 845756 w 1655446"/>
                    <a:gd name="connsiteY2201" fmla="*/ 1067121 h 1155218"/>
                    <a:gd name="connsiteX2202" fmla="*/ 843776 w 1655446"/>
                    <a:gd name="connsiteY2202" fmla="*/ 1066296 h 1155218"/>
                    <a:gd name="connsiteX2203" fmla="*/ 841542 w 1655446"/>
                    <a:gd name="connsiteY2203" fmla="*/ 1066162 h 1155218"/>
                    <a:gd name="connsiteX2204" fmla="*/ 840218 w 1655446"/>
                    <a:gd name="connsiteY2204" fmla="*/ 1066454 h 1155218"/>
                    <a:gd name="connsiteX2205" fmla="*/ 837996 w 1655446"/>
                    <a:gd name="connsiteY2205" fmla="*/ 1068166 h 1155218"/>
                    <a:gd name="connsiteX2206" fmla="*/ 835519 w 1655446"/>
                    <a:gd name="connsiteY2206" fmla="*/ 1069574 h 1155218"/>
                    <a:gd name="connsiteX2207" fmla="*/ 833200 w 1655446"/>
                    <a:gd name="connsiteY2207" fmla="*/ 1070279 h 1155218"/>
                    <a:gd name="connsiteX2208" fmla="*/ 830577 w 1655446"/>
                    <a:gd name="connsiteY2208" fmla="*/ 1070485 h 1155218"/>
                    <a:gd name="connsiteX2209" fmla="*/ 829266 w 1655446"/>
                    <a:gd name="connsiteY2209" fmla="*/ 1070303 h 1155218"/>
                    <a:gd name="connsiteX2210" fmla="*/ 828318 w 1655446"/>
                    <a:gd name="connsiteY2210" fmla="*/ 1070035 h 1155218"/>
                    <a:gd name="connsiteX2211" fmla="*/ 826570 w 1655446"/>
                    <a:gd name="connsiteY2211" fmla="*/ 1069003 h 1155218"/>
                    <a:gd name="connsiteX2212" fmla="*/ 825720 w 1655446"/>
                    <a:gd name="connsiteY2212" fmla="*/ 1067959 h 1155218"/>
                    <a:gd name="connsiteX2213" fmla="*/ 825744 w 1655446"/>
                    <a:gd name="connsiteY2213" fmla="*/ 1066417 h 1155218"/>
                    <a:gd name="connsiteX2214" fmla="*/ 826072 w 1655446"/>
                    <a:gd name="connsiteY2214" fmla="*/ 1063527 h 1155218"/>
                    <a:gd name="connsiteX2215" fmla="*/ 825562 w 1655446"/>
                    <a:gd name="connsiteY2215" fmla="*/ 1059204 h 1155218"/>
                    <a:gd name="connsiteX2216" fmla="*/ 824930 w 1655446"/>
                    <a:gd name="connsiteY2216" fmla="*/ 1057322 h 1155218"/>
                    <a:gd name="connsiteX2217" fmla="*/ 823631 w 1655446"/>
                    <a:gd name="connsiteY2217" fmla="*/ 1054529 h 1155218"/>
                    <a:gd name="connsiteX2218" fmla="*/ 823255 w 1655446"/>
                    <a:gd name="connsiteY2218" fmla="*/ 1048980 h 1155218"/>
                    <a:gd name="connsiteX2219" fmla="*/ 822745 w 1655446"/>
                    <a:gd name="connsiteY2219" fmla="*/ 1048288 h 1155218"/>
                    <a:gd name="connsiteX2220" fmla="*/ 821093 w 1655446"/>
                    <a:gd name="connsiteY2220" fmla="*/ 1047377 h 1155218"/>
                    <a:gd name="connsiteX2221" fmla="*/ 817074 w 1655446"/>
                    <a:gd name="connsiteY2221" fmla="*/ 1047158 h 1155218"/>
                    <a:gd name="connsiteX2222" fmla="*/ 816018 w 1655446"/>
                    <a:gd name="connsiteY2222" fmla="*/ 1047243 h 1155218"/>
                    <a:gd name="connsiteX2223" fmla="*/ 814573 w 1655446"/>
                    <a:gd name="connsiteY2223" fmla="*/ 1047595 h 1155218"/>
                    <a:gd name="connsiteX2224" fmla="*/ 813650 w 1655446"/>
                    <a:gd name="connsiteY2224" fmla="*/ 1048020 h 1155218"/>
                    <a:gd name="connsiteX2225" fmla="*/ 813055 w 1655446"/>
                    <a:gd name="connsiteY2225" fmla="*/ 1048640 h 1155218"/>
                    <a:gd name="connsiteX2226" fmla="*/ 808720 w 1655446"/>
                    <a:gd name="connsiteY2226" fmla="*/ 1054347 h 1155218"/>
                    <a:gd name="connsiteX2227" fmla="*/ 799224 w 1655446"/>
                    <a:gd name="connsiteY2227" fmla="*/ 1057686 h 1155218"/>
                    <a:gd name="connsiteX2228" fmla="*/ 788380 w 1655446"/>
                    <a:gd name="connsiteY2228" fmla="*/ 1060018 h 1155218"/>
                    <a:gd name="connsiteX2229" fmla="*/ 786316 w 1655446"/>
                    <a:gd name="connsiteY2229" fmla="*/ 1061353 h 1155218"/>
                    <a:gd name="connsiteX2230" fmla="*/ 784373 w 1655446"/>
                    <a:gd name="connsiteY2230" fmla="*/ 1063406 h 1155218"/>
                    <a:gd name="connsiteX2231" fmla="*/ 782467 w 1655446"/>
                    <a:gd name="connsiteY2231" fmla="*/ 1066138 h 1155218"/>
                    <a:gd name="connsiteX2232" fmla="*/ 777986 w 1655446"/>
                    <a:gd name="connsiteY2232" fmla="*/ 1071056 h 1155218"/>
                    <a:gd name="connsiteX2233" fmla="*/ 774052 w 1655446"/>
                    <a:gd name="connsiteY2233" fmla="*/ 1074164 h 1155218"/>
                    <a:gd name="connsiteX2234" fmla="*/ 766268 w 1655446"/>
                    <a:gd name="connsiteY2234" fmla="*/ 1078742 h 1155218"/>
                    <a:gd name="connsiteX2235" fmla="*/ 755449 w 1655446"/>
                    <a:gd name="connsiteY2235" fmla="*/ 1083745 h 1155218"/>
                    <a:gd name="connsiteX2236" fmla="*/ 732766 w 1655446"/>
                    <a:gd name="connsiteY2236" fmla="*/ 1091152 h 1155218"/>
                    <a:gd name="connsiteX2237" fmla="*/ 728710 w 1655446"/>
                    <a:gd name="connsiteY2237" fmla="*/ 1091857 h 1155218"/>
                    <a:gd name="connsiteX2238" fmla="*/ 724484 w 1655446"/>
                    <a:gd name="connsiteY2238" fmla="*/ 1091784 h 1155218"/>
                    <a:gd name="connsiteX2239" fmla="*/ 720186 w 1655446"/>
                    <a:gd name="connsiteY2239" fmla="*/ 1090582 h 1155218"/>
                    <a:gd name="connsiteX2240" fmla="*/ 711006 w 1655446"/>
                    <a:gd name="connsiteY2240" fmla="*/ 1086672 h 1155218"/>
                    <a:gd name="connsiteX2241" fmla="*/ 709658 w 1655446"/>
                    <a:gd name="connsiteY2241" fmla="*/ 1086562 h 1155218"/>
                    <a:gd name="connsiteX2242" fmla="*/ 709524 w 1655446"/>
                    <a:gd name="connsiteY2242" fmla="*/ 1086805 h 1155218"/>
                    <a:gd name="connsiteX2243" fmla="*/ 705784 w 1655446"/>
                    <a:gd name="connsiteY2243" fmla="*/ 1089561 h 1155218"/>
                    <a:gd name="connsiteX2244" fmla="*/ 701740 w 1655446"/>
                    <a:gd name="connsiteY2244" fmla="*/ 1091201 h 1155218"/>
                    <a:gd name="connsiteX2245" fmla="*/ 696458 w 1655446"/>
                    <a:gd name="connsiteY2245" fmla="*/ 1094771 h 1155218"/>
                    <a:gd name="connsiteX2246" fmla="*/ 692961 w 1655446"/>
                    <a:gd name="connsiteY2246" fmla="*/ 1095864 h 1155218"/>
                    <a:gd name="connsiteX2247" fmla="*/ 689767 w 1655446"/>
                    <a:gd name="connsiteY2247" fmla="*/ 1095026 h 1155218"/>
                    <a:gd name="connsiteX2248" fmla="*/ 688177 w 1655446"/>
                    <a:gd name="connsiteY2248" fmla="*/ 1093034 h 1155218"/>
                    <a:gd name="connsiteX2249" fmla="*/ 687254 w 1655446"/>
                    <a:gd name="connsiteY2249" fmla="*/ 1092160 h 1155218"/>
                    <a:gd name="connsiteX2250" fmla="*/ 686683 w 1655446"/>
                    <a:gd name="connsiteY2250" fmla="*/ 1092087 h 1155218"/>
                    <a:gd name="connsiteX2251" fmla="*/ 683016 w 1655446"/>
                    <a:gd name="connsiteY2251" fmla="*/ 1092172 h 1155218"/>
                    <a:gd name="connsiteX2252" fmla="*/ 680138 w 1655446"/>
                    <a:gd name="connsiteY2252" fmla="*/ 1091589 h 1155218"/>
                    <a:gd name="connsiteX2253" fmla="*/ 678487 w 1655446"/>
                    <a:gd name="connsiteY2253" fmla="*/ 1091492 h 1155218"/>
                    <a:gd name="connsiteX2254" fmla="*/ 675269 w 1655446"/>
                    <a:gd name="connsiteY2254" fmla="*/ 1093289 h 1155218"/>
                    <a:gd name="connsiteX2255" fmla="*/ 672792 w 1655446"/>
                    <a:gd name="connsiteY2255" fmla="*/ 1094127 h 1155218"/>
                    <a:gd name="connsiteX2256" fmla="*/ 669780 w 1655446"/>
                    <a:gd name="connsiteY2256" fmla="*/ 1094455 h 1155218"/>
                    <a:gd name="connsiteX2257" fmla="*/ 667072 w 1655446"/>
                    <a:gd name="connsiteY2257" fmla="*/ 1093994 h 1155218"/>
                    <a:gd name="connsiteX2258" fmla="*/ 664850 w 1655446"/>
                    <a:gd name="connsiteY2258" fmla="*/ 1092937 h 1155218"/>
                    <a:gd name="connsiteX2259" fmla="*/ 662774 w 1655446"/>
                    <a:gd name="connsiteY2259" fmla="*/ 1091043 h 1155218"/>
                    <a:gd name="connsiteX2260" fmla="*/ 661244 w 1655446"/>
                    <a:gd name="connsiteY2260" fmla="*/ 1089064 h 1155218"/>
                    <a:gd name="connsiteX2261" fmla="*/ 660212 w 1655446"/>
                    <a:gd name="connsiteY2261" fmla="*/ 1088165 h 1155218"/>
                    <a:gd name="connsiteX2262" fmla="*/ 659483 w 1655446"/>
                    <a:gd name="connsiteY2262" fmla="*/ 1087971 h 1155218"/>
                    <a:gd name="connsiteX2263" fmla="*/ 659082 w 1655446"/>
                    <a:gd name="connsiteY2263" fmla="*/ 1087959 h 1155218"/>
                    <a:gd name="connsiteX2264" fmla="*/ 658912 w 1655446"/>
                    <a:gd name="connsiteY2264" fmla="*/ 1088153 h 1155218"/>
                    <a:gd name="connsiteX2265" fmla="*/ 657564 w 1655446"/>
                    <a:gd name="connsiteY2265" fmla="*/ 1091007 h 1155218"/>
                    <a:gd name="connsiteX2266" fmla="*/ 654031 w 1655446"/>
                    <a:gd name="connsiteY2266" fmla="*/ 1093702 h 1155218"/>
                    <a:gd name="connsiteX2267" fmla="*/ 651116 w 1655446"/>
                    <a:gd name="connsiteY2267" fmla="*/ 1092184 h 1155218"/>
                    <a:gd name="connsiteX2268" fmla="*/ 650109 w 1655446"/>
                    <a:gd name="connsiteY2268" fmla="*/ 1090509 h 1155218"/>
                    <a:gd name="connsiteX2269" fmla="*/ 649708 w 1655446"/>
                    <a:gd name="connsiteY2269" fmla="*/ 1088918 h 1155218"/>
                    <a:gd name="connsiteX2270" fmla="*/ 649295 w 1655446"/>
                    <a:gd name="connsiteY2270" fmla="*/ 1086307 h 1155218"/>
                    <a:gd name="connsiteX2271" fmla="*/ 648651 w 1655446"/>
                    <a:gd name="connsiteY2271" fmla="*/ 1084704 h 1155218"/>
                    <a:gd name="connsiteX2272" fmla="*/ 643904 w 1655446"/>
                    <a:gd name="connsiteY2272" fmla="*/ 1078098 h 1155218"/>
                    <a:gd name="connsiteX2273" fmla="*/ 639423 w 1655446"/>
                    <a:gd name="connsiteY2273" fmla="*/ 1069938 h 1155218"/>
                    <a:gd name="connsiteX2274" fmla="*/ 639180 w 1655446"/>
                    <a:gd name="connsiteY2274" fmla="*/ 1068967 h 1155218"/>
                    <a:gd name="connsiteX2275" fmla="*/ 638901 w 1655446"/>
                    <a:gd name="connsiteY2275" fmla="*/ 1066891 h 1155218"/>
                    <a:gd name="connsiteX2276" fmla="*/ 638816 w 1655446"/>
                    <a:gd name="connsiteY2276" fmla="*/ 1064474 h 1155218"/>
                    <a:gd name="connsiteX2277" fmla="*/ 639119 w 1655446"/>
                    <a:gd name="connsiteY2277" fmla="*/ 1061669 h 1155218"/>
                    <a:gd name="connsiteX2278" fmla="*/ 640042 w 1655446"/>
                    <a:gd name="connsiteY2278" fmla="*/ 1059228 h 1155218"/>
                    <a:gd name="connsiteX2279" fmla="*/ 640431 w 1655446"/>
                    <a:gd name="connsiteY2279" fmla="*/ 1058342 h 1155218"/>
                    <a:gd name="connsiteX2280" fmla="*/ 643369 w 1655446"/>
                    <a:gd name="connsiteY2280" fmla="*/ 1056581 h 1155218"/>
                    <a:gd name="connsiteX2281" fmla="*/ 646405 w 1655446"/>
                    <a:gd name="connsiteY2281" fmla="*/ 1056205 h 1155218"/>
                    <a:gd name="connsiteX2282" fmla="*/ 665469 w 1655446"/>
                    <a:gd name="connsiteY2282" fmla="*/ 1057370 h 1155218"/>
                    <a:gd name="connsiteX2283" fmla="*/ 665785 w 1655446"/>
                    <a:gd name="connsiteY2283" fmla="*/ 1057298 h 1155218"/>
                    <a:gd name="connsiteX2284" fmla="*/ 664923 w 1655446"/>
                    <a:gd name="connsiteY2284" fmla="*/ 1056266 h 1155218"/>
                    <a:gd name="connsiteX2285" fmla="*/ 663636 w 1655446"/>
                    <a:gd name="connsiteY2285" fmla="*/ 1053594 h 1155218"/>
                    <a:gd name="connsiteX2286" fmla="*/ 663223 w 1655446"/>
                    <a:gd name="connsiteY2286" fmla="*/ 1049879 h 1155218"/>
                    <a:gd name="connsiteX2287" fmla="*/ 663514 w 1655446"/>
                    <a:gd name="connsiteY2287" fmla="*/ 1046576 h 1155218"/>
                    <a:gd name="connsiteX2288" fmla="*/ 663502 w 1655446"/>
                    <a:gd name="connsiteY2288" fmla="*/ 1043977 h 1155218"/>
                    <a:gd name="connsiteX2289" fmla="*/ 661632 w 1655446"/>
                    <a:gd name="connsiteY2289" fmla="*/ 1030522 h 1155218"/>
                    <a:gd name="connsiteX2290" fmla="*/ 661074 w 1655446"/>
                    <a:gd name="connsiteY2290" fmla="*/ 1028956 h 1155218"/>
                    <a:gd name="connsiteX2291" fmla="*/ 660272 w 1655446"/>
                    <a:gd name="connsiteY2291" fmla="*/ 1028167 h 1155218"/>
                    <a:gd name="connsiteX2292" fmla="*/ 659228 w 1655446"/>
                    <a:gd name="connsiteY2292" fmla="*/ 1027730 h 1155218"/>
                    <a:gd name="connsiteX2293" fmla="*/ 655622 w 1655446"/>
                    <a:gd name="connsiteY2293" fmla="*/ 1026479 h 1155218"/>
                    <a:gd name="connsiteX2294" fmla="*/ 653363 w 1655446"/>
                    <a:gd name="connsiteY2294" fmla="*/ 1025240 h 1155218"/>
                    <a:gd name="connsiteX2295" fmla="*/ 652173 w 1655446"/>
                    <a:gd name="connsiteY2295" fmla="*/ 1023115 h 1155218"/>
                    <a:gd name="connsiteX2296" fmla="*/ 651748 w 1655446"/>
                    <a:gd name="connsiteY2296" fmla="*/ 1022071 h 1155218"/>
                    <a:gd name="connsiteX2297" fmla="*/ 651469 w 1655446"/>
                    <a:gd name="connsiteY2297" fmla="*/ 1020881 h 1155218"/>
                    <a:gd name="connsiteX2298" fmla="*/ 650959 w 1655446"/>
                    <a:gd name="connsiteY2298" fmla="*/ 1020153 h 1155218"/>
                    <a:gd name="connsiteX2299" fmla="*/ 650279 w 1655446"/>
                    <a:gd name="connsiteY2299" fmla="*/ 1019533 h 1155218"/>
                    <a:gd name="connsiteX2300" fmla="*/ 648688 w 1655446"/>
                    <a:gd name="connsiteY2300" fmla="*/ 1018938 h 1155218"/>
                    <a:gd name="connsiteX2301" fmla="*/ 646891 w 1655446"/>
                    <a:gd name="connsiteY2301" fmla="*/ 1018659 h 1155218"/>
                    <a:gd name="connsiteX2302" fmla="*/ 623479 w 1655446"/>
                    <a:gd name="connsiteY2302" fmla="*/ 1017870 h 1155218"/>
                    <a:gd name="connsiteX2303" fmla="*/ 622034 w 1655446"/>
                    <a:gd name="connsiteY2303" fmla="*/ 1018392 h 1155218"/>
                    <a:gd name="connsiteX2304" fmla="*/ 620286 w 1655446"/>
                    <a:gd name="connsiteY2304" fmla="*/ 1019837 h 1155218"/>
                    <a:gd name="connsiteX2305" fmla="*/ 619302 w 1655446"/>
                    <a:gd name="connsiteY2305" fmla="*/ 1021634 h 1155218"/>
                    <a:gd name="connsiteX2306" fmla="*/ 615926 w 1655446"/>
                    <a:gd name="connsiteY2306" fmla="*/ 1024293 h 1155218"/>
                    <a:gd name="connsiteX2307" fmla="*/ 610486 w 1655446"/>
                    <a:gd name="connsiteY2307" fmla="*/ 1025459 h 1155218"/>
                    <a:gd name="connsiteX2308" fmla="*/ 609308 w 1655446"/>
                    <a:gd name="connsiteY2308" fmla="*/ 1027596 h 1155218"/>
                    <a:gd name="connsiteX2309" fmla="*/ 608058 w 1655446"/>
                    <a:gd name="connsiteY2309" fmla="*/ 1029369 h 1155218"/>
                    <a:gd name="connsiteX2310" fmla="*/ 605884 w 1655446"/>
                    <a:gd name="connsiteY2310" fmla="*/ 1031057 h 1155218"/>
                    <a:gd name="connsiteX2311" fmla="*/ 603225 w 1655446"/>
                    <a:gd name="connsiteY2311" fmla="*/ 1032138 h 1155218"/>
                    <a:gd name="connsiteX2312" fmla="*/ 600565 w 1655446"/>
                    <a:gd name="connsiteY2312" fmla="*/ 1032307 h 1155218"/>
                    <a:gd name="connsiteX2313" fmla="*/ 598270 w 1655446"/>
                    <a:gd name="connsiteY2313" fmla="*/ 1031616 h 1155218"/>
                    <a:gd name="connsiteX2314" fmla="*/ 596376 w 1655446"/>
                    <a:gd name="connsiteY2314" fmla="*/ 1030195 h 1155218"/>
                    <a:gd name="connsiteX2315" fmla="*/ 595065 w 1655446"/>
                    <a:gd name="connsiteY2315" fmla="*/ 1028640 h 1155218"/>
                    <a:gd name="connsiteX2316" fmla="*/ 594409 w 1655446"/>
                    <a:gd name="connsiteY2316" fmla="*/ 1027487 h 1155218"/>
                    <a:gd name="connsiteX2317" fmla="*/ 593085 w 1655446"/>
                    <a:gd name="connsiteY2317" fmla="*/ 1026940 h 1155218"/>
                    <a:gd name="connsiteX2318" fmla="*/ 591932 w 1655446"/>
                    <a:gd name="connsiteY2318" fmla="*/ 1026928 h 1155218"/>
                    <a:gd name="connsiteX2319" fmla="*/ 583007 w 1655446"/>
                    <a:gd name="connsiteY2319" fmla="*/ 1027754 h 1155218"/>
                    <a:gd name="connsiteX2320" fmla="*/ 574944 w 1655446"/>
                    <a:gd name="connsiteY2320" fmla="*/ 1030000 h 1155218"/>
                    <a:gd name="connsiteX2321" fmla="*/ 567828 w 1655446"/>
                    <a:gd name="connsiteY2321" fmla="*/ 1033473 h 1155218"/>
                    <a:gd name="connsiteX2322" fmla="*/ 547355 w 1655446"/>
                    <a:gd name="connsiteY2322" fmla="*/ 1048020 h 1155218"/>
                    <a:gd name="connsiteX2323" fmla="*/ 543275 w 1655446"/>
                    <a:gd name="connsiteY2323" fmla="*/ 1049490 h 1155218"/>
                    <a:gd name="connsiteX2324" fmla="*/ 532444 w 1655446"/>
                    <a:gd name="connsiteY2324" fmla="*/ 1049538 h 1155218"/>
                    <a:gd name="connsiteX2325" fmla="*/ 528145 w 1655446"/>
                    <a:gd name="connsiteY2325" fmla="*/ 1051542 h 1155218"/>
                    <a:gd name="connsiteX2326" fmla="*/ 525279 w 1655446"/>
                    <a:gd name="connsiteY2326" fmla="*/ 1054930 h 1155218"/>
                    <a:gd name="connsiteX2327" fmla="*/ 524539 w 1655446"/>
                    <a:gd name="connsiteY2327" fmla="*/ 1059410 h 1155218"/>
                    <a:gd name="connsiteX2328" fmla="*/ 524405 w 1655446"/>
                    <a:gd name="connsiteY2328" fmla="*/ 1061608 h 1155218"/>
                    <a:gd name="connsiteX2329" fmla="*/ 524065 w 1655446"/>
                    <a:gd name="connsiteY2329" fmla="*/ 1063345 h 1155218"/>
                    <a:gd name="connsiteX2330" fmla="*/ 523883 w 1655446"/>
                    <a:gd name="connsiteY2330" fmla="*/ 1067522 h 1155218"/>
                    <a:gd name="connsiteX2331" fmla="*/ 523907 w 1655446"/>
                    <a:gd name="connsiteY2331" fmla="*/ 1068955 h 1155218"/>
                    <a:gd name="connsiteX2332" fmla="*/ 523227 w 1655446"/>
                    <a:gd name="connsiteY2332" fmla="*/ 1071359 h 1155218"/>
                    <a:gd name="connsiteX2333" fmla="*/ 522061 w 1655446"/>
                    <a:gd name="connsiteY2333" fmla="*/ 1073909 h 1155218"/>
                    <a:gd name="connsiteX2334" fmla="*/ 519985 w 1655446"/>
                    <a:gd name="connsiteY2334" fmla="*/ 1076386 h 1155218"/>
                    <a:gd name="connsiteX2335" fmla="*/ 517301 w 1655446"/>
                    <a:gd name="connsiteY2335" fmla="*/ 1078584 h 1155218"/>
                    <a:gd name="connsiteX2336" fmla="*/ 516585 w 1655446"/>
                    <a:gd name="connsiteY2336" fmla="*/ 1079738 h 1155218"/>
                    <a:gd name="connsiteX2337" fmla="*/ 513161 w 1655446"/>
                    <a:gd name="connsiteY2337" fmla="*/ 1087133 h 1155218"/>
                    <a:gd name="connsiteX2338" fmla="*/ 510914 w 1655446"/>
                    <a:gd name="connsiteY2338" fmla="*/ 1089756 h 1155218"/>
                    <a:gd name="connsiteX2339" fmla="*/ 508316 w 1655446"/>
                    <a:gd name="connsiteY2339" fmla="*/ 1091626 h 1155218"/>
                    <a:gd name="connsiteX2340" fmla="*/ 500836 w 1655446"/>
                    <a:gd name="connsiteY2340" fmla="*/ 1095742 h 1155218"/>
                    <a:gd name="connsiteX2341" fmla="*/ 496610 w 1655446"/>
                    <a:gd name="connsiteY2341" fmla="*/ 1098912 h 1155218"/>
                    <a:gd name="connsiteX2342" fmla="*/ 495517 w 1655446"/>
                    <a:gd name="connsiteY2342" fmla="*/ 1100150 h 1155218"/>
                    <a:gd name="connsiteX2343" fmla="*/ 495748 w 1655446"/>
                    <a:gd name="connsiteY2343" fmla="*/ 1101182 h 1155218"/>
                    <a:gd name="connsiteX2344" fmla="*/ 496391 w 1655446"/>
                    <a:gd name="connsiteY2344" fmla="*/ 1102979 h 1155218"/>
                    <a:gd name="connsiteX2345" fmla="*/ 499136 w 1655446"/>
                    <a:gd name="connsiteY2345" fmla="*/ 1108468 h 1155218"/>
                    <a:gd name="connsiteX2346" fmla="*/ 499281 w 1655446"/>
                    <a:gd name="connsiteY2346" fmla="*/ 1118231 h 1155218"/>
                    <a:gd name="connsiteX2347" fmla="*/ 497290 w 1655446"/>
                    <a:gd name="connsiteY2347" fmla="*/ 1122360 h 1155218"/>
                    <a:gd name="connsiteX2348" fmla="*/ 495468 w 1655446"/>
                    <a:gd name="connsiteY2348" fmla="*/ 1125310 h 1155218"/>
                    <a:gd name="connsiteX2349" fmla="*/ 493197 w 1655446"/>
                    <a:gd name="connsiteY2349" fmla="*/ 1127909 h 1155218"/>
                    <a:gd name="connsiteX2350" fmla="*/ 489700 w 1655446"/>
                    <a:gd name="connsiteY2350" fmla="*/ 1130082 h 1155218"/>
                    <a:gd name="connsiteX2351" fmla="*/ 475517 w 1655446"/>
                    <a:gd name="connsiteY2351" fmla="*/ 1131576 h 1155218"/>
                    <a:gd name="connsiteX2352" fmla="*/ 472385 w 1655446"/>
                    <a:gd name="connsiteY2352" fmla="*/ 1132244 h 1155218"/>
                    <a:gd name="connsiteX2353" fmla="*/ 468256 w 1655446"/>
                    <a:gd name="connsiteY2353" fmla="*/ 1134223 h 1155218"/>
                    <a:gd name="connsiteX2354" fmla="*/ 465961 w 1655446"/>
                    <a:gd name="connsiteY2354" fmla="*/ 1136446 h 1155218"/>
                    <a:gd name="connsiteX2355" fmla="*/ 463957 w 1655446"/>
                    <a:gd name="connsiteY2355" fmla="*/ 1138983 h 1155218"/>
                    <a:gd name="connsiteX2356" fmla="*/ 460484 w 1655446"/>
                    <a:gd name="connsiteY2356" fmla="*/ 1144448 h 1155218"/>
                    <a:gd name="connsiteX2357" fmla="*/ 457303 w 1655446"/>
                    <a:gd name="connsiteY2357" fmla="*/ 1148200 h 1155218"/>
                    <a:gd name="connsiteX2358" fmla="*/ 451717 w 1655446"/>
                    <a:gd name="connsiteY2358" fmla="*/ 1150628 h 1155218"/>
                    <a:gd name="connsiteX2359" fmla="*/ 445561 w 1655446"/>
                    <a:gd name="connsiteY2359" fmla="*/ 1152680 h 1155218"/>
                    <a:gd name="connsiteX2360" fmla="*/ 433369 w 1655446"/>
                    <a:gd name="connsiteY2360" fmla="*/ 1153798 h 1155218"/>
                    <a:gd name="connsiteX2361" fmla="*/ 427504 w 1655446"/>
                    <a:gd name="connsiteY2361" fmla="*/ 1155218 h 1155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Lst>
                  <a:rect l="l" t="t" r="r" b="b"/>
                  <a:pathLst>
                    <a:path w="1655446" h="1155218">
                      <a:moveTo>
                        <a:pt x="408258" y="1153008"/>
                      </a:moveTo>
                      <a:lnTo>
                        <a:pt x="403619" y="1151102"/>
                      </a:lnTo>
                      <a:lnTo>
                        <a:pt x="398507" y="1148176"/>
                      </a:lnTo>
                      <a:lnTo>
                        <a:pt x="391452" y="1138595"/>
                      </a:lnTo>
                      <a:lnTo>
                        <a:pt x="390383" y="1136603"/>
                      </a:lnTo>
                      <a:lnTo>
                        <a:pt x="390055" y="1135462"/>
                      </a:lnTo>
                      <a:lnTo>
                        <a:pt x="390043" y="1133313"/>
                      </a:lnTo>
                      <a:lnTo>
                        <a:pt x="390177" y="1132790"/>
                      </a:lnTo>
                      <a:lnTo>
                        <a:pt x="390602" y="1131904"/>
                      </a:lnTo>
                      <a:lnTo>
                        <a:pt x="390978" y="1131370"/>
                      </a:lnTo>
                      <a:lnTo>
                        <a:pt x="391938" y="1130459"/>
                      </a:lnTo>
                      <a:lnTo>
                        <a:pt x="392326" y="1130216"/>
                      </a:lnTo>
                      <a:lnTo>
                        <a:pt x="393334" y="1129767"/>
                      </a:lnTo>
                      <a:lnTo>
                        <a:pt x="395216" y="1129390"/>
                      </a:lnTo>
                      <a:lnTo>
                        <a:pt x="396491" y="1129390"/>
                      </a:lnTo>
                      <a:lnTo>
                        <a:pt x="397062" y="1129330"/>
                      </a:lnTo>
                      <a:lnTo>
                        <a:pt x="397244" y="1128783"/>
                      </a:lnTo>
                      <a:lnTo>
                        <a:pt x="395483" y="1120975"/>
                      </a:lnTo>
                      <a:lnTo>
                        <a:pt x="394998" y="1112050"/>
                      </a:lnTo>
                      <a:lnTo>
                        <a:pt x="391027" y="1102797"/>
                      </a:lnTo>
                      <a:lnTo>
                        <a:pt x="388440" y="1097891"/>
                      </a:lnTo>
                      <a:lnTo>
                        <a:pt x="388003" y="1097564"/>
                      </a:lnTo>
                      <a:lnTo>
                        <a:pt x="386461" y="1097369"/>
                      </a:lnTo>
                      <a:lnTo>
                        <a:pt x="385417" y="1097867"/>
                      </a:lnTo>
                      <a:lnTo>
                        <a:pt x="383183" y="1098207"/>
                      </a:lnTo>
                      <a:lnTo>
                        <a:pt x="380827" y="1098146"/>
                      </a:lnTo>
                      <a:lnTo>
                        <a:pt x="370311" y="1095548"/>
                      </a:lnTo>
                      <a:lnTo>
                        <a:pt x="363535" y="1092998"/>
                      </a:lnTo>
                      <a:lnTo>
                        <a:pt x="361362" y="1092876"/>
                      </a:lnTo>
                      <a:lnTo>
                        <a:pt x="356250" y="1093034"/>
                      </a:lnTo>
                      <a:lnTo>
                        <a:pt x="350676" y="1091565"/>
                      </a:lnTo>
                      <a:lnTo>
                        <a:pt x="339444" y="1094552"/>
                      </a:lnTo>
                      <a:lnTo>
                        <a:pt x="318667" y="1095706"/>
                      </a:lnTo>
                      <a:lnTo>
                        <a:pt x="310264" y="1095293"/>
                      </a:lnTo>
                      <a:lnTo>
                        <a:pt x="302857" y="1094236"/>
                      </a:lnTo>
                      <a:lnTo>
                        <a:pt x="300574" y="1094516"/>
                      </a:lnTo>
                      <a:lnTo>
                        <a:pt x="297696" y="1095123"/>
                      </a:lnTo>
                      <a:lnTo>
                        <a:pt x="292961" y="1095269"/>
                      </a:lnTo>
                      <a:lnTo>
                        <a:pt x="287035" y="1096835"/>
                      </a:lnTo>
                      <a:lnTo>
                        <a:pt x="283793" y="1096957"/>
                      </a:lnTo>
                      <a:lnTo>
                        <a:pt x="275669" y="1096046"/>
                      </a:lnTo>
                      <a:lnTo>
                        <a:pt x="257515" y="1096070"/>
                      </a:lnTo>
                      <a:lnTo>
                        <a:pt x="254322" y="1095378"/>
                      </a:lnTo>
                      <a:lnTo>
                        <a:pt x="252452" y="1094710"/>
                      </a:lnTo>
                      <a:lnTo>
                        <a:pt x="250533" y="1094346"/>
                      </a:lnTo>
                      <a:lnTo>
                        <a:pt x="244765" y="1095026"/>
                      </a:lnTo>
                      <a:lnTo>
                        <a:pt x="224669" y="1090776"/>
                      </a:lnTo>
                      <a:lnTo>
                        <a:pt x="213691" y="1086744"/>
                      </a:lnTo>
                      <a:lnTo>
                        <a:pt x="210923" y="1085336"/>
                      </a:lnTo>
                      <a:lnTo>
                        <a:pt x="208421" y="1083296"/>
                      </a:lnTo>
                      <a:lnTo>
                        <a:pt x="206418" y="1080624"/>
                      </a:lnTo>
                      <a:lnTo>
                        <a:pt x="205094" y="1078098"/>
                      </a:lnTo>
                      <a:lnTo>
                        <a:pt x="203139" y="1073156"/>
                      </a:lnTo>
                      <a:lnTo>
                        <a:pt x="196254" y="1063685"/>
                      </a:lnTo>
                      <a:lnTo>
                        <a:pt x="192830" y="1060261"/>
                      </a:lnTo>
                      <a:lnTo>
                        <a:pt x="191288" y="1059289"/>
                      </a:lnTo>
                      <a:lnTo>
                        <a:pt x="186783" y="1057006"/>
                      </a:lnTo>
                      <a:lnTo>
                        <a:pt x="186066" y="1056836"/>
                      </a:lnTo>
                      <a:lnTo>
                        <a:pt x="177590" y="1056472"/>
                      </a:lnTo>
                      <a:lnTo>
                        <a:pt x="173899" y="1055258"/>
                      </a:lnTo>
                      <a:lnTo>
                        <a:pt x="170888" y="1053315"/>
                      </a:lnTo>
                      <a:lnTo>
                        <a:pt x="167730" y="1050704"/>
                      </a:lnTo>
                      <a:lnTo>
                        <a:pt x="166382" y="1049939"/>
                      </a:lnTo>
                      <a:lnTo>
                        <a:pt x="165217" y="1049660"/>
                      </a:lnTo>
                      <a:lnTo>
                        <a:pt x="160202" y="1048955"/>
                      </a:lnTo>
                      <a:lnTo>
                        <a:pt x="158441" y="1048895"/>
                      </a:lnTo>
                      <a:lnTo>
                        <a:pt x="141987" y="1050473"/>
                      </a:lnTo>
                      <a:lnTo>
                        <a:pt x="135552" y="1050449"/>
                      </a:lnTo>
                      <a:lnTo>
                        <a:pt x="130913" y="1049939"/>
                      </a:lnTo>
                      <a:lnTo>
                        <a:pt x="127501" y="1048530"/>
                      </a:lnTo>
                      <a:lnTo>
                        <a:pt x="124611" y="1046369"/>
                      </a:lnTo>
                      <a:lnTo>
                        <a:pt x="122413" y="1044147"/>
                      </a:lnTo>
                      <a:lnTo>
                        <a:pt x="120992" y="1042969"/>
                      </a:lnTo>
                      <a:lnTo>
                        <a:pt x="111739" y="1040467"/>
                      </a:lnTo>
                      <a:lnTo>
                        <a:pt x="107902" y="1038440"/>
                      </a:lnTo>
                      <a:lnTo>
                        <a:pt x="101515" y="1033400"/>
                      </a:lnTo>
                      <a:lnTo>
                        <a:pt x="97046" y="1030522"/>
                      </a:lnTo>
                      <a:lnTo>
                        <a:pt x="94290" y="1028397"/>
                      </a:lnTo>
                      <a:lnTo>
                        <a:pt x="92274" y="1026151"/>
                      </a:lnTo>
                      <a:lnTo>
                        <a:pt x="91072" y="1023431"/>
                      </a:lnTo>
                      <a:lnTo>
                        <a:pt x="90501" y="1017141"/>
                      </a:lnTo>
                      <a:lnTo>
                        <a:pt x="90040" y="1016157"/>
                      </a:lnTo>
                      <a:lnTo>
                        <a:pt x="87976" y="1012284"/>
                      </a:lnTo>
                      <a:lnTo>
                        <a:pt x="87113" y="1009685"/>
                      </a:lnTo>
                      <a:lnTo>
                        <a:pt x="86773" y="1006091"/>
                      </a:lnTo>
                      <a:lnTo>
                        <a:pt x="87684" y="989139"/>
                      </a:lnTo>
                      <a:lnTo>
                        <a:pt x="88012" y="987002"/>
                      </a:lnTo>
                      <a:lnTo>
                        <a:pt x="86786" y="982619"/>
                      </a:lnTo>
                      <a:lnTo>
                        <a:pt x="76476" y="971326"/>
                      </a:lnTo>
                      <a:lnTo>
                        <a:pt x="73890" y="969067"/>
                      </a:lnTo>
                      <a:lnTo>
                        <a:pt x="73234" y="969128"/>
                      </a:lnTo>
                      <a:lnTo>
                        <a:pt x="66543" y="975345"/>
                      </a:lnTo>
                      <a:lnTo>
                        <a:pt x="63945" y="976741"/>
                      </a:lnTo>
                      <a:lnTo>
                        <a:pt x="59415" y="978101"/>
                      </a:lnTo>
                      <a:lnTo>
                        <a:pt x="57108" y="979182"/>
                      </a:lnTo>
                      <a:lnTo>
                        <a:pt x="55590" y="979486"/>
                      </a:lnTo>
                      <a:lnTo>
                        <a:pt x="55347" y="981404"/>
                      </a:lnTo>
                      <a:lnTo>
                        <a:pt x="54558" y="982594"/>
                      </a:lnTo>
                      <a:lnTo>
                        <a:pt x="53295" y="983930"/>
                      </a:lnTo>
                      <a:lnTo>
                        <a:pt x="50187" y="985703"/>
                      </a:lnTo>
                      <a:lnTo>
                        <a:pt x="46155" y="987148"/>
                      </a:lnTo>
                      <a:lnTo>
                        <a:pt x="41772" y="987998"/>
                      </a:lnTo>
                      <a:lnTo>
                        <a:pt x="36999" y="988241"/>
                      </a:lnTo>
                      <a:lnTo>
                        <a:pt x="32142" y="987379"/>
                      </a:lnTo>
                      <a:lnTo>
                        <a:pt x="25209" y="983384"/>
                      </a:lnTo>
                      <a:lnTo>
                        <a:pt x="22052" y="982959"/>
                      </a:lnTo>
                      <a:lnTo>
                        <a:pt x="19574" y="982473"/>
                      </a:lnTo>
                      <a:lnTo>
                        <a:pt x="19635" y="965606"/>
                      </a:lnTo>
                      <a:lnTo>
                        <a:pt x="21991" y="957859"/>
                      </a:lnTo>
                      <a:lnTo>
                        <a:pt x="21833" y="956827"/>
                      </a:lnTo>
                      <a:lnTo>
                        <a:pt x="20704" y="955419"/>
                      </a:lnTo>
                      <a:lnTo>
                        <a:pt x="19429" y="954253"/>
                      </a:lnTo>
                      <a:lnTo>
                        <a:pt x="17911" y="952103"/>
                      </a:lnTo>
                      <a:lnTo>
                        <a:pt x="16927" y="949140"/>
                      </a:lnTo>
                      <a:lnTo>
                        <a:pt x="16271" y="944174"/>
                      </a:lnTo>
                      <a:lnTo>
                        <a:pt x="15482" y="941223"/>
                      </a:lnTo>
                      <a:lnTo>
                        <a:pt x="13758" y="937556"/>
                      </a:lnTo>
                      <a:lnTo>
                        <a:pt x="12580" y="936148"/>
                      </a:lnTo>
                      <a:lnTo>
                        <a:pt x="9860" y="933804"/>
                      </a:lnTo>
                      <a:lnTo>
                        <a:pt x="7954" y="931133"/>
                      </a:lnTo>
                      <a:lnTo>
                        <a:pt x="7516" y="928583"/>
                      </a:lnTo>
                      <a:lnTo>
                        <a:pt x="7686" y="922098"/>
                      </a:lnTo>
                      <a:lnTo>
                        <a:pt x="7419" y="919937"/>
                      </a:lnTo>
                      <a:lnTo>
                        <a:pt x="6484" y="916804"/>
                      </a:lnTo>
                      <a:lnTo>
                        <a:pt x="5999" y="912918"/>
                      </a:lnTo>
                      <a:lnTo>
                        <a:pt x="6557" y="907005"/>
                      </a:lnTo>
                      <a:lnTo>
                        <a:pt x="7990" y="903325"/>
                      </a:lnTo>
                      <a:lnTo>
                        <a:pt x="9471" y="901006"/>
                      </a:lnTo>
                      <a:lnTo>
                        <a:pt x="11463" y="899415"/>
                      </a:lnTo>
                      <a:lnTo>
                        <a:pt x="13721" y="898699"/>
                      </a:lnTo>
                      <a:lnTo>
                        <a:pt x="15968" y="898772"/>
                      </a:lnTo>
                      <a:lnTo>
                        <a:pt x="18141" y="899585"/>
                      </a:lnTo>
                      <a:lnTo>
                        <a:pt x="20157" y="901030"/>
                      </a:lnTo>
                      <a:lnTo>
                        <a:pt x="23096" y="903969"/>
                      </a:lnTo>
                      <a:lnTo>
                        <a:pt x="23788" y="904248"/>
                      </a:lnTo>
                      <a:lnTo>
                        <a:pt x="24772" y="904321"/>
                      </a:lnTo>
                      <a:lnTo>
                        <a:pt x="26289" y="904212"/>
                      </a:lnTo>
                      <a:lnTo>
                        <a:pt x="31608" y="903095"/>
                      </a:lnTo>
                      <a:lnTo>
                        <a:pt x="34279" y="902099"/>
                      </a:lnTo>
                      <a:lnTo>
                        <a:pt x="36757" y="900751"/>
                      </a:lnTo>
                      <a:lnTo>
                        <a:pt x="38724" y="899257"/>
                      </a:lnTo>
                      <a:lnTo>
                        <a:pt x="40169" y="897691"/>
                      </a:lnTo>
                      <a:lnTo>
                        <a:pt x="41007" y="896574"/>
                      </a:lnTo>
                      <a:lnTo>
                        <a:pt x="41590" y="895214"/>
                      </a:lnTo>
                      <a:lnTo>
                        <a:pt x="41541" y="894412"/>
                      </a:lnTo>
                      <a:lnTo>
                        <a:pt x="40290" y="893186"/>
                      </a:lnTo>
                      <a:lnTo>
                        <a:pt x="38663" y="892542"/>
                      </a:lnTo>
                      <a:lnTo>
                        <a:pt x="34644" y="891717"/>
                      </a:lnTo>
                      <a:lnTo>
                        <a:pt x="29094" y="891413"/>
                      </a:lnTo>
                      <a:lnTo>
                        <a:pt x="22197" y="892530"/>
                      </a:lnTo>
                      <a:lnTo>
                        <a:pt x="19028" y="892639"/>
                      </a:lnTo>
                      <a:lnTo>
                        <a:pt x="15628" y="891121"/>
                      </a:lnTo>
                      <a:lnTo>
                        <a:pt x="12034" y="888705"/>
                      </a:lnTo>
                      <a:lnTo>
                        <a:pt x="3145" y="880412"/>
                      </a:lnTo>
                      <a:lnTo>
                        <a:pt x="316" y="877230"/>
                      </a:lnTo>
                      <a:lnTo>
                        <a:pt x="0" y="873150"/>
                      </a:lnTo>
                      <a:lnTo>
                        <a:pt x="2234" y="868147"/>
                      </a:lnTo>
                      <a:lnTo>
                        <a:pt x="4566" y="866338"/>
                      </a:lnTo>
                      <a:lnTo>
                        <a:pt x="6436" y="865257"/>
                      </a:lnTo>
                      <a:lnTo>
                        <a:pt x="9180" y="864723"/>
                      </a:lnTo>
                      <a:lnTo>
                        <a:pt x="10504" y="864832"/>
                      </a:lnTo>
                      <a:lnTo>
                        <a:pt x="21784" y="868196"/>
                      </a:lnTo>
                      <a:lnTo>
                        <a:pt x="22987" y="868196"/>
                      </a:lnTo>
                      <a:lnTo>
                        <a:pt x="24055" y="867856"/>
                      </a:lnTo>
                      <a:lnTo>
                        <a:pt x="25743" y="867127"/>
                      </a:lnTo>
                      <a:lnTo>
                        <a:pt x="26994" y="866192"/>
                      </a:lnTo>
                      <a:lnTo>
                        <a:pt x="33259" y="858979"/>
                      </a:lnTo>
                      <a:lnTo>
                        <a:pt x="47758" y="847929"/>
                      </a:lnTo>
                      <a:lnTo>
                        <a:pt x="50077" y="846958"/>
                      </a:lnTo>
                      <a:lnTo>
                        <a:pt x="52749" y="846484"/>
                      </a:lnTo>
                      <a:lnTo>
                        <a:pt x="58092" y="846533"/>
                      </a:lnTo>
                      <a:lnTo>
                        <a:pt x="59998" y="846241"/>
                      </a:lnTo>
                      <a:lnTo>
                        <a:pt x="60739" y="845865"/>
                      </a:lnTo>
                      <a:lnTo>
                        <a:pt x="62609" y="844748"/>
                      </a:lnTo>
                      <a:lnTo>
                        <a:pt x="64127" y="843497"/>
                      </a:lnTo>
                      <a:lnTo>
                        <a:pt x="65402" y="842052"/>
                      </a:lnTo>
                      <a:lnTo>
                        <a:pt x="66640" y="840376"/>
                      </a:lnTo>
                      <a:lnTo>
                        <a:pt x="81406" y="811172"/>
                      </a:lnTo>
                      <a:lnTo>
                        <a:pt x="81516" y="808841"/>
                      </a:lnTo>
                      <a:lnTo>
                        <a:pt x="80350" y="805781"/>
                      </a:lnTo>
                      <a:lnTo>
                        <a:pt x="76076" y="800499"/>
                      </a:lnTo>
                      <a:lnTo>
                        <a:pt x="74473" y="799722"/>
                      </a:lnTo>
                      <a:lnTo>
                        <a:pt x="73671" y="800232"/>
                      </a:lnTo>
                      <a:lnTo>
                        <a:pt x="71850" y="801070"/>
                      </a:lnTo>
                      <a:lnTo>
                        <a:pt x="69664" y="801519"/>
                      </a:lnTo>
                      <a:lnTo>
                        <a:pt x="67260" y="801397"/>
                      </a:lnTo>
                      <a:lnTo>
                        <a:pt x="64795" y="800402"/>
                      </a:lnTo>
                      <a:lnTo>
                        <a:pt x="63240" y="797767"/>
                      </a:lnTo>
                      <a:lnTo>
                        <a:pt x="62111" y="794014"/>
                      </a:lnTo>
                      <a:lnTo>
                        <a:pt x="59974" y="776189"/>
                      </a:lnTo>
                      <a:lnTo>
                        <a:pt x="55384" y="764932"/>
                      </a:lnTo>
                      <a:lnTo>
                        <a:pt x="60763" y="761484"/>
                      </a:lnTo>
                      <a:lnTo>
                        <a:pt x="63058" y="759310"/>
                      </a:lnTo>
                      <a:lnTo>
                        <a:pt x="64746" y="757986"/>
                      </a:lnTo>
                      <a:lnTo>
                        <a:pt x="67466" y="756663"/>
                      </a:lnTo>
                      <a:lnTo>
                        <a:pt x="70490" y="755934"/>
                      </a:lnTo>
                      <a:lnTo>
                        <a:pt x="74970" y="755922"/>
                      </a:lnTo>
                      <a:lnTo>
                        <a:pt x="78407" y="756687"/>
                      </a:lnTo>
                      <a:lnTo>
                        <a:pt x="81649" y="757853"/>
                      </a:lnTo>
                      <a:lnTo>
                        <a:pt x="84539" y="758351"/>
                      </a:lnTo>
                      <a:lnTo>
                        <a:pt x="87405" y="757926"/>
                      </a:lnTo>
                      <a:lnTo>
                        <a:pt x="100240" y="751041"/>
                      </a:lnTo>
                      <a:lnTo>
                        <a:pt x="112529" y="748029"/>
                      </a:lnTo>
                      <a:lnTo>
                        <a:pt x="121939" y="741606"/>
                      </a:lnTo>
                      <a:lnTo>
                        <a:pt x="129092" y="738995"/>
                      </a:lnTo>
                      <a:lnTo>
                        <a:pt x="127161" y="737647"/>
                      </a:lnTo>
                      <a:lnTo>
                        <a:pt x="125291" y="735850"/>
                      </a:lnTo>
                      <a:lnTo>
                        <a:pt x="122886" y="732413"/>
                      </a:lnTo>
                      <a:lnTo>
                        <a:pt x="122024" y="731733"/>
                      </a:lnTo>
                      <a:lnTo>
                        <a:pt x="120628" y="731199"/>
                      </a:lnTo>
                      <a:lnTo>
                        <a:pt x="115273" y="731466"/>
                      </a:lnTo>
                      <a:lnTo>
                        <a:pt x="112747" y="731163"/>
                      </a:lnTo>
                      <a:lnTo>
                        <a:pt x="106372" y="728770"/>
                      </a:lnTo>
                      <a:lnTo>
                        <a:pt x="101114" y="727836"/>
                      </a:lnTo>
                      <a:lnTo>
                        <a:pt x="99050" y="727095"/>
                      </a:lnTo>
                      <a:lnTo>
                        <a:pt x="97544" y="726269"/>
                      </a:lnTo>
                      <a:lnTo>
                        <a:pt x="95917" y="724885"/>
                      </a:lnTo>
                      <a:lnTo>
                        <a:pt x="94132" y="722529"/>
                      </a:lnTo>
                      <a:lnTo>
                        <a:pt x="93039" y="719493"/>
                      </a:lnTo>
                      <a:lnTo>
                        <a:pt x="93197" y="715632"/>
                      </a:lnTo>
                      <a:lnTo>
                        <a:pt x="100155" y="702299"/>
                      </a:lnTo>
                      <a:lnTo>
                        <a:pt x="102790" y="698680"/>
                      </a:lnTo>
                      <a:lnTo>
                        <a:pt x="114884" y="687825"/>
                      </a:lnTo>
                      <a:lnTo>
                        <a:pt x="118345" y="685529"/>
                      </a:lnTo>
                      <a:lnTo>
                        <a:pt x="128788" y="682312"/>
                      </a:lnTo>
                      <a:lnTo>
                        <a:pt x="133002" y="680915"/>
                      </a:lnTo>
                      <a:lnTo>
                        <a:pt x="142910" y="674261"/>
                      </a:lnTo>
                      <a:lnTo>
                        <a:pt x="145521" y="673204"/>
                      </a:lnTo>
                      <a:lnTo>
                        <a:pt x="150633" y="672051"/>
                      </a:lnTo>
                      <a:lnTo>
                        <a:pt x="151459" y="671553"/>
                      </a:lnTo>
                      <a:lnTo>
                        <a:pt x="156462" y="666744"/>
                      </a:lnTo>
                      <a:lnTo>
                        <a:pt x="157955" y="664838"/>
                      </a:lnTo>
                      <a:lnTo>
                        <a:pt x="159376" y="662434"/>
                      </a:lnTo>
                      <a:lnTo>
                        <a:pt x="160675" y="659277"/>
                      </a:lnTo>
                      <a:lnTo>
                        <a:pt x="163177" y="651638"/>
                      </a:lnTo>
                      <a:lnTo>
                        <a:pt x="164452" y="649076"/>
                      </a:lnTo>
                      <a:lnTo>
                        <a:pt x="166346" y="646526"/>
                      </a:lnTo>
                      <a:lnTo>
                        <a:pt x="168289" y="644486"/>
                      </a:lnTo>
                      <a:lnTo>
                        <a:pt x="169831" y="642398"/>
                      </a:lnTo>
                      <a:lnTo>
                        <a:pt x="171118" y="639909"/>
                      </a:lnTo>
                      <a:lnTo>
                        <a:pt x="171555" y="636630"/>
                      </a:lnTo>
                      <a:lnTo>
                        <a:pt x="171689" y="633473"/>
                      </a:lnTo>
                      <a:lnTo>
                        <a:pt x="171470" y="630558"/>
                      </a:lnTo>
                      <a:lnTo>
                        <a:pt x="170317" y="624875"/>
                      </a:lnTo>
                      <a:lnTo>
                        <a:pt x="167706" y="620395"/>
                      </a:lnTo>
                      <a:lnTo>
                        <a:pt x="165605" y="617845"/>
                      </a:lnTo>
                      <a:lnTo>
                        <a:pt x="164962" y="614287"/>
                      </a:lnTo>
                      <a:lnTo>
                        <a:pt x="164634" y="610280"/>
                      </a:lnTo>
                      <a:lnTo>
                        <a:pt x="164804" y="603771"/>
                      </a:lnTo>
                      <a:lnTo>
                        <a:pt x="165800" y="595271"/>
                      </a:lnTo>
                      <a:lnTo>
                        <a:pt x="173170" y="573717"/>
                      </a:lnTo>
                      <a:lnTo>
                        <a:pt x="174968" y="570560"/>
                      </a:lnTo>
                      <a:lnTo>
                        <a:pt x="176534" y="568520"/>
                      </a:lnTo>
                      <a:lnTo>
                        <a:pt x="177008" y="567719"/>
                      </a:lnTo>
                      <a:lnTo>
                        <a:pt x="176145" y="566431"/>
                      </a:lnTo>
                      <a:lnTo>
                        <a:pt x="174737" y="565169"/>
                      </a:lnTo>
                      <a:lnTo>
                        <a:pt x="170851" y="562194"/>
                      </a:lnTo>
                      <a:lnTo>
                        <a:pt x="168520" y="559546"/>
                      </a:lnTo>
                      <a:lnTo>
                        <a:pt x="166480" y="556681"/>
                      </a:lnTo>
                      <a:lnTo>
                        <a:pt x="164634" y="553232"/>
                      </a:lnTo>
                      <a:lnTo>
                        <a:pt x="163116" y="549541"/>
                      </a:lnTo>
                      <a:lnTo>
                        <a:pt x="162096" y="544878"/>
                      </a:lnTo>
                      <a:lnTo>
                        <a:pt x="161404" y="534581"/>
                      </a:lnTo>
                      <a:lnTo>
                        <a:pt x="160505" y="531946"/>
                      </a:lnTo>
                      <a:lnTo>
                        <a:pt x="159060" y="529821"/>
                      </a:lnTo>
                      <a:lnTo>
                        <a:pt x="157045" y="528327"/>
                      </a:lnTo>
                      <a:lnTo>
                        <a:pt x="154543" y="526833"/>
                      </a:lnTo>
                      <a:lnTo>
                        <a:pt x="152017" y="526105"/>
                      </a:lnTo>
                      <a:lnTo>
                        <a:pt x="149492" y="525850"/>
                      </a:lnTo>
                      <a:lnTo>
                        <a:pt x="141259" y="527101"/>
                      </a:lnTo>
                      <a:lnTo>
                        <a:pt x="138187" y="527028"/>
                      </a:lnTo>
                      <a:lnTo>
                        <a:pt x="134204" y="525826"/>
                      </a:lnTo>
                      <a:lnTo>
                        <a:pt x="132358" y="522353"/>
                      </a:lnTo>
                      <a:lnTo>
                        <a:pt x="133232" y="518613"/>
                      </a:lnTo>
                      <a:lnTo>
                        <a:pt x="135977" y="515286"/>
                      </a:lnTo>
                      <a:lnTo>
                        <a:pt x="137276" y="513100"/>
                      </a:lnTo>
                      <a:lnTo>
                        <a:pt x="137859" y="510526"/>
                      </a:lnTo>
                      <a:lnTo>
                        <a:pt x="137871" y="508267"/>
                      </a:lnTo>
                      <a:lnTo>
                        <a:pt x="138174" y="505547"/>
                      </a:lnTo>
                      <a:lnTo>
                        <a:pt x="139510" y="502463"/>
                      </a:lnTo>
                      <a:lnTo>
                        <a:pt x="150997" y="492396"/>
                      </a:lnTo>
                      <a:lnTo>
                        <a:pt x="153377" y="489627"/>
                      </a:lnTo>
                      <a:lnTo>
                        <a:pt x="154167" y="487976"/>
                      </a:lnTo>
                      <a:lnTo>
                        <a:pt x="153997" y="485960"/>
                      </a:lnTo>
                      <a:lnTo>
                        <a:pt x="152588" y="484467"/>
                      </a:lnTo>
                      <a:lnTo>
                        <a:pt x="150293" y="483471"/>
                      </a:lnTo>
                      <a:lnTo>
                        <a:pt x="131860" y="478322"/>
                      </a:lnTo>
                      <a:lnTo>
                        <a:pt x="129723" y="475894"/>
                      </a:lnTo>
                      <a:lnTo>
                        <a:pt x="129079" y="473502"/>
                      </a:lnTo>
                      <a:lnTo>
                        <a:pt x="128909" y="471061"/>
                      </a:lnTo>
                      <a:lnTo>
                        <a:pt x="129638" y="467710"/>
                      </a:lnTo>
                      <a:lnTo>
                        <a:pt x="130622" y="465451"/>
                      </a:lnTo>
                      <a:lnTo>
                        <a:pt x="136292" y="455979"/>
                      </a:lnTo>
                      <a:lnTo>
                        <a:pt x="142485" y="441675"/>
                      </a:lnTo>
                      <a:lnTo>
                        <a:pt x="142449" y="440995"/>
                      </a:lnTo>
                      <a:lnTo>
                        <a:pt x="140882" y="438372"/>
                      </a:lnTo>
                      <a:lnTo>
                        <a:pt x="140044" y="435737"/>
                      </a:lnTo>
                      <a:lnTo>
                        <a:pt x="139704" y="429836"/>
                      </a:lnTo>
                      <a:lnTo>
                        <a:pt x="140117" y="422987"/>
                      </a:lnTo>
                      <a:lnTo>
                        <a:pt x="141064" y="419854"/>
                      </a:lnTo>
                      <a:lnTo>
                        <a:pt x="142631" y="417644"/>
                      </a:lnTo>
                      <a:lnTo>
                        <a:pt x="143554" y="416515"/>
                      </a:lnTo>
                      <a:lnTo>
                        <a:pt x="148290" y="416563"/>
                      </a:lnTo>
                      <a:lnTo>
                        <a:pt x="150390" y="419040"/>
                      </a:lnTo>
                      <a:lnTo>
                        <a:pt x="151823" y="422671"/>
                      </a:lnTo>
                      <a:lnTo>
                        <a:pt x="152746" y="428257"/>
                      </a:lnTo>
                      <a:lnTo>
                        <a:pt x="153268" y="429459"/>
                      </a:lnTo>
                      <a:lnTo>
                        <a:pt x="153839" y="429714"/>
                      </a:lnTo>
                      <a:lnTo>
                        <a:pt x="156304" y="431050"/>
                      </a:lnTo>
                      <a:lnTo>
                        <a:pt x="158198" y="432896"/>
                      </a:lnTo>
                      <a:lnTo>
                        <a:pt x="160833" y="438263"/>
                      </a:lnTo>
                      <a:lnTo>
                        <a:pt x="161914" y="439684"/>
                      </a:lnTo>
                      <a:lnTo>
                        <a:pt x="162035" y="439732"/>
                      </a:lnTo>
                      <a:lnTo>
                        <a:pt x="163832" y="439817"/>
                      </a:lnTo>
                      <a:lnTo>
                        <a:pt x="170693" y="439502"/>
                      </a:lnTo>
                      <a:lnTo>
                        <a:pt x="172673" y="439052"/>
                      </a:lnTo>
                      <a:lnTo>
                        <a:pt x="174348" y="438178"/>
                      </a:lnTo>
                      <a:lnTo>
                        <a:pt x="176145" y="436781"/>
                      </a:lnTo>
                      <a:lnTo>
                        <a:pt x="176570" y="436065"/>
                      </a:lnTo>
                      <a:lnTo>
                        <a:pt x="176995" y="432981"/>
                      </a:lnTo>
                      <a:lnTo>
                        <a:pt x="176801" y="431001"/>
                      </a:lnTo>
                      <a:lnTo>
                        <a:pt x="176910" y="428257"/>
                      </a:lnTo>
                      <a:lnTo>
                        <a:pt x="177736" y="425258"/>
                      </a:lnTo>
                      <a:lnTo>
                        <a:pt x="179193" y="421967"/>
                      </a:lnTo>
                      <a:lnTo>
                        <a:pt x="179157" y="421384"/>
                      </a:lnTo>
                      <a:lnTo>
                        <a:pt x="178914" y="420947"/>
                      </a:lnTo>
                      <a:lnTo>
                        <a:pt x="178708" y="420838"/>
                      </a:lnTo>
                      <a:lnTo>
                        <a:pt x="177882" y="420753"/>
                      </a:lnTo>
                      <a:lnTo>
                        <a:pt x="175344" y="421457"/>
                      </a:lnTo>
                      <a:lnTo>
                        <a:pt x="173049" y="421785"/>
                      </a:lnTo>
                      <a:lnTo>
                        <a:pt x="170159" y="421360"/>
                      </a:lnTo>
                      <a:lnTo>
                        <a:pt x="165484" y="419988"/>
                      </a:lnTo>
                      <a:lnTo>
                        <a:pt x="163104" y="419806"/>
                      </a:lnTo>
                      <a:lnTo>
                        <a:pt x="157749" y="419878"/>
                      </a:lnTo>
                      <a:lnTo>
                        <a:pt x="154458" y="419393"/>
                      </a:lnTo>
                      <a:lnTo>
                        <a:pt x="152940" y="418360"/>
                      </a:lnTo>
                      <a:lnTo>
                        <a:pt x="151677" y="416563"/>
                      </a:lnTo>
                      <a:lnTo>
                        <a:pt x="151520" y="415920"/>
                      </a:lnTo>
                      <a:lnTo>
                        <a:pt x="151350" y="414086"/>
                      </a:lnTo>
                      <a:lnTo>
                        <a:pt x="152503" y="408088"/>
                      </a:lnTo>
                      <a:lnTo>
                        <a:pt x="152625" y="406084"/>
                      </a:lnTo>
                      <a:lnTo>
                        <a:pt x="152515" y="404251"/>
                      </a:lnTo>
                      <a:lnTo>
                        <a:pt x="151969" y="402478"/>
                      </a:lnTo>
                      <a:lnTo>
                        <a:pt x="148217" y="393030"/>
                      </a:lnTo>
                      <a:lnTo>
                        <a:pt x="148897" y="388780"/>
                      </a:lnTo>
                      <a:lnTo>
                        <a:pt x="152102" y="386461"/>
                      </a:lnTo>
                      <a:lnTo>
                        <a:pt x="157045" y="386498"/>
                      </a:lnTo>
                      <a:lnTo>
                        <a:pt x="161088" y="387736"/>
                      </a:lnTo>
                      <a:lnTo>
                        <a:pt x="164233" y="389485"/>
                      </a:lnTo>
                      <a:lnTo>
                        <a:pt x="167998" y="393370"/>
                      </a:lnTo>
                      <a:lnTo>
                        <a:pt x="169054" y="394148"/>
                      </a:lnTo>
                      <a:lnTo>
                        <a:pt x="170208" y="394524"/>
                      </a:lnTo>
                      <a:lnTo>
                        <a:pt x="171653" y="394791"/>
                      </a:lnTo>
                      <a:lnTo>
                        <a:pt x="174057" y="395738"/>
                      </a:lnTo>
                      <a:lnTo>
                        <a:pt x="178744" y="398895"/>
                      </a:lnTo>
                      <a:lnTo>
                        <a:pt x="181088" y="399976"/>
                      </a:lnTo>
                      <a:lnTo>
                        <a:pt x="183225" y="400389"/>
                      </a:lnTo>
                      <a:lnTo>
                        <a:pt x="184876" y="400122"/>
                      </a:lnTo>
                      <a:lnTo>
                        <a:pt x="185763" y="399794"/>
                      </a:lnTo>
                      <a:lnTo>
                        <a:pt x="187074" y="398835"/>
                      </a:lnTo>
                      <a:lnTo>
                        <a:pt x="192417" y="394220"/>
                      </a:lnTo>
                      <a:lnTo>
                        <a:pt x="194603" y="393200"/>
                      </a:lnTo>
                      <a:lnTo>
                        <a:pt x="195951" y="393298"/>
                      </a:lnTo>
                      <a:lnTo>
                        <a:pt x="197602" y="393625"/>
                      </a:lnTo>
                      <a:lnTo>
                        <a:pt x="200698" y="395083"/>
                      </a:lnTo>
                      <a:lnTo>
                        <a:pt x="201148" y="395204"/>
                      </a:lnTo>
                      <a:lnTo>
                        <a:pt x="201585" y="394682"/>
                      </a:lnTo>
                      <a:lnTo>
                        <a:pt x="201949" y="393662"/>
                      </a:lnTo>
                      <a:lnTo>
                        <a:pt x="202447" y="390007"/>
                      </a:lnTo>
                      <a:lnTo>
                        <a:pt x="202301" y="388052"/>
                      </a:lnTo>
                      <a:lnTo>
                        <a:pt x="200468" y="380365"/>
                      </a:lnTo>
                      <a:lnTo>
                        <a:pt x="201172" y="378022"/>
                      </a:lnTo>
                      <a:lnTo>
                        <a:pt x="201658" y="377087"/>
                      </a:lnTo>
                      <a:lnTo>
                        <a:pt x="202957" y="375447"/>
                      </a:lnTo>
                      <a:lnTo>
                        <a:pt x="205386" y="373407"/>
                      </a:lnTo>
                      <a:lnTo>
                        <a:pt x="206090" y="372545"/>
                      </a:lnTo>
                      <a:lnTo>
                        <a:pt x="206563" y="371817"/>
                      </a:lnTo>
                      <a:lnTo>
                        <a:pt x="206806" y="371161"/>
                      </a:lnTo>
                      <a:lnTo>
                        <a:pt x="207413" y="368708"/>
                      </a:lnTo>
                      <a:lnTo>
                        <a:pt x="207826" y="367591"/>
                      </a:lnTo>
                      <a:lnTo>
                        <a:pt x="208312" y="366632"/>
                      </a:lnTo>
                      <a:lnTo>
                        <a:pt x="209769" y="365259"/>
                      </a:lnTo>
                      <a:lnTo>
                        <a:pt x="211554" y="364458"/>
                      </a:lnTo>
                      <a:lnTo>
                        <a:pt x="215246" y="363875"/>
                      </a:lnTo>
                      <a:lnTo>
                        <a:pt x="225021" y="364907"/>
                      </a:lnTo>
                      <a:lnTo>
                        <a:pt x="230133" y="364968"/>
                      </a:lnTo>
                      <a:lnTo>
                        <a:pt x="236144" y="363450"/>
                      </a:lnTo>
                      <a:lnTo>
                        <a:pt x="242276" y="361544"/>
                      </a:lnTo>
                      <a:lnTo>
                        <a:pt x="244583" y="361119"/>
                      </a:lnTo>
                      <a:lnTo>
                        <a:pt x="245919" y="361119"/>
                      </a:lnTo>
                      <a:lnTo>
                        <a:pt x="247935" y="361835"/>
                      </a:lnTo>
                      <a:lnTo>
                        <a:pt x="249768" y="364446"/>
                      </a:lnTo>
                      <a:lnTo>
                        <a:pt x="249647" y="366146"/>
                      </a:lnTo>
                      <a:lnTo>
                        <a:pt x="249076" y="368125"/>
                      </a:lnTo>
                      <a:lnTo>
                        <a:pt x="246538" y="371902"/>
                      </a:lnTo>
                      <a:lnTo>
                        <a:pt x="243842" y="377257"/>
                      </a:lnTo>
                      <a:lnTo>
                        <a:pt x="243988" y="378228"/>
                      </a:lnTo>
                      <a:lnTo>
                        <a:pt x="244777" y="379260"/>
                      </a:lnTo>
                      <a:lnTo>
                        <a:pt x="247971" y="383025"/>
                      </a:lnTo>
                      <a:lnTo>
                        <a:pt x="249428" y="386801"/>
                      </a:lnTo>
                      <a:lnTo>
                        <a:pt x="248991" y="390371"/>
                      </a:lnTo>
                      <a:lnTo>
                        <a:pt x="246647" y="392715"/>
                      </a:lnTo>
                      <a:lnTo>
                        <a:pt x="243672" y="393892"/>
                      </a:lnTo>
                      <a:lnTo>
                        <a:pt x="241025" y="393625"/>
                      </a:lnTo>
                      <a:lnTo>
                        <a:pt x="238232" y="392800"/>
                      </a:lnTo>
                      <a:lnTo>
                        <a:pt x="235221" y="391476"/>
                      </a:lnTo>
                      <a:lnTo>
                        <a:pt x="234832" y="392460"/>
                      </a:lnTo>
                      <a:lnTo>
                        <a:pt x="235573" y="393431"/>
                      </a:lnTo>
                      <a:lnTo>
                        <a:pt x="237771" y="394670"/>
                      </a:lnTo>
                      <a:lnTo>
                        <a:pt x="242458" y="395508"/>
                      </a:lnTo>
                      <a:lnTo>
                        <a:pt x="246222" y="395277"/>
                      </a:lnTo>
                      <a:lnTo>
                        <a:pt x="250108" y="394658"/>
                      </a:lnTo>
                      <a:lnTo>
                        <a:pt x="257673" y="392180"/>
                      </a:lnTo>
                      <a:lnTo>
                        <a:pt x="260624" y="392035"/>
                      </a:lnTo>
                      <a:lnTo>
                        <a:pt x="263077" y="392751"/>
                      </a:lnTo>
                      <a:lnTo>
                        <a:pt x="264510" y="393298"/>
                      </a:lnTo>
                      <a:lnTo>
                        <a:pt x="265469" y="396710"/>
                      </a:lnTo>
                      <a:lnTo>
                        <a:pt x="265238" y="397827"/>
                      </a:lnTo>
                      <a:lnTo>
                        <a:pt x="264825" y="399332"/>
                      </a:lnTo>
                      <a:lnTo>
                        <a:pt x="264012" y="400911"/>
                      </a:lnTo>
                      <a:lnTo>
                        <a:pt x="262348" y="403158"/>
                      </a:lnTo>
                      <a:lnTo>
                        <a:pt x="260260" y="405319"/>
                      </a:lnTo>
                      <a:lnTo>
                        <a:pt x="257321" y="407456"/>
                      </a:lnTo>
                      <a:lnTo>
                        <a:pt x="253969" y="409205"/>
                      </a:lnTo>
                      <a:lnTo>
                        <a:pt x="250035" y="410395"/>
                      </a:lnTo>
                      <a:lnTo>
                        <a:pt x="246247" y="410978"/>
                      </a:lnTo>
                      <a:lnTo>
                        <a:pt x="241899" y="411123"/>
                      </a:lnTo>
                      <a:lnTo>
                        <a:pt x="238123" y="410795"/>
                      </a:lnTo>
                      <a:lnTo>
                        <a:pt x="234395" y="409824"/>
                      </a:lnTo>
                      <a:lnTo>
                        <a:pt x="231068" y="408306"/>
                      </a:lnTo>
                      <a:lnTo>
                        <a:pt x="228117" y="405951"/>
                      </a:lnTo>
                      <a:lnTo>
                        <a:pt x="224377" y="401858"/>
                      </a:lnTo>
                      <a:lnTo>
                        <a:pt x="226466" y="405161"/>
                      </a:lnTo>
                      <a:lnTo>
                        <a:pt x="227668" y="407687"/>
                      </a:lnTo>
                      <a:lnTo>
                        <a:pt x="228591" y="411731"/>
                      </a:lnTo>
                      <a:lnTo>
                        <a:pt x="227862" y="415264"/>
                      </a:lnTo>
                      <a:lnTo>
                        <a:pt x="226296" y="417486"/>
                      </a:lnTo>
                      <a:lnTo>
                        <a:pt x="221779" y="421141"/>
                      </a:lnTo>
                      <a:lnTo>
                        <a:pt x="221196" y="422526"/>
                      </a:lnTo>
                      <a:lnTo>
                        <a:pt x="221244" y="423813"/>
                      </a:lnTo>
                      <a:lnTo>
                        <a:pt x="221779" y="425088"/>
                      </a:lnTo>
                      <a:lnTo>
                        <a:pt x="222653" y="426011"/>
                      </a:lnTo>
                      <a:lnTo>
                        <a:pt x="224110" y="427274"/>
                      </a:lnTo>
                      <a:lnTo>
                        <a:pt x="225847" y="428318"/>
                      </a:lnTo>
                      <a:lnTo>
                        <a:pt x="228190" y="428767"/>
                      </a:lnTo>
                      <a:lnTo>
                        <a:pt x="231541" y="428791"/>
                      </a:lnTo>
                      <a:lnTo>
                        <a:pt x="238002" y="428039"/>
                      </a:lnTo>
                      <a:lnTo>
                        <a:pt x="243854" y="427893"/>
                      </a:lnTo>
                      <a:lnTo>
                        <a:pt x="250606" y="428937"/>
                      </a:lnTo>
                      <a:lnTo>
                        <a:pt x="259677" y="432070"/>
                      </a:lnTo>
                      <a:lnTo>
                        <a:pt x="264534" y="432677"/>
                      </a:lnTo>
                      <a:lnTo>
                        <a:pt x="269816" y="432216"/>
                      </a:lnTo>
                      <a:lnTo>
                        <a:pt x="288480" y="427783"/>
                      </a:lnTo>
                      <a:lnTo>
                        <a:pt x="298121" y="427359"/>
                      </a:lnTo>
                      <a:lnTo>
                        <a:pt x="307034" y="425246"/>
                      </a:lnTo>
                      <a:lnTo>
                        <a:pt x="319080" y="418324"/>
                      </a:lnTo>
                      <a:lnTo>
                        <a:pt x="322359" y="417158"/>
                      </a:lnTo>
                      <a:lnTo>
                        <a:pt x="326014" y="416879"/>
                      </a:lnTo>
                      <a:lnTo>
                        <a:pt x="329025" y="417474"/>
                      </a:lnTo>
                      <a:lnTo>
                        <a:pt x="331733" y="419126"/>
                      </a:lnTo>
                      <a:lnTo>
                        <a:pt x="334708" y="421858"/>
                      </a:lnTo>
                      <a:lnTo>
                        <a:pt x="341010" y="430576"/>
                      </a:lnTo>
                      <a:lnTo>
                        <a:pt x="342467" y="435664"/>
                      </a:lnTo>
                      <a:lnTo>
                        <a:pt x="342382" y="439004"/>
                      </a:lnTo>
                      <a:lnTo>
                        <a:pt x="341447" y="441869"/>
                      </a:lnTo>
                      <a:lnTo>
                        <a:pt x="341472" y="442027"/>
                      </a:lnTo>
                      <a:lnTo>
                        <a:pt x="342552" y="444286"/>
                      </a:lnTo>
                      <a:lnTo>
                        <a:pt x="345661" y="447091"/>
                      </a:lnTo>
                      <a:lnTo>
                        <a:pt x="352024" y="454741"/>
                      </a:lnTo>
                      <a:lnTo>
                        <a:pt x="353117" y="472676"/>
                      </a:lnTo>
                      <a:lnTo>
                        <a:pt x="352934" y="476088"/>
                      </a:lnTo>
                      <a:lnTo>
                        <a:pt x="352558" y="477181"/>
                      </a:lnTo>
                      <a:lnTo>
                        <a:pt x="351720" y="478808"/>
                      </a:lnTo>
                      <a:lnTo>
                        <a:pt x="349984" y="481297"/>
                      </a:lnTo>
                      <a:lnTo>
                        <a:pt x="346620" y="483969"/>
                      </a:lnTo>
                      <a:lnTo>
                        <a:pt x="343026" y="484807"/>
                      </a:lnTo>
                      <a:lnTo>
                        <a:pt x="339990" y="483969"/>
                      </a:lnTo>
                      <a:lnTo>
                        <a:pt x="333481" y="479779"/>
                      </a:lnTo>
                      <a:lnTo>
                        <a:pt x="331939" y="479537"/>
                      </a:lnTo>
                      <a:lnTo>
                        <a:pt x="331089" y="479755"/>
                      </a:lnTo>
                      <a:lnTo>
                        <a:pt x="329511" y="481212"/>
                      </a:lnTo>
                      <a:lnTo>
                        <a:pt x="328369" y="483447"/>
                      </a:lnTo>
                      <a:lnTo>
                        <a:pt x="326791" y="488571"/>
                      </a:lnTo>
                      <a:lnTo>
                        <a:pt x="326766" y="490987"/>
                      </a:lnTo>
                      <a:lnTo>
                        <a:pt x="327264" y="492882"/>
                      </a:lnTo>
                      <a:lnTo>
                        <a:pt x="327884" y="494764"/>
                      </a:lnTo>
                      <a:lnTo>
                        <a:pt x="329037" y="503750"/>
                      </a:lnTo>
                      <a:lnTo>
                        <a:pt x="329887" y="506154"/>
                      </a:lnTo>
                      <a:lnTo>
                        <a:pt x="330713" y="506822"/>
                      </a:lnTo>
                      <a:lnTo>
                        <a:pt x="333445" y="507733"/>
                      </a:lnTo>
                      <a:lnTo>
                        <a:pt x="335376" y="508643"/>
                      </a:lnTo>
                      <a:lnTo>
                        <a:pt x="337537" y="510501"/>
                      </a:lnTo>
                      <a:lnTo>
                        <a:pt x="338922" y="512930"/>
                      </a:lnTo>
                      <a:lnTo>
                        <a:pt x="339784" y="516281"/>
                      </a:lnTo>
                      <a:lnTo>
                        <a:pt x="339565" y="521260"/>
                      </a:lnTo>
                      <a:lnTo>
                        <a:pt x="337962" y="526117"/>
                      </a:lnTo>
                      <a:lnTo>
                        <a:pt x="330713" y="535042"/>
                      </a:lnTo>
                      <a:lnTo>
                        <a:pt x="328989" y="538721"/>
                      </a:lnTo>
                      <a:lnTo>
                        <a:pt x="329049" y="541186"/>
                      </a:lnTo>
                      <a:lnTo>
                        <a:pt x="329693" y="543105"/>
                      </a:lnTo>
                      <a:lnTo>
                        <a:pt x="331454" y="545072"/>
                      </a:lnTo>
                      <a:lnTo>
                        <a:pt x="339286" y="549261"/>
                      </a:lnTo>
                      <a:lnTo>
                        <a:pt x="341423" y="553487"/>
                      </a:lnTo>
                      <a:lnTo>
                        <a:pt x="340027" y="556863"/>
                      </a:lnTo>
                      <a:lnTo>
                        <a:pt x="337452" y="560846"/>
                      </a:lnTo>
                      <a:lnTo>
                        <a:pt x="331587" y="566359"/>
                      </a:lnTo>
                      <a:lnTo>
                        <a:pt x="329414" y="569771"/>
                      </a:lnTo>
                      <a:lnTo>
                        <a:pt x="327944" y="572479"/>
                      </a:lnTo>
                      <a:lnTo>
                        <a:pt x="327276" y="574701"/>
                      </a:lnTo>
                      <a:lnTo>
                        <a:pt x="324532" y="577725"/>
                      </a:lnTo>
                      <a:lnTo>
                        <a:pt x="322856" y="578113"/>
                      </a:lnTo>
                      <a:lnTo>
                        <a:pt x="321460" y="578052"/>
                      </a:lnTo>
                      <a:lnTo>
                        <a:pt x="320258" y="577676"/>
                      </a:lnTo>
                      <a:lnTo>
                        <a:pt x="318376" y="576790"/>
                      </a:lnTo>
                      <a:lnTo>
                        <a:pt x="314247" y="573341"/>
                      </a:lnTo>
                      <a:lnTo>
                        <a:pt x="313579" y="573474"/>
                      </a:lnTo>
                      <a:lnTo>
                        <a:pt x="308965" y="577494"/>
                      </a:lnTo>
                      <a:lnTo>
                        <a:pt x="305929" y="578854"/>
                      </a:lnTo>
                      <a:lnTo>
                        <a:pt x="302687" y="579109"/>
                      </a:lnTo>
                      <a:lnTo>
                        <a:pt x="299226" y="578101"/>
                      </a:lnTo>
                      <a:lnTo>
                        <a:pt x="295935" y="575575"/>
                      </a:lnTo>
                      <a:lnTo>
                        <a:pt x="295061" y="575174"/>
                      </a:lnTo>
                      <a:lnTo>
                        <a:pt x="292924" y="574701"/>
                      </a:lnTo>
                      <a:lnTo>
                        <a:pt x="290823" y="573632"/>
                      </a:lnTo>
                      <a:lnTo>
                        <a:pt x="286950" y="570390"/>
                      </a:lnTo>
                      <a:lnTo>
                        <a:pt x="286039" y="569832"/>
                      </a:lnTo>
                      <a:lnTo>
                        <a:pt x="285675" y="569783"/>
                      </a:lnTo>
                      <a:lnTo>
                        <a:pt x="284545" y="570269"/>
                      </a:lnTo>
                      <a:lnTo>
                        <a:pt x="283149" y="573487"/>
                      </a:lnTo>
                      <a:lnTo>
                        <a:pt x="280320" y="578040"/>
                      </a:lnTo>
                      <a:lnTo>
                        <a:pt x="280939" y="586152"/>
                      </a:lnTo>
                      <a:lnTo>
                        <a:pt x="282663" y="589139"/>
                      </a:lnTo>
                      <a:lnTo>
                        <a:pt x="283222" y="589442"/>
                      </a:lnTo>
                      <a:lnTo>
                        <a:pt x="286124" y="591531"/>
                      </a:lnTo>
                      <a:lnTo>
                        <a:pt x="296603" y="597554"/>
                      </a:lnTo>
                      <a:lnTo>
                        <a:pt x="297988" y="599740"/>
                      </a:lnTo>
                      <a:lnTo>
                        <a:pt x="299263" y="602654"/>
                      </a:lnTo>
                      <a:lnTo>
                        <a:pt x="299712" y="607511"/>
                      </a:lnTo>
                      <a:lnTo>
                        <a:pt x="300101" y="608446"/>
                      </a:lnTo>
                      <a:lnTo>
                        <a:pt x="305905" y="609053"/>
                      </a:lnTo>
                      <a:lnTo>
                        <a:pt x="309220" y="609818"/>
                      </a:lnTo>
                      <a:lnTo>
                        <a:pt x="312195" y="611178"/>
                      </a:lnTo>
                      <a:lnTo>
                        <a:pt x="315170" y="613558"/>
                      </a:lnTo>
                      <a:lnTo>
                        <a:pt x="315571" y="612769"/>
                      </a:lnTo>
                      <a:lnTo>
                        <a:pt x="315850" y="611433"/>
                      </a:lnTo>
                      <a:lnTo>
                        <a:pt x="316093" y="609867"/>
                      </a:lnTo>
                      <a:lnTo>
                        <a:pt x="316518" y="607997"/>
                      </a:lnTo>
                      <a:lnTo>
                        <a:pt x="319578" y="601792"/>
                      </a:lnTo>
                      <a:lnTo>
                        <a:pt x="319675" y="600820"/>
                      </a:lnTo>
                      <a:lnTo>
                        <a:pt x="319335" y="599825"/>
                      </a:lnTo>
                      <a:lnTo>
                        <a:pt x="318291" y="595987"/>
                      </a:lnTo>
                      <a:lnTo>
                        <a:pt x="317999" y="593110"/>
                      </a:lnTo>
                      <a:lnTo>
                        <a:pt x="319250" y="590584"/>
                      </a:lnTo>
                      <a:lnTo>
                        <a:pt x="321581" y="588775"/>
                      </a:lnTo>
                      <a:lnTo>
                        <a:pt x="325504" y="588544"/>
                      </a:lnTo>
                      <a:lnTo>
                        <a:pt x="327896" y="589928"/>
                      </a:lnTo>
                      <a:lnTo>
                        <a:pt x="330215" y="592162"/>
                      </a:lnTo>
                      <a:lnTo>
                        <a:pt x="332121" y="594482"/>
                      </a:lnTo>
                      <a:lnTo>
                        <a:pt x="333032" y="595393"/>
                      </a:lnTo>
                      <a:lnTo>
                        <a:pt x="334914" y="595562"/>
                      </a:lnTo>
                      <a:lnTo>
                        <a:pt x="337574" y="594652"/>
                      </a:lnTo>
                      <a:lnTo>
                        <a:pt x="343548" y="591373"/>
                      </a:lnTo>
                      <a:lnTo>
                        <a:pt x="353845" y="588410"/>
                      </a:lnTo>
                      <a:lnTo>
                        <a:pt x="367154" y="581307"/>
                      </a:lnTo>
                      <a:lnTo>
                        <a:pt x="369206" y="579692"/>
                      </a:lnTo>
                      <a:lnTo>
                        <a:pt x="370420" y="577045"/>
                      </a:lnTo>
                      <a:lnTo>
                        <a:pt x="370833" y="575490"/>
                      </a:lnTo>
                      <a:lnTo>
                        <a:pt x="368745" y="573645"/>
                      </a:lnTo>
                      <a:lnTo>
                        <a:pt x="366401" y="570402"/>
                      </a:lnTo>
                      <a:lnTo>
                        <a:pt x="367895" y="566662"/>
                      </a:lnTo>
                      <a:lnTo>
                        <a:pt x="371197" y="562886"/>
                      </a:lnTo>
                      <a:lnTo>
                        <a:pt x="387639" y="553014"/>
                      </a:lnTo>
                      <a:lnTo>
                        <a:pt x="392569" y="547221"/>
                      </a:lnTo>
                      <a:lnTo>
                        <a:pt x="392909" y="544854"/>
                      </a:lnTo>
                      <a:lnTo>
                        <a:pt x="392873" y="543336"/>
                      </a:lnTo>
                      <a:lnTo>
                        <a:pt x="392326" y="539061"/>
                      </a:lnTo>
                      <a:lnTo>
                        <a:pt x="392302" y="536171"/>
                      </a:lnTo>
                      <a:lnTo>
                        <a:pt x="392945" y="528813"/>
                      </a:lnTo>
                      <a:lnTo>
                        <a:pt x="392448" y="525558"/>
                      </a:lnTo>
                      <a:lnTo>
                        <a:pt x="392605" y="522887"/>
                      </a:lnTo>
                      <a:lnTo>
                        <a:pt x="393650" y="518297"/>
                      </a:lnTo>
                      <a:lnTo>
                        <a:pt x="393796" y="512990"/>
                      </a:lnTo>
                      <a:lnTo>
                        <a:pt x="394476" y="510307"/>
                      </a:lnTo>
                      <a:lnTo>
                        <a:pt x="395969" y="507915"/>
                      </a:lnTo>
                      <a:lnTo>
                        <a:pt x="398058" y="506106"/>
                      </a:lnTo>
                      <a:lnTo>
                        <a:pt x="401093" y="504284"/>
                      </a:lnTo>
                      <a:lnTo>
                        <a:pt x="404846" y="502535"/>
                      </a:lnTo>
                      <a:lnTo>
                        <a:pt x="407274" y="502001"/>
                      </a:lnTo>
                      <a:lnTo>
                        <a:pt x="409411" y="502147"/>
                      </a:lnTo>
                      <a:lnTo>
                        <a:pt x="410990" y="502365"/>
                      </a:lnTo>
                      <a:lnTo>
                        <a:pt x="412653" y="505668"/>
                      </a:lnTo>
                      <a:lnTo>
                        <a:pt x="412738" y="507720"/>
                      </a:lnTo>
                      <a:lnTo>
                        <a:pt x="412022" y="511485"/>
                      </a:lnTo>
                      <a:lnTo>
                        <a:pt x="412022" y="512226"/>
                      </a:lnTo>
                      <a:lnTo>
                        <a:pt x="412228" y="512857"/>
                      </a:lnTo>
                      <a:lnTo>
                        <a:pt x="412848" y="513743"/>
                      </a:lnTo>
                      <a:lnTo>
                        <a:pt x="413953" y="515164"/>
                      </a:lnTo>
                      <a:lnTo>
                        <a:pt x="415628" y="516342"/>
                      </a:lnTo>
                      <a:lnTo>
                        <a:pt x="417183" y="516852"/>
                      </a:lnTo>
                      <a:lnTo>
                        <a:pt x="421032" y="516682"/>
                      </a:lnTo>
                      <a:lnTo>
                        <a:pt x="426800" y="515528"/>
                      </a:lnTo>
                      <a:lnTo>
                        <a:pt x="431026" y="515832"/>
                      </a:lnTo>
                      <a:lnTo>
                        <a:pt x="441833" y="519584"/>
                      </a:lnTo>
                      <a:lnTo>
                        <a:pt x="445816" y="520495"/>
                      </a:lnTo>
                      <a:lnTo>
                        <a:pt x="450187" y="520519"/>
                      </a:lnTo>
                      <a:lnTo>
                        <a:pt x="458772" y="519463"/>
                      </a:lnTo>
                      <a:lnTo>
                        <a:pt x="461954" y="520106"/>
                      </a:lnTo>
                      <a:lnTo>
                        <a:pt x="462609" y="520288"/>
                      </a:lnTo>
                      <a:lnTo>
                        <a:pt x="465123" y="522474"/>
                      </a:lnTo>
                      <a:lnTo>
                        <a:pt x="466981" y="525510"/>
                      </a:lnTo>
                      <a:lnTo>
                        <a:pt x="468511" y="530246"/>
                      </a:lnTo>
                      <a:lnTo>
                        <a:pt x="469240" y="530658"/>
                      </a:lnTo>
                      <a:lnTo>
                        <a:pt x="472676" y="530149"/>
                      </a:lnTo>
                      <a:lnTo>
                        <a:pt x="474412" y="529493"/>
                      </a:lnTo>
                      <a:lnTo>
                        <a:pt x="474655" y="529274"/>
                      </a:lnTo>
                      <a:lnTo>
                        <a:pt x="475129" y="528400"/>
                      </a:lnTo>
                      <a:lnTo>
                        <a:pt x="476829" y="522195"/>
                      </a:lnTo>
                      <a:lnTo>
                        <a:pt x="478298" y="519366"/>
                      </a:lnTo>
                      <a:lnTo>
                        <a:pt x="480435" y="516925"/>
                      </a:lnTo>
                      <a:lnTo>
                        <a:pt x="483155" y="515067"/>
                      </a:lnTo>
                      <a:lnTo>
                        <a:pt x="488923" y="512505"/>
                      </a:lnTo>
                      <a:lnTo>
                        <a:pt x="494388" y="510744"/>
                      </a:lnTo>
                      <a:lnTo>
                        <a:pt x="498116" y="510550"/>
                      </a:lnTo>
                      <a:lnTo>
                        <a:pt x="501540" y="512092"/>
                      </a:lnTo>
                      <a:lnTo>
                        <a:pt x="503106" y="516160"/>
                      </a:lnTo>
                      <a:lnTo>
                        <a:pt x="502803" y="519013"/>
                      </a:lnTo>
                      <a:lnTo>
                        <a:pt x="501795" y="521855"/>
                      </a:lnTo>
                      <a:lnTo>
                        <a:pt x="499816" y="525546"/>
                      </a:lnTo>
                      <a:lnTo>
                        <a:pt x="499366" y="526688"/>
                      </a:lnTo>
                      <a:lnTo>
                        <a:pt x="501078" y="528461"/>
                      </a:lnTo>
                      <a:lnTo>
                        <a:pt x="511205" y="535066"/>
                      </a:lnTo>
                      <a:lnTo>
                        <a:pt x="514873" y="538066"/>
                      </a:lnTo>
                      <a:lnTo>
                        <a:pt x="518188" y="540215"/>
                      </a:lnTo>
                      <a:lnTo>
                        <a:pt x="521758" y="540045"/>
                      </a:lnTo>
                      <a:lnTo>
                        <a:pt x="524818" y="538321"/>
                      </a:lnTo>
                      <a:lnTo>
                        <a:pt x="526773" y="537592"/>
                      </a:lnTo>
                      <a:lnTo>
                        <a:pt x="529068" y="537410"/>
                      </a:lnTo>
                      <a:lnTo>
                        <a:pt x="531545" y="537750"/>
                      </a:lnTo>
                      <a:lnTo>
                        <a:pt x="533427" y="537750"/>
                      </a:lnTo>
                      <a:lnTo>
                        <a:pt x="533840" y="537641"/>
                      </a:lnTo>
                      <a:lnTo>
                        <a:pt x="534653" y="536851"/>
                      </a:lnTo>
                      <a:lnTo>
                        <a:pt x="534811" y="536038"/>
                      </a:lnTo>
                      <a:lnTo>
                        <a:pt x="535479" y="533864"/>
                      </a:lnTo>
                      <a:lnTo>
                        <a:pt x="537106" y="531205"/>
                      </a:lnTo>
                      <a:lnTo>
                        <a:pt x="538029" y="530039"/>
                      </a:lnTo>
                      <a:lnTo>
                        <a:pt x="538151" y="529481"/>
                      </a:lnTo>
                      <a:lnTo>
                        <a:pt x="537823" y="527854"/>
                      </a:lnTo>
                      <a:lnTo>
                        <a:pt x="535686" y="524854"/>
                      </a:lnTo>
                      <a:lnTo>
                        <a:pt x="527161" y="514168"/>
                      </a:lnTo>
                      <a:lnTo>
                        <a:pt x="524745" y="509433"/>
                      </a:lnTo>
                      <a:lnTo>
                        <a:pt x="523421" y="504260"/>
                      </a:lnTo>
                      <a:lnTo>
                        <a:pt x="523676" y="490344"/>
                      </a:lnTo>
                      <a:lnTo>
                        <a:pt x="522231" y="485912"/>
                      </a:lnTo>
                      <a:lnTo>
                        <a:pt x="521758" y="483993"/>
                      </a:lnTo>
                      <a:lnTo>
                        <a:pt x="521624" y="481953"/>
                      </a:lnTo>
                      <a:lnTo>
                        <a:pt x="521794" y="480144"/>
                      </a:lnTo>
                      <a:lnTo>
                        <a:pt x="523324" y="474510"/>
                      </a:lnTo>
                      <a:lnTo>
                        <a:pt x="523276" y="473113"/>
                      </a:lnTo>
                      <a:lnTo>
                        <a:pt x="523118" y="471790"/>
                      </a:lnTo>
                      <a:lnTo>
                        <a:pt x="521782" y="465184"/>
                      </a:lnTo>
                      <a:lnTo>
                        <a:pt x="521891" y="461747"/>
                      </a:lnTo>
                      <a:lnTo>
                        <a:pt x="523518" y="459112"/>
                      </a:lnTo>
                      <a:lnTo>
                        <a:pt x="526955" y="457497"/>
                      </a:lnTo>
                      <a:lnTo>
                        <a:pt x="528837" y="457424"/>
                      </a:lnTo>
                      <a:lnTo>
                        <a:pt x="530901" y="457813"/>
                      </a:lnTo>
                      <a:lnTo>
                        <a:pt x="532990" y="458882"/>
                      </a:lnTo>
                      <a:lnTo>
                        <a:pt x="533913" y="459222"/>
                      </a:lnTo>
                      <a:lnTo>
                        <a:pt x="534629" y="459319"/>
                      </a:lnTo>
                      <a:lnTo>
                        <a:pt x="537155" y="459294"/>
                      </a:lnTo>
                      <a:lnTo>
                        <a:pt x="538758" y="459817"/>
                      </a:lnTo>
                      <a:lnTo>
                        <a:pt x="541126" y="461541"/>
                      </a:lnTo>
                      <a:lnTo>
                        <a:pt x="541988" y="462658"/>
                      </a:lnTo>
                      <a:lnTo>
                        <a:pt x="542923" y="464164"/>
                      </a:lnTo>
                      <a:lnTo>
                        <a:pt x="544453" y="467782"/>
                      </a:lnTo>
                      <a:lnTo>
                        <a:pt x="544975" y="469871"/>
                      </a:lnTo>
                      <a:lnTo>
                        <a:pt x="545169" y="471158"/>
                      </a:lnTo>
                      <a:lnTo>
                        <a:pt x="545084" y="473441"/>
                      </a:lnTo>
                      <a:lnTo>
                        <a:pt x="546566" y="473429"/>
                      </a:lnTo>
                      <a:lnTo>
                        <a:pt x="549079" y="472919"/>
                      </a:lnTo>
                      <a:lnTo>
                        <a:pt x="566492" y="465281"/>
                      </a:lnTo>
                      <a:lnTo>
                        <a:pt x="567937" y="464212"/>
                      </a:lnTo>
                      <a:lnTo>
                        <a:pt x="568265" y="463666"/>
                      </a:lnTo>
                      <a:lnTo>
                        <a:pt x="569261" y="462306"/>
                      </a:lnTo>
                      <a:lnTo>
                        <a:pt x="569516" y="459877"/>
                      </a:lnTo>
                      <a:lnTo>
                        <a:pt x="569164" y="455530"/>
                      </a:lnTo>
                      <a:lnTo>
                        <a:pt x="566844" y="446678"/>
                      </a:lnTo>
                      <a:lnTo>
                        <a:pt x="565302" y="442938"/>
                      </a:lnTo>
                      <a:lnTo>
                        <a:pt x="563663" y="440206"/>
                      </a:lnTo>
                      <a:lnTo>
                        <a:pt x="561623" y="438056"/>
                      </a:lnTo>
                      <a:lnTo>
                        <a:pt x="552953" y="430710"/>
                      </a:lnTo>
                      <a:lnTo>
                        <a:pt x="551569" y="430079"/>
                      </a:lnTo>
                      <a:lnTo>
                        <a:pt x="550476" y="430066"/>
                      </a:lnTo>
                      <a:lnTo>
                        <a:pt x="549067" y="430564"/>
                      </a:lnTo>
                      <a:lnTo>
                        <a:pt x="546894" y="430953"/>
                      </a:lnTo>
                      <a:lnTo>
                        <a:pt x="537252" y="430091"/>
                      </a:lnTo>
                      <a:lnTo>
                        <a:pt x="531132" y="426606"/>
                      </a:lnTo>
                      <a:lnTo>
                        <a:pt x="520410" y="414596"/>
                      </a:lnTo>
                      <a:lnTo>
                        <a:pt x="517666" y="412204"/>
                      </a:lnTo>
                      <a:lnTo>
                        <a:pt x="516706" y="407918"/>
                      </a:lnTo>
                      <a:lnTo>
                        <a:pt x="518613" y="405015"/>
                      </a:lnTo>
                      <a:lnTo>
                        <a:pt x="520118" y="403303"/>
                      </a:lnTo>
                      <a:lnTo>
                        <a:pt x="521952" y="402077"/>
                      </a:lnTo>
                      <a:lnTo>
                        <a:pt x="524138" y="401688"/>
                      </a:lnTo>
                      <a:lnTo>
                        <a:pt x="528400" y="401373"/>
                      </a:lnTo>
                      <a:lnTo>
                        <a:pt x="531751" y="400535"/>
                      </a:lnTo>
                      <a:lnTo>
                        <a:pt x="533257" y="399879"/>
                      </a:lnTo>
                      <a:lnTo>
                        <a:pt x="534860" y="398823"/>
                      </a:lnTo>
                      <a:lnTo>
                        <a:pt x="535856" y="397463"/>
                      </a:lnTo>
                      <a:lnTo>
                        <a:pt x="536232" y="396515"/>
                      </a:lnTo>
                      <a:lnTo>
                        <a:pt x="536293" y="395908"/>
                      </a:lnTo>
                      <a:lnTo>
                        <a:pt x="536026" y="392229"/>
                      </a:lnTo>
                      <a:lnTo>
                        <a:pt x="535321" y="389691"/>
                      </a:lnTo>
                      <a:lnTo>
                        <a:pt x="532771" y="383778"/>
                      </a:lnTo>
                      <a:lnTo>
                        <a:pt x="530015" y="378580"/>
                      </a:lnTo>
                      <a:lnTo>
                        <a:pt x="529408" y="377062"/>
                      </a:lnTo>
                      <a:lnTo>
                        <a:pt x="529141" y="375800"/>
                      </a:lnTo>
                      <a:lnTo>
                        <a:pt x="529104" y="375253"/>
                      </a:lnTo>
                      <a:lnTo>
                        <a:pt x="529201" y="373893"/>
                      </a:lnTo>
                      <a:lnTo>
                        <a:pt x="529541" y="372727"/>
                      </a:lnTo>
                      <a:lnTo>
                        <a:pt x="530549" y="370736"/>
                      </a:lnTo>
                      <a:lnTo>
                        <a:pt x="532468" y="367676"/>
                      </a:lnTo>
                      <a:lnTo>
                        <a:pt x="534569" y="365709"/>
                      </a:lnTo>
                      <a:lnTo>
                        <a:pt x="537993" y="363960"/>
                      </a:lnTo>
                      <a:lnTo>
                        <a:pt x="544611" y="362527"/>
                      </a:lnTo>
                      <a:lnTo>
                        <a:pt x="559777" y="355764"/>
                      </a:lnTo>
                      <a:lnTo>
                        <a:pt x="561902" y="355290"/>
                      </a:lnTo>
                      <a:lnTo>
                        <a:pt x="564319" y="355205"/>
                      </a:lnTo>
                      <a:lnTo>
                        <a:pt x="568544" y="355545"/>
                      </a:lnTo>
                      <a:lnTo>
                        <a:pt x="577251" y="354307"/>
                      </a:lnTo>
                      <a:lnTo>
                        <a:pt x="595223" y="347725"/>
                      </a:lnTo>
                      <a:lnTo>
                        <a:pt x="598975" y="347094"/>
                      </a:lnTo>
                      <a:lnTo>
                        <a:pt x="602897" y="348369"/>
                      </a:lnTo>
                      <a:lnTo>
                        <a:pt x="604645" y="348478"/>
                      </a:lnTo>
                      <a:lnTo>
                        <a:pt x="607693" y="347239"/>
                      </a:lnTo>
                      <a:lnTo>
                        <a:pt x="610923" y="346948"/>
                      </a:lnTo>
                      <a:lnTo>
                        <a:pt x="614408" y="347774"/>
                      </a:lnTo>
                      <a:lnTo>
                        <a:pt x="618148" y="350093"/>
                      </a:lnTo>
                      <a:lnTo>
                        <a:pt x="620067" y="351089"/>
                      </a:lnTo>
                      <a:lnTo>
                        <a:pt x="622241" y="351247"/>
                      </a:lnTo>
                      <a:lnTo>
                        <a:pt x="623904" y="350506"/>
                      </a:lnTo>
                      <a:lnTo>
                        <a:pt x="624730" y="349328"/>
                      </a:lnTo>
                      <a:lnTo>
                        <a:pt x="625252" y="348454"/>
                      </a:lnTo>
                      <a:lnTo>
                        <a:pt x="627073" y="346584"/>
                      </a:lnTo>
                      <a:lnTo>
                        <a:pt x="628725" y="345916"/>
                      </a:lnTo>
                      <a:lnTo>
                        <a:pt x="630510" y="345467"/>
                      </a:lnTo>
                      <a:lnTo>
                        <a:pt x="630923" y="344787"/>
                      </a:lnTo>
                      <a:lnTo>
                        <a:pt x="631068" y="343366"/>
                      </a:lnTo>
                      <a:lnTo>
                        <a:pt x="630619" y="339844"/>
                      </a:lnTo>
                      <a:lnTo>
                        <a:pt x="630862" y="337476"/>
                      </a:lnTo>
                      <a:lnTo>
                        <a:pt x="631906" y="335084"/>
                      </a:lnTo>
                      <a:lnTo>
                        <a:pt x="632793" y="333858"/>
                      </a:lnTo>
                      <a:lnTo>
                        <a:pt x="632829" y="333712"/>
                      </a:lnTo>
                      <a:lnTo>
                        <a:pt x="632574" y="332704"/>
                      </a:lnTo>
                      <a:lnTo>
                        <a:pt x="628239" y="327799"/>
                      </a:lnTo>
                      <a:lnTo>
                        <a:pt x="626636" y="325261"/>
                      </a:lnTo>
                      <a:lnTo>
                        <a:pt x="625799" y="323245"/>
                      </a:lnTo>
                      <a:lnTo>
                        <a:pt x="625252" y="320695"/>
                      </a:lnTo>
                      <a:lnTo>
                        <a:pt x="625143" y="318291"/>
                      </a:lnTo>
                      <a:lnTo>
                        <a:pt x="625349" y="316433"/>
                      </a:lnTo>
                      <a:lnTo>
                        <a:pt x="625993" y="314356"/>
                      </a:lnTo>
                      <a:lnTo>
                        <a:pt x="626697" y="312656"/>
                      </a:lnTo>
                      <a:lnTo>
                        <a:pt x="626588" y="311454"/>
                      </a:lnTo>
                      <a:lnTo>
                        <a:pt x="624147" y="308127"/>
                      </a:lnTo>
                      <a:lnTo>
                        <a:pt x="623018" y="305796"/>
                      </a:lnTo>
                      <a:lnTo>
                        <a:pt x="622435" y="303100"/>
                      </a:lnTo>
                      <a:lnTo>
                        <a:pt x="622508" y="300125"/>
                      </a:lnTo>
                      <a:lnTo>
                        <a:pt x="623151" y="297623"/>
                      </a:lnTo>
                      <a:lnTo>
                        <a:pt x="624256" y="295438"/>
                      </a:lnTo>
                      <a:lnTo>
                        <a:pt x="625167" y="294138"/>
                      </a:lnTo>
                      <a:lnTo>
                        <a:pt x="624973" y="293458"/>
                      </a:lnTo>
                      <a:lnTo>
                        <a:pt x="624414" y="292572"/>
                      </a:lnTo>
                      <a:lnTo>
                        <a:pt x="623722" y="291722"/>
                      </a:lnTo>
                      <a:lnTo>
                        <a:pt x="622993" y="291030"/>
                      </a:lnTo>
                      <a:lnTo>
                        <a:pt x="622192" y="290568"/>
                      </a:lnTo>
                      <a:lnTo>
                        <a:pt x="621366" y="290240"/>
                      </a:lnTo>
                      <a:lnTo>
                        <a:pt x="619144" y="289985"/>
                      </a:lnTo>
                      <a:lnTo>
                        <a:pt x="617784" y="290022"/>
                      </a:lnTo>
                      <a:lnTo>
                        <a:pt x="614336" y="290580"/>
                      </a:lnTo>
                      <a:lnTo>
                        <a:pt x="610146" y="292268"/>
                      </a:lnTo>
                      <a:lnTo>
                        <a:pt x="607244" y="294211"/>
                      </a:lnTo>
                      <a:lnTo>
                        <a:pt x="606200" y="295523"/>
                      </a:lnTo>
                      <a:lnTo>
                        <a:pt x="605556" y="296968"/>
                      </a:lnTo>
                      <a:lnTo>
                        <a:pt x="603917" y="302286"/>
                      </a:lnTo>
                      <a:lnTo>
                        <a:pt x="602885" y="304484"/>
                      </a:lnTo>
                      <a:lnTo>
                        <a:pt x="601500" y="306633"/>
                      </a:lnTo>
                      <a:lnTo>
                        <a:pt x="599460" y="308649"/>
                      </a:lnTo>
                      <a:lnTo>
                        <a:pt x="596497" y="310301"/>
                      </a:lnTo>
                      <a:lnTo>
                        <a:pt x="592612" y="311163"/>
                      </a:lnTo>
                      <a:lnTo>
                        <a:pt x="587330" y="310738"/>
                      </a:lnTo>
                      <a:lnTo>
                        <a:pt x="584027" y="309863"/>
                      </a:lnTo>
                      <a:lnTo>
                        <a:pt x="580020" y="308018"/>
                      </a:lnTo>
                      <a:lnTo>
                        <a:pt x="578769" y="308054"/>
                      </a:lnTo>
                      <a:lnTo>
                        <a:pt x="576656" y="308467"/>
                      </a:lnTo>
                      <a:lnTo>
                        <a:pt x="573122" y="310143"/>
                      </a:lnTo>
                      <a:lnTo>
                        <a:pt x="568241" y="313118"/>
                      </a:lnTo>
                      <a:lnTo>
                        <a:pt x="562509" y="315413"/>
                      </a:lnTo>
                      <a:lnTo>
                        <a:pt x="552067" y="315425"/>
                      </a:lnTo>
                      <a:lnTo>
                        <a:pt x="548921" y="317416"/>
                      </a:lnTo>
                      <a:lnTo>
                        <a:pt x="546505" y="317975"/>
                      </a:lnTo>
                      <a:lnTo>
                        <a:pt x="543967" y="317149"/>
                      </a:lnTo>
                      <a:lnTo>
                        <a:pt x="536536" y="311709"/>
                      </a:lnTo>
                      <a:lnTo>
                        <a:pt x="535406" y="311284"/>
                      </a:lnTo>
                      <a:lnTo>
                        <a:pt x="528327" y="310191"/>
                      </a:lnTo>
                      <a:lnTo>
                        <a:pt x="527246" y="310264"/>
                      </a:lnTo>
                      <a:lnTo>
                        <a:pt x="520920" y="312559"/>
                      </a:lnTo>
                      <a:lnTo>
                        <a:pt x="518479" y="312693"/>
                      </a:lnTo>
                      <a:lnTo>
                        <a:pt x="516172" y="312037"/>
                      </a:lnTo>
                      <a:lnTo>
                        <a:pt x="514387" y="311017"/>
                      </a:lnTo>
                      <a:lnTo>
                        <a:pt x="506239" y="304958"/>
                      </a:lnTo>
                      <a:lnTo>
                        <a:pt x="504745" y="304363"/>
                      </a:lnTo>
                      <a:lnTo>
                        <a:pt x="502778" y="303780"/>
                      </a:lnTo>
                      <a:lnTo>
                        <a:pt x="501200" y="303634"/>
                      </a:lnTo>
                      <a:lnTo>
                        <a:pt x="497690" y="303622"/>
                      </a:lnTo>
                      <a:lnTo>
                        <a:pt x="495408" y="303258"/>
                      </a:lnTo>
                      <a:lnTo>
                        <a:pt x="492396" y="301788"/>
                      </a:lnTo>
                      <a:lnTo>
                        <a:pt x="490186" y="299676"/>
                      </a:lnTo>
                      <a:lnTo>
                        <a:pt x="485426" y="291431"/>
                      </a:lnTo>
                      <a:lnTo>
                        <a:pt x="484576" y="290835"/>
                      </a:lnTo>
                      <a:lnTo>
                        <a:pt x="482973" y="289973"/>
                      </a:lnTo>
                      <a:lnTo>
                        <a:pt x="481200" y="289779"/>
                      </a:lnTo>
                      <a:lnTo>
                        <a:pt x="479500" y="289475"/>
                      </a:lnTo>
                      <a:lnTo>
                        <a:pt x="476962" y="288261"/>
                      </a:lnTo>
                      <a:lnTo>
                        <a:pt x="474789" y="286173"/>
                      </a:lnTo>
                      <a:lnTo>
                        <a:pt x="473356" y="283040"/>
                      </a:lnTo>
                      <a:lnTo>
                        <a:pt x="472130" y="277940"/>
                      </a:lnTo>
                      <a:lnTo>
                        <a:pt x="468487" y="267011"/>
                      </a:lnTo>
                      <a:lnTo>
                        <a:pt x="462937" y="239313"/>
                      </a:lnTo>
                      <a:lnTo>
                        <a:pt x="462209" y="237492"/>
                      </a:lnTo>
                      <a:lnTo>
                        <a:pt x="461225" y="235755"/>
                      </a:lnTo>
                      <a:lnTo>
                        <a:pt x="460144" y="232197"/>
                      </a:lnTo>
                      <a:lnTo>
                        <a:pt x="461043" y="227923"/>
                      </a:lnTo>
                      <a:lnTo>
                        <a:pt x="463666" y="225798"/>
                      </a:lnTo>
                      <a:lnTo>
                        <a:pt x="467187" y="225106"/>
                      </a:lnTo>
                      <a:lnTo>
                        <a:pt x="467758" y="223539"/>
                      </a:lnTo>
                      <a:lnTo>
                        <a:pt x="467467" y="219022"/>
                      </a:lnTo>
                      <a:lnTo>
                        <a:pt x="467709" y="215926"/>
                      </a:lnTo>
                      <a:lnTo>
                        <a:pt x="468875" y="212513"/>
                      </a:lnTo>
                      <a:lnTo>
                        <a:pt x="473878" y="203868"/>
                      </a:lnTo>
                      <a:lnTo>
                        <a:pt x="476537" y="202860"/>
                      </a:lnTo>
                      <a:lnTo>
                        <a:pt x="480739" y="198731"/>
                      </a:lnTo>
                      <a:lnTo>
                        <a:pt x="483665" y="196885"/>
                      </a:lnTo>
                      <a:lnTo>
                        <a:pt x="487928" y="196679"/>
                      </a:lnTo>
                      <a:lnTo>
                        <a:pt x="488850" y="195489"/>
                      </a:lnTo>
                      <a:lnTo>
                        <a:pt x="490065" y="192028"/>
                      </a:lnTo>
                      <a:lnTo>
                        <a:pt x="492020" y="189187"/>
                      </a:lnTo>
                      <a:lnTo>
                        <a:pt x="495140" y="188470"/>
                      </a:lnTo>
                      <a:lnTo>
                        <a:pt x="505887" y="189211"/>
                      </a:lnTo>
                      <a:lnTo>
                        <a:pt x="508498" y="189818"/>
                      </a:lnTo>
                      <a:lnTo>
                        <a:pt x="508996" y="189770"/>
                      </a:lnTo>
                      <a:lnTo>
                        <a:pt x="510841" y="188689"/>
                      </a:lnTo>
                      <a:lnTo>
                        <a:pt x="513743" y="184852"/>
                      </a:lnTo>
                      <a:lnTo>
                        <a:pt x="516111" y="182812"/>
                      </a:lnTo>
                      <a:lnTo>
                        <a:pt x="518406" y="181622"/>
                      </a:lnTo>
                      <a:lnTo>
                        <a:pt x="520446" y="180978"/>
                      </a:lnTo>
                      <a:lnTo>
                        <a:pt x="520798" y="180760"/>
                      </a:lnTo>
                      <a:lnTo>
                        <a:pt x="522001" y="179193"/>
                      </a:lnTo>
                      <a:lnTo>
                        <a:pt x="522073" y="178064"/>
                      </a:lnTo>
                      <a:lnTo>
                        <a:pt x="521964" y="176558"/>
                      </a:lnTo>
                      <a:lnTo>
                        <a:pt x="522268" y="173899"/>
                      </a:lnTo>
                      <a:lnTo>
                        <a:pt x="524247" y="169952"/>
                      </a:lnTo>
                      <a:lnTo>
                        <a:pt x="535819" y="162922"/>
                      </a:lnTo>
                      <a:lnTo>
                        <a:pt x="538005" y="160870"/>
                      </a:lnTo>
                      <a:lnTo>
                        <a:pt x="538539" y="158599"/>
                      </a:lnTo>
                      <a:lnTo>
                        <a:pt x="539474" y="156462"/>
                      </a:lnTo>
                      <a:lnTo>
                        <a:pt x="541781" y="153948"/>
                      </a:lnTo>
                      <a:lnTo>
                        <a:pt x="542413" y="153353"/>
                      </a:lnTo>
                      <a:lnTo>
                        <a:pt x="548776" y="152017"/>
                      </a:lnTo>
                      <a:lnTo>
                        <a:pt x="549468" y="151520"/>
                      </a:lnTo>
                      <a:lnTo>
                        <a:pt x="551350" y="149212"/>
                      </a:lnTo>
                      <a:lnTo>
                        <a:pt x="553560" y="147500"/>
                      </a:lnTo>
                      <a:lnTo>
                        <a:pt x="557689" y="146104"/>
                      </a:lnTo>
                      <a:lnTo>
                        <a:pt x="558381" y="145096"/>
                      </a:lnTo>
                      <a:lnTo>
                        <a:pt x="558988" y="143408"/>
                      </a:lnTo>
                      <a:lnTo>
                        <a:pt x="560846" y="140397"/>
                      </a:lnTo>
                      <a:lnTo>
                        <a:pt x="562983" y="138964"/>
                      </a:lnTo>
                      <a:lnTo>
                        <a:pt x="569042" y="136171"/>
                      </a:lnTo>
                      <a:lnTo>
                        <a:pt x="572102" y="135454"/>
                      </a:lnTo>
                      <a:lnTo>
                        <a:pt x="575357" y="135843"/>
                      </a:lnTo>
                      <a:lnTo>
                        <a:pt x="575672" y="135624"/>
                      </a:lnTo>
                      <a:lnTo>
                        <a:pt x="576267" y="134556"/>
                      </a:lnTo>
                      <a:lnTo>
                        <a:pt x="576304" y="132406"/>
                      </a:lnTo>
                      <a:lnTo>
                        <a:pt x="577324" y="129480"/>
                      </a:lnTo>
                      <a:lnTo>
                        <a:pt x="583480" y="125206"/>
                      </a:lnTo>
                      <a:lnTo>
                        <a:pt x="589491" y="124781"/>
                      </a:lnTo>
                      <a:lnTo>
                        <a:pt x="595356" y="125242"/>
                      </a:lnTo>
                      <a:lnTo>
                        <a:pt x="598902" y="124562"/>
                      </a:lnTo>
                      <a:lnTo>
                        <a:pt x="602059" y="121150"/>
                      </a:lnTo>
                      <a:lnTo>
                        <a:pt x="607390" y="118102"/>
                      </a:lnTo>
                      <a:lnTo>
                        <a:pt x="609065" y="116512"/>
                      </a:lnTo>
                      <a:lnTo>
                        <a:pt x="612065" y="114374"/>
                      </a:lnTo>
                      <a:lnTo>
                        <a:pt x="613158" y="113403"/>
                      </a:lnTo>
                      <a:lnTo>
                        <a:pt x="613886" y="112249"/>
                      </a:lnTo>
                      <a:lnTo>
                        <a:pt x="614858" y="109638"/>
                      </a:lnTo>
                      <a:lnTo>
                        <a:pt x="615623" y="108060"/>
                      </a:lnTo>
                      <a:lnTo>
                        <a:pt x="619399" y="103324"/>
                      </a:lnTo>
                      <a:lnTo>
                        <a:pt x="622241" y="101017"/>
                      </a:lnTo>
                      <a:lnTo>
                        <a:pt x="625847" y="99742"/>
                      </a:lnTo>
                      <a:lnTo>
                        <a:pt x="632550" y="99766"/>
                      </a:lnTo>
                      <a:lnTo>
                        <a:pt x="634772" y="99366"/>
                      </a:lnTo>
                      <a:lnTo>
                        <a:pt x="636205" y="98467"/>
                      </a:lnTo>
                      <a:lnTo>
                        <a:pt x="638245" y="97423"/>
                      </a:lnTo>
                      <a:lnTo>
                        <a:pt x="639144" y="98382"/>
                      </a:lnTo>
                      <a:lnTo>
                        <a:pt x="638913" y="94642"/>
                      </a:lnTo>
                      <a:lnTo>
                        <a:pt x="642216" y="90198"/>
                      </a:lnTo>
                      <a:lnTo>
                        <a:pt x="646660" y="89238"/>
                      </a:lnTo>
                      <a:lnTo>
                        <a:pt x="654529" y="90137"/>
                      </a:lnTo>
                      <a:lnTo>
                        <a:pt x="656581" y="89421"/>
                      </a:lnTo>
                      <a:lnTo>
                        <a:pt x="657710" y="88061"/>
                      </a:lnTo>
                      <a:lnTo>
                        <a:pt x="665652" y="83398"/>
                      </a:lnTo>
                      <a:lnTo>
                        <a:pt x="675014" y="76440"/>
                      </a:lnTo>
                      <a:lnTo>
                        <a:pt x="678317" y="74995"/>
                      </a:lnTo>
                      <a:lnTo>
                        <a:pt x="681765" y="74388"/>
                      </a:lnTo>
                      <a:lnTo>
                        <a:pt x="687982" y="72578"/>
                      </a:lnTo>
                      <a:lnTo>
                        <a:pt x="691953" y="72056"/>
                      </a:lnTo>
                      <a:lnTo>
                        <a:pt x="693763" y="71534"/>
                      </a:lnTo>
                      <a:lnTo>
                        <a:pt x="695438" y="70077"/>
                      </a:lnTo>
                      <a:lnTo>
                        <a:pt x="698692" y="65766"/>
                      </a:lnTo>
                      <a:lnTo>
                        <a:pt x="704752" y="62949"/>
                      </a:lnTo>
                      <a:lnTo>
                        <a:pt x="711916" y="60666"/>
                      </a:lnTo>
                      <a:lnTo>
                        <a:pt x="713458" y="59330"/>
                      </a:lnTo>
                      <a:lnTo>
                        <a:pt x="710750" y="52385"/>
                      </a:lnTo>
                      <a:lnTo>
                        <a:pt x="723440" y="48560"/>
                      </a:lnTo>
                      <a:lnTo>
                        <a:pt x="723986" y="48159"/>
                      </a:lnTo>
                      <a:lnTo>
                        <a:pt x="724630" y="46993"/>
                      </a:lnTo>
                      <a:lnTo>
                        <a:pt x="724873" y="44455"/>
                      </a:lnTo>
                      <a:lnTo>
                        <a:pt x="726245" y="41772"/>
                      </a:lnTo>
                      <a:lnTo>
                        <a:pt x="726658" y="41080"/>
                      </a:lnTo>
                      <a:lnTo>
                        <a:pt x="728965" y="39792"/>
                      </a:lnTo>
                      <a:lnTo>
                        <a:pt x="731916" y="39100"/>
                      </a:lnTo>
                      <a:lnTo>
                        <a:pt x="735862" y="38930"/>
                      </a:lnTo>
                      <a:lnTo>
                        <a:pt x="738691" y="38323"/>
                      </a:lnTo>
                      <a:lnTo>
                        <a:pt x="743184" y="35712"/>
                      </a:lnTo>
                      <a:lnTo>
                        <a:pt x="748175" y="33648"/>
                      </a:lnTo>
                      <a:lnTo>
                        <a:pt x="751551" y="32919"/>
                      </a:lnTo>
                      <a:lnTo>
                        <a:pt x="754198" y="34352"/>
                      </a:lnTo>
                      <a:lnTo>
                        <a:pt x="756068" y="35858"/>
                      </a:lnTo>
                      <a:lnTo>
                        <a:pt x="757015" y="36077"/>
                      </a:lnTo>
                      <a:lnTo>
                        <a:pt x="758326" y="36222"/>
                      </a:lnTo>
                      <a:lnTo>
                        <a:pt x="759796" y="36174"/>
                      </a:lnTo>
                      <a:lnTo>
                        <a:pt x="761605" y="35894"/>
                      </a:lnTo>
                      <a:lnTo>
                        <a:pt x="761581" y="34972"/>
                      </a:lnTo>
                      <a:lnTo>
                        <a:pt x="762042" y="30637"/>
                      </a:lnTo>
                      <a:lnTo>
                        <a:pt x="762734" y="28512"/>
                      </a:lnTo>
                      <a:lnTo>
                        <a:pt x="764422" y="25573"/>
                      </a:lnTo>
                      <a:lnTo>
                        <a:pt x="764398" y="24529"/>
                      </a:lnTo>
                      <a:lnTo>
                        <a:pt x="763451" y="22003"/>
                      </a:lnTo>
                      <a:lnTo>
                        <a:pt x="762989" y="18591"/>
                      </a:lnTo>
                      <a:lnTo>
                        <a:pt x="765819" y="12981"/>
                      </a:lnTo>
                      <a:lnTo>
                        <a:pt x="771283" y="13114"/>
                      </a:lnTo>
                      <a:lnTo>
                        <a:pt x="776638" y="15069"/>
                      </a:lnTo>
                      <a:lnTo>
                        <a:pt x="776772" y="14972"/>
                      </a:lnTo>
                      <a:lnTo>
                        <a:pt x="777913" y="6363"/>
                      </a:lnTo>
                      <a:lnTo>
                        <a:pt x="782892" y="8330"/>
                      </a:lnTo>
                      <a:lnTo>
                        <a:pt x="785126" y="7480"/>
                      </a:lnTo>
                      <a:lnTo>
                        <a:pt x="789765" y="7225"/>
                      </a:lnTo>
                      <a:lnTo>
                        <a:pt x="793432" y="8160"/>
                      </a:lnTo>
                      <a:lnTo>
                        <a:pt x="794901" y="8330"/>
                      </a:lnTo>
                      <a:lnTo>
                        <a:pt x="797123" y="4578"/>
                      </a:lnTo>
                      <a:lnTo>
                        <a:pt x="799200" y="2465"/>
                      </a:lnTo>
                      <a:lnTo>
                        <a:pt x="801276" y="1093"/>
                      </a:lnTo>
                      <a:lnTo>
                        <a:pt x="809460" y="0"/>
                      </a:lnTo>
                      <a:lnTo>
                        <a:pt x="814658" y="267"/>
                      </a:lnTo>
                      <a:lnTo>
                        <a:pt x="820523" y="2368"/>
                      </a:lnTo>
                      <a:lnTo>
                        <a:pt x="822963" y="7067"/>
                      </a:lnTo>
                      <a:lnTo>
                        <a:pt x="823740" y="7274"/>
                      </a:lnTo>
                      <a:lnTo>
                        <a:pt x="827104" y="7031"/>
                      </a:lnTo>
                      <a:lnTo>
                        <a:pt x="830698" y="7832"/>
                      </a:lnTo>
                      <a:lnTo>
                        <a:pt x="832301" y="9775"/>
                      </a:lnTo>
                      <a:lnTo>
                        <a:pt x="833503" y="11791"/>
                      </a:lnTo>
                      <a:lnTo>
                        <a:pt x="834681" y="13090"/>
                      </a:lnTo>
                      <a:lnTo>
                        <a:pt x="836697" y="13977"/>
                      </a:lnTo>
                      <a:lnTo>
                        <a:pt x="842538" y="14438"/>
                      </a:lnTo>
                      <a:lnTo>
                        <a:pt x="846666" y="15531"/>
                      </a:lnTo>
                      <a:lnTo>
                        <a:pt x="855895" y="20813"/>
                      </a:lnTo>
                      <a:lnTo>
                        <a:pt x="858566" y="20922"/>
                      </a:lnTo>
                      <a:lnTo>
                        <a:pt x="859429" y="20097"/>
                      </a:lnTo>
                      <a:lnTo>
                        <a:pt x="859939" y="19198"/>
                      </a:lnTo>
                      <a:lnTo>
                        <a:pt x="862088" y="17389"/>
                      </a:lnTo>
                      <a:lnTo>
                        <a:pt x="862744" y="16903"/>
                      </a:lnTo>
                      <a:lnTo>
                        <a:pt x="865124" y="16636"/>
                      </a:lnTo>
                      <a:lnTo>
                        <a:pt x="869519" y="17073"/>
                      </a:lnTo>
                      <a:lnTo>
                        <a:pt x="870539" y="16915"/>
                      </a:lnTo>
                      <a:lnTo>
                        <a:pt x="877764" y="12519"/>
                      </a:lnTo>
                      <a:lnTo>
                        <a:pt x="883520" y="12131"/>
                      </a:lnTo>
                      <a:lnTo>
                        <a:pt x="885305" y="15166"/>
                      </a:lnTo>
                      <a:lnTo>
                        <a:pt x="888511" y="14001"/>
                      </a:lnTo>
                      <a:lnTo>
                        <a:pt x="892737" y="15689"/>
                      </a:lnTo>
                      <a:lnTo>
                        <a:pt x="893732" y="19417"/>
                      </a:lnTo>
                      <a:lnTo>
                        <a:pt x="895287" y="19319"/>
                      </a:lnTo>
                      <a:lnTo>
                        <a:pt x="898602" y="19841"/>
                      </a:lnTo>
                      <a:lnTo>
                        <a:pt x="902888" y="23266"/>
                      </a:lnTo>
                      <a:lnTo>
                        <a:pt x="909033" y="30916"/>
                      </a:lnTo>
                      <a:lnTo>
                        <a:pt x="911060" y="31972"/>
                      </a:lnTo>
                      <a:lnTo>
                        <a:pt x="912663" y="32069"/>
                      </a:lnTo>
                      <a:lnTo>
                        <a:pt x="917690" y="30637"/>
                      </a:lnTo>
                      <a:lnTo>
                        <a:pt x="921163" y="30600"/>
                      </a:lnTo>
                      <a:lnTo>
                        <a:pt x="924090" y="31256"/>
                      </a:lnTo>
                      <a:lnTo>
                        <a:pt x="927016" y="35008"/>
                      </a:lnTo>
                      <a:lnTo>
                        <a:pt x="927490" y="37182"/>
                      </a:lnTo>
                      <a:lnTo>
                        <a:pt x="927538" y="38954"/>
                      </a:lnTo>
                      <a:lnTo>
                        <a:pt x="927745" y="40193"/>
                      </a:lnTo>
                      <a:lnTo>
                        <a:pt x="927684" y="41735"/>
                      </a:lnTo>
                      <a:lnTo>
                        <a:pt x="928995" y="47576"/>
                      </a:lnTo>
                      <a:lnTo>
                        <a:pt x="931594" y="55007"/>
                      </a:lnTo>
                      <a:lnTo>
                        <a:pt x="934108" y="59622"/>
                      </a:lnTo>
                      <a:lnTo>
                        <a:pt x="944053" y="74254"/>
                      </a:lnTo>
                      <a:lnTo>
                        <a:pt x="946761" y="80763"/>
                      </a:lnTo>
                      <a:lnTo>
                        <a:pt x="948424" y="86579"/>
                      </a:lnTo>
                      <a:lnTo>
                        <a:pt x="949043" y="93003"/>
                      </a:lnTo>
                      <a:lnTo>
                        <a:pt x="947028" y="99851"/>
                      </a:lnTo>
                      <a:lnTo>
                        <a:pt x="947926" y="100847"/>
                      </a:lnTo>
                      <a:lnTo>
                        <a:pt x="949311" y="101879"/>
                      </a:lnTo>
                      <a:lnTo>
                        <a:pt x="950015" y="102681"/>
                      </a:lnTo>
                      <a:lnTo>
                        <a:pt x="950707" y="104453"/>
                      </a:lnTo>
                      <a:lnTo>
                        <a:pt x="950743" y="105133"/>
                      </a:lnTo>
                      <a:lnTo>
                        <a:pt x="950537" y="106918"/>
                      </a:lnTo>
                      <a:lnTo>
                        <a:pt x="950015" y="108181"/>
                      </a:lnTo>
                      <a:lnTo>
                        <a:pt x="945656" y="115261"/>
                      </a:lnTo>
                      <a:lnTo>
                        <a:pt x="943931" y="117398"/>
                      </a:lnTo>
                      <a:lnTo>
                        <a:pt x="941855" y="119244"/>
                      </a:lnTo>
                      <a:lnTo>
                        <a:pt x="939026" y="120628"/>
                      </a:lnTo>
                      <a:lnTo>
                        <a:pt x="933233" y="121891"/>
                      </a:lnTo>
                      <a:lnTo>
                        <a:pt x="931728" y="122352"/>
                      </a:lnTo>
                      <a:lnTo>
                        <a:pt x="930538" y="122874"/>
                      </a:lnTo>
                      <a:lnTo>
                        <a:pt x="929736" y="123542"/>
                      </a:lnTo>
                      <a:lnTo>
                        <a:pt x="927429" y="125655"/>
                      </a:lnTo>
                      <a:lnTo>
                        <a:pt x="927162" y="127464"/>
                      </a:lnTo>
                      <a:lnTo>
                        <a:pt x="927696" y="129104"/>
                      </a:lnTo>
                      <a:lnTo>
                        <a:pt x="928522" y="130488"/>
                      </a:lnTo>
                      <a:lnTo>
                        <a:pt x="930817" y="133864"/>
                      </a:lnTo>
                      <a:lnTo>
                        <a:pt x="931218" y="136572"/>
                      </a:lnTo>
                      <a:lnTo>
                        <a:pt x="930198" y="139170"/>
                      </a:lnTo>
                      <a:lnTo>
                        <a:pt x="928012" y="141174"/>
                      </a:lnTo>
                      <a:lnTo>
                        <a:pt x="924308" y="142752"/>
                      </a:lnTo>
                      <a:lnTo>
                        <a:pt x="924163" y="142898"/>
                      </a:lnTo>
                      <a:lnTo>
                        <a:pt x="923798" y="144027"/>
                      </a:lnTo>
                      <a:lnTo>
                        <a:pt x="924235" y="146650"/>
                      </a:lnTo>
                      <a:lnTo>
                        <a:pt x="924952" y="148083"/>
                      </a:lnTo>
                      <a:lnTo>
                        <a:pt x="925887" y="148884"/>
                      </a:lnTo>
                      <a:lnTo>
                        <a:pt x="928267" y="150208"/>
                      </a:lnTo>
                      <a:lnTo>
                        <a:pt x="929882" y="151811"/>
                      </a:lnTo>
                      <a:lnTo>
                        <a:pt x="930768" y="152807"/>
                      </a:lnTo>
                      <a:lnTo>
                        <a:pt x="930477" y="156085"/>
                      </a:lnTo>
                      <a:lnTo>
                        <a:pt x="928898" y="159619"/>
                      </a:lnTo>
                      <a:lnTo>
                        <a:pt x="922693" y="169017"/>
                      </a:lnTo>
                      <a:lnTo>
                        <a:pt x="919026" y="177165"/>
                      </a:lnTo>
                      <a:lnTo>
                        <a:pt x="918698" y="180553"/>
                      </a:lnTo>
                      <a:lnTo>
                        <a:pt x="917873" y="183128"/>
                      </a:lnTo>
                      <a:lnTo>
                        <a:pt x="916391" y="186103"/>
                      </a:lnTo>
                      <a:lnTo>
                        <a:pt x="907697" y="196752"/>
                      </a:lnTo>
                      <a:lnTo>
                        <a:pt x="906082" y="201718"/>
                      </a:lnTo>
                      <a:lnTo>
                        <a:pt x="902840" y="209502"/>
                      </a:lnTo>
                      <a:lnTo>
                        <a:pt x="899075" y="212914"/>
                      </a:lnTo>
                      <a:lnTo>
                        <a:pt x="895687" y="215355"/>
                      </a:lnTo>
                      <a:lnTo>
                        <a:pt x="892858" y="216933"/>
                      </a:lnTo>
                      <a:lnTo>
                        <a:pt x="890879" y="218391"/>
                      </a:lnTo>
                      <a:lnTo>
                        <a:pt x="889822" y="219945"/>
                      </a:lnTo>
                      <a:lnTo>
                        <a:pt x="889082" y="222276"/>
                      </a:lnTo>
                      <a:lnTo>
                        <a:pt x="888474" y="224681"/>
                      </a:lnTo>
                      <a:lnTo>
                        <a:pt x="888207" y="226478"/>
                      </a:lnTo>
                      <a:lnTo>
                        <a:pt x="888050" y="228287"/>
                      </a:lnTo>
                      <a:lnTo>
                        <a:pt x="888317" y="229526"/>
                      </a:lnTo>
                      <a:lnTo>
                        <a:pt x="888839" y="230959"/>
                      </a:lnTo>
                      <a:lnTo>
                        <a:pt x="891085" y="234990"/>
                      </a:lnTo>
                      <a:lnTo>
                        <a:pt x="892166" y="237747"/>
                      </a:lnTo>
                      <a:lnTo>
                        <a:pt x="892931" y="240369"/>
                      </a:lnTo>
                      <a:lnTo>
                        <a:pt x="893222" y="242761"/>
                      </a:lnTo>
                      <a:lnTo>
                        <a:pt x="893234" y="244789"/>
                      </a:lnTo>
                      <a:lnTo>
                        <a:pt x="892882" y="246222"/>
                      </a:lnTo>
                      <a:lnTo>
                        <a:pt x="892263" y="247837"/>
                      </a:lnTo>
                      <a:lnTo>
                        <a:pt x="891049" y="249817"/>
                      </a:lnTo>
                      <a:lnTo>
                        <a:pt x="884115" y="253569"/>
                      </a:lnTo>
                      <a:lnTo>
                        <a:pt x="864832" y="257540"/>
                      </a:lnTo>
                      <a:lnTo>
                        <a:pt x="859441" y="260672"/>
                      </a:lnTo>
                      <a:lnTo>
                        <a:pt x="857874" y="261984"/>
                      </a:lnTo>
                      <a:lnTo>
                        <a:pt x="854887" y="263672"/>
                      </a:lnTo>
                      <a:lnTo>
                        <a:pt x="851876" y="264522"/>
                      </a:lnTo>
                      <a:lnTo>
                        <a:pt x="847371" y="264558"/>
                      </a:lnTo>
                      <a:lnTo>
                        <a:pt x="841117" y="263441"/>
                      </a:lnTo>
                      <a:lnTo>
                        <a:pt x="839162" y="263599"/>
                      </a:lnTo>
                      <a:lnTo>
                        <a:pt x="835519" y="264169"/>
                      </a:lnTo>
                      <a:lnTo>
                        <a:pt x="819758" y="268298"/>
                      </a:lnTo>
                      <a:lnTo>
                        <a:pt x="818422" y="269634"/>
                      </a:lnTo>
                      <a:lnTo>
                        <a:pt x="816576" y="280040"/>
                      </a:lnTo>
                      <a:lnTo>
                        <a:pt x="813067" y="284934"/>
                      </a:lnTo>
                      <a:lnTo>
                        <a:pt x="799746" y="296118"/>
                      </a:lnTo>
                      <a:lnTo>
                        <a:pt x="798872" y="297174"/>
                      </a:lnTo>
                      <a:lnTo>
                        <a:pt x="798945" y="298255"/>
                      </a:lnTo>
                      <a:lnTo>
                        <a:pt x="799612" y="299700"/>
                      </a:lnTo>
                      <a:lnTo>
                        <a:pt x="802211" y="303088"/>
                      </a:lnTo>
                      <a:lnTo>
                        <a:pt x="804166" y="305055"/>
                      </a:lnTo>
                      <a:lnTo>
                        <a:pt x="806947" y="308722"/>
                      </a:lnTo>
                      <a:lnTo>
                        <a:pt x="816734" y="329146"/>
                      </a:lnTo>
                      <a:lnTo>
                        <a:pt x="818847" y="332376"/>
                      </a:lnTo>
                      <a:lnTo>
                        <a:pt x="820000" y="335886"/>
                      </a:lnTo>
                      <a:lnTo>
                        <a:pt x="820401" y="338472"/>
                      </a:lnTo>
                      <a:lnTo>
                        <a:pt x="819066" y="344993"/>
                      </a:lnTo>
                      <a:lnTo>
                        <a:pt x="816018" y="349911"/>
                      </a:lnTo>
                      <a:lnTo>
                        <a:pt x="815702" y="351016"/>
                      </a:lnTo>
                      <a:lnTo>
                        <a:pt x="815192" y="353736"/>
                      </a:lnTo>
                      <a:lnTo>
                        <a:pt x="814439" y="359625"/>
                      </a:lnTo>
                      <a:lnTo>
                        <a:pt x="813674" y="360682"/>
                      </a:lnTo>
                      <a:lnTo>
                        <a:pt x="813650" y="362127"/>
                      </a:lnTo>
                      <a:lnTo>
                        <a:pt x="815702" y="366437"/>
                      </a:lnTo>
                      <a:lnTo>
                        <a:pt x="814815" y="371938"/>
                      </a:lnTo>
                      <a:lnTo>
                        <a:pt x="812314" y="377026"/>
                      </a:lnTo>
                      <a:lnTo>
                        <a:pt x="809740" y="380377"/>
                      </a:lnTo>
                      <a:lnTo>
                        <a:pt x="798981" y="390201"/>
                      </a:lnTo>
                      <a:lnTo>
                        <a:pt x="792400" y="393480"/>
                      </a:lnTo>
                      <a:lnTo>
                        <a:pt x="784422" y="399879"/>
                      </a:lnTo>
                      <a:lnTo>
                        <a:pt x="783450" y="401360"/>
                      </a:lnTo>
                      <a:lnTo>
                        <a:pt x="783450" y="402891"/>
                      </a:lnTo>
                      <a:lnTo>
                        <a:pt x="783559" y="403085"/>
                      </a:lnTo>
                      <a:lnTo>
                        <a:pt x="784422" y="403947"/>
                      </a:lnTo>
                      <a:lnTo>
                        <a:pt x="786364" y="404530"/>
                      </a:lnTo>
                      <a:lnTo>
                        <a:pt x="787797" y="405756"/>
                      </a:lnTo>
                      <a:lnTo>
                        <a:pt x="793820" y="416175"/>
                      </a:lnTo>
                      <a:lnTo>
                        <a:pt x="794282" y="420971"/>
                      </a:lnTo>
                      <a:lnTo>
                        <a:pt x="794294" y="425367"/>
                      </a:lnTo>
                      <a:lnTo>
                        <a:pt x="794925" y="428451"/>
                      </a:lnTo>
                      <a:lnTo>
                        <a:pt x="796443" y="430419"/>
                      </a:lnTo>
                      <a:lnTo>
                        <a:pt x="798277" y="432374"/>
                      </a:lnTo>
                      <a:lnTo>
                        <a:pt x="800329" y="435834"/>
                      </a:lnTo>
                      <a:lnTo>
                        <a:pt x="801325" y="441626"/>
                      </a:lnTo>
                      <a:lnTo>
                        <a:pt x="801167" y="443691"/>
                      </a:lnTo>
                      <a:lnTo>
                        <a:pt x="800280" y="446654"/>
                      </a:lnTo>
                      <a:lnTo>
                        <a:pt x="800353" y="446799"/>
                      </a:lnTo>
                      <a:lnTo>
                        <a:pt x="801907" y="448414"/>
                      </a:lnTo>
                      <a:lnTo>
                        <a:pt x="802855" y="450333"/>
                      </a:lnTo>
                      <a:lnTo>
                        <a:pt x="802430" y="455421"/>
                      </a:lnTo>
                      <a:lnTo>
                        <a:pt x="801252" y="459877"/>
                      </a:lnTo>
                      <a:lnTo>
                        <a:pt x="799030" y="464200"/>
                      </a:lnTo>
                      <a:lnTo>
                        <a:pt x="794124" y="470891"/>
                      </a:lnTo>
                      <a:lnTo>
                        <a:pt x="796880" y="475797"/>
                      </a:lnTo>
                      <a:lnTo>
                        <a:pt x="796990" y="476076"/>
                      </a:lnTo>
                      <a:lnTo>
                        <a:pt x="797961" y="476683"/>
                      </a:lnTo>
                      <a:lnTo>
                        <a:pt x="798544" y="476562"/>
                      </a:lnTo>
                      <a:lnTo>
                        <a:pt x="800596" y="477399"/>
                      </a:lnTo>
                      <a:lnTo>
                        <a:pt x="801932" y="478031"/>
                      </a:lnTo>
                      <a:lnTo>
                        <a:pt x="802721" y="481516"/>
                      </a:lnTo>
                      <a:lnTo>
                        <a:pt x="803328" y="483228"/>
                      </a:lnTo>
                      <a:lnTo>
                        <a:pt x="805380" y="484940"/>
                      </a:lnTo>
                      <a:lnTo>
                        <a:pt x="808404" y="486968"/>
                      </a:lnTo>
                      <a:lnTo>
                        <a:pt x="812739" y="488802"/>
                      </a:lnTo>
                      <a:lnTo>
                        <a:pt x="814864" y="490101"/>
                      </a:lnTo>
                      <a:lnTo>
                        <a:pt x="817183" y="492590"/>
                      </a:lnTo>
                      <a:lnTo>
                        <a:pt x="817863" y="495456"/>
                      </a:lnTo>
                      <a:lnTo>
                        <a:pt x="817293" y="497800"/>
                      </a:lnTo>
                      <a:lnTo>
                        <a:pt x="813577" y="504369"/>
                      </a:lnTo>
                      <a:lnTo>
                        <a:pt x="813383" y="505583"/>
                      </a:lnTo>
                      <a:lnTo>
                        <a:pt x="813638" y="506931"/>
                      </a:lnTo>
                      <a:lnTo>
                        <a:pt x="814390" y="508073"/>
                      </a:lnTo>
                      <a:lnTo>
                        <a:pt x="815908" y="509833"/>
                      </a:lnTo>
                      <a:lnTo>
                        <a:pt x="817669" y="511509"/>
                      </a:lnTo>
                      <a:lnTo>
                        <a:pt x="819539" y="512298"/>
                      </a:lnTo>
                      <a:lnTo>
                        <a:pt x="820377" y="512262"/>
                      </a:lnTo>
                      <a:lnTo>
                        <a:pt x="824214" y="510950"/>
                      </a:lnTo>
                      <a:lnTo>
                        <a:pt x="826436" y="509348"/>
                      </a:lnTo>
                      <a:lnTo>
                        <a:pt x="828185" y="507684"/>
                      </a:lnTo>
                      <a:lnTo>
                        <a:pt x="829181" y="506251"/>
                      </a:lnTo>
                      <a:lnTo>
                        <a:pt x="829606" y="505183"/>
                      </a:lnTo>
                      <a:lnTo>
                        <a:pt x="829691" y="502705"/>
                      </a:lnTo>
                      <a:lnTo>
                        <a:pt x="829921" y="500532"/>
                      </a:lnTo>
                      <a:lnTo>
                        <a:pt x="830686" y="497824"/>
                      </a:lnTo>
                      <a:lnTo>
                        <a:pt x="831706" y="495638"/>
                      </a:lnTo>
                      <a:lnTo>
                        <a:pt x="833078" y="493562"/>
                      </a:lnTo>
                      <a:lnTo>
                        <a:pt x="834754" y="491510"/>
                      </a:lnTo>
                      <a:lnTo>
                        <a:pt x="837778" y="490210"/>
                      </a:lnTo>
                      <a:lnTo>
                        <a:pt x="840692" y="490429"/>
                      </a:lnTo>
                      <a:lnTo>
                        <a:pt x="845367" y="492214"/>
                      </a:lnTo>
                      <a:lnTo>
                        <a:pt x="850710" y="495274"/>
                      </a:lnTo>
                      <a:lnTo>
                        <a:pt x="861371" y="504163"/>
                      </a:lnTo>
                      <a:lnTo>
                        <a:pt x="864905" y="506397"/>
                      </a:lnTo>
                      <a:lnTo>
                        <a:pt x="871001" y="512432"/>
                      </a:lnTo>
                      <a:lnTo>
                        <a:pt x="873454" y="514108"/>
                      </a:lnTo>
                      <a:lnTo>
                        <a:pt x="876247" y="515322"/>
                      </a:lnTo>
                      <a:lnTo>
                        <a:pt x="878687" y="515990"/>
                      </a:lnTo>
                      <a:lnTo>
                        <a:pt x="884152" y="516427"/>
                      </a:lnTo>
                      <a:lnTo>
                        <a:pt x="886702" y="516366"/>
                      </a:lnTo>
                      <a:lnTo>
                        <a:pt x="889713" y="516646"/>
                      </a:lnTo>
                      <a:lnTo>
                        <a:pt x="891207" y="517581"/>
                      </a:lnTo>
                      <a:lnTo>
                        <a:pt x="892470" y="519147"/>
                      </a:lnTo>
                      <a:lnTo>
                        <a:pt x="892931" y="520446"/>
                      </a:lnTo>
                      <a:lnTo>
                        <a:pt x="893174" y="523300"/>
                      </a:lnTo>
                      <a:lnTo>
                        <a:pt x="893441" y="525194"/>
                      </a:lnTo>
                      <a:lnTo>
                        <a:pt x="894060" y="526408"/>
                      </a:lnTo>
                      <a:lnTo>
                        <a:pt x="896125" y="528254"/>
                      </a:lnTo>
                      <a:lnTo>
                        <a:pt x="897557" y="528813"/>
                      </a:lnTo>
                      <a:lnTo>
                        <a:pt x="899427" y="528485"/>
                      </a:lnTo>
                      <a:lnTo>
                        <a:pt x="901905" y="526846"/>
                      </a:lnTo>
                      <a:lnTo>
                        <a:pt x="906252" y="522413"/>
                      </a:lnTo>
                      <a:lnTo>
                        <a:pt x="908911" y="519111"/>
                      </a:lnTo>
                      <a:lnTo>
                        <a:pt x="910975" y="514873"/>
                      </a:lnTo>
                      <a:lnTo>
                        <a:pt x="912554" y="509773"/>
                      </a:lnTo>
                      <a:lnTo>
                        <a:pt x="915213" y="504818"/>
                      </a:lnTo>
                      <a:lnTo>
                        <a:pt x="922159" y="498249"/>
                      </a:lnTo>
                      <a:lnTo>
                        <a:pt x="924272" y="496415"/>
                      </a:lnTo>
                      <a:lnTo>
                        <a:pt x="925632" y="494983"/>
                      </a:lnTo>
                      <a:lnTo>
                        <a:pt x="927089" y="492797"/>
                      </a:lnTo>
                      <a:lnTo>
                        <a:pt x="928303" y="489907"/>
                      </a:lnTo>
                      <a:lnTo>
                        <a:pt x="929360" y="486677"/>
                      </a:lnTo>
                      <a:lnTo>
                        <a:pt x="929226" y="484018"/>
                      </a:lnTo>
                      <a:lnTo>
                        <a:pt x="927247" y="482912"/>
                      </a:lnTo>
                      <a:lnTo>
                        <a:pt x="924296" y="482633"/>
                      </a:lnTo>
                      <a:lnTo>
                        <a:pt x="922681" y="482572"/>
                      </a:lnTo>
                      <a:lnTo>
                        <a:pt x="919755" y="481735"/>
                      </a:lnTo>
                      <a:lnTo>
                        <a:pt x="918565" y="480654"/>
                      </a:lnTo>
                      <a:lnTo>
                        <a:pt x="917557" y="478990"/>
                      </a:lnTo>
                      <a:lnTo>
                        <a:pt x="917132" y="477084"/>
                      </a:lnTo>
                      <a:lnTo>
                        <a:pt x="917022" y="475736"/>
                      </a:lnTo>
                      <a:lnTo>
                        <a:pt x="917144" y="474242"/>
                      </a:lnTo>
                      <a:lnTo>
                        <a:pt x="917484" y="472931"/>
                      </a:lnTo>
                      <a:lnTo>
                        <a:pt x="918674" y="470017"/>
                      </a:lnTo>
                      <a:lnTo>
                        <a:pt x="917338" y="467807"/>
                      </a:lnTo>
                      <a:lnTo>
                        <a:pt x="913865" y="463387"/>
                      </a:lnTo>
                      <a:lnTo>
                        <a:pt x="912433" y="460533"/>
                      </a:lnTo>
                      <a:lnTo>
                        <a:pt x="911473" y="456769"/>
                      </a:lnTo>
                      <a:lnTo>
                        <a:pt x="910611" y="454073"/>
                      </a:lnTo>
                      <a:lnTo>
                        <a:pt x="909445" y="452179"/>
                      </a:lnTo>
                      <a:lnTo>
                        <a:pt x="907247" y="450345"/>
                      </a:lnTo>
                      <a:lnTo>
                        <a:pt x="905365" y="449665"/>
                      </a:lnTo>
                      <a:lnTo>
                        <a:pt x="903277" y="449410"/>
                      </a:lnTo>
                      <a:lnTo>
                        <a:pt x="901613" y="449616"/>
                      </a:lnTo>
                      <a:lnTo>
                        <a:pt x="897727" y="450394"/>
                      </a:lnTo>
                      <a:lnTo>
                        <a:pt x="892639" y="452239"/>
                      </a:lnTo>
                      <a:lnTo>
                        <a:pt x="890041" y="452822"/>
                      </a:lnTo>
                      <a:lnTo>
                        <a:pt x="886386" y="452555"/>
                      </a:lnTo>
                      <a:lnTo>
                        <a:pt x="884467" y="451231"/>
                      </a:lnTo>
                      <a:lnTo>
                        <a:pt x="882561" y="448912"/>
                      </a:lnTo>
                      <a:lnTo>
                        <a:pt x="880970" y="445986"/>
                      </a:lnTo>
                      <a:lnTo>
                        <a:pt x="879926" y="443120"/>
                      </a:lnTo>
                      <a:lnTo>
                        <a:pt x="879829" y="438117"/>
                      </a:lnTo>
                      <a:lnTo>
                        <a:pt x="880922" y="435834"/>
                      </a:lnTo>
                      <a:lnTo>
                        <a:pt x="883411" y="432422"/>
                      </a:lnTo>
                      <a:lnTo>
                        <a:pt x="883763" y="430236"/>
                      </a:lnTo>
                      <a:lnTo>
                        <a:pt x="883666" y="428415"/>
                      </a:lnTo>
                      <a:lnTo>
                        <a:pt x="882889" y="422574"/>
                      </a:lnTo>
                      <a:lnTo>
                        <a:pt x="882974" y="412933"/>
                      </a:lnTo>
                      <a:lnTo>
                        <a:pt x="882537" y="410298"/>
                      </a:lnTo>
                      <a:lnTo>
                        <a:pt x="881492" y="407128"/>
                      </a:lnTo>
                      <a:lnTo>
                        <a:pt x="879124" y="402611"/>
                      </a:lnTo>
                      <a:lnTo>
                        <a:pt x="877121" y="400134"/>
                      </a:lnTo>
                      <a:lnTo>
                        <a:pt x="870139" y="393310"/>
                      </a:lnTo>
                      <a:lnTo>
                        <a:pt x="867759" y="389388"/>
                      </a:lnTo>
                      <a:lnTo>
                        <a:pt x="865913" y="384178"/>
                      </a:lnTo>
                      <a:lnTo>
                        <a:pt x="861882" y="363705"/>
                      </a:lnTo>
                      <a:lnTo>
                        <a:pt x="861554" y="354404"/>
                      </a:lnTo>
                      <a:lnTo>
                        <a:pt x="860109" y="349644"/>
                      </a:lnTo>
                      <a:lnTo>
                        <a:pt x="853539" y="334902"/>
                      </a:lnTo>
                      <a:lnTo>
                        <a:pt x="851706" y="332789"/>
                      </a:lnTo>
                      <a:lnTo>
                        <a:pt x="849520" y="330761"/>
                      </a:lnTo>
                      <a:lnTo>
                        <a:pt x="846023" y="328090"/>
                      </a:lnTo>
                      <a:lnTo>
                        <a:pt x="844432" y="326621"/>
                      </a:lnTo>
                      <a:lnTo>
                        <a:pt x="842938" y="324629"/>
                      </a:lnTo>
                      <a:lnTo>
                        <a:pt x="842088" y="322261"/>
                      </a:lnTo>
                      <a:lnTo>
                        <a:pt x="841906" y="320015"/>
                      </a:lnTo>
                      <a:lnTo>
                        <a:pt x="842489" y="317392"/>
                      </a:lnTo>
                      <a:lnTo>
                        <a:pt x="843509" y="315097"/>
                      </a:lnTo>
                      <a:lnTo>
                        <a:pt x="845513" y="311503"/>
                      </a:lnTo>
                      <a:lnTo>
                        <a:pt x="850297" y="304824"/>
                      </a:lnTo>
                      <a:lnTo>
                        <a:pt x="851973" y="303076"/>
                      </a:lnTo>
                      <a:lnTo>
                        <a:pt x="854426" y="301133"/>
                      </a:lnTo>
                      <a:lnTo>
                        <a:pt x="853843" y="299032"/>
                      </a:lnTo>
                      <a:lnTo>
                        <a:pt x="853563" y="297101"/>
                      </a:lnTo>
                      <a:lnTo>
                        <a:pt x="854146" y="295061"/>
                      </a:lnTo>
                      <a:lnTo>
                        <a:pt x="855373" y="293033"/>
                      </a:lnTo>
                      <a:lnTo>
                        <a:pt x="857389" y="291443"/>
                      </a:lnTo>
                      <a:lnTo>
                        <a:pt x="859526" y="290495"/>
                      </a:lnTo>
                      <a:lnTo>
                        <a:pt x="863096" y="290022"/>
                      </a:lnTo>
                      <a:lnTo>
                        <a:pt x="867079" y="289973"/>
                      </a:lnTo>
                      <a:lnTo>
                        <a:pt x="871911" y="291309"/>
                      </a:lnTo>
                      <a:lnTo>
                        <a:pt x="874498" y="292438"/>
                      </a:lnTo>
                      <a:lnTo>
                        <a:pt x="875287" y="293361"/>
                      </a:lnTo>
                      <a:lnTo>
                        <a:pt x="876210" y="294733"/>
                      </a:lnTo>
                      <a:lnTo>
                        <a:pt x="877182" y="297308"/>
                      </a:lnTo>
                      <a:lnTo>
                        <a:pt x="877704" y="297733"/>
                      </a:lnTo>
                      <a:lnTo>
                        <a:pt x="879926" y="298898"/>
                      </a:lnTo>
                      <a:lnTo>
                        <a:pt x="881784" y="300525"/>
                      </a:lnTo>
                      <a:lnTo>
                        <a:pt x="884115" y="303173"/>
                      </a:lnTo>
                      <a:lnTo>
                        <a:pt x="883180" y="301048"/>
                      </a:lnTo>
                      <a:lnTo>
                        <a:pt x="882707" y="299263"/>
                      </a:lnTo>
                      <a:lnTo>
                        <a:pt x="882901" y="296458"/>
                      </a:lnTo>
                      <a:lnTo>
                        <a:pt x="883872" y="294187"/>
                      </a:lnTo>
                      <a:lnTo>
                        <a:pt x="886022" y="291030"/>
                      </a:lnTo>
                      <a:lnTo>
                        <a:pt x="885961" y="290083"/>
                      </a:lnTo>
                      <a:lnTo>
                        <a:pt x="882816" y="287253"/>
                      </a:lnTo>
                      <a:lnTo>
                        <a:pt x="881517" y="285152"/>
                      </a:lnTo>
                      <a:lnTo>
                        <a:pt x="881140" y="284412"/>
                      </a:lnTo>
                      <a:lnTo>
                        <a:pt x="881480" y="279032"/>
                      </a:lnTo>
                      <a:lnTo>
                        <a:pt x="882269" y="275754"/>
                      </a:lnTo>
                      <a:lnTo>
                        <a:pt x="884152" y="273665"/>
                      </a:lnTo>
                      <a:lnTo>
                        <a:pt x="886896" y="272063"/>
                      </a:lnTo>
                      <a:lnTo>
                        <a:pt x="889737" y="271443"/>
                      </a:lnTo>
                      <a:lnTo>
                        <a:pt x="890842" y="271043"/>
                      </a:lnTo>
                      <a:lnTo>
                        <a:pt x="893502" y="268869"/>
                      </a:lnTo>
                      <a:lnTo>
                        <a:pt x="896003" y="267011"/>
                      </a:lnTo>
                      <a:lnTo>
                        <a:pt x="899804" y="272427"/>
                      </a:lnTo>
                      <a:lnTo>
                        <a:pt x="900702" y="274151"/>
                      </a:lnTo>
                      <a:lnTo>
                        <a:pt x="901055" y="275183"/>
                      </a:lnTo>
                      <a:lnTo>
                        <a:pt x="901807" y="280162"/>
                      </a:lnTo>
                      <a:lnTo>
                        <a:pt x="901613" y="288419"/>
                      </a:lnTo>
                      <a:lnTo>
                        <a:pt x="901747" y="289378"/>
                      </a:lnTo>
                      <a:lnTo>
                        <a:pt x="902220" y="289548"/>
                      </a:lnTo>
                      <a:lnTo>
                        <a:pt x="904357" y="289257"/>
                      </a:lnTo>
                      <a:lnTo>
                        <a:pt x="905730" y="288395"/>
                      </a:lnTo>
                      <a:lnTo>
                        <a:pt x="905973" y="286743"/>
                      </a:lnTo>
                      <a:lnTo>
                        <a:pt x="905438" y="280089"/>
                      </a:lnTo>
                      <a:lnTo>
                        <a:pt x="905535" y="277733"/>
                      </a:lnTo>
                      <a:lnTo>
                        <a:pt x="905778" y="275900"/>
                      </a:lnTo>
                      <a:lnTo>
                        <a:pt x="906240" y="274637"/>
                      </a:lnTo>
                      <a:lnTo>
                        <a:pt x="907515" y="271820"/>
                      </a:lnTo>
                      <a:lnTo>
                        <a:pt x="909348" y="269282"/>
                      </a:lnTo>
                      <a:lnTo>
                        <a:pt x="911534" y="267132"/>
                      </a:lnTo>
                      <a:lnTo>
                        <a:pt x="914715" y="265663"/>
                      </a:lnTo>
                      <a:lnTo>
                        <a:pt x="915529" y="265347"/>
                      </a:lnTo>
                      <a:lnTo>
                        <a:pt x="919172" y="266064"/>
                      </a:lnTo>
                      <a:lnTo>
                        <a:pt x="922572" y="269391"/>
                      </a:lnTo>
                      <a:lnTo>
                        <a:pt x="923555" y="272245"/>
                      </a:lnTo>
                      <a:lnTo>
                        <a:pt x="924065" y="274564"/>
                      </a:lnTo>
                      <a:lnTo>
                        <a:pt x="924126" y="279032"/>
                      </a:lnTo>
                      <a:lnTo>
                        <a:pt x="923750" y="281765"/>
                      </a:lnTo>
                      <a:lnTo>
                        <a:pt x="922790" y="284570"/>
                      </a:lnTo>
                      <a:lnTo>
                        <a:pt x="922426" y="285323"/>
                      </a:lnTo>
                      <a:lnTo>
                        <a:pt x="922633" y="285310"/>
                      </a:lnTo>
                      <a:lnTo>
                        <a:pt x="924017" y="284825"/>
                      </a:lnTo>
                      <a:lnTo>
                        <a:pt x="926567" y="284424"/>
                      </a:lnTo>
                      <a:lnTo>
                        <a:pt x="928886" y="284800"/>
                      </a:lnTo>
                      <a:lnTo>
                        <a:pt x="930987" y="286840"/>
                      </a:lnTo>
                      <a:lnTo>
                        <a:pt x="931424" y="287994"/>
                      </a:lnTo>
                      <a:lnTo>
                        <a:pt x="931764" y="289451"/>
                      </a:lnTo>
                      <a:lnTo>
                        <a:pt x="931764" y="290799"/>
                      </a:lnTo>
                      <a:lnTo>
                        <a:pt x="931290" y="296822"/>
                      </a:lnTo>
                      <a:lnTo>
                        <a:pt x="930732" y="299615"/>
                      </a:lnTo>
                      <a:lnTo>
                        <a:pt x="926955" y="306233"/>
                      </a:lnTo>
                      <a:lnTo>
                        <a:pt x="926870" y="307447"/>
                      </a:lnTo>
                      <a:lnTo>
                        <a:pt x="926931" y="308661"/>
                      </a:lnTo>
                      <a:lnTo>
                        <a:pt x="927453" y="311187"/>
                      </a:lnTo>
                      <a:lnTo>
                        <a:pt x="927563" y="313446"/>
                      </a:lnTo>
                      <a:lnTo>
                        <a:pt x="926968" y="316603"/>
                      </a:lnTo>
                      <a:lnTo>
                        <a:pt x="925341" y="318728"/>
                      </a:lnTo>
                      <a:lnTo>
                        <a:pt x="923786" y="320136"/>
                      </a:lnTo>
                      <a:lnTo>
                        <a:pt x="919002" y="323269"/>
                      </a:lnTo>
                      <a:lnTo>
                        <a:pt x="916622" y="325309"/>
                      </a:lnTo>
                      <a:lnTo>
                        <a:pt x="915322" y="327386"/>
                      </a:lnTo>
                      <a:lnTo>
                        <a:pt x="914181" y="329851"/>
                      </a:lnTo>
                      <a:lnTo>
                        <a:pt x="913525" y="332644"/>
                      </a:lnTo>
                      <a:lnTo>
                        <a:pt x="913367" y="334999"/>
                      </a:lnTo>
                      <a:lnTo>
                        <a:pt x="913707" y="337416"/>
                      </a:lnTo>
                      <a:lnTo>
                        <a:pt x="913902" y="337707"/>
                      </a:lnTo>
                      <a:lnTo>
                        <a:pt x="914448" y="338047"/>
                      </a:lnTo>
                      <a:lnTo>
                        <a:pt x="914752" y="338035"/>
                      </a:lnTo>
                      <a:lnTo>
                        <a:pt x="917144" y="336335"/>
                      </a:lnTo>
                      <a:lnTo>
                        <a:pt x="918358" y="334829"/>
                      </a:lnTo>
                      <a:lnTo>
                        <a:pt x="920690" y="331563"/>
                      </a:lnTo>
                      <a:lnTo>
                        <a:pt x="922657" y="329826"/>
                      </a:lnTo>
                      <a:lnTo>
                        <a:pt x="925098" y="328551"/>
                      </a:lnTo>
                      <a:lnTo>
                        <a:pt x="928619" y="327932"/>
                      </a:lnTo>
                      <a:lnTo>
                        <a:pt x="929712" y="327677"/>
                      </a:lnTo>
                      <a:lnTo>
                        <a:pt x="930392" y="327034"/>
                      </a:lnTo>
                      <a:lnTo>
                        <a:pt x="930635" y="325941"/>
                      </a:lnTo>
                      <a:lnTo>
                        <a:pt x="930683" y="324253"/>
                      </a:lnTo>
                      <a:lnTo>
                        <a:pt x="930526" y="322662"/>
                      </a:lnTo>
                      <a:lnTo>
                        <a:pt x="930793" y="319590"/>
                      </a:lnTo>
                      <a:lnTo>
                        <a:pt x="932857" y="317234"/>
                      </a:lnTo>
                      <a:lnTo>
                        <a:pt x="935225" y="316627"/>
                      </a:lnTo>
                      <a:lnTo>
                        <a:pt x="939912" y="316894"/>
                      </a:lnTo>
                      <a:lnTo>
                        <a:pt x="941952" y="318121"/>
                      </a:lnTo>
                      <a:lnTo>
                        <a:pt x="942960" y="318873"/>
                      </a:lnTo>
                      <a:lnTo>
                        <a:pt x="941588" y="321836"/>
                      </a:lnTo>
                      <a:lnTo>
                        <a:pt x="944453" y="320440"/>
                      </a:lnTo>
                      <a:lnTo>
                        <a:pt x="945668" y="320756"/>
                      </a:lnTo>
                      <a:lnTo>
                        <a:pt x="946238" y="321023"/>
                      </a:lnTo>
                      <a:lnTo>
                        <a:pt x="946991" y="321861"/>
                      </a:lnTo>
                      <a:lnTo>
                        <a:pt x="947635" y="322808"/>
                      </a:lnTo>
                      <a:lnTo>
                        <a:pt x="948193" y="324083"/>
                      </a:lnTo>
                      <a:lnTo>
                        <a:pt x="947878" y="326026"/>
                      </a:lnTo>
                      <a:lnTo>
                        <a:pt x="947258" y="327313"/>
                      </a:lnTo>
                      <a:lnTo>
                        <a:pt x="941709" y="333056"/>
                      </a:lnTo>
                      <a:lnTo>
                        <a:pt x="941102" y="334647"/>
                      </a:lnTo>
                      <a:lnTo>
                        <a:pt x="940738" y="336274"/>
                      </a:lnTo>
                      <a:lnTo>
                        <a:pt x="940896" y="337695"/>
                      </a:lnTo>
                      <a:lnTo>
                        <a:pt x="941272" y="337987"/>
                      </a:lnTo>
                      <a:lnTo>
                        <a:pt x="942292" y="337829"/>
                      </a:lnTo>
                      <a:lnTo>
                        <a:pt x="944988" y="336942"/>
                      </a:lnTo>
                      <a:lnTo>
                        <a:pt x="950853" y="334283"/>
                      </a:lnTo>
                      <a:lnTo>
                        <a:pt x="954775" y="333724"/>
                      </a:lnTo>
                      <a:lnTo>
                        <a:pt x="957325" y="334101"/>
                      </a:lnTo>
                      <a:lnTo>
                        <a:pt x="959110" y="334489"/>
                      </a:lnTo>
                      <a:lnTo>
                        <a:pt x="960130" y="338047"/>
                      </a:lnTo>
                      <a:lnTo>
                        <a:pt x="960810" y="343682"/>
                      </a:lnTo>
                      <a:lnTo>
                        <a:pt x="962231" y="341301"/>
                      </a:lnTo>
                      <a:lnTo>
                        <a:pt x="963967" y="339189"/>
                      </a:lnTo>
                      <a:lnTo>
                        <a:pt x="967404" y="336760"/>
                      </a:lnTo>
                      <a:lnTo>
                        <a:pt x="970294" y="336602"/>
                      </a:lnTo>
                      <a:lnTo>
                        <a:pt x="972880" y="337051"/>
                      </a:lnTo>
                      <a:lnTo>
                        <a:pt x="975952" y="338351"/>
                      </a:lnTo>
                      <a:lnTo>
                        <a:pt x="976644" y="338205"/>
                      </a:lnTo>
                      <a:lnTo>
                        <a:pt x="978405" y="338023"/>
                      </a:lnTo>
                      <a:lnTo>
                        <a:pt x="980275" y="338035"/>
                      </a:lnTo>
                      <a:lnTo>
                        <a:pt x="983068" y="338679"/>
                      </a:lnTo>
                      <a:lnTo>
                        <a:pt x="987500" y="340330"/>
                      </a:lnTo>
                      <a:lnTo>
                        <a:pt x="987707" y="339954"/>
                      </a:lnTo>
                      <a:lnTo>
                        <a:pt x="987707" y="338339"/>
                      </a:lnTo>
                      <a:lnTo>
                        <a:pt x="987136" y="335546"/>
                      </a:lnTo>
                      <a:lnTo>
                        <a:pt x="982692" y="322091"/>
                      </a:lnTo>
                      <a:lnTo>
                        <a:pt x="982315" y="318971"/>
                      </a:lnTo>
                      <a:lnTo>
                        <a:pt x="982364" y="316809"/>
                      </a:lnTo>
                      <a:lnTo>
                        <a:pt x="982801" y="313846"/>
                      </a:lnTo>
                      <a:lnTo>
                        <a:pt x="985205" y="308078"/>
                      </a:lnTo>
                      <a:lnTo>
                        <a:pt x="991556" y="300161"/>
                      </a:lnTo>
                      <a:lnTo>
                        <a:pt x="995320" y="300161"/>
                      </a:lnTo>
                      <a:lnTo>
                        <a:pt x="996510" y="300671"/>
                      </a:lnTo>
                      <a:lnTo>
                        <a:pt x="998052" y="301643"/>
                      </a:lnTo>
                      <a:lnTo>
                        <a:pt x="999765" y="303537"/>
                      </a:lnTo>
                      <a:lnTo>
                        <a:pt x="1000287" y="306281"/>
                      </a:lnTo>
                      <a:lnTo>
                        <a:pt x="999534" y="309038"/>
                      </a:lnTo>
                      <a:lnTo>
                        <a:pt x="994507" y="317173"/>
                      </a:lnTo>
                      <a:lnTo>
                        <a:pt x="993936" y="318631"/>
                      </a:lnTo>
                      <a:lnTo>
                        <a:pt x="993717" y="319456"/>
                      </a:lnTo>
                      <a:lnTo>
                        <a:pt x="993572" y="320634"/>
                      </a:lnTo>
                      <a:lnTo>
                        <a:pt x="993766" y="321885"/>
                      </a:lnTo>
                      <a:lnTo>
                        <a:pt x="994349" y="323172"/>
                      </a:lnTo>
                      <a:lnTo>
                        <a:pt x="995478" y="324459"/>
                      </a:lnTo>
                      <a:lnTo>
                        <a:pt x="995587" y="324471"/>
                      </a:lnTo>
                      <a:lnTo>
                        <a:pt x="996037" y="324326"/>
                      </a:lnTo>
                      <a:lnTo>
                        <a:pt x="996122" y="323694"/>
                      </a:lnTo>
                      <a:lnTo>
                        <a:pt x="996534" y="322820"/>
                      </a:lnTo>
                      <a:lnTo>
                        <a:pt x="997530" y="321193"/>
                      </a:lnTo>
                      <a:lnTo>
                        <a:pt x="999412" y="319238"/>
                      </a:lnTo>
                      <a:lnTo>
                        <a:pt x="1002157" y="317659"/>
                      </a:lnTo>
                      <a:lnTo>
                        <a:pt x="1004950" y="316943"/>
                      </a:lnTo>
                      <a:lnTo>
                        <a:pt x="1007840" y="317173"/>
                      </a:lnTo>
                      <a:lnTo>
                        <a:pt x="1010171" y="318121"/>
                      </a:lnTo>
                      <a:lnTo>
                        <a:pt x="1010924" y="317781"/>
                      </a:lnTo>
                      <a:lnTo>
                        <a:pt x="1013377" y="315146"/>
                      </a:lnTo>
                      <a:lnTo>
                        <a:pt x="1015101" y="313822"/>
                      </a:lnTo>
                      <a:lnTo>
                        <a:pt x="1017238" y="312851"/>
                      </a:lnTo>
                      <a:lnTo>
                        <a:pt x="1019375" y="311988"/>
                      </a:lnTo>
                      <a:lnTo>
                        <a:pt x="1022338" y="315862"/>
                      </a:lnTo>
                      <a:lnTo>
                        <a:pt x="1021695" y="319396"/>
                      </a:lnTo>
                      <a:lnTo>
                        <a:pt x="1018622" y="326001"/>
                      </a:lnTo>
                      <a:lnTo>
                        <a:pt x="1011871" y="334987"/>
                      </a:lnTo>
                      <a:lnTo>
                        <a:pt x="1009892" y="339735"/>
                      </a:lnTo>
                      <a:lnTo>
                        <a:pt x="1007900" y="342807"/>
                      </a:lnTo>
                      <a:lnTo>
                        <a:pt x="1002812" y="347494"/>
                      </a:lnTo>
                      <a:lnTo>
                        <a:pt x="1002302" y="348356"/>
                      </a:lnTo>
                      <a:lnTo>
                        <a:pt x="1001683" y="351307"/>
                      </a:lnTo>
                      <a:lnTo>
                        <a:pt x="1001331" y="354076"/>
                      </a:lnTo>
                      <a:lnTo>
                        <a:pt x="1001355" y="356201"/>
                      </a:lnTo>
                      <a:lnTo>
                        <a:pt x="1001574" y="357549"/>
                      </a:lnTo>
                      <a:lnTo>
                        <a:pt x="1003007" y="358472"/>
                      </a:lnTo>
                      <a:lnTo>
                        <a:pt x="1003723" y="358751"/>
                      </a:lnTo>
                      <a:lnTo>
                        <a:pt x="1007524" y="358387"/>
                      </a:lnTo>
                      <a:lnTo>
                        <a:pt x="1007682" y="357949"/>
                      </a:lnTo>
                      <a:lnTo>
                        <a:pt x="1007026" y="353760"/>
                      </a:lnTo>
                      <a:lnTo>
                        <a:pt x="1006832" y="350069"/>
                      </a:lnTo>
                      <a:lnTo>
                        <a:pt x="1007281" y="347142"/>
                      </a:lnTo>
                      <a:lnTo>
                        <a:pt x="1009042" y="345564"/>
                      </a:lnTo>
                      <a:lnTo>
                        <a:pt x="1011798" y="344325"/>
                      </a:lnTo>
                      <a:lnTo>
                        <a:pt x="1016218" y="344034"/>
                      </a:lnTo>
                      <a:lnTo>
                        <a:pt x="1019363" y="344872"/>
                      </a:lnTo>
                      <a:lnTo>
                        <a:pt x="1021622" y="346365"/>
                      </a:lnTo>
                      <a:lnTo>
                        <a:pt x="1022290" y="346863"/>
                      </a:lnTo>
                      <a:lnTo>
                        <a:pt x="1023225" y="349146"/>
                      </a:lnTo>
                      <a:lnTo>
                        <a:pt x="1023759" y="352084"/>
                      </a:lnTo>
                      <a:lnTo>
                        <a:pt x="1024645" y="352339"/>
                      </a:lnTo>
                      <a:lnTo>
                        <a:pt x="1027256" y="350700"/>
                      </a:lnTo>
                      <a:lnTo>
                        <a:pt x="1028094" y="349826"/>
                      </a:lnTo>
                      <a:lnTo>
                        <a:pt x="1031482" y="343050"/>
                      </a:lnTo>
                      <a:lnTo>
                        <a:pt x="1033510" y="340427"/>
                      </a:lnTo>
                      <a:lnTo>
                        <a:pt x="1036473" y="337987"/>
                      </a:lnTo>
                      <a:lnTo>
                        <a:pt x="1039642" y="337258"/>
                      </a:lnTo>
                      <a:lnTo>
                        <a:pt x="1041099" y="337173"/>
                      </a:lnTo>
                      <a:lnTo>
                        <a:pt x="1043370" y="337537"/>
                      </a:lnTo>
                      <a:lnTo>
                        <a:pt x="1045616" y="338278"/>
                      </a:lnTo>
                      <a:lnTo>
                        <a:pt x="1053291" y="341860"/>
                      </a:lnTo>
                      <a:lnTo>
                        <a:pt x="1058682" y="343317"/>
                      </a:lnTo>
                      <a:lnTo>
                        <a:pt x="1060516" y="343451"/>
                      </a:lnTo>
                      <a:lnTo>
                        <a:pt x="1074225" y="342589"/>
                      </a:lnTo>
                      <a:lnTo>
                        <a:pt x="1079167" y="341617"/>
                      </a:lnTo>
                      <a:lnTo>
                        <a:pt x="1080661" y="341836"/>
                      </a:lnTo>
                      <a:lnTo>
                        <a:pt x="1082640" y="342674"/>
                      </a:lnTo>
                      <a:lnTo>
                        <a:pt x="1084340" y="343985"/>
                      </a:lnTo>
                      <a:lnTo>
                        <a:pt x="1086417" y="346559"/>
                      </a:lnTo>
                      <a:lnTo>
                        <a:pt x="1086514" y="346584"/>
                      </a:lnTo>
                      <a:lnTo>
                        <a:pt x="1088250" y="346147"/>
                      </a:lnTo>
                      <a:lnTo>
                        <a:pt x="1092075" y="343973"/>
                      </a:lnTo>
                      <a:lnTo>
                        <a:pt x="1094880" y="343002"/>
                      </a:lnTo>
                      <a:lnTo>
                        <a:pt x="1096046" y="342771"/>
                      </a:lnTo>
                      <a:lnTo>
                        <a:pt x="1096009" y="342613"/>
                      </a:lnTo>
                      <a:lnTo>
                        <a:pt x="1095597" y="341909"/>
                      </a:lnTo>
                      <a:lnTo>
                        <a:pt x="1092962" y="339079"/>
                      </a:lnTo>
                      <a:lnTo>
                        <a:pt x="1091626" y="337246"/>
                      </a:lnTo>
                      <a:lnTo>
                        <a:pt x="1090557" y="335279"/>
                      </a:lnTo>
                      <a:lnTo>
                        <a:pt x="1089889" y="333287"/>
                      </a:lnTo>
                      <a:lnTo>
                        <a:pt x="1089634" y="331939"/>
                      </a:lnTo>
                      <a:lnTo>
                        <a:pt x="1089622" y="329851"/>
                      </a:lnTo>
                      <a:lnTo>
                        <a:pt x="1089744" y="329025"/>
                      </a:lnTo>
                      <a:lnTo>
                        <a:pt x="1090448" y="327301"/>
                      </a:lnTo>
                      <a:lnTo>
                        <a:pt x="1091517" y="326014"/>
                      </a:lnTo>
                      <a:lnTo>
                        <a:pt x="1094394" y="323998"/>
                      </a:lnTo>
                      <a:lnTo>
                        <a:pt x="1099713" y="322273"/>
                      </a:lnTo>
                      <a:lnTo>
                        <a:pt x="1105080" y="321909"/>
                      </a:lnTo>
                      <a:lnTo>
                        <a:pt x="1107084" y="321217"/>
                      </a:lnTo>
                      <a:lnTo>
                        <a:pt x="1110022" y="319396"/>
                      </a:lnTo>
                      <a:lnTo>
                        <a:pt x="1116920" y="314235"/>
                      </a:lnTo>
                      <a:lnTo>
                        <a:pt x="1121534" y="309863"/>
                      </a:lnTo>
                      <a:lnTo>
                        <a:pt x="1124897" y="307447"/>
                      </a:lnTo>
                      <a:lnTo>
                        <a:pt x="1140113" y="300428"/>
                      </a:lnTo>
                      <a:lnTo>
                        <a:pt x="1145808" y="303148"/>
                      </a:lnTo>
                      <a:lnTo>
                        <a:pt x="1153470" y="297587"/>
                      </a:lnTo>
                      <a:lnTo>
                        <a:pt x="1154465" y="296531"/>
                      </a:lnTo>
                      <a:lnTo>
                        <a:pt x="1155328" y="295389"/>
                      </a:lnTo>
                      <a:lnTo>
                        <a:pt x="1156153" y="293240"/>
                      </a:lnTo>
                      <a:lnTo>
                        <a:pt x="1157599" y="291030"/>
                      </a:lnTo>
                      <a:lnTo>
                        <a:pt x="1160367" y="289767"/>
                      </a:lnTo>
                      <a:lnTo>
                        <a:pt x="1162553" y="289900"/>
                      </a:lnTo>
                      <a:lnTo>
                        <a:pt x="1166463" y="291406"/>
                      </a:lnTo>
                      <a:lnTo>
                        <a:pt x="1166997" y="291370"/>
                      </a:lnTo>
                      <a:lnTo>
                        <a:pt x="1167446" y="291188"/>
                      </a:lnTo>
                      <a:lnTo>
                        <a:pt x="1170458" y="290253"/>
                      </a:lnTo>
                      <a:lnTo>
                        <a:pt x="1173469" y="289670"/>
                      </a:lnTo>
                      <a:lnTo>
                        <a:pt x="1175825" y="289791"/>
                      </a:lnTo>
                      <a:lnTo>
                        <a:pt x="1178897" y="290617"/>
                      </a:lnTo>
                      <a:lnTo>
                        <a:pt x="1180791" y="293592"/>
                      </a:lnTo>
                      <a:lnTo>
                        <a:pt x="1183596" y="297368"/>
                      </a:lnTo>
                      <a:lnTo>
                        <a:pt x="1184544" y="299311"/>
                      </a:lnTo>
                      <a:lnTo>
                        <a:pt x="1185248" y="301460"/>
                      </a:lnTo>
                      <a:lnTo>
                        <a:pt x="1186280" y="308224"/>
                      </a:lnTo>
                      <a:lnTo>
                        <a:pt x="1186656" y="316251"/>
                      </a:lnTo>
                      <a:lnTo>
                        <a:pt x="1186936" y="317088"/>
                      </a:lnTo>
                      <a:lnTo>
                        <a:pt x="1188964" y="317793"/>
                      </a:lnTo>
                      <a:lnTo>
                        <a:pt x="1192339" y="319736"/>
                      </a:lnTo>
                      <a:lnTo>
                        <a:pt x="1193493" y="320865"/>
                      </a:lnTo>
                      <a:lnTo>
                        <a:pt x="1194635" y="322310"/>
                      </a:lnTo>
                      <a:lnTo>
                        <a:pt x="1195533" y="323998"/>
                      </a:lnTo>
                      <a:lnTo>
                        <a:pt x="1197367" y="323634"/>
                      </a:lnTo>
                      <a:lnTo>
                        <a:pt x="1197986" y="323719"/>
                      </a:lnTo>
                      <a:lnTo>
                        <a:pt x="1199455" y="324180"/>
                      </a:lnTo>
                      <a:lnTo>
                        <a:pt x="1199929" y="324459"/>
                      </a:lnTo>
                      <a:lnTo>
                        <a:pt x="1201107" y="325419"/>
                      </a:lnTo>
                      <a:lnTo>
                        <a:pt x="1202151" y="326876"/>
                      </a:lnTo>
                      <a:lnTo>
                        <a:pt x="1202831" y="328199"/>
                      </a:lnTo>
                      <a:lnTo>
                        <a:pt x="1203280" y="329851"/>
                      </a:lnTo>
                      <a:lnTo>
                        <a:pt x="1203693" y="333360"/>
                      </a:lnTo>
                      <a:lnTo>
                        <a:pt x="1205442" y="336663"/>
                      </a:lnTo>
                      <a:lnTo>
                        <a:pt x="1205867" y="337938"/>
                      </a:lnTo>
                      <a:lnTo>
                        <a:pt x="1205867" y="338909"/>
                      </a:lnTo>
                      <a:lnTo>
                        <a:pt x="1205454" y="341714"/>
                      </a:lnTo>
                      <a:lnTo>
                        <a:pt x="1204373" y="343123"/>
                      </a:lnTo>
                      <a:lnTo>
                        <a:pt x="1203402" y="344046"/>
                      </a:lnTo>
                      <a:lnTo>
                        <a:pt x="1200645" y="345624"/>
                      </a:lnTo>
                      <a:lnTo>
                        <a:pt x="1197318" y="346984"/>
                      </a:lnTo>
                      <a:lnTo>
                        <a:pt x="1195327" y="348272"/>
                      </a:lnTo>
                      <a:lnTo>
                        <a:pt x="1193991" y="348988"/>
                      </a:lnTo>
                      <a:lnTo>
                        <a:pt x="1192291" y="349607"/>
                      </a:lnTo>
                      <a:lnTo>
                        <a:pt x="1191283" y="351222"/>
                      </a:lnTo>
                      <a:lnTo>
                        <a:pt x="1189959" y="353044"/>
                      </a:lnTo>
                      <a:lnTo>
                        <a:pt x="1185928" y="357087"/>
                      </a:lnTo>
                      <a:lnTo>
                        <a:pt x="1184774" y="358812"/>
                      </a:lnTo>
                      <a:lnTo>
                        <a:pt x="1182370" y="360949"/>
                      </a:lnTo>
                      <a:lnTo>
                        <a:pt x="1178921" y="361981"/>
                      </a:lnTo>
                      <a:lnTo>
                        <a:pt x="1176602" y="361957"/>
                      </a:lnTo>
                      <a:lnTo>
                        <a:pt x="1176614" y="363292"/>
                      </a:lnTo>
                      <a:lnTo>
                        <a:pt x="1177707" y="367057"/>
                      </a:lnTo>
                      <a:lnTo>
                        <a:pt x="1178460" y="368368"/>
                      </a:lnTo>
                      <a:lnTo>
                        <a:pt x="1179917" y="370420"/>
                      </a:lnTo>
                      <a:lnTo>
                        <a:pt x="1180767" y="370845"/>
                      </a:lnTo>
                      <a:lnTo>
                        <a:pt x="1186037" y="368963"/>
                      </a:lnTo>
                      <a:lnTo>
                        <a:pt x="1189219" y="368392"/>
                      </a:lnTo>
                      <a:lnTo>
                        <a:pt x="1193165" y="368927"/>
                      </a:lnTo>
                      <a:lnTo>
                        <a:pt x="1195266" y="369570"/>
                      </a:lnTo>
                      <a:lnTo>
                        <a:pt x="1197197" y="370408"/>
                      </a:lnTo>
                      <a:lnTo>
                        <a:pt x="1197913" y="370639"/>
                      </a:lnTo>
                      <a:lnTo>
                        <a:pt x="1197925" y="370457"/>
                      </a:lnTo>
                      <a:lnTo>
                        <a:pt x="1196759" y="366607"/>
                      </a:lnTo>
                      <a:lnTo>
                        <a:pt x="1196480" y="364737"/>
                      </a:lnTo>
                      <a:lnTo>
                        <a:pt x="1196650" y="362139"/>
                      </a:lnTo>
                      <a:lnTo>
                        <a:pt x="1198860" y="360402"/>
                      </a:lnTo>
                      <a:lnTo>
                        <a:pt x="1200779" y="360342"/>
                      </a:lnTo>
                      <a:lnTo>
                        <a:pt x="1202952" y="360839"/>
                      </a:lnTo>
                      <a:lnTo>
                        <a:pt x="1206692" y="364871"/>
                      </a:lnTo>
                      <a:lnTo>
                        <a:pt x="1210092" y="369570"/>
                      </a:lnTo>
                      <a:lnTo>
                        <a:pt x="1210408" y="369886"/>
                      </a:lnTo>
                      <a:lnTo>
                        <a:pt x="1211574" y="369764"/>
                      </a:lnTo>
                      <a:lnTo>
                        <a:pt x="1212715" y="369437"/>
                      </a:lnTo>
                      <a:lnTo>
                        <a:pt x="1216297" y="367032"/>
                      </a:lnTo>
                      <a:lnTo>
                        <a:pt x="1212278" y="365308"/>
                      </a:lnTo>
                      <a:lnTo>
                        <a:pt x="1210080" y="363681"/>
                      </a:lnTo>
                      <a:lnTo>
                        <a:pt x="1208465" y="361362"/>
                      </a:lnTo>
                      <a:lnTo>
                        <a:pt x="1206632" y="354622"/>
                      </a:lnTo>
                      <a:lnTo>
                        <a:pt x="1206510" y="352874"/>
                      </a:lnTo>
                      <a:lnTo>
                        <a:pt x="1207275" y="350712"/>
                      </a:lnTo>
                      <a:lnTo>
                        <a:pt x="1209133" y="349729"/>
                      </a:lnTo>
                      <a:lnTo>
                        <a:pt x="1209789" y="349571"/>
                      </a:lnTo>
                      <a:lnTo>
                        <a:pt x="1211246" y="349522"/>
                      </a:lnTo>
                      <a:lnTo>
                        <a:pt x="1213019" y="349911"/>
                      </a:lnTo>
                      <a:lnTo>
                        <a:pt x="1216686" y="351562"/>
                      </a:lnTo>
                      <a:lnTo>
                        <a:pt x="1221956" y="352315"/>
                      </a:lnTo>
                      <a:lnTo>
                        <a:pt x="1223146" y="352218"/>
                      </a:lnTo>
                      <a:lnTo>
                        <a:pt x="1224372" y="351999"/>
                      </a:lnTo>
                      <a:lnTo>
                        <a:pt x="1224688" y="351890"/>
                      </a:lnTo>
                      <a:lnTo>
                        <a:pt x="1224627" y="351125"/>
                      </a:lnTo>
                      <a:lnTo>
                        <a:pt x="1224300" y="349741"/>
                      </a:lnTo>
                      <a:lnTo>
                        <a:pt x="1224069" y="347312"/>
                      </a:lnTo>
                      <a:lnTo>
                        <a:pt x="1224834" y="344653"/>
                      </a:lnTo>
                      <a:lnTo>
                        <a:pt x="1227323" y="343099"/>
                      </a:lnTo>
                      <a:lnTo>
                        <a:pt x="1228817" y="342662"/>
                      </a:lnTo>
                      <a:lnTo>
                        <a:pt x="1231707" y="342771"/>
                      </a:lnTo>
                      <a:lnTo>
                        <a:pt x="1232375" y="342844"/>
                      </a:lnTo>
                      <a:lnTo>
                        <a:pt x="1234099" y="343936"/>
                      </a:lnTo>
                      <a:lnTo>
                        <a:pt x="1236200" y="346462"/>
                      </a:lnTo>
                      <a:lnTo>
                        <a:pt x="1238179" y="351101"/>
                      </a:lnTo>
                      <a:lnTo>
                        <a:pt x="1238993" y="352728"/>
                      </a:lnTo>
                      <a:lnTo>
                        <a:pt x="1239940" y="354112"/>
                      </a:lnTo>
                      <a:lnTo>
                        <a:pt x="1244238" y="358192"/>
                      </a:lnTo>
                      <a:lnTo>
                        <a:pt x="1245465" y="358897"/>
                      </a:lnTo>
                      <a:lnTo>
                        <a:pt x="1246533" y="358702"/>
                      </a:lnTo>
                      <a:lnTo>
                        <a:pt x="1249533" y="357634"/>
                      </a:lnTo>
                      <a:lnTo>
                        <a:pt x="1251828" y="357124"/>
                      </a:lnTo>
                      <a:lnTo>
                        <a:pt x="1256503" y="356990"/>
                      </a:lnTo>
                      <a:lnTo>
                        <a:pt x="1257207" y="356820"/>
                      </a:lnTo>
                      <a:lnTo>
                        <a:pt x="1256187" y="355824"/>
                      </a:lnTo>
                      <a:lnTo>
                        <a:pt x="1248282" y="350797"/>
                      </a:lnTo>
                      <a:lnTo>
                        <a:pt x="1247250" y="349972"/>
                      </a:lnTo>
                      <a:lnTo>
                        <a:pt x="1246655" y="349000"/>
                      </a:lnTo>
                      <a:lnTo>
                        <a:pt x="1245683" y="346353"/>
                      </a:lnTo>
                      <a:lnTo>
                        <a:pt x="1245878" y="345151"/>
                      </a:lnTo>
                      <a:lnTo>
                        <a:pt x="1246971" y="343730"/>
                      </a:lnTo>
                      <a:lnTo>
                        <a:pt x="1248355" y="342819"/>
                      </a:lnTo>
                      <a:lnTo>
                        <a:pt x="1249508" y="342358"/>
                      </a:lnTo>
                      <a:lnTo>
                        <a:pt x="1252058" y="341848"/>
                      </a:lnTo>
                      <a:lnTo>
                        <a:pt x="1266436" y="341374"/>
                      </a:lnTo>
                      <a:lnTo>
                        <a:pt x="1267565" y="341119"/>
                      </a:lnTo>
                      <a:lnTo>
                        <a:pt x="1268439" y="340658"/>
                      </a:lnTo>
                      <a:lnTo>
                        <a:pt x="1268779" y="340160"/>
                      </a:lnTo>
                      <a:lnTo>
                        <a:pt x="1268949" y="339650"/>
                      </a:lnTo>
                      <a:lnTo>
                        <a:pt x="1269848" y="335570"/>
                      </a:lnTo>
                      <a:lnTo>
                        <a:pt x="1270321" y="334392"/>
                      </a:lnTo>
                      <a:lnTo>
                        <a:pt x="1271390" y="332716"/>
                      </a:lnTo>
                      <a:lnTo>
                        <a:pt x="1272653" y="331526"/>
                      </a:lnTo>
                      <a:lnTo>
                        <a:pt x="1273952" y="330810"/>
                      </a:lnTo>
                      <a:lnTo>
                        <a:pt x="1275130" y="330348"/>
                      </a:lnTo>
                      <a:lnTo>
                        <a:pt x="1276624" y="329863"/>
                      </a:lnTo>
                      <a:lnTo>
                        <a:pt x="1278821" y="329511"/>
                      </a:lnTo>
                      <a:lnTo>
                        <a:pt x="1280558" y="329511"/>
                      </a:lnTo>
                      <a:lnTo>
                        <a:pt x="1282877" y="329960"/>
                      </a:lnTo>
                      <a:lnTo>
                        <a:pt x="1284128" y="330506"/>
                      </a:lnTo>
                      <a:lnTo>
                        <a:pt x="1286884" y="332607"/>
                      </a:lnTo>
                      <a:lnTo>
                        <a:pt x="1288099" y="335388"/>
                      </a:lnTo>
                      <a:lnTo>
                        <a:pt x="1287953" y="338715"/>
                      </a:lnTo>
                      <a:lnTo>
                        <a:pt x="1282246" y="352303"/>
                      </a:lnTo>
                      <a:lnTo>
                        <a:pt x="1281942" y="353639"/>
                      </a:lnTo>
                      <a:lnTo>
                        <a:pt x="1281396" y="359540"/>
                      </a:lnTo>
                      <a:lnTo>
                        <a:pt x="1280776" y="360597"/>
                      </a:lnTo>
                      <a:lnTo>
                        <a:pt x="1279866" y="361750"/>
                      </a:lnTo>
                      <a:lnTo>
                        <a:pt x="1276526" y="364422"/>
                      </a:lnTo>
                      <a:lnTo>
                        <a:pt x="1276016" y="365041"/>
                      </a:lnTo>
                      <a:lnTo>
                        <a:pt x="1275494" y="365818"/>
                      </a:lnTo>
                      <a:lnTo>
                        <a:pt x="1275312" y="368307"/>
                      </a:lnTo>
                      <a:lnTo>
                        <a:pt x="1275045" y="370020"/>
                      </a:lnTo>
                      <a:lnTo>
                        <a:pt x="1274061" y="372400"/>
                      </a:lnTo>
                      <a:lnTo>
                        <a:pt x="1273321" y="373760"/>
                      </a:lnTo>
                      <a:lnTo>
                        <a:pt x="1271803" y="375763"/>
                      </a:lnTo>
                      <a:lnTo>
                        <a:pt x="1269908" y="377682"/>
                      </a:lnTo>
                      <a:lnTo>
                        <a:pt x="1269726" y="378325"/>
                      </a:lnTo>
                      <a:lnTo>
                        <a:pt x="1270018" y="378653"/>
                      </a:lnTo>
                      <a:lnTo>
                        <a:pt x="1271256" y="379030"/>
                      </a:lnTo>
                      <a:lnTo>
                        <a:pt x="1275130" y="379236"/>
                      </a:lnTo>
                      <a:lnTo>
                        <a:pt x="1279999" y="379066"/>
                      </a:lnTo>
                      <a:lnTo>
                        <a:pt x="1280946" y="378896"/>
                      </a:lnTo>
                      <a:lnTo>
                        <a:pt x="1290479" y="376273"/>
                      </a:lnTo>
                      <a:lnTo>
                        <a:pt x="1292798" y="376224"/>
                      </a:lnTo>
                      <a:lnTo>
                        <a:pt x="1295044" y="376904"/>
                      </a:lnTo>
                      <a:lnTo>
                        <a:pt x="1297534" y="378884"/>
                      </a:lnTo>
                      <a:lnTo>
                        <a:pt x="1299707" y="381774"/>
                      </a:lnTo>
                      <a:lnTo>
                        <a:pt x="1300472" y="382138"/>
                      </a:lnTo>
                      <a:lnTo>
                        <a:pt x="1301856" y="382539"/>
                      </a:lnTo>
                      <a:lnTo>
                        <a:pt x="1303884" y="382308"/>
                      </a:lnTo>
                      <a:lnTo>
                        <a:pt x="1305475" y="381871"/>
                      </a:lnTo>
                      <a:lnTo>
                        <a:pt x="1310405" y="379892"/>
                      </a:lnTo>
                      <a:lnTo>
                        <a:pt x="1312700" y="379625"/>
                      </a:lnTo>
                      <a:lnTo>
                        <a:pt x="1315323" y="380742"/>
                      </a:lnTo>
                      <a:lnTo>
                        <a:pt x="1318784" y="382855"/>
                      </a:lnTo>
                      <a:lnTo>
                        <a:pt x="1326264" y="389472"/>
                      </a:lnTo>
                      <a:lnTo>
                        <a:pt x="1328838" y="390578"/>
                      </a:lnTo>
                      <a:lnTo>
                        <a:pt x="1332335" y="386267"/>
                      </a:lnTo>
                      <a:lnTo>
                        <a:pt x="1333805" y="384773"/>
                      </a:lnTo>
                      <a:lnTo>
                        <a:pt x="1335578" y="383632"/>
                      </a:lnTo>
                      <a:lnTo>
                        <a:pt x="1338577" y="382855"/>
                      </a:lnTo>
                      <a:lnTo>
                        <a:pt x="1342778" y="382648"/>
                      </a:lnTo>
                      <a:lnTo>
                        <a:pt x="1343082" y="381762"/>
                      </a:lnTo>
                      <a:lnTo>
                        <a:pt x="1342742" y="380547"/>
                      </a:lnTo>
                      <a:lnTo>
                        <a:pt x="1341868" y="378556"/>
                      </a:lnTo>
                      <a:lnTo>
                        <a:pt x="1341358" y="377767"/>
                      </a:lnTo>
                      <a:lnTo>
                        <a:pt x="1340847" y="375957"/>
                      </a:lnTo>
                      <a:lnTo>
                        <a:pt x="1341103" y="373480"/>
                      </a:lnTo>
                      <a:lnTo>
                        <a:pt x="1341661" y="371416"/>
                      </a:lnTo>
                      <a:lnTo>
                        <a:pt x="1342487" y="369667"/>
                      </a:lnTo>
                      <a:lnTo>
                        <a:pt x="1347878" y="364045"/>
                      </a:lnTo>
                      <a:lnTo>
                        <a:pt x="1350683" y="360463"/>
                      </a:lnTo>
                      <a:lnTo>
                        <a:pt x="1352942" y="356675"/>
                      </a:lnTo>
                      <a:lnTo>
                        <a:pt x="1353306" y="355448"/>
                      </a:lnTo>
                      <a:lnTo>
                        <a:pt x="1353476" y="354513"/>
                      </a:lnTo>
                      <a:lnTo>
                        <a:pt x="1353610" y="352776"/>
                      </a:lnTo>
                      <a:lnTo>
                        <a:pt x="1353537" y="351040"/>
                      </a:lnTo>
                      <a:lnTo>
                        <a:pt x="1352128" y="344738"/>
                      </a:lnTo>
                      <a:lnTo>
                        <a:pt x="1353063" y="341253"/>
                      </a:lnTo>
                      <a:lnTo>
                        <a:pt x="1356111" y="339067"/>
                      </a:lnTo>
                      <a:lnTo>
                        <a:pt x="1359827" y="339395"/>
                      </a:lnTo>
                      <a:lnTo>
                        <a:pt x="1362717" y="340281"/>
                      </a:lnTo>
                      <a:lnTo>
                        <a:pt x="1364089" y="340124"/>
                      </a:lnTo>
                      <a:lnTo>
                        <a:pt x="1366008" y="339261"/>
                      </a:lnTo>
                      <a:lnTo>
                        <a:pt x="1369432" y="338594"/>
                      </a:lnTo>
                      <a:lnTo>
                        <a:pt x="1373111" y="339541"/>
                      </a:lnTo>
                      <a:lnTo>
                        <a:pt x="1375843" y="340609"/>
                      </a:lnTo>
                      <a:lnTo>
                        <a:pt x="1379826" y="341775"/>
                      </a:lnTo>
                      <a:lnTo>
                        <a:pt x="1382376" y="343123"/>
                      </a:lnTo>
                      <a:lnTo>
                        <a:pt x="1383190" y="344289"/>
                      </a:lnTo>
                      <a:lnTo>
                        <a:pt x="1383919" y="345904"/>
                      </a:lnTo>
                      <a:lnTo>
                        <a:pt x="1384016" y="346535"/>
                      </a:lnTo>
                      <a:lnTo>
                        <a:pt x="1383967" y="348004"/>
                      </a:lnTo>
                      <a:lnTo>
                        <a:pt x="1382947" y="351307"/>
                      </a:lnTo>
                      <a:lnTo>
                        <a:pt x="1383676" y="351732"/>
                      </a:lnTo>
                      <a:lnTo>
                        <a:pt x="1385449" y="352072"/>
                      </a:lnTo>
                      <a:lnTo>
                        <a:pt x="1389954" y="352218"/>
                      </a:lnTo>
                      <a:lnTo>
                        <a:pt x="1394519" y="351587"/>
                      </a:lnTo>
                      <a:lnTo>
                        <a:pt x="1396049" y="350882"/>
                      </a:lnTo>
                      <a:lnTo>
                        <a:pt x="1396171" y="350542"/>
                      </a:lnTo>
                      <a:lnTo>
                        <a:pt x="1395722" y="350008"/>
                      </a:lnTo>
                      <a:lnTo>
                        <a:pt x="1391071" y="347422"/>
                      </a:lnTo>
                      <a:lnTo>
                        <a:pt x="1389395" y="345892"/>
                      </a:lnTo>
                      <a:lnTo>
                        <a:pt x="1386699" y="342091"/>
                      </a:lnTo>
                      <a:lnTo>
                        <a:pt x="1393232" y="338496"/>
                      </a:lnTo>
                      <a:lnTo>
                        <a:pt x="1413268" y="332607"/>
                      </a:lnTo>
                      <a:lnTo>
                        <a:pt x="1419012" y="340707"/>
                      </a:lnTo>
                      <a:lnTo>
                        <a:pt x="1419983" y="347009"/>
                      </a:lnTo>
                      <a:lnTo>
                        <a:pt x="1420530" y="347883"/>
                      </a:lnTo>
                      <a:lnTo>
                        <a:pt x="1421841" y="349462"/>
                      </a:lnTo>
                      <a:lnTo>
                        <a:pt x="1423092" y="351902"/>
                      </a:lnTo>
                      <a:lnTo>
                        <a:pt x="1423383" y="354343"/>
                      </a:lnTo>
                      <a:lnTo>
                        <a:pt x="1421890" y="356832"/>
                      </a:lnTo>
                      <a:lnTo>
                        <a:pt x="1422035" y="357075"/>
                      </a:lnTo>
                      <a:lnTo>
                        <a:pt x="1422861" y="357646"/>
                      </a:lnTo>
                      <a:lnTo>
                        <a:pt x="1424525" y="357852"/>
                      </a:lnTo>
                      <a:lnTo>
                        <a:pt x="1428775" y="358180"/>
                      </a:lnTo>
                      <a:lnTo>
                        <a:pt x="1436850" y="360208"/>
                      </a:lnTo>
                      <a:lnTo>
                        <a:pt x="1445034" y="359953"/>
                      </a:lnTo>
                      <a:lnTo>
                        <a:pt x="1447887" y="361993"/>
                      </a:lnTo>
                      <a:lnTo>
                        <a:pt x="1449138" y="365090"/>
                      </a:lnTo>
                      <a:lnTo>
                        <a:pt x="1449624" y="367737"/>
                      </a:lnTo>
                      <a:lnTo>
                        <a:pt x="1450875" y="368611"/>
                      </a:lnTo>
                      <a:lnTo>
                        <a:pt x="1453255" y="368987"/>
                      </a:lnTo>
                      <a:lnTo>
                        <a:pt x="1454967" y="368878"/>
                      </a:lnTo>
                      <a:lnTo>
                        <a:pt x="1456254" y="368344"/>
                      </a:lnTo>
                      <a:lnTo>
                        <a:pt x="1458646" y="366972"/>
                      </a:lnTo>
                      <a:lnTo>
                        <a:pt x="1460370" y="366304"/>
                      </a:lnTo>
                      <a:lnTo>
                        <a:pt x="1462508" y="365939"/>
                      </a:lnTo>
                      <a:lnTo>
                        <a:pt x="1464535" y="365855"/>
                      </a:lnTo>
                      <a:lnTo>
                        <a:pt x="1467875" y="366498"/>
                      </a:lnTo>
                      <a:lnTo>
                        <a:pt x="1470765" y="367967"/>
                      </a:lnTo>
                      <a:lnTo>
                        <a:pt x="1473861" y="371367"/>
                      </a:lnTo>
                      <a:lnTo>
                        <a:pt x="1475525" y="374901"/>
                      </a:lnTo>
                      <a:lnTo>
                        <a:pt x="1478196" y="378908"/>
                      </a:lnTo>
                      <a:lnTo>
                        <a:pt x="1478500" y="381495"/>
                      </a:lnTo>
                      <a:lnTo>
                        <a:pt x="1478208" y="384105"/>
                      </a:lnTo>
                      <a:lnTo>
                        <a:pt x="1477079" y="386595"/>
                      </a:lnTo>
                      <a:lnTo>
                        <a:pt x="1476812" y="387457"/>
                      </a:lnTo>
                      <a:lnTo>
                        <a:pt x="1477164" y="387663"/>
                      </a:lnTo>
                      <a:lnTo>
                        <a:pt x="1477711" y="388367"/>
                      </a:lnTo>
                      <a:lnTo>
                        <a:pt x="1478925" y="389691"/>
                      </a:lnTo>
                      <a:lnTo>
                        <a:pt x="1492428" y="399308"/>
                      </a:lnTo>
                      <a:lnTo>
                        <a:pt x="1494456" y="400255"/>
                      </a:lnTo>
                      <a:lnTo>
                        <a:pt x="1496034" y="400668"/>
                      </a:lnTo>
                      <a:lnTo>
                        <a:pt x="1499191" y="400972"/>
                      </a:lnTo>
                      <a:lnTo>
                        <a:pt x="1503332" y="400850"/>
                      </a:lnTo>
                      <a:lnTo>
                        <a:pt x="1505445" y="401057"/>
                      </a:lnTo>
                      <a:lnTo>
                        <a:pt x="1510812" y="403340"/>
                      </a:lnTo>
                      <a:lnTo>
                        <a:pt x="1520551" y="410856"/>
                      </a:lnTo>
                      <a:lnTo>
                        <a:pt x="1522178" y="411342"/>
                      </a:lnTo>
                      <a:lnTo>
                        <a:pt x="1523405" y="411378"/>
                      </a:lnTo>
                      <a:lnTo>
                        <a:pt x="1525396" y="410601"/>
                      </a:lnTo>
                      <a:lnTo>
                        <a:pt x="1526586" y="409970"/>
                      </a:lnTo>
                      <a:lnTo>
                        <a:pt x="1534175" y="404457"/>
                      </a:lnTo>
                      <a:lnTo>
                        <a:pt x="1536410" y="403643"/>
                      </a:lnTo>
                      <a:lnTo>
                        <a:pt x="1537842" y="403886"/>
                      </a:lnTo>
                      <a:lnTo>
                        <a:pt x="1539008" y="404348"/>
                      </a:lnTo>
                      <a:lnTo>
                        <a:pt x="1539627" y="404760"/>
                      </a:lnTo>
                      <a:lnTo>
                        <a:pt x="1540684" y="405878"/>
                      </a:lnTo>
                      <a:lnTo>
                        <a:pt x="1541364" y="407116"/>
                      </a:lnTo>
                      <a:lnTo>
                        <a:pt x="1542190" y="409606"/>
                      </a:lnTo>
                      <a:lnTo>
                        <a:pt x="1542542" y="414511"/>
                      </a:lnTo>
                      <a:lnTo>
                        <a:pt x="1541728" y="417875"/>
                      </a:lnTo>
                      <a:lnTo>
                        <a:pt x="1540975" y="419903"/>
                      </a:lnTo>
                      <a:lnTo>
                        <a:pt x="1540405" y="421081"/>
                      </a:lnTo>
                      <a:lnTo>
                        <a:pt x="1540975" y="421494"/>
                      </a:lnTo>
                      <a:lnTo>
                        <a:pt x="1541922" y="420316"/>
                      </a:lnTo>
                      <a:lnTo>
                        <a:pt x="1543173" y="417875"/>
                      </a:lnTo>
                      <a:lnTo>
                        <a:pt x="1543914" y="416806"/>
                      </a:lnTo>
                      <a:lnTo>
                        <a:pt x="1546075" y="414366"/>
                      </a:lnTo>
                      <a:lnTo>
                        <a:pt x="1549208" y="414766"/>
                      </a:lnTo>
                      <a:lnTo>
                        <a:pt x="1550908" y="416272"/>
                      </a:lnTo>
                      <a:lnTo>
                        <a:pt x="1551892" y="418106"/>
                      </a:lnTo>
                      <a:lnTo>
                        <a:pt x="1552025" y="422611"/>
                      </a:lnTo>
                      <a:lnTo>
                        <a:pt x="1551382" y="431584"/>
                      </a:lnTo>
                      <a:lnTo>
                        <a:pt x="1551503" y="431863"/>
                      </a:lnTo>
                      <a:lnTo>
                        <a:pt x="1554308" y="430941"/>
                      </a:lnTo>
                      <a:lnTo>
                        <a:pt x="1555632" y="430977"/>
                      </a:lnTo>
                      <a:lnTo>
                        <a:pt x="1558145" y="431742"/>
                      </a:lnTo>
                      <a:lnTo>
                        <a:pt x="1561060" y="433223"/>
                      </a:lnTo>
                      <a:lnTo>
                        <a:pt x="1562298" y="435810"/>
                      </a:lnTo>
                      <a:lnTo>
                        <a:pt x="1563245" y="440291"/>
                      </a:lnTo>
                      <a:lnTo>
                        <a:pt x="1560489" y="445949"/>
                      </a:lnTo>
                      <a:lnTo>
                        <a:pt x="1565577" y="445451"/>
                      </a:lnTo>
                      <a:lnTo>
                        <a:pt x="1573421" y="446362"/>
                      </a:lnTo>
                      <a:lnTo>
                        <a:pt x="1574077" y="446107"/>
                      </a:lnTo>
                      <a:lnTo>
                        <a:pt x="1575728" y="444626"/>
                      </a:lnTo>
                      <a:lnTo>
                        <a:pt x="1576166" y="443193"/>
                      </a:lnTo>
                      <a:lnTo>
                        <a:pt x="1576093" y="442234"/>
                      </a:lnTo>
                      <a:lnTo>
                        <a:pt x="1575473" y="439708"/>
                      </a:lnTo>
                      <a:lnTo>
                        <a:pt x="1575316" y="437486"/>
                      </a:lnTo>
                      <a:lnTo>
                        <a:pt x="1575303" y="435482"/>
                      </a:lnTo>
                      <a:lnTo>
                        <a:pt x="1575558" y="433357"/>
                      </a:lnTo>
                      <a:lnTo>
                        <a:pt x="1576627" y="429593"/>
                      </a:lnTo>
                      <a:lnTo>
                        <a:pt x="1581083" y="428634"/>
                      </a:lnTo>
                      <a:lnTo>
                        <a:pt x="1583816" y="428451"/>
                      </a:lnTo>
                      <a:lnTo>
                        <a:pt x="1602844" y="434608"/>
                      </a:lnTo>
                      <a:lnTo>
                        <a:pt x="1610821" y="435288"/>
                      </a:lnTo>
                      <a:lnTo>
                        <a:pt x="1613359" y="435045"/>
                      </a:lnTo>
                      <a:lnTo>
                        <a:pt x="1615205" y="434535"/>
                      </a:lnTo>
                      <a:lnTo>
                        <a:pt x="1627530" y="429131"/>
                      </a:lnTo>
                      <a:lnTo>
                        <a:pt x="1629740" y="428609"/>
                      </a:lnTo>
                      <a:lnTo>
                        <a:pt x="1632582" y="428536"/>
                      </a:lnTo>
                      <a:lnTo>
                        <a:pt x="1635411" y="430273"/>
                      </a:lnTo>
                      <a:lnTo>
                        <a:pt x="1636552" y="433272"/>
                      </a:lnTo>
                      <a:lnTo>
                        <a:pt x="1636103" y="438299"/>
                      </a:lnTo>
                      <a:lnTo>
                        <a:pt x="1636200" y="438408"/>
                      </a:lnTo>
                      <a:lnTo>
                        <a:pt x="1636929" y="438591"/>
                      </a:lnTo>
                      <a:lnTo>
                        <a:pt x="1642527" y="438834"/>
                      </a:lnTo>
                      <a:lnTo>
                        <a:pt x="1645332" y="439465"/>
                      </a:lnTo>
                      <a:lnTo>
                        <a:pt x="1647214" y="441469"/>
                      </a:lnTo>
                      <a:lnTo>
                        <a:pt x="1648647" y="444334"/>
                      </a:lnTo>
                      <a:lnTo>
                        <a:pt x="1649910" y="449471"/>
                      </a:lnTo>
                      <a:lnTo>
                        <a:pt x="1650747" y="451183"/>
                      </a:lnTo>
                      <a:lnTo>
                        <a:pt x="1651780" y="452664"/>
                      </a:lnTo>
                      <a:lnTo>
                        <a:pt x="1654208" y="454656"/>
                      </a:lnTo>
                      <a:lnTo>
                        <a:pt x="1655447" y="457339"/>
                      </a:lnTo>
                      <a:lnTo>
                        <a:pt x="1655216" y="460521"/>
                      </a:lnTo>
                      <a:lnTo>
                        <a:pt x="1652678" y="464795"/>
                      </a:lnTo>
                      <a:lnTo>
                        <a:pt x="1649776" y="466289"/>
                      </a:lnTo>
                      <a:lnTo>
                        <a:pt x="1645392" y="466920"/>
                      </a:lnTo>
                      <a:lnTo>
                        <a:pt x="1640681" y="465293"/>
                      </a:lnTo>
                      <a:lnTo>
                        <a:pt x="1639892" y="465839"/>
                      </a:lnTo>
                      <a:lnTo>
                        <a:pt x="1639673" y="466264"/>
                      </a:lnTo>
                      <a:lnTo>
                        <a:pt x="1639600" y="467454"/>
                      </a:lnTo>
                      <a:lnTo>
                        <a:pt x="1639867" y="469992"/>
                      </a:lnTo>
                      <a:lnTo>
                        <a:pt x="1641191" y="473344"/>
                      </a:lnTo>
                      <a:lnTo>
                        <a:pt x="1641264" y="478541"/>
                      </a:lnTo>
                      <a:lnTo>
                        <a:pt x="1639370" y="488182"/>
                      </a:lnTo>
                      <a:lnTo>
                        <a:pt x="1639370" y="490198"/>
                      </a:lnTo>
                      <a:lnTo>
                        <a:pt x="1639467" y="490307"/>
                      </a:lnTo>
                      <a:lnTo>
                        <a:pt x="1642794" y="491740"/>
                      </a:lnTo>
                      <a:lnTo>
                        <a:pt x="1644482" y="493950"/>
                      </a:lnTo>
                      <a:lnTo>
                        <a:pt x="1645696" y="497605"/>
                      </a:lnTo>
                      <a:lnTo>
                        <a:pt x="1645392" y="509639"/>
                      </a:lnTo>
                      <a:lnTo>
                        <a:pt x="1644797" y="512675"/>
                      </a:lnTo>
                      <a:lnTo>
                        <a:pt x="1643862" y="515565"/>
                      </a:lnTo>
                      <a:lnTo>
                        <a:pt x="1640572" y="521430"/>
                      </a:lnTo>
                      <a:lnTo>
                        <a:pt x="1639297" y="533828"/>
                      </a:lnTo>
                      <a:lnTo>
                        <a:pt x="1636589" y="537094"/>
                      </a:lnTo>
                      <a:lnTo>
                        <a:pt x="1632849" y="539511"/>
                      </a:lnTo>
                      <a:lnTo>
                        <a:pt x="1628769" y="539839"/>
                      </a:lnTo>
                      <a:lnTo>
                        <a:pt x="1629169" y="540907"/>
                      </a:lnTo>
                      <a:lnTo>
                        <a:pt x="1630311" y="542510"/>
                      </a:lnTo>
                      <a:lnTo>
                        <a:pt x="1632497" y="544878"/>
                      </a:lnTo>
                      <a:lnTo>
                        <a:pt x="1635460" y="547161"/>
                      </a:lnTo>
                      <a:lnTo>
                        <a:pt x="1637597" y="548569"/>
                      </a:lnTo>
                      <a:lnTo>
                        <a:pt x="1639248" y="550282"/>
                      </a:lnTo>
                      <a:lnTo>
                        <a:pt x="1640353" y="552795"/>
                      </a:lnTo>
                      <a:lnTo>
                        <a:pt x="1640511" y="556462"/>
                      </a:lnTo>
                      <a:lnTo>
                        <a:pt x="1639515" y="560239"/>
                      </a:lnTo>
                      <a:lnTo>
                        <a:pt x="1640742" y="560809"/>
                      </a:lnTo>
                      <a:lnTo>
                        <a:pt x="1645283" y="564634"/>
                      </a:lnTo>
                      <a:lnTo>
                        <a:pt x="1652885" y="575466"/>
                      </a:lnTo>
                      <a:lnTo>
                        <a:pt x="1649472" y="579959"/>
                      </a:lnTo>
                      <a:lnTo>
                        <a:pt x="1649472" y="580262"/>
                      </a:lnTo>
                      <a:lnTo>
                        <a:pt x="1649023" y="582994"/>
                      </a:lnTo>
                      <a:lnTo>
                        <a:pt x="1649011" y="585071"/>
                      </a:lnTo>
                      <a:lnTo>
                        <a:pt x="1647614" y="588981"/>
                      </a:lnTo>
                      <a:lnTo>
                        <a:pt x="1645101" y="591422"/>
                      </a:lnTo>
                      <a:lnTo>
                        <a:pt x="1638434" y="594895"/>
                      </a:lnTo>
                      <a:lnTo>
                        <a:pt x="1634852" y="596158"/>
                      </a:lnTo>
                      <a:lnTo>
                        <a:pt x="1629024" y="596971"/>
                      </a:lnTo>
                      <a:lnTo>
                        <a:pt x="1625842" y="598610"/>
                      </a:lnTo>
                      <a:lnTo>
                        <a:pt x="1625029" y="599521"/>
                      </a:lnTo>
                      <a:lnTo>
                        <a:pt x="1624506" y="601585"/>
                      </a:lnTo>
                      <a:lnTo>
                        <a:pt x="1624555" y="603638"/>
                      </a:lnTo>
                      <a:lnTo>
                        <a:pt x="1623790" y="607414"/>
                      </a:lnTo>
                      <a:lnTo>
                        <a:pt x="1621702" y="609588"/>
                      </a:lnTo>
                      <a:lnTo>
                        <a:pt x="1615181" y="613352"/>
                      </a:lnTo>
                      <a:lnTo>
                        <a:pt x="1606559" y="616825"/>
                      </a:lnTo>
                      <a:lnTo>
                        <a:pt x="1604398" y="618476"/>
                      </a:lnTo>
                      <a:lnTo>
                        <a:pt x="1603560" y="619958"/>
                      </a:lnTo>
                      <a:lnTo>
                        <a:pt x="1603208" y="620468"/>
                      </a:lnTo>
                      <a:lnTo>
                        <a:pt x="1599662" y="622666"/>
                      </a:lnTo>
                      <a:lnTo>
                        <a:pt x="1592753" y="623333"/>
                      </a:lnTo>
                      <a:lnTo>
                        <a:pt x="1576433" y="621196"/>
                      </a:lnTo>
                      <a:lnTo>
                        <a:pt x="1548079" y="620735"/>
                      </a:lnTo>
                      <a:lnTo>
                        <a:pt x="1543999" y="620128"/>
                      </a:lnTo>
                      <a:lnTo>
                        <a:pt x="1536167" y="617638"/>
                      </a:lnTo>
                      <a:lnTo>
                        <a:pt x="1519191" y="618148"/>
                      </a:lnTo>
                      <a:lnTo>
                        <a:pt x="1512500" y="617541"/>
                      </a:lnTo>
                      <a:lnTo>
                        <a:pt x="1503077" y="612053"/>
                      </a:lnTo>
                      <a:lnTo>
                        <a:pt x="1498742" y="610425"/>
                      </a:lnTo>
                      <a:lnTo>
                        <a:pt x="1486878" y="609794"/>
                      </a:lnTo>
                      <a:lnTo>
                        <a:pt x="1483005" y="611336"/>
                      </a:lnTo>
                      <a:lnTo>
                        <a:pt x="1474359" y="616424"/>
                      </a:lnTo>
                      <a:lnTo>
                        <a:pt x="1469308" y="618561"/>
                      </a:lnTo>
                      <a:lnTo>
                        <a:pt x="1463078" y="618889"/>
                      </a:lnTo>
                      <a:lnTo>
                        <a:pt x="1456570" y="617408"/>
                      </a:lnTo>
                      <a:lnTo>
                        <a:pt x="1449272" y="612332"/>
                      </a:lnTo>
                      <a:lnTo>
                        <a:pt x="1440675" y="602848"/>
                      </a:lnTo>
                      <a:lnTo>
                        <a:pt x="1438234" y="600966"/>
                      </a:lnTo>
                      <a:lnTo>
                        <a:pt x="1432745" y="600942"/>
                      </a:lnTo>
                      <a:lnTo>
                        <a:pt x="1432005" y="601585"/>
                      </a:lnTo>
                      <a:lnTo>
                        <a:pt x="1432296" y="601877"/>
                      </a:lnTo>
                      <a:lnTo>
                        <a:pt x="1432757" y="606467"/>
                      </a:lnTo>
                      <a:lnTo>
                        <a:pt x="1431337" y="608592"/>
                      </a:lnTo>
                      <a:lnTo>
                        <a:pt x="1431482" y="609090"/>
                      </a:lnTo>
                      <a:lnTo>
                        <a:pt x="1433705" y="611713"/>
                      </a:lnTo>
                      <a:lnTo>
                        <a:pt x="1438902" y="624001"/>
                      </a:lnTo>
                      <a:lnTo>
                        <a:pt x="1441622" y="628069"/>
                      </a:lnTo>
                      <a:lnTo>
                        <a:pt x="1442945" y="632623"/>
                      </a:lnTo>
                      <a:lnTo>
                        <a:pt x="1443115" y="637286"/>
                      </a:lnTo>
                      <a:lnTo>
                        <a:pt x="1441513" y="640467"/>
                      </a:lnTo>
                      <a:lnTo>
                        <a:pt x="1439387" y="642969"/>
                      </a:lnTo>
                      <a:lnTo>
                        <a:pt x="1436789" y="646648"/>
                      </a:lnTo>
                      <a:lnTo>
                        <a:pt x="1434433" y="648494"/>
                      </a:lnTo>
                      <a:lnTo>
                        <a:pt x="1430547" y="649999"/>
                      </a:lnTo>
                      <a:lnTo>
                        <a:pt x="1430353" y="650254"/>
                      </a:lnTo>
                      <a:lnTo>
                        <a:pt x="1429649" y="656447"/>
                      </a:lnTo>
                      <a:lnTo>
                        <a:pt x="1428240" y="659908"/>
                      </a:lnTo>
                      <a:lnTo>
                        <a:pt x="1426382" y="662142"/>
                      </a:lnTo>
                      <a:lnTo>
                        <a:pt x="1425593" y="662761"/>
                      </a:lnTo>
                      <a:lnTo>
                        <a:pt x="1425860" y="663672"/>
                      </a:lnTo>
                      <a:lnTo>
                        <a:pt x="1426868" y="665882"/>
                      </a:lnTo>
                      <a:lnTo>
                        <a:pt x="1429115" y="669562"/>
                      </a:lnTo>
                      <a:lnTo>
                        <a:pt x="1430511" y="673217"/>
                      </a:lnTo>
                      <a:lnTo>
                        <a:pt x="1431203" y="674249"/>
                      </a:lnTo>
                      <a:lnTo>
                        <a:pt x="1432126" y="674613"/>
                      </a:lnTo>
                      <a:lnTo>
                        <a:pt x="1433583" y="674018"/>
                      </a:lnTo>
                      <a:lnTo>
                        <a:pt x="1438112" y="670497"/>
                      </a:lnTo>
                      <a:lnTo>
                        <a:pt x="1444050" y="667910"/>
                      </a:lnTo>
                      <a:lnTo>
                        <a:pt x="1446953" y="664947"/>
                      </a:lnTo>
                      <a:lnTo>
                        <a:pt x="1450037" y="662919"/>
                      </a:lnTo>
                      <a:lnTo>
                        <a:pt x="1454238" y="662604"/>
                      </a:lnTo>
                      <a:lnTo>
                        <a:pt x="1458549" y="664255"/>
                      </a:lnTo>
                      <a:lnTo>
                        <a:pt x="1462326" y="665239"/>
                      </a:lnTo>
                      <a:lnTo>
                        <a:pt x="1473509" y="669974"/>
                      </a:lnTo>
                      <a:lnTo>
                        <a:pt x="1482325" y="670290"/>
                      </a:lnTo>
                      <a:lnTo>
                        <a:pt x="1487316" y="672816"/>
                      </a:lnTo>
                      <a:lnTo>
                        <a:pt x="1492039" y="679057"/>
                      </a:lnTo>
                      <a:lnTo>
                        <a:pt x="1497030" y="688772"/>
                      </a:lnTo>
                      <a:lnTo>
                        <a:pt x="1499714" y="692172"/>
                      </a:lnTo>
                      <a:lnTo>
                        <a:pt x="1500600" y="692621"/>
                      </a:lnTo>
                      <a:lnTo>
                        <a:pt x="1502968" y="692621"/>
                      </a:lnTo>
                      <a:lnTo>
                        <a:pt x="1506307" y="694454"/>
                      </a:lnTo>
                      <a:lnTo>
                        <a:pt x="1507437" y="697891"/>
                      </a:lnTo>
                      <a:lnTo>
                        <a:pt x="1507570" y="698170"/>
                      </a:lnTo>
                      <a:lnTo>
                        <a:pt x="1516884" y="696725"/>
                      </a:lnTo>
                      <a:lnTo>
                        <a:pt x="1520782" y="697332"/>
                      </a:lnTo>
                      <a:lnTo>
                        <a:pt x="1523890" y="698984"/>
                      </a:lnTo>
                      <a:lnTo>
                        <a:pt x="1526671" y="702141"/>
                      </a:lnTo>
                      <a:lnTo>
                        <a:pt x="1533131" y="706173"/>
                      </a:lnTo>
                      <a:lnTo>
                        <a:pt x="1536713" y="710860"/>
                      </a:lnTo>
                      <a:lnTo>
                        <a:pt x="1537636" y="716360"/>
                      </a:lnTo>
                      <a:lnTo>
                        <a:pt x="1532718" y="732571"/>
                      </a:lnTo>
                      <a:lnTo>
                        <a:pt x="1531431" y="740076"/>
                      </a:lnTo>
                      <a:lnTo>
                        <a:pt x="1531297" y="744071"/>
                      </a:lnTo>
                      <a:lnTo>
                        <a:pt x="1528322" y="751988"/>
                      </a:lnTo>
                      <a:lnTo>
                        <a:pt x="1524352" y="757744"/>
                      </a:lnTo>
                      <a:lnTo>
                        <a:pt x="1518887" y="756068"/>
                      </a:lnTo>
                      <a:lnTo>
                        <a:pt x="1515439" y="755776"/>
                      </a:lnTo>
                      <a:lnTo>
                        <a:pt x="1512755" y="756408"/>
                      </a:lnTo>
                      <a:lnTo>
                        <a:pt x="1504328" y="761726"/>
                      </a:lnTo>
                      <a:lnTo>
                        <a:pt x="1493448" y="765199"/>
                      </a:lnTo>
                      <a:lnTo>
                        <a:pt x="1491262" y="766754"/>
                      </a:lnTo>
                      <a:lnTo>
                        <a:pt x="1489343" y="771064"/>
                      </a:lnTo>
                      <a:lnTo>
                        <a:pt x="1489429" y="773541"/>
                      </a:lnTo>
                      <a:lnTo>
                        <a:pt x="1491651" y="780451"/>
                      </a:lnTo>
                      <a:lnTo>
                        <a:pt x="1490497" y="785478"/>
                      </a:lnTo>
                      <a:lnTo>
                        <a:pt x="1483527" y="792618"/>
                      </a:lnTo>
                      <a:lnTo>
                        <a:pt x="1475561" y="799054"/>
                      </a:lnTo>
                      <a:lnTo>
                        <a:pt x="1471263" y="801167"/>
                      </a:lnTo>
                      <a:lnTo>
                        <a:pt x="1463601" y="803474"/>
                      </a:lnTo>
                      <a:lnTo>
                        <a:pt x="1461512" y="804555"/>
                      </a:lnTo>
                      <a:lnTo>
                        <a:pt x="1460237" y="807068"/>
                      </a:lnTo>
                      <a:lnTo>
                        <a:pt x="1460079" y="810505"/>
                      </a:lnTo>
                      <a:lnTo>
                        <a:pt x="1461306" y="815957"/>
                      </a:lnTo>
                      <a:lnTo>
                        <a:pt x="1461682" y="824845"/>
                      </a:lnTo>
                      <a:lnTo>
                        <a:pt x="1457699" y="829496"/>
                      </a:lnTo>
                      <a:lnTo>
                        <a:pt x="1457226" y="830249"/>
                      </a:lnTo>
                      <a:lnTo>
                        <a:pt x="1457104" y="832277"/>
                      </a:lnTo>
                      <a:lnTo>
                        <a:pt x="1458088" y="835216"/>
                      </a:lnTo>
                      <a:lnTo>
                        <a:pt x="1458124" y="841020"/>
                      </a:lnTo>
                      <a:lnTo>
                        <a:pt x="1453667" y="845015"/>
                      </a:lnTo>
                      <a:lnTo>
                        <a:pt x="1448932" y="845816"/>
                      </a:lnTo>
                      <a:lnTo>
                        <a:pt x="1438695" y="852920"/>
                      </a:lnTo>
                      <a:lnTo>
                        <a:pt x="1436619" y="855846"/>
                      </a:lnTo>
                      <a:lnTo>
                        <a:pt x="1436206" y="857984"/>
                      </a:lnTo>
                      <a:lnTo>
                        <a:pt x="1436024" y="860995"/>
                      </a:lnTo>
                      <a:lnTo>
                        <a:pt x="1433947" y="864225"/>
                      </a:lnTo>
                      <a:lnTo>
                        <a:pt x="1429904" y="866508"/>
                      </a:lnTo>
                      <a:lnTo>
                        <a:pt x="1425581" y="868171"/>
                      </a:lnTo>
                      <a:lnTo>
                        <a:pt x="1420153" y="868912"/>
                      </a:lnTo>
                      <a:lnTo>
                        <a:pt x="1417457" y="870151"/>
                      </a:lnTo>
                      <a:lnTo>
                        <a:pt x="1413790" y="870879"/>
                      </a:lnTo>
                      <a:lnTo>
                        <a:pt x="1409200" y="874121"/>
                      </a:lnTo>
                      <a:lnTo>
                        <a:pt x="1405691" y="877716"/>
                      </a:lnTo>
                      <a:lnTo>
                        <a:pt x="1402874" y="879841"/>
                      </a:lnTo>
                      <a:lnTo>
                        <a:pt x="1399097" y="882063"/>
                      </a:lnTo>
                      <a:lnTo>
                        <a:pt x="1397652" y="883897"/>
                      </a:lnTo>
                      <a:lnTo>
                        <a:pt x="1394022" y="886313"/>
                      </a:lnTo>
                      <a:lnTo>
                        <a:pt x="1390342" y="887284"/>
                      </a:lnTo>
                      <a:lnTo>
                        <a:pt x="1388946" y="887576"/>
                      </a:lnTo>
                      <a:lnTo>
                        <a:pt x="1385084" y="884540"/>
                      </a:lnTo>
                      <a:lnTo>
                        <a:pt x="1380725" y="877169"/>
                      </a:lnTo>
                      <a:lnTo>
                        <a:pt x="1379571" y="876028"/>
                      </a:lnTo>
                      <a:lnTo>
                        <a:pt x="1378041" y="875445"/>
                      </a:lnTo>
                      <a:lnTo>
                        <a:pt x="1377191" y="875506"/>
                      </a:lnTo>
                      <a:lnTo>
                        <a:pt x="1372711" y="879234"/>
                      </a:lnTo>
                      <a:lnTo>
                        <a:pt x="1366651" y="879999"/>
                      </a:lnTo>
                      <a:lnTo>
                        <a:pt x="1364283" y="880824"/>
                      </a:lnTo>
                      <a:lnTo>
                        <a:pt x="1361770" y="883289"/>
                      </a:lnTo>
                      <a:lnTo>
                        <a:pt x="1355747" y="886119"/>
                      </a:lnTo>
                      <a:lnTo>
                        <a:pt x="1352323" y="885341"/>
                      </a:lnTo>
                      <a:lnTo>
                        <a:pt x="1348631" y="883508"/>
                      </a:lnTo>
                      <a:lnTo>
                        <a:pt x="1346955" y="878554"/>
                      </a:lnTo>
                      <a:lnTo>
                        <a:pt x="1346057" y="878979"/>
                      </a:lnTo>
                      <a:lnTo>
                        <a:pt x="1344466" y="880921"/>
                      </a:lnTo>
                      <a:lnTo>
                        <a:pt x="1338322" y="889033"/>
                      </a:lnTo>
                      <a:lnTo>
                        <a:pt x="1337217" y="892615"/>
                      </a:lnTo>
                      <a:lnTo>
                        <a:pt x="1337047" y="898723"/>
                      </a:lnTo>
                      <a:lnTo>
                        <a:pt x="1337654" y="903653"/>
                      </a:lnTo>
                      <a:lnTo>
                        <a:pt x="1337314" y="909287"/>
                      </a:lnTo>
                      <a:lnTo>
                        <a:pt x="1336658" y="913027"/>
                      </a:lnTo>
                      <a:lnTo>
                        <a:pt x="1331449" y="922171"/>
                      </a:lnTo>
                      <a:lnTo>
                        <a:pt x="1322949" y="927101"/>
                      </a:lnTo>
                      <a:lnTo>
                        <a:pt x="1321552" y="928340"/>
                      </a:lnTo>
                      <a:lnTo>
                        <a:pt x="1319452" y="930938"/>
                      </a:lnTo>
                      <a:lnTo>
                        <a:pt x="1318553" y="933452"/>
                      </a:lnTo>
                      <a:lnTo>
                        <a:pt x="1318274" y="942887"/>
                      </a:lnTo>
                      <a:lnTo>
                        <a:pt x="1316890" y="946894"/>
                      </a:lnTo>
                      <a:lnTo>
                        <a:pt x="1314570" y="948618"/>
                      </a:lnTo>
                      <a:lnTo>
                        <a:pt x="1312603" y="949311"/>
                      </a:lnTo>
                      <a:lnTo>
                        <a:pt x="1313672" y="951011"/>
                      </a:lnTo>
                      <a:lnTo>
                        <a:pt x="1314837" y="954192"/>
                      </a:lnTo>
                      <a:lnTo>
                        <a:pt x="1314813" y="958211"/>
                      </a:lnTo>
                      <a:lnTo>
                        <a:pt x="1314764" y="959146"/>
                      </a:lnTo>
                      <a:lnTo>
                        <a:pt x="1311972" y="962826"/>
                      </a:lnTo>
                      <a:lnTo>
                        <a:pt x="1308438" y="964040"/>
                      </a:lnTo>
                      <a:lnTo>
                        <a:pt x="1305123" y="962449"/>
                      </a:lnTo>
                      <a:lnTo>
                        <a:pt x="1299889" y="954556"/>
                      </a:lnTo>
                      <a:lnTo>
                        <a:pt x="1298639" y="953961"/>
                      </a:lnTo>
                      <a:lnTo>
                        <a:pt x="1297461" y="954143"/>
                      </a:lnTo>
                      <a:lnTo>
                        <a:pt x="1295142" y="956038"/>
                      </a:lnTo>
                      <a:lnTo>
                        <a:pt x="1292361" y="960798"/>
                      </a:lnTo>
                      <a:lnTo>
                        <a:pt x="1284881" y="976195"/>
                      </a:lnTo>
                      <a:lnTo>
                        <a:pt x="1283326" y="981052"/>
                      </a:lnTo>
                      <a:lnTo>
                        <a:pt x="1283059" y="988727"/>
                      </a:lnTo>
                      <a:lnTo>
                        <a:pt x="1284019" y="1001149"/>
                      </a:lnTo>
                      <a:lnTo>
                        <a:pt x="1280764" y="1010280"/>
                      </a:lnTo>
                      <a:lnTo>
                        <a:pt x="1277474" y="1016339"/>
                      </a:lnTo>
                      <a:lnTo>
                        <a:pt x="1272762" y="1020322"/>
                      </a:lnTo>
                      <a:lnTo>
                        <a:pt x="1266739" y="1021209"/>
                      </a:lnTo>
                      <a:lnTo>
                        <a:pt x="1265246" y="1022873"/>
                      </a:lnTo>
                      <a:lnTo>
                        <a:pt x="1263679" y="1027620"/>
                      </a:lnTo>
                      <a:lnTo>
                        <a:pt x="1262683" y="1046199"/>
                      </a:lnTo>
                      <a:lnTo>
                        <a:pt x="1261882" y="1049380"/>
                      </a:lnTo>
                      <a:lnTo>
                        <a:pt x="1261384" y="1052453"/>
                      </a:lnTo>
                      <a:lnTo>
                        <a:pt x="1262683" y="1068931"/>
                      </a:lnTo>
                      <a:lnTo>
                        <a:pt x="1262101" y="1074371"/>
                      </a:lnTo>
                      <a:lnTo>
                        <a:pt x="1259053" y="1082676"/>
                      </a:lnTo>
                      <a:lnTo>
                        <a:pt x="1257680" y="1089270"/>
                      </a:lnTo>
                      <a:lnTo>
                        <a:pt x="1253443" y="1100454"/>
                      </a:lnTo>
                      <a:lnTo>
                        <a:pt x="1248986" y="1101802"/>
                      </a:lnTo>
                      <a:lnTo>
                        <a:pt x="1246351" y="1104121"/>
                      </a:lnTo>
                      <a:lnTo>
                        <a:pt x="1245307" y="1104789"/>
                      </a:lnTo>
                      <a:lnTo>
                        <a:pt x="1242963" y="1105639"/>
                      </a:lnTo>
                      <a:lnTo>
                        <a:pt x="1240741" y="1105906"/>
                      </a:lnTo>
                      <a:lnTo>
                        <a:pt x="1237426" y="1104570"/>
                      </a:lnTo>
                      <a:lnTo>
                        <a:pt x="1216492" y="1091905"/>
                      </a:lnTo>
                      <a:lnTo>
                        <a:pt x="1213565" y="1090861"/>
                      </a:lnTo>
                      <a:lnTo>
                        <a:pt x="1212108" y="1090666"/>
                      </a:lnTo>
                      <a:lnTo>
                        <a:pt x="1210991" y="1090727"/>
                      </a:lnTo>
                      <a:lnTo>
                        <a:pt x="1210032" y="1090958"/>
                      </a:lnTo>
                      <a:lnTo>
                        <a:pt x="1205332" y="1092488"/>
                      </a:lnTo>
                      <a:lnTo>
                        <a:pt x="1203183" y="1092876"/>
                      </a:lnTo>
                      <a:lnTo>
                        <a:pt x="1200755" y="1092974"/>
                      </a:lnTo>
                      <a:lnTo>
                        <a:pt x="1198326" y="1092354"/>
                      </a:lnTo>
                      <a:lnTo>
                        <a:pt x="1196140" y="1090885"/>
                      </a:lnTo>
                      <a:lnTo>
                        <a:pt x="1195278" y="1090229"/>
                      </a:lnTo>
                      <a:lnTo>
                        <a:pt x="1194440" y="1086829"/>
                      </a:lnTo>
                      <a:lnTo>
                        <a:pt x="1195157" y="1083952"/>
                      </a:lnTo>
                      <a:lnTo>
                        <a:pt x="1199042" y="1079835"/>
                      </a:lnTo>
                      <a:lnTo>
                        <a:pt x="1198617" y="1077152"/>
                      </a:lnTo>
                      <a:lnTo>
                        <a:pt x="1198144" y="1075864"/>
                      </a:lnTo>
                      <a:lnTo>
                        <a:pt x="1196881" y="1074468"/>
                      </a:lnTo>
                      <a:lnTo>
                        <a:pt x="1194537" y="1072513"/>
                      </a:lnTo>
                      <a:lnTo>
                        <a:pt x="1185345" y="1066223"/>
                      </a:lnTo>
                      <a:lnTo>
                        <a:pt x="1182164" y="1062653"/>
                      </a:lnTo>
                      <a:lnTo>
                        <a:pt x="1180961" y="1059702"/>
                      </a:lnTo>
                      <a:lnTo>
                        <a:pt x="1180609" y="1057237"/>
                      </a:lnTo>
                      <a:lnTo>
                        <a:pt x="1180549" y="1055853"/>
                      </a:lnTo>
                      <a:lnTo>
                        <a:pt x="1175169" y="1055136"/>
                      </a:lnTo>
                      <a:lnTo>
                        <a:pt x="1169037" y="1052501"/>
                      </a:lnTo>
                      <a:lnTo>
                        <a:pt x="1160173" y="1046660"/>
                      </a:lnTo>
                      <a:lnTo>
                        <a:pt x="1159092" y="1045689"/>
                      </a:lnTo>
                      <a:lnTo>
                        <a:pt x="1158509" y="1046211"/>
                      </a:lnTo>
                      <a:lnTo>
                        <a:pt x="1155996" y="1047632"/>
                      </a:lnTo>
                      <a:lnTo>
                        <a:pt x="1145031" y="1051178"/>
                      </a:lnTo>
                      <a:lnTo>
                        <a:pt x="1142930" y="1052683"/>
                      </a:lnTo>
                      <a:lnTo>
                        <a:pt x="1141120" y="1057140"/>
                      </a:lnTo>
                      <a:lnTo>
                        <a:pt x="1125699" y="1062143"/>
                      </a:lnTo>
                      <a:lnTo>
                        <a:pt x="1121789" y="1062398"/>
                      </a:lnTo>
                      <a:lnTo>
                        <a:pt x="1119931" y="1062203"/>
                      </a:lnTo>
                      <a:lnTo>
                        <a:pt x="1118292" y="1061232"/>
                      </a:lnTo>
                      <a:lnTo>
                        <a:pt x="1117090" y="1059520"/>
                      </a:lnTo>
                      <a:lnTo>
                        <a:pt x="1114528" y="1060576"/>
                      </a:lnTo>
                      <a:lnTo>
                        <a:pt x="1112864" y="1060868"/>
                      </a:lnTo>
                      <a:lnTo>
                        <a:pt x="1111395" y="1062458"/>
                      </a:lnTo>
                      <a:lnTo>
                        <a:pt x="1109670" y="1063758"/>
                      </a:lnTo>
                      <a:lnTo>
                        <a:pt x="1105287" y="1065275"/>
                      </a:lnTo>
                      <a:lnTo>
                        <a:pt x="1101899" y="1065931"/>
                      </a:lnTo>
                      <a:lnTo>
                        <a:pt x="1098159" y="1066223"/>
                      </a:lnTo>
                      <a:lnTo>
                        <a:pt x="1094674" y="1065931"/>
                      </a:lnTo>
                      <a:lnTo>
                        <a:pt x="1091747" y="1064304"/>
                      </a:lnTo>
                      <a:lnTo>
                        <a:pt x="1090157" y="1061936"/>
                      </a:lnTo>
                      <a:lnTo>
                        <a:pt x="1088797" y="1058658"/>
                      </a:lnTo>
                      <a:lnTo>
                        <a:pt x="1087704" y="1056448"/>
                      </a:lnTo>
                      <a:lnTo>
                        <a:pt x="1086404" y="1054991"/>
                      </a:lnTo>
                      <a:lnTo>
                        <a:pt x="1084498" y="1054128"/>
                      </a:lnTo>
                      <a:lnTo>
                        <a:pt x="1082033" y="1053606"/>
                      </a:lnTo>
                      <a:lnTo>
                        <a:pt x="1078256" y="1053279"/>
                      </a:lnTo>
                      <a:lnTo>
                        <a:pt x="1069016" y="1055233"/>
                      </a:lnTo>
                      <a:lnTo>
                        <a:pt x="1062119" y="1054699"/>
                      </a:lnTo>
                      <a:lnTo>
                        <a:pt x="1060540" y="1055003"/>
                      </a:lnTo>
                      <a:lnTo>
                        <a:pt x="1059326" y="1055561"/>
                      </a:lnTo>
                      <a:lnTo>
                        <a:pt x="1056654" y="1057383"/>
                      </a:lnTo>
                      <a:lnTo>
                        <a:pt x="1053303" y="1060200"/>
                      </a:lnTo>
                      <a:lnTo>
                        <a:pt x="1050388" y="1062033"/>
                      </a:lnTo>
                      <a:lnTo>
                        <a:pt x="1045386" y="1063794"/>
                      </a:lnTo>
                      <a:lnTo>
                        <a:pt x="1041779" y="1064207"/>
                      </a:lnTo>
                      <a:lnTo>
                        <a:pt x="1038318" y="1062762"/>
                      </a:lnTo>
                      <a:lnTo>
                        <a:pt x="1037019" y="1060406"/>
                      </a:lnTo>
                      <a:lnTo>
                        <a:pt x="1036133" y="1055306"/>
                      </a:lnTo>
                      <a:lnTo>
                        <a:pt x="1035793" y="1054080"/>
                      </a:lnTo>
                      <a:lnTo>
                        <a:pt x="1035331" y="1053060"/>
                      </a:lnTo>
                      <a:lnTo>
                        <a:pt x="1034882" y="1052368"/>
                      </a:lnTo>
                      <a:lnTo>
                        <a:pt x="1034165" y="1050534"/>
                      </a:lnTo>
                      <a:lnTo>
                        <a:pt x="1033498" y="1047207"/>
                      </a:lnTo>
                      <a:lnTo>
                        <a:pt x="1027402" y="1043455"/>
                      </a:lnTo>
                      <a:lnTo>
                        <a:pt x="1025119" y="1038804"/>
                      </a:lnTo>
                      <a:lnTo>
                        <a:pt x="1023018" y="1037578"/>
                      </a:lnTo>
                      <a:lnTo>
                        <a:pt x="1015222" y="1034845"/>
                      </a:lnTo>
                      <a:lnTo>
                        <a:pt x="1013085" y="1034433"/>
                      </a:lnTo>
                      <a:lnTo>
                        <a:pt x="1010936" y="1034372"/>
                      </a:lnTo>
                      <a:lnTo>
                        <a:pt x="1008750" y="1034542"/>
                      </a:lnTo>
                      <a:lnTo>
                        <a:pt x="1005156" y="1034178"/>
                      </a:lnTo>
                      <a:lnTo>
                        <a:pt x="998574" y="1034396"/>
                      </a:lnTo>
                      <a:lnTo>
                        <a:pt x="993620" y="1033595"/>
                      </a:lnTo>
                      <a:lnTo>
                        <a:pt x="990754" y="1032793"/>
                      </a:lnTo>
                      <a:lnTo>
                        <a:pt x="984222" y="1029757"/>
                      </a:lnTo>
                      <a:lnTo>
                        <a:pt x="983651" y="1029806"/>
                      </a:lnTo>
                      <a:lnTo>
                        <a:pt x="983177" y="1033400"/>
                      </a:lnTo>
                      <a:lnTo>
                        <a:pt x="981441" y="1038355"/>
                      </a:lnTo>
                      <a:lnTo>
                        <a:pt x="978709" y="1040698"/>
                      </a:lnTo>
                      <a:lnTo>
                        <a:pt x="973779" y="1042738"/>
                      </a:lnTo>
                      <a:lnTo>
                        <a:pt x="968193" y="1044111"/>
                      </a:lnTo>
                      <a:lnTo>
                        <a:pt x="959037" y="1047644"/>
                      </a:lnTo>
                      <a:lnTo>
                        <a:pt x="952322" y="1049514"/>
                      </a:lnTo>
                      <a:lnTo>
                        <a:pt x="935832" y="1051433"/>
                      </a:lnTo>
                      <a:lnTo>
                        <a:pt x="927818" y="1053910"/>
                      </a:lnTo>
                      <a:lnTo>
                        <a:pt x="924770" y="1055330"/>
                      </a:lnTo>
                      <a:lnTo>
                        <a:pt x="924830" y="1055792"/>
                      </a:lnTo>
                      <a:lnTo>
                        <a:pt x="925401" y="1057334"/>
                      </a:lnTo>
                      <a:lnTo>
                        <a:pt x="926118" y="1058913"/>
                      </a:lnTo>
                      <a:lnTo>
                        <a:pt x="926640" y="1062203"/>
                      </a:lnTo>
                      <a:lnTo>
                        <a:pt x="925668" y="1065433"/>
                      </a:lnTo>
                      <a:lnTo>
                        <a:pt x="922475" y="1068651"/>
                      </a:lnTo>
                      <a:lnTo>
                        <a:pt x="919305" y="1069781"/>
                      </a:lnTo>
                      <a:lnTo>
                        <a:pt x="911267" y="1070594"/>
                      </a:lnTo>
                      <a:lnTo>
                        <a:pt x="906543" y="1071505"/>
                      </a:lnTo>
                      <a:lnTo>
                        <a:pt x="899549" y="1073739"/>
                      </a:lnTo>
                      <a:lnTo>
                        <a:pt x="887370" y="1074929"/>
                      </a:lnTo>
                      <a:lnTo>
                        <a:pt x="883994" y="1076253"/>
                      </a:lnTo>
                      <a:lnTo>
                        <a:pt x="879477" y="1076714"/>
                      </a:lnTo>
                      <a:lnTo>
                        <a:pt x="865974" y="1075816"/>
                      </a:lnTo>
                      <a:lnTo>
                        <a:pt x="853175" y="1072464"/>
                      </a:lnTo>
                      <a:lnTo>
                        <a:pt x="851183" y="1071481"/>
                      </a:lnTo>
                      <a:lnTo>
                        <a:pt x="847079" y="1067959"/>
                      </a:lnTo>
                      <a:lnTo>
                        <a:pt x="845756" y="1067121"/>
                      </a:lnTo>
                      <a:lnTo>
                        <a:pt x="843776" y="1066296"/>
                      </a:lnTo>
                      <a:lnTo>
                        <a:pt x="841542" y="1066162"/>
                      </a:lnTo>
                      <a:lnTo>
                        <a:pt x="840218" y="1066454"/>
                      </a:lnTo>
                      <a:lnTo>
                        <a:pt x="837996" y="1068166"/>
                      </a:lnTo>
                      <a:lnTo>
                        <a:pt x="835519" y="1069574"/>
                      </a:lnTo>
                      <a:lnTo>
                        <a:pt x="833200" y="1070279"/>
                      </a:lnTo>
                      <a:lnTo>
                        <a:pt x="830577" y="1070485"/>
                      </a:lnTo>
                      <a:lnTo>
                        <a:pt x="829266" y="1070303"/>
                      </a:lnTo>
                      <a:lnTo>
                        <a:pt x="828318" y="1070035"/>
                      </a:lnTo>
                      <a:lnTo>
                        <a:pt x="826570" y="1069003"/>
                      </a:lnTo>
                      <a:lnTo>
                        <a:pt x="825720" y="1067959"/>
                      </a:lnTo>
                      <a:lnTo>
                        <a:pt x="825744" y="1066417"/>
                      </a:lnTo>
                      <a:lnTo>
                        <a:pt x="826072" y="1063527"/>
                      </a:lnTo>
                      <a:lnTo>
                        <a:pt x="825562" y="1059204"/>
                      </a:lnTo>
                      <a:lnTo>
                        <a:pt x="824930" y="1057322"/>
                      </a:lnTo>
                      <a:lnTo>
                        <a:pt x="823631" y="1054529"/>
                      </a:lnTo>
                      <a:lnTo>
                        <a:pt x="823255" y="1048980"/>
                      </a:lnTo>
                      <a:lnTo>
                        <a:pt x="822745" y="1048288"/>
                      </a:lnTo>
                      <a:lnTo>
                        <a:pt x="821093" y="1047377"/>
                      </a:lnTo>
                      <a:lnTo>
                        <a:pt x="817074" y="1047158"/>
                      </a:lnTo>
                      <a:lnTo>
                        <a:pt x="816018" y="1047243"/>
                      </a:lnTo>
                      <a:lnTo>
                        <a:pt x="814573" y="1047595"/>
                      </a:lnTo>
                      <a:lnTo>
                        <a:pt x="813650" y="1048020"/>
                      </a:lnTo>
                      <a:lnTo>
                        <a:pt x="813055" y="1048640"/>
                      </a:lnTo>
                      <a:lnTo>
                        <a:pt x="808720" y="1054347"/>
                      </a:lnTo>
                      <a:lnTo>
                        <a:pt x="799224" y="1057686"/>
                      </a:lnTo>
                      <a:lnTo>
                        <a:pt x="788380" y="1060018"/>
                      </a:lnTo>
                      <a:lnTo>
                        <a:pt x="786316" y="1061353"/>
                      </a:lnTo>
                      <a:lnTo>
                        <a:pt x="784373" y="1063406"/>
                      </a:lnTo>
                      <a:lnTo>
                        <a:pt x="782467" y="1066138"/>
                      </a:lnTo>
                      <a:lnTo>
                        <a:pt x="777986" y="1071056"/>
                      </a:lnTo>
                      <a:lnTo>
                        <a:pt x="774052" y="1074164"/>
                      </a:lnTo>
                      <a:lnTo>
                        <a:pt x="766268" y="1078742"/>
                      </a:lnTo>
                      <a:lnTo>
                        <a:pt x="755449" y="1083745"/>
                      </a:lnTo>
                      <a:lnTo>
                        <a:pt x="732766" y="1091152"/>
                      </a:lnTo>
                      <a:lnTo>
                        <a:pt x="728710" y="1091857"/>
                      </a:lnTo>
                      <a:lnTo>
                        <a:pt x="724484" y="1091784"/>
                      </a:lnTo>
                      <a:lnTo>
                        <a:pt x="720186" y="1090582"/>
                      </a:lnTo>
                      <a:lnTo>
                        <a:pt x="711006" y="1086672"/>
                      </a:lnTo>
                      <a:lnTo>
                        <a:pt x="709658" y="1086562"/>
                      </a:lnTo>
                      <a:lnTo>
                        <a:pt x="709524" y="1086805"/>
                      </a:lnTo>
                      <a:lnTo>
                        <a:pt x="705784" y="1089561"/>
                      </a:lnTo>
                      <a:lnTo>
                        <a:pt x="701740" y="1091201"/>
                      </a:lnTo>
                      <a:lnTo>
                        <a:pt x="696458" y="1094771"/>
                      </a:lnTo>
                      <a:lnTo>
                        <a:pt x="692961" y="1095864"/>
                      </a:lnTo>
                      <a:lnTo>
                        <a:pt x="689767" y="1095026"/>
                      </a:lnTo>
                      <a:lnTo>
                        <a:pt x="688177" y="1093034"/>
                      </a:lnTo>
                      <a:lnTo>
                        <a:pt x="687254" y="1092160"/>
                      </a:lnTo>
                      <a:lnTo>
                        <a:pt x="686683" y="1092087"/>
                      </a:lnTo>
                      <a:lnTo>
                        <a:pt x="683016" y="1092172"/>
                      </a:lnTo>
                      <a:lnTo>
                        <a:pt x="680138" y="1091589"/>
                      </a:lnTo>
                      <a:lnTo>
                        <a:pt x="678487" y="1091492"/>
                      </a:lnTo>
                      <a:lnTo>
                        <a:pt x="675269" y="1093289"/>
                      </a:lnTo>
                      <a:lnTo>
                        <a:pt x="672792" y="1094127"/>
                      </a:lnTo>
                      <a:lnTo>
                        <a:pt x="669780" y="1094455"/>
                      </a:lnTo>
                      <a:lnTo>
                        <a:pt x="667072" y="1093994"/>
                      </a:lnTo>
                      <a:lnTo>
                        <a:pt x="664850" y="1092937"/>
                      </a:lnTo>
                      <a:lnTo>
                        <a:pt x="662774" y="1091043"/>
                      </a:lnTo>
                      <a:lnTo>
                        <a:pt x="661244" y="1089064"/>
                      </a:lnTo>
                      <a:lnTo>
                        <a:pt x="660212" y="1088165"/>
                      </a:lnTo>
                      <a:lnTo>
                        <a:pt x="659483" y="1087971"/>
                      </a:lnTo>
                      <a:lnTo>
                        <a:pt x="659082" y="1087959"/>
                      </a:lnTo>
                      <a:lnTo>
                        <a:pt x="658912" y="1088153"/>
                      </a:lnTo>
                      <a:lnTo>
                        <a:pt x="657564" y="1091007"/>
                      </a:lnTo>
                      <a:lnTo>
                        <a:pt x="654031" y="1093702"/>
                      </a:lnTo>
                      <a:lnTo>
                        <a:pt x="651116" y="1092184"/>
                      </a:lnTo>
                      <a:lnTo>
                        <a:pt x="650109" y="1090509"/>
                      </a:lnTo>
                      <a:lnTo>
                        <a:pt x="649708" y="1088918"/>
                      </a:lnTo>
                      <a:lnTo>
                        <a:pt x="649295" y="1086307"/>
                      </a:lnTo>
                      <a:lnTo>
                        <a:pt x="648651" y="1084704"/>
                      </a:lnTo>
                      <a:lnTo>
                        <a:pt x="643904" y="1078098"/>
                      </a:lnTo>
                      <a:lnTo>
                        <a:pt x="639423" y="1069938"/>
                      </a:lnTo>
                      <a:lnTo>
                        <a:pt x="639180" y="1068967"/>
                      </a:lnTo>
                      <a:lnTo>
                        <a:pt x="638901" y="1066891"/>
                      </a:lnTo>
                      <a:lnTo>
                        <a:pt x="638816" y="1064474"/>
                      </a:lnTo>
                      <a:lnTo>
                        <a:pt x="639119" y="1061669"/>
                      </a:lnTo>
                      <a:lnTo>
                        <a:pt x="640042" y="1059228"/>
                      </a:lnTo>
                      <a:lnTo>
                        <a:pt x="640431" y="1058342"/>
                      </a:lnTo>
                      <a:lnTo>
                        <a:pt x="643369" y="1056581"/>
                      </a:lnTo>
                      <a:lnTo>
                        <a:pt x="646405" y="1056205"/>
                      </a:lnTo>
                      <a:lnTo>
                        <a:pt x="665469" y="1057370"/>
                      </a:lnTo>
                      <a:lnTo>
                        <a:pt x="665785" y="1057298"/>
                      </a:lnTo>
                      <a:lnTo>
                        <a:pt x="664923" y="1056266"/>
                      </a:lnTo>
                      <a:lnTo>
                        <a:pt x="663636" y="1053594"/>
                      </a:lnTo>
                      <a:lnTo>
                        <a:pt x="663223" y="1049879"/>
                      </a:lnTo>
                      <a:lnTo>
                        <a:pt x="663514" y="1046576"/>
                      </a:lnTo>
                      <a:lnTo>
                        <a:pt x="663502" y="1043977"/>
                      </a:lnTo>
                      <a:lnTo>
                        <a:pt x="661632" y="1030522"/>
                      </a:lnTo>
                      <a:lnTo>
                        <a:pt x="661074" y="1028956"/>
                      </a:lnTo>
                      <a:lnTo>
                        <a:pt x="660272" y="1028167"/>
                      </a:lnTo>
                      <a:lnTo>
                        <a:pt x="659228" y="1027730"/>
                      </a:lnTo>
                      <a:lnTo>
                        <a:pt x="655622" y="1026479"/>
                      </a:lnTo>
                      <a:lnTo>
                        <a:pt x="653363" y="1025240"/>
                      </a:lnTo>
                      <a:lnTo>
                        <a:pt x="652173" y="1023115"/>
                      </a:lnTo>
                      <a:lnTo>
                        <a:pt x="651748" y="1022071"/>
                      </a:lnTo>
                      <a:lnTo>
                        <a:pt x="651469" y="1020881"/>
                      </a:lnTo>
                      <a:lnTo>
                        <a:pt x="650959" y="1020153"/>
                      </a:lnTo>
                      <a:lnTo>
                        <a:pt x="650279" y="1019533"/>
                      </a:lnTo>
                      <a:lnTo>
                        <a:pt x="648688" y="1018938"/>
                      </a:lnTo>
                      <a:lnTo>
                        <a:pt x="646891" y="1018659"/>
                      </a:lnTo>
                      <a:lnTo>
                        <a:pt x="623479" y="1017870"/>
                      </a:lnTo>
                      <a:lnTo>
                        <a:pt x="622034" y="1018392"/>
                      </a:lnTo>
                      <a:lnTo>
                        <a:pt x="620286" y="1019837"/>
                      </a:lnTo>
                      <a:lnTo>
                        <a:pt x="619302" y="1021634"/>
                      </a:lnTo>
                      <a:lnTo>
                        <a:pt x="615926" y="1024293"/>
                      </a:lnTo>
                      <a:lnTo>
                        <a:pt x="610486" y="1025459"/>
                      </a:lnTo>
                      <a:lnTo>
                        <a:pt x="609308" y="1027596"/>
                      </a:lnTo>
                      <a:lnTo>
                        <a:pt x="608058" y="1029369"/>
                      </a:lnTo>
                      <a:lnTo>
                        <a:pt x="605884" y="1031057"/>
                      </a:lnTo>
                      <a:lnTo>
                        <a:pt x="603225" y="1032138"/>
                      </a:lnTo>
                      <a:lnTo>
                        <a:pt x="600565" y="1032307"/>
                      </a:lnTo>
                      <a:lnTo>
                        <a:pt x="598270" y="1031616"/>
                      </a:lnTo>
                      <a:lnTo>
                        <a:pt x="596376" y="1030195"/>
                      </a:lnTo>
                      <a:lnTo>
                        <a:pt x="595065" y="1028640"/>
                      </a:lnTo>
                      <a:lnTo>
                        <a:pt x="594409" y="1027487"/>
                      </a:lnTo>
                      <a:lnTo>
                        <a:pt x="593085" y="1026940"/>
                      </a:lnTo>
                      <a:lnTo>
                        <a:pt x="591932" y="1026928"/>
                      </a:lnTo>
                      <a:lnTo>
                        <a:pt x="583007" y="1027754"/>
                      </a:lnTo>
                      <a:lnTo>
                        <a:pt x="574944" y="1030000"/>
                      </a:lnTo>
                      <a:lnTo>
                        <a:pt x="567828" y="1033473"/>
                      </a:lnTo>
                      <a:lnTo>
                        <a:pt x="547355" y="1048020"/>
                      </a:lnTo>
                      <a:lnTo>
                        <a:pt x="543275" y="1049490"/>
                      </a:lnTo>
                      <a:lnTo>
                        <a:pt x="532444" y="1049538"/>
                      </a:lnTo>
                      <a:lnTo>
                        <a:pt x="528145" y="1051542"/>
                      </a:lnTo>
                      <a:lnTo>
                        <a:pt x="525279" y="1054930"/>
                      </a:lnTo>
                      <a:lnTo>
                        <a:pt x="524539" y="1059410"/>
                      </a:lnTo>
                      <a:lnTo>
                        <a:pt x="524405" y="1061608"/>
                      </a:lnTo>
                      <a:lnTo>
                        <a:pt x="524065" y="1063345"/>
                      </a:lnTo>
                      <a:lnTo>
                        <a:pt x="523883" y="1067522"/>
                      </a:lnTo>
                      <a:lnTo>
                        <a:pt x="523907" y="1068955"/>
                      </a:lnTo>
                      <a:lnTo>
                        <a:pt x="523227" y="1071359"/>
                      </a:lnTo>
                      <a:lnTo>
                        <a:pt x="522061" y="1073909"/>
                      </a:lnTo>
                      <a:lnTo>
                        <a:pt x="519985" y="1076386"/>
                      </a:lnTo>
                      <a:lnTo>
                        <a:pt x="517301" y="1078584"/>
                      </a:lnTo>
                      <a:lnTo>
                        <a:pt x="516585" y="1079738"/>
                      </a:lnTo>
                      <a:lnTo>
                        <a:pt x="513161" y="1087133"/>
                      </a:lnTo>
                      <a:lnTo>
                        <a:pt x="510914" y="1089756"/>
                      </a:lnTo>
                      <a:lnTo>
                        <a:pt x="508316" y="1091626"/>
                      </a:lnTo>
                      <a:lnTo>
                        <a:pt x="500836" y="1095742"/>
                      </a:lnTo>
                      <a:lnTo>
                        <a:pt x="496610" y="1098912"/>
                      </a:lnTo>
                      <a:lnTo>
                        <a:pt x="495517" y="1100150"/>
                      </a:lnTo>
                      <a:lnTo>
                        <a:pt x="495748" y="1101182"/>
                      </a:lnTo>
                      <a:lnTo>
                        <a:pt x="496391" y="1102979"/>
                      </a:lnTo>
                      <a:lnTo>
                        <a:pt x="499136" y="1108468"/>
                      </a:lnTo>
                      <a:lnTo>
                        <a:pt x="499281" y="1118231"/>
                      </a:lnTo>
                      <a:lnTo>
                        <a:pt x="497290" y="1122360"/>
                      </a:lnTo>
                      <a:lnTo>
                        <a:pt x="495468" y="1125310"/>
                      </a:lnTo>
                      <a:lnTo>
                        <a:pt x="493197" y="1127909"/>
                      </a:lnTo>
                      <a:lnTo>
                        <a:pt x="489700" y="1130082"/>
                      </a:lnTo>
                      <a:lnTo>
                        <a:pt x="475517" y="1131576"/>
                      </a:lnTo>
                      <a:lnTo>
                        <a:pt x="472385" y="1132244"/>
                      </a:lnTo>
                      <a:lnTo>
                        <a:pt x="468256" y="1134223"/>
                      </a:lnTo>
                      <a:lnTo>
                        <a:pt x="465961" y="1136446"/>
                      </a:lnTo>
                      <a:lnTo>
                        <a:pt x="463957" y="1138983"/>
                      </a:lnTo>
                      <a:lnTo>
                        <a:pt x="460484" y="1144448"/>
                      </a:lnTo>
                      <a:lnTo>
                        <a:pt x="457303" y="1148200"/>
                      </a:lnTo>
                      <a:lnTo>
                        <a:pt x="451717" y="1150628"/>
                      </a:lnTo>
                      <a:lnTo>
                        <a:pt x="445561" y="1152680"/>
                      </a:lnTo>
                      <a:lnTo>
                        <a:pt x="433369" y="1153798"/>
                      </a:lnTo>
                      <a:lnTo>
                        <a:pt x="427504" y="1155218"/>
                      </a:lnTo>
                      <a:close/>
                    </a:path>
                  </a:pathLst>
                </a:custGeom>
                <a:solidFill>
                  <a:srgbClr val="D7D7D2"/>
                </a:solidFill>
                <a:ln w="12138" cap="flat">
                  <a:noFill/>
                  <a:prstDash val="solid"/>
                  <a:miter/>
                </a:ln>
              </p:spPr>
              <p:txBody>
                <a:bodyPr rtlCol="0" anchor="ctr"/>
                <a:lstStyle/>
                <a:p>
                  <a:endParaRPr lang="en-US"/>
                </a:p>
              </p:txBody>
            </p:sp>
            <p:sp>
              <p:nvSpPr>
                <p:cNvPr id="341" name="Freeform: Shape 340">
                  <a:extLst>
                    <a:ext uri="{FF2B5EF4-FFF2-40B4-BE49-F238E27FC236}">
                      <a16:creationId xmlns:a16="http://schemas.microsoft.com/office/drawing/2014/main" id="{B2ED4DB3-6727-4791-83F7-2C828FD80194}"/>
                    </a:ext>
                  </a:extLst>
                </p:cNvPr>
                <p:cNvSpPr/>
                <p:nvPr/>
              </p:nvSpPr>
              <p:spPr>
                <a:xfrm>
                  <a:off x="4455537" y="2774303"/>
                  <a:ext cx="1661518" cy="1161399"/>
                </a:xfrm>
                <a:custGeom>
                  <a:avLst/>
                  <a:gdLst>
                    <a:gd name="connsiteX0" fmla="*/ 812982 w 1661518"/>
                    <a:gd name="connsiteY0" fmla="*/ 6096 h 1161399"/>
                    <a:gd name="connsiteX1" fmla="*/ 817584 w 1661518"/>
                    <a:gd name="connsiteY1" fmla="*/ 6387 h 1161399"/>
                    <a:gd name="connsiteX2" fmla="*/ 821482 w 1661518"/>
                    <a:gd name="connsiteY2" fmla="*/ 7881 h 1161399"/>
                    <a:gd name="connsiteX3" fmla="*/ 824008 w 1661518"/>
                    <a:gd name="connsiteY3" fmla="*/ 12762 h 1161399"/>
                    <a:gd name="connsiteX4" fmla="*/ 826084 w 1661518"/>
                    <a:gd name="connsiteY4" fmla="*/ 13309 h 1161399"/>
                    <a:gd name="connsiteX5" fmla="*/ 830334 w 1661518"/>
                    <a:gd name="connsiteY5" fmla="*/ 13163 h 1161399"/>
                    <a:gd name="connsiteX6" fmla="*/ 832107 w 1661518"/>
                    <a:gd name="connsiteY6" fmla="*/ 13624 h 1161399"/>
                    <a:gd name="connsiteX7" fmla="*/ 833078 w 1661518"/>
                    <a:gd name="connsiteY7" fmla="*/ 14802 h 1161399"/>
                    <a:gd name="connsiteX8" fmla="*/ 834001 w 1661518"/>
                    <a:gd name="connsiteY8" fmla="*/ 16405 h 1161399"/>
                    <a:gd name="connsiteX9" fmla="*/ 835483 w 1661518"/>
                    <a:gd name="connsiteY9" fmla="*/ 18154 h 1161399"/>
                    <a:gd name="connsiteX10" fmla="*/ 838373 w 1661518"/>
                    <a:gd name="connsiteY10" fmla="*/ 19732 h 1161399"/>
                    <a:gd name="connsiteX11" fmla="*/ 845306 w 1661518"/>
                    <a:gd name="connsiteY11" fmla="*/ 20546 h 1161399"/>
                    <a:gd name="connsiteX12" fmla="*/ 848986 w 1661518"/>
                    <a:gd name="connsiteY12" fmla="*/ 21554 h 1161399"/>
                    <a:gd name="connsiteX13" fmla="*/ 857486 w 1661518"/>
                    <a:gd name="connsiteY13" fmla="*/ 26532 h 1161399"/>
                    <a:gd name="connsiteX14" fmla="*/ 861214 w 1661518"/>
                    <a:gd name="connsiteY14" fmla="*/ 27054 h 1161399"/>
                    <a:gd name="connsiteX15" fmla="*/ 863460 w 1661518"/>
                    <a:gd name="connsiteY15" fmla="*/ 26532 h 1161399"/>
                    <a:gd name="connsiteX16" fmla="*/ 864662 w 1661518"/>
                    <a:gd name="connsiteY16" fmla="*/ 25367 h 1161399"/>
                    <a:gd name="connsiteX17" fmla="*/ 865585 w 1661518"/>
                    <a:gd name="connsiteY17" fmla="*/ 23982 h 1161399"/>
                    <a:gd name="connsiteX18" fmla="*/ 867018 w 1661518"/>
                    <a:gd name="connsiteY18" fmla="*/ 22926 h 1161399"/>
                    <a:gd name="connsiteX19" fmla="*/ 868572 w 1661518"/>
                    <a:gd name="connsiteY19" fmla="*/ 22756 h 1161399"/>
                    <a:gd name="connsiteX20" fmla="*/ 872300 w 1661518"/>
                    <a:gd name="connsiteY20" fmla="*/ 23181 h 1161399"/>
                    <a:gd name="connsiteX21" fmla="*/ 874717 w 1661518"/>
                    <a:gd name="connsiteY21" fmla="*/ 22926 h 1161399"/>
                    <a:gd name="connsiteX22" fmla="*/ 881832 w 1661518"/>
                    <a:gd name="connsiteY22" fmla="*/ 18591 h 1161399"/>
                    <a:gd name="connsiteX23" fmla="*/ 884977 w 1661518"/>
                    <a:gd name="connsiteY23" fmla="*/ 18384 h 1161399"/>
                    <a:gd name="connsiteX24" fmla="*/ 887637 w 1661518"/>
                    <a:gd name="connsiteY24" fmla="*/ 22926 h 1161399"/>
                    <a:gd name="connsiteX25" fmla="*/ 889531 w 1661518"/>
                    <a:gd name="connsiteY25" fmla="*/ 21092 h 1161399"/>
                    <a:gd name="connsiteX26" fmla="*/ 891583 w 1661518"/>
                    <a:gd name="connsiteY26" fmla="*/ 20339 h 1161399"/>
                    <a:gd name="connsiteX27" fmla="*/ 893319 w 1661518"/>
                    <a:gd name="connsiteY27" fmla="*/ 21032 h 1161399"/>
                    <a:gd name="connsiteX28" fmla="*/ 894012 w 1661518"/>
                    <a:gd name="connsiteY28" fmla="*/ 23618 h 1161399"/>
                    <a:gd name="connsiteX29" fmla="*/ 894692 w 1661518"/>
                    <a:gd name="connsiteY29" fmla="*/ 25160 h 1161399"/>
                    <a:gd name="connsiteX30" fmla="*/ 896355 w 1661518"/>
                    <a:gd name="connsiteY30" fmla="*/ 25512 h 1161399"/>
                    <a:gd name="connsiteX31" fmla="*/ 898492 w 1661518"/>
                    <a:gd name="connsiteY31" fmla="*/ 25452 h 1161399"/>
                    <a:gd name="connsiteX32" fmla="*/ 900435 w 1661518"/>
                    <a:gd name="connsiteY32" fmla="*/ 25792 h 1161399"/>
                    <a:gd name="connsiteX33" fmla="*/ 904115 w 1661518"/>
                    <a:gd name="connsiteY33" fmla="*/ 28730 h 1161399"/>
                    <a:gd name="connsiteX34" fmla="*/ 909785 w 1661518"/>
                    <a:gd name="connsiteY34" fmla="*/ 35894 h 1161399"/>
                    <a:gd name="connsiteX35" fmla="*/ 913355 w 1661518"/>
                    <a:gd name="connsiteY35" fmla="*/ 38056 h 1161399"/>
                    <a:gd name="connsiteX36" fmla="*/ 915590 w 1661518"/>
                    <a:gd name="connsiteY36" fmla="*/ 38202 h 1161399"/>
                    <a:gd name="connsiteX37" fmla="*/ 921564 w 1661518"/>
                    <a:gd name="connsiteY37" fmla="*/ 36672 h 1161399"/>
                    <a:gd name="connsiteX38" fmla="*/ 924211 w 1661518"/>
                    <a:gd name="connsiteY38" fmla="*/ 36732 h 1161399"/>
                    <a:gd name="connsiteX39" fmla="*/ 925462 w 1661518"/>
                    <a:gd name="connsiteY39" fmla="*/ 37048 h 1161399"/>
                    <a:gd name="connsiteX40" fmla="*/ 927320 w 1661518"/>
                    <a:gd name="connsiteY40" fmla="*/ 39428 h 1161399"/>
                    <a:gd name="connsiteX41" fmla="*/ 927648 w 1661518"/>
                    <a:gd name="connsiteY41" fmla="*/ 40922 h 1161399"/>
                    <a:gd name="connsiteX42" fmla="*/ 927648 w 1661518"/>
                    <a:gd name="connsiteY42" fmla="*/ 42792 h 1161399"/>
                    <a:gd name="connsiteX43" fmla="*/ 927830 w 1661518"/>
                    <a:gd name="connsiteY43" fmla="*/ 43168 h 1161399"/>
                    <a:gd name="connsiteX44" fmla="*/ 927769 w 1661518"/>
                    <a:gd name="connsiteY44" fmla="*/ 44710 h 1161399"/>
                    <a:gd name="connsiteX45" fmla="*/ 929141 w 1661518"/>
                    <a:gd name="connsiteY45" fmla="*/ 51292 h 1161399"/>
                    <a:gd name="connsiteX46" fmla="*/ 931849 w 1661518"/>
                    <a:gd name="connsiteY46" fmla="*/ 59100 h 1161399"/>
                    <a:gd name="connsiteX47" fmla="*/ 934557 w 1661518"/>
                    <a:gd name="connsiteY47" fmla="*/ 64151 h 1161399"/>
                    <a:gd name="connsiteX48" fmla="*/ 944660 w 1661518"/>
                    <a:gd name="connsiteY48" fmla="*/ 79050 h 1161399"/>
                    <a:gd name="connsiteX49" fmla="*/ 947064 w 1661518"/>
                    <a:gd name="connsiteY49" fmla="*/ 85001 h 1161399"/>
                    <a:gd name="connsiteX50" fmla="*/ 948618 w 1661518"/>
                    <a:gd name="connsiteY50" fmla="*/ 90501 h 1161399"/>
                    <a:gd name="connsiteX51" fmla="*/ 949141 w 1661518"/>
                    <a:gd name="connsiteY51" fmla="*/ 96366 h 1161399"/>
                    <a:gd name="connsiteX52" fmla="*/ 946773 w 1661518"/>
                    <a:gd name="connsiteY52" fmla="*/ 103689 h 1161399"/>
                    <a:gd name="connsiteX53" fmla="*/ 948618 w 1661518"/>
                    <a:gd name="connsiteY53" fmla="*/ 105814 h 1161399"/>
                    <a:gd name="connsiteX54" fmla="*/ 949359 w 1661518"/>
                    <a:gd name="connsiteY54" fmla="*/ 106275 h 1161399"/>
                    <a:gd name="connsiteX55" fmla="*/ 950161 w 1661518"/>
                    <a:gd name="connsiteY55" fmla="*/ 106991 h 1161399"/>
                    <a:gd name="connsiteX56" fmla="*/ 950792 w 1661518"/>
                    <a:gd name="connsiteY56" fmla="*/ 107708 h 1161399"/>
                    <a:gd name="connsiteX57" fmla="*/ 950853 w 1661518"/>
                    <a:gd name="connsiteY57" fmla="*/ 108849 h 1161399"/>
                    <a:gd name="connsiteX58" fmla="*/ 950331 w 1661518"/>
                    <a:gd name="connsiteY58" fmla="*/ 110112 h 1161399"/>
                    <a:gd name="connsiteX59" fmla="*/ 946202 w 1661518"/>
                    <a:gd name="connsiteY59" fmla="*/ 116754 h 1161399"/>
                    <a:gd name="connsiteX60" fmla="*/ 944709 w 1661518"/>
                    <a:gd name="connsiteY60" fmla="*/ 118564 h 1161399"/>
                    <a:gd name="connsiteX61" fmla="*/ 942996 w 1661518"/>
                    <a:gd name="connsiteY61" fmla="*/ 120033 h 1161399"/>
                    <a:gd name="connsiteX62" fmla="*/ 940920 w 1661518"/>
                    <a:gd name="connsiteY62" fmla="*/ 120944 h 1161399"/>
                    <a:gd name="connsiteX63" fmla="*/ 935747 w 1661518"/>
                    <a:gd name="connsiteY63" fmla="*/ 122012 h 1161399"/>
                    <a:gd name="connsiteX64" fmla="*/ 933974 w 1661518"/>
                    <a:gd name="connsiteY64" fmla="*/ 122546 h 1161399"/>
                    <a:gd name="connsiteX65" fmla="*/ 932481 w 1661518"/>
                    <a:gd name="connsiteY65" fmla="*/ 123178 h 1161399"/>
                    <a:gd name="connsiteX66" fmla="*/ 931096 w 1661518"/>
                    <a:gd name="connsiteY66" fmla="*/ 124162 h 1161399"/>
                    <a:gd name="connsiteX67" fmla="*/ 928510 w 1661518"/>
                    <a:gd name="connsiteY67" fmla="*/ 126505 h 1161399"/>
                    <a:gd name="connsiteX68" fmla="*/ 927769 w 1661518"/>
                    <a:gd name="connsiteY68" fmla="*/ 127902 h 1161399"/>
                    <a:gd name="connsiteX69" fmla="*/ 927320 w 1661518"/>
                    <a:gd name="connsiteY69" fmla="*/ 129881 h 1161399"/>
                    <a:gd name="connsiteX70" fmla="*/ 927830 w 1661518"/>
                    <a:gd name="connsiteY70" fmla="*/ 132734 h 1161399"/>
                    <a:gd name="connsiteX71" fmla="*/ 928923 w 1661518"/>
                    <a:gd name="connsiteY71" fmla="*/ 134932 h 1161399"/>
                    <a:gd name="connsiteX72" fmla="*/ 931035 w 1661518"/>
                    <a:gd name="connsiteY72" fmla="*/ 138077 h 1161399"/>
                    <a:gd name="connsiteX73" fmla="*/ 931218 w 1661518"/>
                    <a:gd name="connsiteY73" fmla="*/ 139316 h 1161399"/>
                    <a:gd name="connsiteX74" fmla="*/ 930756 w 1661518"/>
                    <a:gd name="connsiteY74" fmla="*/ 140494 h 1161399"/>
                    <a:gd name="connsiteX75" fmla="*/ 929081 w 1661518"/>
                    <a:gd name="connsiteY75" fmla="*/ 142024 h 1161399"/>
                    <a:gd name="connsiteX76" fmla="*/ 925705 w 1661518"/>
                    <a:gd name="connsiteY76" fmla="*/ 143287 h 1161399"/>
                    <a:gd name="connsiteX77" fmla="*/ 924612 w 1661518"/>
                    <a:gd name="connsiteY77" fmla="*/ 144367 h 1161399"/>
                    <a:gd name="connsiteX78" fmla="*/ 924029 w 1661518"/>
                    <a:gd name="connsiteY78" fmla="*/ 146213 h 1161399"/>
                    <a:gd name="connsiteX79" fmla="*/ 924333 w 1661518"/>
                    <a:gd name="connsiteY79" fmla="*/ 149990 h 1161399"/>
                    <a:gd name="connsiteX80" fmla="*/ 925243 w 1661518"/>
                    <a:gd name="connsiteY80" fmla="*/ 152297 h 1161399"/>
                    <a:gd name="connsiteX81" fmla="*/ 926737 w 1661518"/>
                    <a:gd name="connsiteY81" fmla="*/ 153985 h 1161399"/>
                    <a:gd name="connsiteX82" fmla="*/ 929785 w 1661518"/>
                    <a:gd name="connsiteY82" fmla="*/ 155879 h 1161399"/>
                    <a:gd name="connsiteX83" fmla="*/ 930756 w 1661518"/>
                    <a:gd name="connsiteY83" fmla="*/ 156948 h 1161399"/>
                    <a:gd name="connsiteX84" fmla="*/ 930574 w 1661518"/>
                    <a:gd name="connsiteY84" fmla="*/ 158902 h 1161399"/>
                    <a:gd name="connsiteX85" fmla="*/ 929323 w 1661518"/>
                    <a:gd name="connsiteY85" fmla="*/ 161307 h 1161399"/>
                    <a:gd name="connsiteX86" fmla="*/ 923288 w 1661518"/>
                    <a:gd name="connsiteY86" fmla="*/ 170438 h 1161399"/>
                    <a:gd name="connsiteX87" fmla="*/ 919390 w 1661518"/>
                    <a:gd name="connsiteY87" fmla="*/ 178999 h 1161399"/>
                    <a:gd name="connsiteX88" fmla="*/ 918820 w 1661518"/>
                    <a:gd name="connsiteY88" fmla="*/ 183249 h 1161399"/>
                    <a:gd name="connsiteX89" fmla="*/ 918128 w 1661518"/>
                    <a:gd name="connsiteY89" fmla="*/ 185204 h 1161399"/>
                    <a:gd name="connsiteX90" fmla="*/ 916804 w 1661518"/>
                    <a:gd name="connsiteY90" fmla="*/ 187839 h 1161399"/>
                    <a:gd name="connsiteX91" fmla="*/ 908474 w 1661518"/>
                    <a:gd name="connsiteY91" fmla="*/ 197918 h 1161399"/>
                    <a:gd name="connsiteX92" fmla="*/ 906349 w 1661518"/>
                    <a:gd name="connsiteY92" fmla="*/ 203771 h 1161399"/>
                    <a:gd name="connsiteX93" fmla="*/ 903422 w 1661518"/>
                    <a:gd name="connsiteY93" fmla="*/ 210801 h 1161399"/>
                    <a:gd name="connsiteX94" fmla="*/ 900156 w 1661518"/>
                    <a:gd name="connsiteY94" fmla="*/ 213764 h 1161399"/>
                    <a:gd name="connsiteX95" fmla="*/ 897047 w 1661518"/>
                    <a:gd name="connsiteY95" fmla="*/ 215974 h 1161399"/>
                    <a:gd name="connsiteX96" fmla="*/ 894522 w 1661518"/>
                    <a:gd name="connsiteY96" fmla="*/ 217359 h 1161399"/>
                    <a:gd name="connsiteX97" fmla="*/ 892227 w 1661518"/>
                    <a:gd name="connsiteY97" fmla="*/ 219022 h 1161399"/>
                    <a:gd name="connsiteX98" fmla="*/ 890551 w 1661518"/>
                    <a:gd name="connsiteY98" fmla="*/ 221172 h 1161399"/>
                    <a:gd name="connsiteX99" fmla="*/ 889361 w 1661518"/>
                    <a:gd name="connsiteY99" fmla="*/ 224304 h 1161399"/>
                    <a:gd name="connsiteX100" fmla="*/ 888657 w 1661518"/>
                    <a:gd name="connsiteY100" fmla="*/ 227000 h 1161399"/>
                    <a:gd name="connsiteX101" fmla="*/ 888329 w 1661518"/>
                    <a:gd name="connsiteY101" fmla="*/ 229101 h 1161399"/>
                    <a:gd name="connsiteX102" fmla="*/ 888147 w 1661518"/>
                    <a:gd name="connsiteY102" fmla="*/ 231104 h 1161399"/>
                    <a:gd name="connsiteX103" fmla="*/ 888438 w 1661518"/>
                    <a:gd name="connsiteY103" fmla="*/ 233059 h 1161399"/>
                    <a:gd name="connsiteX104" fmla="*/ 889070 w 1661518"/>
                    <a:gd name="connsiteY104" fmla="*/ 235002 h 1161399"/>
                    <a:gd name="connsiteX105" fmla="*/ 891547 w 1661518"/>
                    <a:gd name="connsiteY105" fmla="*/ 239544 h 1161399"/>
                    <a:gd name="connsiteX106" fmla="*/ 892457 w 1661518"/>
                    <a:gd name="connsiteY106" fmla="*/ 241924 h 1161399"/>
                    <a:gd name="connsiteX107" fmla="*/ 893137 w 1661518"/>
                    <a:gd name="connsiteY107" fmla="*/ 244304 h 1161399"/>
                    <a:gd name="connsiteX108" fmla="*/ 893319 w 1661518"/>
                    <a:gd name="connsiteY108" fmla="*/ 246149 h 1161399"/>
                    <a:gd name="connsiteX109" fmla="*/ 893319 w 1661518"/>
                    <a:gd name="connsiteY109" fmla="*/ 247558 h 1161399"/>
                    <a:gd name="connsiteX110" fmla="*/ 893137 w 1661518"/>
                    <a:gd name="connsiteY110" fmla="*/ 248384 h 1161399"/>
                    <a:gd name="connsiteX111" fmla="*/ 892797 w 1661518"/>
                    <a:gd name="connsiteY111" fmla="*/ 249343 h 1161399"/>
                    <a:gd name="connsiteX112" fmla="*/ 892008 w 1661518"/>
                    <a:gd name="connsiteY112" fmla="*/ 250630 h 1161399"/>
                    <a:gd name="connsiteX113" fmla="*/ 885791 w 1661518"/>
                    <a:gd name="connsiteY113" fmla="*/ 253994 h 1161399"/>
                    <a:gd name="connsiteX114" fmla="*/ 867358 w 1661518"/>
                    <a:gd name="connsiteY114" fmla="*/ 257661 h 1161399"/>
                    <a:gd name="connsiteX115" fmla="*/ 861104 w 1661518"/>
                    <a:gd name="connsiteY115" fmla="*/ 261110 h 1161399"/>
                    <a:gd name="connsiteX116" fmla="*/ 859101 w 1661518"/>
                    <a:gd name="connsiteY116" fmla="*/ 262712 h 1161399"/>
                    <a:gd name="connsiteX117" fmla="*/ 856563 w 1661518"/>
                    <a:gd name="connsiteY117" fmla="*/ 264097 h 1161399"/>
                    <a:gd name="connsiteX118" fmla="*/ 854268 w 1661518"/>
                    <a:gd name="connsiteY118" fmla="*/ 264668 h 1161399"/>
                    <a:gd name="connsiteX119" fmla="*/ 850540 w 1661518"/>
                    <a:gd name="connsiteY119" fmla="*/ 264619 h 1161399"/>
                    <a:gd name="connsiteX120" fmla="*/ 844796 w 1661518"/>
                    <a:gd name="connsiteY120" fmla="*/ 263550 h 1161399"/>
                    <a:gd name="connsiteX121" fmla="*/ 842149 w 1661518"/>
                    <a:gd name="connsiteY121" fmla="*/ 263660 h 1161399"/>
                    <a:gd name="connsiteX122" fmla="*/ 838191 w 1661518"/>
                    <a:gd name="connsiteY122" fmla="*/ 264267 h 1161399"/>
                    <a:gd name="connsiteX123" fmla="*/ 821300 w 1661518"/>
                    <a:gd name="connsiteY123" fmla="*/ 268663 h 1161399"/>
                    <a:gd name="connsiteX124" fmla="*/ 818726 w 1661518"/>
                    <a:gd name="connsiteY124" fmla="*/ 271273 h 1161399"/>
                    <a:gd name="connsiteX125" fmla="*/ 816831 w 1661518"/>
                    <a:gd name="connsiteY125" fmla="*/ 281923 h 1161399"/>
                    <a:gd name="connsiteX126" fmla="*/ 813723 w 1661518"/>
                    <a:gd name="connsiteY126" fmla="*/ 286258 h 1161399"/>
                    <a:gd name="connsiteX127" fmla="*/ 800936 w 1661518"/>
                    <a:gd name="connsiteY127" fmla="*/ 296883 h 1161399"/>
                    <a:gd name="connsiteX128" fmla="*/ 799600 w 1661518"/>
                    <a:gd name="connsiteY128" fmla="*/ 298413 h 1161399"/>
                    <a:gd name="connsiteX129" fmla="*/ 798920 w 1661518"/>
                    <a:gd name="connsiteY129" fmla="*/ 299639 h 1161399"/>
                    <a:gd name="connsiteX130" fmla="*/ 799030 w 1661518"/>
                    <a:gd name="connsiteY130" fmla="*/ 301533 h 1161399"/>
                    <a:gd name="connsiteX131" fmla="*/ 799892 w 1661518"/>
                    <a:gd name="connsiteY131" fmla="*/ 303853 h 1161399"/>
                    <a:gd name="connsiteX132" fmla="*/ 802879 w 1661518"/>
                    <a:gd name="connsiteY132" fmla="*/ 307969 h 1161399"/>
                    <a:gd name="connsiteX133" fmla="*/ 805113 w 1661518"/>
                    <a:gd name="connsiteY133" fmla="*/ 310264 h 1161399"/>
                    <a:gd name="connsiteX134" fmla="*/ 807639 w 1661518"/>
                    <a:gd name="connsiteY134" fmla="*/ 313640 h 1161399"/>
                    <a:gd name="connsiteX135" fmla="*/ 817123 w 1661518"/>
                    <a:gd name="connsiteY135" fmla="*/ 333542 h 1161399"/>
                    <a:gd name="connsiteX136" fmla="*/ 819418 w 1661518"/>
                    <a:gd name="connsiteY136" fmla="*/ 337112 h 1161399"/>
                    <a:gd name="connsiteX137" fmla="*/ 820219 w 1661518"/>
                    <a:gd name="connsiteY137" fmla="*/ 339832 h 1161399"/>
                    <a:gd name="connsiteX138" fmla="*/ 820511 w 1661518"/>
                    <a:gd name="connsiteY138" fmla="*/ 341981 h 1161399"/>
                    <a:gd name="connsiteX139" fmla="*/ 819235 w 1661518"/>
                    <a:gd name="connsiteY139" fmla="*/ 347385 h 1161399"/>
                    <a:gd name="connsiteX140" fmla="*/ 816613 w 1661518"/>
                    <a:gd name="connsiteY140" fmla="*/ 351319 h 1161399"/>
                    <a:gd name="connsiteX141" fmla="*/ 815969 w 1661518"/>
                    <a:gd name="connsiteY141" fmla="*/ 353080 h 1161399"/>
                    <a:gd name="connsiteX142" fmla="*/ 815338 w 1661518"/>
                    <a:gd name="connsiteY142" fmla="*/ 356225 h 1161399"/>
                    <a:gd name="connsiteX143" fmla="*/ 814658 w 1661518"/>
                    <a:gd name="connsiteY143" fmla="*/ 361568 h 1161399"/>
                    <a:gd name="connsiteX144" fmla="*/ 813783 w 1661518"/>
                    <a:gd name="connsiteY144" fmla="*/ 362770 h 1161399"/>
                    <a:gd name="connsiteX145" fmla="*/ 813723 w 1661518"/>
                    <a:gd name="connsiteY145" fmla="*/ 365879 h 1161399"/>
                    <a:gd name="connsiteX146" fmla="*/ 815678 w 1661518"/>
                    <a:gd name="connsiteY146" fmla="*/ 369983 h 1161399"/>
                    <a:gd name="connsiteX147" fmla="*/ 814937 w 1661518"/>
                    <a:gd name="connsiteY147" fmla="*/ 374549 h 1161399"/>
                    <a:gd name="connsiteX148" fmla="*/ 812751 w 1661518"/>
                    <a:gd name="connsiteY148" fmla="*/ 378702 h 1161399"/>
                    <a:gd name="connsiteX149" fmla="*/ 810468 w 1661518"/>
                    <a:gd name="connsiteY149" fmla="*/ 381604 h 1161399"/>
                    <a:gd name="connsiteX150" fmla="*/ 800062 w 1661518"/>
                    <a:gd name="connsiteY150" fmla="*/ 391051 h 1161399"/>
                    <a:gd name="connsiteX151" fmla="*/ 794209 w 1661518"/>
                    <a:gd name="connsiteY151" fmla="*/ 393832 h 1161399"/>
                    <a:gd name="connsiteX152" fmla="*/ 785660 w 1661518"/>
                    <a:gd name="connsiteY152" fmla="*/ 400596 h 1161399"/>
                    <a:gd name="connsiteX153" fmla="*/ 783535 w 1661518"/>
                    <a:gd name="connsiteY153" fmla="*/ 403546 h 1161399"/>
                    <a:gd name="connsiteX154" fmla="*/ 783535 w 1661518"/>
                    <a:gd name="connsiteY154" fmla="*/ 405987 h 1161399"/>
                    <a:gd name="connsiteX155" fmla="*/ 784385 w 1661518"/>
                    <a:gd name="connsiteY155" fmla="*/ 408173 h 1161399"/>
                    <a:gd name="connsiteX156" fmla="*/ 785940 w 1661518"/>
                    <a:gd name="connsiteY156" fmla="*/ 409739 h 1161399"/>
                    <a:gd name="connsiteX157" fmla="*/ 788004 w 1661518"/>
                    <a:gd name="connsiteY157" fmla="*/ 410346 h 1161399"/>
                    <a:gd name="connsiteX158" fmla="*/ 788927 w 1661518"/>
                    <a:gd name="connsiteY158" fmla="*/ 411148 h 1161399"/>
                    <a:gd name="connsiteX159" fmla="*/ 793978 w 1661518"/>
                    <a:gd name="connsiteY159" fmla="*/ 420194 h 1161399"/>
                    <a:gd name="connsiteX160" fmla="*/ 794379 w 1661518"/>
                    <a:gd name="connsiteY160" fmla="*/ 424359 h 1161399"/>
                    <a:gd name="connsiteX161" fmla="*/ 794379 w 1661518"/>
                    <a:gd name="connsiteY161" fmla="*/ 428464 h 1161399"/>
                    <a:gd name="connsiteX162" fmla="*/ 795059 w 1661518"/>
                    <a:gd name="connsiteY162" fmla="*/ 432106 h 1161399"/>
                    <a:gd name="connsiteX163" fmla="*/ 797014 w 1661518"/>
                    <a:gd name="connsiteY163" fmla="*/ 435154 h 1161399"/>
                    <a:gd name="connsiteX164" fmla="*/ 799151 w 1661518"/>
                    <a:gd name="connsiteY164" fmla="*/ 437510 h 1161399"/>
                    <a:gd name="connsiteX165" fmla="*/ 800815 w 1661518"/>
                    <a:gd name="connsiteY165" fmla="*/ 440436 h 1161399"/>
                    <a:gd name="connsiteX166" fmla="*/ 801446 w 1661518"/>
                    <a:gd name="connsiteY166" fmla="*/ 445124 h 1161399"/>
                    <a:gd name="connsiteX167" fmla="*/ 801276 w 1661518"/>
                    <a:gd name="connsiteY167" fmla="*/ 446387 h 1161399"/>
                    <a:gd name="connsiteX168" fmla="*/ 800183 w 1661518"/>
                    <a:gd name="connsiteY168" fmla="*/ 449944 h 1161399"/>
                    <a:gd name="connsiteX169" fmla="*/ 800693 w 1661518"/>
                    <a:gd name="connsiteY169" fmla="*/ 451110 h 1161399"/>
                    <a:gd name="connsiteX170" fmla="*/ 802478 w 1661518"/>
                    <a:gd name="connsiteY170" fmla="*/ 453187 h 1161399"/>
                    <a:gd name="connsiteX171" fmla="*/ 802879 w 1661518"/>
                    <a:gd name="connsiteY171" fmla="*/ 454012 h 1161399"/>
                    <a:gd name="connsiteX172" fmla="*/ 802527 w 1661518"/>
                    <a:gd name="connsiteY172" fmla="*/ 458262 h 1161399"/>
                    <a:gd name="connsiteX173" fmla="*/ 801446 w 1661518"/>
                    <a:gd name="connsiteY173" fmla="*/ 462172 h 1161399"/>
                    <a:gd name="connsiteX174" fmla="*/ 799479 w 1661518"/>
                    <a:gd name="connsiteY174" fmla="*/ 465876 h 1161399"/>
                    <a:gd name="connsiteX175" fmla="*/ 794731 w 1661518"/>
                    <a:gd name="connsiteY175" fmla="*/ 472275 h 1161399"/>
                    <a:gd name="connsiteX176" fmla="*/ 793808 w 1661518"/>
                    <a:gd name="connsiteY176" fmla="*/ 474983 h 1161399"/>
                    <a:gd name="connsiteX177" fmla="*/ 794427 w 1661518"/>
                    <a:gd name="connsiteY177" fmla="*/ 475177 h 1161399"/>
                    <a:gd name="connsiteX178" fmla="*/ 797257 w 1661518"/>
                    <a:gd name="connsiteY178" fmla="*/ 480205 h 1161399"/>
                    <a:gd name="connsiteX179" fmla="*/ 797658 w 1661518"/>
                    <a:gd name="connsiteY179" fmla="*/ 481212 h 1161399"/>
                    <a:gd name="connsiteX180" fmla="*/ 799479 w 1661518"/>
                    <a:gd name="connsiteY180" fmla="*/ 482354 h 1161399"/>
                    <a:gd name="connsiteX181" fmla="*/ 801155 w 1661518"/>
                    <a:gd name="connsiteY181" fmla="*/ 482645 h 1161399"/>
                    <a:gd name="connsiteX182" fmla="*/ 802418 w 1661518"/>
                    <a:gd name="connsiteY182" fmla="*/ 483240 h 1161399"/>
                    <a:gd name="connsiteX183" fmla="*/ 802879 w 1661518"/>
                    <a:gd name="connsiteY183" fmla="*/ 485280 h 1161399"/>
                    <a:gd name="connsiteX184" fmla="*/ 803863 w 1661518"/>
                    <a:gd name="connsiteY184" fmla="*/ 488122 h 1161399"/>
                    <a:gd name="connsiteX185" fmla="*/ 806558 w 1661518"/>
                    <a:gd name="connsiteY185" fmla="*/ 490368 h 1161399"/>
                    <a:gd name="connsiteX186" fmla="*/ 809825 w 1661518"/>
                    <a:gd name="connsiteY186" fmla="*/ 492578 h 1161399"/>
                    <a:gd name="connsiteX187" fmla="*/ 814658 w 1661518"/>
                    <a:gd name="connsiteY187" fmla="*/ 494679 h 1161399"/>
                    <a:gd name="connsiteX188" fmla="*/ 816370 w 1661518"/>
                    <a:gd name="connsiteY188" fmla="*/ 495760 h 1161399"/>
                    <a:gd name="connsiteX189" fmla="*/ 817523 w 1661518"/>
                    <a:gd name="connsiteY189" fmla="*/ 497108 h 1161399"/>
                    <a:gd name="connsiteX190" fmla="*/ 817863 w 1661518"/>
                    <a:gd name="connsiteY190" fmla="*/ 498540 h 1161399"/>
                    <a:gd name="connsiteX191" fmla="*/ 817463 w 1661518"/>
                    <a:gd name="connsiteY191" fmla="*/ 500180 h 1161399"/>
                    <a:gd name="connsiteX192" fmla="*/ 814087 w 1661518"/>
                    <a:gd name="connsiteY192" fmla="*/ 505923 h 1161399"/>
                    <a:gd name="connsiteX193" fmla="*/ 813565 w 1661518"/>
                    <a:gd name="connsiteY193" fmla="*/ 507903 h 1161399"/>
                    <a:gd name="connsiteX194" fmla="*/ 813723 w 1661518"/>
                    <a:gd name="connsiteY194" fmla="*/ 510234 h 1161399"/>
                    <a:gd name="connsiteX195" fmla="*/ 814755 w 1661518"/>
                    <a:gd name="connsiteY195" fmla="*/ 512444 h 1161399"/>
                    <a:gd name="connsiteX196" fmla="*/ 816661 w 1661518"/>
                    <a:gd name="connsiteY196" fmla="*/ 514824 h 1161399"/>
                    <a:gd name="connsiteX197" fmla="*/ 818677 w 1661518"/>
                    <a:gd name="connsiteY197" fmla="*/ 516779 h 1161399"/>
                    <a:gd name="connsiteX198" fmla="*/ 821300 w 1661518"/>
                    <a:gd name="connsiteY198" fmla="*/ 518103 h 1161399"/>
                    <a:gd name="connsiteX199" fmla="*/ 824129 w 1661518"/>
                    <a:gd name="connsiteY199" fmla="*/ 518358 h 1161399"/>
                    <a:gd name="connsiteX200" fmla="*/ 828318 w 1661518"/>
                    <a:gd name="connsiteY200" fmla="*/ 516925 h 1161399"/>
                    <a:gd name="connsiteX201" fmla="*/ 831245 w 1661518"/>
                    <a:gd name="connsiteY201" fmla="*/ 514970 h 1161399"/>
                    <a:gd name="connsiteX202" fmla="*/ 833370 w 1661518"/>
                    <a:gd name="connsiteY202" fmla="*/ 513015 h 1161399"/>
                    <a:gd name="connsiteX203" fmla="*/ 834742 w 1661518"/>
                    <a:gd name="connsiteY203" fmla="*/ 511157 h 1161399"/>
                    <a:gd name="connsiteX204" fmla="*/ 835483 w 1661518"/>
                    <a:gd name="connsiteY204" fmla="*/ 509542 h 1161399"/>
                    <a:gd name="connsiteX205" fmla="*/ 835726 w 1661518"/>
                    <a:gd name="connsiteY205" fmla="*/ 507878 h 1161399"/>
                    <a:gd name="connsiteX206" fmla="*/ 835847 w 1661518"/>
                    <a:gd name="connsiteY206" fmla="*/ 505984 h 1161399"/>
                    <a:gd name="connsiteX207" fmla="*/ 836066 w 1661518"/>
                    <a:gd name="connsiteY207" fmla="*/ 503944 h 1161399"/>
                    <a:gd name="connsiteX208" fmla="*/ 836709 w 1661518"/>
                    <a:gd name="connsiteY208" fmla="*/ 501795 h 1161399"/>
                    <a:gd name="connsiteX209" fmla="*/ 837559 w 1661518"/>
                    <a:gd name="connsiteY209" fmla="*/ 500070 h 1161399"/>
                    <a:gd name="connsiteX210" fmla="*/ 838713 w 1661518"/>
                    <a:gd name="connsiteY210" fmla="*/ 498346 h 1161399"/>
                    <a:gd name="connsiteX211" fmla="*/ 839745 w 1661518"/>
                    <a:gd name="connsiteY211" fmla="*/ 497108 h 1161399"/>
                    <a:gd name="connsiteX212" fmla="*/ 841408 w 1661518"/>
                    <a:gd name="connsiteY212" fmla="*/ 496391 h 1161399"/>
                    <a:gd name="connsiteX213" fmla="*/ 843582 w 1661518"/>
                    <a:gd name="connsiteY213" fmla="*/ 496561 h 1161399"/>
                    <a:gd name="connsiteX214" fmla="*/ 847322 w 1661518"/>
                    <a:gd name="connsiteY214" fmla="*/ 498115 h 1161399"/>
                    <a:gd name="connsiteX215" fmla="*/ 852313 w 1661518"/>
                    <a:gd name="connsiteY215" fmla="*/ 500993 h 1161399"/>
                    <a:gd name="connsiteX216" fmla="*/ 862537 w 1661518"/>
                    <a:gd name="connsiteY216" fmla="*/ 509578 h 1161399"/>
                    <a:gd name="connsiteX217" fmla="*/ 866387 w 1661518"/>
                    <a:gd name="connsiteY217" fmla="*/ 512043 h 1161399"/>
                    <a:gd name="connsiteX218" fmla="*/ 871960 w 1661518"/>
                    <a:gd name="connsiteY218" fmla="*/ 517666 h 1161399"/>
                    <a:gd name="connsiteX219" fmla="*/ 874838 w 1661518"/>
                    <a:gd name="connsiteY219" fmla="*/ 519681 h 1161399"/>
                    <a:gd name="connsiteX220" fmla="*/ 878104 w 1661518"/>
                    <a:gd name="connsiteY220" fmla="*/ 521175 h 1161399"/>
                    <a:gd name="connsiteX221" fmla="*/ 880970 w 1661518"/>
                    <a:gd name="connsiteY221" fmla="*/ 522001 h 1161399"/>
                    <a:gd name="connsiteX222" fmla="*/ 887005 w 1661518"/>
                    <a:gd name="connsiteY222" fmla="*/ 522547 h 1161399"/>
                    <a:gd name="connsiteX223" fmla="*/ 889871 w 1661518"/>
                    <a:gd name="connsiteY223" fmla="*/ 522498 h 1161399"/>
                    <a:gd name="connsiteX224" fmla="*/ 891826 w 1661518"/>
                    <a:gd name="connsiteY224" fmla="*/ 522693 h 1161399"/>
                    <a:gd name="connsiteX225" fmla="*/ 892737 w 1661518"/>
                    <a:gd name="connsiteY225" fmla="*/ 523263 h 1161399"/>
                    <a:gd name="connsiteX226" fmla="*/ 893198 w 1661518"/>
                    <a:gd name="connsiteY226" fmla="*/ 524563 h 1161399"/>
                    <a:gd name="connsiteX227" fmla="*/ 893259 w 1661518"/>
                    <a:gd name="connsiteY227" fmla="*/ 526481 h 1161399"/>
                    <a:gd name="connsiteX228" fmla="*/ 893550 w 1661518"/>
                    <a:gd name="connsiteY228" fmla="*/ 528691 h 1161399"/>
                    <a:gd name="connsiteX229" fmla="*/ 894752 w 1661518"/>
                    <a:gd name="connsiteY229" fmla="*/ 531399 h 1161399"/>
                    <a:gd name="connsiteX230" fmla="*/ 897218 w 1661518"/>
                    <a:gd name="connsiteY230" fmla="*/ 533609 h 1161399"/>
                    <a:gd name="connsiteX231" fmla="*/ 900387 w 1661518"/>
                    <a:gd name="connsiteY231" fmla="*/ 535042 h 1161399"/>
                    <a:gd name="connsiteX232" fmla="*/ 903702 w 1661518"/>
                    <a:gd name="connsiteY232" fmla="*/ 534459 h 1161399"/>
                    <a:gd name="connsiteX233" fmla="*/ 906701 w 1661518"/>
                    <a:gd name="connsiteY233" fmla="*/ 532480 h 1161399"/>
                    <a:gd name="connsiteX234" fmla="*/ 911522 w 1661518"/>
                    <a:gd name="connsiteY234" fmla="*/ 527659 h 1161399"/>
                    <a:gd name="connsiteX235" fmla="*/ 914387 w 1661518"/>
                    <a:gd name="connsiteY235" fmla="*/ 524126 h 1161399"/>
                    <a:gd name="connsiteX236" fmla="*/ 916804 w 1661518"/>
                    <a:gd name="connsiteY236" fmla="*/ 519329 h 1161399"/>
                    <a:gd name="connsiteX237" fmla="*/ 918577 w 1661518"/>
                    <a:gd name="connsiteY237" fmla="*/ 513792 h 1161399"/>
                    <a:gd name="connsiteX238" fmla="*/ 920993 w 1661518"/>
                    <a:gd name="connsiteY238" fmla="*/ 509372 h 1161399"/>
                    <a:gd name="connsiteX239" fmla="*/ 927320 w 1661518"/>
                    <a:gd name="connsiteY239" fmla="*/ 503592 h 1161399"/>
                    <a:gd name="connsiteX240" fmla="*/ 929384 w 1661518"/>
                    <a:gd name="connsiteY240" fmla="*/ 501795 h 1161399"/>
                    <a:gd name="connsiteX241" fmla="*/ 930938 w 1661518"/>
                    <a:gd name="connsiteY241" fmla="*/ 500180 h 1161399"/>
                    <a:gd name="connsiteX242" fmla="*/ 932711 w 1661518"/>
                    <a:gd name="connsiteY242" fmla="*/ 497630 h 1161399"/>
                    <a:gd name="connsiteX243" fmla="*/ 934205 w 1661518"/>
                    <a:gd name="connsiteY243" fmla="*/ 494218 h 1161399"/>
                    <a:gd name="connsiteX244" fmla="*/ 935358 w 1661518"/>
                    <a:gd name="connsiteY244" fmla="*/ 490732 h 1161399"/>
                    <a:gd name="connsiteX245" fmla="*/ 935298 w 1661518"/>
                    <a:gd name="connsiteY245" fmla="*/ 485280 h 1161399"/>
                    <a:gd name="connsiteX246" fmla="*/ 931849 w 1661518"/>
                    <a:gd name="connsiteY246" fmla="*/ 483362 h 1161399"/>
                    <a:gd name="connsiteX247" fmla="*/ 927890 w 1661518"/>
                    <a:gd name="connsiteY247" fmla="*/ 482730 h 1161399"/>
                    <a:gd name="connsiteX248" fmla="*/ 925935 w 1661518"/>
                    <a:gd name="connsiteY248" fmla="*/ 482645 h 1161399"/>
                    <a:gd name="connsiteX249" fmla="*/ 924442 w 1661518"/>
                    <a:gd name="connsiteY249" fmla="*/ 482147 h 1161399"/>
                    <a:gd name="connsiteX250" fmla="*/ 923641 w 1661518"/>
                    <a:gd name="connsiteY250" fmla="*/ 481431 h 1161399"/>
                    <a:gd name="connsiteX251" fmla="*/ 923288 w 1661518"/>
                    <a:gd name="connsiteY251" fmla="*/ 479852 h 1161399"/>
                    <a:gd name="connsiteX252" fmla="*/ 923179 w 1661518"/>
                    <a:gd name="connsiteY252" fmla="*/ 479160 h 1161399"/>
                    <a:gd name="connsiteX253" fmla="*/ 923179 w 1661518"/>
                    <a:gd name="connsiteY253" fmla="*/ 478675 h 1161399"/>
                    <a:gd name="connsiteX254" fmla="*/ 923179 w 1661518"/>
                    <a:gd name="connsiteY254" fmla="*/ 478250 h 1161399"/>
                    <a:gd name="connsiteX255" fmla="*/ 923410 w 1661518"/>
                    <a:gd name="connsiteY255" fmla="*/ 477181 h 1161399"/>
                    <a:gd name="connsiteX256" fmla="*/ 924661 w 1661518"/>
                    <a:gd name="connsiteY256" fmla="*/ 474145 h 1161399"/>
                    <a:gd name="connsiteX257" fmla="*/ 924782 w 1661518"/>
                    <a:gd name="connsiteY257" fmla="*/ 472166 h 1161399"/>
                    <a:gd name="connsiteX258" fmla="*/ 923058 w 1661518"/>
                    <a:gd name="connsiteY258" fmla="*/ 469324 h 1161399"/>
                    <a:gd name="connsiteX259" fmla="*/ 919390 w 1661518"/>
                    <a:gd name="connsiteY259" fmla="*/ 464613 h 1161399"/>
                    <a:gd name="connsiteX260" fmla="*/ 918298 w 1661518"/>
                    <a:gd name="connsiteY260" fmla="*/ 462318 h 1161399"/>
                    <a:gd name="connsiteX261" fmla="*/ 917545 w 1661518"/>
                    <a:gd name="connsiteY261" fmla="*/ 459161 h 1161399"/>
                    <a:gd name="connsiteX262" fmla="*/ 916634 w 1661518"/>
                    <a:gd name="connsiteY262" fmla="*/ 456259 h 1161399"/>
                    <a:gd name="connsiteX263" fmla="*/ 915201 w 1661518"/>
                    <a:gd name="connsiteY263" fmla="*/ 453757 h 1161399"/>
                    <a:gd name="connsiteX264" fmla="*/ 912433 w 1661518"/>
                    <a:gd name="connsiteY264" fmla="*/ 451207 h 1161399"/>
                    <a:gd name="connsiteX265" fmla="*/ 909737 w 1661518"/>
                    <a:gd name="connsiteY265" fmla="*/ 449993 h 1161399"/>
                    <a:gd name="connsiteX266" fmla="*/ 906920 w 1661518"/>
                    <a:gd name="connsiteY266" fmla="*/ 449507 h 1161399"/>
                    <a:gd name="connsiteX267" fmla="*/ 904515 w 1661518"/>
                    <a:gd name="connsiteY267" fmla="*/ 449677 h 1161399"/>
                    <a:gd name="connsiteX268" fmla="*/ 900265 w 1661518"/>
                    <a:gd name="connsiteY268" fmla="*/ 450515 h 1161399"/>
                    <a:gd name="connsiteX269" fmla="*/ 894752 w 1661518"/>
                    <a:gd name="connsiteY269" fmla="*/ 452470 h 1161399"/>
                    <a:gd name="connsiteX270" fmla="*/ 892518 w 1661518"/>
                    <a:gd name="connsiteY270" fmla="*/ 452956 h 1161399"/>
                    <a:gd name="connsiteX271" fmla="*/ 890612 w 1661518"/>
                    <a:gd name="connsiteY271" fmla="*/ 452725 h 1161399"/>
                    <a:gd name="connsiteX272" fmla="*/ 889300 w 1661518"/>
                    <a:gd name="connsiteY272" fmla="*/ 451827 h 1161399"/>
                    <a:gd name="connsiteX273" fmla="*/ 888147 w 1661518"/>
                    <a:gd name="connsiteY273" fmla="*/ 450224 h 1161399"/>
                    <a:gd name="connsiteX274" fmla="*/ 886775 w 1661518"/>
                    <a:gd name="connsiteY274" fmla="*/ 447649 h 1161399"/>
                    <a:gd name="connsiteX275" fmla="*/ 885912 w 1661518"/>
                    <a:gd name="connsiteY275" fmla="*/ 445209 h 1161399"/>
                    <a:gd name="connsiteX276" fmla="*/ 885973 w 1661518"/>
                    <a:gd name="connsiteY276" fmla="*/ 441930 h 1161399"/>
                    <a:gd name="connsiteX277" fmla="*/ 886775 w 1661518"/>
                    <a:gd name="connsiteY277" fmla="*/ 440242 h 1161399"/>
                    <a:gd name="connsiteX278" fmla="*/ 888960 w 1661518"/>
                    <a:gd name="connsiteY278" fmla="*/ 437340 h 1161399"/>
                    <a:gd name="connsiteX279" fmla="*/ 889531 w 1661518"/>
                    <a:gd name="connsiteY279" fmla="*/ 435810 h 1161399"/>
                    <a:gd name="connsiteX280" fmla="*/ 889871 w 1661518"/>
                    <a:gd name="connsiteY280" fmla="*/ 433867 h 1161399"/>
                    <a:gd name="connsiteX281" fmla="*/ 889822 w 1661518"/>
                    <a:gd name="connsiteY281" fmla="*/ 431451 h 1161399"/>
                    <a:gd name="connsiteX282" fmla="*/ 889021 w 1661518"/>
                    <a:gd name="connsiteY282" fmla="*/ 425282 h 1161399"/>
                    <a:gd name="connsiteX283" fmla="*/ 889130 w 1661518"/>
                    <a:gd name="connsiteY283" fmla="*/ 416066 h 1161399"/>
                    <a:gd name="connsiteX284" fmla="*/ 888657 w 1661518"/>
                    <a:gd name="connsiteY284" fmla="*/ 412933 h 1161399"/>
                    <a:gd name="connsiteX285" fmla="*/ 887515 w 1661518"/>
                    <a:gd name="connsiteY285" fmla="*/ 409314 h 1161399"/>
                    <a:gd name="connsiteX286" fmla="*/ 884941 w 1661518"/>
                    <a:gd name="connsiteY286" fmla="*/ 404311 h 1161399"/>
                    <a:gd name="connsiteX287" fmla="*/ 882634 w 1661518"/>
                    <a:gd name="connsiteY287" fmla="*/ 401360 h 1161399"/>
                    <a:gd name="connsiteX288" fmla="*/ 875397 w 1661518"/>
                    <a:gd name="connsiteY288" fmla="*/ 394245 h 1161399"/>
                    <a:gd name="connsiteX289" fmla="*/ 873502 w 1661518"/>
                    <a:gd name="connsiteY289" fmla="*/ 390966 h 1161399"/>
                    <a:gd name="connsiteX290" fmla="*/ 871899 w 1661518"/>
                    <a:gd name="connsiteY290" fmla="*/ 386291 h 1161399"/>
                    <a:gd name="connsiteX291" fmla="*/ 867989 w 1661518"/>
                    <a:gd name="connsiteY291" fmla="*/ 366219 h 1161399"/>
                    <a:gd name="connsiteX292" fmla="*/ 867710 w 1661518"/>
                    <a:gd name="connsiteY292" fmla="*/ 357403 h 1161399"/>
                    <a:gd name="connsiteX293" fmla="*/ 866156 w 1661518"/>
                    <a:gd name="connsiteY293" fmla="*/ 351915 h 1161399"/>
                    <a:gd name="connsiteX294" fmla="*/ 859441 w 1661518"/>
                    <a:gd name="connsiteY294" fmla="*/ 336760 h 1161399"/>
                    <a:gd name="connsiteX295" fmla="*/ 857194 w 1661518"/>
                    <a:gd name="connsiteY295" fmla="*/ 333979 h 1161399"/>
                    <a:gd name="connsiteX296" fmla="*/ 854729 w 1661518"/>
                    <a:gd name="connsiteY296" fmla="*/ 331648 h 1161399"/>
                    <a:gd name="connsiteX297" fmla="*/ 851001 w 1661518"/>
                    <a:gd name="connsiteY297" fmla="*/ 328782 h 1161399"/>
                    <a:gd name="connsiteX298" fmla="*/ 849617 w 1661518"/>
                    <a:gd name="connsiteY298" fmla="*/ 327495 h 1161399"/>
                    <a:gd name="connsiteX299" fmla="*/ 848536 w 1661518"/>
                    <a:gd name="connsiteY299" fmla="*/ 325965 h 1161399"/>
                    <a:gd name="connsiteX300" fmla="*/ 848123 w 1661518"/>
                    <a:gd name="connsiteY300" fmla="*/ 324532 h 1161399"/>
                    <a:gd name="connsiteX301" fmla="*/ 848063 w 1661518"/>
                    <a:gd name="connsiteY301" fmla="*/ 322978 h 1161399"/>
                    <a:gd name="connsiteX302" fmla="*/ 848536 w 1661518"/>
                    <a:gd name="connsiteY302" fmla="*/ 321339 h 1161399"/>
                    <a:gd name="connsiteX303" fmla="*/ 849399 w 1661518"/>
                    <a:gd name="connsiteY303" fmla="*/ 319444 h 1161399"/>
                    <a:gd name="connsiteX304" fmla="*/ 851281 w 1661518"/>
                    <a:gd name="connsiteY304" fmla="*/ 316068 h 1161399"/>
                    <a:gd name="connsiteX305" fmla="*/ 855883 w 1661518"/>
                    <a:gd name="connsiteY305" fmla="*/ 309693 h 1161399"/>
                    <a:gd name="connsiteX306" fmla="*/ 857255 w 1661518"/>
                    <a:gd name="connsiteY306" fmla="*/ 308309 h 1161399"/>
                    <a:gd name="connsiteX307" fmla="*/ 859781 w 1661518"/>
                    <a:gd name="connsiteY307" fmla="*/ 306330 h 1161399"/>
                    <a:gd name="connsiteX308" fmla="*/ 860473 w 1661518"/>
                    <a:gd name="connsiteY308" fmla="*/ 305213 h 1161399"/>
                    <a:gd name="connsiteX309" fmla="*/ 860655 w 1661518"/>
                    <a:gd name="connsiteY309" fmla="*/ 304181 h 1161399"/>
                    <a:gd name="connsiteX310" fmla="*/ 860351 w 1661518"/>
                    <a:gd name="connsiteY310" fmla="*/ 302821 h 1161399"/>
                    <a:gd name="connsiteX311" fmla="*/ 859963 w 1661518"/>
                    <a:gd name="connsiteY311" fmla="*/ 301703 h 1161399"/>
                    <a:gd name="connsiteX312" fmla="*/ 859781 w 1661518"/>
                    <a:gd name="connsiteY312" fmla="*/ 300416 h 1161399"/>
                    <a:gd name="connsiteX313" fmla="*/ 860194 w 1661518"/>
                    <a:gd name="connsiteY313" fmla="*/ 299008 h 1161399"/>
                    <a:gd name="connsiteX314" fmla="*/ 860983 w 1661518"/>
                    <a:gd name="connsiteY314" fmla="*/ 297866 h 1161399"/>
                    <a:gd name="connsiteX315" fmla="*/ 862197 w 1661518"/>
                    <a:gd name="connsiteY315" fmla="*/ 297053 h 1161399"/>
                    <a:gd name="connsiteX316" fmla="*/ 863800 w 1661518"/>
                    <a:gd name="connsiteY316" fmla="*/ 296397 h 1161399"/>
                    <a:gd name="connsiteX317" fmla="*/ 866508 w 1661518"/>
                    <a:gd name="connsiteY317" fmla="*/ 296142 h 1161399"/>
                    <a:gd name="connsiteX318" fmla="*/ 870236 w 1661518"/>
                    <a:gd name="connsiteY318" fmla="*/ 296105 h 1161399"/>
                    <a:gd name="connsiteX319" fmla="*/ 874146 w 1661518"/>
                    <a:gd name="connsiteY319" fmla="*/ 297308 h 1161399"/>
                    <a:gd name="connsiteX320" fmla="*/ 875749 w 1661518"/>
                    <a:gd name="connsiteY320" fmla="*/ 298024 h 1161399"/>
                    <a:gd name="connsiteX321" fmla="*/ 876490 w 1661518"/>
                    <a:gd name="connsiteY321" fmla="*/ 298898 h 1161399"/>
                    <a:gd name="connsiteX322" fmla="*/ 877461 w 1661518"/>
                    <a:gd name="connsiteY322" fmla="*/ 301473 h 1161399"/>
                    <a:gd name="connsiteX323" fmla="*/ 878444 w 1661518"/>
                    <a:gd name="connsiteY323" fmla="*/ 302711 h 1161399"/>
                    <a:gd name="connsiteX324" fmla="*/ 881444 w 1661518"/>
                    <a:gd name="connsiteY324" fmla="*/ 304569 h 1161399"/>
                    <a:gd name="connsiteX325" fmla="*/ 882865 w 1661518"/>
                    <a:gd name="connsiteY325" fmla="*/ 305868 h 1161399"/>
                    <a:gd name="connsiteX326" fmla="*/ 885159 w 1661518"/>
                    <a:gd name="connsiteY326" fmla="*/ 308504 h 1161399"/>
                    <a:gd name="connsiteX327" fmla="*/ 886653 w 1661518"/>
                    <a:gd name="connsiteY327" fmla="*/ 309657 h 1161399"/>
                    <a:gd name="connsiteX328" fmla="*/ 888268 w 1661518"/>
                    <a:gd name="connsiteY328" fmla="*/ 309912 h 1161399"/>
                    <a:gd name="connsiteX329" fmla="*/ 889871 w 1661518"/>
                    <a:gd name="connsiteY329" fmla="*/ 308856 h 1161399"/>
                    <a:gd name="connsiteX330" fmla="*/ 890272 w 1661518"/>
                    <a:gd name="connsiteY330" fmla="*/ 307253 h 1161399"/>
                    <a:gd name="connsiteX331" fmla="*/ 890102 w 1661518"/>
                    <a:gd name="connsiteY331" fmla="*/ 305553 h 1161399"/>
                    <a:gd name="connsiteX332" fmla="*/ 889130 w 1661518"/>
                    <a:gd name="connsiteY332" fmla="*/ 303051 h 1161399"/>
                    <a:gd name="connsiteX333" fmla="*/ 888778 w 1661518"/>
                    <a:gd name="connsiteY333" fmla="*/ 301618 h 1161399"/>
                    <a:gd name="connsiteX334" fmla="*/ 889021 w 1661518"/>
                    <a:gd name="connsiteY334" fmla="*/ 300003 h 1161399"/>
                    <a:gd name="connsiteX335" fmla="*/ 889701 w 1661518"/>
                    <a:gd name="connsiteY335" fmla="*/ 298668 h 1161399"/>
                    <a:gd name="connsiteX336" fmla="*/ 891644 w 1661518"/>
                    <a:gd name="connsiteY336" fmla="*/ 295851 h 1161399"/>
                    <a:gd name="connsiteX337" fmla="*/ 892227 w 1661518"/>
                    <a:gd name="connsiteY337" fmla="*/ 293980 h 1161399"/>
                    <a:gd name="connsiteX338" fmla="*/ 892057 w 1661518"/>
                    <a:gd name="connsiteY338" fmla="*/ 292463 h 1161399"/>
                    <a:gd name="connsiteX339" fmla="*/ 891583 w 1661518"/>
                    <a:gd name="connsiteY339" fmla="*/ 291345 h 1161399"/>
                    <a:gd name="connsiteX340" fmla="*/ 887977 w 1661518"/>
                    <a:gd name="connsiteY340" fmla="*/ 288091 h 1161399"/>
                    <a:gd name="connsiteX341" fmla="*/ 887345 w 1661518"/>
                    <a:gd name="connsiteY341" fmla="*/ 286865 h 1161399"/>
                    <a:gd name="connsiteX342" fmla="*/ 887637 w 1661518"/>
                    <a:gd name="connsiteY342" fmla="*/ 282323 h 1161399"/>
                    <a:gd name="connsiteX343" fmla="*/ 888147 w 1661518"/>
                    <a:gd name="connsiteY343" fmla="*/ 280320 h 1161399"/>
                    <a:gd name="connsiteX344" fmla="*/ 889531 w 1661518"/>
                    <a:gd name="connsiteY344" fmla="*/ 278790 h 1161399"/>
                    <a:gd name="connsiteX345" fmla="*/ 891365 w 1661518"/>
                    <a:gd name="connsiteY345" fmla="*/ 277879 h 1161399"/>
                    <a:gd name="connsiteX346" fmla="*/ 893380 w 1661518"/>
                    <a:gd name="connsiteY346" fmla="*/ 277527 h 1161399"/>
                    <a:gd name="connsiteX347" fmla="*/ 894922 w 1661518"/>
                    <a:gd name="connsiteY347" fmla="*/ 277017 h 1161399"/>
                    <a:gd name="connsiteX348" fmla="*/ 898432 w 1661518"/>
                    <a:gd name="connsiteY348" fmla="*/ 274406 h 1161399"/>
                    <a:gd name="connsiteX349" fmla="*/ 900435 w 1661518"/>
                    <a:gd name="connsiteY349" fmla="*/ 277272 h 1161399"/>
                    <a:gd name="connsiteX350" fmla="*/ 901018 w 1661518"/>
                    <a:gd name="connsiteY350" fmla="*/ 278425 h 1161399"/>
                    <a:gd name="connsiteX351" fmla="*/ 901298 w 1661518"/>
                    <a:gd name="connsiteY351" fmla="*/ 279251 h 1161399"/>
                    <a:gd name="connsiteX352" fmla="*/ 901929 w 1661518"/>
                    <a:gd name="connsiteY352" fmla="*/ 283683 h 1161399"/>
                    <a:gd name="connsiteX353" fmla="*/ 901698 w 1661518"/>
                    <a:gd name="connsiteY353" fmla="*/ 291431 h 1161399"/>
                    <a:gd name="connsiteX354" fmla="*/ 901990 w 1661518"/>
                    <a:gd name="connsiteY354" fmla="*/ 293835 h 1161399"/>
                    <a:gd name="connsiteX355" fmla="*/ 903082 w 1661518"/>
                    <a:gd name="connsiteY355" fmla="*/ 295073 h 1161399"/>
                    <a:gd name="connsiteX356" fmla="*/ 905038 w 1661518"/>
                    <a:gd name="connsiteY356" fmla="*/ 295753 h 1161399"/>
                    <a:gd name="connsiteX357" fmla="*/ 908535 w 1661518"/>
                    <a:gd name="connsiteY357" fmla="*/ 295268 h 1161399"/>
                    <a:gd name="connsiteX358" fmla="*/ 910538 w 1661518"/>
                    <a:gd name="connsiteY358" fmla="*/ 294017 h 1161399"/>
                    <a:gd name="connsiteX359" fmla="*/ 911801 w 1661518"/>
                    <a:gd name="connsiteY359" fmla="*/ 292402 h 1161399"/>
                    <a:gd name="connsiteX360" fmla="*/ 912093 w 1661518"/>
                    <a:gd name="connsiteY360" fmla="*/ 290253 h 1161399"/>
                    <a:gd name="connsiteX361" fmla="*/ 911583 w 1661518"/>
                    <a:gd name="connsiteY361" fmla="*/ 282967 h 1161399"/>
                    <a:gd name="connsiteX362" fmla="*/ 911692 w 1661518"/>
                    <a:gd name="connsiteY362" fmla="*/ 281000 h 1161399"/>
                    <a:gd name="connsiteX363" fmla="*/ 911862 w 1661518"/>
                    <a:gd name="connsiteY363" fmla="*/ 279737 h 1161399"/>
                    <a:gd name="connsiteX364" fmla="*/ 912214 w 1661518"/>
                    <a:gd name="connsiteY364" fmla="*/ 278790 h 1161399"/>
                    <a:gd name="connsiteX365" fmla="*/ 913404 w 1661518"/>
                    <a:gd name="connsiteY365" fmla="*/ 276179 h 1161399"/>
                    <a:gd name="connsiteX366" fmla="*/ 914898 w 1661518"/>
                    <a:gd name="connsiteY366" fmla="*/ 274200 h 1161399"/>
                    <a:gd name="connsiteX367" fmla="*/ 916755 w 1661518"/>
                    <a:gd name="connsiteY367" fmla="*/ 272415 h 1161399"/>
                    <a:gd name="connsiteX368" fmla="*/ 918917 w 1661518"/>
                    <a:gd name="connsiteY368" fmla="*/ 271589 h 1161399"/>
                    <a:gd name="connsiteX369" fmla="*/ 920823 w 1661518"/>
                    <a:gd name="connsiteY369" fmla="*/ 271965 h 1161399"/>
                    <a:gd name="connsiteX370" fmla="*/ 923058 w 1661518"/>
                    <a:gd name="connsiteY370" fmla="*/ 274151 h 1161399"/>
                    <a:gd name="connsiteX371" fmla="*/ 923810 w 1661518"/>
                    <a:gd name="connsiteY371" fmla="*/ 276325 h 1161399"/>
                    <a:gd name="connsiteX372" fmla="*/ 924211 w 1661518"/>
                    <a:gd name="connsiteY372" fmla="*/ 278280 h 1161399"/>
                    <a:gd name="connsiteX373" fmla="*/ 924211 w 1661518"/>
                    <a:gd name="connsiteY373" fmla="*/ 282129 h 1161399"/>
                    <a:gd name="connsiteX374" fmla="*/ 923871 w 1661518"/>
                    <a:gd name="connsiteY374" fmla="*/ 284400 h 1161399"/>
                    <a:gd name="connsiteX375" fmla="*/ 923058 w 1661518"/>
                    <a:gd name="connsiteY375" fmla="*/ 286634 h 1161399"/>
                    <a:gd name="connsiteX376" fmla="*/ 922208 w 1661518"/>
                    <a:gd name="connsiteY376" fmla="*/ 288322 h 1161399"/>
                    <a:gd name="connsiteX377" fmla="*/ 921746 w 1661518"/>
                    <a:gd name="connsiteY377" fmla="*/ 289876 h 1161399"/>
                    <a:gd name="connsiteX378" fmla="*/ 922317 w 1661518"/>
                    <a:gd name="connsiteY378" fmla="*/ 290933 h 1161399"/>
                    <a:gd name="connsiteX379" fmla="*/ 923750 w 1661518"/>
                    <a:gd name="connsiteY379" fmla="*/ 291600 h 1161399"/>
                    <a:gd name="connsiteX380" fmla="*/ 925984 w 1661518"/>
                    <a:gd name="connsiteY380" fmla="*/ 291431 h 1161399"/>
                    <a:gd name="connsiteX381" fmla="*/ 928000 w 1661518"/>
                    <a:gd name="connsiteY381" fmla="*/ 290836 h 1161399"/>
                    <a:gd name="connsiteX382" fmla="*/ 929663 w 1661518"/>
                    <a:gd name="connsiteY382" fmla="*/ 290593 h 1161399"/>
                    <a:gd name="connsiteX383" fmla="*/ 930574 w 1661518"/>
                    <a:gd name="connsiteY383" fmla="*/ 290738 h 1161399"/>
                    <a:gd name="connsiteX384" fmla="*/ 931509 w 1661518"/>
                    <a:gd name="connsiteY384" fmla="*/ 291649 h 1161399"/>
                    <a:gd name="connsiteX385" fmla="*/ 931849 w 1661518"/>
                    <a:gd name="connsiteY385" fmla="*/ 292548 h 1161399"/>
                    <a:gd name="connsiteX386" fmla="*/ 931849 w 1661518"/>
                    <a:gd name="connsiteY386" fmla="*/ 293896 h 1161399"/>
                    <a:gd name="connsiteX387" fmla="*/ 931388 w 1661518"/>
                    <a:gd name="connsiteY387" fmla="*/ 299676 h 1161399"/>
                    <a:gd name="connsiteX388" fmla="*/ 930878 w 1661518"/>
                    <a:gd name="connsiteY388" fmla="*/ 302080 h 1161399"/>
                    <a:gd name="connsiteX389" fmla="*/ 927478 w 1661518"/>
                    <a:gd name="connsiteY389" fmla="*/ 307763 h 1161399"/>
                    <a:gd name="connsiteX390" fmla="*/ 927016 w 1661518"/>
                    <a:gd name="connsiteY390" fmla="*/ 309912 h 1161399"/>
                    <a:gd name="connsiteX391" fmla="*/ 927016 w 1661518"/>
                    <a:gd name="connsiteY391" fmla="*/ 311758 h 1161399"/>
                    <a:gd name="connsiteX392" fmla="*/ 927587 w 1661518"/>
                    <a:gd name="connsiteY392" fmla="*/ 314830 h 1161399"/>
                    <a:gd name="connsiteX393" fmla="*/ 927648 w 1661518"/>
                    <a:gd name="connsiteY393" fmla="*/ 316639 h 1161399"/>
                    <a:gd name="connsiteX394" fmla="*/ 927259 w 1661518"/>
                    <a:gd name="connsiteY394" fmla="*/ 318388 h 1161399"/>
                    <a:gd name="connsiteX395" fmla="*/ 926045 w 1661518"/>
                    <a:gd name="connsiteY395" fmla="*/ 319991 h 1161399"/>
                    <a:gd name="connsiteX396" fmla="*/ 924952 w 1661518"/>
                    <a:gd name="connsiteY396" fmla="*/ 320913 h 1161399"/>
                    <a:gd name="connsiteX397" fmla="*/ 920471 w 1661518"/>
                    <a:gd name="connsiteY397" fmla="*/ 323816 h 1161399"/>
                    <a:gd name="connsiteX398" fmla="*/ 917787 w 1661518"/>
                    <a:gd name="connsiteY398" fmla="*/ 326087 h 1161399"/>
                    <a:gd name="connsiteX399" fmla="*/ 915942 w 1661518"/>
                    <a:gd name="connsiteY399" fmla="*/ 328758 h 1161399"/>
                    <a:gd name="connsiteX400" fmla="*/ 914570 w 1661518"/>
                    <a:gd name="connsiteY400" fmla="*/ 331648 h 1161399"/>
                    <a:gd name="connsiteX401" fmla="*/ 913707 w 1661518"/>
                    <a:gd name="connsiteY401" fmla="*/ 334975 h 1161399"/>
                    <a:gd name="connsiteX402" fmla="*/ 913465 w 1661518"/>
                    <a:gd name="connsiteY402" fmla="*/ 337829 h 1161399"/>
                    <a:gd name="connsiteX403" fmla="*/ 913817 w 1661518"/>
                    <a:gd name="connsiteY403" fmla="*/ 340864 h 1161399"/>
                    <a:gd name="connsiteX404" fmla="*/ 914958 w 1661518"/>
                    <a:gd name="connsiteY404" fmla="*/ 343075 h 1161399"/>
                    <a:gd name="connsiteX405" fmla="*/ 916755 w 1661518"/>
                    <a:gd name="connsiteY405" fmla="*/ 344228 h 1161399"/>
                    <a:gd name="connsiteX406" fmla="*/ 918917 w 1661518"/>
                    <a:gd name="connsiteY406" fmla="*/ 344107 h 1161399"/>
                    <a:gd name="connsiteX407" fmla="*/ 922026 w 1661518"/>
                    <a:gd name="connsiteY407" fmla="*/ 341897 h 1161399"/>
                    <a:gd name="connsiteX408" fmla="*/ 923750 w 1661518"/>
                    <a:gd name="connsiteY408" fmla="*/ 339941 h 1161399"/>
                    <a:gd name="connsiteX409" fmla="*/ 926275 w 1661518"/>
                    <a:gd name="connsiteY409" fmla="*/ 336444 h 1161399"/>
                    <a:gd name="connsiteX410" fmla="*/ 927708 w 1661518"/>
                    <a:gd name="connsiteY410" fmla="*/ 335267 h 1161399"/>
                    <a:gd name="connsiteX411" fmla="*/ 929542 w 1661518"/>
                    <a:gd name="connsiteY411" fmla="*/ 334380 h 1161399"/>
                    <a:gd name="connsiteX412" fmla="*/ 932128 w 1661518"/>
                    <a:gd name="connsiteY412" fmla="*/ 334040 h 1161399"/>
                    <a:gd name="connsiteX413" fmla="*/ 934314 w 1661518"/>
                    <a:gd name="connsiteY413" fmla="*/ 333542 h 1161399"/>
                    <a:gd name="connsiteX414" fmla="*/ 936269 w 1661518"/>
                    <a:gd name="connsiteY414" fmla="*/ 331709 h 1161399"/>
                    <a:gd name="connsiteX415" fmla="*/ 936718 w 1661518"/>
                    <a:gd name="connsiteY415" fmla="*/ 329693 h 1161399"/>
                    <a:gd name="connsiteX416" fmla="*/ 936840 w 1661518"/>
                    <a:gd name="connsiteY416" fmla="*/ 327519 h 1161399"/>
                    <a:gd name="connsiteX417" fmla="*/ 936670 w 1661518"/>
                    <a:gd name="connsiteY417" fmla="*/ 325504 h 1161399"/>
                    <a:gd name="connsiteX418" fmla="*/ 936840 w 1661518"/>
                    <a:gd name="connsiteY418" fmla="*/ 323961 h 1161399"/>
                    <a:gd name="connsiteX419" fmla="*/ 937641 w 1661518"/>
                    <a:gd name="connsiteY419" fmla="*/ 323039 h 1161399"/>
                    <a:gd name="connsiteX420" fmla="*/ 939086 w 1661518"/>
                    <a:gd name="connsiteY420" fmla="*/ 322674 h 1161399"/>
                    <a:gd name="connsiteX421" fmla="*/ 942073 w 1661518"/>
                    <a:gd name="connsiteY421" fmla="*/ 322954 h 1161399"/>
                    <a:gd name="connsiteX422" fmla="*/ 943385 w 1661518"/>
                    <a:gd name="connsiteY422" fmla="*/ 323731 h 1161399"/>
                    <a:gd name="connsiteX423" fmla="*/ 944247 w 1661518"/>
                    <a:gd name="connsiteY423" fmla="*/ 324387 h 1161399"/>
                    <a:gd name="connsiteX424" fmla="*/ 944709 w 1661518"/>
                    <a:gd name="connsiteY424" fmla="*/ 324933 h 1161399"/>
                    <a:gd name="connsiteX425" fmla="*/ 945401 w 1661518"/>
                    <a:gd name="connsiteY425" fmla="*/ 325649 h 1161399"/>
                    <a:gd name="connsiteX426" fmla="*/ 947526 w 1661518"/>
                    <a:gd name="connsiteY426" fmla="*/ 326621 h 1161399"/>
                    <a:gd name="connsiteX427" fmla="*/ 947975 w 1661518"/>
                    <a:gd name="connsiteY427" fmla="*/ 327119 h 1161399"/>
                    <a:gd name="connsiteX428" fmla="*/ 948266 w 1661518"/>
                    <a:gd name="connsiteY428" fmla="*/ 327799 h 1161399"/>
                    <a:gd name="connsiteX429" fmla="*/ 947647 w 1661518"/>
                    <a:gd name="connsiteY429" fmla="*/ 329086 h 1161399"/>
                    <a:gd name="connsiteX430" fmla="*/ 942693 w 1661518"/>
                    <a:gd name="connsiteY430" fmla="*/ 334004 h 1161399"/>
                    <a:gd name="connsiteX431" fmla="*/ 941503 w 1661518"/>
                    <a:gd name="connsiteY431" fmla="*/ 336384 h 1161399"/>
                    <a:gd name="connsiteX432" fmla="*/ 940920 w 1661518"/>
                    <a:gd name="connsiteY432" fmla="*/ 338606 h 1161399"/>
                    <a:gd name="connsiteX433" fmla="*/ 940981 w 1661518"/>
                    <a:gd name="connsiteY433" fmla="*/ 340864 h 1161399"/>
                    <a:gd name="connsiteX434" fmla="*/ 941661 w 1661518"/>
                    <a:gd name="connsiteY434" fmla="*/ 342358 h 1161399"/>
                    <a:gd name="connsiteX435" fmla="*/ 942583 w 1661518"/>
                    <a:gd name="connsiteY435" fmla="*/ 343512 h 1161399"/>
                    <a:gd name="connsiteX436" fmla="*/ 943846 w 1661518"/>
                    <a:gd name="connsiteY436" fmla="*/ 344252 h 1161399"/>
                    <a:gd name="connsiteX437" fmla="*/ 945911 w 1661518"/>
                    <a:gd name="connsiteY437" fmla="*/ 343912 h 1161399"/>
                    <a:gd name="connsiteX438" fmla="*/ 949019 w 1661518"/>
                    <a:gd name="connsiteY438" fmla="*/ 342941 h 1161399"/>
                    <a:gd name="connsiteX439" fmla="*/ 955224 w 1661518"/>
                    <a:gd name="connsiteY439" fmla="*/ 340148 h 1161399"/>
                    <a:gd name="connsiteX440" fmla="*/ 958211 w 1661518"/>
                    <a:gd name="connsiteY440" fmla="*/ 339832 h 1161399"/>
                    <a:gd name="connsiteX441" fmla="*/ 959814 w 1661518"/>
                    <a:gd name="connsiteY441" fmla="*/ 340172 h 1161399"/>
                    <a:gd name="connsiteX442" fmla="*/ 960337 w 1661518"/>
                    <a:gd name="connsiteY442" fmla="*/ 341981 h 1161399"/>
                    <a:gd name="connsiteX443" fmla="*/ 961077 w 1661518"/>
                    <a:gd name="connsiteY443" fmla="*/ 348417 h 1161399"/>
                    <a:gd name="connsiteX444" fmla="*/ 961709 w 1661518"/>
                    <a:gd name="connsiteY444" fmla="*/ 349595 h 1161399"/>
                    <a:gd name="connsiteX445" fmla="*/ 962959 w 1661518"/>
                    <a:gd name="connsiteY445" fmla="*/ 350397 h 1161399"/>
                    <a:gd name="connsiteX446" fmla="*/ 964453 w 1661518"/>
                    <a:gd name="connsiteY446" fmla="*/ 350117 h 1161399"/>
                    <a:gd name="connsiteX447" fmla="*/ 966129 w 1661518"/>
                    <a:gd name="connsiteY447" fmla="*/ 349024 h 1161399"/>
                    <a:gd name="connsiteX448" fmla="*/ 967962 w 1661518"/>
                    <a:gd name="connsiteY448" fmla="*/ 345952 h 1161399"/>
                    <a:gd name="connsiteX449" fmla="*/ 969407 w 1661518"/>
                    <a:gd name="connsiteY449" fmla="*/ 344252 h 1161399"/>
                    <a:gd name="connsiteX450" fmla="*/ 971520 w 1661518"/>
                    <a:gd name="connsiteY450" fmla="*/ 342844 h 1161399"/>
                    <a:gd name="connsiteX451" fmla="*/ 973584 w 1661518"/>
                    <a:gd name="connsiteY451" fmla="*/ 342735 h 1161399"/>
                    <a:gd name="connsiteX452" fmla="*/ 975369 w 1661518"/>
                    <a:gd name="connsiteY452" fmla="*/ 343111 h 1161399"/>
                    <a:gd name="connsiteX453" fmla="*/ 978757 w 1661518"/>
                    <a:gd name="connsiteY453" fmla="*/ 344604 h 1161399"/>
                    <a:gd name="connsiteX454" fmla="*/ 980372 w 1661518"/>
                    <a:gd name="connsiteY454" fmla="*/ 344277 h 1161399"/>
                    <a:gd name="connsiteX455" fmla="*/ 981805 w 1661518"/>
                    <a:gd name="connsiteY455" fmla="*/ 344143 h 1161399"/>
                    <a:gd name="connsiteX456" fmla="*/ 983347 w 1661518"/>
                    <a:gd name="connsiteY456" fmla="*/ 344167 h 1161399"/>
                    <a:gd name="connsiteX457" fmla="*/ 985424 w 1661518"/>
                    <a:gd name="connsiteY457" fmla="*/ 344714 h 1161399"/>
                    <a:gd name="connsiteX458" fmla="*/ 989783 w 1661518"/>
                    <a:gd name="connsiteY458" fmla="*/ 346353 h 1161399"/>
                    <a:gd name="connsiteX459" fmla="*/ 991787 w 1661518"/>
                    <a:gd name="connsiteY459" fmla="*/ 346317 h 1161399"/>
                    <a:gd name="connsiteX460" fmla="*/ 993122 w 1661518"/>
                    <a:gd name="connsiteY460" fmla="*/ 345369 h 1161399"/>
                    <a:gd name="connsiteX461" fmla="*/ 993863 w 1661518"/>
                    <a:gd name="connsiteY461" fmla="*/ 343682 h 1161399"/>
                    <a:gd name="connsiteX462" fmla="*/ 993863 w 1661518"/>
                    <a:gd name="connsiteY462" fmla="*/ 341435 h 1161399"/>
                    <a:gd name="connsiteX463" fmla="*/ 993244 w 1661518"/>
                    <a:gd name="connsiteY463" fmla="*/ 338084 h 1161399"/>
                    <a:gd name="connsiteX464" fmla="*/ 988702 w 1661518"/>
                    <a:gd name="connsiteY464" fmla="*/ 324241 h 1161399"/>
                    <a:gd name="connsiteX465" fmla="*/ 988459 w 1661518"/>
                    <a:gd name="connsiteY465" fmla="*/ 321776 h 1161399"/>
                    <a:gd name="connsiteX466" fmla="*/ 988520 w 1661518"/>
                    <a:gd name="connsiteY466" fmla="*/ 320015 h 1161399"/>
                    <a:gd name="connsiteX467" fmla="*/ 988921 w 1661518"/>
                    <a:gd name="connsiteY467" fmla="*/ 317404 h 1161399"/>
                    <a:gd name="connsiteX468" fmla="*/ 991107 w 1661518"/>
                    <a:gd name="connsiteY468" fmla="*/ 312389 h 1161399"/>
                    <a:gd name="connsiteX469" fmla="*/ 996110 w 1661518"/>
                    <a:gd name="connsiteY469" fmla="*/ 306293 h 1161399"/>
                    <a:gd name="connsiteX470" fmla="*/ 997822 w 1661518"/>
                    <a:gd name="connsiteY470" fmla="*/ 306293 h 1161399"/>
                    <a:gd name="connsiteX471" fmla="*/ 998915 w 1661518"/>
                    <a:gd name="connsiteY471" fmla="*/ 306767 h 1161399"/>
                    <a:gd name="connsiteX472" fmla="*/ 1000068 w 1661518"/>
                    <a:gd name="connsiteY472" fmla="*/ 308042 h 1161399"/>
                    <a:gd name="connsiteX473" fmla="*/ 1000299 w 1661518"/>
                    <a:gd name="connsiteY473" fmla="*/ 309256 h 1161399"/>
                    <a:gd name="connsiteX474" fmla="*/ 999728 w 1661518"/>
                    <a:gd name="connsiteY474" fmla="*/ 311333 h 1161399"/>
                    <a:gd name="connsiteX475" fmla="*/ 995065 w 1661518"/>
                    <a:gd name="connsiteY475" fmla="*/ 318643 h 1161399"/>
                    <a:gd name="connsiteX476" fmla="*/ 994264 w 1661518"/>
                    <a:gd name="connsiteY476" fmla="*/ 320537 h 1161399"/>
                    <a:gd name="connsiteX477" fmla="*/ 993924 w 1661518"/>
                    <a:gd name="connsiteY477" fmla="*/ 321715 h 1161399"/>
                    <a:gd name="connsiteX478" fmla="*/ 993693 w 1661518"/>
                    <a:gd name="connsiteY478" fmla="*/ 323294 h 1161399"/>
                    <a:gd name="connsiteX479" fmla="*/ 993863 w 1661518"/>
                    <a:gd name="connsiteY479" fmla="*/ 325249 h 1161399"/>
                    <a:gd name="connsiteX480" fmla="*/ 994616 w 1661518"/>
                    <a:gd name="connsiteY480" fmla="*/ 327313 h 1161399"/>
                    <a:gd name="connsiteX481" fmla="*/ 996279 w 1661518"/>
                    <a:gd name="connsiteY481" fmla="*/ 329499 h 1161399"/>
                    <a:gd name="connsiteX482" fmla="*/ 997591 w 1661518"/>
                    <a:gd name="connsiteY482" fmla="*/ 330446 h 1161399"/>
                    <a:gd name="connsiteX483" fmla="*/ 998915 w 1661518"/>
                    <a:gd name="connsiteY483" fmla="*/ 330701 h 1161399"/>
                    <a:gd name="connsiteX484" fmla="*/ 1000117 w 1661518"/>
                    <a:gd name="connsiteY484" fmla="*/ 330300 h 1161399"/>
                    <a:gd name="connsiteX485" fmla="*/ 1000979 w 1661518"/>
                    <a:gd name="connsiteY485" fmla="*/ 329608 h 1161399"/>
                    <a:gd name="connsiteX486" fmla="*/ 1001732 w 1661518"/>
                    <a:gd name="connsiteY486" fmla="*/ 328527 h 1161399"/>
                    <a:gd name="connsiteX487" fmla="*/ 1002363 w 1661518"/>
                    <a:gd name="connsiteY487" fmla="*/ 327289 h 1161399"/>
                    <a:gd name="connsiteX488" fmla="*/ 1003225 w 1661518"/>
                    <a:gd name="connsiteY488" fmla="*/ 325904 h 1161399"/>
                    <a:gd name="connsiteX489" fmla="*/ 1004658 w 1661518"/>
                    <a:gd name="connsiteY489" fmla="*/ 324496 h 1161399"/>
                    <a:gd name="connsiteX490" fmla="*/ 1006674 w 1661518"/>
                    <a:gd name="connsiteY490" fmla="*/ 323464 h 1161399"/>
                    <a:gd name="connsiteX491" fmla="*/ 1008738 w 1661518"/>
                    <a:gd name="connsiteY491" fmla="*/ 323002 h 1161399"/>
                    <a:gd name="connsiteX492" fmla="*/ 1010511 w 1661518"/>
                    <a:gd name="connsiteY492" fmla="*/ 323269 h 1161399"/>
                    <a:gd name="connsiteX493" fmla="*/ 1012357 w 1661518"/>
                    <a:gd name="connsiteY493" fmla="*/ 324107 h 1161399"/>
                    <a:gd name="connsiteX494" fmla="*/ 1013960 w 1661518"/>
                    <a:gd name="connsiteY494" fmla="*/ 324241 h 1161399"/>
                    <a:gd name="connsiteX495" fmla="*/ 1015283 w 1661518"/>
                    <a:gd name="connsiteY495" fmla="*/ 323646 h 1161399"/>
                    <a:gd name="connsiteX496" fmla="*/ 1018610 w 1661518"/>
                    <a:gd name="connsiteY496" fmla="*/ 320428 h 1161399"/>
                    <a:gd name="connsiteX497" fmla="*/ 1020055 w 1661518"/>
                    <a:gd name="connsiteY497" fmla="*/ 319335 h 1161399"/>
                    <a:gd name="connsiteX498" fmla="*/ 1021488 w 1661518"/>
                    <a:gd name="connsiteY498" fmla="*/ 318764 h 1161399"/>
                    <a:gd name="connsiteX499" fmla="*/ 1022229 w 1661518"/>
                    <a:gd name="connsiteY499" fmla="*/ 319736 h 1161399"/>
                    <a:gd name="connsiteX500" fmla="*/ 1021828 w 1661518"/>
                    <a:gd name="connsiteY500" fmla="*/ 321958 h 1161399"/>
                    <a:gd name="connsiteX501" fmla="*/ 1019011 w 1661518"/>
                    <a:gd name="connsiteY501" fmla="*/ 327774 h 1161399"/>
                    <a:gd name="connsiteX502" fmla="*/ 1012575 w 1661518"/>
                    <a:gd name="connsiteY502" fmla="*/ 336238 h 1161399"/>
                    <a:gd name="connsiteX503" fmla="*/ 1010232 w 1661518"/>
                    <a:gd name="connsiteY503" fmla="*/ 341617 h 1161399"/>
                    <a:gd name="connsiteX504" fmla="*/ 1008495 w 1661518"/>
                    <a:gd name="connsiteY504" fmla="*/ 344204 h 1161399"/>
                    <a:gd name="connsiteX505" fmla="*/ 1003905 w 1661518"/>
                    <a:gd name="connsiteY505" fmla="*/ 348332 h 1161399"/>
                    <a:gd name="connsiteX506" fmla="*/ 1002934 w 1661518"/>
                    <a:gd name="connsiteY506" fmla="*/ 349704 h 1161399"/>
                    <a:gd name="connsiteX507" fmla="*/ 1002363 w 1661518"/>
                    <a:gd name="connsiteY507" fmla="*/ 351489 h 1161399"/>
                    <a:gd name="connsiteX508" fmla="*/ 1001853 w 1661518"/>
                    <a:gd name="connsiteY508" fmla="*/ 353736 h 1161399"/>
                    <a:gd name="connsiteX509" fmla="*/ 1001440 w 1661518"/>
                    <a:gd name="connsiteY509" fmla="*/ 356772 h 1161399"/>
                    <a:gd name="connsiteX510" fmla="*/ 1001440 w 1661518"/>
                    <a:gd name="connsiteY510" fmla="*/ 359297 h 1161399"/>
                    <a:gd name="connsiteX511" fmla="*/ 1001732 w 1661518"/>
                    <a:gd name="connsiteY511" fmla="*/ 361374 h 1161399"/>
                    <a:gd name="connsiteX512" fmla="*/ 1002642 w 1661518"/>
                    <a:gd name="connsiteY512" fmla="*/ 362940 h 1161399"/>
                    <a:gd name="connsiteX513" fmla="*/ 1004488 w 1661518"/>
                    <a:gd name="connsiteY513" fmla="*/ 364118 h 1161399"/>
                    <a:gd name="connsiteX514" fmla="*/ 1006431 w 1661518"/>
                    <a:gd name="connsiteY514" fmla="*/ 364932 h 1161399"/>
                    <a:gd name="connsiteX515" fmla="*/ 1012867 w 1661518"/>
                    <a:gd name="connsiteY515" fmla="*/ 364325 h 1161399"/>
                    <a:gd name="connsiteX516" fmla="*/ 1013668 w 1661518"/>
                    <a:gd name="connsiteY516" fmla="*/ 362054 h 1161399"/>
                    <a:gd name="connsiteX517" fmla="*/ 1013607 w 1661518"/>
                    <a:gd name="connsiteY517" fmla="*/ 359273 h 1161399"/>
                    <a:gd name="connsiteX518" fmla="*/ 1013146 w 1661518"/>
                    <a:gd name="connsiteY518" fmla="*/ 356371 h 1161399"/>
                    <a:gd name="connsiteX519" fmla="*/ 1012988 w 1661518"/>
                    <a:gd name="connsiteY519" fmla="*/ 353020 h 1161399"/>
                    <a:gd name="connsiteX520" fmla="*/ 1013207 w 1661518"/>
                    <a:gd name="connsiteY520" fmla="*/ 351805 h 1161399"/>
                    <a:gd name="connsiteX521" fmla="*/ 1014190 w 1661518"/>
                    <a:gd name="connsiteY521" fmla="*/ 350919 h 1161399"/>
                    <a:gd name="connsiteX522" fmla="*/ 1015975 w 1661518"/>
                    <a:gd name="connsiteY522" fmla="*/ 350263 h 1161399"/>
                    <a:gd name="connsiteX523" fmla="*/ 1019424 w 1661518"/>
                    <a:gd name="connsiteY523" fmla="*/ 350166 h 1161399"/>
                    <a:gd name="connsiteX524" fmla="*/ 1021549 w 1661518"/>
                    <a:gd name="connsiteY524" fmla="*/ 350858 h 1161399"/>
                    <a:gd name="connsiteX525" fmla="*/ 1022921 w 1661518"/>
                    <a:gd name="connsiteY525" fmla="*/ 351890 h 1161399"/>
                    <a:gd name="connsiteX526" fmla="*/ 1023431 w 1661518"/>
                    <a:gd name="connsiteY526" fmla="*/ 353129 h 1161399"/>
                    <a:gd name="connsiteX527" fmla="*/ 1023662 w 1661518"/>
                    <a:gd name="connsiteY527" fmla="*/ 354282 h 1161399"/>
                    <a:gd name="connsiteX528" fmla="*/ 1023893 w 1661518"/>
                    <a:gd name="connsiteY528" fmla="*/ 355715 h 1161399"/>
                    <a:gd name="connsiteX529" fmla="*/ 1024354 w 1661518"/>
                    <a:gd name="connsiteY529" fmla="*/ 356942 h 1161399"/>
                    <a:gd name="connsiteX530" fmla="*/ 1025386 w 1661518"/>
                    <a:gd name="connsiteY530" fmla="*/ 357986 h 1161399"/>
                    <a:gd name="connsiteX531" fmla="*/ 1027159 w 1661518"/>
                    <a:gd name="connsiteY531" fmla="*/ 358411 h 1161399"/>
                    <a:gd name="connsiteX532" fmla="*/ 1029284 w 1661518"/>
                    <a:gd name="connsiteY532" fmla="*/ 358071 h 1161399"/>
                    <a:gd name="connsiteX533" fmla="*/ 1031992 w 1661518"/>
                    <a:gd name="connsiteY533" fmla="*/ 356371 h 1161399"/>
                    <a:gd name="connsiteX534" fmla="*/ 1033303 w 1661518"/>
                    <a:gd name="connsiteY534" fmla="*/ 355132 h 1161399"/>
                    <a:gd name="connsiteX535" fmla="*/ 1034238 w 1661518"/>
                    <a:gd name="connsiteY535" fmla="*/ 353675 h 1161399"/>
                    <a:gd name="connsiteX536" fmla="*/ 1037323 w 1661518"/>
                    <a:gd name="connsiteY536" fmla="*/ 347507 h 1161399"/>
                    <a:gd name="connsiteX537" fmla="*/ 1038998 w 1661518"/>
                    <a:gd name="connsiteY537" fmla="*/ 345430 h 1161399"/>
                    <a:gd name="connsiteX538" fmla="*/ 1040941 w 1661518"/>
                    <a:gd name="connsiteY538" fmla="*/ 343888 h 1161399"/>
                    <a:gd name="connsiteX539" fmla="*/ 1043188 w 1661518"/>
                    <a:gd name="connsiteY539" fmla="*/ 343366 h 1161399"/>
                    <a:gd name="connsiteX540" fmla="*/ 1044390 w 1661518"/>
                    <a:gd name="connsiteY540" fmla="*/ 343305 h 1161399"/>
                    <a:gd name="connsiteX541" fmla="*/ 1045543 w 1661518"/>
                    <a:gd name="connsiteY541" fmla="*/ 343512 h 1161399"/>
                    <a:gd name="connsiteX542" fmla="*/ 1047790 w 1661518"/>
                    <a:gd name="connsiteY542" fmla="*/ 344252 h 1161399"/>
                    <a:gd name="connsiteX543" fmla="*/ 1055124 w 1661518"/>
                    <a:gd name="connsiteY543" fmla="*/ 347701 h 1161399"/>
                    <a:gd name="connsiteX544" fmla="*/ 1060989 w 1661518"/>
                    <a:gd name="connsiteY544" fmla="*/ 349340 h 1161399"/>
                    <a:gd name="connsiteX545" fmla="*/ 1063345 w 1661518"/>
                    <a:gd name="connsiteY545" fmla="*/ 349571 h 1161399"/>
                    <a:gd name="connsiteX546" fmla="*/ 1077528 w 1661518"/>
                    <a:gd name="connsiteY546" fmla="*/ 348709 h 1161399"/>
                    <a:gd name="connsiteX547" fmla="*/ 1082349 w 1661518"/>
                    <a:gd name="connsiteY547" fmla="*/ 347786 h 1161399"/>
                    <a:gd name="connsiteX548" fmla="*/ 1083320 w 1661518"/>
                    <a:gd name="connsiteY548" fmla="*/ 347932 h 1161399"/>
                    <a:gd name="connsiteX549" fmla="*/ 1084413 w 1661518"/>
                    <a:gd name="connsiteY549" fmla="*/ 348478 h 1161399"/>
                    <a:gd name="connsiteX550" fmla="*/ 1085506 w 1661518"/>
                    <a:gd name="connsiteY550" fmla="*/ 349401 h 1161399"/>
                    <a:gd name="connsiteX551" fmla="*/ 1087862 w 1661518"/>
                    <a:gd name="connsiteY551" fmla="*/ 352412 h 1161399"/>
                    <a:gd name="connsiteX552" fmla="*/ 1089707 w 1661518"/>
                    <a:gd name="connsiteY552" fmla="*/ 352789 h 1161399"/>
                    <a:gd name="connsiteX553" fmla="*/ 1092112 w 1661518"/>
                    <a:gd name="connsiteY553" fmla="*/ 352182 h 1161399"/>
                    <a:gd name="connsiteX554" fmla="*/ 1096641 w 1661518"/>
                    <a:gd name="connsiteY554" fmla="*/ 349741 h 1161399"/>
                    <a:gd name="connsiteX555" fmla="*/ 1098948 w 1661518"/>
                    <a:gd name="connsiteY555" fmla="*/ 348988 h 1161399"/>
                    <a:gd name="connsiteX556" fmla="*/ 1101304 w 1661518"/>
                    <a:gd name="connsiteY556" fmla="*/ 348527 h 1161399"/>
                    <a:gd name="connsiteX557" fmla="*/ 1101996 w 1661518"/>
                    <a:gd name="connsiteY557" fmla="*/ 348017 h 1161399"/>
                    <a:gd name="connsiteX558" fmla="*/ 1102397 w 1661518"/>
                    <a:gd name="connsiteY558" fmla="*/ 346414 h 1161399"/>
                    <a:gd name="connsiteX559" fmla="*/ 1102093 w 1661518"/>
                    <a:gd name="connsiteY559" fmla="*/ 345054 h 1161399"/>
                    <a:gd name="connsiteX560" fmla="*/ 1101474 w 1661518"/>
                    <a:gd name="connsiteY560" fmla="*/ 343718 h 1161399"/>
                    <a:gd name="connsiteX561" fmla="*/ 1098365 w 1661518"/>
                    <a:gd name="connsiteY561" fmla="*/ 340172 h 1161399"/>
                    <a:gd name="connsiteX562" fmla="*/ 1097224 w 1661518"/>
                    <a:gd name="connsiteY562" fmla="*/ 338569 h 1161399"/>
                    <a:gd name="connsiteX563" fmla="*/ 1096362 w 1661518"/>
                    <a:gd name="connsiteY563" fmla="*/ 336954 h 1161399"/>
                    <a:gd name="connsiteX564" fmla="*/ 1095961 w 1661518"/>
                    <a:gd name="connsiteY564" fmla="*/ 335643 h 1161399"/>
                    <a:gd name="connsiteX565" fmla="*/ 1095730 w 1661518"/>
                    <a:gd name="connsiteY565" fmla="*/ 334465 h 1161399"/>
                    <a:gd name="connsiteX566" fmla="*/ 1095730 w 1661518"/>
                    <a:gd name="connsiteY566" fmla="*/ 333433 h 1161399"/>
                    <a:gd name="connsiteX567" fmla="*/ 1095912 w 1661518"/>
                    <a:gd name="connsiteY567" fmla="*/ 332340 h 1161399"/>
                    <a:gd name="connsiteX568" fmla="*/ 1096981 w 1661518"/>
                    <a:gd name="connsiteY568" fmla="*/ 331053 h 1161399"/>
                    <a:gd name="connsiteX569" fmla="*/ 1099167 w 1661518"/>
                    <a:gd name="connsiteY569" fmla="*/ 329644 h 1161399"/>
                    <a:gd name="connsiteX570" fmla="*/ 1103708 w 1661518"/>
                    <a:gd name="connsiteY570" fmla="*/ 328272 h 1161399"/>
                    <a:gd name="connsiteX571" fmla="*/ 1108359 w 1661518"/>
                    <a:gd name="connsiteY571" fmla="*/ 328029 h 1161399"/>
                    <a:gd name="connsiteX572" fmla="*/ 1111067 w 1661518"/>
                    <a:gd name="connsiteY572" fmla="*/ 327228 h 1161399"/>
                    <a:gd name="connsiteX573" fmla="*/ 1114685 w 1661518"/>
                    <a:gd name="connsiteY573" fmla="*/ 325103 h 1161399"/>
                    <a:gd name="connsiteX574" fmla="*/ 1121850 w 1661518"/>
                    <a:gd name="connsiteY574" fmla="*/ 319772 h 1161399"/>
                    <a:gd name="connsiteX575" fmla="*/ 1126743 w 1661518"/>
                    <a:gd name="connsiteY575" fmla="*/ 315170 h 1161399"/>
                    <a:gd name="connsiteX576" fmla="*/ 1129779 w 1661518"/>
                    <a:gd name="connsiteY576" fmla="*/ 313021 h 1161399"/>
                    <a:gd name="connsiteX577" fmla="*/ 1143209 w 1661518"/>
                    <a:gd name="connsiteY577" fmla="*/ 306876 h 1161399"/>
                    <a:gd name="connsiteX578" fmla="*/ 1147629 w 1661518"/>
                    <a:gd name="connsiteY578" fmla="*/ 308977 h 1161399"/>
                    <a:gd name="connsiteX579" fmla="*/ 1148783 w 1661518"/>
                    <a:gd name="connsiteY579" fmla="*/ 309281 h 1161399"/>
                    <a:gd name="connsiteX580" fmla="*/ 1149645 w 1661518"/>
                    <a:gd name="connsiteY580" fmla="*/ 309256 h 1161399"/>
                    <a:gd name="connsiteX581" fmla="*/ 1150276 w 1661518"/>
                    <a:gd name="connsiteY581" fmla="*/ 309026 h 1161399"/>
                    <a:gd name="connsiteX582" fmla="*/ 1158376 w 1661518"/>
                    <a:gd name="connsiteY582" fmla="*/ 303136 h 1161399"/>
                    <a:gd name="connsiteX583" fmla="*/ 1159748 w 1661518"/>
                    <a:gd name="connsiteY583" fmla="*/ 301764 h 1161399"/>
                    <a:gd name="connsiteX584" fmla="*/ 1160841 w 1661518"/>
                    <a:gd name="connsiteY584" fmla="*/ 300356 h 1161399"/>
                    <a:gd name="connsiteX585" fmla="*/ 1162055 w 1661518"/>
                    <a:gd name="connsiteY585" fmla="*/ 297538 h 1161399"/>
                    <a:gd name="connsiteX586" fmla="*/ 1162747 w 1661518"/>
                    <a:gd name="connsiteY586" fmla="*/ 296531 h 1161399"/>
                    <a:gd name="connsiteX587" fmla="*/ 1164059 w 1661518"/>
                    <a:gd name="connsiteY587" fmla="*/ 295936 h 1161399"/>
                    <a:gd name="connsiteX588" fmla="*/ 1165491 w 1661518"/>
                    <a:gd name="connsiteY588" fmla="*/ 296021 h 1161399"/>
                    <a:gd name="connsiteX589" fmla="*/ 1168357 w 1661518"/>
                    <a:gd name="connsiteY589" fmla="*/ 297283 h 1161399"/>
                    <a:gd name="connsiteX590" fmla="*/ 1169693 w 1661518"/>
                    <a:gd name="connsiteY590" fmla="*/ 297478 h 1161399"/>
                    <a:gd name="connsiteX591" fmla="*/ 1171004 w 1661518"/>
                    <a:gd name="connsiteY591" fmla="*/ 297283 h 1161399"/>
                    <a:gd name="connsiteX592" fmla="*/ 1174453 w 1661518"/>
                    <a:gd name="connsiteY592" fmla="*/ 296251 h 1161399"/>
                    <a:gd name="connsiteX593" fmla="*/ 1177149 w 1661518"/>
                    <a:gd name="connsiteY593" fmla="*/ 295753 h 1161399"/>
                    <a:gd name="connsiteX594" fmla="*/ 1178642 w 1661518"/>
                    <a:gd name="connsiteY594" fmla="*/ 295899 h 1161399"/>
                    <a:gd name="connsiteX595" fmla="*/ 1180075 w 1661518"/>
                    <a:gd name="connsiteY595" fmla="*/ 296312 h 1161399"/>
                    <a:gd name="connsiteX596" fmla="*/ 1181350 w 1661518"/>
                    <a:gd name="connsiteY596" fmla="*/ 298316 h 1161399"/>
                    <a:gd name="connsiteX597" fmla="*/ 1184277 w 1661518"/>
                    <a:gd name="connsiteY597" fmla="*/ 302274 h 1161399"/>
                    <a:gd name="connsiteX598" fmla="*/ 1184908 w 1661518"/>
                    <a:gd name="connsiteY598" fmla="*/ 303659 h 1161399"/>
                    <a:gd name="connsiteX599" fmla="*/ 1185479 w 1661518"/>
                    <a:gd name="connsiteY599" fmla="*/ 305468 h 1161399"/>
                    <a:gd name="connsiteX600" fmla="*/ 1186401 w 1661518"/>
                    <a:gd name="connsiteY600" fmla="*/ 311758 h 1161399"/>
                    <a:gd name="connsiteX601" fmla="*/ 1186741 w 1661518"/>
                    <a:gd name="connsiteY601" fmla="*/ 319481 h 1161399"/>
                    <a:gd name="connsiteX602" fmla="*/ 1187312 w 1661518"/>
                    <a:gd name="connsiteY602" fmla="*/ 321545 h 1161399"/>
                    <a:gd name="connsiteX603" fmla="*/ 1188174 w 1661518"/>
                    <a:gd name="connsiteY603" fmla="*/ 322747 h 1161399"/>
                    <a:gd name="connsiteX604" fmla="*/ 1191101 w 1661518"/>
                    <a:gd name="connsiteY604" fmla="*/ 323755 h 1161399"/>
                    <a:gd name="connsiteX605" fmla="*/ 1193627 w 1661518"/>
                    <a:gd name="connsiteY605" fmla="*/ 325273 h 1161399"/>
                    <a:gd name="connsiteX606" fmla="*/ 1194380 w 1661518"/>
                    <a:gd name="connsiteY606" fmla="*/ 325965 h 1161399"/>
                    <a:gd name="connsiteX607" fmla="*/ 1195072 w 1661518"/>
                    <a:gd name="connsiteY607" fmla="*/ 326827 h 1161399"/>
                    <a:gd name="connsiteX608" fmla="*/ 1196675 w 1661518"/>
                    <a:gd name="connsiteY608" fmla="*/ 329839 h 1161399"/>
                    <a:gd name="connsiteX609" fmla="*/ 1197427 w 1661518"/>
                    <a:gd name="connsiteY609" fmla="*/ 330361 h 1161399"/>
                    <a:gd name="connsiteX610" fmla="*/ 1198217 w 1661518"/>
                    <a:gd name="connsiteY610" fmla="*/ 330361 h 1161399"/>
                    <a:gd name="connsiteX611" fmla="*/ 1199152 w 1661518"/>
                    <a:gd name="connsiteY611" fmla="*/ 330021 h 1161399"/>
                    <a:gd name="connsiteX612" fmla="*/ 1200062 w 1661518"/>
                    <a:gd name="connsiteY612" fmla="*/ 329729 h 1161399"/>
                    <a:gd name="connsiteX613" fmla="*/ 1200985 w 1661518"/>
                    <a:gd name="connsiteY613" fmla="*/ 329863 h 1161399"/>
                    <a:gd name="connsiteX614" fmla="*/ 1201835 w 1661518"/>
                    <a:gd name="connsiteY614" fmla="*/ 330385 h 1161399"/>
                    <a:gd name="connsiteX615" fmla="*/ 1202479 w 1661518"/>
                    <a:gd name="connsiteY615" fmla="*/ 331199 h 1161399"/>
                    <a:gd name="connsiteX616" fmla="*/ 1203049 w 1661518"/>
                    <a:gd name="connsiteY616" fmla="*/ 332170 h 1161399"/>
                    <a:gd name="connsiteX617" fmla="*/ 1203389 w 1661518"/>
                    <a:gd name="connsiteY617" fmla="*/ 333287 h 1161399"/>
                    <a:gd name="connsiteX618" fmla="*/ 1203790 w 1661518"/>
                    <a:gd name="connsiteY618" fmla="*/ 336796 h 1161399"/>
                    <a:gd name="connsiteX619" fmla="*/ 1204203 w 1661518"/>
                    <a:gd name="connsiteY619" fmla="*/ 337889 h 1161399"/>
                    <a:gd name="connsiteX620" fmla="*/ 1205757 w 1661518"/>
                    <a:gd name="connsiteY620" fmla="*/ 340925 h 1161399"/>
                    <a:gd name="connsiteX621" fmla="*/ 1206097 w 1661518"/>
                    <a:gd name="connsiteY621" fmla="*/ 341981 h 1161399"/>
                    <a:gd name="connsiteX622" fmla="*/ 1206097 w 1661518"/>
                    <a:gd name="connsiteY622" fmla="*/ 343050 h 1161399"/>
                    <a:gd name="connsiteX623" fmla="*/ 1205405 w 1661518"/>
                    <a:gd name="connsiteY623" fmla="*/ 344022 h 1161399"/>
                    <a:gd name="connsiteX624" fmla="*/ 1204434 w 1661518"/>
                    <a:gd name="connsiteY624" fmla="*/ 344944 h 1161399"/>
                    <a:gd name="connsiteX625" fmla="*/ 1202357 w 1661518"/>
                    <a:gd name="connsiteY625" fmla="*/ 346037 h 1161399"/>
                    <a:gd name="connsiteX626" fmla="*/ 1199309 w 1661518"/>
                    <a:gd name="connsiteY626" fmla="*/ 347264 h 1161399"/>
                    <a:gd name="connsiteX627" fmla="*/ 1196844 w 1661518"/>
                    <a:gd name="connsiteY627" fmla="*/ 348794 h 1161399"/>
                    <a:gd name="connsiteX628" fmla="*/ 1195691 w 1661518"/>
                    <a:gd name="connsiteY628" fmla="*/ 349401 h 1161399"/>
                    <a:gd name="connsiteX629" fmla="*/ 1194440 w 1661518"/>
                    <a:gd name="connsiteY629" fmla="*/ 349826 h 1161399"/>
                    <a:gd name="connsiteX630" fmla="*/ 1193408 w 1661518"/>
                    <a:gd name="connsiteY630" fmla="*/ 350397 h 1161399"/>
                    <a:gd name="connsiteX631" fmla="*/ 1192607 w 1661518"/>
                    <a:gd name="connsiteY631" fmla="*/ 351259 h 1161399"/>
                    <a:gd name="connsiteX632" fmla="*/ 1191732 w 1661518"/>
                    <a:gd name="connsiteY632" fmla="*/ 352862 h 1161399"/>
                    <a:gd name="connsiteX633" fmla="*/ 1190639 w 1661518"/>
                    <a:gd name="connsiteY633" fmla="*/ 354331 h 1161399"/>
                    <a:gd name="connsiteX634" fmla="*/ 1186912 w 1661518"/>
                    <a:gd name="connsiteY634" fmla="*/ 358035 h 1161399"/>
                    <a:gd name="connsiteX635" fmla="*/ 1185418 w 1661518"/>
                    <a:gd name="connsiteY635" fmla="*/ 360160 h 1161399"/>
                    <a:gd name="connsiteX636" fmla="*/ 1184034 w 1661518"/>
                    <a:gd name="connsiteY636" fmla="*/ 361313 h 1161399"/>
                    <a:gd name="connsiteX637" fmla="*/ 1181168 w 1661518"/>
                    <a:gd name="connsiteY637" fmla="*/ 362175 h 1161399"/>
                    <a:gd name="connsiteX638" fmla="*/ 1179796 w 1661518"/>
                    <a:gd name="connsiteY638" fmla="*/ 362030 h 1161399"/>
                    <a:gd name="connsiteX639" fmla="*/ 1178824 w 1661518"/>
                    <a:gd name="connsiteY639" fmla="*/ 361762 h 1161399"/>
                    <a:gd name="connsiteX640" fmla="*/ 1178302 w 1661518"/>
                    <a:gd name="connsiteY640" fmla="*/ 361277 h 1161399"/>
                    <a:gd name="connsiteX641" fmla="*/ 1177549 w 1661518"/>
                    <a:gd name="connsiteY641" fmla="*/ 361447 h 1161399"/>
                    <a:gd name="connsiteX642" fmla="*/ 1176979 w 1661518"/>
                    <a:gd name="connsiteY642" fmla="*/ 362260 h 1161399"/>
                    <a:gd name="connsiteX643" fmla="*/ 1176699 w 1661518"/>
                    <a:gd name="connsiteY643" fmla="*/ 364701 h 1161399"/>
                    <a:gd name="connsiteX644" fmla="*/ 1176699 w 1661518"/>
                    <a:gd name="connsiteY644" fmla="*/ 366389 h 1161399"/>
                    <a:gd name="connsiteX645" fmla="*/ 1177901 w 1661518"/>
                    <a:gd name="connsiteY645" fmla="*/ 370930 h 1161399"/>
                    <a:gd name="connsiteX646" fmla="*/ 1178885 w 1661518"/>
                    <a:gd name="connsiteY646" fmla="*/ 372849 h 1161399"/>
                    <a:gd name="connsiteX647" fmla="*/ 1180998 w 1661518"/>
                    <a:gd name="connsiteY647" fmla="*/ 375885 h 1161399"/>
                    <a:gd name="connsiteX648" fmla="*/ 1182661 w 1661518"/>
                    <a:gd name="connsiteY648" fmla="*/ 376723 h 1161399"/>
                    <a:gd name="connsiteX649" fmla="*/ 1184726 w 1661518"/>
                    <a:gd name="connsiteY649" fmla="*/ 376868 h 1161399"/>
                    <a:gd name="connsiteX650" fmla="*/ 1190190 w 1661518"/>
                    <a:gd name="connsiteY650" fmla="*/ 374913 h 1161399"/>
                    <a:gd name="connsiteX651" fmla="*/ 1192825 w 1661518"/>
                    <a:gd name="connsiteY651" fmla="*/ 374488 h 1161399"/>
                    <a:gd name="connsiteX652" fmla="*/ 1195752 w 1661518"/>
                    <a:gd name="connsiteY652" fmla="*/ 375010 h 1161399"/>
                    <a:gd name="connsiteX653" fmla="*/ 1197476 w 1661518"/>
                    <a:gd name="connsiteY653" fmla="*/ 375557 h 1161399"/>
                    <a:gd name="connsiteX654" fmla="*/ 1199091 w 1661518"/>
                    <a:gd name="connsiteY654" fmla="*/ 376273 h 1161399"/>
                    <a:gd name="connsiteX655" fmla="*/ 1200402 w 1661518"/>
                    <a:gd name="connsiteY655" fmla="*/ 376723 h 1161399"/>
                    <a:gd name="connsiteX656" fmla="*/ 1202017 w 1661518"/>
                    <a:gd name="connsiteY656" fmla="*/ 376868 h 1161399"/>
                    <a:gd name="connsiteX657" fmla="*/ 1203268 w 1661518"/>
                    <a:gd name="connsiteY657" fmla="*/ 376468 h 1161399"/>
                    <a:gd name="connsiteX658" fmla="*/ 1204021 w 1661518"/>
                    <a:gd name="connsiteY658" fmla="*/ 375229 h 1161399"/>
                    <a:gd name="connsiteX659" fmla="*/ 1204082 w 1661518"/>
                    <a:gd name="connsiteY659" fmla="*/ 373663 h 1161399"/>
                    <a:gd name="connsiteX660" fmla="*/ 1202819 w 1661518"/>
                    <a:gd name="connsiteY660" fmla="*/ 368915 h 1161399"/>
                    <a:gd name="connsiteX661" fmla="*/ 1202649 w 1661518"/>
                    <a:gd name="connsiteY661" fmla="*/ 367712 h 1161399"/>
                    <a:gd name="connsiteX662" fmla="*/ 1202709 w 1661518"/>
                    <a:gd name="connsiteY662" fmla="*/ 366790 h 1161399"/>
                    <a:gd name="connsiteX663" fmla="*/ 1203220 w 1661518"/>
                    <a:gd name="connsiteY663" fmla="*/ 366389 h 1161399"/>
                    <a:gd name="connsiteX664" fmla="*/ 1204482 w 1661518"/>
                    <a:gd name="connsiteY664" fmla="*/ 366680 h 1161399"/>
                    <a:gd name="connsiteX665" fmla="*/ 1207591 w 1661518"/>
                    <a:gd name="connsiteY665" fmla="*/ 370032 h 1161399"/>
                    <a:gd name="connsiteX666" fmla="*/ 1210748 w 1661518"/>
                    <a:gd name="connsiteY666" fmla="*/ 374427 h 1161399"/>
                    <a:gd name="connsiteX667" fmla="*/ 1211659 w 1661518"/>
                    <a:gd name="connsiteY667" fmla="*/ 375399 h 1161399"/>
                    <a:gd name="connsiteX668" fmla="*/ 1212861 w 1661518"/>
                    <a:gd name="connsiteY668" fmla="*/ 376091 h 1161399"/>
                    <a:gd name="connsiteX669" fmla="*/ 1214986 w 1661518"/>
                    <a:gd name="connsiteY669" fmla="*/ 375885 h 1161399"/>
                    <a:gd name="connsiteX670" fmla="*/ 1216601 w 1661518"/>
                    <a:gd name="connsiteY670" fmla="*/ 375460 h 1161399"/>
                    <a:gd name="connsiteX671" fmla="*/ 1223547 w 1661518"/>
                    <a:gd name="connsiteY671" fmla="*/ 371015 h 1161399"/>
                    <a:gd name="connsiteX672" fmla="*/ 1223316 w 1661518"/>
                    <a:gd name="connsiteY672" fmla="*/ 369060 h 1161399"/>
                    <a:gd name="connsiteX673" fmla="*/ 1222806 w 1661518"/>
                    <a:gd name="connsiteY673" fmla="*/ 368490 h 1161399"/>
                    <a:gd name="connsiteX674" fmla="*/ 1221531 w 1661518"/>
                    <a:gd name="connsiteY674" fmla="*/ 367749 h 1161399"/>
                    <a:gd name="connsiteX675" fmla="*/ 1216601 w 1661518"/>
                    <a:gd name="connsiteY675" fmla="*/ 365612 h 1161399"/>
                    <a:gd name="connsiteX676" fmla="*/ 1215107 w 1661518"/>
                    <a:gd name="connsiteY676" fmla="*/ 364410 h 1161399"/>
                    <a:gd name="connsiteX677" fmla="*/ 1214197 w 1661518"/>
                    <a:gd name="connsiteY677" fmla="*/ 362892 h 1161399"/>
                    <a:gd name="connsiteX678" fmla="*/ 1213675 w 1661518"/>
                    <a:gd name="connsiteY678" fmla="*/ 360560 h 1161399"/>
                    <a:gd name="connsiteX679" fmla="*/ 1213274 w 1661518"/>
                    <a:gd name="connsiteY679" fmla="*/ 359419 h 1161399"/>
                    <a:gd name="connsiteX680" fmla="*/ 1212764 w 1661518"/>
                    <a:gd name="connsiteY680" fmla="*/ 357257 h 1161399"/>
                    <a:gd name="connsiteX681" fmla="*/ 1212703 w 1661518"/>
                    <a:gd name="connsiteY681" fmla="*/ 356395 h 1161399"/>
                    <a:gd name="connsiteX682" fmla="*/ 1212922 w 1661518"/>
                    <a:gd name="connsiteY682" fmla="*/ 355776 h 1161399"/>
                    <a:gd name="connsiteX683" fmla="*/ 1213735 w 1661518"/>
                    <a:gd name="connsiteY683" fmla="*/ 355594 h 1161399"/>
                    <a:gd name="connsiteX684" fmla="*/ 1215508 w 1661518"/>
                    <a:gd name="connsiteY684" fmla="*/ 355970 h 1161399"/>
                    <a:gd name="connsiteX685" fmla="*/ 1218495 w 1661518"/>
                    <a:gd name="connsiteY685" fmla="*/ 357403 h 1161399"/>
                    <a:gd name="connsiteX686" fmla="*/ 1224579 w 1661518"/>
                    <a:gd name="connsiteY686" fmla="*/ 358411 h 1161399"/>
                    <a:gd name="connsiteX687" fmla="*/ 1226364 w 1661518"/>
                    <a:gd name="connsiteY687" fmla="*/ 358350 h 1161399"/>
                    <a:gd name="connsiteX688" fmla="*/ 1227967 w 1661518"/>
                    <a:gd name="connsiteY688" fmla="*/ 358095 h 1161399"/>
                    <a:gd name="connsiteX689" fmla="*/ 1229412 w 1661518"/>
                    <a:gd name="connsiteY689" fmla="*/ 357658 h 1161399"/>
                    <a:gd name="connsiteX690" fmla="*/ 1230383 w 1661518"/>
                    <a:gd name="connsiteY690" fmla="*/ 356917 h 1161399"/>
                    <a:gd name="connsiteX691" fmla="*/ 1230905 w 1661518"/>
                    <a:gd name="connsiteY691" fmla="*/ 355679 h 1161399"/>
                    <a:gd name="connsiteX692" fmla="*/ 1230784 w 1661518"/>
                    <a:gd name="connsiteY692" fmla="*/ 353991 h 1161399"/>
                    <a:gd name="connsiteX693" fmla="*/ 1230383 w 1661518"/>
                    <a:gd name="connsiteY693" fmla="*/ 352182 h 1161399"/>
                    <a:gd name="connsiteX694" fmla="*/ 1230262 w 1661518"/>
                    <a:gd name="connsiteY694" fmla="*/ 350712 h 1161399"/>
                    <a:gd name="connsiteX695" fmla="*/ 1230553 w 1661518"/>
                    <a:gd name="connsiteY695" fmla="*/ 349704 h 1161399"/>
                    <a:gd name="connsiteX696" fmla="*/ 1231695 w 1661518"/>
                    <a:gd name="connsiteY696" fmla="*/ 348988 h 1161399"/>
                    <a:gd name="connsiteX697" fmla="*/ 1232788 w 1661518"/>
                    <a:gd name="connsiteY697" fmla="*/ 348672 h 1161399"/>
                    <a:gd name="connsiteX698" fmla="*/ 1234463 w 1661518"/>
                    <a:gd name="connsiteY698" fmla="*/ 348879 h 1161399"/>
                    <a:gd name="connsiteX699" fmla="*/ 1235605 w 1661518"/>
                    <a:gd name="connsiteY699" fmla="*/ 349595 h 1161399"/>
                    <a:gd name="connsiteX700" fmla="*/ 1236868 w 1661518"/>
                    <a:gd name="connsiteY700" fmla="*/ 351344 h 1161399"/>
                    <a:gd name="connsiteX701" fmla="*/ 1238483 w 1661518"/>
                    <a:gd name="connsiteY701" fmla="*/ 355339 h 1161399"/>
                    <a:gd name="connsiteX702" fmla="*/ 1239393 w 1661518"/>
                    <a:gd name="connsiteY702" fmla="*/ 357172 h 1161399"/>
                    <a:gd name="connsiteX703" fmla="*/ 1240547 w 1661518"/>
                    <a:gd name="connsiteY703" fmla="*/ 358897 h 1161399"/>
                    <a:gd name="connsiteX704" fmla="*/ 1245246 w 1661518"/>
                    <a:gd name="connsiteY704" fmla="*/ 363462 h 1161399"/>
                    <a:gd name="connsiteX705" fmla="*/ 1246740 w 1661518"/>
                    <a:gd name="connsiteY705" fmla="*/ 364458 h 1161399"/>
                    <a:gd name="connsiteX706" fmla="*/ 1248294 w 1661518"/>
                    <a:gd name="connsiteY706" fmla="*/ 365126 h 1161399"/>
                    <a:gd name="connsiteX707" fmla="*/ 1250200 w 1661518"/>
                    <a:gd name="connsiteY707" fmla="*/ 364786 h 1161399"/>
                    <a:gd name="connsiteX708" fmla="*/ 1253637 w 1661518"/>
                    <a:gd name="connsiteY708" fmla="*/ 363608 h 1161399"/>
                    <a:gd name="connsiteX709" fmla="*/ 1255592 w 1661518"/>
                    <a:gd name="connsiteY709" fmla="*/ 363195 h 1161399"/>
                    <a:gd name="connsiteX710" fmla="*/ 1259672 w 1661518"/>
                    <a:gd name="connsiteY710" fmla="*/ 363122 h 1161399"/>
                    <a:gd name="connsiteX711" fmla="*/ 1261554 w 1661518"/>
                    <a:gd name="connsiteY711" fmla="*/ 362770 h 1161399"/>
                    <a:gd name="connsiteX712" fmla="*/ 1263169 w 1661518"/>
                    <a:gd name="connsiteY712" fmla="*/ 361604 h 1161399"/>
                    <a:gd name="connsiteX713" fmla="*/ 1263691 w 1661518"/>
                    <a:gd name="connsiteY713" fmla="*/ 360075 h 1161399"/>
                    <a:gd name="connsiteX714" fmla="*/ 1263048 w 1661518"/>
                    <a:gd name="connsiteY714" fmla="*/ 358326 h 1161399"/>
                    <a:gd name="connsiteX715" fmla="*/ 1261445 w 1661518"/>
                    <a:gd name="connsiteY715" fmla="*/ 356747 h 1161399"/>
                    <a:gd name="connsiteX716" fmla="*/ 1253188 w 1661518"/>
                    <a:gd name="connsiteY716" fmla="*/ 351429 h 1161399"/>
                    <a:gd name="connsiteX717" fmla="*/ 1252265 w 1661518"/>
                    <a:gd name="connsiteY717" fmla="*/ 350688 h 1161399"/>
                    <a:gd name="connsiteX718" fmla="*/ 1251803 w 1661518"/>
                    <a:gd name="connsiteY718" fmla="*/ 349935 h 1161399"/>
                    <a:gd name="connsiteX719" fmla="*/ 1251913 w 1661518"/>
                    <a:gd name="connsiteY719" fmla="*/ 349255 h 1161399"/>
                    <a:gd name="connsiteX720" fmla="*/ 1252605 w 1661518"/>
                    <a:gd name="connsiteY720" fmla="*/ 348733 h 1161399"/>
                    <a:gd name="connsiteX721" fmla="*/ 1253759 w 1661518"/>
                    <a:gd name="connsiteY721" fmla="*/ 348272 h 1161399"/>
                    <a:gd name="connsiteX722" fmla="*/ 1255701 w 1661518"/>
                    <a:gd name="connsiteY722" fmla="*/ 347932 h 1161399"/>
                    <a:gd name="connsiteX723" fmla="*/ 1269653 w 1661518"/>
                    <a:gd name="connsiteY723" fmla="*/ 347507 h 1161399"/>
                    <a:gd name="connsiteX724" fmla="*/ 1271268 w 1661518"/>
                    <a:gd name="connsiteY724" fmla="*/ 347191 h 1161399"/>
                    <a:gd name="connsiteX725" fmla="*/ 1272762 w 1661518"/>
                    <a:gd name="connsiteY725" fmla="*/ 346547 h 1161399"/>
                    <a:gd name="connsiteX726" fmla="*/ 1273904 w 1661518"/>
                    <a:gd name="connsiteY726" fmla="*/ 345539 h 1161399"/>
                    <a:gd name="connsiteX727" fmla="*/ 1274644 w 1661518"/>
                    <a:gd name="connsiteY727" fmla="*/ 344337 h 1161399"/>
                    <a:gd name="connsiteX728" fmla="*/ 1275859 w 1661518"/>
                    <a:gd name="connsiteY728" fmla="*/ 339614 h 1161399"/>
                    <a:gd name="connsiteX729" fmla="*/ 1276259 w 1661518"/>
                    <a:gd name="connsiteY729" fmla="*/ 338630 h 1161399"/>
                    <a:gd name="connsiteX730" fmla="*/ 1276721 w 1661518"/>
                    <a:gd name="connsiteY730" fmla="*/ 337889 h 1161399"/>
                    <a:gd name="connsiteX731" fmla="*/ 1277352 w 1661518"/>
                    <a:gd name="connsiteY731" fmla="*/ 337221 h 1161399"/>
                    <a:gd name="connsiteX732" fmla="*/ 1278105 w 1661518"/>
                    <a:gd name="connsiteY732" fmla="*/ 336760 h 1161399"/>
                    <a:gd name="connsiteX733" fmla="*/ 1279186 w 1661518"/>
                    <a:gd name="connsiteY733" fmla="*/ 336335 h 1161399"/>
                    <a:gd name="connsiteX734" fmla="*/ 1280679 w 1661518"/>
                    <a:gd name="connsiteY734" fmla="*/ 335849 h 1161399"/>
                    <a:gd name="connsiteX735" fmla="*/ 1282355 w 1661518"/>
                    <a:gd name="connsiteY735" fmla="*/ 335619 h 1161399"/>
                    <a:gd name="connsiteX736" fmla="*/ 1283618 w 1661518"/>
                    <a:gd name="connsiteY736" fmla="*/ 335643 h 1161399"/>
                    <a:gd name="connsiteX737" fmla="*/ 1285051 w 1661518"/>
                    <a:gd name="connsiteY737" fmla="*/ 335959 h 1161399"/>
                    <a:gd name="connsiteX738" fmla="*/ 1286022 w 1661518"/>
                    <a:gd name="connsiteY738" fmla="*/ 336384 h 1161399"/>
                    <a:gd name="connsiteX739" fmla="*/ 1287516 w 1661518"/>
                    <a:gd name="connsiteY739" fmla="*/ 337598 h 1161399"/>
                    <a:gd name="connsiteX740" fmla="*/ 1288159 w 1661518"/>
                    <a:gd name="connsiteY740" fmla="*/ 339055 h 1161399"/>
                    <a:gd name="connsiteX741" fmla="*/ 1288038 w 1661518"/>
                    <a:gd name="connsiteY741" fmla="*/ 341678 h 1161399"/>
                    <a:gd name="connsiteX742" fmla="*/ 1282586 w 1661518"/>
                    <a:gd name="connsiteY742" fmla="*/ 354185 h 1161399"/>
                    <a:gd name="connsiteX743" fmla="*/ 1282124 w 1661518"/>
                    <a:gd name="connsiteY743" fmla="*/ 355970 h 1161399"/>
                    <a:gd name="connsiteX744" fmla="*/ 1281554 w 1661518"/>
                    <a:gd name="connsiteY744" fmla="*/ 361677 h 1161399"/>
                    <a:gd name="connsiteX745" fmla="*/ 1281092 w 1661518"/>
                    <a:gd name="connsiteY745" fmla="*/ 362479 h 1161399"/>
                    <a:gd name="connsiteX746" fmla="*/ 1277753 w 1661518"/>
                    <a:gd name="connsiteY746" fmla="*/ 365150 h 1161399"/>
                    <a:gd name="connsiteX747" fmla="*/ 1276891 w 1661518"/>
                    <a:gd name="connsiteY747" fmla="*/ 366097 h 1161399"/>
                    <a:gd name="connsiteX748" fmla="*/ 1276138 w 1661518"/>
                    <a:gd name="connsiteY748" fmla="*/ 367166 h 1161399"/>
                    <a:gd name="connsiteX749" fmla="*/ 1275798 w 1661518"/>
                    <a:gd name="connsiteY749" fmla="*/ 368077 h 1161399"/>
                    <a:gd name="connsiteX750" fmla="*/ 1275519 w 1661518"/>
                    <a:gd name="connsiteY750" fmla="*/ 369012 h 1161399"/>
                    <a:gd name="connsiteX751" fmla="*/ 1275397 w 1661518"/>
                    <a:gd name="connsiteY751" fmla="*/ 371246 h 1161399"/>
                    <a:gd name="connsiteX752" fmla="*/ 1275167 w 1661518"/>
                    <a:gd name="connsiteY752" fmla="*/ 372618 h 1161399"/>
                    <a:gd name="connsiteX753" fmla="*/ 1274426 w 1661518"/>
                    <a:gd name="connsiteY753" fmla="*/ 374233 h 1161399"/>
                    <a:gd name="connsiteX754" fmla="*/ 1273794 w 1661518"/>
                    <a:gd name="connsiteY754" fmla="*/ 375375 h 1161399"/>
                    <a:gd name="connsiteX755" fmla="*/ 1272531 w 1661518"/>
                    <a:gd name="connsiteY755" fmla="*/ 376990 h 1161399"/>
                    <a:gd name="connsiteX756" fmla="*/ 1270406 w 1661518"/>
                    <a:gd name="connsiteY756" fmla="*/ 379115 h 1161399"/>
                    <a:gd name="connsiteX757" fmla="*/ 1270297 w 1661518"/>
                    <a:gd name="connsiteY757" fmla="*/ 379285 h 1161399"/>
                    <a:gd name="connsiteX758" fmla="*/ 1269836 w 1661518"/>
                    <a:gd name="connsiteY758" fmla="*/ 380912 h 1161399"/>
                    <a:gd name="connsiteX759" fmla="*/ 1269775 w 1661518"/>
                    <a:gd name="connsiteY759" fmla="*/ 382466 h 1161399"/>
                    <a:gd name="connsiteX760" fmla="*/ 1270807 w 1661518"/>
                    <a:gd name="connsiteY760" fmla="*/ 383705 h 1161399"/>
                    <a:gd name="connsiteX761" fmla="*/ 1272993 w 1661518"/>
                    <a:gd name="connsiteY761" fmla="*/ 384822 h 1161399"/>
                    <a:gd name="connsiteX762" fmla="*/ 1277935 w 1661518"/>
                    <a:gd name="connsiteY762" fmla="*/ 385344 h 1161399"/>
                    <a:gd name="connsiteX763" fmla="*/ 1283205 w 1661518"/>
                    <a:gd name="connsiteY763" fmla="*/ 385198 h 1161399"/>
                    <a:gd name="connsiteX764" fmla="*/ 1284541 w 1661518"/>
                    <a:gd name="connsiteY764" fmla="*/ 384992 h 1161399"/>
                    <a:gd name="connsiteX765" fmla="*/ 1294401 w 1661518"/>
                    <a:gd name="connsiteY765" fmla="*/ 382296 h 1161399"/>
                    <a:gd name="connsiteX766" fmla="*/ 1295797 w 1661518"/>
                    <a:gd name="connsiteY766" fmla="*/ 382357 h 1161399"/>
                    <a:gd name="connsiteX767" fmla="*/ 1297109 w 1661518"/>
                    <a:gd name="connsiteY767" fmla="*/ 382843 h 1161399"/>
                    <a:gd name="connsiteX768" fmla="*/ 1298602 w 1661518"/>
                    <a:gd name="connsiteY768" fmla="*/ 384215 h 1161399"/>
                    <a:gd name="connsiteX769" fmla="*/ 1300375 w 1661518"/>
                    <a:gd name="connsiteY769" fmla="*/ 386655 h 1161399"/>
                    <a:gd name="connsiteX770" fmla="*/ 1301820 w 1661518"/>
                    <a:gd name="connsiteY770" fmla="*/ 387700 h 1161399"/>
                    <a:gd name="connsiteX771" fmla="*/ 1303933 w 1661518"/>
                    <a:gd name="connsiteY771" fmla="*/ 388477 h 1161399"/>
                    <a:gd name="connsiteX772" fmla="*/ 1307042 w 1661518"/>
                    <a:gd name="connsiteY772" fmla="*/ 388440 h 1161399"/>
                    <a:gd name="connsiteX773" fmla="*/ 1309288 w 1661518"/>
                    <a:gd name="connsiteY773" fmla="*/ 387918 h 1161399"/>
                    <a:gd name="connsiteX774" fmla="*/ 1314279 w 1661518"/>
                    <a:gd name="connsiteY774" fmla="*/ 385963 h 1161399"/>
                    <a:gd name="connsiteX775" fmla="*/ 1315372 w 1661518"/>
                    <a:gd name="connsiteY775" fmla="*/ 385830 h 1161399"/>
                    <a:gd name="connsiteX776" fmla="*/ 1317254 w 1661518"/>
                    <a:gd name="connsiteY776" fmla="*/ 386631 h 1161399"/>
                    <a:gd name="connsiteX777" fmla="*/ 1320302 w 1661518"/>
                    <a:gd name="connsiteY777" fmla="*/ 388525 h 1161399"/>
                    <a:gd name="connsiteX778" fmla="*/ 1327369 w 1661518"/>
                    <a:gd name="connsiteY778" fmla="*/ 394840 h 1161399"/>
                    <a:gd name="connsiteX779" fmla="*/ 1332870 w 1661518"/>
                    <a:gd name="connsiteY779" fmla="*/ 397365 h 1161399"/>
                    <a:gd name="connsiteX780" fmla="*/ 1337812 w 1661518"/>
                    <a:gd name="connsiteY780" fmla="*/ 391282 h 1161399"/>
                    <a:gd name="connsiteX781" fmla="*/ 1339075 w 1661518"/>
                    <a:gd name="connsiteY781" fmla="*/ 390019 h 1161399"/>
                    <a:gd name="connsiteX782" fmla="*/ 1340228 w 1661518"/>
                    <a:gd name="connsiteY782" fmla="*/ 389351 h 1161399"/>
                    <a:gd name="connsiteX783" fmla="*/ 1342305 w 1661518"/>
                    <a:gd name="connsiteY783" fmla="*/ 388926 h 1161399"/>
                    <a:gd name="connsiteX784" fmla="*/ 1346421 w 1661518"/>
                    <a:gd name="connsiteY784" fmla="*/ 388756 h 1161399"/>
                    <a:gd name="connsiteX785" fmla="*/ 1347356 w 1661518"/>
                    <a:gd name="connsiteY785" fmla="*/ 388355 h 1161399"/>
                    <a:gd name="connsiteX786" fmla="*/ 1348498 w 1661518"/>
                    <a:gd name="connsiteY786" fmla="*/ 387493 h 1161399"/>
                    <a:gd name="connsiteX787" fmla="*/ 1349068 w 1661518"/>
                    <a:gd name="connsiteY787" fmla="*/ 385854 h 1161399"/>
                    <a:gd name="connsiteX788" fmla="*/ 1349129 w 1661518"/>
                    <a:gd name="connsiteY788" fmla="*/ 384530 h 1161399"/>
                    <a:gd name="connsiteX789" fmla="*/ 1348850 w 1661518"/>
                    <a:gd name="connsiteY789" fmla="*/ 383073 h 1161399"/>
                    <a:gd name="connsiteX790" fmla="*/ 1348498 w 1661518"/>
                    <a:gd name="connsiteY790" fmla="*/ 382041 h 1161399"/>
                    <a:gd name="connsiteX791" fmla="*/ 1347757 w 1661518"/>
                    <a:gd name="connsiteY791" fmla="*/ 380402 h 1161399"/>
                    <a:gd name="connsiteX792" fmla="*/ 1347053 w 1661518"/>
                    <a:gd name="connsiteY792" fmla="*/ 379260 h 1161399"/>
                    <a:gd name="connsiteX793" fmla="*/ 1347004 w 1661518"/>
                    <a:gd name="connsiteY793" fmla="*/ 379054 h 1161399"/>
                    <a:gd name="connsiteX794" fmla="*/ 1347004 w 1661518"/>
                    <a:gd name="connsiteY794" fmla="*/ 378884 h 1161399"/>
                    <a:gd name="connsiteX795" fmla="*/ 1347235 w 1661518"/>
                    <a:gd name="connsiteY795" fmla="*/ 376929 h 1161399"/>
                    <a:gd name="connsiteX796" fmla="*/ 1347696 w 1661518"/>
                    <a:gd name="connsiteY796" fmla="*/ 375375 h 1161399"/>
                    <a:gd name="connsiteX797" fmla="*/ 1348328 w 1661518"/>
                    <a:gd name="connsiteY797" fmla="*/ 374112 h 1161399"/>
                    <a:gd name="connsiteX798" fmla="*/ 1353148 w 1661518"/>
                    <a:gd name="connsiteY798" fmla="*/ 369291 h 1161399"/>
                    <a:gd name="connsiteX799" fmla="*/ 1356184 w 1661518"/>
                    <a:gd name="connsiteY799" fmla="*/ 365442 h 1161399"/>
                    <a:gd name="connsiteX800" fmla="*/ 1358661 w 1661518"/>
                    <a:gd name="connsiteY800" fmla="*/ 361337 h 1161399"/>
                    <a:gd name="connsiteX801" fmla="*/ 1359293 w 1661518"/>
                    <a:gd name="connsiteY801" fmla="*/ 359552 h 1161399"/>
                    <a:gd name="connsiteX802" fmla="*/ 1359572 w 1661518"/>
                    <a:gd name="connsiteY802" fmla="*/ 358229 h 1161399"/>
                    <a:gd name="connsiteX803" fmla="*/ 1359754 w 1661518"/>
                    <a:gd name="connsiteY803" fmla="*/ 356140 h 1161399"/>
                    <a:gd name="connsiteX804" fmla="*/ 1359693 w 1661518"/>
                    <a:gd name="connsiteY804" fmla="*/ 354052 h 1161399"/>
                    <a:gd name="connsiteX805" fmla="*/ 1358370 w 1661518"/>
                    <a:gd name="connsiteY805" fmla="*/ 347907 h 1161399"/>
                    <a:gd name="connsiteX806" fmla="*/ 1358831 w 1661518"/>
                    <a:gd name="connsiteY806" fmla="*/ 346183 h 1161399"/>
                    <a:gd name="connsiteX807" fmla="*/ 1360094 w 1661518"/>
                    <a:gd name="connsiteY807" fmla="*/ 345284 h 1161399"/>
                    <a:gd name="connsiteX808" fmla="*/ 1362680 w 1661518"/>
                    <a:gd name="connsiteY808" fmla="*/ 345515 h 1161399"/>
                    <a:gd name="connsiteX809" fmla="*/ 1364866 w 1661518"/>
                    <a:gd name="connsiteY809" fmla="*/ 346256 h 1161399"/>
                    <a:gd name="connsiteX810" fmla="*/ 1367210 w 1661518"/>
                    <a:gd name="connsiteY810" fmla="*/ 346256 h 1161399"/>
                    <a:gd name="connsiteX811" fmla="*/ 1370148 w 1661518"/>
                    <a:gd name="connsiteY811" fmla="*/ 345212 h 1161399"/>
                    <a:gd name="connsiteX812" fmla="*/ 1372443 w 1661518"/>
                    <a:gd name="connsiteY812" fmla="*/ 344799 h 1161399"/>
                    <a:gd name="connsiteX813" fmla="*/ 1375479 w 1661518"/>
                    <a:gd name="connsiteY813" fmla="*/ 345576 h 1161399"/>
                    <a:gd name="connsiteX814" fmla="*/ 1377835 w 1661518"/>
                    <a:gd name="connsiteY814" fmla="*/ 346523 h 1161399"/>
                    <a:gd name="connsiteX815" fmla="*/ 1382085 w 1661518"/>
                    <a:gd name="connsiteY815" fmla="*/ 347786 h 1161399"/>
                    <a:gd name="connsiteX816" fmla="*/ 1383408 w 1661518"/>
                    <a:gd name="connsiteY816" fmla="*/ 348527 h 1161399"/>
                    <a:gd name="connsiteX817" fmla="*/ 1384040 w 1661518"/>
                    <a:gd name="connsiteY817" fmla="*/ 349425 h 1161399"/>
                    <a:gd name="connsiteX818" fmla="*/ 1384162 w 1661518"/>
                    <a:gd name="connsiteY818" fmla="*/ 350287 h 1161399"/>
                    <a:gd name="connsiteX819" fmla="*/ 1383979 w 1661518"/>
                    <a:gd name="connsiteY819" fmla="*/ 350943 h 1161399"/>
                    <a:gd name="connsiteX820" fmla="*/ 1383178 w 1661518"/>
                    <a:gd name="connsiteY820" fmla="*/ 353469 h 1161399"/>
                    <a:gd name="connsiteX821" fmla="*/ 1382886 w 1661518"/>
                    <a:gd name="connsiteY821" fmla="*/ 354938 h 1161399"/>
                    <a:gd name="connsiteX822" fmla="*/ 1383056 w 1661518"/>
                    <a:gd name="connsiteY822" fmla="*/ 356007 h 1161399"/>
                    <a:gd name="connsiteX823" fmla="*/ 1383809 w 1661518"/>
                    <a:gd name="connsiteY823" fmla="*/ 356832 h 1161399"/>
                    <a:gd name="connsiteX824" fmla="*/ 1385594 w 1661518"/>
                    <a:gd name="connsiteY824" fmla="*/ 357609 h 1161399"/>
                    <a:gd name="connsiteX825" fmla="*/ 1387902 w 1661518"/>
                    <a:gd name="connsiteY825" fmla="*/ 358132 h 1161399"/>
                    <a:gd name="connsiteX826" fmla="*/ 1392953 w 1661518"/>
                    <a:gd name="connsiteY826" fmla="*/ 358350 h 1161399"/>
                    <a:gd name="connsiteX827" fmla="*/ 1398041 w 1661518"/>
                    <a:gd name="connsiteY827" fmla="*/ 357695 h 1161399"/>
                    <a:gd name="connsiteX828" fmla="*/ 1400178 w 1661518"/>
                    <a:gd name="connsiteY828" fmla="*/ 356881 h 1161399"/>
                    <a:gd name="connsiteX829" fmla="*/ 1401781 w 1661518"/>
                    <a:gd name="connsiteY829" fmla="*/ 355679 h 1161399"/>
                    <a:gd name="connsiteX830" fmla="*/ 1402473 w 1661518"/>
                    <a:gd name="connsiteY830" fmla="*/ 353797 h 1161399"/>
                    <a:gd name="connsiteX831" fmla="*/ 1402242 w 1661518"/>
                    <a:gd name="connsiteY831" fmla="*/ 352412 h 1161399"/>
                    <a:gd name="connsiteX832" fmla="*/ 1401149 w 1661518"/>
                    <a:gd name="connsiteY832" fmla="*/ 351137 h 1161399"/>
                    <a:gd name="connsiteX833" fmla="*/ 1395758 w 1661518"/>
                    <a:gd name="connsiteY833" fmla="*/ 347907 h 1161399"/>
                    <a:gd name="connsiteX834" fmla="*/ 1394835 w 1661518"/>
                    <a:gd name="connsiteY834" fmla="*/ 347009 h 1161399"/>
                    <a:gd name="connsiteX835" fmla="*/ 1394264 w 1661518"/>
                    <a:gd name="connsiteY835" fmla="*/ 346207 h 1161399"/>
                    <a:gd name="connsiteX836" fmla="*/ 1397822 w 1661518"/>
                    <a:gd name="connsiteY836" fmla="*/ 344252 h 1161399"/>
                    <a:gd name="connsiteX837" fmla="*/ 1415162 w 1661518"/>
                    <a:gd name="connsiteY837" fmla="*/ 339225 h 1161399"/>
                    <a:gd name="connsiteX838" fmla="*/ 1419242 w 1661518"/>
                    <a:gd name="connsiteY838" fmla="*/ 344981 h 1161399"/>
                    <a:gd name="connsiteX839" fmla="*/ 1420104 w 1661518"/>
                    <a:gd name="connsiteY839" fmla="*/ 350567 h 1161399"/>
                    <a:gd name="connsiteX840" fmla="*/ 1420906 w 1661518"/>
                    <a:gd name="connsiteY840" fmla="*/ 352267 h 1161399"/>
                    <a:gd name="connsiteX841" fmla="*/ 1422570 w 1661518"/>
                    <a:gd name="connsiteY841" fmla="*/ 354416 h 1161399"/>
                    <a:gd name="connsiteX842" fmla="*/ 1423262 w 1661518"/>
                    <a:gd name="connsiteY842" fmla="*/ 355861 h 1161399"/>
                    <a:gd name="connsiteX843" fmla="*/ 1423371 w 1661518"/>
                    <a:gd name="connsiteY843" fmla="*/ 356796 h 1161399"/>
                    <a:gd name="connsiteX844" fmla="*/ 1422970 w 1661518"/>
                    <a:gd name="connsiteY844" fmla="*/ 357488 h 1161399"/>
                    <a:gd name="connsiteX845" fmla="*/ 1422339 w 1661518"/>
                    <a:gd name="connsiteY845" fmla="*/ 358496 h 1161399"/>
                    <a:gd name="connsiteX846" fmla="*/ 1422047 w 1661518"/>
                    <a:gd name="connsiteY846" fmla="*/ 359528 h 1161399"/>
                    <a:gd name="connsiteX847" fmla="*/ 1422047 w 1661518"/>
                    <a:gd name="connsiteY847" fmla="*/ 360852 h 1161399"/>
                    <a:gd name="connsiteX848" fmla="*/ 1422849 w 1661518"/>
                    <a:gd name="connsiteY848" fmla="*/ 362260 h 1161399"/>
                    <a:gd name="connsiteX849" fmla="*/ 1424233 w 1661518"/>
                    <a:gd name="connsiteY849" fmla="*/ 363232 h 1161399"/>
                    <a:gd name="connsiteX850" fmla="*/ 1426929 w 1661518"/>
                    <a:gd name="connsiteY850" fmla="*/ 363887 h 1161399"/>
                    <a:gd name="connsiteX851" fmla="*/ 1431640 w 1661518"/>
                    <a:gd name="connsiteY851" fmla="*/ 364300 h 1161399"/>
                    <a:gd name="connsiteX852" fmla="*/ 1439218 w 1661518"/>
                    <a:gd name="connsiteY852" fmla="*/ 366243 h 1161399"/>
                    <a:gd name="connsiteX853" fmla="*/ 1447208 w 1661518"/>
                    <a:gd name="connsiteY853" fmla="*/ 366097 h 1161399"/>
                    <a:gd name="connsiteX854" fmla="*/ 1448531 w 1661518"/>
                    <a:gd name="connsiteY854" fmla="*/ 367045 h 1161399"/>
                    <a:gd name="connsiteX855" fmla="*/ 1449442 w 1661518"/>
                    <a:gd name="connsiteY855" fmla="*/ 369315 h 1161399"/>
                    <a:gd name="connsiteX856" fmla="*/ 1449782 w 1661518"/>
                    <a:gd name="connsiteY856" fmla="*/ 371537 h 1161399"/>
                    <a:gd name="connsiteX857" fmla="*/ 1450766 w 1661518"/>
                    <a:gd name="connsiteY857" fmla="*/ 373165 h 1161399"/>
                    <a:gd name="connsiteX858" fmla="*/ 1452259 w 1661518"/>
                    <a:gd name="connsiteY858" fmla="*/ 374197 h 1161399"/>
                    <a:gd name="connsiteX859" fmla="*/ 1455647 w 1661518"/>
                    <a:gd name="connsiteY859" fmla="*/ 375035 h 1161399"/>
                    <a:gd name="connsiteX860" fmla="*/ 1458124 w 1661518"/>
                    <a:gd name="connsiteY860" fmla="*/ 375010 h 1161399"/>
                    <a:gd name="connsiteX861" fmla="*/ 1460286 w 1661518"/>
                    <a:gd name="connsiteY861" fmla="*/ 374343 h 1161399"/>
                    <a:gd name="connsiteX862" fmla="*/ 1463224 w 1661518"/>
                    <a:gd name="connsiteY862" fmla="*/ 372740 h 1161399"/>
                    <a:gd name="connsiteX863" fmla="*/ 1464548 w 1661518"/>
                    <a:gd name="connsiteY863" fmla="*/ 372254 h 1161399"/>
                    <a:gd name="connsiteX864" fmla="*/ 1466041 w 1661518"/>
                    <a:gd name="connsiteY864" fmla="*/ 372047 h 1161399"/>
                    <a:gd name="connsiteX865" fmla="*/ 1467766 w 1661518"/>
                    <a:gd name="connsiteY865" fmla="*/ 371987 h 1161399"/>
                    <a:gd name="connsiteX866" fmla="*/ 1470352 w 1661518"/>
                    <a:gd name="connsiteY866" fmla="*/ 372557 h 1161399"/>
                    <a:gd name="connsiteX867" fmla="*/ 1472404 w 1661518"/>
                    <a:gd name="connsiteY867" fmla="*/ 373711 h 1161399"/>
                    <a:gd name="connsiteX868" fmla="*/ 1474651 w 1661518"/>
                    <a:gd name="connsiteY868" fmla="*/ 376407 h 1161399"/>
                    <a:gd name="connsiteX869" fmla="*/ 1475743 w 1661518"/>
                    <a:gd name="connsiteY869" fmla="*/ 378932 h 1161399"/>
                    <a:gd name="connsiteX870" fmla="*/ 1475743 w 1661518"/>
                    <a:gd name="connsiteY870" fmla="*/ 379115 h 1161399"/>
                    <a:gd name="connsiteX871" fmla="*/ 1476083 w 1661518"/>
                    <a:gd name="connsiteY871" fmla="*/ 379600 h 1161399"/>
                    <a:gd name="connsiteX872" fmla="*/ 1478391 w 1661518"/>
                    <a:gd name="connsiteY872" fmla="*/ 383073 h 1161399"/>
                    <a:gd name="connsiteX873" fmla="*/ 1478609 w 1661518"/>
                    <a:gd name="connsiteY873" fmla="*/ 384943 h 1161399"/>
                    <a:gd name="connsiteX874" fmla="*/ 1478330 w 1661518"/>
                    <a:gd name="connsiteY874" fmla="*/ 386740 h 1161399"/>
                    <a:gd name="connsiteX875" fmla="*/ 1477516 w 1661518"/>
                    <a:gd name="connsiteY875" fmla="*/ 388271 h 1161399"/>
                    <a:gd name="connsiteX876" fmla="*/ 1477067 w 1661518"/>
                    <a:gd name="connsiteY876" fmla="*/ 389558 h 1161399"/>
                    <a:gd name="connsiteX877" fmla="*/ 1477006 w 1661518"/>
                    <a:gd name="connsiteY877" fmla="*/ 390541 h 1161399"/>
                    <a:gd name="connsiteX878" fmla="*/ 1477407 w 1661518"/>
                    <a:gd name="connsiteY878" fmla="*/ 391719 h 1161399"/>
                    <a:gd name="connsiteX879" fmla="*/ 1478269 w 1661518"/>
                    <a:gd name="connsiteY879" fmla="*/ 393091 h 1161399"/>
                    <a:gd name="connsiteX880" fmla="*/ 1479763 w 1661518"/>
                    <a:gd name="connsiteY880" fmla="*/ 394791 h 1161399"/>
                    <a:gd name="connsiteX881" fmla="*/ 1493776 w 1661518"/>
                    <a:gd name="connsiteY881" fmla="*/ 404870 h 1161399"/>
                    <a:gd name="connsiteX882" fmla="*/ 1496241 w 1661518"/>
                    <a:gd name="connsiteY882" fmla="*/ 406072 h 1161399"/>
                    <a:gd name="connsiteX883" fmla="*/ 1498305 w 1661518"/>
                    <a:gd name="connsiteY883" fmla="*/ 406679 h 1161399"/>
                    <a:gd name="connsiteX884" fmla="*/ 1501984 w 1661518"/>
                    <a:gd name="connsiteY884" fmla="*/ 407080 h 1161399"/>
                    <a:gd name="connsiteX885" fmla="*/ 1506526 w 1661518"/>
                    <a:gd name="connsiteY885" fmla="*/ 406983 h 1161399"/>
                    <a:gd name="connsiteX886" fmla="*/ 1508250 w 1661518"/>
                    <a:gd name="connsiteY886" fmla="*/ 407165 h 1161399"/>
                    <a:gd name="connsiteX887" fmla="*/ 1512670 w 1661518"/>
                    <a:gd name="connsiteY887" fmla="*/ 409193 h 1161399"/>
                    <a:gd name="connsiteX888" fmla="*/ 1521802 w 1661518"/>
                    <a:gd name="connsiteY888" fmla="*/ 416345 h 1161399"/>
                    <a:gd name="connsiteX889" fmla="*/ 1524206 w 1661518"/>
                    <a:gd name="connsiteY889" fmla="*/ 417268 h 1161399"/>
                    <a:gd name="connsiteX890" fmla="*/ 1524959 w 1661518"/>
                    <a:gd name="connsiteY890" fmla="*/ 417413 h 1161399"/>
                    <a:gd name="connsiteX891" fmla="*/ 1526331 w 1661518"/>
                    <a:gd name="connsiteY891" fmla="*/ 417499 h 1161399"/>
                    <a:gd name="connsiteX892" fmla="*/ 1527825 w 1661518"/>
                    <a:gd name="connsiteY892" fmla="*/ 417183 h 1161399"/>
                    <a:gd name="connsiteX893" fmla="*/ 1529561 w 1661518"/>
                    <a:gd name="connsiteY893" fmla="*/ 416551 h 1161399"/>
                    <a:gd name="connsiteX894" fmla="*/ 1531091 w 1661518"/>
                    <a:gd name="connsiteY894" fmla="*/ 415774 h 1161399"/>
                    <a:gd name="connsiteX895" fmla="*/ 1538729 w 1661518"/>
                    <a:gd name="connsiteY895" fmla="*/ 410261 h 1161399"/>
                    <a:gd name="connsiteX896" fmla="*/ 1539822 w 1661518"/>
                    <a:gd name="connsiteY896" fmla="*/ 409861 h 1161399"/>
                    <a:gd name="connsiteX897" fmla="*/ 1540453 w 1661518"/>
                    <a:gd name="connsiteY897" fmla="*/ 409970 h 1161399"/>
                    <a:gd name="connsiteX898" fmla="*/ 1541145 w 1661518"/>
                    <a:gd name="connsiteY898" fmla="*/ 410431 h 1161399"/>
                    <a:gd name="connsiteX899" fmla="*/ 1541825 w 1661518"/>
                    <a:gd name="connsiteY899" fmla="*/ 411670 h 1161399"/>
                    <a:gd name="connsiteX900" fmla="*/ 1542408 w 1661518"/>
                    <a:gd name="connsiteY900" fmla="*/ 413588 h 1161399"/>
                    <a:gd name="connsiteX901" fmla="*/ 1542639 w 1661518"/>
                    <a:gd name="connsiteY901" fmla="*/ 417778 h 1161399"/>
                    <a:gd name="connsiteX902" fmla="*/ 1541947 w 1661518"/>
                    <a:gd name="connsiteY902" fmla="*/ 420109 h 1161399"/>
                    <a:gd name="connsiteX903" fmla="*/ 1541255 w 1661518"/>
                    <a:gd name="connsiteY903" fmla="*/ 421919 h 1161399"/>
                    <a:gd name="connsiteX904" fmla="*/ 1540514 w 1661518"/>
                    <a:gd name="connsiteY904" fmla="*/ 423388 h 1161399"/>
                    <a:gd name="connsiteX905" fmla="*/ 1540453 w 1661518"/>
                    <a:gd name="connsiteY905" fmla="*/ 424869 h 1161399"/>
                    <a:gd name="connsiteX906" fmla="*/ 1541036 w 1661518"/>
                    <a:gd name="connsiteY906" fmla="*/ 426132 h 1161399"/>
                    <a:gd name="connsiteX907" fmla="*/ 1543040 w 1661518"/>
                    <a:gd name="connsiteY907" fmla="*/ 427553 h 1161399"/>
                    <a:gd name="connsiteX908" fmla="*/ 1544424 w 1661518"/>
                    <a:gd name="connsiteY908" fmla="*/ 427747 h 1161399"/>
                    <a:gd name="connsiteX909" fmla="*/ 1545796 w 1661518"/>
                    <a:gd name="connsiteY909" fmla="*/ 427261 h 1161399"/>
                    <a:gd name="connsiteX910" fmla="*/ 1546719 w 1661518"/>
                    <a:gd name="connsiteY910" fmla="*/ 426217 h 1161399"/>
                    <a:gd name="connsiteX911" fmla="*/ 1547460 w 1661518"/>
                    <a:gd name="connsiteY911" fmla="*/ 425246 h 1161399"/>
                    <a:gd name="connsiteX912" fmla="*/ 1548893 w 1661518"/>
                    <a:gd name="connsiteY912" fmla="*/ 422550 h 1161399"/>
                    <a:gd name="connsiteX913" fmla="*/ 1549536 w 1661518"/>
                    <a:gd name="connsiteY913" fmla="*/ 421627 h 1161399"/>
                    <a:gd name="connsiteX914" fmla="*/ 1550386 w 1661518"/>
                    <a:gd name="connsiteY914" fmla="*/ 420680 h 1161399"/>
                    <a:gd name="connsiteX915" fmla="*/ 1551358 w 1661518"/>
                    <a:gd name="connsiteY915" fmla="*/ 420801 h 1161399"/>
                    <a:gd name="connsiteX916" fmla="*/ 1552001 w 1661518"/>
                    <a:gd name="connsiteY916" fmla="*/ 422004 h 1161399"/>
                    <a:gd name="connsiteX917" fmla="*/ 1552110 w 1661518"/>
                    <a:gd name="connsiteY917" fmla="*/ 425792 h 1161399"/>
                    <a:gd name="connsiteX918" fmla="*/ 1551479 w 1661518"/>
                    <a:gd name="connsiteY918" fmla="*/ 434462 h 1161399"/>
                    <a:gd name="connsiteX919" fmla="*/ 1551770 w 1661518"/>
                    <a:gd name="connsiteY919" fmla="*/ 435871 h 1161399"/>
                    <a:gd name="connsiteX920" fmla="*/ 1552293 w 1661518"/>
                    <a:gd name="connsiteY920" fmla="*/ 436794 h 1161399"/>
                    <a:gd name="connsiteX921" fmla="*/ 1553847 w 1661518"/>
                    <a:gd name="connsiteY921" fmla="*/ 437874 h 1161399"/>
                    <a:gd name="connsiteX922" fmla="*/ 1554697 w 1661518"/>
                    <a:gd name="connsiteY922" fmla="*/ 438056 h 1161399"/>
                    <a:gd name="connsiteX923" fmla="*/ 1555498 w 1661518"/>
                    <a:gd name="connsiteY923" fmla="*/ 437971 h 1161399"/>
                    <a:gd name="connsiteX924" fmla="*/ 1556312 w 1661518"/>
                    <a:gd name="connsiteY924" fmla="*/ 437413 h 1161399"/>
                    <a:gd name="connsiteX925" fmla="*/ 1557344 w 1661518"/>
                    <a:gd name="connsiteY925" fmla="*/ 437073 h 1161399"/>
                    <a:gd name="connsiteX926" fmla="*/ 1558668 w 1661518"/>
                    <a:gd name="connsiteY926" fmla="*/ 437109 h 1161399"/>
                    <a:gd name="connsiteX927" fmla="*/ 1560210 w 1661518"/>
                    <a:gd name="connsiteY927" fmla="*/ 437680 h 1161399"/>
                    <a:gd name="connsiteX928" fmla="*/ 1561886 w 1661518"/>
                    <a:gd name="connsiteY928" fmla="*/ 438542 h 1161399"/>
                    <a:gd name="connsiteX929" fmla="*/ 1562675 w 1661518"/>
                    <a:gd name="connsiteY929" fmla="*/ 440206 h 1161399"/>
                    <a:gd name="connsiteX930" fmla="*/ 1563197 w 1661518"/>
                    <a:gd name="connsiteY930" fmla="*/ 442962 h 1161399"/>
                    <a:gd name="connsiteX931" fmla="*/ 1559979 w 1661518"/>
                    <a:gd name="connsiteY931" fmla="*/ 449592 h 1161399"/>
                    <a:gd name="connsiteX932" fmla="*/ 1558838 w 1661518"/>
                    <a:gd name="connsiteY932" fmla="*/ 451292 h 1161399"/>
                    <a:gd name="connsiteX933" fmla="*/ 1559639 w 1661518"/>
                    <a:gd name="connsiteY933" fmla="*/ 452494 h 1161399"/>
                    <a:gd name="connsiteX934" fmla="*/ 1569001 w 1661518"/>
                    <a:gd name="connsiteY934" fmla="*/ 451572 h 1161399"/>
                    <a:gd name="connsiteX935" fmla="*/ 1576166 w 1661518"/>
                    <a:gd name="connsiteY935" fmla="*/ 452470 h 1161399"/>
                    <a:gd name="connsiteX936" fmla="*/ 1578873 w 1661518"/>
                    <a:gd name="connsiteY936" fmla="*/ 451778 h 1161399"/>
                    <a:gd name="connsiteX937" fmla="*/ 1581509 w 1661518"/>
                    <a:gd name="connsiteY937" fmla="*/ 449422 h 1161399"/>
                    <a:gd name="connsiteX938" fmla="*/ 1582201 w 1661518"/>
                    <a:gd name="connsiteY938" fmla="*/ 447176 h 1161399"/>
                    <a:gd name="connsiteX939" fmla="*/ 1582249 w 1661518"/>
                    <a:gd name="connsiteY939" fmla="*/ 445427 h 1161399"/>
                    <a:gd name="connsiteX940" fmla="*/ 1581569 w 1661518"/>
                    <a:gd name="connsiteY940" fmla="*/ 442185 h 1161399"/>
                    <a:gd name="connsiteX941" fmla="*/ 1581460 w 1661518"/>
                    <a:gd name="connsiteY941" fmla="*/ 440400 h 1161399"/>
                    <a:gd name="connsiteX942" fmla="*/ 1581460 w 1661518"/>
                    <a:gd name="connsiteY942" fmla="*/ 438579 h 1161399"/>
                    <a:gd name="connsiteX943" fmla="*/ 1581691 w 1661518"/>
                    <a:gd name="connsiteY943" fmla="*/ 436842 h 1161399"/>
                    <a:gd name="connsiteX944" fmla="*/ 1582152 w 1661518"/>
                    <a:gd name="connsiteY944" fmla="*/ 435276 h 1161399"/>
                    <a:gd name="connsiteX945" fmla="*/ 1584848 w 1661518"/>
                    <a:gd name="connsiteY945" fmla="*/ 434693 h 1161399"/>
                    <a:gd name="connsiteX946" fmla="*/ 1587094 w 1661518"/>
                    <a:gd name="connsiteY946" fmla="*/ 434584 h 1161399"/>
                    <a:gd name="connsiteX947" fmla="*/ 1604993 w 1661518"/>
                    <a:gd name="connsiteY947" fmla="*/ 440582 h 1161399"/>
                    <a:gd name="connsiteX948" fmla="*/ 1613663 w 1661518"/>
                    <a:gd name="connsiteY948" fmla="*/ 441408 h 1161399"/>
                    <a:gd name="connsiteX949" fmla="*/ 1616711 w 1661518"/>
                    <a:gd name="connsiteY949" fmla="*/ 441177 h 1161399"/>
                    <a:gd name="connsiteX950" fmla="*/ 1619067 w 1661518"/>
                    <a:gd name="connsiteY950" fmla="*/ 440582 h 1161399"/>
                    <a:gd name="connsiteX951" fmla="*/ 1631865 w 1661518"/>
                    <a:gd name="connsiteY951" fmla="*/ 435009 h 1161399"/>
                    <a:gd name="connsiteX952" fmla="*/ 1633480 w 1661518"/>
                    <a:gd name="connsiteY952" fmla="*/ 434669 h 1161399"/>
                    <a:gd name="connsiteX953" fmla="*/ 1634852 w 1661518"/>
                    <a:gd name="connsiteY953" fmla="*/ 434669 h 1161399"/>
                    <a:gd name="connsiteX954" fmla="*/ 1636067 w 1661518"/>
                    <a:gd name="connsiteY954" fmla="*/ 435409 h 1161399"/>
                    <a:gd name="connsiteX955" fmla="*/ 1636589 w 1661518"/>
                    <a:gd name="connsiteY955" fmla="*/ 436794 h 1161399"/>
                    <a:gd name="connsiteX956" fmla="*/ 1636176 w 1661518"/>
                    <a:gd name="connsiteY956" fmla="*/ 441408 h 1161399"/>
                    <a:gd name="connsiteX957" fmla="*/ 1636407 w 1661518"/>
                    <a:gd name="connsiteY957" fmla="*/ 442853 h 1161399"/>
                    <a:gd name="connsiteX958" fmla="*/ 1637730 w 1661518"/>
                    <a:gd name="connsiteY958" fmla="*/ 444225 h 1161399"/>
                    <a:gd name="connsiteX959" fmla="*/ 1639285 w 1661518"/>
                    <a:gd name="connsiteY959" fmla="*/ 444626 h 1161399"/>
                    <a:gd name="connsiteX960" fmla="*/ 1645477 w 1661518"/>
                    <a:gd name="connsiteY960" fmla="*/ 444966 h 1161399"/>
                    <a:gd name="connsiteX961" fmla="*/ 1646862 w 1661518"/>
                    <a:gd name="connsiteY961" fmla="*/ 445294 h 1161399"/>
                    <a:gd name="connsiteX962" fmla="*/ 1648125 w 1661518"/>
                    <a:gd name="connsiteY962" fmla="*/ 446642 h 1161399"/>
                    <a:gd name="connsiteX963" fmla="*/ 1648975 w 1661518"/>
                    <a:gd name="connsiteY963" fmla="*/ 448621 h 1161399"/>
                    <a:gd name="connsiteX964" fmla="*/ 1650080 w 1661518"/>
                    <a:gd name="connsiteY964" fmla="*/ 453272 h 1161399"/>
                    <a:gd name="connsiteX965" fmla="*/ 1651100 w 1661518"/>
                    <a:gd name="connsiteY965" fmla="*/ 455530 h 1161399"/>
                    <a:gd name="connsiteX966" fmla="*/ 1652375 w 1661518"/>
                    <a:gd name="connsiteY966" fmla="*/ 457437 h 1161399"/>
                    <a:gd name="connsiteX967" fmla="*/ 1654840 w 1661518"/>
                    <a:gd name="connsiteY967" fmla="*/ 459610 h 1161399"/>
                    <a:gd name="connsiteX968" fmla="*/ 1655483 w 1661518"/>
                    <a:gd name="connsiteY968" fmla="*/ 460995 h 1161399"/>
                    <a:gd name="connsiteX969" fmla="*/ 1655362 w 1661518"/>
                    <a:gd name="connsiteY969" fmla="*/ 462682 h 1161399"/>
                    <a:gd name="connsiteX970" fmla="*/ 1653638 w 1661518"/>
                    <a:gd name="connsiteY970" fmla="*/ 465584 h 1161399"/>
                    <a:gd name="connsiteX971" fmla="*/ 1651513 w 1661518"/>
                    <a:gd name="connsiteY971" fmla="*/ 466677 h 1161399"/>
                    <a:gd name="connsiteX972" fmla="*/ 1648877 w 1661518"/>
                    <a:gd name="connsiteY972" fmla="*/ 466932 h 1161399"/>
                    <a:gd name="connsiteX973" fmla="*/ 1643814 w 1661518"/>
                    <a:gd name="connsiteY973" fmla="*/ 465184 h 1161399"/>
                    <a:gd name="connsiteX974" fmla="*/ 1642733 w 1661518"/>
                    <a:gd name="connsiteY974" fmla="*/ 465269 h 1161399"/>
                    <a:gd name="connsiteX975" fmla="*/ 1641750 w 1661518"/>
                    <a:gd name="connsiteY975" fmla="*/ 465815 h 1161399"/>
                    <a:gd name="connsiteX976" fmla="*/ 1640778 w 1661518"/>
                    <a:gd name="connsiteY976" fmla="*/ 466884 h 1161399"/>
                    <a:gd name="connsiteX977" fmla="*/ 1639807 w 1661518"/>
                    <a:gd name="connsiteY977" fmla="*/ 468511 h 1161399"/>
                    <a:gd name="connsiteX978" fmla="*/ 1639685 w 1661518"/>
                    <a:gd name="connsiteY978" fmla="*/ 470357 h 1161399"/>
                    <a:gd name="connsiteX979" fmla="*/ 1639965 w 1661518"/>
                    <a:gd name="connsiteY979" fmla="*/ 473368 h 1161399"/>
                    <a:gd name="connsiteX980" fmla="*/ 1641458 w 1661518"/>
                    <a:gd name="connsiteY980" fmla="*/ 477472 h 1161399"/>
                    <a:gd name="connsiteX981" fmla="*/ 1641349 w 1661518"/>
                    <a:gd name="connsiteY981" fmla="*/ 481552 h 1161399"/>
                    <a:gd name="connsiteX982" fmla="*/ 1639515 w 1661518"/>
                    <a:gd name="connsiteY982" fmla="*/ 490684 h 1161399"/>
                    <a:gd name="connsiteX983" fmla="*/ 1639455 w 1661518"/>
                    <a:gd name="connsiteY983" fmla="*/ 493258 h 1161399"/>
                    <a:gd name="connsiteX984" fmla="*/ 1639746 w 1661518"/>
                    <a:gd name="connsiteY984" fmla="*/ 494788 h 1161399"/>
                    <a:gd name="connsiteX985" fmla="*/ 1640778 w 1661518"/>
                    <a:gd name="connsiteY985" fmla="*/ 495930 h 1161399"/>
                    <a:gd name="connsiteX986" fmla="*/ 1643984 w 1661518"/>
                    <a:gd name="connsiteY986" fmla="*/ 497314 h 1161399"/>
                    <a:gd name="connsiteX987" fmla="*/ 1645198 w 1661518"/>
                    <a:gd name="connsiteY987" fmla="*/ 498893 h 1161399"/>
                    <a:gd name="connsiteX988" fmla="*/ 1645890 w 1661518"/>
                    <a:gd name="connsiteY988" fmla="*/ 501479 h 1161399"/>
                    <a:gd name="connsiteX989" fmla="*/ 1645477 w 1661518"/>
                    <a:gd name="connsiteY989" fmla="*/ 512614 h 1161399"/>
                    <a:gd name="connsiteX990" fmla="*/ 1644955 w 1661518"/>
                    <a:gd name="connsiteY990" fmla="*/ 515140 h 1161399"/>
                    <a:gd name="connsiteX991" fmla="*/ 1644105 w 1661518"/>
                    <a:gd name="connsiteY991" fmla="*/ 517702 h 1161399"/>
                    <a:gd name="connsiteX992" fmla="*/ 1641057 w 1661518"/>
                    <a:gd name="connsiteY992" fmla="*/ 523008 h 1161399"/>
                    <a:gd name="connsiteX993" fmla="*/ 1639515 w 1661518"/>
                    <a:gd name="connsiteY993" fmla="*/ 535674 h 1161399"/>
                    <a:gd name="connsiteX994" fmla="*/ 1637378 w 1661518"/>
                    <a:gd name="connsiteY994" fmla="*/ 538248 h 1161399"/>
                    <a:gd name="connsiteX995" fmla="*/ 1635034 w 1661518"/>
                    <a:gd name="connsiteY995" fmla="*/ 539632 h 1161399"/>
                    <a:gd name="connsiteX996" fmla="*/ 1631185 w 1661518"/>
                    <a:gd name="connsiteY996" fmla="*/ 539948 h 1161399"/>
                    <a:gd name="connsiteX997" fmla="*/ 1629692 w 1661518"/>
                    <a:gd name="connsiteY997" fmla="*/ 540264 h 1161399"/>
                    <a:gd name="connsiteX998" fmla="*/ 1628659 w 1661518"/>
                    <a:gd name="connsiteY998" fmla="*/ 541089 h 1161399"/>
                    <a:gd name="connsiteX999" fmla="*/ 1628429 w 1661518"/>
                    <a:gd name="connsiteY999" fmla="*/ 542389 h 1161399"/>
                    <a:gd name="connsiteX1000" fmla="*/ 1629461 w 1661518"/>
                    <a:gd name="connsiteY1000" fmla="*/ 545084 h 1161399"/>
                    <a:gd name="connsiteX1001" fmla="*/ 1630894 w 1661518"/>
                    <a:gd name="connsiteY1001" fmla="*/ 547270 h 1161399"/>
                    <a:gd name="connsiteX1002" fmla="*/ 1633359 w 1661518"/>
                    <a:gd name="connsiteY1002" fmla="*/ 550002 h 1161399"/>
                    <a:gd name="connsiteX1003" fmla="*/ 1636698 w 1661518"/>
                    <a:gd name="connsiteY1003" fmla="*/ 552637 h 1161399"/>
                    <a:gd name="connsiteX1004" fmla="*/ 1639054 w 1661518"/>
                    <a:gd name="connsiteY1004" fmla="*/ 554191 h 1161399"/>
                    <a:gd name="connsiteX1005" fmla="*/ 1640086 w 1661518"/>
                    <a:gd name="connsiteY1005" fmla="*/ 555369 h 1161399"/>
                    <a:gd name="connsiteX1006" fmla="*/ 1640596 w 1661518"/>
                    <a:gd name="connsiteY1006" fmla="*/ 556863 h 1161399"/>
                    <a:gd name="connsiteX1007" fmla="*/ 1640596 w 1661518"/>
                    <a:gd name="connsiteY1007" fmla="*/ 559559 h 1161399"/>
                    <a:gd name="connsiteX1008" fmla="*/ 1639855 w 1661518"/>
                    <a:gd name="connsiteY1008" fmla="*/ 561878 h 1161399"/>
                    <a:gd name="connsiteX1009" fmla="*/ 1639455 w 1661518"/>
                    <a:gd name="connsiteY1009" fmla="*/ 563809 h 1161399"/>
                    <a:gd name="connsiteX1010" fmla="*/ 1639807 w 1661518"/>
                    <a:gd name="connsiteY1010" fmla="*/ 565120 h 1161399"/>
                    <a:gd name="connsiteX1011" fmla="*/ 1641057 w 1661518"/>
                    <a:gd name="connsiteY1011" fmla="*/ 565934 h 1161399"/>
                    <a:gd name="connsiteX1012" fmla="*/ 1642551 w 1661518"/>
                    <a:gd name="connsiteY1012" fmla="*/ 566650 h 1161399"/>
                    <a:gd name="connsiteX1013" fmla="*/ 1646413 w 1661518"/>
                    <a:gd name="connsiteY1013" fmla="*/ 570014 h 1161399"/>
                    <a:gd name="connsiteX1014" fmla="*/ 1652265 w 1661518"/>
                    <a:gd name="connsiteY1014" fmla="*/ 578477 h 1161399"/>
                    <a:gd name="connsiteX1015" fmla="*/ 1649557 w 1661518"/>
                    <a:gd name="connsiteY1015" fmla="*/ 582035 h 1161399"/>
                    <a:gd name="connsiteX1016" fmla="*/ 1649557 w 1661518"/>
                    <a:gd name="connsiteY1016" fmla="*/ 583359 h 1161399"/>
                    <a:gd name="connsiteX1017" fmla="*/ 1649157 w 1661518"/>
                    <a:gd name="connsiteY1017" fmla="*/ 585545 h 1161399"/>
                    <a:gd name="connsiteX1018" fmla="*/ 1649096 w 1661518"/>
                    <a:gd name="connsiteY1018" fmla="*/ 588095 h 1161399"/>
                    <a:gd name="connsiteX1019" fmla="*/ 1648173 w 1661518"/>
                    <a:gd name="connsiteY1019" fmla="*/ 590341 h 1161399"/>
                    <a:gd name="connsiteX1020" fmla="*/ 1646109 w 1661518"/>
                    <a:gd name="connsiteY1020" fmla="*/ 592345 h 1161399"/>
                    <a:gd name="connsiteX1021" fmla="*/ 1640207 w 1661518"/>
                    <a:gd name="connsiteY1021" fmla="*/ 595271 h 1161399"/>
                    <a:gd name="connsiteX1022" fmla="*/ 1636977 w 1661518"/>
                    <a:gd name="connsiteY1022" fmla="*/ 596388 h 1161399"/>
                    <a:gd name="connsiteX1023" fmla="*/ 1631768 w 1661518"/>
                    <a:gd name="connsiteY1023" fmla="*/ 597056 h 1161399"/>
                    <a:gd name="connsiteX1024" fmla="*/ 1627688 w 1661518"/>
                    <a:gd name="connsiteY1024" fmla="*/ 598950 h 1161399"/>
                    <a:gd name="connsiteX1025" fmla="*/ 1625381 w 1661518"/>
                    <a:gd name="connsiteY1025" fmla="*/ 601160 h 1161399"/>
                    <a:gd name="connsiteX1026" fmla="*/ 1624689 w 1661518"/>
                    <a:gd name="connsiteY1026" fmla="*/ 603953 h 1161399"/>
                    <a:gd name="connsiteX1027" fmla="*/ 1624640 w 1661518"/>
                    <a:gd name="connsiteY1027" fmla="*/ 606673 h 1161399"/>
                    <a:gd name="connsiteX1028" fmla="*/ 1624130 w 1661518"/>
                    <a:gd name="connsiteY1028" fmla="*/ 609029 h 1161399"/>
                    <a:gd name="connsiteX1029" fmla="*/ 1622637 w 1661518"/>
                    <a:gd name="connsiteY1029" fmla="*/ 610583 h 1161399"/>
                    <a:gd name="connsiteX1030" fmla="*/ 1616832 w 1661518"/>
                    <a:gd name="connsiteY1030" fmla="*/ 613789 h 1161399"/>
                    <a:gd name="connsiteX1031" fmla="*/ 1608551 w 1661518"/>
                    <a:gd name="connsiteY1031" fmla="*/ 617092 h 1161399"/>
                    <a:gd name="connsiteX1032" fmla="*/ 1605746 w 1661518"/>
                    <a:gd name="connsiteY1032" fmla="*/ 619108 h 1161399"/>
                    <a:gd name="connsiteX1033" fmla="*/ 1604204 w 1661518"/>
                    <a:gd name="connsiteY1033" fmla="*/ 621318 h 1161399"/>
                    <a:gd name="connsiteX1034" fmla="*/ 1601787 w 1661518"/>
                    <a:gd name="connsiteY1034" fmla="*/ 622811 h 1161399"/>
                    <a:gd name="connsiteX1035" fmla="*/ 1595582 w 1661518"/>
                    <a:gd name="connsiteY1035" fmla="*/ 623406 h 1161399"/>
                    <a:gd name="connsiteX1036" fmla="*/ 1579966 w 1661518"/>
                    <a:gd name="connsiteY1036" fmla="*/ 621281 h 1161399"/>
                    <a:gd name="connsiteX1037" fmla="*/ 1551260 w 1661518"/>
                    <a:gd name="connsiteY1037" fmla="*/ 620795 h 1161399"/>
                    <a:gd name="connsiteX1038" fmla="*/ 1547581 w 1661518"/>
                    <a:gd name="connsiteY1038" fmla="*/ 620225 h 1161399"/>
                    <a:gd name="connsiteX1039" fmla="*/ 1540222 w 1661518"/>
                    <a:gd name="connsiteY1039" fmla="*/ 617845 h 1161399"/>
                    <a:gd name="connsiteX1040" fmla="*/ 1522263 w 1661518"/>
                    <a:gd name="connsiteY1040" fmla="*/ 618209 h 1161399"/>
                    <a:gd name="connsiteX1041" fmla="*/ 1516580 w 1661518"/>
                    <a:gd name="connsiteY1041" fmla="*/ 617675 h 1161399"/>
                    <a:gd name="connsiteX1042" fmla="*/ 1507740 w 1661518"/>
                    <a:gd name="connsiteY1042" fmla="*/ 612526 h 1161399"/>
                    <a:gd name="connsiteX1043" fmla="*/ 1502968 w 1661518"/>
                    <a:gd name="connsiteY1043" fmla="*/ 610693 h 1161399"/>
                    <a:gd name="connsiteX1044" fmla="*/ 1490218 w 1661518"/>
                    <a:gd name="connsiteY1044" fmla="*/ 609855 h 1161399"/>
                    <a:gd name="connsiteX1045" fmla="*/ 1485166 w 1661518"/>
                    <a:gd name="connsiteY1045" fmla="*/ 611555 h 1161399"/>
                    <a:gd name="connsiteX1046" fmla="*/ 1475974 w 1661518"/>
                    <a:gd name="connsiteY1046" fmla="*/ 616898 h 1161399"/>
                    <a:gd name="connsiteX1047" fmla="*/ 1471275 w 1661518"/>
                    <a:gd name="connsiteY1047" fmla="*/ 618853 h 1161399"/>
                    <a:gd name="connsiteX1048" fmla="*/ 1466163 w 1661518"/>
                    <a:gd name="connsiteY1048" fmla="*/ 618950 h 1161399"/>
                    <a:gd name="connsiteX1049" fmla="*/ 1460419 w 1661518"/>
                    <a:gd name="connsiteY1049" fmla="*/ 617553 h 1161399"/>
                    <a:gd name="connsiteX1050" fmla="*/ 1454214 w 1661518"/>
                    <a:gd name="connsiteY1050" fmla="*/ 612988 h 1161399"/>
                    <a:gd name="connsiteX1051" fmla="*/ 1446066 w 1661518"/>
                    <a:gd name="connsiteY1051" fmla="*/ 603917 h 1161399"/>
                    <a:gd name="connsiteX1052" fmla="*/ 1442399 w 1661518"/>
                    <a:gd name="connsiteY1052" fmla="*/ 601039 h 1161399"/>
                    <a:gd name="connsiteX1053" fmla="*/ 1434761 w 1661518"/>
                    <a:gd name="connsiteY1053" fmla="*/ 600990 h 1161399"/>
                    <a:gd name="connsiteX1054" fmla="*/ 1430681 w 1661518"/>
                    <a:gd name="connsiteY1054" fmla="*/ 604524 h 1161399"/>
                    <a:gd name="connsiteX1055" fmla="*/ 1432515 w 1661518"/>
                    <a:gd name="connsiteY1055" fmla="*/ 606358 h 1161399"/>
                    <a:gd name="connsiteX1056" fmla="*/ 1432758 w 1661518"/>
                    <a:gd name="connsiteY1056" fmla="*/ 608774 h 1161399"/>
                    <a:gd name="connsiteX1057" fmla="*/ 1431142 w 1661518"/>
                    <a:gd name="connsiteY1057" fmla="*/ 611203 h 1161399"/>
                    <a:gd name="connsiteX1058" fmla="*/ 1431713 w 1661518"/>
                    <a:gd name="connsiteY1058" fmla="*/ 613073 h 1161399"/>
                    <a:gd name="connsiteX1059" fmla="*/ 1434421 w 1661518"/>
                    <a:gd name="connsiteY1059" fmla="*/ 616643 h 1161399"/>
                    <a:gd name="connsiteX1060" fmla="*/ 1439230 w 1661518"/>
                    <a:gd name="connsiteY1060" fmla="*/ 628263 h 1161399"/>
                    <a:gd name="connsiteX1061" fmla="*/ 1442217 w 1661518"/>
                    <a:gd name="connsiteY1061" fmla="*/ 632829 h 1161399"/>
                    <a:gd name="connsiteX1062" fmla="*/ 1443140 w 1661518"/>
                    <a:gd name="connsiteY1062" fmla="*/ 636472 h 1161399"/>
                    <a:gd name="connsiteX1063" fmla="*/ 1443200 w 1661518"/>
                    <a:gd name="connsiteY1063" fmla="*/ 639690 h 1161399"/>
                    <a:gd name="connsiteX1064" fmla="*/ 1441938 w 1661518"/>
                    <a:gd name="connsiteY1064" fmla="*/ 642191 h 1161399"/>
                    <a:gd name="connsiteX1065" fmla="*/ 1440274 w 1661518"/>
                    <a:gd name="connsiteY1065" fmla="*/ 644025 h 1161399"/>
                    <a:gd name="connsiteX1066" fmla="*/ 1437457 w 1661518"/>
                    <a:gd name="connsiteY1066" fmla="*/ 647984 h 1161399"/>
                    <a:gd name="connsiteX1067" fmla="*/ 1435854 w 1661518"/>
                    <a:gd name="connsiteY1067" fmla="*/ 649077 h 1161399"/>
                    <a:gd name="connsiteX1068" fmla="*/ 1431774 w 1661518"/>
                    <a:gd name="connsiteY1068" fmla="*/ 650570 h 1161399"/>
                    <a:gd name="connsiteX1069" fmla="*/ 1430560 w 1661518"/>
                    <a:gd name="connsiteY1069" fmla="*/ 652185 h 1161399"/>
                    <a:gd name="connsiteX1070" fmla="*/ 1429770 w 1661518"/>
                    <a:gd name="connsiteY1070" fmla="*/ 659204 h 1161399"/>
                    <a:gd name="connsiteX1071" fmla="*/ 1428617 w 1661518"/>
                    <a:gd name="connsiteY1071" fmla="*/ 661742 h 1161399"/>
                    <a:gd name="connsiteX1072" fmla="*/ 1427293 w 1661518"/>
                    <a:gd name="connsiteY1072" fmla="*/ 663174 h 1161399"/>
                    <a:gd name="connsiteX1073" fmla="*/ 1425970 w 1661518"/>
                    <a:gd name="connsiteY1073" fmla="*/ 664158 h 1161399"/>
                    <a:gd name="connsiteX1074" fmla="*/ 1425399 w 1661518"/>
                    <a:gd name="connsiteY1074" fmla="*/ 665299 h 1161399"/>
                    <a:gd name="connsiteX1075" fmla="*/ 1426091 w 1661518"/>
                    <a:gd name="connsiteY1075" fmla="*/ 667631 h 1161399"/>
                    <a:gd name="connsiteX1076" fmla="*/ 1427232 w 1661518"/>
                    <a:gd name="connsiteY1076" fmla="*/ 670205 h 1161399"/>
                    <a:gd name="connsiteX1077" fmla="*/ 1429649 w 1661518"/>
                    <a:gd name="connsiteY1077" fmla="*/ 674225 h 1161399"/>
                    <a:gd name="connsiteX1078" fmla="*/ 1430802 w 1661518"/>
                    <a:gd name="connsiteY1078" fmla="*/ 677357 h 1161399"/>
                    <a:gd name="connsiteX1079" fmla="*/ 1432345 w 1661518"/>
                    <a:gd name="connsiteY1079" fmla="*/ 679822 h 1161399"/>
                    <a:gd name="connsiteX1080" fmla="*/ 1435271 w 1661518"/>
                    <a:gd name="connsiteY1080" fmla="*/ 680976 h 1161399"/>
                    <a:gd name="connsiteX1081" fmla="*/ 1437858 w 1661518"/>
                    <a:gd name="connsiteY1081" fmla="*/ 679932 h 1161399"/>
                    <a:gd name="connsiteX1082" fmla="*/ 1443079 w 1661518"/>
                    <a:gd name="connsiteY1082" fmla="*/ 676010 h 1161399"/>
                    <a:gd name="connsiteX1083" fmla="*/ 1448361 w 1661518"/>
                    <a:gd name="connsiteY1083" fmla="*/ 673799 h 1161399"/>
                    <a:gd name="connsiteX1084" fmla="*/ 1452162 w 1661518"/>
                    <a:gd name="connsiteY1084" fmla="*/ 670266 h 1161399"/>
                    <a:gd name="connsiteX1085" fmla="*/ 1454166 w 1661518"/>
                    <a:gd name="connsiteY1085" fmla="*/ 668979 h 1161399"/>
                    <a:gd name="connsiteX1086" fmla="*/ 1456922 w 1661518"/>
                    <a:gd name="connsiteY1086" fmla="*/ 668772 h 1161399"/>
                    <a:gd name="connsiteX1087" fmla="*/ 1460601 w 1661518"/>
                    <a:gd name="connsiteY1087" fmla="*/ 670181 h 1161399"/>
                    <a:gd name="connsiteX1088" fmla="*/ 1464669 w 1661518"/>
                    <a:gd name="connsiteY1088" fmla="*/ 671274 h 1161399"/>
                    <a:gd name="connsiteX1089" fmla="*/ 1475464 w 1661518"/>
                    <a:gd name="connsiteY1089" fmla="*/ 675864 h 1161399"/>
                    <a:gd name="connsiteX1090" fmla="*/ 1484656 w 1661518"/>
                    <a:gd name="connsiteY1090" fmla="*/ 676386 h 1161399"/>
                    <a:gd name="connsiteX1091" fmla="*/ 1488445 w 1661518"/>
                    <a:gd name="connsiteY1091" fmla="*/ 678305 h 1161399"/>
                    <a:gd name="connsiteX1092" fmla="*/ 1492756 w 1661518"/>
                    <a:gd name="connsiteY1092" fmla="*/ 683987 h 1161399"/>
                    <a:gd name="connsiteX1093" fmla="*/ 1497467 w 1661518"/>
                    <a:gd name="connsiteY1093" fmla="*/ 693240 h 1161399"/>
                    <a:gd name="connsiteX1094" fmla="*/ 1500442 w 1661518"/>
                    <a:gd name="connsiteY1094" fmla="*/ 697114 h 1161399"/>
                    <a:gd name="connsiteX1095" fmla="*/ 1503029 w 1661518"/>
                    <a:gd name="connsiteY1095" fmla="*/ 698753 h 1161399"/>
                    <a:gd name="connsiteX1096" fmla="*/ 1505324 w 1661518"/>
                    <a:gd name="connsiteY1096" fmla="*/ 698753 h 1161399"/>
                    <a:gd name="connsiteX1097" fmla="*/ 1506939 w 1661518"/>
                    <a:gd name="connsiteY1097" fmla="*/ 699640 h 1161399"/>
                    <a:gd name="connsiteX1098" fmla="*/ 1507691 w 1661518"/>
                    <a:gd name="connsiteY1098" fmla="*/ 701935 h 1161399"/>
                    <a:gd name="connsiteX1099" fmla="*/ 1508481 w 1661518"/>
                    <a:gd name="connsiteY1099" fmla="*/ 703635 h 1161399"/>
                    <a:gd name="connsiteX1100" fmla="*/ 1510217 w 1661518"/>
                    <a:gd name="connsiteY1100" fmla="*/ 704412 h 1161399"/>
                    <a:gd name="connsiteX1101" fmla="*/ 1520478 w 1661518"/>
                    <a:gd name="connsiteY1101" fmla="*/ 702821 h 1161399"/>
                    <a:gd name="connsiteX1102" fmla="*/ 1523307 w 1661518"/>
                    <a:gd name="connsiteY1102" fmla="*/ 703404 h 1161399"/>
                    <a:gd name="connsiteX1103" fmla="*/ 1525481 w 1661518"/>
                    <a:gd name="connsiteY1103" fmla="*/ 704691 h 1161399"/>
                    <a:gd name="connsiteX1104" fmla="*/ 1527436 w 1661518"/>
                    <a:gd name="connsiteY1104" fmla="*/ 707132 h 1161399"/>
                    <a:gd name="connsiteX1105" fmla="*/ 1534612 w 1661518"/>
                    <a:gd name="connsiteY1105" fmla="*/ 711807 h 1161399"/>
                    <a:gd name="connsiteX1106" fmla="*/ 1536968 w 1661518"/>
                    <a:gd name="connsiteY1106" fmla="*/ 715146 h 1161399"/>
                    <a:gd name="connsiteX1107" fmla="*/ 1537660 w 1661518"/>
                    <a:gd name="connsiteY1107" fmla="*/ 719250 h 1161399"/>
                    <a:gd name="connsiteX1108" fmla="*/ 1532949 w 1661518"/>
                    <a:gd name="connsiteY1108" fmla="*/ 734781 h 1161399"/>
                    <a:gd name="connsiteX1109" fmla="*/ 1531577 w 1661518"/>
                    <a:gd name="connsiteY1109" fmla="*/ 742650 h 1161399"/>
                    <a:gd name="connsiteX1110" fmla="*/ 1531395 w 1661518"/>
                    <a:gd name="connsiteY1110" fmla="*/ 747046 h 1161399"/>
                    <a:gd name="connsiteX1111" fmla="*/ 1528638 w 1661518"/>
                    <a:gd name="connsiteY1111" fmla="*/ 753955 h 1161399"/>
                    <a:gd name="connsiteX1112" fmla="*/ 1526282 w 1661518"/>
                    <a:gd name="connsiteY1112" fmla="*/ 757294 h 1161399"/>
                    <a:gd name="connsiteX1113" fmla="*/ 1522907 w 1661518"/>
                    <a:gd name="connsiteY1113" fmla="*/ 756262 h 1161399"/>
                    <a:gd name="connsiteX1114" fmla="*/ 1518887 w 1661518"/>
                    <a:gd name="connsiteY1114" fmla="*/ 755849 h 1161399"/>
                    <a:gd name="connsiteX1115" fmla="*/ 1515330 w 1661518"/>
                    <a:gd name="connsiteY1115" fmla="*/ 756517 h 1161399"/>
                    <a:gd name="connsiteX1116" fmla="*/ 1505894 w 1661518"/>
                    <a:gd name="connsiteY1116" fmla="*/ 762224 h 1161399"/>
                    <a:gd name="connsiteX1117" fmla="*/ 1495682 w 1661518"/>
                    <a:gd name="connsiteY1117" fmla="*/ 765394 h 1161399"/>
                    <a:gd name="connsiteX1118" fmla="*/ 1491954 w 1661518"/>
                    <a:gd name="connsiteY1118" fmla="*/ 767859 h 1161399"/>
                    <a:gd name="connsiteX1119" fmla="*/ 1489708 w 1661518"/>
                    <a:gd name="connsiteY1119" fmla="*/ 772934 h 1161399"/>
                    <a:gd name="connsiteX1120" fmla="*/ 1489538 w 1661518"/>
                    <a:gd name="connsiteY1120" fmla="*/ 776492 h 1161399"/>
                    <a:gd name="connsiteX1121" fmla="*/ 1491651 w 1661518"/>
                    <a:gd name="connsiteY1121" fmla="*/ 783645 h 1161399"/>
                    <a:gd name="connsiteX1122" fmla="*/ 1490861 w 1661518"/>
                    <a:gd name="connsiteY1122" fmla="*/ 787057 h 1161399"/>
                    <a:gd name="connsiteX1123" fmla="*/ 1484486 w 1661518"/>
                    <a:gd name="connsiteY1123" fmla="*/ 793602 h 1161399"/>
                    <a:gd name="connsiteX1124" fmla="*/ 1476788 w 1661518"/>
                    <a:gd name="connsiteY1124" fmla="*/ 799782 h 1161399"/>
                    <a:gd name="connsiteX1125" fmla="*/ 1473108 w 1661518"/>
                    <a:gd name="connsiteY1125" fmla="*/ 801507 h 1161399"/>
                    <a:gd name="connsiteX1126" fmla="*/ 1465859 w 1661518"/>
                    <a:gd name="connsiteY1126" fmla="*/ 803656 h 1161399"/>
                    <a:gd name="connsiteX1127" fmla="*/ 1462362 w 1661518"/>
                    <a:gd name="connsiteY1127" fmla="*/ 805405 h 1161399"/>
                    <a:gd name="connsiteX1128" fmla="*/ 1460650 w 1661518"/>
                    <a:gd name="connsiteY1128" fmla="*/ 808793 h 1161399"/>
                    <a:gd name="connsiteX1129" fmla="*/ 1460188 w 1661518"/>
                    <a:gd name="connsiteY1129" fmla="*/ 813298 h 1161399"/>
                    <a:gd name="connsiteX1130" fmla="*/ 1461451 w 1661518"/>
                    <a:gd name="connsiteY1130" fmla="*/ 819648 h 1161399"/>
                    <a:gd name="connsiteX1131" fmla="*/ 1461731 w 1661518"/>
                    <a:gd name="connsiteY1131" fmla="*/ 826861 h 1161399"/>
                    <a:gd name="connsiteX1132" fmla="*/ 1458513 w 1661518"/>
                    <a:gd name="connsiteY1132" fmla="*/ 830613 h 1161399"/>
                    <a:gd name="connsiteX1133" fmla="*/ 1457371 w 1661518"/>
                    <a:gd name="connsiteY1133" fmla="*/ 832398 h 1161399"/>
                    <a:gd name="connsiteX1134" fmla="*/ 1457201 w 1661518"/>
                    <a:gd name="connsiteY1134" fmla="*/ 835179 h 1161399"/>
                    <a:gd name="connsiteX1135" fmla="*/ 1458282 w 1661518"/>
                    <a:gd name="connsiteY1135" fmla="*/ 839113 h 1161399"/>
                    <a:gd name="connsiteX1136" fmla="*/ 1458233 w 1661518"/>
                    <a:gd name="connsiteY1136" fmla="*/ 842732 h 1161399"/>
                    <a:gd name="connsiteX1137" fmla="*/ 1455416 w 1661518"/>
                    <a:gd name="connsiteY1137" fmla="*/ 845258 h 1161399"/>
                    <a:gd name="connsiteX1138" fmla="*/ 1450887 w 1661518"/>
                    <a:gd name="connsiteY1138" fmla="*/ 846035 h 1161399"/>
                    <a:gd name="connsiteX1139" fmla="*/ 1440080 w 1661518"/>
                    <a:gd name="connsiteY1139" fmla="*/ 853527 h 1161399"/>
                    <a:gd name="connsiteX1140" fmla="*/ 1437335 w 1661518"/>
                    <a:gd name="connsiteY1140" fmla="*/ 857085 h 1161399"/>
                    <a:gd name="connsiteX1141" fmla="*/ 1436412 w 1661518"/>
                    <a:gd name="connsiteY1141" fmla="*/ 860218 h 1161399"/>
                    <a:gd name="connsiteX1142" fmla="*/ 1436182 w 1661518"/>
                    <a:gd name="connsiteY1142" fmla="*/ 863084 h 1161399"/>
                    <a:gd name="connsiteX1143" fmla="*/ 1434919 w 1661518"/>
                    <a:gd name="connsiteY1143" fmla="*/ 865039 h 1161399"/>
                    <a:gd name="connsiteX1144" fmla="*/ 1431531 w 1661518"/>
                    <a:gd name="connsiteY1144" fmla="*/ 866957 h 1161399"/>
                    <a:gd name="connsiteX1145" fmla="*/ 1427633 w 1661518"/>
                    <a:gd name="connsiteY1145" fmla="*/ 868426 h 1161399"/>
                    <a:gd name="connsiteX1146" fmla="*/ 1422910 w 1661518"/>
                    <a:gd name="connsiteY1146" fmla="*/ 868997 h 1161399"/>
                    <a:gd name="connsiteX1147" fmla="*/ 1419412 w 1661518"/>
                    <a:gd name="connsiteY1147" fmla="*/ 870442 h 1161399"/>
                    <a:gd name="connsiteX1148" fmla="*/ 1415684 w 1661518"/>
                    <a:gd name="connsiteY1148" fmla="*/ 871122 h 1161399"/>
                    <a:gd name="connsiteX1149" fmla="*/ 1410572 w 1661518"/>
                    <a:gd name="connsiteY1149" fmla="*/ 874741 h 1161399"/>
                    <a:gd name="connsiteX1150" fmla="*/ 1406662 w 1661518"/>
                    <a:gd name="connsiteY1150" fmla="*/ 878675 h 1161399"/>
                    <a:gd name="connsiteX1151" fmla="*/ 1404197 w 1661518"/>
                    <a:gd name="connsiteY1151" fmla="*/ 880484 h 1161399"/>
                    <a:gd name="connsiteX1152" fmla="*/ 1400688 w 1661518"/>
                    <a:gd name="connsiteY1152" fmla="*/ 882549 h 1161399"/>
                    <a:gd name="connsiteX1153" fmla="*/ 1398514 w 1661518"/>
                    <a:gd name="connsiteY1153" fmla="*/ 884965 h 1161399"/>
                    <a:gd name="connsiteX1154" fmla="*/ 1395527 w 1661518"/>
                    <a:gd name="connsiteY1154" fmla="*/ 886835 h 1161399"/>
                    <a:gd name="connsiteX1155" fmla="*/ 1392831 w 1661518"/>
                    <a:gd name="connsiteY1155" fmla="*/ 887406 h 1161399"/>
                    <a:gd name="connsiteX1156" fmla="*/ 1390075 w 1661518"/>
                    <a:gd name="connsiteY1156" fmla="*/ 885244 h 1161399"/>
                    <a:gd name="connsiteX1157" fmla="*/ 1386505 w 1661518"/>
                    <a:gd name="connsiteY1157" fmla="*/ 878797 h 1161399"/>
                    <a:gd name="connsiteX1158" fmla="*/ 1384380 w 1661518"/>
                    <a:gd name="connsiteY1158" fmla="*/ 876526 h 1161399"/>
                    <a:gd name="connsiteX1159" fmla="*/ 1381624 w 1661518"/>
                    <a:gd name="connsiteY1159" fmla="*/ 875457 h 1161399"/>
                    <a:gd name="connsiteX1160" fmla="*/ 1379110 w 1661518"/>
                    <a:gd name="connsiteY1160" fmla="*/ 875639 h 1161399"/>
                    <a:gd name="connsiteX1161" fmla="*/ 1374568 w 1661518"/>
                    <a:gd name="connsiteY1161" fmla="*/ 879428 h 1161399"/>
                    <a:gd name="connsiteX1162" fmla="*/ 1369396 w 1661518"/>
                    <a:gd name="connsiteY1162" fmla="*/ 880084 h 1161399"/>
                    <a:gd name="connsiteX1163" fmla="*/ 1366469 w 1661518"/>
                    <a:gd name="connsiteY1163" fmla="*/ 881031 h 1161399"/>
                    <a:gd name="connsiteX1164" fmla="*/ 1362911 w 1661518"/>
                    <a:gd name="connsiteY1164" fmla="*/ 884079 h 1161399"/>
                    <a:gd name="connsiteX1165" fmla="*/ 1358552 w 1661518"/>
                    <a:gd name="connsiteY1165" fmla="*/ 886034 h 1161399"/>
                    <a:gd name="connsiteX1166" fmla="*/ 1356123 w 1661518"/>
                    <a:gd name="connsiteY1166" fmla="*/ 885475 h 1161399"/>
                    <a:gd name="connsiteX1167" fmla="*/ 1354241 w 1661518"/>
                    <a:gd name="connsiteY1167" fmla="*/ 884480 h 1161399"/>
                    <a:gd name="connsiteX1168" fmla="*/ 1352918 w 1661518"/>
                    <a:gd name="connsiteY1168" fmla="*/ 880569 h 1161399"/>
                    <a:gd name="connsiteX1169" fmla="*/ 1351898 w 1661518"/>
                    <a:gd name="connsiteY1169" fmla="*/ 878675 h 1161399"/>
                    <a:gd name="connsiteX1170" fmla="*/ 1350100 w 1661518"/>
                    <a:gd name="connsiteY1170" fmla="*/ 878274 h 1161399"/>
                    <a:gd name="connsiteX1171" fmla="*/ 1347866 w 1661518"/>
                    <a:gd name="connsiteY1171" fmla="*/ 879343 h 1161399"/>
                    <a:gd name="connsiteX1172" fmla="*/ 1345401 w 1661518"/>
                    <a:gd name="connsiteY1172" fmla="*/ 881917 h 1161399"/>
                    <a:gd name="connsiteX1173" fmla="*/ 1339026 w 1661518"/>
                    <a:gd name="connsiteY1173" fmla="*/ 890284 h 1161399"/>
                    <a:gd name="connsiteX1174" fmla="*/ 1337472 w 1661518"/>
                    <a:gd name="connsiteY1174" fmla="*/ 894704 h 1161399"/>
                    <a:gd name="connsiteX1175" fmla="*/ 1337132 w 1661518"/>
                    <a:gd name="connsiteY1175" fmla="*/ 901674 h 1161399"/>
                    <a:gd name="connsiteX1176" fmla="*/ 1337763 w 1661518"/>
                    <a:gd name="connsiteY1176" fmla="*/ 907102 h 1161399"/>
                    <a:gd name="connsiteX1177" fmla="*/ 1337411 w 1661518"/>
                    <a:gd name="connsiteY1177" fmla="*/ 912177 h 1161399"/>
                    <a:gd name="connsiteX1178" fmla="*/ 1336792 w 1661518"/>
                    <a:gd name="connsiteY1178" fmla="*/ 915577 h 1161399"/>
                    <a:gd name="connsiteX1179" fmla="*/ 1332360 w 1661518"/>
                    <a:gd name="connsiteY1179" fmla="*/ 923033 h 1161399"/>
                    <a:gd name="connsiteX1180" fmla="*/ 1324552 w 1661518"/>
                    <a:gd name="connsiteY1180" fmla="*/ 927575 h 1161399"/>
                    <a:gd name="connsiteX1181" fmla="*/ 1322718 w 1661518"/>
                    <a:gd name="connsiteY1181" fmla="*/ 929117 h 1161399"/>
                    <a:gd name="connsiteX1182" fmla="*/ 1320241 w 1661518"/>
                    <a:gd name="connsiteY1182" fmla="*/ 932104 h 1161399"/>
                    <a:gd name="connsiteX1183" fmla="*/ 1318869 w 1661518"/>
                    <a:gd name="connsiteY1183" fmla="*/ 935383 h 1161399"/>
                    <a:gd name="connsiteX1184" fmla="*/ 1318359 w 1661518"/>
                    <a:gd name="connsiteY1184" fmla="*/ 945838 h 1161399"/>
                    <a:gd name="connsiteX1185" fmla="*/ 1317497 w 1661518"/>
                    <a:gd name="connsiteY1185" fmla="*/ 948084 h 1161399"/>
                    <a:gd name="connsiteX1186" fmla="*/ 1315882 w 1661518"/>
                    <a:gd name="connsiteY1186" fmla="*/ 949286 h 1161399"/>
                    <a:gd name="connsiteX1187" fmla="*/ 1312724 w 1661518"/>
                    <a:gd name="connsiteY1187" fmla="*/ 950258 h 1161399"/>
                    <a:gd name="connsiteX1188" fmla="*/ 1311923 w 1661518"/>
                    <a:gd name="connsiteY1188" fmla="*/ 951035 h 1161399"/>
                    <a:gd name="connsiteX1189" fmla="*/ 1312093 w 1661518"/>
                    <a:gd name="connsiteY1189" fmla="*/ 952322 h 1161399"/>
                    <a:gd name="connsiteX1190" fmla="*/ 1314218 w 1661518"/>
                    <a:gd name="connsiteY1190" fmla="*/ 955710 h 1161399"/>
                    <a:gd name="connsiteX1191" fmla="*/ 1315080 w 1661518"/>
                    <a:gd name="connsiteY1191" fmla="*/ 958260 h 1161399"/>
                    <a:gd name="connsiteX1192" fmla="*/ 1314910 w 1661518"/>
                    <a:gd name="connsiteY1192" fmla="*/ 961126 h 1161399"/>
                    <a:gd name="connsiteX1193" fmla="*/ 1313235 w 1661518"/>
                    <a:gd name="connsiteY1193" fmla="*/ 963348 h 1161399"/>
                    <a:gd name="connsiteX1194" fmla="*/ 1311753 w 1661518"/>
                    <a:gd name="connsiteY1194" fmla="*/ 963858 h 1161399"/>
                    <a:gd name="connsiteX1195" fmla="*/ 1310308 w 1661518"/>
                    <a:gd name="connsiteY1195" fmla="*/ 963166 h 1161399"/>
                    <a:gd name="connsiteX1196" fmla="*/ 1305087 w 1661518"/>
                    <a:gd name="connsiteY1196" fmla="*/ 955273 h 1161399"/>
                    <a:gd name="connsiteX1197" fmla="*/ 1302209 w 1661518"/>
                    <a:gd name="connsiteY1197" fmla="*/ 953901 h 1161399"/>
                    <a:gd name="connsiteX1198" fmla="*/ 1299295 w 1661518"/>
                    <a:gd name="connsiteY1198" fmla="*/ 954386 h 1161399"/>
                    <a:gd name="connsiteX1199" fmla="*/ 1296356 w 1661518"/>
                    <a:gd name="connsiteY1199" fmla="*/ 956766 h 1161399"/>
                    <a:gd name="connsiteX1200" fmla="*/ 1292907 w 1661518"/>
                    <a:gd name="connsiteY1200" fmla="*/ 962279 h 1161399"/>
                    <a:gd name="connsiteX1201" fmla="*/ 1285269 w 1661518"/>
                    <a:gd name="connsiteY1201" fmla="*/ 977956 h 1161399"/>
                    <a:gd name="connsiteX1202" fmla="*/ 1283557 w 1661518"/>
                    <a:gd name="connsiteY1202" fmla="*/ 983214 h 1161399"/>
                    <a:gd name="connsiteX1203" fmla="*/ 1283156 w 1661518"/>
                    <a:gd name="connsiteY1203" fmla="*/ 991677 h 1161399"/>
                    <a:gd name="connsiteX1204" fmla="*/ 1284067 w 1661518"/>
                    <a:gd name="connsiteY1204" fmla="*/ 1003820 h 1161399"/>
                    <a:gd name="connsiteX1205" fmla="*/ 1281031 w 1661518"/>
                    <a:gd name="connsiteY1205" fmla="*/ 1012357 h 1161399"/>
                    <a:gd name="connsiteX1206" fmla="*/ 1277935 w 1661518"/>
                    <a:gd name="connsiteY1206" fmla="*/ 1017955 h 1161399"/>
                    <a:gd name="connsiteX1207" fmla="*/ 1274644 w 1661518"/>
                    <a:gd name="connsiteY1207" fmla="*/ 1020529 h 1161399"/>
                    <a:gd name="connsiteX1208" fmla="*/ 1268342 w 1661518"/>
                    <a:gd name="connsiteY1208" fmla="*/ 1021452 h 1161399"/>
                    <a:gd name="connsiteX1209" fmla="*/ 1265695 w 1661518"/>
                    <a:gd name="connsiteY1209" fmla="*/ 1024402 h 1161399"/>
                    <a:gd name="connsiteX1210" fmla="*/ 1263922 w 1661518"/>
                    <a:gd name="connsiteY1210" fmla="*/ 1029745 h 1161399"/>
                    <a:gd name="connsiteX1211" fmla="*/ 1262768 w 1661518"/>
                    <a:gd name="connsiteY1211" fmla="*/ 1049101 h 1161399"/>
                    <a:gd name="connsiteX1212" fmla="*/ 1262076 w 1661518"/>
                    <a:gd name="connsiteY1212" fmla="*/ 1051675 h 1161399"/>
                    <a:gd name="connsiteX1213" fmla="*/ 1261506 w 1661518"/>
                    <a:gd name="connsiteY1213" fmla="*/ 1055027 h 1161399"/>
                    <a:gd name="connsiteX1214" fmla="*/ 1262768 w 1661518"/>
                    <a:gd name="connsiteY1214" fmla="*/ 1072234 h 1161399"/>
                    <a:gd name="connsiteX1215" fmla="*/ 1262198 w 1661518"/>
                    <a:gd name="connsiteY1215" fmla="*/ 1077091 h 1161399"/>
                    <a:gd name="connsiteX1216" fmla="*/ 1259332 w 1661518"/>
                    <a:gd name="connsiteY1216" fmla="*/ 1084692 h 1161399"/>
                    <a:gd name="connsiteX1217" fmla="*/ 1257839 w 1661518"/>
                    <a:gd name="connsiteY1217" fmla="*/ 1091723 h 1161399"/>
                    <a:gd name="connsiteX1218" fmla="*/ 1254268 w 1661518"/>
                    <a:gd name="connsiteY1218" fmla="*/ 1101061 h 1161399"/>
                    <a:gd name="connsiteX1219" fmla="*/ 1251233 w 1661518"/>
                    <a:gd name="connsiteY1219" fmla="*/ 1101971 h 1161399"/>
                    <a:gd name="connsiteX1220" fmla="*/ 1247723 w 1661518"/>
                    <a:gd name="connsiteY1220" fmla="*/ 1104728 h 1161399"/>
                    <a:gd name="connsiteX1221" fmla="*/ 1246800 w 1661518"/>
                    <a:gd name="connsiteY1221" fmla="*/ 1105311 h 1161399"/>
                    <a:gd name="connsiteX1222" fmla="*/ 1245720 w 1661518"/>
                    <a:gd name="connsiteY1222" fmla="*/ 1105712 h 1161399"/>
                    <a:gd name="connsiteX1223" fmla="*/ 1244275 w 1661518"/>
                    <a:gd name="connsiteY1223" fmla="*/ 1105894 h 1161399"/>
                    <a:gd name="connsiteX1224" fmla="*/ 1241688 w 1661518"/>
                    <a:gd name="connsiteY1224" fmla="*/ 1104849 h 1161399"/>
                    <a:gd name="connsiteX1225" fmla="*/ 1221191 w 1661518"/>
                    <a:gd name="connsiteY1225" fmla="*/ 1092403 h 1161399"/>
                    <a:gd name="connsiteX1226" fmla="*/ 1217755 w 1661518"/>
                    <a:gd name="connsiteY1226" fmla="*/ 1091116 h 1161399"/>
                    <a:gd name="connsiteX1227" fmla="*/ 1215739 w 1661518"/>
                    <a:gd name="connsiteY1227" fmla="*/ 1090776 h 1161399"/>
                    <a:gd name="connsiteX1228" fmla="*/ 1214075 w 1661518"/>
                    <a:gd name="connsiteY1228" fmla="*/ 1090800 h 1161399"/>
                    <a:gd name="connsiteX1229" fmla="*/ 1212582 w 1661518"/>
                    <a:gd name="connsiteY1229" fmla="*/ 1091080 h 1161399"/>
                    <a:gd name="connsiteX1230" fmla="*/ 1207530 w 1661518"/>
                    <a:gd name="connsiteY1230" fmla="*/ 1092695 h 1161399"/>
                    <a:gd name="connsiteX1231" fmla="*/ 1205806 w 1661518"/>
                    <a:gd name="connsiteY1231" fmla="*/ 1092974 h 1161399"/>
                    <a:gd name="connsiteX1232" fmla="*/ 1203790 w 1661518"/>
                    <a:gd name="connsiteY1232" fmla="*/ 1093034 h 1161399"/>
                    <a:gd name="connsiteX1233" fmla="*/ 1202418 w 1661518"/>
                    <a:gd name="connsiteY1233" fmla="*/ 1092573 h 1161399"/>
                    <a:gd name="connsiteX1234" fmla="*/ 1201095 w 1661518"/>
                    <a:gd name="connsiteY1234" fmla="*/ 1091565 h 1161399"/>
                    <a:gd name="connsiteX1235" fmla="*/ 1200694 w 1661518"/>
                    <a:gd name="connsiteY1235" fmla="*/ 1089926 h 1161399"/>
                    <a:gd name="connsiteX1236" fmla="*/ 1201034 w 1661518"/>
                    <a:gd name="connsiteY1236" fmla="*/ 1088554 h 1161399"/>
                    <a:gd name="connsiteX1237" fmla="*/ 1204373 w 1661518"/>
                    <a:gd name="connsiteY1237" fmla="*/ 1085020 h 1161399"/>
                    <a:gd name="connsiteX1238" fmla="*/ 1204944 w 1661518"/>
                    <a:gd name="connsiteY1238" fmla="*/ 1084109 h 1161399"/>
                    <a:gd name="connsiteX1239" fmla="*/ 1205187 w 1661518"/>
                    <a:gd name="connsiteY1239" fmla="*/ 1083356 h 1161399"/>
                    <a:gd name="connsiteX1240" fmla="*/ 1205235 w 1661518"/>
                    <a:gd name="connsiteY1240" fmla="*/ 1082288 h 1161399"/>
                    <a:gd name="connsiteX1241" fmla="*/ 1204713 w 1661518"/>
                    <a:gd name="connsiteY1241" fmla="*/ 1079653 h 1161399"/>
                    <a:gd name="connsiteX1242" fmla="*/ 1204142 w 1661518"/>
                    <a:gd name="connsiteY1242" fmla="*/ 1077977 h 1161399"/>
                    <a:gd name="connsiteX1243" fmla="*/ 1202418 w 1661518"/>
                    <a:gd name="connsiteY1243" fmla="*/ 1075706 h 1161399"/>
                    <a:gd name="connsiteX1244" fmla="*/ 1199662 w 1661518"/>
                    <a:gd name="connsiteY1244" fmla="*/ 1073302 h 1161399"/>
                    <a:gd name="connsiteX1245" fmla="*/ 1190190 w 1661518"/>
                    <a:gd name="connsiteY1245" fmla="*/ 1066806 h 1161399"/>
                    <a:gd name="connsiteX1246" fmla="*/ 1187592 w 1661518"/>
                    <a:gd name="connsiteY1246" fmla="*/ 1063770 h 1161399"/>
                    <a:gd name="connsiteX1247" fmla="*/ 1186972 w 1661518"/>
                    <a:gd name="connsiteY1247" fmla="*/ 1061851 h 1161399"/>
                    <a:gd name="connsiteX1248" fmla="*/ 1186741 w 1661518"/>
                    <a:gd name="connsiteY1248" fmla="*/ 1059957 h 1161399"/>
                    <a:gd name="connsiteX1249" fmla="*/ 1186681 w 1661518"/>
                    <a:gd name="connsiteY1249" fmla="*/ 1058378 h 1161399"/>
                    <a:gd name="connsiteX1250" fmla="*/ 1186159 w 1661518"/>
                    <a:gd name="connsiteY1250" fmla="*/ 1056970 h 1161399"/>
                    <a:gd name="connsiteX1251" fmla="*/ 1185078 w 1661518"/>
                    <a:gd name="connsiteY1251" fmla="*/ 1056083 h 1161399"/>
                    <a:gd name="connsiteX1252" fmla="*/ 1178703 w 1661518"/>
                    <a:gd name="connsiteY1252" fmla="*/ 1055221 h 1161399"/>
                    <a:gd name="connsiteX1253" fmla="*/ 1173409 w 1661518"/>
                    <a:gd name="connsiteY1253" fmla="*/ 1052841 h 1161399"/>
                    <a:gd name="connsiteX1254" fmla="*/ 1164981 w 1661518"/>
                    <a:gd name="connsiteY1254" fmla="*/ 1047231 h 1161399"/>
                    <a:gd name="connsiteX1255" fmla="*/ 1161933 w 1661518"/>
                    <a:gd name="connsiteY1255" fmla="*/ 1044450 h 1161399"/>
                    <a:gd name="connsiteX1256" fmla="*/ 1161084 w 1661518"/>
                    <a:gd name="connsiteY1256" fmla="*/ 1045823 h 1161399"/>
                    <a:gd name="connsiteX1257" fmla="*/ 1159699 w 1661518"/>
                    <a:gd name="connsiteY1257" fmla="*/ 1046976 h 1161399"/>
                    <a:gd name="connsiteX1258" fmla="*/ 1157696 w 1661518"/>
                    <a:gd name="connsiteY1258" fmla="*/ 1048045 h 1161399"/>
                    <a:gd name="connsiteX1259" fmla="*/ 1147228 w 1661518"/>
                    <a:gd name="connsiteY1259" fmla="*/ 1051372 h 1161399"/>
                    <a:gd name="connsiteX1260" fmla="*/ 1143561 w 1661518"/>
                    <a:gd name="connsiteY1260" fmla="*/ 1053813 h 1161399"/>
                    <a:gd name="connsiteX1261" fmla="*/ 1141958 w 1661518"/>
                    <a:gd name="connsiteY1261" fmla="*/ 1057771 h 1161399"/>
                    <a:gd name="connsiteX1262" fmla="*/ 1127885 w 1661518"/>
                    <a:gd name="connsiteY1262" fmla="*/ 1062337 h 1161399"/>
                    <a:gd name="connsiteX1263" fmla="*/ 1125019 w 1661518"/>
                    <a:gd name="connsiteY1263" fmla="*/ 1062447 h 1161399"/>
                    <a:gd name="connsiteX1264" fmla="*/ 1124035 w 1661518"/>
                    <a:gd name="connsiteY1264" fmla="*/ 1062337 h 1161399"/>
                    <a:gd name="connsiteX1265" fmla="*/ 1123113 w 1661518"/>
                    <a:gd name="connsiteY1265" fmla="*/ 1061791 h 1161399"/>
                    <a:gd name="connsiteX1266" fmla="*/ 1122882 w 1661518"/>
                    <a:gd name="connsiteY1266" fmla="*/ 1060929 h 1161399"/>
                    <a:gd name="connsiteX1267" fmla="*/ 1122943 w 1661518"/>
                    <a:gd name="connsiteY1267" fmla="*/ 1060103 h 1161399"/>
                    <a:gd name="connsiteX1268" fmla="*/ 1122785 w 1661518"/>
                    <a:gd name="connsiteY1268" fmla="*/ 1059666 h 1161399"/>
                    <a:gd name="connsiteX1269" fmla="*/ 1120417 w 1661518"/>
                    <a:gd name="connsiteY1269" fmla="*/ 1059556 h 1161399"/>
                    <a:gd name="connsiteX1270" fmla="*/ 1116701 w 1661518"/>
                    <a:gd name="connsiteY1270" fmla="*/ 1060795 h 1161399"/>
                    <a:gd name="connsiteX1271" fmla="*/ 1114442 w 1661518"/>
                    <a:gd name="connsiteY1271" fmla="*/ 1061135 h 1161399"/>
                    <a:gd name="connsiteX1272" fmla="*/ 1112269 w 1661518"/>
                    <a:gd name="connsiteY1272" fmla="*/ 1063515 h 1161399"/>
                    <a:gd name="connsiteX1273" fmla="*/ 1111067 w 1661518"/>
                    <a:gd name="connsiteY1273" fmla="*/ 1064341 h 1161399"/>
                    <a:gd name="connsiteX1274" fmla="*/ 1107497 w 1661518"/>
                    <a:gd name="connsiteY1274" fmla="*/ 1065470 h 1161399"/>
                    <a:gd name="connsiteX1275" fmla="*/ 1104461 w 1661518"/>
                    <a:gd name="connsiteY1275" fmla="*/ 1066041 h 1161399"/>
                    <a:gd name="connsiteX1276" fmla="*/ 1101061 w 1661518"/>
                    <a:gd name="connsiteY1276" fmla="*/ 1066296 h 1161399"/>
                    <a:gd name="connsiteX1277" fmla="*/ 1098717 w 1661518"/>
                    <a:gd name="connsiteY1277" fmla="*/ 1066065 h 1161399"/>
                    <a:gd name="connsiteX1278" fmla="*/ 1096981 w 1661518"/>
                    <a:gd name="connsiteY1278" fmla="*/ 1065094 h 1161399"/>
                    <a:gd name="connsiteX1279" fmla="*/ 1095791 w 1661518"/>
                    <a:gd name="connsiteY1279" fmla="*/ 1063333 h 1161399"/>
                    <a:gd name="connsiteX1280" fmla="*/ 1094747 w 1661518"/>
                    <a:gd name="connsiteY1280" fmla="*/ 1060637 h 1161399"/>
                    <a:gd name="connsiteX1281" fmla="*/ 1093545 w 1661518"/>
                    <a:gd name="connsiteY1281" fmla="*/ 1058196 h 1161399"/>
                    <a:gd name="connsiteX1282" fmla="*/ 1091881 w 1661518"/>
                    <a:gd name="connsiteY1282" fmla="*/ 1056156 h 1161399"/>
                    <a:gd name="connsiteX1283" fmla="*/ 1089124 w 1661518"/>
                    <a:gd name="connsiteY1283" fmla="*/ 1054578 h 1161399"/>
                    <a:gd name="connsiteX1284" fmla="*/ 1085907 w 1661518"/>
                    <a:gd name="connsiteY1284" fmla="*/ 1053752 h 1161399"/>
                    <a:gd name="connsiteX1285" fmla="*/ 1081669 w 1661518"/>
                    <a:gd name="connsiteY1285" fmla="*/ 1053351 h 1161399"/>
                    <a:gd name="connsiteX1286" fmla="*/ 1071554 w 1661518"/>
                    <a:gd name="connsiteY1286" fmla="*/ 1055343 h 1161399"/>
                    <a:gd name="connsiteX1287" fmla="*/ 1065531 w 1661518"/>
                    <a:gd name="connsiteY1287" fmla="*/ 1054760 h 1161399"/>
                    <a:gd name="connsiteX1288" fmla="*/ 1063224 w 1661518"/>
                    <a:gd name="connsiteY1288" fmla="*/ 1055088 h 1161399"/>
                    <a:gd name="connsiteX1289" fmla="*/ 1061341 w 1661518"/>
                    <a:gd name="connsiteY1289" fmla="*/ 1055828 h 1161399"/>
                    <a:gd name="connsiteX1290" fmla="*/ 1058111 w 1661518"/>
                    <a:gd name="connsiteY1290" fmla="*/ 1057941 h 1161399"/>
                    <a:gd name="connsiteX1291" fmla="*/ 1054493 w 1661518"/>
                    <a:gd name="connsiteY1291" fmla="*/ 1060953 h 1161399"/>
                    <a:gd name="connsiteX1292" fmla="*/ 1051918 w 1661518"/>
                    <a:gd name="connsiteY1292" fmla="*/ 1062544 h 1161399"/>
                    <a:gd name="connsiteX1293" fmla="*/ 1047547 w 1661518"/>
                    <a:gd name="connsiteY1293" fmla="*/ 1064001 h 1161399"/>
                    <a:gd name="connsiteX1294" fmla="*/ 1045373 w 1661518"/>
                    <a:gd name="connsiteY1294" fmla="*/ 1064207 h 1161399"/>
                    <a:gd name="connsiteX1295" fmla="*/ 1043588 w 1661518"/>
                    <a:gd name="connsiteY1295" fmla="*/ 1063454 h 1161399"/>
                    <a:gd name="connsiteX1296" fmla="*/ 1042787 w 1661518"/>
                    <a:gd name="connsiteY1296" fmla="*/ 1062021 h 1161399"/>
                    <a:gd name="connsiteX1297" fmla="*/ 1042265 w 1661518"/>
                    <a:gd name="connsiteY1297" fmla="*/ 1058002 h 1161399"/>
                    <a:gd name="connsiteX1298" fmla="*/ 1041864 w 1661518"/>
                    <a:gd name="connsiteY1298" fmla="*/ 1056424 h 1161399"/>
                    <a:gd name="connsiteX1299" fmla="*/ 1041245 w 1661518"/>
                    <a:gd name="connsiteY1299" fmla="*/ 1054966 h 1161399"/>
                    <a:gd name="connsiteX1300" fmla="*/ 1040601 w 1661518"/>
                    <a:gd name="connsiteY1300" fmla="*/ 1053898 h 1161399"/>
                    <a:gd name="connsiteX1301" fmla="*/ 1040140 w 1661518"/>
                    <a:gd name="connsiteY1301" fmla="*/ 1052611 h 1161399"/>
                    <a:gd name="connsiteX1302" fmla="*/ 1039338 w 1661518"/>
                    <a:gd name="connsiteY1302" fmla="*/ 1048409 h 1161399"/>
                    <a:gd name="connsiteX1303" fmla="*/ 1032854 w 1661518"/>
                    <a:gd name="connsiteY1303" fmla="*/ 1044426 h 1161399"/>
                    <a:gd name="connsiteX1304" fmla="*/ 1030559 w 1661518"/>
                    <a:gd name="connsiteY1304" fmla="*/ 1039739 h 1161399"/>
                    <a:gd name="connsiteX1305" fmla="*/ 1027681 w 1661518"/>
                    <a:gd name="connsiteY1305" fmla="*/ 1038039 h 1161399"/>
                    <a:gd name="connsiteX1306" fmla="*/ 1019363 w 1661518"/>
                    <a:gd name="connsiteY1306" fmla="*/ 1035076 h 1161399"/>
                    <a:gd name="connsiteX1307" fmla="*/ 1016825 w 1661518"/>
                    <a:gd name="connsiteY1307" fmla="*/ 1034542 h 1161399"/>
                    <a:gd name="connsiteX1308" fmla="*/ 1014190 w 1661518"/>
                    <a:gd name="connsiteY1308" fmla="*/ 1034420 h 1161399"/>
                    <a:gd name="connsiteX1309" fmla="*/ 1011665 w 1661518"/>
                    <a:gd name="connsiteY1309" fmla="*/ 1034603 h 1161399"/>
                    <a:gd name="connsiteX1310" fmla="*/ 1008617 w 1661518"/>
                    <a:gd name="connsiteY1310" fmla="*/ 1034263 h 1161399"/>
                    <a:gd name="connsiteX1311" fmla="*/ 1001610 w 1661518"/>
                    <a:gd name="connsiteY1311" fmla="*/ 1034457 h 1161399"/>
                    <a:gd name="connsiteX1312" fmla="*/ 997251 w 1661518"/>
                    <a:gd name="connsiteY1312" fmla="*/ 1033704 h 1161399"/>
                    <a:gd name="connsiteX1313" fmla="*/ 994725 w 1661518"/>
                    <a:gd name="connsiteY1313" fmla="*/ 1032963 h 1161399"/>
                    <a:gd name="connsiteX1314" fmla="*/ 987889 w 1661518"/>
                    <a:gd name="connsiteY1314" fmla="*/ 1029745 h 1161399"/>
                    <a:gd name="connsiteX1315" fmla="*/ 984392 w 1661518"/>
                    <a:gd name="connsiteY1315" fmla="*/ 1030037 h 1161399"/>
                    <a:gd name="connsiteX1316" fmla="*/ 983930 w 1661518"/>
                    <a:gd name="connsiteY1316" fmla="*/ 1030717 h 1161399"/>
                    <a:gd name="connsiteX1317" fmla="*/ 983639 w 1661518"/>
                    <a:gd name="connsiteY1317" fmla="*/ 1031749 h 1161399"/>
                    <a:gd name="connsiteX1318" fmla="*/ 983639 w 1661518"/>
                    <a:gd name="connsiteY1318" fmla="*/ 1033643 h 1161399"/>
                    <a:gd name="connsiteX1319" fmla="*/ 983299 w 1661518"/>
                    <a:gd name="connsiteY1319" fmla="*/ 1036048 h 1161399"/>
                    <a:gd name="connsiteX1320" fmla="*/ 981987 w 1661518"/>
                    <a:gd name="connsiteY1320" fmla="*/ 1039642 h 1161399"/>
                    <a:gd name="connsiteX1321" fmla="*/ 979850 w 1661518"/>
                    <a:gd name="connsiteY1321" fmla="*/ 1041475 h 1161399"/>
                    <a:gd name="connsiteX1322" fmla="*/ 975831 w 1661518"/>
                    <a:gd name="connsiteY1322" fmla="*/ 1042969 h 1161399"/>
                    <a:gd name="connsiteX1323" fmla="*/ 970597 w 1661518"/>
                    <a:gd name="connsiteY1323" fmla="*/ 1044232 h 1161399"/>
                    <a:gd name="connsiteX1324" fmla="*/ 961077 w 1661518"/>
                    <a:gd name="connsiteY1324" fmla="*/ 1047887 h 1161399"/>
                    <a:gd name="connsiteX1325" fmla="*/ 954641 w 1661518"/>
                    <a:gd name="connsiteY1325" fmla="*/ 1049660 h 1161399"/>
                    <a:gd name="connsiteX1326" fmla="*/ 938613 w 1661518"/>
                    <a:gd name="connsiteY1326" fmla="*/ 1051493 h 1161399"/>
                    <a:gd name="connsiteX1327" fmla="*/ 930064 w 1661518"/>
                    <a:gd name="connsiteY1327" fmla="*/ 1054080 h 1161399"/>
                    <a:gd name="connsiteX1328" fmla="*/ 926615 w 1661518"/>
                    <a:gd name="connsiteY1328" fmla="*/ 1055658 h 1161399"/>
                    <a:gd name="connsiteX1329" fmla="*/ 924721 w 1661518"/>
                    <a:gd name="connsiteY1329" fmla="*/ 1057638 h 1161399"/>
                    <a:gd name="connsiteX1330" fmla="*/ 924952 w 1661518"/>
                    <a:gd name="connsiteY1330" fmla="*/ 1059277 h 1161399"/>
                    <a:gd name="connsiteX1331" fmla="*/ 925644 w 1661518"/>
                    <a:gd name="connsiteY1331" fmla="*/ 1061366 h 1161399"/>
                    <a:gd name="connsiteX1332" fmla="*/ 926458 w 1661518"/>
                    <a:gd name="connsiteY1332" fmla="*/ 1063211 h 1161399"/>
                    <a:gd name="connsiteX1333" fmla="*/ 926676 w 1661518"/>
                    <a:gd name="connsiteY1333" fmla="*/ 1065009 h 1161399"/>
                    <a:gd name="connsiteX1334" fmla="*/ 926106 w 1661518"/>
                    <a:gd name="connsiteY1334" fmla="*/ 1066903 h 1161399"/>
                    <a:gd name="connsiteX1335" fmla="*/ 923932 w 1661518"/>
                    <a:gd name="connsiteY1335" fmla="*/ 1069089 h 1161399"/>
                    <a:gd name="connsiteX1336" fmla="*/ 921406 w 1661518"/>
                    <a:gd name="connsiteY1336" fmla="*/ 1069987 h 1161399"/>
                    <a:gd name="connsiteX1337" fmla="*/ 914108 w 1661518"/>
                    <a:gd name="connsiteY1337" fmla="*/ 1070643 h 1161399"/>
                    <a:gd name="connsiteX1338" fmla="*/ 909105 w 1661518"/>
                    <a:gd name="connsiteY1338" fmla="*/ 1071590 h 1161399"/>
                    <a:gd name="connsiteX1339" fmla="*/ 901759 w 1661518"/>
                    <a:gd name="connsiteY1339" fmla="*/ 1073909 h 1161399"/>
                    <a:gd name="connsiteX1340" fmla="*/ 890211 w 1661518"/>
                    <a:gd name="connsiteY1340" fmla="*/ 1074966 h 1161399"/>
                    <a:gd name="connsiteX1341" fmla="*/ 886082 w 1661518"/>
                    <a:gd name="connsiteY1341" fmla="*/ 1076459 h 1161399"/>
                    <a:gd name="connsiteX1342" fmla="*/ 882354 w 1661518"/>
                    <a:gd name="connsiteY1342" fmla="*/ 1076751 h 1161399"/>
                    <a:gd name="connsiteX1343" fmla="*/ 869301 w 1661518"/>
                    <a:gd name="connsiteY1343" fmla="*/ 1075852 h 1161399"/>
                    <a:gd name="connsiteX1344" fmla="*/ 857085 w 1661518"/>
                    <a:gd name="connsiteY1344" fmla="*/ 1072586 h 1161399"/>
                    <a:gd name="connsiteX1345" fmla="*/ 855762 w 1661518"/>
                    <a:gd name="connsiteY1345" fmla="*/ 1071857 h 1161399"/>
                    <a:gd name="connsiteX1346" fmla="*/ 852204 w 1661518"/>
                    <a:gd name="connsiteY1346" fmla="*/ 1068724 h 1161399"/>
                    <a:gd name="connsiteX1347" fmla="*/ 850540 w 1661518"/>
                    <a:gd name="connsiteY1347" fmla="*/ 1067632 h 1161399"/>
                    <a:gd name="connsiteX1348" fmla="*/ 848123 w 1661518"/>
                    <a:gd name="connsiteY1348" fmla="*/ 1066563 h 1161399"/>
                    <a:gd name="connsiteX1349" fmla="*/ 845027 w 1661518"/>
                    <a:gd name="connsiteY1349" fmla="*/ 1066199 h 1161399"/>
                    <a:gd name="connsiteX1350" fmla="*/ 842902 w 1661518"/>
                    <a:gd name="connsiteY1350" fmla="*/ 1066502 h 1161399"/>
                    <a:gd name="connsiteX1351" fmla="*/ 840838 w 1661518"/>
                    <a:gd name="connsiteY1351" fmla="*/ 1067668 h 1161399"/>
                    <a:gd name="connsiteX1352" fmla="*/ 839344 w 1661518"/>
                    <a:gd name="connsiteY1352" fmla="*/ 1068748 h 1161399"/>
                    <a:gd name="connsiteX1353" fmla="*/ 837158 w 1661518"/>
                    <a:gd name="connsiteY1353" fmla="*/ 1069975 h 1161399"/>
                    <a:gd name="connsiteX1354" fmla="*/ 835543 w 1661518"/>
                    <a:gd name="connsiteY1354" fmla="*/ 1070400 h 1161399"/>
                    <a:gd name="connsiteX1355" fmla="*/ 833831 w 1661518"/>
                    <a:gd name="connsiteY1355" fmla="*/ 1070485 h 1161399"/>
                    <a:gd name="connsiteX1356" fmla="*/ 832799 w 1661518"/>
                    <a:gd name="connsiteY1356" fmla="*/ 1070339 h 1161399"/>
                    <a:gd name="connsiteX1357" fmla="*/ 832046 w 1661518"/>
                    <a:gd name="connsiteY1357" fmla="*/ 1070133 h 1161399"/>
                    <a:gd name="connsiteX1358" fmla="*/ 831864 w 1661518"/>
                    <a:gd name="connsiteY1358" fmla="*/ 1069902 h 1161399"/>
                    <a:gd name="connsiteX1359" fmla="*/ 831925 w 1661518"/>
                    <a:gd name="connsiteY1359" fmla="*/ 1069465 h 1161399"/>
                    <a:gd name="connsiteX1360" fmla="*/ 832168 w 1661518"/>
                    <a:gd name="connsiteY1360" fmla="*/ 1068712 h 1161399"/>
                    <a:gd name="connsiteX1361" fmla="*/ 832228 w 1661518"/>
                    <a:gd name="connsiteY1361" fmla="*/ 1066648 h 1161399"/>
                    <a:gd name="connsiteX1362" fmla="*/ 831706 w 1661518"/>
                    <a:gd name="connsiteY1362" fmla="*/ 1061900 h 1161399"/>
                    <a:gd name="connsiteX1363" fmla="*/ 830954 w 1661518"/>
                    <a:gd name="connsiteY1363" fmla="*/ 1059459 h 1161399"/>
                    <a:gd name="connsiteX1364" fmla="*/ 829521 w 1661518"/>
                    <a:gd name="connsiteY1364" fmla="*/ 1056302 h 1161399"/>
                    <a:gd name="connsiteX1365" fmla="*/ 829351 w 1661518"/>
                    <a:gd name="connsiteY1365" fmla="*/ 1050911 h 1161399"/>
                    <a:gd name="connsiteX1366" fmla="*/ 827906 w 1661518"/>
                    <a:gd name="connsiteY1366" fmla="*/ 1048992 h 1161399"/>
                    <a:gd name="connsiteX1367" fmla="*/ 825683 w 1661518"/>
                    <a:gd name="connsiteY1367" fmla="*/ 1047753 h 1161399"/>
                    <a:gd name="connsiteX1368" fmla="*/ 824530 w 1661518"/>
                    <a:gd name="connsiteY1368" fmla="*/ 1047498 h 1161399"/>
                    <a:gd name="connsiteX1369" fmla="*/ 820450 w 1661518"/>
                    <a:gd name="connsiteY1369" fmla="*/ 1047170 h 1161399"/>
                    <a:gd name="connsiteX1370" fmla="*/ 818956 w 1661518"/>
                    <a:gd name="connsiteY1370" fmla="*/ 1047268 h 1161399"/>
                    <a:gd name="connsiteX1371" fmla="*/ 817062 w 1661518"/>
                    <a:gd name="connsiteY1371" fmla="*/ 1047668 h 1161399"/>
                    <a:gd name="connsiteX1372" fmla="*/ 815629 w 1661518"/>
                    <a:gd name="connsiteY1372" fmla="*/ 1048251 h 1161399"/>
                    <a:gd name="connsiteX1373" fmla="*/ 814306 w 1661518"/>
                    <a:gd name="connsiteY1373" fmla="*/ 1049283 h 1161399"/>
                    <a:gd name="connsiteX1374" fmla="*/ 809995 w 1661518"/>
                    <a:gd name="connsiteY1374" fmla="*/ 1054820 h 1161399"/>
                    <a:gd name="connsiteX1375" fmla="*/ 801337 w 1661518"/>
                    <a:gd name="connsiteY1375" fmla="*/ 1057868 h 1161399"/>
                    <a:gd name="connsiteX1376" fmla="*/ 790870 w 1661518"/>
                    <a:gd name="connsiteY1376" fmla="*/ 1060103 h 1161399"/>
                    <a:gd name="connsiteX1377" fmla="*/ 787943 w 1661518"/>
                    <a:gd name="connsiteY1377" fmla="*/ 1061754 h 1161399"/>
                    <a:gd name="connsiteX1378" fmla="*/ 785357 w 1661518"/>
                    <a:gd name="connsiteY1378" fmla="*/ 1064304 h 1161399"/>
                    <a:gd name="connsiteX1379" fmla="*/ 783122 w 1661518"/>
                    <a:gd name="connsiteY1379" fmla="*/ 1067413 h 1161399"/>
                    <a:gd name="connsiteX1380" fmla="*/ 778872 w 1661518"/>
                    <a:gd name="connsiteY1380" fmla="*/ 1072064 h 1161399"/>
                    <a:gd name="connsiteX1381" fmla="*/ 775315 w 1661518"/>
                    <a:gd name="connsiteY1381" fmla="*/ 1074820 h 1161399"/>
                    <a:gd name="connsiteX1382" fmla="*/ 767859 w 1661518"/>
                    <a:gd name="connsiteY1382" fmla="*/ 1079179 h 1161399"/>
                    <a:gd name="connsiteX1383" fmla="*/ 757294 w 1661518"/>
                    <a:gd name="connsiteY1383" fmla="*/ 1084036 h 1161399"/>
                    <a:gd name="connsiteX1384" fmla="*/ 734951 w 1661518"/>
                    <a:gd name="connsiteY1384" fmla="*/ 1091322 h 1161399"/>
                    <a:gd name="connsiteX1385" fmla="*/ 731333 w 1661518"/>
                    <a:gd name="connsiteY1385" fmla="*/ 1091929 h 1161399"/>
                    <a:gd name="connsiteX1386" fmla="*/ 727702 w 1661518"/>
                    <a:gd name="connsiteY1386" fmla="*/ 1091808 h 1161399"/>
                    <a:gd name="connsiteX1387" fmla="*/ 724205 w 1661518"/>
                    <a:gd name="connsiteY1387" fmla="*/ 1090727 h 1161399"/>
                    <a:gd name="connsiteX1388" fmla="*/ 715316 w 1661518"/>
                    <a:gd name="connsiteY1388" fmla="*/ 1086939 h 1161399"/>
                    <a:gd name="connsiteX1389" fmla="*/ 713240 w 1661518"/>
                    <a:gd name="connsiteY1389" fmla="*/ 1086623 h 1161399"/>
                    <a:gd name="connsiteX1390" fmla="*/ 711977 w 1661518"/>
                    <a:gd name="connsiteY1390" fmla="*/ 1086902 h 1161399"/>
                    <a:gd name="connsiteX1391" fmla="*/ 707217 w 1661518"/>
                    <a:gd name="connsiteY1391" fmla="*/ 1090096 h 1161399"/>
                    <a:gd name="connsiteX1392" fmla="*/ 703768 w 1661518"/>
                    <a:gd name="connsiteY1392" fmla="*/ 1091419 h 1161399"/>
                    <a:gd name="connsiteX1393" fmla="*/ 697903 w 1661518"/>
                    <a:gd name="connsiteY1393" fmla="*/ 1095281 h 1161399"/>
                    <a:gd name="connsiteX1394" fmla="*/ 696070 w 1661518"/>
                    <a:gd name="connsiteY1394" fmla="*/ 1095779 h 1161399"/>
                    <a:gd name="connsiteX1395" fmla="*/ 694637 w 1661518"/>
                    <a:gd name="connsiteY1395" fmla="*/ 1095402 h 1161399"/>
                    <a:gd name="connsiteX1396" fmla="*/ 693665 w 1661518"/>
                    <a:gd name="connsiteY1396" fmla="*/ 1094188 h 1161399"/>
                    <a:gd name="connsiteX1397" fmla="*/ 692512 w 1661518"/>
                    <a:gd name="connsiteY1397" fmla="*/ 1093047 h 1161399"/>
                    <a:gd name="connsiteX1398" fmla="*/ 691079 w 1661518"/>
                    <a:gd name="connsiteY1398" fmla="*/ 1092379 h 1161399"/>
                    <a:gd name="connsiteX1399" fmla="*/ 686258 w 1661518"/>
                    <a:gd name="connsiteY1399" fmla="*/ 1092172 h 1161399"/>
                    <a:gd name="connsiteX1400" fmla="*/ 683903 w 1661518"/>
                    <a:gd name="connsiteY1400" fmla="*/ 1091662 h 1161399"/>
                    <a:gd name="connsiteX1401" fmla="*/ 681838 w 1661518"/>
                    <a:gd name="connsiteY1401" fmla="*/ 1091504 h 1161399"/>
                    <a:gd name="connsiteX1402" fmla="*/ 679944 w 1661518"/>
                    <a:gd name="connsiteY1402" fmla="*/ 1092051 h 1161399"/>
                    <a:gd name="connsiteX1403" fmla="*/ 676957 w 1661518"/>
                    <a:gd name="connsiteY1403" fmla="*/ 1093666 h 1161399"/>
                    <a:gd name="connsiteX1404" fmla="*/ 675014 w 1661518"/>
                    <a:gd name="connsiteY1404" fmla="*/ 1094273 h 1161399"/>
                    <a:gd name="connsiteX1405" fmla="*/ 672646 w 1661518"/>
                    <a:gd name="connsiteY1405" fmla="*/ 1094480 h 1161399"/>
                    <a:gd name="connsiteX1406" fmla="*/ 670873 w 1661518"/>
                    <a:gd name="connsiteY1406" fmla="*/ 1094079 h 1161399"/>
                    <a:gd name="connsiteX1407" fmla="*/ 669380 w 1661518"/>
                    <a:gd name="connsiteY1407" fmla="*/ 1093302 h 1161399"/>
                    <a:gd name="connsiteX1408" fmla="*/ 668056 w 1661518"/>
                    <a:gd name="connsiteY1408" fmla="*/ 1091966 h 1161399"/>
                    <a:gd name="connsiteX1409" fmla="*/ 666793 w 1661518"/>
                    <a:gd name="connsiteY1409" fmla="*/ 1090290 h 1161399"/>
                    <a:gd name="connsiteX1410" fmla="*/ 665409 w 1661518"/>
                    <a:gd name="connsiteY1410" fmla="*/ 1089003 h 1161399"/>
                    <a:gd name="connsiteX1411" fmla="*/ 663915 w 1661518"/>
                    <a:gd name="connsiteY1411" fmla="*/ 1088287 h 1161399"/>
                    <a:gd name="connsiteX1412" fmla="*/ 661681 w 1661518"/>
                    <a:gd name="connsiteY1412" fmla="*/ 1087971 h 1161399"/>
                    <a:gd name="connsiteX1413" fmla="*/ 660588 w 1661518"/>
                    <a:gd name="connsiteY1413" fmla="*/ 1088226 h 1161399"/>
                    <a:gd name="connsiteX1414" fmla="*/ 659726 w 1661518"/>
                    <a:gd name="connsiteY1414" fmla="*/ 1089234 h 1161399"/>
                    <a:gd name="connsiteX1415" fmla="*/ 658293 w 1661518"/>
                    <a:gd name="connsiteY1415" fmla="*/ 1092063 h 1161399"/>
                    <a:gd name="connsiteX1416" fmla="*/ 656848 w 1661518"/>
                    <a:gd name="connsiteY1416" fmla="*/ 1093168 h 1161399"/>
                    <a:gd name="connsiteX1417" fmla="*/ 656168 w 1661518"/>
                    <a:gd name="connsiteY1417" fmla="*/ 1092816 h 1161399"/>
                    <a:gd name="connsiteX1418" fmla="*/ 655767 w 1661518"/>
                    <a:gd name="connsiteY1418" fmla="*/ 1091225 h 1161399"/>
                    <a:gd name="connsiteX1419" fmla="*/ 655415 w 1661518"/>
                    <a:gd name="connsiteY1419" fmla="*/ 1088918 h 1161399"/>
                    <a:gd name="connsiteX1420" fmla="*/ 654626 w 1661518"/>
                    <a:gd name="connsiteY1420" fmla="*/ 1086732 h 1161399"/>
                    <a:gd name="connsiteX1421" fmla="*/ 649514 w 1661518"/>
                    <a:gd name="connsiteY1421" fmla="*/ 1079410 h 1161399"/>
                    <a:gd name="connsiteX1422" fmla="*/ 645482 w 1661518"/>
                    <a:gd name="connsiteY1422" fmla="*/ 1072027 h 1161399"/>
                    <a:gd name="connsiteX1423" fmla="*/ 645312 w 1661518"/>
                    <a:gd name="connsiteY1423" fmla="*/ 1071626 h 1161399"/>
                    <a:gd name="connsiteX1424" fmla="*/ 645033 w 1661518"/>
                    <a:gd name="connsiteY1424" fmla="*/ 1069538 h 1161399"/>
                    <a:gd name="connsiteX1425" fmla="*/ 644972 w 1661518"/>
                    <a:gd name="connsiteY1425" fmla="*/ 1067449 h 1161399"/>
                    <a:gd name="connsiteX1426" fmla="*/ 645252 w 1661518"/>
                    <a:gd name="connsiteY1426" fmla="*/ 1065081 h 1161399"/>
                    <a:gd name="connsiteX1427" fmla="*/ 645944 w 1661518"/>
                    <a:gd name="connsiteY1427" fmla="*/ 1063503 h 1161399"/>
                    <a:gd name="connsiteX1428" fmla="*/ 647498 w 1661518"/>
                    <a:gd name="connsiteY1428" fmla="*/ 1062568 h 1161399"/>
                    <a:gd name="connsiteX1429" fmla="*/ 649902 w 1661518"/>
                    <a:gd name="connsiteY1429" fmla="*/ 1062276 h 1161399"/>
                    <a:gd name="connsiteX1430" fmla="*/ 668396 w 1661518"/>
                    <a:gd name="connsiteY1430" fmla="*/ 1063466 h 1161399"/>
                    <a:gd name="connsiteX1431" fmla="*/ 670460 w 1661518"/>
                    <a:gd name="connsiteY1431" fmla="*/ 1063114 h 1161399"/>
                    <a:gd name="connsiteX1432" fmla="*/ 672063 w 1661518"/>
                    <a:gd name="connsiteY1432" fmla="*/ 1062325 h 1161399"/>
                    <a:gd name="connsiteX1433" fmla="*/ 672476 w 1661518"/>
                    <a:gd name="connsiteY1433" fmla="*/ 1060734 h 1161399"/>
                    <a:gd name="connsiteX1434" fmla="*/ 671784 w 1661518"/>
                    <a:gd name="connsiteY1434" fmla="*/ 1059241 h 1161399"/>
                    <a:gd name="connsiteX1435" fmla="*/ 670460 w 1661518"/>
                    <a:gd name="connsiteY1435" fmla="*/ 1057492 h 1161399"/>
                    <a:gd name="connsiteX1436" fmla="*/ 669537 w 1661518"/>
                    <a:gd name="connsiteY1436" fmla="*/ 1055428 h 1161399"/>
                    <a:gd name="connsiteX1437" fmla="*/ 669380 w 1661518"/>
                    <a:gd name="connsiteY1437" fmla="*/ 1052769 h 1161399"/>
                    <a:gd name="connsiteX1438" fmla="*/ 669659 w 1661518"/>
                    <a:gd name="connsiteY1438" fmla="*/ 1049939 h 1161399"/>
                    <a:gd name="connsiteX1439" fmla="*/ 669659 w 1661518"/>
                    <a:gd name="connsiteY1439" fmla="*/ 1047049 h 1161399"/>
                    <a:gd name="connsiteX1440" fmla="*/ 667764 w 1661518"/>
                    <a:gd name="connsiteY1440" fmla="*/ 1033170 h 1161399"/>
                    <a:gd name="connsiteX1441" fmla="*/ 667072 w 1661518"/>
                    <a:gd name="connsiteY1441" fmla="*/ 1031069 h 1161399"/>
                    <a:gd name="connsiteX1442" fmla="*/ 665822 w 1661518"/>
                    <a:gd name="connsiteY1442" fmla="*/ 1029405 h 1161399"/>
                    <a:gd name="connsiteX1443" fmla="*/ 663976 w 1661518"/>
                    <a:gd name="connsiteY1443" fmla="*/ 1028227 h 1161399"/>
                    <a:gd name="connsiteX1444" fmla="*/ 659787 w 1661518"/>
                    <a:gd name="connsiteY1444" fmla="*/ 1026698 h 1161399"/>
                    <a:gd name="connsiteX1445" fmla="*/ 658694 w 1661518"/>
                    <a:gd name="connsiteY1445" fmla="*/ 1026066 h 1161399"/>
                    <a:gd name="connsiteX1446" fmla="*/ 658172 w 1661518"/>
                    <a:gd name="connsiteY1446" fmla="*/ 1025180 h 1161399"/>
                    <a:gd name="connsiteX1447" fmla="*/ 657832 w 1661518"/>
                    <a:gd name="connsiteY1447" fmla="*/ 1024427 h 1161399"/>
                    <a:gd name="connsiteX1448" fmla="*/ 657540 w 1661518"/>
                    <a:gd name="connsiteY1448" fmla="*/ 1023225 h 1161399"/>
                    <a:gd name="connsiteX1449" fmla="*/ 656751 w 1661518"/>
                    <a:gd name="connsiteY1449" fmla="*/ 1021768 h 1161399"/>
                    <a:gd name="connsiteX1450" fmla="*/ 655646 w 1661518"/>
                    <a:gd name="connsiteY1450" fmla="*/ 1020553 h 1161399"/>
                    <a:gd name="connsiteX1451" fmla="*/ 653193 w 1661518"/>
                    <a:gd name="connsiteY1451" fmla="*/ 1019290 h 1161399"/>
                    <a:gd name="connsiteX1452" fmla="*/ 650655 w 1661518"/>
                    <a:gd name="connsiteY1452" fmla="*/ 1018744 h 1161399"/>
                    <a:gd name="connsiteX1453" fmla="*/ 626709 w 1661518"/>
                    <a:gd name="connsiteY1453" fmla="*/ 1017882 h 1161399"/>
                    <a:gd name="connsiteX1454" fmla="*/ 623601 w 1661518"/>
                    <a:gd name="connsiteY1454" fmla="*/ 1018793 h 1161399"/>
                    <a:gd name="connsiteX1455" fmla="*/ 621476 w 1661518"/>
                    <a:gd name="connsiteY1455" fmla="*/ 1020553 h 1161399"/>
                    <a:gd name="connsiteX1456" fmla="*/ 619873 w 1661518"/>
                    <a:gd name="connsiteY1456" fmla="*/ 1023055 h 1161399"/>
                    <a:gd name="connsiteX1457" fmla="*/ 617808 w 1661518"/>
                    <a:gd name="connsiteY1457" fmla="*/ 1024512 h 1161399"/>
                    <a:gd name="connsiteX1458" fmla="*/ 612587 w 1661518"/>
                    <a:gd name="connsiteY1458" fmla="*/ 1025641 h 1161399"/>
                    <a:gd name="connsiteX1459" fmla="*/ 611312 w 1661518"/>
                    <a:gd name="connsiteY1459" fmla="*/ 1026394 h 1161399"/>
                    <a:gd name="connsiteX1460" fmla="*/ 609770 w 1661518"/>
                    <a:gd name="connsiteY1460" fmla="*/ 1029199 h 1161399"/>
                    <a:gd name="connsiteX1461" fmla="*/ 608725 w 1661518"/>
                    <a:gd name="connsiteY1461" fmla="*/ 1030632 h 1161399"/>
                    <a:gd name="connsiteX1462" fmla="*/ 607293 w 1661518"/>
                    <a:gd name="connsiteY1462" fmla="*/ 1031603 h 1161399"/>
                    <a:gd name="connsiteX1463" fmla="*/ 605289 w 1661518"/>
                    <a:gd name="connsiteY1463" fmla="*/ 1032356 h 1161399"/>
                    <a:gd name="connsiteX1464" fmla="*/ 603735 w 1661518"/>
                    <a:gd name="connsiteY1464" fmla="*/ 1032332 h 1161399"/>
                    <a:gd name="connsiteX1465" fmla="*/ 602484 w 1661518"/>
                    <a:gd name="connsiteY1465" fmla="*/ 1031846 h 1161399"/>
                    <a:gd name="connsiteX1466" fmla="*/ 601500 w 1661518"/>
                    <a:gd name="connsiteY1466" fmla="*/ 1030984 h 1161399"/>
                    <a:gd name="connsiteX1467" fmla="*/ 600699 w 1661518"/>
                    <a:gd name="connsiteY1467" fmla="*/ 1030001 h 1161399"/>
                    <a:gd name="connsiteX1468" fmla="*/ 600177 w 1661518"/>
                    <a:gd name="connsiteY1468" fmla="*/ 1029065 h 1161399"/>
                    <a:gd name="connsiteX1469" fmla="*/ 599315 w 1661518"/>
                    <a:gd name="connsiteY1469" fmla="*/ 1028313 h 1161399"/>
                    <a:gd name="connsiteX1470" fmla="*/ 597773 w 1661518"/>
                    <a:gd name="connsiteY1470" fmla="*/ 1027390 h 1161399"/>
                    <a:gd name="connsiteX1471" fmla="*/ 595587 w 1661518"/>
                    <a:gd name="connsiteY1471" fmla="*/ 1027001 h 1161399"/>
                    <a:gd name="connsiteX1472" fmla="*/ 585885 w 1661518"/>
                    <a:gd name="connsiteY1472" fmla="*/ 1027790 h 1161399"/>
                    <a:gd name="connsiteX1473" fmla="*/ 577275 w 1661518"/>
                    <a:gd name="connsiteY1473" fmla="*/ 1030122 h 1161399"/>
                    <a:gd name="connsiteX1474" fmla="*/ 569637 w 1661518"/>
                    <a:gd name="connsiteY1474" fmla="*/ 1033789 h 1161399"/>
                    <a:gd name="connsiteX1475" fmla="*/ 548727 w 1661518"/>
                    <a:gd name="connsiteY1475" fmla="*/ 1048603 h 1161399"/>
                    <a:gd name="connsiteX1476" fmla="*/ 545461 w 1661518"/>
                    <a:gd name="connsiteY1476" fmla="*/ 1049672 h 1161399"/>
                    <a:gd name="connsiteX1477" fmla="*/ 534884 w 1661518"/>
                    <a:gd name="connsiteY1477" fmla="*/ 1049563 h 1161399"/>
                    <a:gd name="connsiteX1478" fmla="*/ 529371 w 1661518"/>
                    <a:gd name="connsiteY1478" fmla="*/ 1052137 h 1161399"/>
                    <a:gd name="connsiteX1479" fmla="*/ 525534 w 1661518"/>
                    <a:gd name="connsiteY1479" fmla="*/ 1056679 h 1161399"/>
                    <a:gd name="connsiteX1480" fmla="*/ 524672 w 1661518"/>
                    <a:gd name="connsiteY1480" fmla="*/ 1061997 h 1161399"/>
                    <a:gd name="connsiteX1481" fmla="*/ 524502 w 1661518"/>
                    <a:gd name="connsiteY1481" fmla="*/ 1064462 h 1161399"/>
                    <a:gd name="connsiteX1482" fmla="*/ 524223 w 1661518"/>
                    <a:gd name="connsiteY1482" fmla="*/ 1065774 h 1161399"/>
                    <a:gd name="connsiteX1483" fmla="*/ 523980 w 1661518"/>
                    <a:gd name="connsiteY1483" fmla="*/ 1070145 h 1161399"/>
                    <a:gd name="connsiteX1484" fmla="*/ 524041 w 1661518"/>
                    <a:gd name="connsiteY1484" fmla="*/ 1070898 h 1161399"/>
                    <a:gd name="connsiteX1485" fmla="*/ 524041 w 1661518"/>
                    <a:gd name="connsiteY1485" fmla="*/ 1071481 h 1161399"/>
                    <a:gd name="connsiteX1486" fmla="*/ 523919 w 1661518"/>
                    <a:gd name="connsiteY1486" fmla="*/ 1072185 h 1161399"/>
                    <a:gd name="connsiteX1487" fmla="*/ 523579 w 1661518"/>
                    <a:gd name="connsiteY1487" fmla="*/ 1073169 h 1161399"/>
                    <a:gd name="connsiteX1488" fmla="*/ 522426 w 1661518"/>
                    <a:gd name="connsiteY1488" fmla="*/ 1075719 h 1161399"/>
                    <a:gd name="connsiteX1489" fmla="*/ 520884 w 1661518"/>
                    <a:gd name="connsiteY1489" fmla="*/ 1077394 h 1161399"/>
                    <a:gd name="connsiteX1490" fmla="*/ 518528 w 1661518"/>
                    <a:gd name="connsiteY1490" fmla="*/ 1079276 h 1161399"/>
                    <a:gd name="connsiteX1491" fmla="*/ 517253 w 1661518"/>
                    <a:gd name="connsiteY1491" fmla="*/ 1081037 h 1161399"/>
                    <a:gd name="connsiteX1492" fmla="*/ 513537 w 1661518"/>
                    <a:gd name="connsiteY1492" fmla="*/ 1088906 h 1161399"/>
                    <a:gd name="connsiteX1493" fmla="*/ 511813 w 1661518"/>
                    <a:gd name="connsiteY1493" fmla="*/ 1090764 h 1161399"/>
                    <a:gd name="connsiteX1494" fmla="*/ 509736 w 1661518"/>
                    <a:gd name="connsiteY1494" fmla="*/ 1092172 h 1161399"/>
                    <a:gd name="connsiteX1495" fmla="*/ 502499 w 1661518"/>
                    <a:gd name="connsiteY1495" fmla="*/ 1096131 h 1161399"/>
                    <a:gd name="connsiteX1496" fmla="*/ 497921 w 1661518"/>
                    <a:gd name="connsiteY1496" fmla="*/ 1099543 h 1161399"/>
                    <a:gd name="connsiteX1497" fmla="*/ 496185 w 1661518"/>
                    <a:gd name="connsiteY1497" fmla="*/ 1101401 h 1161399"/>
                    <a:gd name="connsiteX1498" fmla="*/ 495493 w 1661518"/>
                    <a:gd name="connsiteY1498" fmla="*/ 1103016 h 1161399"/>
                    <a:gd name="connsiteX1499" fmla="*/ 495905 w 1661518"/>
                    <a:gd name="connsiteY1499" fmla="*/ 1104886 h 1161399"/>
                    <a:gd name="connsiteX1500" fmla="*/ 496646 w 1661518"/>
                    <a:gd name="connsiteY1500" fmla="*/ 1107035 h 1161399"/>
                    <a:gd name="connsiteX1501" fmla="*/ 499233 w 1661518"/>
                    <a:gd name="connsiteY1501" fmla="*/ 1112269 h 1161399"/>
                    <a:gd name="connsiteX1502" fmla="*/ 499354 w 1661518"/>
                    <a:gd name="connsiteY1502" fmla="*/ 1120623 h 1161399"/>
                    <a:gd name="connsiteX1503" fmla="*/ 497678 w 1661518"/>
                    <a:gd name="connsiteY1503" fmla="*/ 1124108 h 1161399"/>
                    <a:gd name="connsiteX1504" fmla="*/ 496015 w 1661518"/>
                    <a:gd name="connsiteY1504" fmla="*/ 1126768 h 1161399"/>
                    <a:gd name="connsiteX1505" fmla="*/ 494060 w 1661518"/>
                    <a:gd name="connsiteY1505" fmla="*/ 1128953 h 1161399"/>
                    <a:gd name="connsiteX1506" fmla="*/ 491874 w 1661518"/>
                    <a:gd name="connsiteY1506" fmla="*/ 1130204 h 1161399"/>
                    <a:gd name="connsiteX1507" fmla="*/ 478322 w 1661518"/>
                    <a:gd name="connsiteY1507" fmla="*/ 1131625 h 1161399"/>
                    <a:gd name="connsiteX1508" fmla="*/ 474886 w 1661518"/>
                    <a:gd name="connsiteY1508" fmla="*/ 1132353 h 1161399"/>
                    <a:gd name="connsiteX1509" fmla="*/ 470114 w 1661518"/>
                    <a:gd name="connsiteY1509" fmla="*/ 1134539 h 1161399"/>
                    <a:gd name="connsiteX1510" fmla="*/ 467066 w 1661518"/>
                    <a:gd name="connsiteY1510" fmla="*/ 1137271 h 1161399"/>
                    <a:gd name="connsiteX1511" fmla="*/ 464722 w 1661518"/>
                    <a:gd name="connsiteY1511" fmla="*/ 1140161 h 1161399"/>
                    <a:gd name="connsiteX1512" fmla="*/ 461043 w 1661518"/>
                    <a:gd name="connsiteY1512" fmla="*/ 1145905 h 1161399"/>
                    <a:gd name="connsiteX1513" fmla="*/ 458578 w 1661518"/>
                    <a:gd name="connsiteY1513" fmla="*/ 1148783 h 1161399"/>
                    <a:gd name="connsiteX1514" fmla="*/ 453636 w 1661518"/>
                    <a:gd name="connsiteY1514" fmla="*/ 1150932 h 1161399"/>
                    <a:gd name="connsiteX1515" fmla="*/ 447734 w 1661518"/>
                    <a:gd name="connsiteY1515" fmla="*/ 1152887 h 1161399"/>
                    <a:gd name="connsiteX1516" fmla="*/ 436235 w 1661518"/>
                    <a:gd name="connsiteY1516" fmla="*/ 1153858 h 1161399"/>
                    <a:gd name="connsiteX1517" fmla="*/ 430443 w 1661518"/>
                    <a:gd name="connsiteY1517" fmla="*/ 1155231 h 1161399"/>
                    <a:gd name="connsiteX1518" fmla="*/ 411718 w 1661518"/>
                    <a:gd name="connsiteY1518" fmla="*/ 1153081 h 1161399"/>
                    <a:gd name="connsiteX1519" fmla="*/ 407978 w 1661518"/>
                    <a:gd name="connsiteY1519" fmla="*/ 1151406 h 1161399"/>
                    <a:gd name="connsiteX1520" fmla="*/ 403692 w 1661518"/>
                    <a:gd name="connsiteY1520" fmla="*/ 1148940 h 1161399"/>
                    <a:gd name="connsiteX1521" fmla="*/ 397026 w 1661518"/>
                    <a:gd name="connsiteY1521" fmla="*/ 1139870 h 1161399"/>
                    <a:gd name="connsiteX1522" fmla="*/ 396333 w 1661518"/>
                    <a:gd name="connsiteY1522" fmla="*/ 1138558 h 1161399"/>
                    <a:gd name="connsiteX1523" fmla="*/ 396103 w 1661518"/>
                    <a:gd name="connsiteY1523" fmla="*/ 1137733 h 1161399"/>
                    <a:gd name="connsiteX1524" fmla="*/ 396103 w 1661518"/>
                    <a:gd name="connsiteY1524" fmla="*/ 1137174 h 1161399"/>
                    <a:gd name="connsiteX1525" fmla="*/ 396224 w 1661518"/>
                    <a:gd name="connsiteY1525" fmla="*/ 1136725 h 1161399"/>
                    <a:gd name="connsiteX1526" fmla="*/ 396625 w 1661518"/>
                    <a:gd name="connsiteY1526" fmla="*/ 1136142 h 1161399"/>
                    <a:gd name="connsiteX1527" fmla="*/ 397196 w 1661518"/>
                    <a:gd name="connsiteY1527" fmla="*/ 1135802 h 1161399"/>
                    <a:gd name="connsiteX1528" fmla="*/ 398337 w 1661518"/>
                    <a:gd name="connsiteY1528" fmla="*/ 1135522 h 1161399"/>
                    <a:gd name="connsiteX1529" fmla="*/ 399612 w 1661518"/>
                    <a:gd name="connsiteY1529" fmla="*/ 1135522 h 1161399"/>
                    <a:gd name="connsiteX1530" fmla="*/ 401276 w 1661518"/>
                    <a:gd name="connsiteY1530" fmla="*/ 1135353 h 1161399"/>
                    <a:gd name="connsiteX1531" fmla="*/ 402708 w 1661518"/>
                    <a:gd name="connsiteY1531" fmla="*/ 1134430 h 1161399"/>
                    <a:gd name="connsiteX1532" fmla="*/ 403510 w 1661518"/>
                    <a:gd name="connsiteY1532" fmla="*/ 1132050 h 1161399"/>
                    <a:gd name="connsiteX1533" fmla="*/ 401567 w 1661518"/>
                    <a:gd name="connsiteY1533" fmla="*/ 1123404 h 1161399"/>
                    <a:gd name="connsiteX1534" fmla="*/ 401154 w 1661518"/>
                    <a:gd name="connsiteY1534" fmla="*/ 1115001 h 1161399"/>
                    <a:gd name="connsiteX1535" fmla="*/ 396965 w 1661518"/>
                    <a:gd name="connsiteY1535" fmla="*/ 1104740 h 1161399"/>
                    <a:gd name="connsiteX1536" fmla="*/ 394257 w 1661518"/>
                    <a:gd name="connsiteY1536" fmla="*/ 1099579 h 1161399"/>
                    <a:gd name="connsiteX1537" fmla="*/ 392253 w 1661518"/>
                    <a:gd name="connsiteY1537" fmla="*/ 1097746 h 1161399"/>
                    <a:gd name="connsiteX1538" fmla="*/ 389958 w 1661518"/>
                    <a:gd name="connsiteY1538" fmla="*/ 1097467 h 1161399"/>
                    <a:gd name="connsiteX1539" fmla="*/ 387773 w 1661518"/>
                    <a:gd name="connsiteY1539" fmla="*/ 1098037 h 1161399"/>
                    <a:gd name="connsiteX1540" fmla="*/ 385890 w 1661518"/>
                    <a:gd name="connsiteY1540" fmla="*/ 1098292 h 1161399"/>
                    <a:gd name="connsiteX1541" fmla="*/ 384093 w 1661518"/>
                    <a:gd name="connsiteY1541" fmla="*/ 1098207 h 1161399"/>
                    <a:gd name="connsiteX1542" fmla="*/ 374173 w 1661518"/>
                    <a:gd name="connsiteY1542" fmla="*/ 1095706 h 1161399"/>
                    <a:gd name="connsiteX1543" fmla="*/ 367737 w 1661518"/>
                    <a:gd name="connsiteY1543" fmla="*/ 1093265 h 1161399"/>
                    <a:gd name="connsiteX1544" fmla="*/ 364810 w 1661518"/>
                    <a:gd name="connsiteY1544" fmla="*/ 1092962 h 1161399"/>
                    <a:gd name="connsiteX1545" fmla="*/ 359297 w 1661518"/>
                    <a:gd name="connsiteY1545" fmla="*/ 1093107 h 1161399"/>
                    <a:gd name="connsiteX1546" fmla="*/ 353785 w 1661518"/>
                    <a:gd name="connsiteY1546" fmla="*/ 1091529 h 1161399"/>
                    <a:gd name="connsiteX1547" fmla="*/ 341787 w 1661518"/>
                    <a:gd name="connsiteY1547" fmla="*/ 1094735 h 1161399"/>
                    <a:gd name="connsiteX1548" fmla="*/ 321630 w 1661518"/>
                    <a:gd name="connsiteY1548" fmla="*/ 1095779 h 1161399"/>
                    <a:gd name="connsiteX1549" fmla="*/ 313531 w 1661518"/>
                    <a:gd name="connsiteY1549" fmla="*/ 1095378 h 1161399"/>
                    <a:gd name="connsiteX1550" fmla="*/ 306415 w 1661518"/>
                    <a:gd name="connsiteY1550" fmla="*/ 1094346 h 1161399"/>
                    <a:gd name="connsiteX1551" fmla="*/ 303428 w 1661518"/>
                    <a:gd name="connsiteY1551" fmla="*/ 1094601 h 1161399"/>
                    <a:gd name="connsiteX1552" fmla="*/ 300210 w 1661518"/>
                    <a:gd name="connsiteY1552" fmla="*/ 1095257 h 1161399"/>
                    <a:gd name="connsiteX1553" fmla="*/ 296021 w 1661518"/>
                    <a:gd name="connsiteY1553" fmla="*/ 1095342 h 1161399"/>
                    <a:gd name="connsiteX1554" fmla="*/ 289415 w 1661518"/>
                    <a:gd name="connsiteY1554" fmla="*/ 1097017 h 1161399"/>
                    <a:gd name="connsiteX1555" fmla="*/ 286889 w 1661518"/>
                    <a:gd name="connsiteY1555" fmla="*/ 1097042 h 1161399"/>
                    <a:gd name="connsiteX1556" fmla="*/ 279130 w 1661518"/>
                    <a:gd name="connsiteY1556" fmla="*/ 1096155 h 1161399"/>
                    <a:gd name="connsiteX1557" fmla="*/ 260636 w 1661518"/>
                    <a:gd name="connsiteY1557" fmla="*/ 1096155 h 1161399"/>
                    <a:gd name="connsiteX1558" fmla="*/ 258171 w 1661518"/>
                    <a:gd name="connsiteY1558" fmla="*/ 1095548 h 1161399"/>
                    <a:gd name="connsiteX1559" fmla="*/ 256617 w 1661518"/>
                    <a:gd name="connsiteY1559" fmla="*/ 1094977 h 1161399"/>
                    <a:gd name="connsiteX1560" fmla="*/ 254273 w 1661518"/>
                    <a:gd name="connsiteY1560" fmla="*/ 1094491 h 1161399"/>
                    <a:gd name="connsiteX1561" fmla="*/ 247607 w 1661518"/>
                    <a:gd name="connsiteY1561" fmla="*/ 1095123 h 1161399"/>
                    <a:gd name="connsiteX1562" fmla="*/ 228433 w 1661518"/>
                    <a:gd name="connsiteY1562" fmla="*/ 1090934 h 1161399"/>
                    <a:gd name="connsiteX1563" fmla="*/ 217869 w 1661518"/>
                    <a:gd name="connsiteY1563" fmla="*/ 1087024 h 1161399"/>
                    <a:gd name="connsiteX1564" fmla="*/ 215452 w 1661518"/>
                    <a:gd name="connsiteY1564" fmla="*/ 1085761 h 1161399"/>
                    <a:gd name="connsiteX1565" fmla="*/ 213509 w 1661518"/>
                    <a:gd name="connsiteY1565" fmla="*/ 1084097 h 1161399"/>
                    <a:gd name="connsiteX1566" fmla="*/ 212016 w 1661518"/>
                    <a:gd name="connsiteY1566" fmla="*/ 1081984 h 1161399"/>
                    <a:gd name="connsiteX1567" fmla="*/ 210923 w 1661518"/>
                    <a:gd name="connsiteY1567" fmla="*/ 1079835 h 1161399"/>
                    <a:gd name="connsiteX1568" fmla="*/ 209077 w 1661518"/>
                    <a:gd name="connsiteY1568" fmla="*/ 1075148 h 1161399"/>
                    <a:gd name="connsiteX1569" fmla="*/ 201852 w 1661518"/>
                    <a:gd name="connsiteY1569" fmla="*/ 1065021 h 1161399"/>
                    <a:gd name="connsiteX1570" fmla="*/ 198112 w 1661518"/>
                    <a:gd name="connsiteY1570" fmla="*/ 1061232 h 1161399"/>
                    <a:gd name="connsiteX1571" fmla="*/ 196108 w 1661518"/>
                    <a:gd name="connsiteY1571" fmla="*/ 1059884 h 1161399"/>
                    <a:gd name="connsiteX1572" fmla="*/ 191288 w 1661518"/>
                    <a:gd name="connsiteY1572" fmla="*/ 1057419 h 1161399"/>
                    <a:gd name="connsiteX1573" fmla="*/ 190073 w 1661518"/>
                    <a:gd name="connsiteY1573" fmla="*/ 1057055 h 1161399"/>
                    <a:gd name="connsiteX1574" fmla="*/ 180881 w 1661518"/>
                    <a:gd name="connsiteY1574" fmla="*/ 1056557 h 1161399"/>
                    <a:gd name="connsiteX1575" fmla="*/ 178076 w 1661518"/>
                    <a:gd name="connsiteY1575" fmla="*/ 1055525 h 1161399"/>
                    <a:gd name="connsiteX1576" fmla="*/ 175720 w 1661518"/>
                    <a:gd name="connsiteY1576" fmla="*/ 1053922 h 1161399"/>
                    <a:gd name="connsiteX1577" fmla="*/ 172794 w 1661518"/>
                    <a:gd name="connsiteY1577" fmla="*/ 1051481 h 1161399"/>
                    <a:gd name="connsiteX1578" fmla="*/ 171070 w 1661518"/>
                    <a:gd name="connsiteY1578" fmla="*/ 1050449 h 1161399"/>
                    <a:gd name="connsiteX1579" fmla="*/ 169236 w 1661518"/>
                    <a:gd name="connsiteY1579" fmla="*/ 1049879 h 1161399"/>
                    <a:gd name="connsiteX1580" fmla="*/ 163772 w 1661518"/>
                    <a:gd name="connsiteY1580" fmla="*/ 1049077 h 1161399"/>
                    <a:gd name="connsiteX1581" fmla="*/ 161708 w 1661518"/>
                    <a:gd name="connsiteY1581" fmla="*/ 1048980 h 1161399"/>
                    <a:gd name="connsiteX1582" fmla="*/ 144817 w 1661518"/>
                    <a:gd name="connsiteY1582" fmla="*/ 1050571 h 1161399"/>
                    <a:gd name="connsiteX1583" fmla="*/ 138697 w 1661518"/>
                    <a:gd name="connsiteY1583" fmla="*/ 1050534 h 1161399"/>
                    <a:gd name="connsiteX1584" fmla="*/ 134374 w 1661518"/>
                    <a:gd name="connsiteY1584" fmla="*/ 1050048 h 1161399"/>
                    <a:gd name="connsiteX1585" fmla="*/ 131909 w 1661518"/>
                    <a:gd name="connsiteY1585" fmla="*/ 1048895 h 1161399"/>
                    <a:gd name="connsiteX1586" fmla="*/ 129614 w 1661518"/>
                    <a:gd name="connsiteY1586" fmla="*/ 1047098 h 1161399"/>
                    <a:gd name="connsiteX1587" fmla="*/ 127707 w 1661518"/>
                    <a:gd name="connsiteY1587" fmla="*/ 1045143 h 1161399"/>
                    <a:gd name="connsiteX1588" fmla="*/ 125534 w 1661518"/>
                    <a:gd name="connsiteY1588" fmla="*/ 1043333 h 1161399"/>
                    <a:gd name="connsiteX1589" fmla="*/ 115662 w 1661518"/>
                    <a:gd name="connsiteY1589" fmla="*/ 1040662 h 1161399"/>
                    <a:gd name="connsiteX1590" fmla="*/ 112492 w 1661518"/>
                    <a:gd name="connsiteY1590" fmla="*/ 1038901 h 1161399"/>
                    <a:gd name="connsiteX1591" fmla="*/ 106530 w 1661518"/>
                    <a:gd name="connsiteY1591" fmla="*/ 1034141 h 1161399"/>
                    <a:gd name="connsiteX1592" fmla="*/ 101819 w 1661518"/>
                    <a:gd name="connsiteY1592" fmla="*/ 1031093 h 1161399"/>
                    <a:gd name="connsiteX1593" fmla="*/ 99281 w 1661518"/>
                    <a:gd name="connsiteY1593" fmla="*/ 1029114 h 1161399"/>
                    <a:gd name="connsiteX1594" fmla="*/ 97690 w 1661518"/>
                    <a:gd name="connsiteY1594" fmla="*/ 1027280 h 1161399"/>
                    <a:gd name="connsiteX1595" fmla="*/ 97046 w 1661518"/>
                    <a:gd name="connsiteY1595" fmla="*/ 1025507 h 1161399"/>
                    <a:gd name="connsiteX1596" fmla="*/ 96658 w 1661518"/>
                    <a:gd name="connsiteY1596" fmla="*/ 1020043 h 1161399"/>
                    <a:gd name="connsiteX1597" fmla="*/ 96026 w 1661518"/>
                    <a:gd name="connsiteY1597" fmla="*/ 1018270 h 1161399"/>
                    <a:gd name="connsiteX1598" fmla="*/ 93780 w 1661518"/>
                    <a:gd name="connsiteY1598" fmla="*/ 1013984 h 1161399"/>
                    <a:gd name="connsiteX1599" fmla="*/ 93148 w 1661518"/>
                    <a:gd name="connsiteY1599" fmla="*/ 1011907 h 1161399"/>
                    <a:gd name="connsiteX1600" fmla="*/ 92918 w 1661518"/>
                    <a:gd name="connsiteY1600" fmla="*/ 1008969 h 1161399"/>
                    <a:gd name="connsiteX1601" fmla="*/ 93841 w 1661518"/>
                    <a:gd name="connsiteY1601" fmla="*/ 992430 h 1161399"/>
                    <a:gd name="connsiteX1602" fmla="*/ 94229 w 1661518"/>
                    <a:gd name="connsiteY1602" fmla="*/ 989929 h 1161399"/>
                    <a:gd name="connsiteX1603" fmla="*/ 92638 w 1661518"/>
                    <a:gd name="connsiteY1603" fmla="*/ 984221 h 1161399"/>
                    <a:gd name="connsiteX1604" fmla="*/ 81843 w 1661518"/>
                    <a:gd name="connsiteY1604" fmla="*/ 972394 h 1161399"/>
                    <a:gd name="connsiteX1605" fmla="*/ 78043 w 1661518"/>
                    <a:gd name="connsiteY1605" fmla="*/ 969055 h 1161399"/>
                    <a:gd name="connsiteX1606" fmla="*/ 75056 w 1661518"/>
                    <a:gd name="connsiteY1606" fmla="*/ 969310 h 1161399"/>
                    <a:gd name="connsiteX1607" fmla="*/ 67600 w 1661518"/>
                    <a:gd name="connsiteY1607" fmla="*/ 976232 h 1161399"/>
                    <a:gd name="connsiteX1608" fmla="*/ 65754 w 1661518"/>
                    <a:gd name="connsiteY1608" fmla="*/ 977118 h 1161399"/>
                    <a:gd name="connsiteX1609" fmla="*/ 61686 w 1661518"/>
                    <a:gd name="connsiteY1609" fmla="*/ 978308 h 1161399"/>
                    <a:gd name="connsiteX1610" fmla="*/ 58978 w 1661518"/>
                    <a:gd name="connsiteY1610" fmla="*/ 979547 h 1161399"/>
                    <a:gd name="connsiteX1611" fmla="*/ 56793 w 1661518"/>
                    <a:gd name="connsiteY1611" fmla="*/ 979911 h 1161399"/>
                    <a:gd name="connsiteX1612" fmla="*/ 55930 w 1661518"/>
                    <a:gd name="connsiteY1612" fmla="*/ 980287 h 1161399"/>
                    <a:gd name="connsiteX1613" fmla="*/ 55712 w 1661518"/>
                    <a:gd name="connsiteY1613" fmla="*/ 980992 h 1161399"/>
                    <a:gd name="connsiteX1614" fmla="*/ 55712 w 1661518"/>
                    <a:gd name="connsiteY1614" fmla="*/ 982157 h 1161399"/>
                    <a:gd name="connsiteX1615" fmla="*/ 55542 w 1661518"/>
                    <a:gd name="connsiteY1615" fmla="*/ 983444 h 1161399"/>
                    <a:gd name="connsiteX1616" fmla="*/ 54910 w 1661518"/>
                    <a:gd name="connsiteY1616" fmla="*/ 984416 h 1161399"/>
                    <a:gd name="connsiteX1617" fmla="*/ 51802 w 1661518"/>
                    <a:gd name="connsiteY1617" fmla="*/ 986189 h 1161399"/>
                    <a:gd name="connsiteX1618" fmla="*/ 48292 w 1661518"/>
                    <a:gd name="connsiteY1618" fmla="*/ 987403 h 1161399"/>
                    <a:gd name="connsiteX1619" fmla="*/ 44346 w 1661518"/>
                    <a:gd name="connsiteY1619" fmla="*/ 988131 h 1161399"/>
                    <a:gd name="connsiteX1620" fmla="*/ 39975 w 1661518"/>
                    <a:gd name="connsiteY1620" fmla="*/ 988338 h 1161399"/>
                    <a:gd name="connsiteX1621" fmla="*/ 35846 w 1661518"/>
                    <a:gd name="connsiteY1621" fmla="*/ 987537 h 1161399"/>
                    <a:gd name="connsiteX1622" fmla="*/ 29920 w 1661518"/>
                    <a:gd name="connsiteY1622" fmla="*/ 983918 h 1161399"/>
                    <a:gd name="connsiteX1623" fmla="*/ 25743 w 1661518"/>
                    <a:gd name="connsiteY1623" fmla="*/ 983117 h 1161399"/>
                    <a:gd name="connsiteX1624" fmla="*/ 25792 w 1661518"/>
                    <a:gd name="connsiteY1624" fmla="*/ 968751 h 1161399"/>
                    <a:gd name="connsiteX1625" fmla="*/ 28208 w 1661518"/>
                    <a:gd name="connsiteY1625" fmla="*/ 961235 h 1161399"/>
                    <a:gd name="connsiteX1626" fmla="*/ 27965 w 1661518"/>
                    <a:gd name="connsiteY1626" fmla="*/ 959535 h 1161399"/>
                    <a:gd name="connsiteX1627" fmla="*/ 26423 w 1661518"/>
                    <a:gd name="connsiteY1627" fmla="*/ 956985 h 1161399"/>
                    <a:gd name="connsiteX1628" fmla="*/ 24711 w 1661518"/>
                    <a:gd name="connsiteY1628" fmla="*/ 955248 h 1161399"/>
                    <a:gd name="connsiteX1629" fmla="*/ 23545 w 1661518"/>
                    <a:gd name="connsiteY1629" fmla="*/ 953524 h 1161399"/>
                    <a:gd name="connsiteX1630" fmla="*/ 22974 w 1661518"/>
                    <a:gd name="connsiteY1630" fmla="*/ 951460 h 1161399"/>
                    <a:gd name="connsiteX1631" fmla="*/ 22404 w 1661518"/>
                    <a:gd name="connsiteY1631" fmla="*/ 946918 h 1161399"/>
                    <a:gd name="connsiteX1632" fmla="*/ 21542 w 1661518"/>
                    <a:gd name="connsiteY1632" fmla="*/ 943591 h 1161399"/>
                    <a:gd name="connsiteX1633" fmla="*/ 19647 w 1661518"/>
                    <a:gd name="connsiteY1633" fmla="*/ 939426 h 1161399"/>
                    <a:gd name="connsiteX1634" fmla="*/ 18105 w 1661518"/>
                    <a:gd name="connsiteY1634" fmla="*/ 937423 h 1161399"/>
                    <a:gd name="connsiteX1635" fmla="*/ 14997 w 1661518"/>
                    <a:gd name="connsiteY1635" fmla="*/ 934654 h 1161399"/>
                    <a:gd name="connsiteX1636" fmla="*/ 13964 w 1661518"/>
                    <a:gd name="connsiteY1636" fmla="*/ 933100 h 1161399"/>
                    <a:gd name="connsiteX1637" fmla="*/ 13624 w 1661518"/>
                    <a:gd name="connsiteY1637" fmla="*/ 931181 h 1161399"/>
                    <a:gd name="connsiteX1638" fmla="*/ 13843 w 1661518"/>
                    <a:gd name="connsiteY1638" fmla="*/ 925340 h 1161399"/>
                    <a:gd name="connsiteX1639" fmla="*/ 13564 w 1661518"/>
                    <a:gd name="connsiteY1639" fmla="*/ 922742 h 1161399"/>
                    <a:gd name="connsiteX1640" fmla="*/ 12531 w 1661518"/>
                    <a:gd name="connsiteY1640" fmla="*/ 919099 h 1161399"/>
                    <a:gd name="connsiteX1641" fmla="*/ 12131 w 1661518"/>
                    <a:gd name="connsiteY1641" fmla="*/ 915687 h 1161399"/>
                    <a:gd name="connsiteX1642" fmla="*/ 12701 w 1661518"/>
                    <a:gd name="connsiteY1642" fmla="*/ 910453 h 1161399"/>
                    <a:gd name="connsiteX1643" fmla="*/ 13904 w 1661518"/>
                    <a:gd name="connsiteY1643" fmla="*/ 907636 h 1161399"/>
                    <a:gd name="connsiteX1644" fmla="*/ 15118 w 1661518"/>
                    <a:gd name="connsiteY1644" fmla="*/ 905815 h 1161399"/>
                    <a:gd name="connsiteX1645" fmla="*/ 16259 w 1661518"/>
                    <a:gd name="connsiteY1645" fmla="*/ 905062 h 1161399"/>
                    <a:gd name="connsiteX1646" fmla="*/ 17522 w 1661518"/>
                    <a:gd name="connsiteY1646" fmla="*/ 904770 h 1161399"/>
                    <a:gd name="connsiteX1647" fmla="*/ 18737 w 1661518"/>
                    <a:gd name="connsiteY1647" fmla="*/ 904916 h 1161399"/>
                    <a:gd name="connsiteX1648" fmla="*/ 20048 w 1661518"/>
                    <a:gd name="connsiteY1648" fmla="*/ 905487 h 1161399"/>
                    <a:gd name="connsiteX1649" fmla="*/ 21420 w 1661518"/>
                    <a:gd name="connsiteY1649" fmla="*/ 906555 h 1161399"/>
                    <a:gd name="connsiteX1650" fmla="*/ 24067 w 1661518"/>
                    <a:gd name="connsiteY1650" fmla="*/ 909227 h 1161399"/>
                    <a:gd name="connsiteX1651" fmla="*/ 25391 w 1661518"/>
                    <a:gd name="connsiteY1651" fmla="*/ 909992 h 1161399"/>
                    <a:gd name="connsiteX1652" fmla="*/ 27225 w 1661518"/>
                    <a:gd name="connsiteY1652" fmla="*/ 910405 h 1161399"/>
                    <a:gd name="connsiteX1653" fmla="*/ 29459 w 1661518"/>
                    <a:gd name="connsiteY1653" fmla="*/ 910368 h 1161399"/>
                    <a:gd name="connsiteX1654" fmla="*/ 35324 w 1661518"/>
                    <a:gd name="connsiteY1654" fmla="*/ 909190 h 1161399"/>
                    <a:gd name="connsiteX1655" fmla="*/ 38432 w 1661518"/>
                    <a:gd name="connsiteY1655" fmla="*/ 908073 h 1161399"/>
                    <a:gd name="connsiteX1656" fmla="*/ 41298 w 1661518"/>
                    <a:gd name="connsiteY1656" fmla="*/ 906555 h 1161399"/>
                    <a:gd name="connsiteX1657" fmla="*/ 43642 w 1661518"/>
                    <a:gd name="connsiteY1657" fmla="*/ 904831 h 1161399"/>
                    <a:gd name="connsiteX1658" fmla="*/ 45487 w 1661518"/>
                    <a:gd name="connsiteY1658" fmla="*/ 902900 h 1161399"/>
                    <a:gd name="connsiteX1659" fmla="*/ 46532 w 1661518"/>
                    <a:gd name="connsiteY1659" fmla="*/ 901552 h 1161399"/>
                    <a:gd name="connsiteX1660" fmla="*/ 47442 w 1661518"/>
                    <a:gd name="connsiteY1660" fmla="*/ 899658 h 1161399"/>
                    <a:gd name="connsiteX1661" fmla="*/ 47661 w 1661518"/>
                    <a:gd name="connsiteY1661" fmla="*/ 897655 h 1161399"/>
                    <a:gd name="connsiteX1662" fmla="*/ 47272 w 1661518"/>
                    <a:gd name="connsiteY1662" fmla="*/ 895845 h 1161399"/>
                    <a:gd name="connsiteX1663" fmla="*/ 45548 w 1661518"/>
                    <a:gd name="connsiteY1663" fmla="*/ 894145 h 1161399"/>
                    <a:gd name="connsiteX1664" fmla="*/ 43132 w 1661518"/>
                    <a:gd name="connsiteY1664" fmla="*/ 892943 h 1161399"/>
                    <a:gd name="connsiteX1665" fmla="*/ 38432 w 1661518"/>
                    <a:gd name="connsiteY1665" fmla="*/ 891874 h 1161399"/>
                    <a:gd name="connsiteX1666" fmla="*/ 32397 w 1661518"/>
                    <a:gd name="connsiteY1666" fmla="*/ 891510 h 1161399"/>
                    <a:gd name="connsiteX1667" fmla="*/ 24869 w 1661518"/>
                    <a:gd name="connsiteY1667" fmla="*/ 892652 h 1161399"/>
                    <a:gd name="connsiteX1668" fmla="*/ 22756 w 1661518"/>
                    <a:gd name="connsiteY1668" fmla="*/ 892712 h 1161399"/>
                    <a:gd name="connsiteX1669" fmla="*/ 19987 w 1661518"/>
                    <a:gd name="connsiteY1669" fmla="*/ 891474 h 1161399"/>
                    <a:gd name="connsiteX1670" fmla="*/ 16891 w 1661518"/>
                    <a:gd name="connsiteY1670" fmla="*/ 889324 h 1161399"/>
                    <a:gd name="connsiteX1671" fmla="*/ 8342 w 1661518"/>
                    <a:gd name="connsiteY1671" fmla="*/ 881310 h 1161399"/>
                    <a:gd name="connsiteX1672" fmla="*/ 6387 w 1661518"/>
                    <a:gd name="connsiteY1672" fmla="*/ 879100 h 1161399"/>
                    <a:gd name="connsiteX1673" fmla="*/ 6205 w 1661518"/>
                    <a:gd name="connsiteY1673" fmla="*/ 876805 h 1161399"/>
                    <a:gd name="connsiteX1674" fmla="*/ 7820 w 1661518"/>
                    <a:gd name="connsiteY1674" fmla="*/ 873199 h 1161399"/>
                    <a:gd name="connsiteX1675" fmla="*/ 9544 w 1661518"/>
                    <a:gd name="connsiteY1675" fmla="*/ 871863 h 1161399"/>
                    <a:gd name="connsiteX1676" fmla="*/ 11038 w 1661518"/>
                    <a:gd name="connsiteY1676" fmla="*/ 871037 h 1161399"/>
                    <a:gd name="connsiteX1677" fmla="*/ 12349 w 1661518"/>
                    <a:gd name="connsiteY1677" fmla="*/ 870892 h 1161399"/>
                    <a:gd name="connsiteX1678" fmla="*/ 13381 w 1661518"/>
                    <a:gd name="connsiteY1678" fmla="*/ 870977 h 1161399"/>
                    <a:gd name="connsiteX1679" fmla="*/ 24019 w 1661518"/>
                    <a:gd name="connsiteY1679" fmla="*/ 874219 h 1161399"/>
                    <a:gd name="connsiteX1680" fmla="*/ 25901 w 1661518"/>
                    <a:gd name="connsiteY1680" fmla="*/ 874340 h 1161399"/>
                    <a:gd name="connsiteX1681" fmla="*/ 27807 w 1661518"/>
                    <a:gd name="connsiteY1681" fmla="*/ 873939 h 1161399"/>
                    <a:gd name="connsiteX1682" fmla="*/ 29981 w 1661518"/>
                    <a:gd name="connsiteY1682" fmla="*/ 873077 h 1161399"/>
                    <a:gd name="connsiteX1683" fmla="*/ 31827 w 1661518"/>
                    <a:gd name="connsiteY1683" fmla="*/ 871814 h 1161399"/>
                    <a:gd name="connsiteX1684" fmla="*/ 38651 w 1661518"/>
                    <a:gd name="connsiteY1684" fmla="*/ 864116 h 1161399"/>
                    <a:gd name="connsiteX1685" fmla="*/ 52713 w 1661518"/>
                    <a:gd name="connsiteY1685" fmla="*/ 853466 h 1161399"/>
                    <a:gd name="connsiteX1686" fmla="*/ 54206 w 1661518"/>
                    <a:gd name="connsiteY1686" fmla="*/ 852944 h 1161399"/>
                    <a:gd name="connsiteX1687" fmla="*/ 56343 w 1661518"/>
                    <a:gd name="connsiteY1687" fmla="*/ 852604 h 1161399"/>
                    <a:gd name="connsiteX1688" fmla="*/ 61164 w 1661518"/>
                    <a:gd name="connsiteY1688" fmla="*/ 852689 h 1161399"/>
                    <a:gd name="connsiteX1689" fmla="*/ 63520 w 1661518"/>
                    <a:gd name="connsiteY1689" fmla="*/ 852373 h 1161399"/>
                    <a:gd name="connsiteX1690" fmla="*/ 64953 w 1661518"/>
                    <a:gd name="connsiteY1690" fmla="*/ 851827 h 1161399"/>
                    <a:gd name="connsiteX1691" fmla="*/ 67248 w 1661518"/>
                    <a:gd name="connsiteY1691" fmla="*/ 850504 h 1161399"/>
                    <a:gd name="connsiteX1692" fmla="*/ 69142 w 1661518"/>
                    <a:gd name="connsiteY1692" fmla="*/ 848986 h 1161399"/>
                    <a:gd name="connsiteX1693" fmla="*/ 70757 w 1661518"/>
                    <a:gd name="connsiteY1693" fmla="*/ 847237 h 1161399"/>
                    <a:gd name="connsiteX1694" fmla="*/ 72190 w 1661518"/>
                    <a:gd name="connsiteY1694" fmla="*/ 845318 h 1161399"/>
                    <a:gd name="connsiteX1695" fmla="*/ 87526 w 1661518"/>
                    <a:gd name="connsiteY1695" fmla="*/ 815082 h 1161399"/>
                    <a:gd name="connsiteX1696" fmla="*/ 87696 w 1661518"/>
                    <a:gd name="connsiteY1696" fmla="*/ 811464 h 1161399"/>
                    <a:gd name="connsiteX1697" fmla="*/ 86312 w 1661518"/>
                    <a:gd name="connsiteY1697" fmla="*/ 807821 h 1161399"/>
                    <a:gd name="connsiteX1698" fmla="*/ 81601 w 1661518"/>
                    <a:gd name="connsiteY1698" fmla="*/ 801750 h 1161399"/>
                    <a:gd name="connsiteX1699" fmla="*/ 78966 w 1661518"/>
                    <a:gd name="connsiteY1699" fmla="*/ 800147 h 1161399"/>
                    <a:gd name="connsiteX1700" fmla="*/ 76780 w 1661518"/>
                    <a:gd name="connsiteY1700" fmla="*/ 799770 h 1161399"/>
                    <a:gd name="connsiteX1701" fmla="*/ 75177 w 1661518"/>
                    <a:gd name="connsiteY1701" fmla="*/ 800778 h 1161399"/>
                    <a:gd name="connsiteX1702" fmla="*/ 73744 w 1661518"/>
                    <a:gd name="connsiteY1702" fmla="*/ 801410 h 1161399"/>
                    <a:gd name="connsiteX1703" fmla="*/ 72311 w 1661518"/>
                    <a:gd name="connsiteY1703" fmla="*/ 801640 h 1161399"/>
                    <a:gd name="connsiteX1704" fmla="*/ 71097 w 1661518"/>
                    <a:gd name="connsiteY1704" fmla="*/ 801531 h 1161399"/>
                    <a:gd name="connsiteX1705" fmla="*/ 70004 w 1661518"/>
                    <a:gd name="connsiteY1705" fmla="*/ 801094 h 1161399"/>
                    <a:gd name="connsiteX1706" fmla="*/ 68972 w 1661518"/>
                    <a:gd name="connsiteY1706" fmla="*/ 799345 h 1161399"/>
                    <a:gd name="connsiteX1707" fmla="*/ 68170 w 1661518"/>
                    <a:gd name="connsiteY1707" fmla="*/ 796358 h 1161399"/>
                    <a:gd name="connsiteX1708" fmla="*/ 66106 w 1661518"/>
                    <a:gd name="connsiteY1708" fmla="*/ 778957 h 1161399"/>
                    <a:gd name="connsiteX1709" fmla="*/ 62257 w 1661518"/>
                    <a:gd name="connsiteY1709" fmla="*/ 769255 h 1161399"/>
                    <a:gd name="connsiteX1710" fmla="*/ 65523 w 1661518"/>
                    <a:gd name="connsiteY1710" fmla="*/ 767154 h 1161399"/>
                    <a:gd name="connsiteX1711" fmla="*/ 68231 w 1661518"/>
                    <a:gd name="connsiteY1711" fmla="*/ 764665 h 1161399"/>
                    <a:gd name="connsiteX1712" fmla="*/ 69725 w 1661518"/>
                    <a:gd name="connsiteY1712" fmla="*/ 763512 h 1161399"/>
                    <a:gd name="connsiteX1713" fmla="*/ 71850 w 1661518"/>
                    <a:gd name="connsiteY1713" fmla="*/ 762540 h 1161399"/>
                    <a:gd name="connsiteX1714" fmla="*/ 74254 w 1661518"/>
                    <a:gd name="connsiteY1714" fmla="*/ 762018 h 1161399"/>
                    <a:gd name="connsiteX1715" fmla="*/ 78043 w 1661518"/>
                    <a:gd name="connsiteY1715" fmla="*/ 762079 h 1161399"/>
                    <a:gd name="connsiteX1716" fmla="*/ 80799 w 1661518"/>
                    <a:gd name="connsiteY1716" fmla="*/ 762759 h 1161399"/>
                    <a:gd name="connsiteX1717" fmla="*/ 83726 w 1661518"/>
                    <a:gd name="connsiteY1717" fmla="*/ 763827 h 1161399"/>
                    <a:gd name="connsiteX1718" fmla="*/ 87113 w 1661518"/>
                    <a:gd name="connsiteY1718" fmla="*/ 764459 h 1161399"/>
                    <a:gd name="connsiteX1719" fmla="*/ 90853 w 1661518"/>
                    <a:gd name="connsiteY1719" fmla="*/ 764058 h 1161399"/>
                    <a:gd name="connsiteX1720" fmla="*/ 104757 w 1661518"/>
                    <a:gd name="connsiteY1720" fmla="*/ 756857 h 1161399"/>
                    <a:gd name="connsiteX1721" fmla="*/ 116354 w 1661518"/>
                    <a:gd name="connsiteY1721" fmla="*/ 754101 h 1161399"/>
                    <a:gd name="connsiteX1722" fmla="*/ 126736 w 1661518"/>
                    <a:gd name="connsiteY1722" fmla="*/ 747264 h 1161399"/>
                    <a:gd name="connsiteX1723" fmla="*/ 134896 w 1661518"/>
                    <a:gd name="connsiteY1723" fmla="*/ 744362 h 1161399"/>
                    <a:gd name="connsiteX1724" fmla="*/ 136560 w 1661518"/>
                    <a:gd name="connsiteY1724" fmla="*/ 742881 h 1161399"/>
                    <a:gd name="connsiteX1725" fmla="*/ 135807 w 1661518"/>
                    <a:gd name="connsiteY1725" fmla="*/ 740938 h 1161399"/>
                    <a:gd name="connsiteX1726" fmla="*/ 132030 w 1661518"/>
                    <a:gd name="connsiteY1726" fmla="*/ 738278 h 1161399"/>
                    <a:gd name="connsiteX1727" fmla="*/ 130537 w 1661518"/>
                    <a:gd name="connsiteY1727" fmla="*/ 736809 h 1161399"/>
                    <a:gd name="connsiteX1728" fmla="*/ 128521 w 1661518"/>
                    <a:gd name="connsiteY1728" fmla="*/ 733834 h 1161399"/>
                    <a:gd name="connsiteX1729" fmla="*/ 127197 w 1661518"/>
                    <a:gd name="connsiteY1729" fmla="*/ 732620 h 1161399"/>
                    <a:gd name="connsiteX1730" fmla="*/ 125072 w 1661518"/>
                    <a:gd name="connsiteY1730" fmla="*/ 731588 h 1161399"/>
                    <a:gd name="connsiteX1731" fmla="*/ 122717 w 1661518"/>
                    <a:gd name="connsiteY1731" fmla="*/ 731333 h 1161399"/>
                    <a:gd name="connsiteX1732" fmla="*/ 118248 w 1661518"/>
                    <a:gd name="connsiteY1732" fmla="*/ 731551 h 1161399"/>
                    <a:gd name="connsiteX1733" fmla="*/ 116293 w 1661518"/>
                    <a:gd name="connsiteY1733" fmla="*/ 731272 h 1161399"/>
                    <a:gd name="connsiteX1734" fmla="*/ 110598 w 1661518"/>
                    <a:gd name="connsiteY1734" fmla="*/ 729062 h 1161399"/>
                    <a:gd name="connsiteX1735" fmla="*/ 104806 w 1661518"/>
                    <a:gd name="connsiteY1735" fmla="*/ 727969 h 1161399"/>
                    <a:gd name="connsiteX1736" fmla="*/ 103264 w 1661518"/>
                    <a:gd name="connsiteY1736" fmla="*/ 727374 h 1161399"/>
                    <a:gd name="connsiteX1737" fmla="*/ 102171 w 1661518"/>
                    <a:gd name="connsiteY1737" fmla="*/ 726755 h 1161399"/>
                    <a:gd name="connsiteX1738" fmla="*/ 101078 w 1661518"/>
                    <a:gd name="connsiteY1738" fmla="*/ 725759 h 1161399"/>
                    <a:gd name="connsiteX1739" fmla="*/ 99706 w 1661518"/>
                    <a:gd name="connsiteY1739" fmla="*/ 723865 h 1161399"/>
                    <a:gd name="connsiteX1740" fmla="*/ 99062 w 1661518"/>
                    <a:gd name="connsiteY1740" fmla="*/ 721740 h 1161399"/>
                    <a:gd name="connsiteX1741" fmla="*/ 99341 w 1661518"/>
                    <a:gd name="connsiteY1741" fmla="*/ 719068 h 1161399"/>
                    <a:gd name="connsiteX1742" fmla="*/ 105947 w 1661518"/>
                    <a:gd name="connsiteY1742" fmla="*/ 706865 h 1161399"/>
                    <a:gd name="connsiteX1743" fmla="*/ 108364 w 1661518"/>
                    <a:gd name="connsiteY1743" fmla="*/ 703598 h 1161399"/>
                    <a:gd name="connsiteX1744" fmla="*/ 120021 w 1661518"/>
                    <a:gd name="connsiteY1744" fmla="*/ 693204 h 1161399"/>
                    <a:gd name="connsiteX1745" fmla="*/ 123117 w 1661518"/>
                    <a:gd name="connsiteY1745" fmla="*/ 691200 h 1161399"/>
                    <a:gd name="connsiteX1746" fmla="*/ 132771 w 1661518"/>
                    <a:gd name="connsiteY1746" fmla="*/ 688347 h 1161399"/>
                    <a:gd name="connsiteX1747" fmla="*/ 137082 w 1661518"/>
                    <a:gd name="connsiteY1747" fmla="*/ 686914 h 1161399"/>
                    <a:gd name="connsiteX1748" fmla="*/ 147707 w 1661518"/>
                    <a:gd name="connsiteY1748" fmla="*/ 679919 h 1161399"/>
                    <a:gd name="connsiteX1749" fmla="*/ 149710 w 1661518"/>
                    <a:gd name="connsiteY1749" fmla="*/ 679167 h 1161399"/>
                    <a:gd name="connsiteX1750" fmla="*/ 154410 w 1661518"/>
                    <a:gd name="connsiteY1750" fmla="*/ 678134 h 1161399"/>
                    <a:gd name="connsiteX1751" fmla="*/ 155903 w 1661518"/>
                    <a:gd name="connsiteY1751" fmla="*/ 677418 h 1161399"/>
                    <a:gd name="connsiteX1752" fmla="*/ 161647 w 1661518"/>
                    <a:gd name="connsiteY1752" fmla="*/ 672099 h 1161399"/>
                    <a:gd name="connsiteX1753" fmla="*/ 163444 w 1661518"/>
                    <a:gd name="connsiteY1753" fmla="*/ 669865 h 1161399"/>
                    <a:gd name="connsiteX1754" fmla="*/ 165095 w 1661518"/>
                    <a:gd name="connsiteY1754" fmla="*/ 667133 h 1161399"/>
                    <a:gd name="connsiteX1755" fmla="*/ 166589 w 1661518"/>
                    <a:gd name="connsiteY1755" fmla="*/ 663575 h 1161399"/>
                    <a:gd name="connsiteX1756" fmla="*/ 169175 w 1661518"/>
                    <a:gd name="connsiteY1756" fmla="*/ 655706 h 1161399"/>
                    <a:gd name="connsiteX1757" fmla="*/ 170268 w 1661518"/>
                    <a:gd name="connsiteY1757" fmla="*/ 653582 h 1161399"/>
                    <a:gd name="connsiteX1758" fmla="*/ 171871 w 1661518"/>
                    <a:gd name="connsiteY1758" fmla="*/ 651493 h 1161399"/>
                    <a:gd name="connsiteX1759" fmla="*/ 173595 w 1661518"/>
                    <a:gd name="connsiteY1759" fmla="*/ 649708 h 1161399"/>
                    <a:gd name="connsiteX1760" fmla="*/ 175380 w 1661518"/>
                    <a:gd name="connsiteY1760" fmla="*/ 647352 h 1161399"/>
                    <a:gd name="connsiteX1761" fmla="*/ 176923 w 1661518"/>
                    <a:gd name="connsiteY1761" fmla="*/ 644450 h 1161399"/>
                    <a:gd name="connsiteX1762" fmla="*/ 177663 w 1661518"/>
                    <a:gd name="connsiteY1762" fmla="*/ 640285 h 1161399"/>
                    <a:gd name="connsiteX1763" fmla="*/ 177846 w 1661518"/>
                    <a:gd name="connsiteY1763" fmla="*/ 636751 h 1161399"/>
                    <a:gd name="connsiteX1764" fmla="*/ 177627 w 1661518"/>
                    <a:gd name="connsiteY1764" fmla="*/ 633485 h 1161399"/>
                    <a:gd name="connsiteX1765" fmla="*/ 176413 w 1661518"/>
                    <a:gd name="connsiteY1765" fmla="*/ 627401 h 1161399"/>
                    <a:gd name="connsiteX1766" fmla="*/ 173486 w 1661518"/>
                    <a:gd name="connsiteY1766" fmla="*/ 622058 h 1161399"/>
                    <a:gd name="connsiteX1767" fmla="*/ 171580 w 1661518"/>
                    <a:gd name="connsiteY1767" fmla="*/ 619666 h 1161399"/>
                    <a:gd name="connsiteX1768" fmla="*/ 171070 w 1661518"/>
                    <a:gd name="connsiteY1768" fmla="*/ 616861 h 1161399"/>
                    <a:gd name="connsiteX1769" fmla="*/ 170778 w 1661518"/>
                    <a:gd name="connsiteY1769" fmla="*/ 613158 h 1161399"/>
                    <a:gd name="connsiteX1770" fmla="*/ 170960 w 1661518"/>
                    <a:gd name="connsiteY1770" fmla="*/ 606977 h 1161399"/>
                    <a:gd name="connsiteX1771" fmla="*/ 171932 w 1661518"/>
                    <a:gd name="connsiteY1771" fmla="*/ 598744 h 1161399"/>
                    <a:gd name="connsiteX1772" fmla="*/ 179169 w 1661518"/>
                    <a:gd name="connsiteY1772" fmla="*/ 577834 h 1161399"/>
                    <a:gd name="connsiteX1773" fmla="*/ 180711 w 1661518"/>
                    <a:gd name="connsiteY1773" fmla="*/ 575223 h 1161399"/>
                    <a:gd name="connsiteX1774" fmla="*/ 182047 w 1661518"/>
                    <a:gd name="connsiteY1774" fmla="*/ 573511 h 1161399"/>
                    <a:gd name="connsiteX1775" fmla="*/ 183128 w 1661518"/>
                    <a:gd name="connsiteY1775" fmla="*/ 571726 h 1161399"/>
                    <a:gd name="connsiteX1776" fmla="*/ 183237 w 1661518"/>
                    <a:gd name="connsiteY1776" fmla="*/ 570038 h 1161399"/>
                    <a:gd name="connsiteX1777" fmla="*/ 181804 w 1661518"/>
                    <a:gd name="connsiteY1777" fmla="*/ 567877 h 1161399"/>
                    <a:gd name="connsiteX1778" fmla="*/ 179970 w 1661518"/>
                    <a:gd name="connsiteY1778" fmla="*/ 566104 h 1161399"/>
                    <a:gd name="connsiteX1779" fmla="*/ 175830 w 1661518"/>
                    <a:gd name="connsiteY1779" fmla="*/ 562910 h 1161399"/>
                    <a:gd name="connsiteX1780" fmla="*/ 173948 w 1661518"/>
                    <a:gd name="connsiteY1780" fmla="*/ 560700 h 1161399"/>
                    <a:gd name="connsiteX1781" fmla="*/ 172090 w 1661518"/>
                    <a:gd name="connsiteY1781" fmla="*/ 558053 h 1161399"/>
                    <a:gd name="connsiteX1782" fmla="*/ 170438 w 1661518"/>
                    <a:gd name="connsiteY1782" fmla="*/ 554932 h 1161399"/>
                    <a:gd name="connsiteX1783" fmla="*/ 169054 w 1661518"/>
                    <a:gd name="connsiteY1783" fmla="*/ 551520 h 1161399"/>
                    <a:gd name="connsiteX1784" fmla="*/ 168192 w 1661518"/>
                    <a:gd name="connsiteY1784" fmla="*/ 547379 h 1161399"/>
                    <a:gd name="connsiteX1785" fmla="*/ 167560 w 1661518"/>
                    <a:gd name="connsiteY1785" fmla="*/ 537507 h 1161399"/>
                    <a:gd name="connsiteX1786" fmla="*/ 166528 w 1661518"/>
                    <a:gd name="connsiteY1786" fmla="*/ 534168 h 1161399"/>
                    <a:gd name="connsiteX1787" fmla="*/ 164755 w 1661518"/>
                    <a:gd name="connsiteY1787" fmla="*/ 531326 h 1161399"/>
                    <a:gd name="connsiteX1788" fmla="*/ 162108 w 1661518"/>
                    <a:gd name="connsiteY1788" fmla="*/ 529116 h 1161399"/>
                    <a:gd name="connsiteX1789" fmla="*/ 159242 w 1661518"/>
                    <a:gd name="connsiteY1789" fmla="*/ 527368 h 1161399"/>
                    <a:gd name="connsiteX1790" fmla="*/ 156085 w 1661518"/>
                    <a:gd name="connsiteY1790" fmla="*/ 526336 h 1161399"/>
                    <a:gd name="connsiteX1791" fmla="*/ 152977 w 1661518"/>
                    <a:gd name="connsiteY1791" fmla="*/ 525959 h 1161399"/>
                    <a:gd name="connsiteX1792" fmla="*/ 143967 w 1661518"/>
                    <a:gd name="connsiteY1792" fmla="*/ 527222 h 1161399"/>
                    <a:gd name="connsiteX1793" fmla="*/ 141441 w 1661518"/>
                    <a:gd name="connsiteY1793" fmla="*/ 527113 h 1161399"/>
                    <a:gd name="connsiteX1794" fmla="*/ 139437 w 1661518"/>
                    <a:gd name="connsiteY1794" fmla="*/ 526445 h 1161399"/>
                    <a:gd name="connsiteX1795" fmla="*/ 138697 w 1661518"/>
                    <a:gd name="connsiteY1795" fmla="*/ 525048 h 1161399"/>
                    <a:gd name="connsiteX1796" fmla="*/ 139146 w 1661518"/>
                    <a:gd name="connsiteY1796" fmla="*/ 523118 h 1161399"/>
                    <a:gd name="connsiteX1797" fmla="*/ 141441 w 1661518"/>
                    <a:gd name="connsiteY1797" fmla="*/ 520337 h 1161399"/>
                    <a:gd name="connsiteX1798" fmla="*/ 142995 w 1661518"/>
                    <a:gd name="connsiteY1798" fmla="*/ 517799 h 1161399"/>
                    <a:gd name="connsiteX1799" fmla="*/ 143906 w 1661518"/>
                    <a:gd name="connsiteY1799" fmla="*/ 514448 h 1161399"/>
                    <a:gd name="connsiteX1800" fmla="*/ 144027 w 1661518"/>
                    <a:gd name="connsiteY1800" fmla="*/ 511521 h 1161399"/>
                    <a:gd name="connsiteX1801" fmla="*/ 144307 w 1661518"/>
                    <a:gd name="connsiteY1801" fmla="*/ 508995 h 1161399"/>
                    <a:gd name="connsiteX1802" fmla="*/ 145339 w 1661518"/>
                    <a:gd name="connsiteY1802" fmla="*/ 506955 h 1161399"/>
                    <a:gd name="connsiteX1803" fmla="*/ 156085 w 1661518"/>
                    <a:gd name="connsiteY1803" fmla="*/ 497824 h 1161399"/>
                    <a:gd name="connsiteX1804" fmla="*/ 158781 w 1661518"/>
                    <a:gd name="connsiteY1804" fmla="*/ 494752 h 1161399"/>
                    <a:gd name="connsiteX1805" fmla="*/ 160396 w 1661518"/>
                    <a:gd name="connsiteY1805" fmla="*/ 491655 h 1161399"/>
                    <a:gd name="connsiteX1806" fmla="*/ 160044 w 1661518"/>
                    <a:gd name="connsiteY1806" fmla="*/ 487770 h 1161399"/>
                    <a:gd name="connsiteX1807" fmla="*/ 157919 w 1661518"/>
                    <a:gd name="connsiteY1807" fmla="*/ 485511 h 1161399"/>
                    <a:gd name="connsiteX1808" fmla="*/ 154822 w 1661518"/>
                    <a:gd name="connsiteY1808" fmla="*/ 483896 h 1161399"/>
                    <a:gd name="connsiteX1809" fmla="*/ 136669 w 1661518"/>
                    <a:gd name="connsiteY1809" fmla="*/ 478760 h 1161399"/>
                    <a:gd name="connsiteX1810" fmla="*/ 135588 w 1661518"/>
                    <a:gd name="connsiteY1810" fmla="*/ 477533 h 1161399"/>
                    <a:gd name="connsiteX1811" fmla="*/ 135127 w 1661518"/>
                    <a:gd name="connsiteY1811" fmla="*/ 475833 h 1161399"/>
                    <a:gd name="connsiteX1812" fmla="*/ 135066 w 1661518"/>
                    <a:gd name="connsiteY1812" fmla="*/ 474084 h 1161399"/>
                    <a:gd name="connsiteX1813" fmla="*/ 135697 w 1661518"/>
                    <a:gd name="connsiteY1813" fmla="*/ 471583 h 1161399"/>
                    <a:gd name="connsiteX1814" fmla="*/ 136499 w 1661518"/>
                    <a:gd name="connsiteY1814" fmla="*/ 469835 h 1161399"/>
                    <a:gd name="connsiteX1815" fmla="*/ 142012 w 1661518"/>
                    <a:gd name="connsiteY1815" fmla="*/ 460667 h 1161399"/>
                    <a:gd name="connsiteX1816" fmla="*/ 148678 w 1661518"/>
                    <a:gd name="connsiteY1816" fmla="*/ 445342 h 1161399"/>
                    <a:gd name="connsiteX1817" fmla="*/ 148557 w 1661518"/>
                    <a:gd name="connsiteY1817" fmla="*/ 443193 h 1161399"/>
                    <a:gd name="connsiteX1818" fmla="*/ 146602 w 1661518"/>
                    <a:gd name="connsiteY1818" fmla="*/ 439939 h 1161399"/>
                    <a:gd name="connsiteX1819" fmla="*/ 146092 w 1661518"/>
                    <a:gd name="connsiteY1819" fmla="*/ 438056 h 1161399"/>
                    <a:gd name="connsiteX1820" fmla="*/ 145861 w 1661518"/>
                    <a:gd name="connsiteY1820" fmla="*/ 432823 h 1161399"/>
                    <a:gd name="connsiteX1821" fmla="*/ 146274 w 1661518"/>
                    <a:gd name="connsiteY1821" fmla="*/ 426302 h 1161399"/>
                    <a:gd name="connsiteX1822" fmla="*/ 147063 w 1661518"/>
                    <a:gd name="connsiteY1822" fmla="*/ 423946 h 1161399"/>
                    <a:gd name="connsiteX1823" fmla="*/ 148095 w 1661518"/>
                    <a:gd name="connsiteY1823" fmla="*/ 422684 h 1161399"/>
                    <a:gd name="connsiteX1824" fmla="*/ 149990 w 1661518"/>
                    <a:gd name="connsiteY1824" fmla="*/ 422708 h 1161399"/>
                    <a:gd name="connsiteX1825" fmla="*/ 151204 w 1661518"/>
                    <a:gd name="connsiteY1825" fmla="*/ 424128 h 1161399"/>
                    <a:gd name="connsiteX1826" fmla="*/ 152066 w 1661518"/>
                    <a:gd name="connsiteY1826" fmla="*/ 426739 h 1161399"/>
                    <a:gd name="connsiteX1827" fmla="*/ 152867 w 1661518"/>
                    <a:gd name="connsiteY1827" fmla="*/ 431851 h 1161399"/>
                    <a:gd name="connsiteX1828" fmla="*/ 153560 w 1661518"/>
                    <a:gd name="connsiteY1828" fmla="*/ 433661 h 1161399"/>
                    <a:gd name="connsiteX1829" fmla="*/ 154762 w 1661518"/>
                    <a:gd name="connsiteY1829" fmla="*/ 434924 h 1161399"/>
                    <a:gd name="connsiteX1830" fmla="*/ 157870 w 1661518"/>
                    <a:gd name="connsiteY1830" fmla="*/ 436781 h 1161399"/>
                    <a:gd name="connsiteX1831" fmla="*/ 159121 w 1661518"/>
                    <a:gd name="connsiteY1831" fmla="*/ 438105 h 1161399"/>
                    <a:gd name="connsiteX1832" fmla="*/ 161198 w 1661518"/>
                    <a:gd name="connsiteY1832" fmla="*/ 442647 h 1161399"/>
                    <a:gd name="connsiteX1833" fmla="*/ 162570 w 1661518"/>
                    <a:gd name="connsiteY1833" fmla="*/ 444565 h 1161399"/>
                    <a:gd name="connsiteX1834" fmla="*/ 164695 w 1661518"/>
                    <a:gd name="connsiteY1834" fmla="*/ 445864 h 1161399"/>
                    <a:gd name="connsiteX1835" fmla="*/ 166820 w 1661518"/>
                    <a:gd name="connsiteY1835" fmla="*/ 445962 h 1161399"/>
                    <a:gd name="connsiteX1836" fmla="*/ 173948 w 1661518"/>
                    <a:gd name="connsiteY1836" fmla="*/ 445658 h 1161399"/>
                    <a:gd name="connsiteX1837" fmla="*/ 176413 w 1661518"/>
                    <a:gd name="connsiteY1837" fmla="*/ 445148 h 1161399"/>
                    <a:gd name="connsiteX1838" fmla="*/ 178756 w 1661518"/>
                    <a:gd name="connsiteY1838" fmla="*/ 444043 h 1161399"/>
                    <a:gd name="connsiteX1839" fmla="*/ 181063 w 1661518"/>
                    <a:gd name="connsiteY1839" fmla="*/ 442355 h 1161399"/>
                    <a:gd name="connsiteX1840" fmla="*/ 182618 w 1661518"/>
                    <a:gd name="connsiteY1840" fmla="*/ 440169 h 1161399"/>
                    <a:gd name="connsiteX1841" fmla="*/ 183128 w 1661518"/>
                    <a:gd name="connsiteY1841" fmla="*/ 436527 h 1161399"/>
                    <a:gd name="connsiteX1842" fmla="*/ 182958 w 1661518"/>
                    <a:gd name="connsiteY1842" fmla="*/ 433916 h 1161399"/>
                    <a:gd name="connsiteX1843" fmla="*/ 183067 w 1661518"/>
                    <a:gd name="connsiteY1843" fmla="*/ 431524 h 1161399"/>
                    <a:gd name="connsiteX1844" fmla="*/ 183759 w 1661518"/>
                    <a:gd name="connsiteY1844" fmla="*/ 429265 h 1161399"/>
                    <a:gd name="connsiteX1845" fmla="*/ 185083 w 1661518"/>
                    <a:gd name="connsiteY1845" fmla="*/ 426339 h 1161399"/>
                    <a:gd name="connsiteX1846" fmla="*/ 185240 w 1661518"/>
                    <a:gd name="connsiteY1846" fmla="*/ 423546 h 1161399"/>
                    <a:gd name="connsiteX1847" fmla="*/ 184269 w 1661518"/>
                    <a:gd name="connsiteY1847" fmla="*/ 421894 h 1161399"/>
                    <a:gd name="connsiteX1848" fmla="*/ 182836 w 1661518"/>
                    <a:gd name="connsiteY1848" fmla="*/ 420996 h 1161399"/>
                    <a:gd name="connsiteX1849" fmla="*/ 181294 w 1661518"/>
                    <a:gd name="connsiteY1849" fmla="*/ 420850 h 1161399"/>
                    <a:gd name="connsiteX1850" fmla="*/ 179509 w 1661518"/>
                    <a:gd name="connsiteY1850" fmla="*/ 421141 h 1161399"/>
                    <a:gd name="connsiteX1851" fmla="*/ 177663 w 1661518"/>
                    <a:gd name="connsiteY1851" fmla="*/ 421651 h 1161399"/>
                    <a:gd name="connsiteX1852" fmla="*/ 175781 w 1661518"/>
                    <a:gd name="connsiteY1852" fmla="*/ 421894 h 1161399"/>
                    <a:gd name="connsiteX1853" fmla="*/ 173887 w 1661518"/>
                    <a:gd name="connsiteY1853" fmla="*/ 421506 h 1161399"/>
                    <a:gd name="connsiteX1854" fmla="*/ 169467 w 1661518"/>
                    <a:gd name="connsiteY1854" fmla="*/ 420194 h 1161399"/>
                    <a:gd name="connsiteX1855" fmla="*/ 166528 w 1661518"/>
                    <a:gd name="connsiteY1855" fmla="*/ 419903 h 1161399"/>
                    <a:gd name="connsiteX1856" fmla="*/ 160845 w 1661518"/>
                    <a:gd name="connsiteY1856" fmla="*/ 419963 h 1161399"/>
                    <a:gd name="connsiteX1857" fmla="*/ 158732 w 1661518"/>
                    <a:gd name="connsiteY1857" fmla="*/ 419623 h 1161399"/>
                    <a:gd name="connsiteX1858" fmla="*/ 157749 w 1661518"/>
                    <a:gd name="connsiteY1858" fmla="*/ 418956 h 1161399"/>
                    <a:gd name="connsiteX1859" fmla="*/ 157458 w 1661518"/>
                    <a:gd name="connsiteY1859" fmla="*/ 417778 h 1161399"/>
                    <a:gd name="connsiteX1860" fmla="*/ 158611 w 1661518"/>
                    <a:gd name="connsiteY1860" fmla="*/ 411779 h 1161399"/>
                    <a:gd name="connsiteX1861" fmla="*/ 158781 w 1661518"/>
                    <a:gd name="connsiteY1861" fmla="*/ 409423 h 1161399"/>
                    <a:gd name="connsiteX1862" fmla="*/ 158672 w 1661518"/>
                    <a:gd name="connsiteY1862" fmla="*/ 407213 h 1161399"/>
                    <a:gd name="connsiteX1863" fmla="*/ 158028 w 1661518"/>
                    <a:gd name="connsiteY1863" fmla="*/ 404809 h 1161399"/>
                    <a:gd name="connsiteX1864" fmla="*/ 154470 w 1661518"/>
                    <a:gd name="connsiteY1864" fmla="*/ 395811 h 1161399"/>
                    <a:gd name="connsiteX1865" fmla="*/ 154822 w 1661518"/>
                    <a:gd name="connsiteY1865" fmla="*/ 393625 h 1161399"/>
                    <a:gd name="connsiteX1866" fmla="*/ 156195 w 1661518"/>
                    <a:gd name="connsiteY1866" fmla="*/ 392630 h 1161399"/>
                    <a:gd name="connsiteX1867" fmla="*/ 160153 w 1661518"/>
                    <a:gd name="connsiteY1867" fmla="*/ 392654 h 1161399"/>
                    <a:gd name="connsiteX1868" fmla="*/ 163201 w 1661518"/>
                    <a:gd name="connsiteY1868" fmla="*/ 393723 h 1161399"/>
                    <a:gd name="connsiteX1869" fmla="*/ 165848 w 1661518"/>
                    <a:gd name="connsiteY1869" fmla="*/ 395240 h 1161399"/>
                    <a:gd name="connsiteX1870" fmla="*/ 168884 w 1661518"/>
                    <a:gd name="connsiteY1870" fmla="*/ 398543 h 1161399"/>
                    <a:gd name="connsiteX1871" fmla="*/ 170317 w 1661518"/>
                    <a:gd name="connsiteY1871" fmla="*/ 399660 h 1161399"/>
                    <a:gd name="connsiteX1872" fmla="*/ 172150 w 1661518"/>
                    <a:gd name="connsiteY1872" fmla="*/ 400438 h 1161399"/>
                    <a:gd name="connsiteX1873" fmla="*/ 174118 w 1661518"/>
                    <a:gd name="connsiteY1873" fmla="*/ 400875 h 1161399"/>
                    <a:gd name="connsiteX1874" fmla="*/ 176012 w 1661518"/>
                    <a:gd name="connsiteY1874" fmla="*/ 401664 h 1161399"/>
                    <a:gd name="connsiteX1875" fmla="*/ 180140 w 1661518"/>
                    <a:gd name="connsiteY1875" fmla="*/ 404518 h 1161399"/>
                    <a:gd name="connsiteX1876" fmla="*/ 182897 w 1661518"/>
                    <a:gd name="connsiteY1876" fmla="*/ 405829 h 1161399"/>
                    <a:gd name="connsiteX1877" fmla="*/ 185666 w 1661518"/>
                    <a:gd name="connsiteY1877" fmla="*/ 406473 h 1161399"/>
                    <a:gd name="connsiteX1878" fmla="*/ 188240 w 1661518"/>
                    <a:gd name="connsiteY1878" fmla="*/ 406266 h 1161399"/>
                    <a:gd name="connsiteX1879" fmla="*/ 189733 w 1661518"/>
                    <a:gd name="connsiteY1879" fmla="*/ 405829 h 1161399"/>
                    <a:gd name="connsiteX1880" fmla="*/ 191810 w 1661518"/>
                    <a:gd name="connsiteY1880" fmla="*/ 404542 h 1161399"/>
                    <a:gd name="connsiteX1881" fmla="*/ 197201 w 1661518"/>
                    <a:gd name="connsiteY1881" fmla="*/ 399916 h 1161399"/>
                    <a:gd name="connsiteX1882" fmla="*/ 198294 w 1661518"/>
                    <a:gd name="connsiteY1882" fmla="*/ 399405 h 1161399"/>
                    <a:gd name="connsiteX1883" fmla="*/ 199436 w 1661518"/>
                    <a:gd name="connsiteY1883" fmla="*/ 399491 h 1161399"/>
                    <a:gd name="connsiteX1884" fmla="*/ 202532 w 1661518"/>
                    <a:gd name="connsiteY1884" fmla="*/ 400948 h 1161399"/>
                    <a:gd name="connsiteX1885" fmla="*/ 203746 w 1661518"/>
                    <a:gd name="connsiteY1885" fmla="*/ 401324 h 1161399"/>
                    <a:gd name="connsiteX1886" fmla="*/ 204948 w 1661518"/>
                    <a:gd name="connsiteY1886" fmla="*/ 401324 h 1161399"/>
                    <a:gd name="connsiteX1887" fmla="*/ 206151 w 1661518"/>
                    <a:gd name="connsiteY1887" fmla="*/ 400778 h 1161399"/>
                    <a:gd name="connsiteX1888" fmla="*/ 207013 w 1661518"/>
                    <a:gd name="connsiteY1888" fmla="*/ 399782 h 1161399"/>
                    <a:gd name="connsiteX1889" fmla="*/ 207814 w 1661518"/>
                    <a:gd name="connsiteY1889" fmla="*/ 398082 h 1161399"/>
                    <a:gd name="connsiteX1890" fmla="*/ 208555 w 1661518"/>
                    <a:gd name="connsiteY1890" fmla="*/ 393625 h 1161399"/>
                    <a:gd name="connsiteX1891" fmla="*/ 208458 w 1661518"/>
                    <a:gd name="connsiteY1891" fmla="*/ 391051 h 1161399"/>
                    <a:gd name="connsiteX1892" fmla="*/ 206734 w 1661518"/>
                    <a:gd name="connsiteY1892" fmla="*/ 383583 h 1161399"/>
                    <a:gd name="connsiteX1893" fmla="*/ 207122 w 1661518"/>
                    <a:gd name="connsiteY1893" fmla="*/ 382284 h 1161399"/>
                    <a:gd name="connsiteX1894" fmla="*/ 207474 w 1661518"/>
                    <a:gd name="connsiteY1894" fmla="*/ 381604 h 1161399"/>
                    <a:gd name="connsiteX1895" fmla="*/ 208045 w 1661518"/>
                    <a:gd name="connsiteY1895" fmla="*/ 380888 h 1161399"/>
                    <a:gd name="connsiteX1896" fmla="*/ 210461 w 1661518"/>
                    <a:gd name="connsiteY1896" fmla="*/ 378848 h 1161399"/>
                    <a:gd name="connsiteX1897" fmla="*/ 211494 w 1661518"/>
                    <a:gd name="connsiteY1897" fmla="*/ 377670 h 1161399"/>
                    <a:gd name="connsiteX1898" fmla="*/ 212186 w 1661518"/>
                    <a:gd name="connsiteY1898" fmla="*/ 376662 h 1161399"/>
                    <a:gd name="connsiteX1899" fmla="*/ 212696 w 1661518"/>
                    <a:gd name="connsiteY1899" fmla="*/ 375545 h 1161399"/>
                    <a:gd name="connsiteX1900" fmla="*/ 213388 w 1661518"/>
                    <a:gd name="connsiteY1900" fmla="*/ 372910 h 1161399"/>
                    <a:gd name="connsiteX1901" fmla="*/ 213667 w 1661518"/>
                    <a:gd name="connsiteY1901" fmla="*/ 372072 h 1161399"/>
                    <a:gd name="connsiteX1902" fmla="*/ 214129 w 1661518"/>
                    <a:gd name="connsiteY1902" fmla="*/ 371149 h 1161399"/>
                    <a:gd name="connsiteX1903" fmla="*/ 215914 w 1661518"/>
                    <a:gd name="connsiteY1903" fmla="*/ 370347 h 1161399"/>
                    <a:gd name="connsiteX1904" fmla="*/ 218731 w 1661518"/>
                    <a:gd name="connsiteY1904" fmla="*/ 370007 h 1161399"/>
                    <a:gd name="connsiteX1905" fmla="*/ 227802 w 1661518"/>
                    <a:gd name="connsiteY1905" fmla="*/ 371040 h 1161399"/>
                    <a:gd name="connsiteX1906" fmla="*/ 233205 w 1661518"/>
                    <a:gd name="connsiteY1906" fmla="*/ 371125 h 1161399"/>
                    <a:gd name="connsiteX1907" fmla="*/ 239969 w 1661518"/>
                    <a:gd name="connsiteY1907" fmla="*/ 369522 h 1161399"/>
                    <a:gd name="connsiteX1908" fmla="*/ 246295 w 1661518"/>
                    <a:gd name="connsiteY1908" fmla="*/ 367567 h 1161399"/>
                    <a:gd name="connsiteX1909" fmla="*/ 247971 w 1661518"/>
                    <a:gd name="connsiteY1909" fmla="*/ 367275 h 1161399"/>
                    <a:gd name="connsiteX1910" fmla="*/ 249040 w 1661518"/>
                    <a:gd name="connsiteY1910" fmla="*/ 367275 h 1161399"/>
                    <a:gd name="connsiteX1911" fmla="*/ 249853 w 1661518"/>
                    <a:gd name="connsiteY1911" fmla="*/ 367567 h 1161399"/>
                    <a:gd name="connsiteX1912" fmla="*/ 249853 w 1661518"/>
                    <a:gd name="connsiteY1912" fmla="*/ 368429 h 1161399"/>
                    <a:gd name="connsiteX1913" fmla="*/ 249282 w 1661518"/>
                    <a:gd name="connsiteY1913" fmla="*/ 370408 h 1161399"/>
                    <a:gd name="connsiteX1914" fmla="*/ 247218 w 1661518"/>
                    <a:gd name="connsiteY1914" fmla="*/ 373213 h 1161399"/>
                    <a:gd name="connsiteX1915" fmla="*/ 243818 w 1661518"/>
                    <a:gd name="connsiteY1915" fmla="*/ 379880 h 1161399"/>
                    <a:gd name="connsiteX1916" fmla="*/ 244110 w 1661518"/>
                    <a:gd name="connsiteY1916" fmla="*/ 381798 h 1161399"/>
                    <a:gd name="connsiteX1917" fmla="*/ 244401 w 1661518"/>
                    <a:gd name="connsiteY1917" fmla="*/ 382466 h 1161399"/>
                    <a:gd name="connsiteX1918" fmla="*/ 245312 w 1661518"/>
                    <a:gd name="connsiteY1918" fmla="*/ 383960 h 1161399"/>
                    <a:gd name="connsiteX1919" fmla="*/ 248760 w 1661518"/>
                    <a:gd name="connsiteY1919" fmla="*/ 388088 h 1161399"/>
                    <a:gd name="connsiteX1920" fmla="*/ 249452 w 1661518"/>
                    <a:gd name="connsiteY1920" fmla="*/ 390213 h 1161399"/>
                    <a:gd name="connsiteX1921" fmla="*/ 249222 w 1661518"/>
                    <a:gd name="connsiteY1921" fmla="*/ 392083 h 1161399"/>
                    <a:gd name="connsiteX1922" fmla="*/ 248068 w 1661518"/>
                    <a:gd name="connsiteY1922" fmla="*/ 393237 h 1161399"/>
                    <a:gd name="connsiteX1923" fmla="*/ 246356 w 1661518"/>
                    <a:gd name="connsiteY1923" fmla="*/ 393917 h 1161399"/>
                    <a:gd name="connsiteX1924" fmla="*/ 244450 w 1661518"/>
                    <a:gd name="connsiteY1924" fmla="*/ 393723 h 1161399"/>
                    <a:gd name="connsiteX1925" fmla="*/ 242276 w 1661518"/>
                    <a:gd name="connsiteY1925" fmla="*/ 393031 h 1161399"/>
                    <a:gd name="connsiteX1926" fmla="*/ 239398 w 1661518"/>
                    <a:gd name="connsiteY1926" fmla="*/ 391743 h 1161399"/>
                    <a:gd name="connsiteX1927" fmla="*/ 237564 w 1661518"/>
                    <a:gd name="connsiteY1927" fmla="*/ 391488 h 1161399"/>
                    <a:gd name="connsiteX1928" fmla="*/ 236302 w 1661518"/>
                    <a:gd name="connsiteY1928" fmla="*/ 391816 h 1161399"/>
                    <a:gd name="connsiteX1929" fmla="*/ 235609 w 1661518"/>
                    <a:gd name="connsiteY1929" fmla="*/ 392691 h 1161399"/>
                    <a:gd name="connsiteX1930" fmla="*/ 235148 w 1661518"/>
                    <a:gd name="connsiteY1930" fmla="*/ 393723 h 1161399"/>
                    <a:gd name="connsiteX1931" fmla="*/ 234917 w 1661518"/>
                    <a:gd name="connsiteY1931" fmla="*/ 395216 h 1161399"/>
                    <a:gd name="connsiteX1932" fmla="*/ 235099 w 1661518"/>
                    <a:gd name="connsiteY1932" fmla="*/ 396819 h 1161399"/>
                    <a:gd name="connsiteX1933" fmla="*/ 236642 w 1661518"/>
                    <a:gd name="connsiteY1933" fmla="*/ 398883 h 1161399"/>
                    <a:gd name="connsiteX1934" fmla="*/ 239398 w 1661518"/>
                    <a:gd name="connsiteY1934" fmla="*/ 400438 h 1161399"/>
                    <a:gd name="connsiteX1935" fmla="*/ 244972 w 1661518"/>
                    <a:gd name="connsiteY1935" fmla="*/ 401591 h 1161399"/>
                    <a:gd name="connsiteX1936" fmla="*/ 249452 w 1661518"/>
                    <a:gd name="connsiteY1936" fmla="*/ 401433 h 1161399"/>
                    <a:gd name="connsiteX1937" fmla="*/ 253690 w 1661518"/>
                    <a:gd name="connsiteY1937" fmla="*/ 400778 h 1161399"/>
                    <a:gd name="connsiteX1938" fmla="*/ 261729 w 1661518"/>
                    <a:gd name="connsiteY1938" fmla="*/ 398191 h 1161399"/>
                    <a:gd name="connsiteX1939" fmla="*/ 263745 w 1661518"/>
                    <a:gd name="connsiteY1939" fmla="*/ 398191 h 1161399"/>
                    <a:gd name="connsiteX1940" fmla="*/ 265129 w 1661518"/>
                    <a:gd name="connsiteY1940" fmla="*/ 398713 h 1161399"/>
                    <a:gd name="connsiteX1941" fmla="*/ 265469 w 1661518"/>
                    <a:gd name="connsiteY1941" fmla="*/ 399940 h 1161399"/>
                    <a:gd name="connsiteX1942" fmla="*/ 265238 w 1661518"/>
                    <a:gd name="connsiteY1942" fmla="*/ 401069 h 1161399"/>
                    <a:gd name="connsiteX1943" fmla="*/ 264437 w 1661518"/>
                    <a:gd name="connsiteY1943" fmla="*/ 402648 h 1161399"/>
                    <a:gd name="connsiteX1944" fmla="*/ 263065 w 1661518"/>
                    <a:gd name="connsiteY1944" fmla="*/ 404433 h 1161399"/>
                    <a:gd name="connsiteX1945" fmla="*/ 261219 w 1661518"/>
                    <a:gd name="connsiteY1945" fmla="*/ 406315 h 1161399"/>
                    <a:gd name="connsiteX1946" fmla="*/ 258693 w 1661518"/>
                    <a:gd name="connsiteY1946" fmla="*/ 408100 h 1161399"/>
                    <a:gd name="connsiteX1947" fmla="*/ 255706 w 1661518"/>
                    <a:gd name="connsiteY1947" fmla="*/ 409630 h 1161399"/>
                    <a:gd name="connsiteX1948" fmla="*/ 252318 w 1661518"/>
                    <a:gd name="connsiteY1948" fmla="*/ 410601 h 1161399"/>
                    <a:gd name="connsiteX1949" fmla="*/ 248942 w 1661518"/>
                    <a:gd name="connsiteY1949" fmla="*/ 411087 h 1161399"/>
                    <a:gd name="connsiteX1950" fmla="*/ 244923 w 1661518"/>
                    <a:gd name="connsiteY1950" fmla="*/ 411208 h 1161399"/>
                    <a:gd name="connsiteX1951" fmla="*/ 241523 w 1661518"/>
                    <a:gd name="connsiteY1951" fmla="*/ 410893 h 1161399"/>
                    <a:gd name="connsiteX1952" fmla="*/ 238317 w 1661518"/>
                    <a:gd name="connsiteY1952" fmla="*/ 410018 h 1161399"/>
                    <a:gd name="connsiteX1953" fmla="*/ 235488 w 1661518"/>
                    <a:gd name="connsiteY1953" fmla="*/ 408683 h 1161399"/>
                    <a:gd name="connsiteX1954" fmla="*/ 233205 w 1661518"/>
                    <a:gd name="connsiteY1954" fmla="*/ 406752 h 1161399"/>
                    <a:gd name="connsiteX1955" fmla="*/ 229004 w 1661518"/>
                    <a:gd name="connsiteY1955" fmla="*/ 402126 h 1161399"/>
                    <a:gd name="connsiteX1956" fmla="*/ 227122 w 1661518"/>
                    <a:gd name="connsiteY1956" fmla="*/ 400523 h 1161399"/>
                    <a:gd name="connsiteX1957" fmla="*/ 225446 w 1661518"/>
                    <a:gd name="connsiteY1957" fmla="*/ 399940 h 1161399"/>
                    <a:gd name="connsiteX1958" fmla="*/ 224195 w 1661518"/>
                    <a:gd name="connsiteY1958" fmla="*/ 400523 h 1161399"/>
                    <a:gd name="connsiteX1959" fmla="*/ 223491 w 1661518"/>
                    <a:gd name="connsiteY1959" fmla="*/ 401871 h 1161399"/>
                    <a:gd name="connsiteX1960" fmla="*/ 223612 w 1661518"/>
                    <a:gd name="connsiteY1960" fmla="*/ 403510 h 1161399"/>
                    <a:gd name="connsiteX1961" fmla="*/ 224414 w 1661518"/>
                    <a:gd name="connsiteY1961" fmla="*/ 405659 h 1161399"/>
                    <a:gd name="connsiteX1962" fmla="*/ 227000 w 1661518"/>
                    <a:gd name="connsiteY1962" fmla="*/ 409861 h 1161399"/>
                    <a:gd name="connsiteX1963" fmla="*/ 228032 w 1661518"/>
                    <a:gd name="connsiteY1963" fmla="*/ 412095 h 1161399"/>
                    <a:gd name="connsiteX1964" fmla="*/ 228615 w 1661518"/>
                    <a:gd name="connsiteY1964" fmla="*/ 414851 h 1161399"/>
                    <a:gd name="connsiteX1965" fmla="*/ 228142 w 1661518"/>
                    <a:gd name="connsiteY1965" fmla="*/ 417146 h 1161399"/>
                    <a:gd name="connsiteX1966" fmla="*/ 226939 w 1661518"/>
                    <a:gd name="connsiteY1966" fmla="*/ 418846 h 1161399"/>
                    <a:gd name="connsiteX1967" fmla="*/ 223042 w 1661518"/>
                    <a:gd name="connsiteY1967" fmla="*/ 421858 h 1161399"/>
                    <a:gd name="connsiteX1968" fmla="*/ 221706 w 1661518"/>
                    <a:gd name="connsiteY1968" fmla="*/ 424092 h 1161399"/>
                    <a:gd name="connsiteX1969" fmla="*/ 221366 w 1661518"/>
                    <a:gd name="connsiteY1969" fmla="*/ 426508 h 1161399"/>
                    <a:gd name="connsiteX1970" fmla="*/ 221949 w 1661518"/>
                    <a:gd name="connsiteY1970" fmla="*/ 428925 h 1161399"/>
                    <a:gd name="connsiteX1971" fmla="*/ 223260 w 1661518"/>
                    <a:gd name="connsiteY1971" fmla="*/ 430844 h 1161399"/>
                    <a:gd name="connsiteX1972" fmla="*/ 225166 w 1661518"/>
                    <a:gd name="connsiteY1972" fmla="*/ 432616 h 1161399"/>
                    <a:gd name="connsiteX1973" fmla="*/ 227340 w 1661518"/>
                    <a:gd name="connsiteY1973" fmla="*/ 434001 h 1161399"/>
                    <a:gd name="connsiteX1974" fmla="*/ 230558 w 1661518"/>
                    <a:gd name="connsiteY1974" fmla="*/ 434827 h 1161399"/>
                    <a:gd name="connsiteX1975" fmla="*/ 234577 w 1661518"/>
                    <a:gd name="connsiteY1975" fmla="*/ 434948 h 1161399"/>
                    <a:gd name="connsiteX1976" fmla="*/ 241462 w 1661518"/>
                    <a:gd name="connsiteY1976" fmla="*/ 434171 h 1161399"/>
                    <a:gd name="connsiteX1977" fmla="*/ 247036 w 1661518"/>
                    <a:gd name="connsiteY1977" fmla="*/ 434049 h 1161399"/>
                    <a:gd name="connsiteX1978" fmla="*/ 253241 w 1661518"/>
                    <a:gd name="connsiteY1978" fmla="*/ 435057 h 1161399"/>
                    <a:gd name="connsiteX1979" fmla="*/ 261790 w 1661518"/>
                    <a:gd name="connsiteY1979" fmla="*/ 438056 h 1161399"/>
                    <a:gd name="connsiteX1980" fmla="*/ 267242 w 1661518"/>
                    <a:gd name="connsiteY1980" fmla="*/ 438797 h 1161399"/>
                    <a:gd name="connsiteX1981" fmla="*/ 273168 w 1661518"/>
                    <a:gd name="connsiteY1981" fmla="*/ 438360 h 1161399"/>
                    <a:gd name="connsiteX1982" fmla="*/ 292293 w 1661518"/>
                    <a:gd name="connsiteY1982" fmla="*/ 433855 h 1161399"/>
                    <a:gd name="connsiteX1983" fmla="*/ 301363 w 1661518"/>
                    <a:gd name="connsiteY1983" fmla="*/ 433515 h 1161399"/>
                    <a:gd name="connsiteX1984" fmla="*/ 310835 w 1661518"/>
                    <a:gd name="connsiteY1984" fmla="*/ 431329 h 1161399"/>
                    <a:gd name="connsiteX1985" fmla="*/ 323694 w 1661518"/>
                    <a:gd name="connsiteY1985" fmla="*/ 424092 h 1161399"/>
                    <a:gd name="connsiteX1986" fmla="*/ 326451 w 1661518"/>
                    <a:gd name="connsiteY1986" fmla="*/ 423157 h 1161399"/>
                    <a:gd name="connsiteX1987" fmla="*/ 329268 w 1661518"/>
                    <a:gd name="connsiteY1987" fmla="*/ 423036 h 1161399"/>
                    <a:gd name="connsiteX1988" fmla="*/ 331454 w 1661518"/>
                    <a:gd name="connsiteY1988" fmla="*/ 423546 h 1161399"/>
                    <a:gd name="connsiteX1989" fmla="*/ 333105 w 1661518"/>
                    <a:gd name="connsiteY1989" fmla="*/ 424724 h 1161399"/>
                    <a:gd name="connsiteX1990" fmla="*/ 335752 w 1661518"/>
                    <a:gd name="connsiteY1990" fmla="*/ 427201 h 1161399"/>
                    <a:gd name="connsiteX1991" fmla="*/ 341666 w 1661518"/>
                    <a:gd name="connsiteY1991" fmla="*/ 435458 h 1161399"/>
                    <a:gd name="connsiteX1992" fmla="*/ 342637 w 1661518"/>
                    <a:gd name="connsiteY1992" fmla="*/ 439489 h 1161399"/>
                    <a:gd name="connsiteX1993" fmla="*/ 342479 w 1661518"/>
                    <a:gd name="connsiteY1993" fmla="*/ 441918 h 1161399"/>
                    <a:gd name="connsiteX1994" fmla="*/ 341727 w 1661518"/>
                    <a:gd name="connsiteY1994" fmla="*/ 443934 h 1161399"/>
                    <a:gd name="connsiteX1995" fmla="*/ 341727 w 1661518"/>
                    <a:gd name="connsiteY1995" fmla="*/ 446180 h 1161399"/>
                    <a:gd name="connsiteX1996" fmla="*/ 342929 w 1661518"/>
                    <a:gd name="connsiteY1996" fmla="*/ 448706 h 1161399"/>
                    <a:gd name="connsiteX1997" fmla="*/ 346657 w 1661518"/>
                    <a:gd name="connsiteY1997" fmla="*/ 452373 h 1161399"/>
                    <a:gd name="connsiteX1998" fmla="*/ 352182 w 1661518"/>
                    <a:gd name="connsiteY1998" fmla="*/ 459039 h 1161399"/>
                    <a:gd name="connsiteX1999" fmla="*/ 353214 w 1661518"/>
                    <a:gd name="connsiteY1999" fmla="*/ 475979 h 1161399"/>
                    <a:gd name="connsiteX2000" fmla="*/ 353044 w 1661518"/>
                    <a:gd name="connsiteY2000" fmla="*/ 478614 h 1161399"/>
                    <a:gd name="connsiteX2001" fmla="*/ 352801 w 1661518"/>
                    <a:gd name="connsiteY2001" fmla="*/ 479330 h 1161399"/>
                    <a:gd name="connsiteX2002" fmla="*/ 352182 w 1661518"/>
                    <a:gd name="connsiteY2002" fmla="*/ 480460 h 1161399"/>
                    <a:gd name="connsiteX2003" fmla="*/ 350627 w 1661518"/>
                    <a:gd name="connsiteY2003" fmla="*/ 482670 h 1161399"/>
                    <a:gd name="connsiteX2004" fmla="*/ 348442 w 1661518"/>
                    <a:gd name="connsiteY2004" fmla="*/ 484272 h 1161399"/>
                    <a:gd name="connsiteX2005" fmla="*/ 346207 w 1661518"/>
                    <a:gd name="connsiteY2005" fmla="*/ 484795 h 1161399"/>
                    <a:gd name="connsiteX2006" fmla="*/ 343912 w 1661518"/>
                    <a:gd name="connsiteY2006" fmla="*/ 484163 h 1161399"/>
                    <a:gd name="connsiteX2007" fmla="*/ 337707 w 1661518"/>
                    <a:gd name="connsiteY2007" fmla="*/ 479998 h 1161399"/>
                    <a:gd name="connsiteX2008" fmla="*/ 334902 w 1661518"/>
                    <a:gd name="connsiteY2008" fmla="*/ 479561 h 1161399"/>
                    <a:gd name="connsiteX2009" fmla="*/ 332717 w 1661518"/>
                    <a:gd name="connsiteY2009" fmla="*/ 480132 h 1161399"/>
                    <a:gd name="connsiteX2010" fmla="*/ 330579 w 1661518"/>
                    <a:gd name="connsiteY2010" fmla="*/ 482099 h 1161399"/>
                    <a:gd name="connsiteX2011" fmla="*/ 328867 w 1661518"/>
                    <a:gd name="connsiteY2011" fmla="*/ 485025 h 1161399"/>
                    <a:gd name="connsiteX2012" fmla="*/ 327021 w 1661518"/>
                    <a:gd name="connsiteY2012" fmla="*/ 490757 h 1161399"/>
                    <a:gd name="connsiteX2013" fmla="*/ 326864 w 1661518"/>
                    <a:gd name="connsiteY2013" fmla="*/ 493950 h 1161399"/>
                    <a:gd name="connsiteX2014" fmla="*/ 327422 w 1661518"/>
                    <a:gd name="connsiteY2014" fmla="*/ 496622 h 1161399"/>
                    <a:gd name="connsiteX2015" fmla="*/ 328114 w 1661518"/>
                    <a:gd name="connsiteY2015" fmla="*/ 498808 h 1161399"/>
                    <a:gd name="connsiteX2016" fmla="*/ 329147 w 1661518"/>
                    <a:gd name="connsiteY2016" fmla="*/ 507235 h 1161399"/>
                    <a:gd name="connsiteX2017" fmla="*/ 330130 w 1661518"/>
                    <a:gd name="connsiteY2017" fmla="*/ 510222 h 1161399"/>
                    <a:gd name="connsiteX2018" fmla="*/ 331502 w 1661518"/>
                    <a:gd name="connsiteY2018" fmla="*/ 511873 h 1161399"/>
                    <a:gd name="connsiteX2019" fmla="*/ 333469 w 1661518"/>
                    <a:gd name="connsiteY2019" fmla="*/ 512954 h 1161399"/>
                    <a:gd name="connsiteX2020" fmla="*/ 335522 w 1661518"/>
                    <a:gd name="connsiteY2020" fmla="*/ 513707 h 1161399"/>
                    <a:gd name="connsiteX2021" fmla="*/ 337185 w 1661518"/>
                    <a:gd name="connsiteY2021" fmla="*/ 514508 h 1161399"/>
                    <a:gd name="connsiteX2022" fmla="*/ 338557 w 1661518"/>
                    <a:gd name="connsiteY2022" fmla="*/ 515820 h 1161399"/>
                    <a:gd name="connsiteX2023" fmla="*/ 339310 w 1661518"/>
                    <a:gd name="connsiteY2023" fmla="*/ 517374 h 1161399"/>
                    <a:gd name="connsiteX2024" fmla="*/ 339954 w 1661518"/>
                    <a:gd name="connsiteY2024" fmla="*/ 520106 h 1161399"/>
                    <a:gd name="connsiteX2025" fmla="*/ 339650 w 1661518"/>
                    <a:gd name="connsiteY2025" fmla="*/ 524150 h 1161399"/>
                    <a:gd name="connsiteX2026" fmla="*/ 338217 w 1661518"/>
                    <a:gd name="connsiteY2026" fmla="*/ 528230 h 1161399"/>
                    <a:gd name="connsiteX2027" fmla="*/ 331502 w 1661518"/>
                    <a:gd name="connsiteY2027" fmla="*/ 536208 h 1161399"/>
                    <a:gd name="connsiteX2028" fmla="*/ 329389 w 1661518"/>
                    <a:gd name="connsiteY2028" fmla="*/ 540494 h 1161399"/>
                    <a:gd name="connsiteX2029" fmla="*/ 329147 w 1661518"/>
                    <a:gd name="connsiteY2029" fmla="*/ 544101 h 1161399"/>
                    <a:gd name="connsiteX2030" fmla="*/ 330130 w 1661518"/>
                    <a:gd name="connsiteY2030" fmla="*/ 547780 h 1161399"/>
                    <a:gd name="connsiteX2031" fmla="*/ 332304 w 1661518"/>
                    <a:gd name="connsiteY2031" fmla="*/ 550221 h 1161399"/>
                    <a:gd name="connsiteX2032" fmla="*/ 340112 w 1661518"/>
                    <a:gd name="connsiteY2032" fmla="*/ 554580 h 1161399"/>
                    <a:gd name="connsiteX2033" fmla="*/ 341204 w 1661518"/>
                    <a:gd name="connsiteY2033" fmla="*/ 556742 h 1161399"/>
                    <a:gd name="connsiteX2034" fmla="*/ 340342 w 1661518"/>
                    <a:gd name="connsiteY2034" fmla="*/ 558830 h 1161399"/>
                    <a:gd name="connsiteX2035" fmla="*/ 338047 w 1661518"/>
                    <a:gd name="connsiteY2035" fmla="*/ 562279 h 1161399"/>
                    <a:gd name="connsiteX2036" fmla="*/ 332656 w 1661518"/>
                    <a:gd name="connsiteY2036" fmla="*/ 567245 h 1161399"/>
                    <a:gd name="connsiteX2037" fmla="*/ 330009 w 1661518"/>
                    <a:gd name="connsiteY2037" fmla="*/ 571204 h 1161399"/>
                    <a:gd name="connsiteX2038" fmla="*/ 328406 w 1661518"/>
                    <a:gd name="connsiteY2038" fmla="*/ 574142 h 1161399"/>
                    <a:gd name="connsiteX2039" fmla="*/ 327714 w 1661518"/>
                    <a:gd name="connsiteY2039" fmla="*/ 576267 h 1161399"/>
                    <a:gd name="connsiteX2040" fmla="*/ 326050 w 1661518"/>
                    <a:gd name="connsiteY2040" fmla="*/ 578101 h 1161399"/>
                    <a:gd name="connsiteX2041" fmla="*/ 325407 w 1661518"/>
                    <a:gd name="connsiteY2041" fmla="*/ 578247 h 1161399"/>
                    <a:gd name="connsiteX2042" fmla="*/ 324666 w 1661518"/>
                    <a:gd name="connsiteY2042" fmla="*/ 578040 h 1161399"/>
                    <a:gd name="connsiteX2043" fmla="*/ 322784 w 1661518"/>
                    <a:gd name="connsiteY2043" fmla="*/ 577154 h 1161399"/>
                    <a:gd name="connsiteX2044" fmla="*/ 319104 w 1661518"/>
                    <a:gd name="connsiteY2044" fmla="*/ 573960 h 1161399"/>
                    <a:gd name="connsiteX2045" fmla="*/ 317307 w 1661518"/>
                    <a:gd name="connsiteY2045" fmla="*/ 573365 h 1161399"/>
                    <a:gd name="connsiteX2046" fmla="*/ 315304 w 1661518"/>
                    <a:gd name="connsiteY2046" fmla="*/ 573790 h 1161399"/>
                    <a:gd name="connsiteX2047" fmla="*/ 310094 w 1661518"/>
                    <a:gd name="connsiteY2047" fmla="*/ 578332 h 1161399"/>
                    <a:gd name="connsiteX2048" fmla="*/ 307969 w 1661518"/>
                    <a:gd name="connsiteY2048" fmla="*/ 579133 h 1161399"/>
                    <a:gd name="connsiteX2049" fmla="*/ 305723 w 1661518"/>
                    <a:gd name="connsiteY2049" fmla="*/ 579194 h 1161399"/>
                    <a:gd name="connsiteX2050" fmla="*/ 303367 w 1661518"/>
                    <a:gd name="connsiteY2050" fmla="*/ 578356 h 1161399"/>
                    <a:gd name="connsiteX2051" fmla="*/ 301023 w 1661518"/>
                    <a:gd name="connsiteY2051" fmla="*/ 576377 h 1161399"/>
                    <a:gd name="connsiteX2052" fmla="*/ 299627 w 1661518"/>
                    <a:gd name="connsiteY2052" fmla="*/ 575624 h 1161399"/>
                    <a:gd name="connsiteX2053" fmla="*/ 296822 w 1661518"/>
                    <a:gd name="connsiteY2053" fmla="*/ 574883 h 1161399"/>
                    <a:gd name="connsiteX2054" fmla="*/ 295450 w 1661518"/>
                    <a:gd name="connsiteY2054" fmla="*/ 574106 h 1161399"/>
                    <a:gd name="connsiteX2055" fmla="*/ 292050 w 1661518"/>
                    <a:gd name="connsiteY2055" fmla="*/ 571204 h 1161399"/>
                    <a:gd name="connsiteX2056" fmla="*/ 290216 w 1661518"/>
                    <a:gd name="connsiteY2056" fmla="*/ 570038 h 1161399"/>
                    <a:gd name="connsiteX2057" fmla="*/ 288443 w 1661518"/>
                    <a:gd name="connsiteY2057" fmla="*/ 569771 h 1161399"/>
                    <a:gd name="connsiteX2058" fmla="*/ 287351 w 1661518"/>
                    <a:gd name="connsiteY2058" fmla="*/ 570062 h 1161399"/>
                    <a:gd name="connsiteX2059" fmla="*/ 285347 w 1661518"/>
                    <a:gd name="connsiteY2059" fmla="*/ 571095 h 1161399"/>
                    <a:gd name="connsiteX2060" fmla="*/ 283489 w 1661518"/>
                    <a:gd name="connsiteY2060" fmla="*/ 575405 h 1161399"/>
                    <a:gd name="connsiteX2061" fmla="*/ 280295 w 1661518"/>
                    <a:gd name="connsiteY2061" fmla="*/ 580457 h 1161399"/>
                    <a:gd name="connsiteX2062" fmla="*/ 280514 w 1661518"/>
                    <a:gd name="connsiteY2062" fmla="*/ 582290 h 1161399"/>
                    <a:gd name="connsiteX2063" fmla="*/ 281085 w 1661518"/>
                    <a:gd name="connsiteY2063" fmla="*/ 590183 h 1161399"/>
                    <a:gd name="connsiteX2064" fmla="*/ 283161 w 1661518"/>
                    <a:gd name="connsiteY2064" fmla="*/ 593778 h 1161399"/>
                    <a:gd name="connsiteX2065" fmla="*/ 284303 w 1661518"/>
                    <a:gd name="connsiteY2065" fmla="*/ 594810 h 1161399"/>
                    <a:gd name="connsiteX2066" fmla="*/ 287460 w 1661518"/>
                    <a:gd name="connsiteY2066" fmla="*/ 597105 h 1161399"/>
                    <a:gd name="connsiteX2067" fmla="*/ 297563 w 1661518"/>
                    <a:gd name="connsiteY2067" fmla="*/ 602933 h 1161399"/>
                    <a:gd name="connsiteX2068" fmla="*/ 298546 w 1661518"/>
                    <a:gd name="connsiteY2068" fmla="*/ 604488 h 1161399"/>
                    <a:gd name="connsiteX2069" fmla="*/ 299591 w 1661518"/>
                    <a:gd name="connsiteY2069" fmla="*/ 606953 h 1161399"/>
                    <a:gd name="connsiteX2070" fmla="*/ 299809 w 1661518"/>
                    <a:gd name="connsiteY2070" fmla="*/ 610802 h 1161399"/>
                    <a:gd name="connsiteX2071" fmla="*/ 301121 w 1661518"/>
                    <a:gd name="connsiteY2071" fmla="*/ 614396 h 1161399"/>
                    <a:gd name="connsiteX2072" fmla="*/ 308710 w 1661518"/>
                    <a:gd name="connsiteY2072" fmla="*/ 615198 h 1161399"/>
                    <a:gd name="connsiteX2073" fmla="*/ 311649 w 1661518"/>
                    <a:gd name="connsiteY2073" fmla="*/ 615890 h 1161399"/>
                    <a:gd name="connsiteX2074" fmla="*/ 313992 w 1661518"/>
                    <a:gd name="connsiteY2074" fmla="*/ 617031 h 1161399"/>
                    <a:gd name="connsiteX2075" fmla="*/ 317550 w 1661518"/>
                    <a:gd name="connsiteY2075" fmla="*/ 619958 h 1161399"/>
                    <a:gd name="connsiteX2076" fmla="*/ 319104 w 1661518"/>
                    <a:gd name="connsiteY2076" fmla="*/ 620103 h 1161399"/>
                    <a:gd name="connsiteX2077" fmla="*/ 320367 w 1661518"/>
                    <a:gd name="connsiteY2077" fmla="*/ 619302 h 1161399"/>
                    <a:gd name="connsiteX2078" fmla="*/ 321399 w 1661518"/>
                    <a:gd name="connsiteY2078" fmla="*/ 617262 h 1161399"/>
                    <a:gd name="connsiteX2079" fmla="*/ 321909 w 1661518"/>
                    <a:gd name="connsiteY2079" fmla="*/ 615331 h 1161399"/>
                    <a:gd name="connsiteX2080" fmla="*/ 322213 w 1661518"/>
                    <a:gd name="connsiteY2080" fmla="*/ 613473 h 1161399"/>
                    <a:gd name="connsiteX2081" fmla="*/ 322601 w 1661518"/>
                    <a:gd name="connsiteY2081" fmla="*/ 611786 h 1161399"/>
                    <a:gd name="connsiteX2082" fmla="*/ 325407 w 1661518"/>
                    <a:gd name="connsiteY2082" fmla="*/ 606297 h 1161399"/>
                    <a:gd name="connsiteX2083" fmla="*/ 325771 w 1661518"/>
                    <a:gd name="connsiteY2083" fmla="*/ 604573 h 1161399"/>
                    <a:gd name="connsiteX2084" fmla="*/ 325467 w 1661518"/>
                    <a:gd name="connsiteY2084" fmla="*/ 602508 h 1161399"/>
                    <a:gd name="connsiteX2085" fmla="*/ 324338 w 1661518"/>
                    <a:gd name="connsiteY2085" fmla="*/ 598319 h 1161399"/>
                    <a:gd name="connsiteX2086" fmla="*/ 324216 w 1661518"/>
                    <a:gd name="connsiteY2086" fmla="*/ 596825 h 1161399"/>
                    <a:gd name="connsiteX2087" fmla="*/ 324787 w 1661518"/>
                    <a:gd name="connsiteY2087" fmla="*/ 595672 h 1161399"/>
                    <a:gd name="connsiteX2088" fmla="*/ 325819 w 1661518"/>
                    <a:gd name="connsiteY2088" fmla="*/ 594870 h 1161399"/>
                    <a:gd name="connsiteX2089" fmla="*/ 327896 w 1661518"/>
                    <a:gd name="connsiteY2089" fmla="*/ 594749 h 1161399"/>
                    <a:gd name="connsiteX2090" fmla="*/ 329487 w 1661518"/>
                    <a:gd name="connsiteY2090" fmla="*/ 595672 h 1161399"/>
                    <a:gd name="connsiteX2091" fmla="*/ 331162 w 1661518"/>
                    <a:gd name="connsiteY2091" fmla="*/ 597396 h 1161399"/>
                    <a:gd name="connsiteX2092" fmla="*/ 332887 w 1661518"/>
                    <a:gd name="connsiteY2092" fmla="*/ 599521 h 1161399"/>
                    <a:gd name="connsiteX2093" fmla="*/ 334781 w 1661518"/>
                    <a:gd name="connsiteY2093" fmla="*/ 601440 h 1161399"/>
                    <a:gd name="connsiteX2094" fmla="*/ 337768 w 1661518"/>
                    <a:gd name="connsiteY2094" fmla="*/ 601707 h 1161399"/>
                    <a:gd name="connsiteX2095" fmla="*/ 341496 w 1661518"/>
                    <a:gd name="connsiteY2095" fmla="*/ 600699 h 1161399"/>
                    <a:gd name="connsiteX2096" fmla="*/ 348102 w 1661518"/>
                    <a:gd name="connsiteY2096" fmla="*/ 597165 h 1161399"/>
                    <a:gd name="connsiteX2097" fmla="*/ 357792 w 1661518"/>
                    <a:gd name="connsiteY2097" fmla="*/ 594458 h 1161399"/>
                    <a:gd name="connsiteX2098" fmla="*/ 371695 w 1661518"/>
                    <a:gd name="connsiteY2098" fmla="*/ 587111 h 1161399"/>
                    <a:gd name="connsiteX2099" fmla="*/ 374173 w 1661518"/>
                    <a:gd name="connsiteY2099" fmla="*/ 585217 h 1161399"/>
                    <a:gd name="connsiteX2100" fmla="*/ 375605 w 1661518"/>
                    <a:gd name="connsiteY2100" fmla="*/ 582946 h 1161399"/>
                    <a:gd name="connsiteX2101" fmla="*/ 376298 w 1661518"/>
                    <a:gd name="connsiteY2101" fmla="*/ 581428 h 1161399"/>
                    <a:gd name="connsiteX2102" fmla="*/ 376868 w 1661518"/>
                    <a:gd name="connsiteY2102" fmla="*/ 579449 h 1161399"/>
                    <a:gd name="connsiteX2103" fmla="*/ 377038 w 1661518"/>
                    <a:gd name="connsiteY2103" fmla="*/ 578647 h 1161399"/>
                    <a:gd name="connsiteX2104" fmla="*/ 376990 w 1661518"/>
                    <a:gd name="connsiteY2104" fmla="*/ 578125 h 1161399"/>
                    <a:gd name="connsiteX2105" fmla="*/ 376759 w 1661518"/>
                    <a:gd name="connsiteY2105" fmla="*/ 577445 h 1161399"/>
                    <a:gd name="connsiteX2106" fmla="*/ 374051 w 1661518"/>
                    <a:gd name="connsiteY2106" fmla="*/ 574652 h 1161399"/>
                    <a:gd name="connsiteX2107" fmla="*/ 372958 w 1661518"/>
                    <a:gd name="connsiteY2107" fmla="*/ 573110 h 1161399"/>
                    <a:gd name="connsiteX2108" fmla="*/ 373833 w 1661518"/>
                    <a:gd name="connsiteY2108" fmla="*/ 570912 h 1161399"/>
                    <a:gd name="connsiteX2109" fmla="*/ 376516 w 1661518"/>
                    <a:gd name="connsiteY2109" fmla="*/ 568107 h 1161399"/>
                    <a:gd name="connsiteX2110" fmla="*/ 392314 w 1661518"/>
                    <a:gd name="connsiteY2110" fmla="*/ 558745 h 1161399"/>
                    <a:gd name="connsiteX2111" fmla="*/ 398580 w 1661518"/>
                    <a:gd name="connsiteY2111" fmla="*/ 551629 h 1161399"/>
                    <a:gd name="connsiteX2112" fmla="*/ 399029 w 1661518"/>
                    <a:gd name="connsiteY2112" fmla="*/ 548387 h 1161399"/>
                    <a:gd name="connsiteX2113" fmla="*/ 399029 w 1661518"/>
                    <a:gd name="connsiteY2113" fmla="*/ 546456 h 1161399"/>
                    <a:gd name="connsiteX2114" fmla="*/ 398458 w 1661518"/>
                    <a:gd name="connsiteY2114" fmla="*/ 541806 h 1161399"/>
                    <a:gd name="connsiteX2115" fmla="*/ 398458 w 1661518"/>
                    <a:gd name="connsiteY2115" fmla="*/ 539292 h 1161399"/>
                    <a:gd name="connsiteX2116" fmla="*/ 399090 w 1661518"/>
                    <a:gd name="connsiteY2116" fmla="*/ 532201 h 1161399"/>
                    <a:gd name="connsiteX2117" fmla="*/ 398580 w 1661518"/>
                    <a:gd name="connsiteY2117" fmla="*/ 528279 h 1161399"/>
                    <a:gd name="connsiteX2118" fmla="*/ 398750 w 1661518"/>
                    <a:gd name="connsiteY2118" fmla="*/ 526251 h 1161399"/>
                    <a:gd name="connsiteX2119" fmla="*/ 399721 w 1661518"/>
                    <a:gd name="connsiteY2119" fmla="*/ 522110 h 1161399"/>
                    <a:gd name="connsiteX2120" fmla="*/ 399952 w 1661518"/>
                    <a:gd name="connsiteY2120" fmla="*/ 516233 h 1161399"/>
                    <a:gd name="connsiteX2121" fmla="*/ 400523 w 1661518"/>
                    <a:gd name="connsiteY2121" fmla="*/ 514278 h 1161399"/>
                    <a:gd name="connsiteX2122" fmla="*/ 401567 w 1661518"/>
                    <a:gd name="connsiteY2122" fmla="*/ 512784 h 1161399"/>
                    <a:gd name="connsiteX2123" fmla="*/ 403061 w 1661518"/>
                    <a:gd name="connsiteY2123" fmla="*/ 511606 h 1161399"/>
                    <a:gd name="connsiteX2124" fmla="*/ 405756 w 1661518"/>
                    <a:gd name="connsiteY2124" fmla="*/ 510028 h 1161399"/>
                    <a:gd name="connsiteX2125" fmla="*/ 409253 w 1661518"/>
                    <a:gd name="connsiteY2125" fmla="*/ 508400 h 1161399"/>
                    <a:gd name="connsiteX2126" fmla="*/ 410917 w 1661518"/>
                    <a:gd name="connsiteY2126" fmla="*/ 508109 h 1161399"/>
                    <a:gd name="connsiteX2127" fmla="*/ 412119 w 1661518"/>
                    <a:gd name="connsiteY2127" fmla="*/ 508279 h 1161399"/>
                    <a:gd name="connsiteX2128" fmla="*/ 412763 w 1661518"/>
                    <a:gd name="connsiteY2128" fmla="*/ 509566 h 1161399"/>
                    <a:gd name="connsiteX2129" fmla="*/ 412824 w 1661518"/>
                    <a:gd name="connsiteY2129" fmla="*/ 510975 h 1161399"/>
                    <a:gd name="connsiteX2130" fmla="*/ 412180 w 1661518"/>
                    <a:gd name="connsiteY2130" fmla="*/ 513962 h 1161399"/>
                    <a:gd name="connsiteX2131" fmla="*/ 412119 w 1661518"/>
                    <a:gd name="connsiteY2131" fmla="*/ 515200 h 1161399"/>
                    <a:gd name="connsiteX2132" fmla="*/ 412362 w 1661518"/>
                    <a:gd name="connsiteY2132" fmla="*/ 516524 h 1161399"/>
                    <a:gd name="connsiteX2133" fmla="*/ 413273 w 1661518"/>
                    <a:gd name="connsiteY2133" fmla="*/ 518273 h 1161399"/>
                    <a:gd name="connsiteX2134" fmla="*/ 414645 w 1661518"/>
                    <a:gd name="connsiteY2134" fmla="*/ 520106 h 1161399"/>
                    <a:gd name="connsiteX2135" fmla="*/ 416891 w 1661518"/>
                    <a:gd name="connsiteY2135" fmla="*/ 521855 h 1161399"/>
                    <a:gd name="connsiteX2136" fmla="*/ 419879 w 1661518"/>
                    <a:gd name="connsiteY2136" fmla="*/ 523033 h 1161399"/>
                    <a:gd name="connsiteX2137" fmla="*/ 424299 w 1661518"/>
                    <a:gd name="connsiteY2137" fmla="*/ 522838 h 1161399"/>
                    <a:gd name="connsiteX2138" fmla="*/ 430504 w 1661518"/>
                    <a:gd name="connsiteY2138" fmla="*/ 521624 h 1161399"/>
                    <a:gd name="connsiteX2139" fmla="*/ 433831 w 1661518"/>
                    <a:gd name="connsiteY2139" fmla="*/ 521964 h 1161399"/>
                    <a:gd name="connsiteX2140" fmla="*/ 443934 w 1661518"/>
                    <a:gd name="connsiteY2140" fmla="*/ 525559 h 1161399"/>
                    <a:gd name="connsiteX2141" fmla="*/ 448244 w 1661518"/>
                    <a:gd name="connsiteY2141" fmla="*/ 526566 h 1161399"/>
                    <a:gd name="connsiteX2142" fmla="*/ 453247 w 1661518"/>
                    <a:gd name="connsiteY2142" fmla="*/ 526676 h 1161399"/>
                    <a:gd name="connsiteX2143" fmla="*/ 462257 w 1661518"/>
                    <a:gd name="connsiteY2143" fmla="*/ 525595 h 1161399"/>
                    <a:gd name="connsiteX2144" fmla="*/ 464261 w 1661518"/>
                    <a:gd name="connsiteY2144" fmla="*/ 526154 h 1161399"/>
                    <a:gd name="connsiteX2145" fmla="*/ 466265 w 1661518"/>
                    <a:gd name="connsiteY2145" fmla="*/ 527890 h 1161399"/>
                    <a:gd name="connsiteX2146" fmla="*/ 467430 w 1661518"/>
                    <a:gd name="connsiteY2146" fmla="*/ 530063 h 1161399"/>
                    <a:gd name="connsiteX2147" fmla="*/ 468742 w 1661518"/>
                    <a:gd name="connsiteY2147" fmla="*/ 534289 h 1161399"/>
                    <a:gd name="connsiteX2148" fmla="*/ 469494 w 1661518"/>
                    <a:gd name="connsiteY2148" fmla="*/ 535637 h 1161399"/>
                    <a:gd name="connsiteX2149" fmla="*/ 470867 w 1661518"/>
                    <a:gd name="connsiteY2149" fmla="*/ 536414 h 1161399"/>
                    <a:gd name="connsiteX2150" fmla="*/ 472640 w 1661518"/>
                    <a:gd name="connsiteY2150" fmla="*/ 536694 h 1161399"/>
                    <a:gd name="connsiteX2151" fmla="*/ 476149 w 1661518"/>
                    <a:gd name="connsiteY2151" fmla="*/ 536293 h 1161399"/>
                    <a:gd name="connsiteX2152" fmla="*/ 478505 w 1661518"/>
                    <a:gd name="connsiteY2152" fmla="*/ 535491 h 1161399"/>
                    <a:gd name="connsiteX2153" fmla="*/ 480229 w 1661518"/>
                    <a:gd name="connsiteY2153" fmla="*/ 534253 h 1161399"/>
                    <a:gd name="connsiteX2154" fmla="*/ 480921 w 1661518"/>
                    <a:gd name="connsiteY2154" fmla="*/ 532966 h 1161399"/>
                    <a:gd name="connsiteX2155" fmla="*/ 482864 w 1661518"/>
                    <a:gd name="connsiteY2155" fmla="*/ 526154 h 1161399"/>
                    <a:gd name="connsiteX2156" fmla="*/ 484078 w 1661518"/>
                    <a:gd name="connsiteY2156" fmla="*/ 523956 h 1161399"/>
                    <a:gd name="connsiteX2157" fmla="*/ 485790 w 1661518"/>
                    <a:gd name="connsiteY2157" fmla="*/ 522110 h 1161399"/>
                    <a:gd name="connsiteX2158" fmla="*/ 487915 w 1661518"/>
                    <a:gd name="connsiteY2158" fmla="*/ 520738 h 1161399"/>
                    <a:gd name="connsiteX2159" fmla="*/ 493258 w 1661518"/>
                    <a:gd name="connsiteY2159" fmla="*/ 518406 h 1161399"/>
                    <a:gd name="connsiteX2160" fmla="*/ 498431 w 1661518"/>
                    <a:gd name="connsiteY2160" fmla="*/ 516755 h 1161399"/>
                    <a:gd name="connsiteX2161" fmla="*/ 500605 w 1661518"/>
                    <a:gd name="connsiteY2161" fmla="*/ 516718 h 1161399"/>
                    <a:gd name="connsiteX2162" fmla="*/ 502281 w 1661518"/>
                    <a:gd name="connsiteY2162" fmla="*/ 517471 h 1161399"/>
                    <a:gd name="connsiteX2163" fmla="*/ 503130 w 1661518"/>
                    <a:gd name="connsiteY2163" fmla="*/ 519681 h 1161399"/>
                    <a:gd name="connsiteX2164" fmla="*/ 502912 w 1661518"/>
                    <a:gd name="connsiteY2164" fmla="*/ 521831 h 1161399"/>
                    <a:gd name="connsiteX2165" fmla="*/ 502098 w 1661518"/>
                    <a:gd name="connsiteY2165" fmla="*/ 523846 h 1161399"/>
                    <a:gd name="connsiteX2166" fmla="*/ 500265 w 1661518"/>
                    <a:gd name="connsiteY2166" fmla="*/ 527222 h 1161399"/>
                    <a:gd name="connsiteX2167" fmla="*/ 499573 w 1661518"/>
                    <a:gd name="connsiteY2167" fmla="*/ 528922 h 1161399"/>
                    <a:gd name="connsiteX2168" fmla="*/ 499354 w 1661518"/>
                    <a:gd name="connsiteY2168" fmla="*/ 530440 h 1161399"/>
                    <a:gd name="connsiteX2169" fmla="*/ 499694 w 1661518"/>
                    <a:gd name="connsiteY2169" fmla="*/ 531594 h 1161399"/>
                    <a:gd name="connsiteX2170" fmla="*/ 502159 w 1661518"/>
                    <a:gd name="connsiteY2170" fmla="*/ 533828 h 1161399"/>
                    <a:gd name="connsiteX2171" fmla="*/ 512663 w 1661518"/>
                    <a:gd name="connsiteY2171" fmla="*/ 540725 h 1161399"/>
                    <a:gd name="connsiteX2172" fmla="*/ 516063 w 1661518"/>
                    <a:gd name="connsiteY2172" fmla="*/ 543530 h 1161399"/>
                    <a:gd name="connsiteX2173" fmla="*/ 520483 w 1661518"/>
                    <a:gd name="connsiteY2173" fmla="*/ 546408 h 1161399"/>
                    <a:gd name="connsiteX2174" fmla="*/ 525753 w 1661518"/>
                    <a:gd name="connsiteY2174" fmla="*/ 546165 h 1161399"/>
                    <a:gd name="connsiteX2175" fmla="*/ 529432 w 1661518"/>
                    <a:gd name="connsiteY2175" fmla="*/ 544076 h 1161399"/>
                    <a:gd name="connsiteX2176" fmla="*/ 530865 w 1661518"/>
                    <a:gd name="connsiteY2176" fmla="*/ 543591 h 1161399"/>
                    <a:gd name="connsiteX2177" fmla="*/ 532249 w 1661518"/>
                    <a:gd name="connsiteY2177" fmla="*/ 543566 h 1161399"/>
                    <a:gd name="connsiteX2178" fmla="*/ 534204 w 1661518"/>
                    <a:gd name="connsiteY2178" fmla="*/ 543870 h 1161399"/>
                    <a:gd name="connsiteX2179" fmla="*/ 536499 w 1661518"/>
                    <a:gd name="connsiteY2179" fmla="*/ 543906 h 1161399"/>
                    <a:gd name="connsiteX2180" fmla="*/ 538515 w 1661518"/>
                    <a:gd name="connsiteY2180" fmla="*/ 543469 h 1161399"/>
                    <a:gd name="connsiteX2181" fmla="*/ 539887 w 1661518"/>
                    <a:gd name="connsiteY2181" fmla="*/ 542158 h 1161399"/>
                    <a:gd name="connsiteX2182" fmla="*/ 540689 w 1661518"/>
                    <a:gd name="connsiteY2182" fmla="*/ 540434 h 1161399"/>
                    <a:gd name="connsiteX2183" fmla="*/ 541490 w 1661518"/>
                    <a:gd name="connsiteY2183" fmla="*/ 537908 h 1161399"/>
                    <a:gd name="connsiteX2184" fmla="*/ 542753 w 1661518"/>
                    <a:gd name="connsiteY2184" fmla="*/ 536001 h 1161399"/>
                    <a:gd name="connsiteX2185" fmla="*/ 543967 w 1661518"/>
                    <a:gd name="connsiteY2185" fmla="*/ 534483 h 1161399"/>
                    <a:gd name="connsiteX2186" fmla="*/ 544368 w 1661518"/>
                    <a:gd name="connsiteY2186" fmla="*/ 532626 h 1161399"/>
                    <a:gd name="connsiteX2187" fmla="*/ 543919 w 1661518"/>
                    <a:gd name="connsiteY2187" fmla="*/ 530379 h 1161399"/>
                    <a:gd name="connsiteX2188" fmla="*/ 541381 w 1661518"/>
                    <a:gd name="connsiteY2188" fmla="*/ 526360 h 1161399"/>
                    <a:gd name="connsiteX2189" fmla="*/ 532662 w 1661518"/>
                    <a:gd name="connsiteY2189" fmla="*/ 515395 h 1161399"/>
                    <a:gd name="connsiteX2190" fmla="*/ 530586 w 1661518"/>
                    <a:gd name="connsiteY2190" fmla="*/ 511206 h 1161399"/>
                    <a:gd name="connsiteX2191" fmla="*/ 529493 w 1661518"/>
                    <a:gd name="connsiteY2191" fmla="*/ 506664 h 1161399"/>
                    <a:gd name="connsiteX2192" fmla="*/ 529833 w 1661518"/>
                    <a:gd name="connsiteY2192" fmla="*/ 493538 h 1161399"/>
                    <a:gd name="connsiteX2193" fmla="*/ 528279 w 1661518"/>
                    <a:gd name="connsiteY2193" fmla="*/ 488183 h 1161399"/>
                    <a:gd name="connsiteX2194" fmla="*/ 527817 w 1661518"/>
                    <a:gd name="connsiteY2194" fmla="*/ 486373 h 1161399"/>
                    <a:gd name="connsiteX2195" fmla="*/ 527781 w 1661518"/>
                    <a:gd name="connsiteY2195" fmla="*/ 484989 h 1161399"/>
                    <a:gd name="connsiteX2196" fmla="*/ 527939 w 1661518"/>
                    <a:gd name="connsiteY2196" fmla="*/ 483617 h 1161399"/>
                    <a:gd name="connsiteX2197" fmla="*/ 529371 w 1661518"/>
                    <a:gd name="connsiteY2197" fmla="*/ 478444 h 1161399"/>
                    <a:gd name="connsiteX2198" fmla="*/ 529432 w 1661518"/>
                    <a:gd name="connsiteY2198" fmla="*/ 477667 h 1161399"/>
                    <a:gd name="connsiteX2199" fmla="*/ 529432 w 1661518"/>
                    <a:gd name="connsiteY2199" fmla="*/ 476234 h 1161399"/>
                    <a:gd name="connsiteX2200" fmla="*/ 529262 w 1661518"/>
                    <a:gd name="connsiteY2200" fmla="*/ 474595 h 1161399"/>
                    <a:gd name="connsiteX2201" fmla="*/ 527878 w 1661518"/>
                    <a:gd name="connsiteY2201" fmla="*/ 467710 h 1161399"/>
                    <a:gd name="connsiteX2202" fmla="*/ 527999 w 1661518"/>
                    <a:gd name="connsiteY2202" fmla="*/ 465815 h 1161399"/>
                    <a:gd name="connsiteX2203" fmla="*/ 528752 w 1661518"/>
                    <a:gd name="connsiteY2203" fmla="*/ 464601 h 1161399"/>
                    <a:gd name="connsiteX2204" fmla="*/ 530816 w 1661518"/>
                    <a:gd name="connsiteY2204" fmla="*/ 463630 h 1161399"/>
                    <a:gd name="connsiteX2205" fmla="*/ 532079 w 1661518"/>
                    <a:gd name="connsiteY2205" fmla="*/ 463581 h 1161399"/>
                    <a:gd name="connsiteX2206" fmla="*/ 533294 w 1661518"/>
                    <a:gd name="connsiteY2206" fmla="*/ 463884 h 1161399"/>
                    <a:gd name="connsiteX2207" fmla="*/ 534605 w 1661518"/>
                    <a:gd name="connsiteY2207" fmla="*/ 464637 h 1161399"/>
                    <a:gd name="connsiteX2208" fmla="*/ 535916 w 1661518"/>
                    <a:gd name="connsiteY2208" fmla="*/ 465159 h 1161399"/>
                    <a:gd name="connsiteX2209" fmla="*/ 537131 w 1661518"/>
                    <a:gd name="connsiteY2209" fmla="*/ 465415 h 1161399"/>
                    <a:gd name="connsiteX2210" fmla="*/ 539778 w 1661518"/>
                    <a:gd name="connsiteY2210" fmla="*/ 465439 h 1161399"/>
                    <a:gd name="connsiteX2211" fmla="*/ 540932 w 1661518"/>
                    <a:gd name="connsiteY2211" fmla="*/ 465815 h 1161399"/>
                    <a:gd name="connsiteX2212" fmla="*/ 541842 w 1661518"/>
                    <a:gd name="connsiteY2212" fmla="*/ 466507 h 1161399"/>
                    <a:gd name="connsiteX2213" fmla="*/ 542704 w 1661518"/>
                    <a:gd name="connsiteY2213" fmla="*/ 467624 h 1161399"/>
                    <a:gd name="connsiteX2214" fmla="*/ 543445 w 1661518"/>
                    <a:gd name="connsiteY2214" fmla="*/ 468851 h 1161399"/>
                    <a:gd name="connsiteX2215" fmla="*/ 544769 w 1661518"/>
                    <a:gd name="connsiteY2215" fmla="*/ 472069 h 1161399"/>
                    <a:gd name="connsiteX2216" fmla="*/ 545109 w 1661518"/>
                    <a:gd name="connsiteY2216" fmla="*/ 473562 h 1161399"/>
                    <a:gd name="connsiteX2217" fmla="*/ 545291 w 1661518"/>
                    <a:gd name="connsiteY2217" fmla="*/ 474740 h 1161399"/>
                    <a:gd name="connsiteX2218" fmla="*/ 545109 w 1661518"/>
                    <a:gd name="connsiteY2218" fmla="*/ 478043 h 1161399"/>
                    <a:gd name="connsiteX2219" fmla="*/ 545291 w 1661518"/>
                    <a:gd name="connsiteY2219" fmla="*/ 478820 h 1161399"/>
                    <a:gd name="connsiteX2220" fmla="*/ 545570 w 1661518"/>
                    <a:gd name="connsiteY2220" fmla="*/ 478990 h 1161399"/>
                    <a:gd name="connsiteX2221" fmla="*/ 546262 w 1661518"/>
                    <a:gd name="connsiteY2221" fmla="*/ 479306 h 1161399"/>
                    <a:gd name="connsiteX2222" fmla="*/ 547756 w 1661518"/>
                    <a:gd name="connsiteY2222" fmla="*/ 479561 h 1161399"/>
                    <a:gd name="connsiteX2223" fmla="*/ 549650 w 1661518"/>
                    <a:gd name="connsiteY2223" fmla="*/ 479585 h 1161399"/>
                    <a:gd name="connsiteX2224" fmla="*/ 552747 w 1661518"/>
                    <a:gd name="connsiteY2224" fmla="*/ 479027 h 1161399"/>
                    <a:gd name="connsiteX2225" fmla="*/ 553560 w 1661518"/>
                    <a:gd name="connsiteY2225" fmla="*/ 478796 h 1161399"/>
                    <a:gd name="connsiteX2226" fmla="*/ 570840 w 1661518"/>
                    <a:gd name="connsiteY2226" fmla="*/ 471182 h 1161399"/>
                    <a:gd name="connsiteX2227" fmla="*/ 573353 w 1661518"/>
                    <a:gd name="connsiteY2227" fmla="*/ 469410 h 1161399"/>
                    <a:gd name="connsiteX2228" fmla="*/ 573997 w 1661518"/>
                    <a:gd name="connsiteY2228" fmla="*/ 468341 h 1161399"/>
                    <a:gd name="connsiteX2229" fmla="*/ 575320 w 1661518"/>
                    <a:gd name="connsiteY2229" fmla="*/ 466556 h 1161399"/>
                    <a:gd name="connsiteX2230" fmla="*/ 575660 w 1661518"/>
                    <a:gd name="connsiteY2230" fmla="*/ 463314 h 1161399"/>
                    <a:gd name="connsiteX2231" fmla="*/ 575320 w 1661518"/>
                    <a:gd name="connsiteY2231" fmla="*/ 458432 h 1161399"/>
                    <a:gd name="connsiteX2232" fmla="*/ 572904 w 1661518"/>
                    <a:gd name="connsiteY2232" fmla="*/ 449046 h 1161399"/>
                    <a:gd name="connsiteX2233" fmla="*/ 571240 w 1661518"/>
                    <a:gd name="connsiteY2233" fmla="*/ 444917 h 1161399"/>
                    <a:gd name="connsiteX2234" fmla="*/ 569407 w 1661518"/>
                    <a:gd name="connsiteY2234" fmla="*/ 441784 h 1161399"/>
                    <a:gd name="connsiteX2235" fmla="*/ 566990 w 1661518"/>
                    <a:gd name="connsiteY2235" fmla="*/ 439137 h 1161399"/>
                    <a:gd name="connsiteX2236" fmla="*/ 558041 w 1661518"/>
                    <a:gd name="connsiteY2236" fmla="*/ 431511 h 1161399"/>
                    <a:gd name="connsiteX2237" fmla="*/ 556086 w 1661518"/>
                    <a:gd name="connsiteY2237" fmla="*/ 430504 h 1161399"/>
                    <a:gd name="connsiteX2238" fmla="*/ 554070 w 1661518"/>
                    <a:gd name="connsiteY2238" fmla="*/ 430188 h 1161399"/>
                    <a:gd name="connsiteX2239" fmla="*/ 552625 w 1661518"/>
                    <a:gd name="connsiteY2239" fmla="*/ 430382 h 1161399"/>
                    <a:gd name="connsiteX2240" fmla="*/ 551314 w 1661518"/>
                    <a:gd name="connsiteY2240" fmla="*/ 430783 h 1161399"/>
                    <a:gd name="connsiteX2241" fmla="*/ 549529 w 1661518"/>
                    <a:gd name="connsiteY2241" fmla="*/ 431074 h 1161399"/>
                    <a:gd name="connsiteX2242" fmla="*/ 541320 w 1661518"/>
                    <a:gd name="connsiteY2242" fmla="*/ 430248 h 1161399"/>
                    <a:gd name="connsiteX2243" fmla="*/ 535759 w 1661518"/>
                    <a:gd name="connsiteY2243" fmla="*/ 427079 h 1161399"/>
                    <a:gd name="connsiteX2244" fmla="*/ 525813 w 1661518"/>
                    <a:gd name="connsiteY2244" fmla="*/ 415713 h 1161399"/>
                    <a:gd name="connsiteX2245" fmla="*/ 523531 w 1661518"/>
                    <a:gd name="connsiteY2245" fmla="*/ 413698 h 1161399"/>
                    <a:gd name="connsiteX2246" fmla="*/ 523069 w 1661518"/>
                    <a:gd name="connsiteY2246" fmla="*/ 411633 h 1161399"/>
                    <a:gd name="connsiteX2247" fmla="*/ 524271 w 1661518"/>
                    <a:gd name="connsiteY2247" fmla="*/ 409800 h 1161399"/>
                    <a:gd name="connsiteX2248" fmla="*/ 525243 w 1661518"/>
                    <a:gd name="connsiteY2248" fmla="*/ 408731 h 1161399"/>
                    <a:gd name="connsiteX2249" fmla="*/ 526226 w 1661518"/>
                    <a:gd name="connsiteY2249" fmla="*/ 408076 h 1161399"/>
                    <a:gd name="connsiteX2250" fmla="*/ 527781 w 1661518"/>
                    <a:gd name="connsiteY2250" fmla="*/ 407808 h 1161399"/>
                    <a:gd name="connsiteX2251" fmla="*/ 531739 w 1661518"/>
                    <a:gd name="connsiteY2251" fmla="*/ 407529 h 1161399"/>
                    <a:gd name="connsiteX2252" fmla="*/ 535576 w 1661518"/>
                    <a:gd name="connsiteY2252" fmla="*/ 406606 h 1161399"/>
                    <a:gd name="connsiteX2253" fmla="*/ 537532 w 1661518"/>
                    <a:gd name="connsiteY2253" fmla="*/ 405805 h 1161399"/>
                    <a:gd name="connsiteX2254" fmla="*/ 539596 w 1661518"/>
                    <a:gd name="connsiteY2254" fmla="*/ 404518 h 1161399"/>
                    <a:gd name="connsiteX2255" fmla="*/ 541272 w 1661518"/>
                    <a:gd name="connsiteY2255" fmla="*/ 402563 h 1161399"/>
                    <a:gd name="connsiteX2256" fmla="*/ 542061 w 1661518"/>
                    <a:gd name="connsiteY2256" fmla="*/ 401008 h 1161399"/>
                    <a:gd name="connsiteX2257" fmla="*/ 542364 w 1661518"/>
                    <a:gd name="connsiteY2257" fmla="*/ 399721 h 1161399"/>
                    <a:gd name="connsiteX2258" fmla="*/ 542182 w 1661518"/>
                    <a:gd name="connsiteY2258" fmla="*/ 395216 h 1161399"/>
                    <a:gd name="connsiteX2259" fmla="*/ 541381 w 1661518"/>
                    <a:gd name="connsiteY2259" fmla="*/ 392059 h 1161399"/>
                    <a:gd name="connsiteX2260" fmla="*/ 538685 w 1661518"/>
                    <a:gd name="connsiteY2260" fmla="*/ 385708 h 1161399"/>
                    <a:gd name="connsiteX2261" fmla="*/ 535819 w 1661518"/>
                    <a:gd name="connsiteY2261" fmla="*/ 380280 h 1161399"/>
                    <a:gd name="connsiteX2262" fmla="*/ 535358 w 1661518"/>
                    <a:gd name="connsiteY2262" fmla="*/ 379139 h 1161399"/>
                    <a:gd name="connsiteX2263" fmla="*/ 535297 w 1661518"/>
                    <a:gd name="connsiteY2263" fmla="*/ 378702 h 1161399"/>
                    <a:gd name="connsiteX2264" fmla="*/ 535236 w 1661518"/>
                    <a:gd name="connsiteY2264" fmla="*/ 377852 h 1161399"/>
                    <a:gd name="connsiteX2265" fmla="*/ 535576 w 1661518"/>
                    <a:gd name="connsiteY2265" fmla="*/ 376686 h 1161399"/>
                    <a:gd name="connsiteX2266" fmla="*/ 536329 w 1661518"/>
                    <a:gd name="connsiteY2266" fmla="*/ 375314 h 1161399"/>
                    <a:gd name="connsiteX2267" fmla="*/ 538163 w 1661518"/>
                    <a:gd name="connsiteY2267" fmla="*/ 372412 h 1161399"/>
                    <a:gd name="connsiteX2268" fmla="*/ 539656 w 1661518"/>
                    <a:gd name="connsiteY2268" fmla="*/ 371149 h 1161399"/>
                    <a:gd name="connsiteX2269" fmla="*/ 542425 w 1661518"/>
                    <a:gd name="connsiteY2269" fmla="*/ 369825 h 1161399"/>
                    <a:gd name="connsiteX2270" fmla="*/ 548339 w 1661518"/>
                    <a:gd name="connsiteY2270" fmla="*/ 368623 h 1161399"/>
                    <a:gd name="connsiteX2271" fmla="*/ 564124 w 1661518"/>
                    <a:gd name="connsiteY2271" fmla="*/ 361653 h 1161399"/>
                    <a:gd name="connsiteX2272" fmla="*/ 565557 w 1661518"/>
                    <a:gd name="connsiteY2272" fmla="*/ 361398 h 1161399"/>
                    <a:gd name="connsiteX2273" fmla="*/ 567500 w 1661518"/>
                    <a:gd name="connsiteY2273" fmla="*/ 361362 h 1161399"/>
                    <a:gd name="connsiteX2274" fmla="*/ 571410 w 1661518"/>
                    <a:gd name="connsiteY2274" fmla="*/ 361690 h 1161399"/>
                    <a:gd name="connsiteX2275" fmla="*/ 580772 w 1661518"/>
                    <a:gd name="connsiteY2275" fmla="*/ 360439 h 1161399"/>
                    <a:gd name="connsiteX2276" fmla="*/ 599376 w 1661518"/>
                    <a:gd name="connsiteY2276" fmla="*/ 353700 h 1161399"/>
                    <a:gd name="connsiteX2277" fmla="*/ 601840 w 1661518"/>
                    <a:gd name="connsiteY2277" fmla="*/ 353323 h 1161399"/>
                    <a:gd name="connsiteX2278" fmla="*/ 605071 w 1661518"/>
                    <a:gd name="connsiteY2278" fmla="*/ 354380 h 1161399"/>
                    <a:gd name="connsiteX2279" fmla="*/ 608276 w 1661518"/>
                    <a:gd name="connsiteY2279" fmla="*/ 354671 h 1161399"/>
                    <a:gd name="connsiteX2280" fmla="*/ 611956 w 1661518"/>
                    <a:gd name="connsiteY2280" fmla="*/ 353177 h 1161399"/>
                    <a:gd name="connsiteX2281" fmla="*/ 614141 w 1661518"/>
                    <a:gd name="connsiteY2281" fmla="*/ 353104 h 1161399"/>
                    <a:gd name="connsiteX2282" fmla="*/ 616716 w 1661518"/>
                    <a:gd name="connsiteY2282" fmla="*/ 353821 h 1161399"/>
                    <a:gd name="connsiteX2283" fmla="*/ 619593 w 1661518"/>
                    <a:gd name="connsiteY2283" fmla="*/ 355740 h 1161399"/>
                    <a:gd name="connsiteX2284" fmla="*/ 622350 w 1661518"/>
                    <a:gd name="connsiteY2284" fmla="*/ 357197 h 1161399"/>
                    <a:gd name="connsiteX2285" fmla="*/ 625908 w 1661518"/>
                    <a:gd name="connsiteY2285" fmla="*/ 357452 h 1161399"/>
                    <a:gd name="connsiteX2286" fmla="*/ 628264 w 1661518"/>
                    <a:gd name="connsiteY2286" fmla="*/ 356395 h 1161399"/>
                    <a:gd name="connsiteX2287" fmla="*/ 630036 w 1661518"/>
                    <a:gd name="connsiteY2287" fmla="*/ 354562 h 1161399"/>
                    <a:gd name="connsiteX2288" fmla="*/ 630911 w 1661518"/>
                    <a:gd name="connsiteY2288" fmla="*/ 353238 h 1161399"/>
                    <a:gd name="connsiteX2289" fmla="*/ 631882 w 1661518"/>
                    <a:gd name="connsiteY2289" fmla="*/ 352291 h 1161399"/>
                    <a:gd name="connsiteX2290" fmla="*/ 632975 w 1661518"/>
                    <a:gd name="connsiteY2290" fmla="*/ 351854 h 1161399"/>
                    <a:gd name="connsiteX2291" fmla="*/ 634469 w 1661518"/>
                    <a:gd name="connsiteY2291" fmla="*/ 351514 h 1161399"/>
                    <a:gd name="connsiteX2292" fmla="*/ 635962 w 1661518"/>
                    <a:gd name="connsiteY2292" fmla="*/ 350627 h 1161399"/>
                    <a:gd name="connsiteX2293" fmla="*/ 636994 w 1661518"/>
                    <a:gd name="connsiteY2293" fmla="*/ 348879 h 1161399"/>
                    <a:gd name="connsiteX2294" fmla="*/ 637213 w 1661518"/>
                    <a:gd name="connsiteY2294" fmla="*/ 346802 h 1161399"/>
                    <a:gd name="connsiteX2295" fmla="*/ 636764 w 1661518"/>
                    <a:gd name="connsiteY2295" fmla="*/ 342637 h 1161399"/>
                    <a:gd name="connsiteX2296" fmla="*/ 636994 w 1661518"/>
                    <a:gd name="connsiteY2296" fmla="*/ 341034 h 1161399"/>
                    <a:gd name="connsiteX2297" fmla="*/ 637735 w 1661518"/>
                    <a:gd name="connsiteY2297" fmla="*/ 339577 h 1161399"/>
                    <a:gd name="connsiteX2298" fmla="*/ 638767 w 1661518"/>
                    <a:gd name="connsiteY2298" fmla="*/ 338217 h 1161399"/>
                    <a:gd name="connsiteX2299" fmla="*/ 639059 w 1661518"/>
                    <a:gd name="connsiteY2299" fmla="*/ 336760 h 1161399"/>
                    <a:gd name="connsiteX2300" fmla="*/ 638646 w 1661518"/>
                    <a:gd name="connsiteY2300" fmla="*/ 335096 h 1161399"/>
                    <a:gd name="connsiteX2301" fmla="*/ 637614 w 1661518"/>
                    <a:gd name="connsiteY2301" fmla="*/ 333457 h 1161399"/>
                    <a:gd name="connsiteX2302" fmla="*/ 633655 w 1661518"/>
                    <a:gd name="connsiteY2302" fmla="*/ 328916 h 1161399"/>
                    <a:gd name="connsiteX2303" fmla="*/ 632344 w 1661518"/>
                    <a:gd name="connsiteY2303" fmla="*/ 326791 h 1161399"/>
                    <a:gd name="connsiteX2304" fmla="*/ 631761 w 1661518"/>
                    <a:gd name="connsiteY2304" fmla="*/ 325273 h 1161399"/>
                    <a:gd name="connsiteX2305" fmla="*/ 631360 w 1661518"/>
                    <a:gd name="connsiteY2305" fmla="*/ 323233 h 1161399"/>
                    <a:gd name="connsiteX2306" fmla="*/ 631299 w 1661518"/>
                    <a:gd name="connsiteY2306" fmla="*/ 321314 h 1161399"/>
                    <a:gd name="connsiteX2307" fmla="*/ 631481 w 1661518"/>
                    <a:gd name="connsiteY2307" fmla="*/ 319942 h 1161399"/>
                    <a:gd name="connsiteX2308" fmla="*/ 631991 w 1661518"/>
                    <a:gd name="connsiteY2308" fmla="*/ 318473 h 1161399"/>
                    <a:gd name="connsiteX2309" fmla="*/ 632623 w 1661518"/>
                    <a:gd name="connsiteY2309" fmla="*/ 316943 h 1161399"/>
                    <a:gd name="connsiteX2310" fmla="*/ 632853 w 1661518"/>
                    <a:gd name="connsiteY2310" fmla="*/ 315886 h 1161399"/>
                    <a:gd name="connsiteX2311" fmla="*/ 632732 w 1661518"/>
                    <a:gd name="connsiteY2311" fmla="*/ 314332 h 1161399"/>
                    <a:gd name="connsiteX2312" fmla="*/ 632040 w 1661518"/>
                    <a:gd name="connsiteY2312" fmla="*/ 312778 h 1161399"/>
                    <a:gd name="connsiteX2313" fmla="*/ 629757 w 1661518"/>
                    <a:gd name="connsiteY2313" fmla="*/ 309511 h 1161399"/>
                    <a:gd name="connsiteX2314" fmla="*/ 628895 w 1661518"/>
                    <a:gd name="connsiteY2314" fmla="*/ 307641 h 1161399"/>
                    <a:gd name="connsiteX2315" fmla="*/ 628543 w 1661518"/>
                    <a:gd name="connsiteY2315" fmla="*/ 305686 h 1161399"/>
                    <a:gd name="connsiteX2316" fmla="*/ 628664 w 1661518"/>
                    <a:gd name="connsiteY2316" fmla="*/ 303391 h 1161399"/>
                    <a:gd name="connsiteX2317" fmla="*/ 629186 w 1661518"/>
                    <a:gd name="connsiteY2317" fmla="*/ 301582 h 1161399"/>
                    <a:gd name="connsiteX2318" fmla="*/ 630036 w 1661518"/>
                    <a:gd name="connsiteY2318" fmla="*/ 300028 h 1161399"/>
                    <a:gd name="connsiteX2319" fmla="*/ 630789 w 1661518"/>
                    <a:gd name="connsiteY2319" fmla="*/ 298971 h 1161399"/>
                    <a:gd name="connsiteX2320" fmla="*/ 631481 w 1661518"/>
                    <a:gd name="connsiteY2320" fmla="*/ 297830 h 1161399"/>
                    <a:gd name="connsiteX2321" fmla="*/ 631481 w 1661518"/>
                    <a:gd name="connsiteY2321" fmla="*/ 296846 h 1161399"/>
                    <a:gd name="connsiteX2322" fmla="*/ 630911 w 1661518"/>
                    <a:gd name="connsiteY2322" fmla="*/ 295438 h 1161399"/>
                    <a:gd name="connsiteX2323" fmla="*/ 630158 w 1661518"/>
                    <a:gd name="connsiteY2323" fmla="*/ 294151 h 1161399"/>
                    <a:gd name="connsiteX2324" fmla="*/ 629235 w 1661518"/>
                    <a:gd name="connsiteY2324" fmla="*/ 292973 h 1161399"/>
                    <a:gd name="connsiteX2325" fmla="*/ 628264 w 1661518"/>
                    <a:gd name="connsiteY2325" fmla="*/ 292001 h 1161399"/>
                    <a:gd name="connsiteX2326" fmla="*/ 626988 w 1661518"/>
                    <a:gd name="connsiteY2326" fmla="*/ 291163 h 1161399"/>
                    <a:gd name="connsiteX2327" fmla="*/ 625738 w 1661518"/>
                    <a:gd name="connsiteY2327" fmla="*/ 290593 h 1161399"/>
                    <a:gd name="connsiteX2328" fmla="*/ 622751 w 1661518"/>
                    <a:gd name="connsiteY2328" fmla="*/ 290107 h 1161399"/>
                    <a:gd name="connsiteX2329" fmla="*/ 620905 w 1661518"/>
                    <a:gd name="connsiteY2329" fmla="*/ 290107 h 1161399"/>
                    <a:gd name="connsiteX2330" fmla="*/ 617007 w 1661518"/>
                    <a:gd name="connsiteY2330" fmla="*/ 290702 h 1161399"/>
                    <a:gd name="connsiteX2331" fmla="*/ 612186 w 1661518"/>
                    <a:gd name="connsiteY2331" fmla="*/ 292548 h 1161399"/>
                    <a:gd name="connsiteX2332" fmla="*/ 608725 w 1661518"/>
                    <a:gd name="connsiteY2332" fmla="*/ 294782 h 1161399"/>
                    <a:gd name="connsiteX2333" fmla="*/ 607074 w 1661518"/>
                    <a:gd name="connsiteY2333" fmla="*/ 296591 h 1161399"/>
                    <a:gd name="connsiteX2334" fmla="*/ 605981 w 1661518"/>
                    <a:gd name="connsiteY2334" fmla="*/ 298692 h 1161399"/>
                    <a:gd name="connsiteX2335" fmla="*/ 604148 w 1661518"/>
                    <a:gd name="connsiteY2335" fmla="*/ 304484 h 1161399"/>
                    <a:gd name="connsiteX2336" fmla="*/ 603273 w 1661518"/>
                    <a:gd name="connsiteY2336" fmla="*/ 306269 h 1161399"/>
                    <a:gd name="connsiteX2337" fmla="*/ 602083 w 1661518"/>
                    <a:gd name="connsiteY2337" fmla="*/ 308103 h 1161399"/>
                    <a:gd name="connsiteX2338" fmla="*/ 600529 w 1661518"/>
                    <a:gd name="connsiteY2338" fmla="*/ 309536 h 1161399"/>
                    <a:gd name="connsiteX2339" fmla="*/ 598222 w 1661518"/>
                    <a:gd name="connsiteY2339" fmla="*/ 310726 h 1161399"/>
                    <a:gd name="connsiteX2340" fmla="*/ 595174 w 1661518"/>
                    <a:gd name="connsiteY2340" fmla="*/ 311296 h 1161399"/>
                    <a:gd name="connsiteX2341" fmla="*/ 590766 w 1661518"/>
                    <a:gd name="connsiteY2341" fmla="*/ 310835 h 1161399"/>
                    <a:gd name="connsiteX2342" fmla="*/ 587961 w 1661518"/>
                    <a:gd name="connsiteY2342" fmla="*/ 310058 h 1161399"/>
                    <a:gd name="connsiteX2343" fmla="*/ 584440 w 1661518"/>
                    <a:gd name="connsiteY2343" fmla="*/ 308394 h 1161399"/>
                    <a:gd name="connsiteX2344" fmla="*/ 582205 w 1661518"/>
                    <a:gd name="connsiteY2344" fmla="*/ 308164 h 1161399"/>
                    <a:gd name="connsiteX2345" fmla="*/ 579340 w 1661518"/>
                    <a:gd name="connsiteY2345" fmla="*/ 308588 h 1161399"/>
                    <a:gd name="connsiteX2346" fmla="*/ 575029 w 1661518"/>
                    <a:gd name="connsiteY2346" fmla="*/ 310483 h 1161399"/>
                    <a:gd name="connsiteX2347" fmla="*/ 569795 w 1661518"/>
                    <a:gd name="connsiteY2347" fmla="*/ 313640 h 1161399"/>
                    <a:gd name="connsiteX2348" fmla="*/ 564525 w 1661518"/>
                    <a:gd name="connsiteY2348" fmla="*/ 315704 h 1161399"/>
                    <a:gd name="connsiteX2349" fmla="*/ 554301 w 1661518"/>
                    <a:gd name="connsiteY2349" fmla="*/ 315510 h 1161399"/>
                    <a:gd name="connsiteX2350" fmla="*/ 550852 w 1661518"/>
                    <a:gd name="connsiteY2350" fmla="*/ 317696 h 1161399"/>
                    <a:gd name="connsiteX2351" fmla="*/ 549772 w 1661518"/>
                    <a:gd name="connsiteY2351" fmla="*/ 317951 h 1161399"/>
                    <a:gd name="connsiteX2352" fmla="*/ 548035 w 1661518"/>
                    <a:gd name="connsiteY2352" fmla="*/ 317380 h 1161399"/>
                    <a:gd name="connsiteX2353" fmla="*/ 541490 w 1661518"/>
                    <a:gd name="connsiteY2353" fmla="*/ 312413 h 1161399"/>
                    <a:gd name="connsiteX2354" fmla="*/ 539778 w 1661518"/>
                    <a:gd name="connsiteY2354" fmla="*/ 311636 h 1161399"/>
                    <a:gd name="connsiteX2355" fmla="*/ 531958 w 1661518"/>
                    <a:gd name="connsiteY2355" fmla="*/ 310313 h 1161399"/>
                    <a:gd name="connsiteX2356" fmla="*/ 530306 w 1661518"/>
                    <a:gd name="connsiteY2356" fmla="*/ 310349 h 1161399"/>
                    <a:gd name="connsiteX2357" fmla="*/ 528922 w 1661518"/>
                    <a:gd name="connsiteY2357" fmla="*/ 310689 h 1161399"/>
                    <a:gd name="connsiteX2358" fmla="*/ 523009 w 1661518"/>
                    <a:gd name="connsiteY2358" fmla="*/ 312814 h 1161399"/>
                    <a:gd name="connsiteX2359" fmla="*/ 521685 w 1661518"/>
                    <a:gd name="connsiteY2359" fmla="*/ 312778 h 1161399"/>
                    <a:gd name="connsiteX2360" fmla="*/ 520301 w 1661518"/>
                    <a:gd name="connsiteY2360" fmla="*/ 312292 h 1161399"/>
                    <a:gd name="connsiteX2361" fmla="*/ 519111 w 1661518"/>
                    <a:gd name="connsiteY2361" fmla="*/ 311551 h 1161399"/>
                    <a:gd name="connsiteX2362" fmla="*/ 511169 w 1661518"/>
                    <a:gd name="connsiteY2362" fmla="*/ 305613 h 1161399"/>
                    <a:gd name="connsiteX2363" fmla="*/ 509105 w 1661518"/>
                    <a:gd name="connsiteY2363" fmla="*/ 304691 h 1161399"/>
                    <a:gd name="connsiteX2364" fmla="*/ 506810 w 1661518"/>
                    <a:gd name="connsiteY2364" fmla="*/ 303974 h 1161399"/>
                    <a:gd name="connsiteX2365" fmla="*/ 504685 w 1661518"/>
                    <a:gd name="connsiteY2365" fmla="*/ 303719 h 1161399"/>
                    <a:gd name="connsiteX2366" fmla="*/ 500848 w 1661518"/>
                    <a:gd name="connsiteY2366" fmla="*/ 303683 h 1161399"/>
                    <a:gd name="connsiteX2367" fmla="*/ 499063 w 1661518"/>
                    <a:gd name="connsiteY2367" fmla="*/ 303367 h 1161399"/>
                    <a:gd name="connsiteX2368" fmla="*/ 496986 w 1661518"/>
                    <a:gd name="connsiteY2368" fmla="*/ 302225 h 1161399"/>
                    <a:gd name="connsiteX2369" fmla="*/ 495493 w 1661518"/>
                    <a:gd name="connsiteY2369" fmla="*/ 300671 h 1161399"/>
                    <a:gd name="connsiteX2370" fmla="*/ 491194 w 1661518"/>
                    <a:gd name="connsiteY2370" fmla="*/ 293033 h 1161399"/>
                    <a:gd name="connsiteX2371" fmla="*/ 489761 w 1661518"/>
                    <a:gd name="connsiteY2371" fmla="*/ 291710 h 1161399"/>
                    <a:gd name="connsiteX2372" fmla="*/ 487636 w 1661518"/>
                    <a:gd name="connsiteY2372" fmla="*/ 290447 h 1161399"/>
                    <a:gd name="connsiteX2373" fmla="*/ 484928 w 1661518"/>
                    <a:gd name="connsiteY2373" fmla="*/ 289900 h 1161399"/>
                    <a:gd name="connsiteX2374" fmla="*/ 483155 w 1661518"/>
                    <a:gd name="connsiteY2374" fmla="*/ 289585 h 1161399"/>
                    <a:gd name="connsiteX2375" fmla="*/ 481553 w 1661518"/>
                    <a:gd name="connsiteY2375" fmla="*/ 288698 h 1161399"/>
                    <a:gd name="connsiteX2376" fmla="*/ 480120 w 1661518"/>
                    <a:gd name="connsiteY2376" fmla="*/ 287180 h 1161399"/>
                    <a:gd name="connsiteX2377" fmla="*/ 479306 w 1661518"/>
                    <a:gd name="connsiteY2377" fmla="*/ 285056 h 1161399"/>
                    <a:gd name="connsiteX2378" fmla="*/ 478213 w 1661518"/>
                    <a:gd name="connsiteY2378" fmla="*/ 280344 h 1161399"/>
                    <a:gd name="connsiteX2379" fmla="*/ 474485 w 1661518"/>
                    <a:gd name="connsiteY2379" fmla="*/ 269148 h 1161399"/>
                    <a:gd name="connsiteX2380" fmla="*/ 469033 w 1661518"/>
                    <a:gd name="connsiteY2380" fmla="*/ 241814 h 1161399"/>
                    <a:gd name="connsiteX2381" fmla="*/ 468171 w 1661518"/>
                    <a:gd name="connsiteY2381" fmla="*/ 239520 h 1161399"/>
                    <a:gd name="connsiteX2382" fmla="*/ 467017 w 1661518"/>
                    <a:gd name="connsiteY2382" fmla="*/ 237394 h 1161399"/>
                    <a:gd name="connsiteX2383" fmla="*/ 466386 w 1661518"/>
                    <a:gd name="connsiteY2383" fmla="*/ 235184 h 1161399"/>
                    <a:gd name="connsiteX2384" fmla="*/ 466908 w 1661518"/>
                    <a:gd name="connsiteY2384" fmla="*/ 232707 h 1161399"/>
                    <a:gd name="connsiteX2385" fmla="*/ 468110 w 1661518"/>
                    <a:gd name="connsiteY2385" fmla="*/ 231736 h 1161399"/>
                    <a:gd name="connsiteX2386" fmla="*/ 471559 w 1661518"/>
                    <a:gd name="connsiteY2386" fmla="*/ 231056 h 1161399"/>
                    <a:gd name="connsiteX2387" fmla="*/ 472822 w 1661518"/>
                    <a:gd name="connsiteY2387" fmla="*/ 230218 h 1161399"/>
                    <a:gd name="connsiteX2388" fmla="*/ 473733 w 1661518"/>
                    <a:gd name="connsiteY2388" fmla="*/ 227656 h 1161399"/>
                    <a:gd name="connsiteX2389" fmla="*/ 473623 w 1661518"/>
                    <a:gd name="connsiteY2389" fmla="*/ 222058 h 1161399"/>
                    <a:gd name="connsiteX2390" fmla="*/ 473854 w 1661518"/>
                    <a:gd name="connsiteY2390" fmla="*/ 219277 h 1161399"/>
                    <a:gd name="connsiteX2391" fmla="*/ 474837 w 1661518"/>
                    <a:gd name="connsiteY2391" fmla="*/ 216691 h 1161399"/>
                    <a:gd name="connsiteX2392" fmla="*/ 479075 w 1661518"/>
                    <a:gd name="connsiteY2392" fmla="*/ 209429 h 1161399"/>
                    <a:gd name="connsiteX2393" fmla="*/ 480739 w 1661518"/>
                    <a:gd name="connsiteY2393" fmla="*/ 208798 h 1161399"/>
                    <a:gd name="connsiteX2394" fmla="*/ 481613 w 1661518"/>
                    <a:gd name="connsiteY2394" fmla="*/ 208227 h 1161399"/>
                    <a:gd name="connsiteX2395" fmla="*/ 485973 w 1661518"/>
                    <a:gd name="connsiteY2395" fmla="*/ 204001 h 1161399"/>
                    <a:gd name="connsiteX2396" fmla="*/ 487697 w 1661518"/>
                    <a:gd name="connsiteY2396" fmla="*/ 202969 h 1161399"/>
                    <a:gd name="connsiteX2397" fmla="*/ 491194 w 1661518"/>
                    <a:gd name="connsiteY2397" fmla="*/ 202799 h 1161399"/>
                    <a:gd name="connsiteX2398" fmla="*/ 493088 w 1661518"/>
                    <a:gd name="connsiteY2398" fmla="*/ 202083 h 1161399"/>
                    <a:gd name="connsiteX2399" fmla="*/ 494363 w 1661518"/>
                    <a:gd name="connsiteY2399" fmla="*/ 200468 h 1161399"/>
                    <a:gd name="connsiteX2400" fmla="*/ 496015 w 1661518"/>
                    <a:gd name="connsiteY2400" fmla="*/ 196230 h 1161399"/>
                    <a:gd name="connsiteX2401" fmla="*/ 496925 w 1661518"/>
                    <a:gd name="connsiteY2401" fmla="*/ 194991 h 1161399"/>
                    <a:gd name="connsiteX2402" fmla="*/ 498941 w 1661518"/>
                    <a:gd name="connsiteY2402" fmla="*/ 194530 h 1161399"/>
                    <a:gd name="connsiteX2403" fmla="*/ 508765 w 1661518"/>
                    <a:gd name="connsiteY2403" fmla="*/ 195331 h 1161399"/>
                    <a:gd name="connsiteX2404" fmla="*/ 510890 w 1661518"/>
                    <a:gd name="connsiteY2404" fmla="*/ 195853 h 1161399"/>
                    <a:gd name="connsiteX2405" fmla="*/ 513076 w 1661518"/>
                    <a:gd name="connsiteY2405" fmla="*/ 195817 h 1161399"/>
                    <a:gd name="connsiteX2406" fmla="*/ 515492 w 1661518"/>
                    <a:gd name="connsiteY2406" fmla="*/ 194408 h 1161399"/>
                    <a:gd name="connsiteX2407" fmla="*/ 519208 w 1661518"/>
                    <a:gd name="connsiteY2407" fmla="*/ 189879 h 1161399"/>
                    <a:gd name="connsiteX2408" fmla="*/ 521175 w 1661518"/>
                    <a:gd name="connsiteY2408" fmla="*/ 188240 h 1161399"/>
                    <a:gd name="connsiteX2409" fmla="*/ 522826 w 1661518"/>
                    <a:gd name="connsiteY2409" fmla="*/ 187463 h 1161399"/>
                    <a:gd name="connsiteX2410" fmla="*/ 524441 w 1661518"/>
                    <a:gd name="connsiteY2410" fmla="*/ 186977 h 1161399"/>
                    <a:gd name="connsiteX2411" fmla="*/ 525996 w 1661518"/>
                    <a:gd name="connsiteY2411" fmla="*/ 186139 h 1161399"/>
                    <a:gd name="connsiteX2412" fmla="*/ 527538 w 1661518"/>
                    <a:gd name="connsiteY2412" fmla="*/ 184136 h 1161399"/>
                    <a:gd name="connsiteX2413" fmla="*/ 528121 w 1661518"/>
                    <a:gd name="connsiteY2413" fmla="*/ 181950 h 1161399"/>
                    <a:gd name="connsiteX2414" fmla="*/ 528121 w 1661518"/>
                    <a:gd name="connsiteY2414" fmla="*/ 179655 h 1161399"/>
                    <a:gd name="connsiteX2415" fmla="*/ 528400 w 1661518"/>
                    <a:gd name="connsiteY2415" fmla="*/ 177360 h 1161399"/>
                    <a:gd name="connsiteX2416" fmla="*/ 529614 w 1661518"/>
                    <a:gd name="connsiteY2416" fmla="*/ 175235 h 1161399"/>
                    <a:gd name="connsiteX2417" fmla="*/ 540519 w 1661518"/>
                    <a:gd name="connsiteY2417" fmla="*/ 168605 h 1161399"/>
                    <a:gd name="connsiteX2418" fmla="*/ 543166 w 1661518"/>
                    <a:gd name="connsiteY2418" fmla="*/ 166213 h 1161399"/>
                    <a:gd name="connsiteX2419" fmla="*/ 544137 w 1661518"/>
                    <a:gd name="connsiteY2419" fmla="*/ 164233 h 1161399"/>
                    <a:gd name="connsiteX2420" fmla="*/ 544599 w 1661518"/>
                    <a:gd name="connsiteY2420" fmla="*/ 162460 h 1161399"/>
                    <a:gd name="connsiteX2421" fmla="*/ 545352 w 1661518"/>
                    <a:gd name="connsiteY2421" fmla="*/ 160821 h 1161399"/>
                    <a:gd name="connsiteX2422" fmla="*/ 547003 w 1661518"/>
                    <a:gd name="connsiteY2422" fmla="*/ 159242 h 1161399"/>
                    <a:gd name="connsiteX2423" fmla="*/ 552528 w 1661518"/>
                    <a:gd name="connsiteY2423" fmla="*/ 158089 h 1161399"/>
                    <a:gd name="connsiteX2424" fmla="*/ 554022 w 1661518"/>
                    <a:gd name="connsiteY2424" fmla="*/ 157288 h 1161399"/>
                    <a:gd name="connsiteX2425" fmla="*/ 556705 w 1661518"/>
                    <a:gd name="connsiteY2425" fmla="*/ 154361 h 1161399"/>
                    <a:gd name="connsiteX2426" fmla="*/ 558490 w 1661518"/>
                    <a:gd name="connsiteY2426" fmla="*/ 153037 h 1161399"/>
                    <a:gd name="connsiteX2427" fmla="*/ 562740 w 1661518"/>
                    <a:gd name="connsiteY2427" fmla="*/ 151750 h 1161399"/>
                    <a:gd name="connsiteX2428" fmla="*/ 564003 w 1661518"/>
                    <a:gd name="connsiteY2428" fmla="*/ 149917 h 1161399"/>
                    <a:gd name="connsiteX2429" fmla="*/ 564926 w 1661518"/>
                    <a:gd name="connsiteY2429" fmla="*/ 147646 h 1161399"/>
                    <a:gd name="connsiteX2430" fmla="*/ 566189 w 1661518"/>
                    <a:gd name="connsiteY2430" fmla="*/ 145654 h 1161399"/>
                    <a:gd name="connsiteX2431" fmla="*/ 567792 w 1661518"/>
                    <a:gd name="connsiteY2431" fmla="*/ 144574 h 1161399"/>
                    <a:gd name="connsiteX2432" fmla="*/ 573414 w 1661518"/>
                    <a:gd name="connsiteY2432" fmla="*/ 142024 h 1161399"/>
                    <a:gd name="connsiteX2433" fmla="*/ 575842 w 1661518"/>
                    <a:gd name="connsiteY2433" fmla="*/ 141526 h 1161399"/>
                    <a:gd name="connsiteX2434" fmla="*/ 578465 w 1661518"/>
                    <a:gd name="connsiteY2434" fmla="*/ 141987 h 1161399"/>
                    <a:gd name="connsiteX2435" fmla="*/ 579680 w 1661518"/>
                    <a:gd name="connsiteY2435" fmla="*/ 141817 h 1161399"/>
                    <a:gd name="connsiteX2436" fmla="*/ 581112 w 1661518"/>
                    <a:gd name="connsiteY2436" fmla="*/ 140785 h 1161399"/>
                    <a:gd name="connsiteX2437" fmla="*/ 582035 w 1661518"/>
                    <a:gd name="connsiteY2437" fmla="*/ 139146 h 1161399"/>
                    <a:gd name="connsiteX2438" fmla="*/ 582436 w 1661518"/>
                    <a:gd name="connsiteY2438" fmla="*/ 135867 h 1161399"/>
                    <a:gd name="connsiteX2439" fmla="*/ 582946 w 1661518"/>
                    <a:gd name="connsiteY2439" fmla="*/ 134544 h 1161399"/>
                    <a:gd name="connsiteX2440" fmla="*/ 587657 w 1661518"/>
                    <a:gd name="connsiteY2440" fmla="*/ 131277 h 1161399"/>
                    <a:gd name="connsiteX2441" fmla="*/ 592830 w 1661518"/>
                    <a:gd name="connsiteY2441" fmla="*/ 130901 h 1161399"/>
                    <a:gd name="connsiteX2442" fmla="*/ 598222 w 1661518"/>
                    <a:gd name="connsiteY2442" fmla="*/ 131362 h 1161399"/>
                    <a:gd name="connsiteX2443" fmla="*/ 603577 w 1661518"/>
                    <a:gd name="connsiteY2443" fmla="*/ 130452 h 1161399"/>
                    <a:gd name="connsiteX2444" fmla="*/ 607414 w 1661518"/>
                    <a:gd name="connsiteY2444" fmla="*/ 126311 h 1161399"/>
                    <a:gd name="connsiteX2445" fmla="*/ 611956 w 1661518"/>
                    <a:gd name="connsiteY2445" fmla="*/ 123870 h 1161399"/>
                    <a:gd name="connsiteX2446" fmla="*/ 614202 w 1661518"/>
                    <a:gd name="connsiteY2446" fmla="*/ 121891 h 1161399"/>
                    <a:gd name="connsiteX2447" fmla="*/ 616946 w 1661518"/>
                    <a:gd name="connsiteY2447" fmla="*/ 119936 h 1161399"/>
                    <a:gd name="connsiteX2448" fmla="*/ 618270 w 1661518"/>
                    <a:gd name="connsiteY2448" fmla="*/ 118794 h 1161399"/>
                    <a:gd name="connsiteX2449" fmla="*/ 619472 w 1661518"/>
                    <a:gd name="connsiteY2449" fmla="*/ 117131 h 1161399"/>
                    <a:gd name="connsiteX2450" fmla="*/ 620796 w 1661518"/>
                    <a:gd name="connsiteY2450" fmla="*/ 113877 h 1161399"/>
                    <a:gd name="connsiteX2451" fmla="*/ 621476 w 1661518"/>
                    <a:gd name="connsiteY2451" fmla="*/ 112480 h 1161399"/>
                    <a:gd name="connsiteX2452" fmla="*/ 624876 w 1661518"/>
                    <a:gd name="connsiteY2452" fmla="*/ 108339 h 1161399"/>
                    <a:gd name="connsiteX2453" fmla="*/ 627231 w 1661518"/>
                    <a:gd name="connsiteY2453" fmla="*/ 106506 h 1161399"/>
                    <a:gd name="connsiteX2454" fmla="*/ 629818 w 1661518"/>
                    <a:gd name="connsiteY2454" fmla="*/ 105753 h 1161399"/>
                    <a:gd name="connsiteX2455" fmla="*/ 635598 w 1661518"/>
                    <a:gd name="connsiteY2455" fmla="*/ 105898 h 1161399"/>
                    <a:gd name="connsiteX2456" fmla="*/ 638367 w 1661518"/>
                    <a:gd name="connsiteY2456" fmla="*/ 105461 h 1161399"/>
                    <a:gd name="connsiteX2457" fmla="*/ 640710 w 1661518"/>
                    <a:gd name="connsiteY2457" fmla="*/ 104259 h 1161399"/>
                    <a:gd name="connsiteX2458" fmla="*/ 642107 w 1661518"/>
                    <a:gd name="connsiteY2458" fmla="*/ 105753 h 1161399"/>
                    <a:gd name="connsiteX2459" fmla="*/ 645142 w 1661518"/>
                    <a:gd name="connsiteY2459" fmla="*/ 103968 h 1161399"/>
                    <a:gd name="connsiteX2460" fmla="*/ 645312 w 1661518"/>
                    <a:gd name="connsiteY2460" fmla="*/ 101454 h 1161399"/>
                    <a:gd name="connsiteX2461" fmla="*/ 645142 w 1661518"/>
                    <a:gd name="connsiteY2461" fmla="*/ 98661 h 1161399"/>
                    <a:gd name="connsiteX2462" fmla="*/ 647097 w 1661518"/>
                    <a:gd name="connsiteY2462" fmla="*/ 96026 h 1161399"/>
                    <a:gd name="connsiteX2463" fmla="*/ 650424 w 1661518"/>
                    <a:gd name="connsiteY2463" fmla="*/ 95310 h 1161399"/>
                    <a:gd name="connsiteX2464" fmla="*/ 658002 w 1661518"/>
                    <a:gd name="connsiteY2464" fmla="*/ 96330 h 1161399"/>
                    <a:gd name="connsiteX2465" fmla="*/ 660709 w 1661518"/>
                    <a:gd name="connsiteY2465" fmla="*/ 95383 h 1161399"/>
                    <a:gd name="connsiteX2466" fmla="*/ 662883 w 1661518"/>
                    <a:gd name="connsiteY2466" fmla="*/ 93403 h 1161399"/>
                    <a:gd name="connsiteX2467" fmla="*/ 670290 w 1661518"/>
                    <a:gd name="connsiteY2467" fmla="*/ 89129 h 1161399"/>
                    <a:gd name="connsiteX2468" fmla="*/ 679944 w 1661518"/>
                    <a:gd name="connsiteY2468" fmla="*/ 81977 h 1161399"/>
                    <a:gd name="connsiteX2469" fmla="*/ 682591 w 1661518"/>
                    <a:gd name="connsiteY2469" fmla="*/ 80896 h 1161399"/>
                    <a:gd name="connsiteX2470" fmla="*/ 685335 w 1661518"/>
                    <a:gd name="connsiteY2470" fmla="*/ 80483 h 1161399"/>
                    <a:gd name="connsiteX2471" fmla="*/ 691941 w 1661518"/>
                    <a:gd name="connsiteY2471" fmla="*/ 78589 h 1161399"/>
                    <a:gd name="connsiteX2472" fmla="*/ 695438 w 1661518"/>
                    <a:gd name="connsiteY2472" fmla="*/ 78164 h 1161399"/>
                    <a:gd name="connsiteX2473" fmla="*/ 698365 w 1661518"/>
                    <a:gd name="connsiteY2473" fmla="*/ 77363 h 1161399"/>
                    <a:gd name="connsiteX2474" fmla="*/ 700550 w 1661518"/>
                    <a:gd name="connsiteY2474" fmla="*/ 75468 h 1161399"/>
                    <a:gd name="connsiteX2475" fmla="*/ 703768 w 1661518"/>
                    <a:gd name="connsiteY2475" fmla="*/ 71303 h 1161399"/>
                    <a:gd name="connsiteX2476" fmla="*/ 709160 w 1661518"/>
                    <a:gd name="connsiteY2476" fmla="*/ 68802 h 1161399"/>
                    <a:gd name="connsiteX2477" fmla="*/ 715948 w 1661518"/>
                    <a:gd name="connsiteY2477" fmla="*/ 66653 h 1161399"/>
                    <a:gd name="connsiteX2478" fmla="*/ 720186 w 1661518"/>
                    <a:gd name="connsiteY2478" fmla="*/ 63325 h 1161399"/>
                    <a:gd name="connsiteX2479" fmla="*/ 717891 w 1661518"/>
                    <a:gd name="connsiteY2479" fmla="*/ 57436 h 1161399"/>
                    <a:gd name="connsiteX2480" fmla="*/ 727435 w 1661518"/>
                    <a:gd name="connsiteY2480" fmla="*/ 54558 h 1161399"/>
                    <a:gd name="connsiteX2481" fmla="*/ 729439 w 1661518"/>
                    <a:gd name="connsiteY2481" fmla="*/ 53295 h 1161399"/>
                    <a:gd name="connsiteX2482" fmla="*/ 730410 w 1661518"/>
                    <a:gd name="connsiteY2482" fmla="*/ 51571 h 1161399"/>
                    <a:gd name="connsiteX2483" fmla="*/ 730993 w 1661518"/>
                    <a:gd name="connsiteY2483" fmla="*/ 48050 h 1161399"/>
                    <a:gd name="connsiteX2484" fmla="*/ 731964 w 1661518"/>
                    <a:gd name="connsiteY2484" fmla="*/ 46435 h 1161399"/>
                    <a:gd name="connsiteX2485" fmla="*/ 733567 w 1661518"/>
                    <a:gd name="connsiteY2485" fmla="*/ 45548 h 1161399"/>
                    <a:gd name="connsiteX2486" fmla="*/ 735583 w 1661518"/>
                    <a:gd name="connsiteY2486" fmla="*/ 45172 h 1161399"/>
                    <a:gd name="connsiteX2487" fmla="*/ 739080 w 1661518"/>
                    <a:gd name="connsiteY2487" fmla="*/ 45062 h 1161399"/>
                    <a:gd name="connsiteX2488" fmla="*/ 742407 w 1661518"/>
                    <a:gd name="connsiteY2488" fmla="*/ 44395 h 1161399"/>
                    <a:gd name="connsiteX2489" fmla="*/ 747762 w 1661518"/>
                    <a:gd name="connsiteY2489" fmla="*/ 41468 h 1161399"/>
                    <a:gd name="connsiteX2490" fmla="*/ 752449 w 1661518"/>
                    <a:gd name="connsiteY2490" fmla="*/ 39550 h 1161399"/>
                    <a:gd name="connsiteX2491" fmla="*/ 754186 w 1661518"/>
                    <a:gd name="connsiteY2491" fmla="*/ 39210 h 1161399"/>
                    <a:gd name="connsiteX2492" fmla="*/ 755862 w 1661518"/>
                    <a:gd name="connsiteY2492" fmla="*/ 40120 h 1161399"/>
                    <a:gd name="connsiteX2493" fmla="*/ 757234 w 1661518"/>
                    <a:gd name="connsiteY2493" fmla="*/ 41274 h 1161399"/>
                    <a:gd name="connsiteX2494" fmla="*/ 759007 w 1661518"/>
                    <a:gd name="connsiteY2494" fmla="*/ 41990 h 1161399"/>
                    <a:gd name="connsiteX2495" fmla="*/ 760962 w 1661518"/>
                    <a:gd name="connsiteY2495" fmla="*/ 42306 h 1161399"/>
                    <a:gd name="connsiteX2496" fmla="*/ 762916 w 1661518"/>
                    <a:gd name="connsiteY2496" fmla="*/ 42306 h 1161399"/>
                    <a:gd name="connsiteX2497" fmla="*/ 766693 w 1661518"/>
                    <a:gd name="connsiteY2497" fmla="*/ 41760 h 1161399"/>
                    <a:gd name="connsiteX2498" fmla="*/ 767798 w 1661518"/>
                    <a:gd name="connsiteY2498" fmla="*/ 40436 h 1161399"/>
                    <a:gd name="connsiteX2499" fmla="*/ 767737 w 1661518"/>
                    <a:gd name="connsiteY2499" fmla="*/ 37995 h 1161399"/>
                    <a:gd name="connsiteX2500" fmla="*/ 768187 w 1661518"/>
                    <a:gd name="connsiteY2500" fmla="*/ 34073 h 1161399"/>
                    <a:gd name="connsiteX2501" fmla="*/ 768709 w 1661518"/>
                    <a:gd name="connsiteY2501" fmla="*/ 32652 h 1161399"/>
                    <a:gd name="connsiteX2502" fmla="*/ 770263 w 1661518"/>
                    <a:gd name="connsiteY2502" fmla="*/ 30042 h 1161399"/>
                    <a:gd name="connsiteX2503" fmla="*/ 770615 w 1661518"/>
                    <a:gd name="connsiteY2503" fmla="*/ 29677 h 1161399"/>
                    <a:gd name="connsiteX2504" fmla="*/ 770554 w 1661518"/>
                    <a:gd name="connsiteY2504" fmla="*/ 27540 h 1161399"/>
                    <a:gd name="connsiteX2505" fmla="*/ 769462 w 1661518"/>
                    <a:gd name="connsiteY2505" fmla="*/ 24165 h 1161399"/>
                    <a:gd name="connsiteX2506" fmla="*/ 769231 w 1661518"/>
                    <a:gd name="connsiteY2506" fmla="*/ 22234 h 1161399"/>
                    <a:gd name="connsiteX2507" fmla="*/ 770785 w 1661518"/>
                    <a:gd name="connsiteY2507" fmla="*/ 19162 h 1161399"/>
                    <a:gd name="connsiteX2508" fmla="*/ 774331 w 1661518"/>
                    <a:gd name="connsiteY2508" fmla="*/ 19246 h 1161399"/>
                    <a:gd name="connsiteX2509" fmla="*/ 780196 w 1661518"/>
                    <a:gd name="connsiteY2509" fmla="*/ 21554 h 1161399"/>
                    <a:gd name="connsiteX2510" fmla="*/ 782734 w 1661518"/>
                    <a:gd name="connsiteY2510" fmla="*/ 19793 h 1161399"/>
                    <a:gd name="connsiteX2511" fmla="*/ 783535 w 1661518"/>
                    <a:gd name="connsiteY2511" fmla="*/ 13709 h 1161399"/>
                    <a:gd name="connsiteX2512" fmla="*/ 785988 w 1661518"/>
                    <a:gd name="connsiteY2512" fmla="*/ 14681 h 1161399"/>
                    <a:gd name="connsiteX2513" fmla="*/ 789327 w 1661518"/>
                    <a:gd name="connsiteY2513" fmla="*/ 13418 h 1161399"/>
                    <a:gd name="connsiteX2514" fmla="*/ 792934 w 1661518"/>
                    <a:gd name="connsiteY2514" fmla="*/ 13357 h 1161399"/>
                    <a:gd name="connsiteX2515" fmla="*/ 795703 w 1661518"/>
                    <a:gd name="connsiteY2515" fmla="*/ 14171 h 1161399"/>
                    <a:gd name="connsiteX2516" fmla="*/ 799600 w 1661518"/>
                    <a:gd name="connsiteY2516" fmla="*/ 14681 h 1161399"/>
                    <a:gd name="connsiteX2517" fmla="*/ 800232 w 1661518"/>
                    <a:gd name="connsiteY2517" fmla="*/ 13843 h 1161399"/>
                    <a:gd name="connsiteX2518" fmla="*/ 802879 w 1661518"/>
                    <a:gd name="connsiteY2518" fmla="*/ 9168 h 1161399"/>
                    <a:gd name="connsiteX2519" fmla="*/ 804372 w 1661518"/>
                    <a:gd name="connsiteY2519" fmla="*/ 7796 h 1161399"/>
                    <a:gd name="connsiteX2520" fmla="*/ 805465 w 1661518"/>
                    <a:gd name="connsiteY2520" fmla="*/ 7104 h 1161399"/>
                    <a:gd name="connsiteX2521" fmla="*/ 812982 w 1661518"/>
                    <a:gd name="connsiteY2521" fmla="*/ 6096 h 1161399"/>
                    <a:gd name="connsiteX2522" fmla="*/ 812763 w 1661518"/>
                    <a:gd name="connsiteY2522" fmla="*/ 0 h 1161399"/>
                    <a:gd name="connsiteX2523" fmla="*/ 812168 w 1661518"/>
                    <a:gd name="connsiteY2523" fmla="*/ 73 h 1161399"/>
                    <a:gd name="connsiteX2524" fmla="*/ 804652 w 1661518"/>
                    <a:gd name="connsiteY2524" fmla="*/ 1081 h 1161399"/>
                    <a:gd name="connsiteX2525" fmla="*/ 803340 w 1661518"/>
                    <a:gd name="connsiteY2525" fmla="*/ 1263 h 1161399"/>
                    <a:gd name="connsiteX2526" fmla="*/ 802223 w 1661518"/>
                    <a:gd name="connsiteY2526" fmla="*/ 1967 h 1161399"/>
                    <a:gd name="connsiteX2527" fmla="*/ 801130 w 1661518"/>
                    <a:gd name="connsiteY2527" fmla="*/ 2659 h 1161399"/>
                    <a:gd name="connsiteX2528" fmla="*/ 800657 w 1661518"/>
                    <a:gd name="connsiteY2528" fmla="*/ 2951 h 1161399"/>
                    <a:gd name="connsiteX2529" fmla="*/ 800244 w 1661518"/>
                    <a:gd name="connsiteY2529" fmla="*/ 3327 h 1161399"/>
                    <a:gd name="connsiteX2530" fmla="*/ 798750 w 1661518"/>
                    <a:gd name="connsiteY2530" fmla="*/ 4699 h 1161399"/>
                    <a:gd name="connsiteX2531" fmla="*/ 798046 w 1661518"/>
                    <a:gd name="connsiteY2531" fmla="*/ 5343 h 1161399"/>
                    <a:gd name="connsiteX2532" fmla="*/ 797572 w 1661518"/>
                    <a:gd name="connsiteY2532" fmla="*/ 6169 h 1161399"/>
                    <a:gd name="connsiteX2533" fmla="*/ 796492 w 1661518"/>
                    <a:gd name="connsiteY2533" fmla="*/ 8075 h 1161399"/>
                    <a:gd name="connsiteX2534" fmla="*/ 794622 w 1661518"/>
                    <a:gd name="connsiteY2534" fmla="*/ 7529 h 1161399"/>
                    <a:gd name="connsiteX2535" fmla="*/ 793735 w 1661518"/>
                    <a:gd name="connsiteY2535" fmla="*/ 7274 h 1161399"/>
                    <a:gd name="connsiteX2536" fmla="*/ 792812 w 1661518"/>
                    <a:gd name="connsiteY2536" fmla="*/ 7286 h 1161399"/>
                    <a:gd name="connsiteX2537" fmla="*/ 789206 w 1661518"/>
                    <a:gd name="connsiteY2537" fmla="*/ 7346 h 1161399"/>
                    <a:gd name="connsiteX2538" fmla="*/ 788150 w 1661518"/>
                    <a:gd name="connsiteY2538" fmla="*/ 7359 h 1161399"/>
                    <a:gd name="connsiteX2539" fmla="*/ 787154 w 1661518"/>
                    <a:gd name="connsiteY2539" fmla="*/ 7735 h 1161399"/>
                    <a:gd name="connsiteX2540" fmla="*/ 786000 w 1661518"/>
                    <a:gd name="connsiteY2540" fmla="*/ 8172 h 1161399"/>
                    <a:gd name="connsiteX2541" fmla="*/ 785733 w 1661518"/>
                    <a:gd name="connsiteY2541" fmla="*/ 8063 h 1161399"/>
                    <a:gd name="connsiteX2542" fmla="*/ 778508 w 1661518"/>
                    <a:gd name="connsiteY2542" fmla="*/ 5221 h 1161399"/>
                    <a:gd name="connsiteX2543" fmla="*/ 777500 w 1661518"/>
                    <a:gd name="connsiteY2543" fmla="*/ 12920 h 1161399"/>
                    <a:gd name="connsiteX2544" fmla="*/ 777367 w 1661518"/>
                    <a:gd name="connsiteY2544" fmla="*/ 13928 h 1161399"/>
                    <a:gd name="connsiteX2545" fmla="*/ 776541 w 1661518"/>
                    <a:gd name="connsiteY2545" fmla="*/ 13600 h 1161399"/>
                    <a:gd name="connsiteX2546" fmla="*/ 775545 w 1661518"/>
                    <a:gd name="connsiteY2546" fmla="*/ 13211 h 1161399"/>
                    <a:gd name="connsiteX2547" fmla="*/ 774477 w 1661518"/>
                    <a:gd name="connsiteY2547" fmla="*/ 13187 h 1161399"/>
                    <a:gd name="connsiteX2548" fmla="*/ 770931 w 1661518"/>
                    <a:gd name="connsiteY2548" fmla="*/ 13102 h 1161399"/>
                    <a:gd name="connsiteX2549" fmla="*/ 767094 w 1661518"/>
                    <a:gd name="connsiteY2549" fmla="*/ 13005 h 1161399"/>
                    <a:gd name="connsiteX2550" fmla="*/ 765357 w 1661518"/>
                    <a:gd name="connsiteY2550" fmla="*/ 16429 h 1161399"/>
                    <a:gd name="connsiteX2551" fmla="*/ 763803 w 1661518"/>
                    <a:gd name="connsiteY2551" fmla="*/ 19502 h 1161399"/>
                    <a:gd name="connsiteX2552" fmla="*/ 762977 w 1661518"/>
                    <a:gd name="connsiteY2552" fmla="*/ 21141 h 1161399"/>
                    <a:gd name="connsiteX2553" fmla="*/ 763196 w 1661518"/>
                    <a:gd name="connsiteY2553" fmla="*/ 22962 h 1161399"/>
                    <a:gd name="connsiteX2554" fmla="*/ 763427 w 1661518"/>
                    <a:gd name="connsiteY2554" fmla="*/ 24893 h 1161399"/>
                    <a:gd name="connsiteX2555" fmla="*/ 763499 w 1661518"/>
                    <a:gd name="connsiteY2555" fmla="*/ 25476 h 1161399"/>
                    <a:gd name="connsiteX2556" fmla="*/ 763682 w 1661518"/>
                    <a:gd name="connsiteY2556" fmla="*/ 26034 h 1161399"/>
                    <a:gd name="connsiteX2557" fmla="*/ 764349 w 1661518"/>
                    <a:gd name="connsiteY2557" fmla="*/ 28099 h 1161399"/>
                    <a:gd name="connsiteX2558" fmla="*/ 763487 w 1661518"/>
                    <a:gd name="connsiteY2558" fmla="*/ 29544 h 1161399"/>
                    <a:gd name="connsiteX2559" fmla="*/ 763196 w 1661518"/>
                    <a:gd name="connsiteY2559" fmla="*/ 30029 h 1161399"/>
                    <a:gd name="connsiteX2560" fmla="*/ 763002 w 1661518"/>
                    <a:gd name="connsiteY2560" fmla="*/ 30564 h 1161399"/>
                    <a:gd name="connsiteX2561" fmla="*/ 762479 w 1661518"/>
                    <a:gd name="connsiteY2561" fmla="*/ 31985 h 1161399"/>
                    <a:gd name="connsiteX2562" fmla="*/ 762224 w 1661518"/>
                    <a:gd name="connsiteY2562" fmla="*/ 32665 h 1161399"/>
                    <a:gd name="connsiteX2563" fmla="*/ 762139 w 1661518"/>
                    <a:gd name="connsiteY2563" fmla="*/ 33381 h 1161399"/>
                    <a:gd name="connsiteX2564" fmla="*/ 761812 w 1661518"/>
                    <a:gd name="connsiteY2564" fmla="*/ 36234 h 1161399"/>
                    <a:gd name="connsiteX2565" fmla="*/ 761435 w 1661518"/>
                    <a:gd name="connsiteY2565" fmla="*/ 36234 h 1161399"/>
                    <a:gd name="connsiteX2566" fmla="*/ 760634 w 1661518"/>
                    <a:gd name="connsiteY2566" fmla="*/ 36101 h 1161399"/>
                    <a:gd name="connsiteX2567" fmla="*/ 760391 w 1661518"/>
                    <a:gd name="connsiteY2567" fmla="*/ 36004 h 1161399"/>
                    <a:gd name="connsiteX2568" fmla="*/ 759759 w 1661518"/>
                    <a:gd name="connsiteY2568" fmla="*/ 35482 h 1161399"/>
                    <a:gd name="connsiteX2569" fmla="*/ 759286 w 1661518"/>
                    <a:gd name="connsiteY2569" fmla="*/ 35081 h 1161399"/>
                    <a:gd name="connsiteX2570" fmla="*/ 758739 w 1661518"/>
                    <a:gd name="connsiteY2570" fmla="*/ 34790 h 1161399"/>
                    <a:gd name="connsiteX2571" fmla="*/ 757064 w 1661518"/>
                    <a:gd name="connsiteY2571" fmla="*/ 33879 h 1161399"/>
                    <a:gd name="connsiteX2572" fmla="*/ 755133 w 1661518"/>
                    <a:gd name="connsiteY2572" fmla="*/ 32834 h 1161399"/>
                    <a:gd name="connsiteX2573" fmla="*/ 752984 w 1661518"/>
                    <a:gd name="connsiteY2573" fmla="*/ 33259 h 1161399"/>
                    <a:gd name="connsiteX2574" fmla="*/ 751247 w 1661518"/>
                    <a:gd name="connsiteY2574" fmla="*/ 33599 h 1161399"/>
                    <a:gd name="connsiteX2575" fmla="*/ 750676 w 1661518"/>
                    <a:gd name="connsiteY2575" fmla="*/ 33721 h 1161399"/>
                    <a:gd name="connsiteX2576" fmla="*/ 750130 w 1661518"/>
                    <a:gd name="connsiteY2576" fmla="*/ 33939 h 1161399"/>
                    <a:gd name="connsiteX2577" fmla="*/ 745443 w 1661518"/>
                    <a:gd name="connsiteY2577" fmla="*/ 35858 h 1161399"/>
                    <a:gd name="connsiteX2578" fmla="*/ 745127 w 1661518"/>
                    <a:gd name="connsiteY2578" fmla="*/ 35992 h 1161399"/>
                    <a:gd name="connsiteX2579" fmla="*/ 744836 w 1661518"/>
                    <a:gd name="connsiteY2579" fmla="*/ 36162 h 1161399"/>
                    <a:gd name="connsiteX2580" fmla="*/ 740282 w 1661518"/>
                    <a:gd name="connsiteY2580" fmla="*/ 38651 h 1161399"/>
                    <a:gd name="connsiteX2581" fmla="*/ 738364 w 1661518"/>
                    <a:gd name="connsiteY2581" fmla="*/ 39040 h 1161399"/>
                    <a:gd name="connsiteX2582" fmla="*/ 735376 w 1661518"/>
                    <a:gd name="connsiteY2582" fmla="*/ 39125 h 1161399"/>
                    <a:gd name="connsiteX2583" fmla="*/ 734903 w 1661518"/>
                    <a:gd name="connsiteY2583" fmla="*/ 39137 h 1161399"/>
                    <a:gd name="connsiteX2584" fmla="*/ 734441 w 1661518"/>
                    <a:gd name="connsiteY2584" fmla="*/ 39222 h 1161399"/>
                    <a:gd name="connsiteX2585" fmla="*/ 732426 w 1661518"/>
                    <a:gd name="connsiteY2585" fmla="*/ 39598 h 1161399"/>
                    <a:gd name="connsiteX2586" fmla="*/ 731454 w 1661518"/>
                    <a:gd name="connsiteY2586" fmla="*/ 39780 h 1161399"/>
                    <a:gd name="connsiteX2587" fmla="*/ 730592 w 1661518"/>
                    <a:gd name="connsiteY2587" fmla="*/ 40266 h 1161399"/>
                    <a:gd name="connsiteX2588" fmla="*/ 728989 w 1661518"/>
                    <a:gd name="connsiteY2588" fmla="*/ 41152 h 1161399"/>
                    <a:gd name="connsiteX2589" fmla="*/ 727568 w 1661518"/>
                    <a:gd name="connsiteY2589" fmla="*/ 41930 h 1161399"/>
                    <a:gd name="connsiteX2590" fmla="*/ 726731 w 1661518"/>
                    <a:gd name="connsiteY2590" fmla="*/ 43314 h 1161399"/>
                    <a:gd name="connsiteX2591" fmla="*/ 725759 w 1661518"/>
                    <a:gd name="connsiteY2591" fmla="*/ 44929 h 1161399"/>
                    <a:gd name="connsiteX2592" fmla="*/ 725164 w 1661518"/>
                    <a:gd name="connsiteY2592" fmla="*/ 45925 h 1161399"/>
                    <a:gd name="connsiteX2593" fmla="*/ 724970 w 1661518"/>
                    <a:gd name="connsiteY2593" fmla="*/ 47066 h 1161399"/>
                    <a:gd name="connsiteX2594" fmla="*/ 724642 w 1661518"/>
                    <a:gd name="connsiteY2594" fmla="*/ 49070 h 1161399"/>
                    <a:gd name="connsiteX2595" fmla="*/ 716106 w 1661518"/>
                    <a:gd name="connsiteY2595" fmla="*/ 51644 h 1161399"/>
                    <a:gd name="connsiteX2596" fmla="*/ 709815 w 1661518"/>
                    <a:gd name="connsiteY2596" fmla="*/ 53538 h 1161399"/>
                    <a:gd name="connsiteX2597" fmla="*/ 712195 w 1661518"/>
                    <a:gd name="connsiteY2597" fmla="*/ 59658 h 1161399"/>
                    <a:gd name="connsiteX2598" fmla="*/ 712827 w 1661518"/>
                    <a:gd name="connsiteY2598" fmla="*/ 61273 h 1161399"/>
                    <a:gd name="connsiteX2599" fmla="*/ 707290 w 1661518"/>
                    <a:gd name="connsiteY2599" fmla="*/ 63034 h 1161399"/>
                    <a:gd name="connsiteX2600" fmla="*/ 706925 w 1661518"/>
                    <a:gd name="connsiteY2600" fmla="*/ 63143 h 1161399"/>
                    <a:gd name="connsiteX2601" fmla="*/ 706573 w 1661518"/>
                    <a:gd name="connsiteY2601" fmla="*/ 63313 h 1161399"/>
                    <a:gd name="connsiteX2602" fmla="*/ 701182 w 1661518"/>
                    <a:gd name="connsiteY2602" fmla="*/ 65815 h 1161399"/>
                    <a:gd name="connsiteX2603" fmla="*/ 699834 w 1661518"/>
                    <a:gd name="connsiteY2603" fmla="*/ 66434 h 1161399"/>
                    <a:gd name="connsiteX2604" fmla="*/ 698935 w 1661518"/>
                    <a:gd name="connsiteY2604" fmla="*/ 67612 h 1161399"/>
                    <a:gd name="connsiteX2605" fmla="*/ 696082 w 1661518"/>
                    <a:gd name="connsiteY2605" fmla="*/ 71303 h 1161399"/>
                    <a:gd name="connsiteX2606" fmla="*/ 695402 w 1661518"/>
                    <a:gd name="connsiteY2606" fmla="*/ 71898 h 1161399"/>
                    <a:gd name="connsiteX2607" fmla="*/ 694236 w 1661518"/>
                    <a:gd name="connsiteY2607" fmla="*/ 72214 h 1161399"/>
                    <a:gd name="connsiteX2608" fmla="*/ 691176 w 1661518"/>
                    <a:gd name="connsiteY2608" fmla="*/ 72590 h 1161399"/>
                    <a:gd name="connsiteX2609" fmla="*/ 690690 w 1661518"/>
                    <a:gd name="connsiteY2609" fmla="*/ 72639 h 1161399"/>
                    <a:gd name="connsiteX2610" fmla="*/ 690229 w 1661518"/>
                    <a:gd name="connsiteY2610" fmla="*/ 72773 h 1161399"/>
                    <a:gd name="connsiteX2611" fmla="*/ 684012 w 1661518"/>
                    <a:gd name="connsiteY2611" fmla="*/ 74558 h 1161399"/>
                    <a:gd name="connsiteX2612" fmla="*/ 681668 w 1661518"/>
                    <a:gd name="connsiteY2612" fmla="*/ 74910 h 1161399"/>
                    <a:gd name="connsiteX2613" fmla="*/ 680940 w 1661518"/>
                    <a:gd name="connsiteY2613" fmla="*/ 75019 h 1161399"/>
                    <a:gd name="connsiteX2614" fmla="*/ 680260 w 1661518"/>
                    <a:gd name="connsiteY2614" fmla="*/ 75298 h 1161399"/>
                    <a:gd name="connsiteX2615" fmla="*/ 677612 w 1661518"/>
                    <a:gd name="connsiteY2615" fmla="*/ 76379 h 1161399"/>
                    <a:gd name="connsiteX2616" fmla="*/ 676908 w 1661518"/>
                    <a:gd name="connsiteY2616" fmla="*/ 76670 h 1161399"/>
                    <a:gd name="connsiteX2617" fmla="*/ 676289 w 1661518"/>
                    <a:gd name="connsiteY2617" fmla="*/ 77120 h 1161399"/>
                    <a:gd name="connsiteX2618" fmla="*/ 666915 w 1661518"/>
                    <a:gd name="connsiteY2618" fmla="*/ 84066 h 1161399"/>
                    <a:gd name="connsiteX2619" fmla="*/ 659811 w 1661518"/>
                    <a:gd name="connsiteY2619" fmla="*/ 88170 h 1161399"/>
                    <a:gd name="connsiteX2620" fmla="*/ 659252 w 1661518"/>
                    <a:gd name="connsiteY2620" fmla="*/ 88498 h 1161399"/>
                    <a:gd name="connsiteX2621" fmla="*/ 658767 w 1661518"/>
                    <a:gd name="connsiteY2621" fmla="*/ 88947 h 1161399"/>
                    <a:gd name="connsiteX2622" fmla="*/ 657504 w 1661518"/>
                    <a:gd name="connsiteY2622" fmla="*/ 90088 h 1161399"/>
                    <a:gd name="connsiteX2623" fmla="*/ 657334 w 1661518"/>
                    <a:gd name="connsiteY2623" fmla="*/ 90149 h 1161399"/>
                    <a:gd name="connsiteX2624" fmla="*/ 651201 w 1661518"/>
                    <a:gd name="connsiteY2624" fmla="*/ 89323 h 1161399"/>
                    <a:gd name="connsiteX2625" fmla="*/ 650145 w 1661518"/>
                    <a:gd name="connsiteY2625" fmla="*/ 89178 h 1161399"/>
                    <a:gd name="connsiteX2626" fmla="*/ 649113 w 1661518"/>
                    <a:gd name="connsiteY2626" fmla="*/ 89408 h 1161399"/>
                    <a:gd name="connsiteX2627" fmla="*/ 645786 w 1661518"/>
                    <a:gd name="connsiteY2627" fmla="*/ 90125 h 1161399"/>
                    <a:gd name="connsiteX2628" fmla="*/ 643551 w 1661518"/>
                    <a:gd name="connsiteY2628" fmla="*/ 90611 h 1161399"/>
                    <a:gd name="connsiteX2629" fmla="*/ 642191 w 1661518"/>
                    <a:gd name="connsiteY2629" fmla="*/ 92444 h 1161399"/>
                    <a:gd name="connsiteX2630" fmla="*/ 640236 w 1661518"/>
                    <a:gd name="connsiteY2630" fmla="*/ 95079 h 1161399"/>
                    <a:gd name="connsiteX2631" fmla="*/ 638913 w 1661518"/>
                    <a:gd name="connsiteY2631" fmla="*/ 96852 h 1161399"/>
                    <a:gd name="connsiteX2632" fmla="*/ 638998 w 1661518"/>
                    <a:gd name="connsiteY2632" fmla="*/ 98333 h 1161399"/>
                    <a:gd name="connsiteX2633" fmla="*/ 637917 w 1661518"/>
                    <a:gd name="connsiteY2633" fmla="*/ 98892 h 1161399"/>
                    <a:gd name="connsiteX2634" fmla="*/ 636436 w 1661518"/>
                    <a:gd name="connsiteY2634" fmla="*/ 99645 h 1161399"/>
                    <a:gd name="connsiteX2635" fmla="*/ 635173 w 1661518"/>
                    <a:gd name="connsiteY2635" fmla="*/ 99851 h 1161399"/>
                    <a:gd name="connsiteX2636" fmla="*/ 629939 w 1661518"/>
                    <a:gd name="connsiteY2636" fmla="*/ 99718 h 1161399"/>
                    <a:gd name="connsiteX2637" fmla="*/ 628992 w 1661518"/>
                    <a:gd name="connsiteY2637" fmla="*/ 99693 h 1161399"/>
                    <a:gd name="connsiteX2638" fmla="*/ 628081 w 1661518"/>
                    <a:gd name="connsiteY2638" fmla="*/ 99961 h 1161399"/>
                    <a:gd name="connsiteX2639" fmla="*/ 625495 w 1661518"/>
                    <a:gd name="connsiteY2639" fmla="*/ 100713 h 1161399"/>
                    <a:gd name="connsiteX2640" fmla="*/ 624378 w 1661518"/>
                    <a:gd name="connsiteY2640" fmla="*/ 101041 h 1161399"/>
                    <a:gd name="connsiteX2641" fmla="*/ 623467 w 1661518"/>
                    <a:gd name="connsiteY2641" fmla="*/ 101758 h 1161399"/>
                    <a:gd name="connsiteX2642" fmla="*/ 621111 w 1661518"/>
                    <a:gd name="connsiteY2642" fmla="*/ 103591 h 1161399"/>
                    <a:gd name="connsiteX2643" fmla="*/ 620577 w 1661518"/>
                    <a:gd name="connsiteY2643" fmla="*/ 104004 h 1161399"/>
                    <a:gd name="connsiteX2644" fmla="*/ 620140 w 1661518"/>
                    <a:gd name="connsiteY2644" fmla="*/ 104526 h 1161399"/>
                    <a:gd name="connsiteX2645" fmla="*/ 616752 w 1661518"/>
                    <a:gd name="connsiteY2645" fmla="*/ 108667 h 1161399"/>
                    <a:gd name="connsiteX2646" fmla="*/ 616291 w 1661518"/>
                    <a:gd name="connsiteY2646" fmla="*/ 109214 h 1161399"/>
                    <a:gd name="connsiteX2647" fmla="*/ 615975 w 1661518"/>
                    <a:gd name="connsiteY2647" fmla="*/ 109857 h 1161399"/>
                    <a:gd name="connsiteX2648" fmla="*/ 615295 w 1661518"/>
                    <a:gd name="connsiteY2648" fmla="*/ 111254 h 1161399"/>
                    <a:gd name="connsiteX2649" fmla="*/ 614093 w 1661518"/>
                    <a:gd name="connsiteY2649" fmla="*/ 114180 h 1161399"/>
                    <a:gd name="connsiteX2650" fmla="*/ 613728 w 1661518"/>
                    <a:gd name="connsiteY2650" fmla="*/ 114690 h 1161399"/>
                    <a:gd name="connsiteX2651" fmla="*/ 612939 w 1661518"/>
                    <a:gd name="connsiteY2651" fmla="*/ 115370 h 1161399"/>
                    <a:gd name="connsiteX2652" fmla="*/ 610656 w 1661518"/>
                    <a:gd name="connsiteY2652" fmla="*/ 116961 h 1161399"/>
                    <a:gd name="connsiteX2653" fmla="*/ 610401 w 1661518"/>
                    <a:gd name="connsiteY2653" fmla="*/ 117143 h 1161399"/>
                    <a:gd name="connsiteX2654" fmla="*/ 610158 w 1661518"/>
                    <a:gd name="connsiteY2654" fmla="*/ 117361 h 1161399"/>
                    <a:gd name="connsiteX2655" fmla="*/ 608434 w 1661518"/>
                    <a:gd name="connsiteY2655" fmla="*/ 118879 h 1161399"/>
                    <a:gd name="connsiteX2656" fmla="*/ 604512 w 1661518"/>
                    <a:gd name="connsiteY2656" fmla="*/ 120992 h 1161399"/>
                    <a:gd name="connsiteX2657" fmla="*/ 603625 w 1661518"/>
                    <a:gd name="connsiteY2657" fmla="*/ 121478 h 1161399"/>
                    <a:gd name="connsiteX2658" fmla="*/ 602933 w 1661518"/>
                    <a:gd name="connsiteY2658" fmla="*/ 122219 h 1161399"/>
                    <a:gd name="connsiteX2659" fmla="*/ 600493 w 1661518"/>
                    <a:gd name="connsiteY2659" fmla="*/ 124842 h 1161399"/>
                    <a:gd name="connsiteX2660" fmla="*/ 597943 w 1661518"/>
                    <a:gd name="connsiteY2660" fmla="*/ 125279 h 1161399"/>
                    <a:gd name="connsiteX2661" fmla="*/ 593328 w 1661518"/>
                    <a:gd name="connsiteY2661" fmla="*/ 124878 h 1161399"/>
                    <a:gd name="connsiteX2662" fmla="*/ 592843 w 1661518"/>
                    <a:gd name="connsiteY2662" fmla="*/ 124842 h 1161399"/>
                    <a:gd name="connsiteX2663" fmla="*/ 592357 w 1661518"/>
                    <a:gd name="connsiteY2663" fmla="*/ 124878 h 1161399"/>
                    <a:gd name="connsiteX2664" fmla="*/ 587184 w 1661518"/>
                    <a:gd name="connsiteY2664" fmla="*/ 125254 h 1161399"/>
                    <a:gd name="connsiteX2665" fmla="*/ 585532 w 1661518"/>
                    <a:gd name="connsiteY2665" fmla="*/ 125376 h 1161399"/>
                    <a:gd name="connsiteX2666" fmla="*/ 584172 w 1661518"/>
                    <a:gd name="connsiteY2666" fmla="*/ 126323 h 1161399"/>
                    <a:gd name="connsiteX2667" fmla="*/ 579461 w 1661518"/>
                    <a:gd name="connsiteY2667" fmla="*/ 129589 h 1161399"/>
                    <a:gd name="connsiteX2668" fmla="*/ 577931 w 1661518"/>
                    <a:gd name="connsiteY2668" fmla="*/ 130658 h 1161399"/>
                    <a:gd name="connsiteX2669" fmla="*/ 577263 w 1661518"/>
                    <a:gd name="connsiteY2669" fmla="*/ 132406 h 1161399"/>
                    <a:gd name="connsiteX2670" fmla="*/ 576753 w 1661518"/>
                    <a:gd name="connsiteY2670" fmla="*/ 133730 h 1161399"/>
                    <a:gd name="connsiteX2671" fmla="*/ 576486 w 1661518"/>
                    <a:gd name="connsiteY2671" fmla="*/ 134434 h 1161399"/>
                    <a:gd name="connsiteX2672" fmla="*/ 576389 w 1661518"/>
                    <a:gd name="connsiteY2672" fmla="*/ 135187 h 1161399"/>
                    <a:gd name="connsiteX2673" fmla="*/ 576352 w 1661518"/>
                    <a:gd name="connsiteY2673" fmla="*/ 135503 h 1161399"/>
                    <a:gd name="connsiteX2674" fmla="*/ 575733 w 1661518"/>
                    <a:gd name="connsiteY2674" fmla="*/ 135394 h 1161399"/>
                    <a:gd name="connsiteX2675" fmla="*/ 574604 w 1661518"/>
                    <a:gd name="connsiteY2675" fmla="*/ 135624 h 1161399"/>
                    <a:gd name="connsiteX2676" fmla="*/ 572175 w 1661518"/>
                    <a:gd name="connsiteY2676" fmla="*/ 136122 h 1161399"/>
                    <a:gd name="connsiteX2677" fmla="*/ 571507 w 1661518"/>
                    <a:gd name="connsiteY2677" fmla="*/ 136256 h 1161399"/>
                    <a:gd name="connsiteX2678" fmla="*/ 570888 w 1661518"/>
                    <a:gd name="connsiteY2678" fmla="*/ 136535 h 1161399"/>
                    <a:gd name="connsiteX2679" fmla="*/ 565266 w 1661518"/>
                    <a:gd name="connsiteY2679" fmla="*/ 139085 h 1161399"/>
                    <a:gd name="connsiteX2680" fmla="*/ 564805 w 1661518"/>
                    <a:gd name="connsiteY2680" fmla="*/ 139304 h 1161399"/>
                    <a:gd name="connsiteX2681" fmla="*/ 564380 w 1661518"/>
                    <a:gd name="connsiteY2681" fmla="*/ 139583 h 1161399"/>
                    <a:gd name="connsiteX2682" fmla="*/ 562777 w 1661518"/>
                    <a:gd name="connsiteY2682" fmla="*/ 140664 h 1161399"/>
                    <a:gd name="connsiteX2683" fmla="*/ 561720 w 1661518"/>
                    <a:gd name="connsiteY2683" fmla="*/ 141380 h 1161399"/>
                    <a:gd name="connsiteX2684" fmla="*/ 561040 w 1661518"/>
                    <a:gd name="connsiteY2684" fmla="*/ 142461 h 1161399"/>
                    <a:gd name="connsiteX2685" fmla="*/ 559777 w 1661518"/>
                    <a:gd name="connsiteY2685" fmla="*/ 144452 h 1161399"/>
                    <a:gd name="connsiteX2686" fmla="*/ 559486 w 1661518"/>
                    <a:gd name="connsiteY2686" fmla="*/ 144914 h 1161399"/>
                    <a:gd name="connsiteX2687" fmla="*/ 559280 w 1661518"/>
                    <a:gd name="connsiteY2687" fmla="*/ 145424 h 1161399"/>
                    <a:gd name="connsiteX2688" fmla="*/ 558782 w 1661518"/>
                    <a:gd name="connsiteY2688" fmla="*/ 146650 h 1161399"/>
                    <a:gd name="connsiteX2689" fmla="*/ 556717 w 1661518"/>
                    <a:gd name="connsiteY2689" fmla="*/ 147282 h 1161399"/>
                    <a:gd name="connsiteX2690" fmla="*/ 555709 w 1661518"/>
                    <a:gd name="connsiteY2690" fmla="*/ 147585 h 1161399"/>
                    <a:gd name="connsiteX2691" fmla="*/ 554860 w 1661518"/>
                    <a:gd name="connsiteY2691" fmla="*/ 148217 h 1161399"/>
                    <a:gd name="connsiteX2692" fmla="*/ 553074 w 1661518"/>
                    <a:gd name="connsiteY2692" fmla="*/ 149540 h 1161399"/>
                    <a:gd name="connsiteX2693" fmla="*/ 552613 w 1661518"/>
                    <a:gd name="connsiteY2693" fmla="*/ 149880 h 1161399"/>
                    <a:gd name="connsiteX2694" fmla="*/ 552224 w 1661518"/>
                    <a:gd name="connsiteY2694" fmla="*/ 150305 h 1161399"/>
                    <a:gd name="connsiteX2695" fmla="*/ 550306 w 1661518"/>
                    <a:gd name="connsiteY2695" fmla="*/ 152394 h 1161399"/>
                    <a:gd name="connsiteX2696" fmla="*/ 545752 w 1661518"/>
                    <a:gd name="connsiteY2696" fmla="*/ 153353 h 1161399"/>
                    <a:gd name="connsiteX2697" fmla="*/ 544052 w 1661518"/>
                    <a:gd name="connsiteY2697" fmla="*/ 153705 h 1161399"/>
                    <a:gd name="connsiteX2698" fmla="*/ 542789 w 1661518"/>
                    <a:gd name="connsiteY2698" fmla="*/ 154908 h 1161399"/>
                    <a:gd name="connsiteX2699" fmla="*/ 541138 w 1661518"/>
                    <a:gd name="connsiteY2699" fmla="*/ 156486 h 1161399"/>
                    <a:gd name="connsiteX2700" fmla="*/ 540300 w 1661518"/>
                    <a:gd name="connsiteY2700" fmla="*/ 157288 h 1161399"/>
                    <a:gd name="connsiteX2701" fmla="*/ 539814 w 1661518"/>
                    <a:gd name="connsiteY2701" fmla="*/ 158344 h 1161399"/>
                    <a:gd name="connsiteX2702" fmla="*/ 539061 w 1661518"/>
                    <a:gd name="connsiteY2702" fmla="*/ 159983 h 1161399"/>
                    <a:gd name="connsiteX2703" fmla="*/ 538843 w 1661518"/>
                    <a:gd name="connsiteY2703" fmla="*/ 160469 h 1161399"/>
                    <a:gd name="connsiteX2704" fmla="*/ 538709 w 1661518"/>
                    <a:gd name="connsiteY2704" fmla="*/ 160979 h 1161399"/>
                    <a:gd name="connsiteX2705" fmla="*/ 538406 w 1661518"/>
                    <a:gd name="connsiteY2705" fmla="*/ 162157 h 1161399"/>
                    <a:gd name="connsiteX2706" fmla="*/ 538224 w 1661518"/>
                    <a:gd name="connsiteY2706" fmla="*/ 162533 h 1161399"/>
                    <a:gd name="connsiteX2707" fmla="*/ 536864 w 1661518"/>
                    <a:gd name="connsiteY2707" fmla="*/ 163772 h 1161399"/>
                    <a:gd name="connsiteX2708" fmla="*/ 526457 w 1661518"/>
                    <a:gd name="connsiteY2708" fmla="*/ 170098 h 1161399"/>
                    <a:gd name="connsiteX2709" fmla="*/ 525121 w 1661518"/>
                    <a:gd name="connsiteY2709" fmla="*/ 170912 h 1161399"/>
                    <a:gd name="connsiteX2710" fmla="*/ 524344 w 1661518"/>
                    <a:gd name="connsiteY2710" fmla="*/ 172223 h 1161399"/>
                    <a:gd name="connsiteX2711" fmla="*/ 523130 w 1661518"/>
                    <a:gd name="connsiteY2711" fmla="*/ 174348 h 1161399"/>
                    <a:gd name="connsiteX2712" fmla="*/ 522523 w 1661518"/>
                    <a:gd name="connsiteY2712" fmla="*/ 175417 h 1161399"/>
                    <a:gd name="connsiteX2713" fmla="*/ 522377 w 1661518"/>
                    <a:gd name="connsiteY2713" fmla="*/ 176643 h 1161399"/>
                    <a:gd name="connsiteX2714" fmla="*/ 522098 w 1661518"/>
                    <a:gd name="connsiteY2714" fmla="*/ 178938 h 1161399"/>
                    <a:gd name="connsiteX2715" fmla="*/ 522061 w 1661518"/>
                    <a:gd name="connsiteY2715" fmla="*/ 179303 h 1161399"/>
                    <a:gd name="connsiteX2716" fmla="*/ 522061 w 1661518"/>
                    <a:gd name="connsiteY2716" fmla="*/ 179667 h 1161399"/>
                    <a:gd name="connsiteX2717" fmla="*/ 522061 w 1661518"/>
                    <a:gd name="connsiteY2717" fmla="*/ 181160 h 1161399"/>
                    <a:gd name="connsiteX2718" fmla="*/ 522001 w 1661518"/>
                    <a:gd name="connsiteY2718" fmla="*/ 181379 h 1161399"/>
                    <a:gd name="connsiteX2719" fmla="*/ 521078 w 1661518"/>
                    <a:gd name="connsiteY2719" fmla="*/ 181658 h 1161399"/>
                    <a:gd name="connsiteX2720" fmla="*/ 520641 w 1661518"/>
                    <a:gd name="connsiteY2720" fmla="*/ 181792 h 1161399"/>
                    <a:gd name="connsiteX2721" fmla="*/ 520228 w 1661518"/>
                    <a:gd name="connsiteY2721" fmla="*/ 181986 h 1161399"/>
                    <a:gd name="connsiteX2722" fmla="*/ 518576 w 1661518"/>
                    <a:gd name="connsiteY2722" fmla="*/ 182763 h 1161399"/>
                    <a:gd name="connsiteX2723" fmla="*/ 517872 w 1661518"/>
                    <a:gd name="connsiteY2723" fmla="*/ 183091 h 1161399"/>
                    <a:gd name="connsiteX2724" fmla="*/ 517277 w 1661518"/>
                    <a:gd name="connsiteY2724" fmla="*/ 183589 h 1161399"/>
                    <a:gd name="connsiteX2725" fmla="*/ 515310 w 1661518"/>
                    <a:gd name="connsiteY2725" fmla="*/ 185228 h 1161399"/>
                    <a:gd name="connsiteX2726" fmla="*/ 514873 w 1661518"/>
                    <a:gd name="connsiteY2726" fmla="*/ 185593 h 1161399"/>
                    <a:gd name="connsiteX2727" fmla="*/ 514508 w 1661518"/>
                    <a:gd name="connsiteY2727" fmla="*/ 186030 h 1161399"/>
                    <a:gd name="connsiteX2728" fmla="*/ 511485 w 1661518"/>
                    <a:gd name="connsiteY2728" fmla="*/ 189709 h 1161399"/>
                    <a:gd name="connsiteX2729" fmla="*/ 511436 w 1661518"/>
                    <a:gd name="connsiteY2729" fmla="*/ 189733 h 1161399"/>
                    <a:gd name="connsiteX2730" fmla="*/ 510198 w 1661518"/>
                    <a:gd name="connsiteY2730" fmla="*/ 189430 h 1161399"/>
                    <a:gd name="connsiteX2731" fmla="*/ 509724 w 1661518"/>
                    <a:gd name="connsiteY2731" fmla="*/ 189321 h 1161399"/>
                    <a:gd name="connsiteX2732" fmla="*/ 509238 w 1661518"/>
                    <a:gd name="connsiteY2732" fmla="*/ 189284 h 1161399"/>
                    <a:gd name="connsiteX2733" fmla="*/ 499415 w 1661518"/>
                    <a:gd name="connsiteY2733" fmla="*/ 188483 h 1161399"/>
                    <a:gd name="connsiteX2734" fmla="*/ 498480 w 1661518"/>
                    <a:gd name="connsiteY2734" fmla="*/ 188410 h 1161399"/>
                    <a:gd name="connsiteX2735" fmla="*/ 497557 w 1661518"/>
                    <a:gd name="connsiteY2735" fmla="*/ 188628 h 1161399"/>
                    <a:gd name="connsiteX2736" fmla="*/ 495541 w 1661518"/>
                    <a:gd name="connsiteY2736" fmla="*/ 189090 h 1161399"/>
                    <a:gd name="connsiteX2737" fmla="*/ 493331 w 1661518"/>
                    <a:gd name="connsiteY2737" fmla="*/ 189600 h 1161399"/>
                    <a:gd name="connsiteX2738" fmla="*/ 491996 w 1661518"/>
                    <a:gd name="connsiteY2738" fmla="*/ 191421 h 1161399"/>
                    <a:gd name="connsiteX2739" fmla="*/ 491085 w 1661518"/>
                    <a:gd name="connsiteY2739" fmla="*/ 192660 h 1161399"/>
                    <a:gd name="connsiteX2740" fmla="*/ 490611 w 1661518"/>
                    <a:gd name="connsiteY2740" fmla="*/ 193303 h 1161399"/>
                    <a:gd name="connsiteX2741" fmla="*/ 490320 w 1661518"/>
                    <a:gd name="connsiteY2741" fmla="*/ 194044 h 1161399"/>
                    <a:gd name="connsiteX2742" fmla="*/ 489227 w 1661518"/>
                    <a:gd name="connsiteY2742" fmla="*/ 196837 h 1161399"/>
                    <a:gd name="connsiteX2743" fmla="*/ 487357 w 1661518"/>
                    <a:gd name="connsiteY2743" fmla="*/ 196922 h 1161399"/>
                    <a:gd name="connsiteX2744" fmla="*/ 485839 w 1661518"/>
                    <a:gd name="connsiteY2744" fmla="*/ 196995 h 1161399"/>
                    <a:gd name="connsiteX2745" fmla="*/ 484540 w 1661518"/>
                    <a:gd name="connsiteY2745" fmla="*/ 197772 h 1161399"/>
                    <a:gd name="connsiteX2746" fmla="*/ 482815 w 1661518"/>
                    <a:gd name="connsiteY2746" fmla="*/ 198804 h 1161399"/>
                    <a:gd name="connsiteX2747" fmla="*/ 482208 w 1661518"/>
                    <a:gd name="connsiteY2747" fmla="*/ 199168 h 1161399"/>
                    <a:gd name="connsiteX2748" fmla="*/ 481698 w 1661518"/>
                    <a:gd name="connsiteY2748" fmla="*/ 199654 h 1161399"/>
                    <a:gd name="connsiteX2749" fmla="*/ 477837 w 1661518"/>
                    <a:gd name="connsiteY2749" fmla="*/ 203406 h 1161399"/>
                    <a:gd name="connsiteX2750" fmla="*/ 476877 w 1661518"/>
                    <a:gd name="connsiteY2750" fmla="*/ 203771 h 1161399"/>
                    <a:gd name="connsiteX2751" fmla="*/ 474862 w 1661518"/>
                    <a:gd name="connsiteY2751" fmla="*/ 204536 h 1161399"/>
                    <a:gd name="connsiteX2752" fmla="*/ 473781 w 1661518"/>
                    <a:gd name="connsiteY2752" fmla="*/ 206393 h 1161399"/>
                    <a:gd name="connsiteX2753" fmla="*/ 469543 w 1661518"/>
                    <a:gd name="connsiteY2753" fmla="*/ 213655 h 1161399"/>
                    <a:gd name="connsiteX2754" fmla="*/ 469288 w 1661518"/>
                    <a:gd name="connsiteY2754" fmla="*/ 214092 h 1161399"/>
                    <a:gd name="connsiteX2755" fmla="*/ 469106 w 1661518"/>
                    <a:gd name="connsiteY2755" fmla="*/ 214566 h 1161399"/>
                    <a:gd name="connsiteX2756" fmla="*/ 468122 w 1661518"/>
                    <a:gd name="connsiteY2756" fmla="*/ 217152 h 1161399"/>
                    <a:gd name="connsiteX2757" fmla="*/ 467819 w 1661518"/>
                    <a:gd name="connsiteY2757" fmla="*/ 217954 h 1161399"/>
                    <a:gd name="connsiteX2758" fmla="*/ 467746 w 1661518"/>
                    <a:gd name="connsiteY2758" fmla="*/ 218804 h 1161399"/>
                    <a:gd name="connsiteX2759" fmla="*/ 467515 w 1661518"/>
                    <a:gd name="connsiteY2759" fmla="*/ 221584 h 1161399"/>
                    <a:gd name="connsiteX2760" fmla="*/ 467491 w 1661518"/>
                    <a:gd name="connsiteY2760" fmla="*/ 221900 h 1161399"/>
                    <a:gd name="connsiteX2761" fmla="*/ 467491 w 1661518"/>
                    <a:gd name="connsiteY2761" fmla="*/ 222216 h 1161399"/>
                    <a:gd name="connsiteX2762" fmla="*/ 467564 w 1661518"/>
                    <a:gd name="connsiteY2762" fmla="*/ 225676 h 1161399"/>
                    <a:gd name="connsiteX2763" fmla="*/ 466884 w 1661518"/>
                    <a:gd name="connsiteY2763" fmla="*/ 225810 h 1161399"/>
                    <a:gd name="connsiteX2764" fmla="*/ 465402 w 1661518"/>
                    <a:gd name="connsiteY2764" fmla="*/ 226101 h 1161399"/>
                    <a:gd name="connsiteX2765" fmla="*/ 464237 w 1661518"/>
                    <a:gd name="connsiteY2765" fmla="*/ 227049 h 1161399"/>
                    <a:gd name="connsiteX2766" fmla="*/ 463034 w 1661518"/>
                    <a:gd name="connsiteY2766" fmla="*/ 228020 h 1161399"/>
                    <a:gd name="connsiteX2767" fmla="*/ 461347 w 1661518"/>
                    <a:gd name="connsiteY2767" fmla="*/ 229380 h 1161399"/>
                    <a:gd name="connsiteX2768" fmla="*/ 460897 w 1661518"/>
                    <a:gd name="connsiteY2768" fmla="*/ 231493 h 1161399"/>
                    <a:gd name="connsiteX2769" fmla="*/ 460375 w 1661518"/>
                    <a:gd name="connsiteY2769" fmla="*/ 233970 h 1161399"/>
                    <a:gd name="connsiteX2770" fmla="*/ 460072 w 1661518"/>
                    <a:gd name="connsiteY2770" fmla="*/ 235439 h 1161399"/>
                    <a:gd name="connsiteX2771" fmla="*/ 460485 w 1661518"/>
                    <a:gd name="connsiteY2771" fmla="*/ 236884 h 1161399"/>
                    <a:gd name="connsiteX2772" fmla="*/ 461116 w 1661518"/>
                    <a:gd name="connsiteY2772" fmla="*/ 239094 h 1161399"/>
                    <a:gd name="connsiteX2773" fmla="*/ 461298 w 1661518"/>
                    <a:gd name="connsiteY2773" fmla="*/ 239750 h 1161399"/>
                    <a:gd name="connsiteX2774" fmla="*/ 461626 w 1661518"/>
                    <a:gd name="connsiteY2774" fmla="*/ 240345 h 1161399"/>
                    <a:gd name="connsiteX2775" fmla="*/ 462573 w 1661518"/>
                    <a:gd name="connsiteY2775" fmla="*/ 242094 h 1161399"/>
                    <a:gd name="connsiteX2776" fmla="*/ 463107 w 1661518"/>
                    <a:gd name="connsiteY2776" fmla="*/ 243527 h 1161399"/>
                    <a:gd name="connsiteX2777" fmla="*/ 468462 w 1661518"/>
                    <a:gd name="connsiteY2777" fmla="*/ 270375 h 1161399"/>
                    <a:gd name="connsiteX2778" fmla="*/ 468535 w 1661518"/>
                    <a:gd name="connsiteY2778" fmla="*/ 270751 h 1161399"/>
                    <a:gd name="connsiteX2779" fmla="*/ 468657 w 1661518"/>
                    <a:gd name="connsiteY2779" fmla="*/ 271103 h 1161399"/>
                    <a:gd name="connsiteX2780" fmla="*/ 472385 w 1661518"/>
                    <a:gd name="connsiteY2780" fmla="*/ 282299 h 1161399"/>
                    <a:gd name="connsiteX2781" fmla="*/ 473332 w 1661518"/>
                    <a:gd name="connsiteY2781" fmla="*/ 286464 h 1161399"/>
                    <a:gd name="connsiteX2782" fmla="*/ 473429 w 1661518"/>
                    <a:gd name="connsiteY2782" fmla="*/ 286865 h 1161399"/>
                    <a:gd name="connsiteX2783" fmla="*/ 473575 w 1661518"/>
                    <a:gd name="connsiteY2783" fmla="*/ 287253 h 1161399"/>
                    <a:gd name="connsiteX2784" fmla="*/ 474388 w 1661518"/>
                    <a:gd name="connsiteY2784" fmla="*/ 289378 h 1161399"/>
                    <a:gd name="connsiteX2785" fmla="*/ 474825 w 1661518"/>
                    <a:gd name="connsiteY2785" fmla="*/ 290508 h 1161399"/>
                    <a:gd name="connsiteX2786" fmla="*/ 475651 w 1661518"/>
                    <a:gd name="connsiteY2786" fmla="*/ 291382 h 1161399"/>
                    <a:gd name="connsiteX2787" fmla="*/ 477084 w 1661518"/>
                    <a:gd name="connsiteY2787" fmla="*/ 292900 h 1161399"/>
                    <a:gd name="connsiteX2788" fmla="*/ 477740 w 1661518"/>
                    <a:gd name="connsiteY2788" fmla="*/ 293592 h 1161399"/>
                    <a:gd name="connsiteX2789" fmla="*/ 478565 w 1661518"/>
                    <a:gd name="connsiteY2789" fmla="*/ 294053 h 1161399"/>
                    <a:gd name="connsiteX2790" fmla="*/ 480168 w 1661518"/>
                    <a:gd name="connsiteY2790" fmla="*/ 294928 h 1161399"/>
                    <a:gd name="connsiteX2791" fmla="*/ 481055 w 1661518"/>
                    <a:gd name="connsiteY2791" fmla="*/ 295425 h 1161399"/>
                    <a:gd name="connsiteX2792" fmla="*/ 482050 w 1661518"/>
                    <a:gd name="connsiteY2792" fmla="*/ 295596 h 1161399"/>
                    <a:gd name="connsiteX2793" fmla="*/ 483823 w 1661518"/>
                    <a:gd name="connsiteY2793" fmla="*/ 295911 h 1161399"/>
                    <a:gd name="connsiteX2794" fmla="*/ 485378 w 1661518"/>
                    <a:gd name="connsiteY2794" fmla="*/ 296227 h 1161399"/>
                    <a:gd name="connsiteX2795" fmla="*/ 486070 w 1661518"/>
                    <a:gd name="connsiteY2795" fmla="*/ 296640 h 1161399"/>
                    <a:gd name="connsiteX2796" fmla="*/ 486325 w 1661518"/>
                    <a:gd name="connsiteY2796" fmla="*/ 296883 h 1161399"/>
                    <a:gd name="connsiteX2797" fmla="*/ 490162 w 1661518"/>
                    <a:gd name="connsiteY2797" fmla="*/ 303695 h 1161399"/>
                    <a:gd name="connsiteX2798" fmla="*/ 490538 w 1661518"/>
                    <a:gd name="connsiteY2798" fmla="*/ 304375 h 1161399"/>
                    <a:gd name="connsiteX2799" fmla="*/ 491073 w 1661518"/>
                    <a:gd name="connsiteY2799" fmla="*/ 304933 h 1161399"/>
                    <a:gd name="connsiteX2800" fmla="*/ 492566 w 1661518"/>
                    <a:gd name="connsiteY2800" fmla="*/ 306488 h 1161399"/>
                    <a:gd name="connsiteX2801" fmla="*/ 493210 w 1661518"/>
                    <a:gd name="connsiteY2801" fmla="*/ 307156 h 1161399"/>
                    <a:gd name="connsiteX2802" fmla="*/ 494011 w 1661518"/>
                    <a:gd name="connsiteY2802" fmla="*/ 307605 h 1161399"/>
                    <a:gd name="connsiteX2803" fmla="*/ 496088 w 1661518"/>
                    <a:gd name="connsiteY2803" fmla="*/ 308746 h 1161399"/>
                    <a:gd name="connsiteX2804" fmla="*/ 496974 w 1661518"/>
                    <a:gd name="connsiteY2804" fmla="*/ 309232 h 1161399"/>
                    <a:gd name="connsiteX2805" fmla="*/ 497970 w 1661518"/>
                    <a:gd name="connsiteY2805" fmla="*/ 309414 h 1161399"/>
                    <a:gd name="connsiteX2806" fmla="*/ 499743 w 1661518"/>
                    <a:gd name="connsiteY2806" fmla="*/ 309718 h 1161399"/>
                    <a:gd name="connsiteX2807" fmla="*/ 500241 w 1661518"/>
                    <a:gd name="connsiteY2807" fmla="*/ 309803 h 1161399"/>
                    <a:gd name="connsiteX2808" fmla="*/ 500738 w 1661518"/>
                    <a:gd name="connsiteY2808" fmla="*/ 309803 h 1161399"/>
                    <a:gd name="connsiteX2809" fmla="*/ 504248 w 1661518"/>
                    <a:gd name="connsiteY2809" fmla="*/ 309827 h 1161399"/>
                    <a:gd name="connsiteX2810" fmla="*/ 505498 w 1661518"/>
                    <a:gd name="connsiteY2810" fmla="*/ 309985 h 1161399"/>
                    <a:gd name="connsiteX2811" fmla="*/ 506907 w 1661518"/>
                    <a:gd name="connsiteY2811" fmla="*/ 310422 h 1161399"/>
                    <a:gd name="connsiteX2812" fmla="*/ 508036 w 1661518"/>
                    <a:gd name="connsiteY2812" fmla="*/ 310932 h 1161399"/>
                    <a:gd name="connsiteX2813" fmla="*/ 515431 w 1661518"/>
                    <a:gd name="connsiteY2813" fmla="*/ 316445 h 1161399"/>
                    <a:gd name="connsiteX2814" fmla="*/ 517046 w 1661518"/>
                    <a:gd name="connsiteY2814" fmla="*/ 317477 h 1161399"/>
                    <a:gd name="connsiteX2815" fmla="*/ 517605 w 1661518"/>
                    <a:gd name="connsiteY2815" fmla="*/ 317829 h 1161399"/>
                    <a:gd name="connsiteX2816" fmla="*/ 518236 w 1661518"/>
                    <a:gd name="connsiteY2816" fmla="*/ 318048 h 1161399"/>
                    <a:gd name="connsiteX2817" fmla="*/ 519621 w 1661518"/>
                    <a:gd name="connsiteY2817" fmla="*/ 318533 h 1161399"/>
                    <a:gd name="connsiteX2818" fmla="*/ 520519 w 1661518"/>
                    <a:gd name="connsiteY2818" fmla="*/ 318849 h 1161399"/>
                    <a:gd name="connsiteX2819" fmla="*/ 521478 w 1661518"/>
                    <a:gd name="connsiteY2819" fmla="*/ 318873 h 1161399"/>
                    <a:gd name="connsiteX2820" fmla="*/ 522802 w 1661518"/>
                    <a:gd name="connsiteY2820" fmla="*/ 318910 h 1161399"/>
                    <a:gd name="connsiteX2821" fmla="*/ 523944 w 1661518"/>
                    <a:gd name="connsiteY2821" fmla="*/ 318934 h 1161399"/>
                    <a:gd name="connsiteX2822" fmla="*/ 525024 w 1661518"/>
                    <a:gd name="connsiteY2822" fmla="*/ 318546 h 1161399"/>
                    <a:gd name="connsiteX2823" fmla="*/ 530634 w 1661518"/>
                    <a:gd name="connsiteY2823" fmla="*/ 316530 h 1161399"/>
                    <a:gd name="connsiteX2824" fmla="*/ 531059 w 1661518"/>
                    <a:gd name="connsiteY2824" fmla="*/ 316421 h 1161399"/>
                    <a:gd name="connsiteX2825" fmla="*/ 531472 w 1661518"/>
                    <a:gd name="connsiteY2825" fmla="*/ 316421 h 1161399"/>
                    <a:gd name="connsiteX2826" fmla="*/ 537944 w 1661518"/>
                    <a:gd name="connsiteY2826" fmla="*/ 317513 h 1161399"/>
                    <a:gd name="connsiteX2827" fmla="*/ 538321 w 1661518"/>
                    <a:gd name="connsiteY2827" fmla="*/ 317684 h 1161399"/>
                    <a:gd name="connsiteX2828" fmla="*/ 544319 w 1661518"/>
                    <a:gd name="connsiteY2828" fmla="*/ 322237 h 1161399"/>
                    <a:gd name="connsiteX2829" fmla="*/ 545133 w 1661518"/>
                    <a:gd name="connsiteY2829" fmla="*/ 322856 h 1161399"/>
                    <a:gd name="connsiteX2830" fmla="*/ 546104 w 1661518"/>
                    <a:gd name="connsiteY2830" fmla="*/ 323172 h 1161399"/>
                    <a:gd name="connsiteX2831" fmla="*/ 547841 w 1661518"/>
                    <a:gd name="connsiteY2831" fmla="*/ 323743 h 1161399"/>
                    <a:gd name="connsiteX2832" fmla="*/ 549456 w 1661518"/>
                    <a:gd name="connsiteY2832" fmla="*/ 324277 h 1161399"/>
                    <a:gd name="connsiteX2833" fmla="*/ 551119 w 1661518"/>
                    <a:gd name="connsiteY2833" fmla="*/ 323889 h 1161399"/>
                    <a:gd name="connsiteX2834" fmla="*/ 552200 w 1661518"/>
                    <a:gd name="connsiteY2834" fmla="*/ 323634 h 1161399"/>
                    <a:gd name="connsiteX2835" fmla="*/ 553208 w 1661518"/>
                    <a:gd name="connsiteY2835" fmla="*/ 323391 h 1161399"/>
                    <a:gd name="connsiteX2836" fmla="*/ 554070 w 1661518"/>
                    <a:gd name="connsiteY2836" fmla="*/ 322844 h 1161399"/>
                    <a:gd name="connsiteX2837" fmla="*/ 555977 w 1661518"/>
                    <a:gd name="connsiteY2837" fmla="*/ 321642 h 1161399"/>
                    <a:gd name="connsiteX2838" fmla="*/ 564367 w 1661518"/>
                    <a:gd name="connsiteY2838" fmla="*/ 321800 h 1161399"/>
                    <a:gd name="connsiteX2839" fmla="*/ 565582 w 1661518"/>
                    <a:gd name="connsiteY2839" fmla="*/ 321824 h 1161399"/>
                    <a:gd name="connsiteX2840" fmla="*/ 566711 w 1661518"/>
                    <a:gd name="connsiteY2840" fmla="*/ 321375 h 1161399"/>
                    <a:gd name="connsiteX2841" fmla="*/ 571981 w 1661518"/>
                    <a:gd name="connsiteY2841" fmla="*/ 319311 h 1161399"/>
                    <a:gd name="connsiteX2842" fmla="*/ 572455 w 1661518"/>
                    <a:gd name="connsiteY2842" fmla="*/ 319129 h 1161399"/>
                    <a:gd name="connsiteX2843" fmla="*/ 572892 w 1661518"/>
                    <a:gd name="connsiteY2843" fmla="*/ 318861 h 1161399"/>
                    <a:gd name="connsiteX2844" fmla="*/ 577797 w 1661518"/>
                    <a:gd name="connsiteY2844" fmla="*/ 315911 h 1161399"/>
                    <a:gd name="connsiteX2845" fmla="*/ 581015 w 1661518"/>
                    <a:gd name="connsiteY2845" fmla="*/ 314502 h 1161399"/>
                    <a:gd name="connsiteX2846" fmla="*/ 582315 w 1661518"/>
                    <a:gd name="connsiteY2846" fmla="*/ 314308 h 1161399"/>
                    <a:gd name="connsiteX2847" fmla="*/ 582752 w 1661518"/>
                    <a:gd name="connsiteY2847" fmla="*/ 314344 h 1161399"/>
                    <a:gd name="connsiteX2848" fmla="*/ 585338 w 1661518"/>
                    <a:gd name="connsiteY2848" fmla="*/ 315571 h 1161399"/>
                    <a:gd name="connsiteX2849" fmla="*/ 585812 w 1661518"/>
                    <a:gd name="connsiteY2849" fmla="*/ 315789 h 1161399"/>
                    <a:gd name="connsiteX2850" fmla="*/ 586322 w 1661518"/>
                    <a:gd name="connsiteY2850" fmla="*/ 315935 h 1161399"/>
                    <a:gd name="connsiteX2851" fmla="*/ 589127 w 1661518"/>
                    <a:gd name="connsiteY2851" fmla="*/ 316712 h 1161399"/>
                    <a:gd name="connsiteX2852" fmla="*/ 589613 w 1661518"/>
                    <a:gd name="connsiteY2852" fmla="*/ 316846 h 1161399"/>
                    <a:gd name="connsiteX2853" fmla="*/ 590110 w 1661518"/>
                    <a:gd name="connsiteY2853" fmla="*/ 316894 h 1161399"/>
                    <a:gd name="connsiteX2854" fmla="*/ 594518 w 1661518"/>
                    <a:gd name="connsiteY2854" fmla="*/ 317356 h 1161399"/>
                    <a:gd name="connsiteX2855" fmla="*/ 595393 w 1661518"/>
                    <a:gd name="connsiteY2855" fmla="*/ 317453 h 1161399"/>
                    <a:gd name="connsiteX2856" fmla="*/ 596267 w 1661518"/>
                    <a:gd name="connsiteY2856" fmla="*/ 317295 h 1161399"/>
                    <a:gd name="connsiteX2857" fmla="*/ 599315 w 1661518"/>
                    <a:gd name="connsiteY2857" fmla="*/ 316724 h 1161399"/>
                    <a:gd name="connsiteX2858" fmla="*/ 600189 w 1661518"/>
                    <a:gd name="connsiteY2858" fmla="*/ 316554 h 1161399"/>
                    <a:gd name="connsiteX2859" fmla="*/ 600978 w 1661518"/>
                    <a:gd name="connsiteY2859" fmla="*/ 316141 h 1161399"/>
                    <a:gd name="connsiteX2860" fmla="*/ 603285 w 1661518"/>
                    <a:gd name="connsiteY2860" fmla="*/ 314951 h 1161399"/>
                    <a:gd name="connsiteX2861" fmla="*/ 604014 w 1661518"/>
                    <a:gd name="connsiteY2861" fmla="*/ 314575 h 1161399"/>
                    <a:gd name="connsiteX2862" fmla="*/ 604621 w 1661518"/>
                    <a:gd name="connsiteY2862" fmla="*/ 314016 h 1161399"/>
                    <a:gd name="connsiteX2863" fmla="*/ 606176 w 1661518"/>
                    <a:gd name="connsiteY2863" fmla="*/ 312584 h 1161399"/>
                    <a:gd name="connsiteX2864" fmla="*/ 606734 w 1661518"/>
                    <a:gd name="connsiteY2864" fmla="*/ 312073 h 1161399"/>
                    <a:gd name="connsiteX2865" fmla="*/ 607147 w 1661518"/>
                    <a:gd name="connsiteY2865" fmla="*/ 311442 h 1161399"/>
                    <a:gd name="connsiteX2866" fmla="*/ 608337 w 1661518"/>
                    <a:gd name="connsiteY2866" fmla="*/ 309608 h 1161399"/>
                    <a:gd name="connsiteX2867" fmla="*/ 608543 w 1661518"/>
                    <a:gd name="connsiteY2867" fmla="*/ 309305 h 1161399"/>
                    <a:gd name="connsiteX2868" fmla="*/ 608701 w 1661518"/>
                    <a:gd name="connsiteY2868" fmla="*/ 308965 h 1161399"/>
                    <a:gd name="connsiteX2869" fmla="*/ 609576 w 1661518"/>
                    <a:gd name="connsiteY2869" fmla="*/ 307180 h 1161399"/>
                    <a:gd name="connsiteX2870" fmla="*/ 609770 w 1661518"/>
                    <a:gd name="connsiteY2870" fmla="*/ 306779 h 1161399"/>
                    <a:gd name="connsiteX2871" fmla="*/ 609903 w 1661518"/>
                    <a:gd name="connsiteY2871" fmla="*/ 306354 h 1161399"/>
                    <a:gd name="connsiteX2872" fmla="*/ 611579 w 1661518"/>
                    <a:gd name="connsiteY2872" fmla="*/ 301060 h 1161399"/>
                    <a:gd name="connsiteX2873" fmla="*/ 612065 w 1661518"/>
                    <a:gd name="connsiteY2873" fmla="*/ 300125 h 1161399"/>
                    <a:gd name="connsiteX2874" fmla="*/ 612648 w 1661518"/>
                    <a:gd name="connsiteY2874" fmla="*/ 299481 h 1161399"/>
                    <a:gd name="connsiteX2875" fmla="*/ 614918 w 1661518"/>
                    <a:gd name="connsiteY2875" fmla="*/ 298012 h 1161399"/>
                    <a:gd name="connsiteX2876" fmla="*/ 618537 w 1661518"/>
                    <a:gd name="connsiteY2876" fmla="*/ 296628 h 1161399"/>
                    <a:gd name="connsiteX2877" fmla="*/ 621330 w 1661518"/>
                    <a:gd name="connsiteY2877" fmla="*/ 296203 h 1161399"/>
                    <a:gd name="connsiteX2878" fmla="*/ 622228 w 1661518"/>
                    <a:gd name="connsiteY2878" fmla="*/ 296203 h 1161399"/>
                    <a:gd name="connsiteX2879" fmla="*/ 623928 w 1661518"/>
                    <a:gd name="connsiteY2879" fmla="*/ 296482 h 1161399"/>
                    <a:gd name="connsiteX2880" fmla="*/ 624013 w 1661518"/>
                    <a:gd name="connsiteY2880" fmla="*/ 296518 h 1161399"/>
                    <a:gd name="connsiteX2881" fmla="*/ 624378 w 1661518"/>
                    <a:gd name="connsiteY2881" fmla="*/ 296761 h 1161399"/>
                    <a:gd name="connsiteX2882" fmla="*/ 624645 w 1661518"/>
                    <a:gd name="connsiteY2882" fmla="*/ 297028 h 1161399"/>
                    <a:gd name="connsiteX2883" fmla="*/ 624693 w 1661518"/>
                    <a:gd name="connsiteY2883" fmla="*/ 297101 h 1161399"/>
                    <a:gd name="connsiteX2884" fmla="*/ 624681 w 1661518"/>
                    <a:gd name="connsiteY2884" fmla="*/ 297125 h 1161399"/>
                    <a:gd name="connsiteX2885" fmla="*/ 623831 w 1661518"/>
                    <a:gd name="connsiteY2885" fmla="*/ 298680 h 1161399"/>
                    <a:gd name="connsiteX2886" fmla="*/ 623504 w 1661518"/>
                    <a:gd name="connsiteY2886" fmla="*/ 299275 h 1161399"/>
                    <a:gd name="connsiteX2887" fmla="*/ 623321 w 1661518"/>
                    <a:gd name="connsiteY2887" fmla="*/ 299931 h 1161399"/>
                    <a:gd name="connsiteX2888" fmla="*/ 622799 w 1661518"/>
                    <a:gd name="connsiteY2888" fmla="*/ 301740 h 1161399"/>
                    <a:gd name="connsiteX2889" fmla="*/ 622605 w 1661518"/>
                    <a:gd name="connsiteY2889" fmla="*/ 302408 h 1161399"/>
                    <a:gd name="connsiteX2890" fmla="*/ 622568 w 1661518"/>
                    <a:gd name="connsiteY2890" fmla="*/ 303100 h 1161399"/>
                    <a:gd name="connsiteX2891" fmla="*/ 622447 w 1661518"/>
                    <a:gd name="connsiteY2891" fmla="*/ 305395 h 1161399"/>
                    <a:gd name="connsiteX2892" fmla="*/ 622411 w 1661518"/>
                    <a:gd name="connsiteY2892" fmla="*/ 306099 h 1161399"/>
                    <a:gd name="connsiteX2893" fmla="*/ 622532 w 1661518"/>
                    <a:gd name="connsiteY2893" fmla="*/ 306791 h 1161399"/>
                    <a:gd name="connsiteX2894" fmla="*/ 622884 w 1661518"/>
                    <a:gd name="connsiteY2894" fmla="*/ 308746 h 1161399"/>
                    <a:gd name="connsiteX2895" fmla="*/ 623018 w 1661518"/>
                    <a:gd name="connsiteY2895" fmla="*/ 309511 h 1161399"/>
                    <a:gd name="connsiteX2896" fmla="*/ 623346 w 1661518"/>
                    <a:gd name="connsiteY2896" fmla="*/ 310216 h 1161399"/>
                    <a:gd name="connsiteX2897" fmla="*/ 624208 w 1661518"/>
                    <a:gd name="connsiteY2897" fmla="*/ 312086 h 1161399"/>
                    <a:gd name="connsiteX2898" fmla="*/ 624439 w 1661518"/>
                    <a:gd name="connsiteY2898" fmla="*/ 312584 h 1161399"/>
                    <a:gd name="connsiteX2899" fmla="*/ 624742 w 1661518"/>
                    <a:gd name="connsiteY2899" fmla="*/ 313033 h 1161399"/>
                    <a:gd name="connsiteX2900" fmla="*/ 626564 w 1661518"/>
                    <a:gd name="connsiteY2900" fmla="*/ 315644 h 1161399"/>
                    <a:gd name="connsiteX2901" fmla="*/ 626333 w 1661518"/>
                    <a:gd name="connsiteY2901" fmla="*/ 316190 h 1161399"/>
                    <a:gd name="connsiteX2902" fmla="*/ 625689 w 1661518"/>
                    <a:gd name="connsiteY2902" fmla="*/ 317987 h 1161399"/>
                    <a:gd name="connsiteX2903" fmla="*/ 625483 w 1661518"/>
                    <a:gd name="connsiteY2903" fmla="*/ 318582 h 1161399"/>
                    <a:gd name="connsiteX2904" fmla="*/ 625398 w 1661518"/>
                    <a:gd name="connsiteY2904" fmla="*/ 319201 h 1161399"/>
                    <a:gd name="connsiteX2905" fmla="*/ 625228 w 1661518"/>
                    <a:gd name="connsiteY2905" fmla="*/ 320573 h 1161399"/>
                    <a:gd name="connsiteX2906" fmla="*/ 625167 w 1661518"/>
                    <a:gd name="connsiteY2906" fmla="*/ 321059 h 1161399"/>
                    <a:gd name="connsiteX2907" fmla="*/ 625179 w 1661518"/>
                    <a:gd name="connsiteY2907" fmla="*/ 321545 h 1161399"/>
                    <a:gd name="connsiteX2908" fmla="*/ 625240 w 1661518"/>
                    <a:gd name="connsiteY2908" fmla="*/ 323464 h 1161399"/>
                    <a:gd name="connsiteX2909" fmla="*/ 625252 w 1661518"/>
                    <a:gd name="connsiteY2909" fmla="*/ 323949 h 1161399"/>
                    <a:gd name="connsiteX2910" fmla="*/ 625349 w 1661518"/>
                    <a:gd name="connsiteY2910" fmla="*/ 324435 h 1161399"/>
                    <a:gd name="connsiteX2911" fmla="*/ 625750 w 1661518"/>
                    <a:gd name="connsiteY2911" fmla="*/ 326475 h 1161399"/>
                    <a:gd name="connsiteX2912" fmla="*/ 625847 w 1661518"/>
                    <a:gd name="connsiteY2912" fmla="*/ 326997 h 1161399"/>
                    <a:gd name="connsiteX2913" fmla="*/ 626041 w 1661518"/>
                    <a:gd name="connsiteY2913" fmla="*/ 327495 h 1161399"/>
                    <a:gd name="connsiteX2914" fmla="*/ 626624 w 1661518"/>
                    <a:gd name="connsiteY2914" fmla="*/ 329013 h 1161399"/>
                    <a:gd name="connsiteX2915" fmla="*/ 626831 w 1661518"/>
                    <a:gd name="connsiteY2915" fmla="*/ 329535 h 1161399"/>
                    <a:gd name="connsiteX2916" fmla="*/ 627122 w 1661518"/>
                    <a:gd name="connsiteY2916" fmla="*/ 330009 h 1161399"/>
                    <a:gd name="connsiteX2917" fmla="*/ 628433 w 1661518"/>
                    <a:gd name="connsiteY2917" fmla="*/ 332134 h 1161399"/>
                    <a:gd name="connsiteX2918" fmla="*/ 628701 w 1661518"/>
                    <a:gd name="connsiteY2918" fmla="*/ 332559 h 1161399"/>
                    <a:gd name="connsiteX2919" fmla="*/ 629028 w 1661518"/>
                    <a:gd name="connsiteY2919" fmla="*/ 332947 h 1161399"/>
                    <a:gd name="connsiteX2920" fmla="*/ 632331 w 1661518"/>
                    <a:gd name="connsiteY2920" fmla="*/ 336736 h 1161399"/>
                    <a:gd name="connsiteX2921" fmla="*/ 632271 w 1661518"/>
                    <a:gd name="connsiteY2921" fmla="*/ 336857 h 1161399"/>
                    <a:gd name="connsiteX2922" fmla="*/ 631530 w 1661518"/>
                    <a:gd name="connsiteY2922" fmla="*/ 338314 h 1161399"/>
                    <a:gd name="connsiteX2923" fmla="*/ 631068 w 1661518"/>
                    <a:gd name="connsiteY2923" fmla="*/ 339213 h 1161399"/>
                    <a:gd name="connsiteX2924" fmla="*/ 630923 w 1661518"/>
                    <a:gd name="connsiteY2924" fmla="*/ 340209 h 1161399"/>
                    <a:gd name="connsiteX2925" fmla="*/ 630692 w 1661518"/>
                    <a:gd name="connsiteY2925" fmla="*/ 341812 h 1161399"/>
                    <a:gd name="connsiteX2926" fmla="*/ 630583 w 1661518"/>
                    <a:gd name="connsiteY2926" fmla="*/ 342564 h 1161399"/>
                    <a:gd name="connsiteX2927" fmla="*/ 630668 w 1661518"/>
                    <a:gd name="connsiteY2927" fmla="*/ 343317 h 1161399"/>
                    <a:gd name="connsiteX2928" fmla="*/ 630971 w 1661518"/>
                    <a:gd name="connsiteY2928" fmla="*/ 346110 h 1161399"/>
                    <a:gd name="connsiteX2929" fmla="*/ 630656 w 1661518"/>
                    <a:gd name="connsiteY2929" fmla="*/ 346244 h 1161399"/>
                    <a:gd name="connsiteX2930" fmla="*/ 629563 w 1661518"/>
                    <a:gd name="connsiteY2930" fmla="*/ 346681 h 1161399"/>
                    <a:gd name="connsiteX2931" fmla="*/ 628446 w 1661518"/>
                    <a:gd name="connsiteY2931" fmla="*/ 347130 h 1161399"/>
                    <a:gd name="connsiteX2932" fmla="*/ 627584 w 1661518"/>
                    <a:gd name="connsiteY2932" fmla="*/ 347968 h 1161399"/>
                    <a:gd name="connsiteX2933" fmla="*/ 626612 w 1661518"/>
                    <a:gd name="connsiteY2933" fmla="*/ 348915 h 1161399"/>
                    <a:gd name="connsiteX2934" fmla="*/ 626139 w 1661518"/>
                    <a:gd name="connsiteY2934" fmla="*/ 349377 h 1161399"/>
                    <a:gd name="connsiteX2935" fmla="*/ 625774 w 1661518"/>
                    <a:gd name="connsiteY2935" fmla="*/ 349923 h 1161399"/>
                    <a:gd name="connsiteX2936" fmla="*/ 625216 w 1661518"/>
                    <a:gd name="connsiteY2936" fmla="*/ 350773 h 1161399"/>
                    <a:gd name="connsiteX2937" fmla="*/ 624706 w 1661518"/>
                    <a:gd name="connsiteY2937" fmla="*/ 351307 h 1161399"/>
                    <a:gd name="connsiteX2938" fmla="*/ 623989 w 1661518"/>
                    <a:gd name="connsiteY2938" fmla="*/ 351259 h 1161399"/>
                    <a:gd name="connsiteX2939" fmla="*/ 622641 w 1661518"/>
                    <a:gd name="connsiteY2939" fmla="*/ 350542 h 1161399"/>
                    <a:gd name="connsiteX2940" fmla="*/ 620031 w 1661518"/>
                    <a:gd name="connsiteY2940" fmla="*/ 348794 h 1161399"/>
                    <a:gd name="connsiteX2941" fmla="*/ 619229 w 1661518"/>
                    <a:gd name="connsiteY2941" fmla="*/ 348259 h 1161399"/>
                    <a:gd name="connsiteX2942" fmla="*/ 618294 w 1661518"/>
                    <a:gd name="connsiteY2942" fmla="*/ 348004 h 1161399"/>
                    <a:gd name="connsiteX2943" fmla="*/ 615720 w 1661518"/>
                    <a:gd name="connsiteY2943" fmla="*/ 347288 h 1161399"/>
                    <a:gd name="connsiteX2944" fmla="*/ 614821 w 1661518"/>
                    <a:gd name="connsiteY2944" fmla="*/ 347033 h 1161399"/>
                    <a:gd name="connsiteX2945" fmla="*/ 613886 w 1661518"/>
                    <a:gd name="connsiteY2945" fmla="*/ 347069 h 1161399"/>
                    <a:gd name="connsiteX2946" fmla="*/ 611701 w 1661518"/>
                    <a:gd name="connsiteY2946" fmla="*/ 347142 h 1161399"/>
                    <a:gd name="connsiteX2947" fmla="*/ 610620 w 1661518"/>
                    <a:gd name="connsiteY2947" fmla="*/ 347179 h 1161399"/>
                    <a:gd name="connsiteX2948" fmla="*/ 609612 w 1661518"/>
                    <a:gd name="connsiteY2948" fmla="*/ 347579 h 1161399"/>
                    <a:gd name="connsiteX2949" fmla="*/ 607305 w 1661518"/>
                    <a:gd name="connsiteY2949" fmla="*/ 348527 h 1161399"/>
                    <a:gd name="connsiteX2950" fmla="*/ 606248 w 1661518"/>
                    <a:gd name="connsiteY2950" fmla="*/ 348429 h 1161399"/>
                    <a:gd name="connsiteX2951" fmla="*/ 603674 w 1661518"/>
                    <a:gd name="connsiteY2951" fmla="*/ 347592 h 1161399"/>
                    <a:gd name="connsiteX2952" fmla="*/ 602302 w 1661518"/>
                    <a:gd name="connsiteY2952" fmla="*/ 347142 h 1161399"/>
                    <a:gd name="connsiteX2953" fmla="*/ 600881 w 1661518"/>
                    <a:gd name="connsiteY2953" fmla="*/ 347361 h 1161399"/>
                    <a:gd name="connsiteX2954" fmla="*/ 598416 w 1661518"/>
                    <a:gd name="connsiteY2954" fmla="*/ 347725 h 1161399"/>
                    <a:gd name="connsiteX2955" fmla="*/ 597821 w 1661518"/>
                    <a:gd name="connsiteY2955" fmla="*/ 347822 h 1161399"/>
                    <a:gd name="connsiteX2956" fmla="*/ 597263 w 1661518"/>
                    <a:gd name="connsiteY2956" fmla="*/ 348029 h 1161399"/>
                    <a:gd name="connsiteX2957" fmla="*/ 579279 w 1661518"/>
                    <a:gd name="connsiteY2957" fmla="*/ 354549 h 1161399"/>
                    <a:gd name="connsiteX2958" fmla="*/ 571216 w 1661518"/>
                    <a:gd name="connsiteY2958" fmla="*/ 355618 h 1161399"/>
                    <a:gd name="connsiteX2959" fmla="*/ 567962 w 1661518"/>
                    <a:gd name="connsiteY2959" fmla="*/ 355351 h 1161399"/>
                    <a:gd name="connsiteX2960" fmla="*/ 567658 w 1661518"/>
                    <a:gd name="connsiteY2960" fmla="*/ 355327 h 1161399"/>
                    <a:gd name="connsiteX2961" fmla="*/ 567355 w 1661518"/>
                    <a:gd name="connsiteY2961" fmla="*/ 355327 h 1161399"/>
                    <a:gd name="connsiteX2962" fmla="*/ 565412 w 1661518"/>
                    <a:gd name="connsiteY2962" fmla="*/ 355363 h 1161399"/>
                    <a:gd name="connsiteX2963" fmla="*/ 564926 w 1661518"/>
                    <a:gd name="connsiteY2963" fmla="*/ 355375 h 1161399"/>
                    <a:gd name="connsiteX2964" fmla="*/ 564452 w 1661518"/>
                    <a:gd name="connsiteY2964" fmla="*/ 355460 h 1161399"/>
                    <a:gd name="connsiteX2965" fmla="*/ 563020 w 1661518"/>
                    <a:gd name="connsiteY2965" fmla="*/ 355715 h 1161399"/>
                    <a:gd name="connsiteX2966" fmla="*/ 562291 w 1661518"/>
                    <a:gd name="connsiteY2966" fmla="*/ 355837 h 1161399"/>
                    <a:gd name="connsiteX2967" fmla="*/ 561623 w 1661518"/>
                    <a:gd name="connsiteY2967" fmla="*/ 356128 h 1161399"/>
                    <a:gd name="connsiteX2968" fmla="*/ 546444 w 1661518"/>
                    <a:gd name="connsiteY2968" fmla="*/ 362831 h 1161399"/>
                    <a:gd name="connsiteX2969" fmla="*/ 541162 w 1661518"/>
                    <a:gd name="connsiteY2969" fmla="*/ 363900 h 1161399"/>
                    <a:gd name="connsiteX2970" fmla="*/ 540421 w 1661518"/>
                    <a:gd name="connsiteY2970" fmla="*/ 364045 h 1161399"/>
                    <a:gd name="connsiteX2971" fmla="*/ 539754 w 1661518"/>
                    <a:gd name="connsiteY2971" fmla="*/ 364361 h 1161399"/>
                    <a:gd name="connsiteX2972" fmla="*/ 536985 w 1661518"/>
                    <a:gd name="connsiteY2972" fmla="*/ 365685 h 1161399"/>
                    <a:gd name="connsiteX2973" fmla="*/ 536281 w 1661518"/>
                    <a:gd name="connsiteY2973" fmla="*/ 366025 h 1161399"/>
                    <a:gd name="connsiteX2974" fmla="*/ 535686 w 1661518"/>
                    <a:gd name="connsiteY2974" fmla="*/ 366535 h 1161399"/>
                    <a:gd name="connsiteX2975" fmla="*/ 534192 w 1661518"/>
                    <a:gd name="connsiteY2975" fmla="*/ 367797 h 1161399"/>
                    <a:gd name="connsiteX2976" fmla="*/ 533476 w 1661518"/>
                    <a:gd name="connsiteY2976" fmla="*/ 368405 h 1161399"/>
                    <a:gd name="connsiteX2977" fmla="*/ 532978 w 1661518"/>
                    <a:gd name="connsiteY2977" fmla="*/ 369194 h 1161399"/>
                    <a:gd name="connsiteX2978" fmla="*/ 531144 w 1661518"/>
                    <a:gd name="connsiteY2978" fmla="*/ 372096 h 1161399"/>
                    <a:gd name="connsiteX2979" fmla="*/ 530209 w 1661518"/>
                    <a:gd name="connsiteY2979" fmla="*/ 373784 h 1161399"/>
                    <a:gd name="connsiteX2980" fmla="*/ 529881 w 1661518"/>
                    <a:gd name="connsiteY2980" fmla="*/ 374367 h 1161399"/>
                    <a:gd name="connsiteX2981" fmla="*/ 529687 w 1661518"/>
                    <a:gd name="connsiteY2981" fmla="*/ 375010 h 1161399"/>
                    <a:gd name="connsiteX2982" fmla="*/ 529347 w 1661518"/>
                    <a:gd name="connsiteY2982" fmla="*/ 376176 h 1161399"/>
                    <a:gd name="connsiteX2983" fmla="*/ 529056 w 1661518"/>
                    <a:gd name="connsiteY2983" fmla="*/ 377208 h 1161399"/>
                    <a:gd name="connsiteX2984" fmla="*/ 529129 w 1661518"/>
                    <a:gd name="connsiteY2984" fmla="*/ 378289 h 1161399"/>
                    <a:gd name="connsiteX2985" fmla="*/ 529189 w 1661518"/>
                    <a:gd name="connsiteY2985" fmla="*/ 379139 h 1161399"/>
                    <a:gd name="connsiteX2986" fmla="*/ 529201 w 1661518"/>
                    <a:gd name="connsiteY2986" fmla="*/ 379333 h 1161399"/>
                    <a:gd name="connsiteX2987" fmla="*/ 529286 w 1661518"/>
                    <a:gd name="connsiteY2987" fmla="*/ 379965 h 1161399"/>
                    <a:gd name="connsiteX2988" fmla="*/ 529384 w 1661518"/>
                    <a:gd name="connsiteY2988" fmla="*/ 380718 h 1161399"/>
                    <a:gd name="connsiteX2989" fmla="*/ 529675 w 1661518"/>
                    <a:gd name="connsiteY2989" fmla="*/ 381434 h 1161399"/>
                    <a:gd name="connsiteX2990" fmla="*/ 530136 w 1661518"/>
                    <a:gd name="connsiteY2990" fmla="*/ 382575 h 1161399"/>
                    <a:gd name="connsiteX2991" fmla="*/ 530246 w 1661518"/>
                    <a:gd name="connsiteY2991" fmla="*/ 382855 h 1161399"/>
                    <a:gd name="connsiteX2992" fmla="*/ 530391 w 1661518"/>
                    <a:gd name="connsiteY2992" fmla="*/ 383134 h 1161399"/>
                    <a:gd name="connsiteX2993" fmla="*/ 533257 w 1661518"/>
                    <a:gd name="connsiteY2993" fmla="*/ 388562 h 1161399"/>
                    <a:gd name="connsiteX2994" fmla="*/ 535540 w 1661518"/>
                    <a:gd name="connsiteY2994" fmla="*/ 394002 h 1161399"/>
                    <a:gd name="connsiteX2995" fmla="*/ 536074 w 1661518"/>
                    <a:gd name="connsiteY2995" fmla="*/ 396103 h 1161399"/>
                    <a:gd name="connsiteX2996" fmla="*/ 536196 w 1661518"/>
                    <a:gd name="connsiteY2996" fmla="*/ 399029 h 1161399"/>
                    <a:gd name="connsiteX2997" fmla="*/ 536123 w 1661518"/>
                    <a:gd name="connsiteY2997" fmla="*/ 399175 h 1161399"/>
                    <a:gd name="connsiteX2998" fmla="*/ 535540 w 1661518"/>
                    <a:gd name="connsiteY2998" fmla="*/ 399867 h 1161399"/>
                    <a:gd name="connsiteX2999" fmla="*/ 534690 w 1661518"/>
                    <a:gd name="connsiteY2999" fmla="*/ 400389 h 1161399"/>
                    <a:gd name="connsiteX3000" fmla="*/ 533646 w 1661518"/>
                    <a:gd name="connsiteY3000" fmla="*/ 400826 h 1161399"/>
                    <a:gd name="connsiteX3001" fmla="*/ 530756 w 1661518"/>
                    <a:gd name="connsiteY3001" fmla="*/ 401518 h 1161399"/>
                    <a:gd name="connsiteX3002" fmla="*/ 527295 w 1661518"/>
                    <a:gd name="connsiteY3002" fmla="*/ 401773 h 1161399"/>
                    <a:gd name="connsiteX3003" fmla="*/ 525146 w 1661518"/>
                    <a:gd name="connsiteY3003" fmla="*/ 402113 h 1161399"/>
                    <a:gd name="connsiteX3004" fmla="*/ 523871 w 1661518"/>
                    <a:gd name="connsiteY3004" fmla="*/ 402332 h 1161399"/>
                    <a:gd name="connsiteX3005" fmla="*/ 522802 w 1661518"/>
                    <a:gd name="connsiteY3005" fmla="*/ 403048 h 1161399"/>
                    <a:gd name="connsiteX3006" fmla="*/ 521818 w 1661518"/>
                    <a:gd name="connsiteY3006" fmla="*/ 403704 h 1161399"/>
                    <a:gd name="connsiteX3007" fmla="*/ 521199 w 1661518"/>
                    <a:gd name="connsiteY3007" fmla="*/ 404117 h 1161399"/>
                    <a:gd name="connsiteX3008" fmla="*/ 520689 w 1661518"/>
                    <a:gd name="connsiteY3008" fmla="*/ 404676 h 1161399"/>
                    <a:gd name="connsiteX3009" fmla="*/ 519718 w 1661518"/>
                    <a:gd name="connsiteY3009" fmla="*/ 405744 h 1161399"/>
                    <a:gd name="connsiteX3010" fmla="*/ 519402 w 1661518"/>
                    <a:gd name="connsiteY3010" fmla="*/ 406084 h 1161399"/>
                    <a:gd name="connsiteX3011" fmla="*/ 519147 w 1661518"/>
                    <a:gd name="connsiteY3011" fmla="*/ 406485 h 1161399"/>
                    <a:gd name="connsiteX3012" fmla="*/ 517945 w 1661518"/>
                    <a:gd name="connsiteY3012" fmla="*/ 408318 h 1161399"/>
                    <a:gd name="connsiteX3013" fmla="*/ 516536 w 1661518"/>
                    <a:gd name="connsiteY3013" fmla="*/ 410468 h 1161399"/>
                    <a:gd name="connsiteX3014" fmla="*/ 517095 w 1661518"/>
                    <a:gd name="connsiteY3014" fmla="*/ 412981 h 1161399"/>
                    <a:gd name="connsiteX3015" fmla="*/ 517556 w 1661518"/>
                    <a:gd name="connsiteY3015" fmla="*/ 415046 h 1161399"/>
                    <a:gd name="connsiteX3016" fmla="*/ 517981 w 1661518"/>
                    <a:gd name="connsiteY3016" fmla="*/ 416976 h 1161399"/>
                    <a:gd name="connsiteX3017" fmla="*/ 519463 w 1661518"/>
                    <a:gd name="connsiteY3017" fmla="*/ 418276 h 1161399"/>
                    <a:gd name="connsiteX3018" fmla="*/ 521454 w 1661518"/>
                    <a:gd name="connsiteY3018" fmla="*/ 420036 h 1161399"/>
                    <a:gd name="connsiteX3019" fmla="*/ 531132 w 1661518"/>
                    <a:gd name="connsiteY3019" fmla="*/ 431111 h 1161399"/>
                    <a:gd name="connsiteX3020" fmla="*/ 531812 w 1661518"/>
                    <a:gd name="connsiteY3020" fmla="*/ 431876 h 1161399"/>
                    <a:gd name="connsiteX3021" fmla="*/ 532699 w 1661518"/>
                    <a:gd name="connsiteY3021" fmla="*/ 432386 h 1161399"/>
                    <a:gd name="connsiteX3022" fmla="*/ 538260 w 1661518"/>
                    <a:gd name="connsiteY3022" fmla="*/ 435555 h 1161399"/>
                    <a:gd name="connsiteX3023" fmla="*/ 539377 w 1661518"/>
                    <a:gd name="connsiteY3023" fmla="*/ 436187 h 1161399"/>
                    <a:gd name="connsiteX3024" fmla="*/ 540652 w 1661518"/>
                    <a:gd name="connsiteY3024" fmla="*/ 436320 h 1161399"/>
                    <a:gd name="connsiteX3025" fmla="*/ 548861 w 1661518"/>
                    <a:gd name="connsiteY3025" fmla="*/ 437146 h 1161399"/>
                    <a:gd name="connsiteX3026" fmla="*/ 549650 w 1661518"/>
                    <a:gd name="connsiteY3026" fmla="*/ 437219 h 1161399"/>
                    <a:gd name="connsiteX3027" fmla="*/ 550439 w 1661518"/>
                    <a:gd name="connsiteY3027" fmla="*/ 437097 h 1161399"/>
                    <a:gd name="connsiteX3028" fmla="*/ 552224 w 1661518"/>
                    <a:gd name="connsiteY3028" fmla="*/ 436806 h 1161399"/>
                    <a:gd name="connsiteX3029" fmla="*/ 552613 w 1661518"/>
                    <a:gd name="connsiteY3029" fmla="*/ 436745 h 1161399"/>
                    <a:gd name="connsiteX3030" fmla="*/ 553002 w 1661518"/>
                    <a:gd name="connsiteY3030" fmla="*/ 436624 h 1161399"/>
                    <a:gd name="connsiteX3031" fmla="*/ 553852 w 1661518"/>
                    <a:gd name="connsiteY3031" fmla="*/ 436369 h 1161399"/>
                    <a:gd name="connsiteX3032" fmla="*/ 553937 w 1661518"/>
                    <a:gd name="connsiteY3032" fmla="*/ 436356 h 1161399"/>
                    <a:gd name="connsiteX3033" fmla="*/ 554107 w 1661518"/>
                    <a:gd name="connsiteY3033" fmla="*/ 436381 h 1161399"/>
                    <a:gd name="connsiteX3034" fmla="*/ 554568 w 1661518"/>
                    <a:gd name="connsiteY3034" fmla="*/ 436624 h 1161399"/>
                    <a:gd name="connsiteX3035" fmla="*/ 562692 w 1661518"/>
                    <a:gd name="connsiteY3035" fmla="*/ 443545 h 1161399"/>
                    <a:gd name="connsiteX3036" fmla="*/ 564428 w 1661518"/>
                    <a:gd name="connsiteY3036" fmla="*/ 445439 h 1161399"/>
                    <a:gd name="connsiteX3037" fmla="*/ 565703 w 1661518"/>
                    <a:gd name="connsiteY3037" fmla="*/ 447637 h 1161399"/>
                    <a:gd name="connsiteX3038" fmla="*/ 567051 w 1661518"/>
                    <a:gd name="connsiteY3038" fmla="*/ 450976 h 1161399"/>
                    <a:gd name="connsiteX3039" fmla="*/ 569225 w 1661518"/>
                    <a:gd name="connsiteY3039" fmla="*/ 459452 h 1161399"/>
                    <a:gd name="connsiteX3040" fmla="*/ 569492 w 1661518"/>
                    <a:gd name="connsiteY3040" fmla="*/ 463241 h 1161399"/>
                    <a:gd name="connsiteX3041" fmla="*/ 569382 w 1661518"/>
                    <a:gd name="connsiteY3041" fmla="*/ 464310 h 1161399"/>
                    <a:gd name="connsiteX3042" fmla="*/ 569042 w 1661518"/>
                    <a:gd name="connsiteY3042" fmla="*/ 464771 h 1161399"/>
                    <a:gd name="connsiteX3043" fmla="*/ 568775 w 1661518"/>
                    <a:gd name="connsiteY3043" fmla="*/ 465196 h 1161399"/>
                    <a:gd name="connsiteX3044" fmla="*/ 567767 w 1661518"/>
                    <a:gd name="connsiteY3044" fmla="*/ 465912 h 1161399"/>
                    <a:gd name="connsiteX3045" fmla="*/ 551423 w 1661518"/>
                    <a:gd name="connsiteY3045" fmla="*/ 473113 h 1161399"/>
                    <a:gd name="connsiteX3046" fmla="*/ 551119 w 1661518"/>
                    <a:gd name="connsiteY3046" fmla="*/ 473198 h 1161399"/>
                    <a:gd name="connsiteX3047" fmla="*/ 551034 w 1661518"/>
                    <a:gd name="connsiteY3047" fmla="*/ 472676 h 1161399"/>
                    <a:gd name="connsiteX3048" fmla="*/ 550621 w 1661518"/>
                    <a:gd name="connsiteY3048" fmla="*/ 470770 h 1161399"/>
                    <a:gd name="connsiteX3049" fmla="*/ 550512 w 1661518"/>
                    <a:gd name="connsiteY3049" fmla="*/ 470260 h 1161399"/>
                    <a:gd name="connsiteX3050" fmla="*/ 550306 w 1661518"/>
                    <a:gd name="connsiteY3050" fmla="*/ 469786 h 1161399"/>
                    <a:gd name="connsiteX3051" fmla="*/ 548982 w 1661518"/>
                    <a:gd name="connsiteY3051" fmla="*/ 466568 h 1161399"/>
                    <a:gd name="connsiteX3052" fmla="*/ 548812 w 1661518"/>
                    <a:gd name="connsiteY3052" fmla="*/ 466143 h 1161399"/>
                    <a:gd name="connsiteX3053" fmla="*/ 548569 w 1661518"/>
                    <a:gd name="connsiteY3053" fmla="*/ 465755 h 1161399"/>
                    <a:gd name="connsiteX3054" fmla="*/ 547829 w 1661518"/>
                    <a:gd name="connsiteY3054" fmla="*/ 464528 h 1161399"/>
                    <a:gd name="connsiteX3055" fmla="*/ 547647 w 1661518"/>
                    <a:gd name="connsiteY3055" fmla="*/ 464237 h 1161399"/>
                    <a:gd name="connsiteX3056" fmla="*/ 547440 w 1661518"/>
                    <a:gd name="connsiteY3056" fmla="*/ 463970 h 1161399"/>
                    <a:gd name="connsiteX3057" fmla="*/ 546578 w 1661518"/>
                    <a:gd name="connsiteY3057" fmla="*/ 462852 h 1161399"/>
                    <a:gd name="connsiteX3058" fmla="*/ 546080 w 1661518"/>
                    <a:gd name="connsiteY3058" fmla="*/ 462197 h 1161399"/>
                    <a:gd name="connsiteX3059" fmla="*/ 545412 w 1661518"/>
                    <a:gd name="connsiteY3059" fmla="*/ 461699 h 1161399"/>
                    <a:gd name="connsiteX3060" fmla="*/ 544501 w 1661518"/>
                    <a:gd name="connsiteY3060" fmla="*/ 461007 h 1161399"/>
                    <a:gd name="connsiteX3061" fmla="*/ 543700 w 1661518"/>
                    <a:gd name="connsiteY3061" fmla="*/ 460399 h 1161399"/>
                    <a:gd name="connsiteX3062" fmla="*/ 542753 w 1661518"/>
                    <a:gd name="connsiteY3062" fmla="*/ 460084 h 1161399"/>
                    <a:gd name="connsiteX3063" fmla="*/ 541599 w 1661518"/>
                    <a:gd name="connsiteY3063" fmla="*/ 459707 h 1161399"/>
                    <a:gd name="connsiteX3064" fmla="*/ 540701 w 1661518"/>
                    <a:gd name="connsiteY3064" fmla="*/ 459416 h 1161399"/>
                    <a:gd name="connsiteX3065" fmla="*/ 539754 w 1661518"/>
                    <a:gd name="connsiteY3065" fmla="*/ 459416 h 1161399"/>
                    <a:gd name="connsiteX3066" fmla="*/ 537714 w 1661518"/>
                    <a:gd name="connsiteY3066" fmla="*/ 459404 h 1161399"/>
                    <a:gd name="connsiteX3067" fmla="*/ 537604 w 1661518"/>
                    <a:gd name="connsiteY3067" fmla="*/ 459379 h 1161399"/>
                    <a:gd name="connsiteX3068" fmla="*/ 537167 w 1661518"/>
                    <a:gd name="connsiteY3068" fmla="*/ 459210 h 1161399"/>
                    <a:gd name="connsiteX3069" fmla="*/ 536232 w 1661518"/>
                    <a:gd name="connsiteY3069" fmla="*/ 458675 h 1161399"/>
                    <a:gd name="connsiteX3070" fmla="*/ 535492 w 1661518"/>
                    <a:gd name="connsiteY3070" fmla="*/ 458250 h 1161399"/>
                    <a:gd name="connsiteX3071" fmla="*/ 534666 w 1661518"/>
                    <a:gd name="connsiteY3071" fmla="*/ 458044 h 1161399"/>
                    <a:gd name="connsiteX3072" fmla="*/ 533452 w 1661518"/>
                    <a:gd name="connsiteY3072" fmla="*/ 457740 h 1161399"/>
                    <a:gd name="connsiteX3073" fmla="*/ 532614 w 1661518"/>
                    <a:gd name="connsiteY3073" fmla="*/ 457534 h 1161399"/>
                    <a:gd name="connsiteX3074" fmla="*/ 531752 w 1661518"/>
                    <a:gd name="connsiteY3074" fmla="*/ 457570 h 1161399"/>
                    <a:gd name="connsiteX3075" fmla="*/ 530489 w 1661518"/>
                    <a:gd name="connsiteY3075" fmla="*/ 457619 h 1161399"/>
                    <a:gd name="connsiteX3076" fmla="*/ 529250 w 1661518"/>
                    <a:gd name="connsiteY3076" fmla="*/ 457667 h 1161399"/>
                    <a:gd name="connsiteX3077" fmla="*/ 528133 w 1661518"/>
                    <a:gd name="connsiteY3077" fmla="*/ 458190 h 1161399"/>
                    <a:gd name="connsiteX3078" fmla="*/ 526069 w 1661518"/>
                    <a:gd name="connsiteY3078" fmla="*/ 459161 h 1161399"/>
                    <a:gd name="connsiteX3079" fmla="*/ 524441 w 1661518"/>
                    <a:gd name="connsiteY3079" fmla="*/ 459926 h 1161399"/>
                    <a:gd name="connsiteX3080" fmla="*/ 523494 w 1661518"/>
                    <a:gd name="connsiteY3080" fmla="*/ 461456 h 1161399"/>
                    <a:gd name="connsiteX3081" fmla="*/ 522741 w 1661518"/>
                    <a:gd name="connsiteY3081" fmla="*/ 462670 h 1161399"/>
                    <a:gd name="connsiteX3082" fmla="*/ 521940 w 1661518"/>
                    <a:gd name="connsiteY3082" fmla="*/ 463957 h 1161399"/>
                    <a:gd name="connsiteX3083" fmla="*/ 521843 w 1661518"/>
                    <a:gd name="connsiteY3083" fmla="*/ 465475 h 1161399"/>
                    <a:gd name="connsiteX3084" fmla="*/ 521721 w 1661518"/>
                    <a:gd name="connsiteY3084" fmla="*/ 467370 h 1161399"/>
                    <a:gd name="connsiteX3085" fmla="*/ 521673 w 1661518"/>
                    <a:gd name="connsiteY3085" fmla="*/ 468159 h 1161399"/>
                    <a:gd name="connsiteX3086" fmla="*/ 521831 w 1661518"/>
                    <a:gd name="connsiteY3086" fmla="*/ 468936 h 1161399"/>
                    <a:gd name="connsiteX3087" fmla="*/ 523215 w 1661518"/>
                    <a:gd name="connsiteY3087" fmla="*/ 475809 h 1161399"/>
                    <a:gd name="connsiteX3088" fmla="*/ 523264 w 1661518"/>
                    <a:gd name="connsiteY3088" fmla="*/ 476477 h 1161399"/>
                    <a:gd name="connsiteX3089" fmla="*/ 523264 w 1661518"/>
                    <a:gd name="connsiteY3089" fmla="*/ 477436 h 1161399"/>
                    <a:gd name="connsiteX3090" fmla="*/ 521989 w 1661518"/>
                    <a:gd name="connsiteY3090" fmla="*/ 482014 h 1161399"/>
                    <a:gd name="connsiteX3091" fmla="*/ 521867 w 1661518"/>
                    <a:gd name="connsiteY3091" fmla="*/ 482475 h 1161399"/>
                    <a:gd name="connsiteX3092" fmla="*/ 521818 w 1661518"/>
                    <a:gd name="connsiteY3092" fmla="*/ 482937 h 1161399"/>
                    <a:gd name="connsiteX3093" fmla="*/ 521661 w 1661518"/>
                    <a:gd name="connsiteY3093" fmla="*/ 484309 h 1161399"/>
                    <a:gd name="connsiteX3094" fmla="*/ 521612 w 1661518"/>
                    <a:gd name="connsiteY3094" fmla="*/ 484758 h 1161399"/>
                    <a:gd name="connsiteX3095" fmla="*/ 521624 w 1661518"/>
                    <a:gd name="connsiteY3095" fmla="*/ 485207 h 1161399"/>
                    <a:gd name="connsiteX3096" fmla="*/ 521661 w 1661518"/>
                    <a:gd name="connsiteY3096" fmla="*/ 486592 h 1161399"/>
                    <a:gd name="connsiteX3097" fmla="*/ 521685 w 1661518"/>
                    <a:gd name="connsiteY3097" fmla="*/ 487247 h 1161399"/>
                    <a:gd name="connsiteX3098" fmla="*/ 521843 w 1661518"/>
                    <a:gd name="connsiteY3098" fmla="*/ 487891 h 1161399"/>
                    <a:gd name="connsiteX3099" fmla="*/ 522304 w 1661518"/>
                    <a:gd name="connsiteY3099" fmla="*/ 489700 h 1161399"/>
                    <a:gd name="connsiteX3100" fmla="*/ 523652 w 1661518"/>
                    <a:gd name="connsiteY3100" fmla="*/ 494351 h 1161399"/>
                    <a:gd name="connsiteX3101" fmla="*/ 523336 w 1661518"/>
                    <a:gd name="connsiteY3101" fmla="*/ 506531 h 1161399"/>
                    <a:gd name="connsiteX3102" fmla="*/ 523324 w 1661518"/>
                    <a:gd name="connsiteY3102" fmla="*/ 507332 h 1161399"/>
                    <a:gd name="connsiteX3103" fmla="*/ 523518 w 1661518"/>
                    <a:gd name="connsiteY3103" fmla="*/ 508109 h 1161399"/>
                    <a:gd name="connsiteX3104" fmla="*/ 524611 w 1661518"/>
                    <a:gd name="connsiteY3104" fmla="*/ 512651 h 1161399"/>
                    <a:gd name="connsiteX3105" fmla="*/ 524769 w 1661518"/>
                    <a:gd name="connsiteY3105" fmla="*/ 513318 h 1161399"/>
                    <a:gd name="connsiteX3106" fmla="*/ 525061 w 1661518"/>
                    <a:gd name="connsiteY3106" fmla="*/ 513926 h 1161399"/>
                    <a:gd name="connsiteX3107" fmla="*/ 527137 w 1661518"/>
                    <a:gd name="connsiteY3107" fmla="*/ 518115 h 1161399"/>
                    <a:gd name="connsiteX3108" fmla="*/ 527429 w 1661518"/>
                    <a:gd name="connsiteY3108" fmla="*/ 518698 h 1161399"/>
                    <a:gd name="connsiteX3109" fmla="*/ 527829 w 1661518"/>
                    <a:gd name="connsiteY3109" fmla="*/ 519208 h 1161399"/>
                    <a:gd name="connsiteX3110" fmla="*/ 536341 w 1661518"/>
                    <a:gd name="connsiteY3110" fmla="*/ 529918 h 1161399"/>
                    <a:gd name="connsiteX3111" fmla="*/ 537872 w 1661518"/>
                    <a:gd name="connsiteY3111" fmla="*/ 532334 h 1161399"/>
                    <a:gd name="connsiteX3112" fmla="*/ 536354 w 1661518"/>
                    <a:gd name="connsiteY3112" fmla="*/ 534593 h 1161399"/>
                    <a:gd name="connsiteX3113" fmla="*/ 535892 w 1661518"/>
                    <a:gd name="connsiteY3113" fmla="*/ 535297 h 1161399"/>
                    <a:gd name="connsiteX3114" fmla="*/ 535637 w 1661518"/>
                    <a:gd name="connsiteY3114" fmla="*/ 536099 h 1161399"/>
                    <a:gd name="connsiteX3115" fmla="*/ 535079 w 1661518"/>
                    <a:gd name="connsiteY3115" fmla="*/ 537847 h 1161399"/>
                    <a:gd name="connsiteX3116" fmla="*/ 534641 w 1661518"/>
                    <a:gd name="connsiteY3116" fmla="*/ 537847 h 1161399"/>
                    <a:gd name="connsiteX3117" fmla="*/ 533099 w 1661518"/>
                    <a:gd name="connsiteY3117" fmla="*/ 537604 h 1161399"/>
                    <a:gd name="connsiteX3118" fmla="*/ 532589 w 1661518"/>
                    <a:gd name="connsiteY3118" fmla="*/ 537531 h 1161399"/>
                    <a:gd name="connsiteX3119" fmla="*/ 532067 w 1661518"/>
                    <a:gd name="connsiteY3119" fmla="*/ 537531 h 1161399"/>
                    <a:gd name="connsiteX3120" fmla="*/ 530695 w 1661518"/>
                    <a:gd name="connsiteY3120" fmla="*/ 537556 h 1161399"/>
                    <a:gd name="connsiteX3121" fmla="*/ 529748 w 1661518"/>
                    <a:gd name="connsiteY3121" fmla="*/ 537568 h 1161399"/>
                    <a:gd name="connsiteX3122" fmla="*/ 528849 w 1661518"/>
                    <a:gd name="connsiteY3122" fmla="*/ 537871 h 1161399"/>
                    <a:gd name="connsiteX3123" fmla="*/ 527416 w 1661518"/>
                    <a:gd name="connsiteY3123" fmla="*/ 538357 h 1161399"/>
                    <a:gd name="connsiteX3124" fmla="*/ 526870 w 1661518"/>
                    <a:gd name="connsiteY3124" fmla="*/ 538539 h 1161399"/>
                    <a:gd name="connsiteX3125" fmla="*/ 526372 w 1661518"/>
                    <a:gd name="connsiteY3125" fmla="*/ 538819 h 1161399"/>
                    <a:gd name="connsiteX3126" fmla="*/ 523956 w 1661518"/>
                    <a:gd name="connsiteY3126" fmla="*/ 540191 h 1161399"/>
                    <a:gd name="connsiteX3127" fmla="*/ 522098 w 1661518"/>
                    <a:gd name="connsiteY3127" fmla="*/ 540276 h 1161399"/>
                    <a:gd name="connsiteX3128" fmla="*/ 519596 w 1661518"/>
                    <a:gd name="connsiteY3128" fmla="*/ 538649 h 1161399"/>
                    <a:gd name="connsiteX3129" fmla="*/ 516464 w 1661518"/>
                    <a:gd name="connsiteY3129" fmla="*/ 536062 h 1161399"/>
                    <a:gd name="connsiteX3130" fmla="*/ 516208 w 1661518"/>
                    <a:gd name="connsiteY3130" fmla="*/ 535856 h 1161399"/>
                    <a:gd name="connsiteX3131" fmla="*/ 515929 w 1661518"/>
                    <a:gd name="connsiteY3131" fmla="*/ 535674 h 1161399"/>
                    <a:gd name="connsiteX3132" fmla="*/ 506057 w 1661518"/>
                    <a:gd name="connsiteY3132" fmla="*/ 529189 h 1161399"/>
                    <a:gd name="connsiteX3133" fmla="*/ 507368 w 1661518"/>
                    <a:gd name="connsiteY3133" fmla="*/ 526761 h 1161399"/>
                    <a:gd name="connsiteX3134" fmla="*/ 507538 w 1661518"/>
                    <a:gd name="connsiteY3134" fmla="*/ 526457 h 1161399"/>
                    <a:gd name="connsiteX3135" fmla="*/ 507672 w 1661518"/>
                    <a:gd name="connsiteY3135" fmla="*/ 526141 h 1161399"/>
                    <a:gd name="connsiteX3136" fmla="*/ 508486 w 1661518"/>
                    <a:gd name="connsiteY3136" fmla="*/ 524126 h 1161399"/>
                    <a:gd name="connsiteX3137" fmla="*/ 508801 w 1661518"/>
                    <a:gd name="connsiteY3137" fmla="*/ 523324 h 1161399"/>
                    <a:gd name="connsiteX3138" fmla="*/ 508886 w 1661518"/>
                    <a:gd name="connsiteY3138" fmla="*/ 522474 h 1161399"/>
                    <a:gd name="connsiteX3139" fmla="*/ 509105 w 1661518"/>
                    <a:gd name="connsiteY3139" fmla="*/ 520325 h 1161399"/>
                    <a:gd name="connsiteX3140" fmla="*/ 509251 w 1661518"/>
                    <a:gd name="connsiteY3140" fmla="*/ 518880 h 1161399"/>
                    <a:gd name="connsiteX3141" fmla="*/ 508741 w 1661518"/>
                    <a:gd name="connsiteY3141" fmla="*/ 517532 h 1161399"/>
                    <a:gd name="connsiteX3142" fmla="*/ 507890 w 1661518"/>
                    <a:gd name="connsiteY3142" fmla="*/ 515322 h 1161399"/>
                    <a:gd name="connsiteX3143" fmla="*/ 506992 w 1661518"/>
                    <a:gd name="connsiteY3143" fmla="*/ 512991 h 1161399"/>
                    <a:gd name="connsiteX3144" fmla="*/ 504709 w 1661518"/>
                    <a:gd name="connsiteY3144" fmla="*/ 511971 h 1161399"/>
                    <a:gd name="connsiteX3145" fmla="*/ 503033 w 1661518"/>
                    <a:gd name="connsiteY3145" fmla="*/ 511218 h 1161399"/>
                    <a:gd name="connsiteX3146" fmla="*/ 501795 w 1661518"/>
                    <a:gd name="connsiteY3146" fmla="*/ 510659 h 1161399"/>
                    <a:gd name="connsiteX3147" fmla="*/ 500447 w 1661518"/>
                    <a:gd name="connsiteY3147" fmla="*/ 510683 h 1161399"/>
                    <a:gd name="connsiteX3148" fmla="*/ 498273 w 1661518"/>
                    <a:gd name="connsiteY3148" fmla="*/ 510720 h 1161399"/>
                    <a:gd name="connsiteX3149" fmla="*/ 497375 w 1661518"/>
                    <a:gd name="connsiteY3149" fmla="*/ 510732 h 1161399"/>
                    <a:gd name="connsiteX3150" fmla="*/ 496525 w 1661518"/>
                    <a:gd name="connsiteY3150" fmla="*/ 510999 h 1161399"/>
                    <a:gd name="connsiteX3151" fmla="*/ 491352 w 1661518"/>
                    <a:gd name="connsiteY3151" fmla="*/ 512651 h 1161399"/>
                    <a:gd name="connsiteX3152" fmla="*/ 491060 w 1661518"/>
                    <a:gd name="connsiteY3152" fmla="*/ 512748 h 1161399"/>
                    <a:gd name="connsiteX3153" fmla="*/ 490781 w 1661518"/>
                    <a:gd name="connsiteY3153" fmla="*/ 512869 h 1161399"/>
                    <a:gd name="connsiteX3154" fmla="*/ 485438 w 1661518"/>
                    <a:gd name="connsiteY3154" fmla="*/ 515200 h 1161399"/>
                    <a:gd name="connsiteX3155" fmla="*/ 484989 w 1661518"/>
                    <a:gd name="connsiteY3155" fmla="*/ 515395 h 1161399"/>
                    <a:gd name="connsiteX3156" fmla="*/ 484576 w 1661518"/>
                    <a:gd name="connsiteY3156" fmla="*/ 515662 h 1161399"/>
                    <a:gd name="connsiteX3157" fmla="*/ 482451 w 1661518"/>
                    <a:gd name="connsiteY3157" fmla="*/ 517034 h 1161399"/>
                    <a:gd name="connsiteX3158" fmla="*/ 481808 w 1661518"/>
                    <a:gd name="connsiteY3158" fmla="*/ 517447 h 1161399"/>
                    <a:gd name="connsiteX3159" fmla="*/ 481285 w 1661518"/>
                    <a:gd name="connsiteY3159" fmla="*/ 518006 h 1161399"/>
                    <a:gd name="connsiteX3160" fmla="*/ 479573 w 1661518"/>
                    <a:gd name="connsiteY3160" fmla="*/ 519851 h 1161399"/>
                    <a:gd name="connsiteX3161" fmla="*/ 479063 w 1661518"/>
                    <a:gd name="connsiteY3161" fmla="*/ 520398 h 1161399"/>
                    <a:gd name="connsiteX3162" fmla="*/ 478711 w 1661518"/>
                    <a:gd name="connsiteY3162" fmla="*/ 521041 h 1161399"/>
                    <a:gd name="connsiteX3163" fmla="*/ 477497 w 1661518"/>
                    <a:gd name="connsiteY3163" fmla="*/ 523239 h 1161399"/>
                    <a:gd name="connsiteX3164" fmla="*/ 477157 w 1661518"/>
                    <a:gd name="connsiteY3164" fmla="*/ 523846 h 1161399"/>
                    <a:gd name="connsiteX3165" fmla="*/ 476962 w 1661518"/>
                    <a:gd name="connsiteY3165" fmla="*/ 524514 h 1161399"/>
                    <a:gd name="connsiteX3166" fmla="*/ 475360 w 1661518"/>
                    <a:gd name="connsiteY3166" fmla="*/ 530161 h 1161399"/>
                    <a:gd name="connsiteX3167" fmla="*/ 474753 w 1661518"/>
                    <a:gd name="connsiteY3167" fmla="*/ 530367 h 1161399"/>
                    <a:gd name="connsiteX3168" fmla="*/ 473854 w 1661518"/>
                    <a:gd name="connsiteY3168" fmla="*/ 530476 h 1161399"/>
                    <a:gd name="connsiteX3169" fmla="*/ 473174 w 1661518"/>
                    <a:gd name="connsiteY3169" fmla="*/ 528303 h 1161399"/>
                    <a:gd name="connsiteX3170" fmla="*/ 473004 w 1661518"/>
                    <a:gd name="connsiteY3170" fmla="*/ 527744 h 1161399"/>
                    <a:gd name="connsiteX3171" fmla="*/ 472725 w 1661518"/>
                    <a:gd name="connsiteY3171" fmla="*/ 527234 h 1161399"/>
                    <a:gd name="connsiteX3172" fmla="*/ 471559 w 1661518"/>
                    <a:gd name="connsiteY3172" fmla="*/ 525061 h 1161399"/>
                    <a:gd name="connsiteX3173" fmla="*/ 471037 w 1661518"/>
                    <a:gd name="connsiteY3173" fmla="*/ 524077 h 1161399"/>
                    <a:gd name="connsiteX3174" fmla="*/ 470199 w 1661518"/>
                    <a:gd name="connsiteY3174" fmla="*/ 523336 h 1161399"/>
                    <a:gd name="connsiteX3175" fmla="*/ 468195 w 1661518"/>
                    <a:gd name="connsiteY3175" fmla="*/ 521600 h 1161399"/>
                    <a:gd name="connsiteX3176" fmla="*/ 467163 w 1661518"/>
                    <a:gd name="connsiteY3176" fmla="*/ 520701 h 1161399"/>
                    <a:gd name="connsiteX3177" fmla="*/ 465840 w 1661518"/>
                    <a:gd name="connsiteY3177" fmla="*/ 520337 h 1161399"/>
                    <a:gd name="connsiteX3178" fmla="*/ 463836 w 1661518"/>
                    <a:gd name="connsiteY3178" fmla="*/ 519778 h 1161399"/>
                    <a:gd name="connsiteX3179" fmla="*/ 462682 w 1661518"/>
                    <a:gd name="connsiteY3179" fmla="*/ 519463 h 1161399"/>
                    <a:gd name="connsiteX3180" fmla="*/ 461492 w 1661518"/>
                    <a:gd name="connsiteY3180" fmla="*/ 519608 h 1161399"/>
                    <a:gd name="connsiteX3181" fmla="*/ 452907 w 1661518"/>
                    <a:gd name="connsiteY3181" fmla="*/ 520641 h 1161399"/>
                    <a:gd name="connsiteX3182" fmla="*/ 448961 w 1661518"/>
                    <a:gd name="connsiteY3182" fmla="*/ 520556 h 1161399"/>
                    <a:gd name="connsiteX3183" fmla="*/ 445597 w 1661518"/>
                    <a:gd name="connsiteY3183" fmla="*/ 519766 h 1161399"/>
                    <a:gd name="connsiteX3184" fmla="*/ 435810 w 1661518"/>
                    <a:gd name="connsiteY3184" fmla="*/ 516281 h 1161399"/>
                    <a:gd name="connsiteX3185" fmla="*/ 435118 w 1661518"/>
                    <a:gd name="connsiteY3185" fmla="*/ 516038 h 1161399"/>
                    <a:gd name="connsiteX3186" fmla="*/ 434389 w 1661518"/>
                    <a:gd name="connsiteY3186" fmla="*/ 515966 h 1161399"/>
                    <a:gd name="connsiteX3187" fmla="*/ 431062 w 1661518"/>
                    <a:gd name="connsiteY3187" fmla="*/ 515626 h 1161399"/>
                    <a:gd name="connsiteX3188" fmla="*/ 430164 w 1661518"/>
                    <a:gd name="connsiteY3188" fmla="*/ 515540 h 1161399"/>
                    <a:gd name="connsiteX3189" fmla="*/ 429277 w 1661518"/>
                    <a:gd name="connsiteY3189" fmla="*/ 515711 h 1161399"/>
                    <a:gd name="connsiteX3190" fmla="*/ 423509 w 1661518"/>
                    <a:gd name="connsiteY3190" fmla="*/ 516840 h 1161399"/>
                    <a:gd name="connsiteX3191" fmla="*/ 420838 w 1661518"/>
                    <a:gd name="connsiteY3191" fmla="*/ 516961 h 1161399"/>
                    <a:gd name="connsiteX3192" fmla="*/ 419866 w 1661518"/>
                    <a:gd name="connsiteY3192" fmla="*/ 516585 h 1161399"/>
                    <a:gd name="connsiteX3193" fmla="*/ 418956 w 1661518"/>
                    <a:gd name="connsiteY3193" fmla="*/ 515868 h 1161399"/>
                    <a:gd name="connsiteX3194" fmla="*/ 418373 w 1661518"/>
                    <a:gd name="connsiteY3194" fmla="*/ 515079 h 1161399"/>
                    <a:gd name="connsiteX3195" fmla="*/ 418179 w 1661518"/>
                    <a:gd name="connsiteY3195" fmla="*/ 514715 h 1161399"/>
                    <a:gd name="connsiteX3196" fmla="*/ 418701 w 1661518"/>
                    <a:gd name="connsiteY3196" fmla="*/ 512311 h 1161399"/>
                    <a:gd name="connsiteX3197" fmla="*/ 418871 w 1661518"/>
                    <a:gd name="connsiteY3197" fmla="*/ 511546 h 1161399"/>
                    <a:gd name="connsiteX3198" fmla="*/ 418834 w 1661518"/>
                    <a:gd name="connsiteY3198" fmla="*/ 510768 h 1161399"/>
                    <a:gd name="connsiteX3199" fmla="*/ 418774 w 1661518"/>
                    <a:gd name="connsiteY3199" fmla="*/ 509360 h 1161399"/>
                    <a:gd name="connsiteX3200" fmla="*/ 418725 w 1661518"/>
                    <a:gd name="connsiteY3200" fmla="*/ 508060 h 1161399"/>
                    <a:gd name="connsiteX3201" fmla="*/ 418142 w 1661518"/>
                    <a:gd name="connsiteY3201" fmla="*/ 506895 h 1161399"/>
                    <a:gd name="connsiteX3202" fmla="*/ 417499 w 1661518"/>
                    <a:gd name="connsiteY3202" fmla="*/ 505608 h 1161399"/>
                    <a:gd name="connsiteX3203" fmla="*/ 416066 w 1661518"/>
                    <a:gd name="connsiteY3203" fmla="*/ 502742 h 1161399"/>
                    <a:gd name="connsiteX3204" fmla="*/ 412896 w 1661518"/>
                    <a:gd name="connsiteY3204" fmla="*/ 502305 h 1161399"/>
                    <a:gd name="connsiteX3205" fmla="*/ 411694 w 1661518"/>
                    <a:gd name="connsiteY3205" fmla="*/ 502135 h 1161399"/>
                    <a:gd name="connsiteX3206" fmla="*/ 410747 w 1661518"/>
                    <a:gd name="connsiteY3206" fmla="*/ 502001 h 1161399"/>
                    <a:gd name="connsiteX3207" fmla="*/ 409812 w 1661518"/>
                    <a:gd name="connsiteY3207" fmla="*/ 502159 h 1161399"/>
                    <a:gd name="connsiteX3208" fmla="*/ 408148 w 1661518"/>
                    <a:gd name="connsiteY3208" fmla="*/ 502451 h 1161399"/>
                    <a:gd name="connsiteX3209" fmla="*/ 407359 w 1661518"/>
                    <a:gd name="connsiteY3209" fmla="*/ 502596 h 1161399"/>
                    <a:gd name="connsiteX3210" fmla="*/ 406631 w 1661518"/>
                    <a:gd name="connsiteY3210" fmla="*/ 502924 h 1161399"/>
                    <a:gd name="connsiteX3211" fmla="*/ 403133 w 1661518"/>
                    <a:gd name="connsiteY3211" fmla="*/ 504551 h 1161399"/>
                    <a:gd name="connsiteX3212" fmla="*/ 399916 w 1661518"/>
                    <a:gd name="connsiteY3212" fmla="*/ 506409 h 1161399"/>
                    <a:gd name="connsiteX3213" fmla="*/ 399551 w 1661518"/>
                    <a:gd name="connsiteY3213" fmla="*/ 506615 h 1161399"/>
                    <a:gd name="connsiteX3214" fmla="*/ 399223 w 1661518"/>
                    <a:gd name="connsiteY3214" fmla="*/ 506871 h 1161399"/>
                    <a:gd name="connsiteX3215" fmla="*/ 397730 w 1661518"/>
                    <a:gd name="connsiteY3215" fmla="*/ 508048 h 1161399"/>
                    <a:gd name="connsiteX3216" fmla="*/ 397026 w 1661518"/>
                    <a:gd name="connsiteY3216" fmla="*/ 508595 h 1161399"/>
                    <a:gd name="connsiteX3217" fmla="*/ 396516 w 1661518"/>
                    <a:gd name="connsiteY3217" fmla="*/ 509323 h 1161399"/>
                    <a:gd name="connsiteX3218" fmla="*/ 395471 w 1661518"/>
                    <a:gd name="connsiteY3218" fmla="*/ 510817 h 1161399"/>
                    <a:gd name="connsiteX3219" fmla="*/ 394888 w 1661518"/>
                    <a:gd name="connsiteY3219" fmla="*/ 511643 h 1161399"/>
                    <a:gd name="connsiteX3220" fmla="*/ 394609 w 1661518"/>
                    <a:gd name="connsiteY3220" fmla="*/ 512614 h 1161399"/>
                    <a:gd name="connsiteX3221" fmla="*/ 394038 w 1661518"/>
                    <a:gd name="connsiteY3221" fmla="*/ 514569 h 1161399"/>
                    <a:gd name="connsiteX3222" fmla="*/ 393832 w 1661518"/>
                    <a:gd name="connsiteY3222" fmla="*/ 515286 h 1161399"/>
                    <a:gd name="connsiteX3223" fmla="*/ 393808 w 1661518"/>
                    <a:gd name="connsiteY3223" fmla="*/ 516038 h 1161399"/>
                    <a:gd name="connsiteX3224" fmla="*/ 393601 w 1661518"/>
                    <a:gd name="connsiteY3224" fmla="*/ 521333 h 1161399"/>
                    <a:gd name="connsiteX3225" fmla="*/ 392763 w 1661518"/>
                    <a:gd name="connsiteY3225" fmla="*/ 524903 h 1161399"/>
                    <a:gd name="connsiteX3226" fmla="*/ 392666 w 1661518"/>
                    <a:gd name="connsiteY3226" fmla="*/ 525340 h 1161399"/>
                    <a:gd name="connsiteX3227" fmla="*/ 392630 w 1661518"/>
                    <a:gd name="connsiteY3227" fmla="*/ 525789 h 1161399"/>
                    <a:gd name="connsiteX3228" fmla="*/ 392460 w 1661518"/>
                    <a:gd name="connsiteY3228" fmla="*/ 527817 h 1161399"/>
                    <a:gd name="connsiteX3229" fmla="*/ 392411 w 1661518"/>
                    <a:gd name="connsiteY3229" fmla="*/ 528461 h 1161399"/>
                    <a:gd name="connsiteX3230" fmla="*/ 392496 w 1661518"/>
                    <a:gd name="connsiteY3230" fmla="*/ 529092 h 1161399"/>
                    <a:gd name="connsiteX3231" fmla="*/ 392921 w 1661518"/>
                    <a:gd name="connsiteY3231" fmla="*/ 532359 h 1161399"/>
                    <a:gd name="connsiteX3232" fmla="*/ 392350 w 1661518"/>
                    <a:gd name="connsiteY3232" fmla="*/ 538782 h 1161399"/>
                    <a:gd name="connsiteX3233" fmla="*/ 392326 w 1661518"/>
                    <a:gd name="connsiteY3233" fmla="*/ 541830 h 1161399"/>
                    <a:gd name="connsiteX3234" fmla="*/ 392326 w 1661518"/>
                    <a:gd name="connsiteY3234" fmla="*/ 542206 h 1161399"/>
                    <a:gd name="connsiteX3235" fmla="*/ 392375 w 1661518"/>
                    <a:gd name="connsiteY3235" fmla="*/ 542583 h 1161399"/>
                    <a:gd name="connsiteX3236" fmla="*/ 392897 w 1661518"/>
                    <a:gd name="connsiteY3236" fmla="*/ 546857 h 1161399"/>
                    <a:gd name="connsiteX3237" fmla="*/ 392897 w 1661518"/>
                    <a:gd name="connsiteY3237" fmla="*/ 547999 h 1161399"/>
                    <a:gd name="connsiteX3238" fmla="*/ 392751 w 1661518"/>
                    <a:gd name="connsiteY3238" fmla="*/ 549019 h 1161399"/>
                    <a:gd name="connsiteX3239" fmla="*/ 388331 w 1661518"/>
                    <a:gd name="connsiteY3239" fmla="*/ 554046 h 1161399"/>
                    <a:gd name="connsiteX3240" fmla="*/ 373359 w 1661518"/>
                    <a:gd name="connsiteY3240" fmla="*/ 562910 h 1161399"/>
                    <a:gd name="connsiteX3241" fmla="*/ 372643 w 1661518"/>
                    <a:gd name="connsiteY3241" fmla="*/ 563335 h 1161399"/>
                    <a:gd name="connsiteX3242" fmla="*/ 372072 w 1661518"/>
                    <a:gd name="connsiteY3242" fmla="*/ 563942 h 1161399"/>
                    <a:gd name="connsiteX3243" fmla="*/ 369388 w 1661518"/>
                    <a:gd name="connsiteY3243" fmla="*/ 566735 h 1161399"/>
                    <a:gd name="connsiteX3244" fmla="*/ 368575 w 1661518"/>
                    <a:gd name="connsiteY3244" fmla="*/ 567585 h 1161399"/>
                    <a:gd name="connsiteX3245" fmla="*/ 368137 w 1661518"/>
                    <a:gd name="connsiteY3245" fmla="*/ 568678 h 1161399"/>
                    <a:gd name="connsiteX3246" fmla="*/ 367263 w 1661518"/>
                    <a:gd name="connsiteY3246" fmla="*/ 570876 h 1161399"/>
                    <a:gd name="connsiteX3247" fmla="*/ 366037 w 1661518"/>
                    <a:gd name="connsiteY3247" fmla="*/ 573948 h 1161399"/>
                    <a:gd name="connsiteX3248" fmla="*/ 367955 w 1661518"/>
                    <a:gd name="connsiteY3248" fmla="*/ 576644 h 1161399"/>
                    <a:gd name="connsiteX3249" fmla="*/ 369048 w 1661518"/>
                    <a:gd name="connsiteY3249" fmla="*/ 578186 h 1161399"/>
                    <a:gd name="connsiteX3250" fmla="*/ 369315 w 1661518"/>
                    <a:gd name="connsiteY3250" fmla="*/ 578562 h 1161399"/>
                    <a:gd name="connsiteX3251" fmla="*/ 369631 w 1661518"/>
                    <a:gd name="connsiteY3251" fmla="*/ 578890 h 1161399"/>
                    <a:gd name="connsiteX3252" fmla="*/ 370384 w 1661518"/>
                    <a:gd name="connsiteY3252" fmla="*/ 579667 h 1161399"/>
                    <a:gd name="connsiteX3253" fmla="*/ 370202 w 1661518"/>
                    <a:gd name="connsiteY3253" fmla="*/ 580068 h 1161399"/>
                    <a:gd name="connsiteX3254" fmla="*/ 369570 w 1661518"/>
                    <a:gd name="connsiteY3254" fmla="*/ 581076 h 1161399"/>
                    <a:gd name="connsiteX3255" fmla="*/ 368356 w 1661518"/>
                    <a:gd name="connsiteY3255" fmla="*/ 581999 h 1161399"/>
                    <a:gd name="connsiteX3256" fmla="*/ 355472 w 1661518"/>
                    <a:gd name="connsiteY3256" fmla="*/ 588811 h 1161399"/>
                    <a:gd name="connsiteX3257" fmla="*/ 346402 w 1661518"/>
                    <a:gd name="connsiteY3257" fmla="*/ 591349 h 1161399"/>
                    <a:gd name="connsiteX3258" fmla="*/ 345758 w 1661518"/>
                    <a:gd name="connsiteY3258" fmla="*/ 591531 h 1161399"/>
                    <a:gd name="connsiteX3259" fmla="*/ 345175 w 1661518"/>
                    <a:gd name="connsiteY3259" fmla="*/ 591847 h 1161399"/>
                    <a:gd name="connsiteX3260" fmla="*/ 339177 w 1661518"/>
                    <a:gd name="connsiteY3260" fmla="*/ 595053 h 1161399"/>
                    <a:gd name="connsiteX3261" fmla="*/ 337392 w 1661518"/>
                    <a:gd name="connsiteY3261" fmla="*/ 595538 h 1161399"/>
                    <a:gd name="connsiteX3262" fmla="*/ 337149 w 1661518"/>
                    <a:gd name="connsiteY3262" fmla="*/ 595283 h 1161399"/>
                    <a:gd name="connsiteX3263" fmla="*/ 335813 w 1661518"/>
                    <a:gd name="connsiteY3263" fmla="*/ 593595 h 1161399"/>
                    <a:gd name="connsiteX3264" fmla="*/ 333785 w 1661518"/>
                    <a:gd name="connsiteY3264" fmla="*/ 591470 h 1161399"/>
                    <a:gd name="connsiteX3265" fmla="*/ 333202 w 1661518"/>
                    <a:gd name="connsiteY3265" fmla="*/ 590863 h 1161399"/>
                    <a:gd name="connsiteX3266" fmla="*/ 332474 w 1661518"/>
                    <a:gd name="connsiteY3266" fmla="*/ 590438 h 1161399"/>
                    <a:gd name="connsiteX3267" fmla="*/ 330883 w 1661518"/>
                    <a:gd name="connsiteY3267" fmla="*/ 589515 h 1161399"/>
                    <a:gd name="connsiteX3268" fmla="*/ 329304 w 1661518"/>
                    <a:gd name="connsiteY3268" fmla="*/ 588593 h 1161399"/>
                    <a:gd name="connsiteX3269" fmla="*/ 327483 w 1661518"/>
                    <a:gd name="connsiteY3269" fmla="*/ 588702 h 1161399"/>
                    <a:gd name="connsiteX3270" fmla="*/ 325407 w 1661518"/>
                    <a:gd name="connsiteY3270" fmla="*/ 588823 h 1161399"/>
                    <a:gd name="connsiteX3271" fmla="*/ 323524 w 1661518"/>
                    <a:gd name="connsiteY3271" fmla="*/ 588933 h 1161399"/>
                    <a:gd name="connsiteX3272" fmla="*/ 322043 w 1661518"/>
                    <a:gd name="connsiteY3272" fmla="*/ 590086 h 1161399"/>
                    <a:gd name="connsiteX3273" fmla="*/ 321011 w 1661518"/>
                    <a:gd name="connsiteY3273" fmla="*/ 590887 h 1161399"/>
                    <a:gd name="connsiteX3274" fmla="*/ 319906 w 1661518"/>
                    <a:gd name="connsiteY3274" fmla="*/ 591738 h 1161399"/>
                    <a:gd name="connsiteX3275" fmla="*/ 319286 w 1661518"/>
                    <a:gd name="connsiteY3275" fmla="*/ 592988 h 1161399"/>
                    <a:gd name="connsiteX3276" fmla="*/ 318716 w 1661518"/>
                    <a:gd name="connsiteY3276" fmla="*/ 594142 h 1161399"/>
                    <a:gd name="connsiteX3277" fmla="*/ 317975 w 1661518"/>
                    <a:gd name="connsiteY3277" fmla="*/ 595647 h 1161399"/>
                    <a:gd name="connsiteX3278" fmla="*/ 318109 w 1661518"/>
                    <a:gd name="connsiteY3278" fmla="*/ 597323 h 1161399"/>
                    <a:gd name="connsiteX3279" fmla="*/ 318230 w 1661518"/>
                    <a:gd name="connsiteY3279" fmla="*/ 598817 h 1161399"/>
                    <a:gd name="connsiteX3280" fmla="*/ 318279 w 1661518"/>
                    <a:gd name="connsiteY3280" fmla="*/ 599375 h 1161399"/>
                    <a:gd name="connsiteX3281" fmla="*/ 318424 w 1661518"/>
                    <a:gd name="connsiteY3281" fmla="*/ 599910 h 1161399"/>
                    <a:gd name="connsiteX3282" fmla="*/ 319469 w 1661518"/>
                    <a:gd name="connsiteY3282" fmla="*/ 603747 h 1161399"/>
                    <a:gd name="connsiteX3283" fmla="*/ 319554 w 1661518"/>
                    <a:gd name="connsiteY3283" fmla="*/ 604318 h 1161399"/>
                    <a:gd name="connsiteX3284" fmla="*/ 317149 w 1661518"/>
                    <a:gd name="connsiteY3284" fmla="*/ 609029 h 1161399"/>
                    <a:gd name="connsiteX3285" fmla="*/ 316809 w 1661518"/>
                    <a:gd name="connsiteY3285" fmla="*/ 609709 h 1161399"/>
                    <a:gd name="connsiteX3286" fmla="*/ 316639 w 1661518"/>
                    <a:gd name="connsiteY3286" fmla="*/ 610450 h 1161399"/>
                    <a:gd name="connsiteX3287" fmla="*/ 316396 w 1661518"/>
                    <a:gd name="connsiteY3287" fmla="*/ 611482 h 1161399"/>
                    <a:gd name="connsiteX3288" fmla="*/ 314259 w 1661518"/>
                    <a:gd name="connsiteY3288" fmla="*/ 610450 h 1161399"/>
                    <a:gd name="connsiteX3289" fmla="*/ 313652 w 1661518"/>
                    <a:gd name="connsiteY3289" fmla="*/ 610158 h 1161399"/>
                    <a:gd name="connsiteX3290" fmla="*/ 312996 w 1661518"/>
                    <a:gd name="connsiteY3290" fmla="*/ 610001 h 1161399"/>
                    <a:gd name="connsiteX3291" fmla="*/ 310058 w 1661518"/>
                    <a:gd name="connsiteY3291" fmla="*/ 609308 h 1161399"/>
                    <a:gd name="connsiteX3292" fmla="*/ 309681 w 1661518"/>
                    <a:gd name="connsiteY3292" fmla="*/ 609223 h 1161399"/>
                    <a:gd name="connsiteX3293" fmla="*/ 309293 w 1661518"/>
                    <a:gd name="connsiteY3293" fmla="*/ 609187 h 1161399"/>
                    <a:gd name="connsiteX3294" fmla="*/ 305723 w 1661518"/>
                    <a:gd name="connsiteY3294" fmla="*/ 608810 h 1161399"/>
                    <a:gd name="connsiteX3295" fmla="*/ 305601 w 1661518"/>
                    <a:gd name="connsiteY3295" fmla="*/ 606637 h 1161399"/>
                    <a:gd name="connsiteX3296" fmla="*/ 305541 w 1661518"/>
                    <a:gd name="connsiteY3296" fmla="*/ 605593 h 1161399"/>
                    <a:gd name="connsiteX3297" fmla="*/ 305128 w 1661518"/>
                    <a:gd name="connsiteY3297" fmla="*/ 604621 h 1161399"/>
                    <a:gd name="connsiteX3298" fmla="*/ 304083 w 1661518"/>
                    <a:gd name="connsiteY3298" fmla="*/ 602156 h 1161399"/>
                    <a:gd name="connsiteX3299" fmla="*/ 303889 w 1661518"/>
                    <a:gd name="connsiteY3299" fmla="*/ 601695 h 1161399"/>
                    <a:gd name="connsiteX3300" fmla="*/ 303622 w 1661518"/>
                    <a:gd name="connsiteY3300" fmla="*/ 601270 h 1161399"/>
                    <a:gd name="connsiteX3301" fmla="*/ 302639 w 1661518"/>
                    <a:gd name="connsiteY3301" fmla="*/ 599715 h 1161399"/>
                    <a:gd name="connsiteX3302" fmla="*/ 301837 w 1661518"/>
                    <a:gd name="connsiteY3302" fmla="*/ 598453 h 1161399"/>
                    <a:gd name="connsiteX3303" fmla="*/ 300550 w 1661518"/>
                    <a:gd name="connsiteY3303" fmla="*/ 597700 h 1161399"/>
                    <a:gd name="connsiteX3304" fmla="*/ 290714 w 1661518"/>
                    <a:gd name="connsiteY3304" fmla="*/ 592029 h 1161399"/>
                    <a:gd name="connsiteX3305" fmla="*/ 288091 w 1661518"/>
                    <a:gd name="connsiteY3305" fmla="*/ 590110 h 1161399"/>
                    <a:gd name="connsiteX3306" fmla="*/ 287897 w 1661518"/>
                    <a:gd name="connsiteY3306" fmla="*/ 589928 h 1161399"/>
                    <a:gd name="connsiteX3307" fmla="*/ 286986 w 1661518"/>
                    <a:gd name="connsiteY3307" fmla="*/ 588374 h 1161399"/>
                    <a:gd name="connsiteX3308" fmla="*/ 286525 w 1661518"/>
                    <a:gd name="connsiteY3308" fmla="*/ 581914 h 1161399"/>
                    <a:gd name="connsiteX3309" fmla="*/ 288565 w 1661518"/>
                    <a:gd name="connsiteY3309" fmla="*/ 578672 h 1161399"/>
                    <a:gd name="connsiteX3310" fmla="*/ 288820 w 1661518"/>
                    <a:gd name="connsiteY3310" fmla="*/ 578271 h 1161399"/>
                    <a:gd name="connsiteX3311" fmla="*/ 289014 w 1661518"/>
                    <a:gd name="connsiteY3311" fmla="*/ 577834 h 1161399"/>
                    <a:gd name="connsiteX3312" fmla="*/ 289378 w 1661518"/>
                    <a:gd name="connsiteY3312" fmla="*/ 576984 h 1161399"/>
                    <a:gd name="connsiteX3313" fmla="*/ 291443 w 1661518"/>
                    <a:gd name="connsiteY3313" fmla="*/ 578757 h 1161399"/>
                    <a:gd name="connsiteX3314" fmla="*/ 291892 w 1661518"/>
                    <a:gd name="connsiteY3314" fmla="*/ 579133 h 1161399"/>
                    <a:gd name="connsiteX3315" fmla="*/ 292402 w 1661518"/>
                    <a:gd name="connsiteY3315" fmla="*/ 579425 h 1161399"/>
                    <a:gd name="connsiteX3316" fmla="*/ 293774 w 1661518"/>
                    <a:gd name="connsiteY3316" fmla="*/ 580202 h 1161399"/>
                    <a:gd name="connsiteX3317" fmla="*/ 294454 w 1661518"/>
                    <a:gd name="connsiteY3317" fmla="*/ 580590 h 1161399"/>
                    <a:gd name="connsiteX3318" fmla="*/ 295219 w 1661518"/>
                    <a:gd name="connsiteY3318" fmla="*/ 580797 h 1161399"/>
                    <a:gd name="connsiteX3319" fmla="*/ 297332 w 1661518"/>
                    <a:gd name="connsiteY3319" fmla="*/ 581355 h 1161399"/>
                    <a:gd name="connsiteX3320" fmla="*/ 297538 w 1661518"/>
                    <a:gd name="connsiteY3320" fmla="*/ 581465 h 1161399"/>
                    <a:gd name="connsiteX3321" fmla="*/ 299396 w 1661518"/>
                    <a:gd name="connsiteY3321" fmla="*/ 583043 h 1161399"/>
                    <a:gd name="connsiteX3322" fmla="*/ 300246 w 1661518"/>
                    <a:gd name="connsiteY3322" fmla="*/ 583760 h 1161399"/>
                    <a:gd name="connsiteX3323" fmla="*/ 301291 w 1661518"/>
                    <a:gd name="connsiteY3323" fmla="*/ 584124 h 1161399"/>
                    <a:gd name="connsiteX3324" fmla="*/ 303646 w 1661518"/>
                    <a:gd name="connsiteY3324" fmla="*/ 584962 h 1161399"/>
                    <a:gd name="connsiteX3325" fmla="*/ 304703 w 1661518"/>
                    <a:gd name="connsiteY3325" fmla="*/ 585338 h 1161399"/>
                    <a:gd name="connsiteX3326" fmla="*/ 305832 w 1661518"/>
                    <a:gd name="connsiteY3326" fmla="*/ 585314 h 1161399"/>
                    <a:gd name="connsiteX3327" fmla="*/ 308079 w 1661518"/>
                    <a:gd name="connsiteY3327" fmla="*/ 585253 h 1161399"/>
                    <a:gd name="connsiteX3328" fmla="*/ 309111 w 1661518"/>
                    <a:gd name="connsiteY3328" fmla="*/ 585229 h 1161399"/>
                    <a:gd name="connsiteX3329" fmla="*/ 310082 w 1661518"/>
                    <a:gd name="connsiteY3329" fmla="*/ 584865 h 1161399"/>
                    <a:gd name="connsiteX3330" fmla="*/ 312207 w 1661518"/>
                    <a:gd name="connsiteY3330" fmla="*/ 584063 h 1161399"/>
                    <a:gd name="connsiteX3331" fmla="*/ 313215 w 1661518"/>
                    <a:gd name="connsiteY3331" fmla="*/ 583675 h 1161399"/>
                    <a:gd name="connsiteX3332" fmla="*/ 314029 w 1661518"/>
                    <a:gd name="connsiteY3332" fmla="*/ 582958 h 1161399"/>
                    <a:gd name="connsiteX3333" fmla="*/ 317052 w 1661518"/>
                    <a:gd name="connsiteY3333" fmla="*/ 580323 h 1161399"/>
                    <a:gd name="connsiteX3334" fmla="*/ 318740 w 1661518"/>
                    <a:gd name="connsiteY3334" fmla="*/ 581792 h 1161399"/>
                    <a:gd name="connsiteX3335" fmla="*/ 319384 w 1661518"/>
                    <a:gd name="connsiteY3335" fmla="*/ 582351 h 1161399"/>
                    <a:gd name="connsiteX3336" fmla="*/ 320149 w 1661518"/>
                    <a:gd name="connsiteY3336" fmla="*/ 582703 h 1161399"/>
                    <a:gd name="connsiteX3337" fmla="*/ 322031 w 1661518"/>
                    <a:gd name="connsiteY3337" fmla="*/ 583590 h 1161399"/>
                    <a:gd name="connsiteX3338" fmla="*/ 322480 w 1661518"/>
                    <a:gd name="connsiteY3338" fmla="*/ 583808 h 1161399"/>
                    <a:gd name="connsiteX3339" fmla="*/ 322966 w 1661518"/>
                    <a:gd name="connsiteY3339" fmla="*/ 583942 h 1161399"/>
                    <a:gd name="connsiteX3340" fmla="*/ 323706 w 1661518"/>
                    <a:gd name="connsiteY3340" fmla="*/ 584148 h 1161399"/>
                    <a:gd name="connsiteX3341" fmla="*/ 325200 w 1661518"/>
                    <a:gd name="connsiteY3341" fmla="*/ 584573 h 1161399"/>
                    <a:gd name="connsiteX3342" fmla="*/ 326718 w 1661518"/>
                    <a:gd name="connsiteY3342" fmla="*/ 584221 h 1161399"/>
                    <a:gd name="connsiteX3343" fmla="*/ 327361 w 1661518"/>
                    <a:gd name="connsiteY3343" fmla="*/ 584075 h 1161399"/>
                    <a:gd name="connsiteX3344" fmla="*/ 329219 w 1661518"/>
                    <a:gd name="connsiteY3344" fmla="*/ 583650 h 1161399"/>
                    <a:gd name="connsiteX3345" fmla="*/ 330494 w 1661518"/>
                    <a:gd name="connsiteY3345" fmla="*/ 582242 h 1161399"/>
                    <a:gd name="connsiteX3346" fmla="*/ 332158 w 1661518"/>
                    <a:gd name="connsiteY3346" fmla="*/ 580408 h 1161399"/>
                    <a:gd name="connsiteX3347" fmla="*/ 333032 w 1661518"/>
                    <a:gd name="connsiteY3347" fmla="*/ 579437 h 1161399"/>
                    <a:gd name="connsiteX3348" fmla="*/ 333433 w 1661518"/>
                    <a:gd name="connsiteY3348" fmla="*/ 578186 h 1161399"/>
                    <a:gd name="connsiteX3349" fmla="*/ 333943 w 1661518"/>
                    <a:gd name="connsiteY3349" fmla="*/ 576607 h 1161399"/>
                    <a:gd name="connsiteX3350" fmla="*/ 335279 w 1661518"/>
                    <a:gd name="connsiteY3350" fmla="*/ 574167 h 1161399"/>
                    <a:gd name="connsiteX3351" fmla="*/ 337222 w 1661518"/>
                    <a:gd name="connsiteY3351" fmla="*/ 571289 h 1161399"/>
                    <a:gd name="connsiteX3352" fmla="*/ 342091 w 1661518"/>
                    <a:gd name="connsiteY3352" fmla="*/ 566796 h 1161399"/>
                    <a:gd name="connsiteX3353" fmla="*/ 342625 w 1661518"/>
                    <a:gd name="connsiteY3353" fmla="*/ 566298 h 1161399"/>
                    <a:gd name="connsiteX3354" fmla="*/ 343026 w 1661518"/>
                    <a:gd name="connsiteY3354" fmla="*/ 565691 h 1161399"/>
                    <a:gd name="connsiteX3355" fmla="*/ 345321 w 1661518"/>
                    <a:gd name="connsiteY3355" fmla="*/ 562242 h 1161399"/>
                    <a:gd name="connsiteX3356" fmla="*/ 345649 w 1661518"/>
                    <a:gd name="connsiteY3356" fmla="*/ 561744 h 1161399"/>
                    <a:gd name="connsiteX3357" fmla="*/ 345879 w 1661518"/>
                    <a:gd name="connsiteY3357" fmla="*/ 561186 h 1161399"/>
                    <a:gd name="connsiteX3358" fmla="*/ 346742 w 1661518"/>
                    <a:gd name="connsiteY3358" fmla="*/ 559097 h 1161399"/>
                    <a:gd name="connsiteX3359" fmla="*/ 347798 w 1661518"/>
                    <a:gd name="connsiteY3359" fmla="*/ 556523 h 1161399"/>
                    <a:gd name="connsiteX3360" fmla="*/ 346547 w 1661518"/>
                    <a:gd name="connsiteY3360" fmla="*/ 554046 h 1161399"/>
                    <a:gd name="connsiteX3361" fmla="*/ 345454 w 1661518"/>
                    <a:gd name="connsiteY3361" fmla="*/ 551884 h 1161399"/>
                    <a:gd name="connsiteX3362" fmla="*/ 344617 w 1661518"/>
                    <a:gd name="connsiteY3362" fmla="*/ 550233 h 1161399"/>
                    <a:gd name="connsiteX3363" fmla="*/ 343002 w 1661518"/>
                    <a:gd name="connsiteY3363" fmla="*/ 549322 h 1161399"/>
                    <a:gd name="connsiteX3364" fmla="*/ 336080 w 1661518"/>
                    <a:gd name="connsiteY3364" fmla="*/ 545461 h 1161399"/>
                    <a:gd name="connsiteX3365" fmla="*/ 335546 w 1661518"/>
                    <a:gd name="connsiteY3365" fmla="*/ 544866 h 1161399"/>
                    <a:gd name="connsiteX3366" fmla="*/ 335194 w 1661518"/>
                    <a:gd name="connsiteY3366" fmla="*/ 543554 h 1161399"/>
                    <a:gd name="connsiteX3367" fmla="*/ 335291 w 1661518"/>
                    <a:gd name="connsiteY3367" fmla="*/ 542146 h 1161399"/>
                    <a:gd name="connsiteX3368" fmla="*/ 336554 w 1661518"/>
                    <a:gd name="connsiteY3368" fmla="*/ 539596 h 1161399"/>
                    <a:gd name="connsiteX3369" fmla="*/ 342795 w 1661518"/>
                    <a:gd name="connsiteY3369" fmla="*/ 532176 h 1161399"/>
                    <a:gd name="connsiteX3370" fmla="*/ 343512 w 1661518"/>
                    <a:gd name="connsiteY3370" fmla="*/ 531326 h 1161399"/>
                    <a:gd name="connsiteX3371" fmla="*/ 343876 w 1661518"/>
                    <a:gd name="connsiteY3371" fmla="*/ 530282 h 1161399"/>
                    <a:gd name="connsiteX3372" fmla="*/ 345309 w 1661518"/>
                    <a:gd name="connsiteY3372" fmla="*/ 526202 h 1161399"/>
                    <a:gd name="connsiteX3373" fmla="*/ 345576 w 1661518"/>
                    <a:gd name="connsiteY3373" fmla="*/ 525449 h 1161399"/>
                    <a:gd name="connsiteX3374" fmla="*/ 345637 w 1661518"/>
                    <a:gd name="connsiteY3374" fmla="*/ 524648 h 1161399"/>
                    <a:gd name="connsiteX3375" fmla="*/ 345940 w 1661518"/>
                    <a:gd name="connsiteY3375" fmla="*/ 520604 h 1161399"/>
                    <a:gd name="connsiteX3376" fmla="*/ 346013 w 1661518"/>
                    <a:gd name="connsiteY3376" fmla="*/ 519669 h 1161399"/>
                    <a:gd name="connsiteX3377" fmla="*/ 345794 w 1661518"/>
                    <a:gd name="connsiteY3377" fmla="*/ 518758 h 1161399"/>
                    <a:gd name="connsiteX3378" fmla="*/ 345151 w 1661518"/>
                    <a:gd name="connsiteY3378" fmla="*/ 516026 h 1161399"/>
                    <a:gd name="connsiteX3379" fmla="*/ 344993 w 1661518"/>
                    <a:gd name="connsiteY3379" fmla="*/ 515383 h 1161399"/>
                    <a:gd name="connsiteX3380" fmla="*/ 344702 w 1661518"/>
                    <a:gd name="connsiteY3380" fmla="*/ 514788 h 1161399"/>
                    <a:gd name="connsiteX3381" fmla="*/ 343949 w 1661518"/>
                    <a:gd name="connsiteY3381" fmla="*/ 513233 h 1161399"/>
                    <a:gd name="connsiteX3382" fmla="*/ 343463 w 1661518"/>
                    <a:gd name="connsiteY3382" fmla="*/ 512250 h 1161399"/>
                    <a:gd name="connsiteX3383" fmla="*/ 342674 w 1661518"/>
                    <a:gd name="connsiteY3383" fmla="*/ 511497 h 1161399"/>
                    <a:gd name="connsiteX3384" fmla="*/ 341302 w 1661518"/>
                    <a:gd name="connsiteY3384" fmla="*/ 510186 h 1161399"/>
                    <a:gd name="connsiteX3385" fmla="*/ 340597 w 1661518"/>
                    <a:gd name="connsiteY3385" fmla="*/ 509518 h 1161399"/>
                    <a:gd name="connsiteX3386" fmla="*/ 339723 w 1661518"/>
                    <a:gd name="connsiteY3386" fmla="*/ 509105 h 1161399"/>
                    <a:gd name="connsiteX3387" fmla="*/ 338059 w 1661518"/>
                    <a:gd name="connsiteY3387" fmla="*/ 508303 h 1161399"/>
                    <a:gd name="connsiteX3388" fmla="*/ 335934 w 1661518"/>
                    <a:gd name="connsiteY3388" fmla="*/ 507502 h 1161399"/>
                    <a:gd name="connsiteX3389" fmla="*/ 335424 w 1661518"/>
                    <a:gd name="connsiteY3389" fmla="*/ 507223 h 1161399"/>
                    <a:gd name="connsiteX3390" fmla="*/ 335011 w 1661518"/>
                    <a:gd name="connsiteY3390" fmla="*/ 505972 h 1161399"/>
                    <a:gd name="connsiteX3391" fmla="*/ 334052 w 1661518"/>
                    <a:gd name="connsiteY3391" fmla="*/ 498140 h 1161399"/>
                    <a:gd name="connsiteX3392" fmla="*/ 333991 w 1661518"/>
                    <a:gd name="connsiteY3392" fmla="*/ 497581 h 1161399"/>
                    <a:gd name="connsiteX3393" fmla="*/ 333821 w 1661518"/>
                    <a:gd name="connsiteY3393" fmla="*/ 497047 h 1161399"/>
                    <a:gd name="connsiteX3394" fmla="*/ 333227 w 1661518"/>
                    <a:gd name="connsiteY3394" fmla="*/ 495152 h 1161399"/>
                    <a:gd name="connsiteX3395" fmla="*/ 332887 w 1661518"/>
                    <a:gd name="connsiteY3395" fmla="*/ 493550 h 1161399"/>
                    <a:gd name="connsiteX3396" fmla="*/ 332971 w 1661518"/>
                    <a:gd name="connsiteY3396" fmla="*/ 491935 h 1161399"/>
                    <a:gd name="connsiteX3397" fmla="*/ 334368 w 1661518"/>
                    <a:gd name="connsiteY3397" fmla="*/ 487600 h 1161399"/>
                    <a:gd name="connsiteX3398" fmla="*/ 335291 w 1661518"/>
                    <a:gd name="connsiteY3398" fmla="*/ 486033 h 1161399"/>
                    <a:gd name="connsiteX3399" fmla="*/ 335424 w 1661518"/>
                    <a:gd name="connsiteY3399" fmla="*/ 485912 h 1161399"/>
                    <a:gd name="connsiteX3400" fmla="*/ 340464 w 1661518"/>
                    <a:gd name="connsiteY3400" fmla="*/ 489287 h 1161399"/>
                    <a:gd name="connsiteX3401" fmla="*/ 341277 w 1661518"/>
                    <a:gd name="connsiteY3401" fmla="*/ 489834 h 1161399"/>
                    <a:gd name="connsiteX3402" fmla="*/ 342224 w 1661518"/>
                    <a:gd name="connsiteY3402" fmla="*/ 490089 h 1161399"/>
                    <a:gd name="connsiteX3403" fmla="*/ 344519 w 1661518"/>
                    <a:gd name="connsiteY3403" fmla="*/ 490720 h 1161399"/>
                    <a:gd name="connsiteX3404" fmla="*/ 346013 w 1661518"/>
                    <a:gd name="connsiteY3404" fmla="*/ 491133 h 1161399"/>
                    <a:gd name="connsiteX3405" fmla="*/ 347519 w 1661518"/>
                    <a:gd name="connsiteY3405" fmla="*/ 490781 h 1161399"/>
                    <a:gd name="connsiteX3406" fmla="*/ 349753 w 1661518"/>
                    <a:gd name="connsiteY3406" fmla="*/ 490259 h 1161399"/>
                    <a:gd name="connsiteX3407" fmla="*/ 350967 w 1661518"/>
                    <a:gd name="connsiteY3407" fmla="*/ 489980 h 1161399"/>
                    <a:gd name="connsiteX3408" fmla="*/ 351975 w 1661518"/>
                    <a:gd name="connsiteY3408" fmla="*/ 489239 h 1161399"/>
                    <a:gd name="connsiteX3409" fmla="*/ 354161 w 1661518"/>
                    <a:gd name="connsiteY3409" fmla="*/ 487636 h 1161399"/>
                    <a:gd name="connsiteX3410" fmla="*/ 354950 w 1661518"/>
                    <a:gd name="connsiteY3410" fmla="*/ 487053 h 1161399"/>
                    <a:gd name="connsiteX3411" fmla="*/ 355521 w 1661518"/>
                    <a:gd name="connsiteY3411" fmla="*/ 486252 h 1161399"/>
                    <a:gd name="connsiteX3412" fmla="*/ 357075 w 1661518"/>
                    <a:gd name="connsiteY3412" fmla="*/ 484042 h 1161399"/>
                    <a:gd name="connsiteX3413" fmla="*/ 357270 w 1661518"/>
                    <a:gd name="connsiteY3413" fmla="*/ 483763 h 1161399"/>
                    <a:gd name="connsiteX3414" fmla="*/ 357427 w 1661518"/>
                    <a:gd name="connsiteY3414" fmla="*/ 483471 h 1161399"/>
                    <a:gd name="connsiteX3415" fmla="*/ 358047 w 1661518"/>
                    <a:gd name="connsiteY3415" fmla="*/ 482342 h 1161399"/>
                    <a:gd name="connsiteX3416" fmla="*/ 358302 w 1661518"/>
                    <a:gd name="connsiteY3416" fmla="*/ 481868 h 1161399"/>
                    <a:gd name="connsiteX3417" fmla="*/ 358472 w 1661518"/>
                    <a:gd name="connsiteY3417" fmla="*/ 481358 h 1161399"/>
                    <a:gd name="connsiteX3418" fmla="*/ 358715 w 1661518"/>
                    <a:gd name="connsiteY3418" fmla="*/ 480642 h 1161399"/>
                    <a:gd name="connsiteX3419" fmla="*/ 358970 w 1661518"/>
                    <a:gd name="connsiteY3419" fmla="*/ 479877 h 1161399"/>
                    <a:gd name="connsiteX3420" fmla="*/ 359018 w 1661518"/>
                    <a:gd name="connsiteY3420" fmla="*/ 479075 h 1161399"/>
                    <a:gd name="connsiteX3421" fmla="*/ 359188 w 1661518"/>
                    <a:gd name="connsiteY3421" fmla="*/ 476452 h 1161399"/>
                    <a:gd name="connsiteX3422" fmla="*/ 359212 w 1661518"/>
                    <a:gd name="connsiteY3422" fmla="*/ 476076 h 1161399"/>
                    <a:gd name="connsiteX3423" fmla="*/ 359188 w 1661518"/>
                    <a:gd name="connsiteY3423" fmla="*/ 475700 h 1161399"/>
                    <a:gd name="connsiteX3424" fmla="*/ 358156 w 1661518"/>
                    <a:gd name="connsiteY3424" fmla="*/ 458760 h 1161399"/>
                    <a:gd name="connsiteX3425" fmla="*/ 358035 w 1661518"/>
                    <a:gd name="connsiteY3425" fmla="*/ 456781 h 1161399"/>
                    <a:gd name="connsiteX3426" fmla="*/ 356772 w 1661518"/>
                    <a:gd name="connsiteY3426" fmla="*/ 455251 h 1161399"/>
                    <a:gd name="connsiteX3427" fmla="*/ 351247 w 1661518"/>
                    <a:gd name="connsiteY3427" fmla="*/ 448584 h 1161399"/>
                    <a:gd name="connsiteX3428" fmla="*/ 351052 w 1661518"/>
                    <a:gd name="connsiteY3428" fmla="*/ 448354 h 1161399"/>
                    <a:gd name="connsiteX3429" fmla="*/ 350834 w 1661518"/>
                    <a:gd name="connsiteY3429" fmla="*/ 448135 h 1161399"/>
                    <a:gd name="connsiteX3430" fmla="*/ 347871 w 1661518"/>
                    <a:gd name="connsiteY3430" fmla="*/ 445209 h 1161399"/>
                    <a:gd name="connsiteX3431" fmla="*/ 347762 w 1661518"/>
                    <a:gd name="connsiteY3431" fmla="*/ 444978 h 1161399"/>
                    <a:gd name="connsiteX3432" fmla="*/ 348077 w 1661518"/>
                    <a:gd name="connsiteY3432" fmla="*/ 444116 h 1161399"/>
                    <a:gd name="connsiteX3433" fmla="*/ 348393 w 1661518"/>
                    <a:gd name="connsiteY3433" fmla="*/ 443290 h 1161399"/>
                    <a:gd name="connsiteX3434" fmla="*/ 348454 w 1661518"/>
                    <a:gd name="connsiteY3434" fmla="*/ 442391 h 1161399"/>
                    <a:gd name="connsiteX3435" fmla="*/ 348612 w 1661518"/>
                    <a:gd name="connsiteY3435" fmla="*/ 439963 h 1161399"/>
                    <a:gd name="connsiteX3436" fmla="*/ 348672 w 1661518"/>
                    <a:gd name="connsiteY3436" fmla="*/ 439040 h 1161399"/>
                    <a:gd name="connsiteX3437" fmla="*/ 348454 w 1661518"/>
                    <a:gd name="connsiteY3437" fmla="*/ 438141 h 1161399"/>
                    <a:gd name="connsiteX3438" fmla="*/ 347482 w 1661518"/>
                    <a:gd name="connsiteY3438" fmla="*/ 434110 h 1161399"/>
                    <a:gd name="connsiteX3439" fmla="*/ 347215 w 1661518"/>
                    <a:gd name="connsiteY3439" fmla="*/ 432956 h 1161399"/>
                    <a:gd name="connsiteX3440" fmla="*/ 346523 w 1661518"/>
                    <a:gd name="connsiteY3440" fmla="*/ 431997 h 1161399"/>
                    <a:gd name="connsiteX3441" fmla="*/ 340609 w 1661518"/>
                    <a:gd name="connsiteY3441" fmla="*/ 423740 h 1161399"/>
                    <a:gd name="connsiteX3442" fmla="*/ 340269 w 1661518"/>
                    <a:gd name="connsiteY3442" fmla="*/ 423254 h 1161399"/>
                    <a:gd name="connsiteX3443" fmla="*/ 339832 w 1661518"/>
                    <a:gd name="connsiteY3443" fmla="*/ 422841 h 1161399"/>
                    <a:gd name="connsiteX3444" fmla="*/ 337185 w 1661518"/>
                    <a:gd name="connsiteY3444" fmla="*/ 420364 h 1161399"/>
                    <a:gd name="connsiteX3445" fmla="*/ 336882 w 1661518"/>
                    <a:gd name="connsiteY3445" fmla="*/ 420085 h 1161399"/>
                    <a:gd name="connsiteX3446" fmla="*/ 336554 w 1661518"/>
                    <a:gd name="connsiteY3446" fmla="*/ 419842 h 1161399"/>
                    <a:gd name="connsiteX3447" fmla="*/ 334902 w 1661518"/>
                    <a:gd name="connsiteY3447" fmla="*/ 418664 h 1161399"/>
                    <a:gd name="connsiteX3448" fmla="*/ 333931 w 1661518"/>
                    <a:gd name="connsiteY3448" fmla="*/ 417972 h 1161399"/>
                    <a:gd name="connsiteX3449" fmla="*/ 332765 w 1661518"/>
                    <a:gd name="connsiteY3449" fmla="*/ 417705 h 1161399"/>
                    <a:gd name="connsiteX3450" fmla="*/ 330579 w 1661518"/>
                    <a:gd name="connsiteY3450" fmla="*/ 417195 h 1161399"/>
                    <a:gd name="connsiteX3451" fmla="*/ 329778 w 1661518"/>
                    <a:gd name="connsiteY3451" fmla="*/ 417001 h 1161399"/>
                    <a:gd name="connsiteX3452" fmla="*/ 328952 w 1661518"/>
                    <a:gd name="connsiteY3452" fmla="*/ 417037 h 1161399"/>
                    <a:gd name="connsiteX3453" fmla="*/ 326135 w 1661518"/>
                    <a:gd name="connsiteY3453" fmla="*/ 417159 h 1161399"/>
                    <a:gd name="connsiteX3454" fmla="*/ 325261 w 1661518"/>
                    <a:gd name="connsiteY3454" fmla="*/ 417195 h 1161399"/>
                    <a:gd name="connsiteX3455" fmla="*/ 324435 w 1661518"/>
                    <a:gd name="connsiteY3455" fmla="*/ 417474 h 1161399"/>
                    <a:gd name="connsiteX3456" fmla="*/ 321679 w 1661518"/>
                    <a:gd name="connsiteY3456" fmla="*/ 418409 h 1161399"/>
                    <a:gd name="connsiteX3457" fmla="*/ 321144 w 1661518"/>
                    <a:gd name="connsiteY3457" fmla="*/ 418591 h 1161399"/>
                    <a:gd name="connsiteX3458" fmla="*/ 320646 w 1661518"/>
                    <a:gd name="connsiteY3458" fmla="*/ 418859 h 1161399"/>
                    <a:gd name="connsiteX3459" fmla="*/ 308540 w 1661518"/>
                    <a:gd name="connsiteY3459" fmla="*/ 425671 h 1161399"/>
                    <a:gd name="connsiteX3460" fmla="*/ 300477 w 1661518"/>
                    <a:gd name="connsiteY3460" fmla="*/ 427528 h 1161399"/>
                    <a:gd name="connsiteX3461" fmla="*/ 291989 w 1661518"/>
                    <a:gd name="connsiteY3461" fmla="*/ 427844 h 1161399"/>
                    <a:gd name="connsiteX3462" fmla="*/ 291394 w 1661518"/>
                    <a:gd name="connsiteY3462" fmla="*/ 427856 h 1161399"/>
                    <a:gd name="connsiteX3463" fmla="*/ 290823 w 1661518"/>
                    <a:gd name="connsiteY3463" fmla="*/ 427990 h 1161399"/>
                    <a:gd name="connsiteX3464" fmla="*/ 272160 w 1661518"/>
                    <a:gd name="connsiteY3464" fmla="*/ 432386 h 1161399"/>
                    <a:gd name="connsiteX3465" fmla="*/ 267351 w 1661518"/>
                    <a:gd name="connsiteY3465" fmla="*/ 432738 h 1161399"/>
                    <a:gd name="connsiteX3466" fmla="*/ 263137 w 1661518"/>
                    <a:gd name="connsiteY3466" fmla="*/ 432167 h 1161399"/>
                    <a:gd name="connsiteX3467" fmla="*/ 255172 w 1661518"/>
                    <a:gd name="connsiteY3467" fmla="*/ 429374 h 1161399"/>
                    <a:gd name="connsiteX3468" fmla="*/ 254662 w 1661518"/>
                    <a:gd name="connsiteY3468" fmla="*/ 429192 h 1161399"/>
                    <a:gd name="connsiteX3469" fmla="*/ 254127 w 1661518"/>
                    <a:gd name="connsiteY3469" fmla="*/ 429107 h 1161399"/>
                    <a:gd name="connsiteX3470" fmla="*/ 247922 w 1661518"/>
                    <a:gd name="connsiteY3470" fmla="*/ 428099 h 1161399"/>
                    <a:gd name="connsiteX3471" fmla="*/ 247376 w 1661518"/>
                    <a:gd name="connsiteY3471" fmla="*/ 428014 h 1161399"/>
                    <a:gd name="connsiteX3472" fmla="*/ 246817 w 1661518"/>
                    <a:gd name="connsiteY3472" fmla="*/ 428026 h 1161399"/>
                    <a:gd name="connsiteX3473" fmla="*/ 241244 w 1661518"/>
                    <a:gd name="connsiteY3473" fmla="*/ 428148 h 1161399"/>
                    <a:gd name="connsiteX3474" fmla="*/ 234249 w 1661518"/>
                    <a:gd name="connsiteY3474" fmla="*/ 428913 h 1161399"/>
                    <a:gd name="connsiteX3475" fmla="*/ 231335 w 1661518"/>
                    <a:gd name="connsiteY3475" fmla="*/ 428828 h 1161399"/>
                    <a:gd name="connsiteX3476" fmla="*/ 229708 w 1661518"/>
                    <a:gd name="connsiteY3476" fmla="*/ 428415 h 1161399"/>
                    <a:gd name="connsiteX3477" fmla="*/ 228809 w 1661518"/>
                    <a:gd name="connsiteY3477" fmla="*/ 427844 h 1161399"/>
                    <a:gd name="connsiteX3478" fmla="*/ 227802 w 1661518"/>
                    <a:gd name="connsiteY3478" fmla="*/ 426909 h 1161399"/>
                    <a:gd name="connsiteX3479" fmla="*/ 227498 w 1661518"/>
                    <a:gd name="connsiteY3479" fmla="*/ 426460 h 1161399"/>
                    <a:gd name="connsiteX3480" fmla="*/ 227449 w 1661518"/>
                    <a:gd name="connsiteY3480" fmla="*/ 426254 h 1161399"/>
                    <a:gd name="connsiteX3481" fmla="*/ 227462 w 1661518"/>
                    <a:gd name="connsiteY3481" fmla="*/ 426205 h 1161399"/>
                    <a:gd name="connsiteX3482" fmla="*/ 227583 w 1661518"/>
                    <a:gd name="connsiteY3482" fmla="*/ 425999 h 1161399"/>
                    <a:gd name="connsiteX3483" fmla="*/ 230570 w 1661518"/>
                    <a:gd name="connsiteY3483" fmla="*/ 423691 h 1161399"/>
                    <a:gd name="connsiteX3484" fmla="*/ 231299 w 1661518"/>
                    <a:gd name="connsiteY3484" fmla="*/ 423133 h 1161399"/>
                    <a:gd name="connsiteX3485" fmla="*/ 231821 w 1661518"/>
                    <a:gd name="connsiteY3485" fmla="*/ 422392 h 1161399"/>
                    <a:gd name="connsiteX3486" fmla="*/ 233023 w 1661518"/>
                    <a:gd name="connsiteY3486" fmla="*/ 420692 h 1161399"/>
                    <a:gd name="connsiteX3487" fmla="*/ 233764 w 1661518"/>
                    <a:gd name="connsiteY3487" fmla="*/ 419660 h 1161399"/>
                    <a:gd name="connsiteX3488" fmla="*/ 234019 w 1661518"/>
                    <a:gd name="connsiteY3488" fmla="*/ 418409 h 1161399"/>
                    <a:gd name="connsiteX3489" fmla="*/ 234492 w 1661518"/>
                    <a:gd name="connsiteY3489" fmla="*/ 416114 h 1161399"/>
                    <a:gd name="connsiteX3490" fmla="*/ 234699 w 1661518"/>
                    <a:gd name="connsiteY3490" fmla="*/ 415094 h 1161399"/>
                    <a:gd name="connsiteX3491" fmla="*/ 235658 w 1661518"/>
                    <a:gd name="connsiteY3491" fmla="*/ 415543 h 1161399"/>
                    <a:gd name="connsiteX3492" fmla="*/ 236144 w 1661518"/>
                    <a:gd name="connsiteY3492" fmla="*/ 415774 h 1161399"/>
                    <a:gd name="connsiteX3493" fmla="*/ 236654 w 1661518"/>
                    <a:gd name="connsiteY3493" fmla="*/ 415920 h 1161399"/>
                    <a:gd name="connsiteX3494" fmla="*/ 239859 w 1661518"/>
                    <a:gd name="connsiteY3494" fmla="*/ 416794 h 1161399"/>
                    <a:gd name="connsiteX3495" fmla="*/ 240369 w 1661518"/>
                    <a:gd name="connsiteY3495" fmla="*/ 416928 h 1161399"/>
                    <a:gd name="connsiteX3496" fmla="*/ 240904 w 1661518"/>
                    <a:gd name="connsiteY3496" fmla="*/ 416976 h 1161399"/>
                    <a:gd name="connsiteX3497" fmla="*/ 244304 w 1661518"/>
                    <a:gd name="connsiteY3497" fmla="*/ 417292 h 1161399"/>
                    <a:gd name="connsiteX3498" fmla="*/ 244680 w 1661518"/>
                    <a:gd name="connsiteY3498" fmla="*/ 417316 h 1161399"/>
                    <a:gd name="connsiteX3499" fmla="*/ 245057 w 1661518"/>
                    <a:gd name="connsiteY3499" fmla="*/ 417304 h 1161399"/>
                    <a:gd name="connsiteX3500" fmla="*/ 249076 w 1661518"/>
                    <a:gd name="connsiteY3500" fmla="*/ 417183 h 1161399"/>
                    <a:gd name="connsiteX3501" fmla="*/ 249416 w 1661518"/>
                    <a:gd name="connsiteY3501" fmla="*/ 417171 h 1161399"/>
                    <a:gd name="connsiteX3502" fmla="*/ 249756 w 1661518"/>
                    <a:gd name="connsiteY3502" fmla="*/ 417122 h 1161399"/>
                    <a:gd name="connsiteX3503" fmla="*/ 253132 w 1661518"/>
                    <a:gd name="connsiteY3503" fmla="*/ 416636 h 1161399"/>
                    <a:gd name="connsiteX3504" fmla="*/ 253532 w 1661518"/>
                    <a:gd name="connsiteY3504" fmla="*/ 416576 h 1161399"/>
                    <a:gd name="connsiteX3505" fmla="*/ 253933 w 1661518"/>
                    <a:gd name="connsiteY3505" fmla="*/ 416466 h 1161399"/>
                    <a:gd name="connsiteX3506" fmla="*/ 257321 w 1661518"/>
                    <a:gd name="connsiteY3506" fmla="*/ 415495 h 1161399"/>
                    <a:gd name="connsiteX3507" fmla="*/ 257892 w 1661518"/>
                    <a:gd name="connsiteY3507" fmla="*/ 415325 h 1161399"/>
                    <a:gd name="connsiteX3508" fmla="*/ 258426 w 1661518"/>
                    <a:gd name="connsiteY3508" fmla="*/ 415058 h 1161399"/>
                    <a:gd name="connsiteX3509" fmla="*/ 261413 w 1661518"/>
                    <a:gd name="connsiteY3509" fmla="*/ 413528 h 1161399"/>
                    <a:gd name="connsiteX3510" fmla="*/ 261790 w 1661518"/>
                    <a:gd name="connsiteY3510" fmla="*/ 413333 h 1161399"/>
                    <a:gd name="connsiteX3511" fmla="*/ 262142 w 1661518"/>
                    <a:gd name="connsiteY3511" fmla="*/ 413079 h 1161399"/>
                    <a:gd name="connsiteX3512" fmla="*/ 264667 w 1661518"/>
                    <a:gd name="connsiteY3512" fmla="*/ 411293 h 1161399"/>
                    <a:gd name="connsiteX3513" fmla="*/ 265117 w 1661518"/>
                    <a:gd name="connsiteY3513" fmla="*/ 410978 h 1161399"/>
                    <a:gd name="connsiteX3514" fmla="*/ 265505 w 1661518"/>
                    <a:gd name="connsiteY3514" fmla="*/ 410589 h 1161399"/>
                    <a:gd name="connsiteX3515" fmla="*/ 267351 w 1661518"/>
                    <a:gd name="connsiteY3515" fmla="*/ 408707 h 1161399"/>
                    <a:gd name="connsiteX3516" fmla="*/ 267606 w 1661518"/>
                    <a:gd name="connsiteY3516" fmla="*/ 408452 h 1161399"/>
                    <a:gd name="connsiteX3517" fmla="*/ 267837 w 1661518"/>
                    <a:gd name="connsiteY3517" fmla="*/ 408160 h 1161399"/>
                    <a:gd name="connsiteX3518" fmla="*/ 269209 w 1661518"/>
                    <a:gd name="connsiteY3518" fmla="*/ 406376 h 1161399"/>
                    <a:gd name="connsiteX3519" fmla="*/ 269549 w 1661518"/>
                    <a:gd name="connsiteY3519" fmla="*/ 405938 h 1161399"/>
                    <a:gd name="connsiteX3520" fmla="*/ 269804 w 1661518"/>
                    <a:gd name="connsiteY3520" fmla="*/ 405440 h 1161399"/>
                    <a:gd name="connsiteX3521" fmla="*/ 270605 w 1661518"/>
                    <a:gd name="connsiteY3521" fmla="*/ 403862 h 1161399"/>
                    <a:gd name="connsiteX3522" fmla="*/ 270982 w 1661518"/>
                    <a:gd name="connsiteY3522" fmla="*/ 403121 h 1161399"/>
                    <a:gd name="connsiteX3523" fmla="*/ 271152 w 1661518"/>
                    <a:gd name="connsiteY3523" fmla="*/ 402308 h 1161399"/>
                    <a:gd name="connsiteX3524" fmla="*/ 271383 w 1661518"/>
                    <a:gd name="connsiteY3524" fmla="*/ 401178 h 1161399"/>
                    <a:gd name="connsiteX3525" fmla="*/ 271674 w 1661518"/>
                    <a:gd name="connsiteY3525" fmla="*/ 399733 h 1161399"/>
                    <a:gd name="connsiteX3526" fmla="*/ 271273 w 1661518"/>
                    <a:gd name="connsiteY3526" fmla="*/ 398325 h 1161399"/>
                    <a:gd name="connsiteX3527" fmla="*/ 270933 w 1661518"/>
                    <a:gd name="connsiteY3527" fmla="*/ 397098 h 1161399"/>
                    <a:gd name="connsiteX3528" fmla="*/ 270108 w 1661518"/>
                    <a:gd name="connsiteY3528" fmla="*/ 394135 h 1161399"/>
                    <a:gd name="connsiteX3529" fmla="*/ 267242 w 1661518"/>
                    <a:gd name="connsiteY3529" fmla="*/ 393055 h 1161399"/>
                    <a:gd name="connsiteX3530" fmla="*/ 265857 w 1661518"/>
                    <a:gd name="connsiteY3530" fmla="*/ 392533 h 1161399"/>
                    <a:gd name="connsiteX3531" fmla="*/ 264825 w 1661518"/>
                    <a:gd name="connsiteY3531" fmla="*/ 392144 h 1161399"/>
                    <a:gd name="connsiteX3532" fmla="*/ 263720 w 1661518"/>
                    <a:gd name="connsiteY3532" fmla="*/ 392144 h 1161399"/>
                    <a:gd name="connsiteX3533" fmla="*/ 261705 w 1661518"/>
                    <a:gd name="connsiteY3533" fmla="*/ 392144 h 1161399"/>
                    <a:gd name="connsiteX3534" fmla="*/ 260745 w 1661518"/>
                    <a:gd name="connsiteY3534" fmla="*/ 392144 h 1161399"/>
                    <a:gd name="connsiteX3535" fmla="*/ 259835 w 1661518"/>
                    <a:gd name="connsiteY3535" fmla="*/ 392435 h 1161399"/>
                    <a:gd name="connsiteX3536" fmla="*/ 255075 w 1661518"/>
                    <a:gd name="connsiteY3536" fmla="*/ 393965 h 1161399"/>
                    <a:gd name="connsiteX3537" fmla="*/ 255208 w 1661518"/>
                    <a:gd name="connsiteY3537" fmla="*/ 392848 h 1161399"/>
                    <a:gd name="connsiteX3538" fmla="*/ 255439 w 1661518"/>
                    <a:gd name="connsiteY3538" fmla="*/ 390978 h 1161399"/>
                    <a:gd name="connsiteX3539" fmla="*/ 255609 w 1661518"/>
                    <a:gd name="connsiteY3539" fmla="*/ 389643 h 1161399"/>
                    <a:gd name="connsiteX3540" fmla="*/ 255196 w 1661518"/>
                    <a:gd name="connsiteY3540" fmla="*/ 388368 h 1161399"/>
                    <a:gd name="connsiteX3541" fmla="*/ 254504 w 1661518"/>
                    <a:gd name="connsiteY3541" fmla="*/ 386243 h 1161399"/>
                    <a:gd name="connsiteX3542" fmla="*/ 254140 w 1661518"/>
                    <a:gd name="connsiteY3542" fmla="*/ 385125 h 1161399"/>
                    <a:gd name="connsiteX3543" fmla="*/ 253387 w 1661518"/>
                    <a:gd name="connsiteY3543" fmla="*/ 384215 h 1161399"/>
                    <a:gd name="connsiteX3544" fmla="*/ 250290 w 1661518"/>
                    <a:gd name="connsiteY3544" fmla="*/ 380511 h 1161399"/>
                    <a:gd name="connsiteX3545" fmla="*/ 252367 w 1661518"/>
                    <a:gd name="connsiteY3545" fmla="*/ 376443 h 1161399"/>
                    <a:gd name="connsiteX3546" fmla="*/ 254140 w 1661518"/>
                    <a:gd name="connsiteY3546" fmla="*/ 374039 h 1161399"/>
                    <a:gd name="connsiteX3547" fmla="*/ 254783 w 1661518"/>
                    <a:gd name="connsiteY3547" fmla="*/ 373165 h 1161399"/>
                    <a:gd name="connsiteX3548" fmla="*/ 255087 w 1661518"/>
                    <a:gd name="connsiteY3548" fmla="*/ 372120 h 1161399"/>
                    <a:gd name="connsiteX3549" fmla="*/ 255657 w 1661518"/>
                    <a:gd name="connsiteY3549" fmla="*/ 370141 h 1161399"/>
                    <a:gd name="connsiteX3550" fmla="*/ 255900 w 1661518"/>
                    <a:gd name="connsiteY3550" fmla="*/ 369315 h 1161399"/>
                    <a:gd name="connsiteX3551" fmla="*/ 255900 w 1661518"/>
                    <a:gd name="connsiteY3551" fmla="*/ 368465 h 1161399"/>
                    <a:gd name="connsiteX3552" fmla="*/ 255900 w 1661518"/>
                    <a:gd name="connsiteY3552" fmla="*/ 367603 h 1161399"/>
                    <a:gd name="connsiteX3553" fmla="*/ 255900 w 1661518"/>
                    <a:gd name="connsiteY3553" fmla="*/ 363329 h 1161399"/>
                    <a:gd name="connsiteX3554" fmla="*/ 251869 w 1661518"/>
                    <a:gd name="connsiteY3554" fmla="*/ 361884 h 1161399"/>
                    <a:gd name="connsiteX3555" fmla="*/ 251055 w 1661518"/>
                    <a:gd name="connsiteY3555" fmla="*/ 361592 h 1161399"/>
                    <a:gd name="connsiteX3556" fmla="*/ 250060 w 1661518"/>
                    <a:gd name="connsiteY3556" fmla="*/ 361240 h 1161399"/>
                    <a:gd name="connsiteX3557" fmla="*/ 249003 w 1661518"/>
                    <a:gd name="connsiteY3557" fmla="*/ 361240 h 1161399"/>
                    <a:gd name="connsiteX3558" fmla="*/ 247935 w 1661518"/>
                    <a:gd name="connsiteY3558" fmla="*/ 361240 h 1161399"/>
                    <a:gd name="connsiteX3559" fmla="*/ 247412 w 1661518"/>
                    <a:gd name="connsiteY3559" fmla="*/ 361240 h 1161399"/>
                    <a:gd name="connsiteX3560" fmla="*/ 246902 w 1661518"/>
                    <a:gd name="connsiteY3560" fmla="*/ 361325 h 1161399"/>
                    <a:gd name="connsiteX3561" fmla="*/ 245227 w 1661518"/>
                    <a:gd name="connsiteY3561" fmla="*/ 361617 h 1161399"/>
                    <a:gd name="connsiteX3562" fmla="*/ 244838 w 1661518"/>
                    <a:gd name="connsiteY3562" fmla="*/ 361677 h 1161399"/>
                    <a:gd name="connsiteX3563" fmla="*/ 244462 w 1661518"/>
                    <a:gd name="connsiteY3563" fmla="*/ 361799 h 1161399"/>
                    <a:gd name="connsiteX3564" fmla="*/ 238135 w 1661518"/>
                    <a:gd name="connsiteY3564" fmla="*/ 363754 h 1161399"/>
                    <a:gd name="connsiteX3565" fmla="*/ 232513 w 1661518"/>
                    <a:gd name="connsiteY3565" fmla="*/ 365065 h 1161399"/>
                    <a:gd name="connsiteX3566" fmla="*/ 227862 w 1661518"/>
                    <a:gd name="connsiteY3566" fmla="*/ 364992 h 1161399"/>
                    <a:gd name="connsiteX3567" fmla="*/ 219386 w 1661518"/>
                    <a:gd name="connsiteY3567" fmla="*/ 363997 h 1161399"/>
                    <a:gd name="connsiteX3568" fmla="*/ 218682 w 1661518"/>
                    <a:gd name="connsiteY3568" fmla="*/ 363912 h 1161399"/>
                    <a:gd name="connsiteX3569" fmla="*/ 217978 w 1661518"/>
                    <a:gd name="connsiteY3569" fmla="*/ 363997 h 1161399"/>
                    <a:gd name="connsiteX3570" fmla="*/ 215161 w 1661518"/>
                    <a:gd name="connsiteY3570" fmla="*/ 364337 h 1161399"/>
                    <a:gd name="connsiteX3571" fmla="*/ 214238 w 1661518"/>
                    <a:gd name="connsiteY3571" fmla="*/ 364446 h 1161399"/>
                    <a:gd name="connsiteX3572" fmla="*/ 213400 w 1661518"/>
                    <a:gd name="connsiteY3572" fmla="*/ 364822 h 1161399"/>
                    <a:gd name="connsiteX3573" fmla="*/ 211615 w 1661518"/>
                    <a:gd name="connsiteY3573" fmla="*/ 365624 h 1161399"/>
                    <a:gd name="connsiteX3574" fmla="*/ 209636 w 1661518"/>
                    <a:gd name="connsiteY3574" fmla="*/ 366510 h 1161399"/>
                    <a:gd name="connsiteX3575" fmla="*/ 208664 w 1661518"/>
                    <a:gd name="connsiteY3575" fmla="*/ 368453 h 1161399"/>
                    <a:gd name="connsiteX3576" fmla="*/ 208203 w 1661518"/>
                    <a:gd name="connsiteY3576" fmla="*/ 369376 h 1161399"/>
                    <a:gd name="connsiteX3577" fmla="*/ 208009 w 1661518"/>
                    <a:gd name="connsiteY3577" fmla="*/ 369765 h 1161399"/>
                    <a:gd name="connsiteX3578" fmla="*/ 207875 w 1661518"/>
                    <a:gd name="connsiteY3578" fmla="*/ 370177 h 1161399"/>
                    <a:gd name="connsiteX3579" fmla="*/ 207596 w 1661518"/>
                    <a:gd name="connsiteY3579" fmla="*/ 371015 h 1161399"/>
                    <a:gd name="connsiteX3580" fmla="*/ 206928 w 1661518"/>
                    <a:gd name="connsiteY3580" fmla="*/ 373517 h 1161399"/>
                    <a:gd name="connsiteX3581" fmla="*/ 206855 w 1661518"/>
                    <a:gd name="connsiteY3581" fmla="*/ 373687 h 1161399"/>
                    <a:gd name="connsiteX3582" fmla="*/ 206661 w 1661518"/>
                    <a:gd name="connsiteY3582" fmla="*/ 373966 h 1161399"/>
                    <a:gd name="connsiteX3583" fmla="*/ 206163 w 1661518"/>
                    <a:gd name="connsiteY3583" fmla="*/ 374537 h 1161399"/>
                    <a:gd name="connsiteX3584" fmla="*/ 204098 w 1661518"/>
                    <a:gd name="connsiteY3584" fmla="*/ 376285 h 1161399"/>
                    <a:gd name="connsiteX3585" fmla="*/ 203649 w 1661518"/>
                    <a:gd name="connsiteY3585" fmla="*/ 376662 h 1161399"/>
                    <a:gd name="connsiteX3586" fmla="*/ 203285 w 1661518"/>
                    <a:gd name="connsiteY3586" fmla="*/ 377123 h 1161399"/>
                    <a:gd name="connsiteX3587" fmla="*/ 202714 w 1661518"/>
                    <a:gd name="connsiteY3587" fmla="*/ 377840 h 1161399"/>
                    <a:gd name="connsiteX3588" fmla="*/ 202338 w 1661518"/>
                    <a:gd name="connsiteY3588" fmla="*/ 378313 h 1161399"/>
                    <a:gd name="connsiteX3589" fmla="*/ 202058 w 1661518"/>
                    <a:gd name="connsiteY3589" fmla="*/ 378848 h 1161399"/>
                    <a:gd name="connsiteX3590" fmla="*/ 201718 w 1661518"/>
                    <a:gd name="connsiteY3590" fmla="*/ 379528 h 1161399"/>
                    <a:gd name="connsiteX3591" fmla="*/ 201464 w 1661518"/>
                    <a:gd name="connsiteY3591" fmla="*/ 380025 h 1161399"/>
                    <a:gd name="connsiteX3592" fmla="*/ 201294 w 1661518"/>
                    <a:gd name="connsiteY3592" fmla="*/ 380572 h 1161399"/>
                    <a:gd name="connsiteX3593" fmla="*/ 200905 w 1661518"/>
                    <a:gd name="connsiteY3593" fmla="*/ 381871 h 1161399"/>
                    <a:gd name="connsiteX3594" fmla="*/ 200444 w 1661518"/>
                    <a:gd name="connsiteY3594" fmla="*/ 383413 h 1161399"/>
                    <a:gd name="connsiteX3595" fmla="*/ 200808 w 1661518"/>
                    <a:gd name="connsiteY3595" fmla="*/ 384980 h 1161399"/>
                    <a:gd name="connsiteX3596" fmla="*/ 202411 w 1661518"/>
                    <a:gd name="connsiteY3596" fmla="*/ 391889 h 1161399"/>
                    <a:gd name="connsiteX3597" fmla="*/ 202459 w 1661518"/>
                    <a:gd name="connsiteY3597" fmla="*/ 393261 h 1161399"/>
                    <a:gd name="connsiteX3598" fmla="*/ 202314 w 1661518"/>
                    <a:gd name="connsiteY3598" fmla="*/ 394160 h 1161399"/>
                    <a:gd name="connsiteX3599" fmla="*/ 202010 w 1661518"/>
                    <a:gd name="connsiteY3599" fmla="*/ 394014 h 1161399"/>
                    <a:gd name="connsiteX3600" fmla="*/ 200990 w 1661518"/>
                    <a:gd name="connsiteY3600" fmla="*/ 393528 h 1161399"/>
                    <a:gd name="connsiteX3601" fmla="*/ 199861 w 1661518"/>
                    <a:gd name="connsiteY3601" fmla="*/ 393455 h 1161399"/>
                    <a:gd name="connsiteX3602" fmla="*/ 198719 w 1661518"/>
                    <a:gd name="connsiteY3602" fmla="*/ 393371 h 1161399"/>
                    <a:gd name="connsiteX3603" fmla="*/ 197141 w 1661518"/>
                    <a:gd name="connsiteY3603" fmla="*/ 393249 h 1161399"/>
                    <a:gd name="connsiteX3604" fmla="*/ 195708 w 1661518"/>
                    <a:gd name="connsiteY3604" fmla="*/ 393917 h 1161399"/>
                    <a:gd name="connsiteX3605" fmla="*/ 194615 w 1661518"/>
                    <a:gd name="connsiteY3605" fmla="*/ 394427 h 1161399"/>
                    <a:gd name="connsiteX3606" fmla="*/ 193862 w 1661518"/>
                    <a:gd name="connsiteY3606" fmla="*/ 394779 h 1161399"/>
                    <a:gd name="connsiteX3607" fmla="*/ 193231 w 1661518"/>
                    <a:gd name="connsiteY3607" fmla="*/ 395313 h 1161399"/>
                    <a:gd name="connsiteX3608" fmla="*/ 188179 w 1661518"/>
                    <a:gd name="connsiteY3608" fmla="*/ 399636 h 1161399"/>
                    <a:gd name="connsiteX3609" fmla="*/ 187208 w 1661518"/>
                    <a:gd name="connsiteY3609" fmla="*/ 400243 h 1161399"/>
                    <a:gd name="connsiteX3610" fmla="*/ 187111 w 1661518"/>
                    <a:gd name="connsiteY3610" fmla="*/ 400268 h 1161399"/>
                    <a:gd name="connsiteX3611" fmla="*/ 186090 w 1661518"/>
                    <a:gd name="connsiteY3611" fmla="*/ 400353 h 1161399"/>
                    <a:gd name="connsiteX3612" fmla="*/ 184888 w 1661518"/>
                    <a:gd name="connsiteY3612" fmla="*/ 400073 h 1161399"/>
                    <a:gd name="connsiteX3613" fmla="*/ 183164 w 1661518"/>
                    <a:gd name="connsiteY3613" fmla="*/ 399248 h 1161399"/>
                    <a:gd name="connsiteX3614" fmla="*/ 179436 w 1661518"/>
                    <a:gd name="connsiteY3614" fmla="*/ 396673 h 1161399"/>
                    <a:gd name="connsiteX3615" fmla="*/ 178914 w 1661518"/>
                    <a:gd name="connsiteY3615" fmla="*/ 396309 h 1161399"/>
                    <a:gd name="connsiteX3616" fmla="*/ 178319 w 1661518"/>
                    <a:gd name="connsiteY3616" fmla="*/ 396054 h 1161399"/>
                    <a:gd name="connsiteX3617" fmla="*/ 176425 w 1661518"/>
                    <a:gd name="connsiteY3617" fmla="*/ 395265 h 1161399"/>
                    <a:gd name="connsiteX3618" fmla="*/ 175939 w 1661518"/>
                    <a:gd name="connsiteY3618" fmla="*/ 395058 h 1161399"/>
                    <a:gd name="connsiteX3619" fmla="*/ 175417 w 1661518"/>
                    <a:gd name="connsiteY3619" fmla="*/ 394949 h 1161399"/>
                    <a:gd name="connsiteX3620" fmla="*/ 173984 w 1661518"/>
                    <a:gd name="connsiteY3620" fmla="*/ 394633 h 1161399"/>
                    <a:gd name="connsiteX3621" fmla="*/ 173389 w 1661518"/>
                    <a:gd name="connsiteY3621" fmla="*/ 394378 h 1161399"/>
                    <a:gd name="connsiteX3622" fmla="*/ 172988 w 1661518"/>
                    <a:gd name="connsiteY3622" fmla="*/ 394075 h 1161399"/>
                    <a:gd name="connsiteX3623" fmla="*/ 170293 w 1661518"/>
                    <a:gd name="connsiteY3623" fmla="*/ 391136 h 1161399"/>
                    <a:gd name="connsiteX3624" fmla="*/ 169661 w 1661518"/>
                    <a:gd name="connsiteY3624" fmla="*/ 390444 h 1161399"/>
                    <a:gd name="connsiteX3625" fmla="*/ 168848 w 1661518"/>
                    <a:gd name="connsiteY3625" fmla="*/ 389971 h 1161399"/>
                    <a:gd name="connsiteX3626" fmla="*/ 166200 w 1661518"/>
                    <a:gd name="connsiteY3626" fmla="*/ 388453 h 1161399"/>
                    <a:gd name="connsiteX3627" fmla="*/ 165715 w 1661518"/>
                    <a:gd name="connsiteY3627" fmla="*/ 388185 h 1161399"/>
                    <a:gd name="connsiteX3628" fmla="*/ 165193 w 1661518"/>
                    <a:gd name="connsiteY3628" fmla="*/ 388003 h 1161399"/>
                    <a:gd name="connsiteX3629" fmla="*/ 162145 w 1661518"/>
                    <a:gd name="connsiteY3629" fmla="*/ 386935 h 1161399"/>
                    <a:gd name="connsiteX3630" fmla="*/ 161185 w 1661518"/>
                    <a:gd name="connsiteY3630" fmla="*/ 386595 h 1161399"/>
                    <a:gd name="connsiteX3631" fmla="*/ 160165 w 1661518"/>
                    <a:gd name="connsiteY3631" fmla="*/ 386595 h 1161399"/>
                    <a:gd name="connsiteX3632" fmla="*/ 156207 w 1661518"/>
                    <a:gd name="connsiteY3632" fmla="*/ 386570 h 1161399"/>
                    <a:gd name="connsiteX3633" fmla="*/ 154215 w 1661518"/>
                    <a:gd name="connsiteY3633" fmla="*/ 386558 h 1161399"/>
                    <a:gd name="connsiteX3634" fmla="*/ 152600 w 1661518"/>
                    <a:gd name="connsiteY3634" fmla="*/ 387724 h 1161399"/>
                    <a:gd name="connsiteX3635" fmla="*/ 151228 w 1661518"/>
                    <a:gd name="connsiteY3635" fmla="*/ 388720 h 1161399"/>
                    <a:gd name="connsiteX3636" fmla="*/ 149200 w 1661518"/>
                    <a:gd name="connsiteY3636" fmla="*/ 390189 h 1161399"/>
                    <a:gd name="connsiteX3637" fmla="*/ 148800 w 1661518"/>
                    <a:gd name="connsiteY3637" fmla="*/ 392678 h 1161399"/>
                    <a:gd name="connsiteX3638" fmla="*/ 148447 w 1661518"/>
                    <a:gd name="connsiteY3638" fmla="*/ 394864 h 1161399"/>
                    <a:gd name="connsiteX3639" fmla="*/ 148192 w 1661518"/>
                    <a:gd name="connsiteY3639" fmla="*/ 396515 h 1161399"/>
                    <a:gd name="connsiteX3640" fmla="*/ 148800 w 1661518"/>
                    <a:gd name="connsiteY3640" fmla="*/ 398058 h 1161399"/>
                    <a:gd name="connsiteX3641" fmla="*/ 152224 w 1661518"/>
                    <a:gd name="connsiteY3641" fmla="*/ 406728 h 1161399"/>
                    <a:gd name="connsiteX3642" fmla="*/ 152612 w 1661518"/>
                    <a:gd name="connsiteY3642" fmla="*/ 408173 h 1161399"/>
                    <a:gd name="connsiteX3643" fmla="*/ 152673 w 1661518"/>
                    <a:gd name="connsiteY3643" fmla="*/ 409363 h 1161399"/>
                    <a:gd name="connsiteX3644" fmla="*/ 152552 w 1661518"/>
                    <a:gd name="connsiteY3644" fmla="*/ 410990 h 1161399"/>
                    <a:gd name="connsiteX3645" fmla="*/ 151471 w 1661518"/>
                    <a:gd name="connsiteY3645" fmla="*/ 416636 h 1161399"/>
                    <a:gd name="connsiteX3646" fmla="*/ 151471 w 1661518"/>
                    <a:gd name="connsiteY3646" fmla="*/ 416648 h 1161399"/>
                    <a:gd name="connsiteX3647" fmla="*/ 150038 w 1661518"/>
                    <a:gd name="connsiteY3647" fmla="*/ 416636 h 1161399"/>
                    <a:gd name="connsiteX3648" fmla="*/ 148144 w 1661518"/>
                    <a:gd name="connsiteY3648" fmla="*/ 416612 h 1161399"/>
                    <a:gd name="connsiteX3649" fmla="*/ 145217 w 1661518"/>
                    <a:gd name="connsiteY3649" fmla="*/ 416576 h 1161399"/>
                    <a:gd name="connsiteX3650" fmla="*/ 143372 w 1661518"/>
                    <a:gd name="connsiteY3650" fmla="*/ 418846 h 1161399"/>
                    <a:gd name="connsiteX3651" fmla="*/ 142340 w 1661518"/>
                    <a:gd name="connsiteY3651" fmla="*/ 420109 h 1161399"/>
                    <a:gd name="connsiteX3652" fmla="*/ 141635 w 1661518"/>
                    <a:gd name="connsiteY3652" fmla="*/ 420959 h 1161399"/>
                    <a:gd name="connsiteX3653" fmla="*/ 141283 w 1661518"/>
                    <a:gd name="connsiteY3653" fmla="*/ 422004 h 1161399"/>
                    <a:gd name="connsiteX3654" fmla="*/ 140494 w 1661518"/>
                    <a:gd name="connsiteY3654" fmla="*/ 424359 h 1161399"/>
                    <a:gd name="connsiteX3655" fmla="*/ 140239 w 1661518"/>
                    <a:gd name="connsiteY3655" fmla="*/ 425112 h 1161399"/>
                    <a:gd name="connsiteX3656" fmla="*/ 140190 w 1661518"/>
                    <a:gd name="connsiteY3656" fmla="*/ 425914 h 1161399"/>
                    <a:gd name="connsiteX3657" fmla="*/ 139777 w 1661518"/>
                    <a:gd name="connsiteY3657" fmla="*/ 432434 h 1161399"/>
                    <a:gd name="connsiteX3658" fmla="*/ 139765 w 1661518"/>
                    <a:gd name="connsiteY3658" fmla="*/ 432750 h 1161399"/>
                    <a:gd name="connsiteX3659" fmla="*/ 139777 w 1661518"/>
                    <a:gd name="connsiteY3659" fmla="*/ 433078 h 1161399"/>
                    <a:gd name="connsiteX3660" fmla="*/ 140008 w 1661518"/>
                    <a:gd name="connsiteY3660" fmla="*/ 438311 h 1161399"/>
                    <a:gd name="connsiteX3661" fmla="*/ 140032 w 1661518"/>
                    <a:gd name="connsiteY3661" fmla="*/ 438991 h 1161399"/>
                    <a:gd name="connsiteX3662" fmla="*/ 140214 w 1661518"/>
                    <a:gd name="connsiteY3662" fmla="*/ 439635 h 1161399"/>
                    <a:gd name="connsiteX3663" fmla="*/ 140724 w 1661518"/>
                    <a:gd name="connsiteY3663" fmla="*/ 441517 h 1161399"/>
                    <a:gd name="connsiteX3664" fmla="*/ 140943 w 1661518"/>
                    <a:gd name="connsiteY3664" fmla="*/ 442331 h 1161399"/>
                    <a:gd name="connsiteX3665" fmla="*/ 141380 w 1661518"/>
                    <a:gd name="connsiteY3665" fmla="*/ 443047 h 1161399"/>
                    <a:gd name="connsiteX3666" fmla="*/ 142340 w 1661518"/>
                    <a:gd name="connsiteY3666" fmla="*/ 444650 h 1161399"/>
                    <a:gd name="connsiteX3667" fmla="*/ 136584 w 1661518"/>
                    <a:gd name="connsiteY3667" fmla="*/ 457874 h 1161399"/>
                    <a:gd name="connsiteX3668" fmla="*/ 131265 w 1661518"/>
                    <a:gd name="connsiteY3668" fmla="*/ 466702 h 1161399"/>
                    <a:gd name="connsiteX3669" fmla="*/ 131095 w 1661518"/>
                    <a:gd name="connsiteY3669" fmla="*/ 466993 h 1161399"/>
                    <a:gd name="connsiteX3670" fmla="*/ 130949 w 1661518"/>
                    <a:gd name="connsiteY3670" fmla="*/ 467297 h 1161399"/>
                    <a:gd name="connsiteX3671" fmla="*/ 130148 w 1661518"/>
                    <a:gd name="connsiteY3671" fmla="*/ 469045 h 1161399"/>
                    <a:gd name="connsiteX3672" fmla="*/ 129917 w 1661518"/>
                    <a:gd name="connsiteY3672" fmla="*/ 469555 h 1161399"/>
                    <a:gd name="connsiteX3673" fmla="*/ 129784 w 1661518"/>
                    <a:gd name="connsiteY3673" fmla="*/ 470090 h 1161399"/>
                    <a:gd name="connsiteX3674" fmla="*/ 129152 w 1661518"/>
                    <a:gd name="connsiteY3674" fmla="*/ 472591 h 1161399"/>
                    <a:gd name="connsiteX3675" fmla="*/ 128946 w 1661518"/>
                    <a:gd name="connsiteY3675" fmla="*/ 473429 h 1161399"/>
                    <a:gd name="connsiteX3676" fmla="*/ 128970 w 1661518"/>
                    <a:gd name="connsiteY3676" fmla="*/ 474291 h 1161399"/>
                    <a:gd name="connsiteX3677" fmla="*/ 129031 w 1661518"/>
                    <a:gd name="connsiteY3677" fmla="*/ 476040 h 1161399"/>
                    <a:gd name="connsiteX3678" fmla="*/ 129055 w 1661518"/>
                    <a:gd name="connsiteY3678" fmla="*/ 476744 h 1161399"/>
                    <a:gd name="connsiteX3679" fmla="*/ 129237 w 1661518"/>
                    <a:gd name="connsiteY3679" fmla="*/ 477424 h 1161399"/>
                    <a:gd name="connsiteX3680" fmla="*/ 129699 w 1661518"/>
                    <a:gd name="connsiteY3680" fmla="*/ 479136 h 1161399"/>
                    <a:gd name="connsiteX3681" fmla="*/ 130063 w 1661518"/>
                    <a:gd name="connsiteY3681" fmla="*/ 480496 h 1161399"/>
                    <a:gd name="connsiteX3682" fmla="*/ 130998 w 1661518"/>
                    <a:gd name="connsiteY3682" fmla="*/ 481552 h 1161399"/>
                    <a:gd name="connsiteX3683" fmla="*/ 132079 w 1661518"/>
                    <a:gd name="connsiteY3683" fmla="*/ 482779 h 1161399"/>
                    <a:gd name="connsiteX3684" fmla="*/ 133269 w 1661518"/>
                    <a:gd name="connsiteY3684" fmla="*/ 484127 h 1161399"/>
                    <a:gd name="connsiteX3685" fmla="*/ 134993 w 1661518"/>
                    <a:gd name="connsiteY3685" fmla="*/ 484612 h 1161399"/>
                    <a:gd name="connsiteX3686" fmla="*/ 152552 w 1661518"/>
                    <a:gd name="connsiteY3686" fmla="*/ 489579 h 1161399"/>
                    <a:gd name="connsiteX3687" fmla="*/ 154167 w 1661518"/>
                    <a:gd name="connsiteY3687" fmla="*/ 490417 h 1161399"/>
                    <a:gd name="connsiteX3688" fmla="*/ 154167 w 1661518"/>
                    <a:gd name="connsiteY3688" fmla="*/ 490429 h 1161399"/>
                    <a:gd name="connsiteX3689" fmla="*/ 153718 w 1661518"/>
                    <a:gd name="connsiteY3689" fmla="*/ 491291 h 1161399"/>
                    <a:gd name="connsiteX3690" fmla="*/ 151799 w 1661518"/>
                    <a:gd name="connsiteY3690" fmla="*/ 493477 h 1161399"/>
                    <a:gd name="connsiteX3691" fmla="*/ 141392 w 1661518"/>
                    <a:gd name="connsiteY3691" fmla="*/ 502329 h 1161399"/>
                    <a:gd name="connsiteX3692" fmla="*/ 140457 w 1661518"/>
                    <a:gd name="connsiteY3692" fmla="*/ 503118 h 1161399"/>
                    <a:gd name="connsiteX3693" fmla="*/ 139911 w 1661518"/>
                    <a:gd name="connsiteY3693" fmla="*/ 504211 h 1161399"/>
                    <a:gd name="connsiteX3694" fmla="*/ 138879 w 1661518"/>
                    <a:gd name="connsiteY3694" fmla="*/ 506251 h 1161399"/>
                    <a:gd name="connsiteX3695" fmla="*/ 138381 w 1661518"/>
                    <a:gd name="connsiteY3695" fmla="*/ 507235 h 1161399"/>
                    <a:gd name="connsiteX3696" fmla="*/ 138260 w 1661518"/>
                    <a:gd name="connsiteY3696" fmla="*/ 508328 h 1161399"/>
                    <a:gd name="connsiteX3697" fmla="*/ 137980 w 1661518"/>
                    <a:gd name="connsiteY3697" fmla="*/ 510853 h 1161399"/>
                    <a:gd name="connsiteX3698" fmla="*/ 137859 w 1661518"/>
                    <a:gd name="connsiteY3698" fmla="*/ 513500 h 1161399"/>
                    <a:gd name="connsiteX3699" fmla="*/ 137349 w 1661518"/>
                    <a:gd name="connsiteY3699" fmla="*/ 515371 h 1161399"/>
                    <a:gd name="connsiteX3700" fmla="*/ 136474 w 1661518"/>
                    <a:gd name="connsiteY3700" fmla="*/ 516803 h 1161399"/>
                    <a:gd name="connsiteX3701" fmla="*/ 134447 w 1661518"/>
                    <a:gd name="connsiteY3701" fmla="*/ 519256 h 1161399"/>
                    <a:gd name="connsiteX3702" fmla="*/ 133536 w 1661518"/>
                    <a:gd name="connsiteY3702" fmla="*/ 520361 h 1161399"/>
                    <a:gd name="connsiteX3703" fmla="*/ 133220 w 1661518"/>
                    <a:gd name="connsiteY3703" fmla="*/ 521746 h 1161399"/>
                    <a:gd name="connsiteX3704" fmla="*/ 132771 w 1661518"/>
                    <a:gd name="connsiteY3704" fmla="*/ 523676 h 1161399"/>
                    <a:gd name="connsiteX3705" fmla="*/ 132261 w 1661518"/>
                    <a:gd name="connsiteY3705" fmla="*/ 525899 h 1161399"/>
                    <a:gd name="connsiteX3706" fmla="*/ 133330 w 1661518"/>
                    <a:gd name="connsiteY3706" fmla="*/ 527914 h 1161399"/>
                    <a:gd name="connsiteX3707" fmla="*/ 134070 w 1661518"/>
                    <a:gd name="connsiteY3707" fmla="*/ 529311 h 1161399"/>
                    <a:gd name="connsiteX3708" fmla="*/ 135212 w 1661518"/>
                    <a:gd name="connsiteY3708" fmla="*/ 531448 h 1161399"/>
                    <a:gd name="connsiteX3709" fmla="*/ 137507 w 1661518"/>
                    <a:gd name="connsiteY3709" fmla="*/ 532213 h 1161399"/>
                    <a:gd name="connsiteX3710" fmla="*/ 139510 w 1661518"/>
                    <a:gd name="connsiteY3710" fmla="*/ 532881 h 1161399"/>
                    <a:gd name="connsiteX3711" fmla="*/ 140324 w 1661518"/>
                    <a:gd name="connsiteY3711" fmla="*/ 533148 h 1161399"/>
                    <a:gd name="connsiteX3712" fmla="*/ 141186 w 1661518"/>
                    <a:gd name="connsiteY3712" fmla="*/ 533184 h 1161399"/>
                    <a:gd name="connsiteX3713" fmla="*/ 143712 w 1661518"/>
                    <a:gd name="connsiteY3713" fmla="*/ 533294 h 1161399"/>
                    <a:gd name="connsiteX3714" fmla="*/ 144258 w 1661518"/>
                    <a:gd name="connsiteY3714" fmla="*/ 533318 h 1161399"/>
                    <a:gd name="connsiteX3715" fmla="*/ 144805 w 1661518"/>
                    <a:gd name="connsiteY3715" fmla="*/ 533245 h 1161399"/>
                    <a:gd name="connsiteX3716" fmla="*/ 153025 w 1661518"/>
                    <a:gd name="connsiteY3716" fmla="*/ 532091 h 1161399"/>
                    <a:gd name="connsiteX3717" fmla="*/ 154762 w 1661518"/>
                    <a:gd name="connsiteY3717" fmla="*/ 532298 h 1161399"/>
                    <a:gd name="connsiteX3718" fmla="*/ 156680 w 1661518"/>
                    <a:gd name="connsiteY3718" fmla="*/ 532929 h 1161399"/>
                    <a:gd name="connsiteX3719" fmla="*/ 158550 w 1661518"/>
                    <a:gd name="connsiteY3719" fmla="*/ 534071 h 1161399"/>
                    <a:gd name="connsiteX3720" fmla="*/ 160105 w 1661518"/>
                    <a:gd name="connsiteY3720" fmla="*/ 535370 h 1161399"/>
                    <a:gd name="connsiteX3721" fmla="*/ 160942 w 1661518"/>
                    <a:gd name="connsiteY3721" fmla="*/ 536718 h 1161399"/>
                    <a:gd name="connsiteX3722" fmla="*/ 161525 w 1661518"/>
                    <a:gd name="connsiteY3722" fmla="*/ 538624 h 1161399"/>
                    <a:gd name="connsiteX3723" fmla="*/ 162108 w 1661518"/>
                    <a:gd name="connsiteY3723" fmla="*/ 547780 h 1161399"/>
                    <a:gd name="connsiteX3724" fmla="*/ 162132 w 1661518"/>
                    <a:gd name="connsiteY3724" fmla="*/ 548205 h 1161399"/>
                    <a:gd name="connsiteX3725" fmla="*/ 162218 w 1661518"/>
                    <a:gd name="connsiteY3725" fmla="*/ 548618 h 1161399"/>
                    <a:gd name="connsiteX3726" fmla="*/ 163080 w 1661518"/>
                    <a:gd name="connsiteY3726" fmla="*/ 552759 h 1161399"/>
                    <a:gd name="connsiteX3727" fmla="*/ 163189 w 1661518"/>
                    <a:gd name="connsiteY3727" fmla="*/ 553293 h 1161399"/>
                    <a:gd name="connsiteX3728" fmla="*/ 163395 w 1661518"/>
                    <a:gd name="connsiteY3728" fmla="*/ 553803 h 1161399"/>
                    <a:gd name="connsiteX3729" fmla="*/ 164780 w 1661518"/>
                    <a:gd name="connsiteY3729" fmla="*/ 557215 h 1161399"/>
                    <a:gd name="connsiteX3730" fmla="*/ 164901 w 1661518"/>
                    <a:gd name="connsiteY3730" fmla="*/ 557494 h 1161399"/>
                    <a:gd name="connsiteX3731" fmla="*/ 165047 w 1661518"/>
                    <a:gd name="connsiteY3731" fmla="*/ 557762 h 1161399"/>
                    <a:gd name="connsiteX3732" fmla="*/ 166698 w 1661518"/>
                    <a:gd name="connsiteY3732" fmla="*/ 560882 h 1161399"/>
                    <a:gd name="connsiteX3733" fmla="*/ 166880 w 1661518"/>
                    <a:gd name="connsiteY3733" fmla="*/ 561222 h 1161399"/>
                    <a:gd name="connsiteX3734" fmla="*/ 167099 w 1661518"/>
                    <a:gd name="connsiteY3734" fmla="*/ 561538 h 1161399"/>
                    <a:gd name="connsiteX3735" fmla="*/ 168957 w 1661518"/>
                    <a:gd name="connsiteY3735" fmla="*/ 564185 h 1161399"/>
                    <a:gd name="connsiteX3736" fmla="*/ 171191 w 1661518"/>
                    <a:gd name="connsiteY3736" fmla="*/ 566832 h 1161399"/>
                    <a:gd name="connsiteX3737" fmla="*/ 171604 w 1661518"/>
                    <a:gd name="connsiteY3737" fmla="*/ 567318 h 1161399"/>
                    <a:gd name="connsiteX3738" fmla="*/ 172114 w 1661518"/>
                    <a:gd name="connsiteY3738" fmla="*/ 567707 h 1161399"/>
                    <a:gd name="connsiteX3739" fmla="*/ 175988 w 1661518"/>
                    <a:gd name="connsiteY3739" fmla="*/ 570694 h 1161399"/>
                    <a:gd name="connsiteX3740" fmla="*/ 176291 w 1661518"/>
                    <a:gd name="connsiteY3740" fmla="*/ 570985 h 1161399"/>
                    <a:gd name="connsiteX3741" fmla="*/ 175915 w 1661518"/>
                    <a:gd name="connsiteY3741" fmla="*/ 571471 h 1161399"/>
                    <a:gd name="connsiteX3742" fmla="*/ 175672 w 1661518"/>
                    <a:gd name="connsiteY3742" fmla="*/ 571787 h 1161399"/>
                    <a:gd name="connsiteX3743" fmla="*/ 175465 w 1661518"/>
                    <a:gd name="connsiteY3743" fmla="*/ 572127 h 1161399"/>
                    <a:gd name="connsiteX3744" fmla="*/ 173923 w 1661518"/>
                    <a:gd name="connsiteY3744" fmla="*/ 574737 h 1161399"/>
                    <a:gd name="connsiteX3745" fmla="*/ 173620 w 1661518"/>
                    <a:gd name="connsiteY3745" fmla="*/ 575259 h 1161399"/>
                    <a:gd name="connsiteX3746" fmla="*/ 173413 w 1661518"/>
                    <a:gd name="connsiteY3746" fmla="*/ 575830 h 1161399"/>
                    <a:gd name="connsiteX3747" fmla="*/ 166176 w 1661518"/>
                    <a:gd name="connsiteY3747" fmla="*/ 596740 h 1161399"/>
                    <a:gd name="connsiteX3748" fmla="*/ 165958 w 1661518"/>
                    <a:gd name="connsiteY3748" fmla="*/ 597360 h 1161399"/>
                    <a:gd name="connsiteX3749" fmla="*/ 165885 w 1661518"/>
                    <a:gd name="connsiteY3749" fmla="*/ 598015 h 1161399"/>
                    <a:gd name="connsiteX3750" fmla="*/ 164913 w 1661518"/>
                    <a:gd name="connsiteY3750" fmla="*/ 606248 h 1161399"/>
                    <a:gd name="connsiteX3751" fmla="*/ 164683 w 1661518"/>
                    <a:gd name="connsiteY3751" fmla="*/ 612963 h 1161399"/>
                    <a:gd name="connsiteX3752" fmla="*/ 164683 w 1661518"/>
                    <a:gd name="connsiteY3752" fmla="*/ 613291 h 1161399"/>
                    <a:gd name="connsiteX3753" fmla="*/ 164707 w 1661518"/>
                    <a:gd name="connsiteY3753" fmla="*/ 613619 h 1161399"/>
                    <a:gd name="connsiteX3754" fmla="*/ 164998 w 1661518"/>
                    <a:gd name="connsiteY3754" fmla="*/ 617323 h 1161399"/>
                    <a:gd name="connsiteX3755" fmla="*/ 165023 w 1661518"/>
                    <a:gd name="connsiteY3755" fmla="*/ 617626 h 1161399"/>
                    <a:gd name="connsiteX3756" fmla="*/ 165071 w 1661518"/>
                    <a:gd name="connsiteY3756" fmla="*/ 617930 h 1161399"/>
                    <a:gd name="connsiteX3757" fmla="*/ 165581 w 1661518"/>
                    <a:gd name="connsiteY3757" fmla="*/ 620735 h 1161399"/>
                    <a:gd name="connsiteX3758" fmla="*/ 165848 w 1661518"/>
                    <a:gd name="connsiteY3758" fmla="*/ 622241 h 1161399"/>
                    <a:gd name="connsiteX3759" fmla="*/ 166808 w 1661518"/>
                    <a:gd name="connsiteY3759" fmla="*/ 623443 h 1161399"/>
                    <a:gd name="connsiteX3760" fmla="*/ 168386 w 1661518"/>
                    <a:gd name="connsiteY3760" fmla="*/ 625422 h 1161399"/>
                    <a:gd name="connsiteX3761" fmla="*/ 170608 w 1661518"/>
                    <a:gd name="connsiteY3761" fmla="*/ 629478 h 1161399"/>
                    <a:gd name="connsiteX3762" fmla="*/ 171568 w 1661518"/>
                    <a:gd name="connsiteY3762" fmla="*/ 634262 h 1161399"/>
                    <a:gd name="connsiteX3763" fmla="*/ 171738 w 1661518"/>
                    <a:gd name="connsiteY3763" fmla="*/ 636776 h 1161399"/>
                    <a:gd name="connsiteX3764" fmla="*/ 171592 w 1661518"/>
                    <a:gd name="connsiteY3764" fmla="*/ 639569 h 1161399"/>
                    <a:gd name="connsiteX3765" fmla="*/ 171082 w 1661518"/>
                    <a:gd name="connsiteY3765" fmla="*/ 642422 h 1161399"/>
                    <a:gd name="connsiteX3766" fmla="*/ 170220 w 1661518"/>
                    <a:gd name="connsiteY3766" fmla="*/ 644049 h 1161399"/>
                    <a:gd name="connsiteX3767" fmla="*/ 168945 w 1661518"/>
                    <a:gd name="connsiteY3767" fmla="*/ 645737 h 1161399"/>
                    <a:gd name="connsiteX3768" fmla="*/ 167475 w 1661518"/>
                    <a:gd name="connsiteY3768" fmla="*/ 647255 h 1161399"/>
                    <a:gd name="connsiteX3769" fmla="*/ 167233 w 1661518"/>
                    <a:gd name="connsiteY3769" fmla="*/ 647498 h 1161399"/>
                    <a:gd name="connsiteX3770" fmla="*/ 167026 w 1661518"/>
                    <a:gd name="connsiteY3770" fmla="*/ 647765 h 1161399"/>
                    <a:gd name="connsiteX3771" fmla="*/ 165423 w 1661518"/>
                    <a:gd name="connsiteY3771" fmla="*/ 649854 h 1161399"/>
                    <a:gd name="connsiteX3772" fmla="*/ 165083 w 1661518"/>
                    <a:gd name="connsiteY3772" fmla="*/ 650291 h 1161399"/>
                    <a:gd name="connsiteX3773" fmla="*/ 164828 w 1661518"/>
                    <a:gd name="connsiteY3773" fmla="*/ 650789 h 1161399"/>
                    <a:gd name="connsiteX3774" fmla="*/ 163735 w 1661518"/>
                    <a:gd name="connsiteY3774" fmla="*/ 652914 h 1161399"/>
                    <a:gd name="connsiteX3775" fmla="*/ 163517 w 1661518"/>
                    <a:gd name="connsiteY3775" fmla="*/ 653339 h 1161399"/>
                    <a:gd name="connsiteX3776" fmla="*/ 163371 w 1661518"/>
                    <a:gd name="connsiteY3776" fmla="*/ 653788 h 1161399"/>
                    <a:gd name="connsiteX3777" fmla="*/ 160785 w 1661518"/>
                    <a:gd name="connsiteY3777" fmla="*/ 661657 h 1161399"/>
                    <a:gd name="connsiteX3778" fmla="*/ 159643 w 1661518"/>
                    <a:gd name="connsiteY3778" fmla="*/ 664340 h 1161399"/>
                    <a:gd name="connsiteX3779" fmla="*/ 158417 w 1661518"/>
                    <a:gd name="connsiteY3779" fmla="*/ 666356 h 1161399"/>
                    <a:gd name="connsiteX3780" fmla="*/ 157154 w 1661518"/>
                    <a:gd name="connsiteY3780" fmla="*/ 667934 h 1161399"/>
                    <a:gd name="connsiteX3781" fmla="*/ 152406 w 1661518"/>
                    <a:gd name="connsiteY3781" fmla="*/ 672330 h 1161399"/>
                    <a:gd name="connsiteX3782" fmla="*/ 152370 w 1661518"/>
                    <a:gd name="connsiteY3782" fmla="*/ 672342 h 1161399"/>
                    <a:gd name="connsiteX3783" fmla="*/ 148362 w 1661518"/>
                    <a:gd name="connsiteY3783" fmla="*/ 673229 h 1161399"/>
                    <a:gd name="connsiteX3784" fmla="*/ 147937 w 1661518"/>
                    <a:gd name="connsiteY3784" fmla="*/ 673326 h 1161399"/>
                    <a:gd name="connsiteX3785" fmla="*/ 147525 w 1661518"/>
                    <a:gd name="connsiteY3785" fmla="*/ 673472 h 1161399"/>
                    <a:gd name="connsiteX3786" fmla="*/ 145521 w 1661518"/>
                    <a:gd name="connsiteY3786" fmla="*/ 674225 h 1161399"/>
                    <a:gd name="connsiteX3787" fmla="*/ 144890 w 1661518"/>
                    <a:gd name="connsiteY3787" fmla="*/ 674467 h 1161399"/>
                    <a:gd name="connsiteX3788" fmla="*/ 144319 w 1661518"/>
                    <a:gd name="connsiteY3788" fmla="*/ 674844 h 1161399"/>
                    <a:gd name="connsiteX3789" fmla="*/ 134362 w 1661518"/>
                    <a:gd name="connsiteY3789" fmla="*/ 681401 h 1161399"/>
                    <a:gd name="connsiteX3790" fmla="*/ 130816 w 1661518"/>
                    <a:gd name="connsiteY3790" fmla="*/ 682579 h 1161399"/>
                    <a:gd name="connsiteX3791" fmla="*/ 121344 w 1661518"/>
                    <a:gd name="connsiteY3791" fmla="*/ 685372 h 1161399"/>
                    <a:gd name="connsiteX3792" fmla="*/ 120507 w 1661518"/>
                    <a:gd name="connsiteY3792" fmla="*/ 685627 h 1161399"/>
                    <a:gd name="connsiteX3793" fmla="*/ 119766 w 1661518"/>
                    <a:gd name="connsiteY3793" fmla="*/ 686100 h 1161399"/>
                    <a:gd name="connsiteX3794" fmla="*/ 116669 w 1661518"/>
                    <a:gd name="connsiteY3794" fmla="*/ 688104 h 1161399"/>
                    <a:gd name="connsiteX3795" fmla="*/ 116281 w 1661518"/>
                    <a:gd name="connsiteY3795" fmla="*/ 688359 h 1161399"/>
                    <a:gd name="connsiteX3796" fmla="*/ 115941 w 1661518"/>
                    <a:gd name="connsiteY3796" fmla="*/ 688675 h 1161399"/>
                    <a:gd name="connsiteX3797" fmla="*/ 104284 w 1661518"/>
                    <a:gd name="connsiteY3797" fmla="*/ 699069 h 1161399"/>
                    <a:gd name="connsiteX3798" fmla="*/ 103810 w 1661518"/>
                    <a:gd name="connsiteY3798" fmla="*/ 699482 h 1161399"/>
                    <a:gd name="connsiteX3799" fmla="*/ 103434 w 1661518"/>
                    <a:gd name="connsiteY3799" fmla="*/ 699992 h 1161399"/>
                    <a:gd name="connsiteX3800" fmla="*/ 101017 w 1661518"/>
                    <a:gd name="connsiteY3800" fmla="*/ 703258 h 1161399"/>
                    <a:gd name="connsiteX3801" fmla="*/ 100762 w 1661518"/>
                    <a:gd name="connsiteY3801" fmla="*/ 703598 h 1161399"/>
                    <a:gd name="connsiteX3802" fmla="*/ 100556 w 1661518"/>
                    <a:gd name="connsiteY3802" fmla="*/ 703975 h 1161399"/>
                    <a:gd name="connsiteX3803" fmla="*/ 93950 w 1661518"/>
                    <a:gd name="connsiteY3803" fmla="*/ 716178 h 1161399"/>
                    <a:gd name="connsiteX3804" fmla="*/ 93379 w 1661518"/>
                    <a:gd name="connsiteY3804" fmla="*/ 717235 h 1161399"/>
                    <a:gd name="connsiteX3805" fmla="*/ 93258 w 1661518"/>
                    <a:gd name="connsiteY3805" fmla="*/ 718437 h 1161399"/>
                    <a:gd name="connsiteX3806" fmla="*/ 92978 w 1661518"/>
                    <a:gd name="connsiteY3806" fmla="*/ 721108 h 1161399"/>
                    <a:gd name="connsiteX3807" fmla="*/ 92845 w 1661518"/>
                    <a:gd name="connsiteY3807" fmla="*/ 722323 h 1161399"/>
                    <a:gd name="connsiteX3808" fmla="*/ 93197 w 1661518"/>
                    <a:gd name="connsiteY3808" fmla="*/ 723488 h 1161399"/>
                    <a:gd name="connsiteX3809" fmla="*/ 93841 w 1661518"/>
                    <a:gd name="connsiteY3809" fmla="*/ 725613 h 1161399"/>
                    <a:gd name="connsiteX3810" fmla="*/ 94144 w 1661518"/>
                    <a:gd name="connsiteY3810" fmla="*/ 726609 h 1161399"/>
                    <a:gd name="connsiteX3811" fmla="*/ 94751 w 1661518"/>
                    <a:gd name="connsiteY3811" fmla="*/ 727435 h 1161399"/>
                    <a:gd name="connsiteX3812" fmla="*/ 96124 w 1661518"/>
                    <a:gd name="connsiteY3812" fmla="*/ 729329 h 1161399"/>
                    <a:gd name="connsiteX3813" fmla="*/ 96488 w 1661518"/>
                    <a:gd name="connsiteY3813" fmla="*/ 729827 h 1161399"/>
                    <a:gd name="connsiteX3814" fmla="*/ 96949 w 1661518"/>
                    <a:gd name="connsiteY3814" fmla="*/ 730240 h 1161399"/>
                    <a:gd name="connsiteX3815" fmla="*/ 98042 w 1661518"/>
                    <a:gd name="connsiteY3815" fmla="*/ 731236 h 1161399"/>
                    <a:gd name="connsiteX3816" fmla="*/ 98540 w 1661518"/>
                    <a:gd name="connsiteY3816" fmla="*/ 731697 h 1161399"/>
                    <a:gd name="connsiteX3817" fmla="*/ 99123 w 1661518"/>
                    <a:gd name="connsiteY3817" fmla="*/ 732025 h 1161399"/>
                    <a:gd name="connsiteX3818" fmla="*/ 100216 w 1661518"/>
                    <a:gd name="connsiteY3818" fmla="*/ 732644 h 1161399"/>
                    <a:gd name="connsiteX3819" fmla="*/ 100616 w 1661518"/>
                    <a:gd name="connsiteY3819" fmla="*/ 732875 h 1161399"/>
                    <a:gd name="connsiteX3820" fmla="*/ 101041 w 1661518"/>
                    <a:gd name="connsiteY3820" fmla="*/ 733045 h 1161399"/>
                    <a:gd name="connsiteX3821" fmla="*/ 102584 w 1661518"/>
                    <a:gd name="connsiteY3821" fmla="*/ 733640 h 1161399"/>
                    <a:gd name="connsiteX3822" fmla="*/ 103094 w 1661518"/>
                    <a:gd name="connsiteY3822" fmla="*/ 733834 h 1161399"/>
                    <a:gd name="connsiteX3823" fmla="*/ 103628 w 1661518"/>
                    <a:gd name="connsiteY3823" fmla="*/ 733931 h 1161399"/>
                    <a:gd name="connsiteX3824" fmla="*/ 108874 w 1661518"/>
                    <a:gd name="connsiteY3824" fmla="*/ 734927 h 1161399"/>
                    <a:gd name="connsiteX3825" fmla="*/ 114046 w 1661518"/>
                    <a:gd name="connsiteY3825" fmla="*/ 736943 h 1161399"/>
                    <a:gd name="connsiteX3826" fmla="*/ 114690 w 1661518"/>
                    <a:gd name="connsiteY3826" fmla="*/ 737198 h 1161399"/>
                    <a:gd name="connsiteX3827" fmla="*/ 115382 w 1661518"/>
                    <a:gd name="connsiteY3827" fmla="*/ 737295 h 1161399"/>
                    <a:gd name="connsiteX3828" fmla="*/ 117337 w 1661518"/>
                    <a:gd name="connsiteY3828" fmla="*/ 737574 h 1161399"/>
                    <a:gd name="connsiteX3829" fmla="*/ 117908 w 1661518"/>
                    <a:gd name="connsiteY3829" fmla="*/ 737659 h 1161399"/>
                    <a:gd name="connsiteX3830" fmla="*/ 118491 w 1661518"/>
                    <a:gd name="connsiteY3830" fmla="*/ 737635 h 1161399"/>
                    <a:gd name="connsiteX3831" fmla="*/ 122486 w 1661518"/>
                    <a:gd name="connsiteY3831" fmla="*/ 737441 h 1161399"/>
                    <a:gd name="connsiteX3832" fmla="*/ 123324 w 1661518"/>
                    <a:gd name="connsiteY3832" fmla="*/ 737526 h 1161399"/>
                    <a:gd name="connsiteX3833" fmla="*/ 123688 w 1661518"/>
                    <a:gd name="connsiteY3833" fmla="*/ 737708 h 1161399"/>
                    <a:gd name="connsiteX3834" fmla="*/ 123834 w 1661518"/>
                    <a:gd name="connsiteY3834" fmla="*/ 737841 h 1161399"/>
                    <a:gd name="connsiteX3835" fmla="*/ 125449 w 1661518"/>
                    <a:gd name="connsiteY3835" fmla="*/ 740233 h 1161399"/>
                    <a:gd name="connsiteX3836" fmla="*/ 125789 w 1661518"/>
                    <a:gd name="connsiteY3836" fmla="*/ 740731 h 1161399"/>
                    <a:gd name="connsiteX3837" fmla="*/ 126104 w 1661518"/>
                    <a:gd name="connsiteY3837" fmla="*/ 741047 h 1161399"/>
                    <a:gd name="connsiteX3838" fmla="*/ 124647 w 1661518"/>
                    <a:gd name="connsiteY3838" fmla="*/ 741557 h 1161399"/>
                    <a:gd name="connsiteX3839" fmla="*/ 123955 w 1661518"/>
                    <a:gd name="connsiteY3839" fmla="*/ 741812 h 1161399"/>
                    <a:gd name="connsiteX3840" fmla="*/ 123348 w 1661518"/>
                    <a:gd name="connsiteY3840" fmla="*/ 742213 h 1161399"/>
                    <a:gd name="connsiteX3841" fmla="*/ 113864 w 1661518"/>
                    <a:gd name="connsiteY3841" fmla="*/ 748466 h 1161399"/>
                    <a:gd name="connsiteX3842" fmla="*/ 103300 w 1661518"/>
                    <a:gd name="connsiteY3842" fmla="*/ 750980 h 1161399"/>
                    <a:gd name="connsiteX3843" fmla="*/ 102571 w 1661518"/>
                    <a:gd name="connsiteY3843" fmla="*/ 751150 h 1161399"/>
                    <a:gd name="connsiteX3844" fmla="*/ 101904 w 1661518"/>
                    <a:gd name="connsiteY3844" fmla="*/ 751490 h 1161399"/>
                    <a:gd name="connsiteX3845" fmla="*/ 89008 w 1661518"/>
                    <a:gd name="connsiteY3845" fmla="*/ 758169 h 1161399"/>
                    <a:gd name="connsiteX3846" fmla="*/ 87283 w 1661518"/>
                    <a:gd name="connsiteY3846" fmla="*/ 758351 h 1161399"/>
                    <a:gd name="connsiteX3847" fmla="*/ 85268 w 1661518"/>
                    <a:gd name="connsiteY3847" fmla="*/ 757974 h 1161399"/>
                    <a:gd name="connsiteX3848" fmla="*/ 82827 w 1661518"/>
                    <a:gd name="connsiteY3848" fmla="*/ 757076 h 1161399"/>
                    <a:gd name="connsiteX3849" fmla="*/ 82511 w 1661518"/>
                    <a:gd name="connsiteY3849" fmla="*/ 756954 h 1161399"/>
                    <a:gd name="connsiteX3850" fmla="*/ 82183 w 1661518"/>
                    <a:gd name="connsiteY3850" fmla="*/ 756869 h 1161399"/>
                    <a:gd name="connsiteX3851" fmla="*/ 79427 w 1661518"/>
                    <a:gd name="connsiteY3851" fmla="*/ 756189 h 1161399"/>
                    <a:gd name="connsiteX3852" fmla="*/ 78759 w 1661518"/>
                    <a:gd name="connsiteY3852" fmla="*/ 756031 h 1161399"/>
                    <a:gd name="connsiteX3853" fmla="*/ 78067 w 1661518"/>
                    <a:gd name="connsiteY3853" fmla="*/ 756019 h 1161399"/>
                    <a:gd name="connsiteX3854" fmla="*/ 74278 w 1661518"/>
                    <a:gd name="connsiteY3854" fmla="*/ 755959 h 1161399"/>
                    <a:gd name="connsiteX3855" fmla="*/ 73574 w 1661518"/>
                    <a:gd name="connsiteY3855" fmla="*/ 755946 h 1161399"/>
                    <a:gd name="connsiteX3856" fmla="*/ 72894 w 1661518"/>
                    <a:gd name="connsiteY3856" fmla="*/ 756092 h 1161399"/>
                    <a:gd name="connsiteX3857" fmla="*/ 70490 w 1661518"/>
                    <a:gd name="connsiteY3857" fmla="*/ 756614 h 1161399"/>
                    <a:gd name="connsiteX3858" fmla="*/ 69858 w 1661518"/>
                    <a:gd name="connsiteY3858" fmla="*/ 756748 h 1161399"/>
                    <a:gd name="connsiteX3859" fmla="*/ 69263 w 1661518"/>
                    <a:gd name="connsiteY3859" fmla="*/ 757015 h 1161399"/>
                    <a:gd name="connsiteX3860" fmla="*/ 67138 w 1661518"/>
                    <a:gd name="connsiteY3860" fmla="*/ 757986 h 1161399"/>
                    <a:gd name="connsiteX3861" fmla="*/ 66495 w 1661518"/>
                    <a:gd name="connsiteY3861" fmla="*/ 758278 h 1161399"/>
                    <a:gd name="connsiteX3862" fmla="*/ 65936 w 1661518"/>
                    <a:gd name="connsiteY3862" fmla="*/ 758715 h 1161399"/>
                    <a:gd name="connsiteX3863" fmla="*/ 64443 w 1661518"/>
                    <a:gd name="connsiteY3863" fmla="*/ 759869 h 1161399"/>
                    <a:gd name="connsiteX3864" fmla="*/ 61747 w 1661518"/>
                    <a:gd name="connsiteY3864" fmla="*/ 762334 h 1161399"/>
                    <a:gd name="connsiteX3865" fmla="*/ 58905 w 1661518"/>
                    <a:gd name="connsiteY3865" fmla="*/ 764155 h 1161399"/>
                    <a:gd name="connsiteX3866" fmla="*/ 54704 w 1661518"/>
                    <a:gd name="connsiteY3866" fmla="*/ 766863 h 1161399"/>
                    <a:gd name="connsiteX3867" fmla="*/ 56550 w 1661518"/>
                    <a:gd name="connsiteY3867" fmla="*/ 771514 h 1161399"/>
                    <a:gd name="connsiteX3868" fmla="*/ 60108 w 1661518"/>
                    <a:gd name="connsiteY3868" fmla="*/ 780475 h 1161399"/>
                    <a:gd name="connsiteX3869" fmla="*/ 62075 w 1661518"/>
                    <a:gd name="connsiteY3869" fmla="*/ 797087 h 1161399"/>
                    <a:gd name="connsiteX3870" fmla="*/ 62123 w 1661518"/>
                    <a:gd name="connsiteY3870" fmla="*/ 797524 h 1161399"/>
                    <a:gd name="connsiteX3871" fmla="*/ 62233 w 1661518"/>
                    <a:gd name="connsiteY3871" fmla="*/ 797949 h 1161399"/>
                    <a:gd name="connsiteX3872" fmla="*/ 63034 w 1661518"/>
                    <a:gd name="connsiteY3872" fmla="*/ 800936 h 1161399"/>
                    <a:gd name="connsiteX3873" fmla="*/ 63253 w 1661518"/>
                    <a:gd name="connsiteY3873" fmla="*/ 801737 h 1161399"/>
                    <a:gd name="connsiteX3874" fmla="*/ 63678 w 1661518"/>
                    <a:gd name="connsiteY3874" fmla="*/ 802454 h 1161399"/>
                    <a:gd name="connsiteX3875" fmla="*/ 64710 w 1661518"/>
                    <a:gd name="connsiteY3875" fmla="*/ 804202 h 1161399"/>
                    <a:gd name="connsiteX3876" fmla="*/ 65754 w 1661518"/>
                    <a:gd name="connsiteY3876" fmla="*/ 805975 h 1161399"/>
                    <a:gd name="connsiteX3877" fmla="*/ 67673 w 1661518"/>
                    <a:gd name="connsiteY3877" fmla="*/ 806740 h 1161399"/>
                    <a:gd name="connsiteX3878" fmla="*/ 68765 w 1661518"/>
                    <a:gd name="connsiteY3878" fmla="*/ 807177 h 1161399"/>
                    <a:gd name="connsiteX3879" fmla="*/ 69603 w 1661518"/>
                    <a:gd name="connsiteY3879" fmla="*/ 807517 h 1161399"/>
                    <a:gd name="connsiteX3880" fmla="*/ 70502 w 1661518"/>
                    <a:gd name="connsiteY3880" fmla="*/ 807590 h 1161399"/>
                    <a:gd name="connsiteX3881" fmla="*/ 71716 w 1661518"/>
                    <a:gd name="connsiteY3881" fmla="*/ 807700 h 1161399"/>
                    <a:gd name="connsiteX3882" fmla="*/ 72469 w 1661518"/>
                    <a:gd name="connsiteY3882" fmla="*/ 807760 h 1161399"/>
                    <a:gd name="connsiteX3883" fmla="*/ 73222 w 1661518"/>
                    <a:gd name="connsiteY3883" fmla="*/ 807639 h 1161399"/>
                    <a:gd name="connsiteX3884" fmla="*/ 74655 w 1661518"/>
                    <a:gd name="connsiteY3884" fmla="*/ 807408 h 1161399"/>
                    <a:gd name="connsiteX3885" fmla="*/ 75420 w 1661518"/>
                    <a:gd name="connsiteY3885" fmla="*/ 807287 h 1161399"/>
                    <a:gd name="connsiteX3886" fmla="*/ 76136 w 1661518"/>
                    <a:gd name="connsiteY3886" fmla="*/ 806971 h 1161399"/>
                    <a:gd name="connsiteX3887" fmla="*/ 77460 w 1661518"/>
                    <a:gd name="connsiteY3887" fmla="*/ 806388 h 1161399"/>
                    <a:gd name="connsiteX3888" fmla="*/ 80908 w 1661518"/>
                    <a:gd name="connsiteY3888" fmla="*/ 810833 h 1161399"/>
                    <a:gd name="connsiteX3889" fmla="*/ 81528 w 1661518"/>
                    <a:gd name="connsiteY3889" fmla="*/ 812448 h 1161399"/>
                    <a:gd name="connsiteX3890" fmla="*/ 81479 w 1661518"/>
                    <a:gd name="connsiteY3890" fmla="*/ 813492 h 1161399"/>
                    <a:gd name="connsiteX3891" fmla="*/ 66968 w 1661518"/>
                    <a:gd name="connsiteY3891" fmla="*/ 842101 h 1161399"/>
                    <a:gd name="connsiteX3892" fmla="*/ 66033 w 1661518"/>
                    <a:gd name="connsiteY3892" fmla="*/ 843351 h 1161399"/>
                    <a:gd name="connsiteX3893" fmla="*/ 64940 w 1661518"/>
                    <a:gd name="connsiteY3893" fmla="*/ 844541 h 1161399"/>
                    <a:gd name="connsiteX3894" fmla="*/ 63763 w 1661518"/>
                    <a:gd name="connsiteY3894" fmla="*/ 845489 h 1161399"/>
                    <a:gd name="connsiteX3895" fmla="*/ 62281 w 1661518"/>
                    <a:gd name="connsiteY3895" fmla="*/ 846338 h 1161399"/>
                    <a:gd name="connsiteX3896" fmla="*/ 61953 w 1661518"/>
                    <a:gd name="connsiteY3896" fmla="*/ 846460 h 1161399"/>
                    <a:gd name="connsiteX3897" fmla="*/ 60763 w 1661518"/>
                    <a:gd name="connsiteY3897" fmla="*/ 846618 h 1161399"/>
                    <a:gd name="connsiteX3898" fmla="*/ 56404 w 1661518"/>
                    <a:gd name="connsiteY3898" fmla="*/ 846545 h 1161399"/>
                    <a:gd name="connsiteX3899" fmla="*/ 55870 w 1661518"/>
                    <a:gd name="connsiteY3899" fmla="*/ 846545 h 1161399"/>
                    <a:gd name="connsiteX3900" fmla="*/ 55347 w 1661518"/>
                    <a:gd name="connsiteY3900" fmla="*/ 846630 h 1161399"/>
                    <a:gd name="connsiteX3901" fmla="*/ 53210 w 1661518"/>
                    <a:gd name="connsiteY3901" fmla="*/ 846970 h 1161399"/>
                    <a:gd name="connsiteX3902" fmla="*/ 52676 w 1661518"/>
                    <a:gd name="connsiteY3902" fmla="*/ 847055 h 1161399"/>
                    <a:gd name="connsiteX3903" fmla="*/ 52166 w 1661518"/>
                    <a:gd name="connsiteY3903" fmla="*/ 847237 h 1161399"/>
                    <a:gd name="connsiteX3904" fmla="*/ 50673 w 1661518"/>
                    <a:gd name="connsiteY3904" fmla="*/ 847759 h 1161399"/>
                    <a:gd name="connsiteX3905" fmla="*/ 49774 w 1661518"/>
                    <a:gd name="connsiteY3905" fmla="*/ 848075 h 1161399"/>
                    <a:gd name="connsiteX3906" fmla="*/ 49021 w 1661518"/>
                    <a:gd name="connsiteY3906" fmla="*/ 848658 h 1161399"/>
                    <a:gd name="connsiteX3907" fmla="*/ 34959 w 1661518"/>
                    <a:gd name="connsiteY3907" fmla="*/ 859307 h 1161399"/>
                    <a:gd name="connsiteX3908" fmla="*/ 34474 w 1661518"/>
                    <a:gd name="connsiteY3908" fmla="*/ 859672 h 1161399"/>
                    <a:gd name="connsiteX3909" fmla="*/ 34073 w 1661518"/>
                    <a:gd name="connsiteY3909" fmla="*/ 860121 h 1161399"/>
                    <a:gd name="connsiteX3910" fmla="*/ 27747 w 1661518"/>
                    <a:gd name="connsiteY3910" fmla="*/ 867261 h 1161399"/>
                    <a:gd name="connsiteX3911" fmla="*/ 27079 w 1661518"/>
                    <a:gd name="connsiteY3911" fmla="*/ 867710 h 1161399"/>
                    <a:gd name="connsiteX3912" fmla="*/ 26010 w 1661518"/>
                    <a:gd name="connsiteY3912" fmla="*/ 868135 h 1161399"/>
                    <a:gd name="connsiteX3913" fmla="*/ 25427 w 1661518"/>
                    <a:gd name="connsiteY3913" fmla="*/ 868257 h 1161399"/>
                    <a:gd name="connsiteX3914" fmla="*/ 25075 w 1661518"/>
                    <a:gd name="connsiteY3914" fmla="*/ 868232 h 1161399"/>
                    <a:gd name="connsiteX3915" fmla="*/ 15118 w 1661518"/>
                    <a:gd name="connsiteY3915" fmla="*/ 865196 h 1161399"/>
                    <a:gd name="connsiteX3916" fmla="*/ 14487 w 1661518"/>
                    <a:gd name="connsiteY3916" fmla="*/ 865002 h 1161399"/>
                    <a:gd name="connsiteX3917" fmla="*/ 13831 w 1661518"/>
                    <a:gd name="connsiteY3917" fmla="*/ 864954 h 1161399"/>
                    <a:gd name="connsiteX3918" fmla="*/ 12799 w 1661518"/>
                    <a:gd name="connsiteY3918" fmla="*/ 864869 h 1161399"/>
                    <a:gd name="connsiteX3919" fmla="*/ 12228 w 1661518"/>
                    <a:gd name="connsiteY3919" fmla="*/ 864832 h 1161399"/>
                    <a:gd name="connsiteX3920" fmla="*/ 11657 w 1661518"/>
                    <a:gd name="connsiteY3920" fmla="*/ 864893 h 1161399"/>
                    <a:gd name="connsiteX3921" fmla="*/ 10346 w 1661518"/>
                    <a:gd name="connsiteY3921" fmla="*/ 865039 h 1161399"/>
                    <a:gd name="connsiteX3922" fmla="*/ 9131 w 1661518"/>
                    <a:gd name="connsiteY3922" fmla="*/ 865172 h 1161399"/>
                    <a:gd name="connsiteX3923" fmla="*/ 8063 w 1661518"/>
                    <a:gd name="connsiteY3923" fmla="*/ 865767 h 1161399"/>
                    <a:gd name="connsiteX3924" fmla="*/ 6569 w 1661518"/>
                    <a:gd name="connsiteY3924" fmla="*/ 866593 h 1161399"/>
                    <a:gd name="connsiteX3925" fmla="*/ 6169 w 1661518"/>
                    <a:gd name="connsiteY3925" fmla="*/ 866812 h 1161399"/>
                    <a:gd name="connsiteX3926" fmla="*/ 5804 w 1661518"/>
                    <a:gd name="connsiteY3926" fmla="*/ 867091 h 1161399"/>
                    <a:gd name="connsiteX3927" fmla="*/ 4080 w 1661518"/>
                    <a:gd name="connsiteY3927" fmla="*/ 868426 h 1161399"/>
                    <a:gd name="connsiteX3928" fmla="*/ 2866 w 1661518"/>
                    <a:gd name="connsiteY3928" fmla="*/ 869361 h 1161399"/>
                    <a:gd name="connsiteX3929" fmla="*/ 2246 w 1661518"/>
                    <a:gd name="connsiteY3929" fmla="*/ 870758 h 1161399"/>
                    <a:gd name="connsiteX3930" fmla="*/ 631 w 1661518"/>
                    <a:gd name="connsiteY3930" fmla="*/ 874364 h 1161399"/>
                    <a:gd name="connsiteX3931" fmla="*/ 0 w 1661518"/>
                    <a:gd name="connsiteY3931" fmla="*/ 875773 h 1161399"/>
                    <a:gd name="connsiteX3932" fmla="*/ 121 w 1661518"/>
                    <a:gd name="connsiteY3932" fmla="*/ 877315 h 1161399"/>
                    <a:gd name="connsiteX3933" fmla="*/ 304 w 1661518"/>
                    <a:gd name="connsiteY3933" fmla="*/ 879610 h 1161399"/>
                    <a:gd name="connsiteX3934" fmla="*/ 461 w 1661518"/>
                    <a:gd name="connsiteY3934" fmla="*/ 881638 h 1161399"/>
                    <a:gd name="connsiteX3935" fmla="*/ 1809 w 1661518"/>
                    <a:gd name="connsiteY3935" fmla="*/ 883156 h 1161399"/>
                    <a:gd name="connsiteX3936" fmla="*/ 3764 w 1661518"/>
                    <a:gd name="connsiteY3936" fmla="*/ 885378 h 1161399"/>
                    <a:gd name="connsiteX3937" fmla="*/ 12714 w 1661518"/>
                    <a:gd name="connsiteY3937" fmla="*/ 893793 h 1161399"/>
                    <a:gd name="connsiteX3938" fmla="*/ 13041 w 1661518"/>
                    <a:gd name="connsiteY3938" fmla="*/ 894097 h 1161399"/>
                    <a:gd name="connsiteX3939" fmla="*/ 13406 w 1661518"/>
                    <a:gd name="connsiteY3939" fmla="*/ 894352 h 1161399"/>
                    <a:gd name="connsiteX3940" fmla="*/ 16490 w 1661518"/>
                    <a:gd name="connsiteY3940" fmla="*/ 896501 h 1161399"/>
                    <a:gd name="connsiteX3941" fmla="*/ 16964 w 1661518"/>
                    <a:gd name="connsiteY3941" fmla="*/ 896829 h 1161399"/>
                    <a:gd name="connsiteX3942" fmla="*/ 17474 w 1661518"/>
                    <a:gd name="connsiteY3942" fmla="*/ 897060 h 1161399"/>
                    <a:gd name="connsiteX3943" fmla="*/ 20242 w 1661518"/>
                    <a:gd name="connsiteY3943" fmla="*/ 898298 h 1161399"/>
                    <a:gd name="connsiteX3944" fmla="*/ 21505 w 1661518"/>
                    <a:gd name="connsiteY3944" fmla="*/ 898857 h 1161399"/>
                    <a:gd name="connsiteX3945" fmla="*/ 22889 w 1661518"/>
                    <a:gd name="connsiteY3945" fmla="*/ 898820 h 1161399"/>
                    <a:gd name="connsiteX3946" fmla="*/ 25002 w 1661518"/>
                    <a:gd name="connsiteY3946" fmla="*/ 898760 h 1161399"/>
                    <a:gd name="connsiteX3947" fmla="*/ 25379 w 1661518"/>
                    <a:gd name="connsiteY3947" fmla="*/ 898747 h 1161399"/>
                    <a:gd name="connsiteX3948" fmla="*/ 25743 w 1661518"/>
                    <a:gd name="connsiteY3948" fmla="*/ 898687 h 1161399"/>
                    <a:gd name="connsiteX3949" fmla="*/ 32628 w 1661518"/>
                    <a:gd name="connsiteY3949" fmla="*/ 897642 h 1161399"/>
                    <a:gd name="connsiteX3950" fmla="*/ 37534 w 1661518"/>
                    <a:gd name="connsiteY3950" fmla="*/ 897934 h 1161399"/>
                    <a:gd name="connsiteX3951" fmla="*/ 41019 w 1661518"/>
                    <a:gd name="connsiteY3951" fmla="*/ 898723 h 1161399"/>
                    <a:gd name="connsiteX3952" fmla="*/ 40837 w 1661518"/>
                    <a:gd name="connsiteY3952" fmla="*/ 898954 h 1161399"/>
                    <a:gd name="connsiteX3953" fmla="*/ 39574 w 1661518"/>
                    <a:gd name="connsiteY3953" fmla="*/ 900277 h 1161399"/>
                    <a:gd name="connsiteX3954" fmla="*/ 38020 w 1661518"/>
                    <a:gd name="connsiteY3954" fmla="*/ 901419 h 1161399"/>
                    <a:gd name="connsiteX3955" fmla="*/ 35931 w 1661518"/>
                    <a:gd name="connsiteY3955" fmla="*/ 902524 h 1161399"/>
                    <a:gd name="connsiteX3956" fmla="*/ 33648 w 1661518"/>
                    <a:gd name="connsiteY3956" fmla="*/ 903337 h 1161399"/>
                    <a:gd name="connsiteX3957" fmla="*/ 28767 w 1661518"/>
                    <a:gd name="connsiteY3957" fmla="*/ 904321 h 1161399"/>
                    <a:gd name="connsiteX3958" fmla="*/ 27807 w 1661518"/>
                    <a:gd name="connsiteY3958" fmla="*/ 904333 h 1161399"/>
                    <a:gd name="connsiteX3959" fmla="*/ 27674 w 1661518"/>
                    <a:gd name="connsiteY3959" fmla="*/ 904309 h 1161399"/>
                    <a:gd name="connsiteX3960" fmla="*/ 25682 w 1661518"/>
                    <a:gd name="connsiteY3960" fmla="*/ 902293 h 1161399"/>
                    <a:gd name="connsiteX3961" fmla="*/ 25452 w 1661518"/>
                    <a:gd name="connsiteY3961" fmla="*/ 901977 h 1161399"/>
                    <a:gd name="connsiteX3962" fmla="*/ 25148 w 1661518"/>
                    <a:gd name="connsiteY3962" fmla="*/ 901735 h 1161399"/>
                    <a:gd name="connsiteX3963" fmla="*/ 23776 w 1661518"/>
                    <a:gd name="connsiteY3963" fmla="*/ 900666 h 1161399"/>
                    <a:gd name="connsiteX3964" fmla="*/ 23181 w 1661518"/>
                    <a:gd name="connsiteY3964" fmla="*/ 900205 h 1161399"/>
                    <a:gd name="connsiteX3965" fmla="*/ 22489 w 1661518"/>
                    <a:gd name="connsiteY3965" fmla="*/ 899901 h 1161399"/>
                    <a:gd name="connsiteX3966" fmla="*/ 21177 w 1661518"/>
                    <a:gd name="connsiteY3966" fmla="*/ 899330 h 1161399"/>
                    <a:gd name="connsiteX3967" fmla="*/ 20339 w 1661518"/>
                    <a:gd name="connsiteY3967" fmla="*/ 898966 h 1161399"/>
                    <a:gd name="connsiteX3968" fmla="*/ 19441 w 1661518"/>
                    <a:gd name="connsiteY3968" fmla="*/ 898857 h 1161399"/>
                    <a:gd name="connsiteX3969" fmla="*/ 18227 w 1661518"/>
                    <a:gd name="connsiteY3969" fmla="*/ 898711 h 1161399"/>
                    <a:gd name="connsiteX3970" fmla="*/ 17182 w 1661518"/>
                    <a:gd name="connsiteY3970" fmla="*/ 898589 h 1161399"/>
                    <a:gd name="connsiteX3971" fmla="*/ 16162 w 1661518"/>
                    <a:gd name="connsiteY3971" fmla="*/ 898832 h 1161399"/>
                    <a:gd name="connsiteX3972" fmla="*/ 14899 w 1661518"/>
                    <a:gd name="connsiteY3972" fmla="*/ 899124 h 1161399"/>
                    <a:gd name="connsiteX3973" fmla="*/ 13831 w 1661518"/>
                    <a:gd name="connsiteY3973" fmla="*/ 899379 h 1161399"/>
                    <a:gd name="connsiteX3974" fmla="*/ 12908 w 1661518"/>
                    <a:gd name="connsiteY3974" fmla="*/ 899986 h 1161399"/>
                    <a:gd name="connsiteX3975" fmla="*/ 11767 w 1661518"/>
                    <a:gd name="connsiteY3975" fmla="*/ 900739 h 1161399"/>
                    <a:gd name="connsiteX3976" fmla="*/ 10747 w 1661518"/>
                    <a:gd name="connsiteY3976" fmla="*/ 901419 h 1161399"/>
                    <a:gd name="connsiteX3977" fmla="*/ 10067 w 1661518"/>
                    <a:gd name="connsiteY3977" fmla="*/ 902427 h 1161399"/>
                    <a:gd name="connsiteX3978" fmla="*/ 8852 w 1661518"/>
                    <a:gd name="connsiteY3978" fmla="*/ 904248 h 1161399"/>
                    <a:gd name="connsiteX3979" fmla="*/ 8549 w 1661518"/>
                    <a:gd name="connsiteY3979" fmla="*/ 904722 h 1161399"/>
                    <a:gd name="connsiteX3980" fmla="*/ 8318 w 1661518"/>
                    <a:gd name="connsiteY3980" fmla="*/ 905244 h 1161399"/>
                    <a:gd name="connsiteX3981" fmla="*/ 7116 w 1661518"/>
                    <a:gd name="connsiteY3981" fmla="*/ 908061 h 1161399"/>
                    <a:gd name="connsiteX3982" fmla="*/ 6764 w 1661518"/>
                    <a:gd name="connsiteY3982" fmla="*/ 908887 h 1161399"/>
                    <a:gd name="connsiteX3983" fmla="*/ 6667 w 1661518"/>
                    <a:gd name="connsiteY3983" fmla="*/ 909785 h 1161399"/>
                    <a:gd name="connsiteX3984" fmla="*/ 6096 w 1661518"/>
                    <a:gd name="connsiteY3984" fmla="*/ 915019 h 1161399"/>
                    <a:gd name="connsiteX3985" fmla="*/ 6023 w 1661518"/>
                    <a:gd name="connsiteY3985" fmla="*/ 915711 h 1161399"/>
                    <a:gd name="connsiteX3986" fmla="*/ 6108 w 1661518"/>
                    <a:gd name="connsiteY3986" fmla="*/ 916391 h 1161399"/>
                    <a:gd name="connsiteX3987" fmla="*/ 6509 w 1661518"/>
                    <a:gd name="connsiteY3987" fmla="*/ 919803 h 1161399"/>
                    <a:gd name="connsiteX3988" fmla="*/ 6569 w 1661518"/>
                    <a:gd name="connsiteY3988" fmla="*/ 920289 h 1161399"/>
                    <a:gd name="connsiteX3989" fmla="*/ 6703 w 1661518"/>
                    <a:gd name="connsiteY3989" fmla="*/ 920750 h 1161399"/>
                    <a:gd name="connsiteX3990" fmla="*/ 7589 w 1661518"/>
                    <a:gd name="connsiteY3990" fmla="*/ 923895 h 1161399"/>
                    <a:gd name="connsiteX3991" fmla="*/ 7771 w 1661518"/>
                    <a:gd name="connsiteY3991" fmla="*/ 925547 h 1161399"/>
                    <a:gd name="connsiteX3992" fmla="*/ 7565 w 1661518"/>
                    <a:gd name="connsiteY3992" fmla="*/ 930950 h 1161399"/>
                    <a:gd name="connsiteX3993" fmla="*/ 7541 w 1661518"/>
                    <a:gd name="connsiteY3993" fmla="*/ 931594 h 1161399"/>
                    <a:gd name="connsiteX3994" fmla="*/ 7650 w 1661518"/>
                    <a:gd name="connsiteY3994" fmla="*/ 932238 h 1161399"/>
                    <a:gd name="connsiteX3995" fmla="*/ 7978 w 1661518"/>
                    <a:gd name="connsiteY3995" fmla="*/ 934156 h 1161399"/>
                    <a:gd name="connsiteX3996" fmla="*/ 8209 w 1661518"/>
                    <a:gd name="connsiteY3996" fmla="*/ 935407 h 1161399"/>
                    <a:gd name="connsiteX3997" fmla="*/ 8913 w 1661518"/>
                    <a:gd name="connsiteY3997" fmla="*/ 936463 h 1161399"/>
                    <a:gd name="connsiteX3998" fmla="*/ 9945 w 1661518"/>
                    <a:gd name="connsiteY3998" fmla="*/ 938018 h 1161399"/>
                    <a:gd name="connsiteX3999" fmla="*/ 10382 w 1661518"/>
                    <a:gd name="connsiteY3999" fmla="*/ 938685 h 1161399"/>
                    <a:gd name="connsiteX4000" fmla="*/ 10965 w 1661518"/>
                    <a:gd name="connsiteY4000" fmla="*/ 939208 h 1161399"/>
                    <a:gd name="connsiteX4001" fmla="*/ 13649 w 1661518"/>
                    <a:gd name="connsiteY4001" fmla="*/ 941588 h 1161399"/>
                    <a:gd name="connsiteX4002" fmla="*/ 14401 w 1661518"/>
                    <a:gd name="connsiteY4002" fmla="*/ 942571 h 1161399"/>
                    <a:gd name="connsiteX4003" fmla="*/ 15786 w 1661518"/>
                    <a:gd name="connsiteY4003" fmla="*/ 945631 h 1161399"/>
                    <a:gd name="connsiteX4004" fmla="*/ 16417 w 1661518"/>
                    <a:gd name="connsiteY4004" fmla="*/ 948072 h 1161399"/>
                    <a:gd name="connsiteX4005" fmla="*/ 16939 w 1661518"/>
                    <a:gd name="connsiteY4005" fmla="*/ 952225 h 1161399"/>
                    <a:gd name="connsiteX4006" fmla="*/ 16988 w 1661518"/>
                    <a:gd name="connsiteY4006" fmla="*/ 952650 h 1161399"/>
                    <a:gd name="connsiteX4007" fmla="*/ 17109 w 1661518"/>
                    <a:gd name="connsiteY4007" fmla="*/ 953075 h 1161399"/>
                    <a:gd name="connsiteX4008" fmla="*/ 17680 w 1661518"/>
                    <a:gd name="connsiteY4008" fmla="*/ 955139 h 1161399"/>
                    <a:gd name="connsiteX4009" fmla="*/ 17947 w 1661518"/>
                    <a:gd name="connsiteY4009" fmla="*/ 956111 h 1161399"/>
                    <a:gd name="connsiteX4010" fmla="*/ 18506 w 1661518"/>
                    <a:gd name="connsiteY4010" fmla="*/ 956936 h 1161399"/>
                    <a:gd name="connsiteX4011" fmla="*/ 19672 w 1661518"/>
                    <a:gd name="connsiteY4011" fmla="*/ 958661 h 1161399"/>
                    <a:gd name="connsiteX4012" fmla="*/ 19987 w 1661518"/>
                    <a:gd name="connsiteY4012" fmla="*/ 959122 h 1161399"/>
                    <a:gd name="connsiteX4013" fmla="*/ 20376 w 1661518"/>
                    <a:gd name="connsiteY4013" fmla="*/ 959511 h 1161399"/>
                    <a:gd name="connsiteX4014" fmla="*/ 21590 w 1661518"/>
                    <a:gd name="connsiteY4014" fmla="*/ 960737 h 1161399"/>
                    <a:gd name="connsiteX4015" fmla="*/ 21845 w 1661518"/>
                    <a:gd name="connsiteY4015" fmla="*/ 961150 h 1161399"/>
                    <a:gd name="connsiteX4016" fmla="*/ 19999 w 1661518"/>
                    <a:gd name="connsiteY4016" fmla="*/ 966881 h 1161399"/>
                    <a:gd name="connsiteX4017" fmla="*/ 19708 w 1661518"/>
                    <a:gd name="connsiteY4017" fmla="*/ 967780 h 1161399"/>
                    <a:gd name="connsiteX4018" fmla="*/ 19708 w 1661518"/>
                    <a:gd name="connsiteY4018" fmla="*/ 968715 h 1161399"/>
                    <a:gd name="connsiteX4019" fmla="*/ 19659 w 1661518"/>
                    <a:gd name="connsiteY4019" fmla="*/ 983080 h 1161399"/>
                    <a:gd name="connsiteX4020" fmla="*/ 19647 w 1661518"/>
                    <a:gd name="connsiteY4020" fmla="*/ 988107 h 1161399"/>
                    <a:gd name="connsiteX4021" fmla="*/ 24589 w 1661518"/>
                    <a:gd name="connsiteY4021" fmla="*/ 989067 h 1161399"/>
                    <a:gd name="connsiteX4022" fmla="*/ 27686 w 1661518"/>
                    <a:gd name="connsiteY4022" fmla="*/ 989661 h 1161399"/>
                    <a:gd name="connsiteX4023" fmla="*/ 32689 w 1661518"/>
                    <a:gd name="connsiteY4023" fmla="*/ 992709 h 1161399"/>
                    <a:gd name="connsiteX4024" fmla="*/ 33624 w 1661518"/>
                    <a:gd name="connsiteY4024" fmla="*/ 993280 h 1161399"/>
                    <a:gd name="connsiteX4025" fmla="*/ 34692 w 1661518"/>
                    <a:gd name="connsiteY4025" fmla="*/ 993499 h 1161399"/>
                    <a:gd name="connsiteX4026" fmla="*/ 38821 w 1661518"/>
                    <a:gd name="connsiteY4026" fmla="*/ 994300 h 1161399"/>
                    <a:gd name="connsiteX4027" fmla="*/ 39537 w 1661518"/>
                    <a:gd name="connsiteY4027" fmla="*/ 994434 h 1161399"/>
                    <a:gd name="connsiteX4028" fmla="*/ 40266 w 1661518"/>
                    <a:gd name="connsiteY4028" fmla="*/ 994397 h 1161399"/>
                    <a:gd name="connsiteX4029" fmla="*/ 44637 w 1661518"/>
                    <a:gd name="connsiteY4029" fmla="*/ 994191 h 1161399"/>
                    <a:gd name="connsiteX4030" fmla="*/ 45050 w 1661518"/>
                    <a:gd name="connsiteY4030" fmla="*/ 994179 h 1161399"/>
                    <a:gd name="connsiteX4031" fmla="*/ 45451 w 1661518"/>
                    <a:gd name="connsiteY4031" fmla="*/ 994106 h 1161399"/>
                    <a:gd name="connsiteX4032" fmla="*/ 49397 w 1661518"/>
                    <a:gd name="connsiteY4032" fmla="*/ 993377 h 1161399"/>
                    <a:gd name="connsiteX4033" fmla="*/ 49859 w 1661518"/>
                    <a:gd name="connsiteY4033" fmla="*/ 993292 h 1161399"/>
                    <a:gd name="connsiteX4034" fmla="*/ 50296 w 1661518"/>
                    <a:gd name="connsiteY4034" fmla="*/ 993135 h 1161399"/>
                    <a:gd name="connsiteX4035" fmla="*/ 53805 w 1661518"/>
                    <a:gd name="connsiteY4035" fmla="*/ 991920 h 1161399"/>
                    <a:gd name="connsiteX4036" fmla="*/ 54340 w 1661518"/>
                    <a:gd name="connsiteY4036" fmla="*/ 991726 h 1161399"/>
                    <a:gd name="connsiteX4037" fmla="*/ 54837 w 1661518"/>
                    <a:gd name="connsiteY4037" fmla="*/ 991447 h 1161399"/>
                    <a:gd name="connsiteX4038" fmla="*/ 57946 w 1661518"/>
                    <a:gd name="connsiteY4038" fmla="*/ 989674 h 1161399"/>
                    <a:gd name="connsiteX4039" fmla="*/ 59209 w 1661518"/>
                    <a:gd name="connsiteY4039" fmla="*/ 988945 h 1161399"/>
                    <a:gd name="connsiteX4040" fmla="*/ 60010 w 1661518"/>
                    <a:gd name="connsiteY4040" fmla="*/ 987719 h 1161399"/>
                    <a:gd name="connsiteX4041" fmla="*/ 60642 w 1661518"/>
                    <a:gd name="connsiteY4041" fmla="*/ 986747 h 1161399"/>
                    <a:gd name="connsiteX4042" fmla="*/ 61395 w 1661518"/>
                    <a:gd name="connsiteY4042" fmla="*/ 985581 h 1161399"/>
                    <a:gd name="connsiteX4043" fmla="*/ 61455 w 1661518"/>
                    <a:gd name="connsiteY4043" fmla="*/ 985059 h 1161399"/>
                    <a:gd name="connsiteX4044" fmla="*/ 61492 w 1661518"/>
                    <a:gd name="connsiteY4044" fmla="*/ 985047 h 1161399"/>
                    <a:gd name="connsiteX4045" fmla="*/ 63799 w 1661518"/>
                    <a:gd name="connsiteY4045" fmla="*/ 983991 h 1161399"/>
                    <a:gd name="connsiteX4046" fmla="*/ 67454 w 1661518"/>
                    <a:gd name="connsiteY4046" fmla="*/ 982934 h 1161399"/>
                    <a:gd name="connsiteX4047" fmla="*/ 67940 w 1661518"/>
                    <a:gd name="connsiteY4047" fmla="*/ 982789 h 1161399"/>
                    <a:gd name="connsiteX4048" fmla="*/ 68401 w 1661518"/>
                    <a:gd name="connsiteY4048" fmla="*/ 982558 h 1161399"/>
                    <a:gd name="connsiteX4049" fmla="*/ 70247 w 1661518"/>
                    <a:gd name="connsiteY4049" fmla="*/ 981672 h 1161399"/>
                    <a:gd name="connsiteX4050" fmla="*/ 71073 w 1661518"/>
                    <a:gd name="connsiteY4050" fmla="*/ 981283 h 1161399"/>
                    <a:gd name="connsiteX4051" fmla="*/ 71740 w 1661518"/>
                    <a:gd name="connsiteY4051" fmla="*/ 980652 h 1161399"/>
                    <a:gd name="connsiteX4052" fmla="*/ 76768 w 1661518"/>
                    <a:gd name="connsiteY4052" fmla="*/ 975976 h 1161399"/>
                    <a:gd name="connsiteX4053" fmla="*/ 77593 w 1661518"/>
                    <a:gd name="connsiteY4053" fmla="*/ 976717 h 1161399"/>
                    <a:gd name="connsiteX4054" fmla="*/ 87186 w 1661518"/>
                    <a:gd name="connsiteY4054" fmla="*/ 987221 h 1161399"/>
                    <a:gd name="connsiteX4055" fmla="*/ 88036 w 1661518"/>
                    <a:gd name="connsiteY4055" fmla="*/ 990269 h 1161399"/>
                    <a:gd name="connsiteX4056" fmla="*/ 87842 w 1661518"/>
                    <a:gd name="connsiteY4056" fmla="*/ 991471 h 1161399"/>
                    <a:gd name="connsiteX4057" fmla="*/ 86858 w 1661518"/>
                    <a:gd name="connsiteY4057" fmla="*/ 1008604 h 1161399"/>
                    <a:gd name="connsiteX4058" fmla="*/ 86834 w 1661518"/>
                    <a:gd name="connsiteY4058" fmla="*/ 1009017 h 1161399"/>
                    <a:gd name="connsiteX4059" fmla="*/ 86858 w 1661518"/>
                    <a:gd name="connsiteY4059" fmla="*/ 1009418 h 1161399"/>
                    <a:gd name="connsiteX4060" fmla="*/ 87089 w 1661518"/>
                    <a:gd name="connsiteY4060" fmla="*/ 1012357 h 1161399"/>
                    <a:gd name="connsiteX4061" fmla="*/ 87138 w 1661518"/>
                    <a:gd name="connsiteY4061" fmla="*/ 1013025 h 1161399"/>
                    <a:gd name="connsiteX4062" fmla="*/ 87332 w 1661518"/>
                    <a:gd name="connsiteY4062" fmla="*/ 1013668 h 1161399"/>
                    <a:gd name="connsiteX4063" fmla="*/ 87963 w 1661518"/>
                    <a:gd name="connsiteY4063" fmla="*/ 1015745 h 1161399"/>
                    <a:gd name="connsiteX4064" fmla="*/ 88133 w 1661518"/>
                    <a:gd name="connsiteY4064" fmla="*/ 1016291 h 1161399"/>
                    <a:gd name="connsiteX4065" fmla="*/ 88388 w 1661518"/>
                    <a:gd name="connsiteY4065" fmla="*/ 1016789 h 1161399"/>
                    <a:gd name="connsiteX4066" fmla="*/ 90428 w 1661518"/>
                    <a:gd name="connsiteY4066" fmla="*/ 1020675 h 1161399"/>
                    <a:gd name="connsiteX4067" fmla="*/ 90635 w 1661518"/>
                    <a:gd name="connsiteY4067" fmla="*/ 1021270 h 1161399"/>
                    <a:gd name="connsiteX4068" fmla="*/ 90975 w 1661518"/>
                    <a:gd name="connsiteY4068" fmla="*/ 1025932 h 1161399"/>
                    <a:gd name="connsiteX4069" fmla="*/ 91036 w 1661518"/>
                    <a:gd name="connsiteY4069" fmla="*/ 1026770 h 1161399"/>
                    <a:gd name="connsiteX4070" fmla="*/ 91315 w 1661518"/>
                    <a:gd name="connsiteY4070" fmla="*/ 1027547 h 1161399"/>
                    <a:gd name="connsiteX4071" fmla="*/ 91958 w 1661518"/>
                    <a:gd name="connsiteY4071" fmla="*/ 1029321 h 1161399"/>
                    <a:gd name="connsiteX4072" fmla="*/ 92347 w 1661518"/>
                    <a:gd name="connsiteY4072" fmla="*/ 1030389 h 1161399"/>
                    <a:gd name="connsiteX4073" fmla="*/ 93088 w 1661518"/>
                    <a:gd name="connsiteY4073" fmla="*/ 1031239 h 1161399"/>
                    <a:gd name="connsiteX4074" fmla="*/ 94678 w 1661518"/>
                    <a:gd name="connsiteY4074" fmla="*/ 1033073 h 1161399"/>
                    <a:gd name="connsiteX4075" fmla="*/ 95067 w 1661518"/>
                    <a:gd name="connsiteY4075" fmla="*/ 1033510 h 1161399"/>
                    <a:gd name="connsiteX4076" fmla="*/ 95529 w 1661518"/>
                    <a:gd name="connsiteY4076" fmla="*/ 1033874 h 1161399"/>
                    <a:gd name="connsiteX4077" fmla="*/ 98066 w 1661518"/>
                    <a:gd name="connsiteY4077" fmla="*/ 1035853 h 1161399"/>
                    <a:gd name="connsiteX4078" fmla="*/ 103215 w 1661518"/>
                    <a:gd name="connsiteY4078" fmla="*/ 1039205 h 1161399"/>
                    <a:gd name="connsiteX4079" fmla="*/ 108691 w 1661518"/>
                    <a:gd name="connsiteY4079" fmla="*/ 1043601 h 1161399"/>
                    <a:gd name="connsiteX4080" fmla="*/ 109092 w 1661518"/>
                    <a:gd name="connsiteY4080" fmla="*/ 1043916 h 1161399"/>
                    <a:gd name="connsiteX4081" fmla="*/ 109541 w 1661518"/>
                    <a:gd name="connsiteY4081" fmla="*/ 1044171 h 1161399"/>
                    <a:gd name="connsiteX4082" fmla="*/ 112711 w 1661518"/>
                    <a:gd name="connsiteY4082" fmla="*/ 1045932 h 1161399"/>
                    <a:gd name="connsiteX4083" fmla="*/ 113354 w 1661518"/>
                    <a:gd name="connsiteY4083" fmla="*/ 1046284 h 1161399"/>
                    <a:gd name="connsiteX4084" fmla="*/ 114071 w 1661518"/>
                    <a:gd name="connsiteY4084" fmla="*/ 1046478 h 1161399"/>
                    <a:gd name="connsiteX4085" fmla="*/ 122656 w 1661518"/>
                    <a:gd name="connsiteY4085" fmla="*/ 1048798 h 1161399"/>
                    <a:gd name="connsiteX4086" fmla="*/ 123567 w 1661518"/>
                    <a:gd name="connsiteY4086" fmla="*/ 1049551 h 1161399"/>
                    <a:gd name="connsiteX4087" fmla="*/ 125254 w 1661518"/>
                    <a:gd name="connsiteY4087" fmla="*/ 1051287 h 1161399"/>
                    <a:gd name="connsiteX4088" fmla="*/ 125534 w 1661518"/>
                    <a:gd name="connsiteY4088" fmla="*/ 1051578 h 1161399"/>
                    <a:gd name="connsiteX4089" fmla="*/ 125849 w 1661518"/>
                    <a:gd name="connsiteY4089" fmla="*/ 1051833 h 1161399"/>
                    <a:gd name="connsiteX4090" fmla="*/ 128144 w 1661518"/>
                    <a:gd name="connsiteY4090" fmla="*/ 1053631 h 1161399"/>
                    <a:gd name="connsiteX4091" fmla="*/ 128691 w 1661518"/>
                    <a:gd name="connsiteY4091" fmla="*/ 1054056 h 1161399"/>
                    <a:gd name="connsiteX4092" fmla="*/ 129322 w 1661518"/>
                    <a:gd name="connsiteY4092" fmla="*/ 1054347 h 1161399"/>
                    <a:gd name="connsiteX4093" fmla="*/ 131787 w 1661518"/>
                    <a:gd name="connsiteY4093" fmla="*/ 1055500 h 1161399"/>
                    <a:gd name="connsiteX4094" fmla="*/ 132698 w 1661518"/>
                    <a:gd name="connsiteY4094" fmla="*/ 1055913 h 1161399"/>
                    <a:gd name="connsiteX4095" fmla="*/ 133694 w 1661518"/>
                    <a:gd name="connsiteY4095" fmla="*/ 1056035 h 1161399"/>
                    <a:gd name="connsiteX4096" fmla="*/ 138017 w 1661518"/>
                    <a:gd name="connsiteY4096" fmla="*/ 1056521 h 1161399"/>
                    <a:gd name="connsiteX4097" fmla="*/ 138332 w 1661518"/>
                    <a:gd name="connsiteY4097" fmla="*/ 1056557 h 1161399"/>
                    <a:gd name="connsiteX4098" fmla="*/ 138648 w 1661518"/>
                    <a:gd name="connsiteY4098" fmla="*/ 1056557 h 1161399"/>
                    <a:gd name="connsiteX4099" fmla="*/ 144768 w 1661518"/>
                    <a:gd name="connsiteY4099" fmla="*/ 1056593 h 1161399"/>
                    <a:gd name="connsiteX4100" fmla="*/ 161829 w 1661518"/>
                    <a:gd name="connsiteY4100" fmla="*/ 1055015 h 1161399"/>
                    <a:gd name="connsiteX4101" fmla="*/ 163165 w 1661518"/>
                    <a:gd name="connsiteY4101" fmla="*/ 1055075 h 1161399"/>
                    <a:gd name="connsiteX4102" fmla="*/ 167864 w 1661518"/>
                    <a:gd name="connsiteY4102" fmla="*/ 1055780 h 1161399"/>
                    <a:gd name="connsiteX4103" fmla="*/ 168556 w 1661518"/>
                    <a:gd name="connsiteY4103" fmla="*/ 1055999 h 1161399"/>
                    <a:gd name="connsiteX4104" fmla="*/ 169248 w 1661518"/>
                    <a:gd name="connsiteY4104" fmla="*/ 1056411 h 1161399"/>
                    <a:gd name="connsiteX4105" fmla="*/ 171810 w 1661518"/>
                    <a:gd name="connsiteY4105" fmla="*/ 1058548 h 1161399"/>
                    <a:gd name="connsiteX4106" fmla="*/ 174640 w 1661518"/>
                    <a:gd name="connsiteY4106" fmla="*/ 1060504 h 1161399"/>
                    <a:gd name="connsiteX4107" fmla="*/ 175259 w 1661518"/>
                    <a:gd name="connsiteY4107" fmla="*/ 1060929 h 1161399"/>
                    <a:gd name="connsiteX4108" fmla="*/ 175963 w 1661518"/>
                    <a:gd name="connsiteY4108" fmla="*/ 1061184 h 1161399"/>
                    <a:gd name="connsiteX4109" fmla="*/ 178768 w 1661518"/>
                    <a:gd name="connsiteY4109" fmla="*/ 1062228 h 1161399"/>
                    <a:gd name="connsiteX4110" fmla="*/ 179630 w 1661518"/>
                    <a:gd name="connsiteY4110" fmla="*/ 1062531 h 1161399"/>
                    <a:gd name="connsiteX4111" fmla="*/ 180541 w 1661518"/>
                    <a:gd name="connsiteY4111" fmla="*/ 1062580 h 1161399"/>
                    <a:gd name="connsiteX4112" fmla="*/ 188993 w 1661518"/>
                    <a:gd name="connsiteY4112" fmla="*/ 1063041 h 1161399"/>
                    <a:gd name="connsiteX4113" fmla="*/ 193000 w 1661518"/>
                    <a:gd name="connsiteY4113" fmla="*/ 1065094 h 1161399"/>
                    <a:gd name="connsiteX4114" fmla="*/ 194202 w 1661518"/>
                    <a:gd name="connsiteY4114" fmla="*/ 1065895 h 1161399"/>
                    <a:gd name="connsiteX4115" fmla="*/ 197177 w 1661518"/>
                    <a:gd name="connsiteY4115" fmla="*/ 1068919 h 1161399"/>
                    <a:gd name="connsiteX4116" fmla="*/ 203686 w 1661518"/>
                    <a:gd name="connsiteY4116" fmla="*/ 1078038 h 1161399"/>
                    <a:gd name="connsiteX4117" fmla="*/ 205252 w 1661518"/>
                    <a:gd name="connsiteY4117" fmla="*/ 1082033 h 1161399"/>
                    <a:gd name="connsiteX4118" fmla="*/ 206576 w 1661518"/>
                    <a:gd name="connsiteY4118" fmla="*/ 1084704 h 1161399"/>
                    <a:gd name="connsiteX4119" fmla="*/ 206782 w 1661518"/>
                    <a:gd name="connsiteY4119" fmla="*/ 1085093 h 1161399"/>
                    <a:gd name="connsiteX4120" fmla="*/ 207037 w 1661518"/>
                    <a:gd name="connsiteY4120" fmla="*/ 1085457 h 1161399"/>
                    <a:gd name="connsiteX4121" fmla="*/ 208531 w 1661518"/>
                    <a:gd name="connsiteY4121" fmla="*/ 1087570 h 1161399"/>
                    <a:gd name="connsiteX4122" fmla="*/ 208968 w 1661518"/>
                    <a:gd name="connsiteY4122" fmla="*/ 1088189 h 1161399"/>
                    <a:gd name="connsiteX4123" fmla="*/ 209539 w 1661518"/>
                    <a:gd name="connsiteY4123" fmla="*/ 1088675 h 1161399"/>
                    <a:gd name="connsiteX4124" fmla="*/ 211481 w 1661518"/>
                    <a:gd name="connsiteY4124" fmla="*/ 1090339 h 1161399"/>
                    <a:gd name="connsiteX4125" fmla="*/ 212004 w 1661518"/>
                    <a:gd name="connsiteY4125" fmla="*/ 1090788 h 1161399"/>
                    <a:gd name="connsiteX4126" fmla="*/ 212611 w 1661518"/>
                    <a:gd name="connsiteY4126" fmla="*/ 1091104 h 1161399"/>
                    <a:gd name="connsiteX4127" fmla="*/ 215027 w 1661518"/>
                    <a:gd name="connsiteY4127" fmla="*/ 1092367 h 1161399"/>
                    <a:gd name="connsiteX4128" fmla="*/ 215367 w 1661518"/>
                    <a:gd name="connsiteY4128" fmla="*/ 1092549 h 1161399"/>
                    <a:gd name="connsiteX4129" fmla="*/ 215719 w 1661518"/>
                    <a:gd name="connsiteY4129" fmla="*/ 1092682 h 1161399"/>
                    <a:gd name="connsiteX4130" fmla="*/ 226284 w 1661518"/>
                    <a:gd name="connsiteY4130" fmla="*/ 1096592 h 1161399"/>
                    <a:gd name="connsiteX4131" fmla="*/ 226684 w 1661518"/>
                    <a:gd name="connsiteY4131" fmla="*/ 1096750 h 1161399"/>
                    <a:gd name="connsiteX4132" fmla="*/ 227097 w 1661518"/>
                    <a:gd name="connsiteY4132" fmla="*/ 1096835 h 1161399"/>
                    <a:gd name="connsiteX4133" fmla="*/ 246271 w 1661518"/>
                    <a:gd name="connsiteY4133" fmla="*/ 1101025 h 1161399"/>
                    <a:gd name="connsiteX4134" fmla="*/ 247194 w 1661518"/>
                    <a:gd name="connsiteY4134" fmla="*/ 1101231 h 1161399"/>
                    <a:gd name="connsiteX4135" fmla="*/ 248141 w 1661518"/>
                    <a:gd name="connsiteY4135" fmla="*/ 1101146 h 1161399"/>
                    <a:gd name="connsiteX4136" fmla="*/ 253897 w 1661518"/>
                    <a:gd name="connsiteY4136" fmla="*/ 1100600 h 1161399"/>
                    <a:gd name="connsiteX4137" fmla="*/ 254917 w 1661518"/>
                    <a:gd name="connsiteY4137" fmla="*/ 1100818 h 1161399"/>
                    <a:gd name="connsiteX4138" fmla="*/ 256046 w 1661518"/>
                    <a:gd name="connsiteY4138" fmla="*/ 1101231 h 1161399"/>
                    <a:gd name="connsiteX4139" fmla="*/ 256362 w 1661518"/>
                    <a:gd name="connsiteY4139" fmla="*/ 1101340 h 1161399"/>
                    <a:gd name="connsiteX4140" fmla="*/ 256690 w 1661518"/>
                    <a:gd name="connsiteY4140" fmla="*/ 1101425 h 1161399"/>
                    <a:gd name="connsiteX4141" fmla="*/ 259155 w 1661518"/>
                    <a:gd name="connsiteY4141" fmla="*/ 1102032 h 1161399"/>
                    <a:gd name="connsiteX4142" fmla="*/ 259871 w 1661518"/>
                    <a:gd name="connsiteY4142" fmla="*/ 1102215 h 1161399"/>
                    <a:gd name="connsiteX4143" fmla="*/ 260612 w 1661518"/>
                    <a:gd name="connsiteY4143" fmla="*/ 1102215 h 1161399"/>
                    <a:gd name="connsiteX4144" fmla="*/ 278765 w 1661518"/>
                    <a:gd name="connsiteY4144" fmla="*/ 1102215 h 1161399"/>
                    <a:gd name="connsiteX4145" fmla="*/ 286173 w 1661518"/>
                    <a:gd name="connsiteY4145" fmla="*/ 1103065 h 1161399"/>
                    <a:gd name="connsiteX4146" fmla="*/ 286549 w 1661518"/>
                    <a:gd name="connsiteY4146" fmla="*/ 1103101 h 1161399"/>
                    <a:gd name="connsiteX4147" fmla="*/ 286925 w 1661518"/>
                    <a:gd name="connsiteY4147" fmla="*/ 1103101 h 1161399"/>
                    <a:gd name="connsiteX4148" fmla="*/ 289451 w 1661518"/>
                    <a:gd name="connsiteY4148" fmla="*/ 1103077 h 1161399"/>
                    <a:gd name="connsiteX4149" fmla="*/ 290180 w 1661518"/>
                    <a:gd name="connsiteY4149" fmla="*/ 1103065 h 1161399"/>
                    <a:gd name="connsiteX4150" fmla="*/ 290884 w 1661518"/>
                    <a:gd name="connsiteY4150" fmla="*/ 1102882 h 1161399"/>
                    <a:gd name="connsiteX4151" fmla="*/ 296822 w 1661518"/>
                    <a:gd name="connsiteY4151" fmla="*/ 1101389 h 1161399"/>
                    <a:gd name="connsiteX4152" fmla="*/ 300319 w 1661518"/>
                    <a:gd name="connsiteY4152" fmla="*/ 1101316 h 1161399"/>
                    <a:gd name="connsiteX4153" fmla="*/ 300866 w 1661518"/>
                    <a:gd name="connsiteY4153" fmla="*/ 1101304 h 1161399"/>
                    <a:gd name="connsiteX4154" fmla="*/ 301400 w 1661518"/>
                    <a:gd name="connsiteY4154" fmla="*/ 1101194 h 1161399"/>
                    <a:gd name="connsiteX4155" fmla="*/ 304290 w 1661518"/>
                    <a:gd name="connsiteY4155" fmla="*/ 1100611 h 1161399"/>
                    <a:gd name="connsiteX4156" fmla="*/ 306233 w 1661518"/>
                    <a:gd name="connsiteY4156" fmla="*/ 1100430 h 1161399"/>
                    <a:gd name="connsiteX4157" fmla="*/ 312656 w 1661518"/>
                    <a:gd name="connsiteY4157" fmla="*/ 1101364 h 1161399"/>
                    <a:gd name="connsiteX4158" fmla="*/ 321326 w 1661518"/>
                    <a:gd name="connsiteY4158" fmla="*/ 1101814 h 1161399"/>
                    <a:gd name="connsiteX4159" fmla="*/ 321630 w 1661518"/>
                    <a:gd name="connsiteY4159" fmla="*/ 1101838 h 1161399"/>
                    <a:gd name="connsiteX4160" fmla="*/ 321934 w 1661518"/>
                    <a:gd name="connsiteY4160" fmla="*/ 1101814 h 1161399"/>
                    <a:gd name="connsiteX4161" fmla="*/ 342091 w 1661518"/>
                    <a:gd name="connsiteY4161" fmla="*/ 1100769 h 1161399"/>
                    <a:gd name="connsiteX4162" fmla="*/ 342722 w 1661518"/>
                    <a:gd name="connsiteY4162" fmla="*/ 1100745 h 1161399"/>
                    <a:gd name="connsiteX4163" fmla="*/ 343342 w 1661518"/>
                    <a:gd name="connsiteY4163" fmla="*/ 1100575 h 1161399"/>
                    <a:gd name="connsiteX4164" fmla="*/ 353712 w 1661518"/>
                    <a:gd name="connsiteY4164" fmla="*/ 1097794 h 1161399"/>
                    <a:gd name="connsiteX4165" fmla="*/ 357610 w 1661518"/>
                    <a:gd name="connsiteY4165" fmla="*/ 1098912 h 1161399"/>
                    <a:gd name="connsiteX4166" fmla="*/ 358508 w 1661518"/>
                    <a:gd name="connsiteY4166" fmla="*/ 1099167 h 1161399"/>
                    <a:gd name="connsiteX4167" fmla="*/ 359443 w 1661518"/>
                    <a:gd name="connsiteY4167" fmla="*/ 1099143 h 1161399"/>
                    <a:gd name="connsiteX4168" fmla="*/ 364555 w 1661518"/>
                    <a:gd name="connsiteY4168" fmla="*/ 1099009 h 1161399"/>
                    <a:gd name="connsiteX4169" fmla="*/ 366316 w 1661518"/>
                    <a:gd name="connsiteY4169" fmla="*/ 1099191 h 1161399"/>
                    <a:gd name="connsiteX4170" fmla="*/ 372011 w 1661518"/>
                    <a:gd name="connsiteY4170" fmla="*/ 1101364 h 1161399"/>
                    <a:gd name="connsiteX4171" fmla="*/ 372339 w 1661518"/>
                    <a:gd name="connsiteY4171" fmla="*/ 1101486 h 1161399"/>
                    <a:gd name="connsiteX4172" fmla="*/ 372679 w 1661518"/>
                    <a:gd name="connsiteY4172" fmla="*/ 1101571 h 1161399"/>
                    <a:gd name="connsiteX4173" fmla="*/ 382600 w 1661518"/>
                    <a:gd name="connsiteY4173" fmla="*/ 1104072 h 1161399"/>
                    <a:gd name="connsiteX4174" fmla="*/ 383195 w 1661518"/>
                    <a:gd name="connsiteY4174" fmla="*/ 1104230 h 1161399"/>
                    <a:gd name="connsiteX4175" fmla="*/ 383802 w 1661518"/>
                    <a:gd name="connsiteY4175" fmla="*/ 1104255 h 1161399"/>
                    <a:gd name="connsiteX4176" fmla="*/ 385599 w 1661518"/>
                    <a:gd name="connsiteY4176" fmla="*/ 1104339 h 1161399"/>
                    <a:gd name="connsiteX4177" fmla="*/ 386158 w 1661518"/>
                    <a:gd name="connsiteY4177" fmla="*/ 1104376 h 1161399"/>
                    <a:gd name="connsiteX4178" fmla="*/ 386716 w 1661518"/>
                    <a:gd name="connsiteY4178" fmla="*/ 1104291 h 1161399"/>
                    <a:gd name="connsiteX4179" fmla="*/ 388598 w 1661518"/>
                    <a:gd name="connsiteY4179" fmla="*/ 1104036 h 1161399"/>
                    <a:gd name="connsiteX4180" fmla="*/ 388950 w 1661518"/>
                    <a:gd name="connsiteY4180" fmla="*/ 1103987 h 1161399"/>
                    <a:gd name="connsiteX4181" fmla="*/ 389290 w 1661518"/>
                    <a:gd name="connsiteY4181" fmla="*/ 1103903 h 1161399"/>
                    <a:gd name="connsiteX4182" fmla="*/ 389618 w 1661518"/>
                    <a:gd name="connsiteY4182" fmla="*/ 1103805 h 1161399"/>
                    <a:gd name="connsiteX4183" fmla="*/ 391573 w 1661518"/>
                    <a:gd name="connsiteY4183" fmla="*/ 1107557 h 1161399"/>
                    <a:gd name="connsiteX4184" fmla="*/ 395131 w 1661518"/>
                    <a:gd name="connsiteY4184" fmla="*/ 1116325 h 1161399"/>
                    <a:gd name="connsiteX4185" fmla="*/ 395496 w 1661518"/>
                    <a:gd name="connsiteY4185" fmla="*/ 1123695 h 1161399"/>
                    <a:gd name="connsiteX4186" fmla="*/ 395520 w 1661518"/>
                    <a:gd name="connsiteY4186" fmla="*/ 1124217 h 1161399"/>
                    <a:gd name="connsiteX4187" fmla="*/ 395629 w 1661518"/>
                    <a:gd name="connsiteY4187" fmla="*/ 1124728 h 1161399"/>
                    <a:gd name="connsiteX4188" fmla="*/ 396734 w 1661518"/>
                    <a:gd name="connsiteY4188" fmla="*/ 1129657 h 1161399"/>
                    <a:gd name="connsiteX4189" fmla="*/ 395714 w 1661518"/>
                    <a:gd name="connsiteY4189" fmla="*/ 1129913 h 1161399"/>
                    <a:gd name="connsiteX4190" fmla="*/ 394828 w 1661518"/>
                    <a:gd name="connsiteY4190" fmla="*/ 1130143 h 1161399"/>
                    <a:gd name="connsiteX4191" fmla="*/ 394051 w 1661518"/>
                    <a:gd name="connsiteY4191" fmla="*/ 1130617 h 1161399"/>
                    <a:gd name="connsiteX4192" fmla="*/ 393480 w 1661518"/>
                    <a:gd name="connsiteY4192" fmla="*/ 1130957 h 1161399"/>
                    <a:gd name="connsiteX4193" fmla="*/ 392363 w 1661518"/>
                    <a:gd name="connsiteY4193" fmla="*/ 1131625 h 1161399"/>
                    <a:gd name="connsiteX4194" fmla="*/ 391622 w 1661518"/>
                    <a:gd name="connsiteY4194" fmla="*/ 1132693 h 1161399"/>
                    <a:gd name="connsiteX4195" fmla="*/ 391221 w 1661518"/>
                    <a:gd name="connsiteY4195" fmla="*/ 1133276 h 1161399"/>
                    <a:gd name="connsiteX4196" fmla="*/ 390614 w 1661518"/>
                    <a:gd name="connsiteY4196" fmla="*/ 1134151 h 1161399"/>
                    <a:gd name="connsiteX4197" fmla="*/ 390347 w 1661518"/>
                    <a:gd name="connsiteY4197" fmla="*/ 1135195 h 1161399"/>
                    <a:gd name="connsiteX4198" fmla="*/ 390140 w 1661518"/>
                    <a:gd name="connsiteY4198" fmla="*/ 1135947 h 1161399"/>
                    <a:gd name="connsiteX4199" fmla="*/ 390019 w 1661518"/>
                    <a:gd name="connsiteY4199" fmla="*/ 1137186 h 1161399"/>
                    <a:gd name="connsiteX4200" fmla="*/ 390019 w 1661518"/>
                    <a:gd name="connsiteY4200" fmla="*/ 1138012 h 1161399"/>
                    <a:gd name="connsiteX4201" fmla="*/ 390250 w 1661518"/>
                    <a:gd name="connsiteY4201" fmla="*/ 1139360 h 1161399"/>
                    <a:gd name="connsiteX4202" fmla="*/ 390480 w 1661518"/>
                    <a:gd name="connsiteY4202" fmla="*/ 1140185 h 1161399"/>
                    <a:gd name="connsiteX4203" fmla="*/ 390663 w 1661518"/>
                    <a:gd name="connsiteY4203" fmla="*/ 1140817 h 1161399"/>
                    <a:gd name="connsiteX4204" fmla="*/ 390966 w 1661518"/>
                    <a:gd name="connsiteY4204" fmla="*/ 1141400 h 1161399"/>
                    <a:gd name="connsiteX4205" fmla="*/ 391658 w 1661518"/>
                    <a:gd name="connsiteY4205" fmla="*/ 1142711 h 1161399"/>
                    <a:gd name="connsiteX4206" fmla="*/ 391877 w 1661518"/>
                    <a:gd name="connsiteY4206" fmla="*/ 1143100 h 1161399"/>
                    <a:gd name="connsiteX4207" fmla="*/ 392144 w 1661518"/>
                    <a:gd name="connsiteY4207" fmla="*/ 1143464 h 1161399"/>
                    <a:gd name="connsiteX4208" fmla="*/ 398811 w 1661518"/>
                    <a:gd name="connsiteY4208" fmla="*/ 1152535 h 1161399"/>
                    <a:gd name="connsiteX4209" fmla="*/ 399563 w 1661518"/>
                    <a:gd name="connsiteY4209" fmla="*/ 1153567 h 1161399"/>
                    <a:gd name="connsiteX4210" fmla="*/ 400668 w 1661518"/>
                    <a:gd name="connsiteY4210" fmla="*/ 1154210 h 1161399"/>
                    <a:gd name="connsiteX4211" fmla="*/ 404955 w 1661518"/>
                    <a:gd name="connsiteY4211" fmla="*/ 1156675 h 1161399"/>
                    <a:gd name="connsiteX4212" fmla="*/ 405222 w 1661518"/>
                    <a:gd name="connsiteY4212" fmla="*/ 1156833 h 1161399"/>
                    <a:gd name="connsiteX4213" fmla="*/ 405501 w 1661518"/>
                    <a:gd name="connsiteY4213" fmla="*/ 1156955 h 1161399"/>
                    <a:gd name="connsiteX4214" fmla="*/ 409241 w 1661518"/>
                    <a:gd name="connsiteY4214" fmla="*/ 1158631 h 1161399"/>
                    <a:gd name="connsiteX4215" fmla="*/ 410091 w 1661518"/>
                    <a:gd name="connsiteY4215" fmla="*/ 1159019 h 1161399"/>
                    <a:gd name="connsiteX4216" fmla="*/ 411026 w 1661518"/>
                    <a:gd name="connsiteY4216" fmla="*/ 1159128 h 1161399"/>
                    <a:gd name="connsiteX4217" fmla="*/ 429751 w 1661518"/>
                    <a:gd name="connsiteY4217" fmla="*/ 1161278 h 1161399"/>
                    <a:gd name="connsiteX4218" fmla="*/ 430807 w 1661518"/>
                    <a:gd name="connsiteY4218" fmla="*/ 1161399 h 1161399"/>
                    <a:gd name="connsiteX4219" fmla="*/ 431839 w 1661518"/>
                    <a:gd name="connsiteY4219" fmla="*/ 1161144 h 1161399"/>
                    <a:gd name="connsiteX4220" fmla="*/ 437182 w 1661518"/>
                    <a:gd name="connsiteY4220" fmla="*/ 1159881 h 1161399"/>
                    <a:gd name="connsiteX4221" fmla="*/ 448232 w 1661518"/>
                    <a:gd name="connsiteY4221" fmla="*/ 1158946 h 1161399"/>
                    <a:gd name="connsiteX4222" fmla="*/ 448949 w 1661518"/>
                    <a:gd name="connsiteY4222" fmla="*/ 1158886 h 1161399"/>
                    <a:gd name="connsiteX4223" fmla="*/ 449629 w 1661518"/>
                    <a:gd name="connsiteY4223" fmla="*/ 1158655 h 1161399"/>
                    <a:gd name="connsiteX4224" fmla="*/ 455530 w 1661518"/>
                    <a:gd name="connsiteY4224" fmla="*/ 1156700 h 1161399"/>
                    <a:gd name="connsiteX4225" fmla="*/ 460982 w 1661518"/>
                    <a:gd name="connsiteY4225" fmla="*/ 1154368 h 1161399"/>
                    <a:gd name="connsiteX4226" fmla="*/ 462257 w 1661518"/>
                    <a:gd name="connsiteY4226" fmla="*/ 1153810 h 1161399"/>
                    <a:gd name="connsiteX4227" fmla="*/ 463168 w 1661518"/>
                    <a:gd name="connsiteY4227" fmla="*/ 1152741 h 1161399"/>
                    <a:gd name="connsiteX4228" fmla="*/ 465633 w 1661518"/>
                    <a:gd name="connsiteY4228" fmla="*/ 1149863 h 1161399"/>
                    <a:gd name="connsiteX4229" fmla="*/ 465900 w 1661518"/>
                    <a:gd name="connsiteY4229" fmla="*/ 1149547 h 1161399"/>
                    <a:gd name="connsiteX4230" fmla="*/ 466131 w 1661518"/>
                    <a:gd name="connsiteY4230" fmla="*/ 1149195 h 1161399"/>
                    <a:gd name="connsiteX4231" fmla="*/ 469628 w 1661518"/>
                    <a:gd name="connsiteY4231" fmla="*/ 1143743 h 1161399"/>
                    <a:gd name="connsiteX4232" fmla="*/ 471450 w 1661518"/>
                    <a:gd name="connsiteY4232" fmla="*/ 1141485 h 1161399"/>
                    <a:gd name="connsiteX4233" fmla="*/ 473453 w 1661518"/>
                    <a:gd name="connsiteY4233" fmla="*/ 1139700 h 1161399"/>
                    <a:gd name="connsiteX4234" fmla="*/ 476768 w 1661518"/>
                    <a:gd name="connsiteY4234" fmla="*/ 1138182 h 1161399"/>
                    <a:gd name="connsiteX4235" fmla="*/ 479245 w 1661518"/>
                    <a:gd name="connsiteY4235" fmla="*/ 1137660 h 1161399"/>
                    <a:gd name="connsiteX4236" fmla="*/ 492481 w 1661518"/>
                    <a:gd name="connsiteY4236" fmla="*/ 1136275 h 1161399"/>
                    <a:gd name="connsiteX4237" fmla="*/ 493744 w 1661518"/>
                    <a:gd name="connsiteY4237" fmla="*/ 1136142 h 1161399"/>
                    <a:gd name="connsiteX4238" fmla="*/ 494849 w 1661518"/>
                    <a:gd name="connsiteY4238" fmla="*/ 1135511 h 1161399"/>
                    <a:gd name="connsiteX4239" fmla="*/ 497047 w 1661518"/>
                    <a:gd name="connsiteY4239" fmla="*/ 1134260 h 1161399"/>
                    <a:gd name="connsiteX4240" fmla="*/ 497897 w 1661518"/>
                    <a:gd name="connsiteY4240" fmla="*/ 1133774 h 1161399"/>
                    <a:gd name="connsiteX4241" fmla="*/ 498553 w 1661518"/>
                    <a:gd name="connsiteY4241" fmla="*/ 1133033 h 1161399"/>
                    <a:gd name="connsiteX4242" fmla="*/ 500508 w 1661518"/>
                    <a:gd name="connsiteY4242" fmla="*/ 1130848 h 1161399"/>
                    <a:gd name="connsiteX4243" fmla="*/ 500860 w 1661518"/>
                    <a:gd name="connsiteY4243" fmla="*/ 1130459 h 1161399"/>
                    <a:gd name="connsiteX4244" fmla="*/ 501139 w 1661518"/>
                    <a:gd name="connsiteY4244" fmla="*/ 1130010 h 1161399"/>
                    <a:gd name="connsiteX4245" fmla="*/ 502803 w 1661518"/>
                    <a:gd name="connsiteY4245" fmla="*/ 1127351 h 1161399"/>
                    <a:gd name="connsiteX4246" fmla="*/ 502985 w 1661518"/>
                    <a:gd name="connsiteY4246" fmla="*/ 1127071 h 1161399"/>
                    <a:gd name="connsiteX4247" fmla="*/ 503130 w 1661518"/>
                    <a:gd name="connsiteY4247" fmla="*/ 1126779 h 1161399"/>
                    <a:gd name="connsiteX4248" fmla="*/ 504806 w 1661518"/>
                    <a:gd name="connsiteY4248" fmla="*/ 1123295 h 1161399"/>
                    <a:gd name="connsiteX4249" fmla="*/ 505425 w 1661518"/>
                    <a:gd name="connsiteY4249" fmla="*/ 1122008 h 1161399"/>
                    <a:gd name="connsiteX4250" fmla="*/ 505413 w 1661518"/>
                    <a:gd name="connsiteY4250" fmla="*/ 1120587 h 1161399"/>
                    <a:gd name="connsiteX4251" fmla="*/ 505292 w 1661518"/>
                    <a:gd name="connsiteY4251" fmla="*/ 1112232 h 1161399"/>
                    <a:gd name="connsiteX4252" fmla="*/ 505280 w 1661518"/>
                    <a:gd name="connsiteY4252" fmla="*/ 1110860 h 1161399"/>
                    <a:gd name="connsiteX4253" fmla="*/ 504673 w 1661518"/>
                    <a:gd name="connsiteY4253" fmla="*/ 1109622 h 1161399"/>
                    <a:gd name="connsiteX4254" fmla="*/ 502256 w 1661518"/>
                    <a:gd name="connsiteY4254" fmla="*/ 1104740 h 1161399"/>
                    <a:gd name="connsiteX4255" fmla="*/ 502025 w 1661518"/>
                    <a:gd name="connsiteY4255" fmla="*/ 1104097 h 1161399"/>
                    <a:gd name="connsiteX4256" fmla="*/ 505778 w 1661518"/>
                    <a:gd name="connsiteY4256" fmla="*/ 1101304 h 1161399"/>
                    <a:gd name="connsiteX4257" fmla="*/ 512638 w 1661518"/>
                    <a:gd name="connsiteY4257" fmla="*/ 1097539 h 1161399"/>
                    <a:gd name="connsiteX4258" fmla="*/ 515213 w 1661518"/>
                    <a:gd name="connsiteY4258" fmla="*/ 1095815 h 1161399"/>
                    <a:gd name="connsiteX4259" fmla="*/ 515784 w 1661518"/>
                    <a:gd name="connsiteY4259" fmla="*/ 1095439 h 1161399"/>
                    <a:gd name="connsiteX4260" fmla="*/ 516257 w 1661518"/>
                    <a:gd name="connsiteY4260" fmla="*/ 1094929 h 1161399"/>
                    <a:gd name="connsiteX4261" fmla="*/ 517981 w 1661518"/>
                    <a:gd name="connsiteY4261" fmla="*/ 1093071 h 1161399"/>
                    <a:gd name="connsiteX4262" fmla="*/ 518613 w 1661518"/>
                    <a:gd name="connsiteY4262" fmla="*/ 1092379 h 1161399"/>
                    <a:gd name="connsiteX4263" fmla="*/ 519013 w 1661518"/>
                    <a:gd name="connsiteY4263" fmla="*/ 1091541 h 1161399"/>
                    <a:gd name="connsiteX4264" fmla="*/ 522486 w 1661518"/>
                    <a:gd name="connsiteY4264" fmla="*/ 1084182 h 1161399"/>
                    <a:gd name="connsiteX4265" fmla="*/ 522948 w 1661518"/>
                    <a:gd name="connsiteY4265" fmla="*/ 1083551 h 1161399"/>
                    <a:gd name="connsiteX4266" fmla="*/ 524660 w 1661518"/>
                    <a:gd name="connsiteY4266" fmla="*/ 1082179 h 1161399"/>
                    <a:gd name="connsiteX4267" fmla="*/ 525012 w 1661518"/>
                    <a:gd name="connsiteY4267" fmla="*/ 1081887 h 1161399"/>
                    <a:gd name="connsiteX4268" fmla="*/ 525328 w 1661518"/>
                    <a:gd name="connsiteY4268" fmla="*/ 1081559 h 1161399"/>
                    <a:gd name="connsiteX4269" fmla="*/ 526870 w 1661518"/>
                    <a:gd name="connsiteY4269" fmla="*/ 1079883 h 1161399"/>
                    <a:gd name="connsiteX4270" fmla="*/ 527538 w 1661518"/>
                    <a:gd name="connsiteY4270" fmla="*/ 1079167 h 1161399"/>
                    <a:gd name="connsiteX4271" fmla="*/ 527939 w 1661518"/>
                    <a:gd name="connsiteY4271" fmla="*/ 1078269 h 1161399"/>
                    <a:gd name="connsiteX4272" fmla="*/ 529092 w 1661518"/>
                    <a:gd name="connsiteY4272" fmla="*/ 1075719 h 1161399"/>
                    <a:gd name="connsiteX4273" fmla="*/ 529639 w 1661518"/>
                    <a:gd name="connsiteY4273" fmla="*/ 1074201 h 1161399"/>
                    <a:gd name="connsiteX4274" fmla="*/ 529784 w 1661518"/>
                    <a:gd name="connsiteY4274" fmla="*/ 1073763 h 1161399"/>
                    <a:gd name="connsiteX4275" fmla="*/ 529869 w 1661518"/>
                    <a:gd name="connsiteY4275" fmla="*/ 1073302 h 1161399"/>
                    <a:gd name="connsiteX4276" fmla="*/ 529991 w 1661518"/>
                    <a:gd name="connsiteY4276" fmla="*/ 1072598 h 1161399"/>
                    <a:gd name="connsiteX4277" fmla="*/ 530088 w 1661518"/>
                    <a:gd name="connsiteY4277" fmla="*/ 1072064 h 1161399"/>
                    <a:gd name="connsiteX4278" fmla="*/ 530088 w 1661518"/>
                    <a:gd name="connsiteY4278" fmla="*/ 1071529 h 1161399"/>
                    <a:gd name="connsiteX4279" fmla="*/ 530088 w 1661518"/>
                    <a:gd name="connsiteY4279" fmla="*/ 1071274 h 1161399"/>
                    <a:gd name="connsiteX4280" fmla="*/ 530064 w 1661518"/>
                    <a:gd name="connsiteY4280" fmla="*/ 1070436 h 1161399"/>
                    <a:gd name="connsiteX4281" fmla="*/ 530039 w 1661518"/>
                    <a:gd name="connsiteY4281" fmla="*/ 1070121 h 1161399"/>
                    <a:gd name="connsiteX4282" fmla="*/ 530234 w 1661518"/>
                    <a:gd name="connsiteY4282" fmla="*/ 1066648 h 1161399"/>
                    <a:gd name="connsiteX4283" fmla="*/ 530416 w 1661518"/>
                    <a:gd name="connsiteY4283" fmla="*/ 1065786 h 1161399"/>
                    <a:gd name="connsiteX4284" fmla="*/ 530501 w 1661518"/>
                    <a:gd name="connsiteY4284" fmla="*/ 1065373 h 1161399"/>
                    <a:gd name="connsiteX4285" fmla="*/ 530525 w 1661518"/>
                    <a:gd name="connsiteY4285" fmla="*/ 1064960 h 1161399"/>
                    <a:gd name="connsiteX4286" fmla="*/ 530707 w 1661518"/>
                    <a:gd name="connsiteY4286" fmla="*/ 1062495 h 1161399"/>
                    <a:gd name="connsiteX4287" fmla="*/ 531217 w 1661518"/>
                    <a:gd name="connsiteY4287" fmla="*/ 1059399 h 1161399"/>
                    <a:gd name="connsiteX4288" fmla="*/ 533124 w 1661518"/>
                    <a:gd name="connsiteY4288" fmla="*/ 1057140 h 1161399"/>
                    <a:gd name="connsiteX4289" fmla="*/ 536172 w 1661518"/>
                    <a:gd name="connsiteY4289" fmla="*/ 1055719 h 1161399"/>
                    <a:gd name="connsiteX4290" fmla="*/ 545376 w 1661518"/>
                    <a:gd name="connsiteY4290" fmla="*/ 1055816 h 1161399"/>
                    <a:gd name="connsiteX4291" fmla="*/ 546372 w 1661518"/>
                    <a:gd name="connsiteY4291" fmla="*/ 1055828 h 1161399"/>
                    <a:gd name="connsiteX4292" fmla="*/ 547319 w 1661518"/>
                    <a:gd name="connsiteY4292" fmla="*/ 1055525 h 1161399"/>
                    <a:gd name="connsiteX4293" fmla="*/ 550585 w 1661518"/>
                    <a:gd name="connsiteY4293" fmla="*/ 1054456 h 1161399"/>
                    <a:gd name="connsiteX4294" fmla="*/ 551459 w 1661518"/>
                    <a:gd name="connsiteY4294" fmla="*/ 1054177 h 1161399"/>
                    <a:gd name="connsiteX4295" fmla="*/ 552212 w 1661518"/>
                    <a:gd name="connsiteY4295" fmla="*/ 1053643 h 1161399"/>
                    <a:gd name="connsiteX4296" fmla="*/ 572709 w 1661518"/>
                    <a:gd name="connsiteY4296" fmla="*/ 1039132 h 1161399"/>
                    <a:gd name="connsiteX4297" fmla="*/ 579388 w 1661518"/>
                    <a:gd name="connsiteY4297" fmla="*/ 1035926 h 1161399"/>
                    <a:gd name="connsiteX4298" fmla="*/ 586917 w 1661518"/>
                    <a:gd name="connsiteY4298" fmla="*/ 1033874 h 1161399"/>
                    <a:gd name="connsiteX4299" fmla="*/ 595271 w 1661518"/>
                    <a:gd name="connsiteY4299" fmla="*/ 1033194 h 1161399"/>
                    <a:gd name="connsiteX4300" fmla="*/ 595490 w 1661518"/>
                    <a:gd name="connsiteY4300" fmla="*/ 1033231 h 1161399"/>
                    <a:gd name="connsiteX4301" fmla="*/ 595635 w 1661518"/>
                    <a:gd name="connsiteY4301" fmla="*/ 1033485 h 1161399"/>
                    <a:gd name="connsiteX4302" fmla="*/ 595975 w 1661518"/>
                    <a:gd name="connsiteY4302" fmla="*/ 1033898 h 1161399"/>
                    <a:gd name="connsiteX4303" fmla="*/ 596777 w 1661518"/>
                    <a:gd name="connsiteY4303" fmla="*/ 1034882 h 1161399"/>
                    <a:gd name="connsiteX4304" fmla="*/ 597093 w 1661518"/>
                    <a:gd name="connsiteY4304" fmla="*/ 1035271 h 1161399"/>
                    <a:gd name="connsiteX4305" fmla="*/ 597469 w 1661518"/>
                    <a:gd name="connsiteY4305" fmla="*/ 1035598 h 1161399"/>
                    <a:gd name="connsiteX4306" fmla="*/ 598453 w 1661518"/>
                    <a:gd name="connsiteY4306" fmla="*/ 1036460 h 1161399"/>
                    <a:gd name="connsiteX4307" fmla="*/ 599254 w 1661518"/>
                    <a:gd name="connsiteY4307" fmla="*/ 1037177 h 1161399"/>
                    <a:gd name="connsiteX4308" fmla="*/ 600262 w 1661518"/>
                    <a:gd name="connsiteY4308" fmla="*/ 1037565 h 1161399"/>
                    <a:gd name="connsiteX4309" fmla="*/ 601513 w 1661518"/>
                    <a:gd name="connsiteY4309" fmla="*/ 1038051 h 1161399"/>
                    <a:gd name="connsiteX4310" fmla="*/ 602533 w 1661518"/>
                    <a:gd name="connsiteY4310" fmla="*/ 1038452 h 1161399"/>
                    <a:gd name="connsiteX4311" fmla="*/ 603613 w 1661518"/>
                    <a:gd name="connsiteY4311" fmla="*/ 1038464 h 1161399"/>
                    <a:gd name="connsiteX4312" fmla="*/ 605168 w 1661518"/>
                    <a:gd name="connsiteY4312" fmla="*/ 1038488 h 1161399"/>
                    <a:gd name="connsiteX4313" fmla="*/ 606309 w 1661518"/>
                    <a:gd name="connsiteY4313" fmla="*/ 1038500 h 1161399"/>
                    <a:gd name="connsiteX4314" fmla="*/ 607378 w 1661518"/>
                    <a:gd name="connsiteY4314" fmla="*/ 1038112 h 1161399"/>
                    <a:gd name="connsiteX4315" fmla="*/ 609381 w 1661518"/>
                    <a:gd name="connsiteY4315" fmla="*/ 1037359 h 1161399"/>
                    <a:gd name="connsiteX4316" fmla="*/ 610073 w 1661518"/>
                    <a:gd name="connsiteY4316" fmla="*/ 1037104 h 1161399"/>
                    <a:gd name="connsiteX4317" fmla="*/ 610681 w 1661518"/>
                    <a:gd name="connsiteY4317" fmla="*/ 1036691 h 1161399"/>
                    <a:gd name="connsiteX4318" fmla="*/ 612113 w 1661518"/>
                    <a:gd name="connsiteY4318" fmla="*/ 1035720 h 1161399"/>
                    <a:gd name="connsiteX4319" fmla="*/ 612988 w 1661518"/>
                    <a:gd name="connsiteY4319" fmla="*/ 1035125 h 1161399"/>
                    <a:gd name="connsiteX4320" fmla="*/ 613607 w 1661518"/>
                    <a:gd name="connsiteY4320" fmla="*/ 1034275 h 1161399"/>
                    <a:gd name="connsiteX4321" fmla="*/ 614651 w 1661518"/>
                    <a:gd name="connsiteY4321" fmla="*/ 1032842 h 1161399"/>
                    <a:gd name="connsiteX4322" fmla="*/ 614882 w 1661518"/>
                    <a:gd name="connsiteY4322" fmla="*/ 1032538 h 1161399"/>
                    <a:gd name="connsiteX4323" fmla="*/ 615064 w 1661518"/>
                    <a:gd name="connsiteY4323" fmla="*/ 1032210 h 1161399"/>
                    <a:gd name="connsiteX4324" fmla="*/ 615574 w 1661518"/>
                    <a:gd name="connsiteY4324" fmla="*/ 1031288 h 1161399"/>
                    <a:gd name="connsiteX4325" fmla="*/ 619071 w 1661518"/>
                    <a:gd name="connsiteY4325" fmla="*/ 1030535 h 1161399"/>
                    <a:gd name="connsiteX4326" fmla="*/ 620286 w 1661518"/>
                    <a:gd name="connsiteY4326" fmla="*/ 1030280 h 1161399"/>
                    <a:gd name="connsiteX4327" fmla="*/ 621293 w 1661518"/>
                    <a:gd name="connsiteY4327" fmla="*/ 1029563 h 1161399"/>
                    <a:gd name="connsiteX4328" fmla="*/ 623358 w 1661518"/>
                    <a:gd name="connsiteY4328" fmla="*/ 1028106 h 1161399"/>
                    <a:gd name="connsiteX4329" fmla="*/ 624329 w 1661518"/>
                    <a:gd name="connsiteY4329" fmla="*/ 1027426 h 1161399"/>
                    <a:gd name="connsiteX4330" fmla="*/ 624973 w 1661518"/>
                    <a:gd name="connsiteY4330" fmla="*/ 1026430 h 1161399"/>
                    <a:gd name="connsiteX4331" fmla="*/ 626066 w 1661518"/>
                    <a:gd name="connsiteY4331" fmla="*/ 1024718 h 1161399"/>
                    <a:gd name="connsiteX4332" fmla="*/ 626503 w 1661518"/>
                    <a:gd name="connsiteY4332" fmla="*/ 1024366 h 1161399"/>
                    <a:gd name="connsiteX4333" fmla="*/ 627474 w 1661518"/>
                    <a:gd name="connsiteY4333" fmla="*/ 1024087 h 1161399"/>
                    <a:gd name="connsiteX4334" fmla="*/ 649902 w 1661518"/>
                    <a:gd name="connsiteY4334" fmla="*/ 1024888 h 1161399"/>
                    <a:gd name="connsiteX4335" fmla="*/ 651141 w 1661518"/>
                    <a:gd name="connsiteY4335" fmla="*/ 1025143 h 1161399"/>
                    <a:gd name="connsiteX4336" fmla="*/ 651833 w 1661518"/>
                    <a:gd name="connsiteY4336" fmla="*/ 1025496 h 1161399"/>
                    <a:gd name="connsiteX4337" fmla="*/ 651833 w 1661518"/>
                    <a:gd name="connsiteY4337" fmla="*/ 1025496 h 1161399"/>
                    <a:gd name="connsiteX4338" fmla="*/ 651942 w 1661518"/>
                    <a:gd name="connsiteY4338" fmla="*/ 1025932 h 1161399"/>
                    <a:gd name="connsiteX4339" fmla="*/ 652076 w 1661518"/>
                    <a:gd name="connsiteY4339" fmla="*/ 1026491 h 1161399"/>
                    <a:gd name="connsiteX4340" fmla="*/ 652307 w 1661518"/>
                    <a:gd name="connsiteY4340" fmla="*/ 1027001 h 1161399"/>
                    <a:gd name="connsiteX4341" fmla="*/ 652647 w 1661518"/>
                    <a:gd name="connsiteY4341" fmla="*/ 1027754 h 1161399"/>
                    <a:gd name="connsiteX4342" fmla="*/ 652780 w 1661518"/>
                    <a:gd name="connsiteY4342" fmla="*/ 1028045 h 1161399"/>
                    <a:gd name="connsiteX4343" fmla="*/ 652938 w 1661518"/>
                    <a:gd name="connsiteY4343" fmla="*/ 1028313 h 1161399"/>
                    <a:gd name="connsiteX4344" fmla="*/ 653460 w 1661518"/>
                    <a:gd name="connsiteY4344" fmla="*/ 1029199 h 1161399"/>
                    <a:gd name="connsiteX4345" fmla="*/ 654274 w 1661518"/>
                    <a:gd name="connsiteY4345" fmla="*/ 1030583 h 1161399"/>
                    <a:gd name="connsiteX4346" fmla="*/ 655670 w 1661518"/>
                    <a:gd name="connsiteY4346" fmla="*/ 1031385 h 1161399"/>
                    <a:gd name="connsiteX4347" fmla="*/ 656763 w 1661518"/>
                    <a:gd name="connsiteY4347" fmla="*/ 1032016 h 1161399"/>
                    <a:gd name="connsiteX4348" fmla="*/ 657224 w 1661518"/>
                    <a:gd name="connsiteY4348" fmla="*/ 1032271 h 1161399"/>
                    <a:gd name="connsiteX4349" fmla="*/ 657722 w 1661518"/>
                    <a:gd name="connsiteY4349" fmla="*/ 1032453 h 1161399"/>
                    <a:gd name="connsiteX4350" fmla="*/ 661292 w 1661518"/>
                    <a:gd name="connsiteY4350" fmla="*/ 1033753 h 1161399"/>
                    <a:gd name="connsiteX4351" fmla="*/ 661644 w 1661518"/>
                    <a:gd name="connsiteY4351" fmla="*/ 1033983 h 1161399"/>
                    <a:gd name="connsiteX4352" fmla="*/ 661851 w 1661518"/>
                    <a:gd name="connsiteY4352" fmla="*/ 1034591 h 1161399"/>
                    <a:gd name="connsiteX4353" fmla="*/ 663612 w 1661518"/>
                    <a:gd name="connsiteY4353" fmla="*/ 1047498 h 1161399"/>
                    <a:gd name="connsiteX4354" fmla="*/ 663612 w 1661518"/>
                    <a:gd name="connsiteY4354" fmla="*/ 1049976 h 1161399"/>
                    <a:gd name="connsiteX4355" fmla="*/ 663357 w 1661518"/>
                    <a:gd name="connsiteY4355" fmla="*/ 1052222 h 1161399"/>
                    <a:gd name="connsiteX4356" fmla="*/ 663308 w 1661518"/>
                    <a:gd name="connsiteY4356" fmla="*/ 1052696 h 1161399"/>
                    <a:gd name="connsiteX4357" fmla="*/ 663332 w 1661518"/>
                    <a:gd name="connsiteY4357" fmla="*/ 1053181 h 1161399"/>
                    <a:gd name="connsiteX4358" fmla="*/ 663490 w 1661518"/>
                    <a:gd name="connsiteY4358" fmla="*/ 1055841 h 1161399"/>
                    <a:gd name="connsiteX4359" fmla="*/ 663551 w 1661518"/>
                    <a:gd name="connsiteY4359" fmla="*/ 1056946 h 1161399"/>
                    <a:gd name="connsiteX4360" fmla="*/ 663636 w 1661518"/>
                    <a:gd name="connsiteY4360" fmla="*/ 1057128 h 1161399"/>
                    <a:gd name="connsiteX4361" fmla="*/ 650291 w 1661518"/>
                    <a:gd name="connsiteY4361" fmla="*/ 1056278 h 1161399"/>
                    <a:gd name="connsiteX4362" fmla="*/ 649732 w 1661518"/>
                    <a:gd name="connsiteY4362" fmla="*/ 1056241 h 1161399"/>
                    <a:gd name="connsiteX4363" fmla="*/ 649174 w 1661518"/>
                    <a:gd name="connsiteY4363" fmla="*/ 1056314 h 1161399"/>
                    <a:gd name="connsiteX4364" fmla="*/ 646769 w 1661518"/>
                    <a:gd name="connsiteY4364" fmla="*/ 1056606 h 1161399"/>
                    <a:gd name="connsiteX4365" fmla="*/ 645494 w 1661518"/>
                    <a:gd name="connsiteY4365" fmla="*/ 1056763 h 1161399"/>
                    <a:gd name="connsiteX4366" fmla="*/ 644389 w 1661518"/>
                    <a:gd name="connsiteY4366" fmla="*/ 1057443 h 1161399"/>
                    <a:gd name="connsiteX4367" fmla="*/ 642835 w 1661518"/>
                    <a:gd name="connsiteY4367" fmla="*/ 1058378 h 1161399"/>
                    <a:gd name="connsiteX4368" fmla="*/ 641184 w 1661518"/>
                    <a:gd name="connsiteY4368" fmla="*/ 1059362 h 1161399"/>
                    <a:gd name="connsiteX4369" fmla="*/ 640419 w 1661518"/>
                    <a:gd name="connsiteY4369" fmla="*/ 1061135 h 1161399"/>
                    <a:gd name="connsiteX4370" fmla="*/ 639727 w 1661518"/>
                    <a:gd name="connsiteY4370" fmla="*/ 1062714 h 1161399"/>
                    <a:gd name="connsiteX4371" fmla="*/ 639362 w 1661518"/>
                    <a:gd name="connsiteY4371" fmla="*/ 1063539 h 1161399"/>
                    <a:gd name="connsiteX4372" fmla="*/ 639253 w 1661518"/>
                    <a:gd name="connsiteY4372" fmla="*/ 1064438 h 1161399"/>
                    <a:gd name="connsiteX4373" fmla="*/ 638974 w 1661518"/>
                    <a:gd name="connsiteY4373" fmla="*/ 1066806 h 1161399"/>
                    <a:gd name="connsiteX4374" fmla="*/ 638925 w 1661518"/>
                    <a:gd name="connsiteY4374" fmla="*/ 1067243 h 1161399"/>
                    <a:gd name="connsiteX4375" fmla="*/ 638937 w 1661518"/>
                    <a:gd name="connsiteY4375" fmla="*/ 1067692 h 1161399"/>
                    <a:gd name="connsiteX4376" fmla="*/ 638998 w 1661518"/>
                    <a:gd name="connsiteY4376" fmla="*/ 1069781 h 1161399"/>
                    <a:gd name="connsiteX4377" fmla="*/ 639010 w 1661518"/>
                    <a:gd name="connsiteY4377" fmla="*/ 1070084 h 1161399"/>
                    <a:gd name="connsiteX4378" fmla="*/ 639047 w 1661518"/>
                    <a:gd name="connsiteY4378" fmla="*/ 1070400 h 1161399"/>
                    <a:gd name="connsiteX4379" fmla="*/ 639326 w 1661518"/>
                    <a:gd name="connsiteY4379" fmla="*/ 1072489 h 1161399"/>
                    <a:gd name="connsiteX4380" fmla="*/ 639435 w 1661518"/>
                    <a:gd name="connsiteY4380" fmla="*/ 1073302 h 1161399"/>
                    <a:gd name="connsiteX4381" fmla="*/ 639763 w 1661518"/>
                    <a:gd name="connsiteY4381" fmla="*/ 1074055 h 1161399"/>
                    <a:gd name="connsiteX4382" fmla="*/ 639872 w 1661518"/>
                    <a:gd name="connsiteY4382" fmla="*/ 1074322 h 1161399"/>
                    <a:gd name="connsiteX4383" fmla="*/ 640188 w 1661518"/>
                    <a:gd name="connsiteY4383" fmla="*/ 1074978 h 1161399"/>
                    <a:gd name="connsiteX4384" fmla="*/ 644219 w 1661518"/>
                    <a:gd name="connsiteY4384" fmla="*/ 1082361 h 1161399"/>
                    <a:gd name="connsiteX4385" fmla="*/ 644377 w 1661518"/>
                    <a:gd name="connsiteY4385" fmla="*/ 1082652 h 1161399"/>
                    <a:gd name="connsiteX4386" fmla="*/ 644571 w 1661518"/>
                    <a:gd name="connsiteY4386" fmla="*/ 1082919 h 1161399"/>
                    <a:gd name="connsiteX4387" fmla="*/ 649222 w 1661518"/>
                    <a:gd name="connsiteY4387" fmla="*/ 1089586 h 1161399"/>
                    <a:gd name="connsiteX4388" fmla="*/ 649538 w 1661518"/>
                    <a:gd name="connsiteY4388" fmla="*/ 1090448 h 1161399"/>
                    <a:gd name="connsiteX4389" fmla="*/ 649793 w 1661518"/>
                    <a:gd name="connsiteY4389" fmla="*/ 1092172 h 1161399"/>
                    <a:gd name="connsiteX4390" fmla="*/ 650303 w 1661518"/>
                    <a:gd name="connsiteY4390" fmla="*/ 1094346 h 1161399"/>
                    <a:gd name="connsiteX4391" fmla="*/ 650971 w 1661518"/>
                    <a:gd name="connsiteY4391" fmla="*/ 1096981 h 1161399"/>
                    <a:gd name="connsiteX4392" fmla="*/ 653375 w 1661518"/>
                    <a:gd name="connsiteY4392" fmla="*/ 1098244 h 1161399"/>
                    <a:gd name="connsiteX4393" fmla="*/ 654067 w 1661518"/>
                    <a:gd name="connsiteY4393" fmla="*/ 1098596 h 1161399"/>
                    <a:gd name="connsiteX4394" fmla="*/ 657492 w 1661518"/>
                    <a:gd name="connsiteY4394" fmla="*/ 1100381 h 1161399"/>
                    <a:gd name="connsiteX4395" fmla="*/ 660552 w 1661518"/>
                    <a:gd name="connsiteY4395" fmla="*/ 1098037 h 1161399"/>
                    <a:gd name="connsiteX4396" fmla="*/ 661997 w 1661518"/>
                    <a:gd name="connsiteY4396" fmla="*/ 1096932 h 1161399"/>
                    <a:gd name="connsiteX4397" fmla="*/ 663102 w 1661518"/>
                    <a:gd name="connsiteY4397" fmla="*/ 1096095 h 1161399"/>
                    <a:gd name="connsiteX4398" fmla="*/ 663284 w 1661518"/>
                    <a:gd name="connsiteY4398" fmla="*/ 1095730 h 1161399"/>
                    <a:gd name="connsiteX4399" fmla="*/ 663478 w 1661518"/>
                    <a:gd name="connsiteY4399" fmla="*/ 1095985 h 1161399"/>
                    <a:gd name="connsiteX4400" fmla="*/ 663757 w 1661518"/>
                    <a:gd name="connsiteY4400" fmla="*/ 1096264 h 1161399"/>
                    <a:gd name="connsiteX4401" fmla="*/ 665081 w 1661518"/>
                    <a:gd name="connsiteY4401" fmla="*/ 1097600 h 1161399"/>
                    <a:gd name="connsiteX4402" fmla="*/ 665749 w 1661518"/>
                    <a:gd name="connsiteY4402" fmla="*/ 1098268 h 1161399"/>
                    <a:gd name="connsiteX4403" fmla="*/ 666587 w 1661518"/>
                    <a:gd name="connsiteY4403" fmla="*/ 1098717 h 1161399"/>
                    <a:gd name="connsiteX4404" fmla="*/ 668080 w 1661518"/>
                    <a:gd name="connsiteY4404" fmla="*/ 1099495 h 1161399"/>
                    <a:gd name="connsiteX4405" fmla="*/ 668784 w 1661518"/>
                    <a:gd name="connsiteY4405" fmla="*/ 1099847 h 1161399"/>
                    <a:gd name="connsiteX4406" fmla="*/ 669549 w 1661518"/>
                    <a:gd name="connsiteY4406" fmla="*/ 1100029 h 1161399"/>
                    <a:gd name="connsiteX4407" fmla="*/ 671322 w 1661518"/>
                    <a:gd name="connsiteY4407" fmla="*/ 1100430 h 1161399"/>
                    <a:gd name="connsiteX4408" fmla="*/ 672245 w 1661518"/>
                    <a:gd name="connsiteY4408" fmla="*/ 1100648 h 1161399"/>
                    <a:gd name="connsiteX4409" fmla="*/ 673192 w 1661518"/>
                    <a:gd name="connsiteY4409" fmla="*/ 1100563 h 1161399"/>
                    <a:gd name="connsiteX4410" fmla="*/ 675560 w 1661518"/>
                    <a:gd name="connsiteY4410" fmla="*/ 1100357 h 1161399"/>
                    <a:gd name="connsiteX4411" fmla="*/ 676216 w 1661518"/>
                    <a:gd name="connsiteY4411" fmla="*/ 1100296 h 1161399"/>
                    <a:gd name="connsiteX4412" fmla="*/ 676847 w 1661518"/>
                    <a:gd name="connsiteY4412" fmla="*/ 1100102 h 1161399"/>
                    <a:gd name="connsiteX4413" fmla="*/ 678790 w 1661518"/>
                    <a:gd name="connsiteY4413" fmla="*/ 1099495 h 1161399"/>
                    <a:gd name="connsiteX4414" fmla="*/ 679349 w 1661518"/>
                    <a:gd name="connsiteY4414" fmla="*/ 1099312 h 1161399"/>
                    <a:gd name="connsiteX4415" fmla="*/ 679859 w 1661518"/>
                    <a:gd name="connsiteY4415" fmla="*/ 1099045 h 1161399"/>
                    <a:gd name="connsiteX4416" fmla="*/ 682275 w 1661518"/>
                    <a:gd name="connsiteY4416" fmla="*/ 1097746 h 1161399"/>
                    <a:gd name="connsiteX4417" fmla="*/ 682494 w 1661518"/>
                    <a:gd name="connsiteY4417" fmla="*/ 1097673 h 1161399"/>
                    <a:gd name="connsiteX4418" fmla="*/ 683052 w 1661518"/>
                    <a:gd name="connsiteY4418" fmla="*/ 1097722 h 1161399"/>
                    <a:gd name="connsiteX4419" fmla="*/ 684995 w 1661518"/>
                    <a:gd name="connsiteY4419" fmla="*/ 1098135 h 1161399"/>
                    <a:gd name="connsiteX4420" fmla="*/ 685505 w 1661518"/>
                    <a:gd name="connsiteY4420" fmla="*/ 1098256 h 1161399"/>
                    <a:gd name="connsiteX4421" fmla="*/ 686027 w 1661518"/>
                    <a:gd name="connsiteY4421" fmla="*/ 1098280 h 1161399"/>
                    <a:gd name="connsiteX4422" fmla="*/ 689270 w 1661518"/>
                    <a:gd name="connsiteY4422" fmla="*/ 1098414 h 1161399"/>
                    <a:gd name="connsiteX4423" fmla="*/ 689925 w 1661518"/>
                    <a:gd name="connsiteY4423" fmla="*/ 1099227 h 1161399"/>
                    <a:gd name="connsiteX4424" fmla="*/ 691176 w 1661518"/>
                    <a:gd name="connsiteY4424" fmla="*/ 1100782 h 1161399"/>
                    <a:gd name="connsiteX4425" fmla="*/ 693107 w 1661518"/>
                    <a:gd name="connsiteY4425" fmla="*/ 1101291 h 1161399"/>
                    <a:gd name="connsiteX4426" fmla="*/ 694540 w 1661518"/>
                    <a:gd name="connsiteY4426" fmla="*/ 1101668 h 1161399"/>
                    <a:gd name="connsiteX4427" fmla="*/ 696118 w 1661518"/>
                    <a:gd name="connsiteY4427" fmla="*/ 1102081 h 1161399"/>
                    <a:gd name="connsiteX4428" fmla="*/ 697685 w 1661518"/>
                    <a:gd name="connsiteY4428" fmla="*/ 1101656 h 1161399"/>
                    <a:gd name="connsiteX4429" fmla="*/ 699518 w 1661518"/>
                    <a:gd name="connsiteY4429" fmla="*/ 1101158 h 1161399"/>
                    <a:gd name="connsiteX4430" fmla="*/ 700453 w 1661518"/>
                    <a:gd name="connsiteY4430" fmla="*/ 1100903 h 1161399"/>
                    <a:gd name="connsiteX4431" fmla="*/ 701267 w 1661518"/>
                    <a:gd name="connsiteY4431" fmla="*/ 1100357 h 1161399"/>
                    <a:gd name="connsiteX4432" fmla="*/ 706585 w 1661518"/>
                    <a:gd name="connsiteY4432" fmla="*/ 1096859 h 1161399"/>
                    <a:gd name="connsiteX4433" fmla="*/ 709427 w 1661518"/>
                    <a:gd name="connsiteY4433" fmla="*/ 1095767 h 1161399"/>
                    <a:gd name="connsiteX4434" fmla="*/ 710058 w 1661518"/>
                    <a:gd name="connsiteY4434" fmla="*/ 1095512 h 1161399"/>
                    <a:gd name="connsiteX4435" fmla="*/ 710617 w 1661518"/>
                    <a:gd name="connsiteY4435" fmla="*/ 1095135 h 1161399"/>
                    <a:gd name="connsiteX4436" fmla="*/ 713908 w 1661518"/>
                    <a:gd name="connsiteY4436" fmla="*/ 1092925 h 1161399"/>
                    <a:gd name="connsiteX4437" fmla="*/ 721837 w 1661518"/>
                    <a:gd name="connsiteY4437" fmla="*/ 1096313 h 1161399"/>
                    <a:gd name="connsiteX4438" fmla="*/ 722128 w 1661518"/>
                    <a:gd name="connsiteY4438" fmla="*/ 1096434 h 1161399"/>
                    <a:gd name="connsiteX4439" fmla="*/ 722432 w 1661518"/>
                    <a:gd name="connsiteY4439" fmla="*/ 1096531 h 1161399"/>
                    <a:gd name="connsiteX4440" fmla="*/ 725929 w 1661518"/>
                    <a:gd name="connsiteY4440" fmla="*/ 1097612 h 1161399"/>
                    <a:gd name="connsiteX4441" fmla="*/ 726706 w 1661518"/>
                    <a:gd name="connsiteY4441" fmla="*/ 1097855 h 1161399"/>
                    <a:gd name="connsiteX4442" fmla="*/ 727520 w 1661518"/>
                    <a:gd name="connsiteY4442" fmla="*/ 1097891 h 1161399"/>
                    <a:gd name="connsiteX4443" fmla="*/ 731151 w 1661518"/>
                    <a:gd name="connsiteY4443" fmla="*/ 1098013 h 1161399"/>
                    <a:gd name="connsiteX4444" fmla="*/ 731746 w 1661518"/>
                    <a:gd name="connsiteY4444" fmla="*/ 1098025 h 1161399"/>
                    <a:gd name="connsiteX4445" fmla="*/ 732341 w 1661518"/>
                    <a:gd name="connsiteY4445" fmla="*/ 1097928 h 1161399"/>
                    <a:gd name="connsiteX4446" fmla="*/ 735959 w 1661518"/>
                    <a:gd name="connsiteY4446" fmla="*/ 1097321 h 1161399"/>
                    <a:gd name="connsiteX4447" fmla="*/ 736408 w 1661518"/>
                    <a:gd name="connsiteY4447" fmla="*/ 1097248 h 1161399"/>
                    <a:gd name="connsiteX4448" fmla="*/ 736846 w 1661518"/>
                    <a:gd name="connsiteY4448" fmla="*/ 1097102 h 1161399"/>
                    <a:gd name="connsiteX4449" fmla="*/ 759189 w 1661518"/>
                    <a:gd name="connsiteY4449" fmla="*/ 1089817 h 1161399"/>
                    <a:gd name="connsiteX4450" fmla="*/ 759529 w 1661518"/>
                    <a:gd name="connsiteY4450" fmla="*/ 1089707 h 1161399"/>
                    <a:gd name="connsiteX4451" fmla="*/ 759844 w 1661518"/>
                    <a:gd name="connsiteY4451" fmla="*/ 1089549 h 1161399"/>
                    <a:gd name="connsiteX4452" fmla="*/ 770409 w 1661518"/>
                    <a:gd name="connsiteY4452" fmla="*/ 1084692 h 1161399"/>
                    <a:gd name="connsiteX4453" fmla="*/ 778399 w 1661518"/>
                    <a:gd name="connsiteY4453" fmla="*/ 1080054 h 1161399"/>
                    <a:gd name="connsiteX4454" fmla="*/ 778739 w 1661518"/>
                    <a:gd name="connsiteY4454" fmla="*/ 1079847 h 1161399"/>
                    <a:gd name="connsiteX4455" fmla="*/ 779042 w 1661518"/>
                    <a:gd name="connsiteY4455" fmla="*/ 1079604 h 1161399"/>
                    <a:gd name="connsiteX4456" fmla="*/ 782600 w 1661518"/>
                    <a:gd name="connsiteY4456" fmla="*/ 1076848 h 1161399"/>
                    <a:gd name="connsiteX4457" fmla="*/ 783013 w 1661518"/>
                    <a:gd name="connsiteY4457" fmla="*/ 1076532 h 1161399"/>
                    <a:gd name="connsiteX4458" fmla="*/ 783365 w 1661518"/>
                    <a:gd name="connsiteY4458" fmla="*/ 1076156 h 1161399"/>
                    <a:gd name="connsiteX4459" fmla="*/ 787615 w 1661518"/>
                    <a:gd name="connsiteY4459" fmla="*/ 1071505 h 1161399"/>
                    <a:gd name="connsiteX4460" fmla="*/ 787858 w 1661518"/>
                    <a:gd name="connsiteY4460" fmla="*/ 1071238 h 1161399"/>
                    <a:gd name="connsiteX4461" fmla="*/ 788065 w 1661518"/>
                    <a:gd name="connsiteY4461" fmla="*/ 1070959 h 1161399"/>
                    <a:gd name="connsiteX4462" fmla="*/ 790007 w 1661518"/>
                    <a:gd name="connsiteY4462" fmla="*/ 1068263 h 1161399"/>
                    <a:gd name="connsiteX4463" fmla="*/ 791647 w 1661518"/>
                    <a:gd name="connsiteY4463" fmla="*/ 1066636 h 1161399"/>
                    <a:gd name="connsiteX4464" fmla="*/ 793055 w 1661518"/>
                    <a:gd name="connsiteY4464" fmla="*/ 1065847 h 1161399"/>
                    <a:gd name="connsiteX4465" fmla="*/ 802624 w 1661518"/>
                    <a:gd name="connsiteY4465" fmla="*/ 1063818 h 1161399"/>
                    <a:gd name="connsiteX4466" fmla="*/ 803012 w 1661518"/>
                    <a:gd name="connsiteY4466" fmla="*/ 1063734 h 1161399"/>
                    <a:gd name="connsiteX4467" fmla="*/ 803377 w 1661518"/>
                    <a:gd name="connsiteY4467" fmla="*/ 1063600 h 1161399"/>
                    <a:gd name="connsiteX4468" fmla="*/ 812035 w 1661518"/>
                    <a:gd name="connsiteY4468" fmla="*/ 1060552 h 1161399"/>
                    <a:gd name="connsiteX4469" fmla="*/ 813723 w 1661518"/>
                    <a:gd name="connsiteY4469" fmla="*/ 1059957 h 1161399"/>
                    <a:gd name="connsiteX4470" fmla="*/ 814815 w 1661518"/>
                    <a:gd name="connsiteY4470" fmla="*/ 1058561 h 1161399"/>
                    <a:gd name="connsiteX4471" fmla="*/ 818665 w 1661518"/>
                    <a:gd name="connsiteY4471" fmla="*/ 1053618 h 1161399"/>
                    <a:gd name="connsiteX4472" fmla="*/ 818726 w 1661518"/>
                    <a:gd name="connsiteY4472" fmla="*/ 1053570 h 1161399"/>
                    <a:gd name="connsiteX4473" fmla="*/ 818883 w 1661518"/>
                    <a:gd name="connsiteY4473" fmla="*/ 1053497 h 1161399"/>
                    <a:gd name="connsiteX4474" fmla="*/ 819818 w 1661518"/>
                    <a:gd name="connsiteY4474" fmla="*/ 1053303 h 1161399"/>
                    <a:gd name="connsiteX4475" fmla="*/ 820426 w 1661518"/>
                    <a:gd name="connsiteY4475" fmla="*/ 1053254 h 1161399"/>
                    <a:gd name="connsiteX4476" fmla="*/ 823388 w 1661518"/>
                    <a:gd name="connsiteY4476" fmla="*/ 1053509 h 1161399"/>
                    <a:gd name="connsiteX4477" fmla="*/ 823486 w 1661518"/>
                    <a:gd name="connsiteY4477" fmla="*/ 1056508 h 1161399"/>
                    <a:gd name="connsiteX4478" fmla="*/ 823522 w 1661518"/>
                    <a:gd name="connsiteY4478" fmla="*/ 1057735 h 1161399"/>
                    <a:gd name="connsiteX4479" fmla="*/ 824032 w 1661518"/>
                    <a:gd name="connsiteY4479" fmla="*/ 1058840 h 1161399"/>
                    <a:gd name="connsiteX4480" fmla="*/ 825307 w 1661518"/>
                    <a:gd name="connsiteY4480" fmla="*/ 1061633 h 1161399"/>
                    <a:gd name="connsiteX4481" fmla="*/ 825781 w 1661518"/>
                    <a:gd name="connsiteY4481" fmla="*/ 1063151 h 1161399"/>
                    <a:gd name="connsiteX4482" fmla="*/ 826193 w 1661518"/>
                    <a:gd name="connsiteY4482" fmla="*/ 1066915 h 1161399"/>
                    <a:gd name="connsiteX4483" fmla="*/ 826181 w 1661518"/>
                    <a:gd name="connsiteY4483" fmla="*/ 1067680 h 1161399"/>
                    <a:gd name="connsiteX4484" fmla="*/ 826048 w 1661518"/>
                    <a:gd name="connsiteY4484" fmla="*/ 1068068 h 1161399"/>
                    <a:gd name="connsiteX4485" fmla="*/ 825975 w 1661518"/>
                    <a:gd name="connsiteY4485" fmla="*/ 1068578 h 1161399"/>
                    <a:gd name="connsiteX4486" fmla="*/ 825586 w 1661518"/>
                    <a:gd name="connsiteY4486" fmla="*/ 1071226 h 1161399"/>
                    <a:gd name="connsiteX4487" fmla="*/ 827213 w 1661518"/>
                    <a:gd name="connsiteY4487" fmla="*/ 1073752 h 1161399"/>
                    <a:gd name="connsiteX4488" fmla="*/ 828464 w 1661518"/>
                    <a:gd name="connsiteY4488" fmla="*/ 1075269 h 1161399"/>
                    <a:gd name="connsiteX4489" fmla="*/ 830541 w 1661518"/>
                    <a:gd name="connsiteY4489" fmla="*/ 1076010 h 1161399"/>
                    <a:gd name="connsiteX4490" fmla="*/ 831294 w 1661518"/>
                    <a:gd name="connsiteY4490" fmla="*/ 1076217 h 1161399"/>
                    <a:gd name="connsiteX4491" fmla="*/ 831658 w 1661518"/>
                    <a:gd name="connsiteY4491" fmla="*/ 1076314 h 1161399"/>
                    <a:gd name="connsiteX4492" fmla="*/ 832034 w 1661518"/>
                    <a:gd name="connsiteY4492" fmla="*/ 1076362 h 1161399"/>
                    <a:gd name="connsiteX4493" fmla="*/ 833066 w 1661518"/>
                    <a:gd name="connsiteY4493" fmla="*/ 1076508 h 1161399"/>
                    <a:gd name="connsiteX4494" fmla="*/ 833625 w 1661518"/>
                    <a:gd name="connsiteY4494" fmla="*/ 1076593 h 1161399"/>
                    <a:gd name="connsiteX4495" fmla="*/ 834196 w 1661518"/>
                    <a:gd name="connsiteY4495" fmla="*/ 1076556 h 1161399"/>
                    <a:gd name="connsiteX4496" fmla="*/ 835908 w 1661518"/>
                    <a:gd name="connsiteY4496" fmla="*/ 1076472 h 1161399"/>
                    <a:gd name="connsiteX4497" fmla="*/ 836539 w 1661518"/>
                    <a:gd name="connsiteY4497" fmla="*/ 1076447 h 1161399"/>
                    <a:gd name="connsiteX4498" fmla="*/ 837158 w 1661518"/>
                    <a:gd name="connsiteY4498" fmla="*/ 1076277 h 1161399"/>
                    <a:gd name="connsiteX4499" fmla="*/ 838774 w 1661518"/>
                    <a:gd name="connsiteY4499" fmla="*/ 1075852 h 1161399"/>
                    <a:gd name="connsiteX4500" fmla="*/ 839514 w 1661518"/>
                    <a:gd name="connsiteY4500" fmla="*/ 1075646 h 1161399"/>
                    <a:gd name="connsiteX4501" fmla="*/ 840182 w 1661518"/>
                    <a:gd name="connsiteY4501" fmla="*/ 1075281 h 1161399"/>
                    <a:gd name="connsiteX4502" fmla="*/ 842368 w 1661518"/>
                    <a:gd name="connsiteY4502" fmla="*/ 1074055 h 1161399"/>
                    <a:gd name="connsiteX4503" fmla="*/ 842671 w 1661518"/>
                    <a:gd name="connsiteY4503" fmla="*/ 1073885 h 1161399"/>
                    <a:gd name="connsiteX4504" fmla="*/ 842951 w 1661518"/>
                    <a:gd name="connsiteY4504" fmla="*/ 1073666 h 1161399"/>
                    <a:gd name="connsiteX4505" fmla="*/ 844177 w 1661518"/>
                    <a:gd name="connsiteY4505" fmla="*/ 1072792 h 1161399"/>
                    <a:gd name="connsiteX4506" fmla="*/ 844954 w 1661518"/>
                    <a:gd name="connsiteY4506" fmla="*/ 1072355 h 1161399"/>
                    <a:gd name="connsiteX4507" fmla="*/ 845161 w 1661518"/>
                    <a:gd name="connsiteY4507" fmla="*/ 1072319 h 1161399"/>
                    <a:gd name="connsiteX4508" fmla="*/ 846569 w 1661518"/>
                    <a:gd name="connsiteY4508" fmla="*/ 1072489 h 1161399"/>
                    <a:gd name="connsiteX4509" fmla="*/ 847686 w 1661518"/>
                    <a:gd name="connsiteY4509" fmla="*/ 1072986 h 1161399"/>
                    <a:gd name="connsiteX4510" fmla="*/ 848573 w 1661518"/>
                    <a:gd name="connsiteY4510" fmla="*/ 1073569 h 1161399"/>
                    <a:gd name="connsiteX4511" fmla="*/ 851803 w 1661518"/>
                    <a:gd name="connsiteY4511" fmla="*/ 1076411 h 1161399"/>
                    <a:gd name="connsiteX4512" fmla="*/ 852313 w 1661518"/>
                    <a:gd name="connsiteY4512" fmla="*/ 1076860 h 1161399"/>
                    <a:gd name="connsiteX4513" fmla="*/ 852908 w 1661518"/>
                    <a:gd name="connsiteY4513" fmla="*/ 1077176 h 1161399"/>
                    <a:gd name="connsiteX4514" fmla="*/ 854231 w 1661518"/>
                    <a:gd name="connsiteY4514" fmla="*/ 1077904 h 1161399"/>
                    <a:gd name="connsiteX4515" fmla="*/ 854875 w 1661518"/>
                    <a:gd name="connsiteY4515" fmla="*/ 1078257 h 1161399"/>
                    <a:gd name="connsiteX4516" fmla="*/ 855579 w 1661518"/>
                    <a:gd name="connsiteY4516" fmla="*/ 1078451 h 1161399"/>
                    <a:gd name="connsiteX4517" fmla="*/ 867795 w 1661518"/>
                    <a:gd name="connsiteY4517" fmla="*/ 1081717 h 1161399"/>
                    <a:gd name="connsiteX4518" fmla="*/ 868354 w 1661518"/>
                    <a:gd name="connsiteY4518" fmla="*/ 1081863 h 1161399"/>
                    <a:gd name="connsiteX4519" fmla="*/ 868937 w 1661518"/>
                    <a:gd name="connsiteY4519" fmla="*/ 1081912 h 1161399"/>
                    <a:gd name="connsiteX4520" fmla="*/ 881990 w 1661518"/>
                    <a:gd name="connsiteY4520" fmla="*/ 1082810 h 1161399"/>
                    <a:gd name="connsiteX4521" fmla="*/ 882439 w 1661518"/>
                    <a:gd name="connsiteY4521" fmla="*/ 1082834 h 1161399"/>
                    <a:gd name="connsiteX4522" fmla="*/ 882889 w 1661518"/>
                    <a:gd name="connsiteY4522" fmla="*/ 1082798 h 1161399"/>
                    <a:gd name="connsiteX4523" fmla="*/ 886617 w 1661518"/>
                    <a:gd name="connsiteY4523" fmla="*/ 1082506 h 1161399"/>
                    <a:gd name="connsiteX4524" fmla="*/ 887430 w 1661518"/>
                    <a:gd name="connsiteY4524" fmla="*/ 1082446 h 1161399"/>
                    <a:gd name="connsiteX4525" fmla="*/ 888195 w 1661518"/>
                    <a:gd name="connsiteY4525" fmla="*/ 1082167 h 1161399"/>
                    <a:gd name="connsiteX4526" fmla="*/ 891583 w 1661518"/>
                    <a:gd name="connsiteY4526" fmla="*/ 1080940 h 1161399"/>
                    <a:gd name="connsiteX4527" fmla="*/ 902354 w 1661518"/>
                    <a:gd name="connsiteY4527" fmla="*/ 1079956 h 1161399"/>
                    <a:gd name="connsiteX4528" fmla="*/ 903010 w 1661518"/>
                    <a:gd name="connsiteY4528" fmla="*/ 1079896 h 1161399"/>
                    <a:gd name="connsiteX4529" fmla="*/ 903641 w 1661518"/>
                    <a:gd name="connsiteY4529" fmla="*/ 1079689 h 1161399"/>
                    <a:gd name="connsiteX4530" fmla="*/ 910647 w 1661518"/>
                    <a:gd name="connsiteY4530" fmla="*/ 1077467 h 1161399"/>
                    <a:gd name="connsiteX4531" fmla="*/ 915298 w 1661518"/>
                    <a:gd name="connsiteY4531" fmla="*/ 1076593 h 1161399"/>
                    <a:gd name="connsiteX4532" fmla="*/ 922001 w 1661518"/>
                    <a:gd name="connsiteY4532" fmla="*/ 1076022 h 1161399"/>
                    <a:gd name="connsiteX4533" fmla="*/ 922766 w 1661518"/>
                    <a:gd name="connsiteY4533" fmla="*/ 1075949 h 1161399"/>
                    <a:gd name="connsiteX4534" fmla="*/ 923495 w 1661518"/>
                    <a:gd name="connsiteY4534" fmla="*/ 1075695 h 1161399"/>
                    <a:gd name="connsiteX4535" fmla="*/ 926021 w 1661518"/>
                    <a:gd name="connsiteY4535" fmla="*/ 1074796 h 1161399"/>
                    <a:gd name="connsiteX4536" fmla="*/ 927308 w 1661518"/>
                    <a:gd name="connsiteY4536" fmla="*/ 1074334 h 1161399"/>
                    <a:gd name="connsiteX4537" fmla="*/ 928279 w 1661518"/>
                    <a:gd name="connsiteY4537" fmla="*/ 1073375 h 1161399"/>
                    <a:gd name="connsiteX4538" fmla="*/ 930453 w 1661518"/>
                    <a:gd name="connsiteY4538" fmla="*/ 1071189 h 1161399"/>
                    <a:gd name="connsiteX4539" fmla="*/ 931533 w 1661518"/>
                    <a:gd name="connsiteY4539" fmla="*/ 1070096 h 1161399"/>
                    <a:gd name="connsiteX4540" fmla="*/ 931971 w 1661518"/>
                    <a:gd name="connsiteY4540" fmla="*/ 1068639 h 1161399"/>
                    <a:gd name="connsiteX4541" fmla="*/ 932541 w 1661518"/>
                    <a:gd name="connsiteY4541" fmla="*/ 1066745 h 1161399"/>
                    <a:gd name="connsiteX4542" fmla="*/ 932906 w 1661518"/>
                    <a:gd name="connsiteY4542" fmla="*/ 1065531 h 1161399"/>
                    <a:gd name="connsiteX4543" fmla="*/ 932760 w 1661518"/>
                    <a:gd name="connsiteY4543" fmla="*/ 1064268 h 1161399"/>
                    <a:gd name="connsiteX4544" fmla="*/ 932529 w 1661518"/>
                    <a:gd name="connsiteY4544" fmla="*/ 1062471 h 1161399"/>
                    <a:gd name="connsiteX4545" fmla="*/ 932420 w 1661518"/>
                    <a:gd name="connsiteY4545" fmla="*/ 1061584 h 1161399"/>
                    <a:gd name="connsiteX4546" fmla="*/ 932068 w 1661518"/>
                    <a:gd name="connsiteY4546" fmla="*/ 1060771 h 1161399"/>
                    <a:gd name="connsiteX4547" fmla="*/ 931740 w 1661518"/>
                    <a:gd name="connsiteY4547" fmla="*/ 1060018 h 1161399"/>
                    <a:gd name="connsiteX4548" fmla="*/ 932274 w 1661518"/>
                    <a:gd name="connsiteY4548" fmla="*/ 1059763 h 1161399"/>
                    <a:gd name="connsiteX4549" fmla="*/ 939900 w 1661518"/>
                    <a:gd name="connsiteY4549" fmla="*/ 1057456 h 1161399"/>
                    <a:gd name="connsiteX4550" fmla="*/ 955394 w 1661518"/>
                    <a:gd name="connsiteY4550" fmla="*/ 1055683 h 1161399"/>
                    <a:gd name="connsiteX4551" fmla="*/ 955868 w 1661518"/>
                    <a:gd name="connsiteY4551" fmla="*/ 1055622 h 1161399"/>
                    <a:gd name="connsiteX4552" fmla="*/ 956329 w 1661518"/>
                    <a:gd name="connsiteY4552" fmla="*/ 1055489 h 1161399"/>
                    <a:gd name="connsiteX4553" fmla="*/ 962765 w 1661518"/>
                    <a:gd name="connsiteY4553" fmla="*/ 1053715 h 1161399"/>
                    <a:gd name="connsiteX4554" fmla="*/ 972467 w 1661518"/>
                    <a:gd name="connsiteY4554" fmla="*/ 1050024 h 1161399"/>
                    <a:gd name="connsiteX4555" fmla="*/ 977325 w 1661518"/>
                    <a:gd name="connsiteY4555" fmla="*/ 1048858 h 1161399"/>
                    <a:gd name="connsiteX4556" fmla="*/ 977677 w 1661518"/>
                    <a:gd name="connsiteY4556" fmla="*/ 1048773 h 1161399"/>
                    <a:gd name="connsiteX4557" fmla="*/ 978017 w 1661518"/>
                    <a:gd name="connsiteY4557" fmla="*/ 1048640 h 1161399"/>
                    <a:gd name="connsiteX4558" fmla="*/ 982036 w 1661518"/>
                    <a:gd name="connsiteY4558" fmla="*/ 1047146 h 1161399"/>
                    <a:gd name="connsiteX4559" fmla="*/ 983044 w 1661518"/>
                    <a:gd name="connsiteY4559" fmla="*/ 1046770 h 1161399"/>
                    <a:gd name="connsiteX4560" fmla="*/ 983869 w 1661518"/>
                    <a:gd name="connsiteY4560" fmla="*/ 1046053 h 1161399"/>
                    <a:gd name="connsiteX4561" fmla="*/ 986007 w 1661518"/>
                    <a:gd name="connsiteY4561" fmla="*/ 1044220 h 1161399"/>
                    <a:gd name="connsiteX4562" fmla="*/ 987209 w 1661518"/>
                    <a:gd name="connsiteY4562" fmla="*/ 1043188 h 1161399"/>
                    <a:gd name="connsiteX4563" fmla="*/ 987755 w 1661518"/>
                    <a:gd name="connsiteY4563" fmla="*/ 1041694 h 1161399"/>
                    <a:gd name="connsiteX4564" fmla="*/ 989067 w 1661518"/>
                    <a:gd name="connsiteY4564" fmla="*/ 1038100 h 1161399"/>
                    <a:gd name="connsiteX4565" fmla="*/ 989285 w 1661518"/>
                    <a:gd name="connsiteY4565" fmla="*/ 1037505 h 1161399"/>
                    <a:gd name="connsiteX4566" fmla="*/ 989346 w 1661518"/>
                    <a:gd name="connsiteY4566" fmla="*/ 1037080 h 1161399"/>
                    <a:gd name="connsiteX4567" fmla="*/ 992199 w 1661518"/>
                    <a:gd name="connsiteY4567" fmla="*/ 1038416 h 1161399"/>
                    <a:gd name="connsiteX4568" fmla="*/ 992637 w 1661518"/>
                    <a:gd name="connsiteY4568" fmla="*/ 1038622 h 1161399"/>
                    <a:gd name="connsiteX4569" fmla="*/ 993098 w 1661518"/>
                    <a:gd name="connsiteY4569" fmla="*/ 1038768 h 1161399"/>
                    <a:gd name="connsiteX4570" fmla="*/ 995624 w 1661518"/>
                    <a:gd name="connsiteY4570" fmla="*/ 1039508 h 1161399"/>
                    <a:gd name="connsiteX4571" fmla="*/ 995952 w 1661518"/>
                    <a:gd name="connsiteY4571" fmla="*/ 1039605 h 1161399"/>
                    <a:gd name="connsiteX4572" fmla="*/ 996292 w 1661518"/>
                    <a:gd name="connsiteY4572" fmla="*/ 1039666 h 1161399"/>
                    <a:gd name="connsiteX4573" fmla="*/ 1000651 w 1661518"/>
                    <a:gd name="connsiteY4573" fmla="*/ 1040419 h 1161399"/>
                    <a:gd name="connsiteX4574" fmla="*/ 1001246 w 1661518"/>
                    <a:gd name="connsiteY4574" fmla="*/ 1040516 h 1161399"/>
                    <a:gd name="connsiteX4575" fmla="*/ 1001841 w 1661518"/>
                    <a:gd name="connsiteY4575" fmla="*/ 1040504 h 1161399"/>
                    <a:gd name="connsiteX4576" fmla="*/ 1008422 w 1661518"/>
                    <a:gd name="connsiteY4576" fmla="*/ 1040322 h 1161399"/>
                    <a:gd name="connsiteX4577" fmla="*/ 1011045 w 1661518"/>
                    <a:gd name="connsiteY4577" fmla="*/ 1040613 h 1161399"/>
                    <a:gd name="connsiteX4578" fmla="*/ 1011592 w 1661518"/>
                    <a:gd name="connsiteY4578" fmla="*/ 1040674 h 1161399"/>
                    <a:gd name="connsiteX4579" fmla="*/ 1012150 w 1661518"/>
                    <a:gd name="connsiteY4579" fmla="*/ 1040638 h 1161399"/>
                    <a:gd name="connsiteX4580" fmla="*/ 1014324 w 1661518"/>
                    <a:gd name="connsiteY4580" fmla="*/ 1040480 h 1161399"/>
                    <a:gd name="connsiteX4581" fmla="*/ 1016121 w 1661518"/>
                    <a:gd name="connsiteY4581" fmla="*/ 1040565 h 1161399"/>
                    <a:gd name="connsiteX4582" fmla="*/ 1017773 w 1661518"/>
                    <a:gd name="connsiteY4582" fmla="*/ 1040905 h 1161399"/>
                    <a:gd name="connsiteX4583" fmla="*/ 1025155 w 1661518"/>
                    <a:gd name="connsiteY4583" fmla="*/ 1043540 h 1161399"/>
                    <a:gd name="connsiteX4584" fmla="*/ 1025969 w 1661518"/>
                    <a:gd name="connsiteY4584" fmla="*/ 1044013 h 1161399"/>
                    <a:gd name="connsiteX4585" fmla="*/ 1027463 w 1661518"/>
                    <a:gd name="connsiteY4585" fmla="*/ 1047061 h 1161399"/>
                    <a:gd name="connsiteX4586" fmla="*/ 1028240 w 1661518"/>
                    <a:gd name="connsiteY4586" fmla="*/ 1048652 h 1161399"/>
                    <a:gd name="connsiteX4587" fmla="*/ 1029745 w 1661518"/>
                    <a:gd name="connsiteY4587" fmla="*/ 1049563 h 1161399"/>
                    <a:gd name="connsiteX4588" fmla="*/ 1033947 w 1661518"/>
                    <a:gd name="connsiteY4588" fmla="*/ 1052149 h 1161399"/>
                    <a:gd name="connsiteX4589" fmla="*/ 1034238 w 1661518"/>
                    <a:gd name="connsiteY4589" fmla="*/ 1053715 h 1161399"/>
                    <a:gd name="connsiteX4590" fmla="*/ 1034323 w 1661518"/>
                    <a:gd name="connsiteY4590" fmla="*/ 1054177 h 1161399"/>
                    <a:gd name="connsiteX4591" fmla="*/ 1034481 w 1661518"/>
                    <a:gd name="connsiteY4591" fmla="*/ 1054614 h 1161399"/>
                    <a:gd name="connsiteX4592" fmla="*/ 1034943 w 1661518"/>
                    <a:gd name="connsiteY4592" fmla="*/ 1055901 h 1161399"/>
                    <a:gd name="connsiteX4593" fmla="*/ 1035149 w 1661518"/>
                    <a:gd name="connsiteY4593" fmla="*/ 1056472 h 1161399"/>
                    <a:gd name="connsiteX4594" fmla="*/ 1035453 w 1661518"/>
                    <a:gd name="connsiteY4594" fmla="*/ 1056982 h 1161399"/>
                    <a:gd name="connsiteX4595" fmla="*/ 1035878 w 1661518"/>
                    <a:gd name="connsiteY4595" fmla="*/ 1057698 h 1161399"/>
                    <a:gd name="connsiteX4596" fmla="*/ 1036145 w 1661518"/>
                    <a:gd name="connsiteY4596" fmla="*/ 1058342 h 1161399"/>
                    <a:gd name="connsiteX4597" fmla="*/ 1036339 w 1661518"/>
                    <a:gd name="connsiteY4597" fmla="*/ 1059107 h 1161399"/>
                    <a:gd name="connsiteX4598" fmla="*/ 1036813 w 1661518"/>
                    <a:gd name="connsiteY4598" fmla="*/ 1062774 h 1161399"/>
                    <a:gd name="connsiteX4599" fmla="*/ 1036970 w 1661518"/>
                    <a:gd name="connsiteY4599" fmla="*/ 1063940 h 1161399"/>
                    <a:gd name="connsiteX4600" fmla="*/ 1037541 w 1661518"/>
                    <a:gd name="connsiteY4600" fmla="*/ 1064948 h 1161399"/>
                    <a:gd name="connsiteX4601" fmla="*/ 1038343 w 1661518"/>
                    <a:gd name="connsiteY4601" fmla="*/ 1066381 h 1161399"/>
                    <a:gd name="connsiteX4602" fmla="*/ 1039363 w 1661518"/>
                    <a:gd name="connsiteY4602" fmla="*/ 1068214 h 1161399"/>
                    <a:gd name="connsiteX4603" fmla="*/ 1041306 w 1661518"/>
                    <a:gd name="connsiteY4603" fmla="*/ 1069016 h 1161399"/>
                    <a:gd name="connsiteX4604" fmla="*/ 1043090 w 1661518"/>
                    <a:gd name="connsiteY4604" fmla="*/ 1069769 h 1161399"/>
                    <a:gd name="connsiteX4605" fmla="*/ 1044487 w 1661518"/>
                    <a:gd name="connsiteY4605" fmla="*/ 1070363 h 1161399"/>
                    <a:gd name="connsiteX4606" fmla="*/ 1045993 w 1661518"/>
                    <a:gd name="connsiteY4606" fmla="*/ 1070218 h 1161399"/>
                    <a:gd name="connsiteX4607" fmla="*/ 1048166 w 1661518"/>
                    <a:gd name="connsiteY4607" fmla="*/ 1070011 h 1161399"/>
                    <a:gd name="connsiteX4608" fmla="*/ 1048871 w 1661518"/>
                    <a:gd name="connsiteY4608" fmla="*/ 1069938 h 1161399"/>
                    <a:gd name="connsiteX4609" fmla="*/ 1049538 w 1661518"/>
                    <a:gd name="connsiteY4609" fmla="*/ 1069720 h 1161399"/>
                    <a:gd name="connsiteX4610" fmla="*/ 1053910 w 1661518"/>
                    <a:gd name="connsiteY4610" fmla="*/ 1068263 h 1161399"/>
                    <a:gd name="connsiteX4611" fmla="*/ 1054578 w 1661518"/>
                    <a:gd name="connsiteY4611" fmla="*/ 1068032 h 1161399"/>
                    <a:gd name="connsiteX4612" fmla="*/ 1055173 w 1661518"/>
                    <a:gd name="connsiteY4612" fmla="*/ 1067668 h 1161399"/>
                    <a:gd name="connsiteX4613" fmla="*/ 1057747 w 1661518"/>
                    <a:gd name="connsiteY4613" fmla="*/ 1066077 h 1161399"/>
                    <a:gd name="connsiteX4614" fmla="*/ 1058111 w 1661518"/>
                    <a:gd name="connsiteY4614" fmla="*/ 1065847 h 1161399"/>
                    <a:gd name="connsiteX4615" fmla="*/ 1058439 w 1661518"/>
                    <a:gd name="connsiteY4615" fmla="*/ 1065579 h 1161399"/>
                    <a:gd name="connsiteX4616" fmla="*/ 1061791 w 1661518"/>
                    <a:gd name="connsiteY4616" fmla="*/ 1062799 h 1161399"/>
                    <a:gd name="connsiteX4617" fmla="*/ 1064207 w 1661518"/>
                    <a:gd name="connsiteY4617" fmla="*/ 1061220 h 1161399"/>
                    <a:gd name="connsiteX4618" fmla="*/ 1064851 w 1661518"/>
                    <a:gd name="connsiteY4618" fmla="*/ 1060965 h 1161399"/>
                    <a:gd name="connsiteX4619" fmla="*/ 1065737 w 1661518"/>
                    <a:gd name="connsiteY4619" fmla="*/ 1060843 h 1161399"/>
                    <a:gd name="connsiteX4620" fmla="*/ 1071044 w 1661518"/>
                    <a:gd name="connsiteY4620" fmla="*/ 1061353 h 1161399"/>
                    <a:gd name="connsiteX4621" fmla="*/ 1071930 w 1661518"/>
                    <a:gd name="connsiteY4621" fmla="*/ 1061439 h 1161399"/>
                    <a:gd name="connsiteX4622" fmla="*/ 1072804 w 1661518"/>
                    <a:gd name="connsiteY4622" fmla="*/ 1061256 h 1161399"/>
                    <a:gd name="connsiteX4623" fmla="*/ 1082057 w 1661518"/>
                    <a:gd name="connsiteY4623" fmla="*/ 1059447 h 1161399"/>
                    <a:gd name="connsiteX4624" fmla="*/ 1084935 w 1661518"/>
                    <a:gd name="connsiteY4624" fmla="*/ 1059714 h 1161399"/>
                    <a:gd name="connsiteX4625" fmla="*/ 1086902 w 1661518"/>
                    <a:gd name="connsiteY4625" fmla="*/ 1060224 h 1161399"/>
                    <a:gd name="connsiteX4626" fmla="*/ 1087971 w 1661518"/>
                    <a:gd name="connsiteY4626" fmla="*/ 1060831 h 1161399"/>
                    <a:gd name="connsiteX4627" fmla="*/ 1088481 w 1661518"/>
                    <a:gd name="connsiteY4627" fmla="*/ 1061475 h 1161399"/>
                    <a:gd name="connsiteX4628" fmla="*/ 1089380 w 1661518"/>
                    <a:gd name="connsiteY4628" fmla="*/ 1063284 h 1161399"/>
                    <a:gd name="connsiteX4629" fmla="*/ 1090205 w 1661518"/>
                    <a:gd name="connsiteY4629" fmla="*/ 1065494 h 1161399"/>
                    <a:gd name="connsiteX4630" fmla="*/ 1090460 w 1661518"/>
                    <a:gd name="connsiteY4630" fmla="*/ 1066138 h 1161399"/>
                    <a:gd name="connsiteX4631" fmla="*/ 1090849 w 1661518"/>
                    <a:gd name="connsiteY4631" fmla="*/ 1066708 h 1161399"/>
                    <a:gd name="connsiteX4632" fmla="*/ 1092039 w 1661518"/>
                    <a:gd name="connsiteY4632" fmla="*/ 1068469 h 1161399"/>
                    <a:gd name="connsiteX4633" fmla="*/ 1092840 w 1661518"/>
                    <a:gd name="connsiteY4633" fmla="*/ 1069659 h 1161399"/>
                    <a:gd name="connsiteX4634" fmla="*/ 1094103 w 1661518"/>
                    <a:gd name="connsiteY4634" fmla="*/ 1070376 h 1161399"/>
                    <a:gd name="connsiteX4635" fmla="*/ 1095840 w 1661518"/>
                    <a:gd name="connsiteY4635" fmla="*/ 1071347 h 1161399"/>
                    <a:gd name="connsiteX4636" fmla="*/ 1096957 w 1661518"/>
                    <a:gd name="connsiteY4636" fmla="*/ 1071967 h 1161399"/>
                    <a:gd name="connsiteX4637" fmla="*/ 1098220 w 1661518"/>
                    <a:gd name="connsiteY4637" fmla="*/ 1072100 h 1161399"/>
                    <a:gd name="connsiteX4638" fmla="*/ 1100563 w 1661518"/>
                    <a:gd name="connsiteY4638" fmla="*/ 1072331 h 1161399"/>
                    <a:gd name="connsiteX4639" fmla="*/ 1101073 w 1661518"/>
                    <a:gd name="connsiteY4639" fmla="*/ 1072379 h 1161399"/>
                    <a:gd name="connsiteX4640" fmla="*/ 1101583 w 1661518"/>
                    <a:gd name="connsiteY4640" fmla="*/ 1072343 h 1161399"/>
                    <a:gd name="connsiteX4641" fmla="*/ 1104983 w 1661518"/>
                    <a:gd name="connsiteY4641" fmla="*/ 1072088 h 1161399"/>
                    <a:gd name="connsiteX4642" fmla="*/ 1105323 w 1661518"/>
                    <a:gd name="connsiteY4642" fmla="*/ 1072064 h 1161399"/>
                    <a:gd name="connsiteX4643" fmla="*/ 1105663 w 1661518"/>
                    <a:gd name="connsiteY4643" fmla="*/ 1071991 h 1161399"/>
                    <a:gd name="connsiteX4644" fmla="*/ 1108699 w 1661518"/>
                    <a:gd name="connsiteY4644" fmla="*/ 1071420 h 1161399"/>
                    <a:gd name="connsiteX4645" fmla="*/ 1109051 w 1661518"/>
                    <a:gd name="connsiteY4645" fmla="*/ 1071359 h 1161399"/>
                    <a:gd name="connsiteX4646" fmla="*/ 1109403 w 1661518"/>
                    <a:gd name="connsiteY4646" fmla="*/ 1071238 h 1161399"/>
                    <a:gd name="connsiteX4647" fmla="*/ 1112973 w 1661518"/>
                    <a:gd name="connsiteY4647" fmla="*/ 1070108 h 1161399"/>
                    <a:gd name="connsiteX4648" fmla="*/ 1113848 w 1661518"/>
                    <a:gd name="connsiteY4648" fmla="*/ 1069841 h 1161399"/>
                    <a:gd name="connsiteX4649" fmla="*/ 1114600 w 1661518"/>
                    <a:gd name="connsiteY4649" fmla="*/ 1069319 h 1161399"/>
                    <a:gd name="connsiteX4650" fmla="*/ 1115802 w 1661518"/>
                    <a:gd name="connsiteY4650" fmla="*/ 1068494 h 1161399"/>
                    <a:gd name="connsiteX4651" fmla="*/ 1116373 w 1661518"/>
                    <a:gd name="connsiteY4651" fmla="*/ 1068105 h 1161399"/>
                    <a:gd name="connsiteX4652" fmla="*/ 1116847 w 1661518"/>
                    <a:gd name="connsiteY4652" fmla="*/ 1067595 h 1161399"/>
                    <a:gd name="connsiteX4653" fmla="*/ 1117575 w 1661518"/>
                    <a:gd name="connsiteY4653" fmla="*/ 1066806 h 1161399"/>
                    <a:gd name="connsiteX4654" fmla="*/ 1117709 w 1661518"/>
                    <a:gd name="connsiteY4654" fmla="*/ 1066781 h 1161399"/>
                    <a:gd name="connsiteX4655" fmla="*/ 1118219 w 1661518"/>
                    <a:gd name="connsiteY4655" fmla="*/ 1066708 h 1161399"/>
                    <a:gd name="connsiteX4656" fmla="*/ 1118705 w 1661518"/>
                    <a:gd name="connsiteY4656" fmla="*/ 1066538 h 1161399"/>
                    <a:gd name="connsiteX4657" fmla="*/ 1119105 w 1661518"/>
                    <a:gd name="connsiteY4657" fmla="*/ 1066405 h 1161399"/>
                    <a:gd name="connsiteX4658" fmla="*/ 1120113 w 1661518"/>
                    <a:gd name="connsiteY4658" fmla="*/ 1067000 h 1161399"/>
                    <a:gd name="connsiteX4659" fmla="*/ 1121036 w 1661518"/>
                    <a:gd name="connsiteY4659" fmla="*/ 1067546 h 1161399"/>
                    <a:gd name="connsiteX4660" fmla="*/ 1122177 w 1661518"/>
                    <a:gd name="connsiteY4660" fmla="*/ 1068226 h 1161399"/>
                    <a:gd name="connsiteX4661" fmla="*/ 1123489 w 1661518"/>
                    <a:gd name="connsiteY4661" fmla="*/ 1068372 h 1161399"/>
                    <a:gd name="connsiteX4662" fmla="*/ 1124473 w 1661518"/>
                    <a:gd name="connsiteY4662" fmla="*/ 1068481 h 1161399"/>
                    <a:gd name="connsiteX4663" fmla="*/ 1124910 w 1661518"/>
                    <a:gd name="connsiteY4663" fmla="*/ 1068530 h 1161399"/>
                    <a:gd name="connsiteX4664" fmla="*/ 1125347 w 1661518"/>
                    <a:gd name="connsiteY4664" fmla="*/ 1068518 h 1161399"/>
                    <a:gd name="connsiteX4665" fmla="*/ 1128213 w 1661518"/>
                    <a:gd name="connsiteY4665" fmla="*/ 1068409 h 1161399"/>
                    <a:gd name="connsiteX4666" fmla="*/ 1129063 w 1661518"/>
                    <a:gd name="connsiteY4666" fmla="*/ 1068372 h 1161399"/>
                    <a:gd name="connsiteX4667" fmla="*/ 1129864 w 1661518"/>
                    <a:gd name="connsiteY4667" fmla="*/ 1068117 h 1161399"/>
                    <a:gd name="connsiteX4668" fmla="*/ 1143938 w 1661518"/>
                    <a:gd name="connsiteY4668" fmla="*/ 1063552 h 1161399"/>
                    <a:gd name="connsiteX4669" fmla="*/ 1146633 w 1661518"/>
                    <a:gd name="connsiteY4669" fmla="*/ 1062677 h 1161399"/>
                    <a:gd name="connsiteX4670" fmla="*/ 1147690 w 1661518"/>
                    <a:gd name="connsiteY4670" fmla="*/ 1060054 h 1161399"/>
                    <a:gd name="connsiteX4671" fmla="*/ 1148588 w 1661518"/>
                    <a:gd name="connsiteY4671" fmla="*/ 1057832 h 1161399"/>
                    <a:gd name="connsiteX4672" fmla="*/ 1149985 w 1661518"/>
                    <a:gd name="connsiteY4672" fmla="*/ 1056897 h 1161399"/>
                    <a:gd name="connsiteX4673" fmla="*/ 1159639 w 1661518"/>
                    <a:gd name="connsiteY4673" fmla="*/ 1053825 h 1161399"/>
                    <a:gd name="connsiteX4674" fmla="*/ 1160161 w 1661518"/>
                    <a:gd name="connsiteY4674" fmla="*/ 1053655 h 1161399"/>
                    <a:gd name="connsiteX4675" fmla="*/ 1160646 w 1661518"/>
                    <a:gd name="connsiteY4675" fmla="*/ 1053400 h 1161399"/>
                    <a:gd name="connsiteX4676" fmla="*/ 1162176 w 1661518"/>
                    <a:gd name="connsiteY4676" fmla="*/ 1052586 h 1161399"/>
                    <a:gd name="connsiteX4677" fmla="*/ 1170142 w 1661518"/>
                    <a:gd name="connsiteY4677" fmla="*/ 1057893 h 1161399"/>
                    <a:gd name="connsiteX4678" fmla="*/ 1170555 w 1661518"/>
                    <a:gd name="connsiteY4678" fmla="*/ 1058172 h 1161399"/>
                    <a:gd name="connsiteX4679" fmla="*/ 1171016 w 1661518"/>
                    <a:gd name="connsiteY4679" fmla="*/ 1058378 h 1161399"/>
                    <a:gd name="connsiteX4680" fmla="*/ 1176311 w 1661518"/>
                    <a:gd name="connsiteY4680" fmla="*/ 1060759 h 1161399"/>
                    <a:gd name="connsiteX4681" fmla="*/ 1177112 w 1661518"/>
                    <a:gd name="connsiteY4681" fmla="*/ 1061111 h 1161399"/>
                    <a:gd name="connsiteX4682" fmla="*/ 1177987 w 1661518"/>
                    <a:gd name="connsiteY4682" fmla="*/ 1061232 h 1161399"/>
                    <a:gd name="connsiteX4683" fmla="*/ 1180937 w 1661518"/>
                    <a:gd name="connsiteY4683" fmla="*/ 1061633 h 1161399"/>
                    <a:gd name="connsiteX4684" fmla="*/ 1181047 w 1661518"/>
                    <a:gd name="connsiteY4684" fmla="*/ 1062592 h 1161399"/>
                    <a:gd name="connsiteX4685" fmla="*/ 1181107 w 1661518"/>
                    <a:gd name="connsiteY4685" fmla="*/ 1063175 h 1161399"/>
                    <a:gd name="connsiteX4686" fmla="*/ 1181289 w 1661518"/>
                    <a:gd name="connsiteY4686" fmla="*/ 1063734 h 1161399"/>
                    <a:gd name="connsiteX4687" fmla="*/ 1181909 w 1661518"/>
                    <a:gd name="connsiteY4687" fmla="*/ 1065652 h 1161399"/>
                    <a:gd name="connsiteX4688" fmla="*/ 1182285 w 1661518"/>
                    <a:gd name="connsiteY4688" fmla="*/ 1066806 h 1161399"/>
                    <a:gd name="connsiteX4689" fmla="*/ 1183074 w 1661518"/>
                    <a:gd name="connsiteY4689" fmla="*/ 1067729 h 1161399"/>
                    <a:gd name="connsiteX4690" fmla="*/ 1185673 w 1661518"/>
                    <a:gd name="connsiteY4690" fmla="*/ 1070764 h 1161399"/>
                    <a:gd name="connsiteX4691" fmla="*/ 1186183 w 1661518"/>
                    <a:gd name="connsiteY4691" fmla="*/ 1071371 h 1161399"/>
                    <a:gd name="connsiteX4692" fmla="*/ 1186851 w 1661518"/>
                    <a:gd name="connsiteY4692" fmla="*/ 1071821 h 1161399"/>
                    <a:gd name="connsiteX4693" fmla="*/ 1196019 w 1661518"/>
                    <a:gd name="connsiteY4693" fmla="*/ 1078123 h 1161399"/>
                    <a:gd name="connsiteX4694" fmla="*/ 1198047 w 1661518"/>
                    <a:gd name="connsiteY4694" fmla="*/ 1079896 h 1161399"/>
                    <a:gd name="connsiteX4695" fmla="*/ 1198800 w 1661518"/>
                    <a:gd name="connsiteY4695" fmla="*/ 1080879 h 1161399"/>
                    <a:gd name="connsiteX4696" fmla="*/ 1198921 w 1661518"/>
                    <a:gd name="connsiteY4696" fmla="*/ 1081232 h 1161399"/>
                    <a:gd name="connsiteX4697" fmla="*/ 1199055 w 1661518"/>
                    <a:gd name="connsiteY4697" fmla="*/ 1081899 h 1161399"/>
                    <a:gd name="connsiteX4698" fmla="*/ 1196711 w 1661518"/>
                    <a:gd name="connsiteY4698" fmla="*/ 1084377 h 1161399"/>
                    <a:gd name="connsiteX4699" fmla="*/ 1195618 w 1661518"/>
                    <a:gd name="connsiteY4699" fmla="*/ 1085542 h 1161399"/>
                    <a:gd name="connsiteX4700" fmla="*/ 1195229 w 1661518"/>
                    <a:gd name="connsiteY4700" fmla="*/ 1087084 h 1161399"/>
                    <a:gd name="connsiteX4701" fmla="*/ 1194889 w 1661518"/>
                    <a:gd name="connsiteY4701" fmla="*/ 1088457 h 1161399"/>
                    <a:gd name="connsiteX4702" fmla="*/ 1194525 w 1661518"/>
                    <a:gd name="connsiteY4702" fmla="*/ 1089914 h 1161399"/>
                    <a:gd name="connsiteX4703" fmla="*/ 1194889 w 1661518"/>
                    <a:gd name="connsiteY4703" fmla="*/ 1091371 h 1161399"/>
                    <a:gd name="connsiteX4704" fmla="*/ 1195290 w 1661518"/>
                    <a:gd name="connsiteY4704" fmla="*/ 1093010 h 1161399"/>
                    <a:gd name="connsiteX4705" fmla="*/ 1195800 w 1661518"/>
                    <a:gd name="connsiteY4705" fmla="*/ 1095099 h 1161399"/>
                    <a:gd name="connsiteX4706" fmla="*/ 1197500 w 1661518"/>
                    <a:gd name="connsiteY4706" fmla="*/ 1096386 h 1161399"/>
                    <a:gd name="connsiteX4707" fmla="*/ 1198824 w 1661518"/>
                    <a:gd name="connsiteY4707" fmla="*/ 1097394 h 1161399"/>
                    <a:gd name="connsiteX4708" fmla="*/ 1199625 w 1661518"/>
                    <a:gd name="connsiteY4708" fmla="*/ 1098001 h 1161399"/>
                    <a:gd name="connsiteX4709" fmla="*/ 1200572 w 1661518"/>
                    <a:gd name="connsiteY4709" fmla="*/ 1098317 h 1161399"/>
                    <a:gd name="connsiteX4710" fmla="*/ 1201944 w 1661518"/>
                    <a:gd name="connsiteY4710" fmla="*/ 1098778 h 1161399"/>
                    <a:gd name="connsiteX4711" fmla="*/ 1202964 w 1661518"/>
                    <a:gd name="connsiteY4711" fmla="*/ 1099118 h 1161399"/>
                    <a:gd name="connsiteX4712" fmla="*/ 1204045 w 1661518"/>
                    <a:gd name="connsiteY4712" fmla="*/ 1099094 h 1161399"/>
                    <a:gd name="connsiteX4713" fmla="*/ 1206061 w 1661518"/>
                    <a:gd name="connsiteY4713" fmla="*/ 1099033 h 1161399"/>
                    <a:gd name="connsiteX4714" fmla="*/ 1206474 w 1661518"/>
                    <a:gd name="connsiteY4714" fmla="*/ 1099021 h 1161399"/>
                    <a:gd name="connsiteX4715" fmla="*/ 1206875 w 1661518"/>
                    <a:gd name="connsiteY4715" fmla="*/ 1098948 h 1161399"/>
                    <a:gd name="connsiteX4716" fmla="*/ 1208599 w 1661518"/>
                    <a:gd name="connsiteY4716" fmla="*/ 1098669 h 1161399"/>
                    <a:gd name="connsiteX4717" fmla="*/ 1209036 w 1661518"/>
                    <a:gd name="connsiteY4717" fmla="*/ 1098596 h 1161399"/>
                    <a:gd name="connsiteX4718" fmla="*/ 1209449 w 1661518"/>
                    <a:gd name="connsiteY4718" fmla="*/ 1098463 h 1161399"/>
                    <a:gd name="connsiteX4719" fmla="*/ 1214160 w 1661518"/>
                    <a:gd name="connsiteY4719" fmla="*/ 1096957 h 1161399"/>
                    <a:gd name="connsiteX4720" fmla="*/ 1214767 w 1661518"/>
                    <a:gd name="connsiteY4720" fmla="*/ 1096835 h 1161399"/>
                    <a:gd name="connsiteX4721" fmla="*/ 1215338 w 1661518"/>
                    <a:gd name="connsiteY4721" fmla="*/ 1096835 h 1161399"/>
                    <a:gd name="connsiteX4722" fmla="*/ 1216237 w 1661518"/>
                    <a:gd name="connsiteY4722" fmla="*/ 1096981 h 1161399"/>
                    <a:gd name="connsiteX4723" fmla="*/ 1218592 w 1661518"/>
                    <a:gd name="connsiteY4723" fmla="*/ 1097867 h 1161399"/>
                    <a:gd name="connsiteX4724" fmla="*/ 1238604 w 1661518"/>
                    <a:gd name="connsiteY4724" fmla="*/ 1110034 h 1161399"/>
                    <a:gd name="connsiteX4725" fmla="*/ 1239029 w 1661518"/>
                    <a:gd name="connsiteY4725" fmla="*/ 1110290 h 1161399"/>
                    <a:gd name="connsiteX4726" fmla="*/ 1239491 w 1661518"/>
                    <a:gd name="connsiteY4726" fmla="*/ 1110484 h 1161399"/>
                    <a:gd name="connsiteX4727" fmla="*/ 1242077 w 1661518"/>
                    <a:gd name="connsiteY4727" fmla="*/ 1111528 h 1161399"/>
                    <a:gd name="connsiteX4728" fmla="*/ 1243534 w 1661518"/>
                    <a:gd name="connsiteY4728" fmla="*/ 1112111 h 1161399"/>
                    <a:gd name="connsiteX4729" fmla="*/ 1245088 w 1661518"/>
                    <a:gd name="connsiteY4729" fmla="*/ 1111917 h 1161399"/>
                    <a:gd name="connsiteX4730" fmla="*/ 1246533 w 1661518"/>
                    <a:gd name="connsiteY4730" fmla="*/ 1111735 h 1161399"/>
                    <a:gd name="connsiteX4731" fmla="*/ 1247238 w 1661518"/>
                    <a:gd name="connsiteY4731" fmla="*/ 1111650 h 1161399"/>
                    <a:gd name="connsiteX4732" fmla="*/ 1247905 w 1661518"/>
                    <a:gd name="connsiteY4732" fmla="*/ 1111394 h 1161399"/>
                    <a:gd name="connsiteX4733" fmla="*/ 1248986 w 1661518"/>
                    <a:gd name="connsiteY4733" fmla="*/ 1110994 h 1161399"/>
                    <a:gd name="connsiteX4734" fmla="*/ 1249581 w 1661518"/>
                    <a:gd name="connsiteY4734" fmla="*/ 1110763 h 1161399"/>
                    <a:gd name="connsiteX4735" fmla="*/ 1250116 w 1661518"/>
                    <a:gd name="connsiteY4735" fmla="*/ 1110435 h 1161399"/>
                    <a:gd name="connsiteX4736" fmla="*/ 1251038 w 1661518"/>
                    <a:gd name="connsiteY4736" fmla="*/ 1109852 h 1161399"/>
                    <a:gd name="connsiteX4737" fmla="*/ 1251293 w 1661518"/>
                    <a:gd name="connsiteY4737" fmla="*/ 1109682 h 1161399"/>
                    <a:gd name="connsiteX4738" fmla="*/ 1251536 w 1661518"/>
                    <a:gd name="connsiteY4738" fmla="*/ 1109488 h 1161399"/>
                    <a:gd name="connsiteX4739" fmla="*/ 1254147 w 1661518"/>
                    <a:gd name="connsiteY4739" fmla="*/ 1107436 h 1161399"/>
                    <a:gd name="connsiteX4740" fmla="*/ 1256090 w 1661518"/>
                    <a:gd name="connsiteY4740" fmla="*/ 1106853 h 1161399"/>
                    <a:gd name="connsiteX4741" fmla="*/ 1258943 w 1661518"/>
                    <a:gd name="connsiteY4741" fmla="*/ 1106003 h 1161399"/>
                    <a:gd name="connsiteX4742" fmla="*/ 1260000 w 1661518"/>
                    <a:gd name="connsiteY4742" fmla="*/ 1103223 h 1161399"/>
                    <a:gd name="connsiteX4743" fmla="*/ 1263570 w 1661518"/>
                    <a:gd name="connsiteY4743" fmla="*/ 1093884 h 1161399"/>
                    <a:gd name="connsiteX4744" fmla="*/ 1263740 w 1661518"/>
                    <a:gd name="connsiteY4744" fmla="*/ 1093447 h 1161399"/>
                    <a:gd name="connsiteX4745" fmla="*/ 1263837 w 1661518"/>
                    <a:gd name="connsiteY4745" fmla="*/ 1092974 h 1161399"/>
                    <a:gd name="connsiteX4746" fmla="*/ 1265233 w 1661518"/>
                    <a:gd name="connsiteY4746" fmla="*/ 1086392 h 1161399"/>
                    <a:gd name="connsiteX4747" fmla="*/ 1267941 w 1661518"/>
                    <a:gd name="connsiteY4747" fmla="*/ 1079228 h 1161399"/>
                    <a:gd name="connsiteX4748" fmla="*/ 1268196 w 1661518"/>
                    <a:gd name="connsiteY4748" fmla="*/ 1078523 h 1161399"/>
                    <a:gd name="connsiteX4749" fmla="*/ 1268281 w 1661518"/>
                    <a:gd name="connsiteY4749" fmla="*/ 1077783 h 1161399"/>
                    <a:gd name="connsiteX4750" fmla="*/ 1268852 w 1661518"/>
                    <a:gd name="connsiteY4750" fmla="*/ 1072926 h 1161399"/>
                    <a:gd name="connsiteX4751" fmla="*/ 1268913 w 1661518"/>
                    <a:gd name="connsiteY4751" fmla="*/ 1072343 h 1161399"/>
                    <a:gd name="connsiteX4752" fmla="*/ 1268876 w 1661518"/>
                    <a:gd name="connsiteY4752" fmla="*/ 1071772 h 1161399"/>
                    <a:gd name="connsiteX4753" fmla="*/ 1267662 w 1661518"/>
                    <a:gd name="connsiteY4753" fmla="*/ 1055294 h 1161399"/>
                    <a:gd name="connsiteX4754" fmla="*/ 1268111 w 1661518"/>
                    <a:gd name="connsiteY4754" fmla="*/ 1052671 h 1161399"/>
                    <a:gd name="connsiteX4755" fmla="*/ 1268682 w 1661518"/>
                    <a:gd name="connsiteY4755" fmla="*/ 1050656 h 1161399"/>
                    <a:gd name="connsiteX4756" fmla="*/ 1268840 w 1661518"/>
                    <a:gd name="connsiteY4756" fmla="*/ 1050060 h 1161399"/>
                    <a:gd name="connsiteX4757" fmla="*/ 1268876 w 1661518"/>
                    <a:gd name="connsiteY4757" fmla="*/ 1049429 h 1161399"/>
                    <a:gd name="connsiteX4758" fmla="*/ 1269981 w 1661518"/>
                    <a:gd name="connsiteY4758" fmla="*/ 1030875 h 1161399"/>
                    <a:gd name="connsiteX4759" fmla="*/ 1271111 w 1661518"/>
                    <a:gd name="connsiteY4759" fmla="*/ 1027487 h 1161399"/>
                    <a:gd name="connsiteX4760" fmla="*/ 1271451 w 1661518"/>
                    <a:gd name="connsiteY4760" fmla="*/ 1027123 h 1161399"/>
                    <a:gd name="connsiteX4761" fmla="*/ 1275579 w 1661518"/>
                    <a:gd name="connsiteY4761" fmla="*/ 1026515 h 1161399"/>
                    <a:gd name="connsiteX4762" fmla="*/ 1277170 w 1661518"/>
                    <a:gd name="connsiteY4762" fmla="*/ 1026273 h 1161399"/>
                    <a:gd name="connsiteX4763" fmla="*/ 1278433 w 1661518"/>
                    <a:gd name="connsiteY4763" fmla="*/ 1025277 h 1161399"/>
                    <a:gd name="connsiteX4764" fmla="*/ 1281724 w 1661518"/>
                    <a:gd name="connsiteY4764" fmla="*/ 1022703 h 1161399"/>
                    <a:gd name="connsiteX4765" fmla="*/ 1282695 w 1661518"/>
                    <a:gd name="connsiteY4765" fmla="*/ 1021950 h 1161399"/>
                    <a:gd name="connsiteX4766" fmla="*/ 1283290 w 1661518"/>
                    <a:gd name="connsiteY4766" fmla="*/ 1020869 h 1161399"/>
                    <a:gd name="connsiteX4767" fmla="*/ 1286387 w 1661518"/>
                    <a:gd name="connsiteY4767" fmla="*/ 1015271 h 1161399"/>
                    <a:gd name="connsiteX4768" fmla="*/ 1286629 w 1661518"/>
                    <a:gd name="connsiteY4768" fmla="*/ 1014834 h 1161399"/>
                    <a:gd name="connsiteX4769" fmla="*/ 1286799 w 1661518"/>
                    <a:gd name="connsiteY4769" fmla="*/ 1014372 h 1161399"/>
                    <a:gd name="connsiteX4770" fmla="*/ 1289835 w 1661518"/>
                    <a:gd name="connsiteY4770" fmla="*/ 1005836 h 1161399"/>
                    <a:gd name="connsiteX4771" fmla="*/ 1290260 w 1661518"/>
                    <a:gd name="connsiteY4771" fmla="*/ 1004622 h 1161399"/>
                    <a:gd name="connsiteX4772" fmla="*/ 1290163 w 1661518"/>
                    <a:gd name="connsiteY4772" fmla="*/ 1003347 h 1161399"/>
                    <a:gd name="connsiteX4773" fmla="*/ 1289276 w 1661518"/>
                    <a:gd name="connsiteY4773" fmla="*/ 991568 h 1161399"/>
                    <a:gd name="connsiteX4774" fmla="*/ 1289616 w 1661518"/>
                    <a:gd name="connsiteY4774" fmla="*/ 984282 h 1161399"/>
                    <a:gd name="connsiteX4775" fmla="*/ 1290940 w 1661518"/>
                    <a:gd name="connsiteY4775" fmla="*/ 980202 h 1161399"/>
                    <a:gd name="connsiteX4776" fmla="*/ 1298262 w 1661518"/>
                    <a:gd name="connsiteY4776" fmla="*/ 965193 h 1161399"/>
                    <a:gd name="connsiteX4777" fmla="*/ 1301007 w 1661518"/>
                    <a:gd name="connsiteY4777" fmla="*/ 960822 h 1161399"/>
                    <a:gd name="connsiteX4778" fmla="*/ 1301347 w 1661518"/>
                    <a:gd name="connsiteY4778" fmla="*/ 960543 h 1161399"/>
                    <a:gd name="connsiteX4779" fmla="*/ 1305281 w 1661518"/>
                    <a:gd name="connsiteY4779" fmla="*/ 966493 h 1161399"/>
                    <a:gd name="connsiteX4780" fmla="*/ 1306216 w 1661518"/>
                    <a:gd name="connsiteY4780" fmla="*/ 967901 h 1161399"/>
                    <a:gd name="connsiteX4781" fmla="*/ 1307734 w 1661518"/>
                    <a:gd name="connsiteY4781" fmla="*/ 968630 h 1161399"/>
                    <a:gd name="connsiteX4782" fmla="*/ 1309179 w 1661518"/>
                    <a:gd name="connsiteY4782" fmla="*/ 969322 h 1161399"/>
                    <a:gd name="connsiteX4783" fmla="*/ 1311425 w 1661518"/>
                    <a:gd name="connsiteY4783" fmla="*/ 970391 h 1161399"/>
                    <a:gd name="connsiteX4784" fmla="*/ 1313769 w 1661518"/>
                    <a:gd name="connsiteY4784" fmla="*/ 969589 h 1161399"/>
                    <a:gd name="connsiteX4785" fmla="*/ 1315250 w 1661518"/>
                    <a:gd name="connsiteY4785" fmla="*/ 969079 h 1161399"/>
                    <a:gd name="connsiteX4786" fmla="*/ 1316999 w 1661518"/>
                    <a:gd name="connsiteY4786" fmla="*/ 968472 h 1161399"/>
                    <a:gd name="connsiteX4787" fmla="*/ 1318116 w 1661518"/>
                    <a:gd name="connsiteY4787" fmla="*/ 967003 h 1161399"/>
                    <a:gd name="connsiteX4788" fmla="*/ 1319792 w 1661518"/>
                    <a:gd name="connsiteY4788" fmla="*/ 964781 h 1161399"/>
                    <a:gd name="connsiteX4789" fmla="*/ 1320897 w 1661518"/>
                    <a:gd name="connsiteY4789" fmla="*/ 963311 h 1161399"/>
                    <a:gd name="connsiteX4790" fmla="*/ 1321006 w 1661518"/>
                    <a:gd name="connsiteY4790" fmla="*/ 961490 h 1161399"/>
                    <a:gd name="connsiteX4791" fmla="*/ 1321176 w 1661518"/>
                    <a:gd name="connsiteY4791" fmla="*/ 958624 h 1161399"/>
                    <a:gd name="connsiteX4792" fmla="*/ 1321249 w 1661518"/>
                    <a:gd name="connsiteY4792" fmla="*/ 957422 h 1161399"/>
                    <a:gd name="connsiteX4793" fmla="*/ 1320872 w 1661518"/>
                    <a:gd name="connsiteY4793" fmla="*/ 956293 h 1161399"/>
                    <a:gd name="connsiteX4794" fmla="*/ 1320022 w 1661518"/>
                    <a:gd name="connsiteY4794" fmla="*/ 953779 h 1161399"/>
                    <a:gd name="connsiteX4795" fmla="*/ 1321164 w 1661518"/>
                    <a:gd name="connsiteY4795" fmla="*/ 952941 h 1161399"/>
                    <a:gd name="connsiteX4796" fmla="*/ 1322572 w 1661518"/>
                    <a:gd name="connsiteY4796" fmla="*/ 951897 h 1161399"/>
                    <a:gd name="connsiteX4797" fmla="*/ 1323204 w 1661518"/>
                    <a:gd name="connsiteY4797" fmla="*/ 950258 h 1161399"/>
                    <a:gd name="connsiteX4798" fmla="*/ 1324066 w 1661518"/>
                    <a:gd name="connsiteY4798" fmla="*/ 947999 h 1161399"/>
                    <a:gd name="connsiteX4799" fmla="*/ 1324418 w 1661518"/>
                    <a:gd name="connsiteY4799" fmla="*/ 947088 h 1161399"/>
                    <a:gd name="connsiteX4800" fmla="*/ 1324467 w 1661518"/>
                    <a:gd name="connsiteY4800" fmla="*/ 946117 h 1161399"/>
                    <a:gd name="connsiteX4801" fmla="*/ 1324928 w 1661518"/>
                    <a:gd name="connsiteY4801" fmla="*/ 936731 h 1161399"/>
                    <a:gd name="connsiteX4802" fmla="*/ 1325535 w 1661518"/>
                    <a:gd name="connsiteY4802" fmla="*/ 935273 h 1161399"/>
                    <a:gd name="connsiteX4803" fmla="*/ 1327090 w 1661518"/>
                    <a:gd name="connsiteY4803" fmla="*/ 933403 h 1161399"/>
                    <a:gd name="connsiteX4804" fmla="*/ 1328098 w 1661518"/>
                    <a:gd name="connsiteY4804" fmla="*/ 932553 h 1161399"/>
                    <a:gd name="connsiteX4805" fmla="*/ 1335456 w 1661518"/>
                    <a:gd name="connsiteY4805" fmla="*/ 928279 h 1161399"/>
                    <a:gd name="connsiteX4806" fmla="*/ 1336816 w 1661518"/>
                    <a:gd name="connsiteY4806" fmla="*/ 927490 h 1161399"/>
                    <a:gd name="connsiteX4807" fmla="*/ 1337618 w 1661518"/>
                    <a:gd name="connsiteY4807" fmla="*/ 926142 h 1161399"/>
                    <a:gd name="connsiteX4808" fmla="*/ 1342050 w 1661518"/>
                    <a:gd name="connsiteY4808" fmla="*/ 918686 h 1161399"/>
                    <a:gd name="connsiteX4809" fmla="*/ 1342608 w 1661518"/>
                    <a:gd name="connsiteY4809" fmla="*/ 917751 h 1161399"/>
                    <a:gd name="connsiteX4810" fmla="*/ 1342803 w 1661518"/>
                    <a:gd name="connsiteY4810" fmla="*/ 916683 h 1161399"/>
                    <a:gd name="connsiteX4811" fmla="*/ 1343422 w 1661518"/>
                    <a:gd name="connsiteY4811" fmla="*/ 913282 h 1161399"/>
                    <a:gd name="connsiteX4812" fmla="*/ 1343446 w 1661518"/>
                    <a:gd name="connsiteY4812" fmla="*/ 912942 h 1161399"/>
                    <a:gd name="connsiteX4813" fmla="*/ 1343471 w 1661518"/>
                    <a:gd name="connsiteY4813" fmla="*/ 912602 h 1161399"/>
                    <a:gd name="connsiteX4814" fmla="*/ 1343823 w 1661518"/>
                    <a:gd name="connsiteY4814" fmla="*/ 907527 h 1161399"/>
                    <a:gd name="connsiteX4815" fmla="*/ 1343859 w 1661518"/>
                    <a:gd name="connsiteY4815" fmla="*/ 906968 h 1161399"/>
                    <a:gd name="connsiteX4816" fmla="*/ 1343798 w 1661518"/>
                    <a:gd name="connsiteY4816" fmla="*/ 906410 h 1161399"/>
                    <a:gd name="connsiteX4817" fmla="*/ 1343228 w 1661518"/>
                    <a:gd name="connsiteY4817" fmla="*/ 901480 h 1161399"/>
                    <a:gd name="connsiteX4818" fmla="*/ 1343495 w 1661518"/>
                    <a:gd name="connsiteY4818" fmla="*/ 895894 h 1161399"/>
                    <a:gd name="connsiteX4819" fmla="*/ 1344430 w 1661518"/>
                    <a:gd name="connsiteY4819" fmla="*/ 893210 h 1161399"/>
                    <a:gd name="connsiteX4820" fmla="*/ 1348826 w 1661518"/>
                    <a:gd name="connsiteY4820" fmla="*/ 887442 h 1161399"/>
                    <a:gd name="connsiteX4821" fmla="*/ 1349263 w 1661518"/>
                    <a:gd name="connsiteY4821" fmla="*/ 888729 h 1161399"/>
                    <a:gd name="connsiteX4822" fmla="*/ 1351400 w 1661518"/>
                    <a:gd name="connsiteY4822" fmla="*/ 889859 h 1161399"/>
                    <a:gd name="connsiteX4823" fmla="*/ 1353282 w 1661518"/>
                    <a:gd name="connsiteY4823" fmla="*/ 890854 h 1161399"/>
                    <a:gd name="connsiteX4824" fmla="*/ 1353986 w 1661518"/>
                    <a:gd name="connsiteY4824" fmla="*/ 891231 h 1161399"/>
                    <a:gd name="connsiteX4825" fmla="*/ 1354763 w 1661518"/>
                    <a:gd name="connsiteY4825" fmla="*/ 891413 h 1161399"/>
                    <a:gd name="connsiteX4826" fmla="*/ 1357192 w 1661518"/>
                    <a:gd name="connsiteY4826" fmla="*/ 891972 h 1161399"/>
                    <a:gd name="connsiteX4827" fmla="*/ 1359171 w 1661518"/>
                    <a:gd name="connsiteY4827" fmla="*/ 892433 h 1161399"/>
                    <a:gd name="connsiteX4828" fmla="*/ 1361029 w 1661518"/>
                    <a:gd name="connsiteY4828" fmla="*/ 891595 h 1161399"/>
                    <a:gd name="connsiteX4829" fmla="*/ 1365388 w 1661518"/>
                    <a:gd name="connsiteY4829" fmla="*/ 889640 h 1161399"/>
                    <a:gd name="connsiteX4830" fmla="*/ 1366190 w 1661518"/>
                    <a:gd name="connsiteY4830" fmla="*/ 889288 h 1161399"/>
                    <a:gd name="connsiteX4831" fmla="*/ 1366858 w 1661518"/>
                    <a:gd name="connsiteY4831" fmla="*/ 888717 h 1161399"/>
                    <a:gd name="connsiteX4832" fmla="*/ 1369493 w 1661518"/>
                    <a:gd name="connsiteY4832" fmla="*/ 886459 h 1161399"/>
                    <a:gd name="connsiteX4833" fmla="*/ 1370719 w 1661518"/>
                    <a:gd name="connsiteY4833" fmla="*/ 886058 h 1161399"/>
                    <a:gd name="connsiteX4834" fmla="*/ 1375321 w 1661518"/>
                    <a:gd name="connsiteY4834" fmla="*/ 885475 h 1161399"/>
                    <a:gd name="connsiteX4835" fmla="*/ 1377094 w 1661518"/>
                    <a:gd name="connsiteY4835" fmla="*/ 885244 h 1161399"/>
                    <a:gd name="connsiteX4836" fmla="*/ 1378454 w 1661518"/>
                    <a:gd name="connsiteY4836" fmla="*/ 884103 h 1161399"/>
                    <a:gd name="connsiteX4837" fmla="*/ 1381089 w 1661518"/>
                    <a:gd name="connsiteY4837" fmla="*/ 881905 h 1161399"/>
                    <a:gd name="connsiteX4838" fmla="*/ 1381563 w 1661518"/>
                    <a:gd name="connsiteY4838" fmla="*/ 882403 h 1161399"/>
                    <a:gd name="connsiteX4839" fmla="*/ 1384769 w 1661518"/>
                    <a:gd name="connsiteY4839" fmla="*/ 888195 h 1161399"/>
                    <a:gd name="connsiteX4840" fmla="*/ 1385364 w 1661518"/>
                    <a:gd name="connsiteY4840" fmla="*/ 889276 h 1161399"/>
                    <a:gd name="connsiteX4841" fmla="*/ 1386335 w 1661518"/>
                    <a:gd name="connsiteY4841" fmla="*/ 890029 h 1161399"/>
                    <a:gd name="connsiteX4842" fmla="*/ 1389091 w 1661518"/>
                    <a:gd name="connsiteY4842" fmla="*/ 892190 h 1161399"/>
                    <a:gd name="connsiteX4843" fmla="*/ 1391314 w 1661518"/>
                    <a:gd name="connsiteY4843" fmla="*/ 893939 h 1161399"/>
                    <a:gd name="connsiteX4844" fmla="*/ 1394082 w 1661518"/>
                    <a:gd name="connsiteY4844" fmla="*/ 893356 h 1161399"/>
                    <a:gd name="connsiteX4845" fmla="*/ 1396778 w 1661518"/>
                    <a:gd name="connsiteY4845" fmla="*/ 892785 h 1161399"/>
                    <a:gd name="connsiteX4846" fmla="*/ 1397834 w 1661518"/>
                    <a:gd name="connsiteY4846" fmla="*/ 892554 h 1161399"/>
                    <a:gd name="connsiteX4847" fmla="*/ 1398757 w 1661518"/>
                    <a:gd name="connsiteY4847" fmla="*/ 891984 h 1161399"/>
                    <a:gd name="connsiteX4848" fmla="*/ 1401744 w 1661518"/>
                    <a:gd name="connsiteY4848" fmla="*/ 890114 h 1161399"/>
                    <a:gd name="connsiteX4849" fmla="*/ 1402461 w 1661518"/>
                    <a:gd name="connsiteY4849" fmla="*/ 889664 h 1161399"/>
                    <a:gd name="connsiteX4850" fmla="*/ 1403032 w 1661518"/>
                    <a:gd name="connsiteY4850" fmla="*/ 889033 h 1161399"/>
                    <a:gd name="connsiteX4851" fmla="*/ 1404574 w 1661518"/>
                    <a:gd name="connsiteY4851" fmla="*/ 887309 h 1161399"/>
                    <a:gd name="connsiteX4852" fmla="*/ 1407282 w 1661518"/>
                    <a:gd name="connsiteY4852" fmla="*/ 885718 h 1161399"/>
                    <a:gd name="connsiteX4853" fmla="*/ 1407549 w 1661518"/>
                    <a:gd name="connsiteY4853" fmla="*/ 885560 h 1161399"/>
                    <a:gd name="connsiteX4854" fmla="*/ 1407792 w 1661518"/>
                    <a:gd name="connsiteY4854" fmla="*/ 885378 h 1161399"/>
                    <a:gd name="connsiteX4855" fmla="*/ 1410257 w 1661518"/>
                    <a:gd name="connsiteY4855" fmla="*/ 883569 h 1161399"/>
                    <a:gd name="connsiteX4856" fmla="*/ 1410645 w 1661518"/>
                    <a:gd name="connsiteY4856" fmla="*/ 883289 h 1161399"/>
                    <a:gd name="connsiteX4857" fmla="*/ 1410985 w 1661518"/>
                    <a:gd name="connsiteY4857" fmla="*/ 882949 h 1161399"/>
                    <a:gd name="connsiteX4858" fmla="*/ 1414519 w 1661518"/>
                    <a:gd name="connsiteY4858" fmla="*/ 879392 h 1161399"/>
                    <a:gd name="connsiteX4859" fmla="*/ 1418101 w 1661518"/>
                    <a:gd name="connsiteY4859" fmla="*/ 876854 h 1161399"/>
                    <a:gd name="connsiteX4860" fmla="*/ 1420505 w 1661518"/>
                    <a:gd name="connsiteY4860" fmla="*/ 876404 h 1161399"/>
                    <a:gd name="connsiteX4861" fmla="*/ 1421137 w 1661518"/>
                    <a:gd name="connsiteY4861" fmla="*/ 876295 h 1161399"/>
                    <a:gd name="connsiteX4862" fmla="*/ 1421732 w 1661518"/>
                    <a:gd name="connsiteY4862" fmla="*/ 876040 h 1161399"/>
                    <a:gd name="connsiteX4863" fmla="*/ 1424464 w 1661518"/>
                    <a:gd name="connsiteY4863" fmla="*/ 874911 h 1161399"/>
                    <a:gd name="connsiteX4864" fmla="*/ 1428362 w 1661518"/>
                    <a:gd name="connsiteY4864" fmla="*/ 874437 h 1161399"/>
                    <a:gd name="connsiteX4865" fmla="*/ 1429090 w 1661518"/>
                    <a:gd name="connsiteY4865" fmla="*/ 874352 h 1161399"/>
                    <a:gd name="connsiteX4866" fmla="*/ 1429782 w 1661518"/>
                    <a:gd name="connsiteY4866" fmla="*/ 874097 h 1161399"/>
                    <a:gd name="connsiteX4867" fmla="*/ 1433680 w 1661518"/>
                    <a:gd name="connsiteY4867" fmla="*/ 872628 h 1161399"/>
                    <a:gd name="connsiteX4868" fmla="*/ 1434118 w 1661518"/>
                    <a:gd name="connsiteY4868" fmla="*/ 872458 h 1161399"/>
                    <a:gd name="connsiteX4869" fmla="*/ 1434530 w 1661518"/>
                    <a:gd name="connsiteY4869" fmla="*/ 872227 h 1161399"/>
                    <a:gd name="connsiteX4870" fmla="*/ 1437918 w 1661518"/>
                    <a:gd name="connsiteY4870" fmla="*/ 870309 h 1161399"/>
                    <a:gd name="connsiteX4871" fmla="*/ 1439218 w 1661518"/>
                    <a:gd name="connsiteY4871" fmla="*/ 869568 h 1161399"/>
                    <a:gd name="connsiteX4872" fmla="*/ 1440019 w 1661518"/>
                    <a:gd name="connsiteY4872" fmla="*/ 868305 h 1161399"/>
                    <a:gd name="connsiteX4873" fmla="*/ 1441282 w 1661518"/>
                    <a:gd name="connsiteY4873" fmla="*/ 866350 h 1161399"/>
                    <a:gd name="connsiteX4874" fmla="*/ 1442107 w 1661518"/>
                    <a:gd name="connsiteY4874" fmla="*/ 865075 h 1161399"/>
                    <a:gd name="connsiteX4875" fmla="*/ 1442229 w 1661518"/>
                    <a:gd name="connsiteY4875" fmla="*/ 863557 h 1161399"/>
                    <a:gd name="connsiteX4876" fmla="*/ 1442411 w 1661518"/>
                    <a:gd name="connsiteY4876" fmla="*/ 861323 h 1161399"/>
                    <a:gd name="connsiteX4877" fmla="*/ 1442836 w 1661518"/>
                    <a:gd name="connsiteY4877" fmla="*/ 859878 h 1161399"/>
                    <a:gd name="connsiteX4878" fmla="*/ 1444318 w 1661518"/>
                    <a:gd name="connsiteY4878" fmla="*/ 857959 h 1161399"/>
                    <a:gd name="connsiteX4879" fmla="*/ 1453243 w 1661518"/>
                    <a:gd name="connsiteY4879" fmla="*/ 851778 h 1161399"/>
                    <a:gd name="connsiteX4880" fmla="*/ 1456448 w 1661518"/>
                    <a:gd name="connsiteY4880" fmla="*/ 851232 h 1161399"/>
                    <a:gd name="connsiteX4881" fmla="*/ 1458173 w 1661518"/>
                    <a:gd name="connsiteY4881" fmla="*/ 850941 h 1161399"/>
                    <a:gd name="connsiteX4882" fmla="*/ 1459472 w 1661518"/>
                    <a:gd name="connsiteY4882" fmla="*/ 849775 h 1161399"/>
                    <a:gd name="connsiteX4883" fmla="*/ 1462289 w 1661518"/>
                    <a:gd name="connsiteY4883" fmla="*/ 847249 h 1161399"/>
                    <a:gd name="connsiteX4884" fmla="*/ 1464268 w 1661518"/>
                    <a:gd name="connsiteY4884" fmla="*/ 845476 h 1161399"/>
                    <a:gd name="connsiteX4885" fmla="*/ 1464305 w 1661518"/>
                    <a:gd name="connsiteY4885" fmla="*/ 842817 h 1161399"/>
                    <a:gd name="connsiteX4886" fmla="*/ 1464353 w 1661518"/>
                    <a:gd name="connsiteY4886" fmla="*/ 839198 h 1161399"/>
                    <a:gd name="connsiteX4887" fmla="*/ 1464366 w 1661518"/>
                    <a:gd name="connsiteY4887" fmla="*/ 838336 h 1161399"/>
                    <a:gd name="connsiteX4888" fmla="*/ 1464135 w 1661518"/>
                    <a:gd name="connsiteY4888" fmla="*/ 837498 h 1161399"/>
                    <a:gd name="connsiteX4889" fmla="*/ 1463321 w 1661518"/>
                    <a:gd name="connsiteY4889" fmla="*/ 834536 h 1161399"/>
                    <a:gd name="connsiteX4890" fmla="*/ 1463333 w 1661518"/>
                    <a:gd name="connsiteY4890" fmla="*/ 834341 h 1161399"/>
                    <a:gd name="connsiteX4891" fmla="*/ 1463394 w 1661518"/>
                    <a:gd name="connsiteY4891" fmla="*/ 834232 h 1161399"/>
                    <a:gd name="connsiteX4892" fmla="*/ 1466333 w 1661518"/>
                    <a:gd name="connsiteY4892" fmla="*/ 830796 h 1161399"/>
                    <a:gd name="connsiteX4893" fmla="*/ 1467875 w 1661518"/>
                    <a:gd name="connsiteY4893" fmla="*/ 828986 h 1161399"/>
                    <a:gd name="connsiteX4894" fmla="*/ 1467778 w 1661518"/>
                    <a:gd name="connsiteY4894" fmla="*/ 826606 h 1161399"/>
                    <a:gd name="connsiteX4895" fmla="*/ 1467498 w 1661518"/>
                    <a:gd name="connsiteY4895" fmla="*/ 819393 h 1161399"/>
                    <a:gd name="connsiteX4896" fmla="*/ 1467486 w 1661518"/>
                    <a:gd name="connsiteY4896" fmla="*/ 818908 h 1161399"/>
                    <a:gd name="connsiteX4897" fmla="*/ 1467389 w 1661518"/>
                    <a:gd name="connsiteY4897" fmla="*/ 818434 h 1161399"/>
                    <a:gd name="connsiteX4898" fmla="*/ 1466308 w 1661518"/>
                    <a:gd name="connsiteY4898" fmla="*/ 812982 h 1161399"/>
                    <a:gd name="connsiteX4899" fmla="*/ 1466563 w 1661518"/>
                    <a:gd name="connsiteY4899" fmla="*/ 810505 h 1161399"/>
                    <a:gd name="connsiteX4900" fmla="*/ 1466867 w 1661518"/>
                    <a:gd name="connsiteY4900" fmla="*/ 809910 h 1161399"/>
                    <a:gd name="connsiteX4901" fmla="*/ 1468093 w 1661518"/>
                    <a:gd name="connsiteY4901" fmla="*/ 809302 h 1161399"/>
                    <a:gd name="connsiteX4902" fmla="*/ 1474821 w 1661518"/>
                    <a:gd name="connsiteY4902" fmla="*/ 807311 h 1161399"/>
                    <a:gd name="connsiteX4903" fmla="*/ 1475258 w 1661518"/>
                    <a:gd name="connsiteY4903" fmla="*/ 807177 h 1161399"/>
                    <a:gd name="connsiteX4904" fmla="*/ 1475671 w 1661518"/>
                    <a:gd name="connsiteY4904" fmla="*/ 806983 h 1161399"/>
                    <a:gd name="connsiteX4905" fmla="*/ 1479350 w 1661518"/>
                    <a:gd name="connsiteY4905" fmla="*/ 805259 h 1161399"/>
                    <a:gd name="connsiteX4906" fmla="*/ 1480018 w 1661518"/>
                    <a:gd name="connsiteY4906" fmla="*/ 804955 h 1161399"/>
                    <a:gd name="connsiteX4907" fmla="*/ 1480576 w 1661518"/>
                    <a:gd name="connsiteY4907" fmla="*/ 804494 h 1161399"/>
                    <a:gd name="connsiteX4908" fmla="*/ 1488275 w 1661518"/>
                    <a:gd name="connsiteY4908" fmla="*/ 798313 h 1161399"/>
                    <a:gd name="connsiteX4909" fmla="*/ 1488566 w 1661518"/>
                    <a:gd name="connsiteY4909" fmla="*/ 798082 h 1161399"/>
                    <a:gd name="connsiteX4910" fmla="*/ 1488821 w 1661518"/>
                    <a:gd name="connsiteY4910" fmla="*/ 797827 h 1161399"/>
                    <a:gd name="connsiteX4911" fmla="*/ 1495196 w 1661518"/>
                    <a:gd name="connsiteY4911" fmla="*/ 791282 h 1161399"/>
                    <a:gd name="connsiteX4912" fmla="*/ 1496386 w 1661518"/>
                    <a:gd name="connsiteY4912" fmla="*/ 790068 h 1161399"/>
                    <a:gd name="connsiteX4913" fmla="*/ 1496775 w 1661518"/>
                    <a:gd name="connsiteY4913" fmla="*/ 788405 h 1161399"/>
                    <a:gd name="connsiteX4914" fmla="*/ 1497564 w 1661518"/>
                    <a:gd name="connsiteY4914" fmla="*/ 784992 h 1161399"/>
                    <a:gd name="connsiteX4915" fmla="*/ 1497916 w 1661518"/>
                    <a:gd name="connsiteY4915" fmla="*/ 783438 h 1161399"/>
                    <a:gd name="connsiteX4916" fmla="*/ 1497467 w 1661518"/>
                    <a:gd name="connsiteY4916" fmla="*/ 781908 h 1161399"/>
                    <a:gd name="connsiteX4917" fmla="*/ 1495646 w 1661518"/>
                    <a:gd name="connsiteY4917" fmla="*/ 775739 h 1161399"/>
                    <a:gd name="connsiteX4918" fmla="*/ 1495719 w 1661518"/>
                    <a:gd name="connsiteY4918" fmla="*/ 774343 h 1161399"/>
                    <a:gd name="connsiteX4919" fmla="*/ 1496787 w 1661518"/>
                    <a:gd name="connsiteY4919" fmla="*/ 771926 h 1161399"/>
                    <a:gd name="connsiteX4920" fmla="*/ 1498305 w 1661518"/>
                    <a:gd name="connsiteY4920" fmla="*/ 770919 h 1161399"/>
                    <a:gd name="connsiteX4921" fmla="*/ 1507691 w 1661518"/>
                    <a:gd name="connsiteY4921" fmla="*/ 768004 h 1161399"/>
                    <a:gd name="connsiteX4922" fmla="*/ 1508396 w 1661518"/>
                    <a:gd name="connsiteY4922" fmla="*/ 767786 h 1161399"/>
                    <a:gd name="connsiteX4923" fmla="*/ 1509027 w 1661518"/>
                    <a:gd name="connsiteY4923" fmla="*/ 767397 h 1161399"/>
                    <a:gd name="connsiteX4924" fmla="*/ 1517515 w 1661518"/>
                    <a:gd name="connsiteY4924" fmla="*/ 762261 h 1161399"/>
                    <a:gd name="connsiteX4925" fmla="*/ 1519130 w 1661518"/>
                    <a:gd name="connsiteY4925" fmla="*/ 761957 h 1161399"/>
                    <a:gd name="connsiteX4926" fmla="*/ 1521680 w 1661518"/>
                    <a:gd name="connsiteY4926" fmla="*/ 762212 h 1161399"/>
                    <a:gd name="connsiteX4927" fmla="*/ 1524485 w 1661518"/>
                    <a:gd name="connsiteY4927" fmla="*/ 763074 h 1161399"/>
                    <a:gd name="connsiteX4928" fmla="*/ 1528687 w 1661518"/>
                    <a:gd name="connsiteY4928" fmla="*/ 764362 h 1161399"/>
                    <a:gd name="connsiteX4929" fmla="*/ 1531212 w 1661518"/>
                    <a:gd name="connsiteY4929" fmla="*/ 760779 h 1161399"/>
                    <a:gd name="connsiteX4930" fmla="*/ 1533568 w 1661518"/>
                    <a:gd name="connsiteY4930" fmla="*/ 757440 h 1161399"/>
                    <a:gd name="connsiteX4931" fmla="*/ 1533981 w 1661518"/>
                    <a:gd name="connsiteY4931" fmla="*/ 756857 h 1161399"/>
                    <a:gd name="connsiteX4932" fmla="*/ 1534248 w 1661518"/>
                    <a:gd name="connsiteY4932" fmla="*/ 756189 h 1161399"/>
                    <a:gd name="connsiteX4933" fmla="*/ 1537005 w 1661518"/>
                    <a:gd name="connsiteY4933" fmla="*/ 749280 h 1161399"/>
                    <a:gd name="connsiteX4934" fmla="*/ 1537393 w 1661518"/>
                    <a:gd name="connsiteY4934" fmla="*/ 748309 h 1161399"/>
                    <a:gd name="connsiteX4935" fmla="*/ 1537430 w 1661518"/>
                    <a:gd name="connsiteY4935" fmla="*/ 747276 h 1161399"/>
                    <a:gd name="connsiteX4936" fmla="*/ 1537587 w 1661518"/>
                    <a:gd name="connsiteY4936" fmla="*/ 743281 h 1161399"/>
                    <a:gd name="connsiteX4937" fmla="*/ 1538838 w 1661518"/>
                    <a:gd name="connsiteY4937" fmla="*/ 736178 h 1161399"/>
                    <a:gd name="connsiteX4938" fmla="*/ 1543440 w 1661518"/>
                    <a:gd name="connsiteY4938" fmla="*/ 720999 h 1161399"/>
                    <a:gd name="connsiteX4939" fmla="*/ 1543853 w 1661518"/>
                    <a:gd name="connsiteY4939" fmla="*/ 719639 h 1161399"/>
                    <a:gd name="connsiteX4940" fmla="*/ 1543610 w 1661518"/>
                    <a:gd name="connsiteY4940" fmla="*/ 718230 h 1161399"/>
                    <a:gd name="connsiteX4941" fmla="*/ 1542918 w 1661518"/>
                    <a:gd name="connsiteY4941" fmla="*/ 714126 h 1161399"/>
                    <a:gd name="connsiteX4942" fmla="*/ 1542687 w 1661518"/>
                    <a:gd name="connsiteY4942" fmla="*/ 712754 h 1161399"/>
                    <a:gd name="connsiteX4943" fmla="*/ 1541886 w 1661518"/>
                    <a:gd name="connsiteY4943" fmla="*/ 711625 h 1161399"/>
                    <a:gd name="connsiteX4944" fmla="*/ 1539530 w 1661518"/>
                    <a:gd name="connsiteY4944" fmla="*/ 708285 h 1161399"/>
                    <a:gd name="connsiteX4945" fmla="*/ 1538862 w 1661518"/>
                    <a:gd name="connsiteY4945" fmla="*/ 707338 h 1161399"/>
                    <a:gd name="connsiteX4946" fmla="*/ 1537891 w 1661518"/>
                    <a:gd name="connsiteY4946" fmla="*/ 706707 h 1161399"/>
                    <a:gd name="connsiteX4947" fmla="*/ 1531540 w 1661518"/>
                    <a:gd name="connsiteY4947" fmla="*/ 702566 h 1161399"/>
                    <a:gd name="connsiteX4948" fmla="*/ 1530192 w 1661518"/>
                    <a:gd name="connsiteY4948" fmla="*/ 700878 h 1161399"/>
                    <a:gd name="connsiteX4949" fmla="*/ 1529500 w 1661518"/>
                    <a:gd name="connsiteY4949" fmla="*/ 700016 h 1161399"/>
                    <a:gd name="connsiteX4950" fmla="*/ 1528541 w 1661518"/>
                    <a:gd name="connsiteY4950" fmla="*/ 699458 h 1161399"/>
                    <a:gd name="connsiteX4951" fmla="*/ 1526367 w 1661518"/>
                    <a:gd name="connsiteY4951" fmla="*/ 698170 h 1161399"/>
                    <a:gd name="connsiteX4952" fmla="*/ 1525493 w 1661518"/>
                    <a:gd name="connsiteY4952" fmla="*/ 697648 h 1161399"/>
                    <a:gd name="connsiteX4953" fmla="*/ 1524497 w 1661518"/>
                    <a:gd name="connsiteY4953" fmla="*/ 697442 h 1161399"/>
                    <a:gd name="connsiteX4954" fmla="*/ 1521668 w 1661518"/>
                    <a:gd name="connsiteY4954" fmla="*/ 696859 h 1161399"/>
                    <a:gd name="connsiteX4955" fmla="*/ 1520599 w 1661518"/>
                    <a:gd name="connsiteY4955" fmla="*/ 696640 h 1161399"/>
                    <a:gd name="connsiteX4956" fmla="*/ 1519519 w 1661518"/>
                    <a:gd name="connsiteY4956" fmla="*/ 696810 h 1161399"/>
                    <a:gd name="connsiteX4957" fmla="*/ 1512719 w 1661518"/>
                    <a:gd name="connsiteY4957" fmla="*/ 697867 h 1161399"/>
                    <a:gd name="connsiteX4958" fmla="*/ 1512682 w 1661518"/>
                    <a:gd name="connsiteY4958" fmla="*/ 697733 h 1161399"/>
                    <a:gd name="connsiteX4959" fmla="*/ 1511929 w 1661518"/>
                    <a:gd name="connsiteY4959" fmla="*/ 695450 h 1161399"/>
                    <a:gd name="connsiteX4960" fmla="*/ 1509817 w 1661518"/>
                    <a:gd name="connsiteY4960" fmla="*/ 694297 h 1161399"/>
                    <a:gd name="connsiteX4961" fmla="*/ 1508202 w 1661518"/>
                    <a:gd name="connsiteY4961" fmla="*/ 693410 h 1161399"/>
                    <a:gd name="connsiteX4962" fmla="*/ 1506842 w 1661518"/>
                    <a:gd name="connsiteY4962" fmla="*/ 692670 h 1161399"/>
                    <a:gd name="connsiteX4963" fmla="*/ 1505299 w 1661518"/>
                    <a:gd name="connsiteY4963" fmla="*/ 692670 h 1161399"/>
                    <a:gd name="connsiteX4964" fmla="*/ 1504777 w 1661518"/>
                    <a:gd name="connsiteY4964" fmla="*/ 692670 h 1161399"/>
                    <a:gd name="connsiteX4965" fmla="*/ 1504583 w 1661518"/>
                    <a:gd name="connsiteY4965" fmla="*/ 692548 h 1161399"/>
                    <a:gd name="connsiteX4966" fmla="*/ 1502604 w 1661518"/>
                    <a:gd name="connsiteY4966" fmla="*/ 689974 h 1161399"/>
                    <a:gd name="connsiteX4967" fmla="*/ 1498147 w 1661518"/>
                    <a:gd name="connsiteY4967" fmla="*/ 681219 h 1161399"/>
                    <a:gd name="connsiteX4968" fmla="*/ 1497892 w 1661518"/>
                    <a:gd name="connsiteY4968" fmla="*/ 680733 h 1161399"/>
                    <a:gd name="connsiteX4969" fmla="*/ 1497564 w 1661518"/>
                    <a:gd name="connsiteY4969" fmla="*/ 680296 h 1161399"/>
                    <a:gd name="connsiteX4970" fmla="*/ 1493254 w 1661518"/>
                    <a:gd name="connsiteY4970" fmla="*/ 674613 h 1161399"/>
                    <a:gd name="connsiteX4971" fmla="*/ 1492404 w 1661518"/>
                    <a:gd name="connsiteY4971" fmla="*/ 673496 h 1161399"/>
                    <a:gd name="connsiteX4972" fmla="*/ 1491153 w 1661518"/>
                    <a:gd name="connsiteY4972" fmla="*/ 672865 h 1161399"/>
                    <a:gd name="connsiteX4973" fmla="*/ 1487364 w 1661518"/>
                    <a:gd name="connsiteY4973" fmla="*/ 670946 h 1161399"/>
                    <a:gd name="connsiteX4974" fmla="*/ 1486235 w 1661518"/>
                    <a:gd name="connsiteY4974" fmla="*/ 670375 h 1161399"/>
                    <a:gd name="connsiteX4975" fmla="*/ 1484972 w 1661518"/>
                    <a:gd name="connsiteY4975" fmla="*/ 670302 h 1161399"/>
                    <a:gd name="connsiteX4976" fmla="*/ 1476836 w 1661518"/>
                    <a:gd name="connsiteY4976" fmla="*/ 669841 h 1161399"/>
                    <a:gd name="connsiteX4977" fmla="*/ 1467025 w 1661518"/>
                    <a:gd name="connsiteY4977" fmla="*/ 665664 h 1161399"/>
                    <a:gd name="connsiteX4978" fmla="*/ 1466636 w 1661518"/>
                    <a:gd name="connsiteY4978" fmla="*/ 665494 h 1161399"/>
                    <a:gd name="connsiteX4979" fmla="*/ 1466223 w 1661518"/>
                    <a:gd name="connsiteY4979" fmla="*/ 665385 h 1161399"/>
                    <a:gd name="connsiteX4980" fmla="*/ 1462459 w 1661518"/>
                    <a:gd name="connsiteY4980" fmla="*/ 664377 h 1161399"/>
                    <a:gd name="connsiteX4981" fmla="*/ 1459071 w 1661518"/>
                    <a:gd name="connsiteY4981" fmla="*/ 663077 h 1161399"/>
                    <a:gd name="connsiteX4982" fmla="*/ 1457808 w 1661518"/>
                    <a:gd name="connsiteY4982" fmla="*/ 662591 h 1161399"/>
                    <a:gd name="connsiteX4983" fmla="*/ 1456448 w 1661518"/>
                    <a:gd name="connsiteY4983" fmla="*/ 662689 h 1161399"/>
                    <a:gd name="connsiteX4984" fmla="*/ 1453692 w 1661518"/>
                    <a:gd name="connsiteY4984" fmla="*/ 662895 h 1161399"/>
                    <a:gd name="connsiteX4985" fmla="*/ 1452162 w 1661518"/>
                    <a:gd name="connsiteY4985" fmla="*/ 663004 h 1161399"/>
                    <a:gd name="connsiteX4986" fmla="*/ 1450875 w 1661518"/>
                    <a:gd name="connsiteY4986" fmla="*/ 663830 h 1161399"/>
                    <a:gd name="connsiteX4987" fmla="*/ 1448871 w 1661518"/>
                    <a:gd name="connsiteY4987" fmla="*/ 665117 h 1161399"/>
                    <a:gd name="connsiteX4988" fmla="*/ 1448410 w 1661518"/>
                    <a:gd name="connsiteY4988" fmla="*/ 665409 h 1161399"/>
                    <a:gd name="connsiteX4989" fmla="*/ 1448009 w 1661518"/>
                    <a:gd name="connsiteY4989" fmla="*/ 665773 h 1161399"/>
                    <a:gd name="connsiteX4990" fmla="*/ 1444998 w 1661518"/>
                    <a:gd name="connsiteY4990" fmla="*/ 668566 h 1161399"/>
                    <a:gd name="connsiteX4991" fmla="*/ 1440711 w 1661518"/>
                    <a:gd name="connsiteY4991" fmla="*/ 670351 h 1161399"/>
                    <a:gd name="connsiteX4992" fmla="*/ 1440007 w 1661518"/>
                    <a:gd name="connsiteY4992" fmla="*/ 670642 h 1161399"/>
                    <a:gd name="connsiteX4993" fmla="*/ 1439400 w 1661518"/>
                    <a:gd name="connsiteY4993" fmla="*/ 671092 h 1161399"/>
                    <a:gd name="connsiteX4994" fmla="*/ 1435915 w 1661518"/>
                    <a:gd name="connsiteY4994" fmla="*/ 673702 h 1161399"/>
                    <a:gd name="connsiteX4995" fmla="*/ 1435307 w 1661518"/>
                    <a:gd name="connsiteY4995" fmla="*/ 672051 h 1161399"/>
                    <a:gd name="connsiteX4996" fmla="*/ 1435101 w 1661518"/>
                    <a:gd name="connsiteY4996" fmla="*/ 671517 h 1161399"/>
                    <a:gd name="connsiteX4997" fmla="*/ 1434810 w 1661518"/>
                    <a:gd name="connsiteY4997" fmla="*/ 671031 h 1161399"/>
                    <a:gd name="connsiteX4998" fmla="*/ 1432587 w 1661518"/>
                    <a:gd name="connsiteY4998" fmla="*/ 667327 h 1161399"/>
                    <a:gd name="connsiteX4999" fmla="*/ 1432272 w 1661518"/>
                    <a:gd name="connsiteY4999" fmla="*/ 666611 h 1161399"/>
                    <a:gd name="connsiteX5000" fmla="*/ 1433037 w 1661518"/>
                    <a:gd name="connsiteY5000" fmla="*/ 665785 h 1161399"/>
                    <a:gd name="connsiteX5001" fmla="*/ 1433692 w 1661518"/>
                    <a:gd name="connsiteY5001" fmla="*/ 665069 h 1161399"/>
                    <a:gd name="connsiteX5002" fmla="*/ 1434093 w 1661518"/>
                    <a:gd name="connsiteY5002" fmla="*/ 664194 h 1161399"/>
                    <a:gd name="connsiteX5003" fmla="*/ 1435247 w 1661518"/>
                    <a:gd name="connsiteY5003" fmla="*/ 661657 h 1161399"/>
                    <a:gd name="connsiteX5004" fmla="*/ 1435647 w 1661518"/>
                    <a:gd name="connsiteY5004" fmla="*/ 660770 h 1161399"/>
                    <a:gd name="connsiteX5005" fmla="*/ 1435757 w 1661518"/>
                    <a:gd name="connsiteY5005" fmla="*/ 659811 h 1161399"/>
                    <a:gd name="connsiteX5006" fmla="*/ 1436267 w 1661518"/>
                    <a:gd name="connsiteY5006" fmla="*/ 655306 h 1161399"/>
                    <a:gd name="connsiteX5007" fmla="*/ 1437894 w 1661518"/>
                    <a:gd name="connsiteY5007" fmla="*/ 654711 h 1161399"/>
                    <a:gd name="connsiteX5008" fmla="*/ 1438610 w 1661518"/>
                    <a:gd name="connsiteY5008" fmla="*/ 654456 h 1161399"/>
                    <a:gd name="connsiteX5009" fmla="*/ 1439230 w 1661518"/>
                    <a:gd name="connsiteY5009" fmla="*/ 654031 h 1161399"/>
                    <a:gd name="connsiteX5010" fmla="*/ 1440832 w 1661518"/>
                    <a:gd name="connsiteY5010" fmla="*/ 652938 h 1161399"/>
                    <a:gd name="connsiteX5011" fmla="*/ 1441731 w 1661518"/>
                    <a:gd name="connsiteY5011" fmla="*/ 652331 h 1161399"/>
                    <a:gd name="connsiteX5012" fmla="*/ 1442363 w 1661518"/>
                    <a:gd name="connsiteY5012" fmla="*/ 651444 h 1161399"/>
                    <a:gd name="connsiteX5013" fmla="*/ 1444961 w 1661518"/>
                    <a:gd name="connsiteY5013" fmla="*/ 647777 h 1161399"/>
                    <a:gd name="connsiteX5014" fmla="*/ 1446382 w 1661518"/>
                    <a:gd name="connsiteY5014" fmla="*/ 646223 h 1161399"/>
                    <a:gd name="connsiteX5015" fmla="*/ 1446928 w 1661518"/>
                    <a:gd name="connsiteY5015" fmla="*/ 645616 h 1161399"/>
                    <a:gd name="connsiteX5016" fmla="*/ 1447305 w 1661518"/>
                    <a:gd name="connsiteY5016" fmla="*/ 644875 h 1161399"/>
                    <a:gd name="connsiteX5017" fmla="*/ 1448568 w 1661518"/>
                    <a:gd name="connsiteY5017" fmla="*/ 642374 h 1161399"/>
                    <a:gd name="connsiteX5018" fmla="*/ 1449248 w 1661518"/>
                    <a:gd name="connsiteY5018" fmla="*/ 641038 h 1161399"/>
                    <a:gd name="connsiteX5019" fmla="*/ 1449223 w 1661518"/>
                    <a:gd name="connsiteY5019" fmla="*/ 639532 h 1161399"/>
                    <a:gd name="connsiteX5020" fmla="*/ 1449163 w 1661518"/>
                    <a:gd name="connsiteY5020" fmla="*/ 636314 h 1161399"/>
                    <a:gd name="connsiteX5021" fmla="*/ 1449150 w 1661518"/>
                    <a:gd name="connsiteY5021" fmla="*/ 635610 h 1161399"/>
                    <a:gd name="connsiteX5022" fmla="*/ 1448968 w 1661518"/>
                    <a:gd name="connsiteY5022" fmla="*/ 634930 h 1161399"/>
                    <a:gd name="connsiteX5023" fmla="*/ 1448046 w 1661518"/>
                    <a:gd name="connsiteY5023" fmla="*/ 631287 h 1161399"/>
                    <a:gd name="connsiteX5024" fmla="*/ 1447790 w 1661518"/>
                    <a:gd name="connsiteY5024" fmla="*/ 630303 h 1161399"/>
                    <a:gd name="connsiteX5025" fmla="*/ 1447244 w 1661518"/>
                    <a:gd name="connsiteY5025" fmla="*/ 629454 h 1161399"/>
                    <a:gd name="connsiteX5026" fmla="*/ 1444560 w 1661518"/>
                    <a:gd name="connsiteY5026" fmla="*/ 625373 h 1161399"/>
                    <a:gd name="connsiteX5027" fmla="*/ 1439970 w 1661518"/>
                    <a:gd name="connsiteY5027" fmla="*/ 614275 h 1161399"/>
                    <a:gd name="connsiteX5028" fmla="*/ 1439679 w 1661518"/>
                    <a:gd name="connsiteY5028" fmla="*/ 613546 h 1161399"/>
                    <a:gd name="connsiteX5029" fmla="*/ 1439205 w 1661518"/>
                    <a:gd name="connsiteY5029" fmla="*/ 612927 h 1161399"/>
                    <a:gd name="connsiteX5030" fmla="*/ 1438137 w 1661518"/>
                    <a:gd name="connsiteY5030" fmla="*/ 611518 h 1161399"/>
                    <a:gd name="connsiteX5031" fmla="*/ 1438963 w 1661518"/>
                    <a:gd name="connsiteY5031" fmla="*/ 610280 h 1161399"/>
                    <a:gd name="connsiteX5032" fmla="*/ 1438744 w 1661518"/>
                    <a:gd name="connsiteY5032" fmla="*/ 608118 h 1161399"/>
                    <a:gd name="connsiteX5033" fmla="*/ 1438635 w 1661518"/>
                    <a:gd name="connsiteY5033" fmla="*/ 607038 h 1161399"/>
                    <a:gd name="connsiteX5034" fmla="*/ 1440225 w 1661518"/>
                    <a:gd name="connsiteY5034" fmla="*/ 607050 h 1161399"/>
                    <a:gd name="connsiteX5035" fmla="*/ 1441840 w 1661518"/>
                    <a:gd name="connsiteY5035" fmla="*/ 608313 h 1161399"/>
                    <a:gd name="connsiteX5036" fmla="*/ 1449636 w 1661518"/>
                    <a:gd name="connsiteY5036" fmla="*/ 616983 h 1161399"/>
                    <a:gd name="connsiteX5037" fmla="*/ 1450049 w 1661518"/>
                    <a:gd name="connsiteY5037" fmla="*/ 617444 h 1161399"/>
                    <a:gd name="connsiteX5038" fmla="*/ 1450559 w 1661518"/>
                    <a:gd name="connsiteY5038" fmla="*/ 617821 h 1161399"/>
                    <a:gd name="connsiteX5039" fmla="*/ 1456764 w 1661518"/>
                    <a:gd name="connsiteY5039" fmla="*/ 622386 h 1161399"/>
                    <a:gd name="connsiteX5040" fmla="*/ 1457748 w 1661518"/>
                    <a:gd name="connsiteY5040" fmla="*/ 623115 h 1161399"/>
                    <a:gd name="connsiteX5041" fmla="*/ 1458938 w 1661518"/>
                    <a:gd name="connsiteY5041" fmla="*/ 623394 h 1161399"/>
                    <a:gd name="connsiteX5042" fmla="*/ 1464681 w 1661518"/>
                    <a:gd name="connsiteY5042" fmla="*/ 624791 h 1161399"/>
                    <a:gd name="connsiteX5043" fmla="*/ 1465434 w 1661518"/>
                    <a:gd name="connsiteY5043" fmla="*/ 624973 h 1161399"/>
                    <a:gd name="connsiteX5044" fmla="*/ 1466211 w 1661518"/>
                    <a:gd name="connsiteY5044" fmla="*/ 624961 h 1161399"/>
                    <a:gd name="connsiteX5045" fmla="*/ 1471323 w 1661518"/>
                    <a:gd name="connsiteY5045" fmla="*/ 624863 h 1161399"/>
                    <a:gd name="connsiteX5046" fmla="*/ 1472477 w 1661518"/>
                    <a:gd name="connsiteY5046" fmla="*/ 624839 h 1161399"/>
                    <a:gd name="connsiteX5047" fmla="*/ 1473546 w 1661518"/>
                    <a:gd name="connsiteY5047" fmla="*/ 624390 h 1161399"/>
                    <a:gd name="connsiteX5048" fmla="*/ 1478245 w 1661518"/>
                    <a:gd name="connsiteY5048" fmla="*/ 622435 h 1161399"/>
                    <a:gd name="connsiteX5049" fmla="*/ 1478609 w 1661518"/>
                    <a:gd name="connsiteY5049" fmla="*/ 622277 h 1161399"/>
                    <a:gd name="connsiteX5050" fmla="*/ 1478949 w 1661518"/>
                    <a:gd name="connsiteY5050" fmla="*/ 622071 h 1161399"/>
                    <a:gd name="connsiteX5051" fmla="*/ 1487619 w 1661518"/>
                    <a:gd name="connsiteY5051" fmla="*/ 617031 h 1161399"/>
                    <a:gd name="connsiteX5052" fmla="*/ 1490946 w 1661518"/>
                    <a:gd name="connsiteY5052" fmla="*/ 615914 h 1161399"/>
                    <a:gd name="connsiteX5053" fmla="*/ 1501571 w 1661518"/>
                    <a:gd name="connsiteY5053" fmla="*/ 616618 h 1161399"/>
                    <a:gd name="connsiteX5054" fmla="*/ 1505032 w 1661518"/>
                    <a:gd name="connsiteY5054" fmla="*/ 617942 h 1161399"/>
                    <a:gd name="connsiteX5055" fmla="*/ 1513447 w 1661518"/>
                    <a:gd name="connsiteY5055" fmla="*/ 622848 h 1161399"/>
                    <a:gd name="connsiteX5056" fmla="*/ 1514601 w 1661518"/>
                    <a:gd name="connsiteY5056" fmla="*/ 623515 h 1161399"/>
                    <a:gd name="connsiteX5057" fmla="*/ 1515924 w 1661518"/>
                    <a:gd name="connsiteY5057" fmla="*/ 623649 h 1161399"/>
                    <a:gd name="connsiteX5058" fmla="*/ 1521607 w 1661518"/>
                    <a:gd name="connsiteY5058" fmla="*/ 624183 h 1161399"/>
                    <a:gd name="connsiteX5059" fmla="*/ 1521947 w 1661518"/>
                    <a:gd name="connsiteY5059" fmla="*/ 624208 h 1161399"/>
                    <a:gd name="connsiteX5060" fmla="*/ 1522299 w 1661518"/>
                    <a:gd name="connsiteY5060" fmla="*/ 624208 h 1161399"/>
                    <a:gd name="connsiteX5061" fmla="*/ 1539251 w 1661518"/>
                    <a:gd name="connsiteY5061" fmla="*/ 623868 h 1161399"/>
                    <a:gd name="connsiteX5062" fmla="*/ 1545638 w 1661518"/>
                    <a:gd name="connsiteY5062" fmla="*/ 625932 h 1161399"/>
                    <a:gd name="connsiteX5063" fmla="*/ 1546100 w 1661518"/>
                    <a:gd name="connsiteY5063" fmla="*/ 626078 h 1161399"/>
                    <a:gd name="connsiteX5064" fmla="*/ 1546573 w 1661518"/>
                    <a:gd name="connsiteY5064" fmla="*/ 626151 h 1161399"/>
                    <a:gd name="connsiteX5065" fmla="*/ 1550253 w 1661518"/>
                    <a:gd name="connsiteY5065" fmla="*/ 626721 h 1161399"/>
                    <a:gd name="connsiteX5066" fmla="*/ 1550665 w 1661518"/>
                    <a:gd name="connsiteY5066" fmla="*/ 626782 h 1161399"/>
                    <a:gd name="connsiteX5067" fmla="*/ 1551078 w 1661518"/>
                    <a:gd name="connsiteY5067" fmla="*/ 626782 h 1161399"/>
                    <a:gd name="connsiteX5068" fmla="*/ 1579420 w 1661518"/>
                    <a:gd name="connsiteY5068" fmla="*/ 627268 h 1161399"/>
                    <a:gd name="connsiteX5069" fmla="*/ 1594671 w 1661518"/>
                    <a:gd name="connsiteY5069" fmla="*/ 629344 h 1161399"/>
                    <a:gd name="connsiteX5070" fmla="*/ 1595376 w 1661518"/>
                    <a:gd name="connsiteY5070" fmla="*/ 629441 h 1161399"/>
                    <a:gd name="connsiteX5071" fmla="*/ 1596080 w 1661518"/>
                    <a:gd name="connsiteY5071" fmla="*/ 629369 h 1161399"/>
                    <a:gd name="connsiteX5072" fmla="*/ 1602285 w 1661518"/>
                    <a:gd name="connsiteY5072" fmla="*/ 628774 h 1161399"/>
                    <a:gd name="connsiteX5073" fmla="*/ 1603694 w 1661518"/>
                    <a:gd name="connsiteY5073" fmla="*/ 628640 h 1161399"/>
                    <a:gd name="connsiteX5074" fmla="*/ 1604896 w 1661518"/>
                    <a:gd name="connsiteY5074" fmla="*/ 627899 h 1161399"/>
                    <a:gd name="connsiteX5075" fmla="*/ 1607312 w 1661518"/>
                    <a:gd name="connsiteY5075" fmla="*/ 626406 h 1161399"/>
                    <a:gd name="connsiteX5076" fmla="*/ 1608369 w 1661518"/>
                    <a:gd name="connsiteY5076" fmla="*/ 625750 h 1161399"/>
                    <a:gd name="connsiteX5077" fmla="*/ 1609085 w 1661518"/>
                    <a:gd name="connsiteY5077" fmla="*/ 624730 h 1161399"/>
                    <a:gd name="connsiteX5078" fmla="*/ 1610044 w 1661518"/>
                    <a:gd name="connsiteY5078" fmla="*/ 623370 h 1161399"/>
                    <a:gd name="connsiteX5079" fmla="*/ 1611404 w 1661518"/>
                    <a:gd name="connsiteY5079" fmla="*/ 622386 h 1161399"/>
                    <a:gd name="connsiteX5080" fmla="*/ 1618994 w 1661518"/>
                    <a:gd name="connsiteY5080" fmla="*/ 619351 h 1161399"/>
                    <a:gd name="connsiteX5081" fmla="*/ 1619346 w 1661518"/>
                    <a:gd name="connsiteY5081" fmla="*/ 619205 h 1161399"/>
                    <a:gd name="connsiteX5082" fmla="*/ 1619674 w 1661518"/>
                    <a:gd name="connsiteY5082" fmla="*/ 619023 h 1161399"/>
                    <a:gd name="connsiteX5083" fmla="*/ 1625478 w 1661518"/>
                    <a:gd name="connsiteY5083" fmla="*/ 615817 h 1161399"/>
                    <a:gd name="connsiteX5084" fmla="*/ 1626279 w 1661518"/>
                    <a:gd name="connsiteY5084" fmla="*/ 615368 h 1161399"/>
                    <a:gd name="connsiteX5085" fmla="*/ 1626911 w 1661518"/>
                    <a:gd name="connsiteY5085" fmla="*/ 614712 h 1161399"/>
                    <a:gd name="connsiteX5086" fmla="*/ 1628405 w 1661518"/>
                    <a:gd name="connsiteY5086" fmla="*/ 613158 h 1161399"/>
                    <a:gd name="connsiteX5087" fmla="*/ 1629594 w 1661518"/>
                    <a:gd name="connsiteY5087" fmla="*/ 611919 h 1161399"/>
                    <a:gd name="connsiteX5088" fmla="*/ 1629959 w 1661518"/>
                    <a:gd name="connsiteY5088" fmla="*/ 610231 h 1161399"/>
                    <a:gd name="connsiteX5089" fmla="*/ 1630469 w 1661518"/>
                    <a:gd name="connsiteY5089" fmla="*/ 607875 h 1161399"/>
                    <a:gd name="connsiteX5090" fmla="*/ 1630590 w 1661518"/>
                    <a:gd name="connsiteY5090" fmla="*/ 607293 h 1161399"/>
                    <a:gd name="connsiteX5091" fmla="*/ 1630602 w 1661518"/>
                    <a:gd name="connsiteY5091" fmla="*/ 606698 h 1161399"/>
                    <a:gd name="connsiteX5092" fmla="*/ 1630639 w 1661518"/>
                    <a:gd name="connsiteY5092" fmla="*/ 604670 h 1161399"/>
                    <a:gd name="connsiteX5093" fmla="*/ 1630736 w 1661518"/>
                    <a:gd name="connsiteY5093" fmla="*/ 604245 h 1161399"/>
                    <a:gd name="connsiteX5094" fmla="*/ 1631052 w 1661518"/>
                    <a:gd name="connsiteY5094" fmla="*/ 603953 h 1161399"/>
                    <a:gd name="connsiteX5095" fmla="*/ 1633359 w 1661518"/>
                    <a:gd name="connsiteY5095" fmla="*/ 602885 h 1161399"/>
                    <a:gd name="connsiteX5096" fmla="*/ 1637645 w 1661518"/>
                    <a:gd name="connsiteY5096" fmla="*/ 602338 h 1161399"/>
                    <a:gd name="connsiteX5097" fmla="*/ 1638265 w 1661518"/>
                    <a:gd name="connsiteY5097" fmla="*/ 602253 h 1161399"/>
                    <a:gd name="connsiteX5098" fmla="*/ 1638860 w 1661518"/>
                    <a:gd name="connsiteY5098" fmla="*/ 602047 h 1161399"/>
                    <a:gd name="connsiteX5099" fmla="*/ 1642090 w 1661518"/>
                    <a:gd name="connsiteY5099" fmla="*/ 600930 h 1161399"/>
                    <a:gd name="connsiteX5100" fmla="*/ 1642454 w 1661518"/>
                    <a:gd name="connsiteY5100" fmla="*/ 600796 h 1161399"/>
                    <a:gd name="connsiteX5101" fmla="*/ 1642794 w 1661518"/>
                    <a:gd name="connsiteY5101" fmla="*/ 600626 h 1161399"/>
                    <a:gd name="connsiteX5102" fmla="*/ 1648695 w 1661518"/>
                    <a:gd name="connsiteY5102" fmla="*/ 597700 h 1161399"/>
                    <a:gd name="connsiteX5103" fmla="*/ 1649545 w 1661518"/>
                    <a:gd name="connsiteY5103" fmla="*/ 597275 h 1161399"/>
                    <a:gd name="connsiteX5104" fmla="*/ 1650225 w 1661518"/>
                    <a:gd name="connsiteY5104" fmla="*/ 596619 h 1161399"/>
                    <a:gd name="connsiteX5105" fmla="*/ 1652290 w 1661518"/>
                    <a:gd name="connsiteY5105" fmla="*/ 594615 h 1161399"/>
                    <a:gd name="connsiteX5106" fmla="*/ 1653200 w 1661518"/>
                    <a:gd name="connsiteY5106" fmla="*/ 593729 h 1161399"/>
                    <a:gd name="connsiteX5107" fmla="*/ 1653686 w 1661518"/>
                    <a:gd name="connsiteY5107" fmla="*/ 592563 h 1161399"/>
                    <a:gd name="connsiteX5108" fmla="*/ 1654609 w 1661518"/>
                    <a:gd name="connsiteY5108" fmla="*/ 590317 h 1161399"/>
                    <a:gd name="connsiteX5109" fmla="*/ 1655034 w 1661518"/>
                    <a:gd name="connsiteY5109" fmla="*/ 589273 h 1161399"/>
                    <a:gd name="connsiteX5110" fmla="*/ 1655058 w 1661518"/>
                    <a:gd name="connsiteY5110" fmla="*/ 588143 h 1161399"/>
                    <a:gd name="connsiteX5111" fmla="*/ 1655107 w 1661518"/>
                    <a:gd name="connsiteY5111" fmla="*/ 586079 h 1161399"/>
                    <a:gd name="connsiteX5112" fmla="*/ 1655422 w 1661518"/>
                    <a:gd name="connsiteY5112" fmla="*/ 584367 h 1161399"/>
                    <a:gd name="connsiteX5113" fmla="*/ 1655483 w 1661518"/>
                    <a:gd name="connsiteY5113" fmla="*/ 584039 h 1161399"/>
                    <a:gd name="connsiteX5114" fmla="*/ 1656989 w 1661518"/>
                    <a:gd name="connsiteY5114" fmla="*/ 582060 h 1161399"/>
                    <a:gd name="connsiteX5115" fmla="*/ 1659660 w 1661518"/>
                    <a:gd name="connsiteY5115" fmla="*/ 578550 h 1161399"/>
                    <a:gd name="connsiteX5116" fmla="*/ 1657147 w 1661518"/>
                    <a:gd name="connsiteY5116" fmla="*/ 574932 h 1161399"/>
                    <a:gd name="connsiteX5117" fmla="*/ 1651294 w 1661518"/>
                    <a:gd name="connsiteY5117" fmla="*/ 566468 h 1161399"/>
                    <a:gd name="connsiteX5118" fmla="*/ 1650869 w 1661518"/>
                    <a:gd name="connsiteY5118" fmla="*/ 565849 h 1161399"/>
                    <a:gd name="connsiteX5119" fmla="*/ 1650298 w 1661518"/>
                    <a:gd name="connsiteY5119" fmla="*/ 565351 h 1161399"/>
                    <a:gd name="connsiteX5120" fmla="*/ 1646437 w 1661518"/>
                    <a:gd name="connsiteY5120" fmla="*/ 561987 h 1161399"/>
                    <a:gd name="connsiteX5121" fmla="*/ 1646145 w 1661518"/>
                    <a:gd name="connsiteY5121" fmla="*/ 561732 h 1161399"/>
                    <a:gd name="connsiteX5122" fmla="*/ 1646279 w 1661518"/>
                    <a:gd name="connsiteY5122" fmla="*/ 561319 h 1161399"/>
                    <a:gd name="connsiteX5123" fmla="*/ 1646570 w 1661518"/>
                    <a:gd name="connsiteY5123" fmla="*/ 560421 h 1161399"/>
                    <a:gd name="connsiteX5124" fmla="*/ 1646570 w 1661518"/>
                    <a:gd name="connsiteY5124" fmla="*/ 559474 h 1161399"/>
                    <a:gd name="connsiteX5125" fmla="*/ 1646570 w 1661518"/>
                    <a:gd name="connsiteY5125" fmla="*/ 556778 h 1161399"/>
                    <a:gd name="connsiteX5126" fmla="*/ 1646570 w 1661518"/>
                    <a:gd name="connsiteY5126" fmla="*/ 555770 h 1161399"/>
                    <a:gd name="connsiteX5127" fmla="*/ 1646242 w 1661518"/>
                    <a:gd name="connsiteY5127" fmla="*/ 554811 h 1161399"/>
                    <a:gd name="connsiteX5128" fmla="*/ 1645733 w 1661518"/>
                    <a:gd name="connsiteY5128" fmla="*/ 553317 h 1161399"/>
                    <a:gd name="connsiteX5129" fmla="*/ 1645344 w 1661518"/>
                    <a:gd name="connsiteY5129" fmla="*/ 552188 h 1161399"/>
                    <a:gd name="connsiteX5130" fmla="*/ 1644555 w 1661518"/>
                    <a:gd name="connsiteY5130" fmla="*/ 551289 h 1161399"/>
                    <a:gd name="connsiteX5131" fmla="*/ 1643522 w 1661518"/>
                    <a:gd name="connsiteY5131" fmla="*/ 550111 h 1161399"/>
                    <a:gd name="connsiteX5132" fmla="*/ 1642988 w 1661518"/>
                    <a:gd name="connsiteY5132" fmla="*/ 549492 h 1161399"/>
                    <a:gd name="connsiteX5133" fmla="*/ 1642296 w 1661518"/>
                    <a:gd name="connsiteY5133" fmla="*/ 549031 h 1161399"/>
                    <a:gd name="connsiteX5134" fmla="*/ 1639940 w 1661518"/>
                    <a:gd name="connsiteY5134" fmla="*/ 547476 h 1161399"/>
                    <a:gd name="connsiteX5135" fmla="*/ 1637427 w 1661518"/>
                    <a:gd name="connsiteY5135" fmla="*/ 545473 h 1161399"/>
                    <a:gd name="connsiteX5136" fmla="*/ 1637208 w 1661518"/>
                    <a:gd name="connsiteY5136" fmla="*/ 545230 h 1161399"/>
                    <a:gd name="connsiteX5137" fmla="*/ 1638010 w 1661518"/>
                    <a:gd name="connsiteY5137" fmla="*/ 544756 h 1161399"/>
                    <a:gd name="connsiteX5138" fmla="*/ 1640353 w 1661518"/>
                    <a:gd name="connsiteY5138" fmla="*/ 543372 h 1161399"/>
                    <a:gd name="connsiteX5139" fmla="*/ 1641264 w 1661518"/>
                    <a:gd name="connsiteY5139" fmla="*/ 542838 h 1161399"/>
                    <a:gd name="connsiteX5140" fmla="*/ 1641944 w 1661518"/>
                    <a:gd name="connsiteY5140" fmla="*/ 542024 h 1161399"/>
                    <a:gd name="connsiteX5141" fmla="*/ 1644081 w 1661518"/>
                    <a:gd name="connsiteY5141" fmla="*/ 539450 h 1161399"/>
                    <a:gd name="connsiteX5142" fmla="*/ 1645222 w 1661518"/>
                    <a:gd name="connsiteY5142" fmla="*/ 538078 h 1161399"/>
                    <a:gd name="connsiteX5143" fmla="*/ 1645441 w 1661518"/>
                    <a:gd name="connsiteY5143" fmla="*/ 536305 h 1161399"/>
                    <a:gd name="connsiteX5144" fmla="*/ 1646825 w 1661518"/>
                    <a:gd name="connsiteY5144" fmla="*/ 524866 h 1161399"/>
                    <a:gd name="connsiteX5145" fmla="*/ 1649266 w 1661518"/>
                    <a:gd name="connsiteY5145" fmla="*/ 520628 h 1161399"/>
                    <a:gd name="connsiteX5146" fmla="*/ 1649570 w 1661518"/>
                    <a:gd name="connsiteY5146" fmla="*/ 520094 h 1161399"/>
                    <a:gd name="connsiteX5147" fmla="*/ 1649764 w 1661518"/>
                    <a:gd name="connsiteY5147" fmla="*/ 519511 h 1161399"/>
                    <a:gd name="connsiteX5148" fmla="*/ 1650614 w 1661518"/>
                    <a:gd name="connsiteY5148" fmla="*/ 516949 h 1161399"/>
                    <a:gd name="connsiteX5149" fmla="*/ 1650723 w 1661518"/>
                    <a:gd name="connsiteY5149" fmla="*/ 516621 h 1161399"/>
                    <a:gd name="connsiteX5150" fmla="*/ 1650796 w 1661518"/>
                    <a:gd name="connsiteY5150" fmla="*/ 516281 h 1161399"/>
                    <a:gd name="connsiteX5151" fmla="*/ 1651318 w 1661518"/>
                    <a:gd name="connsiteY5151" fmla="*/ 513756 h 1161399"/>
                    <a:gd name="connsiteX5152" fmla="*/ 1651428 w 1661518"/>
                    <a:gd name="connsiteY5152" fmla="*/ 513246 h 1161399"/>
                    <a:gd name="connsiteX5153" fmla="*/ 1651440 w 1661518"/>
                    <a:gd name="connsiteY5153" fmla="*/ 512736 h 1161399"/>
                    <a:gd name="connsiteX5154" fmla="*/ 1651853 w 1661518"/>
                    <a:gd name="connsiteY5154" fmla="*/ 501600 h 1161399"/>
                    <a:gd name="connsiteX5155" fmla="*/ 1651889 w 1661518"/>
                    <a:gd name="connsiteY5155" fmla="*/ 500690 h 1161399"/>
                    <a:gd name="connsiteX5156" fmla="*/ 1651658 w 1661518"/>
                    <a:gd name="connsiteY5156" fmla="*/ 499815 h 1161399"/>
                    <a:gd name="connsiteX5157" fmla="*/ 1650966 w 1661518"/>
                    <a:gd name="connsiteY5157" fmla="*/ 497229 h 1161399"/>
                    <a:gd name="connsiteX5158" fmla="*/ 1650650 w 1661518"/>
                    <a:gd name="connsiteY5158" fmla="*/ 496051 h 1161399"/>
                    <a:gd name="connsiteX5159" fmla="*/ 1649910 w 1661518"/>
                    <a:gd name="connsiteY5159" fmla="*/ 495080 h 1161399"/>
                    <a:gd name="connsiteX5160" fmla="*/ 1648695 w 1661518"/>
                    <a:gd name="connsiteY5160" fmla="*/ 493501 h 1161399"/>
                    <a:gd name="connsiteX5161" fmla="*/ 1647736 w 1661518"/>
                    <a:gd name="connsiteY5161" fmla="*/ 492250 h 1161399"/>
                    <a:gd name="connsiteX5162" fmla="*/ 1646279 w 1661518"/>
                    <a:gd name="connsiteY5162" fmla="*/ 491619 h 1161399"/>
                    <a:gd name="connsiteX5163" fmla="*/ 1645465 w 1661518"/>
                    <a:gd name="connsiteY5163" fmla="*/ 491267 h 1161399"/>
                    <a:gd name="connsiteX5164" fmla="*/ 1645465 w 1661518"/>
                    <a:gd name="connsiteY5164" fmla="*/ 491243 h 1161399"/>
                    <a:gd name="connsiteX5165" fmla="*/ 1647190 w 1661518"/>
                    <a:gd name="connsiteY5165" fmla="*/ 482633 h 1161399"/>
                    <a:gd name="connsiteX5166" fmla="*/ 1647287 w 1661518"/>
                    <a:gd name="connsiteY5166" fmla="*/ 482123 h 1161399"/>
                    <a:gd name="connsiteX5167" fmla="*/ 1647299 w 1661518"/>
                    <a:gd name="connsiteY5167" fmla="*/ 481601 h 1161399"/>
                    <a:gd name="connsiteX5168" fmla="*/ 1647408 w 1661518"/>
                    <a:gd name="connsiteY5168" fmla="*/ 477521 h 1161399"/>
                    <a:gd name="connsiteX5169" fmla="*/ 1647433 w 1661518"/>
                    <a:gd name="connsiteY5169" fmla="*/ 476367 h 1161399"/>
                    <a:gd name="connsiteX5170" fmla="*/ 1647032 w 1661518"/>
                    <a:gd name="connsiteY5170" fmla="*/ 475287 h 1161399"/>
                    <a:gd name="connsiteX5171" fmla="*/ 1645939 w 1661518"/>
                    <a:gd name="connsiteY5171" fmla="*/ 472275 h 1161399"/>
                    <a:gd name="connsiteX5172" fmla="*/ 1646765 w 1661518"/>
                    <a:gd name="connsiteY5172" fmla="*/ 472555 h 1161399"/>
                    <a:gd name="connsiteX5173" fmla="*/ 1648015 w 1661518"/>
                    <a:gd name="connsiteY5173" fmla="*/ 472992 h 1161399"/>
                    <a:gd name="connsiteX5174" fmla="*/ 1649327 w 1661518"/>
                    <a:gd name="connsiteY5174" fmla="*/ 472858 h 1161399"/>
                    <a:gd name="connsiteX5175" fmla="*/ 1651962 w 1661518"/>
                    <a:gd name="connsiteY5175" fmla="*/ 472603 h 1161399"/>
                    <a:gd name="connsiteX5176" fmla="*/ 1653115 w 1661518"/>
                    <a:gd name="connsiteY5176" fmla="*/ 472494 h 1161399"/>
                    <a:gd name="connsiteX5177" fmla="*/ 1654148 w 1661518"/>
                    <a:gd name="connsiteY5177" fmla="*/ 471972 h 1161399"/>
                    <a:gd name="connsiteX5178" fmla="*/ 1656273 w 1661518"/>
                    <a:gd name="connsiteY5178" fmla="*/ 470879 h 1161399"/>
                    <a:gd name="connsiteX5179" fmla="*/ 1657827 w 1661518"/>
                    <a:gd name="connsiteY5179" fmla="*/ 470090 h 1161399"/>
                    <a:gd name="connsiteX5180" fmla="*/ 1658713 w 1661518"/>
                    <a:gd name="connsiteY5180" fmla="*/ 468584 h 1161399"/>
                    <a:gd name="connsiteX5181" fmla="*/ 1660438 w 1661518"/>
                    <a:gd name="connsiteY5181" fmla="*/ 465682 h 1161399"/>
                    <a:gd name="connsiteX5182" fmla="*/ 1661178 w 1661518"/>
                    <a:gd name="connsiteY5182" fmla="*/ 464443 h 1161399"/>
                    <a:gd name="connsiteX5183" fmla="*/ 1661288 w 1661518"/>
                    <a:gd name="connsiteY5183" fmla="*/ 463010 h 1161399"/>
                    <a:gd name="connsiteX5184" fmla="*/ 1661409 w 1661518"/>
                    <a:gd name="connsiteY5184" fmla="*/ 461322 h 1161399"/>
                    <a:gd name="connsiteX5185" fmla="*/ 1661518 w 1661518"/>
                    <a:gd name="connsiteY5185" fmla="*/ 459768 h 1161399"/>
                    <a:gd name="connsiteX5186" fmla="*/ 1660862 w 1661518"/>
                    <a:gd name="connsiteY5186" fmla="*/ 458347 h 1161399"/>
                    <a:gd name="connsiteX5187" fmla="*/ 1660219 w 1661518"/>
                    <a:gd name="connsiteY5187" fmla="*/ 456963 h 1161399"/>
                    <a:gd name="connsiteX5188" fmla="*/ 1659685 w 1661518"/>
                    <a:gd name="connsiteY5188" fmla="*/ 455797 h 1161399"/>
                    <a:gd name="connsiteX5189" fmla="*/ 1658713 w 1661518"/>
                    <a:gd name="connsiteY5189" fmla="*/ 454947 h 1161399"/>
                    <a:gd name="connsiteX5190" fmla="*/ 1656843 w 1661518"/>
                    <a:gd name="connsiteY5190" fmla="*/ 453308 h 1161399"/>
                    <a:gd name="connsiteX5191" fmla="*/ 1656297 w 1661518"/>
                    <a:gd name="connsiteY5191" fmla="*/ 452482 h 1161399"/>
                    <a:gd name="connsiteX5192" fmla="*/ 1655714 w 1661518"/>
                    <a:gd name="connsiteY5192" fmla="*/ 451207 h 1161399"/>
                    <a:gd name="connsiteX5193" fmla="*/ 1654742 w 1661518"/>
                    <a:gd name="connsiteY5193" fmla="*/ 447115 h 1161399"/>
                    <a:gd name="connsiteX5194" fmla="*/ 1654621 w 1661518"/>
                    <a:gd name="connsiteY5194" fmla="*/ 446605 h 1161399"/>
                    <a:gd name="connsiteX5195" fmla="*/ 1654415 w 1661518"/>
                    <a:gd name="connsiteY5195" fmla="*/ 446132 h 1161399"/>
                    <a:gd name="connsiteX5196" fmla="*/ 1653565 w 1661518"/>
                    <a:gd name="connsiteY5196" fmla="*/ 444152 h 1161399"/>
                    <a:gd name="connsiteX5197" fmla="*/ 1653140 w 1661518"/>
                    <a:gd name="connsiteY5197" fmla="*/ 443169 h 1161399"/>
                    <a:gd name="connsiteX5198" fmla="*/ 1652411 w 1661518"/>
                    <a:gd name="connsiteY5198" fmla="*/ 442391 h 1161399"/>
                    <a:gd name="connsiteX5199" fmla="*/ 1651148 w 1661518"/>
                    <a:gd name="connsiteY5199" fmla="*/ 441044 h 1161399"/>
                    <a:gd name="connsiteX5200" fmla="*/ 1649897 w 1661518"/>
                    <a:gd name="connsiteY5200" fmla="*/ 439720 h 1161399"/>
                    <a:gd name="connsiteX5201" fmla="*/ 1648125 w 1661518"/>
                    <a:gd name="connsiteY5201" fmla="*/ 439295 h 1161399"/>
                    <a:gd name="connsiteX5202" fmla="*/ 1646740 w 1661518"/>
                    <a:gd name="connsiteY5202" fmla="*/ 438967 h 1161399"/>
                    <a:gd name="connsiteX5203" fmla="*/ 1646206 w 1661518"/>
                    <a:gd name="connsiteY5203" fmla="*/ 438846 h 1161399"/>
                    <a:gd name="connsiteX5204" fmla="*/ 1645660 w 1661518"/>
                    <a:gd name="connsiteY5204" fmla="*/ 438822 h 1161399"/>
                    <a:gd name="connsiteX5205" fmla="*/ 1642357 w 1661518"/>
                    <a:gd name="connsiteY5205" fmla="*/ 438639 h 1161399"/>
                    <a:gd name="connsiteX5206" fmla="*/ 1642478 w 1661518"/>
                    <a:gd name="connsiteY5206" fmla="*/ 437243 h 1161399"/>
                    <a:gd name="connsiteX5207" fmla="*/ 1642600 w 1661518"/>
                    <a:gd name="connsiteY5207" fmla="*/ 435859 h 1161399"/>
                    <a:gd name="connsiteX5208" fmla="*/ 1642102 w 1661518"/>
                    <a:gd name="connsiteY5208" fmla="*/ 434559 h 1161399"/>
                    <a:gd name="connsiteX5209" fmla="*/ 1641580 w 1661518"/>
                    <a:gd name="connsiteY5209" fmla="*/ 433175 h 1161399"/>
                    <a:gd name="connsiteX5210" fmla="*/ 1640839 w 1661518"/>
                    <a:gd name="connsiteY5210" fmla="*/ 431232 h 1161399"/>
                    <a:gd name="connsiteX5211" fmla="*/ 1639066 w 1661518"/>
                    <a:gd name="connsiteY5211" fmla="*/ 430151 h 1161399"/>
                    <a:gd name="connsiteX5212" fmla="*/ 1637852 w 1661518"/>
                    <a:gd name="connsiteY5212" fmla="*/ 429411 h 1161399"/>
                    <a:gd name="connsiteX5213" fmla="*/ 1636394 w 1661518"/>
                    <a:gd name="connsiteY5213" fmla="*/ 428512 h 1161399"/>
                    <a:gd name="connsiteX5214" fmla="*/ 1634682 w 1661518"/>
                    <a:gd name="connsiteY5214" fmla="*/ 428512 h 1161399"/>
                    <a:gd name="connsiteX5215" fmla="*/ 1633310 w 1661518"/>
                    <a:gd name="connsiteY5215" fmla="*/ 428512 h 1161399"/>
                    <a:gd name="connsiteX5216" fmla="*/ 1632679 w 1661518"/>
                    <a:gd name="connsiteY5216" fmla="*/ 428512 h 1161399"/>
                    <a:gd name="connsiteX5217" fmla="*/ 1632060 w 1661518"/>
                    <a:gd name="connsiteY5217" fmla="*/ 428646 h 1161399"/>
                    <a:gd name="connsiteX5218" fmla="*/ 1630445 w 1661518"/>
                    <a:gd name="connsiteY5218" fmla="*/ 428986 h 1161399"/>
                    <a:gd name="connsiteX5219" fmla="*/ 1629837 w 1661518"/>
                    <a:gd name="connsiteY5219" fmla="*/ 429107 h 1161399"/>
                    <a:gd name="connsiteX5220" fmla="*/ 1629267 w 1661518"/>
                    <a:gd name="connsiteY5220" fmla="*/ 429362 h 1161399"/>
                    <a:gd name="connsiteX5221" fmla="*/ 1616917 w 1661518"/>
                    <a:gd name="connsiteY5221" fmla="*/ 434741 h 1161399"/>
                    <a:gd name="connsiteX5222" fmla="*/ 1615557 w 1661518"/>
                    <a:gd name="connsiteY5222" fmla="*/ 435081 h 1161399"/>
                    <a:gd name="connsiteX5223" fmla="*/ 1613542 w 1661518"/>
                    <a:gd name="connsiteY5223" fmla="*/ 435227 h 1161399"/>
                    <a:gd name="connsiteX5224" fmla="*/ 1606086 w 1661518"/>
                    <a:gd name="connsiteY5224" fmla="*/ 434523 h 1161399"/>
                    <a:gd name="connsiteX5225" fmla="*/ 1588843 w 1661518"/>
                    <a:gd name="connsiteY5225" fmla="*/ 428743 h 1161399"/>
                    <a:gd name="connsiteX5226" fmla="*/ 1587762 w 1661518"/>
                    <a:gd name="connsiteY5226" fmla="*/ 428379 h 1161399"/>
                    <a:gd name="connsiteX5227" fmla="*/ 1586621 w 1661518"/>
                    <a:gd name="connsiteY5227" fmla="*/ 428427 h 1161399"/>
                    <a:gd name="connsiteX5228" fmla="*/ 1584374 w 1661518"/>
                    <a:gd name="connsiteY5228" fmla="*/ 428536 h 1161399"/>
                    <a:gd name="connsiteX5229" fmla="*/ 1583876 w 1661518"/>
                    <a:gd name="connsiteY5229" fmla="*/ 428561 h 1161399"/>
                    <a:gd name="connsiteX5230" fmla="*/ 1583391 w 1661518"/>
                    <a:gd name="connsiteY5230" fmla="*/ 428670 h 1161399"/>
                    <a:gd name="connsiteX5231" fmla="*/ 1580695 w 1661518"/>
                    <a:gd name="connsiteY5231" fmla="*/ 429253 h 1161399"/>
                    <a:gd name="connsiteX5232" fmla="*/ 1577173 w 1661518"/>
                    <a:gd name="connsiteY5232" fmla="*/ 430006 h 1161399"/>
                    <a:gd name="connsiteX5233" fmla="*/ 1576153 w 1661518"/>
                    <a:gd name="connsiteY5233" fmla="*/ 433467 h 1161399"/>
                    <a:gd name="connsiteX5234" fmla="*/ 1575692 w 1661518"/>
                    <a:gd name="connsiteY5234" fmla="*/ 435033 h 1161399"/>
                    <a:gd name="connsiteX5235" fmla="*/ 1575558 w 1661518"/>
                    <a:gd name="connsiteY5235" fmla="*/ 435494 h 1161399"/>
                    <a:gd name="connsiteX5236" fmla="*/ 1575498 w 1661518"/>
                    <a:gd name="connsiteY5236" fmla="*/ 435968 h 1161399"/>
                    <a:gd name="connsiteX5237" fmla="*/ 1575267 w 1661518"/>
                    <a:gd name="connsiteY5237" fmla="*/ 437704 h 1161399"/>
                    <a:gd name="connsiteX5238" fmla="*/ 1575218 w 1661518"/>
                    <a:gd name="connsiteY5238" fmla="*/ 438093 h 1161399"/>
                    <a:gd name="connsiteX5239" fmla="*/ 1575218 w 1661518"/>
                    <a:gd name="connsiteY5239" fmla="*/ 438482 h 1161399"/>
                    <a:gd name="connsiteX5240" fmla="*/ 1575218 w 1661518"/>
                    <a:gd name="connsiteY5240" fmla="*/ 440303 h 1161399"/>
                    <a:gd name="connsiteX5241" fmla="*/ 1575340 w 1661518"/>
                    <a:gd name="connsiteY5241" fmla="*/ 442452 h 1161399"/>
                    <a:gd name="connsiteX5242" fmla="*/ 1575364 w 1661518"/>
                    <a:gd name="connsiteY5242" fmla="*/ 442902 h 1161399"/>
                    <a:gd name="connsiteX5243" fmla="*/ 1575461 w 1661518"/>
                    <a:gd name="connsiteY5243" fmla="*/ 443339 h 1161399"/>
                    <a:gd name="connsiteX5244" fmla="*/ 1575996 w 1661518"/>
                    <a:gd name="connsiteY5244" fmla="*/ 445864 h 1161399"/>
                    <a:gd name="connsiteX5245" fmla="*/ 1575996 w 1661518"/>
                    <a:gd name="connsiteY5245" fmla="*/ 445962 h 1161399"/>
                    <a:gd name="connsiteX5246" fmla="*/ 1575765 w 1661518"/>
                    <a:gd name="connsiteY5246" fmla="*/ 446168 h 1161399"/>
                    <a:gd name="connsiteX5247" fmla="*/ 1575607 w 1661518"/>
                    <a:gd name="connsiteY5247" fmla="*/ 446204 h 1161399"/>
                    <a:gd name="connsiteX5248" fmla="*/ 1569584 w 1661518"/>
                    <a:gd name="connsiteY5248" fmla="*/ 445452 h 1161399"/>
                    <a:gd name="connsiteX5249" fmla="*/ 1568904 w 1661518"/>
                    <a:gd name="connsiteY5249" fmla="*/ 445367 h 1161399"/>
                    <a:gd name="connsiteX5250" fmla="*/ 1568540 w 1661518"/>
                    <a:gd name="connsiteY5250" fmla="*/ 445403 h 1161399"/>
                    <a:gd name="connsiteX5251" fmla="*/ 1569353 w 1661518"/>
                    <a:gd name="connsiteY5251" fmla="*/ 443703 h 1161399"/>
                    <a:gd name="connsiteX5252" fmla="*/ 1568977 w 1661518"/>
                    <a:gd name="connsiteY5252" fmla="*/ 441724 h 1161399"/>
                    <a:gd name="connsiteX5253" fmla="*/ 1568455 w 1661518"/>
                    <a:gd name="connsiteY5253" fmla="*/ 438967 h 1161399"/>
                    <a:gd name="connsiteX5254" fmla="*/ 1568309 w 1661518"/>
                    <a:gd name="connsiteY5254" fmla="*/ 438202 h 1161399"/>
                    <a:gd name="connsiteX5255" fmla="*/ 1567981 w 1661518"/>
                    <a:gd name="connsiteY5255" fmla="*/ 437498 h 1161399"/>
                    <a:gd name="connsiteX5256" fmla="*/ 1567192 w 1661518"/>
                    <a:gd name="connsiteY5256" fmla="*/ 435834 h 1161399"/>
                    <a:gd name="connsiteX5257" fmla="*/ 1566306 w 1661518"/>
                    <a:gd name="connsiteY5257" fmla="*/ 433976 h 1161399"/>
                    <a:gd name="connsiteX5258" fmla="*/ 1564472 w 1661518"/>
                    <a:gd name="connsiteY5258" fmla="*/ 433029 h 1161399"/>
                    <a:gd name="connsiteX5259" fmla="*/ 1562796 w 1661518"/>
                    <a:gd name="connsiteY5259" fmla="*/ 432167 h 1161399"/>
                    <a:gd name="connsiteX5260" fmla="*/ 1562481 w 1661518"/>
                    <a:gd name="connsiteY5260" fmla="*/ 431997 h 1161399"/>
                    <a:gd name="connsiteX5261" fmla="*/ 1562141 w 1661518"/>
                    <a:gd name="connsiteY5261" fmla="*/ 431876 h 1161399"/>
                    <a:gd name="connsiteX5262" fmla="*/ 1560598 w 1661518"/>
                    <a:gd name="connsiteY5262" fmla="*/ 431305 h 1161399"/>
                    <a:gd name="connsiteX5263" fmla="*/ 1559651 w 1661518"/>
                    <a:gd name="connsiteY5263" fmla="*/ 430953 h 1161399"/>
                    <a:gd name="connsiteX5264" fmla="*/ 1558643 w 1661518"/>
                    <a:gd name="connsiteY5264" fmla="*/ 430928 h 1161399"/>
                    <a:gd name="connsiteX5265" fmla="*/ 1557635 w 1661518"/>
                    <a:gd name="connsiteY5265" fmla="*/ 430904 h 1161399"/>
                    <a:gd name="connsiteX5266" fmla="*/ 1557988 w 1661518"/>
                    <a:gd name="connsiteY5266" fmla="*/ 426132 h 1161399"/>
                    <a:gd name="connsiteX5267" fmla="*/ 1558012 w 1661518"/>
                    <a:gd name="connsiteY5267" fmla="*/ 425816 h 1161399"/>
                    <a:gd name="connsiteX5268" fmla="*/ 1558012 w 1661518"/>
                    <a:gd name="connsiteY5268" fmla="*/ 425501 h 1161399"/>
                    <a:gd name="connsiteX5269" fmla="*/ 1557903 w 1661518"/>
                    <a:gd name="connsiteY5269" fmla="*/ 421712 h 1161399"/>
                    <a:gd name="connsiteX5270" fmla="*/ 1557854 w 1661518"/>
                    <a:gd name="connsiteY5270" fmla="*/ 420279 h 1161399"/>
                    <a:gd name="connsiteX5271" fmla="*/ 1557174 w 1661518"/>
                    <a:gd name="connsiteY5271" fmla="*/ 419016 h 1161399"/>
                    <a:gd name="connsiteX5272" fmla="*/ 1556530 w 1661518"/>
                    <a:gd name="connsiteY5272" fmla="*/ 417814 h 1161399"/>
                    <a:gd name="connsiteX5273" fmla="*/ 1555049 w 1661518"/>
                    <a:gd name="connsiteY5273" fmla="*/ 415058 h 1161399"/>
                    <a:gd name="connsiteX5274" fmla="*/ 1551953 w 1661518"/>
                    <a:gd name="connsiteY5274" fmla="*/ 414657 h 1161399"/>
                    <a:gd name="connsiteX5275" fmla="*/ 1550981 w 1661518"/>
                    <a:gd name="connsiteY5275" fmla="*/ 414536 h 1161399"/>
                    <a:gd name="connsiteX5276" fmla="*/ 1548346 w 1661518"/>
                    <a:gd name="connsiteY5276" fmla="*/ 414196 h 1161399"/>
                    <a:gd name="connsiteX5277" fmla="*/ 1548285 w 1661518"/>
                    <a:gd name="connsiteY5277" fmla="*/ 413139 h 1161399"/>
                    <a:gd name="connsiteX5278" fmla="*/ 1548249 w 1661518"/>
                    <a:gd name="connsiteY5278" fmla="*/ 412411 h 1161399"/>
                    <a:gd name="connsiteX5279" fmla="*/ 1548030 w 1661518"/>
                    <a:gd name="connsiteY5279" fmla="*/ 411706 h 1161399"/>
                    <a:gd name="connsiteX5280" fmla="*/ 1547447 w 1661518"/>
                    <a:gd name="connsiteY5280" fmla="*/ 409788 h 1161399"/>
                    <a:gd name="connsiteX5281" fmla="*/ 1547265 w 1661518"/>
                    <a:gd name="connsiteY5281" fmla="*/ 409181 h 1161399"/>
                    <a:gd name="connsiteX5282" fmla="*/ 1546962 w 1661518"/>
                    <a:gd name="connsiteY5282" fmla="*/ 408622 h 1161399"/>
                    <a:gd name="connsiteX5283" fmla="*/ 1546282 w 1661518"/>
                    <a:gd name="connsiteY5283" fmla="*/ 407383 h 1161399"/>
                    <a:gd name="connsiteX5284" fmla="*/ 1545565 w 1661518"/>
                    <a:gd name="connsiteY5284" fmla="*/ 406084 h 1161399"/>
                    <a:gd name="connsiteX5285" fmla="*/ 1544327 w 1661518"/>
                    <a:gd name="connsiteY5285" fmla="*/ 405258 h 1161399"/>
                    <a:gd name="connsiteX5286" fmla="*/ 1543635 w 1661518"/>
                    <a:gd name="connsiteY5286" fmla="*/ 404797 h 1161399"/>
                    <a:gd name="connsiteX5287" fmla="*/ 1542566 w 1661518"/>
                    <a:gd name="connsiteY5287" fmla="*/ 404080 h 1161399"/>
                    <a:gd name="connsiteX5288" fmla="*/ 1541291 w 1661518"/>
                    <a:gd name="connsiteY5288" fmla="*/ 403862 h 1161399"/>
                    <a:gd name="connsiteX5289" fmla="*/ 1540660 w 1661518"/>
                    <a:gd name="connsiteY5289" fmla="*/ 403753 h 1161399"/>
                    <a:gd name="connsiteX5290" fmla="*/ 1539081 w 1661518"/>
                    <a:gd name="connsiteY5290" fmla="*/ 403486 h 1161399"/>
                    <a:gd name="connsiteX5291" fmla="*/ 1537575 w 1661518"/>
                    <a:gd name="connsiteY5291" fmla="*/ 404032 h 1161399"/>
                    <a:gd name="connsiteX5292" fmla="*/ 1536482 w 1661518"/>
                    <a:gd name="connsiteY5292" fmla="*/ 404433 h 1161399"/>
                    <a:gd name="connsiteX5293" fmla="*/ 1535693 w 1661518"/>
                    <a:gd name="connsiteY5293" fmla="*/ 404712 h 1161399"/>
                    <a:gd name="connsiteX5294" fmla="*/ 1535013 w 1661518"/>
                    <a:gd name="connsiteY5294" fmla="*/ 405210 h 1161399"/>
                    <a:gd name="connsiteX5295" fmla="*/ 1527752 w 1661518"/>
                    <a:gd name="connsiteY5295" fmla="*/ 410443 h 1161399"/>
                    <a:gd name="connsiteX5296" fmla="*/ 1526975 w 1661518"/>
                    <a:gd name="connsiteY5296" fmla="*/ 410844 h 1161399"/>
                    <a:gd name="connsiteX5297" fmla="*/ 1525979 w 1661518"/>
                    <a:gd name="connsiteY5297" fmla="*/ 411196 h 1161399"/>
                    <a:gd name="connsiteX5298" fmla="*/ 1525712 w 1661518"/>
                    <a:gd name="connsiteY5298" fmla="*/ 411257 h 1161399"/>
                    <a:gd name="connsiteX5299" fmla="*/ 1525639 w 1661518"/>
                    <a:gd name="connsiteY5299" fmla="*/ 411257 h 1161399"/>
                    <a:gd name="connsiteX5300" fmla="*/ 1524655 w 1661518"/>
                    <a:gd name="connsiteY5300" fmla="*/ 410881 h 1161399"/>
                    <a:gd name="connsiteX5301" fmla="*/ 1516240 w 1661518"/>
                    <a:gd name="connsiteY5301" fmla="*/ 404299 h 1161399"/>
                    <a:gd name="connsiteX5302" fmla="*/ 1515682 w 1661518"/>
                    <a:gd name="connsiteY5302" fmla="*/ 403850 h 1161399"/>
                    <a:gd name="connsiteX5303" fmla="*/ 1515038 w 1661518"/>
                    <a:gd name="connsiteY5303" fmla="*/ 403558 h 1161399"/>
                    <a:gd name="connsiteX5304" fmla="*/ 1510618 w 1661518"/>
                    <a:gd name="connsiteY5304" fmla="*/ 401531 h 1161399"/>
                    <a:gd name="connsiteX5305" fmla="*/ 1509719 w 1661518"/>
                    <a:gd name="connsiteY5305" fmla="*/ 401118 h 1161399"/>
                    <a:gd name="connsiteX5306" fmla="*/ 1508724 w 1661518"/>
                    <a:gd name="connsiteY5306" fmla="*/ 401020 h 1161399"/>
                    <a:gd name="connsiteX5307" fmla="*/ 1506999 w 1661518"/>
                    <a:gd name="connsiteY5307" fmla="*/ 400838 h 1161399"/>
                    <a:gd name="connsiteX5308" fmla="*/ 1506611 w 1661518"/>
                    <a:gd name="connsiteY5308" fmla="*/ 400802 h 1161399"/>
                    <a:gd name="connsiteX5309" fmla="*/ 1506222 w 1661518"/>
                    <a:gd name="connsiteY5309" fmla="*/ 400802 h 1161399"/>
                    <a:gd name="connsiteX5310" fmla="*/ 1502082 w 1661518"/>
                    <a:gd name="connsiteY5310" fmla="*/ 400899 h 1161399"/>
                    <a:gd name="connsiteX5311" fmla="*/ 1499325 w 1661518"/>
                    <a:gd name="connsiteY5311" fmla="*/ 400596 h 1161399"/>
                    <a:gd name="connsiteX5312" fmla="*/ 1498269 w 1661518"/>
                    <a:gd name="connsiteY5312" fmla="*/ 400292 h 1161399"/>
                    <a:gd name="connsiteX5313" fmla="*/ 1496726 w 1661518"/>
                    <a:gd name="connsiteY5313" fmla="*/ 399539 h 1161399"/>
                    <a:gd name="connsiteX5314" fmla="*/ 1483697 w 1661518"/>
                    <a:gd name="connsiteY5314" fmla="*/ 390165 h 1161399"/>
                    <a:gd name="connsiteX5315" fmla="*/ 1483357 w 1661518"/>
                    <a:gd name="connsiteY5315" fmla="*/ 389776 h 1161399"/>
                    <a:gd name="connsiteX5316" fmla="*/ 1483515 w 1661518"/>
                    <a:gd name="connsiteY5316" fmla="*/ 389485 h 1161399"/>
                    <a:gd name="connsiteX5317" fmla="*/ 1484001 w 1661518"/>
                    <a:gd name="connsiteY5317" fmla="*/ 388586 h 1161399"/>
                    <a:gd name="connsiteX5318" fmla="*/ 1484159 w 1661518"/>
                    <a:gd name="connsiteY5318" fmla="*/ 387578 h 1161399"/>
                    <a:gd name="connsiteX5319" fmla="*/ 1484438 w 1661518"/>
                    <a:gd name="connsiteY5319" fmla="*/ 385781 h 1161399"/>
                    <a:gd name="connsiteX5320" fmla="*/ 1484559 w 1661518"/>
                    <a:gd name="connsiteY5320" fmla="*/ 384968 h 1161399"/>
                    <a:gd name="connsiteX5321" fmla="*/ 1484462 w 1661518"/>
                    <a:gd name="connsiteY5321" fmla="*/ 384154 h 1161399"/>
                    <a:gd name="connsiteX5322" fmla="*/ 1484243 w 1661518"/>
                    <a:gd name="connsiteY5322" fmla="*/ 382284 h 1161399"/>
                    <a:gd name="connsiteX5323" fmla="*/ 1484074 w 1661518"/>
                    <a:gd name="connsiteY5323" fmla="*/ 380839 h 1161399"/>
                    <a:gd name="connsiteX5324" fmla="*/ 1483272 w 1661518"/>
                    <a:gd name="connsiteY5324" fmla="*/ 379625 h 1161399"/>
                    <a:gd name="connsiteX5325" fmla="*/ 1481123 w 1661518"/>
                    <a:gd name="connsiteY5325" fmla="*/ 376383 h 1161399"/>
                    <a:gd name="connsiteX5326" fmla="*/ 1480042 w 1661518"/>
                    <a:gd name="connsiteY5326" fmla="*/ 373881 h 1161399"/>
                    <a:gd name="connsiteX5327" fmla="*/ 1479702 w 1661518"/>
                    <a:gd name="connsiteY5327" fmla="*/ 373080 h 1161399"/>
                    <a:gd name="connsiteX5328" fmla="*/ 1479143 w 1661518"/>
                    <a:gd name="connsiteY5328" fmla="*/ 372412 h 1161399"/>
                    <a:gd name="connsiteX5329" fmla="*/ 1476897 w 1661518"/>
                    <a:gd name="connsiteY5329" fmla="*/ 369716 h 1161399"/>
                    <a:gd name="connsiteX5330" fmla="*/ 1476181 w 1661518"/>
                    <a:gd name="connsiteY5330" fmla="*/ 368866 h 1161399"/>
                    <a:gd name="connsiteX5331" fmla="*/ 1475209 w 1661518"/>
                    <a:gd name="connsiteY5331" fmla="*/ 368320 h 1161399"/>
                    <a:gd name="connsiteX5332" fmla="*/ 1473157 w 1661518"/>
                    <a:gd name="connsiteY5332" fmla="*/ 367166 h 1161399"/>
                    <a:gd name="connsiteX5333" fmla="*/ 1472368 w 1661518"/>
                    <a:gd name="connsiteY5333" fmla="*/ 366717 h 1161399"/>
                    <a:gd name="connsiteX5334" fmla="*/ 1471481 w 1661518"/>
                    <a:gd name="connsiteY5334" fmla="*/ 366523 h 1161399"/>
                    <a:gd name="connsiteX5335" fmla="*/ 1468895 w 1661518"/>
                    <a:gd name="connsiteY5335" fmla="*/ 365952 h 1161399"/>
                    <a:gd name="connsiteX5336" fmla="*/ 1468142 w 1661518"/>
                    <a:gd name="connsiteY5336" fmla="*/ 365782 h 1161399"/>
                    <a:gd name="connsiteX5337" fmla="*/ 1467377 w 1661518"/>
                    <a:gd name="connsiteY5337" fmla="*/ 365806 h 1161399"/>
                    <a:gd name="connsiteX5338" fmla="*/ 1465653 w 1661518"/>
                    <a:gd name="connsiteY5338" fmla="*/ 365867 h 1161399"/>
                    <a:gd name="connsiteX5339" fmla="*/ 1465337 w 1661518"/>
                    <a:gd name="connsiteY5339" fmla="*/ 365867 h 1161399"/>
                    <a:gd name="connsiteX5340" fmla="*/ 1465021 w 1661518"/>
                    <a:gd name="connsiteY5340" fmla="*/ 365915 h 1161399"/>
                    <a:gd name="connsiteX5341" fmla="*/ 1463528 w 1661518"/>
                    <a:gd name="connsiteY5341" fmla="*/ 366122 h 1161399"/>
                    <a:gd name="connsiteX5342" fmla="*/ 1462884 w 1661518"/>
                    <a:gd name="connsiteY5342" fmla="*/ 366207 h 1161399"/>
                    <a:gd name="connsiteX5343" fmla="*/ 1462277 w 1661518"/>
                    <a:gd name="connsiteY5343" fmla="*/ 366437 h 1161399"/>
                    <a:gd name="connsiteX5344" fmla="*/ 1460953 w 1661518"/>
                    <a:gd name="connsiteY5344" fmla="*/ 366923 h 1161399"/>
                    <a:gd name="connsiteX5345" fmla="*/ 1460541 w 1661518"/>
                    <a:gd name="connsiteY5345" fmla="*/ 367081 h 1161399"/>
                    <a:gd name="connsiteX5346" fmla="*/ 1460152 w 1661518"/>
                    <a:gd name="connsiteY5346" fmla="*/ 367300 h 1161399"/>
                    <a:gd name="connsiteX5347" fmla="*/ 1457748 w 1661518"/>
                    <a:gd name="connsiteY5347" fmla="*/ 368611 h 1161399"/>
                    <a:gd name="connsiteX5348" fmla="*/ 1457007 w 1661518"/>
                    <a:gd name="connsiteY5348" fmla="*/ 368842 h 1161399"/>
                    <a:gd name="connsiteX5349" fmla="*/ 1456193 w 1661518"/>
                    <a:gd name="connsiteY5349" fmla="*/ 368842 h 1161399"/>
                    <a:gd name="connsiteX5350" fmla="*/ 1455331 w 1661518"/>
                    <a:gd name="connsiteY5350" fmla="*/ 368623 h 1161399"/>
                    <a:gd name="connsiteX5351" fmla="*/ 1455283 w 1661518"/>
                    <a:gd name="connsiteY5351" fmla="*/ 368283 h 1161399"/>
                    <a:gd name="connsiteX5352" fmla="*/ 1455173 w 1661518"/>
                    <a:gd name="connsiteY5352" fmla="*/ 367579 h 1161399"/>
                    <a:gd name="connsiteX5353" fmla="*/ 1454918 w 1661518"/>
                    <a:gd name="connsiteY5353" fmla="*/ 366923 h 1161399"/>
                    <a:gd name="connsiteX5354" fmla="*/ 1454008 w 1661518"/>
                    <a:gd name="connsiteY5354" fmla="*/ 364652 h 1161399"/>
                    <a:gd name="connsiteX5355" fmla="*/ 1453340 w 1661518"/>
                    <a:gd name="connsiteY5355" fmla="*/ 363001 h 1161399"/>
                    <a:gd name="connsiteX5356" fmla="*/ 1451895 w 1661518"/>
                    <a:gd name="connsiteY5356" fmla="*/ 361969 h 1161399"/>
                    <a:gd name="connsiteX5357" fmla="*/ 1450583 w 1661518"/>
                    <a:gd name="connsiteY5357" fmla="*/ 361022 h 1161399"/>
                    <a:gd name="connsiteX5358" fmla="*/ 1448944 w 1661518"/>
                    <a:gd name="connsiteY5358" fmla="*/ 359856 h 1161399"/>
                    <a:gd name="connsiteX5359" fmla="*/ 1446940 w 1661518"/>
                    <a:gd name="connsiteY5359" fmla="*/ 359892 h 1161399"/>
                    <a:gd name="connsiteX5360" fmla="*/ 1439764 w 1661518"/>
                    <a:gd name="connsiteY5360" fmla="*/ 360026 h 1161399"/>
                    <a:gd name="connsiteX5361" fmla="*/ 1432988 w 1661518"/>
                    <a:gd name="connsiteY5361" fmla="*/ 358277 h 1161399"/>
                    <a:gd name="connsiteX5362" fmla="*/ 1432502 w 1661518"/>
                    <a:gd name="connsiteY5362" fmla="*/ 358156 h 1161399"/>
                    <a:gd name="connsiteX5363" fmla="*/ 1432005 w 1661518"/>
                    <a:gd name="connsiteY5363" fmla="*/ 358120 h 1161399"/>
                    <a:gd name="connsiteX5364" fmla="*/ 1429479 w 1661518"/>
                    <a:gd name="connsiteY5364" fmla="*/ 357901 h 1161399"/>
                    <a:gd name="connsiteX5365" fmla="*/ 1429248 w 1661518"/>
                    <a:gd name="connsiteY5365" fmla="*/ 355946 h 1161399"/>
                    <a:gd name="connsiteX5366" fmla="*/ 1429139 w 1661518"/>
                    <a:gd name="connsiteY5366" fmla="*/ 355011 h 1161399"/>
                    <a:gd name="connsiteX5367" fmla="*/ 1429018 w 1661518"/>
                    <a:gd name="connsiteY5367" fmla="*/ 354015 h 1161399"/>
                    <a:gd name="connsiteX5368" fmla="*/ 1428580 w 1661518"/>
                    <a:gd name="connsiteY5368" fmla="*/ 353104 h 1161399"/>
                    <a:gd name="connsiteX5369" fmla="*/ 1427888 w 1661518"/>
                    <a:gd name="connsiteY5369" fmla="*/ 351659 h 1161399"/>
                    <a:gd name="connsiteX5370" fmla="*/ 1427609 w 1661518"/>
                    <a:gd name="connsiteY5370" fmla="*/ 351077 h 1161399"/>
                    <a:gd name="connsiteX5371" fmla="*/ 1427220 w 1661518"/>
                    <a:gd name="connsiteY5371" fmla="*/ 350567 h 1161399"/>
                    <a:gd name="connsiteX5372" fmla="*/ 1425970 w 1661518"/>
                    <a:gd name="connsiteY5372" fmla="*/ 348939 h 1161399"/>
                    <a:gd name="connsiteX5373" fmla="*/ 1425824 w 1661518"/>
                    <a:gd name="connsiteY5373" fmla="*/ 348636 h 1161399"/>
                    <a:gd name="connsiteX5374" fmla="*/ 1425095 w 1661518"/>
                    <a:gd name="connsiteY5374" fmla="*/ 343912 h 1161399"/>
                    <a:gd name="connsiteX5375" fmla="*/ 1424877 w 1661518"/>
                    <a:gd name="connsiteY5375" fmla="*/ 342504 h 1161399"/>
                    <a:gd name="connsiteX5376" fmla="*/ 1424051 w 1661518"/>
                    <a:gd name="connsiteY5376" fmla="*/ 341338 h 1161399"/>
                    <a:gd name="connsiteX5377" fmla="*/ 1419971 w 1661518"/>
                    <a:gd name="connsiteY5377" fmla="*/ 335582 h 1161399"/>
                    <a:gd name="connsiteX5378" fmla="*/ 1417470 w 1661518"/>
                    <a:gd name="connsiteY5378" fmla="*/ 332061 h 1161399"/>
                    <a:gd name="connsiteX5379" fmla="*/ 1413329 w 1661518"/>
                    <a:gd name="connsiteY5379" fmla="*/ 333263 h 1161399"/>
                    <a:gd name="connsiteX5380" fmla="*/ 1395989 w 1661518"/>
                    <a:gd name="connsiteY5380" fmla="*/ 338290 h 1161399"/>
                    <a:gd name="connsiteX5381" fmla="*/ 1395345 w 1661518"/>
                    <a:gd name="connsiteY5381" fmla="*/ 338484 h 1161399"/>
                    <a:gd name="connsiteX5382" fmla="*/ 1394762 w 1661518"/>
                    <a:gd name="connsiteY5382" fmla="*/ 338812 h 1161399"/>
                    <a:gd name="connsiteX5383" fmla="*/ 1391204 w 1661518"/>
                    <a:gd name="connsiteY5383" fmla="*/ 340767 h 1161399"/>
                    <a:gd name="connsiteX5384" fmla="*/ 1386590 w 1661518"/>
                    <a:gd name="connsiteY5384" fmla="*/ 343305 h 1161399"/>
                    <a:gd name="connsiteX5385" fmla="*/ 1386238 w 1661518"/>
                    <a:gd name="connsiteY5385" fmla="*/ 343099 h 1161399"/>
                    <a:gd name="connsiteX5386" fmla="*/ 1384914 w 1661518"/>
                    <a:gd name="connsiteY5386" fmla="*/ 342358 h 1161399"/>
                    <a:gd name="connsiteX5387" fmla="*/ 1384331 w 1661518"/>
                    <a:gd name="connsiteY5387" fmla="*/ 342030 h 1161399"/>
                    <a:gd name="connsiteX5388" fmla="*/ 1383688 w 1661518"/>
                    <a:gd name="connsiteY5388" fmla="*/ 341836 h 1161399"/>
                    <a:gd name="connsiteX5389" fmla="*/ 1379438 w 1661518"/>
                    <a:gd name="connsiteY5389" fmla="*/ 340573 h 1161399"/>
                    <a:gd name="connsiteX5390" fmla="*/ 1377616 w 1661518"/>
                    <a:gd name="connsiteY5390" fmla="*/ 339808 h 1161399"/>
                    <a:gd name="connsiteX5391" fmla="*/ 1377240 w 1661518"/>
                    <a:gd name="connsiteY5391" fmla="*/ 339662 h 1161399"/>
                    <a:gd name="connsiteX5392" fmla="*/ 1376851 w 1661518"/>
                    <a:gd name="connsiteY5392" fmla="*/ 339565 h 1161399"/>
                    <a:gd name="connsiteX5393" fmla="*/ 1373816 w 1661518"/>
                    <a:gd name="connsiteY5393" fmla="*/ 338788 h 1161399"/>
                    <a:gd name="connsiteX5394" fmla="*/ 1372528 w 1661518"/>
                    <a:gd name="connsiteY5394" fmla="*/ 338460 h 1161399"/>
                    <a:gd name="connsiteX5395" fmla="*/ 1371229 w 1661518"/>
                    <a:gd name="connsiteY5395" fmla="*/ 338691 h 1161399"/>
                    <a:gd name="connsiteX5396" fmla="*/ 1368934 w 1661518"/>
                    <a:gd name="connsiteY5396" fmla="*/ 339104 h 1161399"/>
                    <a:gd name="connsiteX5397" fmla="*/ 1368448 w 1661518"/>
                    <a:gd name="connsiteY5397" fmla="*/ 339189 h 1161399"/>
                    <a:gd name="connsiteX5398" fmla="*/ 1367975 w 1661518"/>
                    <a:gd name="connsiteY5398" fmla="*/ 339359 h 1161399"/>
                    <a:gd name="connsiteX5399" fmla="*/ 1366020 w 1661518"/>
                    <a:gd name="connsiteY5399" fmla="*/ 340051 h 1161399"/>
                    <a:gd name="connsiteX5400" fmla="*/ 1365728 w 1661518"/>
                    <a:gd name="connsiteY5400" fmla="*/ 340051 h 1161399"/>
                    <a:gd name="connsiteX5401" fmla="*/ 1364490 w 1661518"/>
                    <a:gd name="connsiteY5401" fmla="*/ 339626 h 1161399"/>
                    <a:gd name="connsiteX5402" fmla="*/ 1363798 w 1661518"/>
                    <a:gd name="connsiteY5402" fmla="*/ 339395 h 1161399"/>
                    <a:gd name="connsiteX5403" fmla="*/ 1363069 w 1661518"/>
                    <a:gd name="connsiteY5403" fmla="*/ 339334 h 1161399"/>
                    <a:gd name="connsiteX5404" fmla="*/ 1360483 w 1661518"/>
                    <a:gd name="connsiteY5404" fmla="*/ 339104 h 1161399"/>
                    <a:gd name="connsiteX5405" fmla="*/ 1358236 w 1661518"/>
                    <a:gd name="connsiteY5405" fmla="*/ 338897 h 1161399"/>
                    <a:gd name="connsiteX5406" fmla="*/ 1356403 w 1661518"/>
                    <a:gd name="connsiteY5406" fmla="*/ 340209 h 1161399"/>
                    <a:gd name="connsiteX5407" fmla="*/ 1355140 w 1661518"/>
                    <a:gd name="connsiteY5407" fmla="*/ 341107 h 1161399"/>
                    <a:gd name="connsiteX5408" fmla="*/ 1353379 w 1661518"/>
                    <a:gd name="connsiteY5408" fmla="*/ 342370 h 1161399"/>
                    <a:gd name="connsiteX5409" fmla="*/ 1352820 w 1661518"/>
                    <a:gd name="connsiteY5409" fmla="*/ 344471 h 1161399"/>
                    <a:gd name="connsiteX5410" fmla="*/ 1352359 w 1661518"/>
                    <a:gd name="connsiteY5410" fmla="*/ 346195 h 1161399"/>
                    <a:gd name="connsiteX5411" fmla="*/ 1351983 w 1661518"/>
                    <a:gd name="connsiteY5411" fmla="*/ 347616 h 1161399"/>
                    <a:gd name="connsiteX5412" fmla="*/ 1352286 w 1661518"/>
                    <a:gd name="connsiteY5412" fmla="*/ 349049 h 1161399"/>
                    <a:gd name="connsiteX5413" fmla="*/ 1353488 w 1661518"/>
                    <a:gd name="connsiteY5413" fmla="*/ 354647 h 1161399"/>
                    <a:gd name="connsiteX5414" fmla="*/ 1353525 w 1661518"/>
                    <a:gd name="connsiteY5414" fmla="*/ 355824 h 1161399"/>
                    <a:gd name="connsiteX5415" fmla="*/ 1353403 w 1661518"/>
                    <a:gd name="connsiteY5415" fmla="*/ 357197 h 1161399"/>
                    <a:gd name="connsiteX5416" fmla="*/ 1353282 w 1661518"/>
                    <a:gd name="connsiteY5416" fmla="*/ 357780 h 1161399"/>
                    <a:gd name="connsiteX5417" fmla="*/ 1352991 w 1661518"/>
                    <a:gd name="connsiteY5417" fmla="*/ 358593 h 1161399"/>
                    <a:gd name="connsiteX5418" fmla="*/ 1351035 w 1661518"/>
                    <a:gd name="connsiteY5418" fmla="*/ 361835 h 1161399"/>
                    <a:gd name="connsiteX5419" fmla="*/ 1348449 w 1661518"/>
                    <a:gd name="connsiteY5419" fmla="*/ 365114 h 1161399"/>
                    <a:gd name="connsiteX5420" fmla="*/ 1343883 w 1661518"/>
                    <a:gd name="connsiteY5420" fmla="*/ 369680 h 1161399"/>
                    <a:gd name="connsiteX5421" fmla="*/ 1343179 w 1661518"/>
                    <a:gd name="connsiteY5421" fmla="*/ 370384 h 1161399"/>
                    <a:gd name="connsiteX5422" fmla="*/ 1342730 w 1661518"/>
                    <a:gd name="connsiteY5422" fmla="*/ 371270 h 1161399"/>
                    <a:gd name="connsiteX5423" fmla="*/ 1342098 w 1661518"/>
                    <a:gd name="connsiteY5423" fmla="*/ 372533 h 1161399"/>
                    <a:gd name="connsiteX5424" fmla="*/ 1341868 w 1661518"/>
                    <a:gd name="connsiteY5424" fmla="*/ 373007 h 1161399"/>
                    <a:gd name="connsiteX5425" fmla="*/ 1341710 w 1661518"/>
                    <a:gd name="connsiteY5425" fmla="*/ 373517 h 1161399"/>
                    <a:gd name="connsiteX5426" fmla="*/ 1341248 w 1661518"/>
                    <a:gd name="connsiteY5426" fmla="*/ 375071 h 1161399"/>
                    <a:gd name="connsiteX5427" fmla="*/ 1341090 w 1661518"/>
                    <a:gd name="connsiteY5427" fmla="*/ 375569 h 1161399"/>
                    <a:gd name="connsiteX5428" fmla="*/ 1341030 w 1661518"/>
                    <a:gd name="connsiteY5428" fmla="*/ 376091 h 1161399"/>
                    <a:gd name="connsiteX5429" fmla="*/ 1340799 w 1661518"/>
                    <a:gd name="connsiteY5429" fmla="*/ 378046 h 1161399"/>
                    <a:gd name="connsiteX5430" fmla="*/ 1340763 w 1661518"/>
                    <a:gd name="connsiteY5430" fmla="*/ 378398 h 1161399"/>
                    <a:gd name="connsiteX5431" fmla="*/ 1340763 w 1661518"/>
                    <a:gd name="connsiteY5431" fmla="*/ 378750 h 1161399"/>
                    <a:gd name="connsiteX5432" fmla="*/ 1340763 w 1661518"/>
                    <a:gd name="connsiteY5432" fmla="*/ 379443 h 1161399"/>
                    <a:gd name="connsiteX5433" fmla="*/ 1340920 w 1661518"/>
                    <a:gd name="connsiteY5433" fmla="*/ 380280 h 1161399"/>
                    <a:gd name="connsiteX5434" fmla="*/ 1341151 w 1661518"/>
                    <a:gd name="connsiteY5434" fmla="*/ 381276 h 1161399"/>
                    <a:gd name="connsiteX5435" fmla="*/ 1341734 w 1661518"/>
                    <a:gd name="connsiteY5435" fmla="*/ 382332 h 1161399"/>
                    <a:gd name="connsiteX5436" fmla="*/ 1341977 w 1661518"/>
                    <a:gd name="connsiteY5436" fmla="*/ 382733 h 1161399"/>
                    <a:gd name="connsiteX5437" fmla="*/ 1341892 w 1661518"/>
                    <a:gd name="connsiteY5437" fmla="*/ 382733 h 1161399"/>
                    <a:gd name="connsiteX5438" fmla="*/ 1341406 w 1661518"/>
                    <a:gd name="connsiteY5438" fmla="*/ 382745 h 1161399"/>
                    <a:gd name="connsiteX5439" fmla="*/ 1340932 w 1661518"/>
                    <a:gd name="connsiteY5439" fmla="*/ 382843 h 1161399"/>
                    <a:gd name="connsiteX5440" fmla="*/ 1338856 w 1661518"/>
                    <a:gd name="connsiteY5440" fmla="*/ 383268 h 1161399"/>
                    <a:gd name="connsiteX5441" fmla="*/ 1337885 w 1661518"/>
                    <a:gd name="connsiteY5441" fmla="*/ 383474 h 1161399"/>
                    <a:gd name="connsiteX5442" fmla="*/ 1337023 w 1661518"/>
                    <a:gd name="connsiteY5442" fmla="*/ 383972 h 1161399"/>
                    <a:gd name="connsiteX5443" fmla="*/ 1335869 w 1661518"/>
                    <a:gd name="connsiteY5443" fmla="*/ 384640 h 1161399"/>
                    <a:gd name="connsiteX5444" fmla="*/ 1335177 w 1661518"/>
                    <a:gd name="connsiteY5444" fmla="*/ 385040 h 1161399"/>
                    <a:gd name="connsiteX5445" fmla="*/ 1334618 w 1661518"/>
                    <a:gd name="connsiteY5445" fmla="*/ 385599 h 1161399"/>
                    <a:gd name="connsiteX5446" fmla="*/ 1333355 w 1661518"/>
                    <a:gd name="connsiteY5446" fmla="*/ 386862 h 1161399"/>
                    <a:gd name="connsiteX5447" fmla="*/ 1333125 w 1661518"/>
                    <a:gd name="connsiteY5447" fmla="*/ 387080 h 1161399"/>
                    <a:gd name="connsiteX5448" fmla="*/ 1332930 w 1661518"/>
                    <a:gd name="connsiteY5448" fmla="*/ 387335 h 1161399"/>
                    <a:gd name="connsiteX5449" fmla="*/ 1330963 w 1661518"/>
                    <a:gd name="connsiteY5449" fmla="*/ 389764 h 1161399"/>
                    <a:gd name="connsiteX5450" fmla="*/ 1330563 w 1661518"/>
                    <a:gd name="connsiteY5450" fmla="*/ 389582 h 1161399"/>
                    <a:gd name="connsiteX5451" fmla="*/ 1324175 w 1661518"/>
                    <a:gd name="connsiteY5451" fmla="*/ 383875 h 1161399"/>
                    <a:gd name="connsiteX5452" fmla="*/ 1323787 w 1661518"/>
                    <a:gd name="connsiteY5452" fmla="*/ 383523 h 1161399"/>
                    <a:gd name="connsiteX5453" fmla="*/ 1323337 w 1661518"/>
                    <a:gd name="connsiteY5453" fmla="*/ 383243 h 1161399"/>
                    <a:gd name="connsiteX5454" fmla="*/ 1320290 w 1661518"/>
                    <a:gd name="connsiteY5454" fmla="*/ 381349 h 1161399"/>
                    <a:gd name="connsiteX5455" fmla="*/ 1319889 w 1661518"/>
                    <a:gd name="connsiteY5455" fmla="*/ 381106 h 1161399"/>
                    <a:gd name="connsiteX5456" fmla="*/ 1319464 w 1661518"/>
                    <a:gd name="connsiteY5456" fmla="*/ 380924 h 1161399"/>
                    <a:gd name="connsiteX5457" fmla="*/ 1317582 w 1661518"/>
                    <a:gd name="connsiteY5457" fmla="*/ 380123 h 1161399"/>
                    <a:gd name="connsiteX5458" fmla="*/ 1316088 w 1661518"/>
                    <a:gd name="connsiteY5458" fmla="*/ 379491 h 1161399"/>
                    <a:gd name="connsiteX5459" fmla="*/ 1314485 w 1661518"/>
                    <a:gd name="connsiteY5459" fmla="*/ 379685 h 1161399"/>
                    <a:gd name="connsiteX5460" fmla="*/ 1313392 w 1661518"/>
                    <a:gd name="connsiteY5460" fmla="*/ 379819 h 1161399"/>
                    <a:gd name="connsiteX5461" fmla="*/ 1312615 w 1661518"/>
                    <a:gd name="connsiteY5461" fmla="*/ 379916 h 1161399"/>
                    <a:gd name="connsiteX5462" fmla="*/ 1311887 w 1661518"/>
                    <a:gd name="connsiteY5462" fmla="*/ 380195 h 1161399"/>
                    <a:gd name="connsiteX5463" fmla="*/ 1307321 w 1661518"/>
                    <a:gd name="connsiteY5463" fmla="*/ 381980 h 1161399"/>
                    <a:gd name="connsiteX5464" fmla="*/ 1306143 w 1661518"/>
                    <a:gd name="connsiteY5464" fmla="*/ 382248 h 1161399"/>
                    <a:gd name="connsiteX5465" fmla="*/ 1304807 w 1661518"/>
                    <a:gd name="connsiteY5465" fmla="*/ 382260 h 1161399"/>
                    <a:gd name="connsiteX5466" fmla="*/ 1304540 w 1661518"/>
                    <a:gd name="connsiteY5466" fmla="*/ 382163 h 1161399"/>
                    <a:gd name="connsiteX5467" fmla="*/ 1303350 w 1661518"/>
                    <a:gd name="connsiteY5467" fmla="*/ 380511 h 1161399"/>
                    <a:gd name="connsiteX5468" fmla="*/ 1302998 w 1661518"/>
                    <a:gd name="connsiteY5468" fmla="*/ 380025 h 1161399"/>
                    <a:gd name="connsiteX5469" fmla="*/ 1302549 w 1661518"/>
                    <a:gd name="connsiteY5469" fmla="*/ 379612 h 1161399"/>
                    <a:gd name="connsiteX5470" fmla="*/ 1301067 w 1661518"/>
                    <a:gd name="connsiteY5470" fmla="*/ 378240 h 1161399"/>
                    <a:gd name="connsiteX5471" fmla="*/ 1300181 w 1661518"/>
                    <a:gd name="connsiteY5471" fmla="*/ 377427 h 1161399"/>
                    <a:gd name="connsiteX5472" fmla="*/ 1299052 w 1661518"/>
                    <a:gd name="connsiteY5472" fmla="*/ 377014 h 1161399"/>
                    <a:gd name="connsiteX5473" fmla="*/ 1297740 w 1661518"/>
                    <a:gd name="connsiteY5473" fmla="*/ 376528 h 1161399"/>
                    <a:gd name="connsiteX5474" fmla="*/ 1296842 w 1661518"/>
                    <a:gd name="connsiteY5474" fmla="*/ 376200 h 1161399"/>
                    <a:gd name="connsiteX5475" fmla="*/ 1295882 w 1661518"/>
                    <a:gd name="connsiteY5475" fmla="*/ 376164 h 1161399"/>
                    <a:gd name="connsiteX5476" fmla="*/ 1294486 w 1661518"/>
                    <a:gd name="connsiteY5476" fmla="*/ 376103 h 1161399"/>
                    <a:gd name="connsiteX5477" fmla="*/ 1293539 w 1661518"/>
                    <a:gd name="connsiteY5477" fmla="*/ 376067 h 1161399"/>
                    <a:gd name="connsiteX5478" fmla="*/ 1292628 w 1661518"/>
                    <a:gd name="connsiteY5478" fmla="*/ 376322 h 1161399"/>
                    <a:gd name="connsiteX5479" fmla="*/ 1283096 w 1661518"/>
                    <a:gd name="connsiteY5479" fmla="*/ 378920 h 1161399"/>
                    <a:gd name="connsiteX5480" fmla="*/ 1282476 w 1661518"/>
                    <a:gd name="connsiteY5480" fmla="*/ 379017 h 1161399"/>
                    <a:gd name="connsiteX5481" fmla="*/ 1278287 w 1661518"/>
                    <a:gd name="connsiteY5481" fmla="*/ 379139 h 1161399"/>
                    <a:gd name="connsiteX5482" fmla="*/ 1278396 w 1661518"/>
                    <a:gd name="connsiteY5482" fmla="*/ 378993 h 1161399"/>
                    <a:gd name="connsiteX5483" fmla="*/ 1278688 w 1661518"/>
                    <a:gd name="connsiteY5483" fmla="*/ 378629 h 1161399"/>
                    <a:gd name="connsiteX5484" fmla="*/ 1278919 w 1661518"/>
                    <a:gd name="connsiteY5484" fmla="*/ 378216 h 1161399"/>
                    <a:gd name="connsiteX5485" fmla="*/ 1279550 w 1661518"/>
                    <a:gd name="connsiteY5485" fmla="*/ 377075 h 1161399"/>
                    <a:gd name="connsiteX5486" fmla="*/ 1280509 w 1661518"/>
                    <a:gd name="connsiteY5486" fmla="*/ 375023 h 1161399"/>
                    <a:gd name="connsiteX5487" fmla="*/ 1280837 w 1661518"/>
                    <a:gd name="connsiteY5487" fmla="*/ 374294 h 1161399"/>
                    <a:gd name="connsiteX5488" fmla="*/ 1280971 w 1661518"/>
                    <a:gd name="connsiteY5488" fmla="*/ 373505 h 1161399"/>
                    <a:gd name="connsiteX5489" fmla="*/ 1281201 w 1661518"/>
                    <a:gd name="connsiteY5489" fmla="*/ 372132 h 1161399"/>
                    <a:gd name="connsiteX5490" fmla="*/ 1281250 w 1661518"/>
                    <a:gd name="connsiteY5490" fmla="*/ 371792 h 1161399"/>
                    <a:gd name="connsiteX5491" fmla="*/ 1281274 w 1661518"/>
                    <a:gd name="connsiteY5491" fmla="*/ 371440 h 1161399"/>
                    <a:gd name="connsiteX5492" fmla="*/ 1281347 w 1661518"/>
                    <a:gd name="connsiteY5492" fmla="*/ 369923 h 1161399"/>
                    <a:gd name="connsiteX5493" fmla="*/ 1281347 w 1661518"/>
                    <a:gd name="connsiteY5493" fmla="*/ 369910 h 1161399"/>
                    <a:gd name="connsiteX5494" fmla="*/ 1281444 w 1661518"/>
                    <a:gd name="connsiteY5494" fmla="*/ 369777 h 1161399"/>
                    <a:gd name="connsiteX5495" fmla="*/ 1281724 w 1661518"/>
                    <a:gd name="connsiteY5495" fmla="*/ 369461 h 1161399"/>
                    <a:gd name="connsiteX5496" fmla="*/ 1284687 w 1661518"/>
                    <a:gd name="connsiteY5496" fmla="*/ 367093 h 1161399"/>
                    <a:gd name="connsiteX5497" fmla="*/ 1285573 w 1661518"/>
                    <a:gd name="connsiteY5497" fmla="*/ 366377 h 1161399"/>
                    <a:gd name="connsiteX5498" fmla="*/ 1286144 w 1661518"/>
                    <a:gd name="connsiteY5498" fmla="*/ 365381 h 1161399"/>
                    <a:gd name="connsiteX5499" fmla="*/ 1286605 w 1661518"/>
                    <a:gd name="connsiteY5499" fmla="*/ 364580 h 1161399"/>
                    <a:gd name="connsiteX5500" fmla="*/ 1287261 w 1661518"/>
                    <a:gd name="connsiteY5500" fmla="*/ 363450 h 1161399"/>
                    <a:gd name="connsiteX5501" fmla="*/ 1287394 w 1661518"/>
                    <a:gd name="connsiteY5501" fmla="*/ 362151 h 1161399"/>
                    <a:gd name="connsiteX5502" fmla="*/ 1287916 w 1661518"/>
                    <a:gd name="connsiteY5502" fmla="*/ 356905 h 1161399"/>
                    <a:gd name="connsiteX5503" fmla="*/ 1288147 w 1661518"/>
                    <a:gd name="connsiteY5503" fmla="*/ 356043 h 1161399"/>
                    <a:gd name="connsiteX5504" fmla="*/ 1293417 w 1661518"/>
                    <a:gd name="connsiteY5504" fmla="*/ 343973 h 1161399"/>
                    <a:gd name="connsiteX5505" fmla="*/ 1293867 w 1661518"/>
                    <a:gd name="connsiteY5505" fmla="*/ 342953 h 1161399"/>
                    <a:gd name="connsiteX5506" fmla="*/ 1293915 w 1661518"/>
                    <a:gd name="connsiteY5506" fmla="*/ 341824 h 1161399"/>
                    <a:gd name="connsiteX5507" fmla="*/ 1294036 w 1661518"/>
                    <a:gd name="connsiteY5507" fmla="*/ 339201 h 1161399"/>
                    <a:gd name="connsiteX5508" fmla="*/ 1294097 w 1661518"/>
                    <a:gd name="connsiteY5508" fmla="*/ 337780 h 1161399"/>
                    <a:gd name="connsiteX5509" fmla="*/ 1293527 w 1661518"/>
                    <a:gd name="connsiteY5509" fmla="*/ 336481 h 1161399"/>
                    <a:gd name="connsiteX5510" fmla="*/ 1292883 w 1661518"/>
                    <a:gd name="connsiteY5510" fmla="*/ 335024 h 1161399"/>
                    <a:gd name="connsiteX5511" fmla="*/ 1292288 w 1661518"/>
                    <a:gd name="connsiteY5511" fmla="*/ 333688 h 1161399"/>
                    <a:gd name="connsiteX5512" fmla="*/ 1291147 w 1661518"/>
                    <a:gd name="connsiteY5512" fmla="*/ 332765 h 1161399"/>
                    <a:gd name="connsiteX5513" fmla="*/ 1289653 w 1661518"/>
                    <a:gd name="connsiteY5513" fmla="*/ 331551 h 1161399"/>
                    <a:gd name="connsiteX5514" fmla="*/ 1289022 w 1661518"/>
                    <a:gd name="connsiteY5514" fmla="*/ 331029 h 1161399"/>
                    <a:gd name="connsiteX5515" fmla="*/ 1288269 w 1661518"/>
                    <a:gd name="connsiteY5515" fmla="*/ 330701 h 1161399"/>
                    <a:gd name="connsiteX5516" fmla="*/ 1287297 w 1661518"/>
                    <a:gd name="connsiteY5516" fmla="*/ 330276 h 1161399"/>
                    <a:gd name="connsiteX5517" fmla="*/ 1286739 w 1661518"/>
                    <a:gd name="connsiteY5517" fmla="*/ 330033 h 1161399"/>
                    <a:gd name="connsiteX5518" fmla="*/ 1286156 w 1661518"/>
                    <a:gd name="connsiteY5518" fmla="*/ 329911 h 1161399"/>
                    <a:gd name="connsiteX5519" fmla="*/ 1284723 w 1661518"/>
                    <a:gd name="connsiteY5519" fmla="*/ 329596 h 1161399"/>
                    <a:gd name="connsiteX5520" fmla="*/ 1284140 w 1661518"/>
                    <a:gd name="connsiteY5520" fmla="*/ 329462 h 1161399"/>
                    <a:gd name="connsiteX5521" fmla="*/ 1283545 w 1661518"/>
                    <a:gd name="connsiteY5521" fmla="*/ 329450 h 1161399"/>
                    <a:gd name="connsiteX5522" fmla="*/ 1282282 w 1661518"/>
                    <a:gd name="connsiteY5522" fmla="*/ 329426 h 1161399"/>
                    <a:gd name="connsiteX5523" fmla="*/ 1281809 w 1661518"/>
                    <a:gd name="connsiteY5523" fmla="*/ 329426 h 1161399"/>
                    <a:gd name="connsiteX5524" fmla="*/ 1281335 w 1661518"/>
                    <a:gd name="connsiteY5524" fmla="*/ 329487 h 1161399"/>
                    <a:gd name="connsiteX5525" fmla="*/ 1279659 w 1661518"/>
                    <a:gd name="connsiteY5525" fmla="*/ 329717 h 1161399"/>
                    <a:gd name="connsiteX5526" fmla="*/ 1279125 w 1661518"/>
                    <a:gd name="connsiteY5526" fmla="*/ 329790 h 1161399"/>
                    <a:gd name="connsiteX5527" fmla="*/ 1278797 w 1661518"/>
                    <a:gd name="connsiteY5527" fmla="*/ 330081 h 1161399"/>
                    <a:gd name="connsiteX5528" fmla="*/ 1277304 w 1661518"/>
                    <a:gd name="connsiteY5528" fmla="*/ 330567 h 1161399"/>
                    <a:gd name="connsiteX5529" fmla="*/ 1275871 w 1661518"/>
                    <a:gd name="connsiteY5529" fmla="*/ 331114 h 1161399"/>
                    <a:gd name="connsiteX5530" fmla="*/ 1275385 w 1661518"/>
                    <a:gd name="connsiteY5530" fmla="*/ 331308 h 1161399"/>
                    <a:gd name="connsiteX5531" fmla="*/ 1274936 w 1661518"/>
                    <a:gd name="connsiteY5531" fmla="*/ 331575 h 1161399"/>
                    <a:gd name="connsiteX5532" fmla="*/ 1274183 w 1661518"/>
                    <a:gd name="connsiteY5532" fmla="*/ 332036 h 1161399"/>
                    <a:gd name="connsiteX5533" fmla="*/ 1273466 w 1661518"/>
                    <a:gd name="connsiteY5533" fmla="*/ 332474 h 1161399"/>
                    <a:gd name="connsiteX5534" fmla="*/ 1272896 w 1661518"/>
                    <a:gd name="connsiteY5534" fmla="*/ 333081 h 1161399"/>
                    <a:gd name="connsiteX5535" fmla="*/ 1272264 w 1661518"/>
                    <a:gd name="connsiteY5535" fmla="*/ 333749 h 1161399"/>
                    <a:gd name="connsiteX5536" fmla="*/ 1271851 w 1661518"/>
                    <a:gd name="connsiteY5536" fmla="*/ 334186 h 1161399"/>
                    <a:gd name="connsiteX5537" fmla="*/ 1271536 w 1661518"/>
                    <a:gd name="connsiteY5537" fmla="*/ 334696 h 1161399"/>
                    <a:gd name="connsiteX5538" fmla="*/ 1271074 w 1661518"/>
                    <a:gd name="connsiteY5538" fmla="*/ 335436 h 1161399"/>
                    <a:gd name="connsiteX5539" fmla="*/ 1270795 w 1661518"/>
                    <a:gd name="connsiteY5539" fmla="*/ 335886 h 1161399"/>
                    <a:gd name="connsiteX5540" fmla="*/ 1270588 w 1661518"/>
                    <a:gd name="connsiteY5540" fmla="*/ 336384 h 1161399"/>
                    <a:gd name="connsiteX5541" fmla="*/ 1270188 w 1661518"/>
                    <a:gd name="connsiteY5541" fmla="*/ 337367 h 1161399"/>
                    <a:gd name="connsiteX5542" fmla="*/ 1270042 w 1661518"/>
                    <a:gd name="connsiteY5542" fmla="*/ 337732 h 1161399"/>
                    <a:gd name="connsiteX5543" fmla="*/ 1269945 w 1661518"/>
                    <a:gd name="connsiteY5543" fmla="*/ 338120 h 1161399"/>
                    <a:gd name="connsiteX5544" fmla="*/ 1269095 w 1661518"/>
                    <a:gd name="connsiteY5544" fmla="*/ 341435 h 1161399"/>
                    <a:gd name="connsiteX5545" fmla="*/ 1268949 w 1661518"/>
                    <a:gd name="connsiteY5545" fmla="*/ 341459 h 1161399"/>
                    <a:gd name="connsiteX5546" fmla="*/ 1255495 w 1661518"/>
                    <a:gd name="connsiteY5546" fmla="*/ 341872 h 1161399"/>
                    <a:gd name="connsiteX5547" fmla="*/ 1255058 w 1661518"/>
                    <a:gd name="connsiteY5547" fmla="*/ 341884 h 1161399"/>
                    <a:gd name="connsiteX5548" fmla="*/ 1254633 w 1661518"/>
                    <a:gd name="connsiteY5548" fmla="*/ 341957 h 1161399"/>
                    <a:gd name="connsiteX5549" fmla="*/ 1252690 w 1661518"/>
                    <a:gd name="connsiteY5549" fmla="*/ 342297 h 1161399"/>
                    <a:gd name="connsiteX5550" fmla="*/ 1252059 w 1661518"/>
                    <a:gd name="connsiteY5550" fmla="*/ 342407 h 1161399"/>
                    <a:gd name="connsiteX5551" fmla="*/ 1251463 w 1661518"/>
                    <a:gd name="connsiteY5551" fmla="*/ 342649 h 1161399"/>
                    <a:gd name="connsiteX5552" fmla="*/ 1250310 w 1661518"/>
                    <a:gd name="connsiteY5552" fmla="*/ 343111 h 1161399"/>
                    <a:gd name="connsiteX5553" fmla="*/ 1249557 w 1661518"/>
                    <a:gd name="connsiteY5553" fmla="*/ 343402 h 1161399"/>
                    <a:gd name="connsiteX5554" fmla="*/ 1248913 w 1661518"/>
                    <a:gd name="connsiteY5554" fmla="*/ 343888 h 1161399"/>
                    <a:gd name="connsiteX5555" fmla="*/ 1248221 w 1661518"/>
                    <a:gd name="connsiteY5555" fmla="*/ 344410 h 1161399"/>
                    <a:gd name="connsiteX5556" fmla="*/ 1246278 w 1661518"/>
                    <a:gd name="connsiteY5556" fmla="*/ 345867 h 1161399"/>
                    <a:gd name="connsiteX5557" fmla="*/ 1245878 w 1661518"/>
                    <a:gd name="connsiteY5557" fmla="*/ 348272 h 1161399"/>
                    <a:gd name="connsiteX5558" fmla="*/ 1245768 w 1661518"/>
                    <a:gd name="connsiteY5558" fmla="*/ 348952 h 1161399"/>
                    <a:gd name="connsiteX5559" fmla="*/ 1245392 w 1661518"/>
                    <a:gd name="connsiteY5559" fmla="*/ 351186 h 1161399"/>
                    <a:gd name="connsiteX5560" fmla="*/ 1246582 w 1661518"/>
                    <a:gd name="connsiteY5560" fmla="*/ 353117 h 1161399"/>
                    <a:gd name="connsiteX5561" fmla="*/ 1247043 w 1661518"/>
                    <a:gd name="connsiteY5561" fmla="*/ 353869 h 1161399"/>
                    <a:gd name="connsiteX5562" fmla="*/ 1247602 w 1661518"/>
                    <a:gd name="connsiteY5562" fmla="*/ 354768 h 1161399"/>
                    <a:gd name="connsiteX5563" fmla="*/ 1248428 w 1661518"/>
                    <a:gd name="connsiteY5563" fmla="*/ 355424 h 1161399"/>
                    <a:gd name="connsiteX5564" fmla="*/ 1249351 w 1661518"/>
                    <a:gd name="connsiteY5564" fmla="*/ 356164 h 1161399"/>
                    <a:gd name="connsiteX5565" fmla="*/ 1249593 w 1661518"/>
                    <a:gd name="connsiteY5565" fmla="*/ 356359 h 1161399"/>
                    <a:gd name="connsiteX5566" fmla="*/ 1249848 w 1661518"/>
                    <a:gd name="connsiteY5566" fmla="*/ 356529 h 1161399"/>
                    <a:gd name="connsiteX5567" fmla="*/ 1251816 w 1661518"/>
                    <a:gd name="connsiteY5567" fmla="*/ 357792 h 1161399"/>
                    <a:gd name="connsiteX5568" fmla="*/ 1251621 w 1661518"/>
                    <a:gd name="connsiteY5568" fmla="*/ 357852 h 1161399"/>
                    <a:gd name="connsiteX5569" fmla="*/ 1249059 w 1661518"/>
                    <a:gd name="connsiteY5569" fmla="*/ 358727 h 1161399"/>
                    <a:gd name="connsiteX5570" fmla="*/ 1249023 w 1661518"/>
                    <a:gd name="connsiteY5570" fmla="*/ 358702 h 1161399"/>
                    <a:gd name="connsiteX5571" fmla="*/ 1245185 w 1661518"/>
                    <a:gd name="connsiteY5571" fmla="*/ 354975 h 1161399"/>
                    <a:gd name="connsiteX5572" fmla="*/ 1244603 w 1661518"/>
                    <a:gd name="connsiteY5572" fmla="*/ 354112 h 1161399"/>
                    <a:gd name="connsiteX5573" fmla="*/ 1243874 w 1661518"/>
                    <a:gd name="connsiteY5573" fmla="*/ 352631 h 1161399"/>
                    <a:gd name="connsiteX5574" fmla="*/ 1242441 w 1661518"/>
                    <a:gd name="connsiteY5574" fmla="*/ 349049 h 1161399"/>
                    <a:gd name="connsiteX5575" fmla="*/ 1242174 w 1661518"/>
                    <a:gd name="connsiteY5575" fmla="*/ 348369 h 1161399"/>
                    <a:gd name="connsiteX5576" fmla="*/ 1241737 w 1661518"/>
                    <a:gd name="connsiteY5576" fmla="*/ 347774 h 1161399"/>
                    <a:gd name="connsiteX5577" fmla="*/ 1240474 w 1661518"/>
                    <a:gd name="connsiteY5577" fmla="*/ 346025 h 1161399"/>
                    <a:gd name="connsiteX5578" fmla="*/ 1239782 w 1661518"/>
                    <a:gd name="connsiteY5578" fmla="*/ 345066 h 1161399"/>
                    <a:gd name="connsiteX5579" fmla="*/ 1238786 w 1661518"/>
                    <a:gd name="connsiteY5579" fmla="*/ 344435 h 1161399"/>
                    <a:gd name="connsiteX5580" fmla="*/ 1237645 w 1661518"/>
                    <a:gd name="connsiteY5580" fmla="*/ 343718 h 1161399"/>
                    <a:gd name="connsiteX5581" fmla="*/ 1236491 w 1661518"/>
                    <a:gd name="connsiteY5581" fmla="*/ 342989 h 1161399"/>
                    <a:gd name="connsiteX5582" fmla="*/ 1235131 w 1661518"/>
                    <a:gd name="connsiteY5582" fmla="*/ 342819 h 1161399"/>
                    <a:gd name="connsiteX5583" fmla="*/ 1233455 w 1661518"/>
                    <a:gd name="connsiteY5583" fmla="*/ 342613 h 1161399"/>
                    <a:gd name="connsiteX5584" fmla="*/ 1232229 w 1661518"/>
                    <a:gd name="connsiteY5584" fmla="*/ 342467 h 1161399"/>
                    <a:gd name="connsiteX5585" fmla="*/ 1231051 w 1661518"/>
                    <a:gd name="connsiteY5585" fmla="*/ 342807 h 1161399"/>
                    <a:gd name="connsiteX5586" fmla="*/ 1229958 w 1661518"/>
                    <a:gd name="connsiteY5586" fmla="*/ 343123 h 1161399"/>
                    <a:gd name="connsiteX5587" fmla="*/ 1229133 w 1661518"/>
                    <a:gd name="connsiteY5587" fmla="*/ 343366 h 1161399"/>
                    <a:gd name="connsiteX5588" fmla="*/ 1228404 w 1661518"/>
                    <a:gd name="connsiteY5588" fmla="*/ 343815 h 1161399"/>
                    <a:gd name="connsiteX5589" fmla="*/ 1227263 w 1661518"/>
                    <a:gd name="connsiteY5589" fmla="*/ 344532 h 1161399"/>
                    <a:gd name="connsiteX5590" fmla="*/ 1225295 w 1661518"/>
                    <a:gd name="connsiteY5590" fmla="*/ 345770 h 1161399"/>
                    <a:gd name="connsiteX5591" fmla="*/ 1224652 w 1661518"/>
                    <a:gd name="connsiteY5591" fmla="*/ 348004 h 1161399"/>
                    <a:gd name="connsiteX5592" fmla="*/ 1224360 w 1661518"/>
                    <a:gd name="connsiteY5592" fmla="*/ 349012 h 1161399"/>
                    <a:gd name="connsiteX5593" fmla="*/ 1224057 w 1661518"/>
                    <a:gd name="connsiteY5593" fmla="*/ 350093 h 1161399"/>
                    <a:gd name="connsiteX5594" fmla="*/ 1224154 w 1661518"/>
                    <a:gd name="connsiteY5594" fmla="*/ 351210 h 1161399"/>
                    <a:gd name="connsiteX5595" fmla="*/ 1224239 w 1661518"/>
                    <a:gd name="connsiteY5595" fmla="*/ 352194 h 1161399"/>
                    <a:gd name="connsiteX5596" fmla="*/ 1220280 w 1661518"/>
                    <a:gd name="connsiteY5596" fmla="*/ 351538 h 1161399"/>
                    <a:gd name="connsiteX5597" fmla="*/ 1218070 w 1661518"/>
                    <a:gd name="connsiteY5597" fmla="*/ 350482 h 1161399"/>
                    <a:gd name="connsiteX5598" fmla="*/ 1217427 w 1661518"/>
                    <a:gd name="connsiteY5598" fmla="*/ 350178 h 1161399"/>
                    <a:gd name="connsiteX5599" fmla="*/ 1216723 w 1661518"/>
                    <a:gd name="connsiteY5599" fmla="*/ 350032 h 1161399"/>
                    <a:gd name="connsiteX5600" fmla="*/ 1214950 w 1661518"/>
                    <a:gd name="connsiteY5600" fmla="*/ 349656 h 1161399"/>
                    <a:gd name="connsiteX5601" fmla="*/ 1213650 w 1661518"/>
                    <a:gd name="connsiteY5601" fmla="*/ 349377 h 1161399"/>
                    <a:gd name="connsiteX5602" fmla="*/ 1212351 w 1661518"/>
                    <a:gd name="connsiteY5602" fmla="*/ 349668 h 1161399"/>
                    <a:gd name="connsiteX5603" fmla="*/ 1211537 w 1661518"/>
                    <a:gd name="connsiteY5603" fmla="*/ 349850 h 1161399"/>
                    <a:gd name="connsiteX5604" fmla="*/ 1208271 w 1661518"/>
                    <a:gd name="connsiteY5604" fmla="*/ 350591 h 1161399"/>
                    <a:gd name="connsiteX5605" fmla="*/ 1207154 w 1661518"/>
                    <a:gd name="connsiteY5605" fmla="*/ 353736 h 1161399"/>
                    <a:gd name="connsiteX5606" fmla="*/ 1206984 w 1661518"/>
                    <a:gd name="connsiteY5606" fmla="*/ 354367 h 1161399"/>
                    <a:gd name="connsiteX5607" fmla="*/ 1206559 w 1661518"/>
                    <a:gd name="connsiteY5607" fmla="*/ 355557 h 1161399"/>
                    <a:gd name="connsiteX5608" fmla="*/ 1206644 w 1661518"/>
                    <a:gd name="connsiteY5608" fmla="*/ 356820 h 1161399"/>
                    <a:gd name="connsiteX5609" fmla="*/ 1206705 w 1661518"/>
                    <a:gd name="connsiteY5609" fmla="*/ 357682 h 1161399"/>
                    <a:gd name="connsiteX5610" fmla="*/ 1206741 w 1661518"/>
                    <a:gd name="connsiteY5610" fmla="*/ 358180 h 1161399"/>
                    <a:gd name="connsiteX5611" fmla="*/ 1206850 w 1661518"/>
                    <a:gd name="connsiteY5611" fmla="*/ 358666 h 1161399"/>
                    <a:gd name="connsiteX5612" fmla="*/ 1207360 w 1661518"/>
                    <a:gd name="connsiteY5612" fmla="*/ 360827 h 1161399"/>
                    <a:gd name="connsiteX5613" fmla="*/ 1207433 w 1661518"/>
                    <a:gd name="connsiteY5613" fmla="*/ 361143 h 1161399"/>
                    <a:gd name="connsiteX5614" fmla="*/ 1207433 w 1661518"/>
                    <a:gd name="connsiteY5614" fmla="*/ 361143 h 1161399"/>
                    <a:gd name="connsiteX5615" fmla="*/ 1205842 w 1661518"/>
                    <a:gd name="connsiteY5615" fmla="*/ 360779 h 1161399"/>
                    <a:gd name="connsiteX5616" fmla="*/ 1204580 w 1661518"/>
                    <a:gd name="connsiteY5616" fmla="*/ 360487 h 1161399"/>
                    <a:gd name="connsiteX5617" fmla="*/ 1201762 w 1661518"/>
                    <a:gd name="connsiteY5617" fmla="*/ 359844 h 1161399"/>
                    <a:gd name="connsiteX5618" fmla="*/ 1199480 w 1661518"/>
                    <a:gd name="connsiteY5618" fmla="*/ 361617 h 1161399"/>
                    <a:gd name="connsiteX5619" fmla="*/ 1198969 w 1661518"/>
                    <a:gd name="connsiteY5619" fmla="*/ 362017 h 1161399"/>
                    <a:gd name="connsiteX5620" fmla="*/ 1196820 w 1661518"/>
                    <a:gd name="connsiteY5620" fmla="*/ 363693 h 1161399"/>
                    <a:gd name="connsiteX5621" fmla="*/ 1196638 w 1661518"/>
                    <a:gd name="connsiteY5621" fmla="*/ 366413 h 1161399"/>
                    <a:gd name="connsiteX5622" fmla="*/ 1196577 w 1661518"/>
                    <a:gd name="connsiteY5622" fmla="*/ 367336 h 1161399"/>
                    <a:gd name="connsiteX5623" fmla="*/ 1196541 w 1661518"/>
                    <a:gd name="connsiteY5623" fmla="*/ 367967 h 1161399"/>
                    <a:gd name="connsiteX5624" fmla="*/ 1196626 w 1661518"/>
                    <a:gd name="connsiteY5624" fmla="*/ 368587 h 1161399"/>
                    <a:gd name="connsiteX5625" fmla="*/ 1196687 w 1661518"/>
                    <a:gd name="connsiteY5625" fmla="*/ 369024 h 1161399"/>
                    <a:gd name="connsiteX5626" fmla="*/ 1193882 w 1661518"/>
                    <a:gd name="connsiteY5626" fmla="*/ 368526 h 1161399"/>
                    <a:gd name="connsiteX5627" fmla="*/ 1192874 w 1661518"/>
                    <a:gd name="connsiteY5627" fmla="*/ 368344 h 1161399"/>
                    <a:gd name="connsiteX5628" fmla="*/ 1191866 w 1661518"/>
                    <a:gd name="connsiteY5628" fmla="*/ 368502 h 1161399"/>
                    <a:gd name="connsiteX5629" fmla="*/ 1189231 w 1661518"/>
                    <a:gd name="connsiteY5629" fmla="*/ 368927 h 1161399"/>
                    <a:gd name="connsiteX5630" fmla="*/ 1188672 w 1661518"/>
                    <a:gd name="connsiteY5630" fmla="*/ 369012 h 1161399"/>
                    <a:gd name="connsiteX5631" fmla="*/ 1188150 w 1661518"/>
                    <a:gd name="connsiteY5631" fmla="*/ 369206 h 1161399"/>
                    <a:gd name="connsiteX5632" fmla="*/ 1184617 w 1661518"/>
                    <a:gd name="connsiteY5632" fmla="*/ 370469 h 1161399"/>
                    <a:gd name="connsiteX5633" fmla="*/ 1184107 w 1661518"/>
                    <a:gd name="connsiteY5633" fmla="*/ 369716 h 1161399"/>
                    <a:gd name="connsiteX5634" fmla="*/ 1183609 w 1661518"/>
                    <a:gd name="connsiteY5634" fmla="*/ 368745 h 1161399"/>
                    <a:gd name="connsiteX5635" fmla="*/ 1183366 w 1661518"/>
                    <a:gd name="connsiteY5635" fmla="*/ 367858 h 1161399"/>
                    <a:gd name="connsiteX5636" fmla="*/ 1185770 w 1661518"/>
                    <a:gd name="connsiteY5636" fmla="*/ 367130 h 1161399"/>
                    <a:gd name="connsiteX5637" fmla="*/ 1186960 w 1661518"/>
                    <a:gd name="connsiteY5637" fmla="*/ 366777 h 1161399"/>
                    <a:gd name="connsiteX5638" fmla="*/ 1187919 w 1661518"/>
                    <a:gd name="connsiteY5638" fmla="*/ 365988 h 1161399"/>
                    <a:gd name="connsiteX5639" fmla="*/ 1189304 w 1661518"/>
                    <a:gd name="connsiteY5639" fmla="*/ 364835 h 1161399"/>
                    <a:gd name="connsiteX5640" fmla="*/ 1189911 w 1661518"/>
                    <a:gd name="connsiteY5640" fmla="*/ 364325 h 1161399"/>
                    <a:gd name="connsiteX5641" fmla="*/ 1190372 w 1661518"/>
                    <a:gd name="connsiteY5641" fmla="*/ 363669 h 1161399"/>
                    <a:gd name="connsiteX5642" fmla="*/ 1191562 w 1661518"/>
                    <a:gd name="connsiteY5642" fmla="*/ 361981 h 1161399"/>
                    <a:gd name="connsiteX5643" fmla="*/ 1194914 w 1661518"/>
                    <a:gd name="connsiteY5643" fmla="*/ 358654 h 1161399"/>
                    <a:gd name="connsiteX5644" fmla="*/ 1195229 w 1661518"/>
                    <a:gd name="connsiteY5644" fmla="*/ 358338 h 1161399"/>
                    <a:gd name="connsiteX5645" fmla="*/ 1195497 w 1661518"/>
                    <a:gd name="connsiteY5645" fmla="*/ 357974 h 1161399"/>
                    <a:gd name="connsiteX5646" fmla="*/ 1196589 w 1661518"/>
                    <a:gd name="connsiteY5646" fmla="*/ 356504 h 1161399"/>
                    <a:gd name="connsiteX5647" fmla="*/ 1196844 w 1661518"/>
                    <a:gd name="connsiteY5647" fmla="*/ 356164 h 1161399"/>
                    <a:gd name="connsiteX5648" fmla="*/ 1197051 w 1661518"/>
                    <a:gd name="connsiteY5648" fmla="*/ 355788 h 1161399"/>
                    <a:gd name="connsiteX5649" fmla="*/ 1197330 w 1661518"/>
                    <a:gd name="connsiteY5649" fmla="*/ 355278 h 1161399"/>
                    <a:gd name="connsiteX5650" fmla="*/ 1197622 w 1661518"/>
                    <a:gd name="connsiteY5650" fmla="*/ 355181 h 1161399"/>
                    <a:gd name="connsiteX5651" fmla="*/ 1198095 w 1661518"/>
                    <a:gd name="connsiteY5651" fmla="*/ 355023 h 1161399"/>
                    <a:gd name="connsiteX5652" fmla="*/ 1198532 w 1661518"/>
                    <a:gd name="connsiteY5652" fmla="*/ 354780 h 1161399"/>
                    <a:gd name="connsiteX5653" fmla="*/ 1199686 w 1661518"/>
                    <a:gd name="connsiteY5653" fmla="*/ 354173 h 1161399"/>
                    <a:gd name="connsiteX5654" fmla="*/ 1202054 w 1661518"/>
                    <a:gd name="connsiteY5654" fmla="*/ 352728 h 1161399"/>
                    <a:gd name="connsiteX5655" fmla="*/ 1204628 w 1661518"/>
                    <a:gd name="connsiteY5655" fmla="*/ 351696 h 1161399"/>
                    <a:gd name="connsiteX5656" fmla="*/ 1204907 w 1661518"/>
                    <a:gd name="connsiteY5656" fmla="*/ 351587 h 1161399"/>
                    <a:gd name="connsiteX5657" fmla="*/ 1205175 w 1661518"/>
                    <a:gd name="connsiteY5657" fmla="*/ 351441 h 1161399"/>
                    <a:gd name="connsiteX5658" fmla="*/ 1207251 w 1661518"/>
                    <a:gd name="connsiteY5658" fmla="*/ 350348 h 1161399"/>
                    <a:gd name="connsiteX5659" fmla="*/ 1208004 w 1661518"/>
                    <a:gd name="connsiteY5659" fmla="*/ 349959 h 1161399"/>
                    <a:gd name="connsiteX5660" fmla="*/ 1208611 w 1661518"/>
                    <a:gd name="connsiteY5660" fmla="*/ 349377 h 1161399"/>
                    <a:gd name="connsiteX5661" fmla="*/ 1209582 w 1661518"/>
                    <a:gd name="connsiteY5661" fmla="*/ 348454 h 1161399"/>
                    <a:gd name="connsiteX5662" fmla="*/ 1210007 w 1661518"/>
                    <a:gd name="connsiteY5662" fmla="*/ 348053 h 1161399"/>
                    <a:gd name="connsiteX5663" fmla="*/ 1210347 w 1661518"/>
                    <a:gd name="connsiteY5663" fmla="*/ 347579 h 1161399"/>
                    <a:gd name="connsiteX5664" fmla="*/ 1211040 w 1661518"/>
                    <a:gd name="connsiteY5664" fmla="*/ 346608 h 1161399"/>
                    <a:gd name="connsiteX5665" fmla="*/ 1212169 w 1661518"/>
                    <a:gd name="connsiteY5665" fmla="*/ 345029 h 1161399"/>
                    <a:gd name="connsiteX5666" fmla="*/ 1212169 w 1661518"/>
                    <a:gd name="connsiteY5666" fmla="*/ 343087 h 1161399"/>
                    <a:gd name="connsiteX5667" fmla="*/ 1212169 w 1661518"/>
                    <a:gd name="connsiteY5667" fmla="*/ 342018 h 1161399"/>
                    <a:gd name="connsiteX5668" fmla="*/ 1212169 w 1661518"/>
                    <a:gd name="connsiteY5668" fmla="*/ 341047 h 1161399"/>
                    <a:gd name="connsiteX5669" fmla="*/ 1211877 w 1661518"/>
                    <a:gd name="connsiteY5669" fmla="*/ 340136 h 1161399"/>
                    <a:gd name="connsiteX5670" fmla="*/ 1211537 w 1661518"/>
                    <a:gd name="connsiteY5670" fmla="*/ 339079 h 1161399"/>
                    <a:gd name="connsiteX5671" fmla="*/ 1211392 w 1661518"/>
                    <a:gd name="connsiteY5671" fmla="*/ 338618 h 1161399"/>
                    <a:gd name="connsiteX5672" fmla="*/ 1211173 w 1661518"/>
                    <a:gd name="connsiteY5672" fmla="*/ 338181 h 1161399"/>
                    <a:gd name="connsiteX5673" fmla="*/ 1209777 w 1661518"/>
                    <a:gd name="connsiteY5673" fmla="*/ 335461 h 1161399"/>
                    <a:gd name="connsiteX5674" fmla="*/ 1209752 w 1661518"/>
                    <a:gd name="connsiteY5674" fmla="*/ 335388 h 1161399"/>
                    <a:gd name="connsiteX5675" fmla="*/ 1209437 w 1661518"/>
                    <a:gd name="connsiteY5675" fmla="*/ 332619 h 1161399"/>
                    <a:gd name="connsiteX5676" fmla="*/ 1209376 w 1661518"/>
                    <a:gd name="connsiteY5676" fmla="*/ 332085 h 1161399"/>
                    <a:gd name="connsiteX5677" fmla="*/ 1209218 w 1661518"/>
                    <a:gd name="connsiteY5677" fmla="*/ 331563 h 1161399"/>
                    <a:gd name="connsiteX5678" fmla="*/ 1208878 w 1661518"/>
                    <a:gd name="connsiteY5678" fmla="*/ 330446 h 1161399"/>
                    <a:gd name="connsiteX5679" fmla="*/ 1208660 w 1661518"/>
                    <a:gd name="connsiteY5679" fmla="*/ 329729 h 1161399"/>
                    <a:gd name="connsiteX5680" fmla="*/ 1208283 w 1661518"/>
                    <a:gd name="connsiteY5680" fmla="*/ 329086 h 1161399"/>
                    <a:gd name="connsiteX5681" fmla="*/ 1207712 w 1661518"/>
                    <a:gd name="connsiteY5681" fmla="*/ 328114 h 1161399"/>
                    <a:gd name="connsiteX5682" fmla="*/ 1207518 w 1661518"/>
                    <a:gd name="connsiteY5682" fmla="*/ 327787 h 1161399"/>
                    <a:gd name="connsiteX5683" fmla="*/ 1207275 w 1661518"/>
                    <a:gd name="connsiteY5683" fmla="*/ 327483 h 1161399"/>
                    <a:gd name="connsiteX5684" fmla="*/ 1206632 w 1661518"/>
                    <a:gd name="connsiteY5684" fmla="*/ 326669 h 1161399"/>
                    <a:gd name="connsiteX5685" fmla="*/ 1205964 w 1661518"/>
                    <a:gd name="connsiteY5685" fmla="*/ 325807 h 1161399"/>
                    <a:gd name="connsiteX5686" fmla="*/ 1205041 w 1661518"/>
                    <a:gd name="connsiteY5686" fmla="*/ 325236 h 1161399"/>
                    <a:gd name="connsiteX5687" fmla="*/ 1204191 w 1661518"/>
                    <a:gd name="connsiteY5687" fmla="*/ 324714 h 1161399"/>
                    <a:gd name="connsiteX5688" fmla="*/ 1203110 w 1661518"/>
                    <a:gd name="connsiteY5688" fmla="*/ 324047 h 1161399"/>
                    <a:gd name="connsiteX5689" fmla="*/ 1201847 w 1661518"/>
                    <a:gd name="connsiteY5689" fmla="*/ 323864 h 1161399"/>
                    <a:gd name="connsiteX5690" fmla="*/ 1200924 w 1661518"/>
                    <a:gd name="connsiteY5690" fmla="*/ 323731 h 1161399"/>
                    <a:gd name="connsiteX5691" fmla="*/ 1200257 w 1661518"/>
                    <a:gd name="connsiteY5691" fmla="*/ 323634 h 1161399"/>
                    <a:gd name="connsiteX5692" fmla="*/ 1200172 w 1661518"/>
                    <a:gd name="connsiteY5692" fmla="*/ 323476 h 1161399"/>
                    <a:gd name="connsiteX5693" fmla="*/ 1199807 w 1661518"/>
                    <a:gd name="connsiteY5693" fmla="*/ 323027 h 1161399"/>
                    <a:gd name="connsiteX5694" fmla="*/ 1199115 w 1661518"/>
                    <a:gd name="connsiteY5694" fmla="*/ 322164 h 1161399"/>
                    <a:gd name="connsiteX5695" fmla="*/ 1198836 w 1661518"/>
                    <a:gd name="connsiteY5695" fmla="*/ 321812 h 1161399"/>
                    <a:gd name="connsiteX5696" fmla="*/ 1198508 w 1661518"/>
                    <a:gd name="connsiteY5696" fmla="*/ 321509 h 1161399"/>
                    <a:gd name="connsiteX5697" fmla="*/ 1197755 w 1661518"/>
                    <a:gd name="connsiteY5697" fmla="*/ 320816 h 1161399"/>
                    <a:gd name="connsiteX5698" fmla="*/ 1197294 w 1661518"/>
                    <a:gd name="connsiteY5698" fmla="*/ 320391 h 1161399"/>
                    <a:gd name="connsiteX5699" fmla="*/ 1196760 w 1661518"/>
                    <a:gd name="connsiteY5699" fmla="*/ 320076 h 1161399"/>
                    <a:gd name="connsiteX5700" fmla="*/ 1194234 w 1661518"/>
                    <a:gd name="connsiteY5700" fmla="*/ 318558 h 1161399"/>
                    <a:gd name="connsiteX5701" fmla="*/ 1193687 w 1661518"/>
                    <a:gd name="connsiteY5701" fmla="*/ 318230 h 1161399"/>
                    <a:gd name="connsiteX5702" fmla="*/ 1193092 w 1661518"/>
                    <a:gd name="connsiteY5702" fmla="*/ 318024 h 1161399"/>
                    <a:gd name="connsiteX5703" fmla="*/ 1192764 w 1661518"/>
                    <a:gd name="connsiteY5703" fmla="*/ 317914 h 1161399"/>
                    <a:gd name="connsiteX5704" fmla="*/ 1192485 w 1661518"/>
                    <a:gd name="connsiteY5704" fmla="*/ 311503 h 1161399"/>
                    <a:gd name="connsiteX5705" fmla="*/ 1192473 w 1661518"/>
                    <a:gd name="connsiteY5705" fmla="*/ 311199 h 1161399"/>
                    <a:gd name="connsiteX5706" fmla="*/ 1192424 w 1661518"/>
                    <a:gd name="connsiteY5706" fmla="*/ 310896 h 1161399"/>
                    <a:gd name="connsiteX5707" fmla="*/ 1191501 w 1661518"/>
                    <a:gd name="connsiteY5707" fmla="*/ 304606 h 1161399"/>
                    <a:gd name="connsiteX5708" fmla="*/ 1191429 w 1661518"/>
                    <a:gd name="connsiteY5708" fmla="*/ 304120 h 1161399"/>
                    <a:gd name="connsiteX5709" fmla="*/ 1191283 w 1661518"/>
                    <a:gd name="connsiteY5709" fmla="*/ 303659 h 1161399"/>
                    <a:gd name="connsiteX5710" fmla="*/ 1190712 w 1661518"/>
                    <a:gd name="connsiteY5710" fmla="*/ 301849 h 1161399"/>
                    <a:gd name="connsiteX5711" fmla="*/ 1190603 w 1661518"/>
                    <a:gd name="connsiteY5711" fmla="*/ 301497 h 1161399"/>
                    <a:gd name="connsiteX5712" fmla="*/ 1190457 w 1661518"/>
                    <a:gd name="connsiteY5712" fmla="*/ 301157 h 1161399"/>
                    <a:gd name="connsiteX5713" fmla="*/ 1189826 w 1661518"/>
                    <a:gd name="connsiteY5713" fmla="*/ 299773 h 1161399"/>
                    <a:gd name="connsiteX5714" fmla="*/ 1189559 w 1661518"/>
                    <a:gd name="connsiteY5714" fmla="*/ 299190 h 1161399"/>
                    <a:gd name="connsiteX5715" fmla="*/ 1189170 w 1661518"/>
                    <a:gd name="connsiteY5715" fmla="*/ 298668 h 1161399"/>
                    <a:gd name="connsiteX5716" fmla="*/ 1186244 w 1661518"/>
                    <a:gd name="connsiteY5716" fmla="*/ 294721 h 1161399"/>
                    <a:gd name="connsiteX5717" fmla="*/ 1185212 w 1661518"/>
                    <a:gd name="connsiteY5717" fmla="*/ 293070 h 1161399"/>
                    <a:gd name="connsiteX5718" fmla="*/ 1183973 w 1661518"/>
                    <a:gd name="connsiteY5718" fmla="*/ 291127 h 1161399"/>
                    <a:gd name="connsiteX5719" fmla="*/ 1181775 w 1661518"/>
                    <a:gd name="connsiteY5719" fmla="*/ 290483 h 1161399"/>
                    <a:gd name="connsiteX5720" fmla="*/ 1180342 w 1661518"/>
                    <a:gd name="connsiteY5720" fmla="*/ 290071 h 1161399"/>
                    <a:gd name="connsiteX5721" fmla="*/ 1179808 w 1661518"/>
                    <a:gd name="connsiteY5721" fmla="*/ 289913 h 1161399"/>
                    <a:gd name="connsiteX5722" fmla="*/ 1179249 w 1661518"/>
                    <a:gd name="connsiteY5722" fmla="*/ 289864 h 1161399"/>
                    <a:gd name="connsiteX5723" fmla="*/ 1177756 w 1661518"/>
                    <a:gd name="connsiteY5723" fmla="*/ 289718 h 1161399"/>
                    <a:gd name="connsiteX5724" fmla="*/ 1176906 w 1661518"/>
                    <a:gd name="connsiteY5724" fmla="*/ 289633 h 1161399"/>
                    <a:gd name="connsiteX5725" fmla="*/ 1176056 w 1661518"/>
                    <a:gd name="connsiteY5725" fmla="*/ 289791 h 1161399"/>
                    <a:gd name="connsiteX5726" fmla="*/ 1173360 w 1661518"/>
                    <a:gd name="connsiteY5726" fmla="*/ 290289 h 1161399"/>
                    <a:gd name="connsiteX5727" fmla="*/ 1173032 w 1661518"/>
                    <a:gd name="connsiteY5727" fmla="*/ 290350 h 1161399"/>
                    <a:gd name="connsiteX5728" fmla="*/ 1172716 w 1661518"/>
                    <a:gd name="connsiteY5728" fmla="*/ 290447 h 1161399"/>
                    <a:gd name="connsiteX5729" fmla="*/ 1169839 w 1661518"/>
                    <a:gd name="connsiteY5729" fmla="*/ 291309 h 1161399"/>
                    <a:gd name="connsiteX5730" fmla="*/ 1167944 w 1661518"/>
                    <a:gd name="connsiteY5730" fmla="*/ 290483 h 1161399"/>
                    <a:gd name="connsiteX5731" fmla="*/ 1166961 w 1661518"/>
                    <a:gd name="connsiteY5731" fmla="*/ 290046 h 1161399"/>
                    <a:gd name="connsiteX5732" fmla="*/ 1165880 w 1661518"/>
                    <a:gd name="connsiteY5732" fmla="*/ 289985 h 1161399"/>
                    <a:gd name="connsiteX5733" fmla="*/ 1164447 w 1661518"/>
                    <a:gd name="connsiteY5733" fmla="*/ 289900 h 1161399"/>
                    <a:gd name="connsiteX5734" fmla="*/ 1162929 w 1661518"/>
                    <a:gd name="connsiteY5734" fmla="*/ 289803 h 1161399"/>
                    <a:gd name="connsiteX5735" fmla="*/ 1161545 w 1661518"/>
                    <a:gd name="connsiteY5735" fmla="*/ 290435 h 1161399"/>
                    <a:gd name="connsiteX5736" fmla="*/ 1160233 w 1661518"/>
                    <a:gd name="connsiteY5736" fmla="*/ 291030 h 1161399"/>
                    <a:gd name="connsiteX5737" fmla="*/ 1158691 w 1661518"/>
                    <a:gd name="connsiteY5737" fmla="*/ 291734 h 1161399"/>
                    <a:gd name="connsiteX5738" fmla="*/ 1157732 w 1661518"/>
                    <a:gd name="connsiteY5738" fmla="*/ 293143 h 1161399"/>
                    <a:gd name="connsiteX5739" fmla="*/ 1157040 w 1661518"/>
                    <a:gd name="connsiteY5739" fmla="*/ 294151 h 1161399"/>
                    <a:gd name="connsiteX5740" fmla="*/ 1156712 w 1661518"/>
                    <a:gd name="connsiteY5740" fmla="*/ 294636 h 1161399"/>
                    <a:gd name="connsiteX5741" fmla="*/ 1156481 w 1661518"/>
                    <a:gd name="connsiteY5741" fmla="*/ 295171 h 1161399"/>
                    <a:gd name="connsiteX5742" fmla="*/ 1155571 w 1661518"/>
                    <a:gd name="connsiteY5742" fmla="*/ 297271 h 1161399"/>
                    <a:gd name="connsiteX5743" fmla="*/ 1155182 w 1661518"/>
                    <a:gd name="connsiteY5743" fmla="*/ 297769 h 1161399"/>
                    <a:gd name="connsiteX5744" fmla="*/ 1154417 w 1661518"/>
                    <a:gd name="connsiteY5744" fmla="*/ 298546 h 1161399"/>
                    <a:gd name="connsiteX5745" fmla="*/ 1148625 w 1661518"/>
                    <a:gd name="connsiteY5745" fmla="*/ 302760 h 1161399"/>
                    <a:gd name="connsiteX5746" fmla="*/ 1145820 w 1661518"/>
                    <a:gd name="connsiteY5746" fmla="*/ 301424 h 1161399"/>
                    <a:gd name="connsiteX5747" fmla="*/ 1143258 w 1661518"/>
                    <a:gd name="connsiteY5747" fmla="*/ 300210 h 1161399"/>
                    <a:gd name="connsiteX5748" fmla="*/ 1140683 w 1661518"/>
                    <a:gd name="connsiteY5748" fmla="*/ 301388 h 1161399"/>
                    <a:gd name="connsiteX5749" fmla="*/ 1127253 w 1661518"/>
                    <a:gd name="connsiteY5749" fmla="*/ 307532 h 1161399"/>
                    <a:gd name="connsiteX5750" fmla="*/ 1126743 w 1661518"/>
                    <a:gd name="connsiteY5750" fmla="*/ 307775 h 1161399"/>
                    <a:gd name="connsiteX5751" fmla="*/ 1126282 w 1661518"/>
                    <a:gd name="connsiteY5751" fmla="*/ 308103 h 1161399"/>
                    <a:gd name="connsiteX5752" fmla="*/ 1123246 w 1661518"/>
                    <a:gd name="connsiteY5752" fmla="*/ 310252 h 1161399"/>
                    <a:gd name="connsiteX5753" fmla="*/ 1122894 w 1661518"/>
                    <a:gd name="connsiteY5753" fmla="*/ 310495 h 1161399"/>
                    <a:gd name="connsiteX5754" fmla="*/ 1122590 w 1661518"/>
                    <a:gd name="connsiteY5754" fmla="*/ 310786 h 1161399"/>
                    <a:gd name="connsiteX5755" fmla="*/ 1117964 w 1661518"/>
                    <a:gd name="connsiteY5755" fmla="*/ 315146 h 1161399"/>
                    <a:gd name="connsiteX5756" fmla="*/ 1111334 w 1661518"/>
                    <a:gd name="connsiteY5756" fmla="*/ 320076 h 1161399"/>
                    <a:gd name="connsiteX5757" fmla="*/ 1108638 w 1661518"/>
                    <a:gd name="connsiteY5757" fmla="*/ 321654 h 1161399"/>
                    <a:gd name="connsiteX5758" fmla="*/ 1107339 w 1661518"/>
                    <a:gd name="connsiteY5758" fmla="*/ 322043 h 1161399"/>
                    <a:gd name="connsiteX5759" fmla="*/ 1103405 w 1661518"/>
                    <a:gd name="connsiteY5759" fmla="*/ 322249 h 1161399"/>
                    <a:gd name="connsiteX5760" fmla="*/ 1102664 w 1661518"/>
                    <a:gd name="connsiteY5760" fmla="*/ 322286 h 1161399"/>
                    <a:gd name="connsiteX5761" fmla="*/ 1101960 w 1661518"/>
                    <a:gd name="connsiteY5761" fmla="*/ 322504 h 1161399"/>
                    <a:gd name="connsiteX5762" fmla="*/ 1097418 w 1661518"/>
                    <a:gd name="connsiteY5762" fmla="*/ 323876 h 1161399"/>
                    <a:gd name="connsiteX5763" fmla="*/ 1096605 w 1661518"/>
                    <a:gd name="connsiteY5763" fmla="*/ 324119 h 1161399"/>
                    <a:gd name="connsiteX5764" fmla="*/ 1095888 w 1661518"/>
                    <a:gd name="connsiteY5764" fmla="*/ 324581 h 1161399"/>
                    <a:gd name="connsiteX5765" fmla="*/ 1093702 w 1661518"/>
                    <a:gd name="connsiteY5765" fmla="*/ 326001 h 1161399"/>
                    <a:gd name="connsiteX5766" fmla="*/ 1092913 w 1661518"/>
                    <a:gd name="connsiteY5766" fmla="*/ 326511 h 1161399"/>
                    <a:gd name="connsiteX5767" fmla="*/ 1092318 w 1661518"/>
                    <a:gd name="connsiteY5767" fmla="*/ 327228 h 1161399"/>
                    <a:gd name="connsiteX5768" fmla="*/ 1091249 w 1661518"/>
                    <a:gd name="connsiteY5768" fmla="*/ 328515 h 1161399"/>
                    <a:gd name="connsiteX5769" fmla="*/ 1090193 w 1661518"/>
                    <a:gd name="connsiteY5769" fmla="*/ 329778 h 1161399"/>
                    <a:gd name="connsiteX5770" fmla="*/ 1089926 w 1661518"/>
                    <a:gd name="connsiteY5770" fmla="*/ 331405 h 1161399"/>
                    <a:gd name="connsiteX5771" fmla="*/ 1089744 w 1661518"/>
                    <a:gd name="connsiteY5771" fmla="*/ 332498 h 1161399"/>
                    <a:gd name="connsiteX5772" fmla="*/ 1089671 w 1661518"/>
                    <a:gd name="connsiteY5772" fmla="*/ 332984 h 1161399"/>
                    <a:gd name="connsiteX5773" fmla="*/ 1089671 w 1661518"/>
                    <a:gd name="connsiteY5773" fmla="*/ 333481 h 1161399"/>
                    <a:gd name="connsiteX5774" fmla="*/ 1089671 w 1661518"/>
                    <a:gd name="connsiteY5774" fmla="*/ 334514 h 1161399"/>
                    <a:gd name="connsiteX5775" fmla="*/ 1089671 w 1661518"/>
                    <a:gd name="connsiteY5775" fmla="*/ 335084 h 1161399"/>
                    <a:gd name="connsiteX5776" fmla="*/ 1089780 w 1661518"/>
                    <a:gd name="connsiteY5776" fmla="*/ 335655 h 1161399"/>
                    <a:gd name="connsiteX5777" fmla="*/ 1090011 w 1661518"/>
                    <a:gd name="connsiteY5777" fmla="*/ 336833 h 1161399"/>
                    <a:gd name="connsiteX5778" fmla="*/ 1090072 w 1661518"/>
                    <a:gd name="connsiteY5778" fmla="*/ 337161 h 1161399"/>
                    <a:gd name="connsiteX5779" fmla="*/ 1090169 w 1661518"/>
                    <a:gd name="connsiteY5779" fmla="*/ 337476 h 1161399"/>
                    <a:gd name="connsiteX5780" fmla="*/ 1090569 w 1661518"/>
                    <a:gd name="connsiteY5780" fmla="*/ 338788 h 1161399"/>
                    <a:gd name="connsiteX5781" fmla="*/ 1090740 w 1661518"/>
                    <a:gd name="connsiteY5781" fmla="*/ 339334 h 1161399"/>
                    <a:gd name="connsiteX5782" fmla="*/ 1091007 w 1661518"/>
                    <a:gd name="connsiteY5782" fmla="*/ 339844 h 1161399"/>
                    <a:gd name="connsiteX5783" fmla="*/ 1091869 w 1661518"/>
                    <a:gd name="connsiteY5783" fmla="*/ 341459 h 1161399"/>
                    <a:gd name="connsiteX5784" fmla="*/ 1092051 w 1661518"/>
                    <a:gd name="connsiteY5784" fmla="*/ 341812 h 1161399"/>
                    <a:gd name="connsiteX5785" fmla="*/ 1092294 w 1661518"/>
                    <a:gd name="connsiteY5785" fmla="*/ 342139 h 1161399"/>
                    <a:gd name="connsiteX5786" fmla="*/ 1093435 w 1661518"/>
                    <a:gd name="connsiteY5786" fmla="*/ 343742 h 1161399"/>
                    <a:gd name="connsiteX5787" fmla="*/ 1093945 w 1661518"/>
                    <a:gd name="connsiteY5787" fmla="*/ 344337 h 1161399"/>
                    <a:gd name="connsiteX5788" fmla="*/ 1093763 w 1661518"/>
                    <a:gd name="connsiteY5788" fmla="*/ 344435 h 1161399"/>
                    <a:gd name="connsiteX5789" fmla="*/ 1090630 w 1661518"/>
                    <a:gd name="connsiteY5789" fmla="*/ 346122 h 1161399"/>
                    <a:gd name="connsiteX5790" fmla="*/ 1090290 w 1661518"/>
                    <a:gd name="connsiteY5790" fmla="*/ 345697 h 1161399"/>
                    <a:gd name="connsiteX5791" fmla="*/ 1089914 w 1661518"/>
                    <a:gd name="connsiteY5791" fmla="*/ 345199 h 1161399"/>
                    <a:gd name="connsiteX5792" fmla="*/ 1089440 w 1661518"/>
                    <a:gd name="connsiteY5792" fmla="*/ 344799 h 1161399"/>
                    <a:gd name="connsiteX5793" fmla="*/ 1088347 w 1661518"/>
                    <a:gd name="connsiteY5793" fmla="*/ 343876 h 1161399"/>
                    <a:gd name="connsiteX5794" fmla="*/ 1087789 w 1661518"/>
                    <a:gd name="connsiteY5794" fmla="*/ 343402 h 1161399"/>
                    <a:gd name="connsiteX5795" fmla="*/ 1087133 w 1661518"/>
                    <a:gd name="connsiteY5795" fmla="*/ 343075 h 1161399"/>
                    <a:gd name="connsiteX5796" fmla="*/ 1086040 w 1661518"/>
                    <a:gd name="connsiteY5796" fmla="*/ 342528 h 1161399"/>
                    <a:gd name="connsiteX5797" fmla="*/ 1085190 w 1661518"/>
                    <a:gd name="connsiteY5797" fmla="*/ 342103 h 1161399"/>
                    <a:gd name="connsiteX5798" fmla="*/ 1084255 w 1661518"/>
                    <a:gd name="connsiteY5798" fmla="*/ 341957 h 1161399"/>
                    <a:gd name="connsiteX5799" fmla="*/ 1083284 w 1661518"/>
                    <a:gd name="connsiteY5799" fmla="*/ 341812 h 1161399"/>
                    <a:gd name="connsiteX5800" fmla="*/ 1082252 w 1661518"/>
                    <a:gd name="connsiteY5800" fmla="*/ 341654 h 1161399"/>
                    <a:gd name="connsiteX5801" fmla="*/ 1081220 w 1661518"/>
                    <a:gd name="connsiteY5801" fmla="*/ 341848 h 1161399"/>
                    <a:gd name="connsiteX5802" fmla="*/ 1076787 w 1661518"/>
                    <a:gd name="connsiteY5802" fmla="*/ 342698 h 1161399"/>
                    <a:gd name="connsiteX5803" fmla="*/ 1063466 w 1661518"/>
                    <a:gd name="connsiteY5803" fmla="*/ 343499 h 1161399"/>
                    <a:gd name="connsiteX5804" fmla="*/ 1062119 w 1661518"/>
                    <a:gd name="connsiteY5804" fmla="*/ 343366 h 1161399"/>
                    <a:gd name="connsiteX5805" fmla="*/ 1057261 w 1661518"/>
                    <a:gd name="connsiteY5805" fmla="*/ 342006 h 1161399"/>
                    <a:gd name="connsiteX5806" fmla="*/ 1050389 w 1661518"/>
                    <a:gd name="connsiteY5806" fmla="*/ 338764 h 1161399"/>
                    <a:gd name="connsiteX5807" fmla="*/ 1050061 w 1661518"/>
                    <a:gd name="connsiteY5807" fmla="*/ 338606 h 1161399"/>
                    <a:gd name="connsiteX5808" fmla="*/ 1049709 w 1661518"/>
                    <a:gd name="connsiteY5808" fmla="*/ 338496 h 1161399"/>
                    <a:gd name="connsiteX5809" fmla="*/ 1047462 w 1661518"/>
                    <a:gd name="connsiteY5809" fmla="*/ 337744 h 1161399"/>
                    <a:gd name="connsiteX5810" fmla="*/ 1047049 w 1661518"/>
                    <a:gd name="connsiteY5810" fmla="*/ 337610 h 1161399"/>
                    <a:gd name="connsiteX5811" fmla="*/ 1046624 w 1661518"/>
                    <a:gd name="connsiteY5811" fmla="*/ 337537 h 1161399"/>
                    <a:gd name="connsiteX5812" fmla="*/ 1045458 w 1661518"/>
                    <a:gd name="connsiteY5812" fmla="*/ 337331 h 1161399"/>
                    <a:gd name="connsiteX5813" fmla="*/ 1044754 w 1661518"/>
                    <a:gd name="connsiteY5813" fmla="*/ 337209 h 1161399"/>
                    <a:gd name="connsiteX5814" fmla="*/ 1044050 w 1661518"/>
                    <a:gd name="connsiteY5814" fmla="*/ 337246 h 1161399"/>
                    <a:gd name="connsiteX5815" fmla="*/ 1042848 w 1661518"/>
                    <a:gd name="connsiteY5815" fmla="*/ 337307 h 1161399"/>
                    <a:gd name="connsiteX5816" fmla="*/ 1042326 w 1661518"/>
                    <a:gd name="connsiteY5816" fmla="*/ 337331 h 1161399"/>
                    <a:gd name="connsiteX5817" fmla="*/ 1041816 w 1661518"/>
                    <a:gd name="connsiteY5817" fmla="*/ 337452 h 1161399"/>
                    <a:gd name="connsiteX5818" fmla="*/ 1039569 w 1661518"/>
                    <a:gd name="connsiteY5818" fmla="*/ 337974 h 1161399"/>
                    <a:gd name="connsiteX5819" fmla="*/ 1038246 w 1661518"/>
                    <a:gd name="connsiteY5819" fmla="*/ 338278 h 1161399"/>
                    <a:gd name="connsiteX5820" fmla="*/ 1037177 w 1661518"/>
                    <a:gd name="connsiteY5820" fmla="*/ 339116 h 1161399"/>
                    <a:gd name="connsiteX5821" fmla="*/ 1035234 w 1661518"/>
                    <a:gd name="connsiteY5821" fmla="*/ 340658 h 1161399"/>
                    <a:gd name="connsiteX5822" fmla="*/ 1034700 w 1661518"/>
                    <a:gd name="connsiteY5822" fmla="*/ 341083 h 1161399"/>
                    <a:gd name="connsiteX5823" fmla="*/ 1034275 w 1661518"/>
                    <a:gd name="connsiteY5823" fmla="*/ 341605 h 1161399"/>
                    <a:gd name="connsiteX5824" fmla="*/ 1032599 w 1661518"/>
                    <a:gd name="connsiteY5824" fmla="*/ 343682 h 1161399"/>
                    <a:gd name="connsiteX5825" fmla="*/ 1032186 w 1661518"/>
                    <a:gd name="connsiteY5825" fmla="*/ 344192 h 1161399"/>
                    <a:gd name="connsiteX5826" fmla="*/ 1031895 w 1661518"/>
                    <a:gd name="connsiteY5826" fmla="*/ 344775 h 1161399"/>
                    <a:gd name="connsiteX5827" fmla="*/ 1028968 w 1661518"/>
                    <a:gd name="connsiteY5827" fmla="*/ 350615 h 1161399"/>
                    <a:gd name="connsiteX5828" fmla="*/ 1028531 w 1661518"/>
                    <a:gd name="connsiteY5828" fmla="*/ 349559 h 1161399"/>
                    <a:gd name="connsiteX5829" fmla="*/ 1027900 w 1661518"/>
                    <a:gd name="connsiteY5829" fmla="*/ 348017 h 1161399"/>
                    <a:gd name="connsiteX5830" fmla="*/ 1026564 w 1661518"/>
                    <a:gd name="connsiteY5830" fmla="*/ 347009 h 1161399"/>
                    <a:gd name="connsiteX5831" fmla="*/ 1025192 w 1661518"/>
                    <a:gd name="connsiteY5831" fmla="*/ 345977 h 1161399"/>
                    <a:gd name="connsiteX5832" fmla="*/ 1024390 w 1661518"/>
                    <a:gd name="connsiteY5832" fmla="*/ 345369 h 1161399"/>
                    <a:gd name="connsiteX5833" fmla="*/ 1023431 w 1661518"/>
                    <a:gd name="connsiteY5833" fmla="*/ 345066 h 1161399"/>
                    <a:gd name="connsiteX5834" fmla="*/ 1021306 w 1661518"/>
                    <a:gd name="connsiteY5834" fmla="*/ 344374 h 1161399"/>
                    <a:gd name="connsiteX5835" fmla="*/ 1020310 w 1661518"/>
                    <a:gd name="connsiteY5835" fmla="*/ 344058 h 1161399"/>
                    <a:gd name="connsiteX5836" fmla="*/ 1019266 w 1661518"/>
                    <a:gd name="connsiteY5836" fmla="*/ 344082 h 1161399"/>
                    <a:gd name="connsiteX5837" fmla="*/ 1015818 w 1661518"/>
                    <a:gd name="connsiteY5837" fmla="*/ 344179 h 1161399"/>
                    <a:gd name="connsiteX5838" fmla="*/ 1015745 w 1661518"/>
                    <a:gd name="connsiteY5838" fmla="*/ 344179 h 1161399"/>
                    <a:gd name="connsiteX5839" fmla="*/ 1015805 w 1661518"/>
                    <a:gd name="connsiteY5839" fmla="*/ 344022 h 1161399"/>
                    <a:gd name="connsiteX5840" fmla="*/ 1017858 w 1661518"/>
                    <a:gd name="connsiteY5840" fmla="*/ 339310 h 1161399"/>
                    <a:gd name="connsiteX5841" fmla="*/ 1023844 w 1661518"/>
                    <a:gd name="connsiteY5841" fmla="*/ 331429 h 1161399"/>
                    <a:gd name="connsiteX5842" fmla="*/ 1024208 w 1661518"/>
                    <a:gd name="connsiteY5842" fmla="*/ 330944 h 1161399"/>
                    <a:gd name="connsiteX5843" fmla="*/ 1024475 w 1661518"/>
                    <a:gd name="connsiteY5843" fmla="*/ 330397 h 1161399"/>
                    <a:gd name="connsiteX5844" fmla="*/ 1027293 w 1661518"/>
                    <a:gd name="connsiteY5844" fmla="*/ 324581 h 1161399"/>
                    <a:gd name="connsiteX5845" fmla="*/ 1027657 w 1661518"/>
                    <a:gd name="connsiteY5845" fmla="*/ 323828 h 1161399"/>
                    <a:gd name="connsiteX5846" fmla="*/ 1027803 w 1661518"/>
                    <a:gd name="connsiteY5846" fmla="*/ 323014 h 1161399"/>
                    <a:gd name="connsiteX5847" fmla="*/ 1028203 w 1661518"/>
                    <a:gd name="connsiteY5847" fmla="*/ 320792 h 1161399"/>
                    <a:gd name="connsiteX5848" fmla="*/ 1028677 w 1661518"/>
                    <a:gd name="connsiteY5848" fmla="*/ 318157 h 1161399"/>
                    <a:gd name="connsiteX5849" fmla="*/ 1027050 w 1661518"/>
                    <a:gd name="connsiteY5849" fmla="*/ 316032 h 1161399"/>
                    <a:gd name="connsiteX5850" fmla="*/ 1026309 w 1661518"/>
                    <a:gd name="connsiteY5850" fmla="*/ 315061 h 1161399"/>
                    <a:gd name="connsiteX5851" fmla="*/ 1023516 w 1661518"/>
                    <a:gd name="connsiteY5851" fmla="*/ 311393 h 1161399"/>
                    <a:gd name="connsiteX5852" fmla="*/ 1019230 w 1661518"/>
                    <a:gd name="connsiteY5852" fmla="*/ 313106 h 1161399"/>
                    <a:gd name="connsiteX5853" fmla="*/ 1017797 w 1661518"/>
                    <a:gd name="connsiteY5853" fmla="*/ 313688 h 1161399"/>
                    <a:gd name="connsiteX5854" fmla="*/ 1017044 w 1661518"/>
                    <a:gd name="connsiteY5854" fmla="*/ 313992 h 1161399"/>
                    <a:gd name="connsiteX5855" fmla="*/ 1016400 w 1661518"/>
                    <a:gd name="connsiteY5855" fmla="*/ 314490 h 1161399"/>
                    <a:gd name="connsiteX5856" fmla="*/ 1014955 w 1661518"/>
                    <a:gd name="connsiteY5856" fmla="*/ 315583 h 1161399"/>
                    <a:gd name="connsiteX5857" fmla="*/ 1014664 w 1661518"/>
                    <a:gd name="connsiteY5857" fmla="*/ 315801 h 1161399"/>
                    <a:gd name="connsiteX5858" fmla="*/ 1014409 w 1661518"/>
                    <a:gd name="connsiteY5858" fmla="*/ 316056 h 1161399"/>
                    <a:gd name="connsiteX5859" fmla="*/ 1012794 w 1661518"/>
                    <a:gd name="connsiteY5859" fmla="*/ 317623 h 1161399"/>
                    <a:gd name="connsiteX5860" fmla="*/ 1012284 w 1661518"/>
                    <a:gd name="connsiteY5860" fmla="*/ 317380 h 1161399"/>
                    <a:gd name="connsiteX5861" fmla="*/ 1011434 w 1661518"/>
                    <a:gd name="connsiteY5861" fmla="*/ 317246 h 1161399"/>
                    <a:gd name="connsiteX5862" fmla="*/ 1009661 w 1661518"/>
                    <a:gd name="connsiteY5862" fmla="*/ 316979 h 1161399"/>
                    <a:gd name="connsiteX5863" fmla="*/ 1008544 w 1661518"/>
                    <a:gd name="connsiteY5863" fmla="*/ 316809 h 1161399"/>
                    <a:gd name="connsiteX5864" fmla="*/ 1007439 w 1661518"/>
                    <a:gd name="connsiteY5864" fmla="*/ 317064 h 1161399"/>
                    <a:gd name="connsiteX5865" fmla="*/ 1005375 w 1661518"/>
                    <a:gd name="connsiteY5865" fmla="*/ 317526 h 1161399"/>
                    <a:gd name="connsiteX5866" fmla="*/ 1004622 w 1661518"/>
                    <a:gd name="connsiteY5866" fmla="*/ 317696 h 1161399"/>
                    <a:gd name="connsiteX5867" fmla="*/ 1003930 w 1661518"/>
                    <a:gd name="connsiteY5867" fmla="*/ 318048 h 1161399"/>
                    <a:gd name="connsiteX5868" fmla="*/ 1002060 w 1661518"/>
                    <a:gd name="connsiteY5868" fmla="*/ 319007 h 1161399"/>
                    <a:gd name="connsiteX5869" fmla="*/ 1004889 w 1661518"/>
                    <a:gd name="connsiteY5869" fmla="*/ 314575 h 1161399"/>
                    <a:gd name="connsiteX5870" fmla="*/ 1005387 w 1661518"/>
                    <a:gd name="connsiteY5870" fmla="*/ 313810 h 1161399"/>
                    <a:gd name="connsiteX5871" fmla="*/ 1005630 w 1661518"/>
                    <a:gd name="connsiteY5871" fmla="*/ 312924 h 1161399"/>
                    <a:gd name="connsiteX5872" fmla="*/ 1006200 w 1661518"/>
                    <a:gd name="connsiteY5872" fmla="*/ 310847 h 1161399"/>
                    <a:gd name="connsiteX5873" fmla="*/ 1006565 w 1661518"/>
                    <a:gd name="connsiteY5873" fmla="*/ 309487 h 1161399"/>
                    <a:gd name="connsiteX5874" fmla="*/ 1006310 w 1661518"/>
                    <a:gd name="connsiteY5874" fmla="*/ 308103 h 1161399"/>
                    <a:gd name="connsiteX5875" fmla="*/ 1006079 w 1661518"/>
                    <a:gd name="connsiteY5875" fmla="*/ 306888 h 1161399"/>
                    <a:gd name="connsiteX5876" fmla="*/ 1005763 w 1661518"/>
                    <a:gd name="connsiteY5876" fmla="*/ 305213 h 1161399"/>
                    <a:gd name="connsiteX5877" fmla="*/ 1004622 w 1661518"/>
                    <a:gd name="connsiteY5877" fmla="*/ 303950 h 1161399"/>
                    <a:gd name="connsiteX5878" fmla="*/ 1003468 w 1661518"/>
                    <a:gd name="connsiteY5878" fmla="*/ 302675 h 1161399"/>
                    <a:gd name="connsiteX5879" fmla="*/ 1002582 w 1661518"/>
                    <a:gd name="connsiteY5879" fmla="*/ 301691 h 1161399"/>
                    <a:gd name="connsiteX5880" fmla="*/ 1001367 w 1661518"/>
                    <a:gd name="connsiteY5880" fmla="*/ 301169 h 1161399"/>
                    <a:gd name="connsiteX5881" fmla="*/ 1000262 w 1661518"/>
                    <a:gd name="connsiteY5881" fmla="*/ 300696 h 1161399"/>
                    <a:gd name="connsiteX5882" fmla="*/ 999109 w 1661518"/>
                    <a:gd name="connsiteY5882" fmla="*/ 300198 h 1161399"/>
                    <a:gd name="connsiteX5883" fmla="*/ 997846 w 1661518"/>
                    <a:gd name="connsiteY5883" fmla="*/ 300198 h 1161399"/>
                    <a:gd name="connsiteX5884" fmla="*/ 996134 w 1661518"/>
                    <a:gd name="connsiteY5884" fmla="*/ 300198 h 1161399"/>
                    <a:gd name="connsiteX5885" fmla="*/ 993244 w 1661518"/>
                    <a:gd name="connsiteY5885" fmla="*/ 300198 h 1161399"/>
                    <a:gd name="connsiteX5886" fmla="*/ 991422 w 1661518"/>
                    <a:gd name="connsiteY5886" fmla="*/ 302420 h 1161399"/>
                    <a:gd name="connsiteX5887" fmla="*/ 986419 w 1661518"/>
                    <a:gd name="connsiteY5887" fmla="*/ 308516 h 1161399"/>
                    <a:gd name="connsiteX5888" fmla="*/ 985885 w 1661518"/>
                    <a:gd name="connsiteY5888" fmla="*/ 309171 h 1161399"/>
                    <a:gd name="connsiteX5889" fmla="*/ 985545 w 1661518"/>
                    <a:gd name="connsiteY5889" fmla="*/ 309948 h 1161399"/>
                    <a:gd name="connsiteX5890" fmla="*/ 983359 w 1661518"/>
                    <a:gd name="connsiteY5890" fmla="*/ 314964 h 1161399"/>
                    <a:gd name="connsiteX5891" fmla="*/ 983044 w 1661518"/>
                    <a:gd name="connsiteY5891" fmla="*/ 315692 h 1161399"/>
                    <a:gd name="connsiteX5892" fmla="*/ 982922 w 1661518"/>
                    <a:gd name="connsiteY5892" fmla="*/ 316481 h 1161399"/>
                    <a:gd name="connsiteX5893" fmla="*/ 982522 w 1661518"/>
                    <a:gd name="connsiteY5893" fmla="*/ 319092 h 1161399"/>
                    <a:gd name="connsiteX5894" fmla="*/ 982473 w 1661518"/>
                    <a:gd name="connsiteY5894" fmla="*/ 319432 h 1161399"/>
                    <a:gd name="connsiteX5895" fmla="*/ 982461 w 1661518"/>
                    <a:gd name="connsiteY5895" fmla="*/ 319772 h 1161399"/>
                    <a:gd name="connsiteX5896" fmla="*/ 982400 w 1661518"/>
                    <a:gd name="connsiteY5896" fmla="*/ 321533 h 1161399"/>
                    <a:gd name="connsiteX5897" fmla="*/ 982388 w 1661518"/>
                    <a:gd name="connsiteY5897" fmla="*/ 321946 h 1161399"/>
                    <a:gd name="connsiteX5898" fmla="*/ 982425 w 1661518"/>
                    <a:gd name="connsiteY5898" fmla="*/ 322359 h 1161399"/>
                    <a:gd name="connsiteX5899" fmla="*/ 982667 w 1661518"/>
                    <a:gd name="connsiteY5899" fmla="*/ 324824 h 1161399"/>
                    <a:gd name="connsiteX5900" fmla="*/ 982728 w 1661518"/>
                    <a:gd name="connsiteY5900" fmla="*/ 325479 h 1161399"/>
                    <a:gd name="connsiteX5901" fmla="*/ 982934 w 1661518"/>
                    <a:gd name="connsiteY5901" fmla="*/ 326111 h 1161399"/>
                    <a:gd name="connsiteX5902" fmla="*/ 987112 w 1661518"/>
                    <a:gd name="connsiteY5902" fmla="*/ 338861 h 1161399"/>
                    <a:gd name="connsiteX5903" fmla="*/ 986966 w 1661518"/>
                    <a:gd name="connsiteY5903" fmla="*/ 338824 h 1161399"/>
                    <a:gd name="connsiteX5904" fmla="*/ 984889 w 1661518"/>
                    <a:gd name="connsiteY5904" fmla="*/ 338278 h 1161399"/>
                    <a:gd name="connsiteX5905" fmla="*/ 984173 w 1661518"/>
                    <a:gd name="connsiteY5905" fmla="*/ 338084 h 1161399"/>
                    <a:gd name="connsiteX5906" fmla="*/ 983432 w 1661518"/>
                    <a:gd name="connsiteY5906" fmla="*/ 338072 h 1161399"/>
                    <a:gd name="connsiteX5907" fmla="*/ 981890 w 1661518"/>
                    <a:gd name="connsiteY5907" fmla="*/ 338047 h 1161399"/>
                    <a:gd name="connsiteX5908" fmla="*/ 981562 w 1661518"/>
                    <a:gd name="connsiteY5908" fmla="*/ 338047 h 1161399"/>
                    <a:gd name="connsiteX5909" fmla="*/ 981247 w 1661518"/>
                    <a:gd name="connsiteY5909" fmla="*/ 338072 h 1161399"/>
                    <a:gd name="connsiteX5910" fmla="*/ 979814 w 1661518"/>
                    <a:gd name="connsiteY5910" fmla="*/ 338205 h 1161399"/>
                    <a:gd name="connsiteX5911" fmla="*/ 979474 w 1661518"/>
                    <a:gd name="connsiteY5911" fmla="*/ 338229 h 1161399"/>
                    <a:gd name="connsiteX5912" fmla="*/ 979425 w 1661518"/>
                    <a:gd name="connsiteY5912" fmla="*/ 338241 h 1161399"/>
                    <a:gd name="connsiteX5913" fmla="*/ 977810 w 1661518"/>
                    <a:gd name="connsiteY5913" fmla="*/ 337525 h 1161399"/>
                    <a:gd name="connsiteX5914" fmla="*/ 977239 w 1661518"/>
                    <a:gd name="connsiteY5914" fmla="*/ 337270 h 1161399"/>
                    <a:gd name="connsiteX5915" fmla="*/ 976632 w 1661518"/>
                    <a:gd name="connsiteY5915" fmla="*/ 337136 h 1161399"/>
                    <a:gd name="connsiteX5916" fmla="*/ 974847 w 1661518"/>
                    <a:gd name="connsiteY5916" fmla="*/ 336760 h 1161399"/>
                    <a:gd name="connsiteX5917" fmla="*/ 974058 w 1661518"/>
                    <a:gd name="connsiteY5917" fmla="*/ 336590 h 1161399"/>
                    <a:gd name="connsiteX5918" fmla="*/ 973257 w 1661518"/>
                    <a:gd name="connsiteY5918" fmla="*/ 336639 h 1161399"/>
                    <a:gd name="connsiteX5919" fmla="*/ 971192 w 1661518"/>
                    <a:gd name="connsiteY5919" fmla="*/ 336748 h 1161399"/>
                    <a:gd name="connsiteX5920" fmla="*/ 969541 w 1661518"/>
                    <a:gd name="connsiteY5920" fmla="*/ 336845 h 1161399"/>
                    <a:gd name="connsiteX5921" fmla="*/ 968157 w 1661518"/>
                    <a:gd name="connsiteY5921" fmla="*/ 337768 h 1161399"/>
                    <a:gd name="connsiteX5922" fmla="*/ 966044 w 1661518"/>
                    <a:gd name="connsiteY5922" fmla="*/ 339176 h 1161399"/>
                    <a:gd name="connsiteX5923" fmla="*/ 965886 w 1661518"/>
                    <a:gd name="connsiteY5923" fmla="*/ 339286 h 1161399"/>
                    <a:gd name="connsiteX5924" fmla="*/ 965643 w 1661518"/>
                    <a:gd name="connsiteY5924" fmla="*/ 338472 h 1161399"/>
                    <a:gd name="connsiteX5925" fmla="*/ 964635 w 1661518"/>
                    <a:gd name="connsiteY5925" fmla="*/ 334963 h 1161399"/>
                    <a:gd name="connsiteX5926" fmla="*/ 961065 w 1661518"/>
                    <a:gd name="connsiteY5926" fmla="*/ 334210 h 1161399"/>
                    <a:gd name="connsiteX5927" fmla="*/ 959462 w 1661518"/>
                    <a:gd name="connsiteY5927" fmla="*/ 333870 h 1161399"/>
                    <a:gd name="connsiteX5928" fmla="*/ 958527 w 1661518"/>
                    <a:gd name="connsiteY5928" fmla="*/ 333676 h 1161399"/>
                    <a:gd name="connsiteX5929" fmla="*/ 957568 w 1661518"/>
                    <a:gd name="connsiteY5929" fmla="*/ 333773 h 1161399"/>
                    <a:gd name="connsiteX5930" fmla="*/ 954581 w 1661518"/>
                    <a:gd name="connsiteY5930" fmla="*/ 334089 h 1161399"/>
                    <a:gd name="connsiteX5931" fmla="*/ 953609 w 1661518"/>
                    <a:gd name="connsiteY5931" fmla="*/ 334186 h 1161399"/>
                    <a:gd name="connsiteX5932" fmla="*/ 952723 w 1661518"/>
                    <a:gd name="connsiteY5932" fmla="*/ 334587 h 1161399"/>
                    <a:gd name="connsiteX5933" fmla="*/ 948995 w 1661518"/>
                    <a:gd name="connsiteY5933" fmla="*/ 336262 h 1161399"/>
                    <a:gd name="connsiteX5934" fmla="*/ 951909 w 1661518"/>
                    <a:gd name="connsiteY5934" fmla="*/ 333372 h 1161399"/>
                    <a:gd name="connsiteX5935" fmla="*/ 952650 w 1661518"/>
                    <a:gd name="connsiteY5935" fmla="*/ 332632 h 1161399"/>
                    <a:gd name="connsiteX5936" fmla="*/ 953099 w 1661518"/>
                    <a:gd name="connsiteY5936" fmla="*/ 331696 h 1161399"/>
                    <a:gd name="connsiteX5937" fmla="*/ 953719 w 1661518"/>
                    <a:gd name="connsiteY5937" fmla="*/ 330409 h 1161399"/>
                    <a:gd name="connsiteX5938" fmla="*/ 954933 w 1661518"/>
                    <a:gd name="connsiteY5938" fmla="*/ 327896 h 1161399"/>
                    <a:gd name="connsiteX5939" fmla="*/ 953816 w 1661518"/>
                    <a:gd name="connsiteY5939" fmla="*/ 325346 h 1161399"/>
                    <a:gd name="connsiteX5940" fmla="*/ 953524 w 1661518"/>
                    <a:gd name="connsiteY5940" fmla="*/ 324666 h 1161399"/>
                    <a:gd name="connsiteX5941" fmla="*/ 953136 w 1661518"/>
                    <a:gd name="connsiteY5941" fmla="*/ 323767 h 1161399"/>
                    <a:gd name="connsiteX5942" fmla="*/ 952492 w 1661518"/>
                    <a:gd name="connsiteY5942" fmla="*/ 323039 h 1161399"/>
                    <a:gd name="connsiteX5943" fmla="*/ 952043 w 1661518"/>
                    <a:gd name="connsiteY5943" fmla="*/ 322541 h 1161399"/>
                    <a:gd name="connsiteX5944" fmla="*/ 951193 w 1661518"/>
                    <a:gd name="connsiteY5944" fmla="*/ 321581 h 1161399"/>
                    <a:gd name="connsiteX5945" fmla="*/ 950027 w 1661518"/>
                    <a:gd name="connsiteY5945" fmla="*/ 321059 h 1161399"/>
                    <a:gd name="connsiteX5946" fmla="*/ 948995 w 1661518"/>
                    <a:gd name="connsiteY5946" fmla="*/ 320586 h 1161399"/>
                    <a:gd name="connsiteX5947" fmla="*/ 948898 w 1661518"/>
                    <a:gd name="connsiteY5947" fmla="*/ 320464 h 1161399"/>
                    <a:gd name="connsiteX5948" fmla="*/ 948461 w 1661518"/>
                    <a:gd name="connsiteY5948" fmla="*/ 319942 h 1161399"/>
                    <a:gd name="connsiteX5949" fmla="*/ 947926 w 1661518"/>
                    <a:gd name="connsiteY5949" fmla="*/ 319529 h 1161399"/>
                    <a:gd name="connsiteX5950" fmla="*/ 947064 w 1661518"/>
                    <a:gd name="connsiteY5950" fmla="*/ 318873 h 1161399"/>
                    <a:gd name="connsiteX5951" fmla="*/ 946785 w 1661518"/>
                    <a:gd name="connsiteY5951" fmla="*/ 318655 h 1161399"/>
                    <a:gd name="connsiteX5952" fmla="*/ 946481 w 1661518"/>
                    <a:gd name="connsiteY5952" fmla="*/ 318473 h 1161399"/>
                    <a:gd name="connsiteX5953" fmla="*/ 945170 w 1661518"/>
                    <a:gd name="connsiteY5953" fmla="*/ 317696 h 1161399"/>
                    <a:gd name="connsiteX5954" fmla="*/ 943992 w 1661518"/>
                    <a:gd name="connsiteY5954" fmla="*/ 317004 h 1161399"/>
                    <a:gd name="connsiteX5955" fmla="*/ 942632 w 1661518"/>
                    <a:gd name="connsiteY5955" fmla="*/ 316870 h 1161399"/>
                    <a:gd name="connsiteX5956" fmla="*/ 939645 w 1661518"/>
                    <a:gd name="connsiteY5956" fmla="*/ 316591 h 1161399"/>
                    <a:gd name="connsiteX5957" fmla="*/ 938613 w 1661518"/>
                    <a:gd name="connsiteY5957" fmla="*/ 316493 h 1161399"/>
                    <a:gd name="connsiteX5958" fmla="*/ 937605 w 1661518"/>
                    <a:gd name="connsiteY5958" fmla="*/ 316748 h 1161399"/>
                    <a:gd name="connsiteX5959" fmla="*/ 936160 w 1661518"/>
                    <a:gd name="connsiteY5959" fmla="*/ 317113 h 1161399"/>
                    <a:gd name="connsiteX5960" fmla="*/ 934314 w 1661518"/>
                    <a:gd name="connsiteY5960" fmla="*/ 317574 h 1161399"/>
                    <a:gd name="connsiteX5961" fmla="*/ 933415 w 1661518"/>
                    <a:gd name="connsiteY5961" fmla="*/ 318594 h 1161399"/>
                    <a:gd name="connsiteX5962" fmla="*/ 933573 w 1661518"/>
                    <a:gd name="connsiteY5962" fmla="*/ 317902 h 1161399"/>
                    <a:gd name="connsiteX5963" fmla="*/ 933743 w 1661518"/>
                    <a:gd name="connsiteY5963" fmla="*/ 317161 h 1161399"/>
                    <a:gd name="connsiteX5964" fmla="*/ 933719 w 1661518"/>
                    <a:gd name="connsiteY5964" fmla="*/ 316396 h 1161399"/>
                    <a:gd name="connsiteX5965" fmla="*/ 933658 w 1661518"/>
                    <a:gd name="connsiteY5965" fmla="*/ 314587 h 1161399"/>
                    <a:gd name="connsiteX5966" fmla="*/ 933646 w 1661518"/>
                    <a:gd name="connsiteY5966" fmla="*/ 314126 h 1161399"/>
                    <a:gd name="connsiteX5967" fmla="*/ 933561 w 1661518"/>
                    <a:gd name="connsiteY5967" fmla="*/ 313676 h 1161399"/>
                    <a:gd name="connsiteX5968" fmla="*/ 933088 w 1661518"/>
                    <a:gd name="connsiteY5968" fmla="*/ 311151 h 1161399"/>
                    <a:gd name="connsiteX5969" fmla="*/ 933088 w 1661518"/>
                    <a:gd name="connsiteY5969" fmla="*/ 310495 h 1161399"/>
                    <a:gd name="connsiteX5970" fmla="*/ 933197 w 1661518"/>
                    <a:gd name="connsiteY5970" fmla="*/ 309961 h 1161399"/>
                    <a:gd name="connsiteX5971" fmla="*/ 936075 w 1661518"/>
                    <a:gd name="connsiteY5971" fmla="*/ 305152 h 1161399"/>
                    <a:gd name="connsiteX5972" fmla="*/ 936597 w 1661518"/>
                    <a:gd name="connsiteY5972" fmla="*/ 304290 h 1161399"/>
                    <a:gd name="connsiteX5973" fmla="*/ 936815 w 1661518"/>
                    <a:gd name="connsiteY5973" fmla="*/ 303294 h 1161399"/>
                    <a:gd name="connsiteX5974" fmla="*/ 937326 w 1661518"/>
                    <a:gd name="connsiteY5974" fmla="*/ 300890 h 1161399"/>
                    <a:gd name="connsiteX5975" fmla="*/ 937411 w 1661518"/>
                    <a:gd name="connsiteY5975" fmla="*/ 300513 h 1161399"/>
                    <a:gd name="connsiteX5976" fmla="*/ 937435 w 1661518"/>
                    <a:gd name="connsiteY5976" fmla="*/ 300125 h 1161399"/>
                    <a:gd name="connsiteX5977" fmla="*/ 937896 w 1661518"/>
                    <a:gd name="connsiteY5977" fmla="*/ 294345 h 1161399"/>
                    <a:gd name="connsiteX5978" fmla="*/ 937908 w 1661518"/>
                    <a:gd name="connsiteY5978" fmla="*/ 292511 h 1161399"/>
                    <a:gd name="connsiteX5979" fmla="*/ 937908 w 1661518"/>
                    <a:gd name="connsiteY5979" fmla="*/ 291394 h 1161399"/>
                    <a:gd name="connsiteX5980" fmla="*/ 937508 w 1661518"/>
                    <a:gd name="connsiteY5980" fmla="*/ 290350 h 1161399"/>
                    <a:gd name="connsiteX5981" fmla="*/ 937168 w 1661518"/>
                    <a:gd name="connsiteY5981" fmla="*/ 289451 h 1161399"/>
                    <a:gd name="connsiteX5982" fmla="*/ 936682 w 1661518"/>
                    <a:gd name="connsiteY5982" fmla="*/ 288200 h 1161399"/>
                    <a:gd name="connsiteX5983" fmla="*/ 935723 w 1661518"/>
                    <a:gd name="connsiteY5983" fmla="*/ 287265 h 1161399"/>
                    <a:gd name="connsiteX5984" fmla="*/ 934788 w 1661518"/>
                    <a:gd name="connsiteY5984" fmla="*/ 286355 h 1161399"/>
                    <a:gd name="connsiteX5985" fmla="*/ 933415 w 1661518"/>
                    <a:gd name="connsiteY5985" fmla="*/ 285019 h 1161399"/>
                    <a:gd name="connsiteX5986" fmla="*/ 931521 w 1661518"/>
                    <a:gd name="connsiteY5986" fmla="*/ 284716 h 1161399"/>
                    <a:gd name="connsiteX5987" fmla="*/ 930611 w 1661518"/>
                    <a:gd name="connsiteY5987" fmla="*/ 284570 h 1161399"/>
                    <a:gd name="connsiteX5988" fmla="*/ 929967 w 1661518"/>
                    <a:gd name="connsiteY5988" fmla="*/ 284473 h 1161399"/>
                    <a:gd name="connsiteX5989" fmla="*/ 930186 w 1661518"/>
                    <a:gd name="connsiteY5989" fmla="*/ 283015 h 1161399"/>
                    <a:gd name="connsiteX5990" fmla="*/ 930258 w 1661518"/>
                    <a:gd name="connsiteY5990" fmla="*/ 282566 h 1161399"/>
                    <a:gd name="connsiteX5991" fmla="*/ 930258 w 1661518"/>
                    <a:gd name="connsiteY5991" fmla="*/ 282105 h 1161399"/>
                    <a:gd name="connsiteX5992" fmla="*/ 930258 w 1661518"/>
                    <a:gd name="connsiteY5992" fmla="*/ 278255 h 1161399"/>
                    <a:gd name="connsiteX5993" fmla="*/ 930258 w 1661518"/>
                    <a:gd name="connsiteY5993" fmla="*/ 277636 h 1161399"/>
                    <a:gd name="connsiteX5994" fmla="*/ 930137 w 1661518"/>
                    <a:gd name="connsiteY5994" fmla="*/ 277029 h 1161399"/>
                    <a:gd name="connsiteX5995" fmla="*/ 929736 w 1661518"/>
                    <a:gd name="connsiteY5995" fmla="*/ 275074 h 1161399"/>
                    <a:gd name="connsiteX5996" fmla="*/ 929651 w 1661518"/>
                    <a:gd name="connsiteY5996" fmla="*/ 274685 h 1161399"/>
                    <a:gd name="connsiteX5997" fmla="*/ 929530 w 1661518"/>
                    <a:gd name="connsiteY5997" fmla="*/ 274309 h 1161399"/>
                    <a:gd name="connsiteX5998" fmla="*/ 928777 w 1661518"/>
                    <a:gd name="connsiteY5998" fmla="*/ 272135 h 1161399"/>
                    <a:gd name="connsiteX5999" fmla="*/ 928303 w 1661518"/>
                    <a:gd name="connsiteY5999" fmla="*/ 270788 h 1161399"/>
                    <a:gd name="connsiteX6000" fmla="*/ 927283 w 1661518"/>
                    <a:gd name="connsiteY6000" fmla="*/ 269780 h 1161399"/>
                    <a:gd name="connsiteX6001" fmla="*/ 925049 w 1661518"/>
                    <a:gd name="connsiteY6001" fmla="*/ 267594 h 1161399"/>
                    <a:gd name="connsiteX6002" fmla="*/ 923762 w 1661518"/>
                    <a:gd name="connsiteY6002" fmla="*/ 266331 h 1161399"/>
                    <a:gd name="connsiteX6003" fmla="*/ 921977 w 1661518"/>
                    <a:gd name="connsiteY6003" fmla="*/ 265979 h 1161399"/>
                    <a:gd name="connsiteX6004" fmla="*/ 920070 w 1661518"/>
                    <a:gd name="connsiteY6004" fmla="*/ 265603 h 1161399"/>
                    <a:gd name="connsiteX6005" fmla="*/ 918370 w 1661518"/>
                    <a:gd name="connsiteY6005" fmla="*/ 265275 h 1161399"/>
                    <a:gd name="connsiteX6006" fmla="*/ 916743 w 1661518"/>
                    <a:gd name="connsiteY6006" fmla="*/ 265894 h 1161399"/>
                    <a:gd name="connsiteX6007" fmla="*/ 914582 w 1661518"/>
                    <a:gd name="connsiteY6007" fmla="*/ 266720 h 1161399"/>
                    <a:gd name="connsiteX6008" fmla="*/ 913428 w 1661518"/>
                    <a:gd name="connsiteY6008" fmla="*/ 267157 h 1161399"/>
                    <a:gd name="connsiteX6009" fmla="*/ 912530 w 1661518"/>
                    <a:gd name="connsiteY6009" fmla="*/ 268019 h 1161399"/>
                    <a:gd name="connsiteX6010" fmla="*/ 910672 w 1661518"/>
                    <a:gd name="connsiteY6010" fmla="*/ 269804 h 1161399"/>
                    <a:gd name="connsiteX6011" fmla="*/ 910332 w 1661518"/>
                    <a:gd name="connsiteY6011" fmla="*/ 270132 h 1161399"/>
                    <a:gd name="connsiteX6012" fmla="*/ 910040 w 1661518"/>
                    <a:gd name="connsiteY6012" fmla="*/ 270520 h 1161399"/>
                    <a:gd name="connsiteX6013" fmla="*/ 908547 w 1661518"/>
                    <a:gd name="connsiteY6013" fmla="*/ 272500 h 1161399"/>
                    <a:gd name="connsiteX6014" fmla="*/ 908146 w 1661518"/>
                    <a:gd name="connsiteY6014" fmla="*/ 273034 h 1161399"/>
                    <a:gd name="connsiteX6015" fmla="*/ 907879 w 1661518"/>
                    <a:gd name="connsiteY6015" fmla="*/ 273641 h 1161399"/>
                    <a:gd name="connsiteX6016" fmla="*/ 906689 w 1661518"/>
                    <a:gd name="connsiteY6016" fmla="*/ 276240 h 1161399"/>
                    <a:gd name="connsiteX6017" fmla="*/ 906628 w 1661518"/>
                    <a:gd name="connsiteY6017" fmla="*/ 276057 h 1161399"/>
                    <a:gd name="connsiteX6018" fmla="*/ 906434 w 1661518"/>
                    <a:gd name="connsiteY6018" fmla="*/ 275681 h 1161399"/>
                    <a:gd name="connsiteX6019" fmla="*/ 905851 w 1661518"/>
                    <a:gd name="connsiteY6019" fmla="*/ 274528 h 1161399"/>
                    <a:gd name="connsiteX6020" fmla="*/ 905657 w 1661518"/>
                    <a:gd name="connsiteY6020" fmla="*/ 274139 h 1161399"/>
                    <a:gd name="connsiteX6021" fmla="*/ 905402 w 1661518"/>
                    <a:gd name="connsiteY6021" fmla="*/ 273775 h 1161399"/>
                    <a:gd name="connsiteX6022" fmla="*/ 903398 w 1661518"/>
                    <a:gd name="connsiteY6022" fmla="*/ 270909 h 1161399"/>
                    <a:gd name="connsiteX6023" fmla="*/ 899816 w 1661518"/>
                    <a:gd name="connsiteY6023" fmla="*/ 265797 h 1161399"/>
                    <a:gd name="connsiteX6024" fmla="*/ 894801 w 1661518"/>
                    <a:gd name="connsiteY6024" fmla="*/ 269525 h 1161399"/>
                    <a:gd name="connsiteX6025" fmla="*/ 892081 w 1661518"/>
                    <a:gd name="connsiteY6025" fmla="*/ 271552 h 1161399"/>
                    <a:gd name="connsiteX6026" fmla="*/ 891887 w 1661518"/>
                    <a:gd name="connsiteY6026" fmla="*/ 271613 h 1161399"/>
                    <a:gd name="connsiteX6027" fmla="*/ 890308 w 1661518"/>
                    <a:gd name="connsiteY6027" fmla="*/ 271892 h 1161399"/>
                    <a:gd name="connsiteX6028" fmla="*/ 889458 w 1661518"/>
                    <a:gd name="connsiteY6028" fmla="*/ 272038 h 1161399"/>
                    <a:gd name="connsiteX6029" fmla="*/ 888681 w 1661518"/>
                    <a:gd name="connsiteY6029" fmla="*/ 272427 h 1161399"/>
                    <a:gd name="connsiteX6030" fmla="*/ 886847 w 1661518"/>
                    <a:gd name="connsiteY6030" fmla="*/ 273337 h 1161399"/>
                    <a:gd name="connsiteX6031" fmla="*/ 885803 w 1661518"/>
                    <a:gd name="connsiteY6031" fmla="*/ 273848 h 1161399"/>
                    <a:gd name="connsiteX6032" fmla="*/ 885026 w 1661518"/>
                    <a:gd name="connsiteY6032" fmla="*/ 274710 h 1161399"/>
                    <a:gd name="connsiteX6033" fmla="*/ 883642 w 1661518"/>
                    <a:gd name="connsiteY6033" fmla="*/ 276240 h 1161399"/>
                    <a:gd name="connsiteX6034" fmla="*/ 882634 w 1661518"/>
                    <a:gd name="connsiteY6034" fmla="*/ 277345 h 1161399"/>
                    <a:gd name="connsiteX6035" fmla="*/ 882270 w 1661518"/>
                    <a:gd name="connsiteY6035" fmla="*/ 278802 h 1161399"/>
                    <a:gd name="connsiteX6036" fmla="*/ 881759 w 1661518"/>
                    <a:gd name="connsiteY6036" fmla="*/ 280805 h 1161399"/>
                    <a:gd name="connsiteX6037" fmla="*/ 881614 w 1661518"/>
                    <a:gd name="connsiteY6037" fmla="*/ 281352 h 1161399"/>
                    <a:gd name="connsiteX6038" fmla="*/ 881577 w 1661518"/>
                    <a:gd name="connsiteY6038" fmla="*/ 281923 h 1161399"/>
                    <a:gd name="connsiteX6039" fmla="*/ 881286 w 1661518"/>
                    <a:gd name="connsiteY6039" fmla="*/ 286464 h 1161399"/>
                    <a:gd name="connsiteX6040" fmla="*/ 881177 w 1661518"/>
                    <a:gd name="connsiteY6040" fmla="*/ 288128 h 1161399"/>
                    <a:gd name="connsiteX6041" fmla="*/ 881942 w 1661518"/>
                    <a:gd name="connsiteY6041" fmla="*/ 289621 h 1161399"/>
                    <a:gd name="connsiteX6042" fmla="*/ 882573 w 1661518"/>
                    <a:gd name="connsiteY6042" fmla="*/ 290848 h 1161399"/>
                    <a:gd name="connsiteX6043" fmla="*/ 883083 w 1661518"/>
                    <a:gd name="connsiteY6043" fmla="*/ 291843 h 1161399"/>
                    <a:gd name="connsiteX6044" fmla="*/ 883909 w 1661518"/>
                    <a:gd name="connsiteY6044" fmla="*/ 292596 h 1161399"/>
                    <a:gd name="connsiteX6045" fmla="*/ 885512 w 1661518"/>
                    <a:gd name="connsiteY6045" fmla="*/ 294053 h 1161399"/>
                    <a:gd name="connsiteX6046" fmla="*/ 884698 w 1661518"/>
                    <a:gd name="connsiteY6046" fmla="*/ 295219 h 1161399"/>
                    <a:gd name="connsiteX6047" fmla="*/ 884467 w 1661518"/>
                    <a:gd name="connsiteY6047" fmla="*/ 295547 h 1161399"/>
                    <a:gd name="connsiteX6048" fmla="*/ 884285 w 1661518"/>
                    <a:gd name="connsiteY6048" fmla="*/ 295899 h 1161399"/>
                    <a:gd name="connsiteX6049" fmla="*/ 883605 w 1661518"/>
                    <a:gd name="connsiteY6049" fmla="*/ 297235 h 1161399"/>
                    <a:gd name="connsiteX6050" fmla="*/ 883156 w 1661518"/>
                    <a:gd name="connsiteY6050" fmla="*/ 298121 h 1161399"/>
                    <a:gd name="connsiteX6051" fmla="*/ 883107 w 1661518"/>
                    <a:gd name="connsiteY6051" fmla="*/ 298461 h 1161399"/>
                    <a:gd name="connsiteX6052" fmla="*/ 882719 w 1661518"/>
                    <a:gd name="connsiteY6052" fmla="*/ 298218 h 1161399"/>
                    <a:gd name="connsiteX6053" fmla="*/ 882172 w 1661518"/>
                    <a:gd name="connsiteY6053" fmla="*/ 296749 h 1161399"/>
                    <a:gd name="connsiteX6054" fmla="*/ 881796 w 1661518"/>
                    <a:gd name="connsiteY6054" fmla="*/ 295765 h 1161399"/>
                    <a:gd name="connsiteX6055" fmla="*/ 881116 w 1661518"/>
                    <a:gd name="connsiteY6055" fmla="*/ 294964 h 1161399"/>
                    <a:gd name="connsiteX6056" fmla="*/ 880375 w 1661518"/>
                    <a:gd name="connsiteY6056" fmla="*/ 294090 h 1161399"/>
                    <a:gd name="connsiteX6057" fmla="*/ 879489 w 1661518"/>
                    <a:gd name="connsiteY6057" fmla="*/ 293045 h 1161399"/>
                    <a:gd name="connsiteX6058" fmla="*/ 878238 w 1661518"/>
                    <a:gd name="connsiteY6058" fmla="*/ 292487 h 1161399"/>
                    <a:gd name="connsiteX6059" fmla="*/ 876635 w 1661518"/>
                    <a:gd name="connsiteY6059" fmla="*/ 291771 h 1161399"/>
                    <a:gd name="connsiteX6060" fmla="*/ 876295 w 1661518"/>
                    <a:gd name="connsiteY6060" fmla="*/ 291613 h 1161399"/>
                    <a:gd name="connsiteX6061" fmla="*/ 875943 w 1661518"/>
                    <a:gd name="connsiteY6061" fmla="*/ 291503 h 1161399"/>
                    <a:gd name="connsiteX6062" fmla="*/ 872033 w 1661518"/>
                    <a:gd name="connsiteY6062" fmla="*/ 290301 h 1161399"/>
                    <a:gd name="connsiteX6063" fmla="*/ 871134 w 1661518"/>
                    <a:gd name="connsiteY6063" fmla="*/ 290034 h 1161399"/>
                    <a:gd name="connsiteX6064" fmla="*/ 870187 w 1661518"/>
                    <a:gd name="connsiteY6064" fmla="*/ 290034 h 1161399"/>
                    <a:gd name="connsiteX6065" fmla="*/ 866459 w 1661518"/>
                    <a:gd name="connsiteY6065" fmla="*/ 290071 h 1161399"/>
                    <a:gd name="connsiteX6066" fmla="*/ 863242 w 1661518"/>
                    <a:gd name="connsiteY6066" fmla="*/ 290350 h 1161399"/>
                    <a:gd name="connsiteX6067" fmla="*/ 862343 w 1661518"/>
                    <a:gd name="connsiteY6067" fmla="*/ 290435 h 1161399"/>
                    <a:gd name="connsiteX6068" fmla="*/ 861505 w 1661518"/>
                    <a:gd name="connsiteY6068" fmla="*/ 290775 h 1161399"/>
                    <a:gd name="connsiteX6069" fmla="*/ 859902 w 1661518"/>
                    <a:gd name="connsiteY6069" fmla="*/ 291431 h 1161399"/>
                    <a:gd name="connsiteX6070" fmla="*/ 859331 w 1661518"/>
                    <a:gd name="connsiteY6070" fmla="*/ 291673 h 1161399"/>
                    <a:gd name="connsiteX6071" fmla="*/ 858822 w 1661518"/>
                    <a:gd name="connsiteY6071" fmla="*/ 292013 h 1161399"/>
                    <a:gd name="connsiteX6072" fmla="*/ 857607 w 1661518"/>
                    <a:gd name="connsiteY6072" fmla="*/ 292827 h 1161399"/>
                    <a:gd name="connsiteX6073" fmla="*/ 856660 w 1661518"/>
                    <a:gd name="connsiteY6073" fmla="*/ 293458 h 1161399"/>
                    <a:gd name="connsiteX6074" fmla="*/ 856004 w 1661518"/>
                    <a:gd name="connsiteY6074" fmla="*/ 294393 h 1161399"/>
                    <a:gd name="connsiteX6075" fmla="*/ 855215 w 1661518"/>
                    <a:gd name="connsiteY6075" fmla="*/ 295535 h 1161399"/>
                    <a:gd name="connsiteX6076" fmla="*/ 854644 w 1661518"/>
                    <a:gd name="connsiteY6076" fmla="*/ 296361 h 1161399"/>
                    <a:gd name="connsiteX6077" fmla="*/ 854365 w 1661518"/>
                    <a:gd name="connsiteY6077" fmla="*/ 297320 h 1161399"/>
                    <a:gd name="connsiteX6078" fmla="*/ 853964 w 1661518"/>
                    <a:gd name="connsiteY6078" fmla="*/ 298728 h 1161399"/>
                    <a:gd name="connsiteX6079" fmla="*/ 853600 w 1661518"/>
                    <a:gd name="connsiteY6079" fmla="*/ 299991 h 1161399"/>
                    <a:gd name="connsiteX6080" fmla="*/ 853782 w 1661518"/>
                    <a:gd name="connsiteY6080" fmla="*/ 301278 h 1161399"/>
                    <a:gd name="connsiteX6081" fmla="*/ 853964 w 1661518"/>
                    <a:gd name="connsiteY6081" fmla="*/ 302565 h 1161399"/>
                    <a:gd name="connsiteX6082" fmla="*/ 854049 w 1661518"/>
                    <a:gd name="connsiteY6082" fmla="*/ 303124 h 1161399"/>
                    <a:gd name="connsiteX6083" fmla="*/ 853527 w 1661518"/>
                    <a:gd name="connsiteY6083" fmla="*/ 303537 h 1161399"/>
                    <a:gd name="connsiteX6084" fmla="*/ 853236 w 1661518"/>
                    <a:gd name="connsiteY6084" fmla="*/ 303780 h 1161399"/>
                    <a:gd name="connsiteX6085" fmla="*/ 852969 w 1661518"/>
                    <a:gd name="connsiteY6085" fmla="*/ 304047 h 1161399"/>
                    <a:gd name="connsiteX6086" fmla="*/ 851596 w 1661518"/>
                    <a:gd name="connsiteY6086" fmla="*/ 305431 h 1161399"/>
                    <a:gd name="connsiteX6087" fmla="*/ 851269 w 1661518"/>
                    <a:gd name="connsiteY6087" fmla="*/ 305771 h 1161399"/>
                    <a:gd name="connsiteX6088" fmla="*/ 850989 w 1661518"/>
                    <a:gd name="connsiteY6088" fmla="*/ 306160 h 1161399"/>
                    <a:gd name="connsiteX6089" fmla="*/ 846387 w 1661518"/>
                    <a:gd name="connsiteY6089" fmla="*/ 312535 h 1161399"/>
                    <a:gd name="connsiteX6090" fmla="*/ 846181 w 1661518"/>
                    <a:gd name="connsiteY6090" fmla="*/ 312814 h 1161399"/>
                    <a:gd name="connsiteX6091" fmla="*/ 845999 w 1661518"/>
                    <a:gd name="connsiteY6091" fmla="*/ 313130 h 1161399"/>
                    <a:gd name="connsiteX6092" fmla="*/ 844116 w 1661518"/>
                    <a:gd name="connsiteY6092" fmla="*/ 316506 h 1161399"/>
                    <a:gd name="connsiteX6093" fmla="*/ 843036 w 1661518"/>
                    <a:gd name="connsiteY6093" fmla="*/ 318837 h 1161399"/>
                    <a:gd name="connsiteX6094" fmla="*/ 842854 w 1661518"/>
                    <a:gd name="connsiteY6094" fmla="*/ 319238 h 1161399"/>
                    <a:gd name="connsiteX6095" fmla="*/ 842732 w 1661518"/>
                    <a:gd name="connsiteY6095" fmla="*/ 319663 h 1161399"/>
                    <a:gd name="connsiteX6096" fmla="*/ 842259 w 1661518"/>
                    <a:gd name="connsiteY6096" fmla="*/ 321302 h 1161399"/>
                    <a:gd name="connsiteX6097" fmla="*/ 841991 w 1661518"/>
                    <a:gd name="connsiteY6097" fmla="*/ 322261 h 1161399"/>
                    <a:gd name="connsiteX6098" fmla="*/ 842028 w 1661518"/>
                    <a:gd name="connsiteY6098" fmla="*/ 323257 h 1161399"/>
                    <a:gd name="connsiteX6099" fmla="*/ 842088 w 1661518"/>
                    <a:gd name="connsiteY6099" fmla="*/ 324811 h 1161399"/>
                    <a:gd name="connsiteX6100" fmla="*/ 842113 w 1661518"/>
                    <a:gd name="connsiteY6100" fmla="*/ 325528 h 1161399"/>
                    <a:gd name="connsiteX6101" fmla="*/ 842307 w 1661518"/>
                    <a:gd name="connsiteY6101" fmla="*/ 326220 h 1161399"/>
                    <a:gd name="connsiteX6102" fmla="*/ 842720 w 1661518"/>
                    <a:gd name="connsiteY6102" fmla="*/ 327653 h 1161399"/>
                    <a:gd name="connsiteX6103" fmla="*/ 842999 w 1661518"/>
                    <a:gd name="connsiteY6103" fmla="*/ 328649 h 1161399"/>
                    <a:gd name="connsiteX6104" fmla="*/ 843606 w 1661518"/>
                    <a:gd name="connsiteY6104" fmla="*/ 329499 h 1161399"/>
                    <a:gd name="connsiteX6105" fmla="*/ 844687 w 1661518"/>
                    <a:gd name="connsiteY6105" fmla="*/ 331029 h 1161399"/>
                    <a:gd name="connsiteX6106" fmla="*/ 845039 w 1661518"/>
                    <a:gd name="connsiteY6106" fmla="*/ 331539 h 1161399"/>
                    <a:gd name="connsiteX6107" fmla="*/ 845501 w 1661518"/>
                    <a:gd name="connsiteY6107" fmla="*/ 331964 h 1161399"/>
                    <a:gd name="connsiteX6108" fmla="*/ 846885 w 1661518"/>
                    <a:gd name="connsiteY6108" fmla="*/ 333251 h 1161399"/>
                    <a:gd name="connsiteX6109" fmla="*/ 850795 w 1661518"/>
                    <a:gd name="connsiteY6109" fmla="*/ 336287 h 1161399"/>
                    <a:gd name="connsiteX6110" fmla="*/ 852750 w 1661518"/>
                    <a:gd name="connsiteY6110" fmla="*/ 338132 h 1161399"/>
                    <a:gd name="connsiteX6111" fmla="*/ 854231 w 1661518"/>
                    <a:gd name="connsiteY6111" fmla="*/ 339978 h 1161399"/>
                    <a:gd name="connsiteX6112" fmla="*/ 860449 w 1661518"/>
                    <a:gd name="connsiteY6112" fmla="*/ 354003 h 1161399"/>
                    <a:gd name="connsiteX6113" fmla="*/ 861687 w 1661518"/>
                    <a:gd name="connsiteY6113" fmla="*/ 358362 h 1161399"/>
                    <a:gd name="connsiteX6114" fmla="*/ 861942 w 1661518"/>
                    <a:gd name="connsiteY6114" fmla="*/ 366437 h 1161399"/>
                    <a:gd name="connsiteX6115" fmla="*/ 861954 w 1661518"/>
                    <a:gd name="connsiteY6115" fmla="*/ 366935 h 1161399"/>
                    <a:gd name="connsiteX6116" fmla="*/ 862051 w 1661518"/>
                    <a:gd name="connsiteY6116" fmla="*/ 367421 h 1161399"/>
                    <a:gd name="connsiteX6117" fmla="*/ 865962 w 1661518"/>
                    <a:gd name="connsiteY6117" fmla="*/ 387493 h 1161399"/>
                    <a:gd name="connsiteX6118" fmla="*/ 866034 w 1661518"/>
                    <a:gd name="connsiteY6118" fmla="*/ 387906 h 1161399"/>
                    <a:gd name="connsiteX6119" fmla="*/ 866168 w 1661518"/>
                    <a:gd name="connsiteY6119" fmla="*/ 388307 h 1161399"/>
                    <a:gd name="connsiteX6120" fmla="*/ 867771 w 1661518"/>
                    <a:gd name="connsiteY6120" fmla="*/ 392982 h 1161399"/>
                    <a:gd name="connsiteX6121" fmla="*/ 867965 w 1661518"/>
                    <a:gd name="connsiteY6121" fmla="*/ 393540 h 1161399"/>
                    <a:gd name="connsiteX6122" fmla="*/ 868257 w 1661518"/>
                    <a:gd name="connsiteY6122" fmla="*/ 394051 h 1161399"/>
                    <a:gd name="connsiteX6123" fmla="*/ 870151 w 1661518"/>
                    <a:gd name="connsiteY6123" fmla="*/ 397329 h 1161399"/>
                    <a:gd name="connsiteX6124" fmla="*/ 870564 w 1661518"/>
                    <a:gd name="connsiteY6124" fmla="*/ 398045 h 1161399"/>
                    <a:gd name="connsiteX6125" fmla="*/ 871147 w 1661518"/>
                    <a:gd name="connsiteY6125" fmla="*/ 398628 h 1161399"/>
                    <a:gd name="connsiteX6126" fmla="*/ 878104 w 1661518"/>
                    <a:gd name="connsiteY6126" fmla="*/ 405465 h 1161399"/>
                    <a:gd name="connsiteX6127" fmla="*/ 879817 w 1661518"/>
                    <a:gd name="connsiteY6127" fmla="*/ 407651 h 1161399"/>
                    <a:gd name="connsiteX6128" fmla="*/ 881893 w 1661518"/>
                    <a:gd name="connsiteY6128" fmla="*/ 411682 h 1161399"/>
                    <a:gd name="connsiteX6129" fmla="*/ 882743 w 1661518"/>
                    <a:gd name="connsiteY6129" fmla="*/ 414366 h 1161399"/>
                    <a:gd name="connsiteX6130" fmla="*/ 883071 w 1661518"/>
                    <a:gd name="connsiteY6130" fmla="*/ 416539 h 1161399"/>
                    <a:gd name="connsiteX6131" fmla="*/ 882962 w 1661518"/>
                    <a:gd name="connsiteY6131" fmla="*/ 425258 h 1161399"/>
                    <a:gd name="connsiteX6132" fmla="*/ 882962 w 1661518"/>
                    <a:gd name="connsiteY6132" fmla="*/ 425695 h 1161399"/>
                    <a:gd name="connsiteX6133" fmla="*/ 883022 w 1661518"/>
                    <a:gd name="connsiteY6133" fmla="*/ 426132 h 1161399"/>
                    <a:gd name="connsiteX6134" fmla="*/ 883775 w 1661518"/>
                    <a:gd name="connsiteY6134" fmla="*/ 431961 h 1161399"/>
                    <a:gd name="connsiteX6135" fmla="*/ 883799 w 1661518"/>
                    <a:gd name="connsiteY6135" fmla="*/ 433454 h 1161399"/>
                    <a:gd name="connsiteX6136" fmla="*/ 883654 w 1661518"/>
                    <a:gd name="connsiteY6136" fmla="*/ 434268 h 1161399"/>
                    <a:gd name="connsiteX6137" fmla="*/ 883581 w 1661518"/>
                    <a:gd name="connsiteY6137" fmla="*/ 434462 h 1161399"/>
                    <a:gd name="connsiteX6138" fmla="*/ 881930 w 1661518"/>
                    <a:gd name="connsiteY6138" fmla="*/ 436660 h 1161399"/>
                    <a:gd name="connsiteX6139" fmla="*/ 881565 w 1661518"/>
                    <a:gd name="connsiteY6139" fmla="*/ 437146 h 1161399"/>
                    <a:gd name="connsiteX6140" fmla="*/ 881310 w 1661518"/>
                    <a:gd name="connsiteY6140" fmla="*/ 437692 h 1161399"/>
                    <a:gd name="connsiteX6141" fmla="*/ 880509 w 1661518"/>
                    <a:gd name="connsiteY6141" fmla="*/ 439380 h 1161399"/>
                    <a:gd name="connsiteX6142" fmla="*/ 879938 w 1661518"/>
                    <a:gd name="connsiteY6142" fmla="*/ 440570 h 1161399"/>
                    <a:gd name="connsiteX6143" fmla="*/ 879914 w 1661518"/>
                    <a:gd name="connsiteY6143" fmla="*/ 441882 h 1161399"/>
                    <a:gd name="connsiteX6144" fmla="*/ 879853 w 1661518"/>
                    <a:gd name="connsiteY6144" fmla="*/ 445160 h 1161399"/>
                    <a:gd name="connsiteX6145" fmla="*/ 879841 w 1661518"/>
                    <a:gd name="connsiteY6145" fmla="*/ 446265 h 1161399"/>
                    <a:gd name="connsiteX6146" fmla="*/ 880205 w 1661518"/>
                    <a:gd name="connsiteY6146" fmla="*/ 447297 h 1161399"/>
                    <a:gd name="connsiteX6147" fmla="*/ 881067 w 1661518"/>
                    <a:gd name="connsiteY6147" fmla="*/ 449738 h 1161399"/>
                    <a:gd name="connsiteX6148" fmla="*/ 881213 w 1661518"/>
                    <a:gd name="connsiteY6148" fmla="*/ 450163 h 1161399"/>
                    <a:gd name="connsiteX6149" fmla="*/ 881432 w 1661518"/>
                    <a:gd name="connsiteY6149" fmla="*/ 450564 h 1161399"/>
                    <a:gd name="connsiteX6150" fmla="*/ 882804 w 1661518"/>
                    <a:gd name="connsiteY6150" fmla="*/ 453138 h 1161399"/>
                    <a:gd name="connsiteX6151" fmla="*/ 882998 w 1661518"/>
                    <a:gd name="connsiteY6151" fmla="*/ 453502 h 1161399"/>
                    <a:gd name="connsiteX6152" fmla="*/ 883241 w 1661518"/>
                    <a:gd name="connsiteY6152" fmla="*/ 453830 h 1161399"/>
                    <a:gd name="connsiteX6153" fmla="*/ 884394 w 1661518"/>
                    <a:gd name="connsiteY6153" fmla="*/ 455433 h 1161399"/>
                    <a:gd name="connsiteX6154" fmla="*/ 885014 w 1661518"/>
                    <a:gd name="connsiteY6154" fmla="*/ 456283 h 1161399"/>
                    <a:gd name="connsiteX6155" fmla="*/ 885876 w 1661518"/>
                    <a:gd name="connsiteY6155" fmla="*/ 456878 h 1161399"/>
                    <a:gd name="connsiteX6156" fmla="*/ 887187 w 1661518"/>
                    <a:gd name="connsiteY6156" fmla="*/ 457777 h 1161399"/>
                    <a:gd name="connsiteX6157" fmla="*/ 888414 w 1661518"/>
                    <a:gd name="connsiteY6157" fmla="*/ 458615 h 1161399"/>
                    <a:gd name="connsiteX6158" fmla="*/ 889895 w 1661518"/>
                    <a:gd name="connsiteY6158" fmla="*/ 458797 h 1161399"/>
                    <a:gd name="connsiteX6159" fmla="*/ 891790 w 1661518"/>
                    <a:gd name="connsiteY6159" fmla="*/ 459027 h 1161399"/>
                    <a:gd name="connsiteX6160" fmla="*/ 892810 w 1661518"/>
                    <a:gd name="connsiteY6160" fmla="*/ 459149 h 1161399"/>
                    <a:gd name="connsiteX6161" fmla="*/ 893817 w 1661518"/>
                    <a:gd name="connsiteY6161" fmla="*/ 458930 h 1161399"/>
                    <a:gd name="connsiteX6162" fmla="*/ 896052 w 1661518"/>
                    <a:gd name="connsiteY6162" fmla="*/ 458444 h 1161399"/>
                    <a:gd name="connsiteX6163" fmla="*/ 896428 w 1661518"/>
                    <a:gd name="connsiteY6163" fmla="*/ 458359 h 1161399"/>
                    <a:gd name="connsiteX6164" fmla="*/ 896792 w 1661518"/>
                    <a:gd name="connsiteY6164" fmla="*/ 458226 h 1161399"/>
                    <a:gd name="connsiteX6165" fmla="*/ 901880 w 1661518"/>
                    <a:gd name="connsiteY6165" fmla="*/ 456417 h 1161399"/>
                    <a:gd name="connsiteX6166" fmla="*/ 905329 w 1661518"/>
                    <a:gd name="connsiteY6166" fmla="*/ 455737 h 1161399"/>
                    <a:gd name="connsiteX6167" fmla="*/ 906616 w 1661518"/>
                    <a:gd name="connsiteY6167" fmla="*/ 455639 h 1161399"/>
                    <a:gd name="connsiteX6168" fmla="*/ 907940 w 1661518"/>
                    <a:gd name="connsiteY6168" fmla="*/ 455870 h 1161399"/>
                    <a:gd name="connsiteX6169" fmla="*/ 909033 w 1661518"/>
                    <a:gd name="connsiteY6169" fmla="*/ 456368 h 1161399"/>
                    <a:gd name="connsiteX6170" fmla="*/ 910393 w 1661518"/>
                    <a:gd name="connsiteY6170" fmla="*/ 457619 h 1161399"/>
                    <a:gd name="connsiteX6171" fmla="*/ 911036 w 1661518"/>
                    <a:gd name="connsiteY6171" fmla="*/ 458736 h 1161399"/>
                    <a:gd name="connsiteX6172" fmla="*/ 911753 w 1661518"/>
                    <a:gd name="connsiteY6172" fmla="*/ 461007 h 1161399"/>
                    <a:gd name="connsiteX6173" fmla="*/ 912396 w 1661518"/>
                    <a:gd name="connsiteY6173" fmla="*/ 463763 h 1161399"/>
                    <a:gd name="connsiteX6174" fmla="*/ 912542 w 1661518"/>
                    <a:gd name="connsiteY6174" fmla="*/ 464382 h 1161399"/>
                    <a:gd name="connsiteX6175" fmla="*/ 912809 w 1661518"/>
                    <a:gd name="connsiteY6175" fmla="*/ 464965 h 1161399"/>
                    <a:gd name="connsiteX6176" fmla="*/ 913902 w 1661518"/>
                    <a:gd name="connsiteY6176" fmla="*/ 467260 h 1161399"/>
                    <a:gd name="connsiteX6177" fmla="*/ 914181 w 1661518"/>
                    <a:gd name="connsiteY6177" fmla="*/ 467855 h 1161399"/>
                    <a:gd name="connsiteX6178" fmla="*/ 914594 w 1661518"/>
                    <a:gd name="connsiteY6178" fmla="*/ 468377 h 1161399"/>
                    <a:gd name="connsiteX6179" fmla="*/ 918055 w 1661518"/>
                    <a:gd name="connsiteY6179" fmla="*/ 472810 h 1161399"/>
                    <a:gd name="connsiteX6180" fmla="*/ 918407 w 1661518"/>
                    <a:gd name="connsiteY6180" fmla="*/ 473404 h 1161399"/>
                    <a:gd name="connsiteX6181" fmla="*/ 917787 w 1661518"/>
                    <a:gd name="connsiteY6181" fmla="*/ 474910 h 1161399"/>
                    <a:gd name="connsiteX6182" fmla="*/ 917581 w 1661518"/>
                    <a:gd name="connsiteY6182" fmla="*/ 475408 h 1161399"/>
                    <a:gd name="connsiteX6183" fmla="*/ 917472 w 1661518"/>
                    <a:gd name="connsiteY6183" fmla="*/ 475930 h 1161399"/>
                    <a:gd name="connsiteX6184" fmla="*/ 917241 w 1661518"/>
                    <a:gd name="connsiteY6184" fmla="*/ 476999 h 1161399"/>
                    <a:gd name="connsiteX6185" fmla="*/ 917107 w 1661518"/>
                    <a:gd name="connsiteY6185" fmla="*/ 477630 h 1161399"/>
                    <a:gd name="connsiteX6186" fmla="*/ 917107 w 1661518"/>
                    <a:gd name="connsiteY6186" fmla="*/ 478286 h 1161399"/>
                    <a:gd name="connsiteX6187" fmla="*/ 917107 w 1661518"/>
                    <a:gd name="connsiteY6187" fmla="*/ 478784 h 1161399"/>
                    <a:gd name="connsiteX6188" fmla="*/ 917180 w 1661518"/>
                    <a:gd name="connsiteY6188" fmla="*/ 480180 h 1161399"/>
                    <a:gd name="connsiteX6189" fmla="*/ 917290 w 1661518"/>
                    <a:gd name="connsiteY6189" fmla="*/ 480872 h 1161399"/>
                    <a:gd name="connsiteX6190" fmla="*/ 917703 w 1661518"/>
                    <a:gd name="connsiteY6190" fmla="*/ 482791 h 1161399"/>
                    <a:gd name="connsiteX6191" fmla="*/ 918128 w 1661518"/>
                    <a:gd name="connsiteY6191" fmla="*/ 484698 h 1161399"/>
                    <a:gd name="connsiteX6192" fmla="*/ 919585 w 1661518"/>
                    <a:gd name="connsiteY6192" fmla="*/ 485997 h 1161399"/>
                    <a:gd name="connsiteX6193" fmla="*/ 920374 w 1661518"/>
                    <a:gd name="connsiteY6193" fmla="*/ 486713 h 1161399"/>
                    <a:gd name="connsiteX6194" fmla="*/ 921321 w 1661518"/>
                    <a:gd name="connsiteY6194" fmla="*/ 487551 h 1161399"/>
                    <a:gd name="connsiteX6195" fmla="*/ 922511 w 1661518"/>
                    <a:gd name="connsiteY6195" fmla="*/ 487952 h 1161399"/>
                    <a:gd name="connsiteX6196" fmla="*/ 924005 w 1661518"/>
                    <a:gd name="connsiteY6196" fmla="*/ 488450 h 1161399"/>
                    <a:gd name="connsiteX6197" fmla="*/ 924806 w 1661518"/>
                    <a:gd name="connsiteY6197" fmla="*/ 488717 h 1161399"/>
                    <a:gd name="connsiteX6198" fmla="*/ 925656 w 1661518"/>
                    <a:gd name="connsiteY6198" fmla="*/ 488753 h 1161399"/>
                    <a:gd name="connsiteX6199" fmla="*/ 927271 w 1661518"/>
                    <a:gd name="connsiteY6199" fmla="*/ 488826 h 1161399"/>
                    <a:gd name="connsiteX6200" fmla="*/ 929275 w 1661518"/>
                    <a:gd name="connsiteY6200" fmla="*/ 489142 h 1161399"/>
                    <a:gd name="connsiteX6201" fmla="*/ 929275 w 1661518"/>
                    <a:gd name="connsiteY6201" fmla="*/ 489834 h 1161399"/>
                    <a:gd name="connsiteX6202" fmla="*/ 928437 w 1661518"/>
                    <a:gd name="connsiteY6202" fmla="*/ 492360 h 1161399"/>
                    <a:gd name="connsiteX6203" fmla="*/ 927405 w 1661518"/>
                    <a:gd name="connsiteY6203" fmla="*/ 494679 h 1161399"/>
                    <a:gd name="connsiteX6204" fmla="*/ 926227 w 1661518"/>
                    <a:gd name="connsiteY6204" fmla="*/ 496379 h 1161399"/>
                    <a:gd name="connsiteX6205" fmla="*/ 925013 w 1661518"/>
                    <a:gd name="connsiteY6205" fmla="*/ 497642 h 1161399"/>
                    <a:gd name="connsiteX6206" fmla="*/ 923337 w 1661518"/>
                    <a:gd name="connsiteY6206" fmla="*/ 499075 h 1161399"/>
                    <a:gd name="connsiteX6207" fmla="*/ 916901 w 1661518"/>
                    <a:gd name="connsiteY6207" fmla="*/ 504952 h 1161399"/>
                    <a:gd name="connsiteX6208" fmla="*/ 916160 w 1661518"/>
                    <a:gd name="connsiteY6208" fmla="*/ 505632 h 1161399"/>
                    <a:gd name="connsiteX6209" fmla="*/ 915675 w 1661518"/>
                    <a:gd name="connsiteY6209" fmla="*/ 506518 h 1161399"/>
                    <a:gd name="connsiteX6210" fmla="*/ 913258 w 1661518"/>
                    <a:gd name="connsiteY6210" fmla="*/ 510938 h 1161399"/>
                    <a:gd name="connsiteX6211" fmla="*/ 912979 w 1661518"/>
                    <a:gd name="connsiteY6211" fmla="*/ 511448 h 1161399"/>
                    <a:gd name="connsiteX6212" fmla="*/ 912797 w 1661518"/>
                    <a:gd name="connsiteY6212" fmla="*/ 512007 h 1161399"/>
                    <a:gd name="connsiteX6213" fmla="*/ 911170 w 1661518"/>
                    <a:gd name="connsiteY6213" fmla="*/ 517095 h 1161399"/>
                    <a:gd name="connsiteX6214" fmla="*/ 909263 w 1661518"/>
                    <a:gd name="connsiteY6214" fmla="*/ 520883 h 1161399"/>
                    <a:gd name="connsiteX6215" fmla="*/ 907005 w 1661518"/>
                    <a:gd name="connsiteY6215" fmla="*/ 523664 h 1161399"/>
                    <a:gd name="connsiteX6216" fmla="*/ 902840 w 1661518"/>
                    <a:gd name="connsiteY6216" fmla="*/ 527817 h 1161399"/>
                    <a:gd name="connsiteX6217" fmla="*/ 901407 w 1661518"/>
                    <a:gd name="connsiteY6217" fmla="*/ 528764 h 1161399"/>
                    <a:gd name="connsiteX6218" fmla="*/ 901176 w 1661518"/>
                    <a:gd name="connsiteY6218" fmla="*/ 528801 h 1161399"/>
                    <a:gd name="connsiteX6219" fmla="*/ 900569 w 1661518"/>
                    <a:gd name="connsiteY6219" fmla="*/ 528534 h 1161399"/>
                    <a:gd name="connsiteX6220" fmla="*/ 899767 w 1661518"/>
                    <a:gd name="connsiteY6220" fmla="*/ 527817 h 1161399"/>
                    <a:gd name="connsiteX6221" fmla="*/ 899452 w 1661518"/>
                    <a:gd name="connsiteY6221" fmla="*/ 527088 h 1161399"/>
                    <a:gd name="connsiteX6222" fmla="*/ 899318 w 1661518"/>
                    <a:gd name="connsiteY6222" fmla="*/ 526056 h 1161399"/>
                    <a:gd name="connsiteX6223" fmla="*/ 899270 w 1661518"/>
                    <a:gd name="connsiteY6223" fmla="*/ 524441 h 1161399"/>
                    <a:gd name="connsiteX6224" fmla="*/ 899245 w 1661518"/>
                    <a:gd name="connsiteY6224" fmla="*/ 523482 h 1161399"/>
                    <a:gd name="connsiteX6225" fmla="*/ 898930 w 1661518"/>
                    <a:gd name="connsiteY6225" fmla="*/ 522583 h 1161399"/>
                    <a:gd name="connsiteX6226" fmla="*/ 898468 w 1661518"/>
                    <a:gd name="connsiteY6226" fmla="*/ 521284 h 1161399"/>
                    <a:gd name="connsiteX6227" fmla="*/ 897752 w 1661518"/>
                    <a:gd name="connsiteY6227" fmla="*/ 519293 h 1161399"/>
                    <a:gd name="connsiteX6228" fmla="*/ 895955 w 1661518"/>
                    <a:gd name="connsiteY6228" fmla="*/ 518176 h 1161399"/>
                    <a:gd name="connsiteX6229" fmla="*/ 895044 w 1661518"/>
                    <a:gd name="connsiteY6229" fmla="*/ 517605 h 1161399"/>
                    <a:gd name="connsiteX6230" fmla="*/ 893842 w 1661518"/>
                    <a:gd name="connsiteY6230" fmla="*/ 516852 h 1161399"/>
                    <a:gd name="connsiteX6231" fmla="*/ 892433 w 1661518"/>
                    <a:gd name="connsiteY6231" fmla="*/ 516706 h 1161399"/>
                    <a:gd name="connsiteX6232" fmla="*/ 890478 w 1661518"/>
                    <a:gd name="connsiteY6232" fmla="*/ 516512 h 1161399"/>
                    <a:gd name="connsiteX6233" fmla="*/ 890126 w 1661518"/>
                    <a:gd name="connsiteY6233" fmla="*/ 516476 h 1161399"/>
                    <a:gd name="connsiteX6234" fmla="*/ 889774 w 1661518"/>
                    <a:gd name="connsiteY6234" fmla="*/ 516476 h 1161399"/>
                    <a:gd name="connsiteX6235" fmla="*/ 887236 w 1661518"/>
                    <a:gd name="connsiteY6235" fmla="*/ 516512 h 1161399"/>
                    <a:gd name="connsiteX6236" fmla="*/ 882099 w 1661518"/>
                    <a:gd name="connsiteY6236" fmla="*/ 516051 h 1161399"/>
                    <a:gd name="connsiteX6237" fmla="*/ 880217 w 1661518"/>
                    <a:gd name="connsiteY6237" fmla="*/ 515516 h 1161399"/>
                    <a:gd name="connsiteX6238" fmla="*/ 877874 w 1661518"/>
                    <a:gd name="connsiteY6238" fmla="*/ 514448 h 1161399"/>
                    <a:gd name="connsiteX6239" fmla="*/ 875894 w 1661518"/>
                    <a:gd name="connsiteY6239" fmla="*/ 513063 h 1161399"/>
                    <a:gd name="connsiteX6240" fmla="*/ 870697 w 1661518"/>
                    <a:gd name="connsiteY6240" fmla="*/ 507830 h 1161399"/>
                    <a:gd name="connsiteX6241" fmla="*/ 870224 w 1661518"/>
                    <a:gd name="connsiteY6241" fmla="*/ 507356 h 1161399"/>
                    <a:gd name="connsiteX6242" fmla="*/ 869665 w 1661518"/>
                    <a:gd name="connsiteY6242" fmla="*/ 506992 h 1161399"/>
                    <a:gd name="connsiteX6243" fmla="*/ 866144 w 1661518"/>
                    <a:gd name="connsiteY6243" fmla="*/ 504733 h 1161399"/>
                    <a:gd name="connsiteX6244" fmla="*/ 856211 w 1661518"/>
                    <a:gd name="connsiteY6244" fmla="*/ 496391 h 1161399"/>
                    <a:gd name="connsiteX6245" fmla="*/ 855810 w 1661518"/>
                    <a:gd name="connsiteY6245" fmla="*/ 496051 h 1161399"/>
                    <a:gd name="connsiteX6246" fmla="*/ 855349 w 1661518"/>
                    <a:gd name="connsiteY6246" fmla="*/ 495784 h 1161399"/>
                    <a:gd name="connsiteX6247" fmla="*/ 850358 w 1661518"/>
                    <a:gd name="connsiteY6247" fmla="*/ 492906 h 1161399"/>
                    <a:gd name="connsiteX6248" fmla="*/ 850018 w 1661518"/>
                    <a:gd name="connsiteY6248" fmla="*/ 492712 h 1161399"/>
                    <a:gd name="connsiteX6249" fmla="*/ 849654 w 1661518"/>
                    <a:gd name="connsiteY6249" fmla="*/ 492554 h 1161399"/>
                    <a:gd name="connsiteX6250" fmla="*/ 845914 w 1661518"/>
                    <a:gd name="connsiteY6250" fmla="*/ 491000 h 1161399"/>
                    <a:gd name="connsiteX6251" fmla="*/ 845015 w 1661518"/>
                    <a:gd name="connsiteY6251" fmla="*/ 490623 h 1161399"/>
                    <a:gd name="connsiteX6252" fmla="*/ 844043 w 1661518"/>
                    <a:gd name="connsiteY6252" fmla="*/ 490550 h 1161399"/>
                    <a:gd name="connsiteX6253" fmla="*/ 841870 w 1661518"/>
                    <a:gd name="connsiteY6253" fmla="*/ 490380 h 1161399"/>
                    <a:gd name="connsiteX6254" fmla="*/ 840388 w 1661518"/>
                    <a:gd name="connsiteY6254" fmla="*/ 490271 h 1161399"/>
                    <a:gd name="connsiteX6255" fmla="*/ 839016 w 1661518"/>
                    <a:gd name="connsiteY6255" fmla="*/ 490854 h 1161399"/>
                    <a:gd name="connsiteX6256" fmla="*/ 837353 w 1661518"/>
                    <a:gd name="connsiteY6256" fmla="*/ 491570 h 1161399"/>
                    <a:gd name="connsiteX6257" fmla="*/ 836005 w 1661518"/>
                    <a:gd name="connsiteY6257" fmla="*/ 492141 h 1161399"/>
                    <a:gd name="connsiteX6258" fmla="*/ 835070 w 1661518"/>
                    <a:gd name="connsiteY6258" fmla="*/ 493258 h 1161399"/>
                    <a:gd name="connsiteX6259" fmla="*/ 834038 w 1661518"/>
                    <a:gd name="connsiteY6259" fmla="*/ 494497 h 1161399"/>
                    <a:gd name="connsiteX6260" fmla="*/ 833831 w 1661518"/>
                    <a:gd name="connsiteY6260" fmla="*/ 494740 h 1161399"/>
                    <a:gd name="connsiteX6261" fmla="*/ 833649 w 1661518"/>
                    <a:gd name="connsiteY6261" fmla="*/ 494995 h 1161399"/>
                    <a:gd name="connsiteX6262" fmla="*/ 832496 w 1661518"/>
                    <a:gd name="connsiteY6262" fmla="*/ 496719 h 1161399"/>
                    <a:gd name="connsiteX6263" fmla="*/ 832265 w 1661518"/>
                    <a:gd name="connsiteY6263" fmla="*/ 497059 h 1161399"/>
                    <a:gd name="connsiteX6264" fmla="*/ 832083 w 1661518"/>
                    <a:gd name="connsiteY6264" fmla="*/ 497423 h 1161399"/>
                    <a:gd name="connsiteX6265" fmla="*/ 831233 w 1661518"/>
                    <a:gd name="connsiteY6265" fmla="*/ 499148 h 1161399"/>
                    <a:gd name="connsiteX6266" fmla="*/ 831014 w 1661518"/>
                    <a:gd name="connsiteY6266" fmla="*/ 499597 h 1161399"/>
                    <a:gd name="connsiteX6267" fmla="*/ 830868 w 1661518"/>
                    <a:gd name="connsiteY6267" fmla="*/ 500083 h 1161399"/>
                    <a:gd name="connsiteX6268" fmla="*/ 830225 w 1661518"/>
                    <a:gd name="connsiteY6268" fmla="*/ 502244 h 1161399"/>
                    <a:gd name="connsiteX6269" fmla="*/ 830067 w 1661518"/>
                    <a:gd name="connsiteY6269" fmla="*/ 502778 h 1161399"/>
                    <a:gd name="connsiteX6270" fmla="*/ 830006 w 1661518"/>
                    <a:gd name="connsiteY6270" fmla="*/ 503337 h 1161399"/>
                    <a:gd name="connsiteX6271" fmla="*/ 829788 w 1661518"/>
                    <a:gd name="connsiteY6271" fmla="*/ 505377 h 1161399"/>
                    <a:gd name="connsiteX6272" fmla="*/ 829642 w 1661518"/>
                    <a:gd name="connsiteY6272" fmla="*/ 507538 h 1161399"/>
                    <a:gd name="connsiteX6273" fmla="*/ 829606 w 1661518"/>
                    <a:gd name="connsiteY6273" fmla="*/ 507793 h 1161399"/>
                    <a:gd name="connsiteX6274" fmla="*/ 829472 w 1661518"/>
                    <a:gd name="connsiteY6274" fmla="*/ 508085 h 1161399"/>
                    <a:gd name="connsiteX6275" fmla="*/ 828816 w 1661518"/>
                    <a:gd name="connsiteY6275" fmla="*/ 508971 h 1161399"/>
                    <a:gd name="connsiteX6276" fmla="*/ 827468 w 1661518"/>
                    <a:gd name="connsiteY6276" fmla="*/ 510222 h 1161399"/>
                    <a:gd name="connsiteX6277" fmla="*/ 825586 w 1661518"/>
                    <a:gd name="connsiteY6277" fmla="*/ 511473 h 1161399"/>
                    <a:gd name="connsiteX6278" fmla="*/ 823376 w 1661518"/>
                    <a:gd name="connsiteY6278" fmla="*/ 512226 h 1161399"/>
                    <a:gd name="connsiteX6279" fmla="*/ 822988 w 1661518"/>
                    <a:gd name="connsiteY6279" fmla="*/ 512189 h 1161399"/>
                    <a:gd name="connsiteX6280" fmla="*/ 822235 w 1661518"/>
                    <a:gd name="connsiteY6280" fmla="*/ 511800 h 1161399"/>
                    <a:gd name="connsiteX6281" fmla="*/ 821154 w 1661518"/>
                    <a:gd name="connsiteY6281" fmla="*/ 510756 h 1161399"/>
                    <a:gd name="connsiteX6282" fmla="*/ 819940 w 1661518"/>
                    <a:gd name="connsiteY6282" fmla="*/ 509238 h 1161399"/>
                    <a:gd name="connsiteX6283" fmla="*/ 819697 w 1661518"/>
                    <a:gd name="connsiteY6283" fmla="*/ 508716 h 1161399"/>
                    <a:gd name="connsiteX6284" fmla="*/ 819685 w 1661518"/>
                    <a:gd name="connsiteY6284" fmla="*/ 508510 h 1161399"/>
                    <a:gd name="connsiteX6285" fmla="*/ 819733 w 1661518"/>
                    <a:gd name="connsiteY6285" fmla="*/ 508303 h 1161399"/>
                    <a:gd name="connsiteX6286" fmla="*/ 822684 w 1661518"/>
                    <a:gd name="connsiteY6286" fmla="*/ 503288 h 1161399"/>
                    <a:gd name="connsiteX6287" fmla="*/ 823146 w 1661518"/>
                    <a:gd name="connsiteY6287" fmla="*/ 502511 h 1161399"/>
                    <a:gd name="connsiteX6288" fmla="*/ 823352 w 1661518"/>
                    <a:gd name="connsiteY6288" fmla="*/ 501637 h 1161399"/>
                    <a:gd name="connsiteX6289" fmla="*/ 823753 w 1661518"/>
                    <a:gd name="connsiteY6289" fmla="*/ 499998 h 1161399"/>
                    <a:gd name="connsiteX6290" fmla="*/ 824093 w 1661518"/>
                    <a:gd name="connsiteY6290" fmla="*/ 498589 h 1161399"/>
                    <a:gd name="connsiteX6291" fmla="*/ 823765 w 1661518"/>
                    <a:gd name="connsiteY6291" fmla="*/ 497180 h 1161399"/>
                    <a:gd name="connsiteX6292" fmla="*/ 823425 w 1661518"/>
                    <a:gd name="connsiteY6292" fmla="*/ 495748 h 1161399"/>
                    <a:gd name="connsiteX6293" fmla="*/ 823085 w 1661518"/>
                    <a:gd name="connsiteY6293" fmla="*/ 494303 h 1161399"/>
                    <a:gd name="connsiteX6294" fmla="*/ 822126 w 1661518"/>
                    <a:gd name="connsiteY6294" fmla="*/ 493185 h 1161399"/>
                    <a:gd name="connsiteX6295" fmla="*/ 820972 w 1661518"/>
                    <a:gd name="connsiteY6295" fmla="*/ 491838 h 1161399"/>
                    <a:gd name="connsiteX6296" fmla="*/ 820377 w 1661518"/>
                    <a:gd name="connsiteY6296" fmla="*/ 491145 h 1161399"/>
                    <a:gd name="connsiteX6297" fmla="*/ 819612 w 1661518"/>
                    <a:gd name="connsiteY6297" fmla="*/ 490660 h 1161399"/>
                    <a:gd name="connsiteX6298" fmla="*/ 817900 w 1661518"/>
                    <a:gd name="connsiteY6298" fmla="*/ 489579 h 1161399"/>
                    <a:gd name="connsiteX6299" fmla="*/ 817511 w 1661518"/>
                    <a:gd name="connsiteY6299" fmla="*/ 489324 h 1161399"/>
                    <a:gd name="connsiteX6300" fmla="*/ 817086 w 1661518"/>
                    <a:gd name="connsiteY6300" fmla="*/ 489142 h 1161399"/>
                    <a:gd name="connsiteX6301" fmla="*/ 812775 w 1661518"/>
                    <a:gd name="connsiteY6301" fmla="*/ 487272 h 1161399"/>
                    <a:gd name="connsiteX6302" fmla="*/ 810238 w 1661518"/>
                    <a:gd name="connsiteY6302" fmla="*/ 485547 h 1161399"/>
                    <a:gd name="connsiteX6303" fmla="*/ 809072 w 1661518"/>
                    <a:gd name="connsiteY6303" fmla="*/ 484576 h 1161399"/>
                    <a:gd name="connsiteX6304" fmla="*/ 808756 w 1661518"/>
                    <a:gd name="connsiteY6304" fmla="*/ 483641 h 1161399"/>
                    <a:gd name="connsiteX6305" fmla="*/ 808368 w 1661518"/>
                    <a:gd name="connsiteY6305" fmla="*/ 481929 h 1161399"/>
                    <a:gd name="connsiteX6306" fmla="*/ 807712 w 1661518"/>
                    <a:gd name="connsiteY6306" fmla="*/ 479051 h 1161399"/>
                    <a:gd name="connsiteX6307" fmla="*/ 805052 w 1661518"/>
                    <a:gd name="connsiteY6307" fmla="*/ 477788 h 1161399"/>
                    <a:gd name="connsiteX6308" fmla="*/ 803790 w 1661518"/>
                    <a:gd name="connsiteY6308" fmla="*/ 477193 h 1161399"/>
                    <a:gd name="connsiteX6309" fmla="*/ 803037 w 1661518"/>
                    <a:gd name="connsiteY6309" fmla="*/ 476841 h 1161399"/>
                    <a:gd name="connsiteX6310" fmla="*/ 802272 w 1661518"/>
                    <a:gd name="connsiteY6310" fmla="*/ 476707 h 1161399"/>
                    <a:gd name="connsiteX6311" fmla="*/ 800887 w 1661518"/>
                    <a:gd name="connsiteY6311" fmla="*/ 474255 h 1161399"/>
                    <a:gd name="connsiteX6312" fmla="*/ 804397 w 1661518"/>
                    <a:gd name="connsiteY6312" fmla="*/ 469531 h 1161399"/>
                    <a:gd name="connsiteX6313" fmla="*/ 804664 w 1661518"/>
                    <a:gd name="connsiteY6313" fmla="*/ 469167 h 1161399"/>
                    <a:gd name="connsiteX6314" fmla="*/ 804883 w 1661518"/>
                    <a:gd name="connsiteY6314" fmla="*/ 468766 h 1161399"/>
                    <a:gd name="connsiteX6315" fmla="*/ 806850 w 1661518"/>
                    <a:gd name="connsiteY6315" fmla="*/ 465062 h 1161399"/>
                    <a:gd name="connsiteX6316" fmla="*/ 807166 w 1661518"/>
                    <a:gd name="connsiteY6316" fmla="*/ 464479 h 1161399"/>
                    <a:gd name="connsiteX6317" fmla="*/ 807348 w 1661518"/>
                    <a:gd name="connsiteY6317" fmla="*/ 463836 h 1161399"/>
                    <a:gd name="connsiteX6318" fmla="*/ 808428 w 1661518"/>
                    <a:gd name="connsiteY6318" fmla="*/ 459926 h 1161399"/>
                    <a:gd name="connsiteX6319" fmla="*/ 808574 w 1661518"/>
                    <a:gd name="connsiteY6319" fmla="*/ 459379 h 1161399"/>
                    <a:gd name="connsiteX6320" fmla="*/ 808623 w 1661518"/>
                    <a:gd name="connsiteY6320" fmla="*/ 458809 h 1161399"/>
                    <a:gd name="connsiteX6321" fmla="*/ 808975 w 1661518"/>
                    <a:gd name="connsiteY6321" fmla="*/ 454559 h 1161399"/>
                    <a:gd name="connsiteX6322" fmla="*/ 809120 w 1661518"/>
                    <a:gd name="connsiteY6322" fmla="*/ 452895 h 1161399"/>
                    <a:gd name="connsiteX6323" fmla="*/ 808380 w 1661518"/>
                    <a:gd name="connsiteY6323" fmla="*/ 451389 h 1161399"/>
                    <a:gd name="connsiteX6324" fmla="*/ 807979 w 1661518"/>
                    <a:gd name="connsiteY6324" fmla="*/ 450564 h 1161399"/>
                    <a:gd name="connsiteX6325" fmla="*/ 807639 w 1661518"/>
                    <a:gd name="connsiteY6325" fmla="*/ 449859 h 1161399"/>
                    <a:gd name="connsiteX6326" fmla="*/ 807129 w 1661518"/>
                    <a:gd name="connsiteY6326" fmla="*/ 449264 h 1161399"/>
                    <a:gd name="connsiteX6327" fmla="*/ 806886 w 1661518"/>
                    <a:gd name="connsiteY6327" fmla="*/ 448997 h 1161399"/>
                    <a:gd name="connsiteX6328" fmla="*/ 807129 w 1661518"/>
                    <a:gd name="connsiteY6328" fmla="*/ 448220 h 1161399"/>
                    <a:gd name="connsiteX6329" fmla="*/ 807287 w 1661518"/>
                    <a:gd name="connsiteY6329" fmla="*/ 447722 h 1161399"/>
                    <a:gd name="connsiteX6330" fmla="*/ 807348 w 1661518"/>
                    <a:gd name="connsiteY6330" fmla="*/ 447212 h 1161399"/>
                    <a:gd name="connsiteX6331" fmla="*/ 807518 w 1661518"/>
                    <a:gd name="connsiteY6331" fmla="*/ 445949 h 1161399"/>
                    <a:gd name="connsiteX6332" fmla="*/ 807627 w 1661518"/>
                    <a:gd name="connsiteY6332" fmla="*/ 445160 h 1161399"/>
                    <a:gd name="connsiteX6333" fmla="*/ 807518 w 1661518"/>
                    <a:gd name="connsiteY6333" fmla="*/ 444359 h 1161399"/>
                    <a:gd name="connsiteX6334" fmla="*/ 806886 w 1661518"/>
                    <a:gd name="connsiteY6334" fmla="*/ 439671 h 1161399"/>
                    <a:gd name="connsiteX6335" fmla="*/ 806728 w 1661518"/>
                    <a:gd name="connsiteY6335" fmla="*/ 438494 h 1161399"/>
                    <a:gd name="connsiteX6336" fmla="*/ 806146 w 1661518"/>
                    <a:gd name="connsiteY6336" fmla="*/ 437474 h 1161399"/>
                    <a:gd name="connsiteX6337" fmla="*/ 804482 w 1661518"/>
                    <a:gd name="connsiteY6337" fmla="*/ 434547 h 1161399"/>
                    <a:gd name="connsiteX6338" fmla="*/ 804154 w 1661518"/>
                    <a:gd name="connsiteY6338" fmla="*/ 433964 h 1161399"/>
                    <a:gd name="connsiteX6339" fmla="*/ 803705 w 1661518"/>
                    <a:gd name="connsiteY6339" fmla="*/ 433467 h 1161399"/>
                    <a:gd name="connsiteX6340" fmla="*/ 801907 w 1661518"/>
                    <a:gd name="connsiteY6340" fmla="*/ 431487 h 1161399"/>
                    <a:gd name="connsiteX6341" fmla="*/ 800863 w 1661518"/>
                    <a:gd name="connsiteY6341" fmla="*/ 429860 h 1161399"/>
                    <a:gd name="connsiteX6342" fmla="*/ 800499 w 1661518"/>
                    <a:gd name="connsiteY6342" fmla="*/ 427929 h 1161399"/>
                    <a:gd name="connsiteX6343" fmla="*/ 800499 w 1661518"/>
                    <a:gd name="connsiteY6343" fmla="*/ 424384 h 1161399"/>
                    <a:gd name="connsiteX6344" fmla="*/ 800074 w 1661518"/>
                    <a:gd name="connsiteY6344" fmla="*/ 419636 h 1161399"/>
                    <a:gd name="connsiteX6345" fmla="*/ 799952 w 1661518"/>
                    <a:gd name="connsiteY6345" fmla="*/ 418361 h 1161399"/>
                    <a:gd name="connsiteX6346" fmla="*/ 799333 w 1661518"/>
                    <a:gd name="connsiteY6346" fmla="*/ 417256 h 1161399"/>
                    <a:gd name="connsiteX6347" fmla="*/ 794282 w 1661518"/>
                    <a:gd name="connsiteY6347" fmla="*/ 408209 h 1161399"/>
                    <a:gd name="connsiteX6348" fmla="*/ 793760 w 1661518"/>
                    <a:gd name="connsiteY6348" fmla="*/ 407274 h 1161399"/>
                    <a:gd name="connsiteX6349" fmla="*/ 792958 w 1661518"/>
                    <a:gd name="connsiteY6349" fmla="*/ 406582 h 1161399"/>
                    <a:gd name="connsiteX6350" fmla="*/ 792035 w 1661518"/>
                    <a:gd name="connsiteY6350" fmla="*/ 405780 h 1161399"/>
                    <a:gd name="connsiteX6351" fmla="*/ 791040 w 1661518"/>
                    <a:gd name="connsiteY6351" fmla="*/ 404918 h 1161399"/>
                    <a:gd name="connsiteX6352" fmla="*/ 790323 w 1661518"/>
                    <a:gd name="connsiteY6352" fmla="*/ 404700 h 1161399"/>
                    <a:gd name="connsiteX6353" fmla="*/ 797487 w 1661518"/>
                    <a:gd name="connsiteY6353" fmla="*/ 399029 h 1161399"/>
                    <a:gd name="connsiteX6354" fmla="*/ 802721 w 1661518"/>
                    <a:gd name="connsiteY6354" fmla="*/ 396540 h 1161399"/>
                    <a:gd name="connsiteX6355" fmla="*/ 803535 w 1661518"/>
                    <a:gd name="connsiteY6355" fmla="*/ 396151 h 1161399"/>
                    <a:gd name="connsiteX6356" fmla="*/ 804203 w 1661518"/>
                    <a:gd name="connsiteY6356" fmla="*/ 395544 h 1161399"/>
                    <a:gd name="connsiteX6357" fmla="*/ 814609 w 1661518"/>
                    <a:gd name="connsiteY6357" fmla="*/ 386097 h 1161399"/>
                    <a:gd name="connsiteX6358" fmla="*/ 814986 w 1661518"/>
                    <a:gd name="connsiteY6358" fmla="*/ 385757 h 1161399"/>
                    <a:gd name="connsiteX6359" fmla="*/ 815301 w 1661518"/>
                    <a:gd name="connsiteY6359" fmla="*/ 385356 h 1161399"/>
                    <a:gd name="connsiteX6360" fmla="*/ 817584 w 1661518"/>
                    <a:gd name="connsiteY6360" fmla="*/ 382454 h 1161399"/>
                    <a:gd name="connsiteX6361" fmla="*/ 817924 w 1661518"/>
                    <a:gd name="connsiteY6361" fmla="*/ 382017 h 1161399"/>
                    <a:gd name="connsiteX6362" fmla="*/ 818179 w 1661518"/>
                    <a:gd name="connsiteY6362" fmla="*/ 381531 h 1161399"/>
                    <a:gd name="connsiteX6363" fmla="*/ 820365 w 1661518"/>
                    <a:gd name="connsiteY6363" fmla="*/ 377378 h 1161399"/>
                    <a:gd name="connsiteX6364" fmla="*/ 820826 w 1661518"/>
                    <a:gd name="connsiteY6364" fmla="*/ 376504 h 1161399"/>
                    <a:gd name="connsiteX6365" fmla="*/ 820984 w 1661518"/>
                    <a:gd name="connsiteY6365" fmla="*/ 375520 h 1161399"/>
                    <a:gd name="connsiteX6366" fmla="*/ 821725 w 1661518"/>
                    <a:gd name="connsiteY6366" fmla="*/ 370955 h 1161399"/>
                    <a:gd name="connsiteX6367" fmla="*/ 822028 w 1661518"/>
                    <a:gd name="connsiteY6367" fmla="*/ 369085 h 1161399"/>
                    <a:gd name="connsiteX6368" fmla="*/ 821215 w 1661518"/>
                    <a:gd name="connsiteY6368" fmla="*/ 367372 h 1161399"/>
                    <a:gd name="connsiteX6369" fmla="*/ 819940 w 1661518"/>
                    <a:gd name="connsiteY6369" fmla="*/ 364701 h 1161399"/>
                    <a:gd name="connsiteX6370" fmla="*/ 820535 w 1661518"/>
                    <a:gd name="connsiteY6370" fmla="*/ 363887 h 1161399"/>
                    <a:gd name="connsiteX6371" fmla="*/ 820741 w 1661518"/>
                    <a:gd name="connsiteY6371" fmla="*/ 362345 h 1161399"/>
                    <a:gd name="connsiteX6372" fmla="*/ 821421 w 1661518"/>
                    <a:gd name="connsiteY6372" fmla="*/ 357002 h 1161399"/>
                    <a:gd name="connsiteX6373" fmla="*/ 821895 w 1661518"/>
                    <a:gd name="connsiteY6373" fmla="*/ 354744 h 1161399"/>
                    <a:gd name="connsiteX6374" fmla="*/ 822138 w 1661518"/>
                    <a:gd name="connsiteY6374" fmla="*/ 354076 h 1161399"/>
                    <a:gd name="connsiteX6375" fmla="*/ 824360 w 1661518"/>
                    <a:gd name="connsiteY6375" fmla="*/ 350749 h 1161399"/>
                    <a:gd name="connsiteX6376" fmla="*/ 824967 w 1661518"/>
                    <a:gd name="connsiteY6376" fmla="*/ 349838 h 1161399"/>
                    <a:gd name="connsiteX6377" fmla="*/ 825222 w 1661518"/>
                    <a:gd name="connsiteY6377" fmla="*/ 348782 h 1161399"/>
                    <a:gd name="connsiteX6378" fmla="*/ 826497 w 1661518"/>
                    <a:gd name="connsiteY6378" fmla="*/ 343378 h 1161399"/>
                    <a:gd name="connsiteX6379" fmla="*/ 826764 w 1661518"/>
                    <a:gd name="connsiteY6379" fmla="*/ 342273 h 1161399"/>
                    <a:gd name="connsiteX6380" fmla="*/ 826606 w 1661518"/>
                    <a:gd name="connsiteY6380" fmla="*/ 341144 h 1161399"/>
                    <a:gd name="connsiteX6381" fmla="*/ 826315 w 1661518"/>
                    <a:gd name="connsiteY6381" fmla="*/ 338994 h 1161399"/>
                    <a:gd name="connsiteX6382" fmla="*/ 826254 w 1661518"/>
                    <a:gd name="connsiteY6382" fmla="*/ 338545 h 1161399"/>
                    <a:gd name="connsiteX6383" fmla="*/ 826121 w 1661518"/>
                    <a:gd name="connsiteY6383" fmla="*/ 338108 h 1161399"/>
                    <a:gd name="connsiteX6384" fmla="*/ 825319 w 1661518"/>
                    <a:gd name="connsiteY6384" fmla="*/ 335388 h 1161399"/>
                    <a:gd name="connsiteX6385" fmla="*/ 825076 w 1661518"/>
                    <a:gd name="connsiteY6385" fmla="*/ 334550 h 1161399"/>
                    <a:gd name="connsiteX6386" fmla="*/ 824603 w 1661518"/>
                    <a:gd name="connsiteY6386" fmla="*/ 333809 h 1161399"/>
                    <a:gd name="connsiteX6387" fmla="*/ 822514 w 1661518"/>
                    <a:gd name="connsiteY6387" fmla="*/ 330567 h 1161399"/>
                    <a:gd name="connsiteX6388" fmla="*/ 813200 w 1661518"/>
                    <a:gd name="connsiteY6388" fmla="*/ 311017 h 1161399"/>
                    <a:gd name="connsiteX6389" fmla="*/ 812946 w 1661518"/>
                    <a:gd name="connsiteY6389" fmla="*/ 310471 h 1161399"/>
                    <a:gd name="connsiteX6390" fmla="*/ 812581 w 1661518"/>
                    <a:gd name="connsiteY6390" fmla="*/ 309985 h 1161399"/>
                    <a:gd name="connsiteX6391" fmla="*/ 810055 w 1661518"/>
                    <a:gd name="connsiteY6391" fmla="*/ 306609 h 1161399"/>
                    <a:gd name="connsiteX6392" fmla="*/ 809813 w 1661518"/>
                    <a:gd name="connsiteY6392" fmla="*/ 306293 h 1161399"/>
                    <a:gd name="connsiteX6393" fmla="*/ 809533 w 1661518"/>
                    <a:gd name="connsiteY6393" fmla="*/ 306014 h 1161399"/>
                    <a:gd name="connsiteX6394" fmla="*/ 807603 w 1661518"/>
                    <a:gd name="connsiteY6394" fmla="*/ 304035 h 1161399"/>
                    <a:gd name="connsiteX6395" fmla="*/ 805453 w 1661518"/>
                    <a:gd name="connsiteY6395" fmla="*/ 301060 h 1161399"/>
                    <a:gd name="connsiteX6396" fmla="*/ 817669 w 1661518"/>
                    <a:gd name="connsiteY6396" fmla="*/ 290908 h 1161399"/>
                    <a:gd name="connsiteX6397" fmla="*/ 818276 w 1661518"/>
                    <a:gd name="connsiteY6397" fmla="*/ 290411 h 1161399"/>
                    <a:gd name="connsiteX6398" fmla="*/ 818726 w 1661518"/>
                    <a:gd name="connsiteY6398" fmla="*/ 289779 h 1161399"/>
                    <a:gd name="connsiteX6399" fmla="*/ 821834 w 1661518"/>
                    <a:gd name="connsiteY6399" fmla="*/ 285444 h 1161399"/>
                    <a:gd name="connsiteX6400" fmla="*/ 822635 w 1661518"/>
                    <a:gd name="connsiteY6400" fmla="*/ 284327 h 1161399"/>
                    <a:gd name="connsiteX6401" fmla="*/ 822878 w 1661518"/>
                    <a:gd name="connsiteY6401" fmla="*/ 282967 h 1161399"/>
                    <a:gd name="connsiteX6402" fmla="*/ 824445 w 1661518"/>
                    <a:gd name="connsiteY6402" fmla="*/ 274175 h 1161399"/>
                    <a:gd name="connsiteX6403" fmla="*/ 824518 w 1661518"/>
                    <a:gd name="connsiteY6403" fmla="*/ 274103 h 1161399"/>
                    <a:gd name="connsiteX6404" fmla="*/ 839478 w 1661518"/>
                    <a:gd name="connsiteY6404" fmla="*/ 270205 h 1161399"/>
                    <a:gd name="connsiteX6405" fmla="*/ 842793 w 1661518"/>
                    <a:gd name="connsiteY6405" fmla="*/ 269695 h 1161399"/>
                    <a:gd name="connsiteX6406" fmla="*/ 844420 w 1661518"/>
                    <a:gd name="connsiteY6406" fmla="*/ 269622 h 1161399"/>
                    <a:gd name="connsiteX6407" fmla="*/ 849483 w 1661518"/>
                    <a:gd name="connsiteY6407" fmla="*/ 270569 h 1161399"/>
                    <a:gd name="connsiteX6408" fmla="*/ 849994 w 1661518"/>
                    <a:gd name="connsiteY6408" fmla="*/ 270666 h 1161399"/>
                    <a:gd name="connsiteX6409" fmla="*/ 850504 w 1661518"/>
                    <a:gd name="connsiteY6409" fmla="*/ 270666 h 1161399"/>
                    <a:gd name="connsiteX6410" fmla="*/ 854231 w 1661518"/>
                    <a:gd name="connsiteY6410" fmla="*/ 270715 h 1161399"/>
                    <a:gd name="connsiteX6411" fmla="*/ 855021 w 1661518"/>
                    <a:gd name="connsiteY6411" fmla="*/ 270727 h 1161399"/>
                    <a:gd name="connsiteX6412" fmla="*/ 855786 w 1661518"/>
                    <a:gd name="connsiteY6412" fmla="*/ 270532 h 1161399"/>
                    <a:gd name="connsiteX6413" fmla="*/ 858081 w 1661518"/>
                    <a:gd name="connsiteY6413" fmla="*/ 269962 h 1161399"/>
                    <a:gd name="connsiteX6414" fmla="*/ 858834 w 1661518"/>
                    <a:gd name="connsiteY6414" fmla="*/ 269780 h 1161399"/>
                    <a:gd name="connsiteX6415" fmla="*/ 859514 w 1661518"/>
                    <a:gd name="connsiteY6415" fmla="*/ 269403 h 1161399"/>
                    <a:gd name="connsiteX6416" fmla="*/ 862051 w 1661518"/>
                    <a:gd name="connsiteY6416" fmla="*/ 268019 h 1161399"/>
                    <a:gd name="connsiteX6417" fmla="*/ 862525 w 1661518"/>
                    <a:gd name="connsiteY6417" fmla="*/ 267764 h 1161399"/>
                    <a:gd name="connsiteX6418" fmla="*/ 862938 w 1661518"/>
                    <a:gd name="connsiteY6418" fmla="*/ 267436 h 1161399"/>
                    <a:gd name="connsiteX6419" fmla="*/ 864541 w 1661518"/>
                    <a:gd name="connsiteY6419" fmla="*/ 266161 h 1161399"/>
                    <a:gd name="connsiteX6420" fmla="*/ 869519 w 1661518"/>
                    <a:gd name="connsiteY6420" fmla="*/ 263405 h 1161399"/>
                    <a:gd name="connsiteX6421" fmla="*/ 887030 w 1661518"/>
                    <a:gd name="connsiteY6421" fmla="*/ 259920 h 1161399"/>
                    <a:gd name="connsiteX6422" fmla="*/ 887928 w 1661518"/>
                    <a:gd name="connsiteY6422" fmla="*/ 259737 h 1161399"/>
                    <a:gd name="connsiteX6423" fmla="*/ 888730 w 1661518"/>
                    <a:gd name="connsiteY6423" fmla="*/ 259300 h 1161399"/>
                    <a:gd name="connsiteX6424" fmla="*/ 894947 w 1661518"/>
                    <a:gd name="connsiteY6424" fmla="*/ 255937 h 1161399"/>
                    <a:gd name="connsiteX6425" fmla="*/ 896380 w 1661518"/>
                    <a:gd name="connsiteY6425" fmla="*/ 255160 h 1161399"/>
                    <a:gd name="connsiteX6426" fmla="*/ 897230 w 1661518"/>
                    <a:gd name="connsiteY6426" fmla="*/ 253763 h 1161399"/>
                    <a:gd name="connsiteX6427" fmla="*/ 898019 w 1661518"/>
                    <a:gd name="connsiteY6427" fmla="*/ 252476 h 1161399"/>
                    <a:gd name="connsiteX6428" fmla="*/ 898347 w 1661518"/>
                    <a:gd name="connsiteY6428" fmla="*/ 251942 h 1161399"/>
                    <a:gd name="connsiteX6429" fmla="*/ 898565 w 1661518"/>
                    <a:gd name="connsiteY6429" fmla="*/ 251347 h 1161399"/>
                    <a:gd name="connsiteX6430" fmla="*/ 898905 w 1661518"/>
                    <a:gd name="connsiteY6430" fmla="*/ 250387 h 1161399"/>
                    <a:gd name="connsiteX6431" fmla="*/ 899039 w 1661518"/>
                    <a:gd name="connsiteY6431" fmla="*/ 250011 h 1161399"/>
                    <a:gd name="connsiteX6432" fmla="*/ 899124 w 1661518"/>
                    <a:gd name="connsiteY6432" fmla="*/ 249622 h 1161399"/>
                    <a:gd name="connsiteX6433" fmla="*/ 899306 w 1661518"/>
                    <a:gd name="connsiteY6433" fmla="*/ 248797 h 1161399"/>
                    <a:gd name="connsiteX6434" fmla="*/ 899440 w 1661518"/>
                    <a:gd name="connsiteY6434" fmla="*/ 248165 h 1161399"/>
                    <a:gd name="connsiteX6435" fmla="*/ 899440 w 1661518"/>
                    <a:gd name="connsiteY6435" fmla="*/ 247522 h 1161399"/>
                    <a:gd name="connsiteX6436" fmla="*/ 899440 w 1661518"/>
                    <a:gd name="connsiteY6436" fmla="*/ 246113 h 1161399"/>
                    <a:gd name="connsiteX6437" fmla="*/ 899233 w 1661518"/>
                    <a:gd name="connsiteY6437" fmla="*/ 243684 h 1161399"/>
                    <a:gd name="connsiteX6438" fmla="*/ 899185 w 1661518"/>
                    <a:gd name="connsiteY6438" fmla="*/ 243126 h 1161399"/>
                    <a:gd name="connsiteX6439" fmla="*/ 899027 w 1661518"/>
                    <a:gd name="connsiteY6439" fmla="*/ 242592 h 1161399"/>
                    <a:gd name="connsiteX6440" fmla="*/ 898347 w 1661518"/>
                    <a:gd name="connsiteY6440" fmla="*/ 240212 h 1161399"/>
                    <a:gd name="connsiteX6441" fmla="*/ 897266 w 1661518"/>
                    <a:gd name="connsiteY6441" fmla="*/ 237334 h 1161399"/>
                    <a:gd name="connsiteX6442" fmla="*/ 897120 w 1661518"/>
                    <a:gd name="connsiteY6442" fmla="*/ 236957 h 1161399"/>
                    <a:gd name="connsiteX6443" fmla="*/ 896926 w 1661518"/>
                    <a:gd name="connsiteY6443" fmla="*/ 236605 h 1161399"/>
                    <a:gd name="connsiteX6444" fmla="*/ 894716 w 1661518"/>
                    <a:gd name="connsiteY6444" fmla="*/ 232561 h 1161399"/>
                    <a:gd name="connsiteX6445" fmla="*/ 894412 w 1661518"/>
                    <a:gd name="connsiteY6445" fmla="*/ 231639 h 1161399"/>
                    <a:gd name="connsiteX6446" fmla="*/ 894303 w 1661518"/>
                    <a:gd name="connsiteY6446" fmla="*/ 230910 h 1161399"/>
                    <a:gd name="connsiteX6447" fmla="*/ 894425 w 1661518"/>
                    <a:gd name="connsiteY6447" fmla="*/ 229635 h 1161399"/>
                    <a:gd name="connsiteX6448" fmla="*/ 894655 w 1661518"/>
                    <a:gd name="connsiteY6448" fmla="*/ 228239 h 1161399"/>
                    <a:gd name="connsiteX6449" fmla="*/ 895202 w 1661518"/>
                    <a:gd name="connsiteY6449" fmla="*/ 226138 h 1161399"/>
                    <a:gd name="connsiteX6450" fmla="*/ 895955 w 1661518"/>
                    <a:gd name="connsiteY6450" fmla="*/ 224171 h 1161399"/>
                    <a:gd name="connsiteX6451" fmla="*/ 896537 w 1661518"/>
                    <a:gd name="connsiteY6451" fmla="*/ 223418 h 1161399"/>
                    <a:gd name="connsiteX6452" fmla="*/ 897825 w 1661518"/>
                    <a:gd name="connsiteY6452" fmla="*/ 222483 h 1161399"/>
                    <a:gd name="connsiteX6453" fmla="*/ 900022 w 1661518"/>
                    <a:gd name="connsiteY6453" fmla="*/ 221281 h 1161399"/>
                    <a:gd name="connsiteX6454" fmla="*/ 900326 w 1661518"/>
                    <a:gd name="connsiteY6454" fmla="*/ 221111 h 1161399"/>
                    <a:gd name="connsiteX6455" fmla="*/ 900618 w 1661518"/>
                    <a:gd name="connsiteY6455" fmla="*/ 220904 h 1161399"/>
                    <a:gd name="connsiteX6456" fmla="*/ 903726 w 1661518"/>
                    <a:gd name="connsiteY6456" fmla="*/ 218694 h 1161399"/>
                    <a:gd name="connsiteX6457" fmla="*/ 904018 w 1661518"/>
                    <a:gd name="connsiteY6457" fmla="*/ 218488 h 1161399"/>
                    <a:gd name="connsiteX6458" fmla="*/ 904273 w 1661518"/>
                    <a:gd name="connsiteY6458" fmla="*/ 218245 h 1161399"/>
                    <a:gd name="connsiteX6459" fmla="*/ 907539 w 1661518"/>
                    <a:gd name="connsiteY6459" fmla="*/ 215282 h 1161399"/>
                    <a:gd name="connsiteX6460" fmla="*/ 908547 w 1661518"/>
                    <a:gd name="connsiteY6460" fmla="*/ 214371 h 1161399"/>
                    <a:gd name="connsiteX6461" fmla="*/ 909069 w 1661518"/>
                    <a:gd name="connsiteY6461" fmla="*/ 213121 h 1161399"/>
                    <a:gd name="connsiteX6462" fmla="*/ 911995 w 1661518"/>
                    <a:gd name="connsiteY6462" fmla="*/ 206090 h 1161399"/>
                    <a:gd name="connsiteX6463" fmla="*/ 913865 w 1661518"/>
                    <a:gd name="connsiteY6463" fmla="*/ 200966 h 1161399"/>
                    <a:gd name="connsiteX6464" fmla="*/ 921528 w 1661518"/>
                    <a:gd name="connsiteY6464" fmla="*/ 191688 h 1161399"/>
                    <a:gd name="connsiteX6465" fmla="*/ 921965 w 1661518"/>
                    <a:gd name="connsiteY6465" fmla="*/ 191166 h 1161399"/>
                    <a:gd name="connsiteX6466" fmla="*/ 922268 w 1661518"/>
                    <a:gd name="connsiteY6466" fmla="*/ 190559 h 1161399"/>
                    <a:gd name="connsiteX6467" fmla="*/ 923592 w 1661518"/>
                    <a:gd name="connsiteY6467" fmla="*/ 187924 h 1161399"/>
                    <a:gd name="connsiteX6468" fmla="*/ 923762 w 1661518"/>
                    <a:gd name="connsiteY6468" fmla="*/ 187584 h 1161399"/>
                    <a:gd name="connsiteX6469" fmla="*/ 923883 w 1661518"/>
                    <a:gd name="connsiteY6469" fmla="*/ 187232 h 1161399"/>
                    <a:gd name="connsiteX6470" fmla="*/ 924575 w 1661518"/>
                    <a:gd name="connsiteY6470" fmla="*/ 185277 h 1161399"/>
                    <a:gd name="connsiteX6471" fmla="*/ 924794 w 1661518"/>
                    <a:gd name="connsiteY6471" fmla="*/ 184682 h 1161399"/>
                    <a:gd name="connsiteX6472" fmla="*/ 924879 w 1661518"/>
                    <a:gd name="connsiteY6472" fmla="*/ 184050 h 1161399"/>
                    <a:gd name="connsiteX6473" fmla="*/ 925328 w 1661518"/>
                    <a:gd name="connsiteY6473" fmla="*/ 180687 h 1161399"/>
                    <a:gd name="connsiteX6474" fmla="*/ 928655 w 1661518"/>
                    <a:gd name="connsiteY6474" fmla="*/ 173377 h 1161399"/>
                    <a:gd name="connsiteX6475" fmla="*/ 934435 w 1661518"/>
                    <a:gd name="connsiteY6475" fmla="*/ 164646 h 1161399"/>
                    <a:gd name="connsiteX6476" fmla="*/ 934618 w 1661518"/>
                    <a:gd name="connsiteY6476" fmla="*/ 164379 h 1161399"/>
                    <a:gd name="connsiteX6477" fmla="*/ 934763 w 1661518"/>
                    <a:gd name="connsiteY6477" fmla="*/ 164100 h 1161399"/>
                    <a:gd name="connsiteX6478" fmla="*/ 936014 w 1661518"/>
                    <a:gd name="connsiteY6478" fmla="*/ 161695 h 1161399"/>
                    <a:gd name="connsiteX6479" fmla="*/ 936561 w 1661518"/>
                    <a:gd name="connsiteY6479" fmla="*/ 160639 h 1161399"/>
                    <a:gd name="connsiteX6480" fmla="*/ 936670 w 1661518"/>
                    <a:gd name="connsiteY6480" fmla="*/ 159449 h 1161399"/>
                    <a:gd name="connsiteX6481" fmla="*/ 936852 w 1661518"/>
                    <a:gd name="connsiteY6481" fmla="*/ 157494 h 1161399"/>
                    <a:gd name="connsiteX6482" fmla="*/ 937095 w 1661518"/>
                    <a:gd name="connsiteY6482" fmla="*/ 154847 h 1161399"/>
                    <a:gd name="connsiteX6483" fmla="*/ 935310 w 1661518"/>
                    <a:gd name="connsiteY6483" fmla="*/ 152868 h 1161399"/>
                    <a:gd name="connsiteX6484" fmla="*/ 934338 w 1661518"/>
                    <a:gd name="connsiteY6484" fmla="*/ 151799 h 1161399"/>
                    <a:gd name="connsiteX6485" fmla="*/ 933768 w 1661518"/>
                    <a:gd name="connsiteY6485" fmla="*/ 151168 h 1161399"/>
                    <a:gd name="connsiteX6486" fmla="*/ 933039 w 1661518"/>
                    <a:gd name="connsiteY6486" fmla="*/ 150718 h 1161399"/>
                    <a:gd name="connsiteX6487" fmla="*/ 930756 w 1661518"/>
                    <a:gd name="connsiteY6487" fmla="*/ 149297 h 1161399"/>
                    <a:gd name="connsiteX6488" fmla="*/ 930550 w 1661518"/>
                    <a:gd name="connsiteY6488" fmla="*/ 149067 h 1161399"/>
                    <a:gd name="connsiteX6489" fmla="*/ 930355 w 1661518"/>
                    <a:gd name="connsiteY6489" fmla="*/ 148593 h 1161399"/>
                    <a:gd name="connsiteX6490" fmla="*/ 930319 w 1661518"/>
                    <a:gd name="connsiteY6490" fmla="*/ 148059 h 1161399"/>
                    <a:gd name="connsiteX6491" fmla="*/ 931254 w 1661518"/>
                    <a:gd name="connsiteY6491" fmla="*/ 147707 h 1161399"/>
                    <a:gd name="connsiteX6492" fmla="*/ 932359 w 1661518"/>
                    <a:gd name="connsiteY6492" fmla="*/ 147294 h 1161399"/>
                    <a:gd name="connsiteX6493" fmla="*/ 933221 w 1661518"/>
                    <a:gd name="connsiteY6493" fmla="*/ 146492 h 1161399"/>
                    <a:gd name="connsiteX6494" fmla="*/ 934897 w 1661518"/>
                    <a:gd name="connsiteY6494" fmla="*/ 144962 h 1161399"/>
                    <a:gd name="connsiteX6495" fmla="*/ 935941 w 1661518"/>
                    <a:gd name="connsiteY6495" fmla="*/ 144015 h 1161399"/>
                    <a:gd name="connsiteX6496" fmla="*/ 936451 w 1661518"/>
                    <a:gd name="connsiteY6496" fmla="*/ 142704 h 1161399"/>
                    <a:gd name="connsiteX6497" fmla="*/ 936913 w 1661518"/>
                    <a:gd name="connsiteY6497" fmla="*/ 141526 h 1161399"/>
                    <a:gd name="connsiteX6498" fmla="*/ 937508 w 1661518"/>
                    <a:gd name="connsiteY6498" fmla="*/ 140020 h 1161399"/>
                    <a:gd name="connsiteX6499" fmla="*/ 937265 w 1661518"/>
                    <a:gd name="connsiteY6499" fmla="*/ 138417 h 1161399"/>
                    <a:gd name="connsiteX6500" fmla="*/ 937083 w 1661518"/>
                    <a:gd name="connsiteY6500" fmla="*/ 137179 h 1161399"/>
                    <a:gd name="connsiteX6501" fmla="*/ 936876 w 1661518"/>
                    <a:gd name="connsiteY6501" fmla="*/ 135819 h 1161399"/>
                    <a:gd name="connsiteX6502" fmla="*/ 936111 w 1661518"/>
                    <a:gd name="connsiteY6502" fmla="*/ 134677 h 1161399"/>
                    <a:gd name="connsiteX6503" fmla="*/ 934229 w 1661518"/>
                    <a:gd name="connsiteY6503" fmla="*/ 131872 h 1161399"/>
                    <a:gd name="connsiteX6504" fmla="*/ 933695 w 1661518"/>
                    <a:gd name="connsiteY6504" fmla="*/ 130804 h 1161399"/>
                    <a:gd name="connsiteX6505" fmla="*/ 933573 w 1661518"/>
                    <a:gd name="connsiteY6505" fmla="*/ 130136 h 1161399"/>
                    <a:gd name="connsiteX6506" fmla="*/ 934946 w 1661518"/>
                    <a:gd name="connsiteY6506" fmla="*/ 128885 h 1161399"/>
                    <a:gd name="connsiteX6507" fmla="*/ 935492 w 1661518"/>
                    <a:gd name="connsiteY6507" fmla="*/ 128497 h 1161399"/>
                    <a:gd name="connsiteX6508" fmla="*/ 936063 w 1661518"/>
                    <a:gd name="connsiteY6508" fmla="*/ 128254 h 1161399"/>
                    <a:gd name="connsiteX6509" fmla="*/ 937532 w 1661518"/>
                    <a:gd name="connsiteY6509" fmla="*/ 127817 h 1161399"/>
                    <a:gd name="connsiteX6510" fmla="*/ 942183 w 1661518"/>
                    <a:gd name="connsiteY6510" fmla="*/ 126882 h 1161399"/>
                    <a:gd name="connsiteX6511" fmla="*/ 942814 w 1661518"/>
                    <a:gd name="connsiteY6511" fmla="*/ 126748 h 1161399"/>
                    <a:gd name="connsiteX6512" fmla="*/ 943397 w 1661518"/>
                    <a:gd name="connsiteY6512" fmla="*/ 126493 h 1161399"/>
                    <a:gd name="connsiteX6513" fmla="*/ 945474 w 1661518"/>
                    <a:gd name="connsiteY6513" fmla="*/ 125582 h 1161399"/>
                    <a:gd name="connsiteX6514" fmla="*/ 946299 w 1661518"/>
                    <a:gd name="connsiteY6514" fmla="*/ 125218 h 1161399"/>
                    <a:gd name="connsiteX6515" fmla="*/ 946991 w 1661518"/>
                    <a:gd name="connsiteY6515" fmla="*/ 124623 h 1161399"/>
                    <a:gd name="connsiteX6516" fmla="*/ 948703 w 1661518"/>
                    <a:gd name="connsiteY6516" fmla="*/ 123154 h 1161399"/>
                    <a:gd name="connsiteX6517" fmla="*/ 949092 w 1661518"/>
                    <a:gd name="connsiteY6517" fmla="*/ 122814 h 1161399"/>
                    <a:gd name="connsiteX6518" fmla="*/ 949420 w 1661518"/>
                    <a:gd name="connsiteY6518" fmla="*/ 122413 h 1161399"/>
                    <a:gd name="connsiteX6519" fmla="*/ 950914 w 1661518"/>
                    <a:gd name="connsiteY6519" fmla="*/ 120604 h 1161399"/>
                    <a:gd name="connsiteX6520" fmla="*/ 951169 w 1661518"/>
                    <a:gd name="connsiteY6520" fmla="*/ 120288 h 1161399"/>
                    <a:gd name="connsiteX6521" fmla="*/ 951387 w 1661518"/>
                    <a:gd name="connsiteY6521" fmla="*/ 119948 h 1161399"/>
                    <a:gd name="connsiteX6522" fmla="*/ 955516 w 1661518"/>
                    <a:gd name="connsiteY6522" fmla="*/ 113306 h 1161399"/>
                    <a:gd name="connsiteX6523" fmla="*/ 955783 w 1661518"/>
                    <a:gd name="connsiteY6523" fmla="*/ 112881 h 1161399"/>
                    <a:gd name="connsiteX6524" fmla="*/ 955977 w 1661518"/>
                    <a:gd name="connsiteY6524" fmla="*/ 112419 h 1161399"/>
                    <a:gd name="connsiteX6525" fmla="*/ 956499 w 1661518"/>
                    <a:gd name="connsiteY6525" fmla="*/ 111156 h 1161399"/>
                    <a:gd name="connsiteX6526" fmla="*/ 957021 w 1661518"/>
                    <a:gd name="connsiteY6526" fmla="*/ 109894 h 1161399"/>
                    <a:gd name="connsiteX6527" fmla="*/ 956949 w 1661518"/>
                    <a:gd name="connsiteY6527" fmla="*/ 108521 h 1161399"/>
                    <a:gd name="connsiteX6528" fmla="*/ 956888 w 1661518"/>
                    <a:gd name="connsiteY6528" fmla="*/ 107380 h 1161399"/>
                    <a:gd name="connsiteX6529" fmla="*/ 956779 w 1661518"/>
                    <a:gd name="connsiteY6529" fmla="*/ 105267 h 1161399"/>
                    <a:gd name="connsiteX6530" fmla="*/ 955370 w 1661518"/>
                    <a:gd name="connsiteY6530" fmla="*/ 103676 h 1161399"/>
                    <a:gd name="connsiteX6531" fmla="*/ 954739 w 1661518"/>
                    <a:gd name="connsiteY6531" fmla="*/ 102960 h 1161399"/>
                    <a:gd name="connsiteX6532" fmla="*/ 954496 w 1661518"/>
                    <a:gd name="connsiteY6532" fmla="*/ 102693 h 1161399"/>
                    <a:gd name="connsiteX6533" fmla="*/ 954229 w 1661518"/>
                    <a:gd name="connsiteY6533" fmla="*/ 102450 h 1161399"/>
                    <a:gd name="connsiteX6534" fmla="*/ 953731 w 1661518"/>
                    <a:gd name="connsiteY6534" fmla="*/ 102001 h 1161399"/>
                    <a:gd name="connsiteX6535" fmla="*/ 954957 w 1661518"/>
                    <a:gd name="connsiteY6535" fmla="*/ 98224 h 1161399"/>
                    <a:gd name="connsiteX6536" fmla="*/ 955334 w 1661518"/>
                    <a:gd name="connsiteY6536" fmla="*/ 97046 h 1161399"/>
                    <a:gd name="connsiteX6537" fmla="*/ 955224 w 1661518"/>
                    <a:gd name="connsiteY6537" fmla="*/ 95808 h 1161399"/>
                    <a:gd name="connsiteX6538" fmla="*/ 954702 w 1661518"/>
                    <a:gd name="connsiteY6538" fmla="*/ 89943 h 1161399"/>
                    <a:gd name="connsiteX6539" fmla="*/ 954654 w 1661518"/>
                    <a:gd name="connsiteY6539" fmla="*/ 89384 h 1161399"/>
                    <a:gd name="connsiteX6540" fmla="*/ 954496 w 1661518"/>
                    <a:gd name="connsiteY6540" fmla="*/ 88838 h 1161399"/>
                    <a:gd name="connsiteX6541" fmla="*/ 952941 w 1661518"/>
                    <a:gd name="connsiteY6541" fmla="*/ 83337 h 1161399"/>
                    <a:gd name="connsiteX6542" fmla="*/ 952856 w 1661518"/>
                    <a:gd name="connsiteY6542" fmla="*/ 83021 h 1161399"/>
                    <a:gd name="connsiteX6543" fmla="*/ 952735 w 1661518"/>
                    <a:gd name="connsiteY6543" fmla="*/ 82718 h 1161399"/>
                    <a:gd name="connsiteX6544" fmla="*/ 950331 w 1661518"/>
                    <a:gd name="connsiteY6544" fmla="*/ 76768 h 1161399"/>
                    <a:gd name="connsiteX6545" fmla="*/ 950088 w 1661518"/>
                    <a:gd name="connsiteY6545" fmla="*/ 76173 h 1161399"/>
                    <a:gd name="connsiteX6546" fmla="*/ 949736 w 1661518"/>
                    <a:gd name="connsiteY6546" fmla="*/ 75638 h 1161399"/>
                    <a:gd name="connsiteX6547" fmla="*/ 939815 w 1661518"/>
                    <a:gd name="connsiteY6547" fmla="*/ 60994 h 1161399"/>
                    <a:gd name="connsiteX6548" fmla="*/ 937483 w 1661518"/>
                    <a:gd name="connsiteY6548" fmla="*/ 56647 h 1161399"/>
                    <a:gd name="connsiteX6549" fmla="*/ 935055 w 1661518"/>
                    <a:gd name="connsiteY6549" fmla="*/ 49665 h 1161399"/>
                    <a:gd name="connsiteX6550" fmla="*/ 933913 w 1661518"/>
                    <a:gd name="connsiteY6550" fmla="*/ 44188 h 1161399"/>
                    <a:gd name="connsiteX6551" fmla="*/ 933938 w 1661518"/>
                    <a:gd name="connsiteY6551" fmla="*/ 43387 h 1161399"/>
                    <a:gd name="connsiteX6552" fmla="*/ 933998 w 1661518"/>
                    <a:gd name="connsiteY6552" fmla="*/ 41857 h 1161399"/>
                    <a:gd name="connsiteX6553" fmla="*/ 933755 w 1661518"/>
                    <a:gd name="connsiteY6553" fmla="*/ 41371 h 1161399"/>
                    <a:gd name="connsiteX6554" fmla="*/ 933755 w 1661518"/>
                    <a:gd name="connsiteY6554" fmla="*/ 40910 h 1161399"/>
                    <a:gd name="connsiteX6555" fmla="*/ 933755 w 1661518"/>
                    <a:gd name="connsiteY6555" fmla="*/ 40254 h 1161399"/>
                    <a:gd name="connsiteX6556" fmla="*/ 933610 w 1661518"/>
                    <a:gd name="connsiteY6556" fmla="*/ 39610 h 1161399"/>
                    <a:gd name="connsiteX6557" fmla="*/ 933282 w 1661518"/>
                    <a:gd name="connsiteY6557" fmla="*/ 38117 h 1161399"/>
                    <a:gd name="connsiteX6558" fmla="*/ 932991 w 1661518"/>
                    <a:gd name="connsiteY6558" fmla="*/ 36757 h 1161399"/>
                    <a:gd name="connsiteX6559" fmla="*/ 932128 w 1661518"/>
                    <a:gd name="connsiteY6559" fmla="*/ 35664 h 1161399"/>
                    <a:gd name="connsiteX6560" fmla="*/ 930271 w 1661518"/>
                    <a:gd name="connsiteY6560" fmla="*/ 33284 h 1161399"/>
                    <a:gd name="connsiteX6561" fmla="*/ 928995 w 1661518"/>
                    <a:gd name="connsiteY6561" fmla="*/ 31645 h 1161399"/>
                    <a:gd name="connsiteX6562" fmla="*/ 926980 w 1661518"/>
                    <a:gd name="connsiteY6562" fmla="*/ 31134 h 1161399"/>
                    <a:gd name="connsiteX6563" fmla="*/ 925729 w 1661518"/>
                    <a:gd name="connsiteY6563" fmla="*/ 30819 h 1161399"/>
                    <a:gd name="connsiteX6564" fmla="*/ 925073 w 1661518"/>
                    <a:gd name="connsiteY6564" fmla="*/ 30649 h 1161399"/>
                    <a:gd name="connsiteX6565" fmla="*/ 924393 w 1661518"/>
                    <a:gd name="connsiteY6565" fmla="*/ 30637 h 1161399"/>
                    <a:gd name="connsiteX6566" fmla="*/ 921746 w 1661518"/>
                    <a:gd name="connsiteY6566" fmla="*/ 30576 h 1161399"/>
                    <a:gd name="connsiteX6567" fmla="*/ 920908 w 1661518"/>
                    <a:gd name="connsiteY6567" fmla="*/ 30564 h 1161399"/>
                    <a:gd name="connsiteX6568" fmla="*/ 920095 w 1661518"/>
                    <a:gd name="connsiteY6568" fmla="*/ 30770 h 1161399"/>
                    <a:gd name="connsiteX6569" fmla="*/ 915189 w 1661518"/>
                    <a:gd name="connsiteY6569" fmla="*/ 32033 h 1161399"/>
                    <a:gd name="connsiteX6570" fmla="*/ 913902 w 1661518"/>
                    <a:gd name="connsiteY6570" fmla="*/ 31256 h 1161399"/>
                    <a:gd name="connsiteX6571" fmla="*/ 908911 w 1661518"/>
                    <a:gd name="connsiteY6571" fmla="*/ 24954 h 1161399"/>
                    <a:gd name="connsiteX6572" fmla="*/ 908486 w 1661518"/>
                    <a:gd name="connsiteY6572" fmla="*/ 24407 h 1161399"/>
                    <a:gd name="connsiteX6573" fmla="*/ 907952 w 1661518"/>
                    <a:gd name="connsiteY6573" fmla="*/ 23970 h 1161399"/>
                    <a:gd name="connsiteX6574" fmla="*/ 904273 w 1661518"/>
                    <a:gd name="connsiteY6574" fmla="*/ 21032 h 1161399"/>
                    <a:gd name="connsiteX6575" fmla="*/ 903046 w 1661518"/>
                    <a:gd name="connsiteY6575" fmla="*/ 20060 h 1161399"/>
                    <a:gd name="connsiteX6576" fmla="*/ 901516 w 1661518"/>
                    <a:gd name="connsiteY6576" fmla="*/ 19793 h 1161399"/>
                    <a:gd name="connsiteX6577" fmla="*/ 899573 w 1661518"/>
                    <a:gd name="connsiteY6577" fmla="*/ 19453 h 1161399"/>
                    <a:gd name="connsiteX6578" fmla="*/ 899209 w 1661518"/>
                    <a:gd name="connsiteY6578" fmla="*/ 19392 h 1161399"/>
                    <a:gd name="connsiteX6579" fmla="*/ 898432 w 1661518"/>
                    <a:gd name="connsiteY6579" fmla="*/ 16514 h 1161399"/>
                    <a:gd name="connsiteX6580" fmla="*/ 895615 w 1661518"/>
                    <a:gd name="connsiteY6580" fmla="*/ 15385 h 1161399"/>
                    <a:gd name="connsiteX6581" fmla="*/ 893878 w 1661518"/>
                    <a:gd name="connsiteY6581" fmla="*/ 14693 h 1161399"/>
                    <a:gd name="connsiteX6582" fmla="*/ 891717 w 1661518"/>
                    <a:gd name="connsiteY6582" fmla="*/ 13831 h 1161399"/>
                    <a:gd name="connsiteX6583" fmla="*/ 889810 w 1661518"/>
                    <a:gd name="connsiteY6583" fmla="*/ 14535 h 1161399"/>
                    <a:gd name="connsiteX6584" fmla="*/ 888365 w 1661518"/>
                    <a:gd name="connsiteY6584" fmla="*/ 12070 h 1161399"/>
                    <a:gd name="connsiteX6585" fmla="*/ 884613 w 1661518"/>
                    <a:gd name="connsiteY6585" fmla="*/ 12325 h 1161399"/>
                    <a:gd name="connsiteX6586" fmla="*/ 881480 w 1661518"/>
                    <a:gd name="connsiteY6586" fmla="*/ 12531 h 1161399"/>
                    <a:gd name="connsiteX6587" fmla="*/ 879987 w 1661518"/>
                    <a:gd name="connsiteY6587" fmla="*/ 12629 h 1161399"/>
                    <a:gd name="connsiteX6588" fmla="*/ 878712 w 1661518"/>
                    <a:gd name="connsiteY6588" fmla="*/ 13394 h 1161399"/>
                    <a:gd name="connsiteX6589" fmla="*/ 872762 w 1661518"/>
                    <a:gd name="connsiteY6589" fmla="*/ 17024 h 1161399"/>
                    <a:gd name="connsiteX6590" fmla="*/ 872361 w 1661518"/>
                    <a:gd name="connsiteY6590" fmla="*/ 17061 h 1161399"/>
                    <a:gd name="connsiteX6591" fmla="*/ 869301 w 1661518"/>
                    <a:gd name="connsiteY6591" fmla="*/ 16709 h 1161399"/>
                    <a:gd name="connsiteX6592" fmla="*/ 868621 w 1661518"/>
                    <a:gd name="connsiteY6592" fmla="*/ 16636 h 1161399"/>
                    <a:gd name="connsiteX6593" fmla="*/ 867941 w 1661518"/>
                    <a:gd name="connsiteY6593" fmla="*/ 16709 h 1161399"/>
                    <a:gd name="connsiteX6594" fmla="*/ 866387 w 1661518"/>
                    <a:gd name="connsiteY6594" fmla="*/ 16879 h 1161399"/>
                    <a:gd name="connsiteX6595" fmla="*/ 864759 w 1661518"/>
                    <a:gd name="connsiteY6595" fmla="*/ 17061 h 1161399"/>
                    <a:gd name="connsiteX6596" fmla="*/ 863448 w 1661518"/>
                    <a:gd name="connsiteY6596" fmla="*/ 18032 h 1161399"/>
                    <a:gd name="connsiteX6597" fmla="*/ 862015 w 1661518"/>
                    <a:gd name="connsiteY6597" fmla="*/ 19089 h 1161399"/>
                    <a:gd name="connsiteX6598" fmla="*/ 861153 w 1661518"/>
                    <a:gd name="connsiteY6598" fmla="*/ 19720 h 1161399"/>
                    <a:gd name="connsiteX6599" fmla="*/ 860570 w 1661518"/>
                    <a:gd name="connsiteY6599" fmla="*/ 20607 h 1161399"/>
                    <a:gd name="connsiteX6600" fmla="*/ 860436 w 1661518"/>
                    <a:gd name="connsiteY6600" fmla="*/ 20801 h 1161399"/>
                    <a:gd name="connsiteX6601" fmla="*/ 859550 w 1661518"/>
                    <a:gd name="connsiteY6601" fmla="*/ 20679 h 1161399"/>
                    <a:gd name="connsiteX6602" fmla="*/ 852082 w 1661518"/>
                    <a:gd name="connsiteY6602" fmla="*/ 16308 h 1161399"/>
                    <a:gd name="connsiteX6603" fmla="*/ 851390 w 1661518"/>
                    <a:gd name="connsiteY6603" fmla="*/ 15907 h 1161399"/>
                    <a:gd name="connsiteX6604" fmla="*/ 850625 w 1661518"/>
                    <a:gd name="connsiteY6604" fmla="*/ 15689 h 1161399"/>
                    <a:gd name="connsiteX6605" fmla="*/ 846946 w 1661518"/>
                    <a:gd name="connsiteY6605" fmla="*/ 14681 h 1161399"/>
                    <a:gd name="connsiteX6606" fmla="*/ 846496 w 1661518"/>
                    <a:gd name="connsiteY6606" fmla="*/ 14559 h 1161399"/>
                    <a:gd name="connsiteX6607" fmla="*/ 846047 w 1661518"/>
                    <a:gd name="connsiteY6607" fmla="*/ 14511 h 1161399"/>
                    <a:gd name="connsiteX6608" fmla="*/ 840279 w 1661518"/>
                    <a:gd name="connsiteY6608" fmla="*/ 13831 h 1161399"/>
                    <a:gd name="connsiteX6609" fmla="*/ 839417 w 1661518"/>
                    <a:gd name="connsiteY6609" fmla="*/ 13357 h 1161399"/>
                    <a:gd name="connsiteX6610" fmla="*/ 839016 w 1661518"/>
                    <a:gd name="connsiteY6610" fmla="*/ 12884 h 1161399"/>
                    <a:gd name="connsiteX6611" fmla="*/ 838361 w 1661518"/>
                    <a:gd name="connsiteY6611" fmla="*/ 11754 h 1161399"/>
                    <a:gd name="connsiteX6612" fmla="*/ 838106 w 1661518"/>
                    <a:gd name="connsiteY6612" fmla="*/ 11317 h 1161399"/>
                    <a:gd name="connsiteX6613" fmla="*/ 837790 w 1661518"/>
                    <a:gd name="connsiteY6613" fmla="*/ 10929 h 1161399"/>
                    <a:gd name="connsiteX6614" fmla="*/ 836818 w 1661518"/>
                    <a:gd name="connsiteY6614" fmla="*/ 9751 h 1161399"/>
                    <a:gd name="connsiteX6615" fmla="*/ 835568 w 1661518"/>
                    <a:gd name="connsiteY6615" fmla="*/ 8233 h 1161399"/>
                    <a:gd name="connsiteX6616" fmla="*/ 833674 w 1661518"/>
                    <a:gd name="connsiteY6616" fmla="*/ 7735 h 1161399"/>
                    <a:gd name="connsiteX6617" fmla="*/ 831901 w 1661518"/>
                    <a:gd name="connsiteY6617" fmla="*/ 7274 h 1161399"/>
                    <a:gd name="connsiteX6618" fmla="*/ 831051 w 1661518"/>
                    <a:gd name="connsiteY6618" fmla="*/ 7043 h 1161399"/>
                    <a:gd name="connsiteX6619" fmla="*/ 830164 w 1661518"/>
                    <a:gd name="connsiteY6619" fmla="*/ 7079 h 1161399"/>
                    <a:gd name="connsiteX6620" fmla="*/ 827991 w 1661518"/>
                    <a:gd name="connsiteY6620" fmla="*/ 7152 h 1161399"/>
                    <a:gd name="connsiteX6621" fmla="*/ 826910 w 1661518"/>
                    <a:gd name="connsiteY6621" fmla="*/ 5076 h 1161399"/>
                    <a:gd name="connsiteX6622" fmla="*/ 825853 w 1661518"/>
                    <a:gd name="connsiteY6622" fmla="*/ 3024 h 1161399"/>
                    <a:gd name="connsiteX6623" fmla="*/ 823655 w 1661518"/>
                    <a:gd name="connsiteY6623" fmla="*/ 2222 h 1161399"/>
                    <a:gd name="connsiteX6624" fmla="*/ 819758 w 1661518"/>
                    <a:gd name="connsiteY6624" fmla="*/ 729 h 1161399"/>
                    <a:gd name="connsiteX6625" fmla="*/ 818895 w 1661518"/>
                    <a:gd name="connsiteY6625" fmla="*/ 401 h 1161399"/>
                    <a:gd name="connsiteX6626" fmla="*/ 817973 w 1661518"/>
                    <a:gd name="connsiteY6626" fmla="*/ 340 h 1161399"/>
                    <a:gd name="connsiteX6627" fmla="*/ 813370 w 1661518"/>
                    <a:gd name="connsiteY6627" fmla="*/ 49 h 1161399"/>
                    <a:gd name="connsiteX6628" fmla="*/ 812763 w 1661518"/>
                    <a:gd name="connsiteY6628" fmla="*/ 0 h 1161399"/>
                    <a:gd name="connsiteX6629" fmla="*/ 812763 w 1661518"/>
                    <a:gd name="connsiteY6629" fmla="*/ 0 h 1161399"/>
                    <a:gd name="connsiteX6630" fmla="*/ 924090 w 1661518"/>
                    <a:gd name="connsiteY6630" fmla="*/ 328697 h 1161399"/>
                    <a:gd name="connsiteX6631" fmla="*/ 928243 w 1661518"/>
                    <a:gd name="connsiteY6631" fmla="*/ 326014 h 1161399"/>
                    <a:gd name="connsiteX6632" fmla="*/ 928558 w 1661518"/>
                    <a:gd name="connsiteY6632" fmla="*/ 325795 h 1161399"/>
                    <a:gd name="connsiteX6633" fmla="*/ 928850 w 1661518"/>
                    <a:gd name="connsiteY6633" fmla="*/ 325552 h 1161399"/>
                    <a:gd name="connsiteX6634" fmla="*/ 929943 w 1661518"/>
                    <a:gd name="connsiteY6634" fmla="*/ 324629 h 1161399"/>
                    <a:gd name="connsiteX6635" fmla="*/ 930453 w 1661518"/>
                    <a:gd name="connsiteY6635" fmla="*/ 324192 h 1161399"/>
                    <a:gd name="connsiteX6636" fmla="*/ 930720 w 1661518"/>
                    <a:gd name="connsiteY6636" fmla="*/ 323840 h 1161399"/>
                    <a:gd name="connsiteX6637" fmla="*/ 930611 w 1661518"/>
                    <a:gd name="connsiteY6637" fmla="*/ 324848 h 1161399"/>
                    <a:gd name="connsiteX6638" fmla="*/ 930550 w 1661518"/>
                    <a:gd name="connsiteY6638" fmla="*/ 325419 h 1161399"/>
                    <a:gd name="connsiteX6639" fmla="*/ 930598 w 1661518"/>
                    <a:gd name="connsiteY6639" fmla="*/ 325989 h 1161399"/>
                    <a:gd name="connsiteX6640" fmla="*/ 930732 w 1661518"/>
                    <a:gd name="connsiteY6640" fmla="*/ 327592 h 1161399"/>
                    <a:gd name="connsiteX6641" fmla="*/ 930708 w 1661518"/>
                    <a:gd name="connsiteY6641" fmla="*/ 328114 h 1161399"/>
                    <a:gd name="connsiteX6642" fmla="*/ 928741 w 1661518"/>
                    <a:gd name="connsiteY6642" fmla="*/ 328345 h 1161399"/>
                    <a:gd name="connsiteX6643" fmla="*/ 927769 w 1661518"/>
                    <a:gd name="connsiteY6643" fmla="*/ 328467 h 1161399"/>
                    <a:gd name="connsiteX6644" fmla="*/ 926883 w 1661518"/>
                    <a:gd name="connsiteY6644" fmla="*/ 328891 h 1161399"/>
                    <a:gd name="connsiteX6645" fmla="*/ 925049 w 1661518"/>
                    <a:gd name="connsiteY6645" fmla="*/ 329778 h 1161399"/>
                    <a:gd name="connsiteX6646" fmla="*/ 924393 w 1661518"/>
                    <a:gd name="connsiteY6646" fmla="*/ 330094 h 1161399"/>
                    <a:gd name="connsiteX6647" fmla="*/ 923835 w 1661518"/>
                    <a:gd name="connsiteY6647" fmla="*/ 330555 h 1161399"/>
                    <a:gd name="connsiteX6648" fmla="*/ 922402 w 1661518"/>
                    <a:gd name="connsiteY6648" fmla="*/ 331733 h 1161399"/>
                    <a:gd name="connsiteX6649" fmla="*/ 921795 w 1661518"/>
                    <a:gd name="connsiteY6649" fmla="*/ 332231 h 1161399"/>
                    <a:gd name="connsiteX6650" fmla="*/ 921333 w 1661518"/>
                    <a:gd name="connsiteY6650" fmla="*/ 332874 h 1161399"/>
                    <a:gd name="connsiteX6651" fmla="*/ 920034 w 1661518"/>
                    <a:gd name="connsiteY6651" fmla="*/ 334672 h 1161399"/>
                    <a:gd name="connsiteX6652" fmla="*/ 920289 w 1661518"/>
                    <a:gd name="connsiteY6652" fmla="*/ 333700 h 1161399"/>
                    <a:gd name="connsiteX6653" fmla="*/ 921200 w 1661518"/>
                    <a:gd name="connsiteY6653" fmla="*/ 331781 h 1161399"/>
                    <a:gd name="connsiteX6654" fmla="*/ 922305 w 1661518"/>
                    <a:gd name="connsiteY6654" fmla="*/ 330179 h 1161399"/>
                    <a:gd name="connsiteX6655" fmla="*/ 924090 w 1661518"/>
                    <a:gd name="connsiteY6655" fmla="*/ 328697 h 1161399"/>
                    <a:gd name="connsiteX6656" fmla="*/ 924090 w 1661518"/>
                    <a:gd name="connsiteY6656" fmla="*/ 328697 h 1161399"/>
                    <a:gd name="connsiteX6657" fmla="*/ 158757 w 1661518"/>
                    <a:gd name="connsiteY6657" fmla="*/ 430224 h 1161399"/>
                    <a:gd name="connsiteX6658" fmla="*/ 158065 w 1661518"/>
                    <a:gd name="connsiteY6658" fmla="*/ 425780 h 1161399"/>
                    <a:gd name="connsiteX6659" fmla="*/ 158040 w 1661518"/>
                    <a:gd name="connsiteY6659" fmla="*/ 425634 h 1161399"/>
                    <a:gd name="connsiteX6660" fmla="*/ 159886 w 1661518"/>
                    <a:gd name="connsiteY6660" fmla="*/ 425926 h 1161399"/>
                    <a:gd name="connsiteX6661" fmla="*/ 160396 w 1661518"/>
                    <a:gd name="connsiteY6661" fmla="*/ 426011 h 1161399"/>
                    <a:gd name="connsiteX6662" fmla="*/ 160906 w 1661518"/>
                    <a:gd name="connsiteY6662" fmla="*/ 426011 h 1161399"/>
                    <a:gd name="connsiteX6663" fmla="*/ 166249 w 1661518"/>
                    <a:gd name="connsiteY6663" fmla="*/ 425962 h 1161399"/>
                    <a:gd name="connsiteX6664" fmla="*/ 168277 w 1661518"/>
                    <a:gd name="connsiteY6664" fmla="*/ 426156 h 1161399"/>
                    <a:gd name="connsiteX6665" fmla="*/ 172138 w 1661518"/>
                    <a:gd name="connsiteY6665" fmla="*/ 427310 h 1161399"/>
                    <a:gd name="connsiteX6666" fmla="*/ 174543 w 1661518"/>
                    <a:gd name="connsiteY6666" fmla="*/ 427820 h 1161399"/>
                    <a:gd name="connsiteX6667" fmla="*/ 175538 w 1661518"/>
                    <a:gd name="connsiteY6667" fmla="*/ 428026 h 1161399"/>
                    <a:gd name="connsiteX6668" fmla="*/ 176546 w 1661518"/>
                    <a:gd name="connsiteY6668" fmla="*/ 427905 h 1161399"/>
                    <a:gd name="connsiteX6669" fmla="*/ 177858 w 1661518"/>
                    <a:gd name="connsiteY6669" fmla="*/ 427735 h 1161399"/>
                    <a:gd name="connsiteX6670" fmla="*/ 177250 w 1661518"/>
                    <a:gd name="connsiteY6670" fmla="*/ 429726 h 1161399"/>
                    <a:gd name="connsiteX6671" fmla="*/ 177020 w 1661518"/>
                    <a:gd name="connsiteY6671" fmla="*/ 430467 h 1161399"/>
                    <a:gd name="connsiteX6672" fmla="*/ 176983 w 1661518"/>
                    <a:gd name="connsiteY6672" fmla="*/ 431232 h 1161399"/>
                    <a:gd name="connsiteX6673" fmla="*/ 176874 w 1661518"/>
                    <a:gd name="connsiteY6673" fmla="*/ 433624 h 1161399"/>
                    <a:gd name="connsiteX6674" fmla="*/ 176862 w 1661518"/>
                    <a:gd name="connsiteY6674" fmla="*/ 433964 h 1161399"/>
                    <a:gd name="connsiteX6675" fmla="*/ 176886 w 1661518"/>
                    <a:gd name="connsiteY6675" fmla="*/ 434304 h 1161399"/>
                    <a:gd name="connsiteX6676" fmla="*/ 177020 w 1661518"/>
                    <a:gd name="connsiteY6676" fmla="*/ 436296 h 1161399"/>
                    <a:gd name="connsiteX6677" fmla="*/ 176801 w 1661518"/>
                    <a:gd name="connsiteY6677" fmla="*/ 437850 h 1161399"/>
                    <a:gd name="connsiteX6678" fmla="*/ 176668 w 1661518"/>
                    <a:gd name="connsiteY6678" fmla="*/ 438032 h 1161399"/>
                    <a:gd name="connsiteX6679" fmla="*/ 175635 w 1661518"/>
                    <a:gd name="connsiteY6679" fmla="*/ 438797 h 1161399"/>
                    <a:gd name="connsiteX6680" fmla="*/ 174470 w 1661518"/>
                    <a:gd name="connsiteY6680" fmla="*/ 439344 h 1161399"/>
                    <a:gd name="connsiteX6681" fmla="*/ 173195 w 1661518"/>
                    <a:gd name="connsiteY6681" fmla="*/ 439599 h 1161399"/>
                    <a:gd name="connsiteX6682" fmla="*/ 166686 w 1661518"/>
                    <a:gd name="connsiteY6682" fmla="*/ 439878 h 1161399"/>
                    <a:gd name="connsiteX6683" fmla="*/ 166468 w 1661518"/>
                    <a:gd name="connsiteY6683" fmla="*/ 439574 h 1161399"/>
                    <a:gd name="connsiteX6684" fmla="*/ 164634 w 1661518"/>
                    <a:gd name="connsiteY6684" fmla="*/ 435567 h 1161399"/>
                    <a:gd name="connsiteX6685" fmla="*/ 164221 w 1661518"/>
                    <a:gd name="connsiteY6685" fmla="*/ 434644 h 1161399"/>
                    <a:gd name="connsiteX6686" fmla="*/ 163529 w 1661518"/>
                    <a:gd name="connsiteY6686" fmla="*/ 433904 h 1161399"/>
                    <a:gd name="connsiteX6687" fmla="*/ 162278 w 1661518"/>
                    <a:gd name="connsiteY6687" fmla="*/ 432580 h 1161399"/>
                    <a:gd name="connsiteX6688" fmla="*/ 161708 w 1661518"/>
                    <a:gd name="connsiteY6688" fmla="*/ 431973 h 1161399"/>
                    <a:gd name="connsiteX6689" fmla="*/ 160979 w 1661518"/>
                    <a:gd name="connsiteY6689" fmla="*/ 431548 h 1161399"/>
                    <a:gd name="connsiteX6690" fmla="*/ 158757 w 1661518"/>
                    <a:gd name="connsiteY6690" fmla="*/ 430224 h 1161399"/>
                    <a:gd name="connsiteX6691" fmla="*/ 158757 w 1661518"/>
                    <a:gd name="connsiteY6691" fmla="*/ 430224 h 1161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Lst>
                  <a:rect l="l" t="t" r="r" b="b"/>
                  <a:pathLst>
                    <a:path w="1661518" h="1161399">
                      <a:moveTo>
                        <a:pt x="812982" y="6096"/>
                      </a:moveTo>
                      <a:lnTo>
                        <a:pt x="817584" y="6387"/>
                      </a:lnTo>
                      <a:lnTo>
                        <a:pt x="821482" y="7881"/>
                      </a:lnTo>
                      <a:lnTo>
                        <a:pt x="824008" y="12762"/>
                      </a:lnTo>
                      <a:lnTo>
                        <a:pt x="826084" y="13309"/>
                      </a:lnTo>
                      <a:lnTo>
                        <a:pt x="830334" y="13163"/>
                      </a:lnTo>
                      <a:lnTo>
                        <a:pt x="832107" y="13624"/>
                      </a:lnTo>
                      <a:lnTo>
                        <a:pt x="833078" y="14802"/>
                      </a:lnTo>
                      <a:lnTo>
                        <a:pt x="834001" y="16405"/>
                      </a:lnTo>
                      <a:lnTo>
                        <a:pt x="835483" y="18154"/>
                      </a:lnTo>
                      <a:lnTo>
                        <a:pt x="838373" y="19732"/>
                      </a:lnTo>
                      <a:lnTo>
                        <a:pt x="845306" y="20546"/>
                      </a:lnTo>
                      <a:lnTo>
                        <a:pt x="848986" y="21554"/>
                      </a:lnTo>
                      <a:lnTo>
                        <a:pt x="857486" y="26532"/>
                      </a:lnTo>
                      <a:lnTo>
                        <a:pt x="861214" y="27054"/>
                      </a:lnTo>
                      <a:lnTo>
                        <a:pt x="863460" y="26532"/>
                      </a:lnTo>
                      <a:lnTo>
                        <a:pt x="864662" y="25367"/>
                      </a:lnTo>
                      <a:lnTo>
                        <a:pt x="865585" y="23982"/>
                      </a:lnTo>
                      <a:lnTo>
                        <a:pt x="867018" y="22926"/>
                      </a:lnTo>
                      <a:lnTo>
                        <a:pt x="868572" y="22756"/>
                      </a:lnTo>
                      <a:lnTo>
                        <a:pt x="872300" y="23181"/>
                      </a:lnTo>
                      <a:lnTo>
                        <a:pt x="874717" y="22926"/>
                      </a:lnTo>
                      <a:lnTo>
                        <a:pt x="881832" y="18591"/>
                      </a:lnTo>
                      <a:lnTo>
                        <a:pt x="884977" y="18384"/>
                      </a:lnTo>
                      <a:lnTo>
                        <a:pt x="887637" y="22926"/>
                      </a:lnTo>
                      <a:lnTo>
                        <a:pt x="889531" y="21092"/>
                      </a:lnTo>
                      <a:lnTo>
                        <a:pt x="891583" y="20339"/>
                      </a:lnTo>
                      <a:lnTo>
                        <a:pt x="893319" y="21032"/>
                      </a:lnTo>
                      <a:lnTo>
                        <a:pt x="894012" y="23618"/>
                      </a:lnTo>
                      <a:lnTo>
                        <a:pt x="894692" y="25160"/>
                      </a:lnTo>
                      <a:lnTo>
                        <a:pt x="896355" y="25512"/>
                      </a:lnTo>
                      <a:lnTo>
                        <a:pt x="898492" y="25452"/>
                      </a:lnTo>
                      <a:lnTo>
                        <a:pt x="900435" y="25792"/>
                      </a:lnTo>
                      <a:lnTo>
                        <a:pt x="904115" y="28730"/>
                      </a:lnTo>
                      <a:lnTo>
                        <a:pt x="909785" y="35894"/>
                      </a:lnTo>
                      <a:lnTo>
                        <a:pt x="913355" y="38056"/>
                      </a:lnTo>
                      <a:lnTo>
                        <a:pt x="915590" y="38202"/>
                      </a:lnTo>
                      <a:lnTo>
                        <a:pt x="921564" y="36672"/>
                      </a:lnTo>
                      <a:lnTo>
                        <a:pt x="924211" y="36732"/>
                      </a:lnTo>
                      <a:lnTo>
                        <a:pt x="925462" y="37048"/>
                      </a:lnTo>
                      <a:lnTo>
                        <a:pt x="927320" y="39428"/>
                      </a:lnTo>
                      <a:lnTo>
                        <a:pt x="927648" y="40922"/>
                      </a:lnTo>
                      <a:lnTo>
                        <a:pt x="927648" y="42792"/>
                      </a:lnTo>
                      <a:lnTo>
                        <a:pt x="927830" y="43168"/>
                      </a:lnTo>
                      <a:lnTo>
                        <a:pt x="927769" y="44710"/>
                      </a:lnTo>
                      <a:lnTo>
                        <a:pt x="929141" y="51292"/>
                      </a:lnTo>
                      <a:lnTo>
                        <a:pt x="931849" y="59100"/>
                      </a:lnTo>
                      <a:lnTo>
                        <a:pt x="934557" y="64151"/>
                      </a:lnTo>
                      <a:lnTo>
                        <a:pt x="944660" y="79050"/>
                      </a:lnTo>
                      <a:lnTo>
                        <a:pt x="947064" y="85001"/>
                      </a:lnTo>
                      <a:lnTo>
                        <a:pt x="948618" y="90501"/>
                      </a:lnTo>
                      <a:lnTo>
                        <a:pt x="949141" y="96366"/>
                      </a:lnTo>
                      <a:lnTo>
                        <a:pt x="946773" y="103689"/>
                      </a:lnTo>
                      <a:lnTo>
                        <a:pt x="948618" y="105814"/>
                      </a:lnTo>
                      <a:lnTo>
                        <a:pt x="949359" y="106275"/>
                      </a:lnTo>
                      <a:lnTo>
                        <a:pt x="950161" y="106991"/>
                      </a:lnTo>
                      <a:lnTo>
                        <a:pt x="950792" y="107708"/>
                      </a:lnTo>
                      <a:lnTo>
                        <a:pt x="950853" y="108849"/>
                      </a:lnTo>
                      <a:lnTo>
                        <a:pt x="950331" y="110112"/>
                      </a:lnTo>
                      <a:lnTo>
                        <a:pt x="946202" y="116754"/>
                      </a:lnTo>
                      <a:lnTo>
                        <a:pt x="944709" y="118564"/>
                      </a:lnTo>
                      <a:lnTo>
                        <a:pt x="942996" y="120033"/>
                      </a:lnTo>
                      <a:lnTo>
                        <a:pt x="940920" y="120944"/>
                      </a:lnTo>
                      <a:lnTo>
                        <a:pt x="935747" y="122012"/>
                      </a:lnTo>
                      <a:lnTo>
                        <a:pt x="933974" y="122546"/>
                      </a:lnTo>
                      <a:lnTo>
                        <a:pt x="932481" y="123178"/>
                      </a:lnTo>
                      <a:lnTo>
                        <a:pt x="931096" y="124162"/>
                      </a:lnTo>
                      <a:lnTo>
                        <a:pt x="928510" y="126505"/>
                      </a:lnTo>
                      <a:lnTo>
                        <a:pt x="927769" y="127902"/>
                      </a:lnTo>
                      <a:lnTo>
                        <a:pt x="927320" y="129881"/>
                      </a:lnTo>
                      <a:lnTo>
                        <a:pt x="927830" y="132734"/>
                      </a:lnTo>
                      <a:lnTo>
                        <a:pt x="928923" y="134932"/>
                      </a:lnTo>
                      <a:lnTo>
                        <a:pt x="931035" y="138077"/>
                      </a:lnTo>
                      <a:lnTo>
                        <a:pt x="931218" y="139316"/>
                      </a:lnTo>
                      <a:lnTo>
                        <a:pt x="930756" y="140494"/>
                      </a:lnTo>
                      <a:lnTo>
                        <a:pt x="929081" y="142024"/>
                      </a:lnTo>
                      <a:lnTo>
                        <a:pt x="925705" y="143287"/>
                      </a:lnTo>
                      <a:lnTo>
                        <a:pt x="924612" y="144367"/>
                      </a:lnTo>
                      <a:lnTo>
                        <a:pt x="924029" y="146213"/>
                      </a:lnTo>
                      <a:lnTo>
                        <a:pt x="924333" y="149990"/>
                      </a:lnTo>
                      <a:lnTo>
                        <a:pt x="925243" y="152297"/>
                      </a:lnTo>
                      <a:lnTo>
                        <a:pt x="926737" y="153985"/>
                      </a:lnTo>
                      <a:lnTo>
                        <a:pt x="929785" y="155879"/>
                      </a:lnTo>
                      <a:lnTo>
                        <a:pt x="930756" y="156948"/>
                      </a:lnTo>
                      <a:lnTo>
                        <a:pt x="930574" y="158902"/>
                      </a:lnTo>
                      <a:lnTo>
                        <a:pt x="929323" y="161307"/>
                      </a:lnTo>
                      <a:lnTo>
                        <a:pt x="923288" y="170438"/>
                      </a:lnTo>
                      <a:lnTo>
                        <a:pt x="919390" y="178999"/>
                      </a:lnTo>
                      <a:lnTo>
                        <a:pt x="918820" y="183249"/>
                      </a:lnTo>
                      <a:lnTo>
                        <a:pt x="918128" y="185204"/>
                      </a:lnTo>
                      <a:lnTo>
                        <a:pt x="916804" y="187839"/>
                      </a:lnTo>
                      <a:lnTo>
                        <a:pt x="908474" y="197918"/>
                      </a:lnTo>
                      <a:lnTo>
                        <a:pt x="906349" y="203771"/>
                      </a:lnTo>
                      <a:lnTo>
                        <a:pt x="903422" y="210801"/>
                      </a:lnTo>
                      <a:lnTo>
                        <a:pt x="900156" y="213764"/>
                      </a:lnTo>
                      <a:lnTo>
                        <a:pt x="897047" y="215974"/>
                      </a:lnTo>
                      <a:lnTo>
                        <a:pt x="894522" y="217359"/>
                      </a:lnTo>
                      <a:lnTo>
                        <a:pt x="892227" y="219022"/>
                      </a:lnTo>
                      <a:lnTo>
                        <a:pt x="890551" y="221172"/>
                      </a:lnTo>
                      <a:lnTo>
                        <a:pt x="889361" y="224304"/>
                      </a:lnTo>
                      <a:lnTo>
                        <a:pt x="888657" y="227000"/>
                      </a:lnTo>
                      <a:lnTo>
                        <a:pt x="888329" y="229101"/>
                      </a:lnTo>
                      <a:lnTo>
                        <a:pt x="888147" y="231104"/>
                      </a:lnTo>
                      <a:lnTo>
                        <a:pt x="888438" y="233059"/>
                      </a:lnTo>
                      <a:lnTo>
                        <a:pt x="889070" y="235002"/>
                      </a:lnTo>
                      <a:lnTo>
                        <a:pt x="891547" y="239544"/>
                      </a:lnTo>
                      <a:lnTo>
                        <a:pt x="892457" y="241924"/>
                      </a:lnTo>
                      <a:lnTo>
                        <a:pt x="893137" y="244304"/>
                      </a:lnTo>
                      <a:lnTo>
                        <a:pt x="893319" y="246149"/>
                      </a:lnTo>
                      <a:lnTo>
                        <a:pt x="893319" y="247558"/>
                      </a:lnTo>
                      <a:lnTo>
                        <a:pt x="893137" y="248384"/>
                      </a:lnTo>
                      <a:lnTo>
                        <a:pt x="892797" y="249343"/>
                      </a:lnTo>
                      <a:lnTo>
                        <a:pt x="892008" y="250630"/>
                      </a:lnTo>
                      <a:lnTo>
                        <a:pt x="885791" y="253994"/>
                      </a:lnTo>
                      <a:lnTo>
                        <a:pt x="867358" y="257661"/>
                      </a:lnTo>
                      <a:lnTo>
                        <a:pt x="861104" y="261110"/>
                      </a:lnTo>
                      <a:lnTo>
                        <a:pt x="859101" y="262712"/>
                      </a:lnTo>
                      <a:lnTo>
                        <a:pt x="856563" y="264097"/>
                      </a:lnTo>
                      <a:lnTo>
                        <a:pt x="854268" y="264668"/>
                      </a:lnTo>
                      <a:lnTo>
                        <a:pt x="850540" y="264619"/>
                      </a:lnTo>
                      <a:lnTo>
                        <a:pt x="844796" y="263550"/>
                      </a:lnTo>
                      <a:lnTo>
                        <a:pt x="842149" y="263660"/>
                      </a:lnTo>
                      <a:lnTo>
                        <a:pt x="838191" y="264267"/>
                      </a:lnTo>
                      <a:lnTo>
                        <a:pt x="821300" y="268663"/>
                      </a:lnTo>
                      <a:lnTo>
                        <a:pt x="818726" y="271273"/>
                      </a:lnTo>
                      <a:lnTo>
                        <a:pt x="816831" y="281923"/>
                      </a:lnTo>
                      <a:lnTo>
                        <a:pt x="813723" y="286258"/>
                      </a:lnTo>
                      <a:lnTo>
                        <a:pt x="800936" y="296883"/>
                      </a:lnTo>
                      <a:lnTo>
                        <a:pt x="799600" y="298413"/>
                      </a:lnTo>
                      <a:lnTo>
                        <a:pt x="798920" y="299639"/>
                      </a:lnTo>
                      <a:lnTo>
                        <a:pt x="799030" y="301533"/>
                      </a:lnTo>
                      <a:lnTo>
                        <a:pt x="799892" y="303853"/>
                      </a:lnTo>
                      <a:lnTo>
                        <a:pt x="802879" y="307969"/>
                      </a:lnTo>
                      <a:lnTo>
                        <a:pt x="805113" y="310264"/>
                      </a:lnTo>
                      <a:lnTo>
                        <a:pt x="807639" y="313640"/>
                      </a:lnTo>
                      <a:lnTo>
                        <a:pt x="817123" y="333542"/>
                      </a:lnTo>
                      <a:lnTo>
                        <a:pt x="819418" y="337112"/>
                      </a:lnTo>
                      <a:lnTo>
                        <a:pt x="820219" y="339832"/>
                      </a:lnTo>
                      <a:lnTo>
                        <a:pt x="820511" y="341981"/>
                      </a:lnTo>
                      <a:lnTo>
                        <a:pt x="819235" y="347385"/>
                      </a:lnTo>
                      <a:lnTo>
                        <a:pt x="816613" y="351319"/>
                      </a:lnTo>
                      <a:lnTo>
                        <a:pt x="815969" y="353080"/>
                      </a:lnTo>
                      <a:lnTo>
                        <a:pt x="815338" y="356225"/>
                      </a:lnTo>
                      <a:lnTo>
                        <a:pt x="814658" y="361568"/>
                      </a:lnTo>
                      <a:lnTo>
                        <a:pt x="813783" y="362770"/>
                      </a:lnTo>
                      <a:lnTo>
                        <a:pt x="813723" y="365879"/>
                      </a:lnTo>
                      <a:lnTo>
                        <a:pt x="815678" y="369983"/>
                      </a:lnTo>
                      <a:lnTo>
                        <a:pt x="814937" y="374549"/>
                      </a:lnTo>
                      <a:lnTo>
                        <a:pt x="812751" y="378702"/>
                      </a:lnTo>
                      <a:lnTo>
                        <a:pt x="810468" y="381604"/>
                      </a:lnTo>
                      <a:lnTo>
                        <a:pt x="800062" y="391051"/>
                      </a:lnTo>
                      <a:lnTo>
                        <a:pt x="794209" y="393832"/>
                      </a:lnTo>
                      <a:lnTo>
                        <a:pt x="785660" y="400596"/>
                      </a:lnTo>
                      <a:lnTo>
                        <a:pt x="783535" y="403546"/>
                      </a:lnTo>
                      <a:lnTo>
                        <a:pt x="783535" y="405987"/>
                      </a:lnTo>
                      <a:lnTo>
                        <a:pt x="784385" y="408173"/>
                      </a:lnTo>
                      <a:lnTo>
                        <a:pt x="785940" y="409739"/>
                      </a:lnTo>
                      <a:lnTo>
                        <a:pt x="788004" y="410346"/>
                      </a:lnTo>
                      <a:lnTo>
                        <a:pt x="788927" y="411148"/>
                      </a:lnTo>
                      <a:lnTo>
                        <a:pt x="793978" y="420194"/>
                      </a:lnTo>
                      <a:lnTo>
                        <a:pt x="794379" y="424359"/>
                      </a:lnTo>
                      <a:lnTo>
                        <a:pt x="794379" y="428464"/>
                      </a:lnTo>
                      <a:lnTo>
                        <a:pt x="795059" y="432106"/>
                      </a:lnTo>
                      <a:lnTo>
                        <a:pt x="797014" y="435154"/>
                      </a:lnTo>
                      <a:lnTo>
                        <a:pt x="799151" y="437510"/>
                      </a:lnTo>
                      <a:lnTo>
                        <a:pt x="800815" y="440436"/>
                      </a:lnTo>
                      <a:lnTo>
                        <a:pt x="801446" y="445124"/>
                      </a:lnTo>
                      <a:lnTo>
                        <a:pt x="801276" y="446387"/>
                      </a:lnTo>
                      <a:lnTo>
                        <a:pt x="800183" y="449944"/>
                      </a:lnTo>
                      <a:lnTo>
                        <a:pt x="800693" y="451110"/>
                      </a:lnTo>
                      <a:lnTo>
                        <a:pt x="802478" y="453187"/>
                      </a:lnTo>
                      <a:lnTo>
                        <a:pt x="802879" y="454012"/>
                      </a:lnTo>
                      <a:lnTo>
                        <a:pt x="802527" y="458262"/>
                      </a:lnTo>
                      <a:lnTo>
                        <a:pt x="801446" y="462172"/>
                      </a:lnTo>
                      <a:lnTo>
                        <a:pt x="799479" y="465876"/>
                      </a:lnTo>
                      <a:lnTo>
                        <a:pt x="794731" y="472275"/>
                      </a:lnTo>
                      <a:lnTo>
                        <a:pt x="793808" y="474983"/>
                      </a:lnTo>
                      <a:lnTo>
                        <a:pt x="794427" y="475177"/>
                      </a:lnTo>
                      <a:lnTo>
                        <a:pt x="797257" y="480205"/>
                      </a:lnTo>
                      <a:lnTo>
                        <a:pt x="797658" y="481212"/>
                      </a:lnTo>
                      <a:lnTo>
                        <a:pt x="799479" y="482354"/>
                      </a:lnTo>
                      <a:lnTo>
                        <a:pt x="801155" y="482645"/>
                      </a:lnTo>
                      <a:lnTo>
                        <a:pt x="802418" y="483240"/>
                      </a:lnTo>
                      <a:lnTo>
                        <a:pt x="802879" y="485280"/>
                      </a:lnTo>
                      <a:lnTo>
                        <a:pt x="803863" y="488122"/>
                      </a:lnTo>
                      <a:lnTo>
                        <a:pt x="806558" y="490368"/>
                      </a:lnTo>
                      <a:lnTo>
                        <a:pt x="809825" y="492578"/>
                      </a:lnTo>
                      <a:lnTo>
                        <a:pt x="814658" y="494679"/>
                      </a:lnTo>
                      <a:lnTo>
                        <a:pt x="816370" y="495760"/>
                      </a:lnTo>
                      <a:lnTo>
                        <a:pt x="817523" y="497108"/>
                      </a:lnTo>
                      <a:lnTo>
                        <a:pt x="817863" y="498540"/>
                      </a:lnTo>
                      <a:lnTo>
                        <a:pt x="817463" y="500180"/>
                      </a:lnTo>
                      <a:lnTo>
                        <a:pt x="814087" y="505923"/>
                      </a:lnTo>
                      <a:lnTo>
                        <a:pt x="813565" y="507903"/>
                      </a:lnTo>
                      <a:lnTo>
                        <a:pt x="813723" y="510234"/>
                      </a:lnTo>
                      <a:lnTo>
                        <a:pt x="814755" y="512444"/>
                      </a:lnTo>
                      <a:lnTo>
                        <a:pt x="816661" y="514824"/>
                      </a:lnTo>
                      <a:lnTo>
                        <a:pt x="818677" y="516779"/>
                      </a:lnTo>
                      <a:lnTo>
                        <a:pt x="821300" y="518103"/>
                      </a:lnTo>
                      <a:lnTo>
                        <a:pt x="824129" y="518358"/>
                      </a:lnTo>
                      <a:lnTo>
                        <a:pt x="828318" y="516925"/>
                      </a:lnTo>
                      <a:lnTo>
                        <a:pt x="831245" y="514970"/>
                      </a:lnTo>
                      <a:lnTo>
                        <a:pt x="833370" y="513015"/>
                      </a:lnTo>
                      <a:lnTo>
                        <a:pt x="834742" y="511157"/>
                      </a:lnTo>
                      <a:lnTo>
                        <a:pt x="835483" y="509542"/>
                      </a:lnTo>
                      <a:lnTo>
                        <a:pt x="835726" y="507878"/>
                      </a:lnTo>
                      <a:lnTo>
                        <a:pt x="835847" y="505984"/>
                      </a:lnTo>
                      <a:lnTo>
                        <a:pt x="836066" y="503944"/>
                      </a:lnTo>
                      <a:lnTo>
                        <a:pt x="836709" y="501795"/>
                      </a:lnTo>
                      <a:lnTo>
                        <a:pt x="837559" y="500070"/>
                      </a:lnTo>
                      <a:lnTo>
                        <a:pt x="838713" y="498346"/>
                      </a:lnTo>
                      <a:lnTo>
                        <a:pt x="839745" y="497108"/>
                      </a:lnTo>
                      <a:lnTo>
                        <a:pt x="841408" y="496391"/>
                      </a:lnTo>
                      <a:lnTo>
                        <a:pt x="843582" y="496561"/>
                      </a:lnTo>
                      <a:lnTo>
                        <a:pt x="847322" y="498115"/>
                      </a:lnTo>
                      <a:lnTo>
                        <a:pt x="852313" y="500993"/>
                      </a:lnTo>
                      <a:lnTo>
                        <a:pt x="862537" y="509578"/>
                      </a:lnTo>
                      <a:lnTo>
                        <a:pt x="866387" y="512043"/>
                      </a:lnTo>
                      <a:lnTo>
                        <a:pt x="871960" y="517666"/>
                      </a:lnTo>
                      <a:lnTo>
                        <a:pt x="874838" y="519681"/>
                      </a:lnTo>
                      <a:lnTo>
                        <a:pt x="878104" y="521175"/>
                      </a:lnTo>
                      <a:lnTo>
                        <a:pt x="880970" y="522001"/>
                      </a:lnTo>
                      <a:lnTo>
                        <a:pt x="887005" y="522547"/>
                      </a:lnTo>
                      <a:lnTo>
                        <a:pt x="889871" y="522498"/>
                      </a:lnTo>
                      <a:lnTo>
                        <a:pt x="891826" y="522693"/>
                      </a:lnTo>
                      <a:lnTo>
                        <a:pt x="892737" y="523263"/>
                      </a:lnTo>
                      <a:lnTo>
                        <a:pt x="893198" y="524563"/>
                      </a:lnTo>
                      <a:lnTo>
                        <a:pt x="893259" y="526481"/>
                      </a:lnTo>
                      <a:lnTo>
                        <a:pt x="893550" y="528691"/>
                      </a:lnTo>
                      <a:lnTo>
                        <a:pt x="894752" y="531399"/>
                      </a:lnTo>
                      <a:lnTo>
                        <a:pt x="897218" y="533609"/>
                      </a:lnTo>
                      <a:lnTo>
                        <a:pt x="900387" y="535042"/>
                      </a:lnTo>
                      <a:lnTo>
                        <a:pt x="903702" y="534459"/>
                      </a:lnTo>
                      <a:lnTo>
                        <a:pt x="906701" y="532480"/>
                      </a:lnTo>
                      <a:lnTo>
                        <a:pt x="911522" y="527659"/>
                      </a:lnTo>
                      <a:lnTo>
                        <a:pt x="914387" y="524126"/>
                      </a:lnTo>
                      <a:lnTo>
                        <a:pt x="916804" y="519329"/>
                      </a:lnTo>
                      <a:lnTo>
                        <a:pt x="918577" y="513792"/>
                      </a:lnTo>
                      <a:lnTo>
                        <a:pt x="920993" y="509372"/>
                      </a:lnTo>
                      <a:lnTo>
                        <a:pt x="927320" y="503592"/>
                      </a:lnTo>
                      <a:lnTo>
                        <a:pt x="929384" y="501795"/>
                      </a:lnTo>
                      <a:lnTo>
                        <a:pt x="930938" y="500180"/>
                      </a:lnTo>
                      <a:lnTo>
                        <a:pt x="932711" y="497630"/>
                      </a:lnTo>
                      <a:lnTo>
                        <a:pt x="934205" y="494218"/>
                      </a:lnTo>
                      <a:lnTo>
                        <a:pt x="935358" y="490732"/>
                      </a:lnTo>
                      <a:lnTo>
                        <a:pt x="935298" y="485280"/>
                      </a:lnTo>
                      <a:lnTo>
                        <a:pt x="931849" y="483362"/>
                      </a:lnTo>
                      <a:lnTo>
                        <a:pt x="927890" y="482730"/>
                      </a:lnTo>
                      <a:lnTo>
                        <a:pt x="925935" y="482645"/>
                      </a:lnTo>
                      <a:lnTo>
                        <a:pt x="924442" y="482147"/>
                      </a:lnTo>
                      <a:lnTo>
                        <a:pt x="923641" y="481431"/>
                      </a:lnTo>
                      <a:lnTo>
                        <a:pt x="923288" y="479852"/>
                      </a:lnTo>
                      <a:lnTo>
                        <a:pt x="923179" y="479160"/>
                      </a:lnTo>
                      <a:lnTo>
                        <a:pt x="923179" y="478675"/>
                      </a:lnTo>
                      <a:lnTo>
                        <a:pt x="923179" y="478250"/>
                      </a:lnTo>
                      <a:lnTo>
                        <a:pt x="923410" y="477181"/>
                      </a:lnTo>
                      <a:lnTo>
                        <a:pt x="924661" y="474145"/>
                      </a:lnTo>
                      <a:lnTo>
                        <a:pt x="924782" y="472166"/>
                      </a:lnTo>
                      <a:lnTo>
                        <a:pt x="923058" y="469324"/>
                      </a:lnTo>
                      <a:lnTo>
                        <a:pt x="919390" y="464613"/>
                      </a:lnTo>
                      <a:lnTo>
                        <a:pt x="918298" y="462318"/>
                      </a:lnTo>
                      <a:lnTo>
                        <a:pt x="917545" y="459161"/>
                      </a:lnTo>
                      <a:lnTo>
                        <a:pt x="916634" y="456259"/>
                      </a:lnTo>
                      <a:lnTo>
                        <a:pt x="915201" y="453757"/>
                      </a:lnTo>
                      <a:lnTo>
                        <a:pt x="912433" y="451207"/>
                      </a:lnTo>
                      <a:lnTo>
                        <a:pt x="909737" y="449993"/>
                      </a:lnTo>
                      <a:lnTo>
                        <a:pt x="906920" y="449507"/>
                      </a:lnTo>
                      <a:lnTo>
                        <a:pt x="904515" y="449677"/>
                      </a:lnTo>
                      <a:lnTo>
                        <a:pt x="900265" y="450515"/>
                      </a:lnTo>
                      <a:lnTo>
                        <a:pt x="894752" y="452470"/>
                      </a:lnTo>
                      <a:lnTo>
                        <a:pt x="892518" y="452956"/>
                      </a:lnTo>
                      <a:lnTo>
                        <a:pt x="890612" y="452725"/>
                      </a:lnTo>
                      <a:lnTo>
                        <a:pt x="889300" y="451827"/>
                      </a:lnTo>
                      <a:lnTo>
                        <a:pt x="888147" y="450224"/>
                      </a:lnTo>
                      <a:lnTo>
                        <a:pt x="886775" y="447649"/>
                      </a:lnTo>
                      <a:lnTo>
                        <a:pt x="885912" y="445209"/>
                      </a:lnTo>
                      <a:lnTo>
                        <a:pt x="885973" y="441930"/>
                      </a:lnTo>
                      <a:lnTo>
                        <a:pt x="886775" y="440242"/>
                      </a:lnTo>
                      <a:lnTo>
                        <a:pt x="888960" y="437340"/>
                      </a:lnTo>
                      <a:lnTo>
                        <a:pt x="889531" y="435810"/>
                      </a:lnTo>
                      <a:lnTo>
                        <a:pt x="889871" y="433867"/>
                      </a:lnTo>
                      <a:lnTo>
                        <a:pt x="889822" y="431451"/>
                      </a:lnTo>
                      <a:lnTo>
                        <a:pt x="889021" y="425282"/>
                      </a:lnTo>
                      <a:lnTo>
                        <a:pt x="889130" y="416066"/>
                      </a:lnTo>
                      <a:lnTo>
                        <a:pt x="888657" y="412933"/>
                      </a:lnTo>
                      <a:lnTo>
                        <a:pt x="887515" y="409314"/>
                      </a:lnTo>
                      <a:lnTo>
                        <a:pt x="884941" y="404311"/>
                      </a:lnTo>
                      <a:lnTo>
                        <a:pt x="882634" y="401360"/>
                      </a:lnTo>
                      <a:lnTo>
                        <a:pt x="875397" y="394245"/>
                      </a:lnTo>
                      <a:lnTo>
                        <a:pt x="873502" y="390966"/>
                      </a:lnTo>
                      <a:lnTo>
                        <a:pt x="871899" y="386291"/>
                      </a:lnTo>
                      <a:lnTo>
                        <a:pt x="867989" y="366219"/>
                      </a:lnTo>
                      <a:lnTo>
                        <a:pt x="867710" y="357403"/>
                      </a:lnTo>
                      <a:lnTo>
                        <a:pt x="866156" y="351915"/>
                      </a:lnTo>
                      <a:lnTo>
                        <a:pt x="859441" y="336760"/>
                      </a:lnTo>
                      <a:lnTo>
                        <a:pt x="857194" y="333979"/>
                      </a:lnTo>
                      <a:lnTo>
                        <a:pt x="854729" y="331648"/>
                      </a:lnTo>
                      <a:lnTo>
                        <a:pt x="851001" y="328782"/>
                      </a:lnTo>
                      <a:lnTo>
                        <a:pt x="849617" y="327495"/>
                      </a:lnTo>
                      <a:lnTo>
                        <a:pt x="848536" y="325965"/>
                      </a:lnTo>
                      <a:lnTo>
                        <a:pt x="848123" y="324532"/>
                      </a:lnTo>
                      <a:lnTo>
                        <a:pt x="848063" y="322978"/>
                      </a:lnTo>
                      <a:lnTo>
                        <a:pt x="848536" y="321339"/>
                      </a:lnTo>
                      <a:lnTo>
                        <a:pt x="849399" y="319444"/>
                      </a:lnTo>
                      <a:lnTo>
                        <a:pt x="851281" y="316068"/>
                      </a:lnTo>
                      <a:lnTo>
                        <a:pt x="855883" y="309693"/>
                      </a:lnTo>
                      <a:lnTo>
                        <a:pt x="857255" y="308309"/>
                      </a:lnTo>
                      <a:lnTo>
                        <a:pt x="859781" y="306330"/>
                      </a:lnTo>
                      <a:lnTo>
                        <a:pt x="860473" y="305213"/>
                      </a:lnTo>
                      <a:lnTo>
                        <a:pt x="860655" y="304181"/>
                      </a:lnTo>
                      <a:lnTo>
                        <a:pt x="860351" y="302821"/>
                      </a:lnTo>
                      <a:lnTo>
                        <a:pt x="859963" y="301703"/>
                      </a:lnTo>
                      <a:lnTo>
                        <a:pt x="859781" y="300416"/>
                      </a:lnTo>
                      <a:lnTo>
                        <a:pt x="860194" y="299008"/>
                      </a:lnTo>
                      <a:lnTo>
                        <a:pt x="860983" y="297866"/>
                      </a:lnTo>
                      <a:lnTo>
                        <a:pt x="862197" y="297053"/>
                      </a:lnTo>
                      <a:lnTo>
                        <a:pt x="863800" y="296397"/>
                      </a:lnTo>
                      <a:lnTo>
                        <a:pt x="866508" y="296142"/>
                      </a:lnTo>
                      <a:lnTo>
                        <a:pt x="870236" y="296105"/>
                      </a:lnTo>
                      <a:lnTo>
                        <a:pt x="874146" y="297308"/>
                      </a:lnTo>
                      <a:lnTo>
                        <a:pt x="875749" y="298024"/>
                      </a:lnTo>
                      <a:lnTo>
                        <a:pt x="876490" y="298898"/>
                      </a:lnTo>
                      <a:lnTo>
                        <a:pt x="877461" y="301473"/>
                      </a:lnTo>
                      <a:lnTo>
                        <a:pt x="878444" y="302711"/>
                      </a:lnTo>
                      <a:lnTo>
                        <a:pt x="881444" y="304569"/>
                      </a:lnTo>
                      <a:lnTo>
                        <a:pt x="882865" y="305868"/>
                      </a:lnTo>
                      <a:lnTo>
                        <a:pt x="885159" y="308504"/>
                      </a:lnTo>
                      <a:lnTo>
                        <a:pt x="886653" y="309657"/>
                      </a:lnTo>
                      <a:lnTo>
                        <a:pt x="888268" y="309912"/>
                      </a:lnTo>
                      <a:lnTo>
                        <a:pt x="889871" y="308856"/>
                      </a:lnTo>
                      <a:lnTo>
                        <a:pt x="890272" y="307253"/>
                      </a:lnTo>
                      <a:lnTo>
                        <a:pt x="890102" y="305553"/>
                      </a:lnTo>
                      <a:lnTo>
                        <a:pt x="889130" y="303051"/>
                      </a:lnTo>
                      <a:lnTo>
                        <a:pt x="888778" y="301618"/>
                      </a:lnTo>
                      <a:lnTo>
                        <a:pt x="889021" y="300003"/>
                      </a:lnTo>
                      <a:lnTo>
                        <a:pt x="889701" y="298668"/>
                      </a:lnTo>
                      <a:lnTo>
                        <a:pt x="891644" y="295851"/>
                      </a:lnTo>
                      <a:lnTo>
                        <a:pt x="892227" y="293980"/>
                      </a:lnTo>
                      <a:lnTo>
                        <a:pt x="892057" y="292463"/>
                      </a:lnTo>
                      <a:lnTo>
                        <a:pt x="891583" y="291345"/>
                      </a:lnTo>
                      <a:lnTo>
                        <a:pt x="887977" y="288091"/>
                      </a:lnTo>
                      <a:lnTo>
                        <a:pt x="887345" y="286865"/>
                      </a:lnTo>
                      <a:lnTo>
                        <a:pt x="887637" y="282323"/>
                      </a:lnTo>
                      <a:lnTo>
                        <a:pt x="888147" y="280320"/>
                      </a:lnTo>
                      <a:lnTo>
                        <a:pt x="889531" y="278790"/>
                      </a:lnTo>
                      <a:lnTo>
                        <a:pt x="891365" y="277879"/>
                      </a:lnTo>
                      <a:lnTo>
                        <a:pt x="893380" y="277527"/>
                      </a:lnTo>
                      <a:lnTo>
                        <a:pt x="894922" y="277017"/>
                      </a:lnTo>
                      <a:lnTo>
                        <a:pt x="898432" y="274406"/>
                      </a:lnTo>
                      <a:lnTo>
                        <a:pt x="900435" y="277272"/>
                      </a:lnTo>
                      <a:lnTo>
                        <a:pt x="901018" y="278425"/>
                      </a:lnTo>
                      <a:lnTo>
                        <a:pt x="901298" y="279251"/>
                      </a:lnTo>
                      <a:lnTo>
                        <a:pt x="901929" y="283683"/>
                      </a:lnTo>
                      <a:lnTo>
                        <a:pt x="901698" y="291431"/>
                      </a:lnTo>
                      <a:lnTo>
                        <a:pt x="901990" y="293835"/>
                      </a:lnTo>
                      <a:lnTo>
                        <a:pt x="903082" y="295073"/>
                      </a:lnTo>
                      <a:lnTo>
                        <a:pt x="905038" y="295753"/>
                      </a:lnTo>
                      <a:lnTo>
                        <a:pt x="908535" y="295268"/>
                      </a:lnTo>
                      <a:lnTo>
                        <a:pt x="910538" y="294017"/>
                      </a:lnTo>
                      <a:lnTo>
                        <a:pt x="911801" y="292402"/>
                      </a:lnTo>
                      <a:lnTo>
                        <a:pt x="912093" y="290253"/>
                      </a:lnTo>
                      <a:lnTo>
                        <a:pt x="911583" y="282967"/>
                      </a:lnTo>
                      <a:lnTo>
                        <a:pt x="911692" y="281000"/>
                      </a:lnTo>
                      <a:lnTo>
                        <a:pt x="911862" y="279737"/>
                      </a:lnTo>
                      <a:lnTo>
                        <a:pt x="912214" y="278790"/>
                      </a:lnTo>
                      <a:lnTo>
                        <a:pt x="913404" y="276179"/>
                      </a:lnTo>
                      <a:lnTo>
                        <a:pt x="914898" y="274200"/>
                      </a:lnTo>
                      <a:lnTo>
                        <a:pt x="916755" y="272415"/>
                      </a:lnTo>
                      <a:lnTo>
                        <a:pt x="918917" y="271589"/>
                      </a:lnTo>
                      <a:lnTo>
                        <a:pt x="920823" y="271965"/>
                      </a:lnTo>
                      <a:lnTo>
                        <a:pt x="923058" y="274151"/>
                      </a:lnTo>
                      <a:lnTo>
                        <a:pt x="923810" y="276325"/>
                      </a:lnTo>
                      <a:lnTo>
                        <a:pt x="924211" y="278280"/>
                      </a:lnTo>
                      <a:lnTo>
                        <a:pt x="924211" y="282129"/>
                      </a:lnTo>
                      <a:lnTo>
                        <a:pt x="923871" y="284400"/>
                      </a:lnTo>
                      <a:lnTo>
                        <a:pt x="923058" y="286634"/>
                      </a:lnTo>
                      <a:lnTo>
                        <a:pt x="922208" y="288322"/>
                      </a:lnTo>
                      <a:lnTo>
                        <a:pt x="921746" y="289876"/>
                      </a:lnTo>
                      <a:lnTo>
                        <a:pt x="922317" y="290933"/>
                      </a:lnTo>
                      <a:lnTo>
                        <a:pt x="923750" y="291600"/>
                      </a:lnTo>
                      <a:lnTo>
                        <a:pt x="925984" y="291431"/>
                      </a:lnTo>
                      <a:lnTo>
                        <a:pt x="928000" y="290836"/>
                      </a:lnTo>
                      <a:lnTo>
                        <a:pt x="929663" y="290593"/>
                      </a:lnTo>
                      <a:lnTo>
                        <a:pt x="930574" y="290738"/>
                      </a:lnTo>
                      <a:lnTo>
                        <a:pt x="931509" y="291649"/>
                      </a:lnTo>
                      <a:lnTo>
                        <a:pt x="931849" y="292548"/>
                      </a:lnTo>
                      <a:lnTo>
                        <a:pt x="931849" y="293896"/>
                      </a:lnTo>
                      <a:lnTo>
                        <a:pt x="931388" y="299676"/>
                      </a:lnTo>
                      <a:lnTo>
                        <a:pt x="930878" y="302080"/>
                      </a:lnTo>
                      <a:lnTo>
                        <a:pt x="927478" y="307763"/>
                      </a:lnTo>
                      <a:lnTo>
                        <a:pt x="927016" y="309912"/>
                      </a:lnTo>
                      <a:lnTo>
                        <a:pt x="927016" y="311758"/>
                      </a:lnTo>
                      <a:lnTo>
                        <a:pt x="927587" y="314830"/>
                      </a:lnTo>
                      <a:lnTo>
                        <a:pt x="927648" y="316639"/>
                      </a:lnTo>
                      <a:lnTo>
                        <a:pt x="927259" y="318388"/>
                      </a:lnTo>
                      <a:lnTo>
                        <a:pt x="926045" y="319991"/>
                      </a:lnTo>
                      <a:lnTo>
                        <a:pt x="924952" y="320913"/>
                      </a:lnTo>
                      <a:lnTo>
                        <a:pt x="920471" y="323816"/>
                      </a:lnTo>
                      <a:lnTo>
                        <a:pt x="917787" y="326087"/>
                      </a:lnTo>
                      <a:lnTo>
                        <a:pt x="915942" y="328758"/>
                      </a:lnTo>
                      <a:lnTo>
                        <a:pt x="914570" y="331648"/>
                      </a:lnTo>
                      <a:lnTo>
                        <a:pt x="913707" y="334975"/>
                      </a:lnTo>
                      <a:lnTo>
                        <a:pt x="913465" y="337829"/>
                      </a:lnTo>
                      <a:lnTo>
                        <a:pt x="913817" y="340864"/>
                      </a:lnTo>
                      <a:lnTo>
                        <a:pt x="914958" y="343075"/>
                      </a:lnTo>
                      <a:lnTo>
                        <a:pt x="916755" y="344228"/>
                      </a:lnTo>
                      <a:lnTo>
                        <a:pt x="918917" y="344107"/>
                      </a:lnTo>
                      <a:lnTo>
                        <a:pt x="922026" y="341897"/>
                      </a:lnTo>
                      <a:lnTo>
                        <a:pt x="923750" y="339941"/>
                      </a:lnTo>
                      <a:lnTo>
                        <a:pt x="926275" y="336444"/>
                      </a:lnTo>
                      <a:lnTo>
                        <a:pt x="927708" y="335267"/>
                      </a:lnTo>
                      <a:lnTo>
                        <a:pt x="929542" y="334380"/>
                      </a:lnTo>
                      <a:lnTo>
                        <a:pt x="932128" y="334040"/>
                      </a:lnTo>
                      <a:lnTo>
                        <a:pt x="934314" y="333542"/>
                      </a:lnTo>
                      <a:lnTo>
                        <a:pt x="936269" y="331709"/>
                      </a:lnTo>
                      <a:lnTo>
                        <a:pt x="936718" y="329693"/>
                      </a:lnTo>
                      <a:lnTo>
                        <a:pt x="936840" y="327519"/>
                      </a:lnTo>
                      <a:lnTo>
                        <a:pt x="936670" y="325504"/>
                      </a:lnTo>
                      <a:lnTo>
                        <a:pt x="936840" y="323961"/>
                      </a:lnTo>
                      <a:lnTo>
                        <a:pt x="937641" y="323039"/>
                      </a:lnTo>
                      <a:lnTo>
                        <a:pt x="939086" y="322674"/>
                      </a:lnTo>
                      <a:lnTo>
                        <a:pt x="942073" y="322954"/>
                      </a:lnTo>
                      <a:lnTo>
                        <a:pt x="943385" y="323731"/>
                      </a:lnTo>
                      <a:lnTo>
                        <a:pt x="944247" y="324387"/>
                      </a:lnTo>
                      <a:lnTo>
                        <a:pt x="944709" y="324933"/>
                      </a:lnTo>
                      <a:lnTo>
                        <a:pt x="945401" y="325649"/>
                      </a:lnTo>
                      <a:lnTo>
                        <a:pt x="947526" y="326621"/>
                      </a:lnTo>
                      <a:lnTo>
                        <a:pt x="947975" y="327119"/>
                      </a:lnTo>
                      <a:lnTo>
                        <a:pt x="948266" y="327799"/>
                      </a:lnTo>
                      <a:lnTo>
                        <a:pt x="947647" y="329086"/>
                      </a:lnTo>
                      <a:lnTo>
                        <a:pt x="942693" y="334004"/>
                      </a:lnTo>
                      <a:lnTo>
                        <a:pt x="941503" y="336384"/>
                      </a:lnTo>
                      <a:lnTo>
                        <a:pt x="940920" y="338606"/>
                      </a:lnTo>
                      <a:lnTo>
                        <a:pt x="940981" y="340864"/>
                      </a:lnTo>
                      <a:lnTo>
                        <a:pt x="941661" y="342358"/>
                      </a:lnTo>
                      <a:lnTo>
                        <a:pt x="942583" y="343512"/>
                      </a:lnTo>
                      <a:lnTo>
                        <a:pt x="943846" y="344252"/>
                      </a:lnTo>
                      <a:lnTo>
                        <a:pt x="945911" y="343912"/>
                      </a:lnTo>
                      <a:lnTo>
                        <a:pt x="949019" y="342941"/>
                      </a:lnTo>
                      <a:lnTo>
                        <a:pt x="955224" y="340148"/>
                      </a:lnTo>
                      <a:lnTo>
                        <a:pt x="958211" y="339832"/>
                      </a:lnTo>
                      <a:lnTo>
                        <a:pt x="959814" y="340172"/>
                      </a:lnTo>
                      <a:lnTo>
                        <a:pt x="960337" y="341981"/>
                      </a:lnTo>
                      <a:lnTo>
                        <a:pt x="961077" y="348417"/>
                      </a:lnTo>
                      <a:lnTo>
                        <a:pt x="961709" y="349595"/>
                      </a:lnTo>
                      <a:lnTo>
                        <a:pt x="962959" y="350397"/>
                      </a:lnTo>
                      <a:lnTo>
                        <a:pt x="964453" y="350117"/>
                      </a:lnTo>
                      <a:lnTo>
                        <a:pt x="966129" y="349024"/>
                      </a:lnTo>
                      <a:lnTo>
                        <a:pt x="967962" y="345952"/>
                      </a:lnTo>
                      <a:lnTo>
                        <a:pt x="969407" y="344252"/>
                      </a:lnTo>
                      <a:lnTo>
                        <a:pt x="971520" y="342844"/>
                      </a:lnTo>
                      <a:lnTo>
                        <a:pt x="973584" y="342735"/>
                      </a:lnTo>
                      <a:lnTo>
                        <a:pt x="975369" y="343111"/>
                      </a:lnTo>
                      <a:lnTo>
                        <a:pt x="978757" y="344604"/>
                      </a:lnTo>
                      <a:lnTo>
                        <a:pt x="980372" y="344277"/>
                      </a:lnTo>
                      <a:lnTo>
                        <a:pt x="981805" y="344143"/>
                      </a:lnTo>
                      <a:lnTo>
                        <a:pt x="983347" y="344167"/>
                      </a:lnTo>
                      <a:lnTo>
                        <a:pt x="985424" y="344714"/>
                      </a:lnTo>
                      <a:lnTo>
                        <a:pt x="989783" y="346353"/>
                      </a:lnTo>
                      <a:lnTo>
                        <a:pt x="991787" y="346317"/>
                      </a:lnTo>
                      <a:lnTo>
                        <a:pt x="993122" y="345369"/>
                      </a:lnTo>
                      <a:lnTo>
                        <a:pt x="993863" y="343682"/>
                      </a:lnTo>
                      <a:lnTo>
                        <a:pt x="993863" y="341435"/>
                      </a:lnTo>
                      <a:lnTo>
                        <a:pt x="993244" y="338084"/>
                      </a:lnTo>
                      <a:lnTo>
                        <a:pt x="988702" y="324241"/>
                      </a:lnTo>
                      <a:lnTo>
                        <a:pt x="988459" y="321776"/>
                      </a:lnTo>
                      <a:lnTo>
                        <a:pt x="988520" y="320015"/>
                      </a:lnTo>
                      <a:lnTo>
                        <a:pt x="988921" y="317404"/>
                      </a:lnTo>
                      <a:lnTo>
                        <a:pt x="991107" y="312389"/>
                      </a:lnTo>
                      <a:lnTo>
                        <a:pt x="996110" y="306293"/>
                      </a:lnTo>
                      <a:lnTo>
                        <a:pt x="997822" y="306293"/>
                      </a:lnTo>
                      <a:lnTo>
                        <a:pt x="998915" y="306767"/>
                      </a:lnTo>
                      <a:lnTo>
                        <a:pt x="1000068" y="308042"/>
                      </a:lnTo>
                      <a:lnTo>
                        <a:pt x="1000299" y="309256"/>
                      </a:lnTo>
                      <a:lnTo>
                        <a:pt x="999728" y="311333"/>
                      </a:lnTo>
                      <a:lnTo>
                        <a:pt x="995065" y="318643"/>
                      </a:lnTo>
                      <a:lnTo>
                        <a:pt x="994264" y="320537"/>
                      </a:lnTo>
                      <a:lnTo>
                        <a:pt x="993924" y="321715"/>
                      </a:lnTo>
                      <a:lnTo>
                        <a:pt x="993693" y="323294"/>
                      </a:lnTo>
                      <a:lnTo>
                        <a:pt x="993863" y="325249"/>
                      </a:lnTo>
                      <a:lnTo>
                        <a:pt x="994616" y="327313"/>
                      </a:lnTo>
                      <a:lnTo>
                        <a:pt x="996279" y="329499"/>
                      </a:lnTo>
                      <a:lnTo>
                        <a:pt x="997591" y="330446"/>
                      </a:lnTo>
                      <a:lnTo>
                        <a:pt x="998915" y="330701"/>
                      </a:lnTo>
                      <a:lnTo>
                        <a:pt x="1000117" y="330300"/>
                      </a:lnTo>
                      <a:lnTo>
                        <a:pt x="1000979" y="329608"/>
                      </a:lnTo>
                      <a:lnTo>
                        <a:pt x="1001732" y="328527"/>
                      </a:lnTo>
                      <a:lnTo>
                        <a:pt x="1002363" y="327289"/>
                      </a:lnTo>
                      <a:lnTo>
                        <a:pt x="1003225" y="325904"/>
                      </a:lnTo>
                      <a:lnTo>
                        <a:pt x="1004658" y="324496"/>
                      </a:lnTo>
                      <a:lnTo>
                        <a:pt x="1006674" y="323464"/>
                      </a:lnTo>
                      <a:lnTo>
                        <a:pt x="1008738" y="323002"/>
                      </a:lnTo>
                      <a:lnTo>
                        <a:pt x="1010511" y="323269"/>
                      </a:lnTo>
                      <a:lnTo>
                        <a:pt x="1012357" y="324107"/>
                      </a:lnTo>
                      <a:lnTo>
                        <a:pt x="1013960" y="324241"/>
                      </a:lnTo>
                      <a:lnTo>
                        <a:pt x="1015283" y="323646"/>
                      </a:lnTo>
                      <a:lnTo>
                        <a:pt x="1018610" y="320428"/>
                      </a:lnTo>
                      <a:lnTo>
                        <a:pt x="1020055" y="319335"/>
                      </a:lnTo>
                      <a:lnTo>
                        <a:pt x="1021488" y="318764"/>
                      </a:lnTo>
                      <a:lnTo>
                        <a:pt x="1022229" y="319736"/>
                      </a:lnTo>
                      <a:lnTo>
                        <a:pt x="1021828" y="321958"/>
                      </a:lnTo>
                      <a:lnTo>
                        <a:pt x="1019011" y="327774"/>
                      </a:lnTo>
                      <a:lnTo>
                        <a:pt x="1012575" y="336238"/>
                      </a:lnTo>
                      <a:lnTo>
                        <a:pt x="1010232" y="341617"/>
                      </a:lnTo>
                      <a:lnTo>
                        <a:pt x="1008495" y="344204"/>
                      </a:lnTo>
                      <a:lnTo>
                        <a:pt x="1003905" y="348332"/>
                      </a:lnTo>
                      <a:lnTo>
                        <a:pt x="1002934" y="349704"/>
                      </a:lnTo>
                      <a:lnTo>
                        <a:pt x="1002363" y="351489"/>
                      </a:lnTo>
                      <a:lnTo>
                        <a:pt x="1001853" y="353736"/>
                      </a:lnTo>
                      <a:lnTo>
                        <a:pt x="1001440" y="356772"/>
                      </a:lnTo>
                      <a:lnTo>
                        <a:pt x="1001440" y="359297"/>
                      </a:lnTo>
                      <a:lnTo>
                        <a:pt x="1001732" y="361374"/>
                      </a:lnTo>
                      <a:lnTo>
                        <a:pt x="1002642" y="362940"/>
                      </a:lnTo>
                      <a:lnTo>
                        <a:pt x="1004488" y="364118"/>
                      </a:lnTo>
                      <a:lnTo>
                        <a:pt x="1006431" y="364932"/>
                      </a:lnTo>
                      <a:lnTo>
                        <a:pt x="1012867" y="364325"/>
                      </a:lnTo>
                      <a:lnTo>
                        <a:pt x="1013668" y="362054"/>
                      </a:lnTo>
                      <a:lnTo>
                        <a:pt x="1013607" y="359273"/>
                      </a:lnTo>
                      <a:lnTo>
                        <a:pt x="1013146" y="356371"/>
                      </a:lnTo>
                      <a:lnTo>
                        <a:pt x="1012988" y="353020"/>
                      </a:lnTo>
                      <a:lnTo>
                        <a:pt x="1013207" y="351805"/>
                      </a:lnTo>
                      <a:lnTo>
                        <a:pt x="1014190" y="350919"/>
                      </a:lnTo>
                      <a:lnTo>
                        <a:pt x="1015975" y="350263"/>
                      </a:lnTo>
                      <a:lnTo>
                        <a:pt x="1019424" y="350166"/>
                      </a:lnTo>
                      <a:lnTo>
                        <a:pt x="1021549" y="350858"/>
                      </a:lnTo>
                      <a:lnTo>
                        <a:pt x="1022921" y="351890"/>
                      </a:lnTo>
                      <a:lnTo>
                        <a:pt x="1023431" y="353129"/>
                      </a:lnTo>
                      <a:lnTo>
                        <a:pt x="1023662" y="354282"/>
                      </a:lnTo>
                      <a:lnTo>
                        <a:pt x="1023893" y="355715"/>
                      </a:lnTo>
                      <a:lnTo>
                        <a:pt x="1024354" y="356942"/>
                      </a:lnTo>
                      <a:lnTo>
                        <a:pt x="1025386" y="357986"/>
                      </a:lnTo>
                      <a:lnTo>
                        <a:pt x="1027159" y="358411"/>
                      </a:lnTo>
                      <a:lnTo>
                        <a:pt x="1029284" y="358071"/>
                      </a:lnTo>
                      <a:lnTo>
                        <a:pt x="1031992" y="356371"/>
                      </a:lnTo>
                      <a:lnTo>
                        <a:pt x="1033303" y="355132"/>
                      </a:lnTo>
                      <a:lnTo>
                        <a:pt x="1034238" y="353675"/>
                      </a:lnTo>
                      <a:lnTo>
                        <a:pt x="1037323" y="347507"/>
                      </a:lnTo>
                      <a:lnTo>
                        <a:pt x="1038998" y="345430"/>
                      </a:lnTo>
                      <a:lnTo>
                        <a:pt x="1040941" y="343888"/>
                      </a:lnTo>
                      <a:lnTo>
                        <a:pt x="1043188" y="343366"/>
                      </a:lnTo>
                      <a:lnTo>
                        <a:pt x="1044390" y="343305"/>
                      </a:lnTo>
                      <a:lnTo>
                        <a:pt x="1045543" y="343512"/>
                      </a:lnTo>
                      <a:lnTo>
                        <a:pt x="1047790" y="344252"/>
                      </a:lnTo>
                      <a:lnTo>
                        <a:pt x="1055124" y="347701"/>
                      </a:lnTo>
                      <a:lnTo>
                        <a:pt x="1060989" y="349340"/>
                      </a:lnTo>
                      <a:lnTo>
                        <a:pt x="1063345" y="349571"/>
                      </a:lnTo>
                      <a:lnTo>
                        <a:pt x="1077528" y="348709"/>
                      </a:lnTo>
                      <a:lnTo>
                        <a:pt x="1082349" y="347786"/>
                      </a:lnTo>
                      <a:lnTo>
                        <a:pt x="1083320" y="347932"/>
                      </a:lnTo>
                      <a:lnTo>
                        <a:pt x="1084413" y="348478"/>
                      </a:lnTo>
                      <a:lnTo>
                        <a:pt x="1085506" y="349401"/>
                      </a:lnTo>
                      <a:lnTo>
                        <a:pt x="1087862" y="352412"/>
                      </a:lnTo>
                      <a:lnTo>
                        <a:pt x="1089707" y="352789"/>
                      </a:lnTo>
                      <a:lnTo>
                        <a:pt x="1092112" y="352182"/>
                      </a:lnTo>
                      <a:lnTo>
                        <a:pt x="1096641" y="349741"/>
                      </a:lnTo>
                      <a:lnTo>
                        <a:pt x="1098948" y="348988"/>
                      </a:lnTo>
                      <a:lnTo>
                        <a:pt x="1101304" y="348527"/>
                      </a:lnTo>
                      <a:lnTo>
                        <a:pt x="1101996" y="348017"/>
                      </a:lnTo>
                      <a:lnTo>
                        <a:pt x="1102397" y="346414"/>
                      </a:lnTo>
                      <a:lnTo>
                        <a:pt x="1102093" y="345054"/>
                      </a:lnTo>
                      <a:lnTo>
                        <a:pt x="1101474" y="343718"/>
                      </a:lnTo>
                      <a:lnTo>
                        <a:pt x="1098365" y="340172"/>
                      </a:lnTo>
                      <a:lnTo>
                        <a:pt x="1097224" y="338569"/>
                      </a:lnTo>
                      <a:lnTo>
                        <a:pt x="1096362" y="336954"/>
                      </a:lnTo>
                      <a:lnTo>
                        <a:pt x="1095961" y="335643"/>
                      </a:lnTo>
                      <a:lnTo>
                        <a:pt x="1095730" y="334465"/>
                      </a:lnTo>
                      <a:lnTo>
                        <a:pt x="1095730" y="333433"/>
                      </a:lnTo>
                      <a:lnTo>
                        <a:pt x="1095912" y="332340"/>
                      </a:lnTo>
                      <a:lnTo>
                        <a:pt x="1096981" y="331053"/>
                      </a:lnTo>
                      <a:lnTo>
                        <a:pt x="1099167" y="329644"/>
                      </a:lnTo>
                      <a:lnTo>
                        <a:pt x="1103708" y="328272"/>
                      </a:lnTo>
                      <a:lnTo>
                        <a:pt x="1108359" y="328029"/>
                      </a:lnTo>
                      <a:lnTo>
                        <a:pt x="1111067" y="327228"/>
                      </a:lnTo>
                      <a:lnTo>
                        <a:pt x="1114685" y="325103"/>
                      </a:lnTo>
                      <a:lnTo>
                        <a:pt x="1121850" y="319772"/>
                      </a:lnTo>
                      <a:lnTo>
                        <a:pt x="1126743" y="315170"/>
                      </a:lnTo>
                      <a:lnTo>
                        <a:pt x="1129779" y="313021"/>
                      </a:lnTo>
                      <a:lnTo>
                        <a:pt x="1143209" y="306876"/>
                      </a:lnTo>
                      <a:lnTo>
                        <a:pt x="1147629" y="308977"/>
                      </a:lnTo>
                      <a:lnTo>
                        <a:pt x="1148783" y="309281"/>
                      </a:lnTo>
                      <a:lnTo>
                        <a:pt x="1149645" y="309256"/>
                      </a:lnTo>
                      <a:lnTo>
                        <a:pt x="1150276" y="309026"/>
                      </a:lnTo>
                      <a:lnTo>
                        <a:pt x="1158376" y="303136"/>
                      </a:lnTo>
                      <a:lnTo>
                        <a:pt x="1159748" y="301764"/>
                      </a:lnTo>
                      <a:lnTo>
                        <a:pt x="1160841" y="300356"/>
                      </a:lnTo>
                      <a:lnTo>
                        <a:pt x="1162055" y="297538"/>
                      </a:lnTo>
                      <a:lnTo>
                        <a:pt x="1162747" y="296531"/>
                      </a:lnTo>
                      <a:lnTo>
                        <a:pt x="1164059" y="295936"/>
                      </a:lnTo>
                      <a:lnTo>
                        <a:pt x="1165491" y="296021"/>
                      </a:lnTo>
                      <a:lnTo>
                        <a:pt x="1168357" y="297283"/>
                      </a:lnTo>
                      <a:lnTo>
                        <a:pt x="1169693" y="297478"/>
                      </a:lnTo>
                      <a:lnTo>
                        <a:pt x="1171004" y="297283"/>
                      </a:lnTo>
                      <a:lnTo>
                        <a:pt x="1174453" y="296251"/>
                      </a:lnTo>
                      <a:lnTo>
                        <a:pt x="1177149" y="295753"/>
                      </a:lnTo>
                      <a:lnTo>
                        <a:pt x="1178642" y="295899"/>
                      </a:lnTo>
                      <a:lnTo>
                        <a:pt x="1180075" y="296312"/>
                      </a:lnTo>
                      <a:lnTo>
                        <a:pt x="1181350" y="298316"/>
                      </a:lnTo>
                      <a:lnTo>
                        <a:pt x="1184277" y="302274"/>
                      </a:lnTo>
                      <a:lnTo>
                        <a:pt x="1184908" y="303659"/>
                      </a:lnTo>
                      <a:lnTo>
                        <a:pt x="1185479" y="305468"/>
                      </a:lnTo>
                      <a:lnTo>
                        <a:pt x="1186401" y="311758"/>
                      </a:lnTo>
                      <a:lnTo>
                        <a:pt x="1186741" y="319481"/>
                      </a:lnTo>
                      <a:lnTo>
                        <a:pt x="1187312" y="321545"/>
                      </a:lnTo>
                      <a:lnTo>
                        <a:pt x="1188174" y="322747"/>
                      </a:lnTo>
                      <a:lnTo>
                        <a:pt x="1191101" y="323755"/>
                      </a:lnTo>
                      <a:lnTo>
                        <a:pt x="1193627" y="325273"/>
                      </a:lnTo>
                      <a:lnTo>
                        <a:pt x="1194380" y="325965"/>
                      </a:lnTo>
                      <a:lnTo>
                        <a:pt x="1195072" y="326827"/>
                      </a:lnTo>
                      <a:lnTo>
                        <a:pt x="1196675" y="329839"/>
                      </a:lnTo>
                      <a:lnTo>
                        <a:pt x="1197427" y="330361"/>
                      </a:lnTo>
                      <a:lnTo>
                        <a:pt x="1198217" y="330361"/>
                      </a:lnTo>
                      <a:lnTo>
                        <a:pt x="1199152" y="330021"/>
                      </a:lnTo>
                      <a:lnTo>
                        <a:pt x="1200062" y="329729"/>
                      </a:lnTo>
                      <a:lnTo>
                        <a:pt x="1200985" y="329863"/>
                      </a:lnTo>
                      <a:lnTo>
                        <a:pt x="1201835" y="330385"/>
                      </a:lnTo>
                      <a:lnTo>
                        <a:pt x="1202479" y="331199"/>
                      </a:lnTo>
                      <a:lnTo>
                        <a:pt x="1203049" y="332170"/>
                      </a:lnTo>
                      <a:lnTo>
                        <a:pt x="1203389" y="333287"/>
                      </a:lnTo>
                      <a:lnTo>
                        <a:pt x="1203790" y="336796"/>
                      </a:lnTo>
                      <a:lnTo>
                        <a:pt x="1204203" y="337889"/>
                      </a:lnTo>
                      <a:lnTo>
                        <a:pt x="1205757" y="340925"/>
                      </a:lnTo>
                      <a:lnTo>
                        <a:pt x="1206097" y="341981"/>
                      </a:lnTo>
                      <a:lnTo>
                        <a:pt x="1206097" y="343050"/>
                      </a:lnTo>
                      <a:lnTo>
                        <a:pt x="1205405" y="344022"/>
                      </a:lnTo>
                      <a:lnTo>
                        <a:pt x="1204434" y="344944"/>
                      </a:lnTo>
                      <a:lnTo>
                        <a:pt x="1202357" y="346037"/>
                      </a:lnTo>
                      <a:lnTo>
                        <a:pt x="1199309" y="347264"/>
                      </a:lnTo>
                      <a:lnTo>
                        <a:pt x="1196844" y="348794"/>
                      </a:lnTo>
                      <a:lnTo>
                        <a:pt x="1195691" y="349401"/>
                      </a:lnTo>
                      <a:lnTo>
                        <a:pt x="1194440" y="349826"/>
                      </a:lnTo>
                      <a:lnTo>
                        <a:pt x="1193408" y="350397"/>
                      </a:lnTo>
                      <a:lnTo>
                        <a:pt x="1192607" y="351259"/>
                      </a:lnTo>
                      <a:lnTo>
                        <a:pt x="1191732" y="352862"/>
                      </a:lnTo>
                      <a:lnTo>
                        <a:pt x="1190639" y="354331"/>
                      </a:lnTo>
                      <a:lnTo>
                        <a:pt x="1186912" y="358035"/>
                      </a:lnTo>
                      <a:lnTo>
                        <a:pt x="1185418" y="360160"/>
                      </a:lnTo>
                      <a:lnTo>
                        <a:pt x="1184034" y="361313"/>
                      </a:lnTo>
                      <a:lnTo>
                        <a:pt x="1181168" y="362175"/>
                      </a:lnTo>
                      <a:lnTo>
                        <a:pt x="1179796" y="362030"/>
                      </a:lnTo>
                      <a:lnTo>
                        <a:pt x="1178824" y="361762"/>
                      </a:lnTo>
                      <a:lnTo>
                        <a:pt x="1178302" y="361277"/>
                      </a:lnTo>
                      <a:lnTo>
                        <a:pt x="1177549" y="361447"/>
                      </a:lnTo>
                      <a:lnTo>
                        <a:pt x="1176979" y="362260"/>
                      </a:lnTo>
                      <a:lnTo>
                        <a:pt x="1176699" y="364701"/>
                      </a:lnTo>
                      <a:lnTo>
                        <a:pt x="1176699" y="366389"/>
                      </a:lnTo>
                      <a:lnTo>
                        <a:pt x="1177901" y="370930"/>
                      </a:lnTo>
                      <a:lnTo>
                        <a:pt x="1178885" y="372849"/>
                      </a:lnTo>
                      <a:lnTo>
                        <a:pt x="1180998" y="375885"/>
                      </a:lnTo>
                      <a:lnTo>
                        <a:pt x="1182661" y="376723"/>
                      </a:lnTo>
                      <a:lnTo>
                        <a:pt x="1184726" y="376868"/>
                      </a:lnTo>
                      <a:lnTo>
                        <a:pt x="1190190" y="374913"/>
                      </a:lnTo>
                      <a:lnTo>
                        <a:pt x="1192825" y="374488"/>
                      </a:lnTo>
                      <a:lnTo>
                        <a:pt x="1195752" y="375010"/>
                      </a:lnTo>
                      <a:lnTo>
                        <a:pt x="1197476" y="375557"/>
                      </a:lnTo>
                      <a:lnTo>
                        <a:pt x="1199091" y="376273"/>
                      </a:lnTo>
                      <a:lnTo>
                        <a:pt x="1200402" y="376723"/>
                      </a:lnTo>
                      <a:lnTo>
                        <a:pt x="1202017" y="376868"/>
                      </a:lnTo>
                      <a:lnTo>
                        <a:pt x="1203268" y="376468"/>
                      </a:lnTo>
                      <a:lnTo>
                        <a:pt x="1204021" y="375229"/>
                      </a:lnTo>
                      <a:lnTo>
                        <a:pt x="1204082" y="373663"/>
                      </a:lnTo>
                      <a:lnTo>
                        <a:pt x="1202819" y="368915"/>
                      </a:lnTo>
                      <a:lnTo>
                        <a:pt x="1202649" y="367712"/>
                      </a:lnTo>
                      <a:lnTo>
                        <a:pt x="1202709" y="366790"/>
                      </a:lnTo>
                      <a:lnTo>
                        <a:pt x="1203220" y="366389"/>
                      </a:lnTo>
                      <a:lnTo>
                        <a:pt x="1204482" y="366680"/>
                      </a:lnTo>
                      <a:lnTo>
                        <a:pt x="1207591" y="370032"/>
                      </a:lnTo>
                      <a:lnTo>
                        <a:pt x="1210748" y="374427"/>
                      </a:lnTo>
                      <a:lnTo>
                        <a:pt x="1211659" y="375399"/>
                      </a:lnTo>
                      <a:lnTo>
                        <a:pt x="1212861" y="376091"/>
                      </a:lnTo>
                      <a:lnTo>
                        <a:pt x="1214986" y="375885"/>
                      </a:lnTo>
                      <a:lnTo>
                        <a:pt x="1216601" y="375460"/>
                      </a:lnTo>
                      <a:lnTo>
                        <a:pt x="1223547" y="371015"/>
                      </a:lnTo>
                      <a:lnTo>
                        <a:pt x="1223316" y="369060"/>
                      </a:lnTo>
                      <a:lnTo>
                        <a:pt x="1222806" y="368490"/>
                      </a:lnTo>
                      <a:lnTo>
                        <a:pt x="1221531" y="367749"/>
                      </a:lnTo>
                      <a:lnTo>
                        <a:pt x="1216601" y="365612"/>
                      </a:lnTo>
                      <a:lnTo>
                        <a:pt x="1215107" y="364410"/>
                      </a:lnTo>
                      <a:lnTo>
                        <a:pt x="1214197" y="362892"/>
                      </a:lnTo>
                      <a:lnTo>
                        <a:pt x="1213675" y="360560"/>
                      </a:lnTo>
                      <a:lnTo>
                        <a:pt x="1213274" y="359419"/>
                      </a:lnTo>
                      <a:lnTo>
                        <a:pt x="1212764" y="357257"/>
                      </a:lnTo>
                      <a:lnTo>
                        <a:pt x="1212703" y="356395"/>
                      </a:lnTo>
                      <a:lnTo>
                        <a:pt x="1212922" y="355776"/>
                      </a:lnTo>
                      <a:lnTo>
                        <a:pt x="1213735" y="355594"/>
                      </a:lnTo>
                      <a:lnTo>
                        <a:pt x="1215508" y="355970"/>
                      </a:lnTo>
                      <a:lnTo>
                        <a:pt x="1218495" y="357403"/>
                      </a:lnTo>
                      <a:lnTo>
                        <a:pt x="1224579" y="358411"/>
                      </a:lnTo>
                      <a:lnTo>
                        <a:pt x="1226364" y="358350"/>
                      </a:lnTo>
                      <a:lnTo>
                        <a:pt x="1227967" y="358095"/>
                      </a:lnTo>
                      <a:lnTo>
                        <a:pt x="1229412" y="357658"/>
                      </a:lnTo>
                      <a:lnTo>
                        <a:pt x="1230383" y="356917"/>
                      </a:lnTo>
                      <a:lnTo>
                        <a:pt x="1230905" y="355679"/>
                      </a:lnTo>
                      <a:lnTo>
                        <a:pt x="1230784" y="353991"/>
                      </a:lnTo>
                      <a:lnTo>
                        <a:pt x="1230383" y="352182"/>
                      </a:lnTo>
                      <a:lnTo>
                        <a:pt x="1230262" y="350712"/>
                      </a:lnTo>
                      <a:lnTo>
                        <a:pt x="1230553" y="349704"/>
                      </a:lnTo>
                      <a:lnTo>
                        <a:pt x="1231695" y="348988"/>
                      </a:lnTo>
                      <a:lnTo>
                        <a:pt x="1232788" y="348672"/>
                      </a:lnTo>
                      <a:lnTo>
                        <a:pt x="1234463" y="348879"/>
                      </a:lnTo>
                      <a:lnTo>
                        <a:pt x="1235605" y="349595"/>
                      </a:lnTo>
                      <a:lnTo>
                        <a:pt x="1236868" y="351344"/>
                      </a:lnTo>
                      <a:lnTo>
                        <a:pt x="1238483" y="355339"/>
                      </a:lnTo>
                      <a:lnTo>
                        <a:pt x="1239393" y="357172"/>
                      </a:lnTo>
                      <a:lnTo>
                        <a:pt x="1240547" y="358897"/>
                      </a:lnTo>
                      <a:lnTo>
                        <a:pt x="1245246" y="363462"/>
                      </a:lnTo>
                      <a:lnTo>
                        <a:pt x="1246740" y="364458"/>
                      </a:lnTo>
                      <a:lnTo>
                        <a:pt x="1248294" y="365126"/>
                      </a:lnTo>
                      <a:lnTo>
                        <a:pt x="1250200" y="364786"/>
                      </a:lnTo>
                      <a:lnTo>
                        <a:pt x="1253637" y="363608"/>
                      </a:lnTo>
                      <a:lnTo>
                        <a:pt x="1255592" y="363195"/>
                      </a:lnTo>
                      <a:lnTo>
                        <a:pt x="1259672" y="363122"/>
                      </a:lnTo>
                      <a:lnTo>
                        <a:pt x="1261554" y="362770"/>
                      </a:lnTo>
                      <a:lnTo>
                        <a:pt x="1263169" y="361604"/>
                      </a:lnTo>
                      <a:lnTo>
                        <a:pt x="1263691" y="360075"/>
                      </a:lnTo>
                      <a:lnTo>
                        <a:pt x="1263048" y="358326"/>
                      </a:lnTo>
                      <a:lnTo>
                        <a:pt x="1261445" y="356747"/>
                      </a:lnTo>
                      <a:lnTo>
                        <a:pt x="1253188" y="351429"/>
                      </a:lnTo>
                      <a:lnTo>
                        <a:pt x="1252265" y="350688"/>
                      </a:lnTo>
                      <a:lnTo>
                        <a:pt x="1251803" y="349935"/>
                      </a:lnTo>
                      <a:lnTo>
                        <a:pt x="1251913" y="349255"/>
                      </a:lnTo>
                      <a:lnTo>
                        <a:pt x="1252605" y="348733"/>
                      </a:lnTo>
                      <a:lnTo>
                        <a:pt x="1253759" y="348272"/>
                      </a:lnTo>
                      <a:lnTo>
                        <a:pt x="1255701" y="347932"/>
                      </a:lnTo>
                      <a:lnTo>
                        <a:pt x="1269653" y="347507"/>
                      </a:lnTo>
                      <a:lnTo>
                        <a:pt x="1271268" y="347191"/>
                      </a:lnTo>
                      <a:lnTo>
                        <a:pt x="1272762" y="346547"/>
                      </a:lnTo>
                      <a:lnTo>
                        <a:pt x="1273904" y="345539"/>
                      </a:lnTo>
                      <a:lnTo>
                        <a:pt x="1274644" y="344337"/>
                      </a:lnTo>
                      <a:lnTo>
                        <a:pt x="1275859" y="339614"/>
                      </a:lnTo>
                      <a:lnTo>
                        <a:pt x="1276259" y="338630"/>
                      </a:lnTo>
                      <a:lnTo>
                        <a:pt x="1276721" y="337889"/>
                      </a:lnTo>
                      <a:lnTo>
                        <a:pt x="1277352" y="337221"/>
                      </a:lnTo>
                      <a:lnTo>
                        <a:pt x="1278105" y="336760"/>
                      </a:lnTo>
                      <a:lnTo>
                        <a:pt x="1279186" y="336335"/>
                      </a:lnTo>
                      <a:lnTo>
                        <a:pt x="1280679" y="335849"/>
                      </a:lnTo>
                      <a:lnTo>
                        <a:pt x="1282355" y="335619"/>
                      </a:lnTo>
                      <a:lnTo>
                        <a:pt x="1283618" y="335643"/>
                      </a:lnTo>
                      <a:lnTo>
                        <a:pt x="1285051" y="335959"/>
                      </a:lnTo>
                      <a:lnTo>
                        <a:pt x="1286022" y="336384"/>
                      </a:lnTo>
                      <a:lnTo>
                        <a:pt x="1287516" y="337598"/>
                      </a:lnTo>
                      <a:lnTo>
                        <a:pt x="1288159" y="339055"/>
                      </a:lnTo>
                      <a:lnTo>
                        <a:pt x="1288038" y="341678"/>
                      </a:lnTo>
                      <a:lnTo>
                        <a:pt x="1282586" y="354185"/>
                      </a:lnTo>
                      <a:lnTo>
                        <a:pt x="1282124" y="355970"/>
                      </a:lnTo>
                      <a:lnTo>
                        <a:pt x="1281554" y="361677"/>
                      </a:lnTo>
                      <a:lnTo>
                        <a:pt x="1281092" y="362479"/>
                      </a:lnTo>
                      <a:lnTo>
                        <a:pt x="1277753" y="365150"/>
                      </a:lnTo>
                      <a:lnTo>
                        <a:pt x="1276891" y="366097"/>
                      </a:lnTo>
                      <a:lnTo>
                        <a:pt x="1276138" y="367166"/>
                      </a:lnTo>
                      <a:lnTo>
                        <a:pt x="1275798" y="368077"/>
                      </a:lnTo>
                      <a:lnTo>
                        <a:pt x="1275519" y="369012"/>
                      </a:lnTo>
                      <a:lnTo>
                        <a:pt x="1275397" y="371246"/>
                      </a:lnTo>
                      <a:lnTo>
                        <a:pt x="1275167" y="372618"/>
                      </a:lnTo>
                      <a:lnTo>
                        <a:pt x="1274426" y="374233"/>
                      </a:lnTo>
                      <a:lnTo>
                        <a:pt x="1273794" y="375375"/>
                      </a:lnTo>
                      <a:lnTo>
                        <a:pt x="1272531" y="376990"/>
                      </a:lnTo>
                      <a:lnTo>
                        <a:pt x="1270406" y="379115"/>
                      </a:lnTo>
                      <a:lnTo>
                        <a:pt x="1270297" y="379285"/>
                      </a:lnTo>
                      <a:lnTo>
                        <a:pt x="1269836" y="380912"/>
                      </a:lnTo>
                      <a:lnTo>
                        <a:pt x="1269775" y="382466"/>
                      </a:lnTo>
                      <a:lnTo>
                        <a:pt x="1270807" y="383705"/>
                      </a:lnTo>
                      <a:lnTo>
                        <a:pt x="1272993" y="384822"/>
                      </a:lnTo>
                      <a:lnTo>
                        <a:pt x="1277935" y="385344"/>
                      </a:lnTo>
                      <a:lnTo>
                        <a:pt x="1283205" y="385198"/>
                      </a:lnTo>
                      <a:lnTo>
                        <a:pt x="1284541" y="384992"/>
                      </a:lnTo>
                      <a:lnTo>
                        <a:pt x="1294401" y="382296"/>
                      </a:lnTo>
                      <a:lnTo>
                        <a:pt x="1295797" y="382357"/>
                      </a:lnTo>
                      <a:lnTo>
                        <a:pt x="1297109" y="382843"/>
                      </a:lnTo>
                      <a:lnTo>
                        <a:pt x="1298602" y="384215"/>
                      </a:lnTo>
                      <a:lnTo>
                        <a:pt x="1300375" y="386655"/>
                      </a:lnTo>
                      <a:lnTo>
                        <a:pt x="1301820" y="387700"/>
                      </a:lnTo>
                      <a:lnTo>
                        <a:pt x="1303933" y="388477"/>
                      </a:lnTo>
                      <a:lnTo>
                        <a:pt x="1307042" y="388440"/>
                      </a:lnTo>
                      <a:lnTo>
                        <a:pt x="1309288" y="387918"/>
                      </a:lnTo>
                      <a:lnTo>
                        <a:pt x="1314279" y="385963"/>
                      </a:lnTo>
                      <a:lnTo>
                        <a:pt x="1315372" y="385830"/>
                      </a:lnTo>
                      <a:lnTo>
                        <a:pt x="1317254" y="386631"/>
                      </a:lnTo>
                      <a:lnTo>
                        <a:pt x="1320302" y="388525"/>
                      </a:lnTo>
                      <a:lnTo>
                        <a:pt x="1327369" y="394840"/>
                      </a:lnTo>
                      <a:lnTo>
                        <a:pt x="1332870" y="397365"/>
                      </a:lnTo>
                      <a:lnTo>
                        <a:pt x="1337812" y="391282"/>
                      </a:lnTo>
                      <a:lnTo>
                        <a:pt x="1339075" y="390019"/>
                      </a:lnTo>
                      <a:lnTo>
                        <a:pt x="1340228" y="389351"/>
                      </a:lnTo>
                      <a:lnTo>
                        <a:pt x="1342305" y="388926"/>
                      </a:lnTo>
                      <a:lnTo>
                        <a:pt x="1346421" y="388756"/>
                      </a:lnTo>
                      <a:lnTo>
                        <a:pt x="1347356" y="388355"/>
                      </a:lnTo>
                      <a:lnTo>
                        <a:pt x="1348498" y="387493"/>
                      </a:lnTo>
                      <a:lnTo>
                        <a:pt x="1349068" y="385854"/>
                      </a:lnTo>
                      <a:lnTo>
                        <a:pt x="1349129" y="384530"/>
                      </a:lnTo>
                      <a:lnTo>
                        <a:pt x="1348850" y="383073"/>
                      </a:lnTo>
                      <a:lnTo>
                        <a:pt x="1348498" y="382041"/>
                      </a:lnTo>
                      <a:lnTo>
                        <a:pt x="1347757" y="380402"/>
                      </a:lnTo>
                      <a:lnTo>
                        <a:pt x="1347053" y="379260"/>
                      </a:lnTo>
                      <a:lnTo>
                        <a:pt x="1347004" y="379054"/>
                      </a:lnTo>
                      <a:lnTo>
                        <a:pt x="1347004" y="378884"/>
                      </a:lnTo>
                      <a:lnTo>
                        <a:pt x="1347235" y="376929"/>
                      </a:lnTo>
                      <a:lnTo>
                        <a:pt x="1347696" y="375375"/>
                      </a:lnTo>
                      <a:lnTo>
                        <a:pt x="1348328" y="374112"/>
                      </a:lnTo>
                      <a:lnTo>
                        <a:pt x="1353148" y="369291"/>
                      </a:lnTo>
                      <a:lnTo>
                        <a:pt x="1356184" y="365442"/>
                      </a:lnTo>
                      <a:lnTo>
                        <a:pt x="1358661" y="361337"/>
                      </a:lnTo>
                      <a:lnTo>
                        <a:pt x="1359293" y="359552"/>
                      </a:lnTo>
                      <a:lnTo>
                        <a:pt x="1359572" y="358229"/>
                      </a:lnTo>
                      <a:lnTo>
                        <a:pt x="1359754" y="356140"/>
                      </a:lnTo>
                      <a:lnTo>
                        <a:pt x="1359693" y="354052"/>
                      </a:lnTo>
                      <a:lnTo>
                        <a:pt x="1358370" y="347907"/>
                      </a:lnTo>
                      <a:lnTo>
                        <a:pt x="1358831" y="346183"/>
                      </a:lnTo>
                      <a:lnTo>
                        <a:pt x="1360094" y="345284"/>
                      </a:lnTo>
                      <a:lnTo>
                        <a:pt x="1362680" y="345515"/>
                      </a:lnTo>
                      <a:lnTo>
                        <a:pt x="1364866" y="346256"/>
                      </a:lnTo>
                      <a:lnTo>
                        <a:pt x="1367210" y="346256"/>
                      </a:lnTo>
                      <a:lnTo>
                        <a:pt x="1370148" y="345212"/>
                      </a:lnTo>
                      <a:lnTo>
                        <a:pt x="1372443" y="344799"/>
                      </a:lnTo>
                      <a:lnTo>
                        <a:pt x="1375479" y="345576"/>
                      </a:lnTo>
                      <a:lnTo>
                        <a:pt x="1377835" y="346523"/>
                      </a:lnTo>
                      <a:lnTo>
                        <a:pt x="1382085" y="347786"/>
                      </a:lnTo>
                      <a:lnTo>
                        <a:pt x="1383408" y="348527"/>
                      </a:lnTo>
                      <a:lnTo>
                        <a:pt x="1384040" y="349425"/>
                      </a:lnTo>
                      <a:lnTo>
                        <a:pt x="1384162" y="350287"/>
                      </a:lnTo>
                      <a:lnTo>
                        <a:pt x="1383979" y="350943"/>
                      </a:lnTo>
                      <a:lnTo>
                        <a:pt x="1383178" y="353469"/>
                      </a:lnTo>
                      <a:lnTo>
                        <a:pt x="1382886" y="354938"/>
                      </a:lnTo>
                      <a:lnTo>
                        <a:pt x="1383056" y="356007"/>
                      </a:lnTo>
                      <a:lnTo>
                        <a:pt x="1383809" y="356832"/>
                      </a:lnTo>
                      <a:lnTo>
                        <a:pt x="1385594" y="357609"/>
                      </a:lnTo>
                      <a:lnTo>
                        <a:pt x="1387902" y="358132"/>
                      </a:lnTo>
                      <a:lnTo>
                        <a:pt x="1392953" y="358350"/>
                      </a:lnTo>
                      <a:lnTo>
                        <a:pt x="1398041" y="357695"/>
                      </a:lnTo>
                      <a:lnTo>
                        <a:pt x="1400178" y="356881"/>
                      </a:lnTo>
                      <a:lnTo>
                        <a:pt x="1401781" y="355679"/>
                      </a:lnTo>
                      <a:lnTo>
                        <a:pt x="1402473" y="353797"/>
                      </a:lnTo>
                      <a:lnTo>
                        <a:pt x="1402242" y="352412"/>
                      </a:lnTo>
                      <a:lnTo>
                        <a:pt x="1401149" y="351137"/>
                      </a:lnTo>
                      <a:lnTo>
                        <a:pt x="1395758" y="347907"/>
                      </a:lnTo>
                      <a:lnTo>
                        <a:pt x="1394835" y="347009"/>
                      </a:lnTo>
                      <a:lnTo>
                        <a:pt x="1394264" y="346207"/>
                      </a:lnTo>
                      <a:lnTo>
                        <a:pt x="1397822" y="344252"/>
                      </a:lnTo>
                      <a:lnTo>
                        <a:pt x="1415162" y="339225"/>
                      </a:lnTo>
                      <a:lnTo>
                        <a:pt x="1419242" y="344981"/>
                      </a:lnTo>
                      <a:lnTo>
                        <a:pt x="1420104" y="350567"/>
                      </a:lnTo>
                      <a:lnTo>
                        <a:pt x="1420906" y="352267"/>
                      </a:lnTo>
                      <a:lnTo>
                        <a:pt x="1422570" y="354416"/>
                      </a:lnTo>
                      <a:lnTo>
                        <a:pt x="1423262" y="355861"/>
                      </a:lnTo>
                      <a:lnTo>
                        <a:pt x="1423371" y="356796"/>
                      </a:lnTo>
                      <a:lnTo>
                        <a:pt x="1422970" y="357488"/>
                      </a:lnTo>
                      <a:lnTo>
                        <a:pt x="1422339" y="358496"/>
                      </a:lnTo>
                      <a:lnTo>
                        <a:pt x="1422047" y="359528"/>
                      </a:lnTo>
                      <a:lnTo>
                        <a:pt x="1422047" y="360852"/>
                      </a:lnTo>
                      <a:lnTo>
                        <a:pt x="1422849" y="362260"/>
                      </a:lnTo>
                      <a:lnTo>
                        <a:pt x="1424233" y="363232"/>
                      </a:lnTo>
                      <a:lnTo>
                        <a:pt x="1426929" y="363887"/>
                      </a:lnTo>
                      <a:lnTo>
                        <a:pt x="1431640" y="364300"/>
                      </a:lnTo>
                      <a:lnTo>
                        <a:pt x="1439218" y="366243"/>
                      </a:lnTo>
                      <a:lnTo>
                        <a:pt x="1447208" y="366097"/>
                      </a:lnTo>
                      <a:lnTo>
                        <a:pt x="1448531" y="367045"/>
                      </a:lnTo>
                      <a:lnTo>
                        <a:pt x="1449442" y="369315"/>
                      </a:lnTo>
                      <a:lnTo>
                        <a:pt x="1449782" y="371537"/>
                      </a:lnTo>
                      <a:lnTo>
                        <a:pt x="1450766" y="373165"/>
                      </a:lnTo>
                      <a:lnTo>
                        <a:pt x="1452259" y="374197"/>
                      </a:lnTo>
                      <a:lnTo>
                        <a:pt x="1455647" y="375035"/>
                      </a:lnTo>
                      <a:lnTo>
                        <a:pt x="1458124" y="375010"/>
                      </a:lnTo>
                      <a:lnTo>
                        <a:pt x="1460286" y="374343"/>
                      </a:lnTo>
                      <a:lnTo>
                        <a:pt x="1463224" y="372740"/>
                      </a:lnTo>
                      <a:lnTo>
                        <a:pt x="1464548" y="372254"/>
                      </a:lnTo>
                      <a:lnTo>
                        <a:pt x="1466041" y="372047"/>
                      </a:lnTo>
                      <a:lnTo>
                        <a:pt x="1467766" y="371987"/>
                      </a:lnTo>
                      <a:lnTo>
                        <a:pt x="1470352" y="372557"/>
                      </a:lnTo>
                      <a:lnTo>
                        <a:pt x="1472404" y="373711"/>
                      </a:lnTo>
                      <a:lnTo>
                        <a:pt x="1474651" y="376407"/>
                      </a:lnTo>
                      <a:lnTo>
                        <a:pt x="1475743" y="378932"/>
                      </a:lnTo>
                      <a:lnTo>
                        <a:pt x="1475743" y="379115"/>
                      </a:lnTo>
                      <a:lnTo>
                        <a:pt x="1476083" y="379600"/>
                      </a:lnTo>
                      <a:lnTo>
                        <a:pt x="1478391" y="383073"/>
                      </a:lnTo>
                      <a:lnTo>
                        <a:pt x="1478609" y="384943"/>
                      </a:lnTo>
                      <a:lnTo>
                        <a:pt x="1478330" y="386740"/>
                      </a:lnTo>
                      <a:lnTo>
                        <a:pt x="1477516" y="388271"/>
                      </a:lnTo>
                      <a:lnTo>
                        <a:pt x="1477067" y="389558"/>
                      </a:lnTo>
                      <a:lnTo>
                        <a:pt x="1477006" y="390541"/>
                      </a:lnTo>
                      <a:lnTo>
                        <a:pt x="1477407" y="391719"/>
                      </a:lnTo>
                      <a:lnTo>
                        <a:pt x="1478269" y="393091"/>
                      </a:lnTo>
                      <a:lnTo>
                        <a:pt x="1479763" y="394791"/>
                      </a:lnTo>
                      <a:lnTo>
                        <a:pt x="1493776" y="404870"/>
                      </a:lnTo>
                      <a:lnTo>
                        <a:pt x="1496241" y="406072"/>
                      </a:lnTo>
                      <a:lnTo>
                        <a:pt x="1498305" y="406679"/>
                      </a:lnTo>
                      <a:lnTo>
                        <a:pt x="1501984" y="407080"/>
                      </a:lnTo>
                      <a:lnTo>
                        <a:pt x="1506526" y="406983"/>
                      </a:lnTo>
                      <a:lnTo>
                        <a:pt x="1508250" y="407165"/>
                      </a:lnTo>
                      <a:lnTo>
                        <a:pt x="1512670" y="409193"/>
                      </a:lnTo>
                      <a:lnTo>
                        <a:pt x="1521802" y="416345"/>
                      </a:lnTo>
                      <a:lnTo>
                        <a:pt x="1524206" y="417268"/>
                      </a:lnTo>
                      <a:lnTo>
                        <a:pt x="1524959" y="417413"/>
                      </a:lnTo>
                      <a:lnTo>
                        <a:pt x="1526331" y="417499"/>
                      </a:lnTo>
                      <a:lnTo>
                        <a:pt x="1527825" y="417183"/>
                      </a:lnTo>
                      <a:lnTo>
                        <a:pt x="1529561" y="416551"/>
                      </a:lnTo>
                      <a:lnTo>
                        <a:pt x="1531091" y="415774"/>
                      </a:lnTo>
                      <a:lnTo>
                        <a:pt x="1538729" y="410261"/>
                      </a:lnTo>
                      <a:lnTo>
                        <a:pt x="1539822" y="409861"/>
                      </a:lnTo>
                      <a:lnTo>
                        <a:pt x="1540453" y="409970"/>
                      </a:lnTo>
                      <a:lnTo>
                        <a:pt x="1541145" y="410431"/>
                      </a:lnTo>
                      <a:lnTo>
                        <a:pt x="1541825" y="411670"/>
                      </a:lnTo>
                      <a:lnTo>
                        <a:pt x="1542408" y="413588"/>
                      </a:lnTo>
                      <a:lnTo>
                        <a:pt x="1542639" y="417778"/>
                      </a:lnTo>
                      <a:lnTo>
                        <a:pt x="1541947" y="420109"/>
                      </a:lnTo>
                      <a:lnTo>
                        <a:pt x="1541255" y="421919"/>
                      </a:lnTo>
                      <a:lnTo>
                        <a:pt x="1540514" y="423388"/>
                      </a:lnTo>
                      <a:lnTo>
                        <a:pt x="1540453" y="424869"/>
                      </a:lnTo>
                      <a:lnTo>
                        <a:pt x="1541036" y="426132"/>
                      </a:lnTo>
                      <a:lnTo>
                        <a:pt x="1543040" y="427553"/>
                      </a:lnTo>
                      <a:lnTo>
                        <a:pt x="1544424" y="427747"/>
                      </a:lnTo>
                      <a:lnTo>
                        <a:pt x="1545796" y="427261"/>
                      </a:lnTo>
                      <a:lnTo>
                        <a:pt x="1546719" y="426217"/>
                      </a:lnTo>
                      <a:lnTo>
                        <a:pt x="1547460" y="425246"/>
                      </a:lnTo>
                      <a:lnTo>
                        <a:pt x="1548893" y="422550"/>
                      </a:lnTo>
                      <a:lnTo>
                        <a:pt x="1549536" y="421627"/>
                      </a:lnTo>
                      <a:lnTo>
                        <a:pt x="1550386" y="420680"/>
                      </a:lnTo>
                      <a:lnTo>
                        <a:pt x="1551358" y="420801"/>
                      </a:lnTo>
                      <a:lnTo>
                        <a:pt x="1552001" y="422004"/>
                      </a:lnTo>
                      <a:lnTo>
                        <a:pt x="1552110" y="425792"/>
                      </a:lnTo>
                      <a:lnTo>
                        <a:pt x="1551479" y="434462"/>
                      </a:lnTo>
                      <a:lnTo>
                        <a:pt x="1551770" y="435871"/>
                      </a:lnTo>
                      <a:lnTo>
                        <a:pt x="1552293" y="436794"/>
                      </a:lnTo>
                      <a:lnTo>
                        <a:pt x="1553847" y="437874"/>
                      </a:lnTo>
                      <a:lnTo>
                        <a:pt x="1554697" y="438056"/>
                      </a:lnTo>
                      <a:lnTo>
                        <a:pt x="1555498" y="437971"/>
                      </a:lnTo>
                      <a:lnTo>
                        <a:pt x="1556312" y="437413"/>
                      </a:lnTo>
                      <a:lnTo>
                        <a:pt x="1557344" y="437073"/>
                      </a:lnTo>
                      <a:lnTo>
                        <a:pt x="1558668" y="437109"/>
                      </a:lnTo>
                      <a:lnTo>
                        <a:pt x="1560210" y="437680"/>
                      </a:lnTo>
                      <a:lnTo>
                        <a:pt x="1561886" y="438542"/>
                      </a:lnTo>
                      <a:lnTo>
                        <a:pt x="1562675" y="440206"/>
                      </a:lnTo>
                      <a:lnTo>
                        <a:pt x="1563197" y="442962"/>
                      </a:lnTo>
                      <a:lnTo>
                        <a:pt x="1559979" y="449592"/>
                      </a:lnTo>
                      <a:lnTo>
                        <a:pt x="1558838" y="451292"/>
                      </a:lnTo>
                      <a:lnTo>
                        <a:pt x="1559639" y="452494"/>
                      </a:lnTo>
                      <a:lnTo>
                        <a:pt x="1569001" y="451572"/>
                      </a:lnTo>
                      <a:lnTo>
                        <a:pt x="1576166" y="452470"/>
                      </a:lnTo>
                      <a:lnTo>
                        <a:pt x="1578873" y="451778"/>
                      </a:lnTo>
                      <a:lnTo>
                        <a:pt x="1581509" y="449422"/>
                      </a:lnTo>
                      <a:lnTo>
                        <a:pt x="1582201" y="447176"/>
                      </a:lnTo>
                      <a:lnTo>
                        <a:pt x="1582249" y="445427"/>
                      </a:lnTo>
                      <a:lnTo>
                        <a:pt x="1581569" y="442185"/>
                      </a:lnTo>
                      <a:lnTo>
                        <a:pt x="1581460" y="440400"/>
                      </a:lnTo>
                      <a:lnTo>
                        <a:pt x="1581460" y="438579"/>
                      </a:lnTo>
                      <a:lnTo>
                        <a:pt x="1581691" y="436842"/>
                      </a:lnTo>
                      <a:lnTo>
                        <a:pt x="1582152" y="435276"/>
                      </a:lnTo>
                      <a:lnTo>
                        <a:pt x="1584848" y="434693"/>
                      </a:lnTo>
                      <a:lnTo>
                        <a:pt x="1587094" y="434584"/>
                      </a:lnTo>
                      <a:lnTo>
                        <a:pt x="1604993" y="440582"/>
                      </a:lnTo>
                      <a:lnTo>
                        <a:pt x="1613663" y="441408"/>
                      </a:lnTo>
                      <a:lnTo>
                        <a:pt x="1616711" y="441177"/>
                      </a:lnTo>
                      <a:lnTo>
                        <a:pt x="1619067" y="440582"/>
                      </a:lnTo>
                      <a:lnTo>
                        <a:pt x="1631865" y="435009"/>
                      </a:lnTo>
                      <a:lnTo>
                        <a:pt x="1633480" y="434669"/>
                      </a:lnTo>
                      <a:lnTo>
                        <a:pt x="1634852" y="434669"/>
                      </a:lnTo>
                      <a:lnTo>
                        <a:pt x="1636067" y="435409"/>
                      </a:lnTo>
                      <a:lnTo>
                        <a:pt x="1636589" y="436794"/>
                      </a:lnTo>
                      <a:lnTo>
                        <a:pt x="1636176" y="441408"/>
                      </a:lnTo>
                      <a:lnTo>
                        <a:pt x="1636407" y="442853"/>
                      </a:lnTo>
                      <a:lnTo>
                        <a:pt x="1637730" y="444225"/>
                      </a:lnTo>
                      <a:lnTo>
                        <a:pt x="1639285" y="444626"/>
                      </a:lnTo>
                      <a:lnTo>
                        <a:pt x="1645477" y="444966"/>
                      </a:lnTo>
                      <a:lnTo>
                        <a:pt x="1646862" y="445294"/>
                      </a:lnTo>
                      <a:lnTo>
                        <a:pt x="1648125" y="446642"/>
                      </a:lnTo>
                      <a:lnTo>
                        <a:pt x="1648975" y="448621"/>
                      </a:lnTo>
                      <a:lnTo>
                        <a:pt x="1650080" y="453272"/>
                      </a:lnTo>
                      <a:lnTo>
                        <a:pt x="1651100" y="455530"/>
                      </a:lnTo>
                      <a:lnTo>
                        <a:pt x="1652375" y="457437"/>
                      </a:lnTo>
                      <a:lnTo>
                        <a:pt x="1654840" y="459610"/>
                      </a:lnTo>
                      <a:lnTo>
                        <a:pt x="1655483" y="460995"/>
                      </a:lnTo>
                      <a:lnTo>
                        <a:pt x="1655362" y="462682"/>
                      </a:lnTo>
                      <a:lnTo>
                        <a:pt x="1653638" y="465584"/>
                      </a:lnTo>
                      <a:lnTo>
                        <a:pt x="1651513" y="466677"/>
                      </a:lnTo>
                      <a:lnTo>
                        <a:pt x="1648877" y="466932"/>
                      </a:lnTo>
                      <a:lnTo>
                        <a:pt x="1643814" y="465184"/>
                      </a:lnTo>
                      <a:lnTo>
                        <a:pt x="1642733" y="465269"/>
                      </a:lnTo>
                      <a:lnTo>
                        <a:pt x="1641750" y="465815"/>
                      </a:lnTo>
                      <a:lnTo>
                        <a:pt x="1640778" y="466884"/>
                      </a:lnTo>
                      <a:lnTo>
                        <a:pt x="1639807" y="468511"/>
                      </a:lnTo>
                      <a:lnTo>
                        <a:pt x="1639685" y="470357"/>
                      </a:lnTo>
                      <a:lnTo>
                        <a:pt x="1639965" y="473368"/>
                      </a:lnTo>
                      <a:lnTo>
                        <a:pt x="1641458" y="477472"/>
                      </a:lnTo>
                      <a:lnTo>
                        <a:pt x="1641349" y="481552"/>
                      </a:lnTo>
                      <a:lnTo>
                        <a:pt x="1639515" y="490684"/>
                      </a:lnTo>
                      <a:lnTo>
                        <a:pt x="1639455" y="493258"/>
                      </a:lnTo>
                      <a:lnTo>
                        <a:pt x="1639746" y="494788"/>
                      </a:lnTo>
                      <a:lnTo>
                        <a:pt x="1640778" y="495930"/>
                      </a:lnTo>
                      <a:lnTo>
                        <a:pt x="1643984" y="497314"/>
                      </a:lnTo>
                      <a:lnTo>
                        <a:pt x="1645198" y="498893"/>
                      </a:lnTo>
                      <a:lnTo>
                        <a:pt x="1645890" y="501479"/>
                      </a:lnTo>
                      <a:lnTo>
                        <a:pt x="1645477" y="512614"/>
                      </a:lnTo>
                      <a:lnTo>
                        <a:pt x="1644955" y="515140"/>
                      </a:lnTo>
                      <a:lnTo>
                        <a:pt x="1644105" y="517702"/>
                      </a:lnTo>
                      <a:lnTo>
                        <a:pt x="1641057" y="523008"/>
                      </a:lnTo>
                      <a:lnTo>
                        <a:pt x="1639515" y="535674"/>
                      </a:lnTo>
                      <a:lnTo>
                        <a:pt x="1637378" y="538248"/>
                      </a:lnTo>
                      <a:lnTo>
                        <a:pt x="1635034" y="539632"/>
                      </a:lnTo>
                      <a:lnTo>
                        <a:pt x="1631185" y="539948"/>
                      </a:lnTo>
                      <a:lnTo>
                        <a:pt x="1629692" y="540264"/>
                      </a:lnTo>
                      <a:lnTo>
                        <a:pt x="1628659" y="541089"/>
                      </a:lnTo>
                      <a:lnTo>
                        <a:pt x="1628429" y="542389"/>
                      </a:lnTo>
                      <a:lnTo>
                        <a:pt x="1629461" y="545084"/>
                      </a:lnTo>
                      <a:lnTo>
                        <a:pt x="1630894" y="547270"/>
                      </a:lnTo>
                      <a:lnTo>
                        <a:pt x="1633359" y="550002"/>
                      </a:lnTo>
                      <a:lnTo>
                        <a:pt x="1636698" y="552637"/>
                      </a:lnTo>
                      <a:lnTo>
                        <a:pt x="1639054" y="554191"/>
                      </a:lnTo>
                      <a:lnTo>
                        <a:pt x="1640086" y="555369"/>
                      </a:lnTo>
                      <a:lnTo>
                        <a:pt x="1640596" y="556863"/>
                      </a:lnTo>
                      <a:lnTo>
                        <a:pt x="1640596" y="559559"/>
                      </a:lnTo>
                      <a:lnTo>
                        <a:pt x="1639855" y="561878"/>
                      </a:lnTo>
                      <a:lnTo>
                        <a:pt x="1639455" y="563809"/>
                      </a:lnTo>
                      <a:lnTo>
                        <a:pt x="1639807" y="565120"/>
                      </a:lnTo>
                      <a:lnTo>
                        <a:pt x="1641057" y="565934"/>
                      </a:lnTo>
                      <a:lnTo>
                        <a:pt x="1642551" y="566650"/>
                      </a:lnTo>
                      <a:lnTo>
                        <a:pt x="1646413" y="570014"/>
                      </a:lnTo>
                      <a:lnTo>
                        <a:pt x="1652265" y="578477"/>
                      </a:lnTo>
                      <a:lnTo>
                        <a:pt x="1649557" y="582035"/>
                      </a:lnTo>
                      <a:lnTo>
                        <a:pt x="1649557" y="583359"/>
                      </a:lnTo>
                      <a:lnTo>
                        <a:pt x="1649157" y="585545"/>
                      </a:lnTo>
                      <a:lnTo>
                        <a:pt x="1649096" y="588095"/>
                      </a:lnTo>
                      <a:lnTo>
                        <a:pt x="1648173" y="590341"/>
                      </a:lnTo>
                      <a:lnTo>
                        <a:pt x="1646109" y="592345"/>
                      </a:lnTo>
                      <a:lnTo>
                        <a:pt x="1640207" y="595271"/>
                      </a:lnTo>
                      <a:lnTo>
                        <a:pt x="1636977" y="596388"/>
                      </a:lnTo>
                      <a:lnTo>
                        <a:pt x="1631768" y="597056"/>
                      </a:lnTo>
                      <a:lnTo>
                        <a:pt x="1627688" y="598950"/>
                      </a:lnTo>
                      <a:lnTo>
                        <a:pt x="1625381" y="601160"/>
                      </a:lnTo>
                      <a:lnTo>
                        <a:pt x="1624689" y="603953"/>
                      </a:lnTo>
                      <a:lnTo>
                        <a:pt x="1624640" y="606673"/>
                      </a:lnTo>
                      <a:lnTo>
                        <a:pt x="1624130" y="609029"/>
                      </a:lnTo>
                      <a:lnTo>
                        <a:pt x="1622637" y="610583"/>
                      </a:lnTo>
                      <a:lnTo>
                        <a:pt x="1616832" y="613789"/>
                      </a:lnTo>
                      <a:lnTo>
                        <a:pt x="1608551" y="617092"/>
                      </a:lnTo>
                      <a:lnTo>
                        <a:pt x="1605746" y="619108"/>
                      </a:lnTo>
                      <a:lnTo>
                        <a:pt x="1604204" y="621318"/>
                      </a:lnTo>
                      <a:lnTo>
                        <a:pt x="1601787" y="622811"/>
                      </a:lnTo>
                      <a:lnTo>
                        <a:pt x="1595582" y="623406"/>
                      </a:lnTo>
                      <a:lnTo>
                        <a:pt x="1579966" y="621281"/>
                      </a:lnTo>
                      <a:lnTo>
                        <a:pt x="1551260" y="620795"/>
                      </a:lnTo>
                      <a:lnTo>
                        <a:pt x="1547581" y="620225"/>
                      </a:lnTo>
                      <a:lnTo>
                        <a:pt x="1540222" y="617845"/>
                      </a:lnTo>
                      <a:lnTo>
                        <a:pt x="1522263" y="618209"/>
                      </a:lnTo>
                      <a:lnTo>
                        <a:pt x="1516580" y="617675"/>
                      </a:lnTo>
                      <a:lnTo>
                        <a:pt x="1507740" y="612526"/>
                      </a:lnTo>
                      <a:lnTo>
                        <a:pt x="1502968" y="610693"/>
                      </a:lnTo>
                      <a:lnTo>
                        <a:pt x="1490218" y="609855"/>
                      </a:lnTo>
                      <a:lnTo>
                        <a:pt x="1485166" y="611555"/>
                      </a:lnTo>
                      <a:lnTo>
                        <a:pt x="1475974" y="616898"/>
                      </a:lnTo>
                      <a:lnTo>
                        <a:pt x="1471275" y="618853"/>
                      </a:lnTo>
                      <a:lnTo>
                        <a:pt x="1466163" y="618950"/>
                      </a:lnTo>
                      <a:lnTo>
                        <a:pt x="1460419" y="617553"/>
                      </a:lnTo>
                      <a:lnTo>
                        <a:pt x="1454214" y="612988"/>
                      </a:lnTo>
                      <a:lnTo>
                        <a:pt x="1446066" y="603917"/>
                      </a:lnTo>
                      <a:lnTo>
                        <a:pt x="1442399" y="601039"/>
                      </a:lnTo>
                      <a:lnTo>
                        <a:pt x="1434761" y="600990"/>
                      </a:lnTo>
                      <a:lnTo>
                        <a:pt x="1430681" y="604524"/>
                      </a:lnTo>
                      <a:lnTo>
                        <a:pt x="1432515" y="606358"/>
                      </a:lnTo>
                      <a:lnTo>
                        <a:pt x="1432758" y="608774"/>
                      </a:lnTo>
                      <a:lnTo>
                        <a:pt x="1431142" y="611203"/>
                      </a:lnTo>
                      <a:lnTo>
                        <a:pt x="1431713" y="613073"/>
                      </a:lnTo>
                      <a:lnTo>
                        <a:pt x="1434421" y="616643"/>
                      </a:lnTo>
                      <a:lnTo>
                        <a:pt x="1439230" y="628263"/>
                      </a:lnTo>
                      <a:lnTo>
                        <a:pt x="1442217" y="632829"/>
                      </a:lnTo>
                      <a:lnTo>
                        <a:pt x="1443140" y="636472"/>
                      </a:lnTo>
                      <a:lnTo>
                        <a:pt x="1443200" y="639690"/>
                      </a:lnTo>
                      <a:lnTo>
                        <a:pt x="1441938" y="642191"/>
                      </a:lnTo>
                      <a:lnTo>
                        <a:pt x="1440274" y="644025"/>
                      </a:lnTo>
                      <a:lnTo>
                        <a:pt x="1437457" y="647984"/>
                      </a:lnTo>
                      <a:lnTo>
                        <a:pt x="1435854" y="649077"/>
                      </a:lnTo>
                      <a:lnTo>
                        <a:pt x="1431774" y="650570"/>
                      </a:lnTo>
                      <a:lnTo>
                        <a:pt x="1430560" y="652185"/>
                      </a:lnTo>
                      <a:lnTo>
                        <a:pt x="1429770" y="659204"/>
                      </a:lnTo>
                      <a:lnTo>
                        <a:pt x="1428617" y="661742"/>
                      </a:lnTo>
                      <a:lnTo>
                        <a:pt x="1427293" y="663174"/>
                      </a:lnTo>
                      <a:lnTo>
                        <a:pt x="1425970" y="664158"/>
                      </a:lnTo>
                      <a:lnTo>
                        <a:pt x="1425399" y="665299"/>
                      </a:lnTo>
                      <a:lnTo>
                        <a:pt x="1426091" y="667631"/>
                      </a:lnTo>
                      <a:lnTo>
                        <a:pt x="1427232" y="670205"/>
                      </a:lnTo>
                      <a:lnTo>
                        <a:pt x="1429649" y="674225"/>
                      </a:lnTo>
                      <a:lnTo>
                        <a:pt x="1430802" y="677357"/>
                      </a:lnTo>
                      <a:lnTo>
                        <a:pt x="1432345" y="679822"/>
                      </a:lnTo>
                      <a:lnTo>
                        <a:pt x="1435271" y="680976"/>
                      </a:lnTo>
                      <a:lnTo>
                        <a:pt x="1437858" y="679932"/>
                      </a:lnTo>
                      <a:lnTo>
                        <a:pt x="1443079" y="676010"/>
                      </a:lnTo>
                      <a:lnTo>
                        <a:pt x="1448361" y="673799"/>
                      </a:lnTo>
                      <a:lnTo>
                        <a:pt x="1452162" y="670266"/>
                      </a:lnTo>
                      <a:lnTo>
                        <a:pt x="1454166" y="668979"/>
                      </a:lnTo>
                      <a:lnTo>
                        <a:pt x="1456922" y="668772"/>
                      </a:lnTo>
                      <a:lnTo>
                        <a:pt x="1460601" y="670181"/>
                      </a:lnTo>
                      <a:lnTo>
                        <a:pt x="1464669" y="671274"/>
                      </a:lnTo>
                      <a:lnTo>
                        <a:pt x="1475464" y="675864"/>
                      </a:lnTo>
                      <a:lnTo>
                        <a:pt x="1484656" y="676386"/>
                      </a:lnTo>
                      <a:lnTo>
                        <a:pt x="1488445" y="678305"/>
                      </a:lnTo>
                      <a:lnTo>
                        <a:pt x="1492756" y="683987"/>
                      </a:lnTo>
                      <a:lnTo>
                        <a:pt x="1497467" y="693240"/>
                      </a:lnTo>
                      <a:lnTo>
                        <a:pt x="1500442" y="697114"/>
                      </a:lnTo>
                      <a:lnTo>
                        <a:pt x="1503029" y="698753"/>
                      </a:lnTo>
                      <a:lnTo>
                        <a:pt x="1505324" y="698753"/>
                      </a:lnTo>
                      <a:lnTo>
                        <a:pt x="1506939" y="699640"/>
                      </a:lnTo>
                      <a:lnTo>
                        <a:pt x="1507691" y="701935"/>
                      </a:lnTo>
                      <a:lnTo>
                        <a:pt x="1508481" y="703635"/>
                      </a:lnTo>
                      <a:lnTo>
                        <a:pt x="1510217" y="704412"/>
                      </a:lnTo>
                      <a:lnTo>
                        <a:pt x="1520478" y="702821"/>
                      </a:lnTo>
                      <a:lnTo>
                        <a:pt x="1523307" y="703404"/>
                      </a:lnTo>
                      <a:lnTo>
                        <a:pt x="1525481" y="704691"/>
                      </a:lnTo>
                      <a:lnTo>
                        <a:pt x="1527436" y="707132"/>
                      </a:lnTo>
                      <a:lnTo>
                        <a:pt x="1534612" y="711807"/>
                      </a:lnTo>
                      <a:lnTo>
                        <a:pt x="1536968" y="715146"/>
                      </a:lnTo>
                      <a:lnTo>
                        <a:pt x="1537660" y="719250"/>
                      </a:lnTo>
                      <a:lnTo>
                        <a:pt x="1532949" y="734781"/>
                      </a:lnTo>
                      <a:lnTo>
                        <a:pt x="1531577" y="742650"/>
                      </a:lnTo>
                      <a:lnTo>
                        <a:pt x="1531395" y="747046"/>
                      </a:lnTo>
                      <a:lnTo>
                        <a:pt x="1528638" y="753955"/>
                      </a:lnTo>
                      <a:lnTo>
                        <a:pt x="1526282" y="757294"/>
                      </a:lnTo>
                      <a:lnTo>
                        <a:pt x="1522907" y="756262"/>
                      </a:lnTo>
                      <a:lnTo>
                        <a:pt x="1518887" y="755849"/>
                      </a:lnTo>
                      <a:lnTo>
                        <a:pt x="1515330" y="756517"/>
                      </a:lnTo>
                      <a:lnTo>
                        <a:pt x="1505894" y="762224"/>
                      </a:lnTo>
                      <a:lnTo>
                        <a:pt x="1495682" y="765394"/>
                      </a:lnTo>
                      <a:lnTo>
                        <a:pt x="1491954" y="767859"/>
                      </a:lnTo>
                      <a:lnTo>
                        <a:pt x="1489708" y="772934"/>
                      </a:lnTo>
                      <a:lnTo>
                        <a:pt x="1489538" y="776492"/>
                      </a:lnTo>
                      <a:lnTo>
                        <a:pt x="1491651" y="783645"/>
                      </a:lnTo>
                      <a:lnTo>
                        <a:pt x="1490861" y="787057"/>
                      </a:lnTo>
                      <a:lnTo>
                        <a:pt x="1484486" y="793602"/>
                      </a:lnTo>
                      <a:lnTo>
                        <a:pt x="1476788" y="799782"/>
                      </a:lnTo>
                      <a:lnTo>
                        <a:pt x="1473108" y="801507"/>
                      </a:lnTo>
                      <a:lnTo>
                        <a:pt x="1465859" y="803656"/>
                      </a:lnTo>
                      <a:lnTo>
                        <a:pt x="1462362" y="805405"/>
                      </a:lnTo>
                      <a:lnTo>
                        <a:pt x="1460650" y="808793"/>
                      </a:lnTo>
                      <a:lnTo>
                        <a:pt x="1460188" y="813298"/>
                      </a:lnTo>
                      <a:lnTo>
                        <a:pt x="1461451" y="819648"/>
                      </a:lnTo>
                      <a:lnTo>
                        <a:pt x="1461731" y="826861"/>
                      </a:lnTo>
                      <a:lnTo>
                        <a:pt x="1458513" y="830613"/>
                      </a:lnTo>
                      <a:lnTo>
                        <a:pt x="1457371" y="832398"/>
                      </a:lnTo>
                      <a:lnTo>
                        <a:pt x="1457201" y="835179"/>
                      </a:lnTo>
                      <a:lnTo>
                        <a:pt x="1458282" y="839113"/>
                      </a:lnTo>
                      <a:lnTo>
                        <a:pt x="1458233" y="842732"/>
                      </a:lnTo>
                      <a:lnTo>
                        <a:pt x="1455416" y="845258"/>
                      </a:lnTo>
                      <a:lnTo>
                        <a:pt x="1450887" y="846035"/>
                      </a:lnTo>
                      <a:lnTo>
                        <a:pt x="1440080" y="853527"/>
                      </a:lnTo>
                      <a:lnTo>
                        <a:pt x="1437335" y="857085"/>
                      </a:lnTo>
                      <a:lnTo>
                        <a:pt x="1436412" y="860218"/>
                      </a:lnTo>
                      <a:lnTo>
                        <a:pt x="1436182" y="863084"/>
                      </a:lnTo>
                      <a:lnTo>
                        <a:pt x="1434919" y="865039"/>
                      </a:lnTo>
                      <a:lnTo>
                        <a:pt x="1431531" y="866957"/>
                      </a:lnTo>
                      <a:lnTo>
                        <a:pt x="1427633" y="868426"/>
                      </a:lnTo>
                      <a:lnTo>
                        <a:pt x="1422910" y="868997"/>
                      </a:lnTo>
                      <a:lnTo>
                        <a:pt x="1419412" y="870442"/>
                      </a:lnTo>
                      <a:lnTo>
                        <a:pt x="1415684" y="871122"/>
                      </a:lnTo>
                      <a:lnTo>
                        <a:pt x="1410572" y="874741"/>
                      </a:lnTo>
                      <a:lnTo>
                        <a:pt x="1406662" y="878675"/>
                      </a:lnTo>
                      <a:lnTo>
                        <a:pt x="1404197" y="880484"/>
                      </a:lnTo>
                      <a:lnTo>
                        <a:pt x="1400688" y="882549"/>
                      </a:lnTo>
                      <a:lnTo>
                        <a:pt x="1398514" y="884965"/>
                      </a:lnTo>
                      <a:lnTo>
                        <a:pt x="1395527" y="886835"/>
                      </a:lnTo>
                      <a:lnTo>
                        <a:pt x="1392831" y="887406"/>
                      </a:lnTo>
                      <a:lnTo>
                        <a:pt x="1390075" y="885244"/>
                      </a:lnTo>
                      <a:lnTo>
                        <a:pt x="1386505" y="878797"/>
                      </a:lnTo>
                      <a:lnTo>
                        <a:pt x="1384380" y="876526"/>
                      </a:lnTo>
                      <a:lnTo>
                        <a:pt x="1381624" y="875457"/>
                      </a:lnTo>
                      <a:lnTo>
                        <a:pt x="1379110" y="875639"/>
                      </a:lnTo>
                      <a:lnTo>
                        <a:pt x="1374568" y="879428"/>
                      </a:lnTo>
                      <a:lnTo>
                        <a:pt x="1369396" y="880084"/>
                      </a:lnTo>
                      <a:lnTo>
                        <a:pt x="1366469" y="881031"/>
                      </a:lnTo>
                      <a:lnTo>
                        <a:pt x="1362911" y="884079"/>
                      </a:lnTo>
                      <a:lnTo>
                        <a:pt x="1358552" y="886034"/>
                      </a:lnTo>
                      <a:lnTo>
                        <a:pt x="1356123" y="885475"/>
                      </a:lnTo>
                      <a:lnTo>
                        <a:pt x="1354241" y="884480"/>
                      </a:lnTo>
                      <a:lnTo>
                        <a:pt x="1352918" y="880569"/>
                      </a:lnTo>
                      <a:lnTo>
                        <a:pt x="1351898" y="878675"/>
                      </a:lnTo>
                      <a:lnTo>
                        <a:pt x="1350100" y="878274"/>
                      </a:lnTo>
                      <a:lnTo>
                        <a:pt x="1347866" y="879343"/>
                      </a:lnTo>
                      <a:lnTo>
                        <a:pt x="1345401" y="881917"/>
                      </a:lnTo>
                      <a:lnTo>
                        <a:pt x="1339026" y="890284"/>
                      </a:lnTo>
                      <a:lnTo>
                        <a:pt x="1337472" y="894704"/>
                      </a:lnTo>
                      <a:lnTo>
                        <a:pt x="1337132" y="901674"/>
                      </a:lnTo>
                      <a:lnTo>
                        <a:pt x="1337763" y="907102"/>
                      </a:lnTo>
                      <a:lnTo>
                        <a:pt x="1337411" y="912177"/>
                      </a:lnTo>
                      <a:lnTo>
                        <a:pt x="1336792" y="915577"/>
                      </a:lnTo>
                      <a:lnTo>
                        <a:pt x="1332360" y="923033"/>
                      </a:lnTo>
                      <a:lnTo>
                        <a:pt x="1324552" y="927575"/>
                      </a:lnTo>
                      <a:lnTo>
                        <a:pt x="1322718" y="929117"/>
                      </a:lnTo>
                      <a:lnTo>
                        <a:pt x="1320241" y="932104"/>
                      </a:lnTo>
                      <a:lnTo>
                        <a:pt x="1318869" y="935383"/>
                      </a:lnTo>
                      <a:lnTo>
                        <a:pt x="1318359" y="945838"/>
                      </a:lnTo>
                      <a:lnTo>
                        <a:pt x="1317497" y="948084"/>
                      </a:lnTo>
                      <a:lnTo>
                        <a:pt x="1315882" y="949286"/>
                      </a:lnTo>
                      <a:lnTo>
                        <a:pt x="1312724" y="950258"/>
                      </a:lnTo>
                      <a:lnTo>
                        <a:pt x="1311923" y="951035"/>
                      </a:lnTo>
                      <a:lnTo>
                        <a:pt x="1312093" y="952322"/>
                      </a:lnTo>
                      <a:lnTo>
                        <a:pt x="1314218" y="955710"/>
                      </a:lnTo>
                      <a:lnTo>
                        <a:pt x="1315080" y="958260"/>
                      </a:lnTo>
                      <a:lnTo>
                        <a:pt x="1314910" y="961126"/>
                      </a:lnTo>
                      <a:lnTo>
                        <a:pt x="1313235" y="963348"/>
                      </a:lnTo>
                      <a:lnTo>
                        <a:pt x="1311753" y="963858"/>
                      </a:lnTo>
                      <a:lnTo>
                        <a:pt x="1310308" y="963166"/>
                      </a:lnTo>
                      <a:lnTo>
                        <a:pt x="1305087" y="955273"/>
                      </a:lnTo>
                      <a:lnTo>
                        <a:pt x="1302209" y="953901"/>
                      </a:lnTo>
                      <a:lnTo>
                        <a:pt x="1299295" y="954386"/>
                      </a:lnTo>
                      <a:lnTo>
                        <a:pt x="1296356" y="956766"/>
                      </a:lnTo>
                      <a:lnTo>
                        <a:pt x="1292907" y="962279"/>
                      </a:lnTo>
                      <a:lnTo>
                        <a:pt x="1285269" y="977956"/>
                      </a:lnTo>
                      <a:lnTo>
                        <a:pt x="1283557" y="983214"/>
                      </a:lnTo>
                      <a:lnTo>
                        <a:pt x="1283156" y="991677"/>
                      </a:lnTo>
                      <a:lnTo>
                        <a:pt x="1284067" y="1003820"/>
                      </a:lnTo>
                      <a:lnTo>
                        <a:pt x="1281031" y="1012357"/>
                      </a:lnTo>
                      <a:lnTo>
                        <a:pt x="1277935" y="1017955"/>
                      </a:lnTo>
                      <a:lnTo>
                        <a:pt x="1274644" y="1020529"/>
                      </a:lnTo>
                      <a:lnTo>
                        <a:pt x="1268342" y="1021452"/>
                      </a:lnTo>
                      <a:lnTo>
                        <a:pt x="1265695" y="1024402"/>
                      </a:lnTo>
                      <a:lnTo>
                        <a:pt x="1263922" y="1029745"/>
                      </a:lnTo>
                      <a:lnTo>
                        <a:pt x="1262768" y="1049101"/>
                      </a:lnTo>
                      <a:lnTo>
                        <a:pt x="1262076" y="1051675"/>
                      </a:lnTo>
                      <a:lnTo>
                        <a:pt x="1261506" y="1055027"/>
                      </a:lnTo>
                      <a:lnTo>
                        <a:pt x="1262768" y="1072234"/>
                      </a:lnTo>
                      <a:lnTo>
                        <a:pt x="1262198" y="1077091"/>
                      </a:lnTo>
                      <a:lnTo>
                        <a:pt x="1259332" y="1084692"/>
                      </a:lnTo>
                      <a:lnTo>
                        <a:pt x="1257839" y="1091723"/>
                      </a:lnTo>
                      <a:lnTo>
                        <a:pt x="1254268" y="1101061"/>
                      </a:lnTo>
                      <a:lnTo>
                        <a:pt x="1251233" y="1101971"/>
                      </a:lnTo>
                      <a:lnTo>
                        <a:pt x="1247723" y="1104728"/>
                      </a:lnTo>
                      <a:lnTo>
                        <a:pt x="1246800" y="1105311"/>
                      </a:lnTo>
                      <a:lnTo>
                        <a:pt x="1245720" y="1105712"/>
                      </a:lnTo>
                      <a:lnTo>
                        <a:pt x="1244275" y="1105894"/>
                      </a:lnTo>
                      <a:lnTo>
                        <a:pt x="1241688" y="1104849"/>
                      </a:lnTo>
                      <a:lnTo>
                        <a:pt x="1221191" y="1092403"/>
                      </a:lnTo>
                      <a:lnTo>
                        <a:pt x="1217755" y="1091116"/>
                      </a:lnTo>
                      <a:lnTo>
                        <a:pt x="1215739" y="1090776"/>
                      </a:lnTo>
                      <a:lnTo>
                        <a:pt x="1214075" y="1090800"/>
                      </a:lnTo>
                      <a:lnTo>
                        <a:pt x="1212582" y="1091080"/>
                      </a:lnTo>
                      <a:lnTo>
                        <a:pt x="1207530" y="1092695"/>
                      </a:lnTo>
                      <a:lnTo>
                        <a:pt x="1205806" y="1092974"/>
                      </a:lnTo>
                      <a:lnTo>
                        <a:pt x="1203790" y="1093034"/>
                      </a:lnTo>
                      <a:lnTo>
                        <a:pt x="1202418" y="1092573"/>
                      </a:lnTo>
                      <a:lnTo>
                        <a:pt x="1201095" y="1091565"/>
                      </a:lnTo>
                      <a:lnTo>
                        <a:pt x="1200694" y="1089926"/>
                      </a:lnTo>
                      <a:lnTo>
                        <a:pt x="1201034" y="1088554"/>
                      </a:lnTo>
                      <a:lnTo>
                        <a:pt x="1204373" y="1085020"/>
                      </a:lnTo>
                      <a:lnTo>
                        <a:pt x="1204944" y="1084109"/>
                      </a:lnTo>
                      <a:lnTo>
                        <a:pt x="1205187" y="1083356"/>
                      </a:lnTo>
                      <a:lnTo>
                        <a:pt x="1205235" y="1082288"/>
                      </a:lnTo>
                      <a:lnTo>
                        <a:pt x="1204713" y="1079653"/>
                      </a:lnTo>
                      <a:lnTo>
                        <a:pt x="1204142" y="1077977"/>
                      </a:lnTo>
                      <a:lnTo>
                        <a:pt x="1202418" y="1075706"/>
                      </a:lnTo>
                      <a:lnTo>
                        <a:pt x="1199662" y="1073302"/>
                      </a:lnTo>
                      <a:lnTo>
                        <a:pt x="1190190" y="1066806"/>
                      </a:lnTo>
                      <a:lnTo>
                        <a:pt x="1187592" y="1063770"/>
                      </a:lnTo>
                      <a:lnTo>
                        <a:pt x="1186972" y="1061851"/>
                      </a:lnTo>
                      <a:lnTo>
                        <a:pt x="1186741" y="1059957"/>
                      </a:lnTo>
                      <a:lnTo>
                        <a:pt x="1186681" y="1058378"/>
                      </a:lnTo>
                      <a:lnTo>
                        <a:pt x="1186159" y="1056970"/>
                      </a:lnTo>
                      <a:lnTo>
                        <a:pt x="1185078" y="1056083"/>
                      </a:lnTo>
                      <a:lnTo>
                        <a:pt x="1178703" y="1055221"/>
                      </a:lnTo>
                      <a:lnTo>
                        <a:pt x="1173409" y="1052841"/>
                      </a:lnTo>
                      <a:lnTo>
                        <a:pt x="1164981" y="1047231"/>
                      </a:lnTo>
                      <a:lnTo>
                        <a:pt x="1161933" y="1044450"/>
                      </a:lnTo>
                      <a:lnTo>
                        <a:pt x="1161084" y="1045823"/>
                      </a:lnTo>
                      <a:lnTo>
                        <a:pt x="1159699" y="1046976"/>
                      </a:lnTo>
                      <a:lnTo>
                        <a:pt x="1157696" y="1048045"/>
                      </a:lnTo>
                      <a:lnTo>
                        <a:pt x="1147228" y="1051372"/>
                      </a:lnTo>
                      <a:lnTo>
                        <a:pt x="1143561" y="1053813"/>
                      </a:lnTo>
                      <a:lnTo>
                        <a:pt x="1141958" y="1057771"/>
                      </a:lnTo>
                      <a:lnTo>
                        <a:pt x="1127885" y="1062337"/>
                      </a:lnTo>
                      <a:lnTo>
                        <a:pt x="1125019" y="1062447"/>
                      </a:lnTo>
                      <a:lnTo>
                        <a:pt x="1124035" y="1062337"/>
                      </a:lnTo>
                      <a:lnTo>
                        <a:pt x="1123113" y="1061791"/>
                      </a:lnTo>
                      <a:lnTo>
                        <a:pt x="1122882" y="1060929"/>
                      </a:lnTo>
                      <a:lnTo>
                        <a:pt x="1122943" y="1060103"/>
                      </a:lnTo>
                      <a:lnTo>
                        <a:pt x="1122785" y="1059666"/>
                      </a:lnTo>
                      <a:lnTo>
                        <a:pt x="1120417" y="1059556"/>
                      </a:lnTo>
                      <a:lnTo>
                        <a:pt x="1116701" y="1060795"/>
                      </a:lnTo>
                      <a:lnTo>
                        <a:pt x="1114442" y="1061135"/>
                      </a:lnTo>
                      <a:lnTo>
                        <a:pt x="1112269" y="1063515"/>
                      </a:lnTo>
                      <a:lnTo>
                        <a:pt x="1111067" y="1064341"/>
                      </a:lnTo>
                      <a:lnTo>
                        <a:pt x="1107497" y="1065470"/>
                      </a:lnTo>
                      <a:lnTo>
                        <a:pt x="1104461" y="1066041"/>
                      </a:lnTo>
                      <a:lnTo>
                        <a:pt x="1101061" y="1066296"/>
                      </a:lnTo>
                      <a:lnTo>
                        <a:pt x="1098717" y="1066065"/>
                      </a:lnTo>
                      <a:lnTo>
                        <a:pt x="1096981" y="1065094"/>
                      </a:lnTo>
                      <a:lnTo>
                        <a:pt x="1095791" y="1063333"/>
                      </a:lnTo>
                      <a:lnTo>
                        <a:pt x="1094747" y="1060637"/>
                      </a:lnTo>
                      <a:lnTo>
                        <a:pt x="1093545" y="1058196"/>
                      </a:lnTo>
                      <a:lnTo>
                        <a:pt x="1091881" y="1056156"/>
                      </a:lnTo>
                      <a:lnTo>
                        <a:pt x="1089124" y="1054578"/>
                      </a:lnTo>
                      <a:lnTo>
                        <a:pt x="1085907" y="1053752"/>
                      </a:lnTo>
                      <a:lnTo>
                        <a:pt x="1081669" y="1053351"/>
                      </a:lnTo>
                      <a:lnTo>
                        <a:pt x="1071554" y="1055343"/>
                      </a:lnTo>
                      <a:lnTo>
                        <a:pt x="1065531" y="1054760"/>
                      </a:lnTo>
                      <a:lnTo>
                        <a:pt x="1063224" y="1055088"/>
                      </a:lnTo>
                      <a:lnTo>
                        <a:pt x="1061341" y="1055828"/>
                      </a:lnTo>
                      <a:lnTo>
                        <a:pt x="1058111" y="1057941"/>
                      </a:lnTo>
                      <a:lnTo>
                        <a:pt x="1054493" y="1060953"/>
                      </a:lnTo>
                      <a:lnTo>
                        <a:pt x="1051918" y="1062544"/>
                      </a:lnTo>
                      <a:lnTo>
                        <a:pt x="1047547" y="1064001"/>
                      </a:lnTo>
                      <a:lnTo>
                        <a:pt x="1045373" y="1064207"/>
                      </a:lnTo>
                      <a:lnTo>
                        <a:pt x="1043588" y="1063454"/>
                      </a:lnTo>
                      <a:lnTo>
                        <a:pt x="1042787" y="1062021"/>
                      </a:lnTo>
                      <a:lnTo>
                        <a:pt x="1042265" y="1058002"/>
                      </a:lnTo>
                      <a:lnTo>
                        <a:pt x="1041864" y="1056424"/>
                      </a:lnTo>
                      <a:lnTo>
                        <a:pt x="1041245" y="1054966"/>
                      </a:lnTo>
                      <a:lnTo>
                        <a:pt x="1040601" y="1053898"/>
                      </a:lnTo>
                      <a:lnTo>
                        <a:pt x="1040140" y="1052611"/>
                      </a:lnTo>
                      <a:lnTo>
                        <a:pt x="1039338" y="1048409"/>
                      </a:lnTo>
                      <a:lnTo>
                        <a:pt x="1032854" y="1044426"/>
                      </a:lnTo>
                      <a:lnTo>
                        <a:pt x="1030559" y="1039739"/>
                      </a:lnTo>
                      <a:lnTo>
                        <a:pt x="1027681" y="1038039"/>
                      </a:lnTo>
                      <a:lnTo>
                        <a:pt x="1019363" y="1035076"/>
                      </a:lnTo>
                      <a:lnTo>
                        <a:pt x="1016825" y="1034542"/>
                      </a:lnTo>
                      <a:lnTo>
                        <a:pt x="1014190" y="1034420"/>
                      </a:lnTo>
                      <a:lnTo>
                        <a:pt x="1011665" y="1034603"/>
                      </a:lnTo>
                      <a:lnTo>
                        <a:pt x="1008617" y="1034263"/>
                      </a:lnTo>
                      <a:lnTo>
                        <a:pt x="1001610" y="1034457"/>
                      </a:lnTo>
                      <a:lnTo>
                        <a:pt x="997251" y="1033704"/>
                      </a:lnTo>
                      <a:lnTo>
                        <a:pt x="994725" y="1032963"/>
                      </a:lnTo>
                      <a:lnTo>
                        <a:pt x="987889" y="1029745"/>
                      </a:lnTo>
                      <a:lnTo>
                        <a:pt x="984392" y="1030037"/>
                      </a:lnTo>
                      <a:lnTo>
                        <a:pt x="983930" y="1030717"/>
                      </a:lnTo>
                      <a:lnTo>
                        <a:pt x="983639" y="1031749"/>
                      </a:lnTo>
                      <a:lnTo>
                        <a:pt x="983639" y="1033643"/>
                      </a:lnTo>
                      <a:lnTo>
                        <a:pt x="983299" y="1036048"/>
                      </a:lnTo>
                      <a:lnTo>
                        <a:pt x="981987" y="1039642"/>
                      </a:lnTo>
                      <a:lnTo>
                        <a:pt x="979850" y="1041475"/>
                      </a:lnTo>
                      <a:lnTo>
                        <a:pt x="975831" y="1042969"/>
                      </a:lnTo>
                      <a:lnTo>
                        <a:pt x="970597" y="1044232"/>
                      </a:lnTo>
                      <a:lnTo>
                        <a:pt x="961077" y="1047887"/>
                      </a:lnTo>
                      <a:lnTo>
                        <a:pt x="954641" y="1049660"/>
                      </a:lnTo>
                      <a:lnTo>
                        <a:pt x="938613" y="1051493"/>
                      </a:lnTo>
                      <a:lnTo>
                        <a:pt x="930064" y="1054080"/>
                      </a:lnTo>
                      <a:lnTo>
                        <a:pt x="926615" y="1055658"/>
                      </a:lnTo>
                      <a:lnTo>
                        <a:pt x="924721" y="1057638"/>
                      </a:lnTo>
                      <a:lnTo>
                        <a:pt x="924952" y="1059277"/>
                      </a:lnTo>
                      <a:lnTo>
                        <a:pt x="925644" y="1061366"/>
                      </a:lnTo>
                      <a:lnTo>
                        <a:pt x="926458" y="1063211"/>
                      </a:lnTo>
                      <a:lnTo>
                        <a:pt x="926676" y="1065009"/>
                      </a:lnTo>
                      <a:lnTo>
                        <a:pt x="926106" y="1066903"/>
                      </a:lnTo>
                      <a:lnTo>
                        <a:pt x="923932" y="1069089"/>
                      </a:lnTo>
                      <a:lnTo>
                        <a:pt x="921406" y="1069987"/>
                      </a:lnTo>
                      <a:lnTo>
                        <a:pt x="914108" y="1070643"/>
                      </a:lnTo>
                      <a:lnTo>
                        <a:pt x="909105" y="1071590"/>
                      </a:lnTo>
                      <a:lnTo>
                        <a:pt x="901759" y="1073909"/>
                      </a:lnTo>
                      <a:lnTo>
                        <a:pt x="890211" y="1074966"/>
                      </a:lnTo>
                      <a:lnTo>
                        <a:pt x="886082" y="1076459"/>
                      </a:lnTo>
                      <a:lnTo>
                        <a:pt x="882354" y="1076751"/>
                      </a:lnTo>
                      <a:lnTo>
                        <a:pt x="869301" y="1075852"/>
                      </a:lnTo>
                      <a:lnTo>
                        <a:pt x="857085" y="1072586"/>
                      </a:lnTo>
                      <a:lnTo>
                        <a:pt x="855762" y="1071857"/>
                      </a:lnTo>
                      <a:lnTo>
                        <a:pt x="852204" y="1068724"/>
                      </a:lnTo>
                      <a:lnTo>
                        <a:pt x="850540" y="1067632"/>
                      </a:lnTo>
                      <a:lnTo>
                        <a:pt x="848123" y="1066563"/>
                      </a:lnTo>
                      <a:lnTo>
                        <a:pt x="845027" y="1066199"/>
                      </a:lnTo>
                      <a:lnTo>
                        <a:pt x="842902" y="1066502"/>
                      </a:lnTo>
                      <a:lnTo>
                        <a:pt x="840838" y="1067668"/>
                      </a:lnTo>
                      <a:lnTo>
                        <a:pt x="839344" y="1068748"/>
                      </a:lnTo>
                      <a:lnTo>
                        <a:pt x="837158" y="1069975"/>
                      </a:lnTo>
                      <a:lnTo>
                        <a:pt x="835543" y="1070400"/>
                      </a:lnTo>
                      <a:lnTo>
                        <a:pt x="833831" y="1070485"/>
                      </a:lnTo>
                      <a:lnTo>
                        <a:pt x="832799" y="1070339"/>
                      </a:lnTo>
                      <a:lnTo>
                        <a:pt x="832046" y="1070133"/>
                      </a:lnTo>
                      <a:lnTo>
                        <a:pt x="831864" y="1069902"/>
                      </a:lnTo>
                      <a:lnTo>
                        <a:pt x="831925" y="1069465"/>
                      </a:lnTo>
                      <a:lnTo>
                        <a:pt x="832168" y="1068712"/>
                      </a:lnTo>
                      <a:lnTo>
                        <a:pt x="832228" y="1066648"/>
                      </a:lnTo>
                      <a:lnTo>
                        <a:pt x="831706" y="1061900"/>
                      </a:lnTo>
                      <a:lnTo>
                        <a:pt x="830954" y="1059459"/>
                      </a:lnTo>
                      <a:lnTo>
                        <a:pt x="829521" y="1056302"/>
                      </a:lnTo>
                      <a:lnTo>
                        <a:pt x="829351" y="1050911"/>
                      </a:lnTo>
                      <a:lnTo>
                        <a:pt x="827906" y="1048992"/>
                      </a:lnTo>
                      <a:lnTo>
                        <a:pt x="825683" y="1047753"/>
                      </a:lnTo>
                      <a:lnTo>
                        <a:pt x="824530" y="1047498"/>
                      </a:lnTo>
                      <a:lnTo>
                        <a:pt x="820450" y="1047170"/>
                      </a:lnTo>
                      <a:lnTo>
                        <a:pt x="818956" y="1047268"/>
                      </a:lnTo>
                      <a:lnTo>
                        <a:pt x="817062" y="1047668"/>
                      </a:lnTo>
                      <a:lnTo>
                        <a:pt x="815629" y="1048251"/>
                      </a:lnTo>
                      <a:lnTo>
                        <a:pt x="814306" y="1049283"/>
                      </a:lnTo>
                      <a:lnTo>
                        <a:pt x="809995" y="1054820"/>
                      </a:lnTo>
                      <a:lnTo>
                        <a:pt x="801337" y="1057868"/>
                      </a:lnTo>
                      <a:lnTo>
                        <a:pt x="790870" y="1060103"/>
                      </a:lnTo>
                      <a:lnTo>
                        <a:pt x="787943" y="1061754"/>
                      </a:lnTo>
                      <a:lnTo>
                        <a:pt x="785357" y="1064304"/>
                      </a:lnTo>
                      <a:lnTo>
                        <a:pt x="783122" y="1067413"/>
                      </a:lnTo>
                      <a:lnTo>
                        <a:pt x="778872" y="1072064"/>
                      </a:lnTo>
                      <a:lnTo>
                        <a:pt x="775315" y="1074820"/>
                      </a:lnTo>
                      <a:lnTo>
                        <a:pt x="767859" y="1079179"/>
                      </a:lnTo>
                      <a:lnTo>
                        <a:pt x="757294" y="1084036"/>
                      </a:lnTo>
                      <a:lnTo>
                        <a:pt x="734951" y="1091322"/>
                      </a:lnTo>
                      <a:lnTo>
                        <a:pt x="731333" y="1091929"/>
                      </a:lnTo>
                      <a:lnTo>
                        <a:pt x="727702" y="1091808"/>
                      </a:lnTo>
                      <a:lnTo>
                        <a:pt x="724205" y="1090727"/>
                      </a:lnTo>
                      <a:lnTo>
                        <a:pt x="715316" y="1086939"/>
                      </a:lnTo>
                      <a:lnTo>
                        <a:pt x="713240" y="1086623"/>
                      </a:lnTo>
                      <a:lnTo>
                        <a:pt x="711977" y="1086902"/>
                      </a:lnTo>
                      <a:lnTo>
                        <a:pt x="707217" y="1090096"/>
                      </a:lnTo>
                      <a:lnTo>
                        <a:pt x="703768" y="1091419"/>
                      </a:lnTo>
                      <a:lnTo>
                        <a:pt x="697903" y="1095281"/>
                      </a:lnTo>
                      <a:lnTo>
                        <a:pt x="696070" y="1095779"/>
                      </a:lnTo>
                      <a:lnTo>
                        <a:pt x="694637" y="1095402"/>
                      </a:lnTo>
                      <a:lnTo>
                        <a:pt x="693665" y="1094188"/>
                      </a:lnTo>
                      <a:lnTo>
                        <a:pt x="692512" y="1093047"/>
                      </a:lnTo>
                      <a:lnTo>
                        <a:pt x="691079" y="1092379"/>
                      </a:lnTo>
                      <a:lnTo>
                        <a:pt x="686258" y="1092172"/>
                      </a:lnTo>
                      <a:lnTo>
                        <a:pt x="683903" y="1091662"/>
                      </a:lnTo>
                      <a:lnTo>
                        <a:pt x="681838" y="1091504"/>
                      </a:lnTo>
                      <a:lnTo>
                        <a:pt x="679944" y="1092051"/>
                      </a:lnTo>
                      <a:lnTo>
                        <a:pt x="676957" y="1093666"/>
                      </a:lnTo>
                      <a:lnTo>
                        <a:pt x="675014" y="1094273"/>
                      </a:lnTo>
                      <a:lnTo>
                        <a:pt x="672646" y="1094480"/>
                      </a:lnTo>
                      <a:lnTo>
                        <a:pt x="670873" y="1094079"/>
                      </a:lnTo>
                      <a:lnTo>
                        <a:pt x="669380" y="1093302"/>
                      </a:lnTo>
                      <a:lnTo>
                        <a:pt x="668056" y="1091966"/>
                      </a:lnTo>
                      <a:lnTo>
                        <a:pt x="666793" y="1090290"/>
                      </a:lnTo>
                      <a:lnTo>
                        <a:pt x="665409" y="1089003"/>
                      </a:lnTo>
                      <a:lnTo>
                        <a:pt x="663915" y="1088287"/>
                      </a:lnTo>
                      <a:lnTo>
                        <a:pt x="661681" y="1087971"/>
                      </a:lnTo>
                      <a:lnTo>
                        <a:pt x="660588" y="1088226"/>
                      </a:lnTo>
                      <a:lnTo>
                        <a:pt x="659726" y="1089234"/>
                      </a:lnTo>
                      <a:lnTo>
                        <a:pt x="658293" y="1092063"/>
                      </a:lnTo>
                      <a:lnTo>
                        <a:pt x="656848" y="1093168"/>
                      </a:lnTo>
                      <a:lnTo>
                        <a:pt x="656168" y="1092816"/>
                      </a:lnTo>
                      <a:lnTo>
                        <a:pt x="655767" y="1091225"/>
                      </a:lnTo>
                      <a:lnTo>
                        <a:pt x="655415" y="1088918"/>
                      </a:lnTo>
                      <a:lnTo>
                        <a:pt x="654626" y="1086732"/>
                      </a:lnTo>
                      <a:lnTo>
                        <a:pt x="649514" y="1079410"/>
                      </a:lnTo>
                      <a:lnTo>
                        <a:pt x="645482" y="1072027"/>
                      </a:lnTo>
                      <a:lnTo>
                        <a:pt x="645312" y="1071626"/>
                      </a:lnTo>
                      <a:lnTo>
                        <a:pt x="645033" y="1069538"/>
                      </a:lnTo>
                      <a:lnTo>
                        <a:pt x="644972" y="1067449"/>
                      </a:lnTo>
                      <a:lnTo>
                        <a:pt x="645252" y="1065081"/>
                      </a:lnTo>
                      <a:lnTo>
                        <a:pt x="645944" y="1063503"/>
                      </a:lnTo>
                      <a:lnTo>
                        <a:pt x="647498" y="1062568"/>
                      </a:lnTo>
                      <a:lnTo>
                        <a:pt x="649902" y="1062276"/>
                      </a:lnTo>
                      <a:lnTo>
                        <a:pt x="668396" y="1063466"/>
                      </a:lnTo>
                      <a:lnTo>
                        <a:pt x="670460" y="1063114"/>
                      </a:lnTo>
                      <a:lnTo>
                        <a:pt x="672063" y="1062325"/>
                      </a:lnTo>
                      <a:lnTo>
                        <a:pt x="672476" y="1060734"/>
                      </a:lnTo>
                      <a:lnTo>
                        <a:pt x="671784" y="1059241"/>
                      </a:lnTo>
                      <a:lnTo>
                        <a:pt x="670460" y="1057492"/>
                      </a:lnTo>
                      <a:lnTo>
                        <a:pt x="669537" y="1055428"/>
                      </a:lnTo>
                      <a:lnTo>
                        <a:pt x="669380" y="1052769"/>
                      </a:lnTo>
                      <a:lnTo>
                        <a:pt x="669659" y="1049939"/>
                      </a:lnTo>
                      <a:lnTo>
                        <a:pt x="669659" y="1047049"/>
                      </a:lnTo>
                      <a:lnTo>
                        <a:pt x="667764" y="1033170"/>
                      </a:lnTo>
                      <a:lnTo>
                        <a:pt x="667072" y="1031069"/>
                      </a:lnTo>
                      <a:lnTo>
                        <a:pt x="665822" y="1029405"/>
                      </a:lnTo>
                      <a:lnTo>
                        <a:pt x="663976" y="1028227"/>
                      </a:lnTo>
                      <a:lnTo>
                        <a:pt x="659787" y="1026698"/>
                      </a:lnTo>
                      <a:lnTo>
                        <a:pt x="658694" y="1026066"/>
                      </a:lnTo>
                      <a:lnTo>
                        <a:pt x="658172" y="1025180"/>
                      </a:lnTo>
                      <a:lnTo>
                        <a:pt x="657832" y="1024427"/>
                      </a:lnTo>
                      <a:lnTo>
                        <a:pt x="657540" y="1023225"/>
                      </a:lnTo>
                      <a:lnTo>
                        <a:pt x="656751" y="1021768"/>
                      </a:lnTo>
                      <a:lnTo>
                        <a:pt x="655646" y="1020553"/>
                      </a:lnTo>
                      <a:lnTo>
                        <a:pt x="653193" y="1019290"/>
                      </a:lnTo>
                      <a:lnTo>
                        <a:pt x="650655" y="1018744"/>
                      </a:lnTo>
                      <a:lnTo>
                        <a:pt x="626709" y="1017882"/>
                      </a:lnTo>
                      <a:lnTo>
                        <a:pt x="623601" y="1018793"/>
                      </a:lnTo>
                      <a:lnTo>
                        <a:pt x="621476" y="1020553"/>
                      </a:lnTo>
                      <a:lnTo>
                        <a:pt x="619873" y="1023055"/>
                      </a:lnTo>
                      <a:lnTo>
                        <a:pt x="617808" y="1024512"/>
                      </a:lnTo>
                      <a:lnTo>
                        <a:pt x="612587" y="1025641"/>
                      </a:lnTo>
                      <a:lnTo>
                        <a:pt x="611312" y="1026394"/>
                      </a:lnTo>
                      <a:lnTo>
                        <a:pt x="609770" y="1029199"/>
                      </a:lnTo>
                      <a:lnTo>
                        <a:pt x="608725" y="1030632"/>
                      </a:lnTo>
                      <a:lnTo>
                        <a:pt x="607293" y="1031603"/>
                      </a:lnTo>
                      <a:lnTo>
                        <a:pt x="605289" y="1032356"/>
                      </a:lnTo>
                      <a:lnTo>
                        <a:pt x="603735" y="1032332"/>
                      </a:lnTo>
                      <a:lnTo>
                        <a:pt x="602484" y="1031846"/>
                      </a:lnTo>
                      <a:lnTo>
                        <a:pt x="601500" y="1030984"/>
                      </a:lnTo>
                      <a:lnTo>
                        <a:pt x="600699" y="1030001"/>
                      </a:lnTo>
                      <a:lnTo>
                        <a:pt x="600177" y="1029065"/>
                      </a:lnTo>
                      <a:lnTo>
                        <a:pt x="599315" y="1028313"/>
                      </a:lnTo>
                      <a:lnTo>
                        <a:pt x="597773" y="1027390"/>
                      </a:lnTo>
                      <a:lnTo>
                        <a:pt x="595587" y="1027001"/>
                      </a:lnTo>
                      <a:lnTo>
                        <a:pt x="585885" y="1027790"/>
                      </a:lnTo>
                      <a:lnTo>
                        <a:pt x="577275" y="1030122"/>
                      </a:lnTo>
                      <a:lnTo>
                        <a:pt x="569637" y="1033789"/>
                      </a:lnTo>
                      <a:lnTo>
                        <a:pt x="548727" y="1048603"/>
                      </a:lnTo>
                      <a:lnTo>
                        <a:pt x="545461" y="1049672"/>
                      </a:lnTo>
                      <a:lnTo>
                        <a:pt x="534884" y="1049563"/>
                      </a:lnTo>
                      <a:lnTo>
                        <a:pt x="529371" y="1052137"/>
                      </a:lnTo>
                      <a:lnTo>
                        <a:pt x="525534" y="1056679"/>
                      </a:lnTo>
                      <a:lnTo>
                        <a:pt x="524672" y="1061997"/>
                      </a:lnTo>
                      <a:lnTo>
                        <a:pt x="524502" y="1064462"/>
                      </a:lnTo>
                      <a:lnTo>
                        <a:pt x="524223" y="1065774"/>
                      </a:lnTo>
                      <a:lnTo>
                        <a:pt x="523980" y="1070145"/>
                      </a:lnTo>
                      <a:lnTo>
                        <a:pt x="524041" y="1070898"/>
                      </a:lnTo>
                      <a:lnTo>
                        <a:pt x="524041" y="1071481"/>
                      </a:lnTo>
                      <a:lnTo>
                        <a:pt x="523919" y="1072185"/>
                      </a:lnTo>
                      <a:lnTo>
                        <a:pt x="523579" y="1073169"/>
                      </a:lnTo>
                      <a:lnTo>
                        <a:pt x="522426" y="1075719"/>
                      </a:lnTo>
                      <a:lnTo>
                        <a:pt x="520884" y="1077394"/>
                      </a:lnTo>
                      <a:lnTo>
                        <a:pt x="518528" y="1079276"/>
                      </a:lnTo>
                      <a:lnTo>
                        <a:pt x="517253" y="1081037"/>
                      </a:lnTo>
                      <a:lnTo>
                        <a:pt x="513537" y="1088906"/>
                      </a:lnTo>
                      <a:lnTo>
                        <a:pt x="511813" y="1090764"/>
                      </a:lnTo>
                      <a:lnTo>
                        <a:pt x="509736" y="1092172"/>
                      </a:lnTo>
                      <a:lnTo>
                        <a:pt x="502499" y="1096131"/>
                      </a:lnTo>
                      <a:lnTo>
                        <a:pt x="497921" y="1099543"/>
                      </a:lnTo>
                      <a:lnTo>
                        <a:pt x="496185" y="1101401"/>
                      </a:lnTo>
                      <a:lnTo>
                        <a:pt x="495493" y="1103016"/>
                      </a:lnTo>
                      <a:lnTo>
                        <a:pt x="495905" y="1104886"/>
                      </a:lnTo>
                      <a:lnTo>
                        <a:pt x="496646" y="1107035"/>
                      </a:lnTo>
                      <a:lnTo>
                        <a:pt x="499233" y="1112269"/>
                      </a:lnTo>
                      <a:lnTo>
                        <a:pt x="499354" y="1120623"/>
                      </a:lnTo>
                      <a:lnTo>
                        <a:pt x="497678" y="1124108"/>
                      </a:lnTo>
                      <a:lnTo>
                        <a:pt x="496015" y="1126768"/>
                      </a:lnTo>
                      <a:lnTo>
                        <a:pt x="494060" y="1128953"/>
                      </a:lnTo>
                      <a:lnTo>
                        <a:pt x="491874" y="1130204"/>
                      </a:lnTo>
                      <a:lnTo>
                        <a:pt x="478322" y="1131625"/>
                      </a:lnTo>
                      <a:lnTo>
                        <a:pt x="474886" y="1132353"/>
                      </a:lnTo>
                      <a:lnTo>
                        <a:pt x="470114" y="1134539"/>
                      </a:lnTo>
                      <a:lnTo>
                        <a:pt x="467066" y="1137271"/>
                      </a:lnTo>
                      <a:lnTo>
                        <a:pt x="464722" y="1140161"/>
                      </a:lnTo>
                      <a:lnTo>
                        <a:pt x="461043" y="1145905"/>
                      </a:lnTo>
                      <a:lnTo>
                        <a:pt x="458578" y="1148783"/>
                      </a:lnTo>
                      <a:lnTo>
                        <a:pt x="453636" y="1150932"/>
                      </a:lnTo>
                      <a:lnTo>
                        <a:pt x="447734" y="1152887"/>
                      </a:lnTo>
                      <a:lnTo>
                        <a:pt x="436235" y="1153858"/>
                      </a:lnTo>
                      <a:lnTo>
                        <a:pt x="430443" y="1155231"/>
                      </a:lnTo>
                      <a:lnTo>
                        <a:pt x="411718" y="1153081"/>
                      </a:lnTo>
                      <a:lnTo>
                        <a:pt x="407978" y="1151406"/>
                      </a:lnTo>
                      <a:lnTo>
                        <a:pt x="403692" y="1148940"/>
                      </a:lnTo>
                      <a:lnTo>
                        <a:pt x="397026" y="1139870"/>
                      </a:lnTo>
                      <a:lnTo>
                        <a:pt x="396333" y="1138558"/>
                      </a:lnTo>
                      <a:lnTo>
                        <a:pt x="396103" y="1137733"/>
                      </a:lnTo>
                      <a:lnTo>
                        <a:pt x="396103" y="1137174"/>
                      </a:lnTo>
                      <a:lnTo>
                        <a:pt x="396224" y="1136725"/>
                      </a:lnTo>
                      <a:lnTo>
                        <a:pt x="396625" y="1136142"/>
                      </a:lnTo>
                      <a:lnTo>
                        <a:pt x="397196" y="1135802"/>
                      </a:lnTo>
                      <a:lnTo>
                        <a:pt x="398337" y="1135522"/>
                      </a:lnTo>
                      <a:lnTo>
                        <a:pt x="399612" y="1135522"/>
                      </a:lnTo>
                      <a:lnTo>
                        <a:pt x="401276" y="1135353"/>
                      </a:lnTo>
                      <a:lnTo>
                        <a:pt x="402708" y="1134430"/>
                      </a:lnTo>
                      <a:lnTo>
                        <a:pt x="403510" y="1132050"/>
                      </a:lnTo>
                      <a:lnTo>
                        <a:pt x="401567" y="1123404"/>
                      </a:lnTo>
                      <a:lnTo>
                        <a:pt x="401154" y="1115001"/>
                      </a:lnTo>
                      <a:lnTo>
                        <a:pt x="396965" y="1104740"/>
                      </a:lnTo>
                      <a:lnTo>
                        <a:pt x="394257" y="1099579"/>
                      </a:lnTo>
                      <a:lnTo>
                        <a:pt x="392253" y="1097746"/>
                      </a:lnTo>
                      <a:lnTo>
                        <a:pt x="389958" y="1097467"/>
                      </a:lnTo>
                      <a:lnTo>
                        <a:pt x="387773" y="1098037"/>
                      </a:lnTo>
                      <a:lnTo>
                        <a:pt x="385890" y="1098292"/>
                      </a:lnTo>
                      <a:lnTo>
                        <a:pt x="384093" y="1098207"/>
                      </a:lnTo>
                      <a:lnTo>
                        <a:pt x="374173" y="1095706"/>
                      </a:lnTo>
                      <a:lnTo>
                        <a:pt x="367737" y="1093265"/>
                      </a:lnTo>
                      <a:lnTo>
                        <a:pt x="364810" y="1092962"/>
                      </a:lnTo>
                      <a:lnTo>
                        <a:pt x="359297" y="1093107"/>
                      </a:lnTo>
                      <a:lnTo>
                        <a:pt x="353785" y="1091529"/>
                      </a:lnTo>
                      <a:lnTo>
                        <a:pt x="341787" y="1094735"/>
                      </a:lnTo>
                      <a:lnTo>
                        <a:pt x="321630" y="1095779"/>
                      </a:lnTo>
                      <a:lnTo>
                        <a:pt x="313531" y="1095378"/>
                      </a:lnTo>
                      <a:lnTo>
                        <a:pt x="306415" y="1094346"/>
                      </a:lnTo>
                      <a:lnTo>
                        <a:pt x="303428" y="1094601"/>
                      </a:lnTo>
                      <a:lnTo>
                        <a:pt x="300210" y="1095257"/>
                      </a:lnTo>
                      <a:lnTo>
                        <a:pt x="296021" y="1095342"/>
                      </a:lnTo>
                      <a:lnTo>
                        <a:pt x="289415" y="1097017"/>
                      </a:lnTo>
                      <a:lnTo>
                        <a:pt x="286889" y="1097042"/>
                      </a:lnTo>
                      <a:lnTo>
                        <a:pt x="279130" y="1096155"/>
                      </a:lnTo>
                      <a:lnTo>
                        <a:pt x="260636" y="1096155"/>
                      </a:lnTo>
                      <a:lnTo>
                        <a:pt x="258171" y="1095548"/>
                      </a:lnTo>
                      <a:lnTo>
                        <a:pt x="256617" y="1094977"/>
                      </a:lnTo>
                      <a:lnTo>
                        <a:pt x="254273" y="1094491"/>
                      </a:lnTo>
                      <a:lnTo>
                        <a:pt x="247607" y="1095123"/>
                      </a:lnTo>
                      <a:lnTo>
                        <a:pt x="228433" y="1090934"/>
                      </a:lnTo>
                      <a:lnTo>
                        <a:pt x="217869" y="1087024"/>
                      </a:lnTo>
                      <a:lnTo>
                        <a:pt x="215452" y="1085761"/>
                      </a:lnTo>
                      <a:lnTo>
                        <a:pt x="213509" y="1084097"/>
                      </a:lnTo>
                      <a:lnTo>
                        <a:pt x="212016" y="1081984"/>
                      </a:lnTo>
                      <a:lnTo>
                        <a:pt x="210923" y="1079835"/>
                      </a:lnTo>
                      <a:lnTo>
                        <a:pt x="209077" y="1075148"/>
                      </a:lnTo>
                      <a:lnTo>
                        <a:pt x="201852" y="1065021"/>
                      </a:lnTo>
                      <a:lnTo>
                        <a:pt x="198112" y="1061232"/>
                      </a:lnTo>
                      <a:lnTo>
                        <a:pt x="196108" y="1059884"/>
                      </a:lnTo>
                      <a:lnTo>
                        <a:pt x="191288" y="1057419"/>
                      </a:lnTo>
                      <a:lnTo>
                        <a:pt x="190073" y="1057055"/>
                      </a:lnTo>
                      <a:lnTo>
                        <a:pt x="180881" y="1056557"/>
                      </a:lnTo>
                      <a:lnTo>
                        <a:pt x="178076" y="1055525"/>
                      </a:lnTo>
                      <a:lnTo>
                        <a:pt x="175720" y="1053922"/>
                      </a:lnTo>
                      <a:lnTo>
                        <a:pt x="172794" y="1051481"/>
                      </a:lnTo>
                      <a:lnTo>
                        <a:pt x="171070" y="1050449"/>
                      </a:lnTo>
                      <a:lnTo>
                        <a:pt x="169236" y="1049879"/>
                      </a:lnTo>
                      <a:lnTo>
                        <a:pt x="163772" y="1049077"/>
                      </a:lnTo>
                      <a:lnTo>
                        <a:pt x="161708" y="1048980"/>
                      </a:lnTo>
                      <a:lnTo>
                        <a:pt x="144817" y="1050571"/>
                      </a:lnTo>
                      <a:lnTo>
                        <a:pt x="138697" y="1050534"/>
                      </a:lnTo>
                      <a:lnTo>
                        <a:pt x="134374" y="1050048"/>
                      </a:lnTo>
                      <a:lnTo>
                        <a:pt x="131909" y="1048895"/>
                      </a:lnTo>
                      <a:lnTo>
                        <a:pt x="129614" y="1047098"/>
                      </a:lnTo>
                      <a:lnTo>
                        <a:pt x="127707" y="1045143"/>
                      </a:lnTo>
                      <a:lnTo>
                        <a:pt x="125534" y="1043333"/>
                      </a:lnTo>
                      <a:lnTo>
                        <a:pt x="115662" y="1040662"/>
                      </a:lnTo>
                      <a:lnTo>
                        <a:pt x="112492" y="1038901"/>
                      </a:lnTo>
                      <a:lnTo>
                        <a:pt x="106530" y="1034141"/>
                      </a:lnTo>
                      <a:lnTo>
                        <a:pt x="101819" y="1031093"/>
                      </a:lnTo>
                      <a:lnTo>
                        <a:pt x="99281" y="1029114"/>
                      </a:lnTo>
                      <a:lnTo>
                        <a:pt x="97690" y="1027280"/>
                      </a:lnTo>
                      <a:lnTo>
                        <a:pt x="97046" y="1025507"/>
                      </a:lnTo>
                      <a:lnTo>
                        <a:pt x="96658" y="1020043"/>
                      </a:lnTo>
                      <a:lnTo>
                        <a:pt x="96026" y="1018270"/>
                      </a:lnTo>
                      <a:lnTo>
                        <a:pt x="93780" y="1013984"/>
                      </a:lnTo>
                      <a:lnTo>
                        <a:pt x="93148" y="1011907"/>
                      </a:lnTo>
                      <a:lnTo>
                        <a:pt x="92918" y="1008969"/>
                      </a:lnTo>
                      <a:lnTo>
                        <a:pt x="93841" y="992430"/>
                      </a:lnTo>
                      <a:lnTo>
                        <a:pt x="94229" y="989929"/>
                      </a:lnTo>
                      <a:lnTo>
                        <a:pt x="92638" y="984221"/>
                      </a:lnTo>
                      <a:lnTo>
                        <a:pt x="81843" y="972394"/>
                      </a:lnTo>
                      <a:lnTo>
                        <a:pt x="78043" y="969055"/>
                      </a:lnTo>
                      <a:lnTo>
                        <a:pt x="75056" y="969310"/>
                      </a:lnTo>
                      <a:lnTo>
                        <a:pt x="67600" y="976232"/>
                      </a:lnTo>
                      <a:lnTo>
                        <a:pt x="65754" y="977118"/>
                      </a:lnTo>
                      <a:lnTo>
                        <a:pt x="61686" y="978308"/>
                      </a:lnTo>
                      <a:lnTo>
                        <a:pt x="58978" y="979547"/>
                      </a:lnTo>
                      <a:lnTo>
                        <a:pt x="56793" y="979911"/>
                      </a:lnTo>
                      <a:lnTo>
                        <a:pt x="55930" y="980287"/>
                      </a:lnTo>
                      <a:lnTo>
                        <a:pt x="55712" y="980992"/>
                      </a:lnTo>
                      <a:lnTo>
                        <a:pt x="55712" y="982157"/>
                      </a:lnTo>
                      <a:lnTo>
                        <a:pt x="55542" y="983444"/>
                      </a:lnTo>
                      <a:lnTo>
                        <a:pt x="54910" y="984416"/>
                      </a:lnTo>
                      <a:lnTo>
                        <a:pt x="51802" y="986189"/>
                      </a:lnTo>
                      <a:lnTo>
                        <a:pt x="48292" y="987403"/>
                      </a:lnTo>
                      <a:lnTo>
                        <a:pt x="44346" y="988131"/>
                      </a:lnTo>
                      <a:lnTo>
                        <a:pt x="39975" y="988338"/>
                      </a:lnTo>
                      <a:lnTo>
                        <a:pt x="35846" y="987537"/>
                      </a:lnTo>
                      <a:lnTo>
                        <a:pt x="29920" y="983918"/>
                      </a:lnTo>
                      <a:lnTo>
                        <a:pt x="25743" y="983117"/>
                      </a:lnTo>
                      <a:lnTo>
                        <a:pt x="25792" y="968751"/>
                      </a:lnTo>
                      <a:lnTo>
                        <a:pt x="28208" y="961235"/>
                      </a:lnTo>
                      <a:lnTo>
                        <a:pt x="27965" y="959535"/>
                      </a:lnTo>
                      <a:lnTo>
                        <a:pt x="26423" y="956985"/>
                      </a:lnTo>
                      <a:lnTo>
                        <a:pt x="24711" y="955248"/>
                      </a:lnTo>
                      <a:lnTo>
                        <a:pt x="23545" y="953524"/>
                      </a:lnTo>
                      <a:lnTo>
                        <a:pt x="22974" y="951460"/>
                      </a:lnTo>
                      <a:lnTo>
                        <a:pt x="22404" y="946918"/>
                      </a:lnTo>
                      <a:lnTo>
                        <a:pt x="21542" y="943591"/>
                      </a:lnTo>
                      <a:lnTo>
                        <a:pt x="19647" y="939426"/>
                      </a:lnTo>
                      <a:lnTo>
                        <a:pt x="18105" y="937423"/>
                      </a:lnTo>
                      <a:lnTo>
                        <a:pt x="14997" y="934654"/>
                      </a:lnTo>
                      <a:lnTo>
                        <a:pt x="13964" y="933100"/>
                      </a:lnTo>
                      <a:lnTo>
                        <a:pt x="13624" y="931181"/>
                      </a:lnTo>
                      <a:lnTo>
                        <a:pt x="13843" y="925340"/>
                      </a:lnTo>
                      <a:lnTo>
                        <a:pt x="13564" y="922742"/>
                      </a:lnTo>
                      <a:lnTo>
                        <a:pt x="12531" y="919099"/>
                      </a:lnTo>
                      <a:lnTo>
                        <a:pt x="12131" y="915687"/>
                      </a:lnTo>
                      <a:lnTo>
                        <a:pt x="12701" y="910453"/>
                      </a:lnTo>
                      <a:lnTo>
                        <a:pt x="13904" y="907636"/>
                      </a:lnTo>
                      <a:lnTo>
                        <a:pt x="15118" y="905815"/>
                      </a:lnTo>
                      <a:lnTo>
                        <a:pt x="16259" y="905062"/>
                      </a:lnTo>
                      <a:lnTo>
                        <a:pt x="17522" y="904770"/>
                      </a:lnTo>
                      <a:lnTo>
                        <a:pt x="18737" y="904916"/>
                      </a:lnTo>
                      <a:lnTo>
                        <a:pt x="20048" y="905487"/>
                      </a:lnTo>
                      <a:lnTo>
                        <a:pt x="21420" y="906555"/>
                      </a:lnTo>
                      <a:lnTo>
                        <a:pt x="24067" y="909227"/>
                      </a:lnTo>
                      <a:lnTo>
                        <a:pt x="25391" y="909992"/>
                      </a:lnTo>
                      <a:lnTo>
                        <a:pt x="27225" y="910405"/>
                      </a:lnTo>
                      <a:lnTo>
                        <a:pt x="29459" y="910368"/>
                      </a:lnTo>
                      <a:lnTo>
                        <a:pt x="35324" y="909190"/>
                      </a:lnTo>
                      <a:lnTo>
                        <a:pt x="38432" y="908073"/>
                      </a:lnTo>
                      <a:lnTo>
                        <a:pt x="41298" y="906555"/>
                      </a:lnTo>
                      <a:lnTo>
                        <a:pt x="43642" y="904831"/>
                      </a:lnTo>
                      <a:lnTo>
                        <a:pt x="45487" y="902900"/>
                      </a:lnTo>
                      <a:lnTo>
                        <a:pt x="46532" y="901552"/>
                      </a:lnTo>
                      <a:lnTo>
                        <a:pt x="47442" y="899658"/>
                      </a:lnTo>
                      <a:lnTo>
                        <a:pt x="47661" y="897655"/>
                      </a:lnTo>
                      <a:lnTo>
                        <a:pt x="47272" y="895845"/>
                      </a:lnTo>
                      <a:lnTo>
                        <a:pt x="45548" y="894145"/>
                      </a:lnTo>
                      <a:lnTo>
                        <a:pt x="43132" y="892943"/>
                      </a:lnTo>
                      <a:lnTo>
                        <a:pt x="38432" y="891874"/>
                      </a:lnTo>
                      <a:lnTo>
                        <a:pt x="32397" y="891510"/>
                      </a:lnTo>
                      <a:lnTo>
                        <a:pt x="24869" y="892652"/>
                      </a:lnTo>
                      <a:lnTo>
                        <a:pt x="22756" y="892712"/>
                      </a:lnTo>
                      <a:lnTo>
                        <a:pt x="19987" y="891474"/>
                      </a:lnTo>
                      <a:lnTo>
                        <a:pt x="16891" y="889324"/>
                      </a:lnTo>
                      <a:lnTo>
                        <a:pt x="8342" y="881310"/>
                      </a:lnTo>
                      <a:lnTo>
                        <a:pt x="6387" y="879100"/>
                      </a:lnTo>
                      <a:lnTo>
                        <a:pt x="6205" y="876805"/>
                      </a:lnTo>
                      <a:lnTo>
                        <a:pt x="7820" y="873199"/>
                      </a:lnTo>
                      <a:lnTo>
                        <a:pt x="9544" y="871863"/>
                      </a:lnTo>
                      <a:lnTo>
                        <a:pt x="11038" y="871037"/>
                      </a:lnTo>
                      <a:lnTo>
                        <a:pt x="12349" y="870892"/>
                      </a:lnTo>
                      <a:lnTo>
                        <a:pt x="13381" y="870977"/>
                      </a:lnTo>
                      <a:lnTo>
                        <a:pt x="24019" y="874219"/>
                      </a:lnTo>
                      <a:lnTo>
                        <a:pt x="25901" y="874340"/>
                      </a:lnTo>
                      <a:lnTo>
                        <a:pt x="27807" y="873939"/>
                      </a:lnTo>
                      <a:lnTo>
                        <a:pt x="29981" y="873077"/>
                      </a:lnTo>
                      <a:lnTo>
                        <a:pt x="31827" y="871814"/>
                      </a:lnTo>
                      <a:lnTo>
                        <a:pt x="38651" y="864116"/>
                      </a:lnTo>
                      <a:lnTo>
                        <a:pt x="52713" y="853466"/>
                      </a:lnTo>
                      <a:lnTo>
                        <a:pt x="54206" y="852944"/>
                      </a:lnTo>
                      <a:lnTo>
                        <a:pt x="56343" y="852604"/>
                      </a:lnTo>
                      <a:lnTo>
                        <a:pt x="61164" y="852689"/>
                      </a:lnTo>
                      <a:lnTo>
                        <a:pt x="63520" y="852373"/>
                      </a:lnTo>
                      <a:lnTo>
                        <a:pt x="64953" y="851827"/>
                      </a:lnTo>
                      <a:lnTo>
                        <a:pt x="67248" y="850504"/>
                      </a:lnTo>
                      <a:lnTo>
                        <a:pt x="69142" y="848986"/>
                      </a:lnTo>
                      <a:lnTo>
                        <a:pt x="70757" y="847237"/>
                      </a:lnTo>
                      <a:lnTo>
                        <a:pt x="72190" y="845318"/>
                      </a:lnTo>
                      <a:lnTo>
                        <a:pt x="87526" y="815082"/>
                      </a:lnTo>
                      <a:lnTo>
                        <a:pt x="87696" y="811464"/>
                      </a:lnTo>
                      <a:lnTo>
                        <a:pt x="86312" y="807821"/>
                      </a:lnTo>
                      <a:lnTo>
                        <a:pt x="81601" y="801750"/>
                      </a:lnTo>
                      <a:lnTo>
                        <a:pt x="78966" y="800147"/>
                      </a:lnTo>
                      <a:lnTo>
                        <a:pt x="76780" y="799770"/>
                      </a:lnTo>
                      <a:lnTo>
                        <a:pt x="75177" y="800778"/>
                      </a:lnTo>
                      <a:lnTo>
                        <a:pt x="73744" y="801410"/>
                      </a:lnTo>
                      <a:lnTo>
                        <a:pt x="72311" y="801640"/>
                      </a:lnTo>
                      <a:lnTo>
                        <a:pt x="71097" y="801531"/>
                      </a:lnTo>
                      <a:lnTo>
                        <a:pt x="70004" y="801094"/>
                      </a:lnTo>
                      <a:lnTo>
                        <a:pt x="68972" y="799345"/>
                      </a:lnTo>
                      <a:lnTo>
                        <a:pt x="68170" y="796358"/>
                      </a:lnTo>
                      <a:lnTo>
                        <a:pt x="66106" y="778957"/>
                      </a:lnTo>
                      <a:lnTo>
                        <a:pt x="62257" y="769255"/>
                      </a:lnTo>
                      <a:lnTo>
                        <a:pt x="65523" y="767154"/>
                      </a:lnTo>
                      <a:lnTo>
                        <a:pt x="68231" y="764665"/>
                      </a:lnTo>
                      <a:lnTo>
                        <a:pt x="69725" y="763512"/>
                      </a:lnTo>
                      <a:lnTo>
                        <a:pt x="71850" y="762540"/>
                      </a:lnTo>
                      <a:lnTo>
                        <a:pt x="74254" y="762018"/>
                      </a:lnTo>
                      <a:lnTo>
                        <a:pt x="78043" y="762079"/>
                      </a:lnTo>
                      <a:lnTo>
                        <a:pt x="80799" y="762759"/>
                      </a:lnTo>
                      <a:lnTo>
                        <a:pt x="83726" y="763827"/>
                      </a:lnTo>
                      <a:lnTo>
                        <a:pt x="87113" y="764459"/>
                      </a:lnTo>
                      <a:lnTo>
                        <a:pt x="90853" y="764058"/>
                      </a:lnTo>
                      <a:lnTo>
                        <a:pt x="104757" y="756857"/>
                      </a:lnTo>
                      <a:lnTo>
                        <a:pt x="116354" y="754101"/>
                      </a:lnTo>
                      <a:lnTo>
                        <a:pt x="126736" y="747264"/>
                      </a:lnTo>
                      <a:lnTo>
                        <a:pt x="134896" y="744362"/>
                      </a:lnTo>
                      <a:lnTo>
                        <a:pt x="136560" y="742881"/>
                      </a:lnTo>
                      <a:lnTo>
                        <a:pt x="135807" y="740938"/>
                      </a:lnTo>
                      <a:lnTo>
                        <a:pt x="132030" y="738278"/>
                      </a:lnTo>
                      <a:lnTo>
                        <a:pt x="130537" y="736809"/>
                      </a:lnTo>
                      <a:lnTo>
                        <a:pt x="128521" y="733834"/>
                      </a:lnTo>
                      <a:lnTo>
                        <a:pt x="127197" y="732620"/>
                      </a:lnTo>
                      <a:lnTo>
                        <a:pt x="125072" y="731588"/>
                      </a:lnTo>
                      <a:lnTo>
                        <a:pt x="122717" y="731333"/>
                      </a:lnTo>
                      <a:lnTo>
                        <a:pt x="118248" y="731551"/>
                      </a:lnTo>
                      <a:lnTo>
                        <a:pt x="116293" y="731272"/>
                      </a:lnTo>
                      <a:lnTo>
                        <a:pt x="110598" y="729062"/>
                      </a:lnTo>
                      <a:lnTo>
                        <a:pt x="104806" y="727969"/>
                      </a:lnTo>
                      <a:lnTo>
                        <a:pt x="103264" y="727374"/>
                      </a:lnTo>
                      <a:lnTo>
                        <a:pt x="102171" y="726755"/>
                      </a:lnTo>
                      <a:lnTo>
                        <a:pt x="101078" y="725759"/>
                      </a:lnTo>
                      <a:lnTo>
                        <a:pt x="99706" y="723865"/>
                      </a:lnTo>
                      <a:lnTo>
                        <a:pt x="99062" y="721740"/>
                      </a:lnTo>
                      <a:lnTo>
                        <a:pt x="99341" y="719068"/>
                      </a:lnTo>
                      <a:lnTo>
                        <a:pt x="105947" y="706865"/>
                      </a:lnTo>
                      <a:lnTo>
                        <a:pt x="108364" y="703598"/>
                      </a:lnTo>
                      <a:lnTo>
                        <a:pt x="120021" y="693204"/>
                      </a:lnTo>
                      <a:lnTo>
                        <a:pt x="123117" y="691200"/>
                      </a:lnTo>
                      <a:lnTo>
                        <a:pt x="132771" y="688347"/>
                      </a:lnTo>
                      <a:lnTo>
                        <a:pt x="137082" y="686914"/>
                      </a:lnTo>
                      <a:lnTo>
                        <a:pt x="147707" y="679919"/>
                      </a:lnTo>
                      <a:lnTo>
                        <a:pt x="149710" y="679167"/>
                      </a:lnTo>
                      <a:lnTo>
                        <a:pt x="154410" y="678134"/>
                      </a:lnTo>
                      <a:lnTo>
                        <a:pt x="155903" y="677418"/>
                      </a:lnTo>
                      <a:lnTo>
                        <a:pt x="161647" y="672099"/>
                      </a:lnTo>
                      <a:lnTo>
                        <a:pt x="163444" y="669865"/>
                      </a:lnTo>
                      <a:lnTo>
                        <a:pt x="165095" y="667133"/>
                      </a:lnTo>
                      <a:lnTo>
                        <a:pt x="166589" y="663575"/>
                      </a:lnTo>
                      <a:lnTo>
                        <a:pt x="169175" y="655706"/>
                      </a:lnTo>
                      <a:lnTo>
                        <a:pt x="170268" y="653582"/>
                      </a:lnTo>
                      <a:lnTo>
                        <a:pt x="171871" y="651493"/>
                      </a:lnTo>
                      <a:lnTo>
                        <a:pt x="173595" y="649708"/>
                      </a:lnTo>
                      <a:lnTo>
                        <a:pt x="175380" y="647352"/>
                      </a:lnTo>
                      <a:lnTo>
                        <a:pt x="176923" y="644450"/>
                      </a:lnTo>
                      <a:lnTo>
                        <a:pt x="177663" y="640285"/>
                      </a:lnTo>
                      <a:lnTo>
                        <a:pt x="177846" y="636751"/>
                      </a:lnTo>
                      <a:lnTo>
                        <a:pt x="177627" y="633485"/>
                      </a:lnTo>
                      <a:lnTo>
                        <a:pt x="176413" y="627401"/>
                      </a:lnTo>
                      <a:lnTo>
                        <a:pt x="173486" y="622058"/>
                      </a:lnTo>
                      <a:lnTo>
                        <a:pt x="171580" y="619666"/>
                      </a:lnTo>
                      <a:lnTo>
                        <a:pt x="171070" y="616861"/>
                      </a:lnTo>
                      <a:lnTo>
                        <a:pt x="170778" y="613158"/>
                      </a:lnTo>
                      <a:lnTo>
                        <a:pt x="170960" y="606977"/>
                      </a:lnTo>
                      <a:lnTo>
                        <a:pt x="171932" y="598744"/>
                      </a:lnTo>
                      <a:lnTo>
                        <a:pt x="179169" y="577834"/>
                      </a:lnTo>
                      <a:lnTo>
                        <a:pt x="180711" y="575223"/>
                      </a:lnTo>
                      <a:lnTo>
                        <a:pt x="182047" y="573511"/>
                      </a:lnTo>
                      <a:lnTo>
                        <a:pt x="183128" y="571726"/>
                      </a:lnTo>
                      <a:lnTo>
                        <a:pt x="183237" y="570038"/>
                      </a:lnTo>
                      <a:lnTo>
                        <a:pt x="181804" y="567877"/>
                      </a:lnTo>
                      <a:lnTo>
                        <a:pt x="179970" y="566104"/>
                      </a:lnTo>
                      <a:lnTo>
                        <a:pt x="175830" y="562910"/>
                      </a:lnTo>
                      <a:lnTo>
                        <a:pt x="173948" y="560700"/>
                      </a:lnTo>
                      <a:lnTo>
                        <a:pt x="172090" y="558053"/>
                      </a:lnTo>
                      <a:lnTo>
                        <a:pt x="170438" y="554932"/>
                      </a:lnTo>
                      <a:lnTo>
                        <a:pt x="169054" y="551520"/>
                      </a:lnTo>
                      <a:lnTo>
                        <a:pt x="168192" y="547379"/>
                      </a:lnTo>
                      <a:lnTo>
                        <a:pt x="167560" y="537507"/>
                      </a:lnTo>
                      <a:lnTo>
                        <a:pt x="166528" y="534168"/>
                      </a:lnTo>
                      <a:lnTo>
                        <a:pt x="164755" y="531326"/>
                      </a:lnTo>
                      <a:lnTo>
                        <a:pt x="162108" y="529116"/>
                      </a:lnTo>
                      <a:lnTo>
                        <a:pt x="159242" y="527368"/>
                      </a:lnTo>
                      <a:lnTo>
                        <a:pt x="156085" y="526336"/>
                      </a:lnTo>
                      <a:lnTo>
                        <a:pt x="152977" y="525959"/>
                      </a:lnTo>
                      <a:lnTo>
                        <a:pt x="143967" y="527222"/>
                      </a:lnTo>
                      <a:lnTo>
                        <a:pt x="141441" y="527113"/>
                      </a:lnTo>
                      <a:lnTo>
                        <a:pt x="139437" y="526445"/>
                      </a:lnTo>
                      <a:lnTo>
                        <a:pt x="138697" y="525048"/>
                      </a:lnTo>
                      <a:lnTo>
                        <a:pt x="139146" y="523118"/>
                      </a:lnTo>
                      <a:lnTo>
                        <a:pt x="141441" y="520337"/>
                      </a:lnTo>
                      <a:lnTo>
                        <a:pt x="142995" y="517799"/>
                      </a:lnTo>
                      <a:lnTo>
                        <a:pt x="143906" y="514448"/>
                      </a:lnTo>
                      <a:lnTo>
                        <a:pt x="144027" y="511521"/>
                      </a:lnTo>
                      <a:lnTo>
                        <a:pt x="144307" y="508995"/>
                      </a:lnTo>
                      <a:lnTo>
                        <a:pt x="145339" y="506955"/>
                      </a:lnTo>
                      <a:lnTo>
                        <a:pt x="156085" y="497824"/>
                      </a:lnTo>
                      <a:lnTo>
                        <a:pt x="158781" y="494752"/>
                      </a:lnTo>
                      <a:lnTo>
                        <a:pt x="160396" y="491655"/>
                      </a:lnTo>
                      <a:lnTo>
                        <a:pt x="160044" y="487770"/>
                      </a:lnTo>
                      <a:lnTo>
                        <a:pt x="157919" y="485511"/>
                      </a:lnTo>
                      <a:lnTo>
                        <a:pt x="154822" y="483896"/>
                      </a:lnTo>
                      <a:lnTo>
                        <a:pt x="136669" y="478760"/>
                      </a:lnTo>
                      <a:lnTo>
                        <a:pt x="135588" y="477533"/>
                      </a:lnTo>
                      <a:lnTo>
                        <a:pt x="135127" y="475833"/>
                      </a:lnTo>
                      <a:lnTo>
                        <a:pt x="135066" y="474084"/>
                      </a:lnTo>
                      <a:lnTo>
                        <a:pt x="135697" y="471583"/>
                      </a:lnTo>
                      <a:lnTo>
                        <a:pt x="136499" y="469835"/>
                      </a:lnTo>
                      <a:lnTo>
                        <a:pt x="142012" y="460667"/>
                      </a:lnTo>
                      <a:lnTo>
                        <a:pt x="148678" y="445342"/>
                      </a:lnTo>
                      <a:lnTo>
                        <a:pt x="148557" y="443193"/>
                      </a:lnTo>
                      <a:lnTo>
                        <a:pt x="146602" y="439939"/>
                      </a:lnTo>
                      <a:lnTo>
                        <a:pt x="146092" y="438056"/>
                      </a:lnTo>
                      <a:lnTo>
                        <a:pt x="145861" y="432823"/>
                      </a:lnTo>
                      <a:lnTo>
                        <a:pt x="146274" y="426302"/>
                      </a:lnTo>
                      <a:lnTo>
                        <a:pt x="147063" y="423946"/>
                      </a:lnTo>
                      <a:lnTo>
                        <a:pt x="148095" y="422684"/>
                      </a:lnTo>
                      <a:lnTo>
                        <a:pt x="149990" y="422708"/>
                      </a:lnTo>
                      <a:lnTo>
                        <a:pt x="151204" y="424128"/>
                      </a:lnTo>
                      <a:lnTo>
                        <a:pt x="152066" y="426739"/>
                      </a:lnTo>
                      <a:lnTo>
                        <a:pt x="152867" y="431851"/>
                      </a:lnTo>
                      <a:lnTo>
                        <a:pt x="153560" y="433661"/>
                      </a:lnTo>
                      <a:lnTo>
                        <a:pt x="154762" y="434924"/>
                      </a:lnTo>
                      <a:lnTo>
                        <a:pt x="157870" y="436781"/>
                      </a:lnTo>
                      <a:lnTo>
                        <a:pt x="159121" y="438105"/>
                      </a:lnTo>
                      <a:lnTo>
                        <a:pt x="161198" y="442647"/>
                      </a:lnTo>
                      <a:lnTo>
                        <a:pt x="162570" y="444565"/>
                      </a:lnTo>
                      <a:lnTo>
                        <a:pt x="164695" y="445864"/>
                      </a:lnTo>
                      <a:lnTo>
                        <a:pt x="166820" y="445962"/>
                      </a:lnTo>
                      <a:lnTo>
                        <a:pt x="173948" y="445658"/>
                      </a:lnTo>
                      <a:lnTo>
                        <a:pt x="176413" y="445148"/>
                      </a:lnTo>
                      <a:lnTo>
                        <a:pt x="178756" y="444043"/>
                      </a:lnTo>
                      <a:lnTo>
                        <a:pt x="181063" y="442355"/>
                      </a:lnTo>
                      <a:lnTo>
                        <a:pt x="182618" y="440169"/>
                      </a:lnTo>
                      <a:lnTo>
                        <a:pt x="183128" y="436527"/>
                      </a:lnTo>
                      <a:lnTo>
                        <a:pt x="182958" y="433916"/>
                      </a:lnTo>
                      <a:lnTo>
                        <a:pt x="183067" y="431524"/>
                      </a:lnTo>
                      <a:lnTo>
                        <a:pt x="183759" y="429265"/>
                      </a:lnTo>
                      <a:lnTo>
                        <a:pt x="185083" y="426339"/>
                      </a:lnTo>
                      <a:lnTo>
                        <a:pt x="185240" y="423546"/>
                      </a:lnTo>
                      <a:lnTo>
                        <a:pt x="184269" y="421894"/>
                      </a:lnTo>
                      <a:lnTo>
                        <a:pt x="182836" y="420996"/>
                      </a:lnTo>
                      <a:lnTo>
                        <a:pt x="181294" y="420850"/>
                      </a:lnTo>
                      <a:lnTo>
                        <a:pt x="179509" y="421141"/>
                      </a:lnTo>
                      <a:lnTo>
                        <a:pt x="177663" y="421651"/>
                      </a:lnTo>
                      <a:lnTo>
                        <a:pt x="175781" y="421894"/>
                      </a:lnTo>
                      <a:lnTo>
                        <a:pt x="173887" y="421506"/>
                      </a:lnTo>
                      <a:lnTo>
                        <a:pt x="169467" y="420194"/>
                      </a:lnTo>
                      <a:lnTo>
                        <a:pt x="166528" y="419903"/>
                      </a:lnTo>
                      <a:lnTo>
                        <a:pt x="160845" y="419963"/>
                      </a:lnTo>
                      <a:lnTo>
                        <a:pt x="158732" y="419623"/>
                      </a:lnTo>
                      <a:lnTo>
                        <a:pt x="157749" y="418956"/>
                      </a:lnTo>
                      <a:lnTo>
                        <a:pt x="157458" y="417778"/>
                      </a:lnTo>
                      <a:lnTo>
                        <a:pt x="158611" y="411779"/>
                      </a:lnTo>
                      <a:lnTo>
                        <a:pt x="158781" y="409423"/>
                      </a:lnTo>
                      <a:lnTo>
                        <a:pt x="158672" y="407213"/>
                      </a:lnTo>
                      <a:lnTo>
                        <a:pt x="158028" y="404809"/>
                      </a:lnTo>
                      <a:lnTo>
                        <a:pt x="154470" y="395811"/>
                      </a:lnTo>
                      <a:lnTo>
                        <a:pt x="154822" y="393625"/>
                      </a:lnTo>
                      <a:lnTo>
                        <a:pt x="156195" y="392630"/>
                      </a:lnTo>
                      <a:lnTo>
                        <a:pt x="160153" y="392654"/>
                      </a:lnTo>
                      <a:lnTo>
                        <a:pt x="163201" y="393723"/>
                      </a:lnTo>
                      <a:lnTo>
                        <a:pt x="165848" y="395240"/>
                      </a:lnTo>
                      <a:lnTo>
                        <a:pt x="168884" y="398543"/>
                      </a:lnTo>
                      <a:lnTo>
                        <a:pt x="170317" y="399660"/>
                      </a:lnTo>
                      <a:lnTo>
                        <a:pt x="172150" y="400438"/>
                      </a:lnTo>
                      <a:lnTo>
                        <a:pt x="174118" y="400875"/>
                      </a:lnTo>
                      <a:lnTo>
                        <a:pt x="176012" y="401664"/>
                      </a:lnTo>
                      <a:lnTo>
                        <a:pt x="180140" y="404518"/>
                      </a:lnTo>
                      <a:lnTo>
                        <a:pt x="182897" y="405829"/>
                      </a:lnTo>
                      <a:lnTo>
                        <a:pt x="185666" y="406473"/>
                      </a:lnTo>
                      <a:lnTo>
                        <a:pt x="188240" y="406266"/>
                      </a:lnTo>
                      <a:lnTo>
                        <a:pt x="189733" y="405829"/>
                      </a:lnTo>
                      <a:lnTo>
                        <a:pt x="191810" y="404542"/>
                      </a:lnTo>
                      <a:lnTo>
                        <a:pt x="197201" y="399916"/>
                      </a:lnTo>
                      <a:lnTo>
                        <a:pt x="198294" y="399405"/>
                      </a:lnTo>
                      <a:lnTo>
                        <a:pt x="199436" y="399491"/>
                      </a:lnTo>
                      <a:lnTo>
                        <a:pt x="202532" y="400948"/>
                      </a:lnTo>
                      <a:lnTo>
                        <a:pt x="203746" y="401324"/>
                      </a:lnTo>
                      <a:lnTo>
                        <a:pt x="204948" y="401324"/>
                      </a:lnTo>
                      <a:lnTo>
                        <a:pt x="206151" y="400778"/>
                      </a:lnTo>
                      <a:lnTo>
                        <a:pt x="207013" y="399782"/>
                      </a:lnTo>
                      <a:lnTo>
                        <a:pt x="207814" y="398082"/>
                      </a:lnTo>
                      <a:lnTo>
                        <a:pt x="208555" y="393625"/>
                      </a:lnTo>
                      <a:lnTo>
                        <a:pt x="208458" y="391051"/>
                      </a:lnTo>
                      <a:lnTo>
                        <a:pt x="206734" y="383583"/>
                      </a:lnTo>
                      <a:lnTo>
                        <a:pt x="207122" y="382284"/>
                      </a:lnTo>
                      <a:lnTo>
                        <a:pt x="207474" y="381604"/>
                      </a:lnTo>
                      <a:lnTo>
                        <a:pt x="208045" y="380888"/>
                      </a:lnTo>
                      <a:lnTo>
                        <a:pt x="210461" y="378848"/>
                      </a:lnTo>
                      <a:lnTo>
                        <a:pt x="211494" y="377670"/>
                      </a:lnTo>
                      <a:lnTo>
                        <a:pt x="212186" y="376662"/>
                      </a:lnTo>
                      <a:lnTo>
                        <a:pt x="212696" y="375545"/>
                      </a:lnTo>
                      <a:lnTo>
                        <a:pt x="213388" y="372910"/>
                      </a:lnTo>
                      <a:lnTo>
                        <a:pt x="213667" y="372072"/>
                      </a:lnTo>
                      <a:lnTo>
                        <a:pt x="214129" y="371149"/>
                      </a:lnTo>
                      <a:lnTo>
                        <a:pt x="215914" y="370347"/>
                      </a:lnTo>
                      <a:lnTo>
                        <a:pt x="218731" y="370007"/>
                      </a:lnTo>
                      <a:lnTo>
                        <a:pt x="227802" y="371040"/>
                      </a:lnTo>
                      <a:lnTo>
                        <a:pt x="233205" y="371125"/>
                      </a:lnTo>
                      <a:lnTo>
                        <a:pt x="239969" y="369522"/>
                      </a:lnTo>
                      <a:lnTo>
                        <a:pt x="246295" y="367567"/>
                      </a:lnTo>
                      <a:lnTo>
                        <a:pt x="247971" y="367275"/>
                      </a:lnTo>
                      <a:lnTo>
                        <a:pt x="249040" y="367275"/>
                      </a:lnTo>
                      <a:lnTo>
                        <a:pt x="249853" y="367567"/>
                      </a:lnTo>
                      <a:lnTo>
                        <a:pt x="249853" y="368429"/>
                      </a:lnTo>
                      <a:lnTo>
                        <a:pt x="249282" y="370408"/>
                      </a:lnTo>
                      <a:lnTo>
                        <a:pt x="247218" y="373213"/>
                      </a:lnTo>
                      <a:lnTo>
                        <a:pt x="243818" y="379880"/>
                      </a:lnTo>
                      <a:lnTo>
                        <a:pt x="244110" y="381798"/>
                      </a:lnTo>
                      <a:lnTo>
                        <a:pt x="244401" y="382466"/>
                      </a:lnTo>
                      <a:lnTo>
                        <a:pt x="245312" y="383960"/>
                      </a:lnTo>
                      <a:lnTo>
                        <a:pt x="248760" y="388088"/>
                      </a:lnTo>
                      <a:lnTo>
                        <a:pt x="249452" y="390213"/>
                      </a:lnTo>
                      <a:lnTo>
                        <a:pt x="249222" y="392083"/>
                      </a:lnTo>
                      <a:lnTo>
                        <a:pt x="248068" y="393237"/>
                      </a:lnTo>
                      <a:lnTo>
                        <a:pt x="246356" y="393917"/>
                      </a:lnTo>
                      <a:lnTo>
                        <a:pt x="244450" y="393723"/>
                      </a:lnTo>
                      <a:lnTo>
                        <a:pt x="242276" y="393031"/>
                      </a:lnTo>
                      <a:lnTo>
                        <a:pt x="239398" y="391743"/>
                      </a:lnTo>
                      <a:lnTo>
                        <a:pt x="237564" y="391488"/>
                      </a:lnTo>
                      <a:lnTo>
                        <a:pt x="236302" y="391816"/>
                      </a:lnTo>
                      <a:lnTo>
                        <a:pt x="235609" y="392691"/>
                      </a:lnTo>
                      <a:lnTo>
                        <a:pt x="235148" y="393723"/>
                      </a:lnTo>
                      <a:lnTo>
                        <a:pt x="234917" y="395216"/>
                      </a:lnTo>
                      <a:lnTo>
                        <a:pt x="235099" y="396819"/>
                      </a:lnTo>
                      <a:lnTo>
                        <a:pt x="236642" y="398883"/>
                      </a:lnTo>
                      <a:lnTo>
                        <a:pt x="239398" y="400438"/>
                      </a:lnTo>
                      <a:lnTo>
                        <a:pt x="244972" y="401591"/>
                      </a:lnTo>
                      <a:lnTo>
                        <a:pt x="249452" y="401433"/>
                      </a:lnTo>
                      <a:lnTo>
                        <a:pt x="253690" y="400778"/>
                      </a:lnTo>
                      <a:lnTo>
                        <a:pt x="261729" y="398191"/>
                      </a:lnTo>
                      <a:lnTo>
                        <a:pt x="263745" y="398191"/>
                      </a:lnTo>
                      <a:lnTo>
                        <a:pt x="265129" y="398713"/>
                      </a:lnTo>
                      <a:lnTo>
                        <a:pt x="265469" y="399940"/>
                      </a:lnTo>
                      <a:lnTo>
                        <a:pt x="265238" y="401069"/>
                      </a:lnTo>
                      <a:lnTo>
                        <a:pt x="264437" y="402648"/>
                      </a:lnTo>
                      <a:lnTo>
                        <a:pt x="263065" y="404433"/>
                      </a:lnTo>
                      <a:lnTo>
                        <a:pt x="261219" y="406315"/>
                      </a:lnTo>
                      <a:lnTo>
                        <a:pt x="258693" y="408100"/>
                      </a:lnTo>
                      <a:lnTo>
                        <a:pt x="255706" y="409630"/>
                      </a:lnTo>
                      <a:lnTo>
                        <a:pt x="252318" y="410601"/>
                      </a:lnTo>
                      <a:lnTo>
                        <a:pt x="248942" y="411087"/>
                      </a:lnTo>
                      <a:lnTo>
                        <a:pt x="244923" y="411208"/>
                      </a:lnTo>
                      <a:lnTo>
                        <a:pt x="241523" y="410893"/>
                      </a:lnTo>
                      <a:lnTo>
                        <a:pt x="238317" y="410018"/>
                      </a:lnTo>
                      <a:lnTo>
                        <a:pt x="235488" y="408683"/>
                      </a:lnTo>
                      <a:lnTo>
                        <a:pt x="233205" y="406752"/>
                      </a:lnTo>
                      <a:lnTo>
                        <a:pt x="229004" y="402126"/>
                      </a:lnTo>
                      <a:lnTo>
                        <a:pt x="227122" y="400523"/>
                      </a:lnTo>
                      <a:lnTo>
                        <a:pt x="225446" y="399940"/>
                      </a:lnTo>
                      <a:lnTo>
                        <a:pt x="224195" y="400523"/>
                      </a:lnTo>
                      <a:lnTo>
                        <a:pt x="223491" y="401871"/>
                      </a:lnTo>
                      <a:lnTo>
                        <a:pt x="223612" y="403510"/>
                      </a:lnTo>
                      <a:lnTo>
                        <a:pt x="224414" y="405659"/>
                      </a:lnTo>
                      <a:lnTo>
                        <a:pt x="227000" y="409861"/>
                      </a:lnTo>
                      <a:lnTo>
                        <a:pt x="228032" y="412095"/>
                      </a:lnTo>
                      <a:lnTo>
                        <a:pt x="228615" y="414851"/>
                      </a:lnTo>
                      <a:lnTo>
                        <a:pt x="228142" y="417146"/>
                      </a:lnTo>
                      <a:lnTo>
                        <a:pt x="226939" y="418846"/>
                      </a:lnTo>
                      <a:lnTo>
                        <a:pt x="223042" y="421858"/>
                      </a:lnTo>
                      <a:lnTo>
                        <a:pt x="221706" y="424092"/>
                      </a:lnTo>
                      <a:lnTo>
                        <a:pt x="221366" y="426508"/>
                      </a:lnTo>
                      <a:lnTo>
                        <a:pt x="221949" y="428925"/>
                      </a:lnTo>
                      <a:lnTo>
                        <a:pt x="223260" y="430844"/>
                      </a:lnTo>
                      <a:lnTo>
                        <a:pt x="225166" y="432616"/>
                      </a:lnTo>
                      <a:lnTo>
                        <a:pt x="227340" y="434001"/>
                      </a:lnTo>
                      <a:lnTo>
                        <a:pt x="230558" y="434827"/>
                      </a:lnTo>
                      <a:lnTo>
                        <a:pt x="234577" y="434948"/>
                      </a:lnTo>
                      <a:lnTo>
                        <a:pt x="241462" y="434171"/>
                      </a:lnTo>
                      <a:lnTo>
                        <a:pt x="247036" y="434049"/>
                      </a:lnTo>
                      <a:lnTo>
                        <a:pt x="253241" y="435057"/>
                      </a:lnTo>
                      <a:lnTo>
                        <a:pt x="261790" y="438056"/>
                      </a:lnTo>
                      <a:lnTo>
                        <a:pt x="267242" y="438797"/>
                      </a:lnTo>
                      <a:lnTo>
                        <a:pt x="273168" y="438360"/>
                      </a:lnTo>
                      <a:lnTo>
                        <a:pt x="292293" y="433855"/>
                      </a:lnTo>
                      <a:lnTo>
                        <a:pt x="301363" y="433515"/>
                      </a:lnTo>
                      <a:lnTo>
                        <a:pt x="310835" y="431329"/>
                      </a:lnTo>
                      <a:lnTo>
                        <a:pt x="323694" y="424092"/>
                      </a:lnTo>
                      <a:lnTo>
                        <a:pt x="326451" y="423157"/>
                      </a:lnTo>
                      <a:lnTo>
                        <a:pt x="329268" y="423036"/>
                      </a:lnTo>
                      <a:lnTo>
                        <a:pt x="331454" y="423546"/>
                      </a:lnTo>
                      <a:lnTo>
                        <a:pt x="333105" y="424724"/>
                      </a:lnTo>
                      <a:lnTo>
                        <a:pt x="335752" y="427201"/>
                      </a:lnTo>
                      <a:lnTo>
                        <a:pt x="341666" y="435458"/>
                      </a:lnTo>
                      <a:lnTo>
                        <a:pt x="342637" y="439489"/>
                      </a:lnTo>
                      <a:lnTo>
                        <a:pt x="342479" y="441918"/>
                      </a:lnTo>
                      <a:lnTo>
                        <a:pt x="341727" y="443934"/>
                      </a:lnTo>
                      <a:lnTo>
                        <a:pt x="341727" y="446180"/>
                      </a:lnTo>
                      <a:lnTo>
                        <a:pt x="342929" y="448706"/>
                      </a:lnTo>
                      <a:lnTo>
                        <a:pt x="346657" y="452373"/>
                      </a:lnTo>
                      <a:lnTo>
                        <a:pt x="352182" y="459039"/>
                      </a:lnTo>
                      <a:lnTo>
                        <a:pt x="353214" y="475979"/>
                      </a:lnTo>
                      <a:lnTo>
                        <a:pt x="353044" y="478614"/>
                      </a:lnTo>
                      <a:lnTo>
                        <a:pt x="352801" y="479330"/>
                      </a:lnTo>
                      <a:lnTo>
                        <a:pt x="352182" y="480460"/>
                      </a:lnTo>
                      <a:lnTo>
                        <a:pt x="350627" y="482670"/>
                      </a:lnTo>
                      <a:lnTo>
                        <a:pt x="348442" y="484272"/>
                      </a:lnTo>
                      <a:lnTo>
                        <a:pt x="346207" y="484795"/>
                      </a:lnTo>
                      <a:lnTo>
                        <a:pt x="343912" y="484163"/>
                      </a:lnTo>
                      <a:lnTo>
                        <a:pt x="337707" y="479998"/>
                      </a:lnTo>
                      <a:lnTo>
                        <a:pt x="334902" y="479561"/>
                      </a:lnTo>
                      <a:lnTo>
                        <a:pt x="332717" y="480132"/>
                      </a:lnTo>
                      <a:lnTo>
                        <a:pt x="330579" y="482099"/>
                      </a:lnTo>
                      <a:lnTo>
                        <a:pt x="328867" y="485025"/>
                      </a:lnTo>
                      <a:lnTo>
                        <a:pt x="327021" y="490757"/>
                      </a:lnTo>
                      <a:lnTo>
                        <a:pt x="326864" y="493950"/>
                      </a:lnTo>
                      <a:lnTo>
                        <a:pt x="327422" y="496622"/>
                      </a:lnTo>
                      <a:lnTo>
                        <a:pt x="328114" y="498808"/>
                      </a:lnTo>
                      <a:lnTo>
                        <a:pt x="329147" y="507235"/>
                      </a:lnTo>
                      <a:lnTo>
                        <a:pt x="330130" y="510222"/>
                      </a:lnTo>
                      <a:lnTo>
                        <a:pt x="331502" y="511873"/>
                      </a:lnTo>
                      <a:lnTo>
                        <a:pt x="333469" y="512954"/>
                      </a:lnTo>
                      <a:lnTo>
                        <a:pt x="335522" y="513707"/>
                      </a:lnTo>
                      <a:lnTo>
                        <a:pt x="337185" y="514508"/>
                      </a:lnTo>
                      <a:lnTo>
                        <a:pt x="338557" y="515820"/>
                      </a:lnTo>
                      <a:lnTo>
                        <a:pt x="339310" y="517374"/>
                      </a:lnTo>
                      <a:lnTo>
                        <a:pt x="339954" y="520106"/>
                      </a:lnTo>
                      <a:lnTo>
                        <a:pt x="339650" y="524150"/>
                      </a:lnTo>
                      <a:lnTo>
                        <a:pt x="338217" y="528230"/>
                      </a:lnTo>
                      <a:lnTo>
                        <a:pt x="331502" y="536208"/>
                      </a:lnTo>
                      <a:lnTo>
                        <a:pt x="329389" y="540494"/>
                      </a:lnTo>
                      <a:lnTo>
                        <a:pt x="329147" y="544101"/>
                      </a:lnTo>
                      <a:lnTo>
                        <a:pt x="330130" y="547780"/>
                      </a:lnTo>
                      <a:lnTo>
                        <a:pt x="332304" y="550221"/>
                      </a:lnTo>
                      <a:lnTo>
                        <a:pt x="340112" y="554580"/>
                      </a:lnTo>
                      <a:lnTo>
                        <a:pt x="341204" y="556742"/>
                      </a:lnTo>
                      <a:lnTo>
                        <a:pt x="340342" y="558830"/>
                      </a:lnTo>
                      <a:lnTo>
                        <a:pt x="338047" y="562279"/>
                      </a:lnTo>
                      <a:lnTo>
                        <a:pt x="332656" y="567245"/>
                      </a:lnTo>
                      <a:lnTo>
                        <a:pt x="330009" y="571204"/>
                      </a:lnTo>
                      <a:lnTo>
                        <a:pt x="328406" y="574142"/>
                      </a:lnTo>
                      <a:lnTo>
                        <a:pt x="327714" y="576267"/>
                      </a:lnTo>
                      <a:lnTo>
                        <a:pt x="326050" y="578101"/>
                      </a:lnTo>
                      <a:lnTo>
                        <a:pt x="325407" y="578247"/>
                      </a:lnTo>
                      <a:lnTo>
                        <a:pt x="324666" y="578040"/>
                      </a:lnTo>
                      <a:lnTo>
                        <a:pt x="322784" y="577154"/>
                      </a:lnTo>
                      <a:lnTo>
                        <a:pt x="319104" y="573960"/>
                      </a:lnTo>
                      <a:lnTo>
                        <a:pt x="317307" y="573365"/>
                      </a:lnTo>
                      <a:lnTo>
                        <a:pt x="315304" y="573790"/>
                      </a:lnTo>
                      <a:lnTo>
                        <a:pt x="310094" y="578332"/>
                      </a:lnTo>
                      <a:lnTo>
                        <a:pt x="307969" y="579133"/>
                      </a:lnTo>
                      <a:lnTo>
                        <a:pt x="305723" y="579194"/>
                      </a:lnTo>
                      <a:lnTo>
                        <a:pt x="303367" y="578356"/>
                      </a:lnTo>
                      <a:lnTo>
                        <a:pt x="301023" y="576377"/>
                      </a:lnTo>
                      <a:lnTo>
                        <a:pt x="299627" y="575624"/>
                      </a:lnTo>
                      <a:lnTo>
                        <a:pt x="296822" y="574883"/>
                      </a:lnTo>
                      <a:lnTo>
                        <a:pt x="295450" y="574106"/>
                      </a:lnTo>
                      <a:lnTo>
                        <a:pt x="292050" y="571204"/>
                      </a:lnTo>
                      <a:lnTo>
                        <a:pt x="290216" y="570038"/>
                      </a:lnTo>
                      <a:lnTo>
                        <a:pt x="288443" y="569771"/>
                      </a:lnTo>
                      <a:lnTo>
                        <a:pt x="287351" y="570062"/>
                      </a:lnTo>
                      <a:lnTo>
                        <a:pt x="285347" y="571095"/>
                      </a:lnTo>
                      <a:lnTo>
                        <a:pt x="283489" y="575405"/>
                      </a:lnTo>
                      <a:lnTo>
                        <a:pt x="280295" y="580457"/>
                      </a:lnTo>
                      <a:lnTo>
                        <a:pt x="280514" y="582290"/>
                      </a:lnTo>
                      <a:lnTo>
                        <a:pt x="281085" y="590183"/>
                      </a:lnTo>
                      <a:lnTo>
                        <a:pt x="283161" y="593778"/>
                      </a:lnTo>
                      <a:lnTo>
                        <a:pt x="284303" y="594810"/>
                      </a:lnTo>
                      <a:lnTo>
                        <a:pt x="287460" y="597105"/>
                      </a:lnTo>
                      <a:lnTo>
                        <a:pt x="297563" y="602933"/>
                      </a:lnTo>
                      <a:lnTo>
                        <a:pt x="298546" y="604488"/>
                      </a:lnTo>
                      <a:lnTo>
                        <a:pt x="299591" y="606953"/>
                      </a:lnTo>
                      <a:lnTo>
                        <a:pt x="299809" y="610802"/>
                      </a:lnTo>
                      <a:lnTo>
                        <a:pt x="301121" y="614396"/>
                      </a:lnTo>
                      <a:lnTo>
                        <a:pt x="308710" y="615198"/>
                      </a:lnTo>
                      <a:lnTo>
                        <a:pt x="311649" y="615890"/>
                      </a:lnTo>
                      <a:lnTo>
                        <a:pt x="313992" y="617031"/>
                      </a:lnTo>
                      <a:lnTo>
                        <a:pt x="317550" y="619958"/>
                      </a:lnTo>
                      <a:lnTo>
                        <a:pt x="319104" y="620103"/>
                      </a:lnTo>
                      <a:lnTo>
                        <a:pt x="320367" y="619302"/>
                      </a:lnTo>
                      <a:lnTo>
                        <a:pt x="321399" y="617262"/>
                      </a:lnTo>
                      <a:lnTo>
                        <a:pt x="321909" y="615331"/>
                      </a:lnTo>
                      <a:lnTo>
                        <a:pt x="322213" y="613473"/>
                      </a:lnTo>
                      <a:lnTo>
                        <a:pt x="322601" y="611786"/>
                      </a:lnTo>
                      <a:lnTo>
                        <a:pt x="325407" y="606297"/>
                      </a:lnTo>
                      <a:lnTo>
                        <a:pt x="325771" y="604573"/>
                      </a:lnTo>
                      <a:lnTo>
                        <a:pt x="325467" y="602508"/>
                      </a:lnTo>
                      <a:lnTo>
                        <a:pt x="324338" y="598319"/>
                      </a:lnTo>
                      <a:lnTo>
                        <a:pt x="324216" y="596825"/>
                      </a:lnTo>
                      <a:lnTo>
                        <a:pt x="324787" y="595672"/>
                      </a:lnTo>
                      <a:lnTo>
                        <a:pt x="325819" y="594870"/>
                      </a:lnTo>
                      <a:lnTo>
                        <a:pt x="327896" y="594749"/>
                      </a:lnTo>
                      <a:lnTo>
                        <a:pt x="329487" y="595672"/>
                      </a:lnTo>
                      <a:lnTo>
                        <a:pt x="331162" y="597396"/>
                      </a:lnTo>
                      <a:lnTo>
                        <a:pt x="332887" y="599521"/>
                      </a:lnTo>
                      <a:lnTo>
                        <a:pt x="334781" y="601440"/>
                      </a:lnTo>
                      <a:lnTo>
                        <a:pt x="337768" y="601707"/>
                      </a:lnTo>
                      <a:lnTo>
                        <a:pt x="341496" y="600699"/>
                      </a:lnTo>
                      <a:lnTo>
                        <a:pt x="348102" y="597165"/>
                      </a:lnTo>
                      <a:lnTo>
                        <a:pt x="357792" y="594458"/>
                      </a:lnTo>
                      <a:lnTo>
                        <a:pt x="371695" y="587111"/>
                      </a:lnTo>
                      <a:lnTo>
                        <a:pt x="374173" y="585217"/>
                      </a:lnTo>
                      <a:lnTo>
                        <a:pt x="375605" y="582946"/>
                      </a:lnTo>
                      <a:lnTo>
                        <a:pt x="376298" y="581428"/>
                      </a:lnTo>
                      <a:lnTo>
                        <a:pt x="376868" y="579449"/>
                      </a:lnTo>
                      <a:lnTo>
                        <a:pt x="377038" y="578647"/>
                      </a:lnTo>
                      <a:lnTo>
                        <a:pt x="376990" y="578125"/>
                      </a:lnTo>
                      <a:lnTo>
                        <a:pt x="376759" y="577445"/>
                      </a:lnTo>
                      <a:lnTo>
                        <a:pt x="374051" y="574652"/>
                      </a:lnTo>
                      <a:lnTo>
                        <a:pt x="372958" y="573110"/>
                      </a:lnTo>
                      <a:lnTo>
                        <a:pt x="373833" y="570912"/>
                      </a:lnTo>
                      <a:lnTo>
                        <a:pt x="376516" y="568107"/>
                      </a:lnTo>
                      <a:lnTo>
                        <a:pt x="392314" y="558745"/>
                      </a:lnTo>
                      <a:lnTo>
                        <a:pt x="398580" y="551629"/>
                      </a:lnTo>
                      <a:lnTo>
                        <a:pt x="399029" y="548387"/>
                      </a:lnTo>
                      <a:lnTo>
                        <a:pt x="399029" y="546456"/>
                      </a:lnTo>
                      <a:lnTo>
                        <a:pt x="398458" y="541806"/>
                      </a:lnTo>
                      <a:lnTo>
                        <a:pt x="398458" y="539292"/>
                      </a:lnTo>
                      <a:lnTo>
                        <a:pt x="399090" y="532201"/>
                      </a:lnTo>
                      <a:lnTo>
                        <a:pt x="398580" y="528279"/>
                      </a:lnTo>
                      <a:lnTo>
                        <a:pt x="398750" y="526251"/>
                      </a:lnTo>
                      <a:lnTo>
                        <a:pt x="399721" y="522110"/>
                      </a:lnTo>
                      <a:lnTo>
                        <a:pt x="399952" y="516233"/>
                      </a:lnTo>
                      <a:lnTo>
                        <a:pt x="400523" y="514278"/>
                      </a:lnTo>
                      <a:lnTo>
                        <a:pt x="401567" y="512784"/>
                      </a:lnTo>
                      <a:lnTo>
                        <a:pt x="403061" y="511606"/>
                      </a:lnTo>
                      <a:lnTo>
                        <a:pt x="405756" y="510028"/>
                      </a:lnTo>
                      <a:lnTo>
                        <a:pt x="409253" y="508400"/>
                      </a:lnTo>
                      <a:lnTo>
                        <a:pt x="410917" y="508109"/>
                      </a:lnTo>
                      <a:lnTo>
                        <a:pt x="412119" y="508279"/>
                      </a:lnTo>
                      <a:lnTo>
                        <a:pt x="412763" y="509566"/>
                      </a:lnTo>
                      <a:lnTo>
                        <a:pt x="412824" y="510975"/>
                      </a:lnTo>
                      <a:lnTo>
                        <a:pt x="412180" y="513962"/>
                      </a:lnTo>
                      <a:lnTo>
                        <a:pt x="412119" y="515200"/>
                      </a:lnTo>
                      <a:lnTo>
                        <a:pt x="412362" y="516524"/>
                      </a:lnTo>
                      <a:lnTo>
                        <a:pt x="413273" y="518273"/>
                      </a:lnTo>
                      <a:lnTo>
                        <a:pt x="414645" y="520106"/>
                      </a:lnTo>
                      <a:lnTo>
                        <a:pt x="416891" y="521855"/>
                      </a:lnTo>
                      <a:lnTo>
                        <a:pt x="419879" y="523033"/>
                      </a:lnTo>
                      <a:lnTo>
                        <a:pt x="424299" y="522838"/>
                      </a:lnTo>
                      <a:lnTo>
                        <a:pt x="430504" y="521624"/>
                      </a:lnTo>
                      <a:lnTo>
                        <a:pt x="433831" y="521964"/>
                      </a:lnTo>
                      <a:lnTo>
                        <a:pt x="443934" y="525559"/>
                      </a:lnTo>
                      <a:lnTo>
                        <a:pt x="448244" y="526566"/>
                      </a:lnTo>
                      <a:lnTo>
                        <a:pt x="453247" y="526676"/>
                      </a:lnTo>
                      <a:lnTo>
                        <a:pt x="462257" y="525595"/>
                      </a:lnTo>
                      <a:lnTo>
                        <a:pt x="464261" y="526154"/>
                      </a:lnTo>
                      <a:lnTo>
                        <a:pt x="466265" y="527890"/>
                      </a:lnTo>
                      <a:lnTo>
                        <a:pt x="467430" y="530063"/>
                      </a:lnTo>
                      <a:lnTo>
                        <a:pt x="468742" y="534289"/>
                      </a:lnTo>
                      <a:lnTo>
                        <a:pt x="469494" y="535637"/>
                      </a:lnTo>
                      <a:lnTo>
                        <a:pt x="470867" y="536414"/>
                      </a:lnTo>
                      <a:lnTo>
                        <a:pt x="472640" y="536694"/>
                      </a:lnTo>
                      <a:lnTo>
                        <a:pt x="476149" y="536293"/>
                      </a:lnTo>
                      <a:lnTo>
                        <a:pt x="478505" y="535491"/>
                      </a:lnTo>
                      <a:lnTo>
                        <a:pt x="480229" y="534253"/>
                      </a:lnTo>
                      <a:lnTo>
                        <a:pt x="480921" y="532966"/>
                      </a:lnTo>
                      <a:lnTo>
                        <a:pt x="482864" y="526154"/>
                      </a:lnTo>
                      <a:lnTo>
                        <a:pt x="484078" y="523956"/>
                      </a:lnTo>
                      <a:lnTo>
                        <a:pt x="485790" y="522110"/>
                      </a:lnTo>
                      <a:lnTo>
                        <a:pt x="487915" y="520738"/>
                      </a:lnTo>
                      <a:lnTo>
                        <a:pt x="493258" y="518406"/>
                      </a:lnTo>
                      <a:lnTo>
                        <a:pt x="498431" y="516755"/>
                      </a:lnTo>
                      <a:lnTo>
                        <a:pt x="500605" y="516718"/>
                      </a:lnTo>
                      <a:lnTo>
                        <a:pt x="502281" y="517471"/>
                      </a:lnTo>
                      <a:lnTo>
                        <a:pt x="503130" y="519681"/>
                      </a:lnTo>
                      <a:lnTo>
                        <a:pt x="502912" y="521831"/>
                      </a:lnTo>
                      <a:lnTo>
                        <a:pt x="502098" y="523846"/>
                      </a:lnTo>
                      <a:lnTo>
                        <a:pt x="500265" y="527222"/>
                      </a:lnTo>
                      <a:lnTo>
                        <a:pt x="499573" y="528922"/>
                      </a:lnTo>
                      <a:lnTo>
                        <a:pt x="499354" y="530440"/>
                      </a:lnTo>
                      <a:lnTo>
                        <a:pt x="499694" y="531594"/>
                      </a:lnTo>
                      <a:lnTo>
                        <a:pt x="502159" y="533828"/>
                      </a:lnTo>
                      <a:lnTo>
                        <a:pt x="512663" y="540725"/>
                      </a:lnTo>
                      <a:lnTo>
                        <a:pt x="516063" y="543530"/>
                      </a:lnTo>
                      <a:lnTo>
                        <a:pt x="520483" y="546408"/>
                      </a:lnTo>
                      <a:lnTo>
                        <a:pt x="525753" y="546165"/>
                      </a:lnTo>
                      <a:lnTo>
                        <a:pt x="529432" y="544076"/>
                      </a:lnTo>
                      <a:lnTo>
                        <a:pt x="530865" y="543591"/>
                      </a:lnTo>
                      <a:lnTo>
                        <a:pt x="532249" y="543566"/>
                      </a:lnTo>
                      <a:lnTo>
                        <a:pt x="534204" y="543870"/>
                      </a:lnTo>
                      <a:lnTo>
                        <a:pt x="536499" y="543906"/>
                      </a:lnTo>
                      <a:lnTo>
                        <a:pt x="538515" y="543469"/>
                      </a:lnTo>
                      <a:lnTo>
                        <a:pt x="539887" y="542158"/>
                      </a:lnTo>
                      <a:lnTo>
                        <a:pt x="540689" y="540434"/>
                      </a:lnTo>
                      <a:lnTo>
                        <a:pt x="541490" y="537908"/>
                      </a:lnTo>
                      <a:lnTo>
                        <a:pt x="542753" y="536001"/>
                      </a:lnTo>
                      <a:lnTo>
                        <a:pt x="543967" y="534483"/>
                      </a:lnTo>
                      <a:lnTo>
                        <a:pt x="544368" y="532626"/>
                      </a:lnTo>
                      <a:lnTo>
                        <a:pt x="543919" y="530379"/>
                      </a:lnTo>
                      <a:lnTo>
                        <a:pt x="541381" y="526360"/>
                      </a:lnTo>
                      <a:lnTo>
                        <a:pt x="532662" y="515395"/>
                      </a:lnTo>
                      <a:lnTo>
                        <a:pt x="530586" y="511206"/>
                      </a:lnTo>
                      <a:lnTo>
                        <a:pt x="529493" y="506664"/>
                      </a:lnTo>
                      <a:lnTo>
                        <a:pt x="529833" y="493538"/>
                      </a:lnTo>
                      <a:lnTo>
                        <a:pt x="528279" y="488183"/>
                      </a:lnTo>
                      <a:lnTo>
                        <a:pt x="527817" y="486373"/>
                      </a:lnTo>
                      <a:lnTo>
                        <a:pt x="527781" y="484989"/>
                      </a:lnTo>
                      <a:lnTo>
                        <a:pt x="527939" y="483617"/>
                      </a:lnTo>
                      <a:lnTo>
                        <a:pt x="529371" y="478444"/>
                      </a:lnTo>
                      <a:lnTo>
                        <a:pt x="529432" y="477667"/>
                      </a:lnTo>
                      <a:lnTo>
                        <a:pt x="529432" y="476234"/>
                      </a:lnTo>
                      <a:lnTo>
                        <a:pt x="529262" y="474595"/>
                      </a:lnTo>
                      <a:lnTo>
                        <a:pt x="527878" y="467710"/>
                      </a:lnTo>
                      <a:lnTo>
                        <a:pt x="527999" y="465815"/>
                      </a:lnTo>
                      <a:lnTo>
                        <a:pt x="528752" y="464601"/>
                      </a:lnTo>
                      <a:lnTo>
                        <a:pt x="530816" y="463630"/>
                      </a:lnTo>
                      <a:lnTo>
                        <a:pt x="532079" y="463581"/>
                      </a:lnTo>
                      <a:lnTo>
                        <a:pt x="533294" y="463884"/>
                      </a:lnTo>
                      <a:lnTo>
                        <a:pt x="534605" y="464637"/>
                      </a:lnTo>
                      <a:lnTo>
                        <a:pt x="535916" y="465159"/>
                      </a:lnTo>
                      <a:lnTo>
                        <a:pt x="537131" y="465415"/>
                      </a:lnTo>
                      <a:lnTo>
                        <a:pt x="539778" y="465439"/>
                      </a:lnTo>
                      <a:lnTo>
                        <a:pt x="540932" y="465815"/>
                      </a:lnTo>
                      <a:lnTo>
                        <a:pt x="541842" y="466507"/>
                      </a:lnTo>
                      <a:lnTo>
                        <a:pt x="542704" y="467624"/>
                      </a:lnTo>
                      <a:lnTo>
                        <a:pt x="543445" y="468851"/>
                      </a:lnTo>
                      <a:lnTo>
                        <a:pt x="544769" y="472069"/>
                      </a:lnTo>
                      <a:lnTo>
                        <a:pt x="545109" y="473562"/>
                      </a:lnTo>
                      <a:lnTo>
                        <a:pt x="545291" y="474740"/>
                      </a:lnTo>
                      <a:lnTo>
                        <a:pt x="545109" y="478043"/>
                      </a:lnTo>
                      <a:lnTo>
                        <a:pt x="545291" y="478820"/>
                      </a:lnTo>
                      <a:lnTo>
                        <a:pt x="545570" y="478990"/>
                      </a:lnTo>
                      <a:lnTo>
                        <a:pt x="546262" y="479306"/>
                      </a:lnTo>
                      <a:lnTo>
                        <a:pt x="547756" y="479561"/>
                      </a:lnTo>
                      <a:lnTo>
                        <a:pt x="549650" y="479585"/>
                      </a:lnTo>
                      <a:lnTo>
                        <a:pt x="552747" y="479027"/>
                      </a:lnTo>
                      <a:lnTo>
                        <a:pt x="553560" y="478796"/>
                      </a:lnTo>
                      <a:lnTo>
                        <a:pt x="570840" y="471182"/>
                      </a:lnTo>
                      <a:lnTo>
                        <a:pt x="573353" y="469410"/>
                      </a:lnTo>
                      <a:lnTo>
                        <a:pt x="573997" y="468341"/>
                      </a:lnTo>
                      <a:lnTo>
                        <a:pt x="575320" y="466556"/>
                      </a:lnTo>
                      <a:lnTo>
                        <a:pt x="575660" y="463314"/>
                      </a:lnTo>
                      <a:lnTo>
                        <a:pt x="575320" y="458432"/>
                      </a:lnTo>
                      <a:lnTo>
                        <a:pt x="572904" y="449046"/>
                      </a:lnTo>
                      <a:lnTo>
                        <a:pt x="571240" y="444917"/>
                      </a:lnTo>
                      <a:lnTo>
                        <a:pt x="569407" y="441784"/>
                      </a:lnTo>
                      <a:lnTo>
                        <a:pt x="566990" y="439137"/>
                      </a:lnTo>
                      <a:lnTo>
                        <a:pt x="558041" y="431511"/>
                      </a:lnTo>
                      <a:lnTo>
                        <a:pt x="556086" y="430504"/>
                      </a:lnTo>
                      <a:lnTo>
                        <a:pt x="554070" y="430188"/>
                      </a:lnTo>
                      <a:lnTo>
                        <a:pt x="552625" y="430382"/>
                      </a:lnTo>
                      <a:lnTo>
                        <a:pt x="551314" y="430783"/>
                      </a:lnTo>
                      <a:lnTo>
                        <a:pt x="549529" y="431074"/>
                      </a:lnTo>
                      <a:lnTo>
                        <a:pt x="541320" y="430248"/>
                      </a:lnTo>
                      <a:lnTo>
                        <a:pt x="535759" y="427079"/>
                      </a:lnTo>
                      <a:lnTo>
                        <a:pt x="525813" y="415713"/>
                      </a:lnTo>
                      <a:lnTo>
                        <a:pt x="523531" y="413698"/>
                      </a:lnTo>
                      <a:lnTo>
                        <a:pt x="523069" y="411633"/>
                      </a:lnTo>
                      <a:lnTo>
                        <a:pt x="524271" y="409800"/>
                      </a:lnTo>
                      <a:lnTo>
                        <a:pt x="525243" y="408731"/>
                      </a:lnTo>
                      <a:lnTo>
                        <a:pt x="526226" y="408076"/>
                      </a:lnTo>
                      <a:lnTo>
                        <a:pt x="527781" y="407808"/>
                      </a:lnTo>
                      <a:lnTo>
                        <a:pt x="531739" y="407529"/>
                      </a:lnTo>
                      <a:lnTo>
                        <a:pt x="535576" y="406606"/>
                      </a:lnTo>
                      <a:lnTo>
                        <a:pt x="537532" y="405805"/>
                      </a:lnTo>
                      <a:lnTo>
                        <a:pt x="539596" y="404518"/>
                      </a:lnTo>
                      <a:lnTo>
                        <a:pt x="541272" y="402563"/>
                      </a:lnTo>
                      <a:lnTo>
                        <a:pt x="542061" y="401008"/>
                      </a:lnTo>
                      <a:lnTo>
                        <a:pt x="542364" y="399721"/>
                      </a:lnTo>
                      <a:lnTo>
                        <a:pt x="542182" y="395216"/>
                      </a:lnTo>
                      <a:lnTo>
                        <a:pt x="541381" y="392059"/>
                      </a:lnTo>
                      <a:lnTo>
                        <a:pt x="538685" y="385708"/>
                      </a:lnTo>
                      <a:lnTo>
                        <a:pt x="535819" y="380280"/>
                      </a:lnTo>
                      <a:lnTo>
                        <a:pt x="535358" y="379139"/>
                      </a:lnTo>
                      <a:lnTo>
                        <a:pt x="535297" y="378702"/>
                      </a:lnTo>
                      <a:lnTo>
                        <a:pt x="535236" y="377852"/>
                      </a:lnTo>
                      <a:lnTo>
                        <a:pt x="535576" y="376686"/>
                      </a:lnTo>
                      <a:lnTo>
                        <a:pt x="536329" y="375314"/>
                      </a:lnTo>
                      <a:lnTo>
                        <a:pt x="538163" y="372412"/>
                      </a:lnTo>
                      <a:lnTo>
                        <a:pt x="539656" y="371149"/>
                      </a:lnTo>
                      <a:lnTo>
                        <a:pt x="542425" y="369825"/>
                      </a:lnTo>
                      <a:lnTo>
                        <a:pt x="548339" y="368623"/>
                      </a:lnTo>
                      <a:lnTo>
                        <a:pt x="564124" y="361653"/>
                      </a:lnTo>
                      <a:lnTo>
                        <a:pt x="565557" y="361398"/>
                      </a:lnTo>
                      <a:lnTo>
                        <a:pt x="567500" y="361362"/>
                      </a:lnTo>
                      <a:lnTo>
                        <a:pt x="571410" y="361690"/>
                      </a:lnTo>
                      <a:lnTo>
                        <a:pt x="580772" y="360439"/>
                      </a:lnTo>
                      <a:lnTo>
                        <a:pt x="599376" y="353700"/>
                      </a:lnTo>
                      <a:lnTo>
                        <a:pt x="601840" y="353323"/>
                      </a:lnTo>
                      <a:lnTo>
                        <a:pt x="605071" y="354380"/>
                      </a:lnTo>
                      <a:lnTo>
                        <a:pt x="608276" y="354671"/>
                      </a:lnTo>
                      <a:lnTo>
                        <a:pt x="611956" y="353177"/>
                      </a:lnTo>
                      <a:lnTo>
                        <a:pt x="614141" y="353104"/>
                      </a:lnTo>
                      <a:lnTo>
                        <a:pt x="616716" y="353821"/>
                      </a:lnTo>
                      <a:lnTo>
                        <a:pt x="619593" y="355740"/>
                      </a:lnTo>
                      <a:lnTo>
                        <a:pt x="622350" y="357197"/>
                      </a:lnTo>
                      <a:lnTo>
                        <a:pt x="625908" y="357452"/>
                      </a:lnTo>
                      <a:lnTo>
                        <a:pt x="628264" y="356395"/>
                      </a:lnTo>
                      <a:lnTo>
                        <a:pt x="630036" y="354562"/>
                      </a:lnTo>
                      <a:lnTo>
                        <a:pt x="630911" y="353238"/>
                      </a:lnTo>
                      <a:lnTo>
                        <a:pt x="631882" y="352291"/>
                      </a:lnTo>
                      <a:lnTo>
                        <a:pt x="632975" y="351854"/>
                      </a:lnTo>
                      <a:lnTo>
                        <a:pt x="634469" y="351514"/>
                      </a:lnTo>
                      <a:lnTo>
                        <a:pt x="635962" y="350627"/>
                      </a:lnTo>
                      <a:lnTo>
                        <a:pt x="636994" y="348879"/>
                      </a:lnTo>
                      <a:lnTo>
                        <a:pt x="637213" y="346802"/>
                      </a:lnTo>
                      <a:lnTo>
                        <a:pt x="636764" y="342637"/>
                      </a:lnTo>
                      <a:lnTo>
                        <a:pt x="636994" y="341034"/>
                      </a:lnTo>
                      <a:lnTo>
                        <a:pt x="637735" y="339577"/>
                      </a:lnTo>
                      <a:lnTo>
                        <a:pt x="638767" y="338217"/>
                      </a:lnTo>
                      <a:lnTo>
                        <a:pt x="639059" y="336760"/>
                      </a:lnTo>
                      <a:lnTo>
                        <a:pt x="638646" y="335096"/>
                      </a:lnTo>
                      <a:lnTo>
                        <a:pt x="637614" y="333457"/>
                      </a:lnTo>
                      <a:lnTo>
                        <a:pt x="633655" y="328916"/>
                      </a:lnTo>
                      <a:lnTo>
                        <a:pt x="632344" y="326791"/>
                      </a:lnTo>
                      <a:lnTo>
                        <a:pt x="631761" y="325273"/>
                      </a:lnTo>
                      <a:lnTo>
                        <a:pt x="631360" y="323233"/>
                      </a:lnTo>
                      <a:lnTo>
                        <a:pt x="631299" y="321314"/>
                      </a:lnTo>
                      <a:lnTo>
                        <a:pt x="631481" y="319942"/>
                      </a:lnTo>
                      <a:lnTo>
                        <a:pt x="631991" y="318473"/>
                      </a:lnTo>
                      <a:lnTo>
                        <a:pt x="632623" y="316943"/>
                      </a:lnTo>
                      <a:lnTo>
                        <a:pt x="632853" y="315886"/>
                      </a:lnTo>
                      <a:lnTo>
                        <a:pt x="632732" y="314332"/>
                      </a:lnTo>
                      <a:lnTo>
                        <a:pt x="632040" y="312778"/>
                      </a:lnTo>
                      <a:lnTo>
                        <a:pt x="629757" y="309511"/>
                      </a:lnTo>
                      <a:lnTo>
                        <a:pt x="628895" y="307641"/>
                      </a:lnTo>
                      <a:lnTo>
                        <a:pt x="628543" y="305686"/>
                      </a:lnTo>
                      <a:lnTo>
                        <a:pt x="628664" y="303391"/>
                      </a:lnTo>
                      <a:lnTo>
                        <a:pt x="629186" y="301582"/>
                      </a:lnTo>
                      <a:lnTo>
                        <a:pt x="630036" y="300028"/>
                      </a:lnTo>
                      <a:lnTo>
                        <a:pt x="630789" y="298971"/>
                      </a:lnTo>
                      <a:lnTo>
                        <a:pt x="631481" y="297830"/>
                      </a:lnTo>
                      <a:lnTo>
                        <a:pt x="631481" y="296846"/>
                      </a:lnTo>
                      <a:lnTo>
                        <a:pt x="630911" y="295438"/>
                      </a:lnTo>
                      <a:lnTo>
                        <a:pt x="630158" y="294151"/>
                      </a:lnTo>
                      <a:lnTo>
                        <a:pt x="629235" y="292973"/>
                      </a:lnTo>
                      <a:lnTo>
                        <a:pt x="628264" y="292001"/>
                      </a:lnTo>
                      <a:lnTo>
                        <a:pt x="626988" y="291163"/>
                      </a:lnTo>
                      <a:lnTo>
                        <a:pt x="625738" y="290593"/>
                      </a:lnTo>
                      <a:lnTo>
                        <a:pt x="622751" y="290107"/>
                      </a:lnTo>
                      <a:lnTo>
                        <a:pt x="620905" y="290107"/>
                      </a:lnTo>
                      <a:lnTo>
                        <a:pt x="617007" y="290702"/>
                      </a:lnTo>
                      <a:lnTo>
                        <a:pt x="612186" y="292548"/>
                      </a:lnTo>
                      <a:lnTo>
                        <a:pt x="608725" y="294782"/>
                      </a:lnTo>
                      <a:lnTo>
                        <a:pt x="607074" y="296591"/>
                      </a:lnTo>
                      <a:lnTo>
                        <a:pt x="605981" y="298692"/>
                      </a:lnTo>
                      <a:lnTo>
                        <a:pt x="604148" y="304484"/>
                      </a:lnTo>
                      <a:lnTo>
                        <a:pt x="603273" y="306269"/>
                      </a:lnTo>
                      <a:lnTo>
                        <a:pt x="602083" y="308103"/>
                      </a:lnTo>
                      <a:lnTo>
                        <a:pt x="600529" y="309536"/>
                      </a:lnTo>
                      <a:lnTo>
                        <a:pt x="598222" y="310726"/>
                      </a:lnTo>
                      <a:lnTo>
                        <a:pt x="595174" y="311296"/>
                      </a:lnTo>
                      <a:lnTo>
                        <a:pt x="590766" y="310835"/>
                      </a:lnTo>
                      <a:lnTo>
                        <a:pt x="587961" y="310058"/>
                      </a:lnTo>
                      <a:lnTo>
                        <a:pt x="584440" y="308394"/>
                      </a:lnTo>
                      <a:lnTo>
                        <a:pt x="582205" y="308164"/>
                      </a:lnTo>
                      <a:lnTo>
                        <a:pt x="579340" y="308588"/>
                      </a:lnTo>
                      <a:lnTo>
                        <a:pt x="575029" y="310483"/>
                      </a:lnTo>
                      <a:lnTo>
                        <a:pt x="569795" y="313640"/>
                      </a:lnTo>
                      <a:lnTo>
                        <a:pt x="564525" y="315704"/>
                      </a:lnTo>
                      <a:lnTo>
                        <a:pt x="554301" y="315510"/>
                      </a:lnTo>
                      <a:lnTo>
                        <a:pt x="550852" y="317696"/>
                      </a:lnTo>
                      <a:lnTo>
                        <a:pt x="549772" y="317951"/>
                      </a:lnTo>
                      <a:lnTo>
                        <a:pt x="548035" y="317380"/>
                      </a:lnTo>
                      <a:lnTo>
                        <a:pt x="541490" y="312413"/>
                      </a:lnTo>
                      <a:lnTo>
                        <a:pt x="539778" y="311636"/>
                      </a:lnTo>
                      <a:lnTo>
                        <a:pt x="531958" y="310313"/>
                      </a:lnTo>
                      <a:lnTo>
                        <a:pt x="530306" y="310349"/>
                      </a:lnTo>
                      <a:lnTo>
                        <a:pt x="528922" y="310689"/>
                      </a:lnTo>
                      <a:lnTo>
                        <a:pt x="523009" y="312814"/>
                      </a:lnTo>
                      <a:lnTo>
                        <a:pt x="521685" y="312778"/>
                      </a:lnTo>
                      <a:lnTo>
                        <a:pt x="520301" y="312292"/>
                      </a:lnTo>
                      <a:lnTo>
                        <a:pt x="519111" y="311551"/>
                      </a:lnTo>
                      <a:lnTo>
                        <a:pt x="511169" y="305613"/>
                      </a:lnTo>
                      <a:lnTo>
                        <a:pt x="509105" y="304691"/>
                      </a:lnTo>
                      <a:lnTo>
                        <a:pt x="506810" y="303974"/>
                      </a:lnTo>
                      <a:lnTo>
                        <a:pt x="504685" y="303719"/>
                      </a:lnTo>
                      <a:lnTo>
                        <a:pt x="500848" y="303683"/>
                      </a:lnTo>
                      <a:lnTo>
                        <a:pt x="499063" y="303367"/>
                      </a:lnTo>
                      <a:lnTo>
                        <a:pt x="496986" y="302225"/>
                      </a:lnTo>
                      <a:lnTo>
                        <a:pt x="495493" y="300671"/>
                      </a:lnTo>
                      <a:lnTo>
                        <a:pt x="491194" y="293033"/>
                      </a:lnTo>
                      <a:lnTo>
                        <a:pt x="489761" y="291710"/>
                      </a:lnTo>
                      <a:lnTo>
                        <a:pt x="487636" y="290447"/>
                      </a:lnTo>
                      <a:lnTo>
                        <a:pt x="484928" y="289900"/>
                      </a:lnTo>
                      <a:lnTo>
                        <a:pt x="483155" y="289585"/>
                      </a:lnTo>
                      <a:lnTo>
                        <a:pt x="481553" y="288698"/>
                      </a:lnTo>
                      <a:lnTo>
                        <a:pt x="480120" y="287180"/>
                      </a:lnTo>
                      <a:lnTo>
                        <a:pt x="479306" y="285056"/>
                      </a:lnTo>
                      <a:lnTo>
                        <a:pt x="478213" y="280344"/>
                      </a:lnTo>
                      <a:lnTo>
                        <a:pt x="474485" y="269148"/>
                      </a:lnTo>
                      <a:lnTo>
                        <a:pt x="469033" y="241814"/>
                      </a:lnTo>
                      <a:lnTo>
                        <a:pt x="468171" y="239520"/>
                      </a:lnTo>
                      <a:lnTo>
                        <a:pt x="467017" y="237394"/>
                      </a:lnTo>
                      <a:lnTo>
                        <a:pt x="466386" y="235184"/>
                      </a:lnTo>
                      <a:lnTo>
                        <a:pt x="466908" y="232707"/>
                      </a:lnTo>
                      <a:lnTo>
                        <a:pt x="468110" y="231736"/>
                      </a:lnTo>
                      <a:lnTo>
                        <a:pt x="471559" y="231056"/>
                      </a:lnTo>
                      <a:lnTo>
                        <a:pt x="472822" y="230218"/>
                      </a:lnTo>
                      <a:lnTo>
                        <a:pt x="473733" y="227656"/>
                      </a:lnTo>
                      <a:lnTo>
                        <a:pt x="473623" y="222058"/>
                      </a:lnTo>
                      <a:lnTo>
                        <a:pt x="473854" y="219277"/>
                      </a:lnTo>
                      <a:lnTo>
                        <a:pt x="474837" y="216691"/>
                      </a:lnTo>
                      <a:lnTo>
                        <a:pt x="479075" y="209429"/>
                      </a:lnTo>
                      <a:lnTo>
                        <a:pt x="480739" y="208798"/>
                      </a:lnTo>
                      <a:lnTo>
                        <a:pt x="481613" y="208227"/>
                      </a:lnTo>
                      <a:lnTo>
                        <a:pt x="485973" y="204001"/>
                      </a:lnTo>
                      <a:lnTo>
                        <a:pt x="487697" y="202969"/>
                      </a:lnTo>
                      <a:lnTo>
                        <a:pt x="491194" y="202799"/>
                      </a:lnTo>
                      <a:lnTo>
                        <a:pt x="493088" y="202083"/>
                      </a:lnTo>
                      <a:lnTo>
                        <a:pt x="494363" y="200468"/>
                      </a:lnTo>
                      <a:lnTo>
                        <a:pt x="496015" y="196230"/>
                      </a:lnTo>
                      <a:lnTo>
                        <a:pt x="496925" y="194991"/>
                      </a:lnTo>
                      <a:lnTo>
                        <a:pt x="498941" y="194530"/>
                      </a:lnTo>
                      <a:lnTo>
                        <a:pt x="508765" y="195331"/>
                      </a:lnTo>
                      <a:lnTo>
                        <a:pt x="510890" y="195853"/>
                      </a:lnTo>
                      <a:lnTo>
                        <a:pt x="513076" y="195817"/>
                      </a:lnTo>
                      <a:lnTo>
                        <a:pt x="515492" y="194408"/>
                      </a:lnTo>
                      <a:lnTo>
                        <a:pt x="519208" y="189879"/>
                      </a:lnTo>
                      <a:lnTo>
                        <a:pt x="521175" y="188240"/>
                      </a:lnTo>
                      <a:lnTo>
                        <a:pt x="522826" y="187463"/>
                      </a:lnTo>
                      <a:lnTo>
                        <a:pt x="524441" y="186977"/>
                      </a:lnTo>
                      <a:lnTo>
                        <a:pt x="525996" y="186139"/>
                      </a:lnTo>
                      <a:lnTo>
                        <a:pt x="527538" y="184136"/>
                      </a:lnTo>
                      <a:lnTo>
                        <a:pt x="528121" y="181950"/>
                      </a:lnTo>
                      <a:lnTo>
                        <a:pt x="528121" y="179655"/>
                      </a:lnTo>
                      <a:lnTo>
                        <a:pt x="528400" y="177360"/>
                      </a:lnTo>
                      <a:lnTo>
                        <a:pt x="529614" y="175235"/>
                      </a:lnTo>
                      <a:lnTo>
                        <a:pt x="540519" y="168605"/>
                      </a:lnTo>
                      <a:lnTo>
                        <a:pt x="543166" y="166213"/>
                      </a:lnTo>
                      <a:lnTo>
                        <a:pt x="544137" y="164233"/>
                      </a:lnTo>
                      <a:lnTo>
                        <a:pt x="544599" y="162460"/>
                      </a:lnTo>
                      <a:lnTo>
                        <a:pt x="545352" y="160821"/>
                      </a:lnTo>
                      <a:lnTo>
                        <a:pt x="547003" y="159242"/>
                      </a:lnTo>
                      <a:lnTo>
                        <a:pt x="552528" y="158089"/>
                      </a:lnTo>
                      <a:lnTo>
                        <a:pt x="554022" y="157288"/>
                      </a:lnTo>
                      <a:lnTo>
                        <a:pt x="556705" y="154361"/>
                      </a:lnTo>
                      <a:lnTo>
                        <a:pt x="558490" y="153037"/>
                      </a:lnTo>
                      <a:lnTo>
                        <a:pt x="562740" y="151750"/>
                      </a:lnTo>
                      <a:lnTo>
                        <a:pt x="564003" y="149917"/>
                      </a:lnTo>
                      <a:lnTo>
                        <a:pt x="564926" y="147646"/>
                      </a:lnTo>
                      <a:lnTo>
                        <a:pt x="566189" y="145654"/>
                      </a:lnTo>
                      <a:lnTo>
                        <a:pt x="567792" y="144574"/>
                      </a:lnTo>
                      <a:lnTo>
                        <a:pt x="573414" y="142024"/>
                      </a:lnTo>
                      <a:lnTo>
                        <a:pt x="575842" y="141526"/>
                      </a:lnTo>
                      <a:lnTo>
                        <a:pt x="578465" y="141987"/>
                      </a:lnTo>
                      <a:lnTo>
                        <a:pt x="579680" y="141817"/>
                      </a:lnTo>
                      <a:lnTo>
                        <a:pt x="581112" y="140785"/>
                      </a:lnTo>
                      <a:lnTo>
                        <a:pt x="582035" y="139146"/>
                      </a:lnTo>
                      <a:lnTo>
                        <a:pt x="582436" y="135867"/>
                      </a:lnTo>
                      <a:lnTo>
                        <a:pt x="582946" y="134544"/>
                      </a:lnTo>
                      <a:lnTo>
                        <a:pt x="587657" y="131277"/>
                      </a:lnTo>
                      <a:lnTo>
                        <a:pt x="592830" y="130901"/>
                      </a:lnTo>
                      <a:lnTo>
                        <a:pt x="598222" y="131362"/>
                      </a:lnTo>
                      <a:lnTo>
                        <a:pt x="603577" y="130452"/>
                      </a:lnTo>
                      <a:lnTo>
                        <a:pt x="607414" y="126311"/>
                      </a:lnTo>
                      <a:lnTo>
                        <a:pt x="611956" y="123870"/>
                      </a:lnTo>
                      <a:lnTo>
                        <a:pt x="614202" y="121891"/>
                      </a:lnTo>
                      <a:lnTo>
                        <a:pt x="616946" y="119936"/>
                      </a:lnTo>
                      <a:lnTo>
                        <a:pt x="618270" y="118794"/>
                      </a:lnTo>
                      <a:lnTo>
                        <a:pt x="619472" y="117131"/>
                      </a:lnTo>
                      <a:lnTo>
                        <a:pt x="620796" y="113877"/>
                      </a:lnTo>
                      <a:lnTo>
                        <a:pt x="621476" y="112480"/>
                      </a:lnTo>
                      <a:lnTo>
                        <a:pt x="624876" y="108339"/>
                      </a:lnTo>
                      <a:lnTo>
                        <a:pt x="627231" y="106506"/>
                      </a:lnTo>
                      <a:lnTo>
                        <a:pt x="629818" y="105753"/>
                      </a:lnTo>
                      <a:lnTo>
                        <a:pt x="635598" y="105898"/>
                      </a:lnTo>
                      <a:lnTo>
                        <a:pt x="638367" y="105461"/>
                      </a:lnTo>
                      <a:lnTo>
                        <a:pt x="640710" y="104259"/>
                      </a:lnTo>
                      <a:lnTo>
                        <a:pt x="642107" y="105753"/>
                      </a:lnTo>
                      <a:lnTo>
                        <a:pt x="645142" y="103968"/>
                      </a:lnTo>
                      <a:lnTo>
                        <a:pt x="645312" y="101454"/>
                      </a:lnTo>
                      <a:lnTo>
                        <a:pt x="645142" y="98661"/>
                      </a:lnTo>
                      <a:lnTo>
                        <a:pt x="647097" y="96026"/>
                      </a:lnTo>
                      <a:lnTo>
                        <a:pt x="650424" y="95310"/>
                      </a:lnTo>
                      <a:lnTo>
                        <a:pt x="658002" y="96330"/>
                      </a:lnTo>
                      <a:lnTo>
                        <a:pt x="660709" y="95383"/>
                      </a:lnTo>
                      <a:lnTo>
                        <a:pt x="662883" y="93403"/>
                      </a:lnTo>
                      <a:lnTo>
                        <a:pt x="670290" y="89129"/>
                      </a:lnTo>
                      <a:lnTo>
                        <a:pt x="679944" y="81977"/>
                      </a:lnTo>
                      <a:lnTo>
                        <a:pt x="682591" y="80896"/>
                      </a:lnTo>
                      <a:lnTo>
                        <a:pt x="685335" y="80483"/>
                      </a:lnTo>
                      <a:lnTo>
                        <a:pt x="691941" y="78589"/>
                      </a:lnTo>
                      <a:lnTo>
                        <a:pt x="695438" y="78164"/>
                      </a:lnTo>
                      <a:lnTo>
                        <a:pt x="698365" y="77363"/>
                      </a:lnTo>
                      <a:lnTo>
                        <a:pt x="700550" y="75468"/>
                      </a:lnTo>
                      <a:lnTo>
                        <a:pt x="703768" y="71303"/>
                      </a:lnTo>
                      <a:lnTo>
                        <a:pt x="709160" y="68802"/>
                      </a:lnTo>
                      <a:lnTo>
                        <a:pt x="715948" y="66653"/>
                      </a:lnTo>
                      <a:lnTo>
                        <a:pt x="720186" y="63325"/>
                      </a:lnTo>
                      <a:lnTo>
                        <a:pt x="717891" y="57436"/>
                      </a:lnTo>
                      <a:lnTo>
                        <a:pt x="727435" y="54558"/>
                      </a:lnTo>
                      <a:lnTo>
                        <a:pt x="729439" y="53295"/>
                      </a:lnTo>
                      <a:lnTo>
                        <a:pt x="730410" y="51571"/>
                      </a:lnTo>
                      <a:lnTo>
                        <a:pt x="730993" y="48050"/>
                      </a:lnTo>
                      <a:lnTo>
                        <a:pt x="731964" y="46435"/>
                      </a:lnTo>
                      <a:lnTo>
                        <a:pt x="733567" y="45548"/>
                      </a:lnTo>
                      <a:lnTo>
                        <a:pt x="735583" y="45172"/>
                      </a:lnTo>
                      <a:lnTo>
                        <a:pt x="739080" y="45062"/>
                      </a:lnTo>
                      <a:lnTo>
                        <a:pt x="742407" y="44395"/>
                      </a:lnTo>
                      <a:lnTo>
                        <a:pt x="747762" y="41468"/>
                      </a:lnTo>
                      <a:lnTo>
                        <a:pt x="752449" y="39550"/>
                      </a:lnTo>
                      <a:lnTo>
                        <a:pt x="754186" y="39210"/>
                      </a:lnTo>
                      <a:lnTo>
                        <a:pt x="755862" y="40120"/>
                      </a:lnTo>
                      <a:lnTo>
                        <a:pt x="757234" y="41274"/>
                      </a:lnTo>
                      <a:lnTo>
                        <a:pt x="759007" y="41990"/>
                      </a:lnTo>
                      <a:lnTo>
                        <a:pt x="760962" y="42306"/>
                      </a:lnTo>
                      <a:lnTo>
                        <a:pt x="762916" y="42306"/>
                      </a:lnTo>
                      <a:lnTo>
                        <a:pt x="766693" y="41760"/>
                      </a:lnTo>
                      <a:lnTo>
                        <a:pt x="767798" y="40436"/>
                      </a:lnTo>
                      <a:lnTo>
                        <a:pt x="767737" y="37995"/>
                      </a:lnTo>
                      <a:lnTo>
                        <a:pt x="768187" y="34073"/>
                      </a:lnTo>
                      <a:lnTo>
                        <a:pt x="768709" y="32652"/>
                      </a:lnTo>
                      <a:lnTo>
                        <a:pt x="770263" y="30042"/>
                      </a:lnTo>
                      <a:lnTo>
                        <a:pt x="770615" y="29677"/>
                      </a:lnTo>
                      <a:lnTo>
                        <a:pt x="770554" y="27540"/>
                      </a:lnTo>
                      <a:lnTo>
                        <a:pt x="769462" y="24165"/>
                      </a:lnTo>
                      <a:lnTo>
                        <a:pt x="769231" y="22234"/>
                      </a:lnTo>
                      <a:lnTo>
                        <a:pt x="770785" y="19162"/>
                      </a:lnTo>
                      <a:lnTo>
                        <a:pt x="774331" y="19246"/>
                      </a:lnTo>
                      <a:lnTo>
                        <a:pt x="780196" y="21554"/>
                      </a:lnTo>
                      <a:lnTo>
                        <a:pt x="782734" y="19793"/>
                      </a:lnTo>
                      <a:lnTo>
                        <a:pt x="783535" y="13709"/>
                      </a:lnTo>
                      <a:lnTo>
                        <a:pt x="785988" y="14681"/>
                      </a:lnTo>
                      <a:lnTo>
                        <a:pt x="789327" y="13418"/>
                      </a:lnTo>
                      <a:lnTo>
                        <a:pt x="792934" y="13357"/>
                      </a:lnTo>
                      <a:lnTo>
                        <a:pt x="795703" y="14171"/>
                      </a:lnTo>
                      <a:lnTo>
                        <a:pt x="799600" y="14681"/>
                      </a:lnTo>
                      <a:lnTo>
                        <a:pt x="800232" y="13843"/>
                      </a:lnTo>
                      <a:lnTo>
                        <a:pt x="802879" y="9168"/>
                      </a:lnTo>
                      <a:lnTo>
                        <a:pt x="804372" y="7796"/>
                      </a:lnTo>
                      <a:lnTo>
                        <a:pt x="805465" y="7104"/>
                      </a:lnTo>
                      <a:lnTo>
                        <a:pt x="812982" y="6096"/>
                      </a:lnTo>
                      <a:moveTo>
                        <a:pt x="812763" y="0"/>
                      </a:moveTo>
                      <a:lnTo>
                        <a:pt x="812168" y="73"/>
                      </a:lnTo>
                      <a:lnTo>
                        <a:pt x="804652" y="1081"/>
                      </a:lnTo>
                      <a:lnTo>
                        <a:pt x="803340" y="1263"/>
                      </a:lnTo>
                      <a:lnTo>
                        <a:pt x="802223" y="1967"/>
                      </a:lnTo>
                      <a:lnTo>
                        <a:pt x="801130" y="2659"/>
                      </a:lnTo>
                      <a:lnTo>
                        <a:pt x="800657" y="2951"/>
                      </a:lnTo>
                      <a:lnTo>
                        <a:pt x="800244" y="3327"/>
                      </a:lnTo>
                      <a:lnTo>
                        <a:pt x="798750" y="4699"/>
                      </a:lnTo>
                      <a:lnTo>
                        <a:pt x="798046" y="5343"/>
                      </a:lnTo>
                      <a:lnTo>
                        <a:pt x="797572" y="6169"/>
                      </a:lnTo>
                      <a:lnTo>
                        <a:pt x="796492" y="8075"/>
                      </a:lnTo>
                      <a:lnTo>
                        <a:pt x="794622" y="7529"/>
                      </a:lnTo>
                      <a:lnTo>
                        <a:pt x="793735" y="7274"/>
                      </a:lnTo>
                      <a:lnTo>
                        <a:pt x="792812" y="7286"/>
                      </a:lnTo>
                      <a:lnTo>
                        <a:pt x="789206" y="7346"/>
                      </a:lnTo>
                      <a:lnTo>
                        <a:pt x="788150" y="7359"/>
                      </a:lnTo>
                      <a:lnTo>
                        <a:pt x="787154" y="7735"/>
                      </a:lnTo>
                      <a:lnTo>
                        <a:pt x="786000" y="8172"/>
                      </a:lnTo>
                      <a:lnTo>
                        <a:pt x="785733" y="8063"/>
                      </a:lnTo>
                      <a:lnTo>
                        <a:pt x="778508" y="5221"/>
                      </a:lnTo>
                      <a:lnTo>
                        <a:pt x="777500" y="12920"/>
                      </a:lnTo>
                      <a:lnTo>
                        <a:pt x="777367" y="13928"/>
                      </a:lnTo>
                      <a:lnTo>
                        <a:pt x="776541" y="13600"/>
                      </a:lnTo>
                      <a:lnTo>
                        <a:pt x="775545" y="13211"/>
                      </a:lnTo>
                      <a:lnTo>
                        <a:pt x="774477" y="13187"/>
                      </a:lnTo>
                      <a:lnTo>
                        <a:pt x="770931" y="13102"/>
                      </a:lnTo>
                      <a:lnTo>
                        <a:pt x="767094" y="13005"/>
                      </a:lnTo>
                      <a:lnTo>
                        <a:pt x="765357" y="16429"/>
                      </a:lnTo>
                      <a:lnTo>
                        <a:pt x="763803" y="19502"/>
                      </a:lnTo>
                      <a:lnTo>
                        <a:pt x="762977" y="21141"/>
                      </a:lnTo>
                      <a:lnTo>
                        <a:pt x="763196" y="22962"/>
                      </a:lnTo>
                      <a:lnTo>
                        <a:pt x="763427" y="24893"/>
                      </a:lnTo>
                      <a:lnTo>
                        <a:pt x="763499" y="25476"/>
                      </a:lnTo>
                      <a:lnTo>
                        <a:pt x="763682" y="26034"/>
                      </a:lnTo>
                      <a:lnTo>
                        <a:pt x="764349" y="28099"/>
                      </a:lnTo>
                      <a:lnTo>
                        <a:pt x="763487" y="29544"/>
                      </a:lnTo>
                      <a:lnTo>
                        <a:pt x="763196" y="30029"/>
                      </a:lnTo>
                      <a:lnTo>
                        <a:pt x="763002" y="30564"/>
                      </a:lnTo>
                      <a:lnTo>
                        <a:pt x="762479" y="31985"/>
                      </a:lnTo>
                      <a:lnTo>
                        <a:pt x="762224" y="32665"/>
                      </a:lnTo>
                      <a:lnTo>
                        <a:pt x="762139" y="33381"/>
                      </a:lnTo>
                      <a:lnTo>
                        <a:pt x="761812" y="36234"/>
                      </a:lnTo>
                      <a:lnTo>
                        <a:pt x="761435" y="36234"/>
                      </a:lnTo>
                      <a:lnTo>
                        <a:pt x="760634" y="36101"/>
                      </a:lnTo>
                      <a:lnTo>
                        <a:pt x="760391" y="36004"/>
                      </a:lnTo>
                      <a:lnTo>
                        <a:pt x="759759" y="35482"/>
                      </a:lnTo>
                      <a:lnTo>
                        <a:pt x="759286" y="35081"/>
                      </a:lnTo>
                      <a:lnTo>
                        <a:pt x="758739" y="34790"/>
                      </a:lnTo>
                      <a:lnTo>
                        <a:pt x="757064" y="33879"/>
                      </a:lnTo>
                      <a:lnTo>
                        <a:pt x="755133" y="32834"/>
                      </a:lnTo>
                      <a:lnTo>
                        <a:pt x="752984" y="33259"/>
                      </a:lnTo>
                      <a:lnTo>
                        <a:pt x="751247" y="33599"/>
                      </a:lnTo>
                      <a:lnTo>
                        <a:pt x="750676" y="33721"/>
                      </a:lnTo>
                      <a:lnTo>
                        <a:pt x="750130" y="33939"/>
                      </a:lnTo>
                      <a:lnTo>
                        <a:pt x="745443" y="35858"/>
                      </a:lnTo>
                      <a:lnTo>
                        <a:pt x="745127" y="35992"/>
                      </a:lnTo>
                      <a:lnTo>
                        <a:pt x="744836" y="36162"/>
                      </a:lnTo>
                      <a:lnTo>
                        <a:pt x="740282" y="38651"/>
                      </a:lnTo>
                      <a:lnTo>
                        <a:pt x="738364" y="39040"/>
                      </a:lnTo>
                      <a:lnTo>
                        <a:pt x="735376" y="39125"/>
                      </a:lnTo>
                      <a:lnTo>
                        <a:pt x="734903" y="39137"/>
                      </a:lnTo>
                      <a:lnTo>
                        <a:pt x="734441" y="39222"/>
                      </a:lnTo>
                      <a:lnTo>
                        <a:pt x="732426" y="39598"/>
                      </a:lnTo>
                      <a:lnTo>
                        <a:pt x="731454" y="39780"/>
                      </a:lnTo>
                      <a:lnTo>
                        <a:pt x="730592" y="40266"/>
                      </a:lnTo>
                      <a:lnTo>
                        <a:pt x="728989" y="41152"/>
                      </a:lnTo>
                      <a:lnTo>
                        <a:pt x="727568" y="41930"/>
                      </a:lnTo>
                      <a:lnTo>
                        <a:pt x="726731" y="43314"/>
                      </a:lnTo>
                      <a:lnTo>
                        <a:pt x="725759" y="44929"/>
                      </a:lnTo>
                      <a:lnTo>
                        <a:pt x="725164" y="45925"/>
                      </a:lnTo>
                      <a:lnTo>
                        <a:pt x="724970" y="47066"/>
                      </a:lnTo>
                      <a:lnTo>
                        <a:pt x="724642" y="49070"/>
                      </a:lnTo>
                      <a:lnTo>
                        <a:pt x="716106" y="51644"/>
                      </a:lnTo>
                      <a:lnTo>
                        <a:pt x="709815" y="53538"/>
                      </a:lnTo>
                      <a:lnTo>
                        <a:pt x="712195" y="59658"/>
                      </a:lnTo>
                      <a:lnTo>
                        <a:pt x="712827" y="61273"/>
                      </a:lnTo>
                      <a:lnTo>
                        <a:pt x="707290" y="63034"/>
                      </a:lnTo>
                      <a:lnTo>
                        <a:pt x="706925" y="63143"/>
                      </a:lnTo>
                      <a:lnTo>
                        <a:pt x="706573" y="63313"/>
                      </a:lnTo>
                      <a:lnTo>
                        <a:pt x="701182" y="65815"/>
                      </a:lnTo>
                      <a:lnTo>
                        <a:pt x="699834" y="66434"/>
                      </a:lnTo>
                      <a:lnTo>
                        <a:pt x="698935" y="67612"/>
                      </a:lnTo>
                      <a:lnTo>
                        <a:pt x="696082" y="71303"/>
                      </a:lnTo>
                      <a:lnTo>
                        <a:pt x="695402" y="71898"/>
                      </a:lnTo>
                      <a:lnTo>
                        <a:pt x="694236" y="72214"/>
                      </a:lnTo>
                      <a:lnTo>
                        <a:pt x="691176" y="72590"/>
                      </a:lnTo>
                      <a:lnTo>
                        <a:pt x="690690" y="72639"/>
                      </a:lnTo>
                      <a:lnTo>
                        <a:pt x="690229" y="72773"/>
                      </a:lnTo>
                      <a:lnTo>
                        <a:pt x="684012" y="74558"/>
                      </a:lnTo>
                      <a:lnTo>
                        <a:pt x="681668" y="74910"/>
                      </a:lnTo>
                      <a:lnTo>
                        <a:pt x="680940" y="75019"/>
                      </a:lnTo>
                      <a:lnTo>
                        <a:pt x="680260" y="75298"/>
                      </a:lnTo>
                      <a:lnTo>
                        <a:pt x="677612" y="76379"/>
                      </a:lnTo>
                      <a:lnTo>
                        <a:pt x="676908" y="76670"/>
                      </a:lnTo>
                      <a:lnTo>
                        <a:pt x="676289" y="77120"/>
                      </a:lnTo>
                      <a:lnTo>
                        <a:pt x="666915" y="84066"/>
                      </a:lnTo>
                      <a:lnTo>
                        <a:pt x="659811" y="88170"/>
                      </a:lnTo>
                      <a:lnTo>
                        <a:pt x="659252" y="88498"/>
                      </a:lnTo>
                      <a:lnTo>
                        <a:pt x="658767" y="88947"/>
                      </a:lnTo>
                      <a:lnTo>
                        <a:pt x="657504" y="90088"/>
                      </a:lnTo>
                      <a:lnTo>
                        <a:pt x="657334" y="90149"/>
                      </a:lnTo>
                      <a:lnTo>
                        <a:pt x="651201" y="89323"/>
                      </a:lnTo>
                      <a:lnTo>
                        <a:pt x="650145" y="89178"/>
                      </a:lnTo>
                      <a:lnTo>
                        <a:pt x="649113" y="89408"/>
                      </a:lnTo>
                      <a:lnTo>
                        <a:pt x="645786" y="90125"/>
                      </a:lnTo>
                      <a:lnTo>
                        <a:pt x="643551" y="90611"/>
                      </a:lnTo>
                      <a:lnTo>
                        <a:pt x="642191" y="92444"/>
                      </a:lnTo>
                      <a:lnTo>
                        <a:pt x="640236" y="95079"/>
                      </a:lnTo>
                      <a:lnTo>
                        <a:pt x="638913" y="96852"/>
                      </a:lnTo>
                      <a:lnTo>
                        <a:pt x="638998" y="98333"/>
                      </a:lnTo>
                      <a:lnTo>
                        <a:pt x="637917" y="98892"/>
                      </a:lnTo>
                      <a:lnTo>
                        <a:pt x="636436" y="99645"/>
                      </a:lnTo>
                      <a:lnTo>
                        <a:pt x="635173" y="99851"/>
                      </a:lnTo>
                      <a:lnTo>
                        <a:pt x="629939" y="99718"/>
                      </a:lnTo>
                      <a:lnTo>
                        <a:pt x="628992" y="99693"/>
                      </a:lnTo>
                      <a:lnTo>
                        <a:pt x="628081" y="99961"/>
                      </a:lnTo>
                      <a:lnTo>
                        <a:pt x="625495" y="100713"/>
                      </a:lnTo>
                      <a:lnTo>
                        <a:pt x="624378" y="101041"/>
                      </a:lnTo>
                      <a:lnTo>
                        <a:pt x="623467" y="101758"/>
                      </a:lnTo>
                      <a:lnTo>
                        <a:pt x="621111" y="103591"/>
                      </a:lnTo>
                      <a:lnTo>
                        <a:pt x="620577" y="104004"/>
                      </a:lnTo>
                      <a:lnTo>
                        <a:pt x="620140" y="104526"/>
                      </a:lnTo>
                      <a:lnTo>
                        <a:pt x="616752" y="108667"/>
                      </a:lnTo>
                      <a:lnTo>
                        <a:pt x="616291" y="109214"/>
                      </a:lnTo>
                      <a:lnTo>
                        <a:pt x="615975" y="109857"/>
                      </a:lnTo>
                      <a:lnTo>
                        <a:pt x="615295" y="111254"/>
                      </a:lnTo>
                      <a:lnTo>
                        <a:pt x="614093" y="114180"/>
                      </a:lnTo>
                      <a:lnTo>
                        <a:pt x="613728" y="114690"/>
                      </a:lnTo>
                      <a:lnTo>
                        <a:pt x="612939" y="115370"/>
                      </a:lnTo>
                      <a:lnTo>
                        <a:pt x="610656" y="116961"/>
                      </a:lnTo>
                      <a:lnTo>
                        <a:pt x="610401" y="117143"/>
                      </a:lnTo>
                      <a:lnTo>
                        <a:pt x="610158" y="117361"/>
                      </a:lnTo>
                      <a:lnTo>
                        <a:pt x="608434" y="118879"/>
                      </a:lnTo>
                      <a:lnTo>
                        <a:pt x="604512" y="120992"/>
                      </a:lnTo>
                      <a:lnTo>
                        <a:pt x="603625" y="121478"/>
                      </a:lnTo>
                      <a:lnTo>
                        <a:pt x="602933" y="122219"/>
                      </a:lnTo>
                      <a:lnTo>
                        <a:pt x="600493" y="124842"/>
                      </a:lnTo>
                      <a:lnTo>
                        <a:pt x="597943" y="125279"/>
                      </a:lnTo>
                      <a:lnTo>
                        <a:pt x="593328" y="124878"/>
                      </a:lnTo>
                      <a:lnTo>
                        <a:pt x="592843" y="124842"/>
                      </a:lnTo>
                      <a:lnTo>
                        <a:pt x="592357" y="124878"/>
                      </a:lnTo>
                      <a:lnTo>
                        <a:pt x="587184" y="125254"/>
                      </a:lnTo>
                      <a:lnTo>
                        <a:pt x="585532" y="125376"/>
                      </a:lnTo>
                      <a:lnTo>
                        <a:pt x="584172" y="126323"/>
                      </a:lnTo>
                      <a:lnTo>
                        <a:pt x="579461" y="129589"/>
                      </a:lnTo>
                      <a:lnTo>
                        <a:pt x="577931" y="130658"/>
                      </a:lnTo>
                      <a:lnTo>
                        <a:pt x="577263" y="132406"/>
                      </a:lnTo>
                      <a:lnTo>
                        <a:pt x="576753" y="133730"/>
                      </a:lnTo>
                      <a:lnTo>
                        <a:pt x="576486" y="134434"/>
                      </a:lnTo>
                      <a:lnTo>
                        <a:pt x="576389" y="135187"/>
                      </a:lnTo>
                      <a:lnTo>
                        <a:pt x="576352" y="135503"/>
                      </a:lnTo>
                      <a:lnTo>
                        <a:pt x="575733" y="135394"/>
                      </a:lnTo>
                      <a:lnTo>
                        <a:pt x="574604" y="135624"/>
                      </a:lnTo>
                      <a:lnTo>
                        <a:pt x="572175" y="136122"/>
                      </a:lnTo>
                      <a:lnTo>
                        <a:pt x="571507" y="136256"/>
                      </a:lnTo>
                      <a:lnTo>
                        <a:pt x="570888" y="136535"/>
                      </a:lnTo>
                      <a:lnTo>
                        <a:pt x="565266" y="139085"/>
                      </a:lnTo>
                      <a:lnTo>
                        <a:pt x="564805" y="139304"/>
                      </a:lnTo>
                      <a:lnTo>
                        <a:pt x="564380" y="139583"/>
                      </a:lnTo>
                      <a:lnTo>
                        <a:pt x="562777" y="140664"/>
                      </a:lnTo>
                      <a:lnTo>
                        <a:pt x="561720" y="141380"/>
                      </a:lnTo>
                      <a:lnTo>
                        <a:pt x="561040" y="142461"/>
                      </a:lnTo>
                      <a:lnTo>
                        <a:pt x="559777" y="144452"/>
                      </a:lnTo>
                      <a:lnTo>
                        <a:pt x="559486" y="144914"/>
                      </a:lnTo>
                      <a:lnTo>
                        <a:pt x="559280" y="145424"/>
                      </a:lnTo>
                      <a:lnTo>
                        <a:pt x="558782" y="146650"/>
                      </a:lnTo>
                      <a:lnTo>
                        <a:pt x="556717" y="147282"/>
                      </a:lnTo>
                      <a:lnTo>
                        <a:pt x="555709" y="147585"/>
                      </a:lnTo>
                      <a:lnTo>
                        <a:pt x="554860" y="148217"/>
                      </a:lnTo>
                      <a:lnTo>
                        <a:pt x="553074" y="149540"/>
                      </a:lnTo>
                      <a:lnTo>
                        <a:pt x="552613" y="149880"/>
                      </a:lnTo>
                      <a:lnTo>
                        <a:pt x="552224" y="150305"/>
                      </a:lnTo>
                      <a:lnTo>
                        <a:pt x="550306" y="152394"/>
                      </a:lnTo>
                      <a:lnTo>
                        <a:pt x="545752" y="153353"/>
                      </a:lnTo>
                      <a:lnTo>
                        <a:pt x="544052" y="153705"/>
                      </a:lnTo>
                      <a:lnTo>
                        <a:pt x="542789" y="154908"/>
                      </a:lnTo>
                      <a:lnTo>
                        <a:pt x="541138" y="156486"/>
                      </a:lnTo>
                      <a:lnTo>
                        <a:pt x="540300" y="157288"/>
                      </a:lnTo>
                      <a:lnTo>
                        <a:pt x="539814" y="158344"/>
                      </a:lnTo>
                      <a:lnTo>
                        <a:pt x="539061" y="159983"/>
                      </a:lnTo>
                      <a:lnTo>
                        <a:pt x="538843" y="160469"/>
                      </a:lnTo>
                      <a:lnTo>
                        <a:pt x="538709" y="160979"/>
                      </a:lnTo>
                      <a:lnTo>
                        <a:pt x="538406" y="162157"/>
                      </a:lnTo>
                      <a:lnTo>
                        <a:pt x="538224" y="162533"/>
                      </a:lnTo>
                      <a:lnTo>
                        <a:pt x="536864" y="163772"/>
                      </a:lnTo>
                      <a:lnTo>
                        <a:pt x="526457" y="170098"/>
                      </a:lnTo>
                      <a:lnTo>
                        <a:pt x="525121" y="170912"/>
                      </a:lnTo>
                      <a:lnTo>
                        <a:pt x="524344" y="172223"/>
                      </a:lnTo>
                      <a:lnTo>
                        <a:pt x="523130" y="174348"/>
                      </a:lnTo>
                      <a:lnTo>
                        <a:pt x="522523" y="175417"/>
                      </a:lnTo>
                      <a:lnTo>
                        <a:pt x="522377" y="176643"/>
                      </a:lnTo>
                      <a:lnTo>
                        <a:pt x="522098" y="178938"/>
                      </a:lnTo>
                      <a:lnTo>
                        <a:pt x="522061" y="179303"/>
                      </a:lnTo>
                      <a:lnTo>
                        <a:pt x="522061" y="179667"/>
                      </a:lnTo>
                      <a:lnTo>
                        <a:pt x="522061" y="181160"/>
                      </a:lnTo>
                      <a:lnTo>
                        <a:pt x="522001" y="181379"/>
                      </a:lnTo>
                      <a:lnTo>
                        <a:pt x="521078" y="181658"/>
                      </a:lnTo>
                      <a:lnTo>
                        <a:pt x="520641" y="181792"/>
                      </a:lnTo>
                      <a:lnTo>
                        <a:pt x="520228" y="181986"/>
                      </a:lnTo>
                      <a:lnTo>
                        <a:pt x="518576" y="182763"/>
                      </a:lnTo>
                      <a:lnTo>
                        <a:pt x="517872" y="183091"/>
                      </a:lnTo>
                      <a:lnTo>
                        <a:pt x="517277" y="183589"/>
                      </a:lnTo>
                      <a:lnTo>
                        <a:pt x="515310" y="185228"/>
                      </a:lnTo>
                      <a:lnTo>
                        <a:pt x="514873" y="185593"/>
                      </a:lnTo>
                      <a:lnTo>
                        <a:pt x="514508" y="186030"/>
                      </a:lnTo>
                      <a:lnTo>
                        <a:pt x="511485" y="189709"/>
                      </a:lnTo>
                      <a:lnTo>
                        <a:pt x="511436" y="189733"/>
                      </a:lnTo>
                      <a:lnTo>
                        <a:pt x="510198" y="189430"/>
                      </a:lnTo>
                      <a:lnTo>
                        <a:pt x="509724" y="189321"/>
                      </a:lnTo>
                      <a:lnTo>
                        <a:pt x="509238" y="189284"/>
                      </a:lnTo>
                      <a:lnTo>
                        <a:pt x="499415" y="188483"/>
                      </a:lnTo>
                      <a:lnTo>
                        <a:pt x="498480" y="188410"/>
                      </a:lnTo>
                      <a:lnTo>
                        <a:pt x="497557" y="188628"/>
                      </a:lnTo>
                      <a:lnTo>
                        <a:pt x="495541" y="189090"/>
                      </a:lnTo>
                      <a:lnTo>
                        <a:pt x="493331" y="189600"/>
                      </a:lnTo>
                      <a:lnTo>
                        <a:pt x="491996" y="191421"/>
                      </a:lnTo>
                      <a:lnTo>
                        <a:pt x="491085" y="192660"/>
                      </a:lnTo>
                      <a:lnTo>
                        <a:pt x="490611" y="193303"/>
                      </a:lnTo>
                      <a:lnTo>
                        <a:pt x="490320" y="194044"/>
                      </a:lnTo>
                      <a:lnTo>
                        <a:pt x="489227" y="196837"/>
                      </a:lnTo>
                      <a:lnTo>
                        <a:pt x="487357" y="196922"/>
                      </a:lnTo>
                      <a:lnTo>
                        <a:pt x="485839" y="196995"/>
                      </a:lnTo>
                      <a:lnTo>
                        <a:pt x="484540" y="197772"/>
                      </a:lnTo>
                      <a:lnTo>
                        <a:pt x="482815" y="198804"/>
                      </a:lnTo>
                      <a:lnTo>
                        <a:pt x="482208" y="199168"/>
                      </a:lnTo>
                      <a:lnTo>
                        <a:pt x="481698" y="199654"/>
                      </a:lnTo>
                      <a:lnTo>
                        <a:pt x="477837" y="203406"/>
                      </a:lnTo>
                      <a:lnTo>
                        <a:pt x="476877" y="203771"/>
                      </a:lnTo>
                      <a:lnTo>
                        <a:pt x="474862" y="204536"/>
                      </a:lnTo>
                      <a:lnTo>
                        <a:pt x="473781" y="206393"/>
                      </a:lnTo>
                      <a:lnTo>
                        <a:pt x="469543" y="213655"/>
                      </a:lnTo>
                      <a:lnTo>
                        <a:pt x="469288" y="214092"/>
                      </a:lnTo>
                      <a:lnTo>
                        <a:pt x="469106" y="214566"/>
                      </a:lnTo>
                      <a:lnTo>
                        <a:pt x="468122" y="217152"/>
                      </a:lnTo>
                      <a:lnTo>
                        <a:pt x="467819" y="217954"/>
                      </a:lnTo>
                      <a:lnTo>
                        <a:pt x="467746" y="218804"/>
                      </a:lnTo>
                      <a:lnTo>
                        <a:pt x="467515" y="221584"/>
                      </a:lnTo>
                      <a:lnTo>
                        <a:pt x="467491" y="221900"/>
                      </a:lnTo>
                      <a:lnTo>
                        <a:pt x="467491" y="222216"/>
                      </a:lnTo>
                      <a:lnTo>
                        <a:pt x="467564" y="225676"/>
                      </a:lnTo>
                      <a:lnTo>
                        <a:pt x="466884" y="225810"/>
                      </a:lnTo>
                      <a:lnTo>
                        <a:pt x="465402" y="226101"/>
                      </a:lnTo>
                      <a:lnTo>
                        <a:pt x="464237" y="227049"/>
                      </a:lnTo>
                      <a:lnTo>
                        <a:pt x="463034" y="228020"/>
                      </a:lnTo>
                      <a:lnTo>
                        <a:pt x="461347" y="229380"/>
                      </a:lnTo>
                      <a:lnTo>
                        <a:pt x="460897" y="231493"/>
                      </a:lnTo>
                      <a:lnTo>
                        <a:pt x="460375" y="233970"/>
                      </a:lnTo>
                      <a:lnTo>
                        <a:pt x="460072" y="235439"/>
                      </a:lnTo>
                      <a:lnTo>
                        <a:pt x="460485" y="236884"/>
                      </a:lnTo>
                      <a:lnTo>
                        <a:pt x="461116" y="239094"/>
                      </a:lnTo>
                      <a:lnTo>
                        <a:pt x="461298" y="239750"/>
                      </a:lnTo>
                      <a:lnTo>
                        <a:pt x="461626" y="240345"/>
                      </a:lnTo>
                      <a:lnTo>
                        <a:pt x="462573" y="242094"/>
                      </a:lnTo>
                      <a:lnTo>
                        <a:pt x="463107" y="243527"/>
                      </a:lnTo>
                      <a:lnTo>
                        <a:pt x="468462" y="270375"/>
                      </a:lnTo>
                      <a:lnTo>
                        <a:pt x="468535" y="270751"/>
                      </a:lnTo>
                      <a:lnTo>
                        <a:pt x="468657" y="271103"/>
                      </a:lnTo>
                      <a:lnTo>
                        <a:pt x="472385" y="282299"/>
                      </a:lnTo>
                      <a:lnTo>
                        <a:pt x="473332" y="286464"/>
                      </a:lnTo>
                      <a:lnTo>
                        <a:pt x="473429" y="286865"/>
                      </a:lnTo>
                      <a:lnTo>
                        <a:pt x="473575" y="287253"/>
                      </a:lnTo>
                      <a:lnTo>
                        <a:pt x="474388" y="289378"/>
                      </a:lnTo>
                      <a:lnTo>
                        <a:pt x="474825" y="290508"/>
                      </a:lnTo>
                      <a:lnTo>
                        <a:pt x="475651" y="291382"/>
                      </a:lnTo>
                      <a:lnTo>
                        <a:pt x="477084" y="292900"/>
                      </a:lnTo>
                      <a:lnTo>
                        <a:pt x="477740" y="293592"/>
                      </a:lnTo>
                      <a:lnTo>
                        <a:pt x="478565" y="294053"/>
                      </a:lnTo>
                      <a:lnTo>
                        <a:pt x="480168" y="294928"/>
                      </a:lnTo>
                      <a:lnTo>
                        <a:pt x="481055" y="295425"/>
                      </a:lnTo>
                      <a:lnTo>
                        <a:pt x="482050" y="295596"/>
                      </a:lnTo>
                      <a:lnTo>
                        <a:pt x="483823" y="295911"/>
                      </a:lnTo>
                      <a:lnTo>
                        <a:pt x="485378" y="296227"/>
                      </a:lnTo>
                      <a:lnTo>
                        <a:pt x="486070" y="296640"/>
                      </a:lnTo>
                      <a:lnTo>
                        <a:pt x="486325" y="296883"/>
                      </a:lnTo>
                      <a:lnTo>
                        <a:pt x="490162" y="303695"/>
                      </a:lnTo>
                      <a:lnTo>
                        <a:pt x="490538" y="304375"/>
                      </a:lnTo>
                      <a:lnTo>
                        <a:pt x="491073" y="304933"/>
                      </a:lnTo>
                      <a:lnTo>
                        <a:pt x="492566" y="306488"/>
                      </a:lnTo>
                      <a:lnTo>
                        <a:pt x="493210" y="307156"/>
                      </a:lnTo>
                      <a:lnTo>
                        <a:pt x="494011" y="307605"/>
                      </a:lnTo>
                      <a:lnTo>
                        <a:pt x="496088" y="308746"/>
                      </a:lnTo>
                      <a:lnTo>
                        <a:pt x="496974" y="309232"/>
                      </a:lnTo>
                      <a:lnTo>
                        <a:pt x="497970" y="309414"/>
                      </a:lnTo>
                      <a:lnTo>
                        <a:pt x="499743" y="309718"/>
                      </a:lnTo>
                      <a:lnTo>
                        <a:pt x="500241" y="309803"/>
                      </a:lnTo>
                      <a:lnTo>
                        <a:pt x="500738" y="309803"/>
                      </a:lnTo>
                      <a:lnTo>
                        <a:pt x="504248" y="309827"/>
                      </a:lnTo>
                      <a:lnTo>
                        <a:pt x="505498" y="309985"/>
                      </a:lnTo>
                      <a:lnTo>
                        <a:pt x="506907" y="310422"/>
                      </a:lnTo>
                      <a:lnTo>
                        <a:pt x="508036" y="310932"/>
                      </a:lnTo>
                      <a:lnTo>
                        <a:pt x="515431" y="316445"/>
                      </a:lnTo>
                      <a:lnTo>
                        <a:pt x="517046" y="317477"/>
                      </a:lnTo>
                      <a:lnTo>
                        <a:pt x="517605" y="317829"/>
                      </a:lnTo>
                      <a:lnTo>
                        <a:pt x="518236" y="318048"/>
                      </a:lnTo>
                      <a:lnTo>
                        <a:pt x="519621" y="318533"/>
                      </a:lnTo>
                      <a:lnTo>
                        <a:pt x="520519" y="318849"/>
                      </a:lnTo>
                      <a:lnTo>
                        <a:pt x="521478" y="318873"/>
                      </a:lnTo>
                      <a:lnTo>
                        <a:pt x="522802" y="318910"/>
                      </a:lnTo>
                      <a:lnTo>
                        <a:pt x="523944" y="318934"/>
                      </a:lnTo>
                      <a:lnTo>
                        <a:pt x="525024" y="318546"/>
                      </a:lnTo>
                      <a:lnTo>
                        <a:pt x="530634" y="316530"/>
                      </a:lnTo>
                      <a:lnTo>
                        <a:pt x="531059" y="316421"/>
                      </a:lnTo>
                      <a:lnTo>
                        <a:pt x="531472" y="316421"/>
                      </a:lnTo>
                      <a:lnTo>
                        <a:pt x="537944" y="317513"/>
                      </a:lnTo>
                      <a:lnTo>
                        <a:pt x="538321" y="317684"/>
                      </a:lnTo>
                      <a:lnTo>
                        <a:pt x="544319" y="322237"/>
                      </a:lnTo>
                      <a:lnTo>
                        <a:pt x="545133" y="322856"/>
                      </a:lnTo>
                      <a:lnTo>
                        <a:pt x="546104" y="323172"/>
                      </a:lnTo>
                      <a:lnTo>
                        <a:pt x="547841" y="323743"/>
                      </a:lnTo>
                      <a:lnTo>
                        <a:pt x="549456" y="324277"/>
                      </a:lnTo>
                      <a:lnTo>
                        <a:pt x="551119" y="323889"/>
                      </a:lnTo>
                      <a:lnTo>
                        <a:pt x="552200" y="323634"/>
                      </a:lnTo>
                      <a:lnTo>
                        <a:pt x="553208" y="323391"/>
                      </a:lnTo>
                      <a:lnTo>
                        <a:pt x="554070" y="322844"/>
                      </a:lnTo>
                      <a:lnTo>
                        <a:pt x="555977" y="321642"/>
                      </a:lnTo>
                      <a:lnTo>
                        <a:pt x="564367" y="321800"/>
                      </a:lnTo>
                      <a:lnTo>
                        <a:pt x="565582" y="321824"/>
                      </a:lnTo>
                      <a:lnTo>
                        <a:pt x="566711" y="321375"/>
                      </a:lnTo>
                      <a:lnTo>
                        <a:pt x="571981" y="319311"/>
                      </a:lnTo>
                      <a:lnTo>
                        <a:pt x="572455" y="319129"/>
                      </a:lnTo>
                      <a:lnTo>
                        <a:pt x="572892" y="318861"/>
                      </a:lnTo>
                      <a:lnTo>
                        <a:pt x="577797" y="315911"/>
                      </a:lnTo>
                      <a:lnTo>
                        <a:pt x="581015" y="314502"/>
                      </a:lnTo>
                      <a:lnTo>
                        <a:pt x="582315" y="314308"/>
                      </a:lnTo>
                      <a:lnTo>
                        <a:pt x="582752" y="314344"/>
                      </a:lnTo>
                      <a:lnTo>
                        <a:pt x="585338" y="315571"/>
                      </a:lnTo>
                      <a:lnTo>
                        <a:pt x="585812" y="315789"/>
                      </a:lnTo>
                      <a:lnTo>
                        <a:pt x="586322" y="315935"/>
                      </a:lnTo>
                      <a:lnTo>
                        <a:pt x="589127" y="316712"/>
                      </a:lnTo>
                      <a:lnTo>
                        <a:pt x="589613" y="316846"/>
                      </a:lnTo>
                      <a:lnTo>
                        <a:pt x="590110" y="316894"/>
                      </a:lnTo>
                      <a:lnTo>
                        <a:pt x="594518" y="317356"/>
                      </a:lnTo>
                      <a:lnTo>
                        <a:pt x="595393" y="317453"/>
                      </a:lnTo>
                      <a:lnTo>
                        <a:pt x="596267" y="317295"/>
                      </a:lnTo>
                      <a:lnTo>
                        <a:pt x="599315" y="316724"/>
                      </a:lnTo>
                      <a:lnTo>
                        <a:pt x="600189" y="316554"/>
                      </a:lnTo>
                      <a:lnTo>
                        <a:pt x="600978" y="316141"/>
                      </a:lnTo>
                      <a:lnTo>
                        <a:pt x="603285" y="314951"/>
                      </a:lnTo>
                      <a:lnTo>
                        <a:pt x="604014" y="314575"/>
                      </a:lnTo>
                      <a:lnTo>
                        <a:pt x="604621" y="314016"/>
                      </a:lnTo>
                      <a:lnTo>
                        <a:pt x="606176" y="312584"/>
                      </a:lnTo>
                      <a:lnTo>
                        <a:pt x="606734" y="312073"/>
                      </a:lnTo>
                      <a:lnTo>
                        <a:pt x="607147" y="311442"/>
                      </a:lnTo>
                      <a:lnTo>
                        <a:pt x="608337" y="309608"/>
                      </a:lnTo>
                      <a:lnTo>
                        <a:pt x="608543" y="309305"/>
                      </a:lnTo>
                      <a:lnTo>
                        <a:pt x="608701" y="308965"/>
                      </a:lnTo>
                      <a:lnTo>
                        <a:pt x="609576" y="307180"/>
                      </a:lnTo>
                      <a:lnTo>
                        <a:pt x="609770" y="306779"/>
                      </a:lnTo>
                      <a:lnTo>
                        <a:pt x="609903" y="306354"/>
                      </a:lnTo>
                      <a:lnTo>
                        <a:pt x="611579" y="301060"/>
                      </a:lnTo>
                      <a:lnTo>
                        <a:pt x="612065" y="300125"/>
                      </a:lnTo>
                      <a:lnTo>
                        <a:pt x="612648" y="299481"/>
                      </a:lnTo>
                      <a:lnTo>
                        <a:pt x="614918" y="298012"/>
                      </a:lnTo>
                      <a:lnTo>
                        <a:pt x="618537" y="296628"/>
                      </a:lnTo>
                      <a:lnTo>
                        <a:pt x="621330" y="296203"/>
                      </a:lnTo>
                      <a:lnTo>
                        <a:pt x="622228" y="296203"/>
                      </a:lnTo>
                      <a:lnTo>
                        <a:pt x="623928" y="296482"/>
                      </a:lnTo>
                      <a:lnTo>
                        <a:pt x="624013" y="296518"/>
                      </a:lnTo>
                      <a:lnTo>
                        <a:pt x="624378" y="296761"/>
                      </a:lnTo>
                      <a:lnTo>
                        <a:pt x="624645" y="297028"/>
                      </a:lnTo>
                      <a:lnTo>
                        <a:pt x="624693" y="297101"/>
                      </a:lnTo>
                      <a:lnTo>
                        <a:pt x="624681" y="297125"/>
                      </a:lnTo>
                      <a:lnTo>
                        <a:pt x="623831" y="298680"/>
                      </a:lnTo>
                      <a:lnTo>
                        <a:pt x="623504" y="299275"/>
                      </a:lnTo>
                      <a:lnTo>
                        <a:pt x="623321" y="299931"/>
                      </a:lnTo>
                      <a:lnTo>
                        <a:pt x="622799" y="301740"/>
                      </a:lnTo>
                      <a:lnTo>
                        <a:pt x="622605" y="302408"/>
                      </a:lnTo>
                      <a:lnTo>
                        <a:pt x="622568" y="303100"/>
                      </a:lnTo>
                      <a:lnTo>
                        <a:pt x="622447" y="305395"/>
                      </a:lnTo>
                      <a:lnTo>
                        <a:pt x="622411" y="306099"/>
                      </a:lnTo>
                      <a:lnTo>
                        <a:pt x="622532" y="306791"/>
                      </a:lnTo>
                      <a:lnTo>
                        <a:pt x="622884" y="308746"/>
                      </a:lnTo>
                      <a:lnTo>
                        <a:pt x="623018" y="309511"/>
                      </a:lnTo>
                      <a:lnTo>
                        <a:pt x="623346" y="310216"/>
                      </a:lnTo>
                      <a:lnTo>
                        <a:pt x="624208" y="312086"/>
                      </a:lnTo>
                      <a:lnTo>
                        <a:pt x="624439" y="312584"/>
                      </a:lnTo>
                      <a:lnTo>
                        <a:pt x="624742" y="313033"/>
                      </a:lnTo>
                      <a:lnTo>
                        <a:pt x="626564" y="315644"/>
                      </a:lnTo>
                      <a:lnTo>
                        <a:pt x="626333" y="316190"/>
                      </a:lnTo>
                      <a:lnTo>
                        <a:pt x="625689" y="317987"/>
                      </a:lnTo>
                      <a:lnTo>
                        <a:pt x="625483" y="318582"/>
                      </a:lnTo>
                      <a:lnTo>
                        <a:pt x="625398" y="319201"/>
                      </a:lnTo>
                      <a:lnTo>
                        <a:pt x="625228" y="320573"/>
                      </a:lnTo>
                      <a:lnTo>
                        <a:pt x="625167" y="321059"/>
                      </a:lnTo>
                      <a:lnTo>
                        <a:pt x="625179" y="321545"/>
                      </a:lnTo>
                      <a:lnTo>
                        <a:pt x="625240" y="323464"/>
                      </a:lnTo>
                      <a:lnTo>
                        <a:pt x="625252" y="323949"/>
                      </a:lnTo>
                      <a:lnTo>
                        <a:pt x="625349" y="324435"/>
                      </a:lnTo>
                      <a:lnTo>
                        <a:pt x="625750" y="326475"/>
                      </a:lnTo>
                      <a:lnTo>
                        <a:pt x="625847" y="326997"/>
                      </a:lnTo>
                      <a:lnTo>
                        <a:pt x="626041" y="327495"/>
                      </a:lnTo>
                      <a:lnTo>
                        <a:pt x="626624" y="329013"/>
                      </a:lnTo>
                      <a:lnTo>
                        <a:pt x="626831" y="329535"/>
                      </a:lnTo>
                      <a:lnTo>
                        <a:pt x="627122" y="330009"/>
                      </a:lnTo>
                      <a:lnTo>
                        <a:pt x="628433" y="332134"/>
                      </a:lnTo>
                      <a:lnTo>
                        <a:pt x="628701" y="332559"/>
                      </a:lnTo>
                      <a:lnTo>
                        <a:pt x="629028" y="332947"/>
                      </a:lnTo>
                      <a:lnTo>
                        <a:pt x="632331" y="336736"/>
                      </a:lnTo>
                      <a:lnTo>
                        <a:pt x="632271" y="336857"/>
                      </a:lnTo>
                      <a:lnTo>
                        <a:pt x="631530" y="338314"/>
                      </a:lnTo>
                      <a:lnTo>
                        <a:pt x="631068" y="339213"/>
                      </a:lnTo>
                      <a:lnTo>
                        <a:pt x="630923" y="340209"/>
                      </a:lnTo>
                      <a:lnTo>
                        <a:pt x="630692" y="341812"/>
                      </a:lnTo>
                      <a:lnTo>
                        <a:pt x="630583" y="342564"/>
                      </a:lnTo>
                      <a:lnTo>
                        <a:pt x="630668" y="343317"/>
                      </a:lnTo>
                      <a:lnTo>
                        <a:pt x="630971" y="346110"/>
                      </a:lnTo>
                      <a:lnTo>
                        <a:pt x="630656" y="346244"/>
                      </a:lnTo>
                      <a:lnTo>
                        <a:pt x="629563" y="346681"/>
                      </a:lnTo>
                      <a:lnTo>
                        <a:pt x="628446" y="347130"/>
                      </a:lnTo>
                      <a:lnTo>
                        <a:pt x="627584" y="347968"/>
                      </a:lnTo>
                      <a:lnTo>
                        <a:pt x="626612" y="348915"/>
                      </a:lnTo>
                      <a:lnTo>
                        <a:pt x="626139" y="349377"/>
                      </a:lnTo>
                      <a:lnTo>
                        <a:pt x="625774" y="349923"/>
                      </a:lnTo>
                      <a:lnTo>
                        <a:pt x="625216" y="350773"/>
                      </a:lnTo>
                      <a:lnTo>
                        <a:pt x="624706" y="351307"/>
                      </a:lnTo>
                      <a:lnTo>
                        <a:pt x="623989" y="351259"/>
                      </a:lnTo>
                      <a:lnTo>
                        <a:pt x="622641" y="350542"/>
                      </a:lnTo>
                      <a:lnTo>
                        <a:pt x="620031" y="348794"/>
                      </a:lnTo>
                      <a:lnTo>
                        <a:pt x="619229" y="348259"/>
                      </a:lnTo>
                      <a:lnTo>
                        <a:pt x="618294" y="348004"/>
                      </a:lnTo>
                      <a:lnTo>
                        <a:pt x="615720" y="347288"/>
                      </a:lnTo>
                      <a:lnTo>
                        <a:pt x="614821" y="347033"/>
                      </a:lnTo>
                      <a:lnTo>
                        <a:pt x="613886" y="347069"/>
                      </a:lnTo>
                      <a:lnTo>
                        <a:pt x="611701" y="347142"/>
                      </a:lnTo>
                      <a:lnTo>
                        <a:pt x="610620" y="347179"/>
                      </a:lnTo>
                      <a:lnTo>
                        <a:pt x="609612" y="347579"/>
                      </a:lnTo>
                      <a:lnTo>
                        <a:pt x="607305" y="348527"/>
                      </a:lnTo>
                      <a:lnTo>
                        <a:pt x="606248" y="348429"/>
                      </a:lnTo>
                      <a:lnTo>
                        <a:pt x="603674" y="347592"/>
                      </a:lnTo>
                      <a:lnTo>
                        <a:pt x="602302" y="347142"/>
                      </a:lnTo>
                      <a:lnTo>
                        <a:pt x="600881" y="347361"/>
                      </a:lnTo>
                      <a:lnTo>
                        <a:pt x="598416" y="347725"/>
                      </a:lnTo>
                      <a:lnTo>
                        <a:pt x="597821" y="347822"/>
                      </a:lnTo>
                      <a:lnTo>
                        <a:pt x="597263" y="348029"/>
                      </a:lnTo>
                      <a:lnTo>
                        <a:pt x="579279" y="354549"/>
                      </a:lnTo>
                      <a:lnTo>
                        <a:pt x="571216" y="355618"/>
                      </a:lnTo>
                      <a:lnTo>
                        <a:pt x="567962" y="355351"/>
                      </a:lnTo>
                      <a:lnTo>
                        <a:pt x="567658" y="355327"/>
                      </a:lnTo>
                      <a:lnTo>
                        <a:pt x="567355" y="355327"/>
                      </a:lnTo>
                      <a:lnTo>
                        <a:pt x="565412" y="355363"/>
                      </a:lnTo>
                      <a:lnTo>
                        <a:pt x="564926" y="355375"/>
                      </a:lnTo>
                      <a:lnTo>
                        <a:pt x="564452" y="355460"/>
                      </a:lnTo>
                      <a:lnTo>
                        <a:pt x="563020" y="355715"/>
                      </a:lnTo>
                      <a:lnTo>
                        <a:pt x="562291" y="355837"/>
                      </a:lnTo>
                      <a:lnTo>
                        <a:pt x="561623" y="356128"/>
                      </a:lnTo>
                      <a:lnTo>
                        <a:pt x="546444" y="362831"/>
                      </a:lnTo>
                      <a:lnTo>
                        <a:pt x="541162" y="363900"/>
                      </a:lnTo>
                      <a:lnTo>
                        <a:pt x="540421" y="364045"/>
                      </a:lnTo>
                      <a:lnTo>
                        <a:pt x="539754" y="364361"/>
                      </a:lnTo>
                      <a:lnTo>
                        <a:pt x="536985" y="365685"/>
                      </a:lnTo>
                      <a:lnTo>
                        <a:pt x="536281" y="366025"/>
                      </a:lnTo>
                      <a:lnTo>
                        <a:pt x="535686" y="366535"/>
                      </a:lnTo>
                      <a:lnTo>
                        <a:pt x="534192" y="367797"/>
                      </a:lnTo>
                      <a:lnTo>
                        <a:pt x="533476" y="368405"/>
                      </a:lnTo>
                      <a:lnTo>
                        <a:pt x="532978" y="369194"/>
                      </a:lnTo>
                      <a:lnTo>
                        <a:pt x="531144" y="372096"/>
                      </a:lnTo>
                      <a:lnTo>
                        <a:pt x="530209" y="373784"/>
                      </a:lnTo>
                      <a:lnTo>
                        <a:pt x="529881" y="374367"/>
                      </a:lnTo>
                      <a:lnTo>
                        <a:pt x="529687" y="375010"/>
                      </a:lnTo>
                      <a:lnTo>
                        <a:pt x="529347" y="376176"/>
                      </a:lnTo>
                      <a:lnTo>
                        <a:pt x="529056" y="377208"/>
                      </a:lnTo>
                      <a:lnTo>
                        <a:pt x="529129" y="378289"/>
                      </a:lnTo>
                      <a:lnTo>
                        <a:pt x="529189" y="379139"/>
                      </a:lnTo>
                      <a:lnTo>
                        <a:pt x="529201" y="379333"/>
                      </a:lnTo>
                      <a:lnTo>
                        <a:pt x="529286" y="379965"/>
                      </a:lnTo>
                      <a:lnTo>
                        <a:pt x="529384" y="380718"/>
                      </a:lnTo>
                      <a:lnTo>
                        <a:pt x="529675" y="381434"/>
                      </a:lnTo>
                      <a:lnTo>
                        <a:pt x="530136" y="382575"/>
                      </a:lnTo>
                      <a:lnTo>
                        <a:pt x="530246" y="382855"/>
                      </a:lnTo>
                      <a:lnTo>
                        <a:pt x="530391" y="383134"/>
                      </a:lnTo>
                      <a:lnTo>
                        <a:pt x="533257" y="388562"/>
                      </a:lnTo>
                      <a:lnTo>
                        <a:pt x="535540" y="394002"/>
                      </a:lnTo>
                      <a:lnTo>
                        <a:pt x="536074" y="396103"/>
                      </a:lnTo>
                      <a:lnTo>
                        <a:pt x="536196" y="399029"/>
                      </a:lnTo>
                      <a:lnTo>
                        <a:pt x="536123" y="399175"/>
                      </a:lnTo>
                      <a:lnTo>
                        <a:pt x="535540" y="399867"/>
                      </a:lnTo>
                      <a:lnTo>
                        <a:pt x="534690" y="400389"/>
                      </a:lnTo>
                      <a:lnTo>
                        <a:pt x="533646" y="400826"/>
                      </a:lnTo>
                      <a:lnTo>
                        <a:pt x="530756" y="401518"/>
                      </a:lnTo>
                      <a:lnTo>
                        <a:pt x="527295" y="401773"/>
                      </a:lnTo>
                      <a:lnTo>
                        <a:pt x="525146" y="402113"/>
                      </a:lnTo>
                      <a:lnTo>
                        <a:pt x="523871" y="402332"/>
                      </a:lnTo>
                      <a:lnTo>
                        <a:pt x="522802" y="403048"/>
                      </a:lnTo>
                      <a:lnTo>
                        <a:pt x="521818" y="403704"/>
                      </a:lnTo>
                      <a:lnTo>
                        <a:pt x="521199" y="404117"/>
                      </a:lnTo>
                      <a:lnTo>
                        <a:pt x="520689" y="404676"/>
                      </a:lnTo>
                      <a:lnTo>
                        <a:pt x="519718" y="405744"/>
                      </a:lnTo>
                      <a:lnTo>
                        <a:pt x="519402" y="406084"/>
                      </a:lnTo>
                      <a:lnTo>
                        <a:pt x="519147" y="406485"/>
                      </a:lnTo>
                      <a:lnTo>
                        <a:pt x="517945" y="408318"/>
                      </a:lnTo>
                      <a:lnTo>
                        <a:pt x="516536" y="410468"/>
                      </a:lnTo>
                      <a:lnTo>
                        <a:pt x="517095" y="412981"/>
                      </a:lnTo>
                      <a:lnTo>
                        <a:pt x="517556" y="415046"/>
                      </a:lnTo>
                      <a:lnTo>
                        <a:pt x="517981" y="416976"/>
                      </a:lnTo>
                      <a:lnTo>
                        <a:pt x="519463" y="418276"/>
                      </a:lnTo>
                      <a:lnTo>
                        <a:pt x="521454" y="420036"/>
                      </a:lnTo>
                      <a:lnTo>
                        <a:pt x="531132" y="431111"/>
                      </a:lnTo>
                      <a:lnTo>
                        <a:pt x="531812" y="431876"/>
                      </a:lnTo>
                      <a:lnTo>
                        <a:pt x="532699" y="432386"/>
                      </a:lnTo>
                      <a:lnTo>
                        <a:pt x="538260" y="435555"/>
                      </a:lnTo>
                      <a:lnTo>
                        <a:pt x="539377" y="436187"/>
                      </a:lnTo>
                      <a:lnTo>
                        <a:pt x="540652" y="436320"/>
                      </a:lnTo>
                      <a:lnTo>
                        <a:pt x="548861" y="437146"/>
                      </a:lnTo>
                      <a:lnTo>
                        <a:pt x="549650" y="437219"/>
                      </a:lnTo>
                      <a:lnTo>
                        <a:pt x="550439" y="437097"/>
                      </a:lnTo>
                      <a:lnTo>
                        <a:pt x="552224" y="436806"/>
                      </a:lnTo>
                      <a:lnTo>
                        <a:pt x="552613" y="436745"/>
                      </a:lnTo>
                      <a:lnTo>
                        <a:pt x="553002" y="436624"/>
                      </a:lnTo>
                      <a:lnTo>
                        <a:pt x="553852" y="436369"/>
                      </a:lnTo>
                      <a:lnTo>
                        <a:pt x="553937" y="436356"/>
                      </a:lnTo>
                      <a:lnTo>
                        <a:pt x="554107" y="436381"/>
                      </a:lnTo>
                      <a:lnTo>
                        <a:pt x="554568" y="436624"/>
                      </a:lnTo>
                      <a:lnTo>
                        <a:pt x="562692" y="443545"/>
                      </a:lnTo>
                      <a:lnTo>
                        <a:pt x="564428" y="445439"/>
                      </a:lnTo>
                      <a:lnTo>
                        <a:pt x="565703" y="447637"/>
                      </a:lnTo>
                      <a:lnTo>
                        <a:pt x="567051" y="450976"/>
                      </a:lnTo>
                      <a:lnTo>
                        <a:pt x="569225" y="459452"/>
                      </a:lnTo>
                      <a:lnTo>
                        <a:pt x="569492" y="463241"/>
                      </a:lnTo>
                      <a:lnTo>
                        <a:pt x="569382" y="464310"/>
                      </a:lnTo>
                      <a:lnTo>
                        <a:pt x="569042" y="464771"/>
                      </a:lnTo>
                      <a:lnTo>
                        <a:pt x="568775" y="465196"/>
                      </a:lnTo>
                      <a:lnTo>
                        <a:pt x="567767" y="465912"/>
                      </a:lnTo>
                      <a:lnTo>
                        <a:pt x="551423" y="473113"/>
                      </a:lnTo>
                      <a:lnTo>
                        <a:pt x="551119" y="473198"/>
                      </a:lnTo>
                      <a:lnTo>
                        <a:pt x="551034" y="472676"/>
                      </a:lnTo>
                      <a:lnTo>
                        <a:pt x="550621" y="470770"/>
                      </a:lnTo>
                      <a:lnTo>
                        <a:pt x="550512" y="470260"/>
                      </a:lnTo>
                      <a:lnTo>
                        <a:pt x="550306" y="469786"/>
                      </a:lnTo>
                      <a:lnTo>
                        <a:pt x="548982" y="466568"/>
                      </a:lnTo>
                      <a:lnTo>
                        <a:pt x="548812" y="466143"/>
                      </a:lnTo>
                      <a:lnTo>
                        <a:pt x="548569" y="465755"/>
                      </a:lnTo>
                      <a:lnTo>
                        <a:pt x="547829" y="464528"/>
                      </a:lnTo>
                      <a:lnTo>
                        <a:pt x="547647" y="464237"/>
                      </a:lnTo>
                      <a:lnTo>
                        <a:pt x="547440" y="463970"/>
                      </a:lnTo>
                      <a:lnTo>
                        <a:pt x="546578" y="462852"/>
                      </a:lnTo>
                      <a:lnTo>
                        <a:pt x="546080" y="462197"/>
                      </a:lnTo>
                      <a:lnTo>
                        <a:pt x="545412" y="461699"/>
                      </a:lnTo>
                      <a:lnTo>
                        <a:pt x="544501" y="461007"/>
                      </a:lnTo>
                      <a:lnTo>
                        <a:pt x="543700" y="460399"/>
                      </a:lnTo>
                      <a:lnTo>
                        <a:pt x="542753" y="460084"/>
                      </a:lnTo>
                      <a:lnTo>
                        <a:pt x="541599" y="459707"/>
                      </a:lnTo>
                      <a:lnTo>
                        <a:pt x="540701" y="459416"/>
                      </a:lnTo>
                      <a:lnTo>
                        <a:pt x="539754" y="459416"/>
                      </a:lnTo>
                      <a:lnTo>
                        <a:pt x="537714" y="459404"/>
                      </a:lnTo>
                      <a:lnTo>
                        <a:pt x="537604" y="459379"/>
                      </a:lnTo>
                      <a:lnTo>
                        <a:pt x="537167" y="459210"/>
                      </a:lnTo>
                      <a:lnTo>
                        <a:pt x="536232" y="458675"/>
                      </a:lnTo>
                      <a:lnTo>
                        <a:pt x="535492" y="458250"/>
                      </a:lnTo>
                      <a:lnTo>
                        <a:pt x="534666" y="458044"/>
                      </a:lnTo>
                      <a:lnTo>
                        <a:pt x="533452" y="457740"/>
                      </a:lnTo>
                      <a:lnTo>
                        <a:pt x="532614" y="457534"/>
                      </a:lnTo>
                      <a:lnTo>
                        <a:pt x="531752" y="457570"/>
                      </a:lnTo>
                      <a:lnTo>
                        <a:pt x="530489" y="457619"/>
                      </a:lnTo>
                      <a:lnTo>
                        <a:pt x="529250" y="457667"/>
                      </a:lnTo>
                      <a:lnTo>
                        <a:pt x="528133" y="458190"/>
                      </a:lnTo>
                      <a:lnTo>
                        <a:pt x="526069" y="459161"/>
                      </a:lnTo>
                      <a:lnTo>
                        <a:pt x="524441" y="459926"/>
                      </a:lnTo>
                      <a:lnTo>
                        <a:pt x="523494" y="461456"/>
                      </a:lnTo>
                      <a:lnTo>
                        <a:pt x="522741" y="462670"/>
                      </a:lnTo>
                      <a:lnTo>
                        <a:pt x="521940" y="463957"/>
                      </a:lnTo>
                      <a:lnTo>
                        <a:pt x="521843" y="465475"/>
                      </a:lnTo>
                      <a:lnTo>
                        <a:pt x="521721" y="467370"/>
                      </a:lnTo>
                      <a:lnTo>
                        <a:pt x="521673" y="468159"/>
                      </a:lnTo>
                      <a:lnTo>
                        <a:pt x="521831" y="468936"/>
                      </a:lnTo>
                      <a:lnTo>
                        <a:pt x="523215" y="475809"/>
                      </a:lnTo>
                      <a:lnTo>
                        <a:pt x="523264" y="476477"/>
                      </a:lnTo>
                      <a:lnTo>
                        <a:pt x="523264" y="477436"/>
                      </a:lnTo>
                      <a:lnTo>
                        <a:pt x="521989" y="482014"/>
                      </a:lnTo>
                      <a:lnTo>
                        <a:pt x="521867" y="482475"/>
                      </a:lnTo>
                      <a:lnTo>
                        <a:pt x="521818" y="482937"/>
                      </a:lnTo>
                      <a:lnTo>
                        <a:pt x="521661" y="484309"/>
                      </a:lnTo>
                      <a:lnTo>
                        <a:pt x="521612" y="484758"/>
                      </a:lnTo>
                      <a:lnTo>
                        <a:pt x="521624" y="485207"/>
                      </a:lnTo>
                      <a:lnTo>
                        <a:pt x="521661" y="486592"/>
                      </a:lnTo>
                      <a:lnTo>
                        <a:pt x="521685" y="487247"/>
                      </a:lnTo>
                      <a:lnTo>
                        <a:pt x="521843" y="487891"/>
                      </a:lnTo>
                      <a:lnTo>
                        <a:pt x="522304" y="489700"/>
                      </a:lnTo>
                      <a:lnTo>
                        <a:pt x="523652" y="494351"/>
                      </a:lnTo>
                      <a:lnTo>
                        <a:pt x="523336" y="506531"/>
                      </a:lnTo>
                      <a:lnTo>
                        <a:pt x="523324" y="507332"/>
                      </a:lnTo>
                      <a:lnTo>
                        <a:pt x="523518" y="508109"/>
                      </a:lnTo>
                      <a:lnTo>
                        <a:pt x="524611" y="512651"/>
                      </a:lnTo>
                      <a:lnTo>
                        <a:pt x="524769" y="513318"/>
                      </a:lnTo>
                      <a:lnTo>
                        <a:pt x="525061" y="513926"/>
                      </a:lnTo>
                      <a:lnTo>
                        <a:pt x="527137" y="518115"/>
                      </a:lnTo>
                      <a:lnTo>
                        <a:pt x="527429" y="518698"/>
                      </a:lnTo>
                      <a:lnTo>
                        <a:pt x="527829" y="519208"/>
                      </a:lnTo>
                      <a:lnTo>
                        <a:pt x="536341" y="529918"/>
                      </a:lnTo>
                      <a:lnTo>
                        <a:pt x="537872" y="532334"/>
                      </a:lnTo>
                      <a:lnTo>
                        <a:pt x="536354" y="534593"/>
                      </a:lnTo>
                      <a:lnTo>
                        <a:pt x="535892" y="535297"/>
                      </a:lnTo>
                      <a:lnTo>
                        <a:pt x="535637" y="536099"/>
                      </a:lnTo>
                      <a:lnTo>
                        <a:pt x="535079" y="537847"/>
                      </a:lnTo>
                      <a:lnTo>
                        <a:pt x="534641" y="537847"/>
                      </a:lnTo>
                      <a:lnTo>
                        <a:pt x="533099" y="537604"/>
                      </a:lnTo>
                      <a:lnTo>
                        <a:pt x="532589" y="537531"/>
                      </a:lnTo>
                      <a:lnTo>
                        <a:pt x="532067" y="537531"/>
                      </a:lnTo>
                      <a:lnTo>
                        <a:pt x="530695" y="537556"/>
                      </a:lnTo>
                      <a:lnTo>
                        <a:pt x="529748" y="537568"/>
                      </a:lnTo>
                      <a:lnTo>
                        <a:pt x="528849" y="537871"/>
                      </a:lnTo>
                      <a:lnTo>
                        <a:pt x="527416" y="538357"/>
                      </a:lnTo>
                      <a:lnTo>
                        <a:pt x="526870" y="538539"/>
                      </a:lnTo>
                      <a:lnTo>
                        <a:pt x="526372" y="538819"/>
                      </a:lnTo>
                      <a:lnTo>
                        <a:pt x="523956" y="540191"/>
                      </a:lnTo>
                      <a:lnTo>
                        <a:pt x="522098" y="540276"/>
                      </a:lnTo>
                      <a:lnTo>
                        <a:pt x="519596" y="538649"/>
                      </a:lnTo>
                      <a:lnTo>
                        <a:pt x="516464" y="536062"/>
                      </a:lnTo>
                      <a:lnTo>
                        <a:pt x="516208" y="535856"/>
                      </a:lnTo>
                      <a:lnTo>
                        <a:pt x="515929" y="535674"/>
                      </a:lnTo>
                      <a:lnTo>
                        <a:pt x="506057" y="529189"/>
                      </a:lnTo>
                      <a:lnTo>
                        <a:pt x="507368" y="526761"/>
                      </a:lnTo>
                      <a:lnTo>
                        <a:pt x="507538" y="526457"/>
                      </a:lnTo>
                      <a:lnTo>
                        <a:pt x="507672" y="526141"/>
                      </a:lnTo>
                      <a:lnTo>
                        <a:pt x="508486" y="524126"/>
                      </a:lnTo>
                      <a:lnTo>
                        <a:pt x="508801" y="523324"/>
                      </a:lnTo>
                      <a:lnTo>
                        <a:pt x="508886" y="522474"/>
                      </a:lnTo>
                      <a:lnTo>
                        <a:pt x="509105" y="520325"/>
                      </a:lnTo>
                      <a:lnTo>
                        <a:pt x="509251" y="518880"/>
                      </a:lnTo>
                      <a:lnTo>
                        <a:pt x="508741" y="517532"/>
                      </a:lnTo>
                      <a:lnTo>
                        <a:pt x="507890" y="515322"/>
                      </a:lnTo>
                      <a:lnTo>
                        <a:pt x="506992" y="512991"/>
                      </a:lnTo>
                      <a:lnTo>
                        <a:pt x="504709" y="511971"/>
                      </a:lnTo>
                      <a:lnTo>
                        <a:pt x="503033" y="511218"/>
                      </a:lnTo>
                      <a:lnTo>
                        <a:pt x="501795" y="510659"/>
                      </a:lnTo>
                      <a:lnTo>
                        <a:pt x="500447" y="510683"/>
                      </a:lnTo>
                      <a:lnTo>
                        <a:pt x="498273" y="510720"/>
                      </a:lnTo>
                      <a:lnTo>
                        <a:pt x="497375" y="510732"/>
                      </a:lnTo>
                      <a:lnTo>
                        <a:pt x="496525" y="510999"/>
                      </a:lnTo>
                      <a:lnTo>
                        <a:pt x="491352" y="512651"/>
                      </a:lnTo>
                      <a:lnTo>
                        <a:pt x="491060" y="512748"/>
                      </a:lnTo>
                      <a:lnTo>
                        <a:pt x="490781" y="512869"/>
                      </a:lnTo>
                      <a:lnTo>
                        <a:pt x="485438" y="515200"/>
                      </a:lnTo>
                      <a:lnTo>
                        <a:pt x="484989" y="515395"/>
                      </a:lnTo>
                      <a:lnTo>
                        <a:pt x="484576" y="515662"/>
                      </a:lnTo>
                      <a:lnTo>
                        <a:pt x="482451" y="517034"/>
                      </a:lnTo>
                      <a:lnTo>
                        <a:pt x="481808" y="517447"/>
                      </a:lnTo>
                      <a:lnTo>
                        <a:pt x="481285" y="518006"/>
                      </a:lnTo>
                      <a:lnTo>
                        <a:pt x="479573" y="519851"/>
                      </a:lnTo>
                      <a:lnTo>
                        <a:pt x="479063" y="520398"/>
                      </a:lnTo>
                      <a:lnTo>
                        <a:pt x="478711" y="521041"/>
                      </a:lnTo>
                      <a:lnTo>
                        <a:pt x="477497" y="523239"/>
                      </a:lnTo>
                      <a:lnTo>
                        <a:pt x="477157" y="523846"/>
                      </a:lnTo>
                      <a:lnTo>
                        <a:pt x="476962" y="524514"/>
                      </a:lnTo>
                      <a:lnTo>
                        <a:pt x="475360" y="530161"/>
                      </a:lnTo>
                      <a:lnTo>
                        <a:pt x="474753" y="530367"/>
                      </a:lnTo>
                      <a:lnTo>
                        <a:pt x="473854" y="530476"/>
                      </a:lnTo>
                      <a:lnTo>
                        <a:pt x="473174" y="528303"/>
                      </a:lnTo>
                      <a:lnTo>
                        <a:pt x="473004" y="527744"/>
                      </a:lnTo>
                      <a:lnTo>
                        <a:pt x="472725" y="527234"/>
                      </a:lnTo>
                      <a:lnTo>
                        <a:pt x="471559" y="525061"/>
                      </a:lnTo>
                      <a:lnTo>
                        <a:pt x="471037" y="524077"/>
                      </a:lnTo>
                      <a:lnTo>
                        <a:pt x="470199" y="523336"/>
                      </a:lnTo>
                      <a:lnTo>
                        <a:pt x="468195" y="521600"/>
                      </a:lnTo>
                      <a:lnTo>
                        <a:pt x="467163" y="520701"/>
                      </a:lnTo>
                      <a:lnTo>
                        <a:pt x="465840" y="520337"/>
                      </a:lnTo>
                      <a:lnTo>
                        <a:pt x="463836" y="519778"/>
                      </a:lnTo>
                      <a:lnTo>
                        <a:pt x="462682" y="519463"/>
                      </a:lnTo>
                      <a:lnTo>
                        <a:pt x="461492" y="519608"/>
                      </a:lnTo>
                      <a:lnTo>
                        <a:pt x="452907" y="520641"/>
                      </a:lnTo>
                      <a:lnTo>
                        <a:pt x="448961" y="520556"/>
                      </a:lnTo>
                      <a:lnTo>
                        <a:pt x="445597" y="519766"/>
                      </a:lnTo>
                      <a:lnTo>
                        <a:pt x="435810" y="516281"/>
                      </a:lnTo>
                      <a:lnTo>
                        <a:pt x="435118" y="516038"/>
                      </a:lnTo>
                      <a:lnTo>
                        <a:pt x="434389" y="515966"/>
                      </a:lnTo>
                      <a:lnTo>
                        <a:pt x="431062" y="515626"/>
                      </a:lnTo>
                      <a:lnTo>
                        <a:pt x="430164" y="515540"/>
                      </a:lnTo>
                      <a:lnTo>
                        <a:pt x="429277" y="515711"/>
                      </a:lnTo>
                      <a:lnTo>
                        <a:pt x="423509" y="516840"/>
                      </a:lnTo>
                      <a:lnTo>
                        <a:pt x="420838" y="516961"/>
                      </a:lnTo>
                      <a:lnTo>
                        <a:pt x="419866" y="516585"/>
                      </a:lnTo>
                      <a:lnTo>
                        <a:pt x="418956" y="515868"/>
                      </a:lnTo>
                      <a:lnTo>
                        <a:pt x="418373" y="515079"/>
                      </a:lnTo>
                      <a:lnTo>
                        <a:pt x="418179" y="514715"/>
                      </a:lnTo>
                      <a:lnTo>
                        <a:pt x="418701" y="512311"/>
                      </a:lnTo>
                      <a:lnTo>
                        <a:pt x="418871" y="511546"/>
                      </a:lnTo>
                      <a:lnTo>
                        <a:pt x="418834" y="510768"/>
                      </a:lnTo>
                      <a:lnTo>
                        <a:pt x="418774" y="509360"/>
                      </a:lnTo>
                      <a:lnTo>
                        <a:pt x="418725" y="508060"/>
                      </a:lnTo>
                      <a:lnTo>
                        <a:pt x="418142" y="506895"/>
                      </a:lnTo>
                      <a:lnTo>
                        <a:pt x="417499" y="505608"/>
                      </a:lnTo>
                      <a:lnTo>
                        <a:pt x="416066" y="502742"/>
                      </a:lnTo>
                      <a:lnTo>
                        <a:pt x="412896" y="502305"/>
                      </a:lnTo>
                      <a:lnTo>
                        <a:pt x="411694" y="502135"/>
                      </a:lnTo>
                      <a:lnTo>
                        <a:pt x="410747" y="502001"/>
                      </a:lnTo>
                      <a:lnTo>
                        <a:pt x="409812" y="502159"/>
                      </a:lnTo>
                      <a:lnTo>
                        <a:pt x="408148" y="502451"/>
                      </a:lnTo>
                      <a:lnTo>
                        <a:pt x="407359" y="502596"/>
                      </a:lnTo>
                      <a:lnTo>
                        <a:pt x="406631" y="502924"/>
                      </a:lnTo>
                      <a:lnTo>
                        <a:pt x="403133" y="504551"/>
                      </a:lnTo>
                      <a:lnTo>
                        <a:pt x="399916" y="506409"/>
                      </a:lnTo>
                      <a:lnTo>
                        <a:pt x="399551" y="506615"/>
                      </a:lnTo>
                      <a:lnTo>
                        <a:pt x="399223" y="506871"/>
                      </a:lnTo>
                      <a:lnTo>
                        <a:pt x="397730" y="508048"/>
                      </a:lnTo>
                      <a:lnTo>
                        <a:pt x="397026" y="508595"/>
                      </a:lnTo>
                      <a:lnTo>
                        <a:pt x="396516" y="509323"/>
                      </a:lnTo>
                      <a:lnTo>
                        <a:pt x="395471" y="510817"/>
                      </a:lnTo>
                      <a:lnTo>
                        <a:pt x="394888" y="511643"/>
                      </a:lnTo>
                      <a:lnTo>
                        <a:pt x="394609" y="512614"/>
                      </a:lnTo>
                      <a:lnTo>
                        <a:pt x="394038" y="514569"/>
                      </a:lnTo>
                      <a:lnTo>
                        <a:pt x="393832" y="515286"/>
                      </a:lnTo>
                      <a:lnTo>
                        <a:pt x="393808" y="516038"/>
                      </a:lnTo>
                      <a:lnTo>
                        <a:pt x="393601" y="521333"/>
                      </a:lnTo>
                      <a:lnTo>
                        <a:pt x="392763" y="524903"/>
                      </a:lnTo>
                      <a:lnTo>
                        <a:pt x="392666" y="525340"/>
                      </a:lnTo>
                      <a:lnTo>
                        <a:pt x="392630" y="525789"/>
                      </a:lnTo>
                      <a:lnTo>
                        <a:pt x="392460" y="527817"/>
                      </a:lnTo>
                      <a:lnTo>
                        <a:pt x="392411" y="528461"/>
                      </a:lnTo>
                      <a:lnTo>
                        <a:pt x="392496" y="529092"/>
                      </a:lnTo>
                      <a:lnTo>
                        <a:pt x="392921" y="532359"/>
                      </a:lnTo>
                      <a:lnTo>
                        <a:pt x="392350" y="538782"/>
                      </a:lnTo>
                      <a:lnTo>
                        <a:pt x="392326" y="541830"/>
                      </a:lnTo>
                      <a:lnTo>
                        <a:pt x="392326" y="542206"/>
                      </a:lnTo>
                      <a:lnTo>
                        <a:pt x="392375" y="542583"/>
                      </a:lnTo>
                      <a:lnTo>
                        <a:pt x="392897" y="546857"/>
                      </a:lnTo>
                      <a:lnTo>
                        <a:pt x="392897" y="547999"/>
                      </a:lnTo>
                      <a:lnTo>
                        <a:pt x="392751" y="549019"/>
                      </a:lnTo>
                      <a:lnTo>
                        <a:pt x="388331" y="554046"/>
                      </a:lnTo>
                      <a:lnTo>
                        <a:pt x="373359" y="562910"/>
                      </a:lnTo>
                      <a:lnTo>
                        <a:pt x="372643" y="563335"/>
                      </a:lnTo>
                      <a:lnTo>
                        <a:pt x="372072" y="563942"/>
                      </a:lnTo>
                      <a:lnTo>
                        <a:pt x="369388" y="566735"/>
                      </a:lnTo>
                      <a:lnTo>
                        <a:pt x="368575" y="567585"/>
                      </a:lnTo>
                      <a:lnTo>
                        <a:pt x="368137" y="568678"/>
                      </a:lnTo>
                      <a:lnTo>
                        <a:pt x="367263" y="570876"/>
                      </a:lnTo>
                      <a:lnTo>
                        <a:pt x="366037" y="573948"/>
                      </a:lnTo>
                      <a:lnTo>
                        <a:pt x="367955" y="576644"/>
                      </a:lnTo>
                      <a:lnTo>
                        <a:pt x="369048" y="578186"/>
                      </a:lnTo>
                      <a:lnTo>
                        <a:pt x="369315" y="578562"/>
                      </a:lnTo>
                      <a:lnTo>
                        <a:pt x="369631" y="578890"/>
                      </a:lnTo>
                      <a:lnTo>
                        <a:pt x="370384" y="579667"/>
                      </a:lnTo>
                      <a:lnTo>
                        <a:pt x="370202" y="580068"/>
                      </a:lnTo>
                      <a:lnTo>
                        <a:pt x="369570" y="581076"/>
                      </a:lnTo>
                      <a:lnTo>
                        <a:pt x="368356" y="581999"/>
                      </a:lnTo>
                      <a:lnTo>
                        <a:pt x="355472" y="588811"/>
                      </a:lnTo>
                      <a:lnTo>
                        <a:pt x="346402" y="591349"/>
                      </a:lnTo>
                      <a:lnTo>
                        <a:pt x="345758" y="591531"/>
                      </a:lnTo>
                      <a:lnTo>
                        <a:pt x="345175" y="591847"/>
                      </a:lnTo>
                      <a:lnTo>
                        <a:pt x="339177" y="595053"/>
                      </a:lnTo>
                      <a:lnTo>
                        <a:pt x="337392" y="595538"/>
                      </a:lnTo>
                      <a:lnTo>
                        <a:pt x="337149" y="595283"/>
                      </a:lnTo>
                      <a:lnTo>
                        <a:pt x="335813" y="593595"/>
                      </a:lnTo>
                      <a:lnTo>
                        <a:pt x="333785" y="591470"/>
                      </a:lnTo>
                      <a:lnTo>
                        <a:pt x="333202" y="590863"/>
                      </a:lnTo>
                      <a:lnTo>
                        <a:pt x="332474" y="590438"/>
                      </a:lnTo>
                      <a:lnTo>
                        <a:pt x="330883" y="589515"/>
                      </a:lnTo>
                      <a:lnTo>
                        <a:pt x="329304" y="588593"/>
                      </a:lnTo>
                      <a:lnTo>
                        <a:pt x="327483" y="588702"/>
                      </a:lnTo>
                      <a:lnTo>
                        <a:pt x="325407" y="588823"/>
                      </a:lnTo>
                      <a:lnTo>
                        <a:pt x="323524" y="588933"/>
                      </a:lnTo>
                      <a:lnTo>
                        <a:pt x="322043" y="590086"/>
                      </a:lnTo>
                      <a:lnTo>
                        <a:pt x="321011" y="590887"/>
                      </a:lnTo>
                      <a:lnTo>
                        <a:pt x="319906" y="591738"/>
                      </a:lnTo>
                      <a:lnTo>
                        <a:pt x="319286" y="592988"/>
                      </a:lnTo>
                      <a:lnTo>
                        <a:pt x="318716" y="594142"/>
                      </a:lnTo>
                      <a:lnTo>
                        <a:pt x="317975" y="595647"/>
                      </a:lnTo>
                      <a:lnTo>
                        <a:pt x="318109" y="597323"/>
                      </a:lnTo>
                      <a:lnTo>
                        <a:pt x="318230" y="598817"/>
                      </a:lnTo>
                      <a:lnTo>
                        <a:pt x="318279" y="599375"/>
                      </a:lnTo>
                      <a:lnTo>
                        <a:pt x="318424" y="599910"/>
                      </a:lnTo>
                      <a:lnTo>
                        <a:pt x="319469" y="603747"/>
                      </a:lnTo>
                      <a:lnTo>
                        <a:pt x="319554" y="604318"/>
                      </a:lnTo>
                      <a:lnTo>
                        <a:pt x="317149" y="609029"/>
                      </a:lnTo>
                      <a:lnTo>
                        <a:pt x="316809" y="609709"/>
                      </a:lnTo>
                      <a:lnTo>
                        <a:pt x="316639" y="610450"/>
                      </a:lnTo>
                      <a:lnTo>
                        <a:pt x="316396" y="611482"/>
                      </a:lnTo>
                      <a:lnTo>
                        <a:pt x="314259" y="610450"/>
                      </a:lnTo>
                      <a:lnTo>
                        <a:pt x="313652" y="610158"/>
                      </a:lnTo>
                      <a:lnTo>
                        <a:pt x="312996" y="610001"/>
                      </a:lnTo>
                      <a:lnTo>
                        <a:pt x="310058" y="609308"/>
                      </a:lnTo>
                      <a:lnTo>
                        <a:pt x="309681" y="609223"/>
                      </a:lnTo>
                      <a:lnTo>
                        <a:pt x="309293" y="609187"/>
                      </a:lnTo>
                      <a:lnTo>
                        <a:pt x="305723" y="608810"/>
                      </a:lnTo>
                      <a:lnTo>
                        <a:pt x="305601" y="606637"/>
                      </a:lnTo>
                      <a:lnTo>
                        <a:pt x="305541" y="605593"/>
                      </a:lnTo>
                      <a:lnTo>
                        <a:pt x="305128" y="604621"/>
                      </a:lnTo>
                      <a:lnTo>
                        <a:pt x="304083" y="602156"/>
                      </a:lnTo>
                      <a:lnTo>
                        <a:pt x="303889" y="601695"/>
                      </a:lnTo>
                      <a:lnTo>
                        <a:pt x="303622" y="601270"/>
                      </a:lnTo>
                      <a:lnTo>
                        <a:pt x="302639" y="599715"/>
                      </a:lnTo>
                      <a:lnTo>
                        <a:pt x="301837" y="598453"/>
                      </a:lnTo>
                      <a:lnTo>
                        <a:pt x="300550" y="597700"/>
                      </a:lnTo>
                      <a:lnTo>
                        <a:pt x="290714" y="592029"/>
                      </a:lnTo>
                      <a:lnTo>
                        <a:pt x="288091" y="590110"/>
                      </a:lnTo>
                      <a:lnTo>
                        <a:pt x="287897" y="589928"/>
                      </a:lnTo>
                      <a:lnTo>
                        <a:pt x="286986" y="588374"/>
                      </a:lnTo>
                      <a:lnTo>
                        <a:pt x="286525" y="581914"/>
                      </a:lnTo>
                      <a:lnTo>
                        <a:pt x="288565" y="578672"/>
                      </a:lnTo>
                      <a:lnTo>
                        <a:pt x="288820" y="578271"/>
                      </a:lnTo>
                      <a:lnTo>
                        <a:pt x="289014" y="577834"/>
                      </a:lnTo>
                      <a:lnTo>
                        <a:pt x="289378" y="576984"/>
                      </a:lnTo>
                      <a:lnTo>
                        <a:pt x="291443" y="578757"/>
                      </a:lnTo>
                      <a:lnTo>
                        <a:pt x="291892" y="579133"/>
                      </a:lnTo>
                      <a:lnTo>
                        <a:pt x="292402" y="579425"/>
                      </a:lnTo>
                      <a:lnTo>
                        <a:pt x="293774" y="580202"/>
                      </a:lnTo>
                      <a:lnTo>
                        <a:pt x="294454" y="580590"/>
                      </a:lnTo>
                      <a:lnTo>
                        <a:pt x="295219" y="580797"/>
                      </a:lnTo>
                      <a:lnTo>
                        <a:pt x="297332" y="581355"/>
                      </a:lnTo>
                      <a:lnTo>
                        <a:pt x="297538" y="581465"/>
                      </a:lnTo>
                      <a:lnTo>
                        <a:pt x="299396" y="583043"/>
                      </a:lnTo>
                      <a:lnTo>
                        <a:pt x="300246" y="583760"/>
                      </a:lnTo>
                      <a:lnTo>
                        <a:pt x="301291" y="584124"/>
                      </a:lnTo>
                      <a:lnTo>
                        <a:pt x="303646" y="584962"/>
                      </a:lnTo>
                      <a:lnTo>
                        <a:pt x="304703" y="585338"/>
                      </a:lnTo>
                      <a:lnTo>
                        <a:pt x="305832" y="585314"/>
                      </a:lnTo>
                      <a:lnTo>
                        <a:pt x="308079" y="585253"/>
                      </a:lnTo>
                      <a:lnTo>
                        <a:pt x="309111" y="585229"/>
                      </a:lnTo>
                      <a:lnTo>
                        <a:pt x="310082" y="584865"/>
                      </a:lnTo>
                      <a:lnTo>
                        <a:pt x="312207" y="584063"/>
                      </a:lnTo>
                      <a:lnTo>
                        <a:pt x="313215" y="583675"/>
                      </a:lnTo>
                      <a:lnTo>
                        <a:pt x="314029" y="582958"/>
                      </a:lnTo>
                      <a:lnTo>
                        <a:pt x="317052" y="580323"/>
                      </a:lnTo>
                      <a:lnTo>
                        <a:pt x="318740" y="581792"/>
                      </a:lnTo>
                      <a:lnTo>
                        <a:pt x="319384" y="582351"/>
                      </a:lnTo>
                      <a:lnTo>
                        <a:pt x="320149" y="582703"/>
                      </a:lnTo>
                      <a:lnTo>
                        <a:pt x="322031" y="583590"/>
                      </a:lnTo>
                      <a:lnTo>
                        <a:pt x="322480" y="583808"/>
                      </a:lnTo>
                      <a:lnTo>
                        <a:pt x="322966" y="583942"/>
                      </a:lnTo>
                      <a:lnTo>
                        <a:pt x="323706" y="584148"/>
                      </a:lnTo>
                      <a:lnTo>
                        <a:pt x="325200" y="584573"/>
                      </a:lnTo>
                      <a:lnTo>
                        <a:pt x="326718" y="584221"/>
                      </a:lnTo>
                      <a:lnTo>
                        <a:pt x="327361" y="584075"/>
                      </a:lnTo>
                      <a:lnTo>
                        <a:pt x="329219" y="583650"/>
                      </a:lnTo>
                      <a:lnTo>
                        <a:pt x="330494" y="582242"/>
                      </a:lnTo>
                      <a:lnTo>
                        <a:pt x="332158" y="580408"/>
                      </a:lnTo>
                      <a:lnTo>
                        <a:pt x="333032" y="579437"/>
                      </a:lnTo>
                      <a:lnTo>
                        <a:pt x="333433" y="578186"/>
                      </a:lnTo>
                      <a:lnTo>
                        <a:pt x="333943" y="576607"/>
                      </a:lnTo>
                      <a:lnTo>
                        <a:pt x="335279" y="574167"/>
                      </a:lnTo>
                      <a:lnTo>
                        <a:pt x="337222" y="571289"/>
                      </a:lnTo>
                      <a:lnTo>
                        <a:pt x="342091" y="566796"/>
                      </a:lnTo>
                      <a:lnTo>
                        <a:pt x="342625" y="566298"/>
                      </a:lnTo>
                      <a:lnTo>
                        <a:pt x="343026" y="565691"/>
                      </a:lnTo>
                      <a:lnTo>
                        <a:pt x="345321" y="562242"/>
                      </a:lnTo>
                      <a:lnTo>
                        <a:pt x="345649" y="561744"/>
                      </a:lnTo>
                      <a:lnTo>
                        <a:pt x="345879" y="561186"/>
                      </a:lnTo>
                      <a:lnTo>
                        <a:pt x="346742" y="559097"/>
                      </a:lnTo>
                      <a:lnTo>
                        <a:pt x="347798" y="556523"/>
                      </a:lnTo>
                      <a:lnTo>
                        <a:pt x="346547" y="554046"/>
                      </a:lnTo>
                      <a:lnTo>
                        <a:pt x="345454" y="551884"/>
                      </a:lnTo>
                      <a:lnTo>
                        <a:pt x="344617" y="550233"/>
                      </a:lnTo>
                      <a:lnTo>
                        <a:pt x="343002" y="549322"/>
                      </a:lnTo>
                      <a:lnTo>
                        <a:pt x="336080" y="545461"/>
                      </a:lnTo>
                      <a:lnTo>
                        <a:pt x="335546" y="544866"/>
                      </a:lnTo>
                      <a:lnTo>
                        <a:pt x="335194" y="543554"/>
                      </a:lnTo>
                      <a:lnTo>
                        <a:pt x="335291" y="542146"/>
                      </a:lnTo>
                      <a:lnTo>
                        <a:pt x="336554" y="539596"/>
                      </a:lnTo>
                      <a:lnTo>
                        <a:pt x="342795" y="532176"/>
                      </a:lnTo>
                      <a:lnTo>
                        <a:pt x="343512" y="531326"/>
                      </a:lnTo>
                      <a:lnTo>
                        <a:pt x="343876" y="530282"/>
                      </a:lnTo>
                      <a:lnTo>
                        <a:pt x="345309" y="526202"/>
                      </a:lnTo>
                      <a:lnTo>
                        <a:pt x="345576" y="525449"/>
                      </a:lnTo>
                      <a:lnTo>
                        <a:pt x="345637" y="524648"/>
                      </a:lnTo>
                      <a:lnTo>
                        <a:pt x="345940" y="520604"/>
                      </a:lnTo>
                      <a:lnTo>
                        <a:pt x="346013" y="519669"/>
                      </a:lnTo>
                      <a:lnTo>
                        <a:pt x="345794" y="518758"/>
                      </a:lnTo>
                      <a:lnTo>
                        <a:pt x="345151" y="516026"/>
                      </a:lnTo>
                      <a:lnTo>
                        <a:pt x="344993" y="515383"/>
                      </a:lnTo>
                      <a:lnTo>
                        <a:pt x="344702" y="514788"/>
                      </a:lnTo>
                      <a:lnTo>
                        <a:pt x="343949" y="513233"/>
                      </a:lnTo>
                      <a:lnTo>
                        <a:pt x="343463" y="512250"/>
                      </a:lnTo>
                      <a:lnTo>
                        <a:pt x="342674" y="511497"/>
                      </a:lnTo>
                      <a:lnTo>
                        <a:pt x="341302" y="510186"/>
                      </a:lnTo>
                      <a:lnTo>
                        <a:pt x="340597" y="509518"/>
                      </a:lnTo>
                      <a:lnTo>
                        <a:pt x="339723" y="509105"/>
                      </a:lnTo>
                      <a:lnTo>
                        <a:pt x="338059" y="508303"/>
                      </a:lnTo>
                      <a:lnTo>
                        <a:pt x="335934" y="507502"/>
                      </a:lnTo>
                      <a:lnTo>
                        <a:pt x="335424" y="507223"/>
                      </a:lnTo>
                      <a:lnTo>
                        <a:pt x="335011" y="505972"/>
                      </a:lnTo>
                      <a:lnTo>
                        <a:pt x="334052" y="498140"/>
                      </a:lnTo>
                      <a:lnTo>
                        <a:pt x="333991" y="497581"/>
                      </a:lnTo>
                      <a:lnTo>
                        <a:pt x="333821" y="497047"/>
                      </a:lnTo>
                      <a:lnTo>
                        <a:pt x="333227" y="495152"/>
                      </a:lnTo>
                      <a:lnTo>
                        <a:pt x="332887" y="493550"/>
                      </a:lnTo>
                      <a:lnTo>
                        <a:pt x="332971" y="491935"/>
                      </a:lnTo>
                      <a:lnTo>
                        <a:pt x="334368" y="487600"/>
                      </a:lnTo>
                      <a:lnTo>
                        <a:pt x="335291" y="486033"/>
                      </a:lnTo>
                      <a:lnTo>
                        <a:pt x="335424" y="485912"/>
                      </a:lnTo>
                      <a:lnTo>
                        <a:pt x="340464" y="489287"/>
                      </a:lnTo>
                      <a:lnTo>
                        <a:pt x="341277" y="489834"/>
                      </a:lnTo>
                      <a:lnTo>
                        <a:pt x="342224" y="490089"/>
                      </a:lnTo>
                      <a:lnTo>
                        <a:pt x="344519" y="490720"/>
                      </a:lnTo>
                      <a:lnTo>
                        <a:pt x="346013" y="491133"/>
                      </a:lnTo>
                      <a:lnTo>
                        <a:pt x="347519" y="490781"/>
                      </a:lnTo>
                      <a:lnTo>
                        <a:pt x="349753" y="490259"/>
                      </a:lnTo>
                      <a:lnTo>
                        <a:pt x="350967" y="489980"/>
                      </a:lnTo>
                      <a:lnTo>
                        <a:pt x="351975" y="489239"/>
                      </a:lnTo>
                      <a:lnTo>
                        <a:pt x="354161" y="487636"/>
                      </a:lnTo>
                      <a:lnTo>
                        <a:pt x="354950" y="487053"/>
                      </a:lnTo>
                      <a:lnTo>
                        <a:pt x="355521" y="486252"/>
                      </a:lnTo>
                      <a:lnTo>
                        <a:pt x="357075" y="484042"/>
                      </a:lnTo>
                      <a:lnTo>
                        <a:pt x="357270" y="483763"/>
                      </a:lnTo>
                      <a:lnTo>
                        <a:pt x="357427" y="483471"/>
                      </a:lnTo>
                      <a:lnTo>
                        <a:pt x="358047" y="482342"/>
                      </a:lnTo>
                      <a:lnTo>
                        <a:pt x="358302" y="481868"/>
                      </a:lnTo>
                      <a:lnTo>
                        <a:pt x="358472" y="481358"/>
                      </a:lnTo>
                      <a:lnTo>
                        <a:pt x="358715" y="480642"/>
                      </a:lnTo>
                      <a:lnTo>
                        <a:pt x="358970" y="479877"/>
                      </a:lnTo>
                      <a:lnTo>
                        <a:pt x="359018" y="479075"/>
                      </a:lnTo>
                      <a:lnTo>
                        <a:pt x="359188" y="476452"/>
                      </a:lnTo>
                      <a:lnTo>
                        <a:pt x="359212" y="476076"/>
                      </a:lnTo>
                      <a:lnTo>
                        <a:pt x="359188" y="475700"/>
                      </a:lnTo>
                      <a:lnTo>
                        <a:pt x="358156" y="458760"/>
                      </a:lnTo>
                      <a:lnTo>
                        <a:pt x="358035" y="456781"/>
                      </a:lnTo>
                      <a:lnTo>
                        <a:pt x="356772" y="455251"/>
                      </a:lnTo>
                      <a:lnTo>
                        <a:pt x="351247" y="448584"/>
                      </a:lnTo>
                      <a:lnTo>
                        <a:pt x="351052" y="448354"/>
                      </a:lnTo>
                      <a:lnTo>
                        <a:pt x="350834" y="448135"/>
                      </a:lnTo>
                      <a:lnTo>
                        <a:pt x="347871" y="445209"/>
                      </a:lnTo>
                      <a:lnTo>
                        <a:pt x="347762" y="444978"/>
                      </a:lnTo>
                      <a:lnTo>
                        <a:pt x="348077" y="444116"/>
                      </a:lnTo>
                      <a:lnTo>
                        <a:pt x="348393" y="443290"/>
                      </a:lnTo>
                      <a:lnTo>
                        <a:pt x="348454" y="442391"/>
                      </a:lnTo>
                      <a:lnTo>
                        <a:pt x="348612" y="439963"/>
                      </a:lnTo>
                      <a:lnTo>
                        <a:pt x="348672" y="439040"/>
                      </a:lnTo>
                      <a:lnTo>
                        <a:pt x="348454" y="438141"/>
                      </a:lnTo>
                      <a:lnTo>
                        <a:pt x="347482" y="434110"/>
                      </a:lnTo>
                      <a:lnTo>
                        <a:pt x="347215" y="432956"/>
                      </a:lnTo>
                      <a:lnTo>
                        <a:pt x="346523" y="431997"/>
                      </a:lnTo>
                      <a:lnTo>
                        <a:pt x="340609" y="423740"/>
                      </a:lnTo>
                      <a:lnTo>
                        <a:pt x="340269" y="423254"/>
                      </a:lnTo>
                      <a:lnTo>
                        <a:pt x="339832" y="422841"/>
                      </a:lnTo>
                      <a:lnTo>
                        <a:pt x="337185" y="420364"/>
                      </a:lnTo>
                      <a:lnTo>
                        <a:pt x="336882" y="420085"/>
                      </a:lnTo>
                      <a:lnTo>
                        <a:pt x="336554" y="419842"/>
                      </a:lnTo>
                      <a:lnTo>
                        <a:pt x="334902" y="418664"/>
                      </a:lnTo>
                      <a:lnTo>
                        <a:pt x="333931" y="417972"/>
                      </a:lnTo>
                      <a:lnTo>
                        <a:pt x="332765" y="417705"/>
                      </a:lnTo>
                      <a:lnTo>
                        <a:pt x="330579" y="417195"/>
                      </a:lnTo>
                      <a:lnTo>
                        <a:pt x="329778" y="417001"/>
                      </a:lnTo>
                      <a:lnTo>
                        <a:pt x="328952" y="417037"/>
                      </a:lnTo>
                      <a:lnTo>
                        <a:pt x="326135" y="417159"/>
                      </a:lnTo>
                      <a:lnTo>
                        <a:pt x="325261" y="417195"/>
                      </a:lnTo>
                      <a:lnTo>
                        <a:pt x="324435" y="417474"/>
                      </a:lnTo>
                      <a:lnTo>
                        <a:pt x="321679" y="418409"/>
                      </a:lnTo>
                      <a:lnTo>
                        <a:pt x="321144" y="418591"/>
                      </a:lnTo>
                      <a:lnTo>
                        <a:pt x="320646" y="418859"/>
                      </a:lnTo>
                      <a:lnTo>
                        <a:pt x="308540" y="425671"/>
                      </a:lnTo>
                      <a:lnTo>
                        <a:pt x="300477" y="427528"/>
                      </a:lnTo>
                      <a:lnTo>
                        <a:pt x="291989" y="427844"/>
                      </a:lnTo>
                      <a:lnTo>
                        <a:pt x="291394" y="427856"/>
                      </a:lnTo>
                      <a:lnTo>
                        <a:pt x="290823" y="427990"/>
                      </a:lnTo>
                      <a:lnTo>
                        <a:pt x="272160" y="432386"/>
                      </a:lnTo>
                      <a:lnTo>
                        <a:pt x="267351" y="432738"/>
                      </a:lnTo>
                      <a:lnTo>
                        <a:pt x="263137" y="432167"/>
                      </a:lnTo>
                      <a:lnTo>
                        <a:pt x="255172" y="429374"/>
                      </a:lnTo>
                      <a:lnTo>
                        <a:pt x="254662" y="429192"/>
                      </a:lnTo>
                      <a:lnTo>
                        <a:pt x="254127" y="429107"/>
                      </a:lnTo>
                      <a:lnTo>
                        <a:pt x="247922" y="428099"/>
                      </a:lnTo>
                      <a:lnTo>
                        <a:pt x="247376" y="428014"/>
                      </a:lnTo>
                      <a:lnTo>
                        <a:pt x="246817" y="428026"/>
                      </a:lnTo>
                      <a:lnTo>
                        <a:pt x="241244" y="428148"/>
                      </a:lnTo>
                      <a:lnTo>
                        <a:pt x="234249" y="428913"/>
                      </a:lnTo>
                      <a:lnTo>
                        <a:pt x="231335" y="428828"/>
                      </a:lnTo>
                      <a:lnTo>
                        <a:pt x="229708" y="428415"/>
                      </a:lnTo>
                      <a:lnTo>
                        <a:pt x="228809" y="427844"/>
                      </a:lnTo>
                      <a:lnTo>
                        <a:pt x="227802" y="426909"/>
                      </a:lnTo>
                      <a:lnTo>
                        <a:pt x="227498" y="426460"/>
                      </a:lnTo>
                      <a:lnTo>
                        <a:pt x="227449" y="426254"/>
                      </a:lnTo>
                      <a:lnTo>
                        <a:pt x="227462" y="426205"/>
                      </a:lnTo>
                      <a:lnTo>
                        <a:pt x="227583" y="425999"/>
                      </a:lnTo>
                      <a:lnTo>
                        <a:pt x="230570" y="423691"/>
                      </a:lnTo>
                      <a:lnTo>
                        <a:pt x="231299" y="423133"/>
                      </a:lnTo>
                      <a:lnTo>
                        <a:pt x="231821" y="422392"/>
                      </a:lnTo>
                      <a:lnTo>
                        <a:pt x="233023" y="420692"/>
                      </a:lnTo>
                      <a:lnTo>
                        <a:pt x="233764" y="419660"/>
                      </a:lnTo>
                      <a:lnTo>
                        <a:pt x="234019" y="418409"/>
                      </a:lnTo>
                      <a:lnTo>
                        <a:pt x="234492" y="416114"/>
                      </a:lnTo>
                      <a:lnTo>
                        <a:pt x="234699" y="415094"/>
                      </a:lnTo>
                      <a:lnTo>
                        <a:pt x="235658" y="415543"/>
                      </a:lnTo>
                      <a:lnTo>
                        <a:pt x="236144" y="415774"/>
                      </a:lnTo>
                      <a:lnTo>
                        <a:pt x="236654" y="415920"/>
                      </a:lnTo>
                      <a:lnTo>
                        <a:pt x="239859" y="416794"/>
                      </a:lnTo>
                      <a:lnTo>
                        <a:pt x="240369" y="416928"/>
                      </a:lnTo>
                      <a:lnTo>
                        <a:pt x="240904" y="416976"/>
                      </a:lnTo>
                      <a:lnTo>
                        <a:pt x="244304" y="417292"/>
                      </a:lnTo>
                      <a:lnTo>
                        <a:pt x="244680" y="417316"/>
                      </a:lnTo>
                      <a:lnTo>
                        <a:pt x="245057" y="417304"/>
                      </a:lnTo>
                      <a:lnTo>
                        <a:pt x="249076" y="417183"/>
                      </a:lnTo>
                      <a:lnTo>
                        <a:pt x="249416" y="417171"/>
                      </a:lnTo>
                      <a:lnTo>
                        <a:pt x="249756" y="417122"/>
                      </a:lnTo>
                      <a:lnTo>
                        <a:pt x="253132" y="416636"/>
                      </a:lnTo>
                      <a:lnTo>
                        <a:pt x="253532" y="416576"/>
                      </a:lnTo>
                      <a:lnTo>
                        <a:pt x="253933" y="416466"/>
                      </a:lnTo>
                      <a:lnTo>
                        <a:pt x="257321" y="415495"/>
                      </a:lnTo>
                      <a:lnTo>
                        <a:pt x="257892" y="415325"/>
                      </a:lnTo>
                      <a:lnTo>
                        <a:pt x="258426" y="415058"/>
                      </a:lnTo>
                      <a:lnTo>
                        <a:pt x="261413" y="413528"/>
                      </a:lnTo>
                      <a:lnTo>
                        <a:pt x="261790" y="413333"/>
                      </a:lnTo>
                      <a:lnTo>
                        <a:pt x="262142" y="413079"/>
                      </a:lnTo>
                      <a:lnTo>
                        <a:pt x="264667" y="411293"/>
                      </a:lnTo>
                      <a:lnTo>
                        <a:pt x="265117" y="410978"/>
                      </a:lnTo>
                      <a:lnTo>
                        <a:pt x="265505" y="410589"/>
                      </a:lnTo>
                      <a:lnTo>
                        <a:pt x="267351" y="408707"/>
                      </a:lnTo>
                      <a:lnTo>
                        <a:pt x="267606" y="408452"/>
                      </a:lnTo>
                      <a:lnTo>
                        <a:pt x="267837" y="408160"/>
                      </a:lnTo>
                      <a:lnTo>
                        <a:pt x="269209" y="406376"/>
                      </a:lnTo>
                      <a:lnTo>
                        <a:pt x="269549" y="405938"/>
                      </a:lnTo>
                      <a:lnTo>
                        <a:pt x="269804" y="405440"/>
                      </a:lnTo>
                      <a:lnTo>
                        <a:pt x="270605" y="403862"/>
                      </a:lnTo>
                      <a:lnTo>
                        <a:pt x="270982" y="403121"/>
                      </a:lnTo>
                      <a:lnTo>
                        <a:pt x="271152" y="402308"/>
                      </a:lnTo>
                      <a:lnTo>
                        <a:pt x="271383" y="401178"/>
                      </a:lnTo>
                      <a:lnTo>
                        <a:pt x="271674" y="399733"/>
                      </a:lnTo>
                      <a:lnTo>
                        <a:pt x="271273" y="398325"/>
                      </a:lnTo>
                      <a:lnTo>
                        <a:pt x="270933" y="397098"/>
                      </a:lnTo>
                      <a:lnTo>
                        <a:pt x="270108" y="394135"/>
                      </a:lnTo>
                      <a:lnTo>
                        <a:pt x="267242" y="393055"/>
                      </a:lnTo>
                      <a:lnTo>
                        <a:pt x="265857" y="392533"/>
                      </a:lnTo>
                      <a:lnTo>
                        <a:pt x="264825" y="392144"/>
                      </a:lnTo>
                      <a:lnTo>
                        <a:pt x="263720" y="392144"/>
                      </a:lnTo>
                      <a:lnTo>
                        <a:pt x="261705" y="392144"/>
                      </a:lnTo>
                      <a:lnTo>
                        <a:pt x="260745" y="392144"/>
                      </a:lnTo>
                      <a:lnTo>
                        <a:pt x="259835" y="392435"/>
                      </a:lnTo>
                      <a:lnTo>
                        <a:pt x="255075" y="393965"/>
                      </a:lnTo>
                      <a:lnTo>
                        <a:pt x="255208" y="392848"/>
                      </a:lnTo>
                      <a:lnTo>
                        <a:pt x="255439" y="390978"/>
                      </a:lnTo>
                      <a:lnTo>
                        <a:pt x="255609" y="389643"/>
                      </a:lnTo>
                      <a:lnTo>
                        <a:pt x="255196" y="388368"/>
                      </a:lnTo>
                      <a:lnTo>
                        <a:pt x="254504" y="386243"/>
                      </a:lnTo>
                      <a:lnTo>
                        <a:pt x="254140" y="385125"/>
                      </a:lnTo>
                      <a:lnTo>
                        <a:pt x="253387" y="384215"/>
                      </a:lnTo>
                      <a:lnTo>
                        <a:pt x="250290" y="380511"/>
                      </a:lnTo>
                      <a:lnTo>
                        <a:pt x="252367" y="376443"/>
                      </a:lnTo>
                      <a:lnTo>
                        <a:pt x="254140" y="374039"/>
                      </a:lnTo>
                      <a:lnTo>
                        <a:pt x="254783" y="373165"/>
                      </a:lnTo>
                      <a:lnTo>
                        <a:pt x="255087" y="372120"/>
                      </a:lnTo>
                      <a:lnTo>
                        <a:pt x="255657" y="370141"/>
                      </a:lnTo>
                      <a:lnTo>
                        <a:pt x="255900" y="369315"/>
                      </a:lnTo>
                      <a:lnTo>
                        <a:pt x="255900" y="368465"/>
                      </a:lnTo>
                      <a:lnTo>
                        <a:pt x="255900" y="367603"/>
                      </a:lnTo>
                      <a:lnTo>
                        <a:pt x="255900" y="363329"/>
                      </a:lnTo>
                      <a:lnTo>
                        <a:pt x="251869" y="361884"/>
                      </a:lnTo>
                      <a:lnTo>
                        <a:pt x="251055" y="361592"/>
                      </a:lnTo>
                      <a:lnTo>
                        <a:pt x="250060" y="361240"/>
                      </a:lnTo>
                      <a:lnTo>
                        <a:pt x="249003" y="361240"/>
                      </a:lnTo>
                      <a:lnTo>
                        <a:pt x="247935" y="361240"/>
                      </a:lnTo>
                      <a:lnTo>
                        <a:pt x="247412" y="361240"/>
                      </a:lnTo>
                      <a:lnTo>
                        <a:pt x="246902" y="361325"/>
                      </a:lnTo>
                      <a:lnTo>
                        <a:pt x="245227" y="361617"/>
                      </a:lnTo>
                      <a:lnTo>
                        <a:pt x="244838" y="361677"/>
                      </a:lnTo>
                      <a:lnTo>
                        <a:pt x="244462" y="361799"/>
                      </a:lnTo>
                      <a:lnTo>
                        <a:pt x="238135" y="363754"/>
                      </a:lnTo>
                      <a:lnTo>
                        <a:pt x="232513" y="365065"/>
                      </a:lnTo>
                      <a:lnTo>
                        <a:pt x="227862" y="364992"/>
                      </a:lnTo>
                      <a:lnTo>
                        <a:pt x="219386" y="363997"/>
                      </a:lnTo>
                      <a:lnTo>
                        <a:pt x="218682" y="363912"/>
                      </a:lnTo>
                      <a:lnTo>
                        <a:pt x="217978" y="363997"/>
                      </a:lnTo>
                      <a:lnTo>
                        <a:pt x="215161" y="364337"/>
                      </a:lnTo>
                      <a:lnTo>
                        <a:pt x="214238" y="364446"/>
                      </a:lnTo>
                      <a:lnTo>
                        <a:pt x="213400" y="364822"/>
                      </a:lnTo>
                      <a:lnTo>
                        <a:pt x="211615" y="365624"/>
                      </a:lnTo>
                      <a:lnTo>
                        <a:pt x="209636" y="366510"/>
                      </a:lnTo>
                      <a:lnTo>
                        <a:pt x="208664" y="368453"/>
                      </a:lnTo>
                      <a:lnTo>
                        <a:pt x="208203" y="369376"/>
                      </a:lnTo>
                      <a:lnTo>
                        <a:pt x="208009" y="369765"/>
                      </a:lnTo>
                      <a:lnTo>
                        <a:pt x="207875" y="370177"/>
                      </a:lnTo>
                      <a:lnTo>
                        <a:pt x="207596" y="371015"/>
                      </a:lnTo>
                      <a:lnTo>
                        <a:pt x="206928" y="373517"/>
                      </a:lnTo>
                      <a:lnTo>
                        <a:pt x="206855" y="373687"/>
                      </a:lnTo>
                      <a:lnTo>
                        <a:pt x="206661" y="373966"/>
                      </a:lnTo>
                      <a:lnTo>
                        <a:pt x="206163" y="374537"/>
                      </a:lnTo>
                      <a:lnTo>
                        <a:pt x="204098" y="376285"/>
                      </a:lnTo>
                      <a:lnTo>
                        <a:pt x="203649" y="376662"/>
                      </a:lnTo>
                      <a:lnTo>
                        <a:pt x="203285" y="377123"/>
                      </a:lnTo>
                      <a:lnTo>
                        <a:pt x="202714" y="377840"/>
                      </a:lnTo>
                      <a:lnTo>
                        <a:pt x="202338" y="378313"/>
                      </a:lnTo>
                      <a:lnTo>
                        <a:pt x="202058" y="378848"/>
                      </a:lnTo>
                      <a:lnTo>
                        <a:pt x="201718" y="379528"/>
                      </a:lnTo>
                      <a:lnTo>
                        <a:pt x="201464" y="380025"/>
                      </a:lnTo>
                      <a:lnTo>
                        <a:pt x="201294" y="380572"/>
                      </a:lnTo>
                      <a:lnTo>
                        <a:pt x="200905" y="381871"/>
                      </a:lnTo>
                      <a:lnTo>
                        <a:pt x="200444" y="383413"/>
                      </a:lnTo>
                      <a:lnTo>
                        <a:pt x="200808" y="384980"/>
                      </a:lnTo>
                      <a:lnTo>
                        <a:pt x="202411" y="391889"/>
                      </a:lnTo>
                      <a:lnTo>
                        <a:pt x="202459" y="393261"/>
                      </a:lnTo>
                      <a:lnTo>
                        <a:pt x="202314" y="394160"/>
                      </a:lnTo>
                      <a:lnTo>
                        <a:pt x="202010" y="394014"/>
                      </a:lnTo>
                      <a:lnTo>
                        <a:pt x="200990" y="393528"/>
                      </a:lnTo>
                      <a:lnTo>
                        <a:pt x="199861" y="393455"/>
                      </a:lnTo>
                      <a:lnTo>
                        <a:pt x="198719" y="393371"/>
                      </a:lnTo>
                      <a:lnTo>
                        <a:pt x="197141" y="393249"/>
                      </a:lnTo>
                      <a:lnTo>
                        <a:pt x="195708" y="393917"/>
                      </a:lnTo>
                      <a:lnTo>
                        <a:pt x="194615" y="394427"/>
                      </a:lnTo>
                      <a:lnTo>
                        <a:pt x="193862" y="394779"/>
                      </a:lnTo>
                      <a:lnTo>
                        <a:pt x="193231" y="395313"/>
                      </a:lnTo>
                      <a:lnTo>
                        <a:pt x="188179" y="399636"/>
                      </a:lnTo>
                      <a:lnTo>
                        <a:pt x="187208" y="400243"/>
                      </a:lnTo>
                      <a:lnTo>
                        <a:pt x="187111" y="400268"/>
                      </a:lnTo>
                      <a:lnTo>
                        <a:pt x="186090" y="400353"/>
                      </a:lnTo>
                      <a:lnTo>
                        <a:pt x="184888" y="400073"/>
                      </a:lnTo>
                      <a:lnTo>
                        <a:pt x="183164" y="399248"/>
                      </a:lnTo>
                      <a:lnTo>
                        <a:pt x="179436" y="396673"/>
                      </a:lnTo>
                      <a:lnTo>
                        <a:pt x="178914" y="396309"/>
                      </a:lnTo>
                      <a:lnTo>
                        <a:pt x="178319" y="396054"/>
                      </a:lnTo>
                      <a:lnTo>
                        <a:pt x="176425" y="395265"/>
                      </a:lnTo>
                      <a:lnTo>
                        <a:pt x="175939" y="395058"/>
                      </a:lnTo>
                      <a:lnTo>
                        <a:pt x="175417" y="394949"/>
                      </a:lnTo>
                      <a:lnTo>
                        <a:pt x="173984" y="394633"/>
                      </a:lnTo>
                      <a:lnTo>
                        <a:pt x="173389" y="394378"/>
                      </a:lnTo>
                      <a:lnTo>
                        <a:pt x="172988" y="394075"/>
                      </a:lnTo>
                      <a:lnTo>
                        <a:pt x="170293" y="391136"/>
                      </a:lnTo>
                      <a:lnTo>
                        <a:pt x="169661" y="390444"/>
                      </a:lnTo>
                      <a:lnTo>
                        <a:pt x="168848" y="389971"/>
                      </a:lnTo>
                      <a:lnTo>
                        <a:pt x="166200" y="388453"/>
                      </a:lnTo>
                      <a:lnTo>
                        <a:pt x="165715" y="388185"/>
                      </a:lnTo>
                      <a:lnTo>
                        <a:pt x="165193" y="388003"/>
                      </a:lnTo>
                      <a:lnTo>
                        <a:pt x="162145" y="386935"/>
                      </a:lnTo>
                      <a:lnTo>
                        <a:pt x="161185" y="386595"/>
                      </a:lnTo>
                      <a:lnTo>
                        <a:pt x="160165" y="386595"/>
                      </a:lnTo>
                      <a:lnTo>
                        <a:pt x="156207" y="386570"/>
                      </a:lnTo>
                      <a:lnTo>
                        <a:pt x="154215" y="386558"/>
                      </a:lnTo>
                      <a:lnTo>
                        <a:pt x="152600" y="387724"/>
                      </a:lnTo>
                      <a:lnTo>
                        <a:pt x="151228" y="388720"/>
                      </a:lnTo>
                      <a:lnTo>
                        <a:pt x="149200" y="390189"/>
                      </a:lnTo>
                      <a:lnTo>
                        <a:pt x="148800" y="392678"/>
                      </a:lnTo>
                      <a:lnTo>
                        <a:pt x="148447" y="394864"/>
                      </a:lnTo>
                      <a:lnTo>
                        <a:pt x="148192" y="396515"/>
                      </a:lnTo>
                      <a:lnTo>
                        <a:pt x="148800" y="398058"/>
                      </a:lnTo>
                      <a:lnTo>
                        <a:pt x="152224" y="406728"/>
                      </a:lnTo>
                      <a:lnTo>
                        <a:pt x="152612" y="408173"/>
                      </a:lnTo>
                      <a:lnTo>
                        <a:pt x="152673" y="409363"/>
                      </a:lnTo>
                      <a:lnTo>
                        <a:pt x="152552" y="410990"/>
                      </a:lnTo>
                      <a:lnTo>
                        <a:pt x="151471" y="416636"/>
                      </a:lnTo>
                      <a:lnTo>
                        <a:pt x="151471" y="416648"/>
                      </a:lnTo>
                      <a:lnTo>
                        <a:pt x="150038" y="416636"/>
                      </a:lnTo>
                      <a:lnTo>
                        <a:pt x="148144" y="416612"/>
                      </a:lnTo>
                      <a:lnTo>
                        <a:pt x="145217" y="416576"/>
                      </a:lnTo>
                      <a:lnTo>
                        <a:pt x="143372" y="418846"/>
                      </a:lnTo>
                      <a:lnTo>
                        <a:pt x="142340" y="420109"/>
                      </a:lnTo>
                      <a:lnTo>
                        <a:pt x="141635" y="420959"/>
                      </a:lnTo>
                      <a:lnTo>
                        <a:pt x="141283" y="422004"/>
                      </a:lnTo>
                      <a:lnTo>
                        <a:pt x="140494" y="424359"/>
                      </a:lnTo>
                      <a:lnTo>
                        <a:pt x="140239" y="425112"/>
                      </a:lnTo>
                      <a:lnTo>
                        <a:pt x="140190" y="425914"/>
                      </a:lnTo>
                      <a:lnTo>
                        <a:pt x="139777" y="432434"/>
                      </a:lnTo>
                      <a:lnTo>
                        <a:pt x="139765" y="432750"/>
                      </a:lnTo>
                      <a:lnTo>
                        <a:pt x="139777" y="433078"/>
                      </a:lnTo>
                      <a:lnTo>
                        <a:pt x="140008" y="438311"/>
                      </a:lnTo>
                      <a:lnTo>
                        <a:pt x="140032" y="438991"/>
                      </a:lnTo>
                      <a:lnTo>
                        <a:pt x="140214" y="439635"/>
                      </a:lnTo>
                      <a:lnTo>
                        <a:pt x="140724" y="441517"/>
                      </a:lnTo>
                      <a:lnTo>
                        <a:pt x="140943" y="442331"/>
                      </a:lnTo>
                      <a:lnTo>
                        <a:pt x="141380" y="443047"/>
                      </a:lnTo>
                      <a:lnTo>
                        <a:pt x="142340" y="444650"/>
                      </a:lnTo>
                      <a:lnTo>
                        <a:pt x="136584" y="457874"/>
                      </a:lnTo>
                      <a:lnTo>
                        <a:pt x="131265" y="466702"/>
                      </a:lnTo>
                      <a:lnTo>
                        <a:pt x="131095" y="466993"/>
                      </a:lnTo>
                      <a:lnTo>
                        <a:pt x="130949" y="467297"/>
                      </a:lnTo>
                      <a:lnTo>
                        <a:pt x="130148" y="469045"/>
                      </a:lnTo>
                      <a:lnTo>
                        <a:pt x="129917" y="469555"/>
                      </a:lnTo>
                      <a:lnTo>
                        <a:pt x="129784" y="470090"/>
                      </a:lnTo>
                      <a:lnTo>
                        <a:pt x="129152" y="472591"/>
                      </a:lnTo>
                      <a:lnTo>
                        <a:pt x="128946" y="473429"/>
                      </a:lnTo>
                      <a:lnTo>
                        <a:pt x="128970" y="474291"/>
                      </a:lnTo>
                      <a:lnTo>
                        <a:pt x="129031" y="476040"/>
                      </a:lnTo>
                      <a:lnTo>
                        <a:pt x="129055" y="476744"/>
                      </a:lnTo>
                      <a:lnTo>
                        <a:pt x="129237" y="477424"/>
                      </a:lnTo>
                      <a:lnTo>
                        <a:pt x="129699" y="479136"/>
                      </a:lnTo>
                      <a:lnTo>
                        <a:pt x="130063" y="480496"/>
                      </a:lnTo>
                      <a:lnTo>
                        <a:pt x="130998" y="481552"/>
                      </a:lnTo>
                      <a:lnTo>
                        <a:pt x="132079" y="482779"/>
                      </a:lnTo>
                      <a:lnTo>
                        <a:pt x="133269" y="484127"/>
                      </a:lnTo>
                      <a:lnTo>
                        <a:pt x="134993" y="484612"/>
                      </a:lnTo>
                      <a:lnTo>
                        <a:pt x="152552" y="489579"/>
                      </a:lnTo>
                      <a:lnTo>
                        <a:pt x="154167" y="490417"/>
                      </a:lnTo>
                      <a:lnTo>
                        <a:pt x="154167" y="490429"/>
                      </a:lnTo>
                      <a:lnTo>
                        <a:pt x="153718" y="491291"/>
                      </a:lnTo>
                      <a:lnTo>
                        <a:pt x="151799" y="493477"/>
                      </a:lnTo>
                      <a:lnTo>
                        <a:pt x="141392" y="502329"/>
                      </a:lnTo>
                      <a:lnTo>
                        <a:pt x="140457" y="503118"/>
                      </a:lnTo>
                      <a:lnTo>
                        <a:pt x="139911" y="504211"/>
                      </a:lnTo>
                      <a:lnTo>
                        <a:pt x="138879" y="506251"/>
                      </a:lnTo>
                      <a:lnTo>
                        <a:pt x="138381" y="507235"/>
                      </a:lnTo>
                      <a:lnTo>
                        <a:pt x="138260" y="508328"/>
                      </a:lnTo>
                      <a:lnTo>
                        <a:pt x="137980" y="510853"/>
                      </a:lnTo>
                      <a:lnTo>
                        <a:pt x="137859" y="513500"/>
                      </a:lnTo>
                      <a:lnTo>
                        <a:pt x="137349" y="515371"/>
                      </a:lnTo>
                      <a:lnTo>
                        <a:pt x="136474" y="516803"/>
                      </a:lnTo>
                      <a:lnTo>
                        <a:pt x="134447" y="519256"/>
                      </a:lnTo>
                      <a:lnTo>
                        <a:pt x="133536" y="520361"/>
                      </a:lnTo>
                      <a:lnTo>
                        <a:pt x="133220" y="521746"/>
                      </a:lnTo>
                      <a:lnTo>
                        <a:pt x="132771" y="523676"/>
                      </a:lnTo>
                      <a:lnTo>
                        <a:pt x="132261" y="525899"/>
                      </a:lnTo>
                      <a:lnTo>
                        <a:pt x="133330" y="527914"/>
                      </a:lnTo>
                      <a:lnTo>
                        <a:pt x="134070" y="529311"/>
                      </a:lnTo>
                      <a:lnTo>
                        <a:pt x="135212" y="531448"/>
                      </a:lnTo>
                      <a:lnTo>
                        <a:pt x="137507" y="532213"/>
                      </a:lnTo>
                      <a:lnTo>
                        <a:pt x="139510" y="532881"/>
                      </a:lnTo>
                      <a:lnTo>
                        <a:pt x="140324" y="533148"/>
                      </a:lnTo>
                      <a:lnTo>
                        <a:pt x="141186" y="533184"/>
                      </a:lnTo>
                      <a:lnTo>
                        <a:pt x="143712" y="533294"/>
                      </a:lnTo>
                      <a:lnTo>
                        <a:pt x="144258" y="533318"/>
                      </a:lnTo>
                      <a:lnTo>
                        <a:pt x="144805" y="533245"/>
                      </a:lnTo>
                      <a:lnTo>
                        <a:pt x="153025" y="532091"/>
                      </a:lnTo>
                      <a:lnTo>
                        <a:pt x="154762" y="532298"/>
                      </a:lnTo>
                      <a:lnTo>
                        <a:pt x="156680" y="532929"/>
                      </a:lnTo>
                      <a:lnTo>
                        <a:pt x="158550" y="534071"/>
                      </a:lnTo>
                      <a:lnTo>
                        <a:pt x="160105" y="535370"/>
                      </a:lnTo>
                      <a:lnTo>
                        <a:pt x="160942" y="536718"/>
                      </a:lnTo>
                      <a:lnTo>
                        <a:pt x="161525" y="538624"/>
                      </a:lnTo>
                      <a:lnTo>
                        <a:pt x="162108" y="547780"/>
                      </a:lnTo>
                      <a:lnTo>
                        <a:pt x="162132" y="548205"/>
                      </a:lnTo>
                      <a:lnTo>
                        <a:pt x="162218" y="548618"/>
                      </a:lnTo>
                      <a:lnTo>
                        <a:pt x="163080" y="552759"/>
                      </a:lnTo>
                      <a:lnTo>
                        <a:pt x="163189" y="553293"/>
                      </a:lnTo>
                      <a:lnTo>
                        <a:pt x="163395" y="553803"/>
                      </a:lnTo>
                      <a:lnTo>
                        <a:pt x="164780" y="557215"/>
                      </a:lnTo>
                      <a:lnTo>
                        <a:pt x="164901" y="557494"/>
                      </a:lnTo>
                      <a:lnTo>
                        <a:pt x="165047" y="557762"/>
                      </a:lnTo>
                      <a:lnTo>
                        <a:pt x="166698" y="560882"/>
                      </a:lnTo>
                      <a:lnTo>
                        <a:pt x="166880" y="561222"/>
                      </a:lnTo>
                      <a:lnTo>
                        <a:pt x="167099" y="561538"/>
                      </a:lnTo>
                      <a:lnTo>
                        <a:pt x="168957" y="564185"/>
                      </a:lnTo>
                      <a:lnTo>
                        <a:pt x="171191" y="566832"/>
                      </a:lnTo>
                      <a:lnTo>
                        <a:pt x="171604" y="567318"/>
                      </a:lnTo>
                      <a:lnTo>
                        <a:pt x="172114" y="567707"/>
                      </a:lnTo>
                      <a:lnTo>
                        <a:pt x="175988" y="570694"/>
                      </a:lnTo>
                      <a:lnTo>
                        <a:pt x="176291" y="570985"/>
                      </a:lnTo>
                      <a:lnTo>
                        <a:pt x="175915" y="571471"/>
                      </a:lnTo>
                      <a:lnTo>
                        <a:pt x="175672" y="571787"/>
                      </a:lnTo>
                      <a:lnTo>
                        <a:pt x="175465" y="572127"/>
                      </a:lnTo>
                      <a:lnTo>
                        <a:pt x="173923" y="574737"/>
                      </a:lnTo>
                      <a:lnTo>
                        <a:pt x="173620" y="575259"/>
                      </a:lnTo>
                      <a:lnTo>
                        <a:pt x="173413" y="575830"/>
                      </a:lnTo>
                      <a:lnTo>
                        <a:pt x="166176" y="596740"/>
                      </a:lnTo>
                      <a:lnTo>
                        <a:pt x="165958" y="597360"/>
                      </a:lnTo>
                      <a:lnTo>
                        <a:pt x="165885" y="598015"/>
                      </a:lnTo>
                      <a:lnTo>
                        <a:pt x="164913" y="606248"/>
                      </a:lnTo>
                      <a:lnTo>
                        <a:pt x="164683" y="612963"/>
                      </a:lnTo>
                      <a:lnTo>
                        <a:pt x="164683" y="613291"/>
                      </a:lnTo>
                      <a:lnTo>
                        <a:pt x="164707" y="613619"/>
                      </a:lnTo>
                      <a:lnTo>
                        <a:pt x="164998" y="617323"/>
                      </a:lnTo>
                      <a:lnTo>
                        <a:pt x="165023" y="617626"/>
                      </a:lnTo>
                      <a:lnTo>
                        <a:pt x="165071" y="617930"/>
                      </a:lnTo>
                      <a:lnTo>
                        <a:pt x="165581" y="620735"/>
                      </a:lnTo>
                      <a:lnTo>
                        <a:pt x="165848" y="622241"/>
                      </a:lnTo>
                      <a:lnTo>
                        <a:pt x="166808" y="623443"/>
                      </a:lnTo>
                      <a:lnTo>
                        <a:pt x="168386" y="625422"/>
                      </a:lnTo>
                      <a:lnTo>
                        <a:pt x="170608" y="629478"/>
                      </a:lnTo>
                      <a:lnTo>
                        <a:pt x="171568" y="634262"/>
                      </a:lnTo>
                      <a:lnTo>
                        <a:pt x="171738" y="636776"/>
                      </a:lnTo>
                      <a:lnTo>
                        <a:pt x="171592" y="639569"/>
                      </a:lnTo>
                      <a:lnTo>
                        <a:pt x="171082" y="642422"/>
                      </a:lnTo>
                      <a:lnTo>
                        <a:pt x="170220" y="644049"/>
                      </a:lnTo>
                      <a:lnTo>
                        <a:pt x="168945" y="645737"/>
                      </a:lnTo>
                      <a:lnTo>
                        <a:pt x="167475" y="647255"/>
                      </a:lnTo>
                      <a:lnTo>
                        <a:pt x="167233" y="647498"/>
                      </a:lnTo>
                      <a:lnTo>
                        <a:pt x="167026" y="647765"/>
                      </a:lnTo>
                      <a:lnTo>
                        <a:pt x="165423" y="649854"/>
                      </a:lnTo>
                      <a:lnTo>
                        <a:pt x="165083" y="650291"/>
                      </a:lnTo>
                      <a:lnTo>
                        <a:pt x="164828" y="650789"/>
                      </a:lnTo>
                      <a:lnTo>
                        <a:pt x="163735" y="652914"/>
                      </a:lnTo>
                      <a:lnTo>
                        <a:pt x="163517" y="653339"/>
                      </a:lnTo>
                      <a:lnTo>
                        <a:pt x="163371" y="653788"/>
                      </a:lnTo>
                      <a:lnTo>
                        <a:pt x="160785" y="661657"/>
                      </a:lnTo>
                      <a:lnTo>
                        <a:pt x="159643" y="664340"/>
                      </a:lnTo>
                      <a:lnTo>
                        <a:pt x="158417" y="666356"/>
                      </a:lnTo>
                      <a:lnTo>
                        <a:pt x="157154" y="667934"/>
                      </a:lnTo>
                      <a:lnTo>
                        <a:pt x="152406" y="672330"/>
                      </a:lnTo>
                      <a:lnTo>
                        <a:pt x="152370" y="672342"/>
                      </a:lnTo>
                      <a:lnTo>
                        <a:pt x="148362" y="673229"/>
                      </a:lnTo>
                      <a:lnTo>
                        <a:pt x="147937" y="673326"/>
                      </a:lnTo>
                      <a:lnTo>
                        <a:pt x="147525" y="673472"/>
                      </a:lnTo>
                      <a:lnTo>
                        <a:pt x="145521" y="674225"/>
                      </a:lnTo>
                      <a:lnTo>
                        <a:pt x="144890" y="674467"/>
                      </a:lnTo>
                      <a:lnTo>
                        <a:pt x="144319" y="674844"/>
                      </a:lnTo>
                      <a:lnTo>
                        <a:pt x="134362" y="681401"/>
                      </a:lnTo>
                      <a:lnTo>
                        <a:pt x="130816" y="682579"/>
                      </a:lnTo>
                      <a:lnTo>
                        <a:pt x="121344" y="685372"/>
                      </a:lnTo>
                      <a:lnTo>
                        <a:pt x="120507" y="685627"/>
                      </a:lnTo>
                      <a:lnTo>
                        <a:pt x="119766" y="686100"/>
                      </a:lnTo>
                      <a:lnTo>
                        <a:pt x="116669" y="688104"/>
                      </a:lnTo>
                      <a:lnTo>
                        <a:pt x="116281" y="688359"/>
                      </a:lnTo>
                      <a:lnTo>
                        <a:pt x="115941" y="688675"/>
                      </a:lnTo>
                      <a:lnTo>
                        <a:pt x="104284" y="699069"/>
                      </a:lnTo>
                      <a:lnTo>
                        <a:pt x="103810" y="699482"/>
                      </a:lnTo>
                      <a:lnTo>
                        <a:pt x="103434" y="699992"/>
                      </a:lnTo>
                      <a:lnTo>
                        <a:pt x="101017" y="703258"/>
                      </a:lnTo>
                      <a:lnTo>
                        <a:pt x="100762" y="703598"/>
                      </a:lnTo>
                      <a:lnTo>
                        <a:pt x="100556" y="703975"/>
                      </a:lnTo>
                      <a:lnTo>
                        <a:pt x="93950" y="716178"/>
                      </a:lnTo>
                      <a:lnTo>
                        <a:pt x="93379" y="717235"/>
                      </a:lnTo>
                      <a:lnTo>
                        <a:pt x="93258" y="718437"/>
                      </a:lnTo>
                      <a:lnTo>
                        <a:pt x="92978" y="721108"/>
                      </a:lnTo>
                      <a:lnTo>
                        <a:pt x="92845" y="722323"/>
                      </a:lnTo>
                      <a:lnTo>
                        <a:pt x="93197" y="723488"/>
                      </a:lnTo>
                      <a:lnTo>
                        <a:pt x="93841" y="725613"/>
                      </a:lnTo>
                      <a:lnTo>
                        <a:pt x="94144" y="726609"/>
                      </a:lnTo>
                      <a:lnTo>
                        <a:pt x="94751" y="727435"/>
                      </a:lnTo>
                      <a:lnTo>
                        <a:pt x="96124" y="729329"/>
                      </a:lnTo>
                      <a:lnTo>
                        <a:pt x="96488" y="729827"/>
                      </a:lnTo>
                      <a:lnTo>
                        <a:pt x="96949" y="730240"/>
                      </a:lnTo>
                      <a:lnTo>
                        <a:pt x="98042" y="731236"/>
                      </a:lnTo>
                      <a:lnTo>
                        <a:pt x="98540" y="731697"/>
                      </a:lnTo>
                      <a:lnTo>
                        <a:pt x="99123" y="732025"/>
                      </a:lnTo>
                      <a:lnTo>
                        <a:pt x="100216" y="732644"/>
                      </a:lnTo>
                      <a:lnTo>
                        <a:pt x="100616" y="732875"/>
                      </a:lnTo>
                      <a:lnTo>
                        <a:pt x="101041" y="733045"/>
                      </a:lnTo>
                      <a:lnTo>
                        <a:pt x="102584" y="733640"/>
                      </a:lnTo>
                      <a:lnTo>
                        <a:pt x="103094" y="733834"/>
                      </a:lnTo>
                      <a:lnTo>
                        <a:pt x="103628" y="733931"/>
                      </a:lnTo>
                      <a:lnTo>
                        <a:pt x="108874" y="734927"/>
                      </a:lnTo>
                      <a:lnTo>
                        <a:pt x="114046" y="736943"/>
                      </a:lnTo>
                      <a:lnTo>
                        <a:pt x="114690" y="737198"/>
                      </a:lnTo>
                      <a:lnTo>
                        <a:pt x="115382" y="737295"/>
                      </a:lnTo>
                      <a:lnTo>
                        <a:pt x="117337" y="737574"/>
                      </a:lnTo>
                      <a:lnTo>
                        <a:pt x="117908" y="737659"/>
                      </a:lnTo>
                      <a:lnTo>
                        <a:pt x="118491" y="737635"/>
                      </a:lnTo>
                      <a:lnTo>
                        <a:pt x="122486" y="737441"/>
                      </a:lnTo>
                      <a:lnTo>
                        <a:pt x="123324" y="737526"/>
                      </a:lnTo>
                      <a:lnTo>
                        <a:pt x="123688" y="737708"/>
                      </a:lnTo>
                      <a:lnTo>
                        <a:pt x="123834" y="737841"/>
                      </a:lnTo>
                      <a:lnTo>
                        <a:pt x="125449" y="740233"/>
                      </a:lnTo>
                      <a:lnTo>
                        <a:pt x="125789" y="740731"/>
                      </a:lnTo>
                      <a:lnTo>
                        <a:pt x="126104" y="741047"/>
                      </a:lnTo>
                      <a:lnTo>
                        <a:pt x="124647" y="741557"/>
                      </a:lnTo>
                      <a:lnTo>
                        <a:pt x="123955" y="741812"/>
                      </a:lnTo>
                      <a:lnTo>
                        <a:pt x="123348" y="742213"/>
                      </a:lnTo>
                      <a:lnTo>
                        <a:pt x="113864" y="748466"/>
                      </a:lnTo>
                      <a:lnTo>
                        <a:pt x="103300" y="750980"/>
                      </a:lnTo>
                      <a:lnTo>
                        <a:pt x="102571" y="751150"/>
                      </a:lnTo>
                      <a:lnTo>
                        <a:pt x="101904" y="751490"/>
                      </a:lnTo>
                      <a:lnTo>
                        <a:pt x="89008" y="758169"/>
                      </a:lnTo>
                      <a:lnTo>
                        <a:pt x="87283" y="758351"/>
                      </a:lnTo>
                      <a:lnTo>
                        <a:pt x="85268" y="757974"/>
                      </a:lnTo>
                      <a:lnTo>
                        <a:pt x="82827" y="757076"/>
                      </a:lnTo>
                      <a:lnTo>
                        <a:pt x="82511" y="756954"/>
                      </a:lnTo>
                      <a:lnTo>
                        <a:pt x="82183" y="756869"/>
                      </a:lnTo>
                      <a:lnTo>
                        <a:pt x="79427" y="756189"/>
                      </a:lnTo>
                      <a:lnTo>
                        <a:pt x="78759" y="756031"/>
                      </a:lnTo>
                      <a:lnTo>
                        <a:pt x="78067" y="756019"/>
                      </a:lnTo>
                      <a:lnTo>
                        <a:pt x="74278" y="755959"/>
                      </a:lnTo>
                      <a:lnTo>
                        <a:pt x="73574" y="755946"/>
                      </a:lnTo>
                      <a:lnTo>
                        <a:pt x="72894" y="756092"/>
                      </a:lnTo>
                      <a:lnTo>
                        <a:pt x="70490" y="756614"/>
                      </a:lnTo>
                      <a:lnTo>
                        <a:pt x="69858" y="756748"/>
                      </a:lnTo>
                      <a:lnTo>
                        <a:pt x="69263" y="757015"/>
                      </a:lnTo>
                      <a:lnTo>
                        <a:pt x="67138" y="757986"/>
                      </a:lnTo>
                      <a:lnTo>
                        <a:pt x="66495" y="758278"/>
                      </a:lnTo>
                      <a:lnTo>
                        <a:pt x="65936" y="758715"/>
                      </a:lnTo>
                      <a:lnTo>
                        <a:pt x="64443" y="759869"/>
                      </a:lnTo>
                      <a:lnTo>
                        <a:pt x="61747" y="762334"/>
                      </a:lnTo>
                      <a:lnTo>
                        <a:pt x="58905" y="764155"/>
                      </a:lnTo>
                      <a:lnTo>
                        <a:pt x="54704" y="766863"/>
                      </a:lnTo>
                      <a:lnTo>
                        <a:pt x="56550" y="771514"/>
                      </a:lnTo>
                      <a:lnTo>
                        <a:pt x="60108" y="780475"/>
                      </a:lnTo>
                      <a:lnTo>
                        <a:pt x="62075" y="797087"/>
                      </a:lnTo>
                      <a:lnTo>
                        <a:pt x="62123" y="797524"/>
                      </a:lnTo>
                      <a:lnTo>
                        <a:pt x="62233" y="797949"/>
                      </a:lnTo>
                      <a:lnTo>
                        <a:pt x="63034" y="800936"/>
                      </a:lnTo>
                      <a:lnTo>
                        <a:pt x="63253" y="801737"/>
                      </a:lnTo>
                      <a:lnTo>
                        <a:pt x="63678" y="802454"/>
                      </a:lnTo>
                      <a:lnTo>
                        <a:pt x="64710" y="804202"/>
                      </a:lnTo>
                      <a:lnTo>
                        <a:pt x="65754" y="805975"/>
                      </a:lnTo>
                      <a:lnTo>
                        <a:pt x="67673" y="806740"/>
                      </a:lnTo>
                      <a:lnTo>
                        <a:pt x="68765" y="807177"/>
                      </a:lnTo>
                      <a:lnTo>
                        <a:pt x="69603" y="807517"/>
                      </a:lnTo>
                      <a:lnTo>
                        <a:pt x="70502" y="807590"/>
                      </a:lnTo>
                      <a:lnTo>
                        <a:pt x="71716" y="807700"/>
                      </a:lnTo>
                      <a:lnTo>
                        <a:pt x="72469" y="807760"/>
                      </a:lnTo>
                      <a:lnTo>
                        <a:pt x="73222" y="807639"/>
                      </a:lnTo>
                      <a:lnTo>
                        <a:pt x="74655" y="807408"/>
                      </a:lnTo>
                      <a:lnTo>
                        <a:pt x="75420" y="807287"/>
                      </a:lnTo>
                      <a:lnTo>
                        <a:pt x="76136" y="806971"/>
                      </a:lnTo>
                      <a:lnTo>
                        <a:pt x="77460" y="806388"/>
                      </a:lnTo>
                      <a:lnTo>
                        <a:pt x="80908" y="810833"/>
                      </a:lnTo>
                      <a:lnTo>
                        <a:pt x="81528" y="812448"/>
                      </a:lnTo>
                      <a:lnTo>
                        <a:pt x="81479" y="813492"/>
                      </a:lnTo>
                      <a:lnTo>
                        <a:pt x="66968" y="842101"/>
                      </a:lnTo>
                      <a:lnTo>
                        <a:pt x="66033" y="843351"/>
                      </a:lnTo>
                      <a:lnTo>
                        <a:pt x="64940" y="844541"/>
                      </a:lnTo>
                      <a:lnTo>
                        <a:pt x="63763" y="845489"/>
                      </a:lnTo>
                      <a:lnTo>
                        <a:pt x="62281" y="846338"/>
                      </a:lnTo>
                      <a:lnTo>
                        <a:pt x="61953" y="846460"/>
                      </a:lnTo>
                      <a:lnTo>
                        <a:pt x="60763" y="846618"/>
                      </a:lnTo>
                      <a:lnTo>
                        <a:pt x="56404" y="846545"/>
                      </a:lnTo>
                      <a:lnTo>
                        <a:pt x="55870" y="846545"/>
                      </a:lnTo>
                      <a:lnTo>
                        <a:pt x="55347" y="846630"/>
                      </a:lnTo>
                      <a:lnTo>
                        <a:pt x="53210" y="846970"/>
                      </a:lnTo>
                      <a:lnTo>
                        <a:pt x="52676" y="847055"/>
                      </a:lnTo>
                      <a:lnTo>
                        <a:pt x="52166" y="847237"/>
                      </a:lnTo>
                      <a:lnTo>
                        <a:pt x="50673" y="847759"/>
                      </a:lnTo>
                      <a:lnTo>
                        <a:pt x="49774" y="848075"/>
                      </a:lnTo>
                      <a:lnTo>
                        <a:pt x="49021" y="848658"/>
                      </a:lnTo>
                      <a:lnTo>
                        <a:pt x="34959" y="859307"/>
                      </a:lnTo>
                      <a:lnTo>
                        <a:pt x="34474" y="859672"/>
                      </a:lnTo>
                      <a:lnTo>
                        <a:pt x="34073" y="860121"/>
                      </a:lnTo>
                      <a:lnTo>
                        <a:pt x="27747" y="867261"/>
                      </a:lnTo>
                      <a:lnTo>
                        <a:pt x="27079" y="867710"/>
                      </a:lnTo>
                      <a:lnTo>
                        <a:pt x="26010" y="868135"/>
                      </a:lnTo>
                      <a:lnTo>
                        <a:pt x="25427" y="868257"/>
                      </a:lnTo>
                      <a:lnTo>
                        <a:pt x="25075" y="868232"/>
                      </a:lnTo>
                      <a:lnTo>
                        <a:pt x="15118" y="865196"/>
                      </a:lnTo>
                      <a:lnTo>
                        <a:pt x="14487" y="865002"/>
                      </a:lnTo>
                      <a:lnTo>
                        <a:pt x="13831" y="864954"/>
                      </a:lnTo>
                      <a:lnTo>
                        <a:pt x="12799" y="864869"/>
                      </a:lnTo>
                      <a:lnTo>
                        <a:pt x="12228" y="864832"/>
                      </a:lnTo>
                      <a:lnTo>
                        <a:pt x="11657" y="864893"/>
                      </a:lnTo>
                      <a:lnTo>
                        <a:pt x="10346" y="865039"/>
                      </a:lnTo>
                      <a:lnTo>
                        <a:pt x="9131" y="865172"/>
                      </a:lnTo>
                      <a:lnTo>
                        <a:pt x="8063" y="865767"/>
                      </a:lnTo>
                      <a:lnTo>
                        <a:pt x="6569" y="866593"/>
                      </a:lnTo>
                      <a:lnTo>
                        <a:pt x="6169" y="866812"/>
                      </a:lnTo>
                      <a:lnTo>
                        <a:pt x="5804" y="867091"/>
                      </a:lnTo>
                      <a:lnTo>
                        <a:pt x="4080" y="868426"/>
                      </a:lnTo>
                      <a:lnTo>
                        <a:pt x="2866" y="869361"/>
                      </a:lnTo>
                      <a:lnTo>
                        <a:pt x="2246" y="870758"/>
                      </a:lnTo>
                      <a:lnTo>
                        <a:pt x="631" y="874364"/>
                      </a:lnTo>
                      <a:lnTo>
                        <a:pt x="0" y="875773"/>
                      </a:lnTo>
                      <a:lnTo>
                        <a:pt x="121" y="877315"/>
                      </a:lnTo>
                      <a:lnTo>
                        <a:pt x="304" y="879610"/>
                      </a:lnTo>
                      <a:lnTo>
                        <a:pt x="461" y="881638"/>
                      </a:lnTo>
                      <a:lnTo>
                        <a:pt x="1809" y="883156"/>
                      </a:lnTo>
                      <a:lnTo>
                        <a:pt x="3764" y="885378"/>
                      </a:lnTo>
                      <a:lnTo>
                        <a:pt x="12714" y="893793"/>
                      </a:lnTo>
                      <a:lnTo>
                        <a:pt x="13041" y="894097"/>
                      </a:lnTo>
                      <a:lnTo>
                        <a:pt x="13406" y="894352"/>
                      </a:lnTo>
                      <a:lnTo>
                        <a:pt x="16490" y="896501"/>
                      </a:lnTo>
                      <a:lnTo>
                        <a:pt x="16964" y="896829"/>
                      </a:lnTo>
                      <a:lnTo>
                        <a:pt x="17474" y="897060"/>
                      </a:lnTo>
                      <a:lnTo>
                        <a:pt x="20242" y="898298"/>
                      </a:lnTo>
                      <a:lnTo>
                        <a:pt x="21505" y="898857"/>
                      </a:lnTo>
                      <a:lnTo>
                        <a:pt x="22889" y="898820"/>
                      </a:lnTo>
                      <a:lnTo>
                        <a:pt x="25002" y="898760"/>
                      </a:lnTo>
                      <a:lnTo>
                        <a:pt x="25379" y="898747"/>
                      </a:lnTo>
                      <a:lnTo>
                        <a:pt x="25743" y="898687"/>
                      </a:lnTo>
                      <a:lnTo>
                        <a:pt x="32628" y="897642"/>
                      </a:lnTo>
                      <a:lnTo>
                        <a:pt x="37534" y="897934"/>
                      </a:lnTo>
                      <a:lnTo>
                        <a:pt x="41019" y="898723"/>
                      </a:lnTo>
                      <a:lnTo>
                        <a:pt x="40837" y="898954"/>
                      </a:lnTo>
                      <a:lnTo>
                        <a:pt x="39574" y="900277"/>
                      </a:lnTo>
                      <a:lnTo>
                        <a:pt x="38020" y="901419"/>
                      </a:lnTo>
                      <a:lnTo>
                        <a:pt x="35931" y="902524"/>
                      </a:lnTo>
                      <a:lnTo>
                        <a:pt x="33648" y="903337"/>
                      </a:lnTo>
                      <a:lnTo>
                        <a:pt x="28767" y="904321"/>
                      </a:lnTo>
                      <a:lnTo>
                        <a:pt x="27807" y="904333"/>
                      </a:lnTo>
                      <a:lnTo>
                        <a:pt x="27674" y="904309"/>
                      </a:lnTo>
                      <a:lnTo>
                        <a:pt x="25682" y="902293"/>
                      </a:lnTo>
                      <a:lnTo>
                        <a:pt x="25452" y="901977"/>
                      </a:lnTo>
                      <a:lnTo>
                        <a:pt x="25148" y="901735"/>
                      </a:lnTo>
                      <a:lnTo>
                        <a:pt x="23776" y="900666"/>
                      </a:lnTo>
                      <a:lnTo>
                        <a:pt x="23181" y="900205"/>
                      </a:lnTo>
                      <a:lnTo>
                        <a:pt x="22489" y="899901"/>
                      </a:lnTo>
                      <a:lnTo>
                        <a:pt x="21177" y="899330"/>
                      </a:lnTo>
                      <a:lnTo>
                        <a:pt x="20339" y="898966"/>
                      </a:lnTo>
                      <a:lnTo>
                        <a:pt x="19441" y="898857"/>
                      </a:lnTo>
                      <a:lnTo>
                        <a:pt x="18227" y="898711"/>
                      </a:lnTo>
                      <a:lnTo>
                        <a:pt x="17182" y="898589"/>
                      </a:lnTo>
                      <a:lnTo>
                        <a:pt x="16162" y="898832"/>
                      </a:lnTo>
                      <a:lnTo>
                        <a:pt x="14899" y="899124"/>
                      </a:lnTo>
                      <a:lnTo>
                        <a:pt x="13831" y="899379"/>
                      </a:lnTo>
                      <a:lnTo>
                        <a:pt x="12908" y="899986"/>
                      </a:lnTo>
                      <a:lnTo>
                        <a:pt x="11767" y="900739"/>
                      </a:lnTo>
                      <a:lnTo>
                        <a:pt x="10747" y="901419"/>
                      </a:lnTo>
                      <a:lnTo>
                        <a:pt x="10067" y="902427"/>
                      </a:lnTo>
                      <a:lnTo>
                        <a:pt x="8852" y="904248"/>
                      </a:lnTo>
                      <a:lnTo>
                        <a:pt x="8549" y="904722"/>
                      </a:lnTo>
                      <a:lnTo>
                        <a:pt x="8318" y="905244"/>
                      </a:lnTo>
                      <a:lnTo>
                        <a:pt x="7116" y="908061"/>
                      </a:lnTo>
                      <a:lnTo>
                        <a:pt x="6764" y="908887"/>
                      </a:lnTo>
                      <a:lnTo>
                        <a:pt x="6667" y="909785"/>
                      </a:lnTo>
                      <a:lnTo>
                        <a:pt x="6096" y="915019"/>
                      </a:lnTo>
                      <a:lnTo>
                        <a:pt x="6023" y="915711"/>
                      </a:lnTo>
                      <a:lnTo>
                        <a:pt x="6108" y="916391"/>
                      </a:lnTo>
                      <a:lnTo>
                        <a:pt x="6509" y="919803"/>
                      </a:lnTo>
                      <a:lnTo>
                        <a:pt x="6569" y="920289"/>
                      </a:lnTo>
                      <a:lnTo>
                        <a:pt x="6703" y="920750"/>
                      </a:lnTo>
                      <a:lnTo>
                        <a:pt x="7589" y="923895"/>
                      </a:lnTo>
                      <a:lnTo>
                        <a:pt x="7771" y="925547"/>
                      </a:lnTo>
                      <a:lnTo>
                        <a:pt x="7565" y="930950"/>
                      </a:lnTo>
                      <a:lnTo>
                        <a:pt x="7541" y="931594"/>
                      </a:lnTo>
                      <a:lnTo>
                        <a:pt x="7650" y="932238"/>
                      </a:lnTo>
                      <a:lnTo>
                        <a:pt x="7978" y="934156"/>
                      </a:lnTo>
                      <a:lnTo>
                        <a:pt x="8209" y="935407"/>
                      </a:lnTo>
                      <a:lnTo>
                        <a:pt x="8913" y="936463"/>
                      </a:lnTo>
                      <a:lnTo>
                        <a:pt x="9945" y="938018"/>
                      </a:lnTo>
                      <a:lnTo>
                        <a:pt x="10382" y="938685"/>
                      </a:lnTo>
                      <a:lnTo>
                        <a:pt x="10965" y="939208"/>
                      </a:lnTo>
                      <a:lnTo>
                        <a:pt x="13649" y="941588"/>
                      </a:lnTo>
                      <a:lnTo>
                        <a:pt x="14401" y="942571"/>
                      </a:lnTo>
                      <a:lnTo>
                        <a:pt x="15786" y="945631"/>
                      </a:lnTo>
                      <a:lnTo>
                        <a:pt x="16417" y="948072"/>
                      </a:lnTo>
                      <a:lnTo>
                        <a:pt x="16939" y="952225"/>
                      </a:lnTo>
                      <a:lnTo>
                        <a:pt x="16988" y="952650"/>
                      </a:lnTo>
                      <a:lnTo>
                        <a:pt x="17109" y="953075"/>
                      </a:lnTo>
                      <a:lnTo>
                        <a:pt x="17680" y="955139"/>
                      </a:lnTo>
                      <a:lnTo>
                        <a:pt x="17947" y="956111"/>
                      </a:lnTo>
                      <a:lnTo>
                        <a:pt x="18506" y="956936"/>
                      </a:lnTo>
                      <a:lnTo>
                        <a:pt x="19672" y="958661"/>
                      </a:lnTo>
                      <a:lnTo>
                        <a:pt x="19987" y="959122"/>
                      </a:lnTo>
                      <a:lnTo>
                        <a:pt x="20376" y="959511"/>
                      </a:lnTo>
                      <a:lnTo>
                        <a:pt x="21590" y="960737"/>
                      </a:lnTo>
                      <a:lnTo>
                        <a:pt x="21845" y="961150"/>
                      </a:lnTo>
                      <a:lnTo>
                        <a:pt x="19999" y="966881"/>
                      </a:lnTo>
                      <a:lnTo>
                        <a:pt x="19708" y="967780"/>
                      </a:lnTo>
                      <a:lnTo>
                        <a:pt x="19708" y="968715"/>
                      </a:lnTo>
                      <a:lnTo>
                        <a:pt x="19659" y="983080"/>
                      </a:lnTo>
                      <a:lnTo>
                        <a:pt x="19647" y="988107"/>
                      </a:lnTo>
                      <a:lnTo>
                        <a:pt x="24589" y="989067"/>
                      </a:lnTo>
                      <a:lnTo>
                        <a:pt x="27686" y="989661"/>
                      </a:lnTo>
                      <a:lnTo>
                        <a:pt x="32689" y="992709"/>
                      </a:lnTo>
                      <a:lnTo>
                        <a:pt x="33624" y="993280"/>
                      </a:lnTo>
                      <a:lnTo>
                        <a:pt x="34692" y="993499"/>
                      </a:lnTo>
                      <a:lnTo>
                        <a:pt x="38821" y="994300"/>
                      </a:lnTo>
                      <a:lnTo>
                        <a:pt x="39537" y="994434"/>
                      </a:lnTo>
                      <a:lnTo>
                        <a:pt x="40266" y="994397"/>
                      </a:lnTo>
                      <a:lnTo>
                        <a:pt x="44637" y="994191"/>
                      </a:lnTo>
                      <a:lnTo>
                        <a:pt x="45050" y="994179"/>
                      </a:lnTo>
                      <a:lnTo>
                        <a:pt x="45451" y="994106"/>
                      </a:lnTo>
                      <a:lnTo>
                        <a:pt x="49397" y="993377"/>
                      </a:lnTo>
                      <a:lnTo>
                        <a:pt x="49859" y="993292"/>
                      </a:lnTo>
                      <a:lnTo>
                        <a:pt x="50296" y="993135"/>
                      </a:lnTo>
                      <a:lnTo>
                        <a:pt x="53805" y="991920"/>
                      </a:lnTo>
                      <a:lnTo>
                        <a:pt x="54340" y="991726"/>
                      </a:lnTo>
                      <a:lnTo>
                        <a:pt x="54837" y="991447"/>
                      </a:lnTo>
                      <a:lnTo>
                        <a:pt x="57946" y="989674"/>
                      </a:lnTo>
                      <a:lnTo>
                        <a:pt x="59209" y="988945"/>
                      </a:lnTo>
                      <a:lnTo>
                        <a:pt x="60010" y="987719"/>
                      </a:lnTo>
                      <a:lnTo>
                        <a:pt x="60642" y="986747"/>
                      </a:lnTo>
                      <a:lnTo>
                        <a:pt x="61395" y="985581"/>
                      </a:lnTo>
                      <a:lnTo>
                        <a:pt x="61455" y="985059"/>
                      </a:lnTo>
                      <a:lnTo>
                        <a:pt x="61492" y="985047"/>
                      </a:lnTo>
                      <a:lnTo>
                        <a:pt x="63799" y="983991"/>
                      </a:lnTo>
                      <a:lnTo>
                        <a:pt x="67454" y="982934"/>
                      </a:lnTo>
                      <a:lnTo>
                        <a:pt x="67940" y="982789"/>
                      </a:lnTo>
                      <a:lnTo>
                        <a:pt x="68401" y="982558"/>
                      </a:lnTo>
                      <a:lnTo>
                        <a:pt x="70247" y="981672"/>
                      </a:lnTo>
                      <a:lnTo>
                        <a:pt x="71073" y="981283"/>
                      </a:lnTo>
                      <a:lnTo>
                        <a:pt x="71740" y="980652"/>
                      </a:lnTo>
                      <a:lnTo>
                        <a:pt x="76768" y="975976"/>
                      </a:lnTo>
                      <a:lnTo>
                        <a:pt x="77593" y="976717"/>
                      </a:lnTo>
                      <a:lnTo>
                        <a:pt x="87186" y="987221"/>
                      </a:lnTo>
                      <a:lnTo>
                        <a:pt x="88036" y="990269"/>
                      </a:lnTo>
                      <a:lnTo>
                        <a:pt x="87842" y="991471"/>
                      </a:lnTo>
                      <a:lnTo>
                        <a:pt x="86858" y="1008604"/>
                      </a:lnTo>
                      <a:lnTo>
                        <a:pt x="86834" y="1009017"/>
                      </a:lnTo>
                      <a:lnTo>
                        <a:pt x="86858" y="1009418"/>
                      </a:lnTo>
                      <a:lnTo>
                        <a:pt x="87089" y="1012357"/>
                      </a:lnTo>
                      <a:lnTo>
                        <a:pt x="87138" y="1013025"/>
                      </a:lnTo>
                      <a:lnTo>
                        <a:pt x="87332" y="1013668"/>
                      </a:lnTo>
                      <a:lnTo>
                        <a:pt x="87963" y="1015745"/>
                      </a:lnTo>
                      <a:lnTo>
                        <a:pt x="88133" y="1016291"/>
                      </a:lnTo>
                      <a:lnTo>
                        <a:pt x="88388" y="1016789"/>
                      </a:lnTo>
                      <a:lnTo>
                        <a:pt x="90428" y="1020675"/>
                      </a:lnTo>
                      <a:lnTo>
                        <a:pt x="90635" y="1021270"/>
                      </a:lnTo>
                      <a:lnTo>
                        <a:pt x="90975" y="1025932"/>
                      </a:lnTo>
                      <a:lnTo>
                        <a:pt x="91036" y="1026770"/>
                      </a:lnTo>
                      <a:lnTo>
                        <a:pt x="91315" y="1027547"/>
                      </a:lnTo>
                      <a:lnTo>
                        <a:pt x="91958" y="1029321"/>
                      </a:lnTo>
                      <a:lnTo>
                        <a:pt x="92347" y="1030389"/>
                      </a:lnTo>
                      <a:lnTo>
                        <a:pt x="93088" y="1031239"/>
                      </a:lnTo>
                      <a:lnTo>
                        <a:pt x="94678" y="1033073"/>
                      </a:lnTo>
                      <a:lnTo>
                        <a:pt x="95067" y="1033510"/>
                      </a:lnTo>
                      <a:lnTo>
                        <a:pt x="95529" y="1033874"/>
                      </a:lnTo>
                      <a:lnTo>
                        <a:pt x="98066" y="1035853"/>
                      </a:lnTo>
                      <a:lnTo>
                        <a:pt x="103215" y="1039205"/>
                      </a:lnTo>
                      <a:lnTo>
                        <a:pt x="108691" y="1043601"/>
                      </a:lnTo>
                      <a:lnTo>
                        <a:pt x="109092" y="1043916"/>
                      </a:lnTo>
                      <a:lnTo>
                        <a:pt x="109541" y="1044171"/>
                      </a:lnTo>
                      <a:lnTo>
                        <a:pt x="112711" y="1045932"/>
                      </a:lnTo>
                      <a:lnTo>
                        <a:pt x="113354" y="1046284"/>
                      </a:lnTo>
                      <a:lnTo>
                        <a:pt x="114071" y="1046478"/>
                      </a:lnTo>
                      <a:lnTo>
                        <a:pt x="122656" y="1048798"/>
                      </a:lnTo>
                      <a:lnTo>
                        <a:pt x="123567" y="1049551"/>
                      </a:lnTo>
                      <a:lnTo>
                        <a:pt x="125254" y="1051287"/>
                      </a:lnTo>
                      <a:lnTo>
                        <a:pt x="125534" y="1051578"/>
                      </a:lnTo>
                      <a:lnTo>
                        <a:pt x="125849" y="1051833"/>
                      </a:lnTo>
                      <a:lnTo>
                        <a:pt x="128144" y="1053631"/>
                      </a:lnTo>
                      <a:lnTo>
                        <a:pt x="128691" y="1054056"/>
                      </a:lnTo>
                      <a:lnTo>
                        <a:pt x="129322" y="1054347"/>
                      </a:lnTo>
                      <a:lnTo>
                        <a:pt x="131787" y="1055500"/>
                      </a:lnTo>
                      <a:lnTo>
                        <a:pt x="132698" y="1055913"/>
                      </a:lnTo>
                      <a:lnTo>
                        <a:pt x="133694" y="1056035"/>
                      </a:lnTo>
                      <a:lnTo>
                        <a:pt x="138017" y="1056521"/>
                      </a:lnTo>
                      <a:lnTo>
                        <a:pt x="138332" y="1056557"/>
                      </a:lnTo>
                      <a:lnTo>
                        <a:pt x="138648" y="1056557"/>
                      </a:lnTo>
                      <a:lnTo>
                        <a:pt x="144768" y="1056593"/>
                      </a:lnTo>
                      <a:lnTo>
                        <a:pt x="161829" y="1055015"/>
                      </a:lnTo>
                      <a:lnTo>
                        <a:pt x="163165" y="1055075"/>
                      </a:lnTo>
                      <a:lnTo>
                        <a:pt x="167864" y="1055780"/>
                      </a:lnTo>
                      <a:lnTo>
                        <a:pt x="168556" y="1055999"/>
                      </a:lnTo>
                      <a:lnTo>
                        <a:pt x="169248" y="1056411"/>
                      </a:lnTo>
                      <a:lnTo>
                        <a:pt x="171810" y="1058548"/>
                      </a:lnTo>
                      <a:lnTo>
                        <a:pt x="174640" y="1060504"/>
                      </a:lnTo>
                      <a:lnTo>
                        <a:pt x="175259" y="1060929"/>
                      </a:lnTo>
                      <a:lnTo>
                        <a:pt x="175963" y="1061184"/>
                      </a:lnTo>
                      <a:lnTo>
                        <a:pt x="178768" y="1062228"/>
                      </a:lnTo>
                      <a:lnTo>
                        <a:pt x="179630" y="1062531"/>
                      </a:lnTo>
                      <a:lnTo>
                        <a:pt x="180541" y="1062580"/>
                      </a:lnTo>
                      <a:lnTo>
                        <a:pt x="188993" y="1063041"/>
                      </a:lnTo>
                      <a:lnTo>
                        <a:pt x="193000" y="1065094"/>
                      </a:lnTo>
                      <a:lnTo>
                        <a:pt x="194202" y="1065895"/>
                      </a:lnTo>
                      <a:lnTo>
                        <a:pt x="197177" y="1068919"/>
                      </a:lnTo>
                      <a:lnTo>
                        <a:pt x="203686" y="1078038"/>
                      </a:lnTo>
                      <a:lnTo>
                        <a:pt x="205252" y="1082033"/>
                      </a:lnTo>
                      <a:lnTo>
                        <a:pt x="206576" y="1084704"/>
                      </a:lnTo>
                      <a:lnTo>
                        <a:pt x="206782" y="1085093"/>
                      </a:lnTo>
                      <a:lnTo>
                        <a:pt x="207037" y="1085457"/>
                      </a:lnTo>
                      <a:lnTo>
                        <a:pt x="208531" y="1087570"/>
                      </a:lnTo>
                      <a:lnTo>
                        <a:pt x="208968" y="1088189"/>
                      </a:lnTo>
                      <a:lnTo>
                        <a:pt x="209539" y="1088675"/>
                      </a:lnTo>
                      <a:lnTo>
                        <a:pt x="211481" y="1090339"/>
                      </a:lnTo>
                      <a:lnTo>
                        <a:pt x="212004" y="1090788"/>
                      </a:lnTo>
                      <a:lnTo>
                        <a:pt x="212611" y="1091104"/>
                      </a:lnTo>
                      <a:lnTo>
                        <a:pt x="215027" y="1092367"/>
                      </a:lnTo>
                      <a:lnTo>
                        <a:pt x="215367" y="1092549"/>
                      </a:lnTo>
                      <a:lnTo>
                        <a:pt x="215719" y="1092682"/>
                      </a:lnTo>
                      <a:lnTo>
                        <a:pt x="226284" y="1096592"/>
                      </a:lnTo>
                      <a:lnTo>
                        <a:pt x="226684" y="1096750"/>
                      </a:lnTo>
                      <a:lnTo>
                        <a:pt x="227097" y="1096835"/>
                      </a:lnTo>
                      <a:lnTo>
                        <a:pt x="246271" y="1101025"/>
                      </a:lnTo>
                      <a:lnTo>
                        <a:pt x="247194" y="1101231"/>
                      </a:lnTo>
                      <a:lnTo>
                        <a:pt x="248141" y="1101146"/>
                      </a:lnTo>
                      <a:lnTo>
                        <a:pt x="253897" y="1100600"/>
                      </a:lnTo>
                      <a:lnTo>
                        <a:pt x="254917" y="1100818"/>
                      </a:lnTo>
                      <a:lnTo>
                        <a:pt x="256046" y="1101231"/>
                      </a:lnTo>
                      <a:lnTo>
                        <a:pt x="256362" y="1101340"/>
                      </a:lnTo>
                      <a:lnTo>
                        <a:pt x="256690" y="1101425"/>
                      </a:lnTo>
                      <a:lnTo>
                        <a:pt x="259155" y="1102032"/>
                      </a:lnTo>
                      <a:lnTo>
                        <a:pt x="259871" y="1102215"/>
                      </a:lnTo>
                      <a:lnTo>
                        <a:pt x="260612" y="1102215"/>
                      </a:lnTo>
                      <a:lnTo>
                        <a:pt x="278765" y="1102215"/>
                      </a:lnTo>
                      <a:lnTo>
                        <a:pt x="286173" y="1103065"/>
                      </a:lnTo>
                      <a:lnTo>
                        <a:pt x="286549" y="1103101"/>
                      </a:lnTo>
                      <a:lnTo>
                        <a:pt x="286925" y="1103101"/>
                      </a:lnTo>
                      <a:lnTo>
                        <a:pt x="289451" y="1103077"/>
                      </a:lnTo>
                      <a:lnTo>
                        <a:pt x="290180" y="1103065"/>
                      </a:lnTo>
                      <a:lnTo>
                        <a:pt x="290884" y="1102882"/>
                      </a:lnTo>
                      <a:lnTo>
                        <a:pt x="296822" y="1101389"/>
                      </a:lnTo>
                      <a:lnTo>
                        <a:pt x="300319" y="1101316"/>
                      </a:lnTo>
                      <a:lnTo>
                        <a:pt x="300866" y="1101304"/>
                      </a:lnTo>
                      <a:lnTo>
                        <a:pt x="301400" y="1101194"/>
                      </a:lnTo>
                      <a:lnTo>
                        <a:pt x="304290" y="1100611"/>
                      </a:lnTo>
                      <a:lnTo>
                        <a:pt x="306233" y="1100430"/>
                      </a:lnTo>
                      <a:lnTo>
                        <a:pt x="312656" y="1101364"/>
                      </a:lnTo>
                      <a:lnTo>
                        <a:pt x="321326" y="1101814"/>
                      </a:lnTo>
                      <a:lnTo>
                        <a:pt x="321630" y="1101838"/>
                      </a:lnTo>
                      <a:lnTo>
                        <a:pt x="321934" y="1101814"/>
                      </a:lnTo>
                      <a:lnTo>
                        <a:pt x="342091" y="1100769"/>
                      </a:lnTo>
                      <a:lnTo>
                        <a:pt x="342722" y="1100745"/>
                      </a:lnTo>
                      <a:lnTo>
                        <a:pt x="343342" y="1100575"/>
                      </a:lnTo>
                      <a:lnTo>
                        <a:pt x="353712" y="1097794"/>
                      </a:lnTo>
                      <a:lnTo>
                        <a:pt x="357610" y="1098912"/>
                      </a:lnTo>
                      <a:lnTo>
                        <a:pt x="358508" y="1099167"/>
                      </a:lnTo>
                      <a:lnTo>
                        <a:pt x="359443" y="1099143"/>
                      </a:lnTo>
                      <a:lnTo>
                        <a:pt x="364555" y="1099009"/>
                      </a:lnTo>
                      <a:lnTo>
                        <a:pt x="366316" y="1099191"/>
                      </a:lnTo>
                      <a:lnTo>
                        <a:pt x="372011" y="1101364"/>
                      </a:lnTo>
                      <a:lnTo>
                        <a:pt x="372339" y="1101486"/>
                      </a:lnTo>
                      <a:lnTo>
                        <a:pt x="372679" y="1101571"/>
                      </a:lnTo>
                      <a:lnTo>
                        <a:pt x="382600" y="1104072"/>
                      </a:lnTo>
                      <a:lnTo>
                        <a:pt x="383195" y="1104230"/>
                      </a:lnTo>
                      <a:lnTo>
                        <a:pt x="383802" y="1104255"/>
                      </a:lnTo>
                      <a:lnTo>
                        <a:pt x="385599" y="1104339"/>
                      </a:lnTo>
                      <a:lnTo>
                        <a:pt x="386158" y="1104376"/>
                      </a:lnTo>
                      <a:lnTo>
                        <a:pt x="386716" y="1104291"/>
                      </a:lnTo>
                      <a:lnTo>
                        <a:pt x="388598" y="1104036"/>
                      </a:lnTo>
                      <a:lnTo>
                        <a:pt x="388950" y="1103987"/>
                      </a:lnTo>
                      <a:lnTo>
                        <a:pt x="389290" y="1103903"/>
                      </a:lnTo>
                      <a:lnTo>
                        <a:pt x="389618" y="1103805"/>
                      </a:lnTo>
                      <a:lnTo>
                        <a:pt x="391573" y="1107557"/>
                      </a:lnTo>
                      <a:lnTo>
                        <a:pt x="395131" y="1116325"/>
                      </a:lnTo>
                      <a:lnTo>
                        <a:pt x="395496" y="1123695"/>
                      </a:lnTo>
                      <a:lnTo>
                        <a:pt x="395520" y="1124217"/>
                      </a:lnTo>
                      <a:lnTo>
                        <a:pt x="395629" y="1124728"/>
                      </a:lnTo>
                      <a:lnTo>
                        <a:pt x="396734" y="1129657"/>
                      </a:lnTo>
                      <a:lnTo>
                        <a:pt x="395714" y="1129913"/>
                      </a:lnTo>
                      <a:lnTo>
                        <a:pt x="394828" y="1130143"/>
                      </a:lnTo>
                      <a:lnTo>
                        <a:pt x="394051" y="1130617"/>
                      </a:lnTo>
                      <a:lnTo>
                        <a:pt x="393480" y="1130957"/>
                      </a:lnTo>
                      <a:lnTo>
                        <a:pt x="392363" y="1131625"/>
                      </a:lnTo>
                      <a:lnTo>
                        <a:pt x="391622" y="1132693"/>
                      </a:lnTo>
                      <a:lnTo>
                        <a:pt x="391221" y="1133276"/>
                      </a:lnTo>
                      <a:lnTo>
                        <a:pt x="390614" y="1134151"/>
                      </a:lnTo>
                      <a:lnTo>
                        <a:pt x="390347" y="1135195"/>
                      </a:lnTo>
                      <a:lnTo>
                        <a:pt x="390140" y="1135947"/>
                      </a:lnTo>
                      <a:lnTo>
                        <a:pt x="390019" y="1137186"/>
                      </a:lnTo>
                      <a:lnTo>
                        <a:pt x="390019" y="1138012"/>
                      </a:lnTo>
                      <a:lnTo>
                        <a:pt x="390250" y="1139360"/>
                      </a:lnTo>
                      <a:lnTo>
                        <a:pt x="390480" y="1140185"/>
                      </a:lnTo>
                      <a:lnTo>
                        <a:pt x="390663" y="1140817"/>
                      </a:lnTo>
                      <a:lnTo>
                        <a:pt x="390966" y="1141400"/>
                      </a:lnTo>
                      <a:lnTo>
                        <a:pt x="391658" y="1142711"/>
                      </a:lnTo>
                      <a:lnTo>
                        <a:pt x="391877" y="1143100"/>
                      </a:lnTo>
                      <a:lnTo>
                        <a:pt x="392144" y="1143464"/>
                      </a:lnTo>
                      <a:lnTo>
                        <a:pt x="398811" y="1152535"/>
                      </a:lnTo>
                      <a:lnTo>
                        <a:pt x="399563" y="1153567"/>
                      </a:lnTo>
                      <a:lnTo>
                        <a:pt x="400668" y="1154210"/>
                      </a:lnTo>
                      <a:lnTo>
                        <a:pt x="404955" y="1156675"/>
                      </a:lnTo>
                      <a:lnTo>
                        <a:pt x="405222" y="1156833"/>
                      </a:lnTo>
                      <a:lnTo>
                        <a:pt x="405501" y="1156955"/>
                      </a:lnTo>
                      <a:lnTo>
                        <a:pt x="409241" y="1158631"/>
                      </a:lnTo>
                      <a:lnTo>
                        <a:pt x="410091" y="1159019"/>
                      </a:lnTo>
                      <a:lnTo>
                        <a:pt x="411026" y="1159128"/>
                      </a:lnTo>
                      <a:lnTo>
                        <a:pt x="429751" y="1161278"/>
                      </a:lnTo>
                      <a:lnTo>
                        <a:pt x="430807" y="1161399"/>
                      </a:lnTo>
                      <a:lnTo>
                        <a:pt x="431839" y="1161144"/>
                      </a:lnTo>
                      <a:lnTo>
                        <a:pt x="437182" y="1159881"/>
                      </a:lnTo>
                      <a:lnTo>
                        <a:pt x="448232" y="1158946"/>
                      </a:lnTo>
                      <a:lnTo>
                        <a:pt x="448949" y="1158886"/>
                      </a:lnTo>
                      <a:lnTo>
                        <a:pt x="449629" y="1158655"/>
                      </a:lnTo>
                      <a:lnTo>
                        <a:pt x="455530" y="1156700"/>
                      </a:lnTo>
                      <a:lnTo>
                        <a:pt x="460982" y="1154368"/>
                      </a:lnTo>
                      <a:lnTo>
                        <a:pt x="462257" y="1153810"/>
                      </a:lnTo>
                      <a:lnTo>
                        <a:pt x="463168" y="1152741"/>
                      </a:lnTo>
                      <a:lnTo>
                        <a:pt x="465633" y="1149863"/>
                      </a:lnTo>
                      <a:lnTo>
                        <a:pt x="465900" y="1149547"/>
                      </a:lnTo>
                      <a:lnTo>
                        <a:pt x="466131" y="1149195"/>
                      </a:lnTo>
                      <a:lnTo>
                        <a:pt x="469628" y="1143743"/>
                      </a:lnTo>
                      <a:lnTo>
                        <a:pt x="471450" y="1141485"/>
                      </a:lnTo>
                      <a:lnTo>
                        <a:pt x="473453" y="1139700"/>
                      </a:lnTo>
                      <a:lnTo>
                        <a:pt x="476768" y="1138182"/>
                      </a:lnTo>
                      <a:lnTo>
                        <a:pt x="479245" y="1137660"/>
                      </a:lnTo>
                      <a:lnTo>
                        <a:pt x="492481" y="1136275"/>
                      </a:lnTo>
                      <a:lnTo>
                        <a:pt x="493744" y="1136142"/>
                      </a:lnTo>
                      <a:lnTo>
                        <a:pt x="494849" y="1135511"/>
                      </a:lnTo>
                      <a:lnTo>
                        <a:pt x="497047" y="1134260"/>
                      </a:lnTo>
                      <a:lnTo>
                        <a:pt x="497897" y="1133774"/>
                      </a:lnTo>
                      <a:lnTo>
                        <a:pt x="498553" y="1133033"/>
                      </a:lnTo>
                      <a:lnTo>
                        <a:pt x="500508" y="1130848"/>
                      </a:lnTo>
                      <a:lnTo>
                        <a:pt x="500860" y="1130459"/>
                      </a:lnTo>
                      <a:lnTo>
                        <a:pt x="501139" y="1130010"/>
                      </a:lnTo>
                      <a:lnTo>
                        <a:pt x="502803" y="1127351"/>
                      </a:lnTo>
                      <a:lnTo>
                        <a:pt x="502985" y="1127071"/>
                      </a:lnTo>
                      <a:lnTo>
                        <a:pt x="503130" y="1126779"/>
                      </a:lnTo>
                      <a:lnTo>
                        <a:pt x="504806" y="1123295"/>
                      </a:lnTo>
                      <a:lnTo>
                        <a:pt x="505425" y="1122008"/>
                      </a:lnTo>
                      <a:lnTo>
                        <a:pt x="505413" y="1120587"/>
                      </a:lnTo>
                      <a:lnTo>
                        <a:pt x="505292" y="1112232"/>
                      </a:lnTo>
                      <a:lnTo>
                        <a:pt x="505280" y="1110860"/>
                      </a:lnTo>
                      <a:lnTo>
                        <a:pt x="504673" y="1109622"/>
                      </a:lnTo>
                      <a:lnTo>
                        <a:pt x="502256" y="1104740"/>
                      </a:lnTo>
                      <a:lnTo>
                        <a:pt x="502025" y="1104097"/>
                      </a:lnTo>
                      <a:lnTo>
                        <a:pt x="505778" y="1101304"/>
                      </a:lnTo>
                      <a:lnTo>
                        <a:pt x="512638" y="1097539"/>
                      </a:lnTo>
                      <a:lnTo>
                        <a:pt x="515213" y="1095815"/>
                      </a:lnTo>
                      <a:lnTo>
                        <a:pt x="515784" y="1095439"/>
                      </a:lnTo>
                      <a:lnTo>
                        <a:pt x="516257" y="1094929"/>
                      </a:lnTo>
                      <a:lnTo>
                        <a:pt x="517981" y="1093071"/>
                      </a:lnTo>
                      <a:lnTo>
                        <a:pt x="518613" y="1092379"/>
                      </a:lnTo>
                      <a:lnTo>
                        <a:pt x="519013" y="1091541"/>
                      </a:lnTo>
                      <a:lnTo>
                        <a:pt x="522486" y="1084182"/>
                      </a:lnTo>
                      <a:lnTo>
                        <a:pt x="522948" y="1083551"/>
                      </a:lnTo>
                      <a:lnTo>
                        <a:pt x="524660" y="1082179"/>
                      </a:lnTo>
                      <a:lnTo>
                        <a:pt x="525012" y="1081887"/>
                      </a:lnTo>
                      <a:lnTo>
                        <a:pt x="525328" y="1081559"/>
                      </a:lnTo>
                      <a:lnTo>
                        <a:pt x="526870" y="1079883"/>
                      </a:lnTo>
                      <a:lnTo>
                        <a:pt x="527538" y="1079167"/>
                      </a:lnTo>
                      <a:lnTo>
                        <a:pt x="527939" y="1078269"/>
                      </a:lnTo>
                      <a:lnTo>
                        <a:pt x="529092" y="1075719"/>
                      </a:lnTo>
                      <a:lnTo>
                        <a:pt x="529639" y="1074201"/>
                      </a:lnTo>
                      <a:lnTo>
                        <a:pt x="529784" y="1073763"/>
                      </a:lnTo>
                      <a:lnTo>
                        <a:pt x="529869" y="1073302"/>
                      </a:lnTo>
                      <a:lnTo>
                        <a:pt x="529991" y="1072598"/>
                      </a:lnTo>
                      <a:lnTo>
                        <a:pt x="530088" y="1072064"/>
                      </a:lnTo>
                      <a:lnTo>
                        <a:pt x="530088" y="1071529"/>
                      </a:lnTo>
                      <a:lnTo>
                        <a:pt x="530088" y="1071274"/>
                      </a:lnTo>
                      <a:lnTo>
                        <a:pt x="530064" y="1070436"/>
                      </a:lnTo>
                      <a:lnTo>
                        <a:pt x="530039" y="1070121"/>
                      </a:lnTo>
                      <a:lnTo>
                        <a:pt x="530234" y="1066648"/>
                      </a:lnTo>
                      <a:lnTo>
                        <a:pt x="530416" y="1065786"/>
                      </a:lnTo>
                      <a:lnTo>
                        <a:pt x="530501" y="1065373"/>
                      </a:lnTo>
                      <a:lnTo>
                        <a:pt x="530525" y="1064960"/>
                      </a:lnTo>
                      <a:lnTo>
                        <a:pt x="530707" y="1062495"/>
                      </a:lnTo>
                      <a:lnTo>
                        <a:pt x="531217" y="1059399"/>
                      </a:lnTo>
                      <a:lnTo>
                        <a:pt x="533124" y="1057140"/>
                      </a:lnTo>
                      <a:lnTo>
                        <a:pt x="536172" y="1055719"/>
                      </a:lnTo>
                      <a:lnTo>
                        <a:pt x="545376" y="1055816"/>
                      </a:lnTo>
                      <a:lnTo>
                        <a:pt x="546372" y="1055828"/>
                      </a:lnTo>
                      <a:lnTo>
                        <a:pt x="547319" y="1055525"/>
                      </a:lnTo>
                      <a:lnTo>
                        <a:pt x="550585" y="1054456"/>
                      </a:lnTo>
                      <a:lnTo>
                        <a:pt x="551459" y="1054177"/>
                      </a:lnTo>
                      <a:lnTo>
                        <a:pt x="552212" y="1053643"/>
                      </a:lnTo>
                      <a:lnTo>
                        <a:pt x="572709" y="1039132"/>
                      </a:lnTo>
                      <a:lnTo>
                        <a:pt x="579388" y="1035926"/>
                      </a:lnTo>
                      <a:lnTo>
                        <a:pt x="586917" y="1033874"/>
                      </a:lnTo>
                      <a:lnTo>
                        <a:pt x="595271" y="1033194"/>
                      </a:lnTo>
                      <a:lnTo>
                        <a:pt x="595490" y="1033231"/>
                      </a:lnTo>
                      <a:lnTo>
                        <a:pt x="595635" y="1033485"/>
                      </a:lnTo>
                      <a:lnTo>
                        <a:pt x="595975" y="1033898"/>
                      </a:lnTo>
                      <a:lnTo>
                        <a:pt x="596777" y="1034882"/>
                      </a:lnTo>
                      <a:lnTo>
                        <a:pt x="597093" y="1035271"/>
                      </a:lnTo>
                      <a:lnTo>
                        <a:pt x="597469" y="1035598"/>
                      </a:lnTo>
                      <a:lnTo>
                        <a:pt x="598453" y="1036460"/>
                      </a:lnTo>
                      <a:lnTo>
                        <a:pt x="599254" y="1037177"/>
                      </a:lnTo>
                      <a:lnTo>
                        <a:pt x="600262" y="1037565"/>
                      </a:lnTo>
                      <a:lnTo>
                        <a:pt x="601513" y="1038051"/>
                      </a:lnTo>
                      <a:lnTo>
                        <a:pt x="602533" y="1038452"/>
                      </a:lnTo>
                      <a:lnTo>
                        <a:pt x="603613" y="1038464"/>
                      </a:lnTo>
                      <a:lnTo>
                        <a:pt x="605168" y="1038488"/>
                      </a:lnTo>
                      <a:lnTo>
                        <a:pt x="606309" y="1038500"/>
                      </a:lnTo>
                      <a:lnTo>
                        <a:pt x="607378" y="1038112"/>
                      </a:lnTo>
                      <a:lnTo>
                        <a:pt x="609381" y="1037359"/>
                      </a:lnTo>
                      <a:lnTo>
                        <a:pt x="610073" y="1037104"/>
                      </a:lnTo>
                      <a:lnTo>
                        <a:pt x="610681" y="1036691"/>
                      </a:lnTo>
                      <a:lnTo>
                        <a:pt x="612113" y="1035720"/>
                      </a:lnTo>
                      <a:lnTo>
                        <a:pt x="612988" y="1035125"/>
                      </a:lnTo>
                      <a:lnTo>
                        <a:pt x="613607" y="1034275"/>
                      </a:lnTo>
                      <a:lnTo>
                        <a:pt x="614651" y="1032842"/>
                      </a:lnTo>
                      <a:lnTo>
                        <a:pt x="614882" y="1032538"/>
                      </a:lnTo>
                      <a:lnTo>
                        <a:pt x="615064" y="1032210"/>
                      </a:lnTo>
                      <a:lnTo>
                        <a:pt x="615574" y="1031288"/>
                      </a:lnTo>
                      <a:lnTo>
                        <a:pt x="619071" y="1030535"/>
                      </a:lnTo>
                      <a:lnTo>
                        <a:pt x="620286" y="1030280"/>
                      </a:lnTo>
                      <a:lnTo>
                        <a:pt x="621293" y="1029563"/>
                      </a:lnTo>
                      <a:lnTo>
                        <a:pt x="623358" y="1028106"/>
                      </a:lnTo>
                      <a:lnTo>
                        <a:pt x="624329" y="1027426"/>
                      </a:lnTo>
                      <a:lnTo>
                        <a:pt x="624973" y="1026430"/>
                      </a:lnTo>
                      <a:lnTo>
                        <a:pt x="626066" y="1024718"/>
                      </a:lnTo>
                      <a:lnTo>
                        <a:pt x="626503" y="1024366"/>
                      </a:lnTo>
                      <a:lnTo>
                        <a:pt x="627474" y="1024087"/>
                      </a:lnTo>
                      <a:lnTo>
                        <a:pt x="649902" y="1024888"/>
                      </a:lnTo>
                      <a:lnTo>
                        <a:pt x="651141" y="1025143"/>
                      </a:lnTo>
                      <a:lnTo>
                        <a:pt x="651833" y="1025496"/>
                      </a:lnTo>
                      <a:lnTo>
                        <a:pt x="651833" y="1025496"/>
                      </a:lnTo>
                      <a:lnTo>
                        <a:pt x="651942" y="1025932"/>
                      </a:lnTo>
                      <a:lnTo>
                        <a:pt x="652076" y="1026491"/>
                      </a:lnTo>
                      <a:lnTo>
                        <a:pt x="652307" y="1027001"/>
                      </a:lnTo>
                      <a:lnTo>
                        <a:pt x="652647" y="1027754"/>
                      </a:lnTo>
                      <a:lnTo>
                        <a:pt x="652780" y="1028045"/>
                      </a:lnTo>
                      <a:lnTo>
                        <a:pt x="652938" y="1028313"/>
                      </a:lnTo>
                      <a:lnTo>
                        <a:pt x="653460" y="1029199"/>
                      </a:lnTo>
                      <a:lnTo>
                        <a:pt x="654274" y="1030583"/>
                      </a:lnTo>
                      <a:lnTo>
                        <a:pt x="655670" y="1031385"/>
                      </a:lnTo>
                      <a:lnTo>
                        <a:pt x="656763" y="1032016"/>
                      </a:lnTo>
                      <a:lnTo>
                        <a:pt x="657224" y="1032271"/>
                      </a:lnTo>
                      <a:lnTo>
                        <a:pt x="657722" y="1032453"/>
                      </a:lnTo>
                      <a:lnTo>
                        <a:pt x="661292" y="1033753"/>
                      </a:lnTo>
                      <a:lnTo>
                        <a:pt x="661644" y="1033983"/>
                      </a:lnTo>
                      <a:lnTo>
                        <a:pt x="661851" y="1034591"/>
                      </a:lnTo>
                      <a:lnTo>
                        <a:pt x="663612" y="1047498"/>
                      </a:lnTo>
                      <a:lnTo>
                        <a:pt x="663612" y="1049976"/>
                      </a:lnTo>
                      <a:lnTo>
                        <a:pt x="663357" y="1052222"/>
                      </a:lnTo>
                      <a:lnTo>
                        <a:pt x="663308" y="1052696"/>
                      </a:lnTo>
                      <a:lnTo>
                        <a:pt x="663332" y="1053181"/>
                      </a:lnTo>
                      <a:lnTo>
                        <a:pt x="663490" y="1055841"/>
                      </a:lnTo>
                      <a:lnTo>
                        <a:pt x="663551" y="1056946"/>
                      </a:lnTo>
                      <a:lnTo>
                        <a:pt x="663636" y="1057128"/>
                      </a:lnTo>
                      <a:lnTo>
                        <a:pt x="650291" y="1056278"/>
                      </a:lnTo>
                      <a:lnTo>
                        <a:pt x="649732" y="1056241"/>
                      </a:lnTo>
                      <a:lnTo>
                        <a:pt x="649174" y="1056314"/>
                      </a:lnTo>
                      <a:lnTo>
                        <a:pt x="646769" y="1056606"/>
                      </a:lnTo>
                      <a:lnTo>
                        <a:pt x="645494" y="1056763"/>
                      </a:lnTo>
                      <a:lnTo>
                        <a:pt x="644389" y="1057443"/>
                      </a:lnTo>
                      <a:lnTo>
                        <a:pt x="642835" y="1058378"/>
                      </a:lnTo>
                      <a:lnTo>
                        <a:pt x="641184" y="1059362"/>
                      </a:lnTo>
                      <a:lnTo>
                        <a:pt x="640419" y="1061135"/>
                      </a:lnTo>
                      <a:lnTo>
                        <a:pt x="639727" y="1062714"/>
                      </a:lnTo>
                      <a:lnTo>
                        <a:pt x="639362" y="1063539"/>
                      </a:lnTo>
                      <a:lnTo>
                        <a:pt x="639253" y="1064438"/>
                      </a:lnTo>
                      <a:lnTo>
                        <a:pt x="638974" y="1066806"/>
                      </a:lnTo>
                      <a:lnTo>
                        <a:pt x="638925" y="1067243"/>
                      </a:lnTo>
                      <a:lnTo>
                        <a:pt x="638937" y="1067692"/>
                      </a:lnTo>
                      <a:lnTo>
                        <a:pt x="638998" y="1069781"/>
                      </a:lnTo>
                      <a:lnTo>
                        <a:pt x="639010" y="1070084"/>
                      </a:lnTo>
                      <a:lnTo>
                        <a:pt x="639047" y="1070400"/>
                      </a:lnTo>
                      <a:lnTo>
                        <a:pt x="639326" y="1072489"/>
                      </a:lnTo>
                      <a:lnTo>
                        <a:pt x="639435" y="1073302"/>
                      </a:lnTo>
                      <a:lnTo>
                        <a:pt x="639763" y="1074055"/>
                      </a:lnTo>
                      <a:lnTo>
                        <a:pt x="639872" y="1074322"/>
                      </a:lnTo>
                      <a:lnTo>
                        <a:pt x="640188" y="1074978"/>
                      </a:lnTo>
                      <a:lnTo>
                        <a:pt x="644219" y="1082361"/>
                      </a:lnTo>
                      <a:lnTo>
                        <a:pt x="644377" y="1082652"/>
                      </a:lnTo>
                      <a:lnTo>
                        <a:pt x="644571" y="1082919"/>
                      </a:lnTo>
                      <a:lnTo>
                        <a:pt x="649222" y="1089586"/>
                      </a:lnTo>
                      <a:lnTo>
                        <a:pt x="649538" y="1090448"/>
                      </a:lnTo>
                      <a:lnTo>
                        <a:pt x="649793" y="1092172"/>
                      </a:lnTo>
                      <a:lnTo>
                        <a:pt x="650303" y="1094346"/>
                      </a:lnTo>
                      <a:lnTo>
                        <a:pt x="650971" y="1096981"/>
                      </a:lnTo>
                      <a:lnTo>
                        <a:pt x="653375" y="1098244"/>
                      </a:lnTo>
                      <a:lnTo>
                        <a:pt x="654067" y="1098596"/>
                      </a:lnTo>
                      <a:lnTo>
                        <a:pt x="657492" y="1100381"/>
                      </a:lnTo>
                      <a:lnTo>
                        <a:pt x="660552" y="1098037"/>
                      </a:lnTo>
                      <a:lnTo>
                        <a:pt x="661997" y="1096932"/>
                      </a:lnTo>
                      <a:lnTo>
                        <a:pt x="663102" y="1096095"/>
                      </a:lnTo>
                      <a:lnTo>
                        <a:pt x="663284" y="1095730"/>
                      </a:lnTo>
                      <a:lnTo>
                        <a:pt x="663478" y="1095985"/>
                      </a:lnTo>
                      <a:lnTo>
                        <a:pt x="663757" y="1096264"/>
                      </a:lnTo>
                      <a:lnTo>
                        <a:pt x="665081" y="1097600"/>
                      </a:lnTo>
                      <a:lnTo>
                        <a:pt x="665749" y="1098268"/>
                      </a:lnTo>
                      <a:lnTo>
                        <a:pt x="666587" y="1098717"/>
                      </a:lnTo>
                      <a:lnTo>
                        <a:pt x="668080" y="1099495"/>
                      </a:lnTo>
                      <a:lnTo>
                        <a:pt x="668784" y="1099847"/>
                      </a:lnTo>
                      <a:lnTo>
                        <a:pt x="669549" y="1100029"/>
                      </a:lnTo>
                      <a:lnTo>
                        <a:pt x="671322" y="1100430"/>
                      </a:lnTo>
                      <a:lnTo>
                        <a:pt x="672245" y="1100648"/>
                      </a:lnTo>
                      <a:lnTo>
                        <a:pt x="673192" y="1100563"/>
                      </a:lnTo>
                      <a:lnTo>
                        <a:pt x="675560" y="1100357"/>
                      </a:lnTo>
                      <a:lnTo>
                        <a:pt x="676216" y="1100296"/>
                      </a:lnTo>
                      <a:lnTo>
                        <a:pt x="676847" y="1100102"/>
                      </a:lnTo>
                      <a:lnTo>
                        <a:pt x="678790" y="1099495"/>
                      </a:lnTo>
                      <a:lnTo>
                        <a:pt x="679349" y="1099312"/>
                      </a:lnTo>
                      <a:lnTo>
                        <a:pt x="679859" y="1099045"/>
                      </a:lnTo>
                      <a:lnTo>
                        <a:pt x="682275" y="1097746"/>
                      </a:lnTo>
                      <a:lnTo>
                        <a:pt x="682494" y="1097673"/>
                      </a:lnTo>
                      <a:lnTo>
                        <a:pt x="683052" y="1097722"/>
                      </a:lnTo>
                      <a:lnTo>
                        <a:pt x="684995" y="1098135"/>
                      </a:lnTo>
                      <a:lnTo>
                        <a:pt x="685505" y="1098256"/>
                      </a:lnTo>
                      <a:lnTo>
                        <a:pt x="686027" y="1098280"/>
                      </a:lnTo>
                      <a:lnTo>
                        <a:pt x="689270" y="1098414"/>
                      </a:lnTo>
                      <a:lnTo>
                        <a:pt x="689925" y="1099227"/>
                      </a:lnTo>
                      <a:lnTo>
                        <a:pt x="691176" y="1100782"/>
                      </a:lnTo>
                      <a:lnTo>
                        <a:pt x="693107" y="1101291"/>
                      </a:lnTo>
                      <a:lnTo>
                        <a:pt x="694540" y="1101668"/>
                      </a:lnTo>
                      <a:lnTo>
                        <a:pt x="696118" y="1102081"/>
                      </a:lnTo>
                      <a:lnTo>
                        <a:pt x="697685" y="1101656"/>
                      </a:lnTo>
                      <a:lnTo>
                        <a:pt x="699518" y="1101158"/>
                      </a:lnTo>
                      <a:lnTo>
                        <a:pt x="700453" y="1100903"/>
                      </a:lnTo>
                      <a:lnTo>
                        <a:pt x="701267" y="1100357"/>
                      </a:lnTo>
                      <a:lnTo>
                        <a:pt x="706585" y="1096859"/>
                      </a:lnTo>
                      <a:lnTo>
                        <a:pt x="709427" y="1095767"/>
                      </a:lnTo>
                      <a:lnTo>
                        <a:pt x="710058" y="1095512"/>
                      </a:lnTo>
                      <a:lnTo>
                        <a:pt x="710617" y="1095135"/>
                      </a:lnTo>
                      <a:lnTo>
                        <a:pt x="713908" y="1092925"/>
                      </a:lnTo>
                      <a:lnTo>
                        <a:pt x="721837" y="1096313"/>
                      </a:lnTo>
                      <a:lnTo>
                        <a:pt x="722128" y="1096434"/>
                      </a:lnTo>
                      <a:lnTo>
                        <a:pt x="722432" y="1096531"/>
                      </a:lnTo>
                      <a:lnTo>
                        <a:pt x="725929" y="1097612"/>
                      </a:lnTo>
                      <a:lnTo>
                        <a:pt x="726706" y="1097855"/>
                      </a:lnTo>
                      <a:lnTo>
                        <a:pt x="727520" y="1097891"/>
                      </a:lnTo>
                      <a:lnTo>
                        <a:pt x="731151" y="1098013"/>
                      </a:lnTo>
                      <a:lnTo>
                        <a:pt x="731746" y="1098025"/>
                      </a:lnTo>
                      <a:lnTo>
                        <a:pt x="732341" y="1097928"/>
                      </a:lnTo>
                      <a:lnTo>
                        <a:pt x="735959" y="1097321"/>
                      </a:lnTo>
                      <a:lnTo>
                        <a:pt x="736408" y="1097248"/>
                      </a:lnTo>
                      <a:lnTo>
                        <a:pt x="736846" y="1097102"/>
                      </a:lnTo>
                      <a:lnTo>
                        <a:pt x="759189" y="1089817"/>
                      </a:lnTo>
                      <a:lnTo>
                        <a:pt x="759529" y="1089707"/>
                      </a:lnTo>
                      <a:lnTo>
                        <a:pt x="759844" y="1089549"/>
                      </a:lnTo>
                      <a:lnTo>
                        <a:pt x="770409" y="1084692"/>
                      </a:lnTo>
                      <a:lnTo>
                        <a:pt x="778399" y="1080054"/>
                      </a:lnTo>
                      <a:lnTo>
                        <a:pt x="778739" y="1079847"/>
                      </a:lnTo>
                      <a:lnTo>
                        <a:pt x="779042" y="1079604"/>
                      </a:lnTo>
                      <a:lnTo>
                        <a:pt x="782600" y="1076848"/>
                      </a:lnTo>
                      <a:lnTo>
                        <a:pt x="783013" y="1076532"/>
                      </a:lnTo>
                      <a:lnTo>
                        <a:pt x="783365" y="1076156"/>
                      </a:lnTo>
                      <a:lnTo>
                        <a:pt x="787615" y="1071505"/>
                      </a:lnTo>
                      <a:lnTo>
                        <a:pt x="787858" y="1071238"/>
                      </a:lnTo>
                      <a:lnTo>
                        <a:pt x="788065" y="1070959"/>
                      </a:lnTo>
                      <a:lnTo>
                        <a:pt x="790007" y="1068263"/>
                      </a:lnTo>
                      <a:lnTo>
                        <a:pt x="791647" y="1066636"/>
                      </a:lnTo>
                      <a:lnTo>
                        <a:pt x="793055" y="1065847"/>
                      </a:lnTo>
                      <a:lnTo>
                        <a:pt x="802624" y="1063818"/>
                      </a:lnTo>
                      <a:lnTo>
                        <a:pt x="803012" y="1063734"/>
                      </a:lnTo>
                      <a:lnTo>
                        <a:pt x="803377" y="1063600"/>
                      </a:lnTo>
                      <a:lnTo>
                        <a:pt x="812035" y="1060552"/>
                      </a:lnTo>
                      <a:lnTo>
                        <a:pt x="813723" y="1059957"/>
                      </a:lnTo>
                      <a:lnTo>
                        <a:pt x="814815" y="1058561"/>
                      </a:lnTo>
                      <a:lnTo>
                        <a:pt x="818665" y="1053618"/>
                      </a:lnTo>
                      <a:lnTo>
                        <a:pt x="818726" y="1053570"/>
                      </a:lnTo>
                      <a:lnTo>
                        <a:pt x="818883" y="1053497"/>
                      </a:lnTo>
                      <a:lnTo>
                        <a:pt x="819818" y="1053303"/>
                      </a:lnTo>
                      <a:lnTo>
                        <a:pt x="820426" y="1053254"/>
                      </a:lnTo>
                      <a:lnTo>
                        <a:pt x="823388" y="1053509"/>
                      </a:lnTo>
                      <a:lnTo>
                        <a:pt x="823486" y="1056508"/>
                      </a:lnTo>
                      <a:lnTo>
                        <a:pt x="823522" y="1057735"/>
                      </a:lnTo>
                      <a:lnTo>
                        <a:pt x="824032" y="1058840"/>
                      </a:lnTo>
                      <a:lnTo>
                        <a:pt x="825307" y="1061633"/>
                      </a:lnTo>
                      <a:lnTo>
                        <a:pt x="825781" y="1063151"/>
                      </a:lnTo>
                      <a:lnTo>
                        <a:pt x="826193" y="1066915"/>
                      </a:lnTo>
                      <a:lnTo>
                        <a:pt x="826181" y="1067680"/>
                      </a:lnTo>
                      <a:lnTo>
                        <a:pt x="826048" y="1068068"/>
                      </a:lnTo>
                      <a:lnTo>
                        <a:pt x="825975" y="1068578"/>
                      </a:lnTo>
                      <a:lnTo>
                        <a:pt x="825586" y="1071226"/>
                      </a:lnTo>
                      <a:lnTo>
                        <a:pt x="827213" y="1073752"/>
                      </a:lnTo>
                      <a:lnTo>
                        <a:pt x="828464" y="1075269"/>
                      </a:lnTo>
                      <a:lnTo>
                        <a:pt x="830541" y="1076010"/>
                      </a:lnTo>
                      <a:lnTo>
                        <a:pt x="831294" y="1076217"/>
                      </a:lnTo>
                      <a:lnTo>
                        <a:pt x="831658" y="1076314"/>
                      </a:lnTo>
                      <a:lnTo>
                        <a:pt x="832034" y="1076362"/>
                      </a:lnTo>
                      <a:lnTo>
                        <a:pt x="833066" y="1076508"/>
                      </a:lnTo>
                      <a:lnTo>
                        <a:pt x="833625" y="1076593"/>
                      </a:lnTo>
                      <a:lnTo>
                        <a:pt x="834196" y="1076556"/>
                      </a:lnTo>
                      <a:lnTo>
                        <a:pt x="835908" y="1076472"/>
                      </a:lnTo>
                      <a:lnTo>
                        <a:pt x="836539" y="1076447"/>
                      </a:lnTo>
                      <a:lnTo>
                        <a:pt x="837158" y="1076277"/>
                      </a:lnTo>
                      <a:lnTo>
                        <a:pt x="838774" y="1075852"/>
                      </a:lnTo>
                      <a:lnTo>
                        <a:pt x="839514" y="1075646"/>
                      </a:lnTo>
                      <a:lnTo>
                        <a:pt x="840182" y="1075281"/>
                      </a:lnTo>
                      <a:lnTo>
                        <a:pt x="842368" y="1074055"/>
                      </a:lnTo>
                      <a:lnTo>
                        <a:pt x="842671" y="1073885"/>
                      </a:lnTo>
                      <a:lnTo>
                        <a:pt x="842951" y="1073666"/>
                      </a:lnTo>
                      <a:lnTo>
                        <a:pt x="844177" y="1072792"/>
                      </a:lnTo>
                      <a:lnTo>
                        <a:pt x="844954" y="1072355"/>
                      </a:lnTo>
                      <a:lnTo>
                        <a:pt x="845161" y="1072319"/>
                      </a:lnTo>
                      <a:lnTo>
                        <a:pt x="846569" y="1072489"/>
                      </a:lnTo>
                      <a:lnTo>
                        <a:pt x="847686" y="1072986"/>
                      </a:lnTo>
                      <a:lnTo>
                        <a:pt x="848573" y="1073569"/>
                      </a:lnTo>
                      <a:lnTo>
                        <a:pt x="851803" y="1076411"/>
                      </a:lnTo>
                      <a:lnTo>
                        <a:pt x="852313" y="1076860"/>
                      </a:lnTo>
                      <a:lnTo>
                        <a:pt x="852908" y="1077176"/>
                      </a:lnTo>
                      <a:lnTo>
                        <a:pt x="854231" y="1077904"/>
                      </a:lnTo>
                      <a:lnTo>
                        <a:pt x="854875" y="1078257"/>
                      </a:lnTo>
                      <a:lnTo>
                        <a:pt x="855579" y="1078451"/>
                      </a:lnTo>
                      <a:lnTo>
                        <a:pt x="867795" y="1081717"/>
                      </a:lnTo>
                      <a:lnTo>
                        <a:pt x="868354" y="1081863"/>
                      </a:lnTo>
                      <a:lnTo>
                        <a:pt x="868937" y="1081912"/>
                      </a:lnTo>
                      <a:lnTo>
                        <a:pt x="881990" y="1082810"/>
                      </a:lnTo>
                      <a:lnTo>
                        <a:pt x="882439" y="1082834"/>
                      </a:lnTo>
                      <a:lnTo>
                        <a:pt x="882889" y="1082798"/>
                      </a:lnTo>
                      <a:lnTo>
                        <a:pt x="886617" y="1082506"/>
                      </a:lnTo>
                      <a:lnTo>
                        <a:pt x="887430" y="1082446"/>
                      </a:lnTo>
                      <a:lnTo>
                        <a:pt x="888195" y="1082167"/>
                      </a:lnTo>
                      <a:lnTo>
                        <a:pt x="891583" y="1080940"/>
                      </a:lnTo>
                      <a:lnTo>
                        <a:pt x="902354" y="1079956"/>
                      </a:lnTo>
                      <a:lnTo>
                        <a:pt x="903010" y="1079896"/>
                      </a:lnTo>
                      <a:lnTo>
                        <a:pt x="903641" y="1079689"/>
                      </a:lnTo>
                      <a:lnTo>
                        <a:pt x="910647" y="1077467"/>
                      </a:lnTo>
                      <a:lnTo>
                        <a:pt x="915298" y="1076593"/>
                      </a:lnTo>
                      <a:lnTo>
                        <a:pt x="922001" y="1076022"/>
                      </a:lnTo>
                      <a:lnTo>
                        <a:pt x="922766" y="1075949"/>
                      </a:lnTo>
                      <a:lnTo>
                        <a:pt x="923495" y="1075695"/>
                      </a:lnTo>
                      <a:lnTo>
                        <a:pt x="926021" y="1074796"/>
                      </a:lnTo>
                      <a:lnTo>
                        <a:pt x="927308" y="1074334"/>
                      </a:lnTo>
                      <a:lnTo>
                        <a:pt x="928279" y="1073375"/>
                      </a:lnTo>
                      <a:lnTo>
                        <a:pt x="930453" y="1071189"/>
                      </a:lnTo>
                      <a:lnTo>
                        <a:pt x="931533" y="1070096"/>
                      </a:lnTo>
                      <a:lnTo>
                        <a:pt x="931971" y="1068639"/>
                      </a:lnTo>
                      <a:lnTo>
                        <a:pt x="932541" y="1066745"/>
                      </a:lnTo>
                      <a:lnTo>
                        <a:pt x="932906" y="1065531"/>
                      </a:lnTo>
                      <a:lnTo>
                        <a:pt x="932760" y="1064268"/>
                      </a:lnTo>
                      <a:lnTo>
                        <a:pt x="932529" y="1062471"/>
                      </a:lnTo>
                      <a:lnTo>
                        <a:pt x="932420" y="1061584"/>
                      </a:lnTo>
                      <a:lnTo>
                        <a:pt x="932068" y="1060771"/>
                      </a:lnTo>
                      <a:lnTo>
                        <a:pt x="931740" y="1060018"/>
                      </a:lnTo>
                      <a:lnTo>
                        <a:pt x="932274" y="1059763"/>
                      </a:lnTo>
                      <a:lnTo>
                        <a:pt x="939900" y="1057456"/>
                      </a:lnTo>
                      <a:lnTo>
                        <a:pt x="955394" y="1055683"/>
                      </a:lnTo>
                      <a:lnTo>
                        <a:pt x="955868" y="1055622"/>
                      </a:lnTo>
                      <a:lnTo>
                        <a:pt x="956329" y="1055489"/>
                      </a:lnTo>
                      <a:lnTo>
                        <a:pt x="962765" y="1053715"/>
                      </a:lnTo>
                      <a:lnTo>
                        <a:pt x="972467" y="1050024"/>
                      </a:lnTo>
                      <a:lnTo>
                        <a:pt x="977325" y="1048858"/>
                      </a:lnTo>
                      <a:lnTo>
                        <a:pt x="977677" y="1048773"/>
                      </a:lnTo>
                      <a:lnTo>
                        <a:pt x="978017" y="1048640"/>
                      </a:lnTo>
                      <a:lnTo>
                        <a:pt x="982036" y="1047146"/>
                      </a:lnTo>
                      <a:lnTo>
                        <a:pt x="983044" y="1046770"/>
                      </a:lnTo>
                      <a:lnTo>
                        <a:pt x="983869" y="1046053"/>
                      </a:lnTo>
                      <a:lnTo>
                        <a:pt x="986007" y="1044220"/>
                      </a:lnTo>
                      <a:lnTo>
                        <a:pt x="987209" y="1043188"/>
                      </a:lnTo>
                      <a:lnTo>
                        <a:pt x="987755" y="1041694"/>
                      </a:lnTo>
                      <a:lnTo>
                        <a:pt x="989067" y="1038100"/>
                      </a:lnTo>
                      <a:lnTo>
                        <a:pt x="989285" y="1037505"/>
                      </a:lnTo>
                      <a:lnTo>
                        <a:pt x="989346" y="1037080"/>
                      </a:lnTo>
                      <a:lnTo>
                        <a:pt x="992199" y="1038416"/>
                      </a:lnTo>
                      <a:lnTo>
                        <a:pt x="992637" y="1038622"/>
                      </a:lnTo>
                      <a:lnTo>
                        <a:pt x="993098" y="1038768"/>
                      </a:lnTo>
                      <a:lnTo>
                        <a:pt x="995624" y="1039508"/>
                      </a:lnTo>
                      <a:lnTo>
                        <a:pt x="995952" y="1039605"/>
                      </a:lnTo>
                      <a:lnTo>
                        <a:pt x="996292" y="1039666"/>
                      </a:lnTo>
                      <a:lnTo>
                        <a:pt x="1000651" y="1040419"/>
                      </a:lnTo>
                      <a:lnTo>
                        <a:pt x="1001246" y="1040516"/>
                      </a:lnTo>
                      <a:lnTo>
                        <a:pt x="1001841" y="1040504"/>
                      </a:lnTo>
                      <a:lnTo>
                        <a:pt x="1008422" y="1040322"/>
                      </a:lnTo>
                      <a:lnTo>
                        <a:pt x="1011045" y="1040613"/>
                      </a:lnTo>
                      <a:lnTo>
                        <a:pt x="1011592" y="1040674"/>
                      </a:lnTo>
                      <a:lnTo>
                        <a:pt x="1012150" y="1040638"/>
                      </a:lnTo>
                      <a:lnTo>
                        <a:pt x="1014324" y="1040480"/>
                      </a:lnTo>
                      <a:lnTo>
                        <a:pt x="1016121" y="1040565"/>
                      </a:lnTo>
                      <a:lnTo>
                        <a:pt x="1017773" y="1040905"/>
                      </a:lnTo>
                      <a:lnTo>
                        <a:pt x="1025155" y="1043540"/>
                      </a:lnTo>
                      <a:lnTo>
                        <a:pt x="1025969" y="1044013"/>
                      </a:lnTo>
                      <a:lnTo>
                        <a:pt x="1027463" y="1047061"/>
                      </a:lnTo>
                      <a:lnTo>
                        <a:pt x="1028240" y="1048652"/>
                      </a:lnTo>
                      <a:lnTo>
                        <a:pt x="1029745" y="1049563"/>
                      </a:lnTo>
                      <a:lnTo>
                        <a:pt x="1033947" y="1052149"/>
                      </a:lnTo>
                      <a:lnTo>
                        <a:pt x="1034238" y="1053715"/>
                      </a:lnTo>
                      <a:lnTo>
                        <a:pt x="1034323" y="1054177"/>
                      </a:lnTo>
                      <a:lnTo>
                        <a:pt x="1034481" y="1054614"/>
                      </a:lnTo>
                      <a:lnTo>
                        <a:pt x="1034943" y="1055901"/>
                      </a:lnTo>
                      <a:lnTo>
                        <a:pt x="1035149" y="1056472"/>
                      </a:lnTo>
                      <a:lnTo>
                        <a:pt x="1035453" y="1056982"/>
                      </a:lnTo>
                      <a:lnTo>
                        <a:pt x="1035878" y="1057698"/>
                      </a:lnTo>
                      <a:lnTo>
                        <a:pt x="1036145" y="1058342"/>
                      </a:lnTo>
                      <a:lnTo>
                        <a:pt x="1036339" y="1059107"/>
                      </a:lnTo>
                      <a:lnTo>
                        <a:pt x="1036813" y="1062774"/>
                      </a:lnTo>
                      <a:lnTo>
                        <a:pt x="1036970" y="1063940"/>
                      </a:lnTo>
                      <a:lnTo>
                        <a:pt x="1037541" y="1064948"/>
                      </a:lnTo>
                      <a:lnTo>
                        <a:pt x="1038343" y="1066381"/>
                      </a:lnTo>
                      <a:lnTo>
                        <a:pt x="1039363" y="1068214"/>
                      </a:lnTo>
                      <a:lnTo>
                        <a:pt x="1041306" y="1069016"/>
                      </a:lnTo>
                      <a:lnTo>
                        <a:pt x="1043090" y="1069769"/>
                      </a:lnTo>
                      <a:lnTo>
                        <a:pt x="1044487" y="1070363"/>
                      </a:lnTo>
                      <a:lnTo>
                        <a:pt x="1045993" y="1070218"/>
                      </a:lnTo>
                      <a:lnTo>
                        <a:pt x="1048166" y="1070011"/>
                      </a:lnTo>
                      <a:lnTo>
                        <a:pt x="1048871" y="1069938"/>
                      </a:lnTo>
                      <a:lnTo>
                        <a:pt x="1049538" y="1069720"/>
                      </a:lnTo>
                      <a:lnTo>
                        <a:pt x="1053910" y="1068263"/>
                      </a:lnTo>
                      <a:lnTo>
                        <a:pt x="1054578" y="1068032"/>
                      </a:lnTo>
                      <a:lnTo>
                        <a:pt x="1055173" y="1067668"/>
                      </a:lnTo>
                      <a:lnTo>
                        <a:pt x="1057747" y="1066077"/>
                      </a:lnTo>
                      <a:lnTo>
                        <a:pt x="1058111" y="1065847"/>
                      </a:lnTo>
                      <a:lnTo>
                        <a:pt x="1058439" y="1065579"/>
                      </a:lnTo>
                      <a:lnTo>
                        <a:pt x="1061791" y="1062799"/>
                      </a:lnTo>
                      <a:lnTo>
                        <a:pt x="1064207" y="1061220"/>
                      </a:lnTo>
                      <a:lnTo>
                        <a:pt x="1064851" y="1060965"/>
                      </a:lnTo>
                      <a:lnTo>
                        <a:pt x="1065737" y="1060843"/>
                      </a:lnTo>
                      <a:lnTo>
                        <a:pt x="1071044" y="1061353"/>
                      </a:lnTo>
                      <a:lnTo>
                        <a:pt x="1071930" y="1061439"/>
                      </a:lnTo>
                      <a:lnTo>
                        <a:pt x="1072804" y="1061256"/>
                      </a:lnTo>
                      <a:lnTo>
                        <a:pt x="1082057" y="1059447"/>
                      </a:lnTo>
                      <a:lnTo>
                        <a:pt x="1084935" y="1059714"/>
                      </a:lnTo>
                      <a:lnTo>
                        <a:pt x="1086902" y="1060224"/>
                      </a:lnTo>
                      <a:lnTo>
                        <a:pt x="1087971" y="1060831"/>
                      </a:lnTo>
                      <a:lnTo>
                        <a:pt x="1088481" y="1061475"/>
                      </a:lnTo>
                      <a:lnTo>
                        <a:pt x="1089380" y="1063284"/>
                      </a:lnTo>
                      <a:lnTo>
                        <a:pt x="1090205" y="1065494"/>
                      </a:lnTo>
                      <a:lnTo>
                        <a:pt x="1090460" y="1066138"/>
                      </a:lnTo>
                      <a:lnTo>
                        <a:pt x="1090849" y="1066708"/>
                      </a:lnTo>
                      <a:lnTo>
                        <a:pt x="1092039" y="1068469"/>
                      </a:lnTo>
                      <a:lnTo>
                        <a:pt x="1092840" y="1069659"/>
                      </a:lnTo>
                      <a:lnTo>
                        <a:pt x="1094103" y="1070376"/>
                      </a:lnTo>
                      <a:lnTo>
                        <a:pt x="1095840" y="1071347"/>
                      </a:lnTo>
                      <a:lnTo>
                        <a:pt x="1096957" y="1071967"/>
                      </a:lnTo>
                      <a:lnTo>
                        <a:pt x="1098220" y="1072100"/>
                      </a:lnTo>
                      <a:lnTo>
                        <a:pt x="1100563" y="1072331"/>
                      </a:lnTo>
                      <a:lnTo>
                        <a:pt x="1101073" y="1072379"/>
                      </a:lnTo>
                      <a:lnTo>
                        <a:pt x="1101583" y="1072343"/>
                      </a:lnTo>
                      <a:lnTo>
                        <a:pt x="1104983" y="1072088"/>
                      </a:lnTo>
                      <a:lnTo>
                        <a:pt x="1105323" y="1072064"/>
                      </a:lnTo>
                      <a:lnTo>
                        <a:pt x="1105663" y="1071991"/>
                      </a:lnTo>
                      <a:lnTo>
                        <a:pt x="1108699" y="1071420"/>
                      </a:lnTo>
                      <a:lnTo>
                        <a:pt x="1109051" y="1071359"/>
                      </a:lnTo>
                      <a:lnTo>
                        <a:pt x="1109403" y="1071238"/>
                      </a:lnTo>
                      <a:lnTo>
                        <a:pt x="1112973" y="1070108"/>
                      </a:lnTo>
                      <a:lnTo>
                        <a:pt x="1113848" y="1069841"/>
                      </a:lnTo>
                      <a:lnTo>
                        <a:pt x="1114600" y="1069319"/>
                      </a:lnTo>
                      <a:lnTo>
                        <a:pt x="1115802" y="1068494"/>
                      </a:lnTo>
                      <a:lnTo>
                        <a:pt x="1116373" y="1068105"/>
                      </a:lnTo>
                      <a:lnTo>
                        <a:pt x="1116847" y="1067595"/>
                      </a:lnTo>
                      <a:lnTo>
                        <a:pt x="1117575" y="1066806"/>
                      </a:lnTo>
                      <a:lnTo>
                        <a:pt x="1117709" y="1066781"/>
                      </a:lnTo>
                      <a:lnTo>
                        <a:pt x="1118219" y="1066708"/>
                      </a:lnTo>
                      <a:lnTo>
                        <a:pt x="1118705" y="1066538"/>
                      </a:lnTo>
                      <a:lnTo>
                        <a:pt x="1119105" y="1066405"/>
                      </a:lnTo>
                      <a:lnTo>
                        <a:pt x="1120113" y="1067000"/>
                      </a:lnTo>
                      <a:lnTo>
                        <a:pt x="1121036" y="1067546"/>
                      </a:lnTo>
                      <a:lnTo>
                        <a:pt x="1122177" y="1068226"/>
                      </a:lnTo>
                      <a:lnTo>
                        <a:pt x="1123489" y="1068372"/>
                      </a:lnTo>
                      <a:lnTo>
                        <a:pt x="1124473" y="1068481"/>
                      </a:lnTo>
                      <a:lnTo>
                        <a:pt x="1124910" y="1068530"/>
                      </a:lnTo>
                      <a:lnTo>
                        <a:pt x="1125347" y="1068518"/>
                      </a:lnTo>
                      <a:lnTo>
                        <a:pt x="1128213" y="1068409"/>
                      </a:lnTo>
                      <a:lnTo>
                        <a:pt x="1129063" y="1068372"/>
                      </a:lnTo>
                      <a:lnTo>
                        <a:pt x="1129864" y="1068117"/>
                      </a:lnTo>
                      <a:lnTo>
                        <a:pt x="1143938" y="1063552"/>
                      </a:lnTo>
                      <a:lnTo>
                        <a:pt x="1146633" y="1062677"/>
                      </a:lnTo>
                      <a:lnTo>
                        <a:pt x="1147690" y="1060054"/>
                      </a:lnTo>
                      <a:lnTo>
                        <a:pt x="1148588" y="1057832"/>
                      </a:lnTo>
                      <a:lnTo>
                        <a:pt x="1149985" y="1056897"/>
                      </a:lnTo>
                      <a:lnTo>
                        <a:pt x="1159639" y="1053825"/>
                      </a:lnTo>
                      <a:lnTo>
                        <a:pt x="1160161" y="1053655"/>
                      </a:lnTo>
                      <a:lnTo>
                        <a:pt x="1160646" y="1053400"/>
                      </a:lnTo>
                      <a:lnTo>
                        <a:pt x="1162176" y="1052586"/>
                      </a:lnTo>
                      <a:lnTo>
                        <a:pt x="1170142" y="1057893"/>
                      </a:lnTo>
                      <a:lnTo>
                        <a:pt x="1170555" y="1058172"/>
                      </a:lnTo>
                      <a:lnTo>
                        <a:pt x="1171016" y="1058378"/>
                      </a:lnTo>
                      <a:lnTo>
                        <a:pt x="1176311" y="1060759"/>
                      </a:lnTo>
                      <a:lnTo>
                        <a:pt x="1177112" y="1061111"/>
                      </a:lnTo>
                      <a:lnTo>
                        <a:pt x="1177987" y="1061232"/>
                      </a:lnTo>
                      <a:lnTo>
                        <a:pt x="1180937" y="1061633"/>
                      </a:lnTo>
                      <a:lnTo>
                        <a:pt x="1181047" y="1062592"/>
                      </a:lnTo>
                      <a:lnTo>
                        <a:pt x="1181107" y="1063175"/>
                      </a:lnTo>
                      <a:lnTo>
                        <a:pt x="1181289" y="1063734"/>
                      </a:lnTo>
                      <a:lnTo>
                        <a:pt x="1181909" y="1065652"/>
                      </a:lnTo>
                      <a:lnTo>
                        <a:pt x="1182285" y="1066806"/>
                      </a:lnTo>
                      <a:lnTo>
                        <a:pt x="1183074" y="1067729"/>
                      </a:lnTo>
                      <a:lnTo>
                        <a:pt x="1185673" y="1070764"/>
                      </a:lnTo>
                      <a:lnTo>
                        <a:pt x="1186183" y="1071371"/>
                      </a:lnTo>
                      <a:lnTo>
                        <a:pt x="1186851" y="1071821"/>
                      </a:lnTo>
                      <a:lnTo>
                        <a:pt x="1196019" y="1078123"/>
                      </a:lnTo>
                      <a:lnTo>
                        <a:pt x="1198047" y="1079896"/>
                      </a:lnTo>
                      <a:lnTo>
                        <a:pt x="1198800" y="1080879"/>
                      </a:lnTo>
                      <a:lnTo>
                        <a:pt x="1198921" y="1081232"/>
                      </a:lnTo>
                      <a:lnTo>
                        <a:pt x="1199055" y="1081899"/>
                      </a:lnTo>
                      <a:lnTo>
                        <a:pt x="1196711" y="1084377"/>
                      </a:lnTo>
                      <a:lnTo>
                        <a:pt x="1195618" y="1085542"/>
                      </a:lnTo>
                      <a:lnTo>
                        <a:pt x="1195229" y="1087084"/>
                      </a:lnTo>
                      <a:lnTo>
                        <a:pt x="1194889" y="1088457"/>
                      </a:lnTo>
                      <a:lnTo>
                        <a:pt x="1194525" y="1089914"/>
                      </a:lnTo>
                      <a:lnTo>
                        <a:pt x="1194889" y="1091371"/>
                      </a:lnTo>
                      <a:lnTo>
                        <a:pt x="1195290" y="1093010"/>
                      </a:lnTo>
                      <a:lnTo>
                        <a:pt x="1195800" y="1095099"/>
                      </a:lnTo>
                      <a:lnTo>
                        <a:pt x="1197500" y="1096386"/>
                      </a:lnTo>
                      <a:lnTo>
                        <a:pt x="1198824" y="1097394"/>
                      </a:lnTo>
                      <a:lnTo>
                        <a:pt x="1199625" y="1098001"/>
                      </a:lnTo>
                      <a:lnTo>
                        <a:pt x="1200572" y="1098317"/>
                      </a:lnTo>
                      <a:lnTo>
                        <a:pt x="1201944" y="1098778"/>
                      </a:lnTo>
                      <a:lnTo>
                        <a:pt x="1202964" y="1099118"/>
                      </a:lnTo>
                      <a:lnTo>
                        <a:pt x="1204045" y="1099094"/>
                      </a:lnTo>
                      <a:lnTo>
                        <a:pt x="1206061" y="1099033"/>
                      </a:lnTo>
                      <a:lnTo>
                        <a:pt x="1206474" y="1099021"/>
                      </a:lnTo>
                      <a:lnTo>
                        <a:pt x="1206875" y="1098948"/>
                      </a:lnTo>
                      <a:lnTo>
                        <a:pt x="1208599" y="1098669"/>
                      </a:lnTo>
                      <a:lnTo>
                        <a:pt x="1209036" y="1098596"/>
                      </a:lnTo>
                      <a:lnTo>
                        <a:pt x="1209449" y="1098463"/>
                      </a:lnTo>
                      <a:lnTo>
                        <a:pt x="1214160" y="1096957"/>
                      </a:lnTo>
                      <a:lnTo>
                        <a:pt x="1214767" y="1096835"/>
                      </a:lnTo>
                      <a:lnTo>
                        <a:pt x="1215338" y="1096835"/>
                      </a:lnTo>
                      <a:lnTo>
                        <a:pt x="1216237" y="1096981"/>
                      </a:lnTo>
                      <a:lnTo>
                        <a:pt x="1218592" y="1097867"/>
                      </a:lnTo>
                      <a:lnTo>
                        <a:pt x="1238604" y="1110034"/>
                      </a:lnTo>
                      <a:lnTo>
                        <a:pt x="1239029" y="1110290"/>
                      </a:lnTo>
                      <a:lnTo>
                        <a:pt x="1239491" y="1110484"/>
                      </a:lnTo>
                      <a:lnTo>
                        <a:pt x="1242077" y="1111528"/>
                      </a:lnTo>
                      <a:lnTo>
                        <a:pt x="1243534" y="1112111"/>
                      </a:lnTo>
                      <a:lnTo>
                        <a:pt x="1245088" y="1111917"/>
                      </a:lnTo>
                      <a:lnTo>
                        <a:pt x="1246533" y="1111735"/>
                      </a:lnTo>
                      <a:lnTo>
                        <a:pt x="1247238" y="1111650"/>
                      </a:lnTo>
                      <a:lnTo>
                        <a:pt x="1247905" y="1111394"/>
                      </a:lnTo>
                      <a:lnTo>
                        <a:pt x="1248986" y="1110994"/>
                      </a:lnTo>
                      <a:lnTo>
                        <a:pt x="1249581" y="1110763"/>
                      </a:lnTo>
                      <a:lnTo>
                        <a:pt x="1250116" y="1110435"/>
                      </a:lnTo>
                      <a:lnTo>
                        <a:pt x="1251038" y="1109852"/>
                      </a:lnTo>
                      <a:lnTo>
                        <a:pt x="1251293" y="1109682"/>
                      </a:lnTo>
                      <a:lnTo>
                        <a:pt x="1251536" y="1109488"/>
                      </a:lnTo>
                      <a:lnTo>
                        <a:pt x="1254147" y="1107436"/>
                      </a:lnTo>
                      <a:lnTo>
                        <a:pt x="1256090" y="1106853"/>
                      </a:lnTo>
                      <a:lnTo>
                        <a:pt x="1258943" y="1106003"/>
                      </a:lnTo>
                      <a:lnTo>
                        <a:pt x="1260000" y="1103223"/>
                      </a:lnTo>
                      <a:lnTo>
                        <a:pt x="1263570" y="1093884"/>
                      </a:lnTo>
                      <a:lnTo>
                        <a:pt x="1263740" y="1093447"/>
                      </a:lnTo>
                      <a:lnTo>
                        <a:pt x="1263837" y="1092974"/>
                      </a:lnTo>
                      <a:lnTo>
                        <a:pt x="1265233" y="1086392"/>
                      </a:lnTo>
                      <a:lnTo>
                        <a:pt x="1267941" y="1079228"/>
                      </a:lnTo>
                      <a:lnTo>
                        <a:pt x="1268196" y="1078523"/>
                      </a:lnTo>
                      <a:lnTo>
                        <a:pt x="1268281" y="1077783"/>
                      </a:lnTo>
                      <a:lnTo>
                        <a:pt x="1268852" y="1072926"/>
                      </a:lnTo>
                      <a:lnTo>
                        <a:pt x="1268913" y="1072343"/>
                      </a:lnTo>
                      <a:lnTo>
                        <a:pt x="1268876" y="1071772"/>
                      </a:lnTo>
                      <a:lnTo>
                        <a:pt x="1267662" y="1055294"/>
                      </a:lnTo>
                      <a:lnTo>
                        <a:pt x="1268111" y="1052671"/>
                      </a:lnTo>
                      <a:lnTo>
                        <a:pt x="1268682" y="1050656"/>
                      </a:lnTo>
                      <a:lnTo>
                        <a:pt x="1268840" y="1050060"/>
                      </a:lnTo>
                      <a:lnTo>
                        <a:pt x="1268876" y="1049429"/>
                      </a:lnTo>
                      <a:lnTo>
                        <a:pt x="1269981" y="1030875"/>
                      </a:lnTo>
                      <a:lnTo>
                        <a:pt x="1271111" y="1027487"/>
                      </a:lnTo>
                      <a:lnTo>
                        <a:pt x="1271451" y="1027123"/>
                      </a:lnTo>
                      <a:lnTo>
                        <a:pt x="1275579" y="1026515"/>
                      </a:lnTo>
                      <a:lnTo>
                        <a:pt x="1277170" y="1026273"/>
                      </a:lnTo>
                      <a:lnTo>
                        <a:pt x="1278433" y="1025277"/>
                      </a:lnTo>
                      <a:lnTo>
                        <a:pt x="1281724" y="1022703"/>
                      </a:lnTo>
                      <a:lnTo>
                        <a:pt x="1282695" y="1021950"/>
                      </a:lnTo>
                      <a:lnTo>
                        <a:pt x="1283290" y="1020869"/>
                      </a:lnTo>
                      <a:lnTo>
                        <a:pt x="1286387" y="1015271"/>
                      </a:lnTo>
                      <a:lnTo>
                        <a:pt x="1286629" y="1014834"/>
                      </a:lnTo>
                      <a:lnTo>
                        <a:pt x="1286799" y="1014372"/>
                      </a:lnTo>
                      <a:lnTo>
                        <a:pt x="1289835" y="1005836"/>
                      </a:lnTo>
                      <a:lnTo>
                        <a:pt x="1290260" y="1004622"/>
                      </a:lnTo>
                      <a:lnTo>
                        <a:pt x="1290163" y="1003347"/>
                      </a:lnTo>
                      <a:lnTo>
                        <a:pt x="1289276" y="991568"/>
                      </a:lnTo>
                      <a:lnTo>
                        <a:pt x="1289616" y="984282"/>
                      </a:lnTo>
                      <a:lnTo>
                        <a:pt x="1290940" y="980202"/>
                      </a:lnTo>
                      <a:lnTo>
                        <a:pt x="1298262" y="965193"/>
                      </a:lnTo>
                      <a:lnTo>
                        <a:pt x="1301007" y="960822"/>
                      </a:lnTo>
                      <a:lnTo>
                        <a:pt x="1301347" y="960543"/>
                      </a:lnTo>
                      <a:lnTo>
                        <a:pt x="1305281" y="966493"/>
                      </a:lnTo>
                      <a:lnTo>
                        <a:pt x="1306216" y="967901"/>
                      </a:lnTo>
                      <a:lnTo>
                        <a:pt x="1307734" y="968630"/>
                      </a:lnTo>
                      <a:lnTo>
                        <a:pt x="1309179" y="969322"/>
                      </a:lnTo>
                      <a:lnTo>
                        <a:pt x="1311425" y="970391"/>
                      </a:lnTo>
                      <a:lnTo>
                        <a:pt x="1313769" y="969589"/>
                      </a:lnTo>
                      <a:lnTo>
                        <a:pt x="1315250" y="969079"/>
                      </a:lnTo>
                      <a:lnTo>
                        <a:pt x="1316999" y="968472"/>
                      </a:lnTo>
                      <a:lnTo>
                        <a:pt x="1318116" y="967003"/>
                      </a:lnTo>
                      <a:lnTo>
                        <a:pt x="1319792" y="964781"/>
                      </a:lnTo>
                      <a:lnTo>
                        <a:pt x="1320897" y="963311"/>
                      </a:lnTo>
                      <a:lnTo>
                        <a:pt x="1321006" y="961490"/>
                      </a:lnTo>
                      <a:lnTo>
                        <a:pt x="1321176" y="958624"/>
                      </a:lnTo>
                      <a:lnTo>
                        <a:pt x="1321249" y="957422"/>
                      </a:lnTo>
                      <a:lnTo>
                        <a:pt x="1320872" y="956293"/>
                      </a:lnTo>
                      <a:lnTo>
                        <a:pt x="1320022" y="953779"/>
                      </a:lnTo>
                      <a:lnTo>
                        <a:pt x="1321164" y="952941"/>
                      </a:lnTo>
                      <a:lnTo>
                        <a:pt x="1322572" y="951897"/>
                      </a:lnTo>
                      <a:lnTo>
                        <a:pt x="1323204" y="950258"/>
                      </a:lnTo>
                      <a:lnTo>
                        <a:pt x="1324066" y="947999"/>
                      </a:lnTo>
                      <a:lnTo>
                        <a:pt x="1324418" y="947088"/>
                      </a:lnTo>
                      <a:lnTo>
                        <a:pt x="1324467" y="946117"/>
                      </a:lnTo>
                      <a:lnTo>
                        <a:pt x="1324928" y="936731"/>
                      </a:lnTo>
                      <a:lnTo>
                        <a:pt x="1325535" y="935273"/>
                      </a:lnTo>
                      <a:lnTo>
                        <a:pt x="1327090" y="933403"/>
                      </a:lnTo>
                      <a:lnTo>
                        <a:pt x="1328098" y="932553"/>
                      </a:lnTo>
                      <a:lnTo>
                        <a:pt x="1335456" y="928279"/>
                      </a:lnTo>
                      <a:lnTo>
                        <a:pt x="1336816" y="927490"/>
                      </a:lnTo>
                      <a:lnTo>
                        <a:pt x="1337618" y="926142"/>
                      </a:lnTo>
                      <a:lnTo>
                        <a:pt x="1342050" y="918686"/>
                      </a:lnTo>
                      <a:lnTo>
                        <a:pt x="1342608" y="917751"/>
                      </a:lnTo>
                      <a:lnTo>
                        <a:pt x="1342803" y="916683"/>
                      </a:lnTo>
                      <a:lnTo>
                        <a:pt x="1343422" y="913282"/>
                      </a:lnTo>
                      <a:lnTo>
                        <a:pt x="1343446" y="912942"/>
                      </a:lnTo>
                      <a:lnTo>
                        <a:pt x="1343471" y="912602"/>
                      </a:lnTo>
                      <a:lnTo>
                        <a:pt x="1343823" y="907527"/>
                      </a:lnTo>
                      <a:lnTo>
                        <a:pt x="1343859" y="906968"/>
                      </a:lnTo>
                      <a:lnTo>
                        <a:pt x="1343798" y="906410"/>
                      </a:lnTo>
                      <a:lnTo>
                        <a:pt x="1343228" y="901480"/>
                      </a:lnTo>
                      <a:lnTo>
                        <a:pt x="1343495" y="895894"/>
                      </a:lnTo>
                      <a:lnTo>
                        <a:pt x="1344430" y="893210"/>
                      </a:lnTo>
                      <a:lnTo>
                        <a:pt x="1348826" y="887442"/>
                      </a:lnTo>
                      <a:lnTo>
                        <a:pt x="1349263" y="888729"/>
                      </a:lnTo>
                      <a:lnTo>
                        <a:pt x="1351400" y="889859"/>
                      </a:lnTo>
                      <a:lnTo>
                        <a:pt x="1353282" y="890854"/>
                      </a:lnTo>
                      <a:lnTo>
                        <a:pt x="1353986" y="891231"/>
                      </a:lnTo>
                      <a:lnTo>
                        <a:pt x="1354763" y="891413"/>
                      </a:lnTo>
                      <a:lnTo>
                        <a:pt x="1357192" y="891972"/>
                      </a:lnTo>
                      <a:lnTo>
                        <a:pt x="1359171" y="892433"/>
                      </a:lnTo>
                      <a:lnTo>
                        <a:pt x="1361029" y="891595"/>
                      </a:lnTo>
                      <a:lnTo>
                        <a:pt x="1365388" y="889640"/>
                      </a:lnTo>
                      <a:lnTo>
                        <a:pt x="1366190" y="889288"/>
                      </a:lnTo>
                      <a:lnTo>
                        <a:pt x="1366858" y="888717"/>
                      </a:lnTo>
                      <a:lnTo>
                        <a:pt x="1369493" y="886459"/>
                      </a:lnTo>
                      <a:lnTo>
                        <a:pt x="1370719" y="886058"/>
                      </a:lnTo>
                      <a:lnTo>
                        <a:pt x="1375321" y="885475"/>
                      </a:lnTo>
                      <a:lnTo>
                        <a:pt x="1377094" y="885244"/>
                      </a:lnTo>
                      <a:lnTo>
                        <a:pt x="1378454" y="884103"/>
                      </a:lnTo>
                      <a:lnTo>
                        <a:pt x="1381089" y="881905"/>
                      </a:lnTo>
                      <a:lnTo>
                        <a:pt x="1381563" y="882403"/>
                      </a:lnTo>
                      <a:lnTo>
                        <a:pt x="1384769" y="888195"/>
                      </a:lnTo>
                      <a:lnTo>
                        <a:pt x="1385364" y="889276"/>
                      </a:lnTo>
                      <a:lnTo>
                        <a:pt x="1386335" y="890029"/>
                      </a:lnTo>
                      <a:lnTo>
                        <a:pt x="1389091" y="892190"/>
                      </a:lnTo>
                      <a:lnTo>
                        <a:pt x="1391314" y="893939"/>
                      </a:lnTo>
                      <a:lnTo>
                        <a:pt x="1394082" y="893356"/>
                      </a:lnTo>
                      <a:lnTo>
                        <a:pt x="1396778" y="892785"/>
                      </a:lnTo>
                      <a:lnTo>
                        <a:pt x="1397834" y="892554"/>
                      </a:lnTo>
                      <a:lnTo>
                        <a:pt x="1398757" y="891984"/>
                      </a:lnTo>
                      <a:lnTo>
                        <a:pt x="1401744" y="890114"/>
                      </a:lnTo>
                      <a:lnTo>
                        <a:pt x="1402461" y="889664"/>
                      </a:lnTo>
                      <a:lnTo>
                        <a:pt x="1403032" y="889033"/>
                      </a:lnTo>
                      <a:lnTo>
                        <a:pt x="1404574" y="887309"/>
                      </a:lnTo>
                      <a:lnTo>
                        <a:pt x="1407282" y="885718"/>
                      </a:lnTo>
                      <a:lnTo>
                        <a:pt x="1407549" y="885560"/>
                      </a:lnTo>
                      <a:lnTo>
                        <a:pt x="1407792" y="885378"/>
                      </a:lnTo>
                      <a:lnTo>
                        <a:pt x="1410257" y="883569"/>
                      </a:lnTo>
                      <a:lnTo>
                        <a:pt x="1410645" y="883289"/>
                      </a:lnTo>
                      <a:lnTo>
                        <a:pt x="1410985" y="882949"/>
                      </a:lnTo>
                      <a:lnTo>
                        <a:pt x="1414519" y="879392"/>
                      </a:lnTo>
                      <a:lnTo>
                        <a:pt x="1418101" y="876854"/>
                      </a:lnTo>
                      <a:lnTo>
                        <a:pt x="1420505" y="876404"/>
                      </a:lnTo>
                      <a:lnTo>
                        <a:pt x="1421137" y="876295"/>
                      </a:lnTo>
                      <a:lnTo>
                        <a:pt x="1421732" y="876040"/>
                      </a:lnTo>
                      <a:lnTo>
                        <a:pt x="1424464" y="874911"/>
                      </a:lnTo>
                      <a:lnTo>
                        <a:pt x="1428362" y="874437"/>
                      </a:lnTo>
                      <a:lnTo>
                        <a:pt x="1429090" y="874352"/>
                      </a:lnTo>
                      <a:lnTo>
                        <a:pt x="1429782" y="874097"/>
                      </a:lnTo>
                      <a:lnTo>
                        <a:pt x="1433680" y="872628"/>
                      </a:lnTo>
                      <a:lnTo>
                        <a:pt x="1434118" y="872458"/>
                      </a:lnTo>
                      <a:lnTo>
                        <a:pt x="1434530" y="872227"/>
                      </a:lnTo>
                      <a:lnTo>
                        <a:pt x="1437918" y="870309"/>
                      </a:lnTo>
                      <a:lnTo>
                        <a:pt x="1439218" y="869568"/>
                      </a:lnTo>
                      <a:lnTo>
                        <a:pt x="1440019" y="868305"/>
                      </a:lnTo>
                      <a:lnTo>
                        <a:pt x="1441282" y="866350"/>
                      </a:lnTo>
                      <a:lnTo>
                        <a:pt x="1442107" y="865075"/>
                      </a:lnTo>
                      <a:lnTo>
                        <a:pt x="1442229" y="863557"/>
                      </a:lnTo>
                      <a:lnTo>
                        <a:pt x="1442411" y="861323"/>
                      </a:lnTo>
                      <a:lnTo>
                        <a:pt x="1442836" y="859878"/>
                      </a:lnTo>
                      <a:lnTo>
                        <a:pt x="1444318" y="857959"/>
                      </a:lnTo>
                      <a:lnTo>
                        <a:pt x="1453243" y="851778"/>
                      </a:lnTo>
                      <a:lnTo>
                        <a:pt x="1456448" y="851232"/>
                      </a:lnTo>
                      <a:lnTo>
                        <a:pt x="1458173" y="850941"/>
                      </a:lnTo>
                      <a:lnTo>
                        <a:pt x="1459472" y="849775"/>
                      </a:lnTo>
                      <a:lnTo>
                        <a:pt x="1462289" y="847249"/>
                      </a:lnTo>
                      <a:lnTo>
                        <a:pt x="1464268" y="845476"/>
                      </a:lnTo>
                      <a:lnTo>
                        <a:pt x="1464305" y="842817"/>
                      </a:lnTo>
                      <a:lnTo>
                        <a:pt x="1464353" y="839198"/>
                      </a:lnTo>
                      <a:lnTo>
                        <a:pt x="1464366" y="838336"/>
                      </a:lnTo>
                      <a:lnTo>
                        <a:pt x="1464135" y="837498"/>
                      </a:lnTo>
                      <a:lnTo>
                        <a:pt x="1463321" y="834536"/>
                      </a:lnTo>
                      <a:lnTo>
                        <a:pt x="1463333" y="834341"/>
                      </a:lnTo>
                      <a:lnTo>
                        <a:pt x="1463394" y="834232"/>
                      </a:lnTo>
                      <a:lnTo>
                        <a:pt x="1466333" y="830796"/>
                      </a:lnTo>
                      <a:lnTo>
                        <a:pt x="1467875" y="828986"/>
                      </a:lnTo>
                      <a:lnTo>
                        <a:pt x="1467778" y="826606"/>
                      </a:lnTo>
                      <a:lnTo>
                        <a:pt x="1467498" y="819393"/>
                      </a:lnTo>
                      <a:lnTo>
                        <a:pt x="1467486" y="818908"/>
                      </a:lnTo>
                      <a:lnTo>
                        <a:pt x="1467389" y="818434"/>
                      </a:lnTo>
                      <a:lnTo>
                        <a:pt x="1466308" y="812982"/>
                      </a:lnTo>
                      <a:lnTo>
                        <a:pt x="1466563" y="810505"/>
                      </a:lnTo>
                      <a:lnTo>
                        <a:pt x="1466867" y="809910"/>
                      </a:lnTo>
                      <a:lnTo>
                        <a:pt x="1468093" y="809302"/>
                      </a:lnTo>
                      <a:lnTo>
                        <a:pt x="1474821" y="807311"/>
                      </a:lnTo>
                      <a:lnTo>
                        <a:pt x="1475258" y="807177"/>
                      </a:lnTo>
                      <a:lnTo>
                        <a:pt x="1475671" y="806983"/>
                      </a:lnTo>
                      <a:lnTo>
                        <a:pt x="1479350" y="805259"/>
                      </a:lnTo>
                      <a:lnTo>
                        <a:pt x="1480018" y="804955"/>
                      </a:lnTo>
                      <a:lnTo>
                        <a:pt x="1480576" y="804494"/>
                      </a:lnTo>
                      <a:lnTo>
                        <a:pt x="1488275" y="798313"/>
                      </a:lnTo>
                      <a:lnTo>
                        <a:pt x="1488566" y="798082"/>
                      </a:lnTo>
                      <a:lnTo>
                        <a:pt x="1488821" y="797827"/>
                      </a:lnTo>
                      <a:lnTo>
                        <a:pt x="1495196" y="791282"/>
                      </a:lnTo>
                      <a:lnTo>
                        <a:pt x="1496386" y="790068"/>
                      </a:lnTo>
                      <a:lnTo>
                        <a:pt x="1496775" y="788405"/>
                      </a:lnTo>
                      <a:lnTo>
                        <a:pt x="1497564" y="784992"/>
                      </a:lnTo>
                      <a:lnTo>
                        <a:pt x="1497916" y="783438"/>
                      </a:lnTo>
                      <a:lnTo>
                        <a:pt x="1497467" y="781908"/>
                      </a:lnTo>
                      <a:lnTo>
                        <a:pt x="1495646" y="775739"/>
                      </a:lnTo>
                      <a:lnTo>
                        <a:pt x="1495719" y="774343"/>
                      </a:lnTo>
                      <a:lnTo>
                        <a:pt x="1496787" y="771926"/>
                      </a:lnTo>
                      <a:lnTo>
                        <a:pt x="1498305" y="770919"/>
                      </a:lnTo>
                      <a:lnTo>
                        <a:pt x="1507691" y="768004"/>
                      </a:lnTo>
                      <a:lnTo>
                        <a:pt x="1508396" y="767786"/>
                      </a:lnTo>
                      <a:lnTo>
                        <a:pt x="1509027" y="767397"/>
                      </a:lnTo>
                      <a:lnTo>
                        <a:pt x="1517515" y="762261"/>
                      </a:lnTo>
                      <a:lnTo>
                        <a:pt x="1519130" y="761957"/>
                      </a:lnTo>
                      <a:lnTo>
                        <a:pt x="1521680" y="762212"/>
                      </a:lnTo>
                      <a:lnTo>
                        <a:pt x="1524485" y="763074"/>
                      </a:lnTo>
                      <a:lnTo>
                        <a:pt x="1528687" y="764362"/>
                      </a:lnTo>
                      <a:lnTo>
                        <a:pt x="1531212" y="760779"/>
                      </a:lnTo>
                      <a:lnTo>
                        <a:pt x="1533568" y="757440"/>
                      </a:lnTo>
                      <a:lnTo>
                        <a:pt x="1533981" y="756857"/>
                      </a:lnTo>
                      <a:lnTo>
                        <a:pt x="1534248" y="756189"/>
                      </a:lnTo>
                      <a:lnTo>
                        <a:pt x="1537005" y="749280"/>
                      </a:lnTo>
                      <a:lnTo>
                        <a:pt x="1537393" y="748309"/>
                      </a:lnTo>
                      <a:lnTo>
                        <a:pt x="1537430" y="747276"/>
                      </a:lnTo>
                      <a:lnTo>
                        <a:pt x="1537587" y="743281"/>
                      </a:lnTo>
                      <a:lnTo>
                        <a:pt x="1538838" y="736178"/>
                      </a:lnTo>
                      <a:lnTo>
                        <a:pt x="1543440" y="720999"/>
                      </a:lnTo>
                      <a:lnTo>
                        <a:pt x="1543853" y="719639"/>
                      </a:lnTo>
                      <a:lnTo>
                        <a:pt x="1543610" y="718230"/>
                      </a:lnTo>
                      <a:lnTo>
                        <a:pt x="1542918" y="714126"/>
                      </a:lnTo>
                      <a:lnTo>
                        <a:pt x="1542687" y="712754"/>
                      </a:lnTo>
                      <a:lnTo>
                        <a:pt x="1541886" y="711625"/>
                      </a:lnTo>
                      <a:lnTo>
                        <a:pt x="1539530" y="708285"/>
                      </a:lnTo>
                      <a:lnTo>
                        <a:pt x="1538862" y="707338"/>
                      </a:lnTo>
                      <a:lnTo>
                        <a:pt x="1537891" y="706707"/>
                      </a:lnTo>
                      <a:lnTo>
                        <a:pt x="1531540" y="702566"/>
                      </a:lnTo>
                      <a:lnTo>
                        <a:pt x="1530192" y="700878"/>
                      </a:lnTo>
                      <a:lnTo>
                        <a:pt x="1529500" y="700016"/>
                      </a:lnTo>
                      <a:lnTo>
                        <a:pt x="1528541" y="699458"/>
                      </a:lnTo>
                      <a:lnTo>
                        <a:pt x="1526367" y="698170"/>
                      </a:lnTo>
                      <a:lnTo>
                        <a:pt x="1525493" y="697648"/>
                      </a:lnTo>
                      <a:lnTo>
                        <a:pt x="1524497" y="697442"/>
                      </a:lnTo>
                      <a:lnTo>
                        <a:pt x="1521668" y="696859"/>
                      </a:lnTo>
                      <a:lnTo>
                        <a:pt x="1520599" y="696640"/>
                      </a:lnTo>
                      <a:lnTo>
                        <a:pt x="1519519" y="696810"/>
                      </a:lnTo>
                      <a:lnTo>
                        <a:pt x="1512719" y="697867"/>
                      </a:lnTo>
                      <a:lnTo>
                        <a:pt x="1512682" y="697733"/>
                      </a:lnTo>
                      <a:lnTo>
                        <a:pt x="1511929" y="695450"/>
                      </a:lnTo>
                      <a:lnTo>
                        <a:pt x="1509817" y="694297"/>
                      </a:lnTo>
                      <a:lnTo>
                        <a:pt x="1508202" y="693410"/>
                      </a:lnTo>
                      <a:lnTo>
                        <a:pt x="1506842" y="692670"/>
                      </a:lnTo>
                      <a:lnTo>
                        <a:pt x="1505299" y="692670"/>
                      </a:lnTo>
                      <a:lnTo>
                        <a:pt x="1504777" y="692670"/>
                      </a:lnTo>
                      <a:lnTo>
                        <a:pt x="1504583" y="692548"/>
                      </a:lnTo>
                      <a:lnTo>
                        <a:pt x="1502604" y="689974"/>
                      </a:lnTo>
                      <a:lnTo>
                        <a:pt x="1498147" y="681219"/>
                      </a:lnTo>
                      <a:lnTo>
                        <a:pt x="1497892" y="680733"/>
                      </a:lnTo>
                      <a:lnTo>
                        <a:pt x="1497564" y="680296"/>
                      </a:lnTo>
                      <a:lnTo>
                        <a:pt x="1493254" y="674613"/>
                      </a:lnTo>
                      <a:lnTo>
                        <a:pt x="1492404" y="673496"/>
                      </a:lnTo>
                      <a:lnTo>
                        <a:pt x="1491153" y="672865"/>
                      </a:lnTo>
                      <a:lnTo>
                        <a:pt x="1487364" y="670946"/>
                      </a:lnTo>
                      <a:lnTo>
                        <a:pt x="1486235" y="670375"/>
                      </a:lnTo>
                      <a:lnTo>
                        <a:pt x="1484972" y="670302"/>
                      </a:lnTo>
                      <a:lnTo>
                        <a:pt x="1476836" y="669841"/>
                      </a:lnTo>
                      <a:lnTo>
                        <a:pt x="1467025" y="665664"/>
                      </a:lnTo>
                      <a:lnTo>
                        <a:pt x="1466636" y="665494"/>
                      </a:lnTo>
                      <a:lnTo>
                        <a:pt x="1466223" y="665385"/>
                      </a:lnTo>
                      <a:lnTo>
                        <a:pt x="1462459" y="664377"/>
                      </a:lnTo>
                      <a:lnTo>
                        <a:pt x="1459071" y="663077"/>
                      </a:lnTo>
                      <a:lnTo>
                        <a:pt x="1457808" y="662591"/>
                      </a:lnTo>
                      <a:lnTo>
                        <a:pt x="1456448" y="662689"/>
                      </a:lnTo>
                      <a:lnTo>
                        <a:pt x="1453692" y="662895"/>
                      </a:lnTo>
                      <a:lnTo>
                        <a:pt x="1452162" y="663004"/>
                      </a:lnTo>
                      <a:lnTo>
                        <a:pt x="1450875" y="663830"/>
                      </a:lnTo>
                      <a:lnTo>
                        <a:pt x="1448871" y="665117"/>
                      </a:lnTo>
                      <a:lnTo>
                        <a:pt x="1448410" y="665409"/>
                      </a:lnTo>
                      <a:lnTo>
                        <a:pt x="1448009" y="665773"/>
                      </a:lnTo>
                      <a:lnTo>
                        <a:pt x="1444998" y="668566"/>
                      </a:lnTo>
                      <a:lnTo>
                        <a:pt x="1440711" y="670351"/>
                      </a:lnTo>
                      <a:lnTo>
                        <a:pt x="1440007" y="670642"/>
                      </a:lnTo>
                      <a:lnTo>
                        <a:pt x="1439400" y="671092"/>
                      </a:lnTo>
                      <a:lnTo>
                        <a:pt x="1435915" y="673702"/>
                      </a:lnTo>
                      <a:lnTo>
                        <a:pt x="1435307" y="672051"/>
                      </a:lnTo>
                      <a:lnTo>
                        <a:pt x="1435101" y="671517"/>
                      </a:lnTo>
                      <a:lnTo>
                        <a:pt x="1434810" y="671031"/>
                      </a:lnTo>
                      <a:lnTo>
                        <a:pt x="1432587" y="667327"/>
                      </a:lnTo>
                      <a:lnTo>
                        <a:pt x="1432272" y="666611"/>
                      </a:lnTo>
                      <a:lnTo>
                        <a:pt x="1433037" y="665785"/>
                      </a:lnTo>
                      <a:lnTo>
                        <a:pt x="1433692" y="665069"/>
                      </a:lnTo>
                      <a:lnTo>
                        <a:pt x="1434093" y="664194"/>
                      </a:lnTo>
                      <a:lnTo>
                        <a:pt x="1435247" y="661657"/>
                      </a:lnTo>
                      <a:lnTo>
                        <a:pt x="1435647" y="660770"/>
                      </a:lnTo>
                      <a:lnTo>
                        <a:pt x="1435757" y="659811"/>
                      </a:lnTo>
                      <a:lnTo>
                        <a:pt x="1436267" y="655306"/>
                      </a:lnTo>
                      <a:lnTo>
                        <a:pt x="1437894" y="654711"/>
                      </a:lnTo>
                      <a:lnTo>
                        <a:pt x="1438610" y="654456"/>
                      </a:lnTo>
                      <a:lnTo>
                        <a:pt x="1439230" y="654031"/>
                      </a:lnTo>
                      <a:lnTo>
                        <a:pt x="1440832" y="652938"/>
                      </a:lnTo>
                      <a:lnTo>
                        <a:pt x="1441731" y="652331"/>
                      </a:lnTo>
                      <a:lnTo>
                        <a:pt x="1442363" y="651444"/>
                      </a:lnTo>
                      <a:lnTo>
                        <a:pt x="1444961" y="647777"/>
                      </a:lnTo>
                      <a:lnTo>
                        <a:pt x="1446382" y="646223"/>
                      </a:lnTo>
                      <a:lnTo>
                        <a:pt x="1446928" y="645616"/>
                      </a:lnTo>
                      <a:lnTo>
                        <a:pt x="1447305" y="644875"/>
                      </a:lnTo>
                      <a:lnTo>
                        <a:pt x="1448568" y="642374"/>
                      </a:lnTo>
                      <a:lnTo>
                        <a:pt x="1449248" y="641038"/>
                      </a:lnTo>
                      <a:lnTo>
                        <a:pt x="1449223" y="639532"/>
                      </a:lnTo>
                      <a:lnTo>
                        <a:pt x="1449163" y="636314"/>
                      </a:lnTo>
                      <a:lnTo>
                        <a:pt x="1449150" y="635610"/>
                      </a:lnTo>
                      <a:lnTo>
                        <a:pt x="1448968" y="634930"/>
                      </a:lnTo>
                      <a:lnTo>
                        <a:pt x="1448046" y="631287"/>
                      </a:lnTo>
                      <a:lnTo>
                        <a:pt x="1447790" y="630303"/>
                      </a:lnTo>
                      <a:lnTo>
                        <a:pt x="1447244" y="629454"/>
                      </a:lnTo>
                      <a:lnTo>
                        <a:pt x="1444560" y="625373"/>
                      </a:lnTo>
                      <a:lnTo>
                        <a:pt x="1439970" y="614275"/>
                      </a:lnTo>
                      <a:lnTo>
                        <a:pt x="1439679" y="613546"/>
                      </a:lnTo>
                      <a:lnTo>
                        <a:pt x="1439205" y="612927"/>
                      </a:lnTo>
                      <a:lnTo>
                        <a:pt x="1438137" y="611518"/>
                      </a:lnTo>
                      <a:lnTo>
                        <a:pt x="1438963" y="610280"/>
                      </a:lnTo>
                      <a:lnTo>
                        <a:pt x="1438744" y="608118"/>
                      </a:lnTo>
                      <a:lnTo>
                        <a:pt x="1438635" y="607038"/>
                      </a:lnTo>
                      <a:lnTo>
                        <a:pt x="1440225" y="607050"/>
                      </a:lnTo>
                      <a:lnTo>
                        <a:pt x="1441840" y="608313"/>
                      </a:lnTo>
                      <a:lnTo>
                        <a:pt x="1449636" y="616983"/>
                      </a:lnTo>
                      <a:lnTo>
                        <a:pt x="1450049" y="617444"/>
                      </a:lnTo>
                      <a:lnTo>
                        <a:pt x="1450559" y="617821"/>
                      </a:lnTo>
                      <a:lnTo>
                        <a:pt x="1456764" y="622386"/>
                      </a:lnTo>
                      <a:lnTo>
                        <a:pt x="1457748" y="623115"/>
                      </a:lnTo>
                      <a:lnTo>
                        <a:pt x="1458938" y="623394"/>
                      </a:lnTo>
                      <a:lnTo>
                        <a:pt x="1464681" y="624791"/>
                      </a:lnTo>
                      <a:lnTo>
                        <a:pt x="1465434" y="624973"/>
                      </a:lnTo>
                      <a:lnTo>
                        <a:pt x="1466211" y="624961"/>
                      </a:lnTo>
                      <a:lnTo>
                        <a:pt x="1471323" y="624863"/>
                      </a:lnTo>
                      <a:lnTo>
                        <a:pt x="1472477" y="624839"/>
                      </a:lnTo>
                      <a:lnTo>
                        <a:pt x="1473546" y="624390"/>
                      </a:lnTo>
                      <a:lnTo>
                        <a:pt x="1478245" y="622435"/>
                      </a:lnTo>
                      <a:lnTo>
                        <a:pt x="1478609" y="622277"/>
                      </a:lnTo>
                      <a:lnTo>
                        <a:pt x="1478949" y="622071"/>
                      </a:lnTo>
                      <a:lnTo>
                        <a:pt x="1487619" y="617031"/>
                      </a:lnTo>
                      <a:lnTo>
                        <a:pt x="1490946" y="615914"/>
                      </a:lnTo>
                      <a:lnTo>
                        <a:pt x="1501571" y="616618"/>
                      </a:lnTo>
                      <a:lnTo>
                        <a:pt x="1505032" y="617942"/>
                      </a:lnTo>
                      <a:lnTo>
                        <a:pt x="1513447" y="622848"/>
                      </a:lnTo>
                      <a:lnTo>
                        <a:pt x="1514601" y="623515"/>
                      </a:lnTo>
                      <a:lnTo>
                        <a:pt x="1515924" y="623649"/>
                      </a:lnTo>
                      <a:lnTo>
                        <a:pt x="1521607" y="624183"/>
                      </a:lnTo>
                      <a:lnTo>
                        <a:pt x="1521947" y="624208"/>
                      </a:lnTo>
                      <a:lnTo>
                        <a:pt x="1522299" y="624208"/>
                      </a:lnTo>
                      <a:lnTo>
                        <a:pt x="1539251" y="623868"/>
                      </a:lnTo>
                      <a:lnTo>
                        <a:pt x="1545638" y="625932"/>
                      </a:lnTo>
                      <a:lnTo>
                        <a:pt x="1546100" y="626078"/>
                      </a:lnTo>
                      <a:lnTo>
                        <a:pt x="1546573" y="626151"/>
                      </a:lnTo>
                      <a:lnTo>
                        <a:pt x="1550253" y="626721"/>
                      </a:lnTo>
                      <a:lnTo>
                        <a:pt x="1550665" y="626782"/>
                      </a:lnTo>
                      <a:lnTo>
                        <a:pt x="1551078" y="626782"/>
                      </a:lnTo>
                      <a:lnTo>
                        <a:pt x="1579420" y="627268"/>
                      </a:lnTo>
                      <a:lnTo>
                        <a:pt x="1594671" y="629344"/>
                      </a:lnTo>
                      <a:lnTo>
                        <a:pt x="1595376" y="629441"/>
                      </a:lnTo>
                      <a:lnTo>
                        <a:pt x="1596080" y="629369"/>
                      </a:lnTo>
                      <a:lnTo>
                        <a:pt x="1602285" y="628774"/>
                      </a:lnTo>
                      <a:lnTo>
                        <a:pt x="1603694" y="628640"/>
                      </a:lnTo>
                      <a:lnTo>
                        <a:pt x="1604896" y="627899"/>
                      </a:lnTo>
                      <a:lnTo>
                        <a:pt x="1607312" y="626406"/>
                      </a:lnTo>
                      <a:lnTo>
                        <a:pt x="1608369" y="625750"/>
                      </a:lnTo>
                      <a:lnTo>
                        <a:pt x="1609085" y="624730"/>
                      </a:lnTo>
                      <a:lnTo>
                        <a:pt x="1610044" y="623370"/>
                      </a:lnTo>
                      <a:lnTo>
                        <a:pt x="1611404" y="622386"/>
                      </a:lnTo>
                      <a:lnTo>
                        <a:pt x="1618994" y="619351"/>
                      </a:lnTo>
                      <a:lnTo>
                        <a:pt x="1619346" y="619205"/>
                      </a:lnTo>
                      <a:lnTo>
                        <a:pt x="1619674" y="619023"/>
                      </a:lnTo>
                      <a:lnTo>
                        <a:pt x="1625478" y="615817"/>
                      </a:lnTo>
                      <a:lnTo>
                        <a:pt x="1626279" y="615368"/>
                      </a:lnTo>
                      <a:lnTo>
                        <a:pt x="1626911" y="614712"/>
                      </a:lnTo>
                      <a:lnTo>
                        <a:pt x="1628405" y="613158"/>
                      </a:lnTo>
                      <a:lnTo>
                        <a:pt x="1629594" y="611919"/>
                      </a:lnTo>
                      <a:lnTo>
                        <a:pt x="1629959" y="610231"/>
                      </a:lnTo>
                      <a:lnTo>
                        <a:pt x="1630469" y="607875"/>
                      </a:lnTo>
                      <a:lnTo>
                        <a:pt x="1630590" y="607293"/>
                      </a:lnTo>
                      <a:lnTo>
                        <a:pt x="1630602" y="606698"/>
                      </a:lnTo>
                      <a:lnTo>
                        <a:pt x="1630639" y="604670"/>
                      </a:lnTo>
                      <a:lnTo>
                        <a:pt x="1630736" y="604245"/>
                      </a:lnTo>
                      <a:lnTo>
                        <a:pt x="1631052" y="603953"/>
                      </a:lnTo>
                      <a:lnTo>
                        <a:pt x="1633359" y="602885"/>
                      </a:lnTo>
                      <a:lnTo>
                        <a:pt x="1637645" y="602338"/>
                      </a:lnTo>
                      <a:lnTo>
                        <a:pt x="1638265" y="602253"/>
                      </a:lnTo>
                      <a:lnTo>
                        <a:pt x="1638860" y="602047"/>
                      </a:lnTo>
                      <a:lnTo>
                        <a:pt x="1642090" y="600930"/>
                      </a:lnTo>
                      <a:lnTo>
                        <a:pt x="1642454" y="600796"/>
                      </a:lnTo>
                      <a:lnTo>
                        <a:pt x="1642794" y="600626"/>
                      </a:lnTo>
                      <a:lnTo>
                        <a:pt x="1648695" y="597700"/>
                      </a:lnTo>
                      <a:lnTo>
                        <a:pt x="1649545" y="597275"/>
                      </a:lnTo>
                      <a:lnTo>
                        <a:pt x="1650225" y="596619"/>
                      </a:lnTo>
                      <a:lnTo>
                        <a:pt x="1652290" y="594615"/>
                      </a:lnTo>
                      <a:lnTo>
                        <a:pt x="1653200" y="593729"/>
                      </a:lnTo>
                      <a:lnTo>
                        <a:pt x="1653686" y="592563"/>
                      </a:lnTo>
                      <a:lnTo>
                        <a:pt x="1654609" y="590317"/>
                      </a:lnTo>
                      <a:lnTo>
                        <a:pt x="1655034" y="589273"/>
                      </a:lnTo>
                      <a:lnTo>
                        <a:pt x="1655058" y="588143"/>
                      </a:lnTo>
                      <a:lnTo>
                        <a:pt x="1655107" y="586079"/>
                      </a:lnTo>
                      <a:lnTo>
                        <a:pt x="1655422" y="584367"/>
                      </a:lnTo>
                      <a:lnTo>
                        <a:pt x="1655483" y="584039"/>
                      </a:lnTo>
                      <a:lnTo>
                        <a:pt x="1656989" y="582060"/>
                      </a:lnTo>
                      <a:lnTo>
                        <a:pt x="1659660" y="578550"/>
                      </a:lnTo>
                      <a:lnTo>
                        <a:pt x="1657147" y="574932"/>
                      </a:lnTo>
                      <a:lnTo>
                        <a:pt x="1651294" y="566468"/>
                      </a:lnTo>
                      <a:lnTo>
                        <a:pt x="1650869" y="565849"/>
                      </a:lnTo>
                      <a:lnTo>
                        <a:pt x="1650298" y="565351"/>
                      </a:lnTo>
                      <a:lnTo>
                        <a:pt x="1646437" y="561987"/>
                      </a:lnTo>
                      <a:lnTo>
                        <a:pt x="1646145" y="561732"/>
                      </a:lnTo>
                      <a:lnTo>
                        <a:pt x="1646279" y="561319"/>
                      </a:lnTo>
                      <a:lnTo>
                        <a:pt x="1646570" y="560421"/>
                      </a:lnTo>
                      <a:lnTo>
                        <a:pt x="1646570" y="559474"/>
                      </a:lnTo>
                      <a:lnTo>
                        <a:pt x="1646570" y="556778"/>
                      </a:lnTo>
                      <a:lnTo>
                        <a:pt x="1646570" y="555770"/>
                      </a:lnTo>
                      <a:lnTo>
                        <a:pt x="1646242" y="554811"/>
                      </a:lnTo>
                      <a:lnTo>
                        <a:pt x="1645733" y="553317"/>
                      </a:lnTo>
                      <a:lnTo>
                        <a:pt x="1645344" y="552188"/>
                      </a:lnTo>
                      <a:lnTo>
                        <a:pt x="1644555" y="551289"/>
                      </a:lnTo>
                      <a:lnTo>
                        <a:pt x="1643522" y="550111"/>
                      </a:lnTo>
                      <a:lnTo>
                        <a:pt x="1642988" y="549492"/>
                      </a:lnTo>
                      <a:lnTo>
                        <a:pt x="1642296" y="549031"/>
                      </a:lnTo>
                      <a:lnTo>
                        <a:pt x="1639940" y="547476"/>
                      </a:lnTo>
                      <a:lnTo>
                        <a:pt x="1637427" y="545473"/>
                      </a:lnTo>
                      <a:lnTo>
                        <a:pt x="1637208" y="545230"/>
                      </a:lnTo>
                      <a:lnTo>
                        <a:pt x="1638010" y="544756"/>
                      </a:lnTo>
                      <a:lnTo>
                        <a:pt x="1640353" y="543372"/>
                      </a:lnTo>
                      <a:lnTo>
                        <a:pt x="1641264" y="542838"/>
                      </a:lnTo>
                      <a:lnTo>
                        <a:pt x="1641944" y="542024"/>
                      </a:lnTo>
                      <a:lnTo>
                        <a:pt x="1644081" y="539450"/>
                      </a:lnTo>
                      <a:lnTo>
                        <a:pt x="1645222" y="538078"/>
                      </a:lnTo>
                      <a:lnTo>
                        <a:pt x="1645441" y="536305"/>
                      </a:lnTo>
                      <a:lnTo>
                        <a:pt x="1646825" y="524866"/>
                      </a:lnTo>
                      <a:lnTo>
                        <a:pt x="1649266" y="520628"/>
                      </a:lnTo>
                      <a:lnTo>
                        <a:pt x="1649570" y="520094"/>
                      </a:lnTo>
                      <a:lnTo>
                        <a:pt x="1649764" y="519511"/>
                      </a:lnTo>
                      <a:lnTo>
                        <a:pt x="1650614" y="516949"/>
                      </a:lnTo>
                      <a:lnTo>
                        <a:pt x="1650723" y="516621"/>
                      </a:lnTo>
                      <a:lnTo>
                        <a:pt x="1650796" y="516281"/>
                      </a:lnTo>
                      <a:lnTo>
                        <a:pt x="1651318" y="513756"/>
                      </a:lnTo>
                      <a:lnTo>
                        <a:pt x="1651428" y="513246"/>
                      </a:lnTo>
                      <a:lnTo>
                        <a:pt x="1651440" y="512736"/>
                      </a:lnTo>
                      <a:lnTo>
                        <a:pt x="1651853" y="501600"/>
                      </a:lnTo>
                      <a:lnTo>
                        <a:pt x="1651889" y="500690"/>
                      </a:lnTo>
                      <a:lnTo>
                        <a:pt x="1651658" y="499815"/>
                      </a:lnTo>
                      <a:lnTo>
                        <a:pt x="1650966" y="497229"/>
                      </a:lnTo>
                      <a:lnTo>
                        <a:pt x="1650650" y="496051"/>
                      </a:lnTo>
                      <a:lnTo>
                        <a:pt x="1649910" y="495080"/>
                      </a:lnTo>
                      <a:lnTo>
                        <a:pt x="1648695" y="493501"/>
                      </a:lnTo>
                      <a:lnTo>
                        <a:pt x="1647736" y="492250"/>
                      </a:lnTo>
                      <a:lnTo>
                        <a:pt x="1646279" y="491619"/>
                      </a:lnTo>
                      <a:lnTo>
                        <a:pt x="1645465" y="491267"/>
                      </a:lnTo>
                      <a:lnTo>
                        <a:pt x="1645465" y="491243"/>
                      </a:lnTo>
                      <a:lnTo>
                        <a:pt x="1647190" y="482633"/>
                      </a:lnTo>
                      <a:lnTo>
                        <a:pt x="1647287" y="482123"/>
                      </a:lnTo>
                      <a:lnTo>
                        <a:pt x="1647299" y="481601"/>
                      </a:lnTo>
                      <a:lnTo>
                        <a:pt x="1647408" y="477521"/>
                      </a:lnTo>
                      <a:lnTo>
                        <a:pt x="1647433" y="476367"/>
                      </a:lnTo>
                      <a:lnTo>
                        <a:pt x="1647032" y="475287"/>
                      </a:lnTo>
                      <a:lnTo>
                        <a:pt x="1645939" y="472275"/>
                      </a:lnTo>
                      <a:lnTo>
                        <a:pt x="1646765" y="472555"/>
                      </a:lnTo>
                      <a:lnTo>
                        <a:pt x="1648015" y="472992"/>
                      </a:lnTo>
                      <a:lnTo>
                        <a:pt x="1649327" y="472858"/>
                      </a:lnTo>
                      <a:lnTo>
                        <a:pt x="1651962" y="472603"/>
                      </a:lnTo>
                      <a:lnTo>
                        <a:pt x="1653115" y="472494"/>
                      </a:lnTo>
                      <a:lnTo>
                        <a:pt x="1654148" y="471972"/>
                      </a:lnTo>
                      <a:lnTo>
                        <a:pt x="1656273" y="470879"/>
                      </a:lnTo>
                      <a:lnTo>
                        <a:pt x="1657827" y="470090"/>
                      </a:lnTo>
                      <a:lnTo>
                        <a:pt x="1658713" y="468584"/>
                      </a:lnTo>
                      <a:lnTo>
                        <a:pt x="1660438" y="465682"/>
                      </a:lnTo>
                      <a:lnTo>
                        <a:pt x="1661178" y="464443"/>
                      </a:lnTo>
                      <a:lnTo>
                        <a:pt x="1661288" y="463010"/>
                      </a:lnTo>
                      <a:lnTo>
                        <a:pt x="1661409" y="461322"/>
                      </a:lnTo>
                      <a:lnTo>
                        <a:pt x="1661518" y="459768"/>
                      </a:lnTo>
                      <a:lnTo>
                        <a:pt x="1660862" y="458347"/>
                      </a:lnTo>
                      <a:lnTo>
                        <a:pt x="1660219" y="456963"/>
                      </a:lnTo>
                      <a:lnTo>
                        <a:pt x="1659685" y="455797"/>
                      </a:lnTo>
                      <a:lnTo>
                        <a:pt x="1658713" y="454947"/>
                      </a:lnTo>
                      <a:lnTo>
                        <a:pt x="1656843" y="453308"/>
                      </a:lnTo>
                      <a:lnTo>
                        <a:pt x="1656297" y="452482"/>
                      </a:lnTo>
                      <a:lnTo>
                        <a:pt x="1655714" y="451207"/>
                      </a:lnTo>
                      <a:lnTo>
                        <a:pt x="1654742" y="447115"/>
                      </a:lnTo>
                      <a:lnTo>
                        <a:pt x="1654621" y="446605"/>
                      </a:lnTo>
                      <a:lnTo>
                        <a:pt x="1654415" y="446132"/>
                      </a:lnTo>
                      <a:lnTo>
                        <a:pt x="1653565" y="444152"/>
                      </a:lnTo>
                      <a:lnTo>
                        <a:pt x="1653140" y="443169"/>
                      </a:lnTo>
                      <a:lnTo>
                        <a:pt x="1652411" y="442391"/>
                      </a:lnTo>
                      <a:lnTo>
                        <a:pt x="1651148" y="441044"/>
                      </a:lnTo>
                      <a:lnTo>
                        <a:pt x="1649897" y="439720"/>
                      </a:lnTo>
                      <a:lnTo>
                        <a:pt x="1648125" y="439295"/>
                      </a:lnTo>
                      <a:lnTo>
                        <a:pt x="1646740" y="438967"/>
                      </a:lnTo>
                      <a:lnTo>
                        <a:pt x="1646206" y="438846"/>
                      </a:lnTo>
                      <a:lnTo>
                        <a:pt x="1645660" y="438822"/>
                      </a:lnTo>
                      <a:lnTo>
                        <a:pt x="1642357" y="438639"/>
                      </a:lnTo>
                      <a:lnTo>
                        <a:pt x="1642478" y="437243"/>
                      </a:lnTo>
                      <a:lnTo>
                        <a:pt x="1642600" y="435859"/>
                      </a:lnTo>
                      <a:lnTo>
                        <a:pt x="1642102" y="434559"/>
                      </a:lnTo>
                      <a:lnTo>
                        <a:pt x="1641580" y="433175"/>
                      </a:lnTo>
                      <a:lnTo>
                        <a:pt x="1640839" y="431232"/>
                      </a:lnTo>
                      <a:lnTo>
                        <a:pt x="1639066" y="430151"/>
                      </a:lnTo>
                      <a:lnTo>
                        <a:pt x="1637852" y="429411"/>
                      </a:lnTo>
                      <a:lnTo>
                        <a:pt x="1636394" y="428512"/>
                      </a:lnTo>
                      <a:lnTo>
                        <a:pt x="1634682" y="428512"/>
                      </a:lnTo>
                      <a:lnTo>
                        <a:pt x="1633310" y="428512"/>
                      </a:lnTo>
                      <a:lnTo>
                        <a:pt x="1632679" y="428512"/>
                      </a:lnTo>
                      <a:lnTo>
                        <a:pt x="1632060" y="428646"/>
                      </a:lnTo>
                      <a:lnTo>
                        <a:pt x="1630445" y="428986"/>
                      </a:lnTo>
                      <a:lnTo>
                        <a:pt x="1629837" y="429107"/>
                      </a:lnTo>
                      <a:lnTo>
                        <a:pt x="1629267" y="429362"/>
                      </a:lnTo>
                      <a:lnTo>
                        <a:pt x="1616917" y="434741"/>
                      </a:lnTo>
                      <a:lnTo>
                        <a:pt x="1615557" y="435081"/>
                      </a:lnTo>
                      <a:lnTo>
                        <a:pt x="1613542" y="435227"/>
                      </a:lnTo>
                      <a:lnTo>
                        <a:pt x="1606086" y="434523"/>
                      </a:lnTo>
                      <a:lnTo>
                        <a:pt x="1588843" y="428743"/>
                      </a:lnTo>
                      <a:lnTo>
                        <a:pt x="1587762" y="428379"/>
                      </a:lnTo>
                      <a:lnTo>
                        <a:pt x="1586621" y="428427"/>
                      </a:lnTo>
                      <a:lnTo>
                        <a:pt x="1584374" y="428536"/>
                      </a:lnTo>
                      <a:lnTo>
                        <a:pt x="1583876" y="428561"/>
                      </a:lnTo>
                      <a:lnTo>
                        <a:pt x="1583391" y="428670"/>
                      </a:lnTo>
                      <a:lnTo>
                        <a:pt x="1580695" y="429253"/>
                      </a:lnTo>
                      <a:lnTo>
                        <a:pt x="1577173" y="430006"/>
                      </a:lnTo>
                      <a:lnTo>
                        <a:pt x="1576153" y="433467"/>
                      </a:lnTo>
                      <a:lnTo>
                        <a:pt x="1575692" y="435033"/>
                      </a:lnTo>
                      <a:lnTo>
                        <a:pt x="1575558" y="435494"/>
                      </a:lnTo>
                      <a:lnTo>
                        <a:pt x="1575498" y="435968"/>
                      </a:lnTo>
                      <a:lnTo>
                        <a:pt x="1575267" y="437704"/>
                      </a:lnTo>
                      <a:lnTo>
                        <a:pt x="1575218" y="438093"/>
                      </a:lnTo>
                      <a:lnTo>
                        <a:pt x="1575218" y="438482"/>
                      </a:lnTo>
                      <a:lnTo>
                        <a:pt x="1575218" y="440303"/>
                      </a:lnTo>
                      <a:lnTo>
                        <a:pt x="1575340" y="442452"/>
                      </a:lnTo>
                      <a:lnTo>
                        <a:pt x="1575364" y="442902"/>
                      </a:lnTo>
                      <a:lnTo>
                        <a:pt x="1575461" y="443339"/>
                      </a:lnTo>
                      <a:lnTo>
                        <a:pt x="1575996" y="445864"/>
                      </a:lnTo>
                      <a:lnTo>
                        <a:pt x="1575996" y="445962"/>
                      </a:lnTo>
                      <a:lnTo>
                        <a:pt x="1575765" y="446168"/>
                      </a:lnTo>
                      <a:lnTo>
                        <a:pt x="1575607" y="446204"/>
                      </a:lnTo>
                      <a:lnTo>
                        <a:pt x="1569584" y="445452"/>
                      </a:lnTo>
                      <a:lnTo>
                        <a:pt x="1568904" y="445367"/>
                      </a:lnTo>
                      <a:lnTo>
                        <a:pt x="1568540" y="445403"/>
                      </a:lnTo>
                      <a:lnTo>
                        <a:pt x="1569353" y="443703"/>
                      </a:lnTo>
                      <a:lnTo>
                        <a:pt x="1568977" y="441724"/>
                      </a:lnTo>
                      <a:lnTo>
                        <a:pt x="1568455" y="438967"/>
                      </a:lnTo>
                      <a:lnTo>
                        <a:pt x="1568309" y="438202"/>
                      </a:lnTo>
                      <a:lnTo>
                        <a:pt x="1567981" y="437498"/>
                      </a:lnTo>
                      <a:lnTo>
                        <a:pt x="1567192" y="435834"/>
                      </a:lnTo>
                      <a:lnTo>
                        <a:pt x="1566306" y="433976"/>
                      </a:lnTo>
                      <a:lnTo>
                        <a:pt x="1564472" y="433029"/>
                      </a:lnTo>
                      <a:lnTo>
                        <a:pt x="1562796" y="432167"/>
                      </a:lnTo>
                      <a:lnTo>
                        <a:pt x="1562481" y="431997"/>
                      </a:lnTo>
                      <a:lnTo>
                        <a:pt x="1562141" y="431876"/>
                      </a:lnTo>
                      <a:lnTo>
                        <a:pt x="1560598" y="431305"/>
                      </a:lnTo>
                      <a:lnTo>
                        <a:pt x="1559651" y="430953"/>
                      </a:lnTo>
                      <a:lnTo>
                        <a:pt x="1558643" y="430928"/>
                      </a:lnTo>
                      <a:lnTo>
                        <a:pt x="1557635" y="430904"/>
                      </a:lnTo>
                      <a:lnTo>
                        <a:pt x="1557988" y="426132"/>
                      </a:lnTo>
                      <a:lnTo>
                        <a:pt x="1558012" y="425816"/>
                      </a:lnTo>
                      <a:lnTo>
                        <a:pt x="1558012" y="425501"/>
                      </a:lnTo>
                      <a:lnTo>
                        <a:pt x="1557903" y="421712"/>
                      </a:lnTo>
                      <a:lnTo>
                        <a:pt x="1557854" y="420279"/>
                      </a:lnTo>
                      <a:lnTo>
                        <a:pt x="1557174" y="419016"/>
                      </a:lnTo>
                      <a:lnTo>
                        <a:pt x="1556530" y="417814"/>
                      </a:lnTo>
                      <a:lnTo>
                        <a:pt x="1555049" y="415058"/>
                      </a:lnTo>
                      <a:lnTo>
                        <a:pt x="1551953" y="414657"/>
                      </a:lnTo>
                      <a:lnTo>
                        <a:pt x="1550981" y="414536"/>
                      </a:lnTo>
                      <a:lnTo>
                        <a:pt x="1548346" y="414196"/>
                      </a:lnTo>
                      <a:lnTo>
                        <a:pt x="1548285" y="413139"/>
                      </a:lnTo>
                      <a:lnTo>
                        <a:pt x="1548249" y="412411"/>
                      </a:lnTo>
                      <a:lnTo>
                        <a:pt x="1548030" y="411706"/>
                      </a:lnTo>
                      <a:lnTo>
                        <a:pt x="1547447" y="409788"/>
                      </a:lnTo>
                      <a:lnTo>
                        <a:pt x="1547265" y="409181"/>
                      </a:lnTo>
                      <a:lnTo>
                        <a:pt x="1546962" y="408622"/>
                      </a:lnTo>
                      <a:lnTo>
                        <a:pt x="1546282" y="407383"/>
                      </a:lnTo>
                      <a:lnTo>
                        <a:pt x="1545565" y="406084"/>
                      </a:lnTo>
                      <a:lnTo>
                        <a:pt x="1544327" y="405258"/>
                      </a:lnTo>
                      <a:lnTo>
                        <a:pt x="1543635" y="404797"/>
                      </a:lnTo>
                      <a:lnTo>
                        <a:pt x="1542566" y="404080"/>
                      </a:lnTo>
                      <a:lnTo>
                        <a:pt x="1541291" y="403862"/>
                      </a:lnTo>
                      <a:lnTo>
                        <a:pt x="1540660" y="403753"/>
                      </a:lnTo>
                      <a:lnTo>
                        <a:pt x="1539081" y="403486"/>
                      </a:lnTo>
                      <a:lnTo>
                        <a:pt x="1537575" y="404032"/>
                      </a:lnTo>
                      <a:lnTo>
                        <a:pt x="1536482" y="404433"/>
                      </a:lnTo>
                      <a:lnTo>
                        <a:pt x="1535693" y="404712"/>
                      </a:lnTo>
                      <a:lnTo>
                        <a:pt x="1535013" y="405210"/>
                      </a:lnTo>
                      <a:lnTo>
                        <a:pt x="1527752" y="410443"/>
                      </a:lnTo>
                      <a:lnTo>
                        <a:pt x="1526975" y="410844"/>
                      </a:lnTo>
                      <a:lnTo>
                        <a:pt x="1525979" y="411196"/>
                      </a:lnTo>
                      <a:lnTo>
                        <a:pt x="1525712" y="411257"/>
                      </a:lnTo>
                      <a:lnTo>
                        <a:pt x="1525639" y="411257"/>
                      </a:lnTo>
                      <a:lnTo>
                        <a:pt x="1524655" y="410881"/>
                      </a:lnTo>
                      <a:lnTo>
                        <a:pt x="1516240" y="404299"/>
                      </a:lnTo>
                      <a:lnTo>
                        <a:pt x="1515682" y="403850"/>
                      </a:lnTo>
                      <a:lnTo>
                        <a:pt x="1515038" y="403558"/>
                      </a:lnTo>
                      <a:lnTo>
                        <a:pt x="1510618" y="401531"/>
                      </a:lnTo>
                      <a:lnTo>
                        <a:pt x="1509719" y="401118"/>
                      </a:lnTo>
                      <a:lnTo>
                        <a:pt x="1508724" y="401020"/>
                      </a:lnTo>
                      <a:lnTo>
                        <a:pt x="1506999" y="400838"/>
                      </a:lnTo>
                      <a:lnTo>
                        <a:pt x="1506611" y="400802"/>
                      </a:lnTo>
                      <a:lnTo>
                        <a:pt x="1506222" y="400802"/>
                      </a:lnTo>
                      <a:lnTo>
                        <a:pt x="1502082" y="400899"/>
                      </a:lnTo>
                      <a:lnTo>
                        <a:pt x="1499325" y="400596"/>
                      </a:lnTo>
                      <a:lnTo>
                        <a:pt x="1498269" y="400292"/>
                      </a:lnTo>
                      <a:lnTo>
                        <a:pt x="1496726" y="399539"/>
                      </a:lnTo>
                      <a:lnTo>
                        <a:pt x="1483697" y="390165"/>
                      </a:lnTo>
                      <a:lnTo>
                        <a:pt x="1483357" y="389776"/>
                      </a:lnTo>
                      <a:lnTo>
                        <a:pt x="1483515" y="389485"/>
                      </a:lnTo>
                      <a:lnTo>
                        <a:pt x="1484001" y="388586"/>
                      </a:lnTo>
                      <a:lnTo>
                        <a:pt x="1484159" y="387578"/>
                      </a:lnTo>
                      <a:lnTo>
                        <a:pt x="1484438" y="385781"/>
                      </a:lnTo>
                      <a:lnTo>
                        <a:pt x="1484559" y="384968"/>
                      </a:lnTo>
                      <a:lnTo>
                        <a:pt x="1484462" y="384154"/>
                      </a:lnTo>
                      <a:lnTo>
                        <a:pt x="1484243" y="382284"/>
                      </a:lnTo>
                      <a:lnTo>
                        <a:pt x="1484074" y="380839"/>
                      </a:lnTo>
                      <a:lnTo>
                        <a:pt x="1483272" y="379625"/>
                      </a:lnTo>
                      <a:lnTo>
                        <a:pt x="1481123" y="376383"/>
                      </a:lnTo>
                      <a:lnTo>
                        <a:pt x="1480042" y="373881"/>
                      </a:lnTo>
                      <a:lnTo>
                        <a:pt x="1479702" y="373080"/>
                      </a:lnTo>
                      <a:lnTo>
                        <a:pt x="1479143" y="372412"/>
                      </a:lnTo>
                      <a:lnTo>
                        <a:pt x="1476897" y="369716"/>
                      </a:lnTo>
                      <a:lnTo>
                        <a:pt x="1476181" y="368866"/>
                      </a:lnTo>
                      <a:lnTo>
                        <a:pt x="1475209" y="368320"/>
                      </a:lnTo>
                      <a:lnTo>
                        <a:pt x="1473157" y="367166"/>
                      </a:lnTo>
                      <a:lnTo>
                        <a:pt x="1472368" y="366717"/>
                      </a:lnTo>
                      <a:lnTo>
                        <a:pt x="1471481" y="366523"/>
                      </a:lnTo>
                      <a:lnTo>
                        <a:pt x="1468895" y="365952"/>
                      </a:lnTo>
                      <a:lnTo>
                        <a:pt x="1468142" y="365782"/>
                      </a:lnTo>
                      <a:lnTo>
                        <a:pt x="1467377" y="365806"/>
                      </a:lnTo>
                      <a:lnTo>
                        <a:pt x="1465653" y="365867"/>
                      </a:lnTo>
                      <a:lnTo>
                        <a:pt x="1465337" y="365867"/>
                      </a:lnTo>
                      <a:lnTo>
                        <a:pt x="1465021" y="365915"/>
                      </a:lnTo>
                      <a:lnTo>
                        <a:pt x="1463528" y="366122"/>
                      </a:lnTo>
                      <a:lnTo>
                        <a:pt x="1462884" y="366207"/>
                      </a:lnTo>
                      <a:lnTo>
                        <a:pt x="1462277" y="366437"/>
                      </a:lnTo>
                      <a:lnTo>
                        <a:pt x="1460953" y="366923"/>
                      </a:lnTo>
                      <a:lnTo>
                        <a:pt x="1460541" y="367081"/>
                      </a:lnTo>
                      <a:lnTo>
                        <a:pt x="1460152" y="367300"/>
                      </a:lnTo>
                      <a:lnTo>
                        <a:pt x="1457748" y="368611"/>
                      </a:lnTo>
                      <a:lnTo>
                        <a:pt x="1457007" y="368842"/>
                      </a:lnTo>
                      <a:lnTo>
                        <a:pt x="1456193" y="368842"/>
                      </a:lnTo>
                      <a:lnTo>
                        <a:pt x="1455331" y="368623"/>
                      </a:lnTo>
                      <a:lnTo>
                        <a:pt x="1455283" y="368283"/>
                      </a:lnTo>
                      <a:lnTo>
                        <a:pt x="1455173" y="367579"/>
                      </a:lnTo>
                      <a:lnTo>
                        <a:pt x="1454918" y="366923"/>
                      </a:lnTo>
                      <a:lnTo>
                        <a:pt x="1454008" y="364652"/>
                      </a:lnTo>
                      <a:lnTo>
                        <a:pt x="1453340" y="363001"/>
                      </a:lnTo>
                      <a:lnTo>
                        <a:pt x="1451895" y="361969"/>
                      </a:lnTo>
                      <a:lnTo>
                        <a:pt x="1450583" y="361022"/>
                      </a:lnTo>
                      <a:lnTo>
                        <a:pt x="1448944" y="359856"/>
                      </a:lnTo>
                      <a:lnTo>
                        <a:pt x="1446940" y="359892"/>
                      </a:lnTo>
                      <a:lnTo>
                        <a:pt x="1439764" y="360026"/>
                      </a:lnTo>
                      <a:lnTo>
                        <a:pt x="1432988" y="358277"/>
                      </a:lnTo>
                      <a:lnTo>
                        <a:pt x="1432502" y="358156"/>
                      </a:lnTo>
                      <a:lnTo>
                        <a:pt x="1432005" y="358120"/>
                      </a:lnTo>
                      <a:lnTo>
                        <a:pt x="1429479" y="357901"/>
                      </a:lnTo>
                      <a:lnTo>
                        <a:pt x="1429248" y="355946"/>
                      </a:lnTo>
                      <a:lnTo>
                        <a:pt x="1429139" y="355011"/>
                      </a:lnTo>
                      <a:lnTo>
                        <a:pt x="1429018" y="354015"/>
                      </a:lnTo>
                      <a:lnTo>
                        <a:pt x="1428580" y="353104"/>
                      </a:lnTo>
                      <a:lnTo>
                        <a:pt x="1427888" y="351659"/>
                      </a:lnTo>
                      <a:lnTo>
                        <a:pt x="1427609" y="351077"/>
                      </a:lnTo>
                      <a:lnTo>
                        <a:pt x="1427220" y="350567"/>
                      </a:lnTo>
                      <a:lnTo>
                        <a:pt x="1425970" y="348939"/>
                      </a:lnTo>
                      <a:lnTo>
                        <a:pt x="1425824" y="348636"/>
                      </a:lnTo>
                      <a:lnTo>
                        <a:pt x="1425095" y="343912"/>
                      </a:lnTo>
                      <a:lnTo>
                        <a:pt x="1424877" y="342504"/>
                      </a:lnTo>
                      <a:lnTo>
                        <a:pt x="1424051" y="341338"/>
                      </a:lnTo>
                      <a:lnTo>
                        <a:pt x="1419971" y="335582"/>
                      </a:lnTo>
                      <a:lnTo>
                        <a:pt x="1417470" y="332061"/>
                      </a:lnTo>
                      <a:lnTo>
                        <a:pt x="1413329" y="333263"/>
                      </a:lnTo>
                      <a:lnTo>
                        <a:pt x="1395989" y="338290"/>
                      </a:lnTo>
                      <a:lnTo>
                        <a:pt x="1395345" y="338484"/>
                      </a:lnTo>
                      <a:lnTo>
                        <a:pt x="1394762" y="338812"/>
                      </a:lnTo>
                      <a:lnTo>
                        <a:pt x="1391204" y="340767"/>
                      </a:lnTo>
                      <a:lnTo>
                        <a:pt x="1386590" y="343305"/>
                      </a:lnTo>
                      <a:lnTo>
                        <a:pt x="1386238" y="343099"/>
                      </a:lnTo>
                      <a:lnTo>
                        <a:pt x="1384914" y="342358"/>
                      </a:lnTo>
                      <a:lnTo>
                        <a:pt x="1384331" y="342030"/>
                      </a:lnTo>
                      <a:lnTo>
                        <a:pt x="1383688" y="341836"/>
                      </a:lnTo>
                      <a:lnTo>
                        <a:pt x="1379438" y="340573"/>
                      </a:lnTo>
                      <a:lnTo>
                        <a:pt x="1377616" y="339808"/>
                      </a:lnTo>
                      <a:lnTo>
                        <a:pt x="1377240" y="339662"/>
                      </a:lnTo>
                      <a:lnTo>
                        <a:pt x="1376851" y="339565"/>
                      </a:lnTo>
                      <a:lnTo>
                        <a:pt x="1373816" y="338788"/>
                      </a:lnTo>
                      <a:lnTo>
                        <a:pt x="1372528" y="338460"/>
                      </a:lnTo>
                      <a:lnTo>
                        <a:pt x="1371229" y="338691"/>
                      </a:lnTo>
                      <a:lnTo>
                        <a:pt x="1368934" y="339104"/>
                      </a:lnTo>
                      <a:lnTo>
                        <a:pt x="1368448" y="339189"/>
                      </a:lnTo>
                      <a:lnTo>
                        <a:pt x="1367975" y="339359"/>
                      </a:lnTo>
                      <a:lnTo>
                        <a:pt x="1366020" y="340051"/>
                      </a:lnTo>
                      <a:lnTo>
                        <a:pt x="1365728" y="340051"/>
                      </a:lnTo>
                      <a:lnTo>
                        <a:pt x="1364490" y="339626"/>
                      </a:lnTo>
                      <a:lnTo>
                        <a:pt x="1363798" y="339395"/>
                      </a:lnTo>
                      <a:lnTo>
                        <a:pt x="1363069" y="339334"/>
                      </a:lnTo>
                      <a:lnTo>
                        <a:pt x="1360483" y="339104"/>
                      </a:lnTo>
                      <a:lnTo>
                        <a:pt x="1358236" y="338897"/>
                      </a:lnTo>
                      <a:lnTo>
                        <a:pt x="1356403" y="340209"/>
                      </a:lnTo>
                      <a:lnTo>
                        <a:pt x="1355140" y="341107"/>
                      </a:lnTo>
                      <a:lnTo>
                        <a:pt x="1353379" y="342370"/>
                      </a:lnTo>
                      <a:lnTo>
                        <a:pt x="1352820" y="344471"/>
                      </a:lnTo>
                      <a:lnTo>
                        <a:pt x="1352359" y="346195"/>
                      </a:lnTo>
                      <a:lnTo>
                        <a:pt x="1351983" y="347616"/>
                      </a:lnTo>
                      <a:lnTo>
                        <a:pt x="1352286" y="349049"/>
                      </a:lnTo>
                      <a:lnTo>
                        <a:pt x="1353488" y="354647"/>
                      </a:lnTo>
                      <a:lnTo>
                        <a:pt x="1353525" y="355824"/>
                      </a:lnTo>
                      <a:lnTo>
                        <a:pt x="1353403" y="357197"/>
                      </a:lnTo>
                      <a:lnTo>
                        <a:pt x="1353282" y="357780"/>
                      </a:lnTo>
                      <a:lnTo>
                        <a:pt x="1352991" y="358593"/>
                      </a:lnTo>
                      <a:lnTo>
                        <a:pt x="1351035" y="361835"/>
                      </a:lnTo>
                      <a:lnTo>
                        <a:pt x="1348449" y="365114"/>
                      </a:lnTo>
                      <a:lnTo>
                        <a:pt x="1343883" y="369680"/>
                      </a:lnTo>
                      <a:lnTo>
                        <a:pt x="1343179" y="370384"/>
                      </a:lnTo>
                      <a:lnTo>
                        <a:pt x="1342730" y="371270"/>
                      </a:lnTo>
                      <a:lnTo>
                        <a:pt x="1342098" y="372533"/>
                      </a:lnTo>
                      <a:lnTo>
                        <a:pt x="1341868" y="373007"/>
                      </a:lnTo>
                      <a:lnTo>
                        <a:pt x="1341710" y="373517"/>
                      </a:lnTo>
                      <a:lnTo>
                        <a:pt x="1341248" y="375071"/>
                      </a:lnTo>
                      <a:lnTo>
                        <a:pt x="1341090" y="375569"/>
                      </a:lnTo>
                      <a:lnTo>
                        <a:pt x="1341030" y="376091"/>
                      </a:lnTo>
                      <a:lnTo>
                        <a:pt x="1340799" y="378046"/>
                      </a:lnTo>
                      <a:lnTo>
                        <a:pt x="1340763" y="378398"/>
                      </a:lnTo>
                      <a:lnTo>
                        <a:pt x="1340763" y="378750"/>
                      </a:lnTo>
                      <a:lnTo>
                        <a:pt x="1340763" y="379443"/>
                      </a:lnTo>
                      <a:lnTo>
                        <a:pt x="1340920" y="380280"/>
                      </a:lnTo>
                      <a:lnTo>
                        <a:pt x="1341151" y="381276"/>
                      </a:lnTo>
                      <a:lnTo>
                        <a:pt x="1341734" y="382332"/>
                      </a:lnTo>
                      <a:lnTo>
                        <a:pt x="1341977" y="382733"/>
                      </a:lnTo>
                      <a:lnTo>
                        <a:pt x="1341892" y="382733"/>
                      </a:lnTo>
                      <a:lnTo>
                        <a:pt x="1341406" y="382745"/>
                      </a:lnTo>
                      <a:lnTo>
                        <a:pt x="1340932" y="382843"/>
                      </a:lnTo>
                      <a:lnTo>
                        <a:pt x="1338856" y="383268"/>
                      </a:lnTo>
                      <a:lnTo>
                        <a:pt x="1337885" y="383474"/>
                      </a:lnTo>
                      <a:lnTo>
                        <a:pt x="1337023" y="383972"/>
                      </a:lnTo>
                      <a:lnTo>
                        <a:pt x="1335869" y="384640"/>
                      </a:lnTo>
                      <a:lnTo>
                        <a:pt x="1335177" y="385040"/>
                      </a:lnTo>
                      <a:lnTo>
                        <a:pt x="1334618" y="385599"/>
                      </a:lnTo>
                      <a:lnTo>
                        <a:pt x="1333355" y="386862"/>
                      </a:lnTo>
                      <a:lnTo>
                        <a:pt x="1333125" y="387080"/>
                      </a:lnTo>
                      <a:lnTo>
                        <a:pt x="1332930" y="387335"/>
                      </a:lnTo>
                      <a:lnTo>
                        <a:pt x="1330963" y="389764"/>
                      </a:lnTo>
                      <a:lnTo>
                        <a:pt x="1330563" y="389582"/>
                      </a:lnTo>
                      <a:lnTo>
                        <a:pt x="1324175" y="383875"/>
                      </a:lnTo>
                      <a:lnTo>
                        <a:pt x="1323787" y="383523"/>
                      </a:lnTo>
                      <a:lnTo>
                        <a:pt x="1323337" y="383243"/>
                      </a:lnTo>
                      <a:lnTo>
                        <a:pt x="1320290" y="381349"/>
                      </a:lnTo>
                      <a:lnTo>
                        <a:pt x="1319889" y="381106"/>
                      </a:lnTo>
                      <a:lnTo>
                        <a:pt x="1319464" y="380924"/>
                      </a:lnTo>
                      <a:lnTo>
                        <a:pt x="1317582" y="380123"/>
                      </a:lnTo>
                      <a:lnTo>
                        <a:pt x="1316088" y="379491"/>
                      </a:lnTo>
                      <a:lnTo>
                        <a:pt x="1314485" y="379685"/>
                      </a:lnTo>
                      <a:lnTo>
                        <a:pt x="1313392" y="379819"/>
                      </a:lnTo>
                      <a:lnTo>
                        <a:pt x="1312615" y="379916"/>
                      </a:lnTo>
                      <a:lnTo>
                        <a:pt x="1311887" y="380195"/>
                      </a:lnTo>
                      <a:lnTo>
                        <a:pt x="1307321" y="381980"/>
                      </a:lnTo>
                      <a:lnTo>
                        <a:pt x="1306143" y="382248"/>
                      </a:lnTo>
                      <a:lnTo>
                        <a:pt x="1304807" y="382260"/>
                      </a:lnTo>
                      <a:lnTo>
                        <a:pt x="1304540" y="382163"/>
                      </a:lnTo>
                      <a:lnTo>
                        <a:pt x="1303350" y="380511"/>
                      </a:lnTo>
                      <a:lnTo>
                        <a:pt x="1302998" y="380025"/>
                      </a:lnTo>
                      <a:lnTo>
                        <a:pt x="1302549" y="379612"/>
                      </a:lnTo>
                      <a:lnTo>
                        <a:pt x="1301067" y="378240"/>
                      </a:lnTo>
                      <a:lnTo>
                        <a:pt x="1300181" y="377427"/>
                      </a:lnTo>
                      <a:lnTo>
                        <a:pt x="1299052" y="377014"/>
                      </a:lnTo>
                      <a:lnTo>
                        <a:pt x="1297740" y="376528"/>
                      </a:lnTo>
                      <a:lnTo>
                        <a:pt x="1296842" y="376200"/>
                      </a:lnTo>
                      <a:lnTo>
                        <a:pt x="1295882" y="376164"/>
                      </a:lnTo>
                      <a:lnTo>
                        <a:pt x="1294486" y="376103"/>
                      </a:lnTo>
                      <a:lnTo>
                        <a:pt x="1293539" y="376067"/>
                      </a:lnTo>
                      <a:lnTo>
                        <a:pt x="1292628" y="376322"/>
                      </a:lnTo>
                      <a:lnTo>
                        <a:pt x="1283096" y="378920"/>
                      </a:lnTo>
                      <a:lnTo>
                        <a:pt x="1282476" y="379017"/>
                      </a:lnTo>
                      <a:lnTo>
                        <a:pt x="1278287" y="379139"/>
                      </a:lnTo>
                      <a:lnTo>
                        <a:pt x="1278396" y="378993"/>
                      </a:lnTo>
                      <a:lnTo>
                        <a:pt x="1278688" y="378629"/>
                      </a:lnTo>
                      <a:lnTo>
                        <a:pt x="1278919" y="378216"/>
                      </a:lnTo>
                      <a:lnTo>
                        <a:pt x="1279550" y="377075"/>
                      </a:lnTo>
                      <a:lnTo>
                        <a:pt x="1280509" y="375023"/>
                      </a:lnTo>
                      <a:lnTo>
                        <a:pt x="1280837" y="374294"/>
                      </a:lnTo>
                      <a:lnTo>
                        <a:pt x="1280971" y="373505"/>
                      </a:lnTo>
                      <a:lnTo>
                        <a:pt x="1281201" y="372132"/>
                      </a:lnTo>
                      <a:lnTo>
                        <a:pt x="1281250" y="371792"/>
                      </a:lnTo>
                      <a:lnTo>
                        <a:pt x="1281274" y="371440"/>
                      </a:lnTo>
                      <a:lnTo>
                        <a:pt x="1281347" y="369923"/>
                      </a:lnTo>
                      <a:lnTo>
                        <a:pt x="1281347" y="369910"/>
                      </a:lnTo>
                      <a:lnTo>
                        <a:pt x="1281444" y="369777"/>
                      </a:lnTo>
                      <a:lnTo>
                        <a:pt x="1281724" y="369461"/>
                      </a:lnTo>
                      <a:lnTo>
                        <a:pt x="1284687" y="367093"/>
                      </a:lnTo>
                      <a:lnTo>
                        <a:pt x="1285573" y="366377"/>
                      </a:lnTo>
                      <a:lnTo>
                        <a:pt x="1286144" y="365381"/>
                      </a:lnTo>
                      <a:lnTo>
                        <a:pt x="1286605" y="364580"/>
                      </a:lnTo>
                      <a:lnTo>
                        <a:pt x="1287261" y="363450"/>
                      </a:lnTo>
                      <a:lnTo>
                        <a:pt x="1287394" y="362151"/>
                      </a:lnTo>
                      <a:lnTo>
                        <a:pt x="1287916" y="356905"/>
                      </a:lnTo>
                      <a:lnTo>
                        <a:pt x="1288147" y="356043"/>
                      </a:lnTo>
                      <a:lnTo>
                        <a:pt x="1293417" y="343973"/>
                      </a:lnTo>
                      <a:lnTo>
                        <a:pt x="1293867" y="342953"/>
                      </a:lnTo>
                      <a:lnTo>
                        <a:pt x="1293915" y="341824"/>
                      </a:lnTo>
                      <a:lnTo>
                        <a:pt x="1294036" y="339201"/>
                      </a:lnTo>
                      <a:lnTo>
                        <a:pt x="1294097" y="337780"/>
                      </a:lnTo>
                      <a:lnTo>
                        <a:pt x="1293527" y="336481"/>
                      </a:lnTo>
                      <a:lnTo>
                        <a:pt x="1292883" y="335024"/>
                      </a:lnTo>
                      <a:lnTo>
                        <a:pt x="1292288" y="333688"/>
                      </a:lnTo>
                      <a:lnTo>
                        <a:pt x="1291147" y="332765"/>
                      </a:lnTo>
                      <a:lnTo>
                        <a:pt x="1289653" y="331551"/>
                      </a:lnTo>
                      <a:lnTo>
                        <a:pt x="1289022" y="331029"/>
                      </a:lnTo>
                      <a:lnTo>
                        <a:pt x="1288269" y="330701"/>
                      </a:lnTo>
                      <a:lnTo>
                        <a:pt x="1287297" y="330276"/>
                      </a:lnTo>
                      <a:lnTo>
                        <a:pt x="1286739" y="330033"/>
                      </a:lnTo>
                      <a:lnTo>
                        <a:pt x="1286156" y="329911"/>
                      </a:lnTo>
                      <a:lnTo>
                        <a:pt x="1284723" y="329596"/>
                      </a:lnTo>
                      <a:lnTo>
                        <a:pt x="1284140" y="329462"/>
                      </a:lnTo>
                      <a:lnTo>
                        <a:pt x="1283545" y="329450"/>
                      </a:lnTo>
                      <a:lnTo>
                        <a:pt x="1282282" y="329426"/>
                      </a:lnTo>
                      <a:lnTo>
                        <a:pt x="1281809" y="329426"/>
                      </a:lnTo>
                      <a:lnTo>
                        <a:pt x="1281335" y="329487"/>
                      </a:lnTo>
                      <a:lnTo>
                        <a:pt x="1279659" y="329717"/>
                      </a:lnTo>
                      <a:lnTo>
                        <a:pt x="1279125" y="329790"/>
                      </a:lnTo>
                      <a:lnTo>
                        <a:pt x="1278797" y="330081"/>
                      </a:lnTo>
                      <a:lnTo>
                        <a:pt x="1277304" y="330567"/>
                      </a:lnTo>
                      <a:lnTo>
                        <a:pt x="1275871" y="331114"/>
                      </a:lnTo>
                      <a:lnTo>
                        <a:pt x="1275385" y="331308"/>
                      </a:lnTo>
                      <a:lnTo>
                        <a:pt x="1274936" y="331575"/>
                      </a:lnTo>
                      <a:lnTo>
                        <a:pt x="1274183" y="332036"/>
                      </a:lnTo>
                      <a:lnTo>
                        <a:pt x="1273466" y="332474"/>
                      </a:lnTo>
                      <a:lnTo>
                        <a:pt x="1272896" y="333081"/>
                      </a:lnTo>
                      <a:lnTo>
                        <a:pt x="1272264" y="333749"/>
                      </a:lnTo>
                      <a:lnTo>
                        <a:pt x="1271851" y="334186"/>
                      </a:lnTo>
                      <a:lnTo>
                        <a:pt x="1271536" y="334696"/>
                      </a:lnTo>
                      <a:lnTo>
                        <a:pt x="1271074" y="335436"/>
                      </a:lnTo>
                      <a:lnTo>
                        <a:pt x="1270795" y="335886"/>
                      </a:lnTo>
                      <a:lnTo>
                        <a:pt x="1270588" y="336384"/>
                      </a:lnTo>
                      <a:lnTo>
                        <a:pt x="1270188" y="337367"/>
                      </a:lnTo>
                      <a:lnTo>
                        <a:pt x="1270042" y="337732"/>
                      </a:lnTo>
                      <a:lnTo>
                        <a:pt x="1269945" y="338120"/>
                      </a:lnTo>
                      <a:lnTo>
                        <a:pt x="1269095" y="341435"/>
                      </a:lnTo>
                      <a:lnTo>
                        <a:pt x="1268949" y="341459"/>
                      </a:lnTo>
                      <a:lnTo>
                        <a:pt x="1255495" y="341872"/>
                      </a:lnTo>
                      <a:lnTo>
                        <a:pt x="1255058" y="341884"/>
                      </a:lnTo>
                      <a:lnTo>
                        <a:pt x="1254633" y="341957"/>
                      </a:lnTo>
                      <a:lnTo>
                        <a:pt x="1252690" y="342297"/>
                      </a:lnTo>
                      <a:lnTo>
                        <a:pt x="1252059" y="342407"/>
                      </a:lnTo>
                      <a:lnTo>
                        <a:pt x="1251463" y="342649"/>
                      </a:lnTo>
                      <a:lnTo>
                        <a:pt x="1250310" y="343111"/>
                      </a:lnTo>
                      <a:lnTo>
                        <a:pt x="1249557" y="343402"/>
                      </a:lnTo>
                      <a:lnTo>
                        <a:pt x="1248913" y="343888"/>
                      </a:lnTo>
                      <a:lnTo>
                        <a:pt x="1248221" y="344410"/>
                      </a:lnTo>
                      <a:lnTo>
                        <a:pt x="1246278" y="345867"/>
                      </a:lnTo>
                      <a:lnTo>
                        <a:pt x="1245878" y="348272"/>
                      </a:lnTo>
                      <a:lnTo>
                        <a:pt x="1245768" y="348952"/>
                      </a:lnTo>
                      <a:lnTo>
                        <a:pt x="1245392" y="351186"/>
                      </a:lnTo>
                      <a:lnTo>
                        <a:pt x="1246582" y="353117"/>
                      </a:lnTo>
                      <a:lnTo>
                        <a:pt x="1247043" y="353869"/>
                      </a:lnTo>
                      <a:lnTo>
                        <a:pt x="1247602" y="354768"/>
                      </a:lnTo>
                      <a:lnTo>
                        <a:pt x="1248428" y="355424"/>
                      </a:lnTo>
                      <a:lnTo>
                        <a:pt x="1249351" y="356164"/>
                      </a:lnTo>
                      <a:lnTo>
                        <a:pt x="1249593" y="356359"/>
                      </a:lnTo>
                      <a:lnTo>
                        <a:pt x="1249848" y="356529"/>
                      </a:lnTo>
                      <a:lnTo>
                        <a:pt x="1251816" y="357792"/>
                      </a:lnTo>
                      <a:lnTo>
                        <a:pt x="1251621" y="357852"/>
                      </a:lnTo>
                      <a:lnTo>
                        <a:pt x="1249059" y="358727"/>
                      </a:lnTo>
                      <a:lnTo>
                        <a:pt x="1249023" y="358702"/>
                      </a:lnTo>
                      <a:lnTo>
                        <a:pt x="1245185" y="354975"/>
                      </a:lnTo>
                      <a:lnTo>
                        <a:pt x="1244603" y="354112"/>
                      </a:lnTo>
                      <a:lnTo>
                        <a:pt x="1243874" y="352631"/>
                      </a:lnTo>
                      <a:lnTo>
                        <a:pt x="1242441" y="349049"/>
                      </a:lnTo>
                      <a:lnTo>
                        <a:pt x="1242174" y="348369"/>
                      </a:lnTo>
                      <a:lnTo>
                        <a:pt x="1241737" y="347774"/>
                      </a:lnTo>
                      <a:lnTo>
                        <a:pt x="1240474" y="346025"/>
                      </a:lnTo>
                      <a:lnTo>
                        <a:pt x="1239782" y="345066"/>
                      </a:lnTo>
                      <a:lnTo>
                        <a:pt x="1238786" y="344435"/>
                      </a:lnTo>
                      <a:lnTo>
                        <a:pt x="1237645" y="343718"/>
                      </a:lnTo>
                      <a:lnTo>
                        <a:pt x="1236491" y="342989"/>
                      </a:lnTo>
                      <a:lnTo>
                        <a:pt x="1235131" y="342819"/>
                      </a:lnTo>
                      <a:lnTo>
                        <a:pt x="1233455" y="342613"/>
                      </a:lnTo>
                      <a:lnTo>
                        <a:pt x="1232229" y="342467"/>
                      </a:lnTo>
                      <a:lnTo>
                        <a:pt x="1231051" y="342807"/>
                      </a:lnTo>
                      <a:lnTo>
                        <a:pt x="1229958" y="343123"/>
                      </a:lnTo>
                      <a:lnTo>
                        <a:pt x="1229133" y="343366"/>
                      </a:lnTo>
                      <a:lnTo>
                        <a:pt x="1228404" y="343815"/>
                      </a:lnTo>
                      <a:lnTo>
                        <a:pt x="1227263" y="344532"/>
                      </a:lnTo>
                      <a:lnTo>
                        <a:pt x="1225295" y="345770"/>
                      </a:lnTo>
                      <a:lnTo>
                        <a:pt x="1224652" y="348004"/>
                      </a:lnTo>
                      <a:lnTo>
                        <a:pt x="1224360" y="349012"/>
                      </a:lnTo>
                      <a:lnTo>
                        <a:pt x="1224057" y="350093"/>
                      </a:lnTo>
                      <a:lnTo>
                        <a:pt x="1224154" y="351210"/>
                      </a:lnTo>
                      <a:lnTo>
                        <a:pt x="1224239" y="352194"/>
                      </a:lnTo>
                      <a:lnTo>
                        <a:pt x="1220280" y="351538"/>
                      </a:lnTo>
                      <a:lnTo>
                        <a:pt x="1218070" y="350482"/>
                      </a:lnTo>
                      <a:lnTo>
                        <a:pt x="1217427" y="350178"/>
                      </a:lnTo>
                      <a:lnTo>
                        <a:pt x="1216723" y="350032"/>
                      </a:lnTo>
                      <a:lnTo>
                        <a:pt x="1214950" y="349656"/>
                      </a:lnTo>
                      <a:lnTo>
                        <a:pt x="1213650" y="349377"/>
                      </a:lnTo>
                      <a:lnTo>
                        <a:pt x="1212351" y="349668"/>
                      </a:lnTo>
                      <a:lnTo>
                        <a:pt x="1211537" y="349850"/>
                      </a:lnTo>
                      <a:lnTo>
                        <a:pt x="1208271" y="350591"/>
                      </a:lnTo>
                      <a:lnTo>
                        <a:pt x="1207154" y="353736"/>
                      </a:lnTo>
                      <a:lnTo>
                        <a:pt x="1206984" y="354367"/>
                      </a:lnTo>
                      <a:lnTo>
                        <a:pt x="1206559" y="355557"/>
                      </a:lnTo>
                      <a:lnTo>
                        <a:pt x="1206644" y="356820"/>
                      </a:lnTo>
                      <a:lnTo>
                        <a:pt x="1206705" y="357682"/>
                      </a:lnTo>
                      <a:lnTo>
                        <a:pt x="1206741" y="358180"/>
                      </a:lnTo>
                      <a:lnTo>
                        <a:pt x="1206850" y="358666"/>
                      </a:lnTo>
                      <a:lnTo>
                        <a:pt x="1207360" y="360827"/>
                      </a:lnTo>
                      <a:lnTo>
                        <a:pt x="1207433" y="361143"/>
                      </a:lnTo>
                      <a:lnTo>
                        <a:pt x="1207433" y="361143"/>
                      </a:lnTo>
                      <a:lnTo>
                        <a:pt x="1205842" y="360779"/>
                      </a:lnTo>
                      <a:lnTo>
                        <a:pt x="1204580" y="360487"/>
                      </a:lnTo>
                      <a:lnTo>
                        <a:pt x="1201762" y="359844"/>
                      </a:lnTo>
                      <a:lnTo>
                        <a:pt x="1199480" y="361617"/>
                      </a:lnTo>
                      <a:lnTo>
                        <a:pt x="1198969" y="362017"/>
                      </a:lnTo>
                      <a:lnTo>
                        <a:pt x="1196820" y="363693"/>
                      </a:lnTo>
                      <a:lnTo>
                        <a:pt x="1196638" y="366413"/>
                      </a:lnTo>
                      <a:lnTo>
                        <a:pt x="1196577" y="367336"/>
                      </a:lnTo>
                      <a:lnTo>
                        <a:pt x="1196541" y="367967"/>
                      </a:lnTo>
                      <a:lnTo>
                        <a:pt x="1196626" y="368587"/>
                      </a:lnTo>
                      <a:lnTo>
                        <a:pt x="1196687" y="369024"/>
                      </a:lnTo>
                      <a:lnTo>
                        <a:pt x="1193882" y="368526"/>
                      </a:lnTo>
                      <a:lnTo>
                        <a:pt x="1192874" y="368344"/>
                      </a:lnTo>
                      <a:lnTo>
                        <a:pt x="1191866" y="368502"/>
                      </a:lnTo>
                      <a:lnTo>
                        <a:pt x="1189231" y="368927"/>
                      </a:lnTo>
                      <a:lnTo>
                        <a:pt x="1188672" y="369012"/>
                      </a:lnTo>
                      <a:lnTo>
                        <a:pt x="1188150" y="369206"/>
                      </a:lnTo>
                      <a:lnTo>
                        <a:pt x="1184617" y="370469"/>
                      </a:lnTo>
                      <a:lnTo>
                        <a:pt x="1184107" y="369716"/>
                      </a:lnTo>
                      <a:lnTo>
                        <a:pt x="1183609" y="368745"/>
                      </a:lnTo>
                      <a:lnTo>
                        <a:pt x="1183366" y="367858"/>
                      </a:lnTo>
                      <a:lnTo>
                        <a:pt x="1185770" y="367130"/>
                      </a:lnTo>
                      <a:lnTo>
                        <a:pt x="1186960" y="366777"/>
                      </a:lnTo>
                      <a:lnTo>
                        <a:pt x="1187919" y="365988"/>
                      </a:lnTo>
                      <a:lnTo>
                        <a:pt x="1189304" y="364835"/>
                      </a:lnTo>
                      <a:lnTo>
                        <a:pt x="1189911" y="364325"/>
                      </a:lnTo>
                      <a:lnTo>
                        <a:pt x="1190372" y="363669"/>
                      </a:lnTo>
                      <a:lnTo>
                        <a:pt x="1191562" y="361981"/>
                      </a:lnTo>
                      <a:lnTo>
                        <a:pt x="1194914" y="358654"/>
                      </a:lnTo>
                      <a:lnTo>
                        <a:pt x="1195229" y="358338"/>
                      </a:lnTo>
                      <a:lnTo>
                        <a:pt x="1195497" y="357974"/>
                      </a:lnTo>
                      <a:lnTo>
                        <a:pt x="1196589" y="356504"/>
                      </a:lnTo>
                      <a:lnTo>
                        <a:pt x="1196844" y="356164"/>
                      </a:lnTo>
                      <a:lnTo>
                        <a:pt x="1197051" y="355788"/>
                      </a:lnTo>
                      <a:lnTo>
                        <a:pt x="1197330" y="355278"/>
                      </a:lnTo>
                      <a:lnTo>
                        <a:pt x="1197622" y="355181"/>
                      </a:lnTo>
                      <a:lnTo>
                        <a:pt x="1198095" y="355023"/>
                      </a:lnTo>
                      <a:lnTo>
                        <a:pt x="1198532" y="354780"/>
                      </a:lnTo>
                      <a:lnTo>
                        <a:pt x="1199686" y="354173"/>
                      </a:lnTo>
                      <a:lnTo>
                        <a:pt x="1202054" y="352728"/>
                      </a:lnTo>
                      <a:lnTo>
                        <a:pt x="1204628" y="351696"/>
                      </a:lnTo>
                      <a:lnTo>
                        <a:pt x="1204907" y="351587"/>
                      </a:lnTo>
                      <a:lnTo>
                        <a:pt x="1205175" y="351441"/>
                      </a:lnTo>
                      <a:lnTo>
                        <a:pt x="1207251" y="350348"/>
                      </a:lnTo>
                      <a:lnTo>
                        <a:pt x="1208004" y="349959"/>
                      </a:lnTo>
                      <a:lnTo>
                        <a:pt x="1208611" y="349377"/>
                      </a:lnTo>
                      <a:lnTo>
                        <a:pt x="1209582" y="348454"/>
                      </a:lnTo>
                      <a:lnTo>
                        <a:pt x="1210007" y="348053"/>
                      </a:lnTo>
                      <a:lnTo>
                        <a:pt x="1210347" y="347579"/>
                      </a:lnTo>
                      <a:lnTo>
                        <a:pt x="1211040" y="346608"/>
                      </a:lnTo>
                      <a:lnTo>
                        <a:pt x="1212169" y="345029"/>
                      </a:lnTo>
                      <a:lnTo>
                        <a:pt x="1212169" y="343087"/>
                      </a:lnTo>
                      <a:lnTo>
                        <a:pt x="1212169" y="342018"/>
                      </a:lnTo>
                      <a:lnTo>
                        <a:pt x="1212169" y="341047"/>
                      </a:lnTo>
                      <a:lnTo>
                        <a:pt x="1211877" y="340136"/>
                      </a:lnTo>
                      <a:lnTo>
                        <a:pt x="1211537" y="339079"/>
                      </a:lnTo>
                      <a:lnTo>
                        <a:pt x="1211392" y="338618"/>
                      </a:lnTo>
                      <a:lnTo>
                        <a:pt x="1211173" y="338181"/>
                      </a:lnTo>
                      <a:lnTo>
                        <a:pt x="1209777" y="335461"/>
                      </a:lnTo>
                      <a:lnTo>
                        <a:pt x="1209752" y="335388"/>
                      </a:lnTo>
                      <a:lnTo>
                        <a:pt x="1209437" y="332619"/>
                      </a:lnTo>
                      <a:lnTo>
                        <a:pt x="1209376" y="332085"/>
                      </a:lnTo>
                      <a:lnTo>
                        <a:pt x="1209218" y="331563"/>
                      </a:lnTo>
                      <a:lnTo>
                        <a:pt x="1208878" y="330446"/>
                      </a:lnTo>
                      <a:lnTo>
                        <a:pt x="1208660" y="329729"/>
                      </a:lnTo>
                      <a:lnTo>
                        <a:pt x="1208283" y="329086"/>
                      </a:lnTo>
                      <a:lnTo>
                        <a:pt x="1207712" y="328114"/>
                      </a:lnTo>
                      <a:lnTo>
                        <a:pt x="1207518" y="327787"/>
                      </a:lnTo>
                      <a:lnTo>
                        <a:pt x="1207275" y="327483"/>
                      </a:lnTo>
                      <a:lnTo>
                        <a:pt x="1206632" y="326669"/>
                      </a:lnTo>
                      <a:lnTo>
                        <a:pt x="1205964" y="325807"/>
                      </a:lnTo>
                      <a:lnTo>
                        <a:pt x="1205041" y="325236"/>
                      </a:lnTo>
                      <a:lnTo>
                        <a:pt x="1204191" y="324714"/>
                      </a:lnTo>
                      <a:lnTo>
                        <a:pt x="1203110" y="324047"/>
                      </a:lnTo>
                      <a:lnTo>
                        <a:pt x="1201847" y="323864"/>
                      </a:lnTo>
                      <a:lnTo>
                        <a:pt x="1200924" y="323731"/>
                      </a:lnTo>
                      <a:lnTo>
                        <a:pt x="1200257" y="323634"/>
                      </a:lnTo>
                      <a:lnTo>
                        <a:pt x="1200172" y="323476"/>
                      </a:lnTo>
                      <a:lnTo>
                        <a:pt x="1199807" y="323027"/>
                      </a:lnTo>
                      <a:lnTo>
                        <a:pt x="1199115" y="322164"/>
                      </a:lnTo>
                      <a:lnTo>
                        <a:pt x="1198836" y="321812"/>
                      </a:lnTo>
                      <a:lnTo>
                        <a:pt x="1198508" y="321509"/>
                      </a:lnTo>
                      <a:lnTo>
                        <a:pt x="1197755" y="320816"/>
                      </a:lnTo>
                      <a:lnTo>
                        <a:pt x="1197294" y="320391"/>
                      </a:lnTo>
                      <a:lnTo>
                        <a:pt x="1196760" y="320076"/>
                      </a:lnTo>
                      <a:lnTo>
                        <a:pt x="1194234" y="318558"/>
                      </a:lnTo>
                      <a:lnTo>
                        <a:pt x="1193687" y="318230"/>
                      </a:lnTo>
                      <a:lnTo>
                        <a:pt x="1193092" y="318024"/>
                      </a:lnTo>
                      <a:lnTo>
                        <a:pt x="1192764" y="317914"/>
                      </a:lnTo>
                      <a:lnTo>
                        <a:pt x="1192485" y="311503"/>
                      </a:lnTo>
                      <a:lnTo>
                        <a:pt x="1192473" y="311199"/>
                      </a:lnTo>
                      <a:lnTo>
                        <a:pt x="1192424" y="310896"/>
                      </a:lnTo>
                      <a:lnTo>
                        <a:pt x="1191501" y="304606"/>
                      </a:lnTo>
                      <a:lnTo>
                        <a:pt x="1191429" y="304120"/>
                      </a:lnTo>
                      <a:lnTo>
                        <a:pt x="1191283" y="303659"/>
                      </a:lnTo>
                      <a:lnTo>
                        <a:pt x="1190712" y="301849"/>
                      </a:lnTo>
                      <a:lnTo>
                        <a:pt x="1190603" y="301497"/>
                      </a:lnTo>
                      <a:lnTo>
                        <a:pt x="1190457" y="301157"/>
                      </a:lnTo>
                      <a:lnTo>
                        <a:pt x="1189826" y="299773"/>
                      </a:lnTo>
                      <a:lnTo>
                        <a:pt x="1189559" y="299190"/>
                      </a:lnTo>
                      <a:lnTo>
                        <a:pt x="1189170" y="298668"/>
                      </a:lnTo>
                      <a:lnTo>
                        <a:pt x="1186244" y="294721"/>
                      </a:lnTo>
                      <a:lnTo>
                        <a:pt x="1185212" y="293070"/>
                      </a:lnTo>
                      <a:lnTo>
                        <a:pt x="1183973" y="291127"/>
                      </a:lnTo>
                      <a:lnTo>
                        <a:pt x="1181775" y="290483"/>
                      </a:lnTo>
                      <a:lnTo>
                        <a:pt x="1180342" y="290071"/>
                      </a:lnTo>
                      <a:lnTo>
                        <a:pt x="1179808" y="289913"/>
                      </a:lnTo>
                      <a:lnTo>
                        <a:pt x="1179249" y="289864"/>
                      </a:lnTo>
                      <a:lnTo>
                        <a:pt x="1177756" y="289718"/>
                      </a:lnTo>
                      <a:lnTo>
                        <a:pt x="1176906" y="289633"/>
                      </a:lnTo>
                      <a:lnTo>
                        <a:pt x="1176056" y="289791"/>
                      </a:lnTo>
                      <a:lnTo>
                        <a:pt x="1173360" y="290289"/>
                      </a:lnTo>
                      <a:lnTo>
                        <a:pt x="1173032" y="290350"/>
                      </a:lnTo>
                      <a:lnTo>
                        <a:pt x="1172716" y="290447"/>
                      </a:lnTo>
                      <a:lnTo>
                        <a:pt x="1169839" y="291309"/>
                      </a:lnTo>
                      <a:lnTo>
                        <a:pt x="1167944" y="290483"/>
                      </a:lnTo>
                      <a:lnTo>
                        <a:pt x="1166961" y="290046"/>
                      </a:lnTo>
                      <a:lnTo>
                        <a:pt x="1165880" y="289985"/>
                      </a:lnTo>
                      <a:lnTo>
                        <a:pt x="1164447" y="289900"/>
                      </a:lnTo>
                      <a:lnTo>
                        <a:pt x="1162929" y="289803"/>
                      </a:lnTo>
                      <a:lnTo>
                        <a:pt x="1161545" y="290435"/>
                      </a:lnTo>
                      <a:lnTo>
                        <a:pt x="1160233" y="291030"/>
                      </a:lnTo>
                      <a:lnTo>
                        <a:pt x="1158691" y="291734"/>
                      </a:lnTo>
                      <a:lnTo>
                        <a:pt x="1157732" y="293143"/>
                      </a:lnTo>
                      <a:lnTo>
                        <a:pt x="1157040" y="294151"/>
                      </a:lnTo>
                      <a:lnTo>
                        <a:pt x="1156712" y="294636"/>
                      </a:lnTo>
                      <a:lnTo>
                        <a:pt x="1156481" y="295171"/>
                      </a:lnTo>
                      <a:lnTo>
                        <a:pt x="1155571" y="297271"/>
                      </a:lnTo>
                      <a:lnTo>
                        <a:pt x="1155182" y="297769"/>
                      </a:lnTo>
                      <a:lnTo>
                        <a:pt x="1154417" y="298546"/>
                      </a:lnTo>
                      <a:lnTo>
                        <a:pt x="1148625" y="302760"/>
                      </a:lnTo>
                      <a:lnTo>
                        <a:pt x="1145820" y="301424"/>
                      </a:lnTo>
                      <a:lnTo>
                        <a:pt x="1143258" y="300210"/>
                      </a:lnTo>
                      <a:lnTo>
                        <a:pt x="1140683" y="301388"/>
                      </a:lnTo>
                      <a:lnTo>
                        <a:pt x="1127253" y="307532"/>
                      </a:lnTo>
                      <a:lnTo>
                        <a:pt x="1126743" y="307775"/>
                      </a:lnTo>
                      <a:lnTo>
                        <a:pt x="1126282" y="308103"/>
                      </a:lnTo>
                      <a:lnTo>
                        <a:pt x="1123246" y="310252"/>
                      </a:lnTo>
                      <a:lnTo>
                        <a:pt x="1122894" y="310495"/>
                      </a:lnTo>
                      <a:lnTo>
                        <a:pt x="1122590" y="310786"/>
                      </a:lnTo>
                      <a:lnTo>
                        <a:pt x="1117964" y="315146"/>
                      </a:lnTo>
                      <a:lnTo>
                        <a:pt x="1111334" y="320076"/>
                      </a:lnTo>
                      <a:lnTo>
                        <a:pt x="1108638" y="321654"/>
                      </a:lnTo>
                      <a:lnTo>
                        <a:pt x="1107339" y="322043"/>
                      </a:lnTo>
                      <a:lnTo>
                        <a:pt x="1103405" y="322249"/>
                      </a:lnTo>
                      <a:lnTo>
                        <a:pt x="1102664" y="322286"/>
                      </a:lnTo>
                      <a:lnTo>
                        <a:pt x="1101960" y="322504"/>
                      </a:lnTo>
                      <a:lnTo>
                        <a:pt x="1097418" y="323876"/>
                      </a:lnTo>
                      <a:lnTo>
                        <a:pt x="1096605" y="324119"/>
                      </a:lnTo>
                      <a:lnTo>
                        <a:pt x="1095888" y="324581"/>
                      </a:lnTo>
                      <a:lnTo>
                        <a:pt x="1093702" y="326001"/>
                      </a:lnTo>
                      <a:lnTo>
                        <a:pt x="1092913" y="326511"/>
                      </a:lnTo>
                      <a:lnTo>
                        <a:pt x="1092318" y="327228"/>
                      </a:lnTo>
                      <a:lnTo>
                        <a:pt x="1091249" y="328515"/>
                      </a:lnTo>
                      <a:lnTo>
                        <a:pt x="1090193" y="329778"/>
                      </a:lnTo>
                      <a:lnTo>
                        <a:pt x="1089926" y="331405"/>
                      </a:lnTo>
                      <a:lnTo>
                        <a:pt x="1089744" y="332498"/>
                      </a:lnTo>
                      <a:lnTo>
                        <a:pt x="1089671" y="332984"/>
                      </a:lnTo>
                      <a:lnTo>
                        <a:pt x="1089671" y="333481"/>
                      </a:lnTo>
                      <a:lnTo>
                        <a:pt x="1089671" y="334514"/>
                      </a:lnTo>
                      <a:lnTo>
                        <a:pt x="1089671" y="335084"/>
                      </a:lnTo>
                      <a:lnTo>
                        <a:pt x="1089780" y="335655"/>
                      </a:lnTo>
                      <a:lnTo>
                        <a:pt x="1090011" y="336833"/>
                      </a:lnTo>
                      <a:lnTo>
                        <a:pt x="1090072" y="337161"/>
                      </a:lnTo>
                      <a:lnTo>
                        <a:pt x="1090169" y="337476"/>
                      </a:lnTo>
                      <a:lnTo>
                        <a:pt x="1090569" y="338788"/>
                      </a:lnTo>
                      <a:lnTo>
                        <a:pt x="1090740" y="339334"/>
                      </a:lnTo>
                      <a:lnTo>
                        <a:pt x="1091007" y="339844"/>
                      </a:lnTo>
                      <a:lnTo>
                        <a:pt x="1091869" y="341459"/>
                      </a:lnTo>
                      <a:lnTo>
                        <a:pt x="1092051" y="341812"/>
                      </a:lnTo>
                      <a:lnTo>
                        <a:pt x="1092294" y="342139"/>
                      </a:lnTo>
                      <a:lnTo>
                        <a:pt x="1093435" y="343742"/>
                      </a:lnTo>
                      <a:lnTo>
                        <a:pt x="1093945" y="344337"/>
                      </a:lnTo>
                      <a:lnTo>
                        <a:pt x="1093763" y="344435"/>
                      </a:lnTo>
                      <a:lnTo>
                        <a:pt x="1090630" y="346122"/>
                      </a:lnTo>
                      <a:lnTo>
                        <a:pt x="1090290" y="345697"/>
                      </a:lnTo>
                      <a:lnTo>
                        <a:pt x="1089914" y="345199"/>
                      </a:lnTo>
                      <a:lnTo>
                        <a:pt x="1089440" y="344799"/>
                      </a:lnTo>
                      <a:lnTo>
                        <a:pt x="1088347" y="343876"/>
                      </a:lnTo>
                      <a:lnTo>
                        <a:pt x="1087789" y="343402"/>
                      </a:lnTo>
                      <a:lnTo>
                        <a:pt x="1087133" y="343075"/>
                      </a:lnTo>
                      <a:lnTo>
                        <a:pt x="1086040" y="342528"/>
                      </a:lnTo>
                      <a:lnTo>
                        <a:pt x="1085190" y="342103"/>
                      </a:lnTo>
                      <a:lnTo>
                        <a:pt x="1084255" y="341957"/>
                      </a:lnTo>
                      <a:lnTo>
                        <a:pt x="1083284" y="341812"/>
                      </a:lnTo>
                      <a:lnTo>
                        <a:pt x="1082252" y="341654"/>
                      </a:lnTo>
                      <a:lnTo>
                        <a:pt x="1081220" y="341848"/>
                      </a:lnTo>
                      <a:lnTo>
                        <a:pt x="1076787" y="342698"/>
                      </a:lnTo>
                      <a:lnTo>
                        <a:pt x="1063466" y="343499"/>
                      </a:lnTo>
                      <a:lnTo>
                        <a:pt x="1062119" y="343366"/>
                      </a:lnTo>
                      <a:lnTo>
                        <a:pt x="1057261" y="342006"/>
                      </a:lnTo>
                      <a:lnTo>
                        <a:pt x="1050389" y="338764"/>
                      </a:lnTo>
                      <a:lnTo>
                        <a:pt x="1050061" y="338606"/>
                      </a:lnTo>
                      <a:lnTo>
                        <a:pt x="1049709" y="338496"/>
                      </a:lnTo>
                      <a:lnTo>
                        <a:pt x="1047462" y="337744"/>
                      </a:lnTo>
                      <a:lnTo>
                        <a:pt x="1047049" y="337610"/>
                      </a:lnTo>
                      <a:lnTo>
                        <a:pt x="1046624" y="337537"/>
                      </a:lnTo>
                      <a:lnTo>
                        <a:pt x="1045458" y="337331"/>
                      </a:lnTo>
                      <a:lnTo>
                        <a:pt x="1044754" y="337209"/>
                      </a:lnTo>
                      <a:lnTo>
                        <a:pt x="1044050" y="337246"/>
                      </a:lnTo>
                      <a:lnTo>
                        <a:pt x="1042848" y="337307"/>
                      </a:lnTo>
                      <a:lnTo>
                        <a:pt x="1042326" y="337331"/>
                      </a:lnTo>
                      <a:lnTo>
                        <a:pt x="1041816" y="337452"/>
                      </a:lnTo>
                      <a:lnTo>
                        <a:pt x="1039569" y="337974"/>
                      </a:lnTo>
                      <a:lnTo>
                        <a:pt x="1038246" y="338278"/>
                      </a:lnTo>
                      <a:lnTo>
                        <a:pt x="1037177" y="339116"/>
                      </a:lnTo>
                      <a:lnTo>
                        <a:pt x="1035234" y="340658"/>
                      </a:lnTo>
                      <a:lnTo>
                        <a:pt x="1034700" y="341083"/>
                      </a:lnTo>
                      <a:lnTo>
                        <a:pt x="1034275" y="341605"/>
                      </a:lnTo>
                      <a:lnTo>
                        <a:pt x="1032599" y="343682"/>
                      </a:lnTo>
                      <a:lnTo>
                        <a:pt x="1032186" y="344192"/>
                      </a:lnTo>
                      <a:lnTo>
                        <a:pt x="1031895" y="344775"/>
                      </a:lnTo>
                      <a:lnTo>
                        <a:pt x="1028968" y="350615"/>
                      </a:lnTo>
                      <a:lnTo>
                        <a:pt x="1028531" y="349559"/>
                      </a:lnTo>
                      <a:lnTo>
                        <a:pt x="1027900" y="348017"/>
                      </a:lnTo>
                      <a:lnTo>
                        <a:pt x="1026564" y="347009"/>
                      </a:lnTo>
                      <a:lnTo>
                        <a:pt x="1025192" y="345977"/>
                      </a:lnTo>
                      <a:lnTo>
                        <a:pt x="1024390" y="345369"/>
                      </a:lnTo>
                      <a:lnTo>
                        <a:pt x="1023431" y="345066"/>
                      </a:lnTo>
                      <a:lnTo>
                        <a:pt x="1021306" y="344374"/>
                      </a:lnTo>
                      <a:lnTo>
                        <a:pt x="1020310" y="344058"/>
                      </a:lnTo>
                      <a:lnTo>
                        <a:pt x="1019266" y="344082"/>
                      </a:lnTo>
                      <a:lnTo>
                        <a:pt x="1015818" y="344179"/>
                      </a:lnTo>
                      <a:lnTo>
                        <a:pt x="1015745" y="344179"/>
                      </a:lnTo>
                      <a:lnTo>
                        <a:pt x="1015805" y="344022"/>
                      </a:lnTo>
                      <a:lnTo>
                        <a:pt x="1017858" y="339310"/>
                      </a:lnTo>
                      <a:lnTo>
                        <a:pt x="1023844" y="331429"/>
                      </a:lnTo>
                      <a:lnTo>
                        <a:pt x="1024208" y="330944"/>
                      </a:lnTo>
                      <a:lnTo>
                        <a:pt x="1024475" y="330397"/>
                      </a:lnTo>
                      <a:lnTo>
                        <a:pt x="1027293" y="324581"/>
                      </a:lnTo>
                      <a:lnTo>
                        <a:pt x="1027657" y="323828"/>
                      </a:lnTo>
                      <a:lnTo>
                        <a:pt x="1027803" y="323014"/>
                      </a:lnTo>
                      <a:lnTo>
                        <a:pt x="1028203" y="320792"/>
                      </a:lnTo>
                      <a:lnTo>
                        <a:pt x="1028677" y="318157"/>
                      </a:lnTo>
                      <a:lnTo>
                        <a:pt x="1027050" y="316032"/>
                      </a:lnTo>
                      <a:lnTo>
                        <a:pt x="1026309" y="315061"/>
                      </a:lnTo>
                      <a:lnTo>
                        <a:pt x="1023516" y="311393"/>
                      </a:lnTo>
                      <a:lnTo>
                        <a:pt x="1019230" y="313106"/>
                      </a:lnTo>
                      <a:lnTo>
                        <a:pt x="1017797" y="313688"/>
                      </a:lnTo>
                      <a:lnTo>
                        <a:pt x="1017044" y="313992"/>
                      </a:lnTo>
                      <a:lnTo>
                        <a:pt x="1016400" y="314490"/>
                      </a:lnTo>
                      <a:lnTo>
                        <a:pt x="1014955" y="315583"/>
                      </a:lnTo>
                      <a:lnTo>
                        <a:pt x="1014664" y="315801"/>
                      </a:lnTo>
                      <a:lnTo>
                        <a:pt x="1014409" y="316056"/>
                      </a:lnTo>
                      <a:lnTo>
                        <a:pt x="1012794" y="317623"/>
                      </a:lnTo>
                      <a:lnTo>
                        <a:pt x="1012284" y="317380"/>
                      </a:lnTo>
                      <a:lnTo>
                        <a:pt x="1011434" y="317246"/>
                      </a:lnTo>
                      <a:lnTo>
                        <a:pt x="1009661" y="316979"/>
                      </a:lnTo>
                      <a:lnTo>
                        <a:pt x="1008544" y="316809"/>
                      </a:lnTo>
                      <a:lnTo>
                        <a:pt x="1007439" y="317064"/>
                      </a:lnTo>
                      <a:lnTo>
                        <a:pt x="1005375" y="317526"/>
                      </a:lnTo>
                      <a:lnTo>
                        <a:pt x="1004622" y="317696"/>
                      </a:lnTo>
                      <a:lnTo>
                        <a:pt x="1003930" y="318048"/>
                      </a:lnTo>
                      <a:lnTo>
                        <a:pt x="1002060" y="319007"/>
                      </a:lnTo>
                      <a:lnTo>
                        <a:pt x="1004889" y="314575"/>
                      </a:lnTo>
                      <a:lnTo>
                        <a:pt x="1005387" y="313810"/>
                      </a:lnTo>
                      <a:lnTo>
                        <a:pt x="1005630" y="312924"/>
                      </a:lnTo>
                      <a:lnTo>
                        <a:pt x="1006200" y="310847"/>
                      </a:lnTo>
                      <a:lnTo>
                        <a:pt x="1006565" y="309487"/>
                      </a:lnTo>
                      <a:lnTo>
                        <a:pt x="1006310" y="308103"/>
                      </a:lnTo>
                      <a:lnTo>
                        <a:pt x="1006079" y="306888"/>
                      </a:lnTo>
                      <a:lnTo>
                        <a:pt x="1005763" y="305213"/>
                      </a:lnTo>
                      <a:lnTo>
                        <a:pt x="1004622" y="303950"/>
                      </a:lnTo>
                      <a:lnTo>
                        <a:pt x="1003468" y="302675"/>
                      </a:lnTo>
                      <a:lnTo>
                        <a:pt x="1002582" y="301691"/>
                      </a:lnTo>
                      <a:lnTo>
                        <a:pt x="1001367" y="301169"/>
                      </a:lnTo>
                      <a:lnTo>
                        <a:pt x="1000262" y="300696"/>
                      </a:lnTo>
                      <a:lnTo>
                        <a:pt x="999109" y="300198"/>
                      </a:lnTo>
                      <a:lnTo>
                        <a:pt x="997846" y="300198"/>
                      </a:lnTo>
                      <a:lnTo>
                        <a:pt x="996134" y="300198"/>
                      </a:lnTo>
                      <a:lnTo>
                        <a:pt x="993244" y="300198"/>
                      </a:lnTo>
                      <a:lnTo>
                        <a:pt x="991422" y="302420"/>
                      </a:lnTo>
                      <a:lnTo>
                        <a:pt x="986419" y="308516"/>
                      </a:lnTo>
                      <a:lnTo>
                        <a:pt x="985885" y="309171"/>
                      </a:lnTo>
                      <a:lnTo>
                        <a:pt x="985545" y="309948"/>
                      </a:lnTo>
                      <a:lnTo>
                        <a:pt x="983359" y="314964"/>
                      </a:lnTo>
                      <a:lnTo>
                        <a:pt x="983044" y="315692"/>
                      </a:lnTo>
                      <a:lnTo>
                        <a:pt x="982922" y="316481"/>
                      </a:lnTo>
                      <a:lnTo>
                        <a:pt x="982522" y="319092"/>
                      </a:lnTo>
                      <a:lnTo>
                        <a:pt x="982473" y="319432"/>
                      </a:lnTo>
                      <a:lnTo>
                        <a:pt x="982461" y="319772"/>
                      </a:lnTo>
                      <a:lnTo>
                        <a:pt x="982400" y="321533"/>
                      </a:lnTo>
                      <a:lnTo>
                        <a:pt x="982388" y="321946"/>
                      </a:lnTo>
                      <a:lnTo>
                        <a:pt x="982425" y="322359"/>
                      </a:lnTo>
                      <a:lnTo>
                        <a:pt x="982667" y="324824"/>
                      </a:lnTo>
                      <a:lnTo>
                        <a:pt x="982728" y="325479"/>
                      </a:lnTo>
                      <a:lnTo>
                        <a:pt x="982934" y="326111"/>
                      </a:lnTo>
                      <a:lnTo>
                        <a:pt x="987112" y="338861"/>
                      </a:lnTo>
                      <a:lnTo>
                        <a:pt x="986966" y="338824"/>
                      </a:lnTo>
                      <a:lnTo>
                        <a:pt x="984889" y="338278"/>
                      </a:lnTo>
                      <a:lnTo>
                        <a:pt x="984173" y="338084"/>
                      </a:lnTo>
                      <a:lnTo>
                        <a:pt x="983432" y="338072"/>
                      </a:lnTo>
                      <a:lnTo>
                        <a:pt x="981890" y="338047"/>
                      </a:lnTo>
                      <a:lnTo>
                        <a:pt x="981562" y="338047"/>
                      </a:lnTo>
                      <a:lnTo>
                        <a:pt x="981247" y="338072"/>
                      </a:lnTo>
                      <a:lnTo>
                        <a:pt x="979814" y="338205"/>
                      </a:lnTo>
                      <a:lnTo>
                        <a:pt x="979474" y="338229"/>
                      </a:lnTo>
                      <a:lnTo>
                        <a:pt x="979425" y="338241"/>
                      </a:lnTo>
                      <a:lnTo>
                        <a:pt x="977810" y="337525"/>
                      </a:lnTo>
                      <a:lnTo>
                        <a:pt x="977239" y="337270"/>
                      </a:lnTo>
                      <a:lnTo>
                        <a:pt x="976632" y="337136"/>
                      </a:lnTo>
                      <a:lnTo>
                        <a:pt x="974847" y="336760"/>
                      </a:lnTo>
                      <a:lnTo>
                        <a:pt x="974058" y="336590"/>
                      </a:lnTo>
                      <a:lnTo>
                        <a:pt x="973257" y="336639"/>
                      </a:lnTo>
                      <a:lnTo>
                        <a:pt x="971192" y="336748"/>
                      </a:lnTo>
                      <a:lnTo>
                        <a:pt x="969541" y="336845"/>
                      </a:lnTo>
                      <a:lnTo>
                        <a:pt x="968157" y="337768"/>
                      </a:lnTo>
                      <a:lnTo>
                        <a:pt x="966044" y="339176"/>
                      </a:lnTo>
                      <a:lnTo>
                        <a:pt x="965886" y="339286"/>
                      </a:lnTo>
                      <a:lnTo>
                        <a:pt x="965643" y="338472"/>
                      </a:lnTo>
                      <a:lnTo>
                        <a:pt x="964635" y="334963"/>
                      </a:lnTo>
                      <a:lnTo>
                        <a:pt x="961065" y="334210"/>
                      </a:lnTo>
                      <a:lnTo>
                        <a:pt x="959462" y="333870"/>
                      </a:lnTo>
                      <a:lnTo>
                        <a:pt x="958527" y="333676"/>
                      </a:lnTo>
                      <a:lnTo>
                        <a:pt x="957568" y="333773"/>
                      </a:lnTo>
                      <a:lnTo>
                        <a:pt x="954581" y="334089"/>
                      </a:lnTo>
                      <a:lnTo>
                        <a:pt x="953609" y="334186"/>
                      </a:lnTo>
                      <a:lnTo>
                        <a:pt x="952723" y="334587"/>
                      </a:lnTo>
                      <a:lnTo>
                        <a:pt x="948995" y="336262"/>
                      </a:lnTo>
                      <a:lnTo>
                        <a:pt x="951909" y="333372"/>
                      </a:lnTo>
                      <a:lnTo>
                        <a:pt x="952650" y="332632"/>
                      </a:lnTo>
                      <a:lnTo>
                        <a:pt x="953099" y="331696"/>
                      </a:lnTo>
                      <a:lnTo>
                        <a:pt x="953719" y="330409"/>
                      </a:lnTo>
                      <a:lnTo>
                        <a:pt x="954933" y="327896"/>
                      </a:lnTo>
                      <a:lnTo>
                        <a:pt x="953816" y="325346"/>
                      </a:lnTo>
                      <a:lnTo>
                        <a:pt x="953524" y="324666"/>
                      </a:lnTo>
                      <a:lnTo>
                        <a:pt x="953136" y="323767"/>
                      </a:lnTo>
                      <a:lnTo>
                        <a:pt x="952492" y="323039"/>
                      </a:lnTo>
                      <a:lnTo>
                        <a:pt x="952043" y="322541"/>
                      </a:lnTo>
                      <a:lnTo>
                        <a:pt x="951193" y="321581"/>
                      </a:lnTo>
                      <a:lnTo>
                        <a:pt x="950027" y="321059"/>
                      </a:lnTo>
                      <a:lnTo>
                        <a:pt x="948995" y="320586"/>
                      </a:lnTo>
                      <a:lnTo>
                        <a:pt x="948898" y="320464"/>
                      </a:lnTo>
                      <a:lnTo>
                        <a:pt x="948461" y="319942"/>
                      </a:lnTo>
                      <a:lnTo>
                        <a:pt x="947926" y="319529"/>
                      </a:lnTo>
                      <a:lnTo>
                        <a:pt x="947064" y="318873"/>
                      </a:lnTo>
                      <a:lnTo>
                        <a:pt x="946785" y="318655"/>
                      </a:lnTo>
                      <a:lnTo>
                        <a:pt x="946481" y="318473"/>
                      </a:lnTo>
                      <a:lnTo>
                        <a:pt x="945170" y="317696"/>
                      </a:lnTo>
                      <a:lnTo>
                        <a:pt x="943992" y="317004"/>
                      </a:lnTo>
                      <a:lnTo>
                        <a:pt x="942632" y="316870"/>
                      </a:lnTo>
                      <a:lnTo>
                        <a:pt x="939645" y="316591"/>
                      </a:lnTo>
                      <a:lnTo>
                        <a:pt x="938613" y="316493"/>
                      </a:lnTo>
                      <a:lnTo>
                        <a:pt x="937605" y="316748"/>
                      </a:lnTo>
                      <a:lnTo>
                        <a:pt x="936160" y="317113"/>
                      </a:lnTo>
                      <a:lnTo>
                        <a:pt x="934314" y="317574"/>
                      </a:lnTo>
                      <a:lnTo>
                        <a:pt x="933415" y="318594"/>
                      </a:lnTo>
                      <a:lnTo>
                        <a:pt x="933573" y="317902"/>
                      </a:lnTo>
                      <a:lnTo>
                        <a:pt x="933743" y="317161"/>
                      </a:lnTo>
                      <a:lnTo>
                        <a:pt x="933719" y="316396"/>
                      </a:lnTo>
                      <a:lnTo>
                        <a:pt x="933658" y="314587"/>
                      </a:lnTo>
                      <a:lnTo>
                        <a:pt x="933646" y="314126"/>
                      </a:lnTo>
                      <a:lnTo>
                        <a:pt x="933561" y="313676"/>
                      </a:lnTo>
                      <a:lnTo>
                        <a:pt x="933088" y="311151"/>
                      </a:lnTo>
                      <a:lnTo>
                        <a:pt x="933088" y="310495"/>
                      </a:lnTo>
                      <a:lnTo>
                        <a:pt x="933197" y="309961"/>
                      </a:lnTo>
                      <a:lnTo>
                        <a:pt x="936075" y="305152"/>
                      </a:lnTo>
                      <a:lnTo>
                        <a:pt x="936597" y="304290"/>
                      </a:lnTo>
                      <a:lnTo>
                        <a:pt x="936815" y="303294"/>
                      </a:lnTo>
                      <a:lnTo>
                        <a:pt x="937326" y="300890"/>
                      </a:lnTo>
                      <a:lnTo>
                        <a:pt x="937411" y="300513"/>
                      </a:lnTo>
                      <a:lnTo>
                        <a:pt x="937435" y="300125"/>
                      </a:lnTo>
                      <a:lnTo>
                        <a:pt x="937896" y="294345"/>
                      </a:lnTo>
                      <a:lnTo>
                        <a:pt x="937908" y="292511"/>
                      </a:lnTo>
                      <a:lnTo>
                        <a:pt x="937908" y="291394"/>
                      </a:lnTo>
                      <a:lnTo>
                        <a:pt x="937508" y="290350"/>
                      </a:lnTo>
                      <a:lnTo>
                        <a:pt x="937168" y="289451"/>
                      </a:lnTo>
                      <a:lnTo>
                        <a:pt x="936682" y="288200"/>
                      </a:lnTo>
                      <a:lnTo>
                        <a:pt x="935723" y="287265"/>
                      </a:lnTo>
                      <a:lnTo>
                        <a:pt x="934788" y="286355"/>
                      </a:lnTo>
                      <a:lnTo>
                        <a:pt x="933415" y="285019"/>
                      </a:lnTo>
                      <a:lnTo>
                        <a:pt x="931521" y="284716"/>
                      </a:lnTo>
                      <a:lnTo>
                        <a:pt x="930611" y="284570"/>
                      </a:lnTo>
                      <a:lnTo>
                        <a:pt x="929967" y="284473"/>
                      </a:lnTo>
                      <a:lnTo>
                        <a:pt x="930186" y="283015"/>
                      </a:lnTo>
                      <a:lnTo>
                        <a:pt x="930258" y="282566"/>
                      </a:lnTo>
                      <a:lnTo>
                        <a:pt x="930258" y="282105"/>
                      </a:lnTo>
                      <a:lnTo>
                        <a:pt x="930258" y="278255"/>
                      </a:lnTo>
                      <a:lnTo>
                        <a:pt x="930258" y="277636"/>
                      </a:lnTo>
                      <a:lnTo>
                        <a:pt x="930137" y="277029"/>
                      </a:lnTo>
                      <a:lnTo>
                        <a:pt x="929736" y="275074"/>
                      </a:lnTo>
                      <a:lnTo>
                        <a:pt x="929651" y="274685"/>
                      </a:lnTo>
                      <a:lnTo>
                        <a:pt x="929530" y="274309"/>
                      </a:lnTo>
                      <a:lnTo>
                        <a:pt x="928777" y="272135"/>
                      </a:lnTo>
                      <a:lnTo>
                        <a:pt x="928303" y="270788"/>
                      </a:lnTo>
                      <a:lnTo>
                        <a:pt x="927283" y="269780"/>
                      </a:lnTo>
                      <a:lnTo>
                        <a:pt x="925049" y="267594"/>
                      </a:lnTo>
                      <a:lnTo>
                        <a:pt x="923762" y="266331"/>
                      </a:lnTo>
                      <a:lnTo>
                        <a:pt x="921977" y="265979"/>
                      </a:lnTo>
                      <a:lnTo>
                        <a:pt x="920070" y="265603"/>
                      </a:lnTo>
                      <a:lnTo>
                        <a:pt x="918370" y="265275"/>
                      </a:lnTo>
                      <a:lnTo>
                        <a:pt x="916743" y="265894"/>
                      </a:lnTo>
                      <a:lnTo>
                        <a:pt x="914582" y="266720"/>
                      </a:lnTo>
                      <a:lnTo>
                        <a:pt x="913428" y="267157"/>
                      </a:lnTo>
                      <a:lnTo>
                        <a:pt x="912530" y="268019"/>
                      </a:lnTo>
                      <a:lnTo>
                        <a:pt x="910672" y="269804"/>
                      </a:lnTo>
                      <a:lnTo>
                        <a:pt x="910332" y="270132"/>
                      </a:lnTo>
                      <a:lnTo>
                        <a:pt x="910040" y="270520"/>
                      </a:lnTo>
                      <a:lnTo>
                        <a:pt x="908547" y="272500"/>
                      </a:lnTo>
                      <a:lnTo>
                        <a:pt x="908146" y="273034"/>
                      </a:lnTo>
                      <a:lnTo>
                        <a:pt x="907879" y="273641"/>
                      </a:lnTo>
                      <a:lnTo>
                        <a:pt x="906689" y="276240"/>
                      </a:lnTo>
                      <a:lnTo>
                        <a:pt x="906628" y="276057"/>
                      </a:lnTo>
                      <a:lnTo>
                        <a:pt x="906434" y="275681"/>
                      </a:lnTo>
                      <a:lnTo>
                        <a:pt x="905851" y="274528"/>
                      </a:lnTo>
                      <a:lnTo>
                        <a:pt x="905657" y="274139"/>
                      </a:lnTo>
                      <a:lnTo>
                        <a:pt x="905402" y="273775"/>
                      </a:lnTo>
                      <a:lnTo>
                        <a:pt x="903398" y="270909"/>
                      </a:lnTo>
                      <a:lnTo>
                        <a:pt x="899816" y="265797"/>
                      </a:lnTo>
                      <a:lnTo>
                        <a:pt x="894801" y="269525"/>
                      </a:lnTo>
                      <a:lnTo>
                        <a:pt x="892081" y="271552"/>
                      </a:lnTo>
                      <a:lnTo>
                        <a:pt x="891887" y="271613"/>
                      </a:lnTo>
                      <a:lnTo>
                        <a:pt x="890308" y="271892"/>
                      </a:lnTo>
                      <a:lnTo>
                        <a:pt x="889458" y="272038"/>
                      </a:lnTo>
                      <a:lnTo>
                        <a:pt x="888681" y="272427"/>
                      </a:lnTo>
                      <a:lnTo>
                        <a:pt x="886847" y="273337"/>
                      </a:lnTo>
                      <a:lnTo>
                        <a:pt x="885803" y="273848"/>
                      </a:lnTo>
                      <a:lnTo>
                        <a:pt x="885026" y="274710"/>
                      </a:lnTo>
                      <a:lnTo>
                        <a:pt x="883642" y="276240"/>
                      </a:lnTo>
                      <a:lnTo>
                        <a:pt x="882634" y="277345"/>
                      </a:lnTo>
                      <a:lnTo>
                        <a:pt x="882270" y="278802"/>
                      </a:lnTo>
                      <a:lnTo>
                        <a:pt x="881759" y="280805"/>
                      </a:lnTo>
                      <a:lnTo>
                        <a:pt x="881614" y="281352"/>
                      </a:lnTo>
                      <a:lnTo>
                        <a:pt x="881577" y="281923"/>
                      </a:lnTo>
                      <a:lnTo>
                        <a:pt x="881286" y="286464"/>
                      </a:lnTo>
                      <a:lnTo>
                        <a:pt x="881177" y="288128"/>
                      </a:lnTo>
                      <a:lnTo>
                        <a:pt x="881942" y="289621"/>
                      </a:lnTo>
                      <a:lnTo>
                        <a:pt x="882573" y="290848"/>
                      </a:lnTo>
                      <a:lnTo>
                        <a:pt x="883083" y="291843"/>
                      </a:lnTo>
                      <a:lnTo>
                        <a:pt x="883909" y="292596"/>
                      </a:lnTo>
                      <a:lnTo>
                        <a:pt x="885512" y="294053"/>
                      </a:lnTo>
                      <a:lnTo>
                        <a:pt x="884698" y="295219"/>
                      </a:lnTo>
                      <a:lnTo>
                        <a:pt x="884467" y="295547"/>
                      </a:lnTo>
                      <a:lnTo>
                        <a:pt x="884285" y="295899"/>
                      </a:lnTo>
                      <a:lnTo>
                        <a:pt x="883605" y="297235"/>
                      </a:lnTo>
                      <a:lnTo>
                        <a:pt x="883156" y="298121"/>
                      </a:lnTo>
                      <a:lnTo>
                        <a:pt x="883107" y="298461"/>
                      </a:lnTo>
                      <a:lnTo>
                        <a:pt x="882719" y="298218"/>
                      </a:lnTo>
                      <a:lnTo>
                        <a:pt x="882172" y="296749"/>
                      </a:lnTo>
                      <a:lnTo>
                        <a:pt x="881796" y="295765"/>
                      </a:lnTo>
                      <a:lnTo>
                        <a:pt x="881116" y="294964"/>
                      </a:lnTo>
                      <a:lnTo>
                        <a:pt x="880375" y="294090"/>
                      </a:lnTo>
                      <a:lnTo>
                        <a:pt x="879489" y="293045"/>
                      </a:lnTo>
                      <a:lnTo>
                        <a:pt x="878238" y="292487"/>
                      </a:lnTo>
                      <a:lnTo>
                        <a:pt x="876635" y="291771"/>
                      </a:lnTo>
                      <a:lnTo>
                        <a:pt x="876295" y="291613"/>
                      </a:lnTo>
                      <a:lnTo>
                        <a:pt x="875943" y="291503"/>
                      </a:lnTo>
                      <a:lnTo>
                        <a:pt x="872033" y="290301"/>
                      </a:lnTo>
                      <a:lnTo>
                        <a:pt x="871134" y="290034"/>
                      </a:lnTo>
                      <a:lnTo>
                        <a:pt x="870187" y="290034"/>
                      </a:lnTo>
                      <a:lnTo>
                        <a:pt x="866459" y="290071"/>
                      </a:lnTo>
                      <a:lnTo>
                        <a:pt x="863242" y="290350"/>
                      </a:lnTo>
                      <a:lnTo>
                        <a:pt x="862343" y="290435"/>
                      </a:lnTo>
                      <a:lnTo>
                        <a:pt x="861505" y="290775"/>
                      </a:lnTo>
                      <a:lnTo>
                        <a:pt x="859902" y="291431"/>
                      </a:lnTo>
                      <a:lnTo>
                        <a:pt x="859331" y="291673"/>
                      </a:lnTo>
                      <a:lnTo>
                        <a:pt x="858822" y="292013"/>
                      </a:lnTo>
                      <a:lnTo>
                        <a:pt x="857607" y="292827"/>
                      </a:lnTo>
                      <a:lnTo>
                        <a:pt x="856660" y="293458"/>
                      </a:lnTo>
                      <a:lnTo>
                        <a:pt x="856004" y="294393"/>
                      </a:lnTo>
                      <a:lnTo>
                        <a:pt x="855215" y="295535"/>
                      </a:lnTo>
                      <a:lnTo>
                        <a:pt x="854644" y="296361"/>
                      </a:lnTo>
                      <a:lnTo>
                        <a:pt x="854365" y="297320"/>
                      </a:lnTo>
                      <a:lnTo>
                        <a:pt x="853964" y="298728"/>
                      </a:lnTo>
                      <a:lnTo>
                        <a:pt x="853600" y="299991"/>
                      </a:lnTo>
                      <a:lnTo>
                        <a:pt x="853782" y="301278"/>
                      </a:lnTo>
                      <a:lnTo>
                        <a:pt x="853964" y="302565"/>
                      </a:lnTo>
                      <a:lnTo>
                        <a:pt x="854049" y="303124"/>
                      </a:lnTo>
                      <a:lnTo>
                        <a:pt x="853527" y="303537"/>
                      </a:lnTo>
                      <a:lnTo>
                        <a:pt x="853236" y="303780"/>
                      </a:lnTo>
                      <a:lnTo>
                        <a:pt x="852969" y="304047"/>
                      </a:lnTo>
                      <a:lnTo>
                        <a:pt x="851596" y="305431"/>
                      </a:lnTo>
                      <a:lnTo>
                        <a:pt x="851269" y="305771"/>
                      </a:lnTo>
                      <a:lnTo>
                        <a:pt x="850989" y="306160"/>
                      </a:lnTo>
                      <a:lnTo>
                        <a:pt x="846387" y="312535"/>
                      </a:lnTo>
                      <a:lnTo>
                        <a:pt x="846181" y="312814"/>
                      </a:lnTo>
                      <a:lnTo>
                        <a:pt x="845999" y="313130"/>
                      </a:lnTo>
                      <a:lnTo>
                        <a:pt x="844116" y="316506"/>
                      </a:lnTo>
                      <a:lnTo>
                        <a:pt x="843036" y="318837"/>
                      </a:lnTo>
                      <a:lnTo>
                        <a:pt x="842854" y="319238"/>
                      </a:lnTo>
                      <a:lnTo>
                        <a:pt x="842732" y="319663"/>
                      </a:lnTo>
                      <a:lnTo>
                        <a:pt x="842259" y="321302"/>
                      </a:lnTo>
                      <a:lnTo>
                        <a:pt x="841991" y="322261"/>
                      </a:lnTo>
                      <a:lnTo>
                        <a:pt x="842028" y="323257"/>
                      </a:lnTo>
                      <a:lnTo>
                        <a:pt x="842088" y="324811"/>
                      </a:lnTo>
                      <a:lnTo>
                        <a:pt x="842113" y="325528"/>
                      </a:lnTo>
                      <a:lnTo>
                        <a:pt x="842307" y="326220"/>
                      </a:lnTo>
                      <a:lnTo>
                        <a:pt x="842720" y="327653"/>
                      </a:lnTo>
                      <a:lnTo>
                        <a:pt x="842999" y="328649"/>
                      </a:lnTo>
                      <a:lnTo>
                        <a:pt x="843606" y="329499"/>
                      </a:lnTo>
                      <a:lnTo>
                        <a:pt x="844687" y="331029"/>
                      </a:lnTo>
                      <a:lnTo>
                        <a:pt x="845039" y="331539"/>
                      </a:lnTo>
                      <a:lnTo>
                        <a:pt x="845501" y="331964"/>
                      </a:lnTo>
                      <a:lnTo>
                        <a:pt x="846885" y="333251"/>
                      </a:lnTo>
                      <a:lnTo>
                        <a:pt x="850795" y="336287"/>
                      </a:lnTo>
                      <a:lnTo>
                        <a:pt x="852750" y="338132"/>
                      </a:lnTo>
                      <a:lnTo>
                        <a:pt x="854231" y="339978"/>
                      </a:lnTo>
                      <a:lnTo>
                        <a:pt x="860449" y="354003"/>
                      </a:lnTo>
                      <a:lnTo>
                        <a:pt x="861687" y="358362"/>
                      </a:lnTo>
                      <a:lnTo>
                        <a:pt x="861942" y="366437"/>
                      </a:lnTo>
                      <a:lnTo>
                        <a:pt x="861954" y="366935"/>
                      </a:lnTo>
                      <a:lnTo>
                        <a:pt x="862051" y="367421"/>
                      </a:lnTo>
                      <a:lnTo>
                        <a:pt x="865962" y="387493"/>
                      </a:lnTo>
                      <a:lnTo>
                        <a:pt x="866034" y="387906"/>
                      </a:lnTo>
                      <a:lnTo>
                        <a:pt x="866168" y="388307"/>
                      </a:lnTo>
                      <a:lnTo>
                        <a:pt x="867771" y="392982"/>
                      </a:lnTo>
                      <a:lnTo>
                        <a:pt x="867965" y="393540"/>
                      </a:lnTo>
                      <a:lnTo>
                        <a:pt x="868257" y="394051"/>
                      </a:lnTo>
                      <a:lnTo>
                        <a:pt x="870151" y="397329"/>
                      </a:lnTo>
                      <a:lnTo>
                        <a:pt x="870564" y="398045"/>
                      </a:lnTo>
                      <a:lnTo>
                        <a:pt x="871147" y="398628"/>
                      </a:lnTo>
                      <a:lnTo>
                        <a:pt x="878104" y="405465"/>
                      </a:lnTo>
                      <a:lnTo>
                        <a:pt x="879817" y="407651"/>
                      </a:lnTo>
                      <a:lnTo>
                        <a:pt x="881893" y="411682"/>
                      </a:lnTo>
                      <a:lnTo>
                        <a:pt x="882743" y="414366"/>
                      </a:lnTo>
                      <a:lnTo>
                        <a:pt x="883071" y="416539"/>
                      </a:lnTo>
                      <a:lnTo>
                        <a:pt x="882962" y="425258"/>
                      </a:lnTo>
                      <a:lnTo>
                        <a:pt x="882962" y="425695"/>
                      </a:lnTo>
                      <a:lnTo>
                        <a:pt x="883022" y="426132"/>
                      </a:lnTo>
                      <a:lnTo>
                        <a:pt x="883775" y="431961"/>
                      </a:lnTo>
                      <a:lnTo>
                        <a:pt x="883799" y="433454"/>
                      </a:lnTo>
                      <a:lnTo>
                        <a:pt x="883654" y="434268"/>
                      </a:lnTo>
                      <a:lnTo>
                        <a:pt x="883581" y="434462"/>
                      </a:lnTo>
                      <a:lnTo>
                        <a:pt x="881930" y="436660"/>
                      </a:lnTo>
                      <a:lnTo>
                        <a:pt x="881565" y="437146"/>
                      </a:lnTo>
                      <a:lnTo>
                        <a:pt x="881310" y="437692"/>
                      </a:lnTo>
                      <a:lnTo>
                        <a:pt x="880509" y="439380"/>
                      </a:lnTo>
                      <a:lnTo>
                        <a:pt x="879938" y="440570"/>
                      </a:lnTo>
                      <a:lnTo>
                        <a:pt x="879914" y="441882"/>
                      </a:lnTo>
                      <a:lnTo>
                        <a:pt x="879853" y="445160"/>
                      </a:lnTo>
                      <a:lnTo>
                        <a:pt x="879841" y="446265"/>
                      </a:lnTo>
                      <a:lnTo>
                        <a:pt x="880205" y="447297"/>
                      </a:lnTo>
                      <a:lnTo>
                        <a:pt x="881067" y="449738"/>
                      </a:lnTo>
                      <a:lnTo>
                        <a:pt x="881213" y="450163"/>
                      </a:lnTo>
                      <a:lnTo>
                        <a:pt x="881432" y="450564"/>
                      </a:lnTo>
                      <a:lnTo>
                        <a:pt x="882804" y="453138"/>
                      </a:lnTo>
                      <a:lnTo>
                        <a:pt x="882998" y="453502"/>
                      </a:lnTo>
                      <a:lnTo>
                        <a:pt x="883241" y="453830"/>
                      </a:lnTo>
                      <a:lnTo>
                        <a:pt x="884394" y="455433"/>
                      </a:lnTo>
                      <a:lnTo>
                        <a:pt x="885014" y="456283"/>
                      </a:lnTo>
                      <a:lnTo>
                        <a:pt x="885876" y="456878"/>
                      </a:lnTo>
                      <a:lnTo>
                        <a:pt x="887187" y="457777"/>
                      </a:lnTo>
                      <a:lnTo>
                        <a:pt x="888414" y="458615"/>
                      </a:lnTo>
                      <a:lnTo>
                        <a:pt x="889895" y="458797"/>
                      </a:lnTo>
                      <a:lnTo>
                        <a:pt x="891790" y="459027"/>
                      </a:lnTo>
                      <a:lnTo>
                        <a:pt x="892810" y="459149"/>
                      </a:lnTo>
                      <a:lnTo>
                        <a:pt x="893817" y="458930"/>
                      </a:lnTo>
                      <a:lnTo>
                        <a:pt x="896052" y="458444"/>
                      </a:lnTo>
                      <a:lnTo>
                        <a:pt x="896428" y="458359"/>
                      </a:lnTo>
                      <a:lnTo>
                        <a:pt x="896792" y="458226"/>
                      </a:lnTo>
                      <a:lnTo>
                        <a:pt x="901880" y="456417"/>
                      </a:lnTo>
                      <a:lnTo>
                        <a:pt x="905329" y="455737"/>
                      </a:lnTo>
                      <a:lnTo>
                        <a:pt x="906616" y="455639"/>
                      </a:lnTo>
                      <a:lnTo>
                        <a:pt x="907940" y="455870"/>
                      </a:lnTo>
                      <a:lnTo>
                        <a:pt x="909033" y="456368"/>
                      </a:lnTo>
                      <a:lnTo>
                        <a:pt x="910393" y="457619"/>
                      </a:lnTo>
                      <a:lnTo>
                        <a:pt x="911036" y="458736"/>
                      </a:lnTo>
                      <a:lnTo>
                        <a:pt x="911753" y="461007"/>
                      </a:lnTo>
                      <a:lnTo>
                        <a:pt x="912396" y="463763"/>
                      </a:lnTo>
                      <a:lnTo>
                        <a:pt x="912542" y="464382"/>
                      </a:lnTo>
                      <a:lnTo>
                        <a:pt x="912809" y="464965"/>
                      </a:lnTo>
                      <a:lnTo>
                        <a:pt x="913902" y="467260"/>
                      </a:lnTo>
                      <a:lnTo>
                        <a:pt x="914181" y="467855"/>
                      </a:lnTo>
                      <a:lnTo>
                        <a:pt x="914594" y="468377"/>
                      </a:lnTo>
                      <a:lnTo>
                        <a:pt x="918055" y="472810"/>
                      </a:lnTo>
                      <a:lnTo>
                        <a:pt x="918407" y="473404"/>
                      </a:lnTo>
                      <a:lnTo>
                        <a:pt x="917787" y="474910"/>
                      </a:lnTo>
                      <a:lnTo>
                        <a:pt x="917581" y="475408"/>
                      </a:lnTo>
                      <a:lnTo>
                        <a:pt x="917472" y="475930"/>
                      </a:lnTo>
                      <a:lnTo>
                        <a:pt x="917241" y="476999"/>
                      </a:lnTo>
                      <a:lnTo>
                        <a:pt x="917107" y="477630"/>
                      </a:lnTo>
                      <a:lnTo>
                        <a:pt x="917107" y="478286"/>
                      </a:lnTo>
                      <a:lnTo>
                        <a:pt x="917107" y="478784"/>
                      </a:lnTo>
                      <a:lnTo>
                        <a:pt x="917180" y="480180"/>
                      </a:lnTo>
                      <a:lnTo>
                        <a:pt x="917290" y="480872"/>
                      </a:lnTo>
                      <a:lnTo>
                        <a:pt x="917703" y="482791"/>
                      </a:lnTo>
                      <a:lnTo>
                        <a:pt x="918128" y="484698"/>
                      </a:lnTo>
                      <a:lnTo>
                        <a:pt x="919585" y="485997"/>
                      </a:lnTo>
                      <a:lnTo>
                        <a:pt x="920374" y="486713"/>
                      </a:lnTo>
                      <a:lnTo>
                        <a:pt x="921321" y="487551"/>
                      </a:lnTo>
                      <a:lnTo>
                        <a:pt x="922511" y="487952"/>
                      </a:lnTo>
                      <a:lnTo>
                        <a:pt x="924005" y="488450"/>
                      </a:lnTo>
                      <a:lnTo>
                        <a:pt x="924806" y="488717"/>
                      </a:lnTo>
                      <a:lnTo>
                        <a:pt x="925656" y="488753"/>
                      </a:lnTo>
                      <a:lnTo>
                        <a:pt x="927271" y="488826"/>
                      </a:lnTo>
                      <a:lnTo>
                        <a:pt x="929275" y="489142"/>
                      </a:lnTo>
                      <a:lnTo>
                        <a:pt x="929275" y="489834"/>
                      </a:lnTo>
                      <a:lnTo>
                        <a:pt x="928437" y="492360"/>
                      </a:lnTo>
                      <a:lnTo>
                        <a:pt x="927405" y="494679"/>
                      </a:lnTo>
                      <a:lnTo>
                        <a:pt x="926227" y="496379"/>
                      </a:lnTo>
                      <a:lnTo>
                        <a:pt x="925013" y="497642"/>
                      </a:lnTo>
                      <a:lnTo>
                        <a:pt x="923337" y="499075"/>
                      </a:lnTo>
                      <a:lnTo>
                        <a:pt x="916901" y="504952"/>
                      </a:lnTo>
                      <a:lnTo>
                        <a:pt x="916160" y="505632"/>
                      </a:lnTo>
                      <a:lnTo>
                        <a:pt x="915675" y="506518"/>
                      </a:lnTo>
                      <a:lnTo>
                        <a:pt x="913258" y="510938"/>
                      </a:lnTo>
                      <a:lnTo>
                        <a:pt x="912979" y="511448"/>
                      </a:lnTo>
                      <a:lnTo>
                        <a:pt x="912797" y="512007"/>
                      </a:lnTo>
                      <a:lnTo>
                        <a:pt x="911170" y="517095"/>
                      </a:lnTo>
                      <a:lnTo>
                        <a:pt x="909263" y="520883"/>
                      </a:lnTo>
                      <a:lnTo>
                        <a:pt x="907005" y="523664"/>
                      </a:lnTo>
                      <a:lnTo>
                        <a:pt x="902840" y="527817"/>
                      </a:lnTo>
                      <a:lnTo>
                        <a:pt x="901407" y="528764"/>
                      </a:lnTo>
                      <a:lnTo>
                        <a:pt x="901176" y="528801"/>
                      </a:lnTo>
                      <a:lnTo>
                        <a:pt x="900569" y="528534"/>
                      </a:lnTo>
                      <a:lnTo>
                        <a:pt x="899767" y="527817"/>
                      </a:lnTo>
                      <a:lnTo>
                        <a:pt x="899452" y="527088"/>
                      </a:lnTo>
                      <a:lnTo>
                        <a:pt x="899318" y="526056"/>
                      </a:lnTo>
                      <a:lnTo>
                        <a:pt x="899270" y="524441"/>
                      </a:lnTo>
                      <a:lnTo>
                        <a:pt x="899245" y="523482"/>
                      </a:lnTo>
                      <a:lnTo>
                        <a:pt x="898930" y="522583"/>
                      </a:lnTo>
                      <a:lnTo>
                        <a:pt x="898468" y="521284"/>
                      </a:lnTo>
                      <a:lnTo>
                        <a:pt x="897752" y="519293"/>
                      </a:lnTo>
                      <a:lnTo>
                        <a:pt x="895955" y="518176"/>
                      </a:lnTo>
                      <a:lnTo>
                        <a:pt x="895044" y="517605"/>
                      </a:lnTo>
                      <a:lnTo>
                        <a:pt x="893842" y="516852"/>
                      </a:lnTo>
                      <a:lnTo>
                        <a:pt x="892433" y="516706"/>
                      </a:lnTo>
                      <a:lnTo>
                        <a:pt x="890478" y="516512"/>
                      </a:lnTo>
                      <a:lnTo>
                        <a:pt x="890126" y="516476"/>
                      </a:lnTo>
                      <a:lnTo>
                        <a:pt x="889774" y="516476"/>
                      </a:lnTo>
                      <a:lnTo>
                        <a:pt x="887236" y="516512"/>
                      </a:lnTo>
                      <a:lnTo>
                        <a:pt x="882099" y="516051"/>
                      </a:lnTo>
                      <a:lnTo>
                        <a:pt x="880217" y="515516"/>
                      </a:lnTo>
                      <a:lnTo>
                        <a:pt x="877874" y="514448"/>
                      </a:lnTo>
                      <a:lnTo>
                        <a:pt x="875894" y="513063"/>
                      </a:lnTo>
                      <a:lnTo>
                        <a:pt x="870697" y="507830"/>
                      </a:lnTo>
                      <a:lnTo>
                        <a:pt x="870224" y="507356"/>
                      </a:lnTo>
                      <a:lnTo>
                        <a:pt x="869665" y="506992"/>
                      </a:lnTo>
                      <a:lnTo>
                        <a:pt x="866144" y="504733"/>
                      </a:lnTo>
                      <a:lnTo>
                        <a:pt x="856211" y="496391"/>
                      </a:lnTo>
                      <a:lnTo>
                        <a:pt x="855810" y="496051"/>
                      </a:lnTo>
                      <a:lnTo>
                        <a:pt x="855349" y="495784"/>
                      </a:lnTo>
                      <a:lnTo>
                        <a:pt x="850358" y="492906"/>
                      </a:lnTo>
                      <a:lnTo>
                        <a:pt x="850018" y="492712"/>
                      </a:lnTo>
                      <a:lnTo>
                        <a:pt x="849654" y="492554"/>
                      </a:lnTo>
                      <a:lnTo>
                        <a:pt x="845914" y="491000"/>
                      </a:lnTo>
                      <a:lnTo>
                        <a:pt x="845015" y="490623"/>
                      </a:lnTo>
                      <a:lnTo>
                        <a:pt x="844043" y="490550"/>
                      </a:lnTo>
                      <a:lnTo>
                        <a:pt x="841870" y="490380"/>
                      </a:lnTo>
                      <a:lnTo>
                        <a:pt x="840388" y="490271"/>
                      </a:lnTo>
                      <a:lnTo>
                        <a:pt x="839016" y="490854"/>
                      </a:lnTo>
                      <a:lnTo>
                        <a:pt x="837353" y="491570"/>
                      </a:lnTo>
                      <a:lnTo>
                        <a:pt x="836005" y="492141"/>
                      </a:lnTo>
                      <a:lnTo>
                        <a:pt x="835070" y="493258"/>
                      </a:lnTo>
                      <a:lnTo>
                        <a:pt x="834038" y="494497"/>
                      </a:lnTo>
                      <a:lnTo>
                        <a:pt x="833831" y="494740"/>
                      </a:lnTo>
                      <a:lnTo>
                        <a:pt x="833649" y="494995"/>
                      </a:lnTo>
                      <a:lnTo>
                        <a:pt x="832496" y="496719"/>
                      </a:lnTo>
                      <a:lnTo>
                        <a:pt x="832265" y="497059"/>
                      </a:lnTo>
                      <a:lnTo>
                        <a:pt x="832083" y="497423"/>
                      </a:lnTo>
                      <a:lnTo>
                        <a:pt x="831233" y="499148"/>
                      </a:lnTo>
                      <a:lnTo>
                        <a:pt x="831014" y="499597"/>
                      </a:lnTo>
                      <a:lnTo>
                        <a:pt x="830868" y="500083"/>
                      </a:lnTo>
                      <a:lnTo>
                        <a:pt x="830225" y="502244"/>
                      </a:lnTo>
                      <a:lnTo>
                        <a:pt x="830067" y="502778"/>
                      </a:lnTo>
                      <a:lnTo>
                        <a:pt x="830006" y="503337"/>
                      </a:lnTo>
                      <a:lnTo>
                        <a:pt x="829788" y="505377"/>
                      </a:lnTo>
                      <a:lnTo>
                        <a:pt x="829642" y="507538"/>
                      </a:lnTo>
                      <a:lnTo>
                        <a:pt x="829606" y="507793"/>
                      </a:lnTo>
                      <a:lnTo>
                        <a:pt x="829472" y="508085"/>
                      </a:lnTo>
                      <a:lnTo>
                        <a:pt x="828816" y="508971"/>
                      </a:lnTo>
                      <a:lnTo>
                        <a:pt x="827468" y="510222"/>
                      </a:lnTo>
                      <a:lnTo>
                        <a:pt x="825586" y="511473"/>
                      </a:lnTo>
                      <a:lnTo>
                        <a:pt x="823376" y="512226"/>
                      </a:lnTo>
                      <a:lnTo>
                        <a:pt x="822988" y="512189"/>
                      </a:lnTo>
                      <a:lnTo>
                        <a:pt x="822235" y="511800"/>
                      </a:lnTo>
                      <a:lnTo>
                        <a:pt x="821154" y="510756"/>
                      </a:lnTo>
                      <a:lnTo>
                        <a:pt x="819940" y="509238"/>
                      </a:lnTo>
                      <a:lnTo>
                        <a:pt x="819697" y="508716"/>
                      </a:lnTo>
                      <a:lnTo>
                        <a:pt x="819685" y="508510"/>
                      </a:lnTo>
                      <a:lnTo>
                        <a:pt x="819733" y="508303"/>
                      </a:lnTo>
                      <a:lnTo>
                        <a:pt x="822684" y="503288"/>
                      </a:lnTo>
                      <a:lnTo>
                        <a:pt x="823146" y="502511"/>
                      </a:lnTo>
                      <a:lnTo>
                        <a:pt x="823352" y="501637"/>
                      </a:lnTo>
                      <a:lnTo>
                        <a:pt x="823753" y="499998"/>
                      </a:lnTo>
                      <a:lnTo>
                        <a:pt x="824093" y="498589"/>
                      </a:lnTo>
                      <a:lnTo>
                        <a:pt x="823765" y="497180"/>
                      </a:lnTo>
                      <a:lnTo>
                        <a:pt x="823425" y="495748"/>
                      </a:lnTo>
                      <a:lnTo>
                        <a:pt x="823085" y="494303"/>
                      </a:lnTo>
                      <a:lnTo>
                        <a:pt x="822126" y="493185"/>
                      </a:lnTo>
                      <a:lnTo>
                        <a:pt x="820972" y="491838"/>
                      </a:lnTo>
                      <a:lnTo>
                        <a:pt x="820377" y="491145"/>
                      </a:lnTo>
                      <a:lnTo>
                        <a:pt x="819612" y="490660"/>
                      </a:lnTo>
                      <a:lnTo>
                        <a:pt x="817900" y="489579"/>
                      </a:lnTo>
                      <a:lnTo>
                        <a:pt x="817511" y="489324"/>
                      </a:lnTo>
                      <a:lnTo>
                        <a:pt x="817086" y="489142"/>
                      </a:lnTo>
                      <a:lnTo>
                        <a:pt x="812775" y="487272"/>
                      </a:lnTo>
                      <a:lnTo>
                        <a:pt x="810238" y="485547"/>
                      </a:lnTo>
                      <a:lnTo>
                        <a:pt x="809072" y="484576"/>
                      </a:lnTo>
                      <a:lnTo>
                        <a:pt x="808756" y="483641"/>
                      </a:lnTo>
                      <a:lnTo>
                        <a:pt x="808368" y="481929"/>
                      </a:lnTo>
                      <a:lnTo>
                        <a:pt x="807712" y="479051"/>
                      </a:lnTo>
                      <a:lnTo>
                        <a:pt x="805052" y="477788"/>
                      </a:lnTo>
                      <a:lnTo>
                        <a:pt x="803790" y="477193"/>
                      </a:lnTo>
                      <a:lnTo>
                        <a:pt x="803037" y="476841"/>
                      </a:lnTo>
                      <a:lnTo>
                        <a:pt x="802272" y="476707"/>
                      </a:lnTo>
                      <a:lnTo>
                        <a:pt x="800887" y="474255"/>
                      </a:lnTo>
                      <a:lnTo>
                        <a:pt x="804397" y="469531"/>
                      </a:lnTo>
                      <a:lnTo>
                        <a:pt x="804664" y="469167"/>
                      </a:lnTo>
                      <a:lnTo>
                        <a:pt x="804883" y="468766"/>
                      </a:lnTo>
                      <a:lnTo>
                        <a:pt x="806850" y="465062"/>
                      </a:lnTo>
                      <a:lnTo>
                        <a:pt x="807166" y="464479"/>
                      </a:lnTo>
                      <a:lnTo>
                        <a:pt x="807348" y="463836"/>
                      </a:lnTo>
                      <a:lnTo>
                        <a:pt x="808428" y="459926"/>
                      </a:lnTo>
                      <a:lnTo>
                        <a:pt x="808574" y="459379"/>
                      </a:lnTo>
                      <a:lnTo>
                        <a:pt x="808623" y="458809"/>
                      </a:lnTo>
                      <a:lnTo>
                        <a:pt x="808975" y="454559"/>
                      </a:lnTo>
                      <a:lnTo>
                        <a:pt x="809120" y="452895"/>
                      </a:lnTo>
                      <a:lnTo>
                        <a:pt x="808380" y="451389"/>
                      </a:lnTo>
                      <a:lnTo>
                        <a:pt x="807979" y="450564"/>
                      </a:lnTo>
                      <a:lnTo>
                        <a:pt x="807639" y="449859"/>
                      </a:lnTo>
                      <a:lnTo>
                        <a:pt x="807129" y="449264"/>
                      </a:lnTo>
                      <a:lnTo>
                        <a:pt x="806886" y="448997"/>
                      </a:lnTo>
                      <a:lnTo>
                        <a:pt x="807129" y="448220"/>
                      </a:lnTo>
                      <a:lnTo>
                        <a:pt x="807287" y="447722"/>
                      </a:lnTo>
                      <a:lnTo>
                        <a:pt x="807348" y="447212"/>
                      </a:lnTo>
                      <a:lnTo>
                        <a:pt x="807518" y="445949"/>
                      </a:lnTo>
                      <a:lnTo>
                        <a:pt x="807627" y="445160"/>
                      </a:lnTo>
                      <a:lnTo>
                        <a:pt x="807518" y="444359"/>
                      </a:lnTo>
                      <a:lnTo>
                        <a:pt x="806886" y="439671"/>
                      </a:lnTo>
                      <a:lnTo>
                        <a:pt x="806728" y="438494"/>
                      </a:lnTo>
                      <a:lnTo>
                        <a:pt x="806146" y="437474"/>
                      </a:lnTo>
                      <a:lnTo>
                        <a:pt x="804482" y="434547"/>
                      </a:lnTo>
                      <a:lnTo>
                        <a:pt x="804154" y="433964"/>
                      </a:lnTo>
                      <a:lnTo>
                        <a:pt x="803705" y="433467"/>
                      </a:lnTo>
                      <a:lnTo>
                        <a:pt x="801907" y="431487"/>
                      </a:lnTo>
                      <a:lnTo>
                        <a:pt x="800863" y="429860"/>
                      </a:lnTo>
                      <a:lnTo>
                        <a:pt x="800499" y="427929"/>
                      </a:lnTo>
                      <a:lnTo>
                        <a:pt x="800499" y="424384"/>
                      </a:lnTo>
                      <a:lnTo>
                        <a:pt x="800074" y="419636"/>
                      </a:lnTo>
                      <a:lnTo>
                        <a:pt x="799952" y="418361"/>
                      </a:lnTo>
                      <a:lnTo>
                        <a:pt x="799333" y="417256"/>
                      </a:lnTo>
                      <a:lnTo>
                        <a:pt x="794282" y="408209"/>
                      </a:lnTo>
                      <a:lnTo>
                        <a:pt x="793760" y="407274"/>
                      </a:lnTo>
                      <a:lnTo>
                        <a:pt x="792958" y="406582"/>
                      </a:lnTo>
                      <a:lnTo>
                        <a:pt x="792035" y="405780"/>
                      </a:lnTo>
                      <a:lnTo>
                        <a:pt x="791040" y="404918"/>
                      </a:lnTo>
                      <a:lnTo>
                        <a:pt x="790323" y="404700"/>
                      </a:lnTo>
                      <a:lnTo>
                        <a:pt x="797487" y="399029"/>
                      </a:lnTo>
                      <a:lnTo>
                        <a:pt x="802721" y="396540"/>
                      </a:lnTo>
                      <a:lnTo>
                        <a:pt x="803535" y="396151"/>
                      </a:lnTo>
                      <a:lnTo>
                        <a:pt x="804203" y="395544"/>
                      </a:lnTo>
                      <a:lnTo>
                        <a:pt x="814609" y="386097"/>
                      </a:lnTo>
                      <a:lnTo>
                        <a:pt x="814986" y="385757"/>
                      </a:lnTo>
                      <a:lnTo>
                        <a:pt x="815301" y="385356"/>
                      </a:lnTo>
                      <a:lnTo>
                        <a:pt x="817584" y="382454"/>
                      </a:lnTo>
                      <a:lnTo>
                        <a:pt x="817924" y="382017"/>
                      </a:lnTo>
                      <a:lnTo>
                        <a:pt x="818179" y="381531"/>
                      </a:lnTo>
                      <a:lnTo>
                        <a:pt x="820365" y="377378"/>
                      </a:lnTo>
                      <a:lnTo>
                        <a:pt x="820826" y="376504"/>
                      </a:lnTo>
                      <a:lnTo>
                        <a:pt x="820984" y="375520"/>
                      </a:lnTo>
                      <a:lnTo>
                        <a:pt x="821725" y="370955"/>
                      </a:lnTo>
                      <a:lnTo>
                        <a:pt x="822028" y="369085"/>
                      </a:lnTo>
                      <a:lnTo>
                        <a:pt x="821215" y="367372"/>
                      </a:lnTo>
                      <a:lnTo>
                        <a:pt x="819940" y="364701"/>
                      </a:lnTo>
                      <a:lnTo>
                        <a:pt x="820535" y="363887"/>
                      </a:lnTo>
                      <a:lnTo>
                        <a:pt x="820741" y="362345"/>
                      </a:lnTo>
                      <a:lnTo>
                        <a:pt x="821421" y="357002"/>
                      </a:lnTo>
                      <a:lnTo>
                        <a:pt x="821895" y="354744"/>
                      </a:lnTo>
                      <a:lnTo>
                        <a:pt x="822138" y="354076"/>
                      </a:lnTo>
                      <a:lnTo>
                        <a:pt x="824360" y="350749"/>
                      </a:lnTo>
                      <a:lnTo>
                        <a:pt x="824967" y="349838"/>
                      </a:lnTo>
                      <a:lnTo>
                        <a:pt x="825222" y="348782"/>
                      </a:lnTo>
                      <a:lnTo>
                        <a:pt x="826497" y="343378"/>
                      </a:lnTo>
                      <a:lnTo>
                        <a:pt x="826764" y="342273"/>
                      </a:lnTo>
                      <a:lnTo>
                        <a:pt x="826606" y="341144"/>
                      </a:lnTo>
                      <a:lnTo>
                        <a:pt x="826315" y="338994"/>
                      </a:lnTo>
                      <a:lnTo>
                        <a:pt x="826254" y="338545"/>
                      </a:lnTo>
                      <a:lnTo>
                        <a:pt x="826121" y="338108"/>
                      </a:lnTo>
                      <a:lnTo>
                        <a:pt x="825319" y="335388"/>
                      </a:lnTo>
                      <a:lnTo>
                        <a:pt x="825076" y="334550"/>
                      </a:lnTo>
                      <a:lnTo>
                        <a:pt x="824603" y="333809"/>
                      </a:lnTo>
                      <a:lnTo>
                        <a:pt x="822514" y="330567"/>
                      </a:lnTo>
                      <a:lnTo>
                        <a:pt x="813200" y="311017"/>
                      </a:lnTo>
                      <a:lnTo>
                        <a:pt x="812946" y="310471"/>
                      </a:lnTo>
                      <a:lnTo>
                        <a:pt x="812581" y="309985"/>
                      </a:lnTo>
                      <a:lnTo>
                        <a:pt x="810055" y="306609"/>
                      </a:lnTo>
                      <a:lnTo>
                        <a:pt x="809813" y="306293"/>
                      </a:lnTo>
                      <a:lnTo>
                        <a:pt x="809533" y="306014"/>
                      </a:lnTo>
                      <a:lnTo>
                        <a:pt x="807603" y="304035"/>
                      </a:lnTo>
                      <a:lnTo>
                        <a:pt x="805453" y="301060"/>
                      </a:lnTo>
                      <a:lnTo>
                        <a:pt x="817669" y="290908"/>
                      </a:lnTo>
                      <a:lnTo>
                        <a:pt x="818276" y="290411"/>
                      </a:lnTo>
                      <a:lnTo>
                        <a:pt x="818726" y="289779"/>
                      </a:lnTo>
                      <a:lnTo>
                        <a:pt x="821834" y="285444"/>
                      </a:lnTo>
                      <a:lnTo>
                        <a:pt x="822635" y="284327"/>
                      </a:lnTo>
                      <a:lnTo>
                        <a:pt x="822878" y="282967"/>
                      </a:lnTo>
                      <a:lnTo>
                        <a:pt x="824445" y="274175"/>
                      </a:lnTo>
                      <a:lnTo>
                        <a:pt x="824518" y="274103"/>
                      </a:lnTo>
                      <a:lnTo>
                        <a:pt x="839478" y="270205"/>
                      </a:lnTo>
                      <a:lnTo>
                        <a:pt x="842793" y="269695"/>
                      </a:lnTo>
                      <a:lnTo>
                        <a:pt x="844420" y="269622"/>
                      </a:lnTo>
                      <a:lnTo>
                        <a:pt x="849483" y="270569"/>
                      </a:lnTo>
                      <a:lnTo>
                        <a:pt x="849994" y="270666"/>
                      </a:lnTo>
                      <a:lnTo>
                        <a:pt x="850504" y="270666"/>
                      </a:lnTo>
                      <a:lnTo>
                        <a:pt x="854231" y="270715"/>
                      </a:lnTo>
                      <a:lnTo>
                        <a:pt x="855021" y="270727"/>
                      </a:lnTo>
                      <a:lnTo>
                        <a:pt x="855786" y="270532"/>
                      </a:lnTo>
                      <a:lnTo>
                        <a:pt x="858081" y="269962"/>
                      </a:lnTo>
                      <a:lnTo>
                        <a:pt x="858834" y="269780"/>
                      </a:lnTo>
                      <a:lnTo>
                        <a:pt x="859514" y="269403"/>
                      </a:lnTo>
                      <a:lnTo>
                        <a:pt x="862051" y="268019"/>
                      </a:lnTo>
                      <a:lnTo>
                        <a:pt x="862525" y="267764"/>
                      </a:lnTo>
                      <a:lnTo>
                        <a:pt x="862938" y="267436"/>
                      </a:lnTo>
                      <a:lnTo>
                        <a:pt x="864541" y="266161"/>
                      </a:lnTo>
                      <a:lnTo>
                        <a:pt x="869519" y="263405"/>
                      </a:lnTo>
                      <a:lnTo>
                        <a:pt x="887030" y="259920"/>
                      </a:lnTo>
                      <a:lnTo>
                        <a:pt x="887928" y="259737"/>
                      </a:lnTo>
                      <a:lnTo>
                        <a:pt x="888730" y="259300"/>
                      </a:lnTo>
                      <a:lnTo>
                        <a:pt x="894947" y="255937"/>
                      </a:lnTo>
                      <a:lnTo>
                        <a:pt x="896380" y="255160"/>
                      </a:lnTo>
                      <a:lnTo>
                        <a:pt x="897230" y="253763"/>
                      </a:lnTo>
                      <a:lnTo>
                        <a:pt x="898019" y="252476"/>
                      </a:lnTo>
                      <a:lnTo>
                        <a:pt x="898347" y="251942"/>
                      </a:lnTo>
                      <a:lnTo>
                        <a:pt x="898565" y="251347"/>
                      </a:lnTo>
                      <a:lnTo>
                        <a:pt x="898905" y="250387"/>
                      </a:lnTo>
                      <a:lnTo>
                        <a:pt x="899039" y="250011"/>
                      </a:lnTo>
                      <a:lnTo>
                        <a:pt x="899124" y="249622"/>
                      </a:lnTo>
                      <a:lnTo>
                        <a:pt x="899306" y="248797"/>
                      </a:lnTo>
                      <a:lnTo>
                        <a:pt x="899440" y="248165"/>
                      </a:lnTo>
                      <a:lnTo>
                        <a:pt x="899440" y="247522"/>
                      </a:lnTo>
                      <a:lnTo>
                        <a:pt x="899440" y="246113"/>
                      </a:lnTo>
                      <a:lnTo>
                        <a:pt x="899233" y="243684"/>
                      </a:lnTo>
                      <a:lnTo>
                        <a:pt x="899185" y="243126"/>
                      </a:lnTo>
                      <a:lnTo>
                        <a:pt x="899027" y="242592"/>
                      </a:lnTo>
                      <a:lnTo>
                        <a:pt x="898347" y="240212"/>
                      </a:lnTo>
                      <a:lnTo>
                        <a:pt x="897266" y="237334"/>
                      </a:lnTo>
                      <a:lnTo>
                        <a:pt x="897120" y="236957"/>
                      </a:lnTo>
                      <a:lnTo>
                        <a:pt x="896926" y="236605"/>
                      </a:lnTo>
                      <a:lnTo>
                        <a:pt x="894716" y="232561"/>
                      </a:lnTo>
                      <a:lnTo>
                        <a:pt x="894412" y="231639"/>
                      </a:lnTo>
                      <a:lnTo>
                        <a:pt x="894303" y="230910"/>
                      </a:lnTo>
                      <a:lnTo>
                        <a:pt x="894425" y="229635"/>
                      </a:lnTo>
                      <a:lnTo>
                        <a:pt x="894655" y="228239"/>
                      </a:lnTo>
                      <a:lnTo>
                        <a:pt x="895202" y="226138"/>
                      </a:lnTo>
                      <a:lnTo>
                        <a:pt x="895955" y="224171"/>
                      </a:lnTo>
                      <a:lnTo>
                        <a:pt x="896537" y="223418"/>
                      </a:lnTo>
                      <a:lnTo>
                        <a:pt x="897825" y="222483"/>
                      </a:lnTo>
                      <a:lnTo>
                        <a:pt x="900022" y="221281"/>
                      </a:lnTo>
                      <a:lnTo>
                        <a:pt x="900326" y="221111"/>
                      </a:lnTo>
                      <a:lnTo>
                        <a:pt x="900618" y="220904"/>
                      </a:lnTo>
                      <a:lnTo>
                        <a:pt x="903726" y="218694"/>
                      </a:lnTo>
                      <a:lnTo>
                        <a:pt x="904018" y="218488"/>
                      </a:lnTo>
                      <a:lnTo>
                        <a:pt x="904273" y="218245"/>
                      </a:lnTo>
                      <a:lnTo>
                        <a:pt x="907539" y="215282"/>
                      </a:lnTo>
                      <a:lnTo>
                        <a:pt x="908547" y="214371"/>
                      </a:lnTo>
                      <a:lnTo>
                        <a:pt x="909069" y="213121"/>
                      </a:lnTo>
                      <a:lnTo>
                        <a:pt x="911995" y="206090"/>
                      </a:lnTo>
                      <a:lnTo>
                        <a:pt x="913865" y="200966"/>
                      </a:lnTo>
                      <a:lnTo>
                        <a:pt x="921528" y="191688"/>
                      </a:lnTo>
                      <a:lnTo>
                        <a:pt x="921965" y="191166"/>
                      </a:lnTo>
                      <a:lnTo>
                        <a:pt x="922268" y="190559"/>
                      </a:lnTo>
                      <a:lnTo>
                        <a:pt x="923592" y="187924"/>
                      </a:lnTo>
                      <a:lnTo>
                        <a:pt x="923762" y="187584"/>
                      </a:lnTo>
                      <a:lnTo>
                        <a:pt x="923883" y="187232"/>
                      </a:lnTo>
                      <a:lnTo>
                        <a:pt x="924575" y="185277"/>
                      </a:lnTo>
                      <a:lnTo>
                        <a:pt x="924794" y="184682"/>
                      </a:lnTo>
                      <a:lnTo>
                        <a:pt x="924879" y="184050"/>
                      </a:lnTo>
                      <a:lnTo>
                        <a:pt x="925328" y="180687"/>
                      </a:lnTo>
                      <a:lnTo>
                        <a:pt x="928655" y="173377"/>
                      </a:lnTo>
                      <a:lnTo>
                        <a:pt x="934435" y="164646"/>
                      </a:lnTo>
                      <a:lnTo>
                        <a:pt x="934618" y="164379"/>
                      </a:lnTo>
                      <a:lnTo>
                        <a:pt x="934763" y="164100"/>
                      </a:lnTo>
                      <a:lnTo>
                        <a:pt x="936014" y="161695"/>
                      </a:lnTo>
                      <a:lnTo>
                        <a:pt x="936561" y="160639"/>
                      </a:lnTo>
                      <a:lnTo>
                        <a:pt x="936670" y="159449"/>
                      </a:lnTo>
                      <a:lnTo>
                        <a:pt x="936852" y="157494"/>
                      </a:lnTo>
                      <a:lnTo>
                        <a:pt x="937095" y="154847"/>
                      </a:lnTo>
                      <a:lnTo>
                        <a:pt x="935310" y="152868"/>
                      </a:lnTo>
                      <a:lnTo>
                        <a:pt x="934338" y="151799"/>
                      </a:lnTo>
                      <a:lnTo>
                        <a:pt x="933768" y="151168"/>
                      </a:lnTo>
                      <a:lnTo>
                        <a:pt x="933039" y="150718"/>
                      </a:lnTo>
                      <a:lnTo>
                        <a:pt x="930756" y="149297"/>
                      </a:lnTo>
                      <a:lnTo>
                        <a:pt x="930550" y="149067"/>
                      </a:lnTo>
                      <a:lnTo>
                        <a:pt x="930355" y="148593"/>
                      </a:lnTo>
                      <a:lnTo>
                        <a:pt x="930319" y="148059"/>
                      </a:lnTo>
                      <a:lnTo>
                        <a:pt x="931254" y="147707"/>
                      </a:lnTo>
                      <a:lnTo>
                        <a:pt x="932359" y="147294"/>
                      </a:lnTo>
                      <a:lnTo>
                        <a:pt x="933221" y="146492"/>
                      </a:lnTo>
                      <a:lnTo>
                        <a:pt x="934897" y="144962"/>
                      </a:lnTo>
                      <a:lnTo>
                        <a:pt x="935941" y="144015"/>
                      </a:lnTo>
                      <a:lnTo>
                        <a:pt x="936451" y="142704"/>
                      </a:lnTo>
                      <a:lnTo>
                        <a:pt x="936913" y="141526"/>
                      </a:lnTo>
                      <a:lnTo>
                        <a:pt x="937508" y="140020"/>
                      </a:lnTo>
                      <a:lnTo>
                        <a:pt x="937265" y="138417"/>
                      </a:lnTo>
                      <a:lnTo>
                        <a:pt x="937083" y="137179"/>
                      </a:lnTo>
                      <a:lnTo>
                        <a:pt x="936876" y="135819"/>
                      </a:lnTo>
                      <a:lnTo>
                        <a:pt x="936111" y="134677"/>
                      </a:lnTo>
                      <a:lnTo>
                        <a:pt x="934229" y="131872"/>
                      </a:lnTo>
                      <a:lnTo>
                        <a:pt x="933695" y="130804"/>
                      </a:lnTo>
                      <a:lnTo>
                        <a:pt x="933573" y="130136"/>
                      </a:lnTo>
                      <a:lnTo>
                        <a:pt x="934946" y="128885"/>
                      </a:lnTo>
                      <a:lnTo>
                        <a:pt x="935492" y="128497"/>
                      </a:lnTo>
                      <a:lnTo>
                        <a:pt x="936063" y="128254"/>
                      </a:lnTo>
                      <a:lnTo>
                        <a:pt x="937532" y="127817"/>
                      </a:lnTo>
                      <a:lnTo>
                        <a:pt x="942183" y="126882"/>
                      </a:lnTo>
                      <a:lnTo>
                        <a:pt x="942814" y="126748"/>
                      </a:lnTo>
                      <a:lnTo>
                        <a:pt x="943397" y="126493"/>
                      </a:lnTo>
                      <a:lnTo>
                        <a:pt x="945474" y="125582"/>
                      </a:lnTo>
                      <a:lnTo>
                        <a:pt x="946299" y="125218"/>
                      </a:lnTo>
                      <a:lnTo>
                        <a:pt x="946991" y="124623"/>
                      </a:lnTo>
                      <a:lnTo>
                        <a:pt x="948703" y="123154"/>
                      </a:lnTo>
                      <a:lnTo>
                        <a:pt x="949092" y="122814"/>
                      </a:lnTo>
                      <a:lnTo>
                        <a:pt x="949420" y="122413"/>
                      </a:lnTo>
                      <a:lnTo>
                        <a:pt x="950914" y="120604"/>
                      </a:lnTo>
                      <a:lnTo>
                        <a:pt x="951169" y="120288"/>
                      </a:lnTo>
                      <a:lnTo>
                        <a:pt x="951387" y="119948"/>
                      </a:lnTo>
                      <a:lnTo>
                        <a:pt x="955516" y="113306"/>
                      </a:lnTo>
                      <a:lnTo>
                        <a:pt x="955783" y="112881"/>
                      </a:lnTo>
                      <a:lnTo>
                        <a:pt x="955977" y="112419"/>
                      </a:lnTo>
                      <a:lnTo>
                        <a:pt x="956499" y="111156"/>
                      </a:lnTo>
                      <a:lnTo>
                        <a:pt x="957021" y="109894"/>
                      </a:lnTo>
                      <a:lnTo>
                        <a:pt x="956949" y="108521"/>
                      </a:lnTo>
                      <a:lnTo>
                        <a:pt x="956888" y="107380"/>
                      </a:lnTo>
                      <a:lnTo>
                        <a:pt x="956779" y="105267"/>
                      </a:lnTo>
                      <a:lnTo>
                        <a:pt x="955370" y="103676"/>
                      </a:lnTo>
                      <a:lnTo>
                        <a:pt x="954739" y="102960"/>
                      </a:lnTo>
                      <a:lnTo>
                        <a:pt x="954496" y="102693"/>
                      </a:lnTo>
                      <a:lnTo>
                        <a:pt x="954229" y="102450"/>
                      </a:lnTo>
                      <a:lnTo>
                        <a:pt x="953731" y="102001"/>
                      </a:lnTo>
                      <a:lnTo>
                        <a:pt x="954957" y="98224"/>
                      </a:lnTo>
                      <a:lnTo>
                        <a:pt x="955334" y="97046"/>
                      </a:lnTo>
                      <a:lnTo>
                        <a:pt x="955224" y="95808"/>
                      </a:lnTo>
                      <a:lnTo>
                        <a:pt x="954702" y="89943"/>
                      </a:lnTo>
                      <a:lnTo>
                        <a:pt x="954654" y="89384"/>
                      </a:lnTo>
                      <a:lnTo>
                        <a:pt x="954496" y="88838"/>
                      </a:lnTo>
                      <a:lnTo>
                        <a:pt x="952941" y="83337"/>
                      </a:lnTo>
                      <a:lnTo>
                        <a:pt x="952856" y="83021"/>
                      </a:lnTo>
                      <a:lnTo>
                        <a:pt x="952735" y="82718"/>
                      </a:lnTo>
                      <a:lnTo>
                        <a:pt x="950331" y="76768"/>
                      </a:lnTo>
                      <a:lnTo>
                        <a:pt x="950088" y="76173"/>
                      </a:lnTo>
                      <a:lnTo>
                        <a:pt x="949736" y="75638"/>
                      </a:lnTo>
                      <a:lnTo>
                        <a:pt x="939815" y="60994"/>
                      </a:lnTo>
                      <a:lnTo>
                        <a:pt x="937483" y="56647"/>
                      </a:lnTo>
                      <a:lnTo>
                        <a:pt x="935055" y="49665"/>
                      </a:lnTo>
                      <a:lnTo>
                        <a:pt x="933913" y="44188"/>
                      </a:lnTo>
                      <a:lnTo>
                        <a:pt x="933938" y="43387"/>
                      </a:lnTo>
                      <a:lnTo>
                        <a:pt x="933998" y="41857"/>
                      </a:lnTo>
                      <a:lnTo>
                        <a:pt x="933755" y="41371"/>
                      </a:lnTo>
                      <a:lnTo>
                        <a:pt x="933755" y="40910"/>
                      </a:lnTo>
                      <a:lnTo>
                        <a:pt x="933755" y="40254"/>
                      </a:lnTo>
                      <a:lnTo>
                        <a:pt x="933610" y="39610"/>
                      </a:lnTo>
                      <a:lnTo>
                        <a:pt x="933282" y="38117"/>
                      </a:lnTo>
                      <a:lnTo>
                        <a:pt x="932991" y="36757"/>
                      </a:lnTo>
                      <a:lnTo>
                        <a:pt x="932128" y="35664"/>
                      </a:lnTo>
                      <a:lnTo>
                        <a:pt x="930271" y="33284"/>
                      </a:lnTo>
                      <a:lnTo>
                        <a:pt x="928995" y="31645"/>
                      </a:lnTo>
                      <a:lnTo>
                        <a:pt x="926980" y="31134"/>
                      </a:lnTo>
                      <a:lnTo>
                        <a:pt x="925729" y="30819"/>
                      </a:lnTo>
                      <a:lnTo>
                        <a:pt x="925073" y="30649"/>
                      </a:lnTo>
                      <a:lnTo>
                        <a:pt x="924393" y="30637"/>
                      </a:lnTo>
                      <a:lnTo>
                        <a:pt x="921746" y="30576"/>
                      </a:lnTo>
                      <a:lnTo>
                        <a:pt x="920908" y="30564"/>
                      </a:lnTo>
                      <a:lnTo>
                        <a:pt x="920095" y="30770"/>
                      </a:lnTo>
                      <a:lnTo>
                        <a:pt x="915189" y="32033"/>
                      </a:lnTo>
                      <a:lnTo>
                        <a:pt x="913902" y="31256"/>
                      </a:lnTo>
                      <a:lnTo>
                        <a:pt x="908911" y="24954"/>
                      </a:lnTo>
                      <a:lnTo>
                        <a:pt x="908486" y="24407"/>
                      </a:lnTo>
                      <a:lnTo>
                        <a:pt x="907952" y="23970"/>
                      </a:lnTo>
                      <a:lnTo>
                        <a:pt x="904273" y="21032"/>
                      </a:lnTo>
                      <a:lnTo>
                        <a:pt x="903046" y="20060"/>
                      </a:lnTo>
                      <a:lnTo>
                        <a:pt x="901516" y="19793"/>
                      </a:lnTo>
                      <a:lnTo>
                        <a:pt x="899573" y="19453"/>
                      </a:lnTo>
                      <a:lnTo>
                        <a:pt x="899209" y="19392"/>
                      </a:lnTo>
                      <a:lnTo>
                        <a:pt x="898432" y="16514"/>
                      </a:lnTo>
                      <a:lnTo>
                        <a:pt x="895615" y="15385"/>
                      </a:lnTo>
                      <a:lnTo>
                        <a:pt x="893878" y="14693"/>
                      </a:lnTo>
                      <a:lnTo>
                        <a:pt x="891717" y="13831"/>
                      </a:lnTo>
                      <a:lnTo>
                        <a:pt x="889810" y="14535"/>
                      </a:lnTo>
                      <a:lnTo>
                        <a:pt x="888365" y="12070"/>
                      </a:lnTo>
                      <a:lnTo>
                        <a:pt x="884613" y="12325"/>
                      </a:lnTo>
                      <a:lnTo>
                        <a:pt x="881480" y="12531"/>
                      </a:lnTo>
                      <a:lnTo>
                        <a:pt x="879987" y="12629"/>
                      </a:lnTo>
                      <a:lnTo>
                        <a:pt x="878712" y="13394"/>
                      </a:lnTo>
                      <a:lnTo>
                        <a:pt x="872762" y="17024"/>
                      </a:lnTo>
                      <a:lnTo>
                        <a:pt x="872361" y="17061"/>
                      </a:lnTo>
                      <a:lnTo>
                        <a:pt x="869301" y="16709"/>
                      </a:lnTo>
                      <a:lnTo>
                        <a:pt x="868621" y="16636"/>
                      </a:lnTo>
                      <a:lnTo>
                        <a:pt x="867941" y="16709"/>
                      </a:lnTo>
                      <a:lnTo>
                        <a:pt x="866387" y="16879"/>
                      </a:lnTo>
                      <a:lnTo>
                        <a:pt x="864759" y="17061"/>
                      </a:lnTo>
                      <a:lnTo>
                        <a:pt x="863448" y="18032"/>
                      </a:lnTo>
                      <a:lnTo>
                        <a:pt x="862015" y="19089"/>
                      </a:lnTo>
                      <a:lnTo>
                        <a:pt x="861153" y="19720"/>
                      </a:lnTo>
                      <a:lnTo>
                        <a:pt x="860570" y="20607"/>
                      </a:lnTo>
                      <a:lnTo>
                        <a:pt x="860436" y="20801"/>
                      </a:lnTo>
                      <a:lnTo>
                        <a:pt x="859550" y="20679"/>
                      </a:lnTo>
                      <a:lnTo>
                        <a:pt x="852082" y="16308"/>
                      </a:lnTo>
                      <a:lnTo>
                        <a:pt x="851390" y="15907"/>
                      </a:lnTo>
                      <a:lnTo>
                        <a:pt x="850625" y="15689"/>
                      </a:lnTo>
                      <a:lnTo>
                        <a:pt x="846946" y="14681"/>
                      </a:lnTo>
                      <a:lnTo>
                        <a:pt x="846496" y="14559"/>
                      </a:lnTo>
                      <a:lnTo>
                        <a:pt x="846047" y="14511"/>
                      </a:lnTo>
                      <a:lnTo>
                        <a:pt x="840279" y="13831"/>
                      </a:lnTo>
                      <a:lnTo>
                        <a:pt x="839417" y="13357"/>
                      </a:lnTo>
                      <a:lnTo>
                        <a:pt x="839016" y="12884"/>
                      </a:lnTo>
                      <a:lnTo>
                        <a:pt x="838361" y="11754"/>
                      </a:lnTo>
                      <a:lnTo>
                        <a:pt x="838106" y="11317"/>
                      </a:lnTo>
                      <a:lnTo>
                        <a:pt x="837790" y="10929"/>
                      </a:lnTo>
                      <a:lnTo>
                        <a:pt x="836818" y="9751"/>
                      </a:lnTo>
                      <a:lnTo>
                        <a:pt x="835568" y="8233"/>
                      </a:lnTo>
                      <a:lnTo>
                        <a:pt x="833674" y="7735"/>
                      </a:lnTo>
                      <a:lnTo>
                        <a:pt x="831901" y="7274"/>
                      </a:lnTo>
                      <a:lnTo>
                        <a:pt x="831051" y="7043"/>
                      </a:lnTo>
                      <a:lnTo>
                        <a:pt x="830164" y="7079"/>
                      </a:lnTo>
                      <a:lnTo>
                        <a:pt x="827991" y="7152"/>
                      </a:lnTo>
                      <a:lnTo>
                        <a:pt x="826910" y="5076"/>
                      </a:lnTo>
                      <a:lnTo>
                        <a:pt x="825853" y="3024"/>
                      </a:lnTo>
                      <a:lnTo>
                        <a:pt x="823655" y="2222"/>
                      </a:lnTo>
                      <a:lnTo>
                        <a:pt x="819758" y="729"/>
                      </a:lnTo>
                      <a:lnTo>
                        <a:pt x="818895" y="401"/>
                      </a:lnTo>
                      <a:lnTo>
                        <a:pt x="817973" y="340"/>
                      </a:lnTo>
                      <a:lnTo>
                        <a:pt x="813370" y="49"/>
                      </a:lnTo>
                      <a:lnTo>
                        <a:pt x="812763" y="0"/>
                      </a:lnTo>
                      <a:lnTo>
                        <a:pt x="812763" y="0"/>
                      </a:lnTo>
                      <a:close/>
                      <a:moveTo>
                        <a:pt x="924090" y="328697"/>
                      </a:moveTo>
                      <a:lnTo>
                        <a:pt x="928243" y="326014"/>
                      </a:lnTo>
                      <a:lnTo>
                        <a:pt x="928558" y="325795"/>
                      </a:lnTo>
                      <a:lnTo>
                        <a:pt x="928850" y="325552"/>
                      </a:lnTo>
                      <a:lnTo>
                        <a:pt x="929943" y="324629"/>
                      </a:lnTo>
                      <a:lnTo>
                        <a:pt x="930453" y="324192"/>
                      </a:lnTo>
                      <a:lnTo>
                        <a:pt x="930720" y="323840"/>
                      </a:lnTo>
                      <a:lnTo>
                        <a:pt x="930611" y="324848"/>
                      </a:lnTo>
                      <a:lnTo>
                        <a:pt x="930550" y="325419"/>
                      </a:lnTo>
                      <a:lnTo>
                        <a:pt x="930598" y="325989"/>
                      </a:lnTo>
                      <a:lnTo>
                        <a:pt x="930732" y="327592"/>
                      </a:lnTo>
                      <a:lnTo>
                        <a:pt x="930708" y="328114"/>
                      </a:lnTo>
                      <a:lnTo>
                        <a:pt x="928741" y="328345"/>
                      </a:lnTo>
                      <a:lnTo>
                        <a:pt x="927769" y="328467"/>
                      </a:lnTo>
                      <a:lnTo>
                        <a:pt x="926883" y="328891"/>
                      </a:lnTo>
                      <a:lnTo>
                        <a:pt x="925049" y="329778"/>
                      </a:lnTo>
                      <a:lnTo>
                        <a:pt x="924393" y="330094"/>
                      </a:lnTo>
                      <a:lnTo>
                        <a:pt x="923835" y="330555"/>
                      </a:lnTo>
                      <a:lnTo>
                        <a:pt x="922402" y="331733"/>
                      </a:lnTo>
                      <a:lnTo>
                        <a:pt x="921795" y="332231"/>
                      </a:lnTo>
                      <a:lnTo>
                        <a:pt x="921333" y="332874"/>
                      </a:lnTo>
                      <a:lnTo>
                        <a:pt x="920034" y="334672"/>
                      </a:lnTo>
                      <a:lnTo>
                        <a:pt x="920289" y="333700"/>
                      </a:lnTo>
                      <a:lnTo>
                        <a:pt x="921200" y="331781"/>
                      </a:lnTo>
                      <a:lnTo>
                        <a:pt x="922305" y="330179"/>
                      </a:lnTo>
                      <a:lnTo>
                        <a:pt x="924090" y="328697"/>
                      </a:lnTo>
                      <a:lnTo>
                        <a:pt x="924090" y="328697"/>
                      </a:lnTo>
                      <a:close/>
                      <a:moveTo>
                        <a:pt x="158757" y="430224"/>
                      </a:moveTo>
                      <a:lnTo>
                        <a:pt x="158065" y="425780"/>
                      </a:lnTo>
                      <a:lnTo>
                        <a:pt x="158040" y="425634"/>
                      </a:lnTo>
                      <a:lnTo>
                        <a:pt x="159886" y="425926"/>
                      </a:lnTo>
                      <a:lnTo>
                        <a:pt x="160396" y="426011"/>
                      </a:lnTo>
                      <a:lnTo>
                        <a:pt x="160906" y="426011"/>
                      </a:lnTo>
                      <a:lnTo>
                        <a:pt x="166249" y="425962"/>
                      </a:lnTo>
                      <a:lnTo>
                        <a:pt x="168277" y="426156"/>
                      </a:lnTo>
                      <a:lnTo>
                        <a:pt x="172138" y="427310"/>
                      </a:lnTo>
                      <a:lnTo>
                        <a:pt x="174543" y="427820"/>
                      </a:lnTo>
                      <a:lnTo>
                        <a:pt x="175538" y="428026"/>
                      </a:lnTo>
                      <a:lnTo>
                        <a:pt x="176546" y="427905"/>
                      </a:lnTo>
                      <a:lnTo>
                        <a:pt x="177858" y="427735"/>
                      </a:lnTo>
                      <a:lnTo>
                        <a:pt x="177250" y="429726"/>
                      </a:lnTo>
                      <a:lnTo>
                        <a:pt x="177020" y="430467"/>
                      </a:lnTo>
                      <a:lnTo>
                        <a:pt x="176983" y="431232"/>
                      </a:lnTo>
                      <a:lnTo>
                        <a:pt x="176874" y="433624"/>
                      </a:lnTo>
                      <a:lnTo>
                        <a:pt x="176862" y="433964"/>
                      </a:lnTo>
                      <a:lnTo>
                        <a:pt x="176886" y="434304"/>
                      </a:lnTo>
                      <a:lnTo>
                        <a:pt x="177020" y="436296"/>
                      </a:lnTo>
                      <a:lnTo>
                        <a:pt x="176801" y="437850"/>
                      </a:lnTo>
                      <a:lnTo>
                        <a:pt x="176668" y="438032"/>
                      </a:lnTo>
                      <a:lnTo>
                        <a:pt x="175635" y="438797"/>
                      </a:lnTo>
                      <a:lnTo>
                        <a:pt x="174470" y="439344"/>
                      </a:lnTo>
                      <a:lnTo>
                        <a:pt x="173195" y="439599"/>
                      </a:lnTo>
                      <a:lnTo>
                        <a:pt x="166686" y="439878"/>
                      </a:lnTo>
                      <a:lnTo>
                        <a:pt x="166468" y="439574"/>
                      </a:lnTo>
                      <a:lnTo>
                        <a:pt x="164634" y="435567"/>
                      </a:lnTo>
                      <a:lnTo>
                        <a:pt x="164221" y="434644"/>
                      </a:lnTo>
                      <a:lnTo>
                        <a:pt x="163529" y="433904"/>
                      </a:lnTo>
                      <a:lnTo>
                        <a:pt x="162278" y="432580"/>
                      </a:lnTo>
                      <a:lnTo>
                        <a:pt x="161708" y="431973"/>
                      </a:lnTo>
                      <a:lnTo>
                        <a:pt x="160979" y="431548"/>
                      </a:lnTo>
                      <a:lnTo>
                        <a:pt x="158757" y="430224"/>
                      </a:lnTo>
                      <a:lnTo>
                        <a:pt x="158757" y="430224"/>
                      </a:lnTo>
                      <a:close/>
                    </a:path>
                  </a:pathLst>
                </a:custGeom>
                <a:solidFill>
                  <a:srgbClr val="FFFFFF"/>
                </a:solidFill>
                <a:ln w="12138" cap="flat">
                  <a:noFill/>
                  <a:prstDash val="solid"/>
                  <a:miter/>
                </a:ln>
              </p:spPr>
              <p:txBody>
                <a:bodyPr rtlCol="0" anchor="ctr"/>
                <a:lstStyle/>
                <a:p>
                  <a:endParaRPr lang="en-US"/>
                </a:p>
              </p:txBody>
            </p:sp>
          </p:grpSp>
          <p:grpSp>
            <p:nvGrpSpPr>
              <p:cNvPr id="250" name="Graphic 280">
                <a:extLst>
                  <a:ext uri="{FF2B5EF4-FFF2-40B4-BE49-F238E27FC236}">
                    <a16:creationId xmlns:a16="http://schemas.microsoft.com/office/drawing/2014/main" id="{06EBF118-5ABB-4B3A-AC34-4668FD451FF6}"/>
                  </a:ext>
                </a:extLst>
              </p:cNvPr>
              <p:cNvGrpSpPr/>
              <p:nvPr/>
            </p:nvGrpSpPr>
            <p:grpSpPr>
              <a:xfrm>
                <a:off x="5625145" y="3317518"/>
                <a:ext cx="779965" cy="1260351"/>
                <a:chOff x="5625145" y="3317518"/>
                <a:chExt cx="779965" cy="1260351"/>
              </a:xfrm>
            </p:grpSpPr>
            <p:sp>
              <p:nvSpPr>
                <p:cNvPr id="338" name="Freeform: Shape 337">
                  <a:extLst>
                    <a:ext uri="{FF2B5EF4-FFF2-40B4-BE49-F238E27FC236}">
                      <a16:creationId xmlns:a16="http://schemas.microsoft.com/office/drawing/2014/main" id="{FFB878FA-CFE4-4447-BE36-D15401BBEFCE}"/>
                    </a:ext>
                  </a:extLst>
                </p:cNvPr>
                <p:cNvSpPr/>
                <p:nvPr/>
              </p:nvSpPr>
              <p:spPr>
                <a:xfrm>
                  <a:off x="5628217" y="3321100"/>
                  <a:ext cx="773748" cy="1253758"/>
                </a:xfrm>
                <a:custGeom>
                  <a:avLst/>
                  <a:gdLst>
                    <a:gd name="connsiteX0" fmla="*/ 146334 w 773748"/>
                    <a:gd name="connsiteY0" fmla="*/ 1253503 h 1253758"/>
                    <a:gd name="connsiteX1" fmla="*/ 142558 w 773748"/>
                    <a:gd name="connsiteY1" fmla="*/ 1251184 h 1253758"/>
                    <a:gd name="connsiteX2" fmla="*/ 139267 w 773748"/>
                    <a:gd name="connsiteY2" fmla="*/ 1246436 h 1253758"/>
                    <a:gd name="connsiteX3" fmla="*/ 136268 w 773748"/>
                    <a:gd name="connsiteY3" fmla="*/ 1239381 h 1253758"/>
                    <a:gd name="connsiteX4" fmla="*/ 134835 w 773748"/>
                    <a:gd name="connsiteY4" fmla="*/ 1214488 h 1253758"/>
                    <a:gd name="connsiteX5" fmla="*/ 134034 w 773748"/>
                    <a:gd name="connsiteY5" fmla="*/ 1212023 h 1253758"/>
                    <a:gd name="connsiteX6" fmla="*/ 130743 w 773748"/>
                    <a:gd name="connsiteY6" fmla="*/ 1206377 h 1253758"/>
                    <a:gd name="connsiteX7" fmla="*/ 129237 w 773748"/>
                    <a:gd name="connsiteY7" fmla="*/ 1203062 h 1253758"/>
                    <a:gd name="connsiteX8" fmla="*/ 127950 w 773748"/>
                    <a:gd name="connsiteY8" fmla="*/ 1198909 h 1253758"/>
                    <a:gd name="connsiteX9" fmla="*/ 127185 w 773748"/>
                    <a:gd name="connsiteY9" fmla="*/ 1195120 h 1253758"/>
                    <a:gd name="connsiteX10" fmla="*/ 127015 w 773748"/>
                    <a:gd name="connsiteY10" fmla="*/ 1190737 h 1253758"/>
                    <a:gd name="connsiteX11" fmla="*/ 127986 w 773748"/>
                    <a:gd name="connsiteY11" fmla="*/ 1186681 h 1253758"/>
                    <a:gd name="connsiteX12" fmla="*/ 129553 w 773748"/>
                    <a:gd name="connsiteY12" fmla="*/ 1183329 h 1253758"/>
                    <a:gd name="connsiteX13" fmla="*/ 131119 w 773748"/>
                    <a:gd name="connsiteY13" fmla="*/ 1180549 h 1253758"/>
                    <a:gd name="connsiteX14" fmla="*/ 129772 w 773748"/>
                    <a:gd name="connsiteY14" fmla="*/ 1180367 h 1253758"/>
                    <a:gd name="connsiteX15" fmla="*/ 127950 w 773748"/>
                    <a:gd name="connsiteY15" fmla="*/ 1180925 h 1253758"/>
                    <a:gd name="connsiteX16" fmla="*/ 123724 w 773748"/>
                    <a:gd name="connsiteY16" fmla="*/ 1182880 h 1253758"/>
                    <a:gd name="connsiteX17" fmla="*/ 121150 w 773748"/>
                    <a:gd name="connsiteY17" fmla="*/ 1183718 h 1253758"/>
                    <a:gd name="connsiteX18" fmla="*/ 117908 w 773748"/>
                    <a:gd name="connsiteY18" fmla="*/ 1183754 h 1253758"/>
                    <a:gd name="connsiteX19" fmla="*/ 117070 w 773748"/>
                    <a:gd name="connsiteY19" fmla="*/ 1183706 h 1253758"/>
                    <a:gd name="connsiteX20" fmla="*/ 114059 w 773748"/>
                    <a:gd name="connsiteY20" fmla="*/ 1181702 h 1253758"/>
                    <a:gd name="connsiteX21" fmla="*/ 112334 w 773748"/>
                    <a:gd name="connsiteY21" fmla="*/ 1178739 h 1253758"/>
                    <a:gd name="connsiteX22" fmla="*/ 111545 w 773748"/>
                    <a:gd name="connsiteY22" fmla="*/ 1174951 h 1253758"/>
                    <a:gd name="connsiteX23" fmla="*/ 111399 w 773748"/>
                    <a:gd name="connsiteY23" fmla="*/ 1172012 h 1253758"/>
                    <a:gd name="connsiteX24" fmla="*/ 111084 w 773748"/>
                    <a:gd name="connsiteY24" fmla="*/ 1169729 h 1253758"/>
                    <a:gd name="connsiteX25" fmla="*/ 110816 w 773748"/>
                    <a:gd name="connsiteY25" fmla="*/ 1169207 h 1253758"/>
                    <a:gd name="connsiteX26" fmla="*/ 109991 w 773748"/>
                    <a:gd name="connsiteY26" fmla="*/ 1168709 h 1253758"/>
                    <a:gd name="connsiteX27" fmla="*/ 109881 w 773748"/>
                    <a:gd name="connsiteY27" fmla="*/ 1168746 h 1253758"/>
                    <a:gd name="connsiteX28" fmla="*/ 109541 w 773748"/>
                    <a:gd name="connsiteY28" fmla="*/ 1169231 h 1253758"/>
                    <a:gd name="connsiteX29" fmla="*/ 108983 w 773748"/>
                    <a:gd name="connsiteY29" fmla="*/ 1172498 h 1253758"/>
                    <a:gd name="connsiteX30" fmla="*/ 108449 w 773748"/>
                    <a:gd name="connsiteY30" fmla="*/ 1174283 h 1253758"/>
                    <a:gd name="connsiteX31" fmla="*/ 107526 w 773748"/>
                    <a:gd name="connsiteY31" fmla="*/ 1176019 h 1253758"/>
                    <a:gd name="connsiteX32" fmla="*/ 105862 w 773748"/>
                    <a:gd name="connsiteY32" fmla="*/ 1177161 h 1253758"/>
                    <a:gd name="connsiteX33" fmla="*/ 103506 w 773748"/>
                    <a:gd name="connsiteY33" fmla="*/ 1178035 h 1253758"/>
                    <a:gd name="connsiteX34" fmla="*/ 100823 w 773748"/>
                    <a:gd name="connsiteY34" fmla="*/ 1178448 h 1253758"/>
                    <a:gd name="connsiteX35" fmla="*/ 95601 w 773748"/>
                    <a:gd name="connsiteY35" fmla="*/ 1178582 h 1253758"/>
                    <a:gd name="connsiteX36" fmla="*/ 92019 w 773748"/>
                    <a:gd name="connsiteY36" fmla="*/ 1177744 h 1253758"/>
                    <a:gd name="connsiteX37" fmla="*/ 89506 w 773748"/>
                    <a:gd name="connsiteY37" fmla="*/ 1175461 h 1253758"/>
                    <a:gd name="connsiteX38" fmla="*/ 88267 w 773748"/>
                    <a:gd name="connsiteY38" fmla="*/ 1172158 h 1253758"/>
                    <a:gd name="connsiteX39" fmla="*/ 88024 w 773748"/>
                    <a:gd name="connsiteY39" fmla="*/ 1169086 h 1253758"/>
                    <a:gd name="connsiteX40" fmla="*/ 88570 w 773748"/>
                    <a:gd name="connsiteY40" fmla="*/ 1166439 h 1253758"/>
                    <a:gd name="connsiteX41" fmla="*/ 90052 w 773748"/>
                    <a:gd name="connsiteY41" fmla="*/ 1164071 h 1253758"/>
                    <a:gd name="connsiteX42" fmla="*/ 92141 w 773748"/>
                    <a:gd name="connsiteY42" fmla="*/ 1162359 h 1253758"/>
                    <a:gd name="connsiteX43" fmla="*/ 96476 w 773748"/>
                    <a:gd name="connsiteY43" fmla="*/ 1160319 h 1253758"/>
                    <a:gd name="connsiteX44" fmla="*/ 96415 w 773748"/>
                    <a:gd name="connsiteY44" fmla="*/ 1159395 h 1253758"/>
                    <a:gd name="connsiteX45" fmla="*/ 95844 w 773748"/>
                    <a:gd name="connsiteY45" fmla="*/ 1158230 h 1253758"/>
                    <a:gd name="connsiteX46" fmla="*/ 91424 w 773748"/>
                    <a:gd name="connsiteY46" fmla="*/ 1151418 h 1253758"/>
                    <a:gd name="connsiteX47" fmla="*/ 86616 w 773748"/>
                    <a:gd name="connsiteY47" fmla="*/ 1140441 h 1253758"/>
                    <a:gd name="connsiteX48" fmla="*/ 84806 w 773748"/>
                    <a:gd name="connsiteY48" fmla="*/ 1134138 h 1253758"/>
                    <a:gd name="connsiteX49" fmla="*/ 83798 w 773748"/>
                    <a:gd name="connsiteY49" fmla="*/ 1131515 h 1253758"/>
                    <a:gd name="connsiteX50" fmla="*/ 82232 w 773748"/>
                    <a:gd name="connsiteY50" fmla="*/ 1129038 h 1253758"/>
                    <a:gd name="connsiteX51" fmla="*/ 79305 w 773748"/>
                    <a:gd name="connsiteY51" fmla="*/ 1125796 h 1253758"/>
                    <a:gd name="connsiteX52" fmla="*/ 76525 w 773748"/>
                    <a:gd name="connsiteY52" fmla="*/ 1121874 h 1253758"/>
                    <a:gd name="connsiteX53" fmla="*/ 72894 w 773748"/>
                    <a:gd name="connsiteY53" fmla="*/ 1118353 h 1253758"/>
                    <a:gd name="connsiteX54" fmla="*/ 69810 w 773748"/>
                    <a:gd name="connsiteY54" fmla="*/ 1114054 h 1253758"/>
                    <a:gd name="connsiteX55" fmla="*/ 61382 w 773748"/>
                    <a:gd name="connsiteY55" fmla="*/ 1104412 h 1253758"/>
                    <a:gd name="connsiteX56" fmla="*/ 57473 w 773748"/>
                    <a:gd name="connsiteY56" fmla="*/ 1101000 h 1253758"/>
                    <a:gd name="connsiteX57" fmla="*/ 55955 w 773748"/>
                    <a:gd name="connsiteY57" fmla="*/ 1099895 h 1253758"/>
                    <a:gd name="connsiteX58" fmla="*/ 52324 w 773748"/>
                    <a:gd name="connsiteY58" fmla="*/ 1098256 h 1253758"/>
                    <a:gd name="connsiteX59" fmla="*/ 50102 w 773748"/>
                    <a:gd name="connsiteY59" fmla="*/ 1096738 h 1253758"/>
                    <a:gd name="connsiteX60" fmla="*/ 46410 w 773748"/>
                    <a:gd name="connsiteY60" fmla="*/ 1093253 h 1253758"/>
                    <a:gd name="connsiteX61" fmla="*/ 44382 w 773748"/>
                    <a:gd name="connsiteY61" fmla="*/ 1092658 h 1253758"/>
                    <a:gd name="connsiteX62" fmla="*/ 41274 w 773748"/>
                    <a:gd name="connsiteY62" fmla="*/ 1092804 h 1253758"/>
                    <a:gd name="connsiteX63" fmla="*/ 35275 w 773748"/>
                    <a:gd name="connsiteY63" fmla="*/ 1094504 h 1253758"/>
                    <a:gd name="connsiteX64" fmla="*/ 31183 w 773748"/>
                    <a:gd name="connsiteY64" fmla="*/ 1096447 h 1253758"/>
                    <a:gd name="connsiteX65" fmla="*/ 25779 w 773748"/>
                    <a:gd name="connsiteY65" fmla="*/ 1094856 h 1253758"/>
                    <a:gd name="connsiteX66" fmla="*/ 24966 w 773748"/>
                    <a:gd name="connsiteY66" fmla="*/ 1092282 h 1253758"/>
                    <a:gd name="connsiteX67" fmla="*/ 24371 w 773748"/>
                    <a:gd name="connsiteY67" fmla="*/ 1093034 h 1253758"/>
                    <a:gd name="connsiteX68" fmla="*/ 19757 w 773748"/>
                    <a:gd name="connsiteY68" fmla="*/ 1096835 h 1253758"/>
                    <a:gd name="connsiteX69" fmla="*/ 16672 w 773748"/>
                    <a:gd name="connsiteY69" fmla="*/ 1092864 h 1253758"/>
                    <a:gd name="connsiteX70" fmla="*/ 15883 w 773748"/>
                    <a:gd name="connsiteY70" fmla="*/ 1089695 h 1253758"/>
                    <a:gd name="connsiteX71" fmla="*/ 13357 w 773748"/>
                    <a:gd name="connsiteY71" fmla="*/ 1087072 h 1253758"/>
                    <a:gd name="connsiteX72" fmla="*/ 11657 w 773748"/>
                    <a:gd name="connsiteY72" fmla="*/ 1084449 h 1253758"/>
                    <a:gd name="connsiteX73" fmla="*/ 10819 w 773748"/>
                    <a:gd name="connsiteY73" fmla="*/ 1081608 h 1253758"/>
                    <a:gd name="connsiteX74" fmla="*/ 10516 w 773748"/>
                    <a:gd name="connsiteY74" fmla="*/ 1076982 h 1253758"/>
                    <a:gd name="connsiteX75" fmla="*/ 10139 w 773748"/>
                    <a:gd name="connsiteY75" fmla="*/ 1075597 h 1253758"/>
                    <a:gd name="connsiteX76" fmla="*/ 9411 w 773748"/>
                    <a:gd name="connsiteY76" fmla="*/ 1073897 h 1253758"/>
                    <a:gd name="connsiteX77" fmla="*/ 8403 w 773748"/>
                    <a:gd name="connsiteY77" fmla="*/ 1072088 h 1253758"/>
                    <a:gd name="connsiteX78" fmla="*/ 8039 w 773748"/>
                    <a:gd name="connsiteY78" fmla="*/ 1071760 h 1253758"/>
                    <a:gd name="connsiteX79" fmla="*/ 7225 w 773748"/>
                    <a:gd name="connsiteY79" fmla="*/ 1071541 h 1253758"/>
                    <a:gd name="connsiteX80" fmla="*/ 2841 w 773748"/>
                    <a:gd name="connsiteY80" fmla="*/ 1072622 h 1253758"/>
                    <a:gd name="connsiteX81" fmla="*/ 996 w 773748"/>
                    <a:gd name="connsiteY81" fmla="*/ 1066320 h 1253758"/>
                    <a:gd name="connsiteX82" fmla="*/ 328 w 773748"/>
                    <a:gd name="connsiteY82" fmla="*/ 1063758 h 1253758"/>
                    <a:gd name="connsiteX83" fmla="*/ 0 w 773748"/>
                    <a:gd name="connsiteY83" fmla="*/ 1060370 h 1253758"/>
                    <a:gd name="connsiteX84" fmla="*/ 1311 w 773748"/>
                    <a:gd name="connsiteY84" fmla="*/ 1057213 h 1253758"/>
                    <a:gd name="connsiteX85" fmla="*/ 3643 w 773748"/>
                    <a:gd name="connsiteY85" fmla="*/ 1054541 h 1253758"/>
                    <a:gd name="connsiteX86" fmla="*/ 15555 w 773748"/>
                    <a:gd name="connsiteY86" fmla="*/ 1047426 h 1253758"/>
                    <a:gd name="connsiteX87" fmla="*/ 16502 w 773748"/>
                    <a:gd name="connsiteY87" fmla="*/ 1045774 h 1253758"/>
                    <a:gd name="connsiteX88" fmla="*/ 15992 w 773748"/>
                    <a:gd name="connsiteY88" fmla="*/ 1043770 h 1253758"/>
                    <a:gd name="connsiteX89" fmla="*/ 5173 w 773748"/>
                    <a:gd name="connsiteY89" fmla="*/ 1030802 h 1253758"/>
                    <a:gd name="connsiteX90" fmla="*/ 2113 w 773748"/>
                    <a:gd name="connsiteY90" fmla="*/ 1024305 h 1253758"/>
                    <a:gd name="connsiteX91" fmla="*/ 2186 w 773748"/>
                    <a:gd name="connsiteY91" fmla="*/ 1016680 h 1253758"/>
                    <a:gd name="connsiteX92" fmla="*/ 5962 w 773748"/>
                    <a:gd name="connsiteY92" fmla="*/ 1008349 h 1253758"/>
                    <a:gd name="connsiteX93" fmla="*/ 16879 w 773748"/>
                    <a:gd name="connsiteY93" fmla="*/ 995527 h 1253758"/>
                    <a:gd name="connsiteX94" fmla="*/ 20364 w 773748"/>
                    <a:gd name="connsiteY94" fmla="*/ 989067 h 1253758"/>
                    <a:gd name="connsiteX95" fmla="*/ 21226 w 773748"/>
                    <a:gd name="connsiteY95" fmla="*/ 983432 h 1253758"/>
                    <a:gd name="connsiteX96" fmla="*/ 25792 w 773748"/>
                    <a:gd name="connsiteY96" fmla="*/ 967003 h 1253758"/>
                    <a:gd name="connsiteX97" fmla="*/ 27868 w 773748"/>
                    <a:gd name="connsiteY97" fmla="*/ 962619 h 1253758"/>
                    <a:gd name="connsiteX98" fmla="*/ 30126 w 773748"/>
                    <a:gd name="connsiteY98" fmla="*/ 961053 h 1253758"/>
                    <a:gd name="connsiteX99" fmla="*/ 35081 w 773748"/>
                    <a:gd name="connsiteY99" fmla="*/ 958952 h 1253758"/>
                    <a:gd name="connsiteX100" fmla="*/ 36392 w 773748"/>
                    <a:gd name="connsiteY100" fmla="*/ 957956 h 1253758"/>
                    <a:gd name="connsiteX101" fmla="*/ 37339 w 773748"/>
                    <a:gd name="connsiteY101" fmla="*/ 956220 h 1253758"/>
                    <a:gd name="connsiteX102" fmla="*/ 39829 w 773748"/>
                    <a:gd name="connsiteY102" fmla="*/ 950658 h 1253758"/>
                    <a:gd name="connsiteX103" fmla="*/ 42014 w 773748"/>
                    <a:gd name="connsiteY103" fmla="*/ 947635 h 1253758"/>
                    <a:gd name="connsiteX104" fmla="*/ 44394 w 773748"/>
                    <a:gd name="connsiteY104" fmla="*/ 945813 h 1253758"/>
                    <a:gd name="connsiteX105" fmla="*/ 48632 w 773748"/>
                    <a:gd name="connsiteY105" fmla="*/ 944271 h 1253758"/>
                    <a:gd name="connsiteX106" fmla="*/ 49701 w 773748"/>
                    <a:gd name="connsiteY106" fmla="*/ 943603 h 1253758"/>
                    <a:gd name="connsiteX107" fmla="*/ 50745 w 773748"/>
                    <a:gd name="connsiteY107" fmla="*/ 942219 h 1253758"/>
                    <a:gd name="connsiteX108" fmla="*/ 53514 w 773748"/>
                    <a:gd name="connsiteY108" fmla="*/ 938030 h 1253758"/>
                    <a:gd name="connsiteX109" fmla="*/ 56683 w 773748"/>
                    <a:gd name="connsiteY109" fmla="*/ 935310 h 1253758"/>
                    <a:gd name="connsiteX110" fmla="*/ 63216 w 773748"/>
                    <a:gd name="connsiteY110" fmla="*/ 933768 h 1253758"/>
                    <a:gd name="connsiteX111" fmla="*/ 67017 w 773748"/>
                    <a:gd name="connsiteY111" fmla="*/ 937435 h 1253758"/>
                    <a:gd name="connsiteX112" fmla="*/ 69725 w 773748"/>
                    <a:gd name="connsiteY112" fmla="*/ 945984 h 1253758"/>
                    <a:gd name="connsiteX113" fmla="*/ 71668 w 773748"/>
                    <a:gd name="connsiteY113" fmla="*/ 948533 h 1253758"/>
                    <a:gd name="connsiteX114" fmla="*/ 72821 w 773748"/>
                    <a:gd name="connsiteY114" fmla="*/ 948667 h 1253758"/>
                    <a:gd name="connsiteX115" fmla="*/ 75833 w 773748"/>
                    <a:gd name="connsiteY115" fmla="*/ 947744 h 1253758"/>
                    <a:gd name="connsiteX116" fmla="*/ 83118 w 773748"/>
                    <a:gd name="connsiteY116" fmla="*/ 947841 h 1253758"/>
                    <a:gd name="connsiteX117" fmla="*/ 85863 w 773748"/>
                    <a:gd name="connsiteY117" fmla="*/ 950756 h 1253758"/>
                    <a:gd name="connsiteX118" fmla="*/ 89991 w 773748"/>
                    <a:gd name="connsiteY118" fmla="*/ 957422 h 1253758"/>
                    <a:gd name="connsiteX119" fmla="*/ 93088 w 773748"/>
                    <a:gd name="connsiteY119" fmla="*/ 954532 h 1253758"/>
                    <a:gd name="connsiteX120" fmla="*/ 95091 w 773748"/>
                    <a:gd name="connsiteY120" fmla="*/ 952929 h 1253758"/>
                    <a:gd name="connsiteX121" fmla="*/ 99803 w 773748"/>
                    <a:gd name="connsiteY121" fmla="*/ 950136 h 1253758"/>
                    <a:gd name="connsiteX122" fmla="*/ 106833 w 773748"/>
                    <a:gd name="connsiteY122" fmla="*/ 947368 h 1253758"/>
                    <a:gd name="connsiteX123" fmla="*/ 107161 w 773748"/>
                    <a:gd name="connsiteY123" fmla="*/ 947016 h 1253758"/>
                    <a:gd name="connsiteX124" fmla="*/ 107186 w 773748"/>
                    <a:gd name="connsiteY124" fmla="*/ 946724 h 1253758"/>
                    <a:gd name="connsiteX125" fmla="*/ 105898 w 773748"/>
                    <a:gd name="connsiteY125" fmla="*/ 944065 h 1253758"/>
                    <a:gd name="connsiteX126" fmla="*/ 102863 w 773748"/>
                    <a:gd name="connsiteY126" fmla="*/ 940070 h 1253758"/>
                    <a:gd name="connsiteX127" fmla="*/ 101576 w 773748"/>
                    <a:gd name="connsiteY127" fmla="*/ 936682 h 1253758"/>
                    <a:gd name="connsiteX128" fmla="*/ 102802 w 773748"/>
                    <a:gd name="connsiteY128" fmla="*/ 932942 h 1253758"/>
                    <a:gd name="connsiteX129" fmla="*/ 105194 w 773748"/>
                    <a:gd name="connsiteY129" fmla="*/ 931376 h 1253758"/>
                    <a:gd name="connsiteX130" fmla="*/ 108291 w 773748"/>
                    <a:gd name="connsiteY130" fmla="*/ 930428 h 1253758"/>
                    <a:gd name="connsiteX131" fmla="*/ 114083 w 773748"/>
                    <a:gd name="connsiteY131" fmla="*/ 929724 h 1253758"/>
                    <a:gd name="connsiteX132" fmla="*/ 116354 w 773748"/>
                    <a:gd name="connsiteY132" fmla="*/ 928923 h 1253758"/>
                    <a:gd name="connsiteX133" fmla="*/ 117641 w 773748"/>
                    <a:gd name="connsiteY133" fmla="*/ 927721 h 1253758"/>
                    <a:gd name="connsiteX134" fmla="*/ 118491 w 773748"/>
                    <a:gd name="connsiteY134" fmla="*/ 926263 h 1253758"/>
                    <a:gd name="connsiteX135" fmla="*/ 119438 w 773748"/>
                    <a:gd name="connsiteY135" fmla="*/ 924114 h 1253758"/>
                    <a:gd name="connsiteX136" fmla="*/ 119438 w 773748"/>
                    <a:gd name="connsiteY136" fmla="*/ 921940 h 1253758"/>
                    <a:gd name="connsiteX137" fmla="*/ 119074 w 773748"/>
                    <a:gd name="connsiteY137" fmla="*/ 920338 h 1253758"/>
                    <a:gd name="connsiteX138" fmla="*/ 116439 w 773748"/>
                    <a:gd name="connsiteY138" fmla="*/ 916391 h 1253758"/>
                    <a:gd name="connsiteX139" fmla="*/ 112565 w 773748"/>
                    <a:gd name="connsiteY139" fmla="*/ 913197 h 1253758"/>
                    <a:gd name="connsiteX140" fmla="*/ 109262 w 773748"/>
                    <a:gd name="connsiteY140" fmla="*/ 909785 h 1253758"/>
                    <a:gd name="connsiteX141" fmla="*/ 108582 w 773748"/>
                    <a:gd name="connsiteY141" fmla="*/ 909542 h 1253758"/>
                    <a:gd name="connsiteX142" fmla="*/ 107926 w 773748"/>
                    <a:gd name="connsiteY142" fmla="*/ 909603 h 1253758"/>
                    <a:gd name="connsiteX143" fmla="*/ 106894 w 773748"/>
                    <a:gd name="connsiteY143" fmla="*/ 909591 h 1253758"/>
                    <a:gd name="connsiteX144" fmla="*/ 104611 w 773748"/>
                    <a:gd name="connsiteY144" fmla="*/ 908996 h 1253758"/>
                    <a:gd name="connsiteX145" fmla="*/ 98018 w 773748"/>
                    <a:gd name="connsiteY145" fmla="*/ 904260 h 1253758"/>
                    <a:gd name="connsiteX146" fmla="*/ 95686 w 773748"/>
                    <a:gd name="connsiteY146" fmla="*/ 903240 h 1253758"/>
                    <a:gd name="connsiteX147" fmla="*/ 87162 w 773748"/>
                    <a:gd name="connsiteY147" fmla="*/ 900994 h 1253758"/>
                    <a:gd name="connsiteX148" fmla="*/ 84527 w 773748"/>
                    <a:gd name="connsiteY148" fmla="*/ 899840 h 1253758"/>
                    <a:gd name="connsiteX149" fmla="*/ 81722 w 773748"/>
                    <a:gd name="connsiteY149" fmla="*/ 897157 h 1253758"/>
                    <a:gd name="connsiteX150" fmla="*/ 79949 w 773748"/>
                    <a:gd name="connsiteY150" fmla="*/ 893490 h 1253758"/>
                    <a:gd name="connsiteX151" fmla="*/ 77958 w 773748"/>
                    <a:gd name="connsiteY151" fmla="*/ 882196 h 1253758"/>
                    <a:gd name="connsiteX152" fmla="*/ 76877 w 773748"/>
                    <a:gd name="connsiteY152" fmla="*/ 880885 h 1253758"/>
                    <a:gd name="connsiteX153" fmla="*/ 75881 w 773748"/>
                    <a:gd name="connsiteY153" fmla="*/ 880217 h 1253758"/>
                    <a:gd name="connsiteX154" fmla="*/ 74570 w 773748"/>
                    <a:gd name="connsiteY154" fmla="*/ 879465 h 1253758"/>
                    <a:gd name="connsiteX155" fmla="*/ 72991 w 773748"/>
                    <a:gd name="connsiteY155" fmla="*/ 878991 h 1253758"/>
                    <a:gd name="connsiteX156" fmla="*/ 66082 w 773748"/>
                    <a:gd name="connsiteY156" fmla="*/ 877425 h 1253758"/>
                    <a:gd name="connsiteX157" fmla="*/ 63180 w 773748"/>
                    <a:gd name="connsiteY157" fmla="*/ 876259 h 1253758"/>
                    <a:gd name="connsiteX158" fmla="*/ 60083 w 773748"/>
                    <a:gd name="connsiteY158" fmla="*/ 873879 h 1253758"/>
                    <a:gd name="connsiteX159" fmla="*/ 57910 w 773748"/>
                    <a:gd name="connsiteY159" fmla="*/ 871280 h 1253758"/>
                    <a:gd name="connsiteX160" fmla="*/ 56149 w 773748"/>
                    <a:gd name="connsiteY160" fmla="*/ 867625 h 1253758"/>
                    <a:gd name="connsiteX161" fmla="*/ 54182 w 773748"/>
                    <a:gd name="connsiteY161" fmla="*/ 859842 h 1253758"/>
                    <a:gd name="connsiteX162" fmla="*/ 53562 w 773748"/>
                    <a:gd name="connsiteY162" fmla="*/ 858348 h 1253758"/>
                    <a:gd name="connsiteX163" fmla="*/ 53234 w 773748"/>
                    <a:gd name="connsiteY163" fmla="*/ 857959 h 1253758"/>
                    <a:gd name="connsiteX164" fmla="*/ 51996 w 773748"/>
                    <a:gd name="connsiteY164" fmla="*/ 857340 h 1253758"/>
                    <a:gd name="connsiteX165" fmla="*/ 51194 w 773748"/>
                    <a:gd name="connsiteY165" fmla="*/ 857474 h 1253758"/>
                    <a:gd name="connsiteX166" fmla="*/ 50235 w 773748"/>
                    <a:gd name="connsiteY166" fmla="*/ 857741 h 1253758"/>
                    <a:gd name="connsiteX167" fmla="*/ 49482 w 773748"/>
                    <a:gd name="connsiteY167" fmla="*/ 858239 h 1253758"/>
                    <a:gd name="connsiteX168" fmla="*/ 48887 w 773748"/>
                    <a:gd name="connsiteY168" fmla="*/ 858846 h 1253758"/>
                    <a:gd name="connsiteX169" fmla="*/ 48620 w 773748"/>
                    <a:gd name="connsiteY169" fmla="*/ 859465 h 1253758"/>
                    <a:gd name="connsiteX170" fmla="*/ 48584 w 773748"/>
                    <a:gd name="connsiteY170" fmla="*/ 859926 h 1253758"/>
                    <a:gd name="connsiteX171" fmla="*/ 45633 w 773748"/>
                    <a:gd name="connsiteY171" fmla="*/ 860849 h 1253758"/>
                    <a:gd name="connsiteX172" fmla="*/ 48778 w 773748"/>
                    <a:gd name="connsiteY172" fmla="*/ 861468 h 1253758"/>
                    <a:gd name="connsiteX173" fmla="*/ 48851 w 773748"/>
                    <a:gd name="connsiteY173" fmla="*/ 862112 h 1253758"/>
                    <a:gd name="connsiteX174" fmla="*/ 48730 w 773748"/>
                    <a:gd name="connsiteY174" fmla="*/ 863533 h 1253758"/>
                    <a:gd name="connsiteX175" fmla="*/ 48523 w 773748"/>
                    <a:gd name="connsiteY175" fmla="*/ 864225 h 1253758"/>
                    <a:gd name="connsiteX176" fmla="*/ 47843 w 773748"/>
                    <a:gd name="connsiteY176" fmla="*/ 865330 h 1253758"/>
                    <a:gd name="connsiteX177" fmla="*/ 47297 w 773748"/>
                    <a:gd name="connsiteY177" fmla="*/ 865925 h 1253758"/>
                    <a:gd name="connsiteX178" fmla="*/ 45961 w 773748"/>
                    <a:gd name="connsiteY178" fmla="*/ 866775 h 1253758"/>
                    <a:gd name="connsiteX179" fmla="*/ 44103 w 773748"/>
                    <a:gd name="connsiteY179" fmla="*/ 867225 h 1253758"/>
                    <a:gd name="connsiteX180" fmla="*/ 42391 w 773748"/>
                    <a:gd name="connsiteY180" fmla="*/ 867273 h 1253758"/>
                    <a:gd name="connsiteX181" fmla="*/ 39914 w 773748"/>
                    <a:gd name="connsiteY181" fmla="*/ 867018 h 1253758"/>
                    <a:gd name="connsiteX182" fmla="*/ 34510 w 773748"/>
                    <a:gd name="connsiteY182" fmla="*/ 865779 h 1253758"/>
                    <a:gd name="connsiteX183" fmla="*/ 31790 w 773748"/>
                    <a:gd name="connsiteY183" fmla="*/ 864723 h 1253758"/>
                    <a:gd name="connsiteX184" fmla="*/ 28754 w 773748"/>
                    <a:gd name="connsiteY184" fmla="*/ 862683 h 1253758"/>
                    <a:gd name="connsiteX185" fmla="*/ 27795 w 773748"/>
                    <a:gd name="connsiteY185" fmla="*/ 859173 h 1253758"/>
                    <a:gd name="connsiteX186" fmla="*/ 28633 w 773748"/>
                    <a:gd name="connsiteY186" fmla="*/ 856198 h 1253758"/>
                    <a:gd name="connsiteX187" fmla="*/ 30539 w 773748"/>
                    <a:gd name="connsiteY187" fmla="*/ 854329 h 1253758"/>
                    <a:gd name="connsiteX188" fmla="*/ 33247 w 773748"/>
                    <a:gd name="connsiteY188" fmla="*/ 852835 h 1253758"/>
                    <a:gd name="connsiteX189" fmla="*/ 37169 w 773748"/>
                    <a:gd name="connsiteY189" fmla="*/ 851511 h 1253758"/>
                    <a:gd name="connsiteX190" fmla="*/ 39744 w 773748"/>
                    <a:gd name="connsiteY190" fmla="*/ 850200 h 1253758"/>
                    <a:gd name="connsiteX191" fmla="*/ 40934 w 773748"/>
                    <a:gd name="connsiteY191" fmla="*/ 849289 h 1253758"/>
                    <a:gd name="connsiteX192" fmla="*/ 42136 w 773748"/>
                    <a:gd name="connsiteY192" fmla="*/ 847261 h 1253758"/>
                    <a:gd name="connsiteX193" fmla="*/ 42330 w 773748"/>
                    <a:gd name="connsiteY193" fmla="*/ 846594 h 1253758"/>
                    <a:gd name="connsiteX194" fmla="*/ 42294 w 773748"/>
                    <a:gd name="connsiteY194" fmla="*/ 846205 h 1253758"/>
                    <a:gd name="connsiteX195" fmla="*/ 41893 w 773748"/>
                    <a:gd name="connsiteY195" fmla="*/ 846047 h 1253758"/>
                    <a:gd name="connsiteX196" fmla="*/ 37109 w 773748"/>
                    <a:gd name="connsiteY196" fmla="*/ 845331 h 1253758"/>
                    <a:gd name="connsiteX197" fmla="*/ 34923 w 773748"/>
                    <a:gd name="connsiteY197" fmla="*/ 844638 h 1253758"/>
                    <a:gd name="connsiteX198" fmla="*/ 33636 w 773748"/>
                    <a:gd name="connsiteY198" fmla="*/ 843825 h 1253758"/>
                    <a:gd name="connsiteX199" fmla="*/ 31620 w 773748"/>
                    <a:gd name="connsiteY199" fmla="*/ 841688 h 1253758"/>
                    <a:gd name="connsiteX200" fmla="*/ 31232 w 773748"/>
                    <a:gd name="connsiteY200" fmla="*/ 840838 h 1253758"/>
                    <a:gd name="connsiteX201" fmla="*/ 30989 w 773748"/>
                    <a:gd name="connsiteY201" fmla="*/ 839028 h 1253758"/>
                    <a:gd name="connsiteX202" fmla="*/ 31280 w 773748"/>
                    <a:gd name="connsiteY202" fmla="*/ 837340 h 1253758"/>
                    <a:gd name="connsiteX203" fmla="*/ 32361 w 773748"/>
                    <a:gd name="connsiteY203" fmla="*/ 834645 h 1253758"/>
                    <a:gd name="connsiteX204" fmla="*/ 35129 w 773748"/>
                    <a:gd name="connsiteY204" fmla="*/ 830371 h 1253758"/>
                    <a:gd name="connsiteX205" fmla="*/ 37352 w 773748"/>
                    <a:gd name="connsiteY205" fmla="*/ 828051 h 1253758"/>
                    <a:gd name="connsiteX206" fmla="*/ 40533 w 773748"/>
                    <a:gd name="connsiteY206" fmla="*/ 826885 h 1253758"/>
                    <a:gd name="connsiteX207" fmla="*/ 42901 w 773748"/>
                    <a:gd name="connsiteY207" fmla="*/ 827772 h 1253758"/>
                    <a:gd name="connsiteX208" fmla="*/ 49082 w 773748"/>
                    <a:gd name="connsiteY208" fmla="*/ 830893 h 1253758"/>
                    <a:gd name="connsiteX209" fmla="*/ 50782 w 773748"/>
                    <a:gd name="connsiteY209" fmla="*/ 831451 h 1253758"/>
                    <a:gd name="connsiteX210" fmla="*/ 51632 w 773748"/>
                    <a:gd name="connsiteY210" fmla="*/ 831536 h 1253758"/>
                    <a:gd name="connsiteX211" fmla="*/ 51790 w 773748"/>
                    <a:gd name="connsiteY211" fmla="*/ 831148 h 1253758"/>
                    <a:gd name="connsiteX212" fmla="*/ 52324 w 773748"/>
                    <a:gd name="connsiteY212" fmla="*/ 828707 h 1253758"/>
                    <a:gd name="connsiteX213" fmla="*/ 53429 w 773748"/>
                    <a:gd name="connsiteY213" fmla="*/ 818483 h 1253758"/>
                    <a:gd name="connsiteX214" fmla="*/ 54813 w 773748"/>
                    <a:gd name="connsiteY214" fmla="*/ 813006 h 1253758"/>
                    <a:gd name="connsiteX215" fmla="*/ 55372 w 773748"/>
                    <a:gd name="connsiteY215" fmla="*/ 811452 h 1253758"/>
                    <a:gd name="connsiteX216" fmla="*/ 55712 w 773748"/>
                    <a:gd name="connsiteY216" fmla="*/ 808841 h 1253758"/>
                    <a:gd name="connsiteX217" fmla="*/ 54983 w 773748"/>
                    <a:gd name="connsiteY217" fmla="*/ 804810 h 1253758"/>
                    <a:gd name="connsiteX218" fmla="*/ 51328 w 773748"/>
                    <a:gd name="connsiteY218" fmla="*/ 794561 h 1253758"/>
                    <a:gd name="connsiteX219" fmla="*/ 50927 w 773748"/>
                    <a:gd name="connsiteY219" fmla="*/ 794391 h 1253758"/>
                    <a:gd name="connsiteX220" fmla="*/ 49920 w 773748"/>
                    <a:gd name="connsiteY220" fmla="*/ 794100 h 1253758"/>
                    <a:gd name="connsiteX221" fmla="*/ 48754 w 773748"/>
                    <a:gd name="connsiteY221" fmla="*/ 793893 h 1253758"/>
                    <a:gd name="connsiteX222" fmla="*/ 34049 w 773748"/>
                    <a:gd name="connsiteY222" fmla="*/ 793116 h 1253758"/>
                    <a:gd name="connsiteX223" fmla="*/ 30649 w 773748"/>
                    <a:gd name="connsiteY223" fmla="*/ 792084 h 1253758"/>
                    <a:gd name="connsiteX224" fmla="*/ 28876 w 773748"/>
                    <a:gd name="connsiteY224" fmla="*/ 789182 h 1253758"/>
                    <a:gd name="connsiteX225" fmla="*/ 28876 w 773748"/>
                    <a:gd name="connsiteY225" fmla="*/ 786364 h 1253758"/>
                    <a:gd name="connsiteX226" fmla="*/ 30855 w 773748"/>
                    <a:gd name="connsiteY226" fmla="*/ 779261 h 1253758"/>
                    <a:gd name="connsiteX227" fmla="*/ 30770 w 773748"/>
                    <a:gd name="connsiteY227" fmla="*/ 777282 h 1253758"/>
                    <a:gd name="connsiteX228" fmla="*/ 30624 w 773748"/>
                    <a:gd name="connsiteY228" fmla="*/ 775448 h 1253758"/>
                    <a:gd name="connsiteX229" fmla="*/ 30831 w 773748"/>
                    <a:gd name="connsiteY229" fmla="*/ 772084 h 1253758"/>
                    <a:gd name="connsiteX230" fmla="*/ 32810 w 773748"/>
                    <a:gd name="connsiteY230" fmla="*/ 768345 h 1253758"/>
                    <a:gd name="connsiteX231" fmla="*/ 35251 w 773748"/>
                    <a:gd name="connsiteY231" fmla="*/ 766669 h 1253758"/>
                    <a:gd name="connsiteX232" fmla="*/ 38384 w 773748"/>
                    <a:gd name="connsiteY232" fmla="*/ 765515 h 1253758"/>
                    <a:gd name="connsiteX233" fmla="*/ 49689 w 773748"/>
                    <a:gd name="connsiteY233" fmla="*/ 764289 h 1253758"/>
                    <a:gd name="connsiteX234" fmla="*/ 51413 w 773748"/>
                    <a:gd name="connsiteY234" fmla="*/ 763937 h 1253758"/>
                    <a:gd name="connsiteX235" fmla="*/ 53405 w 773748"/>
                    <a:gd name="connsiteY235" fmla="*/ 763184 h 1253758"/>
                    <a:gd name="connsiteX236" fmla="*/ 55214 w 773748"/>
                    <a:gd name="connsiteY236" fmla="*/ 761884 h 1253758"/>
                    <a:gd name="connsiteX237" fmla="*/ 59974 w 773748"/>
                    <a:gd name="connsiteY237" fmla="*/ 757294 h 1253758"/>
                    <a:gd name="connsiteX238" fmla="*/ 62233 w 773748"/>
                    <a:gd name="connsiteY238" fmla="*/ 755533 h 1253758"/>
                    <a:gd name="connsiteX239" fmla="*/ 64479 w 773748"/>
                    <a:gd name="connsiteY239" fmla="*/ 754295 h 1253758"/>
                    <a:gd name="connsiteX240" fmla="*/ 68693 w 773748"/>
                    <a:gd name="connsiteY240" fmla="*/ 752753 h 1253758"/>
                    <a:gd name="connsiteX241" fmla="*/ 68668 w 773748"/>
                    <a:gd name="connsiteY241" fmla="*/ 751806 h 1253758"/>
                    <a:gd name="connsiteX242" fmla="*/ 67770 w 773748"/>
                    <a:gd name="connsiteY242" fmla="*/ 748855 h 1253758"/>
                    <a:gd name="connsiteX243" fmla="*/ 67078 w 773748"/>
                    <a:gd name="connsiteY243" fmla="*/ 747276 h 1253758"/>
                    <a:gd name="connsiteX244" fmla="*/ 66252 w 773748"/>
                    <a:gd name="connsiteY244" fmla="*/ 744144 h 1253758"/>
                    <a:gd name="connsiteX245" fmla="*/ 65924 w 773748"/>
                    <a:gd name="connsiteY245" fmla="*/ 740501 h 1253758"/>
                    <a:gd name="connsiteX246" fmla="*/ 66446 w 773748"/>
                    <a:gd name="connsiteY246" fmla="*/ 727811 h 1253758"/>
                    <a:gd name="connsiteX247" fmla="*/ 67065 w 773748"/>
                    <a:gd name="connsiteY247" fmla="*/ 725310 h 1253758"/>
                    <a:gd name="connsiteX248" fmla="*/ 68413 w 773748"/>
                    <a:gd name="connsiteY248" fmla="*/ 721825 h 1253758"/>
                    <a:gd name="connsiteX249" fmla="*/ 69931 w 773748"/>
                    <a:gd name="connsiteY249" fmla="*/ 719275 h 1253758"/>
                    <a:gd name="connsiteX250" fmla="*/ 70065 w 773748"/>
                    <a:gd name="connsiteY250" fmla="*/ 718862 h 1253758"/>
                    <a:gd name="connsiteX251" fmla="*/ 69470 w 773748"/>
                    <a:gd name="connsiteY251" fmla="*/ 717684 h 1253758"/>
                    <a:gd name="connsiteX252" fmla="*/ 68705 w 773748"/>
                    <a:gd name="connsiteY252" fmla="*/ 716713 h 1253758"/>
                    <a:gd name="connsiteX253" fmla="*/ 68182 w 773748"/>
                    <a:gd name="connsiteY253" fmla="*/ 715535 h 1253758"/>
                    <a:gd name="connsiteX254" fmla="*/ 67697 w 773748"/>
                    <a:gd name="connsiteY254" fmla="*/ 713349 h 1253758"/>
                    <a:gd name="connsiteX255" fmla="*/ 68000 w 773748"/>
                    <a:gd name="connsiteY255" fmla="*/ 703914 h 1253758"/>
                    <a:gd name="connsiteX256" fmla="*/ 68146 w 773748"/>
                    <a:gd name="connsiteY256" fmla="*/ 702967 h 1253758"/>
                    <a:gd name="connsiteX257" fmla="*/ 67770 w 773748"/>
                    <a:gd name="connsiteY257" fmla="*/ 702687 h 1253758"/>
                    <a:gd name="connsiteX258" fmla="*/ 65718 w 773748"/>
                    <a:gd name="connsiteY258" fmla="*/ 701753 h 1253758"/>
                    <a:gd name="connsiteX259" fmla="*/ 63289 w 773748"/>
                    <a:gd name="connsiteY259" fmla="*/ 701085 h 1253758"/>
                    <a:gd name="connsiteX260" fmla="*/ 61795 w 773748"/>
                    <a:gd name="connsiteY260" fmla="*/ 701279 h 1253758"/>
                    <a:gd name="connsiteX261" fmla="*/ 61297 w 773748"/>
                    <a:gd name="connsiteY261" fmla="*/ 701558 h 1253758"/>
                    <a:gd name="connsiteX262" fmla="*/ 58687 w 773748"/>
                    <a:gd name="connsiteY262" fmla="*/ 703610 h 1253758"/>
                    <a:gd name="connsiteX263" fmla="*/ 55578 w 773748"/>
                    <a:gd name="connsiteY263" fmla="*/ 705395 h 1253758"/>
                    <a:gd name="connsiteX264" fmla="*/ 53562 w 773748"/>
                    <a:gd name="connsiteY264" fmla="*/ 706209 h 1253758"/>
                    <a:gd name="connsiteX265" fmla="*/ 51219 w 773748"/>
                    <a:gd name="connsiteY265" fmla="*/ 706610 h 1253758"/>
                    <a:gd name="connsiteX266" fmla="*/ 48256 w 773748"/>
                    <a:gd name="connsiteY266" fmla="*/ 706258 h 1253758"/>
                    <a:gd name="connsiteX267" fmla="*/ 46860 w 773748"/>
                    <a:gd name="connsiteY267" fmla="*/ 705565 h 1253758"/>
                    <a:gd name="connsiteX268" fmla="*/ 46350 w 773748"/>
                    <a:gd name="connsiteY268" fmla="*/ 705104 h 1253758"/>
                    <a:gd name="connsiteX269" fmla="*/ 44662 w 773748"/>
                    <a:gd name="connsiteY269" fmla="*/ 703319 h 1253758"/>
                    <a:gd name="connsiteX270" fmla="*/ 44455 w 773748"/>
                    <a:gd name="connsiteY270" fmla="*/ 702821 h 1253758"/>
                    <a:gd name="connsiteX271" fmla="*/ 44042 w 773748"/>
                    <a:gd name="connsiteY271" fmla="*/ 701303 h 1253758"/>
                    <a:gd name="connsiteX272" fmla="*/ 43982 w 773748"/>
                    <a:gd name="connsiteY272" fmla="*/ 699628 h 1253758"/>
                    <a:gd name="connsiteX273" fmla="*/ 44322 w 773748"/>
                    <a:gd name="connsiteY273" fmla="*/ 697223 h 1253758"/>
                    <a:gd name="connsiteX274" fmla="*/ 45791 w 773748"/>
                    <a:gd name="connsiteY274" fmla="*/ 693665 h 1253758"/>
                    <a:gd name="connsiteX275" fmla="*/ 47260 w 773748"/>
                    <a:gd name="connsiteY275" fmla="*/ 691528 h 1253758"/>
                    <a:gd name="connsiteX276" fmla="*/ 49167 w 773748"/>
                    <a:gd name="connsiteY276" fmla="*/ 689707 h 1253758"/>
                    <a:gd name="connsiteX277" fmla="*/ 57788 w 773748"/>
                    <a:gd name="connsiteY277" fmla="*/ 685517 h 1253758"/>
                    <a:gd name="connsiteX278" fmla="*/ 57910 w 773748"/>
                    <a:gd name="connsiteY278" fmla="*/ 685408 h 1253758"/>
                    <a:gd name="connsiteX279" fmla="*/ 58565 w 773748"/>
                    <a:gd name="connsiteY279" fmla="*/ 684024 h 1253758"/>
                    <a:gd name="connsiteX280" fmla="*/ 58711 w 773748"/>
                    <a:gd name="connsiteY280" fmla="*/ 681923 h 1253758"/>
                    <a:gd name="connsiteX281" fmla="*/ 55700 w 773748"/>
                    <a:gd name="connsiteY281" fmla="*/ 666574 h 1253758"/>
                    <a:gd name="connsiteX282" fmla="*/ 55590 w 773748"/>
                    <a:gd name="connsiteY282" fmla="*/ 647024 h 1253758"/>
                    <a:gd name="connsiteX283" fmla="*/ 55469 w 773748"/>
                    <a:gd name="connsiteY283" fmla="*/ 642993 h 1253758"/>
                    <a:gd name="connsiteX284" fmla="*/ 55262 w 773748"/>
                    <a:gd name="connsiteY284" fmla="*/ 641572 h 1253758"/>
                    <a:gd name="connsiteX285" fmla="*/ 54837 w 773748"/>
                    <a:gd name="connsiteY285" fmla="*/ 639508 h 1253758"/>
                    <a:gd name="connsiteX286" fmla="*/ 54303 w 773748"/>
                    <a:gd name="connsiteY286" fmla="*/ 638828 h 1253758"/>
                    <a:gd name="connsiteX287" fmla="*/ 53514 w 773748"/>
                    <a:gd name="connsiteY287" fmla="*/ 638099 h 1253758"/>
                    <a:gd name="connsiteX288" fmla="*/ 53016 w 773748"/>
                    <a:gd name="connsiteY288" fmla="*/ 638075 h 1253758"/>
                    <a:gd name="connsiteX289" fmla="*/ 52943 w 773748"/>
                    <a:gd name="connsiteY289" fmla="*/ 638293 h 1253758"/>
                    <a:gd name="connsiteX290" fmla="*/ 52239 w 773748"/>
                    <a:gd name="connsiteY290" fmla="*/ 638609 h 1253758"/>
                    <a:gd name="connsiteX291" fmla="*/ 49397 w 773748"/>
                    <a:gd name="connsiteY291" fmla="*/ 639593 h 1253758"/>
                    <a:gd name="connsiteX292" fmla="*/ 48195 w 773748"/>
                    <a:gd name="connsiteY292" fmla="*/ 639811 h 1253758"/>
                    <a:gd name="connsiteX293" fmla="*/ 46313 w 773748"/>
                    <a:gd name="connsiteY293" fmla="*/ 639823 h 1253758"/>
                    <a:gd name="connsiteX294" fmla="*/ 43957 w 773748"/>
                    <a:gd name="connsiteY294" fmla="*/ 639435 h 1253758"/>
                    <a:gd name="connsiteX295" fmla="*/ 41407 w 773748"/>
                    <a:gd name="connsiteY295" fmla="*/ 638330 h 1253758"/>
                    <a:gd name="connsiteX296" fmla="*/ 39343 w 773748"/>
                    <a:gd name="connsiteY296" fmla="*/ 636861 h 1253758"/>
                    <a:gd name="connsiteX297" fmla="*/ 37412 w 773748"/>
                    <a:gd name="connsiteY297" fmla="*/ 634711 h 1253758"/>
                    <a:gd name="connsiteX298" fmla="*/ 36113 w 773748"/>
                    <a:gd name="connsiteY298" fmla="*/ 632793 h 1253758"/>
                    <a:gd name="connsiteX299" fmla="*/ 34182 w 773748"/>
                    <a:gd name="connsiteY299" fmla="*/ 628470 h 1253758"/>
                    <a:gd name="connsiteX300" fmla="*/ 32944 w 773748"/>
                    <a:gd name="connsiteY300" fmla="*/ 624074 h 1253758"/>
                    <a:gd name="connsiteX301" fmla="*/ 32725 w 773748"/>
                    <a:gd name="connsiteY301" fmla="*/ 620541 h 1253758"/>
                    <a:gd name="connsiteX302" fmla="*/ 33053 w 773748"/>
                    <a:gd name="connsiteY302" fmla="*/ 617869 h 1253758"/>
                    <a:gd name="connsiteX303" fmla="*/ 35202 w 773748"/>
                    <a:gd name="connsiteY303" fmla="*/ 610255 h 1253758"/>
                    <a:gd name="connsiteX304" fmla="*/ 36890 w 773748"/>
                    <a:gd name="connsiteY304" fmla="*/ 598100 h 1253758"/>
                    <a:gd name="connsiteX305" fmla="*/ 37461 w 773748"/>
                    <a:gd name="connsiteY305" fmla="*/ 595745 h 1253758"/>
                    <a:gd name="connsiteX306" fmla="*/ 38760 w 773748"/>
                    <a:gd name="connsiteY306" fmla="*/ 592843 h 1253758"/>
                    <a:gd name="connsiteX307" fmla="*/ 40485 w 773748"/>
                    <a:gd name="connsiteY307" fmla="*/ 590475 h 1253758"/>
                    <a:gd name="connsiteX308" fmla="*/ 43071 w 773748"/>
                    <a:gd name="connsiteY308" fmla="*/ 588022 h 1253758"/>
                    <a:gd name="connsiteX309" fmla="*/ 55493 w 773748"/>
                    <a:gd name="connsiteY309" fmla="*/ 580056 h 1253758"/>
                    <a:gd name="connsiteX310" fmla="*/ 70271 w 773748"/>
                    <a:gd name="connsiteY310" fmla="*/ 572831 h 1253758"/>
                    <a:gd name="connsiteX311" fmla="*/ 71850 w 773748"/>
                    <a:gd name="connsiteY311" fmla="*/ 571422 h 1253758"/>
                    <a:gd name="connsiteX312" fmla="*/ 77096 w 773748"/>
                    <a:gd name="connsiteY312" fmla="*/ 566177 h 1253758"/>
                    <a:gd name="connsiteX313" fmla="*/ 78443 w 773748"/>
                    <a:gd name="connsiteY313" fmla="*/ 563238 h 1253758"/>
                    <a:gd name="connsiteX314" fmla="*/ 78541 w 773748"/>
                    <a:gd name="connsiteY314" fmla="*/ 554240 h 1253758"/>
                    <a:gd name="connsiteX315" fmla="*/ 82317 w 773748"/>
                    <a:gd name="connsiteY315" fmla="*/ 543870 h 1253758"/>
                    <a:gd name="connsiteX316" fmla="*/ 83677 w 773748"/>
                    <a:gd name="connsiteY316" fmla="*/ 537289 h 1253758"/>
                    <a:gd name="connsiteX317" fmla="*/ 86676 w 773748"/>
                    <a:gd name="connsiteY317" fmla="*/ 529238 h 1253758"/>
                    <a:gd name="connsiteX318" fmla="*/ 87065 w 773748"/>
                    <a:gd name="connsiteY318" fmla="*/ 525097 h 1253758"/>
                    <a:gd name="connsiteX319" fmla="*/ 85802 w 773748"/>
                    <a:gd name="connsiteY319" fmla="*/ 508473 h 1253758"/>
                    <a:gd name="connsiteX320" fmla="*/ 86409 w 773748"/>
                    <a:gd name="connsiteY320" fmla="*/ 504381 h 1253758"/>
                    <a:gd name="connsiteX321" fmla="*/ 87150 w 773748"/>
                    <a:gd name="connsiteY321" fmla="*/ 501527 h 1253758"/>
                    <a:gd name="connsiteX322" fmla="*/ 88206 w 773748"/>
                    <a:gd name="connsiteY322" fmla="*/ 482779 h 1253758"/>
                    <a:gd name="connsiteX323" fmla="*/ 90319 w 773748"/>
                    <a:gd name="connsiteY323" fmla="*/ 476076 h 1253758"/>
                    <a:gd name="connsiteX324" fmla="*/ 94132 w 773748"/>
                    <a:gd name="connsiteY324" fmla="*/ 471814 h 1253758"/>
                    <a:gd name="connsiteX325" fmla="*/ 100726 w 773748"/>
                    <a:gd name="connsiteY325" fmla="*/ 470854 h 1253758"/>
                    <a:gd name="connsiteX326" fmla="*/ 103373 w 773748"/>
                    <a:gd name="connsiteY326" fmla="*/ 468778 h 1253758"/>
                    <a:gd name="connsiteX327" fmla="*/ 105692 w 773748"/>
                    <a:gd name="connsiteY327" fmla="*/ 464091 h 1253758"/>
                    <a:gd name="connsiteX328" fmla="*/ 108303 w 773748"/>
                    <a:gd name="connsiteY328" fmla="*/ 456623 h 1253758"/>
                    <a:gd name="connsiteX329" fmla="*/ 107441 w 773748"/>
                    <a:gd name="connsiteY329" fmla="*/ 445111 h 1253758"/>
                    <a:gd name="connsiteX330" fmla="*/ 107841 w 773748"/>
                    <a:gd name="connsiteY330" fmla="*/ 436271 h 1253758"/>
                    <a:gd name="connsiteX331" fmla="*/ 109711 w 773748"/>
                    <a:gd name="connsiteY331" fmla="*/ 430212 h 1253758"/>
                    <a:gd name="connsiteX332" fmla="*/ 117507 w 773748"/>
                    <a:gd name="connsiteY332" fmla="*/ 414159 h 1253758"/>
                    <a:gd name="connsiteX333" fmla="*/ 121114 w 773748"/>
                    <a:gd name="connsiteY333" fmla="*/ 408367 h 1253758"/>
                    <a:gd name="connsiteX334" fmla="*/ 125315 w 773748"/>
                    <a:gd name="connsiteY334" fmla="*/ 404736 h 1253758"/>
                    <a:gd name="connsiteX335" fmla="*/ 129966 w 773748"/>
                    <a:gd name="connsiteY335" fmla="*/ 403947 h 1253758"/>
                    <a:gd name="connsiteX336" fmla="*/ 134483 w 773748"/>
                    <a:gd name="connsiteY336" fmla="*/ 406108 h 1253758"/>
                    <a:gd name="connsiteX337" fmla="*/ 139219 w 773748"/>
                    <a:gd name="connsiteY337" fmla="*/ 413285 h 1253758"/>
                    <a:gd name="connsiteX338" fmla="*/ 139377 w 773748"/>
                    <a:gd name="connsiteY338" fmla="*/ 411281 h 1253758"/>
                    <a:gd name="connsiteX339" fmla="*/ 138660 w 773748"/>
                    <a:gd name="connsiteY339" fmla="*/ 409897 h 1253758"/>
                    <a:gd name="connsiteX340" fmla="*/ 136499 w 773748"/>
                    <a:gd name="connsiteY340" fmla="*/ 406594 h 1253758"/>
                    <a:gd name="connsiteX341" fmla="*/ 136013 w 773748"/>
                    <a:gd name="connsiteY341" fmla="*/ 403146 h 1253758"/>
                    <a:gd name="connsiteX342" fmla="*/ 137640 w 773748"/>
                    <a:gd name="connsiteY342" fmla="*/ 401555 h 1253758"/>
                    <a:gd name="connsiteX343" fmla="*/ 139146 w 773748"/>
                    <a:gd name="connsiteY343" fmla="*/ 400547 h 1253758"/>
                    <a:gd name="connsiteX344" fmla="*/ 142194 w 773748"/>
                    <a:gd name="connsiteY344" fmla="*/ 399612 h 1253758"/>
                    <a:gd name="connsiteX345" fmla="*/ 142849 w 773748"/>
                    <a:gd name="connsiteY345" fmla="*/ 397936 h 1253758"/>
                    <a:gd name="connsiteX346" fmla="*/ 143153 w 773748"/>
                    <a:gd name="connsiteY346" fmla="*/ 388440 h 1253758"/>
                    <a:gd name="connsiteX347" fmla="*/ 144768 w 773748"/>
                    <a:gd name="connsiteY347" fmla="*/ 384118 h 1253758"/>
                    <a:gd name="connsiteX348" fmla="*/ 147707 w 773748"/>
                    <a:gd name="connsiteY348" fmla="*/ 380390 h 1253758"/>
                    <a:gd name="connsiteX349" fmla="*/ 149905 w 773748"/>
                    <a:gd name="connsiteY349" fmla="*/ 378471 h 1253758"/>
                    <a:gd name="connsiteX350" fmla="*/ 157470 w 773748"/>
                    <a:gd name="connsiteY350" fmla="*/ 374015 h 1253758"/>
                    <a:gd name="connsiteX351" fmla="*/ 161501 w 773748"/>
                    <a:gd name="connsiteY351" fmla="*/ 367239 h 1253758"/>
                    <a:gd name="connsiteX352" fmla="*/ 161756 w 773748"/>
                    <a:gd name="connsiteY352" fmla="*/ 364835 h 1253758"/>
                    <a:gd name="connsiteX353" fmla="*/ 162048 w 773748"/>
                    <a:gd name="connsiteY353" fmla="*/ 360099 h 1253758"/>
                    <a:gd name="connsiteX354" fmla="*/ 161428 w 773748"/>
                    <a:gd name="connsiteY354" fmla="*/ 355229 h 1253758"/>
                    <a:gd name="connsiteX355" fmla="*/ 161768 w 773748"/>
                    <a:gd name="connsiteY355" fmla="*/ 347737 h 1253758"/>
                    <a:gd name="connsiteX356" fmla="*/ 163480 w 773748"/>
                    <a:gd name="connsiteY356" fmla="*/ 342479 h 1253758"/>
                    <a:gd name="connsiteX357" fmla="*/ 170305 w 773748"/>
                    <a:gd name="connsiteY357" fmla="*/ 333287 h 1253758"/>
                    <a:gd name="connsiteX358" fmla="*/ 172988 w 773748"/>
                    <a:gd name="connsiteY358" fmla="*/ 330458 h 1253758"/>
                    <a:gd name="connsiteX359" fmla="*/ 176109 w 773748"/>
                    <a:gd name="connsiteY359" fmla="*/ 328734 h 1253758"/>
                    <a:gd name="connsiteX360" fmla="*/ 177068 w 773748"/>
                    <a:gd name="connsiteY360" fmla="*/ 328284 h 1253758"/>
                    <a:gd name="connsiteX361" fmla="*/ 181221 w 773748"/>
                    <a:gd name="connsiteY361" fmla="*/ 329219 h 1253758"/>
                    <a:gd name="connsiteX362" fmla="*/ 182909 w 773748"/>
                    <a:gd name="connsiteY362" fmla="*/ 332328 h 1253758"/>
                    <a:gd name="connsiteX363" fmla="*/ 184026 w 773748"/>
                    <a:gd name="connsiteY363" fmla="*/ 335558 h 1253758"/>
                    <a:gd name="connsiteX364" fmla="*/ 184864 w 773748"/>
                    <a:gd name="connsiteY364" fmla="*/ 335995 h 1253758"/>
                    <a:gd name="connsiteX365" fmla="*/ 185459 w 773748"/>
                    <a:gd name="connsiteY365" fmla="*/ 336092 h 1253758"/>
                    <a:gd name="connsiteX366" fmla="*/ 188980 w 773748"/>
                    <a:gd name="connsiteY366" fmla="*/ 334501 h 1253758"/>
                    <a:gd name="connsiteX367" fmla="*/ 191810 w 773748"/>
                    <a:gd name="connsiteY367" fmla="*/ 331927 h 1253758"/>
                    <a:gd name="connsiteX368" fmla="*/ 195768 w 773748"/>
                    <a:gd name="connsiteY368" fmla="*/ 330397 h 1253758"/>
                    <a:gd name="connsiteX369" fmla="*/ 200613 w 773748"/>
                    <a:gd name="connsiteY369" fmla="*/ 329741 h 1253758"/>
                    <a:gd name="connsiteX370" fmla="*/ 205228 w 773748"/>
                    <a:gd name="connsiteY370" fmla="*/ 325892 h 1253758"/>
                    <a:gd name="connsiteX371" fmla="*/ 209393 w 773748"/>
                    <a:gd name="connsiteY371" fmla="*/ 325589 h 1253758"/>
                    <a:gd name="connsiteX372" fmla="*/ 213448 w 773748"/>
                    <a:gd name="connsiteY372" fmla="*/ 327155 h 1253758"/>
                    <a:gd name="connsiteX373" fmla="*/ 216047 w 773748"/>
                    <a:gd name="connsiteY373" fmla="*/ 329924 h 1253758"/>
                    <a:gd name="connsiteX374" fmla="*/ 220054 w 773748"/>
                    <a:gd name="connsiteY374" fmla="*/ 336979 h 1253758"/>
                    <a:gd name="connsiteX375" fmla="*/ 220698 w 773748"/>
                    <a:gd name="connsiteY375" fmla="*/ 337392 h 1253758"/>
                    <a:gd name="connsiteX376" fmla="*/ 222216 w 773748"/>
                    <a:gd name="connsiteY376" fmla="*/ 337064 h 1253758"/>
                    <a:gd name="connsiteX377" fmla="*/ 224219 w 773748"/>
                    <a:gd name="connsiteY377" fmla="*/ 335594 h 1253758"/>
                    <a:gd name="connsiteX378" fmla="*/ 225761 w 773748"/>
                    <a:gd name="connsiteY378" fmla="*/ 333724 h 1253758"/>
                    <a:gd name="connsiteX379" fmla="*/ 229987 w 773748"/>
                    <a:gd name="connsiteY379" fmla="*/ 331077 h 1253758"/>
                    <a:gd name="connsiteX380" fmla="*/ 232197 w 773748"/>
                    <a:gd name="connsiteY380" fmla="*/ 329438 h 1253758"/>
                    <a:gd name="connsiteX381" fmla="*/ 235731 w 773748"/>
                    <a:gd name="connsiteY381" fmla="*/ 325807 h 1253758"/>
                    <a:gd name="connsiteX382" fmla="*/ 241790 w 773748"/>
                    <a:gd name="connsiteY382" fmla="*/ 321460 h 1253758"/>
                    <a:gd name="connsiteX383" fmla="*/ 246186 w 773748"/>
                    <a:gd name="connsiteY383" fmla="*/ 320659 h 1253758"/>
                    <a:gd name="connsiteX384" fmla="*/ 249076 w 773748"/>
                    <a:gd name="connsiteY384" fmla="*/ 319396 h 1253758"/>
                    <a:gd name="connsiteX385" fmla="*/ 254577 w 773748"/>
                    <a:gd name="connsiteY385" fmla="*/ 318619 h 1253758"/>
                    <a:gd name="connsiteX386" fmla="*/ 257795 w 773748"/>
                    <a:gd name="connsiteY386" fmla="*/ 317319 h 1253758"/>
                    <a:gd name="connsiteX387" fmla="*/ 260077 w 773748"/>
                    <a:gd name="connsiteY387" fmla="*/ 315996 h 1253758"/>
                    <a:gd name="connsiteX388" fmla="*/ 260527 w 773748"/>
                    <a:gd name="connsiteY388" fmla="*/ 315279 h 1253758"/>
                    <a:gd name="connsiteX389" fmla="*/ 260697 w 773748"/>
                    <a:gd name="connsiteY389" fmla="*/ 313179 h 1253758"/>
                    <a:gd name="connsiteX390" fmla="*/ 261741 w 773748"/>
                    <a:gd name="connsiteY390" fmla="*/ 309439 h 1253758"/>
                    <a:gd name="connsiteX391" fmla="*/ 265007 w 773748"/>
                    <a:gd name="connsiteY391" fmla="*/ 304873 h 1253758"/>
                    <a:gd name="connsiteX392" fmla="*/ 277029 w 773748"/>
                    <a:gd name="connsiteY392" fmla="*/ 296361 h 1253758"/>
                    <a:gd name="connsiteX393" fmla="*/ 281352 w 773748"/>
                    <a:gd name="connsiteY393" fmla="*/ 295620 h 1253758"/>
                    <a:gd name="connsiteX394" fmla="*/ 282542 w 773748"/>
                    <a:gd name="connsiteY394" fmla="*/ 294563 h 1253758"/>
                    <a:gd name="connsiteX395" fmla="*/ 282578 w 773748"/>
                    <a:gd name="connsiteY395" fmla="*/ 292281 h 1253758"/>
                    <a:gd name="connsiteX396" fmla="*/ 281595 w 773748"/>
                    <a:gd name="connsiteY396" fmla="*/ 289196 h 1253758"/>
                    <a:gd name="connsiteX397" fmla="*/ 281716 w 773748"/>
                    <a:gd name="connsiteY397" fmla="*/ 284631 h 1253758"/>
                    <a:gd name="connsiteX398" fmla="*/ 283270 w 773748"/>
                    <a:gd name="connsiteY398" fmla="*/ 282190 h 1253758"/>
                    <a:gd name="connsiteX399" fmla="*/ 285966 w 773748"/>
                    <a:gd name="connsiteY399" fmla="*/ 278996 h 1253758"/>
                    <a:gd name="connsiteX400" fmla="*/ 285735 w 773748"/>
                    <a:gd name="connsiteY400" fmla="*/ 272973 h 1253758"/>
                    <a:gd name="connsiteX401" fmla="*/ 284521 w 773748"/>
                    <a:gd name="connsiteY401" fmla="*/ 267096 h 1253758"/>
                    <a:gd name="connsiteX402" fmla="*/ 284946 w 773748"/>
                    <a:gd name="connsiteY402" fmla="*/ 261692 h 1253758"/>
                    <a:gd name="connsiteX403" fmla="*/ 287435 w 773748"/>
                    <a:gd name="connsiteY403" fmla="*/ 256337 h 1253758"/>
                    <a:gd name="connsiteX404" fmla="*/ 291831 w 773748"/>
                    <a:gd name="connsiteY404" fmla="*/ 254140 h 1253758"/>
                    <a:gd name="connsiteX405" fmla="*/ 299554 w 773748"/>
                    <a:gd name="connsiteY405" fmla="*/ 251796 h 1253758"/>
                    <a:gd name="connsiteX406" fmla="*/ 302796 w 773748"/>
                    <a:gd name="connsiteY406" fmla="*/ 250229 h 1253758"/>
                    <a:gd name="connsiteX407" fmla="*/ 309888 w 773748"/>
                    <a:gd name="connsiteY407" fmla="*/ 244437 h 1253758"/>
                    <a:gd name="connsiteX408" fmla="*/ 315401 w 773748"/>
                    <a:gd name="connsiteY408" fmla="*/ 238754 h 1253758"/>
                    <a:gd name="connsiteX409" fmla="*/ 315826 w 773748"/>
                    <a:gd name="connsiteY409" fmla="*/ 236933 h 1253758"/>
                    <a:gd name="connsiteX410" fmla="*/ 313931 w 773748"/>
                    <a:gd name="connsiteY410" fmla="*/ 230558 h 1253758"/>
                    <a:gd name="connsiteX411" fmla="*/ 313992 w 773748"/>
                    <a:gd name="connsiteY411" fmla="*/ 225992 h 1253758"/>
                    <a:gd name="connsiteX412" fmla="*/ 316833 w 773748"/>
                    <a:gd name="connsiteY412" fmla="*/ 219022 h 1253758"/>
                    <a:gd name="connsiteX413" fmla="*/ 321314 w 773748"/>
                    <a:gd name="connsiteY413" fmla="*/ 216059 h 1253758"/>
                    <a:gd name="connsiteX414" fmla="*/ 332316 w 773748"/>
                    <a:gd name="connsiteY414" fmla="*/ 212538 h 1253758"/>
                    <a:gd name="connsiteX415" fmla="*/ 341047 w 773748"/>
                    <a:gd name="connsiteY415" fmla="*/ 207110 h 1253758"/>
                    <a:gd name="connsiteX416" fmla="*/ 345636 w 773748"/>
                    <a:gd name="connsiteY416" fmla="*/ 206066 h 1253758"/>
                    <a:gd name="connsiteX417" fmla="*/ 350506 w 773748"/>
                    <a:gd name="connsiteY417" fmla="*/ 206442 h 1253758"/>
                    <a:gd name="connsiteX418" fmla="*/ 352364 w 773748"/>
                    <a:gd name="connsiteY418" fmla="*/ 206976 h 1253758"/>
                    <a:gd name="connsiteX419" fmla="*/ 353481 w 773748"/>
                    <a:gd name="connsiteY419" fmla="*/ 205398 h 1253758"/>
                    <a:gd name="connsiteX420" fmla="*/ 355873 w 773748"/>
                    <a:gd name="connsiteY420" fmla="*/ 199132 h 1253758"/>
                    <a:gd name="connsiteX421" fmla="*/ 355837 w 773748"/>
                    <a:gd name="connsiteY421" fmla="*/ 195720 h 1253758"/>
                    <a:gd name="connsiteX422" fmla="*/ 357257 w 773748"/>
                    <a:gd name="connsiteY422" fmla="*/ 187463 h 1253758"/>
                    <a:gd name="connsiteX423" fmla="*/ 361847 w 773748"/>
                    <a:gd name="connsiteY423" fmla="*/ 172260 h 1253758"/>
                    <a:gd name="connsiteX424" fmla="*/ 361398 w 773748"/>
                    <a:gd name="connsiteY424" fmla="*/ 169540 h 1253758"/>
                    <a:gd name="connsiteX425" fmla="*/ 359431 w 773748"/>
                    <a:gd name="connsiteY425" fmla="*/ 166759 h 1253758"/>
                    <a:gd name="connsiteX426" fmla="*/ 353080 w 773748"/>
                    <a:gd name="connsiteY426" fmla="*/ 162885 h 1253758"/>
                    <a:gd name="connsiteX427" fmla="*/ 350409 w 773748"/>
                    <a:gd name="connsiteY427" fmla="*/ 159777 h 1253758"/>
                    <a:gd name="connsiteX428" fmla="*/ 349061 w 773748"/>
                    <a:gd name="connsiteY428" fmla="*/ 159206 h 1253758"/>
                    <a:gd name="connsiteX429" fmla="*/ 347191 w 773748"/>
                    <a:gd name="connsiteY429" fmla="*/ 159000 h 1253758"/>
                    <a:gd name="connsiteX430" fmla="*/ 337100 w 773748"/>
                    <a:gd name="connsiteY430" fmla="*/ 160736 h 1253758"/>
                    <a:gd name="connsiteX431" fmla="*/ 333530 w 773748"/>
                    <a:gd name="connsiteY431" fmla="*/ 159157 h 1253758"/>
                    <a:gd name="connsiteX432" fmla="*/ 332243 w 773748"/>
                    <a:gd name="connsiteY432" fmla="*/ 156425 h 1253758"/>
                    <a:gd name="connsiteX433" fmla="*/ 331769 w 773748"/>
                    <a:gd name="connsiteY433" fmla="*/ 154992 h 1253758"/>
                    <a:gd name="connsiteX434" fmla="*/ 329438 w 773748"/>
                    <a:gd name="connsiteY434" fmla="*/ 154992 h 1253758"/>
                    <a:gd name="connsiteX435" fmla="*/ 326111 w 773748"/>
                    <a:gd name="connsiteY435" fmla="*/ 152868 h 1253758"/>
                    <a:gd name="connsiteX436" fmla="*/ 322371 w 773748"/>
                    <a:gd name="connsiteY436" fmla="*/ 148302 h 1253758"/>
                    <a:gd name="connsiteX437" fmla="*/ 317368 w 773748"/>
                    <a:gd name="connsiteY437" fmla="*/ 138563 h 1253758"/>
                    <a:gd name="connsiteX438" fmla="*/ 313761 w 773748"/>
                    <a:gd name="connsiteY438" fmla="*/ 133912 h 1253758"/>
                    <a:gd name="connsiteX439" fmla="*/ 311163 w 773748"/>
                    <a:gd name="connsiteY439" fmla="*/ 132577 h 1253758"/>
                    <a:gd name="connsiteX440" fmla="*/ 302614 w 773748"/>
                    <a:gd name="connsiteY440" fmla="*/ 132103 h 1253758"/>
                    <a:gd name="connsiteX441" fmla="*/ 290787 w 773748"/>
                    <a:gd name="connsiteY441" fmla="*/ 127270 h 1253758"/>
                    <a:gd name="connsiteX442" fmla="*/ 287120 w 773748"/>
                    <a:gd name="connsiteY442" fmla="*/ 126323 h 1253758"/>
                    <a:gd name="connsiteX443" fmla="*/ 283793 w 773748"/>
                    <a:gd name="connsiteY443" fmla="*/ 125060 h 1253758"/>
                    <a:gd name="connsiteX444" fmla="*/ 282457 w 773748"/>
                    <a:gd name="connsiteY444" fmla="*/ 125157 h 1253758"/>
                    <a:gd name="connsiteX445" fmla="*/ 281109 w 773748"/>
                    <a:gd name="connsiteY445" fmla="*/ 126019 h 1253758"/>
                    <a:gd name="connsiteX446" fmla="*/ 277721 w 773748"/>
                    <a:gd name="connsiteY446" fmla="*/ 129225 h 1253758"/>
                    <a:gd name="connsiteX447" fmla="*/ 271577 w 773748"/>
                    <a:gd name="connsiteY447" fmla="*/ 132018 h 1253758"/>
                    <a:gd name="connsiteX448" fmla="*/ 266975 w 773748"/>
                    <a:gd name="connsiteY448" fmla="*/ 135564 h 1253758"/>
                    <a:gd name="connsiteX449" fmla="*/ 262591 w 773748"/>
                    <a:gd name="connsiteY449" fmla="*/ 137458 h 1253758"/>
                    <a:gd name="connsiteX450" fmla="*/ 257600 w 773748"/>
                    <a:gd name="connsiteY450" fmla="*/ 135479 h 1253758"/>
                    <a:gd name="connsiteX451" fmla="*/ 255536 w 773748"/>
                    <a:gd name="connsiteY451" fmla="*/ 132164 h 1253758"/>
                    <a:gd name="connsiteX452" fmla="*/ 254103 w 773748"/>
                    <a:gd name="connsiteY452" fmla="*/ 128484 h 1253758"/>
                    <a:gd name="connsiteX453" fmla="*/ 251929 w 773748"/>
                    <a:gd name="connsiteY453" fmla="*/ 124975 h 1253758"/>
                    <a:gd name="connsiteX454" fmla="*/ 250618 w 773748"/>
                    <a:gd name="connsiteY454" fmla="*/ 122073 h 1253758"/>
                    <a:gd name="connsiteX455" fmla="*/ 249464 w 773748"/>
                    <a:gd name="connsiteY455" fmla="*/ 118224 h 1253758"/>
                    <a:gd name="connsiteX456" fmla="*/ 250885 w 773748"/>
                    <a:gd name="connsiteY456" fmla="*/ 115370 h 1253758"/>
                    <a:gd name="connsiteX457" fmla="*/ 252767 w 773748"/>
                    <a:gd name="connsiteY457" fmla="*/ 113949 h 1253758"/>
                    <a:gd name="connsiteX458" fmla="*/ 253678 w 773748"/>
                    <a:gd name="connsiteY458" fmla="*/ 112893 h 1253758"/>
                    <a:gd name="connsiteX459" fmla="*/ 254309 w 773748"/>
                    <a:gd name="connsiteY459" fmla="*/ 111144 h 1253758"/>
                    <a:gd name="connsiteX460" fmla="*/ 254953 w 773748"/>
                    <a:gd name="connsiteY460" fmla="*/ 104235 h 1253758"/>
                    <a:gd name="connsiteX461" fmla="*/ 257175 w 773748"/>
                    <a:gd name="connsiteY461" fmla="*/ 101236 h 1253758"/>
                    <a:gd name="connsiteX462" fmla="*/ 262105 w 773748"/>
                    <a:gd name="connsiteY462" fmla="*/ 99426 h 1253758"/>
                    <a:gd name="connsiteX463" fmla="*/ 263052 w 773748"/>
                    <a:gd name="connsiteY463" fmla="*/ 98686 h 1253758"/>
                    <a:gd name="connsiteX464" fmla="*/ 265105 w 773748"/>
                    <a:gd name="connsiteY464" fmla="*/ 95468 h 1253758"/>
                    <a:gd name="connsiteX465" fmla="*/ 266987 w 773748"/>
                    <a:gd name="connsiteY465" fmla="*/ 93355 h 1253758"/>
                    <a:gd name="connsiteX466" fmla="*/ 267460 w 773748"/>
                    <a:gd name="connsiteY466" fmla="*/ 92274 h 1253758"/>
                    <a:gd name="connsiteX467" fmla="*/ 267424 w 773748"/>
                    <a:gd name="connsiteY467" fmla="*/ 89736 h 1253758"/>
                    <a:gd name="connsiteX468" fmla="*/ 266586 w 773748"/>
                    <a:gd name="connsiteY468" fmla="*/ 86786 h 1253758"/>
                    <a:gd name="connsiteX469" fmla="*/ 263987 w 773748"/>
                    <a:gd name="connsiteY469" fmla="*/ 83118 h 1253758"/>
                    <a:gd name="connsiteX470" fmla="*/ 258912 w 773748"/>
                    <a:gd name="connsiteY470" fmla="*/ 71000 h 1253758"/>
                    <a:gd name="connsiteX471" fmla="*/ 256592 w 773748"/>
                    <a:gd name="connsiteY471" fmla="*/ 68122 h 1253758"/>
                    <a:gd name="connsiteX472" fmla="*/ 255536 w 773748"/>
                    <a:gd name="connsiteY472" fmla="*/ 65305 h 1253758"/>
                    <a:gd name="connsiteX473" fmla="*/ 255111 w 773748"/>
                    <a:gd name="connsiteY473" fmla="*/ 63933 h 1253758"/>
                    <a:gd name="connsiteX474" fmla="*/ 256932 w 773748"/>
                    <a:gd name="connsiteY474" fmla="*/ 61188 h 1253758"/>
                    <a:gd name="connsiteX475" fmla="*/ 256908 w 773748"/>
                    <a:gd name="connsiteY475" fmla="*/ 60933 h 1253758"/>
                    <a:gd name="connsiteX476" fmla="*/ 253520 w 773748"/>
                    <a:gd name="connsiteY476" fmla="*/ 57545 h 1253758"/>
                    <a:gd name="connsiteX477" fmla="*/ 260940 w 773748"/>
                    <a:gd name="connsiteY477" fmla="*/ 51158 h 1253758"/>
                    <a:gd name="connsiteX478" fmla="*/ 270751 w 773748"/>
                    <a:gd name="connsiteY478" fmla="*/ 51219 h 1253758"/>
                    <a:gd name="connsiteX479" fmla="*/ 275244 w 773748"/>
                    <a:gd name="connsiteY479" fmla="*/ 54728 h 1253758"/>
                    <a:gd name="connsiteX480" fmla="*/ 283793 w 773748"/>
                    <a:gd name="connsiteY480" fmla="*/ 64163 h 1253758"/>
                    <a:gd name="connsiteX481" fmla="*/ 289536 w 773748"/>
                    <a:gd name="connsiteY481" fmla="*/ 68316 h 1253758"/>
                    <a:gd name="connsiteX482" fmla="*/ 294187 w 773748"/>
                    <a:gd name="connsiteY482" fmla="*/ 69203 h 1253758"/>
                    <a:gd name="connsiteX483" fmla="*/ 298522 w 773748"/>
                    <a:gd name="connsiteY483" fmla="*/ 69021 h 1253758"/>
                    <a:gd name="connsiteX484" fmla="*/ 302116 w 773748"/>
                    <a:gd name="connsiteY484" fmla="*/ 67296 h 1253758"/>
                    <a:gd name="connsiteX485" fmla="*/ 310956 w 773748"/>
                    <a:gd name="connsiteY485" fmla="*/ 62135 h 1253758"/>
                    <a:gd name="connsiteX486" fmla="*/ 316566 w 773748"/>
                    <a:gd name="connsiteY486" fmla="*/ 60180 h 1253758"/>
                    <a:gd name="connsiteX487" fmla="*/ 330482 w 773748"/>
                    <a:gd name="connsiteY487" fmla="*/ 60873 h 1253758"/>
                    <a:gd name="connsiteX488" fmla="*/ 336129 w 773748"/>
                    <a:gd name="connsiteY488" fmla="*/ 62900 h 1253758"/>
                    <a:gd name="connsiteX489" fmla="*/ 344835 w 773748"/>
                    <a:gd name="connsiteY489" fmla="*/ 67903 h 1253758"/>
                    <a:gd name="connsiteX490" fmla="*/ 349862 w 773748"/>
                    <a:gd name="connsiteY490" fmla="*/ 68389 h 1253758"/>
                    <a:gd name="connsiteX491" fmla="*/ 367494 w 773748"/>
                    <a:gd name="connsiteY491" fmla="*/ 68013 h 1253758"/>
                    <a:gd name="connsiteX492" fmla="*/ 375836 w 773748"/>
                    <a:gd name="connsiteY492" fmla="*/ 70538 h 1253758"/>
                    <a:gd name="connsiteX493" fmla="*/ 379042 w 773748"/>
                    <a:gd name="connsiteY493" fmla="*/ 71000 h 1253758"/>
                    <a:gd name="connsiteX494" fmla="*/ 407335 w 773748"/>
                    <a:gd name="connsiteY494" fmla="*/ 71449 h 1253758"/>
                    <a:gd name="connsiteX495" fmla="*/ 423303 w 773748"/>
                    <a:gd name="connsiteY495" fmla="*/ 73610 h 1253758"/>
                    <a:gd name="connsiteX496" fmla="*/ 428087 w 773748"/>
                    <a:gd name="connsiteY496" fmla="*/ 73076 h 1253758"/>
                    <a:gd name="connsiteX497" fmla="*/ 429386 w 773748"/>
                    <a:gd name="connsiteY497" fmla="*/ 72275 h 1253758"/>
                    <a:gd name="connsiteX498" fmla="*/ 430576 w 773748"/>
                    <a:gd name="connsiteY498" fmla="*/ 70575 h 1253758"/>
                    <a:gd name="connsiteX499" fmla="*/ 434110 w 773748"/>
                    <a:gd name="connsiteY499" fmla="*/ 67830 h 1253758"/>
                    <a:gd name="connsiteX500" fmla="*/ 443011 w 773748"/>
                    <a:gd name="connsiteY500" fmla="*/ 64175 h 1253758"/>
                    <a:gd name="connsiteX501" fmla="*/ 448475 w 773748"/>
                    <a:gd name="connsiteY501" fmla="*/ 61115 h 1253758"/>
                    <a:gd name="connsiteX502" fmla="*/ 448609 w 773748"/>
                    <a:gd name="connsiteY502" fmla="*/ 60945 h 1253758"/>
                    <a:gd name="connsiteX503" fmla="*/ 448985 w 773748"/>
                    <a:gd name="connsiteY503" fmla="*/ 59233 h 1253758"/>
                    <a:gd name="connsiteX504" fmla="*/ 448985 w 773748"/>
                    <a:gd name="connsiteY504" fmla="*/ 57084 h 1253758"/>
                    <a:gd name="connsiteX505" fmla="*/ 449969 w 773748"/>
                    <a:gd name="connsiteY505" fmla="*/ 52785 h 1253758"/>
                    <a:gd name="connsiteX506" fmla="*/ 452895 w 773748"/>
                    <a:gd name="connsiteY506" fmla="*/ 49968 h 1253758"/>
                    <a:gd name="connsiteX507" fmla="*/ 457813 w 773748"/>
                    <a:gd name="connsiteY507" fmla="*/ 47503 h 1253758"/>
                    <a:gd name="connsiteX508" fmla="*/ 463921 w 773748"/>
                    <a:gd name="connsiteY508" fmla="*/ 46580 h 1253758"/>
                    <a:gd name="connsiteX509" fmla="*/ 466532 w 773748"/>
                    <a:gd name="connsiteY509" fmla="*/ 45609 h 1253758"/>
                    <a:gd name="connsiteX510" fmla="*/ 472081 w 773748"/>
                    <a:gd name="connsiteY510" fmla="*/ 42828 h 1253758"/>
                    <a:gd name="connsiteX511" fmla="*/ 473356 w 773748"/>
                    <a:gd name="connsiteY511" fmla="*/ 41371 h 1253758"/>
                    <a:gd name="connsiteX512" fmla="*/ 473623 w 773748"/>
                    <a:gd name="connsiteY512" fmla="*/ 40120 h 1253758"/>
                    <a:gd name="connsiteX513" fmla="*/ 473441 w 773748"/>
                    <a:gd name="connsiteY513" fmla="*/ 38675 h 1253758"/>
                    <a:gd name="connsiteX514" fmla="*/ 473902 w 773748"/>
                    <a:gd name="connsiteY514" fmla="*/ 36016 h 1253758"/>
                    <a:gd name="connsiteX515" fmla="*/ 473854 w 773748"/>
                    <a:gd name="connsiteY515" fmla="*/ 34219 h 1253758"/>
                    <a:gd name="connsiteX516" fmla="*/ 478371 w 773748"/>
                    <a:gd name="connsiteY516" fmla="*/ 28245 h 1253758"/>
                    <a:gd name="connsiteX517" fmla="*/ 488292 w 773748"/>
                    <a:gd name="connsiteY517" fmla="*/ 30734 h 1253758"/>
                    <a:gd name="connsiteX518" fmla="*/ 499087 w 773748"/>
                    <a:gd name="connsiteY518" fmla="*/ 40691 h 1253758"/>
                    <a:gd name="connsiteX519" fmla="*/ 502147 w 773748"/>
                    <a:gd name="connsiteY519" fmla="*/ 42634 h 1253758"/>
                    <a:gd name="connsiteX520" fmla="*/ 506288 w 773748"/>
                    <a:gd name="connsiteY520" fmla="*/ 44516 h 1253758"/>
                    <a:gd name="connsiteX521" fmla="*/ 510938 w 773748"/>
                    <a:gd name="connsiteY521" fmla="*/ 45560 h 1253758"/>
                    <a:gd name="connsiteX522" fmla="*/ 512383 w 773748"/>
                    <a:gd name="connsiteY522" fmla="*/ 45524 h 1253758"/>
                    <a:gd name="connsiteX523" fmla="*/ 517447 w 773748"/>
                    <a:gd name="connsiteY523" fmla="*/ 44759 h 1253758"/>
                    <a:gd name="connsiteX524" fmla="*/ 524769 w 773748"/>
                    <a:gd name="connsiteY524" fmla="*/ 44868 h 1253758"/>
                    <a:gd name="connsiteX525" fmla="*/ 533961 w 773748"/>
                    <a:gd name="connsiteY525" fmla="*/ 46070 h 1253758"/>
                    <a:gd name="connsiteX526" fmla="*/ 536159 w 773748"/>
                    <a:gd name="connsiteY526" fmla="*/ 45815 h 1253758"/>
                    <a:gd name="connsiteX527" fmla="*/ 538017 w 773748"/>
                    <a:gd name="connsiteY527" fmla="*/ 45330 h 1253758"/>
                    <a:gd name="connsiteX528" fmla="*/ 543057 w 773748"/>
                    <a:gd name="connsiteY528" fmla="*/ 43010 h 1253758"/>
                    <a:gd name="connsiteX529" fmla="*/ 545218 w 773748"/>
                    <a:gd name="connsiteY529" fmla="*/ 42270 h 1253758"/>
                    <a:gd name="connsiteX530" fmla="*/ 550731 w 773748"/>
                    <a:gd name="connsiteY530" fmla="*/ 41080 h 1253758"/>
                    <a:gd name="connsiteX531" fmla="*/ 554556 w 773748"/>
                    <a:gd name="connsiteY531" fmla="*/ 39671 h 1253758"/>
                    <a:gd name="connsiteX532" fmla="*/ 555637 w 773748"/>
                    <a:gd name="connsiteY532" fmla="*/ 38954 h 1253758"/>
                    <a:gd name="connsiteX533" fmla="*/ 556462 w 773748"/>
                    <a:gd name="connsiteY533" fmla="*/ 38214 h 1253758"/>
                    <a:gd name="connsiteX534" fmla="*/ 557324 w 773748"/>
                    <a:gd name="connsiteY534" fmla="*/ 37145 h 1253758"/>
                    <a:gd name="connsiteX535" fmla="*/ 560992 w 773748"/>
                    <a:gd name="connsiteY535" fmla="*/ 31050 h 1253758"/>
                    <a:gd name="connsiteX536" fmla="*/ 561405 w 773748"/>
                    <a:gd name="connsiteY536" fmla="*/ 30127 h 1253758"/>
                    <a:gd name="connsiteX537" fmla="*/ 561696 w 773748"/>
                    <a:gd name="connsiteY537" fmla="*/ 24419 h 1253758"/>
                    <a:gd name="connsiteX538" fmla="*/ 562789 w 773748"/>
                    <a:gd name="connsiteY538" fmla="*/ 20947 h 1253758"/>
                    <a:gd name="connsiteX539" fmla="*/ 564962 w 773748"/>
                    <a:gd name="connsiteY539" fmla="*/ 17838 h 1253758"/>
                    <a:gd name="connsiteX540" fmla="*/ 571957 w 773748"/>
                    <a:gd name="connsiteY540" fmla="*/ 13406 h 1253758"/>
                    <a:gd name="connsiteX541" fmla="*/ 573001 w 773748"/>
                    <a:gd name="connsiteY541" fmla="*/ 12410 h 1253758"/>
                    <a:gd name="connsiteX542" fmla="*/ 575235 w 773748"/>
                    <a:gd name="connsiteY542" fmla="*/ 5719 h 1253758"/>
                    <a:gd name="connsiteX543" fmla="*/ 578817 w 773748"/>
                    <a:gd name="connsiteY543" fmla="*/ 0 h 1253758"/>
                    <a:gd name="connsiteX544" fmla="*/ 591057 w 773748"/>
                    <a:gd name="connsiteY544" fmla="*/ 3740 h 1253758"/>
                    <a:gd name="connsiteX545" fmla="*/ 600055 w 773748"/>
                    <a:gd name="connsiteY545" fmla="*/ 4189 h 1253758"/>
                    <a:gd name="connsiteX546" fmla="*/ 602423 w 773748"/>
                    <a:gd name="connsiteY546" fmla="*/ 4784 h 1253758"/>
                    <a:gd name="connsiteX547" fmla="*/ 604706 w 773748"/>
                    <a:gd name="connsiteY547" fmla="*/ 6132 h 1253758"/>
                    <a:gd name="connsiteX548" fmla="*/ 608033 w 773748"/>
                    <a:gd name="connsiteY548" fmla="*/ 9022 h 1253758"/>
                    <a:gd name="connsiteX549" fmla="*/ 614141 w 773748"/>
                    <a:gd name="connsiteY549" fmla="*/ 12313 h 1253758"/>
                    <a:gd name="connsiteX550" fmla="*/ 616290 w 773748"/>
                    <a:gd name="connsiteY550" fmla="*/ 14499 h 1253758"/>
                    <a:gd name="connsiteX551" fmla="*/ 617553 w 773748"/>
                    <a:gd name="connsiteY551" fmla="*/ 17194 h 1253758"/>
                    <a:gd name="connsiteX552" fmla="*/ 618051 w 773748"/>
                    <a:gd name="connsiteY552" fmla="*/ 20667 h 1253758"/>
                    <a:gd name="connsiteX553" fmla="*/ 617966 w 773748"/>
                    <a:gd name="connsiteY553" fmla="*/ 28961 h 1253758"/>
                    <a:gd name="connsiteX554" fmla="*/ 618161 w 773748"/>
                    <a:gd name="connsiteY554" fmla="*/ 31292 h 1253758"/>
                    <a:gd name="connsiteX555" fmla="*/ 618695 w 773748"/>
                    <a:gd name="connsiteY555" fmla="*/ 33915 h 1253758"/>
                    <a:gd name="connsiteX556" fmla="*/ 619581 w 773748"/>
                    <a:gd name="connsiteY556" fmla="*/ 36016 h 1253758"/>
                    <a:gd name="connsiteX557" fmla="*/ 620941 w 773748"/>
                    <a:gd name="connsiteY557" fmla="*/ 38614 h 1253758"/>
                    <a:gd name="connsiteX558" fmla="*/ 623783 w 773748"/>
                    <a:gd name="connsiteY558" fmla="*/ 42367 h 1253758"/>
                    <a:gd name="connsiteX559" fmla="*/ 649611 w 773748"/>
                    <a:gd name="connsiteY559" fmla="*/ 65159 h 1253758"/>
                    <a:gd name="connsiteX560" fmla="*/ 652768 w 773748"/>
                    <a:gd name="connsiteY560" fmla="*/ 69021 h 1253758"/>
                    <a:gd name="connsiteX561" fmla="*/ 656581 w 773748"/>
                    <a:gd name="connsiteY561" fmla="*/ 77630 h 1253758"/>
                    <a:gd name="connsiteX562" fmla="*/ 657443 w 773748"/>
                    <a:gd name="connsiteY562" fmla="*/ 80253 h 1253758"/>
                    <a:gd name="connsiteX563" fmla="*/ 657832 w 773748"/>
                    <a:gd name="connsiteY563" fmla="*/ 82985 h 1253758"/>
                    <a:gd name="connsiteX564" fmla="*/ 657394 w 773748"/>
                    <a:gd name="connsiteY564" fmla="*/ 85851 h 1253758"/>
                    <a:gd name="connsiteX565" fmla="*/ 655221 w 773748"/>
                    <a:gd name="connsiteY565" fmla="*/ 91861 h 1253758"/>
                    <a:gd name="connsiteX566" fmla="*/ 654820 w 773748"/>
                    <a:gd name="connsiteY566" fmla="*/ 93258 h 1253758"/>
                    <a:gd name="connsiteX567" fmla="*/ 654808 w 773748"/>
                    <a:gd name="connsiteY567" fmla="*/ 94096 h 1253758"/>
                    <a:gd name="connsiteX568" fmla="*/ 655112 w 773748"/>
                    <a:gd name="connsiteY568" fmla="*/ 95164 h 1253758"/>
                    <a:gd name="connsiteX569" fmla="*/ 656836 w 773748"/>
                    <a:gd name="connsiteY569" fmla="*/ 98613 h 1253758"/>
                    <a:gd name="connsiteX570" fmla="*/ 659192 w 773748"/>
                    <a:gd name="connsiteY570" fmla="*/ 105328 h 1253758"/>
                    <a:gd name="connsiteX571" fmla="*/ 660734 w 773748"/>
                    <a:gd name="connsiteY571" fmla="*/ 108254 h 1253758"/>
                    <a:gd name="connsiteX572" fmla="*/ 661984 w 773748"/>
                    <a:gd name="connsiteY572" fmla="*/ 109432 h 1253758"/>
                    <a:gd name="connsiteX573" fmla="*/ 663417 w 773748"/>
                    <a:gd name="connsiteY573" fmla="*/ 110367 h 1253758"/>
                    <a:gd name="connsiteX574" fmla="*/ 664425 w 773748"/>
                    <a:gd name="connsiteY574" fmla="*/ 110634 h 1253758"/>
                    <a:gd name="connsiteX575" fmla="*/ 665202 w 773748"/>
                    <a:gd name="connsiteY575" fmla="*/ 110671 h 1253758"/>
                    <a:gd name="connsiteX576" fmla="*/ 666125 w 773748"/>
                    <a:gd name="connsiteY576" fmla="*/ 110586 h 1253758"/>
                    <a:gd name="connsiteX577" fmla="*/ 670035 w 773748"/>
                    <a:gd name="connsiteY577" fmla="*/ 109784 h 1253758"/>
                    <a:gd name="connsiteX578" fmla="*/ 671674 w 773748"/>
                    <a:gd name="connsiteY578" fmla="*/ 109602 h 1253758"/>
                    <a:gd name="connsiteX579" fmla="*/ 673824 w 773748"/>
                    <a:gd name="connsiteY579" fmla="*/ 109675 h 1253758"/>
                    <a:gd name="connsiteX580" fmla="*/ 675912 w 773748"/>
                    <a:gd name="connsiteY580" fmla="*/ 110051 h 1253758"/>
                    <a:gd name="connsiteX581" fmla="*/ 686489 w 773748"/>
                    <a:gd name="connsiteY581" fmla="*/ 114338 h 1253758"/>
                    <a:gd name="connsiteX582" fmla="*/ 686125 w 773748"/>
                    <a:gd name="connsiteY582" fmla="*/ 111776 h 1253758"/>
                    <a:gd name="connsiteX583" fmla="*/ 686076 w 773748"/>
                    <a:gd name="connsiteY583" fmla="*/ 108631 h 1253758"/>
                    <a:gd name="connsiteX584" fmla="*/ 686294 w 773748"/>
                    <a:gd name="connsiteY584" fmla="*/ 107210 h 1253758"/>
                    <a:gd name="connsiteX585" fmla="*/ 687108 w 773748"/>
                    <a:gd name="connsiteY585" fmla="*/ 105182 h 1253758"/>
                    <a:gd name="connsiteX586" fmla="*/ 687436 w 773748"/>
                    <a:gd name="connsiteY586" fmla="*/ 104709 h 1253758"/>
                    <a:gd name="connsiteX587" fmla="*/ 688444 w 773748"/>
                    <a:gd name="connsiteY587" fmla="*/ 103616 h 1253758"/>
                    <a:gd name="connsiteX588" fmla="*/ 690083 w 773748"/>
                    <a:gd name="connsiteY588" fmla="*/ 102644 h 1253758"/>
                    <a:gd name="connsiteX589" fmla="*/ 691152 w 773748"/>
                    <a:gd name="connsiteY589" fmla="*/ 102244 h 1253758"/>
                    <a:gd name="connsiteX590" fmla="*/ 693046 w 773748"/>
                    <a:gd name="connsiteY590" fmla="*/ 101697 h 1253758"/>
                    <a:gd name="connsiteX591" fmla="*/ 693860 w 773748"/>
                    <a:gd name="connsiteY591" fmla="*/ 101309 h 1253758"/>
                    <a:gd name="connsiteX592" fmla="*/ 695815 w 773748"/>
                    <a:gd name="connsiteY592" fmla="*/ 100034 h 1253758"/>
                    <a:gd name="connsiteX593" fmla="*/ 697709 w 773748"/>
                    <a:gd name="connsiteY593" fmla="*/ 99293 h 1253758"/>
                    <a:gd name="connsiteX594" fmla="*/ 700684 w 773748"/>
                    <a:gd name="connsiteY594" fmla="*/ 99086 h 1253758"/>
                    <a:gd name="connsiteX595" fmla="*/ 704011 w 773748"/>
                    <a:gd name="connsiteY595" fmla="*/ 100701 h 1253758"/>
                    <a:gd name="connsiteX596" fmla="*/ 705383 w 773748"/>
                    <a:gd name="connsiteY596" fmla="*/ 102863 h 1253758"/>
                    <a:gd name="connsiteX597" fmla="*/ 706209 w 773748"/>
                    <a:gd name="connsiteY597" fmla="*/ 106020 h 1253758"/>
                    <a:gd name="connsiteX598" fmla="*/ 706488 w 773748"/>
                    <a:gd name="connsiteY598" fmla="*/ 108376 h 1253758"/>
                    <a:gd name="connsiteX599" fmla="*/ 706950 w 773748"/>
                    <a:gd name="connsiteY599" fmla="*/ 110355 h 1253758"/>
                    <a:gd name="connsiteX600" fmla="*/ 710143 w 773748"/>
                    <a:gd name="connsiteY600" fmla="*/ 116341 h 1253758"/>
                    <a:gd name="connsiteX601" fmla="*/ 710410 w 773748"/>
                    <a:gd name="connsiteY601" fmla="*/ 117823 h 1253758"/>
                    <a:gd name="connsiteX602" fmla="*/ 710192 w 773748"/>
                    <a:gd name="connsiteY602" fmla="*/ 120349 h 1253758"/>
                    <a:gd name="connsiteX603" fmla="*/ 709123 w 773748"/>
                    <a:gd name="connsiteY603" fmla="*/ 123081 h 1253758"/>
                    <a:gd name="connsiteX604" fmla="*/ 707945 w 773748"/>
                    <a:gd name="connsiteY604" fmla="*/ 125206 h 1253758"/>
                    <a:gd name="connsiteX605" fmla="*/ 705517 w 773748"/>
                    <a:gd name="connsiteY605" fmla="*/ 128399 h 1253758"/>
                    <a:gd name="connsiteX606" fmla="*/ 699506 w 773748"/>
                    <a:gd name="connsiteY606" fmla="*/ 134677 h 1253758"/>
                    <a:gd name="connsiteX607" fmla="*/ 698753 w 773748"/>
                    <a:gd name="connsiteY607" fmla="*/ 135770 h 1253758"/>
                    <a:gd name="connsiteX608" fmla="*/ 698195 w 773748"/>
                    <a:gd name="connsiteY608" fmla="*/ 136960 h 1253758"/>
                    <a:gd name="connsiteX609" fmla="*/ 698498 w 773748"/>
                    <a:gd name="connsiteY609" fmla="*/ 140105 h 1253758"/>
                    <a:gd name="connsiteX610" fmla="*/ 698571 w 773748"/>
                    <a:gd name="connsiteY610" fmla="*/ 142060 h 1253758"/>
                    <a:gd name="connsiteX611" fmla="*/ 698401 w 773748"/>
                    <a:gd name="connsiteY611" fmla="*/ 144355 h 1253758"/>
                    <a:gd name="connsiteX612" fmla="*/ 697114 w 773748"/>
                    <a:gd name="connsiteY612" fmla="*/ 150074 h 1253758"/>
                    <a:gd name="connsiteX613" fmla="*/ 696956 w 773748"/>
                    <a:gd name="connsiteY613" fmla="*/ 151690 h 1253758"/>
                    <a:gd name="connsiteX614" fmla="*/ 696980 w 773748"/>
                    <a:gd name="connsiteY614" fmla="*/ 153815 h 1253758"/>
                    <a:gd name="connsiteX615" fmla="*/ 697211 w 773748"/>
                    <a:gd name="connsiteY615" fmla="*/ 154713 h 1253758"/>
                    <a:gd name="connsiteX616" fmla="*/ 700781 w 773748"/>
                    <a:gd name="connsiteY616" fmla="*/ 150973 h 1253758"/>
                    <a:gd name="connsiteX617" fmla="*/ 703052 w 773748"/>
                    <a:gd name="connsiteY617" fmla="*/ 149747 h 1253758"/>
                    <a:gd name="connsiteX618" fmla="*/ 703877 w 773748"/>
                    <a:gd name="connsiteY618" fmla="*/ 149382 h 1253758"/>
                    <a:gd name="connsiteX619" fmla="*/ 705286 w 773748"/>
                    <a:gd name="connsiteY619" fmla="*/ 149625 h 1253758"/>
                    <a:gd name="connsiteX620" fmla="*/ 706792 w 773748"/>
                    <a:gd name="connsiteY620" fmla="*/ 150062 h 1253758"/>
                    <a:gd name="connsiteX621" fmla="*/ 709524 w 773748"/>
                    <a:gd name="connsiteY621" fmla="*/ 151605 h 1253758"/>
                    <a:gd name="connsiteX622" fmla="*/ 711248 w 773748"/>
                    <a:gd name="connsiteY622" fmla="*/ 154312 h 1253758"/>
                    <a:gd name="connsiteX623" fmla="*/ 712596 w 773748"/>
                    <a:gd name="connsiteY623" fmla="*/ 157542 h 1253758"/>
                    <a:gd name="connsiteX624" fmla="*/ 714709 w 773748"/>
                    <a:gd name="connsiteY624" fmla="*/ 167755 h 1253758"/>
                    <a:gd name="connsiteX625" fmla="*/ 713385 w 773748"/>
                    <a:gd name="connsiteY625" fmla="*/ 184318 h 1253758"/>
                    <a:gd name="connsiteX626" fmla="*/ 711345 w 773748"/>
                    <a:gd name="connsiteY626" fmla="*/ 192636 h 1253758"/>
                    <a:gd name="connsiteX627" fmla="*/ 712863 w 773748"/>
                    <a:gd name="connsiteY627" fmla="*/ 200067 h 1253758"/>
                    <a:gd name="connsiteX628" fmla="*/ 715401 w 773748"/>
                    <a:gd name="connsiteY628" fmla="*/ 203504 h 1253758"/>
                    <a:gd name="connsiteX629" fmla="*/ 721096 w 773748"/>
                    <a:gd name="connsiteY629" fmla="*/ 208142 h 1253758"/>
                    <a:gd name="connsiteX630" fmla="*/ 723440 w 773748"/>
                    <a:gd name="connsiteY630" fmla="*/ 210789 h 1253758"/>
                    <a:gd name="connsiteX631" fmla="*/ 724982 w 773748"/>
                    <a:gd name="connsiteY631" fmla="*/ 214007 h 1253758"/>
                    <a:gd name="connsiteX632" fmla="*/ 725698 w 773748"/>
                    <a:gd name="connsiteY632" fmla="*/ 216812 h 1253758"/>
                    <a:gd name="connsiteX633" fmla="*/ 726609 w 773748"/>
                    <a:gd name="connsiteY633" fmla="*/ 222629 h 1253758"/>
                    <a:gd name="connsiteX634" fmla="*/ 727629 w 773748"/>
                    <a:gd name="connsiteY634" fmla="*/ 226211 h 1253758"/>
                    <a:gd name="connsiteX635" fmla="*/ 728261 w 773748"/>
                    <a:gd name="connsiteY635" fmla="*/ 227704 h 1253758"/>
                    <a:gd name="connsiteX636" fmla="*/ 729268 w 773748"/>
                    <a:gd name="connsiteY636" fmla="*/ 228105 h 1253758"/>
                    <a:gd name="connsiteX637" fmla="*/ 729013 w 773748"/>
                    <a:gd name="connsiteY637" fmla="*/ 226599 h 1253758"/>
                    <a:gd name="connsiteX638" fmla="*/ 729159 w 773748"/>
                    <a:gd name="connsiteY638" fmla="*/ 223904 h 1253758"/>
                    <a:gd name="connsiteX639" fmla="*/ 731248 w 773748"/>
                    <a:gd name="connsiteY639" fmla="*/ 222179 h 1253758"/>
                    <a:gd name="connsiteX640" fmla="*/ 733421 w 773748"/>
                    <a:gd name="connsiteY640" fmla="*/ 221730 h 1253758"/>
                    <a:gd name="connsiteX641" fmla="*/ 735024 w 773748"/>
                    <a:gd name="connsiteY641" fmla="*/ 221997 h 1253758"/>
                    <a:gd name="connsiteX642" fmla="*/ 742395 w 773748"/>
                    <a:gd name="connsiteY642" fmla="*/ 226344 h 1253758"/>
                    <a:gd name="connsiteX643" fmla="*/ 743354 w 773748"/>
                    <a:gd name="connsiteY643" fmla="*/ 226781 h 1253758"/>
                    <a:gd name="connsiteX644" fmla="*/ 746098 w 773748"/>
                    <a:gd name="connsiteY644" fmla="*/ 227595 h 1253758"/>
                    <a:gd name="connsiteX645" fmla="*/ 747398 w 773748"/>
                    <a:gd name="connsiteY645" fmla="*/ 227765 h 1253758"/>
                    <a:gd name="connsiteX646" fmla="*/ 748697 w 773748"/>
                    <a:gd name="connsiteY646" fmla="*/ 227729 h 1253758"/>
                    <a:gd name="connsiteX647" fmla="*/ 749207 w 773748"/>
                    <a:gd name="connsiteY647" fmla="*/ 227377 h 1253758"/>
                    <a:gd name="connsiteX648" fmla="*/ 750713 w 773748"/>
                    <a:gd name="connsiteY648" fmla="*/ 226648 h 1253758"/>
                    <a:gd name="connsiteX649" fmla="*/ 751575 w 773748"/>
                    <a:gd name="connsiteY649" fmla="*/ 226466 h 1253758"/>
                    <a:gd name="connsiteX650" fmla="*/ 753591 w 773748"/>
                    <a:gd name="connsiteY650" fmla="*/ 226272 h 1253758"/>
                    <a:gd name="connsiteX651" fmla="*/ 755667 w 773748"/>
                    <a:gd name="connsiteY651" fmla="*/ 226296 h 1253758"/>
                    <a:gd name="connsiteX652" fmla="*/ 757707 w 773748"/>
                    <a:gd name="connsiteY652" fmla="*/ 226502 h 1253758"/>
                    <a:gd name="connsiteX653" fmla="*/ 760099 w 773748"/>
                    <a:gd name="connsiteY653" fmla="*/ 227219 h 1253758"/>
                    <a:gd name="connsiteX654" fmla="*/ 765503 w 773748"/>
                    <a:gd name="connsiteY654" fmla="*/ 229708 h 1253758"/>
                    <a:gd name="connsiteX655" fmla="*/ 767810 w 773748"/>
                    <a:gd name="connsiteY655" fmla="*/ 231614 h 1253758"/>
                    <a:gd name="connsiteX656" fmla="*/ 769279 w 773748"/>
                    <a:gd name="connsiteY656" fmla="*/ 234043 h 1253758"/>
                    <a:gd name="connsiteX657" fmla="*/ 769935 w 773748"/>
                    <a:gd name="connsiteY657" fmla="*/ 239107 h 1253758"/>
                    <a:gd name="connsiteX658" fmla="*/ 770506 w 773748"/>
                    <a:gd name="connsiteY658" fmla="*/ 240843 h 1253758"/>
                    <a:gd name="connsiteX659" fmla="*/ 772109 w 773748"/>
                    <a:gd name="connsiteY659" fmla="*/ 243976 h 1253758"/>
                    <a:gd name="connsiteX660" fmla="*/ 773129 w 773748"/>
                    <a:gd name="connsiteY660" fmla="*/ 246526 h 1253758"/>
                    <a:gd name="connsiteX661" fmla="*/ 773748 w 773748"/>
                    <a:gd name="connsiteY661" fmla="*/ 249440 h 1253758"/>
                    <a:gd name="connsiteX662" fmla="*/ 773541 w 773748"/>
                    <a:gd name="connsiteY662" fmla="*/ 252525 h 1253758"/>
                    <a:gd name="connsiteX663" fmla="*/ 772181 w 773748"/>
                    <a:gd name="connsiteY663" fmla="*/ 255779 h 1253758"/>
                    <a:gd name="connsiteX664" fmla="*/ 770081 w 773748"/>
                    <a:gd name="connsiteY664" fmla="*/ 258681 h 1253758"/>
                    <a:gd name="connsiteX665" fmla="*/ 767458 w 773748"/>
                    <a:gd name="connsiteY665" fmla="*/ 261377 h 1253758"/>
                    <a:gd name="connsiteX666" fmla="*/ 759711 w 773748"/>
                    <a:gd name="connsiteY666" fmla="*/ 266914 h 1253758"/>
                    <a:gd name="connsiteX667" fmla="*/ 758496 w 773748"/>
                    <a:gd name="connsiteY667" fmla="*/ 267970 h 1253758"/>
                    <a:gd name="connsiteX668" fmla="*/ 756857 w 773748"/>
                    <a:gd name="connsiteY668" fmla="*/ 270047 h 1253758"/>
                    <a:gd name="connsiteX669" fmla="*/ 755291 w 773748"/>
                    <a:gd name="connsiteY669" fmla="*/ 271468 h 1253758"/>
                    <a:gd name="connsiteX670" fmla="*/ 750968 w 773748"/>
                    <a:gd name="connsiteY670" fmla="*/ 273204 h 1253758"/>
                    <a:gd name="connsiteX671" fmla="*/ 750106 w 773748"/>
                    <a:gd name="connsiteY671" fmla="*/ 273750 h 1253758"/>
                    <a:gd name="connsiteX672" fmla="*/ 749401 w 773748"/>
                    <a:gd name="connsiteY672" fmla="*/ 274588 h 1253758"/>
                    <a:gd name="connsiteX673" fmla="*/ 748831 w 773748"/>
                    <a:gd name="connsiteY673" fmla="*/ 275572 h 1253758"/>
                    <a:gd name="connsiteX674" fmla="*/ 748272 w 773748"/>
                    <a:gd name="connsiteY674" fmla="*/ 276920 h 1253758"/>
                    <a:gd name="connsiteX675" fmla="*/ 745370 w 773748"/>
                    <a:gd name="connsiteY675" fmla="*/ 286537 h 1253758"/>
                    <a:gd name="connsiteX676" fmla="*/ 744095 w 773748"/>
                    <a:gd name="connsiteY676" fmla="*/ 288868 h 1253758"/>
                    <a:gd name="connsiteX677" fmla="*/ 742516 w 773748"/>
                    <a:gd name="connsiteY677" fmla="*/ 290690 h 1253758"/>
                    <a:gd name="connsiteX678" fmla="*/ 732280 w 773748"/>
                    <a:gd name="connsiteY678" fmla="*/ 297830 h 1253758"/>
                    <a:gd name="connsiteX679" fmla="*/ 728916 w 773748"/>
                    <a:gd name="connsiteY679" fmla="*/ 301218 h 1253758"/>
                    <a:gd name="connsiteX680" fmla="*/ 726840 w 773748"/>
                    <a:gd name="connsiteY680" fmla="*/ 302517 h 1253758"/>
                    <a:gd name="connsiteX681" fmla="*/ 724909 w 773748"/>
                    <a:gd name="connsiteY681" fmla="*/ 303270 h 1253758"/>
                    <a:gd name="connsiteX682" fmla="*/ 722080 w 773748"/>
                    <a:gd name="connsiteY682" fmla="*/ 303683 h 1253758"/>
                    <a:gd name="connsiteX683" fmla="*/ 715972 w 773748"/>
                    <a:gd name="connsiteY683" fmla="*/ 303476 h 1253758"/>
                    <a:gd name="connsiteX684" fmla="*/ 711758 w 773748"/>
                    <a:gd name="connsiteY684" fmla="*/ 308686 h 1253758"/>
                    <a:gd name="connsiteX685" fmla="*/ 710034 w 773748"/>
                    <a:gd name="connsiteY685" fmla="*/ 310155 h 1253758"/>
                    <a:gd name="connsiteX686" fmla="*/ 708601 w 773748"/>
                    <a:gd name="connsiteY686" fmla="*/ 311102 h 1253758"/>
                    <a:gd name="connsiteX687" fmla="*/ 705007 w 773748"/>
                    <a:gd name="connsiteY687" fmla="*/ 312766 h 1253758"/>
                    <a:gd name="connsiteX688" fmla="*/ 704302 w 773748"/>
                    <a:gd name="connsiteY688" fmla="*/ 314041 h 1253758"/>
                    <a:gd name="connsiteX689" fmla="*/ 702930 w 773748"/>
                    <a:gd name="connsiteY689" fmla="*/ 318558 h 1253758"/>
                    <a:gd name="connsiteX690" fmla="*/ 701680 w 773748"/>
                    <a:gd name="connsiteY690" fmla="*/ 321654 h 1253758"/>
                    <a:gd name="connsiteX691" fmla="*/ 701546 w 773748"/>
                    <a:gd name="connsiteY691" fmla="*/ 323342 h 1253758"/>
                    <a:gd name="connsiteX692" fmla="*/ 701789 w 773748"/>
                    <a:gd name="connsiteY692" fmla="*/ 323949 h 1253758"/>
                    <a:gd name="connsiteX693" fmla="*/ 705347 w 773748"/>
                    <a:gd name="connsiteY693" fmla="*/ 330045 h 1253758"/>
                    <a:gd name="connsiteX694" fmla="*/ 706452 w 773748"/>
                    <a:gd name="connsiteY694" fmla="*/ 333542 h 1253758"/>
                    <a:gd name="connsiteX695" fmla="*/ 706938 w 773748"/>
                    <a:gd name="connsiteY695" fmla="*/ 337452 h 1253758"/>
                    <a:gd name="connsiteX696" fmla="*/ 706828 w 773748"/>
                    <a:gd name="connsiteY696" fmla="*/ 340160 h 1253758"/>
                    <a:gd name="connsiteX697" fmla="*/ 706452 w 773748"/>
                    <a:gd name="connsiteY697" fmla="*/ 342322 h 1253758"/>
                    <a:gd name="connsiteX698" fmla="*/ 705978 w 773748"/>
                    <a:gd name="connsiteY698" fmla="*/ 344046 h 1253758"/>
                    <a:gd name="connsiteX699" fmla="*/ 705213 w 773748"/>
                    <a:gd name="connsiteY699" fmla="*/ 345855 h 1253758"/>
                    <a:gd name="connsiteX700" fmla="*/ 704023 w 773748"/>
                    <a:gd name="connsiteY700" fmla="*/ 347677 h 1253758"/>
                    <a:gd name="connsiteX701" fmla="*/ 698474 w 773748"/>
                    <a:gd name="connsiteY701" fmla="*/ 354149 h 1253758"/>
                    <a:gd name="connsiteX702" fmla="*/ 696142 w 773748"/>
                    <a:gd name="connsiteY702" fmla="*/ 356055 h 1253758"/>
                    <a:gd name="connsiteX703" fmla="*/ 692912 w 773748"/>
                    <a:gd name="connsiteY703" fmla="*/ 357573 h 1253758"/>
                    <a:gd name="connsiteX704" fmla="*/ 689804 w 773748"/>
                    <a:gd name="connsiteY704" fmla="*/ 358302 h 1253758"/>
                    <a:gd name="connsiteX705" fmla="*/ 681692 w 773748"/>
                    <a:gd name="connsiteY705" fmla="*/ 359079 h 1253758"/>
                    <a:gd name="connsiteX706" fmla="*/ 675657 w 773748"/>
                    <a:gd name="connsiteY706" fmla="*/ 361022 h 1253758"/>
                    <a:gd name="connsiteX707" fmla="*/ 671808 w 773748"/>
                    <a:gd name="connsiteY707" fmla="*/ 363790 h 1253758"/>
                    <a:gd name="connsiteX708" fmla="*/ 656435 w 773748"/>
                    <a:gd name="connsiteY708" fmla="*/ 377403 h 1253758"/>
                    <a:gd name="connsiteX709" fmla="*/ 653909 w 773748"/>
                    <a:gd name="connsiteY709" fmla="*/ 379090 h 1253758"/>
                    <a:gd name="connsiteX710" fmla="*/ 642556 w 773748"/>
                    <a:gd name="connsiteY710" fmla="*/ 383340 h 1253758"/>
                    <a:gd name="connsiteX711" fmla="*/ 638342 w 773748"/>
                    <a:gd name="connsiteY711" fmla="*/ 385514 h 1253758"/>
                    <a:gd name="connsiteX712" fmla="*/ 635501 w 773748"/>
                    <a:gd name="connsiteY712" fmla="*/ 387348 h 1253758"/>
                    <a:gd name="connsiteX713" fmla="*/ 632550 w 773748"/>
                    <a:gd name="connsiteY713" fmla="*/ 390347 h 1253758"/>
                    <a:gd name="connsiteX714" fmla="*/ 623843 w 773748"/>
                    <a:gd name="connsiteY714" fmla="*/ 403036 h 1253758"/>
                    <a:gd name="connsiteX715" fmla="*/ 622605 w 773748"/>
                    <a:gd name="connsiteY715" fmla="*/ 405829 h 1253758"/>
                    <a:gd name="connsiteX716" fmla="*/ 622544 w 773748"/>
                    <a:gd name="connsiteY716" fmla="*/ 406206 h 1253758"/>
                    <a:gd name="connsiteX717" fmla="*/ 622738 w 773748"/>
                    <a:gd name="connsiteY717" fmla="*/ 406533 h 1253758"/>
                    <a:gd name="connsiteX718" fmla="*/ 625325 w 773748"/>
                    <a:gd name="connsiteY718" fmla="*/ 409181 h 1253758"/>
                    <a:gd name="connsiteX719" fmla="*/ 626187 w 773748"/>
                    <a:gd name="connsiteY719" fmla="*/ 410273 h 1253758"/>
                    <a:gd name="connsiteX720" fmla="*/ 627110 w 773748"/>
                    <a:gd name="connsiteY720" fmla="*/ 412471 h 1253758"/>
                    <a:gd name="connsiteX721" fmla="*/ 627316 w 773748"/>
                    <a:gd name="connsiteY721" fmla="*/ 413115 h 1253758"/>
                    <a:gd name="connsiteX722" fmla="*/ 626891 w 773748"/>
                    <a:gd name="connsiteY722" fmla="*/ 416636 h 1253758"/>
                    <a:gd name="connsiteX723" fmla="*/ 625058 w 773748"/>
                    <a:gd name="connsiteY723" fmla="*/ 418591 h 1253758"/>
                    <a:gd name="connsiteX724" fmla="*/ 622884 w 773748"/>
                    <a:gd name="connsiteY724" fmla="*/ 420024 h 1253758"/>
                    <a:gd name="connsiteX725" fmla="*/ 620213 w 773748"/>
                    <a:gd name="connsiteY725" fmla="*/ 420959 h 1253758"/>
                    <a:gd name="connsiteX726" fmla="*/ 617553 w 773748"/>
                    <a:gd name="connsiteY726" fmla="*/ 422514 h 1253758"/>
                    <a:gd name="connsiteX727" fmla="*/ 617092 w 773748"/>
                    <a:gd name="connsiteY727" fmla="*/ 423230 h 1253758"/>
                    <a:gd name="connsiteX728" fmla="*/ 616788 w 773748"/>
                    <a:gd name="connsiteY728" fmla="*/ 424128 h 1253758"/>
                    <a:gd name="connsiteX729" fmla="*/ 616145 w 773748"/>
                    <a:gd name="connsiteY729" fmla="*/ 430540 h 1253758"/>
                    <a:gd name="connsiteX730" fmla="*/ 616121 w 773748"/>
                    <a:gd name="connsiteY730" fmla="*/ 432167 h 1253758"/>
                    <a:gd name="connsiteX731" fmla="*/ 616193 w 773748"/>
                    <a:gd name="connsiteY731" fmla="*/ 432337 h 1253758"/>
                    <a:gd name="connsiteX732" fmla="*/ 617080 w 773748"/>
                    <a:gd name="connsiteY732" fmla="*/ 433491 h 1253758"/>
                    <a:gd name="connsiteX733" fmla="*/ 618258 w 773748"/>
                    <a:gd name="connsiteY733" fmla="*/ 434341 h 1253758"/>
                    <a:gd name="connsiteX734" fmla="*/ 623236 w 773748"/>
                    <a:gd name="connsiteY734" fmla="*/ 437109 h 1253758"/>
                    <a:gd name="connsiteX735" fmla="*/ 625082 w 773748"/>
                    <a:gd name="connsiteY735" fmla="*/ 438567 h 1253758"/>
                    <a:gd name="connsiteX736" fmla="*/ 626831 w 773748"/>
                    <a:gd name="connsiteY736" fmla="*/ 440655 h 1253758"/>
                    <a:gd name="connsiteX737" fmla="*/ 627122 w 773748"/>
                    <a:gd name="connsiteY737" fmla="*/ 442804 h 1253758"/>
                    <a:gd name="connsiteX738" fmla="*/ 626806 w 773748"/>
                    <a:gd name="connsiteY738" fmla="*/ 445464 h 1253758"/>
                    <a:gd name="connsiteX739" fmla="*/ 625082 w 773748"/>
                    <a:gd name="connsiteY739" fmla="*/ 450637 h 1253758"/>
                    <a:gd name="connsiteX740" fmla="*/ 624851 w 773748"/>
                    <a:gd name="connsiteY740" fmla="*/ 451936 h 1253758"/>
                    <a:gd name="connsiteX741" fmla="*/ 625786 w 773748"/>
                    <a:gd name="connsiteY741" fmla="*/ 454826 h 1253758"/>
                    <a:gd name="connsiteX742" fmla="*/ 626029 w 773748"/>
                    <a:gd name="connsiteY742" fmla="*/ 455773 h 1253758"/>
                    <a:gd name="connsiteX743" fmla="*/ 623746 w 773748"/>
                    <a:gd name="connsiteY743" fmla="*/ 461589 h 1253758"/>
                    <a:gd name="connsiteX744" fmla="*/ 621099 w 773748"/>
                    <a:gd name="connsiteY744" fmla="*/ 462549 h 1253758"/>
                    <a:gd name="connsiteX745" fmla="*/ 619885 w 773748"/>
                    <a:gd name="connsiteY745" fmla="*/ 462755 h 1253758"/>
                    <a:gd name="connsiteX746" fmla="*/ 617432 w 773748"/>
                    <a:gd name="connsiteY746" fmla="*/ 462634 h 1253758"/>
                    <a:gd name="connsiteX747" fmla="*/ 617310 w 773748"/>
                    <a:gd name="connsiteY747" fmla="*/ 464127 h 1253758"/>
                    <a:gd name="connsiteX748" fmla="*/ 616230 w 773748"/>
                    <a:gd name="connsiteY748" fmla="*/ 467904 h 1253758"/>
                    <a:gd name="connsiteX749" fmla="*/ 614603 w 773748"/>
                    <a:gd name="connsiteY749" fmla="*/ 469300 h 1253758"/>
                    <a:gd name="connsiteX750" fmla="*/ 612526 w 773748"/>
                    <a:gd name="connsiteY750" fmla="*/ 469871 h 1253758"/>
                    <a:gd name="connsiteX751" fmla="*/ 611494 w 773748"/>
                    <a:gd name="connsiteY751" fmla="*/ 469774 h 1253758"/>
                    <a:gd name="connsiteX752" fmla="*/ 609830 w 773748"/>
                    <a:gd name="connsiteY752" fmla="*/ 468997 h 1253758"/>
                    <a:gd name="connsiteX753" fmla="*/ 608725 w 773748"/>
                    <a:gd name="connsiteY753" fmla="*/ 467989 h 1253758"/>
                    <a:gd name="connsiteX754" fmla="*/ 607827 w 773748"/>
                    <a:gd name="connsiteY754" fmla="*/ 467345 h 1253758"/>
                    <a:gd name="connsiteX755" fmla="*/ 607390 w 773748"/>
                    <a:gd name="connsiteY755" fmla="*/ 467357 h 1253758"/>
                    <a:gd name="connsiteX756" fmla="*/ 607183 w 773748"/>
                    <a:gd name="connsiteY756" fmla="*/ 467588 h 1253758"/>
                    <a:gd name="connsiteX757" fmla="*/ 606807 w 773748"/>
                    <a:gd name="connsiteY757" fmla="*/ 468851 h 1253758"/>
                    <a:gd name="connsiteX758" fmla="*/ 606819 w 773748"/>
                    <a:gd name="connsiteY758" fmla="*/ 472834 h 1253758"/>
                    <a:gd name="connsiteX759" fmla="*/ 605945 w 773748"/>
                    <a:gd name="connsiteY759" fmla="*/ 476987 h 1253758"/>
                    <a:gd name="connsiteX760" fmla="*/ 602958 w 773748"/>
                    <a:gd name="connsiteY760" fmla="*/ 483411 h 1253758"/>
                    <a:gd name="connsiteX761" fmla="*/ 585520 w 773748"/>
                    <a:gd name="connsiteY761" fmla="*/ 511497 h 1253758"/>
                    <a:gd name="connsiteX762" fmla="*/ 584257 w 773748"/>
                    <a:gd name="connsiteY762" fmla="*/ 514035 h 1253758"/>
                    <a:gd name="connsiteX763" fmla="*/ 584185 w 773748"/>
                    <a:gd name="connsiteY763" fmla="*/ 515480 h 1253758"/>
                    <a:gd name="connsiteX764" fmla="*/ 582727 w 773748"/>
                    <a:gd name="connsiteY764" fmla="*/ 521806 h 1253758"/>
                    <a:gd name="connsiteX765" fmla="*/ 581197 w 773748"/>
                    <a:gd name="connsiteY765" fmla="*/ 526227 h 1253758"/>
                    <a:gd name="connsiteX766" fmla="*/ 581125 w 773748"/>
                    <a:gd name="connsiteY766" fmla="*/ 527756 h 1253758"/>
                    <a:gd name="connsiteX767" fmla="*/ 581319 w 773748"/>
                    <a:gd name="connsiteY767" fmla="*/ 532067 h 1253758"/>
                    <a:gd name="connsiteX768" fmla="*/ 581744 w 773748"/>
                    <a:gd name="connsiteY768" fmla="*/ 533439 h 1253758"/>
                    <a:gd name="connsiteX769" fmla="*/ 582387 w 773748"/>
                    <a:gd name="connsiteY769" fmla="*/ 534666 h 1253758"/>
                    <a:gd name="connsiteX770" fmla="*/ 583298 w 773748"/>
                    <a:gd name="connsiteY770" fmla="*/ 535686 h 1253758"/>
                    <a:gd name="connsiteX771" fmla="*/ 589345 w 773748"/>
                    <a:gd name="connsiteY771" fmla="*/ 541138 h 1253758"/>
                    <a:gd name="connsiteX772" fmla="*/ 590778 w 773748"/>
                    <a:gd name="connsiteY772" fmla="*/ 542886 h 1253758"/>
                    <a:gd name="connsiteX773" fmla="*/ 591956 w 773748"/>
                    <a:gd name="connsiteY773" fmla="*/ 545752 h 1253758"/>
                    <a:gd name="connsiteX774" fmla="*/ 592563 w 773748"/>
                    <a:gd name="connsiteY774" fmla="*/ 548545 h 1253758"/>
                    <a:gd name="connsiteX775" fmla="*/ 592806 w 773748"/>
                    <a:gd name="connsiteY775" fmla="*/ 552807 h 1253758"/>
                    <a:gd name="connsiteX776" fmla="*/ 592138 w 773748"/>
                    <a:gd name="connsiteY776" fmla="*/ 555952 h 1253758"/>
                    <a:gd name="connsiteX777" fmla="*/ 590608 w 773748"/>
                    <a:gd name="connsiteY777" fmla="*/ 558393 h 1253758"/>
                    <a:gd name="connsiteX778" fmla="*/ 590001 w 773748"/>
                    <a:gd name="connsiteY778" fmla="*/ 559219 h 1253758"/>
                    <a:gd name="connsiteX779" fmla="*/ 587293 w 773748"/>
                    <a:gd name="connsiteY779" fmla="*/ 560020 h 1253758"/>
                    <a:gd name="connsiteX780" fmla="*/ 584561 w 773748"/>
                    <a:gd name="connsiteY780" fmla="*/ 560130 h 1253758"/>
                    <a:gd name="connsiteX781" fmla="*/ 582473 w 773748"/>
                    <a:gd name="connsiteY781" fmla="*/ 559729 h 1253758"/>
                    <a:gd name="connsiteX782" fmla="*/ 580651 w 773748"/>
                    <a:gd name="connsiteY782" fmla="*/ 559170 h 1253758"/>
                    <a:gd name="connsiteX783" fmla="*/ 572212 w 773748"/>
                    <a:gd name="connsiteY783" fmla="*/ 555576 h 1253758"/>
                    <a:gd name="connsiteX784" fmla="*/ 570718 w 773748"/>
                    <a:gd name="connsiteY784" fmla="*/ 555661 h 1253758"/>
                    <a:gd name="connsiteX785" fmla="*/ 570050 w 773748"/>
                    <a:gd name="connsiteY785" fmla="*/ 556341 h 1253758"/>
                    <a:gd name="connsiteX786" fmla="*/ 569334 w 773748"/>
                    <a:gd name="connsiteY786" fmla="*/ 557531 h 1253758"/>
                    <a:gd name="connsiteX787" fmla="*/ 568472 w 773748"/>
                    <a:gd name="connsiteY787" fmla="*/ 559255 h 1253758"/>
                    <a:gd name="connsiteX788" fmla="*/ 567974 w 773748"/>
                    <a:gd name="connsiteY788" fmla="*/ 560652 h 1253758"/>
                    <a:gd name="connsiteX789" fmla="*/ 567731 w 773748"/>
                    <a:gd name="connsiteY789" fmla="*/ 561744 h 1253758"/>
                    <a:gd name="connsiteX790" fmla="*/ 568277 w 773748"/>
                    <a:gd name="connsiteY790" fmla="*/ 562437 h 1253758"/>
                    <a:gd name="connsiteX791" fmla="*/ 568496 w 773748"/>
                    <a:gd name="connsiteY791" fmla="*/ 562922 h 1253758"/>
                    <a:gd name="connsiteX792" fmla="*/ 568545 w 773748"/>
                    <a:gd name="connsiteY792" fmla="*/ 563457 h 1253758"/>
                    <a:gd name="connsiteX793" fmla="*/ 568532 w 773748"/>
                    <a:gd name="connsiteY793" fmla="*/ 565084 h 1253758"/>
                    <a:gd name="connsiteX794" fmla="*/ 567925 w 773748"/>
                    <a:gd name="connsiteY794" fmla="*/ 567537 h 1253758"/>
                    <a:gd name="connsiteX795" fmla="*/ 563250 w 773748"/>
                    <a:gd name="connsiteY795" fmla="*/ 573693 h 1253758"/>
                    <a:gd name="connsiteX796" fmla="*/ 562133 w 773748"/>
                    <a:gd name="connsiteY796" fmla="*/ 575685 h 1253758"/>
                    <a:gd name="connsiteX797" fmla="*/ 556960 w 773748"/>
                    <a:gd name="connsiteY797" fmla="*/ 590329 h 1253758"/>
                    <a:gd name="connsiteX798" fmla="*/ 554398 w 773748"/>
                    <a:gd name="connsiteY798" fmla="*/ 594591 h 1253758"/>
                    <a:gd name="connsiteX799" fmla="*/ 551799 w 773748"/>
                    <a:gd name="connsiteY799" fmla="*/ 597651 h 1253758"/>
                    <a:gd name="connsiteX800" fmla="*/ 548217 w 773748"/>
                    <a:gd name="connsiteY800" fmla="*/ 600748 h 1253758"/>
                    <a:gd name="connsiteX801" fmla="*/ 545024 w 773748"/>
                    <a:gd name="connsiteY801" fmla="*/ 602253 h 1253758"/>
                    <a:gd name="connsiteX802" fmla="*/ 541733 w 773748"/>
                    <a:gd name="connsiteY802" fmla="*/ 602994 h 1253758"/>
                    <a:gd name="connsiteX803" fmla="*/ 531763 w 773748"/>
                    <a:gd name="connsiteY803" fmla="*/ 603686 h 1253758"/>
                    <a:gd name="connsiteX804" fmla="*/ 529116 w 773748"/>
                    <a:gd name="connsiteY804" fmla="*/ 603152 h 1253758"/>
                    <a:gd name="connsiteX805" fmla="*/ 527125 w 773748"/>
                    <a:gd name="connsiteY805" fmla="*/ 602095 h 1253758"/>
                    <a:gd name="connsiteX806" fmla="*/ 523688 w 773748"/>
                    <a:gd name="connsiteY806" fmla="*/ 598574 h 1253758"/>
                    <a:gd name="connsiteX807" fmla="*/ 522559 w 773748"/>
                    <a:gd name="connsiteY807" fmla="*/ 597918 h 1253758"/>
                    <a:gd name="connsiteX808" fmla="*/ 521454 w 773748"/>
                    <a:gd name="connsiteY808" fmla="*/ 597554 h 1253758"/>
                    <a:gd name="connsiteX809" fmla="*/ 519730 w 773748"/>
                    <a:gd name="connsiteY809" fmla="*/ 597153 h 1253758"/>
                    <a:gd name="connsiteX810" fmla="*/ 517532 w 773748"/>
                    <a:gd name="connsiteY810" fmla="*/ 596376 h 1253758"/>
                    <a:gd name="connsiteX811" fmla="*/ 515516 w 773748"/>
                    <a:gd name="connsiteY811" fmla="*/ 595138 h 1253758"/>
                    <a:gd name="connsiteX812" fmla="*/ 514035 w 773748"/>
                    <a:gd name="connsiteY812" fmla="*/ 593765 h 1253758"/>
                    <a:gd name="connsiteX813" fmla="*/ 512529 w 773748"/>
                    <a:gd name="connsiteY813" fmla="*/ 592005 h 1253758"/>
                    <a:gd name="connsiteX814" fmla="*/ 510938 w 773748"/>
                    <a:gd name="connsiteY814" fmla="*/ 591131 h 1253758"/>
                    <a:gd name="connsiteX815" fmla="*/ 509651 w 773748"/>
                    <a:gd name="connsiteY815" fmla="*/ 591094 h 1253758"/>
                    <a:gd name="connsiteX816" fmla="*/ 491449 w 773748"/>
                    <a:gd name="connsiteY816" fmla="*/ 594360 h 1253758"/>
                    <a:gd name="connsiteX817" fmla="*/ 487332 w 773748"/>
                    <a:gd name="connsiteY817" fmla="*/ 594555 h 1253758"/>
                    <a:gd name="connsiteX818" fmla="*/ 484127 w 773748"/>
                    <a:gd name="connsiteY818" fmla="*/ 595162 h 1253758"/>
                    <a:gd name="connsiteX819" fmla="*/ 482318 w 773748"/>
                    <a:gd name="connsiteY819" fmla="*/ 595805 h 1253758"/>
                    <a:gd name="connsiteX820" fmla="*/ 480411 w 773748"/>
                    <a:gd name="connsiteY820" fmla="*/ 596910 h 1253758"/>
                    <a:gd name="connsiteX821" fmla="*/ 478626 w 773748"/>
                    <a:gd name="connsiteY821" fmla="*/ 597578 h 1253758"/>
                    <a:gd name="connsiteX822" fmla="*/ 475335 w 773748"/>
                    <a:gd name="connsiteY822" fmla="*/ 597736 h 1253758"/>
                    <a:gd name="connsiteX823" fmla="*/ 473307 w 773748"/>
                    <a:gd name="connsiteY823" fmla="*/ 596680 h 1253758"/>
                    <a:gd name="connsiteX824" fmla="*/ 471486 w 773748"/>
                    <a:gd name="connsiteY824" fmla="*/ 595040 h 1253758"/>
                    <a:gd name="connsiteX825" fmla="*/ 470757 w 773748"/>
                    <a:gd name="connsiteY825" fmla="*/ 594834 h 1253758"/>
                    <a:gd name="connsiteX826" fmla="*/ 469810 w 773748"/>
                    <a:gd name="connsiteY826" fmla="*/ 594700 h 1253758"/>
                    <a:gd name="connsiteX827" fmla="*/ 454826 w 773748"/>
                    <a:gd name="connsiteY827" fmla="*/ 595660 h 1253758"/>
                    <a:gd name="connsiteX828" fmla="*/ 453138 w 773748"/>
                    <a:gd name="connsiteY828" fmla="*/ 596243 h 1253758"/>
                    <a:gd name="connsiteX829" fmla="*/ 453806 w 773748"/>
                    <a:gd name="connsiteY829" fmla="*/ 598671 h 1253758"/>
                    <a:gd name="connsiteX830" fmla="*/ 453089 w 773748"/>
                    <a:gd name="connsiteY830" fmla="*/ 603807 h 1253758"/>
                    <a:gd name="connsiteX831" fmla="*/ 449519 w 773748"/>
                    <a:gd name="connsiteY831" fmla="*/ 608980 h 1253758"/>
                    <a:gd name="connsiteX832" fmla="*/ 446034 w 773748"/>
                    <a:gd name="connsiteY832" fmla="*/ 619375 h 1253758"/>
                    <a:gd name="connsiteX833" fmla="*/ 437376 w 773748"/>
                    <a:gd name="connsiteY833" fmla="*/ 633606 h 1253758"/>
                    <a:gd name="connsiteX834" fmla="*/ 434402 w 773748"/>
                    <a:gd name="connsiteY834" fmla="*/ 637019 h 1253758"/>
                    <a:gd name="connsiteX835" fmla="*/ 431281 w 773748"/>
                    <a:gd name="connsiteY835" fmla="*/ 639168 h 1253758"/>
                    <a:gd name="connsiteX836" fmla="*/ 428621 w 773748"/>
                    <a:gd name="connsiteY836" fmla="*/ 639411 h 1253758"/>
                    <a:gd name="connsiteX837" fmla="*/ 427796 w 773748"/>
                    <a:gd name="connsiteY837" fmla="*/ 640431 h 1253758"/>
                    <a:gd name="connsiteX838" fmla="*/ 425051 w 773748"/>
                    <a:gd name="connsiteY838" fmla="*/ 643357 h 1253758"/>
                    <a:gd name="connsiteX839" fmla="*/ 423339 w 773748"/>
                    <a:gd name="connsiteY839" fmla="*/ 645931 h 1253758"/>
                    <a:gd name="connsiteX840" fmla="*/ 420716 w 773748"/>
                    <a:gd name="connsiteY840" fmla="*/ 650619 h 1253758"/>
                    <a:gd name="connsiteX841" fmla="*/ 418518 w 773748"/>
                    <a:gd name="connsiteY841" fmla="*/ 653363 h 1253758"/>
                    <a:gd name="connsiteX842" fmla="*/ 416478 w 773748"/>
                    <a:gd name="connsiteY842" fmla="*/ 655306 h 1253758"/>
                    <a:gd name="connsiteX843" fmla="*/ 412884 w 773748"/>
                    <a:gd name="connsiteY843" fmla="*/ 657249 h 1253758"/>
                    <a:gd name="connsiteX844" fmla="*/ 409642 w 773748"/>
                    <a:gd name="connsiteY844" fmla="*/ 658378 h 1253758"/>
                    <a:gd name="connsiteX845" fmla="*/ 407043 w 773748"/>
                    <a:gd name="connsiteY845" fmla="*/ 658742 h 1253758"/>
                    <a:gd name="connsiteX846" fmla="*/ 405683 w 773748"/>
                    <a:gd name="connsiteY846" fmla="*/ 658330 h 1253758"/>
                    <a:gd name="connsiteX847" fmla="*/ 404214 w 773748"/>
                    <a:gd name="connsiteY847" fmla="*/ 657455 h 1253758"/>
                    <a:gd name="connsiteX848" fmla="*/ 403838 w 773748"/>
                    <a:gd name="connsiteY848" fmla="*/ 657067 h 1253758"/>
                    <a:gd name="connsiteX849" fmla="*/ 403000 w 773748"/>
                    <a:gd name="connsiteY849" fmla="*/ 655913 h 1253758"/>
                    <a:gd name="connsiteX850" fmla="*/ 402757 w 773748"/>
                    <a:gd name="connsiteY850" fmla="*/ 655330 h 1253758"/>
                    <a:gd name="connsiteX851" fmla="*/ 402283 w 773748"/>
                    <a:gd name="connsiteY851" fmla="*/ 653642 h 1253758"/>
                    <a:gd name="connsiteX852" fmla="*/ 402308 w 773748"/>
                    <a:gd name="connsiteY852" fmla="*/ 652221 h 1253758"/>
                    <a:gd name="connsiteX853" fmla="*/ 402611 w 773748"/>
                    <a:gd name="connsiteY853" fmla="*/ 649866 h 1253758"/>
                    <a:gd name="connsiteX854" fmla="*/ 402138 w 773748"/>
                    <a:gd name="connsiteY854" fmla="*/ 650303 h 1253758"/>
                    <a:gd name="connsiteX855" fmla="*/ 397062 w 773748"/>
                    <a:gd name="connsiteY855" fmla="*/ 649089 h 1253758"/>
                    <a:gd name="connsiteX856" fmla="*/ 396430 w 773748"/>
                    <a:gd name="connsiteY856" fmla="*/ 649429 h 1253758"/>
                    <a:gd name="connsiteX857" fmla="*/ 396139 w 773748"/>
                    <a:gd name="connsiteY857" fmla="*/ 648433 h 1253758"/>
                    <a:gd name="connsiteX858" fmla="*/ 394245 w 773748"/>
                    <a:gd name="connsiteY858" fmla="*/ 648105 h 1253758"/>
                    <a:gd name="connsiteX859" fmla="*/ 396467 w 773748"/>
                    <a:gd name="connsiteY859" fmla="*/ 650497 h 1253758"/>
                    <a:gd name="connsiteX860" fmla="*/ 396953 w 773748"/>
                    <a:gd name="connsiteY860" fmla="*/ 672427 h 1253758"/>
                    <a:gd name="connsiteX861" fmla="*/ 397329 w 773748"/>
                    <a:gd name="connsiteY861" fmla="*/ 673897 h 1253758"/>
                    <a:gd name="connsiteX862" fmla="*/ 397936 w 773748"/>
                    <a:gd name="connsiteY862" fmla="*/ 675694 h 1253758"/>
                    <a:gd name="connsiteX863" fmla="*/ 399697 w 773748"/>
                    <a:gd name="connsiteY863" fmla="*/ 679434 h 1253758"/>
                    <a:gd name="connsiteX864" fmla="*/ 400523 w 773748"/>
                    <a:gd name="connsiteY864" fmla="*/ 681959 h 1253758"/>
                    <a:gd name="connsiteX865" fmla="*/ 401166 w 773748"/>
                    <a:gd name="connsiteY865" fmla="*/ 684619 h 1253758"/>
                    <a:gd name="connsiteX866" fmla="*/ 401348 w 773748"/>
                    <a:gd name="connsiteY866" fmla="*/ 687727 h 1253758"/>
                    <a:gd name="connsiteX867" fmla="*/ 401106 w 773748"/>
                    <a:gd name="connsiteY867" fmla="*/ 690545 h 1253758"/>
                    <a:gd name="connsiteX868" fmla="*/ 400389 w 773748"/>
                    <a:gd name="connsiteY868" fmla="*/ 694273 h 1253758"/>
                    <a:gd name="connsiteX869" fmla="*/ 399235 w 773748"/>
                    <a:gd name="connsiteY869" fmla="*/ 697624 h 1253758"/>
                    <a:gd name="connsiteX870" fmla="*/ 396115 w 773748"/>
                    <a:gd name="connsiteY870" fmla="*/ 710653 h 1253758"/>
                    <a:gd name="connsiteX871" fmla="*/ 396188 w 773748"/>
                    <a:gd name="connsiteY871" fmla="*/ 712669 h 1253758"/>
                    <a:gd name="connsiteX872" fmla="*/ 396734 w 773748"/>
                    <a:gd name="connsiteY872" fmla="*/ 714502 h 1253758"/>
                    <a:gd name="connsiteX873" fmla="*/ 397973 w 773748"/>
                    <a:gd name="connsiteY873" fmla="*/ 716870 h 1253758"/>
                    <a:gd name="connsiteX874" fmla="*/ 399600 w 773748"/>
                    <a:gd name="connsiteY874" fmla="*/ 716603 h 1253758"/>
                    <a:gd name="connsiteX875" fmla="*/ 400826 w 773748"/>
                    <a:gd name="connsiteY875" fmla="*/ 716749 h 1253758"/>
                    <a:gd name="connsiteX876" fmla="*/ 402295 w 773748"/>
                    <a:gd name="connsiteY876" fmla="*/ 717794 h 1253758"/>
                    <a:gd name="connsiteX877" fmla="*/ 403643 w 773748"/>
                    <a:gd name="connsiteY877" fmla="*/ 719469 h 1253758"/>
                    <a:gd name="connsiteX878" fmla="*/ 403777 w 773748"/>
                    <a:gd name="connsiteY878" fmla="*/ 720210 h 1253758"/>
                    <a:gd name="connsiteX879" fmla="*/ 404105 w 773748"/>
                    <a:gd name="connsiteY879" fmla="*/ 723865 h 1253758"/>
                    <a:gd name="connsiteX880" fmla="*/ 404773 w 773748"/>
                    <a:gd name="connsiteY880" fmla="*/ 726354 h 1253758"/>
                    <a:gd name="connsiteX881" fmla="*/ 405416 w 773748"/>
                    <a:gd name="connsiteY881" fmla="*/ 725954 h 1253758"/>
                    <a:gd name="connsiteX882" fmla="*/ 408719 w 773748"/>
                    <a:gd name="connsiteY882" fmla="*/ 724557 h 1253758"/>
                    <a:gd name="connsiteX883" fmla="*/ 410638 w 773748"/>
                    <a:gd name="connsiteY883" fmla="*/ 727593 h 1253758"/>
                    <a:gd name="connsiteX884" fmla="*/ 411148 w 773748"/>
                    <a:gd name="connsiteY884" fmla="*/ 729718 h 1253758"/>
                    <a:gd name="connsiteX885" fmla="*/ 411524 w 773748"/>
                    <a:gd name="connsiteY885" fmla="*/ 734842 h 1253758"/>
                    <a:gd name="connsiteX886" fmla="*/ 409557 w 773748"/>
                    <a:gd name="connsiteY886" fmla="*/ 751539 h 1253758"/>
                    <a:gd name="connsiteX887" fmla="*/ 409581 w 773748"/>
                    <a:gd name="connsiteY887" fmla="*/ 754817 h 1253758"/>
                    <a:gd name="connsiteX888" fmla="*/ 409873 w 773748"/>
                    <a:gd name="connsiteY888" fmla="*/ 754939 h 1253758"/>
                    <a:gd name="connsiteX889" fmla="*/ 410371 w 773748"/>
                    <a:gd name="connsiteY889" fmla="*/ 755473 h 1253758"/>
                    <a:gd name="connsiteX890" fmla="*/ 411415 w 773748"/>
                    <a:gd name="connsiteY890" fmla="*/ 757489 h 1253758"/>
                    <a:gd name="connsiteX891" fmla="*/ 412362 w 773748"/>
                    <a:gd name="connsiteY891" fmla="*/ 760306 h 1253758"/>
                    <a:gd name="connsiteX892" fmla="*/ 412666 w 773748"/>
                    <a:gd name="connsiteY892" fmla="*/ 771453 h 1253758"/>
                    <a:gd name="connsiteX893" fmla="*/ 414062 w 773748"/>
                    <a:gd name="connsiteY893" fmla="*/ 779309 h 1253758"/>
                    <a:gd name="connsiteX894" fmla="*/ 414111 w 773748"/>
                    <a:gd name="connsiteY894" fmla="*/ 784713 h 1253758"/>
                    <a:gd name="connsiteX895" fmla="*/ 413686 w 773748"/>
                    <a:gd name="connsiteY895" fmla="*/ 787992 h 1253758"/>
                    <a:gd name="connsiteX896" fmla="*/ 409788 w 773748"/>
                    <a:gd name="connsiteY896" fmla="*/ 801288 h 1253758"/>
                    <a:gd name="connsiteX897" fmla="*/ 409739 w 773748"/>
                    <a:gd name="connsiteY897" fmla="*/ 803328 h 1253758"/>
                    <a:gd name="connsiteX898" fmla="*/ 417717 w 773748"/>
                    <a:gd name="connsiteY898" fmla="*/ 806910 h 1253758"/>
                    <a:gd name="connsiteX899" fmla="*/ 419454 w 773748"/>
                    <a:gd name="connsiteY899" fmla="*/ 808113 h 1253758"/>
                    <a:gd name="connsiteX900" fmla="*/ 422683 w 773748"/>
                    <a:gd name="connsiteY900" fmla="*/ 811148 h 1253758"/>
                    <a:gd name="connsiteX901" fmla="*/ 425234 w 773748"/>
                    <a:gd name="connsiteY901" fmla="*/ 811342 h 1253758"/>
                    <a:gd name="connsiteX902" fmla="*/ 432349 w 773748"/>
                    <a:gd name="connsiteY902" fmla="*/ 810820 h 1253758"/>
                    <a:gd name="connsiteX903" fmla="*/ 434195 w 773748"/>
                    <a:gd name="connsiteY903" fmla="*/ 810917 h 1253758"/>
                    <a:gd name="connsiteX904" fmla="*/ 436150 w 773748"/>
                    <a:gd name="connsiteY904" fmla="*/ 811306 h 1253758"/>
                    <a:gd name="connsiteX905" fmla="*/ 438081 w 773748"/>
                    <a:gd name="connsiteY905" fmla="*/ 812156 h 1253758"/>
                    <a:gd name="connsiteX906" fmla="*/ 439732 w 773748"/>
                    <a:gd name="connsiteY906" fmla="*/ 813395 h 1253758"/>
                    <a:gd name="connsiteX907" fmla="*/ 442416 w 773748"/>
                    <a:gd name="connsiteY907" fmla="*/ 816722 h 1253758"/>
                    <a:gd name="connsiteX908" fmla="*/ 441614 w 773748"/>
                    <a:gd name="connsiteY908" fmla="*/ 820025 h 1253758"/>
                    <a:gd name="connsiteX909" fmla="*/ 443618 w 773748"/>
                    <a:gd name="connsiteY909" fmla="*/ 818106 h 1253758"/>
                    <a:gd name="connsiteX910" fmla="*/ 443594 w 773748"/>
                    <a:gd name="connsiteY910" fmla="*/ 817924 h 1253758"/>
                    <a:gd name="connsiteX911" fmla="*/ 443836 w 773748"/>
                    <a:gd name="connsiteY911" fmla="*/ 817888 h 1253758"/>
                    <a:gd name="connsiteX912" fmla="*/ 443946 w 773748"/>
                    <a:gd name="connsiteY912" fmla="*/ 817778 h 1253758"/>
                    <a:gd name="connsiteX913" fmla="*/ 444189 w 773748"/>
                    <a:gd name="connsiteY913" fmla="*/ 817851 h 1253758"/>
                    <a:gd name="connsiteX914" fmla="*/ 444917 w 773748"/>
                    <a:gd name="connsiteY914" fmla="*/ 817754 h 1253758"/>
                    <a:gd name="connsiteX915" fmla="*/ 445767 w 773748"/>
                    <a:gd name="connsiteY915" fmla="*/ 817341 h 1253758"/>
                    <a:gd name="connsiteX916" fmla="*/ 447419 w 773748"/>
                    <a:gd name="connsiteY916" fmla="*/ 816163 h 1253758"/>
                    <a:gd name="connsiteX917" fmla="*/ 449058 w 773748"/>
                    <a:gd name="connsiteY917" fmla="*/ 815180 h 1253758"/>
                    <a:gd name="connsiteX918" fmla="*/ 450588 w 773748"/>
                    <a:gd name="connsiteY918" fmla="*/ 814767 h 1253758"/>
                    <a:gd name="connsiteX919" fmla="*/ 451936 w 773748"/>
                    <a:gd name="connsiteY919" fmla="*/ 814609 h 1253758"/>
                    <a:gd name="connsiteX920" fmla="*/ 454170 w 773748"/>
                    <a:gd name="connsiteY920" fmla="*/ 814633 h 1253758"/>
                    <a:gd name="connsiteX921" fmla="*/ 458991 w 773748"/>
                    <a:gd name="connsiteY921" fmla="*/ 815168 h 1253758"/>
                    <a:gd name="connsiteX922" fmla="*/ 461395 w 773748"/>
                    <a:gd name="connsiteY922" fmla="*/ 815787 h 1253758"/>
                    <a:gd name="connsiteX923" fmla="*/ 462464 w 773748"/>
                    <a:gd name="connsiteY923" fmla="*/ 817220 h 1253758"/>
                    <a:gd name="connsiteX924" fmla="*/ 463702 w 773748"/>
                    <a:gd name="connsiteY924" fmla="*/ 821846 h 1253758"/>
                    <a:gd name="connsiteX925" fmla="*/ 463836 w 773748"/>
                    <a:gd name="connsiteY925" fmla="*/ 824627 h 1253758"/>
                    <a:gd name="connsiteX926" fmla="*/ 463472 w 773748"/>
                    <a:gd name="connsiteY926" fmla="*/ 827796 h 1253758"/>
                    <a:gd name="connsiteX927" fmla="*/ 460861 w 773748"/>
                    <a:gd name="connsiteY927" fmla="*/ 837741 h 1253758"/>
                    <a:gd name="connsiteX928" fmla="*/ 460776 w 773748"/>
                    <a:gd name="connsiteY928" fmla="*/ 839283 h 1253758"/>
                    <a:gd name="connsiteX929" fmla="*/ 460946 w 773748"/>
                    <a:gd name="connsiteY929" fmla="*/ 840206 h 1253758"/>
                    <a:gd name="connsiteX930" fmla="*/ 464382 w 773748"/>
                    <a:gd name="connsiteY930" fmla="*/ 843121 h 1253758"/>
                    <a:gd name="connsiteX931" fmla="*/ 465803 w 773748"/>
                    <a:gd name="connsiteY931" fmla="*/ 845306 h 1253758"/>
                    <a:gd name="connsiteX932" fmla="*/ 466289 w 773748"/>
                    <a:gd name="connsiteY932" fmla="*/ 846156 h 1253758"/>
                    <a:gd name="connsiteX933" fmla="*/ 466094 w 773748"/>
                    <a:gd name="connsiteY933" fmla="*/ 847954 h 1253758"/>
                    <a:gd name="connsiteX934" fmla="*/ 465487 w 773748"/>
                    <a:gd name="connsiteY934" fmla="*/ 849775 h 1253758"/>
                    <a:gd name="connsiteX935" fmla="*/ 464564 w 773748"/>
                    <a:gd name="connsiteY935" fmla="*/ 851026 h 1253758"/>
                    <a:gd name="connsiteX936" fmla="*/ 461152 w 773748"/>
                    <a:gd name="connsiteY936" fmla="*/ 854256 h 1253758"/>
                    <a:gd name="connsiteX937" fmla="*/ 459064 w 773748"/>
                    <a:gd name="connsiteY937" fmla="*/ 855713 h 1253758"/>
                    <a:gd name="connsiteX938" fmla="*/ 454231 w 773748"/>
                    <a:gd name="connsiteY938" fmla="*/ 857449 h 1253758"/>
                    <a:gd name="connsiteX939" fmla="*/ 452567 w 773748"/>
                    <a:gd name="connsiteY939" fmla="*/ 858214 h 1253758"/>
                    <a:gd name="connsiteX940" fmla="*/ 450758 w 773748"/>
                    <a:gd name="connsiteY940" fmla="*/ 859259 h 1253758"/>
                    <a:gd name="connsiteX941" fmla="*/ 444019 w 773748"/>
                    <a:gd name="connsiteY941" fmla="*/ 864905 h 1253758"/>
                    <a:gd name="connsiteX942" fmla="*/ 441578 w 773748"/>
                    <a:gd name="connsiteY942" fmla="*/ 866629 h 1253758"/>
                    <a:gd name="connsiteX943" fmla="*/ 435203 w 773748"/>
                    <a:gd name="connsiteY943" fmla="*/ 867042 h 1253758"/>
                    <a:gd name="connsiteX944" fmla="*/ 434402 w 773748"/>
                    <a:gd name="connsiteY944" fmla="*/ 864929 h 1253758"/>
                    <a:gd name="connsiteX945" fmla="*/ 433855 w 773748"/>
                    <a:gd name="connsiteY945" fmla="*/ 862148 h 1253758"/>
                    <a:gd name="connsiteX946" fmla="*/ 434013 w 773748"/>
                    <a:gd name="connsiteY946" fmla="*/ 860764 h 1253758"/>
                    <a:gd name="connsiteX947" fmla="*/ 434049 w 773748"/>
                    <a:gd name="connsiteY947" fmla="*/ 859319 h 1253758"/>
                    <a:gd name="connsiteX948" fmla="*/ 433722 w 773748"/>
                    <a:gd name="connsiteY948" fmla="*/ 857036 h 1253758"/>
                    <a:gd name="connsiteX949" fmla="*/ 433770 w 773748"/>
                    <a:gd name="connsiteY949" fmla="*/ 854644 h 1253758"/>
                    <a:gd name="connsiteX950" fmla="*/ 434219 w 773748"/>
                    <a:gd name="connsiteY950" fmla="*/ 852179 h 1253758"/>
                    <a:gd name="connsiteX951" fmla="*/ 434584 w 773748"/>
                    <a:gd name="connsiteY951" fmla="*/ 850989 h 1253758"/>
                    <a:gd name="connsiteX952" fmla="*/ 427917 w 773748"/>
                    <a:gd name="connsiteY952" fmla="*/ 850843 h 1253758"/>
                    <a:gd name="connsiteX953" fmla="*/ 424760 w 773748"/>
                    <a:gd name="connsiteY953" fmla="*/ 849872 h 1253758"/>
                    <a:gd name="connsiteX954" fmla="*/ 419538 w 773748"/>
                    <a:gd name="connsiteY954" fmla="*/ 847055 h 1253758"/>
                    <a:gd name="connsiteX955" fmla="*/ 417547 w 773748"/>
                    <a:gd name="connsiteY955" fmla="*/ 846351 h 1253758"/>
                    <a:gd name="connsiteX956" fmla="*/ 400413 w 773748"/>
                    <a:gd name="connsiteY956" fmla="*/ 843874 h 1253758"/>
                    <a:gd name="connsiteX957" fmla="*/ 398993 w 773748"/>
                    <a:gd name="connsiteY957" fmla="*/ 844019 h 1253758"/>
                    <a:gd name="connsiteX958" fmla="*/ 397548 w 773748"/>
                    <a:gd name="connsiteY958" fmla="*/ 844262 h 1253758"/>
                    <a:gd name="connsiteX959" fmla="*/ 396054 w 773748"/>
                    <a:gd name="connsiteY959" fmla="*/ 845258 h 1253758"/>
                    <a:gd name="connsiteX960" fmla="*/ 395483 w 773748"/>
                    <a:gd name="connsiteY960" fmla="*/ 845877 h 1253758"/>
                    <a:gd name="connsiteX961" fmla="*/ 394439 w 773748"/>
                    <a:gd name="connsiteY961" fmla="*/ 847492 h 1253758"/>
                    <a:gd name="connsiteX962" fmla="*/ 391950 w 773748"/>
                    <a:gd name="connsiteY962" fmla="*/ 852361 h 1253758"/>
                    <a:gd name="connsiteX963" fmla="*/ 390092 w 773748"/>
                    <a:gd name="connsiteY963" fmla="*/ 855093 h 1253758"/>
                    <a:gd name="connsiteX964" fmla="*/ 386388 w 773748"/>
                    <a:gd name="connsiteY964" fmla="*/ 856369 h 1253758"/>
                    <a:gd name="connsiteX965" fmla="*/ 383280 w 773748"/>
                    <a:gd name="connsiteY965" fmla="*/ 854936 h 1253758"/>
                    <a:gd name="connsiteX966" fmla="*/ 381385 w 773748"/>
                    <a:gd name="connsiteY966" fmla="*/ 852422 h 1253758"/>
                    <a:gd name="connsiteX967" fmla="*/ 369461 w 773748"/>
                    <a:gd name="connsiteY967" fmla="*/ 828015 h 1253758"/>
                    <a:gd name="connsiteX968" fmla="*/ 367724 w 773748"/>
                    <a:gd name="connsiteY968" fmla="*/ 825671 h 1253758"/>
                    <a:gd name="connsiteX969" fmla="*/ 367409 w 773748"/>
                    <a:gd name="connsiteY969" fmla="*/ 825562 h 1253758"/>
                    <a:gd name="connsiteX970" fmla="*/ 363790 w 773748"/>
                    <a:gd name="connsiteY970" fmla="*/ 826157 h 1253758"/>
                    <a:gd name="connsiteX971" fmla="*/ 361301 w 773748"/>
                    <a:gd name="connsiteY971" fmla="*/ 826133 h 1253758"/>
                    <a:gd name="connsiteX972" fmla="*/ 358690 w 773748"/>
                    <a:gd name="connsiteY972" fmla="*/ 825283 h 1253758"/>
                    <a:gd name="connsiteX973" fmla="*/ 357027 w 773748"/>
                    <a:gd name="connsiteY973" fmla="*/ 823923 h 1253758"/>
                    <a:gd name="connsiteX974" fmla="*/ 355885 w 773748"/>
                    <a:gd name="connsiteY974" fmla="*/ 821421 h 1253758"/>
                    <a:gd name="connsiteX975" fmla="*/ 358484 w 773748"/>
                    <a:gd name="connsiteY975" fmla="*/ 819442 h 1253758"/>
                    <a:gd name="connsiteX976" fmla="*/ 355327 w 773748"/>
                    <a:gd name="connsiteY976" fmla="*/ 819806 h 1253758"/>
                    <a:gd name="connsiteX977" fmla="*/ 353724 w 773748"/>
                    <a:gd name="connsiteY977" fmla="*/ 818337 h 1253758"/>
                    <a:gd name="connsiteX978" fmla="*/ 351344 w 773748"/>
                    <a:gd name="connsiteY978" fmla="*/ 816612 h 1253758"/>
                    <a:gd name="connsiteX979" fmla="*/ 345309 w 773748"/>
                    <a:gd name="connsiteY979" fmla="*/ 810942 h 1253758"/>
                    <a:gd name="connsiteX980" fmla="*/ 344544 w 773748"/>
                    <a:gd name="connsiteY980" fmla="*/ 810395 h 1253758"/>
                    <a:gd name="connsiteX981" fmla="*/ 344580 w 773748"/>
                    <a:gd name="connsiteY981" fmla="*/ 807335 h 1253758"/>
                    <a:gd name="connsiteX982" fmla="*/ 343767 w 773748"/>
                    <a:gd name="connsiteY982" fmla="*/ 808963 h 1253758"/>
                    <a:gd name="connsiteX983" fmla="*/ 344447 w 773748"/>
                    <a:gd name="connsiteY983" fmla="*/ 809873 h 1253758"/>
                    <a:gd name="connsiteX984" fmla="*/ 343317 w 773748"/>
                    <a:gd name="connsiteY984" fmla="*/ 811100 h 1253758"/>
                    <a:gd name="connsiteX985" fmla="*/ 342844 w 773748"/>
                    <a:gd name="connsiteY985" fmla="*/ 811950 h 1253758"/>
                    <a:gd name="connsiteX986" fmla="*/ 341459 w 773748"/>
                    <a:gd name="connsiteY986" fmla="*/ 815265 h 1253758"/>
                    <a:gd name="connsiteX987" fmla="*/ 340512 w 773748"/>
                    <a:gd name="connsiteY987" fmla="*/ 816807 h 1253758"/>
                    <a:gd name="connsiteX988" fmla="*/ 338582 w 773748"/>
                    <a:gd name="connsiteY988" fmla="*/ 818397 h 1253758"/>
                    <a:gd name="connsiteX989" fmla="*/ 336432 w 773748"/>
                    <a:gd name="connsiteY989" fmla="*/ 819223 h 1253758"/>
                    <a:gd name="connsiteX990" fmla="*/ 333469 w 773748"/>
                    <a:gd name="connsiteY990" fmla="*/ 819381 h 1253758"/>
                    <a:gd name="connsiteX991" fmla="*/ 332231 w 773748"/>
                    <a:gd name="connsiteY991" fmla="*/ 819393 h 1253758"/>
                    <a:gd name="connsiteX992" fmla="*/ 329584 w 773748"/>
                    <a:gd name="connsiteY992" fmla="*/ 816831 h 1253758"/>
                    <a:gd name="connsiteX993" fmla="*/ 329183 w 773748"/>
                    <a:gd name="connsiteY993" fmla="*/ 814645 h 1253758"/>
                    <a:gd name="connsiteX994" fmla="*/ 329268 w 773748"/>
                    <a:gd name="connsiteY994" fmla="*/ 812593 h 1253758"/>
                    <a:gd name="connsiteX995" fmla="*/ 329049 w 773748"/>
                    <a:gd name="connsiteY995" fmla="*/ 812375 h 1253758"/>
                    <a:gd name="connsiteX996" fmla="*/ 328406 w 773748"/>
                    <a:gd name="connsiteY996" fmla="*/ 811379 h 1253758"/>
                    <a:gd name="connsiteX997" fmla="*/ 319675 w 773748"/>
                    <a:gd name="connsiteY997" fmla="*/ 801580 h 1253758"/>
                    <a:gd name="connsiteX998" fmla="*/ 319189 w 773748"/>
                    <a:gd name="connsiteY998" fmla="*/ 801252 h 1253758"/>
                    <a:gd name="connsiteX999" fmla="*/ 317999 w 773748"/>
                    <a:gd name="connsiteY999" fmla="*/ 802005 h 1253758"/>
                    <a:gd name="connsiteX1000" fmla="*/ 312426 w 773748"/>
                    <a:gd name="connsiteY1000" fmla="*/ 808550 h 1253758"/>
                    <a:gd name="connsiteX1001" fmla="*/ 308188 w 773748"/>
                    <a:gd name="connsiteY1001" fmla="*/ 811258 h 1253758"/>
                    <a:gd name="connsiteX1002" fmla="*/ 306488 w 773748"/>
                    <a:gd name="connsiteY1002" fmla="*/ 811998 h 1253758"/>
                    <a:gd name="connsiteX1003" fmla="*/ 305528 w 773748"/>
                    <a:gd name="connsiteY1003" fmla="*/ 813249 h 1253758"/>
                    <a:gd name="connsiteX1004" fmla="*/ 298145 w 773748"/>
                    <a:gd name="connsiteY1004" fmla="*/ 826764 h 1253758"/>
                    <a:gd name="connsiteX1005" fmla="*/ 297575 w 773748"/>
                    <a:gd name="connsiteY1005" fmla="*/ 828318 h 1253758"/>
                    <a:gd name="connsiteX1006" fmla="*/ 297235 w 773748"/>
                    <a:gd name="connsiteY1006" fmla="*/ 829933 h 1253758"/>
                    <a:gd name="connsiteX1007" fmla="*/ 297417 w 773748"/>
                    <a:gd name="connsiteY1007" fmla="*/ 831136 h 1253758"/>
                    <a:gd name="connsiteX1008" fmla="*/ 297963 w 773748"/>
                    <a:gd name="connsiteY1008" fmla="*/ 832411 h 1253758"/>
                    <a:gd name="connsiteX1009" fmla="*/ 298996 w 773748"/>
                    <a:gd name="connsiteY1009" fmla="*/ 833989 h 1253758"/>
                    <a:gd name="connsiteX1010" fmla="*/ 300307 w 773748"/>
                    <a:gd name="connsiteY1010" fmla="*/ 835349 h 1253758"/>
                    <a:gd name="connsiteX1011" fmla="*/ 302201 w 773748"/>
                    <a:gd name="connsiteY1011" fmla="*/ 836794 h 1253758"/>
                    <a:gd name="connsiteX1012" fmla="*/ 317586 w 773748"/>
                    <a:gd name="connsiteY1012" fmla="*/ 845403 h 1253758"/>
                    <a:gd name="connsiteX1013" fmla="*/ 319699 w 773748"/>
                    <a:gd name="connsiteY1013" fmla="*/ 847310 h 1253758"/>
                    <a:gd name="connsiteX1014" fmla="*/ 321326 w 773748"/>
                    <a:gd name="connsiteY1014" fmla="*/ 849799 h 1253758"/>
                    <a:gd name="connsiteX1015" fmla="*/ 323646 w 773748"/>
                    <a:gd name="connsiteY1015" fmla="*/ 855773 h 1253758"/>
                    <a:gd name="connsiteX1016" fmla="*/ 323840 w 773748"/>
                    <a:gd name="connsiteY1016" fmla="*/ 856004 h 1253758"/>
                    <a:gd name="connsiteX1017" fmla="*/ 325079 w 773748"/>
                    <a:gd name="connsiteY1017" fmla="*/ 856757 h 1253758"/>
                    <a:gd name="connsiteX1018" fmla="*/ 326171 w 773748"/>
                    <a:gd name="connsiteY1018" fmla="*/ 857049 h 1253758"/>
                    <a:gd name="connsiteX1019" fmla="*/ 331854 w 773748"/>
                    <a:gd name="connsiteY1019" fmla="*/ 857571 h 1253758"/>
                    <a:gd name="connsiteX1020" fmla="*/ 334125 w 773748"/>
                    <a:gd name="connsiteY1020" fmla="*/ 858263 h 1253758"/>
                    <a:gd name="connsiteX1021" fmla="*/ 336481 w 773748"/>
                    <a:gd name="connsiteY1021" fmla="*/ 859696 h 1253758"/>
                    <a:gd name="connsiteX1022" fmla="*/ 339031 w 773748"/>
                    <a:gd name="connsiteY1022" fmla="*/ 862853 h 1253758"/>
                    <a:gd name="connsiteX1023" fmla="*/ 339431 w 773748"/>
                    <a:gd name="connsiteY1023" fmla="*/ 865646 h 1253758"/>
                    <a:gd name="connsiteX1024" fmla="*/ 337598 w 773748"/>
                    <a:gd name="connsiteY1024" fmla="*/ 874619 h 1253758"/>
                    <a:gd name="connsiteX1025" fmla="*/ 337501 w 773748"/>
                    <a:gd name="connsiteY1025" fmla="*/ 878116 h 1253758"/>
                    <a:gd name="connsiteX1026" fmla="*/ 338205 w 773748"/>
                    <a:gd name="connsiteY1026" fmla="*/ 881080 h 1253758"/>
                    <a:gd name="connsiteX1027" fmla="*/ 339516 w 773748"/>
                    <a:gd name="connsiteY1027" fmla="*/ 885657 h 1253758"/>
                    <a:gd name="connsiteX1028" fmla="*/ 339954 w 773748"/>
                    <a:gd name="connsiteY1028" fmla="*/ 888972 h 1253758"/>
                    <a:gd name="connsiteX1029" fmla="*/ 339674 w 773748"/>
                    <a:gd name="connsiteY1029" fmla="*/ 892190 h 1253758"/>
                    <a:gd name="connsiteX1030" fmla="*/ 338351 w 773748"/>
                    <a:gd name="connsiteY1030" fmla="*/ 898274 h 1253758"/>
                    <a:gd name="connsiteX1031" fmla="*/ 337853 w 773748"/>
                    <a:gd name="connsiteY1031" fmla="*/ 912688 h 1253758"/>
                    <a:gd name="connsiteX1032" fmla="*/ 337974 w 773748"/>
                    <a:gd name="connsiteY1032" fmla="*/ 912797 h 1253758"/>
                    <a:gd name="connsiteX1033" fmla="*/ 342455 w 773748"/>
                    <a:gd name="connsiteY1033" fmla="*/ 913659 h 1253758"/>
                    <a:gd name="connsiteX1034" fmla="*/ 344519 w 773748"/>
                    <a:gd name="connsiteY1034" fmla="*/ 914424 h 1253758"/>
                    <a:gd name="connsiteX1035" fmla="*/ 346559 w 773748"/>
                    <a:gd name="connsiteY1035" fmla="*/ 916027 h 1253758"/>
                    <a:gd name="connsiteX1036" fmla="*/ 348089 w 773748"/>
                    <a:gd name="connsiteY1036" fmla="*/ 918310 h 1253758"/>
                    <a:gd name="connsiteX1037" fmla="*/ 351307 w 773748"/>
                    <a:gd name="connsiteY1037" fmla="*/ 925389 h 1253758"/>
                    <a:gd name="connsiteX1038" fmla="*/ 351781 w 773748"/>
                    <a:gd name="connsiteY1038" fmla="*/ 925984 h 1253758"/>
                    <a:gd name="connsiteX1039" fmla="*/ 352485 w 773748"/>
                    <a:gd name="connsiteY1039" fmla="*/ 925996 h 1253758"/>
                    <a:gd name="connsiteX1040" fmla="*/ 356844 w 773748"/>
                    <a:gd name="connsiteY1040" fmla="*/ 927028 h 1253758"/>
                    <a:gd name="connsiteX1041" fmla="*/ 358994 w 773748"/>
                    <a:gd name="connsiteY1041" fmla="*/ 928012 h 1253758"/>
                    <a:gd name="connsiteX1042" fmla="*/ 361143 w 773748"/>
                    <a:gd name="connsiteY1042" fmla="*/ 929724 h 1253758"/>
                    <a:gd name="connsiteX1043" fmla="*/ 363329 w 773748"/>
                    <a:gd name="connsiteY1043" fmla="*/ 932917 h 1253758"/>
                    <a:gd name="connsiteX1044" fmla="*/ 364191 w 773748"/>
                    <a:gd name="connsiteY1044" fmla="*/ 935795 h 1253758"/>
                    <a:gd name="connsiteX1045" fmla="*/ 364009 w 773748"/>
                    <a:gd name="connsiteY1045" fmla="*/ 938588 h 1253758"/>
                    <a:gd name="connsiteX1046" fmla="*/ 363875 w 773748"/>
                    <a:gd name="connsiteY1046" fmla="*/ 939536 h 1253758"/>
                    <a:gd name="connsiteX1047" fmla="*/ 362199 w 773748"/>
                    <a:gd name="connsiteY1047" fmla="*/ 941345 h 1253758"/>
                    <a:gd name="connsiteX1048" fmla="*/ 358423 w 773748"/>
                    <a:gd name="connsiteY1048" fmla="*/ 943834 h 1253758"/>
                    <a:gd name="connsiteX1049" fmla="*/ 358119 w 773748"/>
                    <a:gd name="connsiteY1049" fmla="*/ 944138 h 1253758"/>
                    <a:gd name="connsiteX1050" fmla="*/ 358204 w 773748"/>
                    <a:gd name="connsiteY1050" fmla="*/ 944259 h 1253758"/>
                    <a:gd name="connsiteX1051" fmla="*/ 360718 w 773748"/>
                    <a:gd name="connsiteY1051" fmla="*/ 945704 h 1253758"/>
                    <a:gd name="connsiteX1052" fmla="*/ 363560 w 773748"/>
                    <a:gd name="connsiteY1052" fmla="*/ 948315 h 1253758"/>
                    <a:gd name="connsiteX1053" fmla="*/ 364652 w 773748"/>
                    <a:gd name="connsiteY1053" fmla="*/ 951338 h 1253758"/>
                    <a:gd name="connsiteX1054" fmla="*/ 364422 w 773748"/>
                    <a:gd name="connsiteY1054" fmla="*/ 953937 h 1253758"/>
                    <a:gd name="connsiteX1055" fmla="*/ 360815 w 773748"/>
                    <a:gd name="connsiteY1055" fmla="*/ 961903 h 1253758"/>
                    <a:gd name="connsiteX1056" fmla="*/ 360002 w 773748"/>
                    <a:gd name="connsiteY1056" fmla="*/ 964198 h 1253758"/>
                    <a:gd name="connsiteX1057" fmla="*/ 359613 w 773748"/>
                    <a:gd name="connsiteY1057" fmla="*/ 966432 h 1253758"/>
                    <a:gd name="connsiteX1058" fmla="*/ 359735 w 773748"/>
                    <a:gd name="connsiteY1058" fmla="*/ 969504 h 1253758"/>
                    <a:gd name="connsiteX1059" fmla="*/ 360172 w 773748"/>
                    <a:gd name="connsiteY1059" fmla="*/ 971338 h 1253758"/>
                    <a:gd name="connsiteX1060" fmla="*/ 360864 w 773748"/>
                    <a:gd name="connsiteY1060" fmla="*/ 973087 h 1253758"/>
                    <a:gd name="connsiteX1061" fmla="*/ 363147 w 773748"/>
                    <a:gd name="connsiteY1061" fmla="*/ 977082 h 1253758"/>
                    <a:gd name="connsiteX1062" fmla="*/ 363972 w 773748"/>
                    <a:gd name="connsiteY1062" fmla="*/ 980433 h 1253758"/>
                    <a:gd name="connsiteX1063" fmla="*/ 363790 w 773748"/>
                    <a:gd name="connsiteY1063" fmla="*/ 983566 h 1253758"/>
                    <a:gd name="connsiteX1064" fmla="*/ 362345 w 773748"/>
                    <a:gd name="connsiteY1064" fmla="*/ 988532 h 1253758"/>
                    <a:gd name="connsiteX1065" fmla="*/ 362722 w 773748"/>
                    <a:gd name="connsiteY1065" fmla="*/ 989054 h 1253758"/>
                    <a:gd name="connsiteX1066" fmla="*/ 366267 w 773748"/>
                    <a:gd name="connsiteY1066" fmla="*/ 991240 h 1253758"/>
                    <a:gd name="connsiteX1067" fmla="*/ 368660 w 773748"/>
                    <a:gd name="connsiteY1067" fmla="*/ 993875 h 1253758"/>
                    <a:gd name="connsiteX1068" fmla="*/ 369364 w 773748"/>
                    <a:gd name="connsiteY1068" fmla="*/ 996182 h 1253758"/>
                    <a:gd name="connsiteX1069" fmla="*/ 369983 w 773748"/>
                    <a:gd name="connsiteY1069" fmla="*/ 1001744 h 1253758"/>
                    <a:gd name="connsiteX1070" fmla="*/ 373420 w 773748"/>
                    <a:gd name="connsiteY1070" fmla="*/ 1006953 h 1253758"/>
                    <a:gd name="connsiteX1071" fmla="*/ 374403 w 773748"/>
                    <a:gd name="connsiteY1071" fmla="*/ 1009321 h 1253758"/>
                    <a:gd name="connsiteX1072" fmla="*/ 374719 w 773748"/>
                    <a:gd name="connsiteY1072" fmla="*/ 1012162 h 1253758"/>
                    <a:gd name="connsiteX1073" fmla="*/ 374670 w 773748"/>
                    <a:gd name="connsiteY1073" fmla="*/ 1014178 h 1253758"/>
                    <a:gd name="connsiteX1074" fmla="*/ 375120 w 773748"/>
                    <a:gd name="connsiteY1074" fmla="*/ 1026078 h 1253758"/>
                    <a:gd name="connsiteX1075" fmla="*/ 374379 w 773748"/>
                    <a:gd name="connsiteY1075" fmla="*/ 1029308 h 1253758"/>
                    <a:gd name="connsiteX1076" fmla="*/ 372630 w 773748"/>
                    <a:gd name="connsiteY1076" fmla="*/ 1032405 h 1253758"/>
                    <a:gd name="connsiteX1077" fmla="*/ 371513 w 773748"/>
                    <a:gd name="connsiteY1077" fmla="*/ 1032745 h 1253758"/>
                    <a:gd name="connsiteX1078" fmla="*/ 366170 w 773748"/>
                    <a:gd name="connsiteY1078" fmla="*/ 1035319 h 1253758"/>
                    <a:gd name="connsiteX1079" fmla="*/ 365296 w 773748"/>
                    <a:gd name="connsiteY1079" fmla="*/ 1036643 h 1253758"/>
                    <a:gd name="connsiteX1080" fmla="*/ 363329 w 773748"/>
                    <a:gd name="connsiteY1080" fmla="*/ 1038950 h 1253758"/>
                    <a:gd name="connsiteX1081" fmla="*/ 363207 w 773748"/>
                    <a:gd name="connsiteY1081" fmla="*/ 1039860 h 1253758"/>
                    <a:gd name="connsiteX1082" fmla="*/ 363110 w 773748"/>
                    <a:gd name="connsiteY1082" fmla="*/ 1045167 h 1253758"/>
                    <a:gd name="connsiteX1083" fmla="*/ 361264 w 773748"/>
                    <a:gd name="connsiteY1083" fmla="*/ 1054796 h 1253758"/>
                    <a:gd name="connsiteX1084" fmla="*/ 359055 w 773748"/>
                    <a:gd name="connsiteY1084" fmla="*/ 1059921 h 1253758"/>
                    <a:gd name="connsiteX1085" fmla="*/ 357695 w 773748"/>
                    <a:gd name="connsiteY1085" fmla="*/ 1065931 h 1253758"/>
                    <a:gd name="connsiteX1086" fmla="*/ 352084 w 773748"/>
                    <a:gd name="connsiteY1086" fmla="*/ 1064972 h 1253758"/>
                    <a:gd name="connsiteX1087" fmla="*/ 349826 w 773748"/>
                    <a:gd name="connsiteY1087" fmla="*/ 1063442 h 1253758"/>
                    <a:gd name="connsiteX1088" fmla="*/ 348599 w 773748"/>
                    <a:gd name="connsiteY1088" fmla="*/ 1062167 h 1253758"/>
                    <a:gd name="connsiteX1089" fmla="*/ 346572 w 773748"/>
                    <a:gd name="connsiteY1089" fmla="*/ 1066952 h 1253758"/>
                    <a:gd name="connsiteX1090" fmla="*/ 344981 w 773748"/>
                    <a:gd name="connsiteY1090" fmla="*/ 1069453 h 1253758"/>
                    <a:gd name="connsiteX1091" fmla="*/ 342224 w 773748"/>
                    <a:gd name="connsiteY1091" fmla="*/ 1071699 h 1253758"/>
                    <a:gd name="connsiteX1092" fmla="*/ 338484 w 773748"/>
                    <a:gd name="connsiteY1092" fmla="*/ 1072914 h 1253758"/>
                    <a:gd name="connsiteX1093" fmla="*/ 330604 w 773748"/>
                    <a:gd name="connsiteY1093" fmla="*/ 1073521 h 1253758"/>
                    <a:gd name="connsiteX1094" fmla="*/ 329851 w 773748"/>
                    <a:gd name="connsiteY1094" fmla="*/ 1073776 h 1253758"/>
                    <a:gd name="connsiteX1095" fmla="*/ 328636 w 773748"/>
                    <a:gd name="connsiteY1095" fmla="*/ 1074359 h 1253758"/>
                    <a:gd name="connsiteX1096" fmla="*/ 327106 w 773748"/>
                    <a:gd name="connsiteY1096" fmla="*/ 1075391 h 1253758"/>
                    <a:gd name="connsiteX1097" fmla="*/ 325491 w 773748"/>
                    <a:gd name="connsiteY1097" fmla="*/ 1076751 h 1253758"/>
                    <a:gd name="connsiteX1098" fmla="*/ 324314 w 773748"/>
                    <a:gd name="connsiteY1098" fmla="*/ 1078087 h 1253758"/>
                    <a:gd name="connsiteX1099" fmla="*/ 322067 w 773748"/>
                    <a:gd name="connsiteY1099" fmla="*/ 1081462 h 1253758"/>
                    <a:gd name="connsiteX1100" fmla="*/ 320501 w 773748"/>
                    <a:gd name="connsiteY1100" fmla="*/ 1083211 h 1253758"/>
                    <a:gd name="connsiteX1101" fmla="*/ 318376 w 773748"/>
                    <a:gd name="connsiteY1101" fmla="*/ 1084607 h 1253758"/>
                    <a:gd name="connsiteX1102" fmla="*/ 316093 w 773748"/>
                    <a:gd name="connsiteY1102" fmla="*/ 1085275 h 1253758"/>
                    <a:gd name="connsiteX1103" fmla="*/ 314308 w 773748"/>
                    <a:gd name="connsiteY1103" fmla="*/ 1085457 h 1253758"/>
                    <a:gd name="connsiteX1104" fmla="*/ 314199 w 773748"/>
                    <a:gd name="connsiteY1104" fmla="*/ 1085603 h 1253758"/>
                    <a:gd name="connsiteX1105" fmla="*/ 314563 w 773748"/>
                    <a:gd name="connsiteY1105" fmla="*/ 1086064 h 1253758"/>
                    <a:gd name="connsiteX1106" fmla="*/ 318424 w 773748"/>
                    <a:gd name="connsiteY1106" fmla="*/ 1088189 h 1253758"/>
                    <a:gd name="connsiteX1107" fmla="*/ 320986 w 773748"/>
                    <a:gd name="connsiteY1107" fmla="*/ 1090400 h 1253758"/>
                    <a:gd name="connsiteX1108" fmla="*/ 322747 w 773748"/>
                    <a:gd name="connsiteY1108" fmla="*/ 1094528 h 1253758"/>
                    <a:gd name="connsiteX1109" fmla="*/ 322371 w 773748"/>
                    <a:gd name="connsiteY1109" fmla="*/ 1098390 h 1253758"/>
                    <a:gd name="connsiteX1110" fmla="*/ 320379 w 773748"/>
                    <a:gd name="connsiteY1110" fmla="*/ 1101425 h 1253758"/>
                    <a:gd name="connsiteX1111" fmla="*/ 318133 w 773748"/>
                    <a:gd name="connsiteY1111" fmla="*/ 1102591 h 1253758"/>
                    <a:gd name="connsiteX1112" fmla="*/ 316275 w 773748"/>
                    <a:gd name="connsiteY1112" fmla="*/ 1103392 h 1253758"/>
                    <a:gd name="connsiteX1113" fmla="*/ 314599 w 773748"/>
                    <a:gd name="connsiteY1113" fmla="*/ 1104364 h 1253758"/>
                    <a:gd name="connsiteX1114" fmla="*/ 310507 w 773748"/>
                    <a:gd name="connsiteY1114" fmla="*/ 1107618 h 1253758"/>
                    <a:gd name="connsiteX1115" fmla="*/ 306937 w 773748"/>
                    <a:gd name="connsiteY1115" fmla="*/ 1111055 h 1253758"/>
                    <a:gd name="connsiteX1116" fmla="*/ 302371 w 773748"/>
                    <a:gd name="connsiteY1116" fmla="*/ 1116689 h 1253758"/>
                    <a:gd name="connsiteX1117" fmla="*/ 294551 w 773748"/>
                    <a:gd name="connsiteY1117" fmla="*/ 1122699 h 1253758"/>
                    <a:gd name="connsiteX1118" fmla="*/ 292475 w 773748"/>
                    <a:gd name="connsiteY1118" fmla="*/ 1124618 h 1253758"/>
                    <a:gd name="connsiteX1119" fmla="*/ 289038 w 773748"/>
                    <a:gd name="connsiteY1119" fmla="*/ 1129136 h 1253758"/>
                    <a:gd name="connsiteX1120" fmla="*/ 283331 w 773748"/>
                    <a:gd name="connsiteY1120" fmla="*/ 1139481 h 1253758"/>
                    <a:gd name="connsiteX1121" fmla="*/ 281595 w 773748"/>
                    <a:gd name="connsiteY1121" fmla="*/ 1141594 h 1253758"/>
                    <a:gd name="connsiteX1122" fmla="*/ 279664 w 773748"/>
                    <a:gd name="connsiteY1122" fmla="*/ 1143124 h 1253758"/>
                    <a:gd name="connsiteX1123" fmla="*/ 277381 w 773748"/>
                    <a:gd name="connsiteY1123" fmla="*/ 1144120 h 1253758"/>
                    <a:gd name="connsiteX1124" fmla="*/ 271977 w 773748"/>
                    <a:gd name="connsiteY1124" fmla="*/ 1145067 h 1253758"/>
                    <a:gd name="connsiteX1125" fmla="*/ 270897 w 773748"/>
                    <a:gd name="connsiteY1125" fmla="*/ 1145553 h 1253758"/>
                    <a:gd name="connsiteX1126" fmla="*/ 270010 w 773748"/>
                    <a:gd name="connsiteY1126" fmla="*/ 1146087 h 1253758"/>
                    <a:gd name="connsiteX1127" fmla="*/ 267934 w 773748"/>
                    <a:gd name="connsiteY1127" fmla="*/ 1150070 h 1253758"/>
                    <a:gd name="connsiteX1128" fmla="*/ 266295 w 773748"/>
                    <a:gd name="connsiteY1128" fmla="*/ 1151831 h 1253758"/>
                    <a:gd name="connsiteX1129" fmla="*/ 264170 w 773748"/>
                    <a:gd name="connsiteY1129" fmla="*/ 1153264 h 1253758"/>
                    <a:gd name="connsiteX1130" fmla="*/ 254261 w 773748"/>
                    <a:gd name="connsiteY1130" fmla="*/ 1157428 h 1253758"/>
                    <a:gd name="connsiteX1131" fmla="*/ 250436 w 773748"/>
                    <a:gd name="connsiteY1131" fmla="*/ 1158521 h 1253758"/>
                    <a:gd name="connsiteX1132" fmla="*/ 247995 w 773748"/>
                    <a:gd name="connsiteY1132" fmla="*/ 1158740 h 1253758"/>
                    <a:gd name="connsiteX1133" fmla="*/ 245955 w 773748"/>
                    <a:gd name="connsiteY1133" fmla="*/ 1158412 h 1253758"/>
                    <a:gd name="connsiteX1134" fmla="*/ 245822 w 773748"/>
                    <a:gd name="connsiteY1134" fmla="*/ 1158546 h 1253758"/>
                    <a:gd name="connsiteX1135" fmla="*/ 243867 w 773748"/>
                    <a:gd name="connsiteY1135" fmla="*/ 1164022 h 1253758"/>
                    <a:gd name="connsiteX1136" fmla="*/ 242239 w 773748"/>
                    <a:gd name="connsiteY1136" fmla="*/ 1166718 h 1253758"/>
                    <a:gd name="connsiteX1137" fmla="*/ 241341 w 773748"/>
                    <a:gd name="connsiteY1137" fmla="*/ 1168479 h 1253758"/>
                    <a:gd name="connsiteX1138" fmla="*/ 241049 w 773748"/>
                    <a:gd name="connsiteY1138" fmla="*/ 1169426 h 1253758"/>
                    <a:gd name="connsiteX1139" fmla="*/ 241025 w 773748"/>
                    <a:gd name="connsiteY1139" fmla="*/ 1170118 h 1253758"/>
                    <a:gd name="connsiteX1140" fmla="*/ 242689 w 773748"/>
                    <a:gd name="connsiteY1140" fmla="*/ 1173190 h 1253758"/>
                    <a:gd name="connsiteX1141" fmla="*/ 243247 w 773748"/>
                    <a:gd name="connsiteY1141" fmla="*/ 1175898 h 1253758"/>
                    <a:gd name="connsiteX1142" fmla="*/ 242895 w 773748"/>
                    <a:gd name="connsiteY1142" fmla="*/ 1178776 h 1253758"/>
                    <a:gd name="connsiteX1143" fmla="*/ 241948 w 773748"/>
                    <a:gd name="connsiteY1143" fmla="*/ 1181994 h 1253758"/>
                    <a:gd name="connsiteX1144" fmla="*/ 241644 w 773748"/>
                    <a:gd name="connsiteY1144" fmla="*/ 1184896 h 1253758"/>
                    <a:gd name="connsiteX1145" fmla="*/ 239641 w 773748"/>
                    <a:gd name="connsiteY1145" fmla="*/ 1191647 h 1253758"/>
                    <a:gd name="connsiteX1146" fmla="*/ 238754 w 773748"/>
                    <a:gd name="connsiteY1146" fmla="*/ 1193529 h 1253758"/>
                    <a:gd name="connsiteX1147" fmla="*/ 235840 w 773748"/>
                    <a:gd name="connsiteY1147" fmla="*/ 1197221 h 1253758"/>
                    <a:gd name="connsiteX1148" fmla="*/ 235063 w 773748"/>
                    <a:gd name="connsiteY1148" fmla="*/ 1198787 h 1253758"/>
                    <a:gd name="connsiteX1149" fmla="*/ 235002 w 773748"/>
                    <a:gd name="connsiteY1149" fmla="*/ 1199577 h 1253758"/>
                    <a:gd name="connsiteX1150" fmla="*/ 235014 w 773748"/>
                    <a:gd name="connsiteY1150" fmla="*/ 1200426 h 1253758"/>
                    <a:gd name="connsiteX1151" fmla="*/ 235257 w 773748"/>
                    <a:gd name="connsiteY1151" fmla="*/ 1201374 h 1253758"/>
                    <a:gd name="connsiteX1152" fmla="*/ 235294 w 773748"/>
                    <a:gd name="connsiteY1152" fmla="*/ 1208502 h 1253758"/>
                    <a:gd name="connsiteX1153" fmla="*/ 234383 w 773748"/>
                    <a:gd name="connsiteY1153" fmla="*/ 1213444 h 1253758"/>
                    <a:gd name="connsiteX1154" fmla="*/ 233691 w 773748"/>
                    <a:gd name="connsiteY1154" fmla="*/ 1215909 h 1253758"/>
                    <a:gd name="connsiteX1155" fmla="*/ 232877 w 773748"/>
                    <a:gd name="connsiteY1155" fmla="*/ 1217706 h 1253758"/>
                    <a:gd name="connsiteX1156" fmla="*/ 231141 w 773748"/>
                    <a:gd name="connsiteY1156" fmla="*/ 1220038 h 1253758"/>
                    <a:gd name="connsiteX1157" fmla="*/ 230558 w 773748"/>
                    <a:gd name="connsiteY1157" fmla="*/ 1221021 h 1253758"/>
                    <a:gd name="connsiteX1158" fmla="*/ 229538 w 773748"/>
                    <a:gd name="connsiteY1158" fmla="*/ 1223194 h 1253758"/>
                    <a:gd name="connsiteX1159" fmla="*/ 229210 w 773748"/>
                    <a:gd name="connsiteY1159" fmla="*/ 1224530 h 1253758"/>
                    <a:gd name="connsiteX1160" fmla="*/ 229052 w 773748"/>
                    <a:gd name="connsiteY1160" fmla="*/ 1226012 h 1253758"/>
                    <a:gd name="connsiteX1161" fmla="*/ 229040 w 773748"/>
                    <a:gd name="connsiteY1161" fmla="*/ 1228246 h 1253758"/>
                    <a:gd name="connsiteX1162" fmla="*/ 228506 w 773748"/>
                    <a:gd name="connsiteY1162" fmla="*/ 1230735 h 1253758"/>
                    <a:gd name="connsiteX1163" fmla="*/ 227292 w 773748"/>
                    <a:gd name="connsiteY1163" fmla="*/ 1232897 h 1253758"/>
                    <a:gd name="connsiteX1164" fmla="*/ 226101 w 773748"/>
                    <a:gd name="connsiteY1164" fmla="*/ 1233553 h 1253758"/>
                    <a:gd name="connsiteX1165" fmla="*/ 224766 w 773748"/>
                    <a:gd name="connsiteY1165" fmla="*/ 1234099 h 1253758"/>
                    <a:gd name="connsiteX1166" fmla="*/ 224219 w 773748"/>
                    <a:gd name="connsiteY1166" fmla="*/ 1234184 h 1253758"/>
                    <a:gd name="connsiteX1167" fmla="*/ 222762 w 773748"/>
                    <a:gd name="connsiteY1167" fmla="*/ 1234257 h 1253758"/>
                    <a:gd name="connsiteX1168" fmla="*/ 222252 w 773748"/>
                    <a:gd name="connsiteY1168" fmla="*/ 1234160 h 1253758"/>
                    <a:gd name="connsiteX1169" fmla="*/ 220892 w 773748"/>
                    <a:gd name="connsiteY1169" fmla="*/ 1233735 h 1253758"/>
                    <a:gd name="connsiteX1170" fmla="*/ 219678 w 773748"/>
                    <a:gd name="connsiteY1170" fmla="*/ 1233018 h 1253758"/>
                    <a:gd name="connsiteX1171" fmla="*/ 218961 w 773748"/>
                    <a:gd name="connsiteY1171" fmla="*/ 1232435 h 1253758"/>
                    <a:gd name="connsiteX1172" fmla="*/ 218099 w 773748"/>
                    <a:gd name="connsiteY1172" fmla="*/ 1239308 h 1253758"/>
                    <a:gd name="connsiteX1173" fmla="*/ 218124 w 773748"/>
                    <a:gd name="connsiteY1173" fmla="*/ 1242441 h 1253758"/>
                    <a:gd name="connsiteX1174" fmla="*/ 218658 w 773748"/>
                    <a:gd name="connsiteY1174" fmla="*/ 1243971 h 1253758"/>
                    <a:gd name="connsiteX1175" fmla="*/ 219739 w 773748"/>
                    <a:gd name="connsiteY1175" fmla="*/ 1247918 h 1253758"/>
                    <a:gd name="connsiteX1176" fmla="*/ 201633 w 773748"/>
                    <a:gd name="connsiteY1176" fmla="*/ 1247371 h 1253758"/>
                    <a:gd name="connsiteX1177" fmla="*/ 193668 w 773748"/>
                    <a:gd name="connsiteY1177" fmla="*/ 1248318 h 1253758"/>
                    <a:gd name="connsiteX1178" fmla="*/ 187778 w 773748"/>
                    <a:gd name="connsiteY1178" fmla="*/ 1248379 h 1253758"/>
                    <a:gd name="connsiteX1179" fmla="*/ 182666 w 773748"/>
                    <a:gd name="connsiteY1179" fmla="*/ 1247298 h 1253758"/>
                    <a:gd name="connsiteX1180" fmla="*/ 178695 w 773748"/>
                    <a:gd name="connsiteY1180" fmla="*/ 1245635 h 1253758"/>
                    <a:gd name="connsiteX1181" fmla="*/ 173559 w 773748"/>
                    <a:gd name="connsiteY1181" fmla="*/ 1242587 h 1253758"/>
                    <a:gd name="connsiteX1182" fmla="*/ 171871 w 773748"/>
                    <a:gd name="connsiteY1182" fmla="*/ 1241785 h 1253758"/>
                    <a:gd name="connsiteX1183" fmla="*/ 170790 w 773748"/>
                    <a:gd name="connsiteY1183" fmla="*/ 1241737 h 1253758"/>
                    <a:gd name="connsiteX1184" fmla="*/ 169940 w 773748"/>
                    <a:gd name="connsiteY1184" fmla="*/ 1242004 h 1253758"/>
                    <a:gd name="connsiteX1185" fmla="*/ 163893 w 773748"/>
                    <a:gd name="connsiteY1185" fmla="*/ 1246278 h 1253758"/>
                    <a:gd name="connsiteX1186" fmla="*/ 158623 w 773748"/>
                    <a:gd name="connsiteY1186" fmla="*/ 1248828 h 1253758"/>
                    <a:gd name="connsiteX1187" fmla="*/ 154458 w 773748"/>
                    <a:gd name="connsiteY1187" fmla="*/ 1251925 h 1253758"/>
                    <a:gd name="connsiteX1188" fmla="*/ 150827 w 773748"/>
                    <a:gd name="connsiteY1188" fmla="*/ 1253758 h 125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Lst>
                  <a:rect l="l" t="t" r="r" b="b"/>
                  <a:pathLst>
                    <a:path w="773748" h="1253758">
                      <a:moveTo>
                        <a:pt x="146334" y="1253503"/>
                      </a:moveTo>
                      <a:lnTo>
                        <a:pt x="142558" y="1251184"/>
                      </a:lnTo>
                      <a:lnTo>
                        <a:pt x="139267" y="1246436"/>
                      </a:lnTo>
                      <a:lnTo>
                        <a:pt x="136268" y="1239381"/>
                      </a:lnTo>
                      <a:lnTo>
                        <a:pt x="134835" y="1214488"/>
                      </a:lnTo>
                      <a:lnTo>
                        <a:pt x="134034" y="1212023"/>
                      </a:lnTo>
                      <a:lnTo>
                        <a:pt x="130743" y="1206377"/>
                      </a:lnTo>
                      <a:lnTo>
                        <a:pt x="129237" y="1203062"/>
                      </a:lnTo>
                      <a:lnTo>
                        <a:pt x="127950" y="1198909"/>
                      </a:lnTo>
                      <a:lnTo>
                        <a:pt x="127185" y="1195120"/>
                      </a:lnTo>
                      <a:lnTo>
                        <a:pt x="127015" y="1190737"/>
                      </a:lnTo>
                      <a:lnTo>
                        <a:pt x="127986" y="1186681"/>
                      </a:lnTo>
                      <a:lnTo>
                        <a:pt x="129553" y="1183329"/>
                      </a:lnTo>
                      <a:lnTo>
                        <a:pt x="131119" y="1180549"/>
                      </a:lnTo>
                      <a:lnTo>
                        <a:pt x="129772" y="1180367"/>
                      </a:lnTo>
                      <a:lnTo>
                        <a:pt x="127950" y="1180925"/>
                      </a:lnTo>
                      <a:lnTo>
                        <a:pt x="123724" y="1182880"/>
                      </a:lnTo>
                      <a:lnTo>
                        <a:pt x="121150" y="1183718"/>
                      </a:lnTo>
                      <a:lnTo>
                        <a:pt x="117908" y="1183754"/>
                      </a:lnTo>
                      <a:lnTo>
                        <a:pt x="117070" y="1183706"/>
                      </a:lnTo>
                      <a:lnTo>
                        <a:pt x="114059" y="1181702"/>
                      </a:lnTo>
                      <a:lnTo>
                        <a:pt x="112334" y="1178739"/>
                      </a:lnTo>
                      <a:lnTo>
                        <a:pt x="111545" y="1174951"/>
                      </a:lnTo>
                      <a:lnTo>
                        <a:pt x="111399" y="1172012"/>
                      </a:lnTo>
                      <a:lnTo>
                        <a:pt x="111084" y="1169729"/>
                      </a:lnTo>
                      <a:lnTo>
                        <a:pt x="110816" y="1169207"/>
                      </a:lnTo>
                      <a:lnTo>
                        <a:pt x="109991" y="1168709"/>
                      </a:lnTo>
                      <a:lnTo>
                        <a:pt x="109881" y="1168746"/>
                      </a:lnTo>
                      <a:lnTo>
                        <a:pt x="109541" y="1169231"/>
                      </a:lnTo>
                      <a:lnTo>
                        <a:pt x="108983" y="1172498"/>
                      </a:lnTo>
                      <a:lnTo>
                        <a:pt x="108449" y="1174283"/>
                      </a:lnTo>
                      <a:lnTo>
                        <a:pt x="107526" y="1176019"/>
                      </a:lnTo>
                      <a:lnTo>
                        <a:pt x="105862" y="1177161"/>
                      </a:lnTo>
                      <a:lnTo>
                        <a:pt x="103506" y="1178035"/>
                      </a:lnTo>
                      <a:lnTo>
                        <a:pt x="100823" y="1178448"/>
                      </a:lnTo>
                      <a:lnTo>
                        <a:pt x="95601" y="1178582"/>
                      </a:lnTo>
                      <a:lnTo>
                        <a:pt x="92019" y="1177744"/>
                      </a:lnTo>
                      <a:lnTo>
                        <a:pt x="89506" y="1175461"/>
                      </a:lnTo>
                      <a:lnTo>
                        <a:pt x="88267" y="1172158"/>
                      </a:lnTo>
                      <a:lnTo>
                        <a:pt x="88024" y="1169086"/>
                      </a:lnTo>
                      <a:lnTo>
                        <a:pt x="88570" y="1166439"/>
                      </a:lnTo>
                      <a:lnTo>
                        <a:pt x="90052" y="1164071"/>
                      </a:lnTo>
                      <a:lnTo>
                        <a:pt x="92141" y="1162359"/>
                      </a:lnTo>
                      <a:lnTo>
                        <a:pt x="96476" y="1160319"/>
                      </a:lnTo>
                      <a:lnTo>
                        <a:pt x="96415" y="1159395"/>
                      </a:lnTo>
                      <a:lnTo>
                        <a:pt x="95844" y="1158230"/>
                      </a:lnTo>
                      <a:lnTo>
                        <a:pt x="91424" y="1151418"/>
                      </a:lnTo>
                      <a:lnTo>
                        <a:pt x="86616" y="1140441"/>
                      </a:lnTo>
                      <a:lnTo>
                        <a:pt x="84806" y="1134138"/>
                      </a:lnTo>
                      <a:lnTo>
                        <a:pt x="83798" y="1131515"/>
                      </a:lnTo>
                      <a:lnTo>
                        <a:pt x="82232" y="1129038"/>
                      </a:lnTo>
                      <a:lnTo>
                        <a:pt x="79305" y="1125796"/>
                      </a:lnTo>
                      <a:lnTo>
                        <a:pt x="76525" y="1121874"/>
                      </a:lnTo>
                      <a:lnTo>
                        <a:pt x="72894" y="1118353"/>
                      </a:lnTo>
                      <a:lnTo>
                        <a:pt x="69810" y="1114054"/>
                      </a:lnTo>
                      <a:lnTo>
                        <a:pt x="61382" y="1104412"/>
                      </a:lnTo>
                      <a:lnTo>
                        <a:pt x="57473" y="1101000"/>
                      </a:lnTo>
                      <a:lnTo>
                        <a:pt x="55955" y="1099895"/>
                      </a:lnTo>
                      <a:lnTo>
                        <a:pt x="52324" y="1098256"/>
                      </a:lnTo>
                      <a:lnTo>
                        <a:pt x="50102" y="1096738"/>
                      </a:lnTo>
                      <a:lnTo>
                        <a:pt x="46410" y="1093253"/>
                      </a:lnTo>
                      <a:lnTo>
                        <a:pt x="44382" y="1092658"/>
                      </a:lnTo>
                      <a:lnTo>
                        <a:pt x="41274" y="1092804"/>
                      </a:lnTo>
                      <a:lnTo>
                        <a:pt x="35275" y="1094504"/>
                      </a:lnTo>
                      <a:lnTo>
                        <a:pt x="31183" y="1096447"/>
                      </a:lnTo>
                      <a:lnTo>
                        <a:pt x="25779" y="1094856"/>
                      </a:lnTo>
                      <a:lnTo>
                        <a:pt x="24966" y="1092282"/>
                      </a:lnTo>
                      <a:lnTo>
                        <a:pt x="24371" y="1093034"/>
                      </a:lnTo>
                      <a:lnTo>
                        <a:pt x="19757" y="1096835"/>
                      </a:lnTo>
                      <a:lnTo>
                        <a:pt x="16672" y="1092864"/>
                      </a:lnTo>
                      <a:lnTo>
                        <a:pt x="15883" y="1089695"/>
                      </a:lnTo>
                      <a:lnTo>
                        <a:pt x="13357" y="1087072"/>
                      </a:lnTo>
                      <a:lnTo>
                        <a:pt x="11657" y="1084449"/>
                      </a:lnTo>
                      <a:lnTo>
                        <a:pt x="10819" y="1081608"/>
                      </a:lnTo>
                      <a:lnTo>
                        <a:pt x="10516" y="1076982"/>
                      </a:lnTo>
                      <a:lnTo>
                        <a:pt x="10139" y="1075597"/>
                      </a:lnTo>
                      <a:lnTo>
                        <a:pt x="9411" y="1073897"/>
                      </a:lnTo>
                      <a:lnTo>
                        <a:pt x="8403" y="1072088"/>
                      </a:lnTo>
                      <a:lnTo>
                        <a:pt x="8039" y="1071760"/>
                      </a:lnTo>
                      <a:lnTo>
                        <a:pt x="7225" y="1071541"/>
                      </a:lnTo>
                      <a:lnTo>
                        <a:pt x="2841" y="1072622"/>
                      </a:lnTo>
                      <a:lnTo>
                        <a:pt x="996" y="1066320"/>
                      </a:lnTo>
                      <a:lnTo>
                        <a:pt x="328" y="1063758"/>
                      </a:lnTo>
                      <a:lnTo>
                        <a:pt x="0" y="1060370"/>
                      </a:lnTo>
                      <a:lnTo>
                        <a:pt x="1311" y="1057213"/>
                      </a:lnTo>
                      <a:lnTo>
                        <a:pt x="3643" y="1054541"/>
                      </a:lnTo>
                      <a:lnTo>
                        <a:pt x="15555" y="1047426"/>
                      </a:lnTo>
                      <a:lnTo>
                        <a:pt x="16502" y="1045774"/>
                      </a:lnTo>
                      <a:lnTo>
                        <a:pt x="15992" y="1043770"/>
                      </a:lnTo>
                      <a:lnTo>
                        <a:pt x="5173" y="1030802"/>
                      </a:lnTo>
                      <a:lnTo>
                        <a:pt x="2113" y="1024305"/>
                      </a:lnTo>
                      <a:lnTo>
                        <a:pt x="2186" y="1016680"/>
                      </a:lnTo>
                      <a:lnTo>
                        <a:pt x="5962" y="1008349"/>
                      </a:lnTo>
                      <a:lnTo>
                        <a:pt x="16879" y="995527"/>
                      </a:lnTo>
                      <a:lnTo>
                        <a:pt x="20364" y="989067"/>
                      </a:lnTo>
                      <a:lnTo>
                        <a:pt x="21226" y="983432"/>
                      </a:lnTo>
                      <a:lnTo>
                        <a:pt x="25792" y="967003"/>
                      </a:lnTo>
                      <a:lnTo>
                        <a:pt x="27868" y="962619"/>
                      </a:lnTo>
                      <a:lnTo>
                        <a:pt x="30126" y="961053"/>
                      </a:lnTo>
                      <a:lnTo>
                        <a:pt x="35081" y="958952"/>
                      </a:lnTo>
                      <a:lnTo>
                        <a:pt x="36392" y="957956"/>
                      </a:lnTo>
                      <a:lnTo>
                        <a:pt x="37339" y="956220"/>
                      </a:lnTo>
                      <a:lnTo>
                        <a:pt x="39829" y="950658"/>
                      </a:lnTo>
                      <a:lnTo>
                        <a:pt x="42014" y="947635"/>
                      </a:lnTo>
                      <a:lnTo>
                        <a:pt x="44394" y="945813"/>
                      </a:lnTo>
                      <a:lnTo>
                        <a:pt x="48632" y="944271"/>
                      </a:lnTo>
                      <a:lnTo>
                        <a:pt x="49701" y="943603"/>
                      </a:lnTo>
                      <a:lnTo>
                        <a:pt x="50745" y="942219"/>
                      </a:lnTo>
                      <a:lnTo>
                        <a:pt x="53514" y="938030"/>
                      </a:lnTo>
                      <a:lnTo>
                        <a:pt x="56683" y="935310"/>
                      </a:lnTo>
                      <a:lnTo>
                        <a:pt x="63216" y="933768"/>
                      </a:lnTo>
                      <a:lnTo>
                        <a:pt x="67017" y="937435"/>
                      </a:lnTo>
                      <a:lnTo>
                        <a:pt x="69725" y="945984"/>
                      </a:lnTo>
                      <a:lnTo>
                        <a:pt x="71668" y="948533"/>
                      </a:lnTo>
                      <a:lnTo>
                        <a:pt x="72821" y="948667"/>
                      </a:lnTo>
                      <a:lnTo>
                        <a:pt x="75833" y="947744"/>
                      </a:lnTo>
                      <a:lnTo>
                        <a:pt x="83118" y="947841"/>
                      </a:lnTo>
                      <a:lnTo>
                        <a:pt x="85863" y="950756"/>
                      </a:lnTo>
                      <a:lnTo>
                        <a:pt x="89991" y="957422"/>
                      </a:lnTo>
                      <a:lnTo>
                        <a:pt x="93088" y="954532"/>
                      </a:lnTo>
                      <a:lnTo>
                        <a:pt x="95091" y="952929"/>
                      </a:lnTo>
                      <a:lnTo>
                        <a:pt x="99803" y="950136"/>
                      </a:lnTo>
                      <a:lnTo>
                        <a:pt x="106833" y="947368"/>
                      </a:lnTo>
                      <a:lnTo>
                        <a:pt x="107161" y="947016"/>
                      </a:lnTo>
                      <a:lnTo>
                        <a:pt x="107186" y="946724"/>
                      </a:lnTo>
                      <a:lnTo>
                        <a:pt x="105898" y="944065"/>
                      </a:lnTo>
                      <a:lnTo>
                        <a:pt x="102863" y="940070"/>
                      </a:lnTo>
                      <a:lnTo>
                        <a:pt x="101576" y="936682"/>
                      </a:lnTo>
                      <a:lnTo>
                        <a:pt x="102802" y="932942"/>
                      </a:lnTo>
                      <a:lnTo>
                        <a:pt x="105194" y="931376"/>
                      </a:lnTo>
                      <a:lnTo>
                        <a:pt x="108291" y="930428"/>
                      </a:lnTo>
                      <a:lnTo>
                        <a:pt x="114083" y="929724"/>
                      </a:lnTo>
                      <a:lnTo>
                        <a:pt x="116354" y="928923"/>
                      </a:lnTo>
                      <a:lnTo>
                        <a:pt x="117641" y="927721"/>
                      </a:lnTo>
                      <a:lnTo>
                        <a:pt x="118491" y="926263"/>
                      </a:lnTo>
                      <a:lnTo>
                        <a:pt x="119438" y="924114"/>
                      </a:lnTo>
                      <a:lnTo>
                        <a:pt x="119438" y="921940"/>
                      </a:lnTo>
                      <a:lnTo>
                        <a:pt x="119074" y="920338"/>
                      </a:lnTo>
                      <a:lnTo>
                        <a:pt x="116439" y="916391"/>
                      </a:lnTo>
                      <a:lnTo>
                        <a:pt x="112565" y="913197"/>
                      </a:lnTo>
                      <a:lnTo>
                        <a:pt x="109262" y="909785"/>
                      </a:lnTo>
                      <a:lnTo>
                        <a:pt x="108582" y="909542"/>
                      </a:lnTo>
                      <a:lnTo>
                        <a:pt x="107926" y="909603"/>
                      </a:lnTo>
                      <a:lnTo>
                        <a:pt x="106894" y="909591"/>
                      </a:lnTo>
                      <a:lnTo>
                        <a:pt x="104611" y="908996"/>
                      </a:lnTo>
                      <a:lnTo>
                        <a:pt x="98018" y="904260"/>
                      </a:lnTo>
                      <a:lnTo>
                        <a:pt x="95686" y="903240"/>
                      </a:lnTo>
                      <a:lnTo>
                        <a:pt x="87162" y="900994"/>
                      </a:lnTo>
                      <a:lnTo>
                        <a:pt x="84527" y="899840"/>
                      </a:lnTo>
                      <a:lnTo>
                        <a:pt x="81722" y="897157"/>
                      </a:lnTo>
                      <a:lnTo>
                        <a:pt x="79949" y="893490"/>
                      </a:lnTo>
                      <a:lnTo>
                        <a:pt x="77958" y="882196"/>
                      </a:lnTo>
                      <a:lnTo>
                        <a:pt x="76877" y="880885"/>
                      </a:lnTo>
                      <a:lnTo>
                        <a:pt x="75881" y="880217"/>
                      </a:lnTo>
                      <a:lnTo>
                        <a:pt x="74570" y="879465"/>
                      </a:lnTo>
                      <a:lnTo>
                        <a:pt x="72991" y="878991"/>
                      </a:lnTo>
                      <a:lnTo>
                        <a:pt x="66082" y="877425"/>
                      </a:lnTo>
                      <a:lnTo>
                        <a:pt x="63180" y="876259"/>
                      </a:lnTo>
                      <a:lnTo>
                        <a:pt x="60083" y="873879"/>
                      </a:lnTo>
                      <a:lnTo>
                        <a:pt x="57910" y="871280"/>
                      </a:lnTo>
                      <a:lnTo>
                        <a:pt x="56149" y="867625"/>
                      </a:lnTo>
                      <a:lnTo>
                        <a:pt x="54182" y="859842"/>
                      </a:lnTo>
                      <a:lnTo>
                        <a:pt x="53562" y="858348"/>
                      </a:lnTo>
                      <a:lnTo>
                        <a:pt x="53234" y="857959"/>
                      </a:lnTo>
                      <a:lnTo>
                        <a:pt x="51996" y="857340"/>
                      </a:lnTo>
                      <a:lnTo>
                        <a:pt x="51194" y="857474"/>
                      </a:lnTo>
                      <a:lnTo>
                        <a:pt x="50235" y="857741"/>
                      </a:lnTo>
                      <a:lnTo>
                        <a:pt x="49482" y="858239"/>
                      </a:lnTo>
                      <a:lnTo>
                        <a:pt x="48887" y="858846"/>
                      </a:lnTo>
                      <a:lnTo>
                        <a:pt x="48620" y="859465"/>
                      </a:lnTo>
                      <a:lnTo>
                        <a:pt x="48584" y="859926"/>
                      </a:lnTo>
                      <a:lnTo>
                        <a:pt x="45633" y="860849"/>
                      </a:lnTo>
                      <a:lnTo>
                        <a:pt x="48778" y="861468"/>
                      </a:lnTo>
                      <a:lnTo>
                        <a:pt x="48851" y="862112"/>
                      </a:lnTo>
                      <a:lnTo>
                        <a:pt x="48730" y="863533"/>
                      </a:lnTo>
                      <a:lnTo>
                        <a:pt x="48523" y="864225"/>
                      </a:lnTo>
                      <a:lnTo>
                        <a:pt x="47843" y="865330"/>
                      </a:lnTo>
                      <a:lnTo>
                        <a:pt x="47297" y="865925"/>
                      </a:lnTo>
                      <a:lnTo>
                        <a:pt x="45961" y="866775"/>
                      </a:lnTo>
                      <a:lnTo>
                        <a:pt x="44103" y="867225"/>
                      </a:lnTo>
                      <a:lnTo>
                        <a:pt x="42391" y="867273"/>
                      </a:lnTo>
                      <a:lnTo>
                        <a:pt x="39914" y="867018"/>
                      </a:lnTo>
                      <a:lnTo>
                        <a:pt x="34510" y="865779"/>
                      </a:lnTo>
                      <a:lnTo>
                        <a:pt x="31790" y="864723"/>
                      </a:lnTo>
                      <a:lnTo>
                        <a:pt x="28754" y="862683"/>
                      </a:lnTo>
                      <a:lnTo>
                        <a:pt x="27795" y="859173"/>
                      </a:lnTo>
                      <a:lnTo>
                        <a:pt x="28633" y="856198"/>
                      </a:lnTo>
                      <a:lnTo>
                        <a:pt x="30539" y="854329"/>
                      </a:lnTo>
                      <a:lnTo>
                        <a:pt x="33247" y="852835"/>
                      </a:lnTo>
                      <a:lnTo>
                        <a:pt x="37169" y="851511"/>
                      </a:lnTo>
                      <a:lnTo>
                        <a:pt x="39744" y="850200"/>
                      </a:lnTo>
                      <a:lnTo>
                        <a:pt x="40934" y="849289"/>
                      </a:lnTo>
                      <a:lnTo>
                        <a:pt x="42136" y="847261"/>
                      </a:lnTo>
                      <a:lnTo>
                        <a:pt x="42330" y="846594"/>
                      </a:lnTo>
                      <a:lnTo>
                        <a:pt x="42294" y="846205"/>
                      </a:lnTo>
                      <a:lnTo>
                        <a:pt x="41893" y="846047"/>
                      </a:lnTo>
                      <a:lnTo>
                        <a:pt x="37109" y="845331"/>
                      </a:lnTo>
                      <a:lnTo>
                        <a:pt x="34923" y="844638"/>
                      </a:lnTo>
                      <a:lnTo>
                        <a:pt x="33636" y="843825"/>
                      </a:lnTo>
                      <a:lnTo>
                        <a:pt x="31620" y="841688"/>
                      </a:lnTo>
                      <a:lnTo>
                        <a:pt x="31232" y="840838"/>
                      </a:lnTo>
                      <a:lnTo>
                        <a:pt x="30989" y="839028"/>
                      </a:lnTo>
                      <a:lnTo>
                        <a:pt x="31280" y="837340"/>
                      </a:lnTo>
                      <a:lnTo>
                        <a:pt x="32361" y="834645"/>
                      </a:lnTo>
                      <a:lnTo>
                        <a:pt x="35129" y="830371"/>
                      </a:lnTo>
                      <a:lnTo>
                        <a:pt x="37352" y="828051"/>
                      </a:lnTo>
                      <a:lnTo>
                        <a:pt x="40533" y="826885"/>
                      </a:lnTo>
                      <a:lnTo>
                        <a:pt x="42901" y="827772"/>
                      </a:lnTo>
                      <a:lnTo>
                        <a:pt x="49082" y="830893"/>
                      </a:lnTo>
                      <a:lnTo>
                        <a:pt x="50782" y="831451"/>
                      </a:lnTo>
                      <a:lnTo>
                        <a:pt x="51632" y="831536"/>
                      </a:lnTo>
                      <a:lnTo>
                        <a:pt x="51790" y="831148"/>
                      </a:lnTo>
                      <a:lnTo>
                        <a:pt x="52324" y="828707"/>
                      </a:lnTo>
                      <a:lnTo>
                        <a:pt x="53429" y="818483"/>
                      </a:lnTo>
                      <a:lnTo>
                        <a:pt x="54813" y="813006"/>
                      </a:lnTo>
                      <a:lnTo>
                        <a:pt x="55372" y="811452"/>
                      </a:lnTo>
                      <a:lnTo>
                        <a:pt x="55712" y="808841"/>
                      </a:lnTo>
                      <a:lnTo>
                        <a:pt x="54983" y="804810"/>
                      </a:lnTo>
                      <a:lnTo>
                        <a:pt x="51328" y="794561"/>
                      </a:lnTo>
                      <a:lnTo>
                        <a:pt x="50927" y="794391"/>
                      </a:lnTo>
                      <a:lnTo>
                        <a:pt x="49920" y="794100"/>
                      </a:lnTo>
                      <a:lnTo>
                        <a:pt x="48754" y="793893"/>
                      </a:lnTo>
                      <a:lnTo>
                        <a:pt x="34049" y="793116"/>
                      </a:lnTo>
                      <a:lnTo>
                        <a:pt x="30649" y="792084"/>
                      </a:lnTo>
                      <a:lnTo>
                        <a:pt x="28876" y="789182"/>
                      </a:lnTo>
                      <a:lnTo>
                        <a:pt x="28876" y="786364"/>
                      </a:lnTo>
                      <a:lnTo>
                        <a:pt x="30855" y="779261"/>
                      </a:lnTo>
                      <a:lnTo>
                        <a:pt x="30770" y="777282"/>
                      </a:lnTo>
                      <a:lnTo>
                        <a:pt x="30624" y="775448"/>
                      </a:lnTo>
                      <a:lnTo>
                        <a:pt x="30831" y="772084"/>
                      </a:lnTo>
                      <a:lnTo>
                        <a:pt x="32810" y="768345"/>
                      </a:lnTo>
                      <a:lnTo>
                        <a:pt x="35251" y="766669"/>
                      </a:lnTo>
                      <a:lnTo>
                        <a:pt x="38384" y="765515"/>
                      </a:lnTo>
                      <a:lnTo>
                        <a:pt x="49689" y="764289"/>
                      </a:lnTo>
                      <a:lnTo>
                        <a:pt x="51413" y="763937"/>
                      </a:lnTo>
                      <a:lnTo>
                        <a:pt x="53405" y="763184"/>
                      </a:lnTo>
                      <a:lnTo>
                        <a:pt x="55214" y="761884"/>
                      </a:lnTo>
                      <a:lnTo>
                        <a:pt x="59974" y="757294"/>
                      </a:lnTo>
                      <a:lnTo>
                        <a:pt x="62233" y="755533"/>
                      </a:lnTo>
                      <a:lnTo>
                        <a:pt x="64479" y="754295"/>
                      </a:lnTo>
                      <a:lnTo>
                        <a:pt x="68693" y="752753"/>
                      </a:lnTo>
                      <a:lnTo>
                        <a:pt x="68668" y="751806"/>
                      </a:lnTo>
                      <a:lnTo>
                        <a:pt x="67770" y="748855"/>
                      </a:lnTo>
                      <a:lnTo>
                        <a:pt x="67078" y="747276"/>
                      </a:lnTo>
                      <a:lnTo>
                        <a:pt x="66252" y="744144"/>
                      </a:lnTo>
                      <a:lnTo>
                        <a:pt x="65924" y="740501"/>
                      </a:lnTo>
                      <a:lnTo>
                        <a:pt x="66446" y="727811"/>
                      </a:lnTo>
                      <a:lnTo>
                        <a:pt x="67065" y="725310"/>
                      </a:lnTo>
                      <a:lnTo>
                        <a:pt x="68413" y="721825"/>
                      </a:lnTo>
                      <a:lnTo>
                        <a:pt x="69931" y="719275"/>
                      </a:lnTo>
                      <a:lnTo>
                        <a:pt x="70065" y="718862"/>
                      </a:lnTo>
                      <a:lnTo>
                        <a:pt x="69470" y="717684"/>
                      </a:lnTo>
                      <a:lnTo>
                        <a:pt x="68705" y="716713"/>
                      </a:lnTo>
                      <a:lnTo>
                        <a:pt x="68182" y="715535"/>
                      </a:lnTo>
                      <a:lnTo>
                        <a:pt x="67697" y="713349"/>
                      </a:lnTo>
                      <a:lnTo>
                        <a:pt x="68000" y="703914"/>
                      </a:lnTo>
                      <a:lnTo>
                        <a:pt x="68146" y="702967"/>
                      </a:lnTo>
                      <a:lnTo>
                        <a:pt x="67770" y="702687"/>
                      </a:lnTo>
                      <a:lnTo>
                        <a:pt x="65718" y="701753"/>
                      </a:lnTo>
                      <a:lnTo>
                        <a:pt x="63289" y="701085"/>
                      </a:lnTo>
                      <a:lnTo>
                        <a:pt x="61795" y="701279"/>
                      </a:lnTo>
                      <a:lnTo>
                        <a:pt x="61297" y="701558"/>
                      </a:lnTo>
                      <a:lnTo>
                        <a:pt x="58687" y="703610"/>
                      </a:lnTo>
                      <a:lnTo>
                        <a:pt x="55578" y="705395"/>
                      </a:lnTo>
                      <a:lnTo>
                        <a:pt x="53562" y="706209"/>
                      </a:lnTo>
                      <a:lnTo>
                        <a:pt x="51219" y="706610"/>
                      </a:lnTo>
                      <a:lnTo>
                        <a:pt x="48256" y="706258"/>
                      </a:lnTo>
                      <a:lnTo>
                        <a:pt x="46860" y="705565"/>
                      </a:lnTo>
                      <a:lnTo>
                        <a:pt x="46350" y="705104"/>
                      </a:lnTo>
                      <a:lnTo>
                        <a:pt x="44662" y="703319"/>
                      </a:lnTo>
                      <a:lnTo>
                        <a:pt x="44455" y="702821"/>
                      </a:lnTo>
                      <a:lnTo>
                        <a:pt x="44042" y="701303"/>
                      </a:lnTo>
                      <a:lnTo>
                        <a:pt x="43982" y="699628"/>
                      </a:lnTo>
                      <a:lnTo>
                        <a:pt x="44322" y="697223"/>
                      </a:lnTo>
                      <a:lnTo>
                        <a:pt x="45791" y="693665"/>
                      </a:lnTo>
                      <a:lnTo>
                        <a:pt x="47260" y="691528"/>
                      </a:lnTo>
                      <a:lnTo>
                        <a:pt x="49167" y="689707"/>
                      </a:lnTo>
                      <a:lnTo>
                        <a:pt x="57788" y="685517"/>
                      </a:lnTo>
                      <a:lnTo>
                        <a:pt x="57910" y="685408"/>
                      </a:lnTo>
                      <a:lnTo>
                        <a:pt x="58565" y="684024"/>
                      </a:lnTo>
                      <a:lnTo>
                        <a:pt x="58711" y="681923"/>
                      </a:lnTo>
                      <a:lnTo>
                        <a:pt x="55700" y="666574"/>
                      </a:lnTo>
                      <a:lnTo>
                        <a:pt x="55590" y="647024"/>
                      </a:lnTo>
                      <a:lnTo>
                        <a:pt x="55469" y="642993"/>
                      </a:lnTo>
                      <a:lnTo>
                        <a:pt x="55262" y="641572"/>
                      </a:lnTo>
                      <a:lnTo>
                        <a:pt x="54837" y="639508"/>
                      </a:lnTo>
                      <a:lnTo>
                        <a:pt x="54303" y="638828"/>
                      </a:lnTo>
                      <a:lnTo>
                        <a:pt x="53514" y="638099"/>
                      </a:lnTo>
                      <a:lnTo>
                        <a:pt x="53016" y="638075"/>
                      </a:lnTo>
                      <a:lnTo>
                        <a:pt x="52943" y="638293"/>
                      </a:lnTo>
                      <a:lnTo>
                        <a:pt x="52239" y="638609"/>
                      </a:lnTo>
                      <a:lnTo>
                        <a:pt x="49397" y="639593"/>
                      </a:lnTo>
                      <a:lnTo>
                        <a:pt x="48195" y="639811"/>
                      </a:lnTo>
                      <a:lnTo>
                        <a:pt x="46313" y="639823"/>
                      </a:lnTo>
                      <a:lnTo>
                        <a:pt x="43957" y="639435"/>
                      </a:lnTo>
                      <a:lnTo>
                        <a:pt x="41407" y="638330"/>
                      </a:lnTo>
                      <a:lnTo>
                        <a:pt x="39343" y="636861"/>
                      </a:lnTo>
                      <a:lnTo>
                        <a:pt x="37412" y="634711"/>
                      </a:lnTo>
                      <a:lnTo>
                        <a:pt x="36113" y="632793"/>
                      </a:lnTo>
                      <a:lnTo>
                        <a:pt x="34182" y="628470"/>
                      </a:lnTo>
                      <a:lnTo>
                        <a:pt x="32944" y="624074"/>
                      </a:lnTo>
                      <a:lnTo>
                        <a:pt x="32725" y="620541"/>
                      </a:lnTo>
                      <a:lnTo>
                        <a:pt x="33053" y="617869"/>
                      </a:lnTo>
                      <a:lnTo>
                        <a:pt x="35202" y="610255"/>
                      </a:lnTo>
                      <a:lnTo>
                        <a:pt x="36890" y="598100"/>
                      </a:lnTo>
                      <a:lnTo>
                        <a:pt x="37461" y="595745"/>
                      </a:lnTo>
                      <a:lnTo>
                        <a:pt x="38760" y="592843"/>
                      </a:lnTo>
                      <a:lnTo>
                        <a:pt x="40485" y="590475"/>
                      </a:lnTo>
                      <a:lnTo>
                        <a:pt x="43071" y="588022"/>
                      </a:lnTo>
                      <a:lnTo>
                        <a:pt x="55493" y="580056"/>
                      </a:lnTo>
                      <a:lnTo>
                        <a:pt x="70271" y="572831"/>
                      </a:lnTo>
                      <a:lnTo>
                        <a:pt x="71850" y="571422"/>
                      </a:lnTo>
                      <a:lnTo>
                        <a:pt x="77096" y="566177"/>
                      </a:lnTo>
                      <a:lnTo>
                        <a:pt x="78443" y="563238"/>
                      </a:lnTo>
                      <a:lnTo>
                        <a:pt x="78541" y="554240"/>
                      </a:lnTo>
                      <a:lnTo>
                        <a:pt x="82317" y="543870"/>
                      </a:lnTo>
                      <a:lnTo>
                        <a:pt x="83677" y="537289"/>
                      </a:lnTo>
                      <a:lnTo>
                        <a:pt x="86676" y="529238"/>
                      </a:lnTo>
                      <a:lnTo>
                        <a:pt x="87065" y="525097"/>
                      </a:lnTo>
                      <a:lnTo>
                        <a:pt x="85802" y="508473"/>
                      </a:lnTo>
                      <a:lnTo>
                        <a:pt x="86409" y="504381"/>
                      </a:lnTo>
                      <a:lnTo>
                        <a:pt x="87150" y="501527"/>
                      </a:lnTo>
                      <a:lnTo>
                        <a:pt x="88206" y="482779"/>
                      </a:lnTo>
                      <a:lnTo>
                        <a:pt x="90319" y="476076"/>
                      </a:lnTo>
                      <a:lnTo>
                        <a:pt x="94132" y="471814"/>
                      </a:lnTo>
                      <a:lnTo>
                        <a:pt x="100726" y="470854"/>
                      </a:lnTo>
                      <a:lnTo>
                        <a:pt x="103373" y="468778"/>
                      </a:lnTo>
                      <a:lnTo>
                        <a:pt x="105692" y="464091"/>
                      </a:lnTo>
                      <a:lnTo>
                        <a:pt x="108303" y="456623"/>
                      </a:lnTo>
                      <a:lnTo>
                        <a:pt x="107441" y="445111"/>
                      </a:lnTo>
                      <a:lnTo>
                        <a:pt x="107841" y="436271"/>
                      </a:lnTo>
                      <a:lnTo>
                        <a:pt x="109711" y="430212"/>
                      </a:lnTo>
                      <a:lnTo>
                        <a:pt x="117507" y="414159"/>
                      </a:lnTo>
                      <a:lnTo>
                        <a:pt x="121114" y="408367"/>
                      </a:lnTo>
                      <a:lnTo>
                        <a:pt x="125315" y="404736"/>
                      </a:lnTo>
                      <a:lnTo>
                        <a:pt x="129966" y="403947"/>
                      </a:lnTo>
                      <a:lnTo>
                        <a:pt x="134483" y="406108"/>
                      </a:lnTo>
                      <a:lnTo>
                        <a:pt x="139219" y="413285"/>
                      </a:lnTo>
                      <a:lnTo>
                        <a:pt x="139377" y="411281"/>
                      </a:lnTo>
                      <a:lnTo>
                        <a:pt x="138660" y="409897"/>
                      </a:lnTo>
                      <a:lnTo>
                        <a:pt x="136499" y="406594"/>
                      </a:lnTo>
                      <a:lnTo>
                        <a:pt x="136013" y="403146"/>
                      </a:lnTo>
                      <a:lnTo>
                        <a:pt x="137640" y="401555"/>
                      </a:lnTo>
                      <a:lnTo>
                        <a:pt x="139146" y="400547"/>
                      </a:lnTo>
                      <a:lnTo>
                        <a:pt x="142194" y="399612"/>
                      </a:lnTo>
                      <a:lnTo>
                        <a:pt x="142849" y="397936"/>
                      </a:lnTo>
                      <a:lnTo>
                        <a:pt x="143153" y="388440"/>
                      </a:lnTo>
                      <a:lnTo>
                        <a:pt x="144768" y="384118"/>
                      </a:lnTo>
                      <a:lnTo>
                        <a:pt x="147707" y="380390"/>
                      </a:lnTo>
                      <a:lnTo>
                        <a:pt x="149905" y="378471"/>
                      </a:lnTo>
                      <a:lnTo>
                        <a:pt x="157470" y="374015"/>
                      </a:lnTo>
                      <a:lnTo>
                        <a:pt x="161501" y="367239"/>
                      </a:lnTo>
                      <a:lnTo>
                        <a:pt x="161756" y="364835"/>
                      </a:lnTo>
                      <a:lnTo>
                        <a:pt x="162048" y="360099"/>
                      </a:lnTo>
                      <a:lnTo>
                        <a:pt x="161428" y="355229"/>
                      </a:lnTo>
                      <a:lnTo>
                        <a:pt x="161768" y="347737"/>
                      </a:lnTo>
                      <a:lnTo>
                        <a:pt x="163480" y="342479"/>
                      </a:lnTo>
                      <a:lnTo>
                        <a:pt x="170305" y="333287"/>
                      </a:lnTo>
                      <a:lnTo>
                        <a:pt x="172988" y="330458"/>
                      </a:lnTo>
                      <a:lnTo>
                        <a:pt x="176109" y="328734"/>
                      </a:lnTo>
                      <a:lnTo>
                        <a:pt x="177068" y="328284"/>
                      </a:lnTo>
                      <a:lnTo>
                        <a:pt x="181221" y="329219"/>
                      </a:lnTo>
                      <a:lnTo>
                        <a:pt x="182909" y="332328"/>
                      </a:lnTo>
                      <a:lnTo>
                        <a:pt x="184026" y="335558"/>
                      </a:lnTo>
                      <a:lnTo>
                        <a:pt x="184864" y="335995"/>
                      </a:lnTo>
                      <a:lnTo>
                        <a:pt x="185459" y="336092"/>
                      </a:lnTo>
                      <a:lnTo>
                        <a:pt x="188980" y="334501"/>
                      </a:lnTo>
                      <a:lnTo>
                        <a:pt x="191810" y="331927"/>
                      </a:lnTo>
                      <a:lnTo>
                        <a:pt x="195768" y="330397"/>
                      </a:lnTo>
                      <a:lnTo>
                        <a:pt x="200613" y="329741"/>
                      </a:lnTo>
                      <a:lnTo>
                        <a:pt x="205228" y="325892"/>
                      </a:lnTo>
                      <a:lnTo>
                        <a:pt x="209393" y="325589"/>
                      </a:lnTo>
                      <a:lnTo>
                        <a:pt x="213448" y="327155"/>
                      </a:lnTo>
                      <a:lnTo>
                        <a:pt x="216047" y="329924"/>
                      </a:lnTo>
                      <a:lnTo>
                        <a:pt x="220054" y="336979"/>
                      </a:lnTo>
                      <a:lnTo>
                        <a:pt x="220698" y="337392"/>
                      </a:lnTo>
                      <a:lnTo>
                        <a:pt x="222216" y="337064"/>
                      </a:lnTo>
                      <a:lnTo>
                        <a:pt x="224219" y="335594"/>
                      </a:lnTo>
                      <a:lnTo>
                        <a:pt x="225761" y="333724"/>
                      </a:lnTo>
                      <a:lnTo>
                        <a:pt x="229987" y="331077"/>
                      </a:lnTo>
                      <a:lnTo>
                        <a:pt x="232197" y="329438"/>
                      </a:lnTo>
                      <a:lnTo>
                        <a:pt x="235731" y="325807"/>
                      </a:lnTo>
                      <a:lnTo>
                        <a:pt x="241790" y="321460"/>
                      </a:lnTo>
                      <a:lnTo>
                        <a:pt x="246186" y="320659"/>
                      </a:lnTo>
                      <a:lnTo>
                        <a:pt x="249076" y="319396"/>
                      </a:lnTo>
                      <a:lnTo>
                        <a:pt x="254577" y="318619"/>
                      </a:lnTo>
                      <a:lnTo>
                        <a:pt x="257795" y="317319"/>
                      </a:lnTo>
                      <a:lnTo>
                        <a:pt x="260077" y="315996"/>
                      </a:lnTo>
                      <a:lnTo>
                        <a:pt x="260527" y="315279"/>
                      </a:lnTo>
                      <a:lnTo>
                        <a:pt x="260697" y="313179"/>
                      </a:lnTo>
                      <a:lnTo>
                        <a:pt x="261741" y="309439"/>
                      </a:lnTo>
                      <a:lnTo>
                        <a:pt x="265007" y="304873"/>
                      </a:lnTo>
                      <a:lnTo>
                        <a:pt x="277029" y="296361"/>
                      </a:lnTo>
                      <a:lnTo>
                        <a:pt x="281352" y="295620"/>
                      </a:lnTo>
                      <a:lnTo>
                        <a:pt x="282542" y="294563"/>
                      </a:lnTo>
                      <a:lnTo>
                        <a:pt x="282578" y="292281"/>
                      </a:lnTo>
                      <a:lnTo>
                        <a:pt x="281595" y="289196"/>
                      </a:lnTo>
                      <a:lnTo>
                        <a:pt x="281716" y="284631"/>
                      </a:lnTo>
                      <a:lnTo>
                        <a:pt x="283270" y="282190"/>
                      </a:lnTo>
                      <a:lnTo>
                        <a:pt x="285966" y="278996"/>
                      </a:lnTo>
                      <a:lnTo>
                        <a:pt x="285735" y="272973"/>
                      </a:lnTo>
                      <a:lnTo>
                        <a:pt x="284521" y="267096"/>
                      </a:lnTo>
                      <a:lnTo>
                        <a:pt x="284946" y="261692"/>
                      </a:lnTo>
                      <a:lnTo>
                        <a:pt x="287435" y="256337"/>
                      </a:lnTo>
                      <a:lnTo>
                        <a:pt x="291831" y="254140"/>
                      </a:lnTo>
                      <a:lnTo>
                        <a:pt x="299554" y="251796"/>
                      </a:lnTo>
                      <a:lnTo>
                        <a:pt x="302796" y="250229"/>
                      </a:lnTo>
                      <a:lnTo>
                        <a:pt x="309888" y="244437"/>
                      </a:lnTo>
                      <a:lnTo>
                        <a:pt x="315401" y="238754"/>
                      </a:lnTo>
                      <a:lnTo>
                        <a:pt x="315826" y="236933"/>
                      </a:lnTo>
                      <a:lnTo>
                        <a:pt x="313931" y="230558"/>
                      </a:lnTo>
                      <a:lnTo>
                        <a:pt x="313992" y="225992"/>
                      </a:lnTo>
                      <a:lnTo>
                        <a:pt x="316833" y="219022"/>
                      </a:lnTo>
                      <a:lnTo>
                        <a:pt x="321314" y="216059"/>
                      </a:lnTo>
                      <a:lnTo>
                        <a:pt x="332316" y="212538"/>
                      </a:lnTo>
                      <a:lnTo>
                        <a:pt x="341047" y="207110"/>
                      </a:lnTo>
                      <a:lnTo>
                        <a:pt x="345636" y="206066"/>
                      </a:lnTo>
                      <a:lnTo>
                        <a:pt x="350506" y="206442"/>
                      </a:lnTo>
                      <a:lnTo>
                        <a:pt x="352364" y="206976"/>
                      </a:lnTo>
                      <a:lnTo>
                        <a:pt x="353481" y="205398"/>
                      </a:lnTo>
                      <a:lnTo>
                        <a:pt x="355873" y="199132"/>
                      </a:lnTo>
                      <a:lnTo>
                        <a:pt x="355837" y="195720"/>
                      </a:lnTo>
                      <a:lnTo>
                        <a:pt x="357257" y="187463"/>
                      </a:lnTo>
                      <a:lnTo>
                        <a:pt x="361847" y="172260"/>
                      </a:lnTo>
                      <a:lnTo>
                        <a:pt x="361398" y="169540"/>
                      </a:lnTo>
                      <a:lnTo>
                        <a:pt x="359431" y="166759"/>
                      </a:lnTo>
                      <a:lnTo>
                        <a:pt x="353080" y="162885"/>
                      </a:lnTo>
                      <a:lnTo>
                        <a:pt x="350409" y="159777"/>
                      </a:lnTo>
                      <a:lnTo>
                        <a:pt x="349061" y="159206"/>
                      </a:lnTo>
                      <a:lnTo>
                        <a:pt x="347191" y="159000"/>
                      </a:lnTo>
                      <a:lnTo>
                        <a:pt x="337100" y="160736"/>
                      </a:lnTo>
                      <a:lnTo>
                        <a:pt x="333530" y="159157"/>
                      </a:lnTo>
                      <a:lnTo>
                        <a:pt x="332243" y="156425"/>
                      </a:lnTo>
                      <a:lnTo>
                        <a:pt x="331769" y="154992"/>
                      </a:lnTo>
                      <a:lnTo>
                        <a:pt x="329438" y="154992"/>
                      </a:lnTo>
                      <a:lnTo>
                        <a:pt x="326111" y="152868"/>
                      </a:lnTo>
                      <a:lnTo>
                        <a:pt x="322371" y="148302"/>
                      </a:lnTo>
                      <a:lnTo>
                        <a:pt x="317368" y="138563"/>
                      </a:lnTo>
                      <a:lnTo>
                        <a:pt x="313761" y="133912"/>
                      </a:lnTo>
                      <a:lnTo>
                        <a:pt x="311163" y="132577"/>
                      </a:lnTo>
                      <a:lnTo>
                        <a:pt x="302614" y="132103"/>
                      </a:lnTo>
                      <a:lnTo>
                        <a:pt x="290787" y="127270"/>
                      </a:lnTo>
                      <a:lnTo>
                        <a:pt x="287120" y="126323"/>
                      </a:lnTo>
                      <a:lnTo>
                        <a:pt x="283793" y="125060"/>
                      </a:lnTo>
                      <a:lnTo>
                        <a:pt x="282457" y="125157"/>
                      </a:lnTo>
                      <a:lnTo>
                        <a:pt x="281109" y="126019"/>
                      </a:lnTo>
                      <a:lnTo>
                        <a:pt x="277721" y="129225"/>
                      </a:lnTo>
                      <a:lnTo>
                        <a:pt x="271577" y="132018"/>
                      </a:lnTo>
                      <a:lnTo>
                        <a:pt x="266975" y="135564"/>
                      </a:lnTo>
                      <a:lnTo>
                        <a:pt x="262591" y="137458"/>
                      </a:lnTo>
                      <a:lnTo>
                        <a:pt x="257600" y="135479"/>
                      </a:lnTo>
                      <a:lnTo>
                        <a:pt x="255536" y="132164"/>
                      </a:lnTo>
                      <a:lnTo>
                        <a:pt x="254103" y="128484"/>
                      </a:lnTo>
                      <a:lnTo>
                        <a:pt x="251929" y="124975"/>
                      </a:lnTo>
                      <a:lnTo>
                        <a:pt x="250618" y="122073"/>
                      </a:lnTo>
                      <a:lnTo>
                        <a:pt x="249464" y="118224"/>
                      </a:lnTo>
                      <a:lnTo>
                        <a:pt x="250885" y="115370"/>
                      </a:lnTo>
                      <a:lnTo>
                        <a:pt x="252767" y="113949"/>
                      </a:lnTo>
                      <a:lnTo>
                        <a:pt x="253678" y="112893"/>
                      </a:lnTo>
                      <a:lnTo>
                        <a:pt x="254309" y="111144"/>
                      </a:lnTo>
                      <a:lnTo>
                        <a:pt x="254953" y="104235"/>
                      </a:lnTo>
                      <a:lnTo>
                        <a:pt x="257175" y="101236"/>
                      </a:lnTo>
                      <a:lnTo>
                        <a:pt x="262105" y="99426"/>
                      </a:lnTo>
                      <a:lnTo>
                        <a:pt x="263052" y="98686"/>
                      </a:lnTo>
                      <a:lnTo>
                        <a:pt x="265105" y="95468"/>
                      </a:lnTo>
                      <a:lnTo>
                        <a:pt x="266987" y="93355"/>
                      </a:lnTo>
                      <a:lnTo>
                        <a:pt x="267460" y="92274"/>
                      </a:lnTo>
                      <a:lnTo>
                        <a:pt x="267424" y="89736"/>
                      </a:lnTo>
                      <a:lnTo>
                        <a:pt x="266586" y="86786"/>
                      </a:lnTo>
                      <a:lnTo>
                        <a:pt x="263987" y="83118"/>
                      </a:lnTo>
                      <a:lnTo>
                        <a:pt x="258912" y="71000"/>
                      </a:lnTo>
                      <a:lnTo>
                        <a:pt x="256592" y="68122"/>
                      </a:lnTo>
                      <a:lnTo>
                        <a:pt x="255536" y="65305"/>
                      </a:lnTo>
                      <a:lnTo>
                        <a:pt x="255111" y="63933"/>
                      </a:lnTo>
                      <a:lnTo>
                        <a:pt x="256932" y="61188"/>
                      </a:lnTo>
                      <a:lnTo>
                        <a:pt x="256908" y="60933"/>
                      </a:lnTo>
                      <a:lnTo>
                        <a:pt x="253520" y="57545"/>
                      </a:lnTo>
                      <a:lnTo>
                        <a:pt x="260940" y="51158"/>
                      </a:lnTo>
                      <a:lnTo>
                        <a:pt x="270751" y="51219"/>
                      </a:lnTo>
                      <a:lnTo>
                        <a:pt x="275244" y="54728"/>
                      </a:lnTo>
                      <a:lnTo>
                        <a:pt x="283793" y="64163"/>
                      </a:lnTo>
                      <a:lnTo>
                        <a:pt x="289536" y="68316"/>
                      </a:lnTo>
                      <a:lnTo>
                        <a:pt x="294187" y="69203"/>
                      </a:lnTo>
                      <a:lnTo>
                        <a:pt x="298522" y="69021"/>
                      </a:lnTo>
                      <a:lnTo>
                        <a:pt x="302116" y="67296"/>
                      </a:lnTo>
                      <a:lnTo>
                        <a:pt x="310956" y="62135"/>
                      </a:lnTo>
                      <a:lnTo>
                        <a:pt x="316566" y="60180"/>
                      </a:lnTo>
                      <a:lnTo>
                        <a:pt x="330482" y="60873"/>
                      </a:lnTo>
                      <a:lnTo>
                        <a:pt x="336129" y="62900"/>
                      </a:lnTo>
                      <a:lnTo>
                        <a:pt x="344835" y="67903"/>
                      </a:lnTo>
                      <a:lnTo>
                        <a:pt x="349862" y="68389"/>
                      </a:lnTo>
                      <a:lnTo>
                        <a:pt x="367494" y="68013"/>
                      </a:lnTo>
                      <a:lnTo>
                        <a:pt x="375836" y="70538"/>
                      </a:lnTo>
                      <a:lnTo>
                        <a:pt x="379042" y="71000"/>
                      </a:lnTo>
                      <a:lnTo>
                        <a:pt x="407335" y="71449"/>
                      </a:lnTo>
                      <a:lnTo>
                        <a:pt x="423303" y="73610"/>
                      </a:lnTo>
                      <a:lnTo>
                        <a:pt x="428087" y="73076"/>
                      </a:lnTo>
                      <a:lnTo>
                        <a:pt x="429386" y="72275"/>
                      </a:lnTo>
                      <a:lnTo>
                        <a:pt x="430576" y="70575"/>
                      </a:lnTo>
                      <a:lnTo>
                        <a:pt x="434110" y="67830"/>
                      </a:lnTo>
                      <a:lnTo>
                        <a:pt x="443011" y="64175"/>
                      </a:lnTo>
                      <a:lnTo>
                        <a:pt x="448475" y="61115"/>
                      </a:lnTo>
                      <a:lnTo>
                        <a:pt x="448609" y="60945"/>
                      </a:lnTo>
                      <a:lnTo>
                        <a:pt x="448985" y="59233"/>
                      </a:lnTo>
                      <a:lnTo>
                        <a:pt x="448985" y="57084"/>
                      </a:lnTo>
                      <a:lnTo>
                        <a:pt x="449969" y="52785"/>
                      </a:lnTo>
                      <a:lnTo>
                        <a:pt x="452895" y="49968"/>
                      </a:lnTo>
                      <a:lnTo>
                        <a:pt x="457813" y="47503"/>
                      </a:lnTo>
                      <a:lnTo>
                        <a:pt x="463921" y="46580"/>
                      </a:lnTo>
                      <a:lnTo>
                        <a:pt x="466532" y="45609"/>
                      </a:lnTo>
                      <a:lnTo>
                        <a:pt x="472081" y="42828"/>
                      </a:lnTo>
                      <a:lnTo>
                        <a:pt x="473356" y="41371"/>
                      </a:lnTo>
                      <a:lnTo>
                        <a:pt x="473623" y="40120"/>
                      </a:lnTo>
                      <a:lnTo>
                        <a:pt x="473441" y="38675"/>
                      </a:lnTo>
                      <a:lnTo>
                        <a:pt x="473902" y="36016"/>
                      </a:lnTo>
                      <a:lnTo>
                        <a:pt x="473854" y="34219"/>
                      </a:lnTo>
                      <a:lnTo>
                        <a:pt x="478371" y="28245"/>
                      </a:lnTo>
                      <a:lnTo>
                        <a:pt x="488292" y="30734"/>
                      </a:lnTo>
                      <a:lnTo>
                        <a:pt x="499087" y="40691"/>
                      </a:lnTo>
                      <a:lnTo>
                        <a:pt x="502147" y="42634"/>
                      </a:lnTo>
                      <a:lnTo>
                        <a:pt x="506288" y="44516"/>
                      </a:lnTo>
                      <a:lnTo>
                        <a:pt x="510938" y="45560"/>
                      </a:lnTo>
                      <a:lnTo>
                        <a:pt x="512383" y="45524"/>
                      </a:lnTo>
                      <a:lnTo>
                        <a:pt x="517447" y="44759"/>
                      </a:lnTo>
                      <a:lnTo>
                        <a:pt x="524769" y="44868"/>
                      </a:lnTo>
                      <a:lnTo>
                        <a:pt x="533961" y="46070"/>
                      </a:lnTo>
                      <a:lnTo>
                        <a:pt x="536159" y="45815"/>
                      </a:lnTo>
                      <a:lnTo>
                        <a:pt x="538017" y="45330"/>
                      </a:lnTo>
                      <a:lnTo>
                        <a:pt x="543057" y="43010"/>
                      </a:lnTo>
                      <a:lnTo>
                        <a:pt x="545218" y="42270"/>
                      </a:lnTo>
                      <a:lnTo>
                        <a:pt x="550731" y="41080"/>
                      </a:lnTo>
                      <a:lnTo>
                        <a:pt x="554556" y="39671"/>
                      </a:lnTo>
                      <a:lnTo>
                        <a:pt x="555637" y="38954"/>
                      </a:lnTo>
                      <a:lnTo>
                        <a:pt x="556462" y="38214"/>
                      </a:lnTo>
                      <a:lnTo>
                        <a:pt x="557324" y="37145"/>
                      </a:lnTo>
                      <a:lnTo>
                        <a:pt x="560992" y="31050"/>
                      </a:lnTo>
                      <a:lnTo>
                        <a:pt x="561405" y="30127"/>
                      </a:lnTo>
                      <a:lnTo>
                        <a:pt x="561696" y="24419"/>
                      </a:lnTo>
                      <a:lnTo>
                        <a:pt x="562789" y="20947"/>
                      </a:lnTo>
                      <a:lnTo>
                        <a:pt x="564962" y="17838"/>
                      </a:lnTo>
                      <a:lnTo>
                        <a:pt x="571957" y="13406"/>
                      </a:lnTo>
                      <a:lnTo>
                        <a:pt x="573001" y="12410"/>
                      </a:lnTo>
                      <a:lnTo>
                        <a:pt x="575235" y="5719"/>
                      </a:lnTo>
                      <a:lnTo>
                        <a:pt x="578817" y="0"/>
                      </a:lnTo>
                      <a:lnTo>
                        <a:pt x="591057" y="3740"/>
                      </a:lnTo>
                      <a:lnTo>
                        <a:pt x="600055" y="4189"/>
                      </a:lnTo>
                      <a:lnTo>
                        <a:pt x="602423" y="4784"/>
                      </a:lnTo>
                      <a:lnTo>
                        <a:pt x="604706" y="6132"/>
                      </a:lnTo>
                      <a:lnTo>
                        <a:pt x="608033" y="9022"/>
                      </a:lnTo>
                      <a:lnTo>
                        <a:pt x="614141" y="12313"/>
                      </a:lnTo>
                      <a:lnTo>
                        <a:pt x="616290" y="14499"/>
                      </a:lnTo>
                      <a:lnTo>
                        <a:pt x="617553" y="17194"/>
                      </a:lnTo>
                      <a:lnTo>
                        <a:pt x="618051" y="20667"/>
                      </a:lnTo>
                      <a:lnTo>
                        <a:pt x="617966" y="28961"/>
                      </a:lnTo>
                      <a:lnTo>
                        <a:pt x="618161" y="31292"/>
                      </a:lnTo>
                      <a:lnTo>
                        <a:pt x="618695" y="33915"/>
                      </a:lnTo>
                      <a:lnTo>
                        <a:pt x="619581" y="36016"/>
                      </a:lnTo>
                      <a:lnTo>
                        <a:pt x="620941" y="38614"/>
                      </a:lnTo>
                      <a:lnTo>
                        <a:pt x="623783" y="42367"/>
                      </a:lnTo>
                      <a:lnTo>
                        <a:pt x="649611" y="65159"/>
                      </a:lnTo>
                      <a:lnTo>
                        <a:pt x="652768" y="69021"/>
                      </a:lnTo>
                      <a:lnTo>
                        <a:pt x="656581" y="77630"/>
                      </a:lnTo>
                      <a:lnTo>
                        <a:pt x="657443" y="80253"/>
                      </a:lnTo>
                      <a:lnTo>
                        <a:pt x="657832" y="82985"/>
                      </a:lnTo>
                      <a:lnTo>
                        <a:pt x="657394" y="85851"/>
                      </a:lnTo>
                      <a:lnTo>
                        <a:pt x="655221" y="91861"/>
                      </a:lnTo>
                      <a:lnTo>
                        <a:pt x="654820" y="93258"/>
                      </a:lnTo>
                      <a:lnTo>
                        <a:pt x="654808" y="94096"/>
                      </a:lnTo>
                      <a:lnTo>
                        <a:pt x="655112" y="95164"/>
                      </a:lnTo>
                      <a:lnTo>
                        <a:pt x="656836" y="98613"/>
                      </a:lnTo>
                      <a:lnTo>
                        <a:pt x="659192" y="105328"/>
                      </a:lnTo>
                      <a:lnTo>
                        <a:pt x="660734" y="108254"/>
                      </a:lnTo>
                      <a:lnTo>
                        <a:pt x="661984" y="109432"/>
                      </a:lnTo>
                      <a:lnTo>
                        <a:pt x="663417" y="110367"/>
                      </a:lnTo>
                      <a:lnTo>
                        <a:pt x="664425" y="110634"/>
                      </a:lnTo>
                      <a:lnTo>
                        <a:pt x="665202" y="110671"/>
                      </a:lnTo>
                      <a:lnTo>
                        <a:pt x="666125" y="110586"/>
                      </a:lnTo>
                      <a:lnTo>
                        <a:pt x="670035" y="109784"/>
                      </a:lnTo>
                      <a:lnTo>
                        <a:pt x="671674" y="109602"/>
                      </a:lnTo>
                      <a:lnTo>
                        <a:pt x="673824" y="109675"/>
                      </a:lnTo>
                      <a:lnTo>
                        <a:pt x="675912" y="110051"/>
                      </a:lnTo>
                      <a:lnTo>
                        <a:pt x="686489" y="114338"/>
                      </a:lnTo>
                      <a:lnTo>
                        <a:pt x="686125" y="111776"/>
                      </a:lnTo>
                      <a:lnTo>
                        <a:pt x="686076" y="108631"/>
                      </a:lnTo>
                      <a:lnTo>
                        <a:pt x="686294" y="107210"/>
                      </a:lnTo>
                      <a:lnTo>
                        <a:pt x="687108" y="105182"/>
                      </a:lnTo>
                      <a:lnTo>
                        <a:pt x="687436" y="104709"/>
                      </a:lnTo>
                      <a:lnTo>
                        <a:pt x="688444" y="103616"/>
                      </a:lnTo>
                      <a:lnTo>
                        <a:pt x="690083" y="102644"/>
                      </a:lnTo>
                      <a:lnTo>
                        <a:pt x="691152" y="102244"/>
                      </a:lnTo>
                      <a:lnTo>
                        <a:pt x="693046" y="101697"/>
                      </a:lnTo>
                      <a:lnTo>
                        <a:pt x="693860" y="101309"/>
                      </a:lnTo>
                      <a:lnTo>
                        <a:pt x="695815" y="100034"/>
                      </a:lnTo>
                      <a:lnTo>
                        <a:pt x="697709" y="99293"/>
                      </a:lnTo>
                      <a:lnTo>
                        <a:pt x="700684" y="99086"/>
                      </a:lnTo>
                      <a:lnTo>
                        <a:pt x="704011" y="100701"/>
                      </a:lnTo>
                      <a:lnTo>
                        <a:pt x="705383" y="102863"/>
                      </a:lnTo>
                      <a:lnTo>
                        <a:pt x="706209" y="106020"/>
                      </a:lnTo>
                      <a:lnTo>
                        <a:pt x="706488" y="108376"/>
                      </a:lnTo>
                      <a:lnTo>
                        <a:pt x="706950" y="110355"/>
                      </a:lnTo>
                      <a:lnTo>
                        <a:pt x="710143" y="116341"/>
                      </a:lnTo>
                      <a:lnTo>
                        <a:pt x="710410" y="117823"/>
                      </a:lnTo>
                      <a:lnTo>
                        <a:pt x="710192" y="120349"/>
                      </a:lnTo>
                      <a:lnTo>
                        <a:pt x="709123" y="123081"/>
                      </a:lnTo>
                      <a:lnTo>
                        <a:pt x="707945" y="125206"/>
                      </a:lnTo>
                      <a:lnTo>
                        <a:pt x="705517" y="128399"/>
                      </a:lnTo>
                      <a:lnTo>
                        <a:pt x="699506" y="134677"/>
                      </a:lnTo>
                      <a:lnTo>
                        <a:pt x="698753" y="135770"/>
                      </a:lnTo>
                      <a:lnTo>
                        <a:pt x="698195" y="136960"/>
                      </a:lnTo>
                      <a:lnTo>
                        <a:pt x="698498" y="140105"/>
                      </a:lnTo>
                      <a:lnTo>
                        <a:pt x="698571" y="142060"/>
                      </a:lnTo>
                      <a:lnTo>
                        <a:pt x="698401" y="144355"/>
                      </a:lnTo>
                      <a:lnTo>
                        <a:pt x="697114" y="150074"/>
                      </a:lnTo>
                      <a:lnTo>
                        <a:pt x="696956" y="151690"/>
                      </a:lnTo>
                      <a:lnTo>
                        <a:pt x="696980" y="153815"/>
                      </a:lnTo>
                      <a:lnTo>
                        <a:pt x="697211" y="154713"/>
                      </a:lnTo>
                      <a:lnTo>
                        <a:pt x="700781" y="150973"/>
                      </a:lnTo>
                      <a:lnTo>
                        <a:pt x="703052" y="149747"/>
                      </a:lnTo>
                      <a:lnTo>
                        <a:pt x="703877" y="149382"/>
                      </a:lnTo>
                      <a:lnTo>
                        <a:pt x="705286" y="149625"/>
                      </a:lnTo>
                      <a:lnTo>
                        <a:pt x="706792" y="150062"/>
                      </a:lnTo>
                      <a:lnTo>
                        <a:pt x="709524" y="151605"/>
                      </a:lnTo>
                      <a:lnTo>
                        <a:pt x="711248" y="154312"/>
                      </a:lnTo>
                      <a:lnTo>
                        <a:pt x="712596" y="157542"/>
                      </a:lnTo>
                      <a:lnTo>
                        <a:pt x="714709" y="167755"/>
                      </a:lnTo>
                      <a:lnTo>
                        <a:pt x="713385" y="184318"/>
                      </a:lnTo>
                      <a:lnTo>
                        <a:pt x="711345" y="192636"/>
                      </a:lnTo>
                      <a:lnTo>
                        <a:pt x="712863" y="200067"/>
                      </a:lnTo>
                      <a:lnTo>
                        <a:pt x="715401" y="203504"/>
                      </a:lnTo>
                      <a:lnTo>
                        <a:pt x="721096" y="208142"/>
                      </a:lnTo>
                      <a:lnTo>
                        <a:pt x="723440" y="210789"/>
                      </a:lnTo>
                      <a:lnTo>
                        <a:pt x="724982" y="214007"/>
                      </a:lnTo>
                      <a:lnTo>
                        <a:pt x="725698" y="216812"/>
                      </a:lnTo>
                      <a:lnTo>
                        <a:pt x="726609" y="222629"/>
                      </a:lnTo>
                      <a:lnTo>
                        <a:pt x="727629" y="226211"/>
                      </a:lnTo>
                      <a:lnTo>
                        <a:pt x="728261" y="227704"/>
                      </a:lnTo>
                      <a:lnTo>
                        <a:pt x="729268" y="228105"/>
                      </a:lnTo>
                      <a:lnTo>
                        <a:pt x="729013" y="226599"/>
                      </a:lnTo>
                      <a:lnTo>
                        <a:pt x="729159" y="223904"/>
                      </a:lnTo>
                      <a:lnTo>
                        <a:pt x="731248" y="222179"/>
                      </a:lnTo>
                      <a:lnTo>
                        <a:pt x="733421" y="221730"/>
                      </a:lnTo>
                      <a:lnTo>
                        <a:pt x="735024" y="221997"/>
                      </a:lnTo>
                      <a:lnTo>
                        <a:pt x="742395" y="226344"/>
                      </a:lnTo>
                      <a:lnTo>
                        <a:pt x="743354" y="226781"/>
                      </a:lnTo>
                      <a:lnTo>
                        <a:pt x="746098" y="227595"/>
                      </a:lnTo>
                      <a:lnTo>
                        <a:pt x="747398" y="227765"/>
                      </a:lnTo>
                      <a:lnTo>
                        <a:pt x="748697" y="227729"/>
                      </a:lnTo>
                      <a:lnTo>
                        <a:pt x="749207" y="227377"/>
                      </a:lnTo>
                      <a:lnTo>
                        <a:pt x="750713" y="226648"/>
                      </a:lnTo>
                      <a:lnTo>
                        <a:pt x="751575" y="226466"/>
                      </a:lnTo>
                      <a:lnTo>
                        <a:pt x="753591" y="226272"/>
                      </a:lnTo>
                      <a:lnTo>
                        <a:pt x="755667" y="226296"/>
                      </a:lnTo>
                      <a:lnTo>
                        <a:pt x="757707" y="226502"/>
                      </a:lnTo>
                      <a:lnTo>
                        <a:pt x="760099" y="227219"/>
                      </a:lnTo>
                      <a:lnTo>
                        <a:pt x="765503" y="229708"/>
                      </a:lnTo>
                      <a:lnTo>
                        <a:pt x="767810" y="231614"/>
                      </a:lnTo>
                      <a:lnTo>
                        <a:pt x="769279" y="234043"/>
                      </a:lnTo>
                      <a:lnTo>
                        <a:pt x="769935" y="239107"/>
                      </a:lnTo>
                      <a:lnTo>
                        <a:pt x="770506" y="240843"/>
                      </a:lnTo>
                      <a:lnTo>
                        <a:pt x="772109" y="243976"/>
                      </a:lnTo>
                      <a:lnTo>
                        <a:pt x="773129" y="246526"/>
                      </a:lnTo>
                      <a:lnTo>
                        <a:pt x="773748" y="249440"/>
                      </a:lnTo>
                      <a:lnTo>
                        <a:pt x="773541" y="252525"/>
                      </a:lnTo>
                      <a:lnTo>
                        <a:pt x="772181" y="255779"/>
                      </a:lnTo>
                      <a:lnTo>
                        <a:pt x="770081" y="258681"/>
                      </a:lnTo>
                      <a:lnTo>
                        <a:pt x="767458" y="261377"/>
                      </a:lnTo>
                      <a:lnTo>
                        <a:pt x="759711" y="266914"/>
                      </a:lnTo>
                      <a:lnTo>
                        <a:pt x="758496" y="267970"/>
                      </a:lnTo>
                      <a:lnTo>
                        <a:pt x="756857" y="270047"/>
                      </a:lnTo>
                      <a:lnTo>
                        <a:pt x="755291" y="271468"/>
                      </a:lnTo>
                      <a:lnTo>
                        <a:pt x="750968" y="273204"/>
                      </a:lnTo>
                      <a:lnTo>
                        <a:pt x="750106" y="273750"/>
                      </a:lnTo>
                      <a:lnTo>
                        <a:pt x="749401" y="274588"/>
                      </a:lnTo>
                      <a:lnTo>
                        <a:pt x="748831" y="275572"/>
                      </a:lnTo>
                      <a:lnTo>
                        <a:pt x="748272" y="276920"/>
                      </a:lnTo>
                      <a:lnTo>
                        <a:pt x="745370" y="286537"/>
                      </a:lnTo>
                      <a:lnTo>
                        <a:pt x="744095" y="288868"/>
                      </a:lnTo>
                      <a:lnTo>
                        <a:pt x="742516" y="290690"/>
                      </a:lnTo>
                      <a:lnTo>
                        <a:pt x="732280" y="297830"/>
                      </a:lnTo>
                      <a:lnTo>
                        <a:pt x="728916" y="301218"/>
                      </a:lnTo>
                      <a:lnTo>
                        <a:pt x="726840" y="302517"/>
                      </a:lnTo>
                      <a:lnTo>
                        <a:pt x="724909" y="303270"/>
                      </a:lnTo>
                      <a:lnTo>
                        <a:pt x="722080" y="303683"/>
                      </a:lnTo>
                      <a:lnTo>
                        <a:pt x="715972" y="303476"/>
                      </a:lnTo>
                      <a:lnTo>
                        <a:pt x="711758" y="308686"/>
                      </a:lnTo>
                      <a:lnTo>
                        <a:pt x="710034" y="310155"/>
                      </a:lnTo>
                      <a:lnTo>
                        <a:pt x="708601" y="311102"/>
                      </a:lnTo>
                      <a:lnTo>
                        <a:pt x="705007" y="312766"/>
                      </a:lnTo>
                      <a:lnTo>
                        <a:pt x="704302" y="314041"/>
                      </a:lnTo>
                      <a:lnTo>
                        <a:pt x="702930" y="318558"/>
                      </a:lnTo>
                      <a:lnTo>
                        <a:pt x="701680" y="321654"/>
                      </a:lnTo>
                      <a:lnTo>
                        <a:pt x="701546" y="323342"/>
                      </a:lnTo>
                      <a:lnTo>
                        <a:pt x="701789" y="323949"/>
                      </a:lnTo>
                      <a:lnTo>
                        <a:pt x="705347" y="330045"/>
                      </a:lnTo>
                      <a:lnTo>
                        <a:pt x="706452" y="333542"/>
                      </a:lnTo>
                      <a:lnTo>
                        <a:pt x="706938" y="337452"/>
                      </a:lnTo>
                      <a:lnTo>
                        <a:pt x="706828" y="340160"/>
                      </a:lnTo>
                      <a:lnTo>
                        <a:pt x="706452" y="342322"/>
                      </a:lnTo>
                      <a:lnTo>
                        <a:pt x="705978" y="344046"/>
                      </a:lnTo>
                      <a:lnTo>
                        <a:pt x="705213" y="345855"/>
                      </a:lnTo>
                      <a:lnTo>
                        <a:pt x="704023" y="347677"/>
                      </a:lnTo>
                      <a:lnTo>
                        <a:pt x="698474" y="354149"/>
                      </a:lnTo>
                      <a:lnTo>
                        <a:pt x="696142" y="356055"/>
                      </a:lnTo>
                      <a:lnTo>
                        <a:pt x="692912" y="357573"/>
                      </a:lnTo>
                      <a:lnTo>
                        <a:pt x="689804" y="358302"/>
                      </a:lnTo>
                      <a:lnTo>
                        <a:pt x="681692" y="359079"/>
                      </a:lnTo>
                      <a:lnTo>
                        <a:pt x="675657" y="361022"/>
                      </a:lnTo>
                      <a:lnTo>
                        <a:pt x="671808" y="363790"/>
                      </a:lnTo>
                      <a:lnTo>
                        <a:pt x="656435" y="377403"/>
                      </a:lnTo>
                      <a:lnTo>
                        <a:pt x="653909" y="379090"/>
                      </a:lnTo>
                      <a:lnTo>
                        <a:pt x="642556" y="383340"/>
                      </a:lnTo>
                      <a:lnTo>
                        <a:pt x="638342" y="385514"/>
                      </a:lnTo>
                      <a:lnTo>
                        <a:pt x="635501" y="387348"/>
                      </a:lnTo>
                      <a:lnTo>
                        <a:pt x="632550" y="390347"/>
                      </a:lnTo>
                      <a:lnTo>
                        <a:pt x="623843" y="403036"/>
                      </a:lnTo>
                      <a:lnTo>
                        <a:pt x="622605" y="405829"/>
                      </a:lnTo>
                      <a:lnTo>
                        <a:pt x="622544" y="406206"/>
                      </a:lnTo>
                      <a:lnTo>
                        <a:pt x="622738" y="406533"/>
                      </a:lnTo>
                      <a:lnTo>
                        <a:pt x="625325" y="409181"/>
                      </a:lnTo>
                      <a:lnTo>
                        <a:pt x="626187" y="410273"/>
                      </a:lnTo>
                      <a:lnTo>
                        <a:pt x="627110" y="412471"/>
                      </a:lnTo>
                      <a:lnTo>
                        <a:pt x="627316" y="413115"/>
                      </a:lnTo>
                      <a:lnTo>
                        <a:pt x="626891" y="416636"/>
                      </a:lnTo>
                      <a:lnTo>
                        <a:pt x="625058" y="418591"/>
                      </a:lnTo>
                      <a:lnTo>
                        <a:pt x="622884" y="420024"/>
                      </a:lnTo>
                      <a:lnTo>
                        <a:pt x="620213" y="420959"/>
                      </a:lnTo>
                      <a:lnTo>
                        <a:pt x="617553" y="422514"/>
                      </a:lnTo>
                      <a:lnTo>
                        <a:pt x="617092" y="423230"/>
                      </a:lnTo>
                      <a:lnTo>
                        <a:pt x="616788" y="424128"/>
                      </a:lnTo>
                      <a:lnTo>
                        <a:pt x="616145" y="430540"/>
                      </a:lnTo>
                      <a:lnTo>
                        <a:pt x="616121" y="432167"/>
                      </a:lnTo>
                      <a:lnTo>
                        <a:pt x="616193" y="432337"/>
                      </a:lnTo>
                      <a:lnTo>
                        <a:pt x="617080" y="433491"/>
                      </a:lnTo>
                      <a:lnTo>
                        <a:pt x="618258" y="434341"/>
                      </a:lnTo>
                      <a:lnTo>
                        <a:pt x="623236" y="437109"/>
                      </a:lnTo>
                      <a:lnTo>
                        <a:pt x="625082" y="438567"/>
                      </a:lnTo>
                      <a:lnTo>
                        <a:pt x="626831" y="440655"/>
                      </a:lnTo>
                      <a:lnTo>
                        <a:pt x="627122" y="442804"/>
                      </a:lnTo>
                      <a:lnTo>
                        <a:pt x="626806" y="445464"/>
                      </a:lnTo>
                      <a:lnTo>
                        <a:pt x="625082" y="450637"/>
                      </a:lnTo>
                      <a:lnTo>
                        <a:pt x="624851" y="451936"/>
                      </a:lnTo>
                      <a:lnTo>
                        <a:pt x="625786" y="454826"/>
                      </a:lnTo>
                      <a:lnTo>
                        <a:pt x="626029" y="455773"/>
                      </a:lnTo>
                      <a:lnTo>
                        <a:pt x="623746" y="461589"/>
                      </a:lnTo>
                      <a:lnTo>
                        <a:pt x="621099" y="462549"/>
                      </a:lnTo>
                      <a:lnTo>
                        <a:pt x="619885" y="462755"/>
                      </a:lnTo>
                      <a:lnTo>
                        <a:pt x="617432" y="462634"/>
                      </a:lnTo>
                      <a:lnTo>
                        <a:pt x="617310" y="464127"/>
                      </a:lnTo>
                      <a:lnTo>
                        <a:pt x="616230" y="467904"/>
                      </a:lnTo>
                      <a:lnTo>
                        <a:pt x="614603" y="469300"/>
                      </a:lnTo>
                      <a:lnTo>
                        <a:pt x="612526" y="469871"/>
                      </a:lnTo>
                      <a:lnTo>
                        <a:pt x="611494" y="469774"/>
                      </a:lnTo>
                      <a:lnTo>
                        <a:pt x="609830" y="468997"/>
                      </a:lnTo>
                      <a:lnTo>
                        <a:pt x="608725" y="467989"/>
                      </a:lnTo>
                      <a:lnTo>
                        <a:pt x="607827" y="467345"/>
                      </a:lnTo>
                      <a:lnTo>
                        <a:pt x="607390" y="467357"/>
                      </a:lnTo>
                      <a:lnTo>
                        <a:pt x="607183" y="467588"/>
                      </a:lnTo>
                      <a:lnTo>
                        <a:pt x="606807" y="468851"/>
                      </a:lnTo>
                      <a:lnTo>
                        <a:pt x="606819" y="472834"/>
                      </a:lnTo>
                      <a:lnTo>
                        <a:pt x="605945" y="476987"/>
                      </a:lnTo>
                      <a:lnTo>
                        <a:pt x="602958" y="483411"/>
                      </a:lnTo>
                      <a:lnTo>
                        <a:pt x="585520" y="511497"/>
                      </a:lnTo>
                      <a:lnTo>
                        <a:pt x="584257" y="514035"/>
                      </a:lnTo>
                      <a:lnTo>
                        <a:pt x="584185" y="515480"/>
                      </a:lnTo>
                      <a:lnTo>
                        <a:pt x="582727" y="521806"/>
                      </a:lnTo>
                      <a:lnTo>
                        <a:pt x="581197" y="526227"/>
                      </a:lnTo>
                      <a:lnTo>
                        <a:pt x="581125" y="527756"/>
                      </a:lnTo>
                      <a:lnTo>
                        <a:pt x="581319" y="532067"/>
                      </a:lnTo>
                      <a:lnTo>
                        <a:pt x="581744" y="533439"/>
                      </a:lnTo>
                      <a:lnTo>
                        <a:pt x="582387" y="534666"/>
                      </a:lnTo>
                      <a:lnTo>
                        <a:pt x="583298" y="535686"/>
                      </a:lnTo>
                      <a:lnTo>
                        <a:pt x="589345" y="541138"/>
                      </a:lnTo>
                      <a:lnTo>
                        <a:pt x="590778" y="542886"/>
                      </a:lnTo>
                      <a:lnTo>
                        <a:pt x="591956" y="545752"/>
                      </a:lnTo>
                      <a:lnTo>
                        <a:pt x="592563" y="548545"/>
                      </a:lnTo>
                      <a:lnTo>
                        <a:pt x="592806" y="552807"/>
                      </a:lnTo>
                      <a:lnTo>
                        <a:pt x="592138" y="555952"/>
                      </a:lnTo>
                      <a:lnTo>
                        <a:pt x="590608" y="558393"/>
                      </a:lnTo>
                      <a:lnTo>
                        <a:pt x="590001" y="559219"/>
                      </a:lnTo>
                      <a:lnTo>
                        <a:pt x="587293" y="560020"/>
                      </a:lnTo>
                      <a:lnTo>
                        <a:pt x="584561" y="560130"/>
                      </a:lnTo>
                      <a:lnTo>
                        <a:pt x="582473" y="559729"/>
                      </a:lnTo>
                      <a:lnTo>
                        <a:pt x="580651" y="559170"/>
                      </a:lnTo>
                      <a:lnTo>
                        <a:pt x="572212" y="555576"/>
                      </a:lnTo>
                      <a:lnTo>
                        <a:pt x="570718" y="555661"/>
                      </a:lnTo>
                      <a:lnTo>
                        <a:pt x="570050" y="556341"/>
                      </a:lnTo>
                      <a:lnTo>
                        <a:pt x="569334" y="557531"/>
                      </a:lnTo>
                      <a:lnTo>
                        <a:pt x="568472" y="559255"/>
                      </a:lnTo>
                      <a:lnTo>
                        <a:pt x="567974" y="560652"/>
                      </a:lnTo>
                      <a:lnTo>
                        <a:pt x="567731" y="561744"/>
                      </a:lnTo>
                      <a:lnTo>
                        <a:pt x="568277" y="562437"/>
                      </a:lnTo>
                      <a:lnTo>
                        <a:pt x="568496" y="562922"/>
                      </a:lnTo>
                      <a:lnTo>
                        <a:pt x="568545" y="563457"/>
                      </a:lnTo>
                      <a:lnTo>
                        <a:pt x="568532" y="565084"/>
                      </a:lnTo>
                      <a:lnTo>
                        <a:pt x="567925" y="567537"/>
                      </a:lnTo>
                      <a:lnTo>
                        <a:pt x="563250" y="573693"/>
                      </a:lnTo>
                      <a:lnTo>
                        <a:pt x="562133" y="575685"/>
                      </a:lnTo>
                      <a:lnTo>
                        <a:pt x="556960" y="590329"/>
                      </a:lnTo>
                      <a:lnTo>
                        <a:pt x="554398" y="594591"/>
                      </a:lnTo>
                      <a:lnTo>
                        <a:pt x="551799" y="597651"/>
                      </a:lnTo>
                      <a:lnTo>
                        <a:pt x="548217" y="600748"/>
                      </a:lnTo>
                      <a:lnTo>
                        <a:pt x="545024" y="602253"/>
                      </a:lnTo>
                      <a:lnTo>
                        <a:pt x="541733" y="602994"/>
                      </a:lnTo>
                      <a:lnTo>
                        <a:pt x="531763" y="603686"/>
                      </a:lnTo>
                      <a:lnTo>
                        <a:pt x="529116" y="603152"/>
                      </a:lnTo>
                      <a:lnTo>
                        <a:pt x="527125" y="602095"/>
                      </a:lnTo>
                      <a:lnTo>
                        <a:pt x="523688" y="598574"/>
                      </a:lnTo>
                      <a:lnTo>
                        <a:pt x="522559" y="597918"/>
                      </a:lnTo>
                      <a:lnTo>
                        <a:pt x="521454" y="597554"/>
                      </a:lnTo>
                      <a:lnTo>
                        <a:pt x="519730" y="597153"/>
                      </a:lnTo>
                      <a:lnTo>
                        <a:pt x="517532" y="596376"/>
                      </a:lnTo>
                      <a:lnTo>
                        <a:pt x="515516" y="595138"/>
                      </a:lnTo>
                      <a:lnTo>
                        <a:pt x="514035" y="593765"/>
                      </a:lnTo>
                      <a:lnTo>
                        <a:pt x="512529" y="592005"/>
                      </a:lnTo>
                      <a:lnTo>
                        <a:pt x="510938" y="591131"/>
                      </a:lnTo>
                      <a:lnTo>
                        <a:pt x="509651" y="591094"/>
                      </a:lnTo>
                      <a:lnTo>
                        <a:pt x="491449" y="594360"/>
                      </a:lnTo>
                      <a:lnTo>
                        <a:pt x="487332" y="594555"/>
                      </a:lnTo>
                      <a:lnTo>
                        <a:pt x="484127" y="595162"/>
                      </a:lnTo>
                      <a:lnTo>
                        <a:pt x="482318" y="595805"/>
                      </a:lnTo>
                      <a:lnTo>
                        <a:pt x="480411" y="596910"/>
                      </a:lnTo>
                      <a:lnTo>
                        <a:pt x="478626" y="597578"/>
                      </a:lnTo>
                      <a:lnTo>
                        <a:pt x="475335" y="597736"/>
                      </a:lnTo>
                      <a:lnTo>
                        <a:pt x="473307" y="596680"/>
                      </a:lnTo>
                      <a:lnTo>
                        <a:pt x="471486" y="595040"/>
                      </a:lnTo>
                      <a:lnTo>
                        <a:pt x="470757" y="594834"/>
                      </a:lnTo>
                      <a:lnTo>
                        <a:pt x="469810" y="594700"/>
                      </a:lnTo>
                      <a:lnTo>
                        <a:pt x="454826" y="595660"/>
                      </a:lnTo>
                      <a:lnTo>
                        <a:pt x="453138" y="596243"/>
                      </a:lnTo>
                      <a:lnTo>
                        <a:pt x="453806" y="598671"/>
                      </a:lnTo>
                      <a:lnTo>
                        <a:pt x="453089" y="603807"/>
                      </a:lnTo>
                      <a:lnTo>
                        <a:pt x="449519" y="608980"/>
                      </a:lnTo>
                      <a:lnTo>
                        <a:pt x="446034" y="619375"/>
                      </a:lnTo>
                      <a:lnTo>
                        <a:pt x="437376" y="633606"/>
                      </a:lnTo>
                      <a:lnTo>
                        <a:pt x="434402" y="637019"/>
                      </a:lnTo>
                      <a:lnTo>
                        <a:pt x="431281" y="639168"/>
                      </a:lnTo>
                      <a:lnTo>
                        <a:pt x="428621" y="639411"/>
                      </a:lnTo>
                      <a:lnTo>
                        <a:pt x="427796" y="640431"/>
                      </a:lnTo>
                      <a:lnTo>
                        <a:pt x="425051" y="643357"/>
                      </a:lnTo>
                      <a:lnTo>
                        <a:pt x="423339" y="645931"/>
                      </a:lnTo>
                      <a:lnTo>
                        <a:pt x="420716" y="650619"/>
                      </a:lnTo>
                      <a:lnTo>
                        <a:pt x="418518" y="653363"/>
                      </a:lnTo>
                      <a:lnTo>
                        <a:pt x="416478" y="655306"/>
                      </a:lnTo>
                      <a:lnTo>
                        <a:pt x="412884" y="657249"/>
                      </a:lnTo>
                      <a:lnTo>
                        <a:pt x="409642" y="658378"/>
                      </a:lnTo>
                      <a:lnTo>
                        <a:pt x="407043" y="658742"/>
                      </a:lnTo>
                      <a:lnTo>
                        <a:pt x="405683" y="658330"/>
                      </a:lnTo>
                      <a:lnTo>
                        <a:pt x="404214" y="657455"/>
                      </a:lnTo>
                      <a:lnTo>
                        <a:pt x="403838" y="657067"/>
                      </a:lnTo>
                      <a:lnTo>
                        <a:pt x="403000" y="655913"/>
                      </a:lnTo>
                      <a:lnTo>
                        <a:pt x="402757" y="655330"/>
                      </a:lnTo>
                      <a:lnTo>
                        <a:pt x="402283" y="653642"/>
                      </a:lnTo>
                      <a:lnTo>
                        <a:pt x="402308" y="652221"/>
                      </a:lnTo>
                      <a:lnTo>
                        <a:pt x="402611" y="649866"/>
                      </a:lnTo>
                      <a:lnTo>
                        <a:pt x="402138" y="650303"/>
                      </a:lnTo>
                      <a:lnTo>
                        <a:pt x="397062" y="649089"/>
                      </a:lnTo>
                      <a:lnTo>
                        <a:pt x="396430" y="649429"/>
                      </a:lnTo>
                      <a:lnTo>
                        <a:pt x="396139" y="648433"/>
                      </a:lnTo>
                      <a:lnTo>
                        <a:pt x="394245" y="648105"/>
                      </a:lnTo>
                      <a:lnTo>
                        <a:pt x="396467" y="650497"/>
                      </a:lnTo>
                      <a:lnTo>
                        <a:pt x="396953" y="672427"/>
                      </a:lnTo>
                      <a:lnTo>
                        <a:pt x="397329" y="673897"/>
                      </a:lnTo>
                      <a:lnTo>
                        <a:pt x="397936" y="675694"/>
                      </a:lnTo>
                      <a:lnTo>
                        <a:pt x="399697" y="679434"/>
                      </a:lnTo>
                      <a:lnTo>
                        <a:pt x="400523" y="681959"/>
                      </a:lnTo>
                      <a:lnTo>
                        <a:pt x="401166" y="684619"/>
                      </a:lnTo>
                      <a:lnTo>
                        <a:pt x="401348" y="687727"/>
                      </a:lnTo>
                      <a:lnTo>
                        <a:pt x="401106" y="690545"/>
                      </a:lnTo>
                      <a:lnTo>
                        <a:pt x="400389" y="694273"/>
                      </a:lnTo>
                      <a:lnTo>
                        <a:pt x="399235" y="697624"/>
                      </a:lnTo>
                      <a:lnTo>
                        <a:pt x="396115" y="710653"/>
                      </a:lnTo>
                      <a:lnTo>
                        <a:pt x="396188" y="712669"/>
                      </a:lnTo>
                      <a:lnTo>
                        <a:pt x="396734" y="714502"/>
                      </a:lnTo>
                      <a:lnTo>
                        <a:pt x="397973" y="716870"/>
                      </a:lnTo>
                      <a:lnTo>
                        <a:pt x="399600" y="716603"/>
                      </a:lnTo>
                      <a:lnTo>
                        <a:pt x="400826" y="716749"/>
                      </a:lnTo>
                      <a:lnTo>
                        <a:pt x="402295" y="717794"/>
                      </a:lnTo>
                      <a:lnTo>
                        <a:pt x="403643" y="719469"/>
                      </a:lnTo>
                      <a:lnTo>
                        <a:pt x="403777" y="720210"/>
                      </a:lnTo>
                      <a:lnTo>
                        <a:pt x="404105" y="723865"/>
                      </a:lnTo>
                      <a:lnTo>
                        <a:pt x="404773" y="726354"/>
                      </a:lnTo>
                      <a:lnTo>
                        <a:pt x="405416" y="725954"/>
                      </a:lnTo>
                      <a:lnTo>
                        <a:pt x="408719" y="724557"/>
                      </a:lnTo>
                      <a:lnTo>
                        <a:pt x="410638" y="727593"/>
                      </a:lnTo>
                      <a:lnTo>
                        <a:pt x="411148" y="729718"/>
                      </a:lnTo>
                      <a:lnTo>
                        <a:pt x="411524" y="734842"/>
                      </a:lnTo>
                      <a:lnTo>
                        <a:pt x="409557" y="751539"/>
                      </a:lnTo>
                      <a:lnTo>
                        <a:pt x="409581" y="754817"/>
                      </a:lnTo>
                      <a:lnTo>
                        <a:pt x="409873" y="754939"/>
                      </a:lnTo>
                      <a:lnTo>
                        <a:pt x="410371" y="755473"/>
                      </a:lnTo>
                      <a:lnTo>
                        <a:pt x="411415" y="757489"/>
                      </a:lnTo>
                      <a:lnTo>
                        <a:pt x="412362" y="760306"/>
                      </a:lnTo>
                      <a:lnTo>
                        <a:pt x="412666" y="771453"/>
                      </a:lnTo>
                      <a:lnTo>
                        <a:pt x="414062" y="779309"/>
                      </a:lnTo>
                      <a:lnTo>
                        <a:pt x="414111" y="784713"/>
                      </a:lnTo>
                      <a:lnTo>
                        <a:pt x="413686" y="787992"/>
                      </a:lnTo>
                      <a:lnTo>
                        <a:pt x="409788" y="801288"/>
                      </a:lnTo>
                      <a:lnTo>
                        <a:pt x="409739" y="803328"/>
                      </a:lnTo>
                      <a:lnTo>
                        <a:pt x="417717" y="806910"/>
                      </a:lnTo>
                      <a:lnTo>
                        <a:pt x="419454" y="808113"/>
                      </a:lnTo>
                      <a:lnTo>
                        <a:pt x="422683" y="811148"/>
                      </a:lnTo>
                      <a:lnTo>
                        <a:pt x="425234" y="811342"/>
                      </a:lnTo>
                      <a:lnTo>
                        <a:pt x="432349" y="810820"/>
                      </a:lnTo>
                      <a:lnTo>
                        <a:pt x="434195" y="810917"/>
                      </a:lnTo>
                      <a:lnTo>
                        <a:pt x="436150" y="811306"/>
                      </a:lnTo>
                      <a:lnTo>
                        <a:pt x="438081" y="812156"/>
                      </a:lnTo>
                      <a:lnTo>
                        <a:pt x="439732" y="813395"/>
                      </a:lnTo>
                      <a:lnTo>
                        <a:pt x="442416" y="816722"/>
                      </a:lnTo>
                      <a:lnTo>
                        <a:pt x="441614" y="820025"/>
                      </a:lnTo>
                      <a:lnTo>
                        <a:pt x="443618" y="818106"/>
                      </a:lnTo>
                      <a:lnTo>
                        <a:pt x="443594" y="817924"/>
                      </a:lnTo>
                      <a:lnTo>
                        <a:pt x="443836" y="817888"/>
                      </a:lnTo>
                      <a:lnTo>
                        <a:pt x="443946" y="817778"/>
                      </a:lnTo>
                      <a:lnTo>
                        <a:pt x="444189" y="817851"/>
                      </a:lnTo>
                      <a:lnTo>
                        <a:pt x="444917" y="817754"/>
                      </a:lnTo>
                      <a:lnTo>
                        <a:pt x="445767" y="817341"/>
                      </a:lnTo>
                      <a:lnTo>
                        <a:pt x="447419" y="816163"/>
                      </a:lnTo>
                      <a:lnTo>
                        <a:pt x="449058" y="815180"/>
                      </a:lnTo>
                      <a:lnTo>
                        <a:pt x="450588" y="814767"/>
                      </a:lnTo>
                      <a:lnTo>
                        <a:pt x="451936" y="814609"/>
                      </a:lnTo>
                      <a:lnTo>
                        <a:pt x="454170" y="814633"/>
                      </a:lnTo>
                      <a:lnTo>
                        <a:pt x="458991" y="815168"/>
                      </a:lnTo>
                      <a:lnTo>
                        <a:pt x="461395" y="815787"/>
                      </a:lnTo>
                      <a:lnTo>
                        <a:pt x="462464" y="817220"/>
                      </a:lnTo>
                      <a:lnTo>
                        <a:pt x="463702" y="821846"/>
                      </a:lnTo>
                      <a:lnTo>
                        <a:pt x="463836" y="824627"/>
                      </a:lnTo>
                      <a:lnTo>
                        <a:pt x="463472" y="827796"/>
                      </a:lnTo>
                      <a:lnTo>
                        <a:pt x="460861" y="837741"/>
                      </a:lnTo>
                      <a:lnTo>
                        <a:pt x="460776" y="839283"/>
                      </a:lnTo>
                      <a:lnTo>
                        <a:pt x="460946" y="840206"/>
                      </a:lnTo>
                      <a:lnTo>
                        <a:pt x="464382" y="843121"/>
                      </a:lnTo>
                      <a:lnTo>
                        <a:pt x="465803" y="845306"/>
                      </a:lnTo>
                      <a:lnTo>
                        <a:pt x="466289" y="846156"/>
                      </a:lnTo>
                      <a:lnTo>
                        <a:pt x="466094" y="847954"/>
                      </a:lnTo>
                      <a:lnTo>
                        <a:pt x="465487" y="849775"/>
                      </a:lnTo>
                      <a:lnTo>
                        <a:pt x="464564" y="851026"/>
                      </a:lnTo>
                      <a:lnTo>
                        <a:pt x="461152" y="854256"/>
                      </a:lnTo>
                      <a:lnTo>
                        <a:pt x="459064" y="855713"/>
                      </a:lnTo>
                      <a:lnTo>
                        <a:pt x="454231" y="857449"/>
                      </a:lnTo>
                      <a:lnTo>
                        <a:pt x="452567" y="858214"/>
                      </a:lnTo>
                      <a:lnTo>
                        <a:pt x="450758" y="859259"/>
                      </a:lnTo>
                      <a:lnTo>
                        <a:pt x="444019" y="864905"/>
                      </a:lnTo>
                      <a:lnTo>
                        <a:pt x="441578" y="866629"/>
                      </a:lnTo>
                      <a:lnTo>
                        <a:pt x="435203" y="867042"/>
                      </a:lnTo>
                      <a:lnTo>
                        <a:pt x="434402" y="864929"/>
                      </a:lnTo>
                      <a:lnTo>
                        <a:pt x="433855" y="862148"/>
                      </a:lnTo>
                      <a:lnTo>
                        <a:pt x="434013" y="860764"/>
                      </a:lnTo>
                      <a:lnTo>
                        <a:pt x="434049" y="859319"/>
                      </a:lnTo>
                      <a:lnTo>
                        <a:pt x="433722" y="857036"/>
                      </a:lnTo>
                      <a:lnTo>
                        <a:pt x="433770" y="854644"/>
                      </a:lnTo>
                      <a:lnTo>
                        <a:pt x="434219" y="852179"/>
                      </a:lnTo>
                      <a:lnTo>
                        <a:pt x="434584" y="850989"/>
                      </a:lnTo>
                      <a:lnTo>
                        <a:pt x="427917" y="850843"/>
                      </a:lnTo>
                      <a:lnTo>
                        <a:pt x="424760" y="849872"/>
                      </a:lnTo>
                      <a:lnTo>
                        <a:pt x="419538" y="847055"/>
                      </a:lnTo>
                      <a:lnTo>
                        <a:pt x="417547" y="846351"/>
                      </a:lnTo>
                      <a:lnTo>
                        <a:pt x="400413" y="843874"/>
                      </a:lnTo>
                      <a:lnTo>
                        <a:pt x="398993" y="844019"/>
                      </a:lnTo>
                      <a:lnTo>
                        <a:pt x="397548" y="844262"/>
                      </a:lnTo>
                      <a:lnTo>
                        <a:pt x="396054" y="845258"/>
                      </a:lnTo>
                      <a:lnTo>
                        <a:pt x="395483" y="845877"/>
                      </a:lnTo>
                      <a:lnTo>
                        <a:pt x="394439" y="847492"/>
                      </a:lnTo>
                      <a:lnTo>
                        <a:pt x="391950" y="852361"/>
                      </a:lnTo>
                      <a:lnTo>
                        <a:pt x="390092" y="855093"/>
                      </a:lnTo>
                      <a:lnTo>
                        <a:pt x="386388" y="856369"/>
                      </a:lnTo>
                      <a:lnTo>
                        <a:pt x="383280" y="854936"/>
                      </a:lnTo>
                      <a:lnTo>
                        <a:pt x="381385" y="852422"/>
                      </a:lnTo>
                      <a:lnTo>
                        <a:pt x="369461" y="828015"/>
                      </a:lnTo>
                      <a:lnTo>
                        <a:pt x="367724" y="825671"/>
                      </a:lnTo>
                      <a:lnTo>
                        <a:pt x="367409" y="825562"/>
                      </a:lnTo>
                      <a:lnTo>
                        <a:pt x="363790" y="826157"/>
                      </a:lnTo>
                      <a:lnTo>
                        <a:pt x="361301" y="826133"/>
                      </a:lnTo>
                      <a:lnTo>
                        <a:pt x="358690" y="825283"/>
                      </a:lnTo>
                      <a:lnTo>
                        <a:pt x="357027" y="823923"/>
                      </a:lnTo>
                      <a:lnTo>
                        <a:pt x="355885" y="821421"/>
                      </a:lnTo>
                      <a:lnTo>
                        <a:pt x="358484" y="819442"/>
                      </a:lnTo>
                      <a:lnTo>
                        <a:pt x="355327" y="819806"/>
                      </a:lnTo>
                      <a:lnTo>
                        <a:pt x="353724" y="818337"/>
                      </a:lnTo>
                      <a:lnTo>
                        <a:pt x="351344" y="816612"/>
                      </a:lnTo>
                      <a:lnTo>
                        <a:pt x="345309" y="810942"/>
                      </a:lnTo>
                      <a:lnTo>
                        <a:pt x="344544" y="810395"/>
                      </a:lnTo>
                      <a:lnTo>
                        <a:pt x="344580" y="807335"/>
                      </a:lnTo>
                      <a:lnTo>
                        <a:pt x="343767" y="808963"/>
                      </a:lnTo>
                      <a:lnTo>
                        <a:pt x="344447" y="809873"/>
                      </a:lnTo>
                      <a:lnTo>
                        <a:pt x="343317" y="811100"/>
                      </a:lnTo>
                      <a:lnTo>
                        <a:pt x="342844" y="811950"/>
                      </a:lnTo>
                      <a:lnTo>
                        <a:pt x="341459" y="815265"/>
                      </a:lnTo>
                      <a:lnTo>
                        <a:pt x="340512" y="816807"/>
                      </a:lnTo>
                      <a:lnTo>
                        <a:pt x="338582" y="818397"/>
                      </a:lnTo>
                      <a:lnTo>
                        <a:pt x="336432" y="819223"/>
                      </a:lnTo>
                      <a:lnTo>
                        <a:pt x="333469" y="819381"/>
                      </a:lnTo>
                      <a:lnTo>
                        <a:pt x="332231" y="819393"/>
                      </a:lnTo>
                      <a:lnTo>
                        <a:pt x="329584" y="816831"/>
                      </a:lnTo>
                      <a:lnTo>
                        <a:pt x="329183" y="814645"/>
                      </a:lnTo>
                      <a:lnTo>
                        <a:pt x="329268" y="812593"/>
                      </a:lnTo>
                      <a:lnTo>
                        <a:pt x="329049" y="812375"/>
                      </a:lnTo>
                      <a:lnTo>
                        <a:pt x="328406" y="811379"/>
                      </a:lnTo>
                      <a:lnTo>
                        <a:pt x="319675" y="801580"/>
                      </a:lnTo>
                      <a:lnTo>
                        <a:pt x="319189" y="801252"/>
                      </a:lnTo>
                      <a:lnTo>
                        <a:pt x="317999" y="802005"/>
                      </a:lnTo>
                      <a:lnTo>
                        <a:pt x="312426" y="808550"/>
                      </a:lnTo>
                      <a:lnTo>
                        <a:pt x="308188" y="811258"/>
                      </a:lnTo>
                      <a:lnTo>
                        <a:pt x="306488" y="811998"/>
                      </a:lnTo>
                      <a:lnTo>
                        <a:pt x="305528" y="813249"/>
                      </a:lnTo>
                      <a:lnTo>
                        <a:pt x="298145" y="826764"/>
                      </a:lnTo>
                      <a:lnTo>
                        <a:pt x="297575" y="828318"/>
                      </a:lnTo>
                      <a:lnTo>
                        <a:pt x="297235" y="829933"/>
                      </a:lnTo>
                      <a:lnTo>
                        <a:pt x="297417" y="831136"/>
                      </a:lnTo>
                      <a:lnTo>
                        <a:pt x="297963" y="832411"/>
                      </a:lnTo>
                      <a:lnTo>
                        <a:pt x="298996" y="833989"/>
                      </a:lnTo>
                      <a:lnTo>
                        <a:pt x="300307" y="835349"/>
                      </a:lnTo>
                      <a:lnTo>
                        <a:pt x="302201" y="836794"/>
                      </a:lnTo>
                      <a:lnTo>
                        <a:pt x="317586" y="845403"/>
                      </a:lnTo>
                      <a:lnTo>
                        <a:pt x="319699" y="847310"/>
                      </a:lnTo>
                      <a:lnTo>
                        <a:pt x="321326" y="849799"/>
                      </a:lnTo>
                      <a:lnTo>
                        <a:pt x="323646" y="855773"/>
                      </a:lnTo>
                      <a:lnTo>
                        <a:pt x="323840" y="856004"/>
                      </a:lnTo>
                      <a:lnTo>
                        <a:pt x="325079" y="856757"/>
                      </a:lnTo>
                      <a:lnTo>
                        <a:pt x="326171" y="857049"/>
                      </a:lnTo>
                      <a:lnTo>
                        <a:pt x="331854" y="857571"/>
                      </a:lnTo>
                      <a:lnTo>
                        <a:pt x="334125" y="858263"/>
                      </a:lnTo>
                      <a:lnTo>
                        <a:pt x="336481" y="859696"/>
                      </a:lnTo>
                      <a:lnTo>
                        <a:pt x="339031" y="862853"/>
                      </a:lnTo>
                      <a:lnTo>
                        <a:pt x="339431" y="865646"/>
                      </a:lnTo>
                      <a:lnTo>
                        <a:pt x="337598" y="874619"/>
                      </a:lnTo>
                      <a:lnTo>
                        <a:pt x="337501" y="878116"/>
                      </a:lnTo>
                      <a:lnTo>
                        <a:pt x="338205" y="881080"/>
                      </a:lnTo>
                      <a:lnTo>
                        <a:pt x="339516" y="885657"/>
                      </a:lnTo>
                      <a:lnTo>
                        <a:pt x="339954" y="888972"/>
                      </a:lnTo>
                      <a:lnTo>
                        <a:pt x="339674" y="892190"/>
                      </a:lnTo>
                      <a:lnTo>
                        <a:pt x="338351" y="898274"/>
                      </a:lnTo>
                      <a:lnTo>
                        <a:pt x="337853" y="912688"/>
                      </a:lnTo>
                      <a:lnTo>
                        <a:pt x="337974" y="912797"/>
                      </a:lnTo>
                      <a:lnTo>
                        <a:pt x="342455" y="913659"/>
                      </a:lnTo>
                      <a:lnTo>
                        <a:pt x="344519" y="914424"/>
                      </a:lnTo>
                      <a:lnTo>
                        <a:pt x="346559" y="916027"/>
                      </a:lnTo>
                      <a:lnTo>
                        <a:pt x="348089" y="918310"/>
                      </a:lnTo>
                      <a:lnTo>
                        <a:pt x="351307" y="925389"/>
                      </a:lnTo>
                      <a:lnTo>
                        <a:pt x="351781" y="925984"/>
                      </a:lnTo>
                      <a:lnTo>
                        <a:pt x="352485" y="925996"/>
                      </a:lnTo>
                      <a:lnTo>
                        <a:pt x="356844" y="927028"/>
                      </a:lnTo>
                      <a:lnTo>
                        <a:pt x="358994" y="928012"/>
                      </a:lnTo>
                      <a:lnTo>
                        <a:pt x="361143" y="929724"/>
                      </a:lnTo>
                      <a:lnTo>
                        <a:pt x="363329" y="932917"/>
                      </a:lnTo>
                      <a:lnTo>
                        <a:pt x="364191" y="935795"/>
                      </a:lnTo>
                      <a:lnTo>
                        <a:pt x="364009" y="938588"/>
                      </a:lnTo>
                      <a:lnTo>
                        <a:pt x="363875" y="939536"/>
                      </a:lnTo>
                      <a:lnTo>
                        <a:pt x="362199" y="941345"/>
                      </a:lnTo>
                      <a:lnTo>
                        <a:pt x="358423" y="943834"/>
                      </a:lnTo>
                      <a:lnTo>
                        <a:pt x="358119" y="944138"/>
                      </a:lnTo>
                      <a:lnTo>
                        <a:pt x="358204" y="944259"/>
                      </a:lnTo>
                      <a:lnTo>
                        <a:pt x="360718" y="945704"/>
                      </a:lnTo>
                      <a:lnTo>
                        <a:pt x="363560" y="948315"/>
                      </a:lnTo>
                      <a:lnTo>
                        <a:pt x="364652" y="951338"/>
                      </a:lnTo>
                      <a:lnTo>
                        <a:pt x="364422" y="953937"/>
                      </a:lnTo>
                      <a:lnTo>
                        <a:pt x="360815" y="961903"/>
                      </a:lnTo>
                      <a:lnTo>
                        <a:pt x="360002" y="964198"/>
                      </a:lnTo>
                      <a:lnTo>
                        <a:pt x="359613" y="966432"/>
                      </a:lnTo>
                      <a:lnTo>
                        <a:pt x="359735" y="969504"/>
                      </a:lnTo>
                      <a:lnTo>
                        <a:pt x="360172" y="971338"/>
                      </a:lnTo>
                      <a:lnTo>
                        <a:pt x="360864" y="973087"/>
                      </a:lnTo>
                      <a:lnTo>
                        <a:pt x="363147" y="977082"/>
                      </a:lnTo>
                      <a:lnTo>
                        <a:pt x="363972" y="980433"/>
                      </a:lnTo>
                      <a:lnTo>
                        <a:pt x="363790" y="983566"/>
                      </a:lnTo>
                      <a:lnTo>
                        <a:pt x="362345" y="988532"/>
                      </a:lnTo>
                      <a:lnTo>
                        <a:pt x="362722" y="989054"/>
                      </a:lnTo>
                      <a:lnTo>
                        <a:pt x="366267" y="991240"/>
                      </a:lnTo>
                      <a:lnTo>
                        <a:pt x="368660" y="993875"/>
                      </a:lnTo>
                      <a:lnTo>
                        <a:pt x="369364" y="996182"/>
                      </a:lnTo>
                      <a:lnTo>
                        <a:pt x="369983" y="1001744"/>
                      </a:lnTo>
                      <a:lnTo>
                        <a:pt x="373420" y="1006953"/>
                      </a:lnTo>
                      <a:lnTo>
                        <a:pt x="374403" y="1009321"/>
                      </a:lnTo>
                      <a:lnTo>
                        <a:pt x="374719" y="1012162"/>
                      </a:lnTo>
                      <a:lnTo>
                        <a:pt x="374670" y="1014178"/>
                      </a:lnTo>
                      <a:lnTo>
                        <a:pt x="375120" y="1026078"/>
                      </a:lnTo>
                      <a:lnTo>
                        <a:pt x="374379" y="1029308"/>
                      </a:lnTo>
                      <a:lnTo>
                        <a:pt x="372630" y="1032405"/>
                      </a:lnTo>
                      <a:lnTo>
                        <a:pt x="371513" y="1032745"/>
                      </a:lnTo>
                      <a:lnTo>
                        <a:pt x="366170" y="1035319"/>
                      </a:lnTo>
                      <a:lnTo>
                        <a:pt x="365296" y="1036643"/>
                      </a:lnTo>
                      <a:lnTo>
                        <a:pt x="363329" y="1038950"/>
                      </a:lnTo>
                      <a:lnTo>
                        <a:pt x="363207" y="1039860"/>
                      </a:lnTo>
                      <a:lnTo>
                        <a:pt x="363110" y="1045167"/>
                      </a:lnTo>
                      <a:lnTo>
                        <a:pt x="361264" y="1054796"/>
                      </a:lnTo>
                      <a:lnTo>
                        <a:pt x="359055" y="1059921"/>
                      </a:lnTo>
                      <a:lnTo>
                        <a:pt x="357695" y="1065931"/>
                      </a:lnTo>
                      <a:lnTo>
                        <a:pt x="352084" y="1064972"/>
                      </a:lnTo>
                      <a:lnTo>
                        <a:pt x="349826" y="1063442"/>
                      </a:lnTo>
                      <a:lnTo>
                        <a:pt x="348599" y="1062167"/>
                      </a:lnTo>
                      <a:lnTo>
                        <a:pt x="346572" y="1066952"/>
                      </a:lnTo>
                      <a:lnTo>
                        <a:pt x="344981" y="1069453"/>
                      </a:lnTo>
                      <a:lnTo>
                        <a:pt x="342224" y="1071699"/>
                      </a:lnTo>
                      <a:lnTo>
                        <a:pt x="338484" y="1072914"/>
                      </a:lnTo>
                      <a:lnTo>
                        <a:pt x="330604" y="1073521"/>
                      </a:lnTo>
                      <a:lnTo>
                        <a:pt x="329851" y="1073776"/>
                      </a:lnTo>
                      <a:lnTo>
                        <a:pt x="328636" y="1074359"/>
                      </a:lnTo>
                      <a:lnTo>
                        <a:pt x="327106" y="1075391"/>
                      </a:lnTo>
                      <a:lnTo>
                        <a:pt x="325491" y="1076751"/>
                      </a:lnTo>
                      <a:lnTo>
                        <a:pt x="324314" y="1078087"/>
                      </a:lnTo>
                      <a:lnTo>
                        <a:pt x="322067" y="1081462"/>
                      </a:lnTo>
                      <a:lnTo>
                        <a:pt x="320501" y="1083211"/>
                      </a:lnTo>
                      <a:lnTo>
                        <a:pt x="318376" y="1084607"/>
                      </a:lnTo>
                      <a:lnTo>
                        <a:pt x="316093" y="1085275"/>
                      </a:lnTo>
                      <a:lnTo>
                        <a:pt x="314308" y="1085457"/>
                      </a:lnTo>
                      <a:lnTo>
                        <a:pt x="314199" y="1085603"/>
                      </a:lnTo>
                      <a:lnTo>
                        <a:pt x="314563" y="1086064"/>
                      </a:lnTo>
                      <a:lnTo>
                        <a:pt x="318424" y="1088189"/>
                      </a:lnTo>
                      <a:lnTo>
                        <a:pt x="320986" y="1090400"/>
                      </a:lnTo>
                      <a:lnTo>
                        <a:pt x="322747" y="1094528"/>
                      </a:lnTo>
                      <a:lnTo>
                        <a:pt x="322371" y="1098390"/>
                      </a:lnTo>
                      <a:lnTo>
                        <a:pt x="320379" y="1101425"/>
                      </a:lnTo>
                      <a:lnTo>
                        <a:pt x="318133" y="1102591"/>
                      </a:lnTo>
                      <a:lnTo>
                        <a:pt x="316275" y="1103392"/>
                      </a:lnTo>
                      <a:lnTo>
                        <a:pt x="314599" y="1104364"/>
                      </a:lnTo>
                      <a:lnTo>
                        <a:pt x="310507" y="1107618"/>
                      </a:lnTo>
                      <a:lnTo>
                        <a:pt x="306937" y="1111055"/>
                      </a:lnTo>
                      <a:lnTo>
                        <a:pt x="302371" y="1116689"/>
                      </a:lnTo>
                      <a:lnTo>
                        <a:pt x="294551" y="1122699"/>
                      </a:lnTo>
                      <a:lnTo>
                        <a:pt x="292475" y="1124618"/>
                      </a:lnTo>
                      <a:lnTo>
                        <a:pt x="289038" y="1129136"/>
                      </a:lnTo>
                      <a:lnTo>
                        <a:pt x="283331" y="1139481"/>
                      </a:lnTo>
                      <a:lnTo>
                        <a:pt x="281595" y="1141594"/>
                      </a:lnTo>
                      <a:lnTo>
                        <a:pt x="279664" y="1143124"/>
                      </a:lnTo>
                      <a:lnTo>
                        <a:pt x="277381" y="1144120"/>
                      </a:lnTo>
                      <a:lnTo>
                        <a:pt x="271977" y="1145067"/>
                      </a:lnTo>
                      <a:lnTo>
                        <a:pt x="270897" y="1145553"/>
                      </a:lnTo>
                      <a:lnTo>
                        <a:pt x="270010" y="1146087"/>
                      </a:lnTo>
                      <a:lnTo>
                        <a:pt x="267934" y="1150070"/>
                      </a:lnTo>
                      <a:lnTo>
                        <a:pt x="266295" y="1151831"/>
                      </a:lnTo>
                      <a:lnTo>
                        <a:pt x="264170" y="1153264"/>
                      </a:lnTo>
                      <a:lnTo>
                        <a:pt x="254261" y="1157428"/>
                      </a:lnTo>
                      <a:lnTo>
                        <a:pt x="250436" y="1158521"/>
                      </a:lnTo>
                      <a:lnTo>
                        <a:pt x="247995" y="1158740"/>
                      </a:lnTo>
                      <a:lnTo>
                        <a:pt x="245955" y="1158412"/>
                      </a:lnTo>
                      <a:lnTo>
                        <a:pt x="245822" y="1158546"/>
                      </a:lnTo>
                      <a:lnTo>
                        <a:pt x="243867" y="1164022"/>
                      </a:lnTo>
                      <a:lnTo>
                        <a:pt x="242239" y="1166718"/>
                      </a:lnTo>
                      <a:lnTo>
                        <a:pt x="241341" y="1168479"/>
                      </a:lnTo>
                      <a:lnTo>
                        <a:pt x="241049" y="1169426"/>
                      </a:lnTo>
                      <a:lnTo>
                        <a:pt x="241025" y="1170118"/>
                      </a:lnTo>
                      <a:lnTo>
                        <a:pt x="242689" y="1173190"/>
                      </a:lnTo>
                      <a:lnTo>
                        <a:pt x="243247" y="1175898"/>
                      </a:lnTo>
                      <a:lnTo>
                        <a:pt x="242895" y="1178776"/>
                      </a:lnTo>
                      <a:lnTo>
                        <a:pt x="241948" y="1181994"/>
                      </a:lnTo>
                      <a:lnTo>
                        <a:pt x="241644" y="1184896"/>
                      </a:lnTo>
                      <a:lnTo>
                        <a:pt x="239641" y="1191647"/>
                      </a:lnTo>
                      <a:lnTo>
                        <a:pt x="238754" y="1193529"/>
                      </a:lnTo>
                      <a:lnTo>
                        <a:pt x="235840" y="1197221"/>
                      </a:lnTo>
                      <a:lnTo>
                        <a:pt x="235063" y="1198787"/>
                      </a:lnTo>
                      <a:lnTo>
                        <a:pt x="235002" y="1199577"/>
                      </a:lnTo>
                      <a:lnTo>
                        <a:pt x="235014" y="1200426"/>
                      </a:lnTo>
                      <a:lnTo>
                        <a:pt x="235257" y="1201374"/>
                      </a:lnTo>
                      <a:lnTo>
                        <a:pt x="235294" y="1208502"/>
                      </a:lnTo>
                      <a:lnTo>
                        <a:pt x="234383" y="1213444"/>
                      </a:lnTo>
                      <a:lnTo>
                        <a:pt x="233691" y="1215909"/>
                      </a:lnTo>
                      <a:lnTo>
                        <a:pt x="232877" y="1217706"/>
                      </a:lnTo>
                      <a:lnTo>
                        <a:pt x="231141" y="1220038"/>
                      </a:lnTo>
                      <a:lnTo>
                        <a:pt x="230558" y="1221021"/>
                      </a:lnTo>
                      <a:lnTo>
                        <a:pt x="229538" y="1223194"/>
                      </a:lnTo>
                      <a:lnTo>
                        <a:pt x="229210" y="1224530"/>
                      </a:lnTo>
                      <a:lnTo>
                        <a:pt x="229052" y="1226012"/>
                      </a:lnTo>
                      <a:lnTo>
                        <a:pt x="229040" y="1228246"/>
                      </a:lnTo>
                      <a:lnTo>
                        <a:pt x="228506" y="1230735"/>
                      </a:lnTo>
                      <a:lnTo>
                        <a:pt x="227292" y="1232897"/>
                      </a:lnTo>
                      <a:lnTo>
                        <a:pt x="226101" y="1233553"/>
                      </a:lnTo>
                      <a:lnTo>
                        <a:pt x="224766" y="1234099"/>
                      </a:lnTo>
                      <a:lnTo>
                        <a:pt x="224219" y="1234184"/>
                      </a:lnTo>
                      <a:lnTo>
                        <a:pt x="222762" y="1234257"/>
                      </a:lnTo>
                      <a:lnTo>
                        <a:pt x="222252" y="1234160"/>
                      </a:lnTo>
                      <a:lnTo>
                        <a:pt x="220892" y="1233735"/>
                      </a:lnTo>
                      <a:lnTo>
                        <a:pt x="219678" y="1233018"/>
                      </a:lnTo>
                      <a:lnTo>
                        <a:pt x="218961" y="1232435"/>
                      </a:lnTo>
                      <a:lnTo>
                        <a:pt x="218099" y="1239308"/>
                      </a:lnTo>
                      <a:lnTo>
                        <a:pt x="218124" y="1242441"/>
                      </a:lnTo>
                      <a:lnTo>
                        <a:pt x="218658" y="1243971"/>
                      </a:lnTo>
                      <a:lnTo>
                        <a:pt x="219739" y="1247918"/>
                      </a:lnTo>
                      <a:lnTo>
                        <a:pt x="201633" y="1247371"/>
                      </a:lnTo>
                      <a:lnTo>
                        <a:pt x="193668" y="1248318"/>
                      </a:lnTo>
                      <a:lnTo>
                        <a:pt x="187778" y="1248379"/>
                      </a:lnTo>
                      <a:lnTo>
                        <a:pt x="182666" y="1247298"/>
                      </a:lnTo>
                      <a:lnTo>
                        <a:pt x="178695" y="1245635"/>
                      </a:lnTo>
                      <a:lnTo>
                        <a:pt x="173559" y="1242587"/>
                      </a:lnTo>
                      <a:lnTo>
                        <a:pt x="171871" y="1241785"/>
                      </a:lnTo>
                      <a:lnTo>
                        <a:pt x="170790" y="1241737"/>
                      </a:lnTo>
                      <a:lnTo>
                        <a:pt x="169940" y="1242004"/>
                      </a:lnTo>
                      <a:lnTo>
                        <a:pt x="163893" y="1246278"/>
                      </a:lnTo>
                      <a:lnTo>
                        <a:pt x="158623" y="1248828"/>
                      </a:lnTo>
                      <a:lnTo>
                        <a:pt x="154458" y="1251925"/>
                      </a:lnTo>
                      <a:lnTo>
                        <a:pt x="150827" y="1253758"/>
                      </a:lnTo>
                      <a:close/>
                    </a:path>
                  </a:pathLst>
                </a:custGeom>
                <a:solidFill>
                  <a:srgbClr val="D7D7D2"/>
                </a:solidFill>
                <a:ln w="12138" cap="flat">
                  <a:noFill/>
                  <a:prstDash val="solid"/>
                  <a:miter/>
                </a:ln>
              </p:spPr>
              <p:txBody>
                <a:bodyPr rtlCol="0" anchor="ctr"/>
                <a:lstStyle/>
                <a:p>
                  <a:endParaRPr lang="en-US"/>
                </a:p>
              </p:txBody>
            </p:sp>
            <p:sp>
              <p:nvSpPr>
                <p:cNvPr id="339" name="Freeform: Shape 338">
                  <a:extLst>
                    <a:ext uri="{FF2B5EF4-FFF2-40B4-BE49-F238E27FC236}">
                      <a16:creationId xmlns:a16="http://schemas.microsoft.com/office/drawing/2014/main" id="{046EFA00-5D0E-4FAC-9D6E-9B4C2D22014A}"/>
                    </a:ext>
                  </a:extLst>
                </p:cNvPr>
                <p:cNvSpPr/>
                <p:nvPr/>
              </p:nvSpPr>
              <p:spPr>
                <a:xfrm>
                  <a:off x="5625145" y="3317518"/>
                  <a:ext cx="779965" cy="1260351"/>
                </a:xfrm>
                <a:custGeom>
                  <a:avLst/>
                  <a:gdLst>
                    <a:gd name="connsiteX0" fmla="*/ 583189 w 779965"/>
                    <a:gd name="connsiteY0" fmla="*/ 7152 h 1260351"/>
                    <a:gd name="connsiteX1" fmla="*/ 593231 w 779965"/>
                    <a:gd name="connsiteY1" fmla="*/ 10224 h 1260351"/>
                    <a:gd name="connsiteX2" fmla="*/ 602946 w 779965"/>
                    <a:gd name="connsiteY2" fmla="*/ 10795 h 1260351"/>
                    <a:gd name="connsiteX3" fmla="*/ 604658 w 779965"/>
                    <a:gd name="connsiteY3" fmla="*/ 11281 h 1260351"/>
                    <a:gd name="connsiteX4" fmla="*/ 606090 w 779965"/>
                    <a:gd name="connsiteY4" fmla="*/ 12240 h 1260351"/>
                    <a:gd name="connsiteX5" fmla="*/ 609090 w 779965"/>
                    <a:gd name="connsiteY5" fmla="*/ 14875 h 1260351"/>
                    <a:gd name="connsiteX6" fmla="*/ 615744 w 779965"/>
                    <a:gd name="connsiteY6" fmla="*/ 18554 h 1260351"/>
                    <a:gd name="connsiteX7" fmla="*/ 617068 w 779965"/>
                    <a:gd name="connsiteY7" fmla="*/ 20072 h 1260351"/>
                    <a:gd name="connsiteX8" fmla="*/ 617809 w 779965"/>
                    <a:gd name="connsiteY8" fmla="*/ 21906 h 1260351"/>
                    <a:gd name="connsiteX9" fmla="*/ 618100 w 779965"/>
                    <a:gd name="connsiteY9" fmla="*/ 24577 h 1260351"/>
                    <a:gd name="connsiteX10" fmla="*/ 617991 w 779965"/>
                    <a:gd name="connsiteY10" fmla="*/ 32507 h 1260351"/>
                    <a:gd name="connsiteX11" fmla="*/ 618209 w 779965"/>
                    <a:gd name="connsiteY11" fmla="*/ 35117 h 1260351"/>
                    <a:gd name="connsiteX12" fmla="*/ 618780 w 779965"/>
                    <a:gd name="connsiteY12" fmla="*/ 38080 h 1260351"/>
                    <a:gd name="connsiteX13" fmla="*/ 619824 w 779965"/>
                    <a:gd name="connsiteY13" fmla="*/ 40715 h 1260351"/>
                    <a:gd name="connsiteX14" fmla="*/ 621318 w 779965"/>
                    <a:gd name="connsiteY14" fmla="*/ 43593 h 1260351"/>
                    <a:gd name="connsiteX15" fmla="*/ 624414 w 779965"/>
                    <a:gd name="connsiteY15" fmla="*/ 47758 h 1260351"/>
                    <a:gd name="connsiteX16" fmla="*/ 650655 w 779965"/>
                    <a:gd name="connsiteY16" fmla="*/ 71012 h 1260351"/>
                    <a:gd name="connsiteX17" fmla="*/ 653472 w 779965"/>
                    <a:gd name="connsiteY17" fmla="*/ 74509 h 1260351"/>
                    <a:gd name="connsiteX18" fmla="*/ 656860 w 779965"/>
                    <a:gd name="connsiteY18" fmla="*/ 82402 h 1260351"/>
                    <a:gd name="connsiteX19" fmla="*/ 657613 w 779965"/>
                    <a:gd name="connsiteY19" fmla="*/ 84758 h 1260351"/>
                    <a:gd name="connsiteX20" fmla="*/ 657892 w 779965"/>
                    <a:gd name="connsiteY20" fmla="*/ 86943 h 1260351"/>
                    <a:gd name="connsiteX21" fmla="*/ 657492 w 779965"/>
                    <a:gd name="connsiteY21" fmla="*/ 88777 h 1260351"/>
                    <a:gd name="connsiteX22" fmla="*/ 655427 w 779965"/>
                    <a:gd name="connsiteY22" fmla="*/ 94399 h 1260351"/>
                    <a:gd name="connsiteX23" fmla="*/ 654966 w 779965"/>
                    <a:gd name="connsiteY23" fmla="*/ 95990 h 1260351"/>
                    <a:gd name="connsiteX24" fmla="*/ 654857 w 779965"/>
                    <a:gd name="connsiteY24" fmla="*/ 97447 h 1260351"/>
                    <a:gd name="connsiteX25" fmla="*/ 655184 w 779965"/>
                    <a:gd name="connsiteY25" fmla="*/ 99281 h 1260351"/>
                    <a:gd name="connsiteX26" fmla="*/ 657152 w 779965"/>
                    <a:gd name="connsiteY26" fmla="*/ 103482 h 1260351"/>
                    <a:gd name="connsiteX27" fmla="*/ 659386 w 779965"/>
                    <a:gd name="connsiteY27" fmla="*/ 109906 h 1260351"/>
                    <a:gd name="connsiteX28" fmla="*/ 661110 w 779965"/>
                    <a:gd name="connsiteY28" fmla="*/ 113233 h 1260351"/>
                    <a:gd name="connsiteX29" fmla="*/ 662822 w 779965"/>
                    <a:gd name="connsiteY29" fmla="*/ 115079 h 1260351"/>
                    <a:gd name="connsiteX30" fmla="*/ 664729 w 779965"/>
                    <a:gd name="connsiteY30" fmla="*/ 116426 h 1260351"/>
                    <a:gd name="connsiteX31" fmla="*/ 666441 w 779965"/>
                    <a:gd name="connsiteY31" fmla="*/ 117058 h 1260351"/>
                    <a:gd name="connsiteX32" fmla="*/ 667825 w 779965"/>
                    <a:gd name="connsiteY32" fmla="*/ 117264 h 1260351"/>
                    <a:gd name="connsiteX33" fmla="*/ 669319 w 779965"/>
                    <a:gd name="connsiteY33" fmla="*/ 117204 h 1260351"/>
                    <a:gd name="connsiteX34" fmla="*/ 673690 w 779965"/>
                    <a:gd name="connsiteY34" fmla="*/ 116341 h 1260351"/>
                    <a:gd name="connsiteX35" fmla="*/ 675062 w 779965"/>
                    <a:gd name="connsiteY35" fmla="*/ 116196 h 1260351"/>
                    <a:gd name="connsiteX36" fmla="*/ 676726 w 779965"/>
                    <a:gd name="connsiteY36" fmla="*/ 116281 h 1260351"/>
                    <a:gd name="connsiteX37" fmla="*/ 678402 w 779965"/>
                    <a:gd name="connsiteY37" fmla="*/ 116609 h 1260351"/>
                    <a:gd name="connsiteX38" fmla="*/ 689998 w 779965"/>
                    <a:gd name="connsiteY38" fmla="*/ 121369 h 1260351"/>
                    <a:gd name="connsiteX39" fmla="*/ 691079 w 779965"/>
                    <a:gd name="connsiteY39" fmla="*/ 121599 h 1260351"/>
                    <a:gd name="connsiteX40" fmla="*/ 691832 w 779965"/>
                    <a:gd name="connsiteY40" fmla="*/ 121563 h 1260351"/>
                    <a:gd name="connsiteX41" fmla="*/ 692463 w 779965"/>
                    <a:gd name="connsiteY41" fmla="*/ 120968 h 1260351"/>
                    <a:gd name="connsiteX42" fmla="*/ 692864 w 779965"/>
                    <a:gd name="connsiteY42" fmla="*/ 120300 h 1260351"/>
                    <a:gd name="connsiteX43" fmla="*/ 693046 w 779965"/>
                    <a:gd name="connsiteY43" fmla="*/ 119122 h 1260351"/>
                    <a:gd name="connsiteX44" fmla="*/ 692172 w 779965"/>
                    <a:gd name="connsiteY44" fmla="*/ 114763 h 1260351"/>
                    <a:gd name="connsiteX45" fmla="*/ 692172 w 779965"/>
                    <a:gd name="connsiteY45" fmla="*/ 112444 h 1260351"/>
                    <a:gd name="connsiteX46" fmla="*/ 692354 w 779965"/>
                    <a:gd name="connsiteY46" fmla="*/ 111254 h 1260351"/>
                    <a:gd name="connsiteX47" fmla="*/ 692682 w 779965"/>
                    <a:gd name="connsiteY47" fmla="*/ 110476 h 1260351"/>
                    <a:gd name="connsiteX48" fmla="*/ 693204 w 779965"/>
                    <a:gd name="connsiteY48" fmla="*/ 109711 h 1260351"/>
                    <a:gd name="connsiteX49" fmla="*/ 694115 w 779965"/>
                    <a:gd name="connsiteY49" fmla="*/ 109104 h 1260351"/>
                    <a:gd name="connsiteX50" fmla="*/ 695050 w 779965"/>
                    <a:gd name="connsiteY50" fmla="*/ 108740 h 1260351"/>
                    <a:gd name="connsiteX51" fmla="*/ 696944 w 779965"/>
                    <a:gd name="connsiteY51" fmla="*/ 108194 h 1260351"/>
                    <a:gd name="connsiteX52" fmla="*/ 698146 w 779965"/>
                    <a:gd name="connsiteY52" fmla="*/ 107671 h 1260351"/>
                    <a:gd name="connsiteX53" fmla="*/ 700502 w 779965"/>
                    <a:gd name="connsiteY53" fmla="*/ 106178 h 1260351"/>
                    <a:gd name="connsiteX54" fmla="*/ 701753 w 779965"/>
                    <a:gd name="connsiteY54" fmla="*/ 105753 h 1260351"/>
                    <a:gd name="connsiteX55" fmla="*/ 703088 w 779965"/>
                    <a:gd name="connsiteY55" fmla="*/ 105716 h 1260351"/>
                    <a:gd name="connsiteX56" fmla="*/ 704983 w 779965"/>
                    <a:gd name="connsiteY56" fmla="*/ 106639 h 1260351"/>
                    <a:gd name="connsiteX57" fmla="*/ 705893 w 779965"/>
                    <a:gd name="connsiteY57" fmla="*/ 108072 h 1260351"/>
                    <a:gd name="connsiteX58" fmla="*/ 706294 w 779965"/>
                    <a:gd name="connsiteY58" fmla="*/ 110173 h 1260351"/>
                    <a:gd name="connsiteX59" fmla="*/ 706537 w 779965"/>
                    <a:gd name="connsiteY59" fmla="*/ 112298 h 1260351"/>
                    <a:gd name="connsiteX60" fmla="*/ 707047 w 779965"/>
                    <a:gd name="connsiteY60" fmla="*/ 114593 h 1260351"/>
                    <a:gd name="connsiteX61" fmla="*/ 710313 w 779965"/>
                    <a:gd name="connsiteY61" fmla="*/ 120907 h 1260351"/>
                    <a:gd name="connsiteX62" fmla="*/ 710495 w 779965"/>
                    <a:gd name="connsiteY62" fmla="*/ 121939 h 1260351"/>
                    <a:gd name="connsiteX63" fmla="*/ 710265 w 779965"/>
                    <a:gd name="connsiteY63" fmla="*/ 123481 h 1260351"/>
                    <a:gd name="connsiteX64" fmla="*/ 709403 w 779965"/>
                    <a:gd name="connsiteY64" fmla="*/ 125437 h 1260351"/>
                    <a:gd name="connsiteX65" fmla="*/ 708358 w 779965"/>
                    <a:gd name="connsiteY65" fmla="*/ 127306 h 1260351"/>
                    <a:gd name="connsiteX66" fmla="*/ 706185 w 779965"/>
                    <a:gd name="connsiteY66" fmla="*/ 130124 h 1260351"/>
                    <a:gd name="connsiteX67" fmla="*/ 700380 w 779965"/>
                    <a:gd name="connsiteY67" fmla="*/ 136147 h 1260351"/>
                    <a:gd name="connsiteX68" fmla="*/ 699348 w 779965"/>
                    <a:gd name="connsiteY68" fmla="*/ 137592 h 1260351"/>
                    <a:gd name="connsiteX69" fmla="*/ 698547 w 779965"/>
                    <a:gd name="connsiteY69" fmla="*/ 139170 h 1260351"/>
                    <a:gd name="connsiteX70" fmla="*/ 698316 w 779965"/>
                    <a:gd name="connsiteY70" fmla="*/ 140688 h 1260351"/>
                    <a:gd name="connsiteX71" fmla="*/ 698377 w 779965"/>
                    <a:gd name="connsiteY71" fmla="*/ 142267 h 1260351"/>
                    <a:gd name="connsiteX72" fmla="*/ 698547 w 779965"/>
                    <a:gd name="connsiteY72" fmla="*/ 143991 h 1260351"/>
                    <a:gd name="connsiteX73" fmla="*/ 698608 w 779965"/>
                    <a:gd name="connsiteY73" fmla="*/ 145740 h 1260351"/>
                    <a:gd name="connsiteX74" fmla="*/ 698438 w 779965"/>
                    <a:gd name="connsiteY74" fmla="*/ 147670 h 1260351"/>
                    <a:gd name="connsiteX75" fmla="*/ 697223 w 779965"/>
                    <a:gd name="connsiteY75" fmla="*/ 152977 h 1260351"/>
                    <a:gd name="connsiteX76" fmla="*/ 697005 w 779965"/>
                    <a:gd name="connsiteY76" fmla="*/ 154932 h 1260351"/>
                    <a:gd name="connsiteX77" fmla="*/ 697005 w 779965"/>
                    <a:gd name="connsiteY77" fmla="*/ 157397 h 1260351"/>
                    <a:gd name="connsiteX78" fmla="*/ 697575 w 779965"/>
                    <a:gd name="connsiteY78" fmla="*/ 159922 h 1260351"/>
                    <a:gd name="connsiteX79" fmla="*/ 698316 w 779965"/>
                    <a:gd name="connsiteY79" fmla="*/ 161392 h 1260351"/>
                    <a:gd name="connsiteX80" fmla="*/ 699348 w 779965"/>
                    <a:gd name="connsiteY80" fmla="*/ 162193 h 1260351"/>
                    <a:gd name="connsiteX81" fmla="*/ 700210 w 779965"/>
                    <a:gd name="connsiteY81" fmla="*/ 162169 h 1260351"/>
                    <a:gd name="connsiteX82" fmla="*/ 701364 w 779965"/>
                    <a:gd name="connsiteY82" fmla="*/ 161428 h 1260351"/>
                    <a:gd name="connsiteX83" fmla="*/ 706015 w 779965"/>
                    <a:gd name="connsiteY83" fmla="*/ 156680 h 1260351"/>
                    <a:gd name="connsiteX84" fmla="*/ 707326 w 779965"/>
                    <a:gd name="connsiteY84" fmla="*/ 156110 h 1260351"/>
                    <a:gd name="connsiteX85" fmla="*/ 708358 w 779965"/>
                    <a:gd name="connsiteY85" fmla="*/ 156280 h 1260351"/>
                    <a:gd name="connsiteX86" fmla="*/ 710435 w 779965"/>
                    <a:gd name="connsiteY86" fmla="*/ 157457 h 1260351"/>
                    <a:gd name="connsiteX87" fmla="*/ 711758 w 779965"/>
                    <a:gd name="connsiteY87" fmla="*/ 159522 h 1260351"/>
                    <a:gd name="connsiteX88" fmla="*/ 712839 w 779965"/>
                    <a:gd name="connsiteY88" fmla="*/ 162242 h 1260351"/>
                    <a:gd name="connsiteX89" fmla="*/ 714806 w 779965"/>
                    <a:gd name="connsiteY89" fmla="*/ 171932 h 1260351"/>
                    <a:gd name="connsiteX90" fmla="*/ 713422 w 779965"/>
                    <a:gd name="connsiteY90" fmla="*/ 187633 h 1260351"/>
                    <a:gd name="connsiteX91" fmla="*/ 711297 w 779965"/>
                    <a:gd name="connsiteY91" fmla="*/ 196157 h 1260351"/>
                    <a:gd name="connsiteX92" fmla="*/ 712961 w 779965"/>
                    <a:gd name="connsiteY92" fmla="*/ 204256 h 1260351"/>
                    <a:gd name="connsiteX93" fmla="*/ 715936 w 779965"/>
                    <a:gd name="connsiteY93" fmla="*/ 208761 h 1260351"/>
                    <a:gd name="connsiteX94" fmla="*/ 722201 w 779965"/>
                    <a:gd name="connsiteY94" fmla="*/ 214044 h 1260351"/>
                    <a:gd name="connsiteX95" fmla="*/ 724217 w 779965"/>
                    <a:gd name="connsiteY95" fmla="*/ 216363 h 1260351"/>
                    <a:gd name="connsiteX96" fmla="*/ 725249 w 779965"/>
                    <a:gd name="connsiteY96" fmla="*/ 218779 h 1260351"/>
                    <a:gd name="connsiteX97" fmla="*/ 725820 w 779965"/>
                    <a:gd name="connsiteY97" fmla="*/ 221111 h 1260351"/>
                    <a:gd name="connsiteX98" fmla="*/ 726682 w 779965"/>
                    <a:gd name="connsiteY98" fmla="*/ 226672 h 1260351"/>
                    <a:gd name="connsiteX99" fmla="*/ 727775 w 779965"/>
                    <a:gd name="connsiteY99" fmla="*/ 230607 h 1260351"/>
                    <a:gd name="connsiteX100" fmla="*/ 728516 w 779965"/>
                    <a:gd name="connsiteY100" fmla="*/ 232416 h 1260351"/>
                    <a:gd name="connsiteX101" fmla="*/ 729098 w 779965"/>
                    <a:gd name="connsiteY101" fmla="*/ 233363 h 1260351"/>
                    <a:gd name="connsiteX102" fmla="*/ 729900 w 779965"/>
                    <a:gd name="connsiteY102" fmla="*/ 233994 h 1260351"/>
                    <a:gd name="connsiteX103" fmla="*/ 730932 w 779965"/>
                    <a:gd name="connsiteY103" fmla="*/ 234480 h 1260351"/>
                    <a:gd name="connsiteX104" fmla="*/ 732316 w 779965"/>
                    <a:gd name="connsiteY104" fmla="*/ 234941 h 1260351"/>
                    <a:gd name="connsiteX105" fmla="*/ 733628 w 779965"/>
                    <a:gd name="connsiteY105" fmla="*/ 234893 h 1260351"/>
                    <a:gd name="connsiteX106" fmla="*/ 734781 w 779965"/>
                    <a:gd name="connsiteY106" fmla="*/ 234456 h 1260351"/>
                    <a:gd name="connsiteX107" fmla="*/ 735352 w 779965"/>
                    <a:gd name="connsiteY107" fmla="*/ 233788 h 1260351"/>
                    <a:gd name="connsiteX108" fmla="*/ 735583 w 779965"/>
                    <a:gd name="connsiteY108" fmla="*/ 233363 h 1260351"/>
                    <a:gd name="connsiteX109" fmla="*/ 735583 w 779965"/>
                    <a:gd name="connsiteY109" fmla="*/ 233108 h 1260351"/>
                    <a:gd name="connsiteX110" fmla="*/ 735121 w 779965"/>
                    <a:gd name="connsiteY110" fmla="*/ 230036 h 1260351"/>
                    <a:gd name="connsiteX111" fmla="*/ 735182 w 779965"/>
                    <a:gd name="connsiteY111" fmla="*/ 228979 h 1260351"/>
                    <a:gd name="connsiteX112" fmla="*/ 735996 w 779965"/>
                    <a:gd name="connsiteY112" fmla="*/ 228312 h 1260351"/>
                    <a:gd name="connsiteX113" fmla="*/ 737598 w 779965"/>
                    <a:gd name="connsiteY113" fmla="*/ 228579 h 1260351"/>
                    <a:gd name="connsiteX114" fmla="*/ 743852 w 779965"/>
                    <a:gd name="connsiteY114" fmla="*/ 232501 h 1260351"/>
                    <a:gd name="connsiteX115" fmla="*/ 745115 w 779965"/>
                    <a:gd name="connsiteY115" fmla="*/ 233108 h 1260351"/>
                    <a:gd name="connsiteX116" fmla="*/ 748272 w 779965"/>
                    <a:gd name="connsiteY116" fmla="*/ 234079 h 1260351"/>
                    <a:gd name="connsiteX117" fmla="*/ 749997 w 779965"/>
                    <a:gd name="connsiteY117" fmla="*/ 234347 h 1260351"/>
                    <a:gd name="connsiteX118" fmla="*/ 751769 w 779965"/>
                    <a:gd name="connsiteY118" fmla="*/ 234347 h 1260351"/>
                    <a:gd name="connsiteX119" fmla="*/ 753275 w 779965"/>
                    <a:gd name="connsiteY119" fmla="*/ 233824 h 1260351"/>
                    <a:gd name="connsiteX120" fmla="*/ 754599 w 779965"/>
                    <a:gd name="connsiteY120" fmla="*/ 233193 h 1260351"/>
                    <a:gd name="connsiteX121" fmla="*/ 754926 w 779965"/>
                    <a:gd name="connsiteY121" fmla="*/ 233072 h 1260351"/>
                    <a:gd name="connsiteX122" fmla="*/ 756942 w 779965"/>
                    <a:gd name="connsiteY122" fmla="*/ 232877 h 1260351"/>
                    <a:gd name="connsiteX123" fmla="*/ 758666 w 779965"/>
                    <a:gd name="connsiteY123" fmla="*/ 232914 h 1260351"/>
                    <a:gd name="connsiteX124" fmla="*/ 760452 w 779965"/>
                    <a:gd name="connsiteY124" fmla="*/ 233108 h 1260351"/>
                    <a:gd name="connsiteX125" fmla="*/ 762237 w 779965"/>
                    <a:gd name="connsiteY125" fmla="*/ 233679 h 1260351"/>
                    <a:gd name="connsiteX126" fmla="*/ 767288 w 779965"/>
                    <a:gd name="connsiteY126" fmla="*/ 236034 h 1260351"/>
                    <a:gd name="connsiteX127" fmla="*/ 768842 w 779965"/>
                    <a:gd name="connsiteY127" fmla="*/ 237443 h 1260351"/>
                    <a:gd name="connsiteX128" fmla="*/ 769632 w 779965"/>
                    <a:gd name="connsiteY128" fmla="*/ 238997 h 1260351"/>
                    <a:gd name="connsiteX129" fmla="*/ 769984 w 779965"/>
                    <a:gd name="connsiteY129" fmla="*/ 242956 h 1260351"/>
                    <a:gd name="connsiteX130" fmla="*/ 770664 w 779965"/>
                    <a:gd name="connsiteY130" fmla="*/ 245275 h 1260351"/>
                    <a:gd name="connsiteX131" fmla="*/ 772461 w 779965"/>
                    <a:gd name="connsiteY131" fmla="*/ 248906 h 1260351"/>
                    <a:gd name="connsiteX132" fmla="*/ 773372 w 779965"/>
                    <a:gd name="connsiteY132" fmla="*/ 251225 h 1260351"/>
                    <a:gd name="connsiteX133" fmla="*/ 773833 w 779965"/>
                    <a:gd name="connsiteY133" fmla="*/ 253605 h 1260351"/>
                    <a:gd name="connsiteX134" fmla="*/ 773590 w 779965"/>
                    <a:gd name="connsiteY134" fmla="*/ 255767 h 1260351"/>
                    <a:gd name="connsiteX135" fmla="*/ 772509 w 779965"/>
                    <a:gd name="connsiteY135" fmla="*/ 258062 h 1260351"/>
                    <a:gd name="connsiteX136" fmla="*/ 770725 w 779965"/>
                    <a:gd name="connsiteY136" fmla="*/ 260442 h 1260351"/>
                    <a:gd name="connsiteX137" fmla="*/ 768369 w 779965"/>
                    <a:gd name="connsiteY137" fmla="*/ 262822 h 1260351"/>
                    <a:gd name="connsiteX138" fmla="*/ 761022 w 779965"/>
                    <a:gd name="connsiteY138" fmla="*/ 268019 h 1260351"/>
                    <a:gd name="connsiteX139" fmla="*/ 759589 w 779965"/>
                    <a:gd name="connsiteY139" fmla="*/ 269245 h 1260351"/>
                    <a:gd name="connsiteX140" fmla="*/ 757574 w 779965"/>
                    <a:gd name="connsiteY140" fmla="*/ 271698 h 1260351"/>
                    <a:gd name="connsiteX141" fmla="*/ 756359 w 779965"/>
                    <a:gd name="connsiteY141" fmla="*/ 272755 h 1260351"/>
                    <a:gd name="connsiteX142" fmla="*/ 753044 w 779965"/>
                    <a:gd name="connsiteY142" fmla="*/ 273908 h 1260351"/>
                    <a:gd name="connsiteX143" fmla="*/ 751672 w 779965"/>
                    <a:gd name="connsiteY143" fmla="*/ 274685 h 1260351"/>
                    <a:gd name="connsiteX144" fmla="*/ 750337 w 779965"/>
                    <a:gd name="connsiteY144" fmla="*/ 276009 h 1260351"/>
                    <a:gd name="connsiteX145" fmla="*/ 749365 w 779965"/>
                    <a:gd name="connsiteY145" fmla="*/ 277466 h 1260351"/>
                    <a:gd name="connsiteX146" fmla="*/ 748564 w 779965"/>
                    <a:gd name="connsiteY146" fmla="*/ 279251 h 1260351"/>
                    <a:gd name="connsiteX147" fmla="*/ 745528 w 779965"/>
                    <a:gd name="connsiteY147" fmla="*/ 289233 h 1260351"/>
                    <a:gd name="connsiteX148" fmla="*/ 744544 w 779965"/>
                    <a:gd name="connsiteY148" fmla="*/ 290908 h 1260351"/>
                    <a:gd name="connsiteX149" fmla="*/ 743342 w 779965"/>
                    <a:gd name="connsiteY149" fmla="*/ 292220 h 1260351"/>
                    <a:gd name="connsiteX150" fmla="*/ 733628 w 779965"/>
                    <a:gd name="connsiteY150" fmla="*/ 298911 h 1260351"/>
                    <a:gd name="connsiteX151" fmla="*/ 729851 w 779965"/>
                    <a:gd name="connsiteY151" fmla="*/ 302639 h 1260351"/>
                    <a:gd name="connsiteX152" fmla="*/ 728418 w 779965"/>
                    <a:gd name="connsiteY152" fmla="*/ 303452 h 1260351"/>
                    <a:gd name="connsiteX153" fmla="*/ 726925 w 779965"/>
                    <a:gd name="connsiteY153" fmla="*/ 303999 h 1260351"/>
                    <a:gd name="connsiteX154" fmla="*/ 724788 w 779965"/>
                    <a:gd name="connsiteY154" fmla="*/ 304253 h 1260351"/>
                    <a:gd name="connsiteX155" fmla="*/ 719166 w 779965"/>
                    <a:gd name="connsiteY155" fmla="*/ 304023 h 1260351"/>
                    <a:gd name="connsiteX156" fmla="*/ 718133 w 779965"/>
                    <a:gd name="connsiteY156" fmla="*/ 304363 h 1260351"/>
                    <a:gd name="connsiteX157" fmla="*/ 715717 w 779965"/>
                    <a:gd name="connsiteY157" fmla="*/ 306463 h 1260351"/>
                    <a:gd name="connsiteX158" fmla="*/ 712499 w 779965"/>
                    <a:gd name="connsiteY158" fmla="*/ 310313 h 1260351"/>
                    <a:gd name="connsiteX159" fmla="*/ 711188 w 779965"/>
                    <a:gd name="connsiteY159" fmla="*/ 311381 h 1260351"/>
                    <a:gd name="connsiteX160" fmla="*/ 710034 w 779965"/>
                    <a:gd name="connsiteY160" fmla="*/ 312122 h 1260351"/>
                    <a:gd name="connsiteX161" fmla="*/ 706816 w 779965"/>
                    <a:gd name="connsiteY161" fmla="*/ 313591 h 1260351"/>
                    <a:gd name="connsiteX162" fmla="*/ 706015 w 779965"/>
                    <a:gd name="connsiteY162" fmla="*/ 314162 h 1260351"/>
                    <a:gd name="connsiteX163" fmla="*/ 705432 w 779965"/>
                    <a:gd name="connsiteY163" fmla="*/ 314903 h 1260351"/>
                    <a:gd name="connsiteX164" fmla="*/ 704740 w 779965"/>
                    <a:gd name="connsiteY164" fmla="*/ 316105 h 1260351"/>
                    <a:gd name="connsiteX165" fmla="*/ 704290 w 779965"/>
                    <a:gd name="connsiteY165" fmla="*/ 317271 h 1260351"/>
                    <a:gd name="connsiteX166" fmla="*/ 703088 w 779965"/>
                    <a:gd name="connsiteY166" fmla="*/ 321253 h 1260351"/>
                    <a:gd name="connsiteX167" fmla="*/ 701935 w 779965"/>
                    <a:gd name="connsiteY167" fmla="*/ 324095 h 1260351"/>
                    <a:gd name="connsiteX168" fmla="*/ 701534 w 779965"/>
                    <a:gd name="connsiteY168" fmla="*/ 327422 h 1260351"/>
                    <a:gd name="connsiteX169" fmla="*/ 702056 w 779965"/>
                    <a:gd name="connsiteY169" fmla="*/ 328685 h 1260351"/>
                    <a:gd name="connsiteX170" fmla="*/ 705784 w 779965"/>
                    <a:gd name="connsiteY170" fmla="*/ 335145 h 1260351"/>
                    <a:gd name="connsiteX171" fmla="*/ 706598 w 779965"/>
                    <a:gd name="connsiteY171" fmla="*/ 337962 h 1260351"/>
                    <a:gd name="connsiteX172" fmla="*/ 706986 w 779965"/>
                    <a:gd name="connsiteY172" fmla="*/ 341374 h 1260351"/>
                    <a:gd name="connsiteX173" fmla="*/ 706865 w 779965"/>
                    <a:gd name="connsiteY173" fmla="*/ 343584 h 1260351"/>
                    <a:gd name="connsiteX174" fmla="*/ 706537 w 779965"/>
                    <a:gd name="connsiteY174" fmla="*/ 345345 h 1260351"/>
                    <a:gd name="connsiteX175" fmla="*/ 706124 w 779965"/>
                    <a:gd name="connsiteY175" fmla="*/ 346778 h 1260351"/>
                    <a:gd name="connsiteX176" fmla="*/ 705493 w 779965"/>
                    <a:gd name="connsiteY176" fmla="*/ 348211 h 1260351"/>
                    <a:gd name="connsiteX177" fmla="*/ 704582 w 779965"/>
                    <a:gd name="connsiteY177" fmla="*/ 349535 h 1260351"/>
                    <a:gd name="connsiteX178" fmla="*/ 699239 w 779965"/>
                    <a:gd name="connsiteY178" fmla="*/ 355752 h 1260351"/>
                    <a:gd name="connsiteX179" fmla="*/ 697333 w 779965"/>
                    <a:gd name="connsiteY179" fmla="*/ 357245 h 1260351"/>
                    <a:gd name="connsiteX180" fmla="*/ 694758 w 779965"/>
                    <a:gd name="connsiteY180" fmla="*/ 358375 h 1260351"/>
                    <a:gd name="connsiteX181" fmla="*/ 692233 w 779965"/>
                    <a:gd name="connsiteY181" fmla="*/ 358921 h 1260351"/>
                    <a:gd name="connsiteX182" fmla="*/ 684485 w 779965"/>
                    <a:gd name="connsiteY182" fmla="*/ 359637 h 1260351"/>
                    <a:gd name="connsiteX183" fmla="*/ 677819 w 779965"/>
                    <a:gd name="connsiteY183" fmla="*/ 361702 h 1260351"/>
                    <a:gd name="connsiteX184" fmla="*/ 673168 w 779965"/>
                    <a:gd name="connsiteY184" fmla="*/ 364859 h 1260351"/>
                    <a:gd name="connsiteX185" fmla="*/ 657492 w 779965"/>
                    <a:gd name="connsiteY185" fmla="*/ 378702 h 1260351"/>
                    <a:gd name="connsiteX186" fmla="*/ 655306 w 779965"/>
                    <a:gd name="connsiteY186" fmla="*/ 380135 h 1260351"/>
                    <a:gd name="connsiteX187" fmla="*/ 644571 w 779965"/>
                    <a:gd name="connsiteY187" fmla="*/ 384069 h 1260351"/>
                    <a:gd name="connsiteX188" fmla="*/ 640030 w 779965"/>
                    <a:gd name="connsiteY188" fmla="*/ 386376 h 1260351"/>
                    <a:gd name="connsiteX189" fmla="*/ 636934 w 779965"/>
                    <a:gd name="connsiteY189" fmla="*/ 388368 h 1260351"/>
                    <a:gd name="connsiteX190" fmla="*/ 633485 w 779965"/>
                    <a:gd name="connsiteY190" fmla="*/ 391743 h 1260351"/>
                    <a:gd name="connsiteX191" fmla="*/ 624414 w 779965"/>
                    <a:gd name="connsiteY191" fmla="*/ 404870 h 1260351"/>
                    <a:gd name="connsiteX192" fmla="*/ 622921 w 779965"/>
                    <a:gd name="connsiteY192" fmla="*/ 408124 h 1260351"/>
                    <a:gd name="connsiteX193" fmla="*/ 622398 w 779965"/>
                    <a:gd name="connsiteY193" fmla="*/ 410346 h 1260351"/>
                    <a:gd name="connsiteX194" fmla="*/ 623212 w 779965"/>
                    <a:gd name="connsiteY194" fmla="*/ 411682 h 1260351"/>
                    <a:gd name="connsiteX195" fmla="*/ 625167 w 779965"/>
                    <a:gd name="connsiteY195" fmla="*/ 413831 h 1260351"/>
                    <a:gd name="connsiteX196" fmla="*/ 626017 w 779965"/>
                    <a:gd name="connsiteY196" fmla="*/ 414633 h 1260351"/>
                    <a:gd name="connsiteX197" fmla="*/ 626879 w 779965"/>
                    <a:gd name="connsiteY197" fmla="*/ 415726 h 1260351"/>
                    <a:gd name="connsiteX198" fmla="*/ 627292 w 779965"/>
                    <a:gd name="connsiteY198" fmla="*/ 416988 h 1260351"/>
                    <a:gd name="connsiteX199" fmla="*/ 627061 w 779965"/>
                    <a:gd name="connsiteY199" fmla="*/ 418859 h 1260351"/>
                    <a:gd name="connsiteX200" fmla="*/ 625908 w 779965"/>
                    <a:gd name="connsiteY200" fmla="*/ 420097 h 1260351"/>
                    <a:gd name="connsiteX201" fmla="*/ 624414 w 779965"/>
                    <a:gd name="connsiteY201" fmla="*/ 420971 h 1260351"/>
                    <a:gd name="connsiteX202" fmla="*/ 622338 w 779965"/>
                    <a:gd name="connsiteY202" fmla="*/ 421651 h 1260351"/>
                    <a:gd name="connsiteX203" fmla="*/ 619144 w 779965"/>
                    <a:gd name="connsiteY203" fmla="*/ 423424 h 1260351"/>
                    <a:gd name="connsiteX204" fmla="*/ 617930 w 779965"/>
                    <a:gd name="connsiteY204" fmla="*/ 424736 h 1260351"/>
                    <a:gd name="connsiteX205" fmla="*/ 617129 w 779965"/>
                    <a:gd name="connsiteY205" fmla="*/ 426351 h 1260351"/>
                    <a:gd name="connsiteX206" fmla="*/ 616206 w 779965"/>
                    <a:gd name="connsiteY206" fmla="*/ 433721 h 1260351"/>
                    <a:gd name="connsiteX207" fmla="*/ 616157 w 779965"/>
                    <a:gd name="connsiteY207" fmla="*/ 435652 h 1260351"/>
                    <a:gd name="connsiteX208" fmla="*/ 616618 w 779965"/>
                    <a:gd name="connsiteY208" fmla="*/ 437449 h 1260351"/>
                    <a:gd name="connsiteX209" fmla="*/ 617748 w 779965"/>
                    <a:gd name="connsiteY209" fmla="*/ 438907 h 1260351"/>
                    <a:gd name="connsiteX210" fmla="*/ 619411 w 779965"/>
                    <a:gd name="connsiteY210" fmla="*/ 440254 h 1260351"/>
                    <a:gd name="connsiteX211" fmla="*/ 624815 w 779965"/>
                    <a:gd name="connsiteY211" fmla="*/ 443302 h 1260351"/>
                    <a:gd name="connsiteX212" fmla="*/ 626199 w 779965"/>
                    <a:gd name="connsiteY212" fmla="*/ 444456 h 1260351"/>
                    <a:gd name="connsiteX213" fmla="*/ 627001 w 779965"/>
                    <a:gd name="connsiteY213" fmla="*/ 445451 h 1260351"/>
                    <a:gd name="connsiteX214" fmla="*/ 627183 w 779965"/>
                    <a:gd name="connsiteY214" fmla="*/ 446775 h 1260351"/>
                    <a:gd name="connsiteX215" fmla="*/ 626879 w 779965"/>
                    <a:gd name="connsiteY215" fmla="*/ 448499 h 1260351"/>
                    <a:gd name="connsiteX216" fmla="*/ 625276 w 779965"/>
                    <a:gd name="connsiteY216" fmla="*/ 453211 h 1260351"/>
                    <a:gd name="connsiteX217" fmla="*/ 624936 w 779965"/>
                    <a:gd name="connsiteY217" fmla="*/ 454911 h 1260351"/>
                    <a:gd name="connsiteX218" fmla="*/ 625106 w 779965"/>
                    <a:gd name="connsiteY218" fmla="*/ 455967 h 1260351"/>
                    <a:gd name="connsiteX219" fmla="*/ 625908 w 779965"/>
                    <a:gd name="connsiteY219" fmla="*/ 459137 h 1260351"/>
                    <a:gd name="connsiteX220" fmla="*/ 624475 w 779965"/>
                    <a:gd name="connsiteY220" fmla="*/ 462816 h 1260351"/>
                    <a:gd name="connsiteX221" fmla="*/ 623674 w 779965"/>
                    <a:gd name="connsiteY221" fmla="*/ 463120 h 1260351"/>
                    <a:gd name="connsiteX222" fmla="*/ 622459 w 779965"/>
                    <a:gd name="connsiteY222" fmla="*/ 463326 h 1260351"/>
                    <a:gd name="connsiteX223" fmla="*/ 618962 w 779965"/>
                    <a:gd name="connsiteY223" fmla="*/ 463095 h 1260351"/>
                    <a:gd name="connsiteX224" fmla="*/ 617930 w 779965"/>
                    <a:gd name="connsiteY224" fmla="*/ 463727 h 1260351"/>
                    <a:gd name="connsiteX225" fmla="*/ 617469 w 779965"/>
                    <a:gd name="connsiteY225" fmla="*/ 464455 h 1260351"/>
                    <a:gd name="connsiteX226" fmla="*/ 617347 w 779965"/>
                    <a:gd name="connsiteY226" fmla="*/ 467588 h 1260351"/>
                    <a:gd name="connsiteX227" fmla="*/ 616667 w 779965"/>
                    <a:gd name="connsiteY227" fmla="*/ 469737 h 1260351"/>
                    <a:gd name="connsiteX228" fmla="*/ 615866 w 779965"/>
                    <a:gd name="connsiteY228" fmla="*/ 470430 h 1260351"/>
                    <a:gd name="connsiteX229" fmla="*/ 614943 w 779965"/>
                    <a:gd name="connsiteY229" fmla="*/ 470345 h 1260351"/>
                    <a:gd name="connsiteX230" fmla="*/ 613850 w 779965"/>
                    <a:gd name="connsiteY230" fmla="*/ 469337 h 1260351"/>
                    <a:gd name="connsiteX231" fmla="*/ 612696 w 779965"/>
                    <a:gd name="connsiteY231" fmla="*/ 468487 h 1260351"/>
                    <a:gd name="connsiteX232" fmla="*/ 611203 w 779965"/>
                    <a:gd name="connsiteY232" fmla="*/ 468037 h 1260351"/>
                    <a:gd name="connsiteX233" fmla="*/ 608738 w 779965"/>
                    <a:gd name="connsiteY233" fmla="*/ 468292 h 1260351"/>
                    <a:gd name="connsiteX234" fmla="*/ 607535 w 779965"/>
                    <a:gd name="connsiteY234" fmla="*/ 469689 h 1260351"/>
                    <a:gd name="connsiteX235" fmla="*/ 606965 w 779965"/>
                    <a:gd name="connsiteY235" fmla="*/ 471559 h 1260351"/>
                    <a:gd name="connsiteX236" fmla="*/ 606843 w 779965"/>
                    <a:gd name="connsiteY236" fmla="*/ 476355 h 1260351"/>
                    <a:gd name="connsiteX237" fmla="*/ 606054 w 779965"/>
                    <a:gd name="connsiteY237" fmla="*/ 479913 h 1260351"/>
                    <a:gd name="connsiteX238" fmla="*/ 603286 w 779965"/>
                    <a:gd name="connsiteY238" fmla="*/ 485693 h 1260351"/>
                    <a:gd name="connsiteX239" fmla="*/ 586006 w 779965"/>
                    <a:gd name="connsiteY239" fmla="*/ 513488 h 1260351"/>
                    <a:gd name="connsiteX240" fmla="*/ 584330 w 779965"/>
                    <a:gd name="connsiteY240" fmla="*/ 516840 h 1260351"/>
                    <a:gd name="connsiteX241" fmla="*/ 584221 w 779965"/>
                    <a:gd name="connsiteY241" fmla="*/ 518916 h 1260351"/>
                    <a:gd name="connsiteX242" fmla="*/ 582837 w 779965"/>
                    <a:gd name="connsiteY242" fmla="*/ 524708 h 1260351"/>
                    <a:gd name="connsiteX243" fmla="*/ 581404 w 779965"/>
                    <a:gd name="connsiteY243" fmla="*/ 528813 h 1260351"/>
                    <a:gd name="connsiteX244" fmla="*/ 581173 w 779965"/>
                    <a:gd name="connsiteY244" fmla="*/ 531035 h 1260351"/>
                    <a:gd name="connsiteX245" fmla="*/ 581343 w 779965"/>
                    <a:gd name="connsiteY245" fmla="*/ 535783 h 1260351"/>
                    <a:gd name="connsiteX246" fmla="*/ 581865 w 779965"/>
                    <a:gd name="connsiteY246" fmla="*/ 537811 h 1260351"/>
                    <a:gd name="connsiteX247" fmla="*/ 582727 w 779965"/>
                    <a:gd name="connsiteY247" fmla="*/ 539584 h 1260351"/>
                    <a:gd name="connsiteX248" fmla="*/ 583990 w 779965"/>
                    <a:gd name="connsiteY248" fmla="*/ 541174 h 1260351"/>
                    <a:gd name="connsiteX249" fmla="*/ 590365 w 779965"/>
                    <a:gd name="connsiteY249" fmla="*/ 546991 h 1260351"/>
                    <a:gd name="connsiteX250" fmla="*/ 591458 w 779965"/>
                    <a:gd name="connsiteY250" fmla="*/ 548375 h 1260351"/>
                    <a:gd name="connsiteX251" fmla="*/ 592150 w 779965"/>
                    <a:gd name="connsiteY251" fmla="*/ 550354 h 1260351"/>
                    <a:gd name="connsiteX252" fmla="*/ 592660 w 779965"/>
                    <a:gd name="connsiteY252" fmla="*/ 552771 h 1260351"/>
                    <a:gd name="connsiteX253" fmla="*/ 592843 w 779965"/>
                    <a:gd name="connsiteY253" fmla="*/ 556559 h 1260351"/>
                    <a:gd name="connsiteX254" fmla="*/ 592260 w 779965"/>
                    <a:gd name="connsiteY254" fmla="*/ 558806 h 1260351"/>
                    <a:gd name="connsiteX255" fmla="*/ 591227 w 779965"/>
                    <a:gd name="connsiteY255" fmla="*/ 560215 h 1260351"/>
                    <a:gd name="connsiteX256" fmla="*/ 589503 w 779965"/>
                    <a:gd name="connsiteY256" fmla="*/ 560724 h 1260351"/>
                    <a:gd name="connsiteX257" fmla="*/ 587670 w 779965"/>
                    <a:gd name="connsiteY257" fmla="*/ 560700 h 1260351"/>
                    <a:gd name="connsiteX258" fmla="*/ 586176 w 779965"/>
                    <a:gd name="connsiteY258" fmla="*/ 560384 h 1260351"/>
                    <a:gd name="connsiteX259" fmla="*/ 584622 w 779965"/>
                    <a:gd name="connsiteY259" fmla="*/ 559899 h 1260351"/>
                    <a:gd name="connsiteX260" fmla="*/ 576474 w 779965"/>
                    <a:gd name="connsiteY260" fmla="*/ 556401 h 1260351"/>
                    <a:gd name="connsiteX261" fmla="*/ 574337 w 779965"/>
                    <a:gd name="connsiteY261" fmla="*/ 556219 h 1260351"/>
                    <a:gd name="connsiteX262" fmla="*/ 572394 w 779965"/>
                    <a:gd name="connsiteY262" fmla="*/ 556377 h 1260351"/>
                    <a:gd name="connsiteX263" fmla="*/ 570961 w 779965"/>
                    <a:gd name="connsiteY263" fmla="*/ 557810 h 1260351"/>
                    <a:gd name="connsiteX264" fmla="*/ 569868 w 779965"/>
                    <a:gd name="connsiteY264" fmla="*/ 559474 h 1260351"/>
                    <a:gd name="connsiteX265" fmla="*/ 568836 w 779965"/>
                    <a:gd name="connsiteY265" fmla="*/ 561489 h 1260351"/>
                    <a:gd name="connsiteX266" fmla="*/ 568192 w 779965"/>
                    <a:gd name="connsiteY266" fmla="*/ 563214 h 1260351"/>
                    <a:gd name="connsiteX267" fmla="*/ 567852 w 779965"/>
                    <a:gd name="connsiteY267" fmla="*/ 564671 h 1260351"/>
                    <a:gd name="connsiteX268" fmla="*/ 567852 w 779965"/>
                    <a:gd name="connsiteY268" fmla="*/ 565655 h 1260351"/>
                    <a:gd name="connsiteX269" fmla="*/ 568035 w 779965"/>
                    <a:gd name="connsiteY269" fmla="*/ 566201 h 1260351"/>
                    <a:gd name="connsiteX270" fmla="*/ 568545 w 779965"/>
                    <a:gd name="connsiteY270" fmla="*/ 566857 h 1260351"/>
                    <a:gd name="connsiteX271" fmla="*/ 568654 w 779965"/>
                    <a:gd name="connsiteY271" fmla="*/ 567974 h 1260351"/>
                    <a:gd name="connsiteX272" fmla="*/ 568192 w 779965"/>
                    <a:gd name="connsiteY272" fmla="*/ 569819 h 1260351"/>
                    <a:gd name="connsiteX273" fmla="*/ 563894 w 779965"/>
                    <a:gd name="connsiteY273" fmla="*/ 575478 h 1260351"/>
                    <a:gd name="connsiteX274" fmla="*/ 562570 w 779965"/>
                    <a:gd name="connsiteY274" fmla="*/ 577785 h 1260351"/>
                    <a:gd name="connsiteX275" fmla="*/ 557167 w 779965"/>
                    <a:gd name="connsiteY275" fmla="*/ 592928 h 1260351"/>
                    <a:gd name="connsiteX276" fmla="*/ 554884 w 779965"/>
                    <a:gd name="connsiteY276" fmla="*/ 596631 h 1260351"/>
                    <a:gd name="connsiteX277" fmla="*/ 552577 w 779965"/>
                    <a:gd name="connsiteY277" fmla="*/ 599303 h 1260351"/>
                    <a:gd name="connsiteX278" fmla="*/ 549322 w 779965"/>
                    <a:gd name="connsiteY278" fmla="*/ 602059 h 1260351"/>
                    <a:gd name="connsiteX279" fmla="*/ 546894 w 779965"/>
                    <a:gd name="connsiteY279" fmla="*/ 603103 h 1260351"/>
                    <a:gd name="connsiteX280" fmla="*/ 544198 w 779965"/>
                    <a:gd name="connsiteY280" fmla="*/ 603650 h 1260351"/>
                    <a:gd name="connsiteX281" fmla="*/ 534617 w 779965"/>
                    <a:gd name="connsiteY281" fmla="*/ 604305 h 1260351"/>
                    <a:gd name="connsiteX282" fmla="*/ 533002 w 779965"/>
                    <a:gd name="connsiteY282" fmla="*/ 603856 h 1260351"/>
                    <a:gd name="connsiteX283" fmla="*/ 531727 w 779965"/>
                    <a:gd name="connsiteY283" fmla="*/ 603103 h 1260351"/>
                    <a:gd name="connsiteX284" fmla="*/ 528983 w 779965"/>
                    <a:gd name="connsiteY284" fmla="*/ 600140 h 1260351"/>
                    <a:gd name="connsiteX285" fmla="*/ 527319 w 779965"/>
                    <a:gd name="connsiteY285" fmla="*/ 599023 h 1260351"/>
                    <a:gd name="connsiteX286" fmla="*/ 525643 w 779965"/>
                    <a:gd name="connsiteY286" fmla="*/ 598355 h 1260351"/>
                    <a:gd name="connsiteX287" fmla="*/ 523531 w 779965"/>
                    <a:gd name="connsiteY287" fmla="*/ 597833 h 1260351"/>
                    <a:gd name="connsiteX288" fmla="*/ 521636 w 779965"/>
                    <a:gd name="connsiteY288" fmla="*/ 597141 h 1260351"/>
                    <a:gd name="connsiteX289" fmla="*/ 520252 w 779965"/>
                    <a:gd name="connsiteY289" fmla="*/ 596231 h 1260351"/>
                    <a:gd name="connsiteX290" fmla="*/ 519220 w 779965"/>
                    <a:gd name="connsiteY290" fmla="*/ 595223 h 1260351"/>
                    <a:gd name="connsiteX291" fmla="*/ 517908 w 779965"/>
                    <a:gd name="connsiteY291" fmla="*/ 593668 h 1260351"/>
                    <a:gd name="connsiteX292" fmla="*/ 515662 w 779965"/>
                    <a:gd name="connsiteY292" fmla="*/ 592211 h 1260351"/>
                    <a:gd name="connsiteX293" fmla="*/ 513306 w 779965"/>
                    <a:gd name="connsiteY293" fmla="*/ 591750 h 1260351"/>
                    <a:gd name="connsiteX294" fmla="*/ 494011 w 779965"/>
                    <a:gd name="connsiteY294" fmla="*/ 595004 h 1260351"/>
                    <a:gd name="connsiteX295" fmla="*/ 490283 w 779965"/>
                    <a:gd name="connsiteY295" fmla="*/ 595150 h 1260351"/>
                    <a:gd name="connsiteX296" fmla="*/ 486652 w 779965"/>
                    <a:gd name="connsiteY296" fmla="*/ 595817 h 1260351"/>
                    <a:gd name="connsiteX297" fmla="*/ 484418 w 779965"/>
                    <a:gd name="connsiteY297" fmla="*/ 596570 h 1260351"/>
                    <a:gd name="connsiteX298" fmla="*/ 482014 w 779965"/>
                    <a:gd name="connsiteY298" fmla="*/ 597882 h 1260351"/>
                    <a:gd name="connsiteX299" fmla="*/ 480690 w 779965"/>
                    <a:gd name="connsiteY299" fmla="*/ 598343 h 1260351"/>
                    <a:gd name="connsiteX300" fmla="*/ 479136 w 779965"/>
                    <a:gd name="connsiteY300" fmla="*/ 598343 h 1260351"/>
                    <a:gd name="connsiteX301" fmla="*/ 477764 w 779965"/>
                    <a:gd name="connsiteY301" fmla="*/ 597627 h 1260351"/>
                    <a:gd name="connsiteX302" fmla="*/ 476732 w 779965"/>
                    <a:gd name="connsiteY302" fmla="*/ 596558 h 1260351"/>
                    <a:gd name="connsiteX303" fmla="*/ 475238 w 779965"/>
                    <a:gd name="connsiteY303" fmla="*/ 595781 h 1260351"/>
                    <a:gd name="connsiteX304" fmla="*/ 473563 w 779965"/>
                    <a:gd name="connsiteY304" fmla="*/ 595393 h 1260351"/>
                    <a:gd name="connsiteX305" fmla="*/ 457728 w 779965"/>
                    <a:gd name="connsiteY305" fmla="*/ 596267 h 1260351"/>
                    <a:gd name="connsiteX306" fmla="*/ 455603 w 779965"/>
                    <a:gd name="connsiteY306" fmla="*/ 596850 h 1260351"/>
                    <a:gd name="connsiteX307" fmla="*/ 454170 w 779965"/>
                    <a:gd name="connsiteY307" fmla="*/ 597542 h 1260351"/>
                    <a:gd name="connsiteX308" fmla="*/ 453357 w 779965"/>
                    <a:gd name="connsiteY308" fmla="*/ 598453 h 1260351"/>
                    <a:gd name="connsiteX309" fmla="*/ 452956 w 779965"/>
                    <a:gd name="connsiteY309" fmla="*/ 599230 h 1260351"/>
                    <a:gd name="connsiteX310" fmla="*/ 453017 w 779965"/>
                    <a:gd name="connsiteY310" fmla="*/ 600055 h 1260351"/>
                    <a:gd name="connsiteX311" fmla="*/ 453770 w 779965"/>
                    <a:gd name="connsiteY311" fmla="*/ 602545 h 1260351"/>
                    <a:gd name="connsiteX312" fmla="*/ 453247 w 779965"/>
                    <a:gd name="connsiteY312" fmla="*/ 606321 h 1260351"/>
                    <a:gd name="connsiteX313" fmla="*/ 450090 w 779965"/>
                    <a:gd name="connsiteY313" fmla="*/ 610887 h 1260351"/>
                    <a:gd name="connsiteX314" fmla="*/ 446229 w 779965"/>
                    <a:gd name="connsiteY314" fmla="*/ 622022 h 1260351"/>
                    <a:gd name="connsiteX315" fmla="*/ 437850 w 779965"/>
                    <a:gd name="connsiteY315" fmla="*/ 635658 h 1260351"/>
                    <a:gd name="connsiteX316" fmla="*/ 435203 w 779965"/>
                    <a:gd name="connsiteY316" fmla="*/ 638622 h 1260351"/>
                    <a:gd name="connsiteX317" fmla="*/ 433321 w 779965"/>
                    <a:gd name="connsiteY317" fmla="*/ 639860 h 1260351"/>
                    <a:gd name="connsiteX318" fmla="*/ 431427 w 779965"/>
                    <a:gd name="connsiteY318" fmla="*/ 640030 h 1260351"/>
                    <a:gd name="connsiteX319" fmla="*/ 430394 w 779965"/>
                    <a:gd name="connsiteY319" fmla="*/ 640552 h 1260351"/>
                    <a:gd name="connsiteX320" fmla="*/ 428961 w 779965"/>
                    <a:gd name="connsiteY320" fmla="*/ 641706 h 1260351"/>
                    <a:gd name="connsiteX321" fmla="*/ 425914 w 779965"/>
                    <a:gd name="connsiteY321" fmla="*/ 644923 h 1260351"/>
                    <a:gd name="connsiteX322" fmla="*/ 423898 w 779965"/>
                    <a:gd name="connsiteY322" fmla="*/ 647874 h 1260351"/>
                    <a:gd name="connsiteX323" fmla="*/ 421141 w 779965"/>
                    <a:gd name="connsiteY323" fmla="*/ 652780 h 1260351"/>
                    <a:gd name="connsiteX324" fmla="*/ 419247 w 779965"/>
                    <a:gd name="connsiteY324" fmla="*/ 655075 h 1260351"/>
                    <a:gd name="connsiteX325" fmla="*/ 417474 w 779965"/>
                    <a:gd name="connsiteY325" fmla="*/ 656738 h 1260351"/>
                    <a:gd name="connsiteX326" fmla="*/ 414596 w 779965"/>
                    <a:gd name="connsiteY326" fmla="*/ 658171 h 1260351"/>
                    <a:gd name="connsiteX327" fmla="*/ 411731 w 779965"/>
                    <a:gd name="connsiteY327" fmla="*/ 659155 h 1260351"/>
                    <a:gd name="connsiteX328" fmla="*/ 410407 w 779965"/>
                    <a:gd name="connsiteY328" fmla="*/ 659301 h 1260351"/>
                    <a:gd name="connsiteX329" fmla="*/ 409484 w 779965"/>
                    <a:gd name="connsiteY329" fmla="*/ 659022 h 1260351"/>
                    <a:gd name="connsiteX330" fmla="*/ 408853 w 779965"/>
                    <a:gd name="connsiteY330" fmla="*/ 658354 h 1260351"/>
                    <a:gd name="connsiteX331" fmla="*/ 408391 w 779965"/>
                    <a:gd name="connsiteY331" fmla="*/ 657285 h 1260351"/>
                    <a:gd name="connsiteX332" fmla="*/ 408391 w 779965"/>
                    <a:gd name="connsiteY332" fmla="*/ 656253 h 1260351"/>
                    <a:gd name="connsiteX333" fmla="*/ 408695 w 779965"/>
                    <a:gd name="connsiteY333" fmla="*/ 653910 h 1260351"/>
                    <a:gd name="connsiteX334" fmla="*/ 408695 w 779965"/>
                    <a:gd name="connsiteY334" fmla="*/ 653132 h 1260351"/>
                    <a:gd name="connsiteX335" fmla="*/ 408331 w 779965"/>
                    <a:gd name="connsiteY335" fmla="*/ 652416 h 1260351"/>
                    <a:gd name="connsiteX336" fmla="*/ 407663 w 779965"/>
                    <a:gd name="connsiteY336" fmla="*/ 651748 h 1260351"/>
                    <a:gd name="connsiteX337" fmla="*/ 406497 w 779965"/>
                    <a:gd name="connsiteY337" fmla="*/ 651201 h 1260351"/>
                    <a:gd name="connsiteX338" fmla="*/ 400875 w 779965"/>
                    <a:gd name="connsiteY338" fmla="*/ 649793 h 1260351"/>
                    <a:gd name="connsiteX339" fmla="*/ 399891 w 779965"/>
                    <a:gd name="connsiteY339" fmla="*/ 649793 h 1260351"/>
                    <a:gd name="connsiteX340" fmla="*/ 398628 w 779965"/>
                    <a:gd name="connsiteY340" fmla="*/ 650169 h 1260351"/>
                    <a:gd name="connsiteX341" fmla="*/ 397888 w 779965"/>
                    <a:gd name="connsiteY341" fmla="*/ 650886 h 1260351"/>
                    <a:gd name="connsiteX342" fmla="*/ 397317 w 779965"/>
                    <a:gd name="connsiteY342" fmla="*/ 651748 h 1260351"/>
                    <a:gd name="connsiteX343" fmla="*/ 396795 w 779965"/>
                    <a:gd name="connsiteY343" fmla="*/ 652841 h 1260351"/>
                    <a:gd name="connsiteX344" fmla="*/ 396576 w 779965"/>
                    <a:gd name="connsiteY344" fmla="*/ 654018 h 1260351"/>
                    <a:gd name="connsiteX345" fmla="*/ 396977 w 779965"/>
                    <a:gd name="connsiteY345" fmla="*/ 676131 h 1260351"/>
                    <a:gd name="connsiteX346" fmla="*/ 397426 w 779965"/>
                    <a:gd name="connsiteY346" fmla="*/ 678195 h 1260351"/>
                    <a:gd name="connsiteX347" fmla="*/ 398118 w 779965"/>
                    <a:gd name="connsiteY347" fmla="*/ 680296 h 1260351"/>
                    <a:gd name="connsiteX348" fmla="*/ 400013 w 779965"/>
                    <a:gd name="connsiteY348" fmla="*/ 684364 h 1260351"/>
                    <a:gd name="connsiteX349" fmla="*/ 400693 w 779965"/>
                    <a:gd name="connsiteY349" fmla="*/ 686525 h 1260351"/>
                    <a:gd name="connsiteX350" fmla="*/ 401276 w 779965"/>
                    <a:gd name="connsiteY350" fmla="*/ 688966 h 1260351"/>
                    <a:gd name="connsiteX351" fmla="*/ 401385 w 779965"/>
                    <a:gd name="connsiteY351" fmla="*/ 691516 h 1260351"/>
                    <a:gd name="connsiteX352" fmla="*/ 401154 w 779965"/>
                    <a:gd name="connsiteY352" fmla="*/ 693896 h 1260351"/>
                    <a:gd name="connsiteX353" fmla="*/ 400474 w 779965"/>
                    <a:gd name="connsiteY353" fmla="*/ 697345 h 1260351"/>
                    <a:gd name="connsiteX354" fmla="*/ 399442 w 779965"/>
                    <a:gd name="connsiteY354" fmla="*/ 700247 h 1260351"/>
                    <a:gd name="connsiteX355" fmla="*/ 396224 w 779965"/>
                    <a:gd name="connsiteY355" fmla="*/ 713592 h 1260351"/>
                    <a:gd name="connsiteX356" fmla="*/ 396224 w 779965"/>
                    <a:gd name="connsiteY356" fmla="*/ 716324 h 1260351"/>
                    <a:gd name="connsiteX357" fmla="*/ 396856 w 779965"/>
                    <a:gd name="connsiteY357" fmla="*/ 718886 h 1260351"/>
                    <a:gd name="connsiteX358" fmla="*/ 399782 w 779965"/>
                    <a:gd name="connsiteY358" fmla="*/ 724654 h 1260351"/>
                    <a:gd name="connsiteX359" fmla="*/ 399891 w 779965"/>
                    <a:gd name="connsiteY359" fmla="*/ 724751 h 1260351"/>
                    <a:gd name="connsiteX360" fmla="*/ 400183 w 779965"/>
                    <a:gd name="connsiteY360" fmla="*/ 724776 h 1260351"/>
                    <a:gd name="connsiteX361" fmla="*/ 400644 w 779965"/>
                    <a:gd name="connsiteY361" fmla="*/ 724630 h 1260351"/>
                    <a:gd name="connsiteX362" fmla="*/ 401154 w 779965"/>
                    <a:gd name="connsiteY362" fmla="*/ 724168 h 1260351"/>
                    <a:gd name="connsiteX363" fmla="*/ 401628 w 779965"/>
                    <a:gd name="connsiteY363" fmla="*/ 723658 h 1260351"/>
                    <a:gd name="connsiteX364" fmla="*/ 402308 w 779965"/>
                    <a:gd name="connsiteY364" fmla="*/ 723282 h 1260351"/>
                    <a:gd name="connsiteX365" fmla="*/ 403000 w 779965"/>
                    <a:gd name="connsiteY365" fmla="*/ 723367 h 1260351"/>
                    <a:gd name="connsiteX366" fmla="*/ 403862 w 779965"/>
                    <a:gd name="connsiteY366" fmla="*/ 724436 h 1260351"/>
                    <a:gd name="connsiteX367" fmla="*/ 403923 w 779965"/>
                    <a:gd name="connsiteY367" fmla="*/ 724751 h 1260351"/>
                    <a:gd name="connsiteX368" fmla="*/ 404153 w 779965"/>
                    <a:gd name="connsiteY368" fmla="*/ 727763 h 1260351"/>
                    <a:gd name="connsiteX369" fmla="*/ 405016 w 779965"/>
                    <a:gd name="connsiteY369" fmla="*/ 731236 h 1260351"/>
                    <a:gd name="connsiteX370" fmla="*/ 405805 w 779965"/>
                    <a:gd name="connsiteY370" fmla="*/ 732814 h 1260351"/>
                    <a:gd name="connsiteX371" fmla="*/ 406788 w 779965"/>
                    <a:gd name="connsiteY371" fmla="*/ 733761 h 1260351"/>
                    <a:gd name="connsiteX372" fmla="*/ 407821 w 779965"/>
                    <a:gd name="connsiteY372" fmla="*/ 733761 h 1260351"/>
                    <a:gd name="connsiteX373" fmla="*/ 408792 w 779965"/>
                    <a:gd name="connsiteY373" fmla="*/ 733118 h 1260351"/>
                    <a:gd name="connsiteX374" fmla="*/ 409666 w 779965"/>
                    <a:gd name="connsiteY374" fmla="*/ 732401 h 1260351"/>
                    <a:gd name="connsiteX375" fmla="*/ 410759 w 779965"/>
                    <a:gd name="connsiteY375" fmla="*/ 731940 h 1260351"/>
                    <a:gd name="connsiteX376" fmla="*/ 411269 w 779965"/>
                    <a:gd name="connsiteY376" fmla="*/ 734077 h 1260351"/>
                    <a:gd name="connsiteX377" fmla="*/ 411561 w 779965"/>
                    <a:gd name="connsiteY377" fmla="*/ 738691 h 1260351"/>
                    <a:gd name="connsiteX378" fmla="*/ 409606 w 779965"/>
                    <a:gd name="connsiteY378" fmla="*/ 754829 h 1260351"/>
                    <a:gd name="connsiteX379" fmla="*/ 409606 w 779965"/>
                    <a:gd name="connsiteY379" fmla="*/ 758472 h 1260351"/>
                    <a:gd name="connsiteX380" fmla="*/ 410128 w 779965"/>
                    <a:gd name="connsiteY380" fmla="*/ 759735 h 1260351"/>
                    <a:gd name="connsiteX381" fmla="*/ 410978 w 779965"/>
                    <a:gd name="connsiteY381" fmla="*/ 760913 h 1260351"/>
                    <a:gd name="connsiteX382" fmla="*/ 411779 w 779965"/>
                    <a:gd name="connsiteY382" fmla="*/ 762504 h 1260351"/>
                    <a:gd name="connsiteX383" fmla="*/ 412532 w 779965"/>
                    <a:gd name="connsiteY383" fmla="*/ 764871 h 1260351"/>
                    <a:gd name="connsiteX384" fmla="*/ 412702 w 779965"/>
                    <a:gd name="connsiteY384" fmla="*/ 775157 h 1260351"/>
                    <a:gd name="connsiteX385" fmla="*/ 414135 w 779965"/>
                    <a:gd name="connsiteY385" fmla="*/ 783487 h 1260351"/>
                    <a:gd name="connsiteX386" fmla="*/ 414135 w 779965"/>
                    <a:gd name="connsiteY386" fmla="*/ 788368 h 1260351"/>
                    <a:gd name="connsiteX387" fmla="*/ 413746 w 779965"/>
                    <a:gd name="connsiteY387" fmla="*/ 791234 h 1260351"/>
                    <a:gd name="connsiteX388" fmla="*/ 409946 w 779965"/>
                    <a:gd name="connsiteY388" fmla="*/ 804081 h 1260351"/>
                    <a:gd name="connsiteX389" fmla="*/ 409763 w 779965"/>
                    <a:gd name="connsiteY389" fmla="*/ 807263 h 1260351"/>
                    <a:gd name="connsiteX390" fmla="*/ 410346 w 779965"/>
                    <a:gd name="connsiteY390" fmla="*/ 809217 h 1260351"/>
                    <a:gd name="connsiteX391" fmla="*/ 419539 w 779965"/>
                    <a:gd name="connsiteY391" fmla="*/ 813346 h 1260351"/>
                    <a:gd name="connsiteX392" fmla="*/ 420692 w 779965"/>
                    <a:gd name="connsiteY392" fmla="*/ 814208 h 1260351"/>
                    <a:gd name="connsiteX393" fmla="*/ 423667 w 779965"/>
                    <a:gd name="connsiteY393" fmla="*/ 817013 h 1260351"/>
                    <a:gd name="connsiteX394" fmla="*/ 424468 w 779965"/>
                    <a:gd name="connsiteY394" fmla="*/ 817475 h 1260351"/>
                    <a:gd name="connsiteX395" fmla="*/ 425391 w 779965"/>
                    <a:gd name="connsiteY395" fmla="*/ 817790 h 1260351"/>
                    <a:gd name="connsiteX396" fmla="*/ 428039 w 779965"/>
                    <a:gd name="connsiteY396" fmla="*/ 818021 h 1260351"/>
                    <a:gd name="connsiteX397" fmla="*/ 435616 w 779965"/>
                    <a:gd name="connsiteY397" fmla="*/ 817499 h 1260351"/>
                    <a:gd name="connsiteX398" fmla="*/ 437061 w 779965"/>
                    <a:gd name="connsiteY398" fmla="*/ 817596 h 1260351"/>
                    <a:gd name="connsiteX399" fmla="*/ 438554 w 779965"/>
                    <a:gd name="connsiteY399" fmla="*/ 817924 h 1260351"/>
                    <a:gd name="connsiteX400" fmla="*/ 439805 w 779965"/>
                    <a:gd name="connsiteY400" fmla="*/ 818543 h 1260351"/>
                    <a:gd name="connsiteX401" fmla="*/ 440898 w 779965"/>
                    <a:gd name="connsiteY401" fmla="*/ 819417 h 1260351"/>
                    <a:gd name="connsiteX402" fmla="*/ 443084 w 779965"/>
                    <a:gd name="connsiteY402" fmla="*/ 822235 h 1260351"/>
                    <a:gd name="connsiteX403" fmla="*/ 443885 w 779965"/>
                    <a:gd name="connsiteY403" fmla="*/ 823061 h 1260351"/>
                    <a:gd name="connsiteX404" fmla="*/ 444687 w 779965"/>
                    <a:gd name="connsiteY404" fmla="*/ 823668 h 1260351"/>
                    <a:gd name="connsiteX405" fmla="*/ 445670 w 779965"/>
                    <a:gd name="connsiteY405" fmla="*/ 824153 h 1260351"/>
                    <a:gd name="connsiteX406" fmla="*/ 447042 w 779965"/>
                    <a:gd name="connsiteY406" fmla="*/ 824578 h 1260351"/>
                    <a:gd name="connsiteX407" fmla="*/ 448366 w 779965"/>
                    <a:gd name="connsiteY407" fmla="*/ 824408 h 1260351"/>
                    <a:gd name="connsiteX408" fmla="*/ 449908 w 779965"/>
                    <a:gd name="connsiteY408" fmla="*/ 823825 h 1260351"/>
                    <a:gd name="connsiteX409" fmla="*/ 451924 w 779965"/>
                    <a:gd name="connsiteY409" fmla="*/ 822453 h 1260351"/>
                    <a:gd name="connsiteX410" fmla="*/ 452215 w 779965"/>
                    <a:gd name="connsiteY410" fmla="*/ 822198 h 1260351"/>
                    <a:gd name="connsiteX411" fmla="*/ 453065 w 779965"/>
                    <a:gd name="connsiteY411" fmla="*/ 821712 h 1260351"/>
                    <a:gd name="connsiteX412" fmla="*/ 453867 w 779965"/>
                    <a:gd name="connsiteY412" fmla="*/ 821457 h 1260351"/>
                    <a:gd name="connsiteX413" fmla="*/ 454972 w 779965"/>
                    <a:gd name="connsiteY413" fmla="*/ 821288 h 1260351"/>
                    <a:gd name="connsiteX414" fmla="*/ 457206 w 779965"/>
                    <a:gd name="connsiteY414" fmla="*/ 821312 h 1260351"/>
                    <a:gd name="connsiteX415" fmla="*/ 461504 w 779965"/>
                    <a:gd name="connsiteY415" fmla="*/ 821798 h 1260351"/>
                    <a:gd name="connsiteX416" fmla="*/ 462318 w 779965"/>
                    <a:gd name="connsiteY416" fmla="*/ 822016 h 1260351"/>
                    <a:gd name="connsiteX417" fmla="*/ 462780 w 779965"/>
                    <a:gd name="connsiteY417" fmla="*/ 822186 h 1260351"/>
                    <a:gd name="connsiteX418" fmla="*/ 462998 w 779965"/>
                    <a:gd name="connsiteY418" fmla="*/ 822648 h 1260351"/>
                    <a:gd name="connsiteX419" fmla="*/ 463812 w 779965"/>
                    <a:gd name="connsiteY419" fmla="*/ 826181 h 1260351"/>
                    <a:gd name="connsiteX420" fmla="*/ 463872 w 779965"/>
                    <a:gd name="connsiteY420" fmla="*/ 828367 h 1260351"/>
                    <a:gd name="connsiteX421" fmla="*/ 463520 w 779965"/>
                    <a:gd name="connsiteY421" fmla="*/ 831063 h 1260351"/>
                    <a:gd name="connsiteX422" fmla="*/ 460995 w 779965"/>
                    <a:gd name="connsiteY422" fmla="*/ 840631 h 1260351"/>
                    <a:gd name="connsiteX423" fmla="*/ 460824 w 779965"/>
                    <a:gd name="connsiteY423" fmla="*/ 842696 h 1260351"/>
                    <a:gd name="connsiteX424" fmla="*/ 460995 w 779965"/>
                    <a:gd name="connsiteY424" fmla="*/ 844214 h 1260351"/>
                    <a:gd name="connsiteX425" fmla="*/ 461504 w 779965"/>
                    <a:gd name="connsiteY425" fmla="*/ 845161 h 1260351"/>
                    <a:gd name="connsiteX426" fmla="*/ 462027 w 779965"/>
                    <a:gd name="connsiteY426" fmla="*/ 845962 h 1260351"/>
                    <a:gd name="connsiteX427" fmla="*/ 465415 w 779965"/>
                    <a:gd name="connsiteY427" fmla="*/ 849034 h 1260351"/>
                    <a:gd name="connsiteX428" fmla="*/ 466228 w 779965"/>
                    <a:gd name="connsiteY428" fmla="*/ 850467 h 1260351"/>
                    <a:gd name="connsiteX429" fmla="*/ 466107 w 779965"/>
                    <a:gd name="connsiteY429" fmla="*/ 851633 h 1260351"/>
                    <a:gd name="connsiteX430" fmla="*/ 465184 w 779965"/>
                    <a:gd name="connsiteY430" fmla="*/ 852884 h 1260351"/>
                    <a:gd name="connsiteX431" fmla="*/ 462148 w 779965"/>
                    <a:gd name="connsiteY431" fmla="*/ 855688 h 1260351"/>
                    <a:gd name="connsiteX432" fmla="*/ 460412 w 779965"/>
                    <a:gd name="connsiteY432" fmla="*/ 856879 h 1260351"/>
                    <a:gd name="connsiteX433" fmla="*/ 456344 w 779965"/>
                    <a:gd name="connsiteY433" fmla="*/ 858226 h 1260351"/>
                    <a:gd name="connsiteX434" fmla="*/ 454389 w 779965"/>
                    <a:gd name="connsiteY434" fmla="*/ 859101 h 1260351"/>
                    <a:gd name="connsiteX435" fmla="*/ 452312 w 779965"/>
                    <a:gd name="connsiteY435" fmla="*/ 860291 h 1260351"/>
                    <a:gd name="connsiteX436" fmla="*/ 445148 w 779965"/>
                    <a:gd name="connsiteY436" fmla="*/ 866229 h 1260351"/>
                    <a:gd name="connsiteX437" fmla="*/ 443606 w 779965"/>
                    <a:gd name="connsiteY437" fmla="*/ 867309 h 1260351"/>
                    <a:gd name="connsiteX438" fmla="*/ 440315 w 779965"/>
                    <a:gd name="connsiteY438" fmla="*/ 867528 h 1260351"/>
                    <a:gd name="connsiteX439" fmla="*/ 440096 w 779965"/>
                    <a:gd name="connsiteY439" fmla="*/ 866945 h 1260351"/>
                    <a:gd name="connsiteX440" fmla="*/ 439927 w 779965"/>
                    <a:gd name="connsiteY440" fmla="*/ 866180 h 1260351"/>
                    <a:gd name="connsiteX441" fmla="*/ 440096 w 779965"/>
                    <a:gd name="connsiteY441" fmla="*/ 864808 h 1260351"/>
                    <a:gd name="connsiteX442" fmla="*/ 440145 w 779965"/>
                    <a:gd name="connsiteY442" fmla="*/ 863084 h 1260351"/>
                    <a:gd name="connsiteX443" fmla="*/ 439805 w 779965"/>
                    <a:gd name="connsiteY443" fmla="*/ 860315 h 1260351"/>
                    <a:gd name="connsiteX444" fmla="*/ 439866 w 779965"/>
                    <a:gd name="connsiteY444" fmla="*/ 858421 h 1260351"/>
                    <a:gd name="connsiteX445" fmla="*/ 440267 w 779965"/>
                    <a:gd name="connsiteY445" fmla="*/ 856441 h 1260351"/>
                    <a:gd name="connsiteX446" fmla="*/ 440789 w 779965"/>
                    <a:gd name="connsiteY446" fmla="*/ 854753 h 1260351"/>
                    <a:gd name="connsiteX447" fmla="*/ 441019 w 779965"/>
                    <a:gd name="connsiteY447" fmla="*/ 852884 h 1260351"/>
                    <a:gd name="connsiteX448" fmla="*/ 440048 w 779965"/>
                    <a:gd name="connsiteY448" fmla="*/ 852058 h 1260351"/>
                    <a:gd name="connsiteX449" fmla="*/ 438312 w 779965"/>
                    <a:gd name="connsiteY449" fmla="*/ 851694 h 1260351"/>
                    <a:gd name="connsiteX450" fmla="*/ 431074 w 779965"/>
                    <a:gd name="connsiteY450" fmla="*/ 851475 h 1260351"/>
                    <a:gd name="connsiteX451" fmla="*/ 428840 w 779965"/>
                    <a:gd name="connsiteY451" fmla="*/ 850686 h 1260351"/>
                    <a:gd name="connsiteX452" fmla="*/ 424068 w 779965"/>
                    <a:gd name="connsiteY452" fmla="*/ 848063 h 1260351"/>
                    <a:gd name="connsiteX453" fmla="*/ 421664 w 779965"/>
                    <a:gd name="connsiteY453" fmla="*/ 847176 h 1260351"/>
                    <a:gd name="connsiteX454" fmla="*/ 403923 w 779965"/>
                    <a:gd name="connsiteY454" fmla="*/ 844541 h 1260351"/>
                    <a:gd name="connsiteX455" fmla="*/ 401907 w 779965"/>
                    <a:gd name="connsiteY455" fmla="*/ 844651 h 1260351"/>
                    <a:gd name="connsiteX456" fmla="*/ 400134 w 779965"/>
                    <a:gd name="connsiteY456" fmla="*/ 844930 h 1260351"/>
                    <a:gd name="connsiteX457" fmla="*/ 398689 w 779965"/>
                    <a:gd name="connsiteY457" fmla="*/ 845598 h 1260351"/>
                    <a:gd name="connsiteX458" fmla="*/ 397487 w 779965"/>
                    <a:gd name="connsiteY458" fmla="*/ 846363 h 1260351"/>
                    <a:gd name="connsiteX459" fmla="*/ 396455 w 779965"/>
                    <a:gd name="connsiteY459" fmla="*/ 847346 h 1260351"/>
                    <a:gd name="connsiteX460" fmla="*/ 395823 w 779965"/>
                    <a:gd name="connsiteY460" fmla="*/ 848172 h 1260351"/>
                    <a:gd name="connsiteX461" fmla="*/ 394961 w 779965"/>
                    <a:gd name="connsiteY461" fmla="*/ 849484 h 1260351"/>
                    <a:gd name="connsiteX462" fmla="*/ 392314 w 779965"/>
                    <a:gd name="connsiteY462" fmla="*/ 854632 h 1260351"/>
                    <a:gd name="connsiteX463" fmla="*/ 391233 w 779965"/>
                    <a:gd name="connsiteY463" fmla="*/ 856199 h 1260351"/>
                    <a:gd name="connsiteX464" fmla="*/ 389618 w 779965"/>
                    <a:gd name="connsiteY464" fmla="*/ 856757 h 1260351"/>
                    <a:gd name="connsiteX465" fmla="*/ 388307 w 779965"/>
                    <a:gd name="connsiteY465" fmla="*/ 856150 h 1260351"/>
                    <a:gd name="connsiteX466" fmla="*/ 386874 w 779965"/>
                    <a:gd name="connsiteY466" fmla="*/ 854256 h 1260351"/>
                    <a:gd name="connsiteX467" fmla="*/ 375265 w 779965"/>
                    <a:gd name="connsiteY467" fmla="*/ 830346 h 1260351"/>
                    <a:gd name="connsiteX468" fmla="*/ 373262 w 779965"/>
                    <a:gd name="connsiteY468" fmla="*/ 827566 h 1260351"/>
                    <a:gd name="connsiteX469" fmla="*/ 371817 w 779965"/>
                    <a:gd name="connsiteY469" fmla="*/ 826436 h 1260351"/>
                    <a:gd name="connsiteX470" fmla="*/ 370615 w 779965"/>
                    <a:gd name="connsiteY470" fmla="*/ 826133 h 1260351"/>
                    <a:gd name="connsiteX471" fmla="*/ 366365 w 779965"/>
                    <a:gd name="connsiteY471" fmla="*/ 826825 h 1260351"/>
                    <a:gd name="connsiteX472" fmla="*/ 364470 w 779965"/>
                    <a:gd name="connsiteY472" fmla="*/ 826764 h 1260351"/>
                    <a:gd name="connsiteX473" fmla="*/ 363317 w 779965"/>
                    <a:gd name="connsiteY473" fmla="*/ 826303 h 1260351"/>
                    <a:gd name="connsiteX474" fmla="*/ 362515 w 779965"/>
                    <a:gd name="connsiteY474" fmla="*/ 825647 h 1260351"/>
                    <a:gd name="connsiteX475" fmla="*/ 362175 w 779965"/>
                    <a:gd name="connsiteY475" fmla="*/ 824955 h 1260351"/>
                    <a:gd name="connsiteX476" fmla="*/ 361763 w 779965"/>
                    <a:gd name="connsiteY476" fmla="*/ 823947 h 1260351"/>
                    <a:gd name="connsiteX477" fmla="*/ 361544 w 779965"/>
                    <a:gd name="connsiteY477" fmla="*/ 823109 h 1260351"/>
                    <a:gd name="connsiteX478" fmla="*/ 361192 w 779965"/>
                    <a:gd name="connsiteY478" fmla="*/ 822283 h 1260351"/>
                    <a:gd name="connsiteX479" fmla="*/ 360330 w 779965"/>
                    <a:gd name="connsiteY479" fmla="*/ 821190 h 1260351"/>
                    <a:gd name="connsiteX480" fmla="*/ 358897 w 779965"/>
                    <a:gd name="connsiteY480" fmla="*/ 819818 h 1260351"/>
                    <a:gd name="connsiteX481" fmla="*/ 356201 w 779965"/>
                    <a:gd name="connsiteY481" fmla="*/ 817839 h 1260351"/>
                    <a:gd name="connsiteX482" fmla="*/ 350457 w 779965"/>
                    <a:gd name="connsiteY482" fmla="*/ 812411 h 1260351"/>
                    <a:gd name="connsiteX483" fmla="*/ 349425 w 779965"/>
                    <a:gd name="connsiteY483" fmla="*/ 811549 h 1260351"/>
                    <a:gd name="connsiteX484" fmla="*/ 348393 w 779965"/>
                    <a:gd name="connsiteY484" fmla="*/ 811075 h 1260351"/>
                    <a:gd name="connsiteX485" fmla="*/ 347640 w 779965"/>
                    <a:gd name="connsiteY485" fmla="*/ 810918 h 1260351"/>
                    <a:gd name="connsiteX486" fmla="*/ 346499 w 779965"/>
                    <a:gd name="connsiteY486" fmla="*/ 810796 h 1260351"/>
                    <a:gd name="connsiteX487" fmla="*/ 345697 w 779965"/>
                    <a:gd name="connsiteY487" fmla="*/ 811027 h 1260351"/>
                    <a:gd name="connsiteX488" fmla="*/ 344775 w 779965"/>
                    <a:gd name="connsiteY488" fmla="*/ 811719 h 1260351"/>
                    <a:gd name="connsiteX489" fmla="*/ 343924 w 779965"/>
                    <a:gd name="connsiteY489" fmla="*/ 812909 h 1260351"/>
                    <a:gd name="connsiteX490" fmla="*/ 343281 w 779965"/>
                    <a:gd name="connsiteY490" fmla="*/ 814026 h 1260351"/>
                    <a:gd name="connsiteX491" fmla="*/ 341727 w 779965"/>
                    <a:gd name="connsiteY491" fmla="*/ 817681 h 1260351"/>
                    <a:gd name="connsiteX492" fmla="*/ 341035 w 779965"/>
                    <a:gd name="connsiteY492" fmla="*/ 818737 h 1260351"/>
                    <a:gd name="connsiteX493" fmla="*/ 339942 w 779965"/>
                    <a:gd name="connsiteY493" fmla="*/ 819490 h 1260351"/>
                    <a:gd name="connsiteX494" fmla="*/ 338569 w 779965"/>
                    <a:gd name="connsiteY494" fmla="*/ 819928 h 1260351"/>
                    <a:gd name="connsiteX495" fmla="*/ 336505 w 779965"/>
                    <a:gd name="connsiteY495" fmla="*/ 819952 h 1260351"/>
                    <a:gd name="connsiteX496" fmla="*/ 335461 w 779965"/>
                    <a:gd name="connsiteY496" fmla="*/ 818944 h 1260351"/>
                    <a:gd name="connsiteX497" fmla="*/ 335242 w 779965"/>
                    <a:gd name="connsiteY497" fmla="*/ 817705 h 1260351"/>
                    <a:gd name="connsiteX498" fmla="*/ 335364 w 779965"/>
                    <a:gd name="connsiteY498" fmla="*/ 816467 h 1260351"/>
                    <a:gd name="connsiteX499" fmla="*/ 335072 w 779965"/>
                    <a:gd name="connsiteY499" fmla="*/ 815253 h 1260351"/>
                    <a:gd name="connsiteX500" fmla="*/ 334149 w 779965"/>
                    <a:gd name="connsiteY500" fmla="*/ 813528 h 1260351"/>
                    <a:gd name="connsiteX501" fmla="*/ 325018 w 779965"/>
                    <a:gd name="connsiteY501" fmla="*/ 803158 h 1260351"/>
                    <a:gd name="connsiteX502" fmla="*/ 323415 w 779965"/>
                    <a:gd name="connsiteY502" fmla="*/ 801944 h 1260351"/>
                    <a:gd name="connsiteX503" fmla="*/ 322091 w 779965"/>
                    <a:gd name="connsiteY503" fmla="*/ 801604 h 1260351"/>
                    <a:gd name="connsiteX504" fmla="*/ 321120 w 779965"/>
                    <a:gd name="connsiteY504" fmla="*/ 801786 h 1260351"/>
                    <a:gd name="connsiteX505" fmla="*/ 319274 w 779965"/>
                    <a:gd name="connsiteY505" fmla="*/ 803122 h 1260351"/>
                    <a:gd name="connsiteX506" fmla="*/ 313191 w 779965"/>
                    <a:gd name="connsiteY506" fmla="*/ 810128 h 1260351"/>
                    <a:gd name="connsiteX507" fmla="*/ 309693 w 779965"/>
                    <a:gd name="connsiteY507" fmla="*/ 812229 h 1260351"/>
                    <a:gd name="connsiteX508" fmla="*/ 307617 w 779965"/>
                    <a:gd name="connsiteY508" fmla="*/ 813103 h 1260351"/>
                    <a:gd name="connsiteX509" fmla="*/ 306184 w 779965"/>
                    <a:gd name="connsiteY509" fmla="*/ 814985 h 1260351"/>
                    <a:gd name="connsiteX510" fmla="*/ 298546 w 779965"/>
                    <a:gd name="connsiteY510" fmla="*/ 828877 h 1260351"/>
                    <a:gd name="connsiteX511" fmla="*/ 297805 w 779965"/>
                    <a:gd name="connsiteY511" fmla="*/ 830796 h 1260351"/>
                    <a:gd name="connsiteX512" fmla="*/ 297344 w 779965"/>
                    <a:gd name="connsiteY512" fmla="*/ 832836 h 1260351"/>
                    <a:gd name="connsiteX513" fmla="*/ 297453 w 779965"/>
                    <a:gd name="connsiteY513" fmla="*/ 834863 h 1260351"/>
                    <a:gd name="connsiteX514" fmla="*/ 298145 w 779965"/>
                    <a:gd name="connsiteY514" fmla="*/ 836952 h 1260351"/>
                    <a:gd name="connsiteX515" fmla="*/ 299457 w 779965"/>
                    <a:gd name="connsiteY515" fmla="*/ 839138 h 1260351"/>
                    <a:gd name="connsiteX516" fmla="*/ 301133 w 779965"/>
                    <a:gd name="connsiteY516" fmla="*/ 840971 h 1260351"/>
                    <a:gd name="connsiteX517" fmla="*/ 303379 w 779965"/>
                    <a:gd name="connsiteY517" fmla="*/ 842744 h 1260351"/>
                    <a:gd name="connsiteX518" fmla="*/ 319165 w 779965"/>
                    <a:gd name="connsiteY518" fmla="*/ 851608 h 1260351"/>
                    <a:gd name="connsiteX519" fmla="*/ 320659 w 779965"/>
                    <a:gd name="connsiteY519" fmla="*/ 853054 h 1260351"/>
                    <a:gd name="connsiteX520" fmla="*/ 321800 w 779965"/>
                    <a:gd name="connsiteY520" fmla="*/ 854936 h 1260351"/>
                    <a:gd name="connsiteX521" fmla="*/ 323876 w 779965"/>
                    <a:gd name="connsiteY521" fmla="*/ 860412 h 1260351"/>
                    <a:gd name="connsiteX522" fmla="*/ 324909 w 779965"/>
                    <a:gd name="connsiteY522" fmla="*/ 861906 h 1260351"/>
                    <a:gd name="connsiteX523" fmla="*/ 326572 w 779965"/>
                    <a:gd name="connsiteY523" fmla="*/ 862913 h 1260351"/>
                    <a:gd name="connsiteX524" fmla="*/ 328284 w 779965"/>
                    <a:gd name="connsiteY524" fmla="*/ 863484 h 1260351"/>
                    <a:gd name="connsiteX525" fmla="*/ 334611 w 779965"/>
                    <a:gd name="connsiteY525" fmla="*/ 864152 h 1260351"/>
                    <a:gd name="connsiteX526" fmla="*/ 336214 w 779965"/>
                    <a:gd name="connsiteY526" fmla="*/ 864699 h 1260351"/>
                    <a:gd name="connsiteX527" fmla="*/ 337889 w 779965"/>
                    <a:gd name="connsiteY527" fmla="*/ 865791 h 1260351"/>
                    <a:gd name="connsiteX528" fmla="*/ 339201 w 779965"/>
                    <a:gd name="connsiteY528" fmla="*/ 867589 h 1260351"/>
                    <a:gd name="connsiteX529" fmla="*/ 339492 w 779965"/>
                    <a:gd name="connsiteY529" fmla="*/ 869629 h 1260351"/>
                    <a:gd name="connsiteX530" fmla="*/ 337707 w 779965"/>
                    <a:gd name="connsiteY530" fmla="*/ 877497 h 1260351"/>
                    <a:gd name="connsiteX531" fmla="*/ 337537 w 779965"/>
                    <a:gd name="connsiteY531" fmla="*/ 881541 h 1260351"/>
                    <a:gd name="connsiteX532" fmla="*/ 338290 w 779965"/>
                    <a:gd name="connsiteY532" fmla="*/ 885245 h 1260351"/>
                    <a:gd name="connsiteX533" fmla="*/ 339662 w 779965"/>
                    <a:gd name="connsiteY533" fmla="*/ 890053 h 1260351"/>
                    <a:gd name="connsiteX534" fmla="*/ 340002 w 779965"/>
                    <a:gd name="connsiteY534" fmla="*/ 892895 h 1260351"/>
                    <a:gd name="connsiteX535" fmla="*/ 339723 w 779965"/>
                    <a:gd name="connsiteY535" fmla="*/ 895420 h 1260351"/>
                    <a:gd name="connsiteX536" fmla="*/ 338448 w 779965"/>
                    <a:gd name="connsiteY536" fmla="*/ 901188 h 1260351"/>
                    <a:gd name="connsiteX537" fmla="*/ 337889 w 779965"/>
                    <a:gd name="connsiteY537" fmla="*/ 916173 h 1260351"/>
                    <a:gd name="connsiteX538" fmla="*/ 338399 w 779965"/>
                    <a:gd name="connsiteY538" fmla="*/ 918006 h 1260351"/>
                    <a:gd name="connsiteX539" fmla="*/ 339553 w 779965"/>
                    <a:gd name="connsiteY539" fmla="*/ 919160 h 1260351"/>
                    <a:gd name="connsiteX540" fmla="*/ 344957 w 779965"/>
                    <a:gd name="connsiteY540" fmla="*/ 920192 h 1260351"/>
                    <a:gd name="connsiteX541" fmla="*/ 346450 w 779965"/>
                    <a:gd name="connsiteY541" fmla="*/ 920799 h 1260351"/>
                    <a:gd name="connsiteX542" fmla="*/ 347580 w 779965"/>
                    <a:gd name="connsiteY542" fmla="*/ 921831 h 1260351"/>
                    <a:gd name="connsiteX543" fmla="*/ 348563 w 779965"/>
                    <a:gd name="connsiteY543" fmla="*/ 923446 h 1260351"/>
                    <a:gd name="connsiteX544" fmla="*/ 351599 w 779965"/>
                    <a:gd name="connsiteY544" fmla="*/ 930198 h 1260351"/>
                    <a:gd name="connsiteX545" fmla="*/ 352352 w 779965"/>
                    <a:gd name="connsiteY545" fmla="*/ 931278 h 1260351"/>
                    <a:gd name="connsiteX546" fmla="*/ 353323 w 779965"/>
                    <a:gd name="connsiteY546" fmla="*/ 931970 h 1260351"/>
                    <a:gd name="connsiteX547" fmla="*/ 354477 w 779965"/>
                    <a:gd name="connsiteY547" fmla="*/ 932408 h 1260351"/>
                    <a:gd name="connsiteX548" fmla="*/ 359188 w 779965"/>
                    <a:gd name="connsiteY548" fmla="*/ 933561 h 1260351"/>
                    <a:gd name="connsiteX549" fmla="*/ 360730 w 779965"/>
                    <a:gd name="connsiteY549" fmla="*/ 934314 h 1260351"/>
                    <a:gd name="connsiteX550" fmla="*/ 362224 w 779965"/>
                    <a:gd name="connsiteY550" fmla="*/ 935601 h 1260351"/>
                    <a:gd name="connsiteX551" fmla="*/ 363839 w 779965"/>
                    <a:gd name="connsiteY551" fmla="*/ 938127 h 1260351"/>
                    <a:gd name="connsiteX552" fmla="*/ 364300 w 779965"/>
                    <a:gd name="connsiteY552" fmla="*/ 940070 h 1260351"/>
                    <a:gd name="connsiteX553" fmla="*/ 364070 w 779965"/>
                    <a:gd name="connsiteY553" fmla="*/ 941745 h 1260351"/>
                    <a:gd name="connsiteX554" fmla="*/ 363037 w 779965"/>
                    <a:gd name="connsiteY554" fmla="*/ 942863 h 1260351"/>
                    <a:gd name="connsiteX555" fmla="*/ 359880 w 779965"/>
                    <a:gd name="connsiteY555" fmla="*/ 944842 h 1260351"/>
                    <a:gd name="connsiteX556" fmla="*/ 358617 w 779965"/>
                    <a:gd name="connsiteY556" fmla="*/ 945996 h 1260351"/>
                    <a:gd name="connsiteX557" fmla="*/ 357804 w 779965"/>
                    <a:gd name="connsiteY557" fmla="*/ 947756 h 1260351"/>
                    <a:gd name="connsiteX558" fmla="*/ 358035 w 779965"/>
                    <a:gd name="connsiteY558" fmla="*/ 948789 h 1260351"/>
                    <a:gd name="connsiteX559" fmla="*/ 359018 w 779965"/>
                    <a:gd name="connsiteY559" fmla="*/ 949881 h 1260351"/>
                    <a:gd name="connsiteX560" fmla="*/ 362175 w 779965"/>
                    <a:gd name="connsiteY560" fmla="*/ 951861 h 1260351"/>
                    <a:gd name="connsiteX561" fmla="*/ 364009 w 779965"/>
                    <a:gd name="connsiteY561" fmla="*/ 953621 h 1260351"/>
                    <a:gd name="connsiteX562" fmla="*/ 364640 w 779965"/>
                    <a:gd name="connsiteY562" fmla="*/ 955346 h 1260351"/>
                    <a:gd name="connsiteX563" fmla="*/ 364470 w 779965"/>
                    <a:gd name="connsiteY563" fmla="*/ 957264 h 1260351"/>
                    <a:gd name="connsiteX564" fmla="*/ 361143 w 779965"/>
                    <a:gd name="connsiteY564" fmla="*/ 964186 h 1260351"/>
                    <a:gd name="connsiteX565" fmla="*/ 360208 w 779965"/>
                    <a:gd name="connsiteY565" fmla="*/ 966760 h 1260351"/>
                    <a:gd name="connsiteX566" fmla="*/ 359698 w 779965"/>
                    <a:gd name="connsiteY566" fmla="*/ 969468 h 1260351"/>
                    <a:gd name="connsiteX567" fmla="*/ 359759 w 779965"/>
                    <a:gd name="connsiteY567" fmla="*/ 973147 h 1260351"/>
                    <a:gd name="connsiteX568" fmla="*/ 360269 w 779965"/>
                    <a:gd name="connsiteY568" fmla="*/ 975564 h 1260351"/>
                    <a:gd name="connsiteX569" fmla="*/ 361083 w 779965"/>
                    <a:gd name="connsiteY569" fmla="*/ 977749 h 1260351"/>
                    <a:gd name="connsiteX570" fmla="*/ 363560 w 779965"/>
                    <a:gd name="connsiteY570" fmla="*/ 982169 h 1260351"/>
                    <a:gd name="connsiteX571" fmla="*/ 364070 w 779965"/>
                    <a:gd name="connsiteY571" fmla="*/ 984647 h 1260351"/>
                    <a:gd name="connsiteX572" fmla="*/ 363839 w 779965"/>
                    <a:gd name="connsiteY572" fmla="*/ 986845 h 1260351"/>
                    <a:gd name="connsiteX573" fmla="*/ 362515 w 779965"/>
                    <a:gd name="connsiteY573" fmla="*/ 991131 h 1260351"/>
                    <a:gd name="connsiteX574" fmla="*/ 362345 w 779965"/>
                    <a:gd name="connsiteY574" fmla="*/ 993074 h 1260351"/>
                    <a:gd name="connsiteX575" fmla="*/ 363317 w 779965"/>
                    <a:gd name="connsiteY575" fmla="*/ 994422 h 1260351"/>
                    <a:gd name="connsiteX576" fmla="*/ 367627 w 779965"/>
                    <a:gd name="connsiteY576" fmla="*/ 997348 h 1260351"/>
                    <a:gd name="connsiteX577" fmla="*/ 369012 w 779965"/>
                    <a:gd name="connsiteY577" fmla="*/ 998963 h 1260351"/>
                    <a:gd name="connsiteX578" fmla="*/ 369522 w 779965"/>
                    <a:gd name="connsiteY578" fmla="*/ 1000663 h 1260351"/>
                    <a:gd name="connsiteX579" fmla="*/ 370032 w 779965"/>
                    <a:gd name="connsiteY579" fmla="*/ 1005654 h 1260351"/>
                    <a:gd name="connsiteX580" fmla="*/ 371137 w 779965"/>
                    <a:gd name="connsiteY580" fmla="*/ 1007937 h 1260351"/>
                    <a:gd name="connsiteX581" fmla="*/ 373942 w 779965"/>
                    <a:gd name="connsiteY581" fmla="*/ 1012235 h 1260351"/>
                    <a:gd name="connsiteX582" fmla="*/ 374634 w 779965"/>
                    <a:gd name="connsiteY582" fmla="*/ 1014020 h 1260351"/>
                    <a:gd name="connsiteX583" fmla="*/ 374755 w 779965"/>
                    <a:gd name="connsiteY583" fmla="*/ 1015963 h 1260351"/>
                    <a:gd name="connsiteX584" fmla="*/ 374695 w 779965"/>
                    <a:gd name="connsiteY584" fmla="*/ 1017687 h 1260351"/>
                    <a:gd name="connsiteX585" fmla="*/ 375144 w 779965"/>
                    <a:gd name="connsiteY585" fmla="*/ 1029806 h 1260351"/>
                    <a:gd name="connsiteX586" fmla="*/ 374512 w 779965"/>
                    <a:gd name="connsiteY586" fmla="*/ 1032125 h 1260351"/>
                    <a:gd name="connsiteX587" fmla="*/ 373711 w 779965"/>
                    <a:gd name="connsiteY587" fmla="*/ 1033413 h 1260351"/>
                    <a:gd name="connsiteX588" fmla="*/ 372630 w 779965"/>
                    <a:gd name="connsiteY588" fmla="*/ 1033728 h 1260351"/>
                    <a:gd name="connsiteX589" fmla="*/ 367846 w 779965"/>
                    <a:gd name="connsiteY589" fmla="*/ 1036193 h 1260351"/>
                    <a:gd name="connsiteX590" fmla="*/ 367057 w 779965"/>
                    <a:gd name="connsiteY590" fmla="*/ 1036825 h 1260351"/>
                    <a:gd name="connsiteX591" fmla="*/ 366425 w 779965"/>
                    <a:gd name="connsiteY591" fmla="*/ 1037565 h 1260351"/>
                    <a:gd name="connsiteX592" fmla="*/ 365964 w 779965"/>
                    <a:gd name="connsiteY592" fmla="*/ 1038355 h 1260351"/>
                    <a:gd name="connsiteX593" fmla="*/ 365381 w 779965"/>
                    <a:gd name="connsiteY593" fmla="*/ 1039108 h 1260351"/>
                    <a:gd name="connsiteX594" fmla="*/ 364130 w 779965"/>
                    <a:gd name="connsiteY594" fmla="*/ 1040504 h 1260351"/>
                    <a:gd name="connsiteX595" fmla="*/ 363620 w 779965"/>
                    <a:gd name="connsiteY595" fmla="*/ 1041463 h 1260351"/>
                    <a:gd name="connsiteX596" fmla="*/ 363317 w 779965"/>
                    <a:gd name="connsiteY596" fmla="*/ 1042738 h 1260351"/>
                    <a:gd name="connsiteX597" fmla="*/ 363147 w 779965"/>
                    <a:gd name="connsiteY597" fmla="*/ 1048652 h 1260351"/>
                    <a:gd name="connsiteX598" fmla="*/ 361423 w 779965"/>
                    <a:gd name="connsiteY598" fmla="*/ 1057444 h 1260351"/>
                    <a:gd name="connsiteX599" fmla="*/ 361022 w 779965"/>
                    <a:gd name="connsiteY599" fmla="*/ 1058330 h 1260351"/>
                    <a:gd name="connsiteX600" fmla="*/ 360572 w 779965"/>
                    <a:gd name="connsiteY600" fmla="*/ 1059131 h 1260351"/>
                    <a:gd name="connsiteX601" fmla="*/ 359297 w 779965"/>
                    <a:gd name="connsiteY601" fmla="*/ 1062373 h 1260351"/>
                    <a:gd name="connsiteX602" fmla="*/ 358447 w 779965"/>
                    <a:gd name="connsiteY602" fmla="*/ 1066029 h 1260351"/>
                    <a:gd name="connsiteX603" fmla="*/ 356310 w 779965"/>
                    <a:gd name="connsiteY603" fmla="*/ 1065664 h 1260351"/>
                    <a:gd name="connsiteX604" fmla="*/ 354598 w 779965"/>
                    <a:gd name="connsiteY604" fmla="*/ 1064499 h 1260351"/>
                    <a:gd name="connsiteX605" fmla="*/ 352352 w 779965"/>
                    <a:gd name="connsiteY605" fmla="*/ 1062094 h 1260351"/>
                    <a:gd name="connsiteX606" fmla="*/ 351599 w 779965"/>
                    <a:gd name="connsiteY606" fmla="*/ 1061608 h 1260351"/>
                    <a:gd name="connsiteX607" fmla="*/ 350919 w 779965"/>
                    <a:gd name="connsiteY607" fmla="*/ 1061499 h 1260351"/>
                    <a:gd name="connsiteX608" fmla="*/ 350287 w 779965"/>
                    <a:gd name="connsiteY608" fmla="*/ 1061827 h 1260351"/>
                    <a:gd name="connsiteX609" fmla="*/ 349595 w 779965"/>
                    <a:gd name="connsiteY609" fmla="*/ 1062811 h 1260351"/>
                    <a:gd name="connsiteX610" fmla="*/ 346839 w 779965"/>
                    <a:gd name="connsiteY610" fmla="*/ 1069332 h 1260351"/>
                    <a:gd name="connsiteX611" fmla="*/ 345515 w 779965"/>
                    <a:gd name="connsiteY611" fmla="*/ 1071359 h 1260351"/>
                    <a:gd name="connsiteX612" fmla="*/ 343512 w 779965"/>
                    <a:gd name="connsiteY612" fmla="*/ 1072804 h 1260351"/>
                    <a:gd name="connsiteX613" fmla="*/ 340755 w 779965"/>
                    <a:gd name="connsiteY613" fmla="*/ 1073557 h 1260351"/>
                    <a:gd name="connsiteX614" fmla="*/ 333457 w 779965"/>
                    <a:gd name="connsiteY614" fmla="*/ 1074067 h 1260351"/>
                    <a:gd name="connsiteX615" fmla="*/ 332146 w 779965"/>
                    <a:gd name="connsiteY615" fmla="*/ 1074407 h 1260351"/>
                    <a:gd name="connsiteX616" fmla="*/ 330470 w 779965"/>
                    <a:gd name="connsiteY616" fmla="*/ 1075160 h 1260351"/>
                    <a:gd name="connsiteX617" fmla="*/ 328527 w 779965"/>
                    <a:gd name="connsiteY617" fmla="*/ 1076423 h 1260351"/>
                    <a:gd name="connsiteX618" fmla="*/ 326633 w 779965"/>
                    <a:gd name="connsiteY618" fmla="*/ 1077977 h 1260351"/>
                    <a:gd name="connsiteX619" fmla="*/ 325139 w 779965"/>
                    <a:gd name="connsiteY619" fmla="*/ 1079616 h 1260351"/>
                    <a:gd name="connsiteX620" fmla="*/ 322614 w 779965"/>
                    <a:gd name="connsiteY620" fmla="*/ 1083357 h 1260351"/>
                    <a:gd name="connsiteX621" fmla="*/ 321339 w 779965"/>
                    <a:gd name="connsiteY621" fmla="*/ 1084729 h 1260351"/>
                    <a:gd name="connsiteX622" fmla="*/ 319906 w 779965"/>
                    <a:gd name="connsiteY622" fmla="*/ 1085566 h 1260351"/>
                    <a:gd name="connsiteX623" fmla="*/ 318473 w 779965"/>
                    <a:gd name="connsiteY623" fmla="*/ 1085894 h 1260351"/>
                    <a:gd name="connsiteX624" fmla="*/ 316809 w 779965"/>
                    <a:gd name="connsiteY624" fmla="*/ 1086052 h 1260351"/>
                    <a:gd name="connsiteX625" fmla="*/ 315486 w 779965"/>
                    <a:gd name="connsiteY625" fmla="*/ 1086587 h 1260351"/>
                    <a:gd name="connsiteX626" fmla="*/ 314284 w 779965"/>
                    <a:gd name="connsiteY626" fmla="*/ 1087995 h 1260351"/>
                    <a:gd name="connsiteX627" fmla="*/ 314113 w 779965"/>
                    <a:gd name="connsiteY627" fmla="*/ 1089367 h 1260351"/>
                    <a:gd name="connsiteX628" fmla="*/ 314344 w 779965"/>
                    <a:gd name="connsiteY628" fmla="*/ 1090375 h 1260351"/>
                    <a:gd name="connsiteX629" fmla="*/ 315255 w 779965"/>
                    <a:gd name="connsiteY629" fmla="*/ 1091529 h 1260351"/>
                    <a:gd name="connsiteX630" fmla="*/ 316639 w 779965"/>
                    <a:gd name="connsiteY630" fmla="*/ 1092561 h 1260351"/>
                    <a:gd name="connsiteX631" fmla="*/ 320027 w 779965"/>
                    <a:gd name="connsiteY631" fmla="*/ 1094419 h 1260351"/>
                    <a:gd name="connsiteX632" fmla="*/ 321521 w 779965"/>
                    <a:gd name="connsiteY632" fmla="*/ 1095766 h 1260351"/>
                    <a:gd name="connsiteX633" fmla="*/ 322723 w 779965"/>
                    <a:gd name="connsiteY633" fmla="*/ 1098572 h 1260351"/>
                    <a:gd name="connsiteX634" fmla="*/ 322492 w 779965"/>
                    <a:gd name="connsiteY634" fmla="*/ 1100903 h 1260351"/>
                    <a:gd name="connsiteX635" fmla="*/ 321339 w 779965"/>
                    <a:gd name="connsiteY635" fmla="*/ 1102664 h 1260351"/>
                    <a:gd name="connsiteX636" fmla="*/ 319784 w 779965"/>
                    <a:gd name="connsiteY636" fmla="*/ 1103477 h 1260351"/>
                    <a:gd name="connsiteX637" fmla="*/ 318181 w 779965"/>
                    <a:gd name="connsiteY637" fmla="*/ 1104145 h 1260351"/>
                    <a:gd name="connsiteX638" fmla="*/ 316166 w 779965"/>
                    <a:gd name="connsiteY638" fmla="*/ 1105299 h 1260351"/>
                    <a:gd name="connsiteX639" fmla="*/ 311697 w 779965"/>
                    <a:gd name="connsiteY639" fmla="*/ 1108808 h 1260351"/>
                    <a:gd name="connsiteX640" fmla="*/ 307908 w 779965"/>
                    <a:gd name="connsiteY640" fmla="*/ 1112427 h 1260351"/>
                    <a:gd name="connsiteX641" fmla="*/ 303088 w 779965"/>
                    <a:gd name="connsiteY641" fmla="*/ 1118328 h 1260351"/>
                    <a:gd name="connsiteX642" fmla="*/ 295790 w 779965"/>
                    <a:gd name="connsiteY642" fmla="*/ 1123841 h 1260351"/>
                    <a:gd name="connsiteX643" fmla="*/ 293495 w 779965"/>
                    <a:gd name="connsiteY643" fmla="*/ 1125942 h 1260351"/>
                    <a:gd name="connsiteX644" fmla="*/ 289706 w 779965"/>
                    <a:gd name="connsiteY644" fmla="*/ 1130847 h 1260351"/>
                    <a:gd name="connsiteX645" fmla="*/ 283744 w 779965"/>
                    <a:gd name="connsiteY645" fmla="*/ 1141558 h 1260351"/>
                    <a:gd name="connsiteX646" fmla="*/ 282348 w 779965"/>
                    <a:gd name="connsiteY646" fmla="*/ 1143197 h 1260351"/>
                    <a:gd name="connsiteX647" fmla="*/ 280915 w 779965"/>
                    <a:gd name="connsiteY647" fmla="*/ 1144266 h 1260351"/>
                    <a:gd name="connsiteX648" fmla="*/ 279360 w 779965"/>
                    <a:gd name="connsiteY648" fmla="*/ 1144861 h 1260351"/>
                    <a:gd name="connsiteX649" fmla="*/ 274552 w 779965"/>
                    <a:gd name="connsiteY649" fmla="*/ 1145638 h 1260351"/>
                    <a:gd name="connsiteX650" fmla="*/ 272888 w 779965"/>
                    <a:gd name="connsiteY650" fmla="*/ 1146269 h 1260351"/>
                    <a:gd name="connsiteX651" fmla="*/ 271565 w 779965"/>
                    <a:gd name="connsiteY651" fmla="*/ 1147022 h 1260351"/>
                    <a:gd name="connsiteX652" fmla="*/ 270642 w 779965"/>
                    <a:gd name="connsiteY652" fmla="*/ 1147993 h 1260351"/>
                    <a:gd name="connsiteX653" fmla="*/ 268347 w 779965"/>
                    <a:gd name="connsiteY653" fmla="*/ 1152158 h 1260351"/>
                    <a:gd name="connsiteX654" fmla="*/ 267254 w 779965"/>
                    <a:gd name="connsiteY654" fmla="*/ 1153215 h 1260351"/>
                    <a:gd name="connsiteX655" fmla="*/ 265590 w 779965"/>
                    <a:gd name="connsiteY655" fmla="*/ 1154283 h 1260351"/>
                    <a:gd name="connsiteX656" fmla="*/ 256168 w 779965"/>
                    <a:gd name="connsiteY656" fmla="*/ 1158181 h 1260351"/>
                    <a:gd name="connsiteX657" fmla="*/ 252670 w 779965"/>
                    <a:gd name="connsiteY657" fmla="*/ 1159165 h 1260351"/>
                    <a:gd name="connsiteX658" fmla="*/ 250885 w 779965"/>
                    <a:gd name="connsiteY658" fmla="*/ 1159274 h 1260351"/>
                    <a:gd name="connsiteX659" fmla="*/ 249513 w 779965"/>
                    <a:gd name="connsiteY659" fmla="*/ 1158995 h 1260351"/>
                    <a:gd name="connsiteX660" fmla="*/ 248712 w 779965"/>
                    <a:gd name="connsiteY660" fmla="*/ 1158655 h 1260351"/>
                    <a:gd name="connsiteX661" fmla="*/ 247740 w 779965"/>
                    <a:gd name="connsiteY661" fmla="*/ 1158886 h 1260351"/>
                    <a:gd name="connsiteX662" fmla="*/ 246647 w 779965"/>
                    <a:gd name="connsiteY662" fmla="*/ 1160088 h 1260351"/>
                    <a:gd name="connsiteX663" fmla="*/ 244109 w 779965"/>
                    <a:gd name="connsiteY663" fmla="*/ 1166487 h 1260351"/>
                    <a:gd name="connsiteX664" fmla="*/ 242737 w 779965"/>
                    <a:gd name="connsiteY664" fmla="*/ 1168673 h 1260351"/>
                    <a:gd name="connsiteX665" fmla="*/ 241705 w 779965"/>
                    <a:gd name="connsiteY665" fmla="*/ 1170664 h 1260351"/>
                    <a:gd name="connsiteX666" fmla="*/ 241244 w 779965"/>
                    <a:gd name="connsiteY666" fmla="*/ 1172036 h 1260351"/>
                    <a:gd name="connsiteX667" fmla="*/ 241074 w 779965"/>
                    <a:gd name="connsiteY667" fmla="*/ 1173299 h 1260351"/>
                    <a:gd name="connsiteX668" fmla="*/ 241183 w 779965"/>
                    <a:gd name="connsiteY668" fmla="*/ 1174368 h 1260351"/>
                    <a:gd name="connsiteX669" fmla="*/ 241535 w 779965"/>
                    <a:gd name="connsiteY669" fmla="*/ 1175339 h 1260351"/>
                    <a:gd name="connsiteX670" fmla="*/ 243077 w 779965"/>
                    <a:gd name="connsiteY670" fmla="*/ 1178205 h 1260351"/>
                    <a:gd name="connsiteX671" fmla="*/ 243308 w 779965"/>
                    <a:gd name="connsiteY671" fmla="*/ 1179881 h 1260351"/>
                    <a:gd name="connsiteX672" fmla="*/ 242968 w 779965"/>
                    <a:gd name="connsiteY672" fmla="*/ 1181836 h 1260351"/>
                    <a:gd name="connsiteX673" fmla="*/ 242106 w 779965"/>
                    <a:gd name="connsiteY673" fmla="*/ 1184701 h 1260351"/>
                    <a:gd name="connsiteX674" fmla="*/ 241705 w 779965"/>
                    <a:gd name="connsiteY674" fmla="*/ 1188114 h 1260351"/>
                    <a:gd name="connsiteX675" fmla="*/ 239799 w 779965"/>
                    <a:gd name="connsiteY675" fmla="*/ 1194343 h 1260351"/>
                    <a:gd name="connsiteX676" fmla="*/ 239240 w 779965"/>
                    <a:gd name="connsiteY676" fmla="*/ 1195472 h 1260351"/>
                    <a:gd name="connsiteX677" fmla="*/ 238548 w 779965"/>
                    <a:gd name="connsiteY677" fmla="*/ 1196347 h 1260351"/>
                    <a:gd name="connsiteX678" fmla="*/ 237856 w 779965"/>
                    <a:gd name="connsiteY678" fmla="*/ 1197014 h 1260351"/>
                    <a:gd name="connsiteX679" fmla="*/ 236423 w 779965"/>
                    <a:gd name="connsiteY679" fmla="*/ 1199079 h 1260351"/>
                    <a:gd name="connsiteX680" fmla="*/ 235440 w 779965"/>
                    <a:gd name="connsiteY680" fmla="*/ 1200973 h 1260351"/>
                    <a:gd name="connsiteX681" fmla="*/ 235100 w 779965"/>
                    <a:gd name="connsiteY681" fmla="*/ 1202503 h 1260351"/>
                    <a:gd name="connsiteX682" fmla="*/ 235039 w 779965"/>
                    <a:gd name="connsiteY682" fmla="*/ 1203875 h 1260351"/>
                    <a:gd name="connsiteX683" fmla="*/ 235330 w 779965"/>
                    <a:gd name="connsiteY683" fmla="*/ 1205490 h 1260351"/>
                    <a:gd name="connsiteX684" fmla="*/ 235330 w 779965"/>
                    <a:gd name="connsiteY684" fmla="*/ 1212084 h 1260351"/>
                    <a:gd name="connsiteX685" fmla="*/ 234468 w 779965"/>
                    <a:gd name="connsiteY685" fmla="*/ 1216443 h 1260351"/>
                    <a:gd name="connsiteX686" fmla="*/ 233837 w 779965"/>
                    <a:gd name="connsiteY686" fmla="*/ 1218665 h 1260351"/>
                    <a:gd name="connsiteX687" fmla="*/ 233205 w 779965"/>
                    <a:gd name="connsiteY687" fmla="*/ 1219977 h 1260351"/>
                    <a:gd name="connsiteX688" fmla="*/ 231821 w 779965"/>
                    <a:gd name="connsiteY688" fmla="*/ 1221738 h 1260351"/>
                    <a:gd name="connsiteX689" fmla="*/ 231032 w 779965"/>
                    <a:gd name="connsiteY689" fmla="*/ 1223025 h 1260351"/>
                    <a:gd name="connsiteX690" fmla="*/ 229866 w 779965"/>
                    <a:gd name="connsiteY690" fmla="*/ 1225465 h 1260351"/>
                    <a:gd name="connsiteX691" fmla="*/ 229356 w 779965"/>
                    <a:gd name="connsiteY691" fmla="*/ 1227299 h 1260351"/>
                    <a:gd name="connsiteX692" fmla="*/ 229113 w 779965"/>
                    <a:gd name="connsiteY692" fmla="*/ 1229181 h 1260351"/>
                    <a:gd name="connsiteX693" fmla="*/ 229077 w 779965"/>
                    <a:gd name="connsiteY693" fmla="*/ 1231767 h 1260351"/>
                    <a:gd name="connsiteX694" fmla="*/ 228724 w 779965"/>
                    <a:gd name="connsiteY694" fmla="*/ 1233176 h 1260351"/>
                    <a:gd name="connsiteX695" fmla="*/ 228141 w 779965"/>
                    <a:gd name="connsiteY695" fmla="*/ 1234208 h 1260351"/>
                    <a:gd name="connsiteX696" fmla="*/ 227292 w 779965"/>
                    <a:gd name="connsiteY696" fmla="*/ 1234670 h 1260351"/>
                    <a:gd name="connsiteX697" fmla="*/ 226369 w 779965"/>
                    <a:gd name="connsiteY697" fmla="*/ 1234840 h 1260351"/>
                    <a:gd name="connsiteX698" fmla="*/ 225458 w 779965"/>
                    <a:gd name="connsiteY698" fmla="*/ 1234670 h 1260351"/>
                    <a:gd name="connsiteX699" fmla="*/ 224644 w 779965"/>
                    <a:gd name="connsiteY699" fmla="*/ 1234208 h 1260351"/>
                    <a:gd name="connsiteX700" fmla="*/ 223212 w 779965"/>
                    <a:gd name="connsiteY700" fmla="*/ 1233054 h 1260351"/>
                    <a:gd name="connsiteX701" fmla="*/ 222349 w 779965"/>
                    <a:gd name="connsiteY701" fmla="*/ 1232593 h 1260351"/>
                    <a:gd name="connsiteX702" fmla="*/ 221439 w 779965"/>
                    <a:gd name="connsiteY702" fmla="*/ 1232423 h 1260351"/>
                    <a:gd name="connsiteX703" fmla="*/ 220406 w 779965"/>
                    <a:gd name="connsiteY703" fmla="*/ 1232702 h 1260351"/>
                    <a:gd name="connsiteX704" fmla="*/ 219362 w 779965"/>
                    <a:gd name="connsiteY704" fmla="*/ 1233528 h 1260351"/>
                    <a:gd name="connsiteX705" fmla="*/ 218974 w 779965"/>
                    <a:gd name="connsiteY705" fmla="*/ 1234524 h 1260351"/>
                    <a:gd name="connsiteX706" fmla="*/ 218792 w 779965"/>
                    <a:gd name="connsiteY706" fmla="*/ 1235629 h 1260351"/>
                    <a:gd name="connsiteX707" fmla="*/ 218609 w 779965"/>
                    <a:gd name="connsiteY707" fmla="*/ 1239138 h 1260351"/>
                    <a:gd name="connsiteX708" fmla="*/ 218160 w 779965"/>
                    <a:gd name="connsiteY708" fmla="*/ 1242453 h 1260351"/>
                    <a:gd name="connsiteX709" fmla="*/ 218160 w 779965"/>
                    <a:gd name="connsiteY709" fmla="*/ 1245987 h 1260351"/>
                    <a:gd name="connsiteX710" fmla="*/ 218792 w 779965"/>
                    <a:gd name="connsiteY710" fmla="*/ 1248306 h 1260351"/>
                    <a:gd name="connsiteX711" fmla="*/ 204791 w 779965"/>
                    <a:gd name="connsiteY711" fmla="*/ 1247881 h 1260351"/>
                    <a:gd name="connsiteX712" fmla="*/ 196388 w 779965"/>
                    <a:gd name="connsiteY712" fmla="*/ 1248853 h 1260351"/>
                    <a:gd name="connsiteX713" fmla="*/ 190826 w 779965"/>
                    <a:gd name="connsiteY713" fmla="*/ 1248889 h 1260351"/>
                    <a:gd name="connsiteX714" fmla="*/ 186406 w 779965"/>
                    <a:gd name="connsiteY714" fmla="*/ 1247881 h 1260351"/>
                    <a:gd name="connsiteX715" fmla="*/ 182970 w 779965"/>
                    <a:gd name="connsiteY715" fmla="*/ 1246388 h 1260351"/>
                    <a:gd name="connsiteX716" fmla="*/ 178185 w 779965"/>
                    <a:gd name="connsiteY716" fmla="*/ 1243522 h 1260351"/>
                    <a:gd name="connsiteX717" fmla="*/ 176243 w 779965"/>
                    <a:gd name="connsiteY717" fmla="*/ 1242599 h 1260351"/>
                    <a:gd name="connsiteX718" fmla="*/ 174348 w 779965"/>
                    <a:gd name="connsiteY718" fmla="*/ 1242295 h 1260351"/>
                    <a:gd name="connsiteX719" fmla="*/ 172563 w 779965"/>
                    <a:gd name="connsiteY719" fmla="*/ 1242550 h 1260351"/>
                    <a:gd name="connsiteX720" fmla="*/ 170268 w 779965"/>
                    <a:gd name="connsiteY720" fmla="*/ 1243813 h 1260351"/>
                    <a:gd name="connsiteX721" fmla="*/ 165217 w 779965"/>
                    <a:gd name="connsiteY721" fmla="*/ 1247347 h 1260351"/>
                    <a:gd name="connsiteX722" fmla="*/ 160384 w 779965"/>
                    <a:gd name="connsiteY722" fmla="*/ 1249642 h 1260351"/>
                    <a:gd name="connsiteX723" fmla="*/ 155745 w 779965"/>
                    <a:gd name="connsiteY723" fmla="*/ 1253018 h 1260351"/>
                    <a:gd name="connsiteX724" fmla="*/ 153268 w 779965"/>
                    <a:gd name="connsiteY724" fmla="*/ 1254232 h 1260351"/>
                    <a:gd name="connsiteX725" fmla="*/ 150342 w 779965"/>
                    <a:gd name="connsiteY725" fmla="*/ 1254062 h 1260351"/>
                    <a:gd name="connsiteX726" fmla="*/ 147755 w 779965"/>
                    <a:gd name="connsiteY726" fmla="*/ 1252471 h 1260351"/>
                    <a:gd name="connsiteX727" fmla="*/ 144829 w 779965"/>
                    <a:gd name="connsiteY727" fmla="*/ 1248245 h 1260351"/>
                    <a:gd name="connsiteX728" fmla="*/ 142133 w 779965"/>
                    <a:gd name="connsiteY728" fmla="*/ 1241761 h 1260351"/>
                    <a:gd name="connsiteX729" fmla="*/ 140931 w 779965"/>
                    <a:gd name="connsiteY729" fmla="*/ 1217876 h 1260351"/>
                    <a:gd name="connsiteX730" fmla="*/ 140008 w 779965"/>
                    <a:gd name="connsiteY730" fmla="*/ 1214707 h 1260351"/>
                    <a:gd name="connsiteX731" fmla="*/ 136450 w 779965"/>
                    <a:gd name="connsiteY731" fmla="*/ 1208417 h 1260351"/>
                    <a:gd name="connsiteX732" fmla="*/ 135066 w 779965"/>
                    <a:gd name="connsiteY732" fmla="*/ 1205344 h 1260351"/>
                    <a:gd name="connsiteX733" fmla="*/ 133925 w 779965"/>
                    <a:gd name="connsiteY733" fmla="*/ 1201556 h 1260351"/>
                    <a:gd name="connsiteX734" fmla="*/ 133232 w 779965"/>
                    <a:gd name="connsiteY734" fmla="*/ 1198046 h 1260351"/>
                    <a:gd name="connsiteX735" fmla="*/ 133111 w 779965"/>
                    <a:gd name="connsiteY735" fmla="*/ 1194173 h 1260351"/>
                    <a:gd name="connsiteX736" fmla="*/ 133985 w 779965"/>
                    <a:gd name="connsiteY736" fmla="*/ 1191016 h 1260351"/>
                    <a:gd name="connsiteX737" fmla="*/ 135357 w 779965"/>
                    <a:gd name="connsiteY737" fmla="*/ 1188187 h 1260351"/>
                    <a:gd name="connsiteX738" fmla="*/ 136790 w 779965"/>
                    <a:gd name="connsiteY738" fmla="*/ 1185685 h 1260351"/>
                    <a:gd name="connsiteX739" fmla="*/ 137592 w 779965"/>
                    <a:gd name="connsiteY739" fmla="*/ 1183815 h 1260351"/>
                    <a:gd name="connsiteX740" fmla="*/ 137191 w 779965"/>
                    <a:gd name="connsiteY740" fmla="*/ 1182176 h 1260351"/>
                    <a:gd name="connsiteX741" fmla="*/ 135758 w 779965"/>
                    <a:gd name="connsiteY741" fmla="*/ 1181241 h 1260351"/>
                    <a:gd name="connsiteX742" fmla="*/ 132589 w 779965"/>
                    <a:gd name="connsiteY742" fmla="*/ 1180804 h 1260351"/>
                    <a:gd name="connsiteX743" fmla="*/ 130136 w 779965"/>
                    <a:gd name="connsiteY743" fmla="*/ 1181556 h 1260351"/>
                    <a:gd name="connsiteX744" fmla="*/ 125534 w 779965"/>
                    <a:gd name="connsiteY744" fmla="*/ 1183657 h 1260351"/>
                    <a:gd name="connsiteX745" fmla="*/ 123299 w 779965"/>
                    <a:gd name="connsiteY745" fmla="*/ 1184374 h 1260351"/>
                    <a:gd name="connsiteX746" fmla="*/ 121114 w 779965"/>
                    <a:gd name="connsiteY746" fmla="*/ 1184264 h 1260351"/>
                    <a:gd name="connsiteX747" fmla="*/ 119389 w 779965"/>
                    <a:gd name="connsiteY747" fmla="*/ 1183111 h 1260351"/>
                    <a:gd name="connsiteX748" fmla="*/ 118017 w 779965"/>
                    <a:gd name="connsiteY748" fmla="*/ 1180755 h 1260351"/>
                    <a:gd name="connsiteX749" fmla="*/ 117617 w 779965"/>
                    <a:gd name="connsiteY749" fmla="*/ 1178059 h 1260351"/>
                    <a:gd name="connsiteX750" fmla="*/ 117495 w 779965"/>
                    <a:gd name="connsiteY750" fmla="*/ 1175412 h 1260351"/>
                    <a:gd name="connsiteX751" fmla="*/ 117155 w 779965"/>
                    <a:gd name="connsiteY751" fmla="*/ 1172862 h 1260351"/>
                    <a:gd name="connsiteX752" fmla="*/ 116184 w 779965"/>
                    <a:gd name="connsiteY752" fmla="*/ 1170579 h 1260351"/>
                    <a:gd name="connsiteX753" fmla="*/ 114229 w 779965"/>
                    <a:gd name="connsiteY753" fmla="*/ 1169401 h 1260351"/>
                    <a:gd name="connsiteX754" fmla="*/ 112686 w 779965"/>
                    <a:gd name="connsiteY754" fmla="*/ 1169171 h 1260351"/>
                    <a:gd name="connsiteX755" fmla="*/ 111193 w 779965"/>
                    <a:gd name="connsiteY755" fmla="*/ 1169620 h 1260351"/>
                    <a:gd name="connsiteX756" fmla="*/ 110379 w 779965"/>
                    <a:gd name="connsiteY756" fmla="*/ 1170349 h 1260351"/>
                    <a:gd name="connsiteX757" fmla="*/ 109857 w 779965"/>
                    <a:gd name="connsiteY757" fmla="*/ 1171466 h 1260351"/>
                    <a:gd name="connsiteX758" fmla="*/ 109068 w 779965"/>
                    <a:gd name="connsiteY758" fmla="*/ 1175436 h 1260351"/>
                    <a:gd name="connsiteX759" fmla="*/ 108704 w 779965"/>
                    <a:gd name="connsiteY759" fmla="*/ 1176638 h 1260351"/>
                    <a:gd name="connsiteX760" fmla="*/ 108254 w 779965"/>
                    <a:gd name="connsiteY760" fmla="*/ 1177464 h 1260351"/>
                    <a:gd name="connsiteX761" fmla="*/ 107210 w 779965"/>
                    <a:gd name="connsiteY761" fmla="*/ 1178193 h 1260351"/>
                    <a:gd name="connsiteX762" fmla="*/ 105668 w 779965"/>
                    <a:gd name="connsiteY762" fmla="*/ 1178678 h 1260351"/>
                    <a:gd name="connsiteX763" fmla="*/ 103494 w 779965"/>
                    <a:gd name="connsiteY763" fmla="*/ 1178958 h 1260351"/>
                    <a:gd name="connsiteX764" fmla="*/ 98601 w 779965"/>
                    <a:gd name="connsiteY764" fmla="*/ 1179079 h 1260351"/>
                    <a:gd name="connsiteX765" fmla="*/ 96585 w 779965"/>
                    <a:gd name="connsiteY765" fmla="*/ 1178533 h 1260351"/>
                    <a:gd name="connsiteX766" fmla="*/ 95152 w 779965"/>
                    <a:gd name="connsiteY766" fmla="*/ 1177246 h 1260351"/>
                    <a:gd name="connsiteX767" fmla="*/ 94181 w 779965"/>
                    <a:gd name="connsiteY767" fmla="*/ 1174635 h 1260351"/>
                    <a:gd name="connsiteX768" fmla="*/ 94120 w 779965"/>
                    <a:gd name="connsiteY768" fmla="*/ 1172534 h 1260351"/>
                    <a:gd name="connsiteX769" fmla="*/ 94581 w 779965"/>
                    <a:gd name="connsiteY769" fmla="*/ 1170737 h 1260351"/>
                    <a:gd name="connsiteX770" fmla="*/ 95565 w 779965"/>
                    <a:gd name="connsiteY770" fmla="*/ 1169413 h 1260351"/>
                    <a:gd name="connsiteX771" fmla="*/ 97010 w 779965"/>
                    <a:gd name="connsiteY771" fmla="*/ 1168345 h 1260351"/>
                    <a:gd name="connsiteX772" fmla="*/ 100568 w 779965"/>
                    <a:gd name="connsiteY772" fmla="*/ 1166766 h 1260351"/>
                    <a:gd name="connsiteX773" fmla="*/ 102158 w 779965"/>
                    <a:gd name="connsiteY773" fmla="*/ 1165819 h 1260351"/>
                    <a:gd name="connsiteX774" fmla="*/ 102632 w 779965"/>
                    <a:gd name="connsiteY774" fmla="*/ 1164617 h 1260351"/>
                    <a:gd name="connsiteX775" fmla="*/ 102511 w 779965"/>
                    <a:gd name="connsiteY775" fmla="*/ 1162747 h 1260351"/>
                    <a:gd name="connsiteX776" fmla="*/ 101758 w 779965"/>
                    <a:gd name="connsiteY776" fmla="*/ 1160719 h 1260351"/>
                    <a:gd name="connsiteX777" fmla="*/ 97058 w 779965"/>
                    <a:gd name="connsiteY777" fmla="*/ 1153336 h 1260351"/>
                    <a:gd name="connsiteX778" fmla="*/ 92469 w 779965"/>
                    <a:gd name="connsiteY778" fmla="*/ 1142772 h 1260351"/>
                    <a:gd name="connsiteX779" fmla="*/ 90793 w 779965"/>
                    <a:gd name="connsiteY779" fmla="*/ 1136858 h 1260351"/>
                    <a:gd name="connsiteX780" fmla="*/ 89712 w 779965"/>
                    <a:gd name="connsiteY780" fmla="*/ 1133992 h 1260351"/>
                    <a:gd name="connsiteX781" fmla="*/ 87878 w 779965"/>
                    <a:gd name="connsiteY781" fmla="*/ 1131005 h 1260351"/>
                    <a:gd name="connsiteX782" fmla="*/ 84649 w 779965"/>
                    <a:gd name="connsiteY782" fmla="*/ 1127338 h 1260351"/>
                    <a:gd name="connsiteX783" fmla="*/ 82074 w 779965"/>
                    <a:gd name="connsiteY783" fmla="*/ 1123683 h 1260351"/>
                    <a:gd name="connsiteX784" fmla="*/ 78103 w 779965"/>
                    <a:gd name="connsiteY784" fmla="*/ 1119749 h 1260351"/>
                    <a:gd name="connsiteX785" fmla="*/ 75347 w 779965"/>
                    <a:gd name="connsiteY785" fmla="*/ 1115851 h 1260351"/>
                    <a:gd name="connsiteX786" fmla="*/ 66738 w 779965"/>
                    <a:gd name="connsiteY786" fmla="*/ 1105979 h 1260351"/>
                    <a:gd name="connsiteX787" fmla="*/ 62548 w 779965"/>
                    <a:gd name="connsiteY787" fmla="*/ 1102275 h 1260351"/>
                    <a:gd name="connsiteX788" fmla="*/ 60824 w 779965"/>
                    <a:gd name="connsiteY788" fmla="*/ 1101012 h 1260351"/>
                    <a:gd name="connsiteX789" fmla="*/ 56683 w 779965"/>
                    <a:gd name="connsiteY789" fmla="*/ 1099069 h 1260351"/>
                    <a:gd name="connsiteX790" fmla="*/ 54910 w 779965"/>
                    <a:gd name="connsiteY790" fmla="*/ 1097819 h 1260351"/>
                    <a:gd name="connsiteX791" fmla="*/ 51571 w 779965"/>
                    <a:gd name="connsiteY791" fmla="*/ 1094613 h 1260351"/>
                    <a:gd name="connsiteX792" fmla="*/ 48584 w 779965"/>
                    <a:gd name="connsiteY792" fmla="*/ 1093399 h 1260351"/>
                    <a:gd name="connsiteX793" fmla="*/ 44407 w 779965"/>
                    <a:gd name="connsiteY793" fmla="*/ 1093314 h 1260351"/>
                    <a:gd name="connsiteX794" fmla="*/ 37570 w 779965"/>
                    <a:gd name="connsiteY794" fmla="*/ 1095111 h 1260351"/>
                    <a:gd name="connsiteX795" fmla="*/ 34012 w 779965"/>
                    <a:gd name="connsiteY795" fmla="*/ 1096750 h 1260351"/>
                    <a:gd name="connsiteX796" fmla="*/ 31256 w 779965"/>
                    <a:gd name="connsiteY796" fmla="*/ 1095949 h 1260351"/>
                    <a:gd name="connsiteX797" fmla="*/ 30564 w 779965"/>
                    <a:gd name="connsiteY797" fmla="*/ 1093763 h 1260351"/>
                    <a:gd name="connsiteX798" fmla="*/ 29240 w 779965"/>
                    <a:gd name="connsiteY798" fmla="*/ 1092184 h 1260351"/>
                    <a:gd name="connsiteX799" fmla="*/ 27115 w 779965"/>
                    <a:gd name="connsiteY799" fmla="*/ 1091553 h 1260351"/>
                    <a:gd name="connsiteX800" fmla="*/ 26666 w 779965"/>
                    <a:gd name="connsiteY800" fmla="*/ 1092646 h 1260351"/>
                    <a:gd name="connsiteX801" fmla="*/ 25051 w 779965"/>
                    <a:gd name="connsiteY801" fmla="*/ 1094710 h 1260351"/>
                    <a:gd name="connsiteX802" fmla="*/ 23327 w 779965"/>
                    <a:gd name="connsiteY802" fmla="*/ 1096082 h 1260351"/>
                    <a:gd name="connsiteX803" fmla="*/ 22525 w 779965"/>
                    <a:gd name="connsiteY803" fmla="*/ 1095050 h 1260351"/>
                    <a:gd name="connsiteX804" fmla="*/ 21894 w 779965"/>
                    <a:gd name="connsiteY804" fmla="*/ 1092500 h 1260351"/>
                    <a:gd name="connsiteX805" fmla="*/ 20400 w 779965"/>
                    <a:gd name="connsiteY805" fmla="*/ 1090460 h 1260351"/>
                    <a:gd name="connsiteX806" fmla="*/ 18664 w 779965"/>
                    <a:gd name="connsiteY806" fmla="*/ 1088566 h 1260351"/>
                    <a:gd name="connsiteX807" fmla="*/ 17291 w 779965"/>
                    <a:gd name="connsiteY807" fmla="*/ 1086380 h 1260351"/>
                    <a:gd name="connsiteX808" fmla="*/ 16842 w 779965"/>
                    <a:gd name="connsiteY808" fmla="*/ 1084461 h 1260351"/>
                    <a:gd name="connsiteX809" fmla="*/ 16611 w 779965"/>
                    <a:gd name="connsiteY809" fmla="*/ 1080357 h 1260351"/>
                    <a:gd name="connsiteX810" fmla="*/ 16150 w 779965"/>
                    <a:gd name="connsiteY810" fmla="*/ 1078439 h 1260351"/>
                    <a:gd name="connsiteX811" fmla="*/ 15288 w 779965"/>
                    <a:gd name="connsiteY811" fmla="*/ 1076301 h 1260351"/>
                    <a:gd name="connsiteX812" fmla="*/ 14134 w 779965"/>
                    <a:gd name="connsiteY812" fmla="*/ 1074176 h 1260351"/>
                    <a:gd name="connsiteX813" fmla="*/ 12580 w 779965"/>
                    <a:gd name="connsiteY813" fmla="*/ 1072561 h 1260351"/>
                    <a:gd name="connsiteX814" fmla="*/ 10346 w 779965"/>
                    <a:gd name="connsiteY814" fmla="*/ 1071930 h 1260351"/>
                    <a:gd name="connsiteX815" fmla="*/ 8002 w 779965"/>
                    <a:gd name="connsiteY815" fmla="*/ 1072513 h 1260351"/>
                    <a:gd name="connsiteX816" fmla="*/ 6970 w 779965"/>
                    <a:gd name="connsiteY816" fmla="*/ 1069004 h 1260351"/>
                    <a:gd name="connsiteX817" fmla="*/ 6339 w 779965"/>
                    <a:gd name="connsiteY817" fmla="*/ 1066551 h 1260351"/>
                    <a:gd name="connsiteX818" fmla="*/ 6157 w 779965"/>
                    <a:gd name="connsiteY818" fmla="*/ 1064389 h 1260351"/>
                    <a:gd name="connsiteX819" fmla="*/ 7189 w 779965"/>
                    <a:gd name="connsiteY819" fmla="*/ 1061912 h 1260351"/>
                    <a:gd name="connsiteX820" fmla="*/ 8864 w 779965"/>
                    <a:gd name="connsiteY820" fmla="*/ 1060224 h 1260351"/>
                    <a:gd name="connsiteX821" fmla="*/ 20862 w 779965"/>
                    <a:gd name="connsiteY821" fmla="*/ 1053157 h 1260351"/>
                    <a:gd name="connsiteX822" fmla="*/ 22817 w 779965"/>
                    <a:gd name="connsiteY822" fmla="*/ 1049745 h 1260351"/>
                    <a:gd name="connsiteX823" fmla="*/ 21833 w 779965"/>
                    <a:gd name="connsiteY823" fmla="*/ 1045895 h 1260351"/>
                    <a:gd name="connsiteX824" fmla="*/ 10577 w 779965"/>
                    <a:gd name="connsiteY824" fmla="*/ 1032405 h 1260351"/>
                    <a:gd name="connsiteX825" fmla="*/ 8221 w 779965"/>
                    <a:gd name="connsiteY825" fmla="*/ 1027207 h 1260351"/>
                    <a:gd name="connsiteX826" fmla="*/ 8282 w 779965"/>
                    <a:gd name="connsiteY826" fmla="*/ 1020881 h 1260351"/>
                    <a:gd name="connsiteX827" fmla="*/ 11791 w 779965"/>
                    <a:gd name="connsiteY827" fmla="*/ 1013134 h 1260351"/>
                    <a:gd name="connsiteX828" fmla="*/ 22234 w 779965"/>
                    <a:gd name="connsiteY828" fmla="*/ 1001039 h 1260351"/>
                    <a:gd name="connsiteX829" fmla="*/ 26083 w 779965"/>
                    <a:gd name="connsiteY829" fmla="*/ 994069 h 1260351"/>
                    <a:gd name="connsiteX830" fmla="*/ 26824 w 779965"/>
                    <a:gd name="connsiteY830" fmla="*/ 990232 h 1260351"/>
                    <a:gd name="connsiteX831" fmla="*/ 27285 w 779965"/>
                    <a:gd name="connsiteY831" fmla="*/ 987464 h 1260351"/>
                    <a:gd name="connsiteX832" fmla="*/ 31778 w 779965"/>
                    <a:gd name="connsiteY832" fmla="*/ 971362 h 1260351"/>
                    <a:gd name="connsiteX833" fmla="*/ 33320 w 779965"/>
                    <a:gd name="connsiteY833" fmla="*/ 968193 h 1260351"/>
                    <a:gd name="connsiteX834" fmla="*/ 34923 w 779965"/>
                    <a:gd name="connsiteY834" fmla="*/ 967076 h 1260351"/>
                    <a:gd name="connsiteX835" fmla="*/ 39295 w 779965"/>
                    <a:gd name="connsiteY835" fmla="*/ 965303 h 1260351"/>
                    <a:gd name="connsiteX836" fmla="*/ 41189 w 779965"/>
                    <a:gd name="connsiteY836" fmla="*/ 963991 h 1260351"/>
                    <a:gd name="connsiteX837" fmla="*/ 42913 w 779965"/>
                    <a:gd name="connsiteY837" fmla="*/ 961466 h 1260351"/>
                    <a:gd name="connsiteX838" fmla="*/ 45657 w 779965"/>
                    <a:gd name="connsiteY838" fmla="*/ 955455 h 1260351"/>
                    <a:gd name="connsiteX839" fmla="*/ 47503 w 779965"/>
                    <a:gd name="connsiteY839" fmla="*/ 953002 h 1260351"/>
                    <a:gd name="connsiteX840" fmla="*/ 49167 w 779965"/>
                    <a:gd name="connsiteY840" fmla="*/ 951873 h 1260351"/>
                    <a:gd name="connsiteX841" fmla="*/ 52664 w 779965"/>
                    <a:gd name="connsiteY841" fmla="*/ 950695 h 1260351"/>
                    <a:gd name="connsiteX842" fmla="*/ 54279 w 779965"/>
                    <a:gd name="connsiteY842" fmla="*/ 949772 h 1260351"/>
                    <a:gd name="connsiteX843" fmla="*/ 56064 w 779965"/>
                    <a:gd name="connsiteY843" fmla="*/ 947793 h 1260351"/>
                    <a:gd name="connsiteX844" fmla="*/ 59100 w 779965"/>
                    <a:gd name="connsiteY844" fmla="*/ 943263 h 1260351"/>
                    <a:gd name="connsiteX845" fmla="*/ 61115 w 779965"/>
                    <a:gd name="connsiteY845" fmla="*/ 941648 h 1260351"/>
                    <a:gd name="connsiteX846" fmla="*/ 65365 w 779965"/>
                    <a:gd name="connsiteY846" fmla="*/ 940640 h 1260351"/>
                    <a:gd name="connsiteX847" fmla="*/ 67418 w 779965"/>
                    <a:gd name="connsiteY847" fmla="*/ 942620 h 1260351"/>
                    <a:gd name="connsiteX848" fmla="*/ 69895 w 779965"/>
                    <a:gd name="connsiteY848" fmla="*/ 950440 h 1260351"/>
                    <a:gd name="connsiteX849" fmla="*/ 73113 w 779965"/>
                    <a:gd name="connsiteY849" fmla="*/ 954945 h 1260351"/>
                    <a:gd name="connsiteX850" fmla="*/ 76161 w 779965"/>
                    <a:gd name="connsiteY850" fmla="*/ 955285 h 1260351"/>
                    <a:gd name="connsiteX851" fmla="*/ 79779 w 779965"/>
                    <a:gd name="connsiteY851" fmla="*/ 954192 h 1260351"/>
                    <a:gd name="connsiteX852" fmla="*/ 84831 w 779965"/>
                    <a:gd name="connsiteY852" fmla="*/ 954374 h 1260351"/>
                    <a:gd name="connsiteX853" fmla="*/ 86725 w 779965"/>
                    <a:gd name="connsiteY853" fmla="*/ 956378 h 1260351"/>
                    <a:gd name="connsiteX854" fmla="*/ 90562 w 779965"/>
                    <a:gd name="connsiteY854" fmla="*/ 962704 h 1260351"/>
                    <a:gd name="connsiteX855" fmla="*/ 91716 w 779965"/>
                    <a:gd name="connsiteY855" fmla="*/ 965837 h 1260351"/>
                    <a:gd name="connsiteX856" fmla="*/ 92469 w 779965"/>
                    <a:gd name="connsiteY856" fmla="*/ 966031 h 1260351"/>
                    <a:gd name="connsiteX857" fmla="*/ 93209 w 779965"/>
                    <a:gd name="connsiteY857" fmla="*/ 965497 h 1260351"/>
                    <a:gd name="connsiteX858" fmla="*/ 95565 w 779965"/>
                    <a:gd name="connsiteY858" fmla="*/ 962728 h 1260351"/>
                    <a:gd name="connsiteX859" fmla="*/ 98200 w 779965"/>
                    <a:gd name="connsiteY859" fmla="*/ 960324 h 1260351"/>
                    <a:gd name="connsiteX860" fmla="*/ 100046 w 779965"/>
                    <a:gd name="connsiteY860" fmla="*/ 958855 h 1260351"/>
                    <a:gd name="connsiteX861" fmla="*/ 104405 w 779965"/>
                    <a:gd name="connsiteY861" fmla="*/ 956305 h 1260351"/>
                    <a:gd name="connsiteX862" fmla="*/ 111642 w 779965"/>
                    <a:gd name="connsiteY862" fmla="*/ 953500 h 1260351"/>
                    <a:gd name="connsiteX863" fmla="*/ 113136 w 779965"/>
                    <a:gd name="connsiteY863" fmla="*/ 951909 h 1260351"/>
                    <a:gd name="connsiteX864" fmla="*/ 113366 w 779965"/>
                    <a:gd name="connsiteY864" fmla="*/ 949724 h 1260351"/>
                    <a:gd name="connsiteX865" fmla="*/ 111703 w 779965"/>
                    <a:gd name="connsiteY865" fmla="*/ 946287 h 1260351"/>
                    <a:gd name="connsiteX866" fmla="*/ 108364 w 779965"/>
                    <a:gd name="connsiteY866" fmla="*/ 941806 h 1260351"/>
                    <a:gd name="connsiteX867" fmla="*/ 107841 w 779965"/>
                    <a:gd name="connsiteY867" fmla="*/ 940228 h 1260351"/>
                    <a:gd name="connsiteX868" fmla="*/ 108424 w 779965"/>
                    <a:gd name="connsiteY868" fmla="*/ 938455 h 1260351"/>
                    <a:gd name="connsiteX869" fmla="*/ 109918 w 779965"/>
                    <a:gd name="connsiteY869" fmla="*/ 937484 h 1260351"/>
                    <a:gd name="connsiteX870" fmla="*/ 112104 w 779965"/>
                    <a:gd name="connsiteY870" fmla="*/ 936925 h 1260351"/>
                    <a:gd name="connsiteX871" fmla="*/ 117495 w 779965"/>
                    <a:gd name="connsiteY871" fmla="*/ 936293 h 1260351"/>
                    <a:gd name="connsiteX872" fmla="*/ 120361 w 779965"/>
                    <a:gd name="connsiteY872" fmla="*/ 935358 h 1260351"/>
                    <a:gd name="connsiteX873" fmla="*/ 122546 w 779965"/>
                    <a:gd name="connsiteY873" fmla="*/ 933683 h 1260351"/>
                    <a:gd name="connsiteX874" fmla="*/ 124040 w 779965"/>
                    <a:gd name="connsiteY874" fmla="*/ 931558 h 1260351"/>
                    <a:gd name="connsiteX875" fmla="*/ 125254 w 779965"/>
                    <a:gd name="connsiteY875" fmla="*/ 928947 h 1260351"/>
                    <a:gd name="connsiteX876" fmla="*/ 125534 w 779965"/>
                    <a:gd name="connsiteY876" fmla="*/ 925753 h 1260351"/>
                    <a:gd name="connsiteX877" fmla="*/ 124963 w 779965"/>
                    <a:gd name="connsiteY877" fmla="*/ 922645 h 1260351"/>
                    <a:gd name="connsiteX878" fmla="*/ 122037 w 779965"/>
                    <a:gd name="connsiteY878" fmla="*/ 918261 h 1260351"/>
                    <a:gd name="connsiteX879" fmla="*/ 117617 w 779965"/>
                    <a:gd name="connsiteY879" fmla="*/ 914448 h 1260351"/>
                    <a:gd name="connsiteX880" fmla="*/ 114508 w 779965"/>
                    <a:gd name="connsiteY880" fmla="*/ 911218 h 1260351"/>
                    <a:gd name="connsiteX881" fmla="*/ 113136 w 779965"/>
                    <a:gd name="connsiteY881" fmla="*/ 910453 h 1260351"/>
                    <a:gd name="connsiteX882" fmla="*/ 111521 w 779965"/>
                    <a:gd name="connsiteY882" fmla="*/ 910174 h 1260351"/>
                    <a:gd name="connsiteX883" fmla="*/ 110088 w 779965"/>
                    <a:gd name="connsiteY883" fmla="*/ 910113 h 1260351"/>
                    <a:gd name="connsiteX884" fmla="*/ 108546 w 779965"/>
                    <a:gd name="connsiteY884" fmla="*/ 909652 h 1260351"/>
                    <a:gd name="connsiteX885" fmla="*/ 102911 w 779965"/>
                    <a:gd name="connsiteY885" fmla="*/ 905402 h 1260351"/>
                    <a:gd name="connsiteX886" fmla="*/ 100046 w 779965"/>
                    <a:gd name="connsiteY886" fmla="*/ 904054 h 1260351"/>
                    <a:gd name="connsiteX887" fmla="*/ 91023 w 779965"/>
                    <a:gd name="connsiteY887" fmla="*/ 901625 h 1260351"/>
                    <a:gd name="connsiteX888" fmla="*/ 88850 w 779965"/>
                    <a:gd name="connsiteY888" fmla="*/ 900642 h 1260351"/>
                    <a:gd name="connsiteX889" fmla="*/ 87004 w 779965"/>
                    <a:gd name="connsiteY889" fmla="*/ 898662 h 1260351"/>
                    <a:gd name="connsiteX890" fmla="*/ 85802 w 779965"/>
                    <a:gd name="connsiteY890" fmla="*/ 895857 h 1260351"/>
                    <a:gd name="connsiteX891" fmla="*/ 84017 w 779965"/>
                    <a:gd name="connsiteY891" fmla="*/ 885256 h 1260351"/>
                    <a:gd name="connsiteX892" fmla="*/ 82523 w 779965"/>
                    <a:gd name="connsiteY892" fmla="*/ 882852 h 1260351"/>
                    <a:gd name="connsiteX893" fmla="*/ 80908 w 779965"/>
                    <a:gd name="connsiteY893" fmla="*/ 881480 h 1260351"/>
                    <a:gd name="connsiteX894" fmla="*/ 79196 w 779965"/>
                    <a:gd name="connsiteY894" fmla="*/ 880448 h 1260351"/>
                    <a:gd name="connsiteX895" fmla="*/ 77071 w 779965"/>
                    <a:gd name="connsiteY895" fmla="*/ 879695 h 1260351"/>
                    <a:gd name="connsiteX896" fmla="*/ 69834 w 779965"/>
                    <a:gd name="connsiteY896" fmla="*/ 878031 h 1260351"/>
                    <a:gd name="connsiteX897" fmla="*/ 67418 w 779965"/>
                    <a:gd name="connsiteY897" fmla="*/ 877024 h 1260351"/>
                    <a:gd name="connsiteX898" fmla="*/ 65074 w 779965"/>
                    <a:gd name="connsiteY898" fmla="*/ 875105 h 1260351"/>
                    <a:gd name="connsiteX899" fmla="*/ 63350 w 779965"/>
                    <a:gd name="connsiteY899" fmla="*/ 872944 h 1260351"/>
                    <a:gd name="connsiteX900" fmla="*/ 61978 w 779965"/>
                    <a:gd name="connsiteY900" fmla="*/ 869932 h 1260351"/>
                    <a:gd name="connsiteX901" fmla="*/ 60193 w 779965"/>
                    <a:gd name="connsiteY901" fmla="*/ 862683 h 1260351"/>
                    <a:gd name="connsiteX902" fmla="*/ 59452 w 779965"/>
                    <a:gd name="connsiteY902" fmla="*/ 860801 h 1260351"/>
                    <a:gd name="connsiteX903" fmla="*/ 58177 w 779965"/>
                    <a:gd name="connsiteY903" fmla="*/ 859064 h 1260351"/>
                    <a:gd name="connsiteX904" fmla="*/ 56404 w 779965"/>
                    <a:gd name="connsiteY904" fmla="*/ 858190 h 1260351"/>
                    <a:gd name="connsiteX905" fmla="*/ 54558 w 779965"/>
                    <a:gd name="connsiteY905" fmla="*/ 858008 h 1260351"/>
                    <a:gd name="connsiteX906" fmla="*/ 52785 w 779965"/>
                    <a:gd name="connsiteY906" fmla="*/ 858311 h 1260351"/>
                    <a:gd name="connsiteX907" fmla="*/ 51231 w 779965"/>
                    <a:gd name="connsiteY907" fmla="*/ 859064 h 1260351"/>
                    <a:gd name="connsiteX908" fmla="*/ 50017 w 779965"/>
                    <a:gd name="connsiteY908" fmla="*/ 860072 h 1260351"/>
                    <a:gd name="connsiteX909" fmla="*/ 49167 w 779965"/>
                    <a:gd name="connsiteY909" fmla="*/ 861335 h 1260351"/>
                    <a:gd name="connsiteX910" fmla="*/ 48766 w 779965"/>
                    <a:gd name="connsiteY910" fmla="*/ 862513 h 1260351"/>
                    <a:gd name="connsiteX911" fmla="*/ 48645 w 779965"/>
                    <a:gd name="connsiteY911" fmla="*/ 863484 h 1260351"/>
                    <a:gd name="connsiteX912" fmla="*/ 48705 w 779965"/>
                    <a:gd name="connsiteY912" fmla="*/ 864407 h 1260351"/>
                    <a:gd name="connsiteX913" fmla="*/ 48827 w 779965"/>
                    <a:gd name="connsiteY913" fmla="*/ 865403 h 1260351"/>
                    <a:gd name="connsiteX914" fmla="*/ 48887 w 779965"/>
                    <a:gd name="connsiteY914" fmla="*/ 866204 h 1260351"/>
                    <a:gd name="connsiteX915" fmla="*/ 48705 w 779965"/>
                    <a:gd name="connsiteY915" fmla="*/ 866812 h 1260351"/>
                    <a:gd name="connsiteX916" fmla="*/ 48135 w 779965"/>
                    <a:gd name="connsiteY916" fmla="*/ 867419 h 1260351"/>
                    <a:gd name="connsiteX917" fmla="*/ 47090 w 779965"/>
                    <a:gd name="connsiteY917" fmla="*/ 867734 h 1260351"/>
                    <a:gd name="connsiteX918" fmla="*/ 45378 w 779965"/>
                    <a:gd name="connsiteY918" fmla="*/ 867783 h 1260351"/>
                    <a:gd name="connsiteX919" fmla="*/ 43314 w 779965"/>
                    <a:gd name="connsiteY919" fmla="*/ 867552 h 1260351"/>
                    <a:gd name="connsiteX920" fmla="*/ 38262 w 779965"/>
                    <a:gd name="connsiteY920" fmla="*/ 866374 h 1260351"/>
                    <a:gd name="connsiteX921" fmla="*/ 36016 w 779965"/>
                    <a:gd name="connsiteY921" fmla="*/ 865452 h 1260351"/>
                    <a:gd name="connsiteX922" fmla="*/ 34462 w 779965"/>
                    <a:gd name="connsiteY922" fmla="*/ 864359 h 1260351"/>
                    <a:gd name="connsiteX923" fmla="*/ 34012 w 779965"/>
                    <a:gd name="connsiteY923" fmla="*/ 862719 h 1260351"/>
                    <a:gd name="connsiteX924" fmla="*/ 34401 w 779965"/>
                    <a:gd name="connsiteY924" fmla="*/ 861347 h 1260351"/>
                    <a:gd name="connsiteX925" fmla="*/ 35737 w 779965"/>
                    <a:gd name="connsiteY925" fmla="*/ 860036 h 1260351"/>
                    <a:gd name="connsiteX926" fmla="*/ 37631 w 779965"/>
                    <a:gd name="connsiteY926" fmla="*/ 859125 h 1260351"/>
                    <a:gd name="connsiteX927" fmla="*/ 41189 w 779965"/>
                    <a:gd name="connsiteY927" fmla="*/ 857935 h 1260351"/>
                    <a:gd name="connsiteX928" fmla="*/ 44164 w 779965"/>
                    <a:gd name="connsiteY928" fmla="*/ 856466 h 1260351"/>
                    <a:gd name="connsiteX929" fmla="*/ 45779 w 779965"/>
                    <a:gd name="connsiteY929" fmla="*/ 855288 h 1260351"/>
                    <a:gd name="connsiteX930" fmla="*/ 46471 w 779965"/>
                    <a:gd name="connsiteY930" fmla="*/ 854571 h 1260351"/>
                    <a:gd name="connsiteX931" fmla="*/ 47151 w 779965"/>
                    <a:gd name="connsiteY931" fmla="*/ 853648 h 1260351"/>
                    <a:gd name="connsiteX932" fmla="*/ 47904 w 779965"/>
                    <a:gd name="connsiteY932" fmla="*/ 852191 h 1260351"/>
                    <a:gd name="connsiteX933" fmla="*/ 48487 w 779965"/>
                    <a:gd name="connsiteY933" fmla="*/ 850431 h 1260351"/>
                    <a:gd name="connsiteX934" fmla="*/ 48256 w 779965"/>
                    <a:gd name="connsiteY934" fmla="*/ 848245 h 1260351"/>
                    <a:gd name="connsiteX935" fmla="*/ 47455 w 779965"/>
                    <a:gd name="connsiteY935" fmla="*/ 847298 h 1260351"/>
                    <a:gd name="connsiteX936" fmla="*/ 46070 w 779965"/>
                    <a:gd name="connsiteY936" fmla="*/ 846751 h 1260351"/>
                    <a:gd name="connsiteX937" fmla="*/ 40667 w 779965"/>
                    <a:gd name="connsiteY937" fmla="*/ 845865 h 1260351"/>
                    <a:gd name="connsiteX938" fmla="*/ 39295 w 779965"/>
                    <a:gd name="connsiteY938" fmla="*/ 845416 h 1260351"/>
                    <a:gd name="connsiteX939" fmla="*/ 38323 w 779965"/>
                    <a:gd name="connsiteY939" fmla="*/ 844796 h 1260351"/>
                    <a:gd name="connsiteX940" fmla="*/ 37449 w 779965"/>
                    <a:gd name="connsiteY940" fmla="*/ 843971 h 1260351"/>
                    <a:gd name="connsiteX941" fmla="*/ 37048 w 779965"/>
                    <a:gd name="connsiteY941" fmla="*/ 843084 h 1260351"/>
                    <a:gd name="connsiteX942" fmla="*/ 37339 w 779965"/>
                    <a:gd name="connsiteY942" fmla="*/ 841384 h 1260351"/>
                    <a:gd name="connsiteX943" fmla="*/ 38202 w 779965"/>
                    <a:gd name="connsiteY943" fmla="*/ 839405 h 1260351"/>
                    <a:gd name="connsiteX944" fmla="*/ 40727 w 779965"/>
                    <a:gd name="connsiteY944" fmla="*/ 835604 h 1260351"/>
                    <a:gd name="connsiteX945" fmla="*/ 42100 w 779965"/>
                    <a:gd name="connsiteY945" fmla="*/ 834220 h 1260351"/>
                    <a:gd name="connsiteX946" fmla="*/ 43593 w 779965"/>
                    <a:gd name="connsiteY946" fmla="*/ 833673 h 1260351"/>
                    <a:gd name="connsiteX947" fmla="*/ 44917 w 779965"/>
                    <a:gd name="connsiteY947" fmla="*/ 834159 h 1260351"/>
                    <a:gd name="connsiteX948" fmla="*/ 50770 w 779965"/>
                    <a:gd name="connsiteY948" fmla="*/ 837146 h 1260351"/>
                    <a:gd name="connsiteX949" fmla="*/ 52846 w 779965"/>
                    <a:gd name="connsiteY949" fmla="*/ 837875 h 1260351"/>
                    <a:gd name="connsiteX950" fmla="*/ 54619 w 779965"/>
                    <a:gd name="connsiteY950" fmla="*/ 838130 h 1260351"/>
                    <a:gd name="connsiteX951" fmla="*/ 55942 w 779965"/>
                    <a:gd name="connsiteY951" fmla="*/ 838081 h 1260351"/>
                    <a:gd name="connsiteX952" fmla="*/ 56914 w 779965"/>
                    <a:gd name="connsiteY952" fmla="*/ 837644 h 1260351"/>
                    <a:gd name="connsiteX953" fmla="*/ 57655 w 779965"/>
                    <a:gd name="connsiteY953" fmla="*/ 835871 h 1260351"/>
                    <a:gd name="connsiteX954" fmla="*/ 58347 w 779965"/>
                    <a:gd name="connsiteY954" fmla="*/ 832969 h 1260351"/>
                    <a:gd name="connsiteX955" fmla="*/ 59513 w 779965"/>
                    <a:gd name="connsiteY955" fmla="*/ 822381 h 1260351"/>
                    <a:gd name="connsiteX956" fmla="*/ 60824 w 779965"/>
                    <a:gd name="connsiteY956" fmla="*/ 817329 h 1260351"/>
                    <a:gd name="connsiteX957" fmla="*/ 61285 w 779965"/>
                    <a:gd name="connsiteY957" fmla="*/ 816066 h 1260351"/>
                    <a:gd name="connsiteX958" fmla="*/ 61516 w 779965"/>
                    <a:gd name="connsiteY958" fmla="*/ 815131 h 1260351"/>
                    <a:gd name="connsiteX959" fmla="*/ 61795 w 779965"/>
                    <a:gd name="connsiteY959" fmla="*/ 812775 h 1260351"/>
                    <a:gd name="connsiteX960" fmla="*/ 61055 w 779965"/>
                    <a:gd name="connsiteY960" fmla="*/ 807930 h 1260351"/>
                    <a:gd name="connsiteX961" fmla="*/ 56805 w 779965"/>
                    <a:gd name="connsiteY961" fmla="*/ 795872 h 1260351"/>
                    <a:gd name="connsiteX962" fmla="*/ 55190 w 779965"/>
                    <a:gd name="connsiteY962" fmla="*/ 795180 h 1260351"/>
                    <a:gd name="connsiteX963" fmla="*/ 53878 w 779965"/>
                    <a:gd name="connsiteY963" fmla="*/ 794780 h 1260351"/>
                    <a:gd name="connsiteX964" fmla="*/ 52385 w 779965"/>
                    <a:gd name="connsiteY964" fmla="*/ 794500 h 1260351"/>
                    <a:gd name="connsiteX965" fmla="*/ 37279 w 779965"/>
                    <a:gd name="connsiteY965" fmla="*/ 793674 h 1260351"/>
                    <a:gd name="connsiteX966" fmla="*/ 35737 w 779965"/>
                    <a:gd name="connsiteY966" fmla="*/ 793152 h 1260351"/>
                    <a:gd name="connsiteX967" fmla="*/ 34984 w 779965"/>
                    <a:gd name="connsiteY967" fmla="*/ 791914 h 1260351"/>
                    <a:gd name="connsiteX968" fmla="*/ 34984 w 779965"/>
                    <a:gd name="connsiteY968" fmla="*/ 789959 h 1260351"/>
                    <a:gd name="connsiteX969" fmla="*/ 36830 w 779965"/>
                    <a:gd name="connsiteY969" fmla="*/ 783705 h 1260351"/>
                    <a:gd name="connsiteX970" fmla="*/ 36878 w 779965"/>
                    <a:gd name="connsiteY970" fmla="*/ 780925 h 1260351"/>
                    <a:gd name="connsiteX971" fmla="*/ 36708 w 779965"/>
                    <a:gd name="connsiteY971" fmla="*/ 778799 h 1260351"/>
                    <a:gd name="connsiteX972" fmla="*/ 36878 w 779965"/>
                    <a:gd name="connsiteY972" fmla="*/ 776517 h 1260351"/>
                    <a:gd name="connsiteX973" fmla="*/ 38202 w 779965"/>
                    <a:gd name="connsiteY973" fmla="*/ 774015 h 1260351"/>
                    <a:gd name="connsiteX974" fmla="*/ 40035 w 779965"/>
                    <a:gd name="connsiteY974" fmla="*/ 772752 h 1260351"/>
                    <a:gd name="connsiteX975" fmla="*/ 42403 w 779965"/>
                    <a:gd name="connsiteY975" fmla="*/ 771975 h 1260351"/>
                    <a:gd name="connsiteX976" fmla="*/ 53065 w 779965"/>
                    <a:gd name="connsiteY976" fmla="*/ 770894 h 1260351"/>
                    <a:gd name="connsiteX977" fmla="*/ 55080 w 779965"/>
                    <a:gd name="connsiteY977" fmla="*/ 770494 h 1260351"/>
                    <a:gd name="connsiteX978" fmla="*/ 57497 w 779965"/>
                    <a:gd name="connsiteY978" fmla="*/ 769632 h 1260351"/>
                    <a:gd name="connsiteX979" fmla="*/ 59962 w 779965"/>
                    <a:gd name="connsiteY979" fmla="*/ 767992 h 1260351"/>
                    <a:gd name="connsiteX980" fmla="*/ 65135 w 779965"/>
                    <a:gd name="connsiteY980" fmla="*/ 763087 h 1260351"/>
                    <a:gd name="connsiteX981" fmla="*/ 67150 w 779965"/>
                    <a:gd name="connsiteY981" fmla="*/ 761532 h 1260351"/>
                    <a:gd name="connsiteX982" fmla="*/ 68972 w 779965"/>
                    <a:gd name="connsiteY982" fmla="*/ 760561 h 1260351"/>
                    <a:gd name="connsiteX983" fmla="*/ 72821 w 779965"/>
                    <a:gd name="connsiteY983" fmla="*/ 759189 h 1260351"/>
                    <a:gd name="connsiteX984" fmla="*/ 74023 w 779965"/>
                    <a:gd name="connsiteY984" fmla="*/ 758582 h 1260351"/>
                    <a:gd name="connsiteX985" fmla="*/ 74825 w 779965"/>
                    <a:gd name="connsiteY985" fmla="*/ 757149 h 1260351"/>
                    <a:gd name="connsiteX986" fmla="*/ 74776 w 779965"/>
                    <a:gd name="connsiteY986" fmla="*/ 755315 h 1260351"/>
                    <a:gd name="connsiteX987" fmla="*/ 73756 w 779965"/>
                    <a:gd name="connsiteY987" fmla="*/ 751636 h 1260351"/>
                    <a:gd name="connsiteX988" fmla="*/ 72943 w 779965"/>
                    <a:gd name="connsiteY988" fmla="*/ 749693 h 1260351"/>
                    <a:gd name="connsiteX989" fmla="*/ 72263 w 779965"/>
                    <a:gd name="connsiteY989" fmla="*/ 746985 h 1260351"/>
                    <a:gd name="connsiteX990" fmla="*/ 72020 w 779965"/>
                    <a:gd name="connsiteY990" fmla="*/ 743852 h 1260351"/>
                    <a:gd name="connsiteX991" fmla="*/ 72542 w 779965"/>
                    <a:gd name="connsiteY991" fmla="*/ 731527 h 1260351"/>
                    <a:gd name="connsiteX992" fmla="*/ 73052 w 779965"/>
                    <a:gd name="connsiteY992" fmla="*/ 729730 h 1260351"/>
                    <a:gd name="connsiteX993" fmla="*/ 74315 w 779965"/>
                    <a:gd name="connsiteY993" fmla="*/ 726512 h 1260351"/>
                    <a:gd name="connsiteX994" fmla="*/ 75578 w 779965"/>
                    <a:gd name="connsiteY994" fmla="*/ 724460 h 1260351"/>
                    <a:gd name="connsiteX995" fmla="*/ 76379 w 779965"/>
                    <a:gd name="connsiteY995" fmla="*/ 722153 h 1260351"/>
                    <a:gd name="connsiteX996" fmla="*/ 75250 w 779965"/>
                    <a:gd name="connsiteY996" fmla="*/ 719906 h 1260351"/>
                    <a:gd name="connsiteX997" fmla="*/ 74546 w 779965"/>
                    <a:gd name="connsiteY997" fmla="*/ 719068 h 1260351"/>
                    <a:gd name="connsiteX998" fmla="*/ 74023 w 779965"/>
                    <a:gd name="connsiteY998" fmla="*/ 717890 h 1260351"/>
                    <a:gd name="connsiteX999" fmla="*/ 73756 w 779965"/>
                    <a:gd name="connsiteY999" fmla="*/ 716397 h 1260351"/>
                    <a:gd name="connsiteX1000" fmla="*/ 74084 w 779965"/>
                    <a:gd name="connsiteY1000" fmla="*/ 707812 h 1260351"/>
                    <a:gd name="connsiteX1001" fmla="*/ 74266 w 779965"/>
                    <a:gd name="connsiteY1001" fmla="*/ 706719 h 1260351"/>
                    <a:gd name="connsiteX1002" fmla="*/ 74315 w 779965"/>
                    <a:gd name="connsiteY1002" fmla="*/ 705748 h 1260351"/>
                    <a:gd name="connsiteX1003" fmla="*/ 74023 w 779965"/>
                    <a:gd name="connsiteY1003" fmla="*/ 704825 h 1260351"/>
                    <a:gd name="connsiteX1004" fmla="*/ 72590 w 779965"/>
                    <a:gd name="connsiteY1004" fmla="*/ 703805 h 1260351"/>
                    <a:gd name="connsiteX1005" fmla="*/ 71328 w 779965"/>
                    <a:gd name="connsiteY1005" fmla="*/ 703137 h 1260351"/>
                    <a:gd name="connsiteX1006" fmla="*/ 70016 w 779965"/>
                    <a:gd name="connsiteY1006" fmla="*/ 702554 h 1260351"/>
                    <a:gd name="connsiteX1007" fmla="*/ 67199 w 779965"/>
                    <a:gd name="connsiteY1007" fmla="*/ 701752 h 1260351"/>
                    <a:gd name="connsiteX1008" fmla="*/ 65997 w 779965"/>
                    <a:gd name="connsiteY1008" fmla="*/ 701667 h 1260351"/>
                    <a:gd name="connsiteX1009" fmla="*/ 64503 w 779965"/>
                    <a:gd name="connsiteY1009" fmla="*/ 701850 h 1260351"/>
                    <a:gd name="connsiteX1010" fmla="*/ 63289 w 779965"/>
                    <a:gd name="connsiteY1010" fmla="*/ 702311 h 1260351"/>
                    <a:gd name="connsiteX1011" fmla="*/ 59962 w 779965"/>
                    <a:gd name="connsiteY1011" fmla="*/ 704740 h 1260351"/>
                    <a:gd name="connsiteX1012" fmla="*/ 57145 w 779965"/>
                    <a:gd name="connsiteY1012" fmla="*/ 706343 h 1260351"/>
                    <a:gd name="connsiteX1013" fmla="*/ 55542 w 779965"/>
                    <a:gd name="connsiteY1013" fmla="*/ 706962 h 1260351"/>
                    <a:gd name="connsiteX1014" fmla="*/ 53878 w 779965"/>
                    <a:gd name="connsiteY1014" fmla="*/ 707192 h 1260351"/>
                    <a:gd name="connsiteX1015" fmla="*/ 52263 w 779965"/>
                    <a:gd name="connsiteY1015" fmla="*/ 706937 h 1260351"/>
                    <a:gd name="connsiteX1016" fmla="*/ 51292 w 779965"/>
                    <a:gd name="connsiteY1016" fmla="*/ 706452 h 1260351"/>
                    <a:gd name="connsiteX1017" fmla="*/ 50539 w 779965"/>
                    <a:gd name="connsiteY1017" fmla="*/ 705760 h 1260351"/>
                    <a:gd name="connsiteX1018" fmla="*/ 50138 w 779965"/>
                    <a:gd name="connsiteY1018" fmla="*/ 704788 h 1260351"/>
                    <a:gd name="connsiteX1019" fmla="*/ 50078 w 779965"/>
                    <a:gd name="connsiteY1019" fmla="*/ 703112 h 1260351"/>
                    <a:gd name="connsiteX1020" fmla="*/ 50381 w 779965"/>
                    <a:gd name="connsiteY1020" fmla="*/ 701315 h 1260351"/>
                    <a:gd name="connsiteX1021" fmla="*/ 51632 w 779965"/>
                    <a:gd name="connsiteY1021" fmla="*/ 698498 h 1260351"/>
                    <a:gd name="connsiteX1022" fmla="*/ 52785 w 779965"/>
                    <a:gd name="connsiteY1022" fmla="*/ 696920 h 1260351"/>
                    <a:gd name="connsiteX1023" fmla="*/ 54279 w 779965"/>
                    <a:gd name="connsiteY1023" fmla="*/ 695572 h 1260351"/>
                    <a:gd name="connsiteX1024" fmla="*/ 62148 w 779965"/>
                    <a:gd name="connsiteY1024" fmla="*/ 691868 h 1260351"/>
                    <a:gd name="connsiteX1025" fmla="*/ 63471 w 779965"/>
                    <a:gd name="connsiteY1025" fmla="*/ 690836 h 1260351"/>
                    <a:gd name="connsiteX1026" fmla="*/ 64382 w 779965"/>
                    <a:gd name="connsiteY1026" fmla="*/ 688918 h 1260351"/>
                    <a:gd name="connsiteX1027" fmla="*/ 64783 w 779965"/>
                    <a:gd name="connsiteY1027" fmla="*/ 685930 h 1260351"/>
                    <a:gd name="connsiteX1028" fmla="*/ 61747 w 779965"/>
                    <a:gd name="connsiteY1028" fmla="*/ 669622 h 1260351"/>
                    <a:gd name="connsiteX1029" fmla="*/ 61686 w 779965"/>
                    <a:gd name="connsiteY1029" fmla="*/ 650618 h 1260351"/>
                    <a:gd name="connsiteX1030" fmla="*/ 61577 w 779965"/>
                    <a:gd name="connsiteY1030" fmla="*/ 646514 h 1260351"/>
                    <a:gd name="connsiteX1031" fmla="*/ 61334 w 779965"/>
                    <a:gd name="connsiteY1031" fmla="*/ 644753 h 1260351"/>
                    <a:gd name="connsiteX1032" fmla="*/ 60885 w 779965"/>
                    <a:gd name="connsiteY1032" fmla="*/ 642507 h 1260351"/>
                    <a:gd name="connsiteX1033" fmla="*/ 60023 w 779965"/>
                    <a:gd name="connsiteY1033" fmla="*/ 640953 h 1260351"/>
                    <a:gd name="connsiteX1034" fmla="*/ 58820 w 779965"/>
                    <a:gd name="connsiteY1034" fmla="*/ 639641 h 1260351"/>
                    <a:gd name="connsiteX1035" fmla="*/ 57436 w 779965"/>
                    <a:gd name="connsiteY1035" fmla="*/ 638949 h 1260351"/>
                    <a:gd name="connsiteX1036" fmla="*/ 56222 w 779965"/>
                    <a:gd name="connsiteY1036" fmla="*/ 638864 h 1260351"/>
                    <a:gd name="connsiteX1037" fmla="*/ 54619 w 779965"/>
                    <a:gd name="connsiteY1037" fmla="*/ 639229 h 1260351"/>
                    <a:gd name="connsiteX1038" fmla="*/ 51693 w 779965"/>
                    <a:gd name="connsiteY1038" fmla="*/ 640236 h 1260351"/>
                    <a:gd name="connsiteX1039" fmla="*/ 50721 w 779965"/>
                    <a:gd name="connsiteY1039" fmla="*/ 640418 h 1260351"/>
                    <a:gd name="connsiteX1040" fmla="*/ 49458 w 779965"/>
                    <a:gd name="connsiteY1040" fmla="*/ 640382 h 1260351"/>
                    <a:gd name="connsiteX1041" fmla="*/ 47564 w 779965"/>
                    <a:gd name="connsiteY1041" fmla="*/ 640042 h 1260351"/>
                    <a:gd name="connsiteX1042" fmla="*/ 45779 w 779965"/>
                    <a:gd name="connsiteY1042" fmla="*/ 639192 h 1260351"/>
                    <a:gd name="connsiteX1043" fmla="*/ 44225 w 779965"/>
                    <a:gd name="connsiteY1043" fmla="*/ 638026 h 1260351"/>
                    <a:gd name="connsiteX1044" fmla="*/ 42792 w 779965"/>
                    <a:gd name="connsiteY1044" fmla="*/ 636338 h 1260351"/>
                    <a:gd name="connsiteX1045" fmla="*/ 41699 w 779965"/>
                    <a:gd name="connsiteY1045" fmla="*/ 634699 h 1260351"/>
                    <a:gd name="connsiteX1046" fmla="*/ 40035 w 779965"/>
                    <a:gd name="connsiteY1046" fmla="*/ 630850 h 1260351"/>
                    <a:gd name="connsiteX1047" fmla="*/ 38942 w 779965"/>
                    <a:gd name="connsiteY1047" fmla="*/ 626867 h 1260351"/>
                    <a:gd name="connsiteX1048" fmla="*/ 38833 w 779965"/>
                    <a:gd name="connsiteY1048" fmla="*/ 624025 h 1260351"/>
                    <a:gd name="connsiteX1049" fmla="*/ 39125 w 779965"/>
                    <a:gd name="connsiteY1049" fmla="*/ 621876 h 1260351"/>
                    <a:gd name="connsiteX1050" fmla="*/ 41189 w 779965"/>
                    <a:gd name="connsiteY1050" fmla="*/ 614688 h 1260351"/>
                    <a:gd name="connsiteX1051" fmla="*/ 42962 w 779965"/>
                    <a:gd name="connsiteY1051" fmla="*/ 602120 h 1260351"/>
                    <a:gd name="connsiteX1052" fmla="*/ 43472 w 779965"/>
                    <a:gd name="connsiteY1052" fmla="*/ 600080 h 1260351"/>
                    <a:gd name="connsiteX1053" fmla="*/ 44577 w 779965"/>
                    <a:gd name="connsiteY1053" fmla="*/ 597724 h 1260351"/>
                    <a:gd name="connsiteX1054" fmla="*/ 45961 w 779965"/>
                    <a:gd name="connsiteY1054" fmla="*/ 595927 h 1260351"/>
                    <a:gd name="connsiteX1055" fmla="*/ 48195 w 779965"/>
                    <a:gd name="connsiteY1055" fmla="*/ 593863 h 1260351"/>
                    <a:gd name="connsiteX1056" fmla="*/ 60193 w 779965"/>
                    <a:gd name="connsiteY1056" fmla="*/ 586225 h 1260351"/>
                    <a:gd name="connsiteX1057" fmla="*/ 74667 w 779965"/>
                    <a:gd name="connsiteY1057" fmla="*/ 579158 h 1260351"/>
                    <a:gd name="connsiteX1058" fmla="*/ 76841 w 779965"/>
                    <a:gd name="connsiteY1058" fmla="*/ 577385 h 1260351"/>
                    <a:gd name="connsiteX1059" fmla="*/ 82305 w 779965"/>
                    <a:gd name="connsiteY1059" fmla="*/ 571932 h 1260351"/>
                    <a:gd name="connsiteX1060" fmla="*/ 84539 w 779965"/>
                    <a:gd name="connsiteY1060" fmla="*/ 567537 h 1260351"/>
                    <a:gd name="connsiteX1061" fmla="*/ 84649 w 779965"/>
                    <a:gd name="connsiteY1061" fmla="*/ 557895 h 1260351"/>
                    <a:gd name="connsiteX1062" fmla="*/ 88218 w 779965"/>
                    <a:gd name="connsiteY1062" fmla="*/ 548557 h 1260351"/>
                    <a:gd name="connsiteX1063" fmla="*/ 89712 w 779965"/>
                    <a:gd name="connsiteY1063" fmla="*/ 541527 h 1260351"/>
                    <a:gd name="connsiteX1064" fmla="*/ 92578 w 779965"/>
                    <a:gd name="connsiteY1064" fmla="*/ 533913 h 1260351"/>
                    <a:gd name="connsiteX1065" fmla="*/ 93149 w 779965"/>
                    <a:gd name="connsiteY1065" fmla="*/ 529068 h 1260351"/>
                    <a:gd name="connsiteX1066" fmla="*/ 91898 w 779965"/>
                    <a:gd name="connsiteY1066" fmla="*/ 511861 h 1260351"/>
                    <a:gd name="connsiteX1067" fmla="*/ 92469 w 779965"/>
                    <a:gd name="connsiteY1067" fmla="*/ 508510 h 1260351"/>
                    <a:gd name="connsiteX1068" fmla="*/ 93149 w 779965"/>
                    <a:gd name="connsiteY1068" fmla="*/ 505936 h 1260351"/>
                    <a:gd name="connsiteX1069" fmla="*/ 94302 w 779965"/>
                    <a:gd name="connsiteY1069" fmla="*/ 486579 h 1260351"/>
                    <a:gd name="connsiteX1070" fmla="*/ 96075 w 779965"/>
                    <a:gd name="connsiteY1070" fmla="*/ 481249 h 1260351"/>
                    <a:gd name="connsiteX1071" fmla="*/ 98722 w 779965"/>
                    <a:gd name="connsiteY1071" fmla="*/ 478286 h 1260351"/>
                    <a:gd name="connsiteX1072" fmla="*/ 105036 w 779965"/>
                    <a:gd name="connsiteY1072" fmla="*/ 477363 h 1260351"/>
                    <a:gd name="connsiteX1073" fmla="*/ 108315 w 779965"/>
                    <a:gd name="connsiteY1073" fmla="*/ 474789 h 1260351"/>
                    <a:gd name="connsiteX1074" fmla="*/ 111411 w 779965"/>
                    <a:gd name="connsiteY1074" fmla="*/ 469191 h 1260351"/>
                    <a:gd name="connsiteX1075" fmla="*/ 114447 w 779965"/>
                    <a:gd name="connsiteY1075" fmla="*/ 460655 h 1260351"/>
                    <a:gd name="connsiteX1076" fmla="*/ 113537 w 779965"/>
                    <a:gd name="connsiteY1076" fmla="*/ 448512 h 1260351"/>
                    <a:gd name="connsiteX1077" fmla="*/ 113937 w 779965"/>
                    <a:gd name="connsiteY1077" fmla="*/ 440048 h 1260351"/>
                    <a:gd name="connsiteX1078" fmla="*/ 115661 w 779965"/>
                    <a:gd name="connsiteY1078" fmla="*/ 434790 h 1260351"/>
                    <a:gd name="connsiteX1079" fmla="*/ 123299 w 779965"/>
                    <a:gd name="connsiteY1079" fmla="*/ 419114 h 1260351"/>
                    <a:gd name="connsiteX1080" fmla="*/ 126748 w 779965"/>
                    <a:gd name="connsiteY1080" fmla="*/ 413601 h 1260351"/>
                    <a:gd name="connsiteX1081" fmla="*/ 129674 w 779965"/>
                    <a:gd name="connsiteY1081" fmla="*/ 411221 h 1260351"/>
                    <a:gd name="connsiteX1082" fmla="*/ 132589 w 779965"/>
                    <a:gd name="connsiteY1082" fmla="*/ 410735 h 1260351"/>
                    <a:gd name="connsiteX1083" fmla="*/ 135479 w 779965"/>
                    <a:gd name="connsiteY1083" fmla="*/ 412107 h 1260351"/>
                    <a:gd name="connsiteX1084" fmla="*/ 140688 w 779965"/>
                    <a:gd name="connsiteY1084" fmla="*/ 420000 h 1260351"/>
                    <a:gd name="connsiteX1085" fmla="*/ 142133 w 779965"/>
                    <a:gd name="connsiteY1085" fmla="*/ 420692 h 1260351"/>
                    <a:gd name="connsiteX1086" fmla="*/ 143614 w 779965"/>
                    <a:gd name="connsiteY1086" fmla="*/ 420182 h 1260351"/>
                    <a:gd name="connsiteX1087" fmla="*/ 145290 w 779965"/>
                    <a:gd name="connsiteY1087" fmla="*/ 417960 h 1260351"/>
                    <a:gd name="connsiteX1088" fmla="*/ 145472 w 779965"/>
                    <a:gd name="connsiteY1088" fmla="*/ 415094 h 1260351"/>
                    <a:gd name="connsiteX1089" fmla="*/ 144610 w 779965"/>
                    <a:gd name="connsiteY1089" fmla="*/ 412544 h 1260351"/>
                    <a:gd name="connsiteX1090" fmla="*/ 142485 w 779965"/>
                    <a:gd name="connsiteY1090" fmla="*/ 409156 h 1260351"/>
                    <a:gd name="connsiteX1091" fmla="*/ 142303 w 779965"/>
                    <a:gd name="connsiteY1091" fmla="*/ 407869 h 1260351"/>
                    <a:gd name="connsiteX1092" fmla="*/ 143105 w 779965"/>
                    <a:gd name="connsiteY1092" fmla="*/ 407092 h 1260351"/>
                    <a:gd name="connsiteX1093" fmla="*/ 146262 w 779965"/>
                    <a:gd name="connsiteY1093" fmla="*/ 406120 h 1260351"/>
                    <a:gd name="connsiteX1094" fmla="*/ 147877 w 779965"/>
                    <a:gd name="connsiteY1094" fmla="*/ 404906 h 1260351"/>
                    <a:gd name="connsiteX1095" fmla="*/ 148739 w 779965"/>
                    <a:gd name="connsiteY1095" fmla="*/ 402672 h 1260351"/>
                    <a:gd name="connsiteX1096" fmla="*/ 149249 w 779965"/>
                    <a:gd name="connsiteY1096" fmla="*/ 392217 h 1260351"/>
                    <a:gd name="connsiteX1097" fmla="*/ 150633 w 779965"/>
                    <a:gd name="connsiteY1097" fmla="*/ 388938 h 1260351"/>
                    <a:gd name="connsiteX1098" fmla="*/ 153110 w 779965"/>
                    <a:gd name="connsiteY1098" fmla="*/ 385951 h 1260351"/>
                    <a:gd name="connsiteX1099" fmla="*/ 154932 w 779965"/>
                    <a:gd name="connsiteY1099" fmla="*/ 384409 h 1260351"/>
                    <a:gd name="connsiteX1100" fmla="*/ 162752 w 779965"/>
                    <a:gd name="connsiteY1100" fmla="*/ 379868 h 1260351"/>
                    <a:gd name="connsiteX1101" fmla="*/ 167172 w 779965"/>
                    <a:gd name="connsiteY1101" fmla="*/ 372412 h 1260351"/>
                    <a:gd name="connsiteX1102" fmla="*/ 167803 w 779965"/>
                    <a:gd name="connsiteY1102" fmla="*/ 369012 h 1260351"/>
                    <a:gd name="connsiteX1103" fmla="*/ 168143 w 779965"/>
                    <a:gd name="connsiteY1103" fmla="*/ 363936 h 1260351"/>
                    <a:gd name="connsiteX1104" fmla="*/ 167512 w 779965"/>
                    <a:gd name="connsiteY1104" fmla="*/ 358508 h 1260351"/>
                    <a:gd name="connsiteX1105" fmla="*/ 167864 w 779965"/>
                    <a:gd name="connsiteY1105" fmla="*/ 351526 h 1260351"/>
                    <a:gd name="connsiteX1106" fmla="*/ 169418 w 779965"/>
                    <a:gd name="connsiteY1106" fmla="*/ 347118 h 1260351"/>
                    <a:gd name="connsiteX1107" fmla="*/ 175781 w 779965"/>
                    <a:gd name="connsiteY1107" fmla="*/ 338752 h 1260351"/>
                    <a:gd name="connsiteX1108" fmla="*/ 178246 w 779965"/>
                    <a:gd name="connsiteY1108" fmla="*/ 336177 h 1260351"/>
                    <a:gd name="connsiteX1109" fmla="*/ 180493 w 779965"/>
                    <a:gd name="connsiteY1109" fmla="*/ 335109 h 1260351"/>
                    <a:gd name="connsiteX1110" fmla="*/ 182278 w 779965"/>
                    <a:gd name="connsiteY1110" fmla="*/ 335509 h 1260351"/>
                    <a:gd name="connsiteX1111" fmla="*/ 183298 w 779965"/>
                    <a:gd name="connsiteY1111" fmla="*/ 337404 h 1260351"/>
                    <a:gd name="connsiteX1112" fmla="*/ 184621 w 779965"/>
                    <a:gd name="connsiteY1112" fmla="*/ 341314 h 1260351"/>
                    <a:gd name="connsiteX1113" fmla="*/ 186516 w 779965"/>
                    <a:gd name="connsiteY1113" fmla="*/ 342309 h 1260351"/>
                    <a:gd name="connsiteX1114" fmla="*/ 188932 w 779965"/>
                    <a:gd name="connsiteY1114" fmla="*/ 342868 h 1260351"/>
                    <a:gd name="connsiteX1115" fmla="*/ 193291 w 779965"/>
                    <a:gd name="connsiteY1115" fmla="*/ 340901 h 1260351"/>
                    <a:gd name="connsiteX1116" fmla="*/ 196849 w 779965"/>
                    <a:gd name="connsiteY1116" fmla="*/ 337865 h 1260351"/>
                    <a:gd name="connsiteX1117" fmla="*/ 199776 w 779965"/>
                    <a:gd name="connsiteY1117" fmla="*/ 336918 h 1260351"/>
                    <a:gd name="connsiteX1118" fmla="*/ 204949 w 779965"/>
                    <a:gd name="connsiteY1118" fmla="*/ 336262 h 1260351"/>
                    <a:gd name="connsiteX1119" fmla="*/ 209490 w 779965"/>
                    <a:gd name="connsiteY1119" fmla="*/ 332474 h 1260351"/>
                    <a:gd name="connsiteX1120" fmla="*/ 212004 w 779965"/>
                    <a:gd name="connsiteY1120" fmla="*/ 332292 h 1260351"/>
                    <a:gd name="connsiteX1121" fmla="*/ 214772 w 779965"/>
                    <a:gd name="connsiteY1121" fmla="*/ 333360 h 1260351"/>
                    <a:gd name="connsiteX1122" fmla="*/ 216897 w 779965"/>
                    <a:gd name="connsiteY1122" fmla="*/ 335631 h 1260351"/>
                    <a:gd name="connsiteX1123" fmla="*/ 220467 w 779965"/>
                    <a:gd name="connsiteY1123" fmla="*/ 342079 h 1260351"/>
                    <a:gd name="connsiteX1124" fmla="*/ 223212 w 779965"/>
                    <a:gd name="connsiteY1124" fmla="*/ 344240 h 1260351"/>
                    <a:gd name="connsiteX1125" fmla="*/ 225919 w 779965"/>
                    <a:gd name="connsiteY1125" fmla="*/ 343657 h 1260351"/>
                    <a:gd name="connsiteX1126" fmla="*/ 228894 w 779965"/>
                    <a:gd name="connsiteY1126" fmla="*/ 341799 h 1260351"/>
                    <a:gd name="connsiteX1127" fmla="*/ 231080 w 779965"/>
                    <a:gd name="connsiteY1127" fmla="*/ 339383 h 1260351"/>
                    <a:gd name="connsiteX1128" fmla="*/ 234589 w 779965"/>
                    <a:gd name="connsiteY1128" fmla="*/ 337319 h 1260351"/>
                    <a:gd name="connsiteX1129" fmla="*/ 237054 w 779965"/>
                    <a:gd name="connsiteY1129" fmla="*/ 335509 h 1260351"/>
                    <a:gd name="connsiteX1130" fmla="*/ 240952 w 779965"/>
                    <a:gd name="connsiteY1130" fmla="*/ 331575 h 1260351"/>
                    <a:gd name="connsiteX1131" fmla="*/ 246065 w 779965"/>
                    <a:gd name="connsiteY1131" fmla="*/ 327956 h 1260351"/>
                    <a:gd name="connsiteX1132" fmla="*/ 249805 w 779965"/>
                    <a:gd name="connsiteY1132" fmla="*/ 327276 h 1260351"/>
                    <a:gd name="connsiteX1133" fmla="*/ 253302 w 779965"/>
                    <a:gd name="connsiteY1133" fmla="*/ 325831 h 1260351"/>
                    <a:gd name="connsiteX1134" fmla="*/ 258013 w 779965"/>
                    <a:gd name="connsiteY1134" fmla="*/ 325261 h 1260351"/>
                    <a:gd name="connsiteX1135" fmla="*/ 261923 w 779965"/>
                    <a:gd name="connsiteY1135" fmla="*/ 323791 h 1260351"/>
                    <a:gd name="connsiteX1136" fmla="*/ 265299 w 779965"/>
                    <a:gd name="connsiteY1136" fmla="*/ 321873 h 1260351"/>
                    <a:gd name="connsiteX1137" fmla="*/ 266562 w 779965"/>
                    <a:gd name="connsiteY1137" fmla="*/ 319918 h 1260351"/>
                    <a:gd name="connsiteX1138" fmla="*/ 266793 w 779965"/>
                    <a:gd name="connsiteY1138" fmla="*/ 317052 h 1260351"/>
                    <a:gd name="connsiteX1139" fmla="*/ 267715 w 779965"/>
                    <a:gd name="connsiteY1139" fmla="*/ 313919 h 1260351"/>
                    <a:gd name="connsiteX1140" fmla="*/ 270472 w 779965"/>
                    <a:gd name="connsiteY1140" fmla="*/ 310361 h 1260351"/>
                    <a:gd name="connsiteX1141" fmla="*/ 281267 w 779965"/>
                    <a:gd name="connsiteY1141" fmla="*/ 302869 h 1260351"/>
                    <a:gd name="connsiteX1142" fmla="*/ 285796 w 779965"/>
                    <a:gd name="connsiteY1142" fmla="*/ 302092 h 1260351"/>
                    <a:gd name="connsiteX1143" fmla="*/ 288613 w 779965"/>
                    <a:gd name="connsiteY1143" fmla="*/ 299566 h 1260351"/>
                    <a:gd name="connsiteX1144" fmla="*/ 288674 w 779965"/>
                    <a:gd name="connsiteY1144" fmla="*/ 295948 h 1260351"/>
                    <a:gd name="connsiteX1145" fmla="*/ 287581 w 779965"/>
                    <a:gd name="connsiteY1145" fmla="*/ 292013 h 1260351"/>
                    <a:gd name="connsiteX1146" fmla="*/ 287763 w 779965"/>
                    <a:gd name="connsiteY1146" fmla="*/ 289233 h 1260351"/>
                    <a:gd name="connsiteX1147" fmla="*/ 288893 w 779965"/>
                    <a:gd name="connsiteY1147" fmla="*/ 287448 h 1260351"/>
                    <a:gd name="connsiteX1148" fmla="*/ 292111 w 779965"/>
                    <a:gd name="connsiteY1148" fmla="*/ 283683 h 1260351"/>
                    <a:gd name="connsiteX1149" fmla="*/ 291843 w 779965"/>
                    <a:gd name="connsiteY1149" fmla="*/ 276483 h 1260351"/>
                    <a:gd name="connsiteX1150" fmla="*/ 290568 w 779965"/>
                    <a:gd name="connsiteY1150" fmla="*/ 270132 h 1260351"/>
                    <a:gd name="connsiteX1151" fmla="*/ 291030 w 779965"/>
                    <a:gd name="connsiteY1151" fmla="*/ 265627 h 1260351"/>
                    <a:gd name="connsiteX1152" fmla="*/ 292754 w 779965"/>
                    <a:gd name="connsiteY1152" fmla="*/ 262239 h 1260351"/>
                    <a:gd name="connsiteX1153" fmla="*/ 296251 w 779965"/>
                    <a:gd name="connsiteY1153" fmla="*/ 260490 h 1260351"/>
                    <a:gd name="connsiteX1154" fmla="*/ 303488 w 779965"/>
                    <a:gd name="connsiteY1154" fmla="*/ 258341 h 1260351"/>
                    <a:gd name="connsiteX1155" fmla="*/ 307156 w 779965"/>
                    <a:gd name="connsiteY1155" fmla="*/ 256605 h 1260351"/>
                    <a:gd name="connsiteX1156" fmla="*/ 314854 w 779965"/>
                    <a:gd name="connsiteY1156" fmla="*/ 250436 h 1260351"/>
                    <a:gd name="connsiteX1157" fmla="*/ 321229 w 779965"/>
                    <a:gd name="connsiteY1157" fmla="*/ 243891 h 1260351"/>
                    <a:gd name="connsiteX1158" fmla="*/ 322031 w 779965"/>
                    <a:gd name="connsiteY1158" fmla="*/ 240479 h 1260351"/>
                    <a:gd name="connsiteX1159" fmla="*/ 319906 w 779965"/>
                    <a:gd name="connsiteY1159" fmla="*/ 233327 h 1260351"/>
                    <a:gd name="connsiteX1160" fmla="*/ 320088 w 779965"/>
                    <a:gd name="connsiteY1160" fmla="*/ 229769 h 1260351"/>
                    <a:gd name="connsiteX1161" fmla="*/ 322322 w 779965"/>
                    <a:gd name="connsiteY1161" fmla="*/ 224693 h 1260351"/>
                    <a:gd name="connsiteX1162" fmla="*/ 326062 w 779965"/>
                    <a:gd name="connsiteY1162" fmla="*/ 222216 h 1260351"/>
                    <a:gd name="connsiteX1163" fmla="*/ 336275 w 779965"/>
                    <a:gd name="connsiteY1163" fmla="*/ 219059 h 1260351"/>
                    <a:gd name="connsiteX1164" fmla="*/ 345697 w 779965"/>
                    <a:gd name="connsiteY1164" fmla="*/ 213339 h 1260351"/>
                    <a:gd name="connsiteX1165" fmla="*/ 349255 w 779965"/>
                    <a:gd name="connsiteY1165" fmla="*/ 212684 h 1260351"/>
                    <a:gd name="connsiteX1166" fmla="*/ 353275 w 779965"/>
                    <a:gd name="connsiteY1166" fmla="*/ 213084 h 1260351"/>
                    <a:gd name="connsiteX1167" fmla="*/ 356650 w 779965"/>
                    <a:gd name="connsiteY1167" fmla="*/ 214116 h 1260351"/>
                    <a:gd name="connsiteX1168" fmla="*/ 359018 w 779965"/>
                    <a:gd name="connsiteY1168" fmla="*/ 210789 h 1260351"/>
                    <a:gd name="connsiteX1169" fmla="*/ 361763 w 779965"/>
                    <a:gd name="connsiteY1169" fmla="*/ 203880 h 1260351"/>
                    <a:gd name="connsiteX1170" fmla="*/ 361945 w 779965"/>
                    <a:gd name="connsiteY1170" fmla="*/ 199472 h 1260351"/>
                    <a:gd name="connsiteX1171" fmla="*/ 363317 w 779965"/>
                    <a:gd name="connsiteY1171" fmla="*/ 191616 h 1260351"/>
                    <a:gd name="connsiteX1172" fmla="*/ 368028 w 779965"/>
                    <a:gd name="connsiteY1172" fmla="*/ 176085 h 1260351"/>
                    <a:gd name="connsiteX1173" fmla="*/ 367336 w 779965"/>
                    <a:gd name="connsiteY1173" fmla="*/ 171980 h 1260351"/>
                    <a:gd name="connsiteX1174" fmla="*/ 364980 w 779965"/>
                    <a:gd name="connsiteY1174" fmla="*/ 168641 h 1260351"/>
                    <a:gd name="connsiteX1175" fmla="*/ 357804 w 779965"/>
                    <a:gd name="connsiteY1175" fmla="*/ 163966 h 1260351"/>
                    <a:gd name="connsiteX1176" fmla="*/ 355849 w 779965"/>
                    <a:gd name="connsiteY1176" fmla="*/ 161513 h 1260351"/>
                    <a:gd name="connsiteX1177" fmla="*/ 353675 w 779965"/>
                    <a:gd name="connsiteY1177" fmla="*/ 160226 h 1260351"/>
                    <a:gd name="connsiteX1178" fmla="*/ 350858 w 779965"/>
                    <a:gd name="connsiteY1178" fmla="*/ 159655 h 1260351"/>
                    <a:gd name="connsiteX1179" fmla="*/ 340585 w 779965"/>
                    <a:gd name="connsiteY1179" fmla="*/ 161234 h 1260351"/>
                    <a:gd name="connsiteX1180" fmla="*/ 338861 w 779965"/>
                    <a:gd name="connsiteY1180" fmla="*/ 160469 h 1260351"/>
                    <a:gd name="connsiteX1181" fmla="*/ 338059 w 779965"/>
                    <a:gd name="connsiteY1181" fmla="*/ 158769 h 1260351"/>
                    <a:gd name="connsiteX1182" fmla="*/ 337319 w 779965"/>
                    <a:gd name="connsiteY1182" fmla="*/ 156474 h 1260351"/>
                    <a:gd name="connsiteX1183" fmla="*/ 335704 w 779965"/>
                    <a:gd name="connsiteY1183" fmla="*/ 155588 h 1260351"/>
                    <a:gd name="connsiteX1184" fmla="*/ 333396 w 779965"/>
                    <a:gd name="connsiteY1184" fmla="*/ 155588 h 1260351"/>
                    <a:gd name="connsiteX1185" fmla="*/ 330822 w 779965"/>
                    <a:gd name="connsiteY1185" fmla="*/ 153936 h 1260351"/>
                    <a:gd name="connsiteX1186" fmla="*/ 327835 w 779965"/>
                    <a:gd name="connsiteY1186" fmla="*/ 150074 h 1260351"/>
                    <a:gd name="connsiteX1187" fmla="*/ 323136 w 779965"/>
                    <a:gd name="connsiteY1187" fmla="*/ 140822 h 1260351"/>
                    <a:gd name="connsiteX1188" fmla="*/ 318813 w 779965"/>
                    <a:gd name="connsiteY1188" fmla="*/ 135139 h 1260351"/>
                    <a:gd name="connsiteX1189" fmla="*/ 315036 w 779965"/>
                    <a:gd name="connsiteY1189" fmla="*/ 133208 h 1260351"/>
                    <a:gd name="connsiteX1190" fmla="*/ 305844 w 779965"/>
                    <a:gd name="connsiteY1190" fmla="*/ 132698 h 1260351"/>
                    <a:gd name="connsiteX1191" fmla="*/ 295037 w 779965"/>
                    <a:gd name="connsiteY1191" fmla="*/ 128108 h 1260351"/>
                    <a:gd name="connsiteX1192" fmla="*/ 290969 w 779965"/>
                    <a:gd name="connsiteY1192" fmla="*/ 127015 h 1260351"/>
                    <a:gd name="connsiteX1193" fmla="*/ 287302 w 779965"/>
                    <a:gd name="connsiteY1193" fmla="*/ 125606 h 1260351"/>
                    <a:gd name="connsiteX1194" fmla="*/ 284533 w 779965"/>
                    <a:gd name="connsiteY1194" fmla="*/ 125813 h 1260351"/>
                    <a:gd name="connsiteX1195" fmla="*/ 282530 w 779965"/>
                    <a:gd name="connsiteY1195" fmla="*/ 127100 h 1260351"/>
                    <a:gd name="connsiteX1196" fmla="*/ 278729 w 779965"/>
                    <a:gd name="connsiteY1196" fmla="*/ 130622 h 1260351"/>
                    <a:gd name="connsiteX1197" fmla="*/ 273459 w 779965"/>
                    <a:gd name="connsiteY1197" fmla="*/ 132844 h 1260351"/>
                    <a:gd name="connsiteX1198" fmla="*/ 268225 w 779965"/>
                    <a:gd name="connsiteY1198" fmla="*/ 136766 h 1260351"/>
                    <a:gd name="connsiteX1199" fmla="*/ 265639 w 779965"/>
                    <a:gd name="connsiteY1199" fmla="*/ 137810 h 1260351"/>
                    <a:gd name="connsiteX1200" fmla="*/ 262712 w 779965"/>
                    <a:gd name="connsiteY1200" fmla="*/ 136657 h 1260351"/>
                    <a:gd name="connsiteX1201" fmla="*/ 261170 w 779965"/>
                    <a:gd name="connsiteY1201" fmla="*/ 134192 h 1260351"/>
                    <a:gd name="connsiteX1202" fmla="*/ 260017 w 779965"/>
                    <a:gd name="connsiteY1202" fmla="*/ 131059 h 1260351"/>
                    <a:gd name="connsiteX1203" fmla="*/ 257600 w 779965"/>
                    <a:gd name="connsiteY1203" fmla="*/ 127039 h 1260351"/>
                    <a:gd name="connsiteX1204" fmla="*/ 256459 w 779965"/>
                    <a:gd name="connsiteY1204" fmla="*/ 124465 h 1260351"/>
                    <a:gd name="connsiteX1205" fmla="*/ 255779 w 779965"/>
                    <a:gd name="connsiteY1205" fmla="*/ 122134 h 1260351"/>
                    <a:gd name="connsiteX1206" fmla="*/ 256350 w 779965"/>
                    <a:gd name="connsiteY1206" fmla="*/ 120992 h 1260351"/>
                    <a:gd name="connsiteX1207" fmla="*/ 257661 w 779965"/>
                    <a:gd name="connsiteY1207" fmla="*/ 120009 h 1260351"/>
                    <a:gd name="connsiteX1208" fmla="*/ 258985 w 779965"/>
                    <a:gd name="connsiteY1208" fmla="*/ 118576 h 1260351"/>
                    <a:gd name="connsiteX1209" fmla="*/ 260138 w 779965"/>
                    <a:gd name="connsiteY1209" fmla="*/ 116038 h 1260351"/>
                    <a:gd name="connsiteX1210" fmla="*/ 260940 w 779965"/>
                    <a:gd name="connsiteY1210" fmla="*/ 109019 h 1260351"/>
                    <a:gd name="connsiteX1211" fmla="*/ 262142 w 779965"/>
                    <a:gd name="connsiteY1211" fmla="*/ 107404 h 1260351"/>
                    <a:gd name="connsiteX1212" fmla="*/ 266222 w 779965"/>
                    <a:gd name="connsiteY1212" fmla="*/ 105911 h 1260351"/>
                    <a:gd name="connsiteX1213" fmla="*/ 267825 w 779965"/>
                    <a:gd name="connsiteY1213" fmla="*/ 104818 h 1260351"/>
                    <a:gd name="connsiteX1214" fmla="*/ 270642 w 779965"/>
                    <a:gd name="connsiteY1214" fmla="*/ 100859 h 1260351"/>
                    <a:gd name="connsiteX1215" fmla="*/ 272305 w 779965"/>
                    <a:gd name="connsiteY1215" fmla="*/ 99013 h 1260351"/>
                    <a:gd name="connsiteX1216" fmla="*/ 273580 w 779965"/>
                    <a:gd name="connsiteY1216" fmla="*/ 96524 h 1260351"/>
                    <a:gd name="connsiteX1217" fmla="*/ 273520 w 779965"/>
                    <a:gd name="connsiteY1217" fmla="*/ 93306 h 1260351"/>
                    <a:gd name="connsiteX1218" fmla="*/ 272597 w 779965"/>
                    <a:gd name="connsiteY1218" fmla="*/ 89663 h 1260351"/>
                    <a:gd name="connsiteX1219" fmla="*/ 269597 w 779965"/>
                    <a:gd name="connsiteY1219" fmla="*/ 85086 h 1260351"/>
                    <a:gd name="connsiteX1220" fmla="*/ 264789 w 779965"/>
                    <a:gd name="connsiteY1220" fmla="*/ 73465 h 1260351"/>
                    <a:gd name="connsiteX1221" fmla="*/ 262081 w 779965"/>
                    <a:gd name="connsiteY1221" fmla="*/ 69907 h 1260351"/>
                    <a:gd name="connsiteX1222" fmla="*/ 261510 w 779965"/>
                    <a:gd name="connsiteY1222" fmla="*/ 68037 h 1260351"/>
                    <a:gd name="connsiteX1223" fmla="*/ 263125 w 779965"/>
                    <a:gd name="connsiteY1223" fmla="*/ 65596 h 1260351"/>
                    <a:gd name="connsiteX1224" fmla="*/ 262895 w 779965"/>
                    <a:gd name="connsiteY1224" fmla="*/ 63192 h 1260351"/>
                    <a:gd name="connsiteX1225" fmla="*/ 261049 w 779965"/>
                    <a:gd name="connsiteY1225" fmla="*/ 61346 h 1260351"/>
                    <a:gd name="connsiteX1226" fmla="*/ 265129 w 779965"/>
                    <a:gd name="connsiteY1226" fmla="*/ 57825 h 1260351"/>
                    <a:gd name="connsiteX1227" fmla="*/ 272767 w 779965"/>
                    <a:gd name="connsiteY1227" fmla="*/ 57873 h 1260351"/>
                    <a:gd name="connsiteX1228" fmla="*/ 276434 w 779965"/>
                    <a:gd name="connsiteY1228" fmla="*/ 60751 h 1260351"/>
                    <a:gd name="connsiteX1229" fmla="*/ 284594 w 779965"/>
                    <a:gd name="connsiteY1229" fmla="*/ 69822 h 1260351"/>
                    <a:gd name="connsiteX1230" fmla="*/ 290799 w 779965"/>
                    <a:gd name="connsiteY1230" fmla="*/ 74388 h 1260351"/>
                    <a:gd name="connsiteX1231" fmla="*/ 296531 w 779965"/>
                    <a:gd name="connsiteY1231" fmla="*/ 75784 h 1260351"/>
                    <a:gd name="connsiteX1232" fmla="*/ 301643 w 779965"/>
                    <a:gd name="connsiteY1232" fmla="*/ 75687 h 1260351"/>
                    <a:gd name="connsiteX1233" fmla="*/ 306354 w 779965"/>
                    <a:gd name="connsiteY1233" fmla="*/ 73720 h 1260351"/>
                    <a:gd name="connsiteX1234" fmla="*/ 315546 w 779965"/>
                    <a:gd name="connsiteY1234" fmla="*/ 68389 h 1260351"/>
                    <a:gd name="connsiteX1235" fmla="*/ 320598 w 779965"/>
                    <a:gd name="connsiteY1235" fmla="*/ 66689 h 1260351"/>
                    <a:gd name="connsiteX1236" fmla="*/ 333348 w 779965"/>
                    <a:gd name="connsiteY1236" fmla="*/ 67527 h 1260351"/>
                    <a:gd name="connsiteX1237" fmla="*/ 338108 w 779965"/>
                    <a:gd name="connsiteY1237" fmla="*/ 69361 h 1260351"/>
                    <a:gd name="connsiteX1238" fmla="*/ 346960 w 779965"/>
                    <a:gd name="connsiteY1238" fmla="*/ 74497 h 1260351"/>
                    <a:gd name="connsiteX1239" fmla="*/ 352631 w 779965"/>
                    <a:gd name="connsiteY1239" fmla="*/ 75043 h 1260351"/>
                    <a:gd name="connsiteX1240" fmla="*/ 370615 w 779965"/>
                    <a:gd name="connsiteY1240" fmla="*/ 74679 h 1260351"/>
                    <a:gd name="connsiteX1241" fmla="*/ 377961 w 779965"/>
                    <a:gd name="connsiteY1241" fmla="*/ 77059 h 1260351"/>
                    <a:gd name="connsiteX1242" fmla="*/ 381640 w 779965"/>
                    <a:gd name="connsiteY1242" fmla="*/ 77630 h 1260351"/>
                    <a:gd name="connsiteX1243" fmla="*/ 410346 w 779965"/>
                    <a:gd name="connsiteY1243" fmla="*/ 78116 h 1260351"/>
                    <a:gd name="connsiteX1244" fmla="*/ 425962 w 779965"/>
                    <a:gd name="connsiteY1244" fmla="*/ 80241 h 1260351"/>
                    <a:gd name="connsiteX1245" fmla="*/ 432167 w 779965"/>
                    <a:gd name="connsiteY1245" fmla="*/ 79645 h 1260351"/>
                    <a:gd name="connsiteX1246" fmla="*/ 434584 w 779965"/>
                    <a:gd name="connsiteY1246" fmla="*/ 78152 h 1260351"/>
                    <a:gd name="connsiteX1247" fmla="*/ 436126 w 779965"/>
                    <a:gd name="connsiteY1247" fmla="*/ 75942 h 1260351"/>
                    <a:gd name="connsiteX1248" fmla="*/ 438943 w 779965"/>
                    <a:gd name="connsiteY1248" fmla="*/ 73926 h 1260351"/>
                    <a:gd name="connsiteX1249" fmla="*/ 447212 w 779965"/>
                    <a:gd name="connsiteY1249" fmla="*/ 70623 h 1260351"/>
                    <a:gd name="connsiteX1250" fmla="*/ 453017 w 779965"/>
                    <a:gd name="connsiteY1250" fmla="*/ 67405 h 1260351"/>
                    <a:gd name="connsiteX1251" fmla="*/ 454510 w 779965"/>
                    <a:gd name="connsiteY1251" fmla="*/ 65851 h 1260351"/>
                    <a:gd name="connsiteX1252" fmla="*/ 455020 w 779965"/>
                    <a:gd name="connsiteY1252" fmla="*/ 63508 h 1260351"/>
                    <a:gd name="connsiteX1253" fmla="*/ 455081 w 779965"/>
                    <a:gd name="connsiteY1253" fmla="*/ 60788 h 1260351"/>
                    <a:gd name="connsiteX1254" fmla="*/ 455773 w 779965"/>
                    <a:gd name="connsiteY1254" fmla="*/ 57995 h 1260351"/>
                    <a:gd name="connsiteX1255" fmla="*/ 458068 w 779965"/>
                    <a:gd name="connsiteY1255" fmla="*/ 55785 h 1260351"/>
                    <a:gd name="connsiteX1256" fmla="*/ 462148 w 779965"/>
                    <a:gd name="connsiteY1256" fmla="*/ 53890 h 1260351"/>
                    <a:gd name="connsiteX1257" fmla="*/ 467370 w 779965"/>
                    <a:gd name="connsiteY1257" fmla="*/ 53222 h 1260351"/>
                    <a:gd name="connsiteX1258" fmla="*/ 470587 w 779965"/>
                    <a:gd name="connsiteY1258" fmla="*/ 52105 h 1260351"/>
                    <a:gd name="connsiteX1259" fmla="*/ 476501 w 779965"/>
                    <a:gd name="connsiteY1259" fmla="*/ 49179 h 1260351"/>
                    <a:gd name="connsiteX1260" fmla="*/ 478553 w 779965"/>
                    <a:gd name="connsiteY1260" fmla="*/ 47163 h 1260351"/>
                    <a:gd name="connsiteX1261" fmla="*/ 479488 w 779965"/>
                    <a:gd name="connsiteY1261" fmla="*/ 44929 h 1260351"/>
                    <a:gd name="connsiteX1262" fmla="*/ 479549 w 779965"/>
                    <a:gd name="connsiteY1262" fmla="*/ 42379 h 1260351"/>
                    <a:gd name="connsiteX1263" fmla="*/ 479950 w 779965"/>
                    <a:gd name="connsiteY1263" fmla="*/ 40193 h 1260351"/>
                    <a:gd name="connsiteX1264" fmla="*/ 479950 w 779965"/>
                    <a:gd name="connsiteY1264" fmla="*/ 38870 h 1260351"/>
                    <a:gd name="connsiteX1265" fmla="*/ 482645 w 779965"/>
                    <a:gd name="connsiteY1265" fmla="*/ 35312 h 1260351"/>
                    <a:gd name="connsiteX1266" fmla="*/ 489870 w 779965"/>
                    <a:gd name="connsiteY1266" fmla="*/ 37121 h 1260351"/>
                    <a:gd name="connsiteX1267" fmla="*/ 500095 w 779965"/>
                    <a:gd name="connsiteY1267" fmla="*/ 46544 h 1260351"/>
                    <a:gd name="connsiteX1268" fmla="*/ 503543 w 779965"/>
                    <a:gd name="connsiteY1268" fmla="*/ 48802 h 1260351"/>
                    <a:gd name="connsiteX1269" fmla="*/ 508085 w 779965"/>
                    <a:gd name="connsiteY1269" fmla="*/ 50903 h 1260351"/>
                    <a:gd name="connsiteX1270" fmla="*/ 513306 w 779965"/>
                    <a:gd name="connsiteY1270" fmla="*/ 52142 h 1260351"/>
                    <a:gd name="connsiteX1271" fmla="*/ 515383 w 779965"/>
                    <a:gd name="connsiteY1271" fmla="*/ 52190 h 1260351"/>
                    <a:gd name="connsiteX1272" fmla="*/ 520944 w 779965"/>
                    <a:gd name="connsiteY1272" fmla="*/ 51389 h 1260351"/>
                    <a:gd name="connsiteX1273" fmla="*/ 527769 w 779965"/>
                    <a:gd name="connsiteY1273" fmla="*/ 51535 h 1260351"/>
                    <a:gd name="connsiteX1274" fmla="*/ 536621 w 779965"/>
                    <a:gd name="connsiteY1274" fmla="*/ 52713 h 1260351"/>
                    <a:gd name="connsiteX1275" fmla="*/ 539486 w 779965"/>
                    <a:gd name="connsiteY1275" fmla="*/ 52470 h 1260351"/>
                    <a:gd name="connsiteX1276" fmla="*/ 541794 w 779965"/>
                    <a:gd name="connsiteY1276" fmla="*/ 51911 h 1260351"/>
                    <a:gd name="connsiteX1277" fmla="*/ 547367 w 779965"/>
                    <a:gd name="connsiteY1277" fmla="*/ 49410 h 1260351"/>
                    <a:gd name="connsiteX1278" fmla="*/ 549249 w 779965"/>
                    <a:gd name="connsiteY1278" fmla="*/ 48778 h 1260351"/>
                    <a:gd name="connsiteX1279" fmla="*/ 554422 w 779965"/>
                    <a:gd name="connsiteY1279" fmla="*/ 47685 h 1260351"/>
                    <a:gd name="connsiteX1280" fmla="*/ 558660 w 779965"/>
                    <a:gd name="connsiteY1280" fmla="*/ 46155 h 1260351"/>
                    <a:gd name="connsiteX1281" fmla="*/ 560275 w 779965"/>
                    <a:gd name="connsiteY1281" fmla="*/ 45184 h 1260351"/>
                    <a:gd name="connsiteX1282" fmla="*/ 561490 w 779965"/>
                    <a:gd name="connsiteY1282" fmla="*/ 44152 h 1260351"/>
                    <a:gd name="connsiteX1283" fmla="*/ 562692 w 779965"/>
                    <a:gd name="connsiteY1283" fmla="*/ 42743 h 1260351"/>
                    <a:gd name="connsiteX1284" fmla="*/ 566650 w 779965"/>
                    <a:gd name="connsiteY1284" fmla="*/ 36259 h 1260351"/>
                    <a:gd name="connsiteX1285" fmla="*/ 567221 w 779965"/>
                    <a:gd name="connsiteY1285" fmla="*/ 35057 h 1260351"/>
                    <a:gd name="connsiteX1286" fmla="*/ 567464 w 779965"/>
                    <a:gd name="connsiteY1286" fmla="*/ 33927 h 1260351"/>
                    <a:gd name="connsiteX1287" fmla="*/ 567792 w 779965"/>
                    <a:gd name="connsiteY1287" fmla="*/ 28220 h 1260351"/>
                    <a:gd name="connsiteX1288" fmla="*/ 568715 w 779965"/>
                    <a:gd name="connsiteY1288" fmla="*/ 25573 h 1260351"/>
                    <a:gd name="connsiteX1289" fmla="*/ 570439 w 779965"/>
                    <a:gd name="connsiteY1289" fmla="*/ 23314 h 1260351"/>
                    <a:gd name="connsiteX1290" fmla="*/ 576583 w 779965"/>
                    <a:gd name="connsiteY1290" fmla="*/ 19635 h 1260351"/>
                    <a:gd name="connsiteX1291" fmla="*/ 578077 w 779965"/>
                    <a:gd name="connsiteY1291" fmla="*/ 18311 h 1260351"/>
                    <a:gd name="connsiteX1292" fmla="*/ 579060 w 779965"/>
                    <a:gd name="connsiteY1292" fmla="*/ 16478 h 1260351"/>
                    <a:gd name="connsiteX1293" fmla="*/ 581173 w 779965"/>
                    <a:gd name="connsiteY1293" fmla="*/ 10334 h 1260351"/>
                    <a:gd name="connsiteX1294" fmla="*/ 583189 w 779965"/>
                    <a:gd name="connsiteY1294" fmla="*/ 7152 h 1260351"/>
                    <a:gd name="connsiteX1295" fmla="*/ 580578 w 779965"/>
                    <a:gd name="connsiteY1295" fmla="*/ 0 h 1260351"/>
                    <a:gd name="connsiteX1296" fmla="*/ 578089 w 779965"/>
                    <a:gd name="connsiteY1296" fmla="*/ 3861 h 1260351"/>
                    <a:gd name="connsiteX1297" fmla="*/ 576073 w 779965"/>
                    <a:gd name="connsiteY1297" fmla="*/ 6994 h 1260351"/>
                    <a:gd name="connsiteX1298" fmla="*/ 575672 w 779965"/>
                    <a:gd name="connsiteY1298" fmla="*/ 7614 h 1260351"/>
                    <a:gd name="connsiteX1299" fmla="*/ 575430 w 779965"/>
                    <a:gd name="connsiteY1299" fmla="*/ 8306 h 1260351"/>
                    <a:gd name="connsiteX1300" fmla="*/ 573475 w 779965"/>
                    <a:gd name="connsiteY1300" fmla="*/ 13977 h 1260351"/>
                    <a:gd name="connsiteX1301" fmla="*/ 573232 w 779965"/>
                    <a:gd name="connsiteY1301" fmla="*/ 14426 h 1260351"/>
                    <a:gd name="connsiteX1302" fmla="*/ 572977 w 779965"/>
                    <a:gd name="connsiteY1302" fmla="*/ 14657 h 1260351"/>
                    <a:gd name="connsiteX1303" fmla="*/ 567318 w 779965"/>
                    <a:gd name="connsiteY1303" fmla="*/ 18057 h 1260351"/>
                    <a:gd name="connsiteX1304" fmla="*/ 566310 w 779965"/>
                    <a:gd name="connsiteY1304" fmla="*/ 18651 h 1260351"/>
                    <a:gd name="connsiteX1305" fmla="*/ 565606 w 779965"/>
                    <a:gd name="connsiteY1305" fmla="*/ 19574 h 1260351"/>
                    <a:gd name="connsiteX1306" fmla="*/ 563882 w 779965"/>
                    <a:gd name="connsiteY1306" fmla="*/ 21833 h 1260351"/>
                    <a:gd name="connsiteX1307" fmla="*/ 563299 w 779965"/>
                    <a:gd name="connsiteY1307" fmla="*/ 22598 h 1260351"/>
                    <a:gd name="connsiteX1308" fmla="*/ 562983 w 779965"/>
                    <a:gd name="connsiteY1308" fmla="*/ 23509 h 1260351"/>
                    <a:gd name="connsiteX1309" fmla="*/ 562060 w 779965"/>
                    <a:gd name="connsiteY1309" fmla="*/ 26156 h 1260351"/>
                    <a:gd name="connsiteX1310" fmla="*/ 561781 w 779965"/>
                    <a:gd name="connsiteY1310" fmla="*/ 26957 h 1260351"/>
                    <a:gd name="connsiteX1311" fmla="*/ 561732 w 779965"/>
                    <a:gd name="connsiteY1311" fmla="*/ 27807 h 1260351"/>
                    <a:gd name="connsiteX1312" fmla="*/ 561429 w 779965"/>
                    <a:gd name="connsiteY1312" fmla="*/ 33029 h 1260351"/>
                    <a:gd name="connsiteX1313" fmla="*/ 561307 w 779965"/>
                    <a:gd name="connsiteY1313" fmla="*/ 33296 h 1260351"/>
                    <a:gd name="connsiteX1314" fmla="*/ 557762 w 779965"/>
                    <a:gd name="connsiteY1314" fmla="*/ 39088 h 1260351"/>
                    <a:gd name="connsiteX1315" fmla="*/ 557191 w 779965"/>
                    <a:gd name="connsiteY1315" fmla="*/ 39756 h 1260351"/>
                    <a:gd name="connsiteX1316" fmla="*/ 556717 w 779965"/>
                    <a:gd name="connsiteY1316" fmla="*/ 40157 h 1260351"/>
                    <a:gd name="connsiteX1317" fmla="*/ 556037 w 779965"/>
                    <a:gd name="connsiteY1317" fmla="*/ 40570 h 1260351"/>
                    <a:gd name="connsiteX1318" fmla="*/ 552747 w 779965"/>
                    <a:gd name="connsiteY1318" fmla="*/ 41760 h 1260351"/>
                    <a:gd name="connsiteX1319" fmla="*/ 547987 w 779965"/>
                    <a:gd name="connsiteY1319" fmla="*/ 42767 h 1260351"/>
                    <a:gd name="connsiteX1320" fmla="*/ 547647 w 779965"/>
                    <a:gd name="connsiteY1320" fmla="*/ 42840 h 1260351"/>
                    <a:gd name="connsiteX1321" fmla="*/ 547319 w 779965"/>
                    <a:gd name="connsiteY1321" fmla="*/ 42950 h 1260351"/>
                    <a:gd name="connsiteX1322" fmla="*/ 545437 w 779965"/>
                    <a:gd name="connsiteY1322" fmla="*/ 43581 h 1260351"/>
                    <a:gd name="connsiteX1323" fmla="*/ 545145 w 779965"/>
                    <a:gd name="connsiteY1323" fmla="*/ 43678 h 1260351"/>
                    <a:gd name="connsiteX1324" fmla="*/ 544878 w 779965"/>
                    <a:gd name="connsiteY1324" fmla="*/ 43800 h 1260351"/>
                    <a:gd name="connsiteX1325" fmla="*/ 539814 w 779965"/>
                    <a:gd name="connsiteY1325" fmla="*/ 46070 h 1260351"/>
                    <a:gd name="connsiteX1326" fmla="*/ 538503 w 779965"/>
                    <a:gd name="connsiteY1326" fmla="*/ 46386 h 1260351"/>
                    <a:gd name="connsiteX1327" fmla="*/ 536766 w 779965"/>
                    <a:gd name="connsiteY1327" fmla="*/ 46532 h 1260351"/>
                    <a:gd name="connsiteX1328" fmla="*/ 528570 w 779965"/>
                    <a:gd name="connsiteY1328" fmla="*/ 45439 h 1260351"/>
                    <a:gd name="connsiteX1329" fmla="*/ 528242 w 779965"/>
                    <a:gd name="connsiteY1329" fmla="*/ 45390 h 1260351"/>
                    <a:gd name="connsiteX1330" fmla="*/ 527902 w 779965"/>
                    <a:gd name="connsiteY1330" fmla="*/ 45390 h 1260351"/>
                    <a:gd name="connsiteX1331" fmla="*/ 521078 w 779965"/>
                    <a:gd name="connsiteY1331" fmla="*/ 45245 h 1260351"/>
                    <a:gd name="connsiteX1332" fmla="*/ 520580 w 779965"/>
                    <a:gd name="connsiteY1332" fmla="*/ 45232 h 1260351"/>
                    <a:gd name="connsiteX1333" fmla="*/ 520082 w 779965"/>
                    <a:gd name="connsiteY1333" fmla="*/ 45305 h 1260351"/>
                    <a:gd name="connsiteX1334" fmla="*/ 515018 w 779965"/>
                    <a:gd name="connsiteY1334" fmla="*/ 46034 h 1260351"/>
                    <a:gd name="connsiteX1335" fmla="*/ 514083 w 779965"/>
                    <a:gd name="connsiteY1335" fmla="*/ 46022 h 1260351"/>
                    <a:gd name="connsiteX1336" fmla="*/ 510076 w 779965"/>
                    <a:gd name="connsiteY1336" fmla="*/ 45062 h 1260351"/>
                    <a:gd name="connsiteX1337" fmla="*/ 506494 w 779965"/>
                    <a:gd name="connsiteY1337" fmla="*/ 43411 h 1260351"/>
                    <a:gd name="connsiteX1338" fmla="*/ 503847 w 779965"/>
                    <a:gd name="connsiteY1338" fmla="*/ 41674 h 1260351"/>
                    <a:gd name="connsiteX1339" fmla="*/ 493987 w 779965"/>
                    <a:gd name="connsiteY1339" fmla="*/ 32579 h 1260351"/>
                    <a:gd name="connsiteX1340" fmla="*/ 492846 w 779965"/>
                    <a:gd name="connsiteY1340" fmla="*/ 31535 h 1260351"/>
                    <a:gd name="connsiteX1341" fmla="*/ 491340 w 779965"/>
                    <a:gd name="connsiteY1341" fmla="*/ 31159 h 1260351"/>
                    <a:gd name="connsiteX1342" fmla="*/ 484115 w 779965"/>
                    <a:gd name="connsiteY1342" fmla="*/ 29349 h 1260351"/>
                    <a:gd name="connsiteX1343" fmla="*/ 480229 w 779965"/>
                    <a:gd name="connsiteY1343" fmla="*/ 28366 h 1260351"/>
                    <a:gd name="connsiteX1344" fmla="*/ 477800 w 779965"/>
                    <a:gd name="connsiteY1344" fmla="*/ 31559 h 1260351"/>
                    <a:gd name="connsiteX1345" fmla="*/ 475105 w 779965"/>
                    <a:gd name="connsiteY1345" fmla="*/ 35117 h 1260351"/>
                    <a:gd name="connsiteX1346" fmla="*/ 473866 w 779965"/>
                    <a:gd name="connsiteY1346" fmla="*/ 36745 h 1260351"/>
                    <a:gd name="connsiteX1347" fmla="*/ 473866 w 779965"/>
                    <a:gd name="connsiteY1347" fmla="*/ 38785 h 1260351"/>
                    <a:gd name="connsiteX1348" fmla="*/ 473866 w 779965"/>
                    <a:gd name="connsiteY1348" fmla="*/ 39550 h 1260351"/>
                    <a:gd name="connsiteX1349" fmla="*/ 473563 w 779965"/>
                    <a:gd name="connsiteY1349" fmla="*/ 41189 h 1260351"/>
                    <a:gd name="connsiteX1350" fmla="*/ 473478 w 779965"/>
                    <a:gd name="connsiteY1350" fmla="*/ 41662 h 1260351"/>
                    <a:gd name="connsiteX1351" fmla="*/ 473465 w 779965"/>
                    <a:gd name="connsiteY1351" fmla="*/ 42148 h 1260351"/>
                    <a:gd name="connsiteX1352" fmla="*/ 473441 w 779965"/>
                    <a:gd name="connsiteY1352" fmla="*/ 43557 h 1260351"/>
                    <a:gd name="connsiteX1353" fmla="*/ 473417 w 779965"/>
                    <a:gd name="connsiteY1353" fmla="*/ 43605 h 1260351"/>
                    <a:gd name="connsiteX1354" fmla="*/ 472931 w 779965"/>
                    <a:gd name="connsiteY1354" fmla="*/ 44091 h 1260351"/>
                    <a:gd name="connsiteX1355" fmla="*/ 468232 w 779965"/>
                    <a:gd name="connsiteY1355" fmla="*/ 46422 h 1260351"/>
                    <a:gd name="connsiteX1356" fmla="*/ 465961 w 779965"/>
                    <a:gd name="connsiteY1356" fmla="*/ 47200 h 1260351"/>
                    <a:gd name="connsiteX1357" fmla="*/ 461371 w 779965"/>
                    <a:gd name="connsiteY1357" fmla="*/ 47782 h 1260351"/>
                    <a:gd name="connsiteX1358" fmla="*/ 460436 w 779965"/>
                    <a:gd name="connsiteY1358" fmla="*/ 47904 h 1260351"/>
                    <a:gd name="connsiteX1359" fmla="*/ 459586 w 779965"/>
                    <a:gd name="connsiteY1359" fmla="*/ 48305 h 1260351"/>
                    <a:gd name="connsiteX1360" fmla="*/ 455506 w 779965"/>
                    <a:gd name="connsiteY1360" fmla="*/ 50199 h 1260351"/>
                    <a:gd name="connsiteX1361" fmla="*/ 454571 w 779965"/>
                    <a:gd name="connsiteY1361" fmla="*/ 50624 h 1260351"/>
                    <a:gd name="connsiteX1362" fmla="*/ 453830 w 779965"/>
                    <a:gd name="connsiteY1362" fmla="*/ 51340 h 1260351"/>
                    <a:gd name="connsiteX1363" fmla="*/ 451535 w 779965"/>
                    <a:gd name="connsiteY1363" fmla="*/ 53550 h 1260351"/>
                    <a:gd name="connsiteX1364" fmla="*/ 450272 w 779965"/>
                    <a:gd name="connsiteY1364" fmla="*/ 54765 h 1260351"/>
                    <a:gd name="connsiteX1365" fmla="*/ 449859 w 779965"/>
                    <a:gd name="connsiteY1365" fmla="*/ 56465 h 1260351"/>
                    <a:gd name="connsiteX1366" fmla="*/ 449167 w 779965"/>
                    <a:gd name="connsiteY1366" fmla="*/ 59258 h 1260351"/>
                    <a:gd name="connsiteX1367" fmla="*/ 449009 w 779965"/>
                    <a:gd name="connsiteY1367" fmla="*/ 59901 h 1260351"/>
                    <a:gd name="connsiteX1368" fmla="*/ 448997 w 779965"/>
                    <a:gd name="connsiteY1368" fmla="*/ 60557 h 1260351"/>
                    <a:gd name="connsiteX1369" fmla="*/ 448949 w 779965"/>
                    <a:gd name="connsiteY1369" fmla="*/ 62621 h 1260351"/>
                    <a:gd name="connsiteX1370" fmla="*/ 444589 w 779965"/>
                    <a:gd name="connsiteY1370" fmla="*/ 65038 h 1260351"/>
                    <a:gd name="connsiteX1371" fmla="*/ 436684 w 779965"/>
                    <a:gd name="connsiteY1371" fmla="*/ 68195 h 1260351"/>
                    <a:gd name="connsiteX1372" fmla="*/ 436004 w 779965"/>
                    <a:gd name="connsiteY1372" fmla="*/ 68462 h 1260351"/>
                    <a:gd name="connsiteX1373" fmla="*/ 435409 w 779965"/>
                    <a:gd name="connsiteY1373" fmla="*/ 68887 h 1260351"/>
                    <a:gd name="connsiteX1374" fmla="*/ 432592 w 779965"/>
                    <a:gd name="connsiteY1374" fmla="*/ 70903 h 1260351"/>
                    <a:gd name="connsiteX1375" fmla="*/ 431742 w 779965"/>
                    <a:gd name="connsiteY1375" fmla="*/ 71510 h 1260351"/>
                    <a:gd name="connsiteX1376" fmla="*/ 431147 w 779965"/>
                    <a:gd name="connsiteY1376" fmla="*/ 72360 h 1260351"/>
                    <a:gd name="connsiteX1377" fmla="*/ 430321 w 779965"/>
                    <a:gd name="connsiteY1377" fmla="*/ 73538 h 1260351"/>
                    <a:gd name="connsiteX1378" fmla="*/ 430176 w 779965"/>
                    <a:gd name="connsiteY1378" fmla="*/ 73623 h 1260351"/>
                    <a:gd name="connsiteX1379" fmla="*/ 426084 w 779965"/>
                    <a:gd name="connsiteY1379" fmla="*/ 74011 h 1260351"/>
                    <a:gd name="connsiteX1380" fmla="*/ 411160 w 779965"/>
                    <a:gd name="connsiteY1380" fmla="*/ 71983 h 1260351"/>
                    <a:gd name="connsiteX1381" fmla="*/ 410808 w 779965"/>
                    <a:gd name="connsiteY1381" fmla="*/ 71935 h 1260351"/>
                    <a:gd name="connsiteX1382" fmla="*/ 410443 w 779965"/>
                    <a:gd name="connsiteY1382" fmla="*/ 71935 h 1260351"/>
                    <a:gd name="connsiteX1383" fmla="*/ 382151 w 779965"/>
                    <a:gd name="connsiteY1383" fmla="*/ 71449 h 1260351"/>
                    <a:gd name="connsiteX1384" fmla="*/ 379370 w 779965"/>
                    <a:gd name="connsiteY1384" fmla="*/ 71012 h 1260351"/>
                    <a:gd name="connsiteX1385" fmla="*/ 372485 w 779965"/>
                    <a:gd name="connsiteY1385" fmla="*/ 68778 h 1260351"/>
                    <a:gd name="connsiteX1386" fmla="*/ 371513 w 779965"/>
                    <a:gd name="connsiteY1386" fmla="*/ 68462 h 1260351"/>
                    <a:gd name="connsiteX1387" fmla="*/ 370493 w 779965"/>
                    <a:gd name="connsiteY1387" fmla="*/ 68474 h 1260351"/>
                    <a:gd name="connsiteX1388" fmla="*/ 352862 w 779965"/>
                    <a:gd name="connsiteY1388" fmla="*/ 68826 h 1260351"/>
                    <a:gd name="connsiteX1389" fmla="*/ 348855 w 779965"/>
                    <a:gd name="connsiteY1389" fmla="*/ 68438 h 1260351"/>
                    <a:gd name="connsiteX1390" fmla="*/ 341156 w 779965"/>
                    <a:gd name="connsiteY1390" fmla="*/ 63969 h 1260351"/>
                    <a:gd name="connsiteX1391" fmla="*/ 340731 w 779965"/>
                    <a:gd name="connsiteY1391" fmla="*/ 63726 h 1260351"/>
                    <a:gd name="connsiteX1392" fmla="*/ 340282 w 779965"/>
                    <a:gd name="connsiteY1392" fmla="*/ 63556 h 1260351"/>
                    <a:gd name="connsiteX1393" fmla="*/ 335521 w 779965"/>
                    <a:gd name="connsiteY1393" fmla="*/ 61722 h 1260351"/>
                    <a:gd name="connsiteX1394" fmla="*/ 334659 w 779965"/>
                    <a:gd name="connsiteY1394" fmla="*/ 61395 h 1260351"/>
                    <a:gd name="connsiteX1395" fmla="*/ 333736 w 779965"/>
                    <a:gd name="connsiteY1395" fmla="*/ 61334 h 1260351"/>
                    <a:gd name="connsiteX1396" fmla="*/ 320999 w 779965"/>
                    <a:gd name="connsiteY1396" fmla="*/ 60496 h 1260351"/>
                    <a:gd name="connsiteX1397" fmla="*/ 319796 w 779965"/>
                    <a:gd name="connsiteY1397" fmla="*/ 60423 h 1260351"/>
                    <a:gd name="connsiteX1398" fmla="*/ 318655 w 779965"/>
                    <a:gd name="connsiteY1398" fmla="*/ 60812 h 1260351"/>
                    <a:gd name="connsiteX1399" fmla="*/ 313604 w 779965"/>
                    <a:gd name="connsiteY1399" fmla="*/ 62512 h 1260351"/>
                    <a:gd name="connsiteX1400" fmla="*/ 313021 w 779965"/>
                    <a:gd name="connsiteY1400" fmla="*/ 62706 h 1260351"/>
                    <a:gd name="connsiteX1401" fmla="*/ 312499 w 779965"/>
                    <a:gd name="connsiteY1401" fmla="*/ 63010 h 1260351"/>
                    <a:gd name="connsiteX1402" fmla="*/ 303646 w 779965"/>
                    <a:gd name="connsiteY1402" fmla="*/ 68146 h 1260351"/>
                    <a:gd name="connsiteX1403" fmla="*/ 300368 w 779965"/>
                    <a:gd name="connsiteY1403" fmla="*/ 69518 h 1260351"/>
                    <a:gd name="connsiteX1404" fmla="*/ 297198 w 779965"/>
                    <a:gd name="connsiteY1404" fmla="*/ 69579 h 1260351"/>
                    <a:gd name="connsiteX1405" fmla="*/ 293410 w 779965"/>
                    <a:gd name="connsiteY1405" fmla="*/ 68656 h 1260351"/>
                    <a:gd name="connsiteX1406" fmla="*/ 288686 w 779965"/>
                    <a:gd name="connsiteY1406" fmla="*/ 65183 h 1260351"/>
                    <a:gd name="connsiteX1407" fmla="*/ 280939 w 779965"/>
                    <a:gd name="connsiteY1407" fmla="*/ 56574 h 1260351"/>
                    <a:gd name="connsiteX1408" fmla="*/ 280587 w 779965"/>
                    <a:gd name="connsiteY1408" fmla="*/ 56185 h 1260351"/>
                    <a:gd name="connsiteX1409" fmla="*/ 280174 w 779965"/>
                    <a:gd name="connsiteY1409" fmla="*/ 55857 h 1260351"/>
                    <a:gd name="connsiteX1410" fmla="*/ 276507 w 779965"/>
                    <a:gd name="connsiteY1410" fmla="*/ 52980 h 1260351"/>
                    <a:gd name="connsiteX1411" fmla="*/ 274880 w 779965"/>
                    <a:gd name="connsiteY1411" fmla="*/ 51705 h 1260351"/>
                    <a:gd name="connsiteX1412" fmla="*/ 272803 w 779965"/>
                    <a:gd name="connsiteY1412" fmla="*/ 51693 h 1260351"/>
                    <a:gd name="connsiteX1413" fmla="*/ 265165 w 779965"/>
                    <a:gd name="connsiteY1413" fmla="*/ 51644 h 1260351"/>
                    <a:gd name="connsiteX1414" fmla="*/ 262883 w 779965"/>
                    <a:gd name="connsiteY1414" fmla="*/ 51632 h 1260351"/>
                    <a:gd name="connsiteX1415" fmla="*/ 261158 w 779965"/>
                    <a:gd name="connsiteY1415" fmla="*/ 53125 h 1260351"/>
                    <a:gd name="connsiteX1416" fmla="*/ 257078 w 779965"/>
                    <a:gd name="connsiteY1416" fmla="*/ 56647 h 1260351"/>
                    <a:gd name="connsiteX1417" fmla="*/ 252136 w 779965"/>
                    <a:gd name="connsiteY1417" fmla="*/ 60921 h 1260351"/>
                    <a:gd name="connsiteX1418" fmla="*/ 256180 w 779965"/>
                    <a:gd name="connsiteY1418" fmla="*/ 64965 h 1260351"/>
                    <a:gd name="connsiteX1419" fmla="*/ 254856 w 779965"/>
                    <a:gd name="connsiteY1419" fmla="*/ 66980 h 1260351"/>
                    <a:gd name="connsiteX1420" fmla="*/ 255694 w 779965"/>
                    <a:gd name="connsiteY1420" fmla="*/ 69725 h 1260351"/>
                    <a:gd name="connsiteX1421" fmla="*/ 256265 w 779965"/>
                    <a:gd name="connsiteY1421" fmla="*/ 71595 h 1260351"/>
                    <a:gd name="connsiteX1422" fmla="*/ 256580 w 779965"/>
                    <a:gd name="connsiteY1422" fmla="*/ 72627 h 1260351"/>
                    <a:gd name="connsiteX1423" fmla="*/ 257236 w 779965"/>
                    <a:gd name="connsiteY1423" fmla="*/ 73489 h 1260351"/>
                    <a:gd name="connsiteX1424" fmla="*/ 259458 w 779965"/>
                    <a:gd name="connsiteY1424" fmla="*/ 76416 h 1260351"/>
                    <a:gd name="connsiteX1425" fmla="*/ 263975 w 779965"/>
                    <a:gd name="connsiteY1425" fmla="*/ 87308 h 1260351"/>
                    <a:gd name="connsiteX1426" fmla="*/ 264194 w 779965"/>
                    <a:gd name="connsiteY1426" fmla="*/ 87842 h 1260351"/>
                    <a:gd name="connsiteX1427" fmla="*/ 264510 w 779965"/>
                    <a:gd name="connsiteY1427" fmla="*/ 88316 h 1260351"/>
                    <a:gd name="connsiteX1428" fmla="*/ 266950 w 779965"/>
                    <a:gd name="connsiteY1428" fmla="*/ 92043 h 1260351"/>
                    <a:gd name="connsiteX1429" fmla="*/ 267448 w 779965"/>
                    <a:gd name="connsiteY1429" fmla="*/ 94023 h 1260351"/>
                    <a:gd name="connsiteX1430" fmla="*/ 267460 w 779965"/>
                    <a:gd name="connsiteY1430" fmla="*/ 95018 h 1260351"/>
                    <a:gd name="connsiteX1431" fmla="*/ 267242 w 779965"/>
                    <a:gd name="connsiteY1431" fmla="*/ 95444 h 1260351"/>
                    <a:gd name="connsiteX1432" fmla="*/ 266113 w 779965"/>
                    <a:gd name="connsiteY1432" fmla="*/ 96706 h 1260351"/>
                    <a:gd name="connsiteX1433" fmla="*/ 265882 w 779965"/>
                    <a:gd name="connsiteY1433" fmla="*/ 96961 h 1260351"/>
                    <a:gd name="connsiteX1434" fmla="*/ 265675 w 779965"/>
                    <a:gd name="connsiteY1434" fmla="*/ 97241 h 1260351"/>
                    <a:gd name="connsiteX1435" fmla="*/ 263477 w 779965"/>
                    <a:gd name="connsiteY1435" fmla="*/ 100313 h 1260351"/>
                    <a:gd name="connsiteX1436" fmla="*/ 263392 w 779965"/>
                    <a:gd name="connsiteY1436" fmla="*/ 100361 h 1260351"/>
                    <a:gd name="connsiteX1437" fmla="*/ 260029 w 779965"/>
                    <a:gd name="connsiteY1437" fmla="*/ 101600 h 1260351"/>
                    <a:gd name="connsiteX1438" fmla="*/ 258329 w 779965"/>
                    <a:gd name="connsiteY1438" fmla="*/ 102231 h 1260351"/>
                    <a:gd name="connsiteX1439" fmla="*/ 257248 w 779965"/>
                    <a:gd name="connsiteY1439" fmla="*/ 103689 h 1260351"/>
                    <a:gd name="connsiteX1440" fmla="*/ 256046 w 779965"/>
                    <a:gd name="connsiteY1440" fmla="*/ 105304 h 1260351"/>
                    <a:gd name="connsiteX1441" fmla="*/ 255075 w 779965"/>
                    <a:gd name="connsiteY1441" fmla="*/ 106615 h 1260351"/>
                    <a:gd name="connsiteX1442" fmla="*/ 254892 w 779965"/>
                    <a:gd name="connsiteY1442" fmla="*/ 108242 h 1260351"/>
                    <a:gd name="connsiteX1443" fmla="*/ 254200 w 779965"/>
                    <a:gd name="connsiteY1443" fmla="*/ 114301 h 1260351"/>
                    <a:gd name="connsiteX1444" fmla="*/ 253848 w 779965"/>
                    <a:gd name="connsiteY1444" fmla="*/ 115079 h 1260351"/>
                    <a:gd name="connsiteX1445" fmla="*/ 253557 w 779965"/>
                    <a:gd name="connsiteY1445" fmla="*/ 115394 h 1260351"/>
                    <a:gd name="connsiteX1446" fmla="*/ 252695 w 779965"/>
                    <a:gd name="connsiteY1446" fmla="*/ 116050 h 1260351"/>
                    <a:gd name="connsiteX1447" fmla="*/ 251541 w 779965"/>
                    <a:gd name="connsiteY1447" fmla="*/ 116912 h 1260351"/>
                    <a:gd name="connsiteX1448" fmla="*/ 250897 w 779965"/>
                    <a:gd name="connsiteY1448" fmla="*/ 118199 h 1260351"/>
                    <a:gd name="connsiteX1449" fmla="*/ 250327 w 779965"/>
                    <a:gd name="connsiteY1449" fmla="*/ 119341 h 1260351"/>
                    <a:gd name="connsiteX1450" fmla="*/ 249270 w 779965"/>
                    <a:gd name="connsiteY1450" fmla="*/ 121466 h 1260351"/>
                    <a:gd name="connsiteX1451" fmla="*/ 249938 w 779965"/>
                    <a:gd name="connsiteY1451" fmla="*/ 123737 h 1260351"/>
                    <a:gd name="connsiteX1452" fmla="*/ 250606 w 779965"/>
                    <a:gd name="connsiteY1452" fmla="*/ 126068 h 1260351"/>
                    <a:gd name="connsiteX1453" fmla="*/ 250727 w 779965"/>
                    <a:gd name="connsiteY1453" fmla="*/ 126469 h 1260351"/>
                    <a:gd name="connsiteX1454" fmla="*/ 250897 w 779965"/>
                    <a:gd name="connsiteY1454" fmla="*/ 126845 h 1260351"/>
                    <a:gd name="connsiteX1455" fmla="*/ 252039 w 779965"/>
                    <a:gd name="connsiteY1455" fmla="*/ 129419 h 1260351"/>
                    <a:gd name="connsiteX1456" fmla="*/ 252197 w 779965"/>
                    <a:gd name="connsiteY1456" fmla="*/ 129759 h 1260351"/>
                    <a:gd name="connsiteX1457" fmla="*/ 252391 w 779965"/>
                    <a:gd name="connsiteY1457" fmla="*/ 130075 h 1260351"/>
                    <a:gd name="connsiteX1458" fmla="*/ 254504 w 779965"/>
                    <a:gd name="connsiteY1458" fmla="*/ 133609 h 1260351"/>
                    <a:gd name="connsiteX1459" fmla="*/ 255463 w 779965"/>
                    <a:gd name="connsiteY1459" fmla="*/ 136195 h 1260351"/>
                    <a:gd name="connsiteX1460" fmla="*/ 255682 w 779965"/>
                    <a:gd name="connsiteY1460" fmla="*/ 136790 h 1260351"/>
                    <a:gd name="connsiteX1461" fmla="*/ 256022 w 779965"/>
                    <a:gd name="connsiteY1461" fmla="*/ 137324 h 1260351"/>
                    <a:gd name="connsiteX1462" fmla="*/ 257564 w 779965"/>
                    <a:gd name="connsiteY1462" fmla="*/ 139789 h 1260351"/>
                    <a:gd name="connsiteX1463" fmla="*/ 258620 w 779965"/>
                    <a:gd name="connsiteY1463" fmla="*/ 141489 h 1260351"/>
                    <a:gd name="connsiteX1464" fmla="*/ 260478 w 779965"/>
                    <a:gd name="connsiteY1464" fmla="*/ 142218 h 1260351"/>
                    <a:gd name="connsiteX1465" fmla="*/ 263405 w 779965"/>
                    <a:gd name="connsiteY1465" fmla="*/ 143372 h 1260351"/>
                    <a:gd name="connsiteX1466" fmla="*/ 265663 w 779965"/>
                    <a:gd name="connsiteY1466" fmla="*/ 144270 h 1260351"/>
                    <a:gd name="connsiteX1467" fmla="*/ 267922 w 779965"/>
                    <a:gd name="connsiteY1467" fmla="*/ 143360 h 1260351"/>
                    <a:gd name="connsiteX1468" fmla="*/ 270508 w 779965"/>
                    <a:gd name="connsiteY1468" fmla="*/ 142315 h 1260351"/>
                    <a:gd name="connsiteX1469" fmla="*/ 271237 w 779965"/>
                    <a:gd name="connsiteY1469" fmla="*/ 142024 h 1260351"/>
                    <a:gd name="connsiteX1470" fmla="*/ 271868 w 779965"/>
                    <a:gd name="connsiteY1470" fmla="*/ 141550 h 1260351"/>
                    <a:gd name="connsiteX1471" fmla="*/ 276507 w 779965"/>
                    <a:gd name="connsiteY1471" fmla="*/ 138077 h 1260351"/>
                    <a:gd name="connsiteX1472" fmla="*/ 281085 w 779965"/>
                    <a:gd name="connsiteY1472" fmla="*/ 136134 h 1260351"/>
                    <a:gd name="connsiteX1473" fmla="*/ 282068 w 779965"/>
                    <a:gd name="connsiteY1473" fmla="*/ 135722 h 1260351"/>
                    <a:gd name="connsiteX1474" fmla="*/ 282845 w 779965"/>
                    <a:gd name="connsiteY1474" fmla="*/ 135005 h 1260351"/>
                    <a:gd name="connsiteX1475" fmla="*/ 286270 w 779965"/>
                    <a:gd name="connsiteY1475" fmla="*/ 131836 h 1260351"/>
                    <a:gd name="connsiteX1476" fmla="*/ 286464 w 779965"/>
                    <a:gd name="connsiteY1476" fmla="*/ 131714 h 1260351"/>
                    <a:gd name="connsiteX1477" fmla="*/ 288796 w 779965"/>
                    <a:gd name="connsiteY1477" fmla="*/ 132613 h 1260351"/>
                    <a:gd name="connsiteX1478" fmla="*/ 289087 w 779965"/>
                    <a:gd name="connsiteY1478" fmla="*/ 132722 h 1260351"/>
                    <a:gd name="connsiteX1479" fmla="*/ 289391 w 779965"/>
                    <a:gd name="connsiteY1479" fmla="*/ 132807 h 1260351"/>
                    <a:gd name="connsiteX1480" fmla="*/ 293045 w 779965"/>
                    <a:gd name="connsiteY1480" fmla="*/ 133791 h 1260351"/>
                    <a:gd name="connsiteX1481" fmla="*/ 303464 w 779965"/>
                    <a:gd name="connsiteY1481" fmla="*/ 138211 h 1260351"/>
                    <a:gd name="connsiteX1482" fmla="*/ 304448 w 779965"/>
                    <a:gd name="connsiteY1482" fmla="*/ 138624 h 1260351"/>
                    <a:gd name="connsiteX1483" fmla="*/ 305504 w 779965"/>
                    <a:gd name="connsiteY1483" fmla="*/ 138672 h 1260351"/>
                    <a:gd name="connsiteX1484" fmla="*/ 313409 w 779965"/>
                    <a:gd name="connsiteY1484" fmla="*/ 139109 h 1260351"/>
                    <a:gd name="connsiteX1485" fmla="*/ 314806 w 779965"/>
                    <a:gd name="connsiteY1485" fmla="*/ 139826 h 1260351"/>
                    <a:gd name="connsiteX1486" fmla="*/ 317963 w 779965"/>
                    <a:gd name="connsiteY1486" fmla="*/ 143967 h 1260351"/>
                    <a:gd name="connsiteX1487" fmla="*/ 322419 w 779965"/>
                    <a:gd name="connsiteY1487" fmla="*/ 152734 h 1260351"/>
                    <a:gd name="connsiteX1488" fmla="*/ 322674 w 779965"/>
                    <a:gd name="connsiteY1488" fmla="*/ 153244 h 1260351"/>
                    <a:gd name="connsiteX1489" fmla="*/ 323027 w 779965"/>
                    <a:gd name="connsiteY1489" fmla="*/ 153693 h 1260351"/>
                    <a:gd name="connsiteX1490" fmla="*/ 326014 w 779965"/>
                    <a:gd name="connsiteY1490" fmla="*/ 157555 h 1260351"/>
                    <a:gd name="connsiteX1491" fmla="*/ 326657 w 779965"/>
                    <a:gd name="connsiteY1491" fmla="*/ 158380 h 1260351"/>
                    <a:gd name="connsiteX1492" fmla="*/ 327544 w 779965"/>
                    <a:gd name="connsiteY1492" fmla="*/ 158951 h 1260351"/>
                    <a:gd name="connsiteX1493" fmla="*/ 330118 w 779965"/>
                    <a:gd name="connsiteY1493" fmla="*/ 160602 h 1260351"/>
                    <a:gd name="connsiteX1494" fmla="*/ 331624 w 779965"/>
                    <a:gd name="connsiteY1494" fmla="*/ 161562 h 1260351"/>
                    <a:gd name="connsiteX1495" fmla="*/ 332716 w 779965"/>
                    <a:gd name="connsiteY1495" fmla="*/ 161562 h 1260351"/>
                    <a:gd name="connsiteX1496" fmla="*/ 333372 w 779965"/>
                    <a:gd name="connsiteY1496" fmla="*/ 162958 h 1260351"/>
                    <a:gd name="connsiteX1497" fmla="*/ 334344 w 779965"/>
                    <a:gd name="connsiteY1497" fmla="*/ 164998 h 1260351"/>
                    <a:gd name="connsiteX1498" fmla="*/ 336408 w 779965"/>
                    <a:gd name="connsiteY1498" fmla="*/ 165921 h 1260351"/>
                    <a:gd name="connsiteX1499" fmla="*/ 338132 w 779965"/>
                    <a:gd name="connsiteY1499" fmla="*/ 166686 h 1260351"/>
                    <a:gd name="connsiteX1500" fmla="*/ 339759 w 779965"/>
                    <a:gd name="connsiteY1500" fmla="*/ 167415 h 1260351"/>
                    <a:gd name="connsiteX1501" fmla="*/ 341520 w 779965"/>
                    <a:gd name="connsiteY1501" fmla="*/ 167148 h 1260351"/>
                    <a:gd name="connsiteX1502" fmla="*/ 350737 w 779965"/>
                    <a:gd name="connsiteY1502" fmla="*/ 165739 h 1260351"/>
                    <a:gd name="connsiteX1503" fmla="*/ 351489 w 779965"/>
                    <a:gd name="connsiteY1503" fmla="*/ 165885 h 1260351"/>
                    <a:gd name="connsiteX1504" fmla="*/ 351817 w 779965"/>
                    <a:gd name="connsiteY1504" fmla="*/ 166079 h 1260351"/>
                    <a:gd name="connsiteX1505" fmla="*/ 353080 w 779965"/>
                    <a:gd name="connsiteY1505" fmla="*/ 167657 h 1260351"/>
                    <a:gd name="connsiteX1506" fmla="*/ 353687 w 779965"/>
                    <a:gd name="connsiteY1506" fmla="*/ 168422 h 1260351"/>
                    <a:gd name="connsiteX1507" fmla="*/ 354513 w 779965"/>
                    <a:gd name="connsiteY1507" fmla="*/ 168957 h 1260351"/>
                    <a:gd name="connsiteX1508" fmla="*/ 360718 w 779965"/>
                    <a:gd name="connsiteY1508" fmla="*/ 173000 h 1260351"/>
                    <a:gd name="connsiteX1509" fmla="*/ 361605 w 779965"/>
                    <a:gd name="connsiteY1509" fmla="*/ 174263 h 1260351"/>
                    <a:gd name="connsiteX1510" fmla="*/ 361835 w 779965"/>
                    <a:gd name="connsiteY1510" fmla="*/ 175599 h 1260351"/>
                    <a:gd name="connsiteX1511" fmla="*/ 357537 w 779965"/>
                    <a:gd name="connsiteY1511" fmla="*/ 189770 h 1260351"/>
                    <a:gd name="connsiteX1512" fmla="*/ 357427 w 779965"/>
                    <a:gd name="connsiteY1512" fmla="*/ 190122 h 1260351"/>
                    <a:gd name="connsiteX1513" fmla="*/ 357367 w 779965"/>
                    <a:gd name="connsiteY1513" fmla="*/ 190486 h 1260351"/>
                    <a:gd name="connsiteX1514" fmla="*/ 355995 w 779965"/>
                    <a:gd name="connsiteY1514" fmla="*/ 198343 h 1260351"/>
                    <a:gd name="connsiteX1515" fmla="*/ 355934 w 779965"/>
                    <a:gd name="connsiteY1515" fmla="*/ 198744 h 1260351"/>
                    <a:gd name="connsiteX1516" fmla="*/ 355922 w 779965"/>
                    <a:gd name="connsiteY1516" fmla="*/ 199144 h 1260351"/>
                    <a:gd name="connsiteX1517" fmla="*/ 355788 w 779965"/>
                    <a:gd name="connsiteY1517" fmla="*/ 202520 h 1260351"/>
                    <a:gd name="connsiteX1518" fmla="*/ 354015 w 779965"/>
                    <a:gd name="connsiteY1518" fmla="*/ 206976 h 1260351"/>
                    <a:gd name="connsiteX1519" fmla="*/ 353918 w 779965"/>
                    <a:gd name="connsiteY1519" fmla="*/ 206964 h 1260351"/>
                    <a:gd name="connsiteX1520" fmla="*/ 349899 w 779965"/>
                    <a:gd name="connsiteY1520" fmla="*/ 206564 h 1260351"/>
                    <a:gd name="connsiteX1521" fmla="*/ 349037 w 779965"/>
                    <a:gd name="connsiteY1521" fmla="*/ 206478 h 1260351"/>
                    <a:gd name="connsiteX1522" fmla="*/ 348187 w 779965"/>
                    <a:gd name="connsiteY1522" fmla="*/ 206636 h 1260351"/>
                    <a:gd name="connsiteX1523" fmla="*/ 344629 w 779965"/>
                    <a:gd name="connsiteY1523" fmla="*/ 207292 h 1260351"/>
                    <a:gd name="connsiteX1524" fmla="*/ 343536 w 779965"/>
                    <a:gd name="connsiteY1524" fmla="*/ 207498 h 1260351"/>
                    <a:gd name="connsiteX1525" fmla="*/ 342577 w 779965"/>
                    <a:gd name="connsiteY1525" fmla="*/ 208081 h 1260351"/>
                    <a:gd name="connsiteX1526" fmla="*/ 333797 w 779965"/>
                    <a:gd name="connsiteY1526" fmla="*/ 213412 h 1260351"/>
                    <a:gd name="connsiteX1527" fmla="*/ 324301 w 779965"/>
                    <a:gd name="connsiteY1527" fmla="*/ 216351 h 1260351"/>
                    <a:gd name="connsiteX1528" fmla="*/ 323464 w 779965"/>
                    <a:gd name="connsiteY1528" fmla="*/ 216606 h 1260351"/>
                    <a:gd name="connsiteX1529" fmla="*/ 322735 w 779965"/>
                    <a:gd name="connsiteY1529" fmla="*/ 217091 h 1260351"/>
                    <a:gd name="connsiteX1530" fmla="*/ 318995 w 779965"/>
                    <a:gd name="connsiteY1530" fmla="*/ 219569 h 1260351"/>
                    <a:gd name="connsiteX1531" fmla="*/ 317501 w 779965"/>
                    <a:gd name="connsiteY1531" fmla="*/ 220552 h 1260351"/>
                    <a:gd name="connsiteX1532" fmla="*/ 316785 w 779965"/>
                    <a:gd name="connsiteY1532" fmla="*/ 222179 h 1260351"/>
                    <a:gd name="connsiteX1533" fmla="*/ 314551 w 779965"/>
                    <a:gd name="connsiteY1533" fmla="*/ 227255 h 1260351"/>
                    <a:gd name="connsiteX1534" fmla="*/ 314101 w 779965"/>
                    <a:gd name="connsiteY1534" fmla="*/ 228275 h 1260351"/>
                    <a:gd name="connsiteX1535" fmla="*/ 314041 w 779965"/>
                    <a:gd name="connsiteY1535" fmla="*/ 229392 h 1260351"/>
                    <a:gd name="connsiteX1536" fmla="*/ 313859 w 779965"/>
                    <a:gd name="connsiteY1536" fmla="*/ 232950 h 1260351"/>
                    <a:gd name="connsiteX1537" fmla="*/ 313810 w 779965"/>
                    <a:gd name="connsiteY1537" fmla="*/ 233994 h 1260351"/>
                    <a:gd name="connsiteX1538" fmla="*/ 314113 w 779965"/>
                    <a:gd name="connsiteY1538" fmla="*/ 235002 h 1260351"/>
                    <a:gd name="connsiteX1539" fmla="*/ 315777 w 779965"/>
                    <a:gd name="connsiteY1539" fmla="*/ 240600 h 1260351"/>
                    <a:gd name="connsiteX1540" fmla="*/ 315729 w 779965"/>
                    <a:gd name="connsiteY1540" fmla="*/ 240807 h 1260351"/>
                    <a:gd name="connsiteX1541" fmla="*/ 310786 w 779965"/>
                    <a:gd name="connsiteY1541" fmla="*/ 245870 h 1260351"/>
                    <a:gd name="connsiteX1542" fmla="*/ 303938 w 779965"/>
                    <a:gd name="connsiteY1542" fmla="*/ 251359 h 1260351"/>
                    <a:gd name="connsiteX1543" fmla="*/ 301339 w 779965"/>
                    <a:gd name="connsiteY1543" fmla="*/ 252597 h 1260351"/>
                    <a:gd name="connsiteX1544" fmla="*/ 294551 w 779965"/>
                    <a:gd name="connsiteY1544" fmla="*/ 254613 h 1260351"/>
                    <a:gd name="connsiteX1545" fmla="*/ 294041 w 779965"/>
                    <a:gd name="connsiteY1545" fmla="*/ 254771 h 1260351"/>
                    <a:gd name="connsiteX1546" fmla="*/ 293568 w 779965"/>
                    <a:gd name="connsiteY1546" fmla="*/ 255014 h 1260351"/>
                    <a:gd name="connsiteX1547" fmla="*/ 290071 w 779965"/>
                    <a:gd name="connsiteY1547" fmla="*/ 256762 h 1260351"/>
                    <a:gd name="connsiteX1548" fmla="*/ 288285 w 779965"/>
                    <a:gd name="connsiteY1548" fmla="*/ 257661 h 1260351"/>
                    <a:gd name="connsiteX1549" fmla="*/ 287375 w 779965"/>
                    <a:gd name="connsiteY1549" fmla="*/ 259446 h 1260351"/>
                    <a:gd name="connsiteX1550" fmla="*/ 285651 w 779965"/>
                    <a:gd name="connsiteY1550" fmla="*/ 262834 h 1260351"/>
                    <a:gd name="connsiteX1551" fmla="*/ 285140 w 779965"/>
                    <a:gd name="connsiteY1551" fmla="*/ 263842 h 1260351"/>
                    <a:gd name="connsiteX1552" fmla="*/ 285019 w 779965"/>
                    <a:gd name="connsiteY1552" fmla="*/ 264959 h 1260351"/>
                    <a:gd name="connsiteX1553" fmla="*/ 284558 w 779965"/>
                    <a:gd name="connsiteY1553" fmla="*/ 269464 h 1260351"/>
                    <a:gd name="connsiteX1554" fmla="*/ 284473 w 779965"/>
                    <a:gd name="connsiteY1554" fmla="*/ 270375 h 1260351"/>
                    <a:gd name="connsiteX1555" fmla="*/ 284655 w 779965"/>
                    <a:gd name="connsiteY1555" fmla="*/ 271273 h 1260351"/>
                    <a:gd name="connsiteX1556" fmla="*/ 285833 w 779965"/>
                    <a:gd name="connsiteY1556" fmla="*/ 277150 h 1260351"/>
                    <a:gd name="connsiteX1557" fmla="*/ 285991 w 779965"/>
                    <a:gd name="connsiteY1557" fmla="*/ 281497 h 1260351"/>
                    <a:gd name="connsiteX1558" fmla="*/ 284315 w 779965"/>
                    <a:gd name="connsiteY1558" fmla="*/ 283465 h 1260351"/>
                    <a:gd name="connsiteX1559" fmla="*/ 284036 w 779965"/>
                    <a:gd name="connsiteY1559" fmla="*/ 283793 h 1260351"/>
                    <a:gd name="connsiteX1560" fmla="*/ 283805 w 779965"/>
                    <a:gd name="connsiteY1560" fmla="*/ 284157 h 1260351"/>
                    <a:gd name="connsiteX1561" fmla="*/ 282676 w 779965"/>
                    <a:gd name="connsiteY1561" fmla="*/ 285942 h 1260351"/>
                    <a:gd name="connsiteX1562" fmla="*/ 281850 w 779965"/>
                    <a:gd name="connsiteY1562" fmla="*/ 287253 h 1260351"/>
                    <a:gd name="connsiteX1563" fmla="*/ 281753 w 779965"/>
                    <a:gd name="connsiteY1563" fmla="*/ 288808 h 1260351"/>
                    <a:gd name="connsiteX1564" fmla="*/ 281571 w 779965"/>
                    <a:gd name="connsiteY1564" fmla="*/ 291588 h 1260351"/>
                    <a:gd name="connsiteX1565" fmla="*/ 281510 w 779965"/>
                    <a:gd name="connsiteY1565" fmla="*/ 292608 h 1260351"/>
                    <a:gd name="connsiteX1566" fmla="*/ 281777 w 779965"/>
                    <a:gd name="connsiteY1566" fmla="*/ 293592 h 1260351"/>
                    <a:gd name="connsiteX1567" fmla="*/ 282566 w 779965"/>
                    <a:gd name="connsiteY1567" fmla="*/ 296458 h 1260351"/>
                    <a:gd name="connsiteX1568" fmla="*/ 280283 w 779965"/>
                    <a:gd name="connsiteY1568" fmla="*/ 296846 h 1260351"/>
                    <a:gd name="connsiteX1569" fmla="*/ 278960 w 779965"/>
                    <a:gd name="connsiteY1569" fmla="*/ 297077 h 1260351"/>
                    <a:gd name="connsiteX1570" fmla="*/ 277855 w 779965"/>
                    <a:gd name="connsiteY1570" fmla="*/ 297842 h 1260351"/>
                    <a:gd name="connsiteX1571" fmla="*/ 267060 w 779965"/>
                    <a:gd name="connsiteY1571" fmla="*/ 305334 h 1260351"/>
                    <a:gd name="connsiteX1572" fmla="*/ 266295 w 779965"/>
                    <a:gd name="connsiteY1572" fmla="*/ 305856 h 1260351"/>
                    <a:gd name="connsiteX1573" fmla="*/ 265724 w 779965"/>
                    <a:gd name="connsiteY1573" fmla="*/ 306597 h 1260351"/>
                    <a:gd name="connsiteX1574" fmla="*/ 262968 w 779965"/>
                    <a:gd name="connsiteY1574" fmla="*/ 310155 h 1260351"/>
                    <a:gd name="connsiteX1575" fmla="*/ 262263 w 779965"/>
                    <a:gd name="connsiteY1575" fmla="*/ 311053 h 1260351"/>
                    <a:gd name="connsiteX1576" fmla="*/ 261935 w 779965"/>
                    <a:gd name="connsiteY1576" fmla="*/ 312146 h 1260351"/>
                    <a:gd name="connsiteX1577" fmla="*/ 261012 w 779965"/>
                    <a:gd name="connsiteY1577" fmla="*/ 315279 h 1260351"/>
                    <a:gd name="connsiteX1578" fmla="*/ 260830 w 779965"/>
                    <a:gd name="connsiteY1578" fmla="*/ 315886 h 1260351"/>
                    <a:gd name="connsiteX1579" fmla="*/ 260782 w 779965"/>
                    <a:gd name="connsiteY1579" fmla="*/ 316518 h 1260351"/>
                    <a:gd name="connsiteX1580" fmla="*/ 260709 w 779965"/>
                    <a:gd name="connsiteY1580" fmla="*/ 317477 h 1260351"/>
                    <a:gd name="connsiteX1581" fmla="*/ 259385 w 779965"/>
                    <a:gd name="connsiteY1581" fmla="*/ 318230 h 1260351"/>
                    <a:gd name="connsiteX1582" fmla="*/ 256605 w 779965"/>
                    <a:gd name="connsiteY1582" fmla="*/ 319262 h 1260351"/>
                    <a:gd name="connsiteX1583" fmla="*/ 252609 w 779965"/>
                    <a:gd name="connsiteY1583" fmla="*/ 319760 h 1260351"/>
                    <a:gd name="connsiteX1584" fmla="*/ 251796 w 779965"/>
                    <a:gd name="connsiteY1584" fmla="*/ 319857 h 1260351"/>
                    <a:gd name="connsiteX1585" fmla="*/ 251043 w 779965"/>
                    <a:gd name="connsiteY1585" fmla="*/ 320173 h 1260351"/>
                    <a:gd name="connsiteX1586" fmla="*/ 248141 w 779965"/>
                    <a:gd name="connsiteY1586" fmla="*/ 321375 h 1260351"/>
                    <a:gd name="connsiteX1587" fmla="*/ 245032 w 779965"/>
                    <a:gd name="connsiteY1587" fmla="*/ 321946 h 1260351"/>
                    <a:gd name="connsiteX1588" fmla="*/ 243709 w 779965"/>
                    <a:gd name="connsiteY1588" fmla="*/ 322189 h 1260351"/>
                    <a:gd name="connsiteX1589" fmla="*/ 242616 w 779965"/>
                    <a:gd name="connsiteY1589" fmla="*/ 322966 h 1260351"/>
                    <a:gd name="connsiteX1590" fmla="*/ 237504 w 779965"/>
                    <a:gd name="connsiteY1590" fmla="*/ 326584 h 1260351"/>
                    <a:gd name="connsiteX1591" fmla="*/ 237067 w 779965"/>
                    <a:gd name="connsiteY1591" fmla="*/ 326888 h 1260351"/>
                    <a:gd name="connsiteX1592" fmla="*/ 236690 w 779965"/>
                    <a:gd name="connsiteY1592" fmla="*/ 327264 h 1260351"/>
                    <a:gd name="connsiteX1593" fmla="*/ 233132 w 779965"/>
                    <a:gd name="connsiteY1593" fmla="*/ 330859 h 1260351"/>
                    <a:gd name="connsiteX1594" fmla="*/ 231299 w 779965"/>
                    <a:gd name="connsiteY1594" fmla="*/ 332207 h 1260351"/>
                    <a:gd name="connsiteX1595" fmla="*/ 228057 w 779965"/>
                    <a:gd name="connsiteY1595" fmla="*/ 334113 h 1260351"/>
                    <a:gd name="connsiteX1596" fmla="*/ 227255 w 779965"/>
                    <a:gd name="connsiteY1596" fmla="*/ 334587 h 1260351"/>
                    <a:gd name="connsiteX1597" fmla="*/ 226636 w 779965"/>
                    <a:gd name="connsiteY1597" fmla="*/ 335279 h 1260351"/>
                    <a:gd name="connsiteX1598" fmla="*/ 225021 w 779965"/>
                    <a:gd name="connsiteY1598" fmla="*/ 337064 h 1260351"/>
                    <a:gd name="connsiteX1599" fmla="*/ 224790 w 779965"/>
                    <a:gd name="connsiteY1599" fmla="*/ 337209 h 1260351"/>
                    <a:gd name="connsiteX1600" fmla="*/ 222264 w 779965"/>
                    <a:gd name="connsiteY1600" fmla="*/ 332656 h 1260351"/>
                    <a:gd name="connsiteX1601" fmla="*/ 221900 w 779965"/>
                    <a:gd name="connsiteY1601" fmla="*/ 332000 h 1260351"/>
                    <a:gd name="connsiteX1602" fmla="*/ 221390 w 779965"/>
                    <a:gd name="connsiteY1602" fmla="*/ 331454 h 1260351"/>
                    <a:gd name="connsiteX1603" fmla="*/ 219265 w 779965"/>
                    <a:gd name="connsiteY1603" fmla="*/ 329183 h 1260351"/>
                    <a:gd name="connsiteX1604" fmla="*/ 218318 w 779965"/>
                    <a:gd name="connsiteY1604" fmla="*/ 328163 h 1260351"/>
                    <a:gd name="connsiteX1605" fmla="*/ 217019 w 779965"/>
                    <a:gd name="connsiteY1605" fmla="*/ 327653 h 1260351"/>
                    <a:gd name="connsiteX1606" fmla="*/ 214250 w 779965"/>
                    <a:gd name="connsiteY1606" fmla="*/ 326584 h 1260351"/>
                    <a:gd name="connsiteX1607" fmla="*/ 212987 w 779965"/>
                    <a:gd name="connsiteY1607" fmla="*/ 326099 h 1260351"/>
                    <a:gd name="connsiteX1608" fmla="*/ 211627 w 779965"/>
                    <a:gd name="connsiteY1608" fmla="*/ 326196 h 1260351"/>
                    <a:gd name="connsiteX1609" fmla="*/ 209114 w 779965"/>
                    <a:gd name="connsiteY1609" fmla="*/ 326378 h 1260351"/>
                    <a:gd name="connsiteX1610" fmla="*/ 207171 w 779965"/>
                    <a:gd name="connsiteY1610" fmla="*/ 326524 h 1260351"/>
                    <a:gd name="connsiteX1611" fmla="*/ 205665 w 779965"/>
                    <a:gd name="connsiteY1611" fmla="*/ 327774 h 1260351"/>
                    <a:gd name="connsiteX1612" fmla="*/ 202484 w 779965"/>
                    <a:gd name="connsiteY1612" fmla="*/ 330421 h 1260351"/>
                    <a:gd name="connsiteX1613" fmla="*/ 199071 w 779965"/>
                    <a:gd name="connsiteY1613" fmla="*/ 330847 h 1260351"/>
                    <a:gd name="connsiteX1614" fmla="*/ 198501 w 779965"/>
                    <a:gd name="connsiteY1614" fmla="*/ 330919 h 1260351"/>
                    <a:gd name="connsiteX1615" fmla="*/ 197954 w 779965"/>
                    <a:gd name="connsiteY1615" fmla="*/ 331101 h 1260351"/>
                    <a:gd name="connsiteX1616" fmla="*/ 195028 w 779965"/>
                    <a:gd name="connsiteY1616" fmla="*/ 332049 h 1260351"/>
                    <a:gd name="connsiteX1617" fmla="*/ 193874 w 779965"/>
                    <a:gd name="connsiteY1617" fmla="*/ 332425 h 1260351"/>
                    <a:gd name="connsiteX1618" fmla="*/ 192951 w 779965"/>
                    <a:gd name="connsiteY1618" fmla="*/ 333202 h 1260351"/>
                    <a:gd name="connsiteX1619" fmla="*/ 190049 w 779965"/>
                    <a:gd name="connsiteY1619" fmla="*/ 335679 h 1260351"/>
                    <a:gd name="connsiteX1620" fmla="*/ 189296 w 779965"/>
                    <a:gd name="connsiteY1620" fmla="*/ 336019 h 1260351"/>
                    <a:gd name="connsiteX1621" fmla="*/ 189090 w 779965"/>
                    <a:gd name="connsiteY1621" fmla="*/ 335412 h 1260351"/>
                    <a:gd name="connsiteX1622" fmla="*/ 188920 w 779965"/>
                    <a:gd name="connsiteY1622" fmla="*/ 334927 h 1260351"/>
                    <a:gd name="connsiteX1623" fmla="*/ 188677 w 779965"/>
                    <a:gd name="connsiteY1623" fmla="*/ 334477 h 1260351"/>
                    <a:gd name="connsiteX1624" fmla="*/ 187657 w 779965"/>
                    <a:gd name="connsiteY1624" fmla="*/ 332583 h 1260351"/>
                    <a:gd name="connsiteX1625" fmla="*/ 186346 w 779965"/>
                    <a:gd name="connsiteY1625" fmla="*/ 330154 h 1260351"/>
                    <a:gd name="connsiteX1626" fmla="*/ 183650 w 779965"/>
                    <a:gd name="connsiteY1626" fmla="*/ 329547 h 1260351"/>
                    <a:gd name="connsiteX1627" fmla="*/ 181865 w 779965"/>
                    <a:gd name="connsiteY1627" fmla="*/ 329147 h 1260351"/>
                    <a:gd name="connsiteX1628" fmla="*/ 179813 w 779965"/>
                    <a:gd name="connsiteY1628" fmla="*/ 328685 h 1260351"/>
                    <a:gd name="connsiteX1629" fmla="*/ 177918 w 779965"/>
                    <a:gd name="connsiteY1629" fmla="*/ 329596 h 1260351"/>
                    <a:gd name="connsiteX1630" fmla="*/ 175672 w 779965"/>
                    <a:gd name="connsiteY1630" fmla="*/ 330664 h 1260351"/>
                    <a:gd name="connsiteX1631" fmla="*/ 174664 w 779965"/>
                    <a:gd name="connsiteY1631" fmla="*/ 331150 h 1260351"/>
                    <a:gd name="connsiteX1632" fmla="*/ 173899 w 779965"/>
                    <a:gd name="connsiteY1632" fmla="*/ 331952 h 1260351"/>
                    <a:gd name="connsiteX1633" fmla="*/ 171434 w 779965"/>
                    <a:gd name="connsiteY1633" fmla="*/ 334526 h 1260351"/>
                    <a:gd name="connsiteX1634" fmla="*/ 171191 w 779965"/>
                    <a:gd name="connsiteY1634" fmla="*/ 334781 h 1260351"/>
                    <a:gd name="connsiteX1635" fmla="*/ 170985 w 779965"/>
                    <a:gd name="connsiteY1635" fmla="*/ 335048 h 1260351"/>
                    <a:gd name="connsiteX1636" fmla="*/ 164622 w 779965"/>
                    <a:gd name="connsiteY1636" fmla="*/ 343414 h 1260351"/>
                    <a:gd name="connsiteX1637" fmla="*/ 164051 w 779965"/>
                    <a:gd name="connsiteY1637" fmla="*/ 344167 h 1260351"/>
                    <a:gd name="connsiteX1638" fmla="*/ 163735 w 779965"/>
                    <a:gd name="connsiteY1638" fmla="*/ 345066 h 1260351"/>
                    <a:gd name="connsiteX1639" fmla="*/ 162181 w 779965"/>
                    <a:gd name="connsiteY1639" fmla="*/ 349474 h 1260351"/>
                    <a:gd name="connsiteX1640" fmla="*/ 161890 w 779965"/>
                    <a:gd name="connsiteY1640" fmla="*/ 350299 h 1260351"/>
                    <a:gd name="connsiteX1641" fmla="*/ 161841 w 779965"/>
                    <a:gd name="connsiteY1641" fmla="*/ 351186 h 1260351"/>
                    <a:gd name="connsiteX1642" fmla="*/ 161489 w 779965"/>
                    <a:gd name="connsiteY1642" fmla="*/ 358168 h 1260351"/>
                    <a:gd name="connsiteX1643" fmla="*/ 161465 w 779965"/>
                    <a:gd name="connsiteY1643" fmla="*/ 358678 h 1260351"/>
                    <a:gd name="connsiteX1644" fmla="*/ 161525 w 779965"/>
                    <a:gd name="connsiteY1644" fmla="*/ 359176 h 1260351"/>
                    <a:gd name="connsiteX1645" fmla="*/ 162084 w 779965"/>
                    <a:gd name="connsiteY1645" fmla="*/ 364045 h 1260351"/>
                    <a:gd name="connsiteX1646" fmla="*/ 161805 w 779965"/>
                    <a:gd name="connsiteY1646" fmla="*/ 368223 h 1260351"/>
                    <a:gd name="connsiteX1647" fmla="*/ 161440 w 779965"/>
                    <a:gd name="connsiteY1647" fmla="*/ 370214 h 1260351"/>
                    <a:gd name="connsiteX1648" fmla="*/ 158380 w 779965"/>
                    <a:gd name="connsiteY1648" fmla="*/ 375375 h 1260351"/>
                    <a:gd name="connsiteX1649" fmla="*/ 151932 w 779965"/>
                    <a:gd name="connsiteY1649" fmla="*/ 379127 h 1260351"/>
                    <a:gd name="connsiteX1650" fmla="*/ 151459 w 779965"/>
                    <a:gd name="connsiteY1650" fmla="*/ 379394 h 1260351"/>
                    <a:gd name="connsiteX1651" fmla="*/ 151046 w 779965"/>
                    <a:gd name="connsiteY1651" fmla="*/ 379734 h 1260351"/>
                    <a:gd name="connsiteX1652" fmla="*/ 149225 w 779965"/>
                    <a:gd name="connsiteY1652" fmla="*/ 381276 h 1260351"/>
                    <a:gd name="connsiteX1653" fmla="*/ 148812 w 779965"/>
                    <a:gd name="connsiteY1653" fmla="*/ 381616 h 1260351"/>
                    <a:gd name="connsiteX1654" fmla="*/ 148472 w 779965"/>
                    <a:gd name="connsiteY1654" fmla="*/ 382029 h 1260351"/>
                    <a:gd name="connsiteX1655" fmla="*/ 145994 w 779965"/>
                    <a:gd name="connsiteY1655" fmla="*/ 385016 h 1260351"/>
                    <a:gd name="connsiteX1656" fmla="*/ 145424 w 779965"/>
                    <a:gd name="connsiteY1656" fmla="*/ 385708 h 1260351"/>
                    <a:gd name="connsiteX1657" fmla="*/ 145084 w 779965"/>
                    <a:gd name="connsiteY1657" fmla="*/ 386534 h 1260351"/>
                    <a:gd name="connsiteX1658" fmla="*/ 143700 w 779965"/>
                    <a:gd name="connsiteY1658" fmla="*/ 389813 h 1260351"/>
                    <a:gd name="connsiteX1659" fmla="*/ 143274 w 779965"/>
                    <a:gd name="connsiteY1659" fmla="*/ 390796 h 1260351"/>
                    <a:gd name="connsiteX1660" fmla="*/ 143226 w 779965"/>
                    <a:gd name="connsiteY1660" fmla="*/ 391877 h 1260351"/>
                    <a:gd name="connsiteX1661" fmla="*/ 142789 w 779965"/>
                    <a:gd name="connsiteY1661" fmla="*/ 400790 h 1260351"/>
                    <a:gd name="connsiteX1662" fmla="*/ 141356 w 779965"/>
                    <a:gd name="connsiteY1662" fmla="*/ 401239 h 1260351"/>
                    <a:gd name="connsiteX1663" fmla="*/ 139947 w 779965"/>
                    <a:gd name="connsiteY1663" fmla="*/ 401664 h 1260351"/>
                    <a:gd name="connsiteX1664" fmla="*/ 138891 w 779965"/>
                    <a:gd name="connsiteY1664" fmla="*/ 402696 h 1260351"/>
                    <a:gd name="connsiteX1665" fmla="*/ 138089 w 779965"/>
                    <a:gd name="connsiteY1665" fmla="*/ 403473 h 1260351"/>
                    <a:gd name="connsiteX1666" fmla="*/ 135965 w 779965"/>
                    <a:gd name="connsiteY1666" fmla="*/ 405550 h 1260351"/>
                    <a:gd name="connsiteX1667" fmla="*/ 135224 w 779965"/>
                    <a:gd name="connsiteY1667" fmla="*/ 405210 h 1260351"/>
                    <a:gd name="connsiteX1668" fmla="*/ 133500 w 779965"/>
                    <a:gd name="connsiteY1668" fmla="*/ 404384 h 1260351"/>
                    <a:gd name="connsiteX1669" fmla="*/ 131617 w 779965"/>
                    <a:gd name="connsiteY1669" fmla="*/ 404700 h 1260351"/>
                    <a:gd name="connsiteX1670" fmla="*/ 128703 w 779965"/>
                    <a:gd name="connsiteY1670" fmla="*/ 405186 h 1260351"/>
                    <a:gd name="connsiteX1671" fmla="*/ 127112 w 779965"/>
                    <a:gd name="connsiteY1671" fmla="*/ 405440 h 1260351"/>
                    <a:gd name="connsiteX1672" fmla="*/ 125862 w 779965"/>
                    <a:gd name="connsiteY1672" fmla="*/ 406460 h 1260351"/>
                    <a:gd name="connsiteX1673" fmla="*/ 122935 w 779965"/>
                    <a:gd name="connsiteY1673" fmla="*/ 408840 h 1260351"/>
                    <a:gd name="connsiteX1674" fmla="*/ 122158 w 779965"/>
                    <a:gd name="connsiteY1674" fmla="*/ 409484 h 1260351"/>
                    <a:gd name="connsiteX1675" fmla="*/ 121624 w 779965"/>
                    <a:gd name="connsiteY1675" fmla="*/ 410322 h 1260351"/>
                    <a:gd name="connsiteX1676" fmla="*/ 118175 w 779965"/>
                    <a:gd name="connsiteY1676" fmla="*/ 415835 h 1260351"/>
                    <a:gd name="connsiteX1677" fmla="*/ 118005 w 779965"/>
                    <a:gd name="connsiteY1677" fmla="*/ 416102 h 1260351"/>
                    <a:gd name="connsiteX1678" fmla="*/ 117859 w 779965"/>
                    <a:gd name="connsiteY1678" fmla="*/ 416393 h 1260351"/>
                    <a:gd name="connsiteX1679" fmla="*/ 110221 w 779965"/>
                    <a:gd name="connsiteY1679" fmla="*/ 432070 h 1260351"/>
                    <a:gd name="connsiteX1680" fmla="*/ 110039 w 779965"/>
                    <a:gd name="connsiteY1680" fmla="*/ 432434 h 1260351"/>
                    <a:gd name="connsiteX1681" fmla="*/ 109906 w 779965"/>
                    <a:gd name="connsiteY1681" fmla="*/ 432823 h 1260351"/>
                    <a:gd name="connsiteX1682" fmla="*/ 108181 w 779965"/>
                    <a:gd name="connsiteY1682" fmla="*/ 438081 h 1260351"/>
                    <a:gd name="connsiteX1683" fmla="*/ 107926 w 779965"/>
                    <a:gd name="connsiteY1683" fmla="*/ 438858 h 1260351"/>
                    <a:gd name="connsiteX1684" fmla="*/ 107890 w 779965"/>
                    <a:gd name="connsiteY1684" fmla="*/ 439684 h 1260351"/>
                    <a:gd name="connsiteX1685" fmla="*/ 107489 w 779965"/>
                    <a:gd name="connsiteY1685" fmla="*/ 448147 h 1260351"/>
                    <a:gd name="connsiteX1686" fmla="*/ 107477 w 779965"/>
                    <a:gd name="connsiteY1686" fmla="*/ 448512 h 1260351"/>
                    <a:gd name="connsiteX1687" fmla="*/ 107501 w 779965"/>
                    <a:gd name="connsiteY1687" fmla="*/ 448876 h 1260351"/>
                    <a:gd name="connsiteX1688" fmla="*/ 108315 w 779965"/>
                    <a:gd name="connsiteY1688" fmla="*/ 459744 h 1260351"/>
                    <a:gd name="connsiteX1689" fmla="*/ 105874 w 779965"/>
                    <a:gd name="connsiteY1689" fmla="*/ 466604 h 1260351"/>
                    <a:gd name="connsiteX1690" fmla="*/ 103616 w 779965"/>
                    <a:gd name="connsiteY1690" fmla="*/ 470684 h 1260351"/>
                    <a:gd name="connsiteX1691" fmla="*/ 102584 w 779965"/>
                    <a:gd name="connsiteY1691" fmla="*/ 471498 h 1260351"/>
                    <a:gd name="connsiteX1692" fmla="*/ 97872 w 779965"/>
                    <a:gd name="connsiteY1692" fmla="*/ 472190 h 1260351"/>
                    <a:gd name="connsiteX1693" fmla="*/ 95686 w 779965"/>
                    <a:gd name="connsiteY1693" fmla="*/ 472506 h 1260351"/>
                    <a:gd name="connsiteX1694" fmla="*/ 94217 w 779965"/>
                    <a:gd name="connsiteY1694" fmla="*/ 474157 h 1260351"/>
                    <a:gd name="connsiteX1695" fmla="*/ 91570 w 779965"/>
                    <a:gd name="connsiteY1695" fmla="*/ 477120 h 1260351"/>
                    <a:gd name="connsiteX1696" fmla="*/ 90732 w 779965"/>
                    <a:gd name="connsiteY1696" fmla="*/ 478055 h 1260351"/>
                    <a:gd name="connsiteX1697" fmla="*/ 90331 w 779965"/>
                    <a:gd name="connsiteY1697" fmla="*/ 479257 h 1260351"/>
                    <a:gd name="connsiteX1698" fmla="*/ 88558 w 779965"/>
                    <a:gd name="connsiteY1698" fmla="*/ 484588 h 1260351"/>
                    <a:gd name="connsiteX1699" fmla="*/ 88303 w 779965"/>
                    <a:gd name="connsiteY1699" fmla="*/ 485341 h 1260351"/>
                    <a:gd name="connsiteX1700" fmla="*/ 88255 w 779965"/>
                    <a:gd name="connsiteY1700" fmla="*/ 486118 h 1260351"/>
                    <a:gd name="connsiteX1701" fmla="*/ 87138 w 779965"/>
                    <a:gd name="connsiteY1701" fmla="*/ 504867 h 1260351"/>
                    <a:gd name="connsiteX1702" fmla="*/ 86616 w 779965"/>
                    <a:gd name="connsiteY1702" fmla="*/ 506858 h 1260351"/>
                    <a:gd name="connsiteX1703" fmla="*/ 85923 w 779965"/>
                    <a:gd name="connsiteY1703" fmla="*/ 510744 h 1260351"/>
                    <a:gd name="connsiteX1704" fmla="*/ 85802 w 779965"/>
                    <a:gd name="connsiteY1704" fmla="*/ 511473 h 1260351"/>
                    <a:gd name="connsiteX1705" fmla="*/ 85851 w 779965"/>
                    <a:gd name="connsiteY1705" fmla="*/ 512213 h 1260351"/>
                    <a:gd name="connsiteX1706" fmla="*/ 87065 w 779965"/>
                    <a:gd name="connsiteY1706" fmla="*/ 528849 h 1260351"/>
                    <a:gd name="connsiteX1707" fmla="*/ 86652 w 779965"/>
                    <a:gd name="connsiteY1707" fmla="*/ 532383 h 1260351"/>
                    <a:gd name="connsiteX1708" fmla="*/ 84041 w 779965"/>
                    <a:gd name="connsiteY1708" fmla="*/ 539292 h 1260351"/>
                    <a:gd name="connsiteX1709" fmla="*/ 83883 w 779965"/>
                    <a:gd name="connsiteY1709" fmla="*/ 539729 h 1260351"/>
                    <a:gd name="connsiteX1710" fmla="*/ 83786 w 779965"/>
                    <a:gd name="connsiteY1710" fmla="*/ 540178 h 1260351"/>
                    <a:gd name="connsiteX1711" fmla="*/ 82390 w 779965"/>
                    <a:gd name="connsiteY1711" fmla="*/ 546736 h 1260351"/>
                    <a:gd name="connsiteX1712" fmla="*/ 78990 w 779965"/>
                    <a:gd name="connsiteY1712" fmla="*/ 555624 h 1260351"/>
                    <a:gd name="connsiteX1713" fmla="*/ 78601 w 779965"/>
                    <a:gd name="connsiteY1713" fmla="*/ 556644 h 1260351"/>
                    <a:gd name="connsiteX1714" fmla="*/ 78589 w 779965"/>
                    <a:gd name="connsiteY1714" fmla="*/ 557725 h 1260351"/>
                    <a:gd name="connsiteX1715" fmla="*/ 78504 w 779965"/>
                    <a:gd name="connsiteY1715" fmla="*/ 565958 h 1260351"/>
                    <a:gd name="connsiteX1716" fmla="*/ 77350 w 779965"/>
                    <a:gd name="connsiteY1716" fmla="*/ 568229 h 1260351"/>
                    <a:gd name="connsiteX1717" fmla="*/ 72566 w 779965"/>
                    <a:gd name="connsiteY1717" fmla="*/ 573013 h 1260351"/>
                    <a:gd name="connsiteX1718" fmla="*/ 71425 w 779965"/>
                    <a:gd name="connsiteY1718" fmla="*/ 573924 h 1260351"/>
                    <a:gd name="connsiteX1719" fmla="*/ 57545 w 779965"/>
                    <a:gd name="connsiteY1719" fmla="*/ 580699 h 1260351"/>
                    <a:gd name="connsiteX1720" fmla="*/ 57242 w 779965"/>
                    <a:gd name="connsiteY1720" fmla="*/ 580857 h 1260351"/>
                    <a:gd name="connsiteX1721" fmla="*/ 56950 w 779965"/>
                    <a:gd name="connsiteY1721" fmla="*/ 581040 h 1260351"/>
                    <a:gd name="connsiteX1722" fmla="*/ 44953 w 779965"/>
                    <a:gd name="connsiteY1722" fmla="*/ 588678 h 1260351"/>
                    <a:gd name="connsiteX1723" fmla="*/ 44492 w 779965"/>
                    <a:gd name="connsiteY1723" fmla="*/ 588969 h 1260351"/>
                    <a:gd name="connsiteX1724" fmla="*/ 44091 w 779965"/>
                    <a:gd name="connsiteY1724" fmla="*/ 589333 h 1260351"/>
                    <a:gd name="connsiteX1725" fmla="*/ 41857 w 779965"/>
                    <a:gd name="connsiteY1725" fmla="*/ 591398 h 1260351"/>
                    <a:gd name="connsiteX1726" fmla="*/ 41480 w 779965"/>
                    <a:gd name="connsiteY1726" fmla="*/ 591750 h 1260351"/>
                    <a:gd name="connsiteX1727" fmla="*/ 41165 w 779965"/>
                    <a:gd name="connsiteY1727" fmla="*/ 592162 h 1260351"/>
                    <a:gd name="connsiteX1728" fmla="*/ 39780 w 779965"/>
                    <a:gd name="connsiteY1728" fmla="*/ 593960 h 1260351"/>
                    <a:gd name="connsiteX1729" fmla="*/ 39380 w 779965"/>
                    <a:gd name="connsiteY1729" fmla="*/ 594482 h 1260351"/>
                    <a:gd name="connsiteX1730" fmla="*/ 39100 w 779965"/>
                    <a:gd name="connsiteY1730" fmla="*/ 595077 h 1260351"/>
                    <a:gd name="connsiteX1731" fmla="*/ 37995 w 779965"/>
                    <a:gd name="connsiteY1731" fmla="*/ 597433 h 1260351"/>
                    <a:gd name="connsiteX1732" fmla="*/ 37752 w 779965"/>
                    <a:gd name="connsiteY1732" fmla="*/ 597967 h 1260351"/>
                    <a:gd name="connsiteX1733" fmla="*/ 37607 w 779965"/>
                    <a:gd name="connsiteY1733" fmla="*/ 598537 h 1260351"/>
                    <a:gd name="connsiteX1734" fmla="*/ 37097 w 779965"/>
                    <a:gd name="connsiteY1734" fmla="*/ 600577 h 1260351"/>
                    <a:gd name="connsiteX1735" fmla="*/ 37012 w 779965"/>
                    <a:gd name="connsiteY1735" fmla="*/ 600881 h 1260351"/>
                    <a:gd name="connsiteX1736" fmla="*/ 36975 w 779965"/>
                    <a:gd name="connsiteY1736" fmla="*/ 601185 h 1260351"/>
                    <a:gd name="connsiteX1737" fmla="*/ 35263 w 779965"/>
                    <a:gd name="connsiteY1737" fmla="*/ 613340 h 1260351"/>
                    <a:gd name="connsiteX1738" fmla="*/ 33308 w 779965"/>
                    <a:gd name="connsiteY1738" fmla="*/ 620115 h 1260351"/>
                    <a:gd name="connsiteX1739" fmla="*/ 33187 w 779965"/>
                    <a:gd name="connsiteY1739" fmla="*/ 620541 h 1260351"/>
                    <a:gd name="connsiteX1740" fmla="*/ 33126 w 779965"/>
                    <a:gd name="connsiteY1740" fmla="*/ 620978 h 1260351"/>
                    <a:gd name="connsiteX1741" fmla="*/ 32834 w 779965"/>
                    <a:gd name="connsiteY1741" fmla="*/ 623127 h 1260351"/>
                    <a:gd name="connsiteX1742" fmla="*/ 32762 w 779965"/>
                    <a:gd name="connsiteY1742" fmla="*/ 623661 h 1260351"/>
                    <a:gd name="connsiteX1743" fmla="*/ 32786 w 779965"/>
                    <a:gd name="connsiteY1743" fmla="*/ 624183 h 1260351"/>
                    <a:gd name="connsiteX1744" fmla="*/ 32895 w 779965"/>
                    <a:gd name="connsiteY1744" fmla="*/ 627025 h 1260351"/>
                    <a:gd name="connsiteX1745" fmla="*/ 32919 w 779965"/>
                    <a:gd name="connsiteY1745" fmla="*/ 627729 h 1260351"/>
                    <a:gd name="connsiteX1746" fmla="*/ 33102 w 779965"/>
                    <a:gd name="connsiteY1746" fmla="*/ 628397 h 1260351"/>
                    <a:gd name="connsiteX1747" fmla="*/ 34194 w 779965"/>
                    <a:gd name="connsiteY1747" fmla="*/ 632380 h 1260351"/>
                    <a:gd name="connsiteX1748" fmla="*/ 34304 w 779965"/>
                    <a:gd name="connsiteY1748" fmla="*/ 632793 h 1260351"/>
                    <a:gd name="connsiteX1749" fmla="*/ 34474 w 779965"/>
                    <a:gd name="connsiteY1749" fmla="*/ 633182 h 1260351"/>
                    <a:gd name="connsiteX1750" fmla="*/ 36137 w 779965"/>
                    <a:gd name="connsiteY1750" fmla="*/ 637031 h 1260351"/>
                    <a:gd name="connsiteX1751" fmla="*/ 36356 w 779965"/>
                    <a:gd name="connsiteY1751" fmla="*/ 637541 h 1260351"/>
                    <a:gd name="connsiteX1752" fmla="*/ 36659 w 779965"/>
                    <a:gd name="connsiteY1752" fmla="*/ 637990 h 1260351"/>
                    <a:gd name="connsiteX1753" fmla="*/ 37752 w 779965"/>
                    <a:gd name="connsiteY1753" fmla="*/ 639629 h 1260351"/>
                    <a:gd name="connsiteX1754" fmla="*/ 37947 w 779965"/>
                    <a:gd name="connsiteY1754" fmla="*/ 639921 h 1260351"/>
                    <a:gd name="connsiteX1755" fmla="*/ 38190 w 779965"/>
                    <a:gd name="connsiteY1755" fmla="*/ 640188 h 1260351"/>
                    <a:gd name="connsiteX1756" fmla="*/ 39622 w 779965"/>
                    <a:gd name="connsiteY1756" fmla="*/ 641876 h 1260351"/>
                    <a:gd name="connsiteX1757" fmla="*/ 40060 w 779965"/>
                    <a:gd name="connsiteY1757" fmla="*/ 642398 h 1260351"/>
                    <a:gd name="connsiteX1758" fmla="*/ 40606 w 779965"/>
                    <a:gd name="connsiteY1758" fmla="*/ 642799 h 1260351"/>
                    <a:gd name="connsiteX1759" fmla="*/ 42160 w 779965"/>
                    <a:gd name="connsiteY1759" fmla="*/ 643964 h 1260351"/>
                    <a:gd name="connsiteX1760" fmla="*/ 42634 w 779965"/>
                    <a:gd name="connsiteY1760" fmla="*/ 644317 h 1260351"/>
                    <a:gd name="connsiteX1761" fmla="*/ 43168 w 779965"/>
                    <a:gd name="connsiteY1761" fmla="*/ 644571 h 1260351"/>
                    <a:gd name="connsiteX1762" fmla="*/ 44953 w 779965"/>
                    <a:gd name="connsiteY1762" fmla="*/ 645422 h 1260351"/>
                    <a:gd name="connsiteX1763" fmla="*/ 45694 w 779965"/>
                    <a:gd name="connsiteY1763" fmla="*/ 645761 h 1260351"/>
                    <a:gd name="connsiteX1764" fmla="*/ 46495 w 779965"/>
                    <a:gd name="connsiteY1764" fmla="*/ 645919 h 1260351"/>
                    <a:gd name="connsiteX1765" fmla="*/ 48390 w 779965"/>
                    <a:gd name="connsiteY1765" fmla="*/ 646259 h 1260351"/>
                    <a:gd name="connsiteX1766" fmla="*/ 48839 w 779965"/>
                    <a:gd name="connsiteY1766" fmla="*/ 646344 h 1260351"/>
                    <a:gd name="connsiteX1767" fmla="*/ 49300 w 779965"/>
                    <a:gd name="connsiteY1767" fmla="*/ 646357 h 1260351"/>
                    <a:gd name="connsiteX1768" fmla="*/ 50563 w 779965"/>
                    <a:gd name="connsiteY1768" fmla="*/ 646393 h 1260351"/>
                    <a:gd name="connsiteX1769" fmla="*/ 51207 w 779965"/>
                    <a:gd name="connsiteY1769" fmla="*/ 646405 h 1260351"/>
                    <a:gd name="connsiteX1770" fmla="*/ 51826 w 779965"/>
                    <a:gd name="connsiteY1770" fmla="*/ 646296 h 1260351"/>
                    <a:gd name="connsiteX1771" fmla="*/ 52798 w 779965"/>
                    <a:gd name="connsiteY1771" fmla="*/ 646113 h 1260351"/>
                    <a:gd name="connsiteX1772" fmla="*/ 53247 w 779965"/>
                    <a:gd name="connsiteY1772" fmla="*/ 646029 h 1260351"/>
                    <a:gd name="connsiteX1773" fmla="*/ 53684 w 779965"/>
                    <a:gd name="connsiteY1773" fmla="*/ 645871 h 1260351"/>
                    <a:gd name="connsiteX1774" fmla="*/ 55299 w 779965"/>
                    <a:gd name="connsiteY1774" fmla="*/ 645312 h 1260351"/>
                    <a:gd name="connsiteX1775" fmla="*/ 55396 w 779965"/>
                    <a:gd name="connsiteY1775" fmla="*/ 645834 h 1260351"/>
                    <a:gd name="connsiteX1776" fmla="*/ 55530 w 779965"/>
                    <a:gd name="connsiteY1776" fmla="*/ 646866 h 1260351"/>
                    <a:gd name="connsiteX1777" fmla="*/ 55627 w 779965"/>
                    <a:gd name="connsiteY1777" fmla="*/ 650655 h 1260351"/>
                    <a:gd name="connsiteX1778" fmla="*/ 55687 w 779965"/>
                    <a:gd name="connsiteY1778" fmla="*/ 669525 h 1260351"/>
                    <a:gd name="connsiteX1779" fmla="*/ 55687 w 779965"/>
                    <a:gd name="connsiteY1779" fmla="*/ 670072 h 1260351"/>
                    <a:gd name="connsiteX1780" fmla="*/ 55785 w 779965"/>
                    <a:gd name="connsiteY1780" fmla="*/ 670618 h 1260351"/>
                    <a:gd name="connsiteX1781" fmla="*/ 58638 w 779965"/>
                    <a:gd name="connsiteY1781" fmla="*/ 685967 h 1260351"/>
                    <a:gd name="connsiteX1782" fmla="*/ 58529 w 779965"/>
                    <a:gd name="connsiteY1782" fmla="*/ 686744 h 1260351"/>
                    <a:gd name="connsiteX1783" fmla="*/ 51693 w 779965"/>
                    <a:gd name="connsiteY1783" fmla="*/ 689962 h 1260351"/>
                    <a:gd name="connsiteX1784" fmla="*/ 50879 w 779965"/>
                    <a:gd name="connsiteY1784" fmla="*/ 690338 h 1260351"/>
                    <a:gd name="connsiteX1785" fmla="*/ 50211 w 779965"/>
                    <a:gd name="connsiteY1785" fmla="*/ 690945 h 1260351"/>
                    <a:gd name="connsiteX1786" fmla="*/ 48717 w 779965"/>
                    <a:gd name="connsiteY1786" fmla="*/ 692293 h 1260351"/>
                    <a:gd name="connsiteX1787" fmla="*/ 48256 w 779965"/>
                    <a:gd name="connsiteY1787" fmla="*/ 692718 h 1260351"/>
                    <a:gd name="connsiteX1788" fmla="*/ 47892 w 779965"/>
                    <a:gd name="connsiteY1788" fmla="*/ 693216 h 1260351"/>
                    <a:gd name="connsiteX1789" fmla="*/ 46738 w 779965"/>
                    <a:gd name="connsiteY1789" fmla="*/ 694794 h 1260351"/>
                    <a:gd name="connsiteX1790" fmla="*/ 46350 w 779965"/>
                    <a:gd name="connsiteY1790" fmla="*/ 695329 h 1260351"/>
                    <a:gd name="connsiteX1791" fmla="*/ 46095 w 779965"/>
                    <a:gd name="connsiteY1791" fmla="*/ 695924 h 1260351"/>
                    <a:gd name="connsiteX1792" fmla="*/ 44844 w 779965"/>
                    <a:gd name="connsiteY1792" fmla="*/ 698741 h 1260351"/>
                    <a:gd name="connsiteX1793" fmla="*/ 44540 w 779965"/>
                    <a:gd name="connsiteY1793" fmla="*/ 699446 h 1260351"/>
                    <a:gd name="connsiteX1794" fmla="*/ 44407 w 779965"/>
                    <a:gd name="connsiteY1794" fmla="*/ 700198 h 1260351"/>
                    <a:gd name="connsiteX1795" fmla="*/ 44103 w 779965"/>
                    <a:gd name="connsiteY1795" fmla="*/ 701995 h 1260351"/>
                    <a:gd name="connsiteX1796" fmla="*/ 44006 w 779965"/>
                    <a:gd name="connsiteY1796" fmla="*/ 702602 h 1260351"/>
                    <a:gd name="connsiteX1797" fmla="*/ 44030 w 779965"/>
                    <a:gd name="connsiteY1797" fmla="*/ 703222 h 1260351"/>
                    <a:gd name="connsiteX1798" fmla="*/ 44091 w 779965"/>
                    <a:gd name="connsiteY1798" fmla="*/ 704897 h 1260351"/>
                    <a:gd name="connsiteX1799" fmla="*/ 44127 w 779965"/>
                    <a:gd name="connsiteY1799" fmla="*/ 705978 h 1260351"/>
                    <a:gd name="connsiteX1800" fmla="*/ 44540 w 779965"/>
                    <a:gd name="connsiteY1800" fmla="*/ 706986 h 1260351"/>
                    <a:gd name="connsiteX1801" fmla="*/ 44941 w 779965"/>
                    <a:gd name="connsiteY1801" fmla="*/ 707958 h 1260351"/>
                    <a:gd name="connsiteX1802" fmla="*/ 45463 w 779965"/>
                    <a:gd name="connsiteY1802" fmla="*/ 709221 h 1260351"/>
                    <a:gd name="connsiteX1803" fmla="*/ 46483 w 779965"/>
                    <a:gd name="connsiteY1803" fmla="*/ 710143 h 1260351"/>
                    <a:gd name="connsiteX1804" fmla="*/ 47236 w 779965"/>
                    <a:gd name="connsiteY1804" fmla="*/ 710835 h 1260351"/>
                    <a:gd name="connsiteX1805" fmla="*/ 47843 w 779965"/>
                    <a:gd name="connsiteY1805" fmla="*/ 711394 h 1260351"/>
                    <a:gd name="connsiteX1806" fmla="*/ 48584 w 779965"/>
                    <a:gd name="connsiteY1806" fmla="*/ 711758 h 1260351"/>
                    <a:gd name="connsiteX1807" fmla="*/ 49555 w 779965"/>
                    <a:gd name="connsiteY1807" fmla="*/ 712244 h 1260351"/>
                    <a:gd name="connsiteX1808" fmla="*/ 50393 w 779965"/>
                    <a:gd name="connsiteY1808" fmla="*/ 712669 h 1260351"/>
                    <a:gd name="connsiteX1809" fmla="*/ 51316 w 779965"/>
                    <a:gd name="connsiteY1809" fmla="*/ 712815 h 1260351"/>
                    <a:gd name="connsiteX1810" fmla="*/ 52931 w 779965"/>
                    <a:gd name="connsiteY1810" fmla="*/ 713070 h 1260351"/>
                    <a:gd name="connsiteX1811" fmla="*/ 53818 w 779965"/>
                    <a:gd name="connsiteY1811" fmla="*/ 713228 h 1260351"/>
                    <a:gd name="connsiteX1812" fmla="*/ 54716 w 779965"/>
                    <a:gd name="connsiteY1812" fmla="*/ 713094 h 1260351"/>
                    <a:gd name="connsiteX1813" fmla="*/ 56380 w 779965"/>
                    <a:gd name="connsiteY1813" fmla="*/ 712863 h 1260351"/>
                    <a:gd name="connsiteX1814" fmla="*/ 57084 w 779965"/>
                    <a:gd name="connsiteY1814" fmla="*/ 712766 h 1260351"/>
                    <a:gd name="connsiteX1815" fmla="*/ 57740 w 779965"/>
                    <a:gd name="connsiteY1815" fmla="*/ 712511 h 1260351"/>
                    <a:gd name="connsiteX1816" fmla="*/ 59342 w 779965"/>
                    <a:gd name="connsiteY1816" fmla="*/ 711892 h 1260351"/>
                    <a:gd name="connsiteX1817" fmla="*/ 59768 w 779965"/>
                    <a:gd name="connsiteY1817" fmla="*/ 711722 h 1260351"/>
                    <a:gd name="connsiteX1818" fmla="*/ 60168 w 779965"/>
                    <a:gd name="connsiteY1818" fmla="*/ 711491 h 1260351"/>
                    <a:gd name="connsiteX1819" fmla="*/ 62985 w 779965"/>
                    <a:gd name="connsiteY1819" fmla="*/ 709888 h 1260351"/>
                    <a:gd name="connsiteX1820" fmla="*/ 63289 w 779965"/>
                    <a:gd name="connsiteY1820" fmla="*/ 709718 h 1260351"/>
                    <a:gd name="connsiteX1821" fmla="*/ 63568 w 779965"/>
                    <a:gd name="connsiteY1821" fmla="*/ 709500 h 1260351"/>
                    <a:gd name="connsiteX1822" fmla="*/ 66130 w 779965"/>
                    <a:gd name="connsiteY1822" fmla="*/ 707642 h 1260351"/>
                    <a:gd name="connsiteX1823" fmla="*/ 66167 w 779965"/>
                    <a:gd name="connsiteY1823" fmla="*/ 707630 h 1260351"/>
                    <a:gd name="connsiteX1824" fmla="*/ 67964 w 779965"/>
                    <a:gd name="connsiteY1824" fmla="*/ 708152 h 1260351"/>
                    <a:gd name="connsiteX1825" fmla="*/ 68013 w 779965"/>
                    <a:gd name="connsiteY1825" fmla="*/ 708164 h 1260351"/>
                    <a:gd name="connsiteX1826" fmla="*/ 67709 w 779965"/>
                    <a:gd name="connsiteY1826" fmla="*/ 716021 h 1260351"/>
                    <a:gd name="connsiteX1827" fmla="*/ 67685 w 779965"/>
                    <a:gd name="connsiteY1827" fmla="*/ 716688 h 1260351"/>
                    <a:gd name="connsiteX1828" fmla="*/ 67806 w 779965"/>
                    <a:gd name="connsiteY1828" fmla="*/ 717332 h 1260351"/>
                    <a:gd name="connsiteX1829" fmla="*/ 68073 w 779965"/>
                    <a:gd name="connsiteY1829" fmla="*/ 718825 h 1260351"/>
                    <a:gd name="connsiteX1830" fmla="*/ 68207 w 779965"/>
                    <a:gd name="connsiteY1830" fmla="*/ 719554 h 1260351"/>
                    <a:gd name="connsiteX1831" fmla="*/ 68498 w 779965"/>
                    <a:gd name="connsiteY1831" fmla="*/ 720234 h 1260351"/>
                    <a:gd name="connsiteX1832" fmla="*/ 69021 w 779965"/>
                    <a:gd name="connsiteY1832" fmla="*/ 721412 h 1260351"/>
                    <a:gd name="connsiteX1833" fmla="*/ 69373 w 779965"/>
                    <a:gd name="connsiteY1833" fmla="*/ 722189 h 1260351"/>
                    <a:gd name="connsiteX1834" fmla="*/ 69615 w 779965"/>
                    <a:gd name="connsiteY1834" fmla="*/ 722480 h 1260351"/>
                    <a:gd name="connsiteX1835" fmla="*/ 69178 w 779965"/>
                    <a:gd name="connsiteY1835" fmla="*/ 723197 h 1260351"/>
                    <a:gd name="connsiteX1836" fmla="*/ 68887 w 779965"/>
                    <a:gd name="connsiteY1836" fmla="*/ 723658 h 1260351"/>
                    <a:gd name="connsiteX1837" fmla="*/ 68681 w 779965"/>
                    <a:gd name="connsiteY1837" fmla="*/ 724168 h 1260351"/>
                    <a:gd name="connsiteX1838" fmla="*/ 67418 w 779965"/>
                    <a:gd name="connsiteY1838" fmla="*/ 727398 h 1260351"/>
                    <a:gd name="connsiteX1839" fmla="*/ 66725 w 779965"/>
                    <a:gd name="connsiteY1839" fmla="*/ 729754 h 1260351"/>
                    <a:gd name="connsiteX1840" fmla="*/ 66531 w 779965"/>
                    <a:gd name="connsiteY1840" fmla="*/ 730434 h 1260351"/>
                    <a:gd name="connsiteX1841" fmla="*/ 66507 w 779965"/>
                    <a:gd name="connsiteY1841" fmla="*/ 731151 h 1260351"/>
                    <a:gd name="connsiteX1842" fmla="*/ 65985 w 779965"/>
                    <a:gd name="connsiteY1842" fmla="*/ 743476 h 1260351"/>
                    <a:gd name="connsiteX1843" fmla="*/ 65973 w 779965"/>
                    <a:gd name="connsiteY1843" fmla="*/ 743840 h 1260351"/>
                    <a:gd name="connsiteX1844" fmla="*/ 65997 w 779965"/>
                    <a:gd name="connsiteY1844" fmla="*/ 744204 h 1260351"/>
                    <a:gd name="connsiteX1845" fmla="*/ 66240 w 779965"/>
                    <a:gd name="connsiteY1845" fmla="*/ 747337 h 1260351"/>
                    <a:gd name="connsiteX1846" fmla="*/ 66276 w 779965"/>
                    <a:gd name="connsiteY1846" fmla="*/ 747847 h 1260351"/>
                    <a:gd name="connsiteX1847" fmla="*/ 66398 w 779965"/>
                    <a:gd name="connsiteY1847" fmla="*/ 748345 h 1260351"/>
                    <a:gd name="connsiteX1848" fmla="*/ 67078 w 779965"/>
                    <a:gd name="connsiteY1848" fmla="*/ 751053 h 1260351"/>
                    <a:gd name="connsiteX1849" fmla="*/ 67187 w 779965"/>
                    <a:gd name="connsiteY1849" fmla="*/ 751490 h 1260351"/>
                    <a:gd name="connsiteX1850" fmla="*/ 67357 w 779965"/>
                    <a:gd name="connsiteY1850" fmla="*/ 751903 h 1260351"/>
                    <a:gd name="connsiteX1851" fmla="*/ 68025 w 779965"/>
                    <a:gd name="connsiteY1851" fmla="*/ 753506 h 1260351"/>
                    <a:gd name="connsiteX1852" fmla="*/ 68243 w 779965"/>
                    <a:gd name="connsiteY1852" fmla="*/ 754258 h 1260351"/>
                    <a:gd name="connsiteX1853" fmla="*/ 66956 w 779965"/>
                    <a:gd name="connsiteY1853" fmla="*/ 754720 h 1260351"/>
                    <a:gd name="connsiteX1854" fmla="*/ 66531 w 779965"/>
                    <a:gd name="connsiteY1854" fmla="*/ 754878 h 1260351"/>
                    <a:gd name="connsiteX1855" fmla="*/ 66130 w 779965"/>
                    <a:gd name="connsiteY1855" fmla="*/ 755084 h 1260351"/>
                    <a:gd name="connsiteX1856" fmla="*/ 64309 w 779965"/>
                    <a:gd name="connsiteY1856" fmla="*/ 756056 h 1260351"/>
                    <a:gd name="connsiteX1857" fmla="*/ 63860 w 779965"/>
                    <a:gd name="connsiteY1857" fmla="*/ 756298 h 1260351"/>
                    <a:gd name="connsiteX1858" fmla="*/ 63459 w 779965"/>
                    <a:gd name="connsiteY1858" fmla="*/ 756602 h 1260351"/>
                    <a:gd name="connsiteX1859" fmla="*/ 61443 w 779965"/>
                    <a:gd name="connsiteY1859" fmla="*/ 758157 h 1260351"/>
                    <a:gd name="connsiteX1860" fmla="*/ 61188 w 779965"/>
                    <a:gd name="connsiteY1860" fmla="*/ 758363 h 1260351"/>
                    <a:gd name="connsiteX1861" fmla="*/ 60958 w 779965"/>
                    <a:gd name="connsiteY1861" fmla="*/ 758582 h 1260351"/>
                    <a:gd name="connsiteX1862" fmla="*/ 56173 w 779965"/>
                    <a:gd name="connsiteY1862" fmla="*/ 763123 h 1260351"/>
                    <a:gd name="connsiteX1863" fmla="*/ 54765 w 779965"/>
                    <a:gd name="connsiteY1863" fmla="*/ 764058 h 1260351"/>
                    <a:gd name="connsiteX1864" fmla="*/ 53465 w 779965"/>
                    <a:gd name="connsiteY1864" fmla="*/ 764519 h 1260351"/>
                    <a:gd name="connsiteX1865" fmla="*/ 51887 w 779965"/>
                    <a:gd name="connsiteY1865" fmla="*/ 764835 h 1260351"/>
                    <a:gd name="connsiteX1866" fmla="*/ 41808 w 779965"/>
                    <a:gd name="connsiteY1866" fmla="*/ 765831 h 1260351"/>
                    <a:gd name="connsiteX1867" fmla="*/ 41140 w 779965"/>
                    <a:gd name="connsiteY1867" fmla="*/ 765892 h 1260351"/>
                    <a:gd name="connsiteX1868" fmla="*/ 40509 w 779965"/>
                    <a:gd name="connsiteY1868" fmla="*/ 766110 h 1260351"/>
                    <a:gd name="connsiteX1869" fmla="*/ 38141 w 779965"/>
                    <a:gd name="connsiteY1869" fmla="*/ 766887 h 1260351"/>
                    <a:gd name="connsiteX1870" fmla="*/ 37327 w 779965"/>
                    <a:gd name="connsiteY1870" fmla="*/ 767154 h 1260351"/>
                    <a:gd name="connsiteX1871" fmla="*/ 36623 w 779965"/>
                    <a:gd name="connsiteY1871" fmla="*/ 767640 h 1260351"/>
                    <a:gd name="connsiteX1872" fmla="*/ 34790 w 779965"/>
                    <a:gd name="connsiteY1872" fmla="*/ 768903 h 1260351"/>
                    <a:gd name="connsiteX1873" fmla="*/ 33551 w 779965"/>
                    <a:gd name="connsiteY1873" fmla="*/ 769741 h 1260351"/>
                    <a:gd name="connsiteX1874" fmla="*/ 32859 w 779965"/>
                    <a:gd name="connsiteY1874" fmla="*/ 771052 h 1260351"/>
                    <a:gd name="connsiteX1875" fmla="*/ 31535 w 779965"/>
                    <a:gd name="connsiteY1875" fmla="*/ 773554 h 1260351"/>
                    <a:gd name="connsiteX1876" fmla="*/ 30928 w 779965"/>
                    <a:gd name="connsiteY1876" fmla="*/ 774683 h 1260351"/>
                    <a:gd name="connsiteX1877" fmla="*/ 30843 w 779965"/>
                    <a:gd name="connsiteY1877" fmla="*/ 775958 h 1260351"/>
                    <a:gd name="connsiteX1878" fmla="*/ 30673 w 779965"/>
                    <a:gd name="connsiteY1878" fmla="*/ 778241 h 1260351"/>
                    <a:gd name="connsiteX1879" fmla="*/ 30637 w 779965"/>
                    <a:gd name="connsiteY1879" fmla="*/ 778690 h 1260351"/>
                    <a:gd name="connsiteX1880" fmla="*/ 30673 w 779965"/>
                    <a:gd name="connsiteY1880" fmla="*/ 779152 h 1260351"/>
                    <a:gd name="connsiteX1881" fmla="*/ 30843 w 779965"/>
                    <a:gd name="connsiteY1881" fmla="*/ 781277 h 1260351"/>
                    <a:gd name="connsiteX1882" fmla="*/ 30807 w 779965"/>
                    <a:gd name="connsiteY1882" fmla="*/ 782624 h 1260351"/>
                    <a:gd name="connsiteX1883" fmla="*/ 29192 w 779965"/>
                    <a:gd name="connsiteY1883" fmla="*/ 788113 h 1260351"/>
                    <a:gd name="connsiteX1884" fmla="*/ 28937 w 779965"/>
                    <a:gd name="connsiteY1884" fmla="*/ 788951 h 1260351"/>
                    <a:gd name="connsiteX1885" fmla="*/ 28937 w 779965"/>
                    <a:gd name="connsiteY1885" fmla="*/ 789825 h 1260351"/>
                    <a:gd name="connsiteX1886" fmla="*/ 28937 w 779965"/>
                    <a:gd name="connsiteY1886" fmla="*/ 791780 h 1260351"/>
                    <a:gd name="connsiteX1887" fmla="*/ 28937 w 779965"/>
                    <a:gd name="connsiteY1887" fmla="*/ 793493 h 1260351"/>
                    <a:gd name="connsiteX1888" fmla="*/ 29823 w 779965"/>
                    <a:gd name="connsiteY1888" fmla="*/ 794950 h 1260351"/>
                    <a:gd name="connsiteX1889" fmla="*/ 30576 w 779965"/>
                    <a:gd name="connsiteY1889" fmla="*/ 796188 h 1260351"/>
                    <a:gd name="connsiteX1890" fmla="*/ 31730 w 779965"/>
                    <a:gd name="connsiteY1890" fmla="*/ 798058 h 1260351"/>
                    <a:gd name="connsiteX1891" fmla="*/ 33818 w 779965"/>
                    <a:gd name="connsiteY1891" fmla="*/ 798775 h 1260351"/>
                    <a:gd name="connsiteX1892" fmla="*/ 35360 w 779965"/>
                    <a:gd name="connsiteY1892" fmla="*/ 799297 h 1260351"/>
                    <a:gd name="connsiteX1893" fmla="*/ 36137 w 779965"/>
                    <a:gd name="connsiteY1893" fmla="*/ 799552 h 1260351"/>
                    <a:gd name="connsiteX1894" fmla="*/ 36963 w 779965"/>
                    <a:gd name="connsiteY1894" fmla="*/ 799600 h 1260351"/>
                    <a:gd name="connsiteX1895" fmla="*/ 51668 w 779965"/>
                    <a:gd name="connsiteY1895" fmla="*/ 800402 h 1260351"/>
                    <a:gd name="connsiteX1896" fmla="*/ 52057 w 779965"/>
                    <a:gd name="connsiteY1896" fmla="*/ 800487 h 1260351"/>
                    <a:gd name="connsiteX1897" fmla="*/ 55153 w 779965"/>
                    <a:gd name="connsiteY1897" fmla="*/ 809290 h 1260351"/>
                    <a:gd name="connsiteX1898" fmla="*/ 55687 w 779965"/>
                    <a:gd name="connsiteY1898" fmla="*/ 812763 h 1260351"/>
                    <a:gd name="connsiteX1899" fmla="*/ 55554 w 779965"/>
                    <a:gd name="connsiteY1899" fmla="*/ 813929 h 1260351"/>
                    <a:gd name="connsiteX1900" fmla="*/ 55493 w 779965"/>
                    <a:gd name="connsiteY1900" fmla="*/ 814184 h 1260351"/>
                    <a:gd name="connsiteX1901" fmla="*/ 55141 w 779965"/>
                    <a:gd name="connsiteY1901" fmla="*/ 815155 h 1260351"/>
                    <a:gd name="connsiteX1902" fmla="*/ 53660 w 779965"/>
                    <a:gd name="connsiteY1902" fmla="*/ 820753 h 1260351"/>
                    <a:gd name="connsiteX1903" fmla="*/ 53550 w 779965"/>
                    <a:gd name="connsiteY1903" fmla="*/ 821178 h 1260351"/>
                    <a:gd name="connsiteX1904" fmla="*/ 53502 w 779965"/>
                    <a:gd name="connsiteY1904" fmla="*/ 821615 h 1260351"/>
                    <a:gd name="connsiteX1905" fmla="*/ 52458 w 779965"/>
                    <a:gd name="connsiteY1905" fmla="*/ 831099 h 1260351"/>
                    <a:gd name="connsiteX1906" fmla="*/ 47697 w 779965"/>
                    <a:gd name="connsiteY1906" fmla="*/ 828671 h 1260351"/>
                    <a:gd name="connsiteX1907" fmla="*/ 47370 w 779965"/>
                    <a:gd name="connsiteY1907" fmla="*/ 828501 h 1260351"/>
                    <a:gd name="connsiteX1908" fmla="*/ 47030 w 779965"/>
                    <a:gd name="connsiteY1908" fmla="*/ 828367 h 1260351"/>
                    <a:gd name="connsiteX1909" fmla="*/ 45706 w 779965"/>
                    <a:gd name="connsiteY1909" fmla="*/ 827881 h 1260351"/>
                    <a:gd name="connsiteX1910" fmla="*/ 43617 w 779965"/>
                    <a:gd name="connsiteY1910" fmla="*/ 827128 h 1260351"/>
                    <a:gd name="connsiteX1911" fmla="*/ 41529 w 779965"/>
                    <a:gd name="connsiteY1911" fmla="*/ 827881 h 1260351"/>
                    <a:gd name="connsiteX1912" fmla="*/ 40035 w 779965"/>
                    <a:gd name="connsiteY1912" fmla="*/ 828428 h 1260351"/>
                    <a:gd name="connsiteX1913" fmla="*/ 38760 w 779965"/>
                    <a:gd name="connsiteY1913" fmla="*/ 828901 h 1260351"/>
                    <a:gd name="connsiteX1914" fmla="*/ 37801 w 779965"/>
                    <a:gd name="connsiteY1914" fmla="*/ 829861 h 1260351"/>
                    <a:gd name="connsiteX1915" fmla="*/ 36429 w 779965"/>
                    <a:gd name="connsiteY1915" fmla="*/ 831245 h 1260351"/>
                    <a:gd name="connsiteX1916" fmla="*/ 36016 w 779965"/>
                    <a:gd name="connsiteY1916" fmla="*/ 831670 h 1260351"/>
                    <a:gd name="connsiteX1917" fmla="*/ 35688 w 779965"/>
                    <a:gd name="connsiteY1917" fmla="*/ 832156 h 1260351"/>
                    <a:gd name="connsiteX1918" fmla="*/ 33162 w 779965"/>
                    <a:gd name="connsiteY1918" fmla="*/ 835956 h 1260351"/>
                    <a:gd name="connsiteX1919" fmla="*/ 32871 w 779965"/>
                    <a:gd name="connsiteY1919" fmla="*/ 836393 h 1260351"/>
                    <a:gd name="connsiteX1920" fmla="*/ 32665 w 779965"/>
                    <a:gd name="connsiteY1920" fmla="*/ 836879 h 1260351"/>
                    <a:gd name="connsiteX1921" fmla="*/ 31802 w 779965"/>
                    <a:gd name="connsiteY1921" fmla="*/ 838858 h 1260351"/>
                    <a:gd name="connsiteX1922" fmla="*/ 31511 w 779965"/>
                    <a:gd name="connsiteY1922" fmla="*/ 839538 h 1260351"/>
                    <a:gd name="connsiteX1923" fmla="*/ 31390 w 779965"/>
                    <a:gd name="connsiteY1923" fmla="*/ 840279 h 1260351"/>
                    <a:gd name="connsiteX1924" fmla="*/ 31098 w 779965"/>
                    <a:gd name="connsiteY1924" fmla="*/ 841979 h 1260351"/>
                    <a:gd name="connsiteX1925" fmla="*/ 30782 w 779965"/>
                    <a:gd name="connsiteY1925" fmla="*/ 843800 h 1260351"/>
                    <a:gd name="connsiteX1926" fmla="*/ 31547 w 779965"/>
                    <a:gd name="connsiteY1926" fmla="*/ 845501 h 1260351"/>
                    <a:gd name="connsiteX1927" fmla="*/ 31948 w 779965"/>
                    <a:gd name="connsiteY1927" fmla="*/ 846387 h 1260351"/>
                    <a:gd name="connsiteX1928" fmla="*/ 32446 w 779965"/>
                    <a:gd name="connsiteY1928" fmla="*/ 847468 h 1260351"/>
                    <a:gd name="connsiteX1929" fmla="*/ 33296 w 779965"/>
                    <a:gd name="connsiteY1929" fmla="*/ 848281 h 1260351"/>
                    <a:gd name="connsiteX1930" fmla="*/ 34170 w 779965"/>
                    <a:gd name="connsiteY1930" fmla="*/ 849107 h 1260351"/>
                    <a:gd name="connsiteX1931" fmla="*/ 34607 w 779965"/>
                    <a:gd name="connsiteY1931" fmla="*/ 849508 h 1260351"/>
                    <a:gd name="connsiteX1932" fmla="*/ 35117 w 779965"/>
                    <a:gd name="connsiteY1932" fmla="*/ 849823 h 1260351"/>
                    <a:gd name="connsiteX1933" fmla="*/ 36089 w 779965"/>
                    <a:gd name="connsiteY1933" fmla="*/ 850443 h 1260351"/>
                    <a:gd name="connsiteX1934" fmla="*/ 36732 w 779965"/>
                    <a:gd name="connsiteY1934" fmla="*/ 850856 h 1260351"/>
                    <a:gd name="connsiteX1935" fmla="*/ 37449 w 779965"/>
                    <a:gd name="connsiteY1935" fmla="*/ 851098 h 1260351"/>
                    <a:gd name="connsiteX1936" fmla="*/ 38821 w 779965"/>
                    <a:gd name="connsiteY1936" fmla="*/ 851548 h 1260351"/>
                    <a:gd name="connsiteX1937" fmla="*/ 39270 w 779965"/>
                    <a:gd name="connsiteY1937" fmla="*/ 851694 h 1260351"/>
                    <a:gd name="connsiteX1938" fmla="*/ 39732 w 779965"/>
                    <a:gd name="connsiteY1938" fmla="*/ 851766 h 1260351"/>
                    <a:gd name="connsiteX1939" fmla="*/ 39793 w 779965"/>
                    <a:gd name="connsiteY1939" fmla="*/ 851778 h 1260351"/>
                    <a:gd name="connsiteX1940" fmla="*/ 38918 w 779965"/>
                    <a:gd name="connsiteY1940" fmla="*/ 852204 h 1260351"/>
                    <a:gd name="connsiteX1941" fmla="*/ 35761 w 779965"/>
                    <a:gd name="connsiteY1941" fmla="*/ 853260 h 1260351"/>
                    <a:gd name="connsiteX1942" fmla="*/ 35397 w 779965"/>
                    <a:gd name="connsiteY1942" fmla="*/ 853393 h 1260351"/>
                    <a:gd name="connsiteX1943" fmla="*/ 35057 w 779965"/>
                    <a:gd name="connsiteY1943" fmla="*/ 853564 h 1260351"/>
                    <a:gd name="connsiteX1944" fmla="*/ 33162 w 779965"/>
                    <a:gd name="connsiteY1944" fmla="*/ 854474 h 1260351"/>
                    <a:gd name="connsiteX1945" fmla="*/ 32252 w 779965"/>
                    <a:gd name="connsiteY1945" fmla="*/ 854911 h 1260351"/>
                    <a:gd name="connsiteX1946" fmla="*/ 31535 w 779965"/>
                    <a:gd name="connsiteY1946" fmla="*/ 855628 h 1260351"/>
                    <a:gd name="connsiteX1947" fmla="*/ 30199 w 779965"/>
                    <a:gd name="connsiteY1947" fmla="*/ 856939 h 1260351"/>
                    <a:gd name="connsiteX1948" fmla="*/ 29058 w 779965"/>
                    <a:gd name="connsiteY1948" fmla="*/ 858056 h 1260351"/>
                    <a:gd name="connsiteX1949" fmla="*/ 28621 w 779965"/>
                    <a:gd name="connsiteY1949" fmla="*/ 859599 h 1260351"/>
                    <a:gd name="connsiteX1950" fmla="*/ 28232 w 779965"/>
                    <a:gd name="connsiteY1950" fmla="*/ 860971 h 1260351"/>
                    <a:gd name="connsiteX1951" fmla="*/ 27771 w 779965"/>
                    <a:gd name="connsiteY1951" fmla="*/ 862610 h 1260351"/>
                    <a:gd name="connsiteX1952" fmla="*/ 28220 w 779965"/>
                    <a:gd name="connsiteY1952" fmla="*/ 864249 h 1260351"/>
                    <a:gd name="connsiteX1953" fmla="*/ 28670 w 779965"/>
                    <a:gd name="connsiteY1953" fmla="*/ 865888 h 1260351"/>
                    <a:gd name="connsiteX1954" fmla="*/ 29240 w 779965"/>
                    <a:gd name="connsiteY1954" fmla="*/ 867989 h 1260351"/>
                    <a:gd name="connsiteX1955" fmla="*/ 31025 w 779965"/>
                    <a:gd name="connsiteY1955" fmla="*/ 869252 h 1260351"/>
                    <a:gd name="connsiteX1956" fmla="*/ 32579 w 779965"/>
                    <a:gd name="connsiteY1956" fmla="*/ 870345 h 1260351"/>
                    <a:gd name="connsiteX1957" fmla="*/ 33138 w 779965"/>
                    <a:gd name="connsiteY1957" fmla="*/ 870734 h 1260351"/>
                    <a:gd name="connsiteX1958" fmla="*/ 33757 w 779965"/>
                    <a:gd name="connsiteY1958" fmla="*/ 870989 h 1260351"/>
                    <a:gd name="connsiteX1959" fmla="*/ 36004 w 779965"/>
                    <a:gd name="connsiteY1959" fmla="*/ 871911 h 1260351"/>
                    <a:gd name="connsiteX1960" fmla="*/ 36465 w 779965"/>
                    <a:gd name="connsiteY1960" fmla="*/ 872106 h 1260351"/>
                    <a:gd name="connsiteX1961" fmla="*/ 36951 w 779965"/>
                    <a:gd name="connsiteY1961" fmla="*/ 872227 h 1260351"/>
                    <a:gd name="connsiteX1962" fmla="*/ 42002 w 779965"/>
                    <a:gd name="connsiteY1962" fmla="*/ 873405 h 1260351"/>
                    <a:gd name="connsiteX1963" fmla="*/ 42355 w 779965"/>
                    <a:gd name="connsiteY1963" fmla="*/ 873490 h 1260351"/>
                    <a:gd name="connsiteX1964" fmla="*/ 42719 w 779965"/>
                    <a:gd name="connsiteY1964" fmla="*/ 873527 h 1260351"/>
                    <a:gd name="connsiteX1965" fmla="*/ 44783 w 779965"/>
                    <a:gd name="connsiteY1965" fmla="*/ 873757 h 1260351"/>
                    <a:gd name="connsiteX1966" fmla="*/ 45196 w 779965"/>
                    <a:gd name="connsiteY1966" fmla="*/ 873806 h 1260351"/>
                    <a:gd name="connsiteX1967" fmla="*/ 45609 w 779965"/>
                    <a:gd name="connsiteY1967" fmla="*/ 873793 h 1260351"/>
                    <a:gd name="connsiteX1968" fmla="*/ 47321 w 779965"/>
                    <a:gd name="connsiteY1968" fmla="*/ 873745 h 1260351"/>
                    <a:gd name="connsiteX1969" fmla="*/ 48147 w 779965"/>
                    <a:gd name="connsiteY1969" fmla="*/ 873721 h 1260351"/>
                    <a:gd name="connsiteX1970" fmla="*/ 48936 w 779965"/>
                    <a:gd name="connsiteY1970" fmla="*/ 873466 h 1260351"/>
                    <a:gd name="connsiteX1971" fmla="*/ 49980 w 779965"/>
                    <a:gd name="connsiteY1971" fmla="*/ 873150 h 1260351"/>
                    <a:gd name="connsiteX1972" fmla="*/ 51522 w 779965"/>
                    <a:gd name="connsiteY1972" fmla="*/ 872689 h 1260351"/>
                    <a:gd name="connsiteX1973" fmla="*/ 52627 w 779965"/>
                    <a:gd name="connsiteY1973" fmla="*/ 871511 h 1260351"/>
                    <a:gd name="connsiteX1974" fmla="*/ 53198 w 779965"/>
                    <a:gd name="connsiteY1974" fmla="*/ 870904 h 1260351"/>
                    <a:gd name="connsiteX1975" fmla="*/ 54170 w 779965"/>
                    <a:gd name="connsiteY1975" fmla="*/ 869871 h 1260351"/>
                    <a:gd name="connsiteX1976" fmla="*/ 54582 w 779965"/>
                    <a:gd name="connsiteY1976" fmla="*/ 868511 h 1260351"/>
                    <a:gd name="connsiteX1977" fmla="*/ 54765 w 779965"/>
                    <a:gd name="connsiteY1977" fmla="*/ 867904 h 1260351"/>
                    <a:gd name="connsiteX1978" fmla="*/ 55068 w 779965"/>
                    <a:gd name="connsiteY1978" fmla="*/ 866909 h 1260351"/>
                    <a:gd name="connsiteX1979" fmla="*/ 56149 w 779965"/>
                    <a:gd name="connsiteY1979" fmla="*/ 871292 h 1260351"/>
                    <a:gd name="connsiteX1980" fmla="*/ 56282 w 779965"/>
                    <a:gd name="connsiteY1980" fmla="*/ 871851 h 1260351"/>
                    <a:gd name="connsiteX1981" fmla="*/ 56525 w 779965"/>
                    <a:gd name="connsiteY1981" fmla="*/ 872361 h 1260351"/>
                    <a:gd name="connsiteX1982" fmla="*/ 57898 w 779965"/>
                    <a:gd name="connsiteY1982" fmla="*/ 875372 h 1260351"/>
                    <a:gd name="connsiteX1983" fmla="*/ 58213 w 779965"/>
                    <a:gd name="connsiteY1983" fmla="*/ 876064 h 1260351"/>
                    <a:gd name="connsiteX1984" fmla="*/ 58687 w 779965"/>
                    <a:gd name="connsiteY1984" fmla="*/ 876660 h 1260351"/>
                    <a:gd name="connsiteX1985" fmla="*/ 60411 w 779965"/>
                    <a:gd name="connsiteY1985" fmla="*/ 878821 h 1260351"/>
                    <a:gd name="connsiteX1986" fmla="*/ 60812 w 779965"/>
                    <a:gd name="connsiteY1986" fmla="*/ 879319 h 1260351"/>
                    <a:gd name="connsiteX1987" fmla="*/ 61310 w 779965"/>
                    <a:gd name="connsiteY1987" fmla="*/ 879719 h 1260351"/>
                    <a:gd name="connsiteX1988" fmla="*/ 63653 w 779965"/>
                    <a:gd name="connsiteY1988" fmla="*/ 881638 h 1260351"/>
                    <a:gd name="connsiteX1989" fmla="*/ 64345 w 779965"/>
                    <a:gd name="connsiteY1989" fmla="*/ 882209 h 1260351"/>
                    <a:gd name="connsiteX1990" fmla="*/ 65171 w 779965"/>
                    <a:gd name="connsiteY1990" fmla="*/ 882549 h 1260351"/>
                    <a:gd name="connsiteX1991" fmla="*/ 67588 w 779965"/>
                    <a:gd name="connsiteY1991" fmla="*/ 883557 h 1260351"/>
                    <a:gd name="connsiteX1992" fmla="*/ 68061 w 779965"/>
                    <a:gd name="connsiteY1992" fmla="*/ 883751 h 1260351"/>
                    <a:gd name="connsiteX1993" fmla="*/ 68571 w 779965"/>
                    <a:gd name="connsiteY1993" fmla="*/ 883872 h 1260351"/>
                    <a:gd name="connsiteX1994" fmla="*/ 75468 w 779965"/>
                    <a:gd name="connsiteY1994" fmla="*/ 885463 h 1260351"/>
                    <a:gd name="connsiteX1995" fmla="*/ 76695 w 779965"/>
                    <a:gd name="connsiteY1995" fmla="*/ 885888 h 1260351"/>
                    <a:gd name="connsiteX1996" fmla="*/ 77448 w 779965"/>
                    <a:gd name="connsiteY1996" fmla="*/ 886337 h 1260351"/>
                    <a:gd name="connsiteX1997" fmla="*/ 77958 w 779965"/>
                    <a:gd name="connsiteY1997" fmla="*/ 886774 h 1260351"/>
                    <a:gd name="connsiteX1998" fmla="*/ 78322 w 779965"/>
                    <a:gd name="connsiteY1998" fmla="*/ 887357 h 1260351"/>
                    <a:gd name="connsiteX1999" fmla="*/ 79901 w 779965"/>
                    <a:gd name="connsiteY1999" fmla="*/ 896780 h 1260351"/>
                    <a:gd name="connsiteX2000" fmla="*/ 80022 w 779965"/>
                    <a:gd name="connsiteY2000" fmla="*/ 897497 h 1260351"/>
                    <a:gd name="connsiteX2001" fmla="*/ 80313 w 779965"/>
                    <a:gd name="connsiteY2001" fmla="*/ 898177 h 1260351"/>
                    <a:gd name="connsiteX2002" fmla="*/ 81516 w 779965"/>
                    <a:gd name="connsiteY2002" fmla="*/ 900982 h 1260351"/>
                    <a:gd name="connsiteX2003" fmla="*/ 81928 w 779965"/>
                    <a:gd name="connsiteY2003" fmla="*/ 901953 h 1260351"/>
                    <a:gd name="connsiteX2004" fmla="*/ 82657 w 779965"/>
                    <a:gd name="connsiteY2004" fmla="*/ 902718 h 1260351"/>
                    <a:gd name="connsiteX2005" fmla="*/ 84503 w 779965"/>
                    <a:gd name="connsiteY2005" fmla="*/ 904697 h 1260351"/>
                    <a:gd name="connsiteX2006" fmla="*/ 85329 w 779965"/>
                    <a:gd name="connsiteY2006" fmla="*/ 905584 h 1260351"/>
                    <a:gd name="connsiteX2007" fmla="*/ 86433 w 779965"/>
                    <a:gd name="connsiteY2007" fmla="*/ 906082 h 1260351"/>
                    <a:gd name="connsiteX2008" fmla="*/ 88607 w 779965"/>
                    <a:gd name="connsiteY2008" fmla="*/ 907065 h 1260351"/>
                    <a:gd name="connsiteX2009" fmla="*/ 89056 w 779965"/>
                    <a:gd name="connsiteY2009" fmla="*/ 907284 h 1260351"/>
                    <a:gd name="connsiteX2010" fmla="*/ 89542 w 779965"/>
                    <a:gd name="connsiteY2010" fmla="*/ 907405 h 1260351"/>
                    <a:gd name="connsiteX2011" fmla="*/ 98042 w 779965"/>
                    <a:gd name="connsiteY2011" fmla="*/ 909700 h 1260351"/>
                    <a:gd name="connsiteX2012" fmla="*/ 99851 w 779965"/>
                    <a:gd name="connsiteY2012" fmla="*/ 910550 h 1260351"/>
                    <a:gd name="connsiteX2013" fmla="*/ 104988 w 779965"/>
                    <a:gd name="connsiteY2013" fmla="*/ 914412 h 1260351"/>
                    <a:gd name="connsiteX2014" fmla="*/ 105850 w 779965"/>
                    <a:gd name="connsiteY2014" fmla="*/ 915068 h 1260351"/>
                    <a:gd name="connsiteX2015" fmla="*/ 106894 w 779965"/>
                    <a:gd name="connsiteY2015" fmla="*/ 915371 h 1260351"/>
                    <a:gd name="connsiteX2016" fmla="*/ 108437 w 779965"/>
                    <a:gd name="connsiteY2016" fmla="*/ 915832 h 1260351"/>
                    <a:gd name="connsiteX2017" fmla="*/ 109165 w 779965"/>
                    <a:gd name="connsiteY2017" fmla="*/ 916063 h 1260351"/>
                    <a:gd name="connsiteX2018" fmla="*/ 109930 w 779965"/>
                    <a:gd name="connsiteY2018" fmla="*/ 916100 h 1260351"/>
                    <a:gd name="connsiteX2019" fmla="*/ 110950 w 779965"/>
                    <a:gd name="connsiteY2019" fmla="*/ 916136 h 1260351"/>
                    <a:gd name="connsiteX2020" fmla="*/ 110974 w 779965"/>
                    <a:gd name="connsiteY2020" fmla="*/ 916148 h 1260351"/>
                    <a:gd name="connsiteX2021" fmla="*/ 113330 w 779965"/>
                    <a:gd name="connsiteY2021" fmla="*/ 918589 h 1260351"/>
                    <a:gd name="connsiteX2022" fmla="*/ 117519 w 779965"/>
                    <a:gd name="connsiteY2022" fmla="*/ 922232 h 1260351"/>
                    <a:gd name="connsiteX2023" fmla="*/ 119304 w 779965"/>
                    <a:gd name="connsiteY2023" fmla="*/ 924903 h 1260351"/>
                    <a:gd name="connsiteX2024" fmla="*/ 119499 w 779965"/>
                    <a:gd name="connsiteY2024" fmla="*/ 925972 h 1260351"/>
                    <a:gd name="connsiteX2025" fmla="*/ 119389 w 779965"/>
                    <a:gd name="connsiteY2025" fmla="*/ 927283 h 1260351"/>
                    <a:gd name="connsiteX2026" fmla="*/ 118855 w 779965"/>
                    <a:gd name="connsiteY2026" fmla="*/ 928437 h 1260351"/>
                    <a:gd name="connsiteX2027" fmla="*/ 118212 w 779965"/>
                    <a:gd name="connsiteY2027" fmla="*/ 929348 h 1260351"/>
                    <a:gd name="connsiteX2028" fmla="*/ 117580 w 779965"/>
                    <a:gd name="connsiteY2028" fmla="*/ 929821 h 1260351"/>
                    <a:gd name="connsiteX2029" fmla="*/ 116281 w 779965"/>
                    <a:gd name="connsiteY2029" fmla="*/ 930246 h 1260351"/>
                    <a:gd name="connsiteX2030" fmla="*/ 111497 w 779965"/>
                    <a:gd name="connsiteY2030" fmla="*/ 930805 h 1260351"/>
                    <a:gd name="connsiteX2031" fmla="*/ 111096 w 779965"/>
                    <a:gd name="connsiteY2031" fmla="*/ 930853 h 1260351"/>
                    <a:gd name="connsiteX2032" fmla="*/ 110695 w 779965"/>
                    <a:gd name="connsiteY2032" fmla="*/ 930963 h 1260351"/>
                    <a:gd name="connsiteX2033" fmla="*/ 108509 w 779965"/>
                    <a:gd name="connsiteY2033" fmla="*/ 931521 h 1260351"/>
                    <a:gd name="connsiteX2034" fmla="*/ 107538 w 779965"/>
                    <a:gd name="connsiteY2034" fmla="*/ 931776 h 1260351"/>
                    <a:gd name="connsiteX2035" fmla="*/ 106700 w 779965"/>
                    <a:gd name="connsiteY2035" fmla="*/ 932323 h 1260351"/>
                    <a:gd name="connsiteX2036" fmla="*/ 105206 w 779965"/>
                    <a:gd name="connsiteY2036" fmla="*/ 933294 h 1260351"/>
                    <a:gd name="connsiteX2037" fmla="*/ 103421 w 779965"/>
                    <a:gd name="connsiteY2037" fmla="*/ 934460 h 1260351"/>
                    <a:gd name="connsiteX2038" fmla="*/ 102754 w 779965"/>
                    <a:gd name="connsiteY2038" fmla="*/ 936500 h 1260351"/>
                    <a:gd name="connsiteX2039" fmla="*/ 102171 w 779965"/>
                    <a:gd name="connsiteY2039" fmla="*/ 938273 h 1260351"/>
                    <a:gd name="connsiteX2040" fmla="*/ 101551 w 779965"/>
                    <a:gd name="connsiteY2040" fmla="*/ 940167 h 1260351"/>
                    <a:gd name="connsiteX2041" fmla="*/ 102183 w 779965"/>
                    <a:gd name="connsiteY2041" fmla="*/ 942061 h 1260351"/>
                    <a:gd name="connsiteX2042" fmla="*/ 102705 w 779965"/>
                    <a:gd name="connsiteY2042" fmla="*/ 943640 h 1260351"/>
                    <a:gd name="connsiteX2043" fmla="*/ 103009 w 779965"/>
                    <a:gd name="connsiteY2043" fmla="*/ 944563 h 1260351"/>
                    <a:gd name="connsiteX2044" fmla="*/ 103591 w 779965"/>
                    <a:gd name="connsiteY2044" fmla="*/ 945352 h 1260351"/>
                    <a:gd name="connsiteX2045" fmla="*/ 106311 w 779965"/>
                    <a:gd name="connsiteY2045" fmla="*/ 949007 h 1260351"/>
                    <a:gd name="connsiteX2046" fmla="*/ 102292 w 779965"/>
                    <a:gd name="connsiteY2046" fmla="*/ 950574 h 1260351"/>
                    <a:gd name="connsiteX2047" fmla="*/ 101843 w 779965"/>
                    <a:gd name="connsiteY2047" fmla="*/ 950743 h 1260351"/>
                    <a:gd name="connsiteX2048" fmla="*/ 101430 w 779965"/>
                    <a:gd name="connsiteY2048" fmla="*/ 950998 h 1260351"/>
                    <a:gd name="connsiteX2049" fmla="*/ 97071 w 779965"/>
                    <a:gd name="connsiteY2049" fmla="*/ 953549 h 1260351"/>
                    <a:gd name="connsiteX2050" fmla="*/ 96694 w 779965"/>
                    <a:gd name="connsiteY2050" fmla="*/ 953779 h 1260351"/>
                    <a:gd name="connsiteX2051" fmla="*/ 96354 w 779965"/>
                    <a:gd name="connsiteY2051" fmla="*/ 954046 h 1260351"/>
                    <a:gd name="connsiteX2052" fmla="*/ 94424 w 779965"/>
                    <a:gd name="connsiteY2052" fmla="*/ 955613 h 1260351"/>
                    <a:gd name="connsiteX2053" fmla="*/ 93719 w 779965"/>
                    <a:gd name="connsiteY2053" fmla="*/ 956244 h 1260351"/>
                    <a:gd name="connsiteX2054" fmla="*/ 91922 w 779965"/>
                    <a:gd name="connsiteY2054" fmla="*/ 953269 h 1260351"/>
                    <a:gd name="connsiteX2055" fmla="*/ 91594 w 779965"/>
                    <a:gd name="connsiteY2055" fmla="*/ 952723 h 1260351"/>
                    <a:gd name="connsiteX2056" fmla="*/ 91145 w 779965"/>
                    <a:gd name="connsiteY2056" fmla="*/ 952249 h 1260351"/>
                    <a:gd name="connsiteX2057" fmla="*/ 89251 w 779965"/>
                    <a:gd name="connsiteY2057" fmla="*/ 950246 h 1260351"/>
                    <a:gd name="connsiteX2058" fmla="*/ 87538 w 779965"/>
                    <a:gd name="connsiteY2058" fmla="*/ 948448 h 1260351"/>
                    <a:gd name="connsiteX2059" fmla="*/ 85049 w 779965"/>
                    <a:gd name="connsiteY2059" fmla="*/ 948351 h 1260351"/>
                    <a:gd name="connsiteX2060" fmla="*/ 79998 w 779965"/>
                    <a:gd name="connsiteY2060" fmla="*/ 948169 h 1260351"/>
                    <a:gd name="connsiteX2061" fmla="*/ 78990 w 779965"/>
                    <a:gd name="connsiteY2061" fmla="*/ 948133 h 1260351"/>
                    <a:gd name="connsiteX2062" fmla="*/ 78018 w 779965"/>
                    <a:gd name="connsiteY2062" fmla="*/ 948424 h 1260351"/>
                    <a:gd name="connsiteX2063" fmla="*/ 76258 w 779965"/>
                    <a:gd name="connsiteY2063" fmla="*/ 948958 h 1260351"/>
                    <a:gd name="connsiteX2064" fmla="*/ 75383 w 779965"/>
                    <a:gd name="connsiteY2064" fmla="*/ 947720 h 1260351"/>
                    <a:gd name="connsiteX2065" fmla="*/ 73198 w 779965"/>
                    <a:gd name="connsiteY2065" fmla="*/ 940823 h 1260351"/>
                    <a:gd name="connsiteX2066" fmla="*/ 72736 w 779965"/>
                    <a:gd name="connsiteY2066" fmla="*/ 939366 h 1260351"/>
                    <a:gd name="connsiteX2067" fmla="*/ 71631 w 779965"/>
                    <a:gd name="connsiteY2067" fmla="*/ 938297 h 1260351"/>
                    <a:gd name="connsiteX2068" fmla="*/ 69579 w 779965"/>
                    <a:gd name="connsiteY2068" fmla="*/ 936318 h 1260351"/>
                    <a:gd name="connsiteX2069" fmla="*/ 67187 w 779965"/>
                    <a:gd name="connsiteY2069" fmla="*/ 934010 h 1260351"/>
                    <a:gd name="connsiteX2070" fmla="*/ 63957 w 779965"/>
                    <a:gd name="connsiteY2070" fmla="*/ 934775 h 1260351"/>
                    <a:gd name="connsiteX2071" fmla="*/ 59707 w 779965"/>
                    <a:gd name="connsiteY2071" fmla="*/ 935783 h 1260351"/>
                    <a:gd name="connsiteX2072" fmla="*/ 58383 w 779965"/>
                    <a:gd name="connsiteY2072" fmla="*/ 936087 h 1260351"/>
                    <a:gd name="connsiteX2073" fmla="*/ 57315 w 779965"/>
                    <a:gd name="connsiteY2073" fmla="*/ 936937 h 1260351"/>
                    <a:gd name="connsiteX2074" fmla="*/ 55299 w 779965"/>
                    <a:gd name="connsiteY2074" fmla="*/ 938552 h 1260351"/>
                    <a:gd name="connsiteX2075" fmla="*/ 54570 w 779965"/>
                    <a:gd name="connsiteY2075" fmla="*/ 939135 h 1260351"/>
                    <a:gd name="connsiteX2076" fmla="*/ 54048 w 779965"/>
                    <a:gd name="connsiteY2076" fmla="*/ 939912 h 1260351"/>
                    <a:gd name="connsiteX2077" fmla="*/ 51255 w 779965"/>
                    <a:gd name="connsiteY2077" fmla="*/ 944077 h 1260351"/>
                    <a:gd name="connsiteX2078" fmla="*/ 50418 w 779965"/>
                    <a:gd name="connsiteY2078" fmla="*/ 945024 h 1260351"/>
                    <a:gd name="connsiteX2079" fmla="*/ 50162 w 779965"/>
                    <a:gd name="connsiteY2079" fmla="*/ 945170 h 1260351"/>
                    <a:gd name="connsiteX2080" fmla="*/ 47236 w 779965"/>
                    <a:gd name="connsiteY2080" fmla="*/ 946153 h 1260351"/>
                    <a:gd name="connsiteX2081" fmla="*/ 46459 w 779965"/>
                    <a:gd name="connsiteY2081" fmla="*/ 946408 h 1260351"/>
                    <a:gd name="connsiteX2082" fmla="*/ 45767 w 779965"/>
                    <a:gd name="connsiteY2082" fmla="*/ 946870 h 1260351"/>
                    <a:gd name="connsiteX2083" fmla="*/ 44103 w 779965"/>
                    <a:gd name="connsiteY2083" fmla="*/ 947999 h 1260351"/>
                    <a:gd name="connsiteX2084" fmla="*/ 43265 w 779965"/>
                    <a:gd name="connsiteY2084" fmla="*/ 948570 h 1260351"/>
                    <a:gd name="connsiteX2085" fmla="*/ 42658 w 779965"/>
                    <a:gd name="connsiteY2085" fmla="*/ 949371 h 1260351"/>
                    <a:gd name="connsiteX2086" fmla="*/ 40813 w 779965"/>
                    <a:gd name="connsiteY2086" fmla="*/ 951836 h 1260351"/>
                    <a:gd name="connsiteX2087" fmla="*/ 40424 w 779965"/>
                    <a:gd name="connsiteY2087" fmla="*/ 952358 h 1260351"/>
                    <a:gd name="connsiteX2088" fmla="*/ 40157 w 779965"/>
                    <a:gd name="connsiteY2088" fmla="*/ 952953 h 1260351"/>
                    <a:gd name="connsiteX2089" fmla="*/ 37631 w 779965"/>
                    <a:gd name="connsiteY2089" fmla="*/ 958503 h 1260351"/>
                    <a:gd name="connsiteX2090" fmla="*/ 36830 w 779965"/>
                    <a:gd name="connsiteY2090" fmla="*/ 959669 h 1260351"/>
                    <a:gd name="connsiteX2091" fmla="*/ 36405 w 779965"/>
                    <a:gd name="connsiteY2091" fmla="*/ 959960 h 1260351"/>
                    <a:gd name="connsiteX2092" fmla="*/ 32652 w 779965"/>
                    <a:gd name="connsiteY2092" fmla="*/ 961490 h 1260351"/>
                    <a:gd name="connsiteX2093" fmla="*/ 32033 w 779965"/>
                    <a:gd name="connsiteY2093" fmla="*/ 961745 h 1260351"/>
                    <a:gd name="connsiteX2094" fmla="*/ 31487 w 779965"/>
                    <a:gd name="connsiteY2094" fmla="*/ 962121 h 1260351"/>
                    <a:gd name="connsiteX2095" fmla="*/ 29884 w 779965"/>
                    <a:gd name="connsiteY2095" fmla="*/ 963239 h 1260351"/>
                    <a:gd name="connsiteX2096" fmla="*/ 28585 w 779965"/>
                    <a:gd name="connsiteY2096" fmla="*/ 964149 h 1260351"/>
                    <a:gd name="connsiteX2097" fmla="*/ 27892 w 779965"/>
                    <a:gd name="connsiteY2097" fmla="*/ 965570 h 1260351"/>
                    <a:gd name="connsiteX2098" fmla="*/ 26350 w 779965"/>
                    <a:gd name="connsiteY2098" fmla="*/ 968739 h 1260351"/>
                    <a:gd name="connsiteX2099" fmla="*/ 26107 w 779965"/>
                    <a:gd name="connsiteY2099" fmla="*/ 969237 h 1260351"/>
                    <a:gd name="connsiteX2100" fmla="*/ 25962 w 779965"/>
                    <a:gd name="connsiteY2100" fmla="*/ 969772 h 1260351"/>
                    <a:gd name="connsiteX2101" fmla="*/ 21469 w 779965"/>
                    <a:gd name="connsiteY2101" fmla="*/ 985873 h 1260351"/>
                    <a:gd name="connsiteX2102" fmla="*/ 21384 w 779965"/>
                    <a:gd name="connsiteY2102" fmla="*/ 986176 h 1260351"/>
                    <a:gd name="connsiteX2103" fmla="*/ 21335 w 779965"/>
                    <a:gd name="connsiteY2103" fmla="*/ 986480 h 1260351"/>
                    <a:gd name="connsiteX2104" fmla="*/ 20874 w 779965"/>
                    <a:gd name="connsiteY2104" fmla="*/ 989249 h 1260351"/>
                    <a:gd name="connsiteX2105" fmla="*/ 20339 w 779965"/>
                    <a:gd name="connsiteY2105" fmla="*/ 992005 h 1260351"/>
                    <a:gd name="connsiteX2106" fmla="*/ 17267 w 779965"/>
                    <a:gd name="connsiteY2106" fmla="*/ 997591 h 1260351"/>
                    <a:gd name="connsiteX2107" fmla="*/ 7237 w 779965"/>
                    <a:gd name="connsiteY2107" fmla="*/ 1009199 h 1260351"/>
                    <a:gd name="connsiteX2108" fmla="*/ 6666 w 779965"/>
                    <a:gd name="connsiteY2108" fmla="*/ 1009868 h 1260351"/>
                    <a:gd name="connsiteX2109" fmla="*/ 6302 w 779965"/>
                    <a:gd name="connsiteY2109" fmla="*/ 1010669 h 1260351"/>
                    <a:gd name="connsiteX2110" fmla="*/ 2793 w 779965"/>
                    <a:gd name="connsiteY2110" fmla="*/ 1018416 h 1260351"/>
                    <a:gd name="connsiteX2111" fmla="*/ 2271 w 779965"/>
                    <a:gd name="connsiteY2111" fmla="*/ 1019582 h 1260351"/>
                    <a:gd name="connsiteX2112" fmla="*/ 2259 w 779965"/>
                    <a:gd name="connsiteY2112" fmla="*/ 1020857 h 1260351"/>
                    <a:gd name="connsiteX2113" fmla="*/ 2198 w 779965"/>
                    <a:gd name="connsiteY2113" fmla="*/ 1027183 h 1260351"/>
                    <a:gd name="connsiteX2114" fmla="*/ 2186 w 779965"/>
                    <a:gd name="connsiteY2114" fmla="*/ 1028519 h 1260351"/>
                    <a:gd name="connsiteX2115" fmla="*/ 2732 w 779965"/>
                    <a:gd name="connsiteY2115" fmla="*/ 1029745 h 1260351"/>
                    <a:gd name="connsiteX2116" fmla="*/ 5088 w 779965"/>
                    <a:gd name="connsiteY2116" fmla="*/ 1034943 h 1260351"/>
                    <a:gd name="connsiteX2117" fmla="*/ 5428 w 779965"/>
                    <a:gd name="connsiteY2117" fmla="*/ 1035695 h 1260351"/>
                    <a:gd name="connsiteX2118" fmla="*/ 5950 w 779965"/>
                    <a:gd name="connsiteY2118" fmla="*/ 1036327 h 1260351"/>
                    <a:gd name="connsiteX2119" fmla="*/ 16320 w 779965"/>
                    <a:gd name="connsiteY2119" fmla="*/ 1048761 h 1260351"/>
                    <a:gd name="connsiteX2120" fmla="*/ 16332 w 779965"/>
                    <a:gd name="connsiteY2120" fmla="*/ 1048834 h 1260351"/>
                    <a:gd name="connsiteX2121" fmla="*/ 5804 w 779965"/>
                    <a:gd name="connsiteY2121" fmla="*/ 1055039 h 1260351"/>
                    <a:gd name="connsiteX2122" fmla="*/ 5137 w 779965"/>
                    <a:gd name="connsiteY2122" fmla="*/ 1055428 h 1260351"/>
                    <a:gd name="connsiteX2123" fmla="*/ 4590 w 779965"/>
                    <a:gd name="connsiteY2123" fmla="*/ 1055987 h 1260351"/>
                    <a:gd name="connsiteX2124" fmla="*/ 2914 w 779965"/>
                    <a:gd name="connsiteY2124" fmla="*/ 1057674 h 1260351"/>
                    <a:gd name="connsiteX2125" fmla="*/ 2064 w 779965"/>
                    <a:gd name="connsiteY2125" fmla="*/ 1058512 h 1260351"/>
                    <a:gd name="connsiteX2126" fmla="*/ 1603 w 779965"/>
                    <a:gd name="connsiteY2126" fmla="*/ 1059617 h 1260351"/>
                    <a:gd name="connsiteX2127" fmla="*/ 571 w 779965"/>
                    <a:gd name="connsiteY2127" fmla="*/ 1062094 h 1260351"/>
                    <a:gd name="connsiteX2128" fmla="*/ 0 w 779965"/>
                    <a:gd name="connsiteY2128" fmla="*/ 1063467 h 1260351"/>
                    <a:gd name="connsiteX2129" fmla="*/ 134 w 779965"/>
                    <a:gd name="connsiteY2129" fmla="*/ 1064936 h 1260351"/>
                    <a:gd name="connsiteX2130" fmla="*/ 316 w 779965"/>
                    <a:gd name="connsiteY2130" fmla="*/ 1067097 h 1260351"/>
                    <a:gd name="connsiteX2131" fmla="*/ 352 w 779965"/>
                    <a:gd name="connsiteY2131" fmla="*/ 1067607 h 1260351"/>
                    <a:gd name="connsiteX2132" fmla="*/ 474 w 779965"/>
                    <a:gd name="connsiteY2132" fmla="*/ 1068093 h 1260351"/>
                    <a:gd name="connsiteX2133" fmla="*/ 1105 w 779965"/>
                    <a:gd name="connsiteY2133" fmla="*/ 1070546 h 1260351"/>
                    <a:gd name="connsiteX2134" fmla="*/ 2198 w 779965"/>
                    <a:gd name="connsiteY2134" fmla="*/ 1074261 h 1260351"/>
                    <a:gd name="connsiteX2135" fmla="*/ 3837 w 779965"/>
                    <a:gd name="connsiteY2135" fmla="*/ 1079847 h 1260351"/>
                    <a:gd name="connsiteX2136" fmla="*/ 9484 w 779965"/>
                    <a:gd name="connsiteY2136" fmla="*/ 1078451 h 1260351"/>
                    <a:gd name="connsiteX2137" fmla="*/ 9544 w 779965"/>
                    <a:gd name="connsiteY2137" fmla="*/ 1078439 h 1260351"/>
                    <a:gd name="connsiteX2138" fmla="*/ 9811 w 779965"/>
                    <a:gd name="connsiteY2138" fmla="*/ 1078936 h 1260351"/>
                    <a:gd name="connsiteX2139" fmla="*/ 10382 w 779965"/>
                    <a:gd name="connsiteY2139" fmla="*/ 1080321 h 1260351"/>
                    <a:gd name="connsiteX2140" fmla="*/ 10613 w 779965"/>
                    <a:gd name="connsiteY2140" fmla="*/ 1081268 h 1260351"/>
                    <a:gd name="connsiteX2141" fmla="*/ 10819 w 779965"/>
                    <a:gd name="connsiteY2141" fmla="*/ 1084838 h 1260351"/>
                    <a:gd name="connsiteX2142" fmla="*/ 10844 w 779965"/>
                    <a:gd name="connsiteY2142" fmla="*/ 1085360 h 1260351"/>
                    <a:gd name="connsiteX2143" fmla="*/ 10965 w 779965"/>
                    <a:gd name="connsiteY2143" fmla="*/ 1085882 h 1260351"/>
                    <a:gd name="connsiteX2144" fmla="*/ 11414 w 779965"/>
                    <a:gd name="connsiteY2144" fmla="*/ 1087801 h 1260351"/>
                    <a:gd name="connsiteX2145" fmla="*/ 11645 w 779965"/>
                    <a:gd name="connsiteY2145" fmla="*/ 1088784 h 1260351"/>
                    <a:gd name="connsiteX2146" fmla="*/ 12179 w 779965"/>
                    <a:gd name="connsiteY2146" fmla="*/ 1089635 h 1260351"/>
                    <a:gd name="connsiteX2147" fmla="*/ 13551 w 779965"/>
                    <a:gd name="connsiteY2147" fmla="*/ 1091820 h 1260351"/>
                    <a:gd name="connsiteX2148" fmla="*/ 13843 w 779965"/>
                    <a:gd name="connsiteY2148" fmla="*/ 1092294 h 1260351"/>
                    <a:gd name="connsiteX2149" fmla="*/ 14219 w 779965"/>
                    <a:gd name="connsiteY2149" fmla="*/ 1092694 h 1260351"/>
                    <a:gd name="connsiteX2150" fmla="*/ 15737 w 779965"/>
                    <a:gd name="connsiteY2150" fmla="*/ 1094346 h 1260351"/>
                    <a:gd name="connsiteX2151" fmla="*/ 16332 w 779965"/>
                    <a:gd name="connsiteY2151" fmla="*/ 1095147 h 1260351"/>
                    <a:gd name="connsiteX2152" fmla="*/ 16672 w 779965"/>
                    <a:gd name="connsiteY2152" fmla="*/ 1096544 h 1260351"/>
                    <a:gd name="connsiteX2153" fmla="*/ 16976 w 779965"/>
                    <a:gd name="connsiteY2153" fmla="*/ 1097782 h 1260351"/>
                    <a:gd name="connsiteX2154" fmla="*/ 17765 w 779965"/>
                    <a:gd name="connsiteY2154" fmla="*/ 1098802 h 1260351"/>
                    <a:gd name="connsiteX2155" fmla="*/ 18567 w 779965"/>
                    <a:gd name="connsiteY2155" fmla="*/ 1099835 h 1260351"/>
                    <a:gd name="connsiteX2156" fmla="*/ 22343 w 779965"/>
                    <a:gd name="connsiteY2156" fmla="*/ 1104692 h 1260351"/>
                    <a:gd name="connsiteX2157" fmla="*/ 26945 w 779965"/>
                    <a:gd name="connsiteY2157" fmla="*/ 1101012 h 1260351"/>
                    <a:gd name="connsiteX2158" fmla="*/ 29580 w 779965"/>
                    <a:gd name="connsiteY2158" fmla="*/ 1101777 h 1260351"/>
                    <a:gd name="connsiteX2159" fmla="*/ 32349 w 779965"/>
                    <a:gd name="connsiteY2159" fmla="*/ 1102579 h 1260351"/>
                    <a:gd name="connsiteX2160" fmla="*/ 34522 w 779965"/>
                    <a:gd name="connsiteY2160" fmla="*/ 1103222 h 1260351"/>
                    <a:gd name="connsiteX2161" fmla="*/ 36587 w 779965"/>
                    <a:gd name="connsiteY2161" fmla="*/ 1102275 h 1260351"/>
                    <a:gd name="connsiteX2162" fmla="*/ 39659 w 779965"/>
                    <a:gd name="connsiteY2162" fmla="*/ 1100867 h 1260351"/>
                    <a:gd name="connsiteX2163" fmla="*/ 45172 w 779965"/>
                    <a:gd name="connsiteY2163" fmla="*/ 1099410 h 1260351"/>
                    <a:gd name="connsiteX2164" fmla="*/ 47382 w 779965"/>
                    <a:gd name="connsiteY2164" fmla="*/ 1099458 h 1260351"/>
                    <a:gd name="connsiteX2165" fmla="*/ 48244 w 779965"/>
                    <a:gd name="connsiteY2165" fmla="*/ 1099810 h 1260351"/>
                    <a:gd name="connsiteX2166" fmla="*/ 50745 w 779965"/>
                    <a:gd name="connsiteY2166" fmla="*/ 1102190 h 1260351"/>
                    <a:gd name="connsiteX2167" fmla="*/ 51085 w 779965"/>
                    <a:gd name="connsiteY2167" fmla="*/ 1102518 h 1260351"/>
                    <a:gd name="connsiteX2168" fmla="*/ 51462 w 779965"/>
                    <a:gd name="connsiteY2168" fmla="*/ 1102773 h 1260351"/>
                    <a:gd name="connsiteX2169" fmla="*/ 53235 w 779965"/>
                    <a:gd name="connsiteY2169" fmla="*/ 1104024 h 1260351"/>
                    <a:gd name="connsiteX2170" fmla="*/ 53672 w 779965"/>
                    <a:gd name="connsiteY2170" fmla="*/ 1104327 h 1260351"/>
                    <a:gd name="connsiteX2171" fmla="*/ 54158 w 779965"/>
                    <a:gd name="connsiteY2171" fmla="*/ 1104546 h 1260351"/>
                    <a:gd name="connsiteX2172" fmla="*/ 57752 w 779965"/>
                    <a:gd name="connsiteY2172" fmla="*/ 1106246 h 1260351"/>
                    <a:gd name="connsiteX2173" fmla="*/ 59002 w 779965"/>
                    <a:gd name="connsiteY2173" fmla="*/ 1107157 h 1260351"/>
                    <a:gd name="connsiteX2174" fmla="*/ 62463 w 779965"/>
                    <a:gd name="connsiteY2174" fmla="*/ 1110253 h 1260351"/>
                    <a:gd name="connsiteX2175" fmla="*/ 70623 w 779965"/>
                    <a:gd name="connsiteY2175" fmla="*/ 1119615 h 1260351"/>
                    <a:gd name="connsiteX2176" fmla="*/ 73186 w 779965"/>
                    <a:gd name="connsiteY2176" fmla="*/ 1123258 h 1260351"/>
                    <a:gd name="connsiteX2177" fmla="*/ 73489 w 779965"/>
                    <a:gd name="connsiteY2177" fmla="*/ 1123695 h 1260351"/>
                    <a:gd name="connsiteX2178" fmla="*/ 73866 w 779965"/>
                    <a:gd name="connsiteY2178" fmla="*/ 1124072 h 1260351"/>
                    <a:gd name="connsiteX2179" fmla="*/ 77460 w 779965"/>
                    <a:gd name="connsiteY2179" fmla="*/ 1127630 h 1260351"/>
                    <a:gd name="connsiteX2180" fmla="*/ 79730 w 779965"/>
                    <a:gd name="connsiteY2180" fmla="*/ 1130847 h 1260351"/>
                    <a:gd name="connsiteX2181" fmla="*/ 79925 w 779965"/>
                    <a:gd name="connsiteY2181" fmla="*/ 1131115 h 1260351"/>
                    <a:gd name="connsiteX2182" fmla="*/ 80143 w 779965"/>
                    <a:gd name="connsiteY2182" fmla="*/ 1131370 h 1260351"/>
                    <a:gd name="connsiteX2183" fmla="*/ 83021 w 779965"/>
                    <a:gd name="connsiteY2183" fmla="*/ 1134636 h 1260351"/>
                    <a:gd name="connsiteX2184" fmla="*/ 84284 w 779965"/>
                    <a:gd name="connsiteY2184" fmla="*/ 1136688 h 1260351"/>
                    <a:gd name="connsiteX2185" fmla="*/ 85171 w 779965"/>
                    <a:gd name="connsiteY2185" fmla="*/ 1139020 h 1260351"/>
                    <a:gd name="connsiteX2186" fmla="*/ 86689 w 779965"/>
                    <a:gd name="connsiteY2186" fmla="*/ 1144436 h 1260351"/>
                    <a:gd name="connsiteX2187" fmla="*/ 86798 w 779965"/>
                    <a:gd name="connsiteY2187" fmla="*/ 1144824 h 1260351"/>
                    <a:gd name="connsiteX2188" fmla="*/ 86968 w 779965"/>
                    <a:gd name="connsiteY2188" fmla="*/ 1145200 h 1260351"/>
                    <a:gd name="connsiteX2189" fmla="*/ 91558 w 779965"/>
                    <a:gd name="connsiteY2189" fmla="*/ 1155765 h 1260351"/>
                    <a:gd name="connsiteX2190" fmla="*/ 91752 w 779965"/>
                    <a:gd name="connsiteY2190" fmla="*/ 1156202 h 1260351"/>
                    <a:gd name="connsiteX2191" fmla="*/ 92007 w 779965"/>
                    <a:gd name="connsiteY2191" fmla="*/ 1156603 h 1260351"/>
                    <a:gd name="connsiteX2192" fmla="*/ 95662 w 779965"/>
                    <a:gd name="connsiteY2192" fmla="*/ 1162346 h 1260351"/>
                    <a:gd name="connsiteX2193" fmla="*/ 94630 w 779965"/>
                    <a:gd name="connsiteY2193" fmla="*/ 1162808 h 1260351"/>
                    <a:gd name="connsiteX2194" fmla="*/ 94023 w 779965"/>
                    <a:gd name="connsiteY2194" fmla="*/ 1163075 h 1260351"/>
                    <a:gd name="connsiteX2195" fmla="*/ 93489 w 779965"/>
                    <a:gd name="connsiteY2195" fmla="*/ 1163463 h 1260351"/>
                    <a:gd name="connsiteX2196" fmla="*/ 92043 w 779965"/>
                    <a:gd name="connsiteY2196" fmla="*/ 1164532 h 1260351"/>
                    <a:gd name="connsiteX2197" fmla="*/ 91303 w 779965"/>
                    <a:gd name="connsiteY2197" fmla="*/ 1165078 h 1260351"/>
                    <a:gd name="connsiteX2198" fmla="*/ 90769 w 779965"/>
                    <a:gd name="connsiteY2198" fmla="*/ 1165819 h 1260351"/>
                    <a:gd name="connsiteX2199" fmla="*/ 89785 w 779965"/>
                    <a:gd name="connsiteY2199" fmla="*/ 1167143 h 1260351"/>
                    <a:gd name="connsiteX2200" fmla="*/ 89081 w 779965"/>
                    <a:gd name="connsiteY2200" fmla="*/ 1168090 h 1260351"/>
                    <a:gd name="connsiteX2201" fmla="*/ 88789 w 779965"/>
                    <a:gd name="connsiteY2201" fmla="*/ 1169244 h 1260351"/>
                    <a:gd name="connsiteX2202" fmla="*/ 88328 w 779965"/>
                    <a:gd name="connsiteY2202" fmla="*/ 1171041 h 1260351"/>
                    <a:gd name="connsiteX2203" fmla="*/ 88109 w 779965"/>
                    <a:gd name="connsiteY2203" fmla="*/ 1171854 h 1260351"/>
                    <a:gd name="connsiteX2204" fmla="*/ 88133 w 779965"/>
                    <a:gd name="connsiteY2204" fmla="*/ 1172704 h 1260351"/>
                    <a:gd name="connsiteX2205" fmla="*/ 88194 w 779965"/>
                    <a:gd name="connsiteY2205" fmla="*/ 1174805 h 1260351"/>
                    <a:gd name="connsiteX2206" fmla="*/ 88218 w 779965"/>
                    <a:gd name="connsiteY2206" fmla="*/ 1175813 h 1260351"/>
                    <a:gd name="connsiteX2207" fmla="*/ 88571 w 779965"/>
                    <a:gd name="connsiteY2207" fmla="*/ 1176760 h 1260351"/>
                    <a:gd name="connsiteX2208" fmla="*/ 89542 w 779965"/>
                    <a:gd name="connsiteY2208" fmla="*/ 1179371 h 1260351"/>
                    <a:gd name="connsiteX2209" fmla="*/ 90052 w 779965"/>
                    <a:gd name="connsiteY2209" fmla="*/ 1180755 h 1260351"/>
                    <a:gd name="connsiteX2210" fmla="*/ 91145 w 779965"/>
                    <a:gd name="connsiteY2210" fmla="*/ 1181751 h 1260351"/>
                    <a:gd name="connsiteX2211" fmla="*/ 92578 w 779965"/>
                    <a:gd name="connsiteY2211" fmla="*/ 1183038 h 1260351"/>
                    <a:gd name="connsiteX2212" fmla="*/ 93658 w 779965"/>
                    <a:gd name="connsiteY2212" fmla="*/ 1184009 h 1260351"/>
                    <a:gd name="connsiteX2213" fmla="*/ 95067 w 779965"/>
                    <a:gd name="connsiteY2213" fmla="*/ 1184386 h 1260351"/>
                    <a:gd name="connsiteX2214" fmla="*/ 97083 w 779965"/>
                    <a:gd name="connsiteY2214" fmla="*/ 1184932 h 1260351"/>
                    <a:gd name="connsiteX2215" fmla="*/ 97933 w 779965"/>
                    <a:gd name="connsiteY2215" fmla="*/ 1185175 h 1260351"/>
                    <a:gd name="connsiteX2216" fmla="*/ 98819 w 779965"/>
                    <a:gd name="connsiteY2216" fmla="*/ 1185151 h 1260351"/>
                    <a:gd name="connsiteX2217" fmla="*/ 103713 w 779965"/>
                    <a:gd name="connsiteY2217" fmla="*/ 1185029 h 1260351"/>
                    <a:gd name="connsiteX2218" fmla="*/ 104029 w 779965"/>
                    <a:gd name="connsiteY2218" fmla="*/ 1185017 h 1260351"/>
                    <a:gd name="connsiteX2219" fmla="*/ 104344 w 779965"/>
                    <a:gd name="connsiteY2219" fmla="*/ 1184981 h 1260351"/>
                    <a:gd name="connsiteX2220" fmla="*/ 106518 w 779965"/>
                    <a:gd name="connsiteY2220" fmla="*/ 1184701 h 1260351"/>
                    <a:gd name="connsiteX2221" fmla="*/ 107040 w 779965"/>
                    <a:gd name="connsiteY2221" fmla="*/ 1184629 h 1260351"/>
                    <a:gd name="connsiteX2222" fmla="*/ 107550 w 779965"/>
                    <a:gd name="connsiteY2222" fmla="*/ 1184459 h 1260351"/>
                    <a:gd name="connsiteX2223" fmla="*/ 109092 w 779965"/>
                    <a:gd name="connsiteY2223" fmla="*/ 1183973 h 1260351"/>
                    <a:gd name="connsiteX2224" fmla="*/ 109966 w 779965"/>
                    <a:gd name="connsiteY2224" fmla="*/ 1183706 h 1260351"/>
                    <a:gd name="connsiteX2225" fmla="*/ 110719 w 779965"/>
                    <a:gd name="connsiteY2225" fmla="*/ 1183196 h 1260351"/>
                    <a:gd name="connsiteX2226" fmla="*/ 111764 w 779965"/>
                    <a:gd name="connsiteY2226" fmla="*/ 1182467 h 1260351"/>
                    <a:gd name="connsiteX2227" fmla="*/ 112152 w 779965"/>
                    <a:gd name="connsiteY2227" fmla="*/ 1182200 h 1260351"/>
                    <a:gd name="connsiteX2228" fmla="*/ 112237 w 779965"/>
                    <a:gd name="connsiteY2228" fmla="*/ 1182783 h 1260351"/>
                    <a:gd name="connsiteX2229" fmla="*/ 112820 w 779965"/>
                    <a:gd name="connsiteY2229" fmla="*/ 1183803 h 1260351"/>
                    <a:gd name="connsiteX2230" fmla="*/ 114192 w 779965"/>
                    <a:gd name="connsiteY2230" fmla="*/ 1186158 h 1260351"/>
                    <a:gd name="connsiteX2231" fmla="*/ 114909 w 779965"/>
                    <a:gd name="connsiteY2231" fmla="*/ 1187373 h 1260351"/>
                    <a:gd name="connsiteX2232" fmla="*/ 116074 w 779965"/>
                    <a:gd name="connsiteY2232" fmla="*/ 1188150 h 1260351"/>
                    <a:gd name="connsiteX2233" fmla="*/ 117799 w 779965"/>
                    <a:gd name="connsiteY2233" fmla="*/ 1189303 h 1260351"/>
                    <a:gd name="connsiteX2234" fmla="*/ 119195 w 779965"/>
                    <a:gd name="connsiteY2234" fmla="*/ 1190227 h 1260351"/>
                    <a:gd name="connsiteX2235" fmla="*/ 120871 w 779965"/>
                    <a:gd name="connsiteY2235" fmla="*/ 1190311 h 1260351"/>
                    <a:gd name="connsiteX2236" fmla="*/ 123057 w 779965"/>
                    <a:gd name="connsiteY2236" fmla="*/ 1190421 h 1260351"/>
                    <a:gd name="connsiteX2237" fmla="*/ 124149 w 779965"/>
                    <a:gd name="connsiteY2237" fmla="*/ 1190482 h 1260351"/>
                    <a:gd name="connsiteX2238" fmla="*/ 125194 w 779965"/>
                    <a:gd name="connsiteY2238" fmla="*/ 1190154 h 1260351"/>
                    <a:gd name="connsiteX2239" fmla="*/ 127428 w 779965"/>
                    <a:gd name="connsiteY2239" fmla="*/ 1189437 h 1260351"/>
                    <a:gd name="connsiteX2240" fmla="*/ 127768 w 779965"/>
                    <a:gd name="connsiteY2240" fmla="*/ 1189328 h 1260351"/>
                    <a:gd name="connsiteX2241" fmla="*/ 128096 w 779965"/>
                    <a:gd name="connsiteY2241" fmla="*/ 1189170 h 1260351"/>
                    <a:gd name="connsiteX2242" fmla="*/ 128254 w 779965"/>
                    <a:gd name="connsiteY2242" fmla="*/ 1189097 h 1260351"/>
                    <a:gd name="connsiteX2243" fmla="*/ 128169 w 779965"/>
                    <a:gd name="connsiteY2243" fmla="*/ 1189401 h 1260351"/>
                    <a:gd name="connsiteX2244" fmla="*/ 127294 w 779965"/>
                    <a:gd name="connsiteY2244" fmla="*/ 1192558 h 1260351"/>
                    <a:gd name="connsiteX2245" fmla="*/ 127052 w 779965"/>
                    <a:gd name="connsiteY2245" fmla="*/ 1193432 h 1260351"/>
                    <a:gd name="connsiteX2246" fmla="*/ 127076 w 779965"/>
                    <a:gd name="connsiteY2246" fmla="*/ 1194355 h 1260351"/>
                    <a:gd name="connsiteX2247" fmla="*/ 127197 w 779965"/>
                    <a:gd name="connsiteY2247" fmla="*/ 1198229 h 1260351"/>
                    <a:gd name="connsiteX2248" fmla="*/ 127209 w 779965"/>
                    <a:gd name="connsiteY2248" fmla="*/ 1198726 h 1260351"/>
                    <a:gd name="connsiteX2249" fmla="*/ 127306 w 779965"/>
                    <a:gd name="connsiteY2249" fmla="*/ 1199212 h 1260351"/>
                    <a:gd name="connsiteX2250" fmla="*/ 127999 w 779965"/>
                    <a:gd name="connsiteY2250" fmla="*/ 1202722 h 1260351"/>
                    <a:gd name="connsiteX2251" fmla="*/ 129286 w 779965"/>
                    <a:gd name="connsiteY2251" fmla="*/ 1207081 h 1260351"/>
                    <a:gd name="connsiteX2252" fmla="*/ 129395 w 779965"/>
                    <a:gd name="connsiteY2252" fmla="*/ 1207457 h 1260351"/>
                    <a:gd name="connsiteX2253" fmla="*/ 129553 w 779965"/>
                    <a:gd name="connsiteY2253" fmla="*/ 1207810 h 1260351"/>
                    <a:gd name="connsiteX2254" fmla="*/ 130937 w 779965"/>
                    <a:gd name="connsiteY2254" fmla="*/ 1210882 h 1260351"/>
                    <a:gd name="connsiteX2255" fmla="*/ 134398 w 779965"/>
                    <a:gd name="connsiteY2255" fmla="*/ 1217050 h 1260351"/>
                    <a:gd name="connsiteX2256" fmla="*/ 134920 w 779965"/>
                    <a:gd name="connsiteY2256" fmla="*/ 1218860 h 1260351"/>
                    <a:gd name="connsiteX2257" fmla="*/ 136086 w 779965"/>
                    <a:gd name="connsiteY2257" fmla="*/ 1242028 h 1260351"/>
                    <a:gd name="connsiteX2258" fmla="*/ 136134 w 779965"/>
                    <a:gd name="connsiteY2258" fmla="*/ 1243073 h 1260351"/>
                    <a:gd name="connsiteX2259" fmla="*/ 136535 w 779965"/>
                    <a:gd name="connsiteY2259" fmla="*/ 1244044 h 1260351"/>
                    <a:gd name="connsiteX2260" fmla="*/ 139231 w 779965"/>
                    <a:gd name="connsiteY2260" fmla="*/ 1250528 h 1260351"/>
                    <a:gd name="connsiteX2261" fmla="*/ 139486 w 779965"/>
                    <a:gd name="connsiteY2261" fmla="*/ 1251135 h 1260351"/>
                    <a:gd name="connsiteX2262" fmla="*/ 139862 w 779965"/>
                    <a:gd name="connsiteY2262" fmla="*/ 1251670 h 1260351"/>
                    <a:gd name="connsiteX2263" fmla="*/ 142789 w 779965"/>
                    <a:gd name="connsiteY2263" fmla="*/ 1255895 h 1260351"/>
                    <a:gd name="connsiteX2264" fmla="*/ 143517 w 779965"/>
                    <a:gd name="connsiteY2264" fmla="*/ 1256940 h 1260351"/>
                    <a:gd name="connsiteX2265" fmla="*/ 144598 w 779965"/>
                    <a:gd name="connsiteY2265" fmla="*/ 1257608 h 1260351"/>
                    <a:gd name="connsiteX2266" fmla="*/ 147185 w 779965"/>
                    <a:gd name="connsiteY2266" fmla="*/ 1259198 h 1260351"/>
                    <a:gd name="connsiteX2267" fmla="*/ 148484 w 779965"/>
                    <a:gd name="connsiteY2267" fmla="*/ 1260000 h 1260351"/>
                    <a:gd name="connsiteX2268" fmla="*/ 150014 w 779965"/>
                    <a:gd name="connsiteY2268" fmla="*/ 1260085 h 1260351"/>
                    <a:gd name="connsiteX2269" fmla="*/ 152940 w 779965"/>
                    <a:gd name="connsiteY2269" fmla="*/ 1260255 h 1260351"/>
                    <a:gd name="connsiteX2270" fmla="*/ 154519 w 779965"/>
                    <a:gd name="connsiteY2270" fmla="*/ 1260352 h 1260351"/>
                    <a:gd name="connsiteX2271" fmla="*/ 155952 w 779965"/>
                    <a:gd name="connsiteY2271" fmla="*/ 1259648 h 1260351"/>
                    <a:gd name="connsiteX2272" fmla="*/ 158429 w 779965"/>
                    <a:gd name="connsiteY2272" fmla="*/ 1258434 h 1260351"/>
                    <a:gd name="connsiteX2273" fmla="*/ 158902 w 779965"/>
                    <a:gd name="connsiteY2273" fmla="*/ 1258190 h 1260351"/>
                    <a:gd name="connsiteX2274" fmla="*/ 159340 w 779965"/>
                    <a:gd name="connsiteY2274" fmla="*/ 1257887 h 1260351"/>
                    <a:gd name="connsiteX2275" fmla="*/ 163529 w 779965"/>
                    <a:gd name="connsiteY2275" fmla="*/ 1254839 h 1260351"/>
                    <a:gd name="connsiteX2276" fmla="*/ 167852 w 779965"/>
                    <a:gd name="connsiteY2276" fmla="*/ 1252775 h 1260351"/>
                    <a:gd name="connsiteX2277" fmla="*/ 168313 w 779965"/>
                    <a:gd name="connsiteY2277" fmla="*/ 1252556 h 1260351"/>
                    <a:gd name="connsiteX2278" fmla="*/ 168726 w 779965"/>
                    <a:gd name="connsiteY2278" fmla="*/ 1252277 h 1260351"/>
                    <a:gd name="connsiteX2279" fmla="*/ 173510 w 779965"/>
                    <a:gd name="connsiteY2279" fmla="*/ 1248938 h 1260351"/>
                    <a:gd name="connsiteX2280" fmla="*/ 174458 w 779965"/>
                    <a:gd name="connsiteY2280" fmla="*/ 1248415 h 1260351"/>
                    <a:gd name="connsiteX2281" fmla="*/ 175611 w 779965"/>
                    <a:gd name="connsiteY2281" fmla="*/ 1248962 h 1260351"/>
                    <a:gd name="connsiteX2282" fmla="*/ 179885 w 779965"/>
                    <a:gd name="connsiteY2282" fmla="*/ 1251561 h 1260351"/>
                    <a:gd name="connsiteX2283" fmla="*/ 180225 w 779965"/>
                    <a:gd name="connsiteY2283" fmla="*/ 1251767 h 1260351"/>
                    <a:gd name="connsiteX2284" fmla="*/ 180590 w 779965"/>
                    <a:gd name="connsiteY2284" fmla="*/ 1251937 h 1260351"/>
                    <a:gd name="connsiteX2285" fmla="*/ 184026 w 779965"/>
                    <a:gd name="connsiteY2285" fmla="*/ 1253430 h 1260351"/>
                    <a:gd name="connsiteX2286" fmla="*/ 184536 w 779965"/>
                    <a:gd name="connsiteY2286" fmla="*/ 1253661 h 1260351"/>
                    <a:gd name="connsiteX2287" fmla="*/ 185083 w 779965"/>
                    <a:gd name="connsiteY2287" fmla="*/ 1253782 h 1260351"/>
                    <a:gd name="connsiteX2288" fmla="*/ 189503 w 779965"/>
                    <a:gd name="connsiteY2288" fmla="*/ 1254790 h 1260351"/>
                    <a:gd name="connsiteX2289" fmla="*/ 190195 w 779965"/>
                    <a:gd name="connsiteY2289" fmla="*/ 1254948 h 1260351"/>
                    <a:gd name="connsiteX2290" fmla="*/ 190899 w 779965"/>
                    <a:gd name="connsiteY2290" fmla="*/ 1254948 h 1260351"/>
                    <a:gd name="connsiteX2291" fmla="*/ 196461 w 779965"/>
                    <a:gd name="connsiteY2291" fmla="*/ 1254912 h 1260351"/>
                    <a:gd name="connsiteX2292" fmla="*/ 196788 w 779965"/>
                    <a:gd name="connsiteY2292" fmla="*/ 1254912 h 1260351"/>
                    <a:gd name="connsiteX2293" fmla="*/ 197116 w 779965"/>
                    <a:gd name="connsiteY2293" fmla="*/ 1254876 h 1260351"/>
                    <a:gd name="connsiteX2294" fmla="*/ 205070 w 779965"/>
                    <a:gd name="connsiteY2294" fmla="*/ 1253953 h 1260351"/>
                    <a:gd name="connsiteX2295" fmla="*/ 218634 w 779965"/>
                    <a:gd name="connsiteY2295" fmla="*/ 1254365 h 1260351"/>
                    <a:gd name="connsiteX2296" fmla="*/ 226830 w 779965"/>
                    <a:gd name="connsiteY2296" fmla="*/ 1254620 h 1260351"/>
                    <a:gd name="connsiteX2297" fmla="*/ 224669 w 779965"/>
                    <a:gd name="connsiteY2297" fmla="*/ 1246703 h 1260351"/>
                    <a:gd name="connsiteX2298" fmla="*/ 224244 w 779965"/>
                    <a:gd name="connsiteY2298" fmla="*/ 1245161 h 1260351"/>
                    <a:gd name="connsiteX2299" fmla="*/ 224244 w 779965"/>
                    <a:gd name="connsiteY2299" fmla="*/ 1242866 h 1260351"/>
                    <a:gd name="connsiteX2300" fmla="*/ 224547 w 779965"/>
                    <a:gd name="connsiteY2300" fmla="*/ 1240644 h 1260351"/>
                    <a:gd name="connsiteX2301" fmla="*/ 225300 w 779965"/>
                    <a:gd name="connsiteY2301" fmla="*/ 1240790 h 1260351"/>
                    <a:gd name="connsiteX2302" fmla="*/ 226381 w 779965"/>
                    <a:gd name="connsiteY2302" fmla="*/ 1240984 h 1260351"/>
                    <a:gd name="connsiteX2303" fmla="*/ 227461 w 779965"/>
                    <a:gd name="connsiteY2303" fmla="*/ 1240790 h 1260351"/>
                    <a:gd name="connsiteX2304" fmla="*/ 228384 w 779965"/>
                    <a:gd name="connsiteY2304" fmla="*/ 1240620 h 1260351"/>
                    <a:gd name="connsiteX2305" fmla="*/ 229344 w 779965"/>
                    <a:gd name="connsiteY2305" fmla="*/ 1240437 h 1260351"/>
                    <a:gd name="connsiteX2306" fmla="*/ 230206 w 779965"/>
                    <a:gd name="connsiteY2306" fmla="*/ 1239976 h 1260351"/>
                    <a:gd name="connsiteX2307" fmla="*/ 231056 w 779965"/>
                    <a:gd name="connsiteY2307" fmla="*/ 1239515 h 1260351"/>
                    <a:gd name="connsiteX2308" fmla="*/ 232586 w 779965"/>
                    <a:gd name="connsiteY2308" fmla="*/ 1238689 h 1260351"/>
                    <a:gd name="connsiteX2309" fmla="*/ 233448 w 779965"/>
                    <a:gd name="connsiteY2309" fmla="*/ 1237159 h 1260351"/>
                    <a:gd name="connsiteX2310" fmla="*/ 234031 w 779965"/>
                    <a:gd name="connsiteY2310" fmla="*/ 1236127 h 1260351"/>
                    <a:gd name="connsiteX2311" fmla="*/ 234432 w 779965"/>
                    <a:gd name="connsiteY2311" fmla="*/ 1235410 h 1260351"/>
                    <a:gd name="connsiteX2312" fmla="*/ 234638 w 779965"/>
                    <a:gd name="connsiteY2312" fmla="*/ 1234609 h 1260351"/>
                    <a:gd name="connsiteX2313" fmla="*/ 234990 w 779965"/>
                    <a:gd name="connsiteY2313" fmla="*/ 1233200 h 1260351"/>
                    <a:gd name="connsiteX2314" fmla="*/ 235160 w 779965"/>
                    <a:gd name="connsiteY2314" fmla="*/ 1232520 h 1260351"/>
                    <a:gd name="connsiteX2315" fmla="*/ 235172 w 779965"/>
                    <a:gd name="connsiteY2315" fmla="*/ 1231816 h 1260351"/>
                    <a:gd name="connsiteX2316" fmla="*/ 235197 w 779965"/>
                    <a:gd name="connsiteY2316" fmla="*/ 1229570 h 1260351"/>
                    <a:gd name="connsiteX2317" fmla="*/ 235342 w 779965"/>
                    <a:gd name="connsiteY2317" fmla="*/ 1228465 h 1260351"/>
                    <a:gd name="connsiteX2318" fmla="*/ 235597 w 779965"/>
                    <a:gd name="connsiteY2318" fmla="*/ 1227554 h 1260351"/>
                    <a:gd name="connsiteX2319" fmla="*/ 236399 w 779965"/>
                    <a:gd name="connsiteY2319" fmla="*/ 1225866 h 1260351"/>
                    <a:gd name="connsiteX2320" fmla="*/ 236836 w 779965"/>
                    <a:gd name="connsiteY2320" fmla="*/ 1225150 h 1260351"/>
                    <a:gd name="connsiteX2321" fmla="*/ 237989 w 779965"/>
                    <a:gd name="connsiteY2321" fmla="*/ 1223680 h 1260351"/>
                    <a:gd name="connsiteX2322" fmla="*/ 238414 w 779965"/>
                    <a:gd name="connsiteY2322" fmla="*/ 1223146 h 1260351"/>
                    <a:gd name="connsiteX2323" fmla="*/ 238706 w 779965"/>
                    <a:gd name="connsiteY2323" fmla="*/ 1222539 h 1260351"/>
                    <a:gd name="connsiteX2324" fmla="*/ 239337 w 779965"/>
                    <a:gd name="connsiteY2324" fmla="*/ 1221227 h 1260351"/>
                    <a:gd name="connsiteX2325" fmla="*/ 239556 w 779965"/>
                    <a:gd name="connsiteY2325" fmla="*/ 1220766 h 1260351"/>
                    <a:gd name="connsiteX2326" fmla="*/ 239689 w 779965"/>
                    <a:gd name="connsiteY2326" fmla="*/ 1220280 h 1260351"/>
                    <a:gd name="connsiteX2327" fmla="*/ 240321 w 779965"/>
                    <a:gd name="connsiteY2327" fmla="*/ 1218058 h 1260351"/>
                    <a:gd name="connsiteX2328" fmla="*/ 241304 w 779965"/>
                    <a:gd name="connsiteY2328" fmla="*/ 1213201 h 1260351"/>
                    <a:gd name="connsiteX2329" fmla="*/ 241414 w 779965"/>
                    <a:gd name="connsiteY2329" fmla="*/ 1212618 h 1260351"/>
                    <a:gd name="connsiteX2330" fmla="*/ 241414 w 779965"/>
                    <a:gd name="connsiteY2330" fmla="*/ 1212023 h 1260351"/>
                    <a:gd name="connsiteX2331" fmla="*/ 241414 w 779965"/>
                    <a:gd name="connsiteY2331" fmla="*/ 1205429 h 1260351"/>
                    <a:gd name="connsiteX2332" fmla="*/ 241414 w 779965"/>
                    <a:gd name="connsiteY2332" fmla="*/ 1204883 h 1260351"/>
                    <a:gd name="connsiteX2333" fmla="*/ 241317 w 779965"/>
                    <a:gd name="connsiteY2333" fmla="*/ 1204349 h 1260351"/>
                    <a:gd name="connsiteX2334" fmla="*/ 241147 w 779965"/>
                    <a:gd name="connsiteY2334" fmla="*/ 1203402 h 1260351"/>
                    <a:gd name="connsiteX2335" fmla="*/ 241147 w 779965"/>
                    <a:gd name="connsiteY2335" fmla="*/ 1203231 h 1260351"/>
                    <a:gd name="connsiteX2336" fmla="*/ 241195 w 779965"/>
                    <a:gd name="connsiteY2336" fmla="*/ 1202989 h 1260351"/>
                    <a:gd name="connsiteX2337" fmla="*/ 241632 w 779965"/>
                    <a:gd name="connsiteY2337" fmla="*/ 1202151 h 1260351"/>
                    <a:gd name="connsiteX2338" fmla="*/ 242494 w 779965"/>
                    <a:gd name="connsiteY2338" fmla="*/ 1200900 h 1260351"/>
                    <a:gd name="connsiteX2339" fmla="*/ 242749 w 779965"/>
                    <a:gd name="connsiteY2339" fmla="*/ 1200657 h 1260351"/>
                    <a:gd name="connsiteX2340" fmla="*/ 243065 w 779965"/>
                    <a:gd name="connsiteY2340" fmla="*/ 1200366 h 1260351"/>
                    <a:gd name="connsiteX2341" fmla="*/ 243332 w 779965"/>
                    <a:gd name="connsiteY2341" fmla="*/ 1200026 h 1260351"/>
                    <a:gd name="connsiteX2342" fmla="*/ 244025 w 779965"/>
                    <a:gd name="connsiteY2342" fmla="*/ 1199151 h 1260351"/>
                    <a:gd name="connsiteX2343" fmla="*/ 244401 w 779965"/>
                    <a:gd name="connsiteY2343" fmla="*/ 1198666 h 1260351"/>
                    <a:gd name="connsiteX2344" fmla="*/ 244668 w 779965"/>
                    <a:gd name="connsiteY2344" fmla="*/ 1198119 h 1260351"/>
                    <a:gd name="connsiteX2345" fmla="*/ 245227 w 779965"/>
                    <a:gd name="connsiteY2345" fmla="*/ 1196990 h 1260351"/>
                    <a:gd name="connsiteX2346" fmla="*/ 245457 w 779965"/>
                    <a:gd name="connsiteY2346" fmla="*/ 1196541 h 1260351"/>
                    <a:gd name="connsiteX2347" fmla="*/ 245603 w 779965"/>
                    <a:gd name="connsiteY2347" fmla="*/ 1196055 h 1260351"/>
                    <a:gd name="connsiteX2348" fmla="*/ 247509 w 779965"/>
                    <a:gd name="connsiteY2348" fmla="*/ 1189826 h 1260351"/>
                    <a:gd name="connsiteX2349" fmla="*/ 247667 w 779965"/>
                    <a:gd name="connsiteY2349" fmla="*/ 1189303 h 1260351"/>
                    <a:gd name="connsiteX2350" fmla="*/ 247728 w 779965"/>
                    <a:gd name="connsiteY2350" fmla="*/ 1188757 h 1260351"/>
                    <a:gd name="connsiteX2351" fmla="*/ 248068 w 779965"/>
                    <a:gd name="connsiteY2351" fmla="*/ 1185867 h 1260351"/>
                    <a:gd name="connsiteX2352" fmla="*/ 248785 w 779965"/>
                    <a:gd name="connsiteY2352" fmla="*/ 1183511 h 1260351"/>
                    <a:gd name="connsiteX2353" fmla="*/ 248894 w 779965"/>
                    <a:gd name="connsiteY2353" fmla="*/ 1183159 h 1260351"/>
                    <a:gd name="connsiteX2354" fmla="*/ 248955 w 779965"/>
                    <a:gd name="connsiteY2354" fmla="*/ 1182807 h 1260351"/>
                    <a:gd name="connsiteX2355" fmla="*/ 249295 w 779965"/>
                    <a:gd name="connsiteY2355" fmla="*/ 1180852 h 1260351"/>
                    <a:gd name="connsiteX2356" fmla="*/ 249452 w 779965"/>
                    <a:gd name="connsiteY2356" fmla="*/ 1179941 h 1260351"/>
                    <a:gd name="connsiteX2357" fmla="*/ 249331 w 779965"/>
                    <a:gd name="connsiteY2357" fmla="*/ 1179019 h 1260351"/>
                    <a:gd name="connsiteX2358" fmla="*/ 249100 w 779965"/>
                    <a:gd name="connsiteY2358" fmla="*/ 1177343 h 1260351"/>
                    <a:gd name="connsiteX2359" fmla="*/ 248955 w 779965"/>
                    <a:gd name="connsiteY2359" fmla="*/ 1176250 h 1260351"/>
                    <a:gd name="connsiteX2360" fmla="*/ 248432 w 779965"/>
                    <a:gd name="connsiteY2360" fmla="*/ 1175278 h 1260351"/>
                    <a:gd name="connsiteX2361" fmla="*/ 247267 w 779965"/>
                    <a:gd name="connsiteY2361" fmla="*/ 1173105 h 1260351"/>
                    <a:gd name="connsiteX2362" fmla="*/ 247315 w 779965"/>
                    <a:gd name="connsiteY2362" fmla="*/ 1172971 h 1260351"/>
                    <a:gd name="connsiteX2363" fmla="*/ 248129 w 779965"/>
                    <a:gd name="connsiteY2363" fmla="*/ 1171393 h 1260351"/>
                    <a:gd name="connsiteX2364" fmla="*/ 249246 w 779965"/>
                    <a:gd name="connsiteY2364" fmla="*/ 1169656 h 1260351"/>
                    <a:gd name="connsiteX2365" fmla="*/ 249549 w 779965"/>
                    <a:gd name="connsiteY2365" fmla="*/ 1169183 h 1260351"/>
                    <a:gd name="connsiteX2366" fmla="*/ 249756 w 779965"/>
                    <a:gd name="connsiteY2366" fmla="*/ 1168661 h 1260351"/>
                    <a:gd name="connsiteX2367" fmla="*/ 251092 w 779965"/>
                    <a:gd name="connsiteY2367" fmla="*/ 1165297 h 1260351"/>
                    <a:gd name="connsiteX2368" fmla="*/ 251249 w 779965"/>
                    <a:gd name="connsiteY2368" fmla="*/ 1165285 h 1260351"/>
                    <a:gd name="connsiteX2369" fmla="*/ 253035 w 779965"/>
                    <a:gd name="connsiteY2369" fmla="*/ 1165175 h 1260351"/>
                    <a:gd name="connsiteX2370" fmla="*/ 253690 w 779965"/>
                    <a:gd name="connsiteY2370" fmla="*/ 1165139 h 1260351"/>
                    <a:gd name="connsiteX2371" fmla="*/ 254322 w 779965"/>
                    <a:gd name="connsiteY2371" fmla="*/ 1164957 h 1260351"/>
                    <a:gd name="connsiteX2372" fmla="*/ 257819 w 779965"/>
                    <a:gd name="connsiteY2372" fmla="*/ 1163973 h 1260351"/>
                    <a:gd name="connsiteX2373" fmla="*/ 258159 w 779965"/>
                    <a:gd name="connsiteY2373" fmla="*/ 1163876 h 1260351"/>
                    <a:gd name="connsiteX2374" fmla="*/ 258487 w 779965"/>
                    <a:gd name="connsiteY2374" fmla="*/ 1163731 h 1260351"/>
                    <a:gd name="connsiteX2375" fmla="*/ 267910 w 779965"/>
                    <a:gd name="connsiteY2375" fmla="*/ 1159833 h 1260351"/>
                    <a:gd name="connsiteX2376" fmla="*/ 268420 w 779965"/>
                    <a:gd name="connsiteY2376" fmla="*/ 1159626 h 1260351"/>
                    <a:gd name="connsiteX2377" fmla="*/ 268881 w 779965"/>
                    <a:gd name="connsiteY2377" fmla="*/ 1159335 h 1260351"/>
                    <a:gd name="connsiteX2378" fmla="*/ 270545 w 779965"/>
                    <a:gd name="connsiteY2378" fmla="*/ 1158266 h 1260351"/>
                    <a:gd name="connsiteX2379" fmla="*/ 271043 w 779965"/>
                    <a:gd name="connsiteY2379" fmla="*/ 1157950 h 1260351"/>
                    <a:gd name="connsiteX2380" fmla="*/ 271468 w 779965"/>
                    <a:gd name="connsiteY2380" fmla="*/ 1157538 h 1260351"/>
                    <a:gd name="connsiteX2381" fmla="*/ 272560 w 779965"/>
                    <a:gd name="connsiteY2381" fmla="*/ 1156481 h 1260351"/>
                    <a:gd name="connsiteX2382" fmla="*/ 273228 w 779965"/>
                    <a:gd name="connsiteY2382" fmla="*/ 1155838 h 1260351"/>
                    <a:gd name="connsiteX2383" fmla="*/ 273677 w 779965"/>
                    <a:gd name="connsiteY2383" fmla="*/ 1155036 h 1260351"/>
                    <a:gd name="connsiteX2384" fmla="*/ 275511 w 779965"/>
                    <a:gd name="connsiteY2384" fmla="*/ 1151721 h 1260351"/>
                    <a:gd name="connsiteX2385" fmla="*/ 276143 w 779965"/>
                    <a:gd name="connsiteY2385" fmla="*/ 1151478 h 1260351"/>
                    <a:gd name="connsiteX2386" fmla="*/ 280356 w 779965"/>
                    <a:gd name="connsiteY2386" fmla="*/ 1150786 h 1260351"/>
                    <a:gd name="connsiteX2387" fmla="*/ 280963 w 779965"/>
                    <a:gd name="connsiteY2387" fmla="*/ 1150689 h 1260351"/>
                    <a:gd name="connsiteX2388" fmla="*/ 281534 w 779965"/>
                    <a:gd name="connsiteY2388" fmla="*/ 1150459 h 1260351"/>
                    <a:gd name="connsiteX2389" fmla="*/ 283088 w 779965"/>
                    <a:gd name="connsiteY2389" fmla="*/ 1149863 h 1260351"/>
                    <a:gd name="connsiteX2390" fmla="*/ 283865 w 779965"/>
                    <a:gd name="connsiteY2390" fmla="*/ 1149572 h 1260351"/>
                    <a:gd name="connsiteX2391" fmla="*/ 284545 w 779965"/>
                    <a:gd name="connsiteY2391" fmla="*/ 1149074 h 1260351"/>
                    <a:gd name="connsiteX2392" fmla="*/ 285978 w 779965"/>
                    <a:gd name="connsiteY2392" fmla="*/ 1148005 h 1260351"/>
                    <a:gd name="connsiteX2393" fmla="*/ 286525 w 779965"/>
                    <a:gd name="connsiteY2393" fmla="*/ 1147593 h 1260351"/>
                    <a:gd name="connsiteX2394" fmla="*/ 286974 w 779965"/>
                    <a:gd name="connsiteY2394" fmla="*/ 1147070 h 1260351"/>
                    <a:gd name="connsiteX2395" fmla="*/ 288371 w 779965"/>
                    <a:gd name="connsiteY2395" fmla="*/ 1145431 h 1260351"/>
                    <a:gd name="connsiteX2396" fmla="*/ 288759 w 779965"/>
                    <a:gd name="connsiteY2396" fmla="*/ 1144970 h 1260351"/>
                    <a:gd name="connsiteX2397" fmla="*/ 289051 w 779965"/>
                    <a:gd name="connsiteY2397" fmla="*/ 1144447 h 1260351"/>
                    <a:gd name="connsiteX2398" fmla="*/ 294794 w 779965"/>
                    <a:gd name="connsiteY2398" fmla="*/ 1134138 h 1260351"/>
                    <a:gd name="connsiteX2399" fmla="*/ 297988 w 779965"/>
                    <a:gd name="connsiteY2399" fmla="*/ 1129997 h 1260351"/>
                    <a:gd name="connsiteX2400" fmla="*/ 299894 w 779965"/>
                    <a:gd name="connsiteY2400" fmla="*/ 1128249 h 1260351"/>
                    <a:gd name="connsiteX2401" fmla="*/ 306755 w 779965"/>
                    <a:gd name="connsiteY2401" fmla="*/ 1123100 h 1260351"/>
                    <a:gd name="connsiteX2402" fmla="*/ 307338 w 779965"/>
                    <a:gd name="connsiteY2402" fmla="*/ 1122651 h 1260351"/>
                    <a:gd name="connsiteX2403" fmla="*/ 307799 w 779965"/>
                    <a:gd name="connsiteY2403" fmla="*/ 1122093 h 1260351"/>
                    <a:gd name="connsiteX2404" fmla="*/ 312377 w 779965"/>
                    <a:gd name="connsiteY2404" fmla="*/ 1116470 h 1260351"/>
                    <a:gd name="connsiteX2405" fmla="*/ 315899 w 779965"/>
                    <a:gd name="connsiteY2405" fmla="*/ 1113119 h 1260351"/>
                    <a:gd name="connsiteX2406" fmla="*/ 319554 w 779965"/>
                    <a:gd name="connsiteY2406" fmla="*/ 1110290 h 1260351"/>
                    <a:gd name="connsiteX2407" fmla="*/ 320853 w 779965"/>
                    <a:gd name="connsiteY2407" fmla="*/ 1109537 h 1260351"/>
                    <a:gd name="connsiteX2408" fmla="*/ 322104 w 779965"/>
                    <a:gd name="connsiteY2408" fmla="*/ 1109014 h 1260351"/>
                    <a:gd name="connsiteX2409" fmla="*/ 324168 w 779965"/>
                    <a:gd name="connsiteY2409" fmla="*/ 1107958 h 1260351"/>
                    <a:gd name="connsiteX2410" fmla="*/ 325552 w 779965"/>
                    <a:gd name="connsiteY2410" fmla="*/ 1107229 h 1260351"/>
                    <a:gd name="connsiteX2411" fmla="*/ 326414 w 779965"/>
                    <a:gd name="connsiteY2411" fmla="*/ 1105930 h 1260351"/>
                    <a:gd name="connsiteX2412" fmla="*/ 327568 w 779965"/>
                    <a:gd name="connsiteY2412" fmla="*/ 1104170 h 1260351"/>
                    <a:gd name="connsiteX2413" fmla="*/ 328394 w 779965"/>
                    <a:gd name="connsiteY2413" fmla="*/ 1102907 h 1260351"/>
                    <a:gd name="connsiteX2414" fmla="*/ 328539 w 779965"/>
                    <a:gd name="connsiteY2414" fmla="*/ 1101401 h 1260351"/>
                    <a:gd name="connsiteX2415" fmla="*/ 328770 w 779965"/>
                    <a:gd name="connsiteY2415" fmla="*/ 1099069 h 1260351"/>
                    <a:gd name="connsiteX2416" fmla="*/ 328916 w 779965"/>
                    <a:gd name="connsiteY2416" fmla="*/ 1097527 h 1260351"/>
                    <a:gd name="connsiteX2417" fmla="*/ 328309 w 779965"/>
                    <a:gd name="connsiteY2417" fmla="*/ 1096107 h 1260351"/>
                    <a:gd name="connsiteX2418" fmla="*/ 327107 w 779965"/>
                    <a:gd name="connsiteY2418" fmla="*/ 1093302 h 1260351"/>
                    <a:gd name="connsiteX2419" fmla="*/ 326584 w 779965"/>
                    <a:gd name="connsiteY2419" fmla="*/ 1092075 h 1260351"/>
                    <a:gd name="connsiteX2420" fmla="*/ 325589 w 779965"/>
                    <a:gd name="connsiteY2420" fmla="*/ 1091176 h 1260351"/>
                    <a:gd name="connsiteX2421" fmla="*/ 324241 w 779965"/>
                    <a:gd name="connsiteY2421" fmla="*/ 1089962 h 1260351"/>
                    <a:gd name="connsiteX2422" fmla="*/ 324399 w 779965"/>
                    <a:gd name="connsiteY2422" fmla="*/ 1089865 h 1260351"/>
                    <a:gd name="connsiteX2423" fmla="*/ 325164 w 779965"/>
                    <a:gd name="connsiteY2423" fmla="*/ 1089404 h 1260351"/>
                    <a:gd name="connsiteX2424" fmla="*/ 325771 w 779965"/>
                    <a:gd name="connsiteY2424" fmla="*/ 1088748 h 1260351"/>
                    <a:gd name="connsiteX2425" fmla="*/ 327046 w 779965"/>
                    <a:gd name="connsiteY2425" fmla="*/ 1087376 h 1260351"/>
                    <a:gd name="connsiteX2426" fmla="*/ 327361 w 779965"/>
                    <a:gd name="connsiteY2426" fmla="*/ 1087036 h 1260351"/>
                    <a:gd name="connsiteX2427" fmla="*/ 327616 w 779965"/>
                    <a:gd name="connsiteY2427" fmla="*/ 1086659 h 1260351"/>
                    <a:gd name="connsiteX2428" fmla="*/ 329899 w 779965"/>
                    <a:gd name="connsiteY2428" fmla="*/ 1083296 h 1260351"/>
                    <a:gd name="connsiteX2429" fmla="*/ 330810 w 779965"/>
                    <a:gd name="connsiteY2429" fmla="*/ 1082300 h 1260351"/>
                    <a:gd name="connsiteX2430" fmla="*/ 332097 w 779965"/>
                    <a:gd name="connsiteY2430" fmla="*/ 1081244 h 1260351"/>
                    <a:gd name="connsiteX2431" fmla="*/ 333360 w 779965"/>
                    <a:gd name="connsiteY2431" fmla="*/ 1080442 h 1260351"/>
                    <a:gd name="connsiteX2432" fmla="*/ 334149 w 779965"/>
                    <a:gd name="connsiteY2432" fmla="*/ 1080090 h 1260351"/>
                    <a:gd name="connsiteX2433" fmla="*/ 334429 w 779965"/>
                    <a:gd name="connsiteY2433" fmla="*/ 1080005 h 1260351"/>
                    <a:gd name="connsiteX2434" fmla="*/ 341156 w 779965"/>
                    <a:gd name="connsiteY2434" fmla="*/ 1079543 h 1260351"/>
                    <a:gd name="connsiteX2435" fmla="*/ 341751 w 779965"/>
                    <a:gd name="connsiteY2435" fmla="*/ 1079495 h 1260351"/>
                    <a:gd name="connsiteX2436" fmla="*/ 342322 w 779965"/>
                    <a:gd name="connsiteY2436" fmla="*/ 1079337 h 1260351"/>
                    <a:gd name="connsiteX2437" fmla="*/ 345078 w 779965"/>
                    <a:gd name="connsiteY2437" fmla="*/ 1078584 h 1260351"/>
                    <a:gd name="connsiteX2438" fmla="*/ 346147 w 779965"/>
                    <a:gd name="connsiteY2438" fmla="*/ 1078305 h 1260351"/>
                    <a:gd name="connsiteX2439" fmla="*/ 347045 w 779965"/>
                    <a:gd name="connsiteY2439" fmla="*/ 1077649 h 1260351"/>
                    <a:gd name="connsiteX2440" fmla="*/ 349049 w 779965"/>
                    <a:gd name="connsiteY2440" fmla="*/ 1076204 h 1260351"/>
                    <a:gd name="connsiteX2441" fmla="*/ 349960 w 779965"/>
                    <a:gd name="connsiteY2441" fmla="*/ 1075536 h 1260351"/>
                    <a:gd name="connsiteX2442" fmla="*/ 350579 w 779965"/>
                    <a:gd name="connsiteY2442" fmla="*/ 1074614 h 1260351"/>
                    <a:gd name="connsiteX2443" fmla="*/ 351902 w 779965"/>
                    <a:gd name="connsiteY2443" fmla="*/ 1072586 h 1260351"/>
                    <a:gd name="connsiteX2444" fmla="*/ 352194 w 779965"/>
                    <a:gd name="connsiteY2444" fmla="*/ 1072124 h 1260351"/>
                    <a:gd name="connsiteX2445" fmla="*/ 352412 w 779965"/>
                    <a:gd name="connsiteY2445" fmla="*/ 1071614 h 1260351"/>
                    <a:gd name="connsiteX2446" fmla="*/ 352849 w 779965"/>
                    <a:gd name="connsiteY2446" fmla="*/ 1070582 h 1260351"/>
                    <a:gd name="connsiteX2447" fmla="*/ 352874 w 779965"/>
                    <a:gd name="connsiteY2447" fmla="*/ 1070606 h 1260351"/>
                    <a:gd name="connsiteX2448" fmla="*/ 353967 w 779965"/>
                    <a:gd name="connsiteY2448" fmla="*/ 1071347 h 1260351"/>
                    <a:gd name="connsiteX2449" fmla="*/ 355254 w 779965"/>
                    <a:gd name="connsiteY2449" fmla="*/ 1071578 h 1260351"/>
                    <a:gd name="connsiteX2450" fmla="*/ 357391 w 779965"/>
                    <a:gd name="connsiteY2450" fmla="*/ 1071942 h 1260351"/>
                    <a:gd name="connsiteX2451" fmla="*/ 363037 w 779965"/>
                    <a:gd name="connsiteY2451" fmla="*/ 1072901 h 1260351"/>
                    <a:gd name="connsiteX2452" fmla="*/ 364325 w 779965"/>
                    <a:gd name="connsiteY2452" fmla="*/ 1067328 h 1260351"/>
                    <a:gd name="connsiteX2453" fmla="*/ 365077 w 779965"/>
                    <a:gd name="connsiteY2453" fmla="*/ 1064098 h 1260351"/>
                    <a:gd name="connsiteX2454" fmla="*/ 366049 w 779965"/>
                    <a:gd name="connsiteY2454" fmla="*/ 1061669 h 1260351"/>
                    <a:gd name="connsiteX2455" fmla="*/ 366304 w 779965"/>
                    <a:gd name="connsiteY2455" fmla="*/ 1061220 h 1260351"/>
                    <a:gd name="connsiteX2456" fmla="*/ 366947 w 779965"/>
                    <a:gd name="connsiteY2456" fmla="*/ 1059848 h 1260351"/>
                    <a:gd name="connsiteX2457" fmla="*/ 367227 w 779965"/>
                    <a:gd name="connsiteY2457" fmla="*/ 1059216 h 1260351"/>
                    <a:gd name="connsiteX2458" fmla="*/ 367360 w 779965"/>
                    <a:gd name="connsiteY2458" fmla="*/ 1058536 h 1260351"/>
                    <a:gd name="connsiteX2459" fmla="*/ 369085 w 779965"/>
                    <a:gd name="connsiteY2459" fmla="*/ 1049745 h 1260351"/>
                    <a:gd name="connsiteX2460" fmla="*/ 369182 w 779965"/>
                    <a:gd name="connsiteY2460" fmla="*/ 1049247 h 1260351"/>
                    <a:gd name="connsiteX2461" fmla="*/ 369194 w 779965"/>
                    <a:gd name="connsiteY2461" fmla="*/ 1048749 h 1260351"/>
                    <a:gd name="connsiteX2462" fmla="*/ 369340 w 779965"/>
                    <a:gd name="connsiteY2462" fmla="*/ 1043673 h 1260351"/>
                    <a:gd name="connsiteX2463" fmla="*/ 369886 w 779965"/>
                    <a:gd name="connsiteY2463" fmla="*/ 1043054 h 1260351"/>
                    <a:gd name="connsiteX2464" fmla="*/ 370736 w 779965"/>
                    <a:gd name="connsiteY2464" fmla="*/ 1041985 h 1260351"/>
                    <a:gd name="connsiteX2465" fmla="*/ 370991 w 779965"/>
                    <a:gd name="connsiteY2465" fmla="*/ 1041670 h 1260351"/>
                    <a:gd name="connsiteX2466" fmla="*/ 371197 w 779965"/>
                    <a:gd name="connsiteY2466" fmla="*/ 1041330 h 1260351"/>
                    <a:gd name="connsiteX2467" fmla="*/ 371295 w 779965"/>
                    <a:gd name="connsiteY2467" fmla="*/ 1041160 h 1260351"/>
                    <a:gd name="connsiteX2468" fmla="*/ 374901 w 779965"/>
                    <a:gd name="connsiteY2468" fmla="*/ 1039302 h 1260351"/>
                    <a:gd name="connsiteX2469" fmla="*/ 375423 w 779965"/>
                    <a:gd name="connsiteY2469" fmla="*/ 1039144 h 1260351"/>
                    <a:gd name="connsiteX2470" fmla="*/ 377670 w 779965"/>
                    <a:gd name="connsiteY2470" fmla="*/ 1038476 h 1260351"/>
                    <a:gd name="connsiteX2471" fmla="*/ 378884 w 779965"/>
                    <a:gd name="connsiteY2471" fmla="*/ 1036472 h 1260351"/>
                    <a:gd name="connsiteX2472" fmla="*/ 379685 w 779965"/>
                    <a:gd name="connsiteY2472" fmla="*/ 1035161 h 1260351"/>
                    <a:gd name="connsiteX2473" fmla="*/ 380135 w 779965"/>
                    <a:gd name="connsiteY2473" fmla="*/ 1034421 h 1260351"/>
                    <a:gd name="connsiteX2474" fmla="*/ 380365 w 779965"/>
                    <a:gd name="connsiteY2474" fmla="*/ 1033607 h 1260351"/>
                    <a:gd name="connsiteX2475" fmla="*/ 380997 w 779965"/>
                    <a:gd name="connsiteY2475" fmla="*/ 1031287 h 1260351"/>
                    <a:gd name="connsiteX2476" fmla="*/ 381240 w 779965"/>
                    <a:gd name="connsiteY2476" fmla="*/ 1030389 h 1260351"/>
                    <a:gd name="connsiteX2477" fmla="*/ 381203 w 779965"/>
                    <a:gd name="connsiteY2477" fmla="*/ 1029466 h 1260351"/>
                    <a:gd name="connsiteX2478" fmla="*/ 380754 w 779965"/>
                    <a:gd name="connsiteY2478" fmla="*/ 1017348 h 1260351"/>
                    <a:gd name="connsiteX2479" fmla="*/ 380815 w 779965"/>
                    <a:gd name="connsiteY2479" fmla="*/ 1016072 h 1260351"/>
                    <a:gd name="connsiteX2480" fmla="*/ 380693 w 779965"/>
                    <a:gd name="connsiteY2480" fmla="*/ 1013547 h 1260351"/>
                    <a:gd name="connsiteX2481" fmla="*/ 380633 w 779965"/>
                    <a:gd name="connsiteY2481" fmla="*/ 1012599 h 1260351"/>
                    <a:gd name="connsiteX2482" fmla="*/ 380293 w 779965"/>
                    <a:gd name="connsiteY2482" fmla="*/ 1011725 h 1260351"/>
                    <a:gd name="connsiteX2483" fmla="*/ 379600 w 779965"/>
                    <a:gd name="connsiteY2483" fmla="*/ 1009940 h 1260351"/>
                    <a:gd name="connsiteX2484" fmla="*/ 379370 w 779965"/>
                    <a:gd name="connsiteY2484" fmla="*/ 1009345 h 1260351"/>
                    <a:gd name="connsiteX2485" fmla="*/ 379018 w 779965"/>
                    <a:gd name="connsiteY2485" fmla="*/ 1008811 h 1260351"/>
                    <a:gd name="connsiteX2486" fmla="*/ 376419 w 779965"/>
                    <a:gd name="connsiteY2486" fmla="*/ 1004840 h 1260351"/>
                    <a:gd name="connsiteX2487" fmla="*/ 375945 w 779965"/>
                    <a:gd name="connsiteY2487" fmla="*/ 1003881 h 1260351"/>
                    <a:gd name="connsiteX2488" fmla="*/ 375545 w 779965"/>
                    <a:gd name="connsiteY2488" fmla="*/ 999959 h 1260351"/>
                    <a:gd name="connsiteX2489" fmla="*/ 375484 w 779965"/>
                    <a:gd name="connsiteY2489" fmla="*/ 999376 h 1260351"/>
                    <a:gd name="connsiteX2490" fmla="*/ 375314 w 779965"/>
                    <a:gd name="connsiteY2490" fmla="*/ 998830 h 1260351"/>
                    <a:gd name="connsiteX2491" fmla="*/ 374804 w 779965"/>
                    <a:gd name="connsiteY2491" fmla="*/ 997129 h 1260351"/>
                    <a:gd name="connsiteX2492" fmla="*/ 374428 w 779965"/>
                    <a:gd name="connsiteY2492" fmla="*/ 995891 h 1260351"/>
                    <a:gd name="connsiteX2493" fmla="*/ 373602 w 779965"/>
                    <a:gd name="connsiteY2493" fmla="*/ 994919 h 1260351"/>
                    <a:gd name="connsiteX2494" fmla="*/ 372217 w 779965"/>
                    <a:gd name="connsiteY2494" fmla="*/ 993304 h 1260351"/>
                    <a:gd name="connsiteX2495" fmla="*/ 371695 w 779965"/>
                    <a:gd name="connsiteY2495" fmla="*/ 992685 h 1260351"/>
                    <a:gd name="connsiteX2496" fmla="*/ 371028 w 779965"/>
                    <a:gd name="connsiteY2496" fmla="*/ 992236 h 1260351"/>
                    <a:gd name="connsiteX2497" fmla="*/ 368927 w 779965"/>
                    <a:gd name="connsiteY2497" fmla="*/ 990803 h 1260351"/>
                    <a:gd name="connsiteX2498" fmla="*/ 369631 w 779965"/>
                    <a:gd name="connsiteY2498" fmla="*/ 988532 h 1260351"/>
                    <a:gd name="connsiteX2499" fmla="*/ 369813 w 779965"/>
                    <a:gd name="connsiteY2499" fmla="*/ 987961 h 1260351"/>
                    <a:gd name="connsiteX2500" fmla="*/ 369874 w 779965"/>
                    <a:gd name="connsiteY2500" fmla="*/ 987379 h 1260351"/>
                    <a:gd name="connsiteX2501" fmla="*/ 370105 w 779965"/>
                    <a:gd name="connsiteY2501" fmla="*/ 985181 h 1260351"/>
                    <a:gd name="connsiteX2502" fmla="*/ 370202 w 779965"/>
                    <a:gd name="connsiteY2502" fmla="*/ 984246 h 1260351"/>
                    <a:gd name="connsiteX2503" fmla="*/ 370008 w 779965"/>
                    <a:gd name="connsiteY2503" fmla="*/ 983323 h 1260351"/>
                    <a:gd name="connsiteX2504" fmla="*/ 369497 w 779965"/>
                    <a:gd name="connsiteY2504" fmla="*/ 980846 h 1260351"/>
                    <a:gd name="connsiteX2505" fmla="*/ 369303 w 779965"/>
                    <a:gd name="connsiteY2505" fmla="*/ 979923 h 1260351"/>
                    <a:gd name="connsiteX2506" fmla="*/ 368842 w 779965"/>
                    <a:gd name="connsiteY2506" fmla="*/ 979109 h 1260351"/>
                    <a:gd name="connsiteX2507" fmla="*/ 366595 w 779965"/>
                    <a:gd name="connsiteY2507" fmla="*/ 975090 h 1260351"/>
                    <a:gd name="connsiteX2508" fmla="*/ 366097 w 779965"/>
                    <a:gd name="connsiteY2508" fmla="*/ 973779 h 1260351"/>
                    <a:gd name="connsiteX2509" fmla="*/ 365806 w 779965"/>
                    <a:gd name="connsiteY2509" fmla="*/ 972370 h 1260351"/>
                    <a:gd name="connsiteX2510" fmla="*/ 365770 w 779965"/>
                    <a:gd name="connsiteY2510" fmla="*/ 969905 h 1260351"/>
                    <a:gd name="connsiteX2511" fmla="*/ 366073 w 779965"/>
                    <a:gd name="connsiteY2511" fmla="*/ 968278 h 1260351"/>
                    <a:gd name="connsiteX2512" fmla="*/ 366729 w 779965"/>
                    <a:gd name="connsiteY2512" fmla="*/ 966456 h 1260351"/>
                    <a:gd name="connsiteX2513" fmla="*/ 369923 w 779965"/>
                    <a:gd name="connsiteY2513" fmla="*/ 959814 h 1260351"/>
                    <a:gd name="connsiteX2514" fmla="*/ 370396 w 779965"/>
                    <a:gd name="connsiteY2514" fmla="*/ 958819 h 1260351"/>
                    <a:gd name="connsiteX2515" fmla="*/ 370493 w 779965"/>
                    <a:gd name="connsiteY2515" fmla="*/ 957726 h 1260351"/>
                    <a:gd name="connsiteX2516" fmla="*/ 370663 w 779965"/>
                    <a:gd name="connsiteY2516" fmla="*/ 955807 h 1260351"/>
                    <a:gd name="connsiteX2517" fmla="*/ 370785 w 779965"/>
                    <a:gd name="connsiteY2517" fmla="*/ 954459 h 1260351"/>
                    <a:gd name="connsiteX2518" fmla="*/ 370323 w 779965"/>
                    <a:gd name="connsiteY2518" fmla="*/ 953184 h 1260351"/>
                    <a:gd name="connsiteX2519" fmla="*/ 369692 w 779965"/>
                    <a:gd name="connsiteY2519" fmla="*/ 951460 h 1260351"/>
                    <a:gd name="connsiteX2520" fmla="*/ 369206 w 779965"/>
                    <a:gd name="connsiteY2520" fmla="*/ 950136 h 1260351"/>
                    <a:gd name="connsiteX2521" fmla="*/ 368186 w 779965"/>
                    <a:gd name="connsiteY2521" fmla="*/ 949165 h 1260351"/>
                    <a:gd name="connsiteX2522" fmla="*/ 366656 w 779965"/>
                    <a:gd name="connsiteY2522" fmla="*/ 947695 h 1260351"/>
                    <a:gd name="connsiteX2523" fmla="*/ 366923 w 779965"/>
                    <a:gd name="connsiteY2523" fmla="*/ 947526 h 1260351"/>
                    <a:gd name="connsiteX2524" fmla="*/ 367470 w 779965"/>
                    <a:gd name="connsiteY2524" fmla="*/ 946931 h 1260351"/>
                    <a:gd name="connsiteX2525" fmla="*/ 368502 w 779965"/>
                    <a:gd name="connsiteY2525" fmla="*/ 945813 h 1260351"/>
                    <a:gd name="connsiteX2526" fmla="*/ 369789 w 779965"/>
                    <a:gd name="connsiteY2526" fmla="*/ 944417 h 1260351"/>
                    <a:gd name="connsiteX2527" fmla="*/ 370044 w 779965"/>
                    <a:gd name="connsiteY2527" fmla="*/ 942523 h 1260351"/>
                    <a:gd name="connsiteX2528" fmla="*/ 370275 w 779965"/>
                    <a:gd name="connsiteY2528" fmla="*/ 940847 h 1260351"/>
                    <a:gd name="connsiteX2529" fmla="*/ 370432 w 779965"/>
                    <a:gd name="connsiteY2529" fmla="*/ 939718 h 1260351"/>
                    <a:gd name="connsiteX2530" fmla="*/ 370165 w 779965"/>
                    <a:gd name="connsiteY2530" fmla="*/ 938613 h 1260351"/>
                    <a:gd name="connsiteX2531" fmla="*/ 369704 w 779965"/>
                    <a:gd name="connsiteY2531" fmla="*/ 936670 h 1260351"/>
                    <a:gd name="connsiteX2532" fmla="*/ 369461 w 779965"/>
                    <a:gd name="connsiteY2532" fmla="*/ 935662 h 1260351"/>
                    <a:gd name="connsiteX2533" fmla="*/ 368915 w 779965"/>
                    <a:gd name="connsiteY2533" fmla="*/ 934800 h 1260351"/>
                    <a:gd name="connsiteX2534" fmla="*/ 367300 w 779965"/>
                    <a:gd name="connsiteY2534" fmla="*/ 932274 h 1260351"/>
                    <a:gd name="connsiteX2535" fmla="*/ 366826 w 779965"/>
                    <a:gd name="connsiteY2535" fmla="*/ 931533 h 1260351"/>
                    <a:gd name="connsiteX2536" fmla="*/ 366158 w 779965"/>
                    <a:gd name="connsiteY2536" fmla="*/ 930950 h 1260351"/>
                    <a:gd name="connsiteX2537" fmla="*/ 364665 w 779965"/>
                    <a:gd name="connsiteY2537" fmla="*/ 929663 h 1260351"/>
                    <a:gd name="connsiteX2538" fmla="*/ 364057 w 779965"/>
                    <a:gd name="connsiteY2538" fmla="*/ 929141 h 1260351"/>
                    <a:gd name="connsiteX2539" fmla="*/ 363341 w 779965"/>
                    <a:gd name="connsiteY2539" fmla="*/ 928789 h 1260351"/>
                    <a:gd name="connsiteX2540" fmla="*/ 361799 w 779965"/>
                    <a:gd name="connsiteY2540" fmla="*/ 928036 h 1260351"/>
                    <a:gd name="connsiteX2541" fmla="*/ 361216 w 779965"/>
                    <a:gd name="connsiteY2541" fmla="*/ 927769 h 1260351"/>
                    <a:gd name="connsiteX2542" fmla="*/ 360585 w 779965"/>
                    <a:gd name="connsiteY2542" fmla="*/ 927611 h 1260351"/>
                    <a:gd name="connsiteX2543" fmla="*/ 356638 w 779965"/>
                    <a:gd name="connsiteY2543" fmla="*/ 926640 h 1260351"/>
                    <a:gd name="connsiteX2544" fmla="*/ 354064 w 779965"/>
                    <a:gd name="connsiteY2544" fmla="*/ 920908 h 1260351"/>
                    <a:gd name="connsiteX2545" fmla="*/ 353906 w 779965"/>
                    <a:gd name="connsiteY2545" fmla="*/ 920568 h 1260351"/>
                    <a:gd name="connsiteX2546" fmla="*/ 353712 w 779965"/>
                    <a:gd name="connsiteY2546" fmla="*/ 920240 h 1260351"/>
                    <a:gd name="connsiteX2547" fmla="*/ 352728 w 779965"/>
                    <a:gd name="connsiteY2547" fmla="*/ 918625 h 1260351"/>
                    <a:gd name="connsiteX2548" fmla="*/ 352279 w 779965"/>
                    <a:gd name="connsiteY2548" fmla="*/ 917885 h 1260351"/>
                    <a:gd name="connsiteX2549" fmla="*/ 351635 w 779965"/>
                    <a:gd name="connsiteY2549" fmla="*/ 917290 h 1260351"/>
                    <a:gd name="connsiteX2550" fmla="*/ 350506 w 779965"/>
                    <a:gd name="connsiteY2550" fmla="*/ 916257 h 1260351"/>
                    <a:gd name="connsiteX2551" fmla="*/ 349704 w 779965"/>
                    <a:gd name="connsiteY2551" fmla="*/ 915529 h 1260351"/>
                    <a:gd name="connsiteX2552" fmla="*/ 348697 w 779965"/>
                    <a:gd name="connsiteY2552" fmla="*/ 915116 h 1260351"/>
                    <a:gd name="connsiteX2553" fmla="*/ 347203 w 779965"/>
                    <a:gd name="connsiteY2553" fmla="*/ 914509 h 1260351"/>
                    <a:gd name="connsiteX2554" fmla="*/ 346657 w 779965"/>
                    <a:gd name="connsiteY2554" fmla="*/ 914290 h 1260351"/>
                    <a:gd name="connsiteX2555" fmla="*/ 346074 w 779965"/>
                    <a:gd name="connsiteY2555" fmla="*/ 914169 h 1260351"/>
                    <a:gd name="connsiteX2556" fmla="*/ 344034 w 779965"/>
                    <a:gd name="connsiteY2556" fmla="*/ 913780 h 1260351"/>
                    <a:gd name="connsiteX2557" fmla="*/ 344483 w 779965"/>
                    <a:gd name="connsiteY2557" fmla="*/ 901893 h 1260351"/>
                    <a:gd name="connsiteX2558" fmla="*/ 345637 w 779965"/>
                    <a:gd name="connsiteY2558" fmla="*/ 896671 h 1260351"/>
                    <a:gd name="connsiteX2559" fmla="*/ 345709 w 779965"/>
                    <a:gd name="connsiteY2559" fmla="*/ 896355 h 1260351"/>
                    <a:gd name="connsiteX2560" fmla="*/ 345746 w 779965"/>
                    <a:gd name="connsiteY2560" fmla="*/ 896028 h 1260351"/>
                    <a:gd name="connsiteX2561" fmla="*/ 346025 w 779965"/>
                    <a:gd name="connsiteY2561" fmla="*/ 893502 h 1260351"/>
                    <a:gd name="connsiteX2562" fmla="*/ 346098 w 779965"/>
                    <a:gd name="connsiteY2562" fmla="*/ 892797 h 1260351"/>
                    <a:gd name="connsiteX2563" fmla="*/ 346013 w 779965"/>
                    <a:gd name="connsiteY2563" fmla="*/ 892105 h 1260351"/>
                    <a:gd name="connsiteX2564" fmla="*/ 345673 w 779965"/>
                    <a:gd name="connsiteY2564" fmla="*/ 889264 h 1260351"/>
                    <a:gd name="connsiteX2565" fmla="*/ 345612 w 779965"/>
                    <a:gd name="connsiteY2565" fmla="*/ 888778 h 1260351"/>
                    <a:gd name="connsiteX2566" fmla="*/ 345479 w 779965"/>
                    <a:gd name="connsiteY2566" fmla="*/ 888329 h 1260351"/>
                    <a:gd name="connsiteX2567" fmla="*/ 344107 w 779965"/>
                    <a:gd name="connsiteY2567" fmla="*/ 883520 h 1260351"/>
                    <a:gd name="connsiteX2568" fmla="*/ 343609 w 779965"/>
                    <a:gd name="connsiteY2568" fmla="*/ 881019 h 1260351"/>
                    <a:gd name="connsiteX2569" fmla="*/ 343730 w 779965"/>
                    <a:gd name="connsiteY2569" fmla="*/ 878238 h 1260351"/>
                    <a:gd name="connsiteX2570" fmla="*/ 345394 w 779965"/>
                    <a:gd name="connsiteY2570" fmla="*/ 870904 h 1260351"/>
                    <a:gd name="connsiteX2571" fmla="*/ 345637 w 779965"/>
                    <a:gd name="connsiteY2571" fmla="*/ 869811 h 1260351"/>
                    <a:gd name="connsiteX2572" fmla="*/ 345479 w 779965"/>
                    <a:gd name="connsiteY2572" fmla="*/ 868706 h 1260351"/>
                    <a:gd name="connsiteX2573" fmla="*/ 345187 w 779965"/>
                    <a:gd name="connsiteY2573" fmla="*/ 866666 h 1260351"/>
                    <a:gd name="connsiteX2574" fmla="*/ 344969 w 779965"/>
                    <a:gd name="connsiteY2574" fmla="*/ 865160 h 1260351"/>
                    <a:gd name="connsiteX2575" fmla="*/ 344070 w 779965"/>
                    <a:gd name="connsiteY2575" fmla="*/ 863934 h 1260351"/>
                    <a:gd name="connsiteX2576" fmla="*/ 342759 w 779965"/>
                    <a:gd name="connsiteY2576" fmla="*/ 862136 h 1260351"/>
                    <a:gd name="connsiteX2577" fmla="*/ 342103 w 779965"/>
                    <a:gd name="connsiteY2577" fmla="*/ 861238 h 1260351"/>
                    <a:gd name="connsiteX2578" fmla="*/ 341180 w 779965"/>
                    <a:gd name="connsiteY2578" fmla="*/ 860631 h 1260351"/>
                    <a:gd name="connsiteX2579" fmla="*/ 339504 w 779965"/>
                    <a:gd name="connsiteY2579" fmla="*/ 859538 h 1260351"/>
                    <a:gd name="connsiteX2580" fmla="*/ 338861 w 779965"/>
                    <a:gd name="connsiteY2580" fmla="*/ 859125 h 1260351"/>
                    <a:gd name="connsiteX2581" fmla="*/ 338132 w 779965"/>
                    <a:gd name="connsiteY2581" fmla="*/ 858870 h 1260351"/>
                    <a:gd name="connsiteX2582" fmla="*/ 336529 w 779965"/>
                    <a:gd name="connsiteY2582" fmla="*/ 858324 h 1260351"/>
                    <a:gd name="connsiteX2583" fmla="*/ 335886 w 779965"/>
                    <a:gd name="connsiteY2583" fmla="*/ 858105 h 1260351"/>
                    <a:gd name="connsiteX2584" fmla="*/ 335206 w 779965"/>
                    <a:gd name="connsiteY2584" fmla="*/ 858032 h 1260351"/>
                    <a:gd name="connsiteX2585" fmla="*/ 329535 w 779965"/>
                    <a:gd name="connsiteY2585" fmla="*/ 857437 h 1260351"/>
                    <a:gd name="connsiteX2586" fmla="*/ 329195 w 779965"/>
                    <a:gd name="connsiteY2586" fmla="*/ 857316 h 1260351"/>
                    <a:gd name="connsiteX2587" fmla="*/ 327447 w 779965"/>
                    <a:gd name="connsiteY2587" fmla="*/ 852701 h 1260351"/>
                    <a:gd name="connsiteX2588" fmla="*/ 327240 w 779965"/>
                    <a:gd name="connsiteY2588" fmla="*/ 852179 h 1260351"/>
                    <a:gd name="connsiteX2589" fmla="*/ 326949 w 779965"/>
                    <a:gd name="connsiteY2589" fmla="*/ 851694 h 1260351"/>
                    <a:gd name="connsiteX2590" fmla="*/ 325807 w 779965"/>
                    <a:gd name="connsiteY2590" fmla="*/ 849811 h 1260351"/>
                    <a:gd name="connsiteX2591" fmla="*/ 325407 w 779965"/>
                    <a:gd name="connsiteY2591" fmla="*/ 849143 h 1260351"/>
                    <a:gd name="connsiteX2592" fmla="*/ 324848 w 779965"/>
                    <a:gd name="connsiteY2592" fmla="*/ 848597 h 1260351"/>
                    <a:gd name="connsiteX2593" fmla="*/ 323354 w 779965"/>
                    <a:gd name="connsiteY2593" fmla="*/ 847152 h 1260351"/>
                    <a:gd name="connsiteX2594" fmla="*/ 322796 w 779965"/>
                    <a:gd name="connsiteY2594" fmla="*/ 846606 h 1260351"/>
                    <a:gd name="connsiteX2595" fmla="*/ 322116 w 779965"/>
                    <a:gd name="connsiteY2595" fmla="*/ 846229 h 1260351"/>
                    <a:gd name="connsiteX2596" fmla="*/ 306743 w 779965"/>
                    <a:gd name="connsiteY2596" fmla="*/ 837583 h 1260351"/>
                    <a:gd name="connsiteX2597" fmla="*/ 305261 w 779965"/>
                    <a:gd name="connsiteY2597" fmla="*/ 836406 h 1260351"/>
                    <a:gd name="connsiteX2598" fmla="*/ 304314 w 779965"/>
                    <a:gd name="connsiteY2598" fmla="*/ 835385 h 1260351"/>
                    <a:gd name="connsiteX2599" fmla="*/ 303659 w 779965"/>
                    <a:gd name="connsiteY2599" fmla="*/ 834293 h 1260351"/>
                    <a:gd name="connsiteX2600" fmla="*/ 303428 w 779965"/>
                    <a:gd name="connsiteY2600" fmla="*/ 833613 h 1260351"/>
                    <a:gd name="connsiteX2601" fmla="*/ 303416 w 779965"/>
                    <a:gd name="connsiteY2601" fmla="*/ 833248 h 1260351"/>
                    <a:gd name="connsiteX2602" fmla="*/ 303598 w 779965"/>
                    <a:gd name="connsiteY2602" fmla="*/ 832471 h 1260351"/>
                    <a:gd name="connsiteX2603" fmla="*/ 304035 w 779965"/>
                    <a:gd name="connsiteY2603" fmla="*/ 831342 h 1260351"/>
                    <a:gd name="connsiteX2604" fmla="*/ 311260 w 779965"/>
                    <a:gd name="connsiteY2604" fmla="*/ 818203 h 1260351"/>
                    <a:gd name="connsiteX2605" fmla="*/ 311442 w 779965"/>
                    <a:gd name="connsiteY2605" fmla="*/ 817948 h 1260351"/>
                    <a:gd name="connsiteX2606" fmla="*/ 312025 w 779965"/>
                    <a:gd name="connsiteY2606" fmla="*/ 817705 h 1260351"/>
                    <a:gd name="connsiteX2607" fmla="*/ 312413 w 779965"/>
                    <a:gd name="connsiteY2607" fmla="*/ 817535 h 1260351"/>
                    <a:gd name="connsiteX2608" fmla="*/ 312778 w 779965"/>
                    <a:gd name="connsiteY2608" fmla="*/ 817305 h 1260351"/>
                    <a:gd name="connsiteX2609" fmla="*/ 316275 w 779965"/>
                    <a:gd name="connsiteY2609" fmla="*/ 815204 h 1260351"/>
                    <a:gd name="connsiteX2610" fmla="*/ 317101 w 779965"/>
                    <a:gd name="connsiteY2610" fmla="*/ 814706 h 1260351"/>
                    <a:gd name="connsiteX2611" fmla="*/ 317732 w 779965"/>
                    <a:gd name="connsiteY2611" fmla="*/ 813977 h 1260351"/>
                    <a:gd name="connsiteX2612" fmla="*/ 322104 w 779965"/>
                    <a:gd name="connsiteY2612" fmla="*/ 808938 h 1260351"/>
                    <a:gd name="connsiteX2613" fmla="*/ 329086 w 779965"/>
                    <a:gd name="connsiteY2613" fmla="*/ 816868 h 1260351"/>
                    <a:gd name="connsiteX2614" fmla="*/ 329147 w 779965"/>
                    <a:gd name="connsiteY2614" fmla="*/ 816989 h 1260351"/>
                    <a:gd name="connsiteX2615" fmla="*/ 329074 w 779965"/>
                    <a:gd name="connsiteY2615" fmla="*/ 817790 h 1260351"/>
                    <a:gd name="connsiteX2616" fmla="*/ 329219 w 779965"/>
                    <a:gd name="connsiteY2616" fmla="*/ 818604 h 1260351"/>
                    <a:gd name="connsiteX2617" fmla="*/ 329438 w 779965"/>
                    <a:gd name="connsiteY2617" fmla="*/ 819843 h 1260351"/>
                    <a:gd name="connsiteX2618" fmla="*/ 329778 w 779965"/>
                    <a:gd name="connsiteY2618" fmla="*/ 821773 h 1260351"/>
                    <a:gd name="connsiteX2619" fmla="*/ 331199 w 779965"/>
                    <a:gd name="connsiteY2619" fmla="*/ 823133 h 1260351"/>
                    <a:gd name="connsiteX2620" fmla="*/ 332243 w 779965"/>
                    <a:gd name="connsiteY2620" fmla="*/ 824141 h 1260351"/>
                    <a:gd name="connsiteX2621" fmla="*/ 334028 w 779965"/>
                    <a:gd name="connsiteY2621" fmla="*/ 825878 h 1260351"/>
                    <a:gd name="connsiteX2622" fmla="*/ 336529 w 779965"/>
                    <a:gd name="connsiteY2622" fmla="*/ 825853 h 1260351"/>
                    <a:gd name="connsiteX2623" fmla="*/ 338594 w 779965"/>
                    <a:gd name="connsiteY2623" fmla="*/ 825829 h 1260351"/>
                    <a:gd name="connsiteX2624" fmla="*/ 339504 w 779965"/>
                    <a:gd name="connsiteY2624" fmla="*/ 825817 h 1260351"/>
                    <a:gd name="connsiteX2625" fmla="*/ 340367 w 779965"/>
                    <a:gd name="connsiteY2625" fmla="*/ 825550 h 1260351"/>
                    <a:gd name="connsiteX2626" fmla="*/ 341739 w 779965"/>
                    <a:gd name="connsiteY2626" fmla="*/ 825113 h 1260351"/>
                    <a:gd name="connsiteX2627" fmla="*/ 342577 w 779965"/>
                    <a:gd name="connsiteY2627" fmla="*/ 824846 h 1260351"/>
                    <a:gd name="connsiteX2628" fmla="*/ 343305 w 779965"/>
                    <a:gd name="connsiteY2628" fmla="*/ 824348 h 1260351"/>
                    <a:gd name="connsiteX2629" fmla="*/ 344398 w 779965"/>
                    <a:gd name="connsiteY2629" fmla="*/ 823595 h 1260351"/>
                    <a:gd name="connsiteX2630" fmla="*/ 345394 w 779965"/>
                    <a:gd name="connsiteY2630" fmla="*/ 822915 h 1260351"/>
                    <a:gd name="connsiteX2631" fmla="*/ 346062 w 779965"/>
                    <a:gd name="connsiteY2631" fmla="*/ 821907 h 1260351"/>
                    <a:gd name="connsiteX2632" fmla="*/ 346754 w 779965"/>
                    <a:gd name="connsiteY2632" fmla="*/ 820850 h 1260351"/>
                    <a:gd name="connsiteX2633" fmla="*/ 347045 w 779965"/>
                    <a:gd name="connsiteY2633" fmla="*/ 820401 h 1260351"/>
                    <a:gd name="connsiteX2634" fmla="*/ 347264 w 779965"/>
                    <a:gd name="connsiteY2634" fmla="*/ 819891 h 1260351"/>
                    <a:gd name="connsiteX2635" fmla="*/ 347980 w 779965"/>
                    <a:gd name="connsiteY2635" fmla="*/ 818228 h 1260351"/>
                    <a:gd name="connsiteX2636" fmla="*/ 351987 w 779965"/>
                    <a:gd name="connsiteY2636" fmla="*/ 822016 h 1260351"/>
                    <a:gd name="connsiteX2637" fmla="*/ 352255 w 779965"/>
                    <a:gd name="connsiteY2637" fmla="*/ 822271 h 1260351"/>
                    <a:gd name="connsiteX2638" fmla="*/ 352558 w 779965"/>
                    <a:gd name="connsiteY2638" fmla="*/ 822490 h 1260351"/>
                    <a:gd name="connsiteX2639" fmla="*/ 354926 w 779965"/>
                    <a:gd name="connsiteY2639" fmla="*/ 824250 h 1260351"/>
                    <a:gd name="connsiteX2640" fmla="*/ 355776 w 779965"/>
                    <a:gd name="connsiteY2640" fmla="*/ 825052 h 1260351"/>
                    <a:gd name="connsiteX2641" fmla="*/ 355788 w 779965"/>
                    <a:gd name="connsiteY2641" fmla="*/ 825076 h 1260351"/>
                    <a:gd name="connsiteX2642" fmla="*/ 355837 w 779965"/>
                    <a:gd name="connsiteY2642" fmla="*/ 825258 h 1260351"/>
                    <a:gd name="connsiteX2643" fmla="*/ 355934 w 779965"/>
                    <a:gd name="connsiteY2643" fmla="*/ 825647 h 1260351"/>
                    <a:gd name="connsiteX2644" fmla="*/ 356080 w 779965"/>
                    <a:gd name="connsiteY2644" fmla="*/ 826011 h 1260351"/>
                    <a:gd name="connsiteX2645" fmla="*/ 356492 w 779965"/>
                    <a:gd name="connsiteY2645" fmla="*/ 827019 h 1260351"/>
                    <a:gd name="connsiteX2646" fmla="*/ 357027 w 779965"/>
                    <a:gd name="connsiteY2646" fmla="*/ 828136 h 1260351"/>
                    <a:gd name="connsiteX2647" fmla="*/ 357610 w 779965"/>
                    <a:gd name="connsiteY2647" fmla="*/ 829302 h 1260351"/>
                    <a:gd name="connsiteX2648" fmla="*/ 358617 w 779965"/>
                    <a:gd name="connsiteY2648" fmla="*/ 830128 h 1260351"/>
                    <a:gd name="connsiteX2649" fmla="*/ 359419 w 779965"/>
                    <a:gd name="connsiteY2649" fmla="*/ 830783 h 1260351"/>
                    <a:gd name="connsiteX2650" fmla="*/ 360135 w 779965"/>
                    <a:gd name="connsiteY2650" fmla="*/ 831366 h 1260351"/>
                    <a:gd name="connsiteX2651" fmla="*/ 360985 w 779965"/>
                    <a:gd name="connsiteY2651" fmla="*/ 831706 h 1260351"/>
                    <a:gd name="connsiteX2652" fmla="*/ 362139 w 779965"/>
                    <a:gd name="connsiteY2652" fmla="*/ 832168 h 1260351"/>
                    <a:gd name="connsiteX2653" fmla="*/ 363147 w 779965"/>
                    <a:gd name="connsiteY2653" fmla="*/ 832568 h 1260351"/>
                    <a:gd name="connsiteX2654" fmla="*/ 364215 w 779965"/>
                    <a:gd name="connsiteY2654" fmla="*/ 832605 h 1260351"/>
                    <a:gd name="connsiteX2655" fmla="*/ 366110 w 779965"/>
                    <a:gd name="connsiteY2655" fmla="*/ 832665 h 1260351"/>
                    <a:gd name="connsiteX2656" fmla="*/ 366692 w 779965"/>
                    <a:gd name="connsiteY2656" fmla="*/ 832678 h 1260351"/>
                    <a:gd name="connsiteX2657" fmla="*/ 367275 w 779965"/>
                    <a:gd name="connsiteY2657" fmla="*/ 832581 h 1260351"/>
                    <a:gd name="connsiteX2658" fmla="*/ 369267 w 779965"/>
                    <a:gd name="connsiteY2658" fmla="*/ 832265 h 1260351"/>
                    <a:gd name="connsiteX2659" fmla="*/ 369971 w 779965"/>
                    <a:gd name="connsiteY2659" fmla="*/ 833248 h 1260351"/>
                    <a:gd name="connsiteX2660" fmla="*/ 381361 w 779965"/>
                    <a:gd name="connsiteY2660" fmla="*/ 856696 h 1260351"/>
                    <a:gd name="connsiteX2661" fmla="*/ 381616 w 779965"/>
                    <a:gd name="connsiteY2661" fmla="*/ 857231 h 1260351"/>
                    <a:gd name="connsiteX2662" fmla="*/ 381968 w 779965"/>
                    <a:gd name="connsiteY2662" fmla="*/ 857704 h 1260351"/>
                    <a:gd name="connsiteX2663" fmla="*/ 383401 w 779965"/>
                    <a:gd name="connsiteY2663" fmla="*/ 859599 h 1260351"/>
                    <a:gd name="connsiteX2664" fmla="*/ 384324 w 779965"/>
                    <a:gd name="connsiteY2664" fmla="*/ 860813 h 1260351"/>
                    <a:gd name="connsiteX2665" fmla="*/ 385708 w 779965"/>
                    <a:gd name="connsiteY2665" fmla="*/ 861456 h 1260351"/>
                    <a:gd name="connsiteX2666" fmla="*/ 387020 w 779965"/>
                    <a:gd name="connsiteY2666" fmla="*/ 862064 h 1260351"/>
                    <a:gd name="connsiteX2667" fmla="*/ 389242 w 779965"/>
                    <a:gd name="connsiteY2667" fmla="*/ 863084 h 1260351"/>
                    <a:gd name="connsiteX2668" fmla="*/ 391549 w 779965"/>
                    <a:gd name="connsiteY2668" fmla="*/ 862294 h 1260351"/>
                    <a:gd name="connsiteX2669" fmla="*/ 393164 w 779965"/>
                    <a:gd name="connsiteY2669" fmla="*/ 861736 h 1260351"/>
                    <a:gd name="connsiteX2670" fmla="*/ 395034 w 779965"/>
                    <a:gd name="connsiteY2670" fmla="*/ 861080 h 1260351"/>
                    <a:gd name="connsiteX2671" fmla="*/ 396163 w 779965"/>
                    <a:gd name="connsiteY2671" fmla="*/ 859453 h 1260351"/>
                    <a:gd name="connsiteX2672" fmla="*/ 397244 w 779965"/>
                    <a:gd name="connsiteY2672" fmla="*/ 857886 h 1260351"/>
                    <a:gd name="connsiteX2673" fmla="*/ 397475 w 779965"/>
                    <a:gd name="connsiteY2673" fmla="*/ 857559 h 1260351"/>
                    <a:gd name="connsiteX2674" fmla="*/ 397657 w 779965"/>
                    <a:gd name="connsiteY2674" fmla="*/ 857206 h 1260351"/>
                    <a:gd name="connsiteX2675" fmla="*/ 400158 w 779965"/>
                    <a:gd name="connsiteY2675" fmla="*/ 852349 h 1260351"/>
                    <a:gd name="connsiteX2676" fmla="*/ 400851 w 779965"/>
                    <a:gd name="connsiteY2676" fmla="*/ 851293 h 1260351"/>
                    <a:gd name="connsiteX2677" fmla="*/ 400863 w 779965"/>
                    <a:gd name="connsiteY2677" fmla="*/ 851281 h 1260351"/>
                    <a:gd name="connsiteX2678" fmla="*/ 401203 w 779965"/>
                    <a:gd name="connsiteY2678" fmla="*/ 850965 h 1260351"/>
                    <a:gd name="connsiteX2679" fmla="*/ 401567 w 779965"/>
                    <a:gd name="connsiteY2679" fmla="*/ 850722 h 1260351"/>
                    <a:gd name="connsiteX2680" fmla="*/ 401871 w 779965"/>
                    <a:gd name="connsiteY2680" fmla="*/ 850576 h 1260351"/>
                    <a:gd name="connsiteX2681" fmla="*/ 402502 w 779965"/>
                    <a:gd name="connsiteY2681" fmla="*/ 850479 h 1260351"/>
                    <a:gd name="connsiteX2682" fmla="*/ 403583 w 779965"/>
                    <a:gd name="connsiteY2682" fmla="*/ 850418 h 1260351"/>
                    <a:gd name="connsiteX2683" fmla="*/ 420097 w 779965"/>
                    <a:gd name="connsiteY2683" fmla="*/ 852871 h 1260351"/>
                    <a:gd name="connsiteX2684" fmla="*/ 421481 w 779965"/>
                    <a:gd name="connsiteY2684" fmla="*/ 853381 h 1260351"/>
                    <a:gd name="connsiteX2685" fmla="*/ 425865 w 779965"/>
                    <a:gd name="connsiteY2685" fmla="*/ 855786 h 1260351"/>
                    <a:gd name="connsiteX2686" fmla="*/ 426290 w 779965"/>
                    <a:gd name="connsiteY2686" fmla="*/ 856029 h 1260351"/>
                    <a:gd name="connsiteX2687" fmla="*/ 426751 w 779965"/>
                    <a:gd name="connsiteY2687" fmla="*/ 856186 h 1260351"/>
                    <a:gd name="connsiteX2688" fmla="*/ 428986 w 779965"/>
                    <a:gd name="connsiteY2688" fmla="*/ 856976 h 1260351"/>
                    <a:gd name="connsiteX2689" fmla="*/ 429884 w 779965"/>
                    <a:gd name="connsiteY2689" fmla="*/ 857292 h 1260351"/>
                    <a:gd name="connsiteX2690" fmla="*/ 430844 w 779965"/>
                    <a:gd name="connsiteY2690" fmla="*/ 857328 h 1260351"/>
                    <a:gd name="connsiteX2691" fmla="*/ 433782 w 779965"/>
                    <a:gd name="connsiteY2691" fmla="*/ 857413 h 1260351"/>
                    <a:gd name="connsiteX2692" fmla="*/ 433770 w 779965"/>
                    <a:gd name="connsiteY2692" fmla="*/ 857498 h 1260351"/>
                    <a:gd name="connsiteX2693" fmla="*/ 433758 w 779965"/>
                    <a:gd name="connsiteY2693" fmla="*/ 857996 h 1260351"/>
                    <a:gd name="connsiteX2694" fmla="*/ 433697 w 779965"/>
                    <a:gd name="connsiteY2694" fmla="*/ 859890 h 1260351"/>
                    <a:gd name="connsiteX2695" fmla="*/ 433685 w 779965"/>
                    <a:gd name="connsiteY2695" fmla="*/ 860376 h 1260351"/>
                    <a:gd name="connsiteX2696" fmla="*/ 433746 w 779965"/>
                    <a:gd name="connsiteY2696" fmla="*/ 860849 h 1260351"/>
                    <a:gd name="connsiteX2697" fmla="*/ 434025 w 779965"/>
                    <a:gd name="connsiteY2697" fmla="*/ 863144 h 1260351"/>
                    <a:gd name="connsiteX2698" fmla="*/ 433989 w 779965"/>
                    <a:gd name="connsiteY2698" fmla="*/ 864395 h 1260351"/>
                    <a:gd name="connsiteX2699" fmla="*/ 433867 w 779965"/>
                    <a:gd name="connsiteY2699" fmla="*/ 865233 h 1260351"/>
                    <a:gd name="connsiteX2700" fmla="*/ 433746 w 779965"/>
                    <a:gd name="connsiteY2700" fmla="*/ 866241 h 1260351"/>
                    <a:gd name="connsiteX2701" fmla="*/ 433964 w 779965"/>
                    <a:gd name="connsiteY2701" fmla="*/ 867237 h 1260351"/>
                    <a:gd name="connsiteX2702" fmla="*/ 434134 w 779965"/>
                    <a:gd name="connsiteY2702" fmla="*/ 868001 h 1260351"/>
                    <a:gd name="connsiteX2703" fmla="*/ 434231 w 779965"/>
                    <a:gd name="connsiteY2703" fmla="*/ 868439 h 1260351"/>
                    <a:gd name="connsiteX2704" fmla="*/ 434389 w 779965"/>
                    <a:gd name="connsiteY2704" fmla="*/ 868864 h 1260351"/>
                    <a:gd name="connsiteX2705" fmla="*/ 434608 w 779965"/>
                    <a:gd name="connsiteY2705" fmla="*/ 869447 h 1260351"/>
                    <a:gd name="connsiteX2706" fmla="*/ 436199 w 779965"/>
                    <a:gd name="connsiteY2706" fmla="*/ 873648 h 1260351"/>
                    <a:gd name="connsiteX2707" fmla="*/ 440679 w 779965"/>
                    <a:gd name="connsiteY2707" fmla="*/ 873369 h 1260351"/>
                    <a:gd name="connsiteX2708" fmla="*/ 443970 w 779965"/>
                    <a:gd name="connsiteY2708" fmla="*/ 873150 h 1260351"/>
                    <a:gd name="connsiteX2709" fmla="*/ 445670 w 779965"/>
                    <a:gd name="connsiteY2709" fmla="*/ 873041 h 1260351"/>
                    <a:gd name="connsiteX2710" fmla="*/ 447067 w 779965"/>
                    <a:gd name="connsiteY2710" fmla="*/ 872057 h 1260351"/>
                    <a:gd name="connsiteX2711" fmla="*/ 448609 w 779965"/>
                    <a:gd name="connsiteY2711" fmla="*/ 870976 h 1260351"/>
                    <a:gd name="connsiteX2712" fmla="*/ 455761 w 779965"/>
                    <a:gd name="connsiteY2712" fmla="*/ 865087 h 1260351"/>
                    <a:gd name="connsiteX2713" fmla="*/ 457388 w 779965"/>
                    <a:gd name="connsiteY2713" fmla="*/ 864164 h 1260351"/>
                    <a:gd name="connsiteX2714" fmla="*/ 458469 w 779965"/>
                    <a:gd name="connsiteY2714" fmla="*/ 863703 h 1260351"/>
                    <a:gd name="connsiteX2715" fmla="*/ 462306 w 779965"/>
                    <a:gd name="connsiteY2715" fmla="*/ 862428 h 1260351"/>
                    <a:gd name="connsiteX2716" fmla="*/ 463107 w 779965"/>
                    <a:gd name="connsiteY2716" fmla="*/ 862161 h 1260351"/>
                    <a:gd name="connsiteX2717" fmla="*/ 463812 w 779965"/>
                    <a:gd name="connsiteY2717" fmla="*/ 861687 h 1260351"/>
                    <a:gd name="connsiteX2718" fmla="*/ 465548 w 779965"/>
                    <a:gd name="connsiteY2718" fmla="*/ 860497 h 1260351"/>
                    <a:gd name="connsiteX2719" fmla="*/ 465924 w 779965"/>
                    <a:gd name="connsiteY2719" fmla="*/ 860242 h 1260351"/>
                    <a:gd name="connsiteX2720" fmla="*/ 466252 w 779965"/>
                    <a:gd name="connsiteY2720" fmla="*/ 859939 h 1260351"/>
                    <a:gd name="connsiteX2721" fmla="*/ 469288 w 779965"/>
                    <a:gd name="connsiteY2721" fmla="*/ 857134 h 1260351"/>
                    <a:gd name="connsiteX2722" fmla="*/ 469713 w 779965"/>
                    <a:gd name="connsiteY2722" fmla="*/ 856745 h 1260351"/>
                    <a:gd name="connsiteX2723" fmla="*/ 470053 w 779965"/>
                    <a:gd name="connsiteY2723" fmla="*/ 856284 h 1260351"/>
                    <a:gd name="connsiteX2724" fmla="*/ 470976 w 779965"/>
                    <a:gd name="connsiteY2724" fmla="*/ 855033 h 1260351"/>
                    <a:gd name="connsiteX2725" fmla="*/ 471960 w 779965"/>
                    <a:gd name="connsiteY2725" fmla="*/ 853709 h 1260351"/>
                    <a:gd name="connsiteX2726" fmla="*/ 472130 w 779965"/>
                    <a:gd name="connsiteY2726" fmla="*/ 852070 h 1260351"/>
                    <a:gd name="connsiteX2727" fmla="*/ 472251 w 779965"/>
                    <a:gd name="connsiteY2727" fmla="*/ 850904 h 1260351"/>
                    <a:gd name="connsiteX2728" fmla="*/ 472458 w 779965"/>
                    <a:gd name="connsiteY2728" fmla="*/ 848961 h 1260351"/>
                    <a:gd name="connsiteX2729" fmla="*/ 471486 w 779965"/>
                    <a:gd name="connsiteY2729" fmla="*/ 847249 h 1260351"/>
                    <a:gd name="connsiteX2730" fmla="*/ 470672 w 779965"/>
                    <a:gd name="connsiteY2730" fmla="*/ 845816 h 1260351"/>
                    <a:gd name="connsiteX2731" fmla="*/ 470187 w 779965"/>
                    <a:gd name="connsiteY2731" fmla="*/ 844991 h 1260351"/>
                    <a:gd name="connsiteX2732" fmla="*/ 469470 w 779965"/>
                    <a:gd name="connsiteY2732" fmla="*/ 844335 h 1260351"/>
                    <a:gd name="connsiteX2733" fmla="*/ 466932 w 779965"/>
                    <a:gd name="connsiteY2733" fmla="*/ 842040 h 1260351"/>
                    <a:gd name="connsiteX2734" fmla="*/ 466981 w 779965"/>
                    <a:gd name="connsiteY2734" fmla="*/ 841457 h 1260351"/>
                    <a:gd name="connsiteX2735" fmla="*/ 469373 w 779965"/>
                    <a:gd name="connsiteY2735" fmla="*/ 832410 h 1260351"/>
                    <a:gd name="connsiteX2736" fmla="*/ 469470 w 779965"/>
                    <a:gd name="connsiteY2736" fmla="*/ 832034 h 1260351"/>
                    <a:gd name="connsiteX2737" fmla="*/ 469519 w 779965"/>
                    <a:gd name="connsiteY2737" fmla="*/ 831646 h 1260351"/>
                    <a:gd name="connsiteX2738" fmla="*/ 469871 w 779965"/>
                    <a:gd name="connsiteY2738" fmla="*/ 828950 h 1260351"/>
                    <a:gd name="connsiteX2739" fmla="*/ 469932 w 779965"/>
                    <a:gd name="connsiteY2739" fmla="*/ 828476 h 1260351"/>
                    <a:gd name="connsiteX2740" fmla="*/ 469920 w 779965"/>
                    <a:gd name="connsiteY2740" fmla="*/ 828003 h 1260351"/>
                    <a:gd name="connsiteX2741" fmla="*/ 469859 w 779965"/>
                    <a:gd name="connsiteY2741" fmla="*/ 825817 h 1260351"/>
                    <a:gd name="connsiteX2742" fmla="*/ 469847 w 779965"/>
                    <a:gd name="connsiteY2742" fmla="*/ 825210 h 1260351"/>
                    <a:gd name="connsiteX2743" fmla="*/ 469713 w 779965"/>
                    <a:gd name="connsiteY2743" fmla="*/ 824615 h 1260351"/>
                    <a:gd name="connsiteX2744" fmla="*/ 468900 w 779965"/>
                    <a:gd name="connsiteY2744" fmla="*/ 821081 h 1260351"/>
                    <a:gd name="connsiteX2745" fmla="*/ 468754 w 779965"/>
                    <a:gd name="connsiteY2745" fmla="*/ 820438 h 1260351"/>
                    <a:gd name="connsiteX2746" fmla="*/ 468475 w 779965"/>
                    <a:gd name="connsiteY2746" fmla="*/ 819843 h 1260351"/>
                    <a:gd name="connsiteX2747" fmla="*/ 467406 w 779965"/>
                    <a:gd name="connsiteY2747" fmla="*/ 817572 h 1260351"/>
                    <a:gd name="connsiteX2748" fmla="*/ 464832 w 779965"/>
                    <a:gd name="connsiteY2748" fmla="*/ 816261 h 1260351"/>
                    <a:gd name="connsiteX2749" fmla="*/ 464577 w 779965"/>
                    <a:gd name="connsiteY2749" fmla="*/ 816175 h 1260351"/>
                    <a:gd name="connsiteX2750" fmla="*/ 463848 w 779965"/>
                    <a:gd name="connsiteY2750" fmla="*/ 815933 h 1260351"/>
                    <a:gd name="connsiteX2751" fmla="*/ 463035 w 779965"/>
                    <a:gd name="connsiteY2751" fmla="*/ 815714 h 1260351"/>
                    <a:gd name="connsiteX2752" fmla="*/ 462610 w 779965"/>
                    <a:gd name="connsiteY2752" fmla="*/ 815592 h 1260351"/>
                    <a:gd name="connsiteX2753" fmla="*/ 462172 w 779965"/>
                    <a:gd name="connsiteY2753" fmla="*/ 815544 h 1260351"/>
                    <a:gd name="connsiteX2754" fmla="*/ 457874 w 779965"/>
                    <a:gd name="connsiteY2754" fmla="*/ 815058 h 1260351"/>
                    <a:gd name="connsiteX2755" fmla="*/ 457570 w 779965"/>
                    <a:gd name="connsiteY2755" fmla="*/ 815022 h 1260351"/>
                    <a:gd name="connsiteX2756" fmla="*/ 457267 w 779965"/>
                    <a:gd name="connsiteY2756" fmla="*/ 815022 h 1260351"/>
                    <a:gd name="connsiteX2757" fmla="*/ 455032 w 779965"/>
                    <a:gd name="connsiteY2757" fmla="*/ 814998 h 1260351"/>
                    <a:gd name="connsiteX2758" fmla="*/ 454547 w 779965"/>
                    <a:gd name="connsiteY2758" fmla="*/ 814998 h 1260351"/>
                    <a:gd name="connsiteX2759" fmla="*/ 454061 w 779965"/>
                    <a:gd name="connsiteY2759" fmla="*/ 815070 h 1260351"/>
                    <a:gd name="connsiteX2760" fmla="*/ 452956 w 779965"/>
                    <a:gd name="connsiteY2760" fmla="*/ 815240 h 1260351"/>
                    <a:gd name="connsiteX2761" fmla="*/ 452446 w 779965"/>
                    <a:gd name="connsiteY2761" fmla="*/ 815313 h 1260351"/>
                    <a:gd name="connsiteX2762" fmla="*/ 451972 w 779965"/>
                    <a:gd name="connsiteY2762" fmla="*/ 815471 h 1260351"/>
                    <a:gd name="connsiteX2763" fmla="*/ 451171 w 779965"/>
                    <a:gd name="connsiteY2763" fmla="*/ 815726 h 1260351"/>
                    <a:gd name="connsiteX2764" fmla="*/ 450588 w 779965"/>
                    <a:gd name="connsiteY2764" fmla="*/ 815920 h 1260351"/>
                    <a:gd name="connsiteX2765" fmla="*/ 450054 w 779965"/>
                    <a:gd name="connsiteY2765" fmla="*/ 816224 h 1260351"/>
                    <a:gd name="connsiteX2766" fmla="*/ 449204 w 779965"/>
                    <a:gd name="connsiteY2766" fmla="*/ 816710 h 1260351"/>
                    <a:gd name="connsiteX2767" fmla="*/ 448645 w 779965"/>
                    <a:gd name="connsiteY2767" fmla="*/ 817025 h 1260351"/>
                    <a:gd name="connsiteX2768" fmla="*/ 448159 w 779965"/>
                    <a:gd name="connsiteY2768" fmla="*/ 817463 h 1260351"/>
                    <a:gd name="connsiteX2769" fmla="*/ 447552 w 779965"/>
                    <a:gd name="connsiteY2769" fmla="*/ 817875 h 1260351"/>
                    <a:gd name="connsiteX2770" fmla="*/ 445707 w 779965"/>
                    <a:gd name="connsiteY2770" fmla="*/ 815483 h 1260351"/>
                    <a:gd name="connsiteX2771" fmla="*/ 445257 w 779965"/>
                    <a:gd name="connsiteY2771" fmla="*/ 814901 h 1260351"/>
                    <a:gd name="connsiteX2772" fmla="*/ 444699 w 779965"/>
                    <a:gd name="connsiteY2772" fmla="*/ 814451 h 1260351"/>
                    <a:gd name="connsiteX2773" fmla="*/ 443606 w 779965"/>
                    <a:gd name="connsiteY2773" fmla="*/ 813577 h 1260351"/>
                    <a:gd name="connsiteX2774" fmla="*/ 443096 w 779965"/>
                    <a:gd name="connsiteY2774" fmla="*/ 813164 h 1260351"/>
                    <a:gd name="connsiteX2775" fmla="*/ 442501 w 779965"/>
                    <a:gd name="connsiteY2775" fmla="*/ 812885 h 1260351"/>
                    <a:gd name="connsiteX2776" fmla="*/ 441250 w 779965"/>
                    <a:gd name="connsiteY2776" fmla="*/ 812265 h 1260351"/>
                    <a:gd name="connsiteX2777" fmla="*/ 440594 w 779965"/>
                    <a:gd name="connsiteY2777" fmla="*/ 811950 h 1260351"/>
                    <a:gd name="connsiteX2778" fmla="*/ 439878 w 779965"/>
                    <a:gd name="connsiteY2778" fmla="*/ 811780 h 1260351"/>
                    <a:gd name="connsiteX2779" fmla="*/ 438384 w 779965"/>
                    <a:gd name="connsiteY2779" fmla="*/ 811452 h 1260351"/>
                    <a:gd name="connsiteX2780" fmla="*/ 437935 w 779965"/>
                    <a:gd name="connsiteY2780" fmla="*/ 811355 h 1260351"/>
                    <a:gd name="connsiteX2781" fmla="*/ 437462 w 779965"/>
                    <a:gd name="connsiteY2781" fmla="*/ 811318 h 1260351"/>
                    <a:gd name="connsiteX2782" fmla="*/ 436016 w 779965"/>
                    <a:gd name="connsiteY2782" fmla="*/ 811221 h 1260351"/>
                    <a:gd name="connsiteX2783" fmla="*/ 435616 w 779965"/>
                    <a:gd name="connsiteY2783" fmla="*/ 811197 h 1260351"/>
                    <a:gd name="connsiteX2784" fmla="*/ 435203 w 779965"/>
                    <a:gd name="connsiteY2784" fmla="*/ 811221 h 1260351"/>
                    <a:gd name="connsiteX2785" fmla="*/ 428087 w 779965"/>
                    <a:gd name="connsiteY2785" fmla="*/ 811707 h 1260351"/>
                    <a:gd name="connsiteX2786" fmla="*/ 427031 w 779965"/>
                    <a:gd name="connsiteY2786" fmla="*/ 811622 h 1260351"/>
                    <a:gd name="connsiteX2787" fmla="*/ 424869 w 779965"/>
                    <a:gd name="connsiteY2787" fmla="*/ 809569 h 1260351"/>
                    <a:gd name="connsiteX2788" fmla="*/ 424614 w 779965"/>
                    <a:gd name="connsiteY2788" fmla="*/ 809327 h 1260351"/>
                    <a:gd name="connsiteX2789" fmla="*/ 424335 w 779965"/>
                    <a:gd name="connsiteY2789" fmla="*/ 809108 h 1260351"/>
                    <a:gd name="connsiteX2790" fmla="*/ 423181 w 779965"/>
                    <a:gd name="connsiteY2790" fmla="*/ 808246 h 1260351"/>
                    <a:gd name="connsiteX2791" fmla="*/ 422647 w 779965"/>
                    <a:gd name="connsiteY2791" fmla="*/ 807845 h 1260351"/>
                    <a:gd name="connsiteX2792" fmla="*/ 422028 w 779965"/>
                    <a:gd name="connsiteY2792" fmla="*/ 807578 h 1260351"/>
                    <a:gd name="connsiteX2793" fmla="*/ 415981 w 779965"/>
                    <a:gd name="connsiteY2793" fmla="*/ 804858 h 1260351"/>
                    <a:gd name="connsiteX2794" fmla="*/ 419563 w 779965"/>
                    <a:gd name="connsiteY2794" fmla="*/ 792727 h 1260351"/>
                    <a:gd name="connsiteX2795" fmla="*/ 419696 w 779965"/>
                    <a:gd name="connsiteY2795" fmla="*/ 792290 h 1260351"/>
                    <a:gd name="connsiteX2796" fmla="*/ 419757 w 779965"/>
                    <a:gd name="connsiteY2796" fmla="*/ 791829 h 1260351"/>
                    <a:gd name="connsiteX2797" fmla="*/ 420146 w 779965"/>
                    <a:gd name="connsiteY2797" fmla="*/ 788963 h 1260351"/>
                    <a:gd name="connsiteX2798" fmla="*/ 420194 w 779965"/>
                    <a:gd name="connsiteY2798" fmla="*/ 788562 h 1260351"/>
                    <a:gd name="connsiteX2799" fmla="*/ 420194 w 779965"/>
                    <a:gd name="connsiteY2799" fmla="*/ 788150 h 1260351"/>
                    <a:gd name="connsiteX2800" fmla="*/ 420194 w 779965"/>
                    <a:gd name="connsiteY2800" fmla="*/ 783268 h 1260351"/>
                    <a:gd name="connsiteX2801" fmla="*/ 420194 w 779965"/>
                    <a:gd name="connsiteY2801" fmla="*/ 782746 h 1260351"/>
                    <a:gd name="connsiteX2802" fmla="*/ 420109 w 779965"/>
                    <a:gd name="connsiteY2802" fmla="*/ 782236 h 1260351"/>
                    <a:gd name="connsiteX2803" fmla="*/ 418749 w 779965"/>
                    <a:gd name="connsiteY2803" fmla="*/ 774379 h 1260351"/>
                    <a:gd name="connsiteX2804" fmla="*/ 418591 w 779965"/>
                    <a:gd name="connsiteY2804" fmla="*/ 764556 h 1260351"/>
                    <a:gd name="connsiteX2805" fmla="*/ 418579 w 779965"/>
                    <a:gd name="connsiteY2805" fmla="*/ 763669 h 1260351"/>
                    <a:gd name="connsiteX2806" fmla="*/ 418312 w 779965"/>
                    <a:gd name="connsiteY2806" fmla="*/ 762831 h 1260351"/>
                    <a:gd name="connsiteX2807" fmla="*/ 417559 w 779965"/>
                    <a:gd name="connsiteY2807" fmla="*/ 760464 h 1260351"/>
                    <a:gd name="connsiteX2808" fmla="*/ 417414 w 779965"/>
                    <a:gd name="connsiteY2808" fmla="*/ 760002 h 1260351"/>
                    <a:gd name="connsiteX2809" fmla="*/ 417195 w 779965"/>
                    <a:gd name="connsiteY2809" fmla="*/ 759577 h 1260351"/>
                    <a:gd name="connsiteX2810" fmla="*/ 416406 w 779965"/>
                    <a:gd name="connsiteY2810" fmla="*/ 757986 h 1260351"/>
                    <a:gd name="connsiteX2811" fmla="*/ 416187 w 779965"/>
                    <a:gd name="connsiteY2811" fmla="*/ 757549 h 1260351"/>
                    <a:gd name="connsiteX2812" fmla="*/ 415908 w 779965"/>
                    <a:gd name="connsiteY2812" fmla="*/ 757161 h 1260351"/>
                    <a:gd name="connsiteX2813" fmla="*/ 415689 w 779965"/>
                    <a:gd name="connsiteY2813" fmla="*/ 756869 h 1260351"/>
                    <a:gd name="connsiteX2814" fmla="*/ 415689 w 779965"/>
                    <a:gd name="connsiteY2814" fmla="*/ 755011 h 1260351"/>
                    <a:gd name="connsiteX2815" fmla="*/ 417608 w 779965"/>
                    <a:gd name="connsiteY2815" fmla="*/ 739238 h 1260351"/>
                    <a:gd name="connsiteX2816" fmla="*/ 417668 w 779965"/>
                    <a:gd name="connsiteY2816" fmla="*/ 738679 h 1260351"/>
                    <a:gd name="connsiteX2817" fmla="*/ 417632 w 779965"/>
                    <a:gd name="connsiteY2817" fmla="*/ 738109 h 1260351"/>
                    <a:gd name="connsiteX2818" fmla="*/ 417341 w 779965"/>
                    <a:gd name="connsiteY2818" fmla="*/ 733494 h 1260351"/>
                    <a:gd name="connsiteX2819" fmla="*/ 417304 w 779965"/>
                    <a:gd name="connsiteY2819" fmla="*/ 732984 h 1260351"/>
                    <a:gd name="connsiteX2820" fmla="*/ 417183 w 779965"/>
                    <a:gd name="connsiteY2820" fmla="*/ 732474 h 1260351"/>
                    <a:gd name="connsiteX2821" fmla="*/ 416673 w 779965"/>
                    <a:gd name="connsiteY2821" fmla="*/ 730337 h 1260351"/>
                    <a:gd name="connsiteX2822" fmla="*/ 415009 w 779965"/>
                    <a:gd name="connsiteY2822" fmla="*/ 723355 h 1260351"/>
                    <a:gd name="connsiteX2823" fmla="*/ 410091 w 779965"/>
                    <a:gd name="connsiteY2823" fmla="*/ 725443 h 1260351"/>
                    <a:gd name="connsiteX2824" fmla="*/ 409982 w 779965"/>
                    <a:gd name="connsiteY2824" fmla="*/ 724096 h 1260351"/>
                    <a:gd name="connsiteX2825" fmla="*/ 409958 w 779965"/>
                    <a:gd name="connsiteY2825" fmla="*/ 723780 h 1260351"/>
                    <a:gd name="connsiteX2826" fmla="*/ 409897 w 779965"/>
                    <a:gd name="connsiteY2826" fmla="*/ 723464 h 1260351"/>
                    <a:gd name="connsiteX2827" fmla="*/ 409618 w 779965"/>
                    <a:gd name="connsiteY2827" fmla="*/ 721958 h 1260351"/>
                    <a:gd name="connsiteX2828" fmla="*/ 408598 w 779965"/>
                    <a:gd name="connsiteY2828" fmla="*/ 720440 h 1260351"/>
                    <a:gd name="connsiteX2829" fmla="*/ 407736 w 779965"/>
                    <a:gd name="connsiteY2829" fmla="*/ 719372 h 1260351"/>
                    <a:gd name="connsiteX2830" fmla="*/ 406193 w 779965"/>
                    <a:gd name="connsiteY2830" fmla="*/ 717441 h 1260351"/>
                    <a:gd name="connsiteX2831" fmla="*/ 403741 w 779965"/>
                    <a:gd name="connsiteY2831" fmla="*/ 717162 h 1260351"/>
                    <a:gd name="connsiteX2832" fmla="*/ 403048 w 779965"/>
                    <a:gd name="connsiteY2832" fmla="*/ 717077 h 1260351"/>
                    <a:gd name="connsiteX2833" fmla="*/ 402830 w 779965"/>
                    <a:gd name="connsiteY2833" fmla="*/ 717040 h 1260351"/>
                    <a:gd name="connsiteX2834" fmla="*/ 402587 w 779965"/>
                    <a:gd name="connsiteY2834" fmla="*/ 716591 h 1260351"/>
                    <a:gd name="connsiteX2835" fmla="*/ 402308 w 779965"/>
                    <a:gd name="connsiteY2835" fmla="*/ 715413 h 1260351"/>
                    <a:gd name="connsiteX2836" fmla="*/ 402308 w 779965"/>
                    <a:gd name="connsiteY2836" fmla="*/ 714151 h 1260351"/>
                    <a:gd name="connsiteX2837" fmla="*/ 405283 w 779965"/>
                    <a:gd name="connsiteY2837" fmla="*/ 701813 h 1260351"/>
                    <a:gd name="connsiteX2838" fmla="*/ 406206 w 779965"/>
                    <a:gd name="connsiteY2838" fmla="*/ 699202 h 1260351"/>
                    <a:gd name="connsiteX2839" fmla="*/ 406351 w 779965"/>
                    <a:gd name="connsiteY2839" fmla="*/ 698790 h 1260351"/>
                    <a:gd name="connsiteX2840" fmla="*/ 406436 w 779965"/>
                    <a:gd name="connsiteY2840" fmla="*/ 698340 h 1260351"/>
                    <a:gd name="connsiteX2841" fmla="*/ 407116 w 779965"/>
                    <a:gd name="connsiteY2841" fmla="*/ 694892 h 1260351"/>
                    <a:gd name="connsiteX2842" fmla="*/ 407432 w 779965"/>
                    <a:gd name="connsiteY2842" fmla="*/ 691929 h 1260351"/>
                    <a:gd name="connsiteX2843" fmla="*/ 407468 w 779965"/>
                    <a:gd name="connsiteY2843" fmla="*/ 691516 h 1260351"/>
                    <a:gd name="connsiteX2844" fmla="*/ 407456 w 779965"/>
                    <a:gd name="connsiteY2844" fmla="*/ 691103 h 1260351"/>
                    <a:gd name="connsiteX2845" fmla="*/ 407347 w 779965"/>
                    <a:gd name="connsiteY2845" fmla="*/ 688553 h 1260351"/>
                    <a:gd name="connsiteX2846" fmla="*/ 407323 w 779965"/>
                    <a:gd name="connsiteY2846" fmla="*/ 687958 h 1260351"/>
                    <a:gd name="connsiteX2847" fmla="*/ 407189 w 779965"/>
                    <a:gd name="connsiteY2847" fmla="*/ 687387 h 1260351"/>
                    <a:gd name="connsiteX2848" fmla="*/ 406606 w 779965"/>
                    <a:gd name="connsiteY2848" fmla="*/ 684947 h 1260351"/>
                    <a:gd name="connsiteX2849" fmla="*/ 405805 w 779965"/>
                    <a:gd name="connsiteY2849" fmla="*/ 682373 h 1260351"/>
                    <a:gd name="connsiteX2850" fmla="*/ 405683 w 779965"/>
                    <a:gd name="connsiteY2850" fmla="*/ 681996 h 1260351"/>
                    <a:gd name="connsiteX2851" fmla="*/ 405513 w 779965"/>
                    <a:gd name="connsiteY2851" fmla="*/ 681644 h 1260351"/>
                    <a:gd name="connsiteX2852" fmla="*/ 403765 w 779965"/>
                    <a:gd name="connsiteY2852" fmla="*/ 677892 h 1260351"/>
                    <a:gd name="connsiteX2853" fmla="*/ 403279 w 779965"/>
                    <a:gd name="connsiteY2853" fmla="*/ 676434 h 1260351"/>
                    <a:gd name="connsiteX2854" fmla="*/ 403024 w 779965"/>
                    <a:gd name="connsiteY2854" fmla="*/ 675257 h 1260351"/>
                    <a:gd name="connsiteX2855" fmla="*/ 402733 w 779965"/>
                    <a:gd name="connsiteY2855" fmla="*/ 659361 h 1260351"/>
                    <a:gd name="connsiteX2856" fmla="*/ 402806 w 779965"/>
                    <a:gd name="connsiteY2856" fmla="*/ 659544 h 1260351"/>
                    <a:gd name="connsiteX2857" fmla="*/ 403267 w 779965"/>
                    <a:gd name="connsiteY2857" fmla="*/ 660612 h 1260351"/>
                    <a:gd name="connsiteX2858" fmla="*/ 403692 w 779965"/>
                    <a:gd name="connsiteY2858" fmla="*/ 661584 h 1260351"/>
                    <a:gd name="connsiteX2859" fmla="*/ 404433 w 779965"/>
                    <a:gd name="connsiteY2859" fmla="*/ 662361 h 1260351"/>
                    <a:gd name="connsiteX2860" fmla="*/ 405064 w 779965"/>
                    <a:gd name="connsiteY2860" fmla="*/ 663029 h 1260351"/>
                    <a:gd name="connsiteX2861" fmla="*/ 406157 w 779965"/>
                    <a:gd name="connsiteY2861" fmla="*/ 664194 h 1260351"/>
                    <a:gd name="connsiteX2862" fmla="*/ 407687 w 779965"/>
                    <a:gd name="connsiteY2862" fmla="*/ 664656 h 1260351"/>
                    <a:gd name="connsiteX2863" fmla="*/ 408610 w 779965"/>
                    <a:gd name="connsiteY2863" fmla="*/ 664935 h 1260351"/>
                    <a:gd name="connsiteX2864" fmla="*/ 409800 w 779965"/>
                    <a:gd name="connsiteY2864" fmla="*/ 665299 h 1260351"/>
                    <a:gd name="connsiteX2865" fmla="*/ 411051 w 779965"/>
                    <a:gd name="connsiteY2865" fmla="*/ 665166 h 1260351"/>
                    <a:gd name="connsiteX2866" fmla="*/ 412374 w 779965"/>
                    <a:gd name="connsiteY2866" fmla="*/ 665020 h 1260351"/>
                    <a:gd name="connsiteX2867" fmla="*/ 413054 w 779965"/>
                    <a:gd name="connsiteY2867" fmla="*/ 664947 h 1260351"/>
                    <a:gd name="connsiteX2868" fmla="*/ 413698 w 779965"/>
                    <a:gd name="connsiteY2868" fmla="*/ 664717 h 1260351"/>
                    <a:gd name="connsiteX2869" fmla="*/ 416564 w 779965"/>
                    <a:gd name="connsiteY2869" fmla="*/ 663733 h 1260351"/>
                    <a:gd name="connsiteX2870" fmla="*/ 416940 w 779965"/>
                    <a:gd name="connsiteY2870" fmla="*/ 663599 h 1260351"/>
                    <a:gd name="connsiteX2871" fmla="*/ 417304 w 779965"/>
                    <a:gd name="connsiteY2871" fmla="*/ 663417 h 1260351"/>
                    <a:gd name="connsiteX2872" fmla="*/ 420182 w 779965"/>
                    <a:gd name="connsiteY2872" fmla="*/ 661984 h 1260351"/>
                    <a:gd name="connsiteX2873" fmla="*/ 420971 w 779965"/>
                    <a:gd name="connsiteY2873" fmla="*/ 661596 h 1260351"/>
                    <a:gd name="connsiteX2874" fmla="*/ 421615 w 779965"/>
                    <a:gd name="connsiteY2874" fmla="*/ 660989 h 1260351"/>
                    <a:gd name="connsiteX2875" fmla="*/ 423388 w 779965"/>
                    <a:gd name="connsiteY2875" fmla="*/ 659325 h 1260351"/>
                    <a:gd name="connsiteX2876" fmla="*/ 423679 w 779965"/>
                    <a:gd name="connsiteY2876" fmla="*/ 659058 h 1260351"/>
                    <a:gd name="connsiteX2877" fmla="*/ 423934 w 779965"/>
                    <a:gd name="connsiteY2877" fmla="*/ 658754 h 1260351"/>
                    <a:gd name="connsiteX2878" fmla="*/ 425829 w 779965"/>
                    <a:gd name="connsiteY2878" fmla="*/ 656459 h 1260351"/>
                    <a:gd name="connsiteX2879" fmla="*/ 426169 w 779965"/>
                    <a:gd name="connsiteY2879" fmla="*/ 656047 h 1260351"/>
                    <a:gd name="connsiteX2880" fmla="*/ 426424 w 779965"/>
                    <a:gd name="connsiteY2880" fmla="*/ 655585 h 1260351"/>
                    <a:gd name="connsiteX2881" fmla="*/ 429180 w 779965"/>
                    <a:gd name="connsiteY2881" fmla="*/ 650679 h 1260351"/>
                    <a:gd name="connsiteX2882" fmla="*/ 430625 w 779965"/>
                    <a:gd name="connsiteY2882" fmla="*/ 648591 h 1260351"/>
                    <a:gd name="connsiteX2883" fmla="*/ 433066 w 779965"/>
                    <a:gd name="connsiteY2883" fmla="*/ 646016 h 1260351"/>
                    <a:gd name="connsiteX2884" fmla="*/ 433345 w 779965"/>
                    <a:gd name="connsiteY2884" fmla="*/ 645786 h 1260351"/>
                    <a:gd name="connsiteX2885" fmla="*/ 433843 w 779965"/>
                    <a:gd name="connsiteY2885" fmla="*/ 645737 h 1260351"/>
                    <a:gd name="connsiteX2886" fmla="*/ 435361 w 779965"/>
                    <a:gd name="connsiteY2886" fmla="*/ 645604 h 1260351"/>
                    <a:gd name="connsiteX2887" fmla="*/ 436636 w 779965"/>
                    <a:gd name="connsiteY2887" fmla="*/ 644766 h 1260351"/>
                    <a:gd name="connsiteX2888" fmla="*/ 438518 w 779965"/>
                    <a:gd name="connsiteY2888" fmla="*/ 643527 h 1260351"/>
                    <a:gd name="connsiteX2889" fmla="*/ 439186 w 779965"/>
                    <a:gd name="connsiteY2889" fmla="*/ 643090 h 1260351"/>
                    <a:gd name="connsiteX2890" fmla="*/ 439708 w 779965"/>
                    <a:gd name="connsiteY2890" fmla="*/ 642495 h 1260351"/>
                    <a:gd name="connsiteX2891" fmla="*/ 442355 w 779965"/>
                    <a:gd name="connsiteY2891" fmla="*/ 639532 h 1260351"/>
                    <a:gd name="connsiteX2892" fmla="*/ 442719 w 779965"/>
                    <a:gd name="connsiteY2892" fmla="*/ 639131 h 1260351"/>
                    <a:gd name="connsiteX2893" fmla="*/ 442999 w 779965"/>
                    <a:gd name="connsiteY2893" fmla="*/ 638670 h 1260351"/>
                    <a:gd name="connsiteX2894" fmla="*/ 451377 w 779965"/>
                    <a:gd name="connsiteY2894" fmla="*/ 625033 h 1260351"/>
                    <a:gd name="connsiteX2895" fmla="*/ 451717 w 779965"/>
                    <a:gd name="connsiteY2895" fmla="*/ 624463 h 1260351"/>
                    <a:gd name="connsiteX2896" fmla="*/ 451936 w 779965"/>
                    <a:gd name="connsiteY2896" fmla="*/ 623843 h 1260351"/>
                    <a:gd name="connsiteX2897" fmla="*/ 455530 w 779965"/>
                    <a:gd name="connsiteY2897" fmla="*/ 613486 h 1260351"/>
                    <a:gd name="connsiteX2898" fmla="*/ 458214 w 779965"/>
                    <a:gd name="connsiteY2898" fmla="*/ 609600 h 1260351"/>
                    <a:gd name="connsiteX2899" fmla="*/ 459039 w 779965"/>
                    <a:gd name="connsiteY2899" fmla="*/ 608410 h 1260351"/>
                    <a:gd name="connsiteX2900" fmla="*/ 459234 w 779965"/>
                    <a:gd name="connsiteY2900" fmla="*/ 606977 h 1260351"/>
                    <a:gd name="connsiteX2901" fmla="*/ 459756 w 779965"/>
                    <a:gd name="connsiteY2901" fmla="*/ 603200 h 1260351"/>
                    <a:gd name="connsiteX2902" fmla="*/ 459914 w 779965"/>
                    <a:gd name="connsiteY2902" fmla="*/ 602035 h 1260351"/>
                    <a:gd name="connsiteX2903" fmla="*/ 473004 w 779965"/>
                    <a:gd name="connsiteY2903" fmla="*/ 601306 h 1260351"/>
                    <a:gd name="connsiteX2904" fmla="*/ 473040 w 779965"/>
                    <a:gd name="connsiteY2904" fmla="*/ 601318 h 1260351"/>
                    <a:gd name="connsiteX2905" fmla="*/ 473368 w 779965"/>
                    <a:gd name="connsiteY2905" fmla="*/ 601658 h 1260351"/>
                    <a:gd name="connsiteX2906" fmla="*/ 474060 w 779965"/>
                    <a:gd name="connsiteY2906" fmla="*/ 602375 h 1260351"/>
                    <a:gd name="connsiteX2907" fmla="*/ 474947 w 779965"/>
                    <a:gd name="connsiteY2907" fmla="*/ 602836 h 1260351"/>
                    <a:gd name="connsiteX2908" fmla="*/ 476319 w 779965"/>
                    <a:gd name="connsiteY2908" fmla="*/ 603553 h 1260351"/>
                    <a:gd name="connsiteX2909" fmla="*/ 477630 w 779965"/>
                    <a:gd name="connsiteY2909" fmla="*/ 604233 h 1260351"/>
                    <a:gd name="connsiteX2910" fmla="*/ 479112 w 779965"/>
                    <a:gd name="connsiteY2910" fmla="*/ 604233 h 1260351"/>
                    <a:gd name="connsiteX2911" fmla="*/ 480666 w 779965"/>
                    <a:gd name="connsiteY2911" fmla="*/ 604233 h 1260351"/>
                    <a:gd name="connsiteX2912" fmla="*/ 481698 w 779965"/>
                    <a:gd name="connsiteY2912" fmla="*/ 604233 h 1260351"/>
                    <a:gd name="connsiteX2913" fmla="*/ 482670 w 779965"/>
                    <a:gd name="connsiteY2913" fmla="*/ 603893 h 1260351"/>
                    <a:gd name="connsiteX2914" fmla="*/ 483993 w 779965"/>
                    <a:gd name="connsiteY2914" fmla="*/ 603431 h 1260351"/>
                    <a:gd name="connsiteX2915" fmla="*/ 484467 w 779965"/>
                    <a:gd name="connsiteY2915" fmla="*/ 603261 h 1260351"/>
                    <a:gd name="connsiteX2916" fmla="*/ 484904 w 779965"/>
                    <a:gd name="connsiteY2916" fmla="*/ 603018 h 1260351"/>
                    <a:gd name="connsiteX2917" fmla="*/ 486847 w 779965"/>
                    <a:gd name="connsiteY2917" fmla="*/ 601962 h 1260351"/>
                    <a:gd name="connsiteX2918" fmla="*/ 488146 w 779965"/>
                    <a:gd name="connsiteY2918" fmla="*/ 601525 h 1260351"/>
                    <a:gd name="connsiteX2919" fmla="*/ 490927 w 779965"/>
                    <a:gd name="connsiteY2919" fmla="*/ 601015 h 1260351"/>
                    <a:gd name="connsiteX2920" fmla="*/ 494218 w 779965"/>
                    <a:gd name="connsiteY2920" fmla="*/ 600893 h 1260351"/>
                    <a:gd name="connsiteX2921" fmla="*/ 494606 w 779965"/>
                    <a:gd name="connsiteY2921" fmla="*/ 600869 h 1260351"/>
                    <a:gd name="connsiteX2922" fmla="*/ 494995 w 779965"/>
                    <a:gd name="connsiteY2922" fmla="*/ 600808 h 1260351"/>
                    <a:gd name="connsiteX2923" fmla="*/ 513197 w 779965"/>
                    <a:gd name="connsiteY2923" fmla="*/ 597736 h 1260351"/>
                    <a:gd name="connsiteX2924" fmla="*/ 513306 w 779965"/>
                    <a:gd name="connsiteY2924" fmla="*/ 597760 h 1260351"/>
                    <a:gd name="connsiteX2925" fmla="*/ 513816 w 779965"/>
                    <a:gd name="connsiteY2925" fmla="*/ 598088 h 1260351"/>
                    <a:gd name="connsiteX2926" fmla="*/ 514545 w 779965"/>
                    <a:gd name="connsiteY2926" fmla="*/ 598951 h 1260351"/>
                    <a:gd name="connsiteX2927" fmla="*/ 515978 w 779965"/>
                    <a:gd name="connsiteY2927" fmla="*/ 600383 h 1260351"/>
                    <a:gd name="connsiteX2928" fmla="*/ 516403 w 779965"/>
                    <a:gd name="connsiteY2928" fmla="*/ 600796 h 1260351"/>
                    <a:gd name="connsiteX2929" fmla="*/ 516888 w 779965"/>
                    <a:gd name="connsiteY2929" fmla="*/ 601112 h 1260351"/>
                    <a:gd name="connsiteX2930" fmla="*/ 518273 w 779965"/>
                    <a:gd name="connsiteY2930" fmla="*/ 602023 h 1260351"/>
                    <a:gd name="connsiteX2931" fmla="*/ 518868 w 779965"/>
                    <a:gd name="connsiteY2931" fmla="*/ 602411 h 1260351"/>
                    <a:gd name="connsiteX2932" fmla="*/ 519536 w 779965"/>
                    <a:gd name="connsiteY2932" fmla="*/ 602654 h 1260351"/>
                    <a:gd name="connsiteX2933" fmla="*/ 521430 w 779965"/>
                    <a:gd name="connsiteY2933" fmla="*/ 603346 h 1260351"/>
                    <a:gd name="connsiteX2934" fmla="*/ 521734 w 779965"/>
                    <a:gd name="connsiteY2934" fmla="*/ 603467 h 1260351"/>
                    <a:gd name="connsiteX2935" fmla="*/ 522049 w 779965"/>
                    <a:gd name="connsiteY2935" fmla="*/ 603540 h 1260351"/>
                    <a:gd name="connsiteX2936" fmla="*/ 523761 w 779965"/>
                    <a:gd name="connsiteY2936" fmla="*/ 603966 h 1260351"/>
                    <a:gd name="connsiteX2937" fmla="*/ 524454 w 779965"/>
                    <a:gd name="connsiteY2937" fmla="*/ 604233 h 1260351"/>
                    <a:gd name="connsiteX2938" fmla="*/ 524988 w 779965"/>
                    <a:gd name="connsiteY2938" fmla="*/ 604585 h 1260351"/>
                    <a:gd name="connsiteX2939" fmla="*/ 527259 w 779965"/>
                    <a:gd name="connsiteY2939" fmla="*/ 607025 h 1260351"/>
                    <a:gd name="connsiteX2940" fmla="*/ 527866 w 779965"/>
                    <a:gd name="connsiteY2940" fmla="*/ 607681 h 1260351"/>
                    <a:gd name="connsiteX2941" fmla="*/ 528631 w 779965"/>
                    <a:gd name="connsiteY2941" fmla="*/ 608143 h 1260351"/>
                    <a:gd name="connsiteX2942" fmla="*/ 529906 w 779965"/>
                    <a:gd name="connsiteY2942" fmla="*/ 608896 h 1260351"/>
                    <a:gd name="connsiteX2943" fmla="*/ 530586 w 779965"/>
                    <a:gd name="connsiteY2943" fmla="*/ 609284 h 1260351"/>
                    <a:gd name="connsiteX2944" fmla="*/ 531339 w 779965"/>
                    <a:gd name="connsiteY2944" fmla="*/ 609503 h 1260351"/>
                    <a:gd name="connsiteX2945" fmla="*/ 532954 w 779965"/>
                    <a:gd name="connsiteY2945" fmla="*/ 609952 h 1260351"/>
                    <a:gd name="connsiteX2946" fmla="*/ 533962 w 779965"/>
                    <a:gd name="connsiteY2946" fmla="*/ 610231 h 1260351"/>
                    <a:gd name="connsiteX2947" fmla="*/ 535006 w 779965"/>
                    <a:gd name="connsiteY2947" fmla="*/ 610158 h 1260351"/>
                    <a:gd name="connsiteX2948" fmla="*/ 544587 w 779965"/>
                    <a:gd name="connsiteY2948" fmla="*/ 609503 h 1260351"/>
                    <a:gd name="connsiteX2949" fmla="*/ 544987 w 779965"/>
                    <a:gd name="connsiteY2949" fmla="*/ 609478 h 1260351"/>
                    <a:gd name="connsiteX2950" fmla="*/ 545376 w 779965"/>
                    <a:gd name="connsiteY2950" fmla="*/ 609393 h 1260351"/>
                    <a:gd name="connsiteX2951" fmla="*/ 548071 w 779965"/>
                    <a:gd name="connsiteY2951" fmla="*/ 608847 h 1260351"/>
                    <a:gd name="connsiteX2952" fmla="*/ 548691 w 779965"/>
                    <a:gd name="connsiteY2952" fmla="*/ 608713 h 1260351"/>
                    <a:gd name="connsiteX2953" fmla="*/ 549274 w 779965"/>
                    <a:gd name="connsiteY2953" fmla="*/ 608458 h 1260351"/>
                    <a:gd name="connsiteX2954" fmla="*/ 551702 w 779965"/>
                    <a:gd name="connsiteY2954" fmla="*/ 607414 h 1260351"/>
                    <a:gd name="connsiteX2955" fmla="*/ 552528 w 779965"/>
                    <a:gd name="connsiteY2955" fmla="*/ 607062 h 1260351"/>
                    <a:gd name="connsiteX2956" fmla="*/ 553220 w 779965"/>
                    <a:gd name="connsiteY2956" fmla="*/ 606479 h 1260351"/>
                    <a:gd name="connsiteX2957" fmla="*/ 556474 w 779965"/>
                    <a:gd name="connsiteY2957" fmla="*/ 603722 h 1260351"/>
                    <a:gd name="connsiteX2958" fmla="*/ 556839 w 779965"/>
                    <a:gd name="connsiteY2958" fmla="*/ 603419 h 1260351"/>
                    <a:gd name="connsiteX2959" fmla="*/ 557154 w 779965"/>
                    <a:gd name="connsiteY2959" fmla="*/ 603067 h 1260351"/>
                    <a:gd name="connsiteX2960" fmla="*/ 559462 w 779965"/>
                    <a:gd name="connsiteY2960" fmla="*/ 600395 h 1260351"/>
                    <a:gd name="connsiteX2961" fmla="*/ 559777 w 779965"/>
                    <a:gd name="connsiteY2961" fmla="*/ 600031 h 1260351"/>
                    <a:gd name="connsiteX2962" fmla="*/ 560032 w 779965"/>
                    <a:gd name="connsiteY2962" fmla="*/ 599618 h 1260351"/>
                    <a:gd name="connsiteX2963" fmla="*/ 562315 w 779965"/>
                    <a:gd name="connsiteY2963" fmla="*/ 595915 h 1260351"/>
                    <a:gd name="connsiteX2964" fmla="*/ 562655 w 779965"/>
                    <a:gd name="connsiteY2964" fmla="*/ 595368 h 1260351"/>
                    <a:gd name="connsiteX2965" fmla="*/ 562874 w 779965"/>
                    <a:gd name="connsiteY2965" fmla="*/ 594761 h 1260351"/>
                    <a:gd name="connsiteX2966" fmla="*/ 568095 w 779965"/>
                    <a:gd name="connsiteY2966" fmla="*/ 580129 h 1260351"/>
                    <a:gd name="connsiteX2967" fmla="*/ 568957 w 779965"/>
                    <a:gd name="connsiteY2967" fmla="*/ 578635 h 1260351"/>
                    <a:gd name="connsiteX2968" fmla="*/ 573013 w 779965"/>
                    <a:gd name="connsiteY2968" fmla="*/ 573292 h 1260351"/>
                    <a:gd name="connsiteX2969" fmla="*/ 573766 w 779965"/>
                    <a:gd name="connsiteY2969" fmla="*/ 572297 h 1260351"/>
                    <a:gd name="connsiteX2970" fmla="*/ 574070 w 779965"/>
                    <a:gd name="connsiteY2970" fmla="*/ 571082 h 1260351"/>
                    <a:gd name="connsiteX2971" fmla="*/ 574531 w 779965"/>
                    <a:gd name="connsiteY2971" fmla="*/ 569237 h 1260351"/>
                    <a:gd name="connsiteX2972" fmla="*/ 574786 w 779965"/>
                    <a:gd name="connsiteY2972" fmla="*/ 568205 h 1260351"/>
                    <a:gd name="connsiteX2973" fmla="*/ 574677 w 779965"/>
                    <a:gd name="connsiteY2973" fmla="*/ 567160 h 1260351"/>
                    <a:gd name="connsiteX2974" fmla="*/ 574567 w 779965"/>
                    <a:gd name="connsiteY2974" fmla="*/ 566043 h 1260351"/>
                    <a:gd name="connsiteX2975" fmla="*/ 574385 w 779965"/>
                    <a:gd name="connsiteY2975" fmla="*/ 564282 h 1260351"/>
                    <a:gd name="connsiteX2976" fmla="*/ 574240 w 779965"/>
                    <a:gd name="connsiteY2976" fmla="*/ 564100 h 1260351"/>
                    <a:gd name="connsiteX2977" fmla="*/ 574373 w 779965"/>
                    <a:gd name="connsiteY2977" fmla="*/ 563736 h 1260351"/>
                    <a:gd name="connsiteX2978" fmla="*/ 575090 w 779965"/>
                    <a:gd name="connsiteY2978" fmla="*/ 562339 h 1260351"/>
                    <a:gd name="connsiteX2979" fmla="*/ 575150 w 779965"/>
                    <a:gd name="connsiteY2979" fmla="*/ 562242 h 1260351"/>
                    <a:gd name="connsiteX2980" fmla="*/ 582205 w 779965"/>
                    <a:gd name="connsiteY2980" fmla="*/ 565266 h 1260351"/>
                    <a:gd name="connsiteX2981" fmla="*/ 582485 w 779965"/>
                    <a:gd name="connsiteY2981" fmla="*/ 565400 h 1260351"/>
                    <a:gd name="connsiteX2982" fmla="*/ 582776 w 779965"/>
                    <a:gd name="connsiteY2982" fmla="*/ 565497 h 1260351"/>
                    <a:gd name="connsiteX2983" fmla="*/ 584330 w 779965"/>
                    <a:gd name="connsiteY2983" fmla="*/ 565982 h 1260351"/>
                    <a:gd name="connsiteX2984" fmla="*/ 586370 w 779965"/>
                    <a:gd name="connsiteY2984" fmla="*/ 566444 h 1260351"/>
                    <a:gd name="connsiteX2985" fmla="*/ 586953 w 779965"/>
                    <a:gd name="connsiteY2985" fmla="*/ 566565 h 1260351"/>
                    <a:gd name="connsiteX2986" fmla="*/ 587560 w 779965"/>
                    <a:gd name="connsiteY2986" fmla="*/ 566577 h 1260351"/>
                    <a:gd name="connsiteX2987" fmla="*/ 589394 w 779965"/>
                    <a:gd name="connsiteY2987" fmla="*/ 566602 h 1260351"/>
                    <a:gd name="connsiteX2988" fmla="*/ 590317 w 779965"/>
                    <a:gd name="connsiteY2988" fmla="*/ 566614 h 1260351"/>
                    <a:gd name="connsiteX2989" fmla="*/ 591191 w 779965"/>
                    <a:gd name="connsiteY2989" fmla="*/ 566359 h 1260351"/>
                    <a:gd name="connsiteX2990" fmla="*/ 592915 w 779965"/>
                    <a:gd name="connsiteY2990" fmla="*/ 565849 h 1260351"/>
                    <a:gd name="connsiteX2991" fmla="*/ 594883 w 779965"/>
                    <a:gd name="connsiteY2991" fmla="*/ 565266 h 1260351"/>
                    <a:gd name="connsiteX2992" fmla="*/ 596097 w 779965"/>
                    <a:gd name="connsiteY2992" fmla="*/ 563602 h 1260351"/>
                    <a:gd name="connsiteX2993" fmla="*/ 597129 w 779965"/>
                    <a:gd name="connsiteY2993" fmla="*/ 562194 h 1260351"/>
                    <a:gd name="connsiteX2994" fmla="*/ 597809 w 779965"/>
                    <a:gd name="connsiteY2994" fmla="*/ 561259 h 1260351"/>
                    <a:gd name="connsiteX2995" fmla="*/ 598101 w 779965"/>
                    <a:gd name="connsiteY2995" fmla="*/ 560129 h 1260351"/>
                    <a:gd name="connsiteX2996" fmla="*/ 598683 w 779965"/>
                    <a:gd name="connsiteY2996" fmla="*/ 557883 h 1260351"/>
                    <a:gd name="connsiteX2997" fmla="*/ 598914 w 779965"/>
                    <a:gd name="connsiteY2997" fmla="*/ 556997 h 1260351"/>
                    <a:gd name="connsiteX2998" fmla="*/ 598878 w 779965"/>
                    <a:gd name="connsiteY2998" fmla="*/ 556074 h 1260351"/>
                    <a:gd name="connsiteX2999" fmla="*/ 598695 w 779965"/>
                    <a:gd name="connsiteY2999" fmla="*/ 552285 h 1260351"/>
                    <a:gd name="connsiteX3000" fmla="*/ 598671 w 779965"/>
                    <a:gd name="connsiteY3000" fmla="*/ 551799 h 1260351"/>
                    <a:gd name="connsiteX3001" fmla="*/ 598574 w 779965"/>
                    <a:gd name="connsiteY3001" fmla="*/ 551326 h 1260351"/>
                    <a:gd name="connsiteX3002" fmla="*/ 598064 w 779965"/>
                    <a:gd name="connsiteY3002" fmla="*/ 548910 h 1260351"/>
                    <a:gd name="connsiteX3003" fmla="*/ 597991 w 779965"/>
                    <a:gd name="connsiteY3003" fmla="*/ 548545 h 1260351"/>
                    <a:gd name="connsiteX3004" fmla="*/ 597858 w 779965"/>
                    <a:gd name="connsiteY3004" fmla="*/ 548181 h 1260351"/>
                    <a:gd name="connsiteX3005" fmla="*/ 597165 w 779965"/>
                    <a:gd name="connsiteY3005" fmla="*/ 546201 h 1260351"/>
                    <a:gd name="connsiteX3006" fmla="*/ 596838 w 779965"/>
                    <a:gd name="connsiteY3006" fmla="*/ 545230 h 1260351"/>
                    <a:gd name="connsiteX3007" fmla="*/ 596194 w 779965"/>
                    <a:gd name="connsiteY3007" fmla="*/ 544429 h 1260351"/>
                    <a:gd name="connsiteX3008" fmla="*/ 595101 w 779965"/>
                    <a:gd name="connsiteY3008" fmla="*/ 543044 h 1260351"/>
                    <a:gd name="connsiteX3009" fmla="*/ 594798 w 779965"/>
                    <a:gd name="connsiteY3009" fmla="*/ 542668 h 1260351"/>
                    <a:gd name="connsiteX3010" fmla="*/ 594433 w 779965"/>
                    <a:gd name="connsiteY3010" fmla="*/ 542340 h 1260351"/>
                    <a:gd name="connsiteX3011" fmla="*/ 588423 w 779965"/>
                    <a:gd name="connsiteY3011" fmla="*/ 536851 h 1260351"/>
                    <a:gd name="connsiteX3012" fmla="*/ 587876 w 779965"/>
                    <a:gd name="connsiteY3012" fmla="*/ 536171 h 1260351"/>
                    <a:gd name="connsiteX3013" fmla="*/ 587573 w 779965"/>
                    <a:gd name="connsiteY3013" fmla="*/ 535540 h 1260351"/>
                    <a:gd name="connsiteX3014" fmla="*/ 587366 w 779965"/>
                    <a:gd name="connsiteY3014" fmla="*/ 534738 h 1260351"/>
                    <a:gd name="connsiteX3015" fmla="*/ 587233 w 779965"/>
                    <a:gd name="connsiteY3015" fmla="*/ 531071 h 1260351"/>
                    <a:gd name="connsiteX3016" fmla="*/ 587342 w 779965"/>
                    <a:gd name="connsiteY3016" fmla="*/ 529991 h 1260351"/>
                    <a:gd name="connsiteX3017" fmla="*/ 588544 w 779965"/>
                    <a:gd name="connsiteY3017" fmla="*/ 526554 h 1260351"/>
                    <a:gd name="connsiteX3018" fmla="*/ 588641 w 779965"/>
                    <a:gd name="connsiteY3018" fmla="*/ 526263 h 1260351"/>
                    <a:gd name="connsiteX3019" fmla="*/ 588714 w 779965"/>
                    <a:gd name="connsiteY3019" fmla="*/ 525971 h 1260351"/>
                    <a:gd name="connsiteX3020" fmla="*/ 590098 w 779965"/>
                    <a:gd name="connsiteY3020" fmla="*/ 520179 h 1260351"/>
                    <a:gd name="connsiteX3021" fmla="*/ 590232 w 779965"/>
                    <a:gd name="connsiteY3021" fmla="*/ 519633 h 1260351"/>
                    <a:gd name="connsiteX3022" fmla="*/ 590256 w 779965"/>
                    <a:gd name="connsiteY3022" fmla="*/ 519074 h 1260351"/>
                    <a:gd name="connsiteX3023" fmla="*/ 590293 w 779965"/>
                    <a:gd name="connsiteY3023" fmla="*/ 518273 h 1260351"/>
                    <a:gd name="connsiteX3024" fmla="*/ 591398 w 779965"/>
                    <a:gd name="connsiteY3024" fmla="*/ 516050 h 1260351"/>
                    <a:gd name="connsiteX3025" fmla="*/ 608398 w 779965"/>
                    <a:gd name="connsiteY3025" fmla="*/ 488741 h 1260351"/>
                    <a:gd name="connsiteX3026" fmla="*/ 608568 w 779965"/>
                    <a:gd name="connsiteY3026" fmla="*/ 488474 h 1260351"/>
                    <a:gd name="connsiteX3027" fmla="*/ 608713 w 779965"/>
                    <a:gd name="connsiteY3027" fmla="*/ 488170 h 1260351"/>
                    <a:gd name="connsiteX3028" fmla="*/ 611482 w 779965"/>
                    <a:gd name="connsiteY3028" fmla="*/ 482391 h 1260351"/>
                    <a:gd name="connsiteX3029" fmla="*/ 611786 w 779965"/>
                    <a:gd name="connsiteY3029" fmla="*/ 481771 h 1260351"/>
                    <a:gd name="connsiteX3030" fmla="*/ 611931 w 779965"/>
                    <a:gd name="connsiteY3030" fmla="*/ 481091 h 1260351"/>
                    <a:gd name="connsiteX3031" fmla="*/ 612721 w 779965"/>
                    <a:gd name="connsiteY3031" fmla="*/ 477533 h 1260351"/>
                    <a:gd name="connsiteX3032" fmla="*/ 612854 w 779965"/>
                    <a:gd name="connsiteY3032" fmla="*/ 476950 h 1260351"/>
                    <a:gd name="connsiteX3033" fmla="*/ 612866 w 779965"/>
                    <a:gd name="connsiteY3033" fmla="*/ 476355 h 1260351"/>
                    <a:gd name="connsiteX3034" fmla="*/ 612866 w 779965"/>
                    <a:gd name="connsiteY3034" fmla="*/ 476112 h 1260351"/>
                    <a:gd name="connsiteX3035" fmla="*/ 614348 w 779965"/>
                    <a:gd name="connsiteY3035" fmla="*/ 476246 h 1260351"/>
                    <a:gd name="connsiteX3036" fmla="*/ 615271 w 779965"/>
                    <a:gd name="connsiteY3036" fmla="*/ 476331 h 1260351"/>
                    <a:gd name="connsiteX3037" fmla="*/ 617821 w 779965"/>
                    <a:gd name="connsiteY3037" fmla="*/ 476562 h 1260351"/>
                    <a:gd name="connsiteX3038" fmla="*/ 619763 w 779965"/>
                    <a:gd name="connsiteY3038" fmla="*/ 474886 h 1260351"/>
                    <a:gd name="connsiteX3039" fmla="*/ 620565 w 779965"/>
                    <a:gd name="connsiteY3039" fmla="*/ 474194 h 1260351"/>
                    <a:gd name="connsiteX3040" fmla="*/ 621876 w 779965"/>
                    <a:gd name="connsiteY3040" fmla="*/ 473077 h 1260351"/>
                    <a:gd name="connsiteX3041" fmla="*/ 622398 w 779965"/>
                    <a:gd name="connsiteY3041" fmla="*/ 471425 h 1260351"/>
                    <a:gd name="connsiteX3042" fmla="*/ 623078 w 779965"/>
                    <a:gd name="connsiteY3042" fmla="*/ 469276 h 1260351"/>
                    <a:gd name="connsiteX3043" fmla="*/ 623091 w 779965"/>
                    <a:gd name="connsiteY3043" fmla="*/ 469215 h 1260351"/>
                    <a:gd name="connsiteX3044" fmla="*/ 623382 w 779965"/>
                    <a:gd name="connsiteY3044" fmla="*/ 469167 h 1260351"/>
                    <a:gd name="connsiteX3045" fmla="*/ 624609 w 779965"/>
                    <a:gd name="connsiteY3045" fmla="*/ 468960 h 1260351"/>
                    <a:gd name="connsiteX3046" fmla="*/ 625216 w 779965"/>
                    <a:gd name="connsiteY3046" fmla="*/ 468863 h 1260351"/>
                    <a:gd name="connsiteX3047" fmla="*/ 625786 w 779965"/>
                    <a:gd name="connsiteY3047" fmla="*/ 468632 h 1260351"/>
                    <a:gd name="connsiteX3048" fmla="*/ 626588 w 779965"/>
                    <a:gd name="connsiteY3048" fmla="*/ 468329 h 1260351"/>
                    <a:gd name="connsiteX3049" fmla="*/ 629089 w 779965"/>
                    <a:gd name="connsiteY3049" fmla="*/ 467369 h 1260351"/>
                    <a:gd name="connsiteX3050" fmla="*/ 630061 w 779965"/>
                    <a:gd name="connsiteY3050" fmla="*/ 464868 h 1260351"/>
                    <a:gd name="connsiteX3051" fmla="*/ 631494 w 779965"/>
                    <a:gd name="connsiteY3051" fmla="*/ 461189 h 1260351"/>
                    <a:gd name="connsiteX3052" fmla="*/ 632198 w 779965"/>
                    <a:gd name="connsiteY3052" fmla="*/ 459379 h 1260351"/>
                    <a:gd name="connsiteX3053" fmla="*/ 631724 w 779965"/>
                    <a:gd name="connsiteY3053" fmla="*/ 457510 h 1260351"/>
                    <a:gd name="connsiteX3054" fmla="*/ 631044 w 779965"/>
                    <a:gd name="connsiteY3054" fmla="*/ 454814 h 1260351"/>
                    <a:gd name="connsiteX3055" fmla="*/ 631081 w 779965"/>
                    <a:gd name="connsiteY3055" fmla="*/ 454644 h 1260351"/>
                    <a:gd name="connsiteX3056" fmla="*/ 632562 w 779965"/>
                    <a:gd name="connsiteY3056" fmla="*/ 450321 h 1260351"/>
                    <a:gd name="connsiteX3057" fmla="*/ 632720 w 779965"/>
                    <a:gd name="connsiteY3057" fmla="*/ 449884 h 1260351"/>
                    <a:gd name="connsiteX3058" fmla="*/ 632805 w 779965"/>
                    <a:gd name="connsiteY3058" fmla="*/ 449422 h 1260351"/>
                    <a:gd name="connsiteX3059" fmla="*/ 633096 w 779965"/>
                    <a:gd name="connsiteY3059" fmla="*/ 447698 h 1260351"/>
                    <a:gd name="connsiteX3060" fmla="*/ 633266 w 779965"/>
                    <a:gd name="connsiteY3060" fmla="*/ 446763 h 1260351"/>
                    <a:gd name="connsiteX3061" fmla="*/ 633133 w 779965"/>
                    <a:gd name="connsiteY3061" fmla="*/ 445816 h 1260351"/>
                    <a:gd name="connsiteX3062" fmla="*/ 632951 w 779965"/>
                    <a:gd name="connsiteY3062" fmla="*/ 444492 h 1260351"/>
                    <a:gd name="connsiteX3063" fmla="*/ 632720 w 779965"/>
                    <a:gd name="connsiteY3063" fmla="*/ 442829 h 1260351"/>
                    <a:gd name="connsiteX3064" fmla="*/ 631663 w 779965"/>
                    <a:gd name="connsiteY3064" fmla="*/ 441517 h 1260351"/>
                    <a:gd name="connsiteX3065" fmla="*/ 630862 w 779965"/>
                    <a:gd name="connsiteY3065" fmla="*/ 440522 h 1260351"/>
                    <a:gd name="connsiteX3066" fmla="*/ 630486 w 779965"/>
                    <a:gd name="connsiteY3066" fmla="*/ 440048 h 1260351"/>
                    <a:gd name="connsiteX3067" fmla="*/ 630012 w 779965"/>
                    <a:gd name="connsiteY3067" fmla="*/ 439671 h 1260351"/>
                    <a:gd name="connsiteX3068" fmla="*/ 628713 w 779965"/>
                    <a:gd name="connsiteY3068" fmla="*/ 438676 h 1260351"/>
                    <a:gd name="connsiteX3069" fmla="*/ 628288 w 779965"/>
                    <a:gd name="connsiteY3069" fmla="*/ 438324 h 1260351"/>
                    <a:gd name="connsiteX3070" fmla="*/ 627802 w 779965"/>
                    <a:gd name="connsiteY3070" fmla="*/ 438056 h 1260351"/>
                    <a:gd name="connsiteX3071" fmla="*/ 622848 w 779965"/>
                    <a:gd name="connsiteY3071" fmla="*/ 435264 h 1260351"/>
                    <a:gd name="connsiteX3072" fmla="*/ 622253 w 779965"/>
                    <a:gd name="connsiteY3072" fmla="*/ 434790 h 1260351"/>
                    <a:gd name="connsiteX3073" fmla="*/ 622265 w 779965"/>
                    <a:gd name="connsiteY3073" fmla="*/ 434207 h 1260351"/>
                    <a:gd name="connsiteX3074" fmla="*/ 623018 w 779965"/>
                    <a:gd name="connsiteY3074" fmla="*/ 428245 h 1260351"/>
                    <a:gd name="connsiteX3075" fmla="*/ 624778 w 779965"/>
                    <a:gd name="connsiteY3075" fmla="*/ 427261 h 1260351"/>
                    <a:gd name="connsiteX3076" fmla="*/ 626296 w 779965"/>
                    <a:gd name="connsiteY3076" fmla="*/ 426776 h 1260351"/>
                    <a:gd name="connsiteX3077" fmla="*/ 626928 w 779965"/>
                    <a:gd name="connsiteY3077" fmla="*/ 426569 h 1260351"/>
                    <a:gd name="connsiteX3078" fmla="*/ 627498 w 779965"/>
                    <a:gd name="connsiteY3078" fmla="*/ 426229 h 1260351"/>
                    <a:gd name="connsiteX3079" fmla="*/ 628992 w 779965"/>
                    <a:gd name="connsiteY3079" fmla="*/ 425355 h 1260351"/>
                    <a:gd name="connsiteX3080" fmla="*/ 629745 w 779965"/>
                    <a:gd name="connsiteY3080" fmla="*/ 424918 h 1260351"/>
                    <a:gd name="connsiteX3081" fmla="*/ 630352 w 779965"/>
                    <a:gd name="connsiteY3081" fmla="*/ 424262 h 1260351"/>
                    <a:gd name="connsiteX3082" fmla="*/ 631506 w 779965"/>
                    <a:gd name="connsiteY3082" fmla="*/ 423024 h 1260351"/>
                    <a:gd name="connsiteX3083" fmla="*/ 632854 w 779965"/>
                    <a:gd name="connsiteY3083" fmla="*/ 421591 h 1260351"/>
                    <a:gd name="connsiteX3084" fmla="*/ 633096 w 779965"/>
                    <a:gd name="connsiteY3084" fmla="*/ 419636 h 1260351"/>
                    <a:gd name="connsiteX3085" fmla="*/ 633327 w 779965"/>
                    <a:gd name="connsiteY3085" fmla="*/ 417766 h 1260351"/>
                    <a:gd name="connsiteX3086" fmla="*/ 633497 w 779965"/>
                    <a:gd name="connsiteY3086" fmla="*/ 416430 h 1260351"/>
                    <a:gd name="connsiteX3087" fmla="*/ 633084 w 779965"/>
                    <a:gd name="connsiteY3087" fmla="*/ 415155 h 1260351"/>
                    <a:gd name="connsiteX3088" fmla="*/ 632671 w 779965"/>
                    <a:gd name="connsiteY3088" fmla="*/ 413892 h 1260351"/>
                    <a:gd name="connsiteX3089" fmla="*/ 632331 w 779965"/>
                    <a:gd name="connsiteY3089" fmla="*/ 412848 h 1260351"/>
                    <a:gd name="connsiteX3090" fmla="*/ 631651 w 779965"/>
                    <a:gd name="connsiteY3090" fmla="*/ 411998 h 1260351"/>
                    <a:gd name="connsiteX3091" fmla="*/ 630789 w 779965"/>
                    <a:gd name="connsiteY3091" fmla="*/ 410905 h 1260351"/>
                    <a:gd name="connsiteX3092" fmla="*/ 630534 w 779965"/>
                    <a:gd name="connsiteY3092" fmla="*/ 410577 h 1260351"/>
                    <a:gd name="connsiteX3093" fmla="*/ 630231 w 779965"/>
                    <a:gd name="connsiteY3093" fmla="*/ 410286 h 1260351"/>
                    <a:gd name="connsiteX3094" fmla="*/ 629381 w 779965"/>
                    <a:gd name="connsiteY3094" fmla="*/ 409484 h 1260351"/>
                    <a:gd name="connsiteX3095" fmla="*/ 629150 w 779965"/>
                    <a:gd name="connsiteY3095" fmla="*/ 409229 h 1260351"/>
                    <a:gd name="connsiteX3096" fmla="*/ 629733 w 779965"/>
                    <a:gd name="connsiteY3096" fmla="*/ 407954 h 1260351"/>
                    <a:gd name="connsiteX3097" fmla="*/ 638172 w 779965"/>
                    <a:gd name="connsiteY3097" fmla="*/ 395738 h 1260351"/>
                    <a:gd name="connsiteX3098" fmla="*/ 640759 w 779965"/>
                    <a:gd name="connsiteY3098" fmla="*/ 393200 h 1260351"/>
                    <a:gd name="connsiteX3099" fmla="*/ 643078 w 779965"/>
                    <a:gd name="connsiteY3099" fmla="*/ 391719 h 1260351"/>
                    <a:gd name="connsiteX3100" fmla="*/ 647024 w 779965"/>
                    <a:gd name="connsiteY3100" fmla="*/ 389703 h 1260351"/>
                    <a:gd name="connsiteX3101" fmla="*/ 657419 w 779965"/>
                    <a:gd name="connsiteY3101" fmla="*/ 385903 h 1260351"/>
                    <a:gd name="connsiteX3102" fmla="*/ 658074 w 779965"/>
                    <a:gd name="connsiteY3102" fmla="*/ 385648 h 1260351"/>
                    <a:gd name="connsiteX3103" fmla="*/ 658657 w 779965"/>
                    <a:gd name="connsiteY3103" fmla="*/ 385271 h 1260351"/>
                    <a:gd name="connsiteX3104" fmla="*/ 660855 w 779965"/>
                    <a:gd name="connsiteY3104" fmla="*/ 383838 h 1260351"/>
                    <a:gd name="connsiteX3105" fmla="*/ 661219 w 779965"/>
                    <a:gd name="connsiteY3105" fmla="*/ 383595 h 1260351"/>
                    <a:gd name="connsiteX3106" fmla="*/ 661547 w 779965"/>
                    <a:gd name="connsiteY3106" fmla="*/ 383316 h 1260351"/>
                    <a:gd name="connsiteX3107" fmla="*/ 676932 w 779965"/>
                    <a:gd name="connsiteY3107" fmla="*/ 369728 h 1260351"/>
                    <a:gd name="connsiteX3108" fmla="*/ 680515 w 779965"/>
                    <a:gd name="connsiteY3108" fmla="*/ 367300 h 1260351"/>
                    <a:gd name="connsiteX3109" fmla="*/ 685712 w 779965"/>
                    <a:gd name="connsiteY3109" fmla="*/ 365685 h 1260351"/>
                    <a:gd name="connsiteX3110" fmla="*/ 692828 w 779965"/>
                    <a:gd name="connsiteY3110" fmla="*/ 365029 h 1260351"/>
                    <a:gd name="connsiteX3111" fmla="*/ 693192 w 779965"/>
                    <a:gd name="connsiteY3111" fmla="*/ 364992 h 1260351"/>
                    <a:gd name="connsiteX3112" fmla="*/ 693556 w 779965"/>
                    <a:gd name="connsiteY3112" fmla="*/ 364920 h 1260351"/>
                    <a:gd name="connsiteX3113" fmla="*/ 696082 w 779965"/>
                    <a:gd name="connsiteY3113" fmla="*/ 364373 h 1260351"/>
                    <a:gd name="connsiteX3114" fmla="*/ 696677 w 779965"/>
                    <a:gd name="connsiteY3114" fmla="*/ 364240 h 1260351"/>
                    <a:gd name="connsiteX3115" fmla="*/ 697235 w 779965"/>
                    <a:gd name="connsiteY3115" fmla="*/ 363984 h 1260351"/>
                    <a:gd name="connsiteX3116" fmla="*/ 699810 w 779965"/>
                    <a:gd name="connsiteY3116" fmla="*/ 362855 h 1260351"/>
                    <a:gd name="connsiteX3117" fmla="*/ 700514 w 779965"/>
                    <a:gd name="connsiteY3117" fmla="*/ 362552 h 1260351"/>
                    <a:gd name="connsiteX3118" fmla="*/ 701109 w 779965"/>
                    <a:gd name="connsiteY3118" fmla="*/ 362078 h 1260351"/>
                    <a:gd name="connsiteX3119" fmla="*/ 703015 w 779965"/>
                    <a:gd name="connsiteY3119" fmla="*/ 360584 h 1260351"/>
                    <a:gd name="connsiteX3120" fmla="*/ 703489 w 779965"/>
                    <a:gd name="connsiteY3120" fmla="*/ 360220 h 1260351"/>
                    <a:gd name="connsiteX3121" fmla="*/ 703878 w 779965"/>
                    <a:gd name="connsiteY3121" fmla="*/ 359771 h 1260351"/>
                    <a:gd name="connsiteX3122" fmla="*/ 709208 w 779965"/>
                    <a:gd name="connsiteY3122" fmla="*/ 353554 h 1260351"/>
                    <a:gd name="connsiteX3123" fmla="*/ 709427 w 779965"/>
                    <a:gd name="connsiteY3123" fmla="*/ 353299 h 1260351"/>
                    <a:gd name="connsiteX3124" fmla="*/ 709609 w 779965"/>
                    <a:gd name="connsiteY3124" fmla="*/ 353032 h 1260351"/>
                    <a:gd name="connsiteX3125" fmla="*/ 710520 w 779965"/>
                    <a:gd name="connsiteY3125" fmla="*/ 351708 h 1260351"/>
                    <a:gd name="connsiteX3126" fmla="*/ 710835 w 779965"/>
                    <a:gd name="connsiteY3126" fmla="*/ 351235 h 1260351"/>
                    <a:gd name="connsiteX3127" fmla="*/ 711066 w 779965"/>
                    <a:gd name="connsiteY3127" fmla="*/ 350712 h 1260351"/>
                    <a:gd name="connsiteX3128" fmla="*/ 711698 w 779965"/>
                    <a:gd name="connsiteY3128" fmla="*/ 349279 h 1260351"/>
                    <a:gd name="connsiteX3129" fmla="*/ 711868 w 779965"/>
                    <a:gd name="connsiteY3129" fmla="*/ 348915 h 1260351"/>
                    <a:gd name="connsiteX3130" fmla="*/ 711977 w 779965"/>
                    <a:gd name="connsiteY3130" fmla="*/ 348527 h 1260351"/>
                    <a:gd name="connsiteX3131" fmla="*/ 712390 w 779965"/>
                    <a:gd name="connsiteY3131" fmla="*/ 347094 h 1260351"/>
                    <a:gd name="connsiteX3132" fmla="*/ 712851 w 779965"/>
                    <a:gd name="connsiteY3132" fmla="*/ 344750 h 1260351"/>
                    <a:gd name="connsiteX3133" fmla="*/ 712924 w 779965"/>
                    <a:gd name="connsiteY3133" fmla="*/ 344362 h 1260351"/>
                    <a:gd name="connsiteX3134" fmla="*/ 712948 w 779965"/>
                    <a:gd name="connsiteY3134" fmla="*/ 343973 h 1260351"/>
                    <a:gd name="connsiteX3135" fmla="*/ 713070 w 779965"/>
                    <a:gd name="connsiteY3135" fmla="*/ 341763 h 1260351"/>
                    <a:gd name="connsiteX3136" fmla="*/ 713094 w 779965"/>
                    <a:gd name="connsiteY3136" fmla="*/ 341253 h 1260351"/>
                    <a:gd name="connsiteX3137" fmla="*/ 713033 w 779965"/>
                    <a:gd name="connsiteY3137" fmla="*/ 340743 h 1260351"/>
                    <a:gd name="connsiteX3138" fmla="*/ 712657 w 779965"/>
                    <a:gd name="connsiteY3138" fmla="*/ 337331 h 1260351"/>
                    <a:gd name="connsiteX3139" fmla="*/ 712596 w 779965"/>
                    <a:gd name="connsiteY3139" fmla="*/ 336821 h 1260351"/>
                    <a:gd name="connsiteX3140" fmla="*/ 712450 w 779965"/>
                    <a:gd name="connsiteY3140" fmla="*/ 336323 h 1260351"/>
                    <a:gd name="connsiteX3141" fmla="*/ 711637 w 779965"/>
                    <a:gd name="connsiteY3141" fmla="*/ 333506 h 1260351"/>
                    <a:gd name="connsiteX3142" fmla="*/ 711430 w 779965"/>
                    <a:gd name="connsiteY3142" fmla="*/ 332789 h 1260351"/>
                    <a:gd name="connsiteX3143" fmla="*/ 711066 w 779965"/>
                    <a:gd name="connsiteY3143" fmla="*/ 332146 h 1260351"/>
                    <a:gd name="connsiteX3144" fmla="*/ 707788 w 779965"/>
                    <a:gd name="connsiteY3144" fmla="*/ 326463 h 1260351"/>
                    <a:gd name="connsiteX3145" fmla="*/ 707885 w 779965"/>
                    <a:gd name="connsiteY3145" fmla="*/ 325661 h 1260351"/>
                    <a:gd name="connsiteX3146" fmla="*/ 708735 w 779965"/>
                    <a:gd name="connsiteY3146" fmla="*/ 323585 h 1260351"/>
                    <a:gd name="connsiteX3147" fmla="*/ 710131 w 779965"/>
                    <a:gd name="connsiteY3147" fmla="*/ 319068 h 1260351"/>
                    <a:gd name="connsiteX3148" fmla="*/ 710228 w 779965"/>
                    <a:gd name="connsiteY3148" fmla="*/ 318813 h 1260351"/>
                    <a:gd name="connsiteX3149" fmla="*/ 710277 w 779965"/>
                    <a:gd name="connsiteY3149" fmla="*/ 318740 h 1260351"/>
                    <a:gd name="connsiteX3150" fmla="*/ 712572 w 779965"/>
                    <a:gd name="connsiteY3150" fmla="*/ 317696 h 1260351"/>
                    <a:gd name="connsiteX3151" fmla="*/ 712961 w 779965"/>
                    <a:gd name="connsiteY3151" fmla="*/ 317513 h 1260351"/>
                    <a:gd name="connsiteX3152" fmla="*/ 713325 w 779965"/>
                    <a:gd name="connsiteY3152" fmla="*/ 317283 h 1260351"/>
                    <a:gd name="connsiteX3153" fmla="*/ 714478 w 779965"/>
                    <a:gd name="connsiteY3153" fmla="*/ 316542 h 1260351"/>
                    <a:gd name="connsiteX3154" fmla="*/ 714770 w 779965"/>
                    <a:gd name="connsiteY3154" fmla="*/ 316360 h 1260351"/>
                    <a:gd name="connsiteX3155" fmla="*/ 715037 w 779965"/>
                    <a:gd name="connsiteY3155" fmla="*/ 316141 h 1260351"/>
                    <a:gd name="connsiteX3156" fmla="*/ 716348 w 779965"/>
                    <a:gd name="connsiteY3156" fmla="*/ 315073 h 1260351"/>
                    <a:gd name="connsiteX3157" fmla="*/ 716798 w 779965"/>
                    <a:gd name="connsiteY3157" fmla="*/ 314708 h 1260351"/>
                    <a:gd name="connsiteX3158" fmla="*/ 717174 w 779965"/>
                    <a:gd name="connsiteY3158" fmla="*/ 314259 h 1260351"/>
                    <a:gd name="connsiteX3159" fmla="*/ 720088 w 779965"/>
                    <a:gd name="connsiteY3159" fmla="*/ 310774 h 1260351"/>
                    <a:gd name="connsiteX3160" fmla="*/ 720732 w 779965"/>
                    <a:gd name="connsiteY3160" fmla="*/ 310216 h 1260351"/>
                    <a:gd name="connsiteX3161" fmla="*/ 724557 w 779965"/>
                    <a:gd name="connsiteY3161" fmla="*/ 310373 h 1260351"/>
                    <a:gd name="connsiteX3162" fmla="*/ 725043 w 779965"/>
                    <a:gd name="connsiteY3162" fmla="*/ 310386 h 1260351"/>
                    <a:gd name="connsiteX3163" fmla="*/ 725529 w 779965"/>
                    <a:gd name="connsiteY3163" fmla="*/ 310337 h 1260351"/>
                    <a:gd name="connsiteX3164" fmla="*/ 727666 w 779965"/>
                    <a:gd name="connsiteY3164" fmla="*/ 310082 h 1260351"/>
                    <a:gd name="connsiteX3165" fmla="*/ 728370 w 779965"/>
                    <a:gd name="connsiteY3165" fmla="*/ 309997 h 1260351"/>
                    <a:gd name="connsiteX3166" fmla="*/ 729050 w 779965"/>
                    <a:gd name="connsiteY3166" fmla="*/ 309754 h 1260351"/>
                    <a:gd name="connsiteX3167" fmla="*/ 730544 w 779965"/>
                    <a:gd name="connsiteY3167" fmla="*/ 309208 h 1260351"/>
                    <a:gd name="connsiteX3168" fmla="*/ 731005 w 779965"/>
                    <a:gd name="connsiteY3168" fmla="*/ 309038 h 1260351"/>
                    <a:gd name="connsiteX3169" fmla="*/ 731430 w 779965"/>
                    <a:gd name="connsiteY3169" fmla="*/ 308795 h 1260351"/>
                    <a:gd name="connsiteX3170" fmla="*/ 732863 w 779965"/>
                    <a:gd name="connsiteY3170" fmla="*/ 307981 h 1260351"/>
                    <a:gd name="connsiteX3171" fmla="*/ 733567 w 779965"/>
                    <a:gd name="connsiteY3171" fmla="*/ 307581 h 1260351"/>
                    <a:gd name="connsiteX3172" fmla="*/ 734138 w 779965"/>
                    <a:gd name="connsiteY3172" fmla="*/ 307022 h 1260351"/>
                    <a:gd name="connsiteX3173" fmla="*/ 737526 w 779965"/>
                    <a:gd name="connsiteY3173" fmla="*/ 303671 h 1260351"/>
                    <a:gd name="connsiteX3174" fmla="*/ 746803 w 779965"/>
                    <a:gd name="connsiteY3174" fmla="*/ 297283 h 1260351"/>
                    <a:gd name="connsiteX3175" fmla="*/ 747361 w 779965"/>
                    <a:gd name="connsiteY3175" fmla="*/ 296895 h 1260351"/>
                    <a:gd name="connsiteX3176" fmla="*/ 747823 w 779965"/>
                    <a:gd name="connsiteY3176" fmla="*/ 296385 h 1260351"/>
                    <a:gd name="connsiteX3177" fmla="*/ 749025 w 779965"/>
                    <a:gd name="connsiteY3177" fmla="*/ 295073 h 1260351"/>
                    <a:gd name="connsiteX3178" fmla="*/ 749462 w 779965"/>
                    <a:gd name="connsiteY3178" fmla="*/ 294588 h 1260351"/>
                    <a:gd name="connsiteX3179" fmla="*/ 749790 w 779965"/>
                    <a:gd name="connsiteY3179" fmla="*/ 294029 h 1260351"/>
                    <a:gd name="connsiteX3180" fmla="*/ 750774 w 779965"/>
                    <a:gd name="connsiteY3180" fmla="*/ 292353 h 1260351"/>
                    <a:gd name="connsiteX3181" fmla="*/ 751138 w 779965"/>
                    <a:gd name="connsiteY3181" fmla="*/ 291734 h 1260351"/>
                    <a:gd name="connsiteX3182" fmla="*/ 751357 w 779965"/>
                    <a:gd name="connsiteY3182" fmla="*/ 291042 h 1260351"/>
                    <a:gd name="connsiteX3183" fmla="*/ 754283 w 779965"/>
                    <a:gd name="connsiteY3183" fmla="*/ 281425 h 1260351"/>
                    <a:gd name="connsiteX3184" fmla="*/ 754720 w 779965"/>
                    <a:gd name="connsiteY3184" fmla="*/ 280453 h 1260351"/>
                    <a:gd name="connsiteX3185" fmla="*/ 755072 w 779965"/>
                    <a:gd name="connsiteY3185" fmla="*/ 279931 h 1260351"/>
                    <a:gd name="connsiteX3186" fmla="*/ 755388 w 779965"/>
                    <a:gd name="connsiteY3186" fmla="*/ 279615 h 1260351"/>
                    <a:gd name="connsiteX3187" fmla="*/ 755582 w 779965"/>
                    <a:gd name="connsiteY3187" fmla="*/ 279506 h 1260351"/>
                    <a:gd name="connsiteX3188" fmla="*/ 758375 w 779965"/>
                    <a:gd name="connsiteY3188" fmla="*/ 278535 h 1260351"/>
                    <a:gd name="connsiteX3189" fmla="*/ 759480 w 779965"/>
                    <a:gd name="connsiteY3189" fmla="*/ 278146 h 1260351"/>
                    <a:gd name="connsiteX3190" fmla="*/ 760366 w 779965"/>
                    <a:gd name="connsiteY3190" fmla="*/ 277381 h 1260351"/>
                    <a:gd name="connsiteX3191" fmla="*/ 761581 w 779965"/>
                    <a:gd name="connsiteY3191" fmla="*/ 276325 h 1260351"/>
                    <a:gd name="connsiteX3192" fmla="*/ 761957 w 779965"/>
                    <a:gd name="connsiteY3192" fmla="*/ 275997 h 1260351"/>
                    <a:gd name="connsiteX3193" fmla="*/ 762273 w 779965"/>
                    <a:gd name="connsiteY3193" fmla="*/ 275608 h 1260351"/>
                    <a:gd name="connsiteX3194" fmla="*/ 763949 w 779965"/>
                    <a:gd name="connsiteY3194" fmla="*/ 273568 h 1260351"/>
                    <a:gd name="connsiteX3195" fmla="*/ 764981 w 779965"/>
                    <a:gd name="connsiteY3195" fmla="*/ 272682 h 1260351"/>
                    <a:gd name="connsiteX3196" fmla="*/ 771878 w 779965"/>
                    <a:gd name="connsiteY3196" fmla="*/ 267837 h 1260351"/>
                    <a:gd name="connsiteX3197" fmla="*/ 772315 w 779965"/>
                    <a:gd name="connsiteY3197" fmla="*/ 267533 h 1260351"/>
                    <a:gd name="connsiteX3198" fmla="*/ 772692 w 779965"/>
                    <a:gd name="connsiteY3198" fmla="*/ 267157 h 1260351"/>
                    <a:gd name="connsiteX3199" fmla="*/ 775047 w 779965"/>
                    <a:gd name="connsiteY3199" fmla="*/ 264777 h 1260351"/>
                    <a:gd name="connsiteX3200" fmla="*/ 775327 w 779965"/>
                    <a:gd name="connsiteY3200" fmla="*/ 264485 h 1260351"/>
                    <a:gd name="connsiteX3201" fmla="*/ 775582 w 779965"/>
                    <a:gd name="connsiteY3201" fmla="*/ 264157 h 1260351"/>
                    <a:gd name="connsiteX3202" fmla="*/ 777367 w 779965"/>
                    <a:gd name="connsiteY3202" fmla="*/ 261777 h 1260351"/>
                    <a:gd name="connsiteX3203" fmla="*/ 777731 w 779965"/>
                    <a:gd name="connsiteY3203" fmla="*/ 261280 h 1260351"/>
                    <a:gd name="connsiteX3204" fmla="*/ 777998 w 779965"/>
                    <a:gd name="connsiteY3204" fmla="*/ 260721 h 1260351"/>
                    <a:gd name="connsiteX3205" fmla="*/ 779079 w 779965"/>
                    <a:gd name="connsiteY3205" fmla="*/ 258426 h 1260351"/>
                    <a:gd name="connsiteX3206" fmla="*/ 779516 w 779965"/>
                    <a:gd name="connsiteY3206" fmla="*/ 257515 h 1260351"/>
                    <a:gd name="connsiteX3207" fmla="*/ 779625 w 779965"/>
                    <a:gd name="connsiteY3207" fmla="*/ 256507 h 1260351"/>
                    <a:gd name="connsiteX3208" fmla="*/ 779868 w 779965"/>
                    <a:gd name="connsiteY3208" fmla="*/ 254346 h 1260351"/>
                    <a:gd name="connsiteX3209" fmla="*/ 779965 w 779965"/>
                    <a:gd name="connsiteY3209" fmla="*/ 253423 h 1260351"/>
                    <a:gd name="connsiteX3210" fmla="*/ 779783 w 779965"/>
                    <a:gd name="connsiteY3210" fmla="*/ 252512 h 1260351"/>
                    <a:gd name="connsiteX3211" fmla="*/ 779322 w 779965"/>
                    <a:gd name="connsiteY3211" fmla="*/ 250132 h 1260351"/>
                    <a:gd name="connsiteX3212" fmla="*/ 779212 w 779965"/>
                    <a:gd name="connsiteY3212" fmla="*/ 249586 h 1260351"/>
                    <a:gd name="connsiteX3213" fmla="*/ 779006 w 779965"/>
                    <a:gd name="connsiteY3213" fmla="*/ 249076 h 1260351"/>
                    <a:gd name="connsiteX3214" fmla="*/ 778095 w 779965"/>
                    <a:gd name="connsiteY3214" fmla="*/ 246757 h 1260351"/>
                    <a:gd name="connsiteX3215" fmla="*/ 776322 w 779965"/>
                    <a:gd name="connsiteY3215" fmla="*/ 243138 h 1260351"/>
                    <a:gd name="connsiteX3216" fmla="*/ 775958 w 779965"/>
                    <a:gd name="connsiteY3216" fmla="*/ 241887 h 1260351"/>
                    <a:gd name="connsiteX3217" fmla="*/ 775667 w 779965"/>
                    <a:gd name="connsiteY3217" fmla="*/ 238536 h 1260351"/>
                    <a:gd name="connsiteX3218" fmla="*/ 775569 w 779965"/>
                    <a:gd name="connsiteY3218" fmla="*/ 237370 h 1260351"/>
                    <a:gd name="connsiteX3219" fmla="*/ 775035 w 779965"/>
                    <a:gd name="connsiteY3219" fmla="*/ 236326 h 1260351"/>
                    <a:gd name="connsiteX3220" fmla="*/ 774246 w 779965"/>
                    <a:gd name="connsiteY3220" fmla="*/ 234772 h 1260351"/>
                    <a:gd name="connsiteX3221" fmla="*/ 773736 w 779965"/>
                    <a:gd name="connsiteY3221" fmla="*/ 233776 h 1260351"/>
                    <a:gd name="connsiteX3222" fmla="*/ 772910 w 779965"/>
                    <a:gd name="connsiteY3222" fmla="*/ 233023 h 1260351"/>
                    <a:gd name="connsiteX3223" fmla="*/ 771368 w 779965"/>
                    <a:gd name="connsiteY3223" fmla="*/ 231614 h 1260351"/>
                    <a:gd name="connsiteX3224" fmla="*/ 770676 w 779965"/>
                    <a:gd name="connsiteY3224" fmla="*/ 230995 h 1260351"/>
                    <a:gd name="connsiteX3225" fmla="*/ 769838 w 779965"/>
                    <a:gd name="connsiteY3225" fmla="*/ 230607 h 1260351"/>
                    <a:gd name="connsiteX3226" fmla="*/ 764786 w 779965"/>
                    <a:gd name="connsiteY3226" fmla="*/ 228251 h 1260351"/>
                    <a:gd name="connsiteX3227" fmla="*/ 764446 w 779965"/>
                    <a:gd name="connsiteY3227" fmla="*/ 228093 h 1260351"/>
                    <a:gd name="connsiteX3228" fmla="*/ 764082 w 779965"/>
                    <a:gd name="connsiteY3228" fmla="*/ 227972 h 1260351"/>
                    <a:gd name="connsiteX3229" fmla="*/ 762297 w 779965"/>
                    <a:gd name="connsiteY3229" fmla="*/ 227401 h 1260351"/>
                    <a:gd name="connsiteX3230" fmla="*/ 761702 w 779965"/>
                    <a:gd name="connsiteY3230" fmla="*/ 227206 h 1260351"/>
                    <a:gd name="connsiteX3231" fmla="*/ 761083 w 779965"/>
                    <a:gd name="connsiteY3231" fmla="*/ 227146 h 1260351"/>
                    <a:gd name="connsiteX3232" fmla="*/ 759298 w 779965"/>
                    <a:gd name="connsiteY3232" fmla="*/ 226952 h 1260351"/>
                    <a:gd name="connsiteX3233" fmla="*/ 757076 w 779965"/>
                    <a:gd name="connsiteY3233" fmla="*/ 226879 h 1260351"/>
                    <a:gd name="connsiteX3234" fmla="*/ 756712 w 779965"/>
                    <a:gd name="connsiteY3234" fmla="*/ 226879 h 1260351"/>
                    <a:gd name="connsiteX3235" fmla="*/ 756347 w 779965"/>
                    <a:gd name="connsiteY3235" fmla="*/ 226915 h 1260351"/>
                    <a:gd name="connsiteX3236" fmla="*/ 754332 w 779965"/>
                    <a:gd name="connsiteY3236" fmla="*/ 227109 h 1260351"/>
                    <a:gd name="connsiteX3237" fmla="*/ 753518 w 779965"/>
                    <a:gd name="connsiteY3237" fmla="*/ 227182 h 1260351"/>
                    <a:gd name="connsiteX3238" fmla="*/ 752765 w 779965"/>
                    <a:gd name="connsiteY3238" fmla="*/ 227474 h 1260351"/>
                    <a:gd name="connsiteX3239" fmla="*/ 752546 w 779965"/>
                    <a:gd name="connsiteY3239" fmla="*/ 227559 h 1260351"/>
                    <a:gd name="connsiteX3240" fmla="*/ 752012 w 779965"/>
                    <a:gd name="connsiteY3240" fmla="*/ 227777 h 1260351"/>
                    <a:gd name="connsiteX3241" fmla="*/ 750980 w 779965"/>
                    <a:gd name="connsiteY3241" fmla="*/ 228275 h 1260351"/>
                    <a:gd name="connsiteX3242" fmla="*/ 750749 w 779965"/>
                    <a:gd name="connsiteY3242" fmla="*/ 228348 h 1260351"/>
                    <a:gd name="connsiteX3243" fmla="*/ 750470 w 779965"/>
                    <a:gd name="connsiteY3243" fmla="*/ 228348 h 1260351"/>
                    <a:gd name="connsiteX3244" fmla="*/ 749644 w 779965"/>
                    <a:gd name="connsiteY3244" fmla="*/ 228226 h 1260351"/>
                    <a:gd name="connsiteX3245" fmla="*/ 747337 w 779965"/>
                    <a:gd name="connsiteY3245" fmla="*/ 227510 h 1260351"/>
                    <a:gd name="connsiteX3246" fmla="*/ 746791 w 779965"/>
                    <a:gd name="connsiteY3246" fmla="*/ 227255 h 1260351"/>
                    <a:gd name="connsiteX3247" fmla="*/ 740829 w 779965"/>
                    <a:gd name="connsiteY3247" fmla="*/ 223515 h 1260351"/>
                    <a:gd name="connsiteX3248" fmla="*/ 739809 w 779965"/>
                    <a:gd name="connsiteY3248" fmla="*/ 222872 h 1260351"/>
                    <a:gd name="connsiteX3249" fmla="*/ 738606 w 779965"/>
                    <a:gd name="connsiteY3249" fmla="*/ 222665 h 1260351"/>
                    <a:gd name="connsiteX3250" fmla="*/ 737004 w 779965"/>
                    <a:gd name="connsiteY3250" fmla="*/ 222398 h 1260351"/>
                    <a:gd name="connsiteX3251" fmla="*/ 734271 w 779965"/>
                    <a:gd name="connsiteY3251" fmla="*/ 221936 h 1260351"/>
                    <a:gd name="connsiteX3252" fmla="*/ 732341 w 779965"/>
                    <a:gd name="connsiteY3252" fmla="*/ 223539 h 1260351"/>
                    <a:gd name="connsiteX3253" fmla="*/ 731831 w 779965"/>
                    <a:gd name="connsiteY3253" fmla="*/ 220261 h 1260351"/>
                    <a:gd name="connsiteX3254" fmla="*/ 731163 w 779965"/>
                    <a:gd name="connsiteY3254" fmla="*/ 217419 h 1260351"/>
                    <a:gd name="connsiteX3255" fmla="*/ 731041 w 779965"/>
                    <a:gd name="connsiteY3255" fmla="*/ 216934 h 1260351"/>
                    <a:gd name="connsiteX3256" fmla="*/ 730847 w 779965"/>
                    <a:gd name="connsiteY3256" fmla="*/ 216472 h 1260351"/>
                    <a:gd name="connsiteX3257" fmla="*/ 729815 w 779965"/>
                    <a:gd name="connsiteY3257" fmla="*/ 214056 h 1260351"/>
                    <a:gd name="connsiteX3258" fmla="*/ 729438 w 779965"/>
                    <a:gd name="connsiteY3258" fmla="*/ 213181 h 1260351"/>
                    <a:gd name="connsiteX3259" fmla="*/ 728807 w 779965"/>
                    <a:gd name="connsiteY3259" fmla="*/ 212453 h 1260351"/>
                    <a:gd name="connsiteX3260" fmla="*/ 726791 w 779965"/>
                    <a:gd name="connsiteY3260" fmla="*/ 210133 h 1260351"/>
                    <a:gd name="connsiteX3261" fmla="*/ 726488 w 779965"/>
                    <a:gd name="connsiteY3261" fmla="*/ 209781 h 1260351"/>
                    <a:gd name="connsiteX3262" fmla="*/ 726123 w 779965"/>
                    <a:gd name="connsiteY3262" fmla="*/ 209478 h 1260351"/>
                    <a:gd name="connsiteX3263" fmla="*/ 720526 w 779965"/>
                    <a:gd name="connsiteY3263" fmla="*/ 204754 h 1260351"/>
                    <a:gd name="connsiteX3264" fmla="*/ 718680 w 779965"/>
                    <a:gd name="connsiteY3264" fmla="*/ 201961 h 1260351"/>
                    <a:gd name="connsiteX3265" fmla="*/ 717526 w 779965"/>
                    <a:gd name="connsiteY3265" fmla="*/ 196364 h 1260351"/>
                    <a:gd name="connsiteX3266" fmla="*/ 719311 w 779965"/>
                    <a:gd name="connsiteY3266" fmla="*/ 189187 h 1260351"/>
                    <a:gd name="connsiteX3267" fmla="*/ 719433 w 779965"/>
                    <a:gd name="connsiteY3267" fmla="*/ 188725 h 1260351"/>
                    <a:gd name="connsiteX3268" fmla="*/ 719469 w 779965"/>
                    <a:gd name="connsiteY3268" fmla="*/ 188252 h 1260351"/>
                    <a:gd name="connsiteX3269" fmla="*/ 720853 w 779965"/>
                    <a:gd name="connsiteY3269" fmla="*/ 172551 h 1260351"/>
                    <a:gd name="connsiteX3270" fmla="*/ 720926 w 779965"/>
                    <a:gd name="connsiteY3270" fmla="*/ 171677 h 1260351"/>
                    <a:gd name="connsiteX3271" fmla="*/ 720756 w 779965"/>
                    <a:gd name="connsiteY3271" fmla="*/ 170815 h 1260351"/>
                    <a:gd name="connsiteX3272" fmla="*/ 718789 w 779965"/>
                    <a:gd name="connsiteY3272" fmla="*/ 161125 h 1260351"/>
                    <a:gd name="connsiteX3273" fmla="*/ 718680 w 779965"/>
                    <a:gd name="connsiteY3273" fmla="*/ 160602 h 1260351"/>
                    <a:gd name="connsiteX3274" fmla="*/ 718486 w 779965"/>
                    <a:gd name="connsiteY3274" fmla="*/ 160092 h 1260351"/>
                    <a:gd name="connsiteX3275" fmla="*/ 717405 w 779965"/>
                    <a:gd name="connsiteY3275" fmla="*/ 157372 h 1260351"/>
                    <a:gd name="connsiteX3276" fmla="*/ 717186 w 779965"/>
                    <a:gd name="connsiteY3276" fmla="*/ 156838 h 1260351"/>
                    <a:gd name="connsiteX3277" fmla="*/ 716870 w 779965"/>
                    <a:gd name="connsiteY3277" fmla="*/ 156352 h 1260351"/>
                    <a:gd name="connsiteX3278" fmla="*/ 715547 w 779965"/>
                    <a:gd name="connsiteY3278" fmla="*/ 154288 h 1260351"/>
                    <a:gd name="connsiteX3279" fmla="*/ 714733 w 779965"/>
                    <a:gd name="connsiteY3279" fmla="*/ 153013 h 1260351"/>
                    <a:gd name="connsiteX3280" fmla="*/ 713422 w 779965"/>
                    <a:gd name="connsiteY3280" fmla="*/ 152272 h 1260351"/>
                    <a:gd name="connsiteX3281" fmla="*/ 711345 w 779965"/>
                    <a:gd name="connsiteY3281" fmla="*/ 151094 h 1260351"/>
                    <a:gd name="connsiteX3282" fmla="*/ 710410 w 779965"/>
                    <a:gd name="connsiteY3282" fmla="*/ 150572 h 1260351"/>
                    <a:gd name="connsiteX3283" fmla="*/ 709354 w 779965"/>
                    <a:gd name="connsiteY3283" fmla="*/ 150390 h 1260351"/>
                    <a:gd name="connsiteX3284" fmla="*/ 708322 w 779965"/>
                    <a:gd name="connsiteY3284" fmla="*/ 150220 h 1260351"/>
                    <a:gd name="connsiteX3285" fmla="*/ 706549 w 779965"/>
                    <a:gd name="connsiteY3285" fmla="*/ 149929 h 1260351"/>
                    <a:gd name="connsiteX3286" fmla="*/ 704898 w 779965"/>
                    <a:gd name="connsiteY3286" fmla="*/ 150645 h 1260351"/>
                    <a:gd name="connsiteX3287" fmla="*/ 703902 w 779965"/>
                    <a:gd name="connsiteY3287" fmla="*/ 151082 h 1260351"/>
                    <a:gd name="connsiteX3288" fmla="*/ 704351 w 779965"/>
                    <a:gd name="connsiteY3288" fmla="*/ 149140 h 1260351"/>
                    <a:gd name="connsiteX3289" fmla="*/ 704448 w 779965"/>
                    <a:gd name="connsiteY3289" fmla="*/ 148727 h 1260351"/>
                    <a:gd name="connsiteX3290" fmla="*/ 704485 w 779965"/>
                    <a:gd name="connsiteY3290" fmla="*/ 148302 h 1260351"/>
                    <a:gd name="connsiteX3291" fmla="*/ 704655 w 779965"/>
                    <a:gd name="connsiteY3291" fmla="*/ 146371 h 1260351"/>
                    <a:gd name="connsiteX3292" fmla="*/ 704691 w 779965"/>
                    <a:gd name="connsiteY3292" fmla="*/ 146007 h 1260351"/>
                    <a:gd name="connsiteX3293" fmla="*/ 704679 w 779965"/>
                    <a:gd name="connsiteY3293" fmla="*/ 145642 h 1260351"/>
                    <a:gd name="connsiteX3294" fmla="*/ 704618 w 779965"/>
                    <a:gd name="connsiteY3294" fmla="*/ 143894 h 1260351"/>
                    <a:gd name="connsiteX3295" fmla="*/ 704424 w 779965"/>
                    <a:gd name="connsiteY3295" fmla="*/ 141769 h 1260351"/>
                    <a:gd name="connsiteX3296" fmla="*/ 704412 w 779965"/>
                    <a:gd name="connsiteY3296" fmla="*/ 141174 h 1260351"/>
                    <a:gd name="connsiteX3297" fmla="*/ 704412 w 779965"/>
                    <a:gd name="connsiteY3297" fmla="*/ 141162 h 1260351"/>
                    <a:gd name="connsiteX3298" fmla="*/ 704558 w 779965"/>
                    <a:gd name="connsiteY3298" fmla="*/ 140858 h 1260351"/>
                    <a:gd name="connsiteX3299" fmla="*/ 705068 w 779965"/>
                    <a:gd name="connsiteY3299" fmla="*/ 140142 h 1260351"/>
                    <a:gd name="connsiteX3300" fmla="*/ 710556 w 779965"/>
                    <a:gd name="connsiteY3300" fmla="*/ 134447 h 1260351"/>
                    <a:gd name="connsiteX3301" fmla="*/ 710787 w 779965"/>
                    <a:gd name="connsiteY3301" fmla="*/ 134204 h 1260351"/>
                    <a:gd name="connsiteX3302" fmla="*/ 710993 w 779965"/>
                    <a:gd name="connsiteY3302" fmla="*/ 133949 h 1260351"/>
                    <a:gd name="connsiteX3303" fmla="*/ 713167 w 779965"/>
                    <a:gd name="connsiteY3303" fmla="*/ 131132 h 1260351"/>
                    <a:gd name="connsiteX3304" fmla="*/ 713446 w 779965"/>
                    <a:gd name="connsiteY3304" fmla="*/ 130779 h 1260351"/>
                    <a:gd name="connsiteX3305" fmla="*/ 713665 w 779965"/>
                    <a:gd name="connsiteY3305" fmla="*/ 130391 h 1260351"/>
                    <a:gd name="connsiteX3306" fmla="*/ 714709 w 779965"/>
                    <a:gd name="connsiteY3306" fmla="*/ 128521 h 1260351"/>
                    <a:gd name="connsiteX3307" fmla="*/ 715826 w 779965"/>
                    <a:gd name="connsiteY3307" fmla="*/ 126044 h 1260351"/>
                    <a:gd name="connsiteX3308" fmla="*/ 716142 w 779965"/>
                    <a:gd name="connsiteY3308" fmla="*/ 125303 h 1260351"/>
                    <a:gd name="connsiteX3309" fmla="*/ 716263 w 779965"/>
                    <a:gd name="connsiteY3309" fmla="*/ 124501 h 1260351"/>
                    <a:gd name="connsiteX3310" fmla="*/ 716494 w 779965"/>
                    <a:gd name="connsiteY3310" fmla="*/ 122959 h 1260351"/>
                    <a:gd name="connsiteX3311" fmla="*/ 716640 w 779965"/>
                    <a:gd name="connsiteY3311" fmla="*/ 121976 h 1260351"/>
                    <a:gd name="connsiteX3312" fmla="*/ 716458 w 779965"/>
                    <a:gd name="connsiteY3312" fmla="*/ 120992 h 1260351"/>
                    <a:gd name="connsiteX3313" fmla="*/ 716276 w 779965"/>
                    <a:gd name="connsiteY3313" fmla="*/ 119960 h 1260351"/>
                    <a:gd name="connsiteX3314" fmla="*/ 716118 w 779965"/>
                    <a:gd name="connsiteY3314" fmla="*/ 119061 h 1260351"/>
                    <a:gd name="connsiteX3315" fmla="*/ 715693 w 779965"/>
                    <a:gd name="connsiteY3315" fmla="*/ 118248 h 1260351"/>
                    <a:gd name="connsiteX3316" fmla="*/ 712790 w 779965"/>
                    <a:gd name="connsiteY3316" fmla="*/ 112638 h 1260351"/>
                    <a:gd name="connsiteX3317" fmla="*/ 712523 w 779965"/>
                    <a:gd name="connsiteY3317" fmla="*/ 111424 h 1260351"/>
                    <a:gd name="connsiteX3318" fmla="*/ 712317 w 779965"/>
                    <a:gd name="connsiteY3318" fmla="*/ 109614 h 1260351"/>
                    <a:gd name="connsiteX3319" fmla="*/ 711843 w 779965"/>
                    <a:gd name="connsiteY3319" fmla="*/ 107064 h 1260351"/>
                    <a:gd name="connsiteX3320" fmla="*/ 711625 w 779965"/>
                    <a:gd name="connsiteY3320" fmla="*/ 105923 h 1260351"/>
                    <a:gd name="connsiteX3321" fmla="*/ 711005 w 779965"/>
                    <a:gd name="connsiteY3321" fmla="*/ 104939 h 1260351"/>
                    <a:gd name="connsiteX3322" fmla="*/ 710095 w 779965"/>
                    <a:gd name="connsiteY3322" fmla="*/ 103506 h 1260351"/>
                    <a:gd name="connsiteX3323" fmla="*/ 709172 w 779965"/>
                    <a:gd name="connsiteY3323" fmla="*/ 102061 h 1260351"/>
                    <a:gd name="connsiteX3324" fmla="*/ 707630 w 779965"/>
                    <a:gd name="connsiteY3324" fmla="*/ 101309 h 1260351"/>
                    <a:gd name="connsiteX3325" fmla="*/ 705748 w 779965"/>
                    <a:gd name="connsiteY3325" fmla="*/ 100386 h 1260351"/>
                    <a:gd name="connsiteX3326" fmla="*/ 704412 w 779965"/>
                    <a:gd name="connsiteY3326" fmla="*/ 99742 h 1260351"/>
                    <a:gd name="connsiteX3327" fmla="*/ 702930 w 779965"/>
                    <a:gd name="connsiteY3327" fmla="*/ 99778 h 1260351"/>
                    <a:gd name="connsiteX3328" fmla="*/ 701595 w 779965"/>
                    <a:gd name="connsiteY3328" fmla="*/ 99815 h 1260351"/>
                    <a:gd name="connsiteX3329" fmla="*/ 700672 w 779965"/>
                    <a:gd name="connsiteY3329" fmla="*/ 99839 h 1260351"/>
                    <a:gd name="connsiteX3330" fmla="*/ 699798 w 779965"/>
                    <a:gd name="connsiteY3330" fmla="*/ 100131 h 1260351"/>
                    <a:gd name="connsiteX3331" fmla="*/ 698547 w 779965"/>
                    <a:gd name="connsiteY3331" fmla="*/ 100556 h 1260351"/>
                    <a:gd name="connsiteX3332" fmla="*/ 697867 w 779965"/>
                    <a:gd name="connsiteY3332" fmla="*/ 100786 h 1260351"/>
                    <a:gd name="connsiteX3333" fmla="*/ 697272 w 779965"/>
                    <a:gd name="connsiteY3333" fmla="*/ 101163 h 1260351"/>
                    <a:gd name="connsiteX3334" fmla="*/ 695293 w 779965"/>
                    <a:gd name="connsiteY3334" fmla="*/ 102413 h 1260351"/>
                    <a:gd name="connsiteX3335" fmla="*/ 694880 w 779965"/>
                    <a:gd name="connsiteY3335" fmla="*/ 102596 h 1260351"/>
                    <a:gd name="connsiteX3336" fmla="*/ 693374 w 779965"/>
                    <a:gd name="connsiteY3336" fmla="*/ 103033 h 1260351"/>
                    <a:gd name="connsiteX3337" fmla="*/ 691929 w 779965"/>
                    <a:gd name="connsiteY3337" fmla="*/ 103567 h 1260351"/>
                    <a:gd name="connsiteX3338" fmla="*/ 691298 w 779965"/>
                    <a:gd name="connsiteY3338" fmla="*/ 103810 h 1260351"/>
                    <a:gd name="connsiteX3339" fmla="*/ 690727 w 779965"/>
                    <a:gd name="connsiteY3339" fmla="*/ 104198 h 1260351"/>
                    <a:gd name="connsiteX3340" fmla="*/ 689816 w 779965"/>
                    <a:gd name="connsiteY3340" fmla="*/ 104806 h 1260351"/>
                    <a:gd name="connsiteX3341" fmla="*/ 688845 w 779965"/>
                    <a:gd name="connsiteY3341" fmla="*/ 105449 h 1260351"/>
                    <a:gd name="connsiteX3342" fmla="*/ 688189 w 779965"/>
                    <a:gd name="connsiteY3342" fmla="*/ 106421 h 1260351"/>
                    <a:gd name="connsiteX3343" fmla="*/ 687667 w 779965"/>
                    <a:gd name="connsiteY3343" fmla="*/ 107186 h 1260351"/>
                    <a:gd name="connsiteX3344" fmla="*/ 687327 w 779965"/>
                    <a:gd name="connsiteY3344" fmla="*/ 107696 h 1260351"/>
                    <a:gd name="connsiteX3345" fmla="*/ 687084 w 779965"/>
                    <a:gd name="connsiteY3345" fmla="*/ 108266 h 1260351"/>
                    <a:gd name="connsiteX3346" fmla="*/ 686756 w 779965"/>
                    <a:gd name="connsiteY3346" fmla="*/ 109044 h 1260351"/>
                    <a:gd name="connsiteX3347" fmla="*/ 686465 w 779965"/>
                    <a:gd name="connsiteY3347" fmla="*/ 109724 h 1260351"/>
                    <a:gd name="connsiteX3348" fmla="*/ 686355 w 779965"/>
                    <a:gd name="connsiteY3348" fmla="*/ 110464 h 1260351"/>
                    <a:gd name="connsiteX3349" fmla="*/ 686173 w 779965"/>
                    <a:gd name="connsiteY3349" fmla="*/ 111654 h 1260351"/>
                    <a:gd name="connsiteX3350" fmla="*/ 686100 w 779965"/>
                    <a:gd name="connsiteY3350" fmla="*/ 112116 h 1260351"/>
                    <a:gd name="connsiteX3351" fmla="*/ 686100 w 779965"/>
                    <a:gd name="connsiteY3351" fmla="*/ 112589 h 1260351"/>
                    <a:gd name="connsiteX3352" fmla="*/ 686100 w 779965"/>
                    <a:gd name="connsiteY3352" fmla="*/ 113354 h 1260351"/>
                    <a:gd name="connsiteX3353" fmla="*/ 680709 w 779965"/>
                    <a:gd name="connsiteY3353" fmla="*/ 111144 h 1260351"/>
                    <a:gd name="connsiteX3354" fmla="*/ 680150 w 779965"/>
                    <a:gd name="connsiteY3354" fmla="*/ 110914 h 1260351"/>
                    <a:gd name="connsiteX3355" fmla="*/ 679567 w 779965"/>
                    <a:gd name="connsiteY3355" fmla="*/ 110804 h 1260351"/>
                    <a:gd name="connsiteX3356" fmla="*/ 677892 w 779965"/>
                    <a:gd name="connsiteY3356" fmla="*/ 110476 h 1260351"/>
                    <a:gd name="connsiteX3357" fmla="*/ 677479 w 779965"/>
                    <a:gd name="connsiteY3357" fmla="*/ 110391 h 1260351"/>
                    <a:gd name="connsiteX3358" fmla="*/ 677054 w 779965"/>
                    <a:gd name="connsiteY3358" fmla="*/ 110367 h 1260351"/>
                    <a:gd name="connsiteX3359" fmla="*/ 675390 w 779965"/>
                    <a:gd name="connsiteY3359" fmla="*/ 110282 h 1260351"/>
                    <a:gd name="connsiteX3360" fmla="*/ 674892 w 779965"/>
                    <a:gd name="connsiteY3360" fmla="*/ 110258 h 1260351"/>
                    <a:gd name="connsiteX3361" fmla="*/ 674407 w 779965"/>
                    <a:gd name="connsiteY3361" fmla="*/ 110306 h 1260351"/>
                    <a:gd name="connsiteX3362" fmla="*/ 673034 w 779965"/>
                    <a:gd name="connsiteY3362" fmla="*/ 110452 h 1260351"/>
                    <a:gd name="connsiteX3363" fmla="*/ 668614 w 779965"/>
                    <a:gd name="connsiteY3363" fmla="*/ 111302 h 1260351"/>
                    <a:gd name="connsiteX3364" fmla="*/ 668141 w 779965"/>
                    <a:gd name="connsiteY3364" fmla="*/ 111314 h 1260351"/>
                    <a:gd name="connsiteX3365" fmla="*/ 667934 w 779965"/>
                    <a:gd name="connsiteY3365" fmla="*/ 111290 h 1260351"/>
                    <a:gd name="connsiteX3366" fmla="*/ 667570 w 779965"/>
                    <a:gd name="connsiteY3366" fmla="*/ 111156 h 1260351"/>
                    <a:gd name="connsiteX3367" fmla="*/ 666830 w 779965"/>
                    <a:gd name="connsiteY3367" fmla="*/ 110646 h 1260351"/>
                    <a:gd name="connsiteX3368" fmla="*/ 666101 w 779965"/>
                    <a:gd name="connsiteY3368" fmla="*/ 109869 h 1260351"/>
                    <a:gd name="connsiteX3369" fmla="*/ 664959 w 779965"/>
                    <a:gd name="connsiteY3369" fmla="*/ 107659 h 1260351"/>
                    <a:gd name="connsiteX3370" fmla="*/ 662871 w 779965"/>
                    <a:gd name="connsiteY3370" fmla="*/ 101649 h 1260351"/>
                    <a:gd name="connsiteX3371" fmla="*/ 662774 w 779965"/>
                    <a:gd name="connsiteY3371" fmla="*/ 101357 h 1260351"/>
                    <a:gd name="connsiteX3372" fmla="*/ 662640 w 779965"/>
                    <a:gd name="connsiteY3372" fmla="*/ 101078 h 1260351"/>
                    <a:gd name="connsiteX3373" fmla="*/ 661013 w 779965"/>
                    <a:gd name="connsiteY3373" fmla="*/ 97581 h 1260351"/>
                    <a:gd name="connsiteX3374" fmla="*/ 660965 w 779965"/>
                    <a:gd name="connsiteY3374" fmla="*/ 97289 h 1260351"/>
                    <a:gd name="connsiteX3375" fmla="*/ 660965 w 779965"/>
                    <a:gd name="connsiteY3375" fmla="*/ 97241 h 1260351"/>
                    <a:gd name="connsiteX3376" fmla="*/ 661244 w 779965"/>
                    <a:gd name="connsiteY3376" fmla="*/ 96257 h 1260351"/>
                    <a:gd name="connsiteX3377" fmla="*/ 663174 w 779965"/>
                    <a:gd name="connsiteY3377" fmla="*/ 91036 h 1260351"/>
                    <a:gd name="connsiteX3378" fmla="*/ 663320 w 779965"/>
                    <a:gd name="connsiteY3378" fmla="*/ 90635 h 1260351"/>
                    <a:gd name="connsiteX3379" fmla="*/ 663405 w 779965"/>
                    <a:gd name="connsiteY3379" fmla="*/ 90222 h 1260351"/>
                    <a:gd name="connsiteX3380" fmla="*/ 663806 w 779965"/>
                    <a:gd name="connsiteY3380" fmla="*/ 88388 h 1260351"/>
                    <a:gd name="connsiteX3381" fmla="*/ 664025 w 779965"/>
                    <a:gd name="connsiteY3381" fmla="*/ 87368 h 1260351"/>
                    <a:gd name="connsiteX3382" fmla="*/ 663891 w 779965"/>
                    <a:gd name="connsiteY3382" fmla="*/ 86336 h 1260351"/>
                    <a:gd name="connsiteX3383" fmla="*/ 663612 w 779965"/>
                    <a:gd name="connsiteY3383" fmla="*/ 84150 h 1260351"/>
                    <a:gd name="connsiteX3384" fmla="*/ 663539 w 779965"/>
                    <a:gd name="connsiteY3384" fmla="*/ 83592 h 1260351"/>
                    <a:gd name="connsiteX3385" fmla="*/ 663369 w 779965"/>
                    <a:gd name="connsiteY3385" fmla="*/ 83070 h 1260351"/>
                    <a:gd name="connsiteX3386" fmla="*/ 662616 w 779965"/>
                    <a:gd name="connsiteY3386" fmla="*/ 80714 h 1260351"/>
                    <a:gd name="connsiteX3387" fmla="*/ 659034 w 779965"/>
                    <a:gd name="connsiteY3387" fmla="*/ 72275 h 1260351"/>
                    <a:gd name="connsiteX3388" fmla="*/ 658706 w 779965"/>
                    <a:gd name="connsiteY3388" fmla="*/ 71510 h 1260351"/>
                    <a:gd name="connsiteX3389" fmla="*/ 658184 w 779965"/>
                    <a:gd name="connsiteY3389" fmla="*/ 70854 h 1260351"/>
                    <a:gd name="connsiteX3390" fmla="*/ 655367 w 779965"/>
                    <a:gd name="connsiteY3390" fmla="*/ 67357 h 1260351"/>
                    <a:gd name="connsiteX3391" fmla="*/ 655051 w 779965"/>
                    <a:gd name="connsiteY3391" fmla="*/ 66956 h 1260351"/>
                    <a:gd name="connsiteX3392" fmla="*/ 654674 w 779965"/>
                    <a:gd name="connsiteY3392" fmla="*/ 66628 h 1260351"/>
                    <a:gd name="connsiteX3393" fmla="*/ 628907 w 779965"/>
                    <a:gd name="connsiteY3393" fmla="*/ 43787 h 1260351"/>
                    <a:gd name="connsiteX3394" fmla="*/ 626478 w 779965"/>
                    <a:gd name="connsiteY3394" fmla="*/ 40509 h 1260351"/>
                    <a:gd name="connsiteX3395" fmla="*/ 625349 w 779965"/>
                    <a:gd name="connsiteY3395" fmla="*/ 38335 h 1260351"/>
                    <a:gd name="connsiteX3396" fmla="*/ 624621 w 779965"/>
                    <a:gd name="connsiteY3396" fmla="*/ 36514 h 1260351"/>
                    <a:gd name="connsiteX3397" fmla="*/ 624220 w 779965"/>
                    <a:gd name="connsiteY3397" fmla="*/ 34437 h 1260351"/>
                    <a:gd name="connsiteX3398" fmla="*/ 624038 w 779965"/>
                    <a:gd name="connsiteY3398" fmla="*/ 32154 h 1260351"/>
                    <a:gd name="connsiteX3399" fmla="*/ 624159 w 779965"/>
                    <a:gd name="connsiteY3399" fmla="*/ 24808 h 1260351"/>
                    <a:gd name="connsiteX3400" fmla="*/ 624159 w 779965"/>
                    <a:gd name="connsiteY3400" fmla="*/ 24432 h 1260351"/>
                    <a:gd name="connsiteX3401" fmla="*/ 624123 w 779965"/>
                    <a:gd name="connsiteY3401" fmla="*/ 24067 h 1260351"/>
                    <a:gd name="connsiteX3402" fmla="*/ 623831 w 779965"/>
                    <a:gd name="connsiteY3402" fmla="*/ 21396 h 1260351"/>
                    <a:gd name="connsiteX3403" fmla="*/ 623746 w 779965"/>
                    <a:gd name="connsiteY3403" fmla="*/ 20558 h 1260351"/>
                    <a:gd name="connsiteX3404" fmla="*/ 623431 w 779965"/>
                    <a:gd name="connsiteY3404" fmla="*/ 19781 h 1260351"/>
                    <a:gd name="connsiteX3405" fmla="*/ 622690 w 779965"/>
                    <a:gd name="connsiteY3405" fmla="*/ 17947 h 1260351"/>
                    <a:gd name="connsiteX3406" fmla="*/ 622301 w 779965"/>
                    <a:gd name="connsiteY3406" fmla="*/ 17000 h 1260351"/>
                    <a:gd name="connsiteX3407" fmla="*/ 621634 w 779965"/>
                    <a:gd name="connsiteY3407" fmla="*/ 16235 h 1260351"/>
                    <a:gd name="connsiteX3408" fmla="*/ 620310 w 779965"/>
                    <a:gd name="connsiteY3408" fmla="*/ 14717 h 1260351"/>
                    <a:gd name="connsiteX3409" fmla="*/ 619606 w 779965"/>
                    <a:gd name="connsiteY3409" fmla="*/ 13916 h 1260351"/>
                    <a:gd name="connsiteX3410" fmla="*/ 618671 w 779965"/>
                    <a:gd name="connsiteY3410" fmla="*/ 13406 h 1260351"/>
                    <a:gd name="connsiteX3411" fmla="*/ 612599 w 779965"/>
                    <a:gd name="connsiteY3411" fmla="*/ 10054 h 1260351"/>
                    <a:gd name="connsiteX3412" fmla="*/ 610098 w 779965"/>
                    <a:gd name="connsiteY3412" fmla="*/ 7857 h 1260351"/>
                    <a:gd name="connsiteX3413" fmla="*/ 609794 w 779965"/>
                    <a:gd name="connsiteY3413" fmla="*/ 7589 h 1260351"/>
                    <a:gd name="connsiteX3414" fmla="*/ 609454 w 779965"/>
                    <a:gd name="connsiteY3414" fmla="*/ 7359 h 1260351"/>
                    <a:gd name="connsiteX3415" fmla="*/ 608021 w 779965"/>
                    <a:gd name="connsiteY3415" fmla="*/ 6399 h 1260351"/>
                    <a:gd name="connsiteX3416" fmla="*/ 607232 w 779965"/>
                    <a:gd name="connsiteY3416" fmla="*/ 5877 h 1260351"/>
                    <a:gd name="connsiteX3417" fmla="*/ 606321 w 779965"/>
                    <a:gd name="connsiteY3417" fmla="*/ 5440 h 1260351"/>
                    <a:gd name="connsiteX3418" fmla="*/ 604609 w 779965"/>
                    <a:gd name="connsiteY3418" fmla="*/ 4954 h 1260351"/>
                    <a:gd name="connsiteX3419" fmla="*/ 603966 w 779965"/>
                    <a:gd name="connsiteY3419" fmla="*/ 4772 h 1260351"/>
                    <a:gd name="connsiteX3420" fmla="*/ 603310 w 779965"/>
                    <a:gd name="connsiteY3420" fmla="*/ 4736 h 1260351"/>
                    <a:gd name="connsiteX3421" fmla="*/ 594312 w 779965"/>
                    <a:gd name="connsiteY3421" fmla="*/ 4201 h 1260351"/>
                    <a:gd name="connsiteX3422" fmla="*/ 584962 w 779965"/>
                    <a:gd name="connsiteY3422" fmla="*/ 1348 h 1260351"/>
                    <a:gd name="connsiteX3423" fmla="*/ 580578 w 779965"/>
                    <a:gd name="connsiteY3423" fmla="*/ 0 h 1260351"/>
                    <a:gd name="connsiteX3424" fmla="*/ 580578 w 779965"/>
                    <a:gd name="connsiteY3424" fmla="*/ 0 h 1260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Lst>
                  <a:rect l="l" t="t" r="r" b="b"/>
                  <a:pathLst>
                    <a:path w="779965" h="1260351">
                      <a:moveTo>
                        <a:pt x="583189" y="7152"/>
                      </a:moveTo>
                      <a:lnTo>
                        <a:pt x="593231" y="10224"/>
                      </a:lnTo>
                      <a:lnTo>
                        <a:pt x="602946" y="10795"/>
                      </a:lnTo>
                      <a:lnTo>
                        <a:pt x="604658" y="11281"/>
                      </a:lnTo>
                      <a:lnTo>
                        <a:pt x="606090" y="12240"/>
                      </a:lnTo>
                      <a:lnTo>
                        <a:pt x="609090" y="14875"/>
                      </a:lnTo>
                      <a:lnTo>
                        <a:pt x="615744" y="18554"/>
                      </a:lnTo>
                      <a:lnTo>
                        <a:pt x="617068" y="20072"/>
                      </a:lnTo>
                      <a:lnTo>
                        <a:pt x="617809" y="21906"/>
                      </a:lnTo>
                      <a:lnTo>
                        <a:pt x="618100" y="24577"/>
                      </a:lnTo>
                      <a:lnTo>
                        <a:pt x="617991" y="32507"/>
                      </a:lnTo>
                      <a:lnTo>
                        <a:pt x="618209" y="35117"/>
                      </a:lnTo>
                      <a:lnTo>
                        <a:pt x="618780" y="38080"/>
                      </a:lnTo>
                      <a:lnTo>
                        <a:pt x="619824" y="40715"/>
                      </a:lnTo>
                      <a:lnTo>
                        <a:pt x="621318" y="43593"/>
                      </a:lnTo>
                      <a:lnTo>
                        <a:pt x="624414" y="47758"/>
                      </a:lnTo>
                      <a:lnTo>
                        <a:pt x="650655" y="71012"/>
                      </a:lnTo>
                      <a:lnTo>
                        <a:pt x="653472" y="74509"/>
                      </a:lnTo>
                      <a:lnTo>
                        <a:pt x="656860" y="82402"/>
                      </a:lnTo>
                      <a:lnTo>
                        <a:pt x="657613" y="84758"/>
                      </a:lnTo>
                      <a:lnTo>
                        <a:pt x="657892" y="86943"/>
                      </a:lnTo>
                      <a:lnTo>
                        <a:pt x="657492" y="88777"/>
                      </a:lnTo>
                      <a:lnTo>
                        <a:pt x="655427" y="94399"/>
                      </a:lnTo>
                      <a:lnTo>
                        <a:pt x="654966" y="95990"/>
                      </a:lnTo>
                      <a:lnTo>
                        <a:pt x="654857" y="97447"/>
                      </a:lnTo>
                      <a:lnTo>
                        <a:pt x="655184" y="99281"/>
                      </a:lnTo>
                      <a:lnTo>
                        <a:pt x="657152" y="103482"/>
                      </a:lnTo>
                      <a:lnTo>
                        <a:pt x="659386" y="109906"/>
                      </a:lnTo>
                      <a:lnTo>
                        <a:pt x="661110" y="113233"/>
                      </a:lnTo>
                      <a:lnTo>
                        <a:pt x="662822" y="115079"/>
                      </a:lnTo>
                      <a:lnTo>
                        <a:pt x="664729" y="116426"/>
                      </a:lnTo>
                      <a:lnTo>
                        <a:pt x="666441" y="117058"/>
                      </a:lnTo>
                      <a:lnTo>
                        <a:pt x="667825" y="117264"/>
                      </a:lnTo>
                      <a:lnTo>
                        <a:pt x="669319" y="117204"/>
                      </a:lnTo>
                      <a:lnTo>
                        <a:pt x="673690" y="116341"/>
                      </a:lnTo>
                      <a:lnTo>
                        <a:pt x="675062" y="116196"/>
                      </a:lnTo>
                      <a:lnTo>
                        <a:pt x="676726" y="116281"/>
                      </a:lnTo>
                      <a:lnTo>
                        <a:pt x="678402" y="116609"/>
                      </a:lnTo>
                      <a:lnTo>
                        <a:pt x="689998" y="121369"/>
                      </a:lnTo>
                      <a:lnTo>
                        <a:pt x="691079" y="121599"/>
                      </a:lnTo>
                      <a:lnTo>
                        <a:pt x="691832" y="121563"/>
                      </a:lnTo>
                      <a:lnTo>
                        <a:pt x="692463" y="120968"/>
                      </a:lnTo>
                      <a:lnTo>
                        <a:pt x="692864" y="120300"/>
                      </a:lnTo>
                      <a:lnTo>
                        <a:pt x="693046" y="119122"/>
                      </a:lnTo>
                      <a:lnTo>
                        <a:pt x="692172" y="114763"/>
                      </a:lnTo>
                      <a:lnTo>
                        <a:pt x="692172" y="112444"/>
                      </a:lnTo>
                      <a:lnTo>
                        <a:pt x="692354" y="111254"/>
                      </a:lnTo>
                      <a:lnTo>
                        <a:pt x="692682" y="110476"/>
                      </a:lnTo>
                      <a:lnTo>
                        <a:pt x="693204" y="109711"/>
                      </a:lnTo>
                      <a:lnTo>
                        <a:pt x="694115" y="109104"/>
                      </a:lnTo>
                      <a:lnTo>
                        <a:pt x="695050" y="108740"/>
                      </a:lnTo>
                      <a:lnTo>
                        <a:pt x="696944" y="108194"/>
                      </a:lnTo>
                      <a:lnTo>
                        <a:pt x="698146" y="107671"/>
                      </a:lnTo>
                      <a:lnTo>
                        <a:pt x="700502" y="106178"/>
                      </a:lnTo>
                      <a:lnTo>
                        <a:pt x="701753" y="105753"/>
                      </a:lnTo>
                      <a:lnTo>
                        <a:pt x="703088" y="105716"/>
                      </a:lnTo>
                      <a:lnTo>
                        <a:pt x="704983" y="106639"/>
                      </a:lnTo>
                      <a:lnTo>
                        <a:pt x="705893" y="108072"/>
                      </a:lnTo>
                      <a:lnTo>
                        <a:pt x="706294" y="110173"/>
                      </a:lnTo>
                      <a:lnTo>
                        <a:pt x="706537" y="112298"/>
                      </a:lnTo>
                      <a:lnTo>
                        <a:pt x="707047" y="114593"/>
                      </a:lnTo>
                      <a:lnTo>
                        <a:pt x="710313" y="120907"/>
                      </a:lnTo>
                      <a:lnTo>
                        <a:pt x="710495" y="121939"/>
                      </a:lnTo>
                      <a:lnTo>
                        <a:pt x="710265" y="123481"/>
                      </a:lnTo>
                      <a:lnTo>
                        <a:pt x="709403" y="125437"/>
                      </a:lnTo>
                      <a:lnTo>
                        <a:pt x="708358" y="127306"/>
                      </a:lnTo>
                      <a:lnTo>
                        <a:pt x="706185" y="130124"/>
                      </a:lnTo>
                      <a:lnTo>
                        <a:pt x="700380" y="136147"/>
                      </a:lnTo>
                      <a:lnTo>
                        <a:pt x="699348" y="137592"/>
                      </a:lnTo>
                      <a:lnTo>
                        <a:pt x="698547" y="139170"/>
                      </a:lnTo>
                      <a:lnTo>
                        <a:pt x="698316" y="140688"/>
                      </a:lnTo>
                      <a:lnTo>
                        <a:pt x="698377" y="142267"/>
                      </a:lnTo>
                      <a:lnTo>
                        <a:pt x="698547" y="143991"/>
                      </a:lnTo>
                      <a:lnTo>
                        <a:pt x="698608" y="145740"/>
                      </a:lnTo>
                      <a:lnTo>
                        <a:pt x="698438" y="147670"/>
                      </a:lnTo>
                      <a:lnTo>
                        <a:pt x="697223" y="152977"/>
                      </a:lnTo>
                      <a:lnTo>
                        <a:pt x="697005" y="154932"/>
                      </a:lnTo>
                      <a:lnTo>
                        <a:pt x="697005" y="157397"/>
                      </a:lnTo>
                      <a:lnTo>
                        <a:pt x="697575" y="159922"/>
                      </a:lnTo>
                      <a:lnTo>
                        <a:pt x="698316" y="161392"/>
                      </a:lnTo>
                      <a:lnTo>
                        <a:pt x="699348" y="162193"/>
                      </a:lnTo>
                      <a:lnTo>
                        <a:pt x="700210" y="162169"/>
                      </a:lnTo>
                      <a:lnTo>
                        <a:pt x="701364" y="161428"/>
                      </a:lnTo>
                      <a:lnTo>
                        <a:pt x="706015" y="156680"/>
                      </a:lnTo>
                      <a:lnTo>
                        <a:pt x="707326" y="156110"/>
                      </a:lnTo>
                      <a:lnTo>
                        <a:pt x="708358" y="156280"/>
                      </a:lnTo>
                      <a:lnTo>
                        <a:pt x="710435" y="157457"/>
                      </a:lnTo>
                      <a:lnTo>
                        <a:pt x="711758" y="159522"/>
                      </a:lnTo>
                      <a:lnTo>
                        <a:pt x="712839" y="162242"/>
                      </a:lnTo>
                      <a:lnTo>
                        <a:pt x="714806" y="171932"/>
                      </a:lnTo>
                      <a:lnTo>
                        <a:pt x="713422" y="187633"/>
                      </a:lnTo>
                      <a:lnTo>
                        <a:pt x="711297" y="196157"/>
                      </a:lnTo>
                      <a:lnTo>
                        <a:pt x="712961" y="204256"/>
                      </a:lnTo>
                      <a:lnTo>
                        <a:pt x="715936" y="208761"/>
                      </a:lnTo>
                      <a:lnTo>
                        <a:pt x="722201" y="214044"/>
                      </a:lnTo>
                      <a:lnTo>
                        <a:pt x="724217" y="216363"/>
                      </a:lnTo>
                      <a:lnTo>
                        <a:pt x="725249" y="218779"/>
                      </a:lnTo>
                      <a:lnTo>
                        <a:pt x="725820" y="221111"/>
                      </a:lnTo>
                      <a:lnTo>
                        <a:pt x="726682" y="226672"/>
                      </a:lnTo>
                      <a:lnTo>
                        <a:pt x="727775" y="230607"/>
                      </a:lnTo>
                      <a:lnTo>
                        <a:pt x="728516" y="232416"/>
                      </a:lnTo>
                      <a:lnTo>
                        <a:pt x="729098" y="233363"/>
                      </a:lnTo>
                      <a:lnTo>
                        <a:pt x="729900" y="233994"/>
                      </a:lnTo>
                      <a:lnTo>
                        <a:pt x="730932" y="234480"/>
                      </a:lnTo>
                      <a:lnTo>
                        <a:pt x="732316" y="234941"/>
                      </a:lnTo>
                      <a:lnTo>
                        <a:pt x="733628" y="234893"/>
                      </a:lnTo>
                      <a:lnTo>
                        <a:pt x="734781" y="234456"/>
                      </a:lnTo>
                      <a:lnTo>
                        <a:pt x="735352" y="233788"/>
                      </a:lnTo>
                      <a:lnTo>
                        <a:pt x="735583" y="233363"/>
                      </a:lnTo>
                      <a:lnTo>
                        <a:pt x="735583" y="233108"/>
                      </a:lnTo>
                      <a:lnTo>
                        <a:pt x="735121" y="230036"/>
                      </a:lnTo>
                      <a:lnTo>
                        <a:pt x="735182" y="228979"/>
                      </a:lnTo>
                      <a:lnTo>
                        <a:pt x="735996" y="228312"/>
                      </a:lnTo>
                      <a:lnTo>
                        <a:pt x="737598" y="228579"/>
                      </a:lnTo>
                      <a:lnTo>
                        <a:pt x="743852" y="232501"/>
                      </a:lnTo>
                      <a:lnTo>
                        <a:pt x="745115" y="233108"/>
                      </a:lnTo>
                      <a:lnTo>
                        <a:pt x="748272" y="234079"/>
                      </a:lnTo>
                      <a:lnTo>
                        <a:pt x="749997" y="234347"/>
                      </a:lnTo>
                      <a:lnTo>
                        <a:pt x="751769" y="234347"/>
                      </a:lnTo>
                      <a:lnTo>
                        <a:pt x="753275" y="233824"/>
                      </a:lnTo>
                      <a:lnTo>
                        <a:pt x="754599" y="233193"/>
                      </a:lnTo>
                      <a:lnTo>
                        <a:pt x="754926" y="233072"/>
                      </a:lnTo>
                      <a:lnTo>
                        <a:pt x="756942" y="232877"/>
                      </a:lnTo>
                      <a:lnTo>
                        <a:pt x="758666" y="232914"/>
                      </a:lnTo>
                      <a:lnTo>
                        <a:pt x="760452" y="233108"/>
                      </a:lnTo>
                      <a:lnTo>
                        <a:pt x="762237" y="233679"/>
                      </a:lnTo>
                      <a:lnTo>
                        <a:pt x="767288" y="236034"/>
                      </a:lnTo>
                      <a:lnTo>
                        <a:pt x="768842" y="237443"/>
                      </a:lnTo>
                      <a:lnTo>
                        <a:pt x="769632" y="238997"/>
                      </a:lnTo>
                      <a:lnTo>
                        <a:pt x="769984" y="242956"/>
                      </a:lnTo>
                      <a:lnTo>
                        <a:pt x="770664" y="245275"/>
                      </a:lnTo>
                      <a:lnTo>
                        <a:pt x="772461" y="248906"/>
                      </a:lnTo>
                      <a:lnTo>
                        <a:pt x="773372" y="251225"/>
                      </a:lnTo>
                      <a:lnTo>
                        <a:pt x="773833" y="253605"/>
                      </a:lnTo>
                      <a:lnTo>
                        <a:pt x="773590" y="255767"/>
                      </a:lnTo>
                      <a:lnTo>
                        <a:pt x="772509" y="258062"/>
                      </a:lnTo>
                      <a:lnTo>
                        <a:pt x="770725" y="260442"/>
                      </a:lnTo>
                      <a:lnTo>
                        <a:pt x="768369" y="262822"/>
                      </a:lnTo>
                      <a:lnTo>
                        <a:pt x="761022" y="268019"/>
                      </a:lnTo>
                      <a:lnTo>
                        <a:pt x="759589" y="269245"/>
                      </a:lnTo>
                      <a:lnTo>
                        <a:pt x="757574" y="271698"/>
                      </a:lnTo>
                      <a:lnTo>
                        <a:pt x="756359" y="272755"/>
                      </a:lnTo>
                      <a:lnTo>
                        <a:pt x="753044" y="273908"/>
                      </a:lnTo>
                      <a:lnTo>
                        <a:pt x="751672" y="274685"/>
                      </a:lnTo>
                      <a:lnTo>
                        <a:pt x="750337" y="276009"/>
                      </a:lnTo>
                      <a:lnTo>
                        <a:pt x="749365" y="277466"/>
                      </a:lnTo>
                      <a:lnTo>
                        <a:pt x="748564" y="279251"/>
                      </a:lnTo>
                      <a:lnTo>
                        <a:pt x="745528" y="289233"/>
                      </a:lnTo>
                      <a:lnTo>
                        <a:pt x="744544" y="290908"/>
                      </a:lnTo>
                      <a:lnTo>
                        <a:pt x="743342" y="292220"/>
                      </a:lnTo>
                      <a:lnTo>
                        <a:pt x="733628" y="298911"/>
                      </a:lnTo>
                      <a:lnTo>
                        <a:pt x="729851" y="302639"/>
                      </a:lnTo>
                      <a:lnTo>
                        <a:pt x="728418" y="303452"/>
                      </a:lnTo>
                      <a:lnTo>
                        <a:pt x="726925" y="303999"/>
                      </a:lnTo>
                      <a:lnTo>
                        <a:pt x="724788" y="304253"/>
                      </a:lnTo>
                      <a:lnTo>
                        <a:pt x="719166" y="304023"/>
                      </a:lnTo>
                      <a:lnTo>
                        <a:pt x="718133" y="304363"/>
                      </a:lnTo>
                      <a:lnTo>
                        <a:pt x="715717" y="306463"/>
                      </a:lnTo>
                      <a:lnTo>
                        <a:pt x="712499" y="310313"/>
                      </a:lnTo>
                      <a:lnTo>
                        <a:pt x="711188" y="311381"/>
                      </a:lnTo>
                      <a:lnTo>
                        <a:pt x="710034" y="312122"/>
                      </a:lnTo>
                      <a:lnTo>
                        <a:pt x="706816" y="313591"/>
                      </a:lnTo>
                      <a:lnTo>
                        <a:pt x="706015" y="314162"/>
                      </a:lnTo>
                      <a:lnTo>
                        <a:pt x="705432" y="314903"/>
                      </a:lnTo>
                      <a:lnTo>
                        <a:pt x="704740" y="316105"/>
                      </a:lnTo>
                      <a:lnTo>
                        <a:pt x="704290" y="317271"/>
                      </a:lnTo>
                      <a:lnTo>
                        <a:pt x="703088" y="321253"/>
                      </a:lnTo>
                      <a:lnTo>
                        <a:pt x="701935" y="324095"/>
                      </a:lnTo>
                      <a:lnTo>
                        <a:pt x="701534" y="327422"/>
                      </a:lnTo>
                      <a:lnTo>
                        <a:pt x="702056" y="328685"/>
                      </a:lnTo>
                      <a:lnTo>
                        <a:pt x="705784" y="335145"/>
                      </a:lnTo>
                      <a:lnTo>
                        <a:pt x="706598" y="337962"/>
                      </a:lnTo>
                      <a:lnTo>
                        <a:pt x="706986" y="341374"/>
                      </a:lnTo>
                      <a:lnTo>
                        <a:pt x="706865" y="343584"/>
                      </a:lnTo>
                      <a:lnTo>
                        <a:pt x="706537" y="345345"/>
                      </a:lnTo>
                      <a:lnTo>
                        <a:pt x="706124" y="346778"/>
                      </a:lnTo>
                      <a:lnTo>
                        <a:pt x="705493" y="348211"/>
                      </a:lnTo>
                      <a:lnTo>
                        <a:pt x="704582" y="349535"/>
                      </a:lnTo>
                      <a:lnTo>
                        <a:pt x="699239" y="355752"/>
                      </a:lnTo>
                      <a:lnTo>
                        <a:pt x="697333" y="357245"/>
                      </a:lnTo>
                      <a:lnTo>
                        <a:pt x="694758" y="358375"/>
                      </a:lnTo>
                      <a:lnTo>
                        <a:pt x="692233" y="358921"/>
                      </a:lnTo>
                      <a:lnTo>
                        <a:pt x="684485" y="359637"/>
                      </a:lnTo>
                      <a:lnTo>
                        <a:pt x="677819" y="361702"/>
                      </a:lnTo>
                      <a:lnTo>
                        <a:pt x="673168" y="364859"/>
                      </a:lnTo>
                      <a:lnTo>
                        <a:pt x="657492" y="378702"/>
                      </a:lnTo>
                      <a:lnTo>
                        <a:pt x="655306" y="380135"/>
                      </a:lnTo>
                      <a:lnTo>
                        <a:pt x="644571" y="384069"/>
                      </a:lnTo>
                      <a:lnTo>
                        <a:pt x="640030" y="386376"/>
                      </a:lnTo>
                      <a:lnTo>
                        <a:pt x="636934" y="388368"/>
                      </a:lnTo>
                      <a:lnTo>
                        <a:pt x="633485" y="391743"/>
                      </a:lnTo>
                      <a:lnTo>
                        <a:pt x="624414" y="404870"/>
                      </a:lnTo>
                      <a:lnTo>
                        <a:pt x="622921" y="408124"/>
                      </a:lnTo>
                      <a:lnTo>
                        <a:pt x="622398" y="410346"/>
                      </a:lnTo>
                      <a:lnTo>
                        <a:pt x="623212" y="411682"/>
                      </a:lnTo>
                      <a:lnTo>
                        <a:pt x="625167" y="413831"/>
                      </a:lnTo>
                      <a:lnTo>
                        <a:pt x="626017" y="414633"/>
                      </a:lnTo>
                      <a:lnTo>
                        <a:pt x="626879" y="415726"/>
                      </a:lnTo>
                      <a:lnTo>
                        <a:pt x="627292" y="416988"/>
                      </a:lnTo>
                      <a:lnTo>
                        <a:pt x="627061" y="418859"/>
                      </a:lnTo>
                      <a:lnTo>
                        <a:pt x="625908" y="420097"/>
                      </a:lnTo>
                      <a:lnTo>
                        <a:pt x="624414" y="420971"/>
                      </a:lnTo>
                      <a:lnTo>
                        <a:pt x="622338" y="421651"/>
                      </a:lnTo>
                      <a:lnTo>
                        <a:pt x="619144" y="423424"/>
                      </a:lnTo>
                      <a:lnTo>
                        <a:pt x="617930" y="424736"/>
                      </a:lnTo>
                      <a:lnTo>
                        <a:pt x="617129" y="426351"/>
                      </a:lnTo>
                      <a:lnTo>
                        <a:pt x="616206" y="433721"/>
                      </a:lnTo>
                      <a:lnTo>
                        <a:pt x="616157" y="435652"/>
                      </a:lnTo>
                      <a:lnTo>
                        <a:pt x="616618" y="437449"/>
                      </a:lnTo>
                      <a:lnTo>
                        <a:pt x="617748" y="438907"/>
                      </a:lnTo>
                      <a:lnTo>
                        <a:pt x="619411" y="440254"/>
                      </a:lnTo>
                      <a:lnTo>
                        <a:pt x="624815" y="443302"/>
                      </a:lnTo>
                      <a:lnTo>
                        <a:pt x="626199" y="444456"/>
                      </a:lnTo>
                      <a:lnTo>
                        <a:pt x="627001" y="445451"/>
                      </a:lnTo>
                      <a:lnTo>
                        <a:pt x="627183" y="446775"/>
                      </a:lnTo>
                      <a:lnTo>
                        <a:pt x="626879" y="448499"/>
                      </a:lnTo>
                      <a:lnTo>
                        <a:pt x="625276" y="453211"/>
                      </a:lnTo>
                      <a:lnTo>
                        <a:pt x="624936" y="454911"/>
                      </a:lnTo>
                      <a:lnTo>
                        <a:pt x="625106" y="455967"/>
                      </a:lnTo>
                      <a:lnTo>
                        <a:pt x="625908" y="459137"/>
                      </a:lnTo>
                      <a:lnTo>
                        <a:pt x="624475" y="462816"/>
                      </a:lnTo>
                      <a:lnTo>
                        <a:pt x="623674" y="463120"/>
                      </a:lnTo>
                      <a:lnTo>
                        <a:pt x="622459" y="463326"/>
                      </a:lnTo>
                      <a:lnTo>
                        <a:pt x="618962" y="463095"/>
                      </a:lnTo>
                      <a:lnTo>
                        <a:pt x="617930" y="463727"/>
                      </a:lnTo>
                      <a:lnTo>
                        <a:pt x="617469" y="464455"/>
                      </a:lnTo>
                      <a:lnTo>
                        <a:pt x="617347" y="467588"/>
                      </a:lnTo>
                      <a:lnTo>
                        <a:pt x="616667" y="469737"/>
                      </a:lnTo>
                      <a:lnTo>
                        <a:pt x="615866" y="470430"/>
                      </a:lnTo>
                      <a:lnTo>
                        <a:pt x="614943" y="470345"/>
                      </a:lnTo>
                      <a:lnTo>
                        <a:pt x="613850" y="469337"/>
                      </a:lnTo>
                      <a:lnTo>
                        <a:pt x="612696" y="468487"/>
                      </a:lnTo>
                      <a:lnTo>
                        <a:pt x="611203" y="468037"/>
                      </a:lnTo>
                      <a:lnTo>
                        <a:pt x="608738" y="468292"/>
                      </a:lnTo>
                      <a:lnTo>
                        <a:pt x="607535" y="469689"/>
                      </a:lnTo>
                      <a:lnTo>
                        <a:pt x="606965" y="471559"/>
                      </a:lnTo>
                      <a:lnTo>
                        <a:pt x="606843" y="476355"/>
                      </a:lnTo>
                      <a:lnTo>
                        <a:pt x="606054" y="479913"/>
                      </a:lnTo>
                      <a:lnTo>
                        <a:pt x="603286" y="485693"/>
                      </a:lnTo>
                      <a:lnTo>
                        <a:pt x="586006" y="513488"/>
                      </a:lnTo>
                      <a:lnTo>
                        <a:pt x="584330" y="516840"/>
                      </a:lnTo>
                      <a:lnTo>
                        <a:pt x="584221" y="518916"/>
                      </a:lnTo>
                      <a:lnTo>
                        <a:pt x="582837" y="524708"/>
                      </a:lnTo>
                      <a:lnTo>
                        <a:pt x="581404" y="528813"/>
                      </a:lnTo>
                      <a:lnTo>
                        <a:pt x="581173" y="531035"/>
                      </a:lnTo>
                      <a:lnTo>
                        <a:pt x="581343" y="535783"/>
                      </a:lnTo>
                      <a:lnTo>
                        <a:pt x="581865" y="537811"/>
                      </a:lnTo>
                      <a:lnTo>
                        <a:pt x="582727" y="539584"/>
                      </a:lnTo>
                      <a:lnTo>
                        <a:pt x="583990" y="541174"/>
                      </a:lnTo>
                      <a:lnTo>
                        <a:pt x="590365" y="546991"/>
                      </a:lnTo>
                      <a:lnTo>
                        <a:pt x="591458" y="548375"/>
                      </a:lnTo>
                      <a:lnTo>
                        <a:pt x="592150" y="550354"/>
                      </a:lnTo>
                      <a:lnTo>
                        <a:pt x="592660" y="552771"/>
                      </a:lnTo>
                      <a:lnTo>
                        <a:pt x="592843" y="556559"/>
                      </a:lnTo>
                      <a:lnTo>
                        <a:pt x="592260" y="558806"/>
                      </a:lnTo>
                      <a:lnTo>
                        <a:pt x="591227" y="560215"/>
                      </a:lnTo>
                      <a:lnTo>
                        <a:pt x="589503" y="560724"/>
                      </a:lnTo>
                      <a:lnTo>
                        <a:pt x="587670" y="560700"/>
                      </a:lnTo>
                      <a:lnTo>
                        <a:pt x="586176" y="560384"/>
                      </a:lnTo>
                      <a:lnTo>
                        <a:pt x="584622" y="559899"/>
                      </a:lnTo>
                      <a:lnTo>
                        <a:pt x="576474" y="556401"/>
                      </a:lnTo>
                      <a:lnTo>
                        <a:pt x="574337" y="556219"/>
                      </a:lnTo>
                      <a:lnTo>
                        <a:pt x="572394" y="556377"/>
                      </a:lnTo>
                      <a:lnTo>
                        <a:pt x="570961" y="557810"/>
                      </a:lnTo>
                      <a:lnTo>
                        <a:pt x="569868" y="559474"/>
                      </a:lnTo>
                      <a:lnTo>
                        <a:pt x="568836" y="561489"/>
                      </a:lnTo>
                      <a:lnTo>
                        <a:pt x="568192" y="563214"/>
                      </a:lnTo>
                      <a:lnTo>
                        <a:pt x="567852" y="564671"/>
                      </a:lnTo>
                      <a:lnTo>
                        <a:pt x="567852" y="565655"/>
                      </a:lnTo>
                      <a:lnTo>
                        <a:pt x="568035" y="566201"/>
                      </a:lnTo>
                      <a:lnTo>
                        <a:pt x="568545" y="566857"/>
                      </a:lnTo>
                      <a:lnTo>
                        <a:pt x="568654" y="567974"/>
                      </a:lnTo>
                      <a:lnTo>
                        <a:pt x="568192" y="569819"/>
                      </a:lnTo>
                      <a:lnTo>
                        <a:pt x="563894" y="575478"/>
                      </a:lnTo>
                      <a:lnTo>
                        <a:pt x="562570" y="577785"/>
                      </a:lnTo>
                      <a:lnTo>
                        <a:pt x="557167" y="592928"/>
                      </a:lnTo>
                      <a:lnTo>
                        <a:pt x="554884" y="596631"/>
                      </a:lnTo>
                      <a:lnTo>
                        <a:pt x="552577" y="599303"/>
                      </a:lnTo>
                      <a:lnTo>
                        <a:pt x="549322" y="602059"/>
                      </a:lnTo>
                      <a:lnTo>
                        <a:pt x="546894" y="603103"/>
                      </a:lnTo>
                      <a:lnTo>
                        <a:pt x="544198" y="603650"/>
                      </a:lnTo>
                      <a:lnTo>
                        <a:pt x="534617" y="604305"/>
                      </a:lnTo>
                      <a:lnTo>
                        <a:pt x="533002" y="603856"/>
                      </a:lnTo>
                      <a:lnTo>
                        <a:pt x="531727" y="603103"/>
                      </a:lnTo>
                      <a:lnTo>
                        <a:pt x="528983" y="600140"/>
                      </a:lnTo>
                      <a:lnTo>
                        <a:pt x="527319" y="599023"/>
                      </a:lnTo>
                      <a:lnTo>
                        <a:pt x="525643" y="598355"/>
                      </a:lnTo>
                      <a:lnTo>
                        <a:pt x="523531" y="597833"/>
                      </a:lnTo>
                      <a:lnTo>
                        <a:pt x="521636" y="597141"/>
                      </a:lnTo>
                      <a:lnTo>
                        <a:pt x="520252" y="596231"/>
                      </a:lnTo>
                      <a:lnTo>
                        <a:pt x="519220" y="595223"/>
                      </a:lnTo>
                      <a:lnTo>
                        <a:pt x="517908" y="593668"/>
                      </a:lnTo>
                      <a:lnTo>
                        <a:pt x="515662" y="592211"/>
                      </a:lnTo>
                      <a:lnTo>
                        <a:pt x="513306" y="591750"/>
                      </a:lnTo>
                      <a:lnTo>
                        <a:pt x="494011" y="595004"/>
                      </a:lnTo>
                      <a:lnTo>
                        <a:pt x="490283" y="595150"/>
                      </a:lnTo>
                      <a:lnTo>
                        <a:pt x="486652" y="595817"/>
                      </a:lnTo>
                      <a:lnTo>
                        <a:pt x="484418" y="596570"/>
                      </a:lnTo>
                      <a:lnTo>
                        <a:pt x="482014" y="597882"/>
                      </a:lnTo>
                      <a:lnTo>
                        <a:pt x="480690" y="598343"/>
                      </a:lnTo>
                      <a:lnTo>
                        <a:pt x="479136" y="598343"/>
                      </a:lnTo>
                      <a:lnTo>
                        <a:pt x="477764" y="597627"/>
                      </a:lnTo>
                      <a:lnTo>
                        <a:pt x="476732" y="596558"/>
                      </a:lnTo>
                      <a:lnTo>
                        <a:pt x="475238" y="595781"/>
                      </a:lnTo>
                      <a:lnTo>
                        <a:pt x="473563" y="595393"/>
                      </a:lnTo>
                      <a:lnTo>
                        <a:pt x="457728" y="596267"/>
                      </a:lnTo>
                      <a:lnTo>
                        <a:pt x="455603" y="596850"/>
                      </a:lnTo>
                      <a:lnTo>
                        <a:pt x="454170" y="597542"/>
                      </a:lnTo>
                      <a:lnTo>
                        <a:pt x="453357" y="598453"/>
                      </a:lnTo>
                      <a:lnTo>
                        <a:pt x="452956" y="599230"/>
                      </a:lnTo>
                      <a:lnTo>
                        <a:pt x="453017" y="600055"/>
                      </a:lnTo>
                      <a:lnTo>
                        <a:pt x="453770" y="602545"/>
                      </a:lnTo>
                      <a:lnTo>
                        <a:pt x="453247" y="606321"/>
                      </a:lnTo>
                      <a:lnTo>
                        <a:pt x="450090" y="610887"/>
                      </a:lnTo>
                      <a:lnTo>
                        <a:pt x="446229" y="622022"/>
                      </a:lnTo>
                      <a:lnTo>
                        <a:pt x="437850" y="635658"/>
                      </a:lnTo>
                      <a:lnTo>
                        <a:pt x="435203" y="638622"/>
                      </a:lnTo>
                      <a:lnTo>
                        <a:pt x="433321" y="639860"/>
                      </a:lnTo>
                      <a:lnTo>
                        <a:pt x="431427" y="640030"/>
                      </a:lnTo>
                      <a:lnTo>
                        <a:pt x="430394" y="640552"/>
                      </a:lnTo>
                      <a:lnTo>
                        <a:pt x="428961" y="641706"/>
                      </a:lnTo>
                      <a:lnTo>
                        <a:pt x="425914" y="644923"/>
                      </a:lnTo>
                      <a:lnTo>
                        <a:pt x="423898" y="647874"/>
                      </a:lnTo>
                      <a:lnTo>
                        <a:pt x="421141" y="652780"/>
                      </a:lnTo>
                      <a:lnTo>
                        <a:pt x="419247" y="655075"/>
                      </a:lnTo>
                      <a:lnTo>
                        <a:pt x="417474" y="656738"/>
                      </a:lnTo>
                      <a:lnTo>
                        <a:pt x="414596" y="658171"/>
                      </a:lnTo>
                      <a:lnTo>
                        <a:pt x="411731" y="659155"/>
                      </a:lnTo>
                      <a:lnTo>
                        <a:pt x="410407" y="659301"/>
                      </a:lnTo>
                      <a:lnTo>
                        <a:pt x="409484" y="659022"/>
                      </a:lnTo>
                      <a:lnTo>
                        <a:pt x="408853" y="658354"/>
                      </a:lnTo>
                      <a:lnTo>
                        <a:pt x="408391" y="657285"/>
                      </a:lnTo>
                      <a:lnTo>
                        <a:pt x="408391" y="656253"/>
                      </a:lnTo>
                      <a:lnTo>
                        <a:pt x="408695" y="653910"/>
                      </a:lnTo>
                      <a:lnTo>
                        <a:pt x="408695" y="653132"/>
                      </a:lnTo>
                      <a:lnTo>
                        <a:pt x="408331" y="652416"/>
                      </a:lnTo>
                      <a:lnTo>
                        <a:pt x="407663" y="651748"/>
                      </a:lnTo>
                      <a:lnTo>
                        <a:pt x="406497" y="651201"/>
                      </a:lnTo>
                      <a:lnTo>
                        <a:pt x="400875" y="649793"/>
                      </a:lnTo>
                      <a:lnTo>
                        <a:pt x="399891" y="649793"/>
                      </a:lnTo>
                      <a:lnTo>
                        <a:pt x="398628" y="650169"/>
                      </a:lnTo>
                      <a:lnTo>
                        <a:pt x="397888" y="650886"/>
                      </a:lnTo>
                      <a:lnTo>
                        <a:pt x="397317" y="651748"/>
                      </a:lnTo>
                      <a:lnTo>
                        <a:pt x="396795" y="652841"/>
                      </a:lnTo>
                      <a:lnTo>
                        <a:pt x="396576" y="654018"/>
                      </a:lnTo>
                      <a:lnTo>
                        <a:pt x="396977" y="676131"/>
                      </a:lnTo>
                      <a:lnTo>
                        <a:pt x="397426" y="678195"/>
                      </a:lnTo>
                      <a:lnTo>
                        <a:pt x="398118" y="680296"/>
                      </a:lnTo>
                      <a:lnTo>
                        <a:pt x="400013" y="684364"/>
                      </a:lnTo>
                      <a:lnTo>
                        <a:pt x="400693" y="686525"/>
                      </a:lnTo>
                      <a:lnTo>
                        <a:pt x="401276" y="688966"/>
                      </a:lnTo>
                      <a:lnTo>
                        <a:pt x="401385" y="691516"/>
                      </a:lnTo>
                      <a:lnTo>
                        <a:pt x="401154" y="693896"/>
                      </a:lnTo>
                      <a:lnTo>
                        <a:pt x="400474" y="697345"/>
                      </a:lnTo>
                      <a:lnTo>
                        <a:pt x="399442" y="700247"/>
                      </a:lnTo>
                      <a:lnTo>
                        <a:pt x="396224" y="713592"/>
                      </a:lnTo>
                      <a:lnTo>
                        <a:pt x="396224" y="716324"/>
                      </a:lnTo>
                      <a:lnTo>
                        <a:pt x="396856" y="718886"/>
                      </a:lnTo>
                      <a:lnTo>
                        <a:pt x="399782" y="724654"/>
                      </a:lnTo>
                      <a:lnTo>
                        <a:pt x="399891" y="724751"/>
                      </a:lnTo>
                      <a:lnTo>
                        <a:pt x="400183" y="724776"/>
                      </a:lnTo>
                      <a:lnTo>
                        <a:pt x="400644" y="724630"/>
                      </a:lnTo>
                      <a:lnTo>
                        <a:pt x="401154" y="724168"/>
                      </a:lnTo>
                      <a:lnTo>
                        <a:pt x="401628" y="723658"/>
                      </a:lnTo>
                      <a:lnTo>
                        <a:pt x="402308" y="723282"/>
                      </a:lnTo>
                      <a:lnTo>
                        <a:pt x="403000" y="723367"/>
                      </a:lnTo>
                      <a:lnTo>
                        <a:pt x="403862" y="724436"/>
                      </a:lnTo>
                      <a:lnTo>
                        <a:pt x="403923" y="724751"/>
                      </a:lnTo>
                      <a:lnTo>
                        <a:pt x="404153" y="727763"/>
                      </a:lnTo>
                      <a:lnTo>
                        <a:pt x="405016" y="731236"/>
                      </a:lnTo>
                      <a:lnTo>
                        <a:pt x="405805" y="732814"/>
                      </a:lnTo>
                      <a:lnTo>
                        <a:pt x="406788" y="733761"/>
                      </a:lnTo>
                      <a:lnTo>
                        <a:pt x="407821" y="733761"/>
                      </a:lnTo>
                      <a:lnTo>
                        <a:pt x="408792" y="733118"/>
                      </a:lnTo>
                      <a:lnTo>
                        <a:pt x="409666" y="732401"/>
                      </a:lnTo>
                      <a:lnTo>
                        <a:pt x="410759" y="731940"/>
                      </a:lnTo>
                      <a:lnTo>
                        <a:pt x="411269" y="734077"/>
                      </a:lnTo>
                      <a:lnTo>
                        <a:pt x="411561" y="738691"/>
                      </a:lnTo>
                      <a:lnTo>
                        <a:pt x="409606" y="754829"/>
                      </a:lnTo>
                      <a:lnTo>
                        <a:pt x="409606" y="758472"/>
                      </a:lnTo>
                      <a:lnTo>
                        <a:pt x="410128" y="759735"/>
                      </a:lnTo>
                      <a:lnTo>
                        <a:pt x="410978" y="760913"/>
                      </a:lnTo>
                      <a:lnTo>
                        <a:pt x="411779" y="762504"/>
                      </a:lnTo>
                      <a:lnTo>
                        <a:pt x="412532" y="764871"/>
                      </a:lnTo>
                      <a:lnTo>
                        <a:pt x="412702" y="775157"/>
                      </a:lnTo>
                      <a:lnTo>
                        <a:pt x="414135" y="783487"/>
                      </a:lnTo>
                      <a:lnTo>
                        <a:pt x="414135" y="788368"/>
                      </a:lnTo>
                      <a:lnTo>
                        <a:pt x="413746" y="791234"/>
                      </a:lnTo>
                      <a:lnTo>
                        <a:pt x="409946" y="804081"/>
                      </a:lnTo>
                      <a:lnTo>
                        <a:pt x="409763" y="807263"/>
                      </a:lnTo>
                      <a:lnTo>
                        <a:pt x="410346" y="809217"/>
                      </a:lnTo>
                      <a:lnTo>
                        <a:pt x="419539" y="813346"/>
                      </a:lnTo>
                      <a:lnTo>
                        <a:pt x="420692" y="814208"/>
                      </a:lnTo>
                      <a:lnTo>
                        <a:pt x="423667" y="817013"/>
                      </a:lnTo>
                      <a:lnTo>
                        <a:pt x="424468" y="817475"/>
                      </a:lnTo>
                      <a:lnTo>
                        <a:pt x="425391" y="817790"/>
                      </a:lnTo>
                      <a:lnTo>
                        <a:pt x="428039" y="818021"/>
                      </a:lnTo>
                      <a:lnTo>
                        <a:pt x="435616" y="817499"/>
                      </a:lnTo>
                      <a:lnTo>
                        <a:pt x="437061" y="817596"/>
                      </a:lnTo>
                      <a:lnTo>
                        <a:pt x="438554" y="817924"/>
                      </a:lnTo>
                      <a:lnTo>
                        <a:pt x="439805" y="818543"/>
                      </a:lnTo>
                      <a:lnTo>
                        <a:pt x="440898" y="819417"/>
                      </a:lnTo>
                      <a:lnTo>
                        <a:pt x="443084" y="822235"/>
                      </a:lnTo>
                      <a:lnTo>
                        <a:pt x="443885" y="823061"/>
                      </a:lnTo>
                      <a:lnTo>
                        <a:pt x="444687" y="823668"/>
                      </a:lnTo>
                      <a:lnTo>
                        <a:pt x="445670" y="824153"/>
                      </a:lnTo>
                      <a:lnTo>
                        <a:pt x="447042" y="824578"/>
                      </a:lnTo>
                      <a:lnTo>
                        <a:pt x="448366" y="824408"/>
                      </a:lnTo>
                      <a:lnTo>
                        <a:pt x="449908" y="823825"/>
                      </a:lnTo>
                      <a:lnTo>
                        <a:pt x="451924" y="822453"/>
                      </a:lnTo>
                      <a:lnTo>
                        <a:pt x="452215" y="822198"/>
                      </a:lnTo>
                      <a:lnTo>
                        <a:pt x="453065" y="821712"/>
                      </a:lnTo>
                      <a:lnTo>
                        <a:pt x="453867" y="821457"/>
                      </a:lnTo>
                      <a:lnTo>
                        <a:pt x="454972" y="821288"/>
                      </a:lnTo>
                      <a:lnTo>
                        <a:pt x="457206" y="821312"/>
                      </a:lnTo>
                      <a:lnTo>
                        <a:pt x="461504" y="821798"/>
                      </a:lnTo>
                      <a:lnTo>
                        <a:pt x="462318" y="822016"/>
                      </a:lnTo>
                      <a:lnTo>
                        <a:pt x="462780" y="822186"/>
                      </a:lnTo>
                      <a:lnTo>
                        <a:pt x="462998" y="822648"/>
                      </a:lnTo>
                      <a:lnTo>
                        <a:pt x="463812" y="826181"/>
                      </a:lnTo>
                      <a:lnTo>
                        <a:pt x="463872" y="828367"/>
                      </a:lnTo>
                      <a:lnTo>
                        <a:pt x="463520" y="831063"/>
                      </a:lnTo>
                      <a:lnTo>
                        <a:pt x="460995" y="840631"/>
                      </a:lnTo>
                      <a:lnTo>
                        <a:pt x="460824" y="842696"/>
                      </a:lnTo>
                      <a:lnTo>
                        <a:pt x="460995" y="844214"/>
                      </a:lnTo>
                      <a:lnTo>
                        <a:pt x="461504" y="845161"/>
                      </a:lnTo>
                      <a:lnTo>
                        <a:pt x="462027" y="845962"/>
                      </a:lnTo>
                      <a:lnTo>
                        <a:pt x="465415" y="849034"/>
                      </a:lnTo>
                      <a:lnTo>
                        <a:pt x="466228" y="850467"/>
                      </a:lnTo>
                      <a:lnTo>
                        <a:pt x="466107" y="851633"/>
                      </a:lnTo>
                      <a:lnTo>
                        <a:pt x="465184" y="852884"/>
                      </a:lnTo>
                      <a:lnTo>
                        <a:pt x="462148" y="855688"/>
                      </a:lnTo>
                      <a:lnTo>
                        <a:pt x="460412" y="856879"/>
                      </a:lnTo>
                      <a:lnTo>
                        <a:pt x="456344" y="858226"/>
                      </a:lnTo>
                      <a:lnTo>
                        <a:pt x="454389" y="859101"/>
                      </a:lnTo>
                      <a:lnTo>
                        <a:pt x="452312" y="860291"/>
                      </a:lnTo>
                      <a:lnTo>
                        <a:pt x="445148" y="866229"/>
                      </a:lnTo>
                      <a:lnTo>
                        <a:pt x="443606" y="867309"/>
                      </a:lnTo>
                      <a:lnTo>
                        <a:pt x="440315" y="867528"/>
                      </a:lnTo>
                      <a:lnTo>
                        <a:pt x="440096" y="866945"/>
                      </a:lnTo>
                      <a:lnTo>
                        <a:pt x="439927" y="866180"/>
                      </a:lnTo>
                      <a:lnTo>
                        <a:pt x="440096" y="864808"/>
                      </a:lnTo>
                      <a:lnTo>
                        <a:pt x="440145" y="863084"/>
                      </a:lnTo>
                      <a:lnTo>
                        <a:pt x="439805" y="860315"/>
                      </a:lnTo>
                      <a:lnTo>
                        <a:pt x="439866" y="858421"/>
                      </a:lnTo>
                      <a:lnTo>
                        <a:pt x="440267" y="856441"/>
                      </a:lnTo>
                      <a:lnTo>
                        <a:pt x="440789" y="854753"/>
                      </a:lnTo>
                      <a:lnTo>
                        <a:pt x="441019" y="852884"/>
                      </a:lnTo>
                      <a:lnTo>
                        <a:pt x="440048" y="852058"/>
                      </a:lnTo>
                      <a:lnTo>
                        <a:pt x="438312" y="851694"/>
                      </a:lnTo>
                      <a:lnTo>
                        <a:pt x="431074" y="851475"/>
                      </a:lnTo>
                      <a:lnTo>
                        <a:pt x="428840" y="850686"/>
                      </a:lnTo>
                      <a:lnTo>
                        <a:pt x="424068" y="848063"/>
                      </a:lnTo>
                      <a:lnTo>
                        <a:pt x="421664" y="847176"/>
                      </a:lnTo>
                      <a:lnTo>
                        <a:pt x="403923" y="844541"/>
                      </a:lnTo>
                      <a:lnTo>
                        <a:pt x="401907" y="844651"/>
                      </a:lnTo>
                      <a:lnTo>
                        <a:pt x="400134" y="844930"/>
                      </a:lnTo>
                      <a:lnTo>
                        <a:pt x="398689" y="845598"/>
                      </a:lnTo>
                      <a:lnTo>
                        <a:pt x="397487" y="846363"/>
                      </a:lnTo>
                      <a:lnTo>
                        <a:pt x="396455" y="847346"/>
                      </a:lnTo>
                      <a:lnTo>
                        <a:pt x="395823" y="848172"/>
                      </a:lnTo>
                      <a:lnTo>
                        <a:pt x="394961" y="849484"/>
                      </a:lnTo>
                      <a:lnTo>
                        <a:pt x="392314" y="854632"/>
                      </a:lnTo>
                      <a:lnTo>
                        <a:pt x="391233" y="856199"/>
                      </a:lnTo>
                      <a:lnTo>
                        <a:pt x="389618" y="856757"/>
                      </a:lnTo>
                      <a:lnTo>
                        <a:pt x="388307" y="856150"/>
                      </a:lnTo>
                      <a:lnTo>
                        <a:pt x="386874" y="854256"/>
                      </a:lnTo>
                      <a:lnTo>
                        <a:pt x="375265" y="830346"/>
                      </a:lnTo>
                      <a:lnTo>
                        <a:pt x="373262" y="827566"/>
                      </a:lnTo>
                      <a:lnTo>
                        <a:pt x="371817" y="826436"/>
                      </a:lnTo>
                      <a:lnTo>
                        <a:pt x="370615" y="826133"/>
                      </a:lnTo>
                      <a:lnTo>
                        <a:pt x="366365" y="826825"/>
                      </a:lnTo>
                      <a:lnTo>
                        <a:pt x="364470" y="826764"/>
                      </a:lnTo>
                      <a:lnTo>
                        <a:pt x="363317" y="826303"/>
                      </a:lnTo>
                      <a:lnTo>
                        <a:pt x="362515" y="825647"/>
                      </a:lnTo>
                      <a:lnTo>
                        <a:pt x="362175" y="824955"/>
                      </a:lnTo>
                      <a:lnTo>
                        <a:pt x="361763" y="823947"/>
                      </a:lnTo>
                      <a:lnTo>
                        <a:pt x="361544" y="823109"/>
                      </a:lnTo>
                      <a:lnTo>
                        <a:pt x="361192" y="822283"/>
                      </a:lnTo>
                      <a:lnTo>
                        <a:pt x="360330" y="821190"/>
                      </a:lnTo>
                      <a:lnTo>
                        <a:pt x="358897" y="819818"/>
                      </a:lnTo>
                      <a:lnTo>
                        <a:pt x="356201" y="817839"/>
                      </a:lnTo>
                      <a:lnTo>
                        <a:pt x="350457" y="812411"/>
                      </a:lnTo>
                      <a:lnTo>
                        <a:pt x="349425" y="811549"/>
                      </a:lnTo>
                      <a:lnTo>
                        <a:pt x="348393" y="811075"/>
                      </a:lnTo>
                      <a:lnTo>
                        <a:pt x="347640" y="810918"/>
                      </a:lnTo>
                      <a:lnTo>
                        <a:pt x="346499" y="810796"/>
                      </a:lnTo>
                      <a:lnTo>
                        <a:pt x="345697" y="811027"/>
                      </a:lnTo>
                      <a:lnTo>
                        <a:pt x="344775" y="811719"/>
                      </a:lnTo>
                      <a:lnTo>
                        <a:pt x="343924" y="812909"/>
                      </a:lnTo>
                      <a:lnTo>
                        <a:pt x="343281" y="814026"/>
                      </a:lnTo>
                      <a:lnTo>
                        <a:pt x="341727" y="817681"/>
                      </a:lnTo>
                      <a:lnTo>
                        <a:pt x="341035" y="818737"/>
                      </a:lnTo>
                      <a:lnTo>
                        <a:pt x="339942" y="819490"/>
                      </a:lnTo>
                      <a:lnTo>
                        <a:pt x="338569" y="819928"/>
                      </a:lnTo>
                      <a:lnTo>
                        <a:pt x="336505" y="819952"/>
                      </a:lnTo>
                      <a:lnTo>
                        <a:pt x="335461" y="818944"/>
                      </a:lnTo>
                      <a:lnTo>
                        <a:pt x="335242" y="817705"/>
                      </a:lnTo>
                      <a:lnTo>
                        <a:pt x="335364" y="816467"/>
                      </a:lnTo>
                      <a:lnTo>
                        <a:pt x="335072" y="815253"/>
                      </a:lnTo>
                      <a:lnTo>
                        <a:pt x="334149" y="813528"/>
                      </a:lnTo>
                      <a:lnTo>
                        <a:pt x="325018" y="803158"/>
                      </a:lnTo>
                      <a:lnTo>
                        <a:pt x="323415" y="801944"/>
                      </a:lnTo>
                      <a:lnTo>
                        <a:pt x="322091" y="801604"/>
                      </a:lnTo>
                      <a:lnTo>
                        <a:pt x="321120" y="801786"/>
                      </a:lnTo>
                      <a:lnTo>
                        <a:pt x="319274" y="803122"/>
                      </a:lnTo>
                      <a:lnTo>
                        <a:pt x="313191" y="810128"/>
                      </a:lnTo>
                      <a:lnTo>
                        <a:pt x="309693" y="812229"/>
                      </a:lnTo>
                      <a:lnTo>
                        <a:pt x="307617" y="813103"/>
                      </a:lnTo>
                      <a:lnTo>
                        <a:pt x="306184" y="814985"/>
                      </a:lnTo>
                      <a:lnTo>
                        <a:pt x="298546" y="828877"/>
                      </a:lnTo>
                      <a:lnTo>
                        <a:pt x="297805" y="830796"/>
                      </a:lnTo>
                      <a:lnTo>
                        <a:pt x="297344" y="832836"/>
                      </a:lnTo>
                      <a:lnTo>
                        <a:pt x="297453" y="834863"/>
                      </a:lnTo>
                      <a:lnTo>
                        <a:pt x="298145" y="836952"/>
                      </a:lnTo>
                      <a:lnTo>
                        <a:pt x="299457" y="839138"/>
                      </a:lnTo>
                      <a:lnTo>
                        <a:pt x="301133" y="840971"/>
                      </a:lnTo>
                      <a:lnTo>
                        <a:pt x="303379" y="842744"/>
                      </a:lnTo>
                      <a:lnTo>
                        <a:pt x="319165" y="851608"/>
                      </a:lnTo>
                      <a:lnTo>
                        <a:pt x="320659" y="853054"/>
                      </a:lnTo>
                      <a:lnTo>
                        <a:pt x="321800" y="854936"/>
                      </a:lnTo>
                      <a:lnTo>
                        <a:pt x="323876" y="860412"/>
                      </a:lnTo>
                      <a:lnTo>
                        <a:pt x="324909" y="861906"/>
                      </a:lnTo>
                      <a:lnTo>
                        <a:pt x="326572" y="862913"/>
                      </a:lnTo>
                      <a:lnTo>
                        <a:pt x="328284" y="863484"/>
                      </a:lnTo>
                      <a:lnTo>
                        <a:pt x="334611" y="864152"/>
                      </a:lnTo>
                      <a:lnTo>
                        <a:pt x="336214" y="864699"/>
                      </a:lnTo>
                      <a:lnTo>
                        <a:pt x="337889" y="865791"/>
                      </a:lnTo>
                      <a:lnTo>
                        <a:pt x="339201" y="867589"/>
                      </a:lnTo>
                      <a:lnTo>
                        <a:pt x="339492" y="869629"/>
                      </a:lnTo>
                      <a:lnTo>
                        <a:pt x="337707" y="877497"/>
                      </a:lnTo>
                      <a:lnTo>
                        <a:pt x="337537" y="881541"/>
                      </a:lnTo>
                      <a:lnTo>
                        <a:pt x="338290" y="885245"/>
                      </a:lnTo>
                      <a:lnTo>
                        <a:pt x="339662" y="890053"/>
                      </a:lnTo>
                      <a:lnTo>
                        <a:pt x="340002" y="892895"/>
                      </a:lnTo>
                      <a:lnTo>
                        <a:pt x="339723" y="895420"/>
                      </a:lnTo>
                      <a:lnTo>
                        <a:pt x="338448" y="901188"/>
                      </a:lnTo>
                      <a:lnTo>
                        <a:pt x="337889" y="916173"/>
                      </a:lnTo>
                      <a:lnTo>
                        <a:pt x="338399" y="918006"/>
                      </a:lnTo>
                      <a:lnTo>
                        <a:pt x="339553" y="919160"/>
                      </a:lnTo>
                      <a:lnTo>
                        <a:pt x="344957" y="920192"/>
                      </a:lnTo>
                      <a:lnTo>
                        <a:pt x="346450" y="920799"/>
                      </a:lnTo>
                      <a:lnTo>
                        <a:pt x="347580" y="921831"/>
                      </a:lnTo>
                      <a:lnTo>
                        <a:pt x="348563" y="923446"/>
                      </a:lnTo>
                      <a:lnTo>
                        <a:pt x="351599" y="930198"/>
                      </a:lnTo>
                      <a:lnTo>
                        <a:pt x="352352" y="931278"/>
                      </a:lnTo>
                      <a:lnTo>
                        <a:pt x="353323" y="931970"/>
                      </a:lnTo>
                      <a:lnTo>
                        <a:pt x="354477" y="932408"/>
                      </a:lnTo>
                      <a:lnTo>
                        <a:pt x="359188" y="933561"/>
                      </a:lnTo>
                      <a:lnTo>
                        <a:pt x="360730" y="934314"/>
                      </a:lnTo>
                      <a:lnTo>
                        <a:pt x="362224" y="935601"/>
                      </a:lnTo>
                      <a:lnTo>
                        <a:pt x="363839" y="938127"/>
                      </a:lnTo>
                      <a:lnTo>
                        <a:pt x="364300" y="940070"/>
                      </a:lnTo>
                      <a:lnTo>
                        <a:pt x="364070" y="941745"/>
                      </a:lnTo>
                      <a:lnTo>
                        <a:pt x="363037" y="942863"/>
                      </a:lnTo>
                      <a:lnTo>
                        <a:pt x="359880" y="944842"/>
                      </a:lnTo>
                      <a:lnTo>
                        <a:pt x="358617" y="945996"/>
                      </a:lnTo>
                      <a:lnTo>
                        <a:pt x="357804" y="947756"/>
                      </a:lnTo>
                      <a:lnTo>
                        <a:pt x="358035" y="948789"/>
                      </a:lnTo>
                      <a:lnTo>
                        <a:pt x="359018" y="949881"/>
                      </a:lnTo>
                      <a:lnTo>
                        <a:pt x="362175" y="951861"/>
                      </a:lnTo>
                      <a:lnTo>
                        <a:pt x="364009" y="953621"/>
                      </a:lnTo>
                      <a:lnTo>
                        <a:pt x="364640" y="955346"/>
                      </a:lnTo>
                      <a:lnTo>
                        <a:pt x="364470" y="957264"/>
                      </a:lnTo>
                      <a:lnTo>
                        <a:pt x="361143" y="964186"/>
                      </a:lnTo>
                      <a:lnTo>
                        <a:pt x="360208" y="966760"/>
                      </a:lnTo>
                      <a:lnTo>
                        <a:pt x="359698" y="969468"/>
                      </a:lnTo>
                      <a:lnTo>
                        <a:pt x="359759" y="973147"/>
                      </a:lnTo>
                      <a:lnTo>
                        <a:pt x="360269" y="975564"/>
                      </a:lnTo>
                      <a:lnTo>
                        <a:pt x="361083" y="977749"/>
                      </a:lnTo>
                      <a:lnTo>
                        <a:pt x="363560" y="982169"/>
                      </a:lnTo>
                      <a:lnTo>
                        <a:pt x="364070" y="984647"/>
                      </a:lnTo>
                      <a:lnTo>
                        <a:pt x="363839" y="986845"/>
                      </a:lnTo>
                      <a:lnTo>
                        <a:pt x="362515" y="991131"/>
                      </a:lnTo>
                      <a:lnTo>
                        <a:pt x="362345" y="993074"/>
                      </a:lnTo>
                      <a:lnTo>
                        <a:pt x="363317" y="994422"/>
                      </a:lnTo>
                      <a:lnTo>
                        <a:pt x="367627" y="997348"/>
                      </a:lnTo>
                      <a:lnTo>
                        <a:pt x="369012" y="998963"/>
                      </a:lnTo>
                      <a:lnTo>
                        <a:pt x="369522" y="1000663"/>
                      </a:lnTo>
                      <a:lnTo>
                        <a:pt x="370032" y="1005654"/>
                      </a:lnTo>
                      <a:lnTo>
                        <a:pt x="371137" y="1007937"/>
                      </a:lnTo>
                      <a:lnTo>
                        <a:pt x="373942" y="1012235"/>
                      </a:lnTo>
                      <a:lnTo>
                        <a:pt x="374634" y="1014020"/>
                      </a:lnTo>
                      <a:lnTo>
                        <a:pt x="374755" y="1015963"/>
                      </a:lnTo>
                      <a:lnTo>
                        <a:pt x="374695" y="1017687"/>
                      </a:lnTo>
                      <a:lnTo>
                        <a:pt x="375144" y="1029806"/>
                      </a:lnTo>
                      <a:lnTo>
                        <a:pt x="374512" y="1032125"/>
                      </a:lnTo>
                      <a:lnTo>
                        <a:pt x="373711" y="1033413"/>
                      </a:lnTo>
                      <a:lnTo>
                        <a:pt x="372630" y="1033728"/>
                      </a:lnTo>
                      <a:lnTo>
                        <a:pt x="367846" y="1036193"/>
                      </a:lnTo>
                      <a:lnTo>
                        <a:pt x="367057" y="1036825"/>
                      </a:lnTo>
                      <a:lnTo>
                        <a:pt x="366425" y="1037565"/>
                      </a:lnTo>
                      <a:lnTo>
                        <a:pt x="365964" y="1038355"/>
                      </a:lnTo>
                      <a:lnTo>
                        <a:pt x="365381" y="1039108"/>
                      </a:lnTo>
                      <a:lnTo>
                        <a:pt x="364130" y="1040504"/>
                      </a:lnTo>
                      <a:lnTo>
                        <a:pt x="363620" y="1041463"/>
                      </a:lnTo>
                      <a:lnTo>
                        <a:pt x="363317" y="1042738"/>
                      </a:lnTo>
                      <a:lnTo>
                        <a:pt x="363147" y="1048652"/>
                      </a:lnTo>
                      <a:lnTo>
                        <a:pt x="361423" y="1057444"/>
                      </a:lnTo>
                      <a:lnTo>
                        <a:pt x="361022" y="1058330"/>
                      </a:lnTo>
                      <a:lnTo>
                        <a:pt x="360572" y="1059131"/>
                      </a:lnTo>
                      <a:lnTo>
                        <a:pt x="359297" y="1062373"/>
                      </a:lnTo>
                      <a:lnTo>
                        <a:pt x="358447" y="1066029"/>
                      </a:lnTo>
                      <a:lnTo>
                        <a:pt x="356310" y="1065664"/>
                      </a:lnTo>
                      <a:lnTo>
                        <a:pt x="354598" y="1064499"/>
                      </a:lnTo>
                      <a:lnTo>
                        <a:pt x="352352" y="1062094"/>
                      </a:lnTo>
                      <a:lnTo>
                        <a:pt x="351599" y="1061608"/>
                      </a:lnTo>
                      <a:lnTo>
                        <a:pt x="350919" y="1061499"/>
                      </a:lnTo>
                      <a:lnTo>
                        <a:pt x="350287" y="1061827"/>
                      </a:lnTo>
                      <a:lnTo>
                        <a:pt x="349595" y="1062811"/>
                      </a:lnTo>
                      <a:lnTo>
                        <a:pt x="346839" y="1069332"/>
                      </a:lnTo>
                      <a:lnTo>
                        <a:pt x="345515" y="1071359"/>
                      </a:lnTo>
                      <a:lnTo>
                        <a:pt x="343512" y="1072804"/>
                      </a:lnTo>
                      <a:lnTo>
                        <a:pt x="340755" y="1073557"/>
                      </a:lnTo>
                      <a:lnTo>
                        <a:pt x="333457" y="1074067"/>
                      </a:lnTo>
                      <a:lnTo>
                        <a:pt x="332146" y="1074407"/>
                      </a:lnTo>
                      <a:lnTo>
                        <a:pt x="330470" y="1075160"/>
                      </a:lnTo>
                      <a:lnTo>
                        <a:pt x="328527" y="1076423"/>
                      </a:lnTo>
                      <a:lnTo>
                        <a:pt x="326633" y="1077977"/>
                      </a:lnTo>
                      <a:lnTo>
                        <a:pt x="325139" y="1079616"/>
                      </a:lnTo>
                      <a:lnTo>
                        <a:pt x="322614" y="1083357"/>
                      </a:lnTo>
                      <a:lnTo>
                        <a:pt x="321339" y="1084729"/>
                      </a:lnTo>
                      <a:lnTo>
                        <a:pt x="319906" y="1085566"/>
                      </a:lnTo>
                      <a:lnTo>
                        <a:pt x="318473" y="1085894"/>
                      </a:lnTo>
                      <a:lnTo>
                        <a:pt x="316809" y="1086052"/>
                      </a:lnTo>
                      <a:lnTo>
                        <a:pt x="315486" y="1086587"/>
                      </a:lnTo>
                      <a:lnTo>
                        <a:pt x="314284" y="1087995"/>
                      </a:lnTo>
                      <a:lnTo>
                        <a:pt x="314113" y="1089367"/>
                      </a:lnTo>
                      <a:lnTo>
                        <a:pt x="314344" y="1090375"/>
                      </a:lnTo>
                      <a:lnTo>
                        <a:pt x="315255" y="1091529"/>
                      </a:lnTo>
                      <a:lnTo>
                        <a:pt x="316639" y="1092561"/>
                      </a:lnTo>
                      <a:lnTo>
                        <a:pt x="320027" y="1094419"/>
                      </a:lnTo>
                      <a:lnTo>
                        <a:pt x="321521" y="1095766"/>
                      </a:lnTo>
                      <a:lnTo>
                        <a:pt x="322723" y="1098572"/>
                      </a:lnTo>
                      <a:lnTo>
                        <a:pt x="322492" y="1100903"/>
                      </a:lnTo>
                      <a:lnTo>
                        <a:pt x="321339" y="1102664"/>
                      </a:lnTo>
                      <a:lnTo>
                        <a:pt x="319784" y="1103477"/>
                      </a:lnTo>
                      <a:lnTo>
                        <a:pt x="318181" y="1104145"/>
                      </a:lnTo>
                      <a:lnTo>
                        <a:pt x="316166" y="1105299"/>
                      </a:lnTo>
                      <a:lnTo>
                        <a:pt x="311697" y="1108808"/>
                      </a:lnTo>
                      <a:lnTo>
                        <a:pt x="307908" y="1112427"/>
                      </a:lnTo>
                      <a:lnTo>
                        <a:pt x="303088" y="1118328"/>
                      </a:lnTo>
                      <a:lnTo>
                        <a:pt x="295790" y="1123841"/>
                      </a:lnTo>
                      <a:lnTo>
                        <a:pt x="293495" y="1125942"/>
                      </a:lnTo>
                      <a:lnTo>
                        <a:pt x="289706" y="1130847"/>
                      </a:lnTo>
                      <a:lnTo>
                        <a:pt x="283744" y="1141558"/>
                      </a:lnTo>
                      <a:lnTo>
                        <a:pt x="282348" y="1143197"/>
                      </a:lnTo>
                      <a:lnTo>
                        <a:pt x="280915" y="1144266"/>
                      </a:lnTo>
                      <a:lnTo>
                        <a:pt x="279360" y="1144861"/>
                      </a:lnTo>
                      <a:lnTo>
                        <a:pt x="274552" y="1145638"/>
                      </a:lnTo>
                      <a:lnTo>
                        <a:pt x="272888" y="1146269"/>
                      </a:lnTo>
                      <a:lnTo>
                        <a:pt x="271565" y="1147022"/>
                      </a:lnTo>
                      <a:lnTo>
                        <a:pt x="270642" y="1147993"/>
                      </a:lnTo>
                      <a:lnTo>
                        <a:pt x="268347" y="1152158"/>
                      </a:lnTo>
                      <a:lnTo>
                        <a:pt x="267254" y="1153215"/>
                      </a:lnTo>
                      <a:lnTo>
                        <a:pt x="265590" y="1154283"/>
                      </a:lnTo>
                      <a:lnTo>
                        <a:pt x="256168" y="1158181"/>
                      </a:lnTo>
                      <a:lnTo>
                        <a:pt x="252670" y="1159165"/>
                      </a:lnTo>
                      <a:lnTo>
                        <a:pt x="250885" y="1159274"/>
                      </a:lnTo>
                      <a:lnTo>
                        <a:pt x="249513" y="1158995"/>
                      </a:lnTo>
                      <a:lnTo>
                        <a:pt x="248712" y="1158655"/>
                      </a:lnTo>
                      <a:lnTo>
                        <a:pt x="247740" y="1158886"/>
                      </a:lnTo>
                      <a:lnTo>
                        <a:pt x="246647" y="1160088"/>
                      </a:lnTo>
                      <a:lnTo>
                        <a:pt x="244109" y="1166487"/>
                      </a:lnTo>
                      <a:lnTo>
                        <a:pt x="242737" y="1168673"/>
                      </a:lnTo>
                      <a:lnTo>
                        <a:pt x="241705" y="1170664"/>
                      </a:lnTo>
                      <a:lnTo>
                        <a:pt x="241244" y="1172036"/>
                      </a:lnTo>
                      <a:lnTo>
                        <a:pt x="241074" y="1173299"/>
                      </a:lnTo>
                      <a:lnTo>
                        <a:pt x="241183" y="1174368"/>
                      </a:lnTo>
                      <a:lnTo>
                        <a:pt x="241535" y="1175339"/>
                      </a:lnTo>
                      <a:lnTo>
                        <a:pt x="243077" y="1178205"/>
                      </a:lnTo>
                      <a:lnTo>
                        <a:pt x="243308" y="1179881"/>
                      </a:lnTo>
                      <a:lnTo>
                        <a:pt x="242968" y="1181836"/>
                      </a:lnTo>
                      <a:lnTo>
                        <a:pt x="242106" y="1184701"/>
                      </a:lnTo>
                      <a:lnTo>
                        <a:pt x="241705" y="1188114"/>
                      </a:lnTo>
                      <a:lnTo>
                        <a:pt x="239799" y="1194343"/>
                      </a:lnTo>
                      <a:lnTo>
                        <a:pt x="239240" y="1195472"/>
                      </a:lnTo>
                      <a:lnTo>
                        <a:pt x="238548" y="1196347"/>
                      </a:lnTo>
                      <a:lnTo>
                        <a:pt x="237856" y="1197014"/>
                      </a:lnTo>
                      <a:lnTo>
                        <a:pt x="236423" y="1199079"/>
                      </a:lnTo>
                      <a:lnTo>
                        <a:pt x="235440" y="1200973"/>
                      </a:lnTo>
                      <a:lnTo>
                        <a:pt x="235100" y="1202503"/>
                      </a:lnTo>
                      <a:lnTo>
                        <a:pt x="235039" y="1203875"/>
                      </a:lnTo>
                      <a:lnTo>
                        <a:pt x="235330" y="1205490"/>
                      </a:lnTo>
                      <a:lnTo>
                        <a:pt x="235330" y="1212084"/>
                      </a:lnTo>
                      <a:lnTo>
                        <a:pt x="234468" y="1216443"/>
                      </a:lnTo>
                      <a:lnTo>
                        <a:pt x="233837" y="1218665"/>
                      </a:lnTo>
                      <a:lnTo>
                        <a:pt x="233205" y="1219977"/>
                      </a:lnTo>
                      <a:lnTo>
                        <a:pt x="231821" y="1221738"/>
                      </a:lnTo>
                      <a:lnTo>
                        <a:pt x="231032" y="1223025"/>
                      </a:lnTo>
                      <a:lnTo>
                        <a:pt x="229866" y="1225465"/>
                      </a:lnTo>
                      <a:lnTo>
                        <a:pt x="229356" y="1227299"/>
                      </a:lnTo>
                      <a:lnTo>
                        <a:pt x="229113" y="1229181"/>
                      </a:lnTo>
                      <a:lnTo>
                        <a:pt x="229077" y="1231767"/>
                      </a:lnTo>
                      <a:lnTo>
                        <a:pt x="228724" y="1233176"/>
                      </a:lnTo>
                      <a:lnTo>
                        <a:pt x="228141" y="1234208"/>
                      </a:lnTo>
                      <a:lnTo>
                        <a:pt x="227292" y="1234670"/>
                      </a:lnTo>
                      <a:lnTo>
                        <a:pt x="226369" y="1234840"/>
                      </a:lnTo>
                      <a:lnTo>
                        <a:pt x="225458" y="1234670"/>
                      </a:lnTo>
                      <a:lnTo>
                        <a:pt x="224644" y="1234208"/>
                      </a:lnTo>
                      <a:lnTo>
                        <a:pt x="223212" y="1233054"/>
                      </a:lnTo>
                      <a:lnTo>
                        <a:pt x="222349" y="1232593"/>
                      </a:lnTo>
                      <a:lnTo>
                        <a:pt x="221439" y="1232423"/>
                      </a:lnTo>
                      <a:lnTo>
                        <a:pt x="220406" y="1232702"/>
                      </a:lnTo>
                      <a:lnTo>
                        <a:pt x="219362" y="1233528"/>
                      </a:lnTo>
                      <a:lnTo>
                        <a:pt x="218974" y="1234524"/>
                      </a:lnTo>
                      <a:lnTo>
                        <a:pt x="218792" y="1235629"/>
                      </a:lnTo>
                      <a:lnTo>
                        <a:pt x="218609" y="1239138"/>
                      </a:lnTo>
                      <a:lnTo>
                        <a:pt x="218160" y="1242453"/>
                      </a:lnTo>
                      <a:lnTo>
                        <a:pt x="218160" y="1245987"/>
                      </a:lnTo>
                      <a:lnTo>
                        <a:pt x="218792" y="1248306"/>
                      </a:lnTo>
                      <a:lnTo>
                        <a:pt x="204791" y="1247881"/>
                      </a:lnTo>
                      <a:lnTo>
                        <a:pt x="196388" y="1248853"/>
                      </a:lnTo>
                      <a:lnTo>
                        <a:pt x="190826" y="1248889"/>
                      </a:lnTo>
                      <a:lnTo>
                        <a:pt x="186406" y="1247881"/>
                      </a:lnTo>
                      <a:lnTo>
                        <a:pt x="182970" y="1246388"/>
                      </a:lnTo>
                      <a:lnTo>
                        <a:pt x="178185" y="1243522"/>
                      </a:lnTo>
                      <a:lnTo>
                        <a:pt x="176243" y="1242599"/>
                      </a:lnTo>
                      <a:lnTo>
                        <a:pt x="174348" y="1242295"/>
                      </a:lnTo>
                      <a:lnTo>
                        <a:pt x="172563" y="1242550"/>
                      </a:lnTo>
                      <a:lnTo>
                        <a:pt x="170268" y="1243813"/>
                      </a:lnTo>
                      <a:lnTo>
                        <a:pt x="165217" y="1247347"/>
                      </a:lnTo>
                      <a:lnTo>
                        <a:pt x="160384" y="1249642"/>
                      </a:lnTo>
                      <a:lnTo>
                        <a:pt x="155745" y="1253018"/>
                      </a:lnTo>
                      <a:lnTo>
                        <a:pt x="153268" y="1254232"/>
                      </a:lnTo>
                      <a:lnTo>
                        <a:pt x="150342" y="1254062"/>
                      </a:lnTo>
                      <a:lnTo>
                        <a:pt x="147755" y="1252471"/>
                      </a:lnTo>
                      <a:lnTo>
                        <a:pt x="144829" y="1248245"/>
                      </a:lnTo>
                      <a:lnTo>
                        <a:pt x="142133" y="1241761"/>
                      </a:lnTo>
                      <a:lnTo>
                        <a:pt x="140931" y="1217876"/>
                      </a:lnTo>
                      <a:lnTo>
                        <a:pt x="140008" y="1214707"/>
                      </a:lnTo>
                      <a:lnTo>
                        <a:pt x="136450" y="1208417"/>
                      </a:lnTo>
                      <a:lnTo>
                        <a:pt x="135066" y="1205344"/>
                      </a:lnTo>
                      <a:lnTo>
                        <a:pt x="133925" y="1201556"/>
                      </a:lnTo>
                      <a:lnTo>
                        <a:pt x="133232" y="1198046"/>
                      </a:lnTo>
                      <a:lnTo>
                        <a:pt x="133111" y="1194173"/>
                      </a:lnTo>
                      <a:lnTo>
                        <a:pt x="133985" y="1191016"/>
                      </a:lnTo>
                      <a:lnTo>
                        <a:pt x="135357" y="1188187"/>
                      </a:lnTo>
                      <a:lnTo>
                        <a:pt x="136790" y="1185685"/>
                      </a:lnTo>
                      <a:lnTo>
                        <a:pt x="137592" y="1183815"/>
                      </a:lnTo>
                      <a:lnTo>
                        <a:pt x="137191" y="1182176"/>
                      </a:lnTo>
                      <a:lnTo>
                        <a:pt x="135758" y="1181241"/>
                      </a:lnTo>
                      <a:lnTo>
                        <a:pt x="132589" y="1180804"/>
                      </a:lnTo>
                      <a:lnTo>
                        <a:pt x="130136" y="1181556"/>
                      </a:lnTo>
                      <a:lnTo>
                        <a:pt x="125534" y="1183657"/>
                      </a:lnTo>
                      <a:lnTo>
                        <a:pt x="123299" y="1184374"/>
                      </a:lnTo>
                      <a:lnTo>
                        <a:pt x="121114" y="1184264"/>
                      </a:lnTo>
                      <a:lnTo>
                        <a:pt x="119389" y="1183111"/>
                      </a:lnTo>
                      <a:lnTo>
                        <a:pt x="118017" y="1180755"/>
                      </a:lnTo>
                      <a:lnTo>
                        <a:pt x="117617" y="1178059"/>
                      </a:lnTo>
                      <a:lnTo>
                        <a:pt x="117495" y="1175412"/>
                      </a:lnTo>
                      <a:lnTo>
                        <a:pt x="117155" y="1172862"/>
                      </a:lnTo>
                      <a:lnTo>
                        <a:pt x="116184" y="1170579"/>
                      </a:lnTo>
                      <a:lnTo>
                        <a:pt x="114229" y="1169401"/>
                      </a:lnTo>
                      <a:lnTo>
                        <a:pt x="112686" y="1169171"/>
                      </a:lnTo>
                      <a:lnTo>
                        <a:pt x="111193" y="1169620"/>
                      </a:lnTo>
                      <a:lnTo>
                        <a:pt x="110379" y="1170349"/>
                      </a:lnTo>
                      <a:lnTo>
                        <a:pt x="109857" y="1171466"/>
                      </a:lnTo>
                      <a:lnTo>
                        <a:pt x="109068" y="1175436"/>
                      </a:lnTo>
                      <a:lnTo>
                        <a:pt x="108704" y="1176638"/>
                      </a:lnTo>
                      <a:lnTo>
                        <a:pt x="108254" y="1177464"/>
                      </a:lnTo>
                      <a:lnTo>
                        <a:pt x="107210" y="1178193"/>
                      </a:lnTo>
                      <a:lnTo>
                        <a:pt x="105668" y="1178678"/>
                      </a:lnTo>
                      <a:lnTo>
                        <a:pt x="103494" y="1178958"/>
                      </a:lnTo>
                      <a:lnTo>
                        <a:pt x="98601" y="1179079"/>
                      </a:lnTo>
                      <a:lnTo>
                        <a:pt x="96585" y="1178533"/>
                      </a:lnTo>
                      <a:lnTo>
                        <a:pt x="95152" y="1177246"/>
                      </a:lnTo>
                      <a:lnTo>
                        <a:pt x="94181" y="1174635"/>
                      </a:lnTo>
                      <a:lnTo>
                        <a:pt x="94120" y="1172534"/>
                      </a:lnTo>
                      <a:lnTo>
                        <a:pt x="94581" y="1170737"/>
                      </a:lnTo>
                      <a:lnTo>
                        <a:pt x="95565" y="1169413"/>
                      </a:lnTo>
                      <a:lnTo>
                        <a:pt x="97010" y="1168345"/>
                      </a:lnTo>
                      <a:lnTo>
                        <a:pt x="100568" y="1166766"/>
                      </a:lnTo>
                      <a:lnTo>
                        <a:pt x="102158" y="1165819"/>
                      </a:lnTo>
                      <a:lnTo>
                        <a:pt x="102632" y="1164617"/>
                      </a:lnTo>
                      <a:lnTo>
                        <a:pt x="102511" y="1162747"/>
                      </a:lnTo>
                      <a:lnTo>
                        <a:pt x="101758" y="1160719"/>
                      </a:lnTo>
                      <a:lnTo>
                        <a:pt x="97058" y="1153336"/>
                      </a:lnTo>
                      <a:lnTo>
                        <a:pt x="92469" y="1142772"/>
                      </a:lnTo>
                      <a:lnTo>
                        <a:pt x="90793" y="1136858"/>
                      </a:lnTo>
                      <a:lnTo>
                        <a:pt x="89712" y="1133992"/>
                      </a:lnTo>
                      <a:lnTo>
                        <a:pt x="87878" y="1131005"/>
                      </a:lnTo>
                      <a:lnTo>
                        <a:pt x="84649" y="1127338"/>
                      </a:lnTo>
                      <a:lnTo>
                        <a:pt x="82074" y="1123683"/>
                      </a:lnTo>
                      <a:lnTo>
                        <a:pt x="78103" y="1119749"/>
                      </a:lnTo>
                      <a:lnTo>
                        <a:pt x="75347" y="1115851"/>
                      </a:lnTo>
                      <a:lnTo>
                        <a:pt x="66738" y="1105979"/>
                      </a:lnTo>
                      <a:lnTo>
                        <a:pt x="62548" y="1102275"/>
                      </a:lnTo>
                      <a:lnTo>
                        <a:pt x="60824" y="1101012"/>
                      </a:lnTo>
                      <a:lnTo>
                        <a:pt x="56683" y="1099069"/>
                      </a:lnTo>
                      <a:lnTo>
                        <a:pt x="54910" y="1097819"/>
                      </a:lnTo>
                      <a:lnTo>
                        <a:pt x="51571" y="1094613"/>
                      </a:lnTo>
                      <a:lnTo>
                        <a:pt x="48584" y="1093399"/>
                      </a:lnTo>
                      <a:lnTo>
                        <a:pt x="44407" y="1093314"/>
                      </a:lnTo>
                      <a:lnTo>
                        <a:pt x="37570" y="1095111"/>
                      </a:lnTo>
                      <a:lnTo>
                        <a:pt x="34012" y="1096750"/>
                      </a:lnTo>
                      <a:lnTo>
                        <a:pt x="31256" y="1095949"/>
                      </a:lnTo>
                      <a:lnTo>
                        <a:pt x="30564" y="1093763"/>
                      </a:lnTo>
                      <a:lnTo>
                        <a:pt x="29240" y="1092184"/>
                      </a:lnTo>
                      <a:lnTo>
                        <a:pt x="27115" y="1091553"/>
                      </a:lnTo>
                      <a:lnTo>
                        <a:pt x="26666" y="1092646"/>
                      </a:lnTo>
                      <a:lnTo>
                        <a:pt x="25051" y="1094710"/>
                      </a:lnTo>
                      <a:lnTo>
                        <a:pt x="23327" y="1096082"/>
                      </a:lnTo>
                      <a:lnTo>
                        <a:pt x="22525" y="1095050"/>
                      </a:lnTo>
                      <a:lnTo>
                        <a:pt x="21894" y="1092500"/>
                      </a:lnTo>
                      <a:lnTo>
                        <a:pt x="20400" y="1090460"/>
                      </a:lnTo>
                      <a:lnTo>
                        <a:pt x="18664" y="1088566"/>
                      </a:lnTo>
                      <a:lnTo>
                        <a:pt x="17291" y="1086380"/>
                      </a:lnTo>
                      <a:lnTo>
                        <a:pt x="16842" y="1084461"/>
                      </a:lnTo>
                      <a:lnTo>
                        <a:pt x="16611" y="1080357"/>
                      </a:lnTo>
                      <a:lnTo>
                        <a:pt x="16150" y="1078439"/>
                      </a:lnTo>
                      <a:lnTo>
                        <a:pt x="15288" y="1076301"/>
                      </a:lnTo>
                      <a:lnTo>
                        <a:pt x="14134" y="1074176"/>
                      </a:lnTo>
                      <a:lnTo>
                        <a:pt x="12580" y="1072561"/>
                      </a:lnTo>
                      <a:lnTo>
                        <a:pt x="10346" y="1071930"/>
                      </a:lnTo>
                      <a:lnTo>
                        <a:pt x="8002" y="1072513"/>
                      </a:lnTo>
                      <a:lnTo>
                        <a:pt x="6970" y="1069004"/>
                      </a:lnTo>
                      <a:lnTo>
                        <a:pt x="6339" y="1066551"/>
                      </a:lnTo>
                      <a:lnTo>
                        <a:pt x="6157" y="1064389"/>
                      </a:lnTo>
                      <a:lnTo>
                        <a:pt x="7189" y="1061912"/>
                      </a:lnTo>
                      <a:lnTo>
                        <a:pt x="8864" y="1060224"/>
                      </a:lnTo>
                      <a:lnTo>
                        <a:pt x="20862" y="1053157"/>
                      </a:lnTo>
                      <a:lnTo>
                        <a:pt x="22817" y="1049745"/>
                      </a:lnTo>
                      <a:lnTo>
                        <a:pt x="21833" y="1045895"/>
                      </a:lnTo>
                      <a:lnTo>
                        <a:pt x="10577" y="1032405"/>
                      </a:lnTo>
                      <a:lnTo>
                        <a:pt x="8221" y="1027207"/>
                      </a:lnTo>
                      <a:lnTo>
                        <a:pt x="8282" y="1020881"/>
                      </a:lnTo>
                      <a:lnTo>
                        <a:pt x="11791" y="1013134"/>
                      </a:lnTo>
                      <a:lnTo>
                        <a:pt x="22234" y="1001039"/>
                      </a:lnTo>
                      <a:lnTo>
                        <a:pt x="26083" y="994069"/>
                      </a:lnTo>
                      <a:lnTo>
                        <a:pt x="26824" y="990232"/>
                      </a:lnTo>
                      <a:lnTo>
                        <a:pt x="27285" y="987464"/>
                      </a:lnTo>
                      <a:lnTo>
                        <a:pt x="31778" y="971362"/>
                      </a:lnTo>
                      <a:lnTo>
                        <a:pt x="33320" y="968193"/>
                      </a:lnTo>
                      <a:lnTo>
                        <a:pt x="34923" y="967076"/>
                      </a:lnTo>
                      <a:lnTo>
                        <a:pt x="39295" y="965303"/>
                      </a:lnTo>
                      <a:lnTo>
                        <a:pt x="41189" y="963991"/>
                      </a:lnTo>
                      <a:lnTo>
                        <a:pt x="42913" y="961466"/>
                      </a:lnTo>
                      <a:lnTo>
                        <a:pt x="45657" y="955455"/>
                      </a:lnTo>
                      <a:lnTo>
                        <a:pt x="47503" y="953002"/>
                      </a:lnTo>
                      <a:lnTo>
                        <a:pt x="49167" y="951873"/>
                      </a:lnTo>
                      <a:lnTo>
                        <a:pt x="52664" y="950695"/>
                      </a:lnTo>
                      <a:lnTo>
                        <a:pt x="54279" y="949772"/>
                      </a:lnTo>
                      <a:lnTo>
                        <a:pt x="56064" y="947793"/>
                      </a:lnTo>
                      <a:lnTo>
                        <a:pt x="59100" y="943263"/>
                      </a:lnTo>
                      <a:lnTo>
                        <a:pt x="61115" y="941648"/>
                      </a:lnTo>
                      <a:lnTo>
                        <a:pt x="65365" y="940640"/>
                      </a:lnTo>
                      <a:lnTo>
                        <a:pt x="67418" y="942620"/>
                      </a:lnTo>
                      <a:lnTo>
                        <a:pt x="69895" y="950440"/>
                      </a:lnTo>
                      <a:lnTo>
                        <a:pt x="73113" y="954945"/>
                      </a:lnTo>
                      <a:lnTo>
                        <a:pt x="76161" y="955285"/>
                      </a:lnTo>
                      <a:lnTo>
                        <a:pt x="79779" y="954192"/>
                      </a:lnTo>
                      <a:lnTo>
                        <a:pt x="84831" y="954374"/>
                      </a:lnTo>
                      <a:lnTo>
                        <a:pt x="86725" y="956378"/>
                      </a:lnTo>
                      <a:lnTo>
                        <a:pt x="90562" y="962704"/>
                      </a:lnTo>
                      <a:lnTo>
                        <a:pt x="91716" y="965837"/>
                      </a:lnTo>
                      <a:lnTo>
                        <a:pt x="92469" y="966031"/>
                      </a:lnTo>
                      <a:lnTo>
                        <a:pt x="93209" y="965497"/>
                      </a:lnTo>
                      <a:lnTo>
                        <a:pt x="95565" y="962728"/>
                      </a:lnTo>
                      <a:lnTo>
                        <a:pt x="98200" y="960324"/>
                      </a:lnTo>
                      <a:lnTo>
                        <a:pt x="100046" y="958855"/>
                      </a:lnTo>
                      <a:lnTo>
                        <a:pt x="104405" y="956305"/>
                      </a:lnTo>
                      <a:lnTo>
                        <a:pt x="111642" y="953500"/>
                      </a:lnTo>
                      <a:lnTo>
                        <a:pt x="113136" y="951909"/>
                      </a:lnTo>
                      <a:lnTo>
                        <a:pt x="113366" y="949724"/>
                      </a:lnTo>
                      <a:lnTo>
                        <a:pt x="111703" y="946287"/>
                      </a:lnTo>
                      <a:lnTo>
                        <a:pt x="108364" y="941806"/>
                      </a:lnTo>
                      <a:lnTo>
                        <a:pt x="107841" y="940228"/>
                      </a:lnTo>
                      <a:lnTo>
                        <a:pt x="108424" y="938455"/>
                      </a:lnTo>
                      <a:lnTo>
                        <a:pt x="109918" y="937484"/>
                      </a:lnTo>
                      <a:lnTo>
                        <a:pt x="112104" y="936925"/>
                      </a:lnTo>
                      <a:lnTo>
                        <a:pt x="117495" y="936293"/>
                      </a:lnTo>
                      <a:lnTo>
                        <a:pt x="120361" y="935358"/>
                      </a:lnTo>
                      <a:lnTo>
                        <a:pt x="122546" y="933683"/>
                      </a:lnTo>
                      <a:lnTo>
                        <a:pt x="124040" y="931558"/>
                      </a:lnTo>
                      <a:lnTo>
                        <a:pt x="125254" y="928947"/>
                      </a:lnTo>
                      <a:lnTo>
                        <a:pt x="125534" y="925753"/>
                      </a:lnTo>
                      <a:lnTo>
                        <a:pt x="124963" y="922645"/>
                      </a:lnTo>
                      <a:lnTo>
                        <a:pt x="122037" y="918261"/>
                      </a:lnTo>
                      <a:lnTo>
                        <a:pt x="117617" y="914448"/>
                      </a:lnTo>
                      <a:lnTo>
                        <a:pt x="114508" y="911218"/>
                      </a:lnTo>
                      <a:lnTo>
                        <a:pt x="113136" y="910453"/>
                      </a:lnTo>
                      <a:lnTo>
                        <a:pt x="111521" y="910174"/>
                      </a:lnTo>
                      <a:lnTo>
                        <a:pt x="110088" y="910113"/>
                      </a:lnTo>
                      <a:lnTo>
                        <a:pt x="108546" y="909652"/>
                      </a:lnTo>
                      <a:lnTo>
                        <a:pt x="102911" y="905402"/>
                      </a:lnTo>
                      <a:lnTo>
                        <a:pt x="100046" y="904054"/>
                      </a:lnTo>
                      <a:lnTo>
                        <a:pt x="91023" y="901625"/>
                      </a:lnTo>
                      <a:lnTo>
                        <a:pt x="88850" y="900642"/>
                      </a:lnTo>
                      <a:lnTo>
                        <a:pt x="87004" y="898662"/>
                      </a:lnTo>
                      <a:lnTo>
                        <a:pt x="85802" y="895857"/>
                      </a:lnTo>
                      <a:lnTo>
                        <a:pt x="84017" y="885256"/>
                      </a:lnTo>
                      <a:lnTo>
                        <a:pt x="82523" y="882852"/>
                      </a:lnTo>
                      <a:lnTo>
                        <a:pt x="80908" y="881480"/>
                      </a:lnTo>
                      <a:lnTo>
                        <a:pt x="79196" y="880448"/>
                      </a:lnTo>
                      <a:lnTo>
                        <a:pt x="77071" y="879695"/>
                      </a:lnTo>
                      <a:lnTo>
                        <a:pt x="69834" y="878031"/>
                      </a:lnTo>
                      <a:lnTo>
                        <a:pt x="67418" y="877024"/>
                      </a:lnTo>
                      <a:lnTo>
                        <a:pt x="65074" y="875105"/>
                      </a:lnTo>
                      <a:lnTo>
                        <a:pt x="63350" y="872944"/>
                      </a:lnTo>
                      <a:lnTo>
                        <a:pt x="61978" y="869932"/>
                      </a:lnTo>
                      <a:lnTo>
                        <a:pt x="60193" y="862683"/>
                      </a:lnTo>
                      <a:lnTo>
                        <a:pt x="59452" y="860801"/>
                      </a:lnTo>
                      <a:lnTo>
                        <a:pt x="58177" y="859064"/>
                      </a:lnTo>
                      <a:lnTo>
                        <a:pt x="56404" y="858190"/>
                      </a:lnTo>
                      <a:lnTo>
                        <a:pt x="54558" y="858008"/>
                      </a:lnTo>
                      <a:lnTo>
                        <a:pt x="52785" y="858311"/>
                      </a:lnTo>
                      <a:lnTo>
                        <a:pt x="51231" y="859064"/>
                      </a:lnTo>
                      <a:lnTo>
                        <a:pt x="50017" y="860072"/>
                      </a:lnTo>
                      <a:lnTo>
                        <a:pt x="49167" y="861335"/>
                      </a:lnTo>
                      <a:lnTo>
                        <a:pt x="48766" y="862513"/>
                      </a:lnTo>
                      <a:lnTo>
                        <a:pt x="48645" y="863484"/>
                      </a:lnTo>
                      <a:lnTo>
                        <a:pt x="48705" y="864407"/>
                      </a:lnTo>
                      <a:lnTo>
                        <a:pt x="48827" y="865403"/>
                      </a:lnTo>
                      <a:lnTo>
                        <a:pt x="48887" y="866204"/>
                      </a:lnTo>
                      <a:lnTo>
                        <a:pt x="48705" y="866812"/>
                      </a:lnTo>
                      <a:lnTo>
                        <a:pt x="48135" y="867419"/>
                      </a:lnTo>
                      <a:lnTo>
                        <a:pt x="47090" y="867734"/>
                      </a:lnTo>
                      <a:lnTo>
                        <a:pt x="45378" y="867783"/>
                      </a:lnTo>
                      <a:lnTo>
                        <a:pt x="43314" y="867552"/>
                      </a:lnTo>
                      <a:lnTo>
                        <a:pt x="38262" y="866374"/>
                      </a:lnTo>
                      <a:lnTo>
                        <a:pt x="36016" y="865452"/>
                      </a:lnTo>
                      <a:lnTo>
                        <a:pt x="34462" y="864359"/>
                      </a:lnTo>
                      <a:lnTo>
                        <a:pt x="34012" y="862719"/>
                      </a:lnTo>
                      <a:lnTo>
                        <a:pt x="34401" y="861347"/>
                      </a:lnTo>
                      <a:lnTo>
                        <a:pt x="35737" y="860036"/>
                      </a:lnTo>
                      <a:lnTo>
                        <a:pt x="37631" y="859125"/>
                      </a:lnTo>
                      <a:lnTo>
                        <a:pt x="41189" y="857935"/>
                      </a:lnTo>
                      <a:lnTo>
                        <a:pt x="44164" y="856466"/>
                      </a:lnTo>
                      <a:lnTo>
                        <a:pt x="45779" y="855288"/>
                      </a:lnTo>
                      <a:lnTo>
                        <a:pt x="46471" y="854571"/>
                      </a:lnTo>
                      <a:lnTo>
                        <a:pt x="47151" y="853648"/>
                      </a:lnTo>
                      <a:lnTo>
                        <a:pt x="47904" y="852191"/>
                      </a:lnTo>
                      <a:lnTo>
                        <a:pt x="48487" y="850431"/>
                      </a:lnTo>
                      <a:lnTo>
                        <a:pt x="48256" y="848245"/>
                      </a:lnTo>
                      <a:lnTo>
                        <a:pt x="47455" y="847298"/>
                      </a:lnTo>
                      <a:lnTo>
                        <a:pt x="46070" y="846751"/>
                      </a:lnTo>
                      <a:lnTo>
                        <a:pt x="40667" y="845865"/>
                      </a:lnTo>
                      <a:lnTo>
                        <a:pt x="39295" y="845416"/>
                      </a:lnTo>
                      <a:lnTo>
                        <a:pt x="38323" y="844796"/>
                      </a:lnTo>
                      <a:lnTo>
                        <a:pt x="37449" y="843971"/>
                      </a:lnTo>
                      <a:lnTo>
                        <a:pt x="37048" y="843084"/>
                      </a:lnTo>
                      <a:lnTo>
                        <a:pt x="37339" y="841384"/>
                      </a:lnTo>
                      <a:lnTo>
                        <a:pt x="38202" y="839405"/>
                      </a:lnTo>
                      <a:lnTo>
                        <a:pt x="40727" y="835604"/>
                      </a:lnTo>
                      <a:lnTo>
                        <a:pt x="42100" y="834220"/>
                      </a:lnTo>
                      <a:lnTo>
                        <a:pt x="43593" y="833673"/>
                      </a:lnTo>
                      <a:lnTo>
                        <a:pt x="44917" y="834159"/>
                      </a:lnTo>
                      <a:lnTo>
                        <a:pt x="50770" y="837146"/>
                      </a:lnTo>
                      <a:lnTo>
                        <a:pt x="52846" y="837875"/>
                      </a:lnTo>
                      <a:lnTo>
                        <a:pt x="54619" y="838130"/>
                      </a:lnTo>
                      <a:lnTo>
                        <a:pt x="55942" y="838081"/>
                      </a:lnTo>
                      <a:lnTo>
                        <a:pt x="56914" y="837644"/>
                      </a:lnTo>
                      <a:lnTo>
                        <a:pt x="57655" y="835871"/>
                      </a:lnTo>
                      <a:lnTo>
                        <a:pt x="58347" y="832969"/>
                      </a:lnTo>
                      <a:lnTo>
                        <a:pt x="59513" y="822381"/>
                      </a:lnTo>
                      <a:lnTo>
                        <a:pt x="60824" y="817329"/>
                      </a:lnTo>
                      <a:lnTo>
                        <a:pt x="61285" y="816066"/>
                      </a:lnTo>
                      <a:lnTo>
                        <a:pt x="61516" y="815131"/>
                      </a:lnTo>
                      <a:lnTo>
                        <a:pt x="61795" y="812775"/>
                      </a:lnTo>
                      <a:lnTo>
                        <a:pt x="61055" y="807930"/>
                      </a:lnTo>
                      <a:lnTo>
                        <a:pt x="56805" y="795872"/>
                      </a:lnTo>
                      <a:lnTo>
                        <a:pt x="55190" y="795180"/>
                      </a:lnTo>
                      <a:lnTo>
                        <a:pt x="53878" y="794780"/>
                      </a:lnTo>
                      <a:lnTo>
                        <a:pt x="52385" y="794500"/>
                      </a:lnTo>
                      <a:lnTo>
                        <a:pt x="37279" y="793674"/>
                      </a:lnTo>
                      <a:lnTo>
                        <a:pt x="35737" y="793152"/>
                      </a:lnTo>
                      <a:lnTo>
                        <a:pt x="34984" y="791914"/>
                      </a:lnTo>
                      <a:lnTo>
                        <a:pt x="34984" y="789959"/>
                      </a:lnTo>
                      <a:lnTo>
                        <a:pt x="36830" y="783705"/>
                      </a:lnTo>
                      <a:lnTo>
                        <a:pt x="36878" y="780925"/>
                      </a:lnTo>
                      <a:lnTo>
                        <a:pt x="36708" y="778799"/>
                      </a:lnTo>
                      <a:lnTo>
                        <a:pt x="36878" y="776517"/>
                      </a:lnTo>
                      <a:lnTo>
                        <a:pt x="38202" y="774015"/>
                      </a:lnTo>
                      <a:lnTo>
                        <a:pt x="40035" y="772752"/>
                      </a:lnTo>
                      <a:lnTo>
                        <a:pt x="42403" y="771975"/>
                      </a:lnTo>
                      <a:lnTo>
                        <a:pt x="53065" y="770894"/>
                      </a:lnTo>
                      <a:lnTo>
                        <a:pt x="55080" y="770494"/>
                      </a:lnTo>
                      <a:lnTo>
                        <a:pt x="57497" y="769632"/>
                      </a:lnTo>
                      <a:lnTo>
                        <a:pt x="59962" y="767992"/>
                      </a:lnTo>
                      <a:lnTo>
                        <a:pt x="65135" y="763087"/>
                      </a:lnTo>
                      <a:lnTo>
                        <a:pt x="67150" y="761532"/>
                      </a:lnTo>
                      <a:lnTo>
                        <a:pt x="68972" y="760561"/>
                      </a:lnTo>
                      <a:lnTo>
                        <a:pt x="72821" y="759189"/>
                      </a:lnTo>
                      <a:lnTo>
                        <a:pt x="74023" y="758582"/>
                      </a:lnTo>
                      <a:lnTo>
                        <a:pt x="74825" y="757149"/>
                      </a:lnTo>
                      <a:lnTo>
                        <a:pt x="74776" y="755315"/>
                      </a:lnTo>
                      <a:lnTo>
                        <a:pt x="73756" y="751636"/>
                      </a:lnTo>
                      <a:lnTo>
                        <a:pt x="72943" y="749693"/>
                      </a:lnTo>
                      <a:lnTo>
                        <a:pt x="72263" y="746985"/>
                      </a:lnTo>
                      <a:lnTo>
                        <a:pt x="72020" y="743852"/>
                      </a:lnTo>
                      <a:lnTo>
                        <a:pt x="72542" y="731527"/>
                      </a:lnTo>
                      <a:lnTo>
                        <a:pt x="73052" y="729730"/>
                      </a:lnTo>
                      <a:lnTo>
                        <a:pt x="74315" y="726512"/>
                      </a:lnTo>
                      <a:lnTo>
                        <a:pt x="75578" y="724460"/>
                      </a:lnTo>
                      <a:lnTo>
                        <a:pt x="76379" y="722153"/>
                      </a:lnTo>
                      <a:lnTo>
                        <a:pt x="75250" y="719906"/>
                      </a:lnTo>
                      <a:lnTo>
                        <a:pt x="74546" y="719068"/>
                      </a:lnTo>
                      <a:lnTo>
                        <a:pt x="74023" y="717890"/>
                      </a:lnTo>
                      <a:lnTo>
                        <a:pt x="73756" y="716397"/>
                      </a:lnTo>
                      <a:lnTo>
                        <a:pt x="74084" y="707812"/>
                      </a:lnTo>
                      <a:lnTo>
                        <a:pt x="74266" y="706719"/>
                      </a:lnTo>
                      <a:lnTo>
                        <a:pt x="74315" y="705748"/>
                      </a:lnTo>
                      <a:lnTo>
                        <a:pt x="74023" y="704825"/>
                      </a:lnTo>
                      <a:lnTo>
                        <a:pt x="72590" y="703805"/>
                      </a:lnTo>
                      <a:lnTo>
                        <a:pt x="71328" y="703137"/>
                      </a:lnTo>
                      <a:lnTo>
                        <a:pt x="70016" y="702554"/>
                      </a:lnTo>
                      <a:lnTo>
                        <a:pt x="67199" y="701752"/>
                      </a:lnTo>
                      <a:lnTo>
                        <a:pt x="65997" y="701667"/>
                      </a:lnTo>
                      <a:lnTo>
                        <a:pt x="64503" y="701850"/>
                      </a:lnTo>
                      <a:lnTo>
                        <a:pt x="63289" y="702311"/>
                      </a:lnTo>
                      <a:lnTo>
                        <a:pt x="59962" y="704740"/>
                      </a:lnTo>
                      <a:lnTo>
                        <a:pt x="57145" y="706343"/>
                      </a:lnTo>
                      <a:lnTo>
                        <a:pt x="55542" y="706962"/>
                      </a:lnTo>
                      <a:lnTo>
                        <a:pt x="53878" y="707192"/>
                      </a:lnTo>
                      <a:lnTo>
                        <a:pt x="52263" y="706937"/>
                      </a:lnTo>
                      <a:lnTo>
                        <a:pt x="51292" y="706452"/>
                      </a:lnTo>
                      <a:lnTo>
                        <a:pt x="50539" y="705760"/>
                      </a:lnTo>
                      <a:lnTo>
                        <a:pt x="50138" y="704788"/>
                      </a:lnTo>
                      <a:lnTo>
                        <a:pt x="50078" y="703112"/>
                      </a:lnTo>
                      <a:lnTo>
                        <a:pt x="50381" y="701315"/>
                      </a:lnTo>
                      <a:lnTo>
                        <a:pt x="51632" y="698498"/>
                      </a:lnTo>
                      <a:lnTo>
                        <a:pt x="52785" y="696920"/>
                      </a:lnTo>
                      <a:lnTo>
                        <a:pt x="54279" y="695572"/>
                      </a:lnTo>
                      <a:lnTo>
                        <a:pt x="62148" y="691868"/>
                      </a:lnTo>
                      <a:lnTo>
                        <a:pt x="63471" y="690836"/>
                      </a:lnTo>
                      <a:lnTo>
                        <a:pt x="64382" y="688918"/>
                      </a:lnTo>
                      <a:lnTo>
                        <a:pt x="64783" y="685930"/>
                      </a:lnTo>
                      <a:lnTo>
                        <a:pt x="61747" y="669622"/>
                      </a:lnTo>
                      <a:lnTo>
                        <a:pt x="61686" y="650618"/>
                      </a:lnTo>
                      <a:lnTo>
                        <a:pt x="61577" y="646514"/>
                      </a:lnTo>
                      <a:lnTo>
                        <a:pt x="61334" y="644753"/>
                      </a:lnTo>
                      <a:lnTo>
                        <a:pt x="60885" y="642507"/>
                      </a:lnTo>
                      <a:lnTo>
                        <a:pt x="60023" y="640953"/>
                      </a:lnTo>
                      <a:lnTo>
                        <a:pt x="58820" y="639641"/>
                      </a:lnTo>
                      <a:lnTo>
                        <a:pt x="57436" y="638949"/>
                      </a:lnTo>
                      <a:lnTo>
                        <a:pt x="56222" y="638864"/>
                      </a:lnTo>
                      <a:lnTo>
                        <a:pt x="54619" y="639229"/>
                      </a:lnTo>
                      <a:lnTo>
                        <a:pt x="51693" y="640236"/>
                      </a:lnTo>
                      <a:lnTo>
                        <a:pt x="50721" y="640418"/>
                      </a:lnTo>
                      <a:lnTo>
                        <a:pt x="49458" y="640382"/>
                      </a:lnTo>
                      <a:lnTo>
                        <a:pt x="47564" y="640042"/>
                      </a:lnTo>
                      <a:lnTo>
                        <a:pt x="45779" y="639192"/>
                      </a:lnTo>
                      <a:lnTo>
                        <a:pt x="44225" y="638026"/>
                      </a:lnTo>
                      <a:lnTo>
                        <a:pt x="42792" y="636338"/>
                      </a:lnTo>
                      <a:lnTo>
                        <a:pt x="41699" y="634699"/>
                      </a:lnTo>
                      <a:lnTo>
                        <a:pt x="40035" y="630850"/>
                      </a:lnTo>
                      <a:lnTo>
                        <a:pt x="38942" y="626867"/>
                      </a:lnTo>
                      <a:lnTo>
                        <a:pt x="38833" y="624025"/>
                      </a:lnTo>
                      <a:lnTo>
                        <a:pt x="39125" y="621876"/>
                      </a:lnTo>
                      <a:lnTo>
                        <a:pt x="41189" y="614688"/>
                      </a:lnTo>
                      <a:lnTo>
                        <a:pt x="42962" y="602120"/>
                      </a:lnTo>
                      <a:lnTo>
                        <a:pt x="43472" y="600080"/>
                      </a:lnTo>
                      <a:lnTo>
                        <a:pt x="44577" y="597724"/>
                      </a:lnTo>
                      <a:lnTo>
                        <a:pt x="45961" y="595927"/>
                      </a:lnTo>
                      <a:lnTo>
                        <a:pt x="48195" y="593863"/>
                      </a:lnTo>
                      <a:lnTo>
                        <a:pt x="60193" y="586225"/>
                      </a:lnTo>
                      <a:lnTo>
                        <a:pt x="74667" y="579158"/>
                      </a:lnTo>
                      <a:lnTo>
                        <a:pt x="76841" y="577385"/>
                      </a:lnTo>
                      <a:lnTo>
                        <a:pt x="82305" y="571932"/>
                      </a:lnTo>
                      <a:lnTo>
                        <a:pt x="84539" y="567537"/>
                      </a:lnTo>
                      <a:lnTo>
                        <a:pt x="84649" y="557895"/>
                      </a:lnTo>
                      <a:lnTo>
                        <a:pt x="88218" y="548557"/>
                      </a:lnTo>
                      <a:lnTo>
                        <a:pt x="89712" y="541527"/>
                      </a:lnTo>
                      <a:lnTo>
                        <a:pt x="92578" y="533913"/>
                      </a:lnTo>
                      <a:lnTo>
                        <a:pt x="93149" y="529068"/>
                      </a:lnTo>
                      <a:lnTo>
                        <a:pt x="91898" y="511861"/>
                      </a:lnTo>
                      <a:lnTo>
                        <a:pt x="92469" y="508510"/>
                      </a:lnTo>
                      <a:lnTo>
                        <a:pt x="93149" y="505936"/>
                      </a:lnTo>
                      <a:lnTo>
                        <a:pt x="94302" y="486579"/>
                      </a:lnTo>
                      <a:lnTo>
                        <a:pt x="96075" y="481249"/>
                      </a:lnTo>
                      <a:lnTo>
                        <a:pt x="98722" y="478286"/>
                      </a:lnTo>
                      <a:lnTo>
                        <a:pt x="105036" y="477363"/>
                      </a:lnTo>
                      <a:lnTo>
                        <a:pt x="108315" y="474789"/>
                      </a:lnTo>
                      <a:lnTo>
                        <a:pt x="111411" y="469191"/>
                      </a:lnTo>
                      <a:lnTo>
                        <a:pt x="114447" y="460655"/>
                      </a:lnTo>
                      <a:lnTo>
                        <a:pt x="113537" y="448512"/>
                      </a:lnTo>
                      <a:lnTo>
                        <a:pt x="113937" y="440048"/>
                      </a:lnTo>
                      <a:lnTo>
                        <a:pt x="115661" y="434790"/>
                      </a:lnTo>
                      <a:lnTo>
                        <a:pt x="123299" y="419114"/>
                      </a:lnTo>
                      <a:lnTo>
                        <a:pt x="126748" y="413601"/>
                      </a:lnTo>
                      <a:lnTo>
                        <a:pt x="129674" y="411221"/>
                      </a:lnTo>
                      <a:lnTo>
                        <a:pt x="132589" y="410735"/>
                      </a:lnTo>
                      <a:lnTo>
                        <a:pt x="135479" y="412107"/>
                      </a:lnTo>
                      <a:lnTo>
                        <a:pt x="140688" y="420000"/>
                      </a:lnTo>
                      <a:lnTo>
                        <a:pt x="142133" y="420692"/>
                      </a:lnTo>
                      <a:lnTo>
                        <a:pt x="143614" y="420182"/>
                      </a:lnTo>
                      <a:lnTo>
                        <a:pt x="145290" y="417960"/>
                      </a:lnTo>
                      <a:lnTo>
                        <a:pt x="145472" y="415094"/>
                      </a:lnTo>
                      <a:lnTo>
                        <a:pt x="144610" y="412544"/>
                      </a:lnTo>
                      <a:lnTo>
                        <a:pt x="142485" y="409156"/>
                      </a:lnTo>
                      <a:lnTo>
                        <a:pt x="142303" y="407869"/>
                      </a:lnTo>
                      <a:lnTo>
                        <a:pt x="143105" y="407092"/>
                      </a:lnTo>
                      <a:lnTo>
                        <a:pt x="146262" y="406120"/>
                      </a:lnTo>
                      <a:lnTo>
                        <a:pt x="147877" y="404906"/>
                      </a:lnTo>
                      <a:lnTo>
                        <a:pt x="148739" y="402672"/>
                      </a:lnTo>
                      <a:lnTo>
                        <a:pt x="149249" y="392217"/>
                      </a:lnTo>
                      <a:lnTo>
                        <a:pt x="150633" y="388938"/>
                      </a:lnTo>
                      <a:lnTo>
                        <a:pt x="153110" y="385951"/>
                      </a:lnTo>
                      <a:lnTo>
                        <a:pt x="154932" y="384409"/>
                      </a:lnTo>
                      <a:lnTo>
                        <a:pt x="162752" y="379868"/>
                      </a:lnTo>
                      <a:lnTo>
                        <a:pt x="167172" y="372412"/>
                      </a:lnTo>
                      <a:lnTo>
                        <a:pt x="167803" y="369012"/>
                      </a:lnTo>
                      <a:lnTo>
                        <a:pt x="168143" y="363936"/>
                      </a:lnTo>
                      <a:lnTo>
                        <a:pt x="167512" y="358508"/>
                      </a:lnTo>
                      <a:lnTo>
                        <a:pt x="167864" y="351526"/>
                      </a:lnTo>
                      <a:lnTo>
                        <a:pt x="169418" y="347118"/>
                      </a:lnTo>
                      <a:lnTo>
                        <a:pt x="175781" y="338752"/>
                      </a:lnTo>
                      <a:lnTo>
                        <a:pt x="178246" y="336177"/>
                      </a:lnTo>
                      <a:lnTo>
                        <a:pt x="180493" y="335109"/>
                      </a:lnTo>
                      <a:lnTo>
                        <a:pt x="182278" y="335509"/>
                      </a:lnTo>
                      <a:lnTo>
                        <a:pt x="183298" y="337404"/>
                      </a:lnTo>
                      <a:lnTo>
                        <a:pt x="184621" y="341314"/>
                      </a:lnTo>
                      <a:lnTo>
                        <a:pt x="186516" y="342309"/>
                      </a:lnTo>
                      <a:lnTo>
                        <a:pt x="188932" y="342868"/>
                      </a:lnTo>
                      <a:lnTo>
                        <a:pt x="193291" y="340901"/>
                      </a:lnTo>
                      <a:lnTo>
                        <a:pt x="196849" y="337865"/>
                      </a:lnTo>
                      <a:lnTo>
                        <a:pt x="199776" y="336918"/>
                      </a:lnTo>
                      <a:lnTo>
                        <a:pt x="204949" y="336262"/>
                      </a:lnTo>
                      <a:lnTo>
                        <a:pt x="209490" y="332474"/>
                      </a:lnTo>
                      <a:lnTo>
                        <a:pt x="212004" y="332292"/>
                      </a:lnTo>
                      <a:lnTo>
                        <a:pt x="214772" y="333360"/>
                      </a:lnTo>
                      <a:lnTo>
                        <a:pt x="216897" y="335631"/>
                      </a:lnTo>
                      <a:lnTo>
                        <a:pt x="220467" y="342079"/>
                      </a:lnTo>
                      <a:lnTo>
                        <a:pt x="223212" y="344240"/>
                      </a:lnTo>
                      <a:lnTo>
                        <a:pt x="225919" y="343657"/>
                      </a:lnTo>
                      <a:lnTo>
                        <a:pt x="228894" y="341799"/>
                      </a:lnTo>
                      <a:lnTo>
                        <a:pt x="231080" y="339383"/>
                      </a:lnTo>
                      <a:lnTo>
                        <a:pt x="234589" y="337319"/>
                      </a:lnTo>
                      <a:lnTo>
                        <a:pt x="237054" y="335509"/>
                      </a:lnTo>
                      <a:lnTo>
                        <a:pt x="240952" y="331575"/>
                      </a:lnTo>
                      <a:lnTo>
                        <a:pt x="246065" y="327956"/>
                      </a:lnTo>
                      <a:lnTo>
                        <a:pt x="249805" y="327276"/>
                      </a:lnTo>
                      <a:lnTo>
                        <a:pt x="253302" y="325831"/>
                      </a:lnTo>
                      <a:lnTo>
                        <a:pt x="258013" y="325261"/>
                      </a:lnTo>
                      <a:lnTo>
                        <a:pt x="261923" y="323791"/>
                      </a:lnTo>
                      <a:lnTo>
                        <a:pt x="265299" y="321873"/>
                      </a:lnTo>
                      <a:lnTo>
                        <a:pt x="266562" y="319918"/>
                      </a:lnTo>
                      <a:lnTo>
                        <a:pt x="266793" y="317052"/>
                      </a:lnTo>
                      <a:lnTo>
                        <a:pt x="267715" y="313919"/>
                      </a:lnTo>
                      <a:lnTo>
                        <a:pt x="270472" y="310361"/>
                      </a:lnTo>
                      <a:lnTo>
                        <a:pt x="281267" y="302869"/>
                      </a:lnTo>
                      <a:lnTo>
                        <a:pt x="285796" y="302092"/>
                      </a:lnTo>
                      <a:lnTo>
                        <a:pt x="288613" y="299566"/>
                      </a:lnTo>
                      <a:lnTo>
                        <a:pt x="288674" y="295948"/>
                      </a:lnTo>
                      <a:lnTo>
                        <a:pt x="287581" y="292013"/>
                      </a:lnTo>
                      <a:lnTo>
                        <a:pt x="287763" y="289233"/>
                      </a:lnTo>
                      <a:lnTo>
                        <a:pt x="288893" y="287448"/>
                      </a:lnTo>
                      <a:lnTo>
                        <a:pt x="292111" y="283683"/>
                      </a:lnTo>
                      <a:lnTo>
                        <a:pt x="291843" y="276483"/>
                      </a:lnTo>
                      <a:lnTo>
                        <a:pt x="290568" y="270132"/>
                      </a:lnTo>
                      <a:lnTo>
                        <a:pt x="291030" y="265627"/>
                      </a:lnTo>
                      <a:lnTo>
                        <a:pt x="292754" y="262239"/>
                      </a:lnTo>
                      <a:lnTo>
                        <a:pt x="296251" y="260490"/>
                      </a:lnTo>
                      <a:lnTo>
                        <a:pt x="303488" y="258341"/>
                      </a:lnTo>
                      <a:lnTo>
                        <a:pt x="307156" y="256605"/>
                      </a:lnTo>
                      <a:lnTo>
                        <a:pt x="314854" y="250436"/>
                      </a:lnTo>
                      <a:lnTo>
                        <a:pt x="321229" y="243891"/>
                      </a:lnTo>
                      <a:lnTo>
                        <a:pt x="322031" y="240479"/>
                      </a:lnTo>
                      <a:lnTo>
                        <a:pt x="319906" y="233327"/>
                      </a:lnTo>
                      <a:lnTo>
                        <a:pt x="320088" y="229769"/>
                      </a:lnTo>
                      <a:lnTo>
                        <a:pt x="322322" y="224693"/>
                      </a:lnTo>
                      <a:lnTo>
                        <a:pt x="326062" y="222216"/>
                      </a:lnTo>
                      <a:lnTo>
                        <a:pt x="336275" y="219059"/>
                      </a:lnTo>
                      <a:lnTo>
                        <a:pt x="345697" y="213339"/>
                      </a:lnTo>
                      <a:lnTo>
                        <a:pt x="349255" y="212684"/>
                      </a:lnTo>
                      <a:lnTo>
                        <a:pt x="353275" y="213084"/>
                      </a:lnTo>
                      <a:lnTo>
                        <a:pt x="356650" y="214116"/>
                      </a:lnTo>
                      <a:lnTo>
                        <a:pt x="359018" y="210789"/>
                      </a:lnTo>
                      <a:lnTo>
                        <a:pt x="361763" y="203880"/>
                      </a:lnTo>
                      <a:lnTo>
                        <a:pt x="361945" y="199472"/>
                      </a:lnTo>
                      <a:lnTo>
                        <a:pt x="363317" y="191616"/>
                      </a:lnTo>
                      <a:lnTo>
                        <a:pt x="368028" y="176085"/>
                      </a:lnTo>
                      <a:lnTo>
                        <a:pt x="367336" y="171980"/>
                      </a:lnTo>
                      <a:lnTo>
                        <a:pt x="364980" y="168641"/>
                      </a:lnTo>
                      <a:lnTo>
                        <a:pt x="357804" y="163966"/>
                      </a:lnTo>
                      <a:lnTo>
                        <a:pt x="355849" y="161513"/>
                      </a:lnTo>
                      <a:lnTo>
                        <a:pt x="353675" y="160226"/>
                      </a:lnTo>
                      <a:lnTo>
                        <a:pt x="350858" y="159655"/>
                      </a:lnTo>
                      <a:lnTo>
                        <a:pt x="340585" y="161234"/>
                      </a:lnTo>
                      <a:lnTo>
                        <a:pt x="338861" y="160469"/>
                      </a:lnTo>
                      <a:lnTo>
                        <a:pt x="338059" y="158769"/>
                      </a:lnTo>
                      <a:lnTo>
                        <a:pt x="337319" y="156474"/>
                      </a:lnTo>
                      <a:lnTo>
                        <a:pt x="335704" y="155588"/>
                      </a:lnTo>
                      <a:lnTo>
                        <a:pt x="333396" y="155588"/>
                      </a:lnTo>
                      <a:lnTo>
                        <a:pt x="330822" y="153936"/>
                      </a:lnTo>
                      <a:lnTo>
                        <a:pt x="327835" y="150074"/>
                      </a:lnTo>
                      <a:lnTo>
                        <a:pt x="323136" y="140822"/>
                      </a:lnTo>
                      <a:lnTo>
                        <a:pt x="318813" y="135139"/>
                      </a:lnTo>
                      <a:lnTo>
                        <a:pt x="315036" y="133208"/>
                      </a:lnTo>
                      <a:lnTo>
                        <a:pt x="305844" y="132698"/>
                      </a:lnTo>
                      <a:lnTo>
                        <a:pt x="295037" y="128108"/>
                      </a:lnTo>
                      <a:lnTo>
                        <a:pt x="290969" y="127015"/>
                      </a:lnTo>
                      <a:lnTo>
                        <a:pt x="287302" y="125606"/>
                      </a:lnTo>
                      <a:lnTo>
                        <a:pt x="284533" y="125813"/>
                      </a:lnTo>
                      <a:lnTo>
                        <a:pt x="282530" y="127100"/>
                      </a:lnTo>
                      <a:lnTo>
                        <a:pt x="278729" y="130622"/>
                      </a:lnTo>
                      <a:lnTo>
                        <a:pt x="273459" y="132844"/>
                      </a:lnTo>
                      <a:lnTo>
                        <a:pt x="268225" y="136766"/>
                      </a:lnTo>
                      <a:lnTo>
                        <a:pt x="265639" y="137810"/>
                      </a:lnTo>
                      <a:lnTo>
                        <a:pt x="262712" y="136657"/>
                      </a:lnTo>
                      <a:lnTo>
                        <a:pt x="261170" y="134192"/>
                      </a:lnTo>
                      <a:lnTo>
                        <a:pt x="260017" y="131059"/>
                      </a:lnTo>
                      <a:lnTo>
                        <a:pt x="257600" y="127039"/>
                      </a:lnTo>
                      <a:lnTo>
                        <a:pt x="256459" y="124465"/>
                      </a:lnTo>
                      <a:lnTo>
                        <a:pt x="255779" y="122134"/>
                      </a:lnTo>
                      <a:lnTo>
                        <a:pt x="256350" y="120992"/>
                      </a:lnTo>
                      <a:lnTo>
                        <a:pt x="257661" y="120009"/>
                      </a:lnTo>
                      <a:lnTo>
                        <a:pt x="258985" y="118576"/>
                      </a:lnTo>
                      <a:lnTo>
                        <a:pt x="260138" y="116038"/>
                      </a:lnTo>
                      <a:lnTo>
                        <a:pt x="260940" y="109019"/>
                      </a:lnTo>
                      <a:lnTo>
                        <a:pt x="262142" y="107404"/>
                      </a:lnTo>
                      <a:lnTo>
                        <a:pt x="266222" y="105911"/>
                      </a:lnTo>
                      <a:lnTo>
                        <a:pt x="267825" y="104818"/>
                      </a:lnTo>
                      <a:lnTo>
                        <a:pt x="270642" y="100859"/>
                      </a:lnTo>
                      <a:lnTo>
                        <a:pt x="272305" y="99013"/>
                      </a:lnTo>
                      <a:lnTo>
                        <a:pt x="273580" y="96524"/>
                      </a:lnTo>
                      <a:lnTo>
                        <a:pt x="273520" y="93306"/>
                      </a:lnTo>
                      <a:lnTo>
                        <a:pt x="272597" y="89663"/>
                      </a:lnTo>
                      <a:lnTo>
                        <a:pt x="269597" y="85086"/>
                      </a:lnTo>
                      <a:lnTo>
                        <a:pt x="264789" y="73465"/>
                      </a:lnTo>
                      <a:lnTo>
                        <a:pt x="262081" y="69907"/>
                      </a:lnTo>
                      <a:lnTo>
                        <a:pt x="261510" y="68037"/>
                      </a:lnTo>
                      <a:lnTo>
                        <a:pt x="263125" y="65596"/>
                      </a:lnTo>
                      <a:lnTo>
                        <a:pt x="262895" y="63192"/>
                      </a:lnTo>
                      <a:lnTo>
                        <a:pt x="261049" y="61346"/>
                      </a:lnTo>
                      <a:lnTo>
                        <a:pt x="265129" y="57825"/>
                      </a:lnTo>
                      <a:lnTo>
                        <a:pt x="272767" y="57873"/>
                      </a:lnTo>
                      <a:lnTo>
                        <a:pt x="276434" y="60751"/>
                      </a:lnTo>
                      <a:lnTo>
                        <a:pt x="284594" y="69822"/>
                      </a:lnTo>
                      <a:lnTo>
                        <a:pt x="290799" y="74388"/>
                      </a:lnTo>
                      <a:lnTo>
                        <a:pt x="296531" y="75784"/>
                      </a:lnTo>
                      <a:lnTo>
                        <a:pt x="301643" y="75687"/>
                      </a:lnTo>
                      <a:lnTo>
                        <a:pt x="306354" y="73720"/>
                      </a:lnTo>
                      <a:lnTo>
                        <a:pt x="315546" y="68389"/>
                      </a:lnTo>
                      <a:lnTo>
                        <a:pt x="320598" y="66689"/>
                      </a:lnTo>
                      <a:lnTo>
                        <a:pt x="333348" y="67527"/>
                      </a:lnTo>
                      <a:lnTo>
                        <a:pt x="338108" y="69361"/>
                      </a:lnTo>
                      <a:lnTo>
                        <a:pt x="346960" y="74497"/>
                      </a:lnTo>
                      <a:lnTo>
                        <a:pt x="352631" y="75043"/>
                      </a:lnTo>
                      <a:lnTo>
                        <a:pt x="370615" y="74679"/>
                      </a:lnTo>
                      <a:lnTo>
                        <a:pt x="377961" y="77059"/>
                      </a:lnTo>
                      <a:lnTo>
                        <a:pt x="381640" y="77630"/>
                      </a:lnTo>
                      <a:lnTo>
                        <a:pt x="410346" y="78116"/>
                      </a:lnTo>
                      <a:lnTo>
                        <a:pt x="425962" y="80241"/>
                      </a:lnTo>
                      <a:lnTo>
                        <a:pt x="432167" y="79645"/>
                      </a:lnTo>
                      <a:lnTo>
                        <a:pt x="434584" y="78152"/>
                      </a:lnTo>
                      <a:lnTo>
                        <a:pt x="436126" y="75942"/>
                      </a:lnTo>
                      <a:lnTo>
                        <a:pt x="438943" y="73926"/>
                      </a:lnTo>
                      <a:lnTo>
                        <a:pt x="447212" y="70623"/>
                      </a:lnTo>
                      <a:lnTo>
                        <a:pt x="453017" y="67405"/>
                      </a:lnTo>
                      <a:lnTo>
                        <a:pt x="454510" y="65851"/>
                      </a:lnTo>
                      <a:lnTo>
                        <a:pt x="455020" y="63508"/>
                      </a:lnTo>
                      <a:lnTo>
                        <a:pt x="455081" y="60788"/>
                      </a:lnTo>
                      <a:lnTo>
                        <a:pt x="455773" y="57995"/>
                      </a:lnTo>
                      <a:lnTo>
                        <a:pt x="458068" y="55785"/>
                      </a:lnTo>
                      <a:lnTo>
                        <a:pt x="462148" y="53890"/>
                      </a:lnTo>
                      <a:lnTo>
                        <a:pt x="467370" y="53222"/>
                      </a:lnTo>
                      <a:lnTo>
                        <a:pt x="470587" y="52105"/>
                      </a:lnTo>
                      <a:lnTo>
                        <a:pt x="476501" y="49179"/>
                      </a:lnTo>
                      <a:lnTo>
                        <a:pt x="478553" y="47163"/>
                      </a:lnTo>
                      <a:lnTo>
                        <a:pt x="479488" y="44929"/>
                      </a:lnTo>
                      <a:lnTo>
                        <a:pt x="479549" y="42379"/>
                      </a:lnTo>
                      <a:lnTo>
                        <a:pt x="479950" y="40193"/>
                      </a:lnTo>
                      <a:lnTo>
                        <a:pt x="479950" y="38870"/>
                      </a:lnTo>
                      <a:lnTo>
                        <a:pt x="482645" y="35312"/>
                      </a:lnTo>
                      <a:lnTo>
                        <a:pt x="489870" y="37121"/>
                      </a:lnTo>
                      <a:lnTo>
                        <a:pt x="500095" y="46544"/>
                      </a:lnTo>
                      <a:lnTo>
                        <a:pt x="503543" y="48802"/>
                      </a:lnTo>
                      <a:lnTo>
                        <a:pt x="508085" y="50903"/>
                      </a:lnTo>
                      <a:lnTo>
                        <a:pt x="513306" y="52142"/>
                      </a:lnTo>
                      <a:lnTo>
                        <a:pt x="515383" y="52190"/>
                      </a:lnTo>
                      <a:lnTo>
                        <a:pt x="520944" y="51389"/>
                      </a:lnTo>
                      <a:lnTo>
                        <a:pt x="527769" y="51535"/>
                      </a:lnTo>
                      <a:lnTo>
                        <a:pt x="536621" y="52713"/>
                      </a:lnTo>
                      <a:lnTo>
                        <a:pt x="539486" y="52470"/>
                      </a:lnTo>
                      <a:lnTo>
                        <a:pt x="541794" y="51911"/>
                      </a:lnTo>
                      <a:lnTo>
                        <a:pt x="547367" y="49410"/>
                      </a:lnTo>
                      <a:lnTo>
                        <a:pt x="549249" y="48778"/>
                      </a:lnTo>
                      <a:lnTo>
                        <a:pt x="554422" y="47685"/>
                      </a:lnTo>
                      <a:lnTo>
                        <a:pt x="558660" y="46155"/>
                      </a:lnTo>
                      <a:lnTo>
                        <a:pt x="560275" y="45184"/>
                      </a:lnTo>
                      <a:lnTo>
                        <a:pt x="561490" y="44152"/>
                      </a:lnTo>
                      <a:lnTo>
                        <a:pt x="562692" y="42743"/>
                      </a:lnTo>
                      <a:lnTo>
                        <a:pt x="566650" y="36259"/>
                      </a:lnTo>
                      <a:lnTo>
                        <a:pt x="567221" y="35057"/>
                      </a:lnTo>
                      <a:lnTo>
                        <a:pt x="567464" y="33927"/>
                      </a:lnTo>
                      <a:lnTo>
                        <a:pt x="567792" y="28220"/>
                      </a:lnTo>
                      <a:lnTo>
                        <a:pt x="568715" y="25573"/>
                      </a:lnTo>
                      <a:lnTo>
                        <a:pt x="570439" y="23314"/>
                      </a:lnTo>
                      <a:lnTo>
                        <a:pt x="576583" y="19635"/>
                      </a:lnTo>
                      <a:lnTo>
                        <a:pt x="578077" y="18311"/>
                      </a:lnTo>
                      <a:lnTo>
                        <a:pt x="579060" y="16478"/>
                      </a:lnTo>
                      <a:lnTo>
                        <a:pt x="581173" y="10334"/>
                      </a:lnTo>
                      <a:lnTo>
                        <a:pt x="583189" y="7152"/>
                      </a:lnTo>
                      <a:moveTo>
                        <a:pt x="580578" y="0"/>
                      </a:moveTo>
                      <a:lnTo>
                        <a:pt x="578089" y="3861"/>
                      </a:lnTo>
                      <a:lnTo>
                        <a:pt x="576073" y="6994"/>
                      </a:lnTo>
                      <a:lnTo>
                        <a:pt x="575672" y="7614"/>
                      </a:lnTo>
                      <a:lnTo>
                        <a:pt x="575430" y="8306"/>
                      </a:lnTo>
                      <a:lnTo>
                        <a:pt x="573475" y="13977"/>
                      </a:lnTo>
                      <a:lnTo>
                        <a:pt x="573232" y="14426"/>
                      </a:lnTo>
                      <a:lnTo>
                        <a:pt x="572977" y="14657"/>
                      </a:lnTo>
                      <a:lnTo>
                        <a:pt x="567318" y="18057"/>
                      </a:lnTo>
                      <a:lnTo>
                        <a:pt x="566310" y="18651"/>
                      </a:lnTo>
                      <a:lnTo>
                        <a:pt x="565606" y="19574"/>
                      </a:lnTo>
                      <a:lnTo>
                        <a:pt x="563882" y="21833"/>
                      </a:lnTo>
                      <a:lnTo>
                        <a:pt x="563299" y="22598"/>
                      </a:lnTo>
                      <a:lnTo>
                        <a:pt x="562983" y="23509"/>
                      </a:lnTo>
                      <a:lnTo>
                        <a:pt x="562060" y="26156"/>
                      </a:lnTo>
                      <a:lnTo>
                        <a:pt x="561781" y="26957"/>
                      </a:lnTo>
                      <a:lnTo>
                        <a:pt x="561732" y="27807"/>
                      </a:lnTo>
                      <a:lnTo>
                        <a:pt x="561429" y="33029"/>
                      </a:lnTo>
                      <a:lnTo>
                        <a:pt x="561307" y="33296"/>
                      </a:lnTo>
                      <a:lnTo>
                        <a:pt x="557762" y="39088"/>
                      </a:lnTo>
                      <a:lnTo>
                        <a:pt x="557191" y="39756"/>
                      </a:lnTo>
                      <a:lnTo>
                        <a:pt x="556717" y="40157"/>
                      </a:lnTo>
                      <a:lnTo>
                        <a:pt x="556037" y="40570"/>
                      </a:lnTo>
                      <a:lnTo>
                        <a:pt x="552747" y="41760"/>
                      </a:lnTo>
                      <a:lnTo>
                        <a:pt x="547987" y="42767"/>
                      </a:lnTo>
                      <a:lnTo>
                        <a:pt x="547647" y="42840"/>
                      </a:lnTo>
                      <a:lnTo>
                        <a:pt x="547319" y="42950"/>
                      </a:lnTo>
                      <a:lnTo>
                        <a:pt x="545437" y="43581"/>
                      </a:lnTo>
                      <a:lnTo>
                        <a:pt x="545145" y="43678"/>
                      </a:lnTo>
                      <a:lnTo>
                        <a:pt x="544878" y="43800"/>
                      </a:lnTo>
                      <a:lnTo>
                        <a:pt x="539814" y="46070"/>
                      </a:lnTo>
                      <a:lnTo>
                        <a:pt x="538503" y="46386"/>
                      </a:lnTo>
                      <a:lnTo>
                        <a:pt x="536766" y="46532"/>
                      </a:lnTo>
                      <a:lnTo>
                        <a:pt x="528570" y="45439"/>
                      </a:lnTo>
                      <a:lnTo>
                        <a:pt x="528242" y="45390"/>
                      </a:lnTo>
                      <a:lnTo>
                        <a:pt x="527902" y="45390"/>
                      </a:lnTo>
                      <a:lnTo>
                        <a:pt x="521078" y="45245"/>
                      </a:lnTo>
                      <a:lnTo>
                        <a:pt x="520580" y="45232"/>
                      </a:lnTo>
                      <a:lnTo>
                        <a:pt x="520082" y="45305"/>
                      </a:lnTo>
                      <a:lnTo>
                        <a:pt x="515018" y="46034"/>
                      </a:lnTo>
                      <a:lnTo>
                        <a:pt x="514083" y="46022"/>
                      </a:lnTo>
                      <a:lnTo>
                        <a:pt x="510076" y="45062"/>
                      </a:lnTo>
                      <a:lnTo>
                        <a:pt x="506494" y="43411"/>
                      </a:lnTo>
                      <a:lnTo>
                        <a:pt x="503847" y="41674"/>
                      </a:lnTo>
                      <a:lnTo>
                        <a:pt x="493987" y="32579"/>
                      </a:lnTo>
                      <a:lnTo>
                        <a:pt x="492846" y="31535"/>
                      </a:lnTo>
                      <a:lnTo>
                        <a:pt x="491340" y="31159"/>
                      </a:lnTo>
                      <a:lnTo>
                        <a:pt x="484115" y="29349"/>
                      </a:lnTo>
                      <a:lnTo>
                        <a:pt x="480229" y="28366"/>
                      </a:lnTo>
                      <a:lnTo>
                        <a:pt x="477800" y="31559"/>
                      </a:lnTo>
                      <a:lnTo>
                        <a:pt x="475105" y="35117"/>
                      </a:lnTo>
                      <a:lnTo>
                        <a:pt x="473866" y="36745"/>
                      </a:lnTo>
                      <a:lnTo>
                        <a:pt x="473866" y="38785"/>
                      </a:lnTo>
                      <a:lnTo>
                        <a:pt x="473866" y="39550"/>
                      </a:lnTo>
                      <a:lnTo>
                        <a:pt x="473563" y="41189"/>
                      </a:lnTo>
                      <a:lnTo>
                        <a:pt x="473478" y="41662"/>
                      </a:lnTo>
                      <a:lnTo>
                        <a:pt x="473465" y="42148"/>
                      </a:lnTo>
                      <a:lnTo>
                        <a:pt x="473441" y="43557"/>
                      </a:lnTo>
                      <a:lnTo>
                        <a:pt x="473417" y="43605"/>
                      </a:lnTo>
                      <a:lnTo>
                        <a:pt x="472931" y="44091"/>
                      </a:lnTo>
                      <a:lnTo>
                        <a:pt x="468232" y="46422"/>
                      </a:lnTo>
                      <a:lnTo>
                        <a:pt x="465961" y="47200"/>
                      </a:lnTo>
                      <a:lnTo>
                        <a:pt x="461371" y="47782"/>
                      </a:lnTo>
                      <a:lnTo>
                        <a:pt x="460436" y="47904"/>
                      </a:lnTo>
                      <a:lnTo>
                        <a:pt x="459586" y="48305"/>
                      </a:lnTo>
                      <a:lnTo>
                        <a:pt x="455506" y="50199"/>
                      </a:lnTo>
                      <a:lnTo>
                        <a:pt x="454571" y="50624"/>
                      </a:lnTo>
                      <a:lnTo>
                        <a:pt x="453830" y="51340"/>
                      </a:lnTo>
                      <a:lnTo>
                        <a:pt x="451535" y="53550"/>
                      </a:lnTo>
                      <a:lnTo>
                        <a:pt x="450272" y="54765"/>
                      </a:lnTo>
                      <a:lnTo>
                        <a:pt x="449859" y="56465"/>
                      </a:lnTo>
                      <a:lnTo>
                        <a:pt x="449167" y="59258"/>
                      </a:lnTo>
                      <a:lnTo>
                        <a:pt x="449009" y="59901"/>
                      </a:lnTo>
                      <a:lnTo>
                        <a:pt x="448997" y="60557"/>
                      </a:lnTo>
                      <a:lnTo>
                        <a:pt x="448949" y="62621"/>
                      </a:lnTo>
                      <a:lnTo>
                        <a:pt x="444589" y="65038"/>
                      </a:lnTo>
                      <a:lnTo>
                        <a:pt x="436684" y="68195"/>
                      </a:lnTo>
                      <a:lnTo>
                        <a:pt x="436004" y="68462"/>
                      </a:lnTo>
                      <a:lnTo>
                        <a:pt x="435409" y="68887"/>
                      </a:lnTo>
                      <a:lnTo>
                        <a:pt x="432592" y="70903"/>
                      </a:lnTo>
                      <a:lnTo>
                        <a:pt x="431742" y="71510"/>
                      </a:lnTo>
                      <a:lnTo>
                        <a:pt x="431147" y="72360"/>
                      </a:lnTo>
                      <a:lnTo>
                        <a:pt x="430321" y="73538"/>
                      </a:lnTo>
                      <a:lnTo>
                        <a:pt x="430176" y="73623"/>
                      </a:lnTo>
                      <a:lnTo>
                        <a:pt x="426084" y="74011"/>
                      </a:lnTo>
                      <a:lnTo>
                        <a:pt x="411160" y="71983"/>
                      </a:lnTo>
                      <a:lnTo>
                        <a:pt x="410808" y="71935"/>
                      </a:lnTo>
                      <a:lnTo>
                        <a:pt x="410443" y="71935"/>
                      </a:lnTo>
                      <a:lnTo>
                        <a:pt x="382151" y="71449"/>
                      </a:lnTo>
                      <a:lnTo>
                        <a:pt x="379370" y="71012"/>
                      </a:lnTo>
                      <a:lnTo>
                        <a:pt x="372485" y="68778"/>
                      </a:lnTo>
                      <a:lnTo>
                        <a:pt x="371513" y="68462"/>
                      </a:lnTo>
                      <a:lnTo>
                        <a:pt x="370493" y="68474"/>
                      </a:lnTo>
                      <a:lnTo>
                        <a:pt x="352862" y="68826"/>
                      </a:lnTo>
                      <a:lnTo>
                        <a:pt x="348855" y="68438"/>
                      </a:lnTo>
                      <a:lnTo>
                        <a:pt x="341156" y="63969"/>
                      </a:lnTo>
                      <a:lnTo>
                        <a:pt x="340731" y="63726"/>
                      </a:lnTo>
                      <a:lnTo>
                        <a:pt x="340282" y="63556"/>
                      </a:lnTo>
                      <a:lnTo>
                        <a:pt x="335521" y="61722"/>
                      </a:lnTo>
                      <a:lnTo>
                        <a:pt x="334659" y="61395"/>
                      </a:lnTo>
                      <a:lnTo>
                        <a:pt x="333736" y="61334"/>
                      </a:lnTo>
                      <a:lnTo>
                        <a:pt x="320999" y="60496"/>
                      </a:lnTo>
                      <a:lnTo>
                        <a:pt x="319796" y="60423"/>
                      </a:lnTo>
                      <a:lnTo>
                        <a:pt x="318655" y="60812"/>
                      </a:lnTo>
                      <a:lnTo>
                        <a:pt x="313604" y="62512"/>
                      </a:lnTo>
                      <a:lnTo>
                        <a:pt x="313021" y="62706"/>
                      </a:lnTo>
                      <a:lnTo>
                        <a:pt x="312499" y="63010"/>
                      </a:lnTo>
                      <a:lnTo>
                        <a:pt x="303646" y="68146"/>
                      </a:lnTo>
                      <a:lnTo>
                        <a:pt x="300368" y="69518"/>
                      </a:lnTo>
                      <a:lnTo>
                        <a:pt x="297198" y="69579"/>
                      </a:lnTo>
                      <a:lnTo>
                        <a:pt x="293410" y="68656"/>
                      </a:lnTo>
                      <a:lnTo>
                        <a:pt x="288686" y="65183"/>
                      </a:lnTo>
                      <a:lnTo>
                        <a:pt x="280939" y="56574"/>
                      </a:lnTo>
                      <a:lnTo>
                        <a:pt x="280587" y="56185"/>
                      </a:lnTo>
                      <a:lnTo>
                        <a:pt x="280174" y="55857"/>
                      </a:lnTo>
                      <a:lnTo>
                        <a:pt x="276507" y="52980"/>
                      </a:lnTo>
                      <a:lnTo>
                        <a:pt x="274880" y="51705"/>
                      </a:lnTo>
                      <a:lnTo>
                        <a:pt x="272803" y="51693"/>
                      </a:lnTo>
                      <a:lnTo>
                        <a:pt x="265165" y="51644"/>
                      </a:lnTo>
                      <a:lnTo>
                        <a:pt x="262883" y="51632"/>
                      </a:lnTo>
                      <a:lnTo>
                        <a:pt x="261158" y="53125"/>
                      </a:lnTo>
                      <a:lnTo>
                        <a:pt x="257078" y="56647"/>
                      </a:lnTo>
                      <a:lnTo>
                        <a:pt x="252136" y="60921"/>
                      </a:lnTo>
                      <a:lnTo>
                        <a:pt x="256180" y="64965"/>
                      </a:lnTo>
                      <a:lnTo>
                        <a:pt x="254856" y="66980"/>
                      </a:lnTo>
                      <a:lnTo>
                        <a:pt x="255694" y="69725"/>
                      </a:lnTo>
                      <a:lnTo>
                        <a:pt x="256265" y="71595"/>
                      </a:lnTo>
                      <a:lnTo>
                        <a:pt x="256580" y="72627"/>
                      </a:lnTo>
                      <a:lnTo>
                        <a:pt x="257236" y="73489"/>
                      </a:lnTo>
                      <a:lnTo>
                        <a:pt x="259458" y="76416"/>
                      </a:lnTo>
                      <a:lnTo>
                        <a:pt x="263975" y="87308"/>
                      </a:lnTo>
                      <a:lnTo>
                        <a:pt x="264194" y="87842"/>
                      </a:lnTo>
                      <a:lnTo>
                        <a:pt x="264510" y="88316"/>
                      </a:lnTo>
                      <a:lnTo>
                        <a:pt x="266950" y="92043"/>
                      </a:lnTo>
                      <a:lnTo>
                        <a:pt x="267448" y="94023"/>
                      </a:lnTo>
                      <a:lnTo>
                        <a:pt x="267460" y="95018"/>
                      </a:lnTo>
                      <a:lnTo>
                        <a:pt x="267242" y="95444"/>
                      </a:lnTo>
                      <a:lnTo>
                        <a:pt x="266113" y="96706"/>
                      </a:lnTo>
                      <a:lnTo>
                        <a:pt x="265882" y="96961"/>
                      </a:lnTo>
                      <a:lnTo>
                        <a:pt x="265675" y="97241"/>
                      </a:lnTo>
                      <a:lnTo>
                        <a:pt x="263477" y="100313"/>
                      </a:lnTo>
                      <a:lnTo>
                        <a:pt x="263392" y="100361"/>
                      </a:lnTo>
                      <a:lnTo>
                        <a:pt x="260029" y="101600"/>
                      </a:lnTo>
                      <a:lnTo>
                        <a:pt x="258329" y="102231"/>
                      </a:lnTo>
                      <a:lnTo>
                        <a:pt x="257248" y="103689"/>
                      </a:lnTo>
                      <a:lnTo>
                        <a:pt x="256046" y="105304"/>
                      </a:lnTo>
                      <a:lnTo>
                        <a:pt x="255075" y="106615"/>
                      </a:lnTo>
                      <a:lnTo>
                        <a:pt x="254892" y="108242"/>
                      </a:lnTo>
                      <a:lnTo>
                        <a:pt x="254200" y="114301"/>
                      </a:lnTo>
                      <a:lnTo>
                        <a:pt x="253848" y="115079"/>
                      </a:lnTo>
                      <a:lnTo>
                        <a:pt x="253557" y="115394"/>
                      </a:lnTo>
                      <a:lnTo>
                        <a:pt x="252695" y="116050"/>
                      </a:lnTo>
                      <a:lnTo>
                        <a:pt x="251541" y="116912"/>
                      </a:lnTo>
                      <a:lnTo>
                        <a:pt x="250897" y="118199"/>
                      </a:lnTo>
                      <a:lnTo>
                        <a:pt x="250327" y="119341"/>
                      </a:lnTo>
                      <a:lnTo>
                        <a:pt x="249270" y="121466"/>
                      </a:lnTo>
                      <a:lnTo>
                        <a:pt x="249938" y="123737"/>
                      </a:lnTo>
                      <a:lnTo>
                        <a:pt x="250606" y="126068"/>
                      </a:lnTo>
                      <a:lnTo>
                        <a:pt x="250727" y="126469"/>
                      </a:lnTo>
                      <a:lnTo>
                        <a:pt x="250897" y="126845"/>
                      </a:lnTo>
                      <a:lnTo>
                        <a:pt x="252039" y="129419"/>
                      </a:lnTo>
                      <a:lnTo>
                        <a:pt x="252197" y="129759"/>
                      </a:lnTo>
                      <a:lnTo>
                        <a:pt x="252391" y="130075"/>
                      </a:lnTo>
                      <a:lnTo>
                        <a:pt x="254504" y="133609"/>
                      </a:lnTo>
                      <a:lnTo>
                        <a:pt x="255463" y="136195"/>
                      </a:lnTo>
                      <a:lnTo>
                        <a:pt x="255682" y="136790"/>
                      </a:lnTo>
                      <a:lnTo>
                        <a:pt x="256022" y="137324"/>
                      </a:lnTo>
                      <a:lnTo>
                        <a:pt x="257564" y="139789"/>
                      </a:lnTo>
                      <a:lnTo>
                        <a:pt x="258620" y="141489"/>
                      </a:lnTo>
                      <a:lnTo>
                        <a:pt x="260478" y="142218"/>
                      </a:lnTo>
                      <a:lnTo>
                        <a:pt x="263405" y="143372"/>
                      </a:lnTo>
                      <a:lnTo>
                        <a:pt x="265663" y="144270"/>
                      </a:lnTo>
                      <a:lnTo>
                        <a:pt x="267922" y="143360"/>
                      </a:lnTo>
                      <a:lnTo>
                        <a:pt x="270508" y="142315"/>
                      </a:lnTo>
                      <a:lnTo>
                        <a:pt x="271237" y="142024"/>
                      </a:lnTo>
                      <a:lnTo>
                        <a:pt x="271868" y="141550"/>
                      </a:lnTo>
                      <a:lnTo>
                        <a:pt x="276507" y="138077"/>
                      </a:lnTo>
                      <a:lnTo>
                        <a:pt x="281085" y="136134"/>
                      </a:lnTo>
                      <a:lnTo>
                        <a:pt x="282068" y="135722"/>
                      </a:lnTo>
                      <a:lnTo>
                        <a:pt x="282845" y="135005"/>
                      </a:lnTo>
                      <a:lnTo>
                        <a:pt x="286270" y="131836"/>
                      </a:lnTo>
                      <a:lnTo>
                        <a:pt x="286464" y="131714"/>
                      </a:lnTo>
                      <a:lnTo>
                        <a:pt x="288796" y="132613"/>
                      </a:lnTo>
                      <a:lnTo>
                        <a:pt x="289087" y="132722"/>
                      </a:lnTo>
                      <a:lnTo>
                        <a:pt x="289391" y="132807"/>
                      </a:lnTo>
                      <a:lnTo>
                        <a:pt x="293045" y="133791"/>
                      </a:lnTo>
                      <a:lnTo>
                        <a:pt x="303464" y="138211"/>
                      </a:lnTo>
                      <a:lnTo>
                        <a:pt x="304448" y="138624"/>
                      </a:lnTo>
                      <a:lnTo>
                        <a:pt x="305504" y="138672"/>
                      </a:lnTo>
                      <a:lnTo>
                        <a:pt x="313409" y="139109"/>
                      </a:lnTo>
                      <a:lnTo>
                        <a:pt x="314806" y="139826"/>
                      </a:lnTo>
                      <a:lnTo>
                        <a:pt x="317963" y="143967"/>
                      </a:lnTo>
                      <a:lnTo>
                        <a:pt x="322419" y="152734"/>
                      </a:lnTo>
                      <a:lnTo>
                        <a:pt x="322674" y="153244"/>
                      </a:lnTo>
                      <a:lnTo>
                        <a:pt x="323027" y="153693"/>
                      </a:lnTo>
                      <a:lnTo>
                        <a:pt x="326014" y="157555"/>
                      </a:lnTo>
                      <a:lnTo>
                        <a:pt x="326657" y="158380"/>
                      </a:lnTo>
                      <a:lnTo>
                        <a:pt x="327544" y="158951"/>
                      </a:lnTo>
                      <a:lnTo>
                        <a:pt x="330118" y="160602"/>
                      </a:lnTo>
                      <a:lnTo>
                        <a:pt x="331624" y="161562"/>
                      </a:lnTo>
                      <a:lnTo>
                        <a:pt x="332716" y="161562"/>
                      </a:lnTo>
                      <a:lnTo>
                        <a:pt x="333372" y="162958"/>
                      </a:lnTo>
                      <a:lnTo>
                        <a:pt x="334344" y="164998"/>
                      </a:lnTo>
                      <a:lnTo>
                        <a:pt x="336408" y="165921"/>
                      </a:lnTo>
                      <a:lnTo>
                        <a:pt x="338132" y="166686"/>
                      </a:lnTo>
                      <a:lnTo>
                        <a:pt x="339759" y="167415"/>
                      </a:lnTo>
                      <a:lnTo>
                        <a:pt x="341520" y="167148"/>
                      </a:lnTo>
                      <a:lnTo>
                        <a:pt x="350737" y="165739"/>
                      </a:lnTo>
                      <a:lnTo>
                        <a:pt x="351489" y="165885"/>
                      </a:lnTo>
                      <a:lnTo>
                        <a:pt x="351817" y="166079"/>
                      </a:lnTo>
                      <a:lnTo>
                        <a:pt x="353080" y="167657"/>
                      </a:lnTo>
                      <a:lnTo>
                        <a:pt x="353687" y="168422"/>
                      </a:lnTo>
                      <a:lnTo>
                        <a:pt x="354513" y="168957"/>
                      </a:lnTo>
                      <a:lnTo>
                        <a:pt x="360718" y="173000"/>
                      </a:lnTo>
                      <a:lnTo>
                        <a:pt x="361605" y="174263"/>
                      </a:lnTo>
                      <a:lnTo>
                        <a:pt x="361835" y="175599"/>
                      </a:lnTo>
                      <a:lnTo>
                        <a:pt x="357537" y="189770"/>
                      </a:lnTo>
                      <a:lnTo>
                        <a:pt x="357427" y="190122"/>
                      </a:lnTo>
                      <a:lnTo>
                        <a:pt x="357367" y="190486"/>
                      </a:lnTo>
                      <a:lnTo>
                        <a:pt x="355995" y="198343"/>
                      </a:lnTo>
                      <a:lnTo>
                        <a:pt x="355934" y="198744"/>
                      </a:lnTo>
                      <a:lnTo>
                        <a:pt x="355922" y="199144"/>
                      </a:lnTo>
                      <a:lnTo>
                        <a:pt x="355788" y="202520"/>
                      </a:lnTo>
                      <a:lnTo>
                        <a:pt x="354015" y="206976"/>
                      </a:lnTo>
                      <a:lnTo>
                        <a:pt x="353918" y="206964"/>
                      </a:lnTo>
                      <a:lnTo>
                        <a:pt x="349899" y="206564"/>
                      </a:lnTo>
                      <a:lnTo>
                        <a:pt x="349037" y="206478"/>
                      </a:lnTo>
                      <a:lnTo>
                        <a:pt x="348187" y="206636"/>
                      </a:lnTo>
                      <a:lnTo>
                        <a:pt x="344629" y="207292"/>
                      </a:lnTo>
                      <a:lnTo>
                        <a:pt x="343536" y="207498"/>
                      </a:lnTo>
                      <a:lnTo>
                        <a:pt x="342577" y="208081"/>
                      </a:lnTo>
                      <a:lnTo>
                        <a:pt x="333797" y="213412"/>
                      </a:lnTo>
                      <a:lnTo>
                        <a:pt x="324301" y="216351"/>
                      </a:lnTo>
                      <a:lnTo>
                        <a:pt x="323464" y="216606"/>
                      </a:lnTo>
                      <a:lnTo>
                        <a:pt x="322735" y="217091"/>
                      </a:lnTo>
                      <a:lnTo>
                        <a:pt x="318995" y="219569"/>
                      </a:lnTo>
                      <a:lnTo>
                        <a:pt x="317501" y="220552"/>
                      </a:lnTo>
                      <a:lnTo>
                        <a:pt x="316785" y="222179"/>
                      </a:lnTo>
                      <a:lnTo>
                        <a:pt x="314551" y="227255"/>
                      </a:lnTo>
                      <a:lnTo>
                        <a:pt x="314101" y="228275"/>
                      </a:lnTo>
                      <a:lnTo>
                        <a:pt x="314041" y="229392"/>
                      </a:lnTo>
                      <a:lnTo>
                        <a:pt x="313859" y="232950"/>
                      </a:lnTo>
                      <a:lnTo>
                        <a:pt x="313810" y="233994"/>
                      </a:lnTo>
                      <a:lnTo>
                        <a:pt x="314113" y="235002"/>
                      </a:lnTo>
                      <a:lnTo>
                        <a:pt x="315777" y="240600"/>
                      </a:lnTo>
                      <a:lnTo>
                        <a:pt x="315729" y="240807"/>
                      </a:lnTo>
                      <a:lnTo>
                        <a:pt x="310786" y="245870"/>
                      </a:lnTo>
                      <a:lnTo>
                        <a:pt x="303938" y="251359"/>
                      </a:lnTo>
                      <a:lnTo>
                        <a:pt x="301339" y="252597"/>
                      </a:lnTo>
                      <a:lnTo>
                        <a:pt x="294551" y="254613"/>
                      </a:lnTo>
                      <a:lnTo>
                        <a:pt x="294041" y="254771"/>
                      </a:lnTo>
                      <a:lnTo>
                        <a:pt x="293568" y="255014"/>
                      </a:lnTo>
                      <a:lnTo>
                        <a:pt x="290071" y="256762"/>
                      </a:lnTo>
                      <a:lnTo>
                        <a:pt x="288285" y="257661"/>
                      </a:lnTo>
                      <a:lnTo>
                        <a:pt x="287375" y="259446"/>
                      </a:lnTo>
                      <a:lnTo>
                        <a:pt x="285651" y="262834"/>
                      </a:lnTo>
                      <a:lnTo>
                        <a:pt x="285140" y="263842"/>
                      </a:lnTo>
                      <a:lnTo>
                        <a:pt x="285019" y="264959"/>
                      </a:lnTo>
                      <a:lnTo>
                        <a:pt x="284558" y="269464"/>
                      </a:lnTo>
                      <a:lnTo>
                        <a:pt x="284473" y="270375"/>
                      </a:lnTo>
                      <a:lnTo>
                        <a:pt x="284655" y="271273"/>
                      </a:lnTo>
                      <a:lnTo>
                        <a:pt x="285833" y="277150"/>
                      </a:lnTo>
                      <a:lnTo>
                        <a:pt x="285991" y="281497"/>
                      </a:lnTo>
                      <a:lnTo>
                        <a:pt x="284315" y="283465"/>
                      </a:lnTo>
                      <a:lnTo>
                        <a:pt x="284036" y="283793"/>
                      </a:lnTo>
                      <a:lnTo>
                        <a:pt x="283805" y="284157"/>
                      </a:lnTo>
                      <a:lnTo>
                        <a:pt x="282676" y="285942"/>
                      </a:lnTo>
                      <a:lnTo>
                        <a:pt x="281850" y="287253"/>
                      </a:lnTo>
                      <a:lnTo>
                        <a:pt x="281753" y="288808"/>
                      </a:lnTo>
                      <a:lnTo>
                        <a:pt x="281571" y="291588"/>
                      </a:lnTo>
                      <a:lnTo>
                        <a:pt x="281510" y="292608"/>
                      </a:lnTo>
                      <a:lnTo>
                        <a:pt x="281777" y="293592"/>
                      </a:lnTo>
                      <a:lnTo>
                        <a:pt x="282566" y="296458"/>
                      </a:lnTo>
                      <a:lnTo>
                        <a:pt x="280283" y="296846"/>
                      </a:lnTo>
                      <a:lnTo>
                        <a:pt x="278960" y="297077"/>
                      </a:lnTo>
                      <a:lnTo>
                        <a:pt x="277855" y="297842"/>
                      </a:lnTo>
                      <a:lnTo>
                        <a:pt x="267060" y="305334"/>
                      </a:lnTo>
                      <a:lnTo>
                        <a:pt x="266295" y="305856"/>
                      </a:lnTo>
                      <a:lnTo>
                        <a:pt x="265724" y="306597"/>
                      </a:lnTo>
                      <a:lnTo>
                        <a:pt x="262968" y="310155"/>
                      </a:lnTo>
                      <a:lnTo>
                        <a:pt x="262263" y="311053"/>
                      </a:lnTo>
                      <a:lnTo>
                        <a:pt x="261935" y="312146"/>
                      </a:lnTo>
                      <a:lnTo>
                        <a:pt x="261012" y="315279"/>
                      </a:lnTo>
                      <a:lnTo>
                        <a:pt x="260830" y="315886"/>
                      </a:lnTo>
                      <a:lnTo>
                        <a:pt x="260782" y="316518"/>
                      </a:lnTo>
                      <a:lnTo>
                        <a:pt x="260709" y="317477"/>
                      </a:lnTo>
                      <a:lnTo>
                        <a:pt x="259385" y="318230"/>
                      </a:lnTo>
                      <a:lnTo>
                        <a:pt x="256605" y="319262"/>
                      </a:lnTo>
                      <a:lnTo>
                        <a:pt x="252609" y="319760"/>
                      </a:lnTo>
                      <a:lnTo>
                        <a:pt x="251796" y="319857"/>
                      </a:lnTo>
                      <a:lnTo>
                        <a:pt x="251043" y="320173"/>
                      </a:lnTo>
                      <a:lnTo>
                        <a:pt x="248141" y="321375"/>
                      </a:lnTo>
                      <a:lnTo>
                        <a:pt x="245032" y="321946"/>
                      </a:lnTo>
                      <a:lnTo>
                        <a:pt x="243709" y="322189"/>
                      </a:lnTo>
                      <a:lnTo>
                        <a:pt x="242616" y="322966"/>
                      </a:lnTo>
                      <a:lnTo>
                        <a:pt x="237504" y="326584"/>
                      </a:lnTo>
                      <a:lnTo>
                        <a:pt x="237067" y="326888"/>
                      </a:lnTo>
                      <a:lnTo>
                        <a:pt x="236690" y="327264"/>
                      </a:lnTo>
                      <a:lnTo>
                        <a:pt x="233132" y="330859"/>
                      </a:lnTo>
                      <a:lnTo>
                        <a:pt x="231299" y="332207"/>
                      </a:lnTo>
                      <a:lnTo>
                        <a:pt x="228057" y="334113"/>
                      </a:lnTo>
                      <a:lnTo>
                        <a:pt x="227255" y="334587"/>
                      </a:lnTo>
                      <a:lnTo>
                        <a:pt x="226636" y="335279"/>
                      </a:lnTo>
                      <a:lnTo>
                        <a:pt x="225021" y="337064"/>
                      </a:lnTo>
                      <a:lnTo>
                        <a:pt x="224790" y="337209"/>
                      </a:lnTo>
                      <a:lnTo>
                        <a:pt x="222264" y="332656"/>
                      </a:lnTo>
                      <a:lnTo>
                        <a:pt x="221900" y="332000"/>
                      </a:lnTo>
                      <a:lnTo>
                        <a:pt x="221390" y="331454"/>
                      </a:lnTo>
                      <a:lnTo>
                        <a:pt x="219265" y="329183"/>
                      </a:lnTo>
                      <a:lnTo>
                        <a:pt x="218318" y="328163"/>
                      </a:lnTo>
                      <a:lnTo>
                        <a:pt x="217019" y="327653"/>
                      </a:lnTo>
                      <a:lnTo>
                        <a:pt x="214250" y="326584"/>
                      </a:lnTo>
                      <a:lnTo>
                        <a:pt x="212987" y="326099"/>
                      </a:lnTo>
                      <a:lnTo>
                        <a:pt x="211627" y="326196"/>
                      </a:lnTo>
                      <a:lnTo>
                        <a:pt x="209114" y="326378"/>
                      </a:lnTo>
                      <a:lnTo>
                        <a:pt x="207171" y="326524"/>
                      </a:lnTo>
                      <a:lnTo>
                        <a:pt x="205665" y="327774"/>
                      </a:lnTo>
                      <a:lnTo>
                        <a:pt x="202484" y="330421"/>
                      </a:lnTo>
                      <a:lnTo>
                        <a:pt x="199071" y="330847"/>
                      </a:lnTo>
                      <a:lnTo>
                        <a:pt x="198501" y="330919"/>
                      </a:lnTo>
                      <a:lnTo>
                        <a:pt x="197954" y="331101"/>
                      </a:lnTo>
                      <a:lnTo>
                        <a:pt x="195028" y="332049"/>
                      </a:lnTo>
                      <a:lnTo>
                        <a:pt x="193874" y="332425"/>
                      </a:lnTo>
                      <a:lnTo>
                        <a:pt x="192951" y="333202"/>
                      </a:lnTo>
                      <a:lnTo>
                        <a:pt x="190049" y="335679"/>
                      </a:lnTo>
                      <a:lnTo>
                        <a:pt x="189296" y="336019"/>
                      </a:lnTo>
                      <a:lnTo>
                        <a:pt x="189090" y="335412"/>
                      </a:lnTo>
                      <a:lnTo>
                        <a:pt x="188920" y="334927"/>
                      </a:lnTo>
                      <a:lnTo>
                        <a:pt x="188677" y="334477"/>
                      </a:lnTo>
                      <a:lnTo>
                        <a:pt x="187657" y="332583"/>
                      </a:lnTo>
                      <a:lnTo>
                        <a:pt x="186346" y="330154"/>
                      </a:lnTo>
                      <a:lnTo>
                        <a:pt x="183650" y="329547"/>
                      </a:lnTo>
                      <a:lnTo>
                        <a:pt x="181865" y="329147"/>
                      </a:lnTo>
                      <a:lnTo>
                        <a:pt x="179813" y="328685"/>
                      </a:lnTo>
                      <a:lnTo>
                        <a:pt x="177918" y="329596"/>
                      </a:lnTo>
                      <a:lnTo>
                        <a:pt x="175672" y="330664"/>
                      </a:lnTo>
                      <a:lnTo>
                        <a:pt x="174664" y="331150"/>
                      </a:lnTo>
                      <a:lnTo>
                        <a:pt x="173899" y="331952"/>
                      </a:lnTo>
                      <a:lnTo>
                        <a:pt x="171434" y="334526"/>
                      </a:lnTo>
                      <a:lnTo>
                        <a:pt x="171191" y="334781"/>
                      </a:lnTo>
                      <a:lnTo>
                        <a:pt x="170985" y="335048"/>
                      </a:lnTo>
                      <a:lnTo>
                        <a:pt x="164622" y="343414"/>
                      </a:lnTo>
                      <a:lnTo>
                        <a:pt x="164051" y="344167"/>
                      </a:lnTo>
                      <a:lnTo>
                        <a:pt x="163735" y="345066"/>
                      </a:lnTo>
                      <a:lnTo>
                        <a:pt x="162181" y="349474"/>
                      </a:lnTo>
                      <a:lnTo>
                        <a:pt x="161890" y="350299"/>
                      </a:lnTo>
                      <a:lnTo>
                        <a:pt x="161841" y="351186"/>
                      </a:lnTo>
                      <a:lnTo>
                        <a:pt x="161489" y="358168"/>
                      </a:lnTo>
                      <a:lnTo>
                        <a:pt x="161465" y="358678"/>
                      </a:lnTo>
                      <a:lnTo>
                        <a:pt x="161525" y="359176"/>
                      </a:lnTo>
                      <a:lnTo>
                        <a:pt x="162084" y="364045"/>
                      </a:lnTo>
                      <a:lnTo>
                        <a:pt x="161805" y="368223"/>
                      </a:lnTo>
                      <a:lnTo>
                        <a:pt x="161440" y="370214"/>
                      </a:lnTo>
                      <a:lnTo>
                        <a:pt x="158380" y="375375"/>
                      </a:lnTo>
                      <a:lnTo>
                        <a:pt x="151932" y="379127"/>
                      </a:lnTo>
                      <a:lnTo>
                        <a:pt x="151459" y="379394"/>
                      </a:lnTo>
                      <a:lnTo>
                        <a:pt x="151046" y="379734"/>
                      </a:lnTo>
                      <a:lnTo>
                        <a:pt x="149225" y="381276"/>
                      </a:lnTo>
                      <a:lnTo>
                        <a:pt x="148812" y="381616"/>
                      </a:lnTo>
                      <a:lnTo>
                        <a:pt x="148472" y="382029"/>
                      </a:lnTo>
                      <a:lnTo>
                        <a:pt x="145994" y="385016"/>
                      </a:lnTo>
                      <a:lnTo>
                        <a:pt x="145424" y="385708"/>
                      </a:lnTo>
                      <a:lnTo>
                        <a:pt x="145084" y="386534"/>
                      </a:lnTo>
                      <a:lnTo>
                        <a:pt x="143700" y="389813"/>
                      </a:lnTo>
                      <a:lnTo>
                        <a:pt x="143274" y="390796"/>
                      </a:lnTo>
                      <a:lnTo>
                        <a:pt x="143226" y="391877"/>
                      </a:lnTo>
                      <a:lnTo>
                        <a:pt x="142789" y="400790"/>
                      </a:lnTo>
                      <a:lnTo>
                        <a:pt x="141356" y="401239"/>
                      </a:lnTo>
                      <a:lnTo>
                        <a:pt x="139947" y="401664"/>
                      </a:lnTo>
                      <a:lnTo>
                        <a:pt x="138891" y="402696"/>
                      </a:lnTo>
                      <a:lnTo>
                        <a:pt x="138089" y="403473"/>
                      </a:lnTo>
                      <a:lnTo>
                        <a:pt x="135965" y="405550"/>
                      </a:lnTo>
                      <a:lnTo>
                        <a:pt x="135224" y="405210"/>
                      </a:lnTo>
                      <a:lnTo>
                        <a:pt x="133500" y="404384"/>
                      </a:lnTo>
                      <a:lnTo>
                        <a:pt x="131617" y="404700"/>
                      </a:lnTo>
                      <a:lnTo>
                        <a:pt x="128703" y="405186"/>
                      </a:lnTo>
                      <a:lnTo>
                        <a:pt x="127112" y="405440"/>
                      </a:lnTo>
                      <a:lnTo>
                        <a:pt x="125862" y="406460"/>
                      </a:lnTo>
                      <a:lnTo>
                        <a:pt x="122935" y="408840"/>
                      </a:lnTo>
                      <a:lnTo>
                        <a:pt x="122158" y="409484"/>
                      </a:lnTo>
                      <a:lnTo>
                        <a:pt x="121624" y="410322"/>
                      </a:lnTo>
                      <a:lnTo>
                        <a:pt x="118175" y="415835"/>
                      </a:lnTo>
                      <a:lnTo>
                        <a:pt x="118005" y="416102"/>
                      </a:lnTo>
                      <a:lnTo>
                        <a:pt x="117859" y="416393"/>
                      </a:lnTo>
                      <a:lnTo>
                        <a:pt x="110221" y="432070"/>
                      </a:lnTo>
                      <a:lnTo>
                        <a:pt x="110039" y="432434"/>
                      </a:lnTo>
                      <a:lnTo>
                        <a:pt x="109906" y="432823"/>
                      </a:lnTo>
                      <a:lnTo>
                        <a:pt x="108181" y="438081"/>
                      </a:lnTo>
                      <a:lnTo>
                        <a:pt x="107926" y="438858"/>
                      </a:lnTo>
                      <a:lnTo>
                        <a:pt x="107890" y="439684"/>
                      </a:lnTo>
                      <a:lnTo>
                        <a:pt x="107489" y="448147"/>
                      </a:lnTo>
                      <a:lnTo>
                        <a:pt x="107477" y="448512"/>
                      </a:lnTo>
                      <a:lnTo>
                        <a:pt x="107501" y="448876"/>
                      </a:lnTo>
                      <a:lnTo>
                        <a:pt x="108315" y="459744"/>
                      </a:lnTo>
                      <a:lnTo>
                        <a:pt x="105874" y="466604"/>
                      </a:lnTo>
                      <a:lnTo>
                        <a:pt x="103616" y="470684"/>
                      </a:lnTo>
                      <a:lnTo>
                        <a:pt x="102584" y="471498"/>
                      </a:lnTo>
                      <a:lnTo>
                        <a:pt x="97872" y="472190"/>
                      </a:lnTo>
                      <a:lnTo>
                        <a:pt x="95686" y="472506"/>
                      </a:lnTo>
                      <a:lnTo>
                        <a:pt x="94217" y="474157"/>
                      </a:lnTo>
                      <a:lnTo>
                        <a:pt x="91570" y="477120"/>
                      </a:lnTo>
                      <a:lnTo>
                        <a:pt x="90732" y="478055"/>
                      </a:lnTo>
                      <a:lnTo>
                        <a:pt x="90331" y="479257"/>
                      </a:lnTo>
                      <a:lnTo>
                        <a:pt x="88558" y="484588"/>
                      </a:lnTo>
                      <a:lnTo>
                        <a:pt x="88303" y="485341"/>
                      </a:lnTo>
                      <a:lnTo>
                        <a:pt x="88255" y="486118"/>
                      </a:lnTo>
                      <a:lnTo>
                        <a:pt x="87138" y="504867"/>
                      </a:lnTo>
                      <a:lnTo>
                        <a:pt x="86616" y="506858"/>
                      </a:lnTo>
                      <a:lnTo>
                        <a:pt x="85923" y="510744"/>
                      </a:lnTo>
                      <a:lnTo>
                        <a:pt x="85802" y="511473"/>
                      </a:lnTo>
                      <a:lnTo>
                        <a:pt x="85851" y="512213"/>
                      </a:lnTo>
                      <a:lnTo>
                        <a:pt x="87065" y="528849"/>
                      </a:lnTo>
                      <a:lnTo>
                        <a:pt x="86652" y="532383"/>
                      </a:lnTo>
                      <a:lnTo>
                        <a:pt x="84041" y="539292"/>
                      </a:lnTo>
                      <a:lnTo>
                        <a:pt x="83883" y="539729"/>
                      </a:lnTo>
                      <a:lnTo>
                        <a:pt x="83786" y="540178"/>
                      </a:lnTo>
                      <a:lnTo>
                        <a:pt x="82390" y="546736"/>
                      </a:lnTo>
                      <a:lnTo>
                        <a:pt x="78990" y="555624"/>
                      </a:lnTo>
                      <a:lnTo>
                        <a:pt x="78601" y="556644"/>
                      </a:lnTo>
                      <a:lnTo>
                        <a:pt x="78589" y="557725"/>
                      </a:lnTo>
                      <a:lnTo>
                        <a:pt x="78504" y="565958"/>
                      </a:lnTo>
                      <a:lnTo>
                        <a:pt x="77350" y="568229"/>
                      </a:lnTo>
                      <a:lnTo>
                        <a:pt x="72566" y="573013"/>
                      </a:lnTo>
                      <a:lnTo>
                        <a:pt x="71425" y="573924"/>
                      </a:lnTo>
                      <a:lnTo>
                        <a:pt x="57545" y="580699"/>
                      </a:lnTo>
                      <a:lnTo>
                        <a:pt x="57242" y="580857"/>
                      </a:lnTo>
                      <a:lnTo>
                        <a:pt x="56950" y="581040"/>
                      </a:lnTo>
                      <a:lnTo>
                        <a:pt x="44953" y="588678"/>
                      </a:lnTo>
                      <a:lnTo>
                        <a:pt x="44492" y="588969"/>
                      </a:lnTo>
                      <a:lnTo>
                        <a:pt x="44091" y="589333"/>
                      </a:lnTo>
                      <a:lnTo>
                        <a:pt x="41857" y="591398"/>
                      </a:lnTo>
                      <a:lnTo>
                        <a:pt x="41480" y="591750"/>
                      </a:lnTo>
                      <a:lnTo>
                        <a:pt x="41165" y="592162"/>
                      </a:lnTo>
                      <a:lnTo>
                        <a:pt x="39780" y="593960"/>
                      </a:lnTo>
                      <a:lnTo>
                        <a:pt x="39380" y="594482"/>
                      </a:lnTo>
                      <a:lnTo>
                        <a:pt x="39100" y="595077"/>
                      </a:lnTo>
                      <a:lnTo>
                        <a:pt x="37995" y="597433"/>
                      </a:lnTo>
                      <a:lnTo>
                        <a:pt x="37752" y="597967"/>
                      </a:lnTo>
                      <a:lnTo>
                        <a:pt x="37607" y="598537"/>
                      </a:lnTo>
                      <a:lnTo>
                        <a:pt x="37097" y="600577"/>
                      </a:lnTo>
                      <a:lnTo>
                        <a:pt x="37012" y="600881"/>
                      </a:lnTo>
                      <a:lnTo>
                        <a:pt x="36975" y="601185"/>
                      </a:lnTo>
                      <a:lnTo>
                        <a:pt x="35263" y="613340"/>
                      </a:lnTo>
                      <a:lnTo>
                        <a:pt x="33308" y="620115"/>
                      </a:lnTo>
                      <a:lnTo>
                        <a:pt x="33187" y="620541"/>
                      </a:lnTo>
                      <a:lnTo>
                        <a:pt x="33126" y="620978"/>
                      </a:lnTo>
                      <a:lnTo>
                        <a:pt x="32834" y="623127"/>
                      </a:lnTo>
                      <a:lnTo>
                        <a:pt x="32762" y="623661"/>
                      </a:lnTo>
                      <a:lnTo>
                        <a:pt x="32786" y="624183"/>
                      </a:lnTo>
                      <a:lnTo>
                        <a:pt x="32895" y="627025"/>
                      </a:lnTo>
                      <a:lnTo>
                        <a:pt x="32919" y="627729"/>
                      </a:lnTo>
                      <a:lnTo>
                        <a:pt x="33102" y="628397"/>
                      </a:lnTo>
                      <a:lnTo>
                        <a:pt x="34194" y="632380"/>
                      </a:lnTo>
                      <a:lnTo>
                        <a:pt x="34304" y="632793"/>
                      </a:lnTo>
                      <a:lnTo>
                        <a:pt x="34474" y="633182"/>
                      </a:lnTo>
                      <a:lnTo>
                        <a:pt x="36137" y="637031"/>
                      </a:lnTo>
                      <a:lnTo>
                        <a:pt x="36356" y="637541"/>
                      </a:lnTo>
                      <a:lnTo>
                        <a:pt x="36659" y="637990"/>
                      </a:lnTo>
                      <a:lnTo>
                        <a:pt x="37752" y="639629"/>
                      </a:lnTo>
                      <a:lnTo>
                        <a:pt x="37947" y="639921"/>
                      </a:lnTo>
                      <a:lnTo>
                        <a:pt x="38190" y="640188"/>
                      </a:lnTo>
                      <a:lnTo>
                        <a:pt x="39622" y="641876"/>
                      </a:lnTo>
                      <a:lnTo>
                        <a:pt x="40060" y="642398"/>
                      </a:lnTo>
                      <a:lnTo>
                        <a:pt x="40606" y="642799"/>
                      </a:lnTo>
                      <a:lnTo>
                        <a:pt x="42160" y="643964"/>
                      </a:lnTo>
                      <a:lnTo>
                        <a:pt x="42634" y="644317"/>
                      </a:lnTo>
                      <a:lnTo>
                        <a:pt x="43168" y="644571"/>
                      </a:lnTo>
                      <a:lnTo>
                        <a:pt x="44953" y="645422"/>
                      </a:lnTo>
                      <a:lnTo>
                        <a:pt x="45694" y="645761"/>
                      </a:lnTo>
                      <a:lnTo>
                        <a:pt x="46495" y="645919"/>
                      </a:lnTo>
                      <a:lnTo>
                        <a:pt x="48390" y="646259"/>
                      </a:lnTo>
                      <a:lnTo>
                        <a:pt x="48839" y="646344"/>
                      </a:lnTo>
                      <a:lnTo>
                        <a:pt x="49300" y="646357"/>
                      </a:lnTo>
                      <a:lnTo>
                        <a:pt x="50563" y="646393"/>
                      </a:lnTo>
                      <a:lnTo>
                        <a:pt x="51207" y="646405"/>
                      </a:lnTo>
                      <a:lnTo>
                        <a:pt x="51826" y="646296"/>
                      </a:lnTo>
                      <a:lnTo>
                        <a:pt x="52798" y="646113"/>
                      </a:lnTo>
                      <a:lnTo>
                        <a:pt x="53247" y="646029"/>
                      </a:lnTo>
                      <a:lnTo>
                        <a:pt x="53684" y="645871"/>
                      </a:lnTo>
                      <a:lnTo>
                        <a:pt x="55299" y="645312"/>
                      </a:lnTo>
                      <a:lnTo>
                        <a:pt x="55396" y="645834"/>
                      </a:lnTo>
                      <a:lnTo>
                        <a:pt x="55530" y="646866"/>
                      </a:lnTo>
                      <a:lnTo>
                        <a:pt x="55627" y="650655"/>
                      </a:lnTo>
                      <a:lnTo>
                        <a:pt x="55687" y="669525"/>
                      </a:lnTo>
                      <a:lnTo>
                        <a:pt x="55687" y="670072"/>
                      </a:lnTo>
                      <a:lnTo>
                        <a:pt x="55785" y="670618"/>
                      </a:lnTo>
                      <a:lnTo>
                        <a:pt x="58638" y="685967"/>
                      </a:lnTo>
                      <a:lnTo>
                        <a:pt x="58529" y="686744"/>
                      </a:lnTo>
                      <a:lnTo>
                        <a:pt x="51693" y="689962"/>
                      </a:lnTo>
                      <a:lnTo>
                        <a:pt x="50879" y="690338"/>
                      </a:lnTo>
                      <a:lnTo>
                        <a:pt x="50211" y="690945"/>
                      </a:lnTo>
                      <a:lnTo>
                        <a:pt x="48717" y="692293"/>
                      </a:lnTo>
                      <a:lnTo>
                        <a:pt x="48256" y="692718"/>
                      </a:lnTo>
                      <a:lnTo>
                        <a:pt x="47892" y="693216"/>
                      </a:lnTo>
                      <a:lnTo>
                        <a:pt x="46738" y="694794"/>
                      </a:lnTo>
                      <a:lnTo>
                        <a:pt x="46350" y="695329"/>
                      </a:lnTo>
                      <a:lnTo>
                        <a:pt x="46095" y="695924"/>
                      </a:lnTo>
                      <a:lnTo>
                        <a:pt x="44844" y="698741"/>
                      </a:lnTo>
                      <a:lnTo>
                        <a:pt x="44540" y="699446"/>
                      </a:lnTo>
                      <a:lnTo>
                        <a:pt x="44407" y="700198"/>
                      </a:lnTo>
                      <a:lnTo>
                        <a:pt x="44103" y="701995"/>
                      </a:lnTo>
                      <a:lnTo>
                        <a:pt x="44006" y="702602"/>
                      </a:lnTo>
                      <a:lnTo>
                        <a:pt x="44030" y="703222"/>
                      </a:lnTo>
                      <a:lnTo>
                        <a:pt x="44091" y="704897"/>
                      </a:lnTo>
                      <a:lnTo>
                        <a:pt x="44127" y="705978"/>
                      </a:lnTo>
                      <a:lnTo>
                        <a:pt x="44540" y="706986"/>
                      </a:lnTo>
                      <a:lnTo>
                        <a:pt x="44941" y="707958"/>
                      </a:lnTo>
                      <a:lnTo>
                        <a:pt x="45463" y="709221"/>
                      </a:lnTo>
                      <a:lnTo>
                        <a:pt x="46483" y="710143"/>
                      </a:lnTo>
                      <a:lnTo>
                        <a:pt x="47236" y="710835"/>
                      </a:lnTo>
                      <a:lnTo>
                        <a:pt x="47843" y="711394"/>
                      </a:lnTo>
                      <a:lnTo>
                        <a:pt x="48584" y="711758"/>
                      </a:lnTo>
                      <a:lnTo>
                        <a:pt x="49555" y="712244"/>
                      </a:lnTo>
                      <a:lnTo>
                        <a:pt x="50393" y="712669"/>
                      </a:lnTo>
                      <a:lnTo>
                        <a:pt x="51316" y="712815"/>
                      </a:lnTo>
                      <a:lnTo>
                        <a:pt x="52931" y="713070"/>
                      </a:lnTo>
                      <a:lnTo>
                        <a:pt x="53818" y="713228"/>
                      </a:lnTo>
                      <a:lnTo>
                        <a:pt x="54716" y="713094"/>
                      </a:lnTo>
                      <a:lnTo>
                        <a:pt x="56380" y="712863"/>
                      </a:lnTo>
                      <a:lnTo>
                        <a:pt x="57084" y="712766"/>
                      </a:lnTo>
                      <a:lnTo>
                        <a:pt x="57740" y="712511"/>
                      </a:lnTo>
                      <a:lnTo>
                        <a:pt x="59342" y="711892"/>
                      </a:lnTo>
                      <a:lnTo>
                        <a:pt x="59768" y="711722"/>
                      </a:lnTo>
                      <a:lnTo>
                        <a:pt x="60168" y="711491"/>
                      </a:lnTo>
                      <a:lnTo>
                        <a:pt x="62985" y="709888"/>
                      </a:lnTo>
                      <a:lnTo>
                        <a:pt x="63289" y="709718"/>
                      </a:lnTo>
                      <a:lnTo>
                        <a:pt x="63568" y="709500"/>
                      </a:lnTo>
                      <a:lnTo>
                        <a:pt x="66130" y="707642"/>
                      </a:lnTo>
                      <a:lnTo>
                        <a:pt x="66167" y="707630"/>
                      </a:lnTo>
                      <a:lnTo>
                        <a:pt x="67964" y="708152"/>
                      </a:lnTo>
                      <a:lnTo>
                        <a:pt x="68013" y="708164"/>
                      </a:lnTo>
                      <a:lnTo>
                        <a:pt x="67709" y="716021"/>
                      </a:lnTo>
                      <a:lnTo>
                        <a:pt x="67685" y="716688"/>
                      </a:lnTo>
                      <a:lnTo>
                        <a:pt x="67806" y="717332"/>
                      </a:lnTo>
                      <a:lnTo>
                        <a:pt x="68073" y="718825"/>
                      </a:lnTo>
                      <a:lnTo>
                        <a:pt x="68207" y="719554"/>
                      </a:lnTo>
                      <a:lnTo>
                        <a:pt x="68498" y="720234"/>
                      </a:lnTo>
                      <a:lnTo>
                        <a:pt x="69021" y="721412"/>
                      </a:lnTo>
                      <a:lnTo>
                        <a:pt x="69373" y="722189"/>
                      </a:lnTo>
                      <a:lnTo>
                        <a:pt x="69615" y="722480"/>
                      </a:lnTo>
                      <a:lnTo>
                        <a:pt x="69178" y="723197"/>
                      </a:lnTo>
                      <a:lnTo>
                        <a:pt x="68887" y="723658"/>
                      </a:lnTo>
                      <a:lnTo>
                        <a:pt x="68681" y="724168"/>
                      </a:lnTo>
                      <a:lnTo>
                        <a:pt x="67418" y="727398"/>
                      </a:lnTo>
                      <a:lnTo>
                        <a:pt x="66725" y="729754"/>
                      </a:lnTo>
                      <a:lnTo>
                        <a:pt x="66531" y="730434"/>
                      </a:lnTo>
                      <a:lnTo>
                        <a:pt x="66507" y="731151"/>
                      </a:lnTo>
                      <a:lnTo>
                        <a:pt x="65985" y="743476"/>
                      </a:lnTo>
                      <a:lnTo>
                        <a:pt x="65973" y="743840"/>
                      </a:lnTo>
                      <a:lnTo>
                        <a:pt x="65997" y="744204"/>
                      </a:lnTo>
                      <a:lnTo>
                        <a:pt x="66240" y="747337"/>
                      </a:lnTo>
                      <a:lnTo>
                        <a:pt x="66276" y="747847"/>
                      </a:lnTo>
                      <a:lnTo>
                        <a:pt x="66398" y="748345"/>
                      </a:lnTo>
                      <a:lnTo>
                        <a:pt x="67078" y="751053"/>
                      </a:lnTo>
                      <a:lnTo>
                        <a:pt x="67187" y="751490"/>
                      </a:lnTo>
                      <a:lnTo>
                        <a:pt x="67357" y="751903"/>
                      </a:lnTo>
                      <a:lnTo>
                        <a:pt x="68025" y="753506"/>
                      </a:lnTo>
                      <a:lnTo>
                        <a:pt x="68243" y="754258"/>
                      </a:lnTo>
                      <a:lnTo>
                        <a:pt x="66956" y="754720"/>
                      </a:lnTo>
                      <a:lnTo>
                        <a:pt x="66531" y="754878"/>
                      </a:lnTo>
                      <a:lnTo>
                        <a:pt x="66130" y="755084"/>
                      </a:lnTo>
                      <a:lnTo>
                        <a:pt x="64309" y="756056"/>
                      </a:lnTo>
                      <a:lnTo>
                        <a:pt x="63860" y="756298"/>
                      </a:lnTo>
                      <a:lnTo>
                        <a:pt x="63459" y="756602"/>
                      </a:lnTo>
                      <a:lnTo>
                        <a:pt x="61443" y="758157"/>
                      </a:lnTo>
                      <a:lnTo>
                        <a:pt x="61188" y="758363"/>
                      </a:lnTo>
                      <a:lnTo>
                        <a:pt x="60958" y="758582"/>
                      </a:lnTo>
                      <a:lnTo>
                        <a:pt x="56173" y="763123"/>
                      </a:lnTo>
                      <a:lnTo>
                        <a:pt x="54765" y="764058"/>
                      </a:lnTo>
                      <a:lnTo>
                        <a:pt x="53465" y="764519"/>
                      </a:lnTo>
                      <a:lnTo>
                        <a:pt x="51887" y="764835"/>
                      </a:lnTo>
                      <a:lnTo>
                        <a:pt x="41808" y="765831"/>
                      </a:lnTo>
                      <a:lnTo>
                        <a:pt x="41140" y="765892"/>
                      </a:lnTo>
                      <a:lnTo>
                        <a:pt x="40509" y="766110"/>
                      </a:lnTo>
                      <a:lnTo>
                        <a:pt x="38141" y="766887"/>
                      </a:lnTo>
                      <a:lnTo>
                        <a:pt x="37327" y="767154"/>
                      </a:lnTo>
                      <a:lnTo>
                        <a:pt x="36623" y="767640"/>
                      </a:lnTo>
                      <a:lnTo>
                        <a:pt x="34790" y="768903"/>
                      </a:lnTo>
                      <a:lnTo>
                        <a:pt x="33551" y="769741"/>
                      </a:lnTo>
                      <a:lnTo>
                        <a:pt x="32859" y="771052"/>
                      </a:lnTo>
                      <a:lnTo>
                        <a:pt x="31535" y="773554"/>
                      </a:lnTo>
                      <a:lnTo>
                        <a:pt x="30928" y="774683"/>
                      </a:lnTo>
                      <a:lnTo>
                        <a:pt x="30843" y="775958"/>
                      </a:lnTo>
                      <a:lnTo>
                        <a:pt x="30673" y="778241"/>
                      </a:lnTo>
                      <a:lnTo>
                        <a:pt x="30637" y="778690"/>
                      </a:lnTo>
                      <a:lnTo>
                        <a:pt x="30673" y="779152"/>
                      </a:lnTo>
                      <a:lnTo>
                        <a:pt x="30843" y="781277"/>
                      </a:lnTo>
                      <a:lnTo>
                        <a:pt x="30807" y="782624"/>
                      </a:lnTo>
                      <a:lnTo>
                        <a:pt x="29192" y="788113"/>
                      </a:lnTo>
                      <a:lnTo>
                        <a:pt x="28937" y="788951"/>
                      </a:lnTo>
                      <a:lnTo>
                        <a:pt x="28937" y="789825"/>
                      </a:lnTo>
                      <a:lnTo>
                        <a:pt x="28937" y="791780"/>
                      </a:lnTo>
                      <a:lnTo>
                        <a:pt x="28937" y="793493"/>
                      </a:lnTo>
                      <a:lnTo>
                        <a:pt x="29823" y="794950"/>
                      </a:lnTo>
                      <a:lnTo>
                        <a:pt x="30576" y="796188"/>
                      </a:lnTo>
                      <a:lnTo>
                        <a:pt x="31730" y="798058"/>
                      </a:lnTo>
                      <a:lnTo>
                        <a:pt x="33818" y="798775"/>
                      </a:lnTo>
                      <a:lnTo>
                        <a:pt x="35360" y="799297"/>
                      </a:lnTo>
                      <a:lnTo>
                        <a:pt x="36137" y="799552"/>
                      </a:lnTo>
                      <a:lnTo>
                        <a:pt x="36963" y="799600"/>
                      </a:lnTo>
                      <a:lnTo>
                        <a:pt x="51668" y="800402"/>
                      </a:lnTo>
                      <a:lnTo>
                        <a:pt x="52057" y="800487"/>
                      </a:lnTo>
                      <a:lnTo>
                        <a:pt x="55153" y="809290"/>
                      </a:lnTo>
                      <a:lnTo>
                        <a:pt x="55687" y="812763"/>
                      </a:lnTo>
                      <a:lnTo>
                        <a:pt x="55554" y="813929"/>
                      </a:lnTo>
                      <a:lnTo>
                        <a:pt x="55493" y="814184"/>
                      </a:lnTo>
                      <a:lnTo>
                        <a:pt x="55141" y="815155"/>
                      </a:lnTo>
                      <a:lnTo>
                        <a:pt x="53660" y="820753"/>
                      </a:lnTo>
                      <a:lnTo>
                        <a:pt x="53550" y="821178"/>
                      </a:lnTo>
                      <a:lnTo>
                        <a:pt x="53502" y="821615"/>
                      </a:lnTo>
                      <a:lnTo>
                        <a:pt x="52458" y="831099"/>
                      </a:lnTo>
                      <a:lnTo>
                        <a:pt x="47697" y="828671"/>
                      </a:lnTo>
                      <a:lnTo>
                        <a:pt x="47370" y="828501"/>
                      </a:lnTo>
                      <a:lnTo>
                        <a:pt x="47030" y="828367"/>
                      </a:lnTo>
                      <a:lnTo>
                        <a:pt x="45706" y="827881"/>
                      </a:lnTo>
                      <a:lnTo>
                        <a:pt x="43617" y="827128"/>
                      </a:lnTo>
                      <a:lnTo>
                        <a:pt x="41529" y="827881"/>
                      </a:lnTo>
                      <a:lnTo>
                        <a:pt x="40035" y="828428"/>
                      </a:lnTo>
                      <a:lnTo>
                        <a:pt x="38760" y="828901"/>
                      </a:lnTo>
                      <a:lnTo>
                        <a:pt x="37801" y="829861"/>
                      </a:lnTo>
                      <a:lnTo>
                        <a:pt x="36429" y="831245"/>
                      </a:lnTo>
                      <a:lnTo>
                        <a:pt x="36016" y="831670"/>
                      </a:lnTo>
                      <a:lnTo>
                        <a:pt x="35688" y="832156"/>
                      </a:lnTo>
                      <a:lnTo>
                        <a:pt x="33162" y="835956"/>
                      </a:lnTo>
                      <a:lnTo>
                        <a:pt x="32871" y="836393"/>
                      </a:lnTo>
                      <a:lnTo>
                        <a:pt x="32665" y="836879"/>
                      </a:lnTo>
                      <a:lnTo>
                        <a:pt x="31802" y="838858"/>
                      </a:lnTo>
                      <a:lnTo>
                        <a:pt x="31511" y="839538"/>
                      </a:lnTo>
                      <a:lnTo>
                        <a:pt x="31390" y="840279"/>
                      </a:lnTo>
                      <a:lnTo>
                        <a:pt x="31098" y="841979"/>
                      </a:lnTo>
                      <a:lnTo>
                        <a:pt x="30782" y="843800"/>
                      </a:lnTo>
                      <a:lnTo>
                        <a:pt x="31547" y="845501"/>
                      </a:lnTo>
                      <a:lnTo>
                        <a:pt x="31948" y="846387"/>
                      </a:lnTo>
                      <a:lnTo>
                        <a:pt x="32446" y="847468"/>
                      </a:lnTo>
                      <a:lnTo>
                        <a:pt x="33296" y="848281"/>
                      </a:lnTo>
                      <a:lnTo>
                        <a:pt x="34170" y="849107"/>
                      </a:lnTo>
                      <a:lnTo>
                        <a:pt x="34607" y="849508"/>
                      </a:lnTo>
                      <a:lnTo>
                        <a:pt x="35117" y="849823"/>
                      </a:lnTo>
                      <a:lnTo>
                        <a:pt x="36089" y="850443"/>
                      </a:lnTo>
                      <a:lnTo>
                        <a:pt x="36732" y="850856"/>
                      </a:lnTo>
                      <a:lnTo>
                        <a:pt x="37449" y="851098"/>
                      </a:lnTo>
                      <a:lnTo>
                        <a:pt x="38821" y="851548"/>
                      </a:lnTo>
                      <a:lnTo>
                        <a:pt x="39270" y="851694"/>
                      </a:lnTo>
                      <a:lnTo>
                        <a:pt x="39732" y="851766"/>
                      </a:lnTo>
                      <a:lnTo>
                        <a:pt x="39793" y="851778"/>
                      </a:lnTo>
                      <a:lnTo>
                        <a:pt x="38918" y="852204"/>
                      </a:lnTo>
                      <a:lnTo>
                        <a:pt x="35761" y="853260"/>
                      </a:lnTo>
                      <a:lnTo>
                        <a:pt x="35397" y="853393"/>
                      </a:lnTo>
                      <a:lnTo>
                        <a:pt x="35057" y="853564"/>
                      </a:lnTo>
                      <a:lnTo>
                        <a:pt x="33162" y="854474"/>
                      </a:lnTo>
                      <a:lnTo>
                        <a:pt x="32252" y="854911"/>
                      </a:lnTo>
                      <a:lnTo>
                        <a:pt x="31535" y="855628"/>
                      </a:lnTo>
                      <a:lnTo>
                        <a:pt x="30199" y="856939"/>
                      </a:lnTo>
                      <a:lnTo>
                        <a:pt x="29058" y="858056"/>
                      </a:lnTo>
                      <a:lnTo>
                        <a:pt x="28621" y="859599"/>
                      </a:lnTo>
                      <a:lnTo>
                        <a:pt x="28232" y="860971"/>
                      </a:lnTo>
                      <a:lnTo>
                        <a:pt x="27771" y="862610"/>
                      </a:lnTo>
                      <a:lnTo>
                        <a:pt x="28220" y="864249"/>
                      </a:lnTo>
                      <a:lnTo>
                        <a:pt x="28670" y="865888"/>
                      </a:lnTo>
                      <a:lnTo>
                        <a:pt x="29240" y="867989"/>
                      </a:lnTo>
                      <a:lnTo>
                        <a:pt x="31025" y="869252"/>
                      </a:lnTo>
                      <a:lnTo>
                        <a:pt x="32579" y="870345"/>
                      </a:lnTo>
                      <a:lnTo>
                        <a:pt x="33138" y="870734"/>
                      </a:lnTo>
                      <a:lnTo>
                        <a:pt x="33757" y="870989"/>
                      </a:lnTo>
                      <a:lnTo>
                        <a:pt x="36004" y="871911"/>
                      </a:lnTo>
                      <a:lnTo>
                        <a:pt x="36465" y="872106"/>
                      </a:lnTo>
                      <a:lnTo>
                        <a:pt x="36951" y="872227"/>
                      </a:lnTo>
                      <a:lnTo>
                        <a:pt x="42002" y="873405"/>
                      </a:lnTo>
                      <a:lnTo>
                        <a:pt x="42355" y="873490"/>
                      </a:lnTo>
                      <a:lnTo>
                        <a:pt x="42719" y="873527"/>
                      </a:lnTo>
                      <a:lnTo>
                        <a:pt x="44783" y="873757"/>
                      </a:lnTo>
                      <a:lnTo>
                        <a:pt x="45196" y="873806"/>
                      </a:lnTo>
                      <a:lnTo>
                        <a:pt x="45609" y="873793"/>
                      </a:lnTo>
                      <a:lnTo>
                        <a:pt x="47321" y="873745"/>
                      </a:lnTo>
                      <a:lnTo>
                        <a:pt x="48147" y="873721"/>
                      </a:lnTo>
                      <a:lnTo>
                        <a:pt x="48936" y="873466"/>
                      </a:lnTo>
                      <a:lnTo>
                        <a:pt x="49980" y="873150"/>
                      </a:lnTo>
                      <a:lnTo>
                        <a:pt x="51522" y="872689"/>
                      </a:lnTo>
                      <a:lnTo>
                        <a:pt x="52627" y="871511"/>
                      </a:lnTo>
                      <a:lnTo>
                        <a:pt x="53198" y="870904"/>
                      </a:lnTo>
                      <a:lnTo>
                        <a:pt x="54170" y="869871"/>
                      </a:lnTo>
                      <a:lnTo>
                        <a:pt x="54582" y="868511"/>
                      </a:lnTo>
                      <a:lnTo>
                        <a:pt x="54765" y="867904"/>
                      </a:lnTo>
                      <a:lnTo>
                        <a:pt x="55068" y="866909"/>
                      </a:lnTo>
                      <a:lnTo>
                        <a:pt x="56149" y="871292"/>
                      </a:lnTo>
                      <a:lnTo>
                        <a:pt x="56282" y="871851"/>
                      </a:lnTo>
                      <a:lnTo>
                        <a:pt x="56525" y="872361"/>
                      </a:lnTo>
                      <a:lnTo>
                        <a:pt x="57898" y="875372"/>
                      </a:lnTo>
                      <a:lnTo>
                        <a:pt x="58213" y="876064"/>
                      </a:lnTo>
                      <a:lnTo>
                        <a:pt x="58687" y="876660"/>
                      </a:lnTo>
                      <a:lnTo>
                        <a:pt x="60411" y="878821"/>
                      </a:lnTo>
                      <a:lnTo>
                        <a:pt x="60812" y="879319"/>
                      </a:lnTo>
                      <a:lnTo>
                        <a:pt x="61310" y="879719"/>
                      </a:lnTo>
                      <a:lnTo>
                        <a:pt x="63653" y="881638"/>
                      </a:lnTo>
                      <a:lnTo>
                        <a:pt x="64345" y="882209"/>
                      </a:lnTo>
                      <a:lnTo>
                        <a:pt x="65171" y="882549"/>
                      </a:lnTo>
                      <a:lnTo>
                        <a:pt x="67588" y="883557"/>
                      </a:lnTo>
                      <a:lnTo>
                        <a:pt x="68061" y="883751"/>
                      </a:lnTo>
                      <a:lnTo>
                        <a:pt x="68571" y="883872"/>
                      </a:lnTo>
                      <a:lnTo>
                        <a:pt x="75468" y="885463"/>
                      </a:lnTo>
                      <a:lnTo>
                        <a:pt x="76695" y="885888"/>
                      </a:lnTo>
                      <a:lnTo>
                        <a:pt x="77448" y="886337"/>
                      </a:lnTo>
                      <a:lnTo>
                        <a:pt x="77958" y="886774"/>
                      </a:lnTo>
                      <a:lnTo>
                        <a:pt x="78322" y="887357"/>
                      </a:lnTo>
                      <a:lnTo>
                        <a:pt x="79901" y="896780"/>
                      </a:lnTo>
                      <a:lnTo>
                        <a:pt x="80022" y="897497"/>
                      </a:lnTo>
                      <a:lnTo>
                        <a:pt x="80313" y="898177"/>
                      </a:lnTo>
                      <a:lnTo>
                        <a:pt x="81516" y="900982"/>
                      </a:lnTo>
                      <a:lnTo>
                        <a:pt x="81928" y="901953"/>
                      </a:lnTo>
                      <a:lnTo>
                        <a:pt x="82657" y="902718"/>
                      </a:lnTo>
                      <a:lnTo>
                        <a:pt x="84503" y="904697"/>
                      </a:lnTo>
                      <a:lnTo>
                        <a:pt x="85329" y="905584"/>
                      </a:lnTo>
                      <a:lnTo>
                        <a:pt x="86433" y="906082"/>
                      </a:lnTo>
                      <a:lnTo>
                        <a:pt x="88607" y="907065"/>
                      </a:lnTo>
                      <a:lnTo>
                        <a:pt x="89056" y="907284"/>
                      </a:lnTo>
                      <a:lnTo>
                        <a:pt x="89542" y="907405"/>
                      </a:lnTo>
                      <a:lnTo>
                        <a:pt x="98042" y="909700"/>
                      </a:lnTo>
                      <a:lnTo>
                        <a:pt x="99851" y="910550"/>
                      </a:lnTo>
                      <a:lnTo>
                        <a:pt x="104988" y="914412"/>
                      </a:lnTo>
                      <a:lnTo>
                        <a:pt x="105850" y="915068"/>
                      </a:lnTo>
                      <a:lnTo>
                        <a:pt x="106894" y="915371"/>
                      </a:lnTo>
                      <a:lnTo>
                        <a:pt x="108437" y="915832"/>
                      </a:lnTo>
                      <a:lnTo>
                        <a:pt x="109165" y="916063"/>
                      </a:lnTo>
                      <a:lnTo>
                        <a:pt x="109930" y="916100"/>
                      </a:lnTo>
                      <a:lnTo>
                        <a:pt x="110950" y="916136"/>
                      </a:lnTo>
                      <a:lnTo>
                        <a:pt x="110974" y="916148"/>
                      </a:lnTo>
                      <a:lnTo>
                        <a:pt x="113330" y="918589"/>
                      </a:lnTo>
                      <a:lnTo>
                        <a:pt x="117519" y="922232"/>
                      </a:lnTo>
                      <a:lnTo>
                        <a:pt x="119304" y="924903"/>
                      </a:lnTo>
                      <a:lnTo>
                        <a:pt x="119499" y="925972"/>
                      </a:lnTo>
                      <a:lnTo>
                        <a:pt x="119389" y="927283"/>
                      </a:lnTo>
                      <a:lnTo>
                        <a:pt x="118855" y="928437"/>
                      </a:lnTo>
                      <a:lnTo>
                        <a:pt x="118212" y="929348"/>
                      </a:lnTo>
                      <a:lnTo>
                        <a:pt x="117580" y="929821"/>
                      </a:lnTo>
                      <a:lnTo>
                        <a:pt x="116281" y="930246"/>
                      </a:lnTo>
                      <a:lnTo>
                        <a:pt x="111497" y="930805"/>
                      </a:lnTo>
                      <a:lnTo>
                        <a:pt x="111096" y="930853"/>
                      </a:lnTo>
                      <a:lnTo>
                        <a:pt x="110695" y="930963"/>
                      </a:lnTo>
                      <a:lnTo>
                        <a:pt x="108509" y="931521"/>
                      </a:lnTo>
                      <a:lnTo>
                        <a:pt x="107538" y="931776"/>
                      </a:lnTo>
                      <a:lnTo>
                        <a:pt x="106700" y="932323"/>
                      </a:lnTo>
                      <a:lnTo>
                        <a:pt x="105206" y="933294"/>
                      </a:lnTo>
                      <a:lnTo>
                        <a:pt x="103421" y="934460"/>
                      </a:lnTo>
                      <a:lnTo>
                        <a:pt x="102754" y="936500"/>
                      </a:lnTo>
                      <a:lnTo>
                        <a:pt x="102171" y="938273"/>
                      </a:lnTo>
                      <a:lnTo>
                        <a:pt x="101551" y="940167"/>
                      </a:lnTo>
                      <a:lnTo>
                        <a:pt x="102183" y="942061"/>
                      </a:lnTo>
                      <a:lnTo>
                        <a:pt x="102705" y="943640"/>
                      </a:lnTo>
                      <a:lnTo>
                        <a:pt x="103009" y="944563"/>
                      </a:lnTo>
                      <a:lnTo>
                        <a:pt x="103591" y="945352"/>
                      </a:lnTo>
                      <a:lnTo>
                        <a:pt x="106311" y="949007"/>
                      </a:lnTo>
                      <a:lnTo>
                        <a:pt x="102292" y="950574"/>
                      </a:lnTo>
                      <a:lnTo>
                        <a:pt x="101843" y="950743"/>
                      </a:lnTo>
                      <a:lnTo>
                        <a:pt x="101430" y="950998"/>
                      </a:lnTo>
                      <a:lnTo>
                        <a:pt x="97071" y="953549"/>
                      </a:lnTo>
                      <a:lnTo>
                        <a:pt x="96694" y="953779"/>
                      </a:lnTo>
                      <a:lnTo>
                        <a:pt x="96354" y="954046"/>
                      </a:lnTo>
                      <a:lnTo>
                        <a:pt x="94424" y="955613"/>
                      </a:lnTo>
                      <a:lnTo>
                        <a:pt x="93719" y="956244"/>
                      </a:lnTo>
                      <a:lnTo>
                        <a:pt x="91922" y="953269"/>
                      </a:lnTo>
                      <a:lnTo>
                        <a:pt x="91594" y="952723"/>
                      </a:lnTo>
                      <a:lnTo>
                        <a:pt x="91145" y="952249"/>
                      </a:lnTo>
                      <a:lnTo>
                        <a:pt x="89251" y="950246"/>
                      </a:lnTo>
                      <a:lnTo>
                        <a:pt x="87538" y="948448"/>
                      </a:lnTo>
                      <a:lnTo>
                        <a:pt x="85049" y="948351"/>
                      </a:lnTo>
                      <a:lnTo>
                        <a:pt x="79998" y="948169"/>
                      </a:lnTo>
                      <a:lnTo>
                        <a:pt x="78990" y="948133"/>
                      </a:lnTo>
                      <a:lnTo>
                        <a:pt x="78018" y="948424"/>
                      </a:lnTo>
                      <a:lnTo>
                        <a:pt x="76258" y="948958"/>
                      </a:lnTo>
                      <a:lnTo>
                        <a:pt x="75383" y="947720"/>
                      </a:lnTo>
                      <a:lnTo>
                        <a:pt x="73198" y="940823"/>
                      </a:lnTo>
                      <a:lnTo>
                        <a:pt x="72736" y="939366"/>
                      </a:lnTo>
                      <a:lnTo>
                        <a:pt x="71631" y="938297"/>
                      </a:lnTo>
                      <a:lnTo>
                        <a:pt x="69579" y="936318"/>
                      </a:lnTo>
                      <a:lnTo>
                        <a:pt x="67187" y="934010"/>
                      </a:lnTo>
                      <a:lnTo>
                        <a:pt x="63957" y="934775"/>
                      </a:lnTo>
                      <a:lnTo>
                        <a:pt x="59707" y="935783"/>
                      </a:lnTo>
                      <a:lnTo>
                        <a:pt x="58383" y="936087"/>
                      </a:lnTo>
                      <a:lnTo>
                        <a:pt x="57315" y="936937"/>
                      </a:lnTo>
                      <a:lnTo>
                        <a:pt x="55299" y="938552"/>
                      </a:lnTo>
                      <a:lnTo>
                        <a:pt x="54570" y="939135"/>
                      </a:lnTo>
                      <a:lnTo>
                        <a:pt x="54048" y="939912"/>
                      </a:lnTo>
                      <a:lnTo>
                        <a:pt x="51255" y="944077"/>
                      </a:lnTo>
                      <a:lnTo>
                        <a:pt x="50418" y="945024"/>
                      </a:lnTo>
                      <a:lnTo>
                        <a:pt x="50162" y="945170"/>
                      </a:lnTo>
                      <a:lnTo>
                        <a:pt x="47236" y="946153"/>
                      </a:lnTo>
                      <a:lnTo>
                        <a:pt x="46459" y="946408"/>
                      </a:lnTo>
                      <a:lnTo>
                        <a:pt x="45767" y="946870"/>
                      </a:lnTo>
                      <a:lnTo>
                        <a:pt x="44103" y="947999"/>
                      </a:lnTo>
                      <a:lnTo>
                        <a:pt x="43265" y="948570"/>
                      </a:lnTo>
                      <a:lnTo>
                        <a:pt x="42658" y="949371"/>
                      </a:lnTo>
                      <a:lnTo>
                        <a:pt x="40813" y="951836"/>
                      </a:lnTo>
                      <a:lnTo>
                        <a:pt x="40424" y="952358"/>
                      </a:lnTo>
                      <a:lnTo>
                        <a:pt x="40157" y="952953"/>
                      </a:lnTo>
                      <a:lnTo>
                        <a:pt x="37631" y="958503"/>
                      </a:lnTo>
                      <a:lnTo>
                        <a:pt x="36830" y="959669"/>
                      </a:lnTo>
                      <a:lnTo>
                        <a:pt x="36405" y="959960"/>
                      </a:lnTo>
                      <a:lnTo>
                        <a:pt x="32652" y="961490"/>
                      </a:lnTo>
                      <a:lnTo>
                        <a:pt x="32033" y="961745"/>
                      </a:lnTo>
                      <a:lnTo>
                        <a:pt x="31487" y="962121"/>
                      </a:lnTo>
                      <a:lnTo>
                        <a:pt x="29884" y="963239"/>
                      </a:lnTo>
                      <a:lnTo>
                        <a:pt x="28585" y="964149"/>
                      </a:lnTo>
                      <a:lnTo>
                        <a:pt x="27892" y="965570"/>
                      </a:lnTo>
                      <a:lnTo>
                        <a:pt x="26350" y="968739"/>
                      </a:lnTo>
                      <a:lnTo>
                        <a:pt x="26107" y="969237"/>
                      </a:lnTo>
                      <a:lnTo>
                        <a:pt x="25962" y="969772"/>
                      </a:lnTo>
                      <a:lnTo>
                        <a:pt x="21469" y="985873"/>
                      </a:lnTo>
                      <a:lnTo>
                        <a:pt x="21384" y="986176"/>
                      </a:lnTo>
                      <a:lnTo>
                        <a:pt x="21335" y="986480"/>
                      </a:lnTo>
                      <a:lnTo>
                        <a:pt x="20874" y="989249"/>
                      </a:lnTo>
                      <a:lnTo>
                        <a:pt x="20339" y="992005"/>
                      </a:lnTo>
                      <a:lnTo>
                        <a:pt x="17267" y="997591"/>
                      </a:lnTo>
                      <a:lnTo>
                        <a:pt x="7237" y="1009199"/>
                      </a:lnTo>
                      <a:lnTo>
                        <a:pt x="6666" y="1009868"/>
                      </a:lnTo>
                      <a:lnTo>
                        <a:pt x="6302" y="1010669"/>
                      </a:lnTo>
                      <a:lnTo>
                        <a:pt x="2793" y="1018416"/>
                      </a:lnTo>
                      <a:lnTo>
                        <a:pt x="2271" y="1019582"/>
                      </a:lnTo>
                      <a:lnTo>
                        <a:pt x="2259" y="1020857"/>
                      </a:lnTo>
                      <a:lnTo>
                        <a:pt x="2198" y="1027183"/>
                      </a:lnTo>
                      <a:lnTo>
                        <a:pt x="2186" y="1028519"/>
                      </a:lnTo>
                      <a:lnTo>
                        <a:pt x="2732" y="1029745"/>
                      </a:lnTo>
                      <a:lnTo>
                        <a:pt x="5088" y="1034943"/>
                      </a:lnTo>
                      <a:lnTo>
                        <a:pt x="5428" y="1035695"/>
                      </a:lnTo>
                      <a:lnTo>
                        <a:pt x="5950" y="1036327"/>
                      </a:lnTo>
                      <a:lnTo>
                        <a:pt x="16320" y="1048761"/>
                      </a:lnTo>
                      <a:lnTo>
                        <a:pt x="16332" y="1048834"/>
                      </a:lnTo>
                      <a:lnTo>
                        <a:pt x="5804" y="1055039"/>
                      </a:lnTo>
                      <a:lnTo>
                        <a:pt x="5137" y="1055428"/>
                      </a:lnTo>
                      <a:lnTo>
                        <a:pt x="4590" y="1055987"/>
                      </a:lnTo>
                      <a:lnTo>
                        <a:pt x="2914" y="1057674"/>
                      </a:lnTo>
                      <a:lnTo>
                        <a:pt x="2064" y="1058512"/>
                      </a:lnTo>
                      <a:lnTo>
                        <a:pt x="1603" y="1059617"/>
                      </a:lnTo>
                      <a:lnTo>
                        <a:pt x="571" y="1062094"/>
                      </a:lnTo>
                      <a:lnTo>
                        <a:pt x="0" y="1063467"/>
                      </a:lnTo>
                      <a:lnTo>
                        <a:pt x="134" y="1064936"/>
                      </a:lnTo>
                      <a:lnTo>
                        <a:pt x="316" y="1067097"/>
                      </a:lnTo>
                      <a:lnTo>
                        <a:pt x="352" y="1067607"/>
                      </a:lnTo>
                      <a:lnTo>
                        <a:pt x="474" y="1068093"/>
                      </a:lnTo>
                      <a:lnTo>
                        <a:pt x="1105" y="1070546"/>
                      </a:lnTo>
                      <a:lnTo>
                        <a:pt x="2198" y="1074261"/>
                      </a:lnTo>
                      <a:lnTo>
                        <a:pt x="3837" y="1079847"/>
                      </a:lnTo>
                      <a:lnTo>
                        <a:pt x="9484" y="1078451"/>
                      </a:lnTo>
                      <a:lnTo>
                        <a:pt x="9544" y="1078439"/>
                      </a:lnTo>
                      <a:lnTo>
                        <a:pt x="9811" y="1078936"/>
                      </a:lnTo>
                      <a:lnTo>
                        <a:pt x="10382" y="1080321"/>
                      </a:lnTo>
                      <a:lnTo>
                        <a:pt x="10613" y="1081268"/>
                      </a:lnTo>
                      <a:lnTo>
                        <a:pt x="10819" y="1084838"/>
                      </a:lnTo>
                      <a:lnTo>
                        <a:pt x="10844" y="1085360"/>
                      </a:lnTo>
                      <a:lnTo>
                        <a:pt x="10965" y="1085882"/>
                      </a:lnTo>
                      <a:lnTo>
                        <a:pt x="11414" y="1087801"/>
                      </a:lnTo>
                      <a:lnTo>
                        <a:pt x="11645" y="1088784"/>
                      </a:lnTo>
                      <a:lnTo>
                        <a:pt x="12179" y="1089635"/>
                      </a:lnTo>
                      <a:lnTo>
                        <a:pt x="13551" y="1091820"/>
                      </a:lnTo>
                      <a:lnTo>
                        <a:pt x="13843" y="1092294"/>
                      </a:lnTo>
                      <a:lnTo>
                        <a:pt x="14219" y="1092694"/>
                      </a:lnTo>
                      <a:lnTo>
                        <a:pt x="15737" y="1094346"/>
                      </a:lnTo>
                      <a:lnTo>
                        <a:pt x="16332" y="1095147"/>
                      </a:lnTo>
                      <a:lnTo>
                        <a:pt x="16672" y="1096544"/>
                      </a:lnTo>
                      <a:lnTo>
                        <a:pt x="16976" y="1097782"/>
                      </a:lnTo>
                      <a:lnTo>
                        <a:pt x="17765" y="1098802"/>
                      </a:lnTo>
                      <a:lnTo>
                        <a:pt x="18567" y="1099835"/>
                      </a:lnTo>
                      <a:lnTo>
                        <a:pt x="22343" y="1104692"/>
                      </a:lnTo>
                      <a:lnTo>
                        <a:pt x="26945" y="1101012"/>
                      </a:lnTo>
                      <a:lnTo>
                        <a:pt x="29580" y="1101777"/>
                      </a:lnTo>
                      <a:lnTo>
                        <a:pt x="32349" y="1102579"/>
                      </a:lnTo>
                      <a:lnTo>
                        <a:pt x="34522" y="1103222"/>
                      </a:lnTo>
                      <a:lnTo>
                        <a:pt x="36587" y="1102275"/>
                      </a:lnTo>
                      <a:lnTo>
                        <a:pt x="39659" y="1100867"/>
                      </a:lnTo>
                      <a:lnTo>
                        <a:pt x="45172" y="1099410"/>
                      </a:lnTo>
                      <a:lnTo>
                        <a:pt x="47382" y="1099458"/>
                      </a:lnTo>
                      <a:lnTo>
                        <a:pt x="48244" y="1099810"/>
                      </a:lnTo>
                      <a:lnTo>
                        <a:pt x="50745" y="1102190"/>
                      </a:lnTo>
                      <a:lnTo>
                        <a:pt x="51085" y="1102518"/>
                      </a:lnTo>
                      <a:lnTo>
                        <a:pt x="51462" y="1102773"/>
                      </a:lnTo>
                      <a:lnTo>
                        <a:pt x="53235" y="1104024"/>
                      </a:lnTo>
                      <a:lnTo>
                        <a:pt x="53672" y="1104327"/>
                      </a:lnTo>
                      <a:lnTo>
                        <a:pt x="54158" y="1104546"/>
                      </a:lnTo>
                      <a:lnTo>
                        <a:pt x="57752" y="1106246"/>
                      </a:lnTo>
                      <a:lnTo>
                        <a:pt x="59002" y="1107157"/>
                      </a:lnTo>
                      <a:lnTo>
                        <a:pt x="62463" y="1110253"/>
                      </a:lnTo>
                      <a:lnTo>
                        <a:pt x="70623" y="1119615"/>
                      </a:lnTo>
                      <a:lnTo>
                        <a:pt x="73186" y="1123258"/>
                      </a:lnTo>
                      <a:lnTo>
                        <a:pt x="73489" y="1123695"/>
                      </a:lnTo>
                      <a:lnTo>
                        <a:pt x="73866" y="1124072"/>
                      </a:lnTo>
                      <a:lnTo>
                        <a:pt x="77460" y="1127630"/>
                      </a:lnTo>
                      <a:lnTo>
                        <a:pt x="79730" y="1130847"/>
                      </a:lnTo>
                      <a:lnTo>
                        <a:pt x="79925" y="1131115"/>
                      </a:lnTo>
                      <a:lnTo>
                        <a:pt x="80143" y="1131370"/>
                      </a:lnTo>
                      <a:lnTo>
                        <a:pt x="83021" y="1134636"/>
                      </a:lnTo>
                      <a:lnTo>
                        <a:pt x="84284" y="1136688"/>
                      </a:lnTo>
                      <a:lnTo>
                        <a:pt x="85171" y="1139020"/>
                      </a:lnTo>
                      <a:lnTo>
                        <a:pt x="86689" y="1144436"/>
                      </a:lnTo>
                      <a:lnTo>
                        <a:pt x="86798" y="1144824"/>
                      </a:lnTo>
                      <a:lnTo>
                        <a:pt x="86968" y="1145200"/>
                      </a:lnTo>
                      <a:lnTo>
                        <a:pt x="91558" y="1155765"/>
                      </a:lnTo>
                      <a:lnTo>
                        <a:pt x="91752" y="1156202"/>
                      </a:lnTo>
                      <a:lnTo>
                        <a:pt x="92007" y="1156603"/>
                      </a:lnTo>
                      <a:lnTo>
                        <a:pt x="95662" y="1162346"/>
                      </a:lnTo>
                      <a:lnTo>
                        <a:pt x="94630" y="1162808"/>
                      </a:lnTo>
                      <a:lnTo>
                        <a:pt x="94023" y="1163075"/>
                      </a:lnTo>
                      <a:lnTo>
                        <a:pt x="93489" y="1163463"/>
                      </a:lnTo>
                      <a:lnTo>
                        <a:pt x="92043" y="1164532"/>
                      </a:lnTo>
                      <a:lnTo>
                        <a:pt x="91303" y="1165078"/>
                      </a:lnTo>
                      <a:lnTo>
                        <a:pt x="90769" y="1165819"/>
                      </a:lnTo>
                      <a:lnTo>
                        <a:pt x="89785" y="1167143"/>
                      </a:lnTo>
                      <a:lnTo>
                        <a:pt x="89081" y="1168090"/>
                      </a:lnTo>
                      <a:lnTo>
                        <a:pt x="88789" y="1169244"/>
                      </a:lnTo>
                      <a:lnTo>
                        <a:pt x="88328" y="1171041"/>
                      </a:lnTo>
                      <a:lnTo>
                        <a:pt x="88109" y="1171854"/>
                      </a:lnTo>
                      <a:lnTo>
                        <a:pt x="88133" y="1172704"/>
                      </a:lnTo>
                      <a:lnTo>
                        <a:pt x="88194" y="1174805"/>
                      </a:lnTo>
                      <a:lnTo>
                        <a:pt x="88218" y="1175813"/>
                      </a:lnTo>
                      <a:lnTo>
                        <a:pt x="88571" y="1176760"/>
                      </a:lnTo>
                      <a:lnTo>
                        <a:pt x="89542" y="1179371"/>
                      </a:lnTo>
                      <a:lnTo>
                        <a:pt x="90052" y="1180755"/>
                      </a:lnTo>
                      <a:lnTo>
                        <a:pt x="91145" y="1181751"/>
                      </a:lnTo>
                      <a:lnTo>
                        <a:pt x="92578" y="1183038"/>
                      </a:lnTo>
                      <a:lnTo>
                        <a:pt x="93658" y="1184009"/>
                      </a:lnTo>
                      <a:lnTo>
                        <a:pt x="95067" y="1184386"/>
                      </a:lnTo>
                      <a:lnTo>
                        <a:pt x="97083" y="1184932"/>
                      </a:lnTo>
                      <a:lnTo>
                        <a:pt x="97933" y="1185175"/>
                      </a:lnTo>
                      <a:lnTo>
                        <a:pt x="98819" y="1185151"/>
                      </a:lnTo>
                      <a:lnTo>
                        <a:pt x="103713" y="1185029"/>
                      </a:lnTo>
                      <a:lnTo>
                        <a:pt x="104029" y="1185017"/>
                      </a:lnTo>
                      <a:lnTo>
                        <a:pt x="104344" y="1184981"/>
                      </a:lnTo>
                      <a:lnTo>
                        <a:pt x="106518" y="1184701"/>
                      </a:lnTo>
                      <a:lnTo>
                        <a:pt x="107040" y="1184629"/>
                      </a:lnTo>
                      <a:lnTo>
                        <a:pt x="107550" y="1184459"/>
                      </a:lnTo>
                      <a:lnTo>
                        <a:pt x="109092" y="1183973"/>
                      </a:lnTo>
                      <a:lnTo>
                        <a:pt x="109966" y="1183706"/>
                      </a:lnTo>
                      <a:lnTo>
                        <a:pt x="110719" y="1183196"/>
                      </a:lnTo>
                      <a:lnTo>
                        <a:pt x="111764" y="1182467"/>
                      </a:lnTo>
                      <a:lnTo>
                        <a:pt x="112152" y="1182200"/>
                      </a:lnTo>
                      <a:lnTo>
                        <a:pt x="112237" y="1182783"/>
                      </a:lnTo>
                      <a:lnTo>
                        <a:pt x="112820" y="1183803"/>
                      </a:lnTo>
                      <a:lnTo>
                        <a:pt x="114192" y="1186158"/>
                      </a:lnTo>
                      <a:lnTo>
                        <a:pt x="114909" y="1187373"/>
                      </a:lnTo>
                      <a:lnTo>
                        <a:pt x="116074" y="1188150"/>
                      </a:lnTo>
                      <a:lnTo>
                        <a:pt x="117799" y="1189303"/>
                      </a:lnTo>
                      <a:lnTo>
                        <a:pt x="119195" y="1190227"/>
                      </a:lnTo>
                      <a:lnTo>
                        <a:pt x="120871" y="1190311"/>
                      </a:lnTo>
                      <a:lnTo>
                        <a:pt x="123057" y="1190421"/>
                      </a:lnTo>
                      <a:lnTo>
                        <a:pt x="124149" y="1190482"/>
                      </a:lnTo>
                      <a:lnTo>
                        <a:pt x="125194" y="1190154"/>
                      </a:lnTo>
                      <a:lnTo>
                        <a:pt x="127428" y="1189437"/>
                      </a:lnTo>
                      <a:lnTo>
                        <a:pt x="127768" y="1189328"/>
                      </a:lnTo>
                      <a:lnTo>
                        <a:pt x="128096" y="1189170"/>
                      </a:lnTo>
                      <a:lnTo>
                        <a:pt x="128254" y="1189097"/>
                      </a:lnTo>
                      <a:lnTo>
                        <a:pt x="128169" y="1189401"/>
                      </a:lnTo>
                      <a:lnTo>
                        <a:pt x="127294" y="1192558"/>
                      </a:lnTo>
                      <a:lnTo>
                        <a:pt x="127052" y="1193432"/>
                      </a:lnTo>
                      <a:lnTo>
                        <a:pt x="127076" y="1194355"/>
                      </a:lnTo>
                      <a:lnTo>
                        <a:pt x="127197" y="1198229"/>
                      </a:lnTo>
                      <a:lnTo>
                        <a:pt x="127209" y="1198726"/>
                      </a:lnTo>
                      <a:lnTo>
                        <a:pt x="127306" y="1199212"/>
                      </a:lnTo>
                      <a:lnTo>
                        <a:pt x="127999" y="1202722"/>
                      </a:lnTo>
                      <a:lnTo>
                        <a:pt x="129286" y="1207081"/>
                      </a:lnTo>
                      <a:lnTo>
                        <a:pt x="129395" y="1207457"/>
                      </a:lnTo>
                      <a:lnTo>
                        <a:pt x="129553" y="1207810"/>
                      </a:lnTo>
                      <a:lnTo>
                        <a:pt x="130937" y="1210882"/>
                      </a:lnTo>
                      <a:lnTo>
                        <a:pt x="134398" y="1217050"/>
                      </a:lnTo>
                      <a:lnTo>
                        <a:pt x="134920" y="1218860"/>
                      </a:lnTo>
                      <a:lnTo>
                        <a:pt x="136086" y="1242028"/>
                      </a:lnTo>
                      <a:lnTo>
                        <a:pt x="136134" y="1243073"/>
                      </a:lnTo>
                      <a:lnTo>
                        <a:pt x="136535" y="1244044"/>
                      </a:lnTo>
                      <a:lnTo>
                        <a:pt x="139231" y="1250528"/>
                      </a:lnTo>
                      <a:lnTo>
                        <a:pt x="139486" y="1251135"/>
                      </a:lnTo>
                      <a:lnTo>
                        <a:pt x="139862" y="1251670"/>
                      </a:lnTo>
                      <a:lnTo>
                        <a:pt x="142789" y="1255895"/>
                      </a:lnTo>
                      <a:lnTo>
                        <a:pt x="143517" y="1256940"/>
                      </a:lnTo>
                      <a:lnTo>
                        <a:pt x="144598" y="1257608"/>
                      </a:lnTo>
                      <a:lnTo>
                        <a:pt x="147185" y="1259198"/>
                      </a:lnTo>
                      <a:lnTo>
                        <a:pt x="148484" y="1260000"/>
                      </a:lnTo>
                      <a:lnTo>
                        <a:pt x="150014" y="1260085"/>
                      </a:lnTo>
                      <a:lnTo>
                        <a:pt x="152940" y="1260255"/>
                      </a:lnTo>
                      <a:lnTo>
                        <a:pt x="154519" y="1260352"/>
                      </a:lnTo>
                      <a:lnTo>
                        <a:pt x="155952" y="1259648"/>
                      </a:lnTo>
                      <a:lnTo>
                        <a:pt x="158429" y="1258434"/>
                      </a:lnTo>
                      <a:lnTo>
                        <a:pt x="158902" y="1258190"/>
                      </a:lnTo>
                      <a:lnTo>
                        <a:pt x="159340" y="1257887"/>
                      </a:lnTo>
                      <a:lnTo>
                        <a:pt x="163529" y="1254839"/>
                      </a:lnTo>
                      <a:lnTo>
                        <a:pt x="167852" y="1252775"/>
                      </a:lnTo>
                      <a:lnTo>
                        <a:pt x="168313" y="1252556"/>
                      </a:lnTo>
                      <a:lnTo>
                        <a:pt x="168726" y="1252277"/>
                      </a:lnTo>
                      <a:lnTo>
                        <a:pt x="173510" y="1248938"/>
                      </a:lnTo>
                      <a:lnTo>
                        <a:pt x="174458" y="1248415"/>
                      </a:lnTo>
                      <a:lnTo>
                        <a:pt x="175611" y="1248962"/>
                      </a:lnTo>
                      <a:lnTo>
                        <a:pt x="179885" y="1251561"/>
                      </a:lnTo>
                      <a:lnTo>
                        <a:pt x="180225" y="1251767"/>
                      </a:lnTo>
                      <a:lnTo>
                        <a:pt x="180590" y="1251937"/>
                      </a:lnTo>
                      <a:lnTo>
                        <a:pt x="184026" y="1253430"/>
                      </a:lnTo>
                      <a:lnTo>
                        <a:pt x="184536" y="1253661"/>
                      </a:lnTo>
                      <a:lnTo>
                        <a:pt x="185083" y="1253782"/>
                      </a:lnTo>
                      <a:lnTo>
                        <a:pt x="189503" y="1254790"/>
                      </a:lnTo>
                      <a:lnTo>
                        <a:pt x="190195" y="1254948"/>
                      </a:lnTo>
                      <a:lnTo>
                        <a:pt x="190899" y="1254948"/>
                      </a:lnTo>
                      <a:lnTo>
                        <a:pt x="196461" y="1254912"/>
                      </a:lnTo>
                      <a:lnTo>
                        <a:pt x="196788" y="1254912"/>
                      </a:lnTo>
                      <a:lnTo>
                        <a:pt x="197116" y="1254876"/>
                      </a:lnTo>
                      <a:lnTo>
                        <a:pt x="205070" y="1253953"/>
                      </a:lnTo>
                      <a:lnTo>
                        <a:pt x="218634" y="1254365"/>
                      </a:lnTo>
                      <a:lnTo>
                        <a:pt x="226830" y="1254620"/>
                      </a:lnTo>
                      <a:lnTo>
                        <a:pt x="224669" y="1246703"/>
                      </a:lnTo>
                      <a:lnTo>
                        <a:pt x="224244" y="1245161"/>
                      </a:lnTo>
                      <a:lnTo>
                        <a:pt x="224244" y="1242866"/>
                      </a:lnTo>
                      <a:lnTo>
                        <a:pt x="224547" y="1240644"/>
                      </a:lnTo>
                      <a:lnTo>
                        <a:pt x="225300" y="1240790"/>
                      </a:lnTo>
                      <a:lnTo>
                        <a:pt x="226381" y="1240984"/>
                      </a:lnTo>
                      <a:lnTo>
                        <a:pt x="227461" y="1240790"/>
                      </a:lnTo>
                      <a:lnTo>
                        <a:pt x="228384" y="1240620"/>
                      </a:lnTo>
                      <a:lnTo>
                        <a:pt x="229344" y="1240437"/>
                      </a:lnTo>
                      <a:lnTo>
                        <a:pt x="230206" y="1239976"/>
                      </a:lnTo>
                      <a:lnTo>
                        <a:pt x="231056" y="1239515"/>
                      </a:lnTo>
                      <a:lnTo>
                        <a:pt x="232586" y="1238689"/>
                      </a:lnTo>
                      <a:lnTo>
                        <a:pt x="233448" y="1237159"/>
                      </a:lnTo>
                      <a:lnTo>
                        <a:pt x="234031" y="1236127"/>
                      </a:lnTo>
                      <a:lnTo>
                        <a:pt x="234432" y="1235410"/>
                      </a:lnTo>
                      <a:lnTo>
                        <a:pt x="234638" y="1234609"/>
                      </a:lnTo>
                      <a:lnTo>
                        <a:pt x="234990" y="1233200"/>
                      </a:lnTo>
                      <a:lnTo>
                        <a:pt x="235160" y="1232520"/>
                      </a:lnTo>
                      <a:lnTo>
                        <a:pt x="235172" y="1231816"/>
                      </a:lnTo>
                      <a:lnTo>
                        <a:pt x="235197" y="1229570"/>
                      </a:lnTo>
                      <a:lnTo>
                        <a:pt x="235342" y="1228465"/>
                      </a:lnTo>
                      <a:lnTo>
                        <a:pt x="235597" y="1227554"/>
                      </a:lnTo>
                      <a:lnTo>
                        <a:pt x="236399" y="1225866"/>
                      </a:lnTo>
                      <a:lnTo>
                        <a:pt x="236836" y="1225150"/>
                      </a:lnTo>
                      <a:lnTo>
                        <a:pt x="237989" y="1223680"/>
                      </a:lnTo>
                      <a:lnTo>
                        <a:pt x="238414" y="1223146"/>
                      </a:lnTo>
                      <a:lnTo>
                        <a:pt x="238706" y="1222539"/>
                      </a:lnTo>
                      <a:lnTo>
                        <a:pt x="239337" y="1221227"/>
                      </a:lnTo>
                      <a:lnTo>
                        <a:pt x="239556" y="1220766"/>
                      </a:lnTo>
                      <a:lnTo>
                        <a:pt x="239689" y="1220280"/>
                      </a:lnTo>
                      <a:lnTo>
                        <a:pt x="240321" y="1218058"/>
                      </a:lnTo>
                      <a:lnTo>
                        <a:pt x="241304" y="1213201"/>
                      </a:lnTo>
                      <a:lnTo>
                        <a:pt x="241414" y="1212618"/>
                      </a:lnTo>
                      <a:lnTo>
                        <a:pt x="241414" y="1212023"/>
                      </a:lnTo>
                      <a:lnTo>
                        <a:pt x="241414" y="1205429"/>
                      </a:lnTo>
                      <a:lnTo>
                        <a:pt x="241414" y="1204883"/>
                      </a:lnTo>
                      <a:lnTo>
                        <a:pt x="241317" y="1204349"/>
                      </a:lnTo>
                      <a:lnTo>
                        <a:pt x="241147" y="1203402"/>
                      </a:lnTo>
                      <a:lnTo>
                        <a:pt x="241147" y="1203231"/>
                      </a:lnTo>
                      <a:lnTo>
                        <a:pt x="241195" y="1202989"/>
                      </a:lnTo>
                      <a:lnTo>
                        <a:pt x="241632" y="1202151"/>
                      </a:lnTo>
                      <a:lnTo>
                        <a:pt x="242494" y="1200900"/>
                      </a:lnTo>
                      <a:lnTo>
                        <a:pt x="242749" y="1200657"/>
                      </a:lnTo>
                      <a:lnTo>
                        <a:pt x="243065" y="1200366"/>
                      </a:lnTo>
                      <a:lnTo>
                        <a:pt x="243332" y="1200026"/>
                      </a:lnTo>
                      <a:lnTo>
                        <a:pt x="244025" y="1199151"/>
                      </a:lnTo>
                      <a:lnTo>
                        <a:pt x="244401" y="1198666"/>
                      </a:lnTo>
                      <a:lnTo>
                        <a:pt x="244668" y="1198119"/>
                      </a:lnTo>
                      <a:lnTo>
                        <a:pt x="245227" y="1196990"/>
                      </a:lnTo>
                      <a:lnTo>
                        <a:pt x="245457" y="1196541"/>
                      </a:lnTo>
                      <a:lnTo>
                        <a:pt x="245603" y="1196055"/>
                      </a:lnTo>
                      <a:lnTo>
                        <a:pt x="247509" y="1189826"/>
                      </a:lnTo>
                      <a:lnTo>
                        <a:pt x="247667" y="1189303"/>
                      </a:lnTo>
                      <a:lnTo>
                        <a:pt x="247728" y="1188757"/>
                      </a:lnTo>
                      <a:lnTo>
                        <a:pt x="248068" y="1185867"/>
                      </a:lnTo>
                      <a:lnTo>
                        <a:pt x="248785" y="1183511"/>
                      </a:lnTo>
                      <a:lnTo>
                        <a:pt x="248894" y="1183159"/>
                      </a:lnTo>
                      <a:lnTo>
                        <a:pt x="248955" y="1182807"/>
                      </a:lnTo>
                      <a:lnTo>
                        <a:pt x="249295" y="1180852"/>
                      </a:lnTo>
                      <a:lnTo>
                        <a:pt x="249452" y="1179941"/>
                      </a:lnTo>
                      <a:lnTo>
                        <a:pt x="249331" y="1179019"/>
                      </a:lnTo>
                      <a:lnTo>
                        <a:pt x="249100" y="1177343"/>
                      </a:lnTo>
                      <a:lnTo>
                        <a:pt x="248955" y="1176250"/>
                      </a:lnTo>
                      <a:lnTo>
                        <a:pt x="248432" y="1175278"/>
                      </a:lnTo>
                      <a:lnTo>
                        <a:pt x="247267" y="1173105"/>
                      </a:lnTo>
                      <a:lnTo>
                        <a:pt x="247315" y="1172971"/>
                      </a:lnTo>
                      <a:lnTo>
                        <a:pt x="248129" y="1171393"/>
                      </a:lnTo>
                      <a:lnTo>
                        <a:pt x="249246" y="1169656"/>
                      </a:lnTo>
                      <a:lnTo>
                        <a:pt x="249549" y="1169183"/>
                      </a:lnTo>
                      <a:lnTo>
                        <a:pt x="249756" y="1168661"/>
                      </a:lnTo>
                      <a:lnTo>
                        <a:pt x="251092" y="1165297"/>
                      </a:lnTo>
                      <a:lnTo>
                        <a:pt x="251249" y="1165285"/>
                      </a:lnTo>
                      <a:lnTo>
                        <a:pt x="253035" y="1165175"/>
                      </a:lnTo>
                      <a:lnTo>
                        <a:pt x="253690" y="1165139"/>
                      </a:lnTo>
                      <a:lnTo>
                        <a:pt x="254322" y="1164957"/>
                      </a:lnTo>
                      <a:lnTo>
                        <a:pt x="257819" y="1163973"/>
                      </a:lnTo>
                      <a:lnTo>
                        <a:pt x="258159" y="1163876"/>
                      </a:lnTo>
                      <a:lnTo>
                        <a:pt x="258487" y="1163731"/>
                      </a:lnTo>
                      <a:lnTo>
                        <a:pt x="267910" y="1159833"/>
                      </a:lnTo>
                      <a:lnTo>
                        <a:pt x="268420" y="1159626"/>
                      </a:lnTo>
                      <a:lnTo>
                        <a:pt x="268881" y="1159335"/>
                      </a:lnTo>
                      <a:lnTo>
                        <a:pt x="270545" y="1158266"/>
                      </a:lnTo>
                      <a:lnTo>
                        <a:pt x="271043" y="1157950"/>
                      </a:lnTo>
                      <a:lnTo>
                        <a:pt x="271468" y="1157538"/>
                      </a:lnTo>
                      <a:lnTo>
                        <a:pt x="272560" y="1156481"/>
                      </a:lnTo>
                      <a:lnTo>
                        <a:pt x="273228" y="1155838"/>
                      </a:lnTo>
                      <a:lnTo>
                        <a:pt x="273677" y="1155036"/>
                      </a:lnTo>
                      <a:lnTo>
                        <a:pt x="275511" y="1151721"/>
                      </a:lnTo>
                      <a:lnTo>
                        <a:pt x="276143" y="1151478"/>
                      </a:lnTo>
                      <a:lnTo>
                        <a:pt x="280356" y="1150786"/>
                      </a:lnTo>
                      <a:lnTo>
                        <a:pt x="280963" y="1150689"/>
                      </a:lnTo>
                      <a:lnTo>
                        <a:pt x="281534" y="1150459"/>
                      </a:lnTo>
                      <a:lnTo>
                        <a:pt x="283088" y="1149863"/>
                      </a:lnTo>
                      <a:lnTo>
                        <a:pt x="283865" y="1149572"/>
                      </a:lnTo>
                      <a:lnTo>
                        <a:pt x="284545" y="1149074"/>
                      </a:lnTo>
                      <a:lnTo>
                        <a:pt x="285978" y="1148005"/>
                      </a:lnTo>
                      <a:lnTo>
                        <a:pt x="286525" y="1147593"/>
                      </a:lnTo>
                      <a:lnTo>
                        <a:pt x="286974" y="1147070"/>
                      </a:lnTo>
                      <a:lnTo>
                        <a:pt x="288371" y="1145431"/>
                      </a:lnTo>
                      <a:lnTo>
                        <a:pt x="288759" y="1144970"/>
                      </a:lnTo>
                      <a:lnTo>
                        <a:pt x="289051" y="1144447"/>
                      </a:lnTo>
                      <a:lnTo>
                        <a:pt x="294794" y="1134138"/>
                      </a:lnTo>
                      <a:lnTo>
                        <a:pt x="297988" y="1129997"/>
                      </a:lnTo>
                      <a:lnTo>
                        <a:pt x="299894" y="1128249"/>
                      </a:lnTo>
                      <a:lnTo>
                        <a:pt x="306755" y="1123100"/>
                      </a:lnTo>
                      <a:lnTo>
                        <a:pt x="307338" y="1122651"/>
                      </a:lnTo>
                      <a:lnTo>
                        <a:pt x="307799" y="1122093"/>
                      </a:lnTo>
                      <a:lnTo>
                        <a:pt x="312377" y="1116470"/>
                      </a:lnTo>
                      <a:lnTo>
                        <a:pt x="315899" y="1113119"/>
                      </a:lnTo>
                      <a:lnTo>
                        <a:pt x="319554" y="1110290"/>
                      </a:lnTo>
                      <a:lnTo>
                        <a:pt x="320853" y="1109537"/>
                      </a:lnTo>
                      <a:lnTo>
                        <a:pt x="322104" y="1109014"/>
                      </a:lnTo>
                      <a:lnTo>
                        <a:pt x="324168" y="1107958"/>
                      </a:lnTo>
                      <a:lnTo>
                        <a:pt x="325552" y="1107229"/>
                      </a:lnTo>
                      <a:lnTo>
                        <a:pt x="326414" y="1105930"/>
                      </a:lnTo>
                      <a:lnTo>
                        <a:pt x="327568" y="1104170"/>
                      </a:lnTo>
                      <a:lnTo>
                        <a:pt x="328394" y="1102907"/>
                      </a:lnTo>
                      <a:lnTo>
                        <a:pt x="328539" y="1101401"/>
                      </a:lnTo>
                      <a:lnTo>
                        <a:pt x="328770" y="1099069"/>
                      </a:lnTo>
                      <a:lnTo>
                        <a:pt x="328916" y="1097527"/>
                      </a:lnTo>
                      <a:lnTo>
                        <a:pt x="328309" y="1096107"/>
                      </a:lnTo>
                      <a:lnTo>
                        <a:pt x="327107" y="1093302"/>
                      </a:lnTo>
                      <a:lnTo>
                        <a:pt x="326584" y="1092075"/>
                      </a:lnTo>
                      <a:lnTo>
                        <a:pt x="325589" y="1091176"/>
                      </a:lnTo>
                      <a:lnTo>
                        <a:pt x="324241" y="1089962"/>
                      </a:lnTo>
                      <a:lnTo>
                        <a:pt x="324399" y="1089865"/>
                      </a:lnTo>
                      <a:lnTo>
                        <a:pt x="325164" y="1089404"/>
                      </a:lnTo>
                      <a:lnTo>
                        <a:pt x="325771" y="1088748"/>
                      </a:lnTo>
                      <a:lnTo>
                        <a:pt x="327046" y="1087376"/>
                      </a:lnTo>
                      <a:lnTo>
                        <a:pt x="327361" y="1087036"/>
                      </a:lnTo>
                      <a:lnTo>
                        <a:pt x="327616" y="1086659"/>
                      </a:lnTo>
                      <a:lnTo>
                        <a:pt x="329899" y="1083296"/>
                      </a:lnTo>
                      <a:lnTo>
                        <a:pt x="330810" y="1082300"/>
                      </a:lnTo>
                      <a:lnTo>
                        <a:pt x="332097" y="1081244"/>
                      </a:lnTo>
                      <a:lnTo>
                        <a:pt x="333360" y="1080442"/>
                      </a:lnTo>
                      <a:lnTo>
                        <a:pt x="334149" y="1080090"/>
                      </a:lnTo>
                      <a:lnTo>
                        <a:pt x="334429" y="1080005"/>
                      </a:lnTo>
                      <a:lnTo>
                        <a:pt x="341156" y="1079543"/>
                      </a:lnTo>
                      <a:lnTo>
                        <a:pt x="341751" y="1079495"/>
                      </a:lnTo>
                      <a:lnTo>
                        <a:pt x="342322" y="1079337"/>
                      </a:lnTo>
                      <a:lnTo>
                        <a:pt x="345078" y="1078584"/>
                      </a:lnTo>
                      <a:lnTo>
                        <a:pt x="346147" y="1078305"/>
                      </a:lnTo>
                      <a:lnTo>
                        <a:pt x="347045" y="1077649"/>
                      </a:lnTo>
                      <a:lnTo>
                        <a:pt x="349049" y="1076204"/>
                      </a:lnTo>
                      <a:lnTo>
                        <a:pt x="349960" y="1075536"/>
                      </a:lnTo>
                      <a:lnTo>
                        <a:pt x="350579" y="1074614"/>
                      </a:lnTo>
                      <a:lnTo>
                        <a:pt x="351902" y="1072586"/>
                      </a:lnTo>
                      <a:lnTo>
                        <a:pt x="352194" y="1072124"/>
                      </a:lnTo>
                      <a:lnTo>
                        <a:pt x="352412" y="1071614"/>
                      </a:lnTo>
                      <a:lnTo>
                        <a:pt x="352849" y="1070582"/>
                      </a:lnTo>
                      <a:lnTo>
                        <a:pt x="352874" y="1070606"/>
                      </a:lnTo>
                      <a:lnTo>
                        <a:pt x="353967" y="1071347"/>
                      </a:lnTo>
                      <a:lnTo>
                        <a:pt x="355254" y="1071578"/>
                      </a:lnTo>
                      <a:lnTo>
                        <a:pt x="357391" y="1071942"/>
                      </a:lnTo>
                      <a:lnTo>
                        <a:pt x="363037" y="1072901"/>
                      </a:lnTo>
                      <a:lnTo>
                        <a:pt x="364325" y="1067328"/>
                      </a:lnTo>
                      <a:lnTo>
                        <a:pt x="365077" y="1064098"/>
                      </a:lnTo>
                      <a:lnTo>
                        <a:pt x="366049" y="1061669"/>
                      </a:lnTo>
                      <a:lnTo>
                        <a:pt x="366304" y="1061220"/>
                      </a:lnTo>
                      <a:lnTo>
                        <a:pt x="366947" y="1059848"/>
                      </a:lnTo>
                      <a:lnTo>
                        <a:pt x="367227" y="1059216"/>
                      </a:lnTo>
                      <a:lnTo>
                        <a:pt x="367360" y="1058536"/>
                      </a:lnTo>
                      <a:lnTo>
                        <a:pt x="369085" y="1049745"/>
                      </a:lnTo>
                      <a:lnTo>
                        <a:pt x="369182" y="1049247"/>
                      </a:lnTo>
                      <a:lnTo>
                        <a:pt x="369194" y="1048749"/>
                      </a:lnTo>
                      <a:lnTo>
                        <a:pt x="369340" y="1043673"/>
                      </a:lnTo>
                      <a:lnTo>
                        <a:pt x="369886" y="1043054"/>
                      </a:lnTo>
                      <a:lnTo>
                        <a:pt x="370736" y="1041985"/>
                      </a:lnTo>
                      <a:lnTo>
                        <a:pt x="370991" y="1041670"/>
                      </a:lnTo>
                      <a:lnTo>
                        <a:pt x="371197" y="1041330"/>
                      </a:lnTo>
                      <a:lnTo>
                        <a:pt x="371295" y="1041160"/>
                      </a:lnTo>
                      <a:lnTo>
                        <a:pt x="374901" y="1039302"/>
                      </a:lnTo>
                      <a:lnTo>
                        <a:pt x="375423" y="1039144"/>
                      </a:lnTo>
                      <a:lnTo>
                        <a:pt x="377670" y="1038476"/>
                      </a:lnTo>
                      <a:lnTo>
                        <a:pt x="378884" y="1036472"/>
                      </a:lnTo>
                      <a:lnTo>
                        <a:pt x="379685" y="1035161"/>
                      </a:lnTo>
                      <a:lnTo>
                        <a:pt x="380135" y="1034421"/>
                      </a:lnTo>
                      <a:lnTo>
                        <a:pt x="380365" y="1033607"/>
                      </a:lnTo>
                      <a:lnTo>
                        <a:pt x="380997" y="1031287"/>
                      </a:lnTo>
                      <a:lnTo>
                        <a:pt x="381240" y="1030389"/>
                      </a:lnTo>
                      <a:lnTo>
                        <a:pt x="381203" y="1029466"/>
                      </a:lnTo>
                      <a:lnTo>
                        <a:pt x="380754" y="1017348"/>
                      </a:lnTo>
                      <a:lnTo>
                        <a:pt x="380815" y="1016072"/>
                      </a:lnTo>
                      <a:lnTo>
                        <a:pt x="380693" y="1013547"/>
                      </a:lnTo>
                      <a:lnTo>
                        <a:pt x="380633" y="1012599"/>
                      </a:lnTo>
                      <a:lnTo>
                        <a:pt x="380293" y="1011725"/>
                      </a:lnTo>
                      <a:lnTo>
                        <a:pt x="379600" y="1009940"/>
                      </a:lnTo>
                      <a:lnTo>
                        <a:pt x="379370" y="1009345"/>
                      </a:lnTo>
                      <a:lnTo>
                        <a:pt x="379018" y="1008811"/>
                      </a:lnTo>
                      <a:lnTo>
                        <a:pt x="376419" y="1004840"/>
                      </a:lnTo>
                      <a:lnTo>
                        <a:pt x="375945" y="1003881"/>
                      </a:lnTo>
                      <a:lnTo>
                        <a:pt x="375545" y="999959"/>
                      </a:lnTo>
                      <a:lnTo>
                        <a:pt x="375484" y="999376"/>
                      </a:lnTo>
                      <a:lnTo>
                        <a:pt x="375314" y="998830"/>
                      </a:lnTo>
                      <a:lnTo>
                        <a:pt x="374804" y="997129"/>
                      </a:lnTo>
                      <a:lnTo>
                        <a:pt x="374428" y="995891"/>
                      </a:lnTo>
                      <a:lnTo>
                        <a:pt x="373602" y="994919"/>
                      </a:lnTo>
                      <a:lnTo>
                        <a:pt x="372217" y="993304"/>
                      </a:lnTo>
                      <a:lnTo>
                        <a:pt x="371695" y="992685"/>
                      </a:lnTo>
                      <a:lnTo>
                        <a:pt x="371028" y="992236"/>
                      </a:lnTo>
                      <a:lnTo>
                        <a:pt x="368927" y="990803"/>
                      </a:lnTo>
                      <a:lnTo>
                        <a:pt x="369631" y="988532"/>
                      </a:lnTo>
                      <a:lnTo>
                        <a:pt x="369813" y="987961"/>
                      </a:lnTo>
                      <a:lnTo>
                        <a:pt x="369874" y="987379"/>
                      </a:lnTo>
                      <a:lnTo>
                        <a:pt x="370105" y="985181"/>
                      </a:lnTo>
                      <a:lnTo>
                        <a:pt x="370202" y="984246"/>
                      </a:lnTo>
                      <a:lnTo>
                        <a:pt x="370008" y="983323"/>
                      </a:lnTo>
                      <a:lnTo>
                        <a:pt x="369497" y="980846"/>
                      </a:lnTo>
                      <a:lnTo>
                        <a:pt x="369303" y="979923"/>
                      </a:lnTo>
                      <a:lnTo>
                        <a:pt x="368842" y="979109"/>
                      </a:lnTo>
                      <a:lnTo>
                        <a:pt x="366595" y="975090"/>
                      </a:lnTo>
                      <a:lnTo>
                        <a:pt x="366097" y="973779"/>
                      </a:lnTo>
                      <a:lnTo>
                        <a:pt x="365806" y="972370"/>
                      </a:lnTo>
                      <a:lnTo>
                        <a:pt x="365770" y="969905"/>
                      </a:lnTo>
                      <a:lnTo>
                        <a:pt x="366073" y="968278"/>
                      </a:lnTo>
                      <a:lnTo>
                        <a:pt x="366729" y="966456"/>
                      </a:lnTo>
                      <a:lnTo>
                        <a:pt x="369923" y="959814"/>
                      </a:lnTo>
                      <a:lnTo>
                        <a:pt x="370396" y="958819"/>
                      </a:lnTo>
                      <a:lnTo>
                        <a:pt x="370493" y="957726"/>
                      </a:lnTo>
                      <a:lnTo>
                        <a:pt x="370663" y="955807"/>
                      </a:lnTo>
                      <a:lnTo>
                        <a:pt x="370785" y="954459"/>
                      </a:lnTo>
                      <a:lnTo>
                        <a:pt x="370323" y="953184"/>
                      </a:lnTo>
                      <a:lnTo>
                        <a:pt x="369692" y="951460"/>
                      </a:lnTo>
                      <a:lnTo>
                        <a:pt x="369206" y="950136"/>
                      </a:lnTo>
                      <a:lnTo>
                        <a:pt x="368186" y="949165"/>
                      </a:lnTo>
                      <a:lnTo>
                        <a:pt x="366656" y="947695"/>
                      </a:lnTo>
                      <a:lnTo>
                        <a:pt x="366923" y="947526"/>
                      </a:lnTo>
                      <a:lnTo>
                        <a:pt x="367470" y="946931"/>
                      </a:lnTo>
                      <a:lnTo>
                        <a:pt x="368502" y="945813"/>
                      </a:lnTo>
                      <a:lnTo>
                        <a:pt x="369789" y="944417"/>
                      </a:lnTo>
                      <a:lnTo>
                        <a:pt x="370044" y="942523"/>
                      </a:lnTo>
                      <a:lnTo>
                        <a:pt x="370275" y="940847"/>
                      </a:lnTo>
                      <a:lnTo>
                        <a:pt x="370432" y="939718"/>
                      </a:lnTo>
                      <a:lnTo>
                        <a:pt x="370165" y="938613"/>
                      </a:lnTo>
                      <a:lnTo>
                        <a:pt x="369704" y="936670"/>
                      </a:lnTo>
                      <a:lnTo>
                        <a:pt x="369461" y="935662"/>
                      </a:lnTo>
                      <a:lnTo>
                        <a:pt x="368915" y="934800"/>
                      </a:lnTo>
                      <a:lnTo>
                        <a:pt x="367300" y="932274"/>
                      </a:lnTo>
                      <a:lnTo>
                        <a:pt x="366826" y="931533"/>
                      </a:lnTo>
                      <a:lnTo>
                        <a:pt x="366158" y="930950"/>
                      </a:lnTo>
                      <a:lnTo>
                        <a:pt x="364665" y="929663"/>
                      </a:lnTo>
                      <a:lnTo>
                        <a:pt x="364057" y="929141"/>
                      </a:lnTo>
                      <a:lnTo>
                        <a:pt x="363341" y="928789"/>
                      </a:lnTo>
                      <a:lnTo>
                        <a:pt x="361799" y="928036"/>
                      </a:lnTo>
                      <a:lnTo>
                        <a:pt x="361216" y="927769"/>
                      </a:lnTo>
                      <a:lnTo>
                        <a:pt x="360585" y="927611"/>
                      </a:lnTo>
                      <a:lnTo>
                        <a:pt x="356638" y="926640"/>
                      </a:lnTo>
                      <a:lnTo>
                        <a:pt x="354064" y="920908"/>
                      </a:lnTo>
                      <a:lnTo>
                        <a:pt x="353906" y="920568"/>
                      </a:lnTo>
                      <a:lnTo>
                        <a:pt x="353712" y="920240"/>
                      </a:lnTo>
                      <a:lnTo>
                        <a:pt x="352728" y="918625"/>
                      </a:lnTo>
                      <a:lnTo>
                        <a:pt x="352279" y="917885"/>
                      </a:lnTo>
                      <a:lnTo>
                        <a:pt x="351635" y="917290"/>
                      </a:lnTo>
                      <a:lnTo>
                        <a:pt x="350506" y="916257"/>
                      </a:lnTo>
                      <a:lnTo>
                        <a:pt x="349704" y="915529"/>
                      </a:lnTo>
                      <a:lnTo>
                        <a:pt x="348697" y="915116"/>
                      </a:lnTo>
                      <a:lnTo>
                        <a:pt x="347203" y="914509"/>
                      </a:lnTo>
                      <a:lnTo>
                        <a:pt x="346657" y="914290"/>
                      </a:lnTo>
                      <a:lnTo>
                        <a:pt x="346074" y="914169"/>
                      </a:lnTo>
                      <a:lnTo>
                        <a:pt x="344034" y="913780"/>
                      </a:lnTo>
                      <a:lnTo>
                        <a:pt x="344483" y="901893"/>
                      </a:lnTo>
                      <a:lnTo>
                        <a:pt x="345637" y="896671"/>
                      </a:lnTo>
                      <a:lnTo>
                        <a:pt x="345709" y="896355"/>
                      </a:lnTo>
                      <a:lnTo>
                        <a:pt x="345746" y="896028"/>
                      </a:lnTo>
                      <a:lnTo>
                        <a:pt x="346025" y="893502"/>
                      </a:lnTo>
                      <a:lnTo>
                        <a:pt x="346098" y="892797"/>
                      </a:lnTo>
                      <a:lnTo>
                        <a:pt x="346013" y="892105"/>
                      </a:lnTo>
                      <a:lnTo>
                        <a:pt x="345673" y="889264"/>
                      </a:lnTo>
                      <a:lnTo>
                        <a:pt x="345612" y="888778"/>
                      </a:lnTo>
                      <a:lnTo>
                        <a:pt x="345479" y="888329"/>
                      </a:lnTo>
                      <a:lnTo>
                        <a:pt x="344107" y="883520"/>
                      </a:lnTo>
                      <a:lnTo>
                        <a:pt x="343609" y="881019"/>
                      </a:lnTo>
                      <a:lnTo>
                        <a:pt x="343730" y="878238"/>
                      </a:lnTo>
                      <a:lnTo>
                        <a:pt x="345394" y="870904"/>
                      </a:lnTo>
                      <a:lnTo>
                        <a:pt x="345637" y="869811"/>
                      </a:lnTo>
                      <a:lnTo>
                        <a:pt x="345479" y="868706"/>
                      </a:lnTo>
                      <a:lnTo>
                        <a:pt x="345187" y="866666"/>
                      </a:lnTo>
                      <a:lnTo>
                        <a:pt x="344969" y="865160"/>
                      </a:lnTo>
                      <a:lnTo>
                        <a:pt x="344070" y="863934"/>
                      </a:lnTo>
                      <a:lnTo>
                        <a:pt x="342759" y="862136"/>
                      </a:lnTo>
                      <a:lnTo>
                        <a:pt x="342103" y="861238"/>
                      </a:lnTo>
                      <a:lnTo>
                        <a:pt x="341180" y="860631"/>
                      </a:lnTo>
                      <a:lnTo>
                        <a:pt x="339504" y="859538"/>
                      </a:lnTo>
                      <a:lnTo>
                        <a:pt x="338861" y="859125"/>
                      </a:lnTo>
                      <a:lnTo>
                        <a:pt x="338132" y="858870"/>
                      </a:lnTo>
                      <a:lnTo>
                        <a:pt x="336529" y="858324"/>
                      </a:lnTo>
                      <a:lnTo>
                        <a:pt x="335886" y="858105"/>
                      </a:lnTo>
                      <a:lnTo>
                        <a:pt x="335206" y="858032"/>
                      </a:lnTo>
                      <a:lnTo>
                        <a:pt x="329535" y="857437"/>
                      </a:lnTo>
                      <a:lnTo>
                        <a:pt x="329195" y="857316"/>
                      </a:lnTo>
                      <a:lnTo>
                        <a:pt x="327447" y="852701"/>
                      </a:lnTo>
                      <a:lnTo>
                        <a:pt x="327240" y="852179"/>
                      </a:lnTo>
                      <a:lnTo>
                        <a:pt x="326949" y="851694"/>
                      </a:lnTo>
                      <a:lnTo>
                        <a:pt x="325807" y="849811"/>
                      </a:lnTo>
                      <a:lnTo>
                        <a:pt x="325407" y="849143"/>
                      </a:lnTo>
                      <a:lnTo>
                        <a:pt x="324848" y="848597"/>
                      </a:lnTo>
                      <a:lnTo>
                        <a:pt x="323354" y="847152"/>
                      </a:lnTo>
                      <a:lnTo>
                        <a:pt x="322796" y="846606"/>
                      </a:lnTo>
                      <a:lnTo>
                        <a:pt x="322116" y="846229"/>
                      </a:lnTo>
                      <a:lnTo>
                        <a:pt x="306743" y="837583"/>
                      </a:lnTo>
                      <a:lnTo>
                        <a:pt x="305261" y="836406"/>
                      </a:lnTo>
                      <a:lnTo>
                        <a:pt x="304314" y="835385"/>
                      </a:lnTo>
                      <a:lnTo>
                        <a:pt x="303659" y="834293"/>
                      </a:lnTo>
                      <a:lnTo>
                        <a:pt x="303428" y="833613"/>
                      </a:lnTo>
                      <a:lnTo>
                        <a:pt x="303416" y="833248"/>
                      </a:lnTo>
                      <a:lnTo>
                        <a:pt x="303598" y="832471"/>
                      </a:lnTo>
                      <a:lnTo>
                        <a:pt x="304035" y="831342"/>
                      </a:lnTo>
                      <a:lnTo>
                        <a:pt x="311260" y="818203"/>
                      </a:lnTo>
                      <a:lnTo>
                        <a:pt x="311442" y="817948"/>
                      </a:lnTo>
                      <a:lnTo>
                        <a:pt x="312025" y="817705"/>
                      </a:lnTo>
                      <a:lnTo>
                        <a:pt x="312413" y="817535"/>
                      </a:lnTo>
                      <a:lnTo>
                        <a:pt x="312778" y="817305"/>
                      </a:lnTo>
                      <a:lnTo>
                        <a:pt x="316275" y="815204"/>
                      </a:lnTo>
                      <a:lnTo>
                        <a:pt x="317101" y="814706"/>
                      </a:lnTo>
                      <a:lnTo>
                        <a:pt x="317732" y="813977"/>
                      </a:lnTo>
                      <a:lnTo>
                        <a:pt x="322104" y="808938"/>
                      </a:lnTo>
                      <a:lnTo>
                        <a:pt x="329086" y="816868"/>
                      </a:lnTo>
                      <a:lnTo>
                        <a:pt x="329147" y="816989"/>
                      </a:lnTo>
                      <a:lnTo>
                        <a:pt x="329074" y="817790"/>
                      </a:lnTo>
                      <a:lnTo>
                        <a:pt x="329219" y="818604"/>
                      </a:lnTo>
                      <a:lnTo>
                        <a:pt x="329438" y="819843"/>
                      </a:lnTo>
                      <a:lnTo>
                        <a:pt x="329778" y="821773"/>
                      </a:lnTo>
                      <a:lnTo>
                        <a:pt x="331199" y="823133"/>
                      </a:lnTo>
                      <a:lnTo>
                        <a:pt x="332243" y="824141"/>
                      </a:lnTo>
                      <a:lnTo>
                        <a:pt x="334028" y="825878"/>
                      </a:lnTo>
                      <a:lnTo>
                        <a:pt x="336529" y="825853"/>
                      </a:lnTo>
                      <a:lnTo>
                        <a:pt x="338594" y="825829"/>
                      </a:lnTo>
                      <a:lnTo>
                        <a:pt x="339504" y="825817"/>
                      </a:lnTo>
                      <a:lnTo>
                        <a:pt x="340367" y="825550"/>
                      </a:lnTo>
                      <a:lnTo>
                        <a:pt x="341739" y="825113"/>
                      </a:lnTo>
                      <a:lnTo>
                        <a:pt x="342577" y="824846"/>
                      </a:lnTo>
                      <a:lnTo>
                        <a:pt x="343305" y="824348"/>
                      </a:lnTo>
                      <a:lnTo>
                        <a:pt x="344398" y="823595"/>
                      </a:lnTo>
                      <a:lnTo>
                        <a:pt x="345394" y="822915"/>
                      </a:lnTo>
                      <a:lnTo>
                        <a:pt x="346062" y="821907"/>
                      </a:lnTo>
                      <a:lnTo>
                        <a:pt x="346754" y="820850"/>
                      </a:lnTo>
                      <a:lnTo>
                        <a:pt x="347045" y="820401"/>
                      </a:lnTo>
                      <a:lnTo>
                        <a:pt x="347264" y="819891"/>
                      </a:lnTo>
                      <a:lnTo>
                        <a:pt x="347980" y="818228"/>
                      </a:lnTo>
                      <a:lnTo>
                        <a:pt x="351987" y="822016"/>
                      </a:lnTo>
                      <a:lnTo>
                        <a:pt x="352255" y="822271"/>
                      </a:lnTo>
                      <a:lnTo>
                        <a:pt x="352558" y="822490"/>
                      </a:lnTo>
                      <a:lnTo>
                        <a:pt x="354926" y="824250"/>
                      </a:lnTo>
                      <a:lnTo>
                        <a:pt x="355776" y="825052"/>
                      </a:lnTo>
                      <a:lnTo>
                        <a:pt x="355788" y="825076"/>
                      </a:lnTo>
                      <a:lnTo>
                        <a:pt x="355837" y="825258"/>
                      </a:lnTo>
                      <a:lnTo>
                        <a:pt x="355934" y="825647"/>
                      </a:lnTo>
                      <a:lnTo>
                        <a:pt x="356080" y="826011"/>
                      </a:lnTo>
                      <a:lnTo>
                        <a:pt x="356492" y="827019"/>
                      </a:lnTo>
                      <a:lnTo>
                        <a:pt x="357027" y="828136"/>
                      </a:lnTo>
                      <a:lnTo>
                        <a:pt x="357610" y="829302"/>
                      </a:lnTo>
                      <a:lnTo>
                        <a:pt x="358617" y="830128"/>
                      </a:lnTo>
                      <a:lnTo>
                        <a:pt x="359419" y="830783"/>
                      </a:lnTo>
                      <a:lnTo>
                        <a:pt x="360135" y="831366"/>
                      </a:lnTo>
                      <a:lnTo>
                        <a:pt x="360985" y="831706"/>
                      </a:lnTo>
                      <a:lnTo>
                        <a:pt x="362139" y="832168"/>
                      </a:lnTo>
                      <a:lnTo>
                        <a:pt x="363147" y="832568"/>
                      </a:lnTo>
                      <a:lnTo>
                        <a:pt x="364215" y="832605"/>
                      </a:lnTo>
                      <a:lnTo>
                        <a:pt x="366110" y="832665"/>
                      </a:lnTo>
                      <a:lnTo>
                        <a:pt x="366692" y="832678"/>
                      </a:lnTo>
                      <a:lnTo>
                        <a:pt x="367275" y="832581"/>
                      </a:lnTo>
                      <a:lnTo>
                        <a:pt x="369267" y="832265"/>
                      </a:lnTo>
                      <a:lnTo>
                        <a:pt x="369971" y="833248"/>
                      </a:lnTo>
                      <a:lnTo>
                        <a:pt x="381361" y="856696"/>
                      </a:lnTo>
                      <a:lnTo>
                        <a:pt x="381616" y="857231"/>
                      </a:lnTo>
                      <a:lnTo>
                        <a:pt x="381968" y="857704"/>
                      </a:lnTo>
                      <a:lnTo>
                        <a:pt x="383401" y="859599"/>
                      </a:lnTo>
                      <a:lnTo>
                        <a:pt x="384324" y="860813"/>
                      </a:lnTo>
                      <a:lnTo>
                        <a:pt x="385708" y="861456"/>
                      </a:lnTo>
                      <a:lnTo>
                        <a:pt x="387020" y="862064"/>
                      </a:lnTo>
                      <a:lnTo>
                        <a:pt x="389242" y="863084"/>
                      </a:lnTo>
                      <a:lnTo>
                        <a:pt x="391549" y="862294"/>
                      </a:lnTo>
                      <a:lnTo>
                        <a:pt x="393164" y="861736"/>
                      </a:lnTo>
                      <a:lnTo>
                        <a:pt x="395034" y="861080"/>
                      </a:lnTo>
                      <a:lnTo>
                        <a:pt x="396163" y="859453"/>
                      </a:lnTo>
                      <a:lnTo>
                        <a:pt x="397244" y="857886"/>
                      </a:lnTo>
                      <a:lnTo>
                        <a:pt x="397475" y="857559"/>
                      </a:lnTo>
                      <a:lnTo>
                        <a:pt x="397657" y="857206"/>
                      </a:lnTo>
                      <a:lnTo>
                        <a:pt x="400158" y="852349"/>
                      </a:lnTo>
                      <a:lnTo>
                        <a:pt x="400851" y="851293"/>
                      </a:lnTo>
                      <a:lnTo>
                        <a:pt x="400863" y="851281"/>
                      </a:lnTo>
                      <a:lnTo>
                        <a:pt x="401203" y="850965"/>
                      </a:lnTo>
                      <a:lnTo>
                        <a:pt x="401567" y="850722"/>
                      </a:lnTo>
                      <a:lnTo>
                        <a:pt x="401871" y="850576"/>
                      </a:lnTo>
                      <a:lnTo>
                        <a:pt x="402502" y="850479"/>
                      </a:lnTo>
                      <a:lnTo>
                        <a:pt x="403583" y="850418"/>
                      </a:lnTo>
                      <a:lnTo>
                        <a:pt x="420097" y="852871"/>
                      </a:lnTo>
                      <a:lnTo>
                        <a:pt x="421481" y="853381"/>
                      </a:lnTo>
                      <a:lnTo>
                        <a:pt x="425865" y="855786"/>
                      </a:lnTo>
                      <a:lnTo>
                        <a:pt x="426290" y="856029"/>
                      </a:lnTo>
                      <a:lnTo>
                        <a:pt x="426751" y="856186"/>
                      </a:lnTo>
                      <a:lnTo>
                        <a:pt x="428986" y="856976"/>
                      </a:lnTo>
                      <a:lnTo>
                        <a:pt x="429884" y="857292"/>
                      </a:lnTo>
                      <a:lnTo>
                        <a:pt x="430844" y="857328"/>
                      </a:lnTo>
                      <a:lnTo>
                        <a:pt x="433782" y="857413"/>
                      </a:lnTo>
                      <a:lnTo>
                        <a:pt x="433770" y="857498"/>
                      </a:lnTo>
                      <a:lnTo>
                        <a:pt x="433758" y="857996"/>
                      </a:lnTo>
                      <a:lnTo>
                        <a:pt x="433697" y="859890"/>
                      </a:lnTo>
                      <a:lnTo>
                        <a:pt x="433685" y="860376"/>
                      </a:lnTo>
                      <a:lnTo>
                        <a:pt x="433746" y="860849"/>
                      </a:lnTo>
                      <a:lnTo>
                        <a:pt x="434025" y="863144"/>
                      </a:lnTo>
                      <a:lnTo>
                        <a:pt x="433989" y="864395"/>
                      </a:lnTo>
                      <a:lnTo>
                        <a:pt x="433867" y="865233"/>
                      </a:lnTo>
                      <a:lnTo>
                        <a:pt x="433746" y="866241"/>
                      </a:lnTo>
                      <a:lnTo>
                        <a:pt x="433964" y="867237"/>
                      </a:lnTo>
                      <a:lnTo>
                        <a:pt x="434134" y="868001"/>
                      </a:lnTo>
                      <a:lnTo>
                        <a:pt x="434231" y="868439"/>
                      </a:lnTo>
                      <a:lnTo>
                        <a:pt x="434389" y="868864"/>
                      </a:lnTo>
                      <a:lnTo>
                        <a:pt x="434608" y="869447"/>
                      </a:lnTo>
                      <a:lnTo>
                        <a:pt x="436199" y="873648"/>
                      </a:lnTo>
                      <a:lnTo>
                        <a:pt x="440679" y="873369"/>
                      </a:lnTo>
                      <a:lnTo>
                        <a:pt x="443970" y="873150"/>
                      </a:lnTo>
                      <a:lnTo>
                        <a:pt x="445670" y="873041"/>
                      </a:lnTo>
                      <a:lnTo>
                        <a:pt x="447067" y="872057"/>
                      </a:lnTo>
                      <a:lnTo>
                        <a:pt x="448609" y="870976"/>
                      </a:lnTo>
                      <a:lnTo>
                        <a:pt x="455761" y="865087"/>
                      </a:lnTo>
                      <a:lnTo>
                        <a:pt x="457388" y="864164"/>
                      </a:lnTo>
                      <a:lnTo>
                        <a:pt x="458469" y="863703"/>
                      </a:lnTo>
                      <a:lnTo>
                        <a:pt x="462306" y="862428"/>
                      </a:lnTo>
                      <a:lnTo>
                        <a:pt x="463107" y="862161"/>
                      </a:lnTo>
                      <a:lnTo>
                        <a:pt x="463812" y="861687"/>
                      </a:lnTo>
                      <a:lnTo>
                        <a:pt x="465548" y="860497"/>
                      </a:lnTo>
                      <a:lnTo>
                        <a:pt x="465924" y="860242"/>
                      </a:lnTo>
                      <a:lnTo>
                        <a:pt x="466252" y="859939"/>
                      </a:lnTo>
                      <a:lnTo>
                        <a:pt x="469288" y="857134"/>
                      </a:lnTo>
                      <a:lnTo>
                        <a:pt x="469713" y="856745"/>
                      </a:lnTo>
                      <a:lnTo>
                        <a:pt x="470053" y="856284"/>
                      </a:lnTo>
                      <a:lnTo>
                        <a:pt x="470976" y="855033"/>
                      </a:lnTo>
                      <a:lnTo>
                        <a:pt x="471960" y="853709"/>
                      </a:lnTo>
                      <a:lnTo>
                        <a:pt x="472130" y="852070"/>
                      </a:lnTo>
                      <a:lnTo>
                        <a:pt x="472251" y="850904"/>
                      </a:lnTo>
                      <a:lnTo>
                        <a:pt x="472458" y="848961"/>
                      </a:lnTo>
                      <a:lnTo>
                        <a:pt x="471486" y="847249"/>
                      </a:lnTo>
                      <a:lnTo>
                        <a:pt x="470672" y="845816"/>
                      </a:lnTo>
                      <a:lnTo>
                        <a:pt x="470187" y="844991"/>
                      </a:lnTo>
                      <a:lnTo>
                        <a:pt x="469470" y="844335"/>
                      </a:lnTo>
                      <a:lnTo>
                        <a:pt x="466932" y="842040"/>
                      </a:lnTo>
                      <a:lnTo>
                        <a:pt x="466981" y="841457"/>
                      </a:lnTo>
                      <a:lnTo>
                        <a:pt x="469373" y="832410"/>
                      </a:lnTo>
                      <a:lnTo>
                        <a:pt x="469470" y="832034"/>
                      </a:lnTo>
                      <a:lnTo>
                        <a:pt x="469519" y="831646"/>
                      </a:lnTo>
                      <a:lnTo>
                        <a:pt x="469871" y="828950"/>
                      </a:lnTo>
                      <a:lnTo>
                        <a:pt x="469932" y="828476"/>
                      </a:lnTo>
                      <a:lnTo>
                        <a:pt x="469920" y="828003"/>
                      </a:lnTo>
                      <a:lnTo>
                        <a:pt x="469859" y="825817"/>
                      </a:lnTo>
                      <a:lnTo>
                        <a:pt x="469847" y="825210"/>
                      </a:lnTo>
                      <a:lnTo>
                        <a:pt x="469713" y="824615"/>
                      </a:lnTo>
                      <a:lnTo>
                        <a:pt x="468900" y="821081"/>
                      </a:lnTo>
                      <a:lnTo>
                        <a:pt x="468754" y="820438"/>
                      </a:lnTo>
                      <a:lnTo>
                        <a:pt x="468475" y="819843"/>
                      </a:lnTo>
                      <a:lnTo>
                        <a:pt x="467406" y="817572"/>
                      </a:lnTo>
                      <a:lnTo>
                        <a:pt x="464832" y="816261"/>
                      </a:lnTo>
                      <a:lnTo>
                        <a:pt x="464577" y="816175"/>
                      </a:lnTo>
                      <a:lnTo>
                        <a:pt x="463848" y="815933"/>
                      </a:lnTo>
                      <a:lnTo>
                        <a:pt x="463035" y="815714"/>
                      </a:lnTo>
                      <a:lnTo>
                        <a:pt x="462610" y="815592"/>
                      </a:lnTo>
                      <a:lnTo>
                        <a:pt x="462172" y="815544"/>
                      </a:lnTo>
                      <a:lnTo>
                        <a:pt x="457874" y="815058"/>
                      </a:lnTo>
                      <a:lnTo>
                        <a:pt x="457570" y="815022"/>
                      </a:lnTo>
                      <a:lnTo>
                        <a:pt x="457267" y="815022"/>
                      </a:lnTo>
                      <a:lnTo>
                        <a:pt x="455032" y="814998"/>
                      </a:lnTo>
                      <a:lnTo>
                        <a:pt x="454547" y="814998"/>
                      </a:lnTo>
                      <a:lnTo>
                        <a:pt x="454061" y="815070"/>
                      </a:lnTo>
                      <a:lnTo>
                        <a:pt x="452956" y="815240"/>
                      </a:lnTo>
                      <a:lnTo>
                        <a:pt x="452446" y="815313"/>
                      </a:lnTo>
                      <a:lnTo>
                        <a:pt x="451972" y="815471"/>
                      </a:lnTo>
                      <a:lnTo>
                        <a:pt x="451171" y="815726"/>
                      </a:lnTo>
                      <a:lnTo>
                        <a:pt x="450588" y="815920"/>
                      </a:lnTo>
                      <a:lnTo>
                        <a:pt x="450054" y="816224"/>
                      </a:lnTo>
                      <a:lnTo>
                        <a:pt x="449204" y="816710"/>
                      </a:lnTo>
                      <a:lnTo>
                        <a:pt x="448645" y="817025"/>
                      </a:lnTo>
                      <a:lnTo>
                        <a:pt x="448159" y="817463"/>
                      </a:lnTo>
                      <a:lnTo>
                        <a:pt x="447552" y="817875"/>
                      </a:lnTo>
                      <a:lnTo>
                        <a:pt x="445707" y="815483"/>
                      </a:lnTo>
                      <a:lnTo>
                        <a:pt x="445257" y="814901"/>
                      </a:lnTo>
                      <a:lnTo>
                        <a:pt x="444699" y="814451"/>
                      </a:lnTo>
                      <a:lnTo>
                        <a:pt x="443606" y="813577"/>
                      </a:lnTo>
                      <a:lnTo>
                        <a:pt x="443096" y="813164"/>
                      </a:lnTo>
                      <a:lnTo>
                        <a:pt x="442501" y="812885"/>
                      </a:lnTo>
                      <a:lnTo>
                        <a:pt x="441250" y="812265"/>
                      </a:lnTo>
                      <a:lnTo>
                        <a:pt x="440594" y="811950"/>
                      </a:lnTo>
                      <a:lnTo>
                        <a:pt x="439878" y="811780"/>
                      </a:lnTo>
                      <a:lnTo>
                        <a:pt x="438384" y="811452"/>
                      </a:lnTo>
                      <a:lnTo>
                        <a:pt x="437935" y="811355"/>
                      </a:lnTo>
                      <a:lnTo>
                        <a:pt x="437462" y="811318"/>
                      </a:lnTo>
                      <a:lnTo>
                        <a:pt x="436016" y="811221"/>
                      </a:lnTo>
                      <a:lnTo>
                        <a:pt x="435616" y="811197"/>
                      </a:lnTo>
                      <a:lnTo>
                        <a:pt x="435203" y="811221"/>
                      </a:lnTo>
                      <a:lnTo>
                        <a:pt x="428087" y="811707"/>
                      </a:lnTo>
                      <a:lnTo>
                        <a:pt x="427031" y="811622"/>
                      </a:lnTo>
                      <a:lnTo>
                        <a:pt x="424869" y="809569"/>
                      </a:lnTo>
                      <a:lnTo>
                        <a:pt x="424614" y="809327"/>
                      </a:lnTo>
                      <a:lnTo>
                        <a:pt x="424335" y="809108"/>
                      </a:lnTo>
                      <a:lnTo>
                        <a:pt x="423181" y="808246"/>
                      </a:lnTo>
                      <a:lnTo>
                        <a:pt x="422647" y="807845"/>
                      </a:lnTo>
                      <a:lnTo>
                        <a:pt x="422028" y="807578"/>
                      </a:lnTo>
                      <a:lnTo>
                        <a:pt x="415981" y="804858"/>
                      </a:lnTo>
                      <a:lnTo>
                        <a:pt x="419563" y="792727"/>
                      </a:lnTo>
                      <a:lnTo>
                        <a:pt x="419696" y="792290"/>
                      </a:lnTo>
                      <a:lnTo>
                        <a:pt x="419757" y="791829"/>
                      </a:lnTo>
                      <a:lnTo>
                        <a:pt x="420146" y="788963"/>
                      </a:lnTo>
                      <a:lnTo>
                        <a:pt x="420194" y="788562"/>
                      </a:lnTo>
                      <a:lnTo>
                        <a:pt x="420194" y="788150"/>
                      </a:lnTo>
                      <a:lnTo>
                        <a:pt x="420194" y="783268"/>
                      </a:lnTo>
                      <a:lnTo>
                        <a:pt x="420194" y="782746"/>
                      </a:lnTo>
                      <a:lnTo>
                        <a:pt x="420109" y="782236"/>
                      </a:lnTo>
                      <a:lnTo>
                        <a:pt x="418749" y="774379"/>
                      </a:lnTo>
                      <a:lnTo>
                        <a:pt x="418591" y="764556"/>
                      </a:lnTo>
                      <a:lnTo>
                        <a:pt x="418579" y="763669"/>
                      </a:lnTo>
                      <a:lnTo>
                        <a:pt x="418312" y="762831"/>
                      </a:lnTo>
                      <a:lnTo>
                        <a:pt x="417559" y="760464"/>
                      </a:lnTo>
                      <a:lnTo>
                        <a:pt x="417414" y="760002"/>
                      </a:lnTo>
                      <a:lnTo>
                        <a:pt x="417195" y="759577"/>
                      </a:lnTo>
                      <a:lnTo>
                        <a:pt x="416406" y="757986"/>
                      </a:lnTo>
                      <a:lnTo>
                        <a:pt x="416187" y="757549"/>
                      </a:lnTo>
                      <a:lnTo>
                        <a:pt x="415908" y="757161"/>
                      </a:lnTo>
                      <a:lnTo>
                        <a:pt x="415689" y="756869"/>
                      </a:lnTo>
                      <a:lnTo>
                        <a:pt x="415689" y="755011"/>
                      </a:lnTo>
                      <a:lnTo>
                        <a:pt x="417608" y="739238"/>
                      </a:lnTo>
                      <a:lnTo>
                        <a:pt x="417668" y="738679"/>
                      </a:lnTo>
                      <a:lnTo>
                        <a:pt x="417632" y="738109"/>
                      </a:lnTo>
                      <a:lnTo>
                        <a:pt x="417341" y="733494"/>
                      </a:lnTo>
                      <a:lnTo>
                        <a:pt x="417304" y="732984"/>
                      </a:lnTo>
                      <a:lnTo>
                        <a:pt x="417183" y="732474"/>
                      </a:lnTo>
                      <a:lnTo>
                        <a:pt x="416673" y="730337"/>
                      </a:lnTo>
                      <a:lnTo>
                        <a:pt x="415009" y="723355"/>
                      </a:lnTo>
                      <a:lnTo>
                        <a:pt x="410091" y="725443"/>
                      </a:lnTo>
                      <a:lnTo>
                        <a:pt x="409982" y="724096"/>
                      </a:lnTo>
                      <a:lnTo>
                        <a:pt x="409958" y="723780"/>
                      </a:lnTo>
                      <a:lnTo>
                        <a:pt x="409897" y="723464"/>
                      </a:lnTo>
                      <a:lnTo>
                        <a:pt x="409618" y="721958"/>
                      </a:lnTo>
                      <a:lnTo>
                        <a:pt x="408598" y="720440"/>
                      </a:lnTo>
                      <a:lnTo>
                        <a:pt x="407736" y="719372"/>
                      </a:lnTo>
                      <a:lnTo>
                        <a:pt x="406193" y="717441"/>
                      </a:lnTo>
                      <a:lnTo>
                        <a:pt x="403741" y="717162"/>
                      </a:lnTo>
                      <a:lnTo>
                        <a:pt x="403048" y="717077"/>
                      </a:lnTo>
                      <a:lnTo>
                        <a:pt x="402830" y="717040"/>
                      </a:lnTo>
                      <a:lnTo>
                        <a:pt x="402587" y="716591"/>
                      </a:lnTo>
                      <a:lnTo>
                        <a:pt x="402308" y="715413"/>
                      </a:lnTo>
                      <a:lnTo>
                        <a:pt x="402308" y="714151"/>
                      </a:lnTo>
                      <a:lnTo>
                        <a:pt x="405283" y="701813"/>
                      </a:lnTo>
                      <a:lnTo>
                        <a:pt x="406206" y="699202"/>
                      </a:lnTo>
                      <a:lnTo>
                        <a:pt x="406351" y="698790"/>
                      </a:lnTo>
                      <a:lnTo>
                        <a:pt x="406436" y="698340"/>
                      </a:lnTo>
                      <a:lnTo>
                        <a:pt x="407116" y="694892"/>
                      </a:lnTo>
                      <a:lnTo>
                        <a:pt x="407432" y="691929"/>
                      </a:lnTo>
                      <a:lnTo>
                        <a:pt x="407468" y="691516"/>
                      </a:lnTo>
                      <a:lnTo>
                        <a:pt x="407456" y="691103"/>
                      </a:lnTo>
                      <a:lnTo>
                        <a:pt x="407347" y="688553"/>
                      </a:lnTo>
                      <a:lnTo>
                        <a:pt x="407323" y="687958"/>
                      </a:lnTo>
                      <a:lnTo>
                        <a:pt x="407189" y="687387"/>
                      </a:lnTo>
                      <a:lnTo>
                        <a:pt x="406606" y="684947"/>
                      </a:lnTo>
                      <a:lnTo>
                        <a:pt x="405805" y="682373"/>
                      </a:lnTo>
                      <a:lnTo>
                        <a:pt x="405683" y="681996"/>
                      </a:lnTo>
                      <a:lnTo>
                        <a:pt x="405513" y="681644"/>
                      </a:lnTo>
                      <a:lnTo>
                        <a:pt x="403765" y="677892"/>
                      </a:lnTo>
                      <a:lnTo>
                        <a:pt x="403279" y="676434"/>
                      </a:lnTo>
                      <a:lnTo>
                        <a:pt x="403024" y="675257"/>
                      </a:lnTo>
                      <a:lnTo>
                        <a:pt x="402733" y="659361"/>
                      </a:lnTo>
                      <a:lnTo>
                        <a:pt x="402806" y="659544"/>
                      </a:lnTo>
                      <a:lnTo>
                        <a:pt x="403267" y="660612"/>
                      </a:lnTo>
                      <a:lnTo>
                        <a:pt x="403692" y="661584"/>
                      </a:lnTo>
                      <a:lnTo>
                        <a:pt x="404433" y="662361"/>
                      </a:lnTo>
                      <a:lnTo>
                        <a:pt x="405064" y="663029"/>
                      </a:lnTo>
                      <a:lnTo>
                        <a:pt x="406157" y="664194"/>
                      </a:lnTo>
                      <a:lnTo>
                        <a:pt x="407687" y="664656"/>
                      </a:lnTo>
                      <a:lnTo>
                        <a:pt x="408610" y="664935"/>
                      </a:lnTo>
                      <a:lnTo>
                        <a:pt x="409800" y="665299"/>
                      </a:lnTo>
                      <a:lnTo>
                        <a:pt x="411051" y="665166"/>
                      </a:lnTo>
                      <a:lnTo>
                        <a:pt x="412374" y="665020"/>
                      </a:lnTo>
                      <a:lnTo>
                        <a:pt x="413054" y="664947"/>
                      </a:lnTo>
                      <a:lnTo>
                        <a:pt x="413698" y="664717"/>
                      </a:lnTo>
                      <a:lnTo>
                        <a:pt x="416564" y="663733"/>
                      </a:lnTo>
                      <a:lnTo>
                        <a:pt x="416940" y="663599"/>
                      </a:lnTo>
                      <a:lnTo>
                        <a:pt x="417304" y="663417"/>
                      </a:lnTo>
                      <a:lnTo>
                        <a:pt x="420182" y="661984"/>
                      </a:lnTo>
                      <a:lnTo>
                        <a:pt x="420971" y="661596"/>
                      </a:lnTo>
                      <a:lnTo>
                        <a:pt x="421615" y="660989"/>
                      </a:lnTo>
                      <a:lnTo>
                        <a:pt x="423388" y="659325"/>
                      </a:lnTo>
                      <a:lnTo>
                        <a:pt x="423679" y="659058"/>
                      </a:lnTo>
                      <a:lnTo>
                        <a:pt x="423934" y="658754"/>
                      </a:lnTo>
                      <a:lnTo>
                        <a:pt x="425829" y="656459"/>
                      </a:lnTo>
                      <a:lnTo>
                        <a:pt x="426169" y="656047"/>
                      </a:lnTo>
                      <a:lnTo>
                        <a:pt x="426424" y="655585"/>
                      </a:lnTo>
                      <a:lnTo>
                        <a:pt x="429180" y="650679"/>
                      </a:lnTo>
                      <a:lnTo>
                        <a:pt x="430625" y="648591"/>
                      </a:lnTo>
                      <a:lnTo>
                        <a:pt x="433066" y="646016"/>
                      </a:lnTo>
                      <a:lnTo>
                        <a:pt x="433345" y="645786"/>
                      </a:lnTo>
                      <a:lnTo>
                        <a:pt x="433843" y="645737"/>
                      </a:lnTo>
                      <a:lnTo>
                        <a:pt x="435361" y="645604"/>
                      </a:lnTo>
                      <a:lnTo>
                        <a:pt x="436636" y="644766"/>
                      </a:lnTo>
                      <a:lnTo>
                        <a:pt x="438518" y="643527"/>
                      </a:lnTo>
                      <a:lnTo>
                        <a:pt x="439186" y="643090"/>
                      </a:lnTo>
                      <a:lnTo>
                        <a:pt x="439708" y="642495"/>
                      </a:lnTo>
                      <a:lnTo>
                        <a:pt x="442355" y="639532"/>
                      </a:lnTo>
                      <a:lnTo>
                        <a:pt x="442719" y="639131"/>
                      </a:lnTo>
                      <a:lnTo>
                        <a:pt x="442999" y="638670"/>
                      </a:lnTo>
                      <a:lnTo>
                        <a:pt x="451377" y="625033"/>
                      </a:lnTo>
                      <a:lnTo>
                        <a:pt x="451717" y="624463"/>
                      </a:lnTo>
                      <a:lnTo>
                        <a:pt x="451936" y="623843"/>
                      </a:lnTo>
                      <a:lnTo>
                        <a:pt x="455530" y="613486"/>
                      </a:lnTo>
                      <a:lnTo>
                        <a:pt x="458214" y="609600"/>
                      </a:lnTo>
                      <a:lnTo>
                        <a:pt x="459039" y="608410"/>
                      </a:lnTo>
                      <a:lnTo>
                        <a:pt x="459234" y="606977"/>
                      </a:lnTo>
                      <a:lnTo>
                        <a:pt x="459756" y="603200"/>
                      </a:lnTo>
                      <a:lnTo>
                        <a:pt x="459914" y="602035"/>
                      </a:lnTo>
                      <a:lnTo>
                        <a:pt x="473004" y="601306"/>
                      </a:lnTo>
                      <a:lnTo>
                        <a:pt x="473040" y="601318"/>
                      </a:lnTo>
                      <a:lnTo>
                        <a:pt x="473368" y="601658"/>
                      </a:lnTo>
                      <a:lnTo>
                        <a:pt x="474060" y="602375"/>
                      </a:lnTo>
                      <a:lnTo>
                        <a:pt x="474947" y="602836"/>
                      </a:lnTo>
                      <a:lnTo>
                        <a:pt x="476319" y="603553"/>
                      </a:lnTo>
                      <a:lnTo>
                        <a:pt x="477630" y="604233"/>
                      </a:lnTo>
                      <a:lnTo>
                        <a:pt x="479112" y="604233"/>
                      </a:lnTo>
                      <a:lnTo>
                        <a:pt x="480666" y="604233"/>
                      </a:lnTo>
                      <a:lnTo>
                        <a:pt x="481698" y="604233"/>
                      </a:lnTo>
                      <a:lnTo>
                        <a:pt x="482670" y="603893"/>
                      </a:lnTo>
                      <a:lnTo>
                        <a:pt x="483993" y="603431"/>
                      </a:lnTo>
                      <a:lnTo>
                        <a:pt x="484467" y="603261"/>
                      </a:lnTo>
                      <a:lnTo>
                        <a:pt x="484904" y="603018"/>
                      </a:lnTo>
                      <a:lnTo>
                        <a:pt x="486847" y="601962"/>
                      </a:lnTo>
                      <a:lnTo>
                        <a:pt x="488146" y="601525"/>
                      </a:lnTo>
                      <a:lnTo>
                        <a:pt x="490927" y="601015"/>
                      </a:lnTo>
                      <a:lnTo>
                        <a:pt x="494218" y="600893"/>
                      </a:lnTo>
                      <a:lnTo>
                        <a:pt x="494606" y="600869"/>
                      </a:lnTo>
                      <a:lnTo>
                        <a:pt x="494995" y="600808"/>
                      </a:lnTo>
                      <a:lnTo>
                        <a:pt x="513197" y="597736"/>
                      </a:lnTo>
                      <a:lnTo>
                        <a:pt x="513306" y="597760"/>
                      </a:lnTo>
                      <a:lnTo>
                        <a:pt x="513816" y="598088"/>
                      </a:lnTo>
                      <a:lnTo>
                        <a:pt x="514545" y="598951"/>
                      </a:lnTo>
                      <a:lnTo>
                        <a:pt x="515978" y="600383"/>
                      </a:lnTo>
                      <a:lnTo>
                        <a:pt x="516403" y="600796"/>
                      </a:lnTo>
                      <a:lnTo>
                        <a:pt x="516888" y="601112"/>
                      </a:lnTo>
                      <a:lnTo>
                        <a:pt x="518273" y="602023"/>
                      </a:lnTo>
                      <a:lnTo>
                        <a:pt x="518868" y="602411"/>
                      </a:lnTo>
                      <a:lnTo>
                        <a:pt x="519536" y="602654"/>
                      </a:lnTo>
                      <a:lnTo>
                        <a:pt x="521430" y="603346"/>
                      </a:lnTo>
                      <a:lnTo>
                        <a:pt x="521734" y="603467"/>
                      </a:lnTo>
                      <a:lnTo>
                        <a:pt x="522049" y="603540"/>
                      </a:lnTo>
                      <a:lnTo>
                        <a:pt x="523761" y="603966"/>
                      </a:lnTo>
                      <a:lnTo>
                        <a:pt x="524454" y="604233"/>
                      </a:lnTo>
                      <a:lnTo>
                        <a:pt x="524988" y="604585"/>
                      </a:lnTo>
                      <a:lnTo>
                        <a:pt x="527259" y="607025"/>
                      </a:lnTo>
                      <a:lnTo>
                        <a:pt x="527866" y="607681"/>
                      </a:lnTo>
                      <a:lnTo>
                        <a:pt x="528631" y="608143"/>
                      </a:lnTo>
                      <a:lnTo>
                        <a:pt x="529906" y="608896"/>
                      </a:lnTo>
                      <a:lnTo>
                        <a:pt x="530586" y="609284"/>
                      </a:lnTo>
                      <a:lnTo>
                        <a:pt x="531339" y="609503"/>
                      </a:lnTo>
                      <a:lnTo>
                        <a:pt x="532954" y="609952"/>
                      </a:lnTo>
                      <a:lnTo>
                        <a:pt x="533962" y="610231"/>
                      </a:lnTo>
                      <a:lnTo>
                        <a:pt x="535006" y="610158"/>
                      </a:lnTo>
                      <a:lnTo>
                        <a:pt x="544587" y="609503"/>
                      </a:lnTo>
                      <a:lnTo>
                        <a:pt x="544987" y="609478"/>
                      </a:lnTo>
                      <a:lnTo>
                        <a:pt x="545376" y="609393"/>
                      </a:lnTo>
                      <a:lnTo>
                        <a:pt x="548071" y="608847"/>
                      </a:lnTo>
                      <a:lnTo>
                        <a:pt x="548691" y="608713"/>
                      </a:lnTo>
                      <a:lnTo>
                        <a:pt x="549274" y="608458"/>
                      </a:lnTo>
                      <a:lnTo>
                        <a:pt x="551702" y="607414"/>
                      </a:lnTo>
                      <a:lnTo>
                        <a:pt x="552528" y="607062"/>
                      </a:lnTo>
                      <a:lnTo>
                        <a:pt x="553220" y="606479"/>
                      </a:lnTo>
                      <a:lnTo>
                        <a:pt x="556474" y="603722"/>
                      </a:lnTo>
                      <a:lnTo>
                        <a:pt x="556839" y="603419"/>
                      </a:lnTo>
                      <a:lnTo>
                        <a:pt x="557154" y="603067"/>
                      </a:lnTo>
                      <a:lnTo>
                        <a:pt x="559462" y="600395"/>
                      </a:lnTo>
                      <a:lnTo>
                        <a:pt x="559777" y="600031"/>
                      </a:lnTo>
                      <a:lnTo>
                        <a:pt x="560032" y="599618"/>
                      </a:lnTo>
                      <a:lnTo>
                        <a:pt x="562315" y="595915"/>
                      </a:lnTo>
                      <a:lnTo>
                        <a:pt x="562655" y="595368"/>
                      </a:lnTo>
                      <a:lnTo>
                        <a:pt x="562874" y="594761"/>
                      </a:lnTo>
                      <a:lnTo>
                        <a:pt x="568095" y="580129"/>
                      </a:lnTo>
                      <a:lnTo>
                        <a:pt x="568957" y="578635"/>
                      </a:lnTo>
                      <a:lnTo>
                        <a:pt x="573013" y="573292"/>
                      </a:lnTo>
                      <a:lnTo>
                        <a:pt x="573766" y="572297"/>
                      </a:lnTo>
                      <a:lnTo>
                        <a:pt x="574070" y="571082"/>
                      </a:lnTo>
                      <a:lnTo>
                        <a:pt x="574531" y="569237"/>
                      </a:lnTo>
                      <a:lnTo>
                        <a:pt x="574786" y="568205"/>
                      </a:lnTo>
                      <a:lnTo>
                        <a:pt x="574677" y="567160"/>
                      </a:lnTo>
                      <a:lnTo>
                        <a:pt x="574567" y="566043"/>
                      </a:lnTo>
                      <a:lnTo>
                        <a:pt x="574385" y="564282"/>
                      </a:lnTo>
                      <a:lnTo>
                        <a:pt x="574240" y="564100"/>
                      </a:lnTo>
                      <a:lnTo>
                        <a:pt x="574373" y="563736"/>
                      </a:lnTo>
                      <a:lnTo>
                        <a:pt x="575090" y="562339"/>
                      </a:lnTo>
                      <a:lnTo>
                        <a:pt x="575150" y="562242"/>
                      </a:lnTo>
                      <a:lnTo>
                        <a:pt x="582205" y="565266"/>
                      </a:lnTo>
                      <a:lnTo>
                        <a:pt x="582485" y="565400"/>
                      </a:lnTo>
                      <a:lnTo>
                        <a:pt x="582776" y="565497"/>
                      </a:lnTo>
                      <a:lnTo>
                        <a:pt x="584330" y="565982"/>
                      </a:lnTo>
                      <a:lnTo>
                        <a:pt x="586370" y="566444"/>
                      </a:lnTo>
                      <a:lnTo>
                        <a:pt x="586953" y="566565"/>
                      </a:lnTo>
                      <a:lnTo>
                        <a:pt x="587560" y="566577"/>
                      </a:lnTo>
                      <a:lnTo>
                        <a:pt x="589394" y="566602"/>
                      </a:lnTo>
                      <a:lnTo>
                        <a:pt x="590317" y="566614"/>
                      </a:lnTo>
                      <a:lnTo>
                        <a:pt x="591191" y="566359"/>
                      </a:lnTo>
                      <a:lnTo>
                        <a:pt x="592915" y="565849"/>
                      </a:lnTo>
                      <a:lnTo>
                        <a:pt x="594883" y="565266"/>
                      </a:lnTo>
                      <a:lnTo>
                        <a:pt x="596097" y="563602"/>
                      </a:lnTo>
                      <a:lnTo>
                        <a:pt x="597129" y="562194"/>
                      </a:lnTo>
                      <a:lnTo>
                        <a:pt x="597809" y="561259"/>
                      </a:lnTo>
                      <a:lnTo>
                        <a:pt x="598101" y="560129"/>
                      </a:lnTo>
                      <a:lnTo>
                        <a:pt x="598683" y="557883"/>
                      </a:lnTo>
                      <a:lnTo>
                        <a:pt x="598914" y="556997"/>
                      </a:lnTo>
                      <a:lnTo>
                        <a:pt x="598878" y="556074"/>
                      </a:lnTo>
                      <a:lnTo>
                        <a:pt x="598695" y="552285"/>
                      </a:lnTo>
                      <a:lnTo>
                        <a:pt x="598671" y="551799"/>
                      </a:lnTo>
                      <a:lnTo>
                        <a:pt x="598574" y="551326"/>
                      </a:lnTo>
                      <a:lnTo>
                        <a:pt x="598064" y="548910"/>
                      </a:lnTo>
                      <a:lnTo>
                        <a:pt x="597991" y="548545"/>
                      </a:lnTo>
                      <a:lnTo>
                        <a:pt x="597858" y="548181"/>
                      </a:lnTo>
                      <a:lnTo>
                        <a:pt x="597165" y="546201"/>
                      </a:lnTo>
                      <a:lnTo>
                        <a:pt x="596838" y="545230"/>
                      </a:lnTo>
                      <a:lnTo>
                        <a:pt x="596194" y="544429"/>
                      </a:lnTo>
                      <a:lnTo>
                        <a:pt x="595101" y="543044"/>
                      </a:lnTo>
                      <a:lnTo>
                        <a:pt x="594798" y="542668"/>
                      </a:lnTo>
                      <a:lnTo>
                        <a:pt x="594433" y="542340"/>
                      </a:lnTo>
                      <a:lnTo>
                        <a:pt x="588423" y="536851"/>
                      </a:lnTo>
                      <a:lnTo>
                        <a:pt x="587876" y="536171"/>
                      </a:lnTo>
                      <a:lnTo>
                        <a:pt x="587573" y="535540"/>
                      </a:lnTo>
                      <a:lnTo>
                        <a:pt x="587366" y="534738"/>
                      </a:lnTo>
                      <a:lnTo>
                        <a:pt x="587233" y="531071"/>
                      </a:lnTo>
                      <a:lnTo>
                        <a:pt x="587342" y="529991"/>
                      </a:lnTo>
                      <a:lnTo>
                        <a:pt x="588544" y="526554"/>
                      </a:lnTo>
                      <a:lnTo>
                        <a:pt x="588641" y="526263"/>
                      </a:lnTo>
                      <a:lnTo>
                        <a:pt x="588714" y="525971"/>
                      </a:lnTo>
                      <a:lnTo>
                        <a:pt x="590098" y="520179"/>
                      </a:lnTo>
                      <a:lnTo>
                        <a:pt x="590232" y="519633"/>
                      </a:lnTo>
                      <a:lnTo>
                        <a:pt x="590256" y="519074"/>
                      </a:lnTo>
                      <a:lnTo>
                        <a:pt x="590293" y="518273"/>
                      </a:lnTo>
                      <a:lnTo>
                        <a:pt x="591398" y="516050"/>
                      </a:lnTo>
                      <a:lnTo>
                        <a:pt x="608398" y="488741"/>
                      </a:lnTo>
                      <a:lnTo>
                        <a:pt x="608568" y="488474"/>
                      </a:lnTo>
                      <a:lnTo>
                        <a:pt x="608713" y="488170"/>
                      </a:lnTo>
                      <a:lnTo>
                        <a:pt x="611482" y="482391"/>
                      </a:lnTo>
                      <a:lnTo>
                        <a:pt x="611786" y="481771"/>
                      </a:lnTo>
                      <a:lnTo>
                        <a:pt x="611931" y="481091"/>
                      </a:lnTo>
                      <a:lnTo>
                        <a:pt x="612721" y="477533"/>
                      </a:lnTo>
                      <a:lnTo>
                        <a:pt x="612854" y="476950"/>
                      </a:lnTo>
                      <a:lnTo>
                        <a:pt x="612866" y="476355"/>
                      </a:lnTo>
                      <a:lnTo>
                        <a:pt x="612866" y="476112"/>
                      </a:lnTo>
                      <a:lnTo>
                        <a:pt x="614348" y="476246"/>
                      </a:lnTo>
                      <a:lnTo>
                        <a:pt x="615271" y="476331"/>
                      </a:lnTo>
                      <a:lnTo>
                        <a:pt x="617821" y="476562"/>
                      </a:lnTo>
                      <a:lnTo>
                        <a:pt x="619763" y="474886"/>
                      </a:lnTo>
                      <a:lnTo>
                        <a:pt x="620565" y="474194"/>
                      </a:lnTo>
                      <a:lnTo>
                        <a:pt x="621876" y="473077"/>
                      </a:lnTo>
                      <a:lnTo>
                        <a:pt x="622398" y="471425"/>
                      </a:lnTo>
                      <a:lnTo>
                        <a:pt x="623078" y="469276"/>
                      </a:lnTo>
                      <a:lnTo>
                        <a:pt x="623091" y="469215"/>
                      </a:lnTo>
                      <a:lnTo>
                        <a:pt x="623382" y="469167"/>
                      </a:lnTo>
                      <a:lnTo>
                        <a:pt x="624609" y="468960"/>
                      </a:lnTo>
                      <a:lnTo>
                        <a:pt x="625216" y="468863"/>
                      </a:lnTo>
                      <a:lnTo>
                        <a:pt x="625786" y="468632"/>
                      </a:lnTo>
                      <a:lnTo>
                        <a:pt x="626588" y="468329"/>
                      </a:lnTo>
                      <a:lnTo>
                        <a:pt x="629089" y="467369"/>
                      </a:lnTo>
                      <a:lnTo>
                        <a:pt x="630061" y="464868"/>
                      </a:lnTo>
                      <a:lnTo>
                        <a:pt x="631494" y="461189"/>
                      </a:lnTo>
                      <a:lnTo>
                        <a:pt x="632198" y="459379"/>
                      </a:lnTo>
                      <a:lnTo>
                        <a:pt x="631724" y="457510"/>
                      </a:lnTo>
                      <a:lnTo>
                        <a:pt x="631044" y="454814"/>
                      </a:lnTo>
                      <a:lnTo>
                        <a:pt x="631081" y="454644"/>
                      </a:lnTo>
                      <a:lnTo>
                        <a:pt x="632562" y="450321"/>
                      </a:lnTo>
                      <a:lnTo>
                        <a:pt x="632720" y="449884"/>
                      </a:lnTo>
                      <a:lnTo>
                        <a:pt x="632805" y="449422"/>
                      </a:lnTo>
                      <a:lnTo>
                        <a:pt x="633096" y="447698"/>
                      </a:lnTo>
                      <a:lnTo>
                        <a:pt x="633266" y="446763"/>
                      </a:lnTo>
                      <a:lnTo>
                        <a:pt x="633133" y="445816"/>
                      </a:lnTo>
                      <a:lnTo>
                        <a:pt x="632951" y="444492"/>
                      </a:lnTo>
                      <a:lnTo>
                        <a:pt x="632720" y="442829"/>
                      </a:lnTo>
                      <a:lnTo>
                        <a:pt x="631663" y="441517"/>
                      </a:lnTo>
                      <a:lnTo>
                        <a:pt x="630862" y="440522"/>
                      </a:lnTo>
                      <a:lnTo>
                        <a:pt x="630486" y="440048"/>
                      </a:lnTo>
                      <a:lnTo>
                        <a:pt x="630012" y="439671"/>
                      </a:lnTo>
                      <a:lnTo>
                        <a:pt x="628713" y="438676"/>
                      </a:lnTo>
                      <a:lnTo>
                        <a:pt x="628288" y="438324"/>
                      </a:lnTo>
                      <a:lnTo>
                        <a:pt x="627802" y="438056"/>
                      </a:lnTo>
                      <a:lnTo>
                        <a:pt x="622848" y="435264"/>
                      </a:lnTo>
                      <a:lnTo>
                        <a:pt x="622253" y="434790"/>
                      </a:lnTo>
                      <a:lnTo>
                        <a:pt x="622265" y="434207"/>
                      </a:lnTo>
                      <a:lnTo>
                        <a:pt x="623018" y="428245"/>
                      </a:lnTo>
                      <a:lnTo>
                        <a:pt x="624778" y="427261"/>
                      </a:lnTo>
                      <a:lnTo>
                        <a:pt x="626296" y="426776"/>
                      </a:lnTo>
                      <a:lnTo>
                        <a:pt x="626928" y="426569"/>
                      </a:lnTo>
                      <a:lnTo>
                        <a:pt x="627498" y="426229"/>
                      </a:lnTo>
                      <a:lnTo>
                        <a:pt x="628992" y="425355"/>
                      </a:lnTo>
                      <a:lnTo>
                        <a:pt x="629745" y="424918"/>
                      </a:lnTo>
                      <a:lnTo>
                        <a:pt x="630352" y="424262"/>
                      </a:lnTo>
                      <a:lnTo>
                        <a:pt x="631506" y="423024"/>
                      </a:lnTo>
                      <a:lnTo>
                        <a:pt x="632854" y="421591"/>
                      </a:lnTo>
                      <a:lnTo>
                        <a:pt x="633096" y="419636"/>
                      </a:lnTo>
                      <a:lnTo>
                        <a:pt x="633327" y="417766"/>
                      </a:lnTo>
                      <a:lnTo>
                        <a:pt x="633497" y="416430"/>
                      </a:lnTo>
                      <a:lnTo>
                        <a:pt x="633084" y="415155"/>
                      </a:lnTo>
                      <a:lnTo>
                        <a:pt x="632671" y="413892"/>
                      </a:lnTo>
                      <a:lnTo>
                        <a:pt x="632331" y="412848"/>
                      </a:lnTo>
                      <a:lnTo>
                        <a:pt x="631651" y="411998"/>
                      </a:lnTo>
                      <a:lnTo>
                        <a:pt x="630789" y="410905"/>
                      </a:lnTo>
                      <a:lnTo>
                        <a:pt x="630534" y="410577"/>
                      </a:lnTo>
                      <a:lnTo>
                        <a:pt x="630231" y="410286"/>
                      </a:lnTo>
                      <a:lnTo>
                        <a:pt x="629381" y="409484"/>
                      </a:lnTo>
                      <a:lnTo>
                        <a:pt x="629150" y="409229"/>
                      </a:lnTo>
                      <a:lnTo>
                        <a:pt x="629733" y="407954"/>
                      </a:lnTo>
                      <a:lnTo>
                        <a:pt x="638172" y="395738"/>
                      </a:lnTo>
                      <a:lnTo>
                        <a:pt x="640759" y="393200"/>
                      </a:lnTo>
                      <a:lnTo>
                        <a:pt x="643078" y="391719"/>
                      </a:lnTo>
                      <a:lnTo>
                        <a:pt x="647024" y="389703"/>
                      </a:lnTo>
                      <a:lnTo>
                        <a:pt x="657419" y="385903"/>
                      </a:lnTo>
                      <a:lnTo>
                        <a:pt x="658074" y="385648"/>
                      </a:lnTo>
                      <a:lnTo>
                        <a:pt x="658657" y="385271"/>
                      </a:lnTo>
                      <a:lnTo>
                        <a:pt x="660855" y="383838"/>
                      </a:lnTo>
                      <a:lnTo>
                        <a:pt x="661219" y="383595"/>
                      </a:lnTo>
                      <a:lnTo>
                        <a:pt x="661547" y="383316"/>
                      </a:lnTo>
                      <a:lnTo>
                        <a:pt x="676932" y="369728"/>
                      </a:lnTo>
                      <a:lnTo>
                        <a:pt x="680515" y="367300"/>
                      </a:lnTo>
                      <a:lnTo>
                        <a:pt x="685712" y="365685"/>
                      </a:lnTo>
                      <a:lnTo>
                        <a:pt x="692828" y="365029"/>
                      </a:lnTo>
                      <a:lnTo>
                        <a:pt x="693192" y="364992"/>
                      </a:lnTo>
                      <a:lnTo>
                        <a:pt x="693556" y="364920"/>
                      </a:lnTo>
                      <a:lnTo>
                        <a:pt x="696082" y="364373"/>
                      </a:lnTo>
                      <a:lnTo>
                        <a:pt x="696677" y="364240"/>
                      </a:lnTo>
                      <a:lnTo>
                        <a:pt x="697235" y="363984"/>
                      </a:lnTo>
                      <a:lnTo>
                        <a:pt x="699810" y="362855"/>
                      </a:lnTo>
                      <a:lnTo>
                        <a:pt x="700514" y="362552"/>
                      </a:lnTo>
                      <a:lnTo>
                        <a:pt x="701109" y="362078"/>
                      </a:lnTo>
                      <a:lnTo>
                        <a:pt x="703015" y="360584"/>
                      </a:lnTo>
                      <a:lnTo>
                        <a:pt x="703489" y="360220"/>
                      </a:lnTo>
                      <a:lnTo>
                        <a:pt x="703878" y="359771"/>
                      </a:lnTo>
                      <a:lnTo>
                        <a:pt x="709208" y="353554"/>
                      </a:lnTo>
                      <a:lnTo>
                        <a:pt x="709427" y="353299"/>
                      </a:lnTo>
                      <a:lnTo>
                        <a:pt x="709609" y="353032"/>
                      </a:lnTo>
                      <a:lnTo>
                        <a:pt x="710520" y="351708"/>
                      </a:lnTo>
                      <a:lnTo>
                        <a:pt x="710835" y="351235"/>
                      </a:lnTo>
                      <a:lnTo>
                        <a:pt x="711066" y="350712"/>
                      </a:lnTo>
                      <a:lnTo>
                        <a:pt x="711698" y="349279"/>
                      </a:lnTo>
                      <a:lnTo>
                        <a:pt x="711868" y="348915"/>
                      </a:lnTo>
                      <a:lnTo>
                        <a:pt x="711977" y="348527"/>
                      </a:lnTo>
                      <a:lnTo>
                        <a:pt x="712390" y="347094"/>
                      </a:lnTo>
                      <a:lnTo>
                        <a:pt x="712851" y="344750"/>
                      </a:lnTo>
                      <a:lnTo>
                        <a:pt x="712924" y="344362"/>
                      </a:lnTo>
                      <a:lnTo>
                        <a:pt x="712948" y="343973"/>
                      </a:lnTo>
                      <a:lnTo>
                        <a:pt x="713070" y="341763"/>
                      </a:lnTo>
                      <a:lnTo>
                        <a:pt x="713094" y="341253"/>
                      </a:lnTo>
                      <a:lnTo>
                        <a:pt x="713033" y="340743"/>
                      </a:lnTo>
                      <a:lnTo>
                        <a:pt x="712657" y="337331"/>
                      </a:lnTo>
                      <a:lnTo>
                        <a:pt x="712596" y="336821"/>
                      </a:lnTo>
                      <a:lnTo>
                        <a:pt x="712450" y="336323"/>
                      </a:lnTo>
                      <a:lnTo>
                        <a:pt x="711637" y="333506"/>
                      </a:lnTo>
                      <a:lnTo>
                        <a:pt x="711430" y="332789"/>
                      </a:lnTo>
                      <a:lnTo>
                        <a:pt x="711066" y="332146"/>
                      </a:lnTo>
                      <a:lnTo>
                        <a:pt x="707788" y="326463"/>
                      </a:lnTo>
                      <a:lnTo>
                        <a:pt x="707885" y="325661"/>
                      </a:lnTo>
                      <a:lnTo>
                        <a:pt x="708735" y="323585"/>
                      </a:lnTo>
                      <a:lnTo>
                        <a:pt x="710131" y="319068"/>
                      </a:lnTo>
                      <a:lnTo>
                        <a:pt x="710228" y="318813"/>
                      </a:lnTo>
                      <a:lnTo>
                        <a:pt x="710277" y="318740"/>
                      </a:lnTo>
                      <a:lnTo>
                        <a:pt x="712572" y="317696"/>
                      </a:lnTo>
                      <a:lnTo>
                        <a:pt x="712961" y="317513"/>
                      </a:lnTo>
                      <a:lnTo>
                        <a:pt x="713325" y="317283"/>
                      </a:lnTo>
                      <a:lnTo>
                        <a:pt x="714478" y="316542"/>
                      </a:lnTo>
                      <a:lnTo>
                        <a:pt x="714770" y="316360"/>
                      </a:lnTo>
                      <a:lnTo>
                        <a:pt x="715037" y="316141"/>
                      </a:lnTo>
                      <a:lnTo>
                        <a:pt x="716348" y="315073"/>
                      </a:lnTo>
                      <a:lnTo>
                        <a:pt x="716798" y="314708"/>
                      </a:lnTo>
                      <a:lnTo>
                        <a:pt x="717174" y="314259"/>
                      </a:lnTo>
                      <a:lnTo>
                        <a:pt x="720088" y="310774"/>
                      </a:lnTo>
                      <a:lnTo>
                        <a:pt x="720732" y="310216"/>
                      </a:lnTo>
                      <a:lnTo>
                        <a:pt x="724557" y="310373"/>
                      </a:lnTo>
                      <a:lnTo>
                        <a:pt x="725043" y="310386"/>
                      </a:lnTo>
                      <a:lnTo>
                        <a:pt x="725529" y="310337"/>
                      </a:lnTo>
                      <a:lnTo>
                        <a:pt x="727666" y="310082"/>
                      </a:lnTo>
                      <a:lnTo>
                        <a:pt x="728370" y="309997"/>
                      </a:lnTo>
                      <a:lnTo>
                        <a:pt x="729050" y="309754"/>
                      </a:lnTo>
                      <a:lnTo>
                        <a:pt x="730544" y="309208"/>
                      </a:lnTo>
                      <a:lnTo>
                        <a:pt x="731005" y="309038"/>
                      </a:lnTo>
                      <a:lnTo>
                        <a:pt x="731430" y="308795"/>
                      </a:lnTo>
                      <a:lnTo>
                        <a:pt x="732863" y="307981"/>
                      </a:lnTo>
                      <a:lnTo>
                        <a:pt x="733567" y="307581"/>
                      </a:lnTo>
                      <a:lnTo>
                        <a:pt x="734138" y="307022"/>
                      </a:lnTo>
                      <a:lnTo>
                        <a:pt x="737526" y="303671"/>
                      </a:lnTo>
                      <a:lnTo>
                        <a:pt x="746803" y="297283"/>
                      </a:lnTo>
                      <a:lnTo>
                        <a:pt x="747361" y="296895"/>
                      </a:lnTo>
                      <a:lnTo>
                        <a:pt x="747823" y="296385"/>
                      </a:lnTo>
                      <a:lnTo>
                        <a:pt x="749025" y="295073"/>
                      </a:lnTo>
                      <a:lnTo>
                        <a:pt x="749462" y="294588"/>
                      </a:lnTo>
                      <a:lnTo>
                        <a:pt x="749790" y="294029"/>
                      </a:lnTo>
                      <a:lnTo>
                        <a:pt x="750774" y="292353"/>
                      </a:lnTo>
                      <a:lnTo>
                        <a:pt x="751138" y="291734"/>
                      </a:lnTo>
                      <a:lnTo>
                        <a:pt x="751357" y="291042"/>
                      </a:lnTo>
                      <a:lnTo>
                        <a:pt x="754283" y="281425"/>
                      </a:lnTo>
                      <a:lnTo>
                        <a:pt x="754720" y="280453"/>
                      </a:lnTo>
                      <a:lnTo>
                        <a:pt x="755072" y="279931"/>
                      </a:lnTo>
                      <a:lnTo>
                        <a:pt x="755388" y="279615"/>
                      </a:lnTo>
                      <a:lnTo>
                        <a:pt x="755582" y="279506"/>
                      </a:lnTo>
                      <a:lnTo>
                        <a:pt x="758375" y="278535"/>
                      </a:lnTo>
                      <a:lnTo>
                        <a:pt x="759480" y="278146"/>
                      </a:lnTo>
                      <a:lnTo>
                        <a:pt x="760366" y="277381"/>
                      </a:lnTo>
                      <a:lnTo>
                        <a:pt x="761581" y="276325"/>
                      </a:lnTo>
                      <a:lnTo>
                        <a:pt x="761957" y="275997"/>
                      </a:lnTo>
                      <a:lnTo>
                        <a:pt x="762273" y="275608"/>
                      </a:lnTo>
                      <a:lnTo>
                        <a:pt x="763949" y="273568"/>
                      </a:lnTo>
                      <a:lnTo>
                        <a:pt x="764981" y="272682"/>
                      </a:lnTo>
                      <a:lnTo>
                        <a:pt x="771878" y="267837"/>
                      </a:lnTo>
                      <a:lnTo>
                        <a:pt x="772315" y="267533"/>
                      </a:lnTo>
                      <a:lnTo>
                        <a:pt x="772692" y="267157"/>
                      </a:lnTo>
                      <a:lnTo>
                        <a:pt x="775047" y="264777"/>
                      </a:lnTo>
                      <a:lnTo>
                        <a:pt x="775327" y="264485"/>
                      </a:lnTo>
                      <a:lnTo>
                        <a:pt x="775582" y="264157"/>
                      </a:lnTo>
                      <a:lnTo>
                        <a:pt x="777367" y="261777"/>
                      </a:lnTo>
                      <a:lnTo>
                        <a:pt x="777731" y="261280"/>
                      </a:lnTo>
                      <a:lnTo>
                        <a:pt x="777998" y="260721"/>
                      </a:lnTo>
                      <a:lnTo>
                        <a:pt x="779079" y="258426"/>
                      </a:lnTo>
                      <a:lnTo>
                        <a:pt x="779516" y="257515"/>
                      </a:lnTo>
                      <a:lnTo>
                        <a:pt x="779625" y="256507"/>
                      </a:lnTo>
                      <a:lnTo>
                        <a:pt x="779868" y="254346"/>
                      </a:lnTo>
                      <a:lnTo>
                        <a:pt x="779965" y="253423"/>
                      </a:lnTo>
                      <a:lnTo>
                        <a:pt x="779783" y="252512"/>
                      </a:lnTo>
                      <a:lnTo>
                        <a:pt x="779322" y="250132"/>
                      </a:lnTo>
                      <a:lnTo>
                        <a:pt x="779212" y="249586"/>
                      </a:lnTo>
                      <a:lnTo>
                        <a:pt x="779006" y="249076"/>
                      </a:lnTo>
                      <a:lnTo>
                        <a:pt x="778095" y="246757"/>
                      </a:lnTo>
                      <a:lnTo>
                        <a:pt x="776322" y="243138"/>
                      </a:lnTo>
                      <a:lnTo>
                        <a:pt x="775958" y="241887"/>
                      </a:lnTo>
                      <a:lnTo>
                        <a:pt x="775667" y="238536"/>
                      </a:lnTo>
                      <a:lnTo>
                        <a:pt x="775569" y="237370"/>
                      </a:lnTo>
                      <a:lnTo>
                        <a:pt x="775035" y="236326"/>
                      </a:lnTo>
                      <a:lnTo>
                        <a:pt x="774246" y="234772"/>
                      </a:lnTo>
                      <a:lnTo>
                        <a:pt x="773736" y="233776"/>
                      </a:lnTo>
                      <a:lnTo>
                        <a:pt x="772910" y="233023"/>
                      </a:lnTo>
                      <a:lnTo>
                        <a:pt x="771368" y="231614"/>
                      </a:lnTo>
                      <a:lnTo>
                        <a:pt x="770676" y="230995"/>
                      </a:lnTo>
                      <a:lnTo>
                        <a:pt x="769838" y="230607"/>
                      </a:lnTo>
                      <a:lnTo>
                        <a:pt x="764786" y="228251"/>
                      </a:lnTo>
                      <a:lnTo>
                        <a:pt x="764446" y="228093"/>
                      </a:lnTo>
                      <a:lnTo>
                        <a:pt x="764082" y="227972"/>
                      </a:lnTo>
                      <a:lnTo>
                        <a:pt x="762297" y="227401"/>
                      </a:lnTo>
                      <a:lnTo>
                        <a:pt x="761702" y="227206"/>
                      </a:lnTo>
                      <a:lnTo>
                        <a:pt x="761083" y="227146"/>
                      </a:lnTo>
                      <a:lnTo>
                        <a:pt x="759298" y="226952"/>
                      </a:lnTo>
                      <a:lnTo>
                        <a:pt x="757076" y="226879"/>
                      </a:lnTo>
                      <a:lnTo>
                        <a:pt x="756712" y="226879"/>
                      </a:lnTo>
                      <a:lnTo>
                        <a:pt x="756347" y="226915"/>
                      </a:lnTo>
                      <a:lnTo>
                        <a:pt x="754332" y="227109"/>
                      </a:lnTo>
                      <a:lnTo>
                        <a:pt x="753518" y="227182"/>
                      </a:lnTo>
                      <a:lnTo>
                        <a:pt x="752765" y="227474"/>
                      </a:lnTo>
                      <a:lnTo>
                        <a:pt x="752546" y="227559"/>
                      </a:lnTo>
                      <a:lnTo>
                        <a:pt x="752012" y="227777"/>
                      </a:lnTo>
                      <a:lnTo>
                        <a:pt x="750980" y="228275"/>
                      </a:lnTo>
                      <a:lnTo>
                        <a:pt x="750749" y="228348"/>
                      </a:lnTo>
                      <a:lnTo>
                        <a:pt x="750470" y="228348"/>
                      </a:lnTo>
                      <a:lnTo>
                        <a:pt x="749644" y="228226"/>
                      </a:lnTo>
                      <a:lnTo>
                        <a:pt x="747337" y="227510"/>
                      </a:lnTo>
                      <a:lnTo>
                        <a:pt x="746791" y="227255"/>
                      </a:lnTo>
                      <a:lnTo>
                        <a:pt x="740829" y="223515"/>
                      </a:lnTo>
                      <a:lnTo>
                        <a:pt x="739809" y="222872"/>
                      </a:lnTo>
                      <a:lnTo>
                        <a:pt x="738606" y="222665"/>
                      </a:lnTo>
                      <a:lnTo>
                        <a:pt x="737004" y="222398"/>
                      </a:lnTo>
                      <a:lnTo>
                        <a:pt x="734271" y="221936"/>
                      </a:lnTo>
                      <a:lnTo>
                        <a:pt x="732341" y="223539"/>
                      </a:lnTo>
                      <a:lnTo>
                        <a:pt x="731831" y="220261"/>
                      </a:lnTo>
                      <a:lnTo>
                        <a:pt x="731163" y="217419"/>
                      </a:lnTo>
                      <a:lnTo>
                        <a:pt x="731041" y="216934"/>
                      </a:lnTo>
                      <a:lnTo>
                        <a:pt x="730847" y="216472"/>
                      </a:lnTo>
                      <a:lnTo>
                        <a:pt x="729815" y="214056"/>
                      </a:lnTo>
                      <a:lnTo>
                        <a:pt x="729438" y="213181"/>
                      </a:lnTo>
                      <a:lnTo>
                        <a:pt x="728807" y="212453"/>
                      </a:lnTo>
                      <a:lnTo>
                        <a:pt x="726791" y="210133"/>
                      </a:lnTo>
                      <a:lnTo>
                        <a:pt x="726488" y="209781"/>
                      </a:lnTo>
                      <a:lnTo>
                        <a:pt x="726123" y="209478"/>
                      </a:lnTo>
                      <a:lnTo>
                        <a:pt x="720526" y="204754"/>
                      </a:lnTo>
                      <a:lnTo>
                        <a:pt x="718680" y="201961"/>
                      </a:lnTo>
                      <a:lnTo>
                        <a:pt x="717526" y="196364"/>
                      </a:lnTo>
                      <a:lnTo>
                        <a:pt x="719311" y="189187"/>
                      </a:lnTo>
                      <a:lnTo>
                        <a:pt x="719433" y="188725"/>
                      </a:lnTo>
                      <a:lnTo>
                        <a:pt x="719469" y="188252"/>
                      </a:lnTo>
                      <a:lnTo>
                        <a:pt x="720853" y="172551"/>
                      </a:lnTo>
                      <a:lnTo>
                        <a:pt x="720926" y="171677"/>
                      </a:lnTo>
                      <a:lnTo>
                        <a:pt x="720756" y="170815"/>
                      </a:lnTo>
                      <a:lnTo>
                        <a:pt x="718789" y="161125"/>
                      </a:lnTo>
                      <a:lnTo>
                        <a:pt x="718680" y="160602"/>
                      </a:lnTo>
                      <a:lnTo>
                        <a:pt x="718486" y="160092"/>
                      </a:lnTo>
                      <a:lnTo>
                        <a:pt x="717405" y="157372"/>
                      </a:lnTo>
                      <a:lnTo>
                        <a:pt x="717186" y="156838"/>
                      </a:lnTo>
                      <a:lnTo>
                        <a:pt x="716870" y="156352"/>
                      </a:lnTo>
                      <a:lnTo>
                        <a:pt x="715547" y="154288"/>
                      </a:lnTo>
                      <a:lnTo>
                        <a:pt x="714733" y="153013"/>
                      </a:lnTo>
                      <a:lnTo>
                        <a:pt x="713422" y="152272"/>
                      </a:lnTo>
                      <a:lnTo>
                        <a:pt x="711345" y="151094"/>
                      </a:lnTo>
                      <a:lnTo>
                        <a:pt x="710410" y="150572"/>
                      </a:lnTo>
                      <a:lnTo>
                        <a:pt x="709354" y="150390"/>
                      </a:lnTo>
                      <a:lnTo>
                        <a:pt x="708322" y="150220"/>
                      </a:lnTo>
                      <a:lnTo>
                        <a:pt x="706549" y="149929"/>
                      </a:lnTo>
                      <a:lnTo>
                        <a:pt x="704898" y="150645"/>
                      </a:lnTo>
                      <a:lnTo>
                        <a:pt x="703902" y="151082"/>
                      </a:lnTo>
                      <a:lnTo>
                        <a:pt x="704351" y="149140"/>
                      </a:lnTo>
                      <a:lnTo>
                        <a:pt x="704448" y="148727"/>
                      </a:lnTo>
                      <a:lnTo>
                        <a:pt x="704485" y="148302"/>
                      </a:lnTo>
                      <a:lnTo>
                        <a:pt x="704655" y="146371"/>
                      </a:lnTo>
                      <a:lnTo>
                        <a:pt x="704691" y="146007"/>
                      </a:lnTo>
                      <a:lnTo>
                        <a:pt x="704679" y="145642"/>
                      </a:lnTo>
                      <a:lnTo>
                        <a:pt x="704618" y="143894"/>
                      </a:lnTo>
                      <a:lnTo>
                        <a:pt x="704424" y="141769"/>
                      </a:lnTo>
                      <a:lnTo>
                        <a:pt x="704412" y="141174"/>
                      </a:lnTo>
                      <a:lnTo>
                        <a:pt x="704412" y="141162"/>
                      </a:lnTo>
                      <a:lnTo>
                        <a:pt x="704558" y="140858"/>
                      </a:lnTo>
                      <a:lnTo>
                        <a:pt x="705068" y="140142"/>
                      </a:lnTo>
                      <a:lnTo>
                        <a:pt x="710556" y="134447"/>
                      </a:lnTo>
                      <a:lnTo>
                        <a:pt x="710787" y="134204"/>
                      </a:lnTo>
                      <a:lnTo>
                        <a:pt x="710993" y="133949"/>
                      </a:lnTo>
                      <a:lnTo>
                        <a:pt x="713167" y="131132"/>
                      </a:lnTo>
                      <a:lnTo>
                        <a:pt x="713446" y="130779"/>
                      </a:lnTo>
                      <a:lnTo>
                        <a:pt x="713665" y="130391"/>
                      </a:lnTo>
                      <a:lnTo>
                        <a:pt x="714709" y="128521"/>
                      </a:lnTo>
                      <a:lnTo>
                        <a:pt x="715826" y="126044"/>
                      </a:lnTo>
                      <a:lnTo>
                        <a:pt x="716142" y="125303"/>
                      </a:lnTo>
                      <a:lnTo>
                        <a:pt x="716263" y="124501"/>
                      </a:lnTo>
                      <a:lnTo>
                        <a:pt x="716494" y="122959"/>
                      </a:lnTo>
                      <a:lnTo>
                        <a:pt x="716640" y="121976"/>
                      </a:lnTo>
                      <a:lnTo>
                        <a:pt x="716458" y="120992"/>
                      </a:lnTo>
                      <a:lnTo>
                        <a:pt x="716276" y="119960"/>
                      </a:lnTo>
                      <a:lnTo>
                        <a:pt x="716118" y="119061"/>
                      </a:lnTo>
                      <a:lnTo>
                        <a:pt x="715693" y="118248"/>
                      </a:lnTo>
                      <a:lnTo>
                        <a:pt x="712790" y="112638"/>
                      </a:lnTo>
                      <a:lnTo>
                        <a:pt x="712523" y="111424"/>
                      </a:lnTo>
                      <a:lnTo>
                        <a:pt x="712317" y="109614"/>
                      </a:lnTo>
                      <a:lnTo>
                        <a:pt x="711843" y="107064"/>
                      </a:lnTo>
                      <a:lnTo>
                        <a:pt x="711625" y="105923"/>
                      </a:lnTo>
                      <a:lnTo>
                        <a:pt x="711005" y="104939"/>
                      </a:lnTo>
                      <a:lnTo>
                        <a:pt x="710095" y="103506"/>
                      </a:lnTo>
                      <a:lnTo>
                        <a:pt x="709172" y="102061"/>
                      </a:lnTo>
                      <a:lnTo>
                        <a:pt x="707630" y="101309"/>
                      </a:lnTo>
                      <a:lnTo>
                        <a:pt x="705748" y="100386"/>
                      </a:lnTo>
                      <a:lnTo>
                        <a:pt x="704412" y="99742"/>
                      </a:lnTo>
                      <a:lnTo>
                        <a:pt x="702930" y="99778"/>
                      </a:lnTo>
                      <a:lnTo>
                        <a:pt x="701595" y="99815"/>
                      </a:lnTo>
                      <a:lnTo>
                        <a:pt x="700672" y="99839"/>
                      </a:lnTo>
                      <a:lnTo>
                        <a:pt x="699798" y="100131"/>
                      </a:lnTo>
                      <a:lnTo>
                        <a:pt x="698547" y="100556"/>
                      </a:lnTo>
                      <a:lnTo>
                        <a:pt x="697867" y="100786"/>
                      </a:lnTo>
                      <a:lnTo>
                        <a:pt x="697272" y="101163"/>
                      </a:lnTo>
                      <a:lnTo>
                        <a:pt x="695293" y="102413"/>
                      </a:lnTo>
                      <a:lnTo>
                        <a:pt x="694880" y="102596"/>
                      </a:lnTo>
                      <a:lnTo>
                        <a:pt x="693374" y="103033"/>
                      </a:lnTo>
                      <a:lnTo>
                        <a:pt x="691929" y="103567"/>
                      </a:lnTo>
                      <a:lnTo>
                        <a:pt x="691298" y="103810"/>
                      </a:lnTo>
                      <a:lnTo>
                        <a:pt x="690727" y="104198"/>
                      </a:lnTo>
                      <a:lnTo>
                        <a:pt x="689816" y="104806"/>
                      </a:lnTo>
                      <a:lnTo>
                        <a:pt x="688845" y="105449"/>
                      </a:lnTo>
                      <a:lnTo>
                        <a:pt x="688189" y="106421"/>
                      </a:lnTo>
                      <a:lnTo>
                        <a:pt x="687667" y="107186"/>
                      </a:lnTo>
                      <a:lnTo>
                        <a:pt x="687327" y="107696"/>
                      </a:lnTo>
                      <a:lnTo>
                        <a:pt x="687084" y="108266"/>
                      </a:lnTo>
                      <a:lnTo>
                        <a:pt x="686756" y="109044"/>
                      </a:lnTo>
                      <a:lnTo>
                        <a:pt x="686465" y="109724"/>
                      </a:lnTo>
                      <a:lnTo>
                        <a:pt x="686355" y="110464"/>
                      </a:lnTo>
                      <a:lnTo>
                        <a:pt x="686173" y="111654"/>
                      </a:lnTo>
                      <a:lnTo>
                        <a:pt x="686100" y="112116"/>
                      </a:lnTo>
                      <a:lnTo>
                        <a:pt x="686100" y="112589"/>
                      </a:lnTo>
                      <a:lnTo>
                        <a:pt x="686100" y="113354"/>
                      </a:lnTo>
                      <a:lnTo>
                        <a:pt x="680709" y="111144"/>
                      </a:lnTo>
                      <a:lnTo>
                        <a:pt x="680150" y="110914"/>
                      </a:lnTo>
                      <a:lnTo>
                        <a:pt x="679567" y="110804"/>
                      </a:lnTo>
                      <a:lnTo>
                        <a:pt x="677892" y="110476"/>
                      </a:lnTo>
                      <a:lnTo>
                        <a:pt x="677479" y="110391"/>
                      </a:lnTo>
                      <a:lnTo>
                        <a:pt x="677054" y="110367"/>
                      </a:lnTo>
                      <a:lnTo>
                        <a:pt x="675390" y="110282"/>
                      </a:lnTo>
                      <a:lnTo>
                        <a:pt x="674892" y="110258"/>
                      </a:lnTo>
                      <a:lnTo>
                        <a:pt x="674407" y="110306"/>
                      </a:lnTo>
                      <a:lnTo>
                        <a:pt x="673034" y="110452"/>
                      </a:lnTo>
                      <a:lnTo>
                        <a:pt x="668614" y="111302"/>
                      </a:lnTo>
                      <a:lnTo>
                        <a:pt x="668141" y="111314"/>
                      </a:lnTo>
                      <a:lnTo>
                        <a:pt x="667934" y="111290"/>
                      </a:lnTo>
                      <a:lnTo>
                        <a:pt x="667570" y="111156"/>
                      </a:lnTo>
                      <a:lnTo>
                        <a:pt x="666830" y="110646"/>
                      </a:lnTo>
                      <a:lnTo>
                        <a:pt x="666101" y="109869"/>
                      </a:lnTo>
                      <a:lnTo>
                        <a:pt x="664959" y="107659"/>
                      </a:lnTo>
                      <a:lnTo>
                        <a:pt x="662871" y="101649"/>
                      </a:lnTo>
                      <a:lnTo>
                        <a:pt x="662774" y="101357"/>
                      </a:lnTo>
                      <a:lnTo>
                        <a:pt x="662640" y="101078"/>
                      </a:lnTo>
                      <a:lnTo>
                        <a:pt x="661013" y="97581"/>
                      </a:lnTo>
                      <a:lnTo>
                        <a:pt x="660965" y="97289"/>
                      </a:lnTo>
                      <a:lnTo>
                        <a:pt x="660965" y="97241"/>
                      </a:lnTo>
                      <a:lnTo>
                        <a:pt x="661244" y="96257"/>
                      </a:lnTo>
                      <a:lnTo>
                        <a:pt x="663174" y="91036"/>
                      </a:lnTo>
                      <a:lnTo>
                        <a:pt x="663320" y="90635"/>
                      </a:lnTo>
                      <a:lnTo>
                        <a:pt x="663405" y="90222"/>
                      </a:lnTo>
                      <a:lnTo>
                        <a:pt x="663806" y="88388"/>
                      </a:lnTo>
                      <a:lnTo>
                        <a:pt x="664025" y="87368"/>
                      </a:lnTo>
                      <a:lnTo>
                        <a:pt x="663891" y="86336"/>
                      </a:lnTo>
                      <a:lnTo>
                        <a:pt x="663612" y="84150"/>
                      </a:lnTo>
                      <a:lnTo>
                        <a:pt x="663539" y="83592"/>
                      </a:lnTo>
                      <a:lnTo>
                        <a:pt x="663369" y="83070"/>
                      </a:lnTo>
                      <a:lnTo>
                        <a:pt x="662616" y="80714"/>
                      </a:lnTo>
                      <a:lnTo>
                        <a:pt x="659034" y="72275"/>
                      </a:lnTo>
                      <a:lnTo>
                        <a:pt x="658706" y="71510"/>
                      </a:lnTo>
                      <a:lnTo>
                        <a:pt x="658184" y="70854"/>
                      </a:lnTo>
                      <a:lnTo>
                        <a:pt x="655367" y="67357"/>
                      </a:lnTo>
                      <a:lnTo>
                        <a:pt x="655051" y="66956"/>
                      </a:lnTo>
                      <a:lnTo>
                        <a:pt x="654674" y="66628"/>
                      </a:lnTo>
                      <a:lnTo>
                        <a:pt x="628907" y="43787"/>
                      </a:lnTo>
                      <a:lnTo>
                        <a:pt x="626478" y="40509"/>
                      </a:lnTo>
                      <a:lnTo>
                        <a:pt x="625349" y="38335"/>
                      </a:lnTo>
                      <a:lnTo>
                        <a:pt x="624621" y="36514"/>
                      </a:lnTo>
                      <a:lnTo>
                        <a:pt x="624220" y="34437"/>
                      </a:lnTo>
                      <a:lnTo>
                        <a:pt x="624038" y="32154"/>
                      </a:lnTo>
                      <a:lnTo>
                        <a:pt x="624159" y="24808"/>
                      </a:lnTo>
                      <a:lnTo>
                        <a:pt x="624159" y="24432"/>
                      </a:lnTo>
                      <a:lnTo>
                        <a:pt x="624123" y="24067"/>
                      </a:lnTo>
                      <a:lnTo>
                        <a:pt x="623831" y="21396"/>
                      </a:lnTo>
                      <a:lnTo>
                        <a:pt x="623746" y="20558"/>
                      </a:lnTo>
                      <a:lnTo>
                        <a:pt x="623431" y="19781"/>
                      </a:lnTo>
                      <a:lnTo>
                        <a:pt x="622690" y="17947"/>
                      </a:lnTo>
                      <a:lnTo>
                        <a:pt x="622301" y="17000"/>
                      </a:lnTo>
                      <a:lnTo>
                        <a:pt x="621634" y="16235"/>
                      </a:lnTo>
                      <a:lnTo>
                        <a:pt x="620310" y="14717"/>
                      </a:lnTo>
                      <a:lnTo>
                        <a:pt x="619606" y="13916"/>
                      </a:lnTo>
                      <a:lnTo>
                        <a:pt x="618671" y="13406"/>
                      </a:lnTo>
                      <a:lnTo>
                        <a:pt x="612599" y="10054"/>
                      </a:lnTo>
                      <a:lnTo>
                        <a:pt x="610098" y="7857"/>
                      </a:lnTo>
                      <a:lnTo>
                        <a:pt x="609794" y="7589"/>
                      </a:lnTo>
                      <a:lnTo>
                        <a:pt x="609454" y="7359"/>
                      </a:lnTo>
                      <a:lnTo>
                        <a:pt x="608021" y="6399"/>
                      </a:lnTo>
                      <a:lnTo>
                        <a:pt x="607232" y="5877"/>
                      </a:lnTo>
                      <a:lnTo>
                        <a:pt x="606321" y="5440"/>
                      </a:lnTo>
                      <a:lnTo>
                        <a:pt x="604609" y="4954"/>
                      </a:lnTo>
                      <a:lnTo>
                        <a:pt x="603966" y="4772"/>
                      </a:lnTo>
                      <a:lnTo>
                        <a:pt x="603310" y="4736"/>
                      </a:lnTo>
                      <a:lnTo>
                        <a:pt x="594312" y="4201"/>
                      </a:lnTo>
                      <a:lnTo>
                        <a:pt x="584962" y="1348"/>
                      </a:lnTo>
                      <a:lnTo>
                        <a:pt x="580578" y="0"/>
                      </a:lnTo>
                      <a:lnTo>
                        <a:pt x="580578" y="0"/>
                      </a:lnTo>
                      <a:close/>
                    </a:path>
                  </a:pathLst>
                </a:custGeom>
                <a:solidFill>
                  <a:srgbClr val="FFFFFF"/>
                </a:solidFill>
                <a:ln w="12138" cap="flat">
                  <a:noFill/>
                  <a:prstDash val="solid"/>
                  <a:miter/>
                </a:ln>
              </p:spPr>
              <p:txBody>
                <a:bodyPr rtlCol="0" anchor="ctr"/>
                <a:lstStyle/>
                <a:p>
                  <a:endParaRPr lang="en-US"/>
                </a:p>
              </p:txBody>
            </p:sp>
          </p:grpSp>
          <p:grpSp>
            <p:nvGrpSpPr>
              <p:cNvPr id="251" name="Graphic 280">
                <a:extLst>
                  <a:ext uri="{FF2B5EF4-FFF2-40B4-BE49-F238E27FC236}">
                    <a16:creationId xmlns:a16="http://schemas.microsoft.com/office/drawing/2014/main" id="{A2D3384B-E754-42E9-A790-C73BEE1F0146}"/>
                  </a:ext>
                </a:extLst>
              </p:cNvPr>
              <p:cNvGrpSpPr/>
              <p:nvPr/>
            </p:nvGrpSpPr>
            <p:grpSpPr>
              <a:xfrm>
                <a:off x="6199603" y="2641399"/>
                <a:ext cx="946299" cy="657309"/>
                <a:chOff x="6199603" y="2641399"/>
                <a:chExt cx="946299" cy="657309"/>
              </a:xfrm>
            </p:grpSpPr>
            <p:sp>
              <p:nvSpPr>
                <p:cNvPr id="336" name="Freeform: Shape 335">
                  <a:extLst>
                    <a:ext uri="{FF2B5EF4-FFF2-40B4-BE49-F238E27FC236}">
                      <a16:creationId xmlns:a16="http://schemas.microsoft.com/office/drawing/2014/main" id="{70912DA4-9B83-47DC-B284-E666EB33E0F2}"/>
                    </a:ext>
                  </a:extLst>
                </p:cNvPr>
                <p:cNvSpPr/>
                <p:nvPr/>
              </p:nvSpPr>
              <p:spPr>
                <a:xfrm>
                  <a:off x="6202651" y="2644568"/>
                  <a:ext cx="940276" cy="651067"/>
                </a:xfrm>
                <a:custGeom>
                  <a:avLst/>
                  <a:gdLst>
                    <a:gd name="connsiteX0" fmla="*/ 220613 w 940276"/>
                    <a:gd name="connsiteY0" fmla="*/ 650813 h 651067"/>
                    <a:gd name="connsiteX1" fmla="*/ 217431 w 940276"/>
                    <a:gd name="connsiteY1" fmla="*/ 649684 h 651067"/>
                    <a:gd name="connsiteX2" fmla="*/ 213400 w 940276"/>
                    <a:gd name="connsiteY2" fmla="*/ 646648 h 651067"/>
                    <a:gd name="connsiteX3" fmla="*/ 211627 w 940276"/>
                    <a:gd name="connsiteY3" fmla="*/ 644742 h 651067"/>
                    <a:gd name="connsiteX4" fmla="*/ 210121 w 940276"/>
                    <a:gd name="connsiteY4" fmla="*/ 642264 h 651067"/>
                    <a:gd name="connsiteX5" fmla="*/ 209077 w 940276"/>
                    <a:gd name="connsiteY5" fmla="*/ 640868 h 651067"/>
                    <a:gd name="connsiteX6" fmla="*/ 205058 w 940276"/>
                    <a:gd name="connsiteY6" fmla="*/ 637966 h 651067"/>
                    <a:gd name="connsiteX7" fmla="*/ 200128 w 940276"/>
                    <a:gd name="connsiteY7" fmla="*/ 635562 h 651067"/>
                    <a:gd name="connsiteX8" fmla="*/ 196934 w 940276"/>
                    <a:gd name="connsiteY8" fmla="*/ 633242 h 651067"/>
                    <a:gd name="connsiteX9" fmla="*/ 194044 w 940276"/>
                    <a:gd name="connsiteY9" fmla="*/ 630340 h 651067"/>
                    <a:gd name="connsiteX10" fmla="*/ 191057 w 940276"/>
                    <a:gd name="connsiteY10" fmla="*/ 626029 h 651067"/>
                    <a:gd name="connsiteX11" fmla="*/ 186297 w 940276"/>
                    <a:gd name="connsiteY11" fmla="*/ 621463 h 651067"/>
                    <a:gd name="connsiteX12" fmla="*/ 185265 w 940276"/>
                    <a:gd name="connsiteY12" fmla="*/ 617942 h 651067"/>
                    <a:gd name="connsiteX13" fmla="*/ 187086 w 940276"/>
                    <a:gd name="connsiteY13" fmla="*/ 614421 h 651067"/>
                    <a:gd name="connsiteX14" fmla="*/ 187985 w 940276"/>
                    <a:gd name="connsiteY14" fmla="*/ 613352 h 651067"/>
                    <a:gd name="connsiteX15" fmla="*/ 187900 w 940276"/>
                    <a:gd name="connsiteY15" fmla="*/ 608701 h 651067"/>
                    <a:gd name="connsiteX16" fmla="*/ 186212 w 940276"/>
                    <a:gd name="connsiteY16" fmla="*/ 605338 h 651067"/>
                    <a:gd name="connsiteX17" fmla="*/ 186054 w 940276"/>
                    <a:gd name="connsiteY17" fmla="*/ 605228 h 651067"/>
                    <a:gd name="connsiteX18" fmla="*/ 185277 w 940276"/>
                    <a:gd name="connsiteY18" fmla="*/ 605010 h 651067"/>
                    <a:gd name="connsiteX19" fmla="*/ 183589 w 940276"/>
                    <a:gd name="connsiteY19" fmla="*/ 607013 h 651067"/>
                    <a:gd name="connsiteX20" fmla="*/ 180687 w 940276"/>
                    <a:gd name="connsiteY20" fmla="*/ 608203 h 651067"/>
                    <a:gd name="connsiteX21" fmla="*/ 178537 w 940276"/>
                    <a:gd name="connsiteY21" fmla="*/ 607706 h 651067"/>
                    <a:gd name="connsiteX22" fmla="*/ 176218 w 940276"/>
                    <a:gd name="connsiteY22" fmla="*/ 606333 h 651067"/>
                    <a:gd name="connsiteX23" fmla="*/ 175720 w 940276"/>
                    <a:gd name="connsiteY23" fmla="*/ 606443 h 651067"/>
                    <a:gd name="connsiteX24" fmla="*/ 175393 w 940276"/>
                    <a:gd name="connsiteY24" fmla="*/ 606795 h 651067"/>
                    <a:gd name="connsiteX25" fmla="*/ 172782 w 940276"/>
                    <a:gd name="connsiteY25" fmla="*/ 607463 h 651067"/>
                    <a:gd name="connsiteX26" fmla="*/ 169855 w 940276"/>
                    <a:gd name="connsiteY26" fmla="*/ 607111 h 651067"/>
                    <a:gd name="connsiteX27" fmla="*/ 170183 w 940276"/>
                    <a:gd name="connsiteY27" fmla="*/ 610219 h 651067"/>
                    <a:gd name="connsiteX28" fmla="*/ 169673 w 940276"/>
                    <a:gd name="connsiteY28" fmla="*/ 613692 h 651067"/>
                    <a:gd name="connsiteX29" fmla="*/ 167050 w 940276"/>
                    <a:gd name="connsiteY29" fmla="*/ 616072 h 651067"/>
                    <a:gd name="connsiteX30" fmla="*/ 163626 w 940276"/>
                    <a:gd name="connsiteY30" fmla="*/ 616485 h 651067"/>
                    <a:gd name="connsiteX31" fmla="*/ 160323 w 940276"/>
                    <a:gd name="connsiteY31" fmla="*/ 614821 h 651067"/>
                    <a:gd name="connsiteX32" fmla="*/ 160105 w 940276"/>
                    <a:gd name="connsiteY32" fmla="*/ 614299 h 651067"/>
                    <a:gd name="connsiteX33" fmla="*/ 158344 w 940276"/>
                    <a:gd name="connsiteY33" fmla="*/ 616412 h 651067"/>
                    <a:gd name="connsiteX34" fmla="*/ 157664 w 940276"/>
                    <a:gd name="connsiteY34" fmla="*/ 617092 h 651067"/>
                    <a:gd name="connsiteX35" fmla="*/ 154167 w 940276"/>
                    <a:gd name="connsiteY35" fmla="*/ 617711 h 651067"/>
                    <a:gd name="connsiteX36" fmla="*/ 151252 w 940276"/>
                    <a:gd name="connsiteY36" fmla="*/ 616448 h 651067"/>
                    <a:gd name="connsiteX37" fmla="*/ 148107 w 940276"/>
                    <a:gd name="connsiteY37" fmla="*/ 613886 h 651067"/>
                    <a:gd name="connsiteX38" fmla="*/ 145327 w 940276"/>
                    <a:gd name="connsiteY38" fmla="*/ 609187 h 651067"/>
                    <a:gd name="connsiteX39" fmla="*/ 141356 w 940276"/>
                    <a:gd name="connsiteY39" fmla="*/ 597105 h 651067"/>
                    <a:gd name="connsiteX40" fmla="*/ 135843 w 940276"/>
                    <a:gd name="connsiteY40" fmla="*/ 585800 h 651067"/>
                    <a:gd name="connsiteX41" fmla="*/ 134580 w 940276"/>
                    <a:gd name="connsiteY41" fmla="*/ 584792 h 651067"/>
                    <a:gd name="connsiteX42" fmla="*/ 132358 w 940276"/>
                    <a:gd name="connsiteY42" fmla="*/ 589940 h 651067"/>
                    <a:gd name="connsiteX43" fmla="*/ 131605 w 940276"/>
                    <a:gd name="connsiteY43" fmla="*/ 591349 h 651067"/>
                    <a:gd name="connsiteX44" fmla="*/ 130767 w 940276"/>
                    <a:gd name="connsiteY44" fmla="*/ 592478 h 651067"/>
                    <a:gd name="connsiteX45" fmla="*/ 129577 w 940276"/>
                    <a:gd name="connsiteY45" fmla="*/ 593571 h 651067"/>
                    <a:gd name="connsiteX46" fmla="*/ 127744 w 940276"/>
                    <a:gd name="connsiteY46" fmla="*/ 594749 h 651067"/>
                    <a:gd name="connsiteX47" fmla="*/ 125716 w 940276"/>
                    <a:gd name="connsiteY47" fmla="*/ 595745 h 651067"/>
                    <a:gd name="connsiteX48" fmla="*/ 123931 w 940276"/>
                    <a:gd name="connsiteY48" fmla="*/ 598477 h 651067"/>
                    <a:gd name="connsiteX49" fmla="*/ 120191 w 940276"/>
                    <a:gd name="connsiteY49" fmla="*/ 601355 h 651067"/>
                    <a:gd name="connsiteX50" fmla="*/ 115479 w 940276"/>
                    <a:gd name="connsiteY50" fmla="*/ 602751 h 651067"/>
                    <a:gd name="connsiteX51" fmla="*/ 107720 w 940276"/>
                    <a:gd name="connsiteY51" fmla="*/ 603346 h 651067"/>
                    <a:gd name="connsiteX52" fmla="*/ 104696 w 940276"/>
                    <a:gd name="connsiteY52" fmla="*/ 604245 h 651067"/>
                    <a:gd name="connsiteX53" fmla="*/ 102207 w 940276"/>
                    <a:gd name="connsiteY53" fmla="*/ 604573 h 651067"/>
                    <a:gd name="connsiteX54" fmla="*/ 99742 w 940276"/>
                    <a:gd name="connsiteY54" fmla="*/ 604330 h 651067"/>
                    <a:gd name="connsiteX55" fmla="*/ 95444 w 940276"/>
                    <a:gd name="connsiteY55" fmla="*/ 603249 h 651067"/>
                    <a:gd name="connsiteX56" fmla="*/ 93792 w 940276"/>
                    <a:gd name="connsiteY56" fmla="*/ 603067 h 651067"/>
                    <a:gd name="connsiteX57" fmla="*/ 92104 w 940276"/>
                    <a:gd name="connsiteY57" fmla="*/ 603662 h 651067"/>
                    <a:gd name="connsiteX58" fmla="*/ 88279 w 940276"/>
                    <a:gd name="connsiteY58" fmla="*/ 608422 h 651067"/>
                    <a:gd name="connsiteX59" fmla="*/ 84053 w 940276"/>
                    <a:gd name="connsiteY59" fmla="*/ 609758 h 651067"/>
                    <a:gd name="connsiteX60" fmla="*/ 73125 w 940276"/>
                    <a:gd name="connsiteY60" fmla="*/ 610341 h 651067"/>
                    <a:gd name="connsiteX61" fmla="*/ 61370 w 940276"/>
                    <a:gd name="connsiteY61" fmla="*/ 608082 h 651067"/>
                    <a:gd name="connsiteX62" fmla="*/ 43071 w 940276"/>
                    <a:gd name="connsiteY62" fmla="*/ 605289 h 651067"/>
                    <a:gd name="connsiteX63" fmla="*/ 40934 w 940276"/>
                    <a:gd name="connsiteY63" fmla="*/ 605641 h 651067"/>
                    <a:gd name="connsiteX64" fmla="*/ 37352 w 940276"/>
                    <a:gd name="connsiteY64" fmla="*/ 606042 h 651067"/>
                    <a:gd name="connsiteX65" fmla="*/ 37910 w 940276"/>
                    <a:gd name="connsiteY65" fmla="*/ 596692 h 651067"/>
                    <a:gd name="connsiteX66" fmla="*/ 37024 w 940276"/>
                    <a:gd name="connsiteY66" fmla="*/ 590511 h 651067"/>
                    <a:gd name="connsiteX67" fmla="*/ 37400 w 940276"/>
                    <a:gd name="connsiteY67" fmla="*/ 585192 h 651067"/>
                    <a:gd name="connsiteX68" fmla="*/ 37898 w 940276"/>
                    <a:gd name="connsiteY68" fmla="*/ 582861 h 651067"/>
                    <a:gd name="connsiteX69" fmla="*/ 37619 w 940276"/>
                    <a:gd name="connsiteY69" fmla="*/ 581610 h 651067"/>
                    <a:gd name="connsiteX70" fmla="*/ 35822 w 940276"/>
                    <a:gd name="connsiteY70" fmla="*/ 577834 h 651067"/>
                    <a:gd name="connsiteX71" fmla="*/ 35336 w 940276"/>
                    <a:gd name="connsiteY71" fmla="*/ 575794 h 651067"/>
                    <a:gd name="connsiteX72" fmla="*/ 35615 w 940276"/>
                    <a:gd name="connsiteY72" fmla="*/ 572540 h 651067"/>
                    <a:gd name="connsiteX73" fmla="*/ 39064 w 940276"/>
                    <a:gd name="connsiteY73" fmla="*/ 567002 h 651067"/>
                    <a:gd name="connsiteX74" fmla="*/ 39185 w 940276"/>
                    <a:gd name="connsiteY74" fmla="*/ 565679 h 651067"/>
                    <a:gd name="connsiteX75" fmla="*/ 38857 w 940276"/>
                    <a:gd name="connsiteY75" fmla="*/ 563870 h 651067"/>
                    <a:gd name="connsiteX76" fmla="*/ 37752 w 940276"/>
                    <a:gd name="connsiteY76" fmla="*/ 560348 h 651067"/>
                    <a:gd name="connsiteX77" fmla="*/ 37036 w 940276"/>
                    <a:gd name="connsiteY77" fmla="*/ 559255 h 651067"/>
                    <a:gd name="connsiteX78" fmla="*/ 30248 w 940276"/>
                    <a:gd name="connsiteY78" fmla="*/ 557628 h 651067"/>
                    <a:gd name="connsiteX79" fmla="*/ 27152 w 940276"/>
                    <a:gd name="connsiteY79" fmla="*/ 556390 h 651067"/>
                    <a:gd name="connsiteX80" fmla="*/ 24249 w 940276"/>
                    <a:gd name="connsiteY80" fmla="*/ 554653 h 651067"/>
                    <a:gd name="connsiteX81" fmla="*/ 21687 w 940276"/>
                    <a:gd name="connsiteY81" fmla="*/ 552589 h 651067"/>
                    <a:gd name="connsiteX82" fmla="*/ 19659 w 940276"/>
                    <a:gd name="connsiteY82" fmla="*/ 550233 h 651067"/>
                    <a:gd name="connsiteX83" fmla="*/ 15713 w 940276"/>
                    <a:gd name="connsiteY83" fmla="*/ 544076 h 651067"/>
                    <a:gd name="connsiteX84" fmla="*/ 15021 w 940276"/>
                    <a:gd name="connsiteY84" fmla="*/ 543506 h 651067"/>
                    <a:gd name="connsiteX85" fmla="*/ 14401 w 940276"/>
                    <a:gd name="connsiteY85" fmla="*/ 543239 h 651067"/>
                    <a:gd name="connsiteX86" fmla="*/ 12531 w 940276"/>
                    <a:gd name="connsiteY86" fmla="*/ 542729 h 651067"/>
                    <a:gd name="connsiteX87" fmla="*/ 7954 w 940276"/>
                    <a:gd name="connsiteY87" fmla="*/ 538345 h 651067"/>
                    <a:gd name="connsiteX88" fmla="*/ 6241 w 940276"/>
                    <a:gd name="connsiteY88" fmla="*/ 535006 h 651067"/>
                    <a:gd name="connsiteX89" fmla="*/ 5501 w 940276"/>
                    <a:gd name="connsiteY89" fmla="*/ 530974 h 651067"/>
                    <a:gd name="connsiteX90" fmla="*/ 6302 w 940276"/>
                    <a:gd name="connsiteY90" fmla="*/ 528461 h 651067"/>
                    <a:gd name="connsiteX91" fmla="*/ 7237 w 940276"/>
                    <a:gd name="connsiteY91" fmla="*/ 526651 h 651067"/>
                    <a:gd name="connsiteX92" fmla="*/ 7735 w 940276"/>
                    <a:gd name="connsiteY92" fmla="*/ 524915 h 651067"/>
                    <a:gd name="connsiteX93" fmla="*/ 8063 w 940276"/>
                    <a:gd name="connsiteY93" fmla="*/ 522159 h 651067"/>
                    <a:gd name="connsiteX94" fmla="*/ 8221 w 940276"/>
                    <a:gd name="connsiteY94" fmla="*/ 515031 h 651067"/>
                    <a:gd name="connsiteX95" fmla="*/ 7771 w 940276"/>
                    <a:gd name="connsiteY95" fmla="*/ 509421 h 651067"/>
                    <a:gd name="connsiteX96" fmla="*/ 7201 w 940276"/>
                    <a:gd name="connsiteY96" fmla="*/ 508267 h 651067"/>
                    <a:gd name="connsiteX97" fmla="*/ 3339 w 940276"/>
                    <a:gd name="connsiteY97" fmla="*/ 502936 h 651067"/>
                    <a:gd name="connsiteX98" fmla="*/ 1044 w 940276"/>
                    <a:gd name="connsiteY98" fmla="*/ 498589 h 651067"/>
                    <a:gd name="connsiteX99" fmla="*/ 218 w 940276"/>
                    <a:gd name="connsiteY99" fmla="*/ 496246 h 651067"/>
                    <a:gd name="connsiteX100" fmla="*/ 0 w 940276"/>
                    <a:gd name="connsiteY100" fmla="*/ 493161 h 651067"/>
                    <a:gd name="connsiteX101" fmla="*/ 534 w 940276"/>
                    <a:gd name="connsiteY101" fmla="*/ 490308 h 651067"/>
                    <a:gd name="connsiteX102" fmla="*/ 1287 w 940276"/>
                    <a:gd name="connsiteY102" fmla="*/ 479549 h 651067"/>
                    <a:gd name="connsiteX103" fmla="*/ 2161 w 940276"/>
                    <a:gd name="connsiteY103" fmla="*/ 473927 h 651067"/>
                    <a:gd name="connsiteX104" fmla="*/ 2902 w 940276"/>
                    <a:gd name="connsiteY104" fmla="*/ 471389 h 651067"/>
                    <a:gd name="connsiteX105" fmla="*/ 3691 w 940276"/>
                    <a:gd name="connsiteY105" fmla="*/ 469446 h 651067"/>
                    <a:gd name="connsiteX106" fmla="*/ 4724 w 940276"/>
                    <a:gd name="connsiteY106" fmla="*/ 467612 h 651067"/>
                    <a:gd name="connsiteX107" fmla="*/ 7079 w 940276"/>
                    <a:gd name="connsiteY107" fmla="*/ 464504 h 651067"/>
                    <a:gd name="connsiteX108" fmla="*/ 10066 w 940276"/>
                    <a:gd name="connsiteY108" fmla="*/ 461444 h 651067"/>
                    <a:gd name="connsiteX109" fmla="*/ 12653 w 940276"/>
                    <a:gd name="connsiteY109" fmla="*/ 459367 h 651067"/>
                    <a:gd name="connsiteX110" fmla="*/ 18919 w 940276"/>
                    <a:gd name="connsiteY110" fmla="*/ 455482 h 651067"/>
                    <a:gd name="connsiteX111" fmla="*/ 29374 w 940276"/>
                    <a:gd name="connsiteY111" fmla="*/ 450770 h 651067"/>
                    <a:gd name="connsiteX112" fmla="*/ 31729 w 940276"/>
                    <a:gd name="connsiteY112" fmla="*/ 449459 h 651067"/>
                    <a:gd name="connsiteX113" fmla="*/ 37327 w 940276"/>
                    <a:gd name="connsiteY113" fmla="*/ 445160 h 651067"/>
                    <a:gd name="connsiteX114" fmla="*/ 40764 w 940276"/>
                    <a:gd name="connsiteY114" fmla="*/ 443157 h 651067"/>
                    <a:gd name="connsiteX115" fmla="*/ 66665 w 940276"/>
                    <a:gd name="connsiteY115" fmla="*/ 428597 h 651067"/>
                    <a:gd name="connsiteX116" fmla="*/ 86300 w 940276"/>
                    <a:gd name="connsiteY116" fmla="*/ 417316 h 651067"/>
                    <a:gd name="connsiteX117" fmla="*/ 90210 w 940276"/>
                    <a:gd name="connsiteY117" fmla="*/ 414281 h 651067"/>
                    <a:gd name="connsiteX118" fmla="*/ 90720 w 940276"/>
                    <a:gd name="connsiteY118" fmla="*/ 412763 h 651067"/>
                    <a:gd name="connsiteX119" fmla="*/ 92274 w 940276"/>
                    <a:gd name="connsiteY119" fmla="*/ 409703 h 651067"/>
                    <a:gd name="connsiteX120" fmla="*/ 94071 w 940276"/>
                    <a:gd name="connsiteY120" fmla="*/ 408416 h 651067"/>
                    <a:gd name="connsiteX121" fmla="*/ 101806 w 940276"/>
                    <a:gd name="connsiteY121" fmla="*/ 405659 h 651067"/>
                    <a:gd name="connsiteX122" fmla="*/ 107465 w 940276"/>
                    <a:gd name="connsiteY122" fmla="*/ 402818 h 651067"/>
                    <a:gd name="connsiteX123" fmla="*/ 109602 w 940276"/>
                    <a:gd name="connsiteY123" fmla="*/ 401142 h 651067"/>
                    <a:gd name="connsiteX124" fmla="*/ 110039 w 940276"/>
                    <a:gd name="connsiteY124" fmla="*/ 400110 h 651067"/>
                    <a:gd name="connsiteX125" fmla="*/ 112346 w 940276"/>
                    <a:gd name="connsiteY125" fmla="*/ 397135 h 651067"/>
                    <a:gd name="connsiteX126" fmla="*/ 124926 w 940276"/>
                    <a:gd name="connsiteY126" fmla="*/ 388550 h 651067"/>
                    <a:gd name="connsiteX127" fmla="*/ 128557 w 940276"/>
                    <a:gd name="connsiteY127" fmla="*/ 385065 h 651067"/>
                    <a:gd name="connsiteX128" fmla="*/ 138527 w 940276"/>
                    <a:gd name="connsiteY128" fmla="*/ 372290 h 651067"/>
                    <a:gd name="connsiteX129" fmla="*/ 155065 w 940276"/>
                    <a:gd name="connsiteY129" fmla="*/ 359261 h 651067"/>
                    <a:gd name="connsiteX130" fmla="*/ 164172 w 940276"/>
                    <a:gd name="connsiteY130" fmla="*/ 356420 h 651067"/>
                    <a:gd name="connsiteX131" fmla="*/ 172515 w 940276"/>
                    <a:gd name="connsiteY131" fmla="*/ 361240 h 651067"/>
                    <a:gd name="connsiteX132" fmla="*/ 173280 w 940276"/>
                    <a:gd name="connsiteY132" fmla="*/ 363705 h 651067"/>
                    <a:gd name="connsiteX133" fmla="*/ 173474 w 940276"/>
                    <a:gd name="connsiteY133" fmla="*/ 367093 h 651067"/>
                    <a:gd name="connsiteX134" fmla="*/ 173219 w 940276"/>
                    <a:gd name="connsiteY134" fmla="*/ 369388 h 651067"/>
                    <a:gd name="connsiteX135" fmla="*/ 169965 w 940276"/>
                    <a:gd name="connsiteY135" fmla="*/ 371052 h 651067"/>
                    <a:gd name="connsiteX136" fmla="*/ 173000 w 940276"/>
                    <a:gd name="connsiteY136" fmla="*/ 370906 h 651067"/>
                    <a:gd name="connsiteX137" fmla="*/ 173061 w 940276"/>
                    <a:gd name="connsiteY137" fmla="*/ 372120 h 651067"/>
                    <a:gd name="connsiteX138" fmla="*/ 173595 w 940276"/>
                    <a:gd name="connsiteY138" fmla="*/ 373735 h 651067"/>
                    <a:gd name="connsiteX139" fmla="*/ 171750 w 940276"/>
                    <a:gd name="connsiteY139" fmla="*/ 376747 h 651067"/>
                    <a:gd name="connsiteX140" fmla="*/ 174713 w 940276"/>
                    <a:gd name="connsiteY140" fmla="*/ 375508 h 651067"/>
                    <a:gd name="connsiteX141" fmla="*/ 176485 w 940276"/>
                    <a:gd name="connsiteY141" fmla="*/ 376747 h 651067"/>
                    <a:gd name="connsiteX142" fmla="*/ 178064 w 940276"/>
                    <a:gd name="connsiteY142" fmla="*/ 377366 h 651067"/>
                    <a:gd name="connsiteX143" fmla="*/ 179242 w 940276"/>
                    <a:gd name="connsiteY143" fmla="*/ 377597 h 651067"/>
                    <a:gd name="connsiteX144" fmla="*/ 181840 w 940276"/>
                    <a:gd name="connsiteY144" fmla="*/ 377597 h 651067"/>
                    <a:gd name="connsiteX145" fmla="*/ 183917 w 940276"/>
                    <a:gd name="connsiteY145" fmla="*/ 377172 h 651067"/>
                    <a:gd name="connsiteX146" fmla="*/ 187086 w 940276"/>
                    <a:gd name="connsiteY146" fmla="*/ 376079 h 651067"/>
                    <a:gd name="connsiteX147" fmla="*/ 188276 w 940276"/>
                    <a:gd name="connsiteY147" fmla="*/ 375375 h 651067"/>
                    <a:gd name="connsiteX148" fmla="*/ 188847 w 940276"/>
                    <a:gd name="connsiteY148" fmla="*/ 374804 h 651067"/>
                    <a:gd name="connsiteX149" fmla="*/ 191506 w 940276"/>
                    <a:gd name="connsiteY149" fmla="*/ 372861 h 651067"/>
                    <a:gd name="connsiteX150" fmla="*/ 188531 w 940276"/>
                    <a:gd name="connsiteY150" fmla="*/ 373444 h 651067"/>
                    <a:gd name="connsiteX151" fmla="*/ 188300 w 940276"/>
                    <a:gd name="connsiteY151" fmla="*/ 372242 h 651067"/>
                    <a:gd name="connsiteX152" fmla="*/ 188021 w 940276"/>
                    <a:gd name="connsiteY152" fmla="*/ 371368 h 651067"/>
                    <a:gd name="connsiteX153" fmla="*/ 185593 w 940276"/>
                    <a:gd name="connsiteY153" fmla="*/ 365430 h 651067"/>
                    <a:gd name="connsiteX154" fmla="*/ 186139 w 940276"/>
                    <a:gd name="connsiteY154" fmla="*/ 358605 h 651067"/>
                    <a:gd name="connsiteX155" fmla="*/ 189697 w 940276"/>
                    <a:gd name="connsiteY155" fmla="*/ 356541 h 651067"/>
                    <a:gd name="connsiteX156" fmla="*/ 192805 w 940276"/>
                    <a:gd name="connsiteY156" fmla="*/ 355460 h 651067"/>
                    <a:gd name="connsiteX157" fmla="*/ 195380 w 940276"/>
                    <a:gd name="connsiteY157" fmla="*/ 354076 h 651067"/>
                    <a:gd name="connsiteX158" fmla="*/ 200116 w 940276"/>
                    <a:gd name="connsiteY158" fmla="*/ 352680 h 651067"/>
                    <a:gd name="connsiteX159" fmla="*/ 203880 w 940276"/>
                    <a:gd name="connsiteY159" fmla="*/ 354173 h 651067"/>
                    <a:gd name="connsiteX160" fmla="*/ 210789 w 940276"/>
                    <a:gd name="connsiteY160" fmla="*/ 360560 h 651067"/>
                    <a:gd name="connsiteX161" fmla="*/ 213898 w 940276"/>
                    <a:gd name="connsiteY161" fmla="*/ 362661 h 651067"/>
                    <a:gd name="connsiteX162" fmla="*/ 217856 w 940276"/>
                    <a:gd name="connsiteY162" fmla="*/ 363560 h 651067"/>
                    <a:gd name="connsiteX163" fmla="*/ 221524 w 940276"/>
                    <a:gd name="connsiteY163" fmla="*/ 365600 h 651067"/>
                    <a:gd name="connsiteX164" fmla="*/ 222434 w 940276"/>
                    <a:gd name="connsiteY164" fmla="*/ 365915 h 651067"/>
                    <a:gd name="connsiteX165" fmla="*/ 224049 w 940276"/>
                    <a:gd name="connsiteY165" fmla="*/ 366073 h 651067"/>
                    <a:gd name="connsiteX166" fmla="*/ 228214 w 940276"/>
                    <a:gd name="connsiteY166" fmla="*/ 365818 h 651067"/>
                    <a:gd name="connsiteX167" fmla="*/ 229781 w 940276"/>
                    <a:gd name="connsiteY167" fmla="*/ 365345 h 651067"/>
                    <a:gd name="connsiteX168" fmla="*/ 230570 w 940276"/>
                    <a:gd name="connsiteY168" fmla="*/ 364992 h 651067"/>
                    <a:gd name="connsiteX169" fmla="*/ 238062 w 940276"/>
                    <a:gd name="connsiteY169" fmla="*/ 359419 h 651067"/>
                    <a:gd name="connsiteX170" fmla="*/ 239544 w 940276"/>
                    <a:gd name="connsiteY170" fmla="*/ 358605 h 651067"/>
                    <a:gd name="connsiteX171" fmla="*/ 239313 w 940276"/>
                    <a:gd name="connsiteY171" fmla="*/ 355618 h 651067"/>
                    <a:gd name="connsiteX172" fmla="*/ 241669 w 940276"/>
                    <a:gd name="connsiteY172" fmla="*/ 352813 h 651067"/>
                    <a:gd name="connsiteX173" fmla="*/ 241778 w 940276"/>
                    <a:gd name="connsiteY173" fmla="*/ 351987 h 651067"/>
                    <a:gd name="connsiteX174" fmla="*/ 240977 w 940276"/>
                    <a:gd name="connsiteY174" fmla="*/ 350457 h 651067"/>
                    <a:gd name="connsiteX175" fmla="*/ 227716 w 940276"/>
                    <a:gd name="connsiteY175" fmla="*/ 338654 h 651067"/>
                    <a:gd name="connsiteX176" fmla="*/ 226308 w 940276"/>
                    <a:gd name="connsiteY176" fmla="*/ 338278 h 651067"/>
                    <a:gd name="connsiteX177" fmla="*/ 224122 w 940276"/>
                    <a:gd name="connsiteY177" fmla="*/ 338327 h 651067"/>
                    <a:gd name="connsiteX178" fmla="*/ 218391 w 940276"/>
                    <a:gd name="connsiteY178" fmla="*/ 338691 h 651067"/>
                    <a:gd name="connsiteX179" fmla="*/ 214736 w 940276"/>
                    <a:gd name="connsiteY179" fmla="*/ 337720 h 651067"/>
                    <a:gd name="connsiteX180" fmla="*/ 207244 w 940276"/>
                    <a:gd name="connsiteY180" fmla="*/ 333542 h 651067"/>
                    <a:gd name="connsiteX181" fmla="*/ 204742 w 940276"/>
                    <a:gd name="connsiteY181" fmla="*/ 331357 h 651067"/>
                    <a:gd name="connsiteX182" fmla="*/ 203564 w 940276"/>
                    <a:gd name="connsiteY182" fmla="*/ 328005 h 651067"/>
                    <a:gd name="connsiteX183" fmla="*/ 201913 w 940276"/>
                    <a:gd name="connsiteY183" fmla="*/ 325771 h 651067"/>
                    <a:gd name="connsiteX184" fmla="*/ 199921 w 940276"/>
                    <a:gd name="connsiteY184" fmla="*/ 323852 h 651067"/>
                    <a:gd name="connsiteX185" fmla="*/ 199691 w 940276"/>
                    <a:gd name="connsiteY185" fmla="*/ 323755 h 651067"/>
                    <a:gd name="connsiteX186" fmla="*/ 194712 w 940276"/>
                    <a:gd name="connsiteY186" fmla="*/ 323731 h 651067"/>
                    <a:gd name="connsiteX187" fmla="*/ 192988 w 940276"/>
                    <a:gd name="connsiteY187" fmla="*/ 324071 h 651067"/>
                    <a:gd name="connsiteX188" fmla="*/ 186880 w 940276"/>
                    <a:gd name="connsiteY188" fmla="*/ 325965 h 651067"/>
                    <a:gd name="connsiteX189" fmla="*/ 182824 w 940276"/>
                    <a:gd name="connsiteY189" fmla="*/ 326402 h 651067"/>
                    <a:gd name="connsiteX190" fmla="*/ 178392 w 940276"/>
                    <a:gd name="connsiteY190" fmla="*/ 325492 h 651067"/>
                    <a:gd name="connsiteX191" fmla="*/ 173899 w 940276"/>
                    <a:gd name="connsiteY191" fmla="*/ 322480 h 651067"/>
                    <a:gd name="connsiteX192" fmla="*/ 171045 w 940276"/>
                    <a:gd name="connsiteY192" fmla="*/ 319517 h 651067"/>
                    <a:gd name="connsiteX193" fmla="*/ 169807 w 940276"/>
                    <a:gd name="connsiteY193" fmla="*/ 317720 h 651067"/>
                    <a:gd name="connsiteX194" fmla="*/ 168532 w 940276"/>
                    <a:gd name="connsiteY194" fmla="*/ 315219 h 651067"/>
                    <a:gd name="connsiteX195" fmla="*/ 166565 w 940276"/>
                    <a:gd name="connsiteY195" fmla="*/ 308030 h 651067"/>
                    <a:gd name="connsiteX196" fmla="*/ 166091 w 940276"/>
                    <a:gd name="connsiteY196" fmla="*/ 307787 h 651067"/>
                    <a:gd name="connsiteX197" fmla="*/ 164585 w 940276"/>
                    <a:gd name="connsiteY197" fmla="*/ 307714 h 651067"/>
                    <a:gd name="connsiteX198" fmla="*/ 160663 w 940276"/>
                    <a:gd name="connsiteY198" fmla="*/ 306694 h 651067"/>
                    <a:gd name="connsiteX199" fmla="*/ 158781 w 940276"/>
                    <a:gd name="connsiteY199" fmla="*/ 301218 h 651067"/>
                    <a:gd name="connsiteX200" fmla="*/ 157542 w 940276"/>
                    <a:gd name="connsiteY200" fmla="*/ 299251 h 651067"/>
                    <a:gd name="connsiteX201" fmla="*/ 155952 w 940276"/>
                    <a:gd name="connsiteY201" fmla="*/ 297466 h 651067"/>
                    <a:gd name="connsiteX202" fmla="*/ 153547 w 940276"/>
                    <a:gd name="connsiteY202" fmla="*/ 296931 h 651067"/>
                    <a:gd name="connsiteX203" fmla="*/ 148605 w 940276"/>
                    <a:gd name="connsiteY203" fmla="*/ 293884 h 651067"/>
                    <a:gd name="connsiteX204" fmla="*/ 146978 w 940276"/>
                    <a:gd name="connsiteY204" fmla="*/ 293301 h 651067"/>
                    <a:gd name="connsiteX205" fmla="*/ 146262 w 940276"/>
                    <a:gd name="connsiteY205" fmla="*/ 293373 h 651067"/>
                    <a:gd name="connsiteX206" fmla="*/ 145485 w 940276"/>
                    <a:gd name="connsiteY206" fmla="*/ 293325 h 651067"/>
                    <a:gd name="connsiteX207" fmla="*/ 142194 w 940276"/>
                    <a:gd name="connsiteY207" fmla="*/ 291176 h 651067"/>
                    <a:gd name="connsiteX208" fmla="*/ 139874 w 940276"/>
                    <a:gd name="connsiteY208" fmla="*/ 290338 h 651067"/>
                    <a:gd name="connsiteX209" fmla="*/ 134434 w 940276"/>
                    <a:gd name="connsiteY209" fmla="*/ 277405 h 651067"/>
                    <a:gd name="connsiteX210" fmla="*/ 131690 w 940276"/>
                    <a:gd name="connsiteY210" fmla="*/ 273568 h 651067"/>
                    <a:gd name="connsiteX211" fmla="*/ 127926 w 940276"/>
                    <a:gd name="connsiteY211" fmla="*/ 271176 h 651067"/>
                    <a:gd name="connsiteX212" fmla="*/ 125230 w 940276"/>
                    <a:gd name="connsiteY212" fmla="*/ 268590 h 651067"/>
                    <a:gd name="connsiteX213" fmla="*/ 124064 w 940276"/>
                    <a:gd name="connsiteY213" fmla="*/ 265530 h 651067"/>
                    <a:gd name="connsiteX214" fmla="*/ 124222 w 940276"/>
                    <a:gd name="connsiteY214" fmla="*/ 262907 h 651067"/>
                    <a:gd name="connsiteX215" fmla="*/ 125084 w 940276"/>
                    <a:gd name="connsiteY215" fmla="*/ 260381 h 651067"/>
                    <a:gd name="connsiteX216" fmla="*/ 126141 w 940276"/>
                    <a:gd name="connsiteY216" fmla="*/ 258693 h 651067"/>
                    <a:gd name="connsiteX217" fmla="*/ 127646 w 940276"/>
                    <a:gd name="connsiteY217" fmla="*/ 257127 h 651067"/>
                    <a:gd name="connsiteX218" fmla="*/ 128521 w 940276"/>
                    <a:gd name="connsiteY218" fmla="*/ 256495 h 651067"/>
                    <a:gd name="connsiteX219" fmla="*/ 130160 w 940276"/>
                    <a:gd name="connsiteY219" fmla="*/ 255657 h 651067"/>
                    <a:gd name="connsiteX220" fmla="*/ 133560 w 940276"/>
                    <a:gd name="connsiteY220" fmla="*/ 254650 h 651067"/>
                    <a:gd name="connsiteX221" fmla="*/ 144865 w 940276"/>
                    <a:gd name="connsiteY221" fmla="*/ 253678 h 651067"/>
                    <a:gd name="connsiteX222" fmla="*/ 146067 w 940276"/>
                    <a:gd name="connsiteY222" fmla="*/ 253290 h 651067"/>
                    <a:gd name="connsiteX223" fmla="*/ 148314 w 940276"/>
                    <a:gd name="connsiteY223" fmla="*/ 251322 h 651067"/>
                    <a:gd name="connsiteX224" fmla="*/ 149698 w 940276"/>
                    <a:gd name="connsiteY224" fmla="*/ 250375 h 651067"/>
                    <a:gd name="connsiteX225" fmla="*/ 151677 w 940276"/>
                    <a:gd name="connsiteY225" fmla="*/ 249610 h 651067"/>
                    <a:gd name="connsiteX226" fmla="*/ 153802 w 940276"/>
                    <a:gd name="connsiteY226" fmla="*/ 249404 h 651067"/>
                    <a:gd name="connsiteX227" fmla="*/ 156340 w 940276"/>
                    <a:gd name="connsiteY227" fmla="*/ 249756 h 651067"/>
                    <a:gd name="connsiteX228" fmla="*/ 158259 w 940276"/>
                    <a:gd name="connsiteY228" fmla="*/ 250302 h 651067"/>
                    <a:gd name="connsiteX229" fmla="*/ 160663 w 940276"/>
                    <a:gd name="connsiteY229" fmla="*/ 250521 h 651067"/>
                    <a:gd name="connsiteX230" fmla="*/ 161452 w 940276"/>
                    <a:gd name="connsiteY230" fmla="*/ 250060 h 651067"/>
                    <a:gd name="connsiteX231" fmla="*/ 159740 w 940276"/>
                    <a:gd name="connsiteY231" fmla="*/ 247752 h 651067"/>
                    <a:gd name="connsiteX232" fmla="*/ 157931 w 940276"/>
                    <a:gd name="connsiteY232" fmla="*/ 244073 h 651067"/>
                    <a:gd name="connsiteX233" fmla="*/ 157372 w 940276"/>
                    <a:gd name="connsiteY233" fmla="*/ 241365 h 651067"/>
                    <a:gd name="connsiteX234" fmla="*/ 157712 w 940276"/>
                    <a:gd name="connsiteY234" fmla="*/ 238160 h 651067"/>
                    <a:gd name="connsiteX235" fmla="*/ 161076 w 940276"/>
                    <a:gd name="connsiteY235" fmla="*/ 233144 h 651067"/>
                    <a:gd name="connsiteX236" fmla="*/ 162132 w 940276"/>
                    <a:gd name="connsiteY236" fmla="*/ 230607 h 651067"/>
                    <a:gd name="connsiteX237" fmla="*/ 162084 w 940276"/>
                    <a:gd name="connsiteY237" fmla="*/ 230340 h 651067"/>
                    <a:gd name="connsiteX238" fmla="*/ 161853 w 940276"/>
                    <a:gd name="connsiteY238" fmla="*/ 230206 h 651067"/>
                    <a:gd name="connsiteX239" fmla="*/ 148848 w 940276"/>
                    <a:gd name="connsiteY239" fmla="*/ 227632 h 651067"/>
                    <a:gd name="connsiteX240" fmla="*/ 144938 w 940276"/>
                    <a:gd name="connsiteY240" fmla="*/ 225932 h 651067"/>
                    <a:gd name="connsiteX241" fmla="*/ 141113 w 940276"/>
                    <a:gd name="connsiteY241" fmla="*/ 223637 h 651067"/>
                    <a:gd name="connsiteX242" fmla="*/ 135503 w 940276"/>
                    <a:gd name="connsiteY242" fmla="*/ 218694 h 651067"/>
                    <a:gd name="connsiteX243" fmla="*/ 133123 w 940276"/>
                    <a:gd name="connsiteY243" fmla="*/ 216934 h 651067"/>
                    <a:gd name="connsiteX244" fmla="*/ 132188 w 940276"/>
                    <a:gd name="connsiteY244" fmla="*/ 216557 h 651067"/>
                    <a:gd name="connsiteX245" fmla="*/ 132674 w 940276"/>
                    <a:gd name="connsiteY245" fmla="*/ 217529 h 651067"/>
                    <a:gd name="connsiteX246" fmla="*/ 131119 w 940276"/>
                    <a:gd name="connsiteY246" fmla="*/ 218767 h 651067"/>
                    <a:gd name="connsiteX247" fmla="*/ 129808 w 940276"/>
                    <a:gd name="connsiteY247" fmla="*/ 219520 h 651067"/>
                    <a:gd name="connsiteX248" fmla="*/ 127319 w 940276"/>
                    <a:gd name="connsiteY248" fmla="*/ 220370 h 651067"/>
                    <a:gd name="connsiteX249" fmla="*/ 124562 w 940276"/>
                    <a:gd name="connsiteY249" fmla="*/ 220734 h 651067"/>
                    <a:gd name="connsiteX250" fmla="*/ 121454 w 940276"/>
                    <a:gd name="connsiteY250" fmla="*/ 220601 h 651067"/>
                    <a:gd name="connsiteX251" fmla="*/ 118357 w 940276"/>
                    <a:gd name="connsiteY251" fmla="*/ 219933 h 651067"/>
                    <a:gd name="connsiteX252" fmla="*/ 114095 w 940276"/>
                    <a:gd name="connsiteY252" fmla="*/ 217711 h 651067"/>
                    <a:gd name="connsiteX253" fmla="*/ 112091 w 940276"/>
                    <a:gd name="connsiteY253" fmla="*/ 214590 h 651067"/>
                    <a:gd name="connsiteX254" fmla="*/ 111727 w 940276"/>
                    <a:gd name="connsiteY254" fmla="*/ 211797 h 651067"/>
                    <a:gd name="connsiteX255" fmla="*/ 111921 w 940276"/>
                    <a:gd name="connsiteY255" fmla="*/ 208057 h 651067"/>
                    <a:gd name="connsiteX256" fmla="*/ 111982 w 940276"/>
                    <a:gd name="connsiteY256" fmla="*/ 201731 h 651067"/>
                    <a:gd name="connsiteX257" fmla="*/ 112492 w 940276"/>
                    <a:gd name="connsiteY257" fmla="*/ 199460 h 651067"/>
                    <a:gd name="connsiteX258" fmla="*/ 113828 w 940276"/>
                    <a:gd name="connsiteY258" fmla="*/ 196813 h 651067"/>
                    <a:gd name="connsiteX259" fmla="*/ 116378 w 940276"/>
                    <a:gd name="connsiteY259" fmla="*/ 195246 h 651067"/>
                    <a:gd name="connsiteX260" fmla="*/ 118940 w 940276"/>
                    <a:gd name="connsiteY260" fmla="*/ 194894 h 651067"/>
                    <a:gd name="connsiteX261" fmla="*/ 120288 w 940276"/>
                    <a:gd name="connsiteY261" fmla="*/ 195356 h 651067"/>
                    <a:gd name="connsiteX262" fmla="*/ 121709 w 940276"/>
                    <a:gd name="connsiteY262" fmla="*/ 196169 h 651067"/>
                    <a:gd name="connsiteX263" fmla="*/ 122935 w 940276"/>
                    <a:gd name="connsiteY263" fmla="*/ 197590 h 651067"/>
                    <a:gd name="connsiteX264" fmla="*/ 123700 w 940276"/>
                    <a:gd name="connsiteY264" fmla="*/ 199217 h 651067"/>
                    <a:gd name="connsiteX265" fmla="*/ 123809 w 940276"/>
                    <a:gd name="connsiteY265" fmla="*/ 199666 h 651067"/>
                    <a:gd name="connsiteX266" fmla="*/ 124477 w 940276"/>
                    <a:gd name="connsiteY266" fmla="*/ 198707 h 651067"/>
                    <a:gd name="connsiteX267" fmla="*/ 125327 w 940276"/>
                    <a:gd name="connsiteY267" fmla="*/ 197626 h 651067"/>
                    <a:gd name="connsiteX268" fmla="*/ 126869 w 940276"/>
                    <a:gd name="connsiteY268" fmla="*/ 196376 h 651067"/>
                    <a:gd name="connsiteX269" fmla="*/ 128326 w 940276"/>
                    <a:gd name="connsiteY269" fmla="*/ 195720 h 651067"/>
                    <a:gd name="connsiteX270" fmla="*/ 135904 w 940276"/>
                    <a:gd name="connsiteY270" fmla="*/ 194081 h 651067"/>
                    <a:gd name="connsiteX271" fmla="*/ 137494 w 940276"/>
                    <a:gd name="connsiteY271" fmla="*/ 193449 h 651067"/>
                    <a:gd name="connsiteX272" fmla="*/ 138527 w 940276"/>
                    <a:gd name="connsiteY272" fmla="*/ 192709 h 651067"/>
                    <a:gd name="connsiteX273" fmla="*/ 139935 w 940276"/>
                    <a:gd name="connsiteY273" fmla="*/ 190280 h 651067"/>
                    <a:gd name="connsiteX274" fmla="*/ 140688 w 940276"/>
                    <a:gd name="connsiteY274" fmla="*/ 188592 h 651067"/>
                    <a:gd name="connsiteX275" fmla="*/ 142169 w 940276"/>
                    <a:gd name="connsiteY275" fmla="*/ 182533 h 651067"/>
                    <a:gd name="connsiteX276" fmla="*/ 143384 w 940276"/>
                    <a:gd name="connsiteY276" fmla="*/ 179473 h 651067"/>
                    <a:gd name="connsiteX277" fmla="*/ 144938 w 940276"/>
                    <a:gd name="connsiteY277" fmla="*/ 177275 h 651067"/>
                    <a:gd name="connsiteX278" fmla="*/ 147367 w 940276"/>
                    <a:gd name="connsiteY278" fmla="*/ 175381 h 651067"/>
                    <a:gd name="connsiteX279" fmla="*/ 149358 w 940276"/>
                    <a:gd name="connsiteY279" fmla="*/ 174956 h 651067"/>
                    <a:gd name="connsiteX280" fmla="*/ 155964 w 940276"/>
                    <a:gd name="connsiteY280" fmla="*/ 175004 h 651067"/>
                    <a:gd name="connsiteX281" fmla="*/ 158308 w 940276"/>
                    <a:gd name="connsiteY281" fmla="*/ 174361 h 651067"/>
                    <a:gd name="connsiteX282" fmla="*/ 161003 w 940276"/>
                    <a:gd name="connsiteY282" fmla="*/ 174312 h 651067"/>
                    <a:gd name="connsiteX283" fmla="*/ 166905 w 940276"/>
                    <a:gd name="connsiteY283" fmla="*/ 176012 h 651067"/>
                    <a:gd name="connsiteX284" fmla="*/ 173535 w 940276"/>
                    <a:gd name="connsiteY284" fmla="*/ 176996 h 651067"/>
                    <a:gd name="connsiteX285" fmla="*/ 200711 w 940276"/>
                    <a:gd name="connsiteY285" fmla="*/ 176753 h 651067"/>
                    <a:gd name="connsiteX286" fmla="*/ 200674 w 940276"/>
                    <a:gd name="connsiteY286" fmla="*/ 176206 h 651067"/>
                    <a:gd name="connsiteX287" fmla="*/ 199193 w 940276"/>
                    <a:gd name="connsiteY287" fmla="*/ 174506 h 651067"/>
                    <a:gd name="connsiteX288" fmla="*/ 185386 w 940276"/>
                    <a:gd name="connsiteY288" fmla="*/ 161319 h 651067"/>
                    <a:gd name="connsiteX289" fmla="*/ 183431 w 940276"/>
                    <a:gd name="connsiteY289" fmla="*/ 160056 h 651067"/>
                    <a:gd name="connsiteX290" fmla="*/ 182168 w 940276"/>
                    <a:gd name="connsiteY290" fmla="*/ 159716 h 651067"/>
                    <a:gd name="connsiteX291" fmla="*/ 178477 w 940276"/>
                    <a:gd name="connsiteY291" fmla="*/ 160153 h 651067"/>
                    <a:gd name="connsiteX292" fmla="*/ 175368 w 940276"/>
                    <a:gd name="connsiteY292" fmla="*/ 159473 h 651067"/>
                    <a:gd name="connsiteX293" fmla="*/ 174239 w 940276"/>
                    <a:gd name="connsiteY293" fmla="*/ 159145 h 651067"/>
                    <a:gd name="connsiteX294" fmla="*/ 172830 w 940276"/>
                    <a:gd name="connsiteY294" fmla="*/ 156814 h 651067"/>
                    <a:gd name="connsiteX295" fmla="*/ 172102 w 940276"/>
                    <a:gd name="connsiteY295" fmla="*/ 154082 h 651067"/>
                    <a:gd name="connsiteX296" fmla="*/ 173389 w 940276"/>
                    <a:gd name="connsiteY296" fmla="*/ 143129 h 651067"/>
                    <a:gd name="connsiteX297" fmla="*/ 173425 w 940276"/>
                    <a:gd name="connsiteY297" fmla="*/ 140518 h 651067"/>
                    <a:gd name="connsiteX298" fmla="*/ 173195 w 940276"/>
                    <a:gd name="connsiteY298" fmla="*/ 137337 h 651067"/>
                    <a:gd name="connsiteX299" fmla="*/ 172235 w 940276"/>
                    <a:gd name="connsiteY299" fmla="*/ 133670 h 651067"/>
                    <a:gd name="connsiteX300" fmla="*/ 171313 w 940276"/>
                    <a:gd name="connsiteY300" fmla="*/ 132310 h 651067"/>
                    <a:gd name="connsiteX301" fmla="*/ 170426 w 940276"/>
                    <a:gd name="connsiteY301" fmla="*/ 131727 h 651067"/>
                    <a:gd name="connsiteX302" fmla="*/ 168593 w 940276"/>
                    <a:gd name="connsiteY302" fmla="*/ 131581 h 651067"/>
                    <a:gd name="connsiteX303" fmla="*/ 167135 w 940276"/>
                    <a:gd name="connsiteY303" fmla="*/ 131642 h 651067"/>
                    <a:gd name="connsiteX304" fmla="*/ 165872 w 940276"/>
                    <a:gd name="connsiteY304" fmla="*/ 131957 h 651067"/>
                    <a:gd name="connsiteX305" fmla="*/ 164707 w 940276"/>
                    <a:gd name="connsiteY305" fmla="*/ 132492 h 651067"/>
                    <a:gd name="connsiteX306" fmla="*/ 163942 w 940276"/>
                    <a:gd name="connsiteY306" fmla="*/ 133062 h 651067"/>
                    <a:gd name="connsiteX307" fmla="*/ 162958 w 940276"/>
                    <a:gd name="connsiteY307" fmla="*/ 133961 h 651067"/>
                    <a:gd name="connsiteX308" fmla="*/ 160785 w 940276"/>
                    <a:gd name="connsiteY308" fmla="*/ 135503 h 651067"/>
                    <a:gd name="connsiteX309" fmla="*/ 157032 w 940276"/>
                    <a:gd name="connsiteY309" fmla="*/ 135540 h 651067"/>
                    <a:gd name="connsiteX310" fmla="*/ 151252 w 940276"/>
                    <a:gd name="connsiteY310" fmla="*/ 131532 h 651067"/>
                    <a:gd name="connsiteX311" fmla="*/ 148557 w 940276"/>
                    <a:gd name="connsiteY311" fmla="*/ 128727 h 651067"/>
                    <a:gd name="connsiteX312" fmla="*/ 147087 w 940276"/>
                    <a:gd name="connsiteY312" fmla="*/ 128157 h 651067"/>
                    <a:gd name="connsiteX313" fmla="*/ 145266 w 940276"/>
                    <a:gd name="connsiteY313" fmla="*/ 127562 h 651067"/>
                    <a:gd name="connsiteX314" fmla="*/ 141137 w 940276"/>
                    <a:gd name="connsiteY314" fmla="*/ 125254 h 651067"/>
                    <a:gd name="connsiteX315" fmla="*/ 138684 w 940276"/>
                    <a:gd name="connsiteY315" fmla="*/ 121599 h 651067"/>
                    <a:gd name="connsiteX316" fmla="*/ 132079 w 940276"/>
                    <a:gd name="connsiteY316" fmla="*/ 108351 h 651067"/>
                    <a:gd name="connsiteX317" fmla="*/ 132431 w 940276"/>
                    <a:gd name="connsiteY317" fmla="*/ 101224 h 651067"/>
                    <a:gd name="connsiteX318" fmla="*/ 132261 w 940276"/>
                    <a:gd name="connsiteY318" fmla="*/ 98819 h 651067"/>
                    <a:gd name="connsiteX319" fmla="*/ 131508 w 940276"/>
                    <a:gd name="connsiteY319" fmla="*/ 96294 h 651067"/>
                    <a:gd name="connsiteX320" fmla="*/ 130549 w 940276"/>
                    <a:gd name="connsiteY320" fmla="*/ 95334 h 651067"/>
                    <a:gd name="connsiteX321" fmla="*/ 127865 w 940276"/>
                    <a:gd name="connsiteY321" fmla="*/ 93416 h 651067"/>
                    <a:gd name="connsiteX322" fmla="*/ 126007 w 940276"/>
                    <a:gd name="connsiteY322" fmla="*/ 90805 h 651067"/>
                    <a:gd name="connsiteX323" fmla="*/ 123409 w 940276"/>
                    <a:gd name="connsiteY323" fmla="*/ 84551 h 651067"/>
                    <a:gd name="connsiteX324" fmla="*/ 122498 w 940276"/>
                    <a:gd name="connsiteY324" fmla="*/ 83750 h 651067"/>
                    <a:gd name="connsiteX325" fmla="*/ 118515 w 940276"/>
                    <a:gd name="connsiteY325" fmla="*/ 80957 h 651067"/>
                    <a:gd name="connsiteX326" fmla="*/ 116475 w 940276"/>
                    <a:gd name="connsiteY326" fmla="*/ 78116 h 651067"/>
                    <a:gd name="connsiteX327" fmla="*/ 115528 w 940276"/>
                    <a:gd name="connsiteY327" fmla="*/ 75213 h 651067"/>
                    <a:gd name="connsiteX328" fmla="*/ 115540 w 940276"/>
                    <a:gd name="connsiteY328" fmla="*/ 69263 h 651067"/>
                    <a:gd name="connsiteX329" fmla="*/ 116232 w 940276"/>
                    <a:gd name="connsiteY329" fmla="*/ 65414 h 651067"/>
                    <a:gd name="connsiteX330" fmla="*/ 116208 w 940276"/>
                    <a:gd name="connsiteY330" fmla="*/ 63532 h 651067"/>
                    <a:gd name="connsiteX331" fmla="*/ 114241 w 940276"/>
                    <a:gd name="connsiteY331" fmla="*/ 60193 h 651067"/>
                    <a:gd name="connsiteX332" fmla="*/ 113512 w 940276"/>
                    <a:gd name="connsiteY332" fmla="*/ 59428 h 651067"/>
                    <a:gd name="connsiteX333" fmla="*/ 111764 w 940276"/>
                    <a:gd name="connsiteY333" fmla="*/ 58116 h 651067"/>
                    <a:gd name="connsiteX334" fmla="*/ 110476 w 940276"/>
                    <a:gd name="connsiteY334" fmla="*/ 57327 h 651067"/>
                    <a:gd name="connsiteX335" fmla="*/ 107526 w 940276"/>
                    <a:gd name="connsiteY335" fmla="*/ 54716 h 651067"/>
                    <a:gd name="connsiteX336" fmla="*/ 106081 w 940276"/>
                    <a:gd name="connsiteY336" fmla="*/ 52725 h 651067"/>
                    <a:gd name="connsiteX337" fmla="*/ 105340 w 940276"/>
                    <a:gd name="connsiteY337" fmla="*/ 50405 h 651067"/>
                    <a:gd name="connsiteX338" fmla="*/ 105170 w 940276"/>
                    <a:gd name="connsiteY338" fmla="*/ 49665 h 651067"/>
                    <a:gd name="connsiteX339" fmla="*/ 106664 w 940276"/>
                    <a:gd name="connsiteY339" fmla="*/ 44152 h 651067"/>
                    <a:gd name="connsiteX340" fmla="*/ 99888 w 940276"/>
                    <a:gd name="connsiteY340" fmla="*/ 44893 h 651067"/>
                    <a:gd name="connsiteX341" fmla="*/ 98564 w 940276"/>
                    <a:gd name="connsiteY341" fmla="*/ 41978 h 651067"/>
                    <a:gd name="connsiteX342" fmla="*/ 98552 w 940276"/>
                    <a:gd name="connsiteY342" fmla="*/ 40509 h 651067"/>
                    <a:gd name="connsiteX343" fmla="*/ 99536 w 940276"/>
                    <a:gd name="connsiteY343" fmla="*/ 37012 h 651067"/>
                    <a:gd name="connsiteX344" fmla="*/ 100568 w 940276"/>
                    <a:gd name="connsiteY344" fmla="*/ 32592 h 651067"/>
                    <a:gd name="connsiteX345" fmla="*/ 102219 w 940276"/>
                    <a:gd name="connsiteY345" fmla="*/ 33770 h 651067"/>
                    <a:gd name="connsiteX346" fmla="*/ 103397 w 940276"/>
                    <a:gd name="connsiteY346" fmla="*/ 32774 h 651067"/>
                    <a:gd name="connsiteX347" fmla="*/ 103919 w 940276"/>
                    <a:gd name="connsiteY347" fmla="*/ 32555 h 651067"/>
                    <a:gd name="connsiteX348" fmla="*/ 103494 w 940276"/>
                    <a:gd name="connsiteY348" fmla="*/ 31839 h 651067"/>
                    <a:gd name="connsiteX349" fmla="*/ 103130 w 940276"/>
                    <a:gd name="connsiteY349" fmla="*/ 30442 h 651067"/>
                    <a:gd name="connsiteX350" fmla="*/ 98321 w 940276"/>
                    <a:gd name="connsiteY350" fmla="*/ 25209 h 651067"/>
                    <a:gd name="connsiteX351" fmla="*/ 96233 w 940276"/>
                    <a:gd name="connsiteY351" fmla="*/ 21287 h 651067"/>
                    <a:gd name="connsiteX352" fmla="*/ 94727 w 940276"/>
                    <a:gd name="connsiteY352" fmla="*/ 18312 h 651067"/>
                    <a:gd name="connsiteX353" fmla="*/ 101466 w 940276"/>
                    <a:gd name="connsiteY353" fmla="*/ 15701 h 651067"/>
                    <a:gd name="connsiteX354" fmla="*/ 111023 w 940276"/>
                    <a:gd name="connsiteY354" fmla="*/ 14887 h 651067"/>
                    <a:gd name="connsiteX355" fmla="*/ 115504 w 940276"/>
                    <a:gd name="connsiteY355" fmla="*/ 13564 h 651067"/>
                    <a:gd name="connsiteX356" fmla="*/ 116560 w 940276"/>
                    <a:gd name="connsiteY356" fmla="*/ 13807 h 651067"/>
                    <a:gd name="connsiteX357" fmla="*/ 118976 w 940276"/>
                    <a:gd name="connsiteY357" fmla="*/ 14620 h 651067"/>
                    <a:gd name="connsiteX358" fmla="*/ 126044 w 940276"/>
                    <a:gd name="connsiteY358" fmla="*/ 15798 h 651067"/>
                    <a:gd name="connsiteX359" fmla="*/ 130476 w 940276"/>
                    <a:gd name="connsiteY359" fmla="*/ 15567 h 651067"/>
                    <a:gd name="connsiteX360" fmla="*/ 133815 w 940276"/>
                    <a:gd name="connsiteY360" fmla="*/ 13394 h 651067"/>
                    <a:gd name="connsiteX361" fmla="*/ 143165 w 940276"/>
                    <a:gd name="connsiteY361" fmla="*/ 2125 h 651067"/>
                    <a:gd name="connsiteX362" fmla="*/ 148447 w 940276"/>
                    <a:gd name="connsiteY362" fmla="*/ 0 h 651067"/>
                    <a:gd name="connsiteX363" fmla="*/ 154519 w 940276"/>
                    <a:gd name="connsiteY363" fmla="*/ 1324 h 651067"/>
                    <a:gd name="connsiteX364" fmla="*/ 155624 w 940276"/>
                    <a:gd name="connsiteY364" fmla="*/ 6059 h 651067"/>
                    <a:gd name="connsiteX365" fmla="*/ 156741 w 940276"/>
                    <a:gd name="connsiteY365" fmla="*/ 7201 h 651067"/>
                    <a:gd name="connsiteX366" fmla="*/ 158113 w 940276"/>
                    <a:gd name="connsiteY366" fmla="*/ 7857 h 651067"/>
                    <a:gd name="connsiteX367" fmla="*/ 162873 w 940276"/>
                    <a:gd name="connsiteY367" fmla="*/ 9629 h 651067"/>
                    <a:gd name="connsiteX368" fmla="*/ 165071 w 940276"/>
                    <a:gd name="connsiteY368" fmla="*/ 12009 h 651067"/>
                    <a:gd name="connsiteX369" fmla="*/ 167014 w 940276"/>
                    <a:gd name="connsiteY369" fmla="*/ 16357 h 651067"/>
                    <a:gd name="connsiteX370" fmla="*/ 173134 w 940276"/>
                    <a:gd name="connsiteY370" fmla="*/ 15446 h 651067"/>
                    <a:gd name="connsiteX371" fmla="*/ 177275 w 940276"/>
                    <a:gd name="connsiteY371" fmla="*/ 18506 h 651067"/>
                    <a:gd name="connsiteX372" fmla="*/ 179412 w 940276"/>
                    <a:gd name="connsiteY372" fmla="*/ 22974 h 651067"/>
                    <a:gd name="connsiteX373" fmla="*/ 182690 w 940276"/>
                    <a:gd name="connsiteY373" fmla="*/ 27297 h 651067"/>
                    <a:gd name="connsiteX374" fmla="*/ 185920 w 940276"/>
                    <a:gd name="connsiteY374" fmla="*/ 29022 h 651067"/>
                    <a:gd name="connsiteX375" fmla="*/ 239410 w 940276"/>
                    <a:gd name="connsiteY375" fmla="*/ 38275 h 651067"/>
                    <a:gd name="connsiteX376" fmla="*/ 245494 w 940276"/>
                    <a:gd name="connsiteY376" fmla="*/ 42367 h 651067"/>
                    <a:gd name="connsiteX377" fmla="*/ 251055 w 940276"/>
                    <a:gd name="connsiteY377" fmla="*/ 49907 h 651067"/>
                    <a:gd name="connsiteX378" fmla="*/ 254431 w 940276"/>
                    <a:gd name="connsiteY378" fmla="*/ 57801 h 651067"/>
                    <a:gd name="connsiteX379" fmla="*/ 256362 w 940276"/>
                    <a:gd name="connsiteY379" fmla="*/ 65827 h 651067"/>
                    <a:gd name="connsiteX380" fmla="*/ 256847 w 940276"/>
                    <a:gd name="connsiteY380" fmla="*/ 74084 h 651067"/>
                    <a:gd name="connsiteX381" fmla="*/ 255791 w 940276"/>
                    <a:gd name="connsiteY381" fmla="*/ 82669 h 651067"/>
                    <a:gd name="connsiteX382" fmla="*/ 253715 w 940276"/>
                    <a:gd name="connsiteY382" fmla="*/ 87842 h 651067"/>
                    <a:gd name="connsiteX383" fmla="*/ 250861 w 940276"/>
                    <a:gd name="connsiteY383" fmla="*/ 92796 h 651067"/>
                    <a:gd name="connsiteX384" fmla="*/ 249744 w 940276"/>
                    <a:gd name="connsiteY384" fmla="*/ 96014 h 651067"/>
                    <a:gd name="connsiteX385" fmla="*/ 250327 w 940276"/>
                    <a:gd name="connsiteY385" fmla="*/ 98334 h 651067"/>
                    <a:gd name="connsiteX386" fmla="*/ 251820 w 940276"/>
                    <a:gd name="connsiteY386" fmla="*/ 99317 h 651067"/>
                    <a:gd name="connsiteX387" fmla="*/ 273459 w 940276"/>
                    <a:gd name="connsiteY387" fmla="*/ 104854 h 651067"/>
                    <a:gd name="connsiteX388" fmla="*/ 273665 w 940276"/>
                    <a:gd name="connsiteY388" fmla="*/ 104830 h 651067"/>
                    <a:gd name="connsiteX389" fmla="*/ 275535 w 940276"/>
                    <a:gd name="connsiteY389" fmla="*/ 103434 h 651067"/>
                    <a:gd name="connsiteX390" fmla="*/ 280271 w 940276"/>
                    <a:gd name="connsiteY390" fmla="*/ 101649 h 651067"/>
                    <a:gd name="connsiteX391" fmla="*/ 285286 w 940276"/>
                    <a:gd name="connsiteY391" fmla="*/ 102741 h 651067"/>
                    <a:gd name="connsiteX392" fmla="*/ 287496 w 940276"/>
                    <a:gd name="connsiteY392" fmla="*/ 106348 h 651067"/>
                    <a:gd name="connsiteX393" fmla="*/ 291333 w 940276"/>
                    <a:gd name="connsiteY393" fmla="*/ 108546 h 651067"/>
                    <a:gd name="connsiteX394" fmla="*/ 300064 w 940276"/>
                    <a:gd name="connsiteY394" fmla="*/ 111302 h 651067"/>
                    <a:gd name="connsiteX395" fmla="*/ 305455 w 940276"/>
                    <a:gd name="connsiteY395" fmla="*/ 114204 h 651067"/>
                    <a:gd name="connsiteX396" fmla="*/ 308540 w 940276"/>
                    <a:gd name="connsiteY396" fmla="*/ 118612 h 651067"/>
                    <a:gd name="connsiteX397" fmla="*/ 310082 w 940276"/>
                    <a:gd name="connsiteY397" fmla="*/ 123822 h 651067"/>
                    <a:gd name="connsiteX398" fmla="*/ 311041 w 940276"/>
                    <a:gd name="connsiteY398" fmla="*/ 125995 h 651067"/>
                    <a:gd name="connsiteX399" fmla="*/ 314417 w 940276"/>
                    <a:gd name="connsiteY399" fmla="*/ 127659 h 651067"/>
                    <a:gd name="connsiteX400" fmla="*/ 316153 w 940276"/>
                    <a:gd name="connsiteY400" fmla="*/ 128072 h 651067"/>
                    <a:gd name="connsiteX401" fmla="*/ 318181 w 940276"/>
                    <a:gd name="connsiteY401" fmla="*/ 128327 h 651067"/>
                    <a:gd name="connsiteX402" fmla="*/ 322322 w 940276"/>
                    <a:gd name="connsiteY402" fmla="*/ 130185 h 651067"/>
                    <a:gd name="connsiteX403" fmla="*/ 324180 w 940276"/>
                    <a:gd name="connsiteY403" fmla="*/ 131095 h 651067"/>
                    <a:gd name="connsiteX404" fmla="*/ 323804 w 940276"/>
                    <a:gd name="connsiteY404" fmla="*/ 135867 h 651067"/>
                    <a:gd name="connsiteX405" fmla="*/ 325431 w 940276"/>
                    <a:gd name="connsiteY405" fmla="*/ 136001 h 651067"/>
                    <a:gd name="connsiteX406" fmla="*/ 335303 w 940276"/>
                    <a:gd name="connsiteY406" fmla="*/ 132237 h 651067"/>
                    <a:gd name="connsiteX407" fmla="*/ 341071 w 940276"/>
                    <a:gd name="connsiteY407" fmla="*/ 131569 h 651067"/>
                    <a:gd name="connsiteX408" fmla="*/ 350809 w 940276"/>
                    <a:gd name="connsiteY408" fmla="*/ 135491 h 651067"/>
                    <a:gd name="connsiteX409" fmla="*/ 351635 w 940276"/>
                    <a:gd name="connsiteY409" fmla="*/ 143384 h 651067"/>
                    <a:gd name="connsiteX410" fmla="*/ 351696 w 940276"/>
                    <a:gd name="connsiteY410" fmla="*/ 149407 h 651067"/>
                    <a:gd name="connsiteX411" fmla="*/ 355727 w 940276"/>
                    <a:gd name="connsiteY411" fmla="*/ 153462 h 651067"/>
                    <a:gd name="connsiteX412" fmla="*/ 372217 w 940276"/>
                    <a:gd name="connsiteY412" fmla="*/ 157640 h 651067"/>
                    <a:gd name="connsiteX413" fmla="*/ 374221 w 940276"/>
                    <a:gd name="connsiteY413" fmla="*/ 157494 h 651067"/>
                    <a:gd name="connsiteX414" fmla="*/ 379989 w 940276"/>
                    <a:gd name="connsiteY414" fmla="*/ 155709 h 651067"/>
                    <a:gd name="connsiteX415" fmla="*/ 382114 w 940276"/>
                    <a:gd name="connsiteY415" fmla="*/ 153985 h 651067"/>
                    <a:gd name="connsiteX416" fmla="*/ 384579 w 940276"/>
                    <a:gd name="connsiteY416" fmla="*/ 150949 h 651067"/>
                    <a:gd name="connsiteX417" fmla="*/ 388878 w 940276"/>
                    <a:gd name="connsiteY417" fmla="*/ 147112 h 651067"/>
                    <a:gd name="connsiteX418" fmla="*/ 393395 w 940276"/>
                    <a:gd name="connsiteY418" fmla="*/ 147367 h 651067"/>
                    <a:gd name="connsiteX419" fmla="*/ 396613 w 940276"/>
                    <a:gd name="connsiteY419" fmla="*/ 148229 h 651067"/>
                    <a:gd name="connsiteX420" fmla="*/ 399187 w 940276"/>
                    <a:gd name="connsiteY420" fmla="*/ 147452 h 651067"/>
                    <a:gd name="connsiteX421" fmla="*/ 413649 w 940276"/>
                    <a:gd name="connsiteY421" fmla="*/ 139899 h 651067"/>
                    <a:gd name="connsiteX422" fmla="*/ 429787 w 940276"/>
                    <a:gd name="connsiteY422" fmla="*/ 133730 h 651067"/>
                    <a:gd name="connsiteX423" fmla="*/ 432823 w 940276"/>
                    <a:gd name="connsiteY423" fmla="*/ 134738 h 651067"/>
                    <a:gd name="connsiteX424" fmla="*/ 448002 w 940276"/>
                    <a:gd name="connsiteY424" fmla="*/ 142837 h 651067"/>
                    <a:gd name="connsiteX425" fmla="*/ 452009 w 940276"/>
                    <a:gd name="connsiteY425" fmla="*/ 147185 h 651067"/>
                    <a:gd name="connsiteX426" fmla="*/ 453672 w 940276"/>
                    <a:gd name="connsiteY426" fmla="*/ 154847 h 651067"/>
                    <a:gd name="connsiteX427" fmla="*/ 452349 w 940276"/>
                    <a:gd name="connsiteY427" fmla="*/ 170657 h 651067"/>
                    <a:gd name="connsiteX428" fmla="*/ 453988 w 940276"/>
                    <a:gd name="connsiteY428" fmla="*/ 175976 h 651067"/>
                    <a:gd name="connsiteX429" fmla="*/ 456283 w 940276"/>
                    <a:gd name="connsiteY429" fmla="*/ 178635 h 651067"/>
                    <a:gd name="connsiteX430" fmla="*/ 465511 w 940276"/>
                    <a:gd name="connsiteY430" fmla="*/ 185617 h 651067"/>
                    <a:gd name="connsiteX431" fmla="*/ 466556 w 940276"/>
                    <a:gd name="connsiteY431" fmla="*/ 185216 h 651067"/>
                    <a:gd name="connsiteX432" fmla="*/ 470260 w 940276"/>
                    <a:gd name="connsiteY432" fmla="*/ 184245 h 651067"/>
                    <a:gd name="connsiteX433" fmla="*/ 473647 w 940276"/>
                    <a:gd name="connsiteY433" fmla="*/ 187196 h 651067"/>
                    <a:gd name="connsiteX434" fmla="*/ 474267 w 940276"/>
                    <a:gd name="connsiteY434" fmla="*/ 189831 h 651067"/>
                    <a:gd name="connsiteX435" fmla="*/ 474327 w 940276"/>
                    <a:gd name="connsiteY435" fmla="*/ 191713 h 651067"/>
                    <a:gd name="connsiteX436" fmla="*/ 475542 w 940276"/>
                    <a:gd name="connsiteY436" fmla="*/ 191518 h 651067"/>
                    <a:gd name="connsiteX437" fmla="*/ 478614 w 940276"/>
                    <a:gd name="connsiteY437" fmla="*/ 189588 h 651067"/>
                    <a:gd name="connsiteX438" fmla="*/ 490963 w 940276"/>
                    <a:gd name="connsiteY438" fmla="*/ 179218 h 651067"/>
                    <a:gd name="connsiteX439" fmla="*/ 495250 w 940276"/>
                    <a:gd name="connsiteY439" fmla="*/ 176753 h 651067"/>
                    <a:gd name="connsiteX440" fmla="*/ 500289 w 940276"/>
                    <a:gd name="connsiteY440" fmla="*/ 176230 h 651067"/>
                    <a:gd name="connsiteX441" fmla="*/ 507295 w 940276"/>
                    <a:gd name="connsiteY441" fmla="*/ 174033 h 651067"/>
                    <a:gd name="connsiteX442" fmla="*/ 513877 w 940276"/>
                    <a:gd name="connsiteY442" fmla="*/ 176121 h 651067"/>
                    <a:gd name="connsiteX443" fmla="*/ 527501 w 940276"/>
                    <a:gd name="connsiteY443" fmla="*/ 184221 h 651067"/>
                    <a:gd name="connsiteX444" fmla="*/ 528522 w 940276"/>
                    <a:gd name="connsiteY444" fmla="*/ 185058 h 651067"/>
                    <a:gd name="connsiteX445" fmla="*/ 532103 w 940276"/>
                    <a:gd name="connsiteY445" fmla="*/ 184828 h 651067"/>
                    <a:gd name="connsiteX446" fmla="*/ 534617 w 940276"/>
                    <a:gd name="connsiteY446" fmla="*/ 185143 h 651067"/>
                    <a:gd name="connsiteX447" fmla="*/ 537434 w 940276"/>
                    <a:gd name="connsiteY447" fmla="*/ 185945 h 651067"/>
                    <a:gd name="connsiteX448" fmla="*/ 539292 w 940276"/>
                    <a:gd name="connsiteY448" fmla="*/ 186856 h 651067"/>
                    <a:gd name="connsiteX449" fmla="*/ 541089 w 940276"/>
                    <a:gd name="connsiteY449" fmla="*/ 188434 h 651067"/>
                    <a:gd name="connsiteX450" fmla="*/ 541721 w 940276"/>
                    <a:gd name="connsiteY450" fmla="*/ 188556 h 651067"/>
                    <a:gd name="connsiteX451" fmla="*/ 542352 w 940276"/>
                    <a:gd name="connsiteY451" fmla="*/ 188361 h 651067"/>
                    <a:gd name="connsiteX452" fmla="*/ 545789 w 940276"/>
                    <a:gd name="connsiteY452" fmla="*/ 186103 h 651067"/>
                    <a:gd name="connsiteX453" fmla="*/ 553572 w 940276"/>
                    <a:gd name="connsiteY453" fmla="*/ 183480 h 651067"/>
                    <a:gd name="connsiteX454" fmla="*/ 558041 w 940276"/>
                    <a:gd name="connsiteY454" fmla="*/ 182776 h 651067"/>
                    <a:gd name="connsiteX455" fmla="*/ 563226 w 940276"/>
                    <a:gd name="connsiteY455" fmla="*/ 183565 h 651067"/>
                    <a:gd name="connsiteX456" fmla="*/ 566006 w 940276"/>
                    <a:gd name="connsiteY456" fmla="*/ 186491 h 651067"/>
                    <a:gd name="connsiteX457" fmla="*/ 566116 w 940276"/>
                    <a:gd name="connsiteY457" fmla="*/ 189175 h 651067"/>
                    <a:gd name="connsiteX458" fmla="*/ 569406 w 940276"/>
                    <a:gd name="connsiteY458" fmla="*/ 188653 h 651067"/>
                    <a:gd name="connsiteX459" fmla="*/ 571459 w 940276"/>
                    <a:gd name="connsiteY459" fmla="*/ 188629 h 651067"/>
                    <a:gd name="connsiteX460" fmla="*/ 578101 w 940276"/>
                    <a:gd name="connsiteY460" fmla="*/ 190802 h 651067"/>
                    <a:gd name="connsiteX461" fmla="*/ 589977 w 940276"/>
                    <a:gd name="connsiteY461" fmla="*/ 196934 h 651067"/>
                    <a:gd name="connsiteX462" fmla="*/ 595429 w 940276"/>
                    <a:gd name="connsiteY462" fmla="*/ 199035 h 651067"/>
                    <a:gd name="connsiteX463" fmla="*/ 598659 w 940276"/>
                    <a:gd name="connsiteY463" fmla="*/ 199751 h 651067"/>
                    <a:gd name="connsiteX464" fmla="*/ 602350 w 940276"/>
                    <a:gd name="connsiteY464" fmla="*/ 201573 h 651067"/>
                    <a:gd name="connsiteX465" fmla="*/ 605471 w 940276"/>
                    <a:gd name="connsiteY465" fmla="*/ 204159 h 651067"/>
                    <a:gd name="connsiteX466" fmla="*/ 608300 w 940276"/>
                    <a:gd name="connsiteY466" fmla="*/ 207341 h 651067"/>
                    <a:gd name="connsiteX467" fmla="*/ 611300 w 940276"/>
                    <a:gd name="connsiteY467" fmla="*/ 208895 h 651067"/>
                    <a:gd name="connsiteX468" fmla="*/ 623674 w 940276"/>
                    <a:gd name="connsiteY468" fmla="*/ 214311 h 651067"/>
                    <a:gd name="connsiteX469" fmla="*/ 637079 w 940276"/>
                    <a:gd name="connsiteY469" fmla="*/ 222143 h 651067"/>
                    <a:gd name="connsiteX470" fmla="*/ 638160 w 940276"/>
                    <a:gd name="connsiteY470" fmla="*/ 222301 h 651067"/>
                    <a:gd name="connsiteX471" fmla="*/ 638573 w 940276"/>
                    <a:gd name="connsiteY471" fmla="*/ 221997 h 651067"/>
                    <a:gd name="connsiteX472" fmla="*/ 639532 w 940276"/>
                    <a:gd name="connsiteY472" fmla="*/ 220200 h 651067"/>
                    <a:gd name="connsiteX473" fmla="*/ 641839 w 940276"/>
                    <a:gd name="connsiteY473" fmla="*/ 216788 h 651067"/>
                    <a:gd name="connsiteX474" fmla="*/ 646526 w 940276"/>
                    <a:gd name="connsiteY474" fmla="*/ 216144 h 651067"/>
                    <a:gd name="connsiteX475" fmla="*/ 653897 w 940276"/>
                    <a:gd name="connsiteY475" fmla="*/ 218937 h 651067"/>
                    <a:gd name="connsiteX476" fmla="*/ 654334 w 940276"/>
                    <a:gd name="connsiteY476" fmla="*/ 218986 h 651067"/>
                    <a:gd name="connsiteX477" fmla="*/ 658487 w 940276"/>
                    <a:gd name="connsiteY477" fmla="*/ 217832 h 651067"/>
                    <a:gd name="connsiteX478" fmla="*/ 662300 w 940276"/>
                    <a:gd name="connsiteY478" fmla="*/ 215270 h 651067"/>
                    <a:gd name="connsiteX479" fmla="*/ 665287 w 940276"/>
                    <a:gd name="connsiteY479" fmla="*/ 211809 h 651067"/>
                    <a:gd name="connsiteX480" fmla="*/ 666999 w 940276"/>
                    <a:gd name="connsiteY480" fmla="*/ 207219 h 651067"/>
                    <a:gd name="connsiteX481" fmla="*/ 673775 w 940276"/>
                    <a:gd name="connsiteY481" fmla="*/ 203346 h 651067"/>
                    <a:gd name="connsiteX482" fmla="*/ 686549 w 940276"/>
                    <a:gd name="connsiteY482" fmla="*/ 198998 h 651067"/>
                    <a:gd name="connsiteX483" fmla="*/ 688153 w 940276"/>
                    <a:gd name="connsiteY483" fmla="*/ 197663 h 651067"/>
                    <a:gd name="connsiteX484" fmla="*/ 693459 w 940276"/>
                    <a:gd name="connsiteY484" fmla="*/ 192296 h 651067"/>
                    <a:gd name="connsiteX485" fmla="*/ 697175 w 940276"/>
                    <a:gd name="connsiteY485" fmla="*/ 189260 h 651067"/>
                    <a:gd name="connsiteX486" fmla="*/ 703088 w 940276"/>
                    <a:gd name="connsiteY486" fmla="*/ 189029 h 651067"/>
                    <a:gd name="connsiteX487" fmla="*/ 704060 w 940276"/>
                    <a:gd name="connsiteY487" fmla="*/ 195526 h 651067"/>
                    <a:gd name="connsiteX488" fmla="*/ 704157 w 940276"/>
                    <a:gd name="connsiteY488" fmla="*/ 199351 h 651067"/>
                    <a:gd name="connsiteX489" fmla="*/ 706100 w 940276"/>
                    <a:gd name="connsiteY489" fmla="*/ 208021 h 651067"/>
                    <a:gd name="connsiteX490" fmla="*/ 708091 w 940276"/>
                    <a:gd name="connsiteY490" fmla="*/ 214299 h 651067"/>
                    <a:gd name="connsiteX491" fmla="*/ 711090 w 940276"/>
                    <a:gd name="connsiteY491" fmla="*/ 220686 h 651067"/>
                    <a:gd name="connsiteX492" fmla="*/ 714515 w 940276"/>
                    <a:gd name="connsiteY492" fmla="*/ 224924 h 651067"/>
                    <a:gd name="connsiteX493" fmla="*/ 718485 w 940276"/>
                    <a:gd name="connsiteY493" fmla="*/ 226490 h 651067"/>
                    <a:gd name="connsiteX494" fmla="*/ 727714 w 940276"/>
                    <a:gd name="connsiteY494" fmla="*/ 225494 h 651067"/>
                    <a:gd name="connsiteX495" fmla="*/ 734611 w 940276"/>
                    <a:gd name="connsiteY495" fmla="*/ 223394 h 651067"/>
                    <a:gd name="connsiteX496" fmla="*/ 738315 w 940276"/>
                    <a:gd name="connsiteY496" fmla="*/ 226915 h 651067"/>
                    <a:gd name="connsiteX497" fmla="*/ 739821 w 940276"/>
                    <a:gd name="connsiteY497" fmla="*/ 230667 h 651067"/>
                    <a:gd name="connsiteX498" fmla="*/ 740828 w 940276"/>
                    <a:gd name="connsiteY498" fmla="*/ 232124 h 651067"/>
                    <a:gd name="connsiteX499" fmla="*/ 742735 w 940276"/>
                    <a:gd name="connsiteY499" fmla="*/ 233242 h 651067"/>
                    <a:gd name="connsiteX500" fmla="*/ 750288 w 940276"/>
                    <a:gd name="connsiteY500" fmla="*/ 236496 h 651067"/>
                    <a:gd name="connsiteX501" fmla="*/ 750652 w 940276"/>
                    <a:gd name="connsiteY501" fmla="*/ 236545 h 651067"/>
                    <a:gd name="connsiteX502" fmla="*/ 751429 w 940276"/>
                    <a:gd name="connsiteY502" fmla="*/ 235889 h 651067"/>
                    <a:gd name="connsiteX503" fmla="*/ 754659 w 940276"/>
                    <a:gd name="connsiteY503" fmla="*/ 229222 h 651067"/>
                    <a:gd name="connsiteX504" fmla="*/ 757173 w 940276"/>
                    <a:gd name="connsiteY504" fmla="*/ 225834 h 651067"/>
                    <a:gd name="connsiteX505" fmla="*/ 763208 w 940276"/>
                    <a:gd name="connsiteY505" fmla="*/ 222046 h 651067"/>
                    <a:gd name="connsiteX506" fmla="*/ 770044 w 940276"/>
                    <a:gd name="connsiteY506" fmla="*/ 220066 h 651067"/>
                    <a:gd name="connsiteX507" fmla="*/ 776869 w 940276"/>
                    <a:gd name="connsiteY507" fmla="*/ 219629 h 651067"/>
                    <a:gd name="connsiteX508" fmla="*/ 783329 w 940276"/>
                    <a:gd name="connsiteY508" fmla="*/ 220734 h 651067"/>
                    <a:gd name="connsiteX509" fmla="*/ 797730 w 940276"/>
                    <a:gd name="connsiteY509" fmla="*/ 228433 h 651067"/>
                    <a:gd name="connsiteX510" fmla="*/ 802551 w 940276"/>
                    <a:gd name="connsiteY510" fmla="*/ 229635 h 651067"/>
                    <a:gd name="connsiteX511" fmla="*/ 808574 w 940276"/>
                    <a:gd name="connsiteY511" fmla="*/ 227049 h 651067"/>
                    <a:gd name="connsiteX512" fmla="*/ 814585 w 940276"/>
                    <a:gd name="connsiteY512" fmla="*/ 222483 h 651067"/>
                    <a:gd name="connsiteX513" fmla="*/ 820778 w 940276"/>
                    <a:gd name="connsiteY513" fmla="*/ 220261 h 651067"/>
                    <a:gd name="connsiteX514" fmla="*/ 824955 w 940276"/>
                    <a:gd name="connsiteY514" fmla="*/ 222459 h 651067"/>
                    <a:gd name="connsiteX515" fmla="*/ 827262 w 940276"/>
                    <a:gd name="connsiteY515" fmla="*/ 224377 h 651067"/>
                    <a:gd name="connsiteX516" fmla="*/ 828634 w 940276"/>
                    <a:gd name="connsiteY516" fmla="*/ 224535 h 651067"/>
                    <a:gd name="connsiteX517" fmla="*/ 829581 w 940276"/>
                    <a:gd name="connsiteY517" fmla="*/ 224074 h 651067"/>
                    <a:gd name="connsiteX518" fmla="*/ 830431 w 940276"/>
                    <a:gd name="connsiteY518" fmla="*/ 222046 h 651067"/>
                    <a:gd name="connsiteX519" fmla="*/ 832034 w 940276"/>
                    <a:gd name="connsiteY519" fmla="*/ 216679 h 651067"/>
                    <a:gd name="connsiteX520" fmla="*/ 836867 w 940276"/>
                    <a:gd name="connsiteY520" fmla="*/ 214821 h 651067"/>
                    <a:gd name="connsiteX521" fmla="*/ 841129 w 940276"/>
                    <a:gd name="connsiteY521" fmla="*/ 216290 h 651067"/>
                    <a:gd name="connsiteX522" fmla="*/ 844286 w 940276"/>
                    <a:gd name="connsiteY522" fmla="*/ 217869 h 651067"/>
                    <a:gd name="connsiteX523" fmla="*/ 845707 w 940276"/>
                    <a:gd name="connsiteY523" fmla="*/ 217844 h 651067"/>
                    <a:gd name="connsiteX524" fmla="*/ 851147 w 940276"/>
                    <a:gd name="connsiteY524" fmla="*/ 213424 h 651067"/>
                    <a:gd name="connsiteX525" fmla="*/ 858372 w 940276"/>
                    <a:gd name="connsiteY525" fmla="*/ 211700 h 651067"/>
                    <a:gd name="connsiteX526" fmla="*/ 858809 w 940276"/>
                    <a:gd name="connsiteY526" fmla="*/ 214554 h 651067"/>
                    <a:gd name="connsiteX527" fmla="*/ 861250 w 940276"/>
                    <a:gd name="connsiteY527" fmla="*/ 216497 h 651067"/>
                    <a:gd name="connsiteX528" fmla="*/ 862051 w 940276"/>
                    <a:gd name="connsiteY528" fmla="*/ 216314 h 651067"/>
                    <a:gd name="connsiteX529" fmla="*/ 863630 w 940276"/>
                    <a:gd name="connsiteY529" fmla="*/ 218184 h 651067"/>
                    <a:gd name="connsiteX530" fmla="*/ 864553 w 940276"/>
                    <a:gd name="connsiteY530" fmla="*/ 219812 h 651067"/>
                    <a:gd name="connsiteX531" fmla="*/ 865974 w 940276"/>
                    <a:gd name="connsiteY531" fmla="*/ 223855 h 651067"/>
                    <a:gd name="connsiteX532" fmla="*/ 866860 w 940276"/>
                    <a:gd name="connsiteY532" fmla="*/ 225227 h 651067"/>
                    <a:gd name="connsiteX533" fmla="*/ 868961 w 940276"/>
                    <a:gd name="connsiteY533" fmla="*/ 226854 h 651067"/>
                    <a:gd name="connsiteX534" fmla="*/ 874510 w 940276"/>
                    <a:gd name="connsiteY534" fmla="*/ 230036 h 651067"/>
                    <a:gd name="connsiteX535" fmla="*/ 876696 w 940276"/>
                    <a:gd name="connsiteY535" fmla="*/ 231967 h 651067"/>
                    <a:gd name="connsiteX536" fmla="*/ 880084 w 940276"/>
                    <a:gd name="connsiteY536" fmla="*/ 231590 h 651067"/>
                    <a:gd name="connsiteX537" fmla="*/ 886459 w 940276"/>
                    <a:gd name="connsiteY537" fmla="*/ 225154 h 651067"/>
                    <a:gd name="connsiteX538" fmla="*/ 891547 w 940276"/>
                    <a:gd name="connsiteY538" fmla="*/ 216059 h 651067"/>
                    <a:gd name="connsiteX539" fmla="*/ 892579 w 940276"/>
                    <a:gd name="connsiteY539" fmla="*/ 209454 h 651067"/>
                    <a:gd name="connsiteX540" fmla="*/ 892117 w 940276"/>
                    <a:gd name="connsiteY540" fmla="*/ 207511 h 651067"/>
                    <a:gd name="connsiteX541" fmla="*/ 892239 w 940276"/>
                    <a:gd name="connsiteY541" fmla="*/ 204499 h 651067"/>
                    <a:gd name="connsiteX542" fmla="*/ 894473 w 940276"/>
                    <a:gd name="connsiteY542" fmla="*/ 196861 h 651067"/>
                    <a:gd name="connsiteX543" fmla="*/ 900569 w 940276"/>
                    <a:gd name="connsiteY543" fmla="*/ 198221 h 651067"/>
                    <a:gd name="connsiteX544" fmla="*/ 904005 w 940276"/>
                    <a:gd name="connsiteY544" fmla="*/ 199254 h 651067"/>
                    <a:gd name="connsiteX545" fmla="*/ 904612 w 940276"/>
                    <a:gd name="connsiteY545" fmla="*/ 198998 h 651067"/>
                    <a:gd name="connsiteX546" fmla="*/ 907757 w 940276"/>
                    <a:gd name="connsiteY546" fmla="*/ 198246 h 651067"/>
                    <a:gd name="connsiteX547" fmla="*/ 916561 w 940276"/>
                    <a:gd name="connsiteY547" fmla="*/ 195161 h 651067"/>
                    <a:gd name="connsiteX548" fmla="*/ 920860 w 940276"/>
                    <a:gd name="connsiteY548" fmla="*/ 196303 h 651067"/>
                    <a:gd name="connsiteX549" fmla="*/ 922025 w 940276"/>
                    <a:gd name="connsiteY549" fmla="*/ 200358 h 651067"/>
                    <a:gd name="connsiteX550" fmla="*/ 919973 w 940276"/>
                    <a:gd name="connsiteY550" fmla="*/ 206709 h 651067"/>
                    <a:gd name="connsiteX551" fmla="*/ 919937 w 940276"/>
                    <a:gd name="connsiteY551" fmla="*/ 207256 h 651067"/>
                    <a:gd name="connsiteX552" fmla="*/ 921394 w 940276"/>
                    <a:gd name="connsiteY552" fmla="*/ 208300 h 651067"/>
                    <a:gd name="connsiteX553" fmla="*/ 922280 w 940276"/>
                    <a:gd name="connsiteY553" fmla="*/ 208664 h 651067"/>
                    <a:gd name="connsiteX554" fmla="*/ 923932 w 940276"/>
                    <a:gd name="connsiteY554" fmla="*/ 209138 h 651067"/>
                    <a:gd name="connsiteX555" fmla="*/ 926640 w 940276"/>
                    <a:gd name="connsiteY555" fmla="*/ 211020 h 651067"/>
                    <a:gd name="connsiteX556" fmla="*/ 933148 w 940276"/>
                    <a:gd name="connsiteY556" fmla="*/ 217359 h 651067"/>
                    <a:gd name="connsiteX557" fmla="*/ 934885 w 940276"/>
                    <a:gd name="connsiteY557" fmla="*/ 219459 h 651067"/>
                    <a:gd name="connsiteX558" fmla="*/ 936828 w 940276"/>
                    <a:gd name="connsiteY558" fmla="*/ 223005 h 651067"/>
                    <a:gd name="connsiteX559" fmla="*/ 934630 w 940276"/>
                    <a:gd name="connsiteY559" fmla="*/ 225810 h 651067"/>
                    <a:gd name="connsiteX560" fmla="*/ 933610 w 940276"/>
                    <a:gd name="connsiteY560" fmla="*/ 226624 h 651067"/>
                    <a:gd name="connsiteX561" fmla="*/ 931230 w 940276"/>
                    <a:gd name="connsiteY561" fmla="*/ 227935 h 651067"/>
                    <a:gd name="connsiteX562" fmla="*/ 933658 w 940276"/>
                    <a:gd name="connsiteY562" fmla="*/ 228906 h 651067"/>
                    <a:gd name="connsiteX563" fmla="*/ 936536 w 940276"/>
                    <a:gd name="connsiteY563" fmla="*/ 230485 h 651067"/>
                    <a:gd name="connsiteX564" fmla="*/ 938685 w 940276"/>
                    <a:gd name="connsiteY564" fmla="*/ 232647 h 651067"/>
                    <a:gd name="connsiteX565" fmla="*/ 940276 w 940276"/>
                    <a:gd name="connsiteY565" fmla="*/ 235816 h 651067"/>
                    <a:gd name="connsiteX566" fmla="*/ 940276 w 940276"/>
                    <a:gd name="connsiteY566" fmla="*/ 238111 h 651067"/>
                    <a:gd name="connsiteX567" fmla="*/ 939936 w 940276"/>
                    <a:gd name="connsiteY567" fmla="*/ 240552 h 651067"/>
                    <a:gd name="connsiteX568" fmla="*/ 939317 w 940276"/>
                    <a:gd name="connsiteY568" fmla="*/ 241936 h 651067"/>
                    <a:gd name="connsiteX569" fmla="*/ 938710 w 940276"/>
                    <a:gd name="connsiteY569" fmla="*/ 242555 h 651067"/>
                    <a:gd name="connsiteX570" fmla="*/ 936779 w 940276"/>
                    <a:gd name="connsiteY570" fmla="*/ 244182 h 651067"/>
                    <a:gd name="connsiteX571" fmla="*/ 935140 w 940276"/>
                    <a:gd name="connsiteY571" fmla="*/ 244510 h 651067"/>
                    <a:gd name="connsiteX572" fmla="*/ 932153 w 940276"/>
                    <a:gd name="connsiteY572" fmla="*/ 244534 h 651067"/>
                    <a:gd name="connsiteX573" fmla="*/ 930283 w 940276"/>
                    <a:gd name="connsiteY573" fmla="*/ 244935 h 651067"/>
                    <a:gd name="connsiteX574" fmla="*/ 928704 w 940276"/>
                    <a:gd name="connsiteY574" fmla="*/ 245846 h 651067"/>
                    <a:gd name="connsiteX575" fmla="*/ 923652 w 940276"/>
                    <a:gd name="connsiteY575" fmla="*/ 250812 h 651067"/>
                    <a:gd name="connsiteX576" fmla="*/ 920945 w 940276"/>
                    <a:gd name="connsiteY576" fmla="*/ 252452 h 651067"/>
                    <a:gd name="connsiteX577" fmla="*/ 914958 w 940276"/>
                    <a:gd name="connsiteY577" fmla="*/ 254334 h 651067"/>
                    <a:gd name="connsiteX578" fmla="*/ 913392 w 940276"/>
                    <a:gd name="connsiteY578" fmla="*/ 255597 h 651067"/>
                    <a:gd name="connsiteX579" fmla="*/ 911303 w 940276"/>
                    <a:gd name="connsiteY579" fmla="*/ 257661 h 651067"/>
                    <a:gd name="connsiteX580" fmla="*/ 904795 w 940276"/>
                    <a:gd name="connsiteY580" fmla="*/ 265250 h 651067"/>
                    <a:gd name="connsiteX581" fmla="*/ 900569 w 940276"/>
                    <a:gd name="connsiteY581" fmla="*/ 268748 h 651067"/>
                    <a:gd name="connsiteX582" fmla="*/ 897497 w 940276"/>
                    <a:gd name="connsiteY582" fmla="*/ 272123 h 651067"/>
                    <a:gd name="connsiteX583" fmla="*/ 894619 w 940276"/>
                    <a:gd name="connsiteY583" fmla="*/ 274127 h 651067"/>
                    <a:gd name="connsiteX584" fmla="*/ 890369 w 940276"/>
                    <a:gd name="connsiteY584" fmla="*/ 275973 h 651067"/>
                    <a:gd name="connsiteX585" fmla="*/ 889069 w 940276"/>
                    <a:gd name="connsiteY585" fmla="*/ 276920 h 651067"/>
                    <a:gd name="connsiteX586" fmla="*/ 885536 w 940276"/>
                    <a:gd name="connsiteY586" fmla="*/ 280599 h 651067"/>
                    <a:gd name="connsiteX587" fmla="*/ 882670 w 940276"/>
                    <a:gd name="connsiteY587" fmla="*/ 282056 h 651067"/>
                    <a:gd name="connsiteX588" fmla="*/ 880581 w 940276"/>
                    <a:gd name="connsiteY588" fmla="*/ 282457 h 651067"/>
                    <a:gd name="connsiteX589" fmla="*/ 878420 w 940276"/>
                    <a:gd name="connsiteY589" fmla="*/ 282275 h 651067"/>
                    <a:gd name="connsiteX590" fmla="*/ 877813 w 940276"/>
                    <a:gd name="connsiteY590" fmla="*/ 282275 h 651067"/>
                    <a:gd name="connsiteX591" fmla="*/ 876732 w 940276"/>
                    <a:gd name="connsiteY591" fmla="*/ 283246 h 651067"/>
                    <a:gd name="connsiteX592" fmla="*/ 870770 w 940276"/>
                    <a:gd name="connsiteY592" fmla="*/ 290787 h 651067"/>
                    <a:gd name="connsiteX593" fmla="*/ 857194 w 940276"/>
                    <a:gd name="connsiteY593" fmla="*/ 301291 h 651067"/>
                    <a:gd name="connsiteX594" fmla="*/ 852313 w 940276"/>
                    <a:gd name="connsiteY594" fmla="*/ 306391 h 651067"/>
                    <a:gd name="connsiteX595" fmla="*/ 851196 w 940276"/>
                    <a:gd name="connsiteY595" fmla="*/ 308273 h 651067"/>
                    <a:gd name="connsiteX596" fmla="*/ 851147 w 940276"/>
                    <a:gd name="connsiteY596" fmla="*/ 309329 h 651067"/>
                    <a:gd name="connsiteX597" fmla="*/ 851390 w 940276"/>
                    <a:gd name="connsiteY597" fmla="*/ 311284 h 651067"/>
                    <a:gd name="connsiteX598" fmla="*/ 851086 w 940276"/>
                    <a:gd name="connsiteY598" fmla="*/ 314053 h 651067"/>
                    <a:gd name="connsiteX599" fmla="*/ 850224 w 940276"/>
                    <a:gd name="connsiteY599" fmla="*/ 316566 h 651067"/>
                    <a:gd name="connsiteX600" fmla="*/ 848816 w 940276"/>
                    <a:gd name="connsiteY600" fmla="*/ 322347 h 651067"/>
                    <a:gd name="connsiteX601" fmla="*/ 848245 w 940276"/>
                    <a:gd name="connsiteY601" fmla="*/ 323646 h 651067"/>
                    <a:gd name="connsiteX602" fmla="*/ 847626 w 940276"/>
                    <a:gd name="connsiteY602" fmla="*/ 324289 h 651067"/>
                    <a:gd name="connsiteX603" fmla="*/ 845549 w 940276"/>
                    <a:gd name="connsiteY603" fmla="*/ 326026 h 651067"/>
                    <a:gd name="connsiteX604" fmla="*/ 843631 w 940276"/>
                    <a:gd name="connsiteY604" fmla="*/ 326487 h 651067"/>
                    <a:gd name="connsiteX605" fmla="*/ 843291 w 940276"/>
                    <a:gd name="connsiteY605" fmla="*/ 327289 h 651067"/>
                    <a:gd name="connsiteX606" fmla="*/ 844347 w 940276"/>
                    <a:gd name="connsiteY606" fmla="*/ 328612 h 651067"/>
                    <a:gd name="connsiteX607" fmla="*/ 844978 w 940276"/>
                    <a:gd name="connsiteY607" fmla="*/ 329924 h 651067"/>
                    <a:gd name="connsiteX608" fmla="*/ 845403 w 940276"/>
                    <a:gd name="connsiteY608" fmla="*/ 331587 h 651067"/>
                    <a:gd name="connsiteX609" fmla="*/ 846132 w 940276"/>
                    <a:gd name="connsiteY609" fmla="*/ 332194 h 651067"/>
                    <a:gd name="connsiteX610" fmla="*/ 848913 w 940276"/>
                    <a:gd name="connsiteY610" fmla="*/ 333676 h 651067"/>
                    <a:gd name="connsiteX611" fmla="*/ 854304 w 940276"/>
                    <a:gd name="connsiteY611" fmla="*/ 336117 h 651067"/>
                    <a:gd name="connsiteX612" fmla="*/ 857194 w 940276"/>
                    <a:gd name="connsiteY612" fmla="*/ 337877 h 651067"/>
                    <a:gd name="connsiteX613" fmla="*/ 860060 w 940276"/>
                    <a:gd name="connsiteY613" fmla="*/ 342807 h 651067"/>
                    <a:gd name="connsiteX614" fmla="*/ 861481 w 940276"/>
                    <a:gd name="connsiteY614" fmla="*/ 344349 h 651067"/>
                    <a:gd name="connsiteX615" fmla="*/ 862756 w 940276"/>
                    <a:gd name="connsiteY615" fmla="*/ 346487 h 651067"/>
                    <a:gd name="connsiteX616" fmla="*/ 863982 w 940276"/>
                    <a:gd name="connsiteY616" fmla="*/ 350773 h 651067"/>
                    <a:gd name="connsiteX617" fmla="*/ 865051 w 940276"/>
                    <a:gd name="connsiteY617" fmla="*/ 352898 h 651067"/>
                    <a:gd name="connsiteX618" fmla="*/ 865961 w 940276"/>
                    <a:gd name="connsiteY618" fmla="*/ 354052 h 651067"/>
                    <a:gd name="connsiteX619" fmla="*/ 869786 w 940276"/>
                    <a:gd name="connsiteY619" fmla="*/ 356492 h 651067"/>
                    <a:gd name="connsiteX620" fmla="*/ 871560 w 940276"/>
                    <a:gd name="connsiteY620" fmla="*/ 359395 h 651067"/>
                    <a:gd name="connsiteX621" fmla="*/ 882379 w 940276"/>
                    <a:gd name="connsiteY621" fmla="*/ 363924 h 651067"/>
                    <a:gd name="connsiteX622" fmla="*/ 888232 w 940276"/>
                    <a:gd name="connsiteY622" fmla="*/ 368210 h 651067"/>
                    <a:gd name="connsiteX623" fmla="*/ 890782 w 940276"/>
                    <a:gd name="connsiteY623" fmla="*/ 371513 h 651067"/>
                    <a:gd name="connsiteX624" fmla="*/ 891814 w 940276"/>
                    <a:gd name="connsiteY624" fmla="*/ 374185 h 651067"/>
                    <a:gd name="connsiteX625" fmla="*/ 892737 w 940276"/>
                    <a:gd name="connsiteY625" fmla="*/ 379260 h 651067"/>
                    <a:gd name="connsiteX626" fmla="*/ 893623 w 940276"/>
                    <a:gd name="connsiteY626" fmla="*/ 382685 h 651067"/>
                    <a:gd name="connsiteX627" fmla="*/ 893890 w 940276"/>
                    <a:gd name="connsiteY627" fmla="*/ 384130 h 651067"/>
                    <a:gd name="connsiteX628" fmla="*/ 893939 w 940276"/>
                    <a:gd name="connsiteY628" fmla="*/ 386109 h 651067"/>
                    <a:gd name="connsiteX629" fmla="*/ 893052 w 940276"/>
                    <a:gd name="connsiteY629" fmla="*/ 392448 h 651067"/>
                    <a:gd name="connsiteX630" fmla="*/ 891486 w 940276"/>
                    <a:gd name="connsiteY630" fmla="*/ 398349 h 651067"/>
                    <a:gd name="connsiteX631" fmla="*/ 891474 w 940276"/>
                    <a:gd name="connsiteY631" fmla="*/ 398628 h 651067"/>
                    <a:gd name="connsiteX632" fmla="*/ 892130 w 940276"/>
                    <a:gd name="connsiteY632" fmla="*/ 399551 h 651067"/>
                    <a:gd name="connsiteX633" fmla="*/ 893429 w 940276"/>
                    <a:gd name="connsiteY633" fmla="*/ 400790 h 651067"/>
                    <a:gd name="connsiteX634" fmla="*/ 894704 w 940276"/>
                    <a:gd name="connsiteY634" fmla="*/ 402551 h 651067"/>
                    <a:gd name="connsiteX635" fmla="*/ 895238 w 940276"/>
                    <a:gd name="connsiteY635" fmla="*/ 403789 h 651067"/>
                    <a:gd name="connsiteX636" fmla="*/ 895542 w 940276"/>
                    <a:gd name="connsiteY636" fmla="*/ 407578 h 651067"/>
                    <a:gd name="connsiteX637" fmla="*/ 896489 w 940276"/>
                    <a:gd name="connsiteY637" fmla="*/ 414426 h 651067"/>
                    <a:gd name="connsiteX638" fmla="*/ 880836 w 940276"/>
                    <a:gd name="connsiteY638" fmla="*/ 411694 h 651067"/>
                    <a:gd name="connsiteX639" fmla="*/ 875542 w 940276"/>
                    <a:gd name="connsiteY639" fmla="*/ 409411 h 651067"/>
                    <a:gd name="connsiteX640" fmla="*/ 875433 w 940276"/>
                    <a:gd name="connsiteY640" fmla="*/ 407031 h 651067"/>
                    <a:gd name="connsiteX641" fmla="*/ 873708 w 940276"/>
                    <a:gd name="connsiteY641" fmla="*/ 405671 h 651067"/>
                    <a:gd name="connsiteX642" fmla="*/ 872604 w 940276"/>
                    <a:gd name="connsiteY642" fmla="*/ 405404 h 651067"/>
                    <a:gd name="connsiteX643" fmla="*/ 871316 w 940276"/>
                    <a:gd name="connsiteY643" fmla="*/ 406327 h 651067"/>
                    <a:gd name="connsiteX644" fmla="*/ 867273 w 940276"/>
                    <a:gd name="connsiteY644" fmla="*/ 408695 h 651067"/>
                    <a:gd name="connsiteX645" fmla="*/ 859708 w 940276"/>
                    <a:gd name="connsiteY645" fmla="*/ 411111 h 651067"/>
                    <a:gd name="connsiteX646" fmla="*/ 858421 w 940276"/>
                    <a:gd name="connsiteY646" fmla="*/ 413273 h 651067"/>
                    <a:gd name="connsiteX647" fmla="*/ 856963 w 940276"/>
                    <a:gd name="connsiteY647" fmla="*/ 415131 h 651067"/>
                    <a:gd name="connsiteX648" fmla="*/ 853721 w 940276"/>
                    <a:gd name="connsiteY648" fmla="*/ 417316 h 651067"/>
                    <a:gd name="connsiteX649" fmla="*/ 847698 w 940276"/>
                    <a:gd name="connsiteY649" fmla="*/ 420207 h 651067"/>
                    <a:gd name="connsiteX650" fmla="*/ 841165 w 940276"/>
                    <a:gd name="connsiteY650" fmla="*/ 422587 h 651067"/>
                    <a:gd name="connsiteX651" fmla="*/ 839696 w 940276"/>
                    <a:gd name="connsiteY651" fmla="*/ 423461 h 651067"/>
                    <a:gd name="connsiteX652" fmla="*/ 839684 w 940276"/>
                    <a:gd name="connsiteY652" fmla="*/ 423813 h 651067"/>
                    <a:gd name="connsiteX653" fmla="*/ 839563 w 940276"/>
                    <a:gd name="connsiteY653" fmla="*/ 424250 h 651067"/>
                    <a:gd name="connsiteX654" fmla="*/ 839138 w 940276"/>
                    <a:gd name="connsiteY654" fmla="*/ 425294 h 651067"/>
                    <a:gd name="connsiteX655" fmla="*/ 838191 w 940276"/>
                    <a:gd name="connsiteY655" fmla="*/ 426642 h 651067"/>
                    <a:gd name="connsiteX656" fmla="*/ 837268 w 940276"/>
                    <a:gd name="connsiteY656" fmla="*/ 427541 h 651067"/>
                    <a:gd name="connsiteX657" fmla="*/ 836843 w 940276"/>
                    <a:gd name="connsiteY657" fmla="*/ 427844 h 651067"/>
                    <a:gd name="connsiteX658" fmla="*/ 837353 w 940276"/>
                    <a:gd name="connsiteY658" fmla="*/ 428233 h 651067"/>
                    <a:gd name="connsiteX659" fmla="*/ 838616 w 940276"/>
                    <a:gd name="connsiteY659" fmla="*/ 429909 h 651067"/>
                    <a:gd name="connsiteX660" fmla="*/ 839259 w 940276"/>
                    <a:gd name="connsiteY660" fmla="*/ 431256 h 651067"/>
                    <a:gd name="connsiteX661" fmla="*/ 839624 w 940276"/>
                    <a:gd name="connsiteY661" fmla="*/ 432313 h 651067"/>
                    <a:gd name="connsiteX662" fmla="*/ 840036 w 940276"/>
                    <a:gd name="connsiteY662" fmla="*/ 432179 h 651067"/>
                    <a:gd name="connsiteX663" fmla="*/ 841117 w 940276"/>
                    <a:gd name="connsiteY663" fmla="*/ 432082 h 651067"/>
                    <a:gd name="connsiteX664" fmla="*/ 844177 w 940276"/>
                    <a:gd name="connsiteY664" fmla="*/ 433114 h 651067"/>
                    <a:gd name="connsiteX665" fmla="*/ 845076 w 940276"/>
                    <a:gd name="connsiteY665" fmla="*/ 434061 h 651067"/>
                    <a:gd name="connsiteX666" fmla="*/ 846569 w 940276"/>
                    <a:gd name="connsiteY666" fmla="*/ 436284 h 651067"/>
                    <a:gd name="connsiteX667" fmla="*/ 847626 w 940276"/>
                    <a:gd name="connsiteY667" fmla="*/ 437547 h 651067"/>
                    <a:gd name="connsiteX668" fmla="*/ 848621 w 940276"/>
                    <a:gd name="connsiteY668" fmla="*/ 439417 h 651067"/>
                    <a:gd name="connsiteX669" fmla="*/ 849690 w 940276"/>
                    <a:gd name="connsiteY669" fmla="*/ 443667 h 651067"/>
                    <a:gd name="connsiteX670" fmla="*/ 851098 w 940276"/>
                    <a:gd name="connsiteY670" fmla="*/ 447455 h 651067"/>
                    <a:gd name="connsiteX671" fmla="*/ 853163 w 940276"/>
                    <a:gd name="connsiteY671" fmla="*/ 450467 h 651067"/>
                    <a:gd name="connsiteX672" fmla="*/ 852883 w 940276"/>
                    <a:gd name="connsiteY672" fmla="*/ 454364 h 651067"/>
                    <a:gd name="connsiteX673" fmla="*/ 848500 w 940276"/>
                    <a:gd name="connsiteY673" fmla="*/ 461237 h 651067"/>
                    <a:gd name="connsiteX674" fmla="*/ 838445 w 940276"/>
                    <a:gd name="connsiteY674" fmla="*/ 471777 h 651067"/>
                    <a:gd name="connsiteX675" fmla="*/ 835896 w 940276"/>
                    <a:gd name="connsiteY675" fmla="*/ 464419 h 651067"/>
                    <a:gd name="connsiteX676" fmla="*/ 834851 w 940276"/>
                    <a:gd name="connsiteY676" fmla="*/ 463496 h 651067"/>
                    <a:gd name="connsiteX677" fmla="*/ 833540 w 940276"/>
                    <a:gd name="connsiteY677" fmla="*/ 462743 h 651067"/>
                    <a:gd name="connsiteX678" fmla="*/ 831986 w 940276"/>
                    <a:gd name="connsiteY678" fmla="*/ 462039 h 651067"/>
                    <a:gd name="connsiteX679" fmla="*/ 828403 w 940276"/>
                    <a:gd name="connsiteY679" fmla="*/ 461590 h 651067"/>
                    <a:gd name="connsiteX680" fmla="*/ 820049 w 940276"/>
                    <a:gd name="connsiteY680" fmla="*/ 462974 h 651067"/>
                    <a:gd name="connsiteX681" fmla="*/ 815131 w 940276"/>
                    <a:gd name="connsiteY681" fmla="*/ 460667 h 651067"/>
                    <a:gd name="connsiteX682" fmla="*/ 803437 w 940276"/>
                    <a:gd name="connsiteY682" fmla="*/ 458360 h 651067"/>
                    <a:gd name="connsiteX683" fmla="*/ 800900 w 940276"/>
                    <a:gd name="connsiteY683" fmla="*/ 455664 h 651067"/>
                    <a:gd name="connsiteX684" fmla="*/ 799066 w 940276"/>
                    <a:gd name="connsiteY684" fmla="*/ 452337 h 651067"/>
                    <a:gd name="connsiteX685" fmla="*/ 797269 w 940276"/>
                    <a:gd name="connsiteY685" fmla="*/ 450102 h 651067"/>
                    <a:gd name="connsiteX686" fmla="*/ 795581 w 940276"/>
                    <a:gd name="connsiteY686" fmla="*/ 449046 h 651067"/>
                    <a:gd name="connsiteX687" fmla="*/ 794597 w 940276"/>
                    <a:gd name="connsiteY687" fmla="*/ 448694 h 651067"/>
                    <a:gd name="connsiteX688" fmla="*/ 793505 w 940276"/>
                    <a:gd name="connsiteY688" fmla="*/ 448633 h 651067"/>
                    <a:gd name="connsiteX689" fmla="*/ 792594 w 940276"/>
                    <a:gd name="connsiteY689" fmla="*/ 448487 h 651067"/>
                    <a:gd name="connsiteX690" fmla="*/ 791914 w 940276"/>
                    <a:gd name="connsiteY690" fmla="*/ 447856 h 651067"/>
                    <a:gd name="connsiteX691" fmla="*/ 791222 w 940276"/>
                    <a:gd name="connsiteY691" fmla="*/ 447577 h 651067"/>
                    <a:gd name="connsiteX692" fmla="*/ 789837 w 940276"/>
                    <a:gd name="connsiteY692" fmla="*/ 448475 h 651067"/>
                    <a:gd name="connsiteX693" fmla="*/ 782977 w 940276"/>
                    <a:gd name="connsiteY693" fmla="*/ 454413 h 651067"/>
                    <a:gd name="connsiteX694" fmla="*/ 781568 w 940276"/>
                    <a:gd name="connsiteY694" fmla="*/ 457267 h 651067"/>
                    <a:gd name="connsiteX695" fmla="*/ 781119 w 940276"/>
                    <a:gd name="connsiteY695" fmla="*/ 459367 h 651067"/>
                    <a:gd name="connsiteX696" fmla="*/ 780876 w 940276"/>
                    <a:gd name="connsiteY696" fmla="*/ 462112 h 651067"/>
                    <a:gd name="connsiteX697" fmla="*/ 777597 w 940276"/>
                    <a:gd name="connsiteY697" fmla="*/ 464043 h 651067"/>
                    <a:gd name="connsiteX698" fmla="*/ 776990 w 940276"/>
                    <a:gd name="connsiteY698" fmla="*/ 464905 h 651067"/>
                    <a:gd name="connsiteX699" fmla="*/ 776322 w 940276"/>
                    <a:gd name="connsiteY699" fmla="*/ 469118 h 651067"/>
                    <a:gd name="connsiteX700" fmla="*/ 774465 w 940276"/>
                    <a:gd name="connsiteY700" fmla="*/ 473465 h 651067"/>
                    <a:gd name="connsiteX701" fmla="*/ 769352 w 940276"/>
                    <a:gd name="connsiteY701" fmla="*/ 475894 h 651067"/>
                    <a:gd name="connsiteX702" fmla="*/ 765649 w 940276"/>
                    <a:gd name="connsiteY702" fmla="*/ 475092 h 651067"/>
                    <a:gd name="connsiteX703" fmla="*/ 762164 w 940276"/>
                    <a:gd name="connsiteY703" fmla="*/ 473732 h 651067"/>
                    <a:gd name="connsiteX704" fmla="*/ 760075 w 940276"/>
                    <a:gd name="connsiteY704" fmla="*/ 472603 h 651067"/>
                    <a:gd name="connsiteX705" fmla="*/ 759990 w 940276"/>
                    <a:gd name="connsiteY705" fmla="*/ 472603 h 651067"/>
                    <a:gd name="connsiteX706" fmla="*/ 759419 w 940276"/>
                    <a:gd name="connsiteY706" fmla="*/ 472870 h 651067"/>
                    <a:gd name="connsiteX707" fmla="*/ 758253 w 940276"/>
                    <a:gd name="connsiteY707" fmla="*/ 473635 h 651067"/>
                    <a:gd name="connsiteX708" fmla="*/ 757148 w 940276"/>
                    <a:gd name="connsiteY708" fmla="*/ 474072 h 651067"/>
                    <a:gd name="connsiteX709" fmla="*/ 751964 w 940276"/>
                    <a:gd name="connsiteY709" fmla="*/ 474497 h 651067"/>
                    <a:gd name="connsiteX710" fmla="*/ 751089 w 940276"/>
                    <a:gd name="connsiteY710" fmla="*/ 474801 h 651067"/>
                    <a:gd name="connsiteX711" fmla="*/ 750093 w 940276"/>
                    <a:gd name="connsiteY711" fmla="*/ 475760 h 651067"/>
                    <a:gd name="connsiteX712" fmla="*/ 748649 w 940276"/>
                    <a:gd name="connsiteY712" fmla="*/ 479974 h 651067"/>
                    <a:gd name="connsiteX713" fmla="*/ 748345 w 940276"/>
                    <a:gd name="connsiteY713" fmla="*/ 483107 h 651067"/>
                    <a:gd name="connsiteX714" fmla="*/ 745540 w 940276"/>
                    <a:gd name="connsiteY714" fmla="*/ 495165 h 651067"/>
                    <a:gd name="connsiteX715" fmla="*/ 743670 w 940276"/>
                    <a:gd name="connsiteY715" fmla="*/ 498856 h 651067"/>
                    <a:gd name="connsiteX716" fmla="*/ 740051 w 940276"/>
                    <a:gd name="connsiteY716" fmla="*/ 499427 h 651067"/>
                    <a:gd name="connsiteX717" fmla="*/ 734866 w 940276"/>
                    <a:gd name="connsiteY717" fmla="*/ 497375 h 651067"/>
                    <a:gd name="connsiteX718" fmla="*/ 733931 w 940276"/>
                    <a:gd name="connsiteY718" fmla="*/ 497387 h 651067"/>
                    <a:gd name="connsiteX719" fmla="*/ 728528 w 940276"/>
                    <a:gd name="connsiteY719" fmla="*/ 499354 h 651067"/>
                    <a:gd name="connsiteX720" fmla="*/ 727180 w 940276"/>
                    <a:gd name="connsiteY720" fmla="*/ 500532 h 651067"/>
                    <a:gd name="connsiteX721" fmla="*/ 723148 w 940276"/>
                    <a:gd name="connsiteY721" fmla="*/ 504697 h 651067"/>
                    <a:gd name="connsiteX722" fmla="*/ 719214 w 940276"/>
                    <a:gd name="connsiteY722" fmla="*/ 510295 h 651067"/>
                    <a:gd name="connsiteX723" fmla="*/ 718279 w 940276"/>
                    <a:gd name="connsiteY723" fmla="*/ 512760 h 651067"/>
                    <a:gd name="connsiteX724" fmla="*/ 717684 w 940276"/>
                    <a:gd name="connsiteY724" fmla="*/ 515383 h 651067"/>
                    <a:gd name="connsiteX725" fmla="*/ 718571 w 940276"/>
                    <a:gd name="connsiteY725" fmla="*/ 535953 h 651067"/>
                    <a:gd name="connsiteX726" fmla="*/ 718060 w 940276"/>
                    <a:gd name="connsiteY726" fmla="*/ 539110 h 651067"/>
                    <a:gd name="connsiteX727" fmla="*/ 716324 w 940276"/>
                    <a:gd name="connsiteY727" fmla="*/ 542474 h 651067"/>
                    <a:gd name="connsiteX728" fmla="*/ 714405 w 940276"/>
                    <a:gd name="connsiteY728" fmla="*/ 545096 h 651067"/>
                    <a:gd name="connsiteX729" fmla="*/ 711430 w 940276"/>
                    <a:gd name="connsiteY729" fmla="*/ 550634 h 651067"/>
                    <a:gd name="connsiteX730" fmla="*/ 709597 w 940276"/>
                    <a:gd name="connsiteY730" fmla="*/ 552917 h 651067"/>
                    <a:gd name="connsiteX731" fmla="*/ 708929 w 940276"/>
                    <a:gd name="connsiteY731" fmla="*/ 553633 h 651067"/>
                    <a:gd name="connsiteX732" fmla="*/ 709730 w 940276"/>
                    <a:gd name="connsiteY732" fmla="*/ 555382 h 651067"/>
                    <a:gd name="connsiteX733" fmla="*/ 710289 w 940276"/>
                    <a:gd name="connsiteY733" fmla="*/ 559377 h 651067"/>
                    <a:gd name="connsiteX734" fmla="*/ 708164 w 940276"/>
                    <a:gd name="connsiteY734" fmla="*/ 569467 h 651067"/>
                    <a:gd name="connsiteX735" fmla="*/ 708808 w 940276"/>
                    <a:gd name="connsiteY735" fmla="*/ 575442 h 651067"/>
                    <a:gd name="connsiteX736" fmla="*/ 705990 w 940276"/>
                    <a:gd name="connsiteY736" fmla="*/ 583262 h 651067"/>
                    <a:gd name="connsiteX737" fmla="*/ 705383 w 940276"/>
                    <a:gd name="connsiteY737" fmla="*/ 585763 h 651067"/>
                    <a:gd name="connsiteX738" fmla="*/ 705055 w 940276"/>
                    <a:gd name="connsiteY738" fmla="*/ 590438 h 651067"/>
                    <a:gd name="connsiteX739" fmla="*/ 702396 w 940276"/>
                    <a:gd name="connsiteY739" fmla="*/ 593498 h 651067"/>
                    <a:gd name="connsiteX740" fmla="*/ 698656 w 940276"/>
                    <a:gd name="connsiteY740" fmla="*/ 594907 h 651067"/>
                    <a:gd name="connsiteX741" fmla="*/ 694758 w 940276"/>
                    <a:gd name="connsiteY741" fmla="*/ 594397 h 651067"/>
                    <a:gd name="connsiteX742" fmla="*/ 684340 w 940276"/>
                    <a:gd name="connsiteY742" fmla="*/ 590426 h 651067"/>
                    <a:gd name="connsiteX743" fmla="*/ 679883 w 940276"/>
                    <a:gd name="connsiteY743" fmla="*/ 589321 h 651067"/>
                    <a:gd name="connsiteX744" fmla="*/ 679725 w 940276"/>
                    <a:gd name="connsiteY744" fmla="*/ 590329 h 651067"/>
                    <a:gd name="connsiteX745" fmla="*/ 675172 w 940276"/>
                    <a:gd name="connsiteY745" fmla="*/ 596826 h 651067"/>
                    <a:gd name="connsiteX746" fmla="*/ 675075 w 940276"/>
                    <a:gd name="connsiteY746" fmla="*/ 597566 h 651067"/>
                    <a:gd name="connsiteX747" fmla="*/ 675560 w 940276"/>
                    <a:gd name="connsiteY747" fmla="*/ 601573 h 651067"/>
                    <a:gd name="connsiteX748" fmla="*/ 674309 w 940276"/>
                    <a:gd name="connsiteY748" fmla="*/ 604937 h 651067"/>
                    <a:gd name="connsiteX749" fmla="*/ 671164 w 940276"/>
                    <a:gd name="connsiteY749" fmla="*/ 605143 h 651067"/>
                    <a:gd name="connsiteX750" fmla="*/ 656763 w 940276"/>
                    <a:gd name="connsiteY750" fmla="*/ 600651 h 651067"/>
                    <a:gd name="connsiteX751" fmla="*/ 649866 w 940276"/>
                    <a:gd name="connsiteY751" fmla="*/ 595502 h 651067"/>
                    <a:gd name="connsiteX752" fmla="*/ 647704 w 940276"/>
                    <a:gd name="connsiteY752" fmla="*/ 594312 h 651067"/>
                    <a:gd name="connsiteX753" fmla="*/ 646672 w 940276"/>
                    <a:gd name="connsiteY753" fmla="*/ 594069 h 651067"/>
                    <a:gd name="connsiteX754" fmla="*/ 646198 w 940276"/>
                    <a:gd name="connsiteY754" fmla="*/ 594142 h 651067"/>
                    <a:gd name="connsiteX755" fmla="*/ 646017 w 940276"/>
                    <a:gd name="connsiteY755" fmla="*/ 594288 h 651067"/>
                    <a:gd name="connsiteX756" fmla="*/ 644025 w 940276"/>
                    <a:gd name="connsiteY756" fmla="*/ 598768 h 651067"/>
                    <a:gd name="connsiteX757" fmla="*/ 637613 w 940276"/>
                    <a:gd name="connsiteY757" fmla="*/ 602047 h 651067"/>
                    <a:gd name="connsiteX758" fmla="*/ 634505 w 940276"/>
                    <a:gd name="connsiteY758" fmla="*/ 602047 h 651067"/>
                    <a:gd name="connsiteX759" fmla="*/ 630947 w 940276"/>
                    <a:gd name="connsiteY759" fmla="*/ 603031 h 651067"/>
                    <a:gd name="connsiteX760" fmla="*/ 626138 w 940276"/>
                    <a:gd name="connsiteY760" fmla="*/ 603043 h 651067"/>
                    <a:gd name="connsiteX761" fmla="*/ 621658 w 940276"/>
                    <a:gd name="connsiteY761" fmla="*/ 600663 h 651067"/>
                    <a:gd name="connsiteX762" fmla="*/ 617906 w 940276"/>
                    <a:gd name="connsiteY762" fmla="*/ 599133 h 651067"/>
                    <a:gd name="connsiteX763" fmla="*/ 616339 w 940276"/>
                    <a:gd name="connsiteY763" fmla="*/ 599230 h 651067"/>
                    <a:gd name="connsiteX764" fmla="*/ 607875 w 940276"/>
                    <a:gd name="connsiteY764" fmla="*/ 607584 h 651067"/>
                    <a:gd name="connsiteX765" fmla="*/ 601500 w 940276"/>
                    <a:gd name="connsiteY765" fmla="*/ 612757 h 651067"/>
                    <a:gd name="connsiteX766" fmla="*/ 600675 w 940276"/>
                    <a:gd name="connsiteY766" fmla="*/ 613862 h 651067"/>
                    <a:gd name="connsiteX767" fmla="*/ 599096 w 940276"/>
                    <a:gd name="connsiteY767" fmla="*/ 620188 h 651067"/>
                    <a:gd name="connsiteX768" fmla="*/ 599400 w 940276"/>
                    <a:gd name="connsiteY768" fmla="*/ 627899 h 651067"/>
                    <a:gd name="connsiteX769" fmla="*/ 596024 w 940276"/>
                    <a:gd name="connsiteY769" fmla="*/ 630303 h 651067"/>
                    <a:gd name="connsiteX770" fmla="*/ 594992 w 940276"/>
                    <a:gd name="connsiteY770" fmla="*/ 630789 h 651067"/>
                    <a:gd name="connsiteX771" fmla="*/ 594530 w 940276"/>
                    <a:gd name="connsiteY771" fmla="*/ 631591 h 651067"/>
                    <a:gd name="connsiteX772" fmla="*/ 595065 w 940276"/>
                    <a:gd name="connsiteY772" fmla="*/ 633109 h 651067"/>
                    <a:gd name="connsiteX773" fmla="*/ 594786 w 940276"/>
                    <a:gd name="connsiteY773" fmla="*/ 636205 h 651067"/>
                    <a:gd name="connsiteX774" fmla="*/ 593583 w 940276"/>
                    <a:gd name="connsiteY774" fmla="*/ 639180 h 651067"/>
                    <a:gd name="connsiteX775" fmla="*/ 591313 w 940276"/>
                    <a:gd name="connsiteY775" fmla="*/ 642422 h 651067"/>
                    <a:gd name="connsiteX776" fmla="*/ 587026 w 940276"/>
                    <a:gd name="connsiteY776" fmla="*/ 643551 h 651067"/>
                    <a:gd name="connsiteX777" fmla="*/ 581780 w 940276"/>
                    <a:gd name="connsiteY777" fmla="*/ 640686 h 651067"/>
                    <a:gd name="connsiteX778" fmla="*/ 569917 w 940276"/>
                    <a:gd name="connsiteY778" fmla="*/ 631797 h 651067"/>
                    <a:gd name="connsiteX779" fmla="*/ 554653 w 940276"/>
                    <a:gd name="connsiteY779" fmla="*/ 623710 h 651067"/>
                    <a:gd name="connsiteX780" fmla="*/ 552807 w 940276"/>
                    <a:gd name="connsiteY780" fmla="*/ 619715 h 651067"/>
                    <a:gd name="connsiteX781" fmla="*/ 553402 w 940276"/>
                    <a:gd name="connsiteY781" fmla="*/ 616218 h 651067"/>
                    <a:gd name="connsiteX782" fmla="*/ 558867 w 940276"/>
                    <a:gd name="connsiteY782" fmla="*/ 610171 h 651067"/>
                    <a:gd name="connsiteX783" fmla="*/ 559316 w 940276"/>
                    <a:gd name="connsiteY783" fmla="*/ 608981 h 651067"/>
                    <a:gd name="connsiteX784" fmla="*/ 559255 w 940276"/>
                    <a:gd name="connsiteY784" fmla="*/ 608106 h 651067"/>
                    <a:gd name="connsiteX785" fmla="*/ 558466 w 940276"/>
                    <a:gd name="connsiteY785" fmla="*/ 602411 h 651067"/>
                    <a:gd name="connsiteX786" fmla="*/ 557968 w 940276"/>
                    <a:gd name="connsiteY786" fmla="*/ 601173 h 651067"/>
                    <a:gd name="connsiteX787" fmla="*/ 554094 w 940276"/>
                    <a:gd name="connsiteY787" fmla="*/ 600833 h 651067"/>
                    <a:gd name="connsiteX788" fmla="*/ 546894 w 940276"/>
                    <a:gd name="connsiteY788" fmla="*/ 598186 h 651067"/>
                    <a:gd name="connsiteX789" fmla="*/ 545958 w 940276"/>
                    <a:gd name="connsiteY789" fmla="*/ 598416 h 651067"/>
                    <a:gd name="connsiteX790" fmla="*/ 541939 w 940276"/>
                    <a:gd name="connsiteY790" fmla="*/ 600954 h 651067"/>
                    <a:gd name="connsiteX791" fmla="*/ 538005 w 940276"/>
                    <a:gd name="connsiteY791" fmla="*/ 601136 h 651067"/>
                    <a:gd name="connsiteX792" fmla="*/ 532881 w 940276"/>
                    <a:gd name="connsiteY792" fmla="*/ 600201 h 651067"/>
                    <a:gd name="connsiteX793" fmla="*/ 528922 w 940276"/>
                    <a:gd name="connsiteY793" fmla="*/ 597080 h 651067"/>
                    <a:gd name="connsiteX794" fmla="*/ 526493 w 940276"/>
                    <a:gd name="connsiteY794" fmla="*/ 594506 h 651067"/>
                    <a:gd name="connsiteX795" fmla="*/ 524441 w 940276"/>
                    <a:gd name="connsiteY795" fmla="*/ 590511 h 651067"/>
                    <a:gd name="connsiteX796" fmla="*/ 522341 w 940276"/>
                    <a:gd name="connsiteY796" fmla="*/ 574701 h 651067"/>
                    <a:gd name="connsiteX797" fmla="*/ 521187 w 940276"/>
                    <a:gd name="connsiteY797" fmla="*/ 572722 h 651067"/>
                    <a:gd name="connsiteX798" fmla="*/ 518685 w 940276"/>
                    <a:gd name="connsiteY798" fmla="*/ 570973 h 651067"/>
                    <a:gd name="connsiteX799" fmla="*/ 516221 w 940276"/>
                    <a:gd name="connsiteY799" fmla="*/ 570208 h 651067"/>
                    <a:gd name="connsiteX800" fmla="*/ 514217 w 940276"/>
                    <a:gd name="connsiteY800" fmla="*/ 570342 h 651067"/>
                    <a:gd name="connsiteX801" fmla="*/ 510866 w 940276"/>
                    <a:gd name="connsiteY801" fmla="*/ 569941 h 651067"/>
                    <a:gd name="connsiteX802" fmla="*/ 508534 w 940276"/>
                    <a:gd name="connsiteY802" fmla="*/ 567780 h 651067"/>
                    <a:gd name="connsiteX803" fmla="*/ 508582 w 940276"/>
                    <a:gd name="connsiteY803" fmla="*/ 564987 h 651067"/>
                    <a:gd name="connsiteX804" fmla="*/ 509226 w 940276"/>
                    <a:gd name="connsiteY804" fmla="*/ 563578 h 651067"/>
                    <a:gd name="connsiteX805" fmla="*/ 507453 w 940276"/>
                    <a:gd name="connsiteY805" fmla="*/ 565169 h 651067"/>
                    <a:gd name="connsiteX806" fmla="*/ 498553 w 940276"/>
                    <a:gd name="connsiteY806" fmla="*/ 570998 h 651067"/>
                    <a:gd name="connsiteX807" fmla="*/ 487223 w 940276"/>
                    <a:gd name="connsiteY807" fmla="*/ 572187 h 651067"/>
                    <a:gd name="connsiteX808" fmla="*/ 477630 w 940276"/>
                    <a:gd name="connsiteY808" fmla="*/ 560312 h 651067"/>
                    <a:gd name="connsiteX809" fmla="*/ 474923 w 940276"/>
                    <a:gd name="connsiteY809" fmla="*/ 558211 h 651067"/>
                    <a:gd name="connsiteX810" fmla="*/ 472348 w 940276"/>
                    <a:gd name="connsiteY810" fmla="*/ 557385 h 651067"/>
                    <a:gd name="connsiteX811" fmla="*/ 457570 w 940276"/>
                    <a:gd name="connsiteY811" fmla="*/ 557750 h 651067"/>
                    <a:gd name="connsiteX812" fmla="*/ 456477 w 940276"/>
                    <a:gd name="connsiteY812" fmla="*/ 558102 h 651067"/>
                    <a:gd name="connsiteX813" fmla="*/ 454534 w 940276"/>
                    <a:gd name="connsiteY813" fmla="*/ 560093 h 651067"/>
                    <a:gd name="connsiteX814" fmla="*/ 452968 w 940276"/>
                    <a:gd name="connsiteY814" fmla="*/ 562631 h 651067"/>
                    <a:gd name="connsiteX815" fmla="*/ 451778 w 940276"/>
                    <a:gd name="connsiteY815" fmla="*/ 565120 h 651067"/>
                    <a:gd name="connsiteX816" fmla="*/ 451207 w 940276"/>
                    <a:gd name="connsiteY816" fmla="*/ 567233 h 651067"/>
                    <a:gd name="connsiteX817" fmla="*/ 450734 w 940276"/>
                    <a:gd name="connsiteY817" fmla="*/ 572540 h 651067"/>
                    <a:gd name="connsiteX818" fmla="*/ 449665 w 940276"/>
                    <a:gd name="connsiteY818" fmla="*/ 575891 h 651067"/>
                    <a:gd name="connsiteX819" fmla="*/ 447151 w 940276"/>
                    <a:gd name="connsiteY819" fmla="*/ 579595 h 651067"/>
                    <a:gd name="connsiteX820" fmla="*/ 442829 w 940276"/>
                    <a:gd name="connsiteY820" fmla="*/ 580797 h 651067"/>
                    <a:gd name="connsiteX821" fmla="*/ 443436 w 940276"/>
                    <a:gd name="connsiteY821" fmla="*/ 581707 h 651067"/>
                    <a:gd name="connsiteX822" fmla="*/ 444359 w 940276"/>
                    <a:gd name="connsiteY822" fmla="*/ 584282 h 651067"/>
                    <a:gd name="connsiteX823" fmla="*/ 444808 w 940276"/>
                    <a:gd name="connsiteY823" fmla="*/ 587050 h 651067"/>
                    <a:gd name="connsiteX824" fmla="*/ 444844 w 940276"/>
                    <a:gd name="connsiteY824" fmla="*/ 595478 h 651067"/>
                    <a:gd name="connsiteX825" fmla="*/ 443144 w 940276"/>
                    <a:gd name="connsiteY825" fmla="*/ 599133 h 651067"/>
                    <a:gd name="connsiteX826" fmla="*/ 439186 w 940276"/>
                    <a:gd name="connsiteY826" fmla="*/ 601598 h 651067"/>
                    <a:gd name="connsiteX827" fmla="*/ 433831 w 940276"/>
                    <a:gd name="connsiteY827" fmla="*/ 601634 h 651067"/>
                    <a:gd name="connsiteX828" fmla="*/ 429921 w 940276"/>
                    <a:gd name="connsiteY828" fmla="*/ 600881 h 651067"/>
                    <a:gd name="connsiteX829" fmla="*/ 428124 w 940276"/>
                    <a:gd name="connsiteY829" fmla="*/ 600347 h 651067"/>
                    <a:gd name="connsiteX830" fmla="*/ 427881 w 940276"/>
                    <a:gd name="connsiteY830" fmla="*/ 601015 h 651067"/>
                    <a:gd name="connsiteX831" fmla="*/ 426727 w 940276"/>
                    <a:gd name="connsiteY831" fmla="*/ 602326 h 651067"/>
                    <a:gd name="connsiteX832" fmla="*/ 424614 w 940276"/>
                    <a:gd name="connsiteY832" fmla="*/ 604196 h 651067"/>
                    <a:gd name="connsiteX833" fmla="*/ 424602 w 940276"/>
                    <a:gd name="connsiteY833" fmla="*/ 604524 h 651067"/>
                    <a:gd name="connsiteX834" fmla="*/ 417790 w 940276"/>
                    <a:gd name="connsiteY834" fmla="*/ 610984 h 651067"/>
                    <a:gd name="connsiteX835" fmla="*/ 414451 w 940276"/>
                    <a:gd name="connsiteY835" fmla="*/ 611810 h 651067"/>
                    <a:gd name="connsiteX836" fmla="*/ 411415 w 940276"/>
                    <a:gd name="connsiteY836" fmla="*/ 610766 h 651067"/>
                    <a:gd name="connsiteX837" fmla="*/ 409120 w 940276"/>
                    <a:gd name="connsiteY837" fmla="*/ 609612 h 651067"/>
                    <a:gd name="connsiteX838" fmla="*/ 407772 w 940276"/>
                    <a:gd name="connsiteY838" fmla="*/ 609721 h 651067"/>
                    <a:gd name="connsiteX839" fmla="*/ 404870 w 940276"/>
                    <a:gd name="connsiteY839" fmla="*/ 610292 h 651067"/>
                    <a:gd name="connsiteX840" fmla="*/ 400085 w 940276"/>
                    <a:gd name="connsiteY840" fmla="*/ 610535 h 651067"/>
                    <a:gd name="connsiteX841" fmla="*/ 391719 w 940276"/>
                    <a:gd name="connsiteY841" fmla="*/ 609782 h 651067"/>
                    <a:gd name="connsiteX842" fmla="*/ 388853 w 940276"/>
                    <a:gd name="connsiteY842" fmla="*/ 611555 h 651067"/>
                    <a:gd name="connsiteX843" fmla="*/ 373298 w 940276"/>
                    <a:gd name="connsiteY843" fmla="*/ 613328 h 651067"/>
                    <a:gd name="connsiteX844" fmla="*/ 372412 w 940276"/>
                    <a:gd name="connsiteY844" fmla="*/ 613583 h 651067"/>
                    <a:gd name="connsiteX845" fmla="*/ 372388 w 940276"/>
                    <a:gd name="connsiteY845" fmla="*/ 614348 h 651067"/>
                    <a:gd name="connsiteX846" fmla="*/ 372266 w 940276"/>
                    <a:gd name="connsiteY846" fmla="*/ 615040 h 651067"/>
                    <a:gd name="connsiteX847" fmla="*/ 370530 w 940276"/>
                    <a:gd name="connsiteY847" fmla="*/ 617456 h 651067"/>
                    <a:gd name="connsiteX848" fmla="*/ 367931 w 940276"/>
                    <a:gd name="connsiteY848" fmla="*/ 618828 h 651067"/>
                    <a:gd name="connsiteX849" fmla="*/ 351259 w 940276"/>
                    <a:gd name="connsiteY849" fmla="*/ 624912 h 651067"/>
                    <a:gd name="connsiteX850" fmla="*/ 350384 w 940276"/>
                    <a:gd name="connsiteY850" fmla="*/ 625762 h 651067"/>
                    <a:gd name="connsiteX851" fmla="*/ 350336 w 940276"/>
                    <a:gd name="connsiteY851" fmla="*/ 625993 h 651067"/>
                    <a:gd name="connsiteX852" fmla="*/ 350749 w 940276"/>
                    <a:gd name="connsiteY852" fmla="*/ 627948 h 651067"/>
                    <a:gd name="connsiteX853" fmla="*/ 349850 w 940276"/>
                    <a:gd name="connsiteY853" fmla="*/ 630935 h 651067"/>
                    <a:gd name="connsiteX854" fmla="*/ 347762 w 940276"/>
                    <a:gd name="connsiteY854" fmla="*/ 632999 h 651067"/>
                    <a:gd name="connsiteX855" fmla="*/ 344762 w 940276"/>
                    <a:gd name="connsiteY855" fmla="*/ 635222 h 651067"/>
                    <a:gd name="connsiteX856" fmla="*/ 337428 w 940276"/>
                    <a:gd name="connsiteY856" fmla="*/ 642240 h 651067"/>
                    <a:gd name="connsiteX857" fmla="*/ 333287 w 940276"/>
                    <a:gd name="connsiteY857" fmla="*/ 643442 h 651067"/>
                    <a:gd name="connsiteX858" fmla="*/ 329948 w 940276"/>
                    <a:gd name="connsiteY858" fmla="*/ 639775 h 651067"/>
                    <a:gd name="connsiteX859" fmla="*/ 330130 w 940276"/>
                    <a:gd name="connsiteY859" fmla="*/ 636484 h 651067"/>
                    <a:gd name="connsiteX860" fmla="*/ 330701 w 940276"/>
                    <a:gd name="connsiteY860" fmla="*/ 633691 h 651067"/>
                    <a:gd name="connsiteX861" fmla="*/ 321460 w 940276"/>
                    <a:gd name="connsiteY861" fmla="*/ 636909 h 651067"/>
                    <a:gd name="connsiteX862" fmla="*/ 319092 w 940276"/>
                    <a:gd name="connsiteY862" fmla="*/ 638670 h 651067"/>
                    <a:gd name="connsiteX863" fmla="*/ 315546 w 940276"/>
                    <a:gd name="connsiteY863" fmla="*/ 640540 h 651067"/>
                    <a:gd name="connsiteX864" fmla="*/ 311041 w 940276"/>
                    <a:gd name="connsiteY864" fmla="*/ 641669 h 651067"/>
                    <a:gd name="connsiteX865" fmla="*/ 299408 w 940276"/>
                    <a:gd name="connsiteY865" fmla="*/ 640589 h 651067"/>
                    <a:gd name="connsiteX866" fmla="*/ 295741 w 940276"/>
                    <a:gd name="connsiteY866" fmla="*/ 638099 h 651067"/>
                    <a:gd name="connsiteX867" fmla="*/ 294150 w 940276"/>
                    <a:gd name="connsiteY867" fmla="*/ 635391 h 651067"/>
                    <a:gd name="connsiteX868" fmla="*/ 292013 w 940276"/>
                    <a:gd name="connsiteY868" fmla="*/ 624086 h 651067"/>
                    <a:gd name="connsiteX869" fmla="*/ 287836 w 940276"/>
                    <a:gd name="connsiteY869" fmla="*/ 624936 h 651067"/>
                    <a:gd name="connsiteX870" fmla="*/ 283950 w 940276"/>
                    <a:gd name="connsiteY870" fmla="*/ 622884 h 651067"/>
                    <a:gd name="connsiteX871" fmla="*/ 282068 w 940276"/>
                    <a:gd name="connsiteY871" fmla="*/ 613109 h 651067"/>
                    <a:gd name="connsiteX872" fmla="*/ 281303 w 940276"/>
                    <a:gd name="connsiteY872" fmla="*/ 612381 h 651067"/>
                    <a:gd name="connsiteX873" fmla="*/ 280550 w 940276"/>
                    <a:gd name="connsiteY873" fmla="*/ 612332 h 651067"/>
                    <a:gd name="connsiteX874" fmla="*/ 279239 w 940276"/>
                    <a:gd name="connsiteY874" fmla="*/ 613146 h 651067"/>
                    <a:gd name="connsiteX875" fmla="*/ 277612 w 940276"/>
                    <a:gd name="connsiteY875" fmla="*/ 614445 h 651067"/>
                    <a:gd name="connsiteX876" fmla="*/ 274370 w 940276"/>
                    <a:gd name="connsiteY876" fmla="*/ 616254 h 651067"/>
                    <a:gd name="connsiteX877" fmla="*/ 271965 w 940276"/>
                    <a:gd name="connsiteY877" fmla="*/ 617954 h 651067"/>
                    <a:gd name="connsiteX878" fmla="*/ 263563 w 940276"/>
                    <a:gd name="connsiteY878" fmla="*/ 622483 h 651067"/>
                    <a:gd name="connsiteX879" fmla="*/ 261024 w 940276"/>
                    <a:gd name="connsiteY879" fmla="*/ 624669 h 651067"/>
                    <a:gd name="connsiteX880" fmla="*/ 259239 w 940276"/>
                    <a:gd name="connsiteY880" fmla="*/ 627778 h 651067"/>
                    <a:gd name="connsiteX881" fmla="*/ 257382 w 940276"/>
                    <a:gd name="connsiteY881" fmla="*/ 633667 h 651067"/>
                    <a:gd name="connsiteX882" fmla="*/ 254589 w 940276"/>
                    <a:gd name="connsiteY882" fmla="*/ 636436 h 651067"/>
                    <a:gd name="connsiteX883" fmla="*/ 250970 w 940276"/>
                    <a:gd name="connsiteY883" fmla="*/ 636399 h 651067"/>
                    <a:gd name="connsiteX884" fmla="*/ 246295 w 940276"/>
                    <a:gd name="connsiteY884" fmla="*/ 635331 h 651067"/>
                    <a:gd name="connsiteX885" fmla="*/ 244049 w 940276"/>
                    <a:gd name="connsiteY885" fmla="*/ 635270 h 651067"/>
                    <a:gd name="connsiteX886" fmla="*/ 241608 w 940276"/>
                    <a:gd name="connsiteY886" fmla="*/ 633934 h 651067"/>
                    <a:gd name="connsiteX887" fmla="*/ 241256 w 940276"/>
                    <a:gd name="connsiteY887" fmla="*/ 633679 h 651067"/>
                    <a:gd name="connsiteX888" fmla="*/ 240175 w 940276"/>
                    <a:gd name="connsiteY888" fmla="*/ 635574 h 651067"/>
                    <a:gd name="connsiteX889" fmla="*/ 235658 w 940276"/>
                    <a:gd name="connsiteY889" fmla="*/ 639726 h 651067"/>
                    <a:gd name="connsiteX890" fmla="*/ 234978 w 940276"/>
                    <a:gd name="connsiteY890" fmla="*/ 641244 h 651067"/>
                    <a:gd name="connsiteX891" fmla="*/ 234772 w 940276"/>
                    <a:gd name="connsiteY891" fmla="*/ 642446 h 651067"/>
                    <a:gd name="connsiteX892" fmla="*/ 233873 w 940276"/>
                    <a:gd name="connsiteY892" fmla="*/ 644887 h 651067"/>
                    <a:gd name="connsiteX893" fmla="*/ 229477 w 940276"/>
                    <a:gd name="connsiteY893" fmla="*/ 649040 h 651067"/>
                    <a:gd name="connsiteX894" fmla="*/ 226332 w 940276"/>
                    <a:gd name="connsiteY894" fmla="*/ 650522 h 651067"/>
                    <a:gd name="connsiteX895" fmla="*/ 223284 w 940276"/>
                    <a:gd name="connsiteY895" fmla="*/ 651068 h 651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Lst>
                  <a:rect l="l" t="t" r="r" b="b"/>
                  <a:pathLst>
                    <a:path w="940276" h="651067">
                      <a:moveTo>
                        <a:pt x="220613" y="650813"/>
                      </a:moveTo>
                      <a:lnTo>
                        <a:pt x="217431" y="649684"/>
                      </a:lnTo>
                      <a:lnTo>
                        <a:pt x="213400" y="646648"/>
                      </a:lnTo>
                      <a:lnTo>
                        <a:pt x="211627" y="644742"/>
                      </a:lnTo>
                      <a:lnTo>
                        <a:pt x="210121" y="642264"/>
                      </a:lnTo>
                      <a:lnTo>
                        <a:pt x="209077" y="640868"/>
                      </a:lnTo>
                      <a:lnTo>
                        <a:pt x="205058" y="637966"/>
                      </a:lnTo>
                      <a:lnTo>
                        <a:pt x="200128" y="635562"/>
                      </a:lnTo>
                      <a:lnTo>
                        <a:pt x="196934" y="633242"/>
                      </a:lnTo>
                      <a:lnTo>
                        <a:pt x="194044" y="630340"/>
                      </a:lnTo>
                      <a:lnTo>
                        <a:pt x="191057" y="626029"/>
                      </a:lnTo>
                      <a:lnTo>
                        <a:pt x="186297" y="621463"/>
                      </a:lnTo>
                      <a:lnTo>
                        <a:pt x="185265" y="617942"/>
                      </a:lnTo>
                      <a:lnTo>
                        <a:pt x="187086" y="614421"/>
                      </a:lnTo>
                      <a:lnTo>
                        <a:pt x="187985" y="613352"/>
                      </a:lnTo>
                      <a:lnTo>
                        <a:pt x="187900" y="608701"/>
                      </a:lnTo>
                      <a:lnTo>
                        <a:pt x="186212" y="605338"/>
                      </a:lnTo>
                      <a:lnTo>
                        <a:pt x="186054" y="605228"/>
                      </a:lnTo>
                      <a:lnTo>
                        <a:pt x="185277" y="605010"/>
                      </a:lnTo>
                      <a:lnTo>
                        <a:pt x="183589" y="607013"/>
                      </a:lnTo>
                      <a:lnTo>
                        <a:pt x="180687" y="608203"/>
                      </a:lnTo>
                      <a:lnTo>
                        <a:pt x="178537" y="607706"/>
                      </a:lnTo>
                      <a:lnTo>
                        <a:pt x="176218" y="606333"/>
                      </a:lnTo>
                      <a:lnTo>
                        <a:pt x="175720" y="606443"/>
                      </a:lnTo>
                      <a:lnTo>
                        <a:pt x="175393" y="606795"/>
                      </a:lnTo>
                      <a:lnTo>
                        <a:pt x="172782" y="607463"/>
                      </a:lnTo>
                      <a:lnTo>
                        <a:pt x="169855" y="607111"/>
                      </a:lnTo>
                      <a:lnTo>
                        <a:pt x="170183" y="610219"/>
                      </a:lnTo>
                      <a:lnTo>
                        <a:pt x="169673" y="613692"/>
                      </a:lnTo>
                      <a:lnTo>
                        <a:pt x="167050" y="616072"/>
                      </a:lnTo>
                      <a:lnTo>
                        <a:pt x="163626" y="616485"/>
                      </a:lnTo>
                      <a:lnTo>
                        <a:pt x="160323" y="614821"/>
                      </a:lnTo>
                      <a:lnTo>
                        <a:pt x="160105" y="614299"/>
                      </a:lnTo>
                      <a:lnTo>
                        <a:pt x="158344" y="616412"/>
                      </a:lnTo>
                      <a:lnTo>
                        <a:pt x="157664" y="617092"/>
                      </a:lnTo>
                      <a:lnTo>
                        <a:pt x="154167" y="617711"/>
                      </a:lnTo>
                      <a:lnTo>
                        <a:pt x="151252" y="616448"/>
                      </a:lnTo>
                      <a:lnTo>
                        <a:pt x="148107" y="613886"/>
                      </a:lnTo>
                      <a:lnTo>
                        <a:pt x="145327" y="609187"/>
                      </a:lnTo>
                      <a:lnTo>
                        <a:pt x="141356" y="597105"/>
                      </a:lnTo>
                      <a:lnTo>
                        <a:pt x="135843" y="585800"/>
                      </a:lnTo>
                      <a:lnTo>
                        <a:pt x="134580" y="584792"/>
                      </a:lnTo>
                      <a:lnTo>
                        <a:pt x="132358" y="589940"/>
                      </a:lnTo>
                      <a:lnTo>
                        <a:pt x="131605" y="591349"/>
                      </a:lnTo>
                      <a:lnTo>
                        <a:pt x="130767" y="592478"/>
                      </a:lnTo>
                      <a:lnTo>
                        <a:pt x="129577" y="593571"/>
                      </a:lnTo>
                      <a:lnTo>
                        <a:pt x="127744" y="594749"/>
                      </a:lnTo>
                      <a:lnTo>
                        <a:pt x="125716" y="595745"/>
                      </a:lnTo>
                      <a:lnTo>
                        <a:pt x="123931" y="598477"/>
                      </a:lnTo>
                      <a:lnTo>
                        <a:pt x="120191" y="601355"/>
                      </a:lnTo>
                      <a:lnTo>
                        <a:pt x="115479" y="602751"/>
                      </a:lnTo>
                      <a:lnTo>
                        <a:pt x="107720" y="603346"/>
                      </a:lnTo>
                      <a:lnTo>
                        <a:pt x="104696" y="604245"/>
                      </a:lnTo>
                      <a:lnTo>
                        <a:pt x="102207" y="604573"/>
                      </a:lnTo>
                      <a:lnTo>
                        <a:pt x="99742" y="604330"/>
                      </a:lnTo>
                      <a:lnTo>
                        <a:pt x="95444" y="603249"/>
                      </a:lnTo>
                      <a:lnTo>
                        <a:pt x="93792" y="603067"/>
                      </a:lnTo>
                      <a:lnTo>
                        <a:pt x="92104" y="603662"/>
                      </a:lnTo>
                      <a:lnTo>
                        <a:pt x="88279" y="608422"/>
                      </a:lnTo>
                      <a:lnTo>
                        <a:pt x="84053" y="609758"/>
                      </a:lnTo>
                      <a:lnTo>
                        <a:pt x="73125" y="610341"/>
                      </a:lnTo>
                      <a:lnTo>
                        <a:pt x="61370" y="608082"/>
                      </a:lnTo>
                      <a:lnTo>
                        <a:pt x="43071" y="605289"/>
                      </a:lnTo>
                      <a:lnTo>
                        <a:pt x="40934" y="605641"/>
                      </a:lnTo>
                      <a:lnTo>
                        <a:pt x="37352" y="606042"/>
                      </a:lnTo>
                      <a:lnTo>
                        <a:pt x="37910" y="596692"/>
                      </a:lnTo>
                      <a:lnTo>
                        <a:pt x="37024" y="590511"/>
                      </a:lnTo>
                      <a:lnTo>
                        <a:pt x="37400" y="585192"/>
                      </a:lnTo>
                      <a:lnTo>
                        <a:pt x="37898" y="582861"/>
                      </a:lnTo>
                      <a:lnTo>
                        <a:pt x="37619" y="581610"/>
                      </a:lnTo>
                      <a:lnTo>
                        <a:pt x="35822" y="577834"/>
                      </a:lnTo>
                      <a:lnTo>
                        <a:pt x="35336" y="575794"/>
                      </a:lnTo>
                      <a:lnTo>
                        <a:pt x="35615" y="572540"/>
                      </a:lnTo>
                      <a:lnTo>
                        <a:pt x="39064" y="567002"/>
                      </a:lnTo>
                      <a:lnTo>
                        <a:pt x="39185" y="565679"/>
                      </a:lnTo>
                      <a:lnTo>
                        <a:pt x="38857" y="563870"/>
                      </a:lnTo>
                      <a:lnTo>
                        <a:pt x="37752" y="560348"/>
                      </a:lnTo>
                      <a:lnTo>
                        <a:pt x="37036" y="559255"/>
                      </a:lnTo>
                      <a:lnTo>
                        <a:pt x="30248" y="557628"/>
                      </a:lnTo>
                      <a:lnTo>
                        <a:pt x="27152" y="556390"/>
                      </a:lnTo>
                      <a:lnTo>
                        <a:pt x="24249" y="554653"/>
                      </a:lnTo>
                      <a:lnTo>
                        <a:pt x="21687" y="552589"/>
                      </a:lnTo>
                      <a:lnTo>
                        <a:pt x="19659" y="550233"/>
                      </a:lnTo>
                      <a:lnTo>
                        <a:pt x="15713" y="544076"/>
                      </a:lnTo>
                      <a:lnTo>
                        <a:pt x="15021" y="543506"/>
                      </a:lnTo>
                      <a:lnTo>
                        <a:pt x="14401" y="543239"/>
                      </a:lnTo>
                      <a:lnTo>
                        <a:pt x="12531" y="542729"/>
                      </a:lnTo>
                      <a:lnTo>
                        <a:pt x="7954" y="538345"/>
                      </a:lnTo>
                      <a:lnTo>
                        <a:pt x="6241" y="535006"/>
                      </a:lnTo>
                      <a:lnTo>
                        <a:pt x="5501" y="530974"/>
                      </a:lnTo>
                      <a:lnTo>
                        <a:pt x="6302" y="528461"/>
                      </a:lnTo>
                      <a:lnTo>
                        <a:pt x="7237" y="526651"/>
                      </a:lnTo>
                      <a:lnTo>
                        <a:pt x="7735" y="524915"/>
                      </a:lnTo>
                      <a:lnTo>
                        <a:pt x="8063" y="522159"/>
                      </a:lnTo>
                      <a:lnTo>
                        <a:pt x="8221" y="515031"/>
                      </a:lnTo>
                      <a:lnTo>
                        <a:pt x="7771" y="509421"/>
                      </a:lnTo>
                      <a:lnTo>
                        <a:pt x="7201" y="508267"/>
                      </a:lnTo>
                      <a:lnTo>
                        <a:pt x="3339" y="502936"/>
                      </a:lnTo>
                      <a:lnTo>
                        <a:pt x="1044" y="498589"/>
                      </a:lnTo>
                      <a:lnTo>
                        <a:pt x="218" y="496246"/>
                      </a:lnTo>
                      <a:lnTo>
                        <a:pt x="0" y="493161"/>
                      </a:lnTo>
                      <a:lnTo>
                        <a:pt x="534" y="490308"/>
                      </a:lnTo>
                      <a:lnTo>
                        <a:pt x="1287" y="479549"/>
                      </a:lnTo>
                      <a:lnTo>
                        <a:pt x="2161" y="473927"/>
                      </a:lnTo>
                      <a:lnTo>
                        <a:pt x="2902" y="471389"/>
                      </a:lnTo>
                      <a:lnTo>
                        <a:pt x="3691" y="469446"/>
                      </a:lnTo>
                      <a:lnTo>
                        <a:pt x="4724" y="467612"/>
                      </a:lnTo>
                      <a:lnTo>
                        <a:pt x="7079" y="464504"/>
                      </a:lnTo>
                      <a:lnTo>
                        <a:pt x="10066" y="461444"/>
                      </a:lnTo>
                      <a:lnTo>
                        <a:pt x="12653" y="459367"/>
                      </a:lnTo>
                      <a:lnTo>
                        <a:pt x="18919" y="455482"/>
                      </a:lnTo>
                      <a:lnTo>
                        <a:pt x="29374" y="450770"/>
                      </a:lnTo>
                      <a:lnTo>
                        <a:pt x="31729" y="449459"/>
                      </a:lnTo>
                      <a:lnTo>
                        <a:pt x="37327" y="445160"/>
                      </a:lnTo>
                      <a:lnTo>
                        <a:pt x="40764" y="443157"/>
                      </a:lnTo>
                      <a:lnTo>
                        <a:pt x="66665" y="428597"/>
                      </a:lnTo>
                      <a:lnTo>
                        <a:pt x="86300" y="417316"/>
                      </a:lnTo>
                      <a:lnTo>
                        <a:pt x="90210" y="414281"/>
                      </a:lnTo>
                      <a:lnTo>
                        <a:pt x="90720" y="412763"/>
                      </a:lnTo>
                      <a:lnTo>
                        <a:pt x="92274" y="409703"/>
                      </a:lnTo>
                      <a:lnTo>
                        <a:pt x="94071" y="408416"/>
                      </a:lnTo>
                      <a:lnTo>
                        <a:pt x="101806" y="405659"/>
                      </a:lnTo>
                      <a:lnTo>
                        <a:pt x="107465" y="402818"/>
                      </a:lnTo>
                      <a:lnTo>
                        <a:pt x="109602" y="401142"/>
                      </a:lnTo>
                      <a:lnTo>
                        <a:pt x="110039" y="400110"/>
                      </a:lnTo>
                      <a:lnTo>
                        <a:pt x="112346" y="397135"/>
                      </a:lnTo>
                      <a:lnTo>
                        <a:pt x="124926" y="388550"/>
                      </a:lnTo>
                      <a:lnTo>
                        <a:pt x="128557" y="385065"/>
                      </a:lnTo>
                      <a:lnTo>
                        <a:pt x="138527" y="372290"/>
                      </a:lnTo>
                      <a:lnTo>
                        <a:pt x="155065" y="359261"/>
                      </a:lnTo>
                      <a:lnTo>
                        <a:pt x="164172" y="356420"/>
                      </a:lnTo>
                      <a:lnTo>
                        <a:pt x="172515" y="361240"/>
                      </a:lnTo>
                      <a:lnTo>
                        <a:pt x="173280" y="363705"/>
                      </a:lnTo>
                      <a:lnTo>
                        <a:pt x="173474" y="367093"/>
                      </a:lnTo>
                      <a:lnTo>
                        <a:pt x="173219" y="369388"/>
                      </a:lnTo>
                      <a:lnTo>
                        <a:pt x="169965" y="371052"/>
                      </a:lnTo>
                      <a:lnTo>
                        <a:pt x="173000" y="370906"/>
                      </a:lnTo>
                      <a:lnTo>
                        <a:pt x="173061" y="372120"/>
                      </a:lnTo>
                      <a:lnTo>
                        <a:pt x="173595" y="373735"/>
                      </a:lnTo>
                      <a:lnTo>
                        <a:pt x="171750" y="376747"/>
                      </a:lnTo>
                      <a:lnTo>
                        <a:pt x="174713" y="375508"/>
                      </a:lnTo>
                      <a:lnTo>
                        <a:pt x="176485" y="376747"/>
                      </a:lnTo>
                      <a:lnTo>
                        <a:pt x="178064" y="377366"/>
                      </a:lnTo>
                      <a:lnTo>
                        <a:pt x="179242" y="377597"/>
                      </a:lnTo>
                      <a:lnTo>
                        <a:pt x="181840" y="377597"/>
                      </a:lnTo>
                      <a:lnTo>
                        <a:pt x="183917" y="377172"/>
                      </a:lnTo>
                      <a:lnTo>
                        <a:pt x="187086" y="376079"/>
                      </a:lnTo>
                      <a:lnTo>
                        <a:pt x="188276" y="375375"/>
                      </a:lnTo>
                      <a:lnTo>
                        <a:pt x="188847" y="374804"/>
                      </a:lnTo>
                      <a:lnTo>
                        <a:pt x="191506" y="372861"/>
                      </a:lnTo>
                      <a:lnTo>
                        <a:pt x="188531" y="373444"/>
                      </a:lnTo>
                      <a:lnTo>
                        <a:pt x="188300" y="372242"/>
                      </a:lnTo>
                      <a:lnTo>
                        <a:pt x="188021" y="371368"/>
                      </a:lnTo>
                      <a:lnTo>
                        <a:pt x="185593" y="365430"/>
                      </a:lnTo>
                      <a:lnTo>
                        <a:pt x="186139" y="358605"/>
                      </a:lnTo>
                      <a:lnTo>
                        <a:pt x="189697" y="356541"/>
                      </a:lnTo>
                      <a:lnTo>
                        <a:pt x="192805" y="355460"/>
                      </a:lnTo>
                      <a:lnTo>
                        <a:pt x="195380" y="354076"/>
                      </a:lnTo>
                      <a:lnTo>
                        <a:pt x="200116" y="352680"/>
                      </a:lnTo>
                      <a:lnTo>
                        <a:pt x="203880" y="354173"/>
                      </a:lnTo>
                      <a:lnTo>
                        <a:pt x="210789" y="360560"/>
                      </a:lnTo>
                      <a:lnTo>
                        <a:pt x="213898" y="362661"/>
                      </a:lnTo>
                      <a:lnTo>
                        <a:pt x="217856" y="363560"/>
                      </a:lnTo>
                      <a:lnTo>
                        <a:pt x="221524" y="365600"/>
                      </a:lnTo>
                      <a:lnTo>
                        <a:pt x="222434" y="365915"/>
                      </a:lnTo>
                      <a:lnTo>
                        <a:pt x="224049" y="366073"/>
                      </a:lnTo>
                      <a:lnTo>
                        <a:pt x="228214" y="365818"/>
                      </a:lnTo>
                      <a:lnTo>
                        <a:pt x="229781" y="365345"/>
                      </a:lnTo>
                      <a:lnTo>
                        <a:pt x="230570" y="364992"/>
                      </a:lnTo>
                      <a:lnTo>
                        <a:pt x="238062" y="359419"/>
                      </a:lnTo>
                      <a:lnTo>
                        <a:pt x="239544" y="358605"/>
                      </a:lnTo>
                      <a:lnTo>
                        <a:pt x="239313" y="355618"/>
                      </a:lnTo>
                      <a:lnTo>
                        <a:pt x="241669" y="352813"/>
                      </a:lnTo>
                      <a:lnTo>
                        <a:pt x="241778" y="351987"/>
                      </a:lnTo>
                      <a:lnTo>
                        <a:pt x="240977" y="350457"/>
                      </a:lnTo>
                      <a:lnTo>
                        <a:pt x="227716" y="338654"/>
                      </a:lnTo>
                      <a:lnTo>
                        <a:pt x="226308" y="338278"/>
                      </a:lnTo>
                      <a:lnTo>
                        <a:pt x="224122" y="338327"/>
                      </a:lnTo>
                      <a:lnTo>
                        <a:pt x="218391" y="338691"/>
                      </a:lnTo>
                      <a:lnTo>
                        <a:pt x="214736" y="337720"/>
                      </a:lnTo>
                      <a:lnTo>
                        <a:pt x="207244" y="333542"/>
                      </a:lnTo>
                      <a:lnTo>
                        <a:pt x="204742" y="331357"/>
                      </a:lnTo>
                      <a:lnTo>
                        <a:pt x="203564" y="328005"/>
                      </a:lnTo>
                      <a:lnTo>
                        <a:pt x="201913" y="325771"/>
                      </a:lnTo>
                      <a:lnTo>
                        <a:pt x="199921" y="323852"/>
                      </a:lnTo>
                      <a:lnTo>
                        <a:pt x="199691" y="323755"/>
                      </a:lnTo>
                      <a:lnTo>
                        <a:pt x="194712" y="323731"/>
                      </a:lnTo>
                      <a:lnTo>
                        <a:pt x="192988" y="324071"/>
                      </a:lnTo>
                      <a:lnTo>
                        <a:pt x="186880" y="325965"/>
                      </a:lnTo>
                      <a:lnTo>
                        <a:pt x="182824" y="326402"/>
                      </a:lnTo>
                      <a:lnTo>
                        <a:pt x="178392" y="325492"/>
                      </a:lnTo>
                      <a:lnTo>
                        <a:pt x="173899" y="322480"/>
                      </a:lnTo>
                      <a:lnTo>
                        <a:pt x="171045" y="319517"/>
                      </a:lnTo>
                      <a:lnTo>
                        <a:pt x="169807" y="317720"/>
                      </a:lnTo>
                      <a:lnTo>
                        <a:pt x="168532" y="315219"/>
                      </a:lnTo>
                      <a:lnTo>
                        <a:pt x="166565" y="308030"/>
                      </a:lnTo>
                      <a:lnTo>
                        <a:pt x="166091" y="307787"/>
                      </a:lnTo>
                      <a:lnTo>
                        <a:pt x="164585" y="307714"/>
                      </a:lnTo>
                      <a:lnTo>
                        <a:pt x="160663" y="306694"/>
                      </a:lnTo>
                      <a:lnTo>
                        <a:pt x="158781" y="301218"/>
                      </a:lnTo>
                      <a:lnTo>
                        <a:pt x="157542" y="299251"/>
                      </a:lnTo>
                      <a:lnTo>
                        <a:pt x="155952" y="297466"/>
                      </a:lnTo>
                      <a:lnTo>
                        <a:pt x="153547" y="296931"/>
                      </a:lnTo>
                      <a:lnTo>
                        <a:pt x="148605" y="293884"/>
                      </a:lnTo>
                      <a:lnTo>
                        <a:pt x="146978" y="293301"/>
                      </a:lnTo>
                      <a:lnTo>
                        <a:pt x="146262" y="293373"/>
                      </a:lnTo>
                      <a:lnTo>
                        <a:pt x="145485" y="293325"/>
                      </a:lnTo>
                      <a:lnTo>
                        <a:pt x="142194" y="291176"/>
                      </a:lnTo>
                      <a:lnTo>
                        <a:pt x="139874" y="290338"/>
                      </a:lnTo>
                      <a:lnTo>
                        <a:pt x="134434" y="277405"/>
                      </a:lnTo>
                      <a:lnTo>
                        <a:pt x="131690" y="273568"/>
                      </a:lnTo>
                      <a:lnTo>
                        <a:pt x="127926" y="271176"/>
                      </a:lnTo>
                      <a:lnTo>
                        <a:pt x="125230" y="268590"/>
                      </a:lnTo>
                      <a:lnTo>
                        <a:pt x="124064" y="265530"/>
                      </a:lnTo>
                      <a:lnTo>
                        <a:pt x="124222" y="262907"/>
                      </a:lnTo>
                      <a:lnTo>
                        <a:pt x="125084" y="260381"/>
                      </a:lnTo>
                      <a:lnTo>
                        <a:pt x="126141" y="258693"/>
                      </a:lnTo>
                      <a:lnTo>
                        <a:pt x="127646" y="257127"/>
                      </a:lnTo>
                      <a:lnTo>
                        <a:pt x="128521" y="256495"/>
                      </a:lnTo>
                      <a:lnTo>
                        <a:pt x="130160" y="255657"/>
                      </a:lnTo>
                      <a:lnTo>
                        <a:pt x="133560" y="254650"/>
                      </a:lnTo>
                      <a:lnTo>
                        <a:pt x="144865" y="253678"/>
                      </a:lnTo>
                      <a:lnTo>
                        <a:pt x="146067" y="253290"/>
                      </a:lnTo>
                      <a:lnTo>
                        <a:pt x="148314" y="251322"/>
                      </a:lnTo>
                      <a:lnTo>
                        <a:pt x="149698" y="250375"/>
                      </a:lnTo>
                      <a:lnTo>
                        <a:pt x="151677" y="249610"/>
                      </a:lnTo>
                      <a:lnTo>
                        <a:pt x="153802" y="249404"/>
                      </a:lnTo>
                      <a:lnTo>
                        <a:pt x="156340" y="249756"/>
                      </a:lnTo>
                      <a:lnTo>
                        <a:pt x="158259" y="250302"/>
                      </a:lnTo>
                      <a:lnTo>
                        <a:pt x="160663" y="250521"/>
                      </a:lnTo>
                      <a:lnTo>
                        <a:pt x="161452" y="250060"/>
                      </a:lnTo>
                      <a:lnTo>
                        <a:pt x="159740" y="247752"/>
                      </a:lnTo>
                      <a:lnTo>
                        <a:pt x="157931" y="244073"/>
                      </a:lnTo>
                      <a:lnTo>
                        <a:pt x="157372" y="241365"/>
                      </a:lnTo>
                      <a:lnTo>
                        <a:pt x="157712" y="238160"/>
                      </a:lnTo>
                      <a:lnTo>
                        <a:pt x="161076" y="233144"/>
                      </a:lnTo>
                      <a:lnTo>
                        <a:pt x="162132" y="230607"/>
                      </a:lnTo>
                      <a:lnTo>
                        <a:pt x="162084" y="230340"/>
                      </a:lnTo>
                      <a:lnTo>
                        <a:pt x="161853" y="230206"/>
                      </a:lnTo>
                      <a:lnTo>
                        <a:pt x="148848" y="227632"/>
                      </a:lnTo>
                      <a:lnTo>
                        <a:pt x="144938" y="225932"/>
                      </a:lnTo>
                      <a:lnTo>
                        <a:pt x="141113" y="223637"/>
                      </a:lnTo>
                      <a:lnTo>
                        <a:pt x="135503" y="218694"/>
                      </a:lnTo>
                      <a:lnTo>
                        <a:pt x="133123" y="216934"/>
                      </a:lnTo>
                      <a:lnTo>
                        <a:pt x="132188" y="216557"/>
                      </a:lnTo>
                      <a:lnTo>
                        <a:pt x="132674" y="217529"/>
                      </a:lnTo>
                      <a:lnTo>
                        <a:pt x="131119" y="218767"/>
                      </a:lnTo>
                      <a:lnTo>
                        <a:pt x="129808" y="219520"/>
                      </a:lnTo>
                      <a:lnTo>
                        <a:pt x="127319" y="220370"/>
                      </a:lnTo>
                      <a:lnTo>
                        <a:pt x="124562" y="220734"/>
                      </a:lnTo>
                      <a:lnTo>
                        <a:pt x="121454" y="220601"/>
                      </a:lnTo>
                      <a:lnTo>
                        <a:pt x="118357" y="219933"/>
                      </a:lnTo>
                      <a:lnTo>
                        <a:pt x="114095" y="217711"/>
                      </a:lnTo>
                      <a:lnTo>
                        <a:pt x="112091" y="214590"/>
                      </a:lnTo>
                      <a:lnTo>
                        <a:pt x="111727" y="211797"/>
                      </a:lnTo>
                      <a:lnTo>
                        <a:pt x="111921" y="208057"/>
                      </a:lnTo>
                      <a:lnTo>
                        <a:pt x="111982" y="201731"/>
                      </a:lnTo>
                      <a:lnTo>
                        <a:pt x="112492" y="199460"/>
                      </a:lnTo>
                      <a:lnTo>
                        <a:pt x="113828" y="196813"/>
                      </a:lnTo>
                      <a:lnTo>
                        <a:pt x="116378" y="195246"/>
                      </a:lnTo>
                      <a:lnTo>
                        <a:pt x="118940" y="194894"/>
                      </a:lnTo>
                      <a:lnTo>
                        <a:pt x="120288" y="195356"/>
                      </a:lnTo>
                      <a:lnTo>
                        <a:pt x="121709" y="196169"/>
                      </a:lnTo>
                      <a:lnTo>
                        <a:pt x="122935" y="197590"/>
                      </a:lnTo>
                      <a:lnTo>
                        <a:pt x="123700" y="199217"/>
                      </a:lnTo>
                      <a:lnTo>
                        <a:pt x="123809" y="199666"/>
                      </a:lnTo>
                      <a:lnTo>
                        <a:pt x="124477" y="198707"/>
                      </a:lnTo>
                      <a:lnTo>
                        <a:pt x="125327" y="197626"/>
                      </a:lnTo>
                      <a:lnTo>
                        <a:pt x="126869" y="196376"/>
                      </a:lnTo>
                      <a:lnTo>
                        <a:pt x="128326" y="195720"/>
                      </a:lnTo>
                      <a:lnTo>
                        <a:pt x="135904" y="194081"/>
                      </a:lnTo>
                      <a:lnTo>
                        <a:pt x="137494" y="193449"/>
                      </a:lnTo>
                      <a:lnTo>
                        <a:pt x="138527" y="192709"/>
                      </a:lnTo>
                      <a:lnTo>
                        <a:pt x="139935" y="190280"/>
                      </a:lnTo>
                      <a:lnTo>
                        <a:pt x="140688" y="188592"/>
                      </a:lnTo>
                      <a:lnTo>
                        <a:pt x="142169" y="182533"/>
                      </a:lnTo>
                      <a:lnTo>
                        <a:pt x="143384" y="179473"/>
                      </a:lnTo>
                      <a:lnTo>
                        <a:pt x="144938" y="177275"/>
                      </a:lnTo>
                      <a:lnTo>
                        <a:pt x="147367" y="175381"/>
                      </a:lnTo>
                      <a:lnTo>
                        <a:pt x="149358" y="174956"/>
                      </a:lnTo>
                      <a:lnTo>
                        <a:pt x="155964" y="175004"/>
                      </a:lnTo>
                      <a:lnTo>
                        <a:pt x="158308" y="174361"/>
                      </a:lnTo>
                      <a:lnTo>
                        <a:pt x="161003" y="174312"/>
                      </a:lnTo>
                      <a:lnTo>
                        <a:pt x="166905" y="176012"/>
                      </a:lnTo>
                      <a:lnTo>
                        <a:pt x="173535" y="176996"/>
                      </a:lnTo>
                      <a:lnTo>
                        <a:pt x="200711" y="176753"/>
                      </a:lnTo>
                      <a:lnTo>
                        <a:pt x="200674" y="176206"/>
                      </a:lnTo>
                      <a:lnTo>
                        <a:pt x="199193" y="174506"/>
                      </a:lnTo>
                      <a:lnTo>
                        <a:pt x="185386" y="161319"/>
                      </a:lnTo>
                      <a:lnTo>
                        <a:pt x="183431" y="160056"/>
                      </a:lnTo>
                      <a:lnTo>
                        <a:pt x="182168" y="159716"/>
                      </a:lnTo>
                      <a:lnTo>
                        <a:pt x="178477" y="160153"/>
                      </a:lnTo>
                      <a:lnTo>
                        <a:pt x="175368" y="159473"/>
                      </a:lnTo>
                      <a:lnTo>
                        <a:pt x="174239" y="159145"/>
                      </a:lnTo>
                      <a:lnTo>
                        <a:pt x="172830" y="156814"/>
                      </a:lnTo>
                      <a:lnTo>
                        <a:pt x="172102" y="154082"/>
                      </a:lnTo>
                      <a:lnTo>
                        <a:pt x="173389" y="143129"/>
                      </a:lnTo>
                      <a:lnTo>
                        <a:pt x="173425" y="140518"/>
                      </a:lnTo>
                      <a:lnTo>
                        <a:pt x="173195" y="137337"/>
                      </a:lnTo>
                      <a:lnTo>
                        <a:pt x="172235" y="133670"/>
                      </a:lnTo>
                      <a:lnTo>
                        <a:pt x="171313" y="132310"/>
                      </a:lnTo>
                      <a:lnTo>
                        <a:pt x="170426" y="131727"/>
                      </a:lnTo>
                      <a:lnTo>
                        <a:pt x="168593" y="131581"/>
                      </a:lnTo>
                      <a:lnTo>
                        <a:pt x="167135" y="131642"/>
                      </a:lnTo>
                      <a:lnTo>
                        <a:pt x="165872" y="131957"/>
                      </a:lnTo>
                      <a:lnTo>
                        <a:pt x="164707" y="132492"/>
                      </a:lnTo>
                      <a:lnTo>
                        <a:pt x="163942" y="133062"/>
                      </a:lnTo>
                      <a:lnTo>
                        <a:pt x="162958" y="133961"/>
                      </a:lnTo>
                      <a:lnTo>
                        <a:pt x="160785" y="135503"/>
                      </a:lnTo>
                      <a:lnTo>
                        <a:pt x="157032" y="135540"/>
                      </a:lnTo>
                      <a:lnTo>
                        <a:pt x="151252" y="131532"/>
                      </a:lnTo>
                      <a:lnTo>
                        <a:pt x="148557" y="128727"/>
                      </a:lnTo>
                      <a:lnTo>
                        <a:pt x="147087" y="128157"/>
                      </a:lnTo>
                      <a:lnTo>
                        <a:pt x="145266" y="127562"/>
                      </a:lnTo>
                      <a:lnTo>
                        <a:pt x="141137" y="125254"/>
                      </a:lnTo>
                      <a:lnTo>
                        <a:pt x="138684" y="121599"/>
                      </a:lnTo>
                      <a:lnTo>
                        <a:pt x="132079" y="108351"/>
                      </a:lnTo>
                      <a:lnTo>
                        <a:pt x="132431" y="101224"/>
                      </a:lnTo>
                      <a:lnTo>
                        <a:pt x="132261" y="98819"/>
                      </a:lnTo>
                      <a:lnTo>
                        <a:pt x="131508" y="96294"/>
                      </a:lnTo>
                      <a:lnTo>
                        <a:pt x="130549" y="95334"/>
                      </a:lnTo>
                      <a:lnTo>
                        <a:pt x="127865" y="93416"/>
                      </a:lnTo>
                      <a:lnTo>
                        <a:pt x="126007" y="90805"/>
                      </a:lnTo>
                      <a:lnTo>
                        <a:pt x="123409" y="84551"/>
                      </a:lnTo>
                      <a:lnTo>
                        <a:pt x="122498" y="83750"/>
                      </a:lnTo>
                      <a:lnTo>
                        <a:pt x="118515" y="80957"/>
                      </a:lnTo>
                      <a:lnTo>
                        <a:pt x="116475" y="78116"/>
                      </a:lnTo>
                      <a:lnTo>
                        <a:pt x="115528" y="75213"/>
                      </a:lnTo>
                      <a:lnTo>
                        <a:pt x="115540" y="69263"/>
                      </a:lnTo>
                      <a:lnTo>
                        <a:pt x="116232" y="65414"/>
                      </a:lnTo>
                      <a:lnTo>
                        <a:pt x="116208" y="63532"/>
                      </a:lnTo>
                      <a:lnTo>
                        <a:pt x="114241" y="60193"/>
                      </a:lnTo>
                      <a:lnTo>
                        <a:pt x="113512" y="59428"/>
                      </a:lnTo>
                      <a:lnTo>
                        <a:pt x="111764" y="58116"/>
                      </a:lnTo>
                      <a:lnTo>
                        <a:pt x="110476" y="57327"/>
                      </a:lnTo>
                      <a:lnTo>
                        <a:pt x="107526" y="54716"/>
                      </a:lnTo>
                      <a:lnTo>
                        <a:pt x="106081" y="52725"/>
                      </a:lnTo>
                      <a:lnTo>
                        <a:pt x="105340" y="50405"/>
                      </a:lnTo>
                      <a:lnTo>
                        <a:pt x="105170" y="49665"/>
                      </a:lnTo>
                      <a:lnTo>
                        <a:pt x="106664" y="44152"/>
                      </a:lnTo>
                      <a:lnTo>
                        <a:pt x="99888" y="44893"/>
                      </a:lnTo>
                      <a:lnTo>
                        <a:pt x="98564" y="41978"/>
                      </a:lnTo>
                      <a:lnTo>
                        <a:pt x="98552" y="40509"/>
                      </a:lnTo>
                      <a:lnTo>
                        <a:pt x="99536" y="37012"/>
                      </a:lnTo>
                      <a:lnTo>
                        <a:pt x="100568" y="32592"/>
                      </a:lnTo>
                      <a:lnTo>
                        <a:pt x="102219" y="33770"/>
                      </a:lnTo>
                      <a:lnTo>
                        <a:pt x="103397" y="32774"/>
                      </a:lnTo>
                      <a:lnTo>
                        <a:pt x="103919" y="32555"/>
                      </a:lnTo>
                      <a:lnTo>
                        <a:pt x="103494" y="31839"/>
                      </a:lnTo>
                      <a:lnTo>
                        <a:pt x="103130" y="30442"/>
                      </a:lnTo>
                      <a:lnTo>
                        <a:pt x="98321" y="25209"/>
                      </a:lnTo>
                      <a:lnTo>
                        <a:pt x="96233" y="21287"/>
                      </a:lnTo>
                      <a:lnTo>
                        <a:pt x="94727" y="18312"/>
                      </a:lnTo>
                      <a:lnTo>
                        <a:pt x="101466" y="15701"/>
                      </a:lnTo>
                      <a:lnTo>
                        <a:pt x="111023" y="14887"/>
                      </a:lnTo>
                      <a:lnTo>
                        <a:pt x="115504" y="13564"/>
                      </a:lnTo>
                      <a:lnTo>
                        <a:pt x="116560" y="13807"/>
                      </a:lnTo>
                      <a:lnTo>
                        <a:pt x="118976" y="14620"/>
                      </a:lnTo>
                      <a:lnTo>
                        <a:pt x="126044" y="15798"/>
                      </a:lnTo>
                      <a:lnTo>
                        <a:pt x="130476" y="15567"/>
                      </a:lnTo>
                      <a:lnTo>
                        <a:pt x="133815" y="13394"/>
                      </a:lnTo>
                      <a:lnTo>
                        <a:pt x="143165" y="2125"/>
                      </a:lnTo>
                      <a:lnTo>
                        <a:pt x="148447" y="0"/>
                      </a:lnTo>
                      <a:lnTo>
                        <a:pt x="154519" y="1324"/>
                      </a:lnTo>
                      <a:lnTo>
                        <a:pt x="155624" y="6059"/>
                      </a:lnTo>
                      <a:lnTo>
                        <a:pt x="156741" y="7201"/>
                      </a:lnTo>
                      <a:lnTo>
                        <a:pt x="158113" y="7857"/>
                      </a:lnTo>
                      <a:lnTo>
                        <a:pt x="162873" y="9629"/>
                      </a:lnTo>
                      <a:lnTo>
                        <a:pt x="165071" y="12009"/>
                      </a:lnTo>
                      <a:lnTo>
                        <a:pt x="167014" y="16357"/>
                      </a:lnTo>
                      <a:lnTo>
                        <a:pt x="173134" y="15446"/>
                      </a:lnTo>
                      <a:lnTo>
                        <a:pt x="177275" y="18506"/>
                      </a:lnTo>
                      <a:lnTo>
                        <a:pt x="179412" y="22974"/>
                      </a:lnTo>
                      <a:lnTo>
                        <a:pt x="182690" y="27297"/>
                      </a:lnTo>
                      <a:lnTo>
                        <a:pt x="185920" y="29022"/>
                      </a:lnTo>
                      <a:lnTo>
                        <a:pt x="239410" y="38275"/>
                      </a:lnTo>
                      <a:lnTo>
                        <a:pt x="245494" y="42367"/>
                      </a:lnTo>
                      <a:lnTo>
                        <a:pt x="251055" y="49907"/>
                      </a:lnTo>
                      <a:lnTo>
                        <a:pt x="254431" y="57801"/>
                      </a:lnTo>
                      <a:lnTo>
                        <a:pt x="256362" y="65827"/>
                      </a:lnTo>
                      <a:lnTo>
                        <a:pt x="256847" y="74084"/>
                      </a:lnTo>
                      <a:lnTo>
                        <a:pt x="255791" y="82669"/>
                      </a:lnTo>
                      <a:lnTo>
                        <a:pt x="253715" y="87842"/>
                      </a:lnTo>
                      <a:lnTo>
                        <a:pt x="250861" y="92796"/>
                      </a:lnTo>
                      <a:lnTo>
                        <a:pt x="249744" y="96014"/>
                      </a:lnTo>
                      <a:lnTo>
                        <a:pt x="250327" y="98334"/>
                      </a:lnTo>
                      <a:lnTo>
                        <a:pt x="251820" y="99317"/>
                      </a:lnTo>
                      <a:lnTo>
                        <a:pt x="273459" y="104854"/>
                      </a:lnTo>
                      <a:lnTo>
                        <a:pt x="273665" y="104830"/>
                      </a:lnTo>
                      <a:lnTo>
                        <a:pt x="275535" y="103434"/>
                      </a:lnTo>
                      <a:lnTo>
                        <a:pt x="280271" y="101649"/>
                      </a:lnTo>
                      <a:lnTo>
                        <a:pt x="285286" y="102741"/>
                      </a:lnTo>
                      <a:lnTo>
                        <a:pt x="287496" y="106348"/>
                      </a:lnTo>
                      <a:lnTo>
                        <a:pt x="291333" y="108546"/>
                      </a:lnTo>
                      <a:lnTo>
                        <a:pt x="300064" y="111302"/>
                      </a:lnTo>
                      <a:lnTo>
                        <a:pt x="305455" y="114204"/>
                      </a:lnTo>
                      <a:lnTo>
                        <a:pt x="308540" y="118612"/>
                      </a:lnTo>
                      <a:lnTo>
                        <a:pt x="310082" y="123822"/>
                      </a:lnTo>
                      <a:lnTo>
                        <a:pt x="311041" y="125995"/>
                      </a:lnTo>
                      <a:lnTo>
                        <a:pt x="314417" y="127659"/>
                      </a:lnTo>
                      <a:lnTo>
                        <a:pt x="316153" y="128072"/>
                      </a:lnTo>
                      <a:lnTo>
                        <a:pt x="318181" y="128327"/>
                      </a:lnTo>
                      <a:lnTo>
                        <a:pt x="322322" y="130185"/>
                      </a:lnTo>
                      <a:lnTo>
                        <a:pt x="324180" y="131095"/>
                      </a:lnTo>
                      <a:lnTo>
                        <a:pt x="323804" y="135867"/>
                      </a:lnTo>
                      <a:lnTo>
                        <a:pt x="325431" y="136001"/>
                      </a:lnTo>
                      <a:lnTo>
                        <a:pt x="335303" y="132237"/>
                      </a:lnTo>
                      <a:lnTo>
                        <a:pt x="341071" y="131569"/>
                      </a:lnTo>
                      <a:lnTo>
                        <a:pt x="350809" y="135491"/>
                      </a:lnTo>
                      <a:lnTo>
                        <a:pt x="351635" y="143384"/>
                      </a:lnTo>
                      <a:lnTo>
                        <a:pt x="351696" y="149407"/>
                      </a:lnTo>
                      <a:lnTo>
                        <a:pt x="355727" y="153462"/>
                      </a:lnTo>
                      <a:lnTo>
                        <a:pt x="372217" y="157640"/>
                      </a:lnTo>
                      <a:lnTo>
                        <a:pt x="374221" y="157494"/>
                      </a:lnTo>
                      <a:lnTo>
                        <a:pt x="379989" y="155709"/>
                      </a:lnTo>
                      <a:lnTo>
                        <a:pt x="382114" y="153985"/>
                      </a:lnTo>
                      <a:lnTo>
                        <a:pt x="384579" y="150949"/>
                      </a:lnTo>
                      <a:lnTo>
                        <a:pt x="388878" y="147112"/>
                      </a:lnTo>
                      <a:lnTo>
                        <a:pt x="393395" y="147367"/>
                      </a:lnTo>
                      <a:lnTo>
                        <a:pt x="396613" y="148229"/>
                      </a:lnTo>
                      <a:lnTo>
                        <a:pt x="399187" y="147452"/>
                      </a:lnTo>
                      <a:lnTo>
                        <a:pt x="413649" y="139899"/>
                      </a:lnTo>
                      <a:lnTo>
                        <a:pt x="429787" y="133730"/>
                      </a:lnTo>
                      <a:lnTo>
                        <a:pt x="432823" y="134738"/>
                      </a:lnTo>
                      <a:lnTo>
                        <a:pt x="448002" y="142837"/>
                      </a:lnTo>
                      <a:lnTo>
                        <a:pt x="452009" y="147185"/>
                      </a:lnTo>
                      <a:lnTo>
                        <a:pt x="453672" y="154847"/>
                      </a:lnTo>
                      <a:lnTo>
                        <a:pt x="452349" y="170657"/>
                      </a:lnTo>
                      <a:lnTo>
                        <a:pt x="453988" y="175976"/>
                      </a:lnTo>
                      <a:lnTo>
                        <a:pt x="456283" y="178635"/>
                      </a:lnTo>
                      <a:lnTo>
                        <a:pt x="465511" y="185617"/>
                      </a:lnTo>
                      <a:lnTo>
                        <a:pt x="466556" y="185216"/>
                      </a:lnTo>
                      <a:lnTo>
                        <a:pt x="470260" y="184245"/>
                      </a:lnTo>
                      <a:lnTo>
                        <a:pt x="473647" y="187196"/>
                      </a:lnTo>
                      <a:lnTo>
                        <a:pt x="474267" y="189831"/>
                      </a:lnTo>
                      <a:lnTo>
                        <a:pt x="474327" y="191713"/>
                      </a:lnTo>
                      <a:lnTo>
                        <a:pt x="475542" y="191518"/>
                      </a:lnTo>
                      <a:lnTo>
                        <a:pt x="478614" y="189588"/>
                      </a:lnTo>
                      <a:lnTo>
                        <a:pt x="490963" y="179218"/>
                      </a:lnTo>
                      <a:lnTo>
                        <a:pt x="495250" y="176753"/>
                      </a:lnTo>
                      <a:lnTo>
                        <a:pt x="500289" y="176230"/>
                      </a:lnTo>
                      <a:lnTo>
                        <a:pt x="507295" y="174033"/>
                      </a:lnTo>
                      <a:lnTo>
                        <a:pt x="513877" y="176121"/>
                      </a:lnTo>
                      <a:lnTo>
                        <a:pt x="527501" y="184221"/>
                      </a:lnTo>
                      <a:lnTo>
                        <a:pt x="528522" y="185058"/>
                      </a:lnTo>
                      <a:lnTo>
                        <a:pt x="532103" y="184828"/>
                      </a:lnTo>
                      <a:lnTo>
                        <a:pt x="534617" y="185143"/>
                      </a:lnTo>
                      <a:lnTo>
                        <a:pt x="537434" y="185945"/>
                      </a:lnTo>
                      <a:lnTo>
                        <a:pt x="539292" y="186856"/>
                      </a:lnTo>
                      <a:lnTo>
                        <a:pt x="541089" y="188434"/>
                      </a:lnTo>
                      <a:lnTo>
                        <a:pt x="541721" y="188556"/>
                      </a:lnTo>
                      <a:lnTo>
                        <a:pt x="542352" y="188361"/>
                      </a:lnTo>
                      <a:lnTo>
                        <a:pt x="545789" y="186103"/>
                      </a:lnTo>
                      <a:lnTo>
                        <a:pt x="553572" y="183480"/>
                      </a:lnTo>
                      <a:lnTo>
                        <a:pt x="558041" y="182776"/>
                      </a:lnTo>
                      <a:lnTo>
                        <a:pt x="563226" y="183565"/>
                      </a:lnTo>
                      <a:lnTo>
                        <a:pt x="566006" y="186491"/>
                      </a:lnTo>
                      <a:lnTo>
                        <a:pt x="566116" y="189175"/>
                      </a:lnTo>
                      <a:lnTo>
                        <a:pt x="569406" y="188653"/>
                      </a:lnTo>
                      <a:lnTo>
                        <a:pt x="571459" y="188629"/>
                      </a:lnTo>
                      <a:lnTo>
                        <a:pt x="578101" y="190802"/>
                      </a:lnTo>
                      <a:lnTo>
                        <a:pt x="589977" y="196934"/>
                      </a:lnTo>
                      <a:lnTo>
                        <a:pt x="595429" y="199035"/>
                      </a:lnTo>
                      <a:lnTo>
                        <a:pt x="598659" y="199751"/>
                      </a:lnTo>
                      <a:lnTo>
                        <a:pt x="602350" y="201573"/>
                      </a:lnTo>
                      <a:lnTo>
                        <a:pt x="605471" y="204159"/>
                      </a:lnTo>
                      <a:lnTo>
                        <a:pt x="608300" y="207341"/>
                      </a:lnTo>
                      <a:lnTo>
                        <a:pt x="611300" y="208895"/>
                      </a:lnTo>
                      <a:lnTo>
                        <a:pt x="623674" y="214311"/>
                      </a:lnTo>
                      <a:lnTo>
                        <a:pt x="637079" y="222143"/>
                      </a:lnTo>
                      <a:lnTo>
                        <a:pt x="638160" y="222301"/>
                      </a:lnTo>
                      <a:lnTo>
                        <a:pt x="638573" y="221997"/>
                      </a:lnTo>
                      <a:lnTo>
                        <a:pt x="639532" y="220200"/>
                      </a:lnTo>
                      <a:lnTo>
                        <a:pt x="641839" y="216788"/>
                      </a:lnTo>
                      <a:lnTo>
                        <a:pt x="646526" y="216144"/>
                      </a:lnTo>
                      <a:lnTo>
                        <a:pt x="653897" y="218937"/>
                      </a:lnTo>
                      <a:lnTo>
                        <a:pt x="654334" y="218986"/>
                      </a:lnTo>
                      <a:lnTo>
                        <a:pt x="658487" y="217832"/>
                      </a:lnTo>
                      <a:lnTo>
                        <a:pt x="662300" y="215270"/>
                      </a:lnTo>
                      <a:lnTo>
                        <a:pt x="665287" y="211809"/>
                      </a:lnTo>
                      <a:lnTo>
                        <a:pt x="666999" y="207219"/>
                      </a:lnTo>
                      <a:lnTo>
                        <a:pt x="673775" y="203346"/>
                      </a:lnTo>
                      <a:lnTo>
                        <a:pt x="686549" y="198998"/>
                      </a:lnTo>
                      <a:lnTo>
                        <a:pt x="688153" y="197663"/>
                      </a:lnTo>
                      <a:lnTo>
                        <a:pt x="693459" y="192296"/>
                      </a:lnTo>
                      <a:lnTo>
                        <a:pt x="697175" y="189260"/>
                      </a:lnTo>
                      <a:lnTo>
                        <a:pt x="703088" y="189029"/>
                      </a:lnTo>
                      <a:lnTo>
                        <a:pt x="704060" y="195526"/>
                      </a:lnTo>
                      <a:lnTo>
                        <a:pt x="704157" y="199351"/>
                      </a:lnTo>
                      <a:lnTo>
                        <a:pt x="706100" y="208021"/>
                      </a:lnTo>
                      <a:lnTo>
                        <a:pt x="708091" y="214299"/>
                      </a:lnTo>
                      <a:lnTo>
                        <a:pt x="711090" y="220686"/>
                      </a:lnTo>
                      <a:lnTo>
                        <a:pt x="714515" y="224924"/>
                      </a:lnTo>
                      <a:lnTo>
                        <a:pt x="718485" y="226490"/>
                      </a:lnTo>
                      <a:lnTo>
                        <a:pt x="727714" y="225494"/>
                      </a:lnTo>
                      <a:lnTo>
                        <a:pt x="734611" y="223394"/>
                      </a:lnTo>
                      <a:lnTo>
                        <a:pt x="738315" y="226915"/>
                      </a:lnTo>
                      <a:lnTo>
                        <a:pt x="739821" y="230667"/>
                      </a:lnTo>
                      <a:lnTo>
                        <a:pt x="740828" y="232124"/>
                      </a:lnTo>
                      <a:lnTo>
                        <a:pt x="742735" y="233242"/>
                      </a:lnTo>
                      <a:lnTo>
                        <a:pt x="750288" y="236496"/>
                      </a:lnTo>
                      <a:lnTo>
                        <a:pt x="750652" y="236545"/>
                      </a:lnTo>
                      <a:lnTo>
                        <a:pt x="751429" y="235889"/>
                      </a:lnTo>
                      <a:lnTo>
                        <a:pt x="754659" y="229222"/>
                      </a:lnTo>
                      <a:lnTo>
                        <a:pt x="757173" y="225834"/>
                      </a:lnTo>
                      <a:lnTo>
                        <a:pt x="763208" y="222046"/>
                      </a:lnTo>
                      <a:lnTo>
                        <a:pt x="770044" y="220066"/>
                      </a:lnTo>
                      <a:lnTo>
                        <a:pt x="776869" y="219629"/>
                      </a:lnTo>
                      <a:lnTo>
                        <a:pt x="783329" y="220734"/>
                      </a:lnTo>
                      <a:lnTo>
                        <a:pt x="797730" y="228433"/>
                      </a:lnTo>
                      <a:lnTo>
                        <a:pt x="802551" y="229635"/>
                      </a:lnTo>
                      <a:lnTo>
                        <a:pt x="808574" y="227049"/>
                      </a:lnTo>
                      <a:lnTo>
                        <a:pt x="814585" y="222483"/>
                      </a:lnTo>
                      <a:lnTo>
                        <a:pt x="820778" y="220261"/>
                      </a:lnTo>
                      <a:lnTo>
                        <a:pt x="824955" y="222459"/>
                      </a:lnTo>
                      <a:lnTo>
                        <a:pt x="827262" y="224377"/>
                      </a:lnTo>
                      <a:lnTo>
                        <a:pt x="828634" y="224535"/>
                      </a:lnTo>
                      <a:lnTo>
                        <a:pt x="829581" y="224074"/>
                      </a:lnTo>
                      <a:lnTo>
                        <a:pt x="830431" y="222046"/>
                      </a:lnTo>
                      <a:lnTo>
                        <a:pt x="832034" y="216679"/>
                      </a:lnTo>
                      <a:lnTo>
                        <a:pt x="836867" y="214821"/>
                      </a:lnTo>
                      <a:lnTo>
                        <a:pt x="841129" y="216290"/>
                      </a:lnTo>
                      <a:lnTo>
                        <a:pt x="844286" y="217869"/>
                      </a:lnTo>
                      <a:lnTo>
                        <a:pt x="845707" y="217844"/>
                      </a:lnTo>
                      <a:lnTo>
                        <a:pt x="851147" y="213424"/>
                      </a:lnTo>
                      <a:lnTo>
                        <a:pt x="858372" y="211700"/>
                      </a:lnTo>
                      <a:lnTo>
                        <a:pt x="858809" y="214554"/>
                      </a:lnTo>
                      <a:lnTo>
                        <a:pt x="861250" y="216497"/>
                      </a:lnTo>
                      <a:lnTo>
                        <a:pt x="862051" y="216314"/>
                      </a:lnTo>
                      <a:lnTo>
                        <a:pt x="863630" y="218184"/>
                      </a:lnTo>
                      <a:lnTo>
                        <a:pt x="864553" y="219812"/>
                      </a:lnTo>
                      <a:lnTo>
                        <a:pt x="865974" y="223855"/>
                      </a:lnTo>
                      <a:lnTo>
                        <a:pt x="866860" y="225227"/>
                      </a:lnTo>
                      <a:lnTo>
                        <a:pt x="868961" y="226854"/>
                      </a:lnTo>
                      <a:lnTo>
                        <a:pt x="874510" y="230036"/>
                      </a:lnTo>
                      <a:lnTo>
                        <a:pt x="876696" y="231967"/>
                      </a:lnTo>
                      <a:lnTo>
                        <a:pt x="880084" y="231590"/>
                      </a:lnTo>
                      <a:lnTo>
                        <a:pt x="886459" y="225154"/>
                      </a:lnTo>
                      <a:lnTo>
                        <a:pt x="891547" y="216059"/>
                      </a:lnTo>
                      <a:lnTo>
                        <a:pt x="892579" y="209454"/>
                      </a:lnTo>
                      <a:lnTo>
                        <a:pt x="892117" y="207511"/>
                      </a:lnTo>
                      <a:lnTo>
                        <a:pt x="892239" y="204499"/>
                      </a:lnTo>
                      <a:lnTo>
                        <a:pt x="894473" y="196861"/>
                      </a:lnTo>
                      <a:lnTo>
                        <a:pt x="900569" y="198221"/>
                      </a:lnTo>
                      <a:lnTo>
                        <a:pt x="904005" y="199254"/>
                      </a:lnTo>
                      <a:lnTo>
                        <a:pt x="904612" y="198998"/>
                      </a:lnTo>
                      <a:lnTo>
                        <a:pt x="907757" y="198246"/>
                      </a:lnTo>
                      <a:lnTo>
                        <a:pt x="916561" y="195161"/>
                      </a:lnTo>
                      <a:lnTo>
                        <a:pt x="920860" y="196303"/>
                      </a:lnTo>
                      <a:lnTo>
                        <a:pt x="922025" y="200358"/>
                      </a:lnTo>
                      <a:lnTo>
                        <a:pt x="919973" y="206709"/>
                      </a:lnTo>
                      <a:lnTo>
                        <a:pt x="919937" y="207256"/>
                      </a:lnTo>
                      <a:lnTo>
                        <a:pt x="921394" y="208300"/>
                      </a:lnTo>
                      <a:lnTo>
                        <a:pt x="922280" y="208664"/>
                      </a:lnTo>
                      <a:lnTo>
                        <a:pt x="923932" y="209138"/>
                      </a:lnTo>
                      <a:lnTo>
                        <a:pt x="926640" y="211020"/>
                      </a:lnTo>
                      <a:lnTo>
                        <a:pt x="933148" y="217359"/>
                      </a:lnTo>
                      <a:lnTo>
                        <a:pt x="934885" y="219459"/>
                      </a:lnTo>
                      <a:lnTo>
                        <a:pt x="936828" y="223005"/>
                      </a:lnTo>
                      <a:lnTo>
                        <a:pt x="934630" y="225810"/>
                      </a:lnTo>
                      <a:lnTo>
                        <a:pt x="933610" y="226624"/>
                      </a:lnTo>
                      <a:lnTo>
                        <a:pt x="931230" y="227935"/>
                      </a:lnTo>
                      <a:lnTo>
                        <a:pt x="933658" y="228906"/>
                      </a:lnTo>
                      <a:lnTo>
                        <a:pt x="936536" y="230485"/>
                      </a:lnTo>
                      <a:lnTo>
                        <a:pt x="938685" y="232647"/>
                      </a:lnTo>
                      <a:lnTo>
                        <a:pt x="940276" y="235816"/>
                      </a:lnTo>
                      <a:lnTo>
                        <a:pt x="940276" y="238111"/>
                      </a:lnTo>
                      <a:lnTo>
                        <a:pt x="939936" y="240552"/>
                      </a:lnTo>
                      <a:lnTo>
                        <a:pt x="939317" y="241936"/>
                      </a:lnTo>
                      <a:lnTo>
                        <a:pt x="938710" y="242555"/>
                      </a:lnTo>
                      <a:lnTo>
                        <a:pt x="936779" y="244182"/>
                      </a:lnTo>
                      <a:lnTo>
                        <a:pt x="935140" y="244510"/>
                      </a:lnTo>
                      <a:lnTo>
                        <a:pt x="932153" y="244534"/>
                      </a:lnTo>
                      <a:lnTo>
                        <a:pt x="930283" y="244935"/>
                      </a:lnTo>
                      <a:lnTo>
                        <a:pt x="928704" y="245846"/>
                      </a:lnTo>
                      <a:lnTo>
                        <a:pt x="923652" y="250812"/>
                      </a:lnTo>
                      <a:lnTo>
                        <a:pt x="920945" y="252452"/>
                      </a:lnTo>
                      <a:lnTo>
                        <a:pt x="914958" y="254334"/>
                      </a:lnTo>
                      <a:lnTo>
                        <a:pt x="913392" y="255597"/>
                      </a:lnTo>
                      <a:lnTo>
                        <a:pt x="911303" y="257661"/>
                      </a:lnTo>
                      <a:lnTo>
                        <a:pt x="904795" y="265250"/>
                      </a:lnTo>
                      <a:lnTo>
                        <a:pt x="900569" y="268748"/>
                      </a:lnTo>
                      <a:lnTo>
                        <a:pt x="897497" y="272123"/>
                      </a:lnTo>
                      <a:lnTo>
                        <a:pt x="894619" y="274127"/>
                      </a:lnTo>
                      <a:lnTo>
                        <a:pt x="890369" y="275973"/>
                      </a:lnTo>
                      <a:lnTo>
                        <a:pt x="889069" y="276920"/>
                      </a:lnTo>
                      <a:lnTo>
                        <a:pt x="885536" y="280599"/>
                      </a:lnTo>
                      <a:lnTo>
                        <a:pt x="882670" y="282056"/>
                      </a:lnTo>
                      <a:lnTo>
                        <a:pt x="880581" y="282457"/>
                      </a:lnTo>
                      <a:lnTo>
                        <a:pt x="878420" y="282275"/>
                      </a:lnTo>
                      <a:lnTo>
                        <a:pt x="877813" y="282275"/>
                      </a:lnTo>
                      <a:lnTo>
                        <a:pt x="876732" y="283246"/>
                      </a:lnTo>
                      <a:lnTo>
                        <a:pt x="870770" y="290787"/>
                      </a:lnTo>
                      <a:lnTo>
                        <a:pt x="857194" y="301291"/>
                      </a:lnTo>
                      <a:lnTo>
                        <a:pt x="852313" y="306391"/>
                      </a:lnTo>
                      <a:lnTo>
                        <a:pt x="851196" y="308273"/>
                      </a:lnTo>
                      <a:lnTo>
                        <a:pt x="851147" y="309329"/>
                      </a:lnTo>
                      <a:lnTo>
                        <a:pt x="851390" y="311284"/>
                      </a:lnTo>
                      <a:lnTo>
                        <a:pt x="851086" y="314053"/>
                      </a:lnTo>
                      <a:lnTo>
                        <a:pt x="850224" y="316566"/>
                      </a:lnTo>
                      <a:lnTo>
                        <a:pt x="848816" y="322347"/>
                      </a:lnTo>
                      <a:lnTo>
                        <a:pt x="848245" y="323646"/>
                      </a:lnTo>
                      <a:lnTo>
                        <a:pt x="847626" y="324289"/>
                      </a:lnTo>
                      <a:lnTo>
                        <a:pt x="845549" y="326026"/>
                      </a:lnTo>
                      <a:lnTo>
                        <a:pt x="843631" y="326487"/>
                      </a:lnTo>
                      <a:lnTo>
                        <a:pt x="843291" y="327289"/>
                      </a:lnTo>
                      <a:lnTo>
                        <a:pt x="844347" y="328612"/>
                      </a:lnTo>
                      <a:lnTo>
                        <a:pt x="844978" y="329924"/>
                      </a:lnTo>
                      <a:lnTo>
                        <a:pt x="845403" y="331587"/>
                      </a:lnTo>
                      <a:lnTo>
                        <a:pt x="846132" y="332194"/>
                      </a:lnTo>
                      <a:lnTo>
                        <a:pt x="848913" y="333676"/>
                      </a:lnTo>
                      <a:lnTo>
                        <a:pt x="854304" y="336117"/>
                      </a:lnTo>
                      <a:lnTo>
                        <a:pt x="857194" y="337877"/>
                      </a:lnTo>
                      <a:lnTo>
                        <a:pt x="860060" y="342807"/>
                      </a:lnTo>
                      <a:lnTo>
                        <a:pt x="861481" y="344349"/>
                      </a:lnTo>
                      <a:lnTo>
                        <a:pt x="862756" y="346487"/>
                      </a:lnTo>
                      <a:lnTo>
                        <a:pt x="863982" y="350773"/>
                      </a:lnTo>
                      <a:lnTo>
                        <a:pt x="865051" y="352898"/>
                      </a:lnTo>
                      <a:lnTo>
                        <a:pt x="865961" y="354052"/>
                      </a:lnTo>
                      <a:lnTo>
                        <a:pt x="869786" y="356492"/>
                      </a:lnTo>
                      <a:lnTo>
                        <a:pt x="871560" y="359395"/>
                      </a:lnTo>
                      <a:lnTo>
                        <a:pt x="882379" y="363924"/>
                      </a:lnTo>
                      <a:lnTo>
                        <a:pt x="888232" y="368210"/>
                      </a:lnTo>
                      <a:lnTo>
                        <a:pt x="890782" y="371513"/>
                      </a:lnTo>
                      <a:lnTo>
                        <a:pt x="891814" y="374185"/>
                      </a:lnTo>
                      <a:lnTo>
                        <a:pt x="892737" y="379260"/>
                      </a:lnTo>
                      <a:lnTo>
                        <a:pt x="893623" y="382685"/>
                      </a:lnTo>
                      <a:lnTo>
                        <a:pt x="893890" y="384130"/>
                      </a:lnTo>
                      <a:lnTo>
                        <a:pt x="893939" y="386109"/>
                      </a:lnTo>
                      <a:lnTo>
                        <a:pt x="893052" y="392448"/>
                      </a:lnTo>
                      <a:lnTo>
                        <a:pt x="891486" y="398349"/>
                      </a:lnTo>
                      <a:lnTo>
                        <a:pt x="891474" y="398628"/>
                      </a:lnTo>
                      <a:lnTo>
                        <a:pt x="892130" y="399551"/>
                      </a:lnTo>
                      <a:lnTo>
                        <a:pt x="893429" y="400790"/>
                      </a:lnTo>
                      <a:lnTo>
                        <a:pt x="894704" y="402551"/>
                      </a:lnTo>
                      <a:lnTo>
                        <a:pt x="895238" y="403789"/>
                      </a:lnTo>
                      <a:lnTo>
                        <a:pt x="895542" y="407578"/>
                      </a:lnTo>
                      <a:lnTo>
                        <a:pt x="896489" y="414426"/>
                      </a:lnTo>
                      <a:lnTo>
                        <a:pt x="880836" y="411694"/>
                      </a:lnTo>
                      <a:lnTo>
                        <a:pt x="875542" y="409411"/>
                      </a:lnTo>
                      <a:lnTo>
                        <a:pt x="875433" y="407031"/>
                      </a:lnTo>
                      <a:lnTo>
                        <a:pt x="873708" y="405671"/>
                      </a:lnTo>
                      <a:lnTo>
                        <a:pt x="872604" y="405404"/>
                      </a:lnTo>
                      <a:lnTo>
                        <a:pt x="871316" y="406327"/>
                      </a:lnTo>
                      <a:lnTo>
                        <a:pt x="867273" y="408695"/>
                      </a:lnTo>
                      <a:lnTo>
                        <a:pt x="859708" y="411111"/>
                      </a:lnTo>
                      <a:lnTo>
                        <a:pt x="858421" y="413273"/>
                      </a:lnTo>
                      <a:lnTo>
                        <a:pt x="856963" y="415131"/>
                      </a:lnTo>
                      <a:lnTo>
                        <a:pt x="853721" y="417316"/>
                      </a:lnTo>
                      <a:lnTo>
                        <a:pt x="847698" y="420207"/>
                      </a:lnTo>
                      <a:lnTo>
                        <a:pt x="841165" y="422587"/>
                      </a:lnTo>
                      <a:lnTo>
                        <a:pt x="839696" y="423461"/>
                      </a:lnTo>
                      <a:lnTo>
                        <a:pt x="839684" y="423813"/>
                      </a:lnTo>
                      <a:lnTo>
                        <a:pt x="839563" y="424250"/>
                      </a:lnTo>
                      <a:lnTo>
                        <a:pt x="839138" y="425294"/>
                      </a:lnTo>
                      <a:lnTo>
                        <a:pt x="838191" y="426642"/>
                      </a:lnTo>
                      <a:lnTo>
                        <a:pt x="837268" y="427541"/>
                      </a:lnTo>
                      <a:lnTo>
                        <a:pt x="836843" y="427844"/>
                      </a:lnTo>
                      <a:lnTo>
                        <a:pt x="837353" y="428233"/>
                      </a:lnTo>
                      <a:lnTo>
                        <a:pt x="838616" y="429909"/>
                      </a:lnTo>
                      <a:lnTo>
                        <a:pt x="839259" y="431256"/>
                      </a:lnTo>
                      <a:lnTo>
                        <a:pt x="839624" y="432313"/>
                      </a:lnTo>
                      <a:lnTo>
                        <a:pt x="840036" y="432179"/>
                      </a:lnTo>
                      <a:lnTo>
                        <a:pt x="841117" y="432082"/>
                      </a:lnTo>
                      <a:lnTo>
                        <a:pt x="844177" y="433114"/>
                      </a:lnTo>
                      <a:lnTo>
                        <a:pt x="845076" y="434061"/>
                      </a:lnTo>
                      <a:lnTo>
                        <a:pt x="846569" y="436284"/>
                      </a:lnTo>
                      <a:lnTo>
                        <a:pt x="847626" y="437547"/>
                      </a:lnTo>
                      <a:lnTo>
                        <a:pt x="848621" y="439417"/>
                      </a:lnTo>
                      <a:lnTo>
                        <a:pt x="849690" y="443667"/>
                      </a:lnTo>
                      <a:lnTo>
                        <a:pt x="851098" y="447455"/>
                      </a:lnTo>
                      <a:lnTo>
                        <a:pt x="853163" y="450467"/>
                      </a:lnTo>
                      <a:lnTo>
                        <a:pt x="852883" y="454364"/>
                      </a:lnTo>
                      <a:lnTo>
                        <a:pt x="848500" y="461237"/>
                      </a:lnTo>
                      <a:lnTo>
                        <a:pt x="838445" y="471777"/>
                      </a:lnTo>
                      <a:lnTo>
                        <a:pt x="835896" y="464419"/>
                      </a:lnTo>
                      <a:lnTo>
                        <a:pt x="834851" y="463496"/>
                      </a:lnTo>
                      <a:lnTo>
                        <a:pt x="833540" y="462743"/>
                      </a:lnTo>
                      <a:lnTo>
                        <a:pt x="831986" y="462039"/>
                      </a:lnTo>
                      <a:lnTo>
                        <a:pt x="828403" y="461590"/>
                      </a:lnTo>
                      <a:lnTo>
                        <a:pt x="820049" y="462974"/>
                      </a:lnTo>
                      <a:lnTo>
                        <a:pt x="815131" y="460667"/>
                      </a:lnTo>
                      <a:lnTo>
                        <a:pt x="803437" y="458360"/>
                      </a:lnTo>
                      <a:lnTo>
                        <a:pt x="800900" y="455664"/>
                      </a:lnTo>
                      <a:lnTo>
                        <a:pt x="799066" y="452337"/>
                      </a:lnTo>
                      <a:lnTo>
                        <a:pt x="797269" y="450102"/>
                      </a:lnTo>
                      <a:lnTo>
                        <a:pt x="795581" y="449046"/>
                      </a:lnTo>
                      <a:lnTo>
                        <a:pt x="794597" y="448694"/>
                      </a:lnTo>
                      <a:lnTo>
                        <a:pt x="793505" y="448633"/>
                      </a:lnTo>
                      <a:lnTo>
                        <a:pt x="792594" y="448487"/>
                      </a:lnTo>
                      <a:lnTo>
                        <a:pt x="791914" y="447856"/>
                      </a:lnTo>
                      <a:lnTo>
                        <a:pt x="791222" y="447577"/>
                      </a:lnTo>
                      <a:lnTo>
                        <a:pt x="789837" y="448475"/>
                      </a:lnTo>
                      <a:lnTo>
                        <a:pt x="782977" y="454413"/>
                      </a:lnTo>
                      <a:lnTo>
                        <a:pt x="781568" y="457267"/>
                      </a:lnTo>
                      <a:lnTo>
                        <a:pt x="781119" y="459367"/>
                      </a:lnTo>
                      <a:lnTo>
                        <a:pt x="780876" y="462112"/>
                      </a:lnTo>
                      <a:lnTo>
                        <a:pt x="777597" y="464043"/>
                      </a:lnTo>
                      <a:lnTo>
                        <a:pt x="776990" y="464905"/>
                      </a:lnTo>
                      <a:lnTo>
                        <a:pt x="776322" y="469118"/>
                      </a:lnTo>
                      <a:lnTo>
                        <a:pt x="774465" y="473465"/>
                      </a:lnTo>
                      <a:lnTo>
                        <a:pt x="769352" y="475894"/>
                      </a:lnTo>
                      <a:lnTo>
                        <a:pt x="765649" y="475092"/>
                      </a:lnTo>
                      <a:lnTo>
                        <a:pt x="762164" y="473732"/>
                      </a:lnTo>
                      <a:lnTo>
                        <a:pt x="760075" y="472603"/>
                      </a:lnTo>
                      <a:lnTo>
                        <a:pt x="759990" y="472603"/>
                      </a:lnTo>
                      <a:lnTo>
                        <a:pt x="759419" y="472870"/>
                      </a:lnTo>
                      <a:lnTo>
                        <a:pt x="758253" y="473635"/>
                      </a:lnTo>
                      <a:lnTo>
                        <a:pt x="757148" y="474072"/>
                      </a:lnTo>
                      <a:lnTo>
                        <a:pt x="751964" y="474497"/>
                      </a:lnTo>
                      <a:lnTo>
                        <a:pt x="751089" y="474801"/>
                      </a:lnTo>
                      <a:lnTo>
                        <a:pt x="750093" y="475760"/>
                      </a:lnTo>
                      <a:lnTo>
                        <a:pt x="748649" y="479974"/>
                      </a:lnTo>
                      <a:lnTo>
                        <a:pt x="748345" y="483107"/>
                      </a:lnTo>
                      <a:lnTo>
                        <a:pt x="745540" y="495165"/>
                      </a:lnTo>
                      <a:lnTo>
                        <a:pt x="743670" y="498856"/>
                      </a:lnTo>
                      <a:lnTo>
                        <a:pt x="740051" y="499427"/>
                      </a:lnTo>
                      <a:lnTo>
                        <a:pt x="734866" y="497375"/>
                      </a:lnTo>
                      <a:lnTo>
                        <a:pt x="733931" y="497387"/>
                      </a:lnTo>
                      <a:lnTo>
                        <a:pt x="728528" y="499354"/>
                      </a:lnTo>
                      <a:lnTo>
                        <a:pt x="727180" y="500532"/>
                      </a:lnTo>
                      <a:lnTo>
                        <a:pt x="723148" y="504697"/>
                      </a:lnTo>
                      <a:lnTo>
                        <a:pt x="719214" y="510295"/>
                      </a:lnTo>
                      <a:lnTo>
                        <a:pt x="718279" y="512760"/>
                      </a:lnTo>
                      <a:lnTo>
                        <a:pt x="717684" y="515383"/>
                      </a:lnTo>
                      <a:lnTo>
                        <a:pt x="718571" y="535953"/>
                      </a:lnTo>
                      <a:lnTo>
                        <a:pt x="718060" y="539110"/>
                      </a:lnTo>
                      <a:lnTo>
                        <a:pt x="716324" y="542474"/>
                      </a:lnTo>
                      <a:lnTo>
                        <a:pt x="714405" y="545096"/>
                      </a:lnTo>
                      <a:lnTo>
                        <a:pt x="711430" y="550634"/>
                      </a:lnTo>
                      <a:lnTo>
                        <a:pt x="709597" y="552917"/>
                      </a:lnTo>
                      <a:lnTo>
                        <a:pt x="708929" y="553633"/>
                      </a:lnTo>
                      <a:lnTo>
                        <a:pt x="709730" y="555382"/>
                      </a:lnTo>
                      <a:lnTo>
                        <a:pt x="710289" y="559377"/>
                      </a:lnTo>
                      <a:lnTo>
                        <a:pt x="708164" y="569467"/>
                      </a:lnTo>
                      <a:lnTo>
                        <a:pt x="708808" y="575442"/>
                      </a:lnTo>
                      <a:lnTo>
                        <a:pt x="705990" y="583262"/>
                      </a:lnTo>
                      <a:lnTo>
                        <a:pt x="705383" y="585763"/>
                      </a:lnTo>
                      <a:lnTo>
                        <a:pt x="705055" y="590438"/>
                      </a:lnTo>
                      <a:lnTo>
                        <a:pt x="702396" y="593498"/>
                      </a:lnTo>
                      <a:lnTo>
                        <a:pt x="698656" y="594907"/>
                      </a:lnTo>
                      <a:lnTo>
                        <a:pt x="694758" y="594397"/>
                      </a:lnTo>
                      <a:lnTo>
                        <a:pt x="684340" y="590426"/>
                      </a:lnTo>
                      <a:lnTo>
                        <a:pt x="679883" y="589321"/>
                      </a:lnTo>
                      <a:lnTo>
                        <a:pt x="679725" y="590329"/>
                      </a:lnTo>
                      <a:lnTo>
                        <a:pt x="675172" y="596826"/>
                      </a:lnTo>
                      <a:lnTo>
                        <a:pt x="675075" y="597566"/>
                      </a:lnTo>
                      <a:lnTo>
                        <a:pt x="675560" y="601573"/>
                      </a:lnTo>
                      <a:lnTo>
                        <a:pt x="674309" y="604937"/>
                      </a:lnTo>
                      <a:lnTo>
                        <a:pt x="671164" y="605143"/>
                      </a:lnTo>
                      <a:lnTo>
                        <a:pt x="656763" y="600651"/>
                      </a:lnTo>
                      <a:lnTo>
                        <a:pt x="649866" y="595502"/>
                      </a:lnTo>
                      <a:lnTo>
                        <a:pt x="647704" y="594312"/>
                      </a:lnTo>
                      <a:lnTo>
                        <a:pt x="646672" y="594069"/>
                      </a:lnTo>
                      <a:lnTo>
                        <a:pt x="646198" y="594142"/>
                      </a:lnTo>
                      <a:lnTo>
                        <a:pt x="646017" y="594288"/>
                      </a:lnTo>
                      <a:lnTo>
                        <a:pt x="644025" y="598768"/>
                      </a:lnTo>
                      <a:lnTo>
                        <a:pt x="637613" y="602047"/>
                      </a:lnTo>
                      <a:lnTo>
                        <a:pt x="634505" y="602047"/>
                      </a:lnTo>
                      <a:lnTo>
                        <a:pt x="630947" y="603031"/>
                      </a:lnTo>
                      <a:lnTo>
                        <a:pt x="626138" y="603043"/>
                      </a:lnTo>
                      <a:lnTo>
                        <a:pt x="621658" y="600663"/>
                      </a:lnTo>
                      <a:lnTo>
                        <a:pt x="617906" y="599133"/>
                      </a:lnTo>
                      <a:lnTo>
                        <a:pt x="616339" y="599230"/>
                      </a:lnTo>
                      <a:lnTo>
                        <a:pt x="607875" y="607584"/>
                      </a:lnTo>
                      <a:lnTo>
                        <a:pt x="601500" y="612757"/>
                      </a:lnTo>
                      <a:lnTo>
                        <a:pt x="600675" y="613862"/>
                      </a:lnTo>
                      <a:lnTo>
                        <a:pt x="599096" y="620188"/>
                      </a:lnTo>
                      <a:lnTo>
                        <a:pt x="599400" y="627899"/>
                      </a:lnTo>
                      <a:lnTo>
                        <a:pt x="596024" y="630303"/>
                      </a:lnTo>
                      <a:lnTo>
                        <a:pt x="594992" y="630789"/>
                      </a:lnTo>
                      <a:lnTo>
                        <a:pt x="594530" y="631591"/>
                      </a:lnTo>
                      <a:lnTo>
                        <a:pt x="595065" y="633109"/>
                      </a:lnTo>
                      <a:lnTo>
                        <a:pt x="594786" y="636205"/>
                      </a:lnTo>
                      <a:lnTo>
                        <a:pt x="593583" y="639180"/>
                      </a:lnTo>
                      <a:lnTo>
                        <a:pt x="591313" y="642422"/>
                      </a:lnTo>
                      <a:lnTo>
                        <a:pt x="587026" y="643551"/>
                      </a:lnTo>
                      <a:lnTo>
                        <a:pt x="581780" y="640686"/>
                      </a:lnTo>
                      <a:lnTo>
                        <a:pt x="569917" y="631797"/>
                      </a:lnTo>
                      <a:lnTo>
                        <a:pt x="554653" y="623710"/>
                      </a:lnTo>
                      <a:lnTo>
                        <a:pt x="552807" y="619715"/>
                      </a:lnTo>
                      <a:lnTo>
                        <a:pt x="553402" y="616218"/>
                      </a:lnTo>
                      <a:lnTo>
                        <a:pt x="558867" y="610171"/>
                      </a:lnTo>
                      <a:lnTo>
                        <a:pt x="559316" y="608981"/>
                      </a:lnTo>
                      <a:lnTo>
                        <a:pt x="559255" y="608106"/>
                      </a:lnTo>
                      <a:lnTo>
                        <a:pt x="558466" y="602411"/>
                      </a:lnTo>
                      <a:lnTo>
                        <a:pt x="557968" y="601173"/>
                      </a:lnTo>
                      <a:lnTo>
                        <a:pt x="554094" y="600833"/>
                      </a:lnTo>
                      <a:lnTo>
                        <a:pt x="546894" y="598186"/>
                      </a:lnTo>
                      <a:lnTo>
                        <a:pt x="545958" y="598416"/>
                      </a:lnTo>
                      <a:lnTo>
                        <a:pt x="541939" y="600954"/>
                      </a:lnTo>
                      <a:lnTo>
                        <a:pt x="538005" y="601136"/>
                      </a:lnTo>
                      <a:lnTo>
                        <a:pt x="532881" y="600201"/>
                      </a:lnTo>
                      <a:lnTo>
                        <a:pt x="528922" y="597080"/>
                      </a:lnTo>
                      <a:lnTo>
                        <a:pt x="526493" y="594506"/>
                      </a:lnTo>
                      <a:lnTo>
                        <a:pt x="524441" y="590511"/>
                      </a:lnTo>
                      <a:lnTo>
                        <a:pt x="522341" y="574701"/>
                      </a:lnTo>
                      <a:lnTo>
                        <a:pt x="521187" y="572722"/>
                      </a:lnTo>
                      <a:lnTo>
                        <a:pt x="518685" y="570973"/>
                      </a:lnTo>
                      <a:lnTo>
                        <a:pt x="516221" y="570208"/>
                      </a:lnTo>
                      <a:lnTo>
                        <a:pt x="514217" y="570342"/>
                      </a:lnTo>
                      <a:lnTo>
                        <a:pt x="510866" y="569941"/>
                      </a:lnTo>
                      <a:lnTo>
                        <a:pt x="508534" y="567780"/>
                      </a:lnTo>
                      <a:lnTo>
                        <a:pt x="508582" y="564987"/>
                      </a:lnTo>
                      <a:lnTo>
                        <a:pt x="509226" y="563578"/>
                      </a:lnTo>
                      <a:lnTo>
                        <a:pt x="507453" y="565169"/>
                      </a:lnTo>
                      <a:lnTo>
                        <a:pt x="498553" y="570998"/>
                      </a:lnTo>
                      <a:lnTo>
                        <a:pt x="487223" y="572187"/>
                      </a:lnTo>
                      <a:lnTo>
                        <a:pt x="477630" y="560312"/>
                      </a:lnTo>
                      <a:lnTo>
                        <a:pt x="474923" y="558211"/>
                      </a:lnTo>
                      <a:lnTo>
                        <a:pt x="472348" y="557385"/>
                      </a:lnTo>
                      <a:lnTo>
                        <a:pt x="457570" y="557750"/>
                      </a:lnTo>
                      <a:lnTo>
                        <a:pt x="456477" y="558102"/>
                      </a:lnTo>
                      <a:lnTo>
                        <a:pt x="454534" y="560093"/>
                      </a:lnTo>
                      <a:lnTo>
                        <a:pt x="452968" y="562631"/>
                      </a:lnTo>
                      <a:lnTo>
                        <a:pt x="451778" y="565120"/>
                      </a:lnTo>
                      <a:lnTo>
                        <a:pt x="451207" y="567233"/>
                      </a:lnTo>
                      <a:lnTo>
                        <a:pt x="450734" y="572540"/>
                      </a:lnTo>
                      <a:lnTo>
                        <a:pt x="449665" y="575891"/>
                      </a:lnTo>
                      <a:lnTo>
                        <a:pt x="447151" y="579595"/>
                      </a:lnTo>
                      <a:lnTo>
                        <a:pt x="442829" y="580797"/>
                      </a:lnTo>
                      <a:lnTo>
                        <a:pt x="443436" y="581707"/>
                      </a:lnTo>
                      <a:lnTo>
                        <a:pt x="444359" y="584282"/>
                      </a:lnTo>
                      <a:lnTo>
                        <a:pt x="444808" y="587050"/>
                      </a:lnTo>
                      <a:lnTo>
                        <a:pt x="444844" y="595478"/>
                      </a:lnTo>
                      <a:lnTo>
                        <a:pt x="443144" y="599133"/>
                      </a:lnTo>
                      <a:lnTo>
                        <a:pt x="439186" y="601598"/>
                      </a:lnTo>
                      <a:lnTo>
                        <a:pt x="433831" y="601634"/>
                      </a:lnTo>
                      <a:lnTo>
                        <a:pt x="429921" y="600881"/>
                      </a:lnTo>
                      <a:lnTo>
                        <a:pt x="428124" y="600347"/>
                      </a:lnTo>
                      <a:lnTo>
                        <a:pt x="427881" y="601015"/>
                      </a:lnTo>
                      <a:lnTo>
                        <a:pt x="426727" y="602326"/>
                      </a:lnTo>
                      <a:lnTo>
                        <a:pt x="424614" y="604196"/>
                      </a:lnTo>
                      <a:lnTo>
                        <a:pt x="424602" y="604524"/>
                      </a:lnTo>
                      <a:lnTo>
                        <a:pt x="417790" y="610984"/>
                      </a:lnTo>
                      <a:lnTo>
                        <a:pt x="414451" y="611810"/>
                      </a:lnTo>
                      <a:lnTo>
                        <a:pt x="411415" y="610766"/>
                      </a:lnTo>
                      <a:lnTo>
                        <a:pt x="409120" y="609612"/>
                      </a:lnTo>
                      <a:lnTo>
                        <a:pt x="407772" y="609721"/>
                      </a:lnTo>
                      <a:lnTo>
                        <a:pt x="404870" y="610292"/>
                      </a:lnTo>
                      <a:lnTo>
                        <a:pt x="400085" y="610535"/>
                      </a:lnTo>
                      <a:lnTo>
                        <a:pt x="391719" y="609782"/>
                      </a:lnTo>
                      <a:lnTo>
                        <a:pt x="388853" y="611555"/>
                      </a:lnTo>
                      <a:lnTo>
                        <a:pt x="373298" y="613328"/>
                      </a:lnTo>
                      <a:lnTo>
                        <a:pt x="372412" y="613583"/>
                      </a:lnTo>
                      <a:lnTo>
                        <a:pt x="372388" y="614348"/>
                      </a:lnTo>
                      <a:lnTo>
                        <a:pt x="372266" y="615040"/>
                      </a:lnTo>
                      <a:lnTo>
                        <a:pt x="370530" y="617456"/>
                      </a:lnTo>
                      <a:lnTo>
                        <a:pt x="367931" y="618828"/>
                      </a:lnTo>
                      <a:lnTo>
                        <a:pt x="351259" y="624912"/>
                      </a:lnTo>
                      <a:lnTo>
                        <a:pt x="350384" y="625762"/>
                      </a:lnTo>
                      <a:lnTo>
                        <a:pt x="350336" y="625993"/>
                      </a:lnTo>
                      <a:lnTo>
                        <a:pt x="350749" y="627948"/>
                      </a:lnTo>
                      <a:lnTo>
                        <a:pt x="349850" y="630935"/>
                      </a:lnTo>
                      <a:lnTo>
                        <a:pt x="347762" y="632999"/>
                      </a:lnTo>
                      <a:lnTo>
                        <a:pt x="344762" y="635222"/>
                      </a:lnTo>
                      <a:lnTo>
                        <a:pt x="337428" y="642240"/>
                      </a:lnTo>
                      <a:lnTo>
                        <a:pt x="333287" y="643442"/>
                      </a:lnTo>
                      <a:lnTo>
                        <a:pt x="329948" y="639775"/>
                      </a:lnTo>
                      <a:lnTo>
                        <a:pt x="330130" y="636484"/>
                      </a:lnTo>
                      <a:lnTo>
                        <a:pt x="330701" y="633691"/>
                      </a:lnTo>
                      <a:lnTo>
                        <a:pt x="321460" y="636909"/>
                      </a:lnTo>
                      <a:lnTo>
                        <a:pt x="319092" y="638670"/>
                      </a:lnTo>
                      <a:lnTo>
                        <a:pt x="315546" y="640540"/>
                      </a:lnTo>
                      <a:lnTo>
                        <a:pt x="311041" y="641669"/>
                      </a:lnTo>
                      <a:lnTo>
                        <a:pt x="299408" y="640589"/>
                      </a:lnTo>
                      <a:lnTo>
                        <a:pt x="295741" y="638099"/>
                      </a:lnTo>
                      <a:lnTo>
                        <a:pt x="294150" y="635391"/>
                      </a:lnTo>
                      <a:lnTo>
                        <a:pt x="292013" y="624086"/>
                      </a:lnTo>
                      <a:lnTo>
                        <a:pt x="287836" y="624936"/>
                      </a:lnTo>
                      <a:lnTo>
                        <a:pt x="283950" y="622884"/>
                      </a:lnTo>
                      <a:lnTo>
                        <a:pt x="282068" y="613109"/>
                      </a:lnTo>
                      <a:lnTo>
                        <a:pt x="281303" y="612381"/>
                      </a:lnTo>
                      <a:lnTo>
                        <a:pt x="280550" y="612332"/>
                      </a:lnTo>
                      <a:lnTo>
                        <a:pt x="279239" y="613146"/>
                      </a:lnTo>
                      <a:lnTo>
                        <a:pt x="277612" y="614445"/>
                      </a:lnTo>
                      <a:lnTo>
                        <a:pt x="274370" y="616254"/>
                      </a:lnTo>
                      <a:lnTo>
                        <a:pt x="271965" y="617954"/>
                      </a:lnTo>
                      <a:lnTo>
                        <a:pt x="263563" y="622483"/>
                      </a:lnTo>
                      <a:lnTo>
                        <a:pt x="261024" y="624669"/>
                      </a:lnTo>
                      <a:lnTo>
                        <a:pt x="259239" y="627778"/>
                      </a:lnTo>
                      <a:lnTo>
                        <a:pt x="257382" y="633667"/>
                      </a:lnTo>
                      <a:lnTo>
                        <a:pt x="254589" y="636436"/>
                      </a:lnTo>
                      <a:lnTo>
                        <a:pt x="250970" y="636399"/>
                      </a:lnTo>
                      <a:lnTo>
                        <a:pt x="246295" y="635331"/>
                      </a:lnTo>
                      <a:lnTo>
                        <a:pt x="244049" y="635270"/>
                      </a:lnTo>
                      <a:lnTo>
                        <a:pt x="241608" y="633934"/>
                      </a:lnTo>
                      <a:lnTo>
                        <a:pt x="241256" y="633679"/>
                      </a:lnTo>
                      <a:lnTo>
                        <a:pt x="240175" y="635574"/>
                      </a:lnTo>
                      <a:lnTo>
                        <a:pt x="235658" y="639726"/>
                      </a:lnTo>
                      <a:lnTo>
                        <a:pt x="234978" y="641244"/>
                      </a:lnTo>
                      <a:lnTo>
                        <a:pt x="234772" y="642446"/>
                      </a:lnTo>
                      <a:lnTo>
                        <a:pt x="233873" y="644887"/>
                      </a:lnTo>
                      <a:lnTo>
                        <a:pt x="229477" y="649040"/>
                      </a:lnTo>
                      <a:lnTo>
                        <a:pt x="226332" y="650522"/>
                      </a:lnTo>
                      <a:lnTo>
                        <a:pt x="223284" y="651068"/>
                      </a:lnTo>
                      <a:close/>
                    </a:path>
                  </a:pathLst>
                </a:custGeom>
                <a:solidFill>
                  <a:srgbClr val="D7D7D2"/>
                </a:solidFill>
                <a:ln w="12138" cap="flat">
                  <a:noFill/>
                  <a:prstDash val="solid"/>
                  <a:miter/>
                </a:ln>
              </p:spPr>
              <p:txBody>
                <a:bodyPr rtlCol="0" anchor="ctr"/>
                <a:lstStyle/>
                <a:p>
                  <a:endParaRPr lang="en-US"/>
                </a:p>
              </p:txBody>
            </p:sp>
            <p:sp>
              <p:nvSpPr>
                <p:cNvPr id="337" name="Freeform: Shape 336">
                  <a:extLst>
                    <a:ext uri="{FF2B5EF4-FFF2-40B4-BE49-F238E27FC236}">
                      <a16:creationId xmlns:a16="http://schemas.microsoft.com/office/drawing/2014/main" id="{9F243151-7D39-4EB6-882D-0D7823C355BD}"/>
                    </a:ext>
                  </a:extLst>
                </p:cNvPr>
                <p:cNvSpPr/>
                <p:nvPr/>
              </p:nvSpPr>
              <p:spPr>
                <a:xfrm>
                  <a:off x="6199603" y="2641399"/>
                  <a:ext cx="946299" cy="657309"/>
                </a:xfrm>
                <a:custGeom>
                  <a:avLst/>
                  <a:gdLst>
                    <a:gd name="connsiteX0" fmla="*/ 151762 w 946299"/>
                    <a:gd name="connsiteY0" fmla="*/ 6339 h 657309"/>
                    <a:gd name="connsiteX1" fmla="*/ 155041 w 946299"/>
                    <a:gd name="connsiteY1" fmla="*/ 7055 h 657309"/>
                    <a:gd name="connsiteX2" fmla="*/ 155903 w 946299"/>
                    <a:gd name="connsiteY2" fmla="*/ 10759 h 657309"/>
                    <a:gd name="connsiteX3" fmla="*/ 157628 w 946299"/>
                    <a:gd name="connsiteY3" fmla="*/ 12507 h 657309"/>
                    <a:gd name="connsiteX4" fmla="*/ 159643 w 946299"/>
                    <a:gd name="connsiteY4" fmla="*/ 13661 h 657309"/>
                    <a:gd name="connsiteX5" fmla="*/ 164173 w 946299"/>
                    <a:gd name="connsiteY5" fmla="*/ 15385 h 657309"/>
                    <a:gd name="connsiteX6" fmla="*/ 165897 w 946299"/>
                    <a:gd name="connsiteY6" fmla="*/ 17243 h 657309"/>
                    <a:gd name="connsiteX7" fmla="*/ 167913 w 946299"/>
                    <a:gd name="connsiteY7" fmla="*/ 22161 h 657309"/>
                    <a:gd name="connsiteX8" fmla="*/ 169685 w 946299"/>
                    <a:gd name="connsiteY8" fmla="*/ 22671 h 657309"/>
                    <a:gd name="connsiteX9" fmla="*/ 175381 w 946299"/>
                    <a:gd name="connsiteY9" fmla="*/ 21809 h 657309"/>
                    <a:gd name="connsiteX10" fmla="*/ 177906 w 946299"/>
                    <a:gd name="connsiteY10" fmla="*/ 23679 h 657309"/>
                    <a:gd name="connsiteX11" fmla="*/ 179728 w 946299"/>
                    <a:gd name="connsiteY11" fmla="*/ 27467 h 657309"/>
                    <a:gd name="connsiteX12" fmla="*/ 183298 w 946299"/>
                    <a:gd name="connsiteY12" fmla="*/ 32288 h 657309"/>
                    <a:gd name="connsiteX13" fmla="*/ 187378 w 946299"/>
                    <a:gd name="connsiteY13" fmla="*/ 34790 h 657309"/>
                    <a:gd name="connsiteX14" fmla="*/ 241292 w 946299"/>
                    <a:gd name="connsiteY14" fmla="*/ 44322 h 657309"/>
                    <a:gd name="connsiteX15" fmla="*/ 246854 w 946299"/>
                    <a:gd name="connsiteY15" fmla="*/ 48062 h 657309"/>
                    <a:gd name="connsiteX16" fmla="*/ 251626 w 946299"/>
                    <a:gd name="connsiteY16" fmla="*/ 54825 h 657309"/>
                    <a:gd name="connsiteX17" fmla="*/ 254674 w 946299"/>
                    <a:gd name="connsiteY17" fmla="*/ 62148 h 657309"/>
                    <a:gd name="connsiteX18" fmla="*/ 256459 w 946299"/>
                    <a:gd name="connsiteY18" fmla="*/ 69701 h 657309"/>
                    <a:gd name="connsiteX19" fmla="*/ 256860 w 946299"/>
                    <a:gd name="connsiteY19" fmla="*/ 77423 h 657309"/>
                    <a:gd name="connsiteX20" fmla="*/ 255828 w 946299"/>
                    <a:gd name="connsiteY20" fmla="*/ 85462 h 657309"/>
                    <a:gd name="connsiteX21" fmla="*/ 253970 w 946299"/>
                    <a:gd name="connsiteY21" fmla="*/ 89834 h 657309"/>
                    <a:gd name="connsiteX22" fmla="*/ 251286 w 946299"/>
                    <a:gd name="connsiteY22" fmla="*/ 94448 h 657309"/>
                    <a:gd name="connsiteX23" fmla="*/ 249622 w 946299"/>
                    <a:gd name="connsiteY23" fmla="*/ 99050 h 657309"/>
                    <a:gd name="connsiteX24" fmla="*/ 250715 w 946299"/>
                    <a:gd name="connsiteY24" fmla="*/ 103385 h 657309"/>
                    <a:gd name="connsiteX25" fmla="*/ 253180 w 946299"/>
                    <a:gd name="connsiteY25" fmla="*/ 105024 h 657309"/>
                    <a:gd name="connsiteX26" fmla="*/ 275730 w 946299"/>
                    <a:gd name="connsiteY26" fmla="*/ 110962 h 657309"/>
                    <a:gd name="connsiteX27" fmla="*/ 277867 w 946299"/>
                    <a:gd name="connsiteY27" fmla="*/ 110926 h 657309"/>
                    <a:gd name="connsiteX28" fmla="*/ 280392 w 946299"/>
                    <a:gd name="connsiteY28" fmla="*/ 109044 h 657309"/>
                    <a:gd name="connsiteX29" fmla="*/ 283501 w 946299"/>
                    <a:gd name="connsiteY29" fmla="*/ 107975 h 657309"/>
                    <a:gd name="connsiteX30" fmla="*/ 286415 w 946299"/>
                    <a:gd name="connsiteY30" fmla="*/ 108606 h 657309"/>
                    <a:gd name="connsiteX31" fmla="*/ 288358 w 946299"/>
                    <a:gd name="connsiteY31" fmla="*/ 111764 h 657309"/>
                    <a:gd name="connsiteX32" fmla="*/ 288419 w 946299"/>
                    <a:gd name="connsiteY32" fmla="*/ 111800 h 657309"/>
                    <a:gd name="connsiteX33" fmla="*/ 292851 w 946299"/>
                    <a:gd name="connsiteY33" fmla="*/ 114350 h 657309"/>
                    <a:gd name="connsiteX34" fmla="*/ 302165 w 946299"/>
                    <a:gd name="connsiteY34" fmla="*/ 117362 h 657309"/>
                    <a:gd name="connsiteX35" fmla="*/ 306415 w 946299"/>
                    <a:gd name="connsiteY35" fmla="*/ 119693 h 657309"/>
                    <a:gd name="connsiteX36" fmla="*/ 309099 w 946299"/>
                    <a:gd name="connsiteY36" fmla="*/ 123530 h 657309"/>
                    <a:gd name="connsiteX37" fmla="*/ 310191 w 946299"/>
                    <a:gd name="connsiteY37" fmla="*/ 127756 h 657309"/>
                    <a:gd name="connsiteX38" fmla="*/ 311758 w 946299"/>
                    <a:gd name="connsiteY38" fmla="*/ 131399 h 657309"/>
                    <a:gd name="connsiteX39" fmla="*/ 316117 w 946299"/>
                    <a:gd name="connsiteY39" fmla="*/ 133560 h 657309"/>
                    <a:gd name="connsiteX40" fmla="*/ 318412 w 946299"/>
                    <a:gd name="connsiteY40" fmla="*/ 134180 h 657309"/>
                    <a:gd name="connsiteX41" fmla="*/ 320804 w 946299"/>
                    <a:gd name="connsiteY41" fmla="*/ 134507 h 657309"/>
                    <a:gd name="connsiteX42" fmla="*/ 324034 w 946299"/>
                    <a:gd name="connsiteY42" fmla="*/ 136086 h 657309"/>
                    <a:gd name="connsiteX43" fmla="*/ 323791 w 946299"/>
                    <a:gd name="connsiteY43" fmla="*/ 139122 h 657309"/>
                    <a:gd name="connsiteX44" fmla="*/ 324083 w 946299"/>
                    <a:gd name="connsiteY44" fmla="*/ 141854 h 657309"/>
                    <a:gd name="connsiteX45" fmla="*/ 328892 w 946299"/>
                    <a:gd name="connsiteY45" fmla="*/ 142255 h 657309"/>
                    <a:gd name="connsiteX46" fmla="*/ 339407 w 946299"/>
                    <a:gd name="connsiteY46" fmla="*/ 138260 h 657309"/>
                    <a:gd name="connsiteX47" fmla="*/ 343657 w 946299"/>
                    <a:gd name="connsiteY47" fmla="*/ 137835 h 657309"/>
                    <a:gd name="connsiteX48" fmla="*/ 351004 w 946299"/>
                    <a:gd name="connsiteY48" fmla="*/ 140797 h 657309"/>
                    <a:gd name="connsiteX49" fmla="*/ 351635 w 946299"/>
                    <a:gd name="connsiteY49" fmla="*/ 146881 h 657309"/>
                    <a:gd name="connsiteX50" fmla="*/ 351696 w 946299"/>
                    <a:gd name="connsiteY50" fmla="*/ 153851 h 657309"/>
                    <a:gd name="connsiteX51" fmla="*/ 357197 w 946299"/>
                    <a:gd name="connsiteY51" fmla="*/ 159376 h 657309"/>
                    <a:gd name="connsiteX52" fmla="*/ 374500 w 946299"/>
                    <a:gd name="connsiteY52" fmla="*/ 163760 h 657309"/>
                    <a:gd name="connsiteX53" fmla="*/ 377305 w 946299"/>
                    <a:gd name="connsiteY53" fmla="*/ 163699 h 657309"/>
                    <a:gd name="connsiteX54" fmla="*/ 383851 w 946299"/>
                    <a:gd name="connsiteY54" fmla="*/ 161805 h 657309"/>
                    <a:gd name="connsiteX55" fmla="*/ 386898 w 946299"/>
                    <a:gd name="connsiteY55" fmla="*/ 159631 h 657309"/>
                    <a:gd name="connsiteX56" fmla="*/ 387226 w 946299"/>
                    <a:gd name="connsiteY56" fmla="*/ 159170 h 657309"/>
                    <a:gd name="connsiteX57" fmla="*/ 389886 w 946299"/>
                    <a:gd name="connsiteY57" fmla="*/ 156122 h 657309"/>
                    <a:gd name="connsiteX58" fmla="*/ 392982 w 946299"/>
                    <a:gd name="connsiteY58" fmla="*/ 153390 h 657309"/>
                    <a:gd name="connsiteX59" fmla="*/ 396261 w 946299"/>
                    <a:gd name="connsiteY59" fmla="*/ 153572 h 657309"/>
                    <a:gd name="connsiteX60" fmla="*/ 399685 w 946299"/>
                    <a:gd name="connsiteY60" fmla="*/ 154568 h 657309"/>
                    <a:gd name="connsiteX61" fmla="*/ 403085 w 946299"/>
                    <a:gd name="connsiteY61" fmla="*/ 153535 h 657309"/>
                    <a:gd name="connsiteX62" fmla="*/ 409861 w 946299"/>
                    <a:gd name="connsiteY62" fmla="*/ 150038 h 657309"/>
                    <a:gd name="connsiteX63" fmla="*/ 418081 w 946299"/>
                    <a:gd name="connsiteY63" fmla="*/ 145764 h 657309"/>
                    <a:gd name="connsiteX64" fmla="*/ 432896 w 946299"/>
                    <a:gd name="connsiteY64" fmla="*/ 140130 h 657309"/>
                    <a:gd name="connsiteX65" fmla="*/ 434911 w 946299"/>
                    <a:gd name="connsiteY65" fmla="*/ 140797 h 657309"/>
                    <a:gd name="connsiteX66" fmla="*/ 449605 w 946299"/>
                    <a:gd name="connsiteY66" fmla="*/ 148690 h 657309"/>
                    <a:gd name="connsiteX67" fmla="*/ 452252 w 946299"/>
                    <a:gd name="connsiteY67" fmla="*/ 151762 h 657309"/>
                    <a:gd name="connsiteX68" fmla="*/ 453745 w 946299"/>
                    <a:gd name="connsiteY68" fmla="*/ 158660 h 657309"/>
                    <a:gd name="connsiteX69" fmla="*/ 452361 w 946299"/>
                    <a:gd name="connsiteY69" fmla="*/ 173547 h 657309"/>
                    <a:gd name="connsiteX70" fmla="*/ 454316 w 946299"/>
                    <a:gd name="connsiteY70" fmla="*/ 180650 h 657309"/>
                    <a:gd name="connsiteX71" fmla="*/ 457024 w 946299"/>
                    <a:gd name="connsiteY71" fmla="*/ 183796 h 657309"/>
                    <a:gd name="connsiteX72" fmla="*/ 467127 w 946299"/>
                    <a:gd name="connsiteY72" fmla="*/ 191518 h 657309"/>
                    <a:gd name="connsiteX73" fmla="*/ 468790 w 946299"/>
                    <a:gd name="connsiteY73" fmla="*/ 191956 h 657309"/>
                    <a:gd name="connsiteX74" fmla="*/ 470697 w 946299"/>
                    <a:gd name="connsiteY74" fmla="*/ 191215 h 657309"/>
                    <a:gd name="connsiteX75" fmla="*/ 472506 w 946299"/>
                    <a:gd name="connsiteY75" fmla="*/ 190753 h 657309"/>
                    <a:gd name="connsiteX76" fmla="*/ 473951 w 946299"/>
                    <a:gd name="connsiteY76" fmla="*/ 192016 h 657309"/>
                    <a:gd name="connsiteX77" fmla="*/ 474352 w 946299"/>
                    <a:gd name="connsiteY77" fmla="*/ 193704 h 657309"/>
                    <a:gd name="connsiteX78" fmla="*/ 474352 w 946299"/>
                    <a:gd name="connsiteY78" fmla="*/ 195489 h 657309"/>
                    <a:gd name="connsiteX79" fmla="*/ 474752 w 946299"/>
                    <a:gd name="connsiteY79" fmla="*/ 197031 h 657309"/>
                    <a:gd name="connsiteX80" fmla="*/ 476015 w 946299"/>
                    <a:gd name="connsiteY80" fmla="*/ 198185 h 657309"/>
                    <a:gd name="connsiteX81" fmla="*/ 479051 w 946299"/>
                    <a:gd name="connsiteY81" fmla="*/ 197687 h 657309"/>
                    <a:gd name="connsiteX82" fmla="*/ 483119 w 946299"/>
                    <a:gd name="connsiteY82" fmla="*/ 195404 h 657309"/>
                    <a:gd name="connsiteX83" fmla="*/ 495942 w 946299"/>
                    <a:gd name="connsiteY83" fmla="*/ 184718 h 657309"/>
                    <a:gd name="connsiteX84" fmla="*/ 499221 w 946299"/>
                    <a:gd name="connsiteY84" fmla="*/ 182885 h 657309"/>
                    <a:gd name="connsiteX85" fmla="*/ 503640 w 946299"/>
                    <a:gd name="connsiteY85" fmla="*/ 182423 h 657309"/>
                    <a:gd name="connsiteX86" fmla="*/ 510307 w 946299"/>
                    <a:gd name="connsiteY86" fmla="*/ 180383 h 657309"/>
                    <a:gd name="connsiteX87" fmla="*/ 515990 w 946299"/>
                    <a:gd name="connsiteY87" fmla="*/ 182193 h 657309"/>
                    <a:gd name="connsiteX88" fmla="*/ 528971 w 946299"/>
                    <a:gd name="connsiteY88" fmla="*/ 190001 h 657309"/>
                    <a:gd name="connsiteX89" fmla="*/ 529942 w 946299"/>
                    <a:gd name="connsiteY89" fmla="*/ 190826 h 657309"/>
                    <a:gd name="connsiteX90" fmla="*/ 531084 w 946299"/>
                    <a:gd name="connsiteY90" fmla="*/ 191300 h 657309"/>
                    <a:gd name="connsiteX91" fmla="*/ 535334 w 946299"/>
                    <a:gd name="connsiteY91" fmla="*/ 191033 h 657309"/>
                    <a:gd name="connsiteX92" fmla="*/ 535625 w 946299"/>
                    <a:gd name="connsiteY92" fmla="*/ 191093 h 657309"/>
                    <a:gd name="connsiteX93" fmla="*/ 536827 w 946299"/>
                    <a:gd name="connsiteY93" fmla="*/ 191239 h 657309"/>
                    <a:gd name="connsiteX94" fmla="*/ 539644 w 946299"/>
                    <a:gd name="connsiteY94" fmla="*/ 192041 h 657309"/>
                    <a:gd name="connsiteX95" fmla="*/ 540907 w 946299"/>
                    <a:gd name="connsiteY95" fmla="*/ 192709 h 657309"/>
                    <a:gd name="connsiteX96" fmla="*/ 541818 w 946299"/>
                    <a:gd name="connsiteY96" fmla="*/ 193644 h 657309"/>
                    <a:gd name="connsiteX97" fmla="*/ 542984 w 946299"/>
                    <a:gd name="connsiteY97" fmla="*/ 194481 h 657309"/>
                    <a:gd name="connsiteX98" fmla="*/ 544926 w 946299"/>
                    <a:gd name="connsiteY98" fmla="*/ 194846 h 657309"/>
                    <a:gd name="connsiteX99" fmla="*/ 546250 w 946299"/>
                    <a:gd name="connsiteY99" fmla="*/ 194445 h 657309"/>
                    <a:gd name="connsiteX100" fmla="*/ 550427 w 946299"/>
                    <a:gd name="connsiteY100" fmla="*/ 191871 h 657309"/>
                    <a:gd name="connsiteX101" fmla="*/ 557555 w 946299"/>
                    <a:gd name="connsiteY101" fmla="*/ 189539 h 657309"/>
                    <a:gd name="connsiteX102" fmla="*/ 561526 w 946299"/>
                    <a:gd name="connsiteY102" fmla="*/ 188944 h 657309"/>
                    <a:gd name="connsiteX103" fmla="*/ 564744 w 946299"/>
                    <a:gd name="connsiteY103" fmla="*/ 189539 h 657309"/>
                    <a:gd name="connsiteX104" fmla="*/ 566055 w 946299"/>
                    <a:gd name="connsiteY104" fmla="*/ 190924 h 657309"/>
                    <a:gd name="connsiteX105" fmla="*/ 566165 w 946299"/>
                    <a:gd name="connsiteY105" fmla="*/ 193765 h 657309"/>
                    <a:gd name="connsiteX106" fmla="*/ 567439 w 946299"/>
                    <a:gd name="connsiteY106" fmla="*/ 195198 h 657309"/>
                    <a:gd name="connsiteX107" fmla="*/ 568812 w 946299"/>
                    <a:gd name="connsiteY107" fmla="*/ 195368 h 657309"/>
                    <a:gd name="connsiteX108" fmla="*/ 572831 w 946299"/>
                    <a:gd name="connsiteY108" fmla="*/ 194846 h 657309"/>
                    <a:gd name="connsiteX109" fmla="*/ 574494 w 946299"/>
                    <a:gd name="connsiteY109" fmla="*/ 194846 h 657309"/>
                    <a:gd name="connsiteX110" fmla="*/ 580129 w 946299"/>
                    <a:gd name="connsiteY110" fmla="*/ 196837 h 657309"/>
                    <a:gd name="connsiteX111" fmla="*/ 591604 w 946299"/>
                    <a:gd name="connsiteY111" fmla="*/ 202799 h 657309"/>
                    <a:gd name="connsiteX112" fmla="*/ 597360 w 946299"/>
                    <a:gd name="connsiteY112" fmla="*/ 205046 h 657309"/>
                    <a:gd name="connsiteX113" fmla="*/ 601027 w 946299"/>
                    <a:gd name="connsiteY113" fmla="*/ 205884 h 657309"/>
                    <a:gd name="connsiteX114" fmla="*/ 603965 w 946299"/>
                    <a:gd name="connsiteY114" fmla="*/ 207438 h 657309"/>
                    <a:gd name="connsiteX115" fmla="*/ 606540 w 946299"/>
                    <a:gd name="connsiteY115" fmla="*/ 209636 h 657309"/>
                    <a:gd name="connsiteX116" fmla="*/ 609066 w 946299"/>
                    <a:gd name="connsiteY116" fmla="*/ 212514 h 657309"/>
                    <a:gd name="connsiteX117" fmla="*/ 612805 w 946299"/>
                    <a:gd name="connsiteY117" fmla="*/ 214687 h 657309"/>
                    <a:gd name="connsiteX118" fmla="*/ 625495 w 946299"/>
                    <a:gd name="connsiteY118" fmla="*/ 220261 h 657309"/>
                    <a:gd name="connsiteX119" fmla="*/ 638585 w 946299"/>
                    <a:gd name="connsiteY119" fmla="*/ 227935 h 657309"/>
                    <a:gd name="connsiteX120" fmla="*/ 642021 w 946299"/>
                    <a:gd name="connsiteY120" fmla="*/ 228676 h 657309"/>
                    <a:gd name="connsiteX121" fmla="*/ 643977 w 946299"/>
                    <a:gd name="connsiteY121" fmla="*/ 227182 h 657309"/>
                    <a:gd name="connsiteX122" fmla="*/ 645239 w 946299"/>
                    <a:gd name="connsiteY122" fmla="*/ 224802 h 657309"/>
                    <a:gd name="connsiteX123" fmla="*/ 646612 w 946299"/>
                    <a:gd name="connsiteY123" fmla="*/ 222786 h 657309"/>
                    <a:gd name="connsiteX124" fmla="*/ 649198 w 946299"/>
                    <a:gd name="connsiteY124" fmla="*/ 222434 h 657309"/>
                    <a:gd name="connsiteX125" fmla="*/ 655865 w 946299"/>
                    <a:gd name="connsiteY125" fmla="*/ 224948 h 657309"/>
                    <a:gd name="connsiteX126" fmla="*/ 657589 w 946299"/>
                    <a:gd name="connsiteY126" fmla="*/ 225264 h 657309"/>
                    <a:gd name="connsiteX127" fmla="*/ 662349 w 946299"/>
                    <a:gd name="connsiteY127" fmla="*/ 223928 h 657309"/>
                    <a:gd name="connsiteX128" fmla="*/ 666963 w 946299"/>
                    <a:gd name="connsiteY128" fmla="*/ 221014 h 657309"/>
                    <a:gd name="connsiteX129" fmla="*/ 670582 w 946299"/>
                    <a:gd name="connsiteY129" fmla="*/ 217019 h 657309"/>
                    <a:gd name="connsiteX130" fmla="*/ 672452 w 946299"/>
                    <a:gd name="connsiteY130" fmla="*/ 212514 h 657309"/>
                    <a:gd name="connsiteX131" fmla="*/ 678317 w 946299"/>
                    <a:gd name="connsiteY131" fmla="*/ 209150 h 657309"/>
                    <a:gd name="connsiteX132" fmla="*/ 683599 w 946299"/>
                    <a:gd name="connsiteY132" fmla="*/ 207401 h 657309"/>
                    <a:gd name="connsiteX133" fmla="*/ 690557 w 946299"/>
                    <a:gd name="connsiteY133" fmla="*/ 205046 h 657309"/>
                    <a:gd name="connsiteX134" fmla="*/ 692961 w 946299"/>
                    <a:gd name="connsiteY134" fmla="*/ 203297 h 657309"/>
                    <a:gd name="connsiteX135" fmla="*/ 698644 w 946299"/>
                    <a:gd name="connsiteY135" fmla="*/ 197614 h 657309"/>
                    <a:gd name="connsiteX136" fmla="*/ 701340 w 946299"/>
                    <a:gd name="connsiteY136" fmla="*/ 195429 h 657309"/>
                    <a:gd name="connsiteX137" fmla="*/ 703538 w 946299"/>
                    <a:gd name="connsiteY137" fmla="*/ 195344 h 657309"/>
                    <a:gd name="connsiteX138" fmla="*/ 704108 w 946299"/>
                    <a:gd name="connsiteY138" fmla="*/ 199156 h 657309"/>
                    <a:gd name="connsiteX139" fmla="*/ 704169 w 946299"/>
                    <a:gd name="connsiteY139" fmla="*/ 202581 h 657309"/>
                    <a:gd name="connsiteX140" fmla="*/ 706342 w 946299"/>
                    <a:gd name="connsiteY140" fmla="*/ 212514 h 657309"/>
                    <a:gd name="connsiteX141" fmla="*/ 706403 w 946299"/>
                    <a:gd name="connsiteY141" fmla="*/ 212514 h 657309"/>
                    <a:gd name="connsiteX142" fmla="*/ 708249 w 946299"/>
                    <a:gd name="connsiteY142" fmla="*/ 218391 h 657309"/>
                    <a:gd name="connsiteX143" fmla="*/ 711394 w 946299"/>
                    <a:gd name="connsiteY143" fmla="*/ 225142 h 657309"/>
                    <a:gd name="connsiteX144" fmla="*/ 715717 w 946299"/>
                    <a:gd name="connsiteY144" fmla="*/ 230631 h 657309"/>
                    <a:gd name="connsiteX145" fmla="*/ 721108 w 946299"/>
                    <a:gd name="connsiteY145" fmla="*/ 232756 h 657309"/>
                    <a:gd name="connsiteX146" fmla="*/ 731078 w 946299"/>
                    <a:gd name="connsiteY146" fmla="*/ 231687 h 657309"/>
                    <a:gd name="connsiteX147" fmla="*/ 736834 w 946299"/>
                    <a:gd name="connsiteY147" fmla="*/ 229975 h 657309"/>
                    <a:gd name="connsiteX148" fmla="*/ 738788 w 946299"/>
                    <a:gd name="connsiteY148" fmla="*/ 231833 h 657309"/>
                    <a:gd name="connsiteX149" fmla="*/ 740051 w 946299"/>
                    <a:gd name="connsiteY149" fmla="*/ 234966 h 657309"/>
                    <a:gd name="connsiteX150" fmla="*/ 741776 w 946299"/>
                    <a:gd name="connsiteY150" fmla="*/ 237577 h 657309"/>
                    <a:gd name="connsiteX151" fmla="*/ 744241 w 946299"/>
                    <a:gd name="connsiteY151" fmla="*/ 239034 h 657309"/>
                    <a:gd name="connsiteX152" fmla="*/ 752122 w 946299"/>
                    <a:gd name="connsiteY152" fmla="*/ 242458 h 657309"/>
                    <a:gd name="connsiteX153" fmla="*/ 754647 w 946299"/>
                    <a:gd name="connsiteY153" fmla="*/ 242895 h 657309"/>
                    <a:gd name="connsiteX154" fmla="*/ 756930 w 946299"/>
                    <a:gd name="connsiteY154" fmla="*/ 240965 h 657309"/>
                    <a:gd name="connsiteX155" fmla="*/ 760439 w 946299"/>
                    <a:gd name="connsiteY155" fmla="*/ 233727 h 657309"/>
                    <a:gd name="connsiteX156" fmla="*/ 762637 w 946299"/>
                    <a:gd name="connsiteY156" fmla="*/ 230862 h 657309"/>
                    <a:gd name="connsiteX157" fmla="*/ 767798 w 946299"/>
                    <a:gd name="connsiteY157" fmla="*/ 227838 h 657309"/>
                    <a:gd name="connsiteX158" fmla="*/ 773894 w 946299"/>
                    <a:gd name="connsiteY158" fmla="*/ 226174 h 657309"/>
                    <a:gd name="connsiteX159" fmla="*/ 780099 w 946299"/>
                    <a:gd name="connsiteY159" fmla="*/ 225834 h 657309"/>
                    <a:gd name="connsiteX160" fmla="*/ 785842 w 946299"/>
                    <a:gd name="connsiteY160" fmla="*/ 226891 h 657309"/>
                    <a:gd name="connsiteX161" fmla="*/ 799333 w 946299"/>
                    <a:gd name="connsiteY161" fmla="*/ 234274 h 657309"/>
                    <a:gd name="connsiteX162" fmla="*/ 805878 w 946299"/>
                    <a:gd name="connsiteY162" fmla="*/ 235998 h 657309"/>
                    <a:gd name="connsiteX163" fmla="*/ 812824 w 946299"/>
                    <a:gd name="connsiteY163" fmla="*/ 233011 h 657309"/>
                    <a:gd name="connsiteX164" fmla="*/ 817475 w 946299"/>
                    <a:gd name="connsiteY164" fmla="*/ 229599 h 657309"/>
                    <a:gd name="connsiteX165" fmla="*/ 819478 w 946299"/>
                    <a:gd name="connsiteY165" fmla="*/ 228069 h 657309"/>
                    <a:gd name="connsiteX166" fmla="*/ 823571 w 946299"/>
                    <a:gd name="connsiteY166" fmla="*/ 226721 h 657309"/>
                    <a:gd name="connsiteX167" fmla="*/ 826606 w 946299"/>
                    <a:gd name="connsiteY167" fmla="*/ 228324 h 657309"/>
                    <a:gd name="connsiteX168" fmla="*/ 829071 w 946299"/>
                    <a:gd name="connsiteY168" fmla="*/ 230461 h 657309"/>
                    <a:gd name="connsiteX169" fmla="*/ 832228 w 946299"/>
                    <a:gd name="connsiteY169" fmla="*/ 230825 h 657309"/>
                    <a:gd name="connsiteX170" fmla="*/ 834997 w 946299"/>
                    <a:gd name="connsiteY170" fmla="*/ 229489 h 657309"/>
                    <a:gd name="connsiteX171" fmla="*/ 836297 w 946299"/>
                    <a:gd name="connsiteY171" fmla="*/ 226405 h 657309"/>
                    <a:gd name="connsiteX172" fmla="*/ 837571 w 946299"/>
                    <a:gd name="connsiteY172" fmla="*/ 222155 h 657309"/>
                    <a:gd name="connsiteX173" fmla="*/ 839976 w 946299"/>
                    <a:gd name="connsiteY173" fmla="*/ 221232 h 657309"/>
                    <a:gd name="connsiteX174" fmla="*/ 843194 w 946299"/>
                    <a:gd name="connsiteY174" fmla="*/ 222337 h 657309"/>
                    <a:gd name="connsiteX175" fmla="*/ 846642 w 946299"/>
                    <a:gd name="connsiteY175" fmla="*/ 224086 h 657309"/>
                    <a:gd name="connsiteX176" fmla="*/ 849860 w 946299"/>
                    <a:gd name="connsiteY176" fmla="*/ 224049 h 657309"/>
                    <a:gd name="connsiteX177" fmla="*/ 855592 w 946299"/>
                    <a:gd name="connsiteY177" fmla="*/ 219399 h 657309"/>
                    <a:gd name="connsiteX178" fmla="*/ 858931 w 946299"/>
                    <a:gd name="connsiteY178" fmla="*/ 218597 h 657309"/>
                    <a:gd name="connsiteX179" fmla="*/ 859052 w 946299"/>
                    <a:gd name="connsiteY179" fmla="*/ 219374 h 657309"/>
                    <a:gd name="connsiteX180" fmla="*/ 863581 w 946299"/>
                    <a:gd name="connsiteY180" fmla="*/ 222957 h 657309"/>
                    <a:gd name="connsiteX181" fmla="*/ 864043 w 946299"/>
                    <a:gd name="connsiteY181" fmla="*/ 222847 h 657309"/>
                    <a:gd name="connsiteX182" fmla="*/ 864966 w 946299"/>
                    <a:gd name="connsiteY182" fmla="*/ 224486 h 657309"/>
                    <a:gd name="connsiteX183" fmla="*/ 866168 w 946299"/>
                    <a:gd name="connsiteY183" fmla="*/ 228008 h 657309"/>
                    <a:gd name="connsiteX184" fmla="*/ 867309 w 946299"/>
                    <a:gd name="connsiteY184" fmla="*/ 229939 h 657309"/>
                    <a:gd name="connsiteX185" fmla="*/ 870029 w 946299"/>
                    <a:gd name="connsiteY185" fmla="*/ 232319 h 657309"/>
                    <a:gd name="connsiteX186" fmla="*/ 876052 w 946299"/>
                    <a:gd name="connsiteY186" fmla="*/ 235828 h 657309"/>
                    <a:gd name="connsiteX187" fmla="*/ 878760 w 946299"/>
                    <a:gd name="connsiteY187" fmla="*/ 238317 h 657309"/>
                    <a:gd name="connsiteX188" fmla="*/ 884564 w 946299"/>
                    <a:gd name="connsiteY188" fmla="*/ 237662 h 657309"/>
                    <a:gd name="connsiteX189" fmla="*/ 891692 w 946299"/>
                    <a:gd name="connsiteY189" fmla="*/ 230461 h 657309"/>
                    <a:gd name="connsiteX190" fmla="*/ 897254 w 946299"/>
                    <a:gd name="connsiteY190" fmla="*/ 220746 h 657309"/>
                    <a:gd name="connsiteX191" fmla="*/ 898747 w 946299"/>
                    <a:gd name="connsiteY191" fmla="*/ 212514 h 657309"/>
                    <a:gd name="connsiteX192" fmla="*/ 898153 w 946299"/>
                    <a:gd name="connsiteY192" fmla="*/ 209988 h 657309"/>
                    <a:gd name="connsiteX193" fmla="*/ 898347 w 946299"/>
                    <a:gd name="connsiteY193" fmla="*/ 207948 h 657309"/>
                    <a:gd name="connsiteX194" fmla="*/ 899646 w 946299"/>
                    <a:gd name="connsiteY194" fmla="*/ 203613 h 657309"/>
                    <a:gd name="connsiteX195" fmla="*/ 902985 w 946299"/>
                    <a:gd name="connsiteY195" fmla="*/ 204354 h 657309"/>
                    <a:gd name="connsiteX196" fmla="*/ 906191 w 946299"/>
                    <a:gd name="connsiteY196" fmla="*/ 205337 h 657309"/>
                    <a:gd name="connsiteX197" fmla="*/ 907940 w 946299"/>
                    <a:gd name="connsiteY197" fmla="*/ 205191 h 657309"/>
                    <a:gd name="connsiteX198" fmla="*/ 911498 w 946299"/>
                    <a:gd name="connsiteY198" fmla="*/ 204390 h 657309"/>
                    <a:gd name="connsiteX199" fmla="*/ 919767 w 946299"/>
                    <a:gd name="connsiteY199" fmla="*/ 201512 h 657309"/>
                    <a:gd name="connsiteX200" fmla="*/ 921504 w 946299"/>
                    <a:gd name="connsiteY200" fmla="*/ 201974 h 657309"/>
                    <a:gd name="connsiteX201" fmla="*/ 921940 w 946299"/>
                    <a:gd name="connsiteY201" fmla="*/ 203491 h 657309"/>
                    <a:gd name="connsiteX202" fmla="*/ 920168 w 946299"/>
                    <a:gd name="connsiteY202" fmla="*/ 208956 h 657309"/>
                    <a:gd name="connsiteX203" fmla="*/ 919925 w 946299"/>
                    <a:gd name="connsiteY203" fmla="*/ 211190 h 657309"/>
                    <a:gd name="connsiteX204" fmla="*/ 919997 w 946299"/>
                    <a:gd name="connsiteY204" fmla="*/ 211421 h 657309"/>
                    <a:gd name="connsiteX205" fmla="*/ 919997 w 946299"/>
                    <a:gd name="connsiteY205" fmla="*/ 211445 h 657309"/>
                    <a:gd name="connsiteX206" fmla="*/ 920787 w 946299"/>
                    <a:gd name="connsiteY206" fmla="*/ 212283 h 657309"/>
                    <a:gd name="connsiteX207" fmla="*/ 922463 w 946299"/>
                    <a:gd name="connsiteY207" fmla="*/ 213752 h 657309"/>
                    <a:gd name="connsiteX208" fmla="*/ 923944 w 946299"/>
                    <a:gd name="connsiteY208" fmla="*/ 214529 h 657309"/>
                    <a:gd name="connsiteX209" fmla="*/ 926081 w 946299"/>
                    <a:gd name="connsiteY209" fmla="*/ 215209 h 657309"/>
                    <a:gd name="connsiteX210" fmla="*/ 927854 w 946299"/>
                    <a:gd name="connsiteY210" fmla="*/ 216594 h 657309"/>
                    <a:gd name="connsiteX211" fmla="*/ 934108 w 946299"/>
                    <a:gd name="connsiteY211" fmla="*/ 222702 h 657309"/>
                    <a:gd name="connsiteX212" fmla="*/ 935601 w 946299"/>
                    <a:gd name="connsiteY212" fmla="*/ 224547 h 657309"/>
                    <a:gd name="connsiteX213" fmla="*/ 936306 w 946299"/>
                    <a:gd name="connsiteY213" fmla="*/ 225859 h 657309"/>
                    <a:gd name="connsiteX214" fmla="*/ 935553 w 946299"/>
                    <a:gd name="connsiteY214" fmla="*/ 226830 h 657309"/>
                    <a:gd name="connsiteX215" fmla="*/ 934812 w 946299"/>
                    <a:gd name="connsiteY215" fmla="*/ 227413 h 657309"/>
                    <a:gd name="connsiteX216" fmla="*/ 932857 w 946299"/>
                    <a:gd name="connsiteY216" fmla="*/ 228445 h 657309"/>
                    <a:gd name="connsiteX217" fmla="*/ 931704 w 946299"/>
                    <a:gd name="connsiteY217" fmla="*/ 229392 h 657309"/>
                    <a:gd name="connsiteX218" fmla="*/ 930951 w 946299"/>
                    <a:gd name="connsiteY218" fmla="*/ 230862 h 657309"/>
                    <a:gd name="connsiteX219" fmla="*/ 931084 w 946299"/>
                    <a:gd name="connsiteY219" fmla="*/ 232380 h 657309"/>
                    <a:gd name="connsiteX220" fmla="*/ 931995 w 946299"/>
                    <a:gd name="connsiteY220" fmla="*/ 233436 h 657309"/>
                    <a:gd name="connsiteX221" fmla="*/ 935613 w 946299"/>
                    <a:gd name="connsiteY221" fmla="*/ 234905 h 657309"/>
                    <a:gd name="connsiteX222" fmla="*/ 938139 w 946299"/>
                    <a:gd name="connsiteY222" fmla="*/ 236314 h 657309"/>
                    <a:gd name="connsiteX223" fmla="*/ 939523 w 946299"/>
                    <a:gd name="connsiteY223" fmla="*/ 237856 h 657309"/>
                    <a:gd name="connsiteX224" fmla="*/ 940325 w 946299"/>
                    <a:gd name="connsiteY224" fmla="*/ 239641 h 657309"/>
                    <a:gd name="connsiteX225" fmla="*/ 940325 w 946299"/>
                    <a:gd name="connsiteY225" fmla="*/ 241280 h 657309"/>
                    <a:gd name="connsiteX226" fmla="*/ 940070 w 946299"/>
                    <a:gd name="connsiteY226" fmla="*/ 242859 h 657309"/>
                    <a:gd name="connsiteX227" fmla="*/ 939620 w 946299"/>
                    <a:gd name="connsiteY227" fmla="*/ 243867 h 657309"/>
                    <a:gd name="connsiteX228" fmla="*/ 939074 w 946299"/>
                    <a:gd name="connsiteY228" fmla="*/ 244413 h 657309"/>
                    <a:gd name="connsiteX229" fmla="*/ 938176 w 946299"/>
                    <a:gd name="connsiteY229" fmla="*/ 244644 h 657309"/>
                    <a:gd name="connsiteX230" fmla="*/ 935188 w 946299"/>
                    <a:gd name="connsiteY230" fmla="*/ 244668 h 657309"/>
                    <a:gd name="connsiteX231" fmla="*/ 932772 w 946299"/>
                    <a:gd name="connsiteY231" fmla="*/ 245130 h 657309"/>
                    <a:gd name="connsiteX232" fmla="*/ 930416 w 946299"/>
                    <a:gd name="connsiteY232" fmla="*/ 246307 h 657309"/>
                    <a:gd name="connsiteX233" fmla="*/ 924624 w 946299"/>
                    <a:gd name="connsiteY233" fmla="*/ 251784 h 657309"/>
                    <a:gd name="connsiteX234" fmla="*/ 922499 w 946299"/>
                    <a:gd name="connsiteY234" fmla="*/ 252998 h 657309"/>
                    <a:gd name="connsiteX235" fmla="*/ 917156 w 946299"/>
                    <a:gd name="connsiteY235" fmla="*/ 254601 h 657309"/>
                    <a:gd name="connsiteX236" fmla="*/ 914740 w 946299"/>
                    <a:gd name="connsiteY236" fmla="*/ 256265 h 657309"/>
                    <a:gd name="connsiteX237" fmla="*/ 912263 w 946299"/>
                    <a:gd name="connsiteY237" fmla="*/ 258645 h 657309"/>
                    <a:gd name="connsiteX238" fmla="*/ 905560 w 946299"/>
                    <a:gd name="connsiteY238" fmla="*/ 266453 h 657309"/>
                    <a:gd name="connsiteX239" fmla="*/ 901722 w 946299"/>
                    <a:gd name="connsiteY239" fmla="*/ 269561 h 657309"/>
                    <a:gd name="connsiteX240" fmla="*/ 898335 w 946299"/>
                    <a:gd name="connsiteY240" fmla="*/ 273240 h 657309"/>
                    <a:gd name="connsiteX241" fmla="*/ 896027 w 946299"/>
                    <a:gd name="connsiteY241" fmla="*/ 274758 h 657309"/>
                    <a:gd name="connsiteX242" fmla="*/ 892251 w 946299"/>
                    <a:gd name="connsiteY242" fmla="*/ 276361 h 657309"/>
                    <a:gd name="connsiteX243" fmla="*/ 890454 w 946299"/>
                    <a:gd name="connsiteY243" fmla="*/ 277563 h 657309"/>
                    <a:gd name="connsiteX244" fmla="*/ 886447 w 946299"/>
                    <a:gd name="connsiteY244" fmla="*/ 281643 h 657309"/>
                    <a:gd name="connsiteX245" fmla="*/ 884564 w 946299"/>
                    <a:gd name="connsiteY245" fmla="*/ 282445 h 657309"/>
                    <a:gd name="connsiteX246" fmla="*/ 883253 w 946299"/>
                    <a:gd name="connsiteY246" fmla="*/ 282627 h 657309"/>
                    <a:gd name="connsiteX247" fmla="*/ 881917 w 946299"/>
                    <a:gd name="connsiteY247" fmla="*/ 282445 h 657309"/>
                    <a:gd name="connsiteX248" fmla="*/ 880667 w 946299"/>
                    <a:gd name="connsiteY248" fmla="*/ 282421 h 657309"/>
                    <a:gd name="connsiteX249" fmla="*/ 879440 w 946299"/>
                    <a:gd name="connsiteY249" fmla="*/ 282676 h 657309"/>
                    <a:gd name="connsiteX250" fmla="*/ 877777 w 946299"/>
                    <a:gd name="connsiteY250" fmla="*/ 284169 h 657309"/>
                    <a:gd name="connsiteX251" fmla="*/ 871462 w 946299"/>
                    <a:gd name="connsiteY251" fmla="*/ 292062 h 657309"/>
                    <a:gd name="connsiteX252" fmla="*/ 858421 w 946299"/>
                    <a:gd name="connsiteY252" fmla="*/ 302056 h 657309"/>
                    <a:gd name="connsiteX253" fmla="*/ 853199 w 946299"/>
                    <a:gd name="connsiteY253" fmla="*/ 307459 h 657309"/>
                    <a:gd name="connsiteX254" fmla="*/ 851706 w 946299"/>
                    <a:gd name="connsiteY254" fmla="*/ 309815 h 657309"/>
                    <a:gd name="connsiteX255" fmla="*/ 851257 w 946299"/>
                    <a:gd name="connsiteY255" fmla="*/ 311843 h 657309"/>
                    <a:gd name="connsiteX256" fmla="*/ 851257 w 946299"/>
                    <a:gd name="connsiteY256" fmla="*/ 311904 h 657309"/>
                    <a:gd name="connsiteX257" fmla="*/ 851257 w 946299"/>
                    <a:gd name="connsiteY257" fmla="*/ 311940 h 657309"/>
                    <a:gd name="connsiteX258" fmla="*/ 851426 w 946299"/>
                    <a:gd name="connsiteY258" fmla="*/ 314636 h 657309"/>
                    <a:gd name="connsiteX259" fmla="*/ 851147 w 946299"/>
                    <a:gd name="connsiteY259" fmla="*/ 316846 h 657309"/>
                    <a:gd name="connsiteX260" fmla="*/ 850455 w 946299"/>
                    <a:gd name="connsiteY260" fmla="*/ 318679 h 657309"/>
                    <a:gd name="connsiteX261" fmla="*/ 849010 w 946299"/>
                    <a:gd name="connsiteY261" fmla="*/ 324544 h 657309"/>
                    <a:gd name="connsiteX262" fmla="*/ 848548 w 946299"/>
                    <a:gd name="connsiteY262" fmla="*/ 325601 h 657309"/>
                    <a:gd name="connsiteX263" fmla="*/ 847917 w 946299"/>
                    <a:gd name="connsiteY263" fmla="*/ 326257 h 657309"/>
                    <a:gd name="connsiteX264" fmla="*/ 845962 w 946299"/>
                    <a:gd name="connsiteY264" fmla="*/ 326718 h 657309"/>
                    <a:gd name="connsiteX265" fmla="*/ 844529 w 946299"/>
                    <a:gd name="connsiteY265" fmla="*/ 327301 h 657309"/>
                    <a:gd name="connsiteX266" fmla="*/ 843849 w 946299"/>
                    <a:gd name="connsiteY266" fmla="*/ 328163 h 657309"/>
                    <a:gd name="connsiteX267" fmla="*/ 843436 w 946299"/>
                    <a:gd name="connsiteY267" fmla="*/ 329657 h 657309"/>
                    <a:gd name="connsiteX268" fmla="*/ 843570 w 946299"/>
                    <a:gd name="connsiteY268" fmla="*/ 330713 h 657309"/>
                    <a:gd name="connsiteX269" fmla="*/ 843801 w 946299"/>
                    <a:gd name="connsiteY269" fmla="*/ 331514 h 657309"/>
                    <a:gd name="connsiteX270" fmla="*/ 844772 w 946299"/>
                    <a:gd name="connsiteY270" fmla="*/ 333263 h 657309"/>
                    <a:gd name="connsiteX271" fmla="*/ 845112 w 946299"/>
                    <a:gd name="connsiteY271" fmla="*/ 333894 h 657309"/>
                    <a:gd name="connsiteX272" fmla="*/ 845355 w 946299"/>
                    <a:gd name="connsiteY272" fmla="*/ 334587 h 657309"/>
                    <a:gd name="connsiteX273" fmla="*/ 845513 w 946299"/>
                    <a:gd name="connsiteY273" fmla="*/ 335364 h 657309"/>
                    <a:gd name="connsiteX274" fmla="*/ 846035 w 946299"/>
                    <a:gd name="connsiteY274" fmla="*/ 336250 h 657309"/>
                    <a:gd name="connsiteX275" fmla="*/ 846849 w 946299"/>
                    <a:gd name="connsiteY275" fmla="*/ 337270 h 657309"/>
                    <a:gd name="connsiteX276" fmla="*/ 850406 w 946299"/>
                    <a:gd name="connsiteY276" fmla="*/ 339444 h 657309"/>
                    <a:gd name="connsiteX277" fmla="*/ 856138 w 946299"/>
                    <a:gd name="connsiteY277" fmla="*/ 342055 h 657309"/>
                    <a:gd name="connsiteX278" fmla="*/ 858044 w 946299"/>
                    <a:gd name="connsiteY278" fmla="*/ 343232 h 657309"/>
                    <a:gd name="connsiteX279" fmla="*/ 860509 w 946299"/>
                    <a:gd name="connsiteY279" fmla="*/ 347507 h 657309"/>
                    <a:gd name="connsiteX280" fmla="*/ 861311 w 946299"/>
                    <a:gd name="connsiteY280" fmla="*/ 348284 h 657309"/>
                    <a:gd name="connsiteX281" fmla="*/ 862149 w 946299"/>
                    <a:gd name="connsiteY281" fmla="*/ 349377 h 657309"/>
                    <a:gd name="connsiteX282" fmla="*/ 863193 w 946299"/>
                    <a:gd name="connsiteY282" fmla="*/ 351186 h 657309"/>
                    <a:gd name="connsiteX283" fmla="*/ 864116 w 946299"/>
                    <a:gd name="connsiteY283" fmla="*/ 354720 h 657309"/>
                    <a:gd name="connsiteX284" fmla="*/ 865379 w 946299"/>
                    <a:gd name="connsiteY284" fmla="*/ 357379 h 657309"/>
                    <a:gd name="connsiteX285" fmla="*/ 866581 w 946299"/>
                    <a:gd name="connsiteY285" fmla="*/ 359018 h 657309"/>
                    <a:gd name="connsiteX286" fmla="*/ 870600 w 946299"/>
                    <a:gd name="connsiteY286" fmla="*/ 361799 h 657309"/>
                    <a:gd name="connsiteX287" fmla="*/ 872555 w 946299"/>
                    <a:gd name="connsiteY287" fmla="*/ 364992 h 657309"/>
                    <a:gd name="connsiteX288" fmla="*/ 884273 w 946299"/>
                    <a:gd name="connsiteY288" fmla="*/ 369898 h 657309"/>
                    <a:gd name="connsiteX289" fmla="*/ 889482 w 946299"/>
                    <a:gd name="connsiteY289" fmla="*/ 373808 h 657309"/>
                    <a:gd name="connsiteX290" fmla="*/ 891389 w 946299"/>
                    <a:gd name="connsiteY290" fmla="*/ 376455 h 657309"/>
                    <a:gd name="connsiteX291" fmla="*/ 892008 w 946299"/>
                    <a:gd name="connsiteY291" fmla="*/ 378313 h 657309"/>
                    <a:gd name="connsiteX292" fmla="*/ 892822 w 946299"/>
                    <a:gd name="connsiteY292" fmla="*/ 382964 h 657309"/>
                    <a:gd name="connsiteX293" fmla="*/ 893745 w 946299"/>
                    <a:gd name="connsiteY293" fmla="*/ 386607 h 657309"/>
                    <a:gd name="connsiteX294" fmla="*/ 893975 w 946299"/>
                    <a:gd name="connsiteY294" fmla="*/ 387845 h 657309"/>
                    <a:gd name="connsiteX295" fmla="*/ 893975 w 946299"/>
                    <a:gd name="connsiteY295" fmla="*/ 389278 h 657309"/>
                    <a:gd name="connsiteX296" fmla="*/ 893125 w 946299"/>
                    <a:gd name="connsiteY296" fmla="*/ 395192 h 657309"/>
                    <a:gd name="connsiteX297" fmla="*/ 891632 w 946299"/>
                    <a:gd name="connsiteY297" fmla="*/ 400741 h 657309"/>
                    <a:gd name="connsiteX298" fmla="*/ 891450 w 946299"/>
                    <a:gd name="connsiteY298" fmla="*/ 402696 h 657309"/>
                    <a:gd name="connsiteX299" fmla="*/ 892008 w 946299"/>
                    <a:gd name="connsiteY299" fmla="*/ 403583 h 657309"/>
                    <a:gd name="connsiteX300" fmla="*/ 892822 w 946299"/>
                    <a:gd name="connsiteY300" fmla="*/ 404615 h 657309"/>
                    <a:gd name="connsiteX301" fmla="*/ 894376 w 946299"/>
                    <a:gd name="connsiteY301" fmla="*/ 406133 h 657309"/>
                    <a:gd name="connsiteX302" fmla="*/ 895117 w 946299"/>
                    <a:gd name="connsiteY302" fmla="*/ 407201 h 657309"/>
                    <a:gd name="connsiteX303" fmla="*/ 895517 w 946299"/>
                    <a:gd name="connsiteY303" fmla="*/ 408148 h 657309"/>
                    <a:gd name="connsiteX304" fmla="*/ 895578 w 946299"/>
                    <a:gd name="connsiteY304" fmla="*/ 410820 h 657309"/>
                    <a:gd name="connsiteX305" fmla="*/ 895991 w 946299"/>
                    <a:gd name="connsiteY305" fmla="*/ 413892 h 657309"/>
                    <a:gd name="connsiteX306" fmla="*/ 884431 w 946299"/>
                    <a:gd name="connsiteY306" fmla="*/ 411876 h 657309"/>
                    <a:gd name="connsiteX307" fmla="*/ 881577 w 946299"/>
                    <a:gd name="connsiteY307" fmla="*/ 410589 h 657309"/>
                    <a:gd name="connsiteX308" fmla="*/ 881517 w 946299"/>
                    <a:gd name="connsiteY308" fmla="*/ 409181 h 657309"/>
                    <a:gd name="connsiteX309" fmla="*/ 881237 w 946299"/>
                    <a:gd name="connsiteY309" fmla="*/ 408464 h 657309"/>
                    <a:gd name="connsiteX310" fmla="*/ 878651 w 946299"/>
                    <a:gd name="connsiteY310" fmla="*/ 406448 h 657309"/>
                    <a:gd name="connsiteX311" fmla="*/ 875032 w 946299"/>
                    <a:gd name="connsiteY311" fmla="*/ 405307 h 657309"/>
                    <a:gd name="connsiteX312" fmla="*/ 872628 w 946299"/>
                    <a:gd name="connsiteY312" fmla="*/ 407031 h 657309"/>
                    <a:gd name="connsiteX313" fmla="*/ 868827 w 946299"/>
                    <a:gd name="connsiteY313" fmla="*/ 409241 h 657309"/>
                    <a:gd name="connsiteX314" fmla="*/ 861893 w 946299"/>
                    <a:gd name="connsiteY314" fmla="*/ 411391 h 657309"/>
                    <a:gd name="connsiteX315" fmla="*/ 860922 w 946299"/>
                    <a:gd name="connsiteY315" fmla="*/ 411852 h 657309"/>
                    <a:gd name="connsiteX316" fmla="*/ 860619 w 946299"/>
                    <a:gd name="connsiteY316" fmla="*/ 412046 h 657309"/>
                    <a:gd name="connsiteX317" fmla="*/ 860582 w 946299"/>
                    <a:gd name="connsiteY317" fmla="*/ 412107 h 657309"/>
                    <a:gd name="connsiteX318" fmla="*/ 860522 w 946299"/>
                    <a:gd name="connsiteY318" fmla="*/ 412168 h 657309"/>
                    <a:gd name="connsiteX319" fmla="*/ 858907 w 946299"/>
                    <a:gd name="connsiteY319" fmla="*/ 414900 h 657309"/>
                    <a:gd name="connsiteX320" fmla="*/ 857692 w 946299"/>
                    <a:gd name="connsiteY320" fmla="*/ 416393 h 657309"/>
                    <a:gd name="connsiteX321" fmla="*/ 855227 w 946299"/>
                    <a:gd name="connsiteY321" fmla="*/ 417911 h 657309"/>
                    <a:gd name="connsiteX322" fmla="*/ 849484 w 946299"/>
                    <a:gd name="connsiteY322" fmla="*/ 420631 h 657309"/>
                    <a:gd name="connsiteX323" fmla="*/ 843218 w 946299"/>
                    <a:gd name="connsiteY323" fmla="*/ 422902 h 657309"/>
                    <a:gd name="connsiteX324" fmla="*/ 839842 w 946299"/>
                    <a:gd name="connsiteY324" fmla="*/ 424857 h 657309"/>
                    <a:gd name="connsiteX325" fmla="*/ 839891 w 946299"/>
                    <a:gd name="connsiteY325" fmla="*/ 425489 h 657309"/>
                    <a:gd name="connsiteX326" fmla="*/ 839842 w 946299"/>
                    <a:gd name="connsiteY326" fmla="*/ 426181 h 657309"/>
                    <a:gd name="connsiteX327" fmla="*/ 839660 w 946299"/>
                    <a:gd name="connsiteY327" fmla="*/ 426836 h 657309"/>
                    <a:gd name="connsiteX328" fmla="*/ 839150 w 946299"/>
                    <a:gd name="connsiteY328" fmla="*/ 427638 h 657309"/>
                    <a:gd name="connsiteX329" fmla="*/ 838227 w 946299"/>
                    <a:gd name="connsiteY329" fmla="*/ 428536 h 657309"/>
                    <a:gd name="connsiteX330" fmla="*/ 836381 w 946299"/>
                    <a:gd name="connsiteY330" fmla="*/ 429860 h 657309"/>
                    <a:gd name="connsiteX331" fmla="*/ 835641 w 946299"/>
                    <a:gd name="connsiteY331" fmla="*/ 430734 h 657309"/>
                    <a:gd name="connsiteX332" fmla="*/ 835301 w 946299"/>
                    <a:gd name="connsiteY332" fmla="*/ 431609 h 657309"/>
                    <a:gd name="connsiteX333" fmla="*/ 835544 w 946299"/>
                    <a:gd name="connsiteY333" fmla="*/ 432240 h 657309"/>
                    <a:gd name="connsiteX334" fmla="*/ 836053 w 946299"/>
                    <a:gd name="connsiteY334" fmla="*/ 432641 h 657309"/>
                    <a:gd name="connsiteX335" fmla="*/ 838057 w 946299"/>
                    <a:gd name="connsiteY335" fmla="*/ 433406 h 657309"/>
                    <a:gd name="connsiteX336" fmla="*/ 838579 w 946299"/>
                    <a:gd name="connsiteY336" fmla="*/ 433807 h 657309"/>
                    <a:gd name="connsiteX337" fmla="*/ 838968 w 946299"/>
                    <a:gd name="connsiteY337" fmla="*/ 434389 h 657309"/>
                    <a:gd name="connsiteX338" fmla="*/ 839611 w 946299"/>
                    <a:gd name="connsiteY338" fmla="*/ 435737 h 657309"/>
                    <a:gd name="connsiteX339" fmla="*/ 840304 w 946299"/>
                    <a:gd name="connsiteY339" fmla="*/ 437777 h 657309"/>
                    <a:gd name="connsiteX340" fmla="*/ 840595 w 946299"/>
                    <a:gd name="connsiteY340" fmla="*/ 438324 h 657309"/>
                    <a:gd name="connsiteX341" fmla="*/ 841105 w 946299"/>
                    <a:gd name="connsiteY341" fmla="*/ 438712 h 657309"/>
                    <a:gd name="connsiteX342" fmla="*/ 841737 w 946299"/>
                    <a:gd name="connsiteY342" fmla="*/ 438870 h 657309"/>
                    <a:gd name="connsiteX343" fmla="*/ 842477 w 946299"/>
                    <a:gd name="connsiteY343" fmla="*/ 438773 h 657309"/>
                    <a:gd name="connsiteX344" fmla="*/ 843752 w 946299"/>
                    <a:gd name="connsiteY344" fmla="*/ 438348 h 657309"/>
                    <a:gd name="connsiteX345" fmla="*/ 844493 w 946299"/>
                    <a:gd name="connsiteY345" fmla="*/ 438287 h 657309"/>
                    <a:gd name="connsiteX346" fmla="*/ 845197 w 946299"/>
                    <a:gd name="connsiteY346" fmla="*/ 438494 h 657309"/>
                    <a:gd name="connsiteX347" fmla="*/ 845659 w 946299"/>
                    <a:gd name="connsiteY347" fmla="*/ 438931 h 657309"/>
                    <a:gd name="connsiteX348" fmla="*/ 847140 w 946299"/>
                    <a:gd name="connsiteY348" fmla="*/ 441141 h 657309"/>
                    <a:gd name="connsiteX349" fmla="*/ 848403 w 946299"/>
                    <a:gd name="connsiteY349" fmla="*/ 442659 h 657309"/>
                    <a:gd name="connsiteX350" fmla="*/ 848986 w 946299"/>
                    <a:gd name="connsiteY350" fmla="*/ 443885 h 657309"/>
                    <a:gd name="connsiteX351" fmla="*/ 849836 w 946299"/>
                    <a:gd name="connsiteY351" fmla="*/ 447540 h 657309"/>
                    <a:gd name="connsiteX352" fmla="*/ 851329 w 946299"/>
                    <a:gd name="connsiteY352" fmla="*/ 451669 h 657309"/>
                    <a:gd name="connsiteX353" fmla="*/ 853151 w 946299"/>
                    <a:gd name="connsiteY353" fmla="*/ 454449 h 657309"/>
                    <a:gd name="connsiteX354" fmla="*/ 852993 w 946299"/>
                    <a:gd name="connsiteY354" fmla="*/ 456550 h 657309"/>
                    <a:gd name="connsiteX355" fmla="*/ 849022 w 946299"/>
                    <a:gd name="connsiteY355" fmla="*/ 462780 h 657309"/>
                    <a:gd name="connsiteX356" fmla="*/ 842769 w 946299"/>
                    <a:gd name="connsiteY356" fmla="*/ 469276 h 657309"/>
                    <a:gd name="connsiteX357" fmla="*/ 841845 w 946299"/>
                    <a:gd name="connsiteY357" fmla="*/ 466605 h 657309"/>
                    <a:gd name="connsiteX358" fmla="*/ 840243 w 946299"/>
                    <a:gd name="connsiteY358" fmla="*/ 464710 h 657309"/>
                    <a:gd name="connsiteX359" fmla="*/ 838348 w 946299"/>
                    <a:gd name="connsiteY359" fmla="*/ 463411 h 657309"/>
                    <a:gd name="connsiteX360" fmla="*/ 836381 w 946299"/>
                    <a:gd name="connsiteY360" fmla="*/ 462476 h 657309"/>
                    <a:gd name="connsiteX361" fmla="*/ 831973 w 946299"/>
                    <a:gd name="connsiteY361" fmla="*/ 461772 h 657309"/>
                    <a:gd name="connsiteX362" fmla="*/ 823607 w 946299"/>
                    <a:gd name="connsiteY362" fmla="*/ 463010 h 657309"/>
                    <a:gd name="connsiteX363" fmla="*/ 819515 w 946299"/>
                    <a:gd name="connsiteY363" fmla="*/ 461092 h 657309"/>
                    <a:gd name="connsiteX364" fmla="*/ 808088 w 946299"/>
                    <a:gd name="connsiteY364" fmla="*/ 458760 h 657309"/>
                    <a:gd name="connsiteX365" fmla="*/ 806206 w 946299"/>
                    <a:gd name="connsiteY365" fmla="*/ 456757 h 657309"/>
                    <a:gd name="connsiteX366" fmla="*/ 804895 w 946299"/>
                    <a:gd name="connsiteY366" fmla="*/ 454146 h 657309"/>
                    <a:gd name="connsiteX367" fmla="*/ 802770 w 946299"/>
                    <a:gd name="connsiteY367" fmla="*/ 451414 h 657309"/>
                    <a:gd name="connsiteX368" fmla="*/ 800462 w 946299"/>
                    <a:gd name="connsiteY368" fmla="*/ 449750 h 657309"/>
                    <a:gd name="connsiteX369" fmla="*/ 798908 w 946299"/>
                    <a:gd name="connsiteY369" fmla="*/ 449082 h 657309"/>
                    <a:gd name="connsiteX370" fmla="*/ 797087 w 946299"/>
                    <a:gd name="connsiteY370" fmla="*/ 448803 h 657309"/>
                    <a:gd name="connsiteX371" fmla="*/ 796334 w 946299"/>
                    <a:gd name="connsiteY371" fmla="*/ 448111 h 657309"/>
                    <a:gd name="connsiteX372" fmla="*/ 793978 w 946299"/>
                    <a:gd name="connsiteY372" fmla="*/ 447358 h 657309"/>
                    <a:gd name="connsiteX373" fmla="*/ 791283 w 946299"/>
                    <a:gd name="connsiteY373" fmla="*/ 449119 h 657309"/>
                    <a:gd name="connsiteX374" fmla="*/ 784106 w 946299"/>
                    <a:gd name="connsiteY374" fmla="*/ 455287 h 657309"/>
                    <a:gd name="connsiteX375" fmla="*/ 782029 w 946299"/>
                    <a:gd name="connsiteY375" fmla="*/ 458943 h 657309"/>
                    <a:gd name="connsiteX376" fmla="*/ 781277 w 946299"/>
                    <a:gd name="connsiteY376" fmla="*/ 461772 h 657309"/>
                    <a:gd name="connsiteX377" fmla="*/ 781107 w 946299"/>
                    <a:gd name="connsiteY377" fmla="*/ 463447 h 657309"/>
                    <a:gd name="connsiteX378" fmla="*/ 778581 w 946299"/>
                    <a:gd name="connsiteY378" fmla="*/ 464929 h 657309"/>
                    <a:gd name="connsiteX379" fmla="*/ 777597 w 946299"/>
                    <a:gd name="connsiteY379" fmla="*/ 466337 h 657309"/>
                    <a:gd name="connsiteX380" fmla="*/ 776456 w 946299"/>
                    <a:gd name="connsiteY380" fmla="*/ 471656 h 657309"/>
                    <a:gd name="connsiteX381" fmla="*/ 775242 w 946299"/>
                    <a:gd name="connsiteY381" fmla="*/ 474376 h 657309"/>
                    <a:gd name="connsiteX382" fmla="*/ 772073 w 946299"/>
                    <a:gd name="connsiteY382" fmla="*/ 475882 h 657309"/>
                    <a:gd name="connsiteX383" fmla="*/ 769377 w 946299"/>
                    <a:gd name="connsiteY383" fmla="*/ 475299 h 657309"/>
                    <a:gd name="connsiteX384" fmla="*/ 766389 w 946299"/>
                    <a:gd name="connsiteY384" fmla="*/ 474097 h 657309"/>
                    <a:gd name="connsiteX385" fmla="*/ 764034 w 946299"/>
                    <a:gd name="connsiteY385" fmla="*/ 472797 h 657309"/>
                    <a:gd name="connsiteX386" fmla="*/ 762479 w 946299"/>
                    <a:gd name="connsiteY386" fmla="*/ 472688 h 657309"/>
                    <a:gd name="connsiteX387" fmla="*/ 761180 w 946299"/>
                    <a:gd name="connsiteY387" fmla="*/ 473320 h 657309"/>
                    <a:gd name="connsiteX388" fmla="*/ 759954 w 946299"/>
                    <a:gd name="connsiteY388" fmla="*/ 474097 h 657309"/>
                    <a:gd name="connsiteX389" fmla="*/ 759116 w 946299"/>
                    <a:gd name="connsiteY389" fmla="*/ 474437 h 657309"/>
                    <a:gd name="connsiteX390" fmla="*/ 754902 w 946299"/>
                    <a:gd name="connsiteY390" fmla="*/ 474643 h 657309"/>
                    <a:gd name="connsiteX391" fmla="*/ 752559 w 946299"/>
                    <a:gd name="connsiteY391" fmla="*/ 475335 h 657309"/>
                    <a:gd name="connsiteX392" fmla="*/ 750555 w 946299"/>
                    <a:gd name="connsiteY392" fmla="*/ 477254 h 657309"/>
                    <a:gd name="connsiteX393" fmla="*/ 748867 w 946299"/>
                    <a:gd name="connsiteY393" fmla="*/ 482160 h 657309"/>
                    <a:gd name="connsiteX394" fmla="*/ 748418 w 946299"/>
                    <a:gd name="connsiteY394" fmla="*/ 485924 h 657309"/>
                    <a:gd name="connsiteX395" fmla="*/ 745674 w 946299"/>
                    <a:gd name="connsiteY395" fmla="*/ 497642 h 657309"/>
                    <a:gd name="connsiteX396" fmla="*/ 744799 w 946299"/>
                    <a:gd name="connsiteY396" fmla="*/ 499269 h 657309"/>
                    <a:gd name="connsiteX397" fmla="*/ 743488 w 946299"/>
                    <a:gd name="connsiteY397" fmla="*/ 499476 h 657309"/>
                    <a:gd name="connsiteX398" fmla="*/ 739080 w 946299"/>
                    <a:gd name="connsiteY398" fmla="*/ 497727 h 657309"/>
                    <a:gd name="connsiteX399" fmla="*/ 736433 w 946299"/>
                    <a:gd name="connsiteY399" fmla="*/ 497545 h 657309"/>
                    <a:gd name="connsiteX400" fmla="*/ 730580 w 946299"/>
                    <a:gd name="connsiteY400" fmla="*/ 499682 h 657309"/>
                    <a:gd name="connsiteX401" fmla="*/ 728455 w 946299"/>
                    <a:gd name="connsiteY401" fmla="*/ 501285 h 657309"/>
                    <a:gd name="connsiteX402" fmla="*/ 724083 w 946299"/>
                    <a:gd name="connsiteY402" fmla="*/ 505741 h 657309"/>
                    <a:gd name="connsiteX403" fmla="*/ 719834 w 946299"/>
                    <a:gd name="connsiteY403" fmla="*/ 511703 h 657309"/>
                    <a:gd name="connsiteX404" fmla="*/ 718571 w 946299"/>
                    <a:gd name="connsiteY404" fmla="*/ 514776 h 657309"/>
                    <a:gd name="connsiteX405" fmla="*/ 717830 w 946299"/>
                    <a:gd name="connsiteY405" fmla="*/ 517848 h 657309"/>
                    <a:gd name="connsiteX406" fmla="*/ 718631 w 946299"/>
                    <a:gd name="connsiteY406" fmla="*/ 539244 h 657309"/>
                    <a:gd name="connsiteX407" fmla="*/ 718170 w 946299"/>
                    <a:gd name="connsiteY407" fmla="*/ 541733 h 657309"/>
                    <a:gd name="connsiteX408" fmla="*/ 716786 w 946299"/>
                    <a:gd name="connsiteY408" fmla="*/ 544125 h 657309"/>
                    <a:gd name="connsiteX409" fmla="*/ 715049 w 946299"/>
                    <a:gd name="connsiteY409" fmla="*/ 546481 h 657309"/>
                    <a:gd name="connsiteX410" fmla="*/ 711843 w 946299"/>
                    <a:gd name="connsiteY410" fmla="*/ 552358 h 657309"/>
                    <a:gd name="connsiteX411" fmla="*/ 710350 w 946299"/>
                    <a:gd name="connsiteY411" fmla="*/ 554167 h 657309"/>
                    <a:gd name="connsiteX412" fmla="*/ 709148 w 946299"/>
                    <a:gd name="connsiteY412" fmla="*/ 555370 h 657309"/>
                    <a:gd name="connsiteX413" fmla="*/ 708565 w 946299"/>
                    <a:gd name="connsiteY413" fmla="*/ 556244 h 657309"/>
                    <a:gd name="connsiteX414" fmla="*/ 709148 w 946299"/>
                    <a:gd name="connsiteY414" fmla="*/ 557847 h 657309"/>
                    <a:gd name="connsiteX415" fmla="*/ 710058 w 946299"/>
                    <a:gd name="connsiteY415" fmla="*/ 559826 h 657309"/>
                    <a:gd name="connsiteX416" fmla="*/ 710338 w 946299"/>
                    <a:gd name="connsiteY416" fmla="*/ 562837 h 657309"/>
                    <a:gd name="connsiteX417" fmla="*/ 708273 w 946299"/>
                    <a:gd name="connsiteY417" fmla="*/ 571969 h 657309"/>
                    <a:gd name="connsiteX418" fmla="*/ 708796 w 946299"/>
                    <a:gd name="connsiteY418" fmla="*/ 578223 h 657309"/>
                    <a:gd name="connsiteX419" fmla="*/ 706209 w 946299"/>
                    <a:gd name="connsiteY419" fmla="*/ 585411 h 657309"/>
                    <a:gd name="connsiteX420" fmla="*/ 705505 w 946299"/>
                    <a:gd name="connsiteY420" fmla="*/ 588192 h 657309"/>
                    <a:gd name="connsiteX421" fmla="*/ 705177 w 946299"/>
                    <a:gd name="connsiteY421" fmla="*/ 592381 h 657309"/>
                    <a:gd name="connsiteX422" fmla="*/ 703683 w 946299"/>
                    <a:gd name="connsiteY422" fmla="*/ 594106 h 657309"/>
                    <a:gd name="connsiteX423" fmla="*/ 701376 w 946299"/>
                    <a:gd name="connsiteY423" fmla="*/ 594968 h 657309"/>
                    <a:gd name="connsiteX424" fmla="*/ 698219 w 946299"/>
                    <a:gd name="connsiteY424" fmla="*/ 594555 h 657309"/>
                    <a:gd name="connsiteX425" fmla="*/ 688517 w 946299"/>
                    <a:gd name="connsiteY425" fmla="*/ 590778 h 657309"/>
                    <a:gd name="connsiteX426" fmla="*/ 681802 w 946299"/>
                    <a:gd name="connsiteY426" fmla="*/ 589078 h 657309"/>
                    <a:gd name="connsiteX427" fmla="*/ 680369 w 946299"/>
                    <a:gd name="connsiteY427" fmla="*/ 589285 h 657309"/>
                    <a:gd name="connsiteX428" fmla="*/ 679907 w 946299"/>
                    <a:gd name="connsiteY428" fmla="*/ 592357 h 657309"/>
                    <a:gd name="connsiteX429" fmla="*/ 677029 w 946299"/>
                    <a:gd name="connsiteY429" fmla="*/ 596498 h 657309"/>
                    <a:gd name="connsiteX430" fmla="*/ 675317 w 946299"/>
                    <a:gd name="connsiteY430" fmla="*/ 598866 h 657309"/>
                    <a:gd name="connsiteX431" fmla="*/ 675135 w 946299"/>
                    <a:gd name="connsiteY431" fmla="*/ 600395 h 657309"/>
                    <a:gd name="connsiteX432" fmla="*/ 675524 w 946299"/>
                    <a:gd name="connsiteY432" fmla="*/ 604354 h 657309"/>
                    <a:gd name="connsiteX433" fmla="*/ 675135 w 946299"/>
                    <a:gd name="connsiteY433" fmla="*/ 605423 h 657309"/>
                    <a:gd name="connsiteX434" fmla="*/ 660722 w 946299"/>
                    <a:gd name="connsiteY434" fmla="*/ 600930 h 657309"/>
                    <a:gd name="connsiteX435" fmla="*/ 654808 w 946299"/>
                    <a:gd name="connsiteY435" fmla="*/ 596291 h 657309"/>
                    <a:gd name="connsiteX436" fmla="*/ 652270 w 946299"/>
                    <a:gd name="connsiteY436" fmla="*/ 594846 h 657309"/>
                    <a:gd name="connsiteX437" fmla="*/ 649866 w 946299"/>
                    <a:gd name="connsiteY437" fmla="*/ 594166 h 657309"/>
                    <a:gd name="connsiteX438" fmla="*/ 647972 w 946299"/>
                    <a:gd name="connsiteY438" fmla="*/ 594421 h 657309"/>
                    <a:gd name="connsiteX439" fmla="*/ 646599 w 946299"/>
                    <a:gd name="connsiteY439" fmla="*/ 595599 h 657309"/>
                    <a:gd name="connsiteX440" fmla="*/ 644766 w 946299"/>
                    <a:gd name="connsiteY440" fmla="*/ 599728 h 657309"/>
                    <a:gd name="connsiteX441" fmla="*/ 639957 w 946299"/>
                    <a:gd name="connsiteY441" fmla="*/ 602193 h 657309"/>
                    <a:gd name="connsiteX442" fmla="*/ 637589 w 946299"/>
                    <a:gd name="connsiteY442" fmla="*/ 602193 h 657309"/>
                    <a:gd name="connsiteX443" fmla="*/ 633291 w 946299"/>
                    <a:gd name="connsiteY443" fmla="*/ 603261 h 657309"/>
                    <a:gd name="connsiteX444" fmla="*/ 630000 w 946299"/>
                    <a:gd name="connsiteY444" fmla="*/ 603200 h 657309"/>
                    <a:gd name="connsiteX445" fmla="*/ 626163 w 946299"/>
                    <a:gd name="connsiteY445" fmla="*/ 601160 h 657309"/>
                    <a:gd name="connsiteX446" fmla="*/ 622156 w 946299"/>
                    <a:gd name="connsiteY446" fmla="*/ 599497 h 657309"/>
                    <a:gd name="connsiteX447" fmla="*/ 618076 w 946299"/>
                    <a:gd name="connsiteY447" fmla="*/ 599473 h 657309"/>
                    <a:gd name="connsiteX448" fmla="*/ 608823 w 946299"/>
                    <a:gd name="connsiteY448" fmla="*/ 608604 h 657309"/>
                    <a:gd name="connsiteX449" fmla="*/ 602666 w 946299"/>
                    <a:gd name="connsiteY449" fmla="*/ 613571 h 657309"/>
                    <a:gd name="connsiteX450" fmla="*/ 600954 w 946299"/>
                    <a:gd name="connsiteY450" fmla="*/ 615720 h 657309"/>
                    <a:gd name="connsiteX451" fmla="*/ 599218 w 946299"/>
                    <a:gd name="connsiteY451" fmla="*/ 622617 h 657309"/>
                    <a:gd name="connsiteX452" fmla="*/ 599400 w 946299"/>
                    <a:gd name="connsiteY452" fmla="*/ 629539 h 657309"/>
                    <a:gd name="connsiteX453" fmla="*/ 597335 w 946299"/>
                    <a:gd name="connsiteY453" fmla="*/ 630996 h 657309"/>
                    <a:gd name="connsiteX454" fmla="*/ 595902 w 946299"/>
                    <a:gd name="connsiteY454" fmla="*/ 631627 h 657309"/>
                    <a:gd name="connsiteX455" fmla="*/ 594967 w 946299"/>
                    <a:gd name="connsiteY455" fmla="*/ 633266 h 657309"/>
                    <a:gd name="connsiteX456" fmla="*/ 594749 w 946299"/>
                    <a:gd name="connsiteY456" fmla="*/ 634906 h 657309"/>
                    <a:gd name="connsiteX457" fmla="*/ 595150 w 946299"/>
                    <a:gd name="connsiteY457" fmla="*/ 636885 h 657309"/>
                    <a:gd name="connsiteX458" fmla="*/ 594858 w 946299"/>
                    <a:gd name="connsiteY458" fmla="*/ 638949 h 657309"/>
                    <a:gd name="connsiteX459" fmla="*/ 593887 w 946299"/>
                    <a:gd name="connsiteY459" fmla="*/ 641099 h 657309"/>
                    <a:gd name="connsiteX460" fmla="*/ 592563 w 946299"/>
                    <a:gd name="connsiteY460" fmla="*/ 642944 h 657309"/>
                    <a:gd name="connsiteX461" fmla="*/ 590499 w 946299"/>
                    <a:gd name="connsiteY461" fmla="*/ 643491 h 657309"/>
                    <a:gd name="connsiteX462" fmla="*/ 586310 w 946299"/>
                    <a:gd name="connsiteY462" fmla="*/ 641196 h 657309"/>
                    <a:gd name="connsiteX463" fmla="*/ 574822 w 946299"/>
                    <a:gd name="connsiteY463" fmla="*/ 632550 h 657309"/>
                    <a:gd name="connsiteX464" fmla="*/ 560057 w 946299"/>
                    <a:gd name="connsiteY464" fmla="*/ 624681 h 657309"/>
                    <a:gd name="connsiteX465" fmla="*/ 559037 w 946299"/>
                    <a:gd name="connsiteY465" fmla="*/ 622471 h 657309"/>
                    <a:gd name="connsiteX466" fmla="*/ 559316 w 946299"/>
                    <a:gd name="connsiteY466" fmla="*/ 620771 h 657309"/>
                    <a:gd name="connsiteX467" fmla="*/ 564185 w 946299"/>
                    <a:gd name="connsiteY467" fmla="*/ 615380 h 657309"/>
                    <a:gd name="connsiteX468" fmla="*/ 565108 w 946299"/>
                    <a:gd name="connsiteY468" fmla="*/ 613486 h 657309"/>
                    <a:gd name="connsiteX469" fmla="*/ 565339 w 946299"/>
                    <a:gd name="connsiteY469" fmla="*/ 611652 h 657309"/>
                    <a:gd name="connsiteX470" fmla="*/ 564549 w 946299"/>
                    <a:gd name="connsiteY470" fmla="*/ 605216 h 657309"/>
                    <a:gd name="connsiteX471" fmla="*/ 563858 w 946299"/>
                    <a:gd name="connsiteY471" fmla="*/ 603237 h 657309"/>
                    <a:gd name="connsiteX472" fmla="*/ 562692 w 946299"/>
                    <a:gd name="connsiteY472" fmla="*/ 601452 h 657309"/>
                    <a:gd name="connsiteX473" fmla="*/ 557410 w 946299"/>
                    <a:gd name="connsiteY473" fmla="*/ 600991 h 657309"/>
                    <a:gd name="connsiteX474" fmla="*/ 550124 w 946299"/>
                    <a:gd name="connsiteY474" fmla="*/ 598186 h 657309"/>
                    <a:gd name="connsiteX475" fmla="*/ 548278 w 946299"/>
                    <a:gd name="connsiteY475" fmla="*/ 598647 h 657309"/>
                    <a:gd name="connsiteX476" fmla="*/ 544089 w 946299"/>
                    <a:gd name="connsiteY476" fmla="*/ 601136 h 657309"/>
                    <a:gd name="connsiteX477" fmla="*/ 540919 w 946299"/>
                    <a:gd name="connsiteY477" fmla="*/ 601282 h 657309"/>
                    <a:gd name="connsiteX478" fmla="*/ 537252 w 946299"/>
                    <a:gd name="connsiteY478" fmla="*/ 600541 h 657309"/>
                    <a:gd name="connsiteX479" fmla="*/ 533864 w 946299"/>
                    <a:gd name="connsiteY479" fmla="*/ 597870 h 657309"/>
                    <a:gd name="connsiteX480" fmla="*/ 531776 w 946299"/>
                    <a:gd name="connsiteY480" fmla="*/ 595623 h 657309"/>
                    <a:gd name="connsiteX481" fmla="*/ 530234 w 946299"/>
                    <a:gd name="connsiteY481" fmla="*/ 592381 h 657309"/>
                    <a:gd name="connsiteX482" fmla="*/ 528412 w 946299"/>
                    <a:gd name="connsiteY482" fmla="*/ 577506 h 657309"/>
                    <a:gd name="connsiteX483" fmla="*/ 526518 w 946299"/>
                    <a:gd name="connsiteY483" fmla="*/ 573778 h 657309"/>
                    <a:gd name="connsiteX484" fmla="*/ 523470 w 946299"/>
                    <a:gd name="connsiteY484" fmla="*/ 571653 h 657309"/>
                    <a:gd name="connsiteX485" fmla="*/ 520313 w 946299"/>
                    <a:gd name="connsiteY485" fmla="*/ 570524 h 657309"/>
                    <a:gd name="connsiteX486" fmla="*/ 517326 w 946299"/>
                    <a:gd name="connsiteY486" fmla="*/ 570475 h 657309"/>
                    <a:gd name="connsiteX487" fmla="*/ 515261 w 946299"/>
                    <a:gd name="connsiteY487" fmla="*/ 570220 h 657309"/>
                    <a:gd name="connsiteX488" fmla="*/ 514399 w 946299"/>
                    <a:gd name="connsiteY488" fmla="*/ 569419 h 657309"/>
                    <a:gd name="connsiteX489" fmla="*/ 515322 w 946299"/>
                    <a:gd name="connsiteY489" fmla="*/ 567403 h 657309"/>
                    <a:gd name="connsiteX490" fmla="*/ 516476 w 946299"/>
                    <a:gd name="connsiteY490" fmla="*/ 565594 h 657309"/>
                    <a:gd name="connsiteX491" fmla="*/ 516986 w 946299"/>
                    <a:gd name="connsiteY491" fmla="*/ 563991 h 657309"/>
                    <a:gd name="connsiteX492" fmla="*/ 515723 w 946299"/>
                    <a:gd name="connsiteY492" fmla="*/ 561915 h 657309"/>
                    <a:gd name="connsiteX493" fmla="*/ 511570 w 946299"/>
                    <a:gd name="connsiteY493" fmla="*/ 563299 h 657309"/>
                    <a:gd name="connsiteX494" fmla="*/ 508474 w 946299"/>
                    <a:gd name="connsiteY494" fmla="*/ 566092 h 657309"/>
                    <a:gd name="connsiteX495" fmla="*/ 500568 w 946299"/>
                    <a:gd name="connsiteY495" fmla="*/ 571228 h 657309"/>
                    <a:gd name="connsiteX496" fmla="*/ 491607 w 946299"/>
                    <a:gd name="connsiteY496" fmla="*/ 572175 h 657309"/>
                    <a:gd name="connsiteX497" fmla="*/ 483046 w 946299"/>
                    <a:gd name="connsiteY497" fmla="*/ 561575 h 657309"/>
                    <a:gd name="connsiteX498" fmla="*/ 479889 w 946299"/>
                    <a:gd name="connsiteY498" fmla="*/ 559024 h 657309"/>
                    <a:gd name="connsiteX499" fmla="*/ 476501 w 946299"/>
                    <a:gd name="connsiteY499" fmla="*/ 557725 h 657309"/>
                    <a:gd name="connsiteX500" fmla="*/ 460594 w 946299"/>
                    <a:gd name="connsiteY500" fmla="*/ 557895 h 657309"/>
                    <a:gd name="connsiteX501" fmla="*/ 457886 w 946299"/>
                    <a:gd name="connsiteY501" fmla="*/ 558624 h 657309"/>
                    <a:gd name="connsiteX502" fmla="*/ 455421 w 946299"/>
                    <a:gd name="connsiteY502" fmla="*/ 561150 h 657309"/>
                    <a:gd name="connsiteX503" fmla="*/ 453478 w 946299"/>
                    <a:gd name="connsiteY503" fmla="*/ 564161 h 657309"/>
                    <a:gd name="connsiteX504" fmla="*/ 452106 w 946299"/>
                    <a:gd name="connsiteY504" fmla="*/ 566966 h 657309"/>
                    <a:gd name="connsiteX505" fmla="*/ 451353 w 946299"/>
                    <a:gd name="connsiteY505" fmla="*/ 569552 h 657309"/>
                    <a:gd name="connsiteX506" fmla="*/ 450770 w 946299"/>
                    <a:gd name="connsiteY506" fmla="*/ 575418 h 657309"/>
                    <a:gd name="connsiteX507" fmla="*/ 449860 w 946299"/>
                    <a:gd name="connsiteY507" fmla="*/ 578089 h 657309"/>
                    <a:gd name="connsiteX508" fmla="*/ 448378 w 946299"/>
                    <a:gd name="connsiteY508" fmla="*/ 580129 h 657309"/>
                    <a:gd name="connsiteX509" fmla="*/ 443557 w 946299"/>
                    <a:gd name="connsiteY509" fmla="*/ 581477 h 657309"/>
                    <a:gd name="connsiteX510" fmla="*/ 442064 w 946299"/>
                    <a:gd name="connsiteY510" fmla="*/ 582132 h 657309"/>
                    <a:gd name="connsiteX511" fmla="*/ 442064 w 946299"/>
                    <a:gd name="connsiteY511" fmla="*/ 583165 h 657309"/>
                    <a:gd name="connsiteX512" fmla="*/ 442816 w 946299"/>
                    <a:gd name="connsiteY512" fmla="*/ 584743 h 657309"/>
                    <a:gd name="connsiteX513" fmla="*/ 443970 w 946299"/>
                    <a:gd name="connsiteY513" fmla="*/ 586528 h 657309"/>
                    <a:gd name="connsiteX514" fmla="*/ 444553 w 946299"/>
                    <a:gd name="connsiteY514" fmla="*/ 588362 h 657309"/>
                    <a:gd name="connsiteX515" fmla="*/ 444881 w 946299"/>
                    <a:gd name="connsiteY515" fmla="*/ 590657 h 657309"/>
                    <a:gd name="connsiteX516" fmla="*/ 444881 w 946299"/>
                    <a:gd name="connsiteY516" fmla="*/ 597979 h 657309"/>
                    <a:gd name="connsiteX517" fmla="*/ 443849 w 946299"/>
                    <a:gd name="connsiteY517" fmla="*/ 600213 h 657309"/>
                    <a:gd name="connsiteX518" fmla="*/ 441384 w 946299"/>
                    <a:gd name="connsiteY518" fmla="*/ 601743 h 657309"/>
                    <a:gd name="connsiteX519" fmla="*/ 436903 w 946299"/>
                    <a:gd name="connsiteY519" fmla="*/ 601768 h 657309"/>
                    <a:gd name="connsiteX520" fmla="*/ 433612 w 946299"/>
                    <a:gd name="connsiteY520" fmla="*/ 601088 h 657309"/>
                    <a:gd name="connsiteX521" fmla="*/ 430868 w 946299"/>
                    <a:gd name="connsiteY521" fmla="*/ 600250 h 657309"/>
                    <a:gd name="connsiteX522" fmla="*/ 429119 w 946299"/>
                    <a:gd name="connsiteY522" fmla="*/ 600189 h 657309"/>
                    <a:gd name="connsiteX523" fmla="*/ 428257 w 946299"/>
                    <a:gd name="connsiteY523" fmla="*/ 602630 h 657309"/>
                    <a:gd name="connsiteX524" fmla="*/ 427504 w 946299"/>
                    <a:gd name="connsiteY524" fmla="*/ 603492 h 657309"/>
                    <a:gd name="connsiteX525" fmla="*/ 425683 w 946299"/>
                    <a:gd name="connsiteY525" fmla="*/ 605071 h 657309"/>
                    <a:gd name="connsiteX526" fmla="*/ 425039 w 946299"/>
                    <a:gd name="connsiteY526" fmla="*/ 606139 h 657309"/>
                    <a:gd name="connsiteX527" fmla="*/ 419356 w 946299"/>
                    <a:gd name="connsiteY527" fmla="*/ 611397 h 657309"/>
                    <a:gd name="connsiteX528" fmla="*/ 417632 w 946299"/>
                    <a:gd name="connsiteY528" fmla="*/ 611822 h 657309"/>
                    <a:gd name="connsiteX529" fmla="*/ 415434 w 946299"/>
                    <a:gd name="connsiteY529" fmla="*/ 611069 h 657309"/>
                    <a:gd name="connsiteX530" fmla="*/ 413552 w 946299"/>
                    <a:gd name="connsiteY530" fmla="*/ 610098 h 657309"/>
                    <a:gd name="connsiteX531" fmla="*/ 411087 w 946299"/>
                    <a:gd name="connsiteY531" fmla="*/ 609867 h 657309"/>
                    <a:gd name="connsiteX532" fmla="*/ 407408 w 946299"/>
                    <a:gd name="connsiteY532" fmla="*/ 610474 h 657309"/>
                    <a:gd name="connsiteX533" fmla="*/ 402988 w 946299"/>
                    <a:gd name="connsiteY533" fmla="*/ 610681 h 657309"/>
                    <a:gd name="connsiteX534" fmla="*/ 394038 w 946299"/>
                    <a:gd name="connsiteY534" fmla="*/ 609843 h 657309"/>
                    <a:gd name="connsiteX535" fmla="*/ 390881 w 946299"/>
                    <a:gd name="connsiteY535" fmla="*/ 611786 h 657309"/>
                    <a:gd name="connsiteX536" fmla="*/ 375994 w 946299"/>
                    <a:gd name="connsiteY536" fmla="*/ 613486 h 657309"/>
                    <a:gd name="connsiteX537" fmla="*/ 373238 w 946299"/>
                    <a:gd name="connsiteY537" fmla="*/ 614238 h 657309"/>
                    <a:gd name="connsiteX538" fmla="*/ 372667 w 946299"/>
                    <a:gd name="connsiteY538" fmla="*/ 615526 h 657309"/>
                    <a:gd name="connsiteX539" fmla="*/ 372412 w 946299"/>
                    <a:gd name="connsiteY539" fmla="*/ 617019 h 657309"/>
                    <a:gd name="connsiteX540" fmla="*/ 371513 w 946299"/>
                    <a:gd name="connsiteY540" fmla="*/ 618282 h 657309"/>
                    <a:gd name="connsiteX541" fmla="*/ 369558 w 946299"/>
                    <a:gd name="connsiteY541" fmla="*/ 619314 h 657309"/>
                    <a:gd name="connsiteX542" fmla="*/ 352655 w 946299"/>
                    <a:gd name="connsiteY542" fmla="*/ 625459 h 657309"/>
                    <a:gd name="connsiteX543" fmla="*/ 350652 w 946299"/>
                    <a:gd name="connsiteY543" fmla="*/ 627377 h 657309"/>
                    <a:gd name="connsiteX544" fmla="*/ 350263 w 946299"/>
                    <a:gd name="connsiteY544" fmla="*/ 629162 h 657309"/>
                    <a:gd name="connsiteX545" fmla="*/ 350652 w 946299"/>
                    <a:gd name="connsiteY545" fmla="*/ 630996 h 657309"/>
                    <a:gd name="connsiteX546" fmla="*/ 350202 w 946299"/>
                    <a:gd name="connsiteY546" fmla="*/ 632489 h 657309"/>
                    <a:gd name="connsiteX547" fmla="*/ 348660 w 946299"/>
                    <a:gd name="connsiteY547" fmla="*/ 634007 h 657309"/>
                    <a:gd name="connsiteX548" fmla="*/ 346001 w 946299"/>
                    <a:gd name="connsiteY548" fmla="*/ 635938 h 657309"/>
                    <a:gd name="connsiteX549" fmla="*/ 338897 w 946299"/>
                    <a:gd name="connsiteY549" fmla="*/ 642714 h 657309"/>
                    <a:gd name="connsiteX550" fmla="*/ 337282 w 946299"/>
                    <a:gd name="connsiteY550" fmla="*/ 643175 h 657309"/>
                    <a:gd name="connsiteX551" fmla="*/ 336068 w 946299"/>
                    <a:gd name="connsiteY551" fmla="*/ 641851 h 657309"/>
                    <a:gd name="connsiteX552" fmla="*/ 336189 w 946299"/>
                    <a:gd name="connsiteY552" fmla="*/ 639836 h 657309"/>
                    <a:gd name="connsiteX553" fmla="*/ 337222 w 946299"/>
                    <a:gd name="connsiteY553" fmla="*/ 634930 h 657309"/>
                    <a:gd name="connsiteX554" fmla="*/ 336930 w 946299"/>
                    <a:gd name="connsiteY554" fmla="*/ 633412 h 657309"/>
                    <a:gd name="connsiteX555" fmla="*/ 335728 w 946299"/>
                    <a:gd name="connsiteY555" fmla="*/ 632951 h 657309"/>
                    <a:gd name="connsiteX556" fmla="*/ 323488 w 946299"/>
                    <a:gd name="connsiteY556" fmla="*/ 637225 h 657309"/>
                    <a:gd name="connsiteX557" fmla="*/ 320391 w 946299"/>
                    <a:gd name="connsiteY557" fmla="*/ 639350 h 657309"/>
                    <a:gd name="connsiteX558" fmla="*/ 317161 w 946299"/>
                    <a:gd name="connsiteY558" fmla="*/ 641026 h 657309"/>
                    <a:gd name="connsiteX559" fmla="*/ 313385 w 946299"/>
                    <a:gd name="connsiteY559" fmla="*/ 641876 h 657309"/>
                    <a:gd name="connsiteX560" fmla="*/ 303501 w 946299"/>
                    <a:gd name="connsiteY560" fmla="*/ 640819 h 657309"/>
                    <a:gd name="connsiteX561" fmla="*/ 301023 w 946299"/>
                    <a:gd name="connsiteY561" fmla="*/ 639144 h 657309"/>
                    <a:gd name="connsiteX562" fmla="*/ 299773 w 946299"/>
                    <a:gd name="connsiteY562" fmla="*/ 637031 h 657309"/>
                    <a:gd name="connsiteX563" fmla="*/ 297927 w 946299"/>
                    <a:gd name="connsiteY563" fmla="*/ 626296 h 657309"/>
                    <a:gd name="connsiteX564" fmla="*/ 297405 w 946299"/>
                    <a:gd name="connsiteY564" fmla="*/ 624366 h 657309"/>
                    <a:gd name="connsiteX565" fmla="*/ 295911 w 946299"/>
                    <a:gd name="connsiteY565" fmla="*/ 623625 h 657309"/>
                    <a:gd name="connsiteX566" fmla="*/ 294260 w 946299"/>
                    <a:gd name="connsiteY566" fmla="*/ 624402 h 657309"/>
                    <a:gd name="connsiteX567" fmla="*/ 291333 w 946299"/>
                    <a:gd name="connsiteY567" fmla="*/ 624936 h 657309"/>
                    <a:gd name="connsiteX568" fmla="*/ 289658 w 946299"/>
                    <a:gd name="connsiteY568" fmla="*/ 624050 h 657309"/>
                    <a:gd name="connsiteX569" fmla="*/ 287885 w 946299"/>
                    <a:gd name="connsiteY569" fmla="*/ 614724 h 657309"/>
                    <a:gd name="connsiteX570" fmla="*/ 285602 w 946299"/>
                    <a:gd name="connsiteY570" fmla="*/ 612623 h 657309"/>
                    <a:gd name="connsiteX571" fmla="*/ 282821 w 946299"/>
                    <a:gd name="connsiteY571" fmla="*/ 612393 h 657309"/>
                    <a:gd name="connsiteX572" fmla="*/ 280648 w 946299"/>
                    <a:gd name="connsiteY572" fmla="*/ 613741 h 657309"/>
                    <a:gd name="connsiteX573" fmla="*/ 278753 w 946299"/>
                    <a:gd name="connsiteY573" fmla="*/ 615234 h 657309"/>
                    <a:gd name="connsiteX574" fmla="*/ 275948 w 946299"/>
                    <a:gd name="connsiteY574" fmla="*/ 616764 h 657309"/>
                    <a:gd name="connsiteX575" fmla="*/ 273253 w 946299"/>
                    <a:gd name="connsiteY575" fmla="*/ 618646 h 657309"/>
                    <a:gd name="connsiteX576" fmla="*/ 265153 w 946299"/>
                    <a:gd name="connsiteY576" fmla="*/ 622981 h 657309"/>
                    <a:gd name="connsiteX577" fmla="*/ 262105 w 946299"/>
                    <a:gd name="connsiteY577" fmla="*/ 625519 h 657309"/>
                    <a:gd name="connsiteX578" fmla="*/ 259701 w 946299"/>
                    <a:gd name="connsiteY578" fmla="*/ 629332 h 657309"/>
                    <a:gd name="connsiteX579" fmla="*/ 257746 w 946299"/>
                    <a:gd name="connsiteY579" fmla="*/ 635197 h 657309"/>
                    <a:gd name="connsiteX580" fmla="*/ 256374 w 946299"/>
                    <a:gd name="connsiteY580" fmla="*/ 636569 h 657309"/>
                    <a:gd name="connsiteX581" fmla="*/ 254018 w 946299"/>
                    <a:gd name="connsiteY581" fmla="*/ 636545 h 657309"/>
                    <a:gd name="connsiteX582" fmla="*/ 250047 w 946299"/>
                    <a:gd name="connsiteY582" fmla="*/ 635562 h 657309"/>
                    <a:gd name="connsiteX583" fmla="*/ 247922 w 946299"/>
                    <a:gd name="connsiteY583" fmla="*/ 635452 h 657309"/>
                    <a:gd name="connsiteX584" fmla="*/ 246089 w 946299"/>
                    <a:gd name="connsiteY584" fmla="*/ 634444 h 657309"/>
                    <a:gd name="connsiteX585" fmla="*/ 244486 w 946299"/>
                    <a:gd name="connsiteY585" fmla="*/ 633291 h 657309"/>
                    <a:gd name="connsiteX586" fmla="*/ 243393 w 946299"/>
                    <a:gd name="connsiteY586" fmla="*/ 632720 h 657309"/>
                    <a:gd name="connsiteX587" fmla="*/ 242652 w 946299"/>
                    <a:gd name="connsiteY587" fmla="*/ 633157 h 657309"/>
                    <a:gd name="connsiteX588" fmla="*/ 241778 w 946299"/>
                    <a:gd name="connsiteY588" fmla="*/ 635161 h 657309"/>
                    <a:gd name="connsiteX589" fmla="*/ 240576 w 946299"/>
                    <a:gd name="connsiteY589" fmla="*/ 637225 h 657309"/>
                    <a:gd name="connsiteX590" fmla="*/ 236168 w 946299"/>
                    <a:gd name="connsiteY590" fmla="*/ 641099 h 657309"/>
                    <a:gd name="connsiteX591" fmla="*/ 235233 w 946299"/>
                    <a:gd name="connsiteY591" fmla="*/ 643175 h 657309"/>
                    <a:gd name="connsiteX592" fmla="*/ 234832 w 946299"/>
                    <a:gd name="connsiteY592" fmla="*/ 644948 h 657309"/>
                    <a:gd name="connsiteX593" fmla="*/ 234310 w 946299"/>
                    <a:gd name="connsiteY593" fmla="*/ 646332 h 657309"/>
                    <a:gd name="connsiteX594" fmla="*/ 230412 w 946299"/>
                    <a:gd name="connsiteY594" fmla="*/ 649999 h 657309"/>
                    <a:gd name="connsiteX595" fmla="*/ 228227 w 946299"/>
                    <a:gd name="connsiteY595" fmla="*/ 650874 h 657309"/>
                    <a:gd name="connsiteX596" fmla="*/ 226223 w 946299"/>
                    <a:gd name="connsiteY596" fmla="*/ 651177 h 657309"/>
                    <a:gd name="connsiteX597" fmla="*/ 223928 w 946299"/>
                    <a:gd name="connsiteY597" fmla="*/ 650959 h 657309"/>
                    <a:gd name="connsiteX598" fmla="*/ 221560 w 946299"/>
                    <a:gd name="connsiteY598" fmla="*/ 650036 h 657309"/>
                    <a:gd name="connsiteX599" fmla="*/ 218306 w 946299"/>
                    <a:gd name="connsiteY599" fmla="*/ 647449 h 657309"/>
                    <a:gd name="connsiteX600" fmla="*/ 216921 w 946299"/>
                    <a:gd name="connsiteY600" fmla="*/ 645895 h 657309"/>
                    <a:gd name="connsiteX601" fmla="*/ 215768 w 946299"/>
                    <a:gd name="connsiteY601" fmla="*/ 643916 h 657309"/>
                    <a:gd name="connsiteX602" fmla="*/ 214566 w 946299"/>
                    <a:gd name="connsiteY602" fmla="*/ 642252 h 657309"/>
                    <a:gd name="connsiteX603" fmla="*/ 209915 w 946299"/>
                    <a:gd name="connsiteY603" fmla="*/ 638719 h 657309"/>
                    <a:gd name="connsiteX604" fmla="*/ 204511 w 946299"/>
                    <a:gd name="connsiteY604" fmla="*/ 636023 h 657309"/>
                    <a:gd name="connsiteX605" fmla="*/ 201767 w 946299"/>
                    <a:gd name="connsiteY605" fmla="*/ 633983 h 657309"/>
                    <a:gd name="connsiteX606" fmla="*/ 199241 w 946299"/>
                    <a:gd name="connsiteY606" fmla="*/ 631396 h 657309"/>
                    <a:gd name="connsiteX607" fmla="*/ 196594 w 946299"/>
                    <a:gd name="connsiteY607" fmla="*/ 627499 h 657309"/>
                    <a:gd name="connsiteX608" fmla="*/ 192004 w 946299"/>
                    <a:gd name="connsiteY608" fmla="*/ 623018 h 657309"/>
                    <a:gd name="connsiteX609" fmla="*/ 191543 w 946299"/>
                    <a:gd name="connsiteY609" fmla="*/ 621439 h 657309"/>
                    <a:gd name="connsiteX610" fmla="*/ 192806 w 946299"/>
                    <a:gd name="connsiteY610" fmla="*/ 618999 h 657309"/>
                    <a:gd name="connsiteX611" fmla="*/ 194069 w 946299"/>
                    <a:gd name="connsiteY611" fmla="*/ 617590 h 657309"/>
                    <a:gd name="connsiteX612" fmla="*/ 193947 w 946299"/>
                    <a:gd name="connsiteY612" fmla="*/ 611130 h 657309"/>
                    <a:gd name="connsiteX613" fmla="*/ 191944 w 946299"/>
                    <a:gd name="connsiteY613" fmla="*/ 607147 h 657309"/>
                    <a:gd name="connsiteX614" fmla="*/ 190328 w 946299"/>
                    <a:gd name="connsiteY614" fmla="*/ 605593 h 657309"/>
                    <a:gd name="connsiteX615" fmla="*/ 188033 w 946299"/>
                    <a:gd name="connsiteY615" fmla="*/ 604961 h 657309"/>
                    <a:gd name="connsiteX616" fmla="*/ 186649 w 946299"/>
                    <a:gd name="connsiteY616" fmla="*/ 605423 h 657309"/>
                    <a:gd name="connsiteX617" fmla="*/ 184767 w 946299"/>
                    <a:gd name="connsiteY617" fmla="*/ 607657 h 657309"/>
                    <a:gd name="connsiteX618" fmla="*/ 183443 w 946299"/>
                    <a:gd name="connsiteY618" fmla="*/ 608203 h 657309"/>
                    <a:gd name="connsiteX619" fmla="*/ 182241 w 946299"/>
                    <a:gd name="connsiteY619" fmla="*/ 607924 h 657309"/>
                    <a:gd name="connsiteX620" fmla="*/ 180808 w 946299"/>
                    <a:gd name="connsiteY620" fmla="*/ 606916 h 657309"/>
                    <a:gd name="connsiteX621" fmla="*/ 179376 w 946299"/>
                    <a:gd name="connsiteY621" fmla="*/ 606370 h 657309"/>
                    <a:gd name="connsiteX622" fmla="*/ 178101 w 946299"/>
                    <a:gd name="connsiteY622" fmla="*/ 606649 h 657309"/>
                    <a:gd name="connsiteX623" fmla="*/ 176898 w 946299"/>
                    <a:gd name="connsiteY623" fmla="*/ 607341 h 657309"/>
                    <a:gd name="connsiteX624" fmla="*/ 175235 w 946299"/>
                    <a:gd name="connsiteY624" fmla="*/ 607657 h 657309"/>
                    <a:gd name="connsiteX625" fmla="*/ 172818 w 946299"/>
                    <a:gd name="connsiteY625" fmla="*/ 607232 h 657309"/>
                    <a:gd name="connsiteX626" fmla="*/ 171094 w 946299"/>
                    <a:gd name="connsiteY626" fmla="*/ 607451 h 657309"/>
                    <a:gd name="connsiteX627" fmla="*/ 170062 w 946299"/>
                    <a:gd name="connsiteY627" fmla="*/ 608082 h 657309"/>
                    <a:gd name="connsiteX628" fmla="*/ 169843 w 946299"/>
                    <a:gd name="connsiteY628" fmla="*/ 609636 h 657309"/>
                    <a:gd name="connsiteX629" fmla="*/ 170183 w 946299"/>
                    <a:gd name="connsiteY629" fmla="*/ 613656 h 657309"/>
                    <a:gd name="connsiteX630" fmla="*/ 169892 w 946299"/>
                    <a:gd name="connsiteY630" fmla="*/ 615319 h 657309"/>
                    <a:gd name="connsiteX631" fmla="*/ 168750 w 946299"/>
                    <a:gd name="connsiteY631" fmla="*/ 616351 h 657309"/>
                    <a:gd name="connsiteX632" fmla="*/ 167196 w 946299"/>
                    <a:gd name="connsiteY632" fmla="*/ 616534 h 657309"/>
                    <a:gd name="connsiteX633" fmla="*/ 165702 w 946299"/>
                    <a:gd name="connsiteY633" fmla="*/ 615781 h 657309"/>
                    <a:gd name="connsiteX634" fmla="*/ 164950 w 946299"/>
                    <a:gd name="connsiteY634" fmla="*/ 614008 h 657309"/>
                    <a:gd name="connsiteX635" fmla="*/ 165010 w 946299"/>
                    <a:gd name="connsiteY635" fmla="*/ 612174 h 657309"/>
                    <a:gd name="connsiteX636" fmla="*/ 164780 w 946299"/>
                    <a:gd name="connsiteY636" fmla="*/ 610620 h 657309"/>
                    <a:gd name="connsiteX637" fmla="*/ 163978 w 946299"/>
                    <a:gd name="connsiteY637" fmla="*/ 609673 h 657309"/>
                    <a:gd name="connsiteX638" fmla="*/ 162485 w 946299"/>
                    <a:gd name="connsiteY638" fmla="*/ 609515 h 657309"/>
                    <a:gd name="connsiteX639" fmla="*/ 161562 w 946299"/>
                    <a:gd name="connsiteY639" fmla="*/ 610158 h 657309"/>
                    <a:gd name="connsiteX640" fmla="*/ 161282 w 946299"/>
                    <a:gd name="connsiteY640" fmla="*/ 611397 h 657309"/>
                    <a:gd name="connsiteX641" fmla="*/ 161222 w 946299"/>
                    <a:gd name="connsiteY641" fmla="*/ 612963 h 657309"/>
                    <a:gd name="connsiteX642" fmla="*/ 160991 w 946299"/>
                    <a:gd name="connsiteY642" fmla="*/ 614724 h 657309"/>
                    <a:gd name="connsiteX643" fmla="*/ 160311 w 946299"/>
                    <a:gd name="connsiteY643" fmla="*/ 616351 h 657309"/>
                    <a:gd name="connsiteX644" fmla="*/ 159218 w 946299"/>
                    <a:gd name="connsiteY644" fmla="*/ 617444 h 657309"/>
                    <a:gd name="connsiteX645" fmla="*/ 157555 w 946299"/>
                    <a:gd name="connsiteY645" fmla="*/ 617736 h 657309"/>
                    <a:gd name="connsiteX646" fmla="*/ 155478 w 946299"/>
                    <a:gd name="connsiteY646" fmla="*/ 616837 h 657309"/>
                    <a:gd name="connsiteX647" fmla="*/ 153135 w 946299"/>
                    <a:gd name="connsiteY647" fmla="*/ 614785 h 657309"/>
                    <a:gd name="connsiteX648" fmla="*/ 151010 w 946299"/>
                    <a:gd name="connsiteY648" fmla="*/ 610899 h 657309"/>
                    <a:gd name="connsiteX649" fmla="*/ 147270 w 946299"/>
                    <a:gd name="connsiteY649" fmla="*/ 599339 h 657309"/>
                    <a:gd name="connsiteX650" fmla="*/ 141295 w 946299"/>
                    <a:gd name="connsiteY650" fmla="*/ 587038 h 657309"/>
                    <a:gd name="connsiteX651" fmla="*/ 138587 w 946299"/>
                    <a:gd name="connsiteY651" fmla="*/ 584865 h 657309"/>
                    <a:gd name="connsiteX652" fmla="*/ 137094 w 946299"/>
                    <a:gd name="connsiteY652" fmla="*/ 584027 h 657309"/>
                    <a:gd name="connsiteX653" fmla="*/ 135965 w 946299"/>
                    <a:gd name="connsiteY653" fmla="*/ 584488 h 657309"/>
                    <a:gd name="connsiteX654" fmla="*/ 135272 w 946299"/>
                    <a:gd name="connsiteY654" fmla="*/ 585253 h 657309"/>
                    <a:gd name="connsiteX655" fmla="*/ 132625 w 946299"/>
                    <a:gd name="connsiteY655" fmla="*/ 591835 h 657309"/>
                    <a:gd name="connsiteX656" fmla="*/ 132164 w 946299"/>
                    <a:gd name="connsiteY656" fmla="*/ 592697 h 657309"/>
                    <a:gd name="connsiteX657" fmla="*/ 131642 w 946299"/>
                    <a:gd name="connsiteY657" fmla="*/ 593510 h 657309"/>
                    <a:gd name="connsiteX658" fmla="*/ 130962 w 946299"/>
                    <a:gd name="connsiteY658" fmla="*/ 594190 h 657309"/>
                    <a:gd name="connsiteX659" fmla="*/ 129128 w 946299"/>
                    <a:gd name="connsiteY659" fmla="*/ 595368 h 657309"/>
                    <a:gd name="connsiteX660" fmla="*/ 126675 w 946299"/>
                    <a:gd name="connsiteY660" fmla="*/ 596558 h 657309"/>
                    <a:gd name="connsiteX661" fmla="*/ 124429 w 946299"/>
                    <a:gd name="connsiteY661" fmla="*/ 599983 h 657309"/>
                    <a:gd name="connsiteX662" fmla="*/ 121502 w 946299"/>
                    <a:gd name="connsiteY662" fmla="*/ 602023 h 657309"/>
                    <a:gd name="connsiteX663" fmla="*/ 117786 w 946299"/>
                    <a:gd name="connsiteY663" fmla="*/ 602970 h 657309"/>
                    <a:gd name="connsiteX664" fmla="*/ 110549 w 946299"/>
                    <a:gd name="connsiteY664" fmla="*/ 603480 h 657309"/>
                    <a:gd name="connsiteX665" fmla="*/ 106931 w 946299"/>
                    <a:gd name="connsiteY665" fmla="*/ 604488 h 657309"/>
                    <a:gd name="connsiteX666" fmla="*/ 104915 w 946299"/>
                    <a:gd name="connsiteY666" fmla="*/ 604718 h 657309"/>
                    <a:gd name="connsiteX667" fmla="*/ 103191 w 946299"/>
                    <a:gd name="connsiteY667" fmla="*/ 604488 h 657309"/>
                    <a:gd name="connsiteX668" fmla="*/ 99232 w 946299"/>
                    <a:gd name="connsiteY668" fmla="*/ 603480 h 657309"/>
                    <a:gd name="connsiteX669" fmla="*/ 97216 w 946299"/>
                    <a:gd name="connsiteY669" fmla="*/ 603225 h 657309"/>
                    <a:gd name="connsiteX670" fmla="*/ 93318 w 946299"/>
                    <a:gd name="connsiteY670" fmla="*/ 604257 h 657309"/>
                    <a:gd name="connsiteX671" fmla="*/ 89530 w 946299"/>
                    <a:gd name="connsiteY671" fmla="*/ 608968 h 657309"/>
                    <a:gd name="connsiteX672" fmla="*/ 86191 w 946299"/>
                    <a:gd name="connsiteY672" fmla="*/ 610025 h 657309"/>
                    <a:gd name="connsiteX673" fmla="*/ 76039 w 946299"/>
                    <a:gd name="connsiteY673" fmla="*/ 610462 h 657309"/>
                    <a:gd name="connsiteX674" fmla="*/ 65013 w 946299"/>
                    <a:gd name="connsiteY674" fmla="*/ 608276 h 657309"/>
                    <a:gd name="connsiteX675" fmla="*/ 46568 w 946299"/>
                    <a:gd name="connsiteY675" fmla="*/ 605459 h 657309"/>
                    <a:gd name="connsiteX676" fmla="*/ 43642 w 946299"/>
                    <a:gd name="connsiteY676" fmla="*/ 605787 h 657309"/>
                    <a:gd name="connsiteX677" fmla="*/ 43982 w 946299"/>
                    <a:gd name="connsiteY677" fmla="*/ 600043 h 657309"/>
                    <a:gd name="connsiteX678" fmla="*/ 43071 w 946299"/>
                    <a:gd name="connsiteY678" fmla="*/ 593268 h 657309"/>
                    <a:gd name="connsiteX679" fmla="*/ 43472 w 946299"/>
                    <a:gd name="connsiteY679" fmla="*/ 588617 h 657309"/>
                    <a:gd name="connsiteX680" fmla="*/ 44042 w 946299"/>
                    <a:gd name="connsiteY680" fmla="*/ 586018 h 657309"/>
                    <a:gd name="connsiteX681" fmla="*/ 43642 w 946299"/>
                    <a:gd name="connsiteY681" fmla="*/ 584136 h 657309"/>
                    <a:gd name="connsiteX682" fmla="*/ 41638 w 946299"/>
                    <a:gd name="connsiteY682" fmla="*/ 579740 h 657309"/>
                    <a:gd name="connsiteX683" fmla="*/ 41359 w 946299"/>
                    <a:gd name="connsiteY683" fmla="*/ 578356 h 657309"/>
                    <a:gd name="connsiteX684" fmla="*/ 41577 w 946299"/>
                    <a:gd name="connsiteY684" fmla="*/ 576753 h 657309"/>
                    <a:gd name="connsiteX685" fmla="*/ 45075 w 946299"/>
                    <a:gd name="connsiteY685" fmla="*/ 571155 h 657309"/>
                    <a:gd name="connsiteX686" fmla="*/ 45257 w 946299"/>
                    <a:gd name="connsiteY686" fmla="*/ 569115 h 657309"/>
                    <a:gd name="connsiteX687" fmla="*/ 44917 w 946299"/>
                    <a:gd name="connsiteY687" fmla="*/ 566614 h 657309"/>
                    <a:gd name="connsiteX688" fmla="*/ 43702 w 946299"/>
                    <a:gd name="connsiteY688" fmla="*/ 562631 h 657309"/>
                    <a:gd name="connsiteX689" fmla="*/ 42670 w 946299"/>
                    <a:gd name="connsiteY689" fmla="*/ 560822 h 657309"/>
                    <a:gd name="connsiteX690" fmla="*/ 40946 w 946299"/>
                    <a:gd name="connsiteY690" fmla="*/ 559498 h 657309"/>
                    <a:gd name="connsiteX691" fmla="*/ 34000 w 946299"/>
                    <a:gd name="connsiteY691" fmla="*/ 557835 h 657309"/>
                    <a:gd name="connsiteX692" fmla="*/ 31353 w 946299"/>
                    <a:gd name="connsiteY692" fmla="*/ 556742 h 657309"/>
                    <a:gd name="connsiteX693" fmla="*/ 28888 w 946299"/>
                    <a:gd name="connsiteY693" fmla="*/ 555224 h 657309"/>
                    <a:gd name="connsiteX694" fmla="*/ 26654 w 946299"/>
                    <a:gd name="connsiteY694" fmla="*/ 553402 h 657309"/>
                    <a:gd name="connsiteX695" fmla="*/ 25051 w 946299"/>
                    <a:gd name="connsiteY695" fmla="*/ 551459 h 657309"/>
                    <a:gd name="connsiteX696" fmla="*/ 21311 w 946299"/>
                    <a:gd name="connsiteY696" fmla="*/ 545607 h 657309"/>
                    <a:gd name="connsiteX697" fmla="*/ 20206 w 946299"/>
                    <a:gd name="connsiteY697" fmla="*/ 544514 h 657309"/>
                    <a:gd name="connsiteX698" fmla="*/ 19016 w 946299"/>
                    <a:gd name="connsiteY698" fmla="*/ 543797 h 657309"/>
                    <a:gd name="connsiteX699" fmla="*/ 17170 w 946299"/>
                    <a:gd name="connsiteY699" fmla="*/ 543214 h 657309"/>
                    <a:gd name="connsiteX700" fmla="*/ 13102 w 946299"/>
                    <a:gd name="connsiteY700" fmla="*/ 539316 h 657309"/>
                    <a:gd name="connsiteX701" fmla="*/ 12070 w 946299"/>
                    <a:gd name="connsiteY701" fmla="*/ 536961 h 657309"/>
                    <a:gd name="connsiteX702" fmla="*/ 11657 w 946299"/>
                    <a:gd name="connsiteY702" fmla="*/ 534374 h 657309"/>
                    <a:gd name="connsiteX703" fmla="*/ 12240 w 946299"/>
                    <a:gd name="connsiteY703" fmla="*/ 532541 h 657309"/>
                    <a:gd name="connsiteX704" fmla="*/ 12932 w 946299"/>
                    <a:gd name="connsiteY704" fmla="*/ 531302 h 657309"/>
                    <a:gd name="connsiteX705" fmla="*/ 13673 w 946299"/>
                    <a:gd name="connsiteY705" fmla="*/ 529007 h 657309"/>
                    <a:gd name="connsiteX706" fmla="*/ 14122 w 946299"/>
                    <a:gd name="connsiteY706" fmla="*/ 525729 h 657309"/>
                    <a:gd name="connsiteX707" fmla="*/ 14304 w 946299"/>
                    <a:gd name="connsiteY707" fmla="*/ 518273 h 657309"/>
                    <a:gd name="connsiteX708" fmla="*/ 13843 w 946299"/>
                    <a:gd name="connsiteY708" fmla="*/ 512347 h 657309"/>
                    <a:gd name="connsiteX709" fmla="*/ 13734 w 946299"/>
                    <a:gd name="connsiteY709" fmla="*/ 511861 h 657309"/>
                    <a:gd name="connsiteX710" fmla="*/ 13042 w 946299"/>
                    <a:gd name="connsiteY710" fmla="*/ 510234 h 657309"/>
                    <a:gd name="connsiteX711" fmla="*/ 8852 w 946299"/>
                    <a:gd name="connsiteY711" fmla="*/ 504345 h 657309"/>
                    <a:gd name="connsiteX712" fmla="*/ 6776 w 946299"/>
                    <a:gd name="connsiteY712" fmla="*/ 500350 h 657309"/>
                    <a:gd name="connsiteX713" fmla="*/ 6144 w 946299"/>
                    <a:gd name="connsiteY713" fmla="*/ 498456 h 657309"/>
                    <a:gd name="connsiteX714" fmla="*/ 6084 w 946299"/>
                    <a:gd name="connsiteY714" fmla="*/ 496246 h 657309"/>
                    <a:gd name="connsiteX715" fmla="*/ 6545 w 946299"/>
                    <a:gd name="connsiteY715" fmla="*/ 494120 h 657309"/>
                    <a:gd name="connsiteX716" fmla="*/ 7359 w 946299"/>
                    <a:gd name="connsiteY716" fmla="*/ 482925 h 657309"/>
                    <a:gd name="connsiteX717" fmla="*/ 8209 w 946299"/>
                    <a:gd name="connsiteY717" fmla="*/ 477558 h 657309"/>
                    <a:gd name="connsiteX718" fmla="*/ 8852 w 946299"/>
                    <a:gd name="connsiteY718" fmla="*/ 475432 h 657309"/>
                    <a:gd name="connsiteX719" fmla="*/ 9544 w 946299"/>
                    <a:gd name="connsiteY719" fmla="*/ 473769 h 657309"/>
                    <a:gd name="connsiteX720" fmla="*/ 10394 w 946299"/>
                    <a:gd name="connsiteY720" fmla="*/ 472300 h 657309"/>
                    <a:gd name="connsiteX721" fmla="*/ 12531 w 946299"/>
                    <a:gd name="connsiteY721" fmla="*/ 469519 h 657309"/>
                    <a:gd name="connsiteX722" fmla="*/ 15276 w 946299"/>
                    <a:gd name="connsiteY722" fmla="*/ 466738 h 657309"/>
                    <a:gd name="connsiteX723" fmla="*/ 17583 w 946299"/>
                    <a:gd name="connsiteY723" fmla="*/ 464917 h 657309"/>
                    <a:gd name="connsiteX724" fmla="*/ 23557 w 946299"/>
                    <a:gd name="connsiteY724" fmla="*/ 461225 h 657309"/>
                    <a:gd name="connsiteX725" fmla="*/ 33660 w 946299"/>
                    <a:gd name="connsiteY725" fmla="*/ 456708 h 657309"/>
                    <a:gd name="connsiteX726" fmla="*/ 36247 w 946299"/>
                    <a:gd name="connsiteY726" fmla="*/ 455275 h 657309"/>
                    <a:gd name="connsiteX727" fmla="*/ 42209 w 946299"/>
                    <a:gd name="connsiteY727" fmla="*/ 450734 h 657309"/>
                    <a:gd name="connsiteX728" fmla="*/ 45318 w 946299"/>
                    <a:gd name="connsiteY728" fmla="*/ 448961 h 657309"/>
                    <a:gd name="connsiteX729" fmla="*/ 71206 w 946299"/>
                    <a:gd name="connsiteY729" fmla="*/ 434401 h 657309"/>
                    <a:gd name="connsiteX730" fmla="*/ 90854 w 946299"/>
                    <a:gd name="connsiteY730" fmla="*/ 423121 h 657309"/>
                    <a:gd name="connsiteX731" fmla="*/ 95844 w 946299"/>
                    <a:gd name="connsiteY731" fmla="*/ 419271 h 657309"/>
                    <a:gd name="connsiteX732" fmla="*/ 96646 w 946299"/>
                    <a:gd name="connsiteY732" fmla="*/ 416891 h 657309"/>
                    <a:gd name="connsiteX733" fmla="*/ 97678 w 946299"/>
                    <a:gd name="connsiteY733" fmla="*/ 414912 h 657309"/>
                    <a:gd name="connsiteX734" fmla="*/ 98880 w 946299"/>
                    <a:gd name="connsiteY734" fmla="*/ 414050 h 657309"/>
                    <a:gd name="connsiteX735" fmla="*/ 105838 w 946299"/>
                    <a:gd name="connsiteY735" fmla="*/ 411694 h 657309"/>
                    <a:gd name="connsiteX736" fmla="*/ 111861 w 946299"/>
                    <a:gd name="connsiteY736" fmla="*/ 408707 h 657309"/>
                    <a:gd name="connsiteX737" fmla="*/ 115139 w 946299"/>
                    <a:gd name="connsiteY737" fmla="*/ 406206 h 657309"/>
                    <a:gd name="connsiteX738" fmla="*/ 115880 w 946299"/>
                    <a:gd name="connsiteY738" fmla="*/ 404457 h 657309"/>
                    <a:gd name="connsiteX739" fmla="*/ 117726 w 946299"/>
                    <a:gd name="connsiteY739" fmla="*/ 402247 h 657309"/>
                    <a:gd name="connsiteX740" fmla="*/ 129662 w 946299"/>
                    <a:gd name="connsiteY740" fmla="*/ 394233 h 657309"/>
                    <a:gd name="connsiteX741" fmla="*/ 133682 w 946299"/>
                    <a:gd name="connsiteY741" fmla="*/ 390444 h 657309"/>
                    <a:gd name="connsiteX742" fmla="*/ 143967 w 946299"/>
                    <a:gd name="connsiteY742" fmla="*/ 377330 h 657309"/>
                    <a:gd name="connsiteX743" fmla="*/ 159983 w 946299"/>
                    <a:gd name="connsiteY743" fmla="*/ 364810 h 657309"/>
                    <a:gd name="connsiteX744" fmla="*/ 166820 w 946299"/>
                    <a:gd name="connsiteY744" fmla="*/ 362855 h 657309"/>
                    <a:gd name="connsiteX745" fmla="*/ 173013 w 946299"/>
                    <a:gd name="connsiteY745" fmla="*/ 366437 h 657309"/>
                    <a:gd name="connsiteX746" fmla="*/ 173425 w 946299"/>
                    <a:gd name="connsiteY746" fmla="*/ 367761 h 657309"/>
                    <a:gd name="connsiteX747" fmla="*/ 173486 w 946299"/>
                    <a:gd name="connsiteY747" fmla="*/ 370323 h 657309"/>
                    <a:gd name="connsiteX748" fmla="*/ 173256 w 946299"/>
                    <a:gd name="connsiteY748" fmla="*/ 372181 h 657309"/>
                    <a:gd name="connsiteX749" fmla="*/ 173073 w 946299"/>
                    <a:gd name="connsiteY749" fmla="*/ 373140 h 657309"/>
                    <a:gd name="connsiteX750" fmla="*/ 173013 w 946299"/>
                    <a:gd name="connsiteY750" fmla="*/ 374221 h 657309"/>
                    <a:gd name="connsiteX751" fmla="*/ 173073 w 946299"/>
                    <a:gd name="connsiteY751" fmla="*/ 375435 h 657309"/>
                    <a:gd name="connsiteX752" fmla="*/ 173365 w 946299"/>
                    <a:gd name="connsiteY752" fmla="*/ 376698 h 657309"/>
                    <a:gd name="connsiteX753" fmla="*/ 173765 w 946299"/>
                    <a:gd name="connsiteY753" fmla="*/ 377876 h 657309"/>
                    <a:gd name="connsiteX754" fmla="*/ 174227 w 946299"/>
                    <a:gd name="connsiteY754" fmla="*/ 378933 h 657309"/>
                    <a:gd name="connsiteX755" fmla="*/ 174798 w 946299"/>
                    <a:gd name="connsiteY755" fmla="*/ 379904 h 657309"/>
                    <a:gd name="connsiteX756" fmla="*/ 175490 w 946299"/>
                    <a:gd name="connsiteY756" fmla="*/ 380681 h 657309"/>
                    <a:gd name="connsiteX757" fmla="*/ 176182 w 946299"/>
                    <a:gd name="connsiteY757" fmla="*/ 381373 h 657309"/>
                    <a:gd name="connsiteX758" fmla="*/ 177906 w 946299"/>
                    <a:gd name="connsiteY758" fmla="*/ 382466 h 657309"/>
                    <a:gd name="connsiteX759" fmla="*/ 178817 w 946299"/>
                    <a:gd name="connsiteY759" fmla="*/ 382928 h 657309"/>
                    <a:gd name="connsiteX760" fmla="*/ 180080 w 946299"/>
                    <a:gd name="connsiteY760" fmla="*/ 383389 h 657309"/>
                    <a:gd name="connsiteX761" fmla="*/ 181634 w 946299"/>
                    <a:gd name="connsiteY761" fmla="*/ 383729 h 657309"/>
                    <a:gd name="connsiteX762" fmla="*/ 184840 w 946299"/>
                    <a:gd name="connsiteY762" fmla="*/ 383790 h 657309"/>
                    <a:gd name="connsiteX763" fmla="*/ 187487 w 946299"/>
                    <a:gd name="connsiteY763" fmla="*/ 383328 h 657309"/>
                    <a:gd name="connsiteX764" fmla="*/ 191106 w 946299"/>
                    <a:gd name="connsiteY764" fmla="*/ 382114 h 657309"/>
                    <a:gd name="connsiteX765" fmla="*/ 192769 w 946299"/>
                    <a:gd name="connsiteY765" fmla="*/ 381203 h 657309"/>
                    <a:gd name="connsiteX766" fmla="*/ 193862 w 946299"/>
                    <a:gd name="connsiteY766" fmla="*/ 380280 h 657309"/>
                    <a:gd name="connsiteX767" fmla="*/ 194324 w 946299"/>
                    <a:gd name="connsiteY767" fmla="*/ 379394 h 657309"/>
                    <a:gd name="connsiteX768" fmla="*/ 194615 w 946299"/>
                    <a:gd name="connsiteY768" fmla="*/ 378423 h 657309"/>
                    <a:gd name="connsiteX769" fmla="*/ 194664 w 946299"/>
                    <a:gd name="connsiteY769" fmla="*/ 377233 h 657309"/>
                    <a:gd name="connsiteX770" fmla="*/ 194554 w 946299"/>
                    <a:gd name="connsiteY770" fmla="*/ 376030 h 657309"/>
                    <a:gd name="connsiteX771" fmla="*/ 194324 w 946299"/>
                    <a:gd name="connsiteY771" fmla="*/ 374828 h 657309"/>
                    <a:gd name="connsiteX772" fmla="*/ 193971 w 946299"/>
                    <a:gd name="connsiteY772" fmla="*/ 373650 h 657309"/>
                    <a:gd name="connsiteX773" fmla="*/ 191725 w 946299"/>
                    <a:gd name="connsiteY773" fmla="*/ 368113 h 657309"/>
                    <a:gd name="connsiteX774" fmla="*/ 192089 w 946299"/>
                    <a:gd name="connsiteY774" fmla="*/ 363596 h 657309"/>
                    <a:gd name="connsiteX775" fmla="*/ 194263 w 946299"/>
                    <a:gd name="connsiteY775" fmla="*/ 362333 h 657309"/>
                    <a:gd name="connsiteX776" fmla="*/ 196789 w 946299"/>
                    <a:gd name="connsiteY776" fmla="*/ 361508 h 657309"/>
                    <a:gd name="connsiteX777" fmla="*/ 199824 w 946299"/>
                    <a:gd name="connsiteY777" fmla="*/ 359929 h 657309"/>
                    <a:gd name="connsiteX778" fmla="*/ 202993 w 946299"/>
                    <a:gd name="connsiteY778" fmla="*/ 359042 h 657309"/>
                    <a:gd name="connsiteX779" fmla="*/ 205811 w 946299"/>
                    <a:gd name="connsiteY779" fmla="*/ 360160 h 657309"/>
                    <a:gd name="connsiteX780" fmla="*/ 211724 w 946299"/>
                    <a:gd name="connsiteY780" fmla="*/ 365903 h 657309"/>
                    <a:gd name="connsiteX781" fmla="*/ 215221 w 946299"/>
                    <a:gd name="connsiteY781" fmla="*/ 368320 h 657309"/>
                    <a:gd name="connsiteX782" fmla="*/ 220103 w 946299"/>
                    <a:gd name="connsiteY782" fmla="*/ 369655 h 657309"/>
                    <a:gd name="connsiteX783" fmla="*/ 223041 w 946299"/>
                    <a:gd name="connsiteY783" fmla="*/ 371380 h 657309"/>
                    <a:gd name="connsiteX784" fmla="*/ 224353 w 946299"/>
                    <a:gd name="connsiteY784" fmla="*/ 371902 h 657309"/>
                    <a:gd name="connsiteX785" fmla="*/ 226648 w 946299"/>
                    <a:gd name="connsiteY785" fmla="*/ 372242 h 657309"/>
                    <a:gd name="connsiteX786" fmla="*/ 231408 w 946299"/>
                    <a:gd name="connsiteY786" fmla="*/ 372011 h 657309"/>
                    <a:gd name="connsiteX787" fmla="*/ 233594 w 946299"/>
                    <a:gd name="connsiteY787" fmla="*/ 371440 h 657309"/>
                    <a:gd name="connsiteX788" fmla="*/ 234747 w 946299"/>
                    <a:gd name="connsiteY788" fmla="*/ 370979 h 657309"/>
                    <a:gd name="connsiteX789" fmla="*/ 242895 w 946299"/>
                    <a:gd name="connsiteY789" fmla="*/ 365041 h 657309"/>
                    <a:gd name="connsiteX790" fmla="*/ 244158 w 946299"/>
                    <a:gd name="connsiteY790" fmla="*/ 364373 h 657309"/>
                    <a:gd name="connsiteX791" fmla="*/ 245712 w 946299"/>
                    <a:gd name="connsiteY791" fmla="*/ 362661 h 657309"/>
                    <a:gd name="connsiteX792" fmla="*/ 245482 w 946299"/>
                    <a:gd name="connsiteY792" fmla="*/ 359783 h 657309"/>
                    <a:gd name="connsiteX793" fmla="*/ 247607 w 946299"/>
                    <a:gd name="connsiteY793" fmla="*/ 357257 h 657309"/>
                    <a:gd name="connsiteX794" fmla="*/ 247947 w 946299"/>
                    <a:gd name="connsiteY794" fmla="*/ 354647 h 657309"/>
                    <a:gd name="connsiteX795" fmla="*/ 247607 w 946299"/>
                    <a:gd name="connsiteY795" fmla="*/ 353700 h 657309"/>
                    <a:gd name="connsiteX796" fmla="*/ 246635 w 946299"/>
                    <a:gd name="connsiteY796" fmla="*/ 352060 h 657309"/>
                    <a:gd name="connsiteX797" fmla="*/ 232792 w 946299"/>
                    <a:gd name="connsiteY797" fmla="*/ 339565 h 657309"/>
                    <a:gd name="connsiteX798" fmla="*/ 230497 w 946299"/>
                    <a:gd name="connsiteY798" fmla="*/ 338630 h 657309"/>
                    <a:gd name="connsiteX799" fmla="*/ 227340 w 946299"/>
                    <a:gd name="connsiteY799" fmla="*/ 338460 h 657309"/>
                    <a:gd name="connsiteX800" fmla="*/ 221257 w 946299"/>
                    <a:gd name="connsiteY800" fmla="*/ 338824 h 657309"/>
                    <a:gd name="connsiteX801" fmla="*/ 218719 w 946299"/>
                    <a:gd name="connsiteY801" fmla="*/ 337999 h 657309"/>
                    <a:gd name="connsiteX802" fmla="*/ 211785 w 946299"/>
                    <a:gd name="connsiteY802" fmla="*/ 334064 h 657309"/>
                    <a:gd name="connsiteX803" fmla="*/ 210401 w 946299"/>
                    <a:gd name="connsiteY803" fmla="*/ 332802 h 657309"/>
                    <a:gd name="connsiteX804" fmla="*/ 209478 w 946299"/>
                    <a:gd name="connsiteY804" fmla="*/ 330167 h 657309"/>
                    <a:gd name="connsiteX805" fmla="*/ 207462 w 946299"/>
                    <a:gd name="connsiteY805" fmla="*/ 327228 h 657309"/>
                    <a:gd name="connsiteX806" fmla="*/ 205118 w 946299"/>
                    <a:gd name="connsiteY806" fmla="*/ 324872 h 657309"/>
                    <a:gd name="connsiteX807" fmla="*/ 203285 w 946299"/>
                    <a:gd name="connsiteY807" fmla="*/ 323889 h 657309"/>
                    <a:gd name="connsiteX808" fmla="*/ 197772 w 946299"/>
                    <a:gd name="connsiteY808" fmla="*/ 323864 h 657309"/>
                    <a:gd name="connsiteX809" fmla="*/ 195526 w 946299"/>
                    <a:gd name="connsiteY809" fmla="*/ 324241 h 657309"/>
                    <a:gd name="connsiteX810" fmla="*/ 189041 w 946299"/>
                    <a:gd name="connsiteY810" fmla="*/ 326220 h 657309"/>
                    <a:gd name="connsiteX811" fmla="*/ 185593 w 946299"/>
                    <a:gd name="connsiteY811" fmla="*/ 326536 h 657309"/>
                    <a:gd name="connsiteX812" fmla="*/ 182144 w 946299"/>
                    <a:gd name="connsiteY812" fmla="*/ 325710 h 657309"/>
                    <a:gd name="connsiteX813" fmla="*/ 178756 w 946299"/>
                    <a:gd name="connsiteY813" fmla="*/ 323209 h 657309"/>
                    <a:gd name="connsiteX814" fmla="*/ 176291 w 946299"/>
                    <a:gd name="connsiteY814" fmla="*/ 320598 h 657309"/>
                    <a:gd name="connsiteX815" fmla="*/ 175381 w 946299"/>
                    <a:gd name="connsiteY815" fmla="*/ 319214 h 657309"/>
                    <a:gd name="connsiteX816" fmla="*/ 174288 w 946299"/>
                    <a:gd name="connsiteY816" fmla="*/ 317028 h 657309"/>
                    <a:gd name="connsiteX817" fmla="*/ 172612 w 946299"/>
                    <a:gd name="connsiteY817" fmla="*/ 310519 h 657309"/>
                    <a:gd name="connsiteX818" fmla="*/ 171701 w 946299"/>
                    <a:gd name="connsiteY818" fmla="*/ 308831 h 657309"/>
                    <a:gd name="connsiteX819" fmla="*/ 169916 w 946299"/>
                    <a:gd name="connsiteY819" fmla="*/ 307957 h 657309"/>
                    <a:gd name="connsiteX820" fmla="*/ 167791 w 946299"/>
                    <a:gd name="connsiteY820" fmla="*/ 307848 h 657309"/>
                    <a:gd name="connsiteX821" fmla="*/ 166067 w 946299"/>
                    <a:gd name="connsiteY821" fmla="*/ 307362 h 657309"/>
                    <a:gd name="connsiteX822" fmla="*/ 164695 w 946299"/>
                    <a:gd name="connsiteY822" fmla="*/ 303391 h 657309"/>
                    <a:gd name="connsiteX823" fmla="*/ 163201 w 946299"/>
                    <a:gd name="connsiteY823" fmla="*/ 300866 h 657309"/>
                    <a:gd name="connsiteX824" fmla="*/ 161307 w 946299"/>
                    <a:gd name="connsiteY824" fmla="*/ 298656 h 657309"/>
                    <a:gd name="connsiteX825" fmla="*/ 159522 w 946299"/>
                    <a:gd name="connsiteY825" fmla="*/ 297745 h 657309"/>
                    <a:gd name="connsiteX826" fmla="*/ 157397 w 946299"/>
                    <a:gd name="connsiteY826" fmla="*/ 297162 h 657309"/>
                    <a:gd name="connsiteX827" fmla="*/ 153317 w 946299"/>
                    <a:gd name="connsiteY827" fmla="*/ 294503 h 657309"/>
                    <a:gd name="connsiteX828" fmla="*/ 151143 w 946299"/>
                    <a:gd name="connsiteY828" fmla="*/ 293641 h 657309"/>
                    <a:gd name="connsiteX829" fmla="*/ 149540 w 946299"/>
                    <a:gd name="connsiteY829" fmla="*/ 293519 h 657309"/>
                    <a:gd name="connsiteX830" fmla="*/ 146893 w 946299"/>
                    <a:gd name="connsiteY830" fmla="*/ 291795 h 657309"/>
                    <a:gd name="connsiteX831" fmla="*/ 145217 w 946299"/>
                    <a:gd name="connsiteY831" fmla="*/ 291139 h 657309"/>
                    <a:gd name="connsiteX832" fmla="*/ 140287 w 946299"/>
                    <a:gd name="connsiteY832" fmla="*/ 279397 h 657309"/>
                    <a:gd name="connsiteX833" fmla="*/ 137240 w 946299"/>
                    <a:gd name="connsiteY833" fmla="*/ 275001 h 657309"/>
                    <a:gd name="connsiteX834" fmla="*/ 132710 w 946299"/>
                    <a:gd name="connsiteY834" fmla="*/ 271844 h 657309"/>
                    <a:gd name="connsiteX835" fmla="*/ 130877 w 946299"/>
                    <a:gd name="connsiteY835" fmla="*/ 270059 h 657309"/>
                    <a:gd name="connsiteX836" fmla="*/ 130185 w 946299"/>
                    <a:gd name="connsiteY836" fmla="*/ 268225 h 657309"/>
                    <a:gd name="connsiteX837" fmla="*/ 130294 w 946299"/>
                    <a:gd name="connsiteY837" fmla="*/ 266246 h 657309"/>
                    <a:gd name="connsiteX838" fmla="*/ 130937 w 946299"/>
                    <a:gd name="connsiteY838" fmla="*/ 264728 h 657309"/>
                    <a:gd name="connsiteX839" fmla="*/ 131727 w 946299"/>
                    <a:gd name="connsiteY839" fmla="*/ 263526 h 657309"/>
                    <a:gd name="connsiteX840" fmla="*/ 132649 w 946299"/>
                    <a:gd name="connsiteY840" fmla="*/ 262628 h 657309"/>
                    <a:gd name="connsiteX841" fmla="*/ 133342 w 946299"/>
                    <a:gd name="connsiteY841" fmla="*/ 262130 h 657309"/>
                    <a:gd name="connsiteX842" fmla="*/ 134544 w 946299"/>
                    <a:gd name="connsiteY842" fmla="*/ 261535 h 657309"/>
                    <a:gd name="connsiteX843" fmla="*/ 137422 w 946299"/>
                    <a:gd name="connsiteY843" fmla="*/ 260733 h 657309"/>
                    <a:gd name="connsiteX844" fmla="*/ 148156 w 946299"/>
                    <a:gd name="connsiteY844" fmla="*/ 259871 h 657309"/>
                    <a:gd name="connsiteX845" fmla="*/ 149929 w 946299"/>
                    <a:gd name="connsiteY845" fmla="*/ 259373 h 657309"/>
                    <a:gd name="connsiteX846" fmla="*/ 151082 w 946299"/>
                    <a:gd name="connsiteY846" fmla="*/ 258693 h 657309"/>
                    <a:gd name="connsiteX847" fmla="*/ 153317 w 946299"/>
                    <a:gd name="connsiteY847" fmla="*/ 256799 h 657309"/>
                    <a:gd name="connsiteX848" fmla="*/ 154410 w 946299"/>
                    <a:gd name="connsiteY848" fmla="*/ 256082 h 657309"/>
                    <a:gd name="connsiteX849" fmla="*/ 155685 w 946299"/>
                    <a:gd name="connsiteY849" fmla="*/ 255657 h 657309"/>
                    <a:gd name="connsiteX850" fmla="*/ 156996 w 946299"/>
                    <a:gd name="connsiteY850" fmla="*/ 255597 h 657309"/>
                    <a:gd name="connsiteX851" fmla="*/ 158890 w 946299"/>
                    <a:gd name="connsiteY851" fmla="*/ 255913 h 657309"/>
                    <a:gd name="connsiteX852" fmla="*/ 160445 w 946299"/>
                    <a:gd name="connsiteY852" fmla="*/ 256374 h 657309"/>
                    <a:gd name="connsiteX853" fmla="*/ 164403 w 946299"/>
                    <a:gd name="connsiteY853" fmla="*/ 256799 h 657309"/>
                    <a:gd name="connsiteX854" fmla="*/ 167913 w 946299"/>
                    <a:gd name="connsiteY854" fmla="*/ 254735 h 657309"/>
                    <a:gd name="connsiteX855" fmla="*/ 168143 w 946299"/>
                    <a:gd name="connsiteY855" fmla="*/ 254128 h 657309"/>
                    <a:gd name="connsiteX856" fmla="*/ 168192 w 946299"/>
                    <a:gd name="connsiteY856" fmla="*/ 253120 h 657309"/>
                    <a:gd name="connsiteX857" fmla="*/ 165217 w 946299"/>
                    <a:gd name="connsiteY857" fmla="*/ 249100 h 657309"/>
                    <a:gd name="connsiteX858" fmla="*/ 163723 w 946299"/>
                    <a:gd name="connsiteY858" fmla="*/ 245943 h 657309"/>
                    <a:gd name="connsiteX859" fmla="*/ 163420 w 946299"/>
                    <a:gd name="connsiteY859" fmla="*/ 244049 h 657309"/>
                    <a:gd name="connsiteX860" fmla="*/ 163662 w 946299"/>
                    <a:gd name="connsiteY860" fmla="*/ 242446 h 657309"/>
                    <a:gd name="connsiteX861" fmla="*/ 166650 w 946299"/>
                    <a:gd name="connsiteY861" fmla="*/ 238002 h 657309"/>
                    <a:gd name="connsiteX862" fmla="*/ 167961 w 946299"/>
                    <a:gd name="connsiteY862" fmla="*/ 234978 h 657309"/>
                    <a:gd name="connsiteX863" fmla="*/ 168022 w 946299"/>
                    <a:gd name="connsiteY863" fmla="*/ 232659 h 657309"/>
                    <a:gd name="connsiteX864" fmla="*/ 167621 w 946299"/>
                    <a:gd name="connsiteY864" fmla="*/ 231420 h 657309"/>
                    <a:gd name="connsiteX865" fmla="*/ 166407 w 946299"/>
                    <a:gd name="connsiteY865" fmla="*/ 230728 h 657309"/>
                    <a:gd name="connsiteX866" fmla="*/ 152515 w 946299"/>
                    <a:gd name="connsiteY866" fmla="*/ 227826 h 657309"/>
                    <a:gd name="connsiteX867" fmla="*/ 149237 w 946299"/>
                    <a:gd name="connsiteY867" fmla="*/ 226332 h 657309"/>
                    <a:gd name="connsiteX868" fmla="*/ 145740 w 946299"/>
                    <a:gd name="connsiteY868" fmla="*/ 224207 h 657309"/>
                    <a:gd name="connsiteX869" fmla="*/ 140579 w 946299"/>
                    <a:gd name="connsiteY869" fmla="*/ 219593 h 657309"/>
                    <a:gd name="connsiteX870" fmla="*/ 137992 w 946299"/>
                    <a:gd name="connsiteY870" fmla="*/ 217662 h 657309"/>
                    <a:gd name="connsiteX871" fmla="*/ 136086 w 946299"/>
                    <a:gd name="connsiteY871" fmla="*/ 216800 h 657309"/>
                    <a:gd name="connsiteX872" fmla="*/ 135054 w 946299"/>
                    <a:gd name="connsiteY872" fmla="*/ 217116 h 657309"/>
                    <a:gd name="connsiteX873" fmla="*/ 134252 w 946299"/>
                    <a:gd name="connsiteY873" fmla="*/ 217784 h 657309"/>
                    <a:gd name="connsiteX874" fmla="*/ 133463 w 946299"/>
                    <a:gd name="connsiteY874" fmla="*/ 218670 h 657309"/>
                    <a:gd name="connsiteX875" fmla="*/ 132649 w 946299"/>
                    <a:gd name="connsiteY875" fmla="*/ 219302 h 657309"/>
                    <a:gd name="connsiteX876" fmla="*/ 131338 w 946299"/>
                    <a:gd name="connsiteY876" fmla="*/ 220054 h 657309"/>
                    <a:gd name="connsiteX877" fmla="*/ 129480 w 946299"/>
                    <a:gd name="connsiteY877" fmla="*/ 220625 h 657309"/>
                    <a:gd name="connsiteX878" fmla="*/ 127258 w 946299"/>
                    <a:gd name="connsiteY878" fmla="*/ 220880 h 657309"/>
                    <a:gd name="connsiteX879" fmla="*/ 124672 w 946299"/>
                    <a:gd name="connsiteY879" fmla="*/ 220734 h 657309"/>
                    <a:gd name="connsiteX880" fmla="*/ 122085 w 946299"/>
                    <a:gd name="connsiteY880" fmla="*/ 220139 h 657309"/>
                    <a:gd name="connsiteX881" fmla="*/ 119280 w 946299"/>
                    <a:gd name="connsiteY881" fmla="*/ 218585 h 657309"/>
                    <a:gd name="connsiteX882" fmla="*/ 118066 w 946299"/>
                    <a:gd name="connsiteY882" fmla="*/ 216691 h 657309"/>
                    <a:gd name="connsiteX883" fmla="*/ 117786 w 946299"/>
                    <a:gd name="connsiteY883" fmla="*/ 214566 h 657309"/>
                    <a:gd name="connsiteX884" fmla="*/ 118005 w 946299"/>
                    <a:gd name="connsiteY884" fmla="*/ 211433 h 657309"/>
                    <a:gd name="connsiteX885" fmla="*/ 118066 w 946299"/>
                    <a:gd name="connsiteY885" fmla="*/ 211239 h 657309"/>
                    <a:gd name="connsiteX886" fmla="*/ 118066 w 946299"/>
                    <a:gd name="connsiteY886" fmla="*/ 204888 h 657309"/>
                    <a:gd name="connsiteX887" fmla="*/ 118466 w 946299"/>
                    <a:gd name="connsiteY887" fmla="*/ 203431 h 657309"/>
                    <a:gd name="connsiteX888" fmla="*/ 119159 w 946299"/>
                    <a:gd name="connsiteY888" fmla="*/ 202131 h 657309"/>
                    <a:gd name="connsiteX889" fmla="*/ 120470 w 946299"/>
                    <a:gd name="connsiteY889" fmla="*/ 201330 h 657309"/>
                    <a:gd name="connsiteX890" fmla="*/ 121684 w 946299"/>
                    <a:gd name="connsiteY890" fmla="*/ 201160 h 657309"/>
                    <a:gd name="connsiteX891" fmla="*/ 122607 w 946299"/>
                    <a:gd name="connsiteY891" fmla="*/ 201476 h 657309"/>
                    <a:gd name="connsiteX892" fmla="*/ 123299 w 946299"/>
                    <a:gd name="connsiteY892" fmla="*/ 202168 h 657309"/>
                    <a:gd name="connsiteX893" fmla="*/ 123809 w 946299"/>
                    <a:gd name="connsiteY893" fmla="*/ 203139 h 657309"/>
                    <a:gd name="connsiteX894" fmla="*/ 124149 w 946299"/>
                    <a:gd name="connsiteY894" fmla="*/ 204438 h 657309"/>
                    <a:gd name="connsiteX895" fmla="*/ 124489 w 946299"/>
                    <a:gd name="connsiteY895" fmla="*/ 205956 h 657309"/>
                    <a:gd name="connsiteX896" fmla="*/ 124902 w 946299"/>
                    <a:gd name="connsiteY896" fmla="*/ 207304 h 657309"/>
                    <a:gd name="connsiteX897" fmla="*/ 125473 w 946299"/>
                    <a:gd name="connsiteY897" fmla="*/ 208021 h 657309"/>
                    <a:gd name="connsiteX898" fmla="*/ 126226 w 946299"/>
                    <a:gd name="connsiteY898" fmla="*/ 208251 h 657309"/>
                    <a:gd name="connsiteX899" fmla="*/ 127015 w 946299"/>
                    <a:gd name="connsiteY899" fmla="*/ 207911 h 657309"/>
                    <a:gd name="connsiteX900" fmla="*/ 127719 w 946299"/>
                    <a:gd name="connsiteY900" fmla="*/ 207268 h 657309"/>
                    <a:gd name="connsiteX901" fmla="*/ 130002 w 946299"/>
                    <a:gd name="connsiteY901" fmla="*/ 203625 h 657309"/>
                    <a:gd name="connsiteX902" fmla="*/ 130755 w 946299"/>
                    <a:gd name="connsiteY902" fmla="*/ 202678 h 657309"/>
                    <a:gd name="connsiteX903" fmla="*/ 131338 w 946299"/>
                    <a:gd name="connsiteY903" fmla="*/ 202216 h 657309"/>
                    <a:gd name="connsiteX904" fmla="*/ 132018 w 946299"/>
                    <a:gd name="connsiteY904" fmla="*/ 201852 h 657309"/>
                    <a:gd name="connsiteX905" fmla="*/ 139595 w 946299"/>
                    <a:gd name="connsiteY905" fmla="*/ 200213 h 657309"/>
                    <a:gd name="connsiteX906" fmla="*/ 141611 w 946299"/>
                    <a:gd name="connsiteY906" fmla="*/ 199460 h 657309"/>
                    <a:gd name="connsiteX907" fmla="*/ 143214 w 946299"/>
                    <a:gd name="connsiteY907" fmla="*/ 198428 h 657309"/>
                    <a:gd name="connsiteX908" fmla="*/ 144367 w 946299"/>
                    <a:gd name="connsiteY908" fmla="*/ 197019 h 657309"/>
                    <a:gd name="connsiteX909" fmla="*/ 145582 w 946299"/>
                    <a:gd name="connsiteY909" fmla="*/ 195016 h 657309"/>
                    <a:gd name="connsiteX910" fmla="*/ 146492 w 946299"/>
                    <a:gd name="connsiteY910" fmla="*/ 193000 h 657309"/>
                    <a:gd name="connsiteX911" fmla="*/ 148156 w 946299"/>
                    <a:gd name="connsiteY911" fmla="*/ 186431 h 657309"/>
                    <a:gd name="connsiteX912" fmla="*/ 149237 w 946299"/>
                    <a:gd name="connsiteY912" fmla="*/ 183783 h 657309"/>
                    <a:gd name="connsiteX913" fmla="*/ 150390 w 946299"/>
                    <a:gd name="connsiteY913" fmla="*/ 182290 h 657309"/>
                    <a:gd name="connsiteX914" fmla="*/ 151665 w 946299"/>
                    <a:gd name="connsiteY914" fmla="*/ 181379 h 657309"/>
                    <a:gd name="connsiteX915" fmla="*/ 153037 w 946299"/>
                    <a:gd name="connsiteY915" fmla="*/ 181088 h 657309"/>
                    <a:gd name="connsiteX916" fmla="*/ 158951 w 946299"/>
                    <a:gd name="connsiteY916" fmla="*/ 181209 h 657309"/>
                    <a:gd name="connsiteX917" fmla="*/ 162048 w 946299"/>
                    <a:gd name="connsiteY917" fmla="*/ 180481 h 657309"/>
                    <a:gd name="connsiteX918" fmla="*/ 164002 w 946299"/>
                    <a:gd name="connsiteY918" fmla="*/ 180517 h 657309"/>
                    <a:gd name="connsiteX919" fmla="*/ 169054 w 946299"/>
                    <a:gd name="connsiteY919" fmla="*/ 182071 h 657309"/>
                    <a:gd name="connsiteX920" fmla="*/ 176121 w 946299"/>
                    <a:gd name="connsiteY920" fmla="*/ 183164 h 657309"/>
                    <a:gd name="connsiteX921" fmla="*/ 204888 w 946299"/>
                    <a:gd name="connsiteY921" fmla="*/ 182946 h 657309"/>
                    <a:gd name="connsiteX922" fmla="*/ 206892 w 946299"/>
                    <a:gd name="connsiteY922" fmla="*/ 181428 h 657309"/>
                    <a:gd name="connsiteX923" fmla="*/ 206952 w 946299"/>
                    <a:gd name="connsiteY923" fmla="*/ 180408 h 657309"/>
                    <a:gd name="connsiteX924" fmla="*/ 206721 w 946299"/>
                    <a:gd name="connsiteY924" fmla="*/ 178902 h 657309"/>
                    <a:gd name="connsiteX925" fmla="*/ 205908 w 946299"/>
                    <a:gd name="connsiteY925" fmla="*/ 177384 h 657309"/>
                    <a:gd name="connsiteX926" fmla="*/ 204596 w 946299"/>
                    <a:gd name="connsiteY926" fmla="*/ 175757 h 657309"/>
                    <a:gd name="connsiteX927" fmla="*/ 190535 w 946299"/>
                    <a:gd name="connsiteY927" fmla="*/ 162290 h 657309"/>
                    <a:gd name="connsiteX928" fmla="*/ 188167 w 946299"/>
                    <a:gd name="connsiteY928" fmla="*/ 160700 h 657309"/>
                    <a:gd name="connsiteX929" fmla="*/ 186224 w 946299"/>
                    <a:gd name="connsiteY929" fmla="*/ 160020 h 657309"/>
                    <a:gd name="connsiteX930" fmla="*/ 184621 w 946299"/>
                    <a:gd name="connsiteY930" fmla="*/ 159959 h 657309"/>
                    <a:gd name="connsiteX931" fmla="*/ 181221 w 946299"/>
                    <a:gd name="connsiteY931" fmla="*/ 160299 h 657309"/>
                    <a:gd name="connsiteX932" fmla="*/ 179278 w 946299"/>
                    <a:gd name="connsiteY932" fmla="*/ 159728 h 657309"/>
                    <a:gd name="connsiteX933" fmla="*/ 178477 w 946299"/>
                    <a:gd name="connsiteY933" fmla="*/ 158405 h 657309"/>
                    <a:gd name="connsiteX934" fmla="*/ 178125 w 946299"/>
                    <a:gd name="connsiteY934" fmla="*/ 156656 h 657309"/>
                    <a:gd name="connsiteX935" fmla="*/ 179448 w 946299"/>
                    <a:gd name="connsiteY935" fmla="*/ 146687 h 657309"/>
                    <a:gd name="connsiteX936" fmla="*/ 179509 w 946299"/>
                    <a:gd name="connsiteY936" fmla="*/ 143736 h 657309"/>
                    <a:gd name="connsiteX937" fmla="*/ 179278 w 946299"/>
                    <a:gd name="connsiteY937" fmla="*/ 140300 h 657309"/>
                    <a:gd name="connsiteX938" fmla="*/ 178234 w 946299"/>
                    <a:gd name="connsiteY938" fmla="*/ 136098 h 657309"/>
                    <a:gd name="connsiteX939" fmla="*/ 176983 w 946299"/>
                    <a:gd name="connsiteY939" fmla="*/ 133949 h 657309"/>
                    <a:gd name="connsiteX940" fmla="*/ 175490 w 946299"/>
                    <a:gd name="connsiteY940" fmla="*/ 132625 h 657309"/>
                    <a:gd name="connsiteX941" fmla="*/ 173765 w 946299"/>
                    <a:gd name="connsiteY941" fmla="*/ 131994 h 657309"/>
                    <a:gd name="connsiteX942" fmla="*/ 172090 w 946299"/>
                    <a:gd name="connsiteY942" fmla="*/ 131739 h 657309"/>
                    <a:gd name="connsiteX943" fmla="*/ 170147 w 946299"/>
                    <a:gd name="connsiteY943" fmla="*/ 131763 h 657309"/>
                    <a:gd name="connsiteX944" fmla="*/ 168313 w 946299"/>
                    <a:gd name="connsiteY944" fmla="*/ 132140 h 657309"/>
                    <a:gd name="connsiteX945" fmla="*/ 166589 w 946299"/>
                    <a:gd name="connsiteY945" fmla="*/ 132856 h 657309"/>
                    <a:gd name="connsiteX946" fmla="*/ 165326 w 946299"/>
                    <a:gd name="connsiteY946" fmla="*/ 133682 h 657309"/>
                    <a:gd name="connsiteX947" fmla="*/ 164002 w 946299"/>
                    <a:gd name="connsiteY947" fmla="*/ 134835 h 657309"/>
                    <a:gd name="connsiteX948" fmla="*/ 162861 w 946299"/>
                    <a:gd name="connsiteY948" fmla="*/ 135637 h 657309"/>
                    <a:gd name="connsiteX949" fmla="*/ 161015 w 946299"/>
                    <a:gd name="connsiteY949" fmla="*/ 135661 h 657309"/>
                    <a:gd name="connsiteX950" fmla="*/ 156025 w 946299"/>
                    <a:gd name="connsiteY950" fmla="*/ 132200 h 657309"/>
                    <a:gd name="connsiteX951" fmla="*/ 153839 w 946299"/>
                    <a:gd name="connsiteY951" fmla="*/ 129832 h 657309"/>
                    <a:gd name="connsiteX952" fmla="*/ 151544 w 946299"/>
                    <a:gd name="connsiteY952" fmla="*/ 128630 h 657309"/>
                    <a:gd name="connsiteX953" fmla="*/ 149310 w 946299"/>
                    <a:gd name="connsiteY953" fmla="*/ 127853 h 657309"/>
                    <a:gd name="connsiteX954" fmla="*/ 146310 w 946299"/>
                    <a:gd name="connsiteY954" fmla="*/ 126129 h 657309"/>
                    <a:gd name="connsiteX955" fmla="*/ 144246 w 946299"/>
                    <a:gd name="connsiteY955" fmla="*/ 123069 h 657309"/>
                    <a:gd name="connsiteX956" fmla="*/ 138162 w 946299"/>
                    <a:gd name="connsiteY956" fmla="*/ 110804 h 657309"/>
                    <a:gd name="connsiteX957" fmla="*/ 138162 w 946299"/>
                    <a:gd name="connsiteY957" fmla="*/ 110294 h 657309"/>
                    <a:gd name="connsiteX958" fmla="*/ 138514 w 946299"/>
                    <a:gd name="connsiteY958" fmla="*/ 104575 h 657309"/>
                    <a:gd name="connsiteX959" fmla="*/ 138332 w 946299"/>
                    <a:gd name="connsiteY959" fmla="*/ 101794 h 657309"/>
                    <a:gd name="connsiteX960" fmla="*/ 137482 w 946299"/>
                    <a:gd name="connsiteY960" fmla="*/ 98661 h 657309"/>
                    <a:gd name="connsiteX961" fmla="*/ 136049 w 946299"/>
                    <a:gd name="connsiteY961" fmla="*/ 96706 h 657309"/>
                    <a:gd name="connsiteX962" fmla="*/ 132771 w 946299"/>
                    <a:gd name="connsiteY962" fmla="*/ 94181 h 657309"/>
                    <a:gd name="connsiteX963" fmla="*/ 131617 w 946299"/>
                    <a:gd name="connsiteY963" fmla="*/ 92347 h 657309"/>
                    <a:gd name="connsiteX964" fmla="*/ 129262 w 946299"/>
                    <a:gd name="connsiteY964" fmla="*/ 86567 h 657309"/>
                    <a:gd name="connsiteX965" fmla="*/ 127829 w 946299"/>
                    <a:gd name="connsiteY965" fmla="*/ 84916 h 657309"/>
                    <a:gd name="connsiteX966" fmla="*/ 123348 w 946299"/>
                    <a:gd name="connsiteY966" fmla="*/ 81661 h 657309"/>
                    <a:gd name="connsiteX967" fmla="*/ 122085 w 946299"/>
                    <a:gd name="connsiteY967" fmla="*/ 79658 h 657309"/>
                    <a:gd name="connsiteX968" fmla="*/ 121502 w 946299"/>
                    <a:gd name="connsiteY968" fmla="*/ 77557 h 657309"/>
                    <a:gd name="connsiteX969" fmla="*/ 121624 w 946299"/>
                    <a:gd name="connsiteY969" fmla="*/ 72506 h 657309"/>
                    <a:gd name="connsiteX970" fmla="*/ 122267 w 946299"/>
                    <a:gd name="connsiteY970" fmla="*/ 69142 h 657309"/>
                    <a:gd name="connsiteX971" fmla="*/ 122267 w 946299"/>
                    <a:gd name="connsiteY971" fmla="*/ 65839 h 657309"/>
                    <a:gd name="connsiteX972" fmla="*/ 119899 w 946299"/>
                    <a:gd name="connsiteY972" fmla="*/ 61820 h 657309"/>
                    <a:gd name="connsiteX973" fmla="*/ 118867 w 946299"/>
                    <a:gd name="connsiteY973" fmla="*/ 60618 h 657309"/>
                    <a:gd name="connsiteX974" fmla="*/ 116694 w 946299"/>
                    <a:gd name="connsiteY974" fmla="*/ 58893 h 657309"/>
                    <a:gd name="connsiteX975" fmla="*/ 115139 w 946299"/>
                    <a:gd name="connsiteY975" fmla="*/ 57922 h 657309"/>
                    <a:gd name="connsiteX976" fmla="*/ 112614 w 946299"/>
                    <a:gd name="connsiteY976" fmla="*/ 55627 h 657309"/>
                    <a:gd name="connsiteX977" fmla="*/ 111630 w 946299"/>
                    <a:gd name="connsiteY977" fmla="*/ 54182 h 657309"/>
                    <a:gd name="connsiteX978" fmla="*/ 111339 w 946299"/>
                    <a:gd name="connsiteY978" fmla="*/ 52895 h 657309"/>
                    <a:gd name="connsiteX979" fmla="*/ 112832 w 946299"/>
                    <a:gd name="connsiteY979" fmla="*/ 47406 h 657309"/>
                    <a:gd name="connsiteX980" fmla="*/ 112954 w 946299"/>
                    <a:gd name="connsiteY980" fmla="*/ 45342 h 657309"/>
                    <a:gd name="connsiteX981" fmla="*/ 112444 w 946299"/>
                    <a:gd name="connsiteY981" fmla="*/ 44492 h 657309"/>
                    <a:gd name="connsiteX982" fmla="*/ 111181 w 946299"/>
                    <a:gd name="connsiteY982" fmla="*/ 44103 h 657309"/>
                    <a:gd name="connsiteX983" fmla="*/ 104794 w 946299"/>
                    <a:gd name="connsiteY983" fmla="*/ 44795 h 657309"/>
                    <a:gd name="connsiteX984" fmla="*/ 104575 w 946299"/>
                    <a:gd name="connsiteY984" fmla="*/ 44310 h 657309"/>
                    <a:gd name="connsiteX985" fmla="*/ 104733 w 946299"/>
                    <a:gd name="connsiteY985" fmla="*/ 43557 h 657309"/>
                    <a:gd name="connsiteX986" fmla="*/ 105158 w 946299"/>
                    <a:gd name="connsiteY986" fmla="*/ 42537 h 657309"/>
                    <a:gd name="connsiteX987" fmla="*/ 105546 w 946299"/>
                    <a:gd name="connsiteY987" fmla="*/ 40861 h 657309"/>
                    <a:gd name="connsiteX988" fmla="*/ 105546 w 946299"/>
                    <a:gd name="connsiteY988" fmla="*/ 40837 h 657309"/>
                    <a:gd name="connsiteX989" fmla="*/ 105838 w 946299"/>
                    <a:gd name="connsiteY989" fmla="*/ 41067 h 657309"/>
                    <a:gd name="connsiteX990" fmla="*/ 107161 w 946299"/>
                    <a:gd name="connsiteY990" fmla="*/ 39173 h 657309"/>
                    <a:gd name="connsiteX991" fmla="*/ 108242 w 946299"/>
                    <a:gd name="connsiteY991" fmla="*/ 38372 h 657309"/>
                    <a:gd name="connsiteX992" fmla="*/ 110088 w 946299"/>
                    <a:gd name="connsiteY992" fmla="*/ 37704 h 657309"/>
                    <a:gd name="connsiteX993" fmla="*/ 110137 w 946299"/>
                    <a:gd name="connsiteY993" fmla="*/ 36040 h 657309"/>
                    <a:gd name="connsiteX994" fmla="*/ 109396 w 946299"/>
                    <a:gd name="connsiteY994" fmla="*/ 33976 h 657309"/>
                    <a:gd name="connsiteX995" fmla="*/ 108934 w 946299"/>
                    <a:gd name="connsiteY995" fmla="*/ 32106 h 657309"/>
                    <a:gd name="connsiteX996" fmla="*/ 103604 w 946299"/>
                    <a:gd name="connsiteY996" fmla="*/ 26314 h 657309"/>
                    <a:gd name="connsiteX997" fmla="*/ 101989 w 946299"/>
                    <a:gd name="connsiteY997" fmla="*/ 23096 h 657309"/>
                    <a:gd name="connsiteX998" fmla="*/ 105607 w 946299"/>
                    <a:gd name="connsiteY998" fmla="*/ 21687 h 657309"/>
                    <a:gd name="connsiteX999" fmla="*/ 114289 w 946299"/>
                    <a:gd name="connsiteY999" fmla="*/ 21080 h 657309"/>
                    <a:gd name="connsiteX1000" fmla="*/ 118466 w 946299"/>
                    <a:gd name="connsiteY1000" fmla="*/ 19902 h 657309"/>
                    <a:gd name="connsiteX1001" fmla="*/ 118637 w 946299"/>
                    <a:gd name="connsiteY1001" fmla="*/ 19842 h 657309"/>
                    <a:gd name="connsiteX1002" fmla="*/ 121053 w 946299"/>
                    <a:gd name="connsiteY1002" fmla="*/ 20655 h 657309"/>
                    <a:gd name="connsiteX1003" fmla="*/ 128569 w 946299"/>
                    <a:gd name="connsiteY1003" fmla="*/ 21954 h 657309"/>
                    <a:gd name="connsiteX1004" fmla="*/ 134495 w 946299"/>
                    <a:gd name="connsiteY1004" fmla="*/ 21712 h 657309"/>
                    <a:gd name="connsiteX1005" fmla="*/ 138514 w 946299"/>
                    <a:gd name="connsiteY1005" fmla="*/ 19101 h 657309"/>
                    <a:gd name="connsiteX1006" fmla="*/ 148047 w 946299"/>
                    <a:gd name="connsiteY1006" fmla="*/ 7820 h 657309"/>
                    <a:gd name="connsiteX1007" fmla="*/ 151762 w 946299"/>
                    <a:gd name="connsiteY1007" fmla="*/ 6339 h 657309"/>
                    <a:gd name="connsiteX1008" fmla="*/ 151240 w 946299"/>
                    <a:gd name="connsiteY1008" fmla="*/ 0 h 657309"/>
                    <a:gd name="connsiteX1009" fmla="*/ 149504 w 946299"/>
                    <a:gd name="connsiteY1009" fmla="*/ 704 h 657309"/>
                    <a:gd name="connsiteX1010" fmla="*/ 145788 w 946299"/>
                    <a:gd name="connsiteY1010" fmla="*/ 2198 h 657309"/>
                    <a:gd name="connsiteX1011" fmla="*/ 144392 w 946299"/>
                    <a:gd name="connsiteY1011" fmla="*/ 2757 h 657309"/>
                    <a:gd name="connsiteX1012" fmla="*/ 143420 w 946299"/>
                    <a:gd name="connsiteY1012" fmla="*/ 3910 h 657309"/>
                    <a:gd name="connsiteX1013" fmla="*/ 134459 w 946299"/>
                    <a:gd name="connsiteY1013" fmla="*/ 14511 h 657309"/>
                    <a:gd name="connsiteX1014" fmla="*/ 132589 w 946299"/>
                    <a:gd name="connsiteY1014" fmla="*/ 15725 h 657309"/>
                    <a:gd name="connsiteX1015" fmla="*/ 128982 w 946299"/>
                    <a:gd name="connsiteY1015" fmla="*/ 15871 h 657309"/>
                    <a:gd name="connsiteX1016" fmla="*/ 122571 w 946299"/>
                    <a:gd name="connsiteY1016" fmla="*/ 14766 h 657309"/>
                    <a:gd name="connsiteX1017" fmla="*/ 120604 w 946299"/>
                    <a:gd name="connsiteY1017" fmla="*/ 14098 h 657309"/>
                    <a:gd name="connsiteX1018" fmla="*/ 118539 w 946299"/>
                    <a:gd name="connsiteY1018" fmla="*/ 13394 h 657309"/>
                    <a:gd name="connsiteX1019" fmla="*/ 116499 w 946299"/>
                    <a:gd name="connsiteY1019" fmla="*/ 14171 h 657309"/>
                    <a:gd name="connsiteX1020" fmla="*/ 113269 w 946299"/>
                    <a:gd name="connsiteY1020" fmla="*/ 15070 h 657309"/>
                    <a:gd name="connsiteX1021" fmla="*/ 105194 w 946299"/>
                    <a:gd name="connsiteY1021" fmla="*/ 15640 h 657309"/>
                    <a:gd name="connsiteX1022" fmla="*/ 104284 w 946299"/>
                    <a:gd name="connsiteY1022" fmla="*/ 15701 h 657309"/>
                    <a:gd name="connsiteX1023" fmla="*/ 103421 w 946299"/>
                    <a:gd name="connsiteY1023" fmla="*/ 16029 h 657309"/>
                    <a:gd name="connsiteX1024" fmla="*/ 99803 w 946299"/>
                    <a:gd name="connsiteY1024" fmla="*/ 17437 h 657309"/>
                    <a:gd name="connsiteX1025" fmla="*/ 93586 w 946299"/>
                    <a:gd name="connsiteY1025" fmla="*/ 19854 h 657309"/>
                    <a:gd name="connsiteX1026" fmla="*/ 96573 w 946299"/>
                    <a:gd name="connsiteY1026" fmla="*/ 25816 h 657309"/>
                    <a:gd name="connsiteX1027" fmla="*/ 98188 w 946299"/>
                    <a:gd name="connsiteY1027" fmla="*/ 29034 h 657309"/>
                    <a:gd name="connsiteX1028" fmla="*/ 98576 w 946299"/>
                    <a:gd name="connsiteY1028" fmla="*/ 29787 h 657309"/>
                    <a:gd name="connsiteX1029" fmla="*/ 99147 w 946299"/>
                    <a:gd name="connsiteY1029" fmla="*/ 30418 h 657309"/>
                    <a:gd name="connsiteX1030" fmla="*/ 99718 w 946299"/>
                    <a:gd name="connsiteY1030" fmla="*/ 31037 h 657309"/>
                    <a:gd name="connsiteX1031" fmla="*/ 99499 w 946299"/>
                    <a:gd name="connsiteY1031" fmla="*/ 40072 h 657309"/>
                    <a:gd name="connsiteX1032" fmla="*/ 99366 w 946299"/>
                    <a:gd name="connsiteY1032" fmla="*/ 40667 h 657309"/>
                    <a:gd name="connsiteX1033" fmla="*/ 99123 w 946299"/>
                    <a:gd name="connsiteY1033" fmla="*/ 41225 h 657309"/>
                    <a:gd name="connsiteX1034" fmla="*/ 98916 w 946299"/>
                    <a:gd name="connsiteY1034" fmla="*/ 41735 h 657309"/>
                    <a:gd name="connsiteX1035" fmla="*/ 98795 w 946299"/>
                    <a:gd name="connsiteY1035" fmla="*/ 42270 h 657309"/>
                    <a:gd name="connsiteX1036" fmla="*/ 98637 w 946299"/>
                    <a:gd name="connsiteY1036" fmla="*/ 43022 h 657309"/>
                    <a:gd name="connsiteX1037" fmla="*/ 98224 w 946299"/>
                    <a:gd name="connsiteY1037" fmla="*/ 44965 h 657309"/>
                    <a:gd name="connsiteX1038" fmla="*/ 99038 w 946299"/>
                    <a:gd name="connsiteY1038" fmla="*/ 46775 h 657309"/>
                    <a:gd name="connsiteX1039" fmla="*/ 100847 w 946299"/>
                    <a:gd name="connsiteY1039" fmla="*/ 50794 h 657309"/>
                    <a:gd name="connsiteX1040" fmla="*/ 105449 w 946299"/>
                    <a:gd name="connsiteY1040" fmla="*/ 50806 h 657309"/>
                    <a:gd name="connsiteX1041" fmla="*/ 105607 w 946299"/>
                    <a:gd name="connsiteY1041" fmla="*/ 50794 h 657309"/>
                    <a:gd name="connsiteX1042" fmla="*/ 105474 w 946299"/>
                    <a:gd name="connsiteY1042" fmla="*/ 51280 h 657309"/>
                    <a:gd name="connsiteX1043" fmla="*/ 105073 w 946299"/>
                    <a:gd name="connsiteY1043" fmla="*/ 52737 h 657309"/>
                    <a:gd name="connsiteX1044" fmla="*/ 105401 w 946299"/>
                    <a:gd name="connsiteY1044" fmla="*/ 54218 h 657309"/>
                    <a:gd name="connsiteX1045" fmla="*/ 105692 w 946299"/>
                    <a:gd name="connsiteY1045" fmla="*/ 55505 h 657309"/>
                    <a:gd name="connsiteX1046" fmla="*/ 105947 w 946299"/>
                    <a:gd name="connsiteY1046" fmla="*/ 56623 h 657309"/>
                    <a:gd name="connsiteX1047" fmla="*/ 106591 w 946299"/>
                    <a:gd name="connsiteY1047" fmla="*/ 57582 h 657309"/>
                    <a:gd name="connsiteX1048" fmla="*/ 107574 w 946299"/>
                    <a:gd name="connsiteY1048" fmla="*/ 59027 h 657309"/>
                    <a:gd name="connsiteX1049" fmla="*/ 107987 w 946299"/>
                    <a:gd name="connsiteY1049" fmla="*/ 59622 h 657309"/>
                    <a:gd name="connsiteX1050" fmla="*/ 108509 w 946299"/>
                    <a:gd name="connsiteY1050" fmla="*/ 60108 h 657309"/>
                    <a:gd name="connsiteX1051" fmla="*/ 111035 w 946299"/>
                    <a:gd name="connsiteY1051" fmla="*/ 62403 h 657309"/>
                    <a:gd name="connsiteX1052" fmla="*/ 111436 w 946299"/>
                    <a:gd name="connsiteY1052" fmla="*/ 62767 h 657309"/>
                    <a:gd name="connsiteX1053" fmla="*/ 111897 w 946299"/>
                    <a:gd name="connsiteY1053" fmla="*/ 63058 h 657309"/>
                    <a:gd name="connsiteX1054" fmla="*/ 113160 w 946299"/>
                    <a:gd name="connsiteY1054" fmla="*/ 63848 h 657309"/>
                    <a:gd name="connsiteX1055" fmla="*/ 114617 w 946299"/>
                    <a:gd name="connsiteY1055" fmla="*/ 65001 h 657309"/>
                    <a:gd name="connsiteX1056" fmla="*/ 114909 w 946299"/>
                    <a:gd name="connsiteY1056" fmla="*/ 65353 h 657309"/>
                    <a:gd name="connsiteX1057" fmla="*/ 116172 w 946299"/>
                    <a:gd name="connsiteY1057" fmla="*/ 67478 h 657309"/>
                    <a:gd name="connsiteX1058" fmla="*/ 116172 w 946299"/>
                    <a:gd name="connsiteY1058" fmla="*/ 68559 h 657309"/>
                    <a:gd name="connsiteX1059" fmla="*/ 115637 w 946299"/>
                    <a:gd name="connsiteY1059" fmla="*/ 71364 h 657309"/>
                    <a:gd name="connsiteX1060" fmla="*/ 115540 w 946299"/>
                    <a:gd name="connsiteY1060" fmla="*/ 71850 h 657309"/>
                    <a:gd name="connsiteX1061" fmla="*/ 115528 w 946299"/>
                    <a:gd name="connsiteY1061" fmla="*/ 72348 h 657309"/>
                    <a:gd name="connsiteX1062" fmla="*/ 115406 w 946299"/>
                    <a:gd name="connsiteY1062" fmla="*/ 77399 h 657309"/>
                    <a:gd name="connsiteX1063" fmla="*/ 115394 w 946299"/>
                    <a:gd name="connsiteY1063" fmla="*/ 78298 h 657309"/>
                    <a:gd name="connsiteX1064" fmla="*/ 115637 w 946299"/>
                    <a:gd name="connsiteY1064" fmla="*/ 79160 h 657309"/>
                    <a:gd name="connsiteX1065" fmla="*/ 116220 w 946299"/>
                    <a:gd name="connsiteY1065" fmla="*/ 81261 h 657309"/>
                    <a:gd name="connsiteX1066" fmla="*/ 116463 w 946299"/>
                    <a:gd name="connsiteY1066" fmla="*/ 82123 h 657309"/>
                    <a:gd name="connsiteX1067" fmla="*/ 116949 w 946299"/>
                    <a:gd name="connsiteY1067" fmla="*/ 82876 h 657309"/>
                    <a:gd name="connsiteX1068" fmla="*/ 118212 w 946299"/>
                    <a:gd name="connsiteY1068" fmla="*/ 84879 h 657309"/>
                    <a:gd name="connsiteX1069" fmla="*/ 118831 w 946299"/>
                    <a:gd name="connsiteY1069" fmla="*/ 85875 h 657309"/>
                    <a:gd name="connsiteX1070" fmla="*/ 119778 w 946299"/>
                    <a:gd name="connsiteY1070" fmla="*/ 86567 h 657309"/>
                    <a:gd name="connsiteX1071" fmla="*/ 123700 w 946299"/>
                    <a:gd name="connsiteY1071" fmla="*/ 89409 h 657309"/>
                    <a:gd name="connsiteX1072" fmla="*/ 124016 w 946299"/>
                    <a:gd name="connsiteY1072" fmla="*/ 89773 h 657309"/>
                    <a:gd name="connsiteX1073" fmla="*/ 125995 w 946299"/>
                    <a:gd name="connsiteY1073" fmla="*/ 94618 h 657309"/>
                    <a:gd name="connsiteX1074" fmla="*/ 126202 w 946299"/>
                    <a:gd name="connsiteY1074" fmla="*/ 95116 h 657309"/>
                    <a:gd name="connsiteX1075" fmla="*/ 126481 w 946299"/>
                    <a:gd name="connsiteY1075" fmla="*/ 95565 h 657309"/>
                    <a:gd name="connsiteX1076" fmla="*/ 127634 w 946299"/>
                    <a:gd name="connsiteY1076" fmla="*/ 97399 h 657309"/>
                    <a:gd name="connsiteX1077" fmla="*/ 128205 w 946299"/>
                    <a:gd name="connsiteY1077" fmla="*/ 98309 h 657309"/>
                    <a:gd name="connsiteX1078" fmla="*/ 129055 w 946299"/>
                    <a:gd name="connsiteY1078" fmla="*/ 98965 h 657309"/>
                    <a:gd name="connsiteX1079" fmla="*/ 131654 w 946299"/>
                    <a:gd name="connsiteY1079" fmla="*/ 100969 h 657309"/>
                    <a:gd name="connsiteX1080" fmla="*/ 131909 w 946299"/>
                    <a:gd name="connsiteY1080" fmla="*/ 101333 h 657309"/>
                    <a:gd name="connsiteX1081" fmla="*/ 132309 w 946299"/>
                    <a:gd name="connsiteY1081" fmla="*/ 102778 h 657309"/>
                    <a:gd name="connsiteX1082" fmla="*/ 132419 w 946299"/>
                    <a:gd name="connsiteY1082" fmla="*/ 104563 h 657309"/>
                    <a:gd name="connsiteX1083" fmla="*/ 132091 w 946299"/>
                    <a:gd name="connsiteY1083" fmla="*/ 109906 h 657309"/>
                    <a:gd name="connsiteX1084" fmla="*/ 132079 w 946299"/>
                    <a:gd name="connsiteY1084" fmla="*/ 110100 h 657309"/>
                    <a:gd name="connsiteX1085" fmla="*/ 132079 w 946299"/>
                    <a:gd name="connsiteY1085" fmla="*/ 110792 h 657309"/>
                    <a:gd name="connsiteX1086" fmla="*/ 132079 w 946299"/>
                    <a:gd name="connsiteY1086" fmla="*/ 112213 h 657309"/>
                    <a:gd name="connsiteX1087" fmla="*/ 132710 w 946299"/>
                    <a:gd name="connsiteY1087" fmla="*/ 113488 h 657309"/>
                    <a:gd name="connsiteX1088" fmla="*/ 138794 w 946299"/>
                    <a:gd name="connsiteY1088" fmla="*/ 125752 h 657309"/>
                    <a:gd name="connsiteX1089" fmla="*/ 138976 w 946299"/>
                    <a:gd name="connsiteY1089" fmla="*/ 126117 h 657309"/>
                    <a:gd name="connsiteX1090" fmla="*/ 139207 w 946299"/>
                    <a:gd name="connsiteY1090" fmla="*/ 126445 h 657309"/>
                    <a:gd name="connsiteX1091" fmla="*/ 141271 w 946299"/>
                    <a:gd name="connsiteY1091" fmla="*/ 129505 h 657309"/>
                    <a:gd name="connsiteX1092" fmla="*/ 142060 w 946299"/>
                    <a:gd name="connsiteY1092" fmla="*/ 130682 h 657309"/>
                    <a:gd name="connsiteX1093" fmla="*/ 143287 w 946299"/>
                    <a:gd name="connsiteY1093" fmla="*/ 131387 h 657309"/>
                    <a:gd name="connsiteX1094" fmla="*/ 146286 w 946299"/>
                    <a:gd name="connsiteY1094" fmla="*/ 133111 h 657309"/>
                    <a:gd name="connsiteX1095" fmla="*/ 146784 w 946299"/>
                    <a:gd name="connsiteY1095" fmla="*/ 133390 h 657309"/>
                    <a:gd name="connsiteX1096" fmla="*/ 147318 w 946299"/>
                    <a:gd name="connsiteY1096" fmla="*/ 133572 h 657309"/>
                    <a:gd name="connsiteX1097" fmla="*/ 149128 w 946299"/>
                    <a:gd name="connsiteY1097" fmla="*/ 134204 h 657309"/>
                    <a:gd name="connsiteX1098" fmla="*/ 150087 w 946299"/>
                    <a:gd name="connsiteY1098" fmla="*/ 134714 h 657309"/>
                    <a:gd name="connsiteX1099" fmla="*/ 151556 w 946299"/>
                    <a:gd name="connsiteY1099" fmla="*/ 136305 h 657309"/>
                    <a:gd name="connsiteX1100" fmla="*/ 152017 w 946299"/>
                    <a:gd name="connsiteY1100" fmla="*/ 136802 h 657309"/>
                    <a:gd name="connsiteX1101" fmla="*/ 152576 w 946299"/>
                    <a:gd name="connsiteY1101" fmla="*/ 137191 h 657309"/>
                    <a:gd name="connsiteX1102" fmla="*/ 157567 w 946299"/>
                    <a:gd name="connsiteY1102" fmla="*/ 140652 h 657309"/>
                    <a:gd name="connsiteX1103" fmla="*/ 159158 w 946299"/>
                    <a:gd name="connsiteY1103" fmla="*/ 141757 h 657309"/>
                    <a:gd name="connsiteX1104" fmla="*/ 161100 w 946299"/>
                    <a:gd name="connsiteY1104" fmla="*/ 141733 h 657309"/>
                    <a:gd name="connsiteX1105" fmla="*/ 162946 w 946299"/>
                    <a:gd name="connsiteY1105" fmla="*/ 141708 h 657309"/>
                    <a:gd name="connsiteX1106" fmla="*/ 164816 w 946299"/>
                    <a:gd name="connsiteY1106" fmla="*/ 141684 h 657309"/>
                    <a:gd name="connsiteX1107" fmla="*/ 166346 w 946299"/>
                    <a:gd name="connsiteY1107" fmla="*/ 140615 h 657309"/>
                    <a:gd name="connsiteX1108" fmla="*/ 167488 w 946299"/>
                    <a:gd name="connsiteY1108" fmla="*/ 139814 h 657309"/>
                    <a:gd name="connsiteX1109" fmla="*/ 167755 w 946299"/>
                    <a:gd name="connsiteY1109" fmla="*/ 139620 h 657309"/>
                    <a:gd name="connsiteX1110" fmla="*/ 168010 w 946299"/>
                    <a:gd name="connsiteY1110" fmla="*/ 139401 h 657309"/>
                    <a:gd name="connsiteX1111" fmla="*/ 169018 w 946299"/>
                    <a:gd name="connsiteY1111" fmla="*/ 138527 h 657309"/>
                    <a:gd name="connsiteX1112" fmla="*/ 169455 w 946299"/>
                    <a:gd name="connsiteY1112" fmla="*/ 138247 h 657309"/>
                    <a:gd name="connsiteX1113" fmla="*/ 170123 w 946299"/>
                    <a:gd name="connsiteY1113" fmla="*/ 137980 h 657309"/>
                    <a:gd name="connsiteX1114" fmla="*/ 170815 w 946299"/>
                    <a:gd name="connsiteY1114" fmla="*/ 137835 h 657309"/>
                    <a:gd name="connsiteX1115" fmla="*/ 171689 w 946299"/>
                    <a:gd name="connsiteY1115" fmla="*/ 137822 h 657309"/>
                    <a:gd name="connsiteX1116" fmla="*/ 172272 w 946299"/>
                    <a:gd name="connsiteY1116" fmla="*/ 137907 h 657309"/>
                    <a:gd name="connsiteX1117" fmla="*/ 172272 w 946299"/>
                    <a:gd name="connsiteY1117" fmla="*/ 137907 h 657309"/>
                    <a:gd name="connsiteX1118" fmla="*/ 172551 w 946299"/>
                    <a:gd name="connsiteY1118" fmla="*/ 138405 h 657309"/>
                    <a:gd name="connsiteX1119" fmla="*/ 173256 w 946299"/>
                    <a:gd name="connsiteY1119" fmla="*/ 141247 h 657309"/>
                    <a:gd name="connsiteX1120" fmla="*/ 173450 w 946299"/>
                    <a:gd name="connsiteY1120" fmla="*/ 144149 h 657309"/>
                    <a:gd name="connsiteX1121" fmla="*/ 173389 w 946299"/>
                    <a:gd name="connsiteY1121" fmla="*/ 146201 h 657309"/>
                    <a:gd name="connsiteX1122" fmla="*/ 172114 w 946299"/>
                    <a:gd name="connsiteY1122" fmla="*/ 155855 h 657309"/>
                    <a:gd name="connsiteX1123" fmla="*/ 171981 w 946299"/>
                    <a:gd name="connsiteY1123" fmla="*/ 156862 h 657309"/>
                    <a:gd name="connsiteX1124" fmla="*/ 172175 w 946299"/>
                    <a:gd name="connsiteY1124" fmla="*/ 157858 h 657309"/>
                    <a:gd name="connsiteX1125" fmla="*/ 172527 w 946299"/>
                    <a:gd name="connsiteY1125" fmla="*/ 159607 h 657309"/>
                    <a:gd name="connsiteX1126" fmla="*/ 172733 w 946299"/>
                    <a:gd name="connsiteY1126" fmla="*/ 160651 h 657309"/>
                    <a:gd name="connsiteX1127" fmla="*/ 173280 w 946299"/>
                    <a:gd name="connsiteY1127" fmla="*/ 161562 h 657309"/>
                    <a:gd name="connsiteX1128" fmla="*/ 174081 w 946299"/>
                    <a:gd name="connsiteY1128" fmla="*/ 162885 h 657309"/>
                    <a:gd name="connsiteX1129" fmla="*/ 175296 w 946299"/>
                    <a:gd name="connsiteY1129" fmla="*/ 164901 h 657309"/>
                    <a:gd name="connsiteX1130" fmla="*/ 177554 w 946299"/>
                    <a:gd name="connsiteY1130" fmla="*/ 165569 h 657309"/>
                    <a:gd name="connsiteX1131" fmla="*/ 179497 w 946299"/>
                    <a:gd name="connsiteY1131" fmla="*/ 166140 h 657309"/>
                    <a:gd name="connsiteX1132" fmla="*/ 180638 w 946299"/>
                    <a:gd name="connsiteY1132" fmla="*/ 166480 h 657309"/>
                    <a:gd name="connsiteX1133" fmla="*/ 181828 w 946299"/>
                    <a:gd name="connsiteY1133" fmla="*/ 166358 h 657309"/>
                    <a:gd name="connsiteX1134" fmla="*/ 184816 w 946299"/>
                    <a:gd name="connsiteY1134" fmla="*/ 166055 h 657309"/>
                    <a:gd name="connsiteX1135" fmla="*/ 185083 w 946299"/>
                    <a:gd name="connsiteY1135" fmla="*/ 166067 h 657309"/>
                    <a:gd name="connsiteX1136" fmla="*/ 185423 w 946299"/>
                    <a:gd name="connsiteY1136" fmla="*/ 166188 h 657309"/>
                    <a:gd name="connsiteX1137" fmla="*/ 186710 w 946299"/>
                    <a:gd name="connsiteY1137" fmla="*/ 167050 h 657309"/>
                    <a:gd name="connsiteX1138" fmla="*/ 197044 w 946299"/>
                    <a:gd name="connsiteY1138" fmla="*/ 176947 h 657309"/>
                    <a:gd name="connsiteX1139" fmla="*/ 176558 w 946299"/>
                    <a:gd name="connsiteY1139" fmla="*/ 177105 h 657309"/>
                    <a:gd name="connsiteX1140" fmla="*/ 170414 w 946299"/>
                    <a:gd name="connsiteY1140" fmla="*/ 176158 h 657309"/>
                    <a:gd name="connsiteX1141" fmla="*/ 165788 w 946299"/>
                    <a:gd name="connsiteY1141" fmla="*/ 174737 h 657309"/>
                    <a:gd name="connsiteX1142" fmla="*/ 164962 w 946299"/>
                    <a:gd name="connsiteY1142" fmla="*/ 174482 h 657309"/>
                    <a:gd name="connsiteX1143" fmla="*/ 164112 w 946299"/>
                    <a:gd name="connsiteY1143" fmla="*/ 174470 h 657309"/>
                    <a:gd name="connsiteX1144" fmla="*/ 162157 w 946299"/>
                    <a:gd name="connsiteY1144" fmla="*/ 174433 h 657309"/>
                    <a:gd name="connsiteX1145" fmla="*/ 161392 w 946299"/>
                    <a:gd name="connsiteY1145" fmla="*/ 174421 h 657309"/>
                    <a:gd name="connsiteX1146" fmla="*/ 160651 w 946299"/>
                    <a:gd name="connsiteY1146" fmla="*/ 174591 h 657309"/>
                    <a:gd name="connsiteX1147" fmla="*/ 158308 w 946299"/>
                    <a:gd name="connsiteY1147" fmla="*/ 175150 h 657309"/>
                    <a:gd name="connsiteX1148" fmla="*/ 153171 w 946299"/>
                    <a:gd name="connsiteY1148" fmla="*/ 175041 h 657309"/>
                    <a:gd name="connsiteX1149" fmla="*/ 152467 w 946299"/>
                    <a:gd name="connsiteY1149" fmla="*/ 175028 h 657309"/>
                    <a:gd name="connsiteX1150" fmla="*/ 151787 w 946299"/>
                    <a:gd name="connsiteY1150" fmla="*/ 175174 h 657309"/>
                    <a:gd name="connsiteX1151" fmla="*/ 150415 w 946299"/>
                    <a:gd name="connsiteY1151" fmla="*/ 175466 h 657309"/>
                    <a:gd name="connsiteX1152" fmla="*/ 149164 w 946299"/>
                    <a:gd name="connsiteY1152" fmla="*/ 175721 h 657309"/>
                    <a:gd name="connsiteX1153" fmla="*/ 148132 w 946299"/>
                    <a:gd name="connsiteY1153" fmla="*/ 176473 h 657309"/>
                    <a:gd name="connsiteX1154" fmla="*/ 146857 w 946299"/>
                    <a:gd name="connsiteY1154" fmla="*/ 177384 h 657309"/>
                    <a:gd name="connsiteX1155" fmla="*/ 146128 w 946299"/>
                    <a:gd name="connsiteY1155" fmla="*/ 177894 h 657309"/>
                    <a:gd name="connsiteX1156" fmla="*/ 145582 w 946299"/>
                    <a:gd name="connsiteY1156" fmla="*/ 178598 h 657309"/>
                    <a:gd name="connsiteX1157" fmla="*/ 144428 w 946299"/>
                    <a:gd name="connsiteY1157" fmla="*/ 180092 h 657309"/>
                    <a:gd name="connsiteX1158" fmla="*/ 143918 w 946299"/>
                    <a:gd name="connsiteY1158" fmla="*/ 180748 h 657309"/>
                    <a:gd name="connsiteX1159" fmla="*/ 143602 w 946299"/>
                    <a:gd name="connsiteY1159" fmla="*/ 181501 h 657309"/>
                    <a:gd name="connsiteX1160" fmla="*/ 142522 w 946299"/>
                    <a:gd name="connsiteY1160" fmla="*/ 184148 h 657309"/>
                    <a:gd name="connsiteX1161" fmla="*/ 142364 w 946299"/>
                    <a:gd name="connsiteY1161" fmla="*/ 184549 h 657309"/>
                    <a:gd name="connsiteX1162" fmla="*/ 142254 w 946299"/>
                    <a:gd name="connsiteY1162" fmla="*/ 184961 h 657309"/>
                    <a:gd name="connsiteX1163" fmla="*/ 140737 w 946299"/>
                    <a:gd name="connsiteY1163" fmla="*/ 191009 h 657309"/>
                    <a:gd name="connsiteX1164" fmla="*/ 140190 w 946299"/>
                    <a:gd name="connsiteY1164" fmla="*/ 192198 h 657309"/>
                    <a:gd name="connsiteX1165" fmla="*/ 139389 w 946299"/>
                    <a:gd name="connsiteY1165" fmla="*/ 193522 h 657309"/>
                    <a:gd name="connsiteX1166" fmla="*/ 139122 w 946299"/>
                    <a:gd name="connsiteY1166" fmla="*/ 193850 h 657309"/>
                    <a:gd name="connsiteX1167" fmla="*/ 138867 w 946299"/>
                    <a:gd name="connsiteY1167" fmla="*/ 194008 h 657309"/>
                    <a:gd name="connsiteX1168" fmla="*/ 137871 w 946299"/>
                    <a:gd name="connsiteY1168" fmla="*/ 194384 h 657309"/>
                    <a:gd name="connsiteX1169" fmla="*/ 130731 w 946299"/>
                    <a:gd name="connsiteY1169" fmla="*/ 195926 h 657309"/>
                    <a:gd name="connsiteX1170" fmla="*/ 129917 w 946299"/>
                    <a:gd name="connsiteY1170" fmla="*/ 196109 h 657309"/>
                    <a:gd name="connsiteX1171" fmla="*/ 129177 w 946299"/>
                    <a:gd name="connsiteY1171" fmla="*/ 196497 h 657309"/>
                    <a:gd name="connsiteX1172" fmla="*/ 128497 w 946299"/>
                    <a:gd name="connsiteY1172" fmla="*/ 196861 h 657309"/>
                    <a:gd name="connsiteX1173" fmla="*/ 127999 w 946299"/>
                    <a:gd name="connsiteY1173" fmla="*/ 197129 h 657309"/>
                    <a:gd name="connsiteX1174" fmla="*/ 127562 w 946299"/>
                    <a:gd name="connsiteY1174" fmla="*/ 197481 h 657309"/>
                    <a:gd name="connsiteX1175" fmla="*/ 127355 w 946299"/>
                    <a:gd name="connsiteY1175" fmla="*/ 197651 h 657309"/>
                    <a:gd name="connsiteX1176" fmla="*/ 126906 w 946299"/>
                    <a:gd name="connsiteY1176" fmla="*/ 197201 h 657309"/>
                    <a:gd name="connsiteX1177" fmla="*/ 125910 w 946299"/>
                    <a:gd name="connsiteY1177" fmla="*/ 196206 h 657309"/>
                    <a:gd name="connsiteX1178" fmla="*/ 124574 w 946299"/>
                    <a:gd name="connsiteY1178" fmla="*/ 195744 h 657309"/>
                    <a:gd name="connsiteX1179" fmla="*/ 123652 w 946299"/>
                    <a:gd name="connsiteY1179" fmla="*/ 195429 h 657309"/>
                    <a:gd name="connsiteX1180" fmla="*/ 122279 w 946299"/>
                    <a:gd name="connsiteY1180" fmla="*/ 194955 h 657309"/>
                    <a:gd name="connsiteX1181" fmla="*/ 120846 w 946299"/>
                    <a:gd name="connsiteY1181" fmla="*/ 195161 h 657309"/>
                    <a:gd name="connsiteX1182" fmla="*/ 119632 w 946299"/>
                    <a:gd name="connsiteY1182" fmla="*/ 195331 h 657309"/>
                    <a:gd name="connsiteX1183" fmla="*/ 118382 w 946299"/>
                    <a:gd name="connsiteY1183" fmla="*/ 195514 h 657309"/>
                    <a:gd name="connsiteX1184" fmla="*/ 117313 w 946299"/>
                    <a:gd name="connsiteY1184" fmla="*/ 196169 h 657309"/>
                    <a:gd name="connsiteX1185" fmla="*/ 116002 w 946299"/>
                    <a:gd name="connsiteY1185" fmla="*/ 196971 h 657309"/>
                    <a:gd name="connsiteX1186" fmla="*/ 114593 w 946299"/>
                    <a:gd name="connsiteY1186" fmla="*/ 197833 h 657309"/>
                    <a:gd name="connsiteX1187" fmla="*/ 113816 w 946299"/>
                    <a:gd name="connsiteY1187" fmla="*/ 199290 h 657309"/>
                    <a:gd name="connsiteX1188" fmla="*/ 113124 w 946299"/>
                    <a:gd name="connsiteY1188" fmla="*/ 200577 h 657309"/>
                    <a:gd name="connsiteX1189" fmla="*/ 112808 w 946299"/>
                    <a:gd name="connsiteY1189" fmla="*/ 201172 h 657309"/>
                    <a:gd name="connsiteX1190" fmla="*/ 112626 w 946299"/>
                    <a:gd name="connsiteY1190" fmla="*/ 201816 h 657309"/>
                    <a:gd name="connsiteX1191" fmla="*/ 112225 w 946299"/>
                    <a:gd name="connsiteY1191" fmla="*/ 203273 h 657309"/>
                    <a:gd name="connsiteX1192" fmla="*/ 112006 w 946299"/>
                    <a:gd name="connsiteY1192" fmla="*/ 204062 h 657309"/>
                    <a:gd name="connsiteX1193" fmla="*/ 112006 w 946299"/>
                    <a:gd name="connsiteY1193" fmla="*/ 204888 h 657309"/>
                    <a:gd name="connsiteX1194" fmla="*/ 112006 w 946299"/>
                    <a:gd name="connsiteY1194" fmla="*/ 210644 h 657309"/>
                    <a:gd name="connsiteX1195" fmla="*/ 111970 w 946299"/>
                    <a:gd name="connsiteY1195" fmla="*/ 211008 h 657309"/>
                    <a:gd name="connsiteX1196" fmla="*/ 111739 w 946299"/>
                    <a:gd name="connsiteY1196" fmla="*/ 214141 h 657309"/>
                    <a:gd name="connsiteX1197" fmla="*/ 111703 w 946299"/>
                    <a:gd name="connsiteY1197" fmla="*/ 214748 h 657309"/>
                    <a:gd name="connsiteX1198" fmla="*/ 111788 w 946299"/>
                    <a:gd name="connsiteY1198" fmla="*/ 215355 h 657309"/>
                    <a:gd name="connsiteX1199" fmla="*/ 112067 w 946299"/>
                    <a:gd name="connsiteY1199" fmla="*/ 217480 h 657309"/>
                    <a:gd name="connsiteX1200" fmla="*/ 112237 w 946299"/>
                    <a:gd name="connsiteY1200" fmla="*/ 218828 h 657309"/>
                    <a:gd name="connsiteX1201" fmla="*/ 112978 w 946299"/>
                    <a:gd name="connsiteY1201" fmla="*/ 219969 h 657309"/>
                    <a:gd name="connsiteX1202" fmla="*/ 114192 w 946299"/>
                    <a:gd name="connsiteY1202" fmla="*/ 221864 h 657309"/>
                    <a:gd name="connsiteX1203" fmla="*/ 115018 w 946299"/>
                    <a:gd name="connsiteY1203" fmla="*/ 223151 h 657309"/>
                    <a:gd name="connsiteX1204" fmla="*/ 116366 w 946299"/>
                    <a:gd name="connsiteY1204" fmla="*/ 223904 h 657309"/>
                    <a:gd name="connsiteX1205" fmla="*/ 119171 w 946299"/>
                    <a:gd name="connsiteY1205" fmla="*/ 225458 h 657309"/>
                    <a:gd name="connsiteX1206" fmla="*/ 119924 w 946299"/>
                    <a:gd name="connsiteY1206" fmla="*/ 225871 h 657309"/>
                    <a:gd name="connsiteX1207" fmla="*/ 120762 w 946299"/>
                    <a:gd name="connsiteY1207" fmla="*/ 226065 h 657309"/>
                    <a:gd name="connsiteX1208" fmla="*/ 123348 w 946299"/>
                    <a:gd name="connsiteY1208" fmla="*/ 226660 h 657309"/>
                    <a:gd name="connsiteX1209" fmla="*/ 123846 w 946299"/>
                    <a:gd name="connsiteY1209" fmla="*/ 226769 h 657309"/>
                    <a:gd name="connsiteX1210" fmla="*/ 124356 w 946299"/>
                    <a:gd name="connsiteY1210" fmla="*/ 226794 h 657309"/>
                    <a:gd name="connsiteX1211" fmla="*/ 126942 w 946299"/>
                    <a:gd name="connsiteY1211" fmla="*/ 226939 h 657309"/>
                    <a:gd name="connsiteX1212" fmla="*/ 127465 w 946299"/>
                    <a:gd name="connsiteY1212" fmla="*/ 226964 h 657309"/>
                    <a:gd name="connsiteX1213" fmla="*/ 127987 w 946299"/>
                    <a:gd name="connsiteY1213" fmla="*/ 226903 h 657309"/>
                    <a:gd name="connsiteX1214" fmla="*/ 130209 w 946299"/>
                    <a:gd name="connsiteY1214" fmla="*/ 226648 h 657309"/>
                    <a:gd name="connsiteX1215" fmla="*/ 130755 w 946299"/>
                    <a:gd name="connsiteY1215" fmla="*/ 226587 h 657309"/>
                    <a:gd name="connsiteX1216" fmla="*/ 131277 w 946299"/>
                    <a:gd name="connsiteY1216" fmla="*/ 226417 h 657309"/>
                    <a:gd name="connsiteX1217" fmla="*/ 133135 w 946299"/>
                    <a:gd name="connsiteY1217" fmla="*/ 225846 h 657309"/>
                    <a:gd name="connsiteX1218" fmla="*/ 133791 w 946299"/>
                    <a:gd name="connsiteY1218" fmla="*/ 225640 h 657309"/>
                    <a:gd name="connsiteX1219" fmla="*/ 134386 w 946299"/>
                    <a:gd name="connsiteY1219" fmla="*/ 225300 h 657309"/>
                    <a:gd name="connsiteX1220" fmla="*/ 135697 w 946299"/>
                    <a:gd name="connsiteY1220" fmla="*/ 224547 h 657309"/>
                    <a:gd name="connsiteX1221" fmla="*/ 136074 w 946299"/>
                    <a:gd name="connsiteY1221" fmla="*/ 224329 h 657309"/>
                    <a:gd name="connsiteX1222" fmla="*/ 136414 w 946299"/>
                    <a:gd name="connsiteY1222" fmla="*/ 224062 h 657309"/>
                    <a:gd name="connsiteX1223" fmla="*/ 136438 w 946299"/>
                    <a:gd name="connsiteY1223" fmla="*/ 224037 h 657309"/>
                    <a:gd name="connsiteX1224" fmla="*/ 136960 w 946299"/>
                    <a:gd name="connsiteY1224" fmla="*/ 224426 h 657309"/>
                    <a:gd name="connsiteX1225" fmla="*/ 141720 w 946299"/>
                    <a:gd name="connsiteY1225" fmla="*/ 228712 h 657309"/>
                    <a:gd name="connsiteX1226" fmla="*/ 142133 w 946299"/>
                    <a:gd name="connsiteY1226" fmla="*/ 229077 h 657309"/>
                    <a:gd name="connsiteX1227" fmla="*/ 142607 w 946299"/>
                    <a:gd name="connsiteY1227" fmla="*/ 229368 h 657309"/>
                    <a:gd name="connsiteX1228" fmla="*/ 146104 w 946299"/>
                    <a:gd name="connsiteY1228" fmla="*/ 231493 h 657309"/>
                    <a:gd name="connsiteX1229" fmla="*/ 146407 w 946299"/>
                    <a:gd name="connsiteY1229" fmla="*/ 231675 h 657309"/>
                    <a:gd name="connsiteX1230" fmla="*/ 146735 w 946299"/>
                    <a:gd name="connsiteY1230" fmla="*/ 231833 h 657309"/>
                    <a:gd name="connsiteX1231" fmla="*/ 150014 w 946299"/>
                    <a:gd name="connsiteY1231" fmla="*/ 233327 h 657309"/>
                    <a:gd name="connsiteX1232" fmla="*/ 150633 w 946299"/>
                    <a:gd name="connsiteY1232" fmla="*/ 233606 h 657309"/>
                    <a:gd name="connsiteX1233" fmla="*/ 151301 w 946299"/>
                    <a:gd name="connsiteY1233" fmla="*/ 233740 h 657309"/>
                    <a:gd name="connsiteX1234" fmla="*/ 160858 w 946299"/>
                    <a:gd name="connsiteY1234" fmla="*/ 235743 h 657309"/>
                    <a:gd name="connsiteX1235" fmla="*/ 158648 w 946299"/>
                    <a:gd name="connsiteY1235" fmla="*/ 239034 h 657309"/>
                    <a:gd name="connsiteX1236" fmla="*/ 157895 w 946299"/>
                    <a:gd name="connsiteY1236" fmla="*/ 240163 h 657309"/>
                    <a:gd name="connsiteX1237" fmla="*/ 157688 w 946299"/>
                    <a:gd name="connsiteY1237" fmla="*/ 241511 h 657309"/>
                    <a:gd name="connsiteX1238" fmla="*/ 157433 w 946299"/>
                    <a:gd name="connsiteY1238" fmla="*/ 243114 h 657309"/>
                    <a:gd name="connsiteX1239" fmla="*/ 157300 w 946299"/>
                    <a:gd name="connsiteY1239" fmla="*/ 244049 h 657309"/>
                    <a:gd name="connsiteX1240" fmla="*/ 157445 w 946299"/>
                    <a:gd name="connsiteY1240" fmla="*/ 244984 h 657309"/>
                    <a:gd name="connsiteX1241" fmla="*/ 157749 w 946299"/>
                    <a:gd name="connsiteY1241" fmla="*/ 246878 h 657309"/>
                    <a:gd name="connsiteX1242" fmla="*/ 157882 w 946299"/>
                    <a:gd name="connsiteY1242" fmla="*/ 247728 h 657309"/>
                    <a:gd name="connsiteX1243" fmla="*/ 158247 w 946299"/>
                    <a:gd name="connsiteY1243" fmla="*/ 248505 h 657309"/>
                    <a:gd name="connsiteX1244" fmla="*/ 158817 w 946299"/>
                    <a:gd name="connsiteY1244" fmla="*/ 249708 h 657309"/>
                    <a:gd name="connsiteX1245" fmla="*/ 158004 w 946299"/>
                    <a:gd name="connsiteY1245" fmla="*/ 249574 h 657309"/>
                    <a:gd name="connsiteX1246" fmla="*/ 157360 w 946299"/>
                    <a:gd name="connsiteY1246" fmla="*/ 249465 h 657309"/>
                    <a:gd name="connsiteX1247" fmla="*/ 156705 w 946299"/>
                    <a:gd name="connsiteY1247" fmla="*/ 249489 h 657309"/>
                    <a:gd name="connsiteX1248" fmla="*/ 155393 w 946299"/>
                    <a:gd name="connsiteY1248" fmla="*/ 249550 h 657309"/>
                    <a:gd name="connsiteX1249" fmla="*/ 154580 w 946299"/>
                    <a:gd name="connsiteY1249" fmla="*/ 249586 h 657309"/>
                    <a:gd name="connsiteX1250" fmla="*/ 153802 w 946299"/>
                    <a:gd name="connsiteY1250" fmla="*/ 249841 h 657309"/>
                    <a:gd name="connsiteX1251" fmla="*/ 152528 w 946299"/>
                    <a:gd name="connsiteY1251" fmla="*/ 250266 h 657309"/>
                    <a:gd name="connsiteX1252" fmla="*/ 151762 w 946299"/>
                    <a:gd name="connsiteY1252" fmla="*/ 250521 h 657309"/>
                    <a:gd name="connsiteX1253" fmla="*/ 151095 w 946299"/>
                    <a:gd name="connsiteY1253" fmla="*/ 250958 h 657309"/>
                    <a:gd name="connsiteX1254" fmla="*/ 150002 w 946299"/>
                    <a:gd name="connsiteY1254" fmla="*/ 251675 h 657309"/>
                    <a:gd name="connsiteX1255" fmla="*/ 149698 w 946299"/>
                    <a:gd name="connsiteY1255" fmla="*/ 251881 h 657309"/>
                    <a:gd name="connsiteX1256" fmla="*/ 149419 w 946299"/>
                    <a:gd name="connsiteY1256" fmla="*/ 252124 h 657309"/>
                    <a:gd name="connsiteX1257" fmla="*/ 147597 w 946299"/>
                    <a:gd name="connsiteY1257" fmla="*/ 253678 h 657309"/>
                    <a:gd name="connsiteX1258" fmla="*/ 147573 w 946299"/>
                    <a:gd name="connsiteY1258" fmla="*/ 253690 h 657309"/>
                    <a:gd name="connsiteX1259" fmla="*/ 147112 w 946299"/>
                    <a:gd name="connsiteY1259" fmla="*/ 253812 h 657309"/>
                    <a:gd name="connsiteX1260" fmla="*/ 136972 w 946299"/>
                    <a:gd name="connsiteY1260" fmla="*/ 254625 h 657309"/>
                    <a:gd name="connsiteX1261" fmla="*/ 136390 w 946299"/>
                    <a:gd name="connsiteY1261" fmla="*/ 254674 h 657309"/>
                    <a:gd name="connsiteX1262" fmla="*/ 135831 w 946299"/>
                    <a:gd name="connsiteY1262" fmla="*/ 254832 h 657309"/>
                    <a:gd name="connsiteX1263" fmla="*/ 132953 w 946299"/>
                    <a:gd name="connsiteY1263" fmla="*/ 255621 h 657309"/>
                    <a:gd name="connsiteX1264" fmla="*/ 132407 w 946299"/>
                    <a:gd name="connsiteY1264" fmla="*/ 255779 h 657309"/>
                    <a:gd name="connsiteX1265" fmla="*/ 131897 w 946299"/>
                    <a:gd name="connsiteY1265" fmla="*/ 256034 h 657309"/>
                    <a:gd name="connsiteX1266" fmla="*/ 130694 w 946299"/>
                    <a:gd name="connsiteY1266" fmla="*/ 256629 h 657309"/>
                    <a:gd name="connsiteX1267" fmla="*/ 130245 w 946299"/>
                    <a:gd name="connsiteY1267" fmla="*/ 256860 h 657309"/>
                    <a:gd name="connsiteX1268" fmla="*/ 129832 w 946299"/>
                    <a:gd name="connsiteY1268" fmla="*/ 257151 h 657309"/>
                    <a:gd name="connsiteX1269" fmla="*/ 129140 w 946299"/>
                    <a:gd name="connsiteY1269" fmla="*/ 257649 h 657309"/>
                    <a:gd name="connsiteX1270" fmla="*/ 128764 w 946299"/>
                    <a:gd name="connsiteY1270" fmla="*/ 257916 h 657309"/>
                    <a:gd name="connsiteX1271" fmla="*/ 128436 w 946299"/>
                    <a:gd name="connsiteY1271" fmla="*/ 258232 h 657309"/>
                    <a:gd name="connsiteX1272" fmla="*/ 127513 w 946299"/>
                    <a:gd name="connsiteY1272" fmla="*/ 259130 h 657309"/>
                    <a:gd name="connsiteX1273" fmla="*/ 127039 w 946299"/>
                    <a:gd name="connsiteY1273" fmla="*/ 259592 h 657309"/>
                    <a:gd name="connsiteX1274" fmla="*/ 126675 w 946299"/>
                    <a:gd name="connsiteY1274" fmla="*/ 260138 h 657309"/>
                    <a:gd name="connsiteX1275" fmla="*/ 125886 w 946299"/>
                    <a:gd name="connsiteY1275" fmla="*/ 261340 h 657309"/>
                    <a:gd name="connsiteX1276" fmla="*/ 125582 w 946299"/>
                    <a:gd name="connsiteY1276" fmla="*/ 261802 h 657309"/>
                    <a:gd name="connsiteX1277" fmla="*/ 125364 w 946299"/>
                    <a:gd name="connsiteY1277" fmla="*/ 262312 h 657309"/>
                    <a:gd name="connsiteX1278" fmla="*/ 124720 w 946299"/>
                    <a:gd name="connsiteY1278" fmla="*/ 263830 h 657309"/>
                    <a:gd name="connsiteX1279" fmla="*/ 124319 w 946299"/>
                    <a:gd name="connsiteY1279" fmla="*/ 264801 h 657309"/>
                    <a:gd name="connsiteX1280" fmla="*/ 124259 w 946299"/>
                    <a:gd name="connsiteY1280" fmla="*/ 265845 h 657309"/>
                    <a:gd name="connsiteX1281" fmla="*/ 124149 w 946299"/>
                    <a:gd name="connsiteY1281" fmla="*/ 267825 h 657309"/>
                    <a:gd name="connsiteX1282" fmla="*/ 124077 w 946299"/>
                    <a:gd name="connsiteY1282" fmla="*/ 269112 h 657309"/>
                    <a:gd name="connsiteX1283" fmla="*/ 124538 w 946299"/>
                    <a:gd name="connsiteY1283" fmla="*/ 270326 h 657309"/>
                    <a:gd name="connsiteX1284" fmla="*/ 125230 w 946299"/>
                    <a:gd name="connsiteY1284" fmla="*/ 272160 h 657309"/>
                    <a:gd name="connsiteX1285" fmla="*/ 125704 w 946299"/>
                    <a:gd name="connsiteY1285" fmla="*/ 273410 h 657309"/>
                    <a:gd name="connsiteX1286" fmla="*/ 126663 w 946299"/>
                    <a:gd name="connsiteY1286" fmla="*/ 274345 h 657309"/>
                    <a:gd name="connsiteX1287" fmla="*/ 128497 w 946299"/>
                    <a:gd name="connsiteY1287" fmla="*/ 276130 h 657309"/>
                    <a:gd name="connsiteX1288" fmla="*/ 128861 w 946299"/>
                    <a:gd name="connsiteY1288" fmla="*/ 276483 h 657309"/>
                    <a:gd name="connsiteX1289" fmla="*/ 129274 w 946299"/>
                    <a:gd name="connsiteY1289" fmla="*/ 276762 h 657309"/>
                    <a:gd name="connsiteX1290" fmla="*/ 132905 w 946299"/>
                    <a:gd name="connsiteY1290" fmla="*/ 279288 h 657309"/>
                    <a:gd name="connsiteX1291" fmla="*/ 134957 w 946299"/>
                    <a:gd name="connsiteY1291" fmla="*/ 282263 h 657309"/>
                    <a:gd name="connsiteX1292" fmla="*/ 139644 w 946299"/>
                    <a:gd name="connsiteY1292" fmla="*/ 293422 h 657309"/>
                    <a:gd name="connsiteX1293" fmla="*/ 140640 w 946299"/>
                    <a:gd name="connsiteY1293" fmla="*/ 295790 h 657309"/>
                    <a:gd name="connsiteX1294" fmla="*/ 143032 w 946299"/>
                    <a:gd name="connsiteY1294" fmla="*/ 296725 h 657309"/>
                    <a:gd name="connsiteX1295" fmla="*/ 144125 w 946299"/>
                    <a:gd name="connsiteY1295" fmla="*/ 297150 h 657309"/>
                    <a:gd name="connsiteX1296" fmla="*/ 146250 w 946299"/>
                    <a:gd name="connsiteY1296" fmla="*/ 298534 h 657309"/>
                    <a:gd name="connsiteX1297" fmla="*/ 147549 w 946299"/>
                    <a:gd name="connsiteY1297" fmla="*/ 299384 h 657309"/>
                    <a:gd name="connsiteX1298" fmla="*/ 149091 w 946299"/>
                    <a:gd name="connsiteY1298" fmla="*/ 299506 h 657309"/>
                    <a:gd name="connsiteX1299" fmla="*/ 149783 w 946299"/>
                    <a:gd name="connsiteY1299" fmla="*/ 299554 h 657309"/>
                    <a:gd name="connsiteX1300" fmla="*/ 150536 w 946299"/>
                    <a:gd name="connsiteY1300" fmla="*/ 299846 h 657309"/>
                    <a:gd name="connsiteX1301" fmla="*/ 154094 w 946299"/>
                    <a:gd name="connsiteY1301" fmla="*/ 302177 h 657309"/>
                    <a:gd name="connsiteX1302" fmla="*/ 154895 w 946299"/>
                    <a:gd name="connsiteY1302" fmla="*/ 302687 h 657309"/>
                    <a:gd name="connsiteX1303" fmla="*/ 155818 w 946299"/>
                    <a:gd name="connsiteY1303" fmla="*/ 302942 h 657309"/>
                    <a:gd name="connsiteX1304" fmla="*/ 157336 w 946299"/>
                    <a:gd name="connsiteY1304" fmla="*/ 303355 h 657309"/>
                    <a:gd name="connsiteX1305" fmla="*/ 157494 w 946299"/>
                    <a:gd name="connsiteY1305" fmla="*/ 303440 h 657309"/>
                    <a:gd name="connsiteX1306" fmla="*/ 158259 w 946299"/>
                    <a:gd name="connsiteY1306" fmla="*/ 304339 h 657309"/>
                    <a:gd name="connsiteX1307" fmla="*/ 159170 w 946299"/>
                    <a:gd name="connsiteY1307" fmla="*/ 305869 h 657309"/>
                    <a:gd name="connsiteX1308" fmla="*/ 160335 w 946299"/>
                    <a:gd name="connsiteY1308" fmla="*/ 309256 h 657309"/>
                    <a:gd name="connsiteX1309" fmla="*/ 161368 w 946299"/>
                    <a:gd name="connsiteY1309" fmla="*/ 312256 h 657309"/>
                    <a:gd name="connsiteX1310" fmla="*/ 164415 w 946299"/>
                    <a:gd name="connsiteY1310" fmla="*/ 313118 h 657309"/>
                    <a:gd name="connsiteX1311" fmla="*/ 166140 w 946299"/>
                    <a:gd name="connsiteY1311" fmla="*/ 313604 h 657309"/>
                    <a:gd name="connsiteX1312" fmla="*/ 166795 w 946299"/>
                    <a:gd name="connsiteY1312" fmla="*/ 313786 h 657309"/>
                    <a:gd name="connsiteX1313" fmla="*/ 167208 w 946299"/>
                    <a:gd name="connsiteY1313" fmla="*/ 313798 h 657309"/>
                    <a:gd name="connsiteX1314" fmla="*/ 168398 w 946299"/>
                    <a:gd name="connsiteY1314" fmla="*/ 318449 h 657309"/>
                    <a:gd name="connsiteX1315" fmla="*/ 168556 w 946299"/>
                    <a:gd name="connsiteY1315" fmla="*/ 319068 h 657309"/>
                    <a:gd name="connsiteX1316" fmla="*/ 168848 w 946299"/>
                    <a:gd name="connsiteY1316" fmla="*/ 319639 h 657309"/>
                    <a:gd name="connsiteX1317" fmla="*/ 169940 w 946299"/>
                    <a:gd name="connsiteY1317" fmla="*/ 321824 h 657309"/>
                    <a:gd name="connsiteX1318" fmla="*/ 170098 w 946299"/>
                    <a:gd name="connsiteY1318" fmla="*/ 322152 h 657309"/>
                    <a:gd name="connsiteX1319" fmla="*/ 170305 w 946299"/>
                    <a:gd name="connsiteY1319" fmla="*/ 322456 h 657309"/>
                    <a:gd name="connsiteX1320" fmla="*/ 171216 w 946299"/>
                    <a:gd name="connsiteY1320" fmla="*/ 323840 h 657309"/>
                    <a:gd name="connsiteX1321" fmla="*/ 171495 w 946299"/>
                    <a:gd name="connsiteY1321" fmla="*/ 324277 h 657309"/>
                    <a:gd name="connsiteX1322" fmla="*/ 171859 w 946299"/>
                    <a:gd name="connsiteY1322" fmla="*/ 324666 h 657309"/>
                    <a:gd name="connsiteX1323" fmla="*/ 174324 w 946299"/>
                    <a:gd name="connsiteY1323" fmla="*/ 327277 h 657309"/>
                    <a:gd name="connsiteX1324" fmla="*/ 174701 w 946299"/>
                    <a:gd name="connsiteY1324" fmla="*/ 327665 h 657309"/>
                    <a:gd name="connsiteX1325" fmla="*/ 175138 w 946299"/>
                    <a:gd name="connsiteY1325" fmla="*/ 327993 h 657309"/>
                    <a:gd name="connsiteX1326" fmla="*/ 178525 w 946299"/>
                    <a:gd name="connsiteY1326" fmla="*/ 330494 h 657309"/>
                    <a:gd name="connsiteX1327" fmla="*/ 179521 w 946299"/>
                    <a:gd name="connsiteY1327" fmla="*/ 331223 h 657309"/>
                    <a:gd name="connsiteX1328" fmla="*/ 180711 w 946299"/>
                    <a:gd name="connsiteY1328" fmla="*/ 331514 h 657309"/>
                    <a:gd name="connsiteX1329" fmla="*/ 184160 w 946299"/>
                    <a:gd name="connsiteY1329" fmla="*/ 332340 h 657309"/>
                    <a:gd name="connsiteX1330" fmla="*/ 185143 w 946299"/>
                    <a:gd name="connsiteY1330" fmla="*/ 332571 h 657309"/>
                    <a:gd name="connsiteX1331" fmla="*/ 186151 w 946299"/>
                    <a:gd name="connsiteY1331" fmla="*/ 332486 h 657309"/>
                    <a:gd name="connsiteX1332" fmla="*/ 189600 w 946299"/>
                    <a:gd name="connsiteY1332" fmla="*/ 332170 h 657309"/>
                    <a:gd name="connsiteX1333" fmla="*/ 190207 w 946299"/>
                    <a:gd name="connsiteY1333" fmla="*/ 332109 h 657309"/>
                    <a:gd name="connsiteX1334" fmla="*/ 190802 w 946299"/>
                    <a:gd name="connsiteY1334" fmla="*/ 331927 h 657309"/>
                    <a:gd name="connsiteX1335" fmla="*/ 196922 w 946299"/>
                    <a:gd name="connsiteY1335" fmla="*/ 330069 h 657309"/>
                    <a:gd name="connsiteX1336" fmla="*/ 198258 w 946299"/>
                    <a:gd name="connsiteY1336" fmla="*/ 329839 h 657309"/>
                    <a:gd name="connsiteX1337" fmla="*/ 201597 w 946299"/>
                    <a:gd name="connsiteY1337" fmla="*/ 329851 h 657309"/>
                    <a:gd name="connsiteX1338" fmla="*/ 202751 w 946299"/>
                    <a:gd name="connsiteY1338" fmla="*/ 331017 h 657309"/>
                    <a:gd name="connsiteX1339" fmla="*/ 204001 w 946299"/>
                    <a:gd name="connsiteY1339" fmla="*/ 332826 h 657309"/>
                    <a:gd name="connsiteX1340" fmla="*/ 204657 w 946299"/>
                    <a:gd name="connsiteY1340" fmla="*/ 334696 h 657309"/>
                    <a:gd name="connsiteX1341" fmla="*/ 205167 w 946299"/>
                    <a:gd name="connsiteY1341" fmla="*/ 336153 h 657309"/>
                    <a:gd name="connsiteX1342" fmla="*/ 206309 w 946299"/>
                    <a:gd name="connsiteY1342" fmla="*/ 337185 h 657309"/>
                    <a:gd name="connsiteX1343" fmla="*/ 207693 w 946299"/>
                    <a:gd name="connsiteY1343" fmla="*/ 338448 h 657309"/>
                    <a:gd name="connsiteX1344" fmla="*/ 208191 w 946299"/>
                    <a:gd name="connsiteY1344" fmla="*/ 338909 h 657309"/>
                    <a:gd name="connsiteX1345" fmla="*/ 208774 w 946299"/>
                    <a:gd name="connsiteY1345" fmla="*/ 339237 h 657309"/>
                    <a:gd name="connsiteX1346" fmla="*/ 215707 w 946299"/>
                    <a:gd name="connsiteY1346" fmla="*/ 343172 h 657309"/>
                    <a:gd name="connsiteX1347" fmla="*/ 216241 w 946299"/>
                    <a:gd name="connsiteY1347" fmla="*/ 343475 h 657309"/>
                    <a:gd name="connsiteX1348" fmla="*/ 216824 w 946299"/>
                    <a:gd name="connsiteY1348" fmla="*/ 343669 h 657309"/>
                    <a:gd name="connsiteX1349" fmla="*/ 219362 w 946299"/>
                    <a:gd name="connsiteY1349" fmla="*/ 344495 h 657309"/>
                    <a:gd name="connsiteX1350" fmla="*/ 220455 w 946299"/>
                    <a:gd name="connsiteY1350" fmla="*/ 344847 h 657309"/>
                    <a:gd name="connsiteX1351" fmla="*/ 221597 w 946299"/>
                    <a:gd name="connsiteY1351" fmla="*/ 344775 h 657309"/>
                    <a:gd name="connsiteX1352" fmla="*/ 227340 w 946299"/>
                    <a:gd name="connsiteY1352" fmla="*/ 344435 h 657309"/>
                    <a:gd name="connsiteX1353" fmla="*/ 229137 w 946299"/>
                    <a:gd name="connsiteY1353" fmla="*/ 344532 h 657309"/>
                    <a:gd name="connsiteX1354" fmla="*/ 229502 w 946299"/>
                    <a:gd name="connsiteY1354" fmla="*/ 344677 h 657309"/>
                    <a:gd name="connsiteX1355" fmla="*/ 241232 w 946299"/>
                    <a:gd name="connsiteY1355" fmla="*/ 355266 h 657309"/>
                    <a:gd name="connsiteX1356" fmla="*/ 240819 w 946299"/>
                    <a:gd name="connsiteY1356" fmla="*/ 355764 h 657309"/>
                    <a:gd name="connsiteX1357" fmla="*/ 239204 w 946299"/>
                    <a:gd name="connsiteY1357" fmla="*/ 357670 h 657309"/>
                    <a:gd name="connsiteX1358" fmla="*/ 239398 w 946299"/>
                    <a:gd name="connsiteY1358" fmla="*/ 359953 h 657309"/>
                    <a:gd name="connsiteX1359" fmla="*/ 239301 w 946299"/>
                    <a:gd name="connsiteY1359" fmla="*/ 360014 h 657309"/>
                    <a:gd name="connsiteX1360" fmla="*/ 231772 w 946299"/>
                    <a:gd name="connsiteY1360" fmla="*/ 365503 h 657309"/>
                    <a:gd name="connsiteX1361" fmla="*/ 231675 w 946299"/>
                    <a:gd name="connsiteY1361" fmla="*/ 365539 h 657309"/>
                    <a:gd name="connsiteX1362" fmla="*/ 230461 w 946299"/>
                    <a:gd name="connsiteY1362" fmla="*/ 365855 h 657309"/>
                    <a:gd name="connsiteX1363" fmla="*/ 226915 w 946299"/>
                    <a:gd name="connsiteY1363" fmla="*/ 366025 h 657309"/>
                    <a:gd name="connsiteX1364" fmla="*/ 225907 w 946299"/>
                    <a:gd name="connsiteY1364" fmla="*/ 365879 h 657309"/>
                    <a:gd name="connsiteX1365" fmla="*/ 225677 w 946299"/>
                    <a:gd name="connsiteY1365" fmla="*/ 365794 h 657309"/>
                    <a:gd name="connsiteX1366" fmla="*/ 223151 w 946299"/>
                    <a:gd name="connsiteY1366" fmla="*/ 364300 h 657309"/>
                    <a:gd name="connsiteX1367" fmla="*/ 222446 w 946299"/>
                    <a:gd name="connsiteY1367" fmla="*/ 363888 h 657309"/>
                    <a:gd name="connsiteX1368" fmla="*/ 221669 w 946299"/>
                    <a:gd name="connsiteY1368" fmla="*/ 363669 h 657309"/>
                    <a:gd name="connsiteX1369" fmla="*/ 217784 w 946299"/>
                    <a:gd name="connsiteY1369" fmla="*/ 362612 h 657309"/>
                    <a:gd name="connsiteX1370" fmla="*/ 215549 w 946299"/>
                    <a:gd name="connsiteY1370" fmla="*/ 361070 h 657309"/>
                    <a:gd name="connsiteX1371" fmla="*/ 209988 w 946299"/>
                    <a:gd name="connsiteY1371" fmla="*/ 355679 h 657309"/>
                    <a:gd name="connsiteX1372" fmla="*/ 209126 w 946299"/>
                    <a:gd name="connsiteY1372" fmla="*/ 354841 h 657309"/>
                    <a:gd name="connsiteX1373" fmla="*/ 208009 w 946299"/>
                    <a:gd name="connsiteY1373" fmla="*/ 354392 h 657309"/>
                    <a:gd name="connsiteX1374" fmla="*/ 205191 w 946299"/>
                    <a:gd name="connsiteY1374" fmla="*/ 353275 h 657309"/>
                    <a:gd name="connsiteX1375" fmla="*/ 203285 w 946299"/>
                    <a:gd name="connsiteY1375" fmla="*/ 352509 h 657309"/>
                    <a:gd name="connsiteX1376" fmla="*/ 201306 w 946299"/>
                    <a:gd name="connsiteY1376" fmla="*/ 353068 h 657309"/>
                    <a:gd name="connsiteX1377" fmla="*/ 198136 w 946299"/>
                    <a:gd name="connsiteY1377" fmla="*/ 353955 h 657309"/>
                    <a:gd name="connsiteX1378" fmla="*/ 197529 w 946299"/>
                    <a:gd name="connsiteY1378" fmla="*/ 354125 h 657309"/>
                    <a:gd name="connsiteX1379" fmla="*/ 196983 w 946299"/>
                    <a:gd name="connsiteY1379" fmla="*/ 354404 h 657309"/>
                    <a:gd name="connsiteX1380" fmla="*/ 194384 w 946299"/>
                    <a:gd name="connsiteY1380" fmla="*/ 355752 h 657309"/>
                    <a:gd name="connsiteX1381" fmla="*/ 192332 w 946299"/>
                    <a:gd name="connsiteY1381" fmla="*/ 356420 h 657309"/>
                    <a:gd name="connsiteX1382" fmla="*/ 191725 w 946299"/>
                    <a:gd name="connsiteY1382" fmla="*/ 356614 h 657309"/>
                    <a:gd name="connsiteX1383" fmla="*/ 191178 w 946299"/>
                    <a:gd name="connsiteY1383" fmla="*/ 356930 h 657309"/>
                    <a:gd name="connsiteX1384" fmla="*/ 189005 w 946299"/>
                    <a:gd name="connsiteY1384" fmla="*/ 358192 h 657309"/>
                    <a:gd name="connsiteX1385" fmla="*/ 186248 w 946299"/>
                    <a:gd name="connsiteY1385" fmla="*/ 359795 h 657309"/>
                    <a:gd name="connsiteX1386" fmla="*/ 185993 w 946299"/>
                    <a:gd name="connsiteY1386" fmla="*/ 362965 h 657309"/>
                    <a:gd name="connsiteX1387" fmla="*/ 185629 w 946299"/>
                    <a:gd name="connsiteY1387" fmla="*/ 367482 h 657309"/>
                    <a:gd name="connsiteX1388" fmla="*/ 185520 w 946299"/>
                    <a:gd name="connsiteY1388" fmla="*/ 368915 h 657309"/>
                    <a:gd name="connsiteX1389" fmla="*/ 186054 w 946299"/>
                    <a:gd name="connsiteY1389" fmla="*/ 370238 h 657309"/>
                    <a:gd name="connsiteX1390" fmla="*/ 188301 w 946299"/>
                    <a:gd name="connsiteY1390" fmla="*/ 375775 h 657309"/>
                    <a:gd name="connsiteX1391" fmla="*/ 188349 w 946299"/>
                    <a:gd name="connsiteY1391" fmla="*/ 375957 h 657309"/>
                    <a:gd name="connsiteX1392" fmla="*/ 188434 w 946299"/>
                    <a:gd name="connsiteY1392" fmla="*/ 376443 h 657309"/>
                    <a:gd name="connsiteX1393" fmla="*/ 185945 w 946299"/>
                    <a:gd name="connsiteY1393" fmla="*/ 377281 h 657309"/>
                    <a:gd name="connsiteX1394" fmla="*/ 184330 w 946299"/>
                    <a:gd name="connsiteY1394" fmla="*/ 377560 h 657309"/>
                    <a:gd name="connsiteX1395" fmla="*/ 182314 w 946299"/>
                    <a:gd name="connsiteY1395" fmla="*/ 377524 h 657309"/>
                    <a:gd name="connsiteX1396" fmla="*/ 181743 w 946299"/>
                    <a:gd name="connsiteY1396" fmla="*/ 377390 h 657309"/>
                    <a:gd name="connsiteX1397" fmla="*/ 181197 w 946299"/>
                    <a:gd name="connsiteY1397" fmla="*/ 377196 h 657309"/>
                    <a:gd name="connsiteX1398" fmla="*/ 180614 w 946299"/>
                    <a:gd name="connsiteY1398" fmla="*/ 376905 h 657309"/>
                    <a:gd name="connsiteX1399" fmla="*/ 180007 w 946299"/>
                    <a:gd name="connsiteY1399" fmla="*/ 376492 h 657309"/>
                    <a:gd name="connsiteX1400" fmla="*/ 179728 w 946299"/>
                    <a:gd name="connsiteY1400" fmla="*/ 376225 h 657309"/>
                    <a:gd name="connsiteX1401" fmla="*/ 179606 w 946299"/>
                    <a:gd name="connsiteY1401" fmla="*/ 376018 h 657309"/>
                    <a:gd name="connsiteX1402" fmla="*/ 179303 w 946299"/>
                    <a:gd name="connsiteY1402" fmla="*/ 375314 h 657309"/>
                    <a:gd name="connsiteX1403" fmla="*/ 179193 w 946299"/>
                    <a:gd name="connsiteY1403" fmla="*/ 374974 h 657309"/>
                    <a:gd name="connsiteX1404" fmla="*/ 179072 w 946299"/>
                    <a:gd name="connsiteY1404" fmla="*/ 374452 h 657309"/>
                    <a:gd name="connsiteX1405" fmla="*/ 179060 w 946299"/>
                    <a:gd name="connsiteY1405" fmla="*/ 374088 h 657309"/>
                    <a:gd name="connsiteX1406" fmla="*/ 179084 w 946299"/>
                    <a:gd name="connsiteY1406" fmla="*/ 373735 h 657309"/>
                    <a:gd name="connsiteX1407" fmla="*/ 179193 w 946299"/>
                    <a:gd name="connsiteY1407" fmla="*/ 373177 h 657309"/>
                    <a:gd name="connsiteX1408" fmla="*/ 179473 w 946299"/>
                    <a:gd name="connsiteY1408" fmla="*/ 370906 h 657309"/>
                    <a:gd name="connsiteX1409" fmla="*/ 179521 w 946299"/>
                    <a:gd name="connsiteY1409" fmla="*/ 370469 h 657309"/>
                    <a:gd name="connsiteX1410" fmla="*/ 179521 w 946299"/>
                    <a:gd name="connsiteY1410" fmla="*/ 370032 h 657309"/>
                    <a:gd name="connsiteX1411" fmla="*/ 179461 w 946299"/>
                    <a:gd name="connsiteY1411" fmla="*/ 367470 h 657309"/>
                    <a:gd name="connsiteX1412" fmla="*/ 179436 w 946299"/>
                    <a:gd name="connsiteY1412" fmla="*/ 366632 h 657309"/>
                    <a:gd name="connsiteX1413" fmla="*/ 179193 w 946299"/>
                    <a:gd name="connsiteY1413" fmla="*/ 365830 h 657309"/>
                    <a:gd name="connsiteX1414" fmla="*/ 178781 w 946299"/>
                    <a:gd name="connsiteY1414" fmla="*/ 364507 h 657309"/>
                    <a:gd name="connsiteX1415" fmla="*/ 178076 w 946299"/>
                    <a:gd name="connsiteY1415" fmla="*/ 362224 h 657309"/>
                    <a:gd name="connsiteX1416" fmla="*/ 176012 w 946299"/>
                    <a:gd name="connsiteY1416" fmla="*/ 361022 h 657309"/>
                    <a:gd name="connsiteX1417" fmla="*/ 169819 w 946299"/>
                    <a:gd name="connsiteY1417" fmla="*/ 357440 h 657309"/>
                    <a:gd name="connsiteX1418" fmla="*/ 167585 w 946299"/>
                    <a:gd name="connsiteY1418" fmla="*/ 356152 h 657309"/>
                    <a:gd name="connsiteX1419" fmla="*/ 165108 w 946299"/>
                    <a:gd name="connsiteY1419" fmla="*/ 356857 h 657309"/>
                    <a:gd name="connsiteX1420" fmla="*/ 158271 w 946299"/>
                    <a:gd name="connsiteY1420" fmla="*/ 358812 h 657309"/>
                    <a:gd name="connsiteX1421" fmla="*/ 157142 w 946299"/>
                    <a:gd name="connsiteY1421" fmla="*/ 359140 h 657309"/>
                    <a:gd name="connsiteX1422" fmla="*/ 156207 w 946299"/>
                    <a:gd name="connsiteY1422" fmla="*/ 359868 h 657309"/>
                    <a:gd name="connsiteX1423" fmla="*/ 140190 w 946299"/>
                    <a:gd name="connsiteY1423" fmla="*/ 372388 h 657309"/>
                    <a:gd name="connsiteX1424" fmla="*/ 139607 w 946299"/>
                    <a:gd name="connsiteY1424" fmla="*/ 372849 h 657309"/>
                    <a:gd name="connsiteX1425" fmla="*/ 139146 w 946299"/>
                    <a:gd name="connsiteY1425" fmla="*/ 373432 h 657309"/>
                    <a:gd name="connsiteX1426" fmla="*/ 129140 w 946299"/>
                    <a:gd name="connsiteY1426" fmla="*/ 386194 h 657309"/>
                    <a:gd name="connsiteX1427" fmla="*/ 125813 w 946299"/>
                    <a:gd name="connsiteY1427" fmla="*/ 389327 h 657309"/>
                    <a:gd name="connsiteX1428" fmla="*/ 114289 w 946299"/>
                    <a:gd name="connsiteY1428" fmla="*/ 397062 h 657309"/>
                    <a:gd name="connsiteX1429" fmla="*/ 113561 w 946299"/>
                    <a:gd name="connsiteY1429" fmla="*/ 397548 h 657309"/>
                    <a:gd name="connsiteX1430" fmla="*/ 113014 w 946299"/>
                    <a:gd name="connsiteY1430" fmla="*/ 398216 h 657309"/>
                    <a:gd name="connsiteX1431" fmla="*/ 111169 w 946299"/>
                    <a:gd name="connsiteY1431" fmla="*/ 400426 h 657309"/>
                    <a:gd name="connsiteX1432" fmla="*/ 110598 w 946299"/>
                    <a:gd name="connsiteY1432" fmla="*/ 401118 h 657309"/>
                    <a:gd name="connsiteX1433" fmla="*/ 110246 w 946299"/>
                    <a:gd name="connsiteY1433" fmla="*/ 401944 h 657309"/>
                    <a:gd name="connsiteX1434" fmla="*/ 110137 w 946299"/>
                    <a:gd name="connsiteY1434" fmla="*/ 402211 h 657309"/>
                    <a:gd name="connsiteX1435" fmla="*/ 108606 w 946299"/>
                    <a:gd name="connsiteY1435" fmla="*/ 403376 h 657309"/>
                    <a:gd name="connsiteX1436" fmla="*/ 103470 w 946299"/>
                    <a:gd name="connsiteY1436" fmla="*/ 405926 h 657309"/>
                    <a:gd name="connsiteX1437" fmla="*/ 96901 w 946299"/>
                    <a:gd name="connsiteY1437" fmla="*/ 408161 h 657309"/>
                    <a:gd name="connsiteX1438" fmla="*/ 96051 w 946299"/>
                    <a:gd name="connsiteY1438" fmla="*/ 408452 h 657309"/>
                    <a:gd name="connsiteX1439" fmla="*/ 95322 w 946299"/>
                    <a:gd name="connsiteY1439" fmla="*/ 408974 h 657309"/>
                    <a:gd name="connsiteX1440" fmla="*/ 94120 w 946299"/>
                    <a:gd name="connsiteY1440" fmla="*/ 409836 h 657309"/>
                    <a:gd name="connsiteX1441" fmla="*/ 92930 w 946299"/>
                    <a:gd name="connsiteY1441" fmla="*/ 410674 h 657309"/>
                    <a:gd name="connsiteX1442" fmla="*/ 92262 w 946299"/>
                    <a:gd name="connsiteY1442" fmla="*/ 411961 h 657309"/>
                    <a:gd name="connsiteX1443" fmla="*/ 91230 w 946299"/>
                    <a:gd name="connsiteY1443" fmla="*/ 413941 h 657309"/>
                    <a:gd name="connsiteX1444" fmla="*/ 91011 w 946299"/>
                    <a:gd name="connsiteY1444" fmla="*/ 414366 h 657309"/>
                    <a:gd name="connsiteX1445" fmla="*/ 90854 w 946299"/>
                    <a:gd name="connsiteY1445" fmla="*/ 414815 h 657309"/>
                    <a:gd name="connsiteX1446" fmla="*/ 90683 w 946299"/>
                    <a:gd name="connsiteY1446" fmla="*/ 415592 h 657309"/>
                    <a:gd name="connsiteX1447" fmla="*/ 87478 w 946299"/>
                    <a:gd name="connsiteY1447" fmla="*/ 418069 h 657309"/>
                    <a:gd name="connsiteX1448" fmla="*/ 68183 w 946299"/>
                    <a:gd name="connsiteY1448" fmla="*/ 429144 h 657309"/>
                    <a:gd name="connsiteX1449" fmla="*/ 42342 w 946299"/>
                    <a:gd name="connsiteY1449" fmla="*/ 443679 h 657309"/>
                    <a:gd name="connsiteX1450" fmla="*/ 39197 w 946299"/>
                    <a:gd name="connsiteY1450" fmla="*/ 445464 h 657309"/>
                    <a:gd name="connsiteX1451" fmla="*/ 38857 w 946299"/>
                    <a:gd name="connsiteY1451" fmla="*/ 445658 h 657309"/>
                    <a:gd name="connsiteX1452" fmla="*/ 38542 w 946299"/>
                    <a:gd name="connsiteY1452" fmla="*/ 445901 h 657309"/>
                    <a:gd name="connsiteX1453" fmla="*/ 32932 w 946299"/>
                    <a:gd name="connsiteY1453" fmla="*/ 450175 h 657309"/>
                    <a:gd name="connsiteX1454" fmla="*/ 30734 w 946299"/>
                    <a:gd name="connsiteY1454" fmla="*/ 451389 h 657309"/>
                    <a:gd name="connsiteX1455" fmla="*/ 21092 w 946299"/>
                    <a:gd name="connsiteY1455" fmla="*/ 455676 h 657309"/>
                    <a:gd name="connsiteX1456" fmla="*/ 20728 w 946299"/>
                    <a:gd name="connsiteY1456" fmla="*/ 455846 h 657309"/>
                    <a:gd name="connsiteX1457" fmla="*/ 20388 w 946299"/>
                    <a:gd name="connsiteY1457" fmla="*/ 456064 h 657309"/>
                    <a:gd name="connsiteX1458" fmla="*/ 14414 w 946299"/>
                    <a:gd name="connsiteY1458" fmla="*/ 459756 h 657309"/>
                    <a:gd name="connsiteX1459" fmla="*/ 14122 w 946299"/>
                    <a:gd name="connsiteY1459" fmla="*/ 459938 h 657309"/>
                    <a:gd name="connsiteX1460" fmla="*/ 13855 w 946299"/>
                    <a:gd name="connsiteY1460" fmla="*/ 460157 h 657309"/>
                    <a:gd name="connsiteX1461" fmla="*/ 11548 w 946299"/>
                    <a:gd name="connsiteY1461" fmla="*/ 461978 h 657309"/>
                    <a:gd name="connsiteX1462" fmla="*/ 11257 w 946299"/>
                    <a:gd name="connsiteY1462" fmla="*/ 462221 h 657309"/>
                    <a:gd name="connsiteX1463" fmla="*/ 10989 w 946299"/>
                    <a:gd name="connsiteY1463" fmla="*/ 462488 h 657309"/>
                    <a:gd name="connsiteX1464" fmla="*/ 8245 w 946299"/>
                    <a:gd name="connsiteY1464" fmla="*/ 465269 h 657309"/>
                    <a:gd name="connsiteX1465" fmla="*/ 7978 w 946299"/>
                    <a:gd name="connsiteY1465" fmla="*/ 465536 h 657309"/>
                    <a:gd name="connsiteX1466" fmla="*/ 7747 w 946299"/>
                    <a:gd name="connsiteY1466" fmla="*/ 465840 h 657309"/>
                    <a:gd name="connsiteX1467" fmla="*/ 5610 w 946299"/>
                    <a:gd name="connsiteY1467" fmla="*/ 468620 h 657309"/>
                    <a:gd name="connsiteX1468" fmla="*/ 5367 w 946299"/>
                    <a:gd name="connsiteY1468" fmla="*/ 468936 h 657309"/>
                    <a:gd name="connsiteX1469" fmla="*/ 5161 w 946299"/>
                    <a:gd name="connsiteY1469" fmla="*/ 469276 h 657309"/>
                    <a:gd name="connsiteX1470" fmla="*/ 4311 w 946299"/>
                    <a:gd name="connsiteY1470" fmla="*/ 470745 h 657309"/>
                    <a:gd name="connsiteX1471" fmla="*/ 4104 w 946299"/>
                    <a:gd name="connsiteY1471" fmla="*/ 471097 h 657309"/>
                    <a:gd name="connsiteX1472" fmla="*/ 3946 w 946299"/>
                    <a:gd name="connsiteY1472" fmla="*/ 471474 h 657309"/>
                    <a:gd name="connsiteX1473" fmla="*/ 3254 w 946299"/>
                    <a:gd name="connsiteY1473" fmla="*/ 473137 h 657309"/>
                    <a:gd name="connsiteX1474" fmla="*/ 2404 w 946299"/>
                    <a:gd name="connsiteY1474" fmla="*/ 475833 h 657309"/>
                    <a:gd name="connsiteX1475" fmla="*/ 2283 w 946299"/>
                    <a:gd name="connsiteY1475" fmla="*/ 476234 h 657309"/>
                    <a:gd name="connsiteX1476" fmla="*/ 2222 w 946299"/>
                    <a:gd name="connsiteY1476" fmla="*/ 476647 h 657309"/>
                    <a:gd name="connsiteX1477" fmla="*/ 1372 w 946299"/>
                    <a:gd name="connsiteY1477" fmla="*/ 482014 h 657309"/>
                    <a:gd name="connsiteX1478" fmla="*/ 534 w 946299"/>
                    <a:gd name="connsiteY1478" fmla="*/ 493283 h 657309"/>
                    <a:gd name="connsiteX1479" fmla="*/ 158 w 946299"/>
                    <a:gd name="connsiteY1479" fmla="*/ 494995 h 657309"/>
                    <a:gd name="connsiteX1480" fmla="*/ 0 w 946299"/>
                    <a:gd name="connsiteY1480" fmla="*/ 495711 h 657309"/>
                    <a:gd name="connsiteX1481" fmla="*/ 12 w 946299"/>
                    <a:gd name="connsiteY1481" fmla="*/ 496452 h 657309"/>
                    <a:gd name="connsiteX1482" fmla="*/ 73 w 946299"/>
                    <a:gd name="connsiteY1482" fmla="*/ 498662 h 657309"/>
                    <a:gd name="connsiteX1483" fmla="*/ 97 w 946299"/>
                    <a:gd name="connsiteY1483" fmla="*/ 499573 h 657309"/>
                    <a:gd name="connsiteX1484" fmla="*/ 389 w 946299"/>
                    <a:gd name="connsiteY1484" fmla="*/ 500435 h 657309"/>
                    <a:gd name="connsiteX1485" fmla="*/ 1020 w 946299"/>
                    <a:gd name="connsiteY1485" fmla="*/ 502329 h 657309"/>
                    <a:gd name="connsiteX1486" fmla="*/ 1166 w 946299"/>
                    <a:gd name="connsiteY1486" fmla="*/ 502778 h 657309"/>
                    <a:gd name="connsiteX1487" fmla="*/ 1397 w 946299"/>
                    <a:gd name="connsiteY1487" fmla="*/ 503203 h 657309"/>
                    <a:gd name="connsiteX1488" fmla="*/ 3473 w 946299"/>
                    <a:gd name="connsiteY1488" fmla="*/ 507186 h 657309"/>
                    <a:gd name="connsiteX1489" fmla="*/ 3667 w 946299"/>
                    <a:gd name="connsiteY1489" fmla="*/ 507563 h 657309"/>
                    <a:gd name="connsiteX1490" fmla="*/ 3910 w 946299"/>
                    <a:gd name="connsiteY1490" fmla="*/ 507903 h 657309"/>
                    <a:gd name="connsiteX1491" fmla="*/ 7723 w 946299"/>
                    <a:gd name="connsiteY1491" fmla="*/ 513258 h 657309"/>
                    <a:gd name="connsiteX1492" fmla="*/ 7832 w 946299"/>
                    <a:gd name="connsiteY1492" fmla="*/ 513537 h 657309"/>
                    <a:gd name="connsiteX1493" fmla="*/ 8233 w 946299"/>
                    <a:gd name="connsiteY1493" fmla="*/ 518479 h 657309"/>
                    <a:gd name="connsiteX1494" fmla="*/ 8063 w 946299"/>
                    <a:gd name="connsiteY1494" fmla="*/ 525279 h 657309"/>
                    <a:gd name="connsiteX1495" fmla="*/ 7735 w 946299"/>
                    <a:gd name="connsiteY1495" fmla="*/ 527696 h 657309"/>
                    <a:gd name="connsiteX1496" fmla="*/ 7346 w 946299"/>
                    <a:gd name="connsiteY1496" fmla="*/ 528910 h 657309"/>
                    <a:gd name="connsiteX1497" fmla="*/ 6946 w 946299"/>
                    <a:gd name="connsiteY1497" fmla="*/ 529627 h 657309"/>
                    <a:gd name="connsiteX1498" fmla="*/ 6642 w 946299"/>
                    <a:gd name="connsiteY1498" fmla="*/ 530161 h 657309"/>
                    <a:gd name="connsiteX1499" fmla="*/ 6460 w 946299"/>
                    <a:gd name="connsiteY1499" fmla="*/ 530744 h 657309"/>
                    <a:gd name="connsiteX1500" fmla="*/ 5877 w 946299"/>
                    <a:gd name="connsiteY1500" fmla="*/ 532577 h 657309"/>
                    <a:gd name="connsiteX1501" fmla="*/ 5440 w 946299"/>
                    <a:gd name="connsiteY1501" fmla="*/ 533949 h 657309"/>
                    <a:gd name="connsiteX1502" fmla="*/ 5671 w 946299"/>
                    <a:gd name="connsiteY1502" fmla="*/ 535370 h 657309"/>
                    <a:gd name="connsiteX1503" fmla="*/ 6084 w 946299"/>
                    <a:gd name="connsiteY1503" fmla="*/ 537956 h 657309"/>
                    <a:gd name="connsiteX1504" fmla="*/ 6205 w 946299"/>
                    <a:gd name="connsiteY1504" fmla="*/ 538722 h 657309"/>
                    <a:gd name="connsiteX1505" fmla="*/ 6521 w 946299"/>
                    <a:gd name="connsiteY1505" fmla="*/ 539438 h 657309"/>
                    <a:gd name="connsiteX1506" fmla="*/ 7553 w 946299"/>
                    <a:gd name="connsiteY1506" fmla="*/ 541794 h 657309"/>
                    <a:gd name="connsiteX1507" fmla="*/ 8039 w 946299"/>
                    <a:gd name="connsiteY1507" fmla="*/ 542911 h 657309"/>
                    <a:gd name="connsiteX1508" fmla="*/ 8913 w 946299"/>
                    <a:gd name="connsiteY1508" fmla="*/ 543749 h 657309"/>
                    <a:gd name="connsiteX1509" fmla="*/ 12981 w 946299"/>
                    <a:gd name="connsiteY1509" fmla="*/ 547647 h 657309"/>
                    <a:gd name="connsiteX1510" fmla="*/ 14001 w 946299"/>
                    <a:gd name="connsiteY1510" fmla="*/ 548630 h 657309"/>
                    <a:gd name="connsiteX1511" fmla="*/ 15349 w 946299"/>
                    <a:gd name="connsiteY1511" fmla="*/ 549055 h 657309"/>
                    <a:gd name="connsiteX1512" fmla="*/ 16478 w 946299"/>
                    <a:gd name="connsiteY1512" fmla="*/ 549407 h 657309"/>
                    <a:gd name="connsiteX1513" fmla="*/ 16563 w 946299"/>
                    <a:gd name="connsiteY1513" fmla="*/ 549492 h 657309"/>
                    <a:gd name="connsiteX1514" fmla="*/ 19939 w 946299"/>
                    <a:gd name="connsiteY1514" fmla="*/ 554787 h 657309"/>
                    <a:gd name="connsiteX1515" fmla="*/ 20145 w 946299"/>
                    <a:gd name="connsiteY1515" fmla="*/ 555090 h 657309"/>
                    <a:gd name="connsiteX1516" fmla="*/ 20376 w 946299"/>
                    <a:gd name="connsiteY1516" fmla="*/ 555370 h 657309"/>
                    <a:gd name="connsiteX1517" fmla="*/ 21979 w 946299"/>
                    <a:gd name="connsiteY1517" fmla="*/ 557312 h 657309"/>
                    <a:gd name="connsiteX1518" fmla="*/ 22355 w 946299"/>
                    <a:gd name="connsiteY1518" fmla="*/ 557774 h 657309"/>
                    <a:gd name="connsiteX1519" fmla="*/ 22817 w 946299"/>
                    <a:gd name="connsiteY1519" fmla="*/ 558150 h 657309"/>
                    <a:gd name="connsiteX1520" fmla="*/ 25051 w 946299"/>
                    <a:gd name="connsiteY1520" fmla="*/ 559972 h 657309"/>
                    <a:gd name="connsiteX1521" fmla="*/ 25367 w 946299"/>
                    <a:gd name="connsiteY1521" fmla="*/ 560227 h 657309"/>
                    <a:gd name="connsiteX1522" fmla="*/ 25707 w 946299"/>
                    <a:gd name="connsiteY1522" fmla="*/ 560445 h 657309"/>
                    <a:gd name="connsiteX1523" fmla="*/ 28172 w 946299"/>
                    <a:gd name="connsiteY1523" fmla="*/ 561963 h 657309"/>
                    <a:gd name="connsiteX1524" fmla="*/ 28585 w 946299"/>
                    <a:gd name="connsiteY1524" fmla="*/ 562218 h 657309"/>
                    <a:gd name="connsiteX1525" fmla="*/ 29034 w 946299"/>
                    <a:gd name="connsiteY1525" fmla="*/ 562412 h 657309"/>
                    <a:gd name="connsiteX1526" fmla="*/ 31681 w 946299"/>
                    <a:gd name="connsiteY1526" fmla="*/ 563505 h 657309"/>
                    <a:gd name="connsiteX1527" fmla="*/ 32118 w 946299"/>
                    <a:gd name="connsiteY1527" fmla="*/ 563687 h 657309"/>
                    <a:gd name="connsiteX1528" fmla="*/ 32579 w 946299"/>
                    <a:gd name="connsiteY1528" fmla="*/ 563797 h 657309"/>
                    <a:gd name="connsiteX1529" fmla="*/ 38093 w 946299"/>
                    <a:gd name="connsiteY1529" fmla="*/ 565120 h 657309"/>
                    <a:gd name="connsiteX1530" fmla="*/ 38967 w 946299"/>
                    <a:gd name="connsiteY1530" fmla="*/ 567986 h 657309"/>
                    <a:gd name="connsiteX1531" fmla="*/ 39137 w 946299"/>
                    <a:gd name="connsiteY1531" fmla="*/ 569249 h 657309"/>
                    <a:gd name="connsiteX1532" fmla="*/ 36429 w 946299"/>
                    <a:gd name="connsiteY1532" fmla="*/ 573584 h 657309"/>
                    <a:gd name="connsiteX1533" fmla="*/ 35737 w 946299"/>
                    <a:gd name="connsiteY1533" fmla="*/ 574689 h 657309"/>
                    <a:gd name="connsiteX1534" fmla="*/ 35555 w 946299"/>
                    <a:gd name="connsiteY1534" fmla="*/ 575976 h 657309"/>
                    <a:gd name="connsiteX1535" fmla="*/ 35336 w 946299"/>
                    <a:gd name="connsiteY1535" fmla="*/ 577579 h 657309"/>
                    <a:gd name="connsiteX1536" fmla="*/ 35190 w 946299"/>
                    <a:gd name="connsiteY1536" fmla="*/ 578587 h 657309"/>
                    <a:gd name="connsiteX1537" fmla="*/ 35397 w 946299"/>
                    <a:gd name="connsiteY1537" fmla="*/ 579595 h 657309"/>
                    <a:gd name="connsiteX1538" fmla="*/ 35676 w 946299"/>
                    <a:gd name="connsiteY1538" fmla="*/ 580979 h 657309"/>
                    <a:gd name="connsiteX1539" fmla="*/ 35810 w 946299"/>
                    <a:gd name="connsiteY1539" fmla="*/ 581659 h 657309"/>
                    <a:gd name="connsiteX1540" fmla="*/ 36101 w 946299"/>
                    <a:gd name="connsiteY1540" fmla="*/ 582303 h 657309"/>
                    <a:gd name="connsiteX1541" fmla="*/ 37825 w 946299"/>
                    <a:gd name="connsiteY1541" fmla="*/ 586067 h 657309"/>
                    <a:gd name="connsiteX1542" fmla="*/ 37546 w 946299"/>
                    <a:gd name="connsiteY1542" fmla="*/ 587366 h 657309"/>
                    <a:gd name="connsiteX1543" fmla="*/ 37461 w 946299"/>
                    <a:gd name="connsiteY1543" fmla="*/ 587755 h 657309"/>
                    <a:gd name="connsiteX1544" fmla="*/ 37437 w 946299"/>
                    <a:gd name="connsiteY1544" fmla="*/ 588143 h 657309"/>
                    <a:gd name="connsiteX1545" fmla="*/ 37036 w 946299"/>
                    <a:gd name="connsiteY1545" fmla="*/ 592794 h 657309"/>
                    <a:gd name="connsiteX1546" fmla="*/ 36975 w 946299"/>
                    <a:gd name="connsiteY1546" fmla="*/ 593462 h 657309"/>
                    <a:gd name="connsiteX1547" fmla="*/ 37060 w 946299"/>
                    <a:gd name="connsiteY1547" fmla="*/ 594130 h 657309"/>
                    <a:gd name="connsiteX1548" fmla="*/ 37898 w 946299"/>
                    <a:gd name="connsiteY1548" fmla="*/ 600323 h 657309"/>
                    <a:gd name="connsiteX1549" fmla="*/ 37595 w 946299"/>
                    <a:gd name="connsiteY1549" fmla="*/ 605483 h 657309"/>
                    <a:gd name="connsiteX1550" fmla="*/ 37157 w 946299"/>
                    <a:gd name="connsiteY1550" fmla="*/ 612696 h 657309"/>
                    <a:gd name="connsiteX1551" fmla="*/ 44334 w 946299"/>
                    <a:gd name="connsiteY1551" fmla="*/ 611883 h 657309"/>
                    <a:gd name="connsiteX1552" fmla="*/ 46459 w 946299"/>
                    <a:gd name="connsiteY1552" fmla="*/ 611640 h 657309"/>
                    <a:gd name="connsiteX1553" fmla="*/ 64103 w 946299"/>
                    <a:gd name="connsiteY1553" fmla="*/ 614336 h 657309"/>
                    <a:gd name="connsiteX1554" fmla="*/ 74861 w 946299"/>
                    <a:gd name="connsiteY1554" fmla="*/ 616473 h 657309"/>
                    <a:gd name="connsiteX1555" fmla="*/ 75578 w 946299"/>
                    <a:gd name="connsiteY1555" fmla="*/ 616618 h 657309"/>
                    <a:gd name="connsiteX1556" fmla="*/ 76306 w 946299"/>
                    <a:gd name="connsiteY1556" fmla="*/ 616594 h 657309"/>
                    <a:gd name="connsiteX1557" fmla="*/ 86458 w 946299"/>
                    <a:gd name="connsiteY1557" fmla="*/ 616157 h 657309"/>
                    <a:gd name="connsiteX1558" fmla="*/ 87259 w 946299"/>
                    <a:gd name="connsiteY1558" fmla="*/ 616121 h 657309"/>
                    <a:gd name="connsiteX1559" fmla="*/ 88024 w 946299"/>
                    <a:gd name="connsiteY1559" fmla="*/ 615878 h 657309"/>
                    <a:gd name="connsiteX1560" fmla="*/ 91363 w 946299"/>
                    <a:gd name="connsiteY1560" fmla="*/ 614821 h 657309"/>
                    <a:gd name="connsiteX1561" fmla="*/ 93124 w 946299"/>
                    <a:gd name="connsiteY1561" fmla="*/ 614275 h 657309"/>
                    <a:gd name="connsiteX1562" fmla="*/ 94278 w 946299"/>
                    <a:gd name="connsiteY1562" fmla="*/ 612842 h 657309"/>
                    <a:gd name="connsiteX1563" fmla="*/ 96816 w 946299"/>
                    <a:gd name="connsiteY1563" fmla="*/ 609685 h 657309"/>
                    <a:gd name="connsiteX1564" fmla="*/ 97641 w 946299"/>
                    <a:gd name="connsiteY1564" fmla="*/ 609466 h 657309"/>
                    <a:gd name="connsiteX1565" fmla="*/ 98115 w 946299"/>
                    <a:gd name="connsiteY1565" fmla="*/ 609527 h 657309"/>
                    <a:gd name="connsiteX1566" fmla="*/ 101709 w 946299"/>
                    <a:gd name="connsiteY1566" fmla="*/ 610438 h 657309"/>
                    <a:gd name="connsiteX1567" fmla="*/ 102049 w 946299"/>
                    <a:gd name="connsiteY1567" fmla="*/ 610523 h 657309"/>
                    <a:gd name="connsiteX1568" fmla="*/ 102389 w 946299"/>
                    <a:gd name="connsiteY1568" fmla="*/ 610571 h 657309"/>
                    <a:gd name="connsiteX1569" fmla="*/ 104114 w 946299"/>
                    <a:gd name="connsiteY1569" fmla="*/ 610802 h 657309"/>
                    <a:gd name="connsiteX1570" fmla="*/ 104866 w 946299"/>
                    <a:gd name="connsiteY1570" fmla="*/ 610899 h 657309"/>
                    <a:gd name="connsiteX1571" fmla="*/ 105619 w 946299"/>
                    <a:gd name="connsiteY1571" fmla="*/ 610814 h 657309"/>
                    <a:gd name="connsiteX1572" fmla="*/ 107635 w 946299"/>
                    <a:gd name="connsiteY1572" fmla="*/ 610583 h 657309"/>
                    <a:gd name="connsiteX1573" fmla="*/ 108109 w 946299"/>
                    <a:gd name="connsiteY1573" fmla="*/ 610535 h 657309"/>
                    <a:gd name="connsiteX1574" fmla="*/ 108570 w 946299"/>
                    <a:gd name="connsiteY1574" fmla="*/ 610401 h 657309"/>
                    <a:gd name="connsiteX1575" fmla="*/ 111606 w 946299"/>
                    <a:gd name="connsiteY1575" fmla="*/ 609563 h 657309"/>
                    <a:gd name="connsiteX1576" fmla="*/ 118224 w 946299"/>
                    <a:gd name="connsiteY1576" fmla="*/ 609102 h 657309"/>
                    <a:gd name="connsiteX1577" fmla="*/ 118758 w 946299"/>
                    <a:gd name="connsiteY1577" fmla="*/ 609066 h 657309"/>
                    <a:gd name="connsiteX1578" fmla="*/ 119280 w 946299"/>
                    <a:gd name="connsiteY1578" fmla="*/ 608932 h 657309"/>
                    <a:gd name="connsiteX1579" fmla="*/ 122996 w 946299"/>
                    <a:gd name="connsiteY1579" fmla="*/ 607985 h 657309"/>
                    <a:gd name="connsiteX1580" fmla="*/ 124064 w 946299"/>
                    <a:gd name="connsiteY1580" fmla="*/ 607718 h 657309"/>
                    <a:gd name="connsiteX1581" fmla="*/ 124975 w 946299"/>
                    <a:gd name="connsiteY1581" fmla="*/ 607086 h 657309"/>
                    <a:gd name="connsiteX1582" fmla="*/ 127902 w 946299"/>
                    <a:gd name="connsiteY1582" fmla="*/ 605046 h 657309"/>
                    <a:gd name="connsiteX1583" fmla="*/ 128873 w 946299"/>
                    <a:gd name="connsiteY1583" fmla="*/ 604378 h 657309"/>
                    <a:gd name="connsiteX1584" fmla="*/ 129517 w 946299"/>
                    <a:gd name="connsiteY1584" fmla="*/ 603383 h 657309"/>
                    <a:gd name="connsiteX1585" fmla="*/ 130840 w 946299"/>
                    <a:gd name="connsiteY1585" fmla="*/ 601355 h 657309"/>
                    <a:gd name="connsiteX1586" fmla="*/ 131812 w 946299"/>
                    <a:gd name="connsiteY1586" fmla="*/ 600881 h 657309"/>
                    <a:gd name="connsiteX1587" fmla="*/ 132140 w 946299"/>
                    <a:gd name="connsiteY1587" fmla="*/ 600723 h 657309"/>
                    <a:gd name="connsiteX1588" fmla="*/ 132431 w 946299"/>
                    <a:gd name="connsiteY1588" fmla="*/ 600529 h 657309"/>
                    <a:gd name="connsiteX1589" fmla="*/ 134265 w 946299"/>
                    <a:gd name="connsiteY1589" fmla="*/ 599351 h 657309"/>
                    <a:gd name="connsiteX1590" fmla="*/ 134823 w 946299"/>
                    <a:gd name="connsiteY1590" fmla="*/ 598999 h 657309"/>
                    <a:gd name="connsiteX1591" fmla="*/ 135285 w 946299"/>
                    <a:gd name="connsiteY1591" fmla="*/ 598538 h 657309"/>
                    <a:gd name="connsiteX1592" fmla="*/ 135965 w 946299"/>
                    <a:gd name="connsiteY1592" fmla="*/ 597858 h 657309"/>
                    <a:gd name="connsiteX1593" fmla="*/ 136426 w 946299"/>
                    <a:gd name="connsiteY1593" fmla="*/ 597396 h 657309"/>
                    <a:gd name="connsiteX1594" fmla="*/ 136778 w 946299"/>
                    <a:gd name="connsiteY1594" fmla="*/ 596850 h 657309"/>
                    <a:gd name="connsiteX1595" fmla="*/ 137300 w 946299"/>
                    <a:gd name="connsiteY1595" fmla="*/ 596036 h 657309"/>
                    <a:gd name="connsiteX1596" fmla="*/ 138005 w 946299"/>
                    <a:gd name="connsiteY1596" fmla="*/ 594761 h 657309"/>
                    <a:gd name="connsiteX1597" fmla="*/ 138150 w 946299"/>
                    <a:gd name="connsiteY1597" fmla="*/ 594482 h 657309"/>
                    <a:gd name="connsiteX1598" fmla="*/ 141647 w 946299"/>
                    <a:gd name="connsiteY1598" fmla="*/ 601671 h 657309"/>
                    <a:gd name="connsiteX1599" fmla="*/ 145254 w 946299"/>
                    <a:gd name="connsiteY1599" fmla="*/ 612830 h 657309"/>
                    <a:gd name="connsiteX1600" fmla="*/ 145424 w 946299"/>
                    <a:gd name="connsiteY1600" fmla="*/ 613376 h 657309"/>
                    <a:gd name="connsiteX1601" fmla="*/ 145691 w 946299"/>
                    <a:gd name="connsiteY1601" fmla="*/ 613874 h 657309"/>
                    <a:gd name="connsiteX1602" fmla="*/ 147816 w 946299"/>
                    <a:gd name="connsiteY1602" fmla="*/ 617760 h 657309"/>
                    <a:gd name="connsiteX1603" fmla="*/ 148326 w 946299"/>
                    <a:gd name="connsiteY1603" fmla="*/ 618707 h 657309"/>
                    <a:gd name="connsiteX1604" fmla="*/ 149128 w 946299"/>
                    <a:gd name="connsiteY1604" fmla="*/ 619411 h 657309"/>
                    <a:gd name="connsiteX1605" fmla="*/ 151471 w 946299"/>
                    <a:gd name="connsiteY1605" fmla="*/ 621463 h 657309"/>
                    <a:gd name="connsiteX1606" fmla="*/ 152188 w 946299"/>
                    <a:gd name="connsiteY1606" fmla="*/ 622095 h 657309"/>
                    <a:gd name="connsiteX1607" fmla="*/ 153062 w 946299"/>
                    <a:gd name="connsiteY1607" fmla="*/ 622471 h 657309"/>
                    <a:gd name="connsiteX1608" fmla="*/ 155138 w 946299"/>
                    <a:gd name="connsiteY1608" fmla="*/ 623370 h 657309"/>
                    <a:gd name="connsiteX1609" fmla="*/ 156802 w 946299"/>
                    <a:gd name="connsiteY1609" fmla="*/ 624099 h 657309"/>
                    <a:gd name="connsiteX1610" fmla="*/ 158599 w 946299"/>
                    <a:gd name="connsiteY1610" fmla="*/ 623783 h 657309"/>
                    <a:gd name="connsiteX1611" fmla="*/ 160262 w 946299"/>
                    <a:gd name="connsiteY1611" fmla="*/ 623491 h 657309"/>
                    <a:gd name="connsiteX1612" fmla="*/ 162157 w 946299"/>
                    <a:gd name="connsiteY1612" fmla="*/ 623163 h 657309"/>
                    <a:gd name="connsiteX1613" fmla="*/ 163517 w 946299"/>
                    <a:gd name="connsiteY1613" fmla="*/ 621791 h 657309"/>
                    <a:gd name="connsiteX1614" fmla="*/ 163687 w 946299"/>
                    <a:gd name="connsiteY1614" fmla="*/ 621621 h 657309"/>
                    <a:gd name="connsiteX1615" fmla="*/ 164464 w 946299"/>
                    <a:gd name="connsiteY1615" fmla="*/ 622010 h 657309"/>
                    <a:gd name="connsiteX1616" fmla="*/ 166091 w 946299"/>
                    <a:gd name="connsiteY1616" fmla="*/ 622836 h 657309"/>
                    <a:gd name="connsiteX1617" fmla="*/ 167900 w 946299"/>
                    <a:gd name="connsiteY1617" fmla="*/ 622617 h 657309"/>
                    <a:gd name="connsiteX1618" fmla="*/ 169455 w 946299"/>
                    <a:gd name="connsiteY1618" fmla="*/ 622435 h 657309"/>
                    <a:gd name="connsiteX1619" fmla="*/ 171385 w 946299"/>
                    <a:gd name="connsiteY1619" fmla="*/ 622204 h 657309"/>
                    <a:gd name="connsiteX1620" fmla="*/ 172830 w 946299"/>
                    <a:gd name="connsiteY1620" fmla="*/ 620905 h 657309"/>
                    <a:gd name="connsiteX1621" fmla="*/ 173972 w 946299"/>
                    <a:gd name="connsiteY1621" fmla="*/ 619873 h 657309"/>
                    <a:gd name="connsiteX1622" fmla="*/ 175502 w 946299"/>
                    <a:gd name="connsiteY1622" fmla="*/ 618476 h 657309"/>
                    <a:gd name="connsiteX1623" fmla="*/ 175866 w 946299"/>
                    <a:gd name="connsiteY1623" fmla="*/ 616436 h 657309"/>
                    <a:gd name="connsiteX1624" fmla="*/ 176158 w 946299"/>
                    <a:gd name="connsiteY1624" fmla="*/ 614773 h 657309"/>
                    <a:gd name="connsiteX1625" fmla="*/ 176303 w 946299"/>
                    <a:gd name="connsiteY1625" fmla="*/ 613983 h 657309"/>
                    <a:gd name="connsiteX1626" fmla="*/ 176279 w 946299"/>
                    <a:gd name="connsiteY1626" fmla="*/ 613692 h 657309"/>
                    <a:gd name="connsiteX1627" fmla="*/ 176364 w 946299"/>
                    <a:gd name="connsiteY1627" fmla="*/ 613680 h 657309"/>
                    <a:gd name="connsiteX1628" fmla="*/ 178028 w 946299"/>
                    <a:gd name="connsiteY1628" fmla="*/ 613364 h 657309"/>
                    <a:gd name="connsiteX1629" fmla="*/ 179036 w 946299"/>
                    <a:gd name="connsiteY1629" fmla="*/ 613170 h 657309"/>
                    <a:gd name="connsiteX1630" fmla="*/ 179048 w 946299"/>
                    <a:gd name="connsiteY1630" fmla="*/ 613158 h 657309"/>
                    <a:gd name="connsiteX1631" fmla="*/ 179703 w 946299"/>
                    <a:gd name="connsiteY1631" fmla="*/ 613619 h 657309"/>
                    <a:gd name="connsiteX1632" fmla="*/ 180857 w 946299"/>
                    <a:gd name="connsiteY1632" fmla="*/ 613886 h 657309"/>
                    <a:gd name="connsiteX1633" fmla="*/ 182059 w 946299"/>
                    <a:gd name="connsiteY1633" fmla="*/ 614166 h 657309"/>
                    <a:gd name="connsiteX1634" fmla="*/ 183953 w 946299"/>
                    <a:gd name="connsiteY1634" fmla="*/ 614603 h 657309"/>
                    <a:gd name="connsiteX1635" fmla="*/ 185738 w 946299"/>
                    <a:gd name="connsiteY1635" fmla="*/ 613862 h 657309"/>
                    <a:gd name="connsiteX1636" fmla="*/ 187062 w 946299"/>
                    <a:gd name="connsiteY1636" fmla="*/ 613316 h 657309"/>
                    <a:gd name="connsiteX1637" fmla="*/ 187888 w 946299"/>
                    <a:gd name="connsiteY1637" fmla="*/ 612976 h 657309"/>
                    <a:gd name="connsiteX1638" fmla="*/ 187924 w 946299"/>
                    <a:gd name="connsiteY1638" fmla="*/ 615368 h 657309"/>
                    <a:gd name="connsiteX1639" fmla="*/ 187742 w 946299"/>
                    <a:gd name="connsiteY1639" fmla="*/ 615574 h 657309"/>
                    <a:gd name="connsiteX1640" fmla="*/ 187390 w 946299"/>
                    <a:gd name="connsiteY1640" fmla="*/ 616254 h 657309"/>
                    <a:gd name="connsiteX1641" fmla="*/ 186127 w 946299"/>
                    <a:gd name="connsiteY1641" fmla="*/ 618695 h 657309"/>
                    <a:gd name="connsiteX1642" fmla="*/ 185010 w 946299"/>
                    <a:gd name="connsiteY1642" fmla="*/ 620856 h 657309"/>
                    <a:gd name="connsiteX1643" fmla="*/ 185690 w 946299"/>
                    <a:gd name="connsiteY1643" fmla="*/ 623188 h 657309"/>
                    <a:gd name="connsiteX1644" fmla="*/ 186151 w 946299"/>
                    <a:gd name="connsiteY1644" fmla="*/ 624766 h 657309"/>
                    <a:gd name="connsiteX1645" fmla="*/ 186601 w 946299"/>
                    <a:gd name="connsiteY1645" fmla="*/ 626296 h 657309"/>
                    <a:gd name="connsiteX1646" fmla="*/ 187742 w 946299"/>
                    <a:gd name="connsiteY1646" fmla="*/ 627414 h 657309"/>
                    <a:gd name="connsiteX1647" fmla="*/ 191895 w 946299"/>
                    <a:gd name="connsiteY1647" fmla="*/ 631457 h 657309"/>
                    <a:gd name="connsiteX1648" fmla="*/ 194190 w 946299"/>
                    <a:gd name="connsiteY1648" fmla="*/ 634845 h 657309"/>
                    <a:gd name="connsiteX1649" fmla="*/ 194493 w 946299"/>
                    <a:gd name="connsiteY1649" fmla="*/ 635294 h 657309"/>
                    <a:gd name="connsiteX1650" fmla="*/ 194870 w 946299"/>
                    <a:gd name="connsiteY1650" fmla="*/ 635683 h 657309"/>
                    <a:gd name="connsiteX1651" fmla="*/ 197396 w 946299"/>
                    <a:gd name="connsiteY1651" fmla="*/ 638269 h 657309"/>
                    <a:gd name="connsiteX1652" fmla="*/ 197724 w 946299"/>
                    <a:gd name="connsiteY1652" fmla="*/ 638609 h 657309"/>
                    <a:gd name="connsiteX1653" fmla="*/ 198112 w 946299"/>
                    <a:gd name="connsiteY1653" fmla="*/ 638889 h 657309"/>
                    <a:gd name="connsiteX1654" fmla="*/ 200856 w 946299"/>
                    <a:gd name="connsiteY1654" fmla="*/ 640929 h 657309"/>
                    <a:gd name="connsiteX1655" fmla="*/ 201293 w 946299"/>
                    <a:gd name="connsiteY1655" fmla="*/ 641244 h 657309"/>
                    <a:gd name="connsiteX1656" fmla="*/ 201779 w 946299"/>
                    <a:gd name="connsiteY1656" fmla="*/ 641487 h 657309"/>
                    <a:gd name="connsiteX1657" fmla="*/ 206673 w 946299"/>
                    <a:gd name="connsiteY1657" fmla="*/ 643928 h 657309"/>
                    <a:gd name="connsiteX1658" fmla="*/ 210158 w 946299"/>
                    <a:gd name="connsiteY1658" fmla="*/ 646575 h 657309"/>
                    <a:gd name="connsiteX1659" fmla="*/ 210656 w 946299"/>
                    <a:gd name="connsiteY1659" fmla="*/ 647255 h 657309"/>
                    <a:gd name="connsiteX1660" fmla="*/ 211652 w 946299"/>
                    <a:gd name="connsiteY1660" fmla="*/ 648967 h 657309"/>
                    <a:gd name="connsiteX1661" fmla="*/ 211967 w 946299"/>
                    <a:gd name="connsiteY1661" fmla="*/ 649502 h 657309"/>
                    <a:gd name="connsiteX1662" fmla="*/ 212380 w 946299"/>
                    <a:gd name="connsiteY1662" fmla="*/ 649963 h 657309"/>
                    <a:gd name="connsiteX1663" fmla="*/ 213764 w 946299"/>
                    <a:gd name="connsiteY1663" fmla="*/ 651517 h 657309"/>
                    <a:gd name="connsiteX1664" fmla="*/ 214116 w 946299"/>
                    <a:gd name="connsiteY1664" fmla="*/ 651906 h 657309"/>
                    <a:gd name="connsiteX1665" fmla="*/ 214517 w 946299"/>
                    <a:gd name="connsiteY1665" fmla="*/ 652234 h 657309"/>
                    <a:gd name="connsiteX1666" fmla="*/ 217772 w 946299"/>
                    <a:gd name="connsiteY1666" fmla="*/ 654820 h 657309"/>
                    <a:gd name="connsiteX1667" fmla="*/ 218488 w 946299"/>
                    <a:gd name="connsiteY1667" fmla="*/ 655391 h 657309"/>
                    <a:gd name="connsiteX1668" fmla="*/ 219338 w 946299"/>
                    <a:gd name="connsiteY1668" fmla="*/ 655719 h 657309"/>
                    <a:gd name="connsiteX1669" fmla="*/ 221706 w 946299"/>
                    <a:gd name="connsiteY1669" fmla="*/ 656642 h 657309"/>
                    <a:gd name="connsiteX1670" fmla="*/ 222495 w 946299"/>
                    <a:gd name="connsiteY1670" fmla="*/ 656945 h 657309"/>
                    <a:gd name="connsiteX1671" fmla="*/ 223345 w 946299"/>
                    <a:gd name="connsiteY1671" fmla="*/ 657018 h 657309"/>
                    <a:gd name="connsiteX1672" fmla="*/ 225640 w 946299"/>
                    <a:gd name="connsiteY1672" fmla="*/ 657237 h 657309"/>
                    <a:gd name="connsiteX1673" fmla="*/ 226381 w 946299"/>
                    <a:gd name="connsiteY1673" fmla="*/ 657310 h 657309"/>
                    <a:gd name="connsiteX1674" fmla="*/ 227121 w 946299"/>
                    <a:gd name="connsiteY1674" fmla="*/ 657200 h 657309"/>
                    <a:gd name="connsiteX1675" fmla="*/ 229125 w 946299"/>
                    <a:gd name="connsiteY1675" fmla="*/ 656897 h 657309"/>
                    <a:gd name="connsiteX1676" fmla="*/ 229829 w 946299"/>
                    <a:gd name="connsiteY1676" fmla="*/ 656787 h 657309"/>
                    <a:gd name="connsiteX1677" fmla="*/ 230485 w 946299"/>
                    <a:gd name="connsiteY1677" fmla="*/ 656520 h 657309"/>
                    <a:gd name="connsiteX1678" fmla="*/ 232671 w 946299"/>
                    <a:gd name="connsiteY1678" fmla="*/ 655646 h 657309"/>
                    <a:gd name="connsiteX1679" fmla="*/ 233740 w 946299"/>
                    <a:gd name="connsiteY1679" fmla="*/ 655221 h 657309"/>
                    <a:gd name="connsiteX1680" fmla="*/ 234577 w 946299"/>
                    <a:gd name="connsiteY1680" fmla="*/ 654444 h 657309"/>
                    <a:gd name="connsiteX1681" fmla="*/ 238475 w 946299"/>
                    <a:gd name="connsiteY1681" fmla="*/ 650777 h 657309"/>
                    <a:gd name="connsiteX1682" fmla="*/ 239495 w 946299"/>
                    <a:gd name="connsiteY1682" fmla="*/ 649805 h 657309"/>
                    <a:gd name="connsiteX1683" fmla="*/ 239993 w 946299"/>
                    <a:gd name="connsiteY1683" fmla="*/ 648482 h 657309"/>
                    <a:gd name="connsiteX1684" fmla="*/ 240515 w 946299"/>
                    <a:gd name="connsiteY1684" fmla="*/ 647097 h 657309"/>
                    <a:gd name="connsiteX1685" fmla="*/ 240661 w 946299"/>
                    <a:gd name="connsiteY1685" fmla="*/ 646709 h 657309"/>
                    <a:gd name="connsiteX1686" fmla="*/ 240758 w 946299"/>
                    <a:gd name="connsiteY1686" fmla="*/ 646308 h 657309"/>
                    <a:gd name="connsiteX1687" fmla="*/ 241025 w 946299"/>
                    <a:gd name="connsiteY1687" fmla="*/ 645118 h 657309"/>
                    <a:gd name="connsiteX1688" fmla="*/ 241171 w 946299"/>
                    <a:gd name="connsiteY1688" fmla="*/ 644802 h 657309"/>
                    <a:gd name="connsiteX1689" fmla="*/ 244595 w 946299"/>
                    <a:gd name="connsiteY1689" fmla="*/ 641803 h 657309"/>
                    <a:gd name="connsiteX1690" fmla="*/ 245336 w 946299"/>
                    <a:gd name="connsiteY1690" fmla="*/ 641147 h 657309"/>
                    <a:gd name="connsiteX1691" fmla="*/ 245421 w 946299"/>
                    <a:gd name="connsiteY1691" fmla="*/ 641014 h 657309"/>
                    <a:gd name="connsiteX1692" fmla="*/ 246235 w 946299"/>
                    <a:gd name="connsiteY1692" fmla="*/ 641463 h 657309"/>
                    <a:gd name="connsiteX1693" fmla="*/ 247631 w 946299"/>
                    <a:gd name="connsiteY1693" fmla="*/ 641536 h 657309"/>
                    <a:gd name="connsiteX1694" fmla="*/ 249161 w 946299"/>
                    <a:gd name="connsiteY1694" fmla="*/ 641609 h 657309"/>
                    <a:gd name="connsiteX1695" fmla="*/ 252561 w 946299"/>
                    <a:gd name="connsiteY1695" fmla="*/ 642447 h 657309"/>
                    <a:gd name="connsiteX1696" fmla="*/ 253253 w 946299"/>
                    <a:gd name="connsiteY1696" fmla="*/ 642616 h 657309"/>
                    <a:gd name="connsiteX1697" fmla="*/ 253970 w 946299"/>
                    <a:gd name="connsiteY1697" fmla="*/ 642616 h 657309"/>
                    <a:gd name="connsiteX1698" fmla="*/ 256325 w 946299"/>
                    <a:gd name="connsiteY1698" fmla="*/ 642641 h 657309"/>
                    <a:gd name="connsiteX1699" fmla="*/ 258863 w 946299"/>
                    <a:gd name="connsiteY1699" fmla="*/ 642665 h 657309"/>
                    <a:gd name="connsiteX1700" fmla="*/ 260660 w 946299"/>
                    <a:gd name="connsiteY1700" fmla="*/ 640880 h 657309"/>
                    <a:gd name="connsiteX1701" fmla="*/ 262032 w 946299"/>
                    <a:gd name="connsiteY1701" fmla="*/ 639508 h 657309"/>
                    <a:gd name="connsiteX1702" fmla="*/ 263053 w 946299"/>
                    <a:gd name="connsiteY1702" fmla="*/ 638488 h 657309"/>
                    <a:gd name="connsiteX1703" fmla="*/ 263514 w 946299"/>
                    <a:gd name="connsiteY1703" fmla="*/ 637116 h 657309"/>
                    <a:gd name="connsiteX1704" fmla="*/ 265226 w 946299"/>
                    <a:gd name="connsiteY1704" fmla="*/ 631955 h 657309"/>
                    <a:gd name="connsiteX1705" fmla="*/ 266732 w 946299"/>
                    <a:gd name="connsiteY1705" fmla="*/ 629575 h 657309"/>
                    <a:gd name="connsiteX1706" fmla="*/ 268565 w 946299"/>
                    <a:gd name="connsiteY1706" fmla="*/ 628057 h 657309"/>
                    <a:gd name="connsiteX1707" fmla="*/ 276118 w 946299"/>
                    <a:gd name="connsiteY1707" fmla="*/ 624014 h 657309"/>
                    <a:gd name="connsiteX1708" fmla="*/ 276434 w 946299"/>
                    <a:gd name="connsiteY1708" fmla="*/ 623843 h 657309"/>
                    <a:gd name="connsiteX1709" fmla="*/ 276713 w 946299"/>
                    <a:gd name="connsiteY1709" fmla="*/ 623637 h 657309"/>
                    <a:gd name="connsiteX1710" fmla="*/ 279142 w 946299"/>
                    <a:gd name="connsiteY1710" fmla="*/ 621949 h 657309"/>
                    <a:gd name="connsiteX1711" fmla="*/ 281655 w 946299"/>
                    <a:gd name="connsiteY1711" fmla="*/ 620577 h 657309"/>
                    <a:gd name="connsiteX1712" fmla="*/ 282105 w 946299"/>
                    <a:gd name="connsiteY1712" fmla="*/ 620334 h 657309"/>
                    <a:gd name="connsiteX1713" fmla="*/ 282505 w 946299"/>
                    <a:gd name="connsiteY1713" fmla="*/ 620019 h 657309"/>
                    <a:gd name="connsiteX1714" fmla="*/ 282676 w 946299"/>
                    <a:gd name="connsiteY1714" fmla="*/ 619873 h 657309"/>
                    <a:gd name="connsiteX1715" fmla="*/ 283695 w 946299"/>
                    <a:gd name="connsiteY1715" fmla="*/ 625191 h 657309"/>
                    <a:gd name="connsiteX1716" fmla="*/ 284242 w 946299"/>
                    <a:gd name="connsiteY1716" fmla="*/ 628057 h 657309"/>
                    <a:gd name="connsiteX1717" fmla="*/ 286829 w 946299"/>
                    <a:gd name="connsiteY1717" fmla="*/ 629417 h 657309"/>
                    <a:gd name="connsiteX1718" fmla="*/ 288504 w 946299"/>
                    <a:gd name="connsiteY1718" fmla="*/ 630304 h 657309"/>
                    <a:gd name="connsiteX1719" fmla="*/ 290350 w 946299"/>
                    <a:gd name="connsiteY1719" fmla="*/ 631287 h 657309"/>
                    <a:gd name="connsiteX1720" fmla="*/ 292426 w 946299"/>
                    <a:gd name="connsiteY1720" fmla="*/ 630911 h 657309"/>
                    <a:gd name="connsiteX1721" fmla="*/ 292584 w 946299"/>
                    <a:gd name="connsiteY1721" fmla="*/ 630886 h 657309"/>
                    <a:gd name="connsiteX1722" fmla="*/ 293798 w 946299"/>
                    <a:gd name="connsiteY1722" fmla="*/ 638063 h 657309"/>
                    <a:gd name="connsiteX1723" fmla="*/ 293993 w 946299"/>
                    <a:gd name="connsiteY1723" fmla="*/ 639156 h 657309"/>
                    <a:gd name="connsiteX1724" fmla="*/ 294564 w 946299"/>
                    <a:gd name="connsiteY1724" fmla="*/ 640115 h 657309"/>
                    <a:gd name="connsiteX1725" fmla="*/ 295814 w 946299"/>
                    <a:gd name="connsiteY1725" fmla="*/ 642228 h 657309"/>
                    <a:gd name="connsiteX1726" fmla="*/ 296518 w 946299"/>
                    <a:gd name="connsiteY1726" fmla="*/ 643406 h 657309"/>
                    <a:gd name="connsiteX1727" fmla="*/ 297648 w 946299"/>
                    <a:gd name="connsiteY1727" fmla="*/ 644171 h 657309"/>
                    <a:gd name="connsiteX1728" fmla="*/ 300125 w 946299"/>
                    <a:gd name="connsiteY1728" fmla="*/ 645847 h 657309"/>
                    <a:gd name="connsiteX1729" fmla="*/ 301388 w 946299"/>
                    <a:gd name="connsiteY1729" fmla="*/ 646697 h 657309"/>
                    <a:gd name="connsiteX1730" fmla="*/ 302894 w 946299"/>
                    <a:gd name="connsiteY1730" fmla="*/ 646854 h 657309"/>
                    <a:gd name="connsiteX1731" fmla="*/ 312778 w 946299"/>
                    <a:gd name="connsiteY1731" fmla="*/ 647911 h 657309"/>
                    <a:gd name="connsiteX1732" fmla="*/ 313774 w 946299"/>
                    <a:gd name="connsiteY1732" fmla="*/ 648020 h 657309"/>
                    <a:gd name="connsiteX1733" fmla="*/ 314745 w 946299"/>
                    <a:gd name="connsiteY1733" fmla="*/ 647802 h 657309"/>
                    <a:gd name="connsiteX1734" fmla="*/ 318521 w 946299"/>
                    <a:gd name="connsiteY1734" fmla="*/ 646951 h 657309"/>
                    <a:gd name="connsiteX1735" fmla="*/ 319286 w 946299"/>
                    <a:gd name="connsiteY1735" fmla="*/ 646782 h 657309"/>
                    <a:gd name="connsiteX1736" fmla="*/ 319991 w 946299"/>
                    <a:gd name="connsiteY1736" fmla="*/ 646417 h 657309"/>
                    <a:gd name="connsiteX1737" fmla="*/ 323221 w 946299"/>
                    <a:gd name="connsiteY1737" fmla="*/ 644742 h 657309"/>
                    <a:gd name="connsiteX1738" fmla="*/ 323549 w 946299"/>
                    <a:gd name="connsiteY1738" fmla="*/ 644571 h 657309"/>
                    <a:gd name="connsiteX1739" fmla="*/ 323852 w 946299"/>
                    <a:gd name="connsiteY1739" fmla="*/ 644353 h 657309"/>
                    <a:gd name="connsiteX1740" fmla="*/ 326269 w 946299"/>
                    <a:gd name="connsiteY1740" fmla="*/ 642689 h 657309"/>
                    <a:gd name="connsiteX1741" fmla="*/ 330033 w 946299"/>
                    <a:gd name="connsiteY1741" fmla="*/ 641378 h 657309"/>
                    <a:gd name="connsiteX1742" fmla="*/ 330033 w 946299"/>
                    <a:gd name="connsiteY1742" fmla="*/ 641499 h 657309"/>
                    <a:gd name="connsiteX1743" fmla="*/ 329875 w 946299"/>
                    <a:gd name="connsiteY1743" fmla="*/ 644062 h 657309"/>
                    <a:gd name="connsiteX1744" fmla="*/ 331612 w 946299"/>
                    <a:gd name="connsiteY1744" fmla="*/ 645956 h 657309"/>
                    <a:gd name="connsiteX1745" fmla="*/ 332826 w 946299"/>
                    <a:gd name="connsiteY1745" fmla="*/ 647279 h 657309"/>
                    <a:gd name="connsiteX1746" fmla="*/ 335364 w 946299"/>
                    <a:gd name="connsiteY1746" fmla="*/ 650060 h 657309"/>
                    <a:gd name="connsiteX1747" fmla="*/ 338982 w 946299"/>
                    <a:gd name="connsiteY1747" fmla="*/ 649028 h 657309"/>
                    <a:gd name="connsiteX1748" fmla="*/ 340597 w 946299"/>
                    <a:gd name="connsiteY1748" fmla="*/ 648567 h 657309"/>
                    <a:gd name="connsiteX1749" fmla="*/ 342030 w 946299"/>
                    <a:gd name="connsiteY1749" fmla="*/ 648154 h 657309"/>
                    <a:gd name="connsiteX1750" fmla="*/ 343111 w 946299"/>
                    <a:gd name="connsiteY1750" fmla="*/ 647122 h 657309"/>
                    <a:gd name="connsiteX1751" fmla="*/ 349935 w 946299"/>
                    <a:gd name="connsiteY1751" fmla="*/ 640625 h 657309"/>
                    <a:gd name="connsiteX1752" fmla="*/ 352254 w 946299"/>
                    <a:gd name="connsiteY1752" fmla="*/ 638925 h 657309"/>
                    <a:gd name="connsiteX1753" fmla="*/ 352619 w 946299"/>
                    <a:gd name="connsiteY1753" fmla="*/ 638658 h 657309"/>
                    <a:gd name="connsiteX1754" fmla="*/ 352934 w 946299"/>
                    <a:gd name="connsiteY1754" fmla="*/ 638342 h 657309"/>
                    <a:gd name="connsiteX1755" fmla="*/ 354477 w 946299"/>
                    <a:gd name="connsiteY1755" fmla="*/ 636824 h 657309"/>
                    <a:gd name="connsiteX1756" fmla="*/ 355582 w 946299"/>
                    <a:gd name="connsiteY1756" fmla="*/ 635731 h 657309"/>
                    <a:gd name="connsiteX1757" fmla="*/ 356031 w 946299"/>
                    <a:gd name="connsiteY1757" fmla="*/ 634250 h 657309"/>
                    <a:gd name="connsiteX1758" fmla="*/ 356480 w 946299"/>
                    <a:gd name="connsiteY1758" fmla="*/ 632756 h 657309"/>
                    <a:gd name="connsiteX1759" fmla="*/ 356930 w 946299"/>
                    <a:gd name="connsiteY1759" fmla="*/ 631263 h 657309"/>
                    <a:gd name="connsiteX1760" fmla="*/ 356748 w 946299"/>
                    <a:gd name="connsiteY1760" fmla="*/ 630437 h 657309"/>
                    <a:gd name="connsiteX1761" fmla="*/ 371647 w 946299"/>
                    <a:gd name="connsiteY1761" fmla="*/ 625021 h 657309"/>
                    <a:gd name="connsiteX1762" fmla="*/ 372036 w 946299"/>
                    <a:gd name="connsiteY1762" fmla="*/ 624876 h 657309"/>
                    <a:gd name="connsiteX1763" fmla="*/ 372400 w 946299"/>
                    <a:gd name="connsiteY1763" fmla="*/ 624681 h 657309"/>
                    <a:gd name="connsiteX1764" fmla="*/ 374355 w 946299"/>
                    <a:gd name="connsiteY1764" fmla="*/ 623649 h 657309"/>
                    <a:gd name="connsiteX1765" fmla="*/ 375618 w 946299"/>
                    <a:gd name="connsiteY1765" fmla="*/ 622981 h 657309"/>
                    <a:gd name="connsiteX1766" fmla="*/ 376455 w 946299"/>
                    <a:gd name="connsiteY1766" fmla="*/ 621803 h 657309"/>
                    <a:gd name="connsiteX1767" fmla="*/ 377354 w 946299"/>
                    <a:gd name="connsiteY1767" fmla="*/ 620541 h 657309"/>
                    <a:gd name="connsiteX1768" fmla="*/ 378167 w 946299"/>
                    <a:gd name="connsiteY1768" fmla="*/ 619399 h 657309"/>
                    <a:gd name="connsiteX1769" fmla="*/ 378167 w 946299"/>
                    <a:gd name="connsiteY1769" fmla="*/ 619339 h 657309"/>
                    <a:gd name="connsiteX1770" fmla="*/ 391549 w 946299"/>
                    <a:gd name="connsiteY1770" fmla="*/ 617808 h 657309"/>
                    <a:gd name="connsiteX1771" fmla="*/ 392885 w 946299"/>
                    <a:gd name="connsiteY1771" fmla="*/ 617663 h 657309"/>
                    <a:gd name="connsiteX1772" fmla="*/ 394038 w 946299"/>
                    <a:gd name="connsiteY1772" fmla="*/ 616946 h 657309"/>
                    <a:gd name="connsiteX1773" fmla="*/ 395471 w 946299"/>
                    <a:gd name="connsiteY1773" fmla="*/ 616072 h 657309"/>
                    <a:gd name="connsiteX1774" fmla="*/ 402393 w 946299"/>
                    <a:gd name="connsiteY1774" fmla="*/ 616728 h 657309"/>
                    <a:gd name="connsiteX1775" fmla="*/ 402818 w 946299"/>
                    <a:gd name="connsiteY1775" fmla="*/ 616764 h 657309"/>
                    <a:gd name="connsiteX1776" fmla="*/ 403243 w 946299"/>
                    <a:gd name="connsiteY1776" fmla="*/ 616752 h 657309"/>
                    <a:gd name="connsiteX1777" fmla="*/ 407663 w 946299"/>
                    <a:gd name="connsiteY1777" fmla="*/ 616546 h 657309"/>
                    <a:gd name="connsiteX1778" fmla="*/ 408015 w 946299"/>
                    <a:gd name="connsiteY1778" fmla="*/ 616534 h 657309"/>
                    <a:gd name="connsiteX1779" fmla="*/ 408355 w 946299"/>
                    <a:gd name="connsiteY1779" fmla="*/ 616473 h 657309"/>
                    <a:gd name="connsiteX1780" fmla="*/ 411269 w 946299"/>
                    <a:gd name="connsiteY1780" fmla="*/ 615999 h 657309"/>
                    <a:gd name="connsiteX1781" fmla="*/ 411779 w 946299"/>
                    <a:gd name="connsiteY1781" fmla="*/ 616048 h 657309"/>
                    <a:gd name="connsiteX1782" fmla="*/ 412605 w 946299"/>
                    <a:gd name="connsiteY1782" fmla="*/ 616473 h 657309"/>
                    <a:gd name="connsiteX1783" fmla="*/ 412994 w 946299"/>
                    <a:gd name="connsiteY1783" fmla="*/ 616679 h 657309"/>
                    <a:gd name="connsiteX1784" fmla="*/ 413419 w 946299"/>
                    <a:gd name="connsiteY1784" fmla="*/ 616825 h 657309"/>
                    <a:gd name="connsiteX1785" fmla="*/ 415616 w 946299"/>
                    <a:gd name="connsiteY1785" fmla="*/ 617578 h 657309"/>
                    <a:gd name="connsiteX1786" fmla="*/ 417304 w 946299"/>
                    <a:gd name="connsiteY1786" fmla="*/ 618148 h 657309"/>
                    <a:gd name="connsiteX1787" fmla="*/ 419041 w 946299"/>
                    <a:gd name="connsiteY1787" fmla="*/ 617723 h 657309"/>
                    <a:gd name="connsiteX1788" fmla="*/ 420765 w 946299"/>
                    <a:gd name="connsiteY1788" fmla="*/ 617298 h 657309"/>
                    <a:gd name="connsiteX1789" fmla="*/ 422295 w 946299"/>
                    <a:gd name="connsiteY1789" fmla="*/ 616922 h 657309"/>
                    <a:gd name="connsiteX1790" fmla="*/ 423448 w 946299"/>
                    <a:gd name="connsiteY1790" fmla="*/ 615854 h 657309"/>
                    <a:gd name="connsiteX1791" fmla="*/ 429132 w 946299"/>
                    <a:gd name="connsiteY1791" fmla="*/ 610596 h 657309"/>
                    <a:gd name="connsiteX1792" fmla="*/ 429763 w 946299"/>
                    <a:gd name="connsiteY1792" fmla="*/ 610013 h 657309"/>
                    <a:gd name="connsiteX1793" fmla="*/ 430212 w 946299"/>
                    <a:gd name="connsiteY1793" fmla="*/ 609272 h 657309"/>
                    <a:gd name="connsiteX1794" fmla="*/ 430358 w 946299"/>
                    <a:gd name="connsiteY1794" fmla="*/ 609029 h 657309"/>
                    <a:gd name="connsiteX1795" fmla="*/ 431451 w 946299"/>
                    <a:gd name="connsiteY1795" fmla="*/ 608082 h 657309"/>
                    <a:gd name="connsiteX1796" fmla="*/ 431755 w 946299"/>
                    <a:gd name="connsiteY1796" fmla="*/ 607815 h 657309"/>
                    <a:gd name="connsiteX1797" fmla="*/ 432021 w 946299"/>
                    <a:gd name="connsiteY1797" fmla="*/ 607511 h 657309"/>
                    <a:gd name="connsiteX1798" fmla="*/ 432435 w 946299"/>
                    <a:gd name="connsiteY1798" fmla="*/ 607038 h 657309"/>
                    <a:gd name="connsiteX1799" fmla="*/ 435604 w 946299"/>
                    <a:gd name="connsiteY1799" fmla="*/ 607718 h 657309"/>
                    <a:gd name="connsiteX1800" fmla="*/ 436235 w 946299"/>
                    <a:gd name="connsiteY1800" fmla="*/ 607851 h 657309"/>
                    <a:gd name="connsiteX1801" fmla="*/ 436879 w 946299"/>
                    <a:gd name="connsiteY1801" fmla="*/ 607851 h 657309"/>
                    <a:gd name="connsiteX1802" fmla="*/ 441359 w 946299"/>
                    <a:gd name="connsiteY1802" fmla="*/ 607827 h 657309"/>
                    <a:gd name="connsiteX1803" fmla="*/ 443084 w 946299"/>
                    <a:gd name="connsiteY1803" fmla="*/ 607815 h 657309"/>
                    <a:gd name="connsiteX1804" fmla="*/ 444541 w 946299"/>
                    <a:gd name="connsiteY1804" fmla="*/ 606904 h 657309"/>
                    <a:gd name="connsiteX1805" fmla="*/ 447006 w 946299"/>
                    <a:gd name="connsiteY1805" fmla="*/ 605374 h 657309"/>
                    <a:gd name="connsiteX1806" fmla="*/ 448536 w 946299"/>
                    <a:gd name="connsiteY1806" fmla="*/ 604415 h 657309"/>
                    <a:gd name="connsiteX1807" fmla="*/ 449301 w 946299"/>
                    <a:gd name="connsiteY1807" fmla="*/ 602763 h 657309"/>
                    <a:gd name="connsiteX1808" fmla="*/ 450333 w 946299"/>
                    <a:gd name="connsiteY1808" fmla="*/ 600529 h 657309"/>
                    <a:gd name="connsiteX1809" fmla="*/ 450892 w 946299"/>
                    <a:gd name="connsiteY1809" fmla="*/ 599315 h 657309"/>
                    <a:gd name="connsiteX1810" fmla="*/ 450892 w 946299"/>
                    <a:gd name="connsiteY1810" fmla="*/ 597979 h 657309"/>
                    <a:gd name="connsiteX1811" fmla="*/ 450892 w 946299"/>
                    <a:gd name="connsiteY1811" fmla="*/ 590657 h 657309"/>
                    <a:gd name="connsiteX1812" fmla="*/ 450892 w 946299"/>
                    <a:gd name="connsiteY1812" fmla="*/ 590220 h 657309"/>
                    <a:gd name="connsiteX1813" fmla="*/ 450831 w 946299"/>
                    <a:gd name="connsiteY1813" fmla="*/ 589783 h 657309"/>
                    <a:gd name="connsiteX1814" fmla="*/ 450503 w 946299"/>
                    <a:gd name="connsiteY1814" fmla="*/ 587488 h 657309"/>
                    <a:gd name="connsiteX1815" fmla="*/ 450430 w 946299"/>
                    <a:gd name="connsiteY1815" fmla="*/ 587002 h 657309"/>
                    <a:gd name="connsiteX1816" fmla="*/ 450272 w 946299"/>
                    <a:gd name="connsiteY1816" fmla="*/ 586528 h 657309"/>
                    <a:gd name="connsiteX1817" fmla="*/ 450078 w 946299"/>
                    <a:gd name="connsiteY1817" fmla="*/ 585933 h 657309"/>
                    <a:gd name="connsiteX1818" fmla="*/ 451984 w 946299"/>
                    <a:gd name="connsiteY1818" fmla="*/ 585399 h 657309"/>
                    <a:gd name="connsiteX1819" fmla="*/ 453235 w 946299"/>
                    <a:gd name="connsiteY1819" fmla="*/ 583687 h 657309"/>
                    <a:gd name="connsiteX1820" fmla="*/ 454717 w 946299"/>
                    <a:gd name="connsiteY1820" fmla="*/ 581647 h 657309"/>
                    <a:gd name="connsiteX1821" fmla="*/ 455263 w 946299"/>
                    <a:gd name="connsiteY1821" fmla="*/ 580906 h 657309"/>
                    <a:gd name="connsiteX1822" fmla="*/ 455555 w 946299"/>
                    <a:gd name="connsiteY1822" fmla="*/ 580044 h 657309"/>
                    <a:gd name="connsiteX1823" fmla="*/ 456465 w 946299"/>
                    <a:gd name="connsiteY1823" fmla="*/ 577372 h 657309"/>
                    <a:gd name="connsiteX1824" fmla="*/ 456696 w 946299"/>
                    <a:gd name="connsiteY1824" fmla="*/ 576705 h 657309"/>
                    <a:gd name="connsiteX1825" fmla="*/ 456769 w 946299"/>
                    <a:gd name="connsiteY1825" fmla="*/ 576000 h 657309"/>
                    <a:gd name="connsiteX1826" fmla="*/ 457291 w 946299"/>
                    <a:gd name="connsiteY1826" fmla="*/ 570694 h 657309"/>
                    <a:gd name="connsiteX1827" fmla="*/ 457740 w 946299"/>
                    <a:gd name="connsiteY1827" fmla="*/ 569152 h 657309"/>
                    <a:gd name="connsiteX1828" fmla="*/ 458724 w 946299"/>
                    <a:gd name="connsiteY1828" fmla="*/ 567136 h 657309"/>
                    <a:gd name="connsiteX1829" fmla="*/ 460144 w 946299"/>
                    <a:gd name="connsiteY1829" fmla="*/ 564938 h 657309"/>
                    <a:gd name="connsiteX1830" fmla="*/ 461031 w 946299"/>
                    <a:gd name="connsiteY1830" fmla="*/ 564040 h 657309"/>
                    <a:gd name="connsiteX1831" fmla="*/ 461371 w 946299"/>
                    <a:gd name="connsiteY1831" fmla="*/ 563942 h 657309"/>
                    <a:gd name="connsiteX1832" fmla="*/ 475348 w 946299"/>
                    <a:gd name="connsiteY1832" fmla="*/ 563797 h 657309"/>
                    <a:gd name="connsiteX1833" fmla="*/ 476756 w 946299"/>
                    <a:gd name="connsiteY1833" fmla="*/ 564331 h 657309"/>
                    <a:gd name="connsiteX1834" fmla="*/ 478662 w 946299"/>
                    <a:gd name="connsiteY1834" fmla="*/ 565873 h 657309"/>
                    <a:gd name="connsiteX1835" fmla="*/ 486822 w 946299"/>
                    <a:gd name="connsiteY1835" fmla="*/ 575976 h 657309"/>
                    <a:gd name="connsiteX1836" fmla="*/ 488899 w 946299"/>
                    <a:gd name="connsiteY1836" fmla="*/ 578550 h 657309"/>
                    <a:gd name="connsiteX1837" fmla="*/ 492190 w 946299"/>
                    <a:gd name="connsiteY1837" fmla="*/ 578198 h 657309"/>
                    <a:gd name="connsiteX1838" fmla="*/ 501151 w 946299"/>
                    <a:gd name="connsiteY1838" fmla="*/ 577251 h 657309"/>
                    <a:gd name="connsiteX1839" fmla="*/ 502596 w 946299"/>
                    <a:gd name="connsiteY1839" fmla="*/ 577105 h 657309"/>
                    <a:gd name="connsiteX1840" fmla="*/ 503823 w 946299"/>
                    <a:gd name="connsiteY1840" fmla="*/ 576316 h 657309"/>
                    <a:gd name="connsiteX1841" fmla="*/ 509141 w 946299"/>
                    <a:gd name="connsiteY1841" fmla="*/ 572867 h 657309"/>
                    <a:gd name="connsiteX1842" fmla="*/ 510222 w 946299"/>
                    <a:gd name="connsiteY1842" fmla="*/ 573875 h 657309"/>
                    <a:gd name="connsiteX1843" fmla="*/ 511084 w 946299"/>
                    <a:gd name="connsiteY1843" fmla="*/ 574677 h 657309"/>
                    <a:gd name="connsiteX1844" fmla="*/ 512517 w 946299"/>
                    <a:gd name="connsiteY1844" fmla="*/ 576000 h 657309"/>
                    <a:gd name="connsiteX1845" fmla="*/ 514460 w 946299"/>
                    <a:gd name="connsiteY1845" fmla="*/ 576243 h 657309"/>
                    <a:gd name="connsiteX1846" fmla="*/ 516524 w 946299"/>
                    <a:gd name="connsiteY1846" fmla="*/ 576498 h 657309"/>
                    <a:gd name="connsiteX1847" fmla="*/ 516840 w 946299"/>
                    <a:gd name="connsiteY1847" fmla="*/ 576535 h 657309"/>
                    <a:gd name="connsiteX1848" fmla="*/ 517168 w 946299"/>
                    <a:gd name="connsiteY1848" fmla="*/ 576535 h 657309"/>
                    <a:gd name="connsiteX1849" fmla="*/ 519147 w 946299"/>
                    <a:gd name="connsiteY1849" fmla="*/ 576559 h 657309"/>
                    <a:gd name="connsiteX1850" fmla="*/ 520592 w 946299"/>
                    <a:gd name="connsiteY1850" fmla="*/ 577081 h 657309"/>
                    <a:gd name="connsiteX1851" fmla="*/ 521733 w 946299"/>
                    <a:gd name="connsiteY1851" fmla="*/ 577870 h 657309"/>
                    <a:gd name="connsiteX1852" fmla="*/ 522462 w 946299"/>
                    <a:gd name="connsiteY1852" fmla="*/ 579291 h 657309"/>
                    <a:gd name="connsiteX1853" fmla="*/ 524162 w 946299"/>
                    <a:gd name="connsiteY1853" fmla="*/ 593098 h 657309"/>
                    <a:gd name="connsiteX1854" fmla="*/ 524284 w 946299"/>
                    <a:gd name="connsiteY1854" fmla="*/ 594081 h 657309"/>
                    <a:gd name="connsiteX1855" fmla="*/ 524709 w 946299"/>
                    <a:gd name="connsiteY1855" fmla="*/ 594968 h 657309"/>
                    <a:gd name="connsiteX1856" fmla="*/ 526251 w 946299"/>
                    <a:gd name="connsiteY1856" fmla="*/ 598210 h 657309"/>
                    <a:gd name="connsiteX1857" fmla="*/ 526639 w 946299"/>
                    <a:gd name="connsiteY1857" fmla="*/ 599048 h 657309"/>
                    <a:gd name="connsiteX1858" fmla="*/ 527283 w 946299"/>
                    <a:gd name="connsiteY1858" fmla="*/ 599728 h 657309"/>
                    <a:gd name="connsiteX1859" fmla="*/ 529372 w 946299"/>
                    <a:gd name="connsiteY1859" fmla="*/ 601974 h 657309"/>
                    <a:gd name="connsiteX1860" fmla="*/ 529687 w 946299"/>
                    <a:gd name="connsiteY1860" fmla="*/ 602314 h 657309"/>
                    <a:gd name="connsiteX1861" fmla="*/ 530052 w 946299"/>
                    <a:gd name="connsiteY1861" fmla="*/ 602606 h 657309"/>
                    <a:gd name="connsiteX1862" fmla="*/ 533439 w 946299"/>
                    <a:gd name="connsiteY1862" fmla="*/ 605277 h 657309"/>
                    <a:gd name="connsiteX1863" fmla="*/ 534581 w 946299"/>
                    <a:gd name="connsiteY1863" fmla="*/ 606176 h 657309"/>
                    <a:gd name="connsiteX1864" fmla="*/ 535989 w 946299"/>
                    <a:gd name="connsiteY1864" fmla="*/ 606467 h 657309"/>
                    <a:gd name="connsiteX1865" fmla="*/ 539669 w 946299"/>
                    <a:gd name="connsiteY1865" fmla="*/ 607208 h 657309"/>
                    <a:gd name="connsiteX1866" fmla="*/ 540410 w 946299"/>
                    <a:gd name="connsiteY1866" fmla="*/ 607354 h 657309"/>
                    <a:gd name="connsiteX1867" fmla="*/ 541162 w 946299"/>
                    <a:gd name="connsiteY1867" fmla="*/ 607317 h 657309"/>
                    <a:gd name="connsiteX1868" fmla="*/ 544332 w 946299"/>
                    <a:gd name="connsiteY1868" fmla="*/ 607171 h 657309"/>
                    <a:gd name="connsiteX1869" fmla="*/ 545850 w 946299"/>
                    <a:gd name="connsiteY1869" fmla="*/ 607098 h 657309"/>
                    <a:gd name="connsiteX1870" fmla="*/ 547149 w 946299"/>
                    <a:gd name="connsiteY1870" fmla="*/ 606321 h 657309"/>
                    <a:gd name="connsiteX1871" fmla="*/ 549990 w 946299"/>
                    <a:gd name="connsiteY1871" fmla="*/ 604621 h 657309"/>
                    <a:gd name="connsiteX1872" fmla="*/ 555175 w 946299"/>
                    <a:gd name="connsiteY1872" fmla="*/ 606625 h 657309"/>
                    <a:gd name="connsiteX1873" fmla="*/ 555964 w 946299"/>
                    <a:gd name="connsiteY1873" fmla="*/ 606928 h 657309"/>
                    <a:gd name="connsiteX1874" fmla="*/ 556814 w 946299"/>
                    <a:gd name="connsiteY1874" fmla="*/ 607001 h 657309"/>
                    <a:gd name="connsiteX1875" fmla="*/ 558599 w 946299"/>
                    <a:gd name="connsiteY1875" fmla="*/ 607159 h 657309"/>
                    <a:gd name="connsiteX1876" fmla="*/ 559146 w 946299"/>
                    <a:gd name="connsiteY1876" fmla="*/ 611628 h 657309"/>
                    <a:gd name="connsiteX1877" fmla="*/ 559134 w 946299"/>
                    <a:gd name="connsiteY1877" fmla="*/ 611701 h 657309"/>
                    <a:gd name="connsiteX1878" fmla="*/ 559037 w 946299"/>
                    <a:gd name="connsiteY1878" fmla="*/ 611919 h 657309"/>
                    <a:gd name="connsiteX1879" fmla="*/ 554738 w 946299"/>
                    <a:gd name="connsiteY1879" fmla="*/ 616679 h 657309"/>
                    <a:gd name="connsiteX1880" fmla="*/ 553548 w 946299"/>
                    <a:gd name="connsiteY1880" fmla="*/ 617991 h 657309"/>
                    <a:gd name="connsiteX1881" fmla="*/ 553257 w 946299"/>
                    <a:gd name="connsiteY1881" fmla="*/ 619739 h 657309"/>
                    <a:gd name="connsiteX1882" fmla="*/ 552977 w 946299"/>
                    <a:gd name="connsiteY1882" fmla="*/ 621439 h 657309"/>
                    <a:gd name="connsiteX1883" fmla="*/ 552674 w 946299"/>
                    <a:gd name="connsiteY1883" fmla="*/ 623285 h 657309"/>
                    <a:gd name="connsiteX1884" fmla="*/ 553451 w 946299"/>
                    <a:gd name="connsiteY1884" fmla="*/ 624985 h 657309"/>
                    <a:gd name="connsiteX1885" fmla="*/ 554471 w 946299"/>
                    <a:gd name="connsiteY1885" fmla="*/ 627195 h 657309"/>
                    <a:gd name="connsiteX1886" fmla="*/ 555321 w 946299"/>
                    <a:gd name="connsiteY1886" fmla="*/ 629053 h 657309"/>
                    <a:gd name="connsiteX1887" fmla="*/ 557118 w 946299"/>
                    <a:gd name="connsiteY1887" fmla="*/ 630012 h 657309"/>
                    <a:gd name="connsiteX1888" fmla="*/ 571471 w 946299"/>
                    <a:gd name="connsiteY1888" fmla="*/ 637650 h 657309"/>
                    <a:gd name="connsiteX1889" fmla="*/ 582582 w 946299"/>
                    <a:gd name="connsiteY1889" fmla="*/ 646004 h 657309"/>
                    <a:gd name="connsiteX1890" fmla="*/ 582934 w 946299"/>
                    <a:gd name="connsiteY1890" fmla="*/ 646271 h 657309"/>
                    <a:gd name="connsiteX1891" fmla="*/ 583310 w 946299"/>
                    <a:gd name="connsiteY1891" fmla="*/ 646478 h 657309"/>
                    <a:gd name="connsiteX1892" fmla="*/ 587500 w 946299"/>
                    <a:gd name="connsiteY1892" fmla="*/ 648773 h 657309"/>
                    <a:gd name="connsiteX1893" fmla="*/ 589625 w 946299"/>
                    <a:gd name="connsiteY1893" fmla="*/ 649939 h 657309"/>
                    <a:gd name="connsiteX1894" fmla="*/ 591968 w 946299"/>
                    <a:gd name="connsiteY1894" fmla="*/ 649319 h 657309"/>
                    <a:gd name="connsiteX1895" fmla="*/ 594033 w 946299"/>
                    <a:gd name="connsiteY1895" fmla="*/ 648773 h 657309"/>
                    <a:gd name="connsiteX1896" fmla="*/ 596133 w 946299"/>
                    <a:gd name="connsiteY1896" fmla="*/ 648214 h 657309"/>
                    <a:gd name="connsiteX1897" fmla="*/ 597396 w 946299"/>
                    <a:gd name="connsiteY1897" fmla="*/ 646442 h 657309"/>
                    <a:gd name="connsiteX1898" fmla="*/ 598720 w 946299"/>
                    <a:gd name="connsiteY1898" fmla="*/ 644596 h 657309"/>
                    <a:gd name="connsiteX1899" fmla="*/ 599072 w 946299"/>
                    <a:gd name="connsiteY1899" fmla="*/ 644110 h 657309"/>
                    <a:gd name="connsiteX1900" fmla="*/ 599327 w 946299"/>
                    <a:gd name="connsiteY1900" fmla="*/ 643564 h 657309"/>
                    <a:gd name="connsiteX1901" fmla="*/ 600298 w 946299"/>
                    <a:gd name="connsiteY1901" fmla="*/ 641414 h 657309"/>
                    <a:gd name="connsiteX1902" fmla="*/ 600651 w 946299"/>
                    <a:gd name="connsiteY1902" fmla="*/ 640625 h 657309"/>
                    <a:gd name="connsiteX1903" fmla="*/ 600784 w 946299"/>
                    <a:gd name="connsiteY1903" fmla="*/ 639763 h 657309"/>
                    <a:gd name="connsiteX1904" fmla="*/ 601076 w 946299"/>
                    <a:gd name="connsiteY1904" fmla="*/ 637699 h 657309"/>
                    <a:gd name="connsiteX1905" fmla="*/ 601221 w 946299"/>
                    <a:gd name="connsiteY1905" fmla="*/ 636654 h 657309"/>
                    <a:gd name="connsiteX1906" fmla="*/ 601027 w 946299"/>
                    <a:gd name="connsiteY1906" fmla="*/ 635707 h 657309"/>
                    <a:gd name="connsiteX1907" fmla="*/ 602812 w 946299"/>
                    <a:gd name="connsiteY1907" fmla="*/ 634444 h 657309"/>
                    <a:gd name="connsiteX1908" fmla="*/ 605459 w 946299"/>
                    <a:gd name="connsiteY1908" fmla="*/ 632574 h 657309"/>
                    <a:gd name="connsiteX1909" fmla="*/ 605374 w 946299"/>
                    <a:gd name="connsiteY1909" fmla="*/ 629332 h 657309"/>
                    <a:gd name="connsiteX1910" fmla="*/ 605216 w 946299"/>
                    <a:gd name="connsiteY1910" fmla="*/ 623248 h 657309"/>
                    <a:gd name="connsiteX1911" fmla="*/ 606430 w 946299"/>
                    <a:gd name="connsiteY1911" fmla="*/ 618428 h 657309"/>
                    <a:gd name="connsiteX1912" fmla="*/ 606904 w 946299"/>
                    <a:gd name="connsiteY1912" fmla="*/ 617833 h 657309"/>
                    <a:gd name="connsiteX1913" fmla="*/ 612526 w 946299"/>
                    <a:gd name="connsiteY1913" fmla="*/ 613291 h 657309"/>
                    <a:gd name="connsiteX1914" fmla="*/ 612769 w 946299"/>
                    <a:gd name="connsiteY1914" fmla="*/ 613097 h 657309"/>
                    <a:gd name="connsiteX1915" fmla="*/ 613000 w 946299"/>
                    <a:gd name="connsiteY1915" fmla="*/ 612878 h 657309"/>
                    <a:gd name="connsiteX1916" fmla="*/ 620456 w 946299"/>
                    <a:gd name="connsiteY1916" fmla="*/ 605508 h 657309"/>
                    <a:gd name="connsiteX1917" fmla="*/ 620820 w 946299"/>
                    <a:gd name="connsiteY1917" fmla="*/ 605508 h 657309"/>
                    <a:gd name="connsiteX1918" fmla="*/ 623734 w 946299"/>
                    <a:gd name="connsiteY1918" fmla="*/ 606710 h 657309"/>
                    <a:gd name="connsiteX1919" fmla="*/ 627049 w 946299"/>
                    <a:gd name="connsiteY1919" fmla="*/ 608507 h 657309"/>
                    <a:gd name="connsiteX1920" fmla="*/ 628324 w 946299"/>
                    <a:gd name="connsiteY1920" fmla="*/ 609187 h 657309"/>
                    <a:gd name="connsiteX1921" fmla="*/ 629769 w 946299"/>
                    <a:gd name="connsiteY1921" fmla="*/ 609211 h 657309"/>
                    <a:gd name="connsiteX1922" fmla="*/ 633060 w 946299"/>
                    <a:gd name="connsiteY1922" fmla="*/ 609272 h 657309"/>
                    <a:gd name="connsiteX1923" fmla="*/ 633861 w 946299"/>
                    <a:gd name="connsiteY1923" fmla="*/ 609284 h 657309"/>
                    <a:gd name="connsiteX1924" fmla="*/ 634638 w 946299"/>
                    <a:gd name="connsiteY1924" fmla="*/ 609090 h 657309"/>
                    <a:gd name="connsiteX1925" fmla="*/ 638209 w 946299"/>
                    <a:gd name="connsiteY1925" fmla="*/ 608203 h 657309"/>
                    <a:gd name="connsiteX1926" fmla="*/ 639836 w 946299"/>
                    <a:gd name="connsiteY1926" fmla="*/ 608203 h 657309"/>
                    <a:gd name="connsiteX1927" fmla="*/ 641293 w 946299"/>
                    <a:gd name="connsiteY1927" fmla="*/ 608203 h 657309"/>
                    <a:gd name="connsiteX1928" fmla="*/ 642592 w 946299"/>
                    <a:gd name="connsiteY1928" fmla="*/ 607536 h 657309"/>
                    <a:gd name="connsiteX1929" fmla="*/ 647401 w 946299"/>
                    <a:gd name="connsiteY1929" fmla="*/ 605071 h 657309"/>
                    <a:gd name="connsiteX1930" fmla="*/ 649307 w 946299"/>
                    <a:gd name="connsiteY1930" fmla="*/ 604087 h 657309"/>
                    <a:gd name="connsiteX1931" fmla="*/ 650181 w 946299"/>
                    <a:gd name="connsiteY1931" fmla="*/ 602120 h 657309"/>
                    <a:gd name="connsiteX1932" fmla="*/ 650704 w 946299"/>
                    <a:gd name="connsiteY1932" fmla="*/ 600930 h 657309"/>
                    <a:gd name="connsiteX1933" fmla="*/ 651299 w 946299"/>
                    <a:gd name="connsiteY1933" fmla="*/ 601258 h 657309"/>
                    <a:gd name="connsiteX1934" fmla="*/ 656860 w 946299"/>
                    <a:gd name="connsiteY1934" fmla="*/ 605617 h 657309"/>
                    <a:gd name="connsiteX1935" fmla="*/ 657734 w 946299"/>
                    <a:gd name="connsiteY1935" fmla="*/ 606309 h 657309"/>
                    <a:gd name="connsiteX1936" fmla="*/ 658803 w 946299"/>
                    <a:gd name="connsiteY1936" fmla="*/ 606637 h 657309"/>
                    <a:gd name="connsiteX1937" fmla="*/ 673217 w 946299"/>
                    <a:gd name="connsiteY1937" fmla="*/ 611130 h 657309"/>
                    <a:gd name="connsiteX1938" fmla="*/ 678730 w 946299"/>
                    <a:gd name="connsiteY1938" fmla="*/ 612854 h 657309"/>
                    <a:gd name="connsiteX1939" fmla="*/ 680721 w 946299"/>
                    <a:gd name="connsiteY1939" fmla="*/ 607426 h 657309"/>
                    <a:gd name="connsiteX1940" fmla="*/ 681109 w 946299"/>
                    <a:gd name="connsiteY1940" fmla="*/ 606358 h 657309"/>
                    <a:gd name="connsiteX1941" fmla="*/ 681583 w 946299"/>
                    <a:gd name="connsiteY1941" fmla="*/ 605058 h 657309"/>
                    <a:gd name="connsiteX1942" fmla="*/ 681437 w 946299"/>
                    <a:gd name="connsiteY1942" fmla="*/ 603674 h 657309"/>
                    <a:gd name="connsiteX1943" fmla="*/ 681170 w 946299"/>
                    <a:gd name="connsiteY1943" fmla="*/ 600881 h 657309"/>
                    <a:gd name="connsiteX1944" fmla="*/ 681826 w 946299"/>
                    <a:gd name="connsiteY1944" fmla="*/ 599971 h 657309"/>
                    <a:gd name="connsiteX1945" fmla="*/ 684595 w 946299"/>
                    <a:gd name="connsiteY1945" fmla="*/ 596000 h 657309"/>
                    <a:gd name="connsiteX1946" fmla="*/ 686550 w 946299"/>
                    <a:gd name="connsiteY1946" fmla="*/ 596498 h 657309"/>
                    <a:gd name="connsiteX1947" fmla="*/ 695900 w 946299"/>
                    <a:gd name="connsiteY1947" fmla="*/ 600140 h 657309"/>
                    <a:gd name="connsiteX1948" fmla="*/ 696592 w 946299"/>
                    <a:gd name="connsiteY1948" fmla="*/ 600408 h 657309"/>
                    <a:gd name="connsiteX1949" fmla="*/ 697321 w 946299"/>
                    <a:gd name="connsiteY1949" fmla="*/ 600505 h 657309"/>
                    <a:gd name="connsiteX1950" fmla="*/ 700477 w 946299"/>
                    <a:gd name="connsiteY1950" fmla="*/ 600918 h 657309"/>
                    <a:gd name="connsiteX1951" fmla="*/ 701983 w 946299"/>
                    <a:gd name="connsiteY1951" fmla="*/ 601124 h 657309"/>
                    <a:gd name="connsiteX1952" fmla="*/ 703404 w 946299"/>
                    <a:gd name="connsiteY1952" fmla="*/ 600590 h 657309"/>
                    <a:gd name="connsiteX1953" fmla="*/ 705699 w 946299"/>
                    <a:gd name="connsiteY1953" fmla="*/ 599728 h 657309"/>
                    <a:gd name="connsiteX1954" fmla="*/ 707156 w 946299"/>
                    <a:gd name="connsiteY1954" fmla="*/ 599193 h 657309"/>
                    <a:gd name="connsiteX1955" fmla="*/ 708164 w 946299"/>
                    <a:gd name="connsiteY1955" fmla="*/ 598015 h 657309"/>
                    <a:gd name="connsiteX1956" fmla="*/ 709658 w 946299"/>
                    <a:gd name="connsiteY1956" fmla="*/ 596291 h 657309"/>
                    <a:gd name="connsiteX1957" fmla="*/ 710957 w 946299"/>
                    <a:gd name="connsiteY1957" fmla="*/ 594786 h 657309"/>
                    <a:gd name="connsiteX1958" fmla="*/ 711115 w 946299"/>
                    <a:gd name="connsiteY1958" fmla="*/ 592794 h 657309"/>
                    <a:gd name="connsiteX1959" fmla="*/ 711406 w 946299"/>
                    <a:gd name="connsiteY1959" fmla="*/ 589115 h 657309"/>
                    <a:gd name="connsiteX1960" fmla="*/ 711977 w 946299"/>
                    <a:gd name="connsiteY1960" fmla="*/ 586832 h 657309"/>
                    <a:gd name="connsiteX1961" fmla="*/ 714394 w 946299"/>
                    <a:gd name="connsiteY1961" fmla="*/ 580214 h 657309"/>
                    <a:gd name="connsiteX1962" fmla="*/ 714843 w 946299"/>
                    <a:gd name="connsiteY1962" fmla="*/ 578975 h 657309"/>
                    <a:gd name="connsiteX1963" fmla="*/ 714721 w 946299"/>
                    <a:gd name="connsiteY1963" fmla="*/ 577664 h 657309"/>
                    <a:gd name="connsiteX1964" fmla="*/ 714284 w 946299"/>
                    <a:gd name="connsiteY1964" fmla="*/ 572345 h 657309"/>
                    <a:gd name="connsiteX1965" fmla="*/ 716130 w 946299"/>
                    <a:gd name="connsiteY1965" fmla="*/ 564124 h 657309"/>
                    <a:gd name="connsiteX1966" fmla="*/ 716348 w 946299"/>
                    <a:gd name="connsiteY1966" fmla="*/ 563177 h 657309"/>
                    <a:gd name="connsiteX1967" fmla="*/ 716263 w 946299"/>
                    <a:gd name="connsiteY1967" fmla="*/ 562218 h 657309"/>
                    <a:gd name="connsiteX1968" fmla="*/ 715984 w 946299"/>
                    <a:gd name="connsiteY1968" fmla="*/ 559207 h 657309"/>
                    <a:gd name="connsiteX1969" fmla="*/ 715887 w 946299"/>
                    <a:gd name="connsiteY1969" fmla="*/ 558175 h 657309"/>
                    <a:gd name="connsiteX1970" fmla="*/ 715474 w 946299"/>
                    <a:gd name="connsiteY1970" fmla="*/ 557276 h 657309"/>
                    <a:gd name="connsiteX1971" fmla="*/ 716397 w 946299"/>
                    <a:gd name="connsiteY1971" fmla="*/ 556171 h 657309"/>
                    <a:gd name="connsiteX1972" fmla="*/ 716761 w 946299"/>
                    <a:gd name="connsiteY1972" fmla="*/ 555722 h 657309"/>
                    <a:gd name="connsiteX1973" fmla="*/ 717041 w 946299"/>
                    <a:gd name="connsiteY1973" fmla="*/ 555212 h 657309"/>
                    <a:gd name="connsiteX1974" fmla="*/ 720040 w 946299"/>
                    <a:gd name="connsiteY1974" fmla="*/ 549699 h 657309"/>
                    <a:gd name="connsiteX1975" fmla="*/ 721521 w 946299"/>
                    <a:gd name="connsiteY1975" fmla="*/ 547671 h 657309"/>
                    <a:gd name="connsiteX1976" fmla="*/ 721728 w 946299"/>
                    <a:gd name="connsiteY1976" fmla="*/ 547404 h 657309"/>
                    <a:gd name="connsiteX1977" fmla="*/ 721898 w 946299"/>
                    <a:gd name="connsiteY1977" fmla="*/ 547112 h 657309"/>
                    <a:gd name="connsiteX1978" fmla="*/ 723282 w 946299"/>
                    <a:gd name="connsiteY1978" fmla="*/ 544720 h 657309"/>
                    <a:gd name="connsiteX1979" fmla="*/ 723804 w 946299"/>
                    <a:gd name="connsiteY1979" fmla="*/ 543809 h 657309"/>
                    <a:gd name="connsiteX1980" fmla="*/ 723998 w 946299"/>
                    <a:gd name="connsiteY1980" fmla="*/ 542789 h 657309"/>
                    <a:gd name="connsiteX1981" fmla="*/ 724460 w 946299"/>
                    <a:gd name="connsiteY1981" fmla="*/ 540300 h 657309"/>
                    <a:gd name="connsiteX1982" fmla="*/ 724594 w 946299"/>
                    <a:gd name="connsiteY1982" fmla="*/ 539632 h 657309"/>
                    <a:gd name="connsiteX1983" fmla="*/ 724569 w 946299"/>
                    <a:gd name="connsiteY1983" fmla="*/ 538952 h 657309"/>
                    <a:gd name="connsiteX1984" fmla="*/ 723792 w 946299"/>
                    <a:gd name="connsiteY1984" fmla="*/ 518394 h 657309"/>
                    <a:gd name="connsiteX1985" fmla="*/ 724229 w 946299"/>
                    <a:gd name="connsiteY1985" fmla="*/ 516597 h 657309"/>
                    <a:gd name="connsiteX1986" fmla="*/ 725043 w 946299"/>
                    <a:gd name="connsiteY1986" fmla="*/ 514606 h 657309"/>
                    <a:gd name="connsiteX1987" fmla="*/ 728613 w 946299"/>
                    <a:gd name="connsiteY1987" fmla="*/ 509591 h 657309"/>
                    <a:gd name="connsiteX1988" fmla="*/ 732341 w 946299"/>
                    <a:gd name="connsiteY1988" fmla="*/ 505802 h 657309"/>
                    <a:gd name="connsiteX1989" fmla="*/ 733373 w 946299"/>
                    <a:gd name="connsiteY1989" fmla="*/ 505025 h 657309"/>
                    <a:gd name="connsiteX1990" fmla="*/ 737173 w 946299"/>
                    <a:gd name="connsiteY1990" fmla="*/ 503641 h 657309"/>
                    <a:gd name="connsiteX1991" fmla="*/ 737586 w 946299"/>
                    <a:gd name="connsiteY1991" fmla="*/ 503665 h 657309"/>
                    <a:gd name="connsiteX1992" fmla="*/ 741108 w 946299"/>
                    <a:gd name="connsiteY1992" fmla="*/ 505061 h 657309"/>
                    <a:gd name="connsiteX1993" fmla="*/ 742650 w 946299"/>
                    <a:gd name="connsiteY1993" fmla="*/ 505668 h 657309"/>
                    <a:gd name="connsiteX1994" fmla="*/ 744301 w 946299"/>
                    <a:gd name="connsiteY1994" fmla="*/ 505413 h 657309"/>
                    <a:gd name="connsiteX1995" fmla="*/ 745613 w 946299"/>
                    <a:gd name="connsiteY1995" fmla="*/ 505207 h 657309"/>
                    <a:gd name="connsiteX1996" fmla="*/ 748576 w 946299"/>
                    <a:gd name="connsiteY1996" fmla="*/ 504733 h 657309"/>
                    <a:gd name="connsiteX1997" fmla="*/ 750009 w 946299"/>
                    <a:gd name="connsiteY1997" fmla="*/ 502086 h 657309"/>
                    <a:gd name="connsiteX1998" fmla="*/ 750883 w 946299"/>
                    <a:gd name="connsiteY1998" fmla="*/ 500459 h 657309"/>
                    <a:gd name="connsiteX1999" fmla="*/ 751259 w 946299"/>
                    <a:gd name="connsiteY1999" fmla="*/ 499743 h 657309"/>
                    <a:gd name="connsiteX2000" fmla="*/ 751453 w 946299"/>
                    <a:gd name="connsiteY2000" fmla="*/ 498953 h 657309"/>
                    <a:gd name="connsiteX2001" fmla="*/ 754198 w 946299"/>
                    <a:gd name="connsiteY2001" fmla="*/ 487235 h 657309"/>
                    <a:gd name="connsiteX2002" fmla="*/ 754271 w 946299"/>
                    <a:gd name="connsiteY2002" fmla="*/ 486908 h 657309"/>
                    <a:gd name="connsiteX2003" fmla="*/ 754307 w 946299"/>
                    <a:gd name="connsiteY2003" fmla="*/ 486580 h 657309"/>
                    <a:gd name="connsiteX2004" fmla="*/ 754684 w 946299"/>
                    <a:gd name="connsiteY2004" fmla="*/ 483447 h 657309"/>
                    <a:gd name="connsiteX2005" fmla="*/ 755643 w 946299"/>
                    <a:gd name="connsiteY2005" fmla="*/ 480642 h 657309"/>
                    <a:gd name="connsiteX2006" fmla="*/ 755789 w 946299"/>
                    <a:gd name="connsiteY2006" fmla="*/ 480605 h 657309"/>
                    <a:gd name="connsiteX2007" fmla="*/ 759274 w 946299"/>
                    <a:gd name="connsiteY2007" fmla="*/ 480435 h 657309"/>
                    <a:gd name="connsiteX2008" fmla="*/ 760294 w 946299"/>
                    <a:gd name="connsiteY2008" fmla="*/ 480387 h 657309"/>
                    <a:gd name="connsiteX2009" fmla="*/ 761241 w 946299"/>
                    <a:gd name="connsiteY2009" fmla="*/ 480010 h 657309"/>
                    <a:gd name="connsiteX2010" fmla="*/ 762079 w 946299"/>
                    <a:gd name="connsiteY2010" fmla="*/ 479670 h 657309"/>
                    <a:gd name="connsiteX2011" fmla="*/ 762601 w 946299"/>
                    <a:gd name="connsiteY2011" fmla="*/ 479464 h 657309"/>
                    <a:gd name="connsiteX2012" fmla="*/ 763026 w 946299"/>
                    <a:gd name="connsiteY2012" fmla="*/ 479197 h 657309"/>
                    <a:gd name="connsiteX2013" fmla="*/ 763317 w 946299"/>
                    <a:gd name="connsiteY2013" fmla="*/ 479367 h 657309"/>
                    <a:gd name="connsiteX2014" fmla="*/ 763633 w 946299"/>
                    <a:gd name="connsiteY2014" fmla="*/ 479549 h 657309"/>
                    <a:gd name="connsiteX2015" fmla="*/ 763973 w 946299"/>
                    <a:gd name="connsiteY2015" fmla="*/ 479683 h 657309"/>
                    <a:gd name="connsiteX2016" fmla="*/ 766960 w 946299"/>
                    <a:gd name="connsiteY2016" fmla="*/ 480885 h 657309"/>
                    <a:gd name="connsiteX2017" fmla="*/ 767434 w 946299"/>
                    <a:gd name="connsiteY2017" fmla="*/ 481079 h 657309"/>
                    <a:gd name="connsiteX2018" fmla="*/ 767944 w 946299"/>
                    <a:gd name="connsiteY2018" fmla="*/ 481188 h 657309"/>
                    <a:gd name="connsiteX2019" fmla="*/ 770640 w 946299"/>
                    <a:gd name="connsiteY2019" fmla="*/ 481771 h 657309"/>
                    <a:gd name="connsiteX2020" fmla="*/ 772655 w 946299"/>
                    <a:gd name="connsiteY2020" fmla="*/ 482208 h 657309"/>
                    <a:gd name="connsiteX2021" fmla="*/ 774525 w 946299"/>
                    <a:gd name="connsiteY2021" fmla="*/ 481322 h 657309"/>
                    <a:gd name="connsiteX2022" fmla="*/ 777694 w 946299"/>
                    <a:gd name="connsiteY2022" fmla="*/ 479816 h 657309"/>
                    <a:gd name="connsiteX2023" fmla="*/ 779722 w 946299"/>
                    <a:gd name="connsiteY2023" fmla="*/ 478845 h 657309"/>
                    <a:gd name="connsiteX2024" fmla="*/ 780633 w 946299"/>
                    <a:gd name="connsiteY2024" fmla="*/ 476792 h 657309"/>
                    <a:gd name="connsiteX2025" fmla="*/ 781847 w 946299"/>
                    <a:gd name="connsiteY2025" fmla="*/ 474072 h 657309"/>
                    <a:gd name="connsiteX2026" fmla="*/ 782102 w 946299"/>
                    <a:gd name="connsiteY2026" fmla="*/ 473502 h 657309"/>
                    <a:gd name="connsiteX2027" fmla="*/ 782236 w 946299"/>
                    <a:gd name="connsiteY2027" fmla="*/ 472883 h 657309"/>
                    <a:gd name="connsiteX2028" fmla="*/ 783013 w 946299"/>
                    <a:gd name="connsiteY2028" fmla="*/ 469228 h 657309"/>
                    <a:gd name="connsiteX2029" fmla="*/ 784009 w 946299"/>
                    <a:gd name="connsiteY2029" fmla="*/ 468645 h 657309"/>
                    <a:gd name="connsiteX2030" fmla="*/ 786680 w 946299"/>
                    <a:gd name="connsiteY2030" fmla="*/ 467078 h 657309"/>
                    <a:gd name="connsiteX2031" fmla="*/ 786984 w 946299"/>
                    <a:gd name="connsiteY2031" fmla="*/ 464006 h 657309"/>
                    <a:gd name="connsiteX2032" fmla="*/ 787105 w 946299"/>
                    <a:gd name="connsiteY2032" fmla="*/ 462804 h 657309"/>
                    <a:gd name="connsiteX2033" fmla="*/ 787518 w 946299"/>
                    <a:gd name="connsiteY2033" fmla="*/ 461213 h 657309"/>
                    <a:gd name="connsiteX2034" fmla="*/ 788684 w 946299"/>
                    <a:gd name="connsiteY2034" fmla="*/ 459161 h 657309"/>
                    <a:gd name="connsiteX2035" fmla="*/ 794136 w 946299"/>
                    <a:gd name="connsiteY2035" fmla="*/ 454474 h 657309"/>
                    <a:gd name="connsiteX2036" fmla="*/ 794136 w 946299"/>
                    <a:gd name="connsiteY2036" fmla="*/ 454474 h 657309"/>
                    <a:gd name="connsiteX2037" fmla="*/ 795982 w 946299"/>
                    <a:gd name="connsiteY2037" fmla="*/ 454753 h 657309"/>
                    <a:gd name="connsiteX2038" fmla="*/ 797038 w 946299"/>
                    <a:gd name="connsiteY2038" fmla="*/ 454911 h 657309"/>
                    <a:gd name="connsiteX2039" fmla="*/ 797269 w 946299"/>
                    <a:gd name="connsiteY2039" fmla="*/ 455020 h 657309"/>
                    <a:gd name="connsiteX2040" fmla="*/ 798338 w 946299"/>
                    <a:gd name="connsiteY2040" fmla="*/ 455773 h 657309"/>
                    <a:gd name="connsiteX2041" fmla="*/ 799564 w 946299"/>
                    <a:gd name="connsiteY2041" fmla="*/ 457352 h 657309"/>
                    <a:gd name="connsiteX2042" fmla="*/ 800620 w 946299"/>
                    <a:gd name="connsiteY2042" fmla="*/ 459428 h 657309"/>
                    <a:gd name="connsiteX2043" fmla="*/ 801009 w 946299"/>
                    <a:gd name="connsiteY2043" fmla="*/ 460217 h 657309"/>
                    <a:gd name="connsiteX2044" fmla="*/ 801616 w 946299"/>
                    <a:gd name="connsiteY2044" fmla="*/ 460861 h 657309"/>
                    <a:gd name="connsiteX2045" fmla="*/ 803498 w 946299"/>
                    <a:gd name="connsiteY2045" fmla="*/ 462865 h 657309"/>
                    <a:gd name="connsiteX2046" fmla="*/ 804810 w 946299"/>
                    <a:gd name="connsiteY2046" fmla="*/ 464261 h 657309"/>
                    <a:gd name="connsiteX2047" fmla="*/ 806692 w 946299"/>
                    <a:gd name="connsiteY2047" fmla="*/ 464650 h 657309"/>
                    <a:gd name="connsiteX2048" fmla="*/ 817426 w 946299"/>
                    <a:gd name="connsiteY2048" fmla="*/ 466847 h 657309"/>
                    <a:gd name="connsiteX2049" fmla="*/ 820863 w 946299"/>
                    <a:gd name="connsiteY2049" fmla="*/ 468450 h 657309"/>
                    <a:gd name="connsiteX2050" fmla="*/ 822514 w 946299"/>
                    <a:gd name="connsiteY2050" fmla="*/ 469228 h 657309"/>
                    <a:gd name="connsiteX2051" fmla="*/ 824323 w 946299"/>
                    <a:gd name="connsiteY2051" fmla="*/ 468960 h 657309"/>
                    <a:gd name="connsiteX2052" fmla="*/ 831767 w 946299"/>
                    <a:gd name="connsiteY2052" fmla="*/ 467855 h 657309"/>
                    <a:gd name="connsiteX2053" fmla="*/ 834390 w 946299"/>
                    <a:gd name="connsiteY2053" fmla="*/ 468280 h 657309"/>
                    <a:gd name="connsiteX2054" fmla="*/ 835143 w 946299"/>
                    <a:gd name="connsiteY2054" fmla="*/ 468632 h 657309"/>
                    <a:gd name="connsiteX2055" fmla="*/ 835969 w 946299"/>
                    <a:gd name="connsiteY2055" fmla="*/ 469203 h 657309"/>
                    <a:gd name="connsiteX2056" fmla="*/ 836297 w 946299"/>
                    <a:gd name="connsiteY2056" fmla="*/ 469604 h 657309"/>
                    <a:gd name="connsiteX2057" fmla="*/ 836855 w 946299"/>
                    <a:gd name="connsiteY2057" fmla="*/ 471207 h 657309"/>
                    <a:gd name="connsiteX2058" fmla="*/ 840097 w 946299"/>
                    <a:gd name="connsiteY2058" fmla="*/ 480569 h 657309"/>
                    <a:gd name="connsiteX2059" fmla="*/ 846970 w 946299"/>
                    <a:gd name="connsiteY2059" fmla="*/ 473429 h 657309"/>
                    <a:gd name="connsiteX2060" fmla="*/ 853224 w 946299"/>
                    <a:gd name="connsiteY2060" fmla="*/ 466932 h 657309"/>
                    <a:gd name="connsiteX2061" fmla="*/ 853636 w 946299"/>
                    <a:gd name="connsiteY2061" fmla="*/ 466495 h 657309"/>
                    <a:gd name="connsiteX2062" fmla="*/ 853964 w 946299"/>
                    <a:gd name="connsiteY2062" fmla="*/ 465985 h 657309"/>
                    <a:gd name="connsiteX2063" fmla="*/ 857935 w 946299"/>
                    <a:gd name="connsiteY2063" fmla="*/ 459756 h 657309"/>
                    <a:gd name="connsiteX2064" fmla="*/ 858749 w 946299"/>
                    <a:gd name="connsiteY2064" fmla="*/ 458469 h 657309"/>
                    <a:gd name="connsiteX2065" fmla="*/ 858870 w 946299"/>
                    <a:gd name="connsiteY2065" fmla="*/ 456939 h 657309"/>
                    <a:gd name="connsiteX2066" fmla="*/ 859028 w 946299"/>
                    <a:gd name="connsiteY2066" fmla="*/ 454838 h 657309"/>
                    <a:gd name="connsiteX2067" fmla="*/ 859173 w 946299"/>
                    <a:gd name="connsiteY2067" fmla="*/ 452786 h 657309"/>
                    <a:gd name="connsiteX2068" fmla="*/ 858044 w 946299"/>
                    <a:gd name="connsiteY2068" fmla="*/ 451062 h 657309"/>
                    <a:gd name="connsiteX2069" fmla="*/ 856611 w 946299"/>
                    <a:gd name="connsiteY2069" fmla="*/ 448876 h 657309"/>
                    <a:gd name="connsiteX2070" fmla="*/ 855482 w 946299"/>
                    <a:gd name="connsiteY2070" fmla="*/ 445755 h 657309"/>
                    <a:gd name="connsiteX2071" fmla="*/ 854717 w 946299"/>
                    <a:gd name="connsiteY2071" fmla="*/ 442452 h 657309"/>
                    <a:gd name="connsiteX2072" fmla="*/ 854559 w 946299"/>
                    <a:gd name="connsiteY2072" fmla="*/ 441821 h 657309"/>
                    <a:gd name="connsiteX2073" fmla="*/ 854292 w 946299"/>
                    <a:gd name="connsiteY2073" fmla="*/ 441238 h 657309"/>
                    <a:gd name="connsiteX2074" fmla="*/ 853709 w 946299"/>
                    <a:gd name="connsiteY2074" fmla="*/ 440012 h 657309"/>
                    <a:gd name="connsiteX2075" fmla="*/ 853381 w 946299"/>
                    <a:gd name="connsiteY2075" fmla="*/ 439307 h 657309"/>
                    <a:gd name="connsiteX2076" fmla="*/ 852884 w 946299"/>
                    <a:gd name="connsiteY2076" fmla="*/ 438712 h 657309"/>
                    <a:gd name="connsiteX2077" fmla="*/ 851815 w 946299"/>
                    <a:gd name="connsiteY2077" fmla="*/ 437449 h 657309"/>
                    <a:gd name="connsiteX2078" fmla="*/ 850516 w 946299"/>
                    <a:gd name="connsiteY2078" fmla="*/ 435507 h 657309"/>
                    <a:gd name="connsiteX2079" fmla="*/ 850152 w 946299"/>
                    <a:gd name="connsiteY2079" fmla="*/ 434948 h 657309"/>
                    <a:gd name="connsiteX2080" fmla="*/ 849653 w 946299"/>
                    <a:gd name="connsiteY2080" fmla="*/ 434487 h 657309"/>
                    <a:gd name="connsiteX2081" fmla="*/ 849192 w 946299"/>
                    <a:gd name="connsiteY2081" fmla="*/ 434049 h 657309"/>
                    <a:gd name="connsiteX2082" fmla="*/ 848136 w 946299"/>
                    <a:gd name="connsiteY2082" fmla="*/ 433041 h 657309"/>
                    <a:gd name="connsiteX2083" fmla="*/ 846752 w 946299"/>
                    <a:gd name="connsiteY2083" fmla="*/ 432629 h 657309"/>
                    <a:gd name="connsiteX2084" fmla="*/ 846047 w 946299"/>
                    <a:gd name="connsiteY2084" fmla="*/ 432422 h 657309"/>
                    <a:gd name="connsiteX2085" fmla="*/ 844930 w 946299"/>
                    <a:gd name="connsiteY2085" fmla="*/ 432094 h 657309"/>
                    <a:gd name="connsiteX2086" fmla="*/ 844468 w 946299"/>
                    <a:gd name="connsiteY2086" fmla="*/ 432131 h 657309"/>
                    <a:gd name="connsiteX2087" fmla="*/ 844274 w 946299"/>
                    <a:gd name="connsiteY2087" fmla="*/ 431730 h 657309"/>
                    <a:gd name="connsiteX2088" fmla="*/ 844080 w 946299"/>
                    <a:gd name="connsiteY2088" fmla="*/ 431317 h 657309"/>
                    <a:gd name="connsiteX2089" fmla="*/ 843934 w 946299"/>
                    <a:gd name="connsiteY2089" fmla="*/ 431099 h 657309"/>
                    <a:gd name="connsiteX2090" fmla="*/ 844104 w 946299"/>
                    <a:gd name="connsiteY2090" fmla="*/ 430844 h 657309"/>
                    <a:gd name="connsiteX2091" fmla="*/ 844614 w 946299"/>
                    <a:gd name="connsiteY2091" fmla="*/ 430042 h 657309"/>
                    <a:gd name="connsiteX2092" fmla="*/ 845100 w 946299"/>
                    <a:gd name="connsiteY2092" fmla="*/ 429265 h 657309"/>
                    <a:gd name="connsiteX2093" fmla="*/ 845306 w 946299"/>
                    <a:gd name="connsiteY2093" fmla="*/ 428561 h 657309"/>
                    <a:gd name="connsiteX2094" fmla="*/ 845622 w 946299"/>
                    <a:gd name="connsiteY2094" fmla="*/ 428379 h 657309"/>
                    <a:gd name="connsiteX2095" fmla="*/ 851390 w 946299"/>
                    <a:gd name="connsiteY2095" fmla="*/ 426290 h 657309"/>
                    <a:gd name="connsiteX2096" fmla="*/ 857656 w 946299"/>
                    <a:gd name="connsiteY2096" fmla="*/ 423339 h 657309"/>
                    <a:gd name="connsiteX2097" fmla="*/ 857959 w 946299"/>
                    <a:gd name="connsiteY2097" fmla="*/ 423194 h 657309"/>
                    <a:gd name="connsiteX2098" fmla="*/ 858227 w 946299"/>
                    <a:gd name="connsiteY2098" fmla="*/ 423024 h 657309"/>
                    <a:gd name="connsiteX2099" fmla="*/ 860691 w 946299"/>
                    <a:gd name="connsiteY2099" fmla="*/ 421506 h 657309"/>
                    <a:gd name="connsiteX2100" fmla="*/ 861578 w 946299"/>
                    <a:gd name="connsiteY2100" fmla="*/ 420959 h 657309"/>
                    <a:gd name="connsiteX2101" fmla="*/ 862234 w 946299"/>
                    <a:gd name="connsiteY2101" fmla="*/ 420158 h 657309"/>
                    <a:gd name="connsiteX2102" fmla="*/ 863448 w 946299"/>
                    <a:gd name="connsiteY2102" fmla="*/ 418664 h 657309"/>
                    <a:gd name="connsiteX2103" fmla="*/ 863727 w 946299"/>
                    <a:gd name="connsiteY2103" fmla="*/ 418312 h 657309"/>
                    <a:gd name="connsiteX2104" fmla="*/ 863958 w 946299"/>
                    <a:gd name="connsiteY2104" fmla="*/ 417924 h 657309"/>
                    <a:gd name="connsiteX2105" fmla="*/ 864638 w 946299"/>
                    <a:gd name="connsiteY2105" fmla="*/ 416782 h 657309"/>
                    <a:gd name="connsiteX2106" fmla="*/ 870454 w 946299"/>
                    <a:gd name="connsiteY2106" fmla="*/ 414985 h 657309"/>
                    <a:gd name="connsiteX2107" fmla="*/ 871122 w 946299"/>
                    <a:gd name="connsiteY2107" fmla="*/ 414779 h 657309"/>
                    <a:gd name="connsiteX2108" fmla="*/ 871717 w 946299"/>
                    <a:gd name="connsiteY2108" fmla="*/ 414426 h 657309"/>
                    <a:gd name="connsiteX2109" fmla="*/ 875433 w 946299"/>
                    <a:gd name="connsiteY2109" fmla="*/ 412277 h 657309"/>
                    <a:gd name="connsiteX2110" fmla="*/ 875530 w 946299"/>
                    <a:gd name="connsiteY2110" fmla="*/ 414524 h 657309"/>
                    <a:gd name="connsiteX2111" fmla="*/ 878942 w 946299"/>
                    <a:gd name="connsiteY2111" fmla="*/ 416066 h 657309"/>
                    <a:gd name="connsiteX2112" fmla="*/ 881796 w 946299"/>
                    <a:gd name="connsiteY2112" fmla="*/ 417353 h 657309"/>
                    <a:gd name="connsiteX2113" fmla="*/ 882500 w 946299"/>
                    <a:gd name="connsiteY2113" fmla="*/ 417669 h 657309"/>
                    <a:gd name="connsiteX2114" fmla="*/ 883253 w 946299"/>
                    <a:gd name="connsiteY2114" fmla="*/ 417802 h 657309"/>
                    <a:gd name="connsiteX2115" fmla="*/ 894813 w 946299"/>
                    <a:gd name="connsiteY2115" fmla="*/ 419818 h 657309"/>
                    <a:gd name="connsiteX2116" fmla="*/ 902985 w 946299"/>
                    <a:gd name="connsiteY2116" fmla="*/ 421239 h 657309"/>
                    <a:gd name="connsiteX2117" fmla="*/ 901868 w 946299"/>
                    <a:gd name="connsiteY2117" fmla="*/ 413018 h 657309"/>
                    <a:gd name="connsiteX2118" fmla="*/ 901504 w 946299"/>
                    <a:gd name="connsiteY2118" fmla="*/ 410286 h 657309"/>
                    <a:gd name="connsiteX2119" fmla="*/ 901456 w 946299"/>
                    <a:gd name="connsiteY2119" fmla="*/ 407954 h 657309"/>
                    <a:gd name="connsiteX2120" fmla="*/ 901431 w 946299"/>
                    <a:gd name="connsiteY2120" fmla="*/ 406788 h 657309"/>
                    <a:gd name="connsiteX2121" fmla="*/ 900970 w 946299"/>
                    <a:gd name="connsiteY2121" fmla="*/ 405720 h 657309"/>
                    <a:gd name="connsiteX2122" fmla="*/ 900569 w 946299"/>
                    <a:gd name="connsiteY2122" fmla="*/ 404773 h 657309"/>
                    <a:gd name="connsiteX2123" fmla="*/ 900326 w 946299"/>
                    <a:gd name="connsiteY2123" fmla="*/ 404202 h 657309"/>
                    <a:gd name="connsiteX2124" fmla="*/ 899986 w 946299"/>
                    <a:gd name="connsiteY2124" fmla="*/ 403692 h 657309"/>
                    <a:gd name="connsiteX2125" fmla="*/ 899245 w 946299"/>
                    <a:gd name="connsiteY2125" fmla="*/ 402624 h 657309"/>
                    <a:gd name="connsiteX2126" fmla="*/ 898905 w 946299"/>
                    <a:gd name="connsiteY2126" fmla="*/ 402138 h 657309"/>
                    <a:gd name="connsiteX2127" fmla="*/ 898492 w 946299"/>
                    <a:gd name="connsiteY2127" fmla="*/ 401725 h 657309"/>
                    <a:gd name="connsiteX2128" fmla="*/ 897715 w 946299"/>
                    <a:gd name="connsiteY2128" fmla="*/ 400960 h 657309"/>
                    <a:gd name="connsiteX2129" fmla="*/ 898857 w 946299"/>
                    <a:gd name="connsiteY2129" fmla="*/ 396698 h 657309"/>
                    <a:gd name="connsiteX2130" fmla="*/ 898954 w 946299"/>
                    <a:gd name="connsiteY2130" fmla="*/ 396345 h 657309"/>
                    <a:gd name="connsiteX2131" fmla="*/ 899015 w 946299"/>
                    <a:gd name="connsiteY2131" fmla="*/ 395981 h 657309"/>
                    <a:gd name="connsiteX2132" fmla="*/ 899865 w 946299"/>
                    <a:gd name="connsiteY2132" fmla="*/ 390068 h 657309"/>
                    <a:gd name="connsiteX2133" fmla="*/ 899925 w 946299"/>
                    <a:gd name="connsiteY2133" fmla="*/ 389643 h 657309"/>
                    <a:gd name="connsiteX2134" fmla="*/ 899925 w 946299"/>
                    <a:gd name="connsiteY2134" fmla="*/ 389205 h 657309"/>
                    <a:gd name="connsiteX2135" fmla="*/ 899925 w 946299"/>
                    <a:gd name="connsiteY2135" fmla="*/ 387773 h 657309"/>
                    <a:gd name="connsiteX2136" fmla="*/ 899925 w 946299"/>
                    <a:gd name="connsiteY2136" fmla="*/ 387226 h 657309"/>
                    <a:gd name="connsiteX2137" fmla="*/ 899828 w 946299"/>
                    <a:gd name="connsiteY2137" fmla="*/ 386692 h 657309"/>
                    <a:gd name="connsiteX2138" fmla="*/ 899597 w 946299"/>
                    <a:gd name="connsiteY2138" fmla="*/ 385453 h 657309"/>
                    <a:gd name="connsiteX2139" fmla="*/ 898578 w 946299"/>
                    <a:gd name="connsiteY2139" fmla="*/ 381410 h 657309"/>
                    <a:gd name="connsiteX2140" fmla="*/ 897849 w 946299"/>
                    <a:gd name="connsiteY2140" fmla="*/ 377196 h 657309"/>
                    <a:gd name="connsiteX2141" fmla="*/ 897776 w 946299"/>
                    <a:gd name="connsiteY2141" fmla="*/ 376759 h 657309"/>
                    <a:gd name="connsiteX2142" fmla="*/ 897630 w 946299"/>
                    <a:gd name="connsiteY2142" fmla="*/ 376334 h 657309"/>
                    <a:gd name="connsiteX2143" fmla="*/ 897011 w 946299"/>
                    <a:gd name="connsiteY2143" fmla="*/ 374476 h 657309"/>
                    <a:gd name="connsiteX2144" fmla="*/ 896720 w 946299"/>
                    <a:gd name="connsiteY2144" fmla="*/ 373602 h 657309"/>
                    <a:gd name="connsiteX2145" fmla="*/ 896173 w 946299"/>
                    <a:gd name="connsiteY2145" fmla="*/ 372849 h 657309"/>
                    <a:gd name="connsiteX2146" fmla="*/ 894267 w 946299"/>
                    <a:gd name="connsiteY2146" fmla="*/ 370202 h 657309"/>
                    <a:gd name="connsiteX2147" fmla="*/ 893732 w 946299"/>
                    <a:gd name="connsiteY2147" fmla="*/ 369449 h 657309"/>
                    <a:gd name="connsiteX2148" fmla="*/ 892980 w 946299"/>
                    <a:gd name="connsiteY2148" fmla="*/ 368890 h 657309"/>
                    <a:gd name="connsiteX2149" fmla="*/ 887770 w 946299"/>
                    <a:gd name="connsiteY2149" fmla="*/ 364980 h 657309"/>
                    <a:gd name="connsiteX2150" fmla="*/ 887163 w 946299"/>
                    <a:gd name="connsiteY2150" fmla="*/ 364531 h 657309"/>
                    <a:gd name="connsiteX2151" fmla="*/ 886471 w 946299"/>
                    <a:gd name="connsiteY2151" fmla="*/ 364240 h 657309"/>
                    <a:gd name="connsiteX2152" fmla="*/ 876562 w 946299"/>
                    <a:gd name="connsiteY2152" fmla="*/ 360099 h 657309"/>
                    <a:gd name="connsiteX2153" fmla="*/ 875640 w 946299"/>
                    <a:gd name="connsiteY2153" fmla="*/ 358581 h 657309"/>
                    <a:gd name="connsiteX2154" fmla="*/ 874960 w 946299"/>
                    <a:gd name="connsiteY2154" fmla="*/ 357488 h 657309"/>
                    <a:gd name="connsiteX2155" fmla="*/ 873903 w 946299"/>
                    <a:gd name="connsiteY2155" fmla="*/ 356760 h 657309"/>
                    <a:gd name="connsiteX2156" fmla="*/ 870722 w 946299"/>
                    <a:gd name="connsiteY2156" fmla="*/ 354562 h 657309"/>
                    <a:gd name="connsiteX2157" fmla="*/ 870467 w 946299"/>
                    <a:gd name="connsiteY2157" fmla="*/ 354210 h 657309"/>
                    <a:gd name="connsiteX2158" fmla="*/ 869690 w 946299"/>
                    <a:gd name="connsiteY2158" fmla="*/ 352582 h 657309"/>
                    <a:gd name="connsiteX2159" fmla="*/ 868912 w 946299"/>
                    <a:gd name="connsiteY2159" fmla="*/ 349607 h 657309"/>
                    <a:gd name="connsiteX2160" fmla="*/ 868706 w 946299"/>
                    <a:gd name="connsiteY2160" fmla="*/ 348818 h 657309"/>
                    <a:gd name="connsiteX2161" fmla="*/ 868293 w 946299"/>
                    <a:gd name="connsiteY2161" fmla="*/ 348114 h 657309"/>
                    <a:gd name="connsiteX2162" fmla="*/ 867249 w 946299"/>
                    <a:gd name="connsiteY2162" fmla="*/ 346305 h 657309"/>
                    <a:gd name="connsiteX2163" fmla="*/ 867042 w 946299"/>
                    <a:gd name="connsiteY2163" fmla="*/ 345952 h 657309"/>
                    <a:gd name="connsiteX2164" fmla="*/ 866787 w 946299"/>
                    <a:gd name="connsiteY2164" fmla="*/ 345625 h 657309"/>
                    <a:gd name="connsiteX2165" fmla="*/ 865949 w 946299"/>
                    <a:gd name="connsiteY2165" fmla="*/ 344532 h 657309"/>
                    <a:gd name="connsiteX2166" fmla="*/ 865694 w 946299"/>
                    <a:gd name="connsiteY2166" fmla="*/ 344192 h 657309"/>
                    <a:gd name="connsiteX2167" fmla="*/ 865391 w 946299"/>
                    <a:gd name="connsiteY2167" fmla="*/ 343888 h 657309"/>
                    <a:gd name="connsiteX2168" fmla="*/ 865185 w 946299"/>
                    <a:gd name="connsiteY2168" fmla="*/ 343694 h 657309"/>
                    <a:gd name="connsiteX2169" fmla="*/ 863132 w 946299"/>
                    <a:gd name="connsiteY2169" fmla="*/ 340160 h 657309"/>
                    <a:gd name="connsiteX2170" fmla="*/ 862379 w 946299"/>
                    <a:gd name="connsiteY2170" fmla="*/ 338837 h 657309"/>
                    <a:gd name="connsiteX2171" fmla="*/ 861080 w 946299"/>
                    <a:gd name="connsiteY2171" fmla="*/ 338035 h 657309"/>
                    <a:gd name="connsiteX2172" fmla="*/ 859173 w 946299"/>
                    <a:gd name="connsiteY2172" fmla="*/ 336857 h 657309"/>
                    <a:gd name="connsiteX2173" fmla="*/ 858858 w 946299"/>
                    <a:gd name="connsiteY2173" fmla="*/ 336651 h 657309"/>
                    <a:gd name="connsiteX2174" fmla="*/ 858506 w 946299"/>
                    <a:gd name="connsiteY2174" fmla="*/ 336493 h 657309"/>
                    <a:gd name="connsiteX2175" fmla="*/ 853126 w 946299"/>
                    <a:gd name="connsiteY2175" fmla="*/ 334040 h 657309"/>
                    <a:gd name="connsiteX2176" fmla="*/ 851013 w 946299"/>
                    <a:gd name="connsiteY2176" fmla="*/ 332753 h 657309"/>
                    <a:gd name="connsiteX2177" fmla="*/ 850953 w 946299"/>
                    <a:gd name="connsiteY2177" fmla="*/ 332571 h 657309"/>
                    <a:gd name="connsiteX2178" fmla="*/ 850710 w 946299"/>
                    <a:gd name="connsiteY2178" fmla="*/ 331879 h 657309"/>
                    <a:gd name="connsiteX2179" fmla="*/ 850674 w 946299"/>
                    <a:gd name="connsiteY2179" fmla="*/ 331769 h 657309"/>
                    <a:gd name="connsiteX2180" fmla="*/ 850916 w 946299"/>
                    <a:gd name="connsiteY2180" fmla="*/ 331709 h 657309"/>
                    <a:gd name="connsiteX2181" fmla="*/ 852167 w 946299"/>
                    <a:gd name="connsiteY2181" fmla="*/ 330421 h 657309"/>
                    <a:gd name="connsiteX2182" fmla="*/ 852799 w 946299"/>
                    <a:gd name="connsiteY2182" fmla="*/ 329766 h 657309"/>
                    <a:gd name="connsiteX2183" fmla="*/ 853552 w 946299"/>
                    <a:gd name="connsiteY2183" fmla="*/ 328989 h 657309"/>
                    <a:gd name="connsiteX2184" fmla="*/ 853988 w 946299"/>
                    <a:gd name="connsiteY2184" fmla="*/ 327993 h 657309"/>
                    <a:gd name="connsiteX2185" fmla="*/ 854450 w 946299"/>
                    <a:gd name="connsiteY2185" fmla="*/ 326937 h 657309"/>
                    <a:gd name="connsiteX2186" fmla="*/ 854668 w 946299"/>
                    <a:gd name="connsiteY2186" fmla="*/ 326463 h 657309"/>
                    <a:gd name="connsiteX2187" fmla="*/ 854790 w 946299"/>
                    <a:gd name="connsiteY2187" fmla="*/ 325953 h 657309"/>
                    <a:gd name="connsiteX2188" fmla="*/ 856150 w 946299"/>
                    <a:gd name="connsiteY2188" fmla="*/ 320428 h 657309"/>
                    <a:gd name="connsiteX2189" fmla="*/ 856721 w 946299"/>
                    <a:gd name="connsiteY2189" fmla="*/ 318922 h 657309"/>
                    <a:gd name="connsiteX2190" fmla="*/ 856964 w 946299"/>
                    <a:gd name="connsiteY2190" fmla="*/ 318266 h 657309"/>
                    <a:gd name="connsiteX2191" fmla="*/ 857061 w 946299"/>
                    <a:gd name="connsiteY2191" fmla="*/ 317574 h 657309"/>
                    <a:gd name="connsiteX2192" fmla="*/ 857340 w 946299"/>
                    <a:gd name="connsiteY2192" fmla="*/ 315364 h 657309"/>
                    <a:gd name="connsiteX2193" fmla="*/ 857413 w 946299"/>
                    <a:gd name="connsiteY2193" fmla="*/ 314794 h 657309"/>
                    <a:gd name="connsiteX2194" fmla="*/ 857377 w 946299"/>
                    <a:gd name="connsiteY2194" fmla="*/ 314223 h 657309"/>
                    <a:gd name="connsiteX2195" fmla="*/ 857255 w 946299"/>
                    <a:gd name="connsiteY2195" fmla="*/ 312304 h 657309"/>
                    <a:gd name="connsiteX2196" fmla="*/ 857291 w 946299"/>
                    <a:gd name="connsiteY2196" fmla="*/ 312122 h 657309"/>
                    <a:gd name="connsiteX2197" fmla="*/ 857899 w 946299"/>
                    <a:gd name="connsiteY2197" fmla="*/ 311175 h 657309"/>
                    <a:gd name="connsiteX2198" fmla="*/ 862367 w 946299"/>
                    <a:gd name="connsiteY2198" fmla="*/ 306549 h 657309"/>
                    <a:gd name="connsiteX2199" fmla="*/ 875044 w 946299"/>
                    <a:gd name="connsiteY2199" fmla="*/ 296834 h 657309"/>
                    <a:gd name="connsiteX2200" fmla="*/ 875640 w 946299"/>
                    <a:gd name="connsiteY2200" fmla="*/ 296385 h 657309"/>
                    <a:gd name="connsiteX2201" fmla="*/ 876101 w 946299"/>
                    <a:gd name="connsiteY2201" fmla="*/ 295802 h 657309"/>
                    <a:gd name="connsiteX2202" fmla="*/ 881917 w 946299"/>
                    <a:gd name="connsiteY2202" fmla="*/ 288541 h 657309"/>
                    <a:gd name="connsiteX2203" fmla="*/ 882306 w 946299"/>
                    <a:gd name="connsiteY2203" fmla="*/ 288589 h 657309"/>
                    <a:gd name="connsiteX2204" fmla="*/ 883144 w 946299"/>
                    <a:gd name="connsiteY2204" fmla="*/ 288711 h 657309"/>
                    <a:gd name="connsiteX2205" fmla="*/ 883970 w 946299"/>
                    <a:gd name="connsiteY2205" fmla="*/ 288589 h 657309"/>
                    <a:gd name="connsiteX2206" fmla="*/ 885281 w 946299"/>
                    <a:gd name="connsiteY2206" fmla="*/ 288407 h 657309"/>
                    <a:gd name="connsiteX2207" fmla="*/ 886070 w 946299"/>
                    <a:gd name="connsiteY2207" fmla="*/ 288298 h 657309"/>
                    <a:gd name="connsiteX2208" fmla="*/ 886811 w 946299"/>
                    <a:gd name="connsiteY2208" fmla="*/ 287994 h 657309"/>
                    <a:gd name="connsiteX2209" fmla="*/ 888693 w 946299"/>
                    <a:gd name="connsiteY2209" fmla="*/ 287193 h 657309"/>
                    <a:gd name="connsiteX2210" fmla="*/ 889810 w 946299"/>
                    <a:gd name="connsiteY2210" fmla="*/ 286719 h 657309"/>
                    <a:gd name="connsiteX2211" fmla="*/ 890648 w 946299"/>
                    <a:gd name="connsiteY2211" fmla="*/ 285857 h 657309"/>
                    <a:gd name="connsiteX2212" fmla="*/ 894218 w 946299"/>
                    <a:gd name="connsiteY2212" fmla="*/ 282226 h 657309"/>
                    <a:gd name="connsiteX2213" fmla="*/ 895020 w 946299"/>
                    <a:gd name="connsiteY2213" fmla="*/ 281692 h 657309"/>
                    <a:gd name="connsiteX2214" fmla="*/ 898274 w 946299"/>
                    <a:gd name="connsiteY2214" fmla="*/ 280320 h 657309"/>
                    <a:gd name="connsiteX2215" fmla="*/ 898772 w 946299"/>
                    <a:gd name="connsiteY2215" fmla="*/ 280101 h 657309"/>
                    <a:gd name="connsiteX2216" fmla="*/ 899233 w 946299"/>
                    <a:gd name="connsiteY2216" fmla="*/ 279798 h 657309"/>
                    <a:gd name="connsiteX2217" fmla="*/ 901540 w 946299"/>
                    <a:gd name="connsiteY2217" fmla="*/ 278280 h 657309"/>
                    <a:gd name="connsiteX2218" fmla="*/ 902172 w 946299"/>
                    <a:gd name="connsiteY2218" fmla="*/ 277867 h 657309"/>
                    <a:gd name="connsiteX2219" fmla="*/ 902682 w 946299"/>
                    <a:gd name="connsiteY2219" fmla="*/ 277321 h 657309"/>
                    <a:gd name="connsiteX2220" fmla="*/ 905766 w 946299"/>
                    <a:gd name="connsiteY2220" fmla="*/ 273969 h 657309"/>
                    <a:gd name="connsiteX2221" fmla="*/ 909263 w 946299"/>
                    <a:gd name="connsiteY2221" fmla="*/ 271140 h 657309"/>
                    <a:gd name="connsiteX2222" fmla="*/ 909688 w 946299"/>
                    <a:gd name="connsiteY2222" fmla="*/ 270800 h 657309"/>
                    <a:gd name="connsiteX2223" fmla="*/ 910052 w 946299"/>
                    <a:gd name="connsiteY2223" fmla="*/ 270375 h 657309"/>
                    <a:gd name="connsiteX2224" fmla="*/ 916755 w 946299"/>
                    <a:gd name="connsiteY2224" fmla="*/ 262567 h 657309"/>
                    <a:gd name="connsiteX2225" fmla="*/ 918443 w 946299"/>
                    <a:gd name="connsiteY2225" fmla="*/ 260976 h 657309"/>
                    <a:gd name="connsiteX2226" fmla="*/ 919706 w 946299"/>
                    <a:gd name="connsiteY2226" fmla="*/ 260114 h 657309"/>
                    <a:gd name="connsiteX2227" fmla="*/ 924138 w 946299"/>
                    <a:gd name="connsiteY2227" fmla="*/ 258790 h 657309"/>
                    <a:gd name="connsiteX2228" fmla="*/ 924806 w 946299"/>
                    <a:gd name="connsiteY2228" fmla="*/ 258584 h 657309"/>
                    <a:gd name="connsiteX2229" fmla="*/ 925413 w 946299"/>
                    <a:gd name="connsiteY2229" fmla="*/ 258244 h 657309"/>
                    <a:gd name="connsiteX2230" fmla="*/ 927538 w 946299"/>
                    <a:gd name="connsiteY2230" fmla="*/ 257030 h 657309"/>
                    <a:gd name="connsiteX2231" fmla="*/ 928182 w 946299"/>
                    <a:gd name="connsiteY2231" fmla="*/ 256665 h 657309"/>
                    <a:gd name="connsiteX2232" fmla="*/ 928704 w 946299"/>
                    <a:gd name="connsiteY2232" fmla="*/ 256168 h 657309"/>
                    <a:gd name="connsiteX2233" fmla="*/ 933828 w 946299"/>
                    <a:gd name="connsiteY2233" fmla="*/ 251310 h 657309"/>
                    <a:gd name="connsiteX2234" fmla="*/ 934630 w 946299"/>
                    <a:gd name="connsiteY2234" fmla="*/ 250910 h 657309"/>
                    <a:gd name="connsiteX2235" fmla="*/ 935698 w 946299"/>
                    <a:gd name="connsiteY2235" fmla="*/ 250703 h 657309"/>
                    <a:gd name="connsiteX2236" fmla="*/ 938127 w 946299"/>
                    <a:gd name="connsiteY2236" fmla="*/ 250691 h 657309"/>
                    <a:gd name="connsiteX2237" fmla="*/ 938880 w 946299"/>
                    <a:gd name="connsiteY2237" fmla="*/ 250691 h 657309"/>
                    <a:gd name="connsiteX2238" fmla="*/ 939596 w 946299"/>
                    <a:gd name="connsiteY2238" fmla="*/ 250509 h 657309"/>
                    <a:gd name="connsiteX2239" fmla="*/ 940495 w 946299"/>
                    <a:gd name="connsiteY2239" fmla="*/ 250278 h 657309"/>
                    <a:gd name="connsiteX2240" fmla="*/ 942183 w 946299"/>
                    <a:gd name="connsiteY2240" fmla="*/ 249841 h 657309"/>
                    <a:gd name="connsiteX2241" fmla="*/ 943385 w 946299"/>
                    <a:gd name="connsiteY2241" fmla="*/ 248590 h 657309"/>
                    <a:gd name="connsiteX2242" fmla="*/ 943907 w 946299"/>
                    <a:gd name="connsiteY2242" fmla="*/ 248044 h 657309"/>
                    <a:gd name="connsiteX2243" fmla="*/ 944636 w 946299"/>
                    <a:gd name="connsiteY2243" fmla="*/ 247291 h 657309"/>
                    <a:gd name="connsiteX2244" fmla="*/ 945060 w 946299"/>
                    <a:gd name="connsiteY2244" fmla="*/ 246332 h 657309"/>
                    <a:gd name="connsiteX2245" fmla="*/ 945510 w 946299"/>
                    <a:gd name="connsiteY2245" fmla="*/ 245324 h 657309"/>
                    <a:gd name="connsiteX2246" fmla="*/ 945838 w 946299"/>
                    <a:gd name="connsiteY2246" fmla="*/ 244583 h 657309"/>
                    <a:gd name="connsiteX2247" fmla="*/ 945971 w 946299"/>
                    <a:gd name="connsiteY2247" fmla="*/ 243794 h 657309"/>
                    <a:gd name="connsiteX2248" fmla="*/ 946226 w 946299"/>
                    <a:gd name="connsiteY2248" fmla="*/ 242215 h 657309"/>
                    <a:gd name="connsiteX2249" fmla="*/ 946299 w 946299"/>
                    <a:gd name="connsiteY2249" fmla="*/ 241742 h 657309"/>
                    <a:gd name="connsiteX2250" fmla="*/ 946299 w 946299"/>
                    <a:gd name="connsiteY2250" fmla="*/ 241268 h 657309"/>
                    <a:gd name="connsiteX2251" fmla="*/ 946299 w 946299"/>
                    <a:gd name="connsiteY2251" fmla="*/ 239629 h 657309"/>
                    <a:gd name="connsiteX2252" fmla="*/ 946299 w 946299"/>
                    <a:gd name="connsiteY2252" fmla="*/ 238317 h 657309"/>
                    <a:gd name="connsiteX2253" fmla="*/ 945765 w 946299"/>
                    <a:gd name="connsiteY2253" fmla="*/ 237127 h 657309"/>
                    <a:gd name="connsiteX2254" fmla="*/ 944963 w 946299"/>
                    <a:gd name="connsiteY2254" fmla="*/ 235342 h 657309"/>
                    <a:gd name="connsiteX2255" fmla="*/ 944575 w 946299"/>
                    <a:gd name="connsiteY2255" fmla="*/ 234480 h 657309"/>
                    <a:gd name="connsiteX2256" fmla="*/ 943944 w 946299"/>
                    <a:gd name="connsiteY2256" fmla="*/ 233776 h 657309"/>
                    <a:gd name="connsiteX2257" fmla="*/ 942559 w 946299"/>
                    <a:gd name="connsiteY2257" fmla="*/ 232234 h 657309"/>
                    <a:gd name="connsiteX2258" fmla="*/ 941879 w 946299"/>
                    <a:gd name="connsiteY2258" fmla="*/ 231481 h 657309"/>
                    <a:gd name="connsiteX2259" fmla="*/ 941005 w 946299"/>
                    <a:gd name="connsiteY2259" fmla="*/ 230983 h 657309"/>
                    <a:gd name="connsiteX2260" fmla="*/ 940240 w 946299"/>
                    <a:gd name="connsiteY2260" fmla="*/ 230546 h 657309"/>
                    <a:gd name="connsiteX2261" fmla="*/ 940252 w 946299"/>
                    <a:gd name="connsiteY2261" fmla="*/ 230534 h 657309"/>
                    <a:gd name="connsiteX2262" fmla="*/ 941005 w 946299"/>
                    <a:gd name="connsiteY2262" fmla="*/ 229562 h 657309"/>
                    <a:gd name="connsiteX2263" fmla="*/ 943421 w 946299"/>
                    <a:gd name="connsiteY2263" fmla="*/ 226454 h 657309"/>
                    <a:gd name="connsiteX2264" fmla="*/ 941576 w 946299"/>
                    <a:gd name="connsiteY2264" fmla="*/ 222969 h 657309"/>
                    <a:gd name="connsiteX2265" fmla="*/ 940872 w 946299"/>
                    <a:gd name="connsiteY2265" fmla="*/ 221657 h 657309"/>
                    <a:gd name="connsiteX2266" fmla="*/ 940604 w 946299"/>
                    <a:gd name="connsiteY2266" fmla="*/ 221147 h 657309"/>
                    <a:gd name="connsiteX2267" fmla="*/ 940240 w 946299"/>
                    <a:gd name="connsiteY2267" fmla="*/ 220686 h 657309"/>
                    <a:gd name="connsiteX2268" fmla="*/ 938746 w 946299"/>
                    <a:gd name="connsiteY2268" fmla="*/ 218840 h 657309"/>
                    <a:gd name="connsiteX2269" fmla="*/ 938516 w 946299"/>
                    <a:gd name="connsiteY2269" fmla="*/ 218573 h 657309"/>
                    <a:gd name="connsiteX2270" fmla="*/ 938260 w 946299"/>
                    <a:gd name="connsiteY2270" fmla="*/ 218330 h 657309"/>
                    <a:gd name="connsiteX2271" fmla="*/ 932007 w 946299"/>
                    <a:gd name="connsiteY2271" fmla="*/ 212222 h 657309"/>
                    <a:gd name="connsiteX2272" fmla="*/ 931752 w 946299"/>
                    <a:gd name="connsiteY2272" fmla="*/ 211979 h 657309"/>
                    <a:gd name="connsiteX2273" fmla="*/ 931485 w 946299"/>
                    <a:gd name="connsiteY2273" fmla="*/ 211761 h 657309"/>
                    <a:gd name="connsiteX2274" fmla="*/ 929712 w 946299"/>
                    <a:gd name="connsiteY2274" fmla="*/ 210377 h 657309"/>
                    <a:gd name="connsiteX2275" fmla="*/ 928862 w 946299"/>
                    <a:gd name="connsiteY2275" fmla="*/ 209721 h 657309"/>
                    <a:gd name="connsiteX2276" fmla="*/ 927842 w 946299"/>
                    <a:gd name="connsiteY2276" fmla="*/ 209393 h 657309"/>
                    <a:gd name="connsiteX2277" fmla="*/ 926445 w 946299"/>
                    <a:gd name="connsiteY2277" fmla="*/ 208944 h 657309"/>
                    <a:gd name="connsiteX2278" fmla="*/ 927624 w 946299"/>
                    <a:gd name="connsiteY2278" fmla="*/ 205313 h 657309"/>
                    <a:gd name="connsiteX2279" fmla="*/ 928194 w 946299"/>
                    <a:gd name="connsiteY2279" fmla="*/ 203540 h 657309"/>
                    <a:gd name="connsiteX2280" fmla="*/ 927684 w 946299"/>
                    <a:gd name="connsiteY2280" fmla="*/ 201755 h 657309"/>
                    <a:gd name="connsiteX2281" fmla="*/ 927247 w 946299"/>
                    <a:gd name="connsiteY2281" fmla="*/ 200237 h 657309"/>
                    <a:gd name="connsiteX2282" fmla="*/ 926300 w 946299"/>
                    <a:gd name="connsiteY2282" fmla="*/ 196946 h 657309"/>
                    <a:gd name="connsiteX2283" fmla="*/ 922985 w 946299"/>
                    <a:gd name="connsiteY2283" fmla="*/ 196060 h 657309"/>
                    <a:gd name="connsiteX2284" fmla="*/ 921248 w 946299"/>
                    <a:gd name="connsiteY2284" fmla="*/ 195598 h 657309"/>
                    <a:gd name="connsiteX2285" fmla="*/ 919451 w 946299"/>
                    <a:gd name="connsiteY2285" fmla="*/ 195113 h 657309"/>
                    <a:gd name="connsiteX2286" fmla="*/ 917678 w 946299"/>
                    <a:gd name="connsiteY2286" fmla="*/ 195732 h 657309"/>
                    <a:gd name="connsiteX2287" fmla="*/ 909749 w 946299"/>
                    <a:gd name="connsiteY2287" fmla="*/ 198501 h 657309"/>
                    <a:gd name="connsiteX2288" fmla="*/ 906956 w 946299"/>
                    <a:gd name="connsiteY2288" fmla="*/ 199132 h 657309"/>
                    <a:gd name="connsiteX2289" fmla="*/ 906786 w 946299"/>
                    <a:gd name="connsiteY2289" fmla="*/ 199144 h 657309"/>
                    <a:gd name="connsiteX2290" fmla="*/ 904698 w 946299"/>
                    <a:gd name="connsiteY2290" fmla="*/ 198513 h 657309"/>
                    <a:gd name="connsiteX2291" fmla="*/ 900897 w 946299"/>
                    <a:gd name="connsiteY2291" fmla="*/ 197651 h 657309"/>
                    <a:gd name="connsiteX2292" fmla="*/ 895396 w 946299"/>
                    <a:gd name="connsiteY2292" fmla="*/ 196436 h 657309"/>
                    <a:gd name="connsiteX2293" fmla="*/ 893769 w 946299"/>
                    <a:gd name="connsiteY2293" fmla="*/ 201828 h 657309"/>
                    <a:gd name="connsiteX2294" fmla="*/ 892469 w 946299"/>
                    <a:gd name="connsiteY2294" fmla="*/ 206163 h 657309"/>
                    <a:gd name="connsiteX2295" fmla="*/ 892288 w 946299"/>
                    <a:gd name="connsiteY2295" fmla="*/ 206746 h 657309"/>
                    <a:gd name="connsiteX2296" fmla="*/ 892227 w 946299"/>
                    <a:gd name="connsiteY2296" fmla="*/ 207353 h 657309"/>
                    <a:gd name="connsiteX2297" fmla="*/ 892033 w 946299"/>
                    <a:gd name="connsiteY2297" fmla="*/ 209393 h 657309"/>
                    <a:gd name="connsiteX2298" fmla="*/ 891935 w 946299"/>
                    <a:gd name="connsiteY2298" fmla="*/ 210377 h 657309"/>
                    <a:gd name="connsiteX2299" fmla="*/ 892178 w 946299"/>
                    <a:gd name="connsiteY2299" fmla="*/ 211348 h 657309"/>
                    <a:gd name="connsiteX2300" fmla="*/ 892469 w 946299"/>
                    <a:gd name="connsiteY2300" fmla="*/ 212647 h 657309"/>
                    <a:gd name="connsiteX2301" fmla="*/ 891389 w 946299"/>
                    <a:gd name="connsiteY2301" fmla="*/ 218609 h 657309"/>
                    <a:gd name="connsiteX2302" fmla="*/ 886738 w 946299"/>
                    <a:gd name="connsiteY2302" fmla="*/ 226733 h 657309"/>
                    <a:gd name="connsiteX2303" fmla="*/ 881675 w 946299"/>
                    <a:gd name="connsiteY2303" fmla="*/ 231845 h 657309"/>
                    <a:gd name="connsiteX2304" fmla="*/ 880764 w 946299"/>
                    <a:gd name="connsiteY2304" fmla="*/ 231954 h 657309"/>
                    <a:gd name="connsiteX2305" fmla="*/ 880096 w 946299"/>
                    <a:gd name="connsiteY2305" fmla="*/ 231347 h 657309"/>
                    <a:gd name="connsiteX2306" fmla="*/ 879610 w 946299"/>
                    <a:gd name="connsiteY2306" fmla="*/ 230898 h 657309"/>
                    <a:gd name="connsiteX2307" fmla="*/ 879040 w 946299"/>
                    <a:gd name="connsiteY2307" fmla="*/ 230570 h 657309"/>
                    <a:gd name="connsiteX2308" fmla="*/ 873514 w 946299"/>
                    <a:gd name="connsiteY2308" fmla="*/ 227352 h 657309"/>
                    <a:gd name="connsiteX2309" fmla="*/ 871972 w 946299"/>
                    <a:gd name="connsiteY2309" fmla="*/ 226004 h 657309"/>
                    <a:gd name="connsiteX2310" fmla="*/ 871657 w 946299"/>
                    <a:gd name="connsiteY2310" fmla="*/ 225458 h 657309"/>
                    <a:gd name="connsiteX2311" fmla="*/ 870661 w 946299"/>
                    <a:gd name="connsiteY2311" fmla="*/ 222519 h 657309"/>
                    <a:gd name="connsiteX2312" fmla="*/ 870467 w 946299"/>
                    <a:gd name="connsiteY2312" fmla="*/ 221985 h 657309"/>
                    <a:gd name="connsiteX2313" fmla="*/ 870200 w 946299"/>
                    <a:gd name="connsiteY2313" fmla="*/ 221487 h 657309"/>
                    <a:gd name="connsiteX2314" fmla="*/ 869276 w 946299"/>
                    <a:gd name="connsiteY2314" fmla="*/ 219848 h 657309"/>
                    <a:gd name="connsiteX2315" fmla="*/ 867030 w 946299"/>
                    <a:gd name="connsiteY2315" fmla="*/ 215901 h 657309"/>
                    <a:gd name="connsiteX2316" fmla="*/ 865002 w 946299"/>
                    <a:gd name="connsiteY2316" fmla="*/ 216375 h 657309"/>
                    <a:gd name="connsiteX2317" fmla="*/ 864638 w 946299"/>
                    <a:gd name="connsiteY2317" fmla="*/ 216084 h 657309"/>
                    <a:gd name="connsiteX2318" fmla="*/ 863885 w 946299"/>
                    <a:gd name="connsiteY2318" fmla="*/ 211141 h 657309"/>
                    <a:gd name="connsiteX2319" fmla="*/ 857474 w 946299"/>
                    <a:gd name="connsiteY2319" fmla="*/ 212672 h 657309"/>
                    <a:gd name="connsiteX2320" fmla="*/ 854134 w 946299"/>
                    <a:gd name="connsiteY2320" fmla="*/ 213473 h 657309"/>
                    <a:gd name="connsiteX2321" fmla="*/ 852799 w 946299"/>
                    <a:gd name="connsiteY2321" fmla="*/ 213789 h 657309"/>
                    <a:gd name="connsiteX2322" fmla="*/ 851718 w 946299"/>
                    <a:gd name="connsiteY2322" fmla="*/ 214663 h 657309"/>
                    <a:gd name="connsiteX2323" fmla="*/ 847784 w 946299"/>
                    <a:gd name="connsiteY2323" fmla="*/ 217857 h 657309"/>
                    <a:gd name="connsiteX2324" fmla="*/ 845901 w 946299"/>
                    <a:gd name="connsiteY2324" fmla="*/ 216897 h 657309"/>
                    <a:gd name="connsiteX2325" fmla="*/ 845537 w 946299"/>
                    <a:gd name="connsiteY2325" fmla="*/ 216703 h 657309"/>
                    <a:gd name="connsiteX2326" fmla="*/ 845148 w 946299"/>
                    <a:gd name="connsiteY2326" fmla="*/ 216569 h 657309"/>
                    <a:gd name="connsiteX2327" fmla="*/ 841931 w 946299"/>
                    <a:gd name="connsiteY2327" fmla="*/ 215464 h 657309"/>
                    <a:gd name="connsiteX2328" fmla="*/ 839842 w 946299"/>
                    <a:gd name="connsiteY2328" fmla="*/ 214736 h 657309"/>
                    <a:gd name="connsiteX2329" fmla="*/ 837765 w 946299"/>
                    <a:gd name="connsiteY2329" fmla="*/ 215525 h 657309"/>
                    <a:gd name="connsiteX2330" fmla="*/ 835361 w 946299"/>
                    <a:gd name="connsiteY2330" fmla="*/ 216448 h 657309"/>
                    <a:gd name="connsiteX2331" fmla="*/ 832580 w 946299"/>
                    <a:gd name="connsiteY2331" fmla="*/ 217517 h 657309"/>
                    <a:gd name="connsiteX2332" fmla="*/ 831731 w 946299"/>
                    <a:gd name="connsiteY2332" fmla="*/ 220370 h 657309"/>
                    <a:gd name="connsiteX2333" fmla="*/ 830686 w 946299"/>
                    <a:gd name="connsiteY2333" fmla="*/ 223819 h 657309"/>
                    <a:gd name="connsiteX2334" fmla="*/ 830553 w 946299"/>
                    <a:gd name="connsiteY2334" fmla="*/ 223697 h 657309"/>
                    <a:gd name="connsiteX2335" fmla="*/ 830018 w 946299"/>
                    <a:gd name="connsiteY2335" fmla="*/ 223236 h 657309"/>
                    <a:gd name="connsiteX2336" fmla="*/ 829399 w 946299"/>
                    <a:gd name="connsiteY2336" fmla="*/ 222908 h 657309"/>
                    <a:gd name="connsiteX2337" fmla="*/ 826363 w 946299"/>
                    <a:gd name="connsiteY2337" fmla="*/ 221305 h 657309"/>
                    <a:gd name="connsiteX2338" fmla="*/ 824081 w 946299"/>
                    <a:gd name="connsiteY2338" fmla="*/ 220103 h 657309"/>
                    <a:gd name="connsiteX2339" fmla="*/ 821640 w 946299"/>
                    <a:gd name="connsiteY2339" fmla="*/ 220904 h 657309"/>
                    <a:gd name="connsiteX2340" fmla="*/ 817548 w 946299"/>
                    <a:gd name="connsiteY2340" fmla="*/ 222252 h 657309"/>
                    <a:gd name="connsiteX2341" fmla="*/ 816576 w 946299"/>
                    <a:gd name="connsiteY2341" fmla="*/ 222568 h 657309"/>
                    <a:gd name="connsiteX2342" fmla="*/ 815763 w 946299"/>
                    <a:gd name="connsiteY2342" fmla="*/ 223187 h 657309"/>
                    <a:gd name="connsiteX2343" fmla="*/ 813759 w 946299"/>
                    <a:gd name="connsiteY2343" fmla="*/ 224717 h 657309"/>
                    <a:gd name="connsiteX2344" fmla="*/ 809764 w 946299"/>
                    <a:gd name="connsiteY2344" fmla="*/ 227656 h 657309"/>
                    <a:gd name="connsiteX2345" fmla="*/ 805380 w 946299"/>
                    <a:gd name="connsiteY2345" fmla="*/ 229538 h 657309"/>
                    <a:gd name="connsiteX2346" fmla="*/ 801580 w 946299"/>
                    <a:gd name="connsiteY2346" fmla="*/ 228530 h 657309"/>
                    <a:gd name="connsiteX2347" fmla="*/ 788732 w 946299"/>
                    <a:gd name="connsiteY2347" fmla="*/ 221499 h 657309"/>
                    <a:gd name="connsiteX2348" fmla="*/ 787882 w 946299"/>
                    <a:gd name="connsiteY2348" fmla="*/ 221026 h 657309"/>
                    <a:gd name="connsiteX2349" fmla="*/ 786923 w 946299"/>
                    <a:gd name="connsiteY2349" fmla="*/ 220844 h 657309"/>
                    <a:gd name="connsiteX2350" fmla="*/ 781180 w 946299"/>
                    <a:gd name="connsiteY2350" fmla="*/ 219787 h 657309"/>
                    <a:gd name="connsiteX2351" fmla="*/ 780463 w 946299"/>
                    <a:gd name="connsiteY2351" fmla="*/ 219654 h 657309"/>
                    <a:gd name="connsiteX2352" fmla="*/ 779734 w 946299"/>
                    <a:gd name="connsiteY2352" fmla="*/ 219690 h 657309"/>
                    <a:gd name="connsiteX2353" fmla="*/ 773530 w 946299"/>
                    <a:gd name="connsiteY2353" fmla="*/ 220018 h 657309"/>
                    <a:gd name="connsiteX2354" fmla="*/ 772886 w 946299"/>
                    <a:gd name="connsiteY2354" fmla="*/ 220054 h 657309"/>
                    <a:gd name="connsiteX2355" fmla="*/ 772254 w 946299"/>
                    <a:gd name="connsiteY2355" fmla="*/ 220224 h 657309"/>
                    <a:gd name="connsiteX2356" fmla="*/ 766159 w 946299"/>
                    <a:gd name="connsiteY2356" fmla="*/ 221888 h 657309"/>
                    <a:gd name="connsiteX2357" fmla="*/ 765394 w 946299"/>
                    <a:gd name="connsiteY2357" fmla="*/ 222106 h 657309"/>
                    <a:gd name="connsiteX2358" fmla="*/ 764690 w 946299"/>
                    <a:gd name="connsiteY2358" fmla="*/ 222507 h 657309"/>
                    <a:gd name="connsiteX2359" fmla="*/ 759529 w 946299"/>
                    <a:gd name="connsiteY2359" fmla="*/ 225531 h 657309"/>
                    <a:gd name="connsiteX2360" fmla="*/ 758497 w 946299"/>
                    <a:gd name="connsiteY2360" fmla="*/ 226138 h 657309"/>
                    <a:gd name="connsiteX2361" fmla="*/ 757768 w 946299"/>
                    <a:gd name="connsiteY2361" fmla="*/ 227085 h 657309"/>
                    <a:gd name="connsiteX2362" fmla="*/ 755570 w 946299"/>
                    <a:gd name="connsiteY2362" fmla="*/ 229951 h 657309"/>
                    <a:gd name="connsiteX2363" fmla="*/ 755206 w 946299"/>
                    <a:gd name="connsiteY2363" fmla="*/ 230437 h 657309"/>
                    <a:gd name="connsiteX2364" fmla="*/ 754939 w 946299"/>
                    <a:gd name="connsiteY2364" fmla="*/ 230983 h 657309"/>
                    <a:gd name="connsiteX2365" fmla="*/ 752547 w 946299"/>
                    <a:gd name="connsiteY2365" fmla="*/ 235937 h 657309"/>
                    <a:gd name="connsiteX2366" fmla="*/ 746973 w 946299"/>
                    <a:gd name="connsiteY2366" fmla="*/ 233521 h 657309"/>
                    <a:gd name="connsiteX2367" fmla="*/ 746038 w 946299"/>
                    <a:gd name="connsiteY2367" fmla="*/ 232974 h 657309"/>
                    <a:gd name="connsiteX2368" fmla="*/ 745431 w 946299"/>
                    <a:gd name="connsiteY2368" fmla="*/ 232052 h 657309"/>
                    <a:gd name="connsiteX2369" fmla="*/ 744398 w 946299"/>
                    <a:gd name="connsiteY2369" fmla="*/ 229489 h 657309"/>
                    <a:gd name="connsiteX2370" fmla="*/ 743913 w 946299"/>
                    <a:gd name="connsiteY2370" fmla="*/ 228251 h 657309"/>
                    <a:gd name="connsiteX2371" fmla="*/ 742941 w 946299"/>
                    <a:gd name="connsiteY2371" fmla="*/ 227340 h 657309"/>
                    <a:gd name="connsiteX2372" fmla="*/ 740986 w 946299"/>
                    <a:gd name="connsiteY2372" fmla="*/ 225482 h 657309"/>
                    <a:gd name="connsiteX2373" fmla="*/ 738449 w 946299"/>
                    <a:gd name="connsiteY2373" fmla="*/ 223066 h 657309"/>
                    <a:gd name="connsiteX2374" fmla="*/ 735085 w 946299"/>
                    <a:gd name="connsiteY2374" fmla="*/ 224074 h 657309"/>
                    <a:gd name="connsiteX2375" fmla="*/ 729863 w 946299"/>
                    <a:gd name="connsiteY2375" fmla="*/ 225628 h 657309"/>
                    <a:gd name="connsiteX2376" fmla="*/ 721934 w 946299"/>
                    <a:gd name="connsiteY2376" fmla="*/ 226478 h 657309"/>
                    <a:gd name="connsiteX2377" fmla="*/ 719445 w 946299"/>
                    <a:gd name="connsiteY2377" fmla="*/ 225494 h 657309"/>
                    <a:gd name="connsiteX2378" fmla="*/ 716579 w 946299"/>
                    <a:gd name="connsiteY2378" fmla="*/ 221852 h 657309"/>
                    <a:gd name="connsiteX2379" fmla="*/ 713896 w 946299"/>
                    <a:gd name="connsiteY2379" fmla="*/ 216108 h 657309"/>
                    <a:gd name="connsiteX2380" fmla="*/ 712159 w 946299"/>
                    <a:gd name="connsiteY2380" fmla="*/ 210607 h 657309"/>
                    <a:gd name="connsiteX2381" fmla="*/ 712050 w 946299"/>
                    <a:gd name="connsiteY2381" fmla="*/ 210255 h 657309"/>
                    <a:gd name="connsiteX2382" fmla="*/ 710204 w 946299"/>
                    <a:gd name="connsiteY2382" fmla="*/ 201791 h 657309"/>
                    <a:gd name="connsiteX2383" fmla="*/ 710156 w 946299"/>
                    <a:gd name="connsiteY2383" fmla="*/ 198962 h 657309"/>
                    <a:gd name="connsiteX2384" fmla="*/ 710143 w 946299"/>
                    <a:gd name="connsiteY2384" fmla="*/ 198561 h 657309"/>
                    <a:gd name="connsiteX2385" fmla="*/ 710083 w 946299"/>
                    <a:gd name="connsiteY2385" fmla="*/ 198173 h 657309"/>
                    <a:gd name="connsiteX2386" fmla="*/ 709512 w 946299"/>
                    <a:gd name="connsiteY2386" fmla="*/ 194360 h 657309"/>
                    <a:gd name="connsiteX2387" fmla="*/ 708723 w 946299"/>
                    <a:gd name="connsiteY2387" fmla="*/ 188981 h 657309"/>
                    <a:gd name="connsiteX2388" fmla="*/ 703295 w 946299"/>
                    <a:gd name="connsiteY2388" fmla="*/ 189187 h 657309"/>
                    <a:gd name="connsiteX2389" fmla="*/ 701097 w 946299"/>
                    <a:gd name="connsiteY2389" fmla="*/ 189272 h 657309"/>
                    <a:gd name="connsiteX2390" fmla="*/ 699069 w 946299"/>
                    <a:gd name="connsiteY2390" fmla="*/ 189345 h 657309"/>
                    <a:gd name="connsiteX2391" fmla="*/ 697490 w 946299"/>
                    <a:gd name="connsiteY2391" fmla="*/ 190620 h 657309"/>
                    <a:gd name="connsiteX2392" fmla="*/ 694795 w 946299"/>
                    <a:gd name="connsiteY2392" fmla="*/ 192806 h 657309"/>
                    <a:gd name="connsiteX2393" fmla="*/ 694552 w 946299"/>
                    <a:gd name="connsiteY2393" fmla="*/ 193012 h 657309"/>
                    <a:gd name="connsiteX2394" fmla="*/ 694321 w 946299"/>
                    <a:gd name="connsiteY2394" fmla="*/ 193231 h 657309"/>
                    <a:gd name="connsiteX2395" fmla="*/ 688978 w 946299"/>
                    <a:gd name="connsiteY2395" fmla="*/ 198574 h 657309"/>
                    <a:gd name="connsiteX2396" fmla="*/ 687715 w 946299"/>
                    <a:gd name="connsiteY2396" fmla="*/ 199496 h 657309"/>
                    <a:gd name="connsiteX2397" fmla="*/ 681632 w 946299"/>
                    <a:gd name="connsiteY2397" fmla="*/ 201561 h 657309"/>
                    <a:gd name="connsiteX2398" fmla="*/ 676386 w 946299"/>
                    <a:gd name="connsiteY2398" fmla="*/ 203297 h 657309"/>
                    <a:gd name="connsiteX2399" fmla="*/ 675803 w 946299"/>
                    <a:gd name="connsiteY2399" fmla="*/ 203491 h 657309"/>
                    <a:gd name="connsiteX2400" fmla="*/ 675281 w 946299"/>
                    <a:gd name="connsiteY2400" fmla="*/ 203795 h 657309"/>
                    <a:gd name="connsiteX2401" fmla="*/ 669416 w 946299"/>
                    <a:gd name="connsiteY2401" fmla="*/ 207159 h 657309"/>
                    <a:gd name="connsiteX2402" fmla="*/ 667619 w 946299"/>
                    <a:gd name="connsiteY2402" fmla="*/ 208191 h 657309"/>
                    <a:gd name="connsiteX2403" fmla="*/ 666829 w 946299"/>
                    <a:gd name="connsiteY2403" fmla="*/ 210097 h 657309"/>
                    <a:gd name="connsiteX2404" fmla="*/ 665360 w 946299"/>
                    <a:gd name="connsiteY2404" fmla="*/ 213631 h 657309"/>
                    <a:gd name="connsiteX2405" fmla="*/ 663004 w 946299"/>
                    <a:gd name="connsiteY2405" fmla="*/ 216229 h 657309"/>
                    <a:gd name="connsiteX2406" fmla="*/ 659847 w 946299"/>
                    <a:gd name="connsiteY2406" fmla="*/ 218233 h 657309"/>
                    <a:gd name="connsiteX2407" fmla="*/ 657358 w 946299"/>
                    <a:gd name="connsiteY2407" fmla="*/ 218937 h 657309"/>
                    <a:gd name="connsiteX2408" fmla="*/ 651347 w 946299"/>
                    <a:gd name="connsiteY2408" fmla="*/ 216666 h 657309"/>
                    <a:gd name="connsiteX2409" fmla="*/ 649902 w 946299"/>
                    <a:gd name="connsiteY2409" fmla="*/ 216120 h 657309"/>
                    <a:gd name="connsiteX2410" fmla="*/ 648372 w 946299"/>
                    <a:gd name="connsiteY2410" fmla="*/ 216339 h 657309"/>
                    <a:gd name="connsiteX2411" fmla="*/ 645786 w 946299"/>
                    <a:gd name="connsiteY2411" fmla="*/ 216691 h 657309"/>
                    <a:gd name="connsiteX2412" fmla="*/ 643114 w 946299"/>
                    <a:gd name="connsiteY2412" fmla="*/ 217055 h 657309"/>
                    <a:gd name="connsiteX2413" fmla="*/ 641596 w 946299"/>
                    <a:gd name="connsiteY2413" fmla="*/ 219277 h 657309"/>
                    <a:gd name="connsiteX2414" fmla="*/ 640224 w 946299"/>
                    <a:gd name="connsiteY2414" fmla="*/ 221293 h 657309"/>
                    <a:gd name="connsiteX2415" fmla="*/ 640030 w 946299"/>
                    <a:gd name="connsiteY2415" fmla="*/ 221560 h 657309"/>
                    <a:gd name="connsiteX2416" fmla="*/ 639994 w 946299"/>
                    <a:gd name="connsiteY2416" fmla="*/ 221633 h 657309"/>
                    <a:gd name="connsiteX2417" fmla="*/ 628555 w 946299"/>
                    <a:gd name="connsiteY2417" fmla="*/ 214930 h 657309"/>
                    <a:gd name="connsiteX2418" fmla="*/ 628251 w 946299"/>
                    <a:gd name="connsiteY2418" fmla="*/ 214748 h 657309"/>
                    <a:gd name="connsiteX2419" fmla="*/ 627936 w 946299"/>
                    <a:gd name="connsiteY2419" fmla="*/ 214602 h 657309"/>
                    <a:gd name="connsiteX2420" fmla="*/ 615562 w 946299"/>
                    <a:gd name="connsiteY2420" fmla="*/ 209174 h 657309"/>
                    <a:gd name="connsiteX2421" fmla="*/ 612975 w 946299"/>
                    <a:gd name="connsiteY2421" fmla="*/ 207669 h 657309"/>
                    <a:gd name="connsiteX2422" fmla="*/ 611106 w 946299"/>
                    <a:gd name="connsiteY2422" fmla="*/ 205531 h 657309"/>
                    <a:gd name="connsiteX2423" fmla="*/ 610826 w 946299"/>
                    <a:gd name="connsiteY2423" fmla="*/ 205204 h 657309"/>
                    <a:gd name="connsiteX2424" fmla="*/ 610499 w 946299"/>
                    <a:gd name="connsiteY2424" fmla="*/ 204924 h 657309"/>
                    <a:gd name="connsiteX2425" fmla="*/ 607924 w 946299"/>
                    <a:gd name="connsiteY2425" fmla="*/ 202726 h 657309"/>
                    <a:gd name="connsiteX2426" fmla="*/ 607402 w 946299"/>
                    <a:gd name="connsiteY2426" fmla="*/ 202289 h 657309"/>
                    <a:gd name="connsiteX2427" fmla="*/ 606807 w 946299"/>
                    <a:gd name="connsiteY2427" fmla="*/ 201974 h 657309"/>
                    <a:gd name="connsiteX2428" fmla="*/ 603868 w 946299"/>
                    <a:gd name="connsiteY2428" fmla="*/ 200419 h 657309"/>
                    <a:gd name="connsiteX2429" fmla="*/ 603164 w 946299"/>
                    <a:gd name="connsiteY2429" fmla="*/ 200043 h 657309"/>
                    <a:gd name="connsiteX2430" fmla="*/ 602399 w 946299"/>
                    <a:gd name="connsiteY2430" fmla="*/ 199861 h 657309"/>
                    <a:gd name="connsiteX2431" fmla="*/ 599157 w 946299"/>
                    <a:gd name="connsiteY2431" fmla="*/ 199120 h 657309"/>
                    <a:gd name="connsiteX2432" fmla="*/ 594130 w 946299"/>
                    <a:gd name="connsiteY2432" fmla="*/ 197153 h 657309"/>
                    <a:gd name="connsiteX2433" fmla="*/ 582934 w 946299"/>
                    <a:gd name="connsiteY2433" fmla="*/ 191336 h 657309"/>
                    <a:gd name="connsiteX2434" fmla="*/ 582557 w 946299"/>
                    <a:gd name="connsiteY2434" fmla="*/ 191142 h 657309"/>
                    <a:gd name="connsiteX2435" fmla="*/ 582169 w 946299"/>
                    <a:gd name="connsiteY2435" fmla="*/ 191009 h 657309"/>
                    <a:gd name="connsiteX2436" fmla="*/ 576534 w 946299"/>
                    <a:gd name="connsiteY2436" fmla="*/ 189017 h 657309"/>
                    <a:gd name="connsiteX2437" fmla="*/ 575551 w 946299"/>
                    <a:gd name="connsiteY2437" fmla="*/ 188665 h 657309"/>
                    <a:gd name="connsiteX2438" fmla="*/ 574507 w 946299"/>
                    <a:gd name="connsiteY2438" fmla="*/ 188665 h 657309"/>
                    <a:gd name="connsiteX2439" fmla="*/ 572843 w 946299"/>
                    <a:gd name="connsiteY2439" fmla="*/ 188665 h 657309"/>
                    <a:gd name="connsiteX2440" fmla="*/ 572454 w 946299"/>
                    <a:gd name="connsiteY2440" fmla="*/ 188665 h 657309"/>
                    <a:gd name="connsiteX2441" fmla="*/ 572066 w 946299"/>
                    <a:gd name="connsiteY2441" fmla="*/ 188713 h 657309"/>
                    <a:gd name="connsiteX2442" fmla="*/ 572066 w 946299"/>
                    <a:gd name="connsiteY2442" fmla="*/ 188713 h 657309"/>
                    <a:gd name="connsiteX2443" fmla="*/ 572042 w 946299"/>
                    <a:gd name="connsiteY2443" fmla="*/ 188289 h 657309"/>
                    <a:gd name="connsiteX2444" fmla="*/ 570463 w 946299"/>
                    <a:gd name="connsiteY2444" fmla="*/ 186625 h 657309"/>
                    <a:gd name="connsiteX2445" fmla="*/ 569152 w 946299"/>
                    <a:gd name="connsiteY2445" fmla="*/ 185241 h 657309"/>
                    <a:gd name="connsiteX2446" fmla="*/ 567804 w 946299"/>
                    <a:gd name="connsiteY2446" fmla="*/ 183808 h 657309"/>
                    <a:gd name="connsiteX2447" fmla="*/ 565861 w 946299"/>
                    <a:gd name="connsiteY2447" fmla="*/ 183456 h 657309"/>
                    <a:gd name="connsiteX2448" fmla="*/ 562643 w 946299"/>
                    <a:gd name="connsiteY2448" fmla="*/ 182861 h 657309"/>
                    <a:gd name="connsiteX2449" fmla="*/ 561647 w 946299"/>
                    <a:gd name="connsiteY2449" fmla="*/ 182678 h 657309"/>
                    <a:gd name="connsiteX2450" fmla="*/ 560639 w 946299"/>
                    <a:gd name="connsiteY2450" fmla="*/ 182824 h 657309"/>
                    <a:gd name="connsiteX2451" fmla="*/ 556669 w 946299"/>
                    <a:gd name="connsiteY2451" fmla="*/ 183419 h 657309"/>
                    <a:gd name="connsiteX2452" fmla="*/ 556171 w 946299"/>
                    <a:gd name="connsiteY2452" fmla="*/ 183492 h 657309"/>
                    <a:gd name="connsiteX2453" fmla="*/ 555685 w 946299"/>
                    <a:gd name="connsiteY2453" fmla="*/ 183650 h 657309"/>
                    <a:gd name="connsiteX2454" fmla="*/ 548557 w 946299"/>
                    <a:gd name="connsiteY2454" fmla="*/ 185981 h 657309"/>
                    <a:gd name="connsiteX2455" fmla="*/ 547865 w 946299"/>
                    <a:gd name="connsiteY2455" fmla="*/ 186212 h 657309"/>
                    <a:gd name="connsiteX2456" fmla="*/ 547246 w 946299"/>
                    <a:gd name="connsiteY2456" fmla="*/ 186589 h 657309"/>
                    <a:gd name="connsiteX2457" fmla="*/ 544939 w 946299"/>
                    <a:gd name="connsiteY2457" fmla="*/ 188021 h 657309"/>
                    <a:gd name="connsiteX2458" fmla="*/ 544599 w 946299"/>
                    <a:gd name="connsiteY2458" fmla="*/ 187681 h 657309"/>
                    <a:gd name="connsiteX2459" fmla="*/ 543785 w 946299"/>
                    <a:gd name="connsiteY2459" fmla="*/ 187232 h 657309"/>
                    <a:gd name="connsiteX2460" fmla="*/ 542522 w 946299"/>
                    <a:gd name="connsiteY2460" fmla="*/ 186564 h 657309"/>
                    <a:gd name="connsiteX2461" fmla="*/ 541939 w 946299"/>
                    <a:gd name="connsiteY2461" fmla="*/ 186261 h 657309"/>
                    <a:gd name="connsiteX2462" fmla="*/ 541320 w 946299"/>
                    <a:gd name="connsiteY2462" fmla="*/ 186078 h 657309"/>
                    <a:gd name="connsiteX2463" fmla="*/ 538503 w 946299"/>
                    <a:gd name="connsiteY2463" fmla="*/ 185277 h 657309"/>
                    <a:gd name="connsiteX2464" fmla="*/ 538054 w 946299"/>
                    <a:gd name="connsiteY2464" fmla="*/ 185143 h 657309"/>
                    <a:gd name="connsiteX2465" fmla="*/ 537592 w 946299"/>
                    <a:gd name="connsiteY2465" fmla="*/ 185095 h 657309"/>
                    <a:gd name="connsiteX2466" fmla="*/ 536390 w 946299"/>
                    <a:gd name="connsiteY2466" fmla="*/ 184949 h 657309"/>
                    <a:gd name="connsiteX2467" fmla="*/ 535831 w 946299"/>
                    <a:gd name="connsiteY2467" fmla="*/ 184876 h 657309"/>
                    <a:gd name="connsiteX2468" fmla="*/ 534969 w 946299"/>
                    <a:gd name="connsiteY2468" fmla="*/ 184852 h 657309"/>
                    <a:gd name="connsiteX2469" fmla="*/ 532626 w 946299"/>
                    <a:gd name="connsiteY2469" fmla="*/ 184998 h 657309"/>
                    <a:gd name="connsiteX2470" fmla="*/ 532541 w 946299"/>
                    <a:gd name="connsiteY2470" fmla="*/ 184925 h 657309"/>
                    <a:gd name="connsiteX2471" fmla="*/ 532128 w 946299"/>
                    <a:gd name="connsiteY2471" fmla="*/ 184670 h 657309"/>
                    <a:gd name="connsiteX2472" fmla="*/ 519147 w 946299"/>
                    <a:gd name="connsiteY2472" fmla="*/ 176862 h 657309"/>
                    <a:gd name="connsiteX2473" fmla="*/ 518528 w 946299"/>
                    <a:gd name="connsiteY2473" fmla="*/ 176498 h 657309"/>
                    <a:gd name="connsiteX2474" fmla="*/ 517848 w 946299"/>
                    <a:gd name="connsiteY2474" fmla="*/ 176279 h 657309"/>
                    <a:gd name="connsiteX2475" fmla="*/ 512165 w 946299"/>
                    <a:gd name="connsiteY2475" fmla="*/ 174470 h 657309"/>
                    <a:gd name="connsiteX2476" fmla="*/ 510368 w 946299"/>
                    <a:gd name="connsiteY2476" fmla="*/ 173899 h 657309"/>
                    <a:gd name="connsiteX2477" fmla="*/ 508558 w 946299"/>
                    <a:gd name="connsiteY2477" fmla="*/ 174458 h 657309"/>
                    <a:gd name="connsiteX2478" fmla="*/ 502451 w 946299"/>
                    <a:gd name="connsiteY2478" fmla="*/ 176328 h 657309"/>
                    <a:gd name="connsiteX2479" fmla="*/ 498626 w 946299"/>
                    <a:gd name="connsiteY2479" fmla="*/ 176728 h 657309"/>
                    <a:gd name="connsiteX2480" fmla="*/ 497375 w 946299"/>
                    <a:gd name="connsiteY2480" fmla="*/ 176850 h 657309"/>
                    <a:gd name="connsiteX2481" fmla="*/ 496282 w 946299"/>
                    <a:gd name="connsiteY2481" fmla="*/ 177457 h 657309"/>
                    <a:gd name="connsiteX2482" fmla="*/ 493003 w 946299"/>
                    <a:gd name="connsiteY2482" fmla="*/ 179290 h 657309"/>
                    <a:gd name="connsiteX2483" fmla="*/ 492518 w 946299"/>
                    <a:gd name="connsiteY2483" fmla="*/ 179558 h 657309"/>
                    <a:gd name="connsiteX2484" fmla="*/ 492080 w 946299"/>
                    <a:gd name="connsiteY2484" fmla="*/ 179910 h 657309"/>
                    <a:gd name="connsiteX2485" fmla="*/ 479804 w 946299"/>
                    <a:gd name="connsiteY2485" fmla="*/ 190146 h 657309"/>
                    <a:gd name="connsiteX2486" fmla="*/ 479428 w 946299"/>
                    <a:gd name="connsiteY2486" fmla="*/ 188580 h 657309"/>
                    <a:gd name="connsiteX2487" fmla="*/ 477971 w 946299"/>
                    <a:gd name="connsiteY2487" fmla="*/ 187305 h 657309"/>
                    <a:gd name="connsiteX2488" fmla="*/ 476525 w 946299"/>
                    <a:gd name="connsiteY2488" fmla="*/ 186042 h 657309"/>
                    <a:gd name="connsiteX2489" fmla="*/ 474121 w 946299"/>
                    <a:gd name="connsiteY2489" fmla="*/ 183941 h 657309"/>
                    <a:gd name="connsiteX2490" fmla="*/ 471037 w 946299"/>
                    <a:gd name="connsiteY2490" fmla="*/ 184731 h 657309"/>
                    <a:gd name="connsiteX2491" fmla="*/ 469228 w 946299"/>
                    <a:gd name="connsiteY2491" fmla="*/ 185192 h 657309"/>
                    <a:gd name="connsiteX2492" fmla="*/ 469094 w 946299"/>
                    <a:gd name="connsiteY2492" fmla="*/ 185216 h 657309"/>
                    <a:gd name="connsiteX2493" fmla="*/ 461237 w 946299"/>
                    <a:gd name="connsiteY2493" fmla="*/ 179206 h 657309"/>
                    <a:gd name="connsiteX2494" fmla="*/ 459841 w 946299"/>
                    <a:gd name="connsiteY2494" fmla="*/ 177578 h 657309"/>
                    <a:gd name="connsiteX2495" fmla="*/ 458542 w 946299"/>
                    <a:gd name="connsiteY2495" fmla="*/ 172867 h 657309"/>
                    <a:gd name="connsiteX2496" fmla="*/ 459829 w 946299"/>
                    <a:gd name="connsiteY2496" fmla="*/ 159085 h 657309"/>
                    <a:gd name="connsiteX2497" fmla="*/ 459914 w 946299"/>
                    <a:gd name="connsiteY2497" fmla="*/ 158150 h 657309"/>
                    <a:gd name="connsiteX2498" fmla="*/ 459708 w 946299"/>
                    <a:gd name="connsiteY2498" fmla="*/ 157227 h 657309"/>
                    <a:gd name="connsiteX2499" fmla="*/ 458214 w 946299"/>
                    <a:gd name="connsiteY2499" fmla="*/ 150330 h 657309"/>
                    <a:gd name="connsiteX2500" fmla="*/ 457898 w 946299"/>
                    <a:gd name="connsiteY2500" fmla="*/ 148824 h 657309"/>
                    <a:gd name="connsiteX2501" fmla="*/ 456890 w 946299"/>
                    <a:gd name="connsiteY2501" fmla="*/ 147658 h 657309"/>
                    <a:gd name="connsiteX2502" fmla="*/ 454243 w 946299"/>
                    <a:gd name="connsiteY2502" fmla="*/ 144586 h 657309"/>
                    <a:gd name="connsiteX2503" fmla="*/ 453502 w 946299"/>
                    <a:gd name="connsiteY2503" fmla="*/ 143736 h 657309"/>
                    <a:gd name="connsiteX2504" fmla="*/ 452507 w 946299"/>
                    <a:gd name="connsiteY2504" fmla="*/ 143202 h 657309"/>
                    <a:gd name="connsiteX2505" fmla="*/ 437814 w 946299"/>
                    <a:gd name="connsiteY2505" fmla="*/ 135309 h 657309"/>
                    <a:gd name="connsiteX2506" fmla="*/ 437352 w 946299"/>
                    <a:gd name="connsiteY2506" fmla="*/ 135054 h 657309"/>
                    <a:gd name="connsiteX2507" fmla="*/ 436842 w 946299"/>
                    <a:gd name="connsiteY2507" fmla="*/ 134884 h 657309"/>
                    <a:gd name="connsiteX2508" fmla="*/ 434827 w 946299"/>
                    <a:gd name="connsiteY2508" fmla="*/ 134216 h 657309"/>
                    <a:gd name="connsiteX2509" fmla="*/ 432787 w 946299"/>
                    <a:gd name="connsiteY2509" fmla="*/ 133548 h 657309"/>
                    <a:gd name="connsiteX2510" fmla="*/ 430771 w 946299"/>
                    <a:gd name="connsiteY2510" fmla="*/ 134313 h 657309"/>
                    <a:gd name="connsiteX2511" fmla="*/ 415956 w 946299"/>
                    <a:gd name="connsiteY2511" fmla="*/ 139947 h 657309"/>
                    <a:gd name="connsiteX2512" fmla="*/ 415629 w 946299"/>
                    <a:gd name="connsiteY2512" fmla="*/ 140069 h 657309"/>
                    <a:gd name="connsiteX2513" fmla="*/ 415325 w 946299"/>
                    <a:gd name="connsiteY2513" fmla="*/ 140239 h 657309"/>
                    <a:gd name="connsiteX2514" fmla="*/ 407104 w 946299"/>
                    <a:gd name="connsiteY2514" fmla="*/ 144513 h 657309"/>
                    <a:gd name="connsiteX2515" fmla="*/ 400838 w 946299"/>
                    <a:gd name="connsiteY2515" fmla="*/ 147743 h 657309"/>
                    <a:gd name="connsiteX2516" fmla="*/ 399685 w 946299"/>
                    <a:gd name="connsiteY2516" fmla="*/ 148095 h 657309"/>
                    <a:gd name="connsiteX2517" fmla="*/ 397985 w 946299"/>
                    <a:gd name="connsiteY2517" fmla="*/ 147597 h 657309"/>
                    <a:gd name="connsiteX2518" fmla="*/ 397317 w 946299"/>
                    <a:gd name="connsiteY2518" fmla="*/ 147403 h 657309"/>
                    <a:gd name="connsiteX2519" fmla="*/ 396625 w 946299"/>
                    <a:gd name="connsiteY2519" fmla="*/ 147367 h 657309"/>
                    <a:gd name="connsiteX2520" fmla="*/ 393346 w 946299"/>
                    <a:gd name="connsiteY2520" fmla="*/ 147185 h 657309"/>
                    <a:gd name="connsiteX2521" fmla="*/ 390857 w 946299"/>
                    <a:gd name="connsiteY2521" fmla="*/ 147039 h 657309"/>
                    <a:gd name="connsiteX2522" fmla="*/ 388987 w 946299"/>
                    <a:gd name="connsiteY2522" fmla="*/ 148690 h 657309"/>
                    <a:gd name="connsiteX2523" fmla="*/ 385891 w 946299"/>
                    <a:gd name="connsiteY2523" fmla="*/ 151422 h 657309"/>
                    <a:gd name="connsiteX2524" fmla="*/ 385599 w 946299"/>
                    <a:gd name="connsiteY2524" fmla="*/ 151690 h 657309"/>
                    <a:gd name="connsiteX2525" fmla="*/ 385344 w 946299"/>
                    <a:gd name="connsiteY2525" fmla="*/ 151981 h 657309"/>
                    <a:gd name="connsiteX2526" fmla="*/ 382685 w 946299"/>
                    <a:gd name="connsiteY2526" fmla="*/ 155029 h 657309"/>
                    <a:gd name="connsiteX2527" fmla="*/ 382636 w 946299"/>
                    <a:gd name="connsiteY2527" fmla="*/ 155078 h 657309"/>
                    <a:gd name="connsiteX2528" fmla="*/ 381203 w 946299"/>
                    <a:gd name="connsiteY2528" fmla="*/ 156098 h 657309"/>
                    <a:gd name="connsiteX2529" fmla="*/ 376407 w 946299"/>
                    <a:gd name="connsiteY2529" fmla="*/ 157482 h 657309"/>
                    <a:gd name="connsiteX2530" fmla="*/ 375217 w 946299"/>
                    <a:gd name="connsiteY2530" fmla="*/ 157506 h 657309"/>
                    <a:gd name="connsiteX2531" fmla="*/ 360330 w 946299"/>
                    <a:gd name="connsiteY2531" fmla="*/ 153742 h 657309"/>
                    <a:gd name="connsiteX2532" fmla="*/ 357755 w 946299"/>
                    <a:gd name="connsiteY2532" fmla="*/ 151155 h 657309"/>
                    <a:gd name="connsiteX2533" fmla="*/ 357719 w 946299"/>
                    <a:gd name="connsiteY2533" fmla="*/ 146662 h 657309"/>
                    <a:gd name="connsiteX2534" fmla="*/ 357051 w 946299"/>
                    <a:gd name="connsiteY2534" fmla="*/ 140008 h 657309"/>
                    <a:gd name="connsiteX2535" fmla="*/ 356687 w 946299"/>
                    <a:gd name="connsiteY2535" fmla="*/ 136365 h 657309"/>
                    <a:gd name="connsiteX2536" fmla="*/ 353287 w 946299"/>
                    <a:gd name="connsiteY2536" fmla="*/ 134993 h 657309"/>
                    <a:gd name="connsiteX2537" fmla="*/ 345940 w 946299"/>
                    <a:gd name="connsiteY2537" fmla="*/ 132030 h 657309"/>
                    <a:gd name="connsiteX2538" fmla="*/ 344568 w 946299"/>
                    <a:gd name="connsiteY2538" fmla="*/ 131472 h 657309"/>
                    <a:gd name="connsiteX2539" fmla="*/ 343087 w 946299"/>
                    <a:gd name="connsiteY2539" fmla="*/ 131617 h 657309"/>
                    <a:gd name="connsiteX2540" fmla="*/ 338837 w 946299"/>
                    <a:gd name="connsiteY2540" fmla="*/ 132042 h 657309"/>
                    <a:gd name="connsiteX2541" fmla="*/ 338035 w 946299"/>
                    <a:gd name="connsiteY2541" fmla="*/ 132115 h 657309"/>
                    <a:gd name="connsiteX2542" fmla="*/ 337282 w 946299"/>
                    <a:gd name="connsiteY2542" fmla="*/ 132407 h 657309"/>
                    <a:gd name="connsiteX2543" fmla="*/ 330203 w 946299"/>
                    <a:gd name="connsiteY2543" fmla="*/ 135102 h 657309"/>
                    <a:gd name="connsiteX2544" fmla="*/ 330434 w 946299"/>
                    <a:gd name="connsiteY2544" fmla="*/ 132273 h 657309"/>
                    <a:gd name="connsiteX2545" fmla="*/ 326718 w 946299"/>
                    <a:gd name="connsiteY2545" fmla="*/ 130464 h 657309"/>
                    <a:gd name="connsiteX2546" fmla="*/ 323488 w 946299"/>
                    <a:gd name="connsiteY2546" fmla="*/ 128885 h 657309"/>
                    <a:gd name="connsiteX2547" fmla="*/ 322614 w 946299"/>
                    <a:gd name="connsiteY2547" fmla="*/ 128460 h 657309"/>
                    <a:gd name="connsiteX2548" fmla="*/ 321654 w 946299"/>
                    <a:gd name="connsiteY2548" fmla="*/ 128327 h 657309"/>
                    <a:gd name="connsiteX2549" fmla="*/ 319639 w 946299"/>
                    <a:gd name="connsiteY2549" fmla="*/ 128047 h 657309"/>
                    <a:gd name="connsiteX2550" fmla="*/ 318291 w 946299"/>
                    <a:gd name="connsiteY2550" fmla="*/ 127683 h 657309"/>
                    <a:gd name="connsiteX2551" fmla="*/ 316469 w 946299"/>
                    <a:gd name="connsiteY2551" fmla="*/ 126785 h 657309"/>
                    <a:gd name="connsiteX2552" fmla="*/ 315972 w 946299"/>
                    <a:gd name="connsiteY2552" fmla="*/ 125619 h 657309"/>
                    <a:gd name="connsiteX2553" fmla="*/ 315000 w 946299"/>
                    <a:gd name="connsiteY2553" fmla="*/ 121842 h 657309"/>
                    <a:gd name="connsiteX2554" fmla="*/ 314733 w 946299"/>
                    <a:gd name="connsiteY2554" fmla="*/ 120786 h 657309"/>
                    <a:gd name="connsiteX2555" fmla="*/ 314101 w 946299"/>
                    <a:gd name="connsiteY2555" fmla="*/ 119887 h 657309"/>
                    <a:gd name="connsiteX2556" fmla="*/ 311418 w 946299"/>
                    <a:gd name="connsiteY2556" fmla="*/ 116050 h 657309"/>
                    <a:gd name="connsiteX2557" fmla="*/ 310604 w 946299"/>
                    <a:gd name="connsiteY2557" fmla="*/ 114884 h 657309"/>
                    <a:gd name="connsiteX2558" fmla="*/ 309353 w 946299"/>
                    <a:gd name="connsiteY2558" fmla="*/ 114204 h 657309"/>
                    <a:gd name="connsiteX2559" fmla="*/ 305103 w 946299"/>
                    <a:gd name="connsiteY2559" fmla="*/ 111873 h 657309"/>
                    <a:gd name="connsiteX2560" fmla="*/ 304606 w 946299"/>
                    <a:gd name="connsiteY2560" fmla="*/ 111606 h 657309"/>
                    <a:gd name="connsiteX2561" fmla="*/ 304059 w 946299"/>
                    <a:gd name="connsiteY2561" fmla="*/ 111424 h 657309"/>
                    <a:gd name="connsiteX2562" fmla="*/ 295353 w 946299"/>
                    <a:gd name="connsiteY2562" fmla="*/ 108606 h 657309"/>
                    <a:gd name="connsiteX2563" fmla="*/ 292742 w 946299"/>
                    <a:gd name="connsiteY2563" fmla="*/ 107101 h 657309"/>
                    <a:gd name="connsiteX2564" fmla="*/ 291600 w 946299"/>
                    <a:gd name="connsiteY2564" fmla="*/ 105255 h 657309"/>
                    <a:gd name="connsiteX2565" fmla="*/ 290253 w 946299"/>
                    <a:gd name="connsiteY2565" fmla="*/ 103045 h 657309"/>
                    <a:gd name="connsiteX2566" fmla="*/ 287715 w 946299"/>
                    <a:gd name="connsiteY2566" fmla="*/ 102499 h 657309"/>
                    <a:gd name="connsiteX2567" fmla="*/ 284800 w 946299"/>
                    <a:gd name="connsiteY2567" fmla="*/ 101867 h 657309"/>
                    <a:gd name="connsiteX2568" fmla="*/ 283137 w 946299"/>
                    <a:gd name="connsiteY2568" fmla="*/ 101515 h 657309"/>
                    <a:gd name="connsiteX2569" fmla="*/ 281546 w 946299"/>
                    <a:gd name="connsiteY2569" fmla="*/ 102061 h 657309"/>
                    <a:gd name="connsiteX2570" fmla="*/ 278438 w 946299"/>
                    <a:gd name="connsiteY2570" fmla="*/ 103130 h 657309"/>
                    <a:gd name="connsiteX2571" fmla="*/ 277539 w 946299"/>
                    <a:gd name="connsiteY2571" fmla="*/ 103434 h 657309"/>
                    <a:gd name="connsiteX2572" fmla="*/ 276786 w 946299"/>
                    <a:gd name="connsiteY2572" fmla="*/ 103992 h 657309"/>
                    <a:gd name="connsiteX2573" fmla="*/ 276021 w 946299"/>
                    <a:gd name="connsiteY2573" fmla="*/ 104575 h 657309"/>
                    <a:gd name="connsiteX2574" fmla="*/ 256022 w 946299"/>
                    <a:gd name="connsiteY2574" fmla="*/ 99305 h 657309"/>
                    <a:gd name="connsiteX2575" fmla="*/ 255997 w 946299"/>
                    <a:gd name="connsiteY2575" fmla="*/ 99184 h 657309"/>
                    <a:gd name="connsiteX2576" fmla="*/ 256835 w 946299"/>
                    <a:gd name="connsiteY2576" fmla="*/ 96840 h 657309"/>
                    <a:gd name="connsiteX2577" fmla="*/ 259252 w 946299"/>
                    <a:gd name="connsiteY2577" fmla="*/ 92699 h 657309"/>
                    <a:gd name="connsiteX2578" fmla="*/ 259446 w 946299"/>
                    <a:gd name="connsiteY2578" fmla="*/ 92371 h 657309"/>
                    <a:gd name="connsiteX2579" fmla="*/ 259604 w 946299"/>
                    <a:gd name="connsiteY2579" fmla="*/ 92019 h 657309"/>
                    <a:gd name="connsiteX2580" fmla="*/ 261449 w 946299"/>
                    <a:gd name="connsiteY2580" fmla="*/ 87648 h 657309"/>
                    <a:gd name="connsiteX2581" fmla="*/ 261777 w 946299"/>
                    <a:gd name="connsiteY2581" fmla="*/ 86883 h 657309"/>
                    <a:gd name="connsiteX2582" fmla="*/ 261887 w 946299"/>
                    <a:gd name="connsiteY2582" fmla="*/ 86057 h 657309"/>
                    <a:gd name="connsiteX2583" fmla="*/ 262919 w 946299"/>
                    <a:gd name="connsiteY2583" fmla="*/ 78018 h 657309"/>
                    <a:gd name="connsiteX2584" fmla="*/ 262980 w 946299"/>
                    <a:gd name="connsiteY2584" fmla="*/ 77484 h 657309"/>
                    <a:gd name="connsiteX2585" fmla="*/ 262956 w 946299"/>
                    <a:gd name="connsiteY2585" fmla="*/ 76938 h 657309"/>
                    <a:gd name="connsiteX2586" fmla="*/ 262555 w 946299"/>
                    <a:gd name="connsiteY2586" fmla="*/ 69215 h 657309"/>
                    <a:gd name="connsiteX2587" fmla="*/ 262530 w 946299"/>
                    <a:gd name="connsiteY2587" fmla="*/ 68668 h 657309"/>
                    <a:gd name="connsiteX2588" fmla="*/ 262409 w 946299"/>
                    <a:gd name="connsiteY2588" fmla="*/ 68146 h 657309"/>
                    <a:gd name="connsiteX2589" fmla="*/ 260624 w 946299"/>
                    <a:gd name="connsiteY2589" fmla="*/ 60593 h 657309"/>
                    <a:gd name="connsiteX2590" fmla="*/ 260502 w 946299"/>
                    <a:gd name="connsiteY2590" fmla="*/ 60108 h 657309"/>
                    <a:gd name="connsiteX2591" fmla="*/ 260308 w 946299"/>
                    <a:gd name="connsiteY2591" fmla="*/ 59646 h 657309"/>
                    <a:gd name="connsiteX2592" fmla="*/ 257260 w 946299"/>
                    <a:gd name="connsiteY2592" fmla="*/ 52324 h 657309"/>
                    <a:gd name="connsiteX2593" fmla="*/ 257005 w 946299"/>
                    <a:gd name="connsiteY2593" fmla="*/ 51705 h 657309"/>
                    <a:gd name="connsiteX2594" fmla="*/ 256617 w 946299"/>
                    <a:gd name="connsiteY2594" fmla="*/ 51158 h 657309"/>
                    <a:gd name="connsiteX2595" fmla="*/ 251845 w 946299"/>
                    <a:gd name="connsiteY2595" fmla="*/ 44395 h 657309"/>
                    <a:gd name="connsiteX2596" fmla="*/ 251201 w 946299"/>
                    <a:gd name="connsiteY2596" fmla="*/ 43484 h 657309"/>
                    <a:gd name="connsiteX2597" fmla="*/ 250278 w 946299"/>
                    <a:gd name="connsiteY2597" fmla="*/ 42853 h 657309"/>
                    <a:gd name="connsiteX2598" fmla="*/ 244717 w 946299"/>
                    <a:gd name="connsiteY2598" fmla="*/ 39113 h 657309"/>
                    <a:gd name="connsiteX2599" fmla="*/ 243648 w 946299"/>
                    <a:gd name="connsiteY2599" fmla="*/ 38396 h 657309"/>
                    <a:gd name="connsiteX2600" fmla="*/ 242385 w 946299"/>
                    <a:gd name="connsiteY2600" fmla="*/ 38178 h 657309"/>
                    <a:gd name="connsiteX2601" fmla="*/ 189612 w 946299"/>
                    <a:gd name="connsiteY2601" fmla="*/ 28839 h 657309"/>
                    <a:gd name="connsiteX2602" fmla="*/ 187524 w 946299"/>
                    <a:gd name="connsiteY2602" fmla="*/ 27552 h 657309"/>
                    <a:gd name="connsiteX2603" fmla="*/ 184998 w 946299"/>
                    <a:gd name="connsiteY2603" fmla="*/ 24140 h 657309"/>
                    <a:gd name="connsiteX2604" fmla="*/ 183431 w 946299"/>
                    <a:gd name="connsiteY2604" fmla="*/ 20874 h 657309"/>
                    <a:gd name="connsiteX2605" fmla="*/ 182776 w 946299"/>
                    <a:gd name="connsiteY2605" fmla="*/ 19514 h 657309"/>
                    <a:gd name="connsiteX2606" fmla="*/ 181561 w 946299"/>
                    <a:gd name="connsiteY2606" fmla="*/ 18615 h 657309"/>
                    <a:gd name="connsiteX2607" fmla="*/ 179036 w 946299"/>
                    <a:gd name="connsiteY2607" fmla="*/ 16745 h 657309"/>
                    <a:gd name="connsiteX2608" fmla="*/ 177008 w 946299"/>
                    <a:gd name="connsiteY2608" fmla="*/ 15239 h 657309"/>
                    <a:gd name="connsiteX2609" fmla="*/ 174518 w 946299"/>
                    <a:gd name="connsiteY2609" fmla="*/ 15616 h 657309"/>
                    <a:gd name="connsiteX2610" fmla="*/ 172065 w 946299"/>
                    <a:gd name="connsiteY2610" fmla="*/ 15992 h 657309"/>
                    <a:gd name="connsiteX2611" fmla="*/ 171556 w 946299"/>
                    <a:gd name="connsiteY2611" fmla="*/ 14754 h 657309"/>
                    <a:gd name="connsiteX2612" fmla="*/ 171143 w 946299"/>
                    <a:gd name="connsiteY2612" fmla="*/ 13746 h 657309"/>
                    <a:gd name="connsiteX2613" fmla="*/ 170390 w 946299"/>
                    <a:gd name="connsiteY2613" fmla="*/ 12944 h 657309"/>
                    <a:gd name="connsiteX2614" fmla="*/ 168665 w 946299"/>
                    <a:gd name="connsiteY2614" fmla="*/ 11087 h 657309"/>
                    <a:gd name="connsiteX2615" fmla="*/ 167694 w 946299"/>
                    <a:gd name="connsiteY2615" fmla="*/ 10042 h 657309"/>
                    <a:gd name="connsiteX2616" fmla="*/ 166370 w 946299"/>
                    <a:gd name="connsiteY2616" fmla="*/ 9532 h 657309"/>
                    <a:gd name="connsiteX2617" fmla="*/ 162290 w 946299"/>
                    <a:gd name="connsiteY2617" fmla="*/ 7978 h 657309"/>
                    <a:gd name="connsiteX2618" fmla="*/ 161465 w 946299"/>
                    <a:gd name="connsiteY2618" fmla="*/ 7492 h 657309"/>
                    <a:gd name="connsiteX2619" fmla="*/ 160991 w 946299"/>
                    <a:gd name="connsiteY2619" fmla="*/ 5489 h 657309"/>
                    <a:gd name="connsiteX2620" fmla="*/ 160129 w 946299"/>
                    <a:gd name="connsiteY2620" fmla="*/ 1749 h 657309"/>
                    <a:gd name="connsiteX2621" fmla="*/ 156377 w 946299"/>
                    <a:gd name="connsiteY2621" fmla="*/ 935 h 657309"/>
                    <a:gd name="connsiteX2622" fmla="*/ 153098 w 946299"/>
                    <a:gd name="connsiteY2622" fmla="*/ 219 h 657309"/>
                    <a:gd name="connsiteX2623" fmla="*/ 151240 w 946299"/>
                    <a:gd name="connsiteY2623" fmla="*/ 0 h 657309"/>
                    <a:gd name="connsiteX2624" fmla="*/ 151240 w 946299"/>
                    <a:gd name="connsiteY2624" fmla="*/ 0 h 657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Lst>
                  <a:rect l="l" t="t" r="r" b="b"/>
                  <a:pathLst>
                    <a:path w="946299" h="657309">
                      <a:moveTo>
                        <a:pt x="151762" y="6339"/>
                      </a:moveTo>
                      <a:lnTo>
                        <a:pt x="155041" y="7055"/>
                      </a:lnTo>
                      <a:lnTo>
                        <a:pt x="155903" y="10759"/>
                      </a:lnTo>
                      <a:lnTo>
                        <a:pt x="157628" y="12507"/>
                      </a:lnTo>
                      <a:lnTo>
                        <a:pt x="159643" y="13661"/>
                      </a:lnTo>
                      <a:lnTo>
                        <a:pt x="164173" y="15385"/>
                      </a:lnTo>
                      <a:lnTo>
                        <a:pt x="165897" y="17243"/>
                      </a:lnTo>
                      <a:lnTo>
                        <a:pt x="167913" y="22161"/>
                      </a:lnTo>
                      <a:lnTo>
                        <a:pt x="169685" y="22671"/>
                      </a:lnTo>
                      <a:lnTo>
                        <a:pt x="175381" y="21809"/>
                      </a:lnTo>
                      <a:lnTo>
                        <a:pt x="177906" y="23679"/>
                      </a:lnTo>
                      <a:lnTo>
                        <a:pt x="179728" y="27467"/>
                      </a:lnTo>
                      <a:lnTo>
                        <a:pt x="183298" y="32288"/>
                      </a:lnTo>
                      <a:lnTo>
                        <a:pt x="187378" y="34790"/>
                      </a:lnTo>
                      <a:lnTo>
                        <a:pt x="241292" y="44322"/>
                      </a:lnTo>
                      <a:lnTo>
                        <a:pt x="246854" y="48062"/>
                      </a:lnTo>
                      <a:lnTo>
                        <a:pt x="251626" y="54825"/>
                      </a:lnTo>
                      <a:lnTo>
                        <a:pt x="254674" y="62148"/>
                      </a:lnTo>
                      <a:lnTo>
                        <a:pt x="256459" y="69701"/>
                      </a:lnTo>
                      <a:lnTo>
                        <a:pt x="256860" y="77423"/>
                      </a:lnTo>
                      <a:lnTo>
                        <a:pt x="255828" y="85462"/>
                      </a:lnTo>
                      <a:lnTo>
                        <a:pt x="253970" y="89834"/>
                      </a:lnTo>
                      <a:lnTo>
                        <a:pt x="251286" y="94448"/>
                      </a:lnTo>
                      <a:lnTo>
                        <a:pt x="249622" y="99050"/>
                      </a:lnTo>
                      <a:lnTo>
                        <a:pt x="250715" y="103385"/>
                      </a:lnTo>
                      <a:lnTo>
                        <a:pt x="253180" y="105024"/>
                      </a:lnTo>
                      <a:lnTo>
                        <a:pt x="275730" y="110962"/>
                      </a:lnTo>
                      <a:lnTo>
                        <a:pt x="277867" y="110926"/>
                      </a:lnTo>
                      <a:lnTo>
                        <a:pt x="280392" y="109044"/>
                      </a:lnTo>
                      <a:lnTo>
                        <a:pt x="283501" y="107975"/>
                      </a:lnTo>
                      <a:lnTo>
                        <a:pt x="286415" y="108606"/>
                      </a:lnTo>
                      <a:lnTo>
                        <a:pt x="288358" y="111764"/>
                      </a:lnTo>
                      <a:lnTo>
                        <a:pt x="288419" y="111800"/>
                      </a:lnTo>
                      <a:lnTo>
                        <a:pt x="292851" y="114350"/>
                      </a:lnTo>
                      <a:lnTo>
                        <a:pt x="302165" y="117362"/>
                      </a:lnTo>
                      <a:lnTo>
                        <a:pt x="306415" y="119693"/>
                      </a:lnTo>
                      <a:lnTo>
                        <a:pt x="309099" y="123530"/>
                      </a:lnTo>
                      <a:lnTo>
                        <a:pt x="310191" y="127756"/>
                      </a:lnTo>
                      <a:lnTo>
                        <a:pt x="311758" y="131399"/>
                      </a:lnTo>
                      <a:lnTo>
                        <a:pt x="316117" y="133560"/>
                      </a:lnTo>
                      <a:lnTo>
                        <a:pt x="318412" y="134180"/>
                      </a:lnTo>
                      <a:lnTo>
                        <a:pt x="320804" y="134507"/>
                      </a:lnTo>
                      <a:lnTo>
                        <a:pt x="324034" y="136086"/>
                      </a:lnTo>
                      <a:lnTo>
                        <a:pt x="323791" y="139122"/>
                      </a:lnTo>
                      <a:lnTo>
                        <a:pt x="324083" y="141854"/>
                      </a:lnTo>
                      <a:lnTo>
                        <a:pt x="328892" y="142255"/>
                      </a:lnTo>
                      <a:lnTo>
                        <a:pt x="339407" y="138260"/>
                      </a:lnTo>
                      <a:lnTo>
                        <a:pt x="343657" y="137835"/>
                      </a:lnTo>
                      <a:lnTo>
                        <a:pt x="351004" y="140797"/>
                      </a:lnTo>
                      <a:lnTo>
                        <a:pt x="351635" y="146881"/>
                      </a:lnTo>
                      <a:lnTo>
                        <a:pt x="351696" y="153851"/>
                      </a:lnTo>
                      <a:lnTo>
                        <a:pt x="357197" y="159376"/>
                      </a:lnTo>
                      <a:lnTo>
                        <a:pt x="374500" y="163760"/>
                      </a:lnTo>
                      <a:lnTo>
                        <a:pt x="377305" y="163699"/>
                      </a:lnTo>
                      <a:lnTo>
                        <a:pt x="383851" y="161805"/>
                      </a:lnTo>
                      <a:lnTo>
                        <a:pt x="386898" y="159631"/>
                      </a:lnTo>
                      <a:lnTo>
                        <a:pt x="387226" y="159170"/>
                      </a:lnTo>
                      <a:lnTo>
                        <a:pt x="389886" y="156122"/>
                      </a:lnTo>
                      <a:lnTo>
                        <a:pt x="392982" y="153390"/>
                      </a:lnTo>
                      <a:lnTo>
                        <a:pt x="396261" y="153572"/>
                      </a:lnTo>
                      <a:lnTo>
                        <a:pt x="399685" y="154568"/>
                      </a:lnTo>
                      <a:lnTo>
                        <a:pt x="403085" y="153535"/>
                      </a:lnTo>
                      <a:lnTo>
                        <a:pt x="409861" y="150038"/>
                      </a:lnTo>
                      <a:lnTo>
                        <a:pt x="418081" y="145764"/>
                      </a:lnTo>
                      <a:lnTo>
                        <a:pt x="432896" y="140130"/>
                      </a:lnTo>
                      <a:lnTo>
                        <a:pt x="434911" y="140797"/>
                      </a:lnTo>
                      <a:lnTo>
                        <a:pt x="449605" y="148690"/>
                      </a:lnTo>
                      <a:lnTo>
                        <a:pt x="452252" y="151762"/>
                      </a:lnTo>
                      <a:lnTo>
                        <a:pt x="453745" y="158660"/>
                      </a:lnTo>
                      <a:lnTo>
                        <a:pt x="452361" y="173547"/>
                      </a:lnTo>
                      <a:lnTo>
                        <a:pt x="454316" y="180650"/>
                      </a:lnTo>
                      <a:lnTo>
                        <a:pt x="457024" y="183796"/>
                      </a:lnTo>
                      <a:lnTo>
                        <a:pt x="467127" y="191518"/>
                      </a:lnTo>
                      <a:lnTo>
                        <a:pt x="468790" y="191956"/>
                      </a:lnTo>
                      <a:lnTo>
                        <a:pt x="470697" y="191215"/>
                      </a:lnTo>
                      <a:lnTo>
                        <a:pt x="472506" y="190753"/>
                      </a:lnTo>
                      <a:lnTo>
                        <a:pt x="473951" y="192016"/>
                      </a:lnTo>
                      <a:lnTo>
                        <a:pt x="474352" y="193704"/>
                      </a:lnTo>
                      <a:lnTo>
                        <a:pt x="474352" y="195489"/>
                      </a:lnTo>
                      <a:lnTo>
                        <a:pt x="474752" y="197031"/>
                      </a:lnTo>
                      <a:lnTo>
                        <a:pt x="476015" y="198185"/>
                      </a:lnTo>
                      <a:lnTo>
                        <a:pt x="479051" y="197687"/>
                      </a:lnTo>
                      <a:lnTo>
                        <a:pt x="483119" y="195404"/>
                      </a:lnTo>
                      <a:lnTo>
                        <a:pt x="495942" y="184718"/>
                      </a:lnTo>
                      <a:lnTo>
                        <a:pt x="499221" y="182885"/>
                      </a:lnTo>
                      <a:lnTo>
                        <a:pt x="503640" y="182423"/>
                      </a:lnTo>
                      <a:lnTo>
                        <a:pt x="510307" y="180383"/>
                      </a:lnTo>
                      <a:lnTo>
                        <a:pt x="515990" y="182193"/>
                      </a:lnTo>
                      <a:lnTo>
                        <a:pt x="528971" y="190001"/>
                      </a:lnTo>
                      <a:lnTo>
                        <a:pt x="529942" y="190826"/>
                      </a:lnTo>
                      <a:lnTo>
                        <a:pt x="531084" y="191300"/>
                      </a:lnTo>
                      <a:lnTo>
                        <a:pt x="535334" y="191033"/>
                      </a:lnTo>
                      <a:lnTo>
                        <a:pt x="535625" y="191093"/>
                      </a:lnTo>
                      <a:lnTo>
                        <a:pt x="536827" y="191239"/>
                      </a:lnTo>
                      <a:lnTo>
                        <a:pt x="539644" y="192041"/>
                      </a:lnTo>
                      <a:lnTo>
                        <a:pt x="540907" y="192709"/>
                      </a:lnTo>
                      <a:lnTo>
                        <a:pt x="541818" y="193644"/>
                      </a:lnTo>
                      <a:lnTo>
                        <a:pt x="542984" y="194481"/>
                      </a:lnTo>
                      <a:lnTo>
                        <a:pt x="544926" y="194846"/>
                      </a:lnTo>
                      <a:lnTo>
                        <a:pt x="546250" y="194445"/>
                      </a:lnTo>
                      <a:lnTo>
                        <a:pt x="550427" y="191871"/>
                      </a:lnTo>
                      <a:lnTo>
                        <a:pt x="557555" y="189539"/>
                      </a:lnTo>
                      <a:lnTo>
                        <a:pt x="561526" y="188944"/>
                      </a:lnTo>
                      <a:lnTo>
                        <a:pt x="564744" y="189539"/>
                      </a:lnTo>
                      <a:lnTo>
                        <a:pt x="566055" y="190924"/>
                      </a:lnTo>
                      <a:lnTo>
                        <a:pt x="566165" y="193765"/>
                      </a:lnTo>
                      <a:lnTo>
                        <a:pt x="567439" y="195198"/>
                      </a:lnTo>
                      <a:lnTo>
                        <a:pt x="568812" y="195368"/>
                      </a:lnTo>
                      <a:lnTo>
                        <a:pt x="572831" y="194846"/>
                      </a:lnTo>
                      <a:lnTo>
                        <a:pt x="574494" y="194846"/>
                      </a:lnTo>
                      <a:lnTo>
                        <a:pt x="580129" y="196837"/>
                      </a:lnTo>
                      <a:lnTo>
                        <a:pt x="591604" y="202799"/>
                      </a:lnTo>
                      <a:lnTo>
                        <a:pt x="597360" y="205046"/>
                      </a:lnTo>
                      <a:lnTo>
                        <a:pt x="601027" y="205884"/>
                      </a:lnTo>
                      <a:lnTo>
                        <a:pt x="603965" y="207438"/>
                      </a:lnTo>
                      <a:lnTo>
                        <a:pt x="606540" y="209636"/>
                      </a:lnTo>
                      <a:lnTo>
                        <a:pt x="609066" y="212514"/>
                      </a:lnTo>
                      <a:lnTo>
                        <a:pt x="612805" y="214687"/>
                      </a:lnTo>
                      <a:lnTo>
                        <a:pt x="625495" y="220261"/>
                      </a:lnTo>
                      <a:lnTo>
                        <a:pt x="638585" y="227935"/>
                      </a:lnTo>
                      <a:lnTo>
                        <a:pt x="642021" y="228676"/>
                      </a:lnTo>
                      <a:lnTo>
                        <a:pt x="643977" y="227182"/>
                      </a:lnTo>
                      <a:lnTo>
                        <a:pt x="645239" y="224802"/>
                      </a:lnTo>
                      <a:lnTo>
                        <a:pt x="646612" y="222786"/>
                      </a:lnTo>
                      <a:lnTo>
                        <a:pt x="649198" y="222434"/>
                      </a:lnTo>
                      <a:lnTo>
                        <a:pt x="655865" y="224948"/>
                      </a:lnTo>
                      <a:lnTo>
                        <a:pt x="657589" y="225264"/>
                      </a:lnTo>
                      <a:lnTo>
                        <a:pt x="662349" y="223928"/>
                      </a:lnTo>
                      <a:lnTo>
                        <a:pt x="666963" y="221014"/>
                      </a:lnTo>
                      <a:lnTo>
                        <a:pt x="670582" y="217019"/>
                      </a:lnTo>
                      <a:lnTo>
                        <a:pt x="672452" y="212514"/>
                      </a:lnTo>
                      <a:lnTo>
                        <a:pt x="678317" y="209150"/>
                      </a:lnTo>
                      <a:lnTo>
                        <a:pt x="683599" y="207401"/>
                      </a:lnTo>
                      <a:lnTo>
                        <a:pt x="690557" y="205046"/>
                      </a:lnTo>
                      <a:lnTo>
                        <a:pt x="692961" y="203297"/>
                      </a:lnTo>
                      <a:lnTo>
                        <a:pt x="698644" y="197614"/>
                      </a:lnTo>
                      <a:lnTo>
                        <a:pt x="701340" y="195429"/>
                      </a:lnTo>
                      <a:lnTo>
                        <a:pt x="703538" y="195344"/>
                      </a:lnTo>
                      <a:lnTo>
                        <a:pt x="704108" y="199156"/>
                      </a:lnTo>
                      <a:lnTo>
                        <a:pt x="704169" y="202581"/>
                      </a:lnTo>
                      <a:lnTo>
                        <a:pt x="706342" y="212514"/>
                      </a:lnTo>
                      <a:lnTo>
                        <a:pt x="706403" y="212514"/>
                      </a:lnTo>
                      <a:lnTo>
                        <a:pt x="708249" y="218391"/>
                      </a:lnTo>
                      <a:lnTo>
                        <a:pt x="711394" y="225142"/>
                      </a:lnTo>
                      <a:lnTo>
                        <a:pt x="715717" y="230631"/>
                      </a:lnTo>
                      <a:lnTo>
                        <a:pt x="721108" y="232756"/>
                      </a:lnTo>
                      <a:lnTo>
                        <a:pt x="731078" y="231687"/>
                      </a:lnTo>
                      <a:lnTo>
                        <a:pt x="736834" y="229975"/>
                      </a:lnTo>
                      <a:lnTo>
                        <a:pt x="738788" y="231833"/>
                      </a:lnTo>
                      <a:lnTo>
                        <a:pt x="740051" y="234966"/>
                      </a:lnTo>
                      <a:lnTo>
                        <a:pt x="741776" y="237577"/>
                      </a:lnTo>
                      <a:lnTo>
                        <a:pt x="744241" y="239034"/>
                      </a:lnTo>
                      <a:lnTo>
                        <a:pt x="752122" y="242458"/>
                      </a:lnTo>
                      <a:lnTo>
                        <a:pt x="754647" y="242895"/>
                      </a:lnTo>
                      <a:lnTo>
                        <a:pt x="756930" y="240965"/>
                      </a:lnTo>
                      <a:lnTo>
                        <a:pt x="760439" y="233727"/>
                      </a:lnTo>
                      <a:lnTo>
                        <a:pt x="762637" y="230862"/>
                      </a:lnTo>
                      <a:lnTo>
                        <a:pt x="767798" y="227838"/>
                      </a:lnTo>
                      <a:lnTo>
                        <a:pt x="773894" y="226174"/>
                      </a:lnTo>
                      <a:lnTo>
                        <a:pt x="780099" y="225834"/>
                      </a:lnTo>
                      <a:lnTo>
                        <a:pt x="785842" y="226891"/>
                      </a:lnTo>
                      <a:lnTo>
                        <a:pt x="799333" y="234274"/>
                      </a:lnTo>
                      <a:lnTo>
                        <a:pt x="805878" y="235998"/>
                      </a:lnTo>
                      <a:lnTo>
                        <a:pt x="812824" y="233011"/>
                      </a:lnTo>
                      <a:lnTo>
                        <a:pt x="817475" y="229599"/>
                      </a:lnTo>
                      <a:lnTo>
                        <a:pt x="819478" y="228069"/>
                      </a:lnTo>
                      <a:lnTo>
                        <a:pt x="823571" y="226721"/>
                      </a:lnTo>
                      <a:lnTo>
                        <a:pt x="826606" y="228324"/>
                      </a:lnTo>
                      <a:lnTo>
                        <a:pt x="829071" y="230461"/>
                      </a:lnTo>
                      <a:lnTo>
                        <a:pt x="832228" y="230825"/>
                      </a:lnTo>
                      <a:lnTo>
                        <a:pt x="834997" y="229489"/>
                      </a:lnTo>
                      <a:lnTo>
                        <a:pt x="836297" y="226405"/>
                      </a:lnTo>
                      <a:lnTo>
                        <a:pt x="837571" y="222155"/>
                      </a:lnTo>
                      <a:lnTo>
                        <a:pt x="839976" y="221232"/>
                      </a:lnTo>
                      <a:lnTo>
                        <a:pt x="843194" y="222337"/>
                      </a:lnTo>
                      <a:lnTo>
                        <a:pt x="846642" y="224086"/>
                      </a:lnTo>
                      <a:lnTo>
                        <a:pt x="849860" y="224049"/>
                      </a:lnTo>
                      <a:lnTo>
                        <a:pt x="855592" y="219399"/>
                      </a:lnTo>
                      <a:lnTo>
                        <a:pt x="858931" y="218597"/>
                      </a:lnTo>
                      <a:lnTo>
                        <a:pt x="859052" y="219374"/>
                      </a:lnTo>
                      <a:lnTo>
                        <a:pt x="863581" y="222957"/>
                      </a:lnTo>
                      <a:lnTo>
                        <a:pt x="864043" y="222847"/>
                      </a:lnTo>
                      <a:lnTo>
                        <a:pt x="864966" y="224486"/>
                      </a:lnTo>
                      <a:lnTo>
                        <a:pt x="866168" y="228008"/>
                      </a:lnTo>
                      <a:lnTo>
                        <a:pt x="867309" y="229939"/>
                      </a:lnTo>
                      <a:lnTo>
                        <a:pt x="870029" y="232319"/>
                      </a:lnTo>
                      <a:lnTo>
                        <a:pt x="876052" y="235828"/>
                      </a:lnTo>
                      <a:lnTo>
                        <a:pt x="878760" y="238317"/>
                      </a:lnTo>
                      <a:lnTo>
                        <a:pt x="884564" y="237662"/>
                      </a:lnTo>
                      <a:lnTo>
                        <a:pt x="891692" y="230461"/>
                      </a:lnTo>
                      <a:lnTo>
                        <a:pt x="897254" y="220746"/>
                      </a:lnTo>
                      <a:lnTo>
                        <a:pt x="898747" y="212514"/>
                      </a:lnTo>
                      <a:lnTo>
                        <a:pt x="898153" y="209988"/>
                      </a:lnTo>
                      <a:lnTo>
                        <a:pt x="898347" y="207948"/>
                      </a:lnTo>
                      <a:lnTo>
                        <a:pt x="899646" y="203613"/>
                      </a:lnTo>
                      <a:lnTo>
                        <a:pt x="902985" y="204354"/>
                      </a:lnTo>
                      <a:lnTo>
                        <a:pt x="906191" y="205337"/>
                      </a:lnTo>
                      <a:lnTo>
                        <a:pt x="907940" y="205191"/>
                      </a:lnTo>
                      <a:lnTo>
                        <a:pt x="911498" y="204390"/>
                      </a:lnTo>
                      <a:lnTo>
                        <a:pt x="919767" y="201512"/>
                      </a:lnTo>
                      <a:lnTo>
                        <a:pt x="921504" y="201974"/>
                      </a:lnTo>
                      <a:lnTo>
                        <a:pt x="921940" y="203491"/>
                      </a:lnTo>
                      <a:lnTo>
                        <a:pt x="920168" y="208956"/>
                      </a:lnTo>
                      <a:lnTo>
                        <a:pt x="919925" y="211190"/>
                      </a:lnTo>
                      <a:lnTo>
                        <a:pt x="919997" y="211421"/>
                      </a:lnTo>
                      <a:lnTo>
                        <a:pt x="919997" y="211445"/>
                      </a:lnTo>
                      <a:lnTo>
                        <a:pt x="920787" y="212283"/>
                      </a:lnTo>
                      <a:lnTo>
                        <a:pt x="922463" y="213752"/>
                      </a:lnTo>
                      <a:lnTo>
                        <a:pt x="923944" y="214529"/>
                      </a:lnTo>
                      <a:lnTo>
                        <a:pt x="926081" y="215209"/>
                      </a:lnTo>
                      <a:lnTo>
                        <a:pt x="927854" y="216594"/>
                      </a:lnTo>
                      <a:lnTo>
                        <a:pt x="934108" y="222702"/>
                      </a:lnTo>
                      <a:lnTo>
                        <a:pt x="935601" y="224547"/>
                      </a:lnTo>
                      <a:lnTo>
                        <a:pt x="936306" y="225859"/>
                      </a:lnTo>
                      <a:lnTo>
                        <a:pt x="935553" y="226830"/>
                      </a:lnTo>
                      <a:lnTo>
                        <a:pt x="934812" y="227413"/>
                      </a:lnTo>
                      <a:lnTo>
                        <a:pt x="932857" y="228445"/>
                      </a:lnTo>
                      <a:lnTo>
                        <a:pt x="931704" y="229392"/>
                      </a:lnTo>
                      <a:lnTo>
                        <a:pt x="930951" y="230862"/>
                      </a:lnTo>
                      <a:lnTo>
                        <a:pt x="931084" y="232380"/>
                      </a:lnTo>
                      <a:lnTo>
                        <a:pt x="931995" y="233436"/>
                      </a:lnTo>
                      <a:lnTo>
                        <a:pt x="935613" y="234905"/>
                      </a:lnTo>
                      <a:lnTo>
                        <a:pt x="938139" y="236314"/>
                      </a:lnTo>
                      <a:lnTo>
                        <a:pt x="939523" y="237856"/>
                      </a:lnTo>
                      <a:lnTo>
                        <a:pt x="940325" y="239641"/>
                      </a:lnTo>
                      <a:lnTo>
                        <a:pt x="940325" y="241280"/>
                      </a:lnTo>
                      <a:lnTo>
                        <a:pt x="940070" y="242859"/>
                      </a:lnTo>
                      <a:lnTo>
                        <a:pt x="939620" y="243867"/>
                      </a:lnTo>
                      <a:lnTo>
                        <a:pt x="939074" y="244413"/>
                      </a:lnTo>
                      <a:lnTo>
                        <a:pt x="938176" y="244644"/>
                      </a:lnTo>
                      <a:lnTo>
                        <a:pt x="935188" y="244668"/>
                      </a:lnTo>
                      <a:lnTo>
                        <a:pt x="932772" y="245130"/>
                      </a:lnTo>
                      <a:lnTo>
                        <a:pt x="930416" y="246307"/>
                      </a:lnTo>
                      <a:lnTo>
                        <a:pt x="924624" y="251784"/>
                      </a:lnTo>
                      <a:lnTo>
                        <a:pt x="922499" y="252998"/>
                      </a:lnTo>
                      <a:lnTo>
                        <a:pt x="917156" y="254601"/>
                      </a:lnTo>
                      <a:lnTo>
                        <a:pt x="914740" y="256265"/>
                      </a:lnTo>
                      <a:lnTo>
                        <a:pt x="912263" y="258645"/>
                      </a:lnTo>
                      <a:lnTo>
                        <a:pt x="905560" y="266453"/>
                      </a:lnTo>
                      <a:lnTo>
                        <a:pt x="901722" y="269561"/>
                      </a:lnTo>
                      <a:lnTo>
                        <a:pt x="898335" y="273240"/>
                      </a:lnTo>
                      <a:lnTo>
                        <a:pt x="896027" y="274758"/>
                      </a:lnTo>
                      <a:lnTo>
                        <a:pt x="892251" y="276361"/>
                      </a:lnTo>
                      <a:lnTo>
                        <a:pt x="890454" y="277563"/>
                      </a:lnTo>
                      <a:lnTo>
                        <a:pt x="886447" y="281643"/>
                      </a:lnTo>
                      <a:lnTo>
                        <a:pt x="884564" y="282445"/>
                      </a:lnTo>
                      <a:lnTo>
                        <a:pt x="883253" y="282627"/>
                      </a:lnTo>
                      <a:lnTo>
                        <a:pt x="881917" y="282445"/>
                      </a:lnTo>
                      <a:lnTo>
                        <a:pt x="880667" y="282421"/>
                      </a:lnTo>
                      <a:lnTo>
                        <a:pt x="879440" y="282676"/>
                      </a:lnTo>
                      <a:lnTo>
                        <a:pt x="877777" y="284169"/>
                      </a:lnTo>
                      <a:lnTo>
                        <a:pt x="871462" y="292062"/>
                      </a:lnTo>
                      <a:lnTo>
                        <a:pt x="858421" y="302056"/>
                      </a:lnTo>
                      <a:lnTo>
                        <a:pt x="853199" y="307459"/>
                      </a:lnTo>
                      <a:lnTo>
                        <a:pt x="851706" y="309815"/>
                      </a:lnTo>
                      <a:lnTo>
                        <a:pt x="851257" y="311843"/>
                      </a:lnTo>
                      <a:lnTo>
                        <a:pt x="851257" y="311904"/>
                      </a:lnTo>
                      <a:lnTo>
                        <a:pt x="851257" y="311940"/>
                      </a:lnTo>
                      <a:lnTo>
                        <a:pt x="851426" y="314636"/>
                      </a:lnTo>
                      <a:lnTo>
                        <a:pt x="851147" y="316846"/>
                      </a:lnTo>
                      <a:lnTo>
                        <a:pt x="850455" y="318679"/>
                      </a:lnTo>
                      <a:lnTo>
                        <a:pt x="849010" y="324544"/>
                      </a:lnTo>
                      <a:lnTo>
                        <a:pt x="848548" y="325601"/>
                      </a:lnTo>
                      <a:lnTo>
                        <a:pt x="847917" y="326257"/>
                      </a:lnTo>
                      <a:lnTo>
                        <a:pt x="845962" y="326718"/>
                      </a:lnTo>
                      <a:lnTo>
                        <a:pt x="844529" y="327301"/>
                      </a:lnTo>
                      <a:lnTo>
                        <a:pt x="843849" y="328163"/>
                      </a:lnTo>
                      <a:lnTo>
                        <a:pt x="843436" y="329657"/>
                      </a:lnTo>
                      <a:lnTo>
                        <a:pt x="843570" y="330713"/>
                      </a:lnTo>
                      <a:lnTo>
                        <a:pt x="843801" y="331514"/>
                      </a:lnTo>
                      <a:lnTo>
                        <a:pt x="844772" y="333263"/>
                      </a:lnTo>
                      <a:lnTo>
                        <a:pt x="845112" y="333894"/>
                      </a:lnTo>
                      <a:lnTo>
                        <a:pt x="845355" y="334587"/>
                      </a:lnTo>
                      <a:lnTo>
                        <a:pt x="845513" y="335364"/>
                      </a:lnTo>
                      <a:lnTo>
                        <a:pt x="846035" y="336250"/>
                      </a:lnTo>
                      <a:lnTo>
                        <a:pt x="846849" y="337270"/>
                      </a:lnTo>
                      <a:lnTo>
                        <a:pt x="850406" y="339444"/>
                      </a:lnTo>
                      <a:lnTo>
                        <a:pt x="856138" y="342055"/>
                      </a:lnTo>
                      <a:lnTo>
                        <a:pt x="858044" y="343232"/>
                      </a:lnTo>
                      <a:lnTo>
                        <a:pt x="860509" y="347507"/>
                      </a:lnTo>
                      <a:lnTo>
                        <a:pt x="861311" y="348284"/>
                      </a:lnTo>
                      <a:lnTo>
                        <a:pt x="862149" y="349377"/>
                      </a:lnTo>
                      <a:lnTo>
                        <a:pt x="863193" y="351186"/>
                      </a:lnTo>
                      <a:lnTo>
                        <a:pt x="864116" y="354720"/>
                      </a:lnTo>
                      <a:lnTo>
                        <a:pt x="865379" y="357379"/>
                      </a:lnTo>
                      <a:lnTo>
                        <a:pt x="866581" y="359018"/>
                      </a:lnTo>
                      <a:lnTo>
                        <a:pt x="870600" y="361799"/>
                      </a:lnTo>
                      <a:lnTo>
                        <a:pt x="872555" y="364992"/>
                      </a:lnTo>
                      <a:lnTo>
                        <a:pt x="884273" y="369898"/>
                      </a:lnTo>
                      <a:lnTo>
                        <a:pt x="889482" y="373808"/>
                      </a:lnTo>
                      <a:lnTo>
                        <a:pt x="891389" y="376455"/>
                      </a:lnTo>
                      <a:lnTo>
                        <a:pt x="892008" y="378313"/>
                      </a:lnTo>
                      <a:lnTo>
                        <a:pt x="892822" y="382964"/>
                      </a:lnTo>
                      <a:lnTo>
                        <a:pt x="893745" y="386607"/>
                      </a:lnTo>
                      <a:lnTo>
                        <a:pt x="893975" y="387845"/>
                      </a:lnTo>
                      <a:lnTo>
                        <a:pt x="893975" y="389278"/>
                      </a:lnTo>
                      <a:lnTo>
                        <a:pt x="893125" y="395192"/>
                      </a:lnTo>
                      <a:lnTo>
                        <a:pt x="891632" y="400741"/>
                      </a:lnTo>
                      <a:lnTo>
                        <a:pt x="891450" y="402696"/>
                      </a:lnTo>
                      <a:lnTo>
                        <a:pt x="892008" y="403583"/>
                      </a:lnTo>
                      <a:lnTo>
                        <a:pt x="892822" y="404615"/>
                      </a:lnTo>
                      <a:lnTo>
                        <a:pt x="894376" y="406133"/>
                      </a:lnTo>
                      <a:lnTo>
                        <a:pt x="895117" y="407201"/>
                      </a:lnTo>
                      <a:lnTo>
                        <a:pt x="895517" y="408148"/>
                      </a:lnTo>
                      <a:lnTo>
                        <a:pt x="895578" y="410820"/>
                      </a:lnTo>
                      <a:lnTo>
                        <a:pt x="895991" y="413892"/>
                      </a:lnTo>
                      <a:lnTo>
                        <a:pt x="884431" y="411876"/>
                      </a:lnTo>
                      <a:lnTo>
                        <a:pt x="881577" y="410589"/>
                      </a:lnTo>
                      <a:lnTo>
                        <a:pt x="881517" y="409181"/>
                      </a:lnTo>
                      <a:lnTo>
                        <a:pt x="881237" y="408464"/>
                      </a:lnTo>
                      <a:lnTo>
                        <a:pt x="878651" y="406448"/>
                      </a:lnTo>
                      <a:lnTo>
                        <a:pt x="875032" y="405307"/>
                      </a:lnTo>
                      <a:lnTo>
                        <a:pt x="872628" y="407031"/>
                      </a:lnTo>
                      <a:lnTo>
                        <a:pt x="868827" y="409241"/>
                      </a:lnTo>
                      <a:lnTo>
                        <a:pt x="861893" y="411391"/>
                      </a:lnTo>
                      <a:lnTo>
                        <a:pt x="860922" y="411852"/>
                      </a:lnTo>
                      <a:lnTo>
                        <a:pt x="860619" y="412046"/>
                      </a:lnTo>
                      <a:lnTo>
                        <a:pt x="860582" y="412107"/>
                      </a:lnTo>
                      <a:lnTo>
                        <a:pt x="860522" y="412168"/>
                      </a:lnTo>
                      <a:lnTo>
                        <a:pt x="858907" y="414900"/>
                      </a:lnTo>
                      <a:lnTo>
                        <a:pt x="857692" y="416393"/>
                      </a:lnTo>
                      <a:lnTo>
                        <a:pt x="855227" y="417911"/>
                      </a:lnTo>
                      <a:lnTo>
                        <a:pt x="849484" y="420631"/>
                      </a:lnTo>
                      <a:lnTo>
                        <a:pt x="843218" y="422902"/>
                      </a:lnTo>
                      <a:lnTo>
                        <a:pt x="839842" y="424857"/>
                      </a:lnTo>
                      <a:lnTo>
                        <a:pt x="839891" y="425489"/>
                      </a:lnTo>
                      <a:lnTo>
                        <a:pt x="839842" y="426181"/>
                      </a:lnTo>
                      <a:lnTo>
                        <a:pt x="839660" y="426836"/>
                      </a:lnTo>
                      <a:lnTo>
                        <a:pt x="839150" y="427638"/>
                      </a:lnTo>
                      <a:lnTo>
                        <a:pt x="838227" y="428536"/>
                      </a:lnTo>
                      <a:lnTo>
                        <a:pt x="836381" y="429860"/>
                      </a:lnTo>
                      <a:lnTo>
                        <a:pt x="835641" y="430734"/>
                      </a:lnTo>
                      <a:lnTo>
                        <a:pt x="835301" y="431609"/>
                      </a:lnTo>
                      <a:lnTo>
                        <a:pt x="835544" y="432240"/>
                      </a:lnTo>
                      <a:lnTo>
                        <a:pt x="836053" y="432641"/>
                      </a:lnTo>
                      <a:lnTo>
                        <a:pt x="838057" y="433406"/>
                      </a:lnTo>
                      <a:lnTo>
                        <a:pt x="838579" y="433807"/>
                      </a:lnTo>
                      <a:lnTo>
                        <a:pt x="838968" y="434389"/>
                      </a:lnTo>
                      <a:lnTo>
                        <a:pt x="839611" y="435737"/>
                      </a:lnTo>
                      <a:lnTo>
                        <a:pt x="840304" y="437777"/>
                      </a:lnTo>
                      <a:lnTo>
                        <a:pt x="840595" y="438324"/>
                      </a:lnTo>
                      <a:lnTo>
                        <a:pt x="841105" y="438712"/>
                      </a:lnTo>
                      <a:lnTo>
                        <a:pt x="841737" y="438870"/>
                      </a:lnTo>
                      <a:lnTo>
                        <a:pt x="842477" y="438773"/>
                      </a:lnTo>
                      <a:lnTo>
                        <a:pt x="843752" y="438348"/>
                      </a:lnTo>
                      <a:lnTo>
                        <a:pt x="844493" y="438287"/>
                      </a:lnTo>
                      <a:lnTo>
                        <a:pt x="845197" y="438494"/>
                      </a:lnTo>
                      <a:lnTo>
                        <a:pt x="845659" y="438931"/>
                      </a:lnTo>
                      <a:lnTo>
                        <a:pt x="847140" y="441141"/>
                      </a:lnTo>
                      <a:lnTo>
                        <a:pt x="848403" y="442659"/>
                      </a:lnTo>
                      <a:lnTo>
                        <a:pt x="848986" y="443885"/>
                      </a:lnTo>
                      <a:lnTo>
                        <a:pt x="849836" y="447540"/>
                      </a:lnTo>
                      <a:lnTo>
                        <a:pt x="851329" y="451669"/>
                      </a:lnTo>
                      <a:lnTo>
                        <a:pt x="853151" y="454449"/>
                      </a:lnTo>
                      <a:lnTo>
                        <a:pt x="852993" y="456550"/>
                      </a:lnTo>
                      <a:lnTo>
                        <a:pt x="849022" y="462780"/>
                      </a:lnTo>
                      <a:lnTo>
                        <a:pt x="842769" y="469276"/>
                      </a:lnTo>
                      <a:lnTo>
                        <a:pt x="841845" y="466605"/>
                      </a:lnTo>
                      <a:lnTo>
                        <a:pt x="840243" y="464710"/>
                      </a:lnTo>
                      <a:lnTo>
                        <a:pt x="838348" y="463411"/>
                      </a:lnTo>
                      <a:lnTo>
                        <a:pt x="836381" y="462476"/>
                      </a:lnTo>
                      <a:lnTo>
                        <a:pt x="831973" y="461772"/>
                      </a:lnTo>
                      <a:lnTo>
                        <a:pt x="823607" y="463010"/>
                      </a:lnTo>
                      <a:lnTo>
                        <a:pt x="819515" y="461092"/>
                      </a:lnTo>
                      <a:lnTo>
                        <a:pt x="808088" y="458760"/>
                      </a:lnTo>
                      <a:lnTo>
                        <a:pt x="806206" y="456757"/>
                      </a:lnTo>
                      <a:lnTo>
                        <a:pt x="804895" y="454146"/>
                      </a:lnTo>
                      <a:lnTo>
                        <a:pt x="802770" y="451414"/>
                      </a:lnTo>
                      <a:lnTo>
                        <a:pt x="800462" y="449750"/>
                      </a:lnTo>
                      <a:lnTo>
                        <a:pt x="798908" y="449082"/>
                      </a:lnTo>
                      <a:lnTo>
                        <a:pt x="797087" y="448803"/>
                      </a:lnTo>
                      <a:lnTo>
                        <a:pt x="796334" y="448111"/>
                      </a:lnTo>
                      <a:lnTo>
                        <a:pt x="793978" y="447358"/>
                      </a:lnTo>
                      <a:lnTo>
                        <a:pt x="791283" y="449119"/>
                      </a:lnTo>
                      <a:lnTo>
                        <a:pt x="784106" y="455287"/>
                      </a:lnTo>
                      <a:lnTo>
                        <a:pt x="782029" y="458943"/>
                      </a:lnTo>
                      <a:lnTo>
                        <a:pt x="781277" y="461772"/>
                      </a:lnTo>
                      <a:lnTo>
                        <a:pt x="781107" y="463447"/>
                      </a:lnTo>
                      <a:lnTo>
                        <a:pt x="778581" y="464929"/>
                      </a:lnTo>
                      <a:lnTo>
                        <a:pt x="777597" y="466337"/>
                      </a:lnTo>
                      <a:lnTo>
                        <a:pt x="776456" y="471656"/>
                      </a:lnTo>
                      <a:lnTo>
                        <a:pt x="775242" y="474376"/>
                      </a:lnTo>
                      <a:lnTo>
                        <a:pt x="772073" y="475882"/>
                      </a:lnTo>
                      <a:lnTo>
                        <a:pt x="769377" y="475299"/>
                      </a:lnTo>
                      <a:lnTo>
                        <a:pt x="766389" y="474097"/>
                      </a:lnTo>
                      <a:lnTo>
                        <a:pt x="764034" y="472797"/>
                      </a:lnTo>
                      <a:lnTo>
                        <a:pt x="762479" y="472688"/>
                      </a:lnTo>
                      <a:lnTo>
                        <a:pt x="761180" y="473320"/>
                      </a:lnTo>
                      <a:lnTo>
                        <a:pt x="759954" y="474097"/>
                      </a:lnTo>
                      <a:lnTo>
                        <a:pt x="759116" y="474437"/>
                      </a:lnTo>
                      <a:lnTo>
                        <a:pt x="754902" y="474643"/>
                      </a:lnTo>
                      <a:lnTo>
                        <a:pt x="752559" y="475335"/>
                      </a:lnTo>
                      <a:lnTo>
                        <a:pt x="750555" y="477254"/>
                      </a:lnTo>
                      <a:lnTo>
                        <a:pt x="748867" y="482160"/>
                      </a:lnTo>
                      <a:lnTo>
                        <a:pt x="748418" y="485924"/>
                      </a:lnTo>
                      <a:lnTo>
                        <a:pt x="745674" y="497642"/>
                      </a:lnTo>
                      <a:lnTo>
                        <a:pt x="744799" y="499269"/>
                      </a:lnTo>
                      <a:lnTo>
                        <a:pt x="743488" y="499476"/>
                      </a:lnTo>
                      <a:lnTo>
                        <a:pt x="739080" y="497727"/>
                      </a:lnTo>
                      <a:lnTo>
                        <a:pt x="736433" y="497545"/>
                      </a:lnTo>
                      <a:lnTo>
                        <a:pt x="730580" y="499682"/>
                      </a:lnTo>
                      <a:lnTo>
                        <a:pt x="728455" y="501285"/>
                      </a:lnTo>
                      <a:lnTo>
                        <a:pt x="724083" y="505741"/>
                      </a:lnTo>
                      <a:lnTo>
                        <a:pt x="719834" y="511703"/>
                      </a:lnTo>
                      <a:lnTo>
                        <a:pt x="718571" y="514776"/>
                      </a:lnTo>
                      <a:lnTo>
                        <a:pt x="717830" y="517848"/>
                      </a:lnTo>
                      <a:lnTo>
                        <a:pt x="718631" y="539244"/>
                      </a:lnTo>
                      <a:lnTo>
                        <a:pt x="718170" y="541733"/>
                      </a:lnTo>
                      <a:lnTo>
                        <a:pt x="716786" y="544125"/>
                      </a:lnTo>
                      <a:lnTo>
                        <a:pt x="715049" y="546481"/>
                      </a:lnTo>
                      <a:lnTo>
                        <a:pt x="711843" y="552358"/>
                      </a:lnTo>
                      <a:lnTo>
                        <a:pt x="710350" y="554167"/>
                      </a:lnTo>
                      <a:lnTo>
                        <a:pt x="709148" y="555370"/>
                      </a:lnTo>
                      <a:lnTo>
                        <a:pt x="708565" y="556244"/>
                      </a:lnTo>
                      <a:lnTo>
                        <a:pt x="709148" y="557847"/>
                      </a:lnTo>
                      <a:lnTo>
                        <a:pt x="710058" y="559826"/>
                      </a:lnTo>
                      <a:lnTo>
                        <a:pt x="710338" y="562837"/>
                      </a:lnTo>
                      <a:lnTo>
                        <a:pt x="708273" y="571969"/>
                      </a:lnTo>
                      <a:lnTo>
                        <a:pt x="708796" y="578223"/>
                      </a:lnTo>
                      <a:lnTo>
                        <a:pt x="706209" y="585411"/>
                      </a:lnTo>
                      <a:lnTo>
                        <a:pt x="705505" y="588192"/>
                      </a:lnTo>
                      <a:lnTo>
                        <a:pt x="705177" y="592381"/>
                      </a:lnTo>
                      <a:lnTo>
                        <a:pt x="703683" y="594106"/>
                      </a:lnTo>
                      <a:lnTo>
                        <a:pt x="701376" y="594968"/>
                      </a:lnTo>
                      <a:lnTo>
                        <a:pt x="698219" y="594555"/>
                      </a:lnTo>
                      <a:lnTo>
                        <a:pt x="688517" y="590778"/>
                      </a:lnTo>
                      <a:lnTo>
                        <a:pt x="681802" y="589078"/>
                      </a:lnTo>
                      <a:lnTo>
                        <a:pt x="680369" y="589285"/>
                      </a:lnTo>
                      <a:lnTo>
                        <a:pt x="679907" y="592357"/>
                      </a:lnTo>
                      <a:lnTo>
                        <a:pt x="677029" y="596498"/>
                      </a:lnTo>
                      <a:lnTo>
                        <a:pt x="675317" y="598866"/>
                      </a:lnTo>
                      <a:lnTo>
                        <a:pt x="675135" y="600395"/>
                      </a:lnTo>
                      <a:lnTo>
                        <a:pt x="675524" y="604354"/>
                      </a:lnTo>
                      <a:lnTo>
                        <a:pt x="675135" y="605423"/>
                      </a:lnTo>
                      <a:lnTo>
                        <a:pt x="660722" y="600930"/>
                      </a:lnTo>
                      <a:lnTo>
                        <a:pt x="654808" y="596291"/>
                      </a:lnTo>
                      <a:lnTo>
                        <a:pt x="652270" y="594846"/>
                      </a:lnTo>
                      <a:lnTo>
                        <a:pt x="649866" y="594166"/>
                      </a:lnTo>
                      <a:lnTo>
                        <a:pt x="647972" y="594421"/>
                      </a:lnTo>
                      <a:lnTo>
                        <a:pt x="646599" y="595599"/>
                      </a:lnTo>
                      <a:lnTo>
                        <a:pt x="644766" y="599728"/>
                      </a:lnTo>
                      <a:lnTo>
                        <a:pt x="639957" y="602193"/>
                      </a:lnTo>
                      <a:lnTo>
                        <a:pt x="637589" y="602193"/>
                      </a:lnTo>
                      <a:lnTo>
                        <a:pt x="633291" y="603261"/>
                      </a:lnTo>
                      <a:lnTo>
                        <a:pt x="630000" y="603200"/>
                      </a:lnTo>
                      <a:lnTo>
                        <a:pt x="626163" y="601160"/>
                      </a:lnTo>
                      <a:lnTo>
                        <a:pt x="622156" y="599497"/>
                      </a:lnTo>
                      <a:lnTo>
                        <a:pt x="618076" y="599473"/>
                      </a:lnTo>
                      <a:lnTo>
                        <a:pt x="608823" y="608604"/>
                      </a:lnTo>
                      <a:lnTo>
                        <a:pt x="602666" y="613571"/>
                      </a:lnTo>
                      <a:lnTo>
                        <a:pt x="600954" y="615720"/>
                      </a:lnTo>
                      <a:lnTo>
                        <a:pt x="599218" y="622617"/>
                      </a:lnTo>
                      <a:lnTo>
                        <a:pt x="599400" y="629539"/>
                      </a:lnTo>
                      <a:lnTo>
                        <a:pt x="597335" y="630996"/>
                      </a:lnTo>
                      <a:lnTo>
                        <a:pt x="595902" y="631627"/>
                      </a:lnTo>
                      <a:lnTo>
                        <a:pt x="594967" y="633266"/>
                      </a:lnTo>
                      <a:lnTo>
                        <a:pt x="594749" y="634906"/>
                      </a:lnTo>
                      <a:lnTo>
                        <a:pt x="595150" y="636885"/>
                      </a:lnTo>
                      <a:lnTo>
                        <a:pt x="594858" y="638949"/>
                      </a:lnTo>
                      <a:lnTo>
                        <a:pt x="593887" y="641099"/>
                      </a:lnTo>
                      <a:lnTo>
                        <a:pt x="592563" y="642944"/>
                      </a:lnTo>
                      <a:lnTo>
                        <a:pt x="590499" y="643491"/>
                      </a:lnTo>
                      <a:lnTo>
                        <a:pt x="586310" y="641196"/>
                      </a:lnTo>
                      <a:lnTo>
                        <a:pt x="574822" y="632550"/>
                      </a:lnTo>
                      <a:lnTo>
                        <a:pt x="560057" y="624681"/>
                      </a:lnTo>
                      <a:lnTo>
                        <a:pt x="559037" y="622471"/>
                      </a:lnTo>
                      <a:lnTo>
                        <a:pt x="559316" y="620771"/>
                      </a:lnTo>
                      <a:lnTo>
                        <a:pt x="564185" y="615380"/>
                      </a:lnTo>
                      <a:lnTo>
                        <a:pt x="565108" y="613486"/>
                      </a:lnTo>
                      <a:lnTo>
                        <a:pt x="565339" y="611652"/>
                      </a:lnTo>
                      <a:lnTo>
                        <a:pt x="564549" y="605216"/>
                      </a:lnTo>
                      <a:lnTo>
                        <a:pt x="563858" y="603237"/>
                      </a:lnTo>
                      <a:lnTo>
                        <a:pt x="562692" y="601452"/>
                      </a:lnTo>
                      <a:lnTo>
                        <a:pt x="557410" y="600991"/>
                      </a:lnTo>
                      <a:lnTo>
                        <a:pt x="550124" y="598186"/>
                      </a:lnTo>
                      <a:lnTo>
                        <a:pt x="548278" y="598647"/>
                      </a:lnTo>
                      <a:lnTo>
                        <a:pt x="544089" y="601136"/>
                      </a:lnTo>
                      <a:lnTo>
                        <a:pt x="540919" y="601282"/>
                      </a:lnTo>
                      <a:lnTo>
                        <a:pt x="537252" y="600541"/>
                      </a:lnTo>
                      <a:lnTo>
                        <a:pt x="533864" y="597870"/>
                      </a:lnTo>
                      <a:lnTo>
                        <a:pt x="531776" y="595623"/>
                      </a:lnTo>
                      <a:lnTo>
                        <a:pt x="530234" y="592381"/>
                      </a:lnTo>
                      <a:lnTo>
                        <a:pt x="528412" y="577506"/>
                      </a:lnTo>
                      <a:lnTo>
                        <a:pt x="526518" y="573778"/>
                      </a:lnTo>
                      <a:lnTo>
                        <a:pt x="523470" y="571653"/>
                      </a:lnTo>
                      <a:lnTo>
                        <a:pt x="520313" y="570524"/>
                      </a:lnTo>
                      <a:lnTo>
                        <a:pt x="517326" y="570475"/>
                      </a:lnTo>
                      <a:lnTo>
                        <a:pt x="515261" y="570220"/>
                      </a:lnTo>
                      <a:lnTo>
                        <a:pt x="514399" y="569419"/>
                      </a:lnTo>
                      <a:lnTo>
                        <a:pt x="515322" y="567403"/>
                      </a:lnTo>
                      <a:lnTo>
                        <a:pt x="516476" y="565594"/>
                      </a:lnTo>
                      <a:lnTo>
                        <a:pt x="516986" y="563991"/>
                      </a:lnTo>
                      <a:lnTo>
                        <a:pt x="515723" y="561915"/>
                      </a:lnTo>
                      <a:lnTo>
                        <a:pt x="511570" y="563299"/>
                      </a:lnTo>
                      <a:lnTo>
                        <a:pt x="508474" y="566092"/>
                      </a:lnTo>
                      <a:lnTo>
                        <a:pt x="500568" y="571228"/>
                      </a:lnTo>
                      <a:lnTo>
                        <a:pt x="491607" y="572175"/>
                      </a:lnTo>
                      <a:lnTo>
                        <a:pt x="483046" y="561575"/>
                      </a:lnTo>
                      <a:lnTo>
                        <a:pt x="479889" y="559024"/>
                      </a:lnTo>
                      <a:lnTo>
                        <a:pt x="476501" y="557725"/>
                      </a:lnTo>
                      <a:lnTo>
                        <a:pt x="460594" y="557895"/>
                      </a:lnTo>
                      <a:lnTo>
                        <a:pt x="457886" y="558624"/>
                      </a:lnTo>
                      <a:lnTo>
                        <a:pt x="455421" y="561150"/>
                      </a:lnTo>
                      <a:lnTo>
                        <a:pt x="453478" y="564161"/>
                      </a:lnTo>
                      <a:lnTo>
                        <a:pt x="452106" y="566966"/>
                      </a:lnTo>
                      <a:lnTo>
                        <a:pt x="451353" y="569552"/>
                      </a:lnTo>
                      <a:lnTo>
                        <a:pt x="450770" y="575418"/>
                      </a:lnTo>
                      <a:lnTo>
                        <a:pt x="449860" y="578089"/>
                      </a:lnTo>
                      <a:lnTo>
                        <a:pt x="448378" y="580129"/>
                      </a:lnTo>
                      <a:lnTo>
                        <a:pt x="443557" y="581477"/>
                      </a:lnTo>
                      <a:lnTo>
                        <a:pt x="442064" y="582132"/>
                      </a:lnTo>
                      <a:lnTo>
                        <a:pt x="442064" y="583165"/>
                      </a:lnTo>
                      <a:lnTo>
                        <a:pt x="442816" y="584743"/>
                      </a:lnTo>
                      <a:lnTo>
                        <a:pt x="443970" y="586528"/>
                      </a:lnTo>
                      <a:lnTo>
                        <a:pt x="444553" y="588362"/>
                      </a:lnTo>
                      <a:lnTo>
                        <a:pt x="444881" y="590657"/>
                      </a:lnTo>
                      <a:lnTo>
                        <a:pt x="444881" y="597979"/>
                      </a:lnTo>
                      <a:lnTo>
                        <a:pt x="443849" y="600213"/>
                      </a:lnTo>
                      <a:lnTo>
                        <a:pt x="441384" y="601743"/>
                      </a:lnTo>
                      <a:lnTo>
                        <a:pt x="436903" y="601768"/>
                      </a:lnTo>
                      <a:lnTo>
                        <a:pt x="433612" y="601088"/>
                      </a:lnTo>
                      <a:lnTo>
                        <a:pt x="430868" y="600250"/>
                      </a:lnTo>
                      <a:lnTo>
                        <a:pt x="429119" y="600189"/>
                      </a:lnTo>
                      <a:lnTo>
                        <a:pt x="428257" y="602630"/>
                      </a:lnTo>
                      <a:lnTo>
                        <a:pt x="427504" y="603492"/>
                      </a:lnTo>
                      <a:lnTo>
                        <a:pt x="425683" y="605071"/>
                      </a:lnTo>
                      <a:lnTo>
                        <a:pt x="425039" y="606139"/>
                      </a:lnTo>
                      <a:lnTo>
                        <a:pt x="419356" y="611397"/>
                      </a:lnTo>
                      <a:lnTo>
                        <a:pt x="417632" y="611822"/>
                      </a:lnTo>
                      <a:lnTo>
                        <a:pt x="415434" y="611069"/>
                      </a:lnTo>
                      <a:lnTo>
                        <a:pt x="413552" y="610098"/>
                      </a:lnTo>
                      <a:lnTo>
                        <a:pt x="411087" y="609867"/>
                      </a:lnTo>
                      <a:lnTo>
                        <a:pt x="407408" y="610474"/>
                      </a:lnTo>
                      <a:lnTo>
                        <a:pt x="402988" y="610681"/>
                      </a:lnTo>
                      <a:lnTo>
                        <a:pt x="394038" y="609843"/>
                      </a:lnTo>
                      <a:lnTo>
                        <a:pt x="390881" y="611786"/>
                      </a:lnTo>
                      <a:lnTo>
                        <a:pt x="375994" y="613486"/>
                      </a:lnTo>
                      <a:lnTo>
                        <a:pt x="373238" y="614238"/>
                      </a:lnTo>
                      <a:lnTo>
                        <a:pt x="372667" y="615526"/>
                      </a:lnTo>
                      <a:lnTo>
                        <a:pt x="372412" y="617019"/>
                      </a:lnTo>
                      <a:lnTo>
                        <a:pt x="371513" y="618282"/>
                      </a:lnTo>
                      <a:lnTo>
                        <a:pt x="369558" y="619314"/>
                      </a:lnTo>
                      <a:lnTo>
                        <a:pt x="352655" y="625459"/>
                      </a:lnTo>
                      <a:lnTo>
                        <a:pt x="350652" y="627377"/>
                      </a:lnTo>
                      <a:lnTo>
                        <a:pt x="350263" y="629162"/>
                      </a:lnTo>
                      <a:lnTo>
                        <a:pt x="350652" y="630996"/>
                      </a:lnTo>
                      <a:lnTo>
                        <a:pt x="350202" y="632489"/>
                      </a:lnTo>
                      <a:lnTo>
                        <a:pt x="348660" y="634007"/>
                      </a:lnTo>
                      <a:lnTo>
                        <a:pt x="346001" y="635938"/>
                      </a:lnTo>
                      <a:lnTo>
                        <a:pt x="338897" y="642714"/>
                      </a:lnTo>
                      <a:lnTo>
                        <a:pt x="337282" y="643175"/>
                      </a:lnTo>
                      <a:lnTo>
                        <a:pt x="336068" y="641851"/>
                      </a:lnTo>
                      <a:lnTo>
                        <a:pt x="336189" y="639836"/>
                      </a:lnTo>
                      <a:lnTo>
                        <a:pt x="337222" y="634930"/>
                      </a:lnTo>
                      <a:lnTo>
                        <a:pt x="336930" y="633412"/>
                      </a:lnTo>
                      <a:lnTo>
                        <a:pt x="335728" y="632951"/>
                      </a:lnTo>
                      <a:lnTo>
                        <a:pt x="323488" y="637225"/>
                      </a:lnTo>
                      <a:lnTo>
                        <a:pt x="320391" y="639350"/>
                      </a:lnTo>
                      <a:lnTo>
                        <a:pt x="317161" y="641026"/>
                      </a:lnTo>
                      <a:lnTo>
                        <a:pt x="313385" y="641876"/>
                      </a:lnTo>
                      <a:lnTo>
                        <a:pt x="303501" y="640819"/>
                      </a:lnTo>
                      <a:lnTo>
                        <a:pt x="301023" y="639144"/>
                      </a:lnTo>
                      <a:lnTo>
                        <a:pt x="299773" y="637031"/>
                      </a:lnTo>
                      <a:lnTo>
                        <a:pt x="297927" y="626296"/>
                      </a:lnTo>
                      <a:lnTo>
                        <a:pt x="297405" y="624366"/>
                      </a:lnTo>
                      <a:lnTo>
                        <a:pt x="295911" y="623625"/>
                      </a:lnTo>
                      <a:lnTo>
                        <a:pt x="294260" y="624402"/>
                      </a:lnTo>
                      <a:lnTo>
                        <a:pt x="291333" y="624936"/>
                      </a:lnTo>
                      <a:lnTo>
                        <a:pt x="289658" y="624050"/>
                      </a:lnTo>
                      <a:lnTo>
                        <a:pt x="287885" y="614724"/>
                      </a:lnTo>
                      <a:lnTo>
                        <a:pt x="285602" y="612623"/>
                      </a:lnTo>
                      <a:lnTo>
                        <a:pt x="282821" y="612393"/>
                      </a:lnTo>
                      <a:lnTo>
                        <a:pt x="280648" y="613741"/>
                      </a:lnTo>
                      <a:lnTo>
                        <a:pt x="278753" y="615234"/>
                      </a:lnTo>
                      <a:lnTo>
                        <a:pt x="275948" y="616764"/>
                      </a:lnTo>
                      <a:lnTo>
                        <a:pt x="273253" y="618646"/>
                      </a:lnTo>
                      <a:lnTo>
                        <a:pt x="265153" y="622981"/>
                      </a:lnTo>
                      <a:lnTo>
                        <a:pt x="262105" y="625519"/>
                      </a:lnTo>
                      <a:lnTo>
                        <a:pt x="259701" y="629332"/>
                      </a:lnTo>
                      <a:lnTo>
                        <a:pt x="257746" y="635197"/>
                      </a:lnTo>
                      <a:lnTo>
                        <a:pt x="256374" y="636569"/>
                      </a:lnTo>
                      <a:lnTo>
                        <a:pt x="254018" y="636545"/>
                      </a:lnTo>
                      <a:lnTo>
                        <a:pt x="250047" y="635562"/>
                      </a:lnTo>
                      <a:lnTo>
                        <a:pt x="247922" y="635452"/>
                      </a:lnTo>
                      <a:lnTo>
                        <a:pt x="246089" y="634444"/>
                      </a:lnTo>
                      <a:lnTo>
                        <a:pt x="244486" y="633291"/>
                      </a:lnTo>
                      <a:lnTo>
                        <a:pt x="243393" y="632720"/>
                      </a:lnTo>
                      <a:lnTo>
                        <a:pt x="242652" y="633157"/>
                      </a:lnTo>
                      <a:lnTo>
                        <a:pt x="241778" y="635161"/>
                      </a:lnTo>
                      <a:lnTo>
                        <a:pt x="240576" y="637225"/>
                      </a:lnTo>
                      <a:lnTo>
                        <a:pt x="236168" y="641099"/>
                      </a:lnTo>
                      <a:lnTo>
                        <a:pt x="235233" y="643175"/>
                      </a:lnTo>
                      <a:lnTo>
                        <a:pt x="234832" y="644948"/>
                      </a:lnTo>
                      <a:lnTo>
                        <a:pt x="234310" y="646332"/>
                      </a:lnTo>
                      <a:lnTo>
                        <a:pt x="230412" y="649999"/>
                      </a:lnTo>
                      <a:lnTo>
                        <a:pt x="228227" y="650874"/>
                      </a:lnTo>
                      <a:lnTo>
                        <a:pt x="226223" y="651177"/>
                      </a:lnTo>
                      <a:lnTo>
                        <a:pt x="223928" y="650959"/>
                      </a:lnTo>
                      <a:lnTo>
                        <a:pt x="221560" y="650036"/>
                      </a:lnTo>
                      <a:lnTo>
                        <a:pt x="218306" y="647449"/>
                      </a:lnTo>
                      <a:lnTo>
                        <a:pt x="216921" y="645895"/>
                      </a:lnTo>
                      <a:lnTo>
                        <a:pt x="215768" y="643916"/>
                      </a:lnTo>
                      <a:lnTo>
                        <a:pt x="214566" y="642252"/>
                      </a:lnTo>
                      <a:lnTo>
                        <a:pt x="209915" y="638719"/>
                      </a:lnTo>
                      <a:lnTo>
                        <a:pt x="204511" y="636023"/>
                      </a:lnTo>
                      <a:lnTo>
                        <a:pt x="201767" y="633983"/>
                      </a:lnTo>
                      <a:lnTo>
                        <a:pt x="199241" y="631396"/>
                      </a:lnTo>
                      <a:lnTo>
                        <a:pt x="196594" y="627499"/>
                      </a:lnTo>
                      <a:lnTo>
                        <a:pt x="192004" y="623018"/>
                      </a:lnTo>
                      <a:lnTo>
                        <a:pt x="191543" y="621439"/>
                      </a:lnTo>
                      <a:lnTo>
                        <a:pt x="192806" y="618999"/>
                      </a:lnTo>
                      <a:lnTo>
                        <a:pt x="194069" y="617590"/>
                      </a:lnTo>
                      <a:lnTo>
                        <a:pt x="193947" y="611130"/>
                      </a:lnTo>
                      <a:lnTo>
                        <a:pt x="191944" y="607147"/>
                      </a:lnTo>
                      <a:lnTo>
                        <a:pt x="190328" y="605593"/>
                      </a:lnTo>
                      <a:lnTo>
                        <a:pt x="188033" y="604961"/>
                      </a:lnTo>
                      <a:lnTo>
                        <a:pt x="186649" y="605423"/>
                      </a:lnTo>
                      <a:lnTo>
                        <a:pt x="184767" y="607657"/>
                      </a:lnTo>
                      <a:lnTo>
                        <a:pt x="183443" y="608203"/>
                      </a:lnTo>
                      <a:lnTo>
                        <a:pt x="182241" y="607924"/>
                      </a:lnTo>
                      <a:lnTo>
                        <a:pt x="180808" y="606916"/>
                      </a:lnTo>
                      <a:lnTo>
                        <a:pt x="179376" y="606370"/>
                      </a:lnTo>
                      <a:lnTo>
                        <a:pt x="178101" y="606649"/>
                      </a:lnTo>
                      <a:lnTo>
                        <a:pt x="176898" y="607341"/>
                      </a:lnTo>
                      <a:lnTo>
                        <a:pt x="175235" y="607657"/>
                      </a:lnTo>
                      <a:lnTo>
                        <a:pt x="172818" y="607232"/>
                      </a:lnTo>
                      <a:lnTo>
                        <a:pt x="171094" y="607451"/>
                      </a:lnTo>
                      <a:lnTo>
                        <a:pt x="170062" y="608082"/>
                      </a:lnTo>
                      <a:lnTo>
                        <a:pt x="169843" y="609636"/>
                      </a:lnTo>
                      <a:lnTo>
                        <a:pt x="170183" y="613656"/>
                      </a:lnTo>
                      <a:lnTo>
                        <a:pt x="169892" y="615319"/>
                      </a:lnTo>
                      <a:lnTo>
                        <a:pt x="168750" y="616351"/>
                      </a:lnTo>
                      <a:lnTo>
                        <a:pt x="167196" y="616534"/>
                      </a:lnTo>
                      <a:lnTo>
                        <a:pt x="165702" y="615781"/>
                      </a:lnTo>
                      <a:lnTo>
                        <a:pt x="164950" y="614008"/>
                      </a:lnTo>
                      <a:lnTo>
                        <a:pt x="165010" y="612174"/>
                      </a:lnTo>
                      <a:lnTo>
                        <a:pt x="164780" y="610620"/>
                      </a:lnTo>
                      <a:lnTo>
                        <a:pt x="163978" y="609673"/>
                      </a:lnTo>
                      <a:lnTo>
                        <a:pt x="162485" y="609515"/>
                      </a:lnTo>
                      <a:lnTo>
                        <a:pt x="161562" y="610158"/>
                      </a:lnTo>
                      <a:lnTo>
                        <a:pt x="161282" y="611397"/>
                      </a:lnTo>
                      <a:lnTo>
                        <a:pt x="161222" y="612963"/>
                      </a:lnTo>
                      <a:lnTo>
                        <a:pt x="160991" y="614724"/>
                      </a:lnTo>
                      <a:lnTo>
                        <a:pt x="160311" y="616351"/>
                      </a:lnTo>
                      <a:lnTo>
                        <a:pt x="159218" y="617444"/>
                      </a:lnTo>
                      <a:lnTo>
                        <a:pt x="157555" y="617736"/>
                      </a:lnTo>
                      <a:lnTo>
                        <a:pt x="155478" y="616837"/>
                      </a:lnTo>
                      <a:lnTo>
                        <a:pt x="153135" y="614785"/>
                      </a:lnTo>
                      <a:lnTo>
                        <a:pt x="151010" y="610899"/>
                      </a:lnTo>
                      <a:lnTo>
                        <a:pt x="147270" y="599339"/>
                      </a:lnTo>
                      <a:lnTo>
                        <a:pt x="141295" y="587038"/>
                      </a:lnTo>
                      <a:lnTo>
                        <a:pt x="138587" y="584865"/>
                      </a:lnTo>
                      <a:lnTo>
                        <a:pt x="137094" y="584027"/>
                      </a:lnTo>
                      <a:lnTo>
                        <a:pt x="135965" y="584488"/>
                      </a:lnTo>
                      <a:lnTo>
                        <a:pt x="135272" y="585253"/>
                      </a:lnTo>
                      <a:lnTo>
                        <a:pt x="132625" y="591835"/>
                      </a:lnTo>
                      <a:lnTo>
                        <a:pt x="132164" y="592697"/>
                      </a:lnTo>
                      <a:lnTo>
                        <a:pt x="131642" y="593510"/>
                      </a:lnTo>
                      <a:lnTo>
                        <a:pt x="130962" y="594190"/>
                      </a:lnTo>
                      <a:lnTo>
                        <a:pt x="129128" y="595368"/>
                      </a:lnTo>
                      <a:lnTo>
                        <a:pt x="126675" y="596558"/>
                      </a:lnTo>
                      <a:lnTo>
                        <a:pt x="124429" y="599983"/>
                      </a:lnTo>
                      <a:lnTo>
                        <a:pt x="121502" y="602023"/>
                      </a:lnTo>
                      <a:lnTo>
                        <a:pt x="117786" y="602970"/>
                      </a:lnTo>
                      <a:lnTo>
                        <a:pt x="110549" y="603480"/>
                      </a:lnTo>
                      <a:lnTo>
                        <a:pt x="106931" y="604488"/>
                      </a:lnTo>
                      <a:lnTo>
                        <a:pt x="104915" y="604718"/>
                      </a:lnTo>
                      <a:lnTo>
                        <a:pt x="103191" y="604488"/>
                      </a:lnTo>
                      <a:lnTo>
                        <a:pt x="99232" y="603480"/>
                      </a:lnTo>
                      <a:lnTo>
                        <a:pt x="97216" y="603225"/>
                      </a:lnTo>
                      <a:lnTo>
                        <a:pt x="93318" y="604257"/>
                      </a:lnTo>
                      <a:lnTo>
                        <a:pt x="89530" y="608968"/>
                      </a:lnTo>
                      <a:lnTo>
                        <a:pt x="86191" y="610025"/>
                      </a:lnTo>
                      <a:lnTo>
                        <a:pt x="76039" y="610462"/>
                      </a:lnTo>
                      <a:lnTo>
                        <a:pt x="65013" y="608276"/>
                      </a:lnTo>
                      <a:lnTo>
                        <a:pt x="46568" y="605459"/>
                      </a:lnTo>
                      <a:lnTo>
                        <a:pt x="43642" y="605787"/>
                      </a:lnTo>
                      <a:lnTo>
                        <a:pt x="43982" y="600043"/>
                      </a:lnTo>
                      <a:lnTo>
                        <a:pt x="43071" y="593268"/>
                      </a:lnTo>
                      <a:lnTo>
                        <a:pt x="43472" y="588617"/>
                      </a:lnTo>
                      <a:lnTo>
                        <a:pt x="44042" y="586018"/>
                      </a:lnTo>
                      <a:lnTo>
                        <a:pt x="43642" y="584136"/>
                      </a:lnTo>
                      <a:lnTo>
                        <a:pt x="41638" y="579740"/>
                      </a:lnTo>
                      <a:lnTo>
                        <a:pt x="41359" y="578356"/>
                      </a:lnTo>
                      <a:lnTo>
                        <a:pt x="41577" y="576753"/>
                      </a:lnTo>
                      <a:lnTo>
                        <a:pt x="45075" y="571155"/>
                      </a:lnTo>
                      <a:lnTo>
                        <a:pt x="45257" y="569115"/>
                      </a:lnTo>
                      <a:lnTo>
                        <a:pt x="44917" y="566614"/>
                      </a:lnTo>
                      <a:lnTo>
                        <a:pt x="43702" y="562631"/>
                      </a:lnTo>
                      <a:lnTo>
                        <a:pt x="42670" y="560822"/>
                      </a:lnTo>
                      <a:lnTo>
                        <a:pt x="40946" y="559498"/>
                      </a:lnTo>
                      <a:lnTo>
                        <a:pt x="34000" y="557835"/>
                      </a:lnTo>
                      <a:lnTo>
                        <a:pt x="31353" y="556742"/>
                      </a:lnTo>
                      <a:lnTo>
                        <a:pt x="28888" y="555224"/>
                      </a:lnTo>
                      <a:lnTo>
                        <a:pt x="26654" y="553402"/>
                      </a:lnTo>
                      <a:lnTo>
                        <a:pt x="25051" y="551459"/>
                      </a:lnTo>
                      <a:lnTo>
                        <a:pt x="21311" y="545607"/>
                      </a:lnTo>
                      <a:lnTo>
                        <a:pt x="20206" y="544514"/>
                      </a:lnTo>
                      <a:lnTo>
                        <a:pt x="19016" y="543797"/>
                      </a:lnTo>
                      <a:lnTo>
                        <a:pt x="17170" y="543214"/>
                      </a:lnTo>
                      <a:lnTo>
                        <a:pt x="13102" y="539316"/>
                      </a:lnTo>
                      <a:lnTo>
                        <a:pt x="12070" y="536961"/>
                      </a:lnTo>
                      <a:lnTo>
                        <a:pt x="11657" y="534374"/>
                      </a:lnTo>
                      <a:lnTo>
                        <a:pt x="12240" y="532541"/>
                      </a:lnTo>
                      <a:lnTo>
                        <a:pt x="12932" y="531302"/>
                      </a:lnTo>
                      <a:lnTo>
                        <a:pt x="13673" y="529007"/>
                      </a:lnTo>
                      <a:lnTo>
                        <a:pt x="14122" y="525729"/>
                      </a:lnTo>
                      <a:lnTo>
                        <a:pt x="14304" y="518273"/>
                      </a:lnTo>
                      <a:lnTo>
                        <a:pt x="13843" y="512347"/>
                      </a:lnTo>
                      <a:lnTo>
                        <a:pt x="13734" y="511861"/>
                      </a:lnTo>
                      <a:lnTo>
                        <a:pt x="13042" y="510234"/>
                      </a:lnTo>
                      <a:lnTo>
                        <a:pt x="8852" y="504345"/>
                      </a:lnTo>
                      <a:lnTo>
                        <a:pt x="6776" y="500350"/>
                      </a:lnTo>
                      <a:lnTo>
                        <a:pt x="6144" y="498456"/>
                      </a:lnTo>
                      <a:lnTo>
                        <a:pt x="6084" y="496246"/>
                      </a:lnTo>
                      <a:lnTo>
                        <a:pt x="6545" y="494120"/>
                      </a:lnTo>
                      <a:lnTo>
                        <a:pt x="7359" y="482925"/>
                      </a:lnTo>
                      <a:lnTo>
                        <a:pt x="8209" y="477558"/>
                      </a:lnTo>
                      <a:lnTo>
                        <a:pt x="8852" y="475432"/>
                      </a:lnTo>
                      <a:lnTo>
                        <a:pt x="9544" y="473769"/>
                      </a:lnTo>
                      <a:lnTo>
                        <a:pt x="10394" y="472300"/>
                      </a:lnTo>
                      <a:lnTo>
                        <a:pt x="12531" y="469519"/>
                      </a:lnTo>
                      <a:lnTo>
                        <a:pt x="15276" y="466738"/>
                      </a:lnTo>
                      <a:lnTo>
                        <a:pt x="17583" y="464917"/>
                      </a:lnTo>
                      <a:lnTo>
                        <a:pt x="23557" y="461225"/>
                      </a:lnTo>
                      <a:lnTo>
                        <a:pt x="33660" y="456708"/>
                      </a:lnTo>
                      <a:lnTo>
                        <a:pt x="36247" y="455275"/>
                      </a:lnTo>
                      <a:lnTo>
                        <a:pt x="42209" y="450734"/>
                      </a:lnTo>
                      <a:lnTo>
                        <a:pt x="45318" y="448961"/>
                      </a:lnTo>
                      <a:lnTo>
                        <a:pt x="71206" y="434401"/>
                      </a:lnTo>
                      <a:lnTo>
                        <a:pt x="90854" y="423121"/>
                      </a:lnTo>
                      <a:lnTo>
                        <a:pt x="95844" y="419271"/>
                      </a:lnTo>
                      <a:lnTo>
                        <a:pt x="96646" y="416891"/>
                      </a:lnTo>
                      <a:lnTo>
                        <a:pt x="97678" y="414912"/>
                      </a:lnTo>
                      <a:lnTo>
                        <a:pt x="98880" y="414050"/>
                      </a:lnTo>
                      <a:lnTo>
                        <a:pt x="105838" y="411694"/>
                      </a:lnTo>
                      <a:lnTo>
                        <a:pt x="111861" y="408707"/>
                      </a:lnTo>
                      <a:lnTo>
                        <a:pt x="115139" y="406206"/>
                      </a:lnTo>
                      <a:lnTo>
                        <a:pt x="115880" y="404457"/>
                      </a:lnTo>
                      <a:lnTo>
                        <a:pt x="117726" y="402247"/>
                      </a:lnTo>
                      <a:lnTo>
                        <a:pt x="129662" y="394233"/>
                      </a:lnTo>
                      <a:lnTo>
                        <a:pt x="133682" y="390444"/>
                      </a:lnTo>
                      <a:lnTo>
                        <a:pt x="143967" y="377330"/>
                      </a:lnTo>
                      <a:lnTo>
                        <a:pt x="159983" y="364810"/>
                      </a:lnTo>
                      <a:lnTo>
                        <a:pt x="166820" y="362855"/>
                      </a:lnTo>
                      <a:lnTo>
                        <a:pt x="173013" y="366437"/>
                      </a:lnTo>
                      <a:lnTo>
                        <a:pt x="173425" y="367761"/>
                      </a:lnTo>
                      <a:lnTo>
                        <a:pt x="173486" y="370323"/>
                      </a:lnTo>
                      <a:lnTo>
                        <a:pt x="173256" y="372181"/>
                      </a:lnTo>
                      <a:lnTo>
                        <a:pt x="173073" y="373140"/>
                      </a:lnTo>
                      <a:lnTo>
                        <a:pt x="173013" y="374221"/>
                      </a:lnTo>
                      <a:lnTo>
                        <a:pt x="173073" y="375435"/>
                      </a:lnTo>
                      <a:lnTo>
                        <a:pt x="173365" y="376698"/>
                      </a:lnTo>
                      <a:lnTo>
                        <a:pt x="173765" y="377876"/>
                      </a:lnTo>
                      <a:lnTo>
                        <a:pt x="174227" y="378933"/>
                      </a:lnTo>
                      <a:lnTo>
                        <a:pt x="174798" y="379904"/>
                      </a:lnTo>
                      <a:lnTo>
                        <a:pt x="175490" y="380681"/>
                      </a:lnTo>
                      <a:lnTo>
                        <a:pt x="176182" y="381373"/>
                      </a:lnTo>
                      <a:lnTo>
                        <a:pt x="177906" y="382466"/>
                      </a:lnTo>
                      <a:lnTo>
                        <a:pt x="178817" y="382928"/>
                      </a:lnTo>
                      <a:lnTo>
                        <a:pt x="180080" y="383389"/>
                      </a:lnTo>
                      <a:lnTo>
                        <a:pt x="181634" y="383729"/>
                      </a:lnTo>
                      <a:lnTo>
                        <a:pt x="184840" y="383790"/>
                      </a:lnTo>
                      <a:lnTo>
                        <a:pt x="187487" y="383328"/>
                      </a:lnTo>
                      <a:lnTo>
                        <a:pt x="191106" y="382114"/>
                      </a:lnTo>
                      <a:lnTo>
                        <a:pt x="192769" y="381203"/>
                      </a:lnTo>
                      <a:lnTo>
                        <a:pt x="193862" y="380280"/>
                      </a:lnTo>
                      <a:lnTo>
                        <a:pt x="194324" y="379394"/>
                      </a:lnTo>
                      <a:lnTo>
                        <a:pt x="194615" y="378423"/>
                      </a:lnTo>
                      <a:lnTo>
                        <a:pt x="194664" y="377233"/>
                      </a:lnTo>
                      <a:lnTo>
                        <a:pt x="194554" y="376030"/>
                      </a:lnTo>
                      <a:lnTo>
                        <a:pt x="194324" y="374828"/>
                      </a:lnTo>
                      <a:lnTo>
                        <a:pt x="193971" y="373650"/>
                      </a:lnTo>
                      <a:lnTo>
                        <a:pt x="191725" y="368113"/>
                      </a:lnTo>
                      <a:lnTo>
                        <a:pt x="192089" y="363596"/>
                      </a:lnTo>
                      <a:lnTo>
                        <a:pt x="194263" y="362333"/>
                      </a:lnTo>
                      <a:lnTo>
                        <a:pt x="196789" y="361508"/>
                      </a:lnTo>
                      <a:lnTo>
                        <a:pt x="199824" y="359929"/>
                      </a:lnTo>
                      <a:lnTo>
                        <a:pt x="202993" y="359042"/>
                      </a:lnTo>
                      <a:lnTo>
                        <a:pt x="205811" y="360160"/>
                      </a:lnTo>
                      <a:lnTo>
                        <a:pt x="211724" y="365903"/>
                      </a:lnTo>
                      <a:lnTo>
                        <a:pt x="215221" y="368320"/>
                      </a:lnTo>
                      <a:lnTo>
                        <a:pt x="220103" y="369655"/>
                      </a:lnTo>
                      <a:lnTo>
                        <a:pt x="223041" y="371380"/>
                      </a:lnTo>
                      <a:lnTo>
                        <a:pt x="224353" y="371902"/>
                      </a:lnTo>
                      <a:lnTo>
                        <a:pt x="226648" y="372242"/>
                      </a:lnTo>
                      <a:lnTo>
                        <a:pt x="231408" y="372011"/>
                      </a:lnTo>
                      <a:lnTo>
                        <a:pt x="233594" y="371440"/>
                      </a:lnTo>
                      <a:lnTo>
                        <a:pt x="234747" y="370979"/>
                      </a:lnTo>
                      <a:lnTo>
                        <a:pt x="242895" y="365041"/>
                      </a:lnTo>
                      <a:lnTo>
                        <a:pt x="244158" y="364373"/>
                      </a:lnTo>
                      <a:lnTo>
                        <a:pt x="245712" y="362661"/>
                      </a:lnTo>
                      <a:lnTo>
                        <a:pt x="245482" y="359783"/>
                      </a:lnTo>
                      <a:lnTo>
                        <a:pt x="247607" y="357257"/>
                      </a:lnTo>
                      <a:lnTo>
                        <a:pt x="247947" y="354647"/>
                      </a:lnTo>
                      <a:lnTo>
                        <a:pt x="247607" y="353700"/>
                      </a:lnTo>
                      <a:lnTo>
                        <a:pt x="246635" y="352060"/>
                      </a:lnTo>
                      <a:lnTo>
                        <a:pt x="232792" y="339565"/>
                      </a:lnTo>
                      <a:lnTo>
                        <a:pt x="230497" y="338630"/>
                      </a:lnTo>
                      <a:lnTo>
                        <a:pt x="227340" y="338460"/>
                      </a:lnTo>
                      <a:lnTo>
                        <a:pt x="221257" y="338824"/>
                      </a:lnTo>
                      <a:lnTo>
                        <a:pt x="218719" y="337999"/>
                      </a:lnTo>
                      <a:lnTo>
                        <a:pt x="211785" y="334064"/>
                      </a:lnTo>
                      <a:lnTo>
                        <a:pt x="210401" y="332802"/>
                      </a:lnTo>
                      <a:lnTo>
                        <a:pt x="209478" y="330167"/>
                      </a:lnTo>
                      <a:lnTo>
                        <a:pt x="207462" y="327228"/>
                      </a:lnTo>
                      <a:lnTo>
                        <a:pt x="205118" y="324872"/>
                      </a:lnTo>
                      <a:lnTo>
                        <a:pt x="203285" y="323889"/>
                      </a:lnTo>
                      <a:lnTo>
                        <a:pt x="197772" y="323864"/>
                      </a:lnTo>
                      <a:lnTo>
                        <a:pt x="195526" y="324241"/>
                      </a:lnTo>
                      <a:lnTo>
                        <a:pt x="189041" y="326220"/>
                      </a:lnTo>
                      <a:lnTo>
                        <a:pt x="185593" y="326536"/>
                      </a:lnTo>
                      <a:lnTo>
                        <a:pt x="182144" y="325710"/>
                      </a:lnTo>
                      <a:lnTo>
                        <a:pt x="178756" y="323209"/>
                      </a:lnTo>
                      <a:lnTo>
                        <a:pt x="176291" y="320598"/>
                      </a:lnTo>
                      <a:lnTo>
                        <a:pt x="175381" y="319214"/>
                      </a:lnTo>
                      <a:lnTo>
                        <a:pt x="174288" y="317028"/>
                      </a:lnTo>
                      <a:lnTo>
                        <a:pt x="172612" y="310519"/>
                      </a:lnTo>
                      <a:lnTo>
                        <a:pt x="171701" y="308831"/>
                      </a:lnTo>
                      <a:lnTo>
                        <a:pt x="169916" y="307957"/>
                      </a:lnTo>
                      <a:lnTo>
                        <a:pt x="167791" y="307848"/>
                      </a:lnTo>
                      <a:lnTo>
                        <a:pt x="166067" y="307362"/>
                      </a:lnTo>
                      <a:lnTo>
                        <a:pt x="164695" y="303391"/>
                      </a:lnTo>
                      <a:lnTo>
                        <a:pt x="163201" y="300866"/>
                      </a:lnTo>
                      <a:lnTo>
                        <a:pt x="161307" y="298656"/>
                      </a:lnTo>
                      <a:lnTo>
                        <a:pt x="159522" y="297745"/>
                      </a:lnTo>
                      <a:lnTo>
                        <a:pt x="157397" y="297162"/>
                      </a:lnTo>
                      <a:lnTo>
                        <a:pt x="153317" y="294503"/>
                      </a:lnTo>
                      <a:lnTo>
                        <a:pt x="151143" y="293641"/>
                      </a:lnTo>
                      <a:lnTo>
                        <a:pt x="149540" y="293519"/>
                      </a:lnTo>
                      <a:lnTo>
                        <a:pt x="146893" y="291795"/>
                      </a:lnTo>
                      <a:lnTo>
                        <a:pt x="145217" y="291139"/>
                      </a:lnTo>
                      <a:lnTo>
                        <a:pt x="140287" y="279397"/>
                      </a:lnTo>
                      <a:lnTo>
                        <a:pt x="137240" y="275001"/>
                      </a:lnTo>
                      <a:lnTo>
                        <a:pt x="132710" y="271844"/>
                      </a:lnTo>
                      <a:lnTo>
                        <a:pt x="130877" y="270059"/>
                      </a:lnTo>
                      <a:lnTo>
                        <a:pt x="130185" y="268225"/>
                      </a:lnTo>
                      <a:lnTo>
                        <a:pt x="130294" y="266246"/>
                      </a:lnTo>
                      <a:lnTo>
                        <a:pt x="130937" y="264728"/>
                      </a:lnTo>
                      <a:lnTo>
                        <a:pt x="131727" y="263526"/>
                      </a:lnTo>
                      <a:lnTo>
                        <a:pt x="132649" y="262628"/>
                      </a:lnTo>
                      <a:lnTo>
                        <a:pt x="133342" y="262130"/>
                      </a:lnTo>
                      <a:lnTo>
                        <a:pt x="134544" y="261535"/>
                      </a:lnTo>
                      <a:lnTo>
                        <a:pt x="137422" y="260733"/>
                      </a:lnTo>
                      <a:lnTo>
                        <a:pt x="148156" y="259871"/>
                      </a:lnTo>
                      <a:lnTo>
                        <a:pt x="149929" y="259373"/>
                      </a:lnTo>
                      <a:lnTo>
                        <a:pt x="151082" y="258693"/>
                      </a:lnTo>
                      <a:lnTo>
                        <a:pt x="153317" y="256799"/>
                      </a:lnTo>
                      <a:lnTo>
                        <a:pt x="154410" y="256082"/>
                      </a:lnTo>
                      <a:lnTo>
                        <a:pt x="155685" y="255657"/>
                      </a:lnTo>
                      <a:lnTo>
                        <a:pt x="156996" y="255597"/>
                      </a:lnTo>
                      <a:lnTo>
                        <a:pt x="158890" y="255913"/>
                      </a:lnTo>
                      <a:lnTo>
                        <a:pt x="160445" y="256374"/>
                      </a:lnTo>
                      <a:lnTo>
                        <a:pt x="164403" y="256799"/>
                      </a:lnTo>
                      <a:lnTo>
                        <a:pt x="167913" y="254735"/>
                      </a:lnTo>
                      <a:lnTo>
                        <a:pt x="168143" y="254128"/>
                      </a:lnTo>
                      <a:lnTo>
                        <a:pt x="168192" y="253120"/>
                      </a:lnTo>
                      <a:lnTo>
                        <a:pt x="165217" y="249100"/>
                      </a:lnTo>
                      <a:lnTo>
                        <a:pt x="163723" y="245943"/>
                      </a:lnTo>
                      <a:lnTo>
                        <a:pt x="163420" y="244049"/>
                      </a:lnTo>
                      <a:lnTo>
                        <a:pt x="163662" y="242446"/>
                      </a:lnTo>
                      <a:lnTo>
                        <a:pt x="166650" y="238002"/>
                      </a:lnTo>
                      <a:lnTo>
                        <a:pt x="167961" y="234978"/>
                      </a:lnTo>
                      <a:lnTo>
                        <a:pt x="168022" y="232659"/>
                      </a:lnTo>
                      <a:lnTo>
                        <a:pt x="167621" y="231420"/>
                      </a:lnTo>
                      <a:lnTo>
                        <a:pt x="166407" y="230728"/>
                      </a:lnTo>
                      <a:lnTo>
                        <a:pt x="152515" y="227826"/>
                      </a:lnTo>
                      <a:lnTo>
                        <a:pt x="149237" y="226332"/>
                      </a:lnTo>
                      <a:lnTo>
                        <a:pt x="145740" y="224207"/>
                      </a:lnTo>
                      <a:lnTo>
                        <a:pt x="140579" y="219593"/>
                      </a:lnTo>
                      <a:lnTo>
                        <a:pt x="137992" y="217662"/>
                      </a:lnTo>
                      <a:lnTo>
                        <a:pt x="136086" y="216800"/>
                      </a:lnTo>
                      <a:lnTo>
                        <a:pt x="135054" y="217116"/>
                      </a:lnTo>
                      <a:lnTo>
                        <a:pt x="134252" y="217784"/>
                      </a:lnTo>
                      <a:lnTo>
                        <a:pt x="133463" y="218670"/>
                      </a:lnTo>
                      <a:lnTo>
                        <a:pt x="132649" y="219302"/>
                      </a:lnTo>
                      <a:lnTo>
                        <a:pt x="131338" y="220054"/>
                      </a:lnTo>
                      <a:lnTo>
                        <a:pt x="129480" y="220625"/>
                      </a:lnTo>
                      <a:lnTo>
                        <a:pt x="127258" y="220880"/>
                      </a:lnTo>
                      <a:lnTo>
                        <a:pt x="124672" y="220734"/>
                      </a:lnTo>
                      <a:lnTo>
                        <a:pt x="122085" y="220139"/>
                      </a:lnTo>
                      <a:lnTo>
                        <a:pt x="119280" y="218585"/>
                      </a:lnTo>
                      <a:lnTo>
                        <a:pt x="118066" y="216691"/>
                      </a:lnTo>
                      <a:lnTo>
                        <a:pt x="117786" y="214566"/>
                      </a:lnTo>
                      <a:lnTo>
                        <a:pt x="118005" y="211433"/>
                      </a:lnTo>
                      <a:lnTo>
                        <a:pt x="118066" y="211239"/>
                      </a:lnTo>
                      <a:lnTo>
                        <a:pt x="118066" y="204888"/>
                      </a:lnTo>
                      <a:lnTo>
                        <a:pt x="118466" y="203431"/>
                      </a:lnTo>
                      <a:lnTo>
                        <a:pt x="119159" y="202131"/>
                      </a:lnTo>
                      <a:lnTo>
                        <a:pt x="120470" y="201330"/>
                      </a:lnTo>
                      <a:lnTo>
                        <a:pt x="121684" y="201160"/>
                      </a:lnTo>
                      <a:lnTo>
                        <a:pt x="122607" y="201476"/>
                      </a:lnTo>
                      <a:lnTo>
                        <a:pt x="123299" y="202168"/>
                      </a:lnTo>
                      <a:lnTo>
                        <a:pt x="123809" y="203139"/>
                      </a:lnTo>
                      <a:lnTo>
                        <a:pt x="124149" y="204438"/>
                      </a:lnTo>
                      <a:lnTo>
                        <a:pt x="124489" y="205956"/>
                      </a:lnTo>
                      <a:lnTo>
                        <a:pt x="124902" y="207304"/>
                      </a:lnTo>
                      <a:lnTo>
                        <a:pt x="125473" y="208021"/>
                      </a:lnTo>
                      <a:lnTo>
                        <a:pt x="126226" y="208251"/>
                      </a:lnTo>
                      <a:lnTo>
                        <a:pt x="127015" y="207911"/>
                      </a:lnTo>
                      <a:lnTo>
                        <a:pt x="127719" y="207268"/>
                      </a:lnTo>
                      <a:lnTo>
                        <a:pt x="130002" y="203625"/>
                      </a:lnTo>
                      <a:lnTo>
                        <a:pt x="130755" y="202678"/>
                      </a:lnTo>
                      <a:lnTo>
                        <a:pt x="131338" y="202216"/>
                      </a:lnTo>
                      <a:lnTo>
                        <a:pt x="132018" y="201852"/>
                      </a:lnTo>
                      <a:lnTo>
                        <a:pt x="139595" y="200213"/>
                      </a:lnTo>
                      <a:lnTo>
                        <a:pt x="141611" y="199460"/>
                      </a:lnTo>
                      <a:lnTo>
                        <a:pt x="143214" y="198428"/>
                      </a:lnTo>
                      <a:lnTo>
                        <a:pt x="144367" y="197019"/>
                      </a:lnTo>
                      <a:lnTo>
                        <a:pt x="145582" y="195016"/>
                      </a:lnTo>
                      <a:lnTo>
                        <a:pt x="146492" y="193000"/>
                      </a:lnTo>
                      <a:lnTo>
                        <a:pt x="148156" y="186431"/>
                      </a:lnTo>
                      <a:lnTo>
                        <a:pt x="149237" y="183783"/>
                      </a:lnTo>
                      <a:lnTo>
                        <a:pt x="150390" y="182290"/>
                      </a:lnTo>
                      <a:lnTo>
                        <a:pt x="151665" y="181379"/>
                      </a:lnTo>
                      <a:lnTo>
                        <a:pt x="153037" y="181088"/>
                      </a:lnTo>
                      <a:lnTo>
                        <a:pt x="158951" y="181209"/>
                      </a:lnTo>
                      <a:lnTo>
                        <a:pt x="162048" y="180481"/>
                      </a:lnTo>
                      <a:lnTo>
                        <a:pt x="164002" y="180517"/>
                      </a:lnTo>
                      <a:lnTo>
                        <a:pt x="169054" y="182071"/>
                      </a:lnTo>
                      <a:lnTo>
                        <a:pt x="176121" y="183164"/>
                      </a:lnTo>
                      <a:lnTo>
                        <a:pt x="204888" y="182946"/>
                      </a:lnTo>
                      <a:lnTo>
                        <a:pt x="206892" y="181428"/>
                      </a:lnTo>
                      <a:lnTo>
                        <a:pt x="206952" y="180408"/>
                      </a:lnTo>
                      <a:lnTo>
                        <a:pt x="206721" y="178902"/>
                      </a:lnTo>
                      <a:lnTo>
                        <a:pt x="205908" y="177384"/>
                      </a:lnTo>
                      <a:lnTo>
                        <a:pt x="204596" y="175757"/>
                      </a:lnTo>
                      <a:lnTo>
                        <a:pt x="190535" y="162290"/>
                      </a:lnTo>
                      <a:lnTo>
                        <a:pt x="188167" y="160700"/>
                      </a:lnTo>
                      <a:lnTo>
                        <a:pt x="186224" y="160020"/>
                      </a:lnTo>
                      <a:lnTo>
                        <a:pt x="184621" y="159959"/>
                      </a:lnTo>
                      <a:lnTo>
                        <a:pt x="181221" y="160299"/>
                      </a:lnTo>
                      <a:lnTo>
                        <a:pt x="179278" y="159728"/>
                      </a:lnTo>
                      <a:lnTo>
                        <a:pt x="178477" y="158405"/>
                      </a:lnTo>
                      <a:lnTo>
                        <a:pt x="178125" y="156656"/>
                      </a:lnTo>
                      <a:lnTo>
                        <a:pt x="179448" y="146687"/>
                      </a:lnTo>
                      <a:lnTo>
                        <a:pt x="179509" y="143736"/>
                      </a:lnTo>
                      <a:lnTo>
                        <a:pt x="179278" y="140300"/>
                      </a:lnTo>
                      <a:lnTo>
                        <a:pt x="178234" y="136098"/>
                      </a:lnTo>
                      <a:lnTo>
                        <a:pt x="176983" y="133949"/>
                      </a:lnTo>
                      <a:lnTo>
                        <a:pt x="175490" y="132625"/>
                      </a:lnTo>
                      <a:lnTo>
                        <a:pt x="173765" y="131994"/>
                      </a:lnTo>
                      <a:lnTo>
                        <a:pt x="172090" y="131739"/>
                      </a:lnTo>
                      <a:lnTo>
                        <a:pt x="170147" y="131763"/>
                      </a:lnTo>
                      <a:lnTo>
                        <a:pt x="168313" y="132140"/>
                      </a:lnTo>
                      <a:lnTo>
                        <a:pt x="166589" y="132856"/>
                      </a:lnTo>
                      <a:lnTo>
                        <a:pt x="165326" y="133682"/>
                      </a:lnTo>
                      <a:lnTo>
                        <a:pt x="164002" y="134835"/>
                      </a:lnTo>
                      <a:lnTo>
                        <a:pt x="162861" y="135637"/>
                      </a:lnTo>
                      <a:lnTo>
                        <a:pt x="161015" y="135661"/>
                      </a:lnTo>
                      <a:lnTo>
                        <a:pt x="156025" y="132200"/>
                      </a:lnTo>
                      <a:lnTo>
                        <a:pt x="153839" y="129832"/>
                      </a:lnTo>
                      <a:lnTo>
                        <a:pt x="151544" y="128630"/>
                      </a:lnTo>
                      <a:lnTo>
                        <a:pt x="149310" y="127853"/>
                      </a:lnTo>
                      <a:lnTo>
                        <a:pt x="146310" y="126129"/>
                      </a:lnTo>
                      <a:lnTo>
                        <a:pt x="144246" y="123069"/>
                      </a:lnTo>
                      <a:lnTo>
                        <a:pt x="138162" y="110804"/>
                      </a:lnTo>
                      <a:lnTo>
                        <a:pt x="138162" y="110294"/>
                      </a:lnTo>
                      <a:lnTo>
                        <a:pt x="138514" y="104575"/>
                      </a:lnTo>
                      <a:lnTo>
                        <a:pt x="138332" y="101794"/>
                      </a:lnTo>
                      <a:lnTo>
                        <a:pt x="137482" y="98661"/>
                      </a:lnTo>
                      <a:lnTo>
                        <a:pt x="136049" y="96706"/>
                      </a:lnTo>
                      <a:lnTo>
                        <a:pt x="132771" y="94181"/>
                      </a:lnTo>
                      <a:lnTo>
                        <a:pt x="131617" y="92347"/>
                      </a:lnTo>
                      <a:lnTo>
                        <a:pt x="129262" y="86567"/>
                      </a:lnTo>
                      <a:lnTo>
                        <a:pt x="127829" y="84916"/>
                      </a:lnTo>
                      <a:lnTo>
                        <a:pt x="123348" y="81661"/>
                      </a:lnTo>
                      <a:lnTo>
                        <a:pt x="122085" y="79658"/>
                      </a:lnTo>
                      <a:lnTo>
                        <a:pt x="121502" y="77557"/>
                      </a:lnTo>
                      <a:lnTo>
                        <a:pt x="121624" y="72506"/>
                      </a:lnTo>
                      <a:lnTo>
                        <a:pt x="122267" y="69142"/>
                      </a:lnTo>
                      <a:lnTo>
                        <a:pt x="122267" y="65839"/>
                      </a:lnTo>
                      <a:lnTo>
                        <a:pt x="119899" y="61820"/>
                      </a:lnTo>
                      <a:lnTo>
                        <a:pt x="118867" y="60618"/>
                      </a:lnTo>
                      <a:lnTo>
                        <a:pt x="116694" y="58893"/>
                      </a:lnTo>
                      <a:lnTo>
                        <a:pt x="115139" y="57922"/>
                      </a:lnTo>
                      <a:lnTo>
                        <a:pt x="112614" y="55627"/>
                      </a:lnTo>
                      <a:lnTo>
                        <a:pt x="111630" y="54182"/>
                      </a:lnTo>
                      <a:lnTo>
                        <a:pt x="111339" y="52895"/>
                      </a:lnTo>
                      <a:lnTo>
                        <a:pt x="112832" y="47406"/>
                      </a:lnTo>
                      <a:lnTo>
                        <a:pt x="112954" y="45342"/>
                      </a:lnTo>
                      <a:lnTo>
                        <a:pt x="112444" y="44492"/>
                      </a:lnTo>
                      <a:lnTo>
                        <a:pt x="111181" y="44103"/>
                      </a:lnTo>
                      <a:lnTo>
                        <a:pt x="104794" y="44795"/>
                      </a:lnTo>
                      <a:lnTo>
                        <a:pt x="104575" y="44310"/>
                      </a:lnTo>
                      <a:lnTo>
                        <a:pt x="104733" y="43557"/>
                      </a:lnTo>
                      <a:lnTo>
                        <a:pt x="105158" y="42537"/>
                      </a:lnTo>
                      <a:lnTo>
                        <a:pt x="105546" y="40861"/>
                      </a:lnTo>
                      <a:lnTo>
                        <a:pt x="105546" y="40837"/>
                      </a:lnTo>
                      <a:lnTo>
                        <a:pt x="105838" y="41067"/>
                      </a:lnTo>
                      <a:lnTo>
                        <a:pt x="107161" y="39173"/>
                      </a:lnTo>
                      <a:lnTo>
                        <a:pt x="108242" y="38372"/>
                      </a:lnTo>
                      <a:lnTo>
                        <a:pt x="110088" y="37704"/>
                      </a:lnTo>
                      <a:lnTo>
                        <a:pt x="110137" y="36040"/>
                      </a:lnTo>
                      <a:lnTo>
                        <a:pt x="109396" y="33976"/>
                      </a:lnTo>
                      <a:lnTo>
                        <a:pt x="108934" y="32106"/>
                      </a:lnTo>
                      <a:lnTo>
                        <a:pt x="103604" y="26314"/>
                      </a:lnTo>
                      <a:lnTo>
                        <a:pt x="101989" y="23096"/>
                      </a:lnTo>
                      <a:lnTo>
                        <a:pt x="105607" y="21687"/>
                      </a:lnTo>
                      <a:lnTo>
                        <a:pt x="114289" y="21080"/>
                      </a:lnTo>
                      <a:lnTo>
                        <a:pt x="118466" y="19902"/>
                      </a:lnTo>
                      <a:lnTo>
                        <a:pt x="118637" y="19842"/>
                      </a:lnTo>
                      <a:lnTo>
                        <a:pt x="121053" y="20655"/>
                      </a:lnTo>
                      <a:lnTo>
                        <a:pt x="128569" y="21954"/>
                      </a:lnTo>
                      <a:lnTo>
                        <a:pt x="134495" y="21712"/>
                      </a:lnTo>
                      <a:lnTo>
                        <a:pt x="138514" y="19101"/>
                      </a:lnTo>
                      <a:lnTo>
                        <a:pt x="148047" y="7820"/>
                      </a:lnTo>
                      <a:lnTo>
                        <a:pt x="151762" y="6339"/>
                      </a:lnTo>
                      <a:moveTo>
                        <a:pt x="151240" y="0"/>
                      </a:moveTo>
                      <a:lnTo>
                        <a:pt x="149504" y="704"/>
                      </a:lnTo>
                      <a:lnTo>
                        <a:pt x="145788" y="2198"/>
                      </a:lnTo>
                      <a:lnTo>
                        <a:pt x="144392" y="2757"/>
                      </a:lnTo>
                      <a:lnTo>
                        <a:pt x="143420" y="3910"/>
                      </a:lnTo>
                      <a:lnTo>
                        <a:pt x="134459" y="14511"/>
                      </a:lnTo>
                      <a:lnTo>
                        <a:pt x="132589" y="15725"/>
                      </a:lnTo>
                      <a:lnTo>
                        <a:pt x="128982" y="15871"/>
                      </a:lnTo>
                      <a:lnTo>
                        <a:pt x="122571" y="14766"/>
                      </a:lnTo>
                      <a:lnTo>
                        <a:pt x="120604" y="14098"/>
                      </a:lnTo>
                      <a:lnTo>
                        <a:pt x="118539" y="13394"/>
                      </a:lnTo>
                      <a:lnTo>
                        <a:pt x="116499" y="14171"/>
                      </a:lnTo>
                      <a:lnTo>
                        <a:pt x="113269" y="15070"/>
                      </a:lnTo>
                      <a:lnTo>
                        <a:pt x="105194" y="15640"/>
                      </a:lnTo>
                      <a:lnTo>
                        <a:pt x="104284" y="15701"/>
                      </a:lnTo>
                      <a:lnTo>
                        <a:pt x="103421" y="16029"/>
                      </a:lnTo>
                      <a:lnTo>
                        <a:pt x="99803" y="17437"/>
                      </a:lnTo>
                      <a:lnTo>
                        <a:pt x="93586" y="19854"/>
                      </a:lnTo>
                      <a:lnTo>
                        <a:pt x="96573" y="25816"/>
                      </a:lnTo>
                      <a:lnTo>
                        <a:pt x="98188" y="29034"/>
                      </a:lnTo>
                      <a:lnTo>
                        <a:pt x="98576" y="29787"/>
                      </a:lnTo>
                      <a:lnTo>
                        <a:pt x="99147" y="30418"/>
                      </a:lnTo>
                      <a:lnTo>
                        <a:pt x="99718" y="31037"/>
                      </a:lnTo>
                      <a:lnTo>
                        <a:pt x="99499" y="40072"/>
                      </a:lnTo>
                      <a:lnTo>
                        <a:pt x="99366" y="40667"/>
                      </a:lnTo>
                      <a:lnTo>
                        <a:pt x="99123" y="41225"/>
                      </a:lnTo>
                      <a:lnTo>
                        <a:pt x="98916" y="41735"/>
                      </a:lnTo>
                      <a:lnTo>
                        <a:pt x="98795" y="42270"/>
                      </a:lnTo>
                      <a:lnTo>
                        <a:pt x="98637" y="43022"/>
                      </a:lnTo>
                      <a:lnTo>
                        <a:pt x="98224" y="44965"/>
                      </a:lnTo>
                      <a:lnTo>
                        <a:pt x="99038" y="46775"/>
                      </a:lnTo>
                      <a:lnTo>
                        <a:pt x="100847" y="50794"/>
                      </a:lnTo>
                      <a:lnTo>
                        <a:pt x="105449" y="50806"/>
                      </a:lnTo>
                      <a:lnTo>
                        <a:pt x="105607" y="50794"/>
                      </a:lnTo>
                      <a:lnTo>
                        <a:pt x="105474" y="51280"/>
                      </a:lnTo>
                      <a:lnTo>
                        <a:pt x="105073" y="52737"/>
                      </a:lnTo>
                      <a:lnTo>
                        <a:pt x="105401" y="54218"/>
                      </a:lnTo>
                      <a:lnTo>
                        <a:pt x="105692" y="55505"/>
                      </a:lnTo>
                      <a:lnTo>
                        <a:pt x="105947" y="56623"/>
                      </a:lnTo>
                      <a:lnTo>
                        <a:pt x="106591" y="57582"/>
                      </a:lnTo>
                      <a:lnTo>
                        <a:pt x="107574" y="59027"/>
                      </a:lnTo>
                      <a:lnTo>
                        <a:pt x="107987" y="59622"/>
                      </a:lnTo>
                      <a:lnTo>
                        <a:pt x="108509" y="60108"/>
                      </a:lnTo>
                      <a:lnTo>
                        <a:pt x="111035" y="62403"/>
                      </a:lnTo>
                      <a:lnTo>
                        <a:pt x="111436" y="62767"/>
                      </a:lnTo>
                      <a:lnTo>
                        <a:pt x="111897" y="63058"/>
                      </a:lnTo>
                      <a:lnTo>
                        <a:pt x="113160" y="63848"/>
                      </a:lnTo>
                      <a:lnTo>
                        <a:pt x="114617" y="65001"/>
                      </a:lnTo>
                      <a:lnTo>
                        <a:pt x="114909" y="65353"/>
                      </a:lnTo>
                      <a:lnTo>
                        <a:pt x="116172" y="67478"/>
                      </a:lnTo>
                      <a:lnTo>
                        <a:pt x="116172" y="68559"/>
                      </a:lnTo>
                      <a:lnTo>
                        <a:pt x="115637" y="71364"/>
                      </a:lnTo>
                      <a:lnTo>
                        <a:pt x="115540" y="71850"/>
                      </a:lnTo>
                      <a:lnTo>
                        <a:pt x="115528" y="72348"/>
                      </a:lnTo>
                      <a:lnTo>
                        <a:pt x="115406" y="77399"/>
                      </a:lnTo>
                      <a:lnTo>
                        <a:pt x="115394" y="78298"/>
                      </a:lnTo>
                      <a:lnTo>
                        <a:pt x="115637" y="79160"/>
                      </a:lnTo>
                      <a:lnTo>
                        <a:pt x="116220" y="81261"/>
                      </a:lnTo>
                      <a:lnTo>
                        <a:pt x="116463" y="82123"/>
                      </a:lnTo>
                      <a:lnTo>
                        <a:pt x="116949" y="82876"/>
                      </a:lnTo>
                      <a:lnTo>
                        <a:pt x="118212" y="84879"/>
                      </a:lnTo>
                      <a:lnTo>
                        <a:pt x="118831" y="85875"/>
                      </a:lnTo>
                      <a:lnTo>
                        <a:pt x="119778" y="86567"/>
                      </a:lnTo>
                      <a:lnTo>
                        <a:pt x="123700" y="89409"/>
                      </a:lnTo>
                      <a:lnTo>
                        <a:pt x="124016" y="89773"/>
                      </a:lnTo>
                      <a:lnTo>
                        <a:pt x="125995" y="94618"/>
                      </a:lnTo>
                      <a:lnTo>
                        <a:pt x="126202" y="95116"/>
                      </a:lnTo>
                      <a:lnTo>
                        <a:pt x="126481" y="95565"/>
                      </a:lnTo>
                      <a:lnTo>
                        <a:pt x="127634" y="97399"/>
                      </a:lnTo>
                      <a:lnTo>
                        <a:pt x="128205" y="98309"/>
                      </a:lnTo>
                      <a:lnTo>
                        <a:pt x="129055" y="98965"/>
                      </a:lnTo>
                      <a:lnTo>
                        <a:pt x="131654" y="100969"/>
                      </a:lnTo>
                      <a:lnTo>
                        <a:pt x="131909" y="101333"/>
                      </a:lnTo>
                      <a:lnTo>
                        <a:pt x="132309" y="102778"/>
                      </a:lnTo>
                      <a:lnTo>
                        <a:pt x="132419" y="104563"/>
                      </a:lnTo>
                      <a:lnTo>
                        <a:pt x="132091" y="109906"/>
                      </a:lnTo>
                      <a:lnTo>
                        <a:pt x="132079" y="110100"/>
                      </a:lnTo>
                      <a:lnTo>
                        <a:pt x="132079" y="110792"/>
                      </a:lnTo>
                      <a:lnTo>
                        <a:pt x="132079" y="112213"/>
                      </a:lnTo>
                      <a:lnTo>
                        <a:pt x="132710" y="113488"/>
                      </a:lnTo>
                      <a:lnTo>
                        <a:pt x="138794" y="125752"/>
                      </a:lnTo>
                      <a:lnTo>
                        <a:pt x="138976" y="126117"/>
                      </a:lnTo>
                      <a:lnTo>
                        <a:pt x="139207" y="126445"/>
                      </a:lnTo>
                      <a:lnTo>
                        <a:pt x="141271" y="129505"/>
                      </a:lnTo>
                      <a:lnTo>
                        <a:pt x="142060" y="130682"/>
                      </a:lnTo>
                      <a:lnTo>
                        <a:pt x="143287" y="131387"/>
                      </a:lnTo>
                      <a:lnTo>
                        <a:pt x="146286" y="133111"/>
                      </a:lnTo>
                      <a:lnTo>
                        <a:pt x="146784" y="133390"/>
                      </a:lnTo>
                      <a:lnTo>
                        <a:pt x="147318" y="133572"/>
                      </a:lnTo>
                      <a:lnTo>
                        <a:pt x="149128" y="134204"/>
                      </a:lnTo>
                      <a:lnTo>
                        <a:pt x="150087" y="134714"/>
                      </a:lnTo>
                      <a:lnTo>
                        <a:pt x="151556" y="136305"/>
                      </a:lnTo>
                      <a:lnTo>
                        <a:pt x="152017" y="136802"/>
                      </a:lnTo>
                      <a:lnTo>
                        <a:pt x="152576" y="137191"/>
                      </a:lnTo>
                      <a:lnTo>
                        <a:pt x="157567" y="140652"/>
                      </a:lnTo>
                      <a:lnTo>
                        <a:pt x="159158" y="141757"/>
                      </a:lnTo>
                      <a:lnTo>
                        <a:pt x="161100" y="141733"/>
                      </a:lnTo>
                      <a:lnTo>
                        <a:pt x="162946" y="141708"/>
                      </a:lnTo>
                      <a:lnTo>
                        <a:pt x="164816" y="141684"/>
                      </a:lnTo>
                      <a:lnTo>
                        <a:pt x="166346" y="140615"/>
                      </a:lnTo>
                      <a:lnTo>
                        <a:pt x="167488" y="139814"/>
                      </a:lnTo>
                      <a:lnTo>
                        <a:pt x="167755" y="139620"/>
                      </a:lnTo>
                      <a:lnTo>
                        <a:pt x="168010" y="139401"/>
                      </a:lnTo>
                      <a:lnTo>
                        <a:pt x="169018" y="138527"/>
                      </a:lnTo>
                      <a:lnTo>
                        <a:pt x="169455" y="138247"/>
                      </a:lnTo>
                      <a:lnTo>
                        <a:pt x="170123" y="137980"/>
                      </a:lnTo>
                      <a:lnTo>
                        <a:pt x="170815" y="137835"/>
                      </a:lnTo>
                      <a:lnTo>
                        <a:pt x="171689" y="137822"/>
                      </a:lnTo>
                      <a:lnTo>
                        <a:pt x="172272" y="137907"/>
                      </a:lnTo>
                      <a:lnTo>
                        <a:pt x="172272" y="137907"/>
                      </a:lnTo>
                      <a:lnTo>
                        <a:pt x="172551" y="138405"/>
                      </a:lnTo>
                      <a:lnTo>
                        <a:pt x="173256" y="141247"/>
                      </a:lnTo>
                      <a:lnTo>
                        <a:pt x="173450" y="144149"/>
                      </a:lnTo>
                      <a:lnTo>
                        <a:pt x="173389" y="146201"/>
                      </a:lnTo>
                      <a:lnTo>
                        <a:pt x="172114" y="155855"/>
                      </a:lnTo>
                      <a:lnTo>
                        <a:pt x="171981" y="156862"/>
                      </a:lnTo>
                      <a:lnTo>
                        <a:pt x="172175" y="157858"/>
                      </a:lnTo>
                      <a:lnTo>
                        <a:pt x="172527" y="159607"/>
                      </a:lnTo>
                      <a:lnTo>
                        <a:pt x="172733" y="160651"/>
                      </a:lnTo>
                      <a:lnTo>
                        <a:pt x="173280" y="161562"/>
                      </a:lnTo>
                      <a:lnTo>
                        <a:pt x="174081" y="162885"/>
                      </a:lnTo>
                      <a:lnTo>
                        <a:pt x="175296" y="164901"/>
                      </a:lnTo>
                      <a:lnTo>
                        <a:pt x="177554" y="165569"/>
                      </a:lnTo>
                      <a:lnTo>
                        <a:pt x="179497" y="166140"/>
                      </a:lnTo>
                      <a:lnTo>
                        <a:pt x="180638" y="166480"/>
                      </a:lnTo>
                      <a:lnTo>
                        <a:pt x="181828" y="166358"/>
                      </a:lnTo>
                      <a:lnTo>
                        <a:pt x="184816" y="166055"/>
                      </a:lnTo>
                      <a:lnTo>
                        <a:pt x="185083" y="166067"/>
                      </a:lnTo>
                      <a:lnTo>
                        <a:pt x="185423" y="166188"/>
                      </a:lnTo>
                      <a:lnTo>
                        <a:pt x="186710" y="167050"/>
                      </a:lnTo>
                      <a:lnTo>
                        <a:pt x="197044" y="176947"/>
                      </a:lnTo>
                      <a:lnTo>
                        <a:pt x="176558" y="177105"/>
                      </a:lnTo>
                      <a:lnTo>
                        <a:pt x="170414" y="176158"/>
                      </a:lnTo>
                      <a:lnTo>
                        <a:pt x="165788" y="174737"/>
                      </a:lnTo>
                      <a:lnTo>
                        <a:pt x="164962" y="174482"/>
                      </a:lnTo>
                      <a:lnTo>
                        <a:pt x="164112" y="174470"/>
                      </a:lnTo>
                      <a:lnTo>
                        <a:pt x="162157" y="174433"/>
                      </a:lnTo>
                      <a:lnTo>
                        <a:pt x="161392" y="174421"/>
                      </a:lnTo>
                      <a:lnTo>
                        <a:pt x="160651" y="174591"/>
                      </a:lnTo>
                      <a:lnTo>
                        <a:pt x="158308" y="175150"/>
                      </a:lnTo>
                      <a:lnTo>
                        <a:pt x="153171" y="175041"/>
                      </a:lnTo>
                      <a:lnTo>
                        <a:pt x="152467" y="175028"/>
                      </a:lnTo>
                      <a:lnTo>
                        <a:pt x="151787" y="175174"/>
                      </a:lnTo>
                      <a:lnTo>
                        <a:pt x="150415" y="175466"/>
                      </a:lnTo>
                      <a:lnTo>
                        <a:pt x="149164" y="175721"/>
                      </a:lnTo>
                      <a:lnTo>
                        <a:pt x="148132" y="176473"/>
                      </a:lnTo>
                      <a:lnTo>
                        <a:pt x="146857" y="177384"/>
                      </a:lnTo>
                      <a:lnTo>
                        <a:pt x="146128" y="177894"/>
                      </a:lnTo>
                      <a:lnTo>
                        <a:pt x="145582" y="178598"/>
                      </a:lnTo>
                      <a:lnTo>
                        <a:pt x="144428" y="180092"/>
                      </a:lnTo>
                      <a:lnTo>
                        <a:pt x="143918" y="180748"/>
                      </a:lnTo>
                      <a:lnTo>
                        <a:pt x="143602" y="181501"/>
                      </a:lnTo>
                      <a:lnTo>
                        <a:pt x="142522" y="184148"/>
                      </a:lnTo>
                      <a:lnTo>
                        <a:pt x="142364" y="184549"/>
                      </a:lnTo>
                      <a:lnTo>
                        <a:pt x="142254" y="184961"/>
                      </a:lnTo>
                      <a:lnTo>
                        <a:pt x="140737" y="191009"/>
                      </a:lnTo>
                      <a:lnTo>
                        <a:pt x="140190" y="192198"/>
                      </a:lnTo>
                      <a:lnTo>
                        <a:pt x="139389" y="193522"/>
                      </a:lnTo>
                      <a:lnTo>
                        <a:pt x="139122" y="193850"/>
                      </a:lnTo>
                      <a:lnTo>
                        <a:pt x="138867" y="194008"/>
                      </a:lnTo>
                      <a:lnTo>
                        <a:pt x="137871" y="194384"/>
                      </a:lnTo>
                      <a:lnTo>
                        <a:pt x="130731" y="195926"/>
                      </a:lnTo>
                      <a:lnTo>
                        <a:pt x="129917" y="196109"/>
                      </a:lnTo>
                      <a:lnTo>
                        <a:pt x="129177" y="196497"/>
                      </a:lnTo>
                      <a:lnTo>
                        <a:pt x="128497" y="196861"/>
                      </a:lnTo>
                      <a:lnTo>
                        <a:pt x="127999" y="197129"/>
                      </a:lnTo>
                      <a:lnTo>
                        <a:pt x="127562" y="197481"/>
                      </a:lnTo>
                      <a:lnTo>
                        <a:pt x="127355" y="197651"/>
                      </a:lnTo>
                      <a:lnTo>
                        <a:pt x="126906" y="197201"/>
                      </a:lnTo>
                      <a:lnTo>
                        <a:pt x="125910" y="196206"/>
                      </a:lnTo>
                      <a:lnTo>
                        <a:pt x="124574" y="195744"/>
                      </a:lnTo>
                      <a:lnTo>
                        <a:pt x="123652" y="195429"/>
                      </a:lnTo>
                      <a:lnTo>
                        <a:pt x="122279" y="194955"/>
                      </a:lnTo>
                      <a:lnTo>
                        <a:pt x="120846" y="195161"/>
                      </a:lnTo>
                      <a:lnTo>
                        <a:pt x="119632" y="195331"/>
                      </a:lnTo>
                      <a:lnTo>
                        <a:pt x="118382" y="195514"/>
                      </a:lnTo>
                      <a:lnTo>
                        <a:pt x="117313" y="196169"/>
                      </a:lnTo>
                      <a:lnTo>
                        <a:pt x="116002" y="196971"/>
                      </a:lnTo>
                      <a:lnTo>
                        <a:pt x="114593" y="197833"/>
                      </a:lnTo>
                      <a:lnTo>
                        <a:pt x="113816" y="199290"/>
                      </a:lnTo>
                      <a:lnTo>
                        <a:pt x="113124" y="200577"/>
                      </a:lnTo>
                      <a:lnTo>
                        <a:pt x="112808" y="201172"/>
                      </a:lnTo>
                      <a:lnTo>
                        <a:pt x="112626" y="201816"/>
                      </a:lnTo>
                      <a:lnTo>
                        <a:pt x="112225" y="203273"/>
                      </a:lnTo>
                      <a:lnTo>
                        <a:pt x="112006" y="204062"/>
                      </a:lnTo>
                      <a:lnTo>
                        <a:pt x="112006" y="204888"/>
                      </a:lnTo>
                      <a:lnTo>
                        <a:pt x="112006" y="210644"/>
                      </a:lnTo>
                      <a:lnTo>
                        <a:pt x="111970" y="211008"/>
                      </a:lnTo>
                      <a:lnTo>
                        <a:pt x="111739" y="214141"/>
                      </a:lnTo>
                      <a:lnTo>
                        <a:pt x="111703" y="214748"/>
                      </a:lnTo>
                      <a:lnTo>
                        <a:pt x="111788" y="215355"/>
                      </a:lnTo>
                      <a:lnTo>
                        <a:pt x="112067" y="217480"/>
                      </a:lnTo>
                      <a:lnTo>
                        <a:pt x="112237" y="218828"/>
                      </a:lnTo>
                      <a:lnTo>
                        <a:pt x="112978" y="219969"/>
                      </a:lnTo>
                      <a:lnTo>
                        <a:pt x="114192" y="221864"/>
                      </a:lnTo>
                      <a:lnTo>
                        <a:pt x="115018" y="223151"/>
                      </a:lnTo>
                      <a:lnTo>
                        <a:pt x="116366" y="223904"/>
                      </a:lnTo>
                      <a:lnTo>
                        <a:pt x="119171" y="225458"/>
                      </a:lnTo>
                      <a:lnTo>
                        <a:pt x="119924" y="225871"/>
                      </a:lnTo>
                      <a:lnTo>
                        <a:pt x="120762" y="226065"/>
                      </a:lnTo>
                      <a:lnTo>
                        <a:pt x="123348" y="226660"/>
                      </a:lnTo>
                      <a:lnTo>
                        <a:pt x="123846" y="226769"/>
                      </a:lnTo>
                      <a:lnTo>
                        <a:pt x="124356" y="226794"/>
                      </a:lnTo>
                      <a:lnTo>
                        <a:pt x="126942" y="226939"/>
                      </a:lnTo>
                      <a:lnTo>
                        <a:pt x="127465" y="226964"/>
                      </a:lnTo>
                      <a:lnTo>
                        <a:pt x="127987" y="226903"/>
                      </a:lnTo>
                      <a:lnTo>
                        <a:pt x="130209" y="226648"/>
                      </a:lnTo>
                      <a:lnTo>
                        <a:pt x="130755" y="226587"/>
                      </a:lnTo>
                      <a:lnTo>
                        <a:pt x="131277" y="226417"/>
                      </a:lnTo>
                      <a:lnTo>
                        <a:pt x="133135" y="225846"/>
                      </a:lnTo>
                      <a:lnTo>
                        <a:pt x="133791" y="225640"/>
                      </a:lnTo>
                      <a:lnTo>
                        <a:pt x="134386" y="225300"/>
                      </a:lnTo>
                      <a:lnTo>
                        <a:pt x="135697" y="224547"/>
                      </a:lnTo>
                      <a:lnTo>
                        <a:pt x="136074" y="224329"/>
                      </a:lnTo>
                      <a:lnTo>
                        <a:pt x="136414" y="224062"/>
                      </a:lnTo>
                      <a:lnTo>
                        <a:pt x="136438" y="224037"/>
                      </a:lnTo>
                      <a:lnTo>
                        <a:pt x="136960" y="224426"/>
                      </a:lnTo>
                      <a:lnTo>
                        <a:pt x="141720" y="228712"/>
                      </a:lnTo>
                      <a:lnTo>
                        <a:pt x="142133" y="229077"/>
                      </a:lnTo>
                      <a:lnTo>
                        <a:pt x="142607" y="229368"/>
                      </a:lnTo>
                      <a:lnTo>
                        <a:pt x="146104" y="231493"/>
                      </a:lnTo>
                      <a:lnTo>
                        <a:pt x="146407" y="231675"/>
                      </a:lnTo>
                      <a:lnTo>
                        <a:pt x="146735" y="231833"/>
                      </a:lnTo>
                      <a:lnTo>
                        <a:pt x="150014" y="233327"/>
                      </a:lnTo>
                      <a:lnTo>
                        <a:pt x="150633" y="233606"/>
                      </a:lnTo>
                      <a:lnTo>
                        <a:pt x="151301" y="233740"/>
                      </a:lnTo>
                      <a:lnTo>
                        <a:pt x="160858" y="235743"/>
                      </a:lnTo>
                      <a:lnTo>
                        <a:pt x="158648" y="239034"/>
                      </a:lnTo>
                      <a:lnTo>
                        <a:pt x="157895" y="240163"/>
                      </a:lnTo>
                      <a:lnTo>
                        <a:pt x="157688" y="241511"/>
                      </a:lnTo>
                      <a:lnTo>
                        <a:pt x="157433" y="243114"/>
                      </a:lnTo>
                      <a:lnTo>
                        <a:pt x="157300" y="244049"/>
                      </a:lnTo>
                      <a:lnTo>
                        <a:pt x="157445" y="244984"/>
                      </a:lnTo>
                      <a:lnTo>
                        <a:pt x="157749" y="246878"/>
                      </a:lnTo>
                      <a:lnTo>
                        <a:pt x="157882" y="247728"/>
                      </a:lnTo>
                      <a:lnTo>
                        <a:pt x="158247" y="248505"/>
                      </a:lnTo>
                      <a:lnTo>
                        <a:pt x="158817" y="249708"/>
                      </a:lnTo>
                      <a:lnTo>
                        <a:pt x="158004" y="249574"/>
                      </a:lnTo>
                      <a:lnTo>
                        <a:pt x="157360" y="249465"/>
                      </a:lnTo>
                      <a:lnTo>
                        <a:pt x="156705" y="249489"/>
                      </a:lnTo>
                      <a:lnTo>
                        <a:pt x="155393" y="249550"/>
                      </a:lnTo>
                      <a:lnTo>
                        <a:pt x="154580" y="249586"/>
                      </a:lnTo>
                      <a:lnTo>
                        <a:pt x="153802" y="249841"/>
                      </a:lnTo>
                      <a:lnTo>
                        <a:pt x="152528" y="250266"/>
                      </a:lnTo>
                      <a:lnTo>
                        <a:pt x="151762" y="250521"/>
                      </a:lnTo>
                      <a:lnTo>
                        <a:pt x="151095" y="250958"/>
                      </a:lnTo>
                      <a:lnTo>
                        <a:pt x="150002" y="251675"/>
                      </a:lnTo>
                      <a:lnTo>
                        <a:pt x="149698" y="251881"/>
                      </a:lnTo>
                      <a:lnTo>
                        <a:pt x="149419" y="252124"/>
                      </a:lnTo>
                      <a:lnTo>
                        <a:pt x="147597" y="253678"/>
                      </a:lnTo>
                      <a:lnTo>
                        <a:pt x="147573" y="253690"/>
                      </a:lnTo>
                      <a:lnTo>
                        <a:pt x="147112" y="253812"/>
                      </a:lnTo>
                      <a:lnTo>
                        <a:pt x="136972" y="254625"/>
                      </a:lnTo>
                      <a:lnTo>
                        <a:pt x="136390" y="254674"/>
                      </a:lnTo>
                      <a:lnTo>
                        <a:pt x="135831" y="254832"/>
                      </a:lnTo>
                      <a:lnTo>
                        <a:pt x="132953" y="255621"/>
                      </a:lnTo>
                      <a:lnTo>
                        <a:pt x="132407" y="255779"/>
                      </a:lnTo>
                      <a:lnTo>
                        <a:pt x="131897" y="256034"/>
                      </a:lnTo>
                      <a:lnTo>
                        <a:pt x="130694" y="256629"/>
                      </a:lnTo>
                      <a:lnTo>
                        <a:pt x="130245" y="256860"/>
                      </a:lnTo>
                      <a:lnTo>
                        <a:pt x="129832" y="257151"/>
                      </a:lnTo>
                      <a:lnTo>
                        <a:pt x="129140" y="257649"/>
                      </a:lnTo>
                      <a:lnTo>
                        <a:pt x="128764" y="257916"/>
                      </a:lnTo>
                      <a:lnTo>
                        <a:pt x="128436" y="258232"/>
                      </a:lnTo>
                      <a:lnTo>
                        <a:pt x="127513" y="259130"/>
                      </a:lnTo>
                      <a:lnTo>
                        <a:pt x="127039" y="259592"/>
                      </a:lnTo>
                      <a:lnTo>
                        <a:pt x="126675" y="260138"/>
                      </a:lnTo>
                      <a:lnTo>
                        <a:pt x="125886" y="261340"/>
                      </a:lnTo>
                      <a:lnTo>
                        <a:pt x="125582" y="261802"/>
                      </a:lnTo>
                      <a:lnTo>
                        <a:pt x="125364" y="262312"/>
                      </a:lnTo>
                      <a:lnTo>
                        <a:pt x="124720" y="263830"/>
                      </a:lnTo>
                      <a:lnTo>
                        <a:pt x="124319" y="264801"/>
                      </a:lnTo>
                      <a:lnTo>
                        <a:pt x="124259" y="265845"/>
                      </a:lnTo>
                      <a:lnTo>
                        <a:pt x="124149" y="267825"/>
                      </a:lnTo>
                      <a:lnTo>
                        <a:pt x="124077" y="269112"/>
                      </a:lnTo>
                      <a:lnTo>
                        <a:pt x="124538" y="270326"/>
                      </a:lnTo>
                      <a:lnTo>
                        <a:pt x="125230" y="272160"/>
                      </a:lnTo>
                      <a:lnTo>
                        <a:pt x="125704" y="273410"/>
                      </a:lnTo>
                      <a:lnTo>
                        <a:pt x="126663" y="274345"/>
                      </a:lnTo>
                      <a:lnTo>
                        <a:pt x="128497" y="276130"/>
                      </a:lnTo>
                      <a:lnTo>
                        <a:pt x="128861" y="276483"/>
                      </a:lnTo>
                      <a:lnTo>
                        <a:pt x="129274" y="276762"/>
                      </a:lnTo>
                      <a:lnTo>
                        <a:pt x="132905" y="279288"/>
                      </a:lnTo>
                      <a:lnTo>
                        <a:pt x="134957" y="282263"/>
                      </a:lnTo>
                      <a:lnTo>
                        <a:pt x="139644" y="293422"/>
                      </a:lnTo>
                      <a:lnTo>
                        <a:pt x="140640" y="295790"/>
                      </a:lnTo>
                      <a:lnTo>
                        <a:pt x="143032" y="296725"/>
                      </a:lnTo>
                      <a:lnTo>
                        <a:pt x="144125" y="297150"/>
                      </a:lnTo>
                      <a:lnTo>
                        <a:pt x="146250" y="298534"/>
                      </a:lnTo>
                      <a:lnTo>
                        <a:pt x="147549" y="299384"/>
                      </a:lnTo>
                      <a:lnTo>
                        <a:pt x="149091" y="299506"/>
                      </a:lnTo>
                      <a:lnTo>
                        <a:pt x="149783" y="299554"/>
                      </a:lnTo>
                      <a:lnTo>
                        <a:pt x="150536" y="299846"/>
                      </a:lnTo>
                      <a:lnTo>
                        <a:pt x="154094" y="302177"/>
                      </a:lnTo>
                      <a:lnTo>
                        <a:pt x="154895" y="302687"/>
                      </a:lnTo>
                      <a:lnTo>
                        <a:pt x="155818" y="302942"/>
                      </a:lnTo>
                      <a:lnTo>
                        <a:pt x="157336" y="303355"/>
                      </a:lnTo>
                      <a:lnTo>
                        <a:pt x="157494" y="303440"/>
                      </a:lnTo>
                      <a:lnTo>
                        <a:pt x="158259" y="304339"/>
                      </a:lnTo>
                      <a:lnTo>
                        <a:pt x="159170" y="305869"/>
                      </a:lnTo>
                      <a:lnTo>
                        <a:pt x="160335" y="309256"/>
                      </a:lnTo>
                      <a:lnTo>
                        <a:pt x="161368" y="312256"/>
                      </a:lnTo>
                      <a:lnTo>
                        <a:pt x="164415" y="313118"/>
                      </a:lnTo>
                      <a:lnTo>
                        <a:pt x="166140" y="313604"/>
                      </a:lnTo>
                      <a:lnTo>
                        <a:pt x="166795" y="313786"/>
                      </a:lnTo>
                      <a:lnTo>
                        <a:pt x="167208" y="313798"/>
                      </a:lnTo>
                      <a:lnTo>
                        <a:pt x="168398" y="318449"/>
                      </a:lnTo>
                      <a:lnTo>
                        <a:pt x="168556" y="319068"/>
                      </a:lnTo>
                      <a:lnTo>
                        <a:pt x="168848" y="319639"/>
                      </a:lnTo>
                      <a:lnTo>
                        <a:pt x="169940" y="321824"/>
                      </a:lnTo>
                      <a:lnTo>
                        <a:pt x="170098" y="322152"/>
                      </a:lnTo>
                      <a:lnTo>
                        <a:pt x="170305" y="322456"/>
                      </a:lnTo>
                      <a:lnTo>
                        <a:pt x="171216" y="323840"/>
                      </a:lnTo>
                      <a:lnTo>
                        <a:pt x="171495" y="324277"/>
                      </a:lnTo>
                      <a:lnTo>
                        <a:pt x="171859" y="324666"/>
                      </a:lnTo>
                      <a:lnTo>
                        <a:pt x="174324" y="327277"/>
                      </a:lnTo>
                      <a:lnTo>
                        <a:pt x="174701" y="327665"/>
                      </a:lnTo>
                      <a:lnTo>
                        <a:pt x="175138" y="327993"/>
                      </a:lnTo>
                      <a:lnTo>
                        <a:pt x="178525" y="330494"/>
                      </a:lnTo>
                      <a:lnTo>
                        <a:pt x="179521" y="331223"/>
                      </a:lnTo>
                      <a:lnTo>
                        <a:pt x="180711" y="331514"/>
                      </a:lnTo>
                      <a:lnTo>
                        <a:pt x="184160" y="332340"/>
                      </a:lnTo>
                      <a:lnTo>
                        <a:pt x="185143" y="332571"/>
                      </a:lnTo>
                      <a:lnTo>
                        <a:pt x="186151" y="332486"/>
                      </a:lnTo>
                      <a:lnTo>
                        <a:pt x="189600" y="332170"/>
                      </a:lnTo>
                      <a:lnTo>
                        <a:pt x="190207" y="332109"/>
                      </a:lnTo>
                      <a:lnTo>
                        <a:pt x="190802" y="331927"/>
                      </a:lnTo>
                      <a:lnTo>
                        <a:pt x="196922" y="330069"/>
                      </a:lnTo>
                      <a:lnTo>
                        <a:pt x="198258" y="329839"/>
                      </a:lnTo>
                      <a:lnTo>
                        <a:pt x="201597" y="329851"/>
                      </a:lnTo>
                      <a:lnTo>
                        <a:pt x="202751" y="331017"/>
                      </a:lnTo>
                      <a:lnTo>
                        <a:pt x="204001" y="332826"/>
                      </a:lnTo>
                      <a:lnTo>
                        <a:pt x="204657" y="334696"/>
                      </a:lnTo>
                      <a:lnTo>
                        <a:pt x="205167" y="336153"/>
                      </a:lnTo>
                      <a:lnTo>
                        <a:pt x="206309" y="337185"/>
                      </a:lnTo>
                      <a:lnTo>
                        <a:pt x="207693" y="338448"/>
                      </a:lnTo>
                      <a:lnTo>
                        <a:pt x="208191" y="338909"/>
                      </a:lnTo>
                      <a:lnTo>
                        <a:pt x="208774" y="339237"/>
                      </a:lnTo>
                      <a:lnTo>
                        <a:pt x="215707" y="343172"/>
                      </a:lnTo>
                      <a:lnTo>
                        <a:pt x="216241" y="343475"/>
                      </a:lnTo>
                      <a:lnTo>
                        <a:pt x="216824" y="343669"/>
                      </a:lnTo>
                      <a:lnTo>
                        <a:pt x="219362" y="344495"/>
                      </a:lnTo>
                      <a:lnTo>
                        <a:pt x="220455" y="344847"/>
                      </a:lnTo>
                      <a:lnTo>
                        <a:pt x="221597" y="344775"/>
                      </a:lnTo>
                      <a:lnTo>
                        <a:pt x="227340" y="344435"/>
                      </a:lnTo>
                      <a:lnTo>
                        <a:pt x="229137" y="344532"/>
                      </a:lnTo>
                      <a:lnTo>
                        <a:pt x="229502" y="344677"/>
                      </a:lnTo>
                      <a:lnTo>
                        <a:pt x="241232" y="355266"/>
                      </a:lnTo>
                      <a:lnTo>
                        <a:pt x="240819" y="355764"/>
                      </a:lnTo>
                      <a:lnTo>
                        <a:pt x="239204" y="357670"/>
                      </a:lnTo>
                      <a:lnTo>
                        <a:pt x="239398" y="359953"/>
                      </a:lnTo>
                      <a:lnTo>
                        <a:pt x="239301" y="360014"/>
                      </a:lnTo>
                      <a:lnTo>
                        <a:pt x="231772" y="365503"/>
                      </a:lnTo>
                      <a:lnTo>
                        <a:pt x="231675" y="365539"/>
                      </a:lnTo>
                      <a:lnTo>
                        <a:pt x="230461" y="365855"/>
                      </a:lnTo>
                      <a:lnTo>
                        <a:pt x="226915" y="366025"/>
                      </a:lnTo>
                      <a:lnTo>
                        <a:pt x="225907" y="365879"/>
                      </a:lnTo>
                      <a:lnTo>
                        <a:pt x="225677" y="365794"/>
                      </a:lnTo>
                      <a:lnTo>
                        <a:pt x="223151" y="364300"/>
                      </a:lnTo>
                      <a:lnTo>
                        <a:pt x="222446" y="363888"/>
                      </a:lnTo>
                      <a:lnTo>
                        <a:pt x="221669" y="363669"/>
                      </a:lnTo>
                      <a:lnTo>
                        <a:pt x="217784" y="362612"/>
                      </a:lnTo>
                      <a:lnTo>
                        <a:pt x="215549" y="361070"/>
                      </a:lnTo>
                      <a:lnTo>
                        <a:pt x="209988" y="355679"/>
                      </a:lnTo>
                      <a:lnTo>
                        <a:pt x="209126" y="354841"/>
                      </a:lnTo>
                      <a:lnTo>
                        <a:pt x="208009" y="354392"/>
                      </a:lnTo>
                      <a:lnTo>
                        <a:pt x="205191" y="353275"/>
                      </a:lnTo>
                      <a:lnTo>
                        <a:pt x="203285" y="352509"/>
                      </a:lnTo>
                      <a:lnTo>
                        <a:pt x="201306" y="353068"/>
                      </a:lnTo>
                      <a:lnTo>
                        <a:pt x="198136" y="353955"/>
                      </a:lnTo>
                      <a:lnTo>
                        <a:pt x="197529" y="354125"/>
                      </a:lnTo>
                      <a:lnTo>
                        <a:pt x="196983" y="354404"/>
                      </a:lnTo>
                      <a:lnTo>
                        <a:pt x="194384" y="355752"/>
                      </a:lnTo>
                      <a:lnTo>
                        <a:pt x="192332" y="356420"/>
                      </a:lnTo>
                      <a:lnTo>
                        <a:pt x="191725" y="356614"/>
                      </a:lnTo>
                      <a:lnTo>
                        <a:pt x="191178" y="356930"/>
                      </a:lnTo>
                      <a:lnTo>
                        <a:pt x="189005" y="358192"/>
                      </a:lnTo>
                      <a:lnTo>
                        <a:pt x="186248" y="359795"/>
                      </a:lnTo>
                      <a:lnTo>
                        <a:pt x="185993" y="362965"/>
                      </a:lnTo>
                      <a:lnTo>
                        <a:pt x="185629" y="367482"/>
                      </a:lnTo>
                      <a:lnTo>
                        <a:pt x="185520" y="368915"/>
                      </a:lnTo>
                      <a:lnTo>
                        <a:pt x="186054" y="370238"/>
                      </a:lnTo>
                      <a:lnTo>
                        <a:pt x="188301" y="375775"/>
                      </a:lnTo>
                      <a:lnTo>
                        <a:pt x="188349" y="375957"/>
                      </a:lnTo>
                      <a:lnTo>
                        <a:pt x="188434" y="376443"/>
                      </a:lnTo>
                      <a:lnTo>
                        <a:pt x="185945" y="377281"/>
                      </a:lnTo>
                      <a:lnTo>
                        <a:pt x="184330" y="377560"/>
                      </a:lnTo>
                      <a:lnTo>
                        <a:pt x="182314" y="377524"/>
                      </a:lnTo>
                      <a:lnTo>
                        <a:pt x="181743" y="377390"/>
                      </a:lnTo>
                      <a:lnTo>
                        <a:pt x="181197" y="377196"/>
                      </a:lnTo>
                      <a:lnTo>
                        <a:pt x="180614" y="376905"/>
                      </a:lnTo>
                      <a:lnTo>
                        <a:pt x="180007" y="376492"/>
                      </a:lnTo>
                      <a:lnTo>
                        <a:pt x="179728" y="376225"/>
                      </a:lnTo>
                      <a:lnTo>
                        <a:pt x="179606" y="376018"/>
                      </a:lnTo>
                      <a:lnTo>
                        <a:pt x="179303" y="375314"/>
                      </a:lnTo>
                      <a:lnTo>
                        <a:pt x="179193" y="374974"/>
                      </a:lnTo>
                      <a:lnTo>
                        <a:pt x="179072" y="374452"/>
                      </a:lnTo>
                      <a:lnTo>
                        <a:pt x="179060" y="374088"/>
                      </a:lnTo>
                      <a:lnTo>
                        <a:pt x="179084" y="373735"/>
                      </a:lnTo>
                      <a:lnTo>
                        <a:pt x="179193" y="373177"/>
                      </a:lnTo>
                      <a:lnTo>
                        <a:pt x="179473" y="370906"/>
                      </a:lnTo>
                      <a:lnTo>
                        <a:pt x="179521" y="370469"/>
                      </a:lnTo>
                      <a:lnTo>
                        <a:pt x="179521" y="370032"/>
                      </a:lnTo>
                      <a:lnTo>
                        <a:pt x="179461" y="367470"/>
                      </a:lnTo>
                      <a:lnTo>
                        <a:pt x="179436" y="366632"/>
                      </a:lnTo>
                      <a:lnTo>
                        <a:pt x="179193" y="365830"/>
                      </a:lnTo>
                      <a:lnTo>
                        <a:pt x="178781" y="364507"/>
                      </a:lnTo>
                      <a:lnTo>
                        <a:pt x="178076" y="362224"/>
                      </a:lnTo>
                      <a:lnTo>
                        <a:pt x="176012" y="361022"/>
                      </a:lnTo>
                      <a:lnTo>
                        <a:pt x="169819" y="357440"/>
                      </a:lnTo>
                      <a:lnTo>
                        <a:pt x="167585" y="356152"/>
                      </a:lnTo>
                      <a:lnTo>
                        <a:pt x="165108" y="356857"/>
                      </a:lnTo>
                      <a:lnTo>
                        <a:pt x="158271" y="358812"/>
                      </a:lnTo>
                      <a:lnTo>
                        <a:pt x="157142" y="359140"/>
                      </a:lnTo>
                      <a:lnTo>
                        <a:pt x="156207" y="359868"/>
                      </a:lnTo>
                      <a:lnTo>
                        <a:pt x="140190" y="372388"/>
                      </a:lnTo>
                      <a:lnTo>
                        <a:pt x="139607" y="372849"/>
                      </a:lnTo>
                      <a:lnTo>
                        <a:pt x="139146" y="373432"/>
                      </a:lnTo>
                      <a:lnTo>
                        <a:pt x="129140" y="386194"/>
                      </a:lnTo>
                      <a:lnTo>
                        <a:pt x="125813" y="389327"/>
                      </a:lnTo>
                      <a:lnTo>
                        <a:pt x="114289" y="397062"/>
                      </a:lnTo>
                      <a:lnTo>
                        <a:pt x="113561" y="397548"/>
                      </a:lnTo>
                      <a:lnTo>
                        <a:pt x="113014" y="398216"/>
                      </a:lnTo>
                      <a:lnTo>
                        <a:pt x="111169" y="400426"/>
                      </a:lnTo>
                      <a:lnTo>
                        <a:pt x="110598" y="401118"/>
                      </a:lnTo>
                      <a:lnTo>
                        <a:pt x="110246" y="401944"/>
                      </a:lnTo>
                      <a:lnTo>
                        <a:pt x="110137" y="402211"/>
                      </a:lnTo>
                      <a:lnTo>
                        <a:pt x="108606" y="403376"/>
                      </a:lnTo>
                      <a:lnTo>
                        <a:pt x="103470" y="405926"/>
                      </a:lnTo>
                      <a:lnTo>
                        <a:pt x="96901" y="408161"/>
                      </a:lnTo>
                      <a:lnTo>
                        <a:pt x="96051" y="408452"/>
                      </a:lnTo>
                      <a:lnTo>
                        <a:pt x="95322" y="408974"/>
                      </a:lnTo>
                      <a:lnTo>
                        <a:pt x="94120" y="409836"/>
                      </a:lnTo>
                      <a:lnTo>
                        <a:pt x="92930" y="410674"/>
                      </a:lnTo>
                      <a:lnTo>
                        <a:pt x="92262" y="411961"/>
                      </a:lnTo>
                      <a:lnTo>
                        <a:pt x="91230" y="413941"/>
                      </a:lnTo>
                      <a:lnTo>
                        <a:pt x="91011" y="414366"/>
                      </a:lnTo>
                      <a:lnTo>
                        <a:pt x="90854" y="414815"/>
                      </a:lnTo>
                      <a:lnTo>
                        <a:pt x="90683" y="415592"/>
                      </a:lnTo>
                      <a:lnTo>
                        <a:pt x="87478" y="418069"/>
                      </a:lnTo>
                      <a:lnTo>
                        <a:pt x="68183" y="429144"/>
                      </a:lnTo>
                      <a:lnTo>
                        <a:pt x="42342" y="443679"/>
                      </a:lnTo>
                      <a:lnTo>
                        <a:pt x="39197" y="445464"/>
                      </a:lnTo>
                      <a:lnTo>
                        <a:pt x="38857" y="445658"/>
                      </a:lnTo>
                      <a:lnTo>
                        <a:pt x="38542" y="445901"/>
                      </a:lnTo>
                      <a:lnTo>
                        <a:pt x="32932" y="450175"/>
                      </a:lnTo>
                      <a:lnTo>
                        <a:pt x="30734" y="451389"/>
                      </a:lnTo>
                      <a:lnTo>
                        <a:pt x="21092" y="455676"/>
                      </a:lnTo>
                      <a:lnTo>
                        <a:pt x="20728" y="455846"/>
                      </a:lnTo>
                      <a:lnTo>
                        <a:pt x="20388" y="456064"/>
                      </a:lnTo>
                      <a:lnTo>
                        <a:pt x="14414" y="459756"/>
                      </a:lnTo>
                      <a:lnTo>
                        <a:pt x="14122" y="459938"/>
                      </a:lnTo>
                      <a:lnTo>
                        <a:pt x="13855" y="460157"/>
                      </a:lnTo>
                      <a:lnTo>
                        <a:pt x="11548" y="461978"/>
                      </a:lnTo>
                      <a:lnTo>
                        <a:pt x="11257" y="462221"/>
                      </a:lnTo>
                      <a:lnTo>
                        <a:pt x="10989" y="462488"/>
                      </a:lnTo>
                      <a:lnTo>
                        <a:pt x="8245" y="465269"/>
                      </a:lnTo>
                      <a:lnTo>
                        <a:pt x="7978" y="465536"/>
                      </a:lnTo>
                      <a:lnTo>
                        <a:pt x="7747" y="465840"/>
                      </a:lnTo>
                      <a:lnTo>
                        <a:pt x="5610" y="468620"/>
                      </a:lnTo>
                      <a:lnTo>
                        <a:pt x="5367" y="468936"/>
                      </a:lnTo>
                      <a:lnTo>
                        <a:pt x="5161" y="469276"/>
                      </a:lnTo>
                      <a:lnTo>
                        <a:pt x="4311" y="470745"/>
                      </a:lnTo>
                      <a:lnTo>
                        <a:pt x="4104" y="471097"/>
                      </a:lnTo>
                      <a:lnTo>
                        <a:pt x="3946" y="471474"/>
                      </a:lnTo>
                      <a:lnTo>
                        <a:pt x="3254" y="473137"/>
                      </a:lnTo>
                      <a:lnTo>
                        <a:pt x="2404" y="475833"/>
                      </a:lnTo>
                      <a:lnTo>
                        <a:pt x="2283" y="476234"/>
                      </a:lnTo>
                      <a:lnTo>
                        <a:pt x="2222" y="476647"/>
                      </a:lnTo>
                      <a:lnTo>
                        <a:pt x="1372" y="482014"/>
                      </a:lnTo>
                      <a:lnTo>
                        <a:pt x="534" y="493283"/>
                      </a:lnTo>
                      <a:lnTo>
                        <a:pt x="158" y="494995"/>
                      </a:lnTo>
                      <a:lnTo>
                        <a:pt x="0" y="495711"/>
                      </a:lnTo>
                      <a:lnTo>
                        <a:pt x="12" y="496452"/>
                      </a:lnTo>
                      <a:lnTo>
                        <a:pt x="73" y="498662"/>
                      </a:lnTo>
                      <a:lnTo>
                        <a:pt x="97" y="499573"/>
                      </a:lnTo>
                      <a:lnTo>
                        <a:pt x="389" y="500435"/>
                      </a:lnTo>
                      <a:lnTo>
                        <a:pt x="1020" y="502329"/>
                      </a:lnTo>
                      <a:lnTo>
                        <a:pt x="1166" y="502778"/>
                      </a:lnTo>
                      <a:lnTo>
                        <a:pt x="1397" y="503203"/>
                      </a:lnTo>
                      <a:lnTo>
                        <a:pt x="3473" y="507186"/>
                      </a:lnTo>
                      <a:lnTo>
                        <a:pt x="3667" y="507563"/>
                      </a:lnTo>
                      <a:lnTo>
                        <a:pt x="3910" y="507903"/>
                      </a:lnTo>
                      <a:lnTo>
                        <a:pt x="7723" y="513258"/>
                      </a:lnTo>
                      <a:lnTo>
                        <a:pt x="7832" y="513537"/>
                      </a:lnTo>
                      <a:lnTo>
                        <a:pt x="8233" y="518479"/>
                      </a:lnTo>
                      <a:lnTo>
                        <a:pt x="8063" y="525279"/>
                      </a:lnTo>
                      <a:lnTo>
                        <a:pt x="7735" y="527696"/>
                      </a:lnTo>
                      <a:lnTo>
                        <a:pt x="7346" y="528910"/>
                      </a:lnTo>
                      <a:lnTo>
                        <a:pt x="6946" y="529627"/>
                      </a:lnTo>
                      <a:lnTo>
                        <a:pt x="6642" y="530161"/>
                      </a:lnTo>
                      <a:lnTo>
                        <a:pt x="6460" y="530744"/>
                      </a:lnTo>
                      <a:lnTo>
                        <a:pt x="5877" y="532577"/>
                      </a:lnTo>
                      <a:lnTo>
                        <a:pt x="5440" y="533949"/>
                      </a:lnTo>
                      <a:lnTo>
                        <a:pt x="5671" y="535370"/>
                      </a:lnTo>
                      <a:lnTo>
                        <a:pt x="6084" y="537956"/>
                      </a:lnTo>
                      <a:lnTo>
                        <a:pt x="6205" y="538722"/>
                      </a:lnTo>
                      <a:lnTo>
                        <a:pt x="6521" y="539438"/>
                      </a:lnTo>
                      <a:lnTo>
                        <a:pt x="7553" y="541794"/>
                      </a:lnTo>
                      <a:lnTo>
                        <a:pt x="8039" y="542911"/>
                      </a:lnTo>
                      <a:lnTo>
                        <a:pt x="8913" y="543749"/>
                      </a:lnTo>
                      <a:lnTo>
                        <a:pt x="12981" y="547647"/>
                      </a:lnTo>
                      <a:lnTo>
                        <a:pt x="14001" y="548630"/>
                      </a:lnTo>
                      <a:lnTo>
                        <a:pt x="15349" y="549055"/>
                      </a:lnTo>
                      <a:lnTo>
                        <a:pt x="16478" y="549407"/>
                      </a:lnTo>
                      <a:lnTo>
                        <a:pt x="16563" y="549492"/>
                      </a:lnTo>
                      <a:lnTo>
                        <a:pt x="19939" y="554787"/>
                      </a:lnTo>
                      <a:lnTo>
                        <a:pt x="20145" y="555090"/>
                      </a:lnTo>
                      <a:lnTo>
                        <a:pt x="20376" y="555370"/>
                      </a:lnTo>
                      <a:lnTo>
                        <a:pt x="21979" y="557312"/>
                      </a:lnTo>
                      <a:lnTo>
                        <a:pt x="22355" y="557774"/>
                      </a:lnTo>
                      <a:lnTo>
                        <a:pt x="22817" y="558150"/>
                      </a:lnTo>
                      <a:lnTo>
                        <a:pt x="25051" y="559972"/>
                      </a:lnTo>
                      <a:lnTo>
                        <a:pt x="25367" y="560227"/>
                      </a:lnTo>
                      <a:lnTo>
                        <a:pt x="25707" y="560445"/>
                      </a:lnTo>
                      <a:lnTo>
                        <a:pt x="28172" y="561963"/>
                      </a:lnTo>
                      <a:lnTo>
                        <a:pt x="28585" y="562218"/>
                      </a:lnTo>
                      <a:lnTo>
                        <a:pt x="29034" y="562412"/>
                      </a:lnTo>
                      <a:lnTo>
                        <a:pt x="31681" y="563505"/>
                      </a:lnTo>
                      <a:lnTo>
                        <a:pt x="32118" y="563687"/>
                      </a:lnTo>
                      <a:lnTo>
                        <a:pt x="32579" y="563797"/>
                      </a:lnTo>
                      <a:lnTo>
                        <a:pt x="38093" y="565120"/>
                      </a:lnTo>
                      <a:lnTo>
                        <a:pt x="38967" y="567986"/>
                      </a:lnTo>
                      <a:lnTo>
                        <a:pt x="39137" y="569249"/>
                      </a:lnTo>
                      <a:lnTo>
                        <a:pt x="36429" y="573584"/>
                      </a:lnTo>
                      <a:lnTo>
                        <a:pt x="35737" y="574689"/>
                      </a:lnTo>
                      <a:lnTo>
                        <a:pt x="35555" y="575976"/>
                      </a:lnTo>
                      <a:lnTo>
                        <a:pt x="35336" y="577579"/>
                      </a:lnTo>
                      <a:lnTo>
                        <a:pt x="35190" y="578587"/>
                      </a:lnTo>
                      <a:lnTo>
                        <a:pt x="35397" y="579595"/>
                      </a:lnTo>
                      <a:lnTo>
                        <a:pt x="35676" y="580979"/>
                      </a:lnTo>
                      <a:lnTo>
                        <a:pt x="35810" y="581659"/>
                      </a:lnTo>
                      <a:lnTo>
                        <a:pt x="36101" y="582303"/>
                      </a:lnTo>
                      <a:lnTo>
                        <a:pt x="37825" y="586067"/>
                      </a:lnTo>
                      <a:lnTo>
                        <a:pt x="37546" y="587366"/>
                      </a:lnTo>
                      <a:lnTo>
                        <a:pt x="37461" y="587755"/>
                      </a:lnTo>
                      <a:lnTo>
                        <a:pt x="37437" y="588143"/>
                      </a:lnTo>
                      <a:lnTo>
                        <a:pt x="37036" y="592794"/>
                      </a:lnTo>
                      <a:lnTo>
                        <a:pt x="36975" y="593462"/>
                      </a:lnTo>
                      <a:lnTo>
                        <a:pt x="37060" y="594130"/>
                      </a:lnTo>
                      <a:lnTo>
                        <a:pt x="37898" y="600323"/>
                      </a:lnTo>
                      <a:lnTo>
                        <a:pt x="37595" y="605483"/>
                      </a:lnTo>
                      <a:lnTo>
                        <a:pt x="37157" y="612696"/>
                      </a:lnTo>
                      <a:lnTo>
                        <a:pt x="44334" y="611883"/>
                      </a:lnTo>
                      <a:lnTo>
                        <a:pt x="46459" y="611640"/>
                      </a:lnTo>
                      <a:lnTo>
                        <a:pt x="64103" y="614336"/>
                      </a:lnTo>
                      <a:lnTo>
                        <a:pt x="74861" y="616473"/>
                      </a:lnTo>
                      <a:lnTo>
                        <a:pt x="75578" y="616618"/>
                      </a:lnTo>
                      <a:lnTo>
                        <a:pt x="76306" y="616594"/>
                      </a:lnTo>
                      <a:lnTo>
                        <a:pt x="86458" y="616157"/>
                      </a:lnTo>
                      <a:lnTo>
                        <a:pt x="87259" y="616121"/>
                      </a:lnTo>
                      <a:lnTo>
                        <a:pt x="88024" y="615878"/>
                      </a:lnTo>
                      <a:lnTo>
                        <a:pt x="91363" y="614821"/>
                      </a:lnTo>
                      <a:lnTo>
                        <a:pt x="93124" y="614275"/>
                      </a:lnTo>
                      <a:lnTo>
                        <a:pt x="94278" y="612842"/>
                      </a:lnTo>
                      <a:lnTo>
                        <a:pt x="96816" y="609685"/>
                      </a:lnTo>
                      <a:lnTo>
                        <a:pt x="97641" y="609466"/>
                      </a:lnTo>
                      <a:lnTo>
                        <a:pt x="98115" y="609527"/>
                      </a:lnTo>
                      <a:lnTo>
                        <a:pt x="101709" y="610438"/>
                      </a:lnTo>
                      <a:lnTo>
                        <a:pt x="102049" y="610523"/>
                      </a:lnTo>
                      <a:lnTo>
                        <a:pt x="102389" y="610571"/>
                      </a:lnTo>
                      <a:lnTo>
                        <a:pt x="104114" y="610802"/>
                      </a:lnTo>
                      <a:lnTo>
                        <a:pt x="104866" y="610899"/>
                      </a:lnTo>
                      <a:lnTo>
                        <a:pt x="105619" y="610814"/>
                      </a:lnTo>
                      <a:lnTo>
                        <a:pt x="107635" y="610583"/>
                      </a:lnTo>
                      <a:lnTo>
                        <a:pt x="108109" y="610535"/>
                      </a:lnTo>
                      <a:lnTo>
                        <a:pt x="108570" y="610401"/>
                      </a:lnTo>
                      <a:lnTo>
                        <a:pt x="111606" y="609563"/>
                      </a:lnTo>
                      <a:lnTo>
                        <a:pt x="118224" y="609102"/>
                      </a:lnTo>
                      <a:lnTo>
                        <a:pt x="118758" y="609066"/>
                      </a:lnTo>
                      <a:lnTo>
                        <a:pt x="119280" y="608932"/>
                      </a:lnTo>
                      <a:lnTo>
                        <a:pt x="122996" y="607985"/>
                      </a:lnTo>
                      <a:lnTo>
                        <a:pt x="124064" y="607718"/>
                      </a:lnTo>
                      <a:lnTo>
                        <a:pt x="124975" y="607086"/>
                      </a:lnTo>
                      <a:lnTo>
                        <a:pt x="127902" y="605046"/>
                      </a:lnTo>
                      <a:lnTo>
                        <a:pt x="128873" y="604378"/>
                      </a:lnTo>
                      <a:lnTo>
                        <a:pt x="129517" y="603383"/>
                      </a:lnTo>
                      <a:lnTo>
                        <a:pt x="130840" y="601355"/>
                      </a:lnTo>
                      <a:lnTo>
                        <a:pt x="131812" y="600881"/>
                      </a:lnTo>
                      <a:lnTo>
                        <a:pt x="132140" y="600723"/>
                      </a:lnTo>
                      <a:lnTo>
                        <a:pt x="132431" y="600529"/>
                      </a:lnTo>
                      <a:lnTo>
                        <a:pt x="134265" y="599351"/>
                      </a:lnTo>
                      <a:lnTo>
                        <a:pt x="134823" y="598999"/>
                      </a:lnTo>
                      <a:lnTo>
                        <a:pt x="135285" y="598538"/>
                      </a:lnTo>
                      <a:lnTo>
                        <a:pt x="135965" y="597858"/>
                      </a:lnTo>
                      <a:lnTo>
                        <a:pt x="136426" y="597396"/>
                      </a:lnTo>
                      <a:lnTo>
                        <a:pt x="136778" y="596850"/>
                      </a:lnTo>
                      <a:lnTo>
                        <a:pt x="137300" y="596036"/>
                      </a:lnTo>
                      <a:lnTo>
                        <a:pt x="138005" y="594761"/>
                      </a:lnTo>
                      <a:lnTo>
                        <a:pt x="138150" y="594482"/>
                      </a:lnTo>
                      <a:lnTo>
                        <a:pt x="141647" y="601671"/>
                      </a:lnTo>
                      <a:lnTo>
                        <a:pt x="145254" y="612830"/>
                      </a:lnTo>
                      <a:lnTo>
                        <a:pt x="145424" y="613376"/>
                      </a:lnTo>
                      <a:lnTo>
                        <a:pt x="145691" y="613874"/>
                      </a:lnTo>
                      <a:lnTo>
                        <a:pt x="147816" y="617760"/>
                      </a:lnTo>
                      <a:lnTo>
                        <a:pt x="148326" y="618707"/>
                      </a:lnTo>
                      <a:lnTo>
                        <a:pt x="149128" y="619411"/>
                      </a:lnTo>
                      <a:lnTo>
                        <a:pt x="151471" y="621463"/>
                      </a:lnTo>
                      <a:lnTo>
                        <a:pt x="152188" y="622095"/>
                      </a:lnTo>
                      <a:lnTo>
                        <a:pt x="153062" y="622471"/>
                      </a:lnTo>
                      <a:lnTo>
                        <a:pt x="155138" y="623370"/>
                      </a:lnTo>
                      <a:lnTo>
                        <a:pt x="156802" y="624099"/>
                      </a:lnTo>
                      <a:lnTo>
                        <a:pt x="158599" y="623783"/>
                      </a:lnTo>
                      <a:lnTo>
                        <a:pt x="160262" y="623491"/>
                      </a:lnTo>
                      <a:lnTo>
                        <a:pt x="162157" y="623163"/>
                      </a:lnTo>
                      <a:lnTo>
                        <a:pt x="163517" y="621791"/>
                      </a:lnTo>
                      <a:lnTo>
                        <a:pt x="163687" y="621621"/>
                      </a:lnTo>
                      <a:lnTo>
                        <a:pt x="164464" y="622010"/>
                      </a:lnTo>
                      <a:lnTo>
                        <a:pt x="166091" y="622836"/>
                      </a:lnTo>
                      <a:lnTo>
                        <a:pt x="167900" y="622617"/>
                      </a:lnTo>
                      <a:lnTo>
                        <a:pt x="169455" y="622435"/>
                      </a:lnTo>
                      <a:lnTo>
                        <a:pt x="171385" y="622204"/>
                      </a:lnTo>
                      <a:lnTo>
                        <a:pt x="172830" y="620905"/>
                      </a:lnTo>
                      <a:lnTo>
                        <a:pt x="173972" y="619873"/>
                      </a:lnTo>
                      <a:lnTo>
                        <a:pt x="175502" y="618476"/>
                      </a:lnTo>
                      <a:lnTo>
                        <a:pt x="175866" y="616436"/>
                      </a:lnTo>
                      <a:lnTo>
                        <a:pt x="176158" y="614773"/>
                      </a:lnTo>
                      <a:lnTo>
                        <a:pt x="176303" y="613983"/>
                      </a:lnTo>
                      <a:lnTo>
                        <a:pt x="176279" y="613692"/>
                      </a:lnTo>
                      <a:lnTo>
                        <a:pt x="176364" y="613680"/>
                      </a:lnTo>
                      <a:lnTo>
                        <a:pt x="178028" y="613364"/>
                      </a:lnTo>
                      <a:lnTo>
                        <a:pt x="179036" y="613170"/>
                      </a:lnTo>
                      <a:lnTo>
                        <a:pt x="179048" y="613158"/>
                      </a:lnTo>
                      <a:lnTo>
                        <a:pt x="179703" y="613619"/>
                      </a:lnTo>
                      <a:lnTo>
                        <a:pt x="180857" y="613886"/>
                      </a:lnTo>
                      <a:lnTo>
                        <a:pt x="182059" y="614166"/>
                      </a:lnTo>
                      <a:lnTo>
                        <a:pt x="183953" y="614603"/>
                      </a:lnTo>
                      <a:lnTo>
                        <a:pt x="185738" y="613862"/>
                      </a:lnTo>
                      <a:lnTo>
                        <a:pt x="187062" y="613316"/>
                      </a:lnTo>
                      <a:lnTo>
                        <a:pt x="187888" y="612976"/>
                      </a:lnTo>
                      <a:lnTo>
                        <a:pt x="187924" y="615368"/>
                      </a:lnTo>
                      <a:lnTo>
                        <a:pt x="187742" y="615574"/>
                      </a:lnTo>
                      <a:lnTo>
                        <a:pt x="187390" y="616254"/>
                      </a:lnTo>
                      <a:lnTo>
                        <a:pt x="186127" y="618695"/>
                      </a:lnTo>
                      <a:lnTo>
                        <a:pt x="185010" y="620856"/>
                      </a:lnTo>
                      <a:lnTo>
                        <a:pt x="185690" y="623188"/>
                      </a:lnTo>
                      <a:lnTo>
                        <a:pt x="186151" y="624766"/>
                      </a:lnTo>
                      <a:lnTo>
                        <a:pt x="186601" y="626296"/>
                      </a:lnTo>
                      <a:lnTo>
                        <a:pt x="187742" y="627414"/>
                      </a:lnTo>
                      <a:lnTo>
                        <a:pt x="191895" y="631457"/>
                      </a:lnTo>
                      <a:lnTo>
                        <a:pt x="194190" y="634845"/>
                      </a:lnTo>
                      <a:lnTo>
                        <a:pt x="194493" y="635294"/>
                      </a:lnTo>
                      <a:lnTo>
                        <a:pt x="194870" y="635683"/>
                      </a:lnTo>
                      <a:lnTo>
                        <a:pt x="197396" y="638269"/>
                      </a:lnTo>
                      <a:lnTo>
                        <a:pt x="197724" y="638609"/>
                      </a:lnTo>
                      <a:lnTo>
                        <a:pt x="198112" y="638889"/>
                      </a:lnTo>
                      <a:lnTo>
                        <a:pt x="200856" y="640929"/>
                      </a:lnTo>
                      <a:lnTo>
                        <a:pt x="201293" y="641244"/>
                      </a:lnTo>
                      <a:lnTo>
                        <a:pt x="201779" y="641487"/>
                      </a:lnTo>
                      <a:lnTo>
                        <a:pt x="206673" y="643928"/>
                      </a:lnTo>
                      <a:lnTo>
                        <a:pt x="210158" y="646575"/>
                      </a:lnTo>
                      <a:lnTo>
                        <a:pt x="210656" y="647255"/>
                      </a:lnTo>
                      <a:lnTo>
                        <a:pt x="211652" y="648967"/>
                      </a:lnTo>
                      <a:lnTo>
                        <a:pt x="211967" y="649502"/>
                      </a:lnTo>
                      <a:lnTo>
                        <a:pt x="212380" y="649963"/>
                      </a:lnTo>
                      <a:lnTo>
                        <a:pt x="213764" y="651517"/>
                      </a:lnTo>
                      <a:lnTo>
                        <a:pt x="214116" y="651906"/>
                      </a:lnTo>
                      <a:lnTo>
                        <a:pt x="214517" y="652234"/>
                      </a:lnTo>
                      <a:lnTo>
                        <a:pt x="217772" y="654820"/>
                      </a:lnTo>
                      <a:lnTo>
                        <a:pt x="218488" y="655391"/>
                      </a:lnTo>
                      <a:lnTo>
                        <a:pt x="219338" y="655719"/>
                      </a:lnTo>
                      <a:lnTo>
                        <a:pt x="221706" y="656642"/>
                      </a:lnTo>
                      <a:lnTo>
                        <a:pt x="222495" y="656945"/>
                      </a:lnTo>
                      <a:lnTo>
                        <a:pt x="223345" y="657018"/>
                      </a:lnTo>
                      <a:lnTo>
                        <a:pt x="225640" y="657237"/>
                      </a:lnTo>
                      <a:lnTo>
                        <a:pt x="226381" y="657310"/>
                      </a:lnTo>
                      <a:lnTo>
                        <a:pt x="227121" y="657200"/>
                      </a:lnTo>
                      <a:lnTo>
                        <a:pt x="229125" y="656897"/>
                      </a:lnTo>
                      <a:lnTo>
                        <a:pt x="229829" y="656787"/>
                      </a:lnTo>
                      <a:lnTo>
                        <a:pt x="230485" y="656520"/>
                      </a:lnTo>
                      <a:lnTo>
                        <a:pt x="232671" y="655646"/>
                      </a:lnTo>
                      <a:lnTo>
                        <a:pt x="233740" y="655221"/>
                      </a:lnTo>
                      <a:lnTo>
                        <a:pt x="234577" y="654444"/>
                      </a:lnTo>
                      <a:lnTo>
                        <a:pt x="238475" y="650777"/>
                      </a:lnTo>
                      <a:lnTo>
                        <a:pt x="239495" y="649805"/>
                      </a:lnTo>
                      <a:lnTo>
                        <a:pt x="239993" y="648482"/>
                      </a:lnTo>
                      <a:lnTo>
                        <a:pt x="240515" y="647097"/>
                      </a:lnTo>
                      <a:lnTo>
                        <a:pt x="240661" y="646709"/>
                      </a:lnTo>
                      <a:lnTo>
                        <a:pt x="240758" y="646308"/>
                      </a:lnTo>
                      <a:lnTo>
                        <a:pt x="241025" y="645118"/>
                      </a:lnTo>
                      <a:lnTo>
                        <a:pt x="241171" y="644802"/>
                      </a:lnTo>
                      <a:lnTo>
                        <a:pt x="244595" y="641803"/>
                      </a:lnTo>
                      <a:lnTo>
                        <a:pt x="245336" y="641147"/>
                      </a:lnTo>
                      <a:lnTo>
                        <a:pt x="245421" y="641014"/>
                      </a:lnTo>
                      <a:lnTo>
                        <a:pt x="246235" y="641463"/>
                      </a:lnTo>
                      <a:lnTo>
                        <a:pt x="247631" y="641536"/>
                      </a:lnTo>
                      <a:lnTo>
                        <a:pt x="249161" y="641609"/>
                      </a:lnTo>
                      <a:lnTo>
                        <a:pt x="252561" y="642447"/>
                      </a:lnTo>
                      <a:lnTo>
                        <a:pt x="253253" y="642616"/>
                      </a:lnTo>
                      <a:lnTo>
                        <a:pt x="253970" y="642616"/>
                      </a:lnTo>
                      <a:lnTo>
                        <a:pt x="256325" y="642641"/>
                      </a:lnTo>
                      <a:lnTo>
                        <a:pt x="258863" y="642665"/>
                      </a:lnTo>
                      <a:lnTo>
                        <a:pt x="260660" y="640880"/>
                      </a:lnTo>
                      <a:lnTo>
                        <a:pt x="262032" y="639508"/>
                      </a:lnTo>
                      <a:lnTo>
                        <a:pt x="263053" y="638488"/>
                      </a:lnTo>
                      <a:lnTo>
                        <a:pt x="263514" y="637116"/>
                      </a:lnTo>
                      <a:lnTo>
                        <a:pt x="265226" y="631955"/>
                      </a:lnTo>
                      <a:lnTo>
                        <a:pt x="266732" y="629575"/>
                      </a:lnTo>
                      <a:lnTo>
                        <a:pt x="268565" y="628057"/>
                      </a:lnTo>
                      <a:lnTo>
                        <a:pt x="276118" y="624014"/>
                      </a:lnTo>
                      <a:lnTo>
                        <a:pt x="276434" y="623843"/>
                      </a:lnTo>
                      <a:lnTo>
                        <a:pt x="276713" y="623637"/>
                      </a:lnTo>
                      <a:lnTo>
                        <a:pt x="279142" y="621949"/>
                      </a:lnTo>
                      <a:lnTo>
                        <a:pt x="281655" y="620577"/>
                      </a:lnTo>
                      <a:lnTo>
                        <a:pt x="282105" y="620334"/>
                      </a:lnTo>
                      <a:lnTo>
                        <a:pt x="282505" y="620019"/>
                      </a:lnTo>
                      <a:lnTo>
                        <a:pt x="282676" y="619873"/>
                      </a:lnTo>
                      <a:lnTo>
                        <a:pt x="283695" y="625191"/>
                      </a:lnTo>
                      <a:lnTo>
                        <a:pt x="284242" y="628057"/>
                      </a:lnTo>
                      <a:lnTo>
                        <a:pt x="286829" y="629417"/>
                      </a:lnTo>
                      <a:lnTo>
                        <a:pt x="288504" y="630304"/>
                      </a:lnTo>
                      <a:lnTo>
                        <a:pt x="290350" y="631287"/>
                      </a:lnTo>
                      <a:lnTo>
                        <a:pt x="292426" y="630911"/>
                      </a:lnTo>
                      <a:lnTo>
                        <a:pt x="292584" y="630886"/>
                      </a:lnTo>
                      <a:lnTo>
                        <a:pt x="293798" y="638063"/>
                      </a:lnTo>
                      <a:lnTo>
                        <a:pt x="293993" y="639156"/>
                      </a:lnTo>
                      <a:lnTo>
                        <a:pt x="294564" y="640115"/>
                      </a:lnTo>
                      <a:lnTo>
                        <a:pt x="295814" y="642228"/>
                      </a:lnTo>
                      <a:lnTo>
                        <a:pt x="296518" y="643406"/>
                      </a:lnTo>
                      <a:lnTo>
                        <a:pt x="297648" y="644171"/>
                      </a:lnTo>
                      <a:lnTo>
                        <a:pt x="300125" y="645847"/>
                      </a:lnTo>
                      <a:lnTo>
                        <a:pt x="301388" y="646697"/>
                      </a:lnTo>
                      <a:lnTo>
                        <a:pt x="302894" y="646854"/>
                      </a:lnTo>
                      <a:lnTo>
                        <a:pt x="312778" y="647911"/>
                      </a:lnTo>
                      <a:lnTo>
                        <a:pt x="313774" y="648020"/>
                      </a:lnTo>
                      <a:lnTo>
                        <a:pt x="314745" y="647802"/>
                      </a:lnTo>
                      <a:lnTo>
                        <a:pt x="318521" y="646951"/>
                      </a:lnTo>
                      <a:lnTo>
                        <a:pt x="319286" y="646782"/>
                      </a:lnTo>
                      <a:lnTo>
                        <a:pt x="319991" y="646417"/>
                      </a:lnTo>
                      <a:lnTo>
                        <a:pt x="323221" y="644742"/>
                      </a:lnTo>
                      <a:lnTo>
                        <a:pt x="323549" y="644571"/>
                      </a:lnTo>
                      <a:lnTo>
                        <a:pt x="323852" y="644353"/>
                      </a:lnTo>
                      <a:lnTo>
                        <a:pt x="326269" y="642689"/>
                      </a:lnTo>
                      <a:lnTo>
                        <a:pt x="330033" y="641378"/>
                      </a:lnTo>
                      <a:lnTo>
                        <a:pt x="330033" y="641499"/>
                      </a:lnTo>
                      <a:lnTo>
                        <a:pt x="329875" y="644062"/>
                      </a:lnTo>
                      <a:lnTo>
                        <a:pt x="331612" y="645956"/>
                      </a:lnTo>
                      <a:lnTo>
                        <a:pt x="332826" y="647279"/>
                      </a:lnTo>
                      <a:lnTo>
                        <a:pt x="335364" y="650060"/>
                      </a:lnTo>
                      <a:lnTo>
                        <a:pt x="338982" y="649028"/>
                      </a:lnTo>
                      <a:lnTo>
                        <a:pt x="340597" y="648567"/>
                      </a:lnTo>
                      <a:lnTo>
                        <a:pt x="342030" y="648154"/>
                      </a:lnTo>
                      <a:lnTo>
                        <a:pt x="343111" y="647122"/>
                      </a:lnTo>
                      <a:lnTo>
                        <a:pt x="349935" y="640625"/>
                      </a:lnTo>
                      <a:lnTo>
                        <a:pt x="352254" y="638925"/>
                      </a:lnTo>
                      <a:lnTo>
                        <a:pt x="352619" y="638658"/>
                      </a:lnTo>
                      <a:lnTo>
                        <a:pt x="352934" y="638342"/>
                      </a:lnTo>
                      <a:lnTo>
                        <a:pt x="354477" y="636824"/>
                      </a:lnTo>
                      <a:lnTo>
                        <a:pt x="355582" y="635731"/>
                      </a:lnTo>
                      <a:lnTo>
                        <a:pt x="356031" y="634250"/>
                      </a:lnTo>
                      <a:lnTo>
                        <a:pt x="356480" y="632756"/>
                      </a:lnTo>
                      <a:lnTo>
                        <a:pt x="356930" y="631263"/>
                      </a:lnTo>
                      <a:lnTo>
                        <a:pt x="356748" y="630437"/>
                      </a:lnTo>
                      <a:lnTo>
                        <a:pt x="371647" y="625021"/>
                      </a:lnTo>
                      <a:lnTo>
                        <a:pt x="372036" y="624876"/>
                      </a:lnTo>
                      <a:lnTo>
                        <a:pt x="372400" y="624681"/>
                      </a:lnTo>
                      <a:lnTo>
                        <a:pt x="374355" y="623649"/>
                      </a:lnTo>
                      <a:lnTo>
                        <a:pt x="375618" y="622981"/>
                      </a:lnTo>
                      <a:lnTo>
                        <a:pt x="376455" y="621803"/>
                      </a:lnTo>
                      <a:lnTo>
                        <a:pt x="377354" y="620541"/>
                      </a:lnTo>
                      <a:lnTo>
                        <a:pt x="378167" y="619399"/>
                      </a:lnTo>
                      <a:lnTo>
                        <a:pt x="378167" y="619339"/>
                      </a:lnTo>
                      <a:lnTo>
                        <a:pt x="391549" y="617808"/>
                      </a:lnTo>
                      <a:lnTo>
                        <a:pt x="392885" y="617663"/>
                      </a:lnTo>
                      <a:lnTo>
                        <a:pt x="394038" y="616946"/>
                      </a:lnTo>
                      <a:lnTo>
                        <a:pt x="395471" y="616072"/>
                      </a:lnTo>
                      <a:lnTo>
                        <a:pt x="402393" y="616728"/>
                      </a:lnTo>
                      <a:lnTo>
                        <a:pt x="402818" y="616764"/>
                      </a:lnTo>
                      <a:lnTo>
                        <a:pt x="403243" y="616752"/>
                      </a:lnTo>
                      <a:lnTo>
                        <a:pt x="407663" y="616546"/>
                      </a:lnTo>
                      <a:lnTo>
                        <a:pt x="408015" y="616534"/>
                      </a:lnTo>
                      <a:lnTo>
                        <a:pt x="408355" y="616473"/>
                      </a:lnTo>
                      <a:lnTo>
                        <a:pt x="411269" y="615999"/>
                      </a:lnTo>
                      <a:lnTo>
                        <a:pt x="411779" y="616048"/>
                      </a:lnTo>
                      <a:lnTo>
                        <a:pt x="412605" y="616473"/>
                      </a:lnTo>
                      <a:lnTo>
                        <a:pt x="412994" y="616679"/>
                      </a:lnTo>
                      <a:lnTo>
                        <a:pt x="413419" y="616825"/>
                      </a:lnTo>
                      <a:lnTo>
                        <a:pt x="415616" y="617578"/>
                      </a:lnTo>
                      <a:lnTo>
                        <a:pt x="417304" y="618148"/>
                      </a:lnTo>
                      <a:lnTo>
                        <a:pt x="419041" y="617723"/>
                      </a:lnTo>
                      <a:lnTo>
                        <a:pt x="420765" y="617298"/>
                      </a:lnTo>
                      <a:lnTo>
                        <a:pt x="422295" y="616922"/>
                      </a:lnTo>
                      <a:lnTo>
                        <a:pt x="423448" y="615854"/>
                      </a:lnTo>
                      <a:lnTo>
                        <a:pt x="429132" y="610596"/>
                      </a:lnTo>
                      <a:lnTo>
                        <a:pt x="429763" y="610013"/>
                      </a:lnTo>
                      <a:lnTo>
                        <a:pt x="430212" y="609272"/>
                      </a:lnTo>
                      <a:lnTo>
                        <a:pt x="430358" y="609029"/>
                      </a:lnTo>
                      <a:lnTo>
                        <a:pt x="431451" y="608082"/>
                      </a:lnTo>
                      <a:lnTo>
                        <a:pt x="431755" y="607815"/>
                      </a:lnTo>
                      <a:lnTo>
                        <a:pt x="432021" y="607511"/>
                      </a:lnTo>
                      <a:lnTo>
                        <a:pt x="432435" y="607038"/>
                      </a:lnTo>
                      <a:lnTo>
                        <a:pt x="435604" y="607718"/>
                      </a:lnTo>
                      <a:lnTo>
                        <a:pt x="436235" y="607851"/>
                      </a:lnTo>
                      <a:lnTo>
                        <a:pt x="436879" y="607851"/>
                      </a:lnTo>
                      <a:lnTo>
                        <a:pt x="441359" y="607827"/>
                      </a:lnTo>
                      <a:lnTo>
                        <a:pt x="443084" y="607815"/>
                      </a:lnTo>
                      <a:lnTo>
                        <a:pt x="444541" y="606904"/>
                      </a:lnTo>
                      <a:lnTo>
                        <a:pt x="447006" y="605374"/>
                      </a:lnTo>
                      <a:lnTo>
                        <a:pt x="448536" y="604415"/>
                      </a:lnTo>
                      <a:lnTo>
                        <a:pt x="449301" y="602763"/>
                      </a:lnTo>
                      <a:lnTo>
                        <a:pt x="450333" y="600529"/>
                      </a:lnTo>
                      <a:lnTo>
                        <a:pt x="450892" y="599315"/>
                      </a:lnTo>
                      <a:lnTo>
                        <a:pt x="450892" y="597979"/>
                      </a:lnTo>
                      <a:lnTo>
                        <a:pt x="450892" y="590657"/>
                      </a:lnTo>
                      <a:lnTo>
                        <a:pt x="450892" y="590220"/>
                      </a:lnTo>
                      <a:lnTo>
                        <a:pt x="450831" y="589783"/>
                      </a:lnTo>
                      <a:lnTo>
                        <a:pt x="450503" y="587488"/>
                      </a:lnTo>
                      <a:lnTo>
                        <a:pt x="450430" y="587002"/>
                      </a:lnTo>
                      <a:lnTo>
                        <a:pt x="450272" y="586528"/>
                      </a:lnTo>
                      <a:lnTo>
                        <a:pt x="450078" y="585933"/>
                      </a:lnTo>
                      <a:lnTo>
                        <a:pt x="451984" y="585399"/>
                      </a:lnTo>
                      <a:lnTo>
                        <a:pt x="453235" y="583687"/>
                      </a:lnTo>
                      <a:lnTo>
                        <a:pt x="454717" y="581647"/>
                      </a:lnTo>
                      <a:lnTo>
                        <a:pt x="455263" y="580906"/>
                      </a:lnTo>
                      <a:lnTo>
                        <a:pt x="455555" y="580044"/>
                      </a:lnTo>
                      <a:lnTo>
                        <a:pt x="456465" y="577372"/>
                      </a:lnTo>
                      <a:lnTo>
                        <a:pt x="456696" y="576705"/>
                      </a:lnTo>
                      <a:lnTo>
                        <a:pt x="456769" y="576000"/>
                      </a:lnTo>
                      <a:lnTo>
                        <a:pt x="457291" y="570694"/>
                      </a:lnTo>
                      <a:lnTo>
                        <a:pt x="457740" y="569152"/>
                      </a:lnTo>
                      <a:lnTo>
                        <a:pt x="458724" y="567136"/>
                      </a:lnTo>
                      <a:lnTo>
                        <a:pt x="460144" y="564938"/>
                      </a:lnTo>
                      <a:lnTo>
                        <a:pt x="461031" y="564040"/>
                      </a:lnTo>
                      <a:lnTo>
                        <a:pt x="461371" y="563942"/>
                      </a:lnTo>
                      <a:lnTo>
                        <a:pt x="475348" y="563797"/>
                      </a:lnTo>
                      <a:lnTo>
                        <a:pt x="476756" y="564331"/>
                      </a:lnTo>
                      <a:lnTo>
                        <a:pt x="478662" y="565873"/>
                      </a:lnTo>
                      <a:lnTo>
                        <a:pt x="486822" y="575976"/>
                      </a:lnTo>
                      <a:lnTo>
                        <a:pt x="488899" y="578550"/>
                      </a:lnTo>
                      <a:lnTo>
                        <a:pt x="492190" y="578198"/>
                      </a:lnTo>
                      <a:lnTo>
                        <a:pt x="501151" y="577251"/>
                      </a:lnTo>
                      <a:lnTo>
                        <a:pt x="502596" y="577105"/>
                      </a:lnTo>
                      <a:lnTo>
                        <a:pt x="503823" y="576316"/>
                      </a:lnTo>
                      <a:lnTo>
                        <a:pt x="509141" y="572867"/>
                      </a:lnTo>
                      <a:lnTo>
                        <a:pt x="510222" y="573875"/>
                      </a:lnTo>
                      <a:lnTo>
                        <a:pt x="511084" y="574677"/>
                      </a:lnTo>
                      <a:lnTo>
                        <a:pt x="512517" y="576000"/>
                      </a:lnTo>
                      <a:lnTo>
                        <a:pt x="514460" y="576243"/>
                      </a:lnTo>
                      <a:lnTo>
                        <a:pt x="516524" y="576498"/>
                      </a:lnTo>
                      <a:lnTo>
                        <a:pt x="516840" y="576535"/>
                      </a:lnTo>
                      <a:lnTo>
                        <a:pt x="517168" y="576535"/>
                      </a:lnTo>
                      <a:lnTo>
                        <a:pt x="519147" y="576559"/>
                      </a:lnTo>
                      <a:lnTo>
                        <a:pt x="520592" y="577081"/>
                      </a:lnTo>
                      <a:lnTo>
                        <a:pt x="521733" y="577870"/>
                      </a:lnTo>
                      <a:lnTo>
                        <a:pt x="522462" y="579291"/>
                      </a:lnTo>
                      <a:lnTo>
                        <a:pt x="524162" y="593098"/>
                      </a:lnTo>
                      <a:lnTo>
                        <a:pt x="524284" y="594081"/>
                      </a:lnTo>
                      <a:lnTo>
                        <a:pt x="524709" y="594968"/>
                      </a:lnTo>
                      <a:lnTo>
                        <a:pt x="526251" y="598210"/>
                      </a:lnTo>
                      <a:lnTo>
                        <a:pt x="526639" y="599048"/>
                      </a:lnTo>
                      <a:lnTo>
                        <a:pt x="527283" y="599728"/>
                      </a:lnTo>
                      <a:lnTo>
                        <a:pt x="529372" y="601974"/>
                      </a:lnTo>
                      <a:lnTo>
                        <a:pt x="529687" y="602314"/>
                      </a:lnTo>
                      <a:lnTo>
                        <a:pt x="530052" y="602606"/>
                      </a:lnTo>
                      <a:lnTo>
                        <a:pt x="533439" y="605277"/>
                      </a:lnTo>
                      <a:lnTo>
                        <a:pt x="534581" y="606176"/>
                      </a:lnTo>
                      <a:lnTo>
                        <a:pt x="535989" y="606467"/>
                      </a:lnTo>
                      <a:lnTo>
                        <a:pt x="539669" y="607208"/>
                      </a:lnTo>
                      <a:lnTo>
                        <a:pt x="540410" y="607354"/>
                      </a:lnTo>
                      <a:lnTo>
                        <a:pt x="541162" y="607317"/>
                      </a:lnTo>
                      <a:lnTo>
                        <a:pt x="544332" y="607171"/>
                      </a:lnTo>
                      <a:lnTo>
                        <a:pt x="545850" y="607098"/>
                      </a:lnTo>
                      <a:lnTo>
                        <a:pt x="547149" y="606321"/>
                      </a:lnTo>
                      <a:lnTo>
                        <a:pt x="549990" y="604621"/>
                      </a:lnTo>
                      <a:lnTo>
                        <a:pt x="555175" y="606625"/>
                      </a:lnTo>
                      <a:lnTo>
                        <a:pt x="555964" y="606928"/>
                      </a:lnTo>
                      <a:lnTo>
                        <a:pt x="556814" y="607001"/>
                      </a:lnTo>
                      <a:lnTo>
                        <a:pt x="558599" y="607159"/>
                      </a:lnTo>
                      <a:lnTo>
                        <a:pt x="559146" y="611628"/>
                      </a:lnTo>
                      <a:lnTo>
                        <a:pt x="559134" y="611701"/>
                      </a:lnTo>
                      <a:lnTo>
                        <a:pt x="559037" y="611919"/>
                      </a:lnTo>
                      <a:lnTo>
                        <a:pt x="554738" y="616679"/>
                      </a:lnTo>
                      <a:lnTo>
                        <a:pt x="553548" y="617991"/>
                      </a:lnTo>
                      <a:lnTo>
                        <a:pt x="553257" y="619739"/>
                      </a:lnTo>
                      <a:lnTo>
                        <a:pt x="552977" y="621439"/>
                      </a:lnTo>
                      <a:lnTo>
                        <a:pt x="552674" y="623285"/>
                      </a:lnTo>
                      <a:lnTo>
                        <a:pt x="553451" y="624985"/>
                      </a:lnTo>
                      <a:lnTo>
                        <a:pt x="554471" y="627195"/>
                      </a:lnTo>
                      <a:lnTo>
                        <a:pt x="555321" y="629053"/>
                      </a:lnTo>
                      <a:lnTo>
                        <a:pt x="557118" y="630012"/>
                      </a:lnTo>
                      <a:lnTo>
                        <a:pt x="571471" y="637650"/>
                      </a:lnTo>
                      <a:lnTo>
                        <a:pt x="582582" y="646004"/>
                      </a:lnTo>
                      <a:lnTo>
                        <a:pt x="582934" y="646271"/>
                      </a:lnTo>
                      <a:lnTo>
                        <a:pt x="583310" y="646478"/>
                      </a:lnTo>
                      <a:lnTo>
                        <a:pt x="587500" y="648773"/>
                      </a:lnTo>
                      <a:lnTo>
                        <a:pt x="589625" y="649939"/>
                      </a:lnTo>
                      <a:lnTo>
                        <a:pt x="591968" y="649319"/>
                      </a:lnTo>
                      <a:lnTo>
                        <a:pt x="594033" y="648773"/>
                      </a:lnTo>
                      <a:lnTo>
                        <a:pt x="596133" y="648214"/>
                      </a:lnTo>
                      <a:lnTo>
                        <a:pt x="597396" y="646442"/>
                      </a:lnTo>
                      <a:lnTo>
                        <a:pt x="598720" y="644596"/>
                      </a:lnTo>
                      <a:lnTo>
                        <a:pt x="599072" y="644110"/>
                      </a:lnTo>
                      <a:lnTo>
                        <a:pt x="599327" y="643564"/>
                      </a:lnTo>
                      <a:lnTo>
                        <a:pt x="600298" y="641414"/>
                      </a:lnTo>
                      <a:lnTo>
                        <a:pt x="600651" y="640625"/>
                      </a:lnTo>
                      <a:lnTo>
                        <a:pt x="600784" y="639763"/>
                      </a:lnTo>
                      <a:lnTo>
                        <a:pt x="601076" y="637699"/>
                      </a:lnTo>
                      <a:lnTo>
                        <a:pt x="601221" y="636654"/>
                      </a:lnTo>
                      <a:lnTo>
                        <a:pt x="601027" y="635707"/>
                      </a:lnTo>
                      <a:lnTo>
                        <a:pt x="602812" y="634444"/>
                      </a:lnTo>
                      <a:lnTo>
                        <a:pt x="605459" y="632574"/>
                      </a:lnTo>
                      <a:lnTo>
                        <a:pt x="605374" y="629332"/>
                      </a:lnTo>
                      <a:lnTo>
                        <a:pt x="605216" y="623248"/>
                      </a:lnTo>
                      <a:lnTo>
                        <a:pt x="606430" y="618428"/>
                      </a:lnTo>
                      <a:lnTo>
                        <a:pt x="606904" y="617833"/>
                      </a:lnTo>
                      <a:lnTo>
                        <a:pt x="612526" y="613291"/>
                      </a:lnTo>
                      <a:lnTo>
                        <a:pt x="612769" y="613097"/>
                      </a:lnTo>
                      <a:lnTo>
                        <a:pt x="613000" y="612878"/>
                      </a:lnTo>
                      <a:lnTo>
                        <a:pt x="620456" y="605508"/>
                      </a:lnTo>
                      <a:lnTo>
                        <a:pt x="620820" y="605508"/>
                      </a:lnTo>
                      <a:lnTo>
                        <a:pt x="623734" y="606710"/>
                      </a:lnTo>
                      <a:lnTo>
                        <a:pt x="627049" y="608507"/>
                      </a:lnTo>
                      <a:lnTo>
                        <a:pt x="628324" y="609187"/>
                      </a:lnTo>
                      <a:lnTo>
                        <a:pt x="629769" y="609211"/>
                      </a:lnTo>
                      <a:lnTo>
                        <a:pt x="633060" y="609272"/>
                      </a:lnTo>
                      <a:lnTo>
                        <a:pt x="633861" y="609284"/>
                      </a:lnTo>
                      <a:lnTo>
                        <a:pt x="634638" y="609090"/>
                      </a:lnTo>
                      <a:lnTo>
                        <a:pt x="638209" y="608203"/>
                      </a:lnTo>
                      <a:lnTo>
                        <a:pt x="639836" y="608203"/>
                      </a:lnTo>
                      <a:lnTo>
                        <a:pt x="641293" y="608203"/>
                      </a:lnTo>
                      <a:lnTo>
                        <a:pt x="642592" y="607536"/>
                      </a:lnTo>
                      <a:lnTo>
                        <a:pt x="647401" y="605071"/>
                      </a:lnTo>
                      <a:lnTo>
                        <a:pt x="649307" y="604087"/>
                      </a:lnTo>
                      <a:lnTo>
                        <a:pt x="650181" y="602120"/>
                      </a:lnTo>
                      <a:lnTo>
                        <a:pt x="650704" y="600930"/>
                      </a:lnTo>
                      <a:lnTo>
                        <a:pt x="651299" y="601258"/>
                      </a:lnTo>
                      <a:lnTo>
                        <a:pt x="656860" y="605617"/>
                      </a:lnTo>
                      <a:lnTo>
                        <a:pt x="657734" y="606309"/>
                      </a:lnTo>
                      <a:lnTo>
                        <a:pt x="658803" y="606637"/>
                      </a:lnTo>
                      <a:lnTo>
                        <a:pt x="673217" y="611130"/>
                      </a:lnTo>
                      <a:lnTo>
                        <a:pt x="678730" y="612854"/>
                      </a:lnTo>
                      <a:lnTo>
                        <a:pt x="680721" y="607426"/>
                      </a:lnTo>
                      <a:lnTo>
                        <a:pt x="681109" y="606358"/>
                      </a:lnTo>
                      <a:lnTo>
                        <a:pt x="681583" y="605058"/>
                      </a:lnTo>
                      <a:lnTo>
                        <a:pt x="681437" y="603674"/>
                      </a:lnTo>
                      <a:lnTo>
                        <a:pt x="681170" y="600881"/>
                      </a:lnTo>
                      <a:lnTo>
                        <a:pt x="681826" y="599971"/>
                      </a:lnTo>
                      <a:lnTo>
                        <a:pt x="684595" y="596000"/>
                      </a:lnTo>
                      <a:lnTo>
                        <a:pt x="686550" y="596498"/>
                      </a:lnTo>
                      <a:lnTo>
                        <a:pt x="695900" y="600140"/>
                      </a:lnTo>
                      <a:lnTo>
                        <a:pt x="696592" y="600408"/>
                      </a:lnTo>
                      <a:lnTo>
                        <a:pt x="697321" y="600505"/>
                      </a:lnTo>
                      <a:lnTo>
                        <a:pt x="700477" y="600918"/>
                      </a:lnTo>
                      <a:lnTo>
                        <a:pt x="701983" y="601124"/>
                      </a:lnTo>
                      <a:lnTo>
                        <a:pt x="703404" y="600590"/>
                      </a:lnTo>
                      <a:lnTo>
                        <a:pt x="705699" y="599728"/>
                      </a:lnTo>
                      <a:lnTo>
                        <a:pt x="707156" y="599193"/>
                      </a:lnTo>
                      <a:lnTo>
                        <a:pt x="708164" y="598015"/>
                      </a:lnTo>
                      <a:lnTo>
                        <a:pt x="709658" y="596291"/>
                      </a:lnTo>
                      <a:lnTo>
                        <a:pt x="710957" y="594786"/>
                      </a:lnTo>
                      <a:lnTo>
                        <a:pt x="711115" y="592794"/>
                      </a:lnTo>
                      <a:lnTo>
                        <a:pt x="711406" y="589115"/>
                      </a:lnTo>
                      <a:lnTo>
                        <a:pt x="711977" y="586832"/>
                      </a:lnTo>
                      <a:lnTo>
                        <a:pt x="714394" y="580214"/>
                      </a:lnTo>
                      <a:lnTo>
                        <a:pt x="714843" y="578975"/>
                      </a:lnTo>
                      <a:lnTo>
                        <a:pt x="714721" y="577664"/>
                      </a:lnTo>
                      <a:lnTo>
                        <a:pt x="714284" y="572345"/>
                      </a:lnTo>
                      <a:lnTo>
                        <a:pt x="716130" y="564124"/>
                      </a:lnTo>
                      <a:lnTo>
                        <a:pt x="716348" y="563177"/>
                      </a:lnTo>
                      <a:lnTo>
                        <a:pt x="716263" y="562218"/>
                      </a:lnTo>
                      <a:lnTo>
                        <a:pt x="715984" y="559207"/>
                      </a:lnTo>
                      <a:lnTo>
                        <a:pt x="715887" y="558175"/>
                      </a:lnTo>
                      <a:lnTo>
                        <a:pt x="715474" y="557276"/>
                      </a:lnTo>
                      <a:lnTo>
                        <a:pt x="716397" y="556171"/>
                      </a:lnTo>
                      <a:lnTo>
                        <a:pt x="716761" y="555722"/>
                      </a:lnTo>
                      <a:lnTo>
                        <a:pt x="717041" y="555212"/>
                      </a:lnTo>
                      <a:lnTo>
                        <a:pt x="720040" y="549699"/>
                      </a:lnTo>
                      <a:lnTo>
                        <a:pt x="721521" y="547671"/>
                      </a:lnTo>
                      <a:lnTo>
                        <a:pt x="721728" y="547404"/>
                      </a:lnTo>
                      <a:lnTo>
                        <a:pt x="721898" y="547112"/>
                      </a:lnTo>
                      <a:lnTo>
                        <a:pt x="723282" y="544720"/>
                      </a:lnTo>
                      <a:lnTo>
                        <a:pt x="723804" y="543809"/>
                      </a:lnTo>
                      <a:lnTo>
                        <a:pt x="723998" y="542789"/>
                      </a:lnTo>
                      <a:lnTo>
                        <a:pt x="724460" y="540300"/>
                      </a:lnTo>
                      <a:lnTo>
                        <a:pt x="724594" y="539632"/>
                      </a:lnTo>
                      <a:lnTo>
                        <a:pt x="724569" y="538952"/>
                      </a:lnTo>
                      <a:lnTo>
                        <a:pt x="723792" y="518394"/>
                      </a:lnTo>
                      <a:lnTo>
                        <a:pt x="724229" y="516597"/>
                      </a:lnTo>
                      <a:lnTo>
                        <a:pt x="725043" y="514606"/>
                      </a:lnTo>
                      <a:lnTo>
                        <a:pt x="728613" y="509591"/>
                      </a:lnTo>
                      <a:lnTo>
                        <a:pt x="732341" y="505802"/>
                      </a:lnTo>
                      <a:lnTo>
                        <a:pt x="733373" y="505025"/>
                      </a:lnTo>
                      <a:lnTo>
                        <a:pt x="737173" y="503641"/>
                      </a:lnTo>
                      <a:lnTo>
                        <a:pt x="737586" y="503665"/>
                      </a:lnTo>
                      <a:lnTo>
                        <a:pt x="741108" y="505061"/>
                      </a:lnTo>
                      <a:lnTo>
                        <a:pt x="742650" y="505668"/>
                      </a:lnTo>
                      <a:lnTo>
                        <a:pt x="744301" y="505413"/>
                      </a:lnTo>
                      <a:lnTo>
                        <a:pt x="745613" y="505207"/>
                      </a:lnTo>
                      <a:lnTo>
                        <a:pt x="748576" y="504733"/>
                      </a:lnTo>
                      <a:lnTo>
                        <a:pt x="750009" y="502086"/>
                      </a:lnTo>
                      <a:lnTo>
                        <a:pt x="750883" y="500459"/>
                      </a:lnTo>
                      <a:lnTo>
                        <a:pt x="751259" y="499743"/>
                      </a:lnTo>
                      <a:lnTo>
                        <a:pt x="751453" y="498953"/>
                      </a:lnTo>
                      <a:lnTo>
                        <a:pt x="754198" y="487235"/>
                      </a:lnTo>
                      <a:lnTo>
                        <a:pt x="754271" y="486908"/>
                      </a:lnTo>
                      <a:lnTo>
                        <a:pt x="754307" y="486580"/>
                      </a:lnTo>
                      <a:lnTo>
                        <a:pt x="754684" y="483447"/>
                      </a:lnTo>
                      <a:lnTo>
                        <a:pt x="755643" y="480642"/>
                      </a:lnTo>
                      <a:lnTo>
                        <a:pt x="755789" y="480605"/>
                      </a:lnTo>
                      <a:lnTo>
                        <a:pt x="759274" y="480435"/>
                      </a:lnTo>
                      <a:lnTo>
                        <a:pt x="760294" y="480387"/>
                      </a:lnTo>
                      <a:lnTo>
                        <a:pt x="761241" y="480010"/>
                      </a:lnTo>
                      <a:lnTo>
                        <a:pt x="762079" y="479670"/>
                      </a:lnTo>
                      <a:lnTo>
                        <a:pt x="762601" y="479464"/>
                      </a:lnTo>
                      <a:lnTo>
                        <a:pt x="763026" y="479197"/>
                      </a:lnTo>
                      <a:lnTo>
                        <a:pt x="763317" y="479367"/>
                      </a:lnTo>
                      <a:lnTo>
                        <a:pt x="763633" y="479549"/>
                      </a:lnTo>
                      <a:lnTo>
                        <a:pt x="763973" y="479683"/>
                      </a:lnTo>
                      <a:lnTo>
                        <a:pt x="766960" y="480885"/>
                      </a:lnTo>
                      <a:lnTo>
                        <a:pt x="767434" y="481079"/>
                      </a:lnTo>
                      <a:lnTo>
                        <a:pt x="767944" y="481188"/>
                      </a:lnTo>
                      <a:lnTo>
                        <a:pt x="770640" y="481771"/>
                      </a:lnTo>
                      <a:lnTo>
                        <a:pt x="772655" y="482208"/>
                      </a:lnTo>
                      <a:lnTo>
                        <a:pt x="774525" y="481322"/>
                      </a:lnTo>
                      <a:lnTo>
                        <a:pt x="777694" y="479816"/>
                      </a:lnTo>
                      <a:lnTo>
                        <a:pt x="779722" y="478845"/>
                      </a:lnTo>
                      <a:lnTo>
                        <a:pt x="780633" y="476792"/>
                      </a:lnTo>
                      <a:lnTo>
                        <a:pt x="781847" y="474072"/>
                      </a:lnTo>
                      <a:lnTo>
                        <a:pt x="782102" y="473502"/>
                      </a:lnTo>
                      <a:lnTo>
                        <a:pt x="782236" y="472883"/>
                      </a:lnTo>
                      <a:lnTo>
                        <a:pt x="783013" y="469228"/>
                      </a:lnTo>
                      <a:lnTo>
                        <a:pt x="784009" y="468645"/>
                      </a:lnTo>
                      <a:lnTo>
                        <a:pt x="786680" y="467078"/>
                      </a:lnTo>
                      <a:lnTo>
                        <a:pt x="786984" y="464006"/>
                      </a:lnTo>
                      <a:lnTo>
                        <a:pt x="787105" y="462804"/>
                      </a:lnTo>
                      <a:lnTo>
                        <a:pt x="787518" y="461213"/>
                      </a:lnTo>
                      <a:lnTo>
                        <a:pt x="788684" y="459161"/>
                      </a:lnTo>
                      <a:lnTo>
                        <a:pt x="794136" y="454474"/>
                      </a:lnTo>
                      <a:lnTo>
                        <a:pt x="794136" y="454474"/>
                      </a:lnTo>
                      <a:lnTo>
                        <a:pt x="795982" y="454753"/>
                      </a:lnTo>
                      <a:lnTo>
                        <a:pt x="797038" y="454911"/>
                      </a:lnTo>
                      <a:lnTo>
                        <a:pt x="797269" y="455020"/>
                      </a:lnTo>
                      <a:lnTo>
                        <a:pt x="798338" y="455773"/>
                      </a:lnTo>
                      <a:lnTo>
                        <a:pt x="799564" y="457352"/>
                      </a:lnTo>
                      <a:lnTo>
                        <a:pt x="800620" y="459428"/>
                      </a:lnTo>
                      <a:lnTo>
                        <a:pt x="801009" y="460217"/>
                      </a:lnTo>
                      <a:lnTo>
                        <a:pt x="801616" y="460861"/>
                      </a:lnTo>
                      <a:lnTo>
                        <a:pt x="803498" y="462865"/>
                      </a:lnTo>
                      <a:lnTo>
                        <a:pt x="804810" y="464261"/>
                      </a:lnTo>
                      <a:lnTo>
                        <a:pt x="806692" y="464650"/>
                      </a:lnTo>
                      <a:lnTo>
                        <a:pt x="817426" y="466847"/>
                      </a:lnTo>
                      <a:lnTo>
                        <a:pt x="820863" y="468450"/>
                      </a:lnTo>
                      <a:lnTo>
                        <a:pt x="822514" y="469228"/>
                      </a:lnTo>
                      <a:lnTo>
                        <a:pt x="824323" y="468960"/>
                      </a:lnTo>
                      <a:lnTo>
                        <a:pt x="831767" y="467855"/>
                      </a:lnTo>
                      <a:lnTo>
                        <a:pt x="834390" y="468280"/>
                      </a:lnTo>
                      <a:lnTo>
                        <a:pt x="835143" y="468632"/>
                      </a:lnTo>
                      <a:lnTo>
                        <a:pt x="835969" y="469203"/>
                      </a:lnTo>
                      <a:lnTo>
                        <a:pt x="836297" y="469604"/>
                      </a:lnTo>
                      <a:lnTo>
                        <a:pt x="836855" y="471207"/>
                      </a:lnTo>
                      <a:lnTo>
                        <a:pt x="840097" y="480569"/>
                      </a:lnTo>
                      <a:lnTo>
                        <a:pt x="846970" y="473429"/>
                      </a:lnTo>
                      <a:lnTo>
                        <a:pt x="853224" y="466932"/>
                      </a:lnTo>
                      <a:lnTo>
                        <a:pt x="853636" y="466495"/>
                      </a:lnTo>
                      <a:lnTo>
                        <a:pt x="853964" y="465985"/>
                      </a:lnTo>
                      <a:lnTo>
                        <a:pt x="857935" y="459756"/>
                      </a:lnTo>
                      <a:lnTo>
                        <a:pt x="858749" y="458469"/>
                      </a:lnTo>
                      <a:lnTo>
                        <a:pt x="858870" y="456939"/>
                      </a:lnTo>
                      <a:lnTo>
                        <a:pt x="859028" y="454838"/>
                      </a:lnTo>
                      <a:lnTo>
                        <a:pt x="859173" y="452786"/>
                      </a:lnTo>
                      <a:lnTo>
                        <a:pt x="858044" y="451062"/>
                      </a:lnTo>
                      <a:lnTo>
                        <a:pt x="856611" y="448876"/>
                      </a:lnTo>
                      <a:lnTo>
                        <a:pt x="855482" y="445755"/>
                      </a:lnTo>
                      <a:lnTo>
                        <a:pt x="854717" y="442452"/>
                      </a:lnTo>
                      <a:lnTo>
                        <a:pt x="854559" y="441821"/>
                      </a:lnTo>
                      <a:lnTo>
                        <a:pt x="854292" y="441238"/>
                      </a:lnTo>
                      <a:lnTo>
                        <a:pt x="853709" y="440012"/>
                      </a:lnTo>
                      <a:lnTo>
                        <a:pt x="853381" y="439307"/>
                      </a:lnTo>
                      <a:lnTo>
                        <a:pt x="852884" y="438712"/>
                      </a:lnTo>
                      <a:lnTo>
                        <a:pt x="851815" y="437449"/>
                      </a:lnTo>
                      <a:lnTo>
                        <a:pt x="850516" y="435507"/>
                      </a:lnTo>
                      <a:lnTo>
                        <a:pt x="850152" y="434948"/>
                      </a:lnTo>
                      <a:lnTo>
                        <a:pt x="849653" y="434487"/>
                      </a:lnTo>
                      <a:lnTo>
                        <a:pt x="849192" y="434049"/>
                      </a:lnTo>
                      <a:lnTo>
                        <a:pt x="848136" y="433041"/>
                      </a:lnTo>
                      <a:lnTo>
                        <a:pt x="846752" y="432629"/>
                      </a:lnTo>
                      <a:lnTo>
                        <a:pt x="846047" y="432422"/>
                      </a:lnTo>
                      <a:lnTo>
                        <a:pt x="844930" y="432094"/>
                      </a:lnTo>
                      <a:lnTo>
                        <a:pt x="844468" y="432131"/>
                      </a:lnTo>
                      <a:lnTo>
                        <a:pt x="844274" y="431730"/>
                      </a:lnTo>
                      <a:lnTo>
                        <a:pt x="844080" y="431317"/>
                      </a:lnTo>
                      <a:lnTo>
                        <a:pt x="843934" y="431099"/>
                      </a:lnTo>
                      <a:lnTo>
                        <a:pt x="844104" y="430844"/>
                      </a:lnTo>
                      <a:lnTo>
                        <a:pt x="844614" y="430042"/>
                      </a:lnTo>
                      <a:lnTo>
                        <a:pt x="845100" y="429265"/>
                      </a:lnTo>
                      <a:lnTo>
                        <a:pt x="845306" y="428561"/>
                      </a:lnTo>
                      <a:lnTo>
                        <a:pt x="845622" y="428379"/>
                      </a:lnTo>
                      <a:lnTo>
                        <a:pt x="851390" y="426290"/>
                      </a:lnTo>
                      <a:lnTo>
                        <a:pt x="857656" y="423339"/>
                      </a:lnTo>
                      <a:lnTo>
                        <a:pt x="857959" y="423194"/>
                      </a:lnTo>
                      <a:lnTo>
                        <a:pt x="858227" y="423024"/>
                      </a:lnTo>
                      <a:lnTo>
                        <a:pt x="860691" y="421506"/>
                      </a:lnTo>
                      <a:lnTo>
                        <a:pt x="861578" y="420959"/>
                      </a:lnTo>
                      <a:lnTo>
                        <a:pt x="862234" y="420158"/>
                      </a:lnTo>
                      <a:lnTo>
                        <a:pt x="863448" y="418664"/>
                      </a:lnTo>
                      <a:lnTo>
                        <a:pt x="863727" y="418312"/>
                      </a:lnTo>
                      <a:lnTo>
                        <a:pt x="863958" y="417924"/>
                      </a:lnTo>
                      <a:lnTo>
                        <a:pt x="864638" y="416782"/>
                      </a:lnTo>
                      <a:lnTo>
                        <a:pt x="870454" y="414985"/>
                      </a:lnTo>
                      <a:lnTo>
                        <a:pt x="871122" y="414779"/>
                      </a:lnTo>
                      <a:lnTo>
                        <a:pt x="871717" y="414426"/>
                      </a:lnTo>
                      <a:lnTo>
                        <a:pt x="875433" y="412277"/>
                      </a:lnTo>
                      <a:lnTo>
                        <a:pt x="875530" y="414524"/>
                      </a:lnTo>
                      <a:lnTo>
                        <a:pt x="878942" y="416066"/>
                      </a:lnTo>
                      <a:lnTo>
                        <a:pt x="881796" y="417353"/>
                      </a:lnTo>
                      <a:lnTo>
                        <a:pt x="882500" y="417669"/>
                      </a:lnTo>
                      <a:lnTo>
                        <a:pt x="883253" y="417802"/>
                      </a:lnTo>
                      <a:lnTo>
                        <a:pt x="894813" y="419818"/>
                      </a:lnTo>
                      <a:lnTo>
                        <a:pt x="902985" y="421239"/>
                      </a:lnTo>
                      <a:lnTo>
                        <a:pt x="901868" y="413018"/>
                      </a:lnTo>
                      <a:lnTo>
                        <a:pt x="901504" y="410286"/>
                      </a:lnTo>
                      <a:lnTo>
                        <a:pt x="901456" y="407954"/>
                      </a:lnTo>
                      <a:lnTo>
                        <a:pt x="901431" y="406788"/>
                      </a:lnTo>
                      <a:lnTo>
                        <a:pt x="900970" y="405720"/>
                      </a:lnTo>
                      <a:lnTo>
                        <a:pt x="900569" y="404773"/>
                      </a:lnTo>
                      <a:lnTo>
                        <a:pt x="900326" y="404202"/>
                      </a:lnTo>
                      <a:lnTo>
                        <a:pt x="899986" y="403692"/>
                      </a:lnTo>
                      <a:lnTo>
                        <a:pt x="899245" y="402624"/>
                      </a:lnTo>
                      <a:lnTo>
                        <a:pt x="898905" y="402138"/>
                      </a:lnTo>
                      <a:lnTo>
                        <a:pt x="898492" y="401725"/>
                      </a:lnTo>
                      <a:lnTo>
                        <a:pt x="897715" y="400960"/>
                      </a:lnTo>
                      <a:lnTo>
                        <a:pt x="898857" y="396698"/>
                      </a:lnTo>
                      <a:lnTo>
                        <a:pt x="898954" y="396345"/>
                      </a:lnTo>
                      <a:lnTo>
                        <a:pt x="899015" y="395981"/>
                      </a:lnTo>
                      <a:lnTo>
                        <a:pt x="899865" y="390068"/>
                      </a:lnTo>
                      <a:lnTo>
                        <a:pt x="899925" y="389643"/>
                      </a:lnTo>
                      <a:lnTo>
                        <a:pt x="899925" y="389205"/>
                      </a:lnTo>
                      <a:lnTo>
                        <a:pt x="899925" y="387773"/>
                      </a:lnTo>
                      <a:lnTo>
                        <a:pt x="899925" y="387226"/>
                      </a:lnTo>
                      <a:lnTo>
                        <a:pt x="899828" y="386692"/>
                      </a:lnTo>
                      <a:lnTo>
                        <a:pt x="899597" y="385453"/>
                      </a:lnTo>
                      <a:lnTo>
                        <a:pt x="898578" y="381410"/>
                      </a:lnTo>
                      <a:lnTo>
                        <a:pt x="897849" y="377196"/>
                      </a:lnTo>
                      <a:lnTo>
                        <a:pt x="897776" y="376759"/>
                      </a:lnTo>
                      <a:lnTo>
                        <a:pt x="897630" y="376334"/>
                      </a:lnTo>
                      <a:lnTo>
                        <a:pt x="897011" y="374476"/>
                      </a:lnTo>
                      <a:lnTo>
                        <a:pt x="896720" y="373602"/>
                      </a:lnTo>
                      <a:lnTo>
                        <a:pt x="896173" y="372849"/>
                      </a:lnTo>
                      <a:lnTo>
                        <a:pt x="894267" y="370202"/>
                      </a:lnTo>
                      <a:lnTo>
                        <a:pt x="893732" y="369449"/>
                      </a:lnTo>
                      <a:lnTo>
                        <a:pt x="892980" y="368890"/>
                      </a:lnTo>
                      <a:lnTo>
                        <a:pt x="887770" y="364980"/>
                      </a:lnTo>
                      <a:lnTo>
                        <a:pt x="887163" y="364531"/>
                      </a:lnTo>
                      <a:lnTo>
                        <a:pt x="886471" y="364240"/>
                      </a:lnTo>
                      <a:lnTo>
                        <a:pt x="876562" y="360099"/>
                      </a:lnTo>
                      <a:lnTo>
                        <a:pt x="875640" y="358581"/>
                      </a:lnTo>
                      <a:lnTo>
                        <a:pt x="874960" y="357488"/>
                      </a:lnTo>
                      <a:lnTo>
                        <a:pt x="873903" y="356760"/>
                      </a:lnTo>
                      <a:lnTo>
                        <a:pt x="870722" y="354562"/>
                      </a:lnTo>
                      <a:lnTo>
                        <a:pt x="870467" y="354210"/>
                      </a:lnTo>
                      <a:lnTo>
                        <a:pt x="869690" y="352582"/>
                      </a:lnTo>
                      <a:lnTo>
                        <a:pt x="868912" y="349607"/>
                      </a:lnTo>
                      <a:lnTo>
                        <a:pt x="868706" y="348818"/>
                      </a:lnTo>
                      <a:lnTo>
                        <a:pt x="868293" y="348114"/>
                      </a:lnTo>
                      <a:lnTo>
                        <a:pt x="867249" y="346305"/>
                      </a:lnTo>
                      <a:lnTo>
                        <a:pt x="867042" y="345952"/>
                      </a:lnTo>
                      <a:lnTo>
                        <a:pt x="866787" y="345625"/>
                      </a:lnTo>
                      <a:lnTo>
                        <a:pt x="865949" y="344532"/>
                      </a:lnTo>
                      <a:lnTo>
                        <a:pt x="865694" y="344192"/>
                      </a:lnTo>
                      <a:lnTo>
                        <a:pt x="865391" y="343888"/>
                      </a:lnTo>
                      <a:lnTo>
                        <a:pt x="865185" y="343694"/>
                      </a:lnTo>
                      <a:lnTo>
                        <a:pt x="863132" y="340160"/>
                      </a:lnTo>
                      <a:lnTo>
                        <a:pt x="862379" y="338837"/>
                      </a:lnTo>
                      <a:lnTo>
                        <a:pt x="861080" y="338035"/>
                      </a:lnTo>
                      <a:lnTo>
                        <a:pt x="859173" y="336857"/>
                      </a:lnTo>
                      <a:lnTo>
                        <a:pt x="858858" y="336651"/>
                      </a:lnTo>
                      <a:lnTo>
                        <a:pt x="858506" y="336493"/>
                      </a:lnTo>
                      <a:lnTo>
                        <a:pt x="853126" y="334040"/>
                      </a:lnTo>
                      <a:lnTo>
                        <a:pt x="851013" y="332753"/>
                      </a:lnTo>
                      <a:lnTo>
                        <a:pt x="850953" y="332571"/>
                      </a:lnTo>
                      <a:lnTo>
                        <a:pt x="850710" y="331879"/>
                      </a:lnTo>
                      <a:lnTo>
                        <a:pt x="850674" y="331769"/>
                      </a:lnTo>
                      <a:lnTo>
                        <a:pt x="850916" y="331709"/>
                      </a:lnTo>
                      <a:lnTo>
                        <a:pt x="852167" y="330421"/>
                      </a:lnTo>
                      <a:lnTo>
                        <a:pt x="852799" y="329766"/>
                      </a:lnTo>
                      <a:lnTo>
                        <a:pt x="853552" y="328989"/>
                      </a:lnTo>
                      <a:lnTo>
                        <a:pt x="853988" y="327993"/>
                      </a:lnTo>
                      <a:lnTo>
                        <a:pt x="854450" y="326937"/>
                      </a:lnTo>
                      <a:lnTo>
                        <a:pt x="854668" y="326463"/>
                      </a:lnTo>
                      <a:lnTo>
                        <a:pt x="854790" y="325953"/>
                      </a:lnTo>
                      <a:lnTo>
                        <a:pt x="856150" y="320428"/>
                      </a:lnTo>
                      <a:lnTo>
                        <a:pt x="856721" y="318922"/>
                      </a:lnTo>
                      <a:lnTo>
                        <a:pt x="856964" y="318266"/>
                      </a:lnTo>
                      <a:lnTo>
                        <a:pt x="857061" y="317574"/>
                      </a:lnTo>
                      <a:lnTo>
                        <a:pt x="857340" y="315364"/>
                      </a:lnTo>
                      <a:lnTo>
                        <a:pt x="857413" y="314794"/>
                      </a:lnTo>
                      <a:lnTo>
                        <a:pt x="857377" y="314223"/>
                      </a:lnTo>
                      <a:lnTo>
                        <a:pt x="857255" y="312304"/>
                      </a:lnTo>
                      <a:lnTo>
                        <a:pt x="857291" y="312122"/>
                      </a:lnTo>
                      <a:lnTo>
                        <a:pt x="857899" y="311175"/>
                      </a:lnTo>
                      <a:lnTo>
                        <a:pt x="862367" y="306549"/>
                      </a:lnTo>
                      <a:lnTo>
                        <a:pt x="875044" y="296834"/>
                      </a:lnTo>
                      <a:lnTo>
                        <a:pt x="875640" y="296385"/>
                      </a:lnTo>
                      <a:lnTo>
                        <a:pt x="876101" y="295802"/>
                      </a:lnTo>
                      <a:lnTo>
                        <a:pt x="881917" y="288541"/>
                      </a:lnTo>
                      <a:lnTo>
                        <a:pt x="882306" y="288589"/>
                      </a:lnTo>
                      <a:lnTo>
                        <a:pt x="883144" y="288711"/>
                      </a:lnTo>
                      <a:lnTo>
                        <a:pt x="883970" y="288589"/>
                      </a:lnTo>
                      <a:lnTo>
                        <a:pt x="885281" y="288407"/>
                      </a:lnTo>
                      <a:lnTo>
                        <a:pt x="886070" y="288298"/>
                      </a:lnTo>
                      <a:lnTo>
                        <a:pt x="886811" y="287994"/>
                      </a:lnTo>
                      <a:lnTo>
                        <a:pt x="888693" y="287193"/>
                      </a:lnTo>
                      <a:lnTo>
                        <a:pt x="889810" y="286719"/>
                      </a:lnTo>
                      <a:lnTo>
                        <a:pt x="890648" y="285857"/>
                      </a:lnTo>
                      <a:lnTo>
                        <a:pt x="894218" y="282226"/>
                      </a:lnTo>
                      <a:lnTo>
                        <a:pt x="895020" y="281692"/>
                      </a:lnTo>
                      <a:lnTo>
                        <a:pt x="898274" y="280320"/>
                      </a:lnTo>
                      <a:lnTo>
                        <a:pt x="898772" y="280101"/>
                      </a:lnTo>
                      <a:lnTo>
                        <a:pt x="899233" y="279798"/>
                      </a:lnTo>
                      <a:lnTo>
                        <a:pt x="901540" y="278280"/>
                      </a:lnTo>
                      <a:lnTo>
                        <a:pt x="902172" y="277867"/>
                      </a:lnTo>
                      <a:lnTo>
                        <a:pt x="902682" y="277321"/>
                      </a:lnTo>
                      <a:lnTo>
                        <a:pt x="905766" y="273969"/>
                      </a:lnTo>
                      <a:lnTo>
                        <a:pt x="909263" y="271140"/>
                      </a:lnTo>
                      <a:lnTo>
                        <a:pt x="909688" y="270800"/>
                      </a:lnTo>
                      <a:lnTo>
                        <a:pt x="910052" y="270375"/>
                      </a:lnTo>
                      <a:lnTo>
                        <a:pt x="916755" y="262567"/>
                      </a:lnTo>
                      <a:lnTo>
                        <a:pt x="918443" y="260976"/>
                      </a:lnTo>
                      <a:lnTo>
                        <a:pt x="919706" y="260114"/>
                      </a:lnTo>
                      <a:lnTo>
                        <a:pt x="924138" y="258790"/>
                      </a:lnTo>
                      <a:lnTo>
                        <a:pt x="924806" y="258584"/>
                      </a:lnTo>
                      <a:lnTo>
                        <a:pt x="925413" y="258244"/>
                      </a:lnTo>
                      <a:lnTo>
                        <a:pt x="927538" y="257030"/>
                      </a:lnTo>
                      <a:lnTo>
                        <a:pt x="928182" y="256665"/>
                      </a:lnTo>
                      <a:lnTo>
                        <a:pt x="928704" y="256168"/>
                      </a:lnTo>
                      <a:lnTo>
                        <a:pt x="933828" y="251310"/>
                      </a:lnTo>
                      <a:lnTo>
                        <a:pt x="934630" y="250910"/>
                      </a:lnTo>
                      <a:lnTo>
                        <a:pt x="935698" y="250703"/>
                      </a:lnTo>
                      <a:lnTo>
                        <a:pt x="938127" y="250691"/>
                      </a:lnTo>
                      <a:lnTo>
                        <a:pt x="938880" y="250691"/>
                      </a:lnTo>
                      <a:lnTo>
                        <a:pt x="939596" y="250509"/>
                      </a:lnTo>
                      <a:lnTo>
                        <a:pt x="940495" y="250278"/>
                      </a:lnTo>
                      <a:lnTo>
                        <a:pt x="942183" y="249841"/>
                      </a:lnTo>
                      <a:lnTo>
                        <a:pt x="943385" y="248590"/>
                      </a:lnTo>
                      <a:lnTo>
                        <a:pt x="943907" y="248044"/>
                      </a:lnTo>
                      <a:lnTo>
                        <a:pt x="944636" y="247291"/>
                      </a:lnTo>
                      <a:lnTo>
                        <a:pt x="945060" y="246332"/>
                      </a:lnTo>
                      <a:lnTo>
                        <a:pt x="945510" y="245324"/>
                      </a:lnTo>
                      <a:lnTo>
                        <a:pt x="945838" y="244583"/>
                      </a:lnTo>
                      <a:lnTo>
                        <a:pt x="945971" y="243794"/>
                      </a:lnTo>
                      <a:lnTo>
                        <a:pt x="946226" y="242215"/>
                      </a:lnTo>
                      <a:lnTo>
                        <a:pt x="946299" y="241742"/>
                      </a:lnTo>
                      <a:lnTo>
                        <a:pt x="946299" y="241268"/>
                      </a:lnTo>
                      <a:lnTo>
                        <a:pt x="946299" y="239629"/>
                      </a:lnTo>
                      <a:lnTo>
                        <a:pt x="946299" y="238317"/>
                      </a:lnTo>
                      <a:lnTo>
                        <a:pt x="945765" y="237127"/>
                      </a:lnTo>
                      <a:lnTo>
                        <a:pt x="944963" y="235342"/>
                      </a:lnTo>
                      <a:lnTo>
                        <a:pt x="944575" y="234480"/>
                      </a:lnTo>
                      <a:lnTo>
                        <a:pt x="943944" y="233776"/>
                      </a:lnTo>
                      <a:lnTo>
                        <a:pt x="942559" y="232234"/>
                      </a:lnTo>
                      <a:lnTo>
                        <a:pt x="941879" y="231481"/>
                      </a:lnTo>
                      <a:lnTo>
                        <a:pt x="941005" y="230983"/>
                      </a:lnTo>
                      <a:lnTo>
                        <a:pt x="940240" y="230546"/>
                      </a:lnTo>
                      <a:lnTo>
                        <a:pt x="940252" y="230534"/>
                      </a:lnTo>
                      <a:lnTo>
                        <a:pt x="941005" y="229562"/>
                      </a:lnTo>
                      <a:lnTo>
                        <a:pt x="943421" y="226454"/>
                      </a:lnTo>
                      <a:lnTo>
                        <a:pt x="941576" y="222969"/>
                      </a:lnTo>
                      <a:lnTo>
                        <a:pt x="940872" y="221657"/>
                      </a:lnTo>
                      <a:lnTo>
                        <a:pt x="940604" y="221147"/>
                      </a:lnTo>
                      <a:lnTo>
                        <a:pt x="940240" y="220686"/>
                      </a:lnTo>
                      <a:lnTo>
                        <a:pt x="938746" y="218840"/>
                      </a:lnTo>
                      <a:lnTo>
                        <a:pt x="938516" y="218573"/>
                      </a:lnTo>
                      <a:lnTo>
                        <a:pt x="938260" y="218330"/>
                      </a:lnTo>
                      <a:lnTo>
                        <a:pt x="932007" y="212222"/>
                      </a:lnTo>
                      <a:lnTo>
                        <a:pt x="931752" y="211979"/>
                      </a:lnTo>
                      <a:lnTo>
                        <a:pt x="931485" y="211761"/>
                      </a:lnTo>
                      <a:lnTo>
                        <a:pt x="929712" y="210377"/>
                      </a:lnTo>
                      <a:lnTo>
                        <a:pt x="928862" y="209721"/>
                      </a:lnTo>
                      <a:lnTo>
                        <a:pt x="927842" y="209393"/>
                      </a:lnTo>
                      <a:lnTo>
                        <a:pt x="926445" y="208944"/>
                      </a:lnTo>
                      <a:lnTo>
                        <a:pt x="927624" y="205313"/>
                      </a:lnTo>
                      <a:lnTo>
                        <a:pt x="928194" y="203540"/>
                      </a:lnTo>
                      <a:lnTo>
                        <a:pt x="927684" y="201755"/>
                      </a:lnTo>
                      <a:lnTo>
                        <a:pt x="927247" y="200237"/>
                      </a:lnTo>
                      <a:lnTo>
                        <a:pt x="926300" y="196946"/>
                      </a:lnTo>
                      <a:lnTo>
                        <a:pt x="922985" y="196060"/>
                      </a:lnTo>
                      <a:lnTo>
                        <a:pt x="921248" y="195598"/>
                      </a:lnTo>
                      <a:lnTo>
                        <a:pt x="919451" y="195113"/>
                      </a:lnTo>
                      <a:lnTo>
                        <a:pt x="917678" y="195732"/>
                      </a:lnTo>
                      <a:lnTo>
                        <a:pt x="909749" y="198501"/>
                      </a:lnTo>
                      <a:lnTo>
                        <a:pt x="906956" y="199132"/>
                      </a:lnTo>
                      <a:lnTo>
                        <a:pt x="906786" y="199144"/>
                      </a:lnTo>
                      <a:lnTo>
                        <a:pt x="904698" y="198513"/>
                      </a:lnTo>
                      <a:lnTo>
                        <a:pt x="900897" y="197651"/>
                      </a:lnTo>
                      <a:lnTo>
                        <a:pt x="895396" y="196436"/>
                      </a:lnTo>
                      <a:lnTo>
                        <a:pt x="893769" y="201828"/>
                      </a:lnTo>
                      <a:lnTo>
                        <a:pt x="892469" y="206163"/>
                      </a:lnTo>
                      <a:lnTo>
                        <a:pt x="892288" y="206746"/>
                      </a:lnTo>
                      <a:lnTo>
                        <a:pt x="892227" y="207353"/>
                      </a:lnTo>
                      <a:lnTo>
                        <a:pt x="892033" y="209393"/>
                      </a:lnTo>
                      <a:lnTo>
                        <a:pt x="891935" y="210377"/>
                      </a:lnTo>
                      <a:lnTo>
                        <a:pt x="892178" y="211348"/>
                      </a:lnTo>
                      <a:lnTo>
                        <a:pt x="892469" y="212647"/>
                      </a:lnTo>
                      <a:lnTo>
                        <a:pt x="891389" y="218609"/>
                      </a:lnTo>
                      <a:lnTo>
                        <a:pt x="886738" y="226733"/>
                      </a:lnTo>
                      <a:lnTo>
                        <a:pt x="881675" y="231845"/>
                      </a:lnTo>
                      <a:lnTo>
                        <a:pt x="880764" y="231954"/>
                      </a:lnTo>
                      <a:lnTo>
                        <a:pt x="880096" y="231347"/>
                      </a:lnTo>
                      <a:lnTo>
                        <a:pt x="879610" y="230898"/>
                      </a:lnTo>
                      <a:lnTo>
                        <a:pt x="879040" y="230570"/>
                      </a:lnTo>
                      <a:lnTo>
                        <a:pt x="873514" y="227352"/>
                      </a:lnTo>
                      <a:lnTo>
                        <a:pt x="871972" y="226004"/>
                      </a:lnTo>
                      <a:lnTo>
                        <a:pt x="871657" y="225458"/>
                      </a:lnTo>
                      <a:lnTo>
                        <a:pt x="870661" y="222519"/>
                      </a:lnTo>
                      <a:lnTo>
                        <a:pt x="870467" y="221985"/>
                      </a:lnTo>
                      <a:lnTo>
                        <a:pt x="870200" y="221487"/>
                      </a:lnTo>
                      <a:lnTo>
                        <a:pt x="869276" y="219848"/>
                      </a:lnTo>
                      <a:lnTo>
                        <a:pt x="867030" y="215901"/>
                      </a:lnTo>
                      <a:lnTo>
                        <a:pt x="865002" y="216375"/>
                      </a:lnTo>
                      <a:lnTo>
                        <a:pt x="864638" y="216084"/>
                      </a:lnTo>
                      <a:lnTo>
                        <a:pt x="863885" y="211141"/>
                      </a:lnTo>
                      <a:lnTo>
                        <a:pt x="857474" y="212672"/>
                      </a:lnTo>
                      <a:lnTo>
                        <a:pt x="854134" y="213473"/>
                      </a:lnTo>
                      <a:lnTo>
                        <a:pt x="852799" y="213789"/>
                      </a:lnTo>
                      <a:lnTo>
                        <a:pt x="851718" y="214663"/>
                      </a:lnTo>
                      <a:lnTo>
                        <a:pt x="847784" y="217857"/>
                      </a:lnTo>
                      <a:lnTo>
                        <a:pt x="845901" y="216897"/>
                      </a:lnTo>
                      <a:lnTo>
                        <a:pt x="845537" y="216703"/>
                      </a:lnTo>
                      <a:lnTo>
                        <a:pt x="845148" y="216569"/>
                      </a:lnTo>
                      <a:lnTo>
                        <a:pt x="841931" y="215464"/>
                      </a:lnTo>
                      <a:lnTo>
                        <a:pt x="839842" y="214736"/>
                      </a:lnTo>
                      <a:lnTo>
                        <a:pt x="837765" y="215525"/>
                      </a:lnTo>
                      <a:lnTo>
                        <a:pt x="835361" y="216448"/>
                      </a:lnTo>
                      <a:lnTo>
                        <a:pt x="832580" y="217517"/>
                      </a:lnTo>
                      <a:lnTo>
                        <a:pt x="831731" y="220370"/>
                      </a:lnTo>
                      <a:lnTo>
                        <a:pt x="830686" y="223819"/>
                      </a:lnTo>
                      <a:lnTo>
                        <a:pt x="830553" y="223697"/>
                      </a:lnTo>
                      <a:lnTo>
                        <a:pt x="830018" y="223236"/>
                      </a:lnTo>
                      <a:lnTo>
                        <a:pt x="829399" y="222908"/>
                      </a:lnTo>
                      <a:lnTo>
                        <a:pt x="826363" y="221305"/>
                      </a:lnTo>
                      <a:lnTo>
                        <a:pt x="824081" y="220103"/>
                      </a:lnTo>
                      <a:lnTo>
                        <a:pt x="821640" y="220904"/>
                      </a:lnTo>
                      <a:lnTo>
                        <a:pt x="817548" y="222252"/>
                      </a:lnTo>
                      <a:lnTo>
                        <a:pt x="816576" y="222568"/>
                      </a:lnTo>
                      <a:lnTo>
                        <a:pt x="815763" y="223187"/>
                      </a:lnTo>
                      <a:lnTo>
                        <a:pt x="813759" y="224717"/>
                      </a:lnTo>
                      <a:lnTo>
                        <a:pt x="809764" y="227656"/>
                      </a:lnTo>
                      <a:lnTo>
                        <a:pt x="805380" y="229538"/>
                      </a:lnTo>
                      <a:lnTo>
                        <a:pt x="801580" y="228530"/>
                      </a:lnTo>
                      <a:lnTo>
                        <a:pt x="788732" y="221499"/>
                      </a:lnTo>
                      <a:lnTo>
                        <a:pt x="787882" y="221026"/>
                      </a:lnTo>
                      <a:lnTo>
                        <a:pt x="786923" y="220844"/>
                      </a:lnTo>
                      <a:lnTo>
                        <a:pt x="781180" y="219787"/>
                      </a:lnTo>
                      <a:lnTo>
                        <a:pt x="780463" y="219654"/>
                      </a:lnTo>
                      <a:lnTo>
                        <a:pt x="779734" y="219690"/>
                      </a:lnTo>
                      <a:lnTo>
                        <a:pt x="773530" y="220018"/>
                      </a:lnTo>
                      <a:lnTo>
                        <a:pt x="772886" y="220054"/>
                      </a:lnTo>
                      <a:lnTo>
                        <a:pt x="772254" y="220224"/>
                      </a:lnTo>
                      <a:lnTo>
                        <a:pt x="766159" y="221888"/>
                      </a:lnTo>
                      <a:lnTo>
                        <a:pt x="765394" y="222106"/>
                      </a:lnTo>
                      <a:lnTo>
                        <a:pt x="764690" y="222507"/>
                      </a:lnTo>
                      <a:lnTo>
                        <a:pt x="759529" y="225531"/>
                      </a:lnTo>
                      <a:lnTo>
                        <a:pt x="758497" y="226138"/>
                      </a:lnTo>
                      <a:lnTo>
                        <a:pt x="757768" y="227085"/>
                      </a:lnTo>
                      <a:lnTo>
                        <a:pt x="755570" y="229951"/>
                      </a:lnTo>
                      <a:lnTo>
                        <a:pt x="755206" y="230437"/>
                      </a:lnTo>
                      <a:lnTo>
                        <a:pt x="754939" y="230983"/>
                      </a:lnTo>
                      <a:lnTo>
                        <a:pt x="752547" y="235937"/>
                      </a:lnTo>
                      <a:lnTo>
                        <a:pt x="746973" y="233521"/>
                      </a:lnTo>
                      <a:lnTo>
                        <a:pt x="746038" y="232974"/>
                      </a:lnTo>
                      <a:lnTo>
                        <a:pt x="745431" y="232052"/>
                      </a:lnTo>
                      <a:lnTo>
                        <a:pt x="744398" y="229489"/>
                      </a:lnTo>
                      <a:lnTo>
                        <a:pt x="743913" y="228251"/>
                      </a:lnTo>
                      <a:lnTo>
                        <a:pt x="742941" y="227340"/>
                      </a:lnTo>
                      <a:lnTo>
                        <a:pt x="740986" y="225482"/>
                      </a:lnTo>
                      <a:lnTo>
                        <a:pt x="738449" y="223066"/>
                      </a:lnTo>
                      <a:lnTo>
                        <a:pt x="735085" y="224074"/>
                      </a:lnTo>
                      <a:lnTo>
                        <a:pt x="729863" y="225628"/>
                      </a:lnTo>
                      <a:lnTo>
                        <a:pt x="721934" y="226478"/>
                      </a:lnTo>
                      <a:lnTo>
                        <a:pt x="719445" y="225494"/>
                      </a:lnTo>
                      <a:lnTo>
                        <a:pt x="716579" y="221852"/>
                      </a:lnTo>
                      <a:lnTo>
                        <a:pt x="713896" y="216108"/>
                      </a:lnTo>
                      <a:lnTo>
                        <a:pt x="712159" y="210607"/>
                      </a:lnTo>
                      <a:lnTo>
                        <a:pt x="712050" y="210255"/>
                      </a:lnTo>
                      <a:lnTo>
                        <a:pt x="710204" y="201791"/>
                      </a:lnTo>
                      <a:lnTo>
                        <a:pt x="710156" y="198962"/>
                      </a:lnTo>
                      <a:lnTo>
                        <a:pt x="710143" y="198561"/>
                      </a:lnTo>
                      <a:lnTo>
                        <a:pt x="710083" y="198173"/>
                      </a:lnTo>
                      <a:lnTo>
                        <a:pt x="709512" y="194360"/>
                      </a:lnTo>
                      <a:lnTo>
                        <a:pt x="708723" y="188981"/>
                      </a:lnTo>
                      <a:lnTo>
                        <a:pt x="703295" y="189187"/>
                      </a:lnTo>
                      <a:lnTo>
                        <a:pt x="701097" y="189272"/>
                      </a:lnTo>
                      <a:lnTo>
                        <a:pt x="699069" y="189345"/>
                      </a:lnTo>
                      <a:lnTo>
                        <a:pt x="697490" y="190620"/>
                      </a:lnTo>
                      <a:lnTo>
                        <a:pt x="694795" y="192806"/>
                      </a:lnTo>
                      <a:lnTo>
                        <a:pt x="694552" y="193012"/>
                      </a:lnTo>
                      <a:lnTo>
                        <a:pt x="694321" y="193231"/>
                      </a:lnTo>
                      <a:lnTo>
                        <a:pt x="688978" y="198574"/>
                      </a:lnTo>
                      <a:lnTo>
                        <a:pt x="687715" y="199496"/>
                      </a:lnTo>
                      <a:lnTo>
                        <a:pt x="681632" y="201561"/>
                      </a:lnTo>
                      <a:lnTo>
                        <a:pt x="676386" y="203297"/>
                      </a:lnTo>
                      <a:lnTo>
                        <a:pt x="675803" y="203491"/>
                      </a:lnTo>
                      <a:lnTo>
                        <a:pt x="675281" y="203795"/>
                      </a:lnTo>
                      <a:lnTo>
                        <a:pt x="669416" y="207159"/>
                      </a:lnTo>
                      <a:lnTo>
                        <a:pt x="667619" y="208191"/>
                      </a:lnTo>
                      <a:lnTo>
                        <a:pt x="666829" y="210097"/>
                      </a:lnTo>
                      <a:lnTo>
                        <a:pt x="665360" y="213631"/>
                      </a:lnTo>
                      <a:lnTo>
                        <a:pt x="663004" y="216229"/>
                      </a:lnTo>
                      <a:lnTo>
                        <a:pt x="659847" y="218233"/>
                      </a:lnTo>
                      <a:lnTo>
                        <a:pt x="657358" y="218937"/>
                      </a:lnTo>
                      <a:lnTo>
                        <a:pt x="651347" y="216666"/>
                      </a:lnTo>
                      <a:lnTo>
                        <a:pt x="649902" y="216120"/>
                      </a:lnTo>
                      <a:lnTo>
                        <a:pt x="648372" y="216339"/>
                      </a:lnTo>
                      <a:lnTo>
                        <a:pt x="645786" y="216691"/>
                      </a:lnTo>
                      <a:lnTo>
                        <a:pt x="643114" y="217055"/>
                      </a:lnTo>
                      <a:lnTo>
                        <a:pt x="641596" y="219277"/>
                      </a:lnTo>
                      <a:lnTo>
                        <a:pt x="640224" y="221293"/>
                      </a:lnTo>
                      <a:lnTo>
                        <a:pt x="640030" y="221560"/>
                      </a:lnTo>
                      <a:lnTo>
                        <a:pt x="639994" y="221633"/>
                      </a:lnTo>
                      <a:lnTo>
                        <a:pt x="628555" y="214930"/>
                      </a:lnTo>
                      <a:lnTo>
                        <a:pt x="628251" y="214748"/>
                      </a:lnTo>
                      <a:lnTo>
                        <a:pt x="627936" y="214602"/>
                      </a:lnTo>
                      <a:lnTo>
                        <a:pt x="615562" y="209174"/>
                      </a:lnTo>
                      <a:lnTo>
                        <a:pt x="612975" y="207669"/>
                      </a:lnTo>
                      <a:lnTo>
                        <a:pt x="611106" y="205531"/>
                      </a:lnTo>
                      <a:lnTo>
                        <a:pt x="610826" y="205204"/>
                      </a:lnTo>
                      <a:lnTo>
                        <a:pt x="610499" y="204924"/>
                      </a:lnTo>
                      <a:lnTo>
                        <a:pt x="607924" y="202726"/>
                      </a:lnTo>
                      <a:lnTo>
                        <a:pt x="607402" y="202289"/>
                      </a:lnTo>
                      <a:lnTo>
                        <a:pt x="606807" y="201974"/>
                      </a:lnTo>
                      <a:lnTo>
                        <a:pt x="603868" y="200419"/>
                      </a:lnTo>
                      <a:lnTo>
                        <a:pt x="603164" y="200043"/>
                      </a:lnTo>
                      <a:lnTo>
                        <a:pt x="602399" y="199861"/>
                      </a:lnTo>
                      <a:lnTo>
                        <a:pt x="599157" y="199120"/>
                      </a:lnTo>
                      <a:lnTo>
                        <a:pt x="594130" y="197153"/>
                      </a:lnTo>
                      <a:lnTo>
                        <a:pt x="582934" y="191336"/>
                      </a:lnTo>
                      <a:lnTo>
                        <a:pt x="582557" y="191142"/>
                      </a:lnTo>
                      <a:lnTo>
                        <a:pt x="582169" y="191009"/>
                      </a:lnTo>
                      <a:lnTo>
                        <a:pt x="576534" y="189017"/>
                      </a:lnTo>
                      <a:lnTo>
                        <a:pt x="575551" y="188665"/>
                      </a:lnTo>
                      <a:lnTo>
                        <a:pt x="574507" y="188665"/>
                      </a:lnTo>
                      <a:lnTo>
                        <a:pt x="572843" y="188665"/>
                      </a:lnTo>
                      <a:lnTo>
                        <a:pt x="572454" y="188665"/>
                      </a:lnTo>
                      <a:lnTo>
                        <a:pt x="572066" y="188713"/>
                      </a:lnTo>
                      <a:lnTo>
                        <a:pt x="572066" y="188713"/>
                      </a:lnTo>
                      <a:lnTo>
                        <a:pt x="572042" y="188289"/>
                      </a:lnTo>
                      <a:lnTo>
                        <a:pt x="570463" y="186625"/>
                      </a:lnTo>
                      <a:lnTo>
                        <a:pt x="569152" y="185241"/>
                      </a:lnTo>
                      <a:lnTo>
                        <a:pt x="567804" y="183808"/>
                      </a:lnTo>
                      <a:lnTo>
                        <a:pt x="565861" y="183456"/>
                      </a:lnTo>
                      <a:lnTo>
                        <a:pt x="562643" y="182861"/>
                      </a:lnTo>
                      <a:lnTo>
                        <a:pt x="561647" y="182678"/>
                      </a:lnTo>
                      <a:lnTo>
                        <a:pt x="560639" y="182824"/>
                      </a:lnTo>
                      <a:lnTo>
                        <a:pt x="556669" y="183419"/>
                      </a:lnTo>
                      <a:lnTo>
                        <a:pt x="556171" y="183492"/>
                      </a:lnTo>
                      <a:lnTo>
                        <a:pt x="555685" y="183650"/>
                      </a:lnTo>
                      <a:lnTo>
                        <a:pt x="548557" y="185981"/>
                      </a:lnTo>
                      <a:lnTo>
                        <a:pt x="547865" y="186212"/>
                      </a:lnTo>
                      <a:lnTo>
                        <a:pt x="547246" y="186589"/>
                      </a:lnTo>
                      <a:lnTo>
                        <a:pt x="544939" y="188021"/>
                      </a:lnTo>
                      <a:lnTo>
                        <a:pt x="544599" y="187681"/>
                      </a:lnTo>
                      <a:lnTo>
                        <a:pt x="543785" y="187232"/>
                      </a:lnTo>
                      <a:lnTo>
                        <a:pt x="542522" y="186564"/>
                      </a:lnTo>
                      <a:lnTo>
                        <a:pt x="541939" y="186261"/>
                      </a:lnTo>
                      <a:lnTo>
                        <a:pt x="541320" y="186078"/>
                      </a:lnTo>
                      <a:lnTo>
                        <a:pt x="538503" y="185277"/>
                      </a:lnTo>
                      <a:lnTo>
                        <a:pt x="538054" y="185143"/>
                      </a:lnTo>
                      <a:lnTo>
                        <a:pt x="537592" y="185095"/>
                      </a:lnTo>
                      <a:lnTo>
                        <a:pt x="536390" y="184949"/>
                      </a:lnTo>
                      <a:lnTo>
                        <a:pt x="535831" y="184876"/>
                      </a:lnTo>
                      <a:lnTo>
                        <a:pt x="534969" y="184852"/>
                      </a:lnTo>
                      <a:lnTo>
                        <a:pt x="532626" y="184998"/>
                      </a:lnTo>
                      <a:lnTo>
                        <a:pt x="532541" y="184925"/>
                      </a:lnTo>
                      <a:lnTo>
                        <a:pt x="532128" y="184670"/>
                      </a:lnTo>
                      <a:lnTo>
                        <a:pt x="519147" y="176862"/>
                      </a:lnTo>
                      <a:lnTo>
                        <a:pt x="518528" y="176498"/>
                      </a:lnTo>
                      <a:lnTo>
                        <a:pt x="517848" y="176279"/>
                      </a:lnTo>
                      <a:lnTo>
                        <a:pt x="512165" y="174470"/>
                      </a:lnTo>
                      <a:lnTo>
                        <a:pt x="510368" y="173899"/>
                      </a:lnTo>
                      <a:lnTo>
                        <a:pt x="508558" y="174458"/>
                      </a:lnTo>
                      <a:lnTo>
                        <a:pt x="502451" y="176328"/>
                      </a:lnTo>
                      <a:lnTo>
                        <a:pt x="498626" y="176728"/>
                      </a:lnTo>
                      <a:lnTo>
                        <a:pt x="497375" y="176850"/>
                      </a:lnTo>
                      <a:lnTo>
                        <a:pt x="496282" y="177457"/>
                      </a:lnTo>
                      <a:lnTo>
                        <a:pt x="493003" y="179290"/>
                      </a:lnTo>
                      <a:lnTo>
                        <a:pt x="492518" y="179558"/>
                      </a:lnTo>
                      <a:lnTo>
                        <a:pt x="492080" y="179910"/>
                      </a:lnTo>
                      <a:lnTo>
                        <a:pt x="479804" y="190146"/>
                      </a:lnTo>
                      <a:lnTo>
                        <a:pt x="479428" y="188580"/>
                      </a:lnTo>
                      <a:lnTo>
                        <a:pt x="477971" y="187305"/>
                      </a:lnTo>
                      <a:lnTo>
                        <a:pt x="476525" y="186042"/>
                      </a:lnTo>
                      <a:lnTo>
                        <a:pt x="474121" y="183941"/>
                      </a:lnTo>
                      <a:lnTo>
                        <a:pt x="471037" y="184731"/>
                      </a:lnTo>
                      <a:lnTo>
                        <a:pt x="469228" y="185192"/>
                      </a:lnTo>
                      <a:lnTo>
                        <a:pt x="469094" y="185216"/>
                      </a:lnTo>
                      <a:lnTo>
                        <a:pt x="461237" y="179206"/>
                      </a:lnTo>
                      <a:lnTo>
                        <a:pt x="459841" y="177578"/>
                      </a:lnTo>
                      <a:lnTo>
                        <a:pt x="458542" y="172867"/>
                      </a:lnTo>
                      <a:lnTo>
                        <a:pt x="459829" y="159085"/>
                      </a:lnTo>
                      <a:lnTo>
                        <a:pt x="459914" y="158150"/>
                      </a:lnTo>
                      <a:lnTo>
                        <a:pt x="459708" y="157227"/>
                      </a:lnTo>
                      <a:lnTo>
                        <a:pt x="458214" y="150330"/>
                      </a:lnTo>
                      <a:lnTo>
                        <a:pt x="457898" y="148824"/>
                      </a:lnTo>
                      <a:lnTo>
                        <a:pt x="456890" y="147658"/>
                      </a:lnTo>
                      <a:lnTo>
                        <a:pt x="454243" y="144586"/>
                      </a:lnTo>
                      <a:lnTo>
                        <a:pt x="453502" y="143736"/>
                      </a:lnTo>
                      <a:lnTo>
                        <a:pt x="452507" y="143202"/>
                      </a:lnTo>
                      <a:lnTo>
                        <a:pt x="437814" y="135309"/>
                      </a:lnTo>
                      <a:lnTo>
                        <a:pt x="437352" y="135054"/>
                      </a:lnTo>
                      <a:lnTo>
                        <a:pt x="436842" y="134884"/>
                      </a:lnTo>
                      <a:lnTo>
                        <a:pt x="434827" y="134216"/>
                      </a:lnTo>
                      <a:lnTo>
                        <a:pt x="432787" y="133548"/>
                      </a:lnTo>
                      <a:lnTo>
                        <a:pt x="430771" y="134313"/>
                      </a:lnTo>
                      <a:lnTo>
                        <a:pt x="415956" y="139947"/>
                      </a:lnTo>
                      <a:lnTo>
                        <a:pt x="415629" y="140069"/>
                      </a:lnTo>
                      <a:lnTo>
                        <a:pt x="415325" y="140239"/>
                      </a:lnTo>
                      <a:lnTo>
                        <a:pt x="407104" y="144513"/>
                      </a:lnTo>
                      <a:lnTo>
                        <a:pt x="400838" y="147743"/>
                      </a:lnTo>
                      <a:lnTo>
                        <a:pt x="399685" y="148095"/>
                      </a:lnTo>
                      <a:lnTo>
                        <a:pt x="397985" y="147597"/>
                      </a:lnTo>
                      <a:lnTo>
                        <a:pt x="397317" y="147403"/>
                      </a:lnTo>
                      <a:lnTo>
                        <a:pt x="396625" y="147367"/>
                      </a:lnTo>
                      <a:lnTo>
                        <a:pt x="393346" y="147185"/>
                      </a:lnTo>
                      <a:lnTo>
                        <a:pt x="390857" y="147039"/>
                      </a:lnTo>
                      <a:lnTo>
                        <a:pt x="388987" y="148690"/>
                      </a:lnTo>
                      <a:lnTo>
                        <a:pt x="385891" y="151422"/>
                      </a:lnTo>
                      <a:lnTo>
                        <a:pt x="385599" y="151690"/>
                      </a:lnTo>
                      <a:lnTo>
                        <a:pt x="385344" y="151981"/>
                      </a:lnTo>
                      <a:lnTo>
                        <a:pt x="382685" y="155029"/>
                      </a:lnTo>
                      <a:lnTo>
                        <a:pt x="382636" y="155078"/>
                      </a:lnTo>
                      <a:lnTo>
                        <a:pt x="381203" y="156098"/>
                      </a:lnTo>
                      <a:lnTo>
                        <a:pt x="376407" y="157482"/>
                      </a:lnTo>
                      <a:lnTo>
                        <a:pt x="375217" y="157506"/>
                      </a:lnTo>
                      <a:lnTo>
                        <a:pt x="360330" y="153742"/>
                      </a:lnTo>
                      <a:lnTo>
                        <a:pt x="357755" y="151155"/>
                      </a:lnTo>
                      <a:lnTo>
                        <a:pt x="357719" y="146662"/>
                      </a:lnTo>
                      <a:lnTo>
                        <a:pt x="357051" y="140008"/>
                      </a:lnTo>
                      <a:lnTo>
                        <a:pt x="356687" y="136365"/>
                      </a:lnTo>
                      <a:lnTo>
                        <a:pt x="353287" y="134993"/>
                      </a:lnTo>
                      <a:lnTo>
                        <a:pt x="345940" y="132030"/>
                      </a:lnTo>
                      <a:lnTo>
                        <a:pt x="344568" y="131472"/>
                      </a:lnTo>
                      <a:lnTo>
                        <a:pt x="343087" y="131617"/>
                      </a:lnTo>
                      <a:lnTo>
                        <a:pt x="338837" y="132042"/>
                      </a:lnTo>
                      <a:lnTo>
                        <a:pt x="338035" y="132115"/>
                      </a:lnTo>
                      <a:lnTo>
                        <a:pt x="337282" y="132407"/>
                      </a:lnTo>
                      <a:lnTo>
                        <a:pt x="330203" y="135102"/>
                      </a:lnTo>
                      <a:lnTo>
                        <a:pt x="330434" y="132273"/>
                      </a:lnTo>
                      <a:lnTo>
                        <a:pt x="326718" y="130464"/>
                      </a:lnTo>
                      <a:lnTo>
                        <a:pt x="323488" y="128885"/>
                      </a:lnTo>
                      <a:lnTo>
                        <a:pt x="322614" y="128460"/>
                      </a:lnTo>
                      <a:lnTo>
                        <a:pt x="321654" y="128327"/>
                      </a:lnTo>
                      <a:lnTo>
                        <a:pt x="319639" y="128047"/>
                      </a:lnTo>
                      <a:lnTo>
                        <a:pt x="318291" y="127683"/>
                      </a:lnTo>
                      <a:lnTo>
                        <a:pt x="316469" y="126785"/>
                      </a:lnTo>
                      <a:lnTo>
                        <a:pt x="315972" y="125619"/>
                      </a:lnTo>
                      <a:lnTo>
                        <a:pt x="315000" y="121842"/>
                      </a:lnTo>
                      <a:lnTo>
                        <a:pt x="314733" y="120786"/>
                      </a:lnTo>
                      <a:lnTo>
                        <a:pt x="314101" y="119887"/>
                      </a:lnTo>
                      <a:lnTo>
                        <a:pt x="311418" y="116050"/>
                      </a:lnTo>
                      <a:lnTo>
                        <a:pt x="310604" y="114884"/>
                      </a:lnTo>
                      <a:lnTo>
                        <a:pt x="309353" y="114204"/>
                      </a:lnTo>
                      <a:lnTo>
                        <a:pt x="305103" y="111873"/>
                      </a:lnTo>
                      <a:lnTo>
                        <a:pt x="304606" y="111606"/>
                      </a:lnTo>
                      <a:lnTo>
                        <a:pt x="304059" y="111424"/>
                      </a:lnTo>
                      <a:lnTo>
                        <a:pt x="295353" y="108606"/>
                      </a:lnTo>
                      <a:lnTo>
                        <a:pt x="292742" y="107101"/>
                      </a:lnTo>
                      <a:lnTo>
                        <a:pt x="291600" y="105255"/>
                      </a:lnTo>
                      <a:lnTo>
                        <a:pt x="290253" y="103045"/>
                      </a:lnTo>
                      <a:lnTo>
                        <a:pt x="287715" y="102499"/>
                      </a:lnTo>
                      <a:lnTo>
                        <a:pt x="284800" y="101867"/>
                      </a:lnTo>
                      <a:lnTo>
                        <a:pt x="283137" y="101515"/>
                      </a:lnTo>
                      <a:lnTo>
                        <a:pt x="281546" y="102061"/>
                      </a:lnTo>
                      <a:lnTo>
                        <a:pt x="278438" y="103130"/>
                      </a:lnTo>
                      <a:lnTo>
                        <a:pt x="277539" y="103434"/>
                      </a:lnTo>
                      <a:lnTo>
                        <a:pt x="276786" y="103992"/>
                      </a:lnTo>
                      <a:lnTo>
                        <a:pt x="276021" y="104575"/>
                      </a:lnTo>
                      <a:lnTo>
                        <a:pt x="256022" y="99305"/>
                      </a:lnTo>
                      <a:lnTo>
                        <a:pt x="255997" y="99184"/>
                      </a:lnTo>
                      <a:lnTo>
                        <a:pt x="256835" y="96840"/>
                      </a:lnTo>
                      <a:lnTo>
                        <a:pt x="259252" y="92699"/>
                      </a:lnTo>
                      <a:lnTo>
                        <a:pt x="259446" y="92371"/>
                      </a:lnTo>
                      <a:lnTo>
                        <a:pt x="259604" y="92019"/>
                      </a:lnTo>
                      <a:lnTo>
                        <a:pt x="261449" y="87648"/>
                      </a:lnTo>
                      <a:lnTo>
                        <a:pt x="261777" y="86883"/>
                      </a:lnTo>
                      <a:lnTo>
                        <a:pt x="261887" y="86057"/>
                      </a:lnTo>
                      <a:lnTo>
                        <a:pt x="262919" y="78018"/>
                      </a:lnTo>
                      <a:lnTo>
                        <a:pt x="262980" y="77484"/>
                      </a:lnTo>
                      <a:lnTo>
                        <a:pt x="262956" y="76938"/>
                      </a:lnTo>
                      <a:lnTo>
                        <a:pt x="262555" y="69215"/>
                      </a:lnTo>
                      <a:lnTo>
                        <a:pt x="262530" y="68668"/>
                      </a:lnTo>
                      <a:lnTo>
                        <a:pt x="262409" y="68146"/>
                      </a:lnTo>
                      <a:lnTo>
                        <a:pt x="260624" y="60593"/>
                      </a:lnTo>
                      <a:lnTo>
                        <a:pt x="260502" y="60108"/>
                      </a:lnTo>
                      <a:lnTo>
                        <a:pt x="260308" y="59646"/>
                      </a:lnTo>
                      <a:lnTo>
                        <a:pt x="257260" y="52324"/>
                      </a:lnTo>
                      <a:lnTo>
                        <a:pt x="257005" y="51705"/>
                      </a:lnTo>
                      <a:lnTo>
                        <a:pt x="256617" y="51158"/>
                      </a:lnTo>
                      <a:lnTo>
                        <a:pt x="251845" y="44395"/>
                      </a:lnTo>
                      <a:lnTo>
                        <a:pt x="251201" y="43484"/>
                      </a:lnTo>
                      <a:lnTo>
                        <a:pt x="250278" y="42853"/>
                      </a:lnTo>
                      <a:lnTo>
                        <a:pt x="244717" y="39113"/>
                      </a:lnTo>
                      <a:lnTo>
                        <a:pt x="243648" y="38396"/>
                      </a:lnTo>
                      <a:lnTo>
                        <a:pt x="242385" y="38178"/>
                      </a:lnTo>
                      <a:lnTo>
                        <a:pt x="189612" y="28839"/>
                      </a:lnTo>
                      <a:lnTo>
                        <a:pt x="187524" y="27552"/>
                      </a:lnTo>
                      <a:lnTo>
                        <a:pt x="184998" y="24140"/>
                      </a:lnTo>
                      <a:lnTo>
                        <a:pt x="183431" y="20874"/>
                      </a:lnTo>
                      <a:lnTo>
                        <a:pt x="182776" y="19514"/>
                      </a:lnTo>
                      <a:lnTo>
                        <a:pt x="181561" y="18615"/>
                      </a:lnTo>
                      <a:lnTo>
                        <a:pt x="179036" y="16745"/>
                      </a:lnTo>
                      <a:lnTo>
                        <a:pt x="177008" y="15239"/>
                      </a:lnTo>
                      <a:lnTo>
                        <a:pt x="174518" y="15616"/>
                      </a:lnTo>
                      <a:lnTo>
                        <a:pt x="172065" y="15992"/>
                      </a:lnTo>
                      <a:lnTo>
                        <a:pt x="171556" y="14754"/>
                      </a:lnTo>
                      <a:lnTo>
                        <a:pt x="171143" y="13746"/>
                      </a:lnTo>
                      <a:lnTo>
                        <a:pt x="170390" y="12944"/>
                      </a:lnTo>
                      <a:lnTo>
                        <a:pt x="168665" y="11087"/>
                      </a:lnTo>
                      <a:lnTo>
                        <a:pt x="167694" y="10042"/>
                      </a:lnTo>
                      <a:lnTo>
                        <a:pt x="166370" y="9532"/>
                      </a:lnTo>
                      <a:lnTo>
                        <a:pt x="162290" y="7978"/>
                      </a:lnTo>
                      <a:lnTo>
                        <a:pt x="161465" y="7492"/>
                      </a:lnTo>
                      <a:lnTo>
                        <a:pt x="160991" y="5489"/>
                      </a:lnTo>
                      <a:lnTo>
                        <a:pt x="160129" y="1749"/>
                      </a:lnTo>
                      <a:lnTo>
                        <a:pt x="156377" y="935"/>
                      </a:lnTo>
                      <a:lnTo>
                        <a:pt x="153098" y="219"/>
                      </a:lnTo>
                      <a:lnTo>
                        <a:pt x="151240" y="0"/>
                      </a:lnTo>
                      <a:lnTo>
                        <a:pt x="151240" y="0"/>
                      </a:lnTo>
                      <a:close/>
                    </a:path>
                  </a:pathLst>
                </a:custGeom>
                <a:solidFill>
                  <a:srgbClr val="FFFFFF"/>
                </a:solidFill>
                <a:ln w="12138" cap="flat">
                  <a:noFill/>
                  <a:prstDash val="solid"/>
                  <a:miter/>
                </a:ln>
              </p:spPr>
              <p:txBody>
                <a:bodyPr rtlCol="0" anchor="ctr"/>
                <a:lstStyle/>
                <a:p>
                  <a:endParaRPr lang="en-US"/>
                </a:p>
              </p:txBody>
            </p:sp>
          </p:grpSp>
          <p:grpSp>
            <p:nvGrpSpPr>
              <p:cNvPr id="252" name="Graphic 280">
                <a:extLst>
                  <a:ext uri="{FF2B5EF4-FFF2-40B4-BE49-F238E27FC236}">
                    <a16:creationId xmlns:a16="http://schemas.microsoft.com/office/drawing/2014/main" id="{6C781BE0-FF7C-46DD-B1C1-93F9F8BD268D}"/>
                  </a:ext>
                </a:extLst>
              </p:cNvPr>
              <p:cNvGrpSpPr/>
              <p:nvPr/>
            </p:nvGrpSpPr>
            <p:grpSpPr>
              <a:xfrm>
                <a:off x="6200344" y="3082103"/>
                <a:ext cx="871061" cy="674880"/>
                <a:chOff x="6200344" y="3082103"/>
                <a:chExt cx="871061" cy="674880"/>
              </a:xfrm>
            </p:grpSpPr>
            <p:sp>
              <p:nvSpPr>
                <p:cNvPr id="334" name="Freeform: Shape 333">
                  <a:extLst>
                    <a:ext uri="{FF2B5EF4-FFF2-40B4-BE49-F238E27FC236}">
                      <a16:creationId xmlns:a16="http://schemas.microsoft.com/office/drawing/2014/main" id="{97D54532-7BCB-46B4-A272-D3F1166B47E8}"/>
                    </a:ext>
                  </a:extLst>
                </p:cNvPr>
                <p:cNvSpPr/>
                <p:nvPr/>
              </p:nvSpPr>
              <p:spPr>
                <a:xfrm>
                  <a:off x="6204351" y="3085430"/>
                  <a:ext cx="863435" cy="668383"/>
                </a:xfrm>
                <a:custGeom>
                  <a:avLst/>
                  <a:gdLst>
                    <a:gd name="connsiteX0" fmla="*/ 460618 w 863435"/>
                    <a:gd name="connsiteY0" fmla="*/ 662239 h 668383"/>
                    <a:gd name="connsiteX1" fmla="*/ 459477 w 863435"/>
                    <a:gd name="connsiteY1" fmla="*/ 659119 h 668383"/>
                    <a:gd name="connsiteX2" fmla="*/ 458760 w 863435"/>
                    <a:gd name="connsiteY2" fmla="*/ 655136 h 668383"/>
                    <a:gd name="connsiteX3" fmla="*/ 458954 w 863435"/>
                    <a:gd name="connsiteY3" fmla="*/ 651651 h 668383"/>
                    <a:gd name="connsiteX4" fmla="*/ 458870 w 863435"/>
                    <a:gd name="connsiteY4" fmla="*/ 649999 h 668383"/>
                    <a:gd name="connsiteX5" fmla="*/ 459015 w 863435"/>
                    <a:gd name="connsiteY5" fmla="*/ 648044 h 668383"/>
                    <a:gd name="connsiteX6" fmla="*/ 459853 w 863435"/>
                    <a:gd name="connsiteY6" fmla="*/ 645591 h 668383"/>
                    <a:gd name="connsiteX7" fmla="*/ 462925 w 863435"/>
                    <a:gd name="connsiteY7" fmla="*/ 641511 h 668383"/>
                    <a:gd name="connsiteX8" fmla="*/ 463144 w 863435"/>
                    <a:gd name="connsiteY8" fmla="*/ 640771 h 668383"/>
                    <a:gd name="connsiteX9" fmla="*/ 461346 w 863435"/>
                    <a:gd name="connsiteY9" fmla="*/ 642034 h 668383"/>
                    <a:gd name="connsiteX10" fmla="*/ 459744 w 863435"/>
                    <a:gd name="connsiteY10" fmla="*/ 643564 h 668383"/>
                    <a:gd name="connsiteX11" fmla="*/ 457594 w 863435"/>
                    <a:gd name="connsiteY11" fmla="*/ 645057 h 668383"/>
                    <a:gd name="connsiteX12" fmla="*/ 454790 w 863435"/>
                    <a:gd name="connsiteY12" fmla="*/ 646308 h 668383"/>
                    <a:gd name="connsiteX13" fmla="*/ 451280 w 863435"/>
                    <a:gd name="connsiteY13" fmla="*/ 647279 h 668383"/>
                    <a:gd name="connsiteX14" fmla="*/ 449337 w 863435"/>
                    <a:gd name="connsiteY14" fmla="*/ 648057 h 668383"/>
                    <a:gd name="connsiteX15" fmla="*/ 445451 w 863435"/>
                    <a:gd name="connsiteY15" fmla="*/ 650169 h 668383"/>
                    <a:gd name="connsiteX16" fmla="*/ 442975 w 863435"/>
                    <a:gd name="connsiteY16" fmla="*/ 650655 h 668383"/>
                    <a:gd name="connsiteX17" fmla="*/ 437777 w 863435"/>
                    <a:gd name="connsiteY17" fmla="*/ 648591 h 668383"/>
                    <a:gd name="connsiteX18" fmla="*/ 429727 w 863435"/>
                    <a:gd name="connsiteY18" fmla="*/ 647279 h 668383"/>
                    <a:gd name="connsiteX19" fmla="*/ 418348 w 863435"/>
                    <a:gd name="connsiteY19" fmla="*/ 644171 h 668383"/>
                    <a:gd name="connsiteX20" fmla="*/ 400839 w 863435"/>
                    <a:gd name="connsiteY20" fmla="*/ 633934 h 668383"/>
                    <a:gd name="connsiteX21" fmla="*/ 398980 w 863435"/>
                    <a:gd name="connsiteY21" fmla="*/ 633303 h 668383"/>
                    <a:gd name="connsiteX22" fmla="*/ 397329 w 863435"/>
                    <a:gd name="connsiteY22" fmla="*/ 633109 h 668383"/>
                    <a:gd name="connsiteX23" fmla="*/ 395580 w 863435"/>
                    <a:gd name="connsiteY23" fmla="*/ 633084 h 668383"/>
                    <a:gd name="connsiteX24" fmla="*/ 393298 w 863435"/>
                    <a:gd name="connsiteY24" fmla="*/ 633521 h 668383"/>
                    <a:gd name="connsiteX25" fmla="*/ 391160 w 863435"/>
                    <a:gd name="connsiteY25" fmla="*/ 634262 h 668383"/>
                    <a:gd name="connsiteX26" fmla="*/ 388635 w 863435"/>
                    <a:gd name="connsiteY26" fmla="*/ 636035 h 668383"/>
                    <a:gd name="connsiteX27" fmla="*/ 379722 w 863435"/>
                    <a:gd name="connsiteY27" fmla="*/ 639241 h 668383"/>
                    <a:gd name="connsiteX28" fmla="*/ 378119 w 863435"/>
                    <a:gd name="connsiteY28" fmla="*/ 640164 h 668383"/>
                    <a:gd name="connsiteX29" fmla="*/ 370068 w 863435"/>
                    <a:gd name="connsiteY29" fmla="*/ 647862 h 668383"/>
                    <a:gd name="connsiteX30" fmla="*/ 361714 w 863435"/>
                    <a:gd name="connsiteY30" fmla="*/ 657479 h 668383"/>
                    <a:gd name="connsiteX31" fmla="*/ 359516 w 863435"/>
                    <a:gd name="connsiteY31" fmla="*/ 659228 h 668383"/>
                    <a:gd name="connsiteX32" fmla="*/ 357015 w 863435"/>
                    <a:gd name="connsiteY32" fmla="*/ 659884 h 668383"/>
                    <a:gd name="connsiteX33" fmla="*/ 355606 w 863435"/>
                    <a:gd name="connsiteY33" fmla="*/ 659337 h 668383"/>
                    <a:gd name="connsiteX34" fmla="*/ 354246 w 863435"/>
                    <a:gd name="connsiteY34" fmla="*/ 658645 h 668383"/>
                    <a:gd name="connsiteX35" fmla="*/ 352922 w 863435"/>
                    <a:gd name="connsiteY35" fmla="*/ 657516 h 668383"/>
                    <a:gd name="connsiteX36" fmla="*/ 348684 w 863435"/>
                    <a:gd name="connsiteY36" fmla="*/ 652683 h 668383"/>
                    <a:gd name="connsiteX37" fmla="*/ 334672 w 863435"/>
                    <a:gd name="connsiteY37" fmla="*/ 643612 h 668383"/>
                    <a:gd name="connsiteX38" fmla="*/ 332984 w 863435"/>
                    <a:gd name="connsiteY38" fmla="*/ 642859 h 668383"/>
                    <a:gd name="connsiteX39" fmla="*/ 329851 w 863435"/>
                    <a:gd name="connsiteY39" fmla="*/ 641924 h 668383"/>
                    <a:gd name="connsiteX40" fmla="*/ 327106 w 863435"/>
                    <a:gd name="connsiteY40" fmla="*/ 641584 h 668383"/>
                    <a:gd name="connsiteX41" fmla="*/ 325394 w 863435"/>
                    <a:gd name="connsiteY41" fmla="*/ 641669 h 668383"/>
                    <a:gd name="connsiteX42" fmla="*/ 324386 w 863435"/>
                    <a:gd name="connsiteY42" fmla="*/ 641876 h 668383"/>
                    <a:gd name="connsiteX43" fmla="*/ 317514 w 863435"/>
                    <a:gd name="connsiteY43" fmla="*/ 644402 h 668383"/>
                    <a:gd name="connsiteX44" fmla="*/ 313713 w 863435"/>
                    <a:gd name="connsiteY44" fmla="*/ 645154 h 668383"/>
                    <a:gd name="connsiteX45" fmla="*/ 311466 w 863435"/>
                    <a:gd name="connsiteY45" fmla="*/ 643904 h 668383"/>
                    <a:gd name="connsiteX46" fmla="*/ 310325 w 863435"/>
                    <a:gd name="connsiteY46" fmla="*/ 641936 h 668383"/>
                    <a:gd name="connsiteX47" fmla="*/ 309997 w 863435"/>
                    <a:gd name="connsiteY47" fmla="*/ 639824 h 668383"/>
                    <a:gd name="connsiteX48" fmla="*/ 311709 w 863435"/>
                    <a:gd name="connsiteY48" fmla="*/ 636047 h 668383"/>
                    <a:gd name="connsiteX49" fmla="*/ 313361 w 863435"/>
                    <a:gd name="connsiteY49" fmla="*/ 633740 h 668383"/>
                    <a:gd name="connsiteX50" fmla="*/ 314976 w 863435"/>
                    <a:gd name="connsiteY50" fmla="*/ 631044 h 668383"/>
                    <a:gd name="connsiteX51" fmla="*/ 320610 w 863435"/>
                    <a:gd name="connsiteY51" fmla="*/ 618586 h 668383"/>
                    <a:gd name="connsiteX52" fmla="*/ 329839 w 863435"/>
                    <a:gd name="connsiteY52" fmla="*/ 605532 h 668383"/>
                    <a:gd name="connsiteX53" fmla="*/ 330786 w 863435"/>
                    <a:gd name="connsiteY53" fmla="*/ 603832 h 668383"/>
                    <a:gd name="connsiteX54" fmla="*/ 331587 w 863435"/>
                    <a:gd name="connsiteY54" fmla="*/ 601428 h 668383"/>
                    <a:gd name="connsiteX55" fmla="*/ 332583 w 863435"/>
                    <a:gd name="connsiteY55" fmla="*/ 596668 h 668383"/>
                    <a:gd name="connsiteX56" fmla="*/ 332510 w 863435"/>
                    <a:gd name="connsiteY56" fmla="*/ 592041 h 668383"/>
                    <a:gd name="connsiteX57" fmla="*/ 331733 w 863435"/>
                    <a:gd name="connsiteY57" fmla="*/ 585205 h 668383"/>
                    <a:gd name="connsiteX58" fmla="*/ 329353 w 863435"/>
                    <a:gd name="connsiteY58" fmla="*/ 575162 h 668383"/>
                    <a:gd name="connsiteX59" fmla="*/ 326803 w 863435"/>
                    <a:gd name="connsiteY59" fmla="*/ 568314 h 668383"/>
                    <a:gd name="connsiteX60" fmla="*/ 324981 w 863435"/>
                    <a:gd name="connsiteY60" fmla="*/ 569771 h 668383"/>
                    <a:gd name="connsiteX61" fmla="*/ 315097 w 863435"/>
                    <a:gd name="connsiteY61" fmla="*/ 576061 h 668383"/>
                    <a:gd name="connsiteX62" fmla="*/ 314028 w 863435"/>
                    <a:gd name="connsiteY62" fmla="*/ 576535 h 668383"/>
                    <a:gd name="connsiteX63" fmla="*/ 307289 w 863435"/>
                    <a:gd name="connsiteY63" fmla="*/ 577348 h 668383"/>
                    <a:gd name="connsiteX64" fmla="*/ 306123 w 863435"/>
                    <a:gd name="connsiteY64" fmla="*/ 577676 h 668383"/>
                    <a:gd name="connsiteX65" fmla="*/ 305941 w 863435"/>
                    <a:gd name="connsiteY65" fmla="*/ 578052 h 668383"/>
                    <a:gd name="connsiteX66" fmla="*/ 302845 w 863435"/>
                    <a:gd name="connsiteY66" fmla="*/ 581355 h 668383"/>
                    <a:gd name="connsiteX67" fmla="*/ 300610 w 863435"/>
                    <a:gd name="connsiteY67" fmla="*/ 582096 h 668383"/>
                    <a:gd name="connsiteX68" fmla="*/ 298291 w 863435"/>
                    <a:gd name="connsiteY68" fmla="*/ 582436 h 668383"/>
                    <a:gd name="connsiteX69" fmla="*/ 291928 w 863435"/>
                    <a:gd name="connsiteY69" fmla="*/ 579777 h 668383"/>
                    <a:gd name="connsiteX70" fmla="*/ 280951 w 863435"/>
                    <a:gd name="connsiteY70" fmla="*/ 577142 h 668383"/>
                    <a:gd name="connsiteX71" fmla="*/ 278134 w 863435"/>
                    <a:gd name="connsiteY71" fmla="*/ 576790 h 668383"/>
                    <a:gd name="connsiteX72" fmla="*/ 274588 w 863435"/>
                    <a:gd name="connsiteY72" fmla="*/ 577142 h 668383"/>
                    <a:gd name="connsiteX73" fmla="*/ 273471 w 863435"/>
                    <a:gd name="connsiteY73" fmla="*/ 577579 h 668383"/>
                    <a:gd name="connsiteX74" fmla="*/ 272985 w 863435"/>
                    <a:gd name="connsiteY74" fmla="*/ 578089 h 668383"/>
                    <a:gd name="connsiteX75" fmla="*/ 272864 w 863435"/>
                    <a:gd name="connsiteY75" fmla="*/ 578502 h 668383"/>
                    <a:gd name="connsiteX76" fmla="*/ 272463 w 863435"/>
                    <a:gd name="connsiteY76" fmla="*/ 579048 h 668383"/>
                    <a:gd name="connsiteX77" fmla="*/ 270107 w 863435"/>
                    <a:gd name="connsiteY77" fmla="*/ 580287 h 668383"/>
                    <a:gd name="connsiteX78" fmla="*/ 266683 w 863435"/>
                    <a:gd name="connsiteY78" fmla="*/ 581234 h 668383"/>
                    <a:gd name="connsiteX79" fmla="*/ 227826 w 863435"/>
                    <a:gd name="connsiteY79" fmla="*/ 582157 h 668383"/>
                    <a:gd name="connsiteX80" fmla="*/ 226004 w 863435"/>
                    <a:gd name="connsiteY80" fmla="*/ 582400 h 668383"/>
                    <a:gd name="connsiteX81" fmla="*/ 225810 w 863435"/>
                    <a:gd name="connsiteY81" fmla="*/ 582837 h 668383"/>
                    <a:gd name="connsiteX82" fmla="*/ 225968 w 863435"/>
                    <a:gd name="connsiteY82" fmla="*/ 583359 h 668383"/>
                    <a:gd name="connsiteX83" fmla="*/ 226077 w 863435"/>
                    <a:gd name="connsiteY83" fmla="*/ 584962 h 668383"/>
                    <a:gd name="connsiteX84" fmla="*/ 225834 w 863435"/>
                    <a:gd name="connsiteY84" fmla="*/ 587099 h 668383"/>
                    <a:gd name="connsiteX85" fmla="*/ 225021 w 863435"/>
                    <a:gd name="connsiteY85" fmla="*/ 589746 h 668383"/>
                    <a:gd name="connsiteX86" fmla="*/ 223964 w 863435"/>
                    <a:gd name="connsiteY86" fmla="*/ 591046 h 668383"/>
                    <a:gd name="connsiteX87" fmla="*/ 222507 w 863435"/>
                    <a:gd name="connsiteY87" fmla="*/ 592466 h 668383"/>
                    <a:gd name="connsiteX88" fmla="*/ 220916 w 863435"/>
                    <a:gd name="connsiteY88" fmla="*/ 593608 h 668383"/>
                    <a:gd name="connsiteX89" fmla="*/ 208652 w 863435"/>
                    <a:gd name="connsiteY89" fmla="*/ 599958 h 668383"/>
                    <a:gd name="connsiteX90" fmla="*/ 205446 w 863435"/>
                    <a:gd name="connsiteY90" fmla="*/ 600687 h 668383"/>
                    <a:gd name="connsiteX91" fmla="*/ 186807 w 863435"/>
                    <a:gd name="connsiteY91" fmla="*/ 601683 h 668383"/>
                    <a:gd name="connsiteX92" fmla="*/ 182533 w 863435"/>
                    <a:gd name="connsiteY92" fmla="*/ 600760 h 668383"/>
                    <a:gd name="connsiteX93" fmla="*/ 170317 w 863435"/>
                    <a:gd name="connsiteY93" fmla="*/ 594786 h 668383"/>
                    <a:gd name="connsiteX94" fmla="*/ 168398 w 863435"/>
                    <a:gd name="connsiteY94" fmla="*/ 594385 h 668383"/>
                    <a:gd name="connsiteX95" fmla="*/ 165168 w 863435"/>
                    <a:gd name="connsiteY95" fmla="*/ 594615 h 668383"/>
                    <a:gd name="connsiteX96" fmla="*/ 163395 w 863435"/>
                    <a:gd name="connsiteY96" fmla="*/ 594458 h 668383"/>
                    <a:gd name="connsiteX97" fmla="*/ 160736 w 863435"/>
                    <a:gd name="connsiteY97" fmla="*/ 593523 h 668383"/>
                    <a:gd name="connsiteX98" fmla="*/ 154215 w 863435"/>
                    <a:gd name="connsiteY98" fmla="*/ 588690 h 668383"/>
                    <a:gd name="connsiteX99" fmla="*/ 151568 w 863435"/>
                    <a:gd name="connsiteY99" fmla="*/ 585265 h 668383"/>
                    <a:gd name="connsiteX100" fmla="*/ 150172 w 863435"/>
                    <a:gd name="connsiteY100" fmla="*/ 582740 h 668383"/>
                    <a:gd name="connsiteX101" fmla="*/ 148848 w 863435"/>
                    <a:gd name="connsiteY101" fmla="*/ 579558 h 668383"/>
                    <a:gd name="connsiteX102" fmla="*/ 138454 w 863435"/>
                    <a:gd name="connsiteY102" fmla="*/ 565849 h 668383"/>
                    <a:gd name="connsiteX103" fmla="*/ 133451 w 863435"/>
                    <a:gd name="connsiteY103" fmla="*/ 562910 h 668383"/>
                    <a:gd name="connsiteX104" fmla="*/ 128412 w 863435"/>
                    <a:gd name="connsiteY104" fmla="*/ 560470 h 668383"/>
                    <a:gd name="connsiteX105" fmla="*/ 118576 w 863435"/>
                    <a:gd name="connsiteY105" fmla="*/ 558369 h 668383"/>
                    <a:gd name="connsiteX106" fmla="*/ 121065 w 863435"/>
                    <a:gd name="connsiteY106" fmla="*/ 552212 h 668383"/>
                    <a:gd name="connsiteX107" fmla="*/ 122194 w 863435"/>
                    <a:gd name="connsiteY107" fmla="*/ 548472 h 668383"/>
                    <a:gd name="connsiteX108" fmla="*/ 122704 w 863435"/>
                    <a:gd name="connsiteY108" fmla="*/ 547112 h 668383"/>
                    <a:gd name="connsiteX109" fmla="*/ 123712 w 863435"/>
                    <a:gd name="connsiteY109" fmla="*/ 545291 h 668383"/>
                    <a:gd name="connsiteX110" fmla="*/ 124429 w 863435"/>
                    <a:gd name="connsiteY110" fmla="*/ 544380 h 668383"/>
                    <a:gd name="connsiteX111" fmla="*/ 126359 w 863435"/>
                    <a:gd name="connsiteY111" fmla="*/ 542911 h 668383"/>
                    <a:gd name="connsiteX112" fmla="*/ 129577 w 863435"/>
                    <a:gd name="connsiteY112" fmla="*/ 541442 h 668383"/>
                    <a:gd name="connsiteX113" fmla="*/ 130342 w 863435"/>
                    <a:gd name="connsiteY113" fmla="*/ 540919 h 668383"/>
                    <a:gd name="connsiteX114" fmla="*/ 131387 w 863435"/>
                    <a:gd name="connsiteY114" fmla="*/ 540045 h 668383"/>
                    <a:gd name="connsiteX115" fmla="*/ 134180 w 863435"/>
                    <a:gd name="connsiteY115" fmla="*/ 536609 h 668383"/>
                    <a:gd name="connsiteX116" fmla="*/ 137397 w 863435"/>
                    <a:gd name="connsiteY116" fmla="*/ 533779 h 668383"/>
                    <a:gd name="connsiteX117" fmla="*/ 138976 w 863435"/>
                    <a:gd name="connsiteY117" fmla="*/ 533245 h 668383"/>
                    <a:gd name="connsiteX118" fmla="*/ 145703 w 863435"/>
                    <a:gd name="connsiteY118" fmla="*/ 533306 h 668383"/>
                    <a:gd name="connsiteX119" fmla="*/ 147354 w 863435"/>
                    <a:gd name="connsiteY119" fmla="*/ 533075 h 668383"/>
                    <a:gd name="connsiteX120" fmla="*/ 148168 w 863435"/>
                    <a:gd name="connsiteY120" fmla="*/ 532687 h 668383"/>
                    <a:gd name="connsiteX121" fmla="*/ 149140 w 863435"/>
                    <a:gd name="connsiteY121" fmla="*/ 532091 h 668383"/>
                    <a:gd name="connsiteX122" fmla="*/ 152297 w 863435"/>
                    <a:gd name="connsiteY122" fmla="*/ 528837 h 668383"/>
                    <a:gd name="connsiteX123" fmla="*/ 162424 w 863435"/>
                    <a:gd name="connsiteY123" fmla="*/ 521819 h 668383"/>
                    <a:gd name="connsiteX124" fmla="*/ 163092 w 863435"/>
                    <a:gd name="connsiteY124" fmla="*/ 520968 h 668383"/>
                    <a:gd name="connsiteX125" fmla="*/ 163699 w 863435"/>
                    <a:gd name="connsiteY125" fmla="*/ 519791 h 668383"/>
                    <a:gd name="connsiteX126" fmla="*/ 166443 w 863435"/>
                    <a:gd name="connsiteY126" fmla="*/ 510465 h 668383"/>
                    <a:gd name="connsiteX127" fmla="*/ 167415 w 863435"/>
                    <a:gd name="connsiteY127" fmla="*/ 508291 h 668383"/>
                    <a:gd name="connsiteX128" fmla="*/ 168617 w 863435"/>
                    <a:gd name="connsiteY128" fmla="*/ 506421 h 668383"/>
                    <a:gd name="connsiteX129" fmla="*/ 170317 w 863435"/>
                    <a:gd name="connsiteY129" fmla="*/ 504636 h 668383"/>
                    <a:gd name="connsiteX130" fmla="*/ 172357 w 863435"/>
                    <a:gd name="connsiteY130" fmla="*/ 503349 h 668383"/>
                    <a:gd name="connsiteX131" fmla="*/ 176170 w 863435"/>
                    <a:gd name="connsiteY131" fmla="*/ 501977 h 668383"/>
                    <a:gd name="connsiteX132" fmla="*/ 176388 w 863435"/>
                    <a:gd name="connsiteY132" fmla="*/ 501491 h 668383"/>
                    <a:gd name="connsiteX133" fmla="*/ 178040 w 863435"/>
                    <a:gd name="connsiteY133" fmla="*/ 499403 h 668383"/>
                    <a:gd name="connsiteX134" fmla="*/ 179849 w 863435"/>
                    <a:gd name="connsiteY134" fmla="*/ 497800 h 668383"/>
                    <a:gd name="connsiteX135" fmla="*/ 187402 w 863435"/>
                    <a:gd name="connsiteY135" fmla="*/ 492433 h 668383"/>
                    <a:gd name="connsiteX136" fmla="*/ 189381 w 863435"/>
                    <a:gd name="connsiteY136" fmla="*/ 490393 h 668383"/>
                    <a:gd name="connsiteX137" fmla="*/ 190875 w 863435"/>
                    <a:gd name="connsiteY137" fmla="*/ 488340 h 668383"/>
                    <a:gd name="connsiteX138" fmla="*/ 191652 w 863435"/>
                    <a:gd name="connsiteY138" fmla="*/ 486555 h 668383"/>
                    <a:gd name="connsiteX139" fmla="*/ 191616 w 863435"/>
                    <a:gd name="connsiteY139" fmla="*/ 485353 h 668383"/>
                    <a:gd name="connsiteX140" fmla="*/ 191178 w 863435"/>
                    <a:gd name="connsiteY140" fmla="*/ 483908 h 668383"/>
                    <a:gd name="connsiteX141" fmla="*/ 190425 w 863435"/>
                    <a:gd name="connsiteY141" fmla="*/ 482111 h 668383"/>
                    <a:gd name="connsiteX142" fmla="*/ 188738 w 863435"/>
                    <a:gd name="connsiteY142" fmla="*/ 478699 h 668383"/>
                    <a:gd name="connsiteX143" fmla="*/ 187863 w 863435"/>
                    <a:gd name="connsiteY143" fmla="*/ 475918 h 668383"/>
                    <a:gd name="connsiteX144" fmla="*/ 187414 w 863435"/>
                    <a:gd name="connsiteY144" fmla="*/ 471340 h 668383"/>
                    <a:gd name="connsiteX145" fmla="*/ 186940 w 863435"/>
                    <a:gd name="connsiteY145" fmla="*/ 470915 h 668383"/>
                    <a:gd name="connsiteX146" fmla="*/ 186042 w 863435"/>
                    <a:gd name="connsiteY146" fmla="*/ 470381 h 668383"/>
                    <a:gd name="connsiteX147" fmla="*/ 181743 w 863435"/>
                    <a:gd name="connsiteY147" fmla="*/ 468511 h 668383"/>
                    <a:gd name="connsiteX148" fmla="*/ 180323 w 863435"/>
                    <a:gd name="connsiteY148" fmla="*/ 468086 h 668383"/>
                    <a:gd name="connsiteX149" fmla="*/ 177688 w 863435"/>
                    <a:gd name="connsiteY149" fmla="*/ 468001 h 668383"/>
                    <a:gd name="connsiteX150" fmla="*/ 176024 w 863435"/>
                    <a:gd name="connsiteY150" fmla="*/ 468183 h 668383"/>
                    <a:gd name="connsiteX151" fmla="*/ 175368 w 863435"/>
                    <a:gd name="connsiteY151" fmla="*/ 468657 h 668383"/>
                    <a:gd name="connsiteX152" fmla="*/ 173571 w 863435"/>
                    <a:gd name="connsiteY152" fmla="*/ 469300 h 668383"/>
                    <a:gd name="connsiteX153" fmla="*/ 170803 w 863435"/>
                    <a:gd name="connsiteY153" fmla="*/ 469470 h 668383"/>
                    <a:gd name="connsiteX154" fmla="*/ 168629 w 863435"/>
                    <a:gd name="connsiteY154" fmla="*/ 469179 h 668383"/>
                    <a:gd name="connsiteX155" fmla="*/ 165010 w 863435"/>
                    <a:gd name="connsiteY155" fmla="*/ 468098 h 668383"/>
                    <a:gd name="connsiteX156" fmla="*/ 163335 w 863435"/>
                    <a:gd name="connsiteY156" fmla="*/ 467321 h 668383"/>
                    <a:gd name="connsiteX157" fmla="*/ 159388 w 863435"/>
                    <a:gd name="connsiteY157" fmla="*/ 464868 h 668383"/>
                    <a:gd name="connsiteX158" fmla="*/ 159388 w 863435"/>
                    <a:gd name="connsiteY158" fmla="*/ 465487 h 668383"/>
                    <a:gd name="connsiteX159" fmla="*/ 159072 w 863435"/>
                    <a:gd name="connsiteY159" fmla="*/ 466872 h 668383"/>
                    <a:gd name="connsiteX160" fmla="*/ 158562 w 863435"/>
                    <a:gd name="connsiteY160" fmla="*/ 467455 h 668383"/>
                    <a:gd name="connsiteX161" fmla="*/ 156644 w 863435"/>
                    <a:gd name="connsiteY161" fmla="*/ 469397 h 668383"/>
                    <a:gd name="connsiteX162" fmla="*/ 155490 w 863435"/>
                    <a:gd name="connsiteY162" fmla="*/ 469823 h 668383"/>
                    <a:gd name="connsiteX163" fmla="*/ 153232 w 863435"/>
                    <a:gd name="connsiteY163" fmla="*/ 470065 h 668383"/>
                    <a:gd name="connsiteX164" fmla="*/ 150597 w 863435"/>
                    <a:gd name="connsiteY164" fmla="*/ 469397 h 668383"/>
                    <a:gd name="connsiteX165" fmla="*/ 149407 w 863435"/>
                    <a:gd name="connsiteY165" fmla="*/ 468827 h 668383"/>
                    <a:gd name="connsiteX166" fmla="*/ 147330 w 863435"/>
                    <a:gd name="connsiteY166" fmla="*/ 467042 h 668383"/>
                    <a:gd name="connsiteX167" fmla="*/ 146505 w 863435"/>
                    <a:gd name="connsiteY167" fmla="*/ 465657 h 668383"/>
                    <a:gd name="connsiteX168" fmla="*/ 145764 w 863435"/>
                    <a:gd name="connsiteY168" fmla="*/ 463848 h 668383"/>
                    <a:gd name="connsiteX169" fmla="*/ 144562 w 863435"/>
                    <a:gd name="connsiteY169" fmla="*/ 459574 h 668383"/>
                    <a:gd name="connsiteX170" fmla="*/ 143614 w 863435"/>
                    <a:gd name="connsiteY170" fmla="*/ 453672 h 668383"/>
                    <a:gd name="connsiteX171" fmla="*/ 143104 w 863435"/>
                    <a:gd name="connsiteY171" fmla="*/ 451584 h 668383"/>
                    <a:gd name="connsiteX172" fmla="*/ 142230 w 863435"/>
                    <a:gd name="connsiteY172" fmla="*/ 449665 h 668383"/>
                    <a:gd name="connsiteX173" fmla="*/ 140712 w 863435"/>
                    <a:gd name="connsiteY173" fmla="*/ 448123 h 668383"/>
                    <a:gd name="connsiteX174" fmla="*/ 134787 w 863435"/>
                    <a:gd name="connsiteY174" fmla="*/ 443169 h 668383"/>
                    <a:gd name="connsiteX175" fmla="*/ 131229 w 863435"/>
                    <a:gd name="connsiteY175" fmla="*/ 438020 h 668383"/>
                    <a:gd name="connsiteX176" fmla="*/ 128970 w 863435"/>
                    <a:gd name="connsiteY176" fmla="*/ 428184 h 668383"/>
                    <a:gd name="connsiteX177" fmla="*/ 131277 w 863435"/>
                    <a:gd name="connsiteY177" fmla="*/ 418980 h 668383"/>
                    <a:gd name="connsiteX178" fmla="*/ 132577 w 863435"/>
                    <a:gd name="connsiteY178" fmla="*/ 403753 h 668383"/>
                    <a:gd name="connsiteX179" fmla="*/ 130670 w 863435"/>
                    <a:gd name="connsiteY179" fmla="*/ 394925 h 668383"/>
                    <a:gd name="connsiteX180" fmla="*/ 129735 w 863435"/>
                    <a:gd name="connsiteY180" fmla="*/ 392739 h 668383"/>
                    <a:gd name="connsiteX181" fmla="*/ 129128 w 863435"/>
                    <a:gd name="connsiteY181" fmla="*/ 391840 h 668383"/>
                    <a:gd name="connsiteX182" fmla="*/ 128375 w 863435"/>
                    <a:gd name="connsiteY182" fmla="*/ 391403 h 668383"/>
                    <a:gd name="connsiteX183" fmla="*/ 128023 w 863435"/>
                    <a:gd name="connsiteY183" fmla="*/ 391561 h 668383"/>
                    <a:gd name="connsiteX184" fmla="*/ 124344 w 863435"/>
                    <a:gd name="connsiteY184" fmla="*/ 395641 h 668383"/>
                    <a:gd name="connsiteX185" fmla="*/ 121939 w 863435"/>
                    <a:gd name="connsiteY185" fmla="*/ 397268 h 668383"/>
                    <a:gd name="connsiteX186" fmla="*/ 120009 w 863435"/>
                    <a:gd name="connsiteY186" fmla="*/ 397329 h 668383"/>
                    <a:gd name="connsiteX187" fmla="*/ 118296 w 863435"/>
                    <a:gd name="connsiteY187" fmla="*/ 396685 h 668383"/>
                    <a:gd name="connsiteX188" fmla="*/ 116730 w 863435"/>
                    <a:gd name="connsiteY188" fmla="*/ 395471 h 668383"/>
                    <a:gd name="connsiteX189" fmla="*/ 115674 w 863435"/>
                    <a:gd name="connsiteY189" fmla="*/ 393419 h 668383"/>
                    <a:gd name="connsiteX190" fmla="*/ 114836 w 863435"/>
                    <a:gd name="connsiteY190" fmla="*/ 390153 h 668383"/>
                    <a:gd name="connsiteX191" fmla="*/ 114763 w 863435"/>
                    <a:gd name="connsiteY191" fmla="*/ 387020 h 668383"/>
                    <a:gd name="connsiteX192" fmla="*/ 115018 w 863435"/>
                    <a:gd name="connsiteY192" fmla="*/ 384713 h 668383"/>
                    <a:gd name="connsiteX193" fmla="*/ 116281 w 863435"/>
                    <a:gd name="connsiteY193" fmla="*/ 379078 h 668383"/>
                    <a:gd name="connsiteX194" fmla="*/ 116378 w 863435"/>
                    <a:gd name="connsiteY194" fmla="*/ 377585 h 668383"/>
                    <a:gd name="connsiteX195" fmla="*/ 116086 w 863435"/>
                    <a:gd name="connsiteY195" fmla="*/ 372885 h 668383"/>
                    <a:gd name="connsiteX196" fmla="*/ 116329 w 863435"/>
                    <a:gd name="connsiteY196" fmla="*/ 370833 h 668383"/>
                    <a:gd name="connsiteX197" fmla="*/ 117459 w 863435"/>
                    <a:gd name="connsiteY197" fmla="*/ 368295 h 668383"/>
                    <a:gd name="connsiteX198" fmla="*/ 118721 w 863435"/>
                    <a:gd name="connsiteY198" fmla="*/ 366474 h 668383"/>
                    <a:gd name="connsiteX199" fmla="*/ 124793 w 863435"/>
                    <a:gd name="connsiteY199" fmla="*/ 360111 h 668383"/>
                    <a:gd name="connsiteX200" fmla="*/ 126772 w 863435"/>
                    <a:gd name="connsiteY200" fmla="*/ 357537 h 668383"/>
                    <a:gd name="connsiteX201" fmla="*/ 127549 w 863435"/>
                    <a:gd name="connsiteY201" fmla="*/ 356055 h 668383"/>
                    <a:gd name="connsiteX202" fmla="*/ 128278 w 863435"/>
                    <a:gd name="connsiteY202" fmla="*/ 354367 h 668383"/>
                    <a:gd name="connsiteX203" fmla="*/ 128302 w 863435"/>
                    <a:gd name="connsiteY203" fmla="*/ 353566 h 668383"/>
                    <a:gd name="connsiteX204" fmla="*/ 125145 w 863435"/>
                    <a:gd name="connsiteY204" fmla="*/ 348077 h 668383"/>
                    <a:gd name="connsiteX205" fmla="*/ 124380 w 863435"/>
                    <a:gd name="connsiteY205" fmla="*/ 345042 h 668383"/>
                    <a:gd name="connsiteX206" fmla="*/ 124077 w 863435"/>
                    <a:gd name="connsiteY206" fmla="*/ 342601 h 668383"/>
                    <a:gd name="connsiteX207" fmla="*/ 123797 w 863435"/>
                    <a:gd name="connsiteY207" fmla="*/ 341132 h 668383"/>
                    <a:gd name="connsiteX208" fmla="*/ 123226 w 863435"/>
                    <a:gd name="connsiteY208" fmla="*/ 340864 h 668383"/>
                    <a:gd name="connsiteX209" fmla="*/ 122632 w 863435"/>
                    <a:gd name="connsiteY209" fmla="*/ 340877 h 668383"/>
                    <a:gd name="connsiteX210" fmla="*/ 120567 w 863435"/>
                    <a:gd name="connsiteY210" fmla="*/ 342322 h 668383"/>
                    <a:gd name="connsiteX211" fmla="*/ 118964 w 863435"/>
                    <a:gd name="connsiteY211" fmla="*/ 343062 h 668383"/>
                    <a:gd name="connsiteX212" fmla="*/ 116681 w 863435"/>
                    <a:gd name="connsiteY212" fmla="*/ 343755 h 668383"/>
                    <a:gd name="connsiteX213" fmla="*/ 113160 w 863435"/>
                    <a:gd name="connsiteY213" fmla="*/ 343342 h 668383"/>
                    <a:gd name="connsiteX214" fmla="*/ 115977 w 863435"/>
                    <a:gd name="connsiteY214" fmla="*/ 344981 h 668383"/>
                    <a:gd name="connsiteX215" fmla="*/ 116014 w 863435"/>
                    <a:gd name="connsiteY215" fmla="*/ 346851 h 668383"/>
                    <a:gd name="connsiteX216" fmla="*/ 116912 w 863435"/>
                    <a:gd name="connsiteY216" fmla="*/ 351137 h 668383"/>
                    <a:gd name="connsiteX217" fmla="*/ 116669 w 863435"/>
                    <a:gd name="connsiteY217" fmla="*/ 352825 h 668383"/>
                    <a:gd name="connsiteX218" fmla="*/ 115346 w 863435"/>
                    <a:gd name="connsiteY218" fmla="*/ 355254 h 668383"/>
                    <a:gd name="connsiteX219" fmla="*/ 114532 w 863435"/>
                    <a:gd name="connsiteY219" fmla="*/ 356031 h 668383"/>
                    <a:gd name="connsiteX220" fmla="*/ 112772 w 863435"/>
                    <a:gd name="connsiteY220" fmla="*/ 356675 h 668383"/>
                    <a:gd name="connsiteX221" fmla="*/ 111254 w 863435"/>
                    <a:gd name="connsiteY221" fmla="*/ 356662 h 668383"/>
                    <a:gd name="connsiteX222" fmla="*/ 109638 w 863435"/>
                    <a:gd name="connsiteY222" fmla="*/ 356262 h 668383"/>
                    <a:gd name="connsiteX223" fmla="*/ 98042 w 863435"/>
                    <a:gd name="connsiteY223" fmla="*/ 351514 h 668383"/>
                    <a:gd name="connsiteX224" fmla="*/ 96925 w 863435"/>
                    <a:gd name="connsiteY224" fmla="*/ 351344 h 668383"/>
                    <a:gd name="connsiteX225" fmla="*/ 95711 w 863435"/>
                    <a:gd name="connsiteY225" fmla="*/ 351320 h 668383"/>
                    <a:gd name="connsiteX226" fmla="*/ 90708 w 863435"/>
                    <a:gd name="connsiteY226" fmla="*/ 352267 h 668383"/>
                    <a:gd name="connsiteX227" fmla="*/ 88741 w 863435"/>
                    <a:gd name="connsiteY227" fmla="*/ 352388 h 668383"/>
                    <a:gd name="connsiteX228" fmla="*/ 86798 w 863435"/>
                    <a:gd name="connsiteY228" fmla="*/ 352145 h 668383"/>
                    <a:gd name="connsiteX229" fmla="*/ 84478 w 863435"/>
                    <a:gd name="connsiteY229" fmla="*/ 351368 h 668383"/>
                    <a:gd name="connsiteX230" fmla="*/ 81868 w 863435"/>
                    <a:gd name="connsiteY230" fmla="*/ 349644 h 668383"/>
                    <a:gd name="connsiteX231" fmla="*/ 79682 w 863435"/>
                    <a:gd name="connsiteY231" fmla="*/ 347385 h 668383"/>
                    <a:gd name="connsiteX232" fmla="*/ 77496 w 863435"/>
                    <a:gd name="connsiteY232" fmla="*/ 343378 h 668383"/>
                    <a:gd name="connsiteX233" fmla="*/ 75080 w 863435"/>
                    <a:gd name="connsiteY233" fmla="*/ 336578 h 668383"/>
                    <a:gd name="connsiteX234" fmla="*/ 73234 w 863435"/>
                    <a:gd name="connsiteY234" fmla="*/ 332644 h 668383"/>
                    <a:gd name="connsiteX235" fmla="*/ 72675 w 863435"/>
                    <a:gd name="connsiteY235" fmla="*/ 330081 h 668383"/>
                    <a:gd name="connsiteX236" fmla="*/ 72724 w 863435"/>
                    <a:gd name="connsiteY236" fmla="*/ 327884 h 668383"/>
                    <a:gd name="connsiteX237" fmla="*/ 73319 w 863435"/>
                    <a:gd name="connsiteY237" fmla="*/ 325625 h 668383"/>
                    <a:gd name="connsiteX238" fmla="*/ 75432 w 863435"/>
                    <a:gd name="connsiteY238" fmla="*/ 319833 h 668383"/>
                    <a:gd name="connsiteX239" fmla="*/ 75736 w 863435"/>
                    <a:gd name="connsiteY239" fmla="*/ 318364 h 668383"/>
                    <a:gd name="connsiteX240" fmla="*/ 74776 w 863435"/>
                    <a:gd name="connsiteY240" fmla="*/ 315401 h 668383"/>
                    <a:gd name="connsiteX241" fmla="*/ 71485 w 863435"/>
                    <a:gd name="connsiteY241" fmla="*/ 307799 h 668383"/>
                    <a:gd name="connsiteX242" fmla="*/ 69093 w 863435"/>
                    <a:gd name="connsiteY242" fmla="*/ 304994 h 668383"/>
                    <a:gd name="connsiteX243" fmla="*/ 43205 w 863435"/>
                    <a:gd name="connsiteY243" fmla="*/ 282117 h 668383"/>
                    <a:gd name="connsiteX244" fmla="*/ 39683 w 863435"/>
                    <a:gd name="connsiteY244" fmla="*/ 277490 h 668383"/>
                    <a:gd name="connsiteX245" fmla="*/ 37934 w 863435"/>
                    <a:gd name="connsiteY245" fmla="*/ 274212 h 668383"/>
                    <a:gd name="connsiteX246" fmla="*/ 36769 w 863435"/>
                    <a:gd name="connsiteY246" fmla="*/ 271285 h 668383"/>
                    <a:gd name="connsiteX247" fmla="*/ 36028 w 863435"/>
                    <a:gd name="connsiteY247" fmla="*/ 267788 h 668383"/>
                    <a:gd name="connsiteX248" fmla="*/ 35773 w 863435"/>
                    <a:gd name="connsiteY248" fmla="*/ 264850 h 668383"/>
                    <a:gd name="connsiteX249" fmla="*/ 35858 w 863435"/>
                    <a:gd name="connsiteY249" fmla="*/ 256641 h 668383"/>
                    <a:gd name="connsiteX250" fmla="*/ 35591 w 863435"/>
                    <a:gd name="connsiteY250" fmla="*/ 254310 h 668383"/>
                    <a:gd name="connsiteX251" fmla="*/ 35057 w 863435"/>
                    <a:gd name="connsiteY251" fmla="*/ 253314 h 668383"/>
                    <a:gd name="connsiteX252" fmla="*/ 34255 w 863435"/>
                    <a:gd name="connsiteY252" fmla="*/ 252634 h 668383"/>
                    <a:gd name="connsiteX253" fmla="*/ 28414 w 863435"/>
                    <a:gd name="connsiteY253" fmla="*/ 249622 h 668383"/>
                    <a:gd name="connsiteX254" fmla="*/ 24881 w 863435"/>
                    <a:gd name="connsiteY254" fmla="*/ 246611 h 668383"/>
                    <a:gd name="connsiteX255" fmla="*/ 23764 w 863435"/>
                    <a:gd name="connsiteY255" fmla="*/ 245882 h 668383"/>
                    <a:gd name="connsiteX256" fmla="*/ 13855 w 863435"/>
                    <a:gd name="connsiteY256" fmla="*/ 245348 h 668383"/>
                    <a:gd name="connsiteX257" fmla="*/ 0 w 863435"/>
                    <a:gd name="connsiteY257" fmla="*/ 241195 h 668383"/>
                    <a:gd name="connsiteX258" fmla="*/ 5513 w 863435"/>
                    <a:gd name="connsiteY258" fmla="*/ 226599 h 668383"/>
                    <a:gd name="connsiteX259" fmla="*/ 6836 w 863435"/>
                    <a:gd name="connsiteY259" fmla="*/ 223879 h 668383"/>
                    <a:gd name="connsiteX260" fmla="*/ 9544 w 863435"/>
                    <a:gd name="connsiteY260" fmla="*/ 219386 h 668383"/>
                    <a:gd name="connsiteX261" fmla="*/ 14997 w 863435"/>
                    <a:gd name="connsiteY261" fmla="*/ 213254 h 668383"/>
                    <a:gd name="connsiteX262" fmla="*/ 15409 w 863435"/>
                    <a:gd name="connsiteY262" fmla="*/ 212356 h 668383"/>
                    <a:gd name="connsiteX263" fmla="*/ 15834 w 863435"/>
                    <a:gd name="connsiteY263" fmla="*/ 211081 h 668383"/>
                    <a:gd name="connsiteX264" fmla="*/ 15652 w 863435"/>
                    <a:gd name="connsiteY264" fmla="*/ 208239 h 668383"/>
                    <a:gd name="connsiteX265" fmla="*/ 15859 w 863435"/>
                    <a:gd name="connsiteY265" fmla="*/ 206078 h 668383"/>
                    <a:gd name="connsiteX266" fmla="*/ 16903 w 863435"/>
                    <a:gd name="connsiteY266" fmla="*/ 203418 h 668383"/>
                    <a:gd name="connsiteX267" fmla="*/ 22209 w 863435"/>
                    <a:gd name="connsiteY267" fmla="*/ 196473 h 668383"/>
                    <a:gd name="connsiteX268" fmla="*/ 22841 w 863435"/>
                    <a:gd name="connsiteY268" fmla="*/ 195137 h 668383"/>
                    <a:gd name="connsiteX269" fmla="*/ 22634 w 863435"/>
                    <a:gd name="connsiteY269" fmla="*/ 193753 h 668383"/>
                    <a:gd name="connsiteX270" fmla="*/ 22112 w 863435"/>
                    <a:gd name="connsiteY270" fmla="*/ 192538 h 668383"/>
                    <a:gd name="connsiteX271" fmla="*/ 20084 w 863435"/>
                    <a:gd name="connsiteY271" fmla="*/ 189673 h 668383"/>
                    <a:gd name="connsiteX272" fmla="*/ 17607 w 863435"/>
                    <a:gd name="connsiteY272" fmla="*/ 186856 h 668383"/>
                    <a:gd name="connsiteX273" fmla="*/ 16174 w 863435"/>
                    <a:gd name="connsiteY273" fmla="*/ 184925 h 668383"/>
                    <a:gd name="connsiteX274" fmla="*/ 14790 w 863435"/>
                    <a:gd name="connsiteY274" fmla="*/ 182569 h 668383"/>
                    <a:gd name="connsiteX275" fmla="*/ 12617 w 863435"/>
                    <a:gd name="connsiteY275" fmla="*/ 177348 h 668383"/>
                    <a:gd name="connsiteX276" fmla="*/ 11973 w 863435"/>
                    <a:gd name="connsiteY276" fmla="*/ 175053 h 668383"/>
                    <a:gd name="connsiteX277" fmla="*/ 11706 w 863435"/>
                    <a:gd name="connsiteY277" fmla="*/ 173158 h 668383"/>
                    <a:gd name="connsiteX278" fmla="*/ 11742 w 863435"/>
                    <a:gd name="connsiteY278" fmla="*/ 171252 h 668383"/>
                    <a:gd name="connsiteX279" fmla="*/ 12094 w 863435"/>
                    <a:gd name="connsiteY279" fmla="*/ 169236 h 668383"/>
                    <a:gd name="connsiteX280" fmla="*/ 12653 w 863435"/>
                    <a:gd name="connsiteY280" fmla="*/ 167864 h 668383"/>
                    <a:gd name="connsiteX281" fmla="*/ 14061 w 863435"/>
                    <a:gd name="connsiteY281" fmla="*/ 165763 h 668383"/>
                    <a:gd name="connsiteX282" fmla="*/ 15021 w 863435"/>
                    <a:gd name="connsiteY282" fmla="*/ 164889 h 668383"/>
                    <a:gd name="connsiteX283" fmla="*/ 18057 w 863435"/>
                    <a:gd name="connsiteY283" fmla="*/ 162752 h 668383"/>
                    <a:gd name="connsiteX284" fmla="*/ 21930 w 863435"/>
                    <a:gd name="connsiteY284" fmla="*/ 160554 h 668383"/>
                    <a:gd name="connsiteX285" fmla="*/ 41492 w 863435"/>
                    <a:gd name="connsiteY285" fmla="*/ 158417 h 668383"/>
                    <a:gd name="connsiteX286" fmla="*/ 60715 w 863435"/>
                    <a:gd name="connsiteY286" fmla="*/ 161246 h 668383"/>
                    <a:gd name="connsiteX287" fmla="*/ 71874 w 863435"/>
                    <a:gd name="connsiteY287" fmla="*/ 163456 h 668383"/>
                    <a:gd name="connsiteX288" fmla="*/ 81321 w 863435"/>
                    <a:gd name="connsiteY288" fmla="*/ 162970 h 668383"/>
                    <a:gd name="connsiteX289" fmla="*/ 82948 w 863435"/>
                    <a:gd name="connsiteY289" fmla="*/ 162388 h 668383"/>
                    <a:gd name="connsiteX290" fmla="*/ 86822 w 863435"/>
                    <a:gd name="connsiteY290" fmla="*/ 157567 h 668383"/>
                    <a:gd name="connsiteX291" fmla="*/ 91679 w 863435"/>
                    <a:gd name="connsiteY291" fmla="*/ 156268 h 668383"/>
                    <a:gd name="connsiteX292" fmla="*/ 94873 w 863435"/>
                    <a:gd name="connsiteY292" fmla="*/ 156450 h 668383"/>
                    <a:gd name="connsiteX293" fmla="*/ 99196 w 863435"/>
                    <a:gd name="connsiteY293" fmla="*/ 157518 h 668383"/>
                    <a:gd name="connsiteX294" fmla="*/ 100568 w 863435"/>
                    <a:gd name="connsiteY294" fmla="*/ 157676 h 668383"/>
                    <a:gd name="connsiteX295" fmla="*/ 101843 w 863435"/>
                    <a:gd name="connsiteY295" fmla="*/ 157445 h 668383"/>
                    <a:gd name="connsiteX296" fmla="*/ 104988 w 863435"/>
                    <a:gd name="connsiteY296" fmla="*/ 156535 h 668383"/>
                    <a:gd name="connsiteX297" fmla="*/ 112820 w 863435"/>
                    <a:gd name="connsiteY297" fmla="*/ 155915 h 668383"/>
                    <a:gd name="connsiteX298" fmla="*/ 116001 w 863435"/>
                    <a:gd name="connsiteY298" fmla="*/ 155053 h 668383"/>
                    <a:gd name="connsiteX299" fmla="*/ 117956 w 863435"/>
                    <a:gd name="connsiteY299" fmla="*/ 153462 h 668383"/>
                    <a:gd name="connsiteX300" fmla="*/ 119389 w 863435"/>
                    <a:gd name="connsiteY300" fmla="*/ 150876 h 668383"/>
                    <a:gd name="connsiteX301" fmla="*/ 119839 w 863435"/>
                    <a:gd name="connsiteY301" fmla="*/ 150184 h 668383"/>
                    <a:gd name="connsiteX302" fmla="*/ 123069 w 863435"/>
                    <a:gd name="connsiteY302" fmla="*/ 148593 h 668383"/>
                    <a:gd name="connsiteX303" fmla="*/ 124611 w 863435"/>
                    <a:gd name="connsiteY303" fmla="*/ 147597 h 668383"/>
                    <a:gd name="connsiteX304" fmla="*/ 127440 w 863435"/>
                    <a:gd name="connsiteY304" fmla="*/ 148666 h 668383"/>
                    <a:gd name="connsiteX305" fmla="*/ 125218 w 863435"/>
                    <a:gd name="connsiteY305" fmla="*/ 146371 h 668383"/>
                    <a:gd name="connsiteX306" fmla="*/ 127926 w 863435"/>
                    <a:gd name="connsiteY306" fmla="*/ 139607 h 668383"/>
                    <a:gd name="connsiteX307" fmla="*/ 129444 w 863435"/>
                    <a:gd name="connsiteY307" fmla="*/ 137895 h 668383"/>
                    <a:gd name="connsiteX308" fmla="*/ 132589 w 863435"/>
                    <a:gd name="connsiteY308" fmla="*/ 136632 h 668383"/>
                    <a:gd name="connsiteX309" fmla="*/ 135357 w 863435"/>
                    <a:gd name="connsiteY309" fmla="*/ 138174 h 668383"/>
                    <a:gd name="connsiteX310" fmla="*/ 139012 w 863435"/>
                    <a:gd name="connsiteY310" fmla="*/ 141077 h 668383"/>
                    <a:gd name="connsiteX311" fmla="*/ 145266 w 863435"/>
                    <a:gd name="connsiteY311" fmla="*/ 153973 h 668383"/>
                    <a:gd name="connsiteX312" fmla="*/ 149176 w 863435"/>
                    <a:gd name="connsiteY312" fmla="*/ 165933 h 668383"/>
                    <a:gd name="connsiteX313" fmla="*/ 151070 w 863435"/>
                    <a:gd name="connsiteY313" fmla="*/ 169273 h 668383"/>
                    <a:gd name="connsiteX314" fmla="*/ 152758 w 863435"/>
                    <a:gd name="connsiteY314" fmla="*/ 170523 h 668383"/>
                    <a:gd name="connsiteX315" fmla="*/ 153025 w 863435"/>
                    <a:gd name="connsiteY315" fmla="*/ 170596 h 668383"/>
                    <a:gd name="connsiteX316" fmla="*/ 153438 w 863435"/>
                    <a:gd name="connsiteY316" fmla="*/ 170183 h 668383"/>
                    <a:gd name="connsiteX317" fmla="*/ 153523 w 863435"/>
                    <a:gd name="connsiteY317" fmla="*/ 167245 h 668383"/>
                    <a:gd name="connsiteX318" fmla="*/ 154142 w 863435"/>
                    <a:gd name="connsiteY318" fmla="*/ 164294 h 668383"/>
                    <a:gd name="connsiteX319" fmla="*/ 156037 w 863435"/>
                    <a:gd name="connsiteY319" fmla="*/ 162982 h 668383"/>
                    <a:gd name="connsiteX320" fmla="*/ 158065 w 863435"/>
                    <a:gd name="connsiteY320" fmla="*/ 162460 h 668383"/>
                    <a:gd name="connsiteX321" fmla="*/ 160772 w 863435"/>
                    <a:gd name="connsiteY321" fmla="*/ 162728 h 668383"/>
                    <a:gd name="connsiteX322" fmla="*/ 162242 w 863435"/>
                    <a:gd name="connsiteY322" fmla="*/ 164464 h 668383"/>
                    <a:gd name="connsiteX323" fmla="*/ 162533 w 863435"/>
                    <a:gd name="connsiteY323" fmla="*/ 162218 h 668383"/>
                    <a:gd name="connsiteX324" fmla="*/ 164294 w 863435"/>
                    <a:gd name="connsiteY324" fmla="*/ 161125 h 668383"/>
                    <a:gd name="connsiteX325" fmla="*/ 165970 w 863435"/>
                    <a:gd name="connsiteY325" fmla="*/ 160408 h 668383"/>
                    <a:gd name="connsiteX326" fmla="*/ 167682 w 863435"/>
                    <a:gd name="connsiteY326" fmla="*/ 160178 h 668383"/>
                    <a:gd name="connsiteX327" fmla="*/ 171033 w 863435"/>
                    <a:gd name="connsiteY327" fmla="*/ 160627 h 668383"/>
                    <a:gd name="connsiteX328" fmla="*/ 171616 w 863435"/>
                    <a:gd name="connsiteY328" fmla="*/ 160323 h 668383"/>
                    <a:gd name="connsiteX329" fmla="*/ 171871 w 863435"/>
                    <a:gd name="connsiteY329" fmla="*/ 159971 h 668383"/>
                    <a:gd name="connsiteX330" fmla="*/ 173996 w 863435"/>
                    <a:gd name="connsiteY330" fmla="*/ 159364 h 668383"/>
                    <a:gd name="connsiteX331" fmla="*/ 174883 w 863435"/>
                    <a:gd name="connsiteY331" fmla="*/ 159170 h 668383"/>
                    <a:gd name="connsiteX332" fmla="*/ 177165 w 863435"/>
                    <a:gd name="connsiteY332" fmla="*/ 160032 h 668383"/>
                    <a:gd name="connsiteX333" fmla="*/ 178416 w 863435"/>
                    <a:gd name="connsiteY333" fmla="*/ 160845 h 668383"/>
                    <a:gd name="connsiteX334" fmla="*/ 180165 w 863435"/>
                    <a:gd name="connsiteY334" fmla="*/ 158769 h 668383"/>
                    <a:gd name="connsiteX335" fmla="*/ 183225 w 863435"/>
                    <a:gd name="connsiteY335" fmla="*/ 157749 h 668383"/>
                    <a:gd name="connsiteX336" fmla="*/ 187159 w 863435"/>
                    <a:gd name="connsiteY336" fmla="*/ 158830 h 668383"/>
                    <a:gd name="connsiteX337" fmla="*/ 189321 w 863435"/>
                    <a:gd name="connsiteY337" fmla="*/ 160918 h 668383"/>
                    <a:gd name="connsiteX338" fmla="*/ 192247 w 863435"/>
                    <a:gd name="connsiteY338" fmla="*/ 166358 h 668383"/>
                    <a:gd name="connsiteX339" fmla="*/ 192405 w 863435"/>
                    <a:gd name="connsiteY339" fmla="*/ 174676 h 668383"/>
                    <a:gd name="connsiteX340" fmla="*/ 190353 w 863435"/>
                    <a:gd name="connsiteY340" fmla="*/ 176983 h 668383"/>
                    <a:gd name="connsiteX341" fmla="*/ 190110 w 863435"/>
                    <a:gd name="connsiteY341" fmla="*/ 177506 h 668383"/>
                    <a:gd name="connsiteX342" fmla="*/ 193983 w 863435"/>
                    <a:gd name="connsiteY342" fmla="*/ 181282 h 668383"/>
                    <a:gd name="connsiteX343" fmla="*/ 197031 w 863435"/>
                    <a:gd name="connsiteY343" fmla="*/ 185666 h 668383"/>
                    <a:gd name="connsiteX344" fmla="*/ 199205 w 863435"/>
                    <a:gd name="connsiteY344" fmla="*/ 187815 h 668383"/>
                    <a:gd name="connsiteX345" fmla="*/ 201597 w 863435"/>
                    <a:gd name="connsiteY345" fmla="*/ 189539 h 668383"/>
                    <a:gd name="connsiteX346" fmla="*/ 206564 w 863435"/>
                    <a:gd name="connsiteY346" fmla="*/ 191980 h 668383"/>
                    <a:gd name="connsiteX347" fmla="*/ 211676 w 863435"/>
                    <a:gd name="connsiteY347" fmla="*/ 195805 h 668383"/>
                    <a:gd name="connsiteX348" fmla="*/ 213497 w 863435"/>
                    <a:gd name="connsiteY348" fmla="*/ 198100 h 668383"/>
                    <a:gd name="connsiteX349" fmla="*/ 214821 w 863435"/>
                    <a:gd name="connsiteY349" fmla="*/ 200334 h 668383"/>
                    <a:gd name="connsiteX350" fmla="*/ 215853 w 863435"/>
                    <a:gd name="connsiteY350" fmla="*/ 201403 h 668383"/>
                    <a:gd name="connsiteX351" fmla="*/ 218731 w 863435"/>
                    <a:gd name="connsiteY351" fmla="*/ 203613 h 668383"/>
                    <a:gd name="connsiteX352" fmla="*/ 220309 w 863435"/>
                    <a:gd name="connsiteY352" fmla="*/ 204086 h 668383"/>
                    <a:gd name="connsiteX353" fmla="*/ 221791 w 863435"/>
                    <a:gd name="connsiteY353" fmla="*/ 204111 h 668383"/>
                    <a:gd name="connsiteX354" fmla="*/ 223041 w 863435"/>
                    <a:gd name="connsiteY354" fmla="*/ 203831 h 668383"/>
                    <a:gd name="connsiteX355" fmla="*/ 224572 w 863435"/>
                    <a:gd name="connsiteY355" fmla="*/ 203139 h 668383"/>
                    <a:gd name="connsiteX356" fmla="*/ 226964 w 863435"/>
                    <a:gd name="connsiteY356" fmla="*/ 200638 h 668383"/>
                    <a:gd name="connsiteX357" fmla="*/ 227279 w 863435"/>
                    <a:gd name="connsiteY357" fmla="*/ 199836 h 668383"/>
                    <a:gd name="connsiteX358" fmla="*/ 227559 w 863435"/>
                    <a:gd name="connsiteY358" fmla="*/ 198452 h 668383"/>
                    <a:gd name="connsiteX359" fmla="*/ 228943 w 863435"/>
                    <a:gd name="connsiteY359" fmla="*/ 195222 h 668383"/>
                    <a:gd name="connsiteX360" fmla="*/ 233849 w 863435"/>
                    <a:gd name="connsiteY360" fmla="*/ 190911 h 668383"/>
                    <a:gd name="connsiteX361" fmla="*/ 235537 w 863435"/>
                    <a:gd name="connsiteY361" fmla="*/ 187001 h 668383"/>
                    <a:gd name="connsiteX362" fmla="*/ 237856 w 863435"/>
                    <a:gd name="connsiteY362" fmla="*/ 185641 h 668383"/>
                    <a:gd name="connsiteX363" fmla="*/ 240114 w 863435"/>
                    <a:gd name="connsiteY363" fmla="*/ 186006 h 668383"/>
                    <a:gd name="connsiteX364" fmla="*/ 241195 w 863435"/>
                    <a:gd name="connsiteY364" fmla="*/ 186588 h 668383"/>
                    <a:gd name="connsiteX365" fmla="*/ 243138 w 863435"/>
                    <a:gd name="connsiteY365" fmla="*/ 187949 h 668383"/>
                    <a:gd name="connsiteX366" fmla="*/ 244037 w 863435"/>
                    <a:gd name="connsiteY366" fmla="*/ 188422 h 668383"/>
                    <a:gd name="connsiteX367" fmla="*/ 245494 w 863435"/>
                    <a:gd name="connsiteY367" fmla="*/ 188495 h 668383"/>
                    <a:gd name="connsiteX368" fmla="*/ 250023 w 863435"/>
                    <a:gd name="connsiteY368" fmla="*/ 189551 h 668383"/>
                    <a:gd name="connsiteX369" fmla="*/ 250375 w 863435"/>
                    <a:gd name="connsiteY369" fmla="*/ 189515 h 668383"/>
                    <a:gd name="connsiteX370" fmla="*/ 252100 w 863435"/>
                    <a:gd name="connsiteY370" fmla="*/ 184330 h 668383"/>
                    <a:gd name="connsiteX371" fmla="*/ 254820 w 863435"/>
                    <a:gd name="connsiteY371" fmla="*/ 179849 h 668383"/>
                    <a:gd name="connsiteX372" fmla="*/ 258487 w 863435"/>
                    <a:gd name="connsiteY372" fmla="*/ 176619 h 668383"/>
                    <a:gd name="connsiteX373" fmla="*/ 267084 w 863435"/>
                    <a:gd name="connsiteY373" fmla="*/ 171944 h 668383"/>
                    <a:gd name="connsiteX374" fmla="*/ 269488 w 863435"/>
                    <a:gd name="connsiteY374" fmla="*/ 170232 h 668383"/>
                    <a:gd name="connsiteX375" fmla="*/ 272621 w 863435"/>
                    <a:gd name="connsiteY375" fmla="*/ 168532 h 668383"/>
                    <a:gd name="connsiteX376" fmla="*/ 274042 w 863435"/>
                    <a:gd name="connsiteY376" fmla="*/ 167330 h 668383"/>
                    <a:gd name="connsiteX377" fmla="*/ 277381 w 863435"/>
                    <a:gd name="connsiteY377" fmla="*/ 165253 h 668383"/>
                    <a:gd name="connsiteX378" fmla="*/ 282165 w 863435"/>
                    <a:gd name="connsiteY378" fmla="*/ 165654 h 668383"/>
                    <a:gd name="connsiteX379" fmla="*/ 285978 w 863435"/>
                    <a:gd name="connsiteY379" fmla="*/ 169115 h 668383"/>
                    <a:gd name="connsiteX380" fmla="*/ 287581 w 863435"/>
                    <a:gd name="connsiteY380" fmla="*/ 177639 h 668383"/>
                    <a:gd name="connsiteX381" fmla="*/ 288990 w 863435"/>
                    <a:gd name="connsiteY381" fmla="*/ 177372 h 668383"/>
                    <a:gd name="connsiteX382" fmla="*/ 289925 w 863435"/>
                    <a:gd name="connsiteY382" fmla="*/ 176826 h 668383"/>
                    <a:gd name="connsiteX383" fmla="*/ 291248 w 863435"/>
                    <a:gd name="connsiteY383" fmla="*/ 176218 h 668383"/>
                    <a:gd name="connsiteX384" fmla="*/ 295280 w 863435"/>
                    <a:gd name="connsiteY384" fmla="*/ 178210 h 668383"/>
                    <a:gd name="connsiteX385" fmla="*/ 296154 w 863435"/>
                    <a:gd name="connsiteY385" fmla="*/ 181464 h 668383"/>
                    <a:gd name="connsiteX386" fmla="*/ 298048 w 863435"/>
                    <a:gd name="connsiteY386" fmla="*/ 192478 h 668383"/>
                    <a:gd name="connsiteX387" fmla="*/ 298315 w 863435"/>
                    <a:gd name="connsiteY387" fmla="*/ 192793 h 668383"/>
                    <a:gd name="connsiteX388" fmla="*/ 299870 w 863435"/>
                    <a:gd name="connsiteY388" fmla="*/ 193838 h 668383"/>
                    <a:gd name="connsiteX389" fmla="*/ 309001 w 863435"/>
                    <a:gd name="connsiteY389" fmla="*/ 194821 h 668383"/>
                    <a:gd name="connsiteX390" fmla="*/ 311782 w 863435"/>
                    <a:gd name="connsiteY390" fmla="*/ 194020 h 668383"/>
                    <a:gd name="connsiteX391" fmla="*/ 314259 w 863435"/>
                    <a:gd name="connsiteY391" fmla="*/ 192624 h 668383"/>
                    <a:gd name="connsiteX392" fmla="*/ 317064 w 863435"/>
                    <a:gd name="connsiteY392" fmla="*/ 190693 h 668383"/>
                    <a:gd name="connsiteX393" fmla="*/ 331065 w 863435"/>
                    <a:gd name="connsiteY393" fmla="*/ 185666 h 668383"/>
                    <a:gd name="connsiteX394" fmla="*/ 334878 w 863435"/>
                    <a:gd name="connsiteY394" fmla="*/ 187171 h 668383"/>
                    <a:gd name="connsiteX395" fmla="*/ 335485 w 863435"/>
                    <a:gd name="connsiteY395" fmla="*/ 190341 h 668383"/>
                    <a:gd name="connsiteX396" fmla="*/ 334890 w 863435"/>
                    <a:gd name="connsiteY396" fmla="*/ 193789 h 668383"/>
                    <a:gd name="connsiteX397" fmla="*/ 339189 w 863435"/>
                    <a:gd name="connsiteY397" fmla="*/ 189697 h 668383"/>
                    <a:gd name="connsiteX398" fmla="*/ 342127 w 863435"/>
                    <a:gd name="connsiteY398" fmla="*/ 187523 h 668383"/>
                    <a:gd name="connsiteX399" fmla="*/ 342795 w 863435"/>
                    <a:gd name="connsiteY399" fmla="*/ 186831 h 668383"/>
                    <a:gd name="connsiteX400" fmla="*/ 342407 w 863435"/>
                    <a:gd name="connsiteY400" fmla="*/ 185107 h 668383"/>
                    <a:gd name="connsiteX401" fmla="*/ 343184 w 863435"/>
                    <a:gd name="connsiteY401" fmla="*/ 181780 h 668383"/>
                    <a:gd name="connsiteX402" fmla="*/ 346292 w 863435"/>
                    <a:gd name="connsiteY402" fmla="*/ 178781 h 668383"/>
                    <a:gd name="connsiteX403" fmla="*/ 363778 w 863435"/>
                    <a:gd name="connsiteY403" fmla="*/ 172418 h 668383"/>
                    <a:gd name="connsiteX404" fmla="*/ 364713 w 863435"/>
                    <a:gd name="connsiteY404" fmla="*/ 171908 h 668383"/>
                    <a:gd name="connsiteX405" fmla="*/ 364810 w 863435"/>
                    <a:gd name="connsiteY405" fmla="*/ 171774 h 668383"/>
                    <a:gd name="connsiteX406" fmla="*/ 364932 w 863435"/>
                    <a:gd name="connsiteY406" fmla="*/ 171009 h 668383"/>
                    <a:gd name="connsiteX407" fmla="*/ 365733 w 863435"/>
                    <a:gd name="connsiteY407" fmla="*/ 168969 h 668383"/>
                    <a:gd name="connsiteX408" fmla="*/ 366304 w 863435"/>
                    <a:gd name="connsiteY408" fmla="*/ 167658 h 668383"/>
                    <a:gd name="connsiteX409" fmla="*/ 370432 w 863435"/>
                    <a:gd name="connsiteY409" fmla="*/ 166516 h 668383"/>
                    <a:gd name="connsiteX410" fmla="*/ 385113 w 863435"/>
                    <a:gd name="connsiteY410" fmla="*/ 164816 h 668383"/>
                    <a:gd name="connsiteX411" fmla="*/ 388550 w 863435"/>
                    <a:gd name="connsiteY411" fmla="*/ 162679 h 668383"/>
                    <a:gd name="connsiteX412" fmla="*/ 398531 w 863435"/>
                    <a:gd name="connsiteY412" fmla="*/ 163614 h 668383"/>
                    <a:gd name="connsiteX413" fmla="*/ 402514 w 863435"/>
                    <a:gd name="connsiteY413" fmla="*/ 163408 h 668383"/>
                    <a:gd name="connsiteX414" fmla="*/ 405853 w 863435"/>
                    <a:gd name="connsiteY414" fmla="*/ 162837 h 668383"/>
                    <a:gd name="connsiteX415" fmla="*/ 409071 w 863435"/>
                    <a:gd name="connsiteY415" fmla="*/ 163031 h 668383"/>
                    <a:gd name="connsiteX416" fmla="*/ 412095 w 863435"/>
                    <a:gd name="connsiteY416" fmla="*/ 164355 h 668383"/>
                    <a:gd name="connsiteX417" fmla="*/ 412981 w 863435"/>
                    <a:gd name="connsiteY417" fmla="*/ 164634 h 668383"/>
                    <a:gd name="connsiteX418" fmla="*/ 413127 w 863435"/>
                    <a:gd name="connsiteY418" fmla="*/ 164598 h 668383"/>
                    <a:gd name="connsiteX419" fmla="*/ 418239 w 863435"/>
                    <a:gd name="connsiteY419" fmla="*/ 159862 h 668383"/>
                    <a:gd name="connsiteX420" fmla="*/ 418300 w 863435"/>
                    <a:gd name="connsiteY420" fmla="*/ 159510 h 668383"/>
                    <a:gd name="connsiteX421" fmla="*/ 420801 w 863435"/>
                    <a:gd name="connsiteY421" fmla="*/ 157154 h 668383"/>
                    <a:gd name="connsiteX422" fmla="*/ 422222 w 863435"/>
                    <a:gd name="connsiteY422" fmla="*/ 153025 h 668383"/>
                    <a:gd name="connsiteX423" fmla="*/ 426217 w 863435"/>
                    <a:gd name="connsiteY423" fmla="*/ 153171 h 668383"/>
                    <a:gd name="connsiteX424" fmla="*/ 429727 w 863435"/>
                    <a:gd name="connsiteY424" fmla="*/ 154142 h 668383"/>
                    <a:gd name="connsiteX425" fmla="*/ 432750 w 863435"/>
                    <a:gd name="connsiteY425" fmla="*/ 154774 h 668383"/>
                    <a:gd name="connsiteX426" fmla="*/ 435689 w 863435"/>
                    <a:gd name="connsiteY426" fmla="*/ 154689 h 668383"/>
                    <a:gd name="connsiteX427" fmla="*/ 436684 w 863435"/>
                    <a:gd name="connsiteY427" fmla="*/ 154082 h 668383"/>
                    <a:gd name="connsiteX428" fmla="*/ 437061 w 863435"/>
                    <a:gd name="connsiteY428" fmla="*/ 153280 h 668383"/>
                    <a:gd name="connsiteX429" fmla="*/ 437061 w 863435"/>
                    <a:gd name="connsiteY429" fmla="*/ 146626 h 668383"/>
                    <a:gd name="connsiteX430" fmla="*/ 436757 w 863435"/>
                    <a:gd name="connsiteY430" fmla="*/ 144756 h 668383"/>
                    <a:gd name="connsiteX431" fmla="*/ 436296 w 863435"/>
                    <a:gd name="connsiteY431" fmla="*/ 143396 h 668383"/>
                    <a:gd name="connsiteX432" fmla="*/ 435482 w 863435"/>
                    <a:gd name="connsiteY432" fmla="*/ 142352 h 668383"/>
                    <a:gd name="connsiteX433" fmla="*/ 434256 w 863435"/>
                    <a:gd name="connsiteY433" fmla="*/ 139790 h 668383"/>
                    <a:gd name="connsiteX434" fmla="*/ 434256 w 863435"/>
                    <a:gd name="connsiteY434" fmla="*/ 137130 h 668383"/>
                    <a:gd name="connsiteX435" fmla="*/ 436077 w 863435"/>
                    <a:gd name="connsiteY435" fmla="*/ 135309 h 668383"/>
                    <a:gd name="connsiteX436" fmla="*/ 437571 w 863435"/>
                    <a:gd name="connsiteY436" fmla="*/ 134653 h 668383"/>
                    <a:gd name="connsiteX437" fmla="*/ 441772 w 863435"/>
                    <a:gd name="connsiteY437" fmla="*/ 133451 h 668383"/>
                    <a:gd name="connsiteX438" fmla="*/ 442659 w 863435"/>
                    <a:gd name="connsiteY438" fmla="*/ 132249 h 668383"/>
                    <a:gd name="connsiteX439" fmla="*/ 443144 w 863435"/>
                    <a:gd name="connsiteY439" fmla="*/ 130391 h 668383"/>
                    <a:gd name="connsiteX440" fmla="*/ 443582 w 863435"/>
                    <a:gd name="connsiteY440" fmla="*/ 125218 h 668383"/>
                    <a:gd name="connsiteX441" fmla="*/ 444432 w 863435"/>
                    <a:gd name="connsiteY441" fmla="*/ 122097 h 668383"/>
                    <a:gd name="connsiteX442" fmla="*/ 445986 w 863435"/>
                    <a:gd name="connsiteY442" fmla="*/ 118794 h 668383"/>
                    <a:gd name="connsiteX443" fmla="*/ 448123 w 863435"/>
                    <a:gd name="connsiteY443" fmla="*/ 115455 h 668383"/>
                    <a:gd name="connsiteX444" fmla="*/ 451559 w 863435"/>
                    <a:gd name="connsiteY444" fmla="*/ 111861 h 668383"/>
                    <a:gd name="connsiteX445" fmla="*/ 455044 w 863435"/>
                    <a:gd name="connsiteY445" fmla="*/ 110926 h 668383"/>
                    <a:gd name="connsiteX446" fmla="*/ 471705 w 863435"/>
                    <a:gd name="connsiteY446" fmla="*/ 110659 h 668383"/>
                    <a:gd name="connsiteX447" fmla="*/ 476210 w 863435"/>
                    <a:gd name="connsiteY447" fmla="*/ 112140 h 668383"/>
                    <a:gd name="connsiteX448" fmla="*/ 480192 w 863435"/>
                    <a:gd name="connsiteY448" fmla="*/ 115188 h 668383"/>
                    <a:gd name="connsiteX449" fmla="*/ 488170 w 863435"/>
                    <a:gd name="connsiteY449" fmla="*/ 124951 h 668383"/>
                    <a:gd name="connsiteX450" fmla="*/ 494752 w 863435"/>
                    <a:gd name="connsiteY450" fmla="*/ 124247 h 668383"/>
                    <a:gd name="connsiteX451" fmla="*/ 502086 w 863435"/>
                    <a:gd name="connsiteY451" fmla="*/ 119499 h 668383"/>
                    <a:gd name="connsiteX452" fmla="*/ 505267 w 863435"/>
                    <a:gd name="connsiteY452" fmla="*/ 116584 h 668383"/>
                    <a:gd name="connsiteX453" fmla="*/ 512286 w 863435"/>
                    <a:gd name="connsiteY453" fmla="*/ 114241 h 668383"/>
                    <a:gd name="connsiteX454" fmla="*/ 515528 w 863435"/>
                    <a:gd name="connsiteY454" fmla="*/ 119535 h 668383"/>
                    <a:gd name="connsiteX455" fmla="*/ 514606 w 863435"/>
                    <a:gd name="connsiteY455" fmla="*/ 122474 h 668383"/>
                    <a:gd name="connsiteX456" fmla="*/ 514047 w 863435"/>
                    <a:gd name="connsiteY456" fmla="*/ 123433 h 668383"/>
                    <a:gd name="connsiteX457" fmla="*/ 515601 w 863435"/>
                    <a:gd name="connsiteY457" fmla="*/ 123457 h 668383"/>
                    <a:gd name="connsiteX458" fmla="*/ 519730 w 863435"/>
                    <a:gd name="connsiteY458" fmla="*/ 124769 h 668383"/>
                    <a:gd name="connsiteX459" fmla="*/ 524113 w 863435"/>
                    <a:gd name="connsiteY459" fmla="*/ 127683 h 668383"/>
                    <a:gd name="connsiteX460" fmla="*/ 526360 w 863435"/>
                    <a:gd name="connsiteY460" fmla="*/ 132115 h 668383"/>
                    <a:gd name="connsiteX461" fmla="*/ 528509 w 863435"/>
                    <a:gd name="connsiteY461" fmla="*/ 147974 h 668383"/>
                    <a:gd name="connsiteX462" fmla="*/ 529772 w 863435"/>
                    <a:gd name="connsiteY462" fmla="*/ 150293 h 668383"/>
                    <a:gd name="connsiteX463" fmla="*/ 531326 w 863435"/>
                    <a:gd name="connsiteY463" fmla="*/ 151775 h 668383"/>
                    <a:gd name="connsiteX464" fmla="*/ 533791 w 863435"/>
                    <a:gd name="connsiteY464" fmla="*/ 153669 h 668383"/>
                    <a:gd name="connsiteX465" fmla="*/ 536778 w 863435"/>
                    <a:gd name="connsiteY465" fmla="*/ 154276 h 668383"/>
                    <a:gd name="connsiteX466" fmla="*/ 538357 w 863435"/>
                    <a:gd name="connsiteY466" fmla="*/ 154142 h 668383"/>
                    <a:gd name="connsiteX467" fmla="*/ 541964 w 863435"/>
                    <a:gd name="connsiteY467" fmla="*/ 151993 h 668383"/>
                    <a:gd name="connsiteX468" fmla="*/ 545558 w 863435"/>
                    <a:gd name="connsiteY468" fmla="*/ 150973 h 668383"/>
                    <a:gd name="connsiteX469" fmla="*/ 553742 w 863435"/>
                    <a:gd name="connsiteY469" fmla="*/ 154130 h 668383"/>
                    <a:gd name="connsiteX470" fmla="*/ 559680 w 863435"/>
                    <a:gd name="connsiteY470" fmla="*/ 154531 h 668383"/>
                    <a:gd name="connsiteX471" fmla="*/ 561635 w 863435"/>
                    <a:gd name="connsiteY471" fmla="*/ 157542 h 668383"/>
                    <a:gd name="connsiteX472" fmla="*/ 562643 w 863435"/>
                    <a:gd name="connsiteY472" fmla="*/ 160178 h 668383"/>
                    <a:gd name="connsiteX473" fmla="*/ 563566 w 863435"/>
                    <a:gd name="connsiteY473" fmla="*/ 167245 h 668383"/>
                    <a:gd name="connsiteX474" fmla="*/ 563359 w 863435"/>
                    <a:gd name="connsiteY474" fmla="*/ 169795 h 668383"/>
                    <a:gd name="connsiteX475" fmla="*/ 562169 w 863435"/>
                    <a:gd name="connsiteY475" fmla="*/ 172661 h 668383"/>
                    <a:gd name="connsiteX476" fmla="*/ 557446 w 863435"/>
                    <a:gd name="connsiteY476" fmla="*/ 178052 h 668383"/>
                    <a:gd name="connsiteX477" fmla="*/ 557616 w 863435"/>
                    <a:gd name="connsiteY477" fmla="*/ 178428 h 668383"/>
                    <a:gd name="connsiteX478" fmla="*/ 571483 w 863435"/>
                    <a:gd name="connsiteY478" fmla="*/ 185823 h 668383"/>
                    <a:gd name="connsiteX479" fmla="*/ 583359 w 863435"/>
                    <a:gd name="connsiteY479" fmla="*/ 194736 h 668383"/>
                    <a:gd name="connsiteX480" fmla="*/ 586018 w 863435"/>
                    <a:gd name="connsiteY480" fmla="*/ 196157 h 668383"/>
                    <a:gd name="connsiteX481" fmla="*/ 586662 w 863435"/>
                    <a:gd name="connsiteY481" fmla="*/ 195283 h 668383"/>
                    <a:gd name="connsiteX482" fmla="*/ 587329 w 863435"/>
                    <a:gd name="connsiteY482" fmla="*/ 193668 h 668383"/>
                    <a:gd name="connsiteX483" fmla="*/ 587354 w 863435"/>
                    <a:gd name="connsiteY483" fmla="*/ 192441 h 668383"/>
                    <a:gd name="connsiteX484" fmla="*/ 587002 w 863435"/>
                    <a:gd name="connsiteY484" fmla="*/ 191470 h 668383"/>
                    <a:gd name="connsiteX485" fmla="*/ 587196 w 863435"/>
                    <a:gd name="connsiteY485" fmla="*/ 188811 h 668383"/>
                    <a:gd name="connsiteX486" fmla="*/ 588495 w 863435"/>
                    <a:gd name="connsiteY486" fmla="*/ 186103 h 668383"/>
                    <a:gd name="connsiteX487" fmla="*/ 588981 w 863435"/>
                    <a:gd name="connsiteY487" fmla="*/ 185228 h 668383"/>
                    <a:gd name="connsiteX488" fmla="*/ 591337 w 863435"/>
                    <a:gd name="connsiteY488" fmla="*/ 184184 h 668383"/>
                    <a:gd name="connsiteX489" fmla="*/ 591543 w 863435"/>
                    <a:gd name="connsiteY489" fmla="*/ 184026 h 668383"/>
                    <a:gd name="connsiteX490" fmla="*/ 591398 w 863435"/>
                    <a:gd name="connsiteY490" fmla="*/ 178659 h 668383"/>
                    <a:gd name="connsiteX491" fmla="*/ 593401 w 863435"/>
                    <a:gd name="connsiteY491" fmla="*/ 170305 h 668383"/>
                    <a:gd name="connsiteX492" fmla="*/ 595526 w 863435"/>
                    <a:gd name="connsiteY492" fmla="*/ 167645 h 668383"/>
                    <a:gd name="connsiteX493" fmla="*/ 602120 w 863435"/>
                    <a:gd name="connsiteY493" fmla="*/ 162218 h 668383"/>
                    <a:gd name="connsiteX494" fmla="*/ 612065 w 863435"/>
                    <a:gd name="connsiteY494" fmla="*/ 152382 h 668383"/>
                    <a:gd name="connsiteX495" fmla="*/ 617396 w 863435"/>
                    <a:gd name="connsiteY495" fmla="*/ 152430 h 668383"/>
                    <a:gd name="connsiteX496" fmla="*/ 622544 w 863435"/>
                    <a:gd name="connsiteY496" fmla="*/ 154325 h 668383"/>
                    <a:gd name="connsiteX497" fmla="*/ 626005 w 863435"/>
                    <a:gd name="connsiteY497" fmla="*/ 156146 h 668383"/>
                    <a:gd name="connsiteX498" fmla="*/ 628567 w 863435"/>
                    <a:gd name="connsiteY498" fmla="*/ 156195 h 668383"/>
                    <a:gd name="connsiteX499" fmla="*/ 632076 w 863435"/>
                    <a:gd name="connsiteY499" fmla="*/ 155211 h 668383"/>
                    <a:gd name="connsiteX500" fmla="*/ 634396 w 863435"/>
                    <a:gd name="connsiteY500" fmla="*/ 155150 h 668383"/>
                    <a:gd name="connsiteX501" fmla="*/ 637638 w 863435"/>
                    <a:gd name="connsiteY501" fmla="*/ 153487 h 668383"/>
                    <a:gd name="connsiteX502" fmla="*/ 639350 w 863435"/>
                    <a:gd name="connsiteY502" fmla="*/ 149686 h 668383"/>
                    <a:gd name="connsiteX503" fmla="*/ 641912 w 863435"/>
                    <a:gd name="connsiteY503" fmla="*/ 147513 h 668383"/>
                    <a:gd name="connsiteX504" fmla="*/ 645300 w 863435"/>
                    <a:gd name="connsiteY504" fmla="*/ 147027 h 668383"/>
                    <a:gd name="connsiteX505" fmla="*/ 648336 w 863435"/>
                    <a:gd name="connsiteY505" fmla="*/ 147901 h 668383"/>
                    <a:gd name="connsiteX506" fmla="*/ 651529 w 863435"/>
                    <a:gd name="connsiteY506" fmla="*/ 149613 h 668383"/>
                    <a:gd name="connsiteX507" fmla="*/ 657831 w 863435"/>
                    <a:gd name="connsiteY507" fmla="*/ 154519 h 668383"/>
                    <a:gd name="connsiteX508" fmla="*/ 667364 w 863435"/>
                    <a:gd name="connsiteY508" fmla="*/ 157336 h 668383"/>
                    <a:gd name="connsiteX509" fmla="*/ 667327 w 863435"/>
                    <a:gd name="connsiteY509" fmla="*/ 156656 h 668383"/>
                    <a:gd name="connsiteX510" fmla="*/ 667631 w 863435"/>
                    <a:gd name="connsiteY510" fmla="*/ 153681 h 668383"/>
                    <a:gd name="connsiteX511" fmla="*/ 669805 w 863435"/>
                    <a:gd name="connsiteY511" fmla="*/ 150682 h 668383"/>
                    <a:gd name="connsiteX512" fmla="*/ 672245 w 863435"/>
                    <a:gd name="connsiteY512" fmla="*/ 147173 h 668383"/>
                    <a:gd name="connsiteX513" fmla="*/ 672925 w 863435"/>
                    <a:gd name="connsiteY513" fmla="*/ 142534 h 668383"/>
                    <a:gd name="connsiteX514" fmla="*/ 676629 w 863435"/>
                    <a:gd name="connsiteY514" fmla="*/ 142036 h 668383"/>
                    <a:gd name="connsiteX515" fmla="*/ 684485 w 863435"/>
                    <a:gd name="connsiteY515" fmla="*/ 143785 h 668383"/>
                    <a:gd name="connsiteX516" fmla="*/ 694564 w 863435"/>
                    <a:gd name="connsiteY516" fmla="*/ 147695 h 668383"/>
                    <a:gd name="connsiteX517" fmla="*/ 696179 w 863435"/>
                    <a:gd name="connsiteY517" fmla="*/ 147853 h 668383"/>
                    <a:gd name="connsiteX518" fmla="*/ 697126 w 863435"/>
                    <a:gd name="connsiteY518" fmla="*/ 147488 h 668383"/>
                    <a:gd name="connsiteX519" fmla="*/ 697454 w 863435"/>
                    <a:gd name="connsiteY519" fmla="*/ 147112 h 668383"/>
                    <a:gd name="connsiteX520" fmla="*/ 697697 w 863435"/>
                    <a:gd name="connsiteY520" fmla="*/ 143918 h 668383"/>
                    <a:gd name="connsiteX521" fmla="*/ 698498 w 863435"/>
                    <a:gd name="connsiteY521" fmla="*/ 140615 h 668383"/>
                    <a:gd name="connsiteX522" fmla="*/ 700939 w 863435"/>
                    <a:gd name="connsiteY522" fmla="*/ 133791 h 668383"/>
                    <a:gd name="connsiteX523" fmla="*/ 700478 w 863435"/>
                    <a:gd name="connsiteY523" fmla="*/ 128193 h 668383"/>
                    <a:gd name="connsiteX524" fmla="*/ 702615 w 863435"/>
                    <a:gd name="connsiteY524" fmla="*/ 118139 h 668383"/>
                    <a:gd name="connsiteX525" fmla="*/ 702238 w 863435"/>
                    <a:gd name="connsiteY525" fmla="*/ 116099 h 668383"/>
                    <a:gd name="connsiteX526" fmla="*/ 701607 w 863435"/>
                    <a:gd name="connsiteY526" fmla="*/ 115054 h 668383"/>
                    <a:gd name="connsiteX527" fmla="*/ 700405 w 863435"/>
                    <a:gd name="connsiteY527" fmla="*/ 111788 h 668383"/>
                    <a:gd name="connsiteX528" fmla="*/ 702214 w 863435"/>
                    <a:gd name="connsiteY528" fmla="*/ 109189 h 668383"/>
                    <a:gd name="connsiteX529" fmla="*/ 703428 w 863435"/>
                    <a:gd name="connsiteY529" fmla="*/ 107987 h 668383"/>
                    <a:gd name="connsiteX530" fmla="*/ 704715 w 863435"/>
                    <a:gd name="connsiteY530" fmla="*/ 106397 h 668383"/>
                    <a:gd name="connsiteX531" fmla="*/ 707593 w 863435"/>
                    <a:gd name="connsiteY531" fmla="*/ 100993 h 668383"/>
                    <a:gd name="connsiteX532" fmla="*/ 709548 w 863435"/>
                    <a:gd name="connsiteY532" fmla="*/ 98285 h 668383"/>
                    <a:gd name="connsiteX533" fmla="*/ 710738 w 863435"/>
                    <a:gd name="connsiteY533" fmla="*/ 96184 h 668383"/>
                    <a:gd name="connsiteX534" fmla="*/ 710835 w 863435"/>
                    <a:gd name="connsiteY534" fmla="*/ 94654 h 668383"/>
                    <a:gd name="connsiteX535" fmla="*/ 709998 w 863435"/>
                    <a:gd name="connsiteY535" fmla="*/ 73914 h 668383"/>
                    <a:gd name="connsiteX536" fmla="*/ 710811 w 863435"/>
                    <a:gd name="connsiteY536" fmla="*/ 70041 h 668383"/>
                    <a:gd name="connsiteX537" fmla="*/ 712232 w 863435"/>
                    <a:gd name="connsiteY537" fmla="*/ 66519 h 668383"/>
                    <a:gd name="connsiteX538" fmla="*/ 716822 w 863435"/>
                    <a:gd name="connsiteY538" fmla="*/ 59938 h 668383"/>
                    <a:gd name="connsiteX539" fmla="*/ 721485 w 863435"/>
                    <a:gd name="connsiteY539" fmla="*/ 55129 h 668383"/>
                    <a:gd name="connsiteX540" fmla="*/ 723950 w 863435"/>
                    <a:gd name="connsiteY540" fmla="*/ 53223 h 668383"/>
                    <a:gd name="connsiteX541" fmla="*/ 731187 w 863435"/>
                    <a:gd name="connsiteY541" fmla="*/ 50442 h 668383"/>
                    <a:gd name="connsiteX542" fmla="*/ 734490 w 863435"/>
                    <a:gd name="connsiteY542" fmla="*/ 50660 h 668383"/>
                    <a:gd name="connsiteX543" fmla="*/ 738230 w 863435"/>
                    <a:gd name="connsiteY543" fmla="*/ 52033 h 668383"/>
                    <a:gd name="connsiteX544" fmla="*/ 740671 w 863435"/>
                    <a:gd name="connsiteY544" fmla="*/ 41201 h 668383"/>
                    <a:gd name="connsiteX545" fmla="*/ 741084 w 863435"/>
                    <a:gd name="connsiteY545" fmla="*/ 37765 h 668383"/>
                    <a:gd name="connsiteX546" fmla="*/ 743124 w 863435"/>
                    <a:gd name="connsiteY546" fmla="*/ 31535 h 668383"/>
                    <a:gd name="connsiteX547" fmla="*/ 746196 w 863435"/>
                    <a:gd name="connsiteY547" fmla="*/ 28585 h 668383"/>
                    <a:gd name="connsiteX548" fmla="*/ 749268 w 863435"/>
                    <a:gd name="connsiteY548" fmla="*/ 27686 h 668383"/>
                    <a:gd name="connsiteX549" fmla="*/ 754174 w 863435"/>
                    <a:gd name="connsiteY549" fmla="*/ 27382 h 668383"/>
                    <a:gd name="connsiteX550" fmla="*/ 754732 w 863435"/>
                    <a:gd name="connsiteY550" fmla="*/ 26727 h 668383"/>
                    <a:gd name="connsiteX551" fmla="*/ 757136 w 863435"/>
                    <a:gd name="connsiteY551" fmla="*/ 25549 h 668383"/>
                    <a:gd name="connsiteX552" fmla="*/ 760148 w 863435"/>
                    <a:gd name="connsiteY552" fmla="*/ 25792 h 668383"/>
                    <a:gd name="connsiteX553" fmla="*/ 763062 w 863435"/>
                    <a:gd name="connsiteY553" fmla="*/ 27395 h 668383"/>
                    <a:gd name="connsiteX554" fmla="*/ 765734 w 863435"/>
                    <a:gd name="connsiteY554" fmla="*/ 28463 h 668383"/>
                    <a:gd name="connsiteX555" fmla="*/ 766887 w 863435"/>
                    <a:gd name="connsiteY555" fmla="*/ 28670 h 668383"/>
                    <a:gd name="connsiteX556" fmla="*/ 768126 w 863435"/>
                    <a:gd name="connsiteY556" fmla="*/ 28087 h 668383"/>
                    <a:gd name="connsiteX557" fmla="*/ 768891 w 863435"/>
                    <a:gd name="connsiteY557" fmla="*/ 26374 h 668383"/>
                    <a:gd name="connsiteX558" fmla="*/ 769838 w 863435"/>
                    <a:gd name="connsiteY558" fmla="*/ 21675 h 668383"/>
                    <a:gd name="connsiteX559" fmla="*/ 771295 w 863435"/>
                    <a:gd name="connsiteY559" fmla="*/ 19162 h 668383"/>
                    <a:gd name="connsiteX560" fmla="*/ 771671 w 863435"/>
                    <a:gd name="connsiteY560" fmla="*/ 18615 h 668383"/>
                    <a:gd name="connsiteX561" fmla="*/ 773456 w 863435"/>
                    <a:gd name="connsiteY561" fmla="*/ 17571 h 668383"/>
                    <a:gd name="connsiteX562" fmla="*/ 774282 w 863435"/>
                    <a:gd name="connsiteY562" fmla="*/ 14147 h 668383"/>
                    <a:gd name="connsiteX563" fmla="*/ 776662 w 863435"/>
                    <a:gd name="connsiteY563" fmla="*/ 9751 h 668383"/>
                    <a:gd name="connsiteX564" fmla="*/ 784495 w 863435"/>
                    <a:gd name="connsiteY564" fmla="*/ 2769 h 668383"/>
                    <a:gd name="connsiteX565" fmla="*/ 788708 w 863435"/>
                    <a:gd name="connsiteY565" fmla="*/ 0 h 668383"/>
                    <a:gd name="connsiteX566" fmla="*/ 793104 w 863435"/>
                    <a:gd name="connsiteY566" fmla="*/ 1384 h 668383"/>
                    <a:gd name="connsiteX567" fmla="*/ 793614 w 863435"/>
                    <a:gd name="connsiteY567" fmla="*/ 1858 h 668383"/>
                    <a:gd name="connsiteX568" fmla="*/ 794585 w 863435"/>
                    <a:gd name="connsiteY568" fmla="*/ 2052 h 668383"/>
                    <a:gd name="connsiteX569" fmla="*/ 796844 w 863435"/>
                    <a:gd name="connsiteY569" fmla="*/ 2914 h 668383"/>
                    <a:gd name="connsiteX570" fmla="*/ 799746 w 863435"/>
                    <a:gd name="connsiteY570" fmla="*/ 4906 h 668383"/>
                    <a:gd name="connsiteX571" fmla="*/ 802478 w 863435"/>
                    <a:gd name="connsiteY571" fmla="*/ 8245 h 668383"/>
                    <a:gd name="connsiteX572" fmla="*/ 804105 w 863435"/>
                    <a:gd name="connsiteY572" fmla="*/ 11366 h 668383"/>
                    <a:gd name="connsiteX573" fmla="*/ 804725 w 863435"/>
                    <a:gd name="connsiteY573" fmla="*/ 11924 h 668383"/>
                    <a:gd name="connsiteX574" fmla="*/ 815325 w 863435"/>
                    <a:gd name="connsiteY574" fmla="*/ 14074 h 668383"/>
                    <a:gd name="connsiteX575" fmla="*/ 819248 w 863435"/>
                    <a:gd name="connsiteY575" fmla="*/ 15834 h 668383"/>
                    <a:gd name="connsiteX576" fmla="*/ 826728 w 863435"/>
                    <a:gd name="connsiteY576" fmla="*/ 14729 h 668383"/>
                    <a:gd name="connsiteX577" fmla="*/ 832083 w 863435"/>
                    <a:gd name="connsiteY577" fmla="*/ 15434 h 668383"/>
                    <a:gd name="connsiteX578" fmla="*/ 834888 w 863435"/>
                    <a:gd name="connsiteY578" fmla="*/ 16648 h 668383"/>
                    <a:gd name="connsiteX579" fmla="*/ 837171 w 863435"/>
                    <a:gd name="connsiteY579" fmla="*/ 18154 h 668383"/>
                    <a:gd name="connsiteX580" fmla="*/ 839368 w 863435"/>
                    <a:gd name="connsiteY580" fmla="*/ 20594 h 668383"/>
                    <a:gd name="connsiteX581" fmla="*/ 840850 w 863435"/>
                    <a:gd name="connsiteY581" fmla="*/ 24250 h 668383"/>
                    <a:gd name="connsiteX582" fmla="*/ 841020 w 863435"/>
                    <a:gd name="connsiteY582" fmla="*/ 28767 h 668383"/>
                    <a:gd name="connsiteX583" fmla="*/ 839806 w 863435"/>
                    <a:gd name="connsiteY583" fmla="*/ 31074 h 668383"/>
                    <a:gd name="connsiteX584" fmla="*/ 838482 w 863435"/>
                    <a:gd name="connsiteY584" fmla="*/ 32932 h 668383"/>
                    <a:gd name="connsiteX585" fmla="*/ 838251 w 863435"/>
                    <a:gd name="connsiteY585" fmla="*/ 34292 h 668383"/>
                    <a:gd name="connsiteX586" fmla="*/ 838215 w 863435"/>
                    <a:gd name="connsiteY586" fmla="*/ 36380 h 668383"/>
                    <a:gd name="connsiteX587" fmla="*/ 838506 w 863435"/>
                    <a:gd name="connsiteY587" fmla="*/ 38032 h 668383"/>
                    <a:gd name="connsiteX588" fmla="*/ 839551 w 863435"/>
                    <a:gd name="connsiteY588" fmla="*/ 42403 h 668383"/>
                    <a:gd name="connsiteX589" fmla="*/ 839709 w 863435"/>
                    <a:gd name="connsiteY589" fmla="*/ 44310 h 668383"/>
                    <a:gd name="connsiteX590" fmla="*/ 839417 w 863435"/>
                    <a:gd name="connsiteY590" fmla="*/ 47455 h 668383"/>
                    <a:gd name="connsiteX591" fmla="*/ 841190 w 863435"/>
                    <a:gd name="connsiteY591" fmla="*/ 48122 h 668383"/>
                    <a:gd name="connsiteX592" fmla="*/ 842744 w 863435"/>
                    <a:gd name="connsiteY592" fmla="*/ 49155 h 668383"/>
                    <a:gd name="connsiteX593" fmla="*/ 849920 w 863435"/>
                    <a:gd name="connsiteY593" fmla="*/ 56477 h 668383"/>
                    <a:gd name="connsiteX594" fmla="*/ 851766 w 863435"/>
                    <a:gd name="connsiteY594" fmla="*/ 57691 h 668383"/>
                    <a:gd name="connsiteX595" fmla="*/ 853102 w 863435"/>
                    <a:gd name="connsiteY595" fmla="*/ 60666 h 668383"/>
                    <a:gd name="connsiteX596" fmla="*/ 854924 w 863435"/>
                    <a:gd name="connsiteY596" fmla="*/ 65074 h 668383"/>
                    <a:gd name="connsiteX597" fmla="*/ 858542 w 863435"/>
                    <a:gd name="connsiteY597" fmla="*/ 79476 h 668383"/>
                    <a:gd name="connsiteX598" fmla="*/ 859259 w 863435"/>
                    <a:gd name="connsiteY598" fmla="*/ 84454 h 668383"/>
                    <a:gd name="connsiteX599" fmla="*/ 859453 w 863435"/>
                    <a:gd name="connsiteY599" fmla="*/ 89433 h 668383"/>
                    <a:gd name="connsiteX600" fmla="*/ 858736 w 863435"/>
                    <a:gd name="connsiteY600" fmla="*/ 93452 h 668383"/>
                    <a:gd name="connsiteX601" fmla="*/ 855992 w 863435"/>
                    <a:gd name="connsiteY601" fmla="*/ 97241 h 668383"/>
                    <a:gd name="connsiteX602" fmla="*/ 855494 w 863435"/>
                    <a:gd name="connsiteY602" fmla="*/ 98722 h 668383"/>
                    <a:gd name="connsiteX603" fmla="*/ 854936 w 863435"/>
                    <a:gd name="connsiteY603" fmla="*/ 108266 h 668383"/>
                    <a:gd name="connsiteX604" fmla="*/ 854656 w 863435"/>
                    <a:gd name="connsiteY604" fmla="*/ 109396 h 668383"/>
                    <a:gd name="connsiteX605" fmla="*/ 853673 w 863435"/>
                    <a:gd name="connsiteY605" fmla="*/ 112177 h 668383"/>
                    <a:gd name="connsiteX606" fmla="*/ 851681 w 863435"/>
                    <a:gd name="connsiteY606" fmla="*/ 113111 h 668383"/>
                    <a:gd name="connsiteX607" fmla="*/ 851366 w 863435"/>
                    <a:gd name="connsiteY607" fmla="*/ 113172 h 668383"/>
                    <a:gd name="connsiteX608" fmla="*/ 852252 w 863435"/>
                    <a:gd name="connsiteY608" fmla="*/ 113306 h 668383"/>
                    <a:gd name="connsiteX609" fmla="*/ 853296 w 863435"/>
                    <a:gd name="connsiteY609" fmla="*/ 114071 h 668383"/>
                    <a:gd name="connsiteX610" fmla="*/ 854438 w 863435"/>
                    <a:gd name="connsiteY610" fmla="*/ 115115 h 668383"/>
                    <a:gd name="connsiteX611" fmla="*/ 855252 w 863435"/>
                    <a:gd name="connsiteY611" fmla="*/ 116378 h 668383"/>
                    <a:gd name="connsiteX612" fmla="*/ 856575 w 863435"/>
                    <a:gd name="connsiteY612" fmla="*/ 119207 h 668383"/>
                    <a:gd name="connsiteX613" fmla="*/ 857692 w 863435"/>
                    <a:gd name="connsiteY613" fmla="*/ 121126 h 668383"/>
                    <a:gd name="connsiteX614" fmla="*/ 858421 w 863435"/>
                    <a:gd name="connsiteY614" fmla="*/ 124052 h 668383"/>
                    <a:gd name="connsiteX615" fmla="*/ 858627 w 863435"/>
                    <a:gd name="connsiteY615" fmla="*/ 127027 h 668383"/>
                    <a:gd name="connsiteX616" fmla="*/ 858894 w 863435"/>
                    <a:gd name="connsiteY616" fmla="*/ 128472 h 668383"/>
                    <a:gd name="connsiteX617" fmla="*/ 859332 w 863435"/>
                    <a:gd name="connsiteY617" fmla="*/ 129007 h 668383"/>
                    <a:gd name="connsiteX618" fmla="*/ 859999 w 863435"/>
                    <a:gd name="connsiteY618" fmla="*/ 129602 h 668383"/>
                    <a:gd name="connsiteX619" fmla="*/ 861979 w 863435"/>
                    <a:gd name="connsiteY619" fmla="*/ 132977 h 668383"/>
                    <a:gd name="connsiteX620" fmla="*/ 861979 w 863435"/>
                    <a:gd name="connsiteY620" fmla="*/ 136462 h 668383"/>
                    <a:gd name="connsiteX621" fmla="*/ 860497 w 863435"/>
                    <a:gd name="connsiteY621" fmla="*/ 138454 h 668383"/>
                    <a:gd name="connsiteX622" fmla="*/ 858785 w 863435"/>
                    <a:gd name="connsiteY622" fmla="*/ 139680 h 668383"/>
                    <a:gd name="connsiteX623" fmla="*/ 858967 w 863435"/>
                    <a:gd name="connsiteY623" fmla="*/ 139705 h 668383"/>
                    <a:gd name="connsiteX624" fmla="*/ 863436 w 863435"/>
                    <a:gd name="connsiteY624" fmla="*/ 142048 h 668383"/>
                    <a:gd name="connsiteX625" fmla="*/ 861541 w 863435"/>
                    <a:gd name="connsiteY625" fmla="*/ 148411 h 668383"/>
                    <a:gd name="connsiteX626" fmla="*/ 859805 w 863435"/>
                    <a:gd name="connsiteY626" fmla="*/ 150317 h 668383"/>
                    <a:gd name="connsiteX627" fmla="*/ 857522 w 863435"/>
                    <a:gd name="connsiteY627" fmla="*/ 152309 h 668383"/>
                    <a:gd name="connsiteX628" fmla="*/ 854401 w 863435"/>
                    <a:gd name="connsiteY628" fmla="*/ 153924 h 668383"/>
                    <a:gd name="connsiteX629" fmla="*/ 850953 w 863435"/>
                    <a:gd name="connsiteY629" fmla="*/ 154810 h 668383"/>
                    <a:gd name="connsiteX630" fmla="*/ 847638 w 863435"/>
                    <a:gd name="connsiteY630" fmla="*/ 154944 h 668383"/>
                    <a:gd name="connsiteX631" fmla="*/ 844784 w 863435"/>
                    <a:gd name="connsiteY631" fmla="*/ 154446 h 668383"/>
                    <a:gd name="connsiteX632" fmla="*/ 841991 w 863435"/>
                    <a:gd name="connsiteY632" fmla="*/ 153208 h 668383"/>
                    <a:gd name="connsiteX633" fmla="*/ 842307 w 863435"/>
                    <a:gd name="connsiteY633" fmla="*/ 154543 h 668383"/>
                    <a:gd name="connsiteX634" fmla="*/ 841712 w 863435"/>
                    <a:gd name="connsiteY634" fmla="*/ 161113 h 668383"/>
                    <a:gd name="connsiteX635" fmla="*/ 843011 w 863435"/>
                    <a:gd name="connsiteY635" fmla="*/ 162885 h 668383"/>
                    <a:gd name="connsiteX636" fmla="*/ 843922 w 863435"/>
                    <a:gd name="connsiteY636" fmla="*/ 164962 h 668383"/>
                    <a:gd name="connsiteX637" fmla="*/ 844177 w 863435"/>
                    <a:gd name="connsiteY637" fmla="*/ 167415 h 668383"/>
                    <a:gd name="connsiteX638" fmla="*/ 843703 w 863435"/>
                    <a:gd name="connsiteY638" fmla="*/ 169601 h 668383"/>
                    <a:gd name="connsiteX639" fmla="*/ 842659 w 863435"/>
                    <a:gd name="connsiteY639" fmla="*/ 171847 h 668383"/>
                    <a:gd name="connsiteX640" fmla="*/ 841530 w 863435"/>
                    <a:gd name="connsiteY640" fmla="*/ 173474 h 668383"/>
                    <a:gd name="connsiteX641" fmla="*/ 839502 w 863435"/>
                    <a:gd name="connsiteY641" fmla="*/ 175490 h 668383"/>
                    <a:gd name="connsiteX642" fmla="*/ 839271 w 863435"/>
                    <a:gd name="connsiteY642" fmla="*/ 176230 h 668383"/>
                    <a:gd name="connsiteX643" fmla="*/ 839453 w 863435"/>
                    <a:gd name="connsiteY643" fmla="*/ 176813 h 668383"/>
                    <a:gd name="connsiteX644" fmla="*/ 839903 w 863435"/>
                    <a:gd name="connsiteY644" fmla="*/ 177566 h 668383"/>
                    <a:gd name="connsiteX645" fmla="*/ 840303 w 863435"/>
                    <a:gd name="connsiteY645" fmla="*/ 180116 h 668383"/>
                    <a:gd name="connsiteX646" fmla="*/ 839441 w 863435"/>
                    <a:gd name="connsiteY646" fmla="*/ 184476 h 668383"/>
                    <a:gd name="connsiteX647" fmla="*/ 831366 w 863435"/>
                    <a:gd name="connsiteY647" fmla="*/ 201852 h 668383"/>
                    <a:gd name="connsiteX648" fmla="*/ 828585 w 863435"/>
                    <a:gd name="connsiteY648" fmla="*/ 205726 h 668383"/>
                    <a:gd name="connsiteX649" fmla="*/ 822623 w 863435"/>
                    <a:gd name="connsiteY649" fmla="*/ 210534 h 668383"/>
                    <a:gd name="connsiteX650" fmla="*/ 817632 w 863435"/>
                    <a:gd name="connsiteY650" fmla="*/ 213934 h 668383"/>
                    <a:gd name="connsiteX651" fmla="*/ 814196 w 863435"/>
                    <a:gd name="connsiteY651" fmla="*/ 215003 h 668383"/>
                    <a:gd name="connsiteX652" fmla="*/ 811270 w 863435"/>
                    <a:gd name="connsiteY652" fmla="*/ 216120 h 668383"/>
                    <a:gd name="connsiteX653" fmla="*/ 810857 w 863435"/>
                    <a:gd name="connsiteY653" fmla="*/ 216630 h 668383"/>
                    <a:gd name="connsiteX654" fmla="*/ 810650 w 863435"/>
                    <a:gd name="connsiteY654" fmla="*/ 217784 h 668383"/>
                    <a:gd name="connsiteX655" fmla="*/ 810905 w 863435"/>
                    <a:gd name="connsiteY655" fmla="*/ 219095 h 668383"/>
                    <a:gd name="connsiteX656" fmla="*/ 810905 w 863435"/>
                    <a:gd name="connsiteY656" fmla="*/ 219702 h 668383"/>
                    <a:gd name="connsiteX657" fmla="*/ 813030 w 863435"/>
                    <a:gd name="connsiteY657" fmla="*/ 219605 h 668383"/>
                    <a:gd name="connsiteX658" fmla="*/ 815787 w 863435"/>
                    <a:gd name="connsiteY658" fmla="*/ 221512 h 668383"/>
                    <a:gd name="connsiteX659" fmla="*/ 818556 w 863435"/>
                    <a:gd name="connsiteY659" fmla="*/ 226684 h 668383"/>
                    <a:gd name="connsiteX660" fmla="*/ 817912 w 863435"/>
                    <a:gd name="connsiteY660" fmla="*/ 231869 h 668383"/>
                    <a:gd name="connsiteX661" fmla="*/ 814172 w 863435"/>
                    <a:gd name="connsiteY661" fmla="*/ 234383 h 668383"/>
                    <a:gd name="connsiteX662" fmla="*/ 810577 w 863435"/>
                    <a:gd name="connsiteY662" fmla="*/ 234711 h 668383"/>
                    <a:gd name="connsiteX663" fmla="*/ 804895 w 863435"/>
                    <a:gd name="connsiteY663" fmla="*/ 234007 h 668383"/>
                    <a:gd name="connsiteX664" fmla="*/ 804457 w 863435"/>
                    <a:gd name="connsiteY664" fmla="*/ 234152 h 668383"/>
                    <a:gd name="connsiteX665" fmla="*/ 804081 w 863435"/>
                    <a:gd name="connsiteY665" fmla="*/ 237795 h 668383"/>
                    <a:gd name="connsiteX666" fmla="*/ 802988 w 863435"/>
                    <a:gd name="connsiteY666" fmla="*/ 241001 h 668383"/>
                    <a:gd name="connsiteX667" fmla="*/ 800657 w 863435"/>
                    <a:gd name="connsiteY667" fmla="*/ 245846 h 668383"/>
                    <a:gd name="connsiteX668" fmla="*/ 797305 w 863435"/>
                    <a:gd name="connsiteY668" fmla="*/ 248020 h 668383"/>
                    <a:gd name="connsiteX669" fmla="*/ 793055 w 863435"/>
                    <a:gd name="connsiteY669" fmla="*/ 247364 h 668383"/>
                    <a:gd name="connsiteX670" fmla="*/ 788308 w 863435"/>
                    <a:gd name="connsiteY670" fmla="*/ 242883 h 668383"/>
                    <a:gd name="connsiteX671" fmla="*/ 786680 w 863435"/>
                    <a:gd name="connsiteY671" fmla="*/ 242227 h 668383"/>
                    <a:gd name="connsiteX672" fmla="*/ 785612 w 863435"/>
                    <a:gd name="connsiteY672" fmla="*/ 242252 h 668383"/>
                    <a:gd name="connsiteX673" fmla="*/ 785430 w 863435"/>
                    <a:gd name="connsiteY673" fmla="*/ 242349 h 668383"/>
                    <a:gd name="connsiteX674" fmla="*/ 785320 w 863435"/>
                    <a:gd name="connsiteY674" fmla="*/ 242956 h 668383"/>
                    <a:gd name="connsiteX675" fmla="*/ 786352 w 863435"/>
                    <a:gd name="connsiteY675" fmla="*/ 247060 h 668383"/>
                    <a:gd name="connsiteX676" fmla="*/ 785915 w 863435"/>
                    <a:gd name="connsiteY676" fmla="*/ 251322 h 668383"/>
                    <a:gd name="connsiteX677" fmla="*/ 786170 w 863435"/>
                    <a:gd name="connsiteY677" fmla="*/ 255864 h 668383"/>
                    <a:gd name="connsiteX678" fmla="*/ 785417 w 863435"/>
                    <a:gd name="connsiteY678" fmla="*/ 259349 h 668383"/>
                    <a:gd name="connsiteX679" fmla="*/ 783511 w 863435"/>
                    <a:gd name="connsiteY679" fmla="*/ 261255 h 668383"/>
                    <a:gd name="connsiteX680" fmla="*/ 781216 w 863435"/>
                    <a:gd name="connsiteY680" fmla="*/ 262858 h 668383"/>
                    <a:gd name="connsiteX681" fmla="*/ 778593 w 863435"/>
                    <a:gd name="connsiteY681" fmla="*/ 265845 h 668383"/>
                    <a:gd name="connsiteX682" fmla="*/ 774792 w 863435"/>
                    <a:gd name="connsiteY682" fmla="*/ 266938 h 668383"/>
                    <a:gd name="connsiteX683" fmla="*/ 768575 w 863435"/>
                    <a:gd name="connsiteY683" fmla="*/ 265299 h 668383"/>
                    <a:gd name="connsiteX684" fmla="*/ 765588 w 863435"/>
                    <a:gd name="connsiteY684" fmla="*/ 265481 h 668383"/>
                    <a:gd name="connsiteX685" fmla="*/ 754781 w 863435"/>
                    <a:gd name="connsiteY685" fmla="*/ 269840 h 668383"/>
                    <a:gd name="connsiteX686" fmla="*/ 752789 w 863435"/>
                    <a:gd name="connsiteY686" fmla="*/ 269549 h 668383"/>
                    <a:gd name="connsiteX687" fmla="*/ 750871 w 863435"/>
                    <a:gd name="connsiteY687" fmla="*/ 268408 h 668383"/>
                    <a:gd name="connsiteX688" fmla="*/ 750458 w 863435"/>
                    <a:gd name="connsiteY688" fmla="*/ 267885 h 668383"/>
                    <a:gd name="connsiteX689" fmla="*/ 749572 w 863435"/>
                    <a:gd name="connsiteY689" fmla="*/ 266283 h 668383"/>
                    <a:gd name="connsiteX690" fmla="*/ 749122 w 863435"/>
                    <a:gd name="connsiteY690" fmla="*/ 264303 h 668383"/>
                    <a:gd name="connsiteX691" fmla="*/ 748806 w 863435"/>
                    <a:gd name="connsiteY691" fmla="*/ 261268 h 668383"/>
                    <a:gd name="connsiteX692" fmla="*/ 748357 w 863435"/>
                    <a:gd name="connsiteY692" fmla="*/ 259264 h 668383"/>
                    <a:gd name="connsiteX693" fmla="*/ 748005 w 863435"/>
                    <a:gd name="connsiteY693" fmla="*/ 258888 h 668383"/>
                    <a:gd name="connsiteX694" fmla="*/ 747349 w 863435"/>
                    <a:gd name="connsiteY694" fmla="*/ 258839 h 668383"/>
                    <a:gd name="connsiteX695" fmla="*/ 739493 w 863435"/>
                    <a:gd name="connsiteY695" fmla="*/ 260782 h 668383"/>
                    <a:gd name="connsiteX696" fmla="*/ 736991 w 863435"/>
                    <a:gd name="connsiteY696" fmla="*/ 261668 h 668383"/>
                    <a:gd name="connsiteX697" fmla="*/ 739408 w 863435"/>
                    <a:gd name="connsiteY697" fmla="*/ 263684 h 668383"/>
                    <a:gd name="connsiteX698" fmla="*/ 741205 w 863435"/>
                    <a:gd name="connsiteY698" fmla="*/ 266003 h 668383"/>
                    <a:gd name="connsiteX699" fmla="*/ 741229 w 863435"/>
                    <a:gd name="connsiteY699" fmla="*/ 268541 h 668383"/>
                    <a:gd name="connsiteX700" fmla="*/ 741715 w 863435"/>
                    <a:gd name="connsiteY700" fmla="*/ 269318 h 668383"/>
                    <a:gd name="connsiteX701" fmla="*/ 744665 w 863435"/>
                    <a:gd name="connsiteY701" fmla="*/ 271431 h 668383"/>
                    <a:gd name="connsiteX702" fmla="*/ 746705 w 863435"/>
                    <a:gd name="connsiteY702" fmla="*/ 274503 h 668383"/>
                    <a:gd name="connsiteX703" fmla="*/ 747507 w 863435"/>
                    <a:gd name="connsiteY703" fmla="*/ 278425 h 668383"/>
                    <a:gd name="connsiteX704" fmla="*/ 747033 w 863435"/>
                    <a:gd name="connsiteY704" fmla="*/ 281971 h 668383"/>
                    <a:gd name="connsiteX705" fmla="*/ 745030 w 863435"/>
                    <a:gd name="connsiteY705" fmla="*/ 285918 h 668383"/>
                    <a:gd name="connsiteX706" fmla="*/ 742079 w 863435"/>
                    <a:gd name="connsiteY706" fmla="*/ 288055 h 668383"/>
                    <a:gd name="connsiteX707" fmla="*/ 740440 w 863435"/>
                    <a:gd name="connsiteY707" fmla="*/ 288043 h 668383"/>
                    <a:gd name="connsiteX708" fmla="*/ 740331 w 863435"/>
                    <a:gd name="connsiteY708" fmla="*/ 288383 h 668383"/>
                    <a:gd name="connsiteX709" fmla="*/ 740585 w 863435"/>
                    <a:gd name="connsiteY709" fmla="*/ 291649 h 668383"/>
                    <a:gd name="connsiteX710" fmla="*/ 740270 w 863435"/>
                    <a:gd name="connsiteY710" fmla="*/ 294296 h 668383"/>
                    <a:gd name="connsiteX711" fmla="*/ 738703 w 863435"/>
                    <a:gd name="connsiteY711" fmla="*/ 298765 h 668383"/>
                    <a:gd name="connsiteX712" fmla="*/ 735376 w 863435"/>
                    <a:gd name="connsiteY712" fmla="*/ 300781 h 668383"/>
                    <a:gd name="connsiteX713" fmla="*/ 731576 w 863435"/>
                    <a:gd name="connsiteY713" fmla="*/ 300550 h 668383"/>
                    <a:gd name="connsiteX714" fmla="*/ 728467 w 863435"/>
                    <a:gd name="connsiteY714" fmla="*/ 296045 h 668383"/>
                    <a:gd name="connsiteX715" fmla="*/ 727581 w 863435"/>
                    <a:gd name="connsiteY715" fmla="*/ 295486 h 668383"/>
                    <a:gd name="connsiteX716" fmla="*/ 727022 w 863435"/>
                    <a:gd name="connsiteY716" fmla="*/ 295547 h 668383"/>
                    <a:gd name="connsiteX717" fmla="*/ 725468 w 863435"/>
                    <a:gd name="connsiteY717" fmla="*/ 295365 h 668383"/>
                    <a:gd name="connsiteX718" fmla="*/ 721145 w 863435"/>
                    <a:gd name="connsiteY718" fmla="*/ 294151 h 668383"/>
                    <a:gd name="connsiteX719" fmla="*/ 720440 w 863435"/>
                    <a:gd name="connsiteY719" fmla="*/ 294053 h 668383"/>
                    <a:gd name="connsiteX720" fmla="*/ 720708 w 863435"/>
                    <a:gd name="connsiteY720" fmla="*/ 294357 h 668383"/>
                    <a:gd name="connsiteX721" fmla="*/ 723695 w 863435"/>
                    <a:gd name="connsiteY721" fmla="*/ 297053 h 668383"/>
                    <a:gd name="connsiteX722" fmla="*/ 725443 w 863435"/>
                    <a:gd name="connsiteY722" fmla="*/ 299761 h 668383"/>
                    <a:gd name="connsiteX723" fmla="*/ 726111 w 863435"/>
                    <a:gd name="connsiteY723" fmla="*/ 302104 h 668383"/>
                    <a:gd name="connsiteX724" fmla="*/ 724654 w 863435"/>
                    <a:gd name="connsiteY724" fmla="*/ 307350 h 668383"/>
                    <a:gd name="connsiteX725" fmla="*/ 715680 w 863435"/>
                    <a:gd name="connsiteY725" fmla="*/ 309293 h 668383"/>
                    <a:gd name="connsiteX726" fmla="*/ 705238 w 863435"/>
                    <a:gd name="connsiteY726" fmla="*/ 306731 h 668383"/>
                    <a:gd name="connsiteX727" fmla="*/ 700344 w 863435"/>
                    <a:gd name="connsiteY727" fmla="*/ 304460 h 668383"/>
                    <a:gd name="connsiteX728" fmla="*/ 696155 w 863435"/>
                    <a:gd name="connsiteY728" fmla="*/ 301509 h 668383"/>
                    <a:gd name="connsiteX729" fmla="*/ 692281 w 863435"/>
                    <a:gd name="connsiteY729" fmla="*/ 297648 h 668383"/>
                    <a:gd name="connsiteX730" fmla="*/ 691552 w 863435"/>
                    <a:gd name="connsiteY730" fmla="*/ 297417 h 668383"/>
                    <a:gd name="connsiteX731" fmla="*/ 690229 w 863435"/>
                    <a:gd name="connsiteY731" fmla="*/ 297514 h 668383"/>
                    <a:gd name="connsiteX732" fmla="*/ 686914 w 863435"/>
                    <a:gd name="connsiteY732" fmla="*/ 297162 h 668383"/>
                    <a:gd name="connsiteX733" fmla="*/ 682008 w 863435"/>
                    <a:gd name="connsiteY733" fmla="*/ 295061 h 668383"/>
                    <a:gd name="connsiteX734" fmla="*/ 671942 w 863435"/>
                    <a:gd name="connsiteY734" fmla="*/ 288334 h 668383"/>
                    <a:gd name="connsiteX735" fmla="*/ 669294 w 863435"/>
                    <a:gd name="connsiteY735" fmla="*/ 287411 h 668383"/>
                    <a:gd name="connsiteX736" fmla="*/ 668881 w 863435"/>
                    <a:gd name="connsiteY736" fmla="*/ 287399 h 668383"/>
                    <a:gd name="connsiteX737" fmla="*/ 668323 w 863435"/>
                    <a:gd name="connsiteY737" fmla="*/ 287788 h 668383"/>
                    <a:gd name="connsiteX738" fmla="*/ 667971 w 863435"/>
                    <a:gd name="connsiteY738" fmla="*/ 288419 h 668383"/>
                    <a:gd name="connsiteX739" fmla="*/ 667619 w 863435"/>
                    <a:gd name="connsiteY739" fmla="*/ 290143 h 668383"/>
                    <a:gd name="connsiteX740" fmla="*/ 667230 w 863435"/>
                    <a:gd name="connsiteY740" fmla="*/ 291309 h 668383"/>
                    <a:gd name="connsiteX741" fmla="*/ 666259 w 863435"/>
                    <a:gd name="connsiteY741" fmla="*/ 293009 h 668383"/>
                    <a:gd name="connsiteX742" fmla="*/ 664534 w 863435"/>
                    <a:gd name="connsiteY742" fmla="*/ 295171 h 668383"/>
                    <a:gd name="connsiteX743" fmla="*/ 660296 w 863435"/>
                    <a:gd name="connsiteY743" fmla="*/ 298231 h 668383"/>
                    <a:gd name="connsiteX744" fmla="*/ 660090 w 863435"/>
                    <a:gd name="connsiteY744" fmla="*/ 298862 h 668383"/>
                    <a:gd name="connsiteX745" fmla="*/ 658973 w 863435"/>
                    <a:gd name="connsiteY745" fmla="*/ 300951 h 668383"/>
                    <a:gd name="connsiteX746" fmla="*/ 658245 w 863435"/>
                    <a:gd name="connsiteY746" fmla="*/ 303986 h 668383"/>
                    <a:gd name="connsiteX747" fmla="*/ 658597 w 863435"/>
                    <a:gd name="connsiteY747" fmla="*/ 304970 h 668383"/>
                    <a:gd name="connsiteX748" fmla="*/ 659252 w 863435"/>
                    <a:gd name="connsiteY748" fmla="*/ 306318 h 668383"/>
                    <a:gd name="connsiteX749" fmla="*/ 660770 w 863435"/>
                    <a:gd name="connsiteY749" fmla="*/ 311151 h 668383"/>
                    <a:gd name="connsiteX750" fmla="*/ 659762 w 863435"/>
                    <a:gd name="connsiteY750" fmla="*/ 317854 h 668383"/>
                    <a:gd name="connsiteX751" fmla="*/ 655379 w 863435"/>
                    <a:gd name="connsiteY751" fmla="*/ 324156 h 668383"/>
                    <a:gd name="connsiteX752" fmla="*/ 647680 w 863435"/>
                    <a:gd name="connsiteY752" fmla="*/ 326597 h 668383"/>
                    <a:gd name="connsiteX753" fmla="*/ 625143 w 863435"/>
                    <a:gd name="connsiteY753" fmla="*/ 330239 h 668383"/>
                    <a:gd name="connsiteX754" fmla="*/ 613777 w 863435"/>
                    <a:gd name="connsiteY754" fmla="*/ 334004 h 668383"/>
                    <a:gd name="connsiteX755" fmla="*/ 606442 w 863435"/>
                    <a:gd name="connsiteY755" fmla="*/ 337307 h 668383"/>
                    <a:gd name="connsiteX756" fmla="*/ 590256 w 863435"/>
                    <a:gd name="connsiteY756" fmla="*/ 341751 h 668383"/>
                    <a:gd name="connsiteX757" fmla="*/ 581768 w 863435"/>
                    <a:gd name="connsiteY757" fmla="*/ 345916 h 668383"/>
                    <a:gd name="connsiteX758" fmla="*/ 576328 w 863435"/>
                    <a:gd name="connsiteY758" fmla="*/ 349413 h 668383"/>
                    <a:gd name="connsiteX759" fmla="*/ 573146 w 863435"/>
                    <a:gd name="connsiteY759" fmla="*/ 352279 h 668383"/>
                    <a:gd name="connsiteX760" fmla="*/ 571131 w 863435"/>
                    <a:gd name="connsiteY760" fmla="*/ 354768 h 668383"/>
                    <a:gd name="connsiteX761" fmla="*/ 570524 w 863435"/>
                    <a:gd name="connsiteY761" fmla="*/ 356687 h 668383"/>
                    <a:gd name="connsiteX762" fmla="*/ 570426 w 863435"/>
                    <a:gd name="connsiteY762" fmla="*/ 358241 h 668383"/>
                    <a:gd name="connsiteX763" fmla="*/ 570499 w 863435"/>
                    <a:gd name="connsiteY763" fmla="*/ 360281 h 668383"/>
                    <a:gd name="connsiteX764" fmla="*/ 570257 w 863435"/>
                    <a:gd name="connsiteY764" fmla="*/ 362952 h 668383"/>
                    <a:gd name="connsiteX765" fmla="*/ 569394 w 863435"/>
                    <a:gd name="connsiteY765" fmla="*/ 365636 h 668383"/>
                    <a:gd name="connsiteX766" fmla="*/ 568010 w 863435"/>
                    <a:gd name="connsiteY766" fmla="*/ 367931 h 668383"/>
                    <a:gd name="connsiteX767" fmla="*/ 567136 w 863435"/>
                    <a:gd name="connsiteY767" fmla="*/ 368696 h 668383"/>
                    <a:gd name="connsiteX768" fmla="*/ 566905 w 863435"/>
                    <a:gd name="connsiteY768" fmla="*/ 369060 h 668383"/>
                    <a:gd name="connsiteX769" fmla="*/ 566092 w 863435"/>
                    <a:gd name="connsiteY769" fmla="*/ 369765 h 668383"/>
                    <a:gd name="connsiteX770" fmla="*/ 564489 w 863435"/>
                    <a:gd name="connsiteY770" fmla="*/ 371440 h 668383"/>
                    <a:gd name="connsiteX771" fmla="*/ 561769 w 863435"/>
                    <a:gd name="connsiteY771" fmla="*/ 373213 h 668383"/>
                    <a:gd name="connsiteX772" fmla="*/ 556657 w 863435"/>
                    <a:gd name="connsiteY772" fmla="*/ 377730 h 668383"/>
                    <a:gd name="connsiteX773" fmla="*/ 549990 w 863435"/>
                    <a:gd name="connsiteY773" fmla="*/ 380317 h 668383"/>
                    <a:gd name="connsiteX774" fmla="*/ 545607 w 863435"/>
                    <a:gd name="connsiteY774" fmla="*/ 380572 h 668383"/>
                    <a:gd name="connsiteX775" fmla="*/ 541745 w 863435"/>
                    <a:gd name="connsiteY775" fmla="*/ 378823 h 668383"/>
                    <a:gd name="connsiteX776" fmla="*/ 539329 w 863435"/>
                    <a:gd name="connsiteY776" fmla="*/ 375873 h 668383"/>
                    <a:gd name="connsiteX777" fmla="*/ 536536 w 863435"/>
                    <a:gd name="connsiteY777" fmla="*/ 374367 h 668383"/>
                    <a:gd name="connsiteX778" fmla="*/ 531763 w 863435"/>
                    <a:gd name="connsiteY778" fmla="*/ 372242 h 668383"/>
                    <a:gd name="connsiteX779" fmla="*/ 530428 w 863435"/>
                    <a:gd name="connsiteY779" fmla="*/ 371805 h 668383"/>
                    <a:gd name="connsiteX780" fmla="*/ 527635 w 863435"/>
                    <a:gd name="connsiteY780" fmla="*/ 371562 h 668383"/>
                    <a:gd name="connsiteX781" fmla="*/ 525109 w 863435"/>
                    <a:gd name="connsiteY781" fmla="*/ 370117 h 668383"/>
                    <a:gd name="connsiteX782" fmla="*/ 524004 w 863435"/>
                    <a:gd name="connsiteY782" fmla="*/ 368672 h 668383"/>
                    <a:gd name="connsiteX783" fmla="*/ 523288 w 863435"/>
                    <a:gd name="connsiteY783" fmla="*/ 366875 h 668383"/>
                    <a:gd name="connsiteX784" fmla="*/ 523628 w 863435"/>
                    <a:gd name="connsiteY784" fmla="*/ 363025 h 668383"/>
                    <a:gd name="connsiteX785" fmla="*/ 525570 w 863435"/>
                    <a:gd name="connsiteY785" fmla="*/ 354659 h 668383"/>
                    <a:gd name="connsiteX786" fmla="*/ 525328 w 863435"/>
                    <a:gd name="connsiteY786" fmla="*/ 353760 h 668383"/>
                    <a:gd name="connsiteX787" fmla="*/ 521017 w 863435"/>
                    <a:gd name="connsiteY787" fmla="*/ 353687 h 668383"/>
                    <a:gd name="connsiteX788" fmla="*/ 512456 w 863435"/>
                    <a:gd name="connsiteY788" fmla="*/ 348575 h 668383"/>
                    <a:gd name="connsiteX789" fmla="*/ 509943 w 863435"/>
                    <a:gd name="connsiteY789" fmla="*/ 347956 h 668383"/>
                    <a:gd name="connsiteX790" fmla="*/ 509068 w 863435"/>
                    <a:gd name="connsiteY790" fmla="*/ 348065 h 668383"/>
                    <a:gd name="connsiteX791" fmla="*/ 507854 w 863435"/>
                    <a:gd name="connsiteY791" fmla="*/ 348745 h 668383"/>
                    <a:gd name="connsiteX792" fmla="*/ 507016 w 863435"/>
                    <a:gd name="connsiteY792" fmla="*/ 349826 h 668383"/>
                    <a:gd name="connsiteX793" fmla="*/ 506591 w 863435"/>
                    <a:gd name="connsiteY793" fmla="*/ 350603 h 668383"/>
                    <a:gd name="connsiteX794" fmla="*/ 506725 w 863435"/>
                    <a:gd name="connsiteY794" fmla="*/ 351417 h 668383"/>
                    <a:gd name="connsiteX795" fmla="*/ 508995 w 863435"/>
                    <a:gd name="connsiteY795" fmla="*/ 357634 h 668383"/>
                    <a:gd name="connsiteX796" fmla="*/ 509566 w 863435"/>
                    <a:gd name="connsiteY796" fmla="*/ 360876 h 668383"/>
                    <a:gd name="connsiteX797" fmla="*/ 507903 w 863435"/>
                    <a:gd name="connsiteY797" fmla="*/ 364543 h 668383"/>
                    <a:gd name="connsiteX798" fmla="*/ 506227 w 863435"/>
                    <a:gd name="connsiteY798" fmla="*/ 365855 h 668383"/>
                    <a:gd name="connsiteX799" fmla="*/ 503689 w 863435"/>
                    <a:gd name="connsiteY799" fmla="*/ 366875 h 668383"/>
                    <a:gd name="connsiteX800" fmla="*/ 493161 w 863435"/>
                    <a:gd name="connsiteY800" fmla="*/ 368720 h 668383"/>
                    <a:gd name="connsiteX801" fmla="*/ 488413 w 863435"/>
                    <a:gd name="connsiteY801" fmla="*/ 368951 h 668383"/>
                    <a:gd name="connsiteX802" fmla="*/ 485074 w 863435"/>
                    <a:gd name="connsiteY802" fmla="*/ 368781 h 668383"/>
                    <a:gd name="connsiteX803" fmla="*/ 475760 w 863435"/>
                    <a:gd name="connsiteY803" fmla="*/ 370627 h 668383"/>
                    <a:gd name="connsiteX804" fmla="*/ 473392 w 863435"/>
                    <a:gd name="connsiteY804" fmla="*/ 371975 h 668383"/>
                    <a:gd name="connsiteX805" fmla="*/ 473028 w 863435"/>
                    <a:gd name="connsiteY805" fmla="*/ 373092 h 668383"/>
                    <a:gd name="connsiteX806" fmla="*/ 473113 w 863435"/>
                    <a:gd name="connsiteY806" fmla="*/ 373784 h 668383"/>
                    <a:gd name="connsiteX807" fmla="*/ 473550 w 863435"/>
                    <a:gd name="connsiteY807" fmla="*/ 374124 h 668383"/>
                    <a:gd name="connsiteX808" fmla="*/ 475420 w 863435"/>
                    <a:gd name="connsiteY808" fmla="*/ 376650 h 668383"/>
                    <a:gd name="connsiteX809" fmla="*/ 475979 w 863435"/>
                    <a:gd name="connsiteY809" fmla="*/ 377828 h 668383"/>
                    <a:gd name="connsiteX810" fmla="*/ 480423 w 863435"/>
                    <a:gd name="connsiteY810" fmla="*/ 377512 h 668383"/>
                    <a:gd name="connsiteX811" fmla="*/ 482864 w 863435"/>
                    <a:gd name="connsiteY811" fmla="*/ 378083 h 668383"/>
                    <a:gd name="connsiteX812" fmla="*/ 483580 w 863435"/>
                    <a:gd name="connsiteY812" fmla="*/ 378313 h 668383"/>
                    <a:gd name="connsiteX813" fmla="*/ 486883 w 863435"/>
                    <a:gd name="connsiteY813" fmla="*/ 381713 h 668383"/>
                    <a:gd name="connsiteX814" fmla="*/ 486579 w 863435"/>
                    <a:gd name="connsiteY814" fmla="*/ 385211 h 668383"/>
                    <a:gd name="connsiteX815" fmla="*/ 485159 w 863435"/>
                    <a:gd name="connsiteY815" fmla="*/ 387287 h 668383"/>
                    <a:gd name="connsiteX816" fmla="*/ 484794 w 863435"/>
                    <a:gd name="connsiteY816" fmla="*/ 388793 h 668383"/>
                    <a:gd name="connsiteX817" fmla="*/ 484588 w 863435"/>
                    <a:gd name="connsiteY817" fmla="*/ 392678 h 668383"/>
                    <a:gd name="connsiteX818" fmla="*/ 484005 w 863435"/>
                    <a:gd name="connsiteY818" fmla="*/ 395411 h 668383"/>
                    <a:gd name="connsiteX819" fmla="*/ 482597 w 863435"/>
                    <a:gd name="connsiteY819" fmla="*/ 398143 h 668383"/>
                    <a:gd name="connsiteX820" fmla="*/ 479403 w 863435"/>
                    <a:gd name="connsiteY820" fmla="*/ 402028 h 668383"/>
                    <a:gd name="connsiteX821" fmla="*/ 476768 w 863435"/>
                    <a:gd name="connsiteY821" fmla="*/ 406157 h 668383"/>
                    <a:gd name="connsiteX822" fmla="*/ 474874 w 863435"/>
                    <a:gd name="connsiteY822" fmla="*/ 410480 h 668383"/>
                    <a:gd name="connsiteX823" fmla="*/ 474594 w 863435"/>
                    <a:gd name="connsiteY823" fmla="*/ 413115 h 668383"/>
                    <a:gd name="connsiteX824" fmla="*/ 476064 w 863435"/>
                    <a:gd name="connsiteY824" fmla="*/ 416381 h 668383"/>
                    <a:gd name="connsiteX825" fmla="*/ 481965 w 863435"/>
                    <a:gd name="connsiteY825" fmla="*/ 421967 h 668383"/>
                    <a:gd name="connsiteX826" fmla="*/ 483483 w 863435"/>
                    <a:gd name="connsiteY826" fmla="*/ 427031 h 668383"/>
                    <a:gd name="connsiteX827" fmla="*/ 483920 w 863435"/>
                    <a:gd name="connsiteY827" fmla="*/ 429387 h 668383"/>
                    <a:gd name="connsiteX828" fmla="*/ 491655 w 863435"/>
                    <a:gd name="connsiteY828" fmla="*/ 426703 h 668383"/>
                    <a:gd name="connsiteX829" fmla="*/ 496124 w 863435"/>
                    <a:gd name="connsiteY829" fmla="*/ 426751 h 668383"/>
                    <a:gd name="connsiteX830" fmla="*/ 500738 w 863435"/>
                    <a:gd name="connsiteY830" fmla="*/ 427614 h 668383"/>
                    <a:gd name="connsiteX831" fmla="*/ 505243 w 863435"/>
                    <a:gd name="connsiteY831" fmla="*/ 429921 h 668383"/>
                    <a:gd name="connsiteX832" fmla="*/ 508995 w 863435"/>
                    <a:gd name="connsiteY832" fmla="*/ 432592 h 668383"/>
                    <a:gd name="connsiteX833" fmla="*/ 532407 w 863435"/>
                    <a:gd name="connsiteY833" fmla="*/ 457595 h 668383"/>
                    <a:gd name="connsiteX834" fmla="*/ 536098 w 863435"/>
                    <a:gd name="connsiteY834" fmla="*/ 460752 h 668383"/>
                    <a:gd name="connsiteX835" fmla="*/ 537033 w 863435"/>
                    <a:gd name="connsiteY835" fmla="*/ 461007 h 668383"/>
                    <a:gd name="connsiteX836" fmla="*/ 539183 w 863435"/>
                    <a:gd name="connsiteY836" fmla="*/ 460691 h 668383"/>
                    <a:gd name="connsiteX837" fmla="*/ 541162 w 863435"/>
                    <a:gd name="connsiteY837" fmla="*/ 459720 h 668383"/>
                    <a:gd name="connsiteX838" fmla="*/ 543457 w 863435"/>
                    <a:gd name="connsiteY838" fmla="*/ 458262 h 668383"/>
                    <a:gd name="connsiteX839" fmla="*/ 552321 w 863435"/>
                    <a:gd name="connsiteY839" fmla="*/ 458287 h 668383"/>
                    <a:gd name="connsiteX840" fmla="*/ 563019 w 863435"/>
                    <a:gd name="connsiteY840" fmla="*/ 460570 h 668383"/>
                    <a:gd name="connsiteX841" fmla="*/ 588082 w 863435"/>
                    <a:gd name="connsiteY841" fmla="*/ 461359 h 668383"/>
                    <a:gd name="connsiteX842" fmla="*/ 590718 w 863435"/>
                    <a:gd name="connsiteY842" fmla="*/ 461845 h 668383"/>
                    <a:gd name="connsiteX843" fmla="*/ 591762 w 863435"/>
                    <a:gd name="connsiteY843" fmla="*/ 462488 h 668383"/>
                    <a:gd name="connsiteX844" fmla="*/ 593996 w 863435"/>
                    <a:gd name="connsiteY844" fmla="*/ 463229 h 668383"/>
                    <a:gd name="connsiteX845" fmla="*/ 596400 w 863435"/>
                    <a:gd name="connsiteY845" fmla="*/ 463192 h 668383"/>
                    <a:gd name="connsiteX846" fmla="*/ 599594 w 863435"/>
                    <a:gd name="connsiteY846" fmla="*/ 464237 h 668383"/>
                    <a:gd name="connsiteX847" fmla="*/ 600978 w 863435"/>
                    <a:gd name="connsiteY847" fmla="*/ 465840 h 668383"/>
                    <a:gd name="connsiteX848" fmla="*/ 601428 w 863435"/>
                    <a:gd name="connsiteY848" fmla="*/ 467880 h 668383"/>
                    <a:gd name="connsiteX849" fmla="*/ 601306 w 863435"/>
                    <a:gd name="connsiteY849" fmla="*/ 468875 h 668383"/>
                    <a:gd name="connsiteX850" fmla="*/ 600505 w 863435"/>
                    <a:gd name="connsiteY850" fmla="*/ 470478 h 668383"/>
                    <a:gd name="connsiteX851" fmla="*/ 599206 w 863435"/>
                    <a:gd name="connsiteY851" fmla="*/ 471863 h 668383"/>
                    <a:gd name="connsiteX852" fmla="*/ 597044 w 863435"/>
                    <a:gd name="connsiteY852" fmla="*/ 472737 h 668383"/>
                    <a:gd name="connsiteX853" fmla="*/ 594761 w 863435"/>
                    <a:gd name="connsiteY853" fmla="*/ 473283 h 668383"/>
                    <a:gd name="connsiteX854" fmla="*/ 591422 w 863435"/>
                    <a:gd name="connsiteY854" fmla="*/ 473696 h 668383"/>
                    <a:gd name="connsiteX855" fmla="*/ 589103 w 863435"/>
                    <a:gd name="connsiteY855" fmla="*/ 474315 h 668383"/>
                    <a:gd name="connsiteX856" fmla="*/ 587512 w 863435"/>
                    <a:gd name="connsiteY856" fmla="*/ 475105 h 668383"/>
                    <a:gd name="connsiteX857" fmla="*/ 583650 w 863435"/>
                    <a:gd name="connsiteY857" fmla="*/ 478335 h 668383"/>
                    <a:gd name="connsiteX858" fmla="*/ 583456 w 863435"/>
                    <a:gd name="connsiteY858" fmla="*/ 478699 h 668383"/>
                    <a:gd name="connsiteX859" fmla="*/ 583420 w 863435"/>
                    <a:gd name="connsiteY859" fmla="*/ 479913 h 668383"/>
                    <a:gd name="connsiteX860" fmla="*/ 583966 w 863435"/>
                    <a:gd name="connsiteY860" fmla="*/ 481006 h 668383"/>
                    <a:gd name="connsiteX861" fmla="*/ 584270 w 863435"/>
                    <a:gd name="connsiteY861" fmla="*/ 483568 h 668383"/>
                    <a:gd name="connsiteX862" fmla="*/ 583541 w 863435"/>
                    <a:gd name="connsiteY862" fmla="*/ 486835 h 668383"/>
                    <a:gd name="connsiteX863" fmla="*/ 581647 w 863435"/>
                    <a:gd name="connsiteY863" fmla="*/ 491510 h 668383"/>
                    <a:gd name="connsiteX864" fmla="*/ 581525 w 863435"/>
                    <a:gd name="connsiteY864" fmla="*/ 497071 h 668383"/>
                    <a:gd name="connsiteX865" fmla="*/ 580639 w 863435"/>
                    <a:gd name="connsiteY865" fmla="*/ 502718 h 668383"/>
                    <a:gd name="connsiteX866" fmla="*/ 580554 w 863435"/>
                    <a:gd name="connsiteY866" fmla="*/ 505013 h 668383"/>
                    <a:gd name="connsiteX867" fmla="*/ 580857 w 863435"/>
                    <a:gd name="connsiteY867" fmla="*/ 505838 h 668383"/>
                    <a:gd name="connsiteX868" fmla="*/ 589552 w 863435"/>
                    <a:gd name="connsiteY868" fmla="*/ 512651 h 668383"/>
                    <a:gd name="connsiteX869" fmla="*/ 592005 w 863435"/>
                    <a:gd name="connsiteY869" fmla="*/ 513039 h 668383"/>
                    <a:gd name="connsiteX870" fmla="*/ 593996 w 863435"/>
                    <a:gd name="connsiteY870" fmla="*/ 513063 h 668383"/>
                    <a:gd name="connsiteX871" fmla="*/ 594882 w 863435"/>
                    <a:gd name="connsiteY871" fmla="*/ 512808 h 668383"/>
                    <a:gd name="connsiteX872" fmla="*/ 597347 w 863435"/>
                    <a:gd name="connsiteY872" fmla="*/ 512954 h 668383"/>
                    <a:gd name="connsiteX873" fmla="*/ 603297 w 863435"/>
                    <a:gd name="connsiteY873" fmla="*/ 516051 h 668383"/>
                    <a:gd name="connsiteX874" fmla="*/ 616339 w 863435"/>
                    <a:gd name="connsiteY874" fmla="*/ 526700 h 668383"/>
                    <a:gd name="connsiteX875" fmla="*/ 617966 w 863435"/>
                    <a:gd name="connsiteY875" fmla="*/ 537349 h 668383"/>
                    <a:gd name="connsiteX876" fmla="*/ 618962 w 863435"/>
                    <a:gd name="connsiteY876" fmla="*/ 539207 h 668383"/>
                    <a:gd name="connsiteX877" fmla="*/ 620662 w 863435"/>
                    <a:gd name="connsiteY877" fmla="*/ 541696 h 668383"/>
                    <a:gd name="connsiteX878" fmla="*/ 622362 w 863435"/>
                    <a:gd name="connsiteY878" fmla="*/ 542547 h 668383"/>
                    <a:gd name="connsiteX879" fmla="*/ 624269 w 863435"/>
                    <a:gd name="connsiteY879" fmla="*/ 542996 h 668383"/>
                    <a:gd name="connsiteX880" fmla="*/ 632064 w 863435"/>
                    <a:gd name="connsiteY880" fmla="*/ 543008 h 668383"/>
                    <a:gd name="connsiteX881" fmla="*/ 636047 w 863435"/>
                    <a:gd name="connsiteY881" fmla="*/ 544089 h 668383"/>
                    <a:gd name="connsiteX882" fmla="*/ 641317 w 863435"/>
                    <a:gd name="connsiteY882" fmla="*/ 547282 h 668383"/>
                    <a:gd name="connsiteX883" fmla="*/ 644414 w 863435"/>
                    <a:gd name="connsiteY883" fmla="*/ 550330 h 668383"/>
                    <a:gd name="connsiteX884" fmla="*/ 646538 w 863435"/>
                    <a:gd name="connsiteY884" fmla="*/ 553451 h 668383"/>
                    <a:gd name="connsiteX885" fmla="*/ 648263 w 863435"/>
                    <a:gd name="connsiteY885" fmla="*/ 557604 h 668383"/>
                    <a:gd name="connsiteX886" fmla="*/ 648749 w 863435"/>
                    <a:gd name="connsiteY886" fmla="*/ 559571 h 668383"/>
                    <a:gd name="connsiteX887" fmla="*/ 648991 w 863435"/>
                    <a:gd name="connsiteY887" fmla="*/ 561975 h 668383"/>
                    <a:gd name="connsiteX888" fmla="*/ 647898 w 863435"/>
                    <a:gd name="connsiteY888" fmla="*/ 564902 h 668383"/>
                    <a:gd name="connsiteX889" fmla="*/ 645130 w 863435"/>
                    <a:gd name="connsiteY889" fmla="*/ 566420 h 668383"/>
                    <a:gd name="connsiteX890" fmla="*/ 642604 w 863435"/>
                    <a:gd name="connsiteY890" fmla="*/ 566517 h 668383"/>
                    <a:gd name="connsiteX891" fmla="*/ 640285 w 863435"/>
                    <a:gd name="connsiteY891" fmla="*/ 566116 h 668383"/>
                    <a:gd name="connsiteX892" fmla="*/ 640309 w 863435"/>
                    <a:gd name="connsiteY892" fmla="*/ 566954 h 668383"/>
                    <a:gd name="connsiteX893" fmla="*/ 641050 w 863435"/>
                    <a:gd name="connsiteY893" fmla="*/ 569055 h 668383"/>
                    <a:gd name="connsiteX894" fmla="*/ 641645 w 863435"/>
                    <a:gd name="connsiteY894" fmla="*/ 569832 h 668383"/>
                    <a:gd name="connsiteX895" fmla="*/ 642398 w 863435"/>
                    <a:gd name="connsiteY895" fmla="*/ 570390 h 668383"/>
                    <a:gd name="connsiteX896" fmla="*/ 647546 w 863435"/>
                    <a:gd name="connsiteY896" fmla="*/ 572819 h 668383"/>
                    <a:gd name="connsiteX897" fmla="*/ 650376 w 863435"/>
                    <a:gd name="connsiteY897" fmla="*/ 574810 h 668383"/>
                    <a:gd name="connsiteX898" fmla="*/ 654249 w 863435"/>
                    <a:gd name="connsiteY898" fmla="*/ 579000 h 668383"/>
                    <a:gd name="connsiteX899" fmla="*/ 655609 w 863435"/>
                    <a:gd name="connsiteY899" fmla="*/ 582922 h 668383"/>
                    <a:gd name="connsiteX900" fmla="*/ 656119 w 863435"/>
                    <a:gd name="connsiteY900" fmla="*/ 590329 h 668383"/>
                    <a:gd name="connsiteX901" fmla="*/ 656727 w 863435"/>
                    <a:gd name="connsiteY901" fmla="*/ 592150 h 668383"/>
                    <a:gd name="connsiteX902" fmla="*/ 658706 w 863435"/>
                    <a:gd name="connsiteY902" fmla="*/ 593984 h 668383"/>
                    <a:gd name="connsiteX903" fmla="*/ 661195 w 863435"/>
                    <a:gd name="connsiteY903" fmla="*/ 595890 h 668383"/>
                    <a:gd name="connsiteX904" fmla="*/ 664656 w 863435"/>
                    <a:gd name="connsiteY904" fmla="*/ 599169 h 668383"/>
                    <a:gd name="connsiteX905" fmla="*/ 666077 w 863435"/>
                    <a:gd name="connsiteY905" fmla="*/ 601634 h 668383"/>
                    <a:gd name="connsiteX906" fmla="*/ 666684 w 863435"/>
                    <a:gd name="connsiteY906" fmla="*/ 602824 h 668383"/>
                    <a:gd name="connsiteX907" fmla="*/ 665142 w 863435"/>
                    <a:gd name="connsiteY907" fmla="*/ 606795 h 668383"/>
                    <a:gd name="connsiteX908" fmla="*/ 661025 w 863435"/>
                    <a:gd name="connsiteY908" fmla="*/ 608495 h 668383"/>
                    <a:gd name="connsiteX909" fmla="*/ 652926 w 863435"/>
                    <a:gd name="connsiteY909" fmla="*/ 609308 h 668383"/>
                    <a:gd name="connsiteX910" fmla="*/ 650582 w 863435"/>
                    <a:gd name="connsiteY910" fmla="*/ 609114 h 668383"/>
                    <a:gd name="connsiteX911" fmla="*/ 650764 w 863435"/>
                    <a:gd name="connsiteY911" fmla="*/ 611543 h 668383"/>
                    <a:gd name="connsiteX912" fmla="*/ 650169 w 863435"/>
                    <a:gd name="connsiteY912" fmla="*/ 615186 h 668383"/>
                    <a:gd name="connsiteX913" fmla="*/ 647838 w 863435"/>
                    <a:gd name="connsiteY913" fmla="*/ 618076 h 668383"/>
                    <a:gd name="connsiteX914" fmla="*/ 644292 w 863435"/>
                    <a:gd name="connsiteY914" fmla="*/ 618136 h 668383"/>
                    <a:gd name="connsiteX915" fmla="*/ 641111 w 863435"/>
                    <a:gd name="connsiteY915" fmla="*/ 617068 h 668383"/>
                    <a:gd name="connsiteX916" fmla="*/ 640698 w 863435"/>
                    <a:gd name="connsiteY916" fmla="*/ 617408 h 668383"/>
                    <a:gd name="connsiteX917" fmla="*/ 637431 w 863435"/>
                    <a:gd name="connsiteY917" fmla="*/ 619217 h 668383"/>
                    <a:gd name="connsiteX918" fmla="*/ 635246 w 863435"/>
                    <a:gd name="connsiteY918" fmla="*/ 620783 h 668383"/>
                    <a:gd name="connsiteX919" fmla="*/ 632890 w 863435"/>
                    <a:gd name="connsiteY919" fmla="*/ 623127 h 668383"/>
                    <a:gd name="connsiteX920" fmla="*/ 623503 w 863435"/>
                    <a:gd name="connsiteY920" fmla="*/ 618974 h 668383"/>
                    <a:gd name="connsiteX921" fmla="*/ 614360 w 863435"/>
                    <a:gd name="connsiteY921" fmla="*/ 610996 h 668383"/>
                    <a:gd name="connsiteX922" fmla="*/ 596741 w 863435"/>
                    <a:gd name="connsiteY922" fmla="*/ 599861 h 668383"/>
                    <a:gd name="connsiteX923" fmla="*/ 595441 w 863435"/>
                    <a:gd name="connsiteY923" fmla="*/ 599315 h 668383"/>
                    <a:gd name="connsiteX924" fmla="*/ 594105 w 863435"/>
                    <a:gd name="connsiteY924" fmla="*/ 599084 h 668383"/>
                    <a:gd name="connsiteX925" fmla="*/ 592284 w 863435"/>
                    <a:gd name="connsiteY925" fmla="*/ 599473 h 668383"/>
                    <a:gd name="connsiteX926" fmla="*/ 585751 w 863435"/>
                    <a:gd name="connsiteY926" fmla="*/ 601695 h 668383"/>
                    <a:gd name="connsiteX927" fmla="*/ 582569 w 863435"/>
                    <a:gd name="connsiteY927" fmla="*/ 602278 h 668383"/>
                    <a:gd name="connsiteX928" fmla="*/ 578902 w 863435"/>
                    <a:gd name="connsiteY928" fmla="*/ 602460 h 668383"/>
                    <a:gd name="connsiteX929" fmla="*/ 574834 w 863435"/>
                    <a:gd name="connsiteY929" fmla="*/ 601780 h 668383"/>
                    <a:gd name="connsiteX930" fmla="*/ 570961 w 863435"/>
                    <a:gd name="connsiteY930" fmla="*/ 600262 h 668383"/>
                    <a:gd name="connsiteX931" fmla="*/ 566590 w 863435"/>
                    <a:gd name="connsiteY931" fmla="*/ 597141 h 668383"/>
                    <a:gd name="connsiteX932" fmla="*/ 563724 w 863435"/>
                    <a:gd name="connsiteY932" fmla="*/ 594373 h 668383"/>
                    <a:gd name="connsiteX933" fmla="*/ 561586 w 863435"/>
                    <a:gd name="connsiteY933" fmla="*/ 591726 h 668383"/>
                    <a:gd name="connsiteX934" fmla="*/ 558017 w 863435"/>
                    <a:gd name="connsiteY934" fmla="*/ 585787 h 668383"/>
                    <a:gd name="connsiteX935" fmla="*/ 555831 w 863435"/>
                    <a:gd name="connsiteY935" fmla="*/ 584221 h 668383"/>
                    <a:gd name="connsiteX936" fmla="*/ 552079 w 863435"/>
                    <a:gd name="connsiteY936" fmla="*/ 581780 h 668383"/>
                    <a:gd name="connsiteX937" fmla="*/ 520713 w 863435"/>
                    <a:gd name="connsiteY937" fmla="*/ 566347 h 668383"/>
                    <a:gd name="connsiteX938" fmla="*/ 513221 w 863435"/>
                    <a:gd name="connsiteY938" fmla="*/ 556778 h 668383"/>
                    <a:gd name="connsiteX939" fmla="*/ 512214 w 863435"/>
                    <a:gd name="connsiteY939" fmla="*/ 555916 h 668383"/>
                    <a:gd name="connsiteX940" fmla="*/ 511679 w 863435"/>
                    <a:gd name="connsiteY940" fmla="*/ 555734 h 668383"/>
                    <a:gd name="connsiteX941" fmla="*/ 510307 w 863435"/>
                    <a:gd name="connsiteY941" fmla="*/ 556304 h 668383"/>
                    <a:gd name="connsiteX942" fmla="*/ 509505 w 863435"/>
                    <a:gd name="connsiteY942" fmla="*/ 556754 h 668383"/>
                    <a:gd name="connsiteX943" fmla="*/ 507053 w 863435"/>
                    <a:gd name="connsiteY943" fmla="*/ 560737 h 668383"/>
                    <a:gd name="connsiteX944" fmla="*/ 504406 w 863435"/>
                    <a:gd name="connsiteY944" fmla="*/ 562910 h 668383"/>
                    <a:gd name="connsiteX945" fmla="*/ 503070 w 863435"/>
                    <a:gd name="connsiteY945" fmla="*/ 563335 h 668383"/>
                    <a:gd name="connsiteX946" fmla="*/ 501637 w 863435"/>
                    <a:gd name="connsiteY946" fmla="*/ 563675 h 668383"/>
                    <a:gd name="connsiteX947" fmla="*/ 498868 w 863435"/>
                    <a:gd name="connsiteY947" fmla="*/ 564015 h 668383"/>
                    <a:gd name="connsiteX948" fmla="*/ 497678 w 863435"/>
                    <a:gd name="connsiteY948" fmla="*/ 564307 h 668383"/>
                    <a:gd name="connsiteX949" fmla="*/ 494728 w 863435"/>
                    <a:gd name="connsiteY949" fmla="*/ 565497 h 668383"/>
                    <a:gd name="connsiteX950" fmla="*/ 494655 w 863435"/>
                    <a:gd name="connsiteY950" fmla="*/ 566772 h 668383"/>
                    <a:gd name="connsiteX951" fmla="*/ 495274 w 863435"/>
                    <a:gd name="connsiteY951" fmla="*/ 569638 h 668383"/>
                    <a:gd name="connsiteX952" fmla="*/ 496743 w 863435"/>
                    <a:gd name="connsiteY952" fmla="*/ 571653 h 668383"/>
                    <a:gd name="connsiteX953" fmla="*/ 501078 w 863435"/>
                    <a:gd name="connsiteY953" fmla="*/ 576875 h 668383"/>
                    <a:gd name="connsiteX954" fmla="*/ 502851 w 863435"/>
                    <a:gd name="connsiteY954" fmla="*/ 580129 h 668383"/>
                    <a:gd name="connsiteX955" fmla="*/ 503871 w 863435"/>
                    <a:gd name="connsiteY955" fmla="*/ 584258 h 668383"/>
                    <a:gd name="connsiteX956" fmla="*/ 505195 w 863435"/>
                    <a:gd name="connsiteY956" fmla="*/ 596109 h 668383"/>
                    <a:gd name="connsiteX957" fmla="*/ 505158 w 863435"/>
                    <a:gd name="connsiteY957" fmla="*/ 600189 h 668383"/>
                    <a:gd name="connsiteX958" fmla="*/ 504406 w 863435"/>
                    <a:gd name="connsiteY958" fmla="*/ 604403 h 668383"/>
                    <a:gd name="connsiteX959" fmla="*/ 500617 w 863435"/>
                    <a:gd name="connsiteY959" fmla="*/ 609976 h 668383"/>
                    <a:gd name="connsiteX960" fmla="*/ 499949 w 863435"/>
                    <a:gd name="connsiteY960" fmla="*/ 611361 h 668383"/>
                    <a:gd name="connsiteX961" fmla="*/ 499827 w 863435"/>
                    <a:gd name="connsiteY961" fmla="*/ 613728 h 668383"/>
                    <a:gd name="connsiteX962" fmla="*/ 500860 w 863435"/>
                    <a:gd name="connsiteY962" fmla="*/ 616339 h 668383"/>
                    <a:gd name="connsiteX963" fmla="*/ 503628 w 863435"/>
                    <a:gd name="connsiteY963" fmla="*/ 621269 h 668383"/>
                    <a:gd name="connsiteX964" fmla="*/ 504296 w 863435"/>
                    <a:gd name="connsiteY964" fmla="*/ 625203 h 668383"/>
                    <a:gd name="connsiteX965" fmla="*/ 503519 w 863435"/>
                    <a:gd name="connsiteY965" fmla="*/ 629235 h 668383"/>
                    <a:gd name="connsiteX966" fmla="*/ 501965 w 863435"/>
                    <a:gd name="connsiteY966" fmla="*/ 633934 h 668383"/>
                    <a:gd name="connsiteX967" fmla="*/ 501212 w 863435"/>
                    <a:gd name="connsiteY967" fmla="*/ 636922 h 668383"/>
                    <a:gd name="connsiteX968" fmla="*/ 501418 w 863435"/>
                    <a:gd name="connsiteY968" fmla="*/ 638913 h 668383"/>
                    <a:gd name="connsiteX969" fmla="*/ 501613 w 863435"/>
                    <a:gd name="connsiteY969" fmla="*/ 640030 h 668383"/>
                    <a:gd name="connsiteX970" fmla="*/ 501649 w 863435"/>
                    <a:gd name="connsiteY970" fmla="*/ 641864 h 668383"/>
                    <a:gd name="connsiteX971" fmla="*/ 500835 w 863435"/>
                    <a:gd name="connsiteY971" fmla="*/ 644389 h 668383"/>
                    <a:gd name="connsiteX972" fmla="*/ 499305 w 863435"/>
                    <a:gd name="connsiteY972" fmla="*/ 647097 h 668383"/>
                    <a:gd name="connsiteX973" fmla="*/ 490247 w 863435"/>
                    <a:gd name="connsiteY973" fmla="*/ 659835 h 668383"/>
                    <a:gd name="connsiteX974" fmla="*/ 486094 w 863435"/>
                    <a:gd name="connsiteY974" fmla="*/ 663308 h 668383"/>
                    <a:gd name="connsiteX975" fmla="*/ 482050 w 863435"/>
                    <a:gd name="connsiteY975" fmla="*/ 665822 h 668383"/>
                    <a:gd name="connsiteX976" fmla="*/ 471960 w 863435"/>
                    <a:gd name="connsiteY976" fmla="*/ 668384 h 66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Lst>
                  <a:rect l="l" t="t" r="r" b="b"/>
                  <a:pathLst>
                    <a:path w="863435" h="668383">
                      <a:moveTo>
                        <a:pt x="460618" y="662239"/>
                      </a:moveTo>
                      <a:lnTo>
                        <a:pt x="459477" y="659119"/>
                      </a:lnTo>
                      <a:lnTo>
                        <a:pt x="458760" y="655136"/>
                      </a:lnTo>
                      <a:lnTo>
                        <a:pt x="458954" y="651651"/>
                      </a:lnTo>
                      <a:lnTo>
                        <a:pt x="458870" y="649999"/>
                      </a:lnTo>
                      <a:lnTo>
                        <a:pt x="459015" y="648044"/>
                      </a:lnTo>
                      <a:lnTo>
                        <a:pt x="459853" y="645591"/>
                      </a:lnTo>
                      <a:lnTo>
                        <a:pt x="462925" y="641511"/>
                      </a:lnTo>
                      <a:lnTo>
                        <a:pt x="463144" y="640771"/>
                      </a:lnTo>
                      <a:lnTo>
                        <a:pt x="461346" y="642034"/>
                      </a:lnTo>
                      <a:lnTo>
                        <a:pt x="459744" y="643564"/>
                      </a:lnTo>
                      <a:lnTo>
                        <a:pt x="457594" y="645057"/>
                      </a:lnTo>
                      <a:lnTo>
                        <a:pt x="454790" y="646308"/>
                      </a:lnTo>
                      <a:lnTo>
                        <a:pt x="451280" y="647279"/>
                      </a:lnTo>
                      <a:lnTo>
                        <a:pt x="449337" y="648057"/>
                      </a:lnTo>
                      <a:lnTo>
                        <a:pt x="445451" y="650169"/>
                      </a:lnTo>
                      <a:lnTo>
                        <a:pt x="442975" y="650655"/>
                      </a:lnTo>
                      <a:lnTo>
                        <a:pt x="437777" y="648591"/>
                      </a:lnTo>
                      <a:lnTo>
                        <a:pt x="429727" y="647279"/>
                      </a:lnTo>
                      <a:lnTo>
                        <a:pt x="418348" y="644171"/>
                      </a:lnTo>
                      <a:lnTo>
                        <a:pt x="400839" y="633934"/>
                      </a:lnTo>
                      <a:lnTo>
                        <a:pt x="398980" y="633303"/>
                      </a:lnTo>
                      <a:lnTo>
                        <a:pt x="397329" y="633109"/>
                      </a:lnTo>
                      <a:lnTo>
                        <a:pt x="395580" y="633084"/>
                      </a:lnTo>
                      <a:lnTo>
                        <a:pt x="393298" y="633521"/>
                      </a:lnTo>
                      <a:lnTo>
                        <a:pt x="391160" y="634262"/>
                      </a:lnTo>
                      <a:lnTo>
                        <a:pt x="388635" y="636035"/>
                      </a:lnTo>
                      <a:lnTo>
                        <a:pt x="379722" y="639241"/>
                      </a:lnTo>
                      <a:lnTo>
                        <a:pt x="378119" y="640164"/>
                      </a:lnTo>
                      <a:lnTo>
                        <a:pt x="370068" y="647862"/>
                      </a:lnTo>
                      <a:lnTo>
                        <a:pt x="361714" y="657479"/>
                      </a:lnTo>
                      <a:lnTo>
                        <a:pt x="359516" y="659228"/>
                      </a:lnTo>
                      <a:lnTo>
                        <a:pt x="357015" y="659884"/>
                      </a:lnTo>
                      <a:lnTo>
                        <a:pt x="355606" y="659337"/>
                      </a:lnTo>
                      <a:lnTo>
                        <a:pt x="354246" y="658645"/>
                      </a:lnTo>
                      <a:lnTo>
                        <a:pt x="352922" y="657516"/>
                      </a:lnTo>
                      <a:lnTo>
                        <a:pt x="348684" y="652683"/>
                      </a:lnTo>
                      <a:lnTo>
                        <a:pt x="334672" y="643612"/>
                      </a:lnTo>
                      <a:lnTo>
                        <a:pt x="332984" y="642859"/>
                      </a:lnTo>
                      <a:lnTo>
                        <a:pt x="329851" y="641924"/>
                      </a:lnTo>
                      <a:lnTo>
                        <a:pt x="327106" y="641584"/>
                      </a:lnTo>
                      <a:lnTo>
                        <a:pt x="325394" y="641669"/>
                      </a:lnTo>
                      <a:lnTo>
                        <a:pt x="324386" y="641876"/>
                      </a:lnTo>
                      <a:lnTo>
                        <a:pt x="317514" y="644402"/>
                      </a:lnTo>
                      <a:lnTo>
                        <a:pt x="313713" y="645154"/>
                      </a:lnTo>
                      <a:lnTo>
                        <a:pt x="311466" y="643904"/>
                      </a:lnTo>
                      <a:lnTo>
                        <a:pt x="310325" y="641936"/>
                      </a:lnTo>
                      <a:lnTo>
                        <a:pt x="309997" y="639824"/>
                      </a:lnTo>
                      <a:lnTo>
                        <a:pt x="311709" y="636047"/>
                      </a:lnTo>
                      <a:lnTo>
                        <a:pt x="313361" y="633740"/>
                      </a:lnTo>
                      <a:lnTo>
                        <a:pt x="314976" y="631044"/>
                      </a:lnTo>
                      <a:lnTo>
                        <a:pt x="320610" y="618586"/>
                      </a:lnTo>
                      <a:lnTo>
                        <a:pt x="329839" y="605532"/>
                      </a:lnTo>
                      <a:lnTo>
                        <a:pt x="330786" y="603832"/>
                      </a:lnTo>
                      <a:lnTo>
                        <a:pt x="331587" y="601428"/>
                      </a:lnTo>
                      <a:lnTo>
                        <a:pt x="332583" y="596668"/>
                      </a:lnTo>
                      <a:lnTo>
                        <a:pt x="332510" y="592041"/>
                      </a:lnTo>
                      <a:lnTo>
                        <a:pt x="331733" y="585205"/>
                      </a:lnTo>
                      <a:lnTo>
                        <a:pt x="329353" y="575162"/>
                      </a:lnTo>
                      <a:lnTo>
                        <a:pt x="326803" y="568314"/>
                      </a:lnTo>
                      <a:lnTo>
                        <a:pt x="324981" y="569771"/>
                      </a:lnTo>
                      <a:lnTo>
                        <a:pt x="315097" y="576061"/>
                      </a:lnTo>
                      <a:lnTo>
                        <a:pt x="314028" y="576535"/>
                      </a:lnTo>
                      <a:lnTo>
                        <a:pt x="307289" y="577348"/>
                      </a:lnTo>
                      <a:lnTo>
                        <a:pt x="306123" y="577676"/>
                      </a:lnTo>
                      <a:lnTo>
                        <a:pt x="305941" y="578052"/>
                      </a:lnTo>
                      <a:lnTo>
                        <a:pt x="302845" y="581355"/>
                      </a:lnTo>
                      <a:lnTo>
                        <a:pt x="300610" y="582096"/>
                      </a:lnTo>
                      <a:lnTo>
                        <a:pt x="298291" y="582436"/>
                      </a:lnTo>
                      <a:lnTo>
                        <a:pt x="291928" y="579777"/>
                      </a:lnTo>
                      <a:lnTo>
                        <a:pt x="280951" y="577142"/>
                      </a:lnTo>
                      <a:lnTo>
                        <a:pt x="278134" y="576790"/>
                      </a:lnTo>
                      <a:lnTo>
                        <a:pt x="274588" y="577142"/>
                      </a:lnTo>
                      <a:lnTo>
                        <a:pt x="273471" y="577579"/>
                      </a:lnTo>
                      <a:lnTo>
                        <a:pt x="272985" y="578089"/>
                      </a:lnTo>
                      <a:lnTo>
                        <a:pt x="272864" y="578502"/>
                      </a:lnTo>
                      <a:lnTo>
                        <a:pt x="272463" y="579048"/>
                      </a:lnTo>
                      <a:lnTo>
                        <a:pt x="270107" y="580287"/>
                      </a:lnTo>
                      <a:lnTo>
                        <a:pt x="266683" y="581234"/>
                      </a:lnTo>
                      <a:lnTo>
                        <a:pt x="227826" y="582157"/>
                      </a:lnTo>
                      <a:lnTo>
                        <a:pt x="226004" y="582400"/>
                      </a:lnTo>
                      <a:lnTo>
                        <a:pt x="225810" y="582837"/>
                      </a:lnTo>
                      <a:lnTo>
                        <a:pt x="225968" y="583359"/>
                      </a:lnTo>
                      <a:lnTo>
                        <a:pt x="226077" y="584962"/>
                      </a:lnTo>
                      <a:lnTo>
                        <a:pt x="225834" y="587099"/>
                      </a:lnTo>
                      <a:lnTo>
                        <a:pt x="225021" y="589746"/>
                      </a:lnTo>
                      <a:lnTo>
                        <a:pt x="223964" y="591046"/>
                      </a:lnTo>
                      <a:lnTo>
                        <a:pt x="222507" y="592466"/>
                      </a:lnTo>
                      <a:lnTo>
                        <a:pt x="220916" y="593608"/>
                      </a:lnTo>
                      <a:lnTo>
                        <a:pt x="208652" y="599958"/>
                      </a:lnTo>
                      <a:lnTo>
                        <a:pt x="205446" y="600687"/>
                      </a:lnTo>
                      <a:lnTo>
                        <a:pt x="186807" y="601683"/>
                      </a:lnTo>
                      <a:lnTo>
                        <a:pt x="182533" y="600760"/>
                      </a:lnTo>
                      <a:lnTo>
                        <a:pt x="170317" y="594786"/>
                      </a:lnTo>
                      <a:lnTo>
                        <a:pt x="168398" y="594385"/>
                      </a:lnTo>
                      <a:lnTo>
                        <a:pt x="165168" y="594615"/>
                      </a:lnTo>
                      <a:lnTo>
                        <a:pt x="163395" y="594458"/>
                      </a:lnTo>
                      <a:lnTo>
                        <a:pt x="160736" y="593523"/>
                      </a:lnTo>
                      <a:lnTo>
                        <a:pt x="154215" y="588690"/>
                      </a:lnTo>
                      <a:lnTo>
                        <a:pt x="151568" y="585265"/>
                      </a:lnTo>
                      <a:lnTo>
                        <a:pt x="150172" y="582740"/>
                      </a:lnTo>
                      <a:lnTo>
                        <a:pt x="148848" y="579558"/>
                      </a:lnTo>
                      <a:lnTo>
                        <a:pt x="138454" y="565849"/>
                      </a:lnTo>
                      <a:lnTo>
                        <a:pt x="133451" y="562910"/>
                      </a:lnTo>
                      <a:lnTo>
                        <a:pt x="128412" y="560470"/>
                      </a:lnTo>
                      <a:lnTo>
                        <a:pt x="118576" y="558369"/>
                      </a:lnTo>
                      <a:lnTo>
                        <a:pt x="121065" y="552212"/>
                      </a:lnTo>
                      <a:lnTo>
                        <a:pt x="122194" y="548472"/>
                      </a:lnTo>
                      <a:lnTo>
                        <a:pt x="122704" y="547112"/>
                      </a:lnTo>
                      <a:lnTo>
                        <a:pt x="123712" y="545291"/>
                      </a:lnTo>
                      <a:lnTo>
                        <a:pt x="124429" y="544380"/>
                      </a:lnTo>
                      <a:lnTo>
                        <a:pt x="126359" y="542911"/>
                      </a:lnTo>
                      <a:lnTo>
                        <a:pt x="129577" y="541442"/>
                      </a:lnTo>
                      <a:lnTo>
                        <a:pt x="130342" y="540919"/>
                      </a:lnTo>
                      <a:lnTo>
                        <a:pt x="131387" y="540045"/>
                      </a:lnTo>
                      <a:lnTo>
                        <a:pt x="134180" y="536609"/>
                      </a:lnTo>
                      <a:lnTo>
                        <a:pt x="137397" y="533779"/>
                      </a:lnTo>
                      <a:lnTo>
                        <a:pt x="138976" y="533245"/>
                      </a:lnTo>
                      <a:lnTo>
                        <a:pt x="145703" y="533306"/>
                      </a:lnTo>
                      <a:lnTo>
                        <a:pt x="147354" y="533075"/>
                      </a:lnTo>
                      <a:lnTo>
                        <a:pt x="148168" y="532687"/>
                      </a:lnTo>
                      <a:lnTo>
                        <a:pt x="149140" y="532091"/>
                      </a:lnTo>
                      <a:lnTo>
                        <a:pt x="152297" y="528837"/>
                      </a:lnTo>
                      <a:lnTo>
                        <a:pt x="162424" y="521819"/>
                      </a:lnTo>
                      <a:lnTo>
                        <a:pt x="163092" y="520968"/>
                      </a:lnTo>
                      <a:lnTo>
                        <a:pt x="163699" y="519791"/>
                      </a:lnTo>
                      <a:lnTo>
                        <a:pt x="166443" y="510465"/>
                      </a:lnTo>
                      <a:lnTo>
                        <a:pt x="167415" y="508291"/>
                      </a:lnTo>
                      <a:lnTo>
                        <a:pt x="168617" y="506421"/>
                      </a:lnTo>
                      <a:lnTo>
                        <a:pt x="170317" y="504636"/>
                      </a:lnTo>
                      <a:lnTo>
                        <a:pt x="172357" y="503349"/>
                      </a:lnTo>
                      <a:lnTo>
                        <a:pt x="176170" y="501977"/>
                      </a:lnTo>
                      <a:lnTo>
                        <a:pt x="176388" y="501491"/>
                      </a:lnTo>
                      <a:lnTo>
                        <a:pt x="178040" y="499403"/>
                      </a:lnTo>
                      <a:lnTo>
                        <a:pt x="179849" y="497800"/>
                      </a:lnTo>
                      <a:lnTo>
                        <a:pt x="187402" y="492433"/>
                      </a:lnTo>
                      <a:lnTo>
                        <a:pt x="189381" y="490393"/>
                      </a:lnTo>
                      <a:lnTo>
                        <a:pt x="190875" y="488340"/>
                      </a:lnTo>
                      <a:lnTo>
                        <a:pt x="191652" y="486555"/>
                      </a:lnTo>
                      <a:lnTo>
                        <a:pt x="191616" y="485353"/>
                      </a:lnTo>
                      <a:lnTo>
                        <a:pt x="191178" y="483908"/>
                      </a:lnTo>
                      <a:lnTo>
                        <a:pt x="190425" y="482111"/>
                      </a:lnTo>
                      <a:lnTo>
                        <a:pt x="188738" y="478699"/>
                      </a:lnTo>
                      <a:lnTo>
                        <a:pt x="187863" y="475918"/>
                      </a:lnTo>
                      <a:lnTo>
                        <a:pt x="187414" y="471340"/>
                      </a:lnTo>
                      <a:lnTo>
                        <a:pt x="186940" y="470915"/>
                      </a:lnTo>
                      <a:lnTo>
                        <a:pt x="186042" y="470381"/>
                      </a:lnTo>
                      <a:lnTo>
                        <a:pt x="181743" y="468511"/>
                      </a:lnTo>
                      <a:lnTo>
                        <a:pt x="180323" y="468086"/>
                      </a:lnTo>
                      <a:lnTo>
                        <a:pt x="177688" y="468001"/>
                      </a:lnTo>
                      <a:lnTo>
                        <a:pt x="176024" y="468183"/>
                      </a:lnTo>
                      <a:lnTo>
                        <a:pt x="175368" y="468657"/>
                      </a:lnTo>
                      <a:lnTo>
                        <a:pt x="173571" y="469300"/>
                      </a:lnTo>
                      <a:lnTo>
                        <a:pt x="170803" y="469470"/>
                      </a:lnTo>
                      <a:lnTo>
                        <a:pt x="168629" y="469179"/>
                      </a:lnTo>
                      <a:lnTo>
                        <a:pt x="165010" y="468098"/>
                      </a:lnTo>
                      <a:lnTo>
                        <a:pt x="163335" y="467321"/>
                      </a:lnTo>
                      <a:lnTo>
                        <a:pt x="159388" y="464868"/>
                      </a:lnTo>
                      <a:lnTo>
                        <a:pt x="159388" y="465487"/>
                      </a:lnTo>
                      <a:lnTo>
                        <a:pt x="159072" y="466872"/>
                      </a:lnTo>
                      <a:lnTo>
                        <a:pt x="158562" y="467455"/>
                      </a:lnTo>
                      <a:lnTo>
                        <a:pt x="156644" y="469397"/>
                      </a:lnTo>
                      <a:lnTo>
                        <a:pt x="155490" y="469823"/>
                      </a:lnTo>
                      <a:lnTo>
                        <a:pt x="153232" y="470065"/>
                      </a:lnTo>
                      <a:lnTo>
                        <a:pt x="150597" y="469397"/>
                      </a:lnTo>
                      <a:lnTo>
                        <a:pt x="149407" y="468827"/>
                      </a:lnTo>
                      <a:lnTo>
                        <a:pt x="147330" y="467042"/>
                      </a:lnTo>
                      <a:lnTo>
                        <a:pt x="146505" y="465657"/>
                      </a:lnTo>
                      <a:lnTo>
                        <a:pt x="145764" y="463848"/>
                      </a:lnTo>
                      <a:lnTo>
                        <a:pt x="144562" y="459574"/>
                      </a:lnTo>
                      <a:lnTo>
                        <a:pt x="143614" y="453672"/>
                      </a:lnTo>
                      <a:lnTo>
                        <a:pt x="143104" y="451584"/>
                      </a:lnTo>
                      <a:lnTo>
                        <a:pt x="142230" y="449665"/>
                      </a:lnTo>
                      <a:lnTo>
                        <a:pt x="140712" y="448123"/>
                      </a:lnTo>
                      <a:lnTo>
                        <a:pt x="134787" y="443169"/>
                      </a:lnTo>
                      <a:lnTo>
                        <a:pt x="131229" y="438020"/>
                      </a:lnTo>
                      <a:lnTo>
                        <a:pt x="128970" y="428184"/>
                      </a:lnTo>
                      <a:lnTo>
                        <a:pt x="131277" y="418980"/>
                      </a:lnTo>
                      <a:lnTo>
                        <a:pt x="132577" y="403753"/>
                      </a:lnTo>
                      <a:lnTo>
                        <a:pt x="130670" y="394925"/>
                      </a:lnTo>
                      <a:lnTo>
                        <a:pt x="129735" y="392739"/>
                      </a:lnTo>
                      <a:lnTo>
                        <a:pt x="129128" y="391840"/>
                      </a:lnTo>
                      <a:lnTo>
                        <a:pt x="128375" y="391403"/>
                      </a:lnTo>
                      <a:lnTo>
                        <a:pt x="128023" y="391561"/>
                      </a:lnTo>
                      <a:lnTo>
                        <a:pt x="124344" y="395641"/>
                      </a:lnTo>
                      <a:lnTo>
                        <a:pt x="121939" y="397268"/>
                      </a:lnTo>
                      <a:lnTo>
                        <a:pt x="120009" y="397329"/>
                      </a:lnTo>
                      <a:lnTo>
                        <a:pt x="118296" y="396685"/>
                      </a:lnTo>
                      <a:lnTo>
                        <a:pt x="116730" y="395471"/>
                      </a:lnTo>
                      <a:lnTo>
                        <a:pt x="115674" y="393419"/>
                      </a:lnTo>
                      <a:lnTo>
                        <a:pt x="114836" y="390153"/>
                      </a:lnTo>
                      <a:lnTo>
                        <a:pt x="114763" y="387020"/>
                      </a:lnTo>
                      <a:lnTo>
                        <a:pt x="115018" y="384713"/>
                      </a:lnTo>
                      <a:lnTo>
                        <a:pt x="116281" y="379078"/>
                      </a:lnTo>
                      <a:lnTo>
                        <a:pt x="116378" y="377585"/>
                      </a:lnTo>
                      <a:lnTo>
                        <a:pt x="116086" y="372885"/>
                      </a:lnTo>
                      <a:lnTo>
                        <a:pt x="116329" y="370833"/>
                      </a:lnTo>
                      <a:lnTo>
                        <a:pt x="117459" y="368295"/>
                      </a:lnTo>
                      <a:lnTo>
                        <a:pt x="118721" y="366474"/>
                      </a:lnTo>
                      <a:lnTo>
                        <a:pt x="124793" y="360111"/>
                      </a:lnTo>
                      <a:lnTo>
                        <a:pt x="126772" y="357537"/>
                      </a:lnTo>
                      <a:lnTo>
                        <a:pt x="127549" y="356055"/>
                      </a:lnTo>
                      <a:lnTo>
                        <a:pt x="128278" y="354367"/>
                      </a:lnTo>
                      <a:lnTo>
                        <a:pt x="128302" y="353566"/>
                      </a:lnTo>
                      <a:lnTo>
                        <a:pt x="125145" y="348077"/>
                      </a:lnTo>
                      <a:lnTo>
                        <a:pt x="124380" y="345042"/>
                      </a:lnTo>
                      <a:lnTo>
                        <a:pt x="124077" y="342601"/>
                      </a:lnTo>
                      <a:lnTo>
                        <a:pt x="123797" y="341132"/>
                      </a:lnTo>
                      <a:lnTo>
                        <a:pt x="123226" y="340864"/>
                      </a:lnTo>
                      <a:lnTo>
                        <a:pt x="122632" y="340877"/>
                      </a:lnTo>
                      <a:lnTo>
                        <a:pt x="120567" y="342322"/>
                      </a:lnTo>
                      <a:lnTo>
                        <a:pt x="118964" y="343062"/>
                      </a:lnTo>
                      <a:lnTo>
                        <a:pt x="116681" y="343755"/>
                      </a:lnTo>
                      <a:lnTo>
                        <a:pt x="113160" y="343342"/>
                      </a:lnTo>
                      <a:lnTo>
                        <a:pt x="115977" y="344981"/>
                      </a:lnTo>
                      <a:lnTo>
                        <a:pt x="116014" y="346851"/>
                      </a:lnTo>
                      <a:lnTo>
                        <a:pt x="116912" y="351137"/>
                      </a:lnTo>
                      <a:lnTo>
                        <a:pt x="116669" y="352825"/>
                      </a:lnTo>
                      <a:lnTo>
                        <a:pt x="115346" y="355254"/>
                      </a:lnTo>
                      <a:lnTo>
                        <a:pt x="114532" y="356031"/>
                      </a:lnTo>
                      <a:lnTo>
                        <a:pt x="112772" y="356675"/>
                      </a:lnTo>
                      <a:lnTo>
                        <a:pt x="111254" y="356662"/>
                      </a:lnTo>
                      <a:lnTo>
                        <a:pt x="109638" y="356262"/>
                      </a:lnTo>
                      <a:lnTo>
                        <a:pt x="98042" y="351514"/>
                      </a:lnTo>
                      <a:lnTo>
                        <a:pt x="96925" y="351344"/>
                      </a:lnTo>
                      <a:lnTo>
                        <a:pt x="95711" y="351320"/>
                      </a:lnTo>
                      <a:lnTo>
                        <a:pt x="90708" y="352267"/>
                      </a:lnTo>
                      <a:lnTo>
                        <a:pt x="88741" y="352388"/>
                      </a:lnTo>
                      <a:lnTo>
                        <a:pt x="86798" y="352145"/>
                      </a:lnTo>
                      <a:lnTo>
                        <a:pt x="84478" y="351368"/>
                      </a:lnTo>
                      <a:lnTo>
                        <a:pt x="81868" y="349644"/>
                      </a:lnTo>
                      <a:lnTo>
                        <a:pt x="79682" y="347385"/>
                      </a:lnTo>
                      <a:lnTo>
                        <a:pt x="77496" y="343378"/>
                      </a:lnTo>
                      <a:lnTo>
                        <a:pt x="75080" y="336578"/>
                      </a:lnTo>
                      <a:lnTo>
                        <a:pt x="73234" y="332644"/>
                      </a:lnTo>
                      <a:lnTo>
                        <a:pt x="72675" y="330081"/>
                      </a:lnTo>
                      <a:lnTo>
                        <a:pt x="72724" y="327884"/>
                      </a:lnTo>
                      <a:lnTo>
                        <a:pt x="73319" y="325625"/>
                      </a:lnTo>
                      <a:lnTo>
                        <a:pt x="75432" y="319833"/>
                      </a:lnTo>
                      <a:lnTo>
                        <a:pt x="75736" y="318364"/>
                      </a:lnTo>
                      <a:lnTo>
                        <a:pt x="74776" y="315401"/>
                      </a:lnTo>
                      <a:lnTo>
                        <a:pt x="71485" y="307799"/>
                      </a:lnTo>
                      <a:lnTo>
                        <a:pt x="69093" y="304994"/>
                      </a:lnTo>
                      <a:lnTo>
                        <a:pt x="43205" y="282117"/>
                      </a:lnTo>
                      <a:lnTo>
                        <a:pt x="39683" y="277490"/>
                      </a:lnTo>
                      <a:lnTo>
                        <a:pt x="37934" y="274212"/>
                      </a:lnTo>
                      <a:lnTo>
                        <a:pt x="36769" y="271285"/>
                      </a:lnTo>
                      <a:lnTo>
                        <a:pt x="36028" y="267788"/>
                      </a:lnTo>
                      <a:lnTo>
                        <a:pt x="35773" y="264850"/>
                      </a:lnTo>
                      <a:lnTo>
                        <a:pt x="35858" y="256641"/>
                      </a:lnTo>
                      <a:lnTo>
                        <a:pt x="35591" y="254310"/>
                      </a:lnTo>
                      <a:lnTo>
                        <a:pt x="35057" y="253314"/>
                      </a:lnTo>
                      <a:lnTo>
                        <a:pt x="34255" y="252634"/>
                      </a:lnTo>
                      <a:lnTo>
                        <a:pt x="28414" y="249622"/>
                      </a:lnTo>
                      <a:lnTo>
                        <a:pt x="24881" y="246611"/>
                      </a:lnTo>
                      <a:lnTo>
                        <a:pt x="23764" y="245882"/>
                      </a:lnTo>
                      <a:lnTo>
                        <a:pt x="13855" y="245348"/>
                      </a:lnTo>
                      <a:lnTo>
                        <a:pt x="0" y="241195"/>
                      </a:lnTo>
                      <a:lnTo>
                        <a:pt x="5513" y="226599"/>
                      </a:lnTo>
                      <a:lnTo>
                        <a:pt x="6836" y="223879"/>
                      </a:lnTo>
                      <a:lnTo>
                        <a:pt x="9544" y="219386"/>
                      </a:lnTo>
                      <a:lnTo>
                        <a:pt x="14997" y="213254"/>
                      </a:lnTo>
                      <a:lnTo>
                        <a:pt x="15409" y="212356"/>
                      </a:lnTo>
                      <a:lnTo>
                        <a:pt x="15834" y="211081"/>
                      </a:lnTo>
                      <a:lnTo>
                        <a:pt x="15652" y="208239"/>
                      </a:lnTo>
                      <a:lnTo>
                        <a:pt x="15859" y="206078"/>
                      </a:lnTo>
                      <a:lnTo>
                        <a:pt x="16903" y="203418"/>
                      </a:lnTo>
                      <a:lnTo>
                        <a:pt x="22209" y="196473"/>
                      </a:lnTo>
                      <a:lnTo>
                        <a:pt x="22841" y="195137"/>
                      </a:lnTo>
                      <a:lnTo>
                        <a:pt x="22634" y="193753"/>
                      </a:lnTo>
                      <a:lnTo>
                        <a:pt x="22112" y="192538"/>
                      </a:lnTo>
                      <a:lnTo>
                        <a:pt x="20084" y="189673"/>
                      </a:lnTo>
                      <a:lnTo>
                        <a:pt x="17607" y="186856"/>
                      </a:lnTo>
                      <a:lnTo>
                        <a:pt x="16174" y="184925"/>
                      </a:lnTo>
                      <a:lnTo>
                        <a:pt x="14790" y="182569"/>
                      </a:lnTo>
                      <a:lnTo>
                        <a:pt x="12617" y="177348"/>
                      </a:lnTo>
                      <a:lnTo>
                        <a:pt x="11973" y="175053"/>
                      </a:lnTo>
                      <a:lnTo>
                        <a:pt x="11706" y="173158"/>
                      </a:lnTo>
                      <a:lnTo>
                        <a:pt x="11742" y="171252"/>
                      </a:lnTo>
                      <a:lnTo>
                        <a:pt x="12094" y="169236"/>
                      </a:lnTo>
                      <a:lnTo>
                        <a:pt x="12653" y="167864"/>
                      </a:lnTo>
                      <a:lnTo>
                        <a:pt x="14061" y="165763"/>
                      </a:lnTo>
                      <a:lnTo>
                        <a:pt x="15021" y="164889"/>
                      </a:lnTo>
                      <a:lnTo>
                        <a:pt x="18057" y="162752"/>
                      </a:lnTo>
                      <a:lnTo>
                        <a:pt x="21930" y="160554"/>
                      </a:lnTo>
                      <a:lnTo>
                        <a:pt x="41492" y="158417"/>
                      </a:lnTo>
                      <a:lnTo>
                        <a:pt x="60715" y="161246"/>
                      </a:lnTo>
                      <a:lnTo>
                        <a:pt x="71874" y="163456"/>
                      </a:lnTo>
                      <a:lnTo>
                        <a:pt x="81321" y="162970"/>
                      </a:lnTo>
                      <a:lnTo>
                        <a:pt x="82948" y="162388"/>
                      </a:lnTo>
                      <a:lnTo>
                        <a:pt x="86822" y="157567"/>
                      </a:lnTo>
                      <a:lnTo>
                        <a:pt x="91679" y="156268"/>
                      </a:lnTo>
                      <a:lnTo>
                        <a:pt x="94873" y="156450"/>
                      </a:lnTo>
                      <a:lnTo>
                        <a:pt x="99196" y="157518"/>
                      </a:lnTo>
                      <a:lnTo>
                        <a:pt x="100568" y="157676"/>
                      </a:lnTo>
                      <a:lnTo>
                        <a:pt x="101843" y="157445"/>
                      </a:lnTo>
                      <a:lnTo>
                        <a:pt x="104988" y="156535"/>
                      </a:lnTo>
                      <a:lnTo>
                        <a:pt x="112820" y="155915"/>
                      </a:lnTo>
                      <a:lnTo>
                        <a:pt x="116001" y="155053"/>
                      </a:lnTo>
                      <a:lnTo>
                        <a:pt x="117956" y="153462"/>
                      </a:lnTo>
                      <a:lnTo>
                        <a:pt x="119389" y="150876"/>
                      </a:lnTo>
                      <a:lnTo>
                        <a:pt x="119839" y="150184"/>
                      </a:lnTo>
                      <a:lnTo>
                        <a:pt x="123069" y="148593"/>
                      </a:lnTo>
                      <a:lnTo>
                        <a:pt x="124611" y="147597"/>
                      </a:lnTo>
                      <a:lnTo>
                        <a:pt x="127440" y="148666"/>
                      </a:lnTo>
                      <a:lnTo>
                        <a:pt x="125218" y="146371"/>
                      </a:lnTo>
                      <a:lnTo>
                        <a:pt x="127926" y="139607"/>
                      </a:lnTo>
                      <a:lnTo>
                        <a:pt x="129444" y="137895"/>
                      </a:lnTo>
                      <a:lnTo>
                        <a:pt x="132589" y="136632"/>
                      </a:lnTo>
                      <a:lnTo>
                        <a:pt x="135357" y="138174"/>
                      </a:lnTo>
                      <a:lnTo>
                        <a:pt x="139012" y="141077"/>
                      </a:lnTo>
                      <a:lnTo>
                        <a:pt x="145266" y="153973"/>
                      </a:lnTo>
                      <a:lnTo>
                        <a:pt x="149176" y="165933"/>
                      </a:lnTo>
                      <a:lnTo>
                        <a:pt x="151070" y="169273"/>
                      </a:lnTo>
                      <a:lnTo>
                        <a:pt x="152758" y="170523"/>
                      </a:lnTo>
                      <a:lnTo>
                        <a:pt x="153025" y="170596"/>
                      </a:lnTo>
                      <a:lnTo>
                        <a:pt x="153438" y="170183"/>
                      </a:lnTo>
                      <a:lnTo>
                        <a:pt x="153523" y="167245"/>
                      </a:lnTo>
                      <a:lnTo>
                        <a:pt x="154142" y="164294"/>
                      </a:lnTo>
                      <a:lnTo>
                        <a:pt x="156037" y="162982"/>
                      </a:lnTo>
                      <a:lnTo>
                        <a:pt x="158065" y="162460"/>
                      </a:lnTo>
                      <a:lnTo>
                        <a:pt x="160772" y="162728"/>
                      </a:lnTo>
                      <a:lnTo>
                        <a:pt x="162242" y="164464"/>
                      </a:lnTo>
                      <a:lnTo>
                        <a:pt x="162533" y="162218"/>
                      </a:lnTo>
                      <a:lnTo>
                        <a:pt x="164294" y="161125"/>
                      </a:lnTo>
                      <a:lnTo>
                        <a:pt x="165970" y="160408"/>
                      </a:lnTo>
                      <a:lnTo>
                        <a:pt x="167682" y="160178"/>
                      </a:lnTo>
                      <a:lnTo>
                        <a:pt x="171033" y="160627"/>
                      </a:lnTo>
                      <a:lnTo>
                        <a:pt x="171616" y="160323"/>
                      </a:lnTo>
                      <a:lnTo>
                        <a:pt x="171871" y="159971"/>
                      </a:lnTo>
                      <a:lnTo>
                        <a:pt x="173996" y="159364"/>
                      </a:lnTo>
                      <a:lnTo>
                        <a:pt x="174883" y="159170"/>
                      </a:lnTo>
                      <a:lnTo>
                        <a:pt x="177165" y="160032"/>
                      </a:lnTo>
                      <a:lnTo>
                        <a:pt x="178416" y="160845"/>
                      </a:lnTo>
                      <a:lnTo>
                        <a:pt x="180165" y="158769"/>
                      </a:lnTo>
                      <a:lnTo>
                        <a:pt x="183225" y="157749"/>
                      </a:lnTo>
                      <a:lnTo>
                        <a:pt x="187159" y="158830"/>
                      </a:lnTo>
                      <a:lnTo>
                        <a:pt x="189321" y="160918"/>
                      </a:lnTo>
                      <a:lnTo>
                        <a:pt x="192247" y="166358"/>
                      </a:lnTo>
                      <a:lnTo>
                        <a:pt x="192405" y="174676"/>
                      </a:lnTo>
                      <a:lnTo>
                        <a:pt x="190353" y="176983"/>
                      </a:lnTo>
                      <a:lnTo>
                        <a:pt x="190110" y="177506"/>
                      </a:lnTo>
                      <a:lnTo>
                        <a:pt x="193983" y="181282"/>
                      </a:lnTo>
                      <a:lnTo>
                        <a:pt x="197031" y="185666"/>
                      </a:lnTo>
                      <a:lnTo>
                        <a:pt x="199205" y="187815"/>
                      </a:lnTo>
                      <a:lnTo>
                        <a:pt x="201597" y="189539"/>
                      </a:lnTo>
                      <a:lnTo>
                        <a:pt x="206564" y="191980"/>
                      </a:lnTo>
                      <a:lnTo>
                        <a:pt x="211676" y="195805"/>
                      </a:lnTo>
                      <a:lnTo>
                        <a:pt x="213497" y="198100"/>
                      </a:lnTo>
                      <a:lnTo>
                        <a:pt x="214821" y="200334"/>
                      </a:lnTo>
                      <a:lnTo>
                        <a:pt x="215853" y="201403"/>
                      </a:lnTo>
                      <a:lnTo>
                        <a:pt x="218731" y="203613"/>
                      </a:lnTo>
                      <a:lnTo>
                        <a:pt x="220309" y="204086"/>
                      </a:lnTo>
                      <a:lnTo>
                        <a:pt x="221791" y="204111"/>
                      </a:lnTo>
                      <a:lnTo>
                        <a:pt x="223041" y="203831"/>
                      </a:lnTo>
                      <a:lnTo>
                        <a:pt x="224572" y="203139"/>
                      </a:lnTo>
                      <a:lnTo>
                        <a:pt x="226964" y="200638"/>
                      </a:lnTo>
                      <a:lnTo>
                        <a:pt x="227279" y="199836"/>
                      </a:lnTo>
                      <a:lnTo>
                        <a:pt x="227559" y="198452"/>
                      </a:lnTo>
                      <a:lnTo>
                        <a:pt x="228943" y="195222"/>
                      </a:lnTo>
                      <a:lnTo>
                        <a:pt x="233849" y="190911"/>
                      </a:lnTo>
                      <a:lnTo>
                        <a:pt x="235537" y="187001"/>
                      </a:lnTo>
                      <a:lnTo>
                        <a:pt x="237856" y="185641"/>
                      </a:lnTo>
                      <a:lnTo>
                        <a:pt x="240114" y="186006"/>
                      </a:lnTo>
                      <a:lnTo>
                        <a:pt x="241195" y="186588"/>
                      </a:lnTo>
                      <a:lnTo>
                        <a:pt x="243138" y="187949"/>
                      </a:lnTo>
                      <a:lnTo>
                        <a:pt x="244037" y="188422"/>
                      </a:lnTo>
                      <a:lnTo>
                        <a:pt x="245494" y="188495"/>
                      </a:lnTo>
                      <a:lnTo>
                        <a:pt x="250023" y="189551"/>
                      </a:lnTo>
                      <a:lnTo>
                        <a:pt x="250375" y="189515"/>
                      </a:lnTo>
                      <a:lnTo>
                        <a:pt x="252100" y="184330"/>
                      </a:lnTo>
                      <a:lnTo>
                        <a:pt x="254820" y="179849"/>
                      </a:lnTo>
                      <a:lnTo>
                        <a:pt x="258487" y="176619"/>
                      </a:lnTo>
                      <a:lnTo>
                        <a:pt x="267084" y="171944"/>
                      </a:lnTo>
                      <a:lnTo>
                        <a:pt x="269488" y="170232"/>
                      </a:lnTo>
                      <a:lnTo>
                        <a:pt x="272621" y="168532"/>
                      </a:lnTo>
                      <a:lnTo>
                        <a:pt x="274042" y="167330"/>
                      </a:lnTo>
                      <a:lnTo>
                        <a:pt x="277381" y="165253"/>
                      </a:lnTo>
                      <a:lnTo>
                        <a:pt x="282165" y="165654"/>
                      </a:lnTo>
                      <a:lnTo>
                        <a:pt x="285978" y="169115"/>
                      </a:lnTo>
                      <a:lnTo>
                        <a:pt x="287581" y="177639"/>
                      </a:lnTo>
                      <a:lnTo>
                        <a:pt x="288990" y="177372"/>
                      </a:lnTo>
                      <a:lnTo>
                        <a:pt x="289925" y="176826"/>
                      </a:lnTo>
                      <a:lnTo>
                        <a:pt x="291248" y="176218"/>
                      </a:lnTo>
                      <a:lnTo>
                        <a:pt x="295280" y="178210"/>
                      </a:lnTo>
                      <a:lnTo>
                        <a:pt x="296154" y="181464"/>
                      </a:lnTo>
                      <a:lnTo>
                        <a:pt x="298048" y="192478"/>
                      </a:lnTo>
                      <a:lnTo>
                        <a:pt x="298315" y="192793"/>
                      </a:lnTo>
                      <a:lnTo>
                        <a:pt x="299870" y="193838"/>
                      </a:lnTo>
                      <a:lnTo>
                        <a:pt x="309001" y="194821"/>
                      </a:lnTo>
                      <a:lnTo>
                        <a:pt x="311782" y="194020"/>
                      </a:lnTo>
                      <a:lnTo>
                        <a:pt x="314259" y="192624"/>
                      </a:lnTo>
                      <a:lnTo>
                        <a:pt x="317064" y="190693"/>
                      </a:lnTo>
                      <a:lnTo>
                        <a:pt x="331065" y="185666"/>
                      </a:lnTo>
                      <a:lnTo>
                        <a:pt x="334878" y="187171"/>
                      </a:lnTo>
                      <a:lnTo>
                        <a:pt x="335485" y="190341"/>
                      </a:lnTo>
                      <a:lnTo>
                        <a:pt x="334890" y="193789"/>
                      </a:lnTo>
                      <a:lnTo>
                        <a:pt x="339189" y="189697"/>
                      </a:lnTo>
                      <a:lnTo>
                        <a:pt x="342127" y="187523"/>
                      </a:lnTo>
                      <a:lnTo>
                        <a:pt x="342795" y="186831"/>
                      </a:lnTo>
                      <a:lnTo>
                        <a:pt x="342407" y="185107"/>
                      </a:lnTo>
                      <a:lnTo>
                        <a:pt x="343184" y="181780"/>
                      </a:lnTo>
                      <a:lnTo>
                        <a:pt x="346292" y="178781"/>
                      </a:lnTo>
                      <a:lnTo>
                        <a:pt x="363778" y="172418"/>
                      </a:lnTo>
                      <a:lnTo>
                        <a:pt x="364713" y="171908"/>
                      </a:lnTo>
                      <a:lnTo>
                        <a:pt x="364810" y="171774"/>
                      </a:lnTo>
                      <a:lnTo>
                        <a:pt x="364932" y="171009"/>
                      </a:lnTo>
                      <a:lnTo>
                        <a:pt x="365733" y="168969"/>
                      </a:lnTo>
                      <a:lnTo>
                        <a:pt x="366304" y="167658"/>
                      </a:lnTo>
                      <a:lnTo>
                        <a:pt x="370432" y="166516"/>
                      </a:lnTo>
                      <a:lnTo>
                        <a:pt x="385113" y="164816"/>
                      </a:lnTo>
                      <a:lnTo>
                        <a:pt x="388550" y="162679"/>
                      </a:lnTo>
                      <a:lnTo>
                        <a:pt x="398531" y="163614"/>
                      </a:lnTo>
                      <a:lnTo>
                        <a:pt x="402514" y="163408"/>
                      </a:lnTo>
                      <a:lnTo>
                        <a:pt x="405853" y="162837"/>
                      </a:lnTo>
                      <a:lnTo>
                        <a:pt x="409071" y="163031"/>
                      </a:lnTo>
                      <a:lnTo>
                        <a:pt x="412095" y="164355"/>
                      </a:lnTo>
                      <a:lnTo>
                        <a:pt x="412981" y="164634"/>
                      </a:lnTo>
                      <a:lnTo>
                        <a:pt x="413127" y="164598"/>
                      </a:lnTo>
                      <a:lnTo>
                        <a:pt x="418239" y="159862"/>
                      </a:lnTo>
                      <a:lnTo>
                        <a:pt x="418300" y="159510"/>
                      </a:lnTo>
                      <a:lnTo>
                        <a:pt x="420801" y="157154"/>
                      </a:lnTo>
                      <a:lnTo>
                        <a:pt x="422222" y="153025"/>
                      </a:lnTo>
                      <a:lnTo>
                        <a:pt x="426217" y="153171"/>
                      </a:lnTo>
                      <a:lnTo>
                        <a:pt x="429727" y="154142"/>
                      </a:lnTo>
                      <a:lnTo>
                        <a:pt x="432750" y="154774"/>
                      </a:lnTo>
                      <a:lnTo>
                        <a:pt x="435689" y="154689"/>
                      </a:lnTo>
                      <a:lnTo>
                        <a:pt x="436684" y="154082"/>
                      </a:lnTo>
                      <a:lnTo>
                        <a:pt x="437061" y="153280"/>
                      </a:lnTo>
                      <a:lnTo>
                        <a:pt x="437061" y="146626"/>
                      </a:lnTo>
                      <a:lnTo>
                        <a:pt x="436757" y="144756"/>
                      </a:lnTo>
                      <a:lnTo>
                        <a:pt x="436296" y="143396"/>
                      </a:lnTo>
                      <a:lnTo>
                        <a:pt x="435482" y="142352"/>
                      </a:lnTo>
                      <a:lnTo>
                        <a:pt x="434256" y="139790"/>
                      </a:lnTo>
                      <a:lnTo>
                        <a:pt x="434256" y="137130"/>
                      </a:lnTo>
                      <a:lnTo>
                        <a:pt x="436077" y="135309"/>
                      </a:lnTo>
                      <a:lnTo>
                        <a:pt x="437571" y="134653"/>
                      </a:lnTo>
                      <a:lnTo>
                        <a:pt x="441772" y="133451"/>
                      </a:lnTo>
                      <a:lnTo>
                        <a:pt x="442659" y="132249"/>
                      </a:lnTo>
                      <a:lnTo>
                        <a:pt x="443144" y="130391"/>
                      </a:lnTo>
                      <a:lnTo>
                        <a:pt x="443582" y="125218"/>
                      </a:lnTo>
                      <a:lnTo>
                        <a:pt x="444432" y="122097"/>
                      </a:lnTo>
                      <a:lnTo>
                        <a:pt x="445986" y="118794"/>
                      </a:lnTo>
                      <a:lnTo>
                        <a:pt x="448123" y="115455"/>
                      </a:lnTo>
                      <a:lnTo>
                        <a:pt x="451559" y="111861"/>
                      </a:lnTo>
                      <a:lnTo>
                        <a:pt x="455044" y="110926"/>
                      </a:lnTo>
                      <a:lnTo>
                        <a:pt x="471705" y="110659"/>
                      </a:lnTo>
                      <a:lnTo>
                        <a:pt x="476210" y="112140"/>
                      </a:lnTo>
                      <a:lnTo>
                        <a:pt x="480192" y="115188"/>
                      </a:lnTo>
                      <a:lnTo>
                        <a:pt x="488170" y="124951"/>
                      </a:lnTo>
                      <a:lnTo>
                        <a:pt x="494752" y="124247"/>
                      </a:lnTo>
                      <a:lnTo>
                        <a:pt x="502086" y="119499"/>
                      </a:lnTo>
                      <a:lnTo>
                        <a:pt x="505267" y="116584"/>
                      </a:lnTo>
                      <a:lnTo>
                        <a:pt x="512286" y="114241"/>
                      </a:lnTo>
                      <a:lnTo>
                        <a:pt x="515528" y="119535"/>
                      </a:lnTo>
                      <a:lnTo>
                        <a:pt x="514606" y="122474"/>
                      </a:lnTo>
                      <a:lnTo>
                        <a:pt x="514047" y="123433"/>
                      </a:lnTo>
                      <a:lnTo>
                        <a:pt x="515601" y="123457"/>
                      </a:lnTo>
                      <a:lnTo>
                        <a:pt x="519730" y="124769"/>
                      </a:lnTo>
                      <a:lnTo>
                        <a:pt x="524113" y="127683"/>
                      </a:lnTo>
                      <a:lnTo>
                        <a:pt x="526360" y="132115"/>
                      </a:lnTo>
                      <a:lnTo>
                        <a:pt x="528509" y="147974"/>
                      </a:lnTo>
                      <a:lnTo>
                        <a:pt x="529772" y="150293"/>
                      </a:lnTo>
                      <a:lnTo>
                        <a:pt x="531326" y="151775"/>
                      </a:lnTo>
                      <a:lnTo>
                        <a:pt x="533791" y="153669"/>
                      </a:lnTo>
                      <a:lnTo>
                        <a:pt x="536778" y="154276"/>
                      </a:lnTo>
                      <a:lnTo>
                        <a:pt x="538357" y="154142"/>
                      </a:lnTo>
                      <a:lnTo>
                        <a:pt x="541964" y="151993"/>
                      </a:lnTo>
                      <a:lnTo>
                        <a:pt x="545558" y="150973"/>
                      </a:lnTo>
                      <a:lnTo>
                        <a:pt x="553742" y="154130"/>
                      </a:lnTo>
                      <a:lnTo>
                        <a:pt x="559680" y="154531"/>
                      </a:lnTo>
                      <a:lnTo>
                        <a:pt x="561635" y="157542"/>
                      </a:lnTo>
                      <a:lnTo>
                        <a:pt x="562643" y="160178"/>
                      </a:lnTo>
                      <a:lnTo>
                        <a:pt x="563566" y="167245"/>
                      </a:lnTo>
                      <a:lnTo>
                        <a:pt x="563359" y="169795"/>
                      </a:lnTo>
                      <a:lnTo>
                        <a:pt x="562169" y="172661"/>
                      </a:lnTo>
                      <a:lnTo>
                        <a:pt x="557446" y="178052"/>
                      </a:lnTo>
                      <a:lnTo>
                        <a:pt x="557616" y="178428"/>
                      </a:lnTo>
                      <a:lnTo>
                        <a:pt x="571483" y="185823"/>
                      </a:lnTo>
                      <a:lnTo>
                        <a:pt x="583359" y="194736"/>
                      </a:lnTo>
                      <a:lnTo>
                        <a:pt x="586018" y="196157"/>
                      </a:lnTo>
                      <a:lnTo>
                        <a:pt x="586662" y="195283"/>
                      </a:lnTo>
                      <a:lnTo>
                        <a:pt x="587329" y="193668"/>
                      </a:lnTo>
                      <a:lnTo>
                        <a:pt x="587354" y="192441"/>
                      </a:lnTo>
                      <a:lnTo>
                        <a:pt x="587002" y="191470"/>
                      </a:lnTo>
                      <a:lnTo>
                        <a:pt x="587196" y="188811"/>
                      </a:lnTo>
                      <a:lnTo>
                        <a:pt x="588495" y="186103"/>
                      </a:lnTo>
                      <a:lnTo>
                        <a:pt x="588981" y="185228"/>
                      </a:lnTo>
                      <a:lnTo>
                        <a:pt x="591337" y="184184"/>
                      </a:lnTo>
                      <a:lnTo>
                        <a:pt x="591543" y="184026"/>
                      </a:lnTo>
                      <a:lnTo>
                        <a:pt x="591398" y="178659"/>
                      </a:lnTo>
                      <a:lnTo>
                        <a:pt x="593401" y="170305"/>
                      </a:lnTo>
                      <a:lnTo>
                        <a:pt x="595526" y="167645"/>
                      </a:lnTo>
                      <a:lnTo>
                        <a:pt x="602120" y="162218"/>
                      </a:lnTo>
                      <a:lnTo>
                        <a:pt x="612065" y="152382"/>
                      </a:lnTo>
                      <a:lnTo>
                        <a:pt x="617396" y="152430"/>
                      </a:lnTo>
                      <a:lnTo>
                        <a:pt x="622544" y="154325"/>
                      </a:lnTo>
                      <a:lnTo>
                        <a:pt x="626005" y="156146"/>
                      </a:lnTo>
                      <a:lnTo>
                        <a:pt x="628567" y="156195"/>
                      </a:lnTo>
                      <a:lnTo>
                        <a:pt x="632076" y="155211"/>
                      </a:lnTo>
                      <a:lnTo>
                        <a:pt x="634396" y="155150"/>
                      </a:lnTo>
                      <a:lnTo>
                        <a:pt x="637638" y="153487"/>
                      </a:lnTo>
                      <a:lnTo>
                        <a:pt x="639350" y="149686"/>
                      </a:lnTo>
                      <a:lnTo>
                        <a:pt x="641912" y="147513"/>
                      </a:lnTo>
                      <a:lnTo>
                        <a:pt x="645300" y="147027"/>
                      </a:lnTo>
                      <a:lnTo>
                        <a:pt x="648336" y="147901"/>
                      </a:lnTo>
                      <a:lnTo>
                        <a:pt x="651529" y="149613"/>
                      </a:lnTo>
                      <a:lnTo>
                        <a:pt x="657831" y="154519"/>
                      </a:lnTo>
                      <a:lnTo>
                        <a:pt x="667364" y="157336"/>
                      </a:lnTo>
                      <a:lnTo>
                        <a:pt x="667327" y="156656"/>
                      </a:lnTo>
                      <a:lnTo>
                        <a:pt x="667631" y="153681"/>
                      </a:lnTo>
                      <a:lnTo>
                        <a:pt x="669805" y="150682"/>
                      </a:lnTo>
                      <a:lnTo>
                        <a:pt x="672245" y="147173"/>
                      </a:lnTo>
                      <a:lnTo>
                        <a:pt x="672925" y="142534"/>
                      </a:lnTo>
                      <a:lnTo>
                        <a:pt x="676629" y="142036"/>
                      </a:lnTo>
                      <a:lnTo>
                        <a:pt x="684485" y="143785"/>
                      </a:lnTo>
                      <a:lnTo>
                        <a:pt x="694564" y="147695"/>
                      </a:lnTo>
                      <a:lnTo>
                        <a:pt x="696179" y="147853"/>
                      </a:lnTo>
                      <a:lnTo>
                        <a:pt x="697126" y="147488"/>
                      </a:lnTo>
                      <a:lnTo>
                        <a:pt x="697454" y="147112"/>
                      </a:lnTo>
                      <a:lnTo>
                        <a:pt x="697697" y="143918"/>
                      </a:lnTo>
                      <a:lnTo>
                        <a:pt x="698498" y="140615"/>
                      </a:lnTo>
                      <a:lnTo>
                        <a:pt x="700939" y="133791"/>
                      </a:lnTo>
                      <a:lnTo>
                        <a:pt x="700478" y="128193"/>
                      </a:lnTo>
                      <a:lnTo>
                        <a:pt x="702615" y="118139"/>
                      </a:lnTo>
                      <a:lnTo>
                        <a:pt x="702238" y="116099"/>
                      </a:lnTo>
                      <a:lnTo>
                        <a:pt x="701607" y="115054"/>
                      </a:lnTo>
                      <a:lnTo>
                        <a:pt x="700405" y="111788"/>
                      </a:lnTo>
                      <a:lnTo>
                        <a:pt x="702214" y="109189"/>
                      </a:lnTo>
                      <a:lnTo>
                        <a:pt x="703428" y="107987"/>
                      </a:lnTo>
                      <a:lnTo>
                        <a:pt x="704715" y="106397"/>
                      </a:lnTo>
                      <a:lnTo>
                        <a:pt x="707593" y="100993"/>
                      </a:lnTo>
                      <a:lnTo>
                        <a:pt x="709548" y="98285"/>
                      </a:lnTo>
                      <a:lnTo>
                        <a:pt x="710738" y="96184"/>
                      </a:lnTo>
                      <a:lnTo>
                        <a:pt x="710835" y="94654"/>
                      </a:lnTo>
                      <a:lnTo>
                        <a:pt x="709998" y="73914"/>
                      </a:lnTo>
                      <a:lnTo>
                        <a:pt x="710811" y="70041"/>
                      </a:lnTo>
                      <a:lnTo>
                        <a:pt x="712232" y="66519"/>
                      </a:lnTo>
                      <a:lnTo>
                        <a:pt x="716822" y="59938"/>
                      </a:lnTo>
                      <a:lnTo>
                        <a:pt x="721485" y="55129"/>
                      </a:lnTo>
                      <a:lnTo>
                        <a:pt x="723950" y="53223"/>
                      </a:lnTo>
                      <a:lnTo>
                        <a:pt x="731187" y="50442"/>
                      </a:lnTo>
                      <a:lnTo>
                        <a:pt x="734490" y="50660"/>
                      </a:lnTo>
                      <a:lnTo>
                        <a:pt x="738230" y="52033"/>
                      </a:lnTo>
                      <a:lnTo>
                        <a:pt x="740671" y="41201"/>
                      </a:lnTo>
                      <a:lnTo>
                        <a:pt x="741084" y="37765"/>
                      </a:lnTo>
                      <a:lnTo>
                        <a:pt x="743124" y="31535"/>
                      </a:lnTo>
                      <a:lnTo>
                        <a:pt x="746196" y="28585"/>
                      </a:lnTo>
                      <a:lnTo>
                        <a:pt x="749268" y="27686"/>
                      </a:lnTo>
                      <a:lnTo>
                        <a:pt x="754174" y="27382"/>
                      </a:lnTo>
                      <a:lnTo>
                        <a:pt x="754732" y="26727"/>
                      </a:lnTo>
                      <a:lnTo>
                        <a:pt x="757136" y="25549"/>
                      </a:lnTo>
                      <a:lnTo>
                        <a:pt x="760148" y="25792"/>
                      </a:lnTo>
                      <a:lnTo>
                        <a:pt x="763062" y="27395"/>
                      </a:lnTo>
                      <a:lnTo>
                        <a:pt x="765734" y="28463"/>
                      </a:lnTo>
                      <a:lnTo>
                        <a:pt x="766887" y="28670"/>
                      </a:lnTo>
                      <a:lnTo>
                        <a:pt x="768126" y="28087"/>
                      </a:lnTo>
                      <a:lnTo>
                        <a:pt x="768891" y="26374"/>
                      </a:lnTo>
                      <a:lnTo>
                        <a:pt x="769838" y="21675"/>
                      </a:lnTo>
                      <a:lnTo>
                        <a:pt x="771295" y="19162"/>
                      </a:lnTo>
                      <a:lnTo>
                        <a:pt x="771671" y="18615"/>
                      </a:lnTo>
                      <a:lnTo>
                        <a:pt x="773456" y="17571"/>
                      </a:lnTo>
                      <a:lnTo>
                        <a:pt x="774282" y="14147"/>
                      </a:lnTo>
                      <a:lnTo>
                        <a:pt x="776662" y="9751"/>
                      </a:lnTo>
                      <a:lnTo>
                        <a:pt x="784495" y="2769"/>
                      </a:lnTo>
                      <a:lnTo>
                        <a:pt x="788708" y="0"/>
                      </a:lnTo>
                      <a:lnTo>
                        <a:pt x="793104" y="1384"/>
                      </a:lnTo>
                      <a:lnTo>
                        <a:pt x="793614" y="1858"/>
                      </a:lnTo>
                      <a:lnTo>
                        <a:pt x="794585" y="2052"/>
                      </a:lnTo>
                      <a:lnTo>
                        <a:pt x="796844" y="2914"/>
                      </a:lnTo>
                      <a:lnTo>
                        <a:pt x="799746" y="4906"/>
                      </a:lnTo>
                      <a:lnTo>
                        <a:pt x="802478" y="8245"/>
                      </a:lnTo>
                      <a:lnTo>
                        <a:pt x="804105" y="11366"/>
                      </a:lnTo>
                      <a:lnTo>
                        <a:pt x="804725" y="11924"/>
                      </a:lnTo>
                      <a:lnTo>
                        <a:pt x="815325" y="14074"/>
                      </a:lnTo>
                      <a:lnTo>
                        <a:pt x="819248" y="15834"/>
                      </a:lnTo>
                      <a:lnTo>
                        <a:pt x="826728" y="14729"/>
                      </a:lnTo>
                      <a:lnTo>
                        <a:pt x="832083" y="15434"/>
                      </a:lnTo>
                      <a:lnTo>
                        <a:pt x="834888" y="16648"/>
                      </a:lnTo>
                      <a:lnTo>
                        <a:pt x="837171" y="18154"/>
                      </a:lnTo>
                      <a:lnTo>
                        <a:pt x="839368" y="20594"/>
                      </a:lnTo>
                      <a:lnTo>
                        <a:pt x="840850" y="24250"/>
                      </a:lnTo>
                      <a:lnTo>
                        <a:pt x="841020" y="28767"/>
                      </a:lnTo>
                      <a:lnTo>
                        <a:pt x="839806" y="31074"/>
                      </a:lnTo>
                      <a:lnTo>
                        <a:pt x="838482" y="32932"/>
                      </a:lnTo>
                      <a:lnTo>
                        <a:pt x="838251" y="34292"/>
                      </a:lnTo>
                      <a:lnTo>
                        <a:pt x="838215" y="36380"/>
                      </a:lnTo>
                      <a:lnTo>
                        <a:pt x="838506" y="38032"/>
                      </a:lnTo>
                      <a:lnTo>
                        <a:pt x="839551" y="42403"/>
                      </a:lnTo>
                      <a:lnTo>
                        <a:pt x="839709" y="44310"/>
                      </a:lnTo>
                      <a:lnTo>
                        <a:pt x="839417" y="47455"/>
                      </a:lnTo>
                      <a:lnTo>
                        <a:pt x="841190" y="48122"/>
                      </a:lnTo>
                      <a:lnTo>
                        <a:pt x="842744" y="49155"/>
                      </a:lnTo>
                      <a:lnTo>
                        <a:pt x="849920" y="56477"/>
                      </a:lnTo>
                      <a:lnTo>
                        <a:pt x="851766" y="57691"/>
                      </a:lnTo>
                      <a:lnTo>
                        <a:pt x="853102" y="60666"/>
                      </a:lnTo>
                      <a:lnTo>
                        <a:pt x="854924" y="65074"/>
                      </a:lnTo>
                      <a:lnTo>
                        <a:pt x="858542" y="79476"/>
                      </a:lnTo>
                      <a:lnTo>
                        <a:pt x="859259" y="84454"/>
                      </a:lnTo>
                      <a:lnTo>
                        <a:pt x="859453" y="89433"/>
                      </a:lnTo>
                      <a:lnTo>
                        <a:pt x="858736" y="93452"/>
                      </a:lnTo>
                      <a:lnTo>
                        <a:pt x="855992" y="97241"/>
                      </a:lnTo>
                      <a:lnTo>
                        <a:pt x="855494" y="98722"/>
                      </a:lnTo>
                      <a:lnTo>
                        <a:pt x="854936" y="108266"/>
                      </a:lnTo>
                      <a:lnTo>
                        <a:pt x="854656" y="109396"/>
                      </a:lnTo>
                      <a:lnTo>
                        <a:pt x="853673" y="112177"/>
                      </a:lnTo>
                      <a:lnTo>
                        <a:pt x="851681" y="113111"/>
                      </a:lnTo>
                      <a:lnTo>
                        <a:pt x="851366" y="113172"/>
                      </a:lnTo>
                      <a:lnTo>
                        <a:pt x="852252" y="113306"/>
                      </a:lnTo>
                      <a:lnTo>
                        <a:pt x="853296" y="114071"/>
                      </a:lnTo>
                      <a:lnTo>
                        <a:pt x="854438" y="115115"/>
                      </a:lnTo>
                      <a:lnTo>
                        <a:pt x="855252" y="116378"/>
                      </a:lnTo>
                      <a:lnTo>
                        <a:pt x="856575" y="119207"/>
                      </a:lnTo>
                      <a:lnTo>
                        <a:pt x="857692" y="121126"/>
                      </a:lnTo>
                      <a:lnTo>
                        <a:pt x="858421" y="124052"/>
                      </a:lnTo>
                      <a:lnTo>
                        <a:pt x="858627" y="127027"/>
                      </a:lnTo>
                      <a:lnTo>
                        <a:pt x="858894" y="128472"/>
                      </a:lnTo>
                      <a:lnTo>
                        <a:pt x="859332" y="129007"/>
                      </a:lnTo>
                      <a:lnTo>
                        <a:pt x="859999" y="129602"/>
                      </a:lnTo>
                      <a:lnTo>
                        <a:pt x="861979" y="132977"/>
                      </a:lnTo>
                      <a:lnTo>
                        <a:pt x="861979" y="136462"/>
                      </a:lnTo>
                      <a:lnTo>
                        <a:pt x="860497" y="138454"/>
                      </a:lnTo>
                      <a:lnTo>
                        <a:pt x="858785" y="139680"/>
                      </a:lnTo>
                      <a:lnTo>
                        <a:pt x="858967" y="139705"/>
                      </a:lnTo>
                      <a:lnTo>
                        <a:pt x="863436" y="142048"/>
                      </a:lnTo>
                      <a:lnTo>
                        <a:pt x="861541" y="148411"/>
                      </a:lnTo>
                      <a:lnTo>
                        <a:pt x="859805" y="150317"/>
                      </a:lnTo>
                      <a:lnTo>
                        <a:pt x="857522" y="152309"/>
                      </a:lnTo>
                      <a:lnTo>
                        <a:pt x="854401" y="153924"/>
                      </a:lnTo>
                      <a:lnTo>
                        <a:pt x="850953" y="154810"/>
                      </a:lnTo>
                      <a:lnTo>
                        <a:pt x="847638" y="154944"/>
                      </a:lnTo>
                      <a:lnTo>
                        <a:pt x="844784" y="154446"/>
                      </a:lnTo>
                      <a:lnTo>
                        <a:pt x="841991" y="153208"/>
                      </a:lnTo>
                      <a:lnTo>
                        <a:pt x="842307" y="154543"/>
                      </a:lnTo>
                      <a:lnTo>
                        <a:pt x="841712" y="161113"/>
                      </a:lnTo>
                      <a:lnTo>
                        <a:pt x="843011" y="162885"/>
                      </a:lnTo>
                      <a:lnTo>
                        <a:pt x="843922" y="164962"/>
                      </a:lnTo>
                      <a:lnTo>
                        <a:pt x="844177" y="167415"/>
                      </a:lnTo>
                      <a:lnTo>
                        <a:pt x="843703" y="169601"/>
                      </a:lnTo>
                      <a:lnTo>
                        <a:pt x="842659" y="171847"/>
                      </a:lnTo>
                      <a:lnTo>
                        <a:pt x="841530" y="173474"/>
                      </a:lnTo>
                      <a:lnTo>
                        <a:pt x="839502" y="175490"/>
                      </a:lnTo>
                      <a:lnTo>
                        <a:pt x="839271" y="176230"/>
                      </a:lnTo>
                      <a:lnTo>
                        <a:pt x="839453" y="176813"/>
                      </a:lnTo>
                      <a:lnTo>
                        <a:pt x="839903" y="177566"/>
                      </a:lnTo>
                      <a:lnTo>
                        <a:pt x="840303" y="180116"/>
                      </a:lnTo>
                      <a:lnTo>
                        <a:pt x="839441" y="184476"/>
                      </a:lnTo>
                      <a:lnTo>
                        <a:pt x="831366" y="201852"/>
                      </a:lnTo>
                      <a:lnTo>
                        <a:pt x="828585" y="205726"/>
                      </a:lnTo>
                      <a:lnTo>
                        <a:pt x="822623" y="210534"/>
                      </a:lnTo>
                      <a:lnTo>
                        <a:pt x="817632" y="213934"/>
                      </a:lnTo>
                      <a:lnTo>
                        <a:pt x="814196" y="215003"/>
                      </a:lnTo>
                      <a:lnTo>
                        <a:pt x="811270" y="216120"/>
                      </a:lnTo>
                      <a:lnTo>
                        <a:pt x="810857" y="216630"/>
                      </a:lnTo>
                      <a:lnTo>
                        <a:pt x="810650" y="217784"/>
                      </a:lnTo>
                      <a:lnTo>
                        <a:pt x="810905" y="219095"/>
                      </a:lnTo>
                      <a:lnTo>
                        <a:pt x="810905" y="219702"/>
                      </a:lnTo>
                      <a:lnTo>
                        <a:pt x="813030" y="219605"/>
                      </a:lnTo>
                      <a:lnTo>
                        <a:pt x="815787" y="221512"/>
                      </a:lnTo>
                      <a:lnTo>
                        <a:pt x="818556" y="226684"/>
                      </a:lnTo>
                      <a:lnTo>
                        <a:pt x="817912" y="231869"/>
                      </a:lnTo>
                      <a:lnTo>
                        <a:pt x="814172" y="234383"/>
                      </a:lnTo>
                      <a:lnTo>
                        <a:pt x="810577" y="234711"/>
                      </a:lnTo>
                      <a:lnTo>
                        <a:pt x="804895" y="234007"/>
                      </a:lnTo>
                      <a:lnTo>
                        <a:pt x="804457" y="234152"/>
                      </a:lnTo>
                      <a:lnTo>
                        <a:pt x="804081" y="237795"/>
                      </a:lnTo>
                      <a:lnTo>
                        <a:pt x="802988" y="241001"/>
                      </a:lnTo>
                      <a:lnTo>
                        <a:pt x="800657" y="245846"/>
                      </a:lnTo>
                      <a:lnTo>
                        <a:pt x="797305" y="248020"/>
                      </a:lnTo>
                      <a:lnTo>
                        <a:pt x="793055" y="247364"/>
                      </a:lnTo>
                      <a:lnTo>
                        <a:pt x="788308" y="242883"/>
                      </a:lnTo>
                      <a:lnTo>
                        <a:pt x="786680" y="242227"/>
                      </a:lnTo>
                      <a:lnTo>
                        <a:pt x="785612" y="242252"/>
                      </a:lnTo>
                      <a:lnTo>
                        <a:pt x="785430" y="242349"/>
                      </a:lnTo>
                      <a:lnTo>
                        <a:pt x="785320" y="242956"/>
                      </a:lnTo>
                      <a:lnTo>
                        <a:pt x="786352" y="247060"/>
                      </a:lnTo>
                      <a:lnTo>
                        <a:pt x="785915" y="251322"/>
                      </a:lnTo>
                      <a:lnTo>
                        <a:pt x="786170" y="255864"/>
                      </a:lnTo>
                      <a:lnTo>
                        <a:pt x="785417" y="259349"/>
                      </a:lnTo>
                      <a:lnTo>
                        <a:pt x="783511" y="261255"/>
                      </a:lnTo>
                      <a:lnTo>
                        <a:pt x="781216" y="262858"/>
                      </a:lnTo>
                      <a:lnTo>
                        <a:pt x="778593" y="265845"/>
                      </a:lnTo>
                      <a:lnTo>
                        <a:pt x="774792" y="266938"/>
                      </a:lnTo>
                      <a:lnTo>
                        <a:pt x="768575" y="265299"/>
                      </a:lnTo>
                      <a:lnTo>
                        <a:pt x="765588" y="265481"/>
                      </a:lnTo>
                      <a:lnTo>
                        <a:pt x="754781" y="269840"/>
                      </a:lnTo>
                      <a:lnTo>
                        <a:pt x="752789" y="269549"/>
                      </a:lnTo>
                      <a:lnTo>
                        <a:pt x="750871" y="268408"/>
                      </a:lnTo>
                      <a:lnTo>
                        <a:pt x="750458" y="267885"/>
                      </a:lnTo>
                      <a:lnTo>
                        <a:pt x="749572" y="266283"/>
                      </a:lnTo>
                      <a:lnTo>
                        <a:pt x="749122" y="264303"/>
                      </a:lnTo>
                      <a:lnTo>
                        <a:pt x="748806" y="261268"/>
                      </a:lnTo>
                      <a:lnTo>
                        <a:pt x="748357" y="259264"/>
                      </a:lnTo>
                      <a:lnTo>
                        <a:pt x="748005" y="258888"/>
                      </a:lnTo>
                      <a:lnTo>
                        <a:pt x="747349" y="258839"/>
                      </a:lnTo>
                      <a:lnTo>
                        <a:pt x="739493" y="260782"/>
                      </a:lnTo>
                      <a:lnTo>
                        <a:pt x="736991" y="261668"/>
                      </a:lnTo>
                      <a:lnTo>
                        <a:pt x="739408" y="263684"/>
                      </a:lnTo>
                      <a:lnTo>
                        <a:pt x="741205" y="266003"/>
                      </a:lnTo>
                      <a:lnTo>
                        <a:pt x="741229" y="268541"/>
                      </a:lnTo>
                      <a:lnTo>
                        <a:pt x="741715" y="269318"/>
                      </a:lnTo>
                      <a:lnTo>
                        <a:pt x="744665" y="271431"/>
                      </a:lnTo>
                      <a:lnTo>
                        <a:pt x="746705" y="274503"/>
                      </a:lnTo>
                      <a:lnTo>
                        <a:pt x="747507" y="278425"/>
                      </a:lnTo>
                      <a:lnTo>
                        <a:pt x="747033" y="281971"/>
                      </a:lnTo>
                      <a:lnTo>
                        <a:pt x="745030" y="285918"/>
                      </a:lnTo>
                      <a:lnTo>
                        <a:pt x="742079" y="288055"/>
                      </a:lnTo>
                      <a:lnTo>
                        <a:pt x="740440" y="288043"/>
                      </a:lnTo>
                      <a:lnTo>
                        <a:pt x="740331" y="288383"/>
                      </a:lnTo>
                      <a:lnTo>
                        <a:pt x="740585" y="291649"/>
                      </a:lnTo>
                      <a:lnTo>
                        <a:pt x="740270" y="294296"/>
                      </a:lnTo>
                      <a:lnTo>
                        <a:pt x="738703" y="298765"/>
                      </a:lnTo>
                      <a:lnTo>
                        <a:pt x="735376" y="300781"/>
                      </a:lnTo>
                      <a:lnTo>
                        <a:pt x="731576" y="300550"/>
                      </a:lnTo>
                      <a:lnTo>
                        <a:pt x="728467" y="296045"/>
                      </a:lnTo>
                      <a:lnTo>
                        <a:pt x="727581" y="295486"/>
                      </a:lnTo>
                      <a:lnTo>
                        <a:pt x="727022" y="295547"/>
                      </a:lnTo>
                      <a:lnTo>
                        <a:pt x="725468" y="295365"/>
                      </a:lnTo>
                      <a:lnTo>
                        <a:pt x="721145" y="294151"/>
                      </a:lnTo>
                      <a:lnTo>
                        <a:pt x="720440" y="294053"/>
                      </a:lnTo>
                      <a:lnTo>
                        <a:pt x="720708" y="294357"/>
                      </a:lnTo>
                      <a:lnTo>
                        <a:pt x="723695" y="297053"/>
                      </a:lnTo>
                      <a:lnTo>
                        <a:pt x="725443" y="299761"/>
                      </a:lnTo>
                      <a:lnTo>
                        <a:pt x="726111" y="302104"/>
                      </a:lnTo>
                      <a:lnTo>
                        <a:pt x="724654" y="307350"/>
                      </a:lnTo>
                      <a:lnTo>
                        <a:pt x="715680" y="309293"/>
                      </a:lnTo>
                      <a:lnTo>
                        <a:pt x="705238" y="306731"/>
                      </a:lnTo>
                      <a:lnTo>
                        <a:pt x="700344" y="304460"/>
                      </a:lnTo>
                      <a:lnTo>
                        <a:pt x="696155" y="301509"/>
                      </a:lnTo>
                      <a:lnTo>
                        <a:pt x="692281" y="297648"/>
                      </a:lnTo>
                      <a:lnTo>
                        <a:pt x="691552" y="297417"/>
                      </a:lnTo>
                      <a:lnTo>
                        <a:pt x="690229" y="297514"/>
                      </a:lnTo>
                      <a:lnTo>
                        <a:pt x="686914" y="297162"/>
                      </a:lnTo>
                      <a:lnTo>
                        <a:pt x="682008" y="295061"/>
                      </a:lnTo>
                      <a:lnTo>
                        <a:pt x="671942" y="288334"/>
                      </a:lnTo>
                      <a:lnTo>
                        <a:pt x="669294" y="287411"/>
                      </a:lnTo>
                      <a:lnTo>
                        <a:pt x="668881" y="287399"/>
                      </a:lnTo>
                      <a:lnTo>
                        <a:pt x="668323" y="287788"/>
                      </a:lnTo>
                      <a:lnTo>
                        <a:pt x="667971" y="288419"/>
                      </a:lnTo>
                      <a:lnTo>
                        <a:pt x="667619" y="290143"/>
                      </a:lnTo>
                      <a:lnTo>
                        <a:pt x="667230" y="291309"/>
                      </a:lnTo>
                      <a:lnTo>
                        <a:pt x="666259" y="293009"/>
                      </a:lnTo>
                      <a:lnTo>
                        <a:pt x="664534" y="295171"/>
                      </a:lnTo>
                      <a:lnTo>
                        <a:pt x="660296" y="298231"/>
                      </a:lnTo>
                      <a:lnTo>
                        <a:pt x="660090" y="298862"/>
                      </a:lnTo>
                      <a:lnTo>
                        <a:pt x="658973" y="300951"/>
                      </a:lnTo>
                      <a:lnTo>
                        <a:pt x="658245" y="303986"/>
                      </a:lnTo>
                      <a:lnTo>
                        <a:pt x="658597" y="304970"/>
                      </a:lnTo>
                      <a:lnTo>
                        <a:pt x="659252" y="306318"/>
                      </a:lnTo>
                      <a:lnTo>
                        <a:pt x="660770" y="311151"/>
                      </a:lnTo>
                      <a:lnTo>
                        <a:pt x="659762" y="317854"/>
                      </a:lnTo>
                      <a:lnTo>
                        <a:pt x="655379" y="324156"/>
                      </a:lnTo>
                      <a:lnTo>
                        <a:pt x="647680" y="326597"/>
                      </a:lnTo>
                      <a:lnTo>
                        <a:pt x="625143" y="330239"/>
                      </a:lnTo>
                      <a:lnTo>
                        <a:pt x="613777" y="334004"/>
                      </a:lnTo>
                      <a:lnTo>
                        <a:pt x="606442" y="337307"/>
                      </a:lnTo>
                      <a:lnTo>
                        <a:pt x="590256" y="341751"/>
                      </a:lnTo>
                      <a:lnTo>
                        <a:pt x="581768" y="345916"/>
                      </a:lnTo>
                      <a:lnTo>
                        <a:pt x="576328" y="349413"/>
                      </a:lnTo>
                      <a:lnTo>
                        <a:pt x="573146" y="352279"/>
                      </a:lnTo>
                      <a:lnTo>
                        <a:pt x="571131" y="354768"/>
                      </a:lnTo>
                      <a:lnTo>
                        <a:pt x="570524" y="356687"/>
                      </a:lnTo>
                      <a:lnTo>
                        <a:pt x="570426" y="358241"/>
                      </a:lnTo>
                      <a:lnTo>
                        <a:pt x="570499" y="360281"/>
                      </a:lnTo>
                      <a:lnTo>
                        <a:pt x="570257" y="362952"/>
                      </a:lnTo>
                      <a:lnTo>
                        <a:pt x="569394" y="365636"/>
                      </a:lnTo>
                      <a:lnTo>
                        <a:pt x="568010" y="367931"/>
                      </a:lnTo>
                      <a:lnTo>
                        <a:pt x="567136" y="368696"/>
                      </a:lnTo>
                      <a:lnTo>
                        <a:pt x="566905" y="369060"/>
                      </a:lnTo>
                      <a:lnTo>
                        <a:pt x="566092" y="369765"/>
                      </a:lnTo>
                      <a:lnTo>
                        <a:pt x="564489" y="371440"/>
                      </a:lnTo>
                      <a:lnTo>
                        <a:pt x="561769" y="373213"/>
                      </a:lnTo>
                      <a:lnTo>
                        <a:pt x="556657" y="377730"/>
                      </a:lnTo>
                      <a:lnTo>
                        <a:pt x="549990" y="380317"/>
                      </a:lnTo>
                      <a:lnTo>
                        <a:pt x="545607" y="380572"/>
                      </a:lnTo>
                      <a:lnTo>
                        <a:pt x="541745" y="378823"/>
                      </a:lnTo>
                      <a:lnTo>
                        <a:pt x="539329" y="375873"/>
                      </a:lnTo>
                      <a:lnTo>
                        <a:pt x="536536" y="374367"/>
                      </a:lnTo>
                      <a:lnTo>
                        <a:pt x="531763" y="372242"/>
                      </a:lnTo>
                      <a:lnTo>
                        <a:pt x="530428" y="371805"/>
                      </a:lnTo>
                      <a:lnTo>
                        <a:pt x="527635" y="371562"/>
                      </a:lnTo>
                      <a:lnTo>
                        <a:pt x="525109" y="370117"/>
                      </a:lnTo>
                      <a:lnTo>
                        <a:pt x="524004" y="368672"/>
                      </a:lnTo>
                      <a:lnTo>
                        <a:pt x="523288" y="366875"/>
                      </a:lnTo>
                      <a:lnTo>
                        <a:pt x="523628" y="363025"/>
                      </a:lnTo>
                      <a:lnTo>
                        <a:pt x="525570" y="354659"/>
                      </a:lnTo>
                      <a:lnTo>
                        <a:pt x="525328" y="353760"/>
                      </a:lnTo>
                      <a:lnTo>
                        <a:pt x="521017" y="353687"/>
                      </a:lnTo>
                      <a:lnTo>
                        <a:pt x="512456" y="348575"/>
                      </a:lnTo>
                      <a:lnTo>
                        <a:pt x="509943" y="347956"/>
                      </a:lnTo>
                      <a:lnTo>
                        <a:pt x="509068" y="348065"/>
                      </a:lnTo>
                      <a:lnTo>
                        <a:pt x="507854" y="348745"/>
                      </a:lnTo>
                      <a:lnTo>
                        <a:pt x="507016" y="349826"/>
                      </a:lnTo>
                      <a:lnTo>
                        <a:pt x="506591" y="350603"/>
                      </a:lnTo>
                      <a:lnTo>
                        <a:pt x="506725" y="351417"/>
                      </a:lnTo>
                      <a:lnTo>
                        <a:pt x="508995" y="357634"/>
                      </a:lnTo>
                      <a:lnTo>
                        <a:pt x="509566" y="360876"/>
                      </a:lnTo>
                      <a:lnTo>
                        <a:pt x="507903" y="364543"/>
                      </a:lnTo>
                      <a:lnTo>
                        <a:pt x="506227" y="365855"/>
                      </a:lnTo>
                      <a:lnTo>
                        <a:pt x="503689" y="366875"/>
                      </a:lnTo>
                      <a:lnTo>
                        <a:pt x="493161" y="368720"/>
                      </a:lnTo>
                      <a:lnTo>
                        <a:pt x="488413" y="368951"/>
                      </a:lnTo>
                      <a:lnTo>
                        <a:pt x="485074" y="368781"/>
                      </a:lnTo>
                      <a:lnTo>
                        <a:pt x="475760" y="370627"/>
                      </a:lnTo>
                      <a:lnTo>
                        <a:pt x="473392" y="371975"/>
                      </a:lnTo>
                      <a:lnTo>
                        <a:pt x="473028" y="373092"/>
                      </a:lnTo>
                      <a:lnTo>
                        <a:pt x="473113" y="373784"/>
                      </a:lnTo>
                      <a:lnTo>
                        <a:pt x="473550" y="374124"/>
                      </a:lnTo>
                      <a:lnTo>
                        <a:pt x="475420" y="376650"/>
                      </a:lnTo>
                      <a:lnTo>
                        <a:pt x="475979" y="377828"/>
                      </a:lnTo>
                      <a:lnTo>
                        <a:pt x="480423" y="377512"/>
                      </a:lnTo>
                      <a:lnTo>
                        <a:pt x="482864" y="378083"/>
                      </a:lnTo>
                      <a:lnTo>
                        <a:pt x="483580" y="378313"/>
                      </a:lnTo>
                      <a:lnTo>
                        <a:pt x="486883" y="381713"/>
                      </a:lnTo>
                      <a:lnTo>
                        <a:pt x="486579" y="385211"/>
                      </a:lnTo>
                      <a:lnTo>
                        <a:pt x="485159" y="387287"/>
                      </a:lnTo>
                      <a:lnTo>
                        <a:pt x="484794" y="388793"/>
                      </a:lnTo>
                      <a:lnTo>
                        <a:pt x="484588" y="392678"/>
                      </a:lnTo>
                      <a:lnTo>
                        <a:pt x="484005" y="395411"/>
                      </a:lnTo>
                      <a:lnTo>
                        <a:pt x="482597" y="398143"/>
                      </a:lnTo>
                      <a:lnTo>
                        <a:pt x="479403" y="402028"/>
                      </a:lnTo>
                      <a:lnTo>
                        <a:pt x="476768" y="406157"/>
                      </a:lnTo>
                      <a:lnTo>
                        <a:pt x="474874" y="410480"/>
                      </a:lnTo>
                      <a:lnTo>
                        <a:pt x="474594" y="413115"/>
                      </a:lnTo>
                      <a:lnTo>
                        <a:pt x="476064" y="416381"/>
                      </a:lnTo>
                      <a:lnTo>
                        <a:pt x="481965" y="421967"/>
                      </a:lnTo>
                      <a:lnTo>
                        <a:pt x="483483" y="427031"/>
                      </a:lnTo>
                      <a:lnTo>
                        <a:pt x="483920" y="429387"/>
                      </a:lnTo>
                      <a:lnTo>
                        <a:pt x="491655" y="426703"/>
                      </a:lnTo>
                      <a:lnTo>
                        <a:pt x="496124" y="426751"/>
                      </a:lnTo>
                      <a:lnTo>
                        <a:pt x="500738" y="427614"/>
                      </a:lnTo>
                      <a:lnTo>
                        <a:pt x="505243" y="429921"/>
                      </a:lnTo>
                      <a:lnTo>
                        <a:pt x="508995" y="432592"/>
                      </a:lnTo>
                      <a:lnTo>
                        <a:pt x="532407" y="457595"/>
                      </a:lnTo>
                      <a:lnTo>
                        <a:pt x="536098" y="460752"/>
                      </a:lnTo>
                      <a:lnTo>
                        <a:pt x="537033" y="461007"/>
                      </a:lnTo>
                      <a:lnTo>
                        <a:pt x="539183" y="460691"/>
                      </a:lnTo>
                      <a:lnTo>
                        <a:pt x="541162" y="459720"/>
                      </a:lnTo>
                      <a:lnTo>
                        <a:pt x="543457" y="458262"/>
                      </a:lnTo>
                      <a:lnTo>
                        <a:pt x="552321" y="458287"/>
                      </a:lnTo>
                      <a:lnTo>
                        <a:pt x="563019" y="460570"/>
                      </a:lnTo>
                      <a:lnTo>
                        <a:pt x="588082" y="461359"/>
                      </a:lnTo>
                      <a:lnTo>
                        <a:pt x="590718" y="461845"/>
                      </a:lnTo>
                      <a:lnTo>
                        <a:pt x="591762" y="462488"/>
                      </a:lnTo>
                      <a:lnTo>
                        <a:pt x="593996" y="463229"/>
                      </a:lnTo>
                      <a:lnTo>
                        <a:pt x="596400" y="463192"/>
                      </a:lnTo>
                      <a:lnTo>
                        <a:pt x="599594" y="464237"/>
                      </a:lnTo>
                      <a:lnTo>
                        <a:pt x="600978" y="465840"/>
                      </a:lnTo>
                      <a:lnTo>
                        <a:pt x="601428" y="467880"/>
                      </a:lnTo>
                      <a:lnTo>
                        <a:pt x="601306" y="468875"/>
                      </a:lnTo>
                      <a:lnTo>
                        <a:pt x="600505" y="470478"/>
                      </a:lnTo>
                      <a:lnTo>
                        <a:pt x="599206" y="471863"/>
                      </a:lnTo>
                      <a:lnTo>
                        <a:pt x="597044" y="472737"/>
                      </a:lnTo>
                      <a:lnTo>
                        <a:pt x="594761" y="473283"/>
                      </a:lnTo>
                      <a:lnTo>
                        <a:pt x="591422" y="473696"/>
                      </a:lnTo>
                      <a:lnTo>
                        <a:pt x="589103" y="474315"/>
                      </a:lnTo>
                      <a:lnTo>
                        <a:pt x="587512" y="475105"/>
                      </a:lnTo>
                      <a:lnTo>
                        <a:pt x="583650" y="478335"/>
                      </a:lnTo>
                      <a:lnTo>
                        <a:pt x="583456" y="478699"/>
                      </a:lnTo>
                      <a:lnTo>
                        <a:pt x="583420" y="479913"/>
                      </a:lnTo>
                      <a:lnTo>
                        <a:pt x="583966" y="481006"/>
                      </a:lnTo>
                      <a:lnTo>
                        <a:pt x="584270" y="483568"/>
                      </a:lnTo>
                      <a:lnTo>
                        <a:pt x="583541" y="486835"/>
                      </a:lnTo>
                      <a:lnTo>
                        <a:pt x="581647" y="491510"/>
                      </a:lnTo>
                      <a:lnTo>
                        <a:pt x="581525" y="497071"/>
                      </a:lnTo>
                      <a:lnTo>
                        <a:pt x="580639" y="502718"/>
                      </a:lnTo>
                      <a:lnTo>
                        <a:pt x="580554" y="505013"/>
                      </a:lnTo>
                      <a:lnTo>
                        <a:pt x="580857" y="505838"/>
                      </a:lnTo>
                      <a:lnTo>
                        <a:pt x="589552" y="512651"/>
                      </a:lnTo>
                      <a:lnTo>
                        <a:pt x="592005" y="513039"/>
                      </a:lnTo>
                      <a:lnTo>
                        <a:pt x="593996" y="513063"/>
                      </a:lnTo>
                      <a:lnTo>
                        <a:pt x="594882" y="512808"/>
                      </a:lnTo>
                      <a:lnTo>
                        <a:pt x="597347" y="512954"/>
                      </a:lnTo>
                      <a:lnTo>
                        <a:pt x="603297" y="516051"/>
                      </a:lnTo>
                      <a:lnTo>
                        <a:pt x="616339" y="526700"/>
                      </a:lnTo>
                      <a:lnTo>
                        <a:pt x="617966" y="537349"/>
                      </a:lnTo>
                      <a:lnTo>
                        <a:pt x="618962" y="539207"/>
                      </a:lnTo>
                      <a:lnTo>
                        <a:pt x="620662" y="541696"/>
                      </a:lnTo>
                      <a:lnTo>
                        <a:pt x="622362" y="542547"/>
                      </a:lnTo>
                      <a:lnTo>
                        <a:pt x="624269" y="542996"/>
                      </a:lnTo>
                      <a:lnTo>
                        <a:pt x="632064" y="543008"/>
                      </a:lnTo>
                      <a:lnTo>
                        <a:pt x="636047" y="544089"/>
                      </a:lnTo>
                      <a:lnTo>
                        <a:pt x="641317" y="547282"/>
                      </a:lnTo>
                      <a:lnTo>
                        <a:pt x="644414" y="550330"/>
                      </a:lnTo>
                      <a:lnTo>
                        <a:pt x="646538" y="553451"/>
                      </a:lnTo>
                      <a:lnTo>
                        <a:pt x="648263" y="557604"/>
                      </a:lnTo>
                      <a:lnTo>
                        <a:pt x="648749" y="559571"/>
                      </a:lnTo>
                      <a:lnTo>
                        <a:pt x="648991" y="561975"/>
                      </a:lnTo>
                      <a:lnTo>
                        <a:pt x="647898" y="564902"/>
                      </a:lnTo>
                      <a:lnTo>
                        <a:pt x="645130" y="566420"/>
                      </a:lnTo>
                      <a:lnTo>
                        <a:pt x="642604" y="566517"/>
                      </a:lnTo>
                      <a:lnTo>
                        <a:pt x="640285" y="566116"/>
                      </a:lnTo>
                      <a:lnTo>
                        <a:pt x="640309" y="566954"/>
                      </a:lnTo>
                      <a:lnTo>
                        <a:pt x="641050" y="569055"/>
                      </a:lnTo>
                      <a:lnTo>
                        <a:pt x="641645" y="569832"/>
                      </a:lnTo>
                      <a:lnTo>
                        <a:pt x="642398" y="570390"/>
                      </a:lnTo>
                      <a:lnTo>
                        <a:pt x="647546" y="572819"/>
                      </a:lnTo>
                      <a:lnTo>
                        <a:pt x="650376" y="574810"/>
                      </a:lnTo>
                      <a:lnTo>
                        <a:pt x="654249" y="579000"/>
                      </a:lnTo>
                      <a:lnTo>
                        <a:pt x="655609" y="582922"/>
                      </a:lnTo>
                      <a:lnTo>
                        <a:pt x="656119" y="590329"/>
                      </a:lnTo>
                      <a:lnTo>
                        <a:pt x="656727" y="592150"/>
                      </a:lnTo>
                      <a:lnTo>
                        <a:pt x="658706" y="593984"/>
                      </a:lnTo>
                      <a:lnTo>
                        <a:pt x="661195" y="595890"/>
                      </a:lnTo>
                      <a:lnTo>
                        <a:pt x="664656" y="599169"/>
                      </a:lnTo>
                      <a:lnTo>
                        <a:pt x="666077" y="601634"/>
                      </a:lnTo>
                      <a:lnTo>
                        <a:pt x="666684" y="602824"/>
                      </a:lnTo>
                      <a:lnTo>
                        <a:pt x="665142" y="606795"/>
                      </a:lnTo>
                      <a:lnTo>
                        <a:pt x="661025" y="608495"/>
                      </a:lnTo>
                      <a:lnTo>
                        <a:pt x="652926" y="609308"/>
                      </a:lnTo>
                      <a:lnTo>
                        <a:pt x="650582" y="609114"/>
                      </a:lnTo>
                      <a:lnTo>
                        <a:pt x="650764" y="611543"/>
                      </a:lnTo>
                      <a:lnTo>
                        <a:pt x="650169" y="615186"/>
                      </a:lnTo>
                      <a:lnTo>
                        <a:pt x="647838" y="618076"/>
                      </a:lnTo>
                      <a:lnTo>
                        <a:pt x="644292" y="618136"/>
                      </a:lnTo>
                      <a:lnTo>
                        <a:pt x="641111" y="617068"/>
                      </a:lnTo>
                      <a:lnTo>
                        <a:pt x="640698" y="617408"/>
                      </a:lnTo>
                      <a:lnTo>
                        <a:pt x="637431" y="619217"/>
                      </a:lnTo>
                      <a:lnTo>
                        <a:pt x="635246" y="620783"/>
                      </a:lnTo>
                      <a:lnTo>
                        <a:pt x="632890" y="623127"/>
                      </a:lnTo>
                      <a:lnTo>
                        <a:pt x="623503" y="618974"/>
                      </a:lnTo>
                      <a:lnTo>
                        <a:pt x="614360" y="610996"/>
                      </a:lnTo>
                      <a:lnTo>
                        <a:pt x="596741" y="599861"/>
                      </a:lnTo>
                      <a:lnTo>
                        <a:pt x="595441" y="599315"/>
                      </a:lnTo>
                      <a:lnTo>
                        <a:pt x="594105" y="599084"/>
                      </a:lnTo>
                      <a:lnTo>
                        <a:pt x="592284" y="599473"/>
                      </a:lnTo>
                      <a:lnTo>
                        <a:pt x="585751" y="601695"/>
                      </a:lnTo>
                      <a:lnTo>
                        <a:pt x="582569" y="602278"/>
                      </a:lnTo>
                      <a:lnTo>
                        <a:pt x="578902" y="602460"/>
                      </a:lnTo>
                      <a:lnTo>
                        <a:pt x="574834" y="601780"/>
                      </a:lnTo>
                      <a:lnTo>
                        <a:pt x="570961" y="600262"/>
                      </a:lnTo>
                      <a:lnTo>
                        <a:pt x="566590" y="597141"/>
                      </a:lnTo>
                      <a:lnTo>
                        <a:pt x="563724" y="594373"/>
                      </a:lnTo>
                      <a:lnTo>
                        <a:pt x="561586" y="591726"/>
                      </a:lnTo>
                      <a:lnTo>
                        <a:pt x="558017" y="585787"/>
                      </a:lnTo>
                      <a:lnTo>
                        <a:pt x="555831" y="584221"/>
                      </a:lnTo>
                      <a:lnTo>
                        <a:pt x="552079" y="581780"/>
                      </a:lnTo>
                      <a:lnTo>
                        <a:pt x="520713" y="566347"/>
                      </a:lnTo>
                      <a:lnTo>
                        <a:pt x="513221" y="556778"/>
                      </a:lnTo>
                      <a:lnTo>
                        <a:pt x="512214" y="555916"/>
                      </a:lnTo>
                      <a:lnTo>
                        <a:pt x="511679" y="555734"/>
                      </a:lnTo>
                      <a:lnTo>
                        <a:pt x="510307" y="556304"/>
                      </a:lnTo>
                      <a:lnTo>
                        <a:pt x="509505" y="556754"/>
                      </a:lnTo>
                      <a:lnTo>
                        <a:pt x="507053" y="560737"/>
                      </a:lnTo>
                      <a:lnTo>
                        <a:pt x="504406" y="562910"/>
                      </a:lnTo>
                      <a:lnTo>
                        <a:pt x="503070" y="563335"/>
                      </a:lnTo>
                      <a:lnTo>
                        <a:pt x="501637" y="563675"/>
                      </a:lnTo>
                      <a:lnTo>
                        <a:pt x="498868" y="564015"/>
                      </a:lnTo>
                      <a:lnTo>
                        <a:pt x="497678" y="564307"/>
                      </a:lnTo>
                      <a:lnTo>
                        <a:pt x="494728" y="565497"/>
                      </a:lnTo>
                      <a:lnTo>
                        <a:pt x="494655" y="566772"/>
                      </a:lnTo>
                      <a:lnTo>
                        <a:pt x="495274" y="569638"/>
                      </a:lnTo>
                      <a:lnTo>
                        <a:pt x="496743" y="571653"/>
                      </a:lnTo>
                      <a:lnTo>
                        <a:pt x="501078" y="576875"/>
                      </a:lnTo>
                      <a:lnTo>
                        <a:pt x="502851" y="580129"/>
                      </a:lnTo>
                      <a:lnTo>
                        <a:pt x="503871" y="584258"/>
                      </a:lnTo>
                      <a:lnTo>
                        <a:pt x="505195" y="596109"/>
                      </a:lnTo>
                      <a:lnTo>
                        <a:pt x="505158" y="600189"/>
                      </a:lnTo>
                      <a:lnTo>
                        <a:pt x="504406" y="604403"/>
                      </a:lnTo>
                      <a:lnTo>
                        <a:pt x="500617" y="609976"/>
                      </a:lnTo>
                      <a:lnTo>
                        <a:pt x="499949" y="611361"/>
                      </a:lnTo>
                      <a:lnTo>
                        <a:pt x="499827" y="613728"/>
                      </a:lnTo>
                      <a:lnTo>
                        <a:pt x="500860" y="616339"/>
                      </a:lnTo>
                      <a:lnTo>
                        <a:pt x="503628" y="621269"/>
                      </a:lnTo>
                      <a:lnTo>
                        <a:pt x="504296" y="625203"/>
                      </a:lnTo>
                      <a:lnTo>
                        <a:pt x="503519" y="629235"/>
                      </a:lnTo>
                      <a:lnTo>
                        <a:pt x="501965" y="633934"/>
                      </a:lnTo>
                      <a:lnTo>
                        <a:pt x="501212" y="636922"/>
                      </a:lnTo>
                      <a:lnTo>
                        <a:pt x="501418" y="638913"/>
                      </a:lnTo>
                      <a:lnTo>
                        <a:pt x="501613" y="640030"/>
                      </a:lnTo>
                      <a:lnTo>
                        <a:pt x="501649" y="641864"/>
                      </a:lnTo>
                      <a:lnTo>
                        <a:pt x="500835" y="644389"/>
                      </a:lnTo>
                      <a:lnTo>
                        <a:pt x="499305" y="647097"/>
                      </a:lnTo>
                      <a:lnTo>
                        <a:pt x="490247" y="659835"/>
                      </a:lnTo>
                      <a:lnTo>
                        <a:pt x="486094" y="663308"/>
                      </a:lnTo>
                      <a:lnTo>
                        <a:pt x="482050" y="665822"/>
                      </a:lnTo>
                      <a:lnTo>
                        <a:pt x="471960" y="668384"/>
                      </a:lnTo>
                      <a:close/>
                    </a:path>
                  </a:pathLst>
                </a:custGeom>
                <a:solidFill>
                  <a:srgbClr val="D7D7D2"/>
                </a:solidFill>
                <a:ln w="12138" cap="flat">
                  <a:noFill/>
                  <a:prstDash val="solid"/>
                  <a:miter/>
                </a:ln>
              </p:spPr>
              <p:txBody>
                <a:bodyPr rtlCol="0" anchor="ctr"/>
                <a:lstStyle/>
                <a:p>
                  <a:endParaRPr lang="en-US"/>
                </a:p>
              </p:txBody>
            </p:sp>
            <p:sp>
              <p:nvSpPr>
                <p:cNvPr id="335" name="Freeform: Shape 334">
                  <a:extLst>
                    <a:ext uri="{FF2B5EF4-FFF2-40B4-BE49-F238E27FC236}">
                      <a16:creationId xmlns:a16="http://schemas.microsoft.com/office/drawing/2014/main" id="{94D6807B-CB75-428C-B4E7-781D428C487D}"/>
                    </a:ext>
                  </a:extLst>
                </p:cNvPr>
                <p:cNvSpPr/>
                <p:nvPr/>
              </p:nvSpPr>
              <p:spPr>
                <a:xfrm>
                  <a:off x="6200344" y="3082103"/>
                  <a:ext cx="871061" cy="674880"/>
                </a:xfrm>
                <a:custGeom>
                  <a:avLst/>
                  <a:gdLst>
                    <a:gd name="connsiteX0" fmla="*/ 793177 w 871061"/>
                    <a:gd name="connsiteY0" fmla="*/ 6654 h 674880"/>
                    <a:gd name="connsiteX1" fmla="*/ 795532 w 871061"/>
                    <a:gd name="connsiteY1" fmla="*/ 7395 h 674880"/>
                    <a:gd name="connsiteX2" fmla="*/ 796273 w 871061"/>
                    <a:gd name="connsiteY2" fmla="*/ 8087 h 674880"/>
                    <a:gd name="connsiteX3" fmla="*/ 798119 w 871061"/>
                    <a:gd name="connsiteY3" fmla="*/ 8379 h 674880"/>
                    <a:gd name="connsiteX4" fmla="*/ 799673 w 871061"/>
                    <a:gd name="connsiteY4" fmla="*/ 9034 h 674880"/>
                    <a:gd name="connsiteX5" fmla="*/ 801968 w 871061"/>
                    <a:gd name="connsiteY5" fmla="*/ 10698 h 674880"/>
                    <a:gd name="connsiteX6" fmla="*/ 804093 w 871061"/>
                    <a:gd name="connsiteY6" fmla="*/ 13430 h 674880"/>
                    <a:gd name="connsiteX7" fmla="*/ 805393 w 871061"/>
                    <a:gd name="connsiteY7" fmla="*/ 16041 h 674880"/>
                    <a:gd name="connsiteX8" fmla="*/ 807299 w 871061"/>
                    <a:gd name="connsiteY8" fmla="*/ 18057 h 674880"/>
                    <a:gd name="connsiteX9" fmla="*/ 818713 w 871061"/>
                    <a:gd name="connsiteY9" fmla="*/ 20376 h 674880"/>
                    <a:gd name="connsiteX10" fmla="*/ 822805 w 871061"/>
                    <a:gd name="connsiteY10" fmla="*/ 22295 h 674880"/>
                    <a:gd name="connsiteX11" fmla="*/ 831160 w 871061"/>
                    <a:gd name="connsiteY11" fmla="*/ 21068 h 674880"/>
                    <a:gd name="connsiteX12" fmla="*/ 835592 w 871061"/>
                    <a:gd name="connsiteY12" fmla="*/ 21760 h 674880"/>
                    <a:gd name="connsiteX13" fmla="*/ 837547 w 871061"/>
                    <a:gd name="connsiteY13" fmla="*/ 22707 h 674880"/>
                    <a:gd name="connsiteX14" fmla="*/ 839441 w 871061"/>
                    <a:gd name="connsiteY14" fmla="*/ 23995 h 674880"/>
                    <a:gd name="connsiteX15" fmla="*/ 841044 w 871061"/>
                    <a:gd name="connsiteY15" fmla="*/ 25889 h 674880"/>
                    <a:gd name="connsiteX16" fmla="*/ 841967 w 871061"/>
                    <a:gd name="connsiteY16" fmla="*/ 28560 h 674880"/>
                    <a:gd name="connsiteX17" fmla="*/ 841967 w 871061"/>
                    <a:gd name="connsiteY17" fmla="*/ 31341 h 674880"/>
                    <a:gd name="connsiteX18" fmla="*/ 841105 w 871061"/>
                    <a:gd name="connsiteY18" fmla="*/ 32980 h 674880"/>
                    <a:gd name="connsiteX19" fmla="*/ 840012 w 871061"/>
                    <a:gd name="connsiteY19" fmla="*/ 34474 h 674880"/>
                    <a:gd name="connsiteX20" fmla="*/ 839320 w 871061"/>
                    <a:gd name="connsiteY20" fmla="*/ 36745 h 674880"/>
                    <a:gd name="connsiteX21" fmla="*/ 839150 w 871061"/>
                    <a:gd name="connsiteY21" fmla="*/ 39525 h 674880"/>
                    <a:gd name="connsiteX22" fmla="*/ 839478 w 871061"/>
                    <a:gd name="connsiteY22" fmla="*/ 41796 h 674880"/>
                    <a:gd name="connsiteX23" fmla="*/ 840571 w 871061"/>
                    <a:gd name="connsiteY23" fmla="*/ 46423 h 674880"/>
                    <a:gd name="connsiteX24" fmla="*/ 840643 w 871061"/>
                    <a:gd name="connsiteY24" fmla="*/ 47795 h 674880"/>
                    <a:gd name="connsiteX25" fmla="*/ 840340 w 871061"/>
                    <a:gd name="connsiteY25" fmla="*/ 50697 h 674880"/>
                    <a:gd name="connsiteX26" fmla="*/ 840583 w 871061"/>
                    <a:gd name="connsiteY26" fmla="*/ 52020 h 674880"/>
                    <a:gd name="connsiteX27" fmla="*/ 841506 w 871061"/>
                    <a:gd name="connsiteY27" fmla="*/ 53393 h 674880"/>
                    <a:gd name="connsiteX28" fmla="*/ 842598 w 871061"/>
                    <a:gd name="connsiteY28" fmla="*/ 53854 h 674880"/>
                    <a:gd name="connsiteX29" fmla="*/ 843631 w 871061"/>
                    <a:gd name="connsiteY29" fmla="*/ 54060 h 674880"/>
                    <a:gd name="connsiteX30" fmla="*/ 844554 w 871061"/>
                    <a:gd name="connsiteY30" fmla="*/ 54607 h 674880"/>
                    <a:gd name="connsiteX31" fmla="*/ 851730 w 871061"/>
                    <a:gd name="connsiteY31" fmla="*/ 61929 h 674880"/>
                    <a:gd name="connsiteX32" fmla="*/ 853333 w 871061"/>
                    <a:gd name="connsiteY32" fmla="*/ 63034 h 674880"/>
                    <a:gd name="connsiteX33" fmla="*/ 854316 w 871061"/>
                    <a:gd name="connsiteY33" fmla="*/ 65232 h 674880"/>
                    <a:gd name="connsiteX34" fmla="*/ 856089 w 871061"/>
                    <a:gd name="connsiteY34" fmla="*/ 69555 h 674880"/>
                    <a:gd name="connsiteX35" fmla="*/ 859586 w 871061"/>
                    <a:gd name="connsiteY35" fmla="*/ 83543 h 674880"/>
                    <a:gd name="connsiteX36" fmla="*/ 860230 w 871061"/>
                    <a:gd name="connsiteY36" fmla="*/ 88194 h 674880"/>
                    <a:gd name="connsiteX37" fmla="*/ 860400 w 871061"/>
                    <a:gd name="connsiteY37" fmla="*/ 92869 h 674880"/>
                    <a:gd name="connsiteX38" fmla="*/ 859878 w 871061"/>
                    <a:gd name="connsiteY38" fmla="*/ 95541 h 674880"/>
                    <a:gd name="connsiteX39" fmla="*/ 857522 w 871061"/>
                    <a:gd name="connsiteY39" fmla="*/ 98783 h 674880"/>
                    <a:gd name="connsiteX40" fmla="*/ 856672 w 871061"/>
                    <a:gd name="connsiteY40" fmla="*/ 100932 h 674880"/>
                    <a:gd name="connsiteX41" fmla="*/ 855919 w 871061"/>
                    <a:gd name="connsiteY41" fmla="*/ 111132 h 674880"/>
                    <a:gd name="connsiteX42" fmla="*/ 855701 w 871061"/>
                    <a:gd name="connsiteY42" fmla="*/ 112019 h 674880"/>
                    <a:gd name="connsiteX43" fmla="*/ 855239 w 871061"/>
                    <a:gd name="connsiteY43" fmla="*/ 113294 h 674880"/>
                    <a:gd name="connsiteX44" fmla="*/ 854159 w 871061"/>
                    <a:gd name="connsiteY44" fmla="*/ 113804 h 674880"/>
                    <a:gd name="connsiteX45" fmla="*/ 852774 w 871061"/>
                    <a:gd name="connsiteY45" fmla="*/ 113573 h 674880"/>
                    <a:gd name="connsiteX46" fmla="*/ 850819 w 871061"/>
                    <a:gd name="connsiteY46" fmla="*/ 112249 h 674880"/>
                    <a:gd name="connsiteX47" fmla="*/ 849508 w 871061"/>
                    <a:gd name="connsiteY47" fmla="*/ 111849 h 674880"/>
                    <a:gd name="connsiteX48" fmla="*/ 848014 w 871061"/>
                    <a:gd name="connsiteY48" fmla="*/ 112286 h 674880"/>
                    <a:gd name="connsiteX49" fmla="*/ 847152 w 871061"/>
                    <a:gd name="connsiteY49" fmla="*/ 114119 h 674880"/>
                    <a:gd name="connsiteX50" fmla="*/ 847383 w 871061"/>
                    <a:gd name="connsiteY50" fmla="*/ 116074 h 674880"/>
                    <a:gd name="connsiteX51" fmla="*/ 848306 w 871061"/>
                    <a:gd name="connsiteY51" fmla="*/ 117738 h 674880"/>
                    <a:gd name="connsiteX52" fmla="*/ 849447 w 871061"/>
                    <a:gd name="connsiteY52" fmla="*/ 118479 h 674880"/>
                    <a:gd name="connsiteX53" fmla="*/ 850771 w 871061"/>
                    <a:gd name="connsiteY53" fmla="*/ 118916 h 674880"/>
                    <a:gd name="connsiteX54" fmla="*/ 855081 w 871061"/>
                    <a:gd name="connsiteY54" fmla="*/ 119523 h 674880"/>
                    <a:gd name="connsiteX55" fmla="*/ 855919 w 871061"/>
                    <a:gd name="connsiteY55" fmla="*/ 120142 h 674880"/>
                    <a:gd name="connsiteX56" fmla="*/ 856502 w 871061"/>
                    <a:gd name="connsiteY56" fmla="*/ 121005 h 674880"/>
                    <a:gd name="connsiteX57" fmla="*/ 857826 w 871061"/>
                    <a:gd name="connsiteY57" fmla="*/ 123822 h 674880"/>
                    <a:gd name="connsiteX58" fmla="*/ 859076 w 871061"/>
                    <a:gd name="connsiteY58" fmla="*/ 125971 h 674880"/>
                    <a:gd name="connsiteX59" fmla="*/ 859428 w 871061"/>
                    <a:gd name="connsiteY59" fmla="*/ 127926 h 674880"/>
                    <a:gd name="connsiteX60" fmla="*/ 859611 w 871061"/>
                    <a:gd name="connsiteY60" fmla="*/ 130561 h 674880"/>
                    <a:gd name="connsiteX61" fmla="*/ 859890 w 871061"/>
                    <a:gd name="connsiteY61" fmla="*/ 132285 h 674880"/>
                    <a:gd name="connsiteX62" fmla="*/ 860643 w 871061"/>
                    <a:gd name="connsiteY62" fmla="*/ 133730 h 674880"/>
                    <a:gd name="connsiteX63" fmla="*/ 861748 w 871061"/>
                    <a:gd name="connsiteY63" fmla="*/ 134957 h 674880"/>
                    <a:gd name="connsiteX64" fmla="*/ 862950 w 871061"/>
                    <a:gd name="connsiteY64" fmla="*/ 137094 h 674880"/>
                    <a:gd name="connsiteX65" fmla="*/ 862950 w 871061"/>
                    <a:gd name="connsiteY65" fmla="*/ 138782 h 674880"/>
                    <a:gd name="connsiteX66" fmla="*/ 862076 w 871061"/>
                    <a:gd name="connsiteY66" fmla="*/ 139960 h 674880"/>
                    <a:gd name="connsiteX67" fmla="*/ 860206 w 871061"/>
                    <a:gd name="connsiteY67" fmla="*/ 141137 h 674880"/>
                    <a:gd name="connsiteX68" fmla="*/ 858834 w 871061"/>
                    <a:gd name="connsiteY68" fmla="*/ 142291 h 674880"/>
                    <a:gd name="connsiteX69" fmla="*/ 858251 w 871061"/>
                    <a:gd name="connsiteY69" fmla="*/ 144173 h 674880"/>
                    <a:gd name="connsiteX70" fmla="*/ 858943 w 871061"/>
                    <a:gd name="connsiteY70" fmla="*/ 145157 h 674880"/>
                    <a:gd name="connsiteX71" fmla="*/ 860376 w 871061"/>
                    <a:gd name="connsiteY71" fmla="*/ 145703 h 674880"/>
                    <a:gd name="connsiteX72" fmla="*/ 861578 w 871061"/>
                    <a:gd name="connsiteY72" fmla="*/ 145727 h 674880"/>
                    <a:gd name="connsiteX73" fmla="*/ 863836 w 871061"/>
                    <a:gd name="connsiteY73" fmla="*/ 146905 h 674880"/>
                    <a:gd name="connsiteX74" fmla="*/ 862853 w 871061"/>
                    <a:gd name="connsiteY74" fmla="*/ 150208 h 674880"/>
                    <a:gd name="connsiteX75" fmla="*/ 861590 w 871061"/>
                    <a:gd name="connsiteY75" fmla="*/ 151617 h 674880"/>
                    <a:gd name="connsiteX76" fmla="*/ 859586 w 871061"/>
                    <a:gd name="connsiteY76" fmla="*/ 153329 h 674880"/>
                    <a:gd name="connsiteX77" fmla="*/ 857121 w 871061"/>
                    <a:gd name="connsiteY77" fmla="*/ 154519 h 674880"/>
                    <a:gd name="connsiteX78" fmla="*/ 854316 w 871061"/>
                    <a:gd name="connsiteY78" fmla="*/ 155175 h 674880"/>
                    <a:gd name="connsiteX79" fmla="*/ 851609 w 871061"/>
                    <a:gd name="connsiteY79" fmla="*/ 155235 h 674880"/>
                    <a:gd name="connsiteX80" fmla="*/ 849411 w 871061"/>
                    <a:gd name="connsiteY80" fmla="*/ 154798 h 674880"/>
                    <a:gd name="connsiteX81" fmla="*/ 847298 w 871061"/>
                    <a:gd name="connsiteY81" fmla="*/ 153778 h 674880"/>
                    <a:gd name="connsiteX82" fmla="*/ 845683 w 871061"/>
                    <a:gd name="connsiteY82" fmla="*/ 152710 h 674880"/>
                    <a:gd name="connsiteX83" fmla="*/ 843740 w 871061"/>
                    <a:gd name="connsiteY83" fmla="*/ 151762 h 674880"/>
                    <a:gd name="connsiteX84" fmla="*/ 841724 w 871061"/>
                    <a:gd name="connsiteY84" fmla="*/ 151119 h 674880"/>
                    <a:gd name="connsiteX85" fmla="*/ 839028 w 871061"/>
                    <a:gd name="connsiteY85" fmla="*/ 150779 h 674880"/>
                    <a:gd name="connsiteX86" fmla="*/ 837134 w 871061"/>
                    <a:gd name="connsiteY86" fmla="*/ 151216 h 674880"/>
                    <a:gd name="connsiteX87" fmla="*/ 835871 w 871061"/>
                    <a:gd name="connsiteY87" fmla="*/ 152418 h 674880"/>
                    <a:gd name="connsiteX88" fmla="*/ 836163 w 871061"/>
                    <a:gd name="connsiteY88" fmla="*/ 153620 h 674880"/>
                    <a:gd name="connsiteX89" fmla="*/ 837535 w 871061"/>
                    <a:gd name="connsiteY89" fmla="*/ 154774 h 674880"/>
                    <a:gd name="connsiteX90" fmla="*/ 839769 w 871061"/>
                    <a:gd name="connsiteY90" fmla="*/ 155405 h 674880"/>
                    <a:gd name="connsiteX91" fmla="*/ 841773 w 871061"/>
                    <a:gd name="connsiteY91" fmla="*/ 156207 h 674880"/>
                    <a:gd name="connsiteX92" fmla="*/ 843048 w 871061"/>
                    <a:gd name="connsiteY92" fmla="*/ 157154 h 674880"/>
                    <a:gd name="connsiteX93" fmla="*/ 843376 w 871061"/>
                    <a:gd name="connsiteY93" fmla="*/ 158563 h 674880"/>
                    <a:gd name="connsiteX94" fmla="*/ 842696 w 871061"/>
                    <a:gd name="connsiteY94" fmla="*/ 164282 h 674880"/>
                    <a:gd name="connsiteX95" fmla="*/ 842926 w 871061"/>
                    <a:gd name="connsiteY95" fmla="*/ 165739 h 674880"/>
                    <a:gd name="connsiteX96" fmla="*/ 844602 w 871061"/>
                    <a:gd name="connsiteY96" fmla="*/ 168010 h 674880"/>
                    <a:gd name="connsiteX97" fmla="*/ 845112 w 871061"/>
                    <a:gd name="connsiteY97" fmla="*/ 169358 h 674880"/>
                    <a:gd name="connsiteX98" fmla="*/ 845173 w 871061"/>
                    <a:gd name="connsiteY98" fmla="*/ 170851 h 674880"/>
                    <a:gd name="connsiteX99" fmla="*/ 844820 w 871061"/>
                    <a:gd name="connsiteY99" fmla="*/ 172090 h 674880"/>
                    <a:gd name="connsiteX100" fmla="*/ 843971 w 871061"/>
                    <a:gd name="connsiteY100" fmla="*/ 173838 h 674880"/>
                    <a:gd name="connsiteX101" fmla="*/ 843121 w 871061"/>
                    <a:gd name="connsiteY101" fmla="*/ 175016 h 674880"/>
                    <a:gd name="connsiteX102" fmla="*/ 841445 w 871061"/>
                    <a:gd name="connsiteY102" fmla="*/ 176619 h 674880"/>
                    <a:gd name="connsiteX103" fmla="*/ 840643 w 871061"/>
                    <a:gd name="connsiteY103" fmla="*/ 178113 h 674880"/>
                    <a:gd name="connsiteX104" fmla="*/ 840474 w 871061"/>
                    <a:gd name="connsiteY104" fmla="*/ 179861 h 674880"/>
                    <a:gd name="connsiteX105" fmla="*/ 841044 w 871061"/>
                    <a:gd name="connsiteY105" fmla="*/ 181756 h 674880"/>
                    <a:gd name="connsiteX106" fmla="*/ 841323 w 871061"/>
                    <a:gd name="connsiteY106" fmla="*/ 183856 h 674880"/>
                    <a:gd name="connsiteX107" fmla="*/ 840534 w 871061"/>
                    <a:gd name="connsiteY107" fmla="*/ 187074 h 674880"/>
                    <a:gd name="connsiteX108" fmla="*/ 832666 w 871061"/>
                    <a:gd name="connsiteY108" fmla="*/ 203892 h 674880"/>
                    <a:gd name="connsiteX109" fmla="*/ 830188 w 871061"/>
                    <a:gd name="connsiteY109" fmla="*/ 207256 h 674880"/>
                    <a:gd name="connsiteX110" fmla="*/ 824809 w 871061"/>
                    <a:gd name="connsiteY110" fmla="*/ 211469 h 674880"/>
                    <a:gd name="connsiteX111" fmla="*/ 819988 w 871061"/>
                    <a:gd name="connsiteY111" fmla="*/ 214748 h 674880"/>
                    <a:gd name="connsiteX112" fmla="*/ 817511 w 871061"/>
                    <a:gd name="connsiteY112" fmla="*/ 215379 h 674880"/>
                    <a:gd name="connsiteX113" fmla="*/ 813492 w 871061"/>
                    <a:gd name="connsiteY113" fmla="*/ 216897 h 674880"/>
                    <a:gd name="connsiteX114" fmla="*/ 812059 w 871061"/>
                    <a:gd name="connsiteY114" fmla="*/ 218658 h 674880"/>
                    <a:gd name="connsiteX115" fmla="*/ 811731 w 871061"/>
                    <a:gd name="connsiteY115" fmla="*/ 220601 h 674880"/>
                    <a:gd name="connsiteX116" fmla="*/ 811950 w 871061"/>
                    <a:gd name="connsiteY116" fmla="*/ 222726 h 674880"/>
                    <a:gd name="connsiteX117" fmla="*/ 811950 w 871061"/>
                    <a:gd name="connsiteY117" fmla="*/ 224681 h 674880"/>
                    <a:gd name="connsiteX118" fmla="*/ 812205 w 871061"/>
                    <a:gd name="connsiteY118" fmla="*/ 226126 h 674880"/>
                    <a:gd name="connsiteX119" fmla="*/ 813055 w 871061"/>
                    <a:gd name="connsiteY119" fmla="*/ 226782 h 674880"/>
                    <a:gd name="connsiteX120" fmla="*/ 814148 w 871061"/>
                    <a:gd name="connsiteY120" fmla="*/ 226612 h 674880"/>
                    <a:gd name="connsiteX121" fmla="*/ 815410 w 871061"/>
                    <a:gd name="connsiteY121" fmla="*/ 226041 h 674880"/>
                    <a:gd name="connsiteX122" fmla="*/ 816212 w 871061"/>
                    <a:gd name="connsiteY122" fmla="*/ 226004 h 674880"/>
                    <a:gd name="connsiteX123" fmla="*/ 817511 w 871061"/>
                    <a:gd name="connsiteY123" fmla="*/ 226915 h 674880"/>
                    <a:gd name="connsiteX124" fmla="*/ 819478 w 871061"/>
                    <a:gd name="connsiteY124" fmla="*/ 230594 h 674880"/>
                    <a:gd name="connsiteX125" fmla="*/ 819126 w 871061"/>
                    <a:gd name="connsiteY125" fmla="*/ 233448 h 674880"/>
                    <a:gd name="connsiteX126" fmla="*/ 817183 w 871061"/>
                    <a:gd name="connsiteY126" fmla="*/ 234760 h 674880"/>
                    <a:gd name="connsiteX127" fmla="*/ 814378 w 871061"/>
                    <a:gd name="connsiteY127" fmla="*/ 235014 h 674880"/>
                    <a:gd name="connsiteX128" fmla="*/ 808635 w 871061"/>
                    <a:gd name="connsiteY128" fmla="*/ 234237 h 674880"/>
                    <a:gd name="connsiteX129" fmla="*/ 806485 w 871061"/>
                    <a:gd name="connsiteY129" fmla="*/ 234966 h 674880"/>
                    <a:gd name="connsiteX130" fmla="*/ 805587 w 871061"/>
                    <a:gd name="connsiteY130" fmla="*/ 236484 h 674880"/>
                    <a:gd name="connsiteX131" fmla="*/ 805125 w 871061"/>
                    <a:gd name="connsiteY131" fmla="*/ 240794 h 674880"/>
                    <a:gd name="connsiteX132" fmla="*/ 804215 w 871061"/>
                    <a:gd name="connsiteY132" fmla="*/ 243284 h 674880"/>
                    <a:gd name="connsiteX133" fmla="*/ 802369 w 871061"/>
                    <a:gd name="connsiteY133" fmla="*/ 247085 h 674880"/>
                    <a:gd name="connsiteX134" fmla="*/ 800705 w 871061"/>
                    <a:gd name="connsiteY134" fmla="*/ 248165 h 674880"/>
                    <a:gd name="connsiteX135" fmla="*/ 798520 w 871061"/>
                    <a:gd name="connsiteY135" fmla="*/ 247825 h 674880"/>
                    <a:gd name="connsiteX136" fmla="*/ 794452 w 871061"/>
                    <a:gd name="connsiteY136" fmla="*/ 244000 h 674880"/>
                    <a:gd name="connsiteX137" fmla="*/ 792096 w 871061"/>
                    <a:gd name="connsiteY137" fmla="*/ 242834 h 674880"/>
                    <a:gd name="connsiteX138" fmla="*/ 790080 w 871061"/>
                    <a:gd name="connsiteY138" fmla="*/ 242567 h 674880"/>
                    <a:gd name="connsiteX139" fmla="*/ 788417 w 871061"/>
                    <a:gd name="connsiteY139" fmla="*/ 242944 h 674880"/>
                    <a:gd name="connsiteX140" fmla="*/ 786680 w 871061"/>
                    <a:gd name="connsiteY140" fmla="*/ 244122 h 674880"/>
                    <a:gd name="connsiteX141" fmla="*/ 786401 w 871061"/>
                    <a:gd name="connsiteY141" fmla="*/ 245761 h 674880"/>
                    <a:gd name="connsiteX142" fmla="*/ 787445 w 871061"/>
                    <a:gd name="connsiteY142" fmla="*/ 250982 h 674880"/>
                    <a:gd name="connsiteX143" fmla="*/ 786984 w 871061"/>
                    <a:gd name="connsiteY143" fmla="*/ 254225 h 674880"/>
                    <a:gd name="connsiteX144" fmla="*/ 787202 w 871061"/>
                    <a:gd name="connsiteY144" fmla="*/ 259313 h 674880"/>
                    <a:gd name="connsiteX145" fmla="*/ 786753 w 871061"/>
                    <a:gd name="connsiteY145" fmla="*/ 261122 h 674880"/>
                    <a:gd name="connsiteX146" fmla="*/ 785442 w 871061"/>
                    <a:gd name="connsiteY146" fmla="*/ 262433 h 674880"/>
                    <a:gd name="connsiteX147" fmla="*/ 783608 w 871061"/>
                    <a:gd name="connsiteY147" fmla="*/ 263672 h 674880"/>
                    <a:gd name="connsiteX148" fmla="*/ 781021 w 871061"/>
                    <a:gd name="connsiteY148" fmla="*/ 266489 h 674880"/>
                    <a:gd name="connsiteX149" fmla="*/ 778836 w 871061"/>
                    <a:gd name="connsiteY149" fmla="*/ 267120 h 674880"/>
                    <a:gd name="connsiteX150" fmla="*/ 773444 w 871061"/>
                    <a:gd name="connsiteY150" fmla="*/ 265688 h 674880"/>
                    <a:gd name="connsiteX151" fmla="*/ 769607 w 871061"/>
                    <a:gd name="connsiteY151" fmla="*/ 265773 h 674880"/>
                    <a:gd name="connsiteX152" fmla="*/ 758521 w 871061"/>
                    <a:gd name="connsiteY152" fmla="*/ 270047 h 674880"/>
                    <a:gd name="connsiteX153" fmla="*/ 757355 w 871061"/>
                    <a:gd name="connsiteY153" fmla="*/ 269877 h 674880"/>
                    <a:gd name="connsiteX154" fmla="*/ 756614 w 871061"/>
                    <a:gd name="connsiteY154" fmla="*/ 268930 h 674880"/>
                    <a:gd name="connsiteX155" fmla="*/ 756165 w 871061"/>
                    <a:gd name="connsiteY155" fmla="*/ 266950 h 674880"/>
                    <a:gd name="connsiteX156" fmla="*/ 755910 w 871061"/>
                    <a:gd name="connsiteY156" fmla="*/ 264303 h 674880"/>
                    <a:gd name="connsiteX157" fmla="*/ 755400 w 871061"/>
                    <a:gd name="connsiteY157" fmla="*/ 261948 h 674880"/>
                    <a:gd name="connsiteX158" fmla="*/ 754356 w 871061"/>
                    <a:gd name="connsiteY158" fmla="*/ 260284 h 674880"/>
                    <a:gd name="connsiteX159" fmla="*/ 753057 w 871061"/>
                    <a:gd name="connsiteY159" fmla="*/ 259252 h 674880"/>
                    <a:gd name="connsiteX160" fmla="*/ 751684 w 871061"/>
                    <a:gd name="connsiteY160" fmla="*/ 259142 h 674880"/>
                    <a:gd name="connsiteX161" fmla="*/ 742893 w 871061"/>
                    <a:gd name="connsiteY161" fmla="*/ 261146 h 674880"/>
                    <a:gd name="connsiteX162" fmla="*/ 739274 w 871061"/>
                    <a:gd name="connsiteY162" fmla="*/ 262409 h 674880"/>
                    <a:gd name="connsiteX163" fmla="*/ 737647 w 871061"/>
                    <a:gd name="connsiteY163" fmla="*/ 263733 h 674880"/>
                    <a:gd name="connsiteX164" fmla="*/ 737428 w 871061"/>
                    <a:gd name="connsiteY164" fmla="*/ 264996 h 674880"/>
                    <a:gd name="connsiteX165" fmla="*/ 738461 w 871061"/>
                    <a:gd name="connsiteY165" fmla="*/ 266598 h 674880"/>
                    <a:gd name="connsiteX166" fmla="*/ 741448 w 871061"/>
                    <a:gd name="connsiteY166" fmla="*/ 269270 h 674880"/>
                    <a:gd name="connsiteX167" fmla="*/ 742237 w 871061"/>
                    <a:gd name="connsiteY167" fmla="*/ 270338 h 674880"/>
                    <a:gd name="connsiteX168" fmla="*/ 742237 w 871061"/>
                    <a:gd name="connsiteY168" fmla="*/ 271771 h 674880"/>
                    <a:gd name="connsiteX169" fmla="*/ 742419 w 871061"/>
                    <a:gd name="connsiteY169" fmla="*/ 272998 h 674880"/>
                    <a:gd name="connsiteX170" fmla="*/ 743209 w 871061"/>
                    <a:gd name="connsiteY170" fmla="*/ 274261 h 674880"/>
                    <a:gd name="connsiteX171" fmla="*/ 746839 w 871061"/>
                    <a:gd name="connsiteY171" fmla="*/ 277138 h 674880"/>
                    <a:gd name="connsiteX172" fmla="*/ 748151 w 871061"/>
                    <a:gd name="connsiteY172" fmla="*/ 279373 h 674880"/>
                    <a:gd name="connsiteX173" fmla="*/ 748564 w 871061"/>
                    <a:gd name="connsiteY173" fmla="*/ 282190 h 674880"/>
                    <a:gd name="connsiteX174" fmla="*/ 748102 w 871061"/>
                    <a:gd name="connsiteY174" fmla="*/ 284752 h 674880"/>
                    <a:gd name="connsiteX175" fmla="*/ 746766 w 871061"/>
                    <a:gd name="connsiteY175" fmla="*/ 287181 h 674880"/>
                    <a:gd name="connsiteX176" fmla="*/ 745164 w 871061"/>
                    <a:gd name="connsiteY176" fmla="*/ 288334 h 674880"/>
                    <a:gd name="connsiteX177" fmla="*/ 743038 w 871061"/>
                    <a:gd name="connsiteY177" fmla="*/ 288310 h 674880"/>
                    <a:gd name="connsiteX178" fmla="*/ 742019 w 871061"/>
                    <a:gd name="connsiteY178" fmla="*/ 289160 h 674880"/>
                    <a:gd name="connsiteX179" fmla="*/ 741497 w 871061"/>
                    <a:gd name="connsiteY179" fmla="*/ 290775 h 674880"/>
                    <a:gd name="connsiteX180" fmla="*/ 741605 w 871061"/>
                    <a:gd name="connsiteY180" fmla="*/ 295049 h 674880"/>
                    <a:gd name="connsiteX181" fmla="*/ 741326 w 871061"/>
                    <a:gd name="connsiteY181" fmla="*/ 297235 h 674880"/>
                    <a:gd name="connsiteX182" fmla="*/ 740294 w 871061"/>
                    <a:gd name="connsiteY182" fmla="*/ 300052 h 674880"/>
                    <a:gd name="connsiteX183" fmla="*/ 738679 w 871061"/>
                    <a:gd name="connsiteY183" fmla="*/ 301024 h 674880"/>
                    <a:gd name="connsiteX184" fmla="*/ 737307 w 871061"/>
                    <a:gd name="connsiteY184" fmla="*/ 300938 h 674880"/>
                    <a:gd name="connsiteX185" fmla="*/ 735024 w 871061"/>
                    <a:gd name="connsiteY185" fmla="*/ 297636 h 674880"/>
                    <a:gd name="connsiteX186" fmla="*/ 733518 w 871061"/>
                    <a:gd name="connsiteY186" fmla="*/ 296458 h 674880"/>
                    <a:gd name="connsiteX187" fmla="*/ 731916 w 871061"/>
                    <a:gd name="connsiteY187" fmla="*/ 295972 h 674880"/>
                    <a:gd name="connsiteX188" fmla="*/ 729912 w 871061"/>
                    <a:gd name="connsiteY188" fmla="*/ 295681 h 674880"/>
                    <a:gd name="connsiteX189" fmla="*/ 725990 w 871061"/>
                    <a:gd name="connsiteY189" fmla="*/ 294564 h 674880"/>
                    <a:gd name="connsiteX190" fmla="*/ 723925 w 871061"/>
                    <a:gd name="connsiteY190" fmla="*/ 294248 h 674880"/>
                    <a:gd name="connsiteX191" fmla="*/ 722153 w 871061"/>
                    <a:gd name="connsiteY191" fmla="*/ 294624 h 674880"/>
                    <a:gd name="connsiteX192" fmla="*/ 721169 w 871061"/>
                    <a:gd name="connsiteY192" fmla="*/ 295571 h 674880"/>
                    <a:gd name="connsiteX193" fmla="*/ 720780 w 871061"/>
                    <a:gd name="connsiteY193" fmla="*/ 296689 h 674880"/>
                    <a:gd name="connsiteX194" fmla="*/ 721169 w 871061"/>
                    <a:gd name="connsiteY194" fmla="*/ 298243 h 674880"/>
                    <a:gd name="connsiteX195" fmla="*/ 722432 w 871061"/>
                    <a:gd name="connsiteY195" fmla="*/ 299676 h 674880"/>
                    <a:gd name="connsiteX196" fmla="*/ 725662 w 871061"/>
                    <a:gd name="connsiteY196" fmla="*/ 302626 h 674880"/>
                    <a:gd name="connsiteX197" fmla="*/ 726645 w 871061"/>
                    <a:gd name="connsiteY197" fmla="*/ 304302 h 674880"/>
                    <a:gd name="connsiteX198" fmla="*/ 726973 w 871061"/>
                    <a:gd name="connsiteY198" fmla="*/ 305444 h 674880"/>
                    <a:gd name="connsiteX199" fmla="*/ 726233 w 871061"/>
                    <a:gd name="connsiteY199" fmla="*/ 308091 h 674880"/>
                    <a:gd name="connsiteX200" fmla="*/ 719736 w 871061"/>
                    <a:gd name="connsiteY200" fmla="*/ 309499 h 674880"/>
                    <a:gd name="connsiteX201" fmla="*/ 709973 w 871061"/>
                    <a:gd name="connsiteY201" fmla="*/ 307107 h 674880"/>
                    <a:gd name="connsiteX202" fmla="*/ 705662 w 871061"/>
                    <a:gd name="connsiteY202" fmla="*/ 305043 h 674880"/>
                    <a:gd name="connsiteX203" fmla="*/ 701935 w 871061"/>
                    <a:gd name="connsiteY203" fmla="*/ 302371 h 674880"/>
                    <a:gd name="connsiteX204" fmla="*/ 697915 w 871061"/>
                    <a:gd name="connsiteY204" fmla="*/ 298304 h 674880"/>
                    <a:gd name="connsiteX205" fmla="*/ 696483 w 871061"/>
                    <a:gd name="connsiteY205" fmla="*/ 297842 h 674880"/>
                    <a:gd name="connsiteX206" fmla="*/ 694297 w 871061"/>
                    <a:gd name="connsiteY206" fmla="*/ 297806 h 674880"/>
                    <a:gd name="connsiteX207" fmla="*/ 691249 w 871061"/>
                    <a:gd name="connsiteY207" fmla="*/ 297466 h 674880"/>
                    <a:gd name="connsiteX208" fmla="*/ 687302 w 871061"/>
                    <a:gd name="connsiteY208" fmla="*/ 295632 h 674880"/>
                    <a:gd name="connsiteX209" fmla="*/ 677649 w 871061"/>
                    <a:gd name="connsiteY209" fmla="*/ 289136 h 674880"/>
                    <a:gd name="connsiteX210" fmla="*/ 674358 w 871061"/>
                    <a:gd name="connsiteY210" fmla="*/ 287897 h 674880"/>
                    <a:gd name="connsiteX211" fmla="*/ 671966 w 871061"/>
                    <a:gd name="connsiteY211" fmla="*/ 287666 h 674880"/>
                    <a:gd name="connsiteX212" fmla="*/ 670594 w 871061"/>
                    <a:gd name="connsiteY212" fmla="*/ 288626 h 674880"/>
                    <a:gd name="connsiteX213" fmla="*/ 669610 w 871061"/>
                    <a:gd name="connsiteY213" fmla="*/ 289852 h 674880"/>
                    <a:gd name="connsiteX214" fmla="*/ 669039 w 871061"/>
                    <a:gd name="connsiteY214" fmla="*/ 291176 h 674880"/>
                    <a:gd name="connsiteX215" fmla="*/ 668699 w 871061"/>
                    <a:gd name="connsiteY215" fmla="*/ 292645 h 674880"/>
                    <a:gd name="connsiteX216" fmla="*/ 668359 w 871061"/>
                    <a:gd name="connsiteY216" fmla="*/ 293677 h 674880"/>
                    <a:gd name="connsiteX217" fmla="*/ 667898 w 871061"/>
                    <a:gd name="connsiteY217" fmla="*/ 294442 h 674880"/>
                    <a:gd name="connsiteX218" fmla="*/ 666174 w 871061"/>
                    <a:gd name="connsiteY218" fmla="*/ 296604 h 674880"/>
                    <a:gd name="connsiteX219" fmla="*/ 662604 w 871061"/>
                    <a:gd name="connsiteY219" fmla="*/ 299044 h 674880"/>
                    <a:gd name="connsiteX220" fmla="*/ 661620 w 871061"/>
                    <a:gd name="connsiteY220" fmla="*/ 300429 h 674880"/>
                    <a:gd name="connsiteX221" fmla="*/ 660321 w 871061"/>
                    <a:gd name="connsiteY221" fmla="*/ 302833 h 674880"/>
                    <a:gd name="connsiteX222" fmla="*/ 659337 w 871061"/>
                    <a:gd name="connsiteY222" fmla="*/ 306536 h 674880"/>
                    <a:gd name="connsiteX223" fmla="*/ 659398 w 871061"/>
                    <a:gd name="connsiteY223" fmla="*/ 307629 h 674880"/>
                    <a:gd name="connsiteX224" fmla="*/ 659629 w 871061"/>
                    <a:gd name="connsiteY224" fmla="*/ 308844 h 674880"/>
                    <a:gd name="connsiteX225" fmla="*/ 660491 w 871061"/>
                    <a:gd name="connsiteY225" fmla="*/ 310847 h 674880"/>
                    <a:gd name="connsiteX226" fmla="*/ 661693 w 871061"/>
                    <a:gd name="connsiteY226" fmla="*/ 314721 h 674880"/>
                    <a:gd name="connsiteX227" fmla="*/ 660904 w 871061"/>
                    <a:gd name="connsiteY227" fmla="*/ 320027 h 674880"/>
                    <a:gd name="connsiteX228" fmla="*/ 657516 w 871061"/>
                    <a:gd name="connsiteY228" fmla="*/ 324909 h 674880"/>
                    <a:gd name="connsiteX229" fmla="*/ 650801 w 871061"/>
                    <a:gd name="connsiteY229" fmla="*/ 327034 h 674880"/>
                    <a:gd name="connsiteX230" fmla="*/ 628701 w 871061"/>
                    <a:gd name="connsiteY230" fmla="*/ 330567 h 674880"/>
                    <a:gd name="connsiteX231" fmla="*/ 616861 w 871061"/>
                    <a:gd name="connsiteY231" fmla="*/ 334441 h 674880"/>
                    <a:gd name="connsiteX232" fmla="*/ 609223 w 871061"/>
                    <a:gd name="connsiteY232" fmla="*/ 337865 h 674880"/>
                    <a:gd name="connsiteX233" fmla="*/ 593486 w 871061"/>
                    <a:gd name="connsiteY233" fmla="*/ 342140 h 674880"/>
                    <a:gd name="connsiteX234" fmla="*/ 584476 w 871061"/>
                    <a:gd name="connsiteY234" fmla="*/ 346511 h 674880"/>
                    <a:gd name="connsiteX235" fmla="*/ 578720 w 871061"/>
                    <a:gd name="connsiteY235" fmla="*/ 350178 h 674880"/>
                    <a:gd name="connsiteX236" fmla="*/ 575150 w 871061"/>
                    <a:gd name="connsiteY236" fmla="*/ 353335 h 674880"/>
                    <a:gd name="connsiteX237" fmla="*/ 572819 w 871061"/>
                    <a:gd name="connsiteY237" fmla="*/ 356152 h 674880"/>
                    <a:gd name="connsiteX238" fmla="*/ 571726 w 871061"/>
                    <a:gd name="connsiteY238" fmla="*/ 358885 h 674880"/>
                    <a:gd name="connsiteX239" fmla="*/ 571447 w 871061"/>
                    <a:gd name="connsiteY239" fmla="*/ 361204 h 674880"/>
                    <a:gd name="connsiteX240" fmla="*/ 571495 w 871061"/>
                    <a:gd name="connsiteY240" fmla="*/ 363669 h 674880"/>
                    <a:gd name="connsiteX241" fmla="*/ 571265 w 871061"/>
                    <a:gd name="connsiteY241" fmla="*/ 365976 h 674880"/>
                    <a:gd name="connsiteX242" fmla="*/ 570560 w 871061"/>
                    <a:gd name="connsiteY242" fmla="*/ 367943 h 674880"/>
                    <a:gd name="connsiteX243" fmla="*/ 569820 w 871061"/>
                    <a:gd name="connsiteY243" fmla="*/ 369073 h 674880"/>
                    <a:gd name="connsiteX244" fmla="*/ 569479 w 871061"/>
                    <a:gd name="connsiteY244" fmla="*/ 369497 h 674880"/>
                    <a:gd name="connsiteX245" fmla="*/ 569298 w 871061"/>
                    <a:gd name="connsiteY245" fmla="*/ 369619 h 674880"/>
                    <a:gd name="connsiteX246" fmla="*/ 569018 w 871061"/>
                    <a:gd name="connsiteY246" fmla="*/ 370044 h 674880"/>
                    <a:gd name="connsiteX247" fmla="*/ 568168 w 871061"/>
                    <a:gd name="connsiteY247" fmla="*/ 370760 h 674880"/>
                    <a:gd name="connsiteX248" fmla="*/ 566334 w 871061"/>
                    <a:gd name="connsiteY248" fmla="*/ 372655 h 674880"/>
                    <a:gd name="connsiteX249" fmla="*/ 564210 w 871061"/>
                    <a:gd name="connsiteY249" fmla="*/ 373954 h 674880"/>
                    <a:gd name="connsiteX250" fmla="*/ 558697 w 871061"/>
                    <a:gd name="connsiteY250" fmla="*/ 378775 h 674880"/>
                    <a:gd name="connsiteX251" fmla="*/ 553014 w 871061"/>
                    <a:gd name="connsiteY251" fmla="*/ 380778 h 674880"/>
                    <a:gd name="connsiteX252" fmla="*/ 550245 w 871061"/>
                    <a:gd name="connsiteY252" fmla="*/ 380839 h 674880"/>
                    <a:gd name="connsiteX253" fmla="*/ 547659 w 871061"/>
                    <a:gd name="connsiteY253" fmla="*/ 379673 h 674880"/>
                    <a:gd name="connsiteX254" fmla="*/ 545716 w 871061"/>
                    <a:gd name="connsiteY254" fmla="*/ 377281 h 674880"/>
                    <a:gd name="connsiteX255" fmla="*/ 542146 w 871061"/>
                    <a:gd name="connsiteY255" fmla="*/ 375095 h 674880"/>
                    <a:gd name="connsiteX256" fmla="*/ 537034 w 871061"/>
                    <a:gd name="connsiteY256" fmla="*/ 372800 h 674880"/>
                    <a:gd name="connsiteX257" fmla="*/ 535431 w 871061"/>
                    <a:gd name="connsiteY257" fmla="*/ 372254 h 674880"/>
                    <a:gd name="connsiteX258" fmla="*/ 532613 w 871061"/>
                    <a:gd name="connsiteY258" fmla="*/ 371938 h 674880"/>
                    <a:gd name="connsiteX259" fmla="*/ 531169 w 871061"/>
                    <a:gd name="connsiteY259" fmla="*/ 371113 h 674880"/>
                    <a:gd name="connsiteX260" fmla="*/ 530428 w 871061"/>
                    <a:gd name="connsiteY260" fmla="*/ 370153 h 674880"/>
                    <a:gd name="connsiteX261" fmla="*/ 530307 w 871061"/>
                    <a:gd name="connsiteY261" fmla="*/ 369753 h 674880"/>
                    <a:gd name="connsiteX262" fmla="*/ 530258 w 871061"/>
                    <a:gd name="connsiteY262" fmla="*/ 369437 h 674880"/>
                    <a:gd name="connsiteX263" fmla="*/ 530646 w 871061"/>
                    <a:gd name="connsiteY263" fmla="*/ 366802 h 674880"/>
                    <a:gd name="connsiteX264" fmla="*/ 532711 w 871061"/>
                    <a:gd name="connsiteY264" fmla="*/ 357925 h 674880"/>
                    <a:gd name="connsiteX265" fmla="*/ 531678 w 871061"/>
                    <a:gd name="connsiteY265" fmla="*/ 354088 h 674880"/>
                    <a:gd name="connsiteX266" fmla="*/ 525886 w 871061"/>
                    <a:gd name="connsiteY266" fmla="*/ 353991 h 674880"/>
                    <a:gd name="connsiteX267" fmla="*/ 518018 w 871061"/>
                    <a:gd name="connsiteY267" fmla="*/ 349292 h 674880"/>
                    <a:gd name="connsiteX268" fmla="*/ 514800 w 871061"/>
                    <a:gd name="connsiteY268" fmla="*/ 348369 h 674880"/>
                    <a:gd name="connsiteX269" fmla="*/ 512104 w 871061"/>
                    <a:gd name="connsiteY269" fmla="*/ 348454 h 674880"/>
                    <a:gd name="connsiteX270" fmla="*/ 510368 w 871061"/>
                    <a:gd name="connsiteY270" fmla="*/ 349425 h 674880"/>
                    <a:gd name="connsiteX271" fmla="*/ 508813 w 871061"/>
                    <a:gd name="connsiteY271" fmla="*/ 351065 h 674880"/>
                    <a:gd name="connsiteX272" fmla="*/ 507830 w 871061"/>
                    <a:gd name="connsiteY272" fmla="*/ 352643 h 674880"/>
                    <a:gd name="connsiteX273" fmla="*/ 507502 w 871061"/>
                    <a:gd name="connsiteY273" fmla="*/ 353857 h 674880"/>
                    <a:gd name="connsiteX274" fmla="*/ 507745 w 871061"/>
                    <a:gd name="connsiteY274" fmla="*/ 355254 h 674880"/>
                    <a:gd name="connsiteX275" fmla="*/ 510149 w 871061"/>
                    <a:gd name="connsiteY275" fmla="*/ 361981 h 674880"/>
                    <a:gd name="connsiteX276" fmla="*/ 510428 w 871061"/>
                    <a:gd name="connsiteY276" fmla="*/ 363778 h 674880"/>
                    <a:gd name="connsiteX277" fmla="*/ 509445 w 871061"/>
                    <a:gd name="connsiteY277" fmla="*/ 365940 h 674880"/>
                    <a:gd name="connsiteX278" fmla="*/ 508352 w 871061"/>
                    <a:gd name="connsiteY278" fmla="*/ 366802 h 674880"/>
                    <a:gd name="connsiteX279" fmla="*/ 506761 w 871061"/>
                    <a:gd name="connsiteY279" fmla="*/ 367312 h 674880"/>
                    <a:gd name="connsiteX280" fmla="*/ 496646 w 871061"/>
                    <a:gd name="connsiteY280" fmla="*/ 369048 h 674880"/>
                    <a:gd name="connsiteX281" fmla="*/ 492287 w 871061"/>
                    <a:gd name="connsiteY281" fmla="*/ 369243 h 674880"/>
                    <a:gd name="connsiteX282" fmla="*/ 489239 w 871061"/>
                    <a:gd name="connsiteY282" fmla="*/ 369073 h 674880"/>
                    <a:gd name="connsiteX283" fmla="*/ 479197 w 871061"/>
                    <a:gd name="connsiteY283" fmla="*/ 370967 h 674880"/>
                    <a:gd name="connsiteX284" fmla="*/ 475359 w 871061"/>
                    <a:gd name="connsiteY284" fmla="*/ 372970 h 674880"/>
                    <a:gd name="connsiteX285" fmla="*/ 474716 w 871061"/>
                    <a:gd name="connsiteY285" fmla="*/ 373687 h 674880"/>
                    <a:gd name="connsiteX286" fmla="*/ 474145 w 871061"/>
                    <a:gd name="connsiteY286" fmla="*/ 375508 h 674880"/>
                    <a:gd name="connsiteX287" fmla="*/ 474267 w 871061"/>
                    <a:gd name="connsiteY287" fmla="*/ 378738 h 674880"/>
                    <a:gd name="connsiteX288" fmla="*/ 475700 w 871061"/>
                    <a:gd name="connsiteY288" fmla="*/ 379843 h 674880"/>
                    <a:gd name="connsiteX289" fmla="*/ 476902 w 871061"/>
                    <a:gd name="connsiteY289" fmla="*/ 381653 h 674880"/>
                    <a:gd name="connsiteX290" fmla="*/ 477703 w 871061"/>
                    <a:gd name="connsiteY290" fmla="*/ 383450 h 674880"/>
                    <a:gd name="connsiteX291" fmla="*/ 478796 w 871061"/>
                    <a:gd name="connsiteY291" fmla="*/ 384288 h 674880"/>
                    <a:gd name="connsiteX292" fmla="*/ 484637 w 871061"/>
                    <a:gd name="connsiteY292" fmla="*/ 383863 h 674880"/>
                    <a:gd name="connsiteX293" fmla="*/ 485912 w 871061"/>
                    <a:gd name="connsiteY293" fmla="*/ 384288 h 674880"/>
                    <a:gd name="connsiteX294" fmla="*/ 487733 w 871061"/>
                    <a:gd name="connsiteY294" fmla="*/ 386158 h 674880"/>
                    <a:gd name="connsiteX295" fmla="*/ 487612 w 871061"/>
                    <a:gd name="connsiteY295" fmla="*/ 387481 h 674880"/>
                    <a:gd name="connsiteX296" fmla="*/ 486640 w 871061"/>
                    <a:gd name="connsiteY296" fmla="*/ 388914 h 674880"/>
                    <a:gd name="connsiteX297" fmla="*/ 485900 w 871061"/>
                    <a:gd name="connsiteY297" fmla="*/ 391173 h 674880"/>
                    <a:gd name="connsiteX298" fmla="*/ 485548 w 871061"/>
                    <a:gd name="connsiteY298" fmla="*/ 395775 h 674880"/>
                    <a:gd name="connsiteX299" fmla="*/ 485025 w 871061"/>
                    <a:gd name="connsiteY299" fmla="*/ 398070 h 674880"/>
                    <a:gd name="connsiteX300" fmla="*/ 483945 w 871061"/>
                    <a:gd name="connsiteY300" fmla="*/ 399964 h 674880"/>
                    <a:gd name="connsiteX301" fmla="*/ 481067 w 871061"/>
                    <a:gd name="connsiteY301" fmla="*/ 403413 h 674880"/>
                    <a:gd name="connsiteX302" fmla="*/ 478213 w 871061"/>
                    <a:gd name="connsiteY302" fmla="*/ 407833 h 674880"/>
                    <a:gd name="connsiteX303" fmla="*/ 476088 w 871061"/>
                    <a:gd name="connsiteY303" fmla="*/ 412569 h 674880"/>
                    <a:gd name="connsiteX304" fmla="*/ 475493 w 871061"/>
                    <a:gd name="connsiteY304" fmla="*/ 416952 h 674880"/>
                    <a:gd name="connsiteX305" fmla="*/ 477278 w 871061"/>
                    <a:gd name="connsiteY305" fmla="*/ 420947 h 674880"/>
                    <a:gd name="connsiteX306" fmla="*/ 483253 w 871061"/>
                    <a:gd name="connsiteY306" fmla="*/ 426897 h 674880"/>
                    <a:gd name="connsiteX307" fmla="*/ 484552 w 871061"/>
                    <a:gd name="connsiteY307" fmla="*/ 431232 h 674880"/>
                    <a:gd name="connsiteX308" fmla="*/ 484965 w 871061"/>
                    <a:gd name="connsiteY308" fmla="*/ 433552 h 674880"/>
                    <a:gd name="connsiteX309" fmla="*/ 485936 w 871061"/>
                    <a:gd name="connsiteY309" fmla="*/ 435652 h 674880"/>
                    <a:gd name="connsiteX310" fmla="*/ 486519 w 871061"/>
                    <a:gd name="connsiteY310" fmla="*/ 436308 h 674880"/>
                    <a:gd name="connsiteX311" fmla="*/ 488705 w 871061"/>
                    <a:gd name="connsiteY311" fmla="*/ 435652 h 674880"/>
                    <a:gd name="connsiteX312" fmla="*/ 496622 w 871061"/>
                    <a:gd name="connsiteY312" fmla="*/ 432896 h 674880"/>
                    <a:gd name="connsiteX313" fmla="*/ 499900 w 871061"/>
                    <a:gd name="connsiteY313" fmla="*/ 433114 h 674880"/>
                    <a:gd name="connsiteX314" fmla="*/ 504150 w 871061"/>
                    <a:gd name="connsiteY314" fmla="*/ 433928 h 674880"/>
                    <a:gd name="connsiteX315" fmla="*/ 507769 w 871061"/>
                    <a:gd name="connsiteY315" fmla="*/ 435907 h 674880"/>
                    <a:gd name="connsiteX316" fmla="*/ 511218 w 871061"/>
                    <a:gd name="connsiteY316" fmla="*/ 438384 h 674880"/>
                    <a:gd name="connsiteX317" fmla="*/ 534180 w 871061"/>
                    <a:gd name="connsiteY317" fmla="*/ 462986 h 674880"/>
                    <a:gd name="connsiteX318" fmla="*/ 538102 w 871061"/>
                    <a:gd name="connsiteY318" fmla="*/ 466374 h 674880"/>
                    <a:gd name="connsiteX319" fmla="*/ 540859 w 871061"/>
                    <a:gd name="connsiteY319" fmla="*/ 467430 h 674880"/>
                    <a:gd name="connsiteX320" fmla="*/ 543615 w 871061"/>
                    <a:gd name="connsiteY320" fmla="*/ 467030 h 674880"/>
                    <a:gd name="connsiteX321" fmla="*/ 546372 w 871061"/>
                    <a:gd name="connsiteY321" fmla="*/ 465827 h 674880"/>
                    <a:gd name="connsiteX322" fmla="*/ 548314 w 871061"/>
                    <a:gd name="connsiteY322" fmla="*/ 464625 h 674880"/>
                    <a:gd name="connsiteX323" fmla="*/ 556304 w 871061"/>
                    <a:gd name="connsiteY323" fmla="*/ 464650 h 674880"/>
                    <a:gd name="connsiteX324" fmla="*/ 566359 w 871061"/>
                    <a:gd name="connsiteY324" fmla="*/ 466860 h 674880"/>
                    <a:gd name="connsiteX325" fmla="*/ 591968 w 871061"/>
                    <a:gd name="connsiteY325" fmla="*/ 467722 h 674880"/>
                    <a:gd name="connsiteX326" fmla="*/ 593571 w 871061"/>
                    <a:gd name="connsiteY326" fmla="*/ 468037 h 674880"/>
                    <a:gd name="connsiteX327" fmla="*/ 594142 w 871061"/>
                    <a:gd name="connsiteY327" fmla="*/ 468390 h 674880"/>
                    <a:gd name="connsiteX328" fmla="*/ 594263 w 871061"/>
                    <a:gd name="connsiteY328" fmla="*/ 468487 h 674880"/>
                    <a:gd name="connsiteX329" fmla="*/ 594494 w 871061"/>
                    <a:gd name="connsiteY329" fmla="*/ 468693 h 674880"/>
                    <a:gd name="connsiteX330" fmla="*/ 595295 w 871061"/>
                    <a:gd name="connsiteY330" fmla="*/ 468875 h 674880"/>
                    <a:gd name="connsiteX331" fmla="*/ 597068 w 871061"/>
                    <a:gd name="connsiteY331" fmla="*/ 469446 h 674880"/>
                    <a:gd name="connsiteX332" fmla="*/ 600298 w 871061"/>
                    <a:gd name="connsiteY332" fmla="*/ 469555 h 674880"/>
                    <a:gd name="connsiteX333" fmla="*/ 601792 w 871061"/>
                    <a:gd name="connsiteY333" fmla="*/ 470126 h 674880"/>
                    <a:gd name="connsiteX334" fmla="*/ 602411 w 871061"/>
                    <a:gd name="connsiteY334" fmla="*/ 470843 h 674880"/>
                    <a:gd name="connsiteX335" fmla="*/ 602302 w 871061"/>
                    <a:gd name="connsiteY335" fmla="*/ 471717 h 674880"/>
                    <a:gd name="connsiteX336" fmla="*/ 601428 w 871061"/>
                    <a:gd name="connsiteY336" fmla="*/ 472652 h 674880"/>
                    <a:gd name="connsiteX337" fmla="*/ 600347 w 871061"/>
                    <a:gd name="connsiteY337" fmla="*/ 473113 h 674880"/>
                    <a:gd name="connsiteX338" fmla="*/ 598064 w 871061"/>
                    <a:gd name="connsiteY338" fmla="*/ 473660 h 674880"/>
                    <a:gd name="connsiteX339" fmla="*/ 595077 w 871061"/>
                    <a:gd name="connsiteY339" fmla="*/ 474012 h 674880"/>
                    <a:gd name="connsiteX340" fmla="*/ 592357 w 871061"/>
                    <a:gd name="connsiteY340" fmla="*/ 474704 h 674880"/>
                    <a:gd name="connsiteX341" fmla="*/ 590244 w 871061"/>
                    <a:gd name="connsiteY341" fmla="*/ 475675 h 674880"/>
                    <a:gd name="connsiteX342" fmla="*/ 585241 w 871061"/>
                    <a:gd name="connsiteY342" fmla="*/ 479719 h 674880"/>
                    <a:gd name="connsiteX343" fmla="*/ 584452 w 871061"/>
                    <a:gd name="connsiteY343" fmla="*/ 481237 h 674880"/>
                    <a:gd name="connsiteX344" fmla="*/ 584391 w 871061"/>
                    <a:gd name="connsiteY344" fmla="*/ 483143 h 674880"/>
                    <a:gd name="connsiteX345" fmla="*/ 585083 w 871061"/>
                    <a:gd name="connsiteY345" fmla="*/ 485268 h 674880"/>
                    <a:gd name="connsiteX346" fmla="*/ 585253 w 871061"/>
                    <a:gd name="connsiteY346" fmla="*/ 487163 h 674880"/>
                    <a:gd name="connsiteX347" fmla="*/ 584634 w 871061"/>
                    <a:gd name="connsiteY347" fmla="*/ 489336 h 674880"/>
                    <a:gd name="connsiteX348" fmla="*/ 582849 w 871061"/>
                    <a:gd name="connsiteY348" fmla="*/ 493671 h 674880"/>
                    <a:gd name="connsiteX349" fmla="*/ 582618 w 871061"/>
                    <a:gd name="connsiteY349" fmla="*/ 495626 h 674880"/>
                    <a:gd name="connsiteX350" fmla="*/ 582497 w 871061"/>
                    <a:gd name="connsiteY350" fmla="*/ 500313 h 674880"/>
                    <a:gd name="connsiteX351" fmla="*/ 581647 w 871061"/>
                    <a:gd name="connsiteY351" fmla="*/ 505559 h 674880"/>
                    <a:gd name="connsiteX352" fmla="*/ 581525 w 871061"/>
                    <a:gd name="connsiteY352" fmla="*/ 508206 h 674880"/>
                    <a:gd name="connsiteX353" fmla="*/ 582327 w 871061"/>
                    <a:gd name="connsiteY353" fmla="*/ 511036 h 674880"/>
                    <a:gd name="connsiteX354" fmla="*/ 592296 w 871061"/>
                    <a:gd name="connsiteY354" fmla="*/ 518856 h 674880"/>
                    <a:gd name="connsiteX355" fmla="*/ 595538 w 871061"/>
                    <a:gd name="connsiteY355" fmla="*/ 519366 h 674880"/>
                    <a:gd name="connsiteX356" fmla="*/ 597931 w 871061"/>
                    <a:gd name="connsiteY356" fmla="*/ 519426 h 674880"/>
                    <a:gd name="connsiteX357" fmla="*/ 599485 w 871061"/>
                    <a:gd name="connsiteY357" fmla="*/ 519111 h 674880"/>
                    <a:gd name="connsiteX358" fmla="*/ 600978 w 871061"/>
                    <a:gd name="connsiteY358" fmla="*/ 519293 h 674880"/>
                    <a:gd name="connsiteX359" fmla="*/ 605799 w 871061"/>
                    <a:gd name="connsiteY359" fmla="*/ 522013 h 674880"/>
                    <a:gd name="connsiteX360" fmla="*/ 617517 w 871061"/>
                    <a:gd name="connsiteY360" fmla="*/ 531630 h 674880"/>
                    <a:gd name="connsiteX361" fmla="*/ 618962 w 871061"/>
                    <a:gd name="connsiteY361" fmla="*/ 541138 h 674880"/>
                    <a:gd name="connsiteX362" fmla="*/ 620213 w 871061"/>
                    <a:gd name="connsiteY362" fmla="*/ 543809 h 674880"/>
                    <a:gd name="connsiteX363" fmla="*/ 622119 w 871061"/>
                    <a:gd name="connsiteY363" fmla="*/ 546699 h 674880"/>
                    <a:gd name="connsiteX364" fmla="*/ 624681 w 871061"/>
                    <a:gd name="connsiteY364" fmla="*/ 548399 h 674880"/>
                    <a:gd name="connsiteX365" fmla="*/ 627401 w 871061"/>
                    <a:gd name="connsiteY365" fmla="*/ 549225 h 674880"/>
                    <a:gd name="connsiteX366" fmla="*/ 636023 w 871061"/>
                    <a:gd name="connsiteY366" fmla="*/ 549371 h 674880"/>
                    <a:gd name="connsiteX367" fmla="*/ 639180 w 871061"/>
                    <a:gd name="connsiteY367" fmla="*/ 550318 h 674880"/>
                    <a:gd name="connsiteX368" fmla="*/ 643709 w 871061"/>
                    <a:gd name="connsiteY368" fmla="*/ 553172 h 674880"/>
                    <a:gd name="connsiteX369" fmla="*/ 646235 w 871061"/>
                    <a:gd name="connsiteY369" fmla="*/ 555770 h 674880"/>
                    <a:gd name="connsiteX370" fmla="*/ 648008 w 871061"/>
                    <a:gd name="connsiteY370" fmla="*/ 558442 h 674880"/>
                    <a:gd name="connsiteX371" fmla="*/ 649453 w 871061"/>
                    <a:gd name="connsiteY371" fmla="*/ 562060 h 674880"/>
                    <a:gd name="connsiteX372" fmla="*/ 649805 w 871061"/>
                    <a:gd name="connsiteY372" fmla="*/ 563590 h 674880"/>
                    <a:gd name="connsiteX373" fmla="*/ 649914 w 871061"/>
                    <a:gd name="connsiteY373" fmla="*/ 564877 h 674880"/>
                    <a:gd name="connsiteX374" fmla="*/ 649453 w 871061"/>
                    <a:gd name="connsiteY374" fmla="*/ 566116 h 674880"/>
                    <a:gd name="connsiteX375" fmla="*/ 648311 w 871061"/>
                    <a:gd name="connsiteY375" fmla="*/ 566747 h 674880"/>
                    <a:gd name="connsiteX376" fmla="*/ 646514 w 871061"/>
                    <a:gd name="connsiteY376" fmla="*/ 566808 h 674880"/>
                    <a:gd name="connsiteX377" fmla="*/ 642859 w 871061"/>
                    <a:gd name="connsiteY377" fmla="*/ 566116 h 674880"/>
                    <a:gd name="connsiteX378" fmla="*/ 641815 w 871061"/>
                    <a:gd name="connsiteY378" fmla="*/ 566164 h 674880"/>
                    <a:gd name="connsiteX379" fmla="*/ 641305 w 871061"/>
                    <a:gd name="connsiteY379" fmla="*/ 566857 h 674880"/>
                    <a:gd name="connsiteX380" fmla="*/ 641123 w 871061"/>
                    <a:gd name="connsiteY380" fmla="*/ 567124 h 674880"/>
                    <a:gd name="connsiteX381" fmla="*/ 641062 w 871061"/>
                    <a:gd name="connsiteY381" fmla="*/ 567318 h 674880"/>
                    <a:gd name="connsiteX382" fmla="*/ 641002 w 871061"/>
                    <a:gd name="connsiteY382" fmla="*/ 567634 h 674880"/>
                    <a:gd name="connsiteX383" fmla="*/ 641062 w 871061"/>
                    <a:gd name="connsiteY383" fmla="*/ 568690 h 674880"/>
                    <a:gd name="connsiteX384" fmla="*/ 641305 w 871061"/>
                    <a:gd name="connsiteY384" fmla="*/ 570645 h 674880"/>
                    <a:gd name="connsiteX385" fmla="*/ 642167 w 871061"/>
                    <a:gd name="connsiteY385" fmla="*/ 573317 h 674880"/>
                    <a:gd name="connsiteX386" fmla="*/ 643078 w 871061"/>
                    <a:gd name="connsiteY386" fmla="*/ 574774 h 674880"/>
                    <a:gd name="connsiteX387" fmla="*/ 644341 w 871061"/>
                    <a:gd name="connsiteY387" fmla="*/ 575940 h 674880"/>
                    <a:gd name="connsiteX388" fmla="*/ 650194 w 871061"/>
                    <a:gd name="connsiteY388" fmla="*/ 578866 h 674880"/>
                    <a:gd name="connsiteX389" fmla="*/ 652598 w 871061"/>
                    <a:gd name="connsiteY389" fmla="*/ 580603 h 674880"/>
                    <a:gd name="connsiteX390" fmla="*/ 655585 w 871061"/>
                    <a:gd name="connsiteY390" fmla="*/ 583905 h 674880"/>
                    <a:gd name="connsiteX391" fmla="*/ 656739 w 871061"/>
                    <a:gd name="connsiteY391" fmla="*/ 587245 h 674880"/>
                    <a:gd name="connsiteX392" fmla="*/ 657079 w 871061"/>
                    <a:gd name="connsiteY392" fmla="*/ 593814 h 674880"/>
                    <a:gd name="connsiteX393" fmla="*/ 658111 w 871061"/>
                    <a:gd name="connsiteY393" fmla="*/ 597178 h 674880"/>
                    <a:gd name="connsiteX394" fmla="*/ 660636 w 871061"/>
                    <a:gd name="connsiteY394" fmla="*/ 599533 h 674880"/>
                    <a:gd name="connsiteX395" fmla="*/ 663345 w 871061"/>
                    <a:gd name="connsiteY395" fmla="*/ 601622 h 674880"/>
                    <a:gd name="connsiteX396" fmla="*/ 666562 w 871061"/>
                    <a:gd name="connsiteY396" fmla="*/ 604694 h 674880"/>
                    <a:gd name="connsiteX397" fmla="*/ 667364 w 871061"/>
                    <a:gd name="connsiteY397" fmla="*/ 606309 h 674880"/>
                    <a:gd name="connsiteX398" fmla="*/ 666781 w 871061"/>
                    <a:gd name="connsiteY398" fmla="*/ 607803 h 674880"/>
                    <a:gd name="connsiteX399" fmla="*/ 663867 w 871061"/>
                    <a:gd name="connsiteY399" fmla="*/ 609005 h 674880"/>
                    <a:gd name="connsiteX400" fmla="*/ 656678 w 871061"/>
                    <a:gd name="connsiteY400" fmla="*/ 609612 h 674880"/>
                    <a:gd name="connsiteX401" fmla="*/ 653812 w 871061"/>
                    <a:gd name="connsiteY401" fmla="*/ 609321 h 674880"/>
                    <a:gd name="connsiteX402" fmla="*/ 652318 w 871061"/>
                    <a:gd name="connsiteY402" fmla="*/ 609867 h 674880"/>
                    <a:gd name="connsiteX403" fmla="*/ 651469 w 871061"/>
                    <a:gd name="connsiteY403" fmla="*/ 611166 h 674880"/>
                    <a:gd name="connsiteX404" fmla="*/ 651748 w 871061"/>
                    <a:gd name="connsiteY404" fmla="*/ 615088 h 674880"/>
                    <a:gd name="connsiteX405" fmla="*/ 651347 w 871061"/>
                    <a:gd name="connsiteY405" fmla="*/ 617189 h 674880"/>
                    <a:gd name="connsiteX406" fmla="*/ 650376 w 871061"/>
                    <a:gd name="connsiteY406" fmla="*/ 618391 h 674880"/>
                    <a:gd name="connsiteX407" fmla="*/ 648251 w 871061"/>
                    <a:gd name="connsiteY407" fmla="*/ 618428 h 674880"/>
                    <a:gd name="connsiteX408" fmla="*/ 645082 w 871061"/>
                    <a:gd name="connsiteY408" fmla="*/ 617189 h 674880"/>
                    <a:gd name="connsiteX409" fmla="*/ 644110 w 871061"/>
                    <a:gd name="connsiteY409" fmla="*/ 617238 h 674880"/>
                    <a:gd name="connsiteX410" fmla="*/ 643248 w 871061"/>
                    <a:gd name="connsiteY410" fmla="*/ 618076 h 674880"/>
                    <a:gd name="connsiteX411" fmla="*/ 639969 w 871061"/>
                    <a:gd name="connsiteY411" fmla="*/ 619873 h 674880"/>
                    <a:gd name="connsiteX412" fmla="*/ 637504 w 871061"/>
                    <a:gd name="connsiteY412" fmla="*/ 621609 h 674880"/>
                    <a:gd name="connsiteX413" fmla="*/ 636242 w 871061"/>
                    <a:gd name="connsiteY413" fmla="*/ 622848 h 674880"/>
                    <a:gd name="connsiteX414" fmla="*/ 628725 w 871061"/>
                    <a:gd name="connsiteY414" fmla="*/ 619533 h 674880"/>
                    <a:gd name="connsiteX415" fmla="*/ 620383 w 871061"/>
                    <a:gd name="connsiteY415" fmla="*/ 612065 h 674880"/>
                    <a:gd name="connsiteX416" fmla="*/ 602363 w 871061"/>
                    <a:gd name="connsiteY416" fmla="*/ 600638 h 674880"/>
                    <a:gd name="connsiteX417" fmla="*/ 600687 w 871061"/>
                    <a:gd name="connsiteY417" fmla="*/ 599886 h 674880"/>
                    <a:gd name="connsiteX418" fmla="*/ 598744 w 871061"/>
                    <a:gd name="connsiteY418" fmla="*/ 599460 h 674880"/>
                    <a:gd name="connsiteX419" fmla="*/ 595927 w 871061"/>
                    <a:gd name="connsiteY419" fmla="*/ 599800 h 674880"/>
                    <a:gd name="connsiteX420" fmla="*/ 588799 w 871061"/>
                    <a:gd name="connsiteY420" fmla="*/ 602156 h 674880"/>
                    <a:gd name="connsiteX421" fmla="*/ 586054 w 871061"/>
                    <a:gd name="connsiteY421" fmla="*/ 602618 h 674880"/>
                    <a:gd name="connsiteX422" fmla="*/ 582764 w 871061"/>
                    <a:gd name="connsiteY422" fmla="*/ 602763 h 674880"/>
                    <a:gd name="connsiteX423" fmla="*/ 579400 w 871061"/>
                    <a:gd name="connsiteY423" fmla="*/ 602132 h 674880"/>
                    <a:gd name="connsiteX424" fmla="*/ 576109 w 871061"/>
                    <a:gd name="connsiteY424" fmla="*/ 600784 h 674880"/>
                    <a:gd name="connsiteX425" fmla="*/ 572382 w 871061"/>
                    <a:gd name="connsiteY425" fmla="*/ 598040 h 674880"/>
                    <a:gd name="connsiteX426" fmla="*/ 569856 w 871061"/>
                    <a:gd name="connsiteY426" fmla="*/ 595551 h 674880"/>
                    <a:gd name="connsiteX427" fmla="*/ 567962 w 871061"/>
                    <a:gd name="connsiteY427" fmla="*/ 593171 h 674880"/>
                    <a:gd name="connsiteX428" fmla="*/ 564635 w 871061"/>
                    <a:gd name="connsiteY428" fmla="*/ 587573 h 674880"/>
                    <a:gd name="connsiteX429" fmla="*/ 561769 w 871061"/>
                    <a:gd name="connsiteY429" fmla="*/ 585217 h 674880"/>
                    <a:gd name="connsiteX430" fmla="*/ 557749 w 871061"/>
                    <a:gd name="connsiteY430" fmla="*/ 582582 h 674880"/>
                    <a:gd name="connsiteX431" fmla="*/ 526688 w 871061"/>
                    <a:gd name="connsiteY431" fmla="*/ 567270 h 674880"/>
                    <a:gd name="connsiteX432" fmla="*/ 519621 w 871061"/>
                    <a:gd name="connsiteY432" fmla="*/ 558235 h 674880"/>
                    <a:gd name="connsiteX433" fmla="*/ 518248 w 871061"/>
                    <a:gd name="connsiteY433" fmla="*/ 556997 h 674880"/>
                    <a:gd name="connsiteX434" fmla="*/ 516815 w 871061"/>
                    <a:gd name="connsiteY434" fmla="*/ 556280 h 674880"/>
                    <a:gd name="connsiteX435" fmla="*/ 514909 w 871061"/>
                    <a:gd name="connsiteY435" fmla="*/ 556110 h 674880"/>
                    <a:gd name="connsiteX436" fmla="*/ 513136 w 871061"/>
                    <a:gd name="connsiteY436" fmla="*/ 556851 h 674880"/>
                    <a:gd name="connsiteX437" fmla="*/ 511351 w 871061"/>
                    <a:gd name="connsiteY437" fmla="*/ 557822 h 674880"/>
                    <a:gd name="connsiteX438" fmla="*/ 508485 w 871061"/>
                    <a:gd name="connsiteY438" fmla="*/ 562485 h 674880"/>
                    <a:gd name="connsiteX439" fmla="*/ 507053 w 871061"/>
                    <a:gd name="connsiteY439" fmla="*/ 563505 h 674880"/>
                    <a:gd name="connsiteX440" fmla="*/ 506348 w 871061"/>
                    <a:gd name="connsiteY440" fmla="*/ 563736 h 674880"/>
                    <a:gd name="connsiteX441" fmla="*/ 505280 w 871061"/>
                    <a:gd name="connsiteY441" fmla="*/ 564003 h 674880"/>
                    <a:gd name="connsiteX442" fmla="*/ 502511 w 871061"/>
                    <a:gd name="connsiteY442" fmla="*/ 564343 h 674880"/>
                    <a:gd name="connsiteX443" fmla="*/ 501018 w 871061"/>
                    <a:gd name="connsiteY443" fmla="*/ 564683 h 674880"/>
                    <a:gd name="connsiteX444" fmla="*/ 497217 w 871061"/>
                    <a:gd name="connsiteY444" fmla="*/ 566177 h 674880"/>
                    <a:gd name="connsiteX445" fmla="*/ 495966 w 871061"/>
                    <a:gd name="connsiteY445" fmla="*/ 567185 h 674880"/>
                    <a:gd name="connsiteX446" fmla="*/ 495845 w 871061"/>
                    <a:gd name="connsiteY446" fmla="*/ 567306 h 674880"/>
                    <a:gd name="connsiteX447" fmla="*/ 495772 w 871061"/>
                    <a:gd name="connsiteY447" fmla="*/ 567440 h 674880"/>
                    <a:gd name="connsiteX448" fmla="*/ 495662 w 871061"/>
                    <a:gd name="connsiteY448" fmla="*/ 568253 h 674880"/>
                    <a:gd name="connsiteX449" fmla="*/ 495614 w 871061"/>
                    <a:gd name="connsiteY449" fmla="*/ 570026 h 674880"/>
                    <a:gd name="connsiteX450" fmla="*/ 496306 w 871061"/>
                    <a:gd name="connsiteY450" fmla="*/ 573560 h 674880"/>
                    <a:gd name="connsiteX451" fmla="*/ 498140 w 871061"/>
                    <a:gd name="connsiteY451" fmla="*/ 576571 h 674880"/>
                    <a:gd name="connsiteX452" fmla="*/ 502730 w 871061"/>
                    <a:gd name="connsiteY452" fmla="*/ 582145 h 674880"/>
                    <a:gd name="connsiteX453" fmla="*/ 504163 w 871061"/>
                    <a:gd name="connsiteY453" fmla="*/ 584877 h 674880"/>
                    <a:gd name="connsiteX454" fmla="*/ 504916 w 871061"/>
                    <a:gd name="connsiteY454" fmla="*/ 588253 h 674880"/>
                    <a:gd name="connsiteX455" fmla="*/ 506179 w 871061"/>
                    <a:gd name="connsiteY455" fmla="*/ 599776 h 674880"/>
                    <a:gd name="connsiteX456" fmla="*/ 506118 w 871061"/>
                    <a:gd name="connsiteY456" fmla="*/ 603480 h 674880"/>
                    <a:gd name="connsiteX457" fmla="*/ 505535 w 871061"/>
                    <a:gd name="connsiteY457" fmla="*/ 606552 h 674880"/>
                    <a:gd name="connsiteX458" fmla="*/ 502098 w 871061"/>
                    <a:gd name="connsiteY458" fmla="*/ 611603 h 674880"/>
                    <a:gd name="connsiteX459" fmla="*/ 500945 w 871061"/>
                    <a:gd name="connsiteY459" fmla="*/ 613947 h 674880"/>
                    <a:gd name="connsiteX460" fmla="*/ 500763 w 871061"/>
                    <a:gd name="connsiteY460" fmla="*/ 617578 h 674880"/>
                    <a:gd name="connsiteX461" fmla="*/ 502026 w 871061"/>
                    <a:gd name="connsiteY461" fmla="*/ 620796 h 674880"/>
                    <a:gd name="connsiteX462" fmla="*/ 504952 w 871061"/>
                    <a:gd name="connsiteY462" fmla="*/ 626078 h 674880"/>
                    <a:gd name="connsiteX463" fmla="*/ 505243 w 871061"/>
                    <a:gd name="connsiteY463" fmla="*/ 628859 h 674880"/>
                    <a:gd name="connsiteX464" fmla="*/ 504539 w 871061"/>
                    <a:gd name="connsiteY464" fmla="*/ 631894 h 674880"/>
                    <a:gd name="connsiteX465" fmla="*/ 503058 w 871061"/>
                    <a:gd name="connsiteY465" fmla="*/ 636290 h 674880"/>
                    <a:gd name="connsiteX466" fmla="*/ 502244 w 871061"/>
                    <a:gd name="connsiteY466" fmla="*/ 639508 h 674880"/>
                    <a:gd name="connsiteX467" fmla="*/ 502365 w 871061"/>
                    <a:gd name="connsiteY467" fmla="*/ 642374 h 674880"/>
                    <a:gd name="connsiteX468" fmla="*/ 502596 w 871061"/>
                    <a:gd name="connsiteY468" fmla="*/ 643831 h 674880"/>
                    <a:gd name="connsiteX469" fmla="*/ 502596 w 871061"/>
                    <a:gd name="connsiteY469" fmla="*/ 645191 h 674880"/>
                    <a:gd name="connsiteX470" fmla="*/ 502026 w 871061"/>
                    <a:gd name="connsiteY470" fmla="*/ 646527 h 674880"/>
                    <a:gd name="connsiteX471" fmla="*/ 500653 w 871061"/>
                    <a:gd name="connsiteY471" fmla="*/ 648907 h 674880"/>
                    <a:gd name="connsiteX472" fmla="*/ 491765 w 871061"/>
                    <a:gd name="connsiteY472" fmla="*/ 661390 h 674880"/>
                    <a:gd name="connsiteX473" fmla="*/ 488182 w 871061"/>
                    <a:gd name="connsiteY473" fmla="*/ 664267 h 674880"/>
                    <a:gd name="connsiteX474" fmla="*/ 484455 w 871061"/>
                    <a:gd name="connsiteY474" fmla="*/ 666538 h 674880"/>
                    <a:gd name="connsiteX475" fmla="*/ 476367 w 871061"/>
                    <a:gd name="connsiteY475" fmla="*/ 668481 h 674880"/>
                    <a:gd name="connsiteX476" fmla="*/ 467054 w 871061"/>
                    <a:gd name="connsiteY476" fmla="*/ 663430 h 674880"/>
                    <a:gd name="connsiteX477" fmla="*/ 466301 w 871061"/>
                    <a:gd name="connsiteY477" fmla="*/ 661390 h 674880"/>
                    <a:gd name="connsiteX478" fmla="*/ 465730 w 871061"/>
                    <a:gd name="connsiteY478" fmla="*/ 657953 h 674880"/>
                    <a:gd name="connsiteX479" fmla="*/ 465961 w 871061"/>
                    <a:gd name="connsiteY479" fmla="*/ 655221 h 674880"/>
                    <a:gd name="connsiteX480" fmla="*/ 465888 w 871061"/>
                    <a:gd name="connsiteY480" fmla="*/ 653205 h 674880"/>
                    <a:gd name="connsiteX481" fmla="*/ 466022 w 871061"/>
                    <a:gd name="connsiteY481" fmla="*/ 651602 h 674880"/>
                    <a:gd name="connsiteX482" fmla="*/ 466653 w 871061"/>
                    <a:gd name="connsiteY482" fmla="*/ 650048 h 674880"/>
                    <a:gd name="connsiteX483" fmla="*/ 469300 w 871061"/>
                    <a:gd name="connsiteY483" fmla="*/ 646697 h 674880"/>
                    <a:gd name="connsiteX484" fmla="*/ 470053 w 871061"/>
                    <a:gd name="connsiteY484" fmla="*/ 644863 h 674880"/>
                    <a:gd name="connsiteX485" fmla="*/ 470235 w 871061"/>
                    <a:gd name="connsiteY485" fmla="*/ 642738 h 674880"/>
                    <a:gd name="connsiteX486" fmla="*/ 469592 w 871061"/>
                    <a:gd name="connsiteY486" fmla="*/ 640953 h 674880"/>
                    <a:gd name="connsiteX487" fmla="*/ 468438 w 871061"/>
                    <a:gd name="connsiteY487" fmla="*/ 640358 h 674880"/>
                    <a:gd name="connsiteX488" fmla="*/ 466264 w 871061"/>
                    <a:gd name="connsiteY488" fmla="*/ 641123 h 674880"/>
                    <a:gd name="connsiteX489" fmla="*/ 463678 w 871061"/>
                    <a:gd name="connsiteY489" fmla="*/ 642799 h 674880"/>
                    <a:gd name="connsiteX490" fmla="*/ 461662 w 871061"/>
                    <a:gd name="connsiteY490" fmla="*/ 644657 h 674880"/>
                    <a:gd name="connsiteX491" fmla="*/ 459890 w 871061"/>
                    <a:gd name="connsiteY491" fmla="*/ 645859 h 674880"/>
                    <a:gd name="connsiteX492" fmla="*/ 457595 w 871061"/>
                    <a:gd name="connsiteY492" fmla="*/ 646842 h 674880"/>
                    <a:gd name="connsiteX493" fmla="*/ 454498 w 871061"/>
                    <a:gd name="connsiteY493" fmla="*/ 647668 h 674880"/>
                    <a:gd name="connsiteX494" fmla="*/ 452239 w 871061"/>
                    <a:gd name="connsiteY494" fmla="*/ 648530 h 674880"/>
                    <a:gd name="connsiteX495" fmla="*/ 448414 w 871061"/>
                    <a:gd name="connsiteY495" fmla="*/ 650594 h 674880"/>
                    <a:gd name="connsiteX496" fmla="*/ 447261 w 871061"/>
                    <a:gd name="connsiteY496" fmla="*/ 650825 h 674880"/>
                    <a:gd name="connsiteX497" fmla="*/ 442901 w 871061"/>
                    <a:gd name="connsiteY497" fmla="*/ 649077 h 674880"/>
                    <a:gd name="connsiteX498" fmla="*/ 434231 w 871061"/>
                    <a:gd name="connsiteY498" fmla="*/ 647607 h 674880"/>
                    <a:gd name="connsiteX499" fmla="*/ 423145 w 871061"/>
                    <a:gd name="connsiteY499" fmla="*/ 644559 h 674880"/>
                    <a:gd name="connsiteX500" fmla="*/ 406375 w 871061"/>
                    <a:gd name="connsiteY500" fmla="*/ 634639 h 674880"/>
                    <a:gd name="connsiteX501" fmla="*/ 404032 w 871061"/>
                    <a:gd name="connsiteY501" fmla="*/ 633776 h 674880"/>
                    <a:gd name="connsiteX502" fmla="*/ 401786 w 871061"/>
                    <a:gd name="connsiteY502" fmla="*/ 633436 h 674880"/>
                    <a:gd name="connsiteX503" fmla="*/ 399648 w 871061"/>
                    <a:gd name="connsiteY503" fmla="*/ 633376 h 674880"/>
                    <a:gd name="connsiteX504" fmla="*/ 396783 w 871061"/>
                    <a:gd name="connsiteY504" fmla="*/ 633862 h 674880"/>
                    <a:gd name="connsiteX505" fmla="*/ 394208 w 871061"/>
                    <a:gd name="connsiteY505" fmla="*/ 634699 h 674880"/>
                    <a:gd name="connsiteX506" fmla="*/ 390966 w 871061"/>
                    <a:gd name="connsiteY506" fmla="*/ 636824 h 674880"/>
                    <a:gd name="connsiteX507" fmla="*/ 382709 w 871061"/>
                    <a:gd name="connsiteY507" fmla="*/ 639690 h 674880"/>
                    <a:gd name="connsiteX508" fmla="*/ 380645 w 871061"/>
                    <a:gd name="connsiteY508" fmla="*/ 640819 h 674880"/>
                    <a:gd name="connsiteX509" fmla="*/ 371975 w 871061"/>
                    <a:gd name="connsiteY509" fmla="*/ 648967 h 674880"/>
                    <a:gd name="connsiteX510" fmla="*/ 363414 w 871061"/>
                    <a:gd name="connsiteY510" fmla="*/ 658815 h 674880"/>
                    <a:gd name="connsiteX511" fmla="*/ 362151 w 871061"/>
                    <a:gd name="connsiteY511" fmla="*/ 659762 h 674880"/>
                    <a:gd name="connsiteX512" fmla="*/ 361167 w 871061"/>
                    <a:gd name="connsiteY512" fmla="*/ 660017 h 674880"/>
                    <a:gd name="connsiteX513" fmla="*/ 360208 w 871061"/>
                    <a:gd name="connsiteY513" fmla="*/ 659653 h 674880"/>
                    <a:gd name="connsiteX514" fmla="*/ 358885 w 871061"/>
                    <a:gd name="connsiteY514" fmla="*/ 658524 h 674880"/>
                    <a:gd name="connsiteX515" fmla="*/ 354987 w 871061"/>
                    <a:gd name="connsiteY515" fmla="*/ 654019 h 674880"/>
                    <a:gd name="connsiteX516" fmla="*/ 340342 w 871061"/>
                    <a:gd name="connsiteY516" fmla="*/ 644402 h 674880"/>
                    <a:gd name="connsiteX517" fmla="*/ 338278 w 871061"/>
                    <a:gd name="connsiteY517" fmla="*/ 643430 h 674880"/>
                    <a:gd name="connsiteX518" fmla="*/ 334757 w 871061"/>
                    <a:gd name="connsiteY518" fmla="*/ 642337 h 674880"/>
                    <a:gd name="connsiteX519" fmla="*/ 331502 w 871061"/>
                    <a:gd name="connsiteY519" fmla="*/ 641900 h 674880"/>
                    <a:gd name="connsiteX520" fmla="*/ 329304 w 871061"/>
                    <a:gd name="connsiteY520" fmla="*/ 641961 h 674880"/>
                    <a:gd name="connsiteX521" fmla="*/ 327884 w 871061"/>
                    <a:gd name="connsiteY521" fmla="*/ 642204 h 674880"/>
                    <a:gd name="connsiteX522" fmla="*/ 320476 w 871061"/>
                    <a:gd name="connsiteY522" fmla="*/ 644875 h 674880"/>
                    <a:gd name="connsiteX523" fmla="*/ 318230 w 871061"/>
                    <a:gd name="connsiteY523" fmla="*/ 645300 h 674880"/>
                    <a:gd name="connsiteX524" fmla="*/ 317319 w 871061"/>
                    <a:gd name="connsiteY524" fmla="*/ 644790 h 674880"/>
                    <a:gd name="connsiteX525" fmla="*/ 317125 w 871061"/>
                    <a:gd name="connsiteY525" fmla="*/ 643576 h 674880"/>
                    <a:gd name="connsiteX526" fmla="*/ 318461 w 871061"/>
                    <a:gd name="connsiteY526" fmla="*/ 640649 h 674880"/>
                    <a:gd name="connsiteX527" fmla="*/ 319772 w 871061"/>
                    <a:gd name="connsiteY527" fmla="*/ 638889 h 674880"/>
                    <a:gd name="connsiteX528" fmla="*/ 321545 w 871061"/>
                    <a:gd name="connsiteY528" fmla="*/ 635938 h 674880"/>
                    <a:gd name="connsiteX529" fmla="*/ 327349 w 871061"/>
                    <a:gd name="connsiteY529" fmla="*/ 623163 h 674880"/>
                    <a:gd name="connsiteX530" fmla="*/ 336286 w 871061"/>
                    <a:gd name="connsiteY530" fmla="*/ 610620 h 674880"/>
                    <a:gd name="connsiteX531" fmla="*/ 337404 w 871061"/>
                    <a:gd name="connsiteY531" fmla="*/ 608641 h 674880"/>
                    <a:gd name="connsiteX532" fmla="*/ 338424 w 871061"/>
                    <a:gd name="connsiteY532" fmla="*/ 605763 h 674880"/>
                    <a:gd name="connsiteX533" fmla="*/ 339529 w 871061"/>
                    <a:gd name="connsiteY533" fmla="*/ 600626 h 674880"/>
                    <a:gd name="connsiteX534" fmla="*/ 339529 w 871061"/>
                    <a:gd name="connsiteY534" fmla="*/ 595368 h 674880"/>
                    <a:gd name="connsiteX535" fmla="*/ 338727 w 871061"/>
                    <a:gd name="connsiteY535" fmla="*/ 588192 h 674880"/>
                    <a:gd name="connsiteX536" fmla="*/ 336299 w 871061"/>
                    <a:gd name="connsiteY536" fmla="*/ 577798 h 674880"/>
                    <a:gd name="connsiteX537" fmla="*/ 332182 w 871061"/>
                    <a:gd name="connsiteY537" fmla="*/ 566638 h 674880"/>
                    <a:gd name="connsiteX538" fmla="*/ 327070 w 871061"/>
                    <a:gd name="connsiteY538" fmla="*/ 570730 h 674880"/>
                    <a:gd name="connsiteX539" fmla="*/ 317647 w 871061"/>
                    <a:gd name="connsiteY539" fmla="*/ 576705 h 674880"/>
                    <a:gd name="connsiteX540" fmla="*/ 316797 w 871061"/>
                    <a:gd name="connsiteY540" fmla="*/ 577081 h 674880"/>
                    <a:gd name="connsiteX541" fmla="*/ 310981 w 871061"/>
                    <a:gd name="connsiteY541" fmla="*/ 577652 h 674880"/>
                    <a:gd name="connsiteX542" fmla="*/ 309378 w 871061"/>
                    <a:gd name="connsiteY542" fmla="*/ 578052 h 674880"/>
                    <a:gd name="connsiteX543" fmla="*/ 308175 w 871061"/>
                    <a:gd name="connsiteY543" fmla="*/ 578890 h 674880"/>
                    <a:gd name="connsiteX544" fmla="*/ 305128 w 871061"/>
                    <a:gd name="connsiteY544" fmla="*/ 582072 h 674880"/>
                    <a:gd name="connsiteX545" fmla="*/ 304156 w 871061"/>
                    <a:gd name="connsiteY545" fmla="*/ 582424 h 674880"/>
                    <a:gd name="connsiteX546" fmla="*/ 302663 w 871061"/>
                    <a:gd name="connsiteY546" fmla="*/ 582643 h 674880"/>
                    <a:gd name="connsiteX547" fmla="*/ 297089 w 871061"/>
                    <a:gd name="connsiteY547" fmla="*/ 580299 h 674880"/>
                    <a:gd name="connsiteX548" fmla="*/ 285663 w 871061"/>
                    <a:gd name="connsiteY548" fmla="*/ 577518 h 674880"/>
                    <a:gd name="connsiteX549" fmla="*/ 282505 w 871061"/>
                    <a:gd name="connsiteY549" fmla="*/ 577105 h 674880"/>
                    <a:gd name="connsiteX550" fmla="*/ 278316 w 871061"/>
                    <a:gd name="connsiteY550" fmla="*/ 577445 h 674880"/>
                    <a:gd name="connsiteX551" fmla="*/ 276543 w 871061"/>
                    <a:gd name="connsiteY551" fmla="*/ 578004 h 674880"/>
                    <a:gd name="connsiteX552" fmla="*/ 275220 w 871061"/>
                    <a:gd name="connsiteY552" fmla="*/ 578939 h 674880"/>
                    <a:gd name="connsiteX553" fmla="*/ 274430 w 871061"/>
                    <a:gd name="connsiteY553" fmla="*/ 580007 h 674880"/>
                    <a:gd name="connsiteX554" fmla="*/ 272694 w 871061"/>
                    <a:gd name="connsiteY554" fmla="*/ 580930 h 674880"/>
                    <a:gd name="connsiteX555" fmla="*/ 269950 w 871061"/>
                    <a:gd name="connsiteY555" fmla="*/ 581610 h 674880"/>
                    <a:gd name="connsiteX556" fmla="*/ 231760 w 871061"/>
                    <a:gd name="connsiteY556" fmla="*/ 582448 h 674880"/>
                    <a:gd name="connsiteX557" fmla="*/ 229234 w 871061"/>
                    <a:gd name="connsiteY557" fmla="*/ 582764 h 674880"/>
                    <a:gd name="connsiteX558" fmla="*/ 227619 w 871061"/>
                    <a:gd name="connsiteY558" fmla="*/ 583626 h 674880"/>
                    <a:gd name="connsiteX559" fmla="*/ 227036 w 871061"/>
                    <a:gd name="connsiteY559" fmla="*/ 584913 h 674880"/>
                    <a:gd name="connsiteX560" fmla="*/ 226939 w 871061"/>
                    <a:gd name="connsiteY560" fmla="*/ 586492 h 674880"/>
                    <a:gd name="connsiteX561" fmla="*/ 227036 w 871061"/>
                    <a:gd name="connsiteY561" fmla="*/ 588447 h 674880"/>
                    <a:gd name="connsiteX562" fmla="*/ 226818 w 871061"/>
                    <a:gd name="connsiteY562" fmla="*/ 590001 h 674880"/>
                    <a:gd name="connsiteX563" fmla="*/ 226296 w 871061"/>
                    <a:gd name="connsiteY563" fmla="*/ 591604 h 674880"/>
                    <a:gd name="connsiteX564" fmla="*/ 225604 w 871061"/>
                    <a:gd name="connsiteY564" fmla="*/ 592466 h 674880"/>
                    <a:gd name="connsiteX565" fmla="*/ 224414 w 871061"/>
                    <a:gd name="connsiteY565" fmla="*/ 593595 h 674880"/>
                    <a:gd name="connsiteX566" fmla="*/ 223199 w 871061"/>
                    <a:gd name="connsiteY566" fmla="*/ 594421 h 674880"/>
                    <a:gd name="connsiteX567" fmla="*/ 211263 w 871061"/>
                    <a:gd name="connsiteY567" fmla="*/ 600590 h 674880"/>
                    <a:gd name="connsiteX568" fmla="*/ 208895 w 871061"/>
                    <a:gd name="connsiteY568" fmla="*/ 601027 h 674880"/>
                    <a:gd name="connsiteX569" fmla="*/ 190644 w 871061"/>
                    <a:gd name="connsiteY569" fmla="*/ 601974 h 674880"/>
                    <a:gd name="connsiteX570" fmla="*/ 187256 w 871061"/>
                    <a:gd name="connsiteY570" fmla="*/ 601136 h 674880"/>
                    <a:gd name="connsiteX571" fmla="*/ 175660 w 871061"/>
                    <a:gd name="connsiteY571" fmla="*/ 595393 h 674880"/>
                    <a:gd name="connsiteX572" fmla="*/ 173134 w 871061"/>
                    <a:gd name="connsiteY572" fmla="*/ 594761 h 674880"/>
                    <a:gd name="connsiteX573" fmla="*/ 169054 w 871061"/>
                    <a:gd name="connsiteY573" fmla="*/ 594907 h 674880"/>
                    <a:gd name="connsiteX574" fmla="*/ 167730 w 871061"/>
                    <a:gd name="connsiteY574" fmla="*/ 594761 h 674880"/>
                    <a:gd name="connsiteX575" fmla="*/ 165836 w 871061"/>
                    <a:gd name="connsiteY575" fmla="*/ 594020 h 674880"/>
                    <a:gd name="connsiteX576" fmla="*/ 160044 w 871061"/>
                    <a:gd name="connsiteY576" fmla="*/ 589600 h 674880"/>
                    <a:gd name="connsiteX577" fmla="*/ 158028 w 871061"/>
                    <a:gd name="connsiteY577" fmla="*/ 586808 h 674880"/>
                    <a:gd name="connsiteX578" fmla="*/ 156826 w 871061"/>
                    <a:gd name="connsiteY578" fmla="*/ 584610 h 674880"/>
                    <a:gd name="connsiteX579" fmla="*/ 155660 w 871061"/>
                    <a:gd name="connsiteY579" fmla="*/ 581732 h 674880"/>
                    <a:gd name="connsiteX580" fmla="*/ 144877 w 871061"/>
                    <a:gd name="connsiteY580" fmla="*/ 567355 h 674880"/>
                    <a:gd name="connsiteX581" fmla="*/ 139073 w 871061"/>
                    <a:gd name="connsiteY581" fmla="*/ 563675 h 674880"/>
                    <a:gd name="connsiteX582" fmla="*/ 133742 w 871061"/>
                    <a:gd name="connsiteY582" fmla="*/ 561064 h 674880"/>
                    <a:gd name="connsiteX583" fmla="*/ 126736 w 871061"/>
                    <a:gd name="connsiteY583" fmla="*/ 559510 h 674880"/>
                    <a:gd name="connsiteX584" fmla="*/ 127877 w 871061"/>
                    <a:gd name="connsiteY584" fmla="*/ 556669 h 674880"/>
                    <a:gd name="connsiteX585" fmla="*/ 129092 w 871061"/>
                    <a:gd name="connsiteY585" fmla="*/ 552686 h 674880"/>
                    <a:gd name="connsiteX586" fmla="*/ 129541 w 871061"/>
                    <a:gd name="connsiteY586" fmla="*/ 551520 h 674880"/>
                    <a:gd name="connsiteX587" fmla="*/ 130233 w 871061"/>
                    <a:gd name="connsiteY587" fmla="*/ 550318 h 674880"/>
                    <a:gd name="connsiteX588" fmla="*/ 130816 w 871061"/>
                    <a:gd name="connsiteY588" fmla="*/ 549577 h 674880"/>
                    <a:gd name="connsiteX589" fmla="*/ 131617 w 871061"/>
                    <a:gd name="connsiteY589" fmla="*/ 549007 h 674880"/>
                    <a:gd name="connsiteX590" fmla="*/ 134835 w 871061"/>
                    <a:gd name="connsiteY590" fmla="*/ 547537 h 674880"/>
                    <a:gd name="connsiteX591" fmla="*/ 135977 w 871061"/>
                    <a:gd name="connsiteY591" fmla="*/ 546797 h 674880"/>
                    <a:gd name="connsiteX592" fmla="*/ 137300 w 871061"/>
                    <a:gd name="connsiteY592" fmla="*/ 545728 h 674880"/>
                    <a:gd name="connsiteX593" fmla="*/ 140506 w 871061"/>
                    <a:gd name="connsiteY593" fmla="*/ 541879 h 674880"/>
                    <a:gd name="connsiteX594" fmla="*/ 142934 w 871061"/>
                    <a:gd name="connsiteY594" fmla="*/ 539790 h 674880"/>
                    <a:gd name="connsiteX595" fmla="*/ 143967 w 871061"/>
                    <a:gd name="connsiteY595" fmla="*/ 539438 h 674880"/>
                    <a:gd name="connsiteX596" fmla="*/ 149577 w 871061"/>
                    <a:gd name="connsiteY596" fmla="*/ 539669 h 674880"/>
                    <a:gd name="connsiteX597" fmla="*/ 151714 w 871061"/>
                    <a:gd name="connsiteY597" fmla="*/ 539414 h 674880"/>
                    <a:gd name="connsiteX598" fmla="*/ 153208 w 871061"/>
                    <a:gd name="connsiteY598" fmla="*/ 538867 h 674880"/>
                    <a:gd name="connsiteX599" fmla="*/ 154640 w 871061"/>
                    <a:gd name="connsiteY599" fmla="*/ 538054 h 674880"/>
                    <a:gd name="connsiteX600" fmla="*/ 158429 w 871061"/>
                    <a:gd name="connsiteY600" fmla="*/ 534326 h 674880"/>
                    <a:gd name="connsiteX601" fmla="*/ 168143 w 871061"/>
                    <a:gd name="connsiteY601" fmla="*/ 527647 h 674880"/>
                    <a:gd name="connsiteX602" fmla="*/ 169333 w 871061"/>
                    <a:gd name="connsiteY602" fmla="*/ 526324 h 674880"/>
                    <a:gd name="connsiteX603" fmla="*/ 170317 w 871061"/>
                    <a:gd name="connsiteY603" fmla="*/ 524648 h 674880"/>
                    <a:gd name="connsiteX604" fmla="*/ 173353 w 871061"/>
                    <a:gd name="connsiteY604" fmla="*/ 514666 h 674880"/>
                    <a:gd name="connsiteX605" fmla="*/ 174166 w 871061"/>
                    <a:gd name="connsiteY605" fmla="*/ 512881 h 674880"/>
                    <a:gd name="connsiteX606" fmla="*/ 175138 w 871061"/>
                    <a:gd name="connsiteY606" fmla="*/ 511424 h 674880"/>
                    <a:gd name="connsiteX607" fmla="*/ 176461 w 871061"/>
                    <a:gd name="connsiteY607" fmla="*/ 510101 h 674880"/>
                    <a:gd name="connsiteX608" fmla="*/ 177845 w 871061"/>
                    <a:gd name="connsiteY608" fmla="*/ 509323 h 674880"/>
                    <a:gd name="connsiteX609" fmla="*/ 181160 w 871061"/>
                    <a:gd name="connsiteY609" fmla="*/ 508170 h 674880"/>
                    <a:gd name="connsiteX610" fmla="*/ 182375 w 871061"/>
                    <a:gd name="connsiteY610" fmla="*/ 507113 h 674880"/>
                    <a:gd name="connsiteX611" fmla="*/ 184390 w 871061"/>
                    <a:gd name="connsiteY611" fmla="*/ 504661 h 674880"/>
                    <a:gd name="connsiteX612" fmla="*/ 185823 w 871061"/>
                    <a:gd name="connsiteY612" fmla="*/ 503434 h 674880"/>
                    <a:gd name="connsiteX613" fmla="*/ 193158 w 871061"/>
                    <a:gd name="connsiteY613" fmla="*/ 498237 h 674880"/>
                    <a:gd name="connsiteX614" fmla="*/ 195526 w 871061"/>
                    <a:gd name="connsiteY614" fmla="*/ 495857 h 674880"/>
                    <a:gd name="connsiteX615" fmla="*/ 197298 w 871061"/>
                    <a:gd name="connsiteY615" fmla="*/ 493477 h 674880"/>
                    <a:gd name="connsiteX616" fmla="*/ 198391 w 871061"/>
                    <a:gd name="connsiteY616" fmla="*/ 491182 h 674880"/>
                    <a:gd name="connsiteX617" fmla="*/ 198634 w 871061"/>
                    <a:gd name="connsiteY617" fmla="*/ 489020 h 674880"/>
                    <a:gd name="connsiteX618" fmla="*/ 198161 w 871061"/>
                    <a:gd name="connsiteY618" fmla="*/ 486640 h 674880"/>
                    <a:gd name="connsiteX619" fmla="*/ 197250 w 871061"/>
                    <a:gd name="connsiteY619" fmla="*/ 484321 h 674880"/>
                    <a:gd name="connsiteX620" fmla="*/ 195465 w 871061"/>
                    <a:gd name="connsiteY620" fmla="*/ 480691 h 674880"/>
                    <a:gd name="connsiteX621" fmla="*/ 194773 w 871061"/>
                    <a:gd name="connsiteY621" fmla="*/ 478371 h 674880"/>
                    <a:gd name="connsiteX622" fmla="*/ 194433 w 871061"/>
                    <a:gd name="connsiteY622" fmla="*/ 474412 h 674880"/>
                    <a:gd name="connsiteX623" fmla="*/ 193631 w 871061"/>
                    <a:gd name="connsiteY623" fmla="*/ 472858 h 674880"/>
                    <a:gd name="connsiteX624" fmla="*/ 192077 w 871061"/>
                    <a:gd name="connsiteY624" fmla="*/ 471450 h 674880"/>
                    <a:gd name="connsiteX625" fmla="*/ 187025 w 871061"/>
                    <a:gd name="connsiteY625" fmla="*/ 469094 h 674880"/>
                    <a:gd name="connsiteX626" fmla="*/ 185253 w 871061"/>
                    <a:gd name="connsiteY626" fmla="*/ 468523 h 674880"/>
                    <a:gd name="connsiteX627" fmla="*/ 183468 w 871061"/>
                    <a:gd name="connsiteY627" fmla="*/ 468329 h 674880"/>
                    <a:gd name="connsiteX628" fmla="*/ 181743 w 871061"/>
                    <a:gd name="connsiteY628" fmla="*/ 468292 h 674880"/>
                    <a:gd name="connsiteX629" fmla="*/ 179728 w 871061"/>
                    <a:gd name="connsiteY629" fmla="*/ 468487 h 674880"/>
                    <a:gd name="connsiteX630" fmla="*/ 179400 w 871061"/>
                    <a:gd name="connsiteY630" fmla="*/ 468608 h 674880"/>
                    <a:gd name="connsiteX631" fmla="*/ 178064 w 871061"/>
                    <a:gd name="connsiteY631" fmla="*/ 469240 h 674880"/>
                    <a:gd name="connsiteX632" fmla="*/ 176570 w 871061"/>
                    <a:gd name="connsiteY632" fmla="*/ 469762 h 674880"/>
                    <a:gd name="connsiteX633" fmla="*/ 174798 w 871061"/>
                    <a:gd name="connsiteY633" fmla="*/ 469762 h 674880"/>
                    <a:gd name="connsiteX634" fmla="*/ 173073 w 871061"/>
                    <a:gd name="connsiteY634" fmla="*/ 469507 h 674880"/>
                    <a:gd name="connsiteX635" fmla="*/ 169904 w 871061"/>
                    <a:gd name="connsiteY635" fmla="*/ 468523 h 674880"/>
                    <a:gd name="connsiteX636" fmla="*/ 168653 w 871061"/>
                    <a:gd name="connsiteY636" fmla="*/ 467916 h 674880"/>
                    <a:gd name="connsiteX637" fmla="*/ 162388 w 871061"/>
                    <a:gd name="connsiteY637" fmla="*/ 463994 h 674880"/>
                    <a:gd name="connsiteX638" fmla="*/ 160785 w 871061"/>
                    <a:gd name="connsiteY638" fmla="*/ 463727 h 674880"/>
                    <a:gd name="connsiteX639" fmla="*/ 159983 w 871061"/>
                    <a:gd name="connsiteY639" fmla="*/ 464395 h 674880"/>
                    <a:gd name="connsiteX640" fmla="*/ 159922 w 871061"/>
                    <a:gd name="connsiteY640" fmla="*/ 465451 h 674880"/>
                    <a:gd name="connsiteX641" fmla="*/ 160384 w 871061"/>
                    <a:gd name="connsiteY641" fmla="*/ 468523 h 674880"/>
                    <a:gd name="connsiteX642" fmla="*/ 160384 w 871061"/>
                    <a:gd name="connsiteY642" fmla="*/ 468778 h 674880"/>
                    <a:gd name="connsiteX643" fmla="*/ 160153 w 871061"/>
                    <a:gd name="connsiteY643" fmla="*/ 469215 h 674880"/>
                    <a:gd name="connsiteX644" fmla="*/ 159582 w 871061"/>
                    <a:gd name="connsiteY644" fmla="*/ 469871 h 674880"/>
                    <a:gd name="connsiteX645" fmla="*/ 158429 w 871061"/>
                    <a:gd name="connsiteY645" fmla="*/ 470308 h 674880"/>
                    <a:gd name="connsiteX646" fmla="*/ 157117 w 871061"/>
                    <a:gd name="connsiteY646" fmla="*/ 470357 h 674880"/>
                    <a:gd name="connsiteX647" fmla="*/ 155721 w 871061"/>
                    <a:gd name="connsiteY647" fmla="*/ 469895 h 674880"/>
                    <a:gd name="connsiteX648" fmla="*/ 154689 w 871061"/>
                    <a:gd name="connsiteY648" fmla="*/ 469410 h 674880"/>
                    <a:gd name="connsiteX649" fmla="*/ 153900 w 871061"/>
                    <a:gd name="connsiteY649" fmla="*/ 468778 h 674880"/>
                    <a:gd name="connsiteX650" fmla="*/ 153317 w 871061"/>
                    <a:gd name="connsiteY650" fmla="*/ 467831 h 674880"/>
                    <a:gd name="connsiteX651" fmla="*/ 152576 w 871061"/>
                    <a:gd name="connsiteY651" fmla="*/ 466022 h 674880"/>
                    <a:gd name="connsiteX652" fmla="*/ 151483 w 871061"/>
                    <a:gd name="connsiteY652" fmla="*/ 462087 h 674880"/>
                    <a:gd name="connsiteX653" fmla="*/ 150609 w 871061"/>
                    <a:gd name="connsiteY653" fmla="*/ 456526 h 674880"/>
                    <a:gd name="connsiteX654" fmla="*/ 150050 w 871061"/>
                    <a:gd name="connsiteY654" fmla="*/ 454195 h 674880"/>
                    <a:gd name="connsiteX655" fmla="*/ 149018 w 871061"/>
                    <a:gd name="connsiteY655" fmla="*/ 451790 h 674880"/>
                    <a:gd name="connsiteX656" fmla="*/ 147002 w 871061"/>
                    <a:gd name="connsiteY656" fmla="*/ 449459 h 674880"/>
                    <a:gd name="connsiteX657" fmla="*/ 140737 w 871061"/>
                    <a:gd name="connsiteY657" fmla="*/ 444177 h 674880"/>
                    <a:gd name="connsiteX658" fmla="*/ 137762 w 871061"/>
                    <a:gd name="connsiteY658" fmla="*/ 439672 h 674880"/>
                    <a:gd name="connsiteX659" fmla="*/ 136086 w 871061"/>
                    <a:gd name="connsiteY659" fmla="*/ 431572 h 674880"/>
                    <a:gd name="connsiteX660" fmla="*/ 138223 w 871061"/>
                    <a:gd name="connsiteY660" fmla="*/ 423048 h 674880"/>
                    <a:gd name="connsiteX661" fmla="*/ 139595 w 871061"/>
                    <a:gd name="connsiteY661" fmla="*/ 407347 h 674880"/>
                    <a:gd name="connsiteX662" fmla="*/ 137640 w 871061"/>
                    <a:gd name="connsiteY662" fmla="*/ 397657 h 674880"/>
                    <a:gd name="connsiteX663" fmla="*/ 136547 w 871061"/>
                    <a:gd name="connsiteY663" fmla="*/ 394937 h 674880"/>
                    <a:gd name="connsiteX664" fmla="*/ 135236 w 871061"/>
                    <a:gd name="connsiteY664" fmla="*/ 392873 h 674880"/>
                    <a:gd name="connsiteX665" fmla="*/ 133160 w 871061"/>
                    <a:gd name="connsiteY665" fmla="*/ 391695 h 674880"/>
                    <a:gd name="connsiteX666" fmla="*/ 132127 w 871061"/>
                    <a:gd name="connsiteY666" fmla="*/ 391525 h 674880"/>
                    <a:gd name="connsiteX667" fmla="*/ 130816 w 871061"/>
                    <a:gd name="connsiteY667" fmla="*/ 392096 h 674880"/>
                    <a:gd name="connsiteX668" fmla="*/ 126165 w 871061"/>
                    <a:gd name="connsiteY668" fmla="*/ 396843 h 674880"/>
                    <a:gd name="connsiteX669" fmla="*/ 125012 w 871061"/>
                    <a:gd name="connsiteY669" fmla="*/ 397584 h 674880"/>
                    <a:gd name="connsiteX670" fmla="*/ 124149 w 871061"/>
                    <a:gd name="connsiteY670" fmla="*/ 397608 h 674880"/>
                    <a:gd name="connsiteX671" fmla="*/ 123117 w 871061"/>
                    <a:gd name="connsiteY671" fmla="*/ 396807 h 674880"/>
                    <a:gd name="connsiteX672" fmla="*/ 122364 w 871061"/>
                    <a:gd name="connsiteY672" fmla="*/ 395350 h 674880"/>
                    <a:gd name="connsiteX673" fmla="*/ 121794 w 871061"/>
                    <a:gd name="connsiteY673" fmla="*/ 392812 h 674880"/>
                    <a:gd name="connsiteX674" fmla="*/ 121794 w 871061"/>
                    <a:gd name="connsiteY674" fmla="*/ 390347 h 674880"/>
                    <a:gd name="connsiteX675" fmla="*/ 122024 w 871061"/>
                    <a:gd name="connsiteY675" fmla="*/ 388392 h 674880"/>
                    <a:gd name="connsiteX676" fmla="*/ 123239 w 871061"/>
                    <a:gd name="connsiteY676" fmla="*/ 383085 h 674880"/>
                    <a:gd name="connsiteX677" fmla="*/ 123397 w 871061"/>
                    <a:gd name="connsiteY677" fmla="*/ 381167 h 674880"/>
                    <a:gd name="connsiteX678" fmla="*/ 123336 w 871061"/>
                    <a:gd name="connsiteY678" fmla="*/ 379406 h 674880"/>
                    <a:gd name="connsiteX679" fmla="*/ 123178 w 871061"/>
                    <a:gd name="connsiteY679" fmla="*/ 377682 h 674880"/>
                    <a:gd name="connsiteX680" fmla="*/ 123117 w 871061"/>
                    <a:gd name="connsiteY680" fmla="*/ 376103 h 674880"/>
                    <a:gd name="connsiteX681" fmla="*/ 123336 w 871061"/>
                    <a:gd name="connsiteY681" fmla="*/ 374585 h 674880"/>
                    <a:gd name="connsiteX682" fmla="*/ 124149 w 871061"/>
                    <a:gd name="connsiteY682" fmla="*/ 373007 h 674880"/>
                    <a:gd name="connsiteX683" fmla="*/ 125181 w 871061"/>
                    <a:gd name="connsiteY683" fmla="*/ 371574 h 674880"/>
                    <a:gd name="connsiteX684" fmla="*/ 130974 w 871061"/>
                    <a:gd name="connsiteY684" fmla="*/ 365539 h 674880"/>
                    <a:gd name="connsiteX685" fmla="*/ 133160 w 871061"/>
                    <a:gd name="connsiteY685" fmla="*/ 362734 h 674880"/>
                    <a:gd name="connsiteX686" fmla="*/ 134204 w 871061"/>
                    <a:gd name="connsiteY686" fmla="*/ 360852 h 674880"/>
                    <a:gd name="connsiteX687" fmla="*/ 135054 w 871061"/>
                    <a:gd name="connsiteY687" fmla="*/ 358909 h 674880"/>
                    <a:gd name="connsiteX688" fmla="*/ 135297 w 871061"/>
                    <a:gd name="connsiteY688" fmla="*/ 357355 h 674880"/>
                    <a:gd name="connsiteX689" fmla="*/ 135114 w 871061"/>
                    <a:gd name="connsiteY689" fmla="*/ 356322 h 674880"/>
                    <a:gd name="connsiteX690" fmla="*/ 131848 w 871061"/>
                    <a:gd name="connsiteY690" fmla="*/ 350008 h 674880"/>
                    <a:gd name="connsiteX691" fmla="*/ 131338 w 871061"/>
                    <a:gd name="connsiteY691" fmla="*/ 347713 h 674880"/>
                    <a:gd name="connsiteX692" fmla="*/ 131095 w 871061"/>
                    <a:gd name="connsiteY692" fmla="*/ 345588 h 674880"/>
                    <a:gd name="connsiteX693" fmla="*/ 130694 w 871061"/>
                    <a:gd name="connsiteY693" fmla="*/ 343487 h 674880"/>
                    <a:gd name="connsiteX694" fmla="*/ 129784 w 871061"/>
                    <a:gd name="connsiteY694" fmla="*/ 342055 h 674880"/>
                    <a:gd name="connsiteX695" fmla="*/ 127877 w 871061"/>
                    <a:gd name="connsiteY695" fmla="*/ 341132 h 674880"/>
                    <a:gd name="connsiteX696" fmla="*/ 126554 w 871061"/>
                    <a:gd name="connsiteY696" fmla="*/ 341168 h 674880"/>
                    <a:gd name="connsiteX697" fmla="*/ 125291 w 871061"/>
                    <a:gd name="connsiteY697" fmla="*/ 341593 h 674880"/>
                    <a:gd name="connsiteX698" fmla="*/ 122935 w 871061"/>
                    <a:gd name="connsiteY698" fmla="*/ 343087 h 674880"/>
                    <a:gd name="connsiteX699" fmla="*/ 121745 w 871061"/>
                    <a:gd name="connsiteY699" fmla="*/ 343609 h 674880"/>
                    <a:gd name="connsiteX700" fmla="*/ 119839 w 871061"/>
                    <a:gd name="connsiteY700" fmla="*/ 344155 h 674880"/>
                    <a:gd name="connsiteX701" fmla="*/ 118916 w 871061"/>
                    <a:gd name="connsiteY701" fmla="*/ 344520 h 674880"/>
                    <a:gd name="connsiteX702" fmla="*/ 118005 w 871061"/>
                    <a:gd name="connsiteY702" fmla="*/ 345127 h 674880"/>
                    <a:gd name="connsiteX703" fmla="*/ 117483 w 871061"/>
                    <a:gd name="connsiteY703" fmla="*/ 345892 h 674880"/>
                    <a:gd name="connsiteX704" fmla="*/ 117155 w 871061"/>
                    <a:gd name="connsiteY704" fmla="*/ 346669 h 674880"/>
                    <a:gd name="connsiteX705" fmla="*/ 116973 w 871061"/>
                    <a:gd name="connsiteY705" fmla="*/ 347859 h 674880"/>
                    <a:gd name="connsiteX706" fmla="*/ 116973 w 871061"/>
                    <a:gd name="connsiteY706" fmla="*/ 350178 h 674880"/>
                    <a:gd name="connsiteX707" fmla="*/ 117835 w 871061"/>
                    <a:gd name="connsiteY707" fmla="*/ 354537 h 674880"/>
                    <a:gd name="connsiteX708" fmla="*/ 117665 w 871061"/>
                    <a:gd name="connsiteY708" fmla="*/ 355715 h 674880"/>
                    <a:gd name="connsiteX709" fmla="*/ 117252 w 871061"/>
                    <a:gd name="connsiteY709" fmla="*/ 356383 h 674880"/>
                    <a:gd name="connsiteX710" fmla="*/ 116633 w 871061"/>
                    <a:gd name="connsiteY710" fmla="*/ 356978 h 674880"/>
                    <a:gd name="connsiteX711" fmla="*/ 115880 w 871061"/>
                    <a:gd name="connsiteY711" fmla="*/ 357015 h 674880"/>
                    <a:gd name="connsiteX712" fmla="*/ 114787 w 871061"/>
                    <a:gd name="connsiteY712" fmla="*/ 356784 h 674880"/>
                    <a:gd name="connsiteX713" fmla="*/ 103191 w 871061"/>
                    <a:gd name="connsiteY713" fmla="*/ 352024 h 674880"/>
                    <a:gd name="connsiteX714" fmla="*/ 101515 w 871061"/>
                    <a:gd name="connsiteY714" fmla="*/ 351696 h 674880"/>
                    <a:gd name="connsiteX715" fmla="*/ 99864 w 871061"/>
                    <a:gd name="connsiteY715" fmla="*/ 351611 h 674880"/>
                    <a:gd name="connsiteX716" fmla="*/ 98479 w 871061"/>
                    <a:gd name="connsiteY716" fmla="*/ 351757 h 674880"/>
                    <a:gd name="connsiteX717" fmla="*/ 94120 w 871061"/>
                    <a:gd name="connsiteY717" fmla="*/ 352619 h 674880"/>
                    <a:gd name="connsiteX718" fmla="*/ 92626 w 871061"/>
                    <a:gd name="connsiteY718" fmla="*/ 352680 h 674880"/>
                    <a:gd name="connsiteX719" fmla="*/ 91242 w 871061"/>
                    <a:gd name="connsiteY719" fmla="*/ 352473 h 674880"/>
                    <a:gd name="connsiteX720" fmla="*/ 89518 w 871061"/>
                    <a:gd name="connsiteY720" fmla="*/ 351842 h 674880"/>
                    <a:gd name="connsiteX721" fmla="*/ 87623 w 871061"/>
                    <a:gd name="connsiteY721" fmla="*/ 350494 h 674880"/>
                    <a:gd name="connsiteX722" fmla="*/ 85899 w 871061"/>
                    <a:gd name="connsiteY722" fmla="*/ 348648 h 674880"/>
                    <a:gd name="connsiteX723" fmla="*/ 84187 w 871061"/>
                    <a:gd name="connsiteY723" fmla="*/ 345321 h 674880"/>
                    <a:gd name="connsiteX724" fmla="*/ 81941 w 871061"/>
                    <a:gd name="connsiteY724" fmla="*/ 338897 h 674880"/>
                    <a:gd name="connsiteX725" fmla="*/ 79985 w 871061"/>
                    <a:gd name="connsiteY725" fmla="*/ 334696 h 674880"/>
                    <a:gd name="connsiteX726" fmla="*/ 79658 w 871061"/>
                    <a:gd name="connsiteY726" fmla="*/ 332874 h 674880"/>
                    <a:gd name="connsiteX727" fmla="*/ 79755 w 871061"/>
                    <a:gd name="connsiteY727" fmla="*/ 331405 h 674880"/>
                    <a:gd name="connsiteX728" fmla="*/ 80228 w 871061"/>
                    <a:gd name="connsiteY728" fmla="*/ 329827 h 674880"/>
                    <a:gd name="connsiteX729" fmla="*/ 82281 w 871061"/>
                    <a:gd name="connsiteY729" fmla="*/ 324192 h 674880"/>
                    <a:gd name="connsiteX730" fmla="*/ 82693 w 871061"/>
                    <a:gd name="connsiteY730" fmla="*/ 322359 h 674880"/>
                    <a:gd name="connsiteX731" fmla="*/ 82402 w 871061"/>
                    <a:gd name="connsiteY731" fmla="*/ 320173 h 674880"/>
                    <a:gd name="connsiteX732" fmla="*/ 81661 w 871061"/>
                    <a:gd name="connsiteY732" fmla="*/ 317817 h 674880"/>
                    <a:gd name="connsiteX733" fmla="*/ 78261 w 871061"/>
                    <a:gd name="connsiteY733" fmla="*/ 309924 h 674880"/>
                    <a:gd name="connsiteX734" fmla="*/ 75456 w 871061"/>
                    <a:gd name="connsiteY734" fmla="*/ 306427 h 674880"/>
                    <a:gd name="connsiteX735" fmla="*/ 49215 w 871061"/>
                    <a:gd name="connsiteY735" fmla="*/ 283173 h 674880"/>
                    <a:gd name="connsiteX736" fmla="*/ 46119 w 871061"/>
                    <a:gd name="connsiteY736" fmla="*/ 279008 h 674880"/>
                    <a:gd name="connsiteX737" fmla="*/ 44625 w 871061"/>
                    <a:gd name="connsiteY737" fmla="*/ 276130 h 674880"/>
                    <a:gd name="connsiteX738" fmla="*/ 43581 w 871061"/>
                    <a:gd name="connsiteY738" fmla="*/ 273496 h 674880"/>
                    <a:gd name="connsiteX739" fmla="*/ 43010 w 871061"/>
                    <a:gd name="connsiteY739" fmla="*/ 270533 h 674880"/>
                    <a:gd name="connsiteX740" fmla="*/ 42792 w 871061"/>
                    <a:gd name="connsiteY740" fmla="*/ 267922 h 674880"/>
                    <a:gd name="connsiteX741" fmla="*/ 42889 w 871061"/>
                    <a:gd name="connsiteY741" fmla="*/ 260005 h 674880"/>
                    <a:gd name="connsiteX742" fmla="*/ 42610 w 871061"/>
                    <a:gd name="connsiteY742" fmla="*/ 257321 h 674880"/>
                    <a:gd name="connsiteX743" fmla="*/ 41857 w 871061"/>
                    <a:gd name="connsiteY743" fmla="*/ 255488 h 674880"/>
                    <a:gd name="connsiteX744" fmla="*/ 40545 w 871061"/>
                    <a:gd name="connsiteY744" fmla="*/ 253970 h 674880"/>
                    <a:gd name="connsiteX745" fmla="*/ 33879 w 871061"/>
                    <a:gd name="connsiteY745" fmla="*/ 250290 h 674880"/>
                    <a:gd name="connsiteX746" fmla="*/ 30892 w 871061"/>
                    <a:gd name="connsiteY746" fmla="*/ 247655 h 674880"/>
                    <a:gd name="connsiteX747" fmla="*/ 29459 w 871061"/>
                    <a:gd name="connsiteY747" fmla="*/ 246696 h 674880"/>
                    <a:gd name="connsiteX748" fmla="*/ 27734 w 871061"/>
                    <a:gd name="connsiteY748" fmla="*/ 246210 h 674880"/>
                    <a:gd name="connsiteX749" fmla="*/ 18032 w 871061"/>
                    <a:gd name="connsiteY749" fmla="*/ 245640 h 674880"/>
                    <a:gd name="connsiteX750" fmla="*/ 7978 w 871061"/>
                    <a:gd name="connsiteY750" fmla="*/ 242567 h 674880"/>
                    <a:gd name="connsiteX751" fmla="*/ 12349 w 871061"/>
                    <a:gd name="connsiteY751" fmla="*/ 230995 h 674880"/>
                    <a:gd name="connsiteX752" fmla="*/ 13551 w 871061"/>
                    <a:gd name="connsiteY752" fmla="*/ 228554 h 674880"/>
                    <a:gd name="connsiteX753" fmla="*/ 16138 w 871061"/>
                    <a:gd name="connsiteY753" fmla="*/ 224280 h 674880"/>
                    <a:gd name="connsiteX754" fmla="*/ 21250 w 871061"/>
                    <a:gd name="connsiteY754" fmla="*/ 218622 h 674880"/>
                    <a:gd name="connsiteX755" fmla="*/ 22064 w 871061"/>
                    <a:gd name="connsiteY755" fmla="*/ 217164 h 674880"/>
                    <a:gd name="connsiteX756" fmla="*/ 22683 w 871061"/>
                    <a:gd name="connsiteY756" fmla="*/ 215440 h 674880"/>
                    <a:gd name="connsiteX757" fmla="*/ 22744 w 871061"/>
                    <a:gd name="connsiteY757" fmla="*/ 212999 h 674880"/>
                    <a:gd name="connsiteX758" fmla="*/ 22683 w 871061"/>
                    <a:gd name="connsiteY758" fmla="*/ 211445 h 674880"/>
                    <a:gd name="connsiteX759" fmla="*/ 22865 w 871061"/>
                    <a:gd name="connsiteY759" fmla="*/ 209721 h 674880"/>
                    <a:gd name="connsiteX760" fmla="*/ 23654 w 871061"/>
                    <a:gd name="connsiteY760" fmla="*/ 208033 h 674880"/>
                    <a:gd name="connsiteX761" fmla="*/ 28609 w 871061"/>
                    <a:gd name="connsiteY761" fmla="*/ 201658 h 674880"/>
                    <a:gd name="connsiteX762" fmla="*/ 29459 w 871061"/>
                    <a:gd name="connsiteY762" fmla="*/ 200104 h 674880"/>
                    <a:gd name="connsiteX763" fmla="*/ 29920 w 871061"/>
                    <a:gd name="connsiteY763" fmla="*/ 198561 h 674880"/>
                    <a:gd name="connsiteX764" fmla="*/ 29641 w 871061"/>
                    <a:gd name="connsiteY764" fmla="*/ 196631 h 674880"/>
                    <a:gd name="connsiteX765" fmla="*/ 28949 w 871061"/>
                    <a:gd name="connsiteY765" fmla="*/ 194797 h 674880"/>
                    <a:gd name="connsiteX766" fmla="*/ 26593 w 871061"/>
                    <a:gd name="connsiteY766" fmla="*/ 191300 h 674880"/>
                    <a:gd name="connsiteX767" fmla="*/ 23885 w 871061"/>
                    <a:gd name="connsiteY767" fmla="*/ 188191 h 674880"/>
                    <a:gd name="connsiteX768" fmla="*/ 22622 w 871061"/>
                    <a:gd name="connsiteY768" fmla="*/ 186467 h 674880"/>
                    <a:gd name="connsiteX769" fmla="*/ 21420 w 871061"/>
                    <a:gd name="connsiteY769" fmla="*/ 184378 h 674880"/>
                    <a:gd name="connsiteX770" fmla="*/ 19417 w 871061"/>
                    <a:gd name="connsiteY770" fmla="*/ 179521 h 674880"/>
                    <a:gd name="connsiteX771" fmla="*/ 18894 w 871061"/>
                    <a:gd name="connsiteY771" fmla="*/ 177590 h 674880"/>
                    <a:gd name="connsiteX772" fmla="*/ 18712 w 871061"/>
                    <a:gd name="connsiteY772" fmla="*/ 176109 h 674880"/>
                    <a:gd name="connsiteX773" fmla="*/ 18773 w 871061"/>
                    <a:gd name="connsiteY773" fmla="*/ 174701 h 674880"/>
                    <a:gd name="connsiteX774" fmla="*/ 19016 w 871061"/>
                    <a:gd name="connsiteY774" fmla="*/ 173438 h 674880"/>
                    <a:gd name="connsiteX775" fmla="*/ 19465 w 871061"/>
                    <a:gd name="connsiteY775" fmla="*/ 172345 h 674880"/>
                    <a:gd name="connsiteX776" fmla="*/ 20097 w 871061"/>
                    <a:gd name="connsiteY776" fmla="*/ 171337 h 674880"/>
                    <a:gd name="connsiteX777" fmla="*/ 21068 w 871061"/>
                    <a:gd name="connsiteY777" fmla="*/ 170450 h 674880"/>
                    <a:gd name="connsiteX778" fmla="*/ 23776 w 871061"/>
                    <a:gd name="connsiteY778" fmla="*/ 168581 h 674880"/>
                    <a:gd name="connsiteX779" fmla="*/ 26872 w 871061"/>
                    <a:gd name="connsiteY779" fmla="*/ 166832 h 674880"/>
                    <a:gd name="connsiteX780" fmla="*/ 42889 w 871061"/>
                    <a:gd name="connsiteY780" fmla="*/ 165083 h 674880"/>
                    <a:gd name="connsiteX781" fmla="*/ 45827 w 871061"/>
                    <a:gd name="connsiteY781" fmla="*/ 164768 h 674880"/>
                    <a:gd name="connsiteX782" fmla="*/ 64260 w 871061"/>
                    <a:gd name="connsiteY782" fmla="*/ 167573 h 674880"/>
                    <a:gd name="connsiteX783" fmla="*/ 75286 w 871061"/>
                    <a:gd name="connsiteY783" fmla="*/ 169758 h 674880"/>
                    <a:gd name="connsiteX784" fmla="*/ 85438 w 871061"/>
                    <a:gd name="connsiteY784" fmla="*/ 169333 h 674880"/>
                    <a:gd name="connsiteX785" fmla="*/ 88789 w 871061"/>
                    <a:gd name="connsiteY785" fmla="*/ 168265 h 674880"/>
                    <a:gd name="connsiteX786" fmla="*/ 92566 w 871061"/>
                    <a:gd name="connsiteY786" fmla="*/ 163565 h 674880"/>
                    <a:gd name="connsiteX787" fmla="*/ 96464 w 871061"/>
                    <a:gd name="connsiteY787" fmla="*/ 162521 h 674880"/>
                    <a:gd name="connsiteX788" fmla="*/ 98479 w 871061"/>
                    <a:gd name="connsiteY788" fmla="*/ 162788 h 674880"/>
                    <a:gd name="connsiteX789" fmla="*/ 102450 w 871061"/>
                    <a:gd name="connsiteY789" fmla="*/ 163784 h 674880"/>
                    <a:gd name="connsiteX790" fmla="*/ 104162 w 871061"/>
                    <a:gd name="connsiteY790" fmla="*/ 164015 h 674880"/>
                    <a:gd name="connsiteX791" fmla="*/ 106178 w 871061"/>
                    <a:gd name="connsiteY791" fmla="*/ 163784 h 674880"/>
                    <a:gd name="connsiteX792" fmla="*/ 109796 w 871061"/>
                    <a:gd name="connsiteY792" fmla="*/ 162788 h 674880"/>
                    <a:gd name="connsiteX793" fmla="*/ 117034 w 871061"/>
                    <a:gd name="connsiteY793" fmla="*/ 162266 h 674880"/>
                    <a:gd name="connsiteX794" fmla="*/ 120749 w 871061"/>
                    <a:gd name="connsiteY794" fmla="*/ 161319 h 674880"/>
                    <a:gd name="connsiteX795" fmla="*/ 123688 w 871061"/>
                    <a:gd name="connsiteY795" fmla="*/ 159279 h 674880"/>
                    <a:gd name="connsiteX796" fmla="*/ 125922 w 871061"/>
                    <a:gd name="connsiteY796" fmla="*/ 155867 h 674880"/>
                    <a:gd name="connsiteX797" fmla="*/ 128399 w 871061"/>
                    <a:gd name="connsiteY797" fmla="*/ 154653 h 674880"/>
                    <a:gd name="connsiteX798" fmla="*/ 130233 w 871061"/>
                    <a:gd name="connsiteY798" fmla="*/ 153487 h 674880"/>
                    <a:gd name="connsiteX799" fmla="*/ 130913 w 871061"/>
                    <a:gd name="connsiteY799" fmla="*/ 152795 h 674880"/>
                    <a:gd name="connsiteX800" fmla="*/ 131435 w 871061"/>
                    <a:gd name="connsiteY800" fmla="*/ 151993 h 674880"/>
                    <a:gd name="connsiteX801" fmla="*/ 131897 w 871061"/>
                    <a:gd name="connsiteY801" fmla="*/ 151119 h 674880"/>
                    <a:gd name="connsiteX802" fmla="*/ 134544 w 871061"/>
                    <a:gd name="connsiteY802" fmla="*/ 144550 h 674880"/>
                    <a:gd name="connsiteX803" fmla="*/ 135236 w 871061"/>
                    <a:gd name="connsiteY803" fmla="*/ 143773 h 674880"/>
                    <a:gd name="connsiteX804" fmla="*/ 136377 w 871061"/>
                    <a:gd name="connsiteY804" fmla="*/ 143311 h 674880"/>
                    <a:gd name="connsiteX805" fmla="*/ 137871 w 871061"/>
                    <a:gd name="connsiteY805" fmla="*/ 144149 h 674880"/>
                    <a:gd name="connsiteX806" fmla="*/ 140567 w 871061"/>
                    <a:gd name="connsiteY806" fmla="*/ 146335 h 674880"/>
                    <a:gd name="connsiteX807" fmla="*/ 146541 w 871061"/>
                    <a:gd name="connsiteY807" fmla="*/ 158623 h 674880"/>
                    <a:gd name="connsiteX808" fmla="*/ 150281 w 871061"/>
                    <a:gd name="connsiteY808" fmla="*/ 170196 h 674880"/>
                    <a:gd name="connsiteX809" fmla="*/ 152406 w 871061"/>
                    <a:gd name="connsiteY809" fmla="*/ 174069 h 674880"/>
                    <a:gd name="connsiteX810" fmla="*/ 154750 w 871061"/>
                    <a:gd name="connsiteY810" fmla="*/ 176133 h 674880"/>
                    <a:gd name="connsiteX811" fmla="*/ 156826 w 871061"/>
                    <a:gd name="connsiteY811" fmla="*/ 177032 h 674880"/>
                    <a:gd name="connsiteX812" fmla="*/ 158490 w 871061"/>
                    <a:gd name="connsiteY812" fmla="*/ 176741 h 674880"/>
                    <a:gd name="connsiteX813" fmla="*/ 159582 w 871061"/>
                    <a:gd name="connsiteY813" fmla="*/ 175648 h 674880"/>
                    <a:gd name="connsiteX814" fmla="*/ 160262 w 871061"/>
                    <a:gd name="connsiteY814" fmla="*/ 174008 h 674880"/>
                    <a:gd name="connsiteX815" fmla="*/ 160493 w 871061"/>
                    <a:gd name="connsiteY815" fmla="*/ 172248 h 674880"/>
                    <a:gd name="connsiteX816" fmla="*/ 160554 w 871061"/>
                    <a:gd name="connsiteY816" fmla="*/ 170681 h 674880"/>
                    <a:gd name="connsiteX817" fmla="*/ 160833 w 871061"/>
                    <a:gd name="connsiteY817" fmla="*/ 169443 h 674880"/>
                    <a:gd name="connsiteX818" fmla="*/ 161756 w 871061"/>
                    <a:gd name="connsiteY818" fmla="*/ 168811 h 674880"/>
                    <a:gd name="connsiteX819" fmla="*/ 163250 w 871061"/>
                    <a:gd name="connsiteY819" fmla="*/ 168957 h 674880"/>
                    <a:gd name="connsiteX820" fmla="*/ 164051 w 871061"/>
                    <a:gd name="connsiteY820" fmla="*/ 169904 h 674880"/>
                    <a:gd name="connsiteX821" fmla="*/ 164282 w 871061"/>
                    <a:gd name="connsiteY821" fmla="*/ 171458 h 674880"/>
                    <a:gd name="connsiteX822" fmla="*/ 164233 w 871061"/>
                    <a:gd name="connsiteY822" fmla="*/ 173292 h 674880"/>
                    <a:gd name="connsiteX823" fmla="*/ 164974 w 871061"/>
                    <a:gd name="connsiteY823" fmla="*/ 175065 h 674880"/>
                    <a:gd name="connsiteX824" fmla="*/ 166468 w 871061"/>
                    <a:gd name="connsiteY824" fmla="*/ 175818 h 674880"/>
                    <a:gd name="connsiteX825" fmla="*/ 168022 w 871061"/>
                    <a:gd name="connsiteY825" fmla="*/ 175648 h 674880"/>
                    <a:gd name="connsiteX826" fmla="*/ 169163 w 871061"/>
                    <a:gd name="connsiteY826" fmla="*/ 174616 h 674880"/>
                    <a:gd name="connsiteX827" fmla="*/ 169455 w 871061"/>
                    <a:gd name="connsiteY827" fmla="*/ 172952 h 674880"/>
                    <a:gd name="connsiteX828" fmla="*/ 169115 w 871061"/>
                    <a:gd name="connsiteY828" fmla="*/ 168933 h 674880"/>
                    <a:gd name="connsiteX829" fmla="*/ 169333 w 871061"/>
                    <a:gd name="connsiteY829" fmla="*/ 167378 h 674880"/>
                    <a:gd name="connsiteX830" fmla="*/ 170365 w 871061"/>
                    <a:gd name="connsiteY830" fmla="*/ 166747 h 674880"/>
                    <a:gd name="connsiteX831" fmla="*/ 172090 w 871061"/>
                    <a:gd name="connsiteY831" fmla="*/ 166516 h 674880"/>
                    <a:gd name="connsiteX832" fmla="*/ 174506 w 871061"/>
                    <a:gd name="connsiteY832" fmla="*/ 166941 h 674880"/>
                    <a:gd name="connsiteX833" fmla="*/ 176170 w 871061"/>
                    <a:gd name="connsiteY833" fmla="*/ 166625 h 674880"/>
                    <a:gd name="connsiteX834" fmla="*/ 177384 w 871061"/>
                    <a:gd name="connsiteY834" fmla="*/ 165933 h 674880"/>
                    <a:gd name="connsiteX835" fmla="*/ 178647 w 871061"/>
                    <a:gd name="connsiteY835" fmla="*/ 165654 h 674880"/>
                    <a:gd name="connsiteX836" fmla="*/ 180080 w 871061"/>
                    <a:gd name="connsiteY836" fmla="*/ 166201 h 674880"/>
                    <a:gd name="connsiteX837" fmla="*/ 181513 w 871061"/>
                    <a:gd name="connsiteY837" fmla="*/ 167208 h 674880"/>
                    <a:gd name="connsiteX838" fmla="*/ 182715 w 871061"/>
                    <a:gd name="connsiteY838" fmla="*/ 167488 h 674880"/>
                    <a:gd name="connsiteX839" fmla="*/ 184038 w 871061"/>
                    <a:gd name="connsiteY839" fmla="*/ 166941 h 674880"/>
                    <a:gd name="connsiteX840" fmla="*/ 185933 w 871061"/>
                    <a:gd name="connsiteY840" fmla="*/ 164707 h 674880"/>
                    <a:gd name="connsiteX841" fmla="*/ 187305 w 871061"/>
                    <a:gd name="connsiteY841" fmla="*/ 164245 h 674880"/>
                    <a:gd name="connsiteX842" fmla="*/ 189600 w 871061"/>
                    <a:gd name="connsiteY842" fmla="*/ 164877 h 674880"/>
                    <a:gd name="connsiteX843" fmla="*/ 191215 w 871061"/>
                    <a:gd name="connsiteY843" fmla="*/ 166431 h 674880"/>
                    <a:gd name="connsiteX844" fmla="*/ 193218 w 871061"/>
                    <a:gd name="connsiteY844" fmla="*/ 170426 h 674880"/>
                    <a:gd name="connsiteX845" fmla="*/ 193340 w 871061"/>
                    <a:gd name="connsiteY845" fmla="*/ 176874 h 674880"/>
                    <a:gd name="connsiteX846" fmla="*/ 192077 w 871061"/>
                    <a:gd name="connsiteY846" fmla="*/ 178295 h 674880"/>
                    <a:gd name="connsiteX847" fmla="*/ 190814 w 871061"/>
                    <a:gd name="connsiteY847" fmla="*/ 180723 h 674880"/>
                    <a:gd name="connsiteX848" fmla="*/ 191276 w 871061"/>
                    <a:gd name="connsiteY848" fmla="*/ 182302 h 674880"/>
                    <a:gd name="connsiteX849" fmla="*/ 195866 w 871061"/>
                    <a:gd name="connsiteY849" fmla="*/ 186783 h 674880"/>
                    <a:gd name="connsiteX850" fmla="*/ 198513 w 871061"/>
                    <a:gd name="connsiteY850" fmla="*/ 190693 h 674880"/>
                    <a:gd name="connsiteX851" fmla="*/ 201038 w 871061"/>
                    <a:gd name="connsiteY851" fmla="*/ 193267 h 674880"/>
                    <a:gd name="connsiteX852" fmla="*/ 203783 w 871061"/>
                    <a:gd name="connsiteY852" fmla="*/ 195307 h 674880"/>
                    <a:gd name="connsiteX853" fmla="*/ 209199 w 871061"/>
                    <a:gd name="connsiteY853" fmla="*/ 198015 h 674880"/>
                    <a:gd name="connsiteX854" fmla="*/ 213837 w 871061"/>
                    <a:gd name="connsiteY854" fmla="*/ 201549 h 674880"/>
                    <a:gd name="connsiteX855" fmla="*/ 215039 w 871061"/>
                    <a:gd name="connsiteY855" fmla="*/ 203212 h 674880"/>
                    <a:gd name="connsiteX856" fmla="*/ 216193 w 871061"/>
                    <a:gd name="connsiteY856" fmla="*/ 205191 h 674880"/>
                    <a:gd name="connsiteX857" fmla="*/ 217577 w 871061"/>
                    <a:gd name="connsiteY857" fmla="*/ 206746 h 674880"/>
                    <a:gd name="connsiteX858" fmla="*/ 220844 w 871061"/>
                    <a:gd name="connsiteY858" fmla="*/ 209320 h 674880"/>
                    <a:gd name="connsiteX859" fmla="*/ 223199 w 871061"/>
                    <a:gd name="connsiteY859" fmla="*/ 210243 h 674880"/>
                    <a:gd name="connsiteX860" fmla="*/ 225494 w 871061"/>
                    <a:gd name="connsiteY860" fmla="*/ 210461 h 674880"/>
                    <a:gd name="connsiteX861" fmla="*/ 227498 w 871061"/>
                    <a:gd name="connsiteY861" fmla="*/ 210158 h 674880"/>
                    <a:gd name="connsiteX862" fmla="*/ 229684 w 871061"/>
                    <a:gd name="connsiteY862" fmla="*/ 209296 h 674880"/>
                    <a:gd name="connsiteX863" fmla="*/ 233581 w 871061"/>
                    <a:gd name="connsiteY863" fmla="*/ 205617 h 674880"/>
                    <a:gd name="connsiteX864" fmla="*/ 234104 w 871061"/>
                    <a:gd name="connsiteY864" fmla="*/ 204244 h 674880"/>
                    <a:gd name="connsiteX865" fmla="*/ 234517 w 871061"/>
                    <a:gd name="connsiteY865" fmla="*/ 202459 h 674880"/>
                    <a:gd name="connsiteX866" fmla="*/ 235439 w 871061"/>
                    <a:gd name="connsiteY866" fmla="*/ 200395 h 674880"/>
                    <a:gd name="connsiteX867" fmla="*/ 239847 w 871061"/>
                    <a:gd name="connsiteY867" fmla="*/ 196521 h 674880"/>
                    <a:gd name="connsiteX868" fmla="*/ 241062 w 871061"/>
                    <a:gd name="connsiteY868" fmla="*/ 194457 h 674880"/>
                    <a:gd name="connsiteX869" fmla="*/ 241924 w 871061"/>
                    <a:gd name="connsiteY869" fmla="*/ 192441 h 674880"/>
                    <a:gd name="connsiteX870" fmla="*/ 242677 w 871061"/>
                    <a:gd name="connsiteY870" fmla="*/ 192004 h 674880"/>
                    <a:gd name="connsiteX871" fmla="*/ 243757 w 871061"/>
                    <a:gd name="connsiteY871" fmla="*/ 192587 h 674880"/>
                    <a:gd name="connsiteX872" fmla="*/ 245360 w 871061"/>
                    <a:gd name="connsiteY872" fmla="*/ 193741 h 674880"/>
                    <a:gd name="connsiteX873" fmla="*/ 247206 w 871061"/>
                    <a:gd name="connsiteY873" fmla="*/ 194736 h 674880"/>
                    <a:gd name="connsiteX874" fmla="*/ 249319 w 871061"/>
                    <a:gd name="connsiteY874" fmla="*/ 194858 h 674880"/>
                    <a:gd name="connsiteX875" fmla="*/ 253302 w 871061"/>
                    <a:gd name="connsiteY875" fmla="*/ 195829 h 674880"/>
                    <a:gd name="connsiteX876" fmla="*/ 255645 w 871061"/>
                    <a:gd name="connsiteY876" fmla="*/ 195854 h 674880"/>
                    <a:gd name="connsiteX877" fmla="*/ 257017 w 871061"/>
                    <a:gd name="connsiteY877" fmla="*/ 194481 h 674880"/>
                    <a:gd name="connsiteX878" fmla="*/ 258972 w 871061"/>
                    <a:gd name="connsiteY878" fmla="*/ 188616 h 674880"/>
                    <a:gd name="connsiteX879" fmla="*/ 261389 w 871061"/>
                    <a:gd name="connsiteY879" fmla="*/ 184803 h 674880"/>
                    <a:gd name="connsiteX880" fmla="*/ 264424 w 871061"/>
                    <a:gd name="connsiteY880" fmla="*/ 182278 h 674880"/>
                    <a:gd name="connsiteX881" fmla="*/ 272524 w 871061"/>
                    <a:gd name="connsiteY881" fmla="*/ 177943 h 674880"/>
                    <a:gd name="connsiteX882" fmla="*/ 275232 w 871061"/>
                    <a:gd name="connsiteY882" fmla="*/ 176048 h 674880"/>
                    <a:gd name="connsiteX883" fmla="*/ 278049 w 871061"/>
                    <a:gd name="connsiteY883" fmla="*/ 174530 h 674880"/>
                    <a:gd name="connsiteX884" fmla="*/ 279931 w 871061"/>
                    <a:gd name="connsiteY884" fmla="*/ 173025 h 674880"/>
                    <a:gd name="connsiteX885" fmla="*/ 282117 w 871061"/>
                    <a:gd name="connsiteY885" fmla="*/ 171689 h 674880"/>
                    <a:gd name="connsiteX886" fmla="*/ 284885 w 871061"/>
                    <a:gd name="connsiteY886" fmla="*/ 171920 h 674880"/>
                    <a:gd name="connsiteX887" fmla="*/ 287181 w 871061"/>
                    <a:gd name="connsiteY887" fmla="*/ 174008 h 674880"/>
                    <a:gd name="connsiteX888" fmla="*/ 288953 w 871061"/>
                    <a:gd name="connsiteY888" fmla="*/ 183346 h 674880"/>
                    <a:gd name="connsiteX889" fmla="*/ 290629 w 871061"/>
                    <a:gd name="connsiteY889" fmla="*/ 184233 h 674880"/>
                    <a:gd name="connsiteX890" fmla="*/ 293556 w 871061"/>
                    <a:gd name="connsiteY890" fmla="*/ 183686 h 674880"/>
                    <a:gd name="connsiteX891" fmla="*/ 295219 w 871061"/>
                    <a:gd name="connsiteY891" fmla="*/ 182909 h 674880"/>
                    <a:gd name="connsiteX892" fmla="*/ 296713 w 871061"/>
                    <a:gd name="connsiteY892" fmla="*/ 183650 h 674880"/>
                    <a:gd name="connsiteX893" fmla="*/ 297235 w 871061"/>
                    <a:gd name="connsiteY893" fmla="*/ 185581 h 674880"/>
                    <a:gd name="connsiteX894" fmla="*/ 299068 w 871061"/>
                    <a:gd name="connsiteY894" fmla="*/ 196315 h 674880"/>
                    <a:gd name="connsiteX895" fmla="*/ 300331 w 871061"/>
                    <a:gd name="connsiteY895" fmla="*/ 198440 h 674880"/>
                    <a:gd name="connsiteX896" fmla="*/ 302808 w 871061"/>
                    <a:gd name="connsiteY896" fmla="*/ 200104 h 674880"/>
                    <a:gd name="connsiteX897" fmla="*/ 312680 w 871061"/>
                    <a:gd name="connsiteY897" fmla="*/ 201172 h 674880"/>
                    <a:gd name="connsiteX898" fmla="*/ 316469 w 871061"/>
                    <a:gd name="connsiteY898" fmla="*/ 200310 h 674880"/>
                    <a:gd name="connsiteX899" fmla="*/ 319675 w 871061"/>
                    <a:gd name="connsiteY899" fmla="*/ 198646 h 674880"/>
                    <a:gd name="connsiteX900" fmla="*/ 322783 w 871061"/>
                    <a:gd name="connsiteY900" fmla="*/ 196521 h 674880"/>
                    <a:gd name="connsiteX901" fmla="*/ 335024 w 871061"/>
                    <a:gd name="connsiteY901" fmla="*/ 192235 h 674880"/>
                    <a:gd name="connsiteX902" fmla="*/ 336238 w 871061"/>
                    <a:gd name="connsiteY902" fmla="*/ 192709 h 674880"/>
                    <a:gd name="connsiteX903" fmla="*/ 336517 w 871061"/>
                    <a:gd name="connsiteY903" fmla="*/ 194226 h 674880"/>
                    <a:gd name="connsiteX904" fmla="*/ 335485 w 871061"/>
                    <a:gd name="connsiteY904" fmla="*/ 199132 h 674880"/>
                    <a:gd name="connsiteX905" fmla="*/ 335351 w 871061"/>
                    <a:gd name="connsiteY905" fmla="*/ 201136 h 674880"/>
                    <a:gd name="connsiteX906" fmla="*/ 336578 w 871061"/>
                    <a:gd name="connsiteY906" fmla="*/ 202459 h 674880"/>
                    <a:gd name="connsiteX907" fmla="*/ 338193 w 871061"/>
                    <a:gd name="connsiteY907" fmla="*/ 201998 h 674880"/>
                    <a:gd name="connsiteX908" fmla="*/ 345309 w 871061"/>
                    <a:gd name="connsiteY908" fmla="*/ 195222 h 674880"/>
                    <a:gd name="connsiteX909" fmla="*/ 347944 w 871061"/>
                    <a:gd name="connsiteY909" fmla="*/ 193304 h 674880"/>
                    <a:gd name="connsiteX910" fmla="*/ 349486 w 871061"/>
                    <a:gd name="connsiteY910" fmla="*/ 191786 h 674880"/>
                    <a:gd name="connsiteX911" fmla="*/ 349959 w 871061"/>
                    <a:gd name="connsiteY911" fmla="*/ 190292 h 674880"/>
                    <a:gd name="connsiteX912" fmla="*/ 349547 w 871061"/>
                    <a:gd name="connsiteY912" fmla="*/ 188446 h 674880"/>
                    <a:gd name="connsiteX913" fmla="*/ 349959 w 871061"/>
                    <a:gd name="connsiteY913" fmla="*/ 186673 h 674880"/>
                    <a:gd name="connsiteX914" fmla="*/ 351963 w 871061"/>
                    <a:gd name="connsiteY914" fmla="*/ 184743 h 674880"/>
                    <a:gd name="connsiteX915" fmla="*/ 368854 w 871061"/>
                    <a:gd name="connsiteY915" fmla="*/ 178598 h 674880"/>
                    <a:gd name="connsiteX916" fmla="*/ 370797 w 871061"/>
                    <a:gd name="connsiteY916" fmla="*/ 177566 h 674880"/>
                    <a:gd name="connsiteX917" fmla="*/ 371719 w 871061"/>
                    <a:gd name="connsiteY917" fmla="*/ 176303 h 674880"/>
                    <a:gd name="connsiteX918" fmla="*/ 371963 w 871061"/>
                    <a:gd name="connsiteY918" fmla="*/ 174810 h 674880"/>
                    <a:gd name="connsiteX919" fmla="*/ 372533 w 871061"/>
                    <a:gd name="connsiteY919" fmla="*/ 173523 h 674880"/>
                    <a:gd name="connsiteX920" fmla="*/ 375277 w 871061"/>
                    <a:gd name="connsiteY920" fmla="*/ 172770 h 674880"/>
                    <a:gd name="connsiteX921" fmla="*/ 390177 w 871061"/>
                    <a:gd name="connsiteY921" fmla="*/ 171082 h 674880"/>
                    <a:gd name="connsiteX922" fmla="*/ 393334 w 871061"/>
                    <a:gd name="connsiteY922" fmla="*/ 169127 h 674880"/>
                    <a:gd name="connsiteX923" fmla="*/ 402283 w 871061"/>
                    <a:gd name="connsiteY923" fmla="*/ 169965 h 674880"/>
                    <a:gd name="connsiteX924" fmla="*/ 406691 w 871061"/>
                    <a:gd name="connsiteY924" fmla="*/ 169758 h 674880"/>
                    <a:gd name="connsiteX925" fmla="*/ 410383 w 871061"/>
                    <a:gd name="connsiteY925" fmla="*/ 169163 h 674880"/>
                    <a:gd name="connsiteX926" fmla="*/ 412836 w 871061"/>
                    <a:gd name="connsiteY926" fmla="*/ 169382 h 674880"/>
                    <a:gd name="connsiteX927" fmla="*/ 414730 w 871061"/>
                    <a:gd name="connsiteY927" fmla="*/ 170366 h 674880"/>
                    <a:gd name="connsiteX928" fmla="*/ 416928 w 871061"/>
                    <a:gd name="connsiteY928" fmla="*/ 171106 h 674880"/>
                    <a:gd name="connsiteX929" fmla="*/ 418652 w 871061"/>
                    <a:gd name="connsiteY929" fmla="*/ 170681 h 674880"/>
                    <a:gd name="connsiteX930" fmla="*/ 424347 w 871061"/>
                    <a:gd name="connsiteY930" fmla="*/ 165423 h 674880"/>
                    <a:gd name="connsiteX931" fmla="*/ 424966 w 871061"/>
                    <a:gd name="connsiteY931" fmla="*/ 164367 h 674880"/>
                    <a:gd name="connsiteX932" fmla="*/ 426812 w 871061"/>
                    <a:gd name="connsiteY932" fmla="*/ 162788 h 674880"/>
                    <a:gd name="connsiteX933" fmla="*/ 427565 w 871061"/>
                    <a:gd name="connsiteY933" fmla="*/ 161914 h 674880"/>
                    <a:gd name="connsiteX934" fmla="*/ 428403 w 871061"/>
                    <a:gd name="connsiteY934" fmla="*/ 159473 h 674880"/>
                    <a:gd name="connsiteX935" fmla="*/ 430151 w 871061"/>
                    <a:gd name="connsiteY935" fmla="*/ 159534 h 674880"/>
                    <a:gd name="connsiteX936" fmla="*/ 432908 w 871061"/>
                    <a:gd name="connsiteY936" fmla="*/ 160372 h 674880"/>
                    <a:gd name="connsiteX937" fmla="*/ 436187 w 871061"/>
                    <a:gd name="connsiteY937" fmla="*/ 161064 h 674880"/>
                    <a:gd name="connsiteX938" fmla="*/ 440655 w 871061"/>
                    <a:gd name="connsiteY938" fmla="*/ 161028 h 674880"/>
                    <a:gd name="connsiteX939" fmla="*/ 443120 w 871061"/>
                    <a:gd name="connsiteY939" fmla="*/ 159510 h 674880"/>
                    <a:gd name="connsiteX940" fmla="*/ 444152 w 871061"/>
                    <a:gd name="connsiteY940" fmla="*/ 157275 h 674880"/>
                    <a:gd name="connsiteX941" fmla="*/ 444152 w 871061"/>
                    <a:gd name="connsiteY941" fmla="*/ 149953 h 674880"/>
                    <a:gd name="connsiteX942" fmla="*/ 443837 w 871061"/>
                    <a:gd name="connsiteY942" fmla="*/ 147658 h 674880"/>
                    <a:gd name="connsiteX943" fmla="*/ 443254 w 871061"/>
                    <a:gd name="connsiteY943" fmla="*/ 145813 h 674880"/>
                    <a:gd name="connsiteX944" fmla="*/ 442088 w 871061"/>
                    <a:gd name="connsiteY944" fmla="*/ 144027 h 674880"/>
                    <a:gd name="connsiteX945" fmla="*/ 441347 w 871061"/>
                    <a:gd name="connsiteY945" fmla="*/ 142449 h 674880"/>
                    <a:gd name="connsiteX946" fmla="*/ 441347 w 871061"/>
                    <a:gd name="connsiteY946" fmla="*/ 141417 h 674880"/>
                    <a:gd name="connsiteX947" fmla="*/ 442841 w 871061"/>
                    <a:gd name="connsiteY947" fmla="*/ 140761 h 674880"/>
                    <a:gd name="connsiteX948" fmla="*/ 447649 w 871061"/>
                    <a:gd name="connsiteY948" fmla="*/ 139413 h 674880"/>
                    <a:gd name="connsiteX949" fmla="*/ 449155 w 871061"/>
                    <a:gd name="connsiteY949" fmla="*/ 137373 h 674880"/>
                    <a:gd name="connsiteX950" fmla="*/ 450066 w 871061"/>
                    <a:gd name="connsiteY950" fmla="*/ 134702 h 674880"/>
                    <a:gd name="connsiteX951" fmla="*/ 450649 w 871061"/>
                    <a:gd name="connsiteY951" fmla="*/ 128849 h 674880"/>
                    <a:gd name="connsiteX952" fmla="*/ 451402 w 871061"/>
                    <a:gd name="connsiteY952" fmla="*/ 126262 h 674880"/>
                    <a:gd name="connsiteX953" fmla="*/ 452762 w 871061"/>
                    <a:gd name="connsiteY953" fmla="*/ 123445 h 674880"/>
                    <a:gd name="connsiteX954" fmla="*/ 454717 w 871061"/>
                    <a:gd name="connsiteY954" fmla="*/ 120434 h 674880"/>
                    <a:gd name="connsiteX955" fmla="*/ 457194 w 871061"/>
                    <a:gd name="connsiteY955" fmla="*/ 117908 h 674880"/>
                    <a:gd name="connsiteX956" fmla="*/ 459877 w 871061"/>
                    <a:gd name="connsiteY956" fmla="*/ 117192 h 674880"/>
                    <a:gd name="connsiteX957" fmla="*/ 475797 w 871061"/>
                    <a:gd name="connsiteY957" fmla="*/ 117022 h 674880"/>
                    <a:gd name="connsiteX958" fmla="*/ 479185 w 871061"/>
                    <a:gd name="connsiteY958" fmla="*/ 118309 h 674880"/>
                    <a:gd name="connsiteX959" fmla="*/ 482342 w 871061"/>
                    <a:gd name="connsiteY959" fmla="*/ 120871 h 674880"/>
                    <a:gd name="connsiteX960" fmla="*/ 490902 w 871061"/>
                    <a:gd name="connsiteY960" fmla="*/ 131459 h 674880"/>
                    <a:gd name="connsiteX961" fmla="*/ 499852 w 871061"/>
                    <a:gd name="connsiteY961" fmla="*/ 130512 h 674880"/>
                    <a:gd name="connsiteX962" fmla="*/ 507781 w 871061"/>
                    <a:gd name="connsiteY962" fmla="*/ 125376 h 674880"/>
                    <a:gd name="connsiteX963" fmla="*/ 510878 w 871061"/>
                    <a:gd name="connsiteY963" fmla="*/ 122583 h 674880"/>
                    <a:gd name="connsiteX964" fmla="*/ 515006 w 871061"/>
                    <a:gd name="connsiteY964" fmla="*/ 121211 h 674880"/>
                    <a:gd name="connsiteX965" fmla="*/ 516269 w 871061"/>
                    <a:gd name="connsiteY965" fmla="*/ 123275 h 674880"/>
                    <a:gd name="connsiteX966" fmla="*/ 515759 w 871061"/>
                    <a:gd name="connsiteY966" fmla="*/ 124890 h 674880"/>
                    <a:gd name="connsiteX967" fmla="*/ 514605 w 871061"/>
                    <a:gd name="connsiteY967" fmla="*/ 126699 h 674880"/>
                    <a:gd name="connsiteX968" fmla="*/ 513683 w 871061"/>
                    <a:gd name="connsiteY968" fmla="*/ 128703 h 674880"/>
                    <a:gd name="connsiteX969" fmla="*/ 514533 w 871061"/>
                    <a:gd name="connsiteY969" fmla="*/ 129505 h 674880"/>
                    <a:gd name="connsiteX970" fmla="*/ 516609 w 871061"/>
                    <a:gd name="connsiteY970" fmla="*/ 129759 h 674880"/>
                    <a:gd name="connsiteX971" fmla="*/ 519584 w 871061"/>
                    <a:gd name="connsiteY971" fmla="*/ 129820 h 674880"/>
                    <a:gd name="connsiteX972" fmla="*/ 522754 w 871061"/>
                    <a:gd name="connsiteY972" fmla="*/ 130950 h 674880"/>
                    <a:gd name="connsiteX973" fmla="*/ 525802 w 871061"/>
                    <a:gd name="connsiteY973" fmla="*/ 133062 h 674880"/>
                    <a:gd name="connsiteX974" fmla="*/ 527684 w 871061"/>
                    <a:gd name="connsiteY974" fmla="*/ 136802 h 674880"/>
                    <a:gd name="connsiteX975" fmla="*/ 529529 w 871061"/>
                    <a:gd name="connsiteY975" fmla="*/ 151665 h 674880"/>
                    <a:gd name="connsiteX976" fmla="*/ 531071 w 871061"/>
                    <a:gd name="connsiteY976" fmla="*/ 154920 h 674880"/>
                    <a:gd name="connsiteX977" fmla="*/ 533136 w 871061"/>
                    <a:gd name="connsiteY977" fmla="*/ 157154 h 674880"/>
                    <a:gd name="connsiteX978" fmla="*/ 536536 w 871061"/>
                    <a:gd name="connsiteY978" fmla="*/ 159825 h 674880"/>
                    <a:gd name="connsiteX979" fmla="*/ 540215 w 871061"/>
                    <a:gd name="connsiteY979" fmla="*/ 160578 h 674880"/>
                    <a:gd name="connsiteX980" fmla="*/ 543360 w 871061"/>
                    <a:gd name="connsiteY980" fmla="*/ 160433 h 674880"/>
                    <a:gd name="connsiteX981" fmla="*/ 547562 w 871061"/>
                    <a:gd name="connsiteY981" fmla="*/ 157931 h 674880"/>
                    <a:gd name="connsiteX982" fmla="*/ 549395 w 871061"/>
                    <a:gd name="connsiteY982" fmla="*/ 157470 h 674880"/>
                    <a:gd name="connsiteX983" fmla="*/ 556693 w 871061"/>
                    <a:gd name="connsiteY983" fmla="*/ 160287 h 674880"/>
                    <a:gd name="connsiteX984" fmla="*/ 561987 w 871061"/>
                    <a:gd name="connsiteY984" fmla="*/ 160748 h 674880"/>
                    <a:gd name="connsiteX985" fmla="*/ 563141 w 871061"/>
                    <a:gd name="connsiteY985" fmla="*/ 162521 h 674880"/>
                    <a:gd name="connsiteX986" fmla="*/ 563833 w 871061"/>
                    <a:gd name="connsiteY986" fmla="*/ 164501 h 674880"/>
                    <a:gd name="connsiteX987" fmla="*/ 564610 w 871061"/>
                    <a:gd name="connsiteY987" fmla="*/ 170936 h 674880"/>
                    <a:gd name="connsiteX988" fmla="*/ 564392 w 871061"/>
                    <a:gd name="connsiteY988" fmla="*/ 172770 h 674880"/>
                    <a:gd name="connsiteX989" fmla="*/ 563481 w 871061"/>
                    <a:gd name="connsiteY989" fmla="*/ 174664 h 674880"/>
                    <a:gd name="connsiteX990" fmla="*/ 558599 w 871061"/>
                    <a:gd name="connsiteY990" fmla="*/ 180068 h 674880"/>
                    <a:gd name="connsiteX991" fmla="*/ 558320 w 871061"/>
                    <a:gd name="connsiteY991" fmla="*/ 181756 h 674880"/>
                    <a:gd name="connsiteX992" fmla="*/ 559352 w 871061"/>
                    <a:gd name="connsiteY992" fmla="*/ 183966 h 674880"/>
                    <a:gd name="connsiteX993" fmla="*/ 574118 w 871061"/>
                    <a:gd name="connsiteY993" fmla="*/ 191834 h 674880"/>
                    <a:gd name="connsiteX994" fmla="*/ 585593 w 871061"/>
                    <a:gd name="connsiteY994" fmla="*/ 200480 h 674880"/>
                    <a:gd name="connsiteX995" fmla="*/ 589795 w 871061"/>
                    <a:gd name="connsiteY995" fmla="*/ 202775 h 674880"/>
                    <a:gd name="connsiteX996" fmla="*/ 591847 w 871061"/>
                    <a:gd name="connsiteY996" fmla="*/ 202229 h 674880"/>
                    <a:gd name="connsiteX997" fmla="*/ 593170 w 871061"/>
                    <a:gd name="connsiteY997" fmla="*/ 200395 h 674880"/>
                    <a:gd name="connsiteX998" fmla="*/ 594142 w 871061"/>
                    <a:gd name="connsiteY998" fmla="*/ 198246 h 674880"/>
                    <a:gd name="connsiteX999" fmla="*/ 594421 w 871061"/>
                    <a:gd name="connsiteY999" fmla="*/ 196181 h 674880"/>
                    <a:gd name="connsiteX1000" fmla="*/ 594033 w 871061"/>
                    <a:gd name="connsiteY1000" fmla="*/ 194202 h 674880"/>
                    <a:gd name="connsiteX1001" fmla="*/ 594263 w 871061"/>
                    <a:gd name="connsiteY1001" fmla="*/ 192551 h 674880"/>
                    <a:gd name="connsiteX1002" fmla="*/ 595186 w 871061"/>
                    <a:gd name="connsiteY1002" fmla="*/ 190924 h 674880"/>
                    <a:gd name="connsiteX1003" fmla="*/ 596619 w 871061"/>
                    <a:gd name="connsiteY1003" fmla="*/ 190292 h 674880"/>
                    <a:gd name="connsiteX1004" fmla="*/ 598683 w 871061"/>
                    <a:gd name="connsiteY1004" fmla="*/ 188823 h 674880"/>
                    <a:gd name="connsiteX1005" fmla="*/ 598489 w 871061"/>
                    <a:gd name="connsiteY1005" fmla="*/ 181901 h 674880"/>
                    <a:gd name="connsiteX1006" fmla="*/ 600237 w 871061"/>
                    <a:gd name="connsiteY1006" fmla="*/ 175016 h 674880"/>
                    <a:gd name="connsiteX1007" fmla="*/ 601962 w 871061"/>
                    <a:gd name="connsiteY1007" fmla="*/ 172867 h 674880"/>
                    <a:gd name="connsiteX1008" fmla="*/ 608094 w 871061"/>
                    <a:gd name="connsiteY1008" fmla="*/ 167901 h 674880"/>
                    <a:gd name="connsiteX1009" fmla="*/ 617359 w 871061"/>
                    <a:gd name="connsiteY1009" fmla="*/ 158757 h 674880"/>
                    <a:gd name="connsiteX1010" fmla="*/ 621439 w 871061"/>
                    <a:gd name="connsiteY1010" fmla="*/ 158793 h 674880"/>
                    <a:gd name="connsiteX1011" fmla="*/ 625446 w 871061"/>
                    <a:gd name="connsiteY1011" fmla="*/ 160457 h 674880"/>
                    <a:gd name="connsiteX1012" fmla="*/ 629283 w 871061"/>
                    <a:gd name="connsiteY1012" fmla="*/ 162497 h 674880"/>
                    <a:gd name="connsiteX1013" fmla="*/ 632574 w 871061"/>
                    <a:gd name="connsiteY1013" fmla="*/ 162558 h 674880"/>
                    <a:gd name="connsiteX1014" fmla="*/ 636873 w 871061"/>
                    <a:gd name="connsiteY1014" fmla="*/ 161489 h 674880"/>
                    <a:gd name="connsiteX1015" fmla="*/ 639228 w 871061"/>
                    <a:gd name="connsiteY1015" fmla="*/ 161489 h 674880"/>
                    <a:gd name="connsiteX1016" fmla="*/ 644037 w 871061"/>
                    <a:gd name="connsiteY1016" fmla="*/ 159024 h 674880"/>
                    <a:gd name="connsiteX1017" fmla="*/ 645895 w 871061"/>
                    <a:gd name="connsiteY1017" fmla="*/ 154883 h 674880"/>
                    <a:gd name="connsiteX1018" fmla="*/ 647255 w 871061"/>
                    <a:gd name="connsiteY1018" fmla="*/ 153718 h 674880"/>
                    <a:gd name="connsiteX1019" fmla="*/ 649137 w 871061"/>
                    <a:gd name="connsiteY1019" fmla="*/ 153450 h 674880"/>
                    <a:gd name="connsiteX1020" fmla="*/ 651554 w 871061"/>
                    <a:gd name="connsiteY1020" fmla="*/ 154142 h 674880"/>
                    <a:gd name="connsiteX1021" fmla="*/ 654079 w 871061"/>
                    <a:gd name="connsiteY1021" fmla="*/ 155575 h 674880"/>
                    <a:gd name="connsiteX1022" fmla="*/ 660005 w 871061"/>
                    <a:gd name="connsiteY1022" fmla="*/ 160226 h 674880"/>
                    <a:gd name="connsiteX1023" fmla="*/ 674407 w 871061"/>
                    <a:gd name="connsiteY1023" fmla="*/ 164707 h 674880"/>
                    <a:gd name="connsiteX1024" fmla="*/ 674807 w 871061"/>
                    <a:gd name="connsiteY1024" fmla="*/ 163650 h 674880"/>
                    <a:gd name="connsiteX1025" fmla="*/ 674407 w 871061"/>
                    <a:gd name="connsiteY1025" fmla="*/ 159680 h 674880"/>
                    <a:gd name="connsiteX1026" fmla="*/ 674601 w 871061"/>
                    <a:gd name="connsiteY1026" fmla="*/ 158162 h 674880"/>
                    <a:gd name="connsiteX1027" fmla="*/ 676325 w 871061"/>
                    <a:gd name="connsiteY1027" fmla="*/ 155782 h 674880"/>
                    <a:gd name="connsiteX1028" fmla="*/ 679191 w 871061"/>
                    <a:gd name="connsiteY1028" fmla="*/ 151641 h 674880"/>
                    <a:gd name="connsiteX1029" fmla="*/ 679652 w 871061"/>
                    <a:gd name="connsiteY1029" fmla="*/ 148569 h 674880"/>
                    <a:gd name="connsiteX1030" fmla="*/ 681085 w 871061"/>
                    <a:gd name="connsiteY1030" fmla="*/ 148375 h 674880"/>
                    <a:gd name="connsiteX1031" fmla="*/ 687800 w 871061"/>
                    <a:gd name="connsiteY1031" fmla="*/ 150062 h 674880"/>
                    <a:gd name="connsiteX1032" fmla="*/ 697515 w 871061"/>
                    <a:gd name="connsiteY1032" fmla="*/ 153851 h 674880"/>
                    <a:gd name="connsiteX1033" fmla="*/ 700660 w 871061"/>
                    <a:gd name="connsiteY1033" fmla="*/ 154264 h 674880"/>
                    <a:gd name="connsiteX1034" fmla="*/ 702967 w 871061"/>
                    <a:gd name="connsiteY1034" fmla="*/ 153390 h 674880"/>
                    <a:gd name="connsiteX1035" fmla="*/ 704460 w 871061"/>
                    <a:gd name="connsiteY1035" fmla="*/ 151665 h 674880"/>
                    <a:gd name="connsiteX1036" fmla="*/ 704776 w 871061"/>
                    <a:gd name="connsiteY1036" fmla="*/ 147476 h 674880"/>
                    <a:gd name="connsiteX1037" fmla="*/ 705492 w 871061"/>
                    <a:gd name="connsiteY1037" fmla="*/ 144695 h 674880"/>
                    <a:gd name="connsiteX1038" fmla="*/ 708079 w 871061"/>
                    <a:gd name="connsiteY1038" fmla="*/ 137519 h 674880"/>
                    <a:gd name="connsiteX1039" fmla="*/ 707557 w 871061"/>
                    <a:gd name="connsiteY1039" fmla="*/ 131265 h 674880"/>
                    <a:gd name="connsiteX1040" fmla="*/ 709633 w 871061"/>
                    <a:gd name="connsiteY1040" fmla="*/ 122134 h 674880"/>
                    <a:gd name="connsiteX1041" fmla="*/ 709330 w 871061"/>
                    <a:gd name="connsiteY1041" fmla="*/ 119122 h 674880"/>
                    <a:gd name="connsiteX1042" fmla="*/ 708431 w 871061"/>
                    <a:gd name="connsiteY1042" fmla="*/ 117131 h 674880"/>
                    <a:gd name="connsiteX1043" fmla="*/ 707848 w 871061"/>
                    <a:gd name="connsiteY1043" fmla="*/ 115528 h 674880"/>
                    <a:gd name="connsiteX1044" fmla="*/ 708431 w 871061"/>
                    <a:gd name="connsiteY1044" fmla="*/ 114666 h 674880"/>
                    <a:gd name="connsiteX1045" fmla="*/ 709645 w 871061"/>
                    <a:gd name="connsiteY1045" fmla="*/ 113451 h 674880"/>
                    <a:gd name="connsiteX1046" fmla="*/ 711127 w 871061"/>
                    <a:gd name="connsiteY1046" fmla="*/ 111654 h 674880"/>
                    <a:gd name="connsiteX1047" fmla="*/ 714333 w 871061"/>
                    <a:gd name="connsiteY1047" fmla="*/ 105765 h 674880"/>
                    <a:gd name="connsiteX1048" fmla="*/ 716069 w 871061"/>
                    <a:gd name="connsiteY1048" fmla="*/ 103409 h 674880"/>
                    <a:gd name="connsiteX1049" fmla="*/ 717441 w 871061"/>
                    <a:gd name="connsiteY1049" fmla="*/ 101029 h 674880"/>
                    <a:gd name="connsiteX1050" fmla="*/ 717903 w 871061"/>
                    <a:gd name="connsiteY1050" fmla="*/ 98528 h 674880"/>
                    <a:gd name="connsiteX1051" fmla="*/ 717113 w 871061"/>
                    <a:gd name="connsiteY1051" fmla="*/ 77132 h 674880"/>
                    <a:gd name="connsiteX1052" fmla="*/ 717854 w 871061"/>
                    <a:gd name="connsiteY1052" fmla="*/ 74072 h 674880"/>
                    <a:gd name="connsiteX1053" fmla="*/ 719117 w 871061"/>
                    <a:gd name="connsiteY1053" fmla="*/ 71000 h 674880"/>
                    <a:gd name="connsiteX1054" fmla="*/ 723379 w 871061"/>
                    <a:gd name="connsiteY1054" fmla="*/ 65026 h 674880"/>
                    <a:gd name="connsiteX1055" fmla="*/ 727738 w 871061"/>
                    <a:gd name="connsiteY1055" fmla="*/ 60569 h 674880"/>
                    <a:gd name="connsiteX1056" fmla="*/ 729863 w 871061"/>
                    <a:gd name="connsiteY1056" fmla="*/ 58966 h 674880"/>
                    <a:gd name="connsiteX1057" fmla="*/ 735704 w 871061"/>
                    <a:gd name="connsiteY1057" fmla="*/ 56841 h 674880"/>
                    <a:gd name="connsiteX1058" fmla="*/ 738363 w 871061"/>
                    <a:gd name="connsiteY1058" fmla="*/ 57011 h 674880"/>
                    <a:gd name="connsiteX1059" fmla="*/ 742771 w 871061"/>
                    <a:gd name="connsiteY1059" fmla="*/ 58760 h 674880"/>
                    <a:gd name="connsiteX1060" fmla="*/ 744095 w 871061"/>
                    <a:gd name="connsiteY1060" fmla="*/ 58566 h 674880"/>
                    <a:gd name="connsiteX1061" fmla="*/ 744957 w 871061"/>
                    <a:gd name="connsiteY1061" fmla="*/ 56926 h 674880"/>
                    <a:gd name="connsiteX1062" fmla="*/ 747701 w 871061"/>
                    <a:gd name="connsiteY1062" fmla="*/ 45220 h 674880"/>
                    <a:gd name="connsiteX1063" fmla="*/ 748163 w 871061"/>
                    <a:gd name="connsiteY1063" fmla="*/ 41456 h 674880"/>
                    <a:gd name="connsiteX1064" fmla="*/ 749826 w 871061"/>
                    <a:gd name="connsiteY1064" fmla="*/ 36538 h 674880"/>
                    <a:gd name="connsiteX1065" fmla="*/ 751830 w 871061"/>
                    <a:gd name="connsiteY1065" fmla="*/ 34620 h 674880"/>
                    <a:gd name="connsiteX1066" fmla="*/ 754198 w 871061"/>
                    <a:gd name="connsiteY1066" fmla="*/ 33927 h 674880"/>
                    <a:gd name="connsiteX1067" fmla="*/ 758387 w 871061"/>
                    <a:gd name="connsiteY1067" fmla="*/ 33733 h 674880"/>
                    <a:gd name="connsiteX1068" fmla="*/ 759249 w 871061"/>
                    <a:gd name="connsiteY1068" fmla="*/ 33381 h 674880"/>
                    <a:gd name="connsiteX1069" fmla="*/ 760451 w 871061"/>
                    <a:gd name="connsiteY1069" fmla="*/ 32604 h 674880"/>
                    <a:gd name="connsiteX1070" fmla="*/ 761775 w 871061"/>
                    <a:gd name="connsiteY1070" fmla="*/ 31972 h 674880"/>
                    <a:gd name="connsiteX1071" fmla="*/ 763329 w 871061"/>
                    <a:gd name="connsiteY1071" fmla="*/ 32094 h 674880"/>
                    <a:gd name="connsiteX1072" fmla="*/ 765673 w 871061"/>
                    <a:gd name="connsiteY1072" fmla="*/ 33381 h 674880"/>
                    <a:gd name="connsiteX1073" fmla="*/ 768660 w 871061"/>
                    <a:gd name="connsiteY1073" fmla="*/ 34595 h 674880"/>
                    <a:gd name="connsiteX1074" fmla="*/ 771368 w 871061"/>
                    <a:gd name="connsiteY1074" fmla="*/ 35166 h 674880"/>
                    <a:gd name="connsiteX1075" fmla="*/ 774513 w 871061"/>
                    <a:gd name="connsiteY1075" fmla="*/ 33672 h 674880"/>
                    <a:gd name="connsiteX1076" fmla="*/ 775739 w 871061"/>
                    <a:gd name="connsiteY1076" fmla="*/ 30940 h 674880"/>
                    <a:gd name="connsiteX1077" fmla="*/ 776881 w 871061"/>
                    <a:gd name="connsiteY1077" fmla="*/ 25634 h 674880"/>
                    <a:gd name="connsiteX1078" fmla="*/ 777865 w 871061"/>
                    <a:gd name="connsiteY1078" fmla="*/ 24225 h 674880"/>
                    <a:gd name="connsiteX1079" fmla="*/ 780390 w 871061"/>
                    <a:gd name="connsiteY1079" fmla="*/ 22744 h 674880"/>
                    <a:gd name="connsiteX1080" fmla="*/ 780572 w 871061"/>
                    <a:gd name="connsiteY1080" fmla="*/ 21068 h 674880"/>
                    <a:gd name="connsiteX1081" fmla="*/ 781313 w 871061"/>
                    <a:gd name="connsiteY1081" fmla="*/ 18227 h 674880"/>
                    <a:gd name="connsiteX1082" fmla="*/ 783389 w 871061"/>
                    <a:gd name="connsiteY1082" fmla="*/ 14584 h 674880"/>
                    <a:gd name="connsiteX1083" fmla="*/ 790566 w 871061"/>
                    <a:gd name="connsiteY1083" fmla="*/ 8403 h 674880"/>
                    <a:gd name="connsiteX1084" fmla="*/ 793177 w 871061"/>
                    <a:gd name="connsiteY1084" fmla="*/ 6654 h 674880"/>
                    <a:gd name="connsiteX1085" fmla="*/ 792254 w 871061"/>
                    <a:gd name="connsiteY1085" fmla="*/ 0 h 674880"/>
                    <a:gd name="connsiteX1086" fmla="*/ 789862 w 871061"/>
                    <a:gd name="connsiteY1086" fmla="*/ 1554 h 674880"/>
                    <a:gd name="connsiteX1087" fmla="*/ 787166 w 871061"/>
                    <a:gd name="connsiteY1087" fmla="*/ 3303 h 674880"/>
                    <a:gd name="connsiteX1088" fmla="*/ 786826 w 871061"/>
                    <a:gd name="connsiteY1088" fmla="*/ 3534 h 674880"/>
                    <a:gd name="connsiteX1089" fmla="*/ 786522 w 871061"/>
                    <a:gd name="connsiteY1089" fmla="*/ 3801 h 674880"/>
                    <a:gd name="connsiteX1090" fmla="*/ 779346 w 871061"/>
                    <a:gd name="connsiteY1090" fmla="*/ 9982 h 674880"/>
                    <a:gd name="connsiteX1091" fmla="*/ 778557 w 871061"/>
                    <a:gd name="connsiteY1091" fmla="*/ 10674 h 674880"/>
                    <a:gd name="connsiteX1092" fmla="*/ 778034 w 871061"/>
                    <a:gd name="connsiteY1092" fmla="*/ 11584 h 674880"/>
                    <a:gd name="connsiteX1093" fmla="*/ 775958 w 871061"/>
                    <a:gd name="connsiteY1093" fmla="*/ 15227 h 674880"/>
                    <a:gd name="connsiteX1094" fmla="*/ 775557 w 871061"/>
                    <a:gd name="connsiteY1094" fmla="*/ 15932 h 674880"/>
                    <a:gd name="connsiteX1095" fmla="*/ 775351 w 871061"/>
                    <a:gd name="connsiteY1095" fmla="*/ 16709 h 674880"/>
                    <a:gd name="connsiteX1096" fmla="*/ 774768 w 871061"/>
                    <a:gd name="connsiteY1096" fmla="*/ 18967 h 674880"/>
                    <a:gd name="connsiteX1097" fmla="*/ 774720 w 871061"/>
                    <a:gd name="connsiteY1097" fmla="*/ 18992 h 674880"/>
                    <a:gd name="connsiteX1098" fmla="*/ 773578 w 871061"/>
                    <a:gd name="connsiteY1098" fmla="*/ 19659 h 674880"/>
                    <a:gd name="connsiteX1099" fmla="*/ 772825 w 871061"/>
                    <a:gd name="connsiteY1099" fmla="*/ 20740 h 674880"/>
                    <a:gd name="connsiteX1100" fmla="*/ 771842 w 871061"/>
                    <a:gd name="connsiteY1100" fmla="*/ 22149 h 674880"/>
                    <a:gd name="connsiteX1101" fmla="*/ 771125 w 871061"/>
                    <a:gd name="connsiteY1101" fmla="*/ 23157 h 674880"/>
                    <a:gd name="connsiteX1102" fmla="*/ 770870 w 871061"/>
                    <a:gd name="connsiteY1102" fmla="*/ 24359 h 674880"/>
                    <a:gd name="connsiteX1103" fmla="*/ 769972 w 871061"/>
                    <a:gd name="connsiteY1103" fmla="*/ 28597 h 674880"/>
                    <a:gd name="connsiteX1104" fmla="*/ 768223 w 871061"/>
                    <a:gd name="connsiteY1104" fmla="*/ 27892 h 674880"/>
                    <a:gd name="connsiteX1105" fmla="*/ 766183 w 871061"/>
                    <a:gd name="connsiteY1105" fmla="*/ 26775 h 674880"/>
                    <a:gd name="connsiteX1106" fmla="*/ 765042 w 871061"/>
                    <a:gd name="connsiteY1106" fmla="*/ 26156 h 674880"/>
                    <a:gd name="connsiteX1107" fmla="*/ 763754 w 871061"/>
                    <a:gd name="connsiteY1107" fmla="*/ 26047 h 674880"/>
                    <a:gd name="connsiteX1108" fmla="*/ 762200 w 871061"/>
                    <a:gd name="connsiteY1108" fmla="*/ 25925 h 674880"/>
                    <a:gd name="connsiteX1109" fmla="*/ 760573 w 871061"/>
                    <a:gd name="connsiteY1109" fmla="*/ 25792 h 674880"/>
                    <a:gd name="connsiteX1110" fmla="*/ 759091 w 871061"/>
                    <a:gd name="connsiteY1110" fmla="*/ 26496 h 674880"/>
                    <a:gd name="connsiteX1111" fmla="*/ 757768 w 871061"/>
                    <a:gd name="connsiteY1111" fmla="*/ 27127 h 674880"/>
                    <a:gd name="connsiteX1112" fmla="*/ 757416 w 871061"/>
                    <a:gd name="connsiteY1112" fmla="*/ 27297 h 674880"/>
                    <a:gd name="connsiteX1113" fmla="*/ 757088 w 871061"/>
                    <a:gd name="connsiteY1113" fmla="*/ 27516 h 674880"/>
                    <a:gd name="connsiteX1114" fmla="*/ 756760 w 871061"/>
                    <a:gd name="connsiteY1114" fmla="*/ 27735 h 674880"/>
                    <a:gd name="connsiteX1115" fmla="*/ 753882 w 871061"/>
                    <a:gd name="connsiteY1115" fmla="*/ 27868 h 674880"/>
                    <a:gd name="connsiteX1116" fmla="*/ 753141 w 871061"/>
                    <a:gd name="connsiteY1116" fmla="*/ 27905 h 674880"/>
                    <a:gd name="connsiteX1117" fmla="*/ 752437 w 871061"/>
                    <a:gd name="connsiteY1117" fmla="*/ 28111 h 674880"/>
                    <a:gd name="connsiteX1118" fmla="*/ 750069 w 871061"/>
                    <a:gd name="connsiteY1118" fmla="*/ 28803 h 674880"/>
                    <a:gd name="connsiteX1119" fmla="*/ 748649 w 871061"/>
                    <a:gd name="connsiteY1119" fmla="*/ 29216 h 674880"/>
                    <a:gd name="connsiteX1120" fmla="*/ 747580 w 871061"/>
                    <a:gd name="connsiteY1120" fmla="*/ 30248 h 674880"/>
                    <a:gd name="connsiteX1121" fmla="*/ 745577 w 871061"/>
                    <a:gd name="connsiteY1121" fmla="*/ 32167 h 674880"/>
                    <a:gd name="connsiteX1122" fmla="*/ 744496 w 871061"/>
                    <a:gd name="connsiteY1122" fmla="*/ 33199 h 674880"/>
                    <a:gd name="connsiteX1123" fmla="*/ 744022 w 871061"/>
                    <a:gd name="connsiteY1123" fmla="*/ 34607 h 674880"/>
                    <a:gd name="connsiteX1124" fmla="*/ 742358 w 871061"/>
                    <a:gd name="connsiteY1124" fmla="*/ 39525 h 674880"/>
                    <a:gd name="connsiteX1125" fmla="*/ 742152 w 871061"/>
                    <a:gd name="connsiteY1125" fmla="*/ 40108 h 674880"/>
                    <a:gd name="connsiteX1126" fmla="*/ 742079 w 871061"/>
                    <a:gd name="connsiteY1126" fmla="*/ 40727 h 674880"/>
                    <a:gd name="connsiteX1127" fmla="*/ 741654 w 871061"/>
                    <a:gd name="connsiteY1127" fmla="*/ 44176 h 674880"/>
                    <a:gd name="connsiteX1128" fmla="*/ 740015 w 871061"/>
                    <a:gd name="connsiteY1128" fmla="*/ 51183 h 674880"/>
                    <a:gd name="connsiteX1129" fmla="*/ 739638 w 871061"/>
                    <a:gd name="connsiteY1129" fmla="*/ 51037 h 674880"/>
                    <a:gd name="connsiteX1130" fmla="*/ 738691 w 871061"/>
                    <a:gd name="connsiteY1130" fmla="*/ 50976 h 674880"/>
                    <a:gd name="connsiteX1131" fmla="*/ 736032 w 871061"/>
                    <a:gd name="connsiteY1131" fmla="*/ 50806 h 674880"/>
                    <a:gd name="connsiteX1132" fmla="*/ 734769 w 871061"/>
                    <a:gd name="connsiteY1132" fmla="*/ 50721 h 674880"/>
                    <a:gd name="connsiteX1133" fmla="*/ 733567 w 871061"/>
                    <a:gd name="connsiteY1133" fmla="*/ 51158 h 674880"/>
                    <a:gd name="connsiteX1134" fmla="*/ 727726 w 871061"/>
                    <a:gd name="connsiteY1134" fmla="*/ 53283 h 674880"/>
                    <a:gd name="connsiteX1135" fmla="*/ 726876 w 871061"/>
                    <a:gd name="connsiteY1135" fmla="*/ 53599 h 674880"/>
                    <a:gd name="connsiteX1136" fmla="*/ 726136 w 871061"/>
                    <a:gd name="connsiteY1136" fmla="*/ 54158 h 674880"/>
                    <a:gd name="connsiteX1137" fmla="*/ 724011 w 871061"/>
                    <a:gd name="connsiteY1137" fmla="*/ 55760 h 674880"/>
                    <a:gd name="connsiteX1138" fmla="*/ 723658 w 871061"/>
                    <a:gd name="connsiteY1138" fmla="*/ 56028 h 674880"/>
                    <a:gd name="connsiteX1139" fmla="*/ 723343 w 871061"/>
                    <a:gd name="connsiteY1139" fmla="*/ 56343 h 674880"/>
                    <a:gd name="connsiteX1140" fmla="*/ 718983 w 871061"/>
                    <a:gd name="connsiteY1140" fmla="*/ 60800 h 674880"/>
                    <a:gd name="connsiteX1141" fmla="*/ 718656 w 871061"/>
                    <a:gd name="connsiteY1141" fmla="*/ 61140 h 674880"/>
                    <a:gd name="connsiteX1142" fmla="*/ 718388 w 871061"/>
                    <a:gd name="connsiteY1142" fmla="*/ 61528 h 674880"/>
                    <a:gd name="connsiteX1143" fmla="*/ 714126 w 871061"/>
                    <a:gd name="connsiteY1143" fmla="*/ 67503 h 674880"/>
                    <a:gd name="connsiteX1144" fmla="*/ 713725 w 871061"/>
                    <a:gd name="connsiteY1144" fmla="*/ 68061 h 674880"/>
                    <a:gd name="connsiteX1145" fmla="*/ 713470 w 871061"/>
                    <a:gd name="connsiteY1145" fmla="*/ 68705 h 674880"/>
                    <a:gd name="connsiteX1146" fmla="*/ 712208 w 871061"/>
                    <a:gd name="connsiteY1146" fmla="*/ 71777 h 674880"/>
                    <a:gd name="connsiteX1147" fmla="*/ 712026 w 871061"/>
                    <a:gd name="connsiteY1147" fmla="*/ 72214 h 674880"/>
                    <a:gd name="connsiteX1148" fmla="*/ 711904 w 871061"/>
                    <a:gd name="connsiteY1148" fmla="*/ 72675 h 674880"/>
                    <a:gd name="connsiteX1149" fmla="*/ 711163 w 871061"/>
                    <a:gd name="connsiteY1149" fmla="*/ 75735 h 674880"/>
                    <a:gd name="connsiteX1150" fmla="*/ 710969 w 871061"/>
                    <a:gd name="connsiteY1150" fmla="*/ 76537 h 674880"/>
                    <a:gd name="connsiteX1151" fmla="*/ 710993 w 871061"/>
                    <a:gd name="connsiteY1151" fmla="*/ 77375 h 674880"/>
                    <a:gd name="connsiteX1152" fmla="*/ 711758 w 871061"/>
                    <a:gd name="connsiteY1152" fmla="*/ 98103 h 674880"/>
                    <a:gd name="connsiteX1153" fmla="*/ 711613 w 871061"/>
                    <a:gd name="connsiteY1153" fmla="*/ 98917 h 674880"/>
                    <a:gd name="connsiteX1154" fmla="*/ 710921 w 871061"/>
                    <a:gd name="connsiteY1154" fmla="*/ 100106 h 674880"/>
                    <a:gd name="connsiteX1155" fmla="*/ 709390 w 871061"/>
                    <a:gd name="connsiteY1155" fmla="*/ 102183 h 674880"/>
                    <a:gd name="connsiteX1156" fmla="*/ 709135 w 871061"/>
                    <a:gd name="connsiteY1156" fmla="*/ 102523 h 674880"/>
                    <a:gd name="connsiteX1157" fmla="*/ 708929 w 871061"/>
                    <a:gd name="connsiteY1157" fmla="*/ 102887 h 674880"/>
                    <a:gd name="connsiteX1158" fmla="*/ 706015 w 871061"/>
                    <a:gd name="connsiteY1158" fmla="*/ 108266 h 674880"/>
                    <a:gd name="connsiteX1159" fmla="*/ 704898 w 871061"/>
                    <a:gd name="connsiteY1159" fmla="*/ 109614 h 674880"/>
                    <a:gd name="connsiteX1160" fmla="*/ 704084 w 871061"/>
                    <a:gd name="connsiteY1160" fmla="*/ 110391 h 674880"/>
                    <a:gd name="connsiteX1161" fmla="*/ 703671 w 871061"/>
                    <a:gd name="connsiteY1161" fmla="*/ 110817 h 674880"/>
                    <a:gd name="connsiteX1162" fmla="*/ 703343 w 871061"/>
                    <a:gd name="connsiteY1162" fmla="*/ 111302 h 674880"/>
                    <a:gd name="connsiteX1163" fmla="*/ 702761 w 871061"/>
                    <a:gd name="connsiteY1163" fmla="*/ 112164 h 674880"/>
                    <a:gd name="connsiteX1164" fmla="*/ 701036 w 871061"/>
                    <a:gd name="connsiteY1164" fmla="*/ 114727 h 674880"/>
                    <a:gd name="connsiteX1165" fmla="*/ 702092 w 871061"/>
                    <a:gd name="connsiteY1165" fmla="*/ 117617 h 674880"/>
                    <a:gd name="connsiteX1166" fmla="*/ 702675 w 871061"/>
                    <a:gd name="connsiteY1166" fmla="*/ 119219 h 674880"/>
                    <a:gd name="connsiteX1167" fmla="*/ 703343 w 871061"/>
                    <a:gd name="connsiteY1167" fmla="*/ 120725 h 674880"/>
                    <a:gd name="connsiteX1168" fmla="*/ 703452 w 871061"/>
                    <a:gd name="connsiteY1168" fmla="*/ 121782 h 674880"/>
                    <a:gd name="connsiteX1169" fmla="*/ 701607 w 871061"/>
                    <a:gd name="connsiteY1169" fmla="*/ 129942 h 674880"/>
                    <a:gd name="connsiteX1170" fmla="*/ 701388 w 871061"/>
                    <a:gd name="connsiteY1170" fmla="*/ 130852 h 674880"/>
                    <a:gd name="connsiteX1171" fmla="*/ 701473 w 871061"/>
                    <a:gd name="connsiteY1171" fmla="*/ 131787 h 674880"/>
                    <a:gd name="connsiteX1172" fmla="*/ 701874 w 871061"/>
                    <a:gd name="connsiteY1172" fmla="*/ 136730 h 674880"/>
                    <a:gd name="connsiteX1173" fmla="*/ 699737 w 871061"/>
                    <a:gd name="connsiteY1173" fmla="*/ 142655 h 674880"/>
                    <a:gd name="connsiteX1174" fmla="*/ 698862 w 871061"/>
                    <a:gd name="connsiteY1174" fmla="*/ 145982 h 674880"/>
                    <a:gd name="connsiteX1175" fmla="*/ 698729 w 871061"/>
                    <a:gd name="connsiteY1175" fmla="*/ 146493 h 674880"/>
                    <a:gd name="connsiteX1176" fmla="*/ 698692 w 871061"/>
                    <a:gd name="connsiteY1176" fmla="*/ 147015 h 674880"/>
                    <a:gd name="connsiteX1177" fmla="*/ 698620 w 871061"/>
                    <a:gd name="connsiteY1177" fmla="*/ 147780 h 674880"/>
                    <a:gd name="connsiteX1178" fmla="*/ 689962 w 871061"/>
                    <a:gd name="connsiteY1178" fmla="*/ 144404 h 674880"/>
                    <a:gd name="connsiteX1179" fmla="*/ 689610 w 871061"/>
                    <a:gd name="connsiteY1179" fmla="*/ 144270 h 674880"/>
                    <a:gd name="connsiteX1180" fmla="*/ 689245 w 871061"/>
                    <a:gd name="connsiteY1180" fmla="*/ 144173 h 674880"/>
                    <a:gd name="connsiteX1181" fmla="*/ 682530 w 871061"/>
                    <a:gd name="connsiteY1181" fmla="*/ 142485 h 674880"/>
                    <a:gd name="connsiteX1182" fmla="*/ 681401 w 871061"/>
                    <a:gd name="connsiteY1182" fmla="*/ 142206 h 674880"/>
                    <a:gd name="connsiteX1183" fmla="*/ 680247 w 871061"/>
                    <a:gd name="connsiteY1183" fmla="*/ 142364 h 674880"/>
                    <a:gd name="connsiteX1184" fmla="*/ 678814 w 871061"/>
                    <a:gd name="connsiteY1184" fmla="*/ 142558 h 674880"/>
                    <a:gd name="connsiteX1185" fmla="*/ 674285 w 871061"/>
                    <a:gd name="connsiteY1185" fmla="*/ 143153 h 674880"/>
                    <a:gd name="connsiteX1186" fmla="*/ 673605 w 871061"/>
                    <a:gd name="connsiteY1186" fmla="*/ 147670 h 674880"/>
                    <a:gd name="connsiteX1187" fmla="*/ 673350 w 871061"/>
                    <a:gd name="connsiteY1187" fmla="*/ 149346 h 674880"/>
                    <a:gd name="connsiteX1188" fmla="*/ 671286 w 871061"/>
                    <a:gd name="connsiteY1188" fmla="*/ 152321 h 674880"/>
                    <a:gd name="connsiteX1189" fmla="*/ 669635 w 871061"/>
                    <a:gd name="connsiteY1189" fmla="*/ 154604 h 674880"/>
                    <a:gd name="connsiteX1190" fmla="*/ 668724 w 871061"/>
                    <a:gd name="connsiteY1190" fmla="*/ 155867 h 674880"/>
                    <a:gd name="connsiteX1191" fmla="*/ 668639 w 871061"/>
                    <a:gd name="connsiteY1191" fmla="*/ 156571 h 674880"/>
                    <a:gd name="connsiteX1192" fmla="*/ 662834 w 871061"/>
                    <a:gd name="connsiteY1192" fmla="*/ 154774 h 674880"/>
                    <a:gd name="connsiteX1193" fmla="*/ 657783 w 871061"/>
                    <a:gd name="connsiteY1193" fmla="*/ 150815 h 674880"/>
                    <a:gd name="connsiteX1194" fmla="*/ 657431 w 871061"/>
                    <a:gd name="connsiteY1194" fmla="*/ 150536 h 674880"/>
                    <a:gd name="connsiteX1195" fmla="*/ 657042 w 871061"/>
                    <a:gd name="connsiteY1195" fmla="*/ 150318 h 674880"/>
                    <a:gd name="connsiteX1196" fmla="*/ 654516 w 871061"/>
                    <a:gd name="connsiteY1196" fmla="*/ 148885 h 674880"/>
                    <a:gd name="connsiteX1197" fmla="*/ 653873 w 871061"/>
                    <a:gd name="connsiteY1197" fmla="*/ 148520 h 674880"/>
                    <a:gd name="connsiteX1198" fmla="*/ 653169 w 871061"/>
                    <a:gd name="connsiteY1198" fmla="*/ 148314 h 674880"/>
                    <a:gd name="connsiteX1199" fmla="*/ 650752 w 871061"/>
                    <a:gd name="connsiteY1199" fmla="*/ 147622 h 674880"/>
                    <a:gd name="connsiteX1200" fmla="*/ 649514 w 871061"/>
                    <a:gd name="connsiteY1200" fmla="*/ 147270 h 674880"/>
                    <a:gd name="connsiteX1201" fmla="*/ 648238 w 871061"/>
                    <a:gd name="connsiteY1201" fmla="*/ 147452 h 674880"/>
                    <a:gd name="connsiteX1202" fmla="*/ 646356 w 871061"/>
                    <a:gd name="connsiteY1202" fmla="*/ 147719 h 674880"/>
                    <a:gd name="connsiteX1203" fmla="*/ 644608 w 871061"/>
                    <a:gd name="connsiteY1203" fmla="*/ 147974 h 674880"/>
                    <a:gd name="connsiteX1204" fmla="*/ 643272 w 871061"/>
                    <a:gd name="connsiteY1204" fmla="*/ 149115 h 674880"/>
                    <a:gd name="connsiteX1205" fmla="*/ 641912 w 871061"/>
                    <a:gd name="connsiteY1205" fmla="*/ 150281 h 674880"/>
                    <a:gd name="connsiteX1206" fmla="*/ 640868 w 871061"/>
                    <a:gd name="connsiteY1206" fmla="*/ 151168 h 674880"/>
                    <a:gd name="connsiteX1207" fmla="*/ 640309 w 871061"/>
                    <a:gd name="connsiteY1207" fmla="*/ 152418 h 674880"/>
                    <a:gd name="connsiteX1208" fmla="*/ 639326 w 871061"/>
                    <a:gd name="connsiteY1208" fmla="*/ 154628 h 674880"/>
                    <a:gd name="connsiteX1209" fmla="*/ 637711 w 871061"/>
                    <a:gd name="connsiteY1209" fmla="*/ 155442 h 674880"/>
                    <a:gd name="connsiteX1210" fmla="*/ 636824 w 871061"/>
                    <a:gd name="connsiteY1210" fmla="*/ 155442 h 674880"/>
                    <a:gd name="connsiteX1211" fmla="*/ 636071 w 871061"/>
                    <a:gd name="connsiteY1211" fmla="*/ 155442 h 674880"/>
                    <a:gd name="connsiteX1212" fmla="*/ 635343 w 871061"/>
                    <a:gd name="connsiteY1212" fmla="*/ 155624 h 674880"/>
                    <a:gd name="connsiteX1213" fmla="*/ 631821 w 871061"/>
                    <a:gd name="connsiteY1213" fmla="*/ 156498 h 674880"/>
                    <a:gd name="connsiteX1214" fmla="*/ 630789 w 871061"/>
                    <a:gd name="connsiteY1214" fmla="*/ 156486 h 674880"/>
                    <a:gd name="connsiteX1215" fmla="*/ 628227 w 871061"/>
                    <a:gd name="connsiteY1215" fmla="*/ 155126 h 674880"/>
                    <a:gd name="connsiteX1216" fmla="*/ 623698 w 871061"/>
                    <a:gd name="connsiteY1216" fmla="*/ 153220 h 674880"/>
                    <a:gd name="connsiteX1217" fmla="*/ 622605 w 871061"/>
                    <a:gd name="connsiteY1217" fmla="*/ 152770 h 674880"/>
                    <a:gd name="connsiteX1218" fmla="*/ 621415 w 871061"/>
                    <a:gd name="connsiteY1218" fmla="*/ 152758 h 674880"/>
                    <a:gd name="connsiteX1219" fmla="*/ 617335 w 871061"/>
                    <a:gd name="connsiteY1219" fmla="*/ 152722 h 674880"/>
                    <a:gd name="connsiteX1220" fmla="*/ 614821 w 871061"/>
                    <a:gd name="connsiteY1220" fmla="*/ 152698 h 674880"/>
                    <a:gd name="connsiteX1221" fmla="*/ 613024 w 871061"/>
                    <a:gd name="connsiteY1221" fmla="*/ 154470 h 674880"/>
                    <a:gd name="connsiteX1222" fmla="*/ 603759 w 871061"/>
                    <a:gd name="connsiteY1222" fmla="*/ 163614 h 674880"/>
                    <a:gd name="connsiteX1223" fmla="*/ 598076 w 871061"/>
                    <a:gd name="connsiteY1223" fmla="*/ 168180 h 674880"/>
                    <a:gd name="connsiteX1224" fmla="*/ 597566 w 871061"/>
                    <a:gd name="connsiteY1224" fmla="*/ 168593 h 674880"/>
                    <a:gd name="connsiteX1225" fmla="*/ 597153 w 871061"/>
                    <a:gd name="connsiteY1225" fmla="*/ 169103 h 674880"/>
                    <a:gd name="connsiteX1226" fmla="*/ 595429 w 871061"/>
                    <a:gd name="connsiteY1226" fmla="*/ 171252 h 674880"/>
                    <a:gd name="connsiteX1227" fmla="*/ 594615 w 871061"/>
                    <a:gd name="connsiteY1227" fmla="*/ 172272 h 674880"/>
                    <a:gd name="connsiteX1228" fmla="*/ 594300 w 871061"/>
                    <a:gd name="connsiteY1228" fmla="*/ 173547 h 674880"/>
                    <a:gd name="connsiteX1229" fmla="*/ 592551 w 871061"/>
                    <a:gd name="connsiteY1229" fmla="*/ 180432 h 674880"/>
                    <a:gd name="connsiteX1230" fmla="*/ 592332 w 871061"/>
                    <a:gd name="connsiteY1230" fmla="*/ 181246 h 674880"/>
                    <a:gd name="connsiteX1231" fmla="*/ 592357 w 871061"/>
                    <a:gd name="connsiteY1231" fmla="*/ 182083 h 674880"/>
                    <a:gd name="connsiteX1232" fmla="*/ 592454 w 871061"/>
                    <a:gd name="connsiteY1232" fmla="*/ 185483 h 674880"/>
                    <a:gd name="connsiteX1233" fmla="*/ 590839 w 871061"/>
                    <a:gd name="connsiteY1233" fmla="*/ 186200 h 674880"/>
                    <a:gd name="connsiteX1234" fmla="*/ 589843 w 871061"/>
                    <a:gd name="connsiteY1234" fmla="*/ 187936 h 674880"/>
                    <a:gd name="connsiteX1235" fmla="*/ 588920 w 871061"/>
                    <a:gd name="connsiteY1235" fmla="*/ 189564 h 674880"/>
                    <a:gd name="connsiteX1236" fmla="*/ 588338 w 871061"/>
                    <a:gd name="connsiteY1236" fmla="*/ 190584 h 674880"/>
                    <a:gd name="connsiteX1237" fmla="*/ 588180 w 871061"/>
                    <a:gd name="connsiteY1237" fmla="*/ 191749 h 674880"/>
                    <a:gd name="connsiteX1238" fmla="*/ 587949 w 871061"/>
                    <a:gd name="connsiteY1238" fmla="*/ 193401 h 674880"/>
                    <a:gd name="connsiteX1239" fmla="*/ 587803 w 871061"/>
                    <a:gd name="connsiteY1239" fmla="*/ 194409 h 674880"/>
                    <a:gd name="connsiteX1240" fmla="*/ 587852 w 871061"/>
                    <a:gd name="connsiteY1240" fmla="*/ 194664 h 674880"/>
                    <a:gd name="connsiteX1241" fmla="*/ 577688 w 871061"/>
                    <a:gd name="connsiteY1241" fmla="*/ 187001 h 674880"/>
                    <a:gd name="connsiteX1242" fmla="*/ 577312 w 871061"/>
                    <a:gd name="connsiteY1242" fmla="*/ 186722 h 674880"/>
                    <a:gd name="connsiteX1243" fmla="*/ 576899 w 871061"/>
                    <a:gd name="connsiteY1243" fmla="*/ 186491 h 674880"/>
                    <a:gd name="connsiteX1244" fmla="*/ 566116 w 871061"/>
                    <a:gd name="connsiteY1244" fmla="*/ 180748 h 674880"/>
                    <a:gd name="connsiteX1245" fmla="*/ 567913 w 871061"/>
                    <a:gd name="connsiteY1245" fmla="*/ 178756 h 674880"/>
                    <a:gd name="connsiteX1246" fmla="*/ 568496 w 871061"/>
                    <a:gd name="connsiteY1246" fmla="*/ 178101 h 674880"/>
                    <a:gd name="connsiteX1247" fmla="*/ 568872 w 871061"/>
                    <a:gd name="connsiteY1247" fmla="*/ 177311 h 674880"/>
                    <a:gd name="connsiteX1248" fmla="*/ 569783 w 871061"/>
                    <a:gd name="connsiteY1248" fmla="*/ 175417 h 674880"/>
                    <a:gd name="connsiteX1249" fmla="*/ 570232 w 871061"/>
                    <a:gd name="connsiteY1249" fmla="*/ 174494 h 674880"/>
                    <a:gd name="connsiteX1250" fmla="*/ 570354 w 871061"/>
                    <a:gd name="connsiteY1250" fmla="*/ 173486 h 674880"/>
                    <a:gd name="connsiteX1251" fmla="*/ 570572 w 871061"/>
                    <a:gd name="connsiteY1251" fmla="*/ 171653 h 674880"/>
                    <a:gd name="connsiteX1252" fmla="*/ 570658 w 871061"/>
                    <a:gd name="connsiteY1252" fmla="*/ 170936 h 674880"/>
                    <a:gd name="connsiteX1253" fmla="*/ 570560 w 871061"/>
                    <a:gd name="connsiteY1253" fmla="*/ 170220 h 674880"/>
                    <a:gd name="connsiteX1254" fmla="*/ 569783 w 871061"/>
                    <a:gd name="connsiteY1254" fmla="*/ 163784 h 674880"/>
                    <a:gd name="connsiteX1255" fmla="*/ 569710 w 871061"/>
                    <a:gd name="connsiteY1255" fmla="*/ 163141 h 674880"/>
                    <a:gd name="connsiteX1256" fmla="*/ 569492 w 871061"/>
                    <a:gd name="connsiteY1256" fmla="*/ 162521 h 674880"/>
                    <a:gd name="connsiteX1257" fmla="*/ 568799 w 871061"/>
                    <a:gd name="connsiteY1257" fmla="*/ 160542 h 674880"/>
                    <a:gd name="connsiteX1258" fmla="*/ 568545 w 871061"/>
                    <a:gd name="connsiteY1258" fmla="*/ 159850 h 674880"/>
                    <a:gd name="connsiteX1259" fmla="*/ 568156 w 871061"/>
                    <a:gd name="connsiteY1259" fmla="*/ 159243 h 674880"/>
                    <a:gd name="connsiteX1260" fmla="*/ 567002 w 871061"/>
                    <a:gd name="connsiteY1260" fmla="*/ 157470 h 674880"/>
                    <a:gd name="connsiteX1261" fmla="*/ 565387 w 871061"/>
                    <a:gd name="connsiteY1261" fmla="*/ 154980 h 674880"/>
                    <a:gd name="connsiteX1262" fmla="*/ 562437 w 871061"/>
                    <a:gd name="connsiteY1262" fmla="*/ 154725 h 674880"/>
                    <a:gd name="connsiteX1263" fmla="*/ 558004 w 871061"/>
                    <a:gd name="connsiteY1263" fmla="*/ 154337 h 674880"/>
                    <a:gd name="connsiteX1264" fmla="*/ 551508 w 871061"/>
                    <a:gd name="connsiteY1264" fmla="*/ 151835 h 674880"/>
                    <a:gd name="connsiteX1265" fmla="*/ 549735 w 871061"/>
                    <a:gd name="connsiteY1265" fmla="*/ 151143 h 674880"/>
                    <a:gd name="connsiteX1266" fmla="*/ 547877 w 871061"/>
                    <a:gd name="connsiteY1266" fmla="*/ 151605 h 674880"/>
                    <a:gd name="connsiteX1267" fmla="*/ 546044 w 871061"/>
                    <a:gd name="connsiteY1267" fmla="*/ 152066 h 674880"/>
                    <a:gd name="connsiteX1268" fmla="*/ 545170 w 871061"/>
                    <a:gd name="connsiteY1268" fmla="*/ 152285 h 674880"/>
                    <a:gd name="connsiteX1269" fmla="*/ 544404 w 871061"/>
                    <a:gd name="connsiteY1269" fmla="*/ 152746 h 674880"/>
                    <a:gd name="connsiteX1270" fmla="*/ 541514 w 871061"/>
                    <a:gd name="connsiteY1270" fmla="*/ 154470 h 674880"/>
                    <a:gd name="connsiteX1271" fmla="*/ 540652 w 871061"/>
                    <a:gd name="connsiteY1271" fmla="*/ 154507 h 674880"/>
                    <a:gd name="connsiteX1272" fmla="*/ 539122 w 871061"/>
                    <a:gd name="connsiteY1272" fmla="*/ 154191 h 674880"/>
                    <a:gd name="connsiteX1273" fmla="*/ 537228 w 871061"/>
                    <a:gd name="connsiteY1273" fmla="*/ 152698 h 674880"/>
                    <a:gd name="connsiteX1274" fmla="*/ 536123 w 871061"/>
                    <a:gd name="connsiteY1274" fmla="*/ 151495 h 674880"/>
                    <a:gd name="connsiteX1275" fmla="*/ 535394 w 871061"/>
                    <a:gd name="connsiteY1275" fmla="*/ 149965 h 674880"/>
                    <a:gd name="connsiteX1276" fmla="*/ 533658 w 871061"/>
                    <a:gd name="connsiteY1276" fmla="*/ 136074 h 674880"/>
                    <a:gd name="connsiteX1277" fmla="*/ 533524 w 871061"/>
                    <a:gd name="connsiteY1277" fmla="*/ 135030 h 674880"/>
                    <a:gd name="connsiteX1278" fmla="*/ 533051 w 871061"/>
                    <a:gd name="connsiteY1278" fmla="*/ 134082 h 674880"/>
                    <a:gd name="connsiteX1279" fmla="*/ 531169 w 871061"/>
                    <a:gd name="connsiteY1279" fmla="*/ 130342 h 674880"/>
                    <a:gd name="connsiteX1280" fmla="*/ 530476 w 871061"/>
                    <a:gd name="connsiteY1280" fmla="*/ 128958 h 674880"/>
                    <a:gd name="connsiteX1281" fmla="*/ 529213 w 871061"/>
                    <a:gd name="connsiteY1281" fmla="*/ 128084 h 674880"/>
                    <a:gd name="connsiteX1282" fmla="*/ 526166 w 871061"/>
                    <a:gd name="connsiteY1282" fmla="*/ 125971 h 674880"/>
                    <a:gd name="connsiteX1283" fmla="*/ 525498 w 871061"/>
                    <a:gd name="connsiteY1283" fmla="*/ 125510 h 674880"/>
                    <a:gd name="connsiteX1284" fmla="*/ 524745 w 871061"/>
                    <a:gd name="connsiteY1284" fmla="*/ 125242 h 674880"/>
                    <a:gd name="connsiteX1285" fmla="*/ 522244 w 871061"/>
                    <a:gd name="connsiteY1285" fmla="*/ 124344 h 674880"/>
                    <a:gd name="connsiteX1286" fmla="*/ 522851 w 871061"/>
                    <a:gd name="connsiteY1286" fmla="*/ 122462 h 674880"/>
                    <a:gd name="connsiteX1287" fmla="*/ 521394 w 871061"/>
                    <a:gd name="connsiteY1287" fmla="*/ 120106 h 674880"/>
                    <a:gd name="connsiteX1288" fmla="*/ 520131 w 871061"/>
                    <a:gd name="connsiteY1288" fmla="*/ 118042 h 674880"/>
                    <a:gd name="connsiteX1289" fmla="*/ 517605 w 871061"/>
                    <a:gd name="connsiteY1289" fmla="*/ 113937 h 674880"/>
                    <a:gd name="connsiteX1290" fmla="*/ 513039 w 871061"/>
                    <a:gd name="connsiteY1290" fmla="*/ 115455 h 674880"/>
                    <a:gd name="connsiteX1291" fmla="*/ 508910 w 871061"/>
                    <a:gd name="connsiteY1291" fmla="*/ 116827 h 674880"/>
                    <a:gd name="connsiteX1292" fmla="*/ 507708 w 871061"/>
                    <a:gd name="connsiteY1292" fmla="*/ 117228 h 674880"/>
                    <a:gd name="connsiteX1293" fmla="*/ 506761 w 871061"/>
                    <a:gd name="connsiteY1293" fmla="*/ 118078 h 674880"/>
                    <a:gd name="connsiteX1294" fmla="*/ 504017 w 871061"/>
                    <a:gd name="connsiteY1294" fmla="*/ 120543 h 674880"/>
                    <a:gd name="connsiteX1295" fmla="*/ 497702 w 871061"/>
                    <a:gd name="connsiteY1295" fmla="*/ 124623 h 674880"/>
                    <a:gd name="connsiteX1296" fmla="*/ 493477 w 871061"/>
                    <a:gd name="connsiteY1296" fmla="*/ 125072 h 674880"/>
                    <a:gd name="connsiteX1297" fmla="*/ 486992 w 871061"/>
                    <a:gd name="connsiteY1297" fmla="*/ 117046 h 674880"/>
                    <a:gd name="connsiteX1298" fmla="*/ 486592 w 871061"/>
                    <a:gd name="connsiteY1298" fmla="*/ 116548 h 674880"/>
                    <a:gd name="connsiteX1299" fmla="*/ 486106 w 871061"/>
                    <a:gd name="connsiteY1299" fmla="*/ 116147 h 674880"/>
                    <a:gd name="connsiteX1300" fmla="*/ 482949 w 871061"/>
                    <a:gd name="connsiteY1300" fmla="*/ 113585 h 674880"/>
                    <a:gd name="connsiteX1301" fmla="*/ 482196 w 871061"/>
                    <a:gd name="connsiteY1301" fmla="*/ 112966 h 674880"/>
                    <a:gd name="connsiteX1302" fmla="*/ 481285 w 871061"/>
                    <a:gd name="connsiteY1302" fmla="*/ 112626 h 674880"/>
                    <a:gd name="connsiteX1303" fmla="*/ 477898 w 871061"/>
                    <a:gd name="connsiteY1303" fmla="*/ 111339 h 674880"/>
                    <a:gd name="connsiteX1304" fmla="*/ 476817 w 871061"/>
                    <a:gd name="connsiteY1304" fmla="*/ 110926 h 674880"/>
                    <a:gd name="connsiteX1305" fmla="*/ 475675 w 871061"/>
                    <a:gd name="connsiteY1305" fmla="*/ 110938 h 674880"/>
                    <a:gd name="connsiteX1306" fmla="*/ 459756 w 871061"/>
                    <a:gd name="connsiteY1306" fmla="*/ 111108 h 674880"/>
                    <a:gd name="connsiteX1307" fmla="*/ 458991 w 871061"/>
                    <a:gd name="connsiteY1307" fmla="*/ 111108 h 674880"/>
                    <a:gd name="connsiteX1308" fmla="*/ 458250 w 871061"/>
                    <a:gd name="connsiteY1308" fmla="*/ 111314 h 674880"/>
                    <a:gd name="connsiteX1309" fmla="*/ 455566 w 871061"/>
                    <a:gd name="connsiteY1309" fmla="*/ 112031 h 674880"/>
                    <a:gd name="connsiteX1310" fmla="*/ 453951 w 871061"/>
                    <a:gd name="connsiteY1310" fmla="*/ 112456 h 674880"/>
                    <a:gd name="connsiteX1311" fmla="*/ 452798 w 871061"/>
                    <a:gd name="connsiteY1311" fmla="*/ 113646 h 674880"/>
                    <a:gd name="connsiteX1312" fmla="*/ 450321 w 871061"/>
                    <a:gd name="connsiteY1312" fmla="*/ 116172 h 674880"/>
                    <a:gd name="connsiteX1313" fmla="*/ 449896 w 871061"/>
                    <a:gd name="connsiteY1313" fmla="*/ 116609 h 674880"/>
                    <a:gd name="connsiteX1314" fmla="*/ 449568 w 871061"/>
                    <a:gd name="connsiteY1314" fmla="*/ 117119 h 674880"/>
                    <a:gd name="connsiteX1315" fmla="*/ 447613 w 871061"/>
                    <a:gd name="connsiteY1315" fmla="*/ 120130 h 674880"/>
                    <a:gd name="connsiteX1316" fmla="*/ 447395 w 871061"/>
                    <a:gd name="connsiteY1316" fmla="*/ 120446 h 674880"/>
                    <a:gd name="connsiteX1317" fmla="*/ 447224 w 871061"/>
                    <a:gd name="connsiteY1317" fmla="*/ 120786 h 674880"/>
                    <a:gd name="connsiteX1318" fmla="*/ 445864 w 871061"/>
                    <a:gd name="connsiteY1318" fmla="*/ 123603 h 674880"/>
                    <a:gd name="connsiteX1319" fmla="*/ 445634 w 871061"/>
                    <a:gd name="connsiteY1319" fmla="*/ 124065 h 674880"/>
                    <a:gd name="connsiteX1320" fmla="*/ 445488 w 871061"/>
                    <a:gd name="connsiteY1320" fmla="*/ 124562 h 674880"/>
                    <a:gd name="connsiteX1321" fmla="*/ 444735 w 871061"/>
                    <a:gd name="connsiteY1321" fmla="*/ 127149 h 674880"/>
                    <a:gd name="connsiteX1322" fmla="*/ 444577 w 871061"/>
                    <a:gd name="connsiteY1322" fmla="*/ 127683 h 674880"/>
                    <a:gd name="connsiteX1323" fmla="*/ 444517 w 871061"/>
                    <a:gd name="connsiteY1323" fmla="*/ 128230 h 674880"/>
                    <a:gd name="connsiteX1324" fmla="*/ 444006 w 871061"/>
                    <a:gd name="connsiteY1324" fmla="*/ 133390 h 674880"/>
                    <a:gd name="connsiteX1325" fmla="*/ 443751 w 871061"/>
                    <a:gd name="connsiteY1325" fmla="*/ 134155 h 674880"/>
                    <a:gd name="connsiteX1326" fmla="*/ 441117 w 871061"/>
                    <a:gd name="connsiteY1326" fmla="*/ 134896 h 674880"/>
                    <a:gd name="connsiteX1327" fmla="*/ 440716 w 871061"/>
                    <a:gd name="connsiteY1327" fmla="*/ 135005 h 674880"/>
                    <a:gd name="connsiteX1328" fmla="*/ 440327 w 871061"/>
                    <a:gd name="connsiteY1328" fmla="*/ 135175 h 674880"/>
                    <a:gd name="connsiteX1329" fmla="*/ 438834 w 871061"/>
                    <a:gd name="connsiteY1329" fmla="*/ 135831 h 674880"/>
                    <a:gd name="connsiteX1330" fmla="*/ 435191 w 871061"/>
                    <a:gd name="connsiteY1330" fmla="*/ 137422 h 674880"/>
                    <a:gd name="connsiteX1331" fmla="*/ 435191 w 871061"/>
                    <a:gd name="connsiteY1331" fmla="*/ 141393 h 674880"/>
                    <a:gd name="connsiteX1332" fmla="*/ 435191 w 871061"/>
                    <a:gd name="connsiteY1332" fmla="*/ 142425 h 674880"/>
                    <a:gd name="connsiteX1333" fmla="*/ 435191 w 871061"/>
                    <a:gd name="connsiteY1333" fmla="*/ 143773 h 674880"/>
                    <a:gd name="connsiteX1334" fmla="*/ 435762 w 871061"/>
                    <a:gd name="connsiteY1334" fmla="*/ 144999 h 674880"/>
                    <a:gd name="connsiteX1335" fmla="*/ 436502 w 871061"/>
                    <a:gd name="connsiteY1335" fmla="*/ 146577 h 674880"/>
                    <a:gd name="connsiteX1336" fmla="*/ 436684 w 871061"/>
                    <a:gd name="connsiteY1336" fmla="*/ 146966 h 674880"/>
                    <a:gd name="connsiteX1337" fmla="*/ 436927 w 871061"/>
                    <a:gd name="connsiteY1337" fmla="*/ 147330 h 674880"/>
                    <a:gd name="connsiteX1338" fmla="*/ 437644 w 871061"/>
                    <a:gd name="connsiteY1338" fmla="*/ 148411 h 674880"/>
                    <a:gd name="connsiteX1339" fmla="*/ 437826 w 871061"/>
                    <a:gd name="connsiteY1339" fmla="*/ 148982 h 674880"/>
                    <a:gd name="connsiteX1340" fmla="*/ 438020 w 871061"/>
                    <a:gd name="connsiteY1340" fmla="*/ 150354 h 674880"/>
                    <a:gd name="connsiteX1341" fmla="*/ 438020 w 871061"/>
                    <a:gd name="connsiteY1341" fmla="*/ 154956 h 674880"/>
                    <a:gd name="connsiteX1342" fmla="*/ 436745 w 871061"/>
                    <a:gd name="connsiteY1342" fmla="*/ 154968 h 674880"/>
                    <a:gd name="connsiteX1343" fmla="*/ 434110 w 871061"/>
                    <a:gd name="connsiteY1343" fmla="*/ 154410 h 674880"/>
                    <a:gd name="connsiteX1344" fmla="*/ 431863 w 871061"/>
                    <a:gd name="connsiteY1344" fmla="*/ 153705 h 674880"/>
                    <a:gd name="connsiteX1345" fmla="*/ 431111 w 871061"/>
                    <a:gd name="connsiteY1345" fmla="*/ 153475 h 674880"/>
                    <a:gd name="connsiteX1346" fmla="*/ 430334 w 871061"/>
                    <a:gd name="connsiteY1346" fmla="*/ 153450 h 674880"/>
                    <a:gd name="connsiteX1347" fmla="*/ 428585 w 871061"/>
                    <a:gd name="connsiteY1347" fmla="*/ 153390 h 674880"/>
                    <a:gd name="connsiteX1348" fmla="*/ 424092 w 871061"/>
                    <a:gd name="connsiteY1348" fmla="*/ 153220 h 674880"/>
                    <a:gd name="connsiteX1349" fmla="*/ 422623 w 871061"/>
                    <a:gd name="connsiteY1349" fmla="*/ 157482 h 674880"/>
                    <a:gd name="connsiteX1350" fmla="*/ 422210 w 871061"/>
                    <a:gd name="connsiteY1350" fmla="*/ 158708 h 674880"/>
                    <a:gd name="connsiteX1351" fmla="*/ 420983 w 871061"/>
                    <a:gd name="connsiteY1351" fmla="*/ 159741 h 674880"/>
                    <a:gd name="connsiteX1352" fmla="*/ 420206 w 871061"/>
                    <a:gd name="connsiteY1352" fmla="*/ 160408 h 674880"/>
                    <a:gd name="connsiteX1353" fmla="*/ 419684 w 871061"/>
                    <a:gd name="connsiteY1353" fmla="*/ 161295 h 674880"/>
                    <a:gd name="connsiteX1354" fmla="*/ 419514 w 871061"/>
                    <a:gd name="connsiteY1354" fmla="*/ 161574 h 674880"/>
                    <a:gd name="connsiteX1355" fmla="*/ 416430 w 871061"/>
                    <a:gd name="connsiteY1355" fmla="*/ 164415 h 674880"/>
                    <a:gd name="connsiteX1356" fmla="*/ 415604 w 871061"/>
                    <a:gd name="connsiteY1356" fmla="*/ 163978 h 674880"/>
                    <a:gd name="connsiteX1357" fmla="*/ 414535 w 871061"/>
                    <a:gd name="connsiteY1357" fmla="*/ 163432 h 674880"/>
                    <a:gd name="connsiteX1358" fmla="*/ 413346 w 871061"/>
                    <a:gd name="connsiteY1358" fmla="*/ 163323 h 674880"/>
                    <a:gd name="connsiteX1359" fmla="*/ 410893 w 871061"/>
                    <a:gd name="connsiteY1359" fmla="*/ 163104 h 674880"/>
                    <a:gd name="connsiteX1360" fmla="*/ 410140 w 871061"/>
                    <a:gd name="connsiteY1360" fmla="*/ 163043 h 674880"/>
                    <a:gd name="connsiteX1361" fmla="*/ 409387 w 871061"/>
                    <a:gd name="connsiteY1361" fmla="*/ 163165 h 674880"/>
                    <a:gd name="connsiteX1362" fmla="*/ 406036 w 871061"/>
                    <a:gd name="connsiteY1362" fmla="*/ 163699 h 674880"/>
                    <a:gd name="connsiteX1363" fmla="*/ 402393 w 871061"/>
                    <a:gd name="connsiteY1363" fmla="*/ 163869 h 674880"/>
                    <a:gd name="connsiteX1364" fmla="*/ 393868 w 871061"/>
                    <a:gd name="connsiteY1364" fmla="*/ 163068 h 674880"/>
                    <a:gd name="connsiteX1365" fmla="*/ 391840 w 871061"/>
                    <a:gd name="connsiteY1365" fmla="*/ 162885 h 674880"/>
                    <a:gd name="connsiteX1366" fmla="*/ 390104 w 871061"/>
                    <a:gd name="connsiteY1366" fmla="*/ 163954 h 674880"/>
                    <a:gd name="connsiteX1367" fmla="*/ 388100 w 871061"/>
                    <a:gd name="connsiteY1367" fmla="*/ 165193 h 674880"/>
                    <a:gd name="connsiteX1368" fmla="*/ 374561 w 871061"/>
                    <a:gd name="connsiteY1368" fmla="*/ 166735 h 674880"/>
                    <a:gd name="connsiteX1369" fmla="*/ 374100 w 871061"/>
                    <a:gd name="connsiteY1369" fmla="*/ 166783 h 674880"/>
                    <a:gd name="connsiteX1370" fmla="*/ 373638 w 871061"/>
                    <a:gd name="connsiteY1370" fmla="*/ 166917 h 674880"/>
                    <a:gd name="connsiteX1371" fmla="*/ 370894 w 871061"/>
                    <a:gd name="connsiteY1371" fmla="*/ 167670 h 674880"/>
                    <a:gd name="connsiteX1372" fmla="*/ 368113 w 871061"/>
                    <a:gd name="connsiteY1372" fmla="*/ 168423 h 674880"/>
                    <a:gd name="connsiteX1373" fmla="*/ 366948 w 871061"/>
                    <a:gd name="connsiteY1373" fmla="*/ 171058 h 674880"/>
                    <a:gd name="connsiteX1374" fmla="*/ 366377 w 871061"/>
                    <a:gd name="connsiteY1374" fmla="*/ 172345 h 674880"/>
                    <a:gd name="connsiteX1375" fmla="*/ 366061 w 871061"/>
                    <a:gd name="connsiteY1375" fmla="*/ 173073 h 674880"/>
                    <a:gd name="connsiteX1376" fmla="*/ 366049 w 871061"/>
                    <a:gd name="connsiteY1376" fmla="*/ 173146 h 674880"/>
                    <a:gd name="connsiteX1377" fmla="*/ 349862 w 871061"/>
                    <a:gd name="connsiteY1377" fmla="*/ 179036 h 674880"/>
                    <a:gd name="connsiteX1378" fmla="*/ 348648 w 871061"/>
                    <a:gd name="connsiteY1378" fmla="*/ 179473 h 674880"/>
                    <a:gd name="connsiteX1379" fmla="*/ 347725 w 871061"/>
                    <a:gd name="connsiteY1379" fmla="*/ 180371 h 674880"/>
                    <a:gd name="connsiteX1380" fmla="*/ 345722 w 871061"/>
                    <a:gd name="connsiteY1380" fmla="*/ 182302 h 674880"/>
                    <a:gd name="connsiteX1381" fmla="*/ 344435 w 871061"/>
                    <a:gd name="connsiteY1381" fmla="*/ 183553 h 674880"/>
                    <a:gd name="connsiteX1382" fmla="*/ 344022 w 871061"/>
                    <a:gd name="connsiteY1382" fmla="*/ 185301 h 674880"/>
                    <a:gd name="connsiteX1383" fmla="*/ 343609 w 871061"/>
                    <a:gd name="connsiteY1383" fmla="*/ 187074 h 674880"/>
                    <a:gd name="connsiteX1384" fmla="*/ 343305 w 871061"/>
                    <a:gd name="connsiteY1384" fmla="*/ 188422 h 674880"/>
                    <a:gd name="connsiteX1385" fmla="*/ 343451 w 871061"/>
                    <a:gd name="connsiteY1385" fmla="*/ 189066 h 674880"/>
                    <a:gd name="connsiteX1386" fmla="*/ 341933 w 871061"/>
                    <a:gd name="connsiteY1386" fmla="*/ 190171 h 674880"/>
                    <a:gd name="connsiteX1387" fmla="*/ 341581 w 871061"/>
                    <a:gd name="connsiteY1387" fmla="*/ 188289 h 674880"/>
                    <a:gd name="connsiteX1388" fmla="*/ 338448 w 871061"/>
                    <a:gd name="connsiteY1388" fmla="*/ 187062 h 674880"/>
                    <a:gd name="connsiteX1389" fmla="*/ 337234 w 871061"/>
                    <a:gd name="connsiteY1389" fmla="*/ 186589 h 674880"/>
                    <a:gd name="connsiteX1390" fmla="*/ 335133 w 871061"/>
                    <a:gd name="connsiteY1390" fmla="*/ 185763 h 674880"/>
                    <a:gd name="connsiteX1391" fmla="*/ 333008 w 871061"/>
                    <a:gd name="connsiteY1391" fmla="*/ 186516 h 674880"/>
                    <a:gd name="connsiteX1392" fmla="*/ 320768 w 871061"/>
                    <a:gd name="connsiteY1392" fmla="*/ 190802 h 674880"/>
                    <a:gd name="connsiteX1393" fmla="*/ 320015 w 871061"/>
                    <a:gd name="connsiteY1393" fmla="*/ 191057 h 674880"/>
                    <a:gd name="connsiteX1394" fmla="*/ 319347 w 871061"/>
                    <a:gd name="connsiteY1394" fmla="*/ 191518 h 674880"/>
                    <a:gd name="connsiteX1395" fmla="*/ 316542 w 871061"/>
                    <a:gd name="connsiteY1395" fmla="*/ 193437 h 674880"/>
                    <a:gd name="connsiteX1396" fmla="*/ 314356 w 871061"/>
                    <a:gd name="connsiteY1396" fmla="*/ 194578 h 674880"/>
                    <a:gd name="connsiteX1397" fmla="*/ 312328 w 871061"/>
                    <a:gd name="connsiteY1397" fmla="*/ 195040 h 674880"/>
                    <a:gd name="connsiteX1398" fmla="*/ 304946 w 871061"/>
                    <a:gd name="connsiteY1398" fmla="*/ 194238 h 674880"/>
                    <a:gd name="connsiteX1399" fmla="*/ 304873 w 871061"/>
                    <a:gd name="connsiteY1399" fmla="*/ 194190 h 674880"/>
                    <a:gd name="connsiteX1400" fmla="*/ 303221 w 871061"/>
                    <a:gd name="connsiteY1400" fmla="*/ 184573 h 674880"/>
                    <a:gd name="connsiteX1401" fmla="*/ 302566 w 871061"/>
                    <a:gd name="connsiteY1401" fmla="*/ 182083 h 674880"/>
                    <a:gd name="connsiteX1402" fmla="*/ 301849 w 871061"/>
                    <a:gd name="connsiteY1402" fmla="*/ 179448 h 674880"/>
                    <a:gd name="connsiteX1403" fmla="*/ 299408 w 871061"/>
                    <a:gd name="connsiteY1403" fmla="*/ 178234 h 674880"/>
                    <a:gd name="connsiteX1404" fmla="*/ 297915 w 871061"/>
                    <a:gd name="connsiteY1404" fmla="*/ 177493 h 674880"/>
                    <a:gd name="connsiteX1405" fmla="*/ 295280 w 871061"/>
                    <a:gd name="connsiteY1405" fmla="*/ 176194 h 674880"/>
                    <a:gd name="connsiteX1406" fmla="*/ 293895 w 871061"/>
                    <a:gd name="connsiteY1406" fmla="*/ 176850 h 674880"/>
                    <a:gd name="connsiteX1407" fmla="*/ 293143 w 871061"/>
                    <a:gd name="connsiteY1407" fmla="*/ 172916 h 674880"/>
                    <a:gd name="connsiteX1408" fmla="*/ 292766 w 871061"/>
                    <a:gd name="connsiteY1408" fmla="*/ 170912 h 674880"/>
                    <a:gd name="connsiteX1409" fmla="*/ 291261 w 871061"/>
                    <a:gd name="connsiteY1409" fmla="*/ 169552 h 674880"/>
                    <a:gd name="connsiteX1410" fmla="*/ 288966 w 871061"/>
                    <a:gd name="connsiteY1410" fmla="*/ 167463 h 674880"/>
                    <a:gd name="connsiteX1411" fmla="*/ 287448 w 871061"/>
                    <a:gd name="connsiteY1411" fmla="*/ 166079 h 674880"/>
                    <a:gd name="connsiteX1412" fmla="*/ 285396 w 871061"/>
                    <a:gd name="connsiteY1412" fmla="*/ 165909 h 674880"/>
                    <a:gd name="connsiteX1413" fmla="*/ 282627 w 871061"/>
                    <a:gd name="connsiteY1413" fmla="*/ 165678 h 674880"/>
                    <a:gd name="connsiteX1414" fmla="*/ 280647 w 871061"/>
                    <a:gd name="connsiteY1414" fmla="*/ 165508 h 674880"/>
                    <a:gd name="connsiteX1415" fmla="*/ 278948 w 871061"/>
                    <a:gd name="connsiteY1415" fmla="*/ 166541 h 674880"/>
                    <a:gd name="connsiteX1416" fmla="*/ 276762 w 871061"/>
                    <a:gd name="connsiteY1416" fmla="*/ 167876 h 674880"/>
                    <a:gd name="connsiteX1417" fmla="*/ 276446 w 871061"/>
                    <a:gd name="connsiteY1417" fmla="*/ 168083 h 674880"/>
                    <a:gd name="connsiteX1418" fmla="*/ 276143 w 871061"/>
                    <a:gd name="connsiteY1418" fmla="*/ 168325 h 674880"/>
                    <a:gd name="connsiteX1419" fmla="*/ 274685 w 871061"/>
                    <a:gd name="connsiteY1419" fmla="*/ 169491 h 674880"/>
                    <a:gd name="connsiteX1420" fmla="*/ 272354 w 871061"/>
                    <a:gd name="connsiteY1420" fmla="*/ 170754 h 674880"/>
                    <a:gd name="connsiteX1421" fmla="*/ 272038 w 871061"/>
                    <a:gd name="connsiteY1421" fmla="*/ 170924 h 674880"/>
                    <a:gd name="connsiteX1422" fmla="*/ 271747 w 871061"/>
                    <a:gd name="connsiteY1422" fmla="*/ 171130 h 674880"/>
                    <a:gd name="connsiteX1423" fmla="*/ 269342 w 871061"/>
                    <a:gd name="connsiteY1423" fmla="*/ 172818 h 674880"/>
                    <a:gd name="connsiteX1424" fmla="*/ 261571 w 871061"/>
                    <a:gd name="connsiteY1424" fmla="*/ 176983 h 674880"/>
                    <a:gd name="connsiteX1425" fmla="*/ 261024 w 871061"/>
                    <a:gd name="connsiteY1425" fmla="*/ 177275 h 674880"/>
                    <a:gd name="connsiteX1426" fmla="*/ 260551 w 871061"/>
                    <a:gd name="connsiteY1426" fmla="*/ 177676 h 674880"/>
                    <a:gd name="connsiteX1427" fmla="*/ 257515 w 871061"/>
                    <a:gd name="connsiteY1427" fmla="*/ 180141 h 674880"/>
                    <a:gd name="connsiteX1428" fmla="*/ 256775 w 871061"/>
                    <a:gd name="connsiteY1428" fmla="*/ 180748 h 674880"/>
                    <a:gd name="connsiteX1429" fmla="*/ 256265 w 871061"/>
                    <a:gd name="connsiteY1429" fmla="*/ 181549 h 674880"/>
                    <a:gd name="connsiteX1430" fmla="*/ 253848 w 871061"/>
                    <a:gd name="connsiteY1430" fmla="*/ 185362 h 674880"/>
                    <a:gd name="connsiteX1431" fmla="*/ 253447 w 871061"/>
                    <a:gd name="connsiteY1431" fmla="*/ 185993 h 674880"/>
                    <a:gd name="connsiteX1432" fmla="*/ 253217 w 871061"/>
                    <a:gd name="connsiteY1432" fmla="*/ 186698 h 674880"/>
                    <a:gd name="connsiteX1433" fmla="*/ 252330 w 871061"/>
                    <a:gd name="connsiteY1433" fmla="*/ 189345 h 674880"/>
                    <a:gd name="connsiteX1434" fmla="*/ 250764 w 871061"/>
                    <a:gd name="connsiteY1434" fmla="*/ 188956 h 674880"/>
                    <a:gd name="connsiteX1435" fmla="*/ 250217 w 871061"/>
                    <a:gd name="connsiteY1435" fmla="*/ 188823 h 674880"/>
                    <a:gd name="connsiteX1436" fmla="*/ 249659 w 871061"/>
                    <a:gd name="connsiteY1436" fmla="*/ 188798 h 674880"/>
                    <a:gd name="connsiteX1437" fmla="*/ 248906 w 871061"/>
                    <a:gd name="connsiteY1437" fmla="*/ 188750 h 674880"/>
                    <a:gd name="connsiteX1438" fmla="*/ 248602 w 871061"/>
                    <a:gd name="connsiteY1438" fmla="*/ 188592 h 674880"/>
                    <a:gd name="connsiteX1439" fmla="*/ 247327 w 871061"/>
                    <a:gd name="connsiteY1439" fmla="*/ 187669 h 674880"/>
                    <a:gd name="connsiteX1440" fmla="*/ 247000 w 871061"/>
                    <a:gd name="connsiteY1440" fmla="*/ 187426 h 674880"/>
                    <a:gd name="connsiteX1441" fmla="*/ 246635 w 871061"/>
                    <a:gd name="connsiteY1441" fmla="*/ 187232 h 674880"/>
                    <a:gd name="connsiteX1442" fmla="*/ 245555 w 871061"/>
                    <a:gd name="connsiteY1442" fmla="*/ 186649 h 674880"/>
                    <a:gd name="connsiteX1443" fmla="*/ 242555 w 871061"/>
                    <a:gd name="connsiteY1443" fmla="*/ 185046 h 674880"/>
                    <a:gd name="connsiteX1444" fmla="*/ 239617 w 871061"/>
                    <a:gd name="connsiteY1444" fmla="*/ 186771 h 674880"/>
                    <a:gd name="connsiteX1445" fmla="*/ 238864 w 871061"/>
                    <a:gd name="connsiteY1445" fmla="*/ 187208 h 674880"/>
                    <a:gd name="connsiteX1446" fmla="*/ 237152 w 871061"/>
                    <a:gd name="connsiteY1446" fmla="*/ 188216 h 674880"/>
                    <a:gd name="connsiteX1447" fmla="*/ 236362 w 871061"/>
                    <a:gd name="connsiteY1447" fmla="*/ 190049 h 674880"/>
                    <a:gd name="connsiteX1448" fmla="*/ 235646 w 871061"/>
                    <a:gd name="connsiteY1448" fmla="*/ 191713 h 674880"/>
                    <a:gd name="connsiteX1449" fmla="*/ 235124 w 871061"/>
                    <a:gd name="connsiteY1449" fmla="*/ 192611 h 674880"/>
                    <a:gd name="connsiteX1450" fmla="*/ 231444 w 871061"/>
                    <a:gd name="connsiteY1450" fmla="*/ 195841 h 674880"/>
                    <a:gd name="connsiteX1451" fmla="*/ 230449 w 871061"/>
                    <a:gd name="connsiteY1451" fmla="*/ 196716 h 674880"/>
                    <a:gd name="connsiteX1452" fmla="*/ 229914 w 871061"/>
                    <a:gd name="connsiteY1452" fmla="*/ 197918 h 674880"/>
                    <a:gd name="connsiteX1453" fmla="*/ 228992 w 871061"/>
                    <a:gd name="connsiteY1453" fmla="*/ 199982 h 674880"/>
                    <a:gd name="connsiteX1454" fmla="*/ 228736 w 871061"/>
                    <a:gd name="connsiteY1454" fmla="*/ 200529 h 674880"/>
                    <a:gd name="connsiteX1455" fmla="*/ 228603 w 871061"/>
                    <a:gd name="connsiteY1455" fmla="*/ 201111 h 674880"/>
                    <a:gd name="connsiteX1456" fmla="*/ 228348 w 871061"/>
                    <a:gd name="connsiteY1456" fmla="*/ 202216 h 674880"/>
                    <a:gd name="connsiteX1457" fmla="*/ 226369 w 871061"/>
                    <a:gd name="connsiteY1457" fmla="*/ 204086 h 674880"/>
                    <a:gd name="connsiteX1458" fmla="*/ 225907 w 871061"/>
                    <a:gd name="connsiteY1458" fmla="*/ 204269 h 674880"/>
                    <a:gd name="connsiteX1459" fmla="*/ 225336 w 871061"/>
                    <a:gd name="connsiteY1459" fmla="*/ 204354 h 674880"/>
                    <a:gd name="connsiteX1460" fmla="*/ 224620 w 871061"/>
                    <a:gd name="connsiteY1460" fmla="*/ 204281 h 674880"/>
                    <a:gd name="connsiteX1461" fmla="*/ 223892 w 871061"/>
                    <a:gd name="connsiteY1461" fmla="*/ 204001 h 674880"/>
                    <a:gd name="connsiteX1462" fmla="*/ 221754 w 871061"/>
                    <a:gd name="connsiteY1462" fmla="*/ 202314 h 674880"/>
                    <a:gd name="connsiteX1463" fmla="*/ 221135 w 871061"/>
                    <a:gd name="connsiteY1463" fmla="*/ 201609 h 674880"/>
                    <a:gd name="connsiteX1464" fmla="*/ 220285 w 871061"/>
                    <a:gd name="connsiteY1464" fmla="*/ 200152 h 674880"/>
                    <a:gd name="connsiteX1465" fmla="*/ 218755 w 871061"/>
                    <a:gd name="connsiteY1465" fmla="*/ 197991 h 674880"/>
                    <a:gd name="connsiteX1466" fmla="*/ 218233 w 871061"/>
                    <a:gd name="connsiteY1466" fmla="*/ 197262 h 674880"/>
                    <a:gd name="connsiteX1467" fmla="*/ 217516 w 871061"/>
                    <a:gd name="connsiteY1467" fmla="*/ 196728 h 674880"/>
                    <a:gd name="connsiteX1468" fmla="*/ 212878 w 871061"/>
                    <a:gd name="connsiteY1468" fmla="*/ 193194 h 674880"/>
                    <a:gd name="connsiteX1469" fmla="*/ 212416 w 871061"/>
                    <a:gd name="connsiteY1469" fmla="*/ 192842 h 674880"/>
                    <a:gd name="connsiteX1470" fmla="*/ 211906 w 871061"/>
                    <a:gd name="connsiteY1470" fmla="*/ 192587 h 674880"/>
                    <a:gd name="connsiteX1471" fmla="*/ 206976 w 871061"/>
                    <a:gd name="connsiteY1471" fmla="*/ 190110 h 674880"/>
                    <a:gd name="connsiteX1472" fmla="*/ 205033 w 871061"/>
                    <a:gd name="connsiteY1472" fmla="*/ 188677 h 674880"/>
                    <a:gd name="connsiteX1473" fmla="*/ 203224 w 871061"/>
                    <a:gd name="connsiteY1473" fmla="*/ 186831 h 674880"/>
                    <a:gd name="connsiteX1474" fmla="*/ 200881 w 871061"/>
                    <a:gd name="connsiteY1474" fmla="*/ 183371 h 674880"/>
                    <a:gd name="connsiteX1475" fmla="*/ 200528 w 871061"/>
                    <a:gd name="connsiteY1475" fmla="*/ 182861 h 674880"/>
                    <a:gd name="connsiteX1476" fmla="*/ 200091 w 871061"/>
                    <a:gd name="connsiteY1476" fmla="*/ 182423 h 674880"/>
                    <a:gd name="connsiteX1477" fmla="*/ 198173 w 871061"/>
                    <a:gd name="connsiteY1477" fmla="*/ 180553 h 674880"/>
                    <a:gd name="connsiteX1478" fmla="*/ 199436 w 871061"/>
                    <a:gd name="connsiteY1478" fmla="*/ 179121 h 674880"/>
                    <a:gd name="connsiteX1479" fmla="*/ 199399 w 871061"/>
                    <a:gd name="connsiteY1479" fmla="*/ 176753 h 674880"/>
                    <a:gd name="connsiteX1480" fmla="*/ 199278 w 871061"/>
                    <a:gd name="connsiteY1480" fmla="*/ 170305 h 674880"/>
                    <a:gd name="connsiteX1481" fmla="*/ 199253 w 871061"/>
                    <a:gd name="connsiteY1481" fmla="*/ 168933 h 674880"/>
                    <a:gd name="connsiteX1482" fmla="*/ 198634 w 871061"/>
                    <a:gd name="connsiteY1482" fmla="*/ 167694 h 674880"/>
                    <a:gd name="connsiteX1483" fmla="*/ 196631 w 871061"/>
                    <a:gd name="connsiteY1483" fmla="*/ 163699 h 674880"/>
                    <a:gd name="connsiteX1484" fmla="*/ 196169 w 871061"/>
                    <a:gd name="connsiteY1484" fmla="*/ 162764 h 674880"/>
                    <a:gd name="connsiteX1485" fmla="*/ 195416 w 871061"/>
                    <a:gd name="connsiteY1485" fmla="*/ 162035 h 674880"/>
                    <a:gd name="connsiteX1486" fmla="*/ 193801 w 871061"/>
                    <a:gd name="connsiteY1486" fmla="*/ 160481 h 674880"/>
                    <a:gd name="connsiteX1487" fmla="*/ 192696 w 871061"/>
                    <a:gd name="connsiteY1487" fmla="*/ 159413 h 674880"/>
                    <a:gd name="connsiteX1488" fmla="*/ 191215 w 871061"/>
                    <a:gd name="connsiteY1488" fmla="*/ 159000 h 674880"/>
                    <a:gd name="connsiteX1489" fmla="*/ 188920 w 871061"/>
                    <a:gd name="connsiteY1489" fmla="*/ 158368 h 674880"/>
                    <a:gd name="connsiteX1490" fmla="*/ 187135 w 871061"/>
                    <a:gd name="connsiteY1490" fmla="*/ 157870 h 674880"/>
                    <a:gd name="connsiteX1491" fmla="*/ 185374 w 871061"/>
                    <a:gd name="connsiteY1491" fmla="*/ 158465 h 674880"/>
                    <a:gd name="connsiteX1492" fmla="*/ 184002 w 871061"/>
                    <a:gd name="connsiteY1492" fmla="*/ 158927 h 674880"/>
                    <a:gd name="connsiteX1493" fmla="*/ 182399 w 871061"/>
                    <a:gd name="connsiteY1493" fmla="*/ 159461 h 674880"/>
                    <a:gd name="connsiteX1494" fmla="*/ 181695 w 871061"/>
                    <a:gd name="connsiteY1494" fmla="*/ 160287 h 674880"/>
                    <a:gd name="connsiteX1495" fmla="*/ 180808 w 871061"/>
                    <a:gd name="connsiteY1495" fmla="*/ 159947 h 674880"/>
                    <a:gd name="connsiteX1496" fmla="*/ 179108 w 871061"/>
                    <a:gd name="connsiteY1496" fmla="*/ 159303 h 674880"/>
                    <a:gd name="connsiteX1497" fmla="*/ 177336 w 871061"/>
                    <a:gd name="connsiteY1497" fmla="*/ 159692 h 674880"/>
                    <a:gd name="connsiteX1498" fmla="*/ 176073 w 871061"/>
                    <a:gd name="connsiteY1498" fmla="*/ 159971 h 674880"/>
                    <a:gd name="connsiteX1499" fmla="*/ 175162 w 871061"/>
                    <a:gd name="connsiteY1499" fmla="*/ 160178 h 674880"/>
                    <a:gd name="connsiteX1500" fmla="*/ 174360 w 871061"/>
                    <a:gd name="connsiteY1500" fmla="*/ 160639 h 674880"/>
                    <a:gd name="connsiteX1501" fmla="*/ 174251 w 871061"/>
                    <a:gd name="connsiteY1501" fmla="*/ 160700 h 674880"/>
                    <a:gd name="connsiteX1502" fmla="*/ 173146 w 871061"/>
                    <a:gd name="connsiteY1502" fmla="*/ 160505 h 674880"/>
                    <a:gd name="connsiteX1503" fmla="*/ 172211 w 871061"/>
                    <a:gd name="connsiteY1503" fmla="*/ 160335 h 674880"/>
                    <a:gd name="connsiteX1504" fmla="*/ 171276 w 871061"/>
                    <a:gd name="connsiteY1504" fmla="*/ 160457 h 674880"/>
                    <a:gd name="connsiteX1505" fmla="*/ 169552 w 871061"/>
                    <a:gd name="connsiteY1505" fmla="*/ 160688 h 674880"/>
                    <a:gd name="connsiteX1506" fmla="*/ 168277 w 871061"/>
                    <a:gd name="connsiteY1506" fmla="*/ 160858 h 674880"/>
                    <a:gd name="connsiteX1507" fmla="*/ 167184 w 871061"/>
                    <a:gd name="connsiteY1507" fmla="*/ 161538 h 674880"/>
                    <a:gd name="connsiteX1508" fmla="*/ 166152 w 871061"/>
                    <a:gd name="connsiteY1508" fmla="*/ 162169 h 674880"/>
                    <a:gd name="connsiteX1509" fmla="*/ 164840 w 871061"/>
                    <a:gd name="connsiteY1509" fmla="*/ 162970 h 674880"/>
                    <a:gd name="connsiteX1510" fmla="*/ 163845 w 871061"/>
                    <a:gd name="connsiteY1510" fmla="*/ 162873 h 674880"/>
                    <a:gd name="connsiteX1511" fmla="*/ 162351 w 871061"/>
                    <a:gd name="connsiteY1511" fmla="*/ 162728 h 674880"/>
                    <a:gd name="connsiteX1512" fmla="*/ 160141 w 871061"/>
                    <a:gd name="connsiteY1512" fmla="*/ 162509 h 674880"/>
                    <a:gd name="connsiteX1513" fmla="*/ 158320 w 871061"/>
                    <a:gd name="connsiteY1513" fmla="*/ 163772 h 674880"/>
                    <a:gd name="connsiteX1514" fmla="*/ 157397 w 871061"/>
                    <a:gd name="connsiteY1514" fmla="*/ 164403 h 674880"/>
                    <a:gd name="connsiteX1515" fmla="*/ 155430 w 871061"/>
                    <a:gd name="connsiteY1515" fmla="*/ 165751 h 674880"/>
                    <a:gd name="connsiteX1516" fmla="*/ 155345 w 871061"/>
                    <a:gd name="connsiteY1516" fmla="*/ 166115 h 674880"/>
                    <a:gd name="connsiteX1517" fmla="*/ 152309 w 871061"/>
                    <a:gd name="connsiteY1517" fmla="*/ 156729 h 674880"/>
                    <a:gd name="connsiteX1518" fmla="*/ 152175 w 871061"/>
                    <a:gd name="connsiteY1518" fmla="*/ 156328 h 674880"/>
                    <a:gd name="connsiteX1519" fmla="*/ 151993 w 871061"/>
                    <a:gd name="connsiteY1519" fmla="*/ 155940 h 674880"/>
                    <a:gd name="connsiteX1520" fmla="*/ 146019 w 871061"/>
                    <a:gd name="connsiteY1520" fmla="*/ 143651 h 674880"/>
                    <a:gd name="connsiteX1521" fmla="*/ 145436 w 871061"/>
                    <a:gd name="connsiteY1521" fmla="*/ 142437 h 674880"/>
                    <a:gd name="connsiteX1522" fmla="*/ 144392 w 871061"/>
                    <a:gd name="connsiteY1522" fmla="*/ 141587 h 674880"/>
                    <a:gd name="connsiteX1523" fmla="*/ 141696 w 871061"/>
                    <a:gd name="connsiteY1523" fmla="*/ 139401 h 674880"/>
                    <a:gd name="connsiteX1524" fmla="*/ 141295 w 871061"/>
                    <a:gd name="connsiteY1524" fmla="*/ 139073 h 674880"/>
                    <a:gd name="connsiteX1525" fmla="*/ 140834 w 871061"/>
                    <a:gd name="connsiteY1525" fmla="*/ 138818 h 674880"/>
                    <a:gd name="connsiteX1526" fmla="*/ 139340 w 871061"/>
                    <a:gd name="connsiteY1526" fmla="*/ 137980 h 674880"/>
                    <a:gd name="connsiteX1527" fmla="*/ 136814 w 871061"/>
                    <a:gd name="connsiteY1527" fmla="*/ 136560 h 674880"/>
                    <a:gd name="connsiteX1528" fmla="*/ 134119 w 871061"/>
                    <a:gd name="connsiteY1528" fmla="*/ 137640 h 674880"/>
                    <a:gd name="connsiteX1529" fmla="*/ 132977 w 871061"/>
                    <a:gd name="connsiteY1529" fmla="*/ 138102 h 674880"/>
                    <a:gd name="connsiteX1530" fmla="*/ 131642 w 871061"/>
                    <a:gd name="connsiteY1530" fmla="*/ 138636 h 674880"/>
                    <a:gd name="connsiteX1531" fmla="*/ 130694 w 871061"/>
                    <a:gd name="connsiteY1531" fmla="*/ 139705 h 674880"/>
                    <a:gd name="connsiteX1532" fmla="*/ 130002 w 871061"/>
                    <a:gd name="connsiteY1532" fmla="*/ 140482 h 674880"/>
                    <a:gd name="connsiteX1533" fmla="*/ 129298 w 871061"/>
                    <a:gd name="connsiteY1533" fmla="*/ 141259 h 674880"/>
                    <a:gd name="connsiteX1534" fmla="*/ 128909 w 871061"/>
                    <a:gd name="connsiteY1534" fmla="*/ 142242 h 674880"/>
                    <a:gd name="connsiteX1535" fmla="*/ 126384 w 871061"/>
                    <a:gd name="connsiteY1535" fmla="*/ 148520 h 674880"/>
                    <a:gd name="connsiteX1536" fmla="*/ 126238 w 871061"/>
                    <a:gd name="connsiteY1536" fmla="*/ 148787 h 674880"/>
                    <a:gd name="connsiteX1537" fmla="*/ 125424 w 871061"/>
                    <a:gd name="connsiteY1537" fmla="*/ 149298 h 674880"/>
                    <a:gd name="connsiteX1538" fmla="*/ 123239 w 871061"/>
                    <a:gd name="connsiteY1538" fmla="*/ 150366 h 674880"/>
                    <a:gd name="connsiteX1539" fmla="*/ 121745 w 871061"/>
                    <a:gd name="connsiteY1539" fmla="*/ 151095 h 674880"/>
                    <a:gd name="connsiteX1540" fmla="*/ 120834 w 871061"/>
                    <a:gd name="connsiteY1540" fmla="*/ 152491 h 674880"/>
                    <a:gd name="connsiteX1541" fmla="*/ 119244 w 871061"/>
                    <a:gd name="connsiteY1541" fmla="*/ 154920 h 674880"/>
                    <a:gd name="connsiteX1542" fmla="*/ 118175 w 871061"/>
                    <a:gd name="connsiteY1542" fmla="*/ 155673 h 674880"/>
                    <a:gd name="connsiteX1543" fmla="*/ 116050 w 871061"/>
                    <a:gd name="connsiteY1543" fmla="*/ 156207 h 674880"/>
                    <a:gd name="connsiteX1544" fmla="*/ 109347 w 871061"/>
                    <a:gd name="connsiteY1544" fmla="*/ 156693 h 674880"/>
                    <a:gd name="connsiteX1545" fmla="*/ 108752 w 871061"/>
                    <a:gd name="connsiteY1545" fmla="*/ 156729 h 674880"/>
                    <a:gd name="connsiteX1546" fmla="*/ 108169 w 871061"/>
                    <a:gd name="connsiteY1546" fmla="*/ 156887 h 674880"/>
                    <a:gd name="connsiteX1547" fmla="*/ 105012 w 871061"/>
                    <a:gd name="connsiteY1547" fmla="*/ 157749 h 674880"/>
                    <a:gd name="connsiteX1548" fmla="*/ 104211 w 871061"/>
                    <a:gd name="connsiteY1548" fmla="*/ 157834 h 674880"/>
                    <a:gd name="connsiteX1549" fmla="*/ 103579 w 871061"/>
                    <a:gd name="connsiteY1549" fmla="*/ 157749 h 674880"/>
                    <a:gd name="connsiteX1550" fmla="*/ 99949 w 871061"/>
                    <a:gd name="connsiteY1550" fmla="*/ 156838 h 674880"/>
                    <a:gd name="connsiteX1551" fmla="*/ 99609 w 871061"/>
                    <a:gd name="connsiteY1551" fmla="*/ 156753 h 674880"/>
                    <a:gd name="connsiteX1552" fmla="*/ 99269 w 871061"/>
                    <a:gd name="connsiteY1552" fmla="*/ 156705 h 674880"/>
                    <a:gd name="connsiteX1553" fmla="*/ 97253 w 871061"/>
                    <a:gd name="connsiteY1553" fmla="*/ 156438 h 674880"/>
                    <a:gd name="connsiteX1554" fmla="*/ 96051 w 871061"/>
                    <a:gd name="connsiteY1554" fmla="*/ 156280 h 674880"/>
                    <a:gd name="connsiteX1555" fmla="*/ 94885 w 871061"/>
                    <a:gd name="connsiteY1555" fmla="*/ 156595 h 674880"/>
                    <a:gd name="connsiteX1556" fmla="*/ 90987 w 871061"/>
                    <a:gd name="connsiteY1556" fmla="*/ 157640 h 674880"/>
                    <a:gd name="connsiteX1557" fmla="*/ 89068 w 871061"/>
                    <a:gd name="connsiteY1557" fmla="*/ 158150 h 674880"/>
                    <a:gd name="connsiteX1558" fmla="*/ 87818 w 871061"/>
                    <a:gd name="connsiteY1558" fmla="*/ 159692 h 674880"/>
                    <a:gd name="connsiteX1559" fmla="*/ 85183 w 871061"/>
                    <a:gd name="connsiteY1559" fmla="*/ 162970 h 674880"/>
                    <a:gd name="connsiteX1560" fmla="*/ 84345 w 871061"/>
                    <a:gd name="connsiteY1560" fmla="*/ 163238 h 674880"/>
                    <a:gd name="connsiteX1561" fmla="*/ 75736 w 871061"/>
                    <a:gd name="connsiteY1561" fmla="*/ 163590 h 674880"/>
                    <a:gd name="connsiteX1562" fmla="*/ 65414 w 871061"/>
                    <a:gd name="connsiteY1562" fmla="*/ 161550 h 674880"/>
                    <a:gd name="connsiteX1563" fmla="*/ 46714 w 871061"/>
                    <a:gd name="connsiteY1563" fmla="*/ 158696 h 674880"/>
                    <a:gd name="connsiteX1564" fmla="*/ 45937 w 871061"/>
                    <a:gd name="connsiteY1564" fmla="*/ 158575 h 674880"/>
                    <a:gd name="connsiteX1565" fmla="*/ 45147 w 871061"/>
                    <a:gd name="connsiteY1565" fmla="*/ 158660 h 674880"/>
                    <a:gd name="connsiteX1566" fmla="*/ 42209 w 871061"/>
                    <a:gd name="connsiteY1566" fmla="*/ 158975 h 674880"/>
                    <a:gd name="connsiteX1567" fmla="*/ 26192 w 871061"/>
                    <a:gd name="connsiteY1567" fmla="*/ 160724 h 674880"/>
                    <a:gd name="connsiteX1568" fmla="*/ 24954 w 871061"/>
                    <a:gd name="connsiteY1568" fmla="*/ 160858 h 674880"/>
                    <a:gd name="connsiteX1569" fmla="*/ 23873 w 871061"/>
                    <a:gd name="connsiteY1569" fmla="*/ 161465 h 674880"/>
                    <a:gd name="connsiteX1570" fmla="*/ 20777 w 871061"/>
                    <a:gd name="connsiteY1570" fmla="*/ 163213 h 674880"/>
                    <a:gd name="connsiteX1571" fmla="*/ 17595 w 871061"/>
                    <a:gd name="connsiteY1571" fmla="*/ 165387 h 674880"/>
                    <a:gd name="connsiteX1572" fmla="*/ 17255 w 871061"/>
                    <a:gd name="connsiteY1572" fmla="*/ 165618 h 674880"/>
                    <a:gd name="connsiteX1573" fmla="*/ 16951 w 871061"/>
                    <a:gd name="connsiteY1573" fmla="*/ 165897 h 674880"/>
                    <a:gd name="connsiteX1574" fmla="*/ 15980 w 871061"/>
                    <a:gd name="connsiteY1574" fmla="*/ 166783 h 674880"/>
                    <a:gd name="connsiteX1575" fmla="*/ 15373 w 871061"/>
                    <a:gd name="connsiteY1575" fmla="*/ 167342 h 674880"/>
                    <a:gd name="connsiteX1576" fmla="*/ 14936 w 871061"/>
                    <a:gd name="connsiteY1576" fmla="*/ 168034 h 674880"/>
                    <a:gd name="connsiteX1577" fmla="*/ 14304 w 871061"/>
                    <a:gd name="connsiteY1577" fmla="*/ 169042 h 674880"/>
                    <a:gd name="connsiteX1578" fmla="*/ 14025 w 871061"/>
                    <a:gd name="connsiteY1578" fmla="*/ 169479 h 674880"/>
                    <a:gd name="connsiteX1579" fmla="*/ 13831 w 871061"/>
                    <a:gd name="connsiteY1579" fmla="*/ 169965 h 674880"/>
                    <a:gd name="connsiteX1580" fmla="*/ 13382 w 871061"/>
                    <a:gd name="connsiteY1580" fmla="*/ 171058 h 674880"/>
                    <a:gd name="connsiteX1581" fmla="*/ 13151 w 871061"/>
                    <a:gd name="connsiteY1581" fmla="*/ 171616 h 674880"/>
                    <a:gd name="connsiteX1582" fmla="*/ 13029 w 871061"/>
                    <a:gd name="connsiteY1582" fmla="*/ 172211 h 674880"/>
                    <a:gd name="connsiteX1583" fmla="*/ 12786 w 871061"/>
                    <a:gd name="connsiteY1583" fmla="*/ 173474 h 674880"/>
                    <a:gd name="connsiteX1584" fmla="*/ 12702 w 871061"/>
                    <a:gd name="connsiteY1584" fmla="*/ 173923 h 674880"/>
                    <a:gd name="connsiteX1585" fmla="*/ 12689 w 871061"/>
                    <a:gd name="connsiteY1585" fmla="*/ 174373 h 674880"/>
                    <a:gd name="connsiteX1586" fmla="*/ 12629 w 871061"/>
                    <a:gd name="connsiteY1586" fmla="*/ 175781 h 674880"/>
                    <a:gd name="connsiteX1587" fmla="*/ 12604 w 871061"/>
                    <a:gd name="connsiteY1587" fmla="*/ 176291 h 674880"/>
                    <a:gd name="connsiteX1588" fmla="*/ 12665 w 871061"/>
                    <a:gd name="connsiteY1588" fmla="*/ 176789 h 674880"/>
                    <a:gd name="connsiteX1589" fmla="*/ 12847 w 871061"/>
                    <a:gd name="connsiteY1589" fmla="*/ 178270 h 674880"/>
                    <a:gd name="connsiteX1590" fmla="*/ 12896 w 871061"/>
                    <a:gd name="connsiteY1590" fmla="*/ 178696 h 674880"/>
                    <a:gd name="connsiteX1591" fmla="*/ 13005 w 871061"/>
                    <a:gd name="connsiteY1591" fmla="*/ 179108 h 674880"/>
                    <a:gd name="connsiteX1592" fmla="*/ 13527 w 871061"/>
                    <a:gd name="connsiteY1592" fmla="*/ 181039 h 674880"/>
                    <a:gd name="connsiteX1593" fmla="*/ 13624 w 871061"/>
                    <a:gd name="connsiteY1593" fmla="*/ 181416 h 674880"/>
                    <a:gd name="connsiteX1594" fmla="*/ 13770 w 871061"/>
                    <a:gd name="connsiteY1594" fmla="*/ 181780 h 674880"/>
                    <a:gd name="connsiteX1595" fmla="*/ 15774 w 871061"/>
                    <a:gd name="connsiteY1595" fmla="*/ 186637 h 674880"/>
                    <a:gd name="connsiteX1596" fmla="*/ 15931 w 871061"/>
                    <a:gd name="connsiteY1596" fmla="*/ 187001 h 674880"/>
                    <a:gd name="connsiteX1597" fmla="*/ 16138 w 871061"/>
                    <a:gd name="connsiteY1597" fmla="*/ 187353 h 674880"/>
                    <a:gd name="connsiteX1598" fmla="*/ 17340 w 871061"/>
                    <a:gd name="connsiteY1598" fmla="*/ 189442 h 674880"/>
                    <a:gd name="connsiteX1599" fmla="*/ 17510 w 871061"/>
                    <a:gd name="connsiteY1599" fmla="*/ 189721 h 674880"/>
                    <a:gd name="connsiteX1600" fmla="*/ 17704 w 871061"/>
                    <a:gd name="connsiteY1600" fmla="*/ 189989 h 674880"/>
                    <a:gd name="connsiteX1601" fmla="*/ 18967 w 871061"/>
                    <a:gd name="connsiteY1601" fmla="*/ 191713 h 674880"/>
                    <a:gd name="connsiteX1602" fmla="*/ 21736 w 871061"/>
                    <a:gd name="connsiteY1602" fmla="*/ 194931 h 674880"/>
                    <a:gd name="connsiteX1603" fmla="*/ 23497 w 871061"/>
                    <a:gd name="connsiteY1603" fmla="*/ 197541 h 674880"/>
                    <a:gd name="connsiteX1604" fmla="*/ 23654 w 871061"/>
                    <a:gd name="connsiteY1604" fmla="*/ 197966 h 674880"/>
                    <a:gd name="connsiteX1605" fmla="*/ 23497 w 871061"/>
                    <a:gd name="connsiteY1605" fmla="*/ 198258 h 674880"/>
                    <a:gd name="connsiteX1606" fmla="*/ 18834 w 871061"/>
                    <a:gd name="connsiteY1606" fmla="*/ 204256 h 674880"/>
                    <a:gd name="connsiteX1607" fmla="*/ 18421 w 871061"/>
                    <a:gd name="connsiteY1607" fmla="*/ 204791 h 674880"/>
                    <a:gd name="connsiteX1608" fmla="*/ 18129 w 871061"/>
                    <a:gd name="connsiteY1608" fmla="*/ 205410 h 674880"/>
                    <a:gd name="connsiteX1609" fmla="*/ 17340 w 871061"/>
                    <a:gd name="connsiteY1609" fmla="*/ 207098 h 674880"/>
                    <a:gd name="connsiteX1610" fmla="*/ 16915 w 871061"/>
                    <a:gd name="connsiteY1610" fmla="*/ 208021 h 674880"/>
                    <a:gd name="connsiteX1611" fmla="*/ 16806 w 871061"/>
                    <a:gd name="connsiteY1611" fmla="*/ 209029 h 674880"/>
                    <a:gd name="connsiteX1612" fmla="*/ 16624 w 871061"/>
                    <a:gd name="connsiteY1612" fmla="*/ 210753 h 674880"/>
                    <a:gd name="connsiteX1613" fmla="*/ 16575 w 871061"/>
                    <a:gd name="connsiteY1613" fmla="*/ 211190 h 674880"/>
                    <a:gd name="connsiteX1614" fmla="*/ 16587 w 871061"/>
                    <a:gd name="connsiteY1614" fmla="*/ 211627 h 674880"/>
                    <a:gd name="connsiteX1615" fmla="*/ 16648 w 871061"/>
                    <a:gd name="connsiteY1615" fmla="*/ 213181 h 674880"/>
                    <a:gd name="connsiteX1616" fmla="*/ 16611 w 871061"/>
                    <a:gd name="connsiteY1616" fmla="*/ 214238 h 674880"/>
                    <a:gd name="connsiteX1617" fmla="*/ 16490 w 871061"/>
                    <a:gd name="connsiteY1617" fmla="*/ 214578 h 674880"/>
                    <a:gd name="connsiteX1618" fmla="*/ 16259 w 871061"/>
                    <a:gd name="connsiteY1618" fmla="*/ 215003 h 674880"/>
                    <a:gd name="connsiteX1619" fmla="*/ 11609 w 871061"/>
                    <a:gd name="connsiteY1619" fmla="*/ 220152 h 674880"/>
                    <a:gd name="connsiteX1620" fmla="*/ 11220 w 871061"/>
                    <a:gd name="connsiteY1620" fmla="*/ 220577 h 674880"/>
                    <a:gd name="connsiteX1621" fmla="*/ 10929 w 871061"/>
                    <a:gd name="connsiteY1621" fmla="*/ 221074 h 674880"/>
                    <a:gd name="connsiteX1622" fmla="*/ 8342 w 871061"/>
                    <a:gd name="connsiteY1622" fmla="*/ 225349 h 674880"/>
                    <a:gd name="connsiteX1623" fmla="*/ 6885 w 871061"/>
                    <a:gd name="connsiteY1623" fmla="*/ 228239 h 674880"/>
                    <a:gd name="connsiteX1624" fmla="*/ 2283 w 871061"/>
                    <a:gd name="connsiteY1624" fmla="*/ 240357 h 674880"/>
                    <a:gd name="connsiteX1625" fmla="*/ 0 w 871061"/>
                    <a:gd name="connsiteY1625" fmla="*/ 246417 h 674880"/>
                    <a:gd name="connsiteX1626" fmla="*/ 6193 w 871061"/>
                    <a:gd name="connsiteY1626" fmla="*/ 248311 h 674880"/>
                    <a:gd name="connsiteX1627" fmla="*/ 16247 w 871061"/>
                    <a:gd name="connsiteY1627" fmla="*/ 251383 h 674880"/>
                    <a:gd name="connsiteX1628" fmla="*/ 16939 w 871061"/>
                    <a:gd name="connsiteY1628" fmla="*/ 251602 h 674880"/>
                    <a:gd name="connsiteX1629" fmla="*/ 17668 w 871061"/>
                    <a:gd name="connsiteY1629" fmla="*/ 251638 h 674880"/>
                    <a:gd name="connsiteX1630" fmla="*/ 26714 w 871061"/>
                    <a:gd name="connsiteY1630" fmla="*/ 252173 h 674880"/>
                    <a:gd name="connsiteX1631" fmla="*/ 26872 w 871061"/>
                    <a:gd name="connsiteY1631" fmla="*/ 252209 h 674880"/>
                    <a:gd name="connsiteX1632" fmla="*/ 27164 w 871061"/>
                    <a:gd name="connsiteY1632" fmla="*/ 252403 h 674880"/>
                    <a:gd name="connsiteX1633" fmla="*/ 29847 w 871061"/>
                    <a:gd name="connsiteY1633" fmla="*/ 254783 h 674880"/>
                    <a:gd name="connsiteX1634" fmla="*/ 30357 w 871061"/>
                    <a:gd name="connsiteY1634" fmla="*/ 255220 h 674880"/>
                    <a:gd name="connsiteX1635" fmla="*/ 30940 w 871061"/>
                    <a:gd name="connsiteY1635" fmla="*/ 255548 h 674880"/>
                    <a:gd name="connsiteX1636" fmla="*/ 36623 w 871061"/>
                    <a:gd name="connsiteY1636" fmla="*/ 258681 h 674880"/>
                    <a:gd name="connsiteX1637" fmla="*/ 36647 w 871061"/>
                    <a:gd name="connsiteY1637" fmla="*/ 258754 h 674880"/>
                    <a:gd name="connsiteX1638" fmla="*/ 36793 w 871061"/>
                    <a:gd name="connsiteY1638" fmla="*/ 260211 h 674880"/>
                    <a:gd name="connsiteX1639" fmla="*/ 36696 w 871061"/>
                    <a:gd name="connsiteY1639" fmla="*/ 267776 h 674880"/>
                    <a:gd name="connsiteX1640" fmla="*/ 36939 w 871061"/>
                    <a:gd name="connsiteY1640" fmla="*/ 270982 h 674880"/>
                    <a:gd name="connsiteX1641" fmla="*/ 36963 w 871061"/>
                    <a:gd name="connsiteY1641" fmla="*/ 271310 h 674880"/>
                    <a:gd name="connsiteX1642" fmla="*/ 37024 w 871061"/>
                    <a:gd name="connsiteY1642" fmla="*/ 271625 h 674880"/>
                    <a:gd name="connsiteX1643" fmla="*/ 37594 w 871061"/>
                    <a:gd name="connsiteY1643" fmla="*/ 274588 h 674880"/>
                    <a:gd name="connsiteX1644" fmla="*/ 37704 w 871061"/>
                    <a:gd name="connsiteY1644" fmla="*/ 275135 h 674880"/>
                    <a:gd name="connsiteX1645" fmla="*/ 37910 w 871061"/>
                    <a:gd name="connsiteY1645" fmla="*/ 275657 h 674880"/>
                    <a:gd name="connsiteX1646" fmla="*/ 38954 w 871061"/>
                    <a:gd name="connsiteY1646" fmla="*/ 278292 h 674880"/>
                    <a:gd name="connsiteX1647" fmla="*/ 39064 w 871061"/>
                    <a:gd name="connsiteY1647" fmla="*/ 278583 h 674880"/>
                    <a:gd name="connsiteX1648" fmla="*/ 39210 w 871061"/>
                    <a:gd name="connsiteY1648" fmla="*/ 278850 h 674880"/>
                    <a:gd name="connsiteX1649" fmla="*/ 40703 w 871061"/>
                    <a:gd name="connsiteY1649" fmla="*/ 281728 h 674880"/>
                    <a:gd name="connsiteX1650" fmla="*/ 40934 w 871061"/>
                    <a:gd name="connsiteY1650" fmla="*/ 282165 h 674880"/>
                    <a:gd name="connsiteX1651" fmla="*/ 41225 w 871061"/>
                    <a:gd name="connsiteY1651" fmla="*/ 282554 h 674880"/>
                    <a:gd name="connsiteX1652" fmla="*/ 44322 w 871061"/>
                    <a:gd name="connsiteY1652" fmla="*/ 286719 h 674880"/>
                    <a:gd name="connsiteX1653" fmla="*/ 44698 w 871061"/>
                    <a:gd name="connsiteY1653" fmla="*/ 287229 h 674880"/>
                    <a:gd name="connsiteX1654" fmla="*/ 45172 w 871061"/>
                    <a:gd name="connsiteY1654" fmla="*/ 287642 h 674880"/>
                    <a:gd name="connsiteX1655" fmla="*/ 71024 w 871061"/>
                    <a:gd name="connsiteY1655" fmla="*/ 310556 h 674880"/>
                    <a:gd name="connsiteX1656" fmla="*/ 72991 w 871061"/>
                    <a:gd name="connsiteY1656" fmla="*/ 313009 h 674880"/>
                    <a:gd name="connsiteX1657" fmla="*/ 75942 w 871061"/>
                    <a:gd name="connsiteY1657" fmla="*/ 319857 h 674880"/>
                    <a:gd name="connsiteX1658" fmla="*/ 76440 w 871061"/>
                    <a:gd name="connsiteY1658" fmla="*/ 321424 h 674880"/>
                    <a:gd name="connsiteX1659" fmla="*/ 76513 w 871061"/>
                    <a:gd name="connsiteY1659" fmla="*/ 322007 h 674880"/>
                    <a:gd name="connsiteX1660" fmla="*/ 76428 w 871061"/>
                    <a:gd name="connsiteY1660" fmla="*/ 322407 h 674880"/>
                    <a:gd name="connsiteX1661" fmla="*/ 74509 w 871061"/>
                    <a:gd name="connsiteY1661" fmla="*/ 327677 h 674880"/>
                    <a:gd name="connsiteX1662" fmla="*/ 73926 w 871061"/>
                    <a:gd name="connsiteY1662" fmla="*/ 329584 h 674880"/>
                    <a:gd name="connsiteX1663" fmla="*/ 73732 w 871061"/>
                    <a:gd name="connsiteY1663" fmla="*/ 330252 h 674880"/>
                    <a:gd name="connsiteX1664" fmla="*/ 73683 w 871061"/>
                    <a:gd name="connsiteY1664" fmla="*/ 330944 h 674880"/>
                    <a:gd name="connsiteX1665" fmla="*/ 73586 w 871061"/>
                    <a:gd name="connsiteY1665" fmla="*/ 332413 h 674880"/>
                    <a:gd name="connsiteX1666" fmla="*/ 73538 w 871061"/>
                    <a:gd name="connsiteY1666" fmla="*/ 333154 h 674880"/>
                    <a:gd name="connsiteX1667" fmla="*/ 73671 w 871061"/>
                    <a:gd name="connsiteY1667" fmla="*/ 333882 h 674880"/>
                    <a:gd name="connsiteX1668" fmla="*/ 73999 w 871061"/>
                    <a:gd name="connsiteY1668" fmla="*/ 335704 h 674880"/>
                    <a:gd name="connsiteX1669" fmla="*/ 74133 w 871061"/>
                    <a:gd name="connsiteY1669" fmla="*/ 336469 h 674880"/>
                    <a:gd name="connsiteX1670" fmla="*/ 74473 w 871061"/>
                    <a:gd name="connsiteY1670" fmla="*/ 337185 h 674880"/>
                    <a:gd name="connsiteX1671" fmla="*/ 76428 w 871061"/>
                    <a:gd name="connsiteY1671" fmla="*/ 341387 h 674880"/>
                    <a:gd name="connsiteX1672" fmla="*/ 78456 w 871061"/>
                    <a:gd name="connsiteY1672" fmla="*/ 347252 h 674880"/>
                    <a:gd name="connsiteX1673" fmla="*/ 78589 w 871061"/>
                    <a:gd name="connsiteY1673" fmla="*/ 347652 h 674880"/>
                    <a:gd name="connsiteX1674" fmla="*/ 78783 w 871061"/>
                    <a:gd name="connsiteY1674" fmla="*/ 348029 h 674880"/>
                    <a:gd name="connsiteX1675" fmla="*/ 80496 w 871061"/>
                    <a:gd name="connsiteY1675" fmla="*/ 351356 h 674880"/>
                    <a:gd name="connsiteX1676" fmla="*/ 80884 w 871061"/>
                    <a:gd name="connsiteY1676" fmla="*/ 352109 h 674880"/>
                    <a:gd name="connsiteX1677" fmla="*/ 81455 w 871061"/>
                    <a:gd name="connsiteY1677" fmla="*/ 352716 h 674880"/>
                    <a:gd name="connsiteX1678" fmla="*/ 83179 w 871061"/>
                    <a:gd name="connsiteY1678" fmla="*/ 354562 h 674880"/>
                    <a:gd name="connsiteX1679" fmla="*/ 83604 w 871061"/>
                    <a:gd name="connsiteY1679" fmla="*/ 355011 h 674880"/>
                    <a:gd name="connsiteX1680" fmla="*/ 84102 w 871061"/>
                    <a:gd name="connsiteY1680" fmla="*/ 355363 h 674880"/>
                    <a:gd name="connsiteX1681" fmla="*/ 85996 w 871061"/>
                    <a:gd name="connsiteY1681" fmla="*/ 356711 h 674880"/>
                    <a:gd name="connsiteX1682" fmla="*/ 86664 w 871061"/>
                    <a:gd name="connsiteY1682" fmla="*/ 357197 h 674880"/>
                    <a:gd name="connsiteX1683" fmla="*/ 87429 w 871061"/>
                    <a:gd name="connsiteY1683" fmla="*/ 357476 h 674880"/>
                    <a:gd name="connsiteX1684" fmla="*/ 89166 w 871061"/>
                    <a:gd name="connsiteY1684" fmla="*/ 358108 h 674880"/>
                    <a:gd name="connsiteX1685" fmla="*/ 89736 w 871061"/>
                    <a:gd name="connsiteY1685" fmla="*/ 358314 h 674880"/>
                    <a:gd name="connsiteX1686" fmla="*/ 90343 w 871061"/>
                    <a:gd name="connsiteY1686" fmla="*/ 358411 h 674880"/>
                    <a:gd name="connsiteX1687" fmla="*/ 91728 w 871061"/>
                    <a:gd name="connsiteY1687" fmla="*/ 358617 h 674880"/>
                    <a:gd name="connsiteX1688" fmla="*/ 92298 w 871061"/>
                    <a:gd name="connsiteY1688" fmla="*/ 358702 h 674880"/>
                    <a:gd name="connsiteX1689" fmla="*/ 92869 w 871061"/>
                    <a:gd name="connsiteY1689" fmla="*/ 358678 h 674880"/>
                    <a:gd name="connsiteX1690" fmla="*/ 94363 w 871061"/>
                    <a:gd name="connsiteY1690" fmla="*/ 358617 h 674880"/>
                    <a:gd name="connsiteX1691" fmla="*/ 94836 w 871061"/>
                    <a:gd name="connsiteY1691" fmla="*/ 358605 h 674880"/>
                    <a:gd name="connsiteX1692" fmla="*/ 95298 w 871061"/>
                    <a:gd name="connsiteY1692" fmla="*/ 358520 h 674880"/>
                    <a:gd name="connsiteX1693" fmla="*/ 99657 w 871061"/>
                    <a:gd name="connsiteY1693" fmla="*/ 357658 h 674880"/>
                    <a:gd name="connsiteX1694" fmla="*/ 99936 w 871061"/>
                    <a:gd name="connsiteY1694" fmla="*/ 357634 h 674880"/>
                    <a:gd name="connsiteX1695" fmla="*/ 100762 w 871061"/>
                    <a:gd name="connsiteY1695" fmla="*/ 357670 h 674880"/>
                    <a:gd name="connsiteX1696" fmla="*/ 101430 w 871061"/>
                    <a:gd name="connsiteY1696" fmla="*/ 357804 h 674880"/>
                    <a:gd name="connsiteX1697" fmla="*/ 112480 w 871061"/>
                    <a:gd name="connsiteY1697" fmla="*/ 362333 h 674880"/>
                    <a:gd name="connsiteX1698" fmla="*/ 112990 w 871061"/>
                    <a:gd name="connsiteY1698" fmla="*/ 362552 h 674880"/>
                    <a:gd name="connsiteX1699" fmla="*/ 113524 w 871061"/>
                    <a:gd name="connsiteY1699" fmla="*/ 362661 h 674880"/>
                    <a:gd name="connsiteX1700" fmla="*/ 114617 w 871061"/>
                    <a:gd name="connsiteY1700" fmla="*/ 362892 h 674880"/>
                    <a:gd name="connsiteX1701" fmla="*/ 115382 w 871061"/>
                    <a:gd name="connsiteY1701" fmla="*/ 363050 h 674880"/>
                    <a:gd name="connsiteX1702" fmla="*/ 116159 w 871061"/>
                    <a:gd name="connsiteY1702" fmla="*/ 363013 h 674880"/>
                    <a:gd name="connsiteX1703" fmla="*/ 116912 w 871061"/>
                    <a:gd name="connsiteY1703" fmla="*/ 362977 h 674880"/>
                    <a:gd name="connsiteX1704" fmla="*/ 119183 w 871061"/>
                    <a:gd name="connsiteY1704" fmla="*/ 362868 h 674880"/>
                    <a:gd name="connsiteX1705" fmla="*/ 120822 w 871061"/>
                    <a:gd name="connsiteY1705" fmla="*/ 361313 h 674880"/>
                    <a:gd name="connsiteX1706" fmla="*/ 121441 w 871061"/>
                    <a:gd name="connsiteY1706" fmla="*/ 360718 h 674880"/>
                    <a:gd name="connsiteX1707" fmla="*/ 122024 w 871061"/>
                    <a:gd name="connsiteY1707" fmla="*/ 360172 h 674880"/>
                    <a:gd name="connsiteX1708" fmla="*/ 122437 w 871061"/>
                    <a:gd name="connsiteY1708" fmla="*/ 359492 h 674880"/>
                    <a:gd name="connsiteX1709" fmla="*/ 122850 w 871061"/>
                    <a:gd name="connsiteY1709" fmla="*/ 358824 h 674880"/>
                    <a:gd name="connsiteX1710" fmla="*/ 123494 w 871061"/>
                    <a:gd name="connsiteY1710" fmla="*/ 357768 h 674880"/>
                    <a:gd name="connsiteX1711" fmla="*/ 123676 w 871061"/>
                    <a:gd name="connsiteY1711" fmla="*/ 356541 h 674880"/>
                    <a:gd name="connsiteX1712" fmla="*/ 123846 w 871061"/>
                    <a:gd name="connsiteY1712" fmla="*/ 355363 h 674880"/>
                    <a:gd name="connsiteX1713" fmla="*/ 124004 w 871061"/>
                    <a:gd name="connsiteY1713" fmla="*/ 354331 h 674880"/>
                    <a:gd name="connsiteX1714" fmla="*/ 123797 w 871061"/>
                    <a:gd name="connsiteY1714" fmla="*/ 353311 h 674880"/>
                    <a:gd name="connsiteX1715" fmla="*/ 123044 w 871061"/>
                    <a:gd name="connsiteY1715" fmla="*/ 349522 h 674880"/>
                    <a:gd name="connsiteX1716" fmla="*/ 123044 w 871061"/>
                    <a:gd name="connsiteY1716" fmla="*/ 349486 h 674880"/>
                    <a:gd name="connsiteX1717" fmla="*/ 123433 w 871061"/>
                    <a:gd name="connsiteY1717" fmla="*/ 349389 h 674880"/>
                    <a:gd name="connsiteX1718" fmla="*/ 123809 w 871061"/>
                    <a:gd name="connsiteY1718" fmla="*/ 349280 h 674880"/>
                    <a:gd name="connsiteX1719" fmla="*/ 124174 w 871061"/>
                    <a:gd name="connsiteY1719" fmla="*/ 349122 h 674880"/>
                    <a:gd name="connsiteX1720" fmla="*/ 125327 w 871061"/>
                    <a:gd name="connsiteY1720" fmla="*/ 348612 h 674880"/>
                    <a:gd name="connsiteX1721" fmla="*/ 125327 w 871061"/>
                    <a:gd name="connsiteY1721" fmla="*/ 348672 h 674880"/>
                    <a:gd name="connsiteX1722" fmla="*/ 125388 w 871061"/>
                    <a:gd name="connsiteY1722" fmla="*/ 348976 h 674880"/>
                    <a:gd name="connsiteX1723" fmla="*/ 125898 w 871061"/>
                    <a:gd name="connsiteY1723" fmla="*/ 351271 h 674880"/>
                    <a:gd name="connsiteX1724" fmla="*/ 126068 w 871061"/>
                    <a:gd name="connsiteY1724" fmla="*/ 352036 h 674880"/>
                    <a:gd name="connsiteX1725" fmla="*/ 126432 w 871061"/>
                    <a:gd name="connsiteY1725" fmla="*/ 352740 h 674880"/>
                    <a:gd name="connsiteX1726" fmla="*/ 128958 w 871061"/>
                    <a:gd name="connsiteY1726" fmla="*/ 357610 h 674880"/>
                    <a:gd name="connsiteX1727" fmla="*/ 128630 w 871061"/>
                    <a:gd name="connsiteY1727" fmla="*/ 358362 h 674880"/>
                    <a:gd name="connsiteX1728" fmla="*/ 128120 w 871061"/>
                    <a:gd name="connsiteY1728" fmla="*/ 359261 h 674880"/>
                    <a:gd name="connsiteX1729" fmla="*/ 126372 w 871061"/>
                    <a:gd name="connsiteY1729" fmla="*/ 361495 h 674880"/>
                    <a:gd name="connsiteX1730" fmla="*/ 120798 w 871061"/>
                    <a:gd name="connsiteY1730" fmla="*/ 367312 h 674880"/>
                    <a:gd name="connsiteX1731" fmla="*/ 120506 w 871061"/>
                    <a:gd name="connsiteY1731" fmla="*/ 367615 h 674880"/>
                    <a:gd name="connsiteX1732" fmla="*/ 120252 w 871061"/>
                    <a:gd name="connsiteY1732" fmla="*/ 367968 h 674880"/>
                    <a:gd name="connsiteX1733" fmla="*/ 119219 w 871061"/>
                    <a:gd name="connsiteY1733" fmla="*/ 369400 h 674880"/>
                    <a:gd name="connsiteX1734" fmla="*/ 118952 w 871061"/>
                    <a:gd name="connsiteY1734" fmla="*/ 369765 h 674880"/>
                    <a:gd name="connsiteX1735" fmla="*/ 118746 w 871061"/>
                    <a:gd name="connsiteY1735" fmla="*/ 370165 h 674880"/>
                    <a:gd name="connsiteX1736" fmla="*/ 117932 w 871061"/>
                    <a:gd name="connsiteY1736" fmla="*/ 371744 h 674880"/>
                    <a:gd name="connsiteX1737" fmla="*/ 117459 w 871061"/>
                    <a:gd name="connsiteY1737" fmla="*/ 372655 h 674880"/>
                    <a:gd name="connsiteX1738" fmla="*/ 117313 w 871061"/>
                    <a:gd name="connsiteY1738" fmla="*/ 373663 h 674880"/>
                    <a:gd name="connsiteX1739" fmla="*/ 117082 w 871061"/>
                    <a:gd name="connsiteY1739" fmla="*/ 375180 h 674880"/>
                    <a:gd name="connsiteX1740" fmla="*/ 117009 w 871061"/>
                    <a:gd name="connsiteY1740" fmla="*/ 375727 h 674880"/>
                    <a:gd name="connsiteX1741" fmla="*/ 117034 w 871061"/>
                    <a:gd name="connsiteY1741" fmla="*/ 376273 h 674880"/>
                    <a:gd name="connsiteX1742" fmla="*/ 117094 w 871061"/>
                    <a:gd name="connsiteY1742" fmla="*/ 377852 h 674880"/>
                    <a:gd name="connsiteX1743" fmla="*/ 117277 w 871061"/>
                    <a:gd name="connsiteY1743" fmla="*/ 379916 h 674880"/>
                    <a:gd name="connsiteX1744" fmla="*/ 117301 w 871061"/>
                    <a:gd name="connsiteY1744" fmla="*/ 380936 h 674880"/>
                    <a:gd name="connsiteX1745" fmla="*/ 117204 w 871061"/>
                    <a:gd name="connsiteY1745" fmla="*/ 382090 h 674880"/>
                    <a:gd name="connsiteX1746" fmla="*/ 116086 w 871061"/>
                    <a:gd name="connsiteY1746" fmla="*/ 386971 h 674880"/>
                    <a:gd name="connsiteX1747" fmla="*/ 116014 w 871061"/>
                    <a:gd name="connsiteY1747" fmla="*/ 387287 h 674880"/>
                    <a:gd name="connsiteX1748" fmla="*/ 115977 w 871061"/>
                    <a:gd name="connsiteY1748" fmla="*/ 387603 h 674880"/>
                    <a:gd name="connsiteX1749" fmla="*/ 115746 w 871061"/>
                    <a:gd name="connsiteY1749" fmla="*/ 389558 h 674880"/>
                    <a:gd name="connsiteX1750" fmla="*/ 115710 w 871061"/>
                    <a:gd name="connsiteY1750" fmla="*/ 389910 h 674880"/>
                    <a:gd name="connsiteX1751" fmla="*/ 115710 w 871061"/>
                    <a:gd name="connsiteY1751" fmla="*/ 390262 h 674880"/>
                    <a:gd name="connsiteX1752" fmla="*/ 115710 w 871061"/>
                    <a:gd name="connsiteY1752" fmla="*/ 392727 h 674880"/>
                    <a:gd name="connsiteX1753" fmla="*/ 115710 w 871061"/>
                    <a:gd name="connsiteY1753" fmla="*/ 393395 h 674880"/>
                    <a:gd name="connsiteX1754" fmla="*/ 115856 w 871061"/>
                    <a:gd name="connsiteY1754" fmla="*/ 394051 h 674880"/>
                    <a:gd name="connsiteX1755" fmla="*/ 116426 w 871061"/>
                    <a:gd name="connsiteY1755" fmla="*/ 396588 h 674880"/>
                    <a:gd name="connsiteX1756" fmla="*/ 116597 w 871061"/>
                    <a:gd name="connsiteY1756" fmla="*/ 397353 h 674880"/>
                    <a:gd name="connsiteX1757" fmla="*/ 116949 w 871061"/>
                    <a:gd name="connsiteY1757" fmla="*/ 398046 h 674880"/>
                    <a:gd name="connsiteX1758" fmla="*/ 117701 w 871061"/>
                    <a:gd name="connsiteY1758" fmla="*/ 399503 h 674880"/>
                    <a:gd name="connsiteX1759" fmla="*/ 118321 w 871061"/>
                    <a:gd name="connsiteY1759" fmla="*/ 400693 h 674880"/>
                    <a:gd name="connsiteX1760" fmla="*/ 119377 w 871061"/>
                    <a:gd name="connsiteY1760" fmla="*/ 401506 h 674880"/>
                    <a:gd name="connsiteX1761" fmla="*/ 120409 w 871061"/>
                    <a:gd name="connsiteY1761" fmla="*/ 402308 h 674880"/>
                    <a:gd name="connsiteX1762" fmla="*/ 122134 w 871061"/>
                    <a:gd name="connsiteY1762" fmla="*/ 403644 h 674880"/>
                    <a:gd name="connsiteX1763" fmla="*/ 124307 w 871061"/>
                    <a:gd name="connsiteY1763" fmla="*/ 403583 h 674880"/>
                    <a:gd name="connsiteX1764" fmla="*/ 125169 w 871061"/>
                    <a:gd name="connsiteY1764" fmla="*/ 403559 h 674880"/>
                    <a:gd name="connsiteX1765" fmla="*/ 126857 w 871061"/>
                    <a:gd name="connsiteY1765" fmla="*/ 403510 h 674880"/>
                    <a:gd name="connsiteX1766" fmla="*/ 128278 w 871061"/>
                    <a:gd name="connsiteY1766" fmla="*/ 402599 h 674880"/>
                    <a:gd name="connsiteX1767" fmla="*/ 129432 w 871061"/>
                    <a:gd name="connsiteY1767" fmla="*/ 401859 h 674880"/>
                    <a:gd name="connsiteX1768" fmla="*/ 130002 w 871061"/>
                    <a:gd name="connsiteY1768" fmla="*/ 401482 h 674880"/>
                    <a:gd name="connsiteX1769" fmla="*/ 130488 w 871061"/>
                    <a:gd name="connsiteY1769" fmla="*/ 400984 h 674880"/>
                    <a:gd name="connsiteX1770" fmla="*/ 131836 w 871061"/>
                    <a:gd name="connsiteY1770" fmla="*/ 399600 h 674880"/>
                    <a:gd name="connsiteX1771" fmla="*/ 133451 w 871061"/>
                    <a:gd name="connsiteY1771" fmla="*/ 407578 h 674880"/>
                    <a:gd name="connsiteX1772" fmla="*/ 132200 w 871061"/>
                    <a:gd name="connsiteY1772" fmla="*/ 421931 h 674880"/>
                    <a:gd name="connsiteX1773" fmla="*/ 130172 w 871061"/>
                    <a:gd name="connsiteY1773" fmla="*/ 429994 h 674880"/>
                    <a:gd name="connsiteX1774" fmla="*/ 129832 w 871061"/>
                    <a:gd name="connsiteY1774" fmla="*/ 431341 h 674880"/>
                    <a:gd name="connsiteX1775" fmla="*/ 130112 w 871061"/>
                    <a:gd name="connsiteY1775" fmla="*/ 432701 h 674880"/>
                    <a:gd name="connsiteX1776" fmla="*/ 131787 w 871061"/>
                    <a:gd name="connsiteY1776" fmla="*/ 440801 h 674880"/>
                    <a:gd name="connsiteX1777" fmla="*/ 132030 w 871061"/>
                    <a:gd name="connsiteY1777" fmla="*/ 441942 h 674880"/>
                    <a:gd name="connsiteX1778" fmla="*/ 132674 w 871061"/>
                    <a:gd name="connsiteY1778" fmla="*/ 442914 h 674880"/>
                    <a:gd name="connsiteX1779" fmla="*/ 135649 w 871061"/>
                    <a:gd name="connsiteY1779" fmla="*/ 447419 h 674880"/>
                    <a:gd name="connsiteX1780" fmla="*/ 136134 w 871061"/>
                    <a:gd name="connsiteY1780" fmla="*/ 448160 h 674880"/>
                    <a:gd name="connsiteX1781" fmla="*/ 136802 w 871061"/>
                    <a:gd name="connsiteY1781" fmla="*/ 448718 h 674880"/>
                    <a:gd name="connsiteX1782" fmla="*/ 142692 w 871061"/>
                    <a:gd name="connsiteY1782" fmla="*/ 453697 h 674880"/>
                    <a:gd name="connsiteX1783" fmla="*/ 143785 w 871061"/>
                    <a:gd name="connsiteY1783" fmla="*/ 454960 h 674880"/>
                    <a:gd name="connsiteX1784" fmla="*/ 144246 w 871061"/>
                    <a:gd name="connsiteY1784" fmla="*/ 456028 h 674880"/>
                    <a:gd name="connsiteX1785" fmla="*/ 144695 w 871061"/>
                    <a:gd name="connsiteY1785" fmla="*/ 457862 h 674880"/>
                    <a:gd name="connsiteX1786" fmla="*/ 145460 w 871061"/>
                    <a:gd name="connsiteY1786" fmla="*/ 462937 h 674880"/>
                    <a:gd name="connsiteX1787" fmla="*/ 145521 w 871061"/>
                    <a:gd name="connsiteY1787" fmla="*/ 463277 h 674880"/>
                    <a:gd name="connsiteX1788" fmla="*/ 145606 w 871061"/>
                    <a:gd name="connsiteY1788" fmla="*/ 463617 h 674880"/>
                    <a:gd name="connsiteX1789" fmla="*/ 146699 w 871061"/>
                    <a:gd name="connsiteY1789" fmla="*/ 467552 h 674880"/>
                    <a:gd name="connsiteX1790" fmla="*/ 146796 w 871061"/>
                    <a:gd name="connsiteY1790" fmla="*/ 467892 h 674880"/>
                    <a:gd name="connsiteX1791" fmla="*/ 146929 w 871061"/>
                    <a:gd name="connsiteY1791" fmla="*/ 468220 h 674880"/>
                    <a:gd name="connsiteX1792" fmla="*/ 147682 w 871061"/>
                    <a:gd name="connsiteY1792" fmla="*/ 470029 h 674880"/>
                    <a:gd name="connsiteX1793" fmla="*/ 147877 w 871061"/>
                    <a:gd name="connsiteY1793" fmla="*/ 470503 h 674880"/>
                    <a:gd name="connsiteX1794" fmla="*/ 148132 w 871061"/>
                    <a:gd name="connsiteY1794" fmla="*/ 470928 h 674880"/>
                    <a:gd name="connsiteX1795" fmla="*/ 148714 w 871061"/>
                    <a:gd name="connsiteY1795" fmla="*/ 471875 h 674880"/>
                    <a:gd name="connsiteX1796" fmla="*/ 149261 w 871061"/>
                    <a:gd name="connsiteY1796" fmla="*/ 472761 h 674880"/>
                    <a:gd name="connsiteX1797" fmla="*/ 150062 w 871061"/>
                    <a:gd name="connsiteY1797" fmla="*/ 473417 h 674880"/>
                    <a:gd name="connsiteX1798" fmla="*/ 150852 w 871061"/>
                    <a:gd name="connsiteY1798" fmla="*/ 474048 h 674880"/>
                    <a:gd name="connsiteX1799" fmla="*/ 151410 w 871061"/>
                    <a:gd name="connsiteY1799" fmla="*/ 474497 h 674880"/>
                    <a:gd name="connsiteX1800" fmla="*/ 152066 w 871061"/>
                    <a:gd name="connsiteY1800" fmla="*/ 474801 h 674880"/>
                    <a:gd name="connsiteX1801" fmla="*/ 153098 w 871061"/>
                    <a:gd name="connsiteY1801" fmla="*/ 475287 h 674880"/>
                    <a:gd name="connsiteX1802" fmla="*/ 153438 w 871061"/>
                    <a:gd name="connsiteY1802" fmla="*/ 475445 h 674880"/>
                    <a:gd name="connsiteX1803" fmla="*/ 153790 w 871061"/>
                    <a:gd name="connsiteY1803" fmla="*/ 475566 h 674880"/>
                    <a:gd name="connsiteX1804" fmla="*/ 155187 w 871061"/>
                    <a:gd name="connsiteY1804" fmla="*/ 476028 h 674880"/>
                    <a:gd name="connsiteX1805" fmla="*/ 156219 w 871061"/>
                    <a:gd name="connsiteY1805" fmla="*/ 476368 h 674880"/>
                    <a:gd name="connsiteX1806" fmla="*/ 157300 w 871061"/>
                    <a:gd name="connsiteY1806" fmla="*/ 476331 h 674880"/>
                    <a:gd name="connsiteX1807" fmla="*/ 158611 w 871061"/>
                    <a:gd name="connsiteY1807" fmla="*/ 476283 h 674880"/>
                    <a:gd name="connsiteX1808" fmla="*/ 159595 w 871061"/>
                    <a:gd name="connsiteY1808" fmla="*/ 476246 h 674880"/>
                    <a:gd name="connsiteX1809" fmla="*/ 160517 w 871061"/>
                    <a:gd name="connsiteY1809" fmla="*/ 475906 h 674880"/>
                    <a:gd name="connsiteX1810" fmla="*/ 161671 w 871061"/>
                    <a:gd name="connsiteY1810" fmla="*/ 475469 h 674880"/>
                    <a:gd name="connsiteX1811" fmla="*/ 163128 w 871061"/>
                    <a:gd name="connsiteY1811" fmla="*/ 474923 h 674880"/>
                    <a:gd name="connsiteX1812" fmla="*/ 164136 w 871061"/>
                    <a:gd name="connsiteY1812" fmla="*/ 473757 h 674880"/>
                    <a:gd name="connsiteX1813" fmla="*/ 164707 w 871061"/>
                    <a:gd name="connsiteY1813" fmla="*/ 473101 h 674880"/>
                    <a:gd name="connsiteX1814" fmla="*/ 165022 w 871061"/>
                    <a:gd name="connsiteY1814" fmla="*/ 472737 h 674880"/>
                    <a:gd name="connsiteX1815" fmla="*/ 165399 w 871061"/>
                    <a:gd name="connsiteY1815" fmla="*/ 472980 h 674880"/>
                    <a:gd name="connsiteX1816" fmla="*/ 165678 w 871061"/>
                    <a:gd name="connsiteY1816" fmla="*/ 473162 h 674880"/>
                    <a:gd name="connsiteX1817" fmla="*/ 165970 w 871061"/>
                    <a:gd name="connsiteY1817" fmla="*/ 473308 h 674880"/>
                    <a:gd name="connsiteX1818" fmla="*/ 167220 w 871061"/>
                    <a:gd name="connsiteY1818" fmla="*/ 473915 h 674880"/>
                    <a:gd name="connsiteX1819" fmla="*/ 167633 w 871061"/>
                    <a:gd name="connsiteY1819" fmla="*/ 474109 h 674880"/>
                    <a:gd name="connsiteX1820" fmla="*/ 168070 w 871061"/>
                    <a:gd name="connsiteY1820" fmla="*/ 474243 h 674880"/>
                    <a:gd name="connsiteX1821" fmla="*/ 171240 w 871061"/>
                    <a:gd name="connsiteY1821" fmla="*/ 475226 h 674880"/>
                    <a:gd name="connsiteX1822" fmla="*/ 171689 w 871061"/>
                    <a:gd name="connsiteY1822" fmla="*/ 475360 h 674880"/>
                    <a:gd name="connsiteX1823" fmla="*/ 172150 w 871061"/>
                    <a:gd name="connsiteY1823" fmla="*/ 475432 h 674880"/>
                    <a:gd name="connsiteX1824" fmla="*/ 173875 w 871061"/>
                    <a:gd name="connsiteY1824" fmla="*/ 475688 h 674880"/>
                    <a:gd name="connsiteX1825" fmla="*/ 174324 w 871061"/>
                    <a:gd name="connsiteY1825" fmla="*/ 475748 h 674880"/>
                    <a:gd name="connsiteX1826" fmla="*/ 174773 w 871061"/>
                    <a:gd name="connsiteY1826" fmla="*/ 475748 h 674880"/>
                    <a:gd name="connsiteX1827" fmla="*/ 176546 w 871061"/>
                    <a:gd name="connsiteY1827" fmla="*/ 475748 h 674880"/>
                    <a:gd name="connsiteX1828" fmla="*/ 177578 w 871061"/>
                    <a:gd name="connsiteY1828" fmla="*/ 475748 h 674880"/>
                    <a:gd name="connsiteX1829" fmla="*/ 178550 w 871061"/>
                    <a:gd name="connsiteY1829" fmla="*/ 475408 h 674880"/>
                    <a:gd name="connsiteX1830" fmla="*/ 180043 w 871061"/>
                    <a:gd name="connsiteY1830" fmla="*/ 474886 h 674880"/>
                    <a:gd name="connsiteX1831" fmla="*/ 180347 w 871061"/>
                    <a:gd name="connsiteY1831" fmla="*/ 474777 h 674880"/>
                    <a:gd name="connsiteX1832" fmla="*/ 180638 w 871061"/>
                    <a:gd name="connsiteY1832" fmla="*/ 474631 h 674880"/>
                    <a:gd name="connsiteX1833" fmla="*/ 181233 w 871061"/>
                    <a:gd name="connsiteY1833" fmla="*/ 474352 h 674880"/>
                    <a:gd name="connsiteX1834" fmla="*/ 181938 w 871061"/>
                    <a:gd name="connsiteY1834" fmla="*/ 474279 h 674880"/>
                    <a:gd name="connsiteX1835" fmla="*/ 183298 w 871061"/>
                    <a:gd name="connsiteY1835" fmla="*/ 474303 h 674880"/>
                    <a:gd name="connsiteX1836" fmla="*/ 183880 w 871061"/>
                    <a:gd name="connsiteY1836" fmla="*/ 474376 h 674880"/>
                    <a:gd name="connsiteX1837" fmla="*/ 184755 w 871061"/>
                    <a:gd name="connsiteY1837" fmla="*/ 474655 h 674880"/>
                    <a:gd name="connsiteX1838" fmla="*/ 188471 w 871061"/>
                    <a:gd name="connsiteY1838" fmla="*/ 476392 h 674880"/>
                    <a:gd name="connsiteX1839" fmla="*/ 188677 w 871061"/>
                    <a:gd name="connsiteY1839" fmla="*/ 478784 h 674880"/>
                    <a:gd name="connsiteX1840" fmla="*/ 188725 w 871061"/>
                    <a:gd name="connsiteY1840" fmla="*/ 479403 h 674880"/>
                    <a:gd name="connsiteX1841" fmla="*/ 188908 w 871061"/>
                    <a:gd name="connsiteY1841" fmla="*/ 480011 h 674880"/>
                    <a:gd name="connsiteX1842" fmla="*/ 189600 w 871061"/>
                    <a:gd name="connsiteY1842" fmla="*/ 482330 h 674880"/>
                    <a:gd name="connsiteX1843" fmla="*/ 189745 w 871061"/>
                    <a:gd name="connsiteY1843" fmla="*/ 482815 h 674880"/>
                    <a:gd name="connsiteX1844" fmla="*/ 189976 w 871061"/>
                    <a:gd name="connsiteY1844" fmla="*/ 483265 h 674880"/>
                    <a:gd name="connsiteX1845" fmla="*/ 191761 w 871061"/>
                    <a:gd name="connsiteY1845" fmla="*/ 486895 h 674880"/>
                    <a:gd name="connsiteX1846" fmla="*/ 192259 w 871061"/>
                    <a:gd name="connsiteY1846" fmla="*/ 488219 h 674880"/>
                    <a:gd name="connsiteX1847" fmla="*/ 192453 w 871061"/>
                    <a:gd name="connsiteY1847" fmla="*/ 489178 h 674880"/>
                    <a:gd name="connsiteX1848" fmla="*/ 192429 w 871061"/>
                    <a:gd name="connsiteY1848" fmla="*/ 489397 h 674880"/>
                    <a:gd name="connsiteX1849" fmla="*/ 192028 w 871061"/>
                    <a:gd name="connsiteY1849" fmla="*/ 490235 h 674880"/>
                    <a:gd name="connsiteX1850" fmla="*/ 190863 w 871061"/>
                    <a:gd name="connsiteY1850" fmla="*/ 491789 h 674880"/>
                    <a:gd name="connsiteX1851" fmla="*/ 189175 w 871061"/>
                    <a:gd name="connsiteY1851" fmla="*/ 493501 h 674880"/>
                    <a:gd name="connsiteX1852" fmla="*/ 182265 w 871061"/>
                    <a:gd name="connsiteY1852" fmla="*/ 498383 h 674880"/>
                    <a:gd name="connsiteX1853" fmla="*/ 180396 w 871061"/>
                    <a:gd name="connsiteY1853" fmla="*/ 499949 h 674880"/>
                    <a:gd name="connsiteX1854" fmla="*/ 179995 w 871061"/>
                    <a:gd name="connsiteY1854" fmla="*/ 500289 h 674880"/>
                    <a:gd name="connsiteX1855" fmla="*/ 179655 w 871061"/>
                    <a:gd name="connsiteY1855" fmla="*/ 500702 h 674880"/>
                    <a:gd name="connsiteX1856" fmla="*/ 177991 w 871061"/>
                    <a:gd name="connsiteY1856" fmla="*/ 502730 h 674880"/>
                    <a:gd name="connsiteX1857" fmla="*/ 175805 w 871061"/>
                    <a:gd name="connsiteY1857" fmla="*/ 503483 h 674880"/>
                    <a:gd name="connsiteX1858" fmla="*/ 175296 w 871061"/>
                    <a:gd name="connsiteY1858" fmla="*/ 503665 h 674880"/>
                    <a:gd name="connsiteX1859" fmla="*/ 174822 w 871061"/>
                    <a:gd name="connsiteY1859" fmla="*/ 503920 h 674880"/>
                    <a:gd name="connsiteX1860" fmla="*/ 173438 w 871061"/>
                    <a:gd name="connsiteY1860" fmla="*/ 504697 h 674880"/>
                    <a:gd name="connsiteX1861" fmla="*/ 172697 w 871061"/>
                    <a:gd name="connsiteY1861" fmla="*/ 505110 h 674880"/>
                    <a:gd name="connsiteX1862" fmla="*/ 172102 w 871061"/>
                    <a:gd name="connsiteY1862" fmla="*/ 505705 h 674880"/>
                    <a:gd name="connsiteX1863" fmla="*/ 170778 w 871061"/>
                    <a:gd name="connsiteY1863" fmla="*/ 507028 h 674880"/>
                    <a:gd name="connsiteX1864" fmla="*/ 170365 w 871061"/>
                    <a:gd name="connsiteY1864" fmla="*/ 507453 h 674880"/>
                    <a:gd name="connsiteX1865" fmla="*/ 170037 w 871061"/>
                    <a:gd name="connsiteY1865" fmla="*/ 507951 h 674880"/>
                    <a:gd name="connsiteX1866" fmla="*/ 169066 w 871061"/>
                    <a:gd name="connsiteY1866" fmla="*/ 509408 h 674880"/>
                    <a:gd name="connsiteX1867" fmla="*/ 168799 w 871061"/>
                    <a:gd name="connsiteY1867" fmla="*/ 509809 h 674880"/>
                    <a:gd name="connsiteX1868" fmla="*/ 168593 w 871061"/>
                    <a:gd name="connsiteY1868" fmla="*/ 510246 h 674880"/>
                    <a:gd name="connsiteX1869" fmla="*/ 167779 w 871061"/>
                    <a:gd name="connsiteY1869" fmla="*/ 512031 h 674880"/>
                    <a:gd name="connsiteX1870" fmla="*/ 167609 w 871061"/>
                    <a:gd name="connsiteY1870" fmla="*/ 512408 h 674880"/>
                    <a:gd name="connsiteX1871" fmla="*/ 167488 w 871061"/>
                    <a:gd name="connsiteY1871" fmla="*/ 512796 h 674880"/>
                    <a:gd name="connsiteX1872" fmla="*/ 164658 w 871061"/>
                    <a:gd name="connsiteY1872" fmla="*/ 522098 h 674880"/>
                    <a:gd name="connsiteX1873" fmla="*/ 164355 w 871061"/>
                    <a:gd name="connsiteY1873" fmla="*/ 522620 h 674880"/>
                    <a:gd name="connsiteX1874" fmla="*/ 164063 w 871061"/>
                    <a:gd name="connsiteY1874" fmla="*/ 522936 h 674880"/>
                    <a:gd name="connsiteX1875" fmla="*/ 154944 w 871061"/>
                    <a:gd name="connsiteY1875" fmla="*/ 529214 h 674880"/>
                    <a:gd name="connsiteX1876" fmla="*/ 154507 w 871061"/>
                    <a:gd name="connsiteY1876" fmla="*/ 529517 h 674880"/>
                    <a:gd name="connsiteX1877" fmla="*/ 154130 w 871061"/>
                    <a:gd name="connsiteY1877" fmla="*/ 529894 h 674880"/>
                    <a:gd name="connsiteX1878" fmla="*/ 150900 w 871061"/>
                    <a:gd name="connsiteY1878" fmla="*/ 533063 h 674880"/>
                    <a:gd name="connsiteX1879" fmla="*/ 150657 w 871061"/>
                    <a:gd name="connsiteY1879" fmla="*/ 533342 h 674880"/>
                    <a:gd name="connsiteX1880" fmla="*/ 150305 w 871061"/>
                    <a:gd name="connsiteY1880" fmla="*/ 533464 h 674880"/>
                    <a:gd name="connsiteX1881" fmla="*/ 149346 w 871061"/>
                    <a:gd name="connsiteY1881" fmla="*/ 533573 h 674880"/>
                    <a:gd name="connsiteX1882" fmla="*/ 144222 w 871061"/>
                    <a:gd name="connsiteY1882" fmla="*/ 533367 h 674880"/>
                    <a:gd name="connsiteX1883" fmla="*/ 143080 w 871061"/>
                    <a:gd name="connsiteY1883" fmla="*/ 533318 h 674880"/>
                    <a:gd name="connsiteX1884" fmla="*/ 142000 w 871061"/>
                    <a:gd name="connsiteY1884" fmla="*/ 533694 h 674880"/>
                    <a:gd name="connsiteX1885" fmla="*/ 140967 w 871061"/>
                    <a:gd name="connsiteY1885" fmla="*/ 534047 h 674880"/>
                    <a:gd name="connsiteX1886" fmla="*/ 139874 w 871061"/>
                    <a:gd name="connsiteY1886" fmla="*/ 534423 h 674880"/>
                    <a:gd name="connsiteX1887" fmla="*/ 138988 w 871061"/>
                    <a:gd name="connsiteY1887" fmla="*/ 535176 h 674880"/>
                    <a:gd name="connsiteX1888" fmla="*/ 136560 w 871061"/>
                    <a:gd name="connsiteY1888" fmla="*/ 537264 h 674880"/>
                    <a:gd name="connsiteX1889" fmla="*/ 136183 w 871061"/>
                    <a:gd name="connsiteY1889" fmla="*/ 537592 h 674880"/>
                    <a:gd name="connsiteX1890" fmla="*/ 135855 w 871061"/>
                    <a:gd name="connsiteY1890" fmla="*/ 537981 h 674880"/>
                    <a:gd name="connsiteX1891" fmla="*/ 133026 w 871061"/>
                    <a:gd name="connsiteY1891" fmla="*/ 541381 h 674880"/>
                    <a:gd name="connsiteX1892" fmla="*/ 132431 w 871061"/>
                    <a:gd name="connsiteY1892" fmla="*/ 541867 h 674880"/>
                    <a:gd name="connsiteX1893" fmla="*/ 131933 w 871061"/>
                    <a:gd name="connsiteY1893" fmla="*/ 542182 h 674880"/>
                    <a:gd name="connsiteX1894" fmla="*/ 129116 w 871061"/>
                    <a:gd name="connsiteY1894" fmla="*/ 543469 h 674880"/>
                    <a:gd name="connsiteX1895" fmla="*/ 128594 w 871061"/>
                    <a:gd name="connsiteY1895" fmla="*/ 543712 h 674880"/>
                    <a:gd name="connsiteX1896" fmla="*/ 128120 w 871061"/>
                    <a:gd name="connsiteY1896" fmla="*/ 544040 h 674880"/>
                    <a:gd name="connsiteX1897" fmla="*/ 127319 w 871061"/>
                    <a:gd name="connsiteY1897" fmla="*/ 544611 h 674880"/>
                    <a:gd name="connsiteX1898" fmla="*/ 126602 w 871061"/>
                    <a:gd name="connsiteY1898" fmla="*/ 545121 h 674880"/>
                    <a:gd name="connsiteX1899" fmla="*/ 126068 w 871061"/>
                    <a:gd name="connsiteY1899" fmla="*/ 545813 h 674880"/>
                    <a:gd name="connsiteX1900" fmla="*/ 125485 w 871061"/>
                    <a:gd name="connsiteY1900" fmla="*/ 546554 h 674880"/>
                    <a:gd name="connsiteX1901" fmla="*/ 125230 w 871061"/>
                    <a:gd name="connsiteY1901" fmla="*/ 546894 h 674880"/>
                    <a:gd name="connsiteX1902" fmla="*/ 125012 w 871061"/>
                    <a:gd name="connsiteY1902" fmla="*/ 547258 h 674880"/>
                    <a:gd name="connsiteX1903" fmla="*/ 124319 w 871061"/>
                    <a:gd name="connsiteY1903" fmla="*/ 548460 h 674880"/>
                    <a:gd name="connsiteX1904" fmla="*/ 124064 w 871061"/>
                    <a:gd name="connsiteY1904" fmla="*/ 548885 h 674880"/>
                    <a:gd name="connsiteX1905" fmla="*/ 123894 w 871061"/>
                    <a:gd name="connsiteY1905" fmla="*/ 549347 h 674880"/>
                    <a:gd name="connsiteX1906" fmla="*/ 123445 w 871061"/>
                    <a:gd name="connsiteY1906" fmla="*/ 550512 h 674880"/>
                    <a:gd name="connsiteX1907" fmla="*/ 122097 w 871061"/>
                    <a:gd name="connsiteY1907" fmla="*/ 554884 h 674880"/>
                    <a:gd name="connsiteX1908" fmla="*/ 121126 w 871061"/>
                    <a:gd name="connsiteY1908" fmla="*/ 557227 h 674880"/>
                    <a:gd name="connsiteX1909" fmla="*/ 118442 w 871061"/>
                    <a:gd name="connsiteY1909" fmla="*/ 563870 h 674880"/>
                    <a:gd name="connsiteX1910" fmla="*/ 125437 w 871061"/>
                    <a:gd name="connsiteY1910" fmla="*/ 565424 h 674880"/>
                    <a:gd name="connsiteX1911" fmla="*/ 131739 w 871061"/>
                    <a:gd name="connsiteY1911" fmla="*/ 566820 h 674880"/>
                    <a:gd name="connsiteX1912" fmla="*/ 136122 w 871061"/>
                    <a:gd name="connsiteY1912" fmla="*/ 568970 h 674880"/>
                    <a:gd name="connsiteX1913" fmla="*/ 140700 w 871061"/>
                    <a:gd name="connsiteY1913" fmla="*/ 571872 h 674880"/>
                    <a:gd name="connsiteX1914" fmla="*/ 150342 w 871061"/>
                    <a:gd name="connsiteY1914" fmla="*/ 584731 h 674880"/>
                    <a:gd name="connsiteX1915" fmla="*/ 151216 w 871061"/>
                    <a:gd name="connsiteY1915" fmla="*/ 586880 h 674880"/>
                    <a:gd name="connsiteX1916" fmla="*/ 151350 w 871061"/>
                    <a:gd name="connsiteY1916" fmla="*/ 587208 h 674880"/>
                    <a:gd name="connsiteX1917" fmla="*/ 151520 w 871061"/>
                    <a:gd name="connsiteY1917" fmla="*/ 587512 h 674880"/>
                    <a:gd name="connsiteX1918" fmla="*/ 152722 w 871061"/>
                    <a:gd name="connsiteY1918" fmla="*/ 589710 h 674880"/>
                    <a:gd name="connsiteX1919" fmla="*/ 152904 w 871061"/>
                    <a:gd name="connsiteY1919" fmla="*/ 590038 h 674880"/>
                    <a:gd name="connsiteX1920" fmla="*/ 153135 w 871061"/>
                    <a:gd name="connsiteY1920" fmla="*/ 590341 h 674880"/>
                    <a:gd name="connsiteX1921" fmla="*/ 155150 w 871061"/>
                    <a:gd name="connsiteY1921" fmla="*/ 593134 h 674880"/>
                    <a:gd name="connsiteX1922" fmla="*/ 155672 w 871061"/>
                    <a:gd name="connsiteY1922" fmla="*/ 593863 h 674880"/>
                    <a:gd name="connsiteX1923" fmla="*/ 156389 w 871061"/>
                    <a:gd name="connsiteY1923" fmla="*/ 594409 h 674880"/>
                    <a:gd name="connsiteX1924" fmla="*/ 162181 w 871061"/>
                    <a:gd name="connsiteY1924" fmla="*/ 598829 h 674880"/>
                    <a:gd name="connsiteX1925" fmla="*/ 162861 w 871061"/>
                    <a:gd name="connsiteY1925" fmla="*/ 599339 h 674880"/>
                    <a:gd name="connsiteX1926" fmla="*/ 163650 w 871061"/>
                    <a:gd name="connsiteY1926" fmla="*/ 599643 h 674880"/>
                    <a:gd name="connsiteX1927" fmla="*/ 165545 w 871061"/>
                    <a:gd name="connsiteY1927" fmla="*/ 600383 h 674880"/>
                    <a:gd name="connsiteX1928" fmla="*/ 166297 w 871061"/>
                    <a:gd name="connsiteY1928" fmla="*/ 600675 h 674880"/>
                    <a:gd name="connsiteX1929" fmla="*/ 167087 w 871061"/>
                    <a:gd name="connsiteY1929" fmla="*/ 600760 h 674880"/>
                    <a:gd name="connsiteX1930" fmla="*/ 168410 w 871061"/>
                    <a:gd name="connsiteY1930" fmla="*/ 600906 h 674880"/>
                    <a:gd name="connsiteX1931" fmla="*/ 168860 w 871061"/>
                    <a:gd name="connsiteY1931" fmla="*/ 600954 h 674880"/>
                    <a:gd name="connsiteX1932" fmla="*/ 169309 w 871061"/>
                    <a:gd name="connsiteY1932" fmla="*/ 600942 h 674880"/>
                    <a:gd name="connsiteX1933" fmla="*/ 172539 w 871061"/>
                    <a:gd name="connsiteY1933" fmla="*/ 600833 h 674880"/>
                    <a:gd name="connsiteX1934" fmla="*/ 173596 w 871061"/>
                    <a:gd name="connsiteY1934" fmla="*/ 601088 h 674880"/>
                    <a:gd name="connsiteX1935" fmla="*/ 184609 w 871061"/>
                    <a:gd name="connsiteY1935" fmla="*/ 606540 h 674880"/>
                    <a:gd name="connsiteX1936" fmla="*/ 185192 w 871061"/>
                    <a:gd name="connsiteY1936" fmla="*/ 606831 h 674880"/>
                    <a:gd name="connsiteX1937" fmla="*/ 185836 w 871061"/>
                    <a:gd name="connsiteY1937" fmla="*/ 606989 h 674880"/>
                    <a:gd name="connsiteX1938" fmla="*/ 189223 w 871061"/>
                    <a:gd name="connsiteY1938" fmla="*/ 607827 h 674880"/>
                    <a:gd name="connsiteX1939" fmla="*/ 190098 w 871061"/>
                    <a:gd name="connsiteY1939" fmla="*/ 608046 h 674880"/>
                    <a:gd name="connsiteX1940" fmla="*/ 190996 w 871061"/>
                    <a:gd name="connsiteY1940" fmla="*/ 608009 h 674880"/>
                    <a:gd name="connsiteX1941" fmla="*/ 209247 w 871061"/>
                    <a:gd name="connsiteY1941" fmla="*/ 607062 h 674880"/>
                    <a:gd name="connsiteX1942" fmla="*/ 209648 w 871061"/>
                    <a:gd name="connsiteY1942" fmla="*/ 607038 h 674880"/>
                    <a:gd name="connsiteX1943" fmla="*/ 210036 w 871061"/>
                    <a:gd name="connsiteY1943" fmla="*/ 606965 h 674880"/>
                    <a:gd name="connsiteX1944" fmla="*/ 212404 w 871061"/>
                    <a:gd name="connsiteY1944" fmla="*/ 606528 h 674880"/>
                    <a:gd name="connsiteX1945" fmla="*/ 213279 w 871061"/>
                    <a:gd name="connsiteY1945" fmla="*/ 606358 h 674880"/>
                    <a:gd name="connsiteX1946" fmla="*/ 214080 w 871061"/>
                    <a:gd name="connsiteY1946" fmla="*/ 605945 h 674880"/>
                    <a:gd name="connsiteX1947" fmla="*/ 226016 w 871061"/>
                    <a:gd name="connsiteY1947" fmla="*/ 599776 h 674880"/>
                    <a:gd name="connsiteX1948" fmla="*/ 226344 w 871061"/>
                    <a:gd name="connsiteY1948" fmla="*/ 599606 h 674880"/>
                    <a:gd name="connsiteX1949" fmla="*/ 226648 w 871061"/>
                    <a:gd name="connsiteY1949" fmla="*/ 599400 h 674880"/>
                    <a:gd name="connsiteX1950" fmla="*/ 227862 w 871061"/>
                    <a:gd name="connsiteY1950" fmla="*/ 598574 h 674880"/>
                    <a:gd name="connsiteX1951" fmla="*/ 228263 w 871061"/>
                    <a:gd name="connsiteY1951" fmla="*/ 598295 h 674880"/>
                    <a:gd name="connsiteX1952" fmla="*/ 228615 w 871061"/>
                    <a:gd name="connsiteY1952" fmla="*/ 597955 h 674880"/>
                    <a:gd name="connsiteX1953" fmla="*/ 229805 w 871061"/>
                    <a:gd name="connsiteY1953" fmla="*/ 596826 h 674880"/>
                    <a:gd name="connsiteX1954" fmla="*/ 230097 w 871061"/>
                    <a:gd name="connsiteY1954" fmla="*/ 596558 h 674880"/>
                    <a:gd name="connsiteX1955" fmla="*/ 230352 w 871061"/>
                    <a:gd name="connsiteY1955" fmla="*/ 596243 h 674880"/>
                    <a:gd name="connsiteX1956" fmla="*/ 231044 w 871061"/>
                    <a:gd name="connsiteY1956" fmla="*/ 595380 h 674880"/>
                    <a:gd name="connsiteX1957" fmla="*/ 231748 w 871061"/>
                    <a:gd name="connsiteY1957" fmla="*/ 594506 h 674880"/>
                    <a:gd name="connsiteX1958" fmla="*/ 232088 w 871061"/>
                    <a:gd name="connsiteY1958" fmla="*/ 593438 h 674880"/>
                    <a:gd name="connsiteX1959" fmla="*/ 232610 w 871061"/>
                    <a:gd name="connsiteY1959" fmla="*/ 591835 h 674880"/>
                    <a:gd name="connsiteX1960" fmla="*/ 232780 w 871061"/>
                    <a:gd name="connsiteY1960" fmla="*/ 591337 h 674880"/>
                    <a:gd name="connsiteX1961" fmla="*/ 232853 w 871061"/>
                    <a:gd name="connsiteY1961" fmla="*/ 590815 h 674880"/>
                    <a:gd name="connsiteX1962" fmla="*/ 233072 w 871061"/>
                    <a:gd name="connsiteY1962" fmla="*/ 589260 h 674880"/>
                    <a:gd name="connsiteX1963" fmla="*/ 233157 w 871061"/>
                    <a:gd name="connsiteY1963" fmla="*/ 588690 h 674880"/>
                    <a:gd name="connsiteX1964" fmla="*/ 233144 w 871061"/>
                    <a:gd name="connsiteY1964" fmla="*/ 588459 h 674880"/>
                    <a:gd name="connsiteX1965" fmla="*/ 270095 w 871061"/>
                    <a:gd name="connsiteY1965" fmla="*/ 587658 h 674880"/>
                    <a:gd name="connsiteX1966" fmla="*/ 270775 w 871061"/>
                    <a:gd name="connsiteY1966" fmla="*/ 587646 h 674880"/>
                    <a:gd name="connsiteX1967" fmla="*/ 271431 w 871061"/>
                    <a:gd name="connsiteY1967" fmla="*/ 587488 h 674880"/>
                    <a:gd name="connsiteX1968" fmla="*/ 274175 w 871061"/>
                    <a:gd name="connsiteY1968" fmla="*/ 586808 h 674880"/>
                    <a:gd name="connsiteX1969" fmla="*/ 274904 w 871061"/>
                    <a:gd name="connsiteY1969" fmla="*/ 586626 h 674880"/>
                    <a:gd name="connsiteX1970" fmla="*/ 275560 w 871061"/>
                    <a:gd name="connsiteY1970" fmla="*/ 586273 h 674880"/>
                    <a:gd name="connsiteX1971" fmla="*/ 277296 w 871061"/>
                    <a:gd name="connsiteY1971" fmla="*/ 585350 h 674880"/>
                    <a:gd name="connsiteX1972" fmla="*/ 278523 w 871061"/>
                    <a:gd name="connsiteY1972" fmla="*/ 584707 h 674880"/>
                    <a:gd name="connsiteX1973" fmla="*/ 279336 w 871061"/>
                    <a:gd name="connsiteY1973" fmla="*/ 583602 h 674880"/>
                    <a:gd name="connsiteX1974" fmla="*/ 279457 w 871061"/>
                    <a:gd name="connsiteY1974" fmla="*/ 583432 h 674880"/>
                    <a:gd name="connsiteX1975" fmla="*/ 279543 w 871061"/>
                    <a:gd name="connsiteY1975" fmla="*/ 583408 h 674880"/>
                    <a:gd name="connsiteX1976" fmla="*/ 282396 w 871061"/>
                    <a:gd name="connsiteY1976" fmla="*/ 583165 h 674880"/>
                    <a:gd name="connsiteX1977" fmla="*/ 284594 w 871061"/>
                    <a:gd name="connsiteY1977" fmla="*/ 583456 h 674880"/>
                    <a:gd name="connsiteX1978" fmla="*/ 295231 w 871061"/>
                    <a:gd name="connsiteY1978" fmla="*/ 586043 h 674880"/>
                    <a:gd name="connsiteX1979" fmla="*/ 300368 w 871061"/>
                    <a:gd name="connsiteY1979" fmla="*/ 588192 h 674880"/>
                    <a:gd name="connsiteX1980" fmla="*/ 301922 w 871061"/>
                    <a:gd name="connsiteY1980" fmla="*/ 588848 h 674880"/>
                    <a:gd name="connsiteX1981" fmla="*/ 303598 w 871061"/>
                    <a:gd name="connsiteY1981" fmla="*/ 588593 h 674880"/>
                    <a:gd name="connsiteX1982" fmla="*/ 305091 w 871061"/>
                    <a:gd name="connsiteY1982" fmla="*/ 588374 h 674880"/>
                    <a:gd name="connsiteX1983" fmla="*/ 305699 w 871061"/>
                    <a:gd name="connsiteY1983" fmla="*/ 588289 h 674880"/>
                    <a:gd name="connsiteX1984" fmla="*/ 306269 w 871061"/>
                    <a:gd name="connsiteY1984" fmla="*/ 588083 h 674880"/>
                    <a:gd name="connsiteX1985" fmla="*/ 307240 w 871061"/>
                    <a:gd name="connsiteY1985" fmla="*/ 587730 h 674880"/>
                    <a:gd name="connsiteX1986" fmla="*/ 308589 w 871061"/>
                    <a:gd name="connsiteY1986" fmla="*/ 587245 h 674880"/>
                    <a:gd name="connsiteX1987" fmla="*/ 309572 w 871061"/>
                    <a:gd name="connsiteY1987" fmla="*/ 586212 h 674880"/>
                    <a:gd name="connsiteX1988" fmla="*/ 312073 w 871061"/>
                    <a:gd name="connsiteY1988" fmla="*/ 583602 h 674880"/>
                    <a:gd name="connsiteX1989" fmla="*/ 317429 w 871061"/>
                    <a:gd name="connsiteY1989" fmla="*/ 583068 h 674880"/>
                    <a:gd name="connsiteX1990" fmla="*/ 318388 w 871061"/>
                    <a:gd name="connsiteY1990" fmla="*/ 582970 h 674880"/>
                    <a:gd name="connsiteX1991" fmla="*/ 319262 w 871061"/>
                    <a:gd name="connsiteY1991" fmla="*/ 582582 h 674880"/>
                    <a:gd name="connsiteX1992" fmla="*/ 320112 w 871061"/>
                    <a:gd name="connsiteY1992" fmla="*/ 582205 h 674880"/>
                    <a:gd name="connsiteX1993" fmla="*/ 320537 w 871061"/>
                    <a:gd name="connsiteY1993" fmla="*/ 582023 h 674880"/>
                    <a:gd name="connsiteX1994" fmla="*/ 320926 w 871061"/>
                    <a:gd name="connsiteY1994" fmla="*/ 581768 h 674880"/>
                    <a:gd name="connsiteX1995" fmla="*/ 329365 w 871061"/>
                    <a:gd name="connsiteY1995" fmla="*/ 576413 h 674880"/>
                    <a:gd name="connsiteX1996" fmla="*/ 330507 w 871061"/>
                    <a:gd name="connsiteY1996" fmla="*/ 579473 h 674880"/>
                    <a:gd name="connsiteX1997" fmla="*/ 332777 w 871061"/>
                    <a:gd name="connsiteY1997" fmla="*/ 589151 h 674880"/>
                    <a:gd name="connsiteX1998" fmla="*/ 333506 w 871061"/>
                    <a:gd name="connsiteY1998" fmla="*/ 595635 h 674880"/>
                    <a:gd name="connsiteX1999" fmla="*/ 333506 w 871061"/>
                    <a:gd name="connsiteY1999" fmla="*/ 599910 h 674880"/>
                    <a:gd name="connsiteX2000" fmla="*/ 332619 w 871061"/>
                    <a:gd name="connsiteY2000" fmla="*/ 604038 h 674880"/>
                    <a:gd name="connsiteX2001" fmla="*/ 331903 w 871061"/>
                    <a:gd name="connsiteY2001" fmla="*/ 606054 h 674880"/>
                    <a:gd name="connsiteX2002" fmla="*/ 331199 w 871061"/>
                    <a:gd name="connsiteY2002" fmla="*/ 607305 h 674880"/>
                    <a:gd name="connsiteX2003" fmla="*/ 322444 w 871061"/>
                    <a:gd name="connsiteY2003" fmla="*/ 619594 h 674880"/>
                    <a:gd name="connsiteX2004" fmla="*/ 322103 w 871061"/>
                    <a:gd name="connsiteY2004" fmla="*/ 620067 h 674880"/>
                    <a:gd name="connsiteX2005" fmla="*/ 321861 w 871061"/>
                    <a:gd name="connsiteY2005" fmla="*/ 620601 h 674880"/>
                    <a:gd name="connsiteX2006" fmla="*/ 316202 w 871061"/>
                    <a:gd name="connsiteY2006" fmla="*/ 633048 h 674880"/>
                    <a:gd name="connsiteX2007" fmla="*/ 314769 w 871061"/>
                    <a:gd name="connsiteY2007" fmla="*/ 635440 h 674880"/>
                    <a:gd name="connsiteX2008" fmla="*/ 313628 w 871061"/>
                    <a:gd name="connsiteY2008" fmla="*/ 636946 h 674880"/>
                    <a:gd name="connsiteX2009" fmla="*/ 313239 w 871061"/>
                    <a:gd name="connsiteY2009" fmla="*/ 637468 h 674880"/>
                    <a:gd name="connsiteX2010" fmla="*/ 312972 w 871061"/>
                    <a:gd name="connsiteY2010" fmla="*/ 638063 h 674880"/>
                    <a:gd name="connsiteX2011" fmla="*/ 311636 w 871061"/>
                    <a:gd name="connsiteY2011" fmla="*/ 640989 h 674880"/>
                    <a:gd name="connsiteX2012" fmla="*/ 310884 w 871061"/>
                    <a:gd name="connsiteY2012" fmla="*/ 642653 h 674880"/>
                    <a:gd name="connsiteX2013" fmla="*/ 311163 w 871061"/>
                    <a:gd name="connsiteY2013" fmla="*/ 644450 h 674880"/>
                    <a:gd name="connsiteX2014" fmla="*/ 311357 w 871061"/>
                    <a:gd name="connsiteY2014" fmla="*/ 645664 h 674880"/>
                    <a:gd name="connsiteX2015" fmla="*/ 311819 w 871061"/>
                    <a:gd name="connsiteY2015" fmla="*/ 648579 h 674880"/>
                    <a:gd name="connsiteX2016" fmla="*/ 314393 w 871061"/>
                    <a:gd name="connsiteY2016" fmla="*/ 650024 h 674880"/>
                    <a:gd name="connsiteX2017" fmla="*/ 315303 w 871061"/>
                    <a:gd name="connsiteY2017" fmla="*/ 650534 h 674880"/>
                    <a:gd name="connsiteX2018" fmla="*/ 317234 w 871061"/>
                    <a:gd name="connsiteY2018" fmla="*/ 651614 h 674880"/>
                    <a:gd name="connsiteX2019" fmla="*/ 319408 w 871061"/>
                    <a:gd name="connsiteY2019" fmla="*/ 651202 h 674880"/>
                    <a:gd name="connsiteX2020" fmla="*/ 321654 w 871061"/>
                    <a:gd name="connsiteY2020" fmla="*/ 650777 h 674880"/>
                    <a:gd name="connsiteX2021" fmla="*/ 322116 w 871061"/>
                    <a:gd name="connsiteY2021" fmla="*/ 650679 h 674880"/>
                    <a:gd name="connsiteX2022" fmla="*/ 322565 w 871061"/>
                    <a:gd name="connsiteY2022" fmla="*/ 650522 h 674880"/>
                    <a:gd name="connsiteX2023" fmla="*/ 329462 w 871061"/>
                    <a:gd name="connsiteY2023" fmla="*/ 648032 h 674880"/>
                    <a:gd name="connsiteX2024" fmla="*/ 329924 w 871061"/>
                    <a:gd name="connsiteY2024" fmla="*/ 647959 h 674880"/>
                    <a:gd name="connsiteX2025" fmla="*/ 331211 w 871061"/>
                    <a:gd name="connsiteY2025" fmla="*/ 647923 h 674880"/>
                    <a:gd name="connsiteX2026" fmla="*/ 333469 w 871061"/>
                    <a:gd name="connsiteY2026" fmla="*/ 648227 h 674880"/>
                    <a:gd name="connsiteX2027" fmla="*/ 336104 w 871061"/>
                    <a:gd name="connsiteY2027" fmla="*/ 649028 h 674880"/>
                    <a:gd name="connsiteX2028" fmla="*/ 337391 w 871061"/>
                    <a:gd name="connsiteY2028" fmla="*/ 649647 h 674880"/>
                    <a:gd name="connsiteX2029" fmla="*/ 350967 w 871061"/>
                    <a:gd name="connsiteY2029" fmla="*/ 658560 h 674880"/>
                    <a:gd name="connsiteX2030" fmla="*/ 354319 w 871061"/>
                    <a:gd name="connsiteY2030" fmla="*/ 662422 h 674880"/>
                    <a:gd name="connsiteX2031" fmla="*/ 354622 w 871061"/>
                    <a:gd name="connsiteY2031" fmla="*/ 662774 h 674880"/>
                    <a:gd name="connsiteX2032" fmla="*/ 354974 w 871061"/>
                    <a:gd name="connsiteY2032" fmla="*/ 663065 h 674880"/>
                    <a:gd name="connsiteX2033" fmla="*/ 356298 w 871061"/>
                    <a:gd name="connsiteY2033" fmla="*/ 664195 h 674880"/>
                    <a:gd name="connsiteX2034" fmla="*/ 357075 w 871061"/>
                    <a:gd name="connsiteY2034" fmla="*/ 664875 h 674880"/>
                    <a:gd name="connsiteX2035" fmla="*/ 358047 w 871061"/>
                    <a:gd name="connsiteY2035" fmla="*/ 665239 h 674880"/>
                    <a:gd name="connsiteX2036" fmla="*/ 359006 w 871061"/>
                    <a:gd name="connsiteY2036" fmla="*/ 665603 h 674880"/>
                    <a:gd name="connsiteX2037" fmla="*/ 360828 w 871061"/>
                    <a:gd name="connsiteY2037" fmla="*/ 666307 h 674880"/>
                    <a:gd name="connsiteX2038" fmla="*/ 362722 w 871061"/>
                    <a:gd name="connsiteY2038" fmla="*/ 665810 h 674880"/>
                    <a:gd name="connsiteX2039" fmla="*/ 363705 w 871061"/>
                    <a:gd name="connsiteY2039" fmla="*/ 665555 h 674880"/>
                    <a:gd name="connsiteX2040" fmla="*/ 364847 w 871061"/>
                    <a:gd name="connsiteY2040" fmla="*/ 665251 h 674880"/>
                    <a:gd name="connsiteX2041" fmla="*/ 365794 w 871061"/>
                    <a:gd name="connsiteY2041" fmla="*/ 664547 h 674880"/>
                    <a:gd name="connsiteX2042" fmla="*/ 367057 w 871061"/>
                    <a:gd name="connsiteY2042" fmla="*/ 663599 h 674880"/>
                    <a:gd name="connsiteX2043" fmla="*/ 367567 w 871061"/>
                    <a:gd name="connsiteY2043" fmla="*/ 663211 h 674880"/>
                    <a:gd name="connsiteX2044" fmla="*/ 367992 w 871061"/>
                    <a:gd name="connsiteY2044" fmla="*/ 662725 h 674880"/>
                    <a:gd name="connsiteX2045" fmla="*/ 376346 w 871061"/>
                    <a:gd name="connsiteY2045" fmla="*/ 653108 h 674880"/>
                    <a:gd name="connsiteX2046" fmla="*/ 384227 w 871061"/>
                    <a:gd name="connsiteY2046" fmla="*/ 645713 h 674880"/>
                    <a:gd name="connsiteX2047" fmla="*/ 385162 w 871061"/>
                    <a:gd name="connsiteY2047" fmla="*/ 645203 h 674880"/>
                    <a:gd name="connsiteX2048" fmla="*/ 392945 w 871061"/>
                    <a:gd name="connsiteY2048" fmla="*/ 642495 h 674880"/>
                    <a:gd name="connsiteX2049" fmla="*/ 393662 w 871061"/>
                    <a:gd name="connsiteY2049" fmla="*/ 642240 h 674880"/>
                    <a:gd name="connsiteX2050" fmla="*/ 394293 w 871061"/>
                    <a:gd name="connsiteY2050" fmla="*/ 641827 h 674880"/>
                    <a:gd name="connsiteX2051" fmla="*/ 396855 w 871061"/>
                    <a:gd name="connsiteY2051" fmla="*/ 640139 h 674880"/>
                    <a:gd name="connsiteX2052" fmla="*/ 398228 w 871061"/>
                    <a:gd name="connsiteY2052" fmla="*/ 639690 h 674880"/>
                    <a:gd name="connsiteX2053" fmla="*/ 400061 w 871061"/>
                    <a:gd name="connsiteY2053" fmla="*/ 639387 h 674880"/>
                    <a:gd name="connsiteX2054" fmla="*/ 401227 w 871061"/>
                    <a:gd name="connsiteY2054" fmla="*/ 639423 h 674880"/>
                    <a:gd name="connsiteX2055" fmla="*/ 402490 w 871061"/>
                    <a:gd name="connsiteY2055" fmla="*/ 639617 h 674880"/>
                    <a:gd name="connsiteX2056" fmla="*/ 403753 w 871061"/>
                    <a:gd name="connsiteY2056" fmla="*/ 640079 h 674880"/>
                    <a:gd name="connsiteX2057" fmla="*/ 420048 w 871061"/>
                    <a:gd name="connsiteY2057" fmla="*/ 649732 h 674880"/>
                    <a:gd name="connsiteX2058" fmla="*/ 420753 w 871061"/>
                    <a:gd name="connsiteY2058" fmla="*/ 650145 h 674880"/>
                    <a:gd name="connsiteX2059" fmla="*/ 421530 w 871061"/>
                    <a:gd name="connsiteY2059" fmla="*/ 650364 h 674880"/>
                    <a:gd name="connsiteX2060" fmla="*/ 432616 w 871061"/>
                    <a:gd name="connsiteY2060" fmla="*/ 653412 h 674880"/>
                    <a:gd name="connsiteX2061" fmla="*/ 432908 w 871061"/>
                    <a:gd name="connsiteY2061" fmla="*/ 653484 h 674880"/>
                    <a:gd name="connsiteX2062" fmla="*/ 433199 w 871061"/>
                    <a:gd name="connsiteY2062" fmla="*/ 653545 h 674880"/>
                    <a:gd name="connsiteX2063" fmla="*/ 441238 w 871061"/>
                    <a:gd name="connsiteY2063" fmla="*/ 654905 h 674880"/>
                    <a:gd name="connsiteX2064" fmla="*/ 445002 w 871061"/>
                    <a:gd name="connsiteY2064" fmla="*/ 656399 h 674880"/>
                    <a:gd name="connsiteX2065" fmla="*/ 446666 w 871061"/>
                    <a:gd name="connsiteY2065" fmla="*/ 657067 h 674880"/>
                    <a:gd name="connsiteX2066" fmla="*/ 448427 w 871061"/>
                    <a:gd name="connsiteY2066" fmla="*/ 656727 h 674880"/>
                    <a:gd name="connsiteX2067" fmla="*/ 449580 w 871061"/>
                    <a:gd name="connsiteY2067" fmla="*/ 656496 h 674880"/>
                    <a:gd name="connsiteX2068" fmla="*/ 450491 w 871061"/>
                    <a:gd name="connsiteY2068" fmla="*/ 656326 h 674880"/>
                    <a:gd name="connsiteX2069" fmla="*/ 451292 w 871061"/>
                    <a:gd name="connsiteY2069" fmla="*/ 655889 h 674880"/>
                    <a:gd name="connsiteX2070" fmla="*/ 454777 w 871061"/>
                    <a:gd name="connsiteY2070" fmla="*/ 654007 h 674880"/>
                    <a:gd name="connsiteX2071" fmla="*/ 456380 w 871061"/>
                    <a:gd name="connsiteY2071" fmla="*/ 653399 h 674880"/>
                    <a:gd name="connsiteX2072" fmla="*/ 459161 w 871061"/>
                    <a:gd name="connsiteY2072" fmla="*/ 652647 h 674880"/>
                    <a:gd name="connsiteX2073" fmla="*/ 459574 w 871061"/>
                    <a:gd name="connsiteY2073" fmla="*/ 652525 h 674880"/>
                    <a:gd name="connsiteX2074" fmla="*/ 459853 w 871061"/>
                    <a:gd name="connsiteY2074" fmla="*/ 652404 h 674880"/>
                    <a:gd name="connsiteX2075" fmla="*/ 459841 w 871061"/>
                    <a:gd name="connsiteY2075" fmla="*/ 652647 h 674880"/>
                    <a:gd name="connsiteX2076" fmla="*/ 459805 w 871061"/>
                    <a:gd name="connsiteY2076" fmla="*/ 652999 h 674880"/>
                    <a:gd name="connsiteX2077" fmla="*/ 459817 w 871061"/>
                    <a:gd name="connsiteY2077" fmla="*/ 653351 h 674880"/>
                    <a:gd name="connsiteX2078" fmla="*/ 459877 w 871061"/>
                    <a:gd name="connsiteY2078" fmla="*/ 655014 h 674880"/>
                    <a:gd name="connsiteX2079" fmla="*/ 459683 w 871061"/>
                    <a:gd name="connsiteY2079" fmla="*/ 657382 h 674880"/>
                    <a:gd name="connsiteX2080" fmla="*/ 459622 w 871061"/>
                    <a:gd name="connsiteY2080" fmla="*/ 658135 h 674880"/>
                    <a:gd name="connsiteX2081" fmla="*/ 459744 w 871061"/>
                    <a:gd name="connsiteY2081" fmla="*/ 658888 h 674880"/>
                    <a:gd name="connsiteX2082" fmla="*/ 460315 w 871061"/>
                    <a:gd name="connsiteY2082" fmla="*/ 662324 h 674880"/>
                    <a:gd name="connsiteX2083" fmla="*/ 460412 w 871061"/>
                    <a:gd name="connsiteY2083" fmla="*/ 662883 h 674880"/>
                    <a:gd name="connsiteX2084" fmla="*/ 460606 w 871061"/>
                    <a:gd name="connsiteY2084" fmla="*/ 663417 h 674880"/>
                    <a:gd name="connsiteX2085" fmla="*/ 461359 w 871061"/>
                    <a:gd name="connsiteY2085" fmla="*/ 665457 h 674880"/>
                    <a:gd name="connsiteX2086" fmla="*/ 462148 w 871061"/>
                    <a:gd name="connsiteY2086" fmla="*/ 667619 h 674880"/>
                    <a:gd name="connsiteX2087" fmla="*/ 464164 w 871061"/>
                    <a:gd name="connsiteY2087" fmla="*/ 668712 h 674880"/>
                    <a:gd name="connsiteX2088" fmla="*/ 473477 w 871061"/>
                    <a:gd name="connsiteY2088" fmla="*/ 673763 h 674880"/>
                    <a:gd name="connsiteX2089" fmla="*/ 475530 w 871061"/>
                    <a:gd name="connsiteY2089" fmla="*/ 674880 h 674880"/>
                    <a:gd name="connsiteX2090" fmla="*/ 477800 w 871061"/>
                    <a:gd name="connsiteY2090" fmla="*/ 674334 h 674880"/>
                    <a:gd name="connsiteX2091" fmla="*/ 485887 w 871061"/>
                    <a:gd name="connsiteY2091" fmla="*/ 672391 h 674880"/>
                    <a:gd name="connsiteX2092" fmla="*/ 486811 w 871061"/>
                    <a:gd name="connsiteY2092" fmla="*/ 672160 h 674880"/>
                    <a:gd name="connsiteX2093" fmla="*/ 487612 w 871061"/>
                    <a:gd name="connsiteY2093" fmla="*/ 671662 h 674880"/>
                    <a:gd name="connsiteX2094" fmla="*/ 491340 w 871061"/>
                    <a:gd name="connsiteY2094" fmla="*/ 669392 h 674880"/>
                    <a:gd name="connsiteX2095" fmla="*/ 491680 w 871061"/>
                    <a:gd name="connsiteY2095" fmla="*/ 669185 h 674880"/>
                    <a:gd name="connsiteX2096" fmla="*/ 491983 w 871061"/>
                    <a:gd name="connsiteY2096" fmla="*/ 668930 h 674880"/>
                    <a:gd name="connsiteX2097" fmla="*/ 495565 w 871061"/>
                    <a:gd name="connsiteY2097" fmla="*/ 666052 h 674880"/>
                    <a:gd name="connsiteX2098" fmla="*/ 496221 w 871061"/>
                    <a:gd name="connsiteY2098" fmla="*/ 665530 h 674880"/>
                    <a:gd name="connsiteX2099" fmla="*/ 496707 w 871061"/>
                    <a:gd name="connsiteY2099" fmla="*/ 664838 h 674880"/>
                    <a:gd name="connsiteX2100" fmla="*/ 505596 w 871061"/>
                    <a:gd name="connsiteY2100" fmla="*/ 652355 h 674880"/>
                    <a:gd name="connsiteX2101" fmla="*/ 507283 w 871061"/>
                    <a:gd name="connsiteY2101" fmla="*/ 649489 h 674880"/>
                    <a:gd name="connsiteX2102" fmla="*/ 507478 w 871061"/>
                    <a:gd name="connsiteY2102" fmla="*/ 649174 h 674880"/>
                    <a:gd name="connsiteX2103" fmla="*/ 507623 w 871061"/>
                    <a:gd name="connsiteY2103" fmla="*/ 648834 h 674880"/>
                    <a:gd name="connsiteX2104" fmla="*/ 508194 w 871061"/>
                    <a:gd name="connsiteY2104" fmla="*/ 647498 h 674880"/>
                    <a:gd name="connsiteX2105" fmla="*/ 508680 w 871061"/>
                    <a:gd name="connsiteY2105" fmla="*/ 646357 h 674880"/>
                    <a:gd name="connsiteX2106" fmla="*/ 508680 w 871061"/>
                    <a:gd name="connsiteY2106" fmla="*/ 645118 h 674880"/>
                    <a:gd name="connsiteX2107" fmla="*/ 508680 w 871061"/>
                    <a:gd name="connsiteY2107" fmla="*/ 643758 h 674880"/>
                    <a:gd name="connsiteX2108" fmla="*/ 508680 w 871061"/>
                    <a:gd name="connsiteY2108" fmla="*/ 643296 h 674880"/>
                    <a:gd name="connsiteX2109" fmla="*/ 508607 w 871061"/>
                    <a:gd name="connsiteY2109" fmla="*/ 642835 h 674880"/>
                    <a:gd name="connsiteX2110" fmla="*/ 508425 w 871061"/>
                    <a:gd name="connsiteY2110" fmla="*/ 641706 h 674880"/>
                    <a:gd name="connsiteX2111" fmla="*/ 508364 w 871061"/>
                    <a:gd name="connsiteY2111" fmla="*/ 640067 h 674880"/>
                    <a:gd name="connsiteX2112" fmla="*/ 508959 w 871061"/>
                    <a:gd name="connsiteY2112" fmla="*/ 637711 h 674880"/>
                    <a:gd name="connsiteX2113" fmla="*/ 510307 w 871061"/>
                    <a:gd name="connsiteY2113" fmla="*/ 633752 h 674880"/>
                    <a:gd name="connsiteX2114" fmla="*/ 511169 w 871061"/>
                    <a:gd name="connsiteY2114" fmla="*/ 630146 h 674880"/>
                    <a:gd name="connsiteX2115" fmla="*/ 511400 w 871061"/>
                    <a:gd name="connsiteY2115" fmla="*/ 629150 h 674880"/>
                    <a:gd name="connsiteX2116" fmla="*/ 511291 w 871061"/>
                    <a:gd name="connsiteY2116" fmla="*/ 628142 h 674880"/>
                    <a:gd name="connsiteX2117" fmla="*/ 510999 w 871061"/>
                    <a:gd name="connsiteY2117" fmla="*/ 625361 h 674880"/>
                    <a:gd name="connsiteX2118" fmla="*/ 510866 w 871061"/>
                    <a:gd name="connsiteY2118" fmla="*/ 624123 h 674880"/>
                    <a:gd name="connsiteX2119" fmla="*/ 510270 w 871061"/>
                    <a:gd name="connsiteY2119" fmla="*/ 623054 h 674880"/>
                    <a:gd name="connsiteX2120" fmla="*/ 507526 w 871061"/>
                    <a:gd name="connsiteY2120" fmla="*/ 618124 h 674880"/>
                    <a:gd name="connsiteX2121" fmla="*/ 506883 w 871061"/>
                    <a:gd name="connsiteY2121" fmla="*/ 616497 h 674880"/>
                    <a:gd name="connsiteX2122" fmla="*/ 506931 w 871061"/>
                    <a:gd name="connsiteY2122" fmla="*/ 615416 h 674880"/>
                    <a:gd name="connsiteX2123" fmla="*/ 507344 w 871061"/>
                    <a:gd name="connsiteY2123" fmla="*/ 614591 h 674880"/>
                    <a:gd name="connsiteX2124" fmla="*/ 510538 w 871061"/>
                    <a:gd name="connsiteY2124" fmla="*/ 609891 h 674880"/>
                    <a:gd name="connsiteX2125" fmla="*/ 511254 w 871061"/>
                    <a:gd name="connsiteY2125" fmla="*/ 608847 h 674880"/>
                    <a:gd name="connsiteX2126" fmla="*/ 511497 w 871061"/>
                    <a:gd name="connsiteY2126" fmla="*/ 607596 h 674880"/>
                    <a:gd name="connsiteX2127" fmla="*/ 512080 w 871061"/>
                    <a:gd name="connsiteY2127" fmla="*/ 604524 h 674880"/>
                    <a:gd name="connsiteX2128" fmla="*/ 512177 w 871061"/>
                    <a:gd name="connsiteY2128" fmla="*/ 604014 h 674880"/>
                    <a:gd name="connsiteX2129" fmla="*/ 512189 w 871061"/>
                    <a:gd name="connsiteY2129" fmla="*/ 603492 h 674880"/>
                    <a:gd name="connsiteX2130" fmla="*/ 512250 w 871061"/>
                    <a:gd name="connsiteY2130" fmla="*/ 599788 h 674880"/>
                    <a:gd name="connsiteX2131" fmla="*/ 512250 w 871061"/>
                    <a:gd name="connsiteY2131" fmla="*/ 599412 h 674880"/>
                    <a:gd name="connsiteX2132" fmla="*/ 512213 w 871061"/>
                    <a:gd name="connsiteY2132" fmla="*/ 599035 h 674880"/>
                    <a:gd name="connsiteX2133" fmla="*/ 510950 w 871061"/>
                    <a:gd name="connsiteY2133" fmla="*/ 587512 h 674880"/>
                    <a:gd name="connsiteX2134" fmla="*/ 510914 w 871061"/>
                    <a:gd name="connsiteY2134" fmla="*/ 587184 h 674880"/>
                    <a:gd name="connsiteX2135" fmla="*/ 510841 w 871061"/>
                    <a:gd name="connsiteY2135" fmla="*/ 586868 h 674880"/>
                    <a:gd name="connsiteX2136" fmla="*/ 510088 w 871061"/>
                    <a:gd name="connsiteY2136" fmla="*/ 583492 h 674880"/>
                    <a:gd name="connsiteX2137" fmla="*/ 509906 w 871061"/>
                    <a:gd name="connsiteY2137" fmla="*/ 582703 h 674880"/>
                    <a:gd name="connsiteX2138" fmla="*/ 509530 w 871061"/>
                    <a:gd name="connsiteY2138" fmla="*/ 581987 h 674880"/>
                    <a:gd name="connsiteX2139" fmla="*/ 508097 w 871061"/>
                    <a:gd name="connsiteY2139" fmla="*/ 579255 h 674880"/>
                    <a:gd name="connsiteX2140" fmla="*/ 507818 w 871061"/>
                    <a:gd name="connsiteY2140" fmla="*/ 578708 h 674880"/>
                    <a:gd name="connsiteX2141" fmla="*/ 507417 w 871061"/>
                    <a:gd name="connsiteY2141" fmla="*/ 578223 h 674880"/>
                    <a:gd name="connsiteX2142" fmla="*/ 503106 w 871061"/>
                    <a:gd name="connsiteY2142" fmla="*/ 572977 h 674880"/>
                    <a:gd name="connsiteX2143" fmla="*/ 502062 w 871061"/>
                    <a:gd name="connsiteY2143" fmla="*/ 571265 h 674880"/>
                    <a:gd name="connsiteX2144" fmla="*/ 501965 w 871061"/>
                    <a:gd name="connsiteY2144" fmla="*/ 570767 h 674880"/>
                    <a:gd name="connsiteX2145" fmla="*/ 502803 w 871061"/>
                    <a:gd name="connsiteY2145" fmla="*/ 570439 h 674880"/>
                    <a:gd name="connsiteX2146" fmla="*/ 503556 w 871061"/>
                    <a:gd name="connsiteY2146" fmla="*/ 570269 h 674880"/>
                    <a:gd name="connsiteX2147" fmla="*/ 506008 w 871061"/>
                    <a:gd name="connsiteY2147" fmla="*/ 569965 h 674880"/>
                    <a:gd name="connsiteX2148" fmla="*/ 506397 w 871061"/>
                    <a:gd name="connsiteY2148" fmla="*/ 569917 h 674880"/>
                    <a:gd name="connsiteX2149" fmla="*/ 506773 w 871061"/>
                    <a:gd name="connsiteY2149" fmla="*/ 569820 h 674880"/>
                    <a:gd name="connsiteX2150" fmla="*/ 507842 w 871061"/>
                    <a:gd name="connsiteY2150" fmla="*/ 569552 h 674880"/>
                    <a:gd name="connsiteX2151" fmla="*/ 508899 w 871061"/>
                    <a:gd name="connsiteY2151" fmla="*/ 569225 h 674880"/>
                    <a:gd name="connsiteX2152" fmla="*/ 509785 w 871061"/>
                    <a:gd name="connsiteY2152" fmla="*/ 568933 h 674880"/>
                    <a:gd name="connsiteX2153" fmla="*/ 510550 w 871061"/>
                    <a:gd name="connsiteY2153" fmla="*/ 568399 h 674880"/>
                    <a:gd name="connsiteX2154" fmla="*/ 511983 w 871061"/>
                    <a:gd name="connsiteY2154" fmla="*/ 567379 h 674880"/>
                    <a:gd name="connsiteX2155" fmla="*/ 512990 w 871061"/>
                    <a:gd name="connsiteY2155" fmla="*/ 566662 h 674880"/>
                    <a:gd name="connsiteX2156" fmla="*/ 513634 w 871061"/>
                    <a:gd name="connsiteY2156" fmla="*/ 565606 h 674880"/>
                    <a:gd name="connsiteX2157" fmla="*/ 515431 w 871061"/>
                    <a:gd name="connsiteY2157" fmla="*/ 562692 h 674880"/>
                    <a:gd name="connsiteX2158" fmla="*/ 521891 w 871061"/>
                    <a:gd name="connsiteY2158" fmla="*/ 570949 h 674880"/>
                    <a:gd name="connsiteX2159" fmla="*/ 522741 w 871061"/>
                    <a:gd name="connsiteY2159" fmla="*/ 572042 h 674880"/>
                    <a:gd name="connsiteX2160" fmla="*/ 523992 w 871061"/>
                    <a:gd name="connsiteY2160" fmla="*/ 572649 h 674880"/>
                    <a:gd name="connsiteX2161" fmla="*/ 554714 w 871061"/>
                    <a:gd name="connsiteY2161" fmla="*/ 587803 h 674880"/>
                    <a:gd name="connsiteX2162" fmla="*/ 558138 w 871061"/>
                    <a:gd name="connsiteY2162" fmla="*/ 590050 h 674880"/>
                    <a:gd name="connsiteX2163" fmla="*/ 559935 w 871061"/>
                    <a:gd name="connsiteY2163" fmla="*/ 591531 h 674880"/>
                    <a:gd name="connsiteX2164" fmla="*/ 562716 w 871061"/>
                    <a:gd name="connsiteY2164" fmla="*/ 596218 h 674880"/>
                    <a:gd name="connsiteX2165" fmla="*/ 562934 w 871061"/>
                    <a:gd name="connsiteY2165" fmla="*/ 596571 h 674880"/>
                    <a:gd name="connsiteX2166" fmla="*/ 563189 w 871061"/>
                    <a:gd name="connsiteY2166" fmla="*/ 596898 h 674880"/>
                    <a:gd name="connsiteX2167" fmla="*/ 565084 w 871061"/>
                    <a:gd name="connsiteY2167" fmla="*/ 599278 h 674880"/>
                    <a:gd name="connsiteX2168" fmla="*/ 565315 w 871061"/>
                    <a:gd name="connsiteY2168" fmla="*/ 599558 h 674880"/>
                    <a:gd name="connsiteX2169" fmla="*/ 565570 w 871061"/>
                    <a:gd name="connsiteY2169" fmla="*/ 599813 h 674880"/>
                    <a:gd name="connsiteX2170" fmla="*/ 568095 w 871061"/>
                    <a:gd name="connsiteY2170" fmla="*/ 602302 h 674880"/>
                    <a:gd name="connsiteX2171" fmla="*/ 568399 w 871061"/>
                    <a:gd name="connsiteY2171" fmla="*/ 602606 h 674880"/>
                    <a:gd name="connsiteX2172" fmla="*/ 568739 w 871061"/>
                    <a:gd name="connsiteY2172" fmla="*/ 602860 h 674880"/>
                    <a:gd name="connsiteX2173" fmla="*/ 572467 w 871061"/>
                    <a:gd name="connsiteY2173" fmla="*/ 605605 h 674880"/>
                    <a:gd name="connsiteX2174" fmla="*/ 573074 w 871061"/>
                    <a:gd name="connsiteY2174" fmla="*/ 606054 h 674880"/>
                    <a:gd name="connsiteX2175" fmla="*/ 573778 w 871061"/>
                    <a:gd name="connsiteY2175" fmla="*/ 606346 h 674880"/>
                    <a:gd name="connsiteX2176" fmla="*/ 577069 w 871061"/>
                    <a:gd name="connsiteY2176" fmla="*/ 607694 h 674880"/>
                    <a:gd name="connsiteX2177" fmla="*/ 577639 w 871061"/>
                    <a:gd name="connsiteY2177" fmla="*/ 607924 h 674880"/>
                    <a:gd name="connsiteX2178" fmla="*/ 578247 w 871061"/>
                    <a:gd name="connsiteY2178" fmla="*/ 608034 h 674880"/>
                    <a:gd name="connsiteX2179" fmla="*/ 581610 w 871061"/>
                    <a:gd name="connsiteY2179" fmla="*/ 608665 h 674880"/>
                    <a:gd name="connsiteX2180" fmla="*/ 582315 w 871061"/>
                    <a:gd name="connsiteY2180" fmla="*/ 608798 h 674880"/>
                    <a:gd name="connsiteX2181" fmla="*/ 583019 w 871061"/>
                    <a:gd name="connsiteY2181" fmla="*/ 608774 h 674880"/>
                    <a:gd name="connsiteX2182" fmla="*/ 586310 w 871061"/>
                    <a:gd name="connsiteY2182" fmla="*/ 608628 h 674880"/>
                    <a:gd name="connsiteX2183" fmla="*/ 586674 w 871061"/>
                    <a:gd name="connsiteY2183" fmla="*/ 608616 h 674880"/>
                    <a:gd name="connsiteX2184" fmla="*/ 587038 w 871061"/>
                    <a:gd name="connsiteY2184" fmla="*/ 608556 h 674880"/>
                    <a:gd name="connsiteX2185" fmla="*/ 589782 w 871061"/>
                    <a:gd name="connsiteY2185" fmla="*/ 608094 h 674880"/>
                    <a:gd name="connsiteX2186" fmla="*/ 590244 w 871061"/>
                    <a:gd name="connsiteY2186" fmla="*/ 608021 h 674880"/>
                    <a:gd name="connsiteX2187" fmla="*/ 590681 w 871061"/>
                    <a:gd name="connsiteY2187" fmla="*/ 607876 h 674880"/>
                    <a:gd name="connsiteX2188" fmla="*/ 597226 w 871061"/>
                    <a:gd name="connsiteY2188" fmla="*/ 605714 h 674880"/>
                    <a:gd name="connsiteX2189" fmla="*/ 598441 w 871061"/>
                    <a:gd name="connsiteY2189" fmla="*/ 605568 h 674880"/>
                    <a:gd name="connsiteX2190" fmla="*/ 598756 w 871061"/>
                    <a:gd name="connsiteY2190" fmla="*/ 605641 h 674880"/>
                    <a:gd name="connsiteX2191" fmla="*/ 599460 w 871061"/>
                    <a:gd name="connsiteY2191" fmla="*/ 605957 h 674880"/>
                    <a:gd name="connsiteX2192" fmla="*/ 616691 w 871061"/>
                    <a:gd name="connsiteY2192" fmla="*/ 616886 h 674880"/>
                    <a:gd name="connsiteX2193" fmla="*/ 624645 w 871061"/>
                    <a:gd name="connsiteY2193" fmla="*/ 624014 h 674880"/>
                    <a:gd name="connsiteX2194" fmla="*/ 625373 w 871061"/>
                    <a:gd name="connsiteY2194" fmla="*/ 624669 h 674880"/>
                    <a:gd name="connsiteX2195" fmla="*/ 626248 w 871061"/>
                    <a:gd name="connsiteY2195" fmla="*/ 625046 h 674880"/>
                    <a:gd name="connsiteX2196" fmla="*/ 633764 w 871061"/>
                    <a:gd name="connsiteY2196" fmla="*/ 628361 h 674880"/>
                    <a:gd name="connsiteX2197" fmla="*/ 637541 w 871061"/>
                    <a:gd name="connsiteY2197" fmla="*/ 630036 h 674880"/>
                    <a:gd name="connsiteX2198" fmla="*/ 640479 w 871061"/>
                    <a:gd name="connsiteY2198" fmla="*/ 627146 h 674880"/>
                    <a:gd name="connsiteX2199" fmla="*/ 641378 w 871061"/>
                    <a:gd name="connsiteY2199" fmla="*/ 626272 h 674880"/>
                    <a:gd name="connsiteX2200" fmla="*/ 643151 w 871061"/>
                    <a:gd name="connsiteY2200" fmla="*/ 625009 h 674880"/>
                    <a:gd name="connsiteX2201" fmla="*/ 645361 w 871061"/>
                    <a:gd name="connsiteY2201" fmla="*/ 623795 h 674880"/>
                    <a:gd name="connsiteX2202" fmla="*/ 646017 w 871061"/>
                    <a:gd name="connsiteY2202" fmla="*/ 624050 h 674880"/>
                    <a:gd name="connsiteX2203" fmla="*/ 647133 w 871061"/>
                    <a:gd name="connsiteY2203" fmla="*/ 624487 h 674880"/>
                    <a:gd name="connsiteX2204" fmla="*/ 648336 w 871061"/>
                    <a:gd name="connsiteY2204" fmla="*/ 624463 h 674880"/>
                    <a:gd name="connsiteX2205" fmla="*/ 650461 w 871061"/>
                    <a:gd name="connsiteY2205" fmla="*/ 624426 h 674880"/>
                    <a:gd name="connsiteX2206" fmla="*/ 653278 w 871061"/>
                    <a:gd name="connsiteY2206" fmla="*/ 624378 h 674880"/>
                    <a:gd name="connsiteX2207" fmla="*/ 655063 w 871061"/>
                    <a:gd name="connsiteY2207" fmla="*/ 622180 h 674880"/>
                    <a:gd name="connsiteX2208" fmla="*/ 656034 w 871061"/>
                    <a:gd name="connsiteY2208" fmla="*/ 620978 h 674880"/>
                    <a:gd name="connsiteX2209" fmla="*/ 656994 w 871061"/>
                    <a:gd name="connsiteY2209" fmla="*/ 619788 h 674880"/>
                    <a:gd name="connsiteX2210" fmla="*/ 657273 w 871061"/>
                    <a:gd name="connsiteY2210" fmla="*/ 618294 h 674880"/>
                    <a:gd name="connsiteX2211" fmla="*/ 657674 w 871061"/>
                    <a:gd name="connsiteY2211" fmla="*/ 616194 h 674880"/>
                    <a:gd name="connsiteX2212" fmla="*/ 657795 w 871061"/>
                    <a:gd name="connsiteY2212" fmla="*/ 615562 h 674880"/>
                    <a:gd name="connsiteX2213" fmla="*/ 664340 w 871061"/>
                    <a:gd name="connsiteY2213" fmla="*/ 615003 h 674880"/>
                    <a:gd name="connsiteX2214" fmla="*/ 665275 w 871061"/>
                    <a:gd name="connsiteY2214" fmla="*/ 614931 h 674880"/>
                    <a:gd name="connsiteX2215" fmla="*/ 666137 w 871061"/>
                    <a:gd name="connsiteY2215" fmla="*/ 614566 h 674880"/>
                    <a:gd name="connsiteX2216" fmla="*/ 669052 w 871061"/>
                    <a:gd name="connsiteY2216" fmla="*/ 613364 h 674880"/>
                    <a:gd name="connsiteX2217" fmla="*/ 671456 w 871061"/>
                    <a:gd name="connsiteY2217" fmla="*/ 612368 h 674880"/>
                    <a:gd name="connsiteX2218" fmla="*/ 672391 w 871061"/>
                    <a:gd name="connsiteY2218" fmla="*/ 609952 h 674880"/>
                    <a:gd name="connsiteX2219" fmla="*/ 672974 w 871061"/>
                    <a:gd name="connsiteY2219" fmla="*/ 608458 h 674880"/>
                    <a:gd name="connsiteX2220" fmla="*/ 673945 w 871061"/>
                    <a:gd name="connsiteY2220" fmla="*/ 605957 h 674880"/>
                    <a:gd name="connsiteX2221" fmla="*/ 672804 w 871061"/>
                    <a:gd name="connsiteY2221" fmla="*/ 603601 h 674880"/>
                    <a:gd name="connsiteX2222" fmla="*/ 672002 w 871061"/>
                    <a:gd name="connsiteY2222" fmla="*/ 601986 h 674880"/>
                    <a:gd name="connsiteX2223" fmla="*/ 671529 w 871061"/>
                    <a:gd name="connsiteY2223" fmla="*/ 601039 h 674880"/>
                    <a:gd name="connsiteX2224" fmla="*/ 670776 w 871061"/>
                    <a:gd name="connsiteY2224" fmla="*/ 600311 h 674880"/>
                    <a:gd name="connsiteX2225" fmla="*/ 667558 w 871061"/>
                    <a:gd name="connsiteY2225" fmla="*/ 597238 h 674880"/>
                    <a:gd name="connsiteX2226" fmla="*/ 667315 w 871061"/>
                    <a:gd name="connsiteY2226" fmla="*/ 597008 h 674880"/>
                    <a:gd name="connsiteX2227" fmla="*/ 667060 w 871061"/>
                    <a:gd name="connsiteY2227" fmla="*/ 596813 h 674880"/>
                    <a:gd name="connsiteX2228" fmla="*/ 664352 w 871061"/>
                    <a:gd name="connsiteY2228" fmla="*/ 594725 h 674880"/>
                    <a:gd name="connsiteX2229" fmla="*/ 663454 w 871061"/>
                    <a:gd name="connsiteY2229" fmla="*/ 593875 h 674880"/>
                    <a:gd name="connsiteX2230" fmla="*/ 663114 w 871061"/>
                    <a:gd name="connsiteY2230" fmla="*/ 592746 h 674880"/>
                    <a:gd name="connsiteX2231" fmla="*/ 662810 w 871061"/>
                    <a:gd name="connsiteY2231" fmla="*/ 586929 h 674880"/>
                    <a:gd name="connsiteX2232" fmla="*/ 662774 w 871061"/>
                    <a:gd name="connsiteY2232" fmla="*/ 586079 h 674880"/>
                    <a:gd name="connsiteX2233" fmla="*/ 662494 w 871061"/>
                    <a:gd name="connsiteY2233" fmla="*/ 585266 h 674880"/>
                    <a:gd name="connsiteX2234" fmla="*/ 661341 w 871061"/>
                    <a:gd name="connsiteY2234" fmla="*/ 581926 h 674880"/>
                    <a:gd name="connsiteX2235" fmla="*/ 660940 w 871061"/>
                    <a:gd name="connsiteY2235" fmla="*/ 580748 h 674880"/>
                    <a:gd name="connsiteX2236" fmla="*/ 660114 w 871061"/>
                    <a:gd name="connsiteY2236" fmla="*/ 579825 h 674880"/>
                    <a:gd name="connsiteX2237" fmla="*/ 657127 w 871061"/>
                    <a:gd name="connsiteY2237" fmla="*/ 576523 h 674880"/>
                    <a:gd name="connsiteX2238" fmla="*/ 656690 w 871061"/>
                    <a:gd name="connsiteY2238" fmla="*/ 576049 h 674880"/>
                    <a:gd name="connsiteX2239" fmla="*/ 656180 w 871061"/>
                    <a:gd name="connsiteY2239" fmla="*/ 575672 h 674880"/>
                    <a:gd name="connsiteX2240" fmla="*/ 653776 w 871061"/>
                    <a:gd name="connsiteY2240" fmla="*/ 573936 h 674880"/>
                    <a:gd name="connsiteX2241" fmla="*/ 653375 w 871061"/>
                    <a:gd name="connsiteY2241" fmla="*/ 573645 h 674880"/>
                    <a:gd name="connsiteX2242" fmla="*/ 652938 w 871061"/>
                    <a:gd name="connsiteY2242" fmla="*/ 573426 h 674880"/>
                    <a:gd name="connsiteX2243" fmla="*/ 650752 w 871061"/>
                    <a:gd name="connsiteY2243" fmla="*/ 572333 h 674880"/>
                    <a:gd name="connsiteX2244" fmla="*/ 651262 w 871061"/>
                    <a:gd name="connsiteY2244" fmla="*/ 572054 h 674880"/>
                    <a:gd name="connsiteX2245" fmla="*/ 652404 w 871061"/>
                    <a:gd name="connsiteY2245" fmla="*/ 571423 h 674880"/>
                    <a:gd name="connsiteX2246" fmla="*/ 654371 w 871061"/>
                    <a:gd name="connsiteY2246" fmla="*/ 570342 h 674880"/>
                    <a:gd name="connsiteX2247" fmla="*/ 655160 w 871061"/>
                    <a:gd name="connsiteY2247" fmla="*/ 568241 h 674880"/>
                    <a:gd name="connsiteX2248" fmla="*/ 655621 w 871061"/>
                    <a:gd name="connsiteY2248" fmla="*/ 567002 h 674880"/>
                    <a:gd name="connsiteX2249" fmla="*/ 656095 w 871061"/>
                    <a:gd name="connsiteY2249" fmla="*/ 565740 h 674880"/>
                    <a:gd name="connsiteX2250" fmla="*/ 655974 w 871061"/>
                    <a:gd name="connsiteY2250" fmla="*/ 564380 h 674880"/>
                    <a:gd name="connsiteX2251" fmla="*/ 655865 w 871061"/>
                    <a:gd name="connsiteY2251" fmla="*/ 563092 h 674880"/>
                    <a:gd name="connsiteX2252" fmla="*/ 655828 w 871061"/>
                    <a:gd name="connsiteY2252" fmla="*/ 562655 h 674880"/>
                    <a:gd name="connsiteX2253" fmla="*/ 655731 w 871061"/>
                    <a:gd name="connsiteY2253" fmla="*/ 562218 h 674880"/>
                    <a:gd name="connsiteX2254" fmla="*/ 655379 w 871061"/>
                    <a:gd name="connsiteY2254" fmla="*/ 560688 h 674880"/>
                    <a:gd name="connsiteX2255" fmla="*/ 655269 w 871061"/>
                    <a:gd name="connsiteY2255" fmla="*/ 560239 h 674880"/>
                    <a:gd name="connsiteX2256" fmla="*/ 655087 w 871061"/>
                    <a:gd name="connsiteY2256" fmla="*/ 559814 h 674880"/>
                    <a:gd name="connsiteX2257" fmla="*/ 653642 w 871061"/>
                    <a:gd name="connsiteY2257" fmla="*/ 556195 h 674880"/>
                    <a:gd name="connsiteX2258" fmla="*/ 653412 w 871061"/>
                    <a:gd name="connsiteY2258" fmla="*/ 555624 h 674880"/>
                    <a:gd name="connsiteX2259" fmla="*/ 653071 w 871061"/>
                    <a:gd name="connsiteY2259" fmla="*/ 555102 h 674880"/>
                    <a:gd name="connsiteX2260" fmla="*/ 651299 w 871061"/>
                    <a:gd name="connsiteY2260" fmla="*/ 552431 h 674880"/>
                    <a:gd name="connsiteX2261" fmla="*/ 650995 w 871061"/>
                    <a:gd name="connsiteY2261" fmla="*/ 551957 h 674880"/>
                    <a:gd name="connsiteX2262" fmla="*/ 650594 w 871061"/>
                    <a:gd name="connsiteY2262" fmla="*/ 551544 h 674880"/>
                    <a:gd name="connsiteX2263" fmla="*/ 648069 w 871061"/>
                    <a:gd name="connsiteY2263" fmla="*/ 548946 h 674880"/>
                    <a:gd name="connsiteX2264" fmla="*/ 647558 w 871061"/>
                    <a:gd name="connsiteY2264" fmla="*/ 548436 h 674880"/>
                    <a:gd name="connsiteX2265" fmla="*/ 646951 w 871061"/>
                    <a:gd name="connsiteY2265" fmla="*/ 548047 h 674880"/>
                    <a:gd name="connsiteX2266" fmla="*/ 642422 w 871061"/>
                    <a:gd name="connsiteY2266" fmla="*/ 545194 h 674880"/>
                    <a:gd name="connsiteX2267" fmla="*/ 641718 w 871061"/>
                    <a:gd name="connsiteY2267" fmla="*/ 544756 h 674880"/>
                    <a:gd name="connsiteX2268" fmla="*/ 640929 w 871061"/>
                    <a:gd name="connsiteY2268" fmla="*/ 544514 h 674880"/>
                    <a:gd name="connsiteX2269" fmla="*/ 637771 w 871061"/>
                    <a:gd name="connsiteY2269" fmla="*/ 543567 h 674880"/>
                    <a:gd name="connsiteX2270" fmla="*/ 636982 w 871061"/>
                    <a:gd name="connsiteY2270" fmla="*/ 543324 h 674880"/>
                    <a:gd name="connsiteX2271" fmla="*/ 636144 w 871061"/>
                    <a:gd name="connsiteY2271" fmla="*/ 543312 h 674880"/>
                    <a:gd name="connsiteX2272" fmla="*/ 628361 w 871061"/>
                    <a:gd name="connsiteY2272" fmla="*/ 543178 h 674880"/>
                    <a:gd name="connsiteX2273" fmla="*/ 627316 w 871061"/>
                    <a:gd name="connsiteY2273" fmla="*/ 542862 h 674880"/>
                    <a:gd name="connsiteX2274" fmla="*/ 626527 w 871061"/>
                    <a:gd name="connsiteY2274" fmla="*/ 542340 h 674880"/>
                    <a:gd name="connsiteX2275" fmla="*/ 625543 w 871061"/>
                    <a:gd name="connsiteY2275" fmla="*/ 540859 h 674880"/>
                    <a:gd name="connsiteX2276" fmla="*/ 624851 w 871061"/>
                    <a:gd name="connsiteY2276" fmla="*/ 539377 h 674880"/>
                    <a:gd name="connsiteX2277" fmla="*/ 623540 w 871061"/>
                    <a:gd name="connsiteY2277" fmla="*/ 530731 h 674880"/>
                    <a:gd name="connsiteX2278" fmla="*/ 623200 w 871061"/>
                    <a:gd name="connsiteY2278" fmla="*/ 528436 h 674880"/>
                    <a:gd name="connsiteX2279" fmla="*/ 621403 w 871061"/>
                    <a:gd name="connsiteY2279" fmla="*/ 526955 h 674880"/>
                    <a:gd name="connsiteX2280" fmla="*/ 609685 w 871061"/>
                    <a:gd name="connsiteY2280" fmla="*/ 517338 h 674880"/>
                    <a:gd name="connsiteX2281" fmla="*/ 609272 w 871061"/>
                    <a:gd name="connsiteY2281" fmla="*/ 517010 h 674880"/>
                    <a:gd name="connsiteX2282" fmla="*/ 608811 w 871061"/>
                    <a:gd name="connsiteY2282" fmla="*/ 516755 h 674880"/>
                    <a:gd name="connsiteX2283" fmla="*/ 603990 w 871061"/>
                    <a:gd name="connsiteY2283" fmla="*/ 514035 h 674880"/>
                    <a:gd name="connsiteX2284" fmla="*/ 602946 w 871061"/>
                    <a:gd name="connsiteY2284" fmla="*/ 513440 h 674880"/>
                    <a:gd name="connsiteX2285" fmla="*/ 601743 w 871061"/>
                    <a:gd name="connsiteY2285" fmla="*/ 513294 h 674880"/>
                    <a:gd name="connsiteX2286" fmla="*/ 600250 w 871061"/>
                    <a:gd name="connsiteY2286" fmla="*/ 513112 h 674880"/>
                    <a:gd name="connsiteX2287" fmla="*/ 599278 w 871061"/>
                    <a:gd name="connsiteY2287" fmla="*/ 512991 h 674880"/>
                    <a:gd name="connsiteX2288" fmla="*/ 598319 w 871061"/>
                    <a:gd name="connsiteY2288" fmla="*/ 513185 h 674880"/>
                    <a:gd name="connsiteX2289" fmla="*/ 597433 w 871061"/>
                    <a:gd name="connsiteY2289" fmla="*/ 513367 h 674880"/>
                    <a:gd name="connsiteX2290" fmla="*/ 596121 w 871061"/>
                    <a:gd name="connsiteY2290" fmla="*/ 513343 h 674880"/>
                    <a:gd name="connsiteX2291" fmla="*/ 594846 w 871061"/>
                    <a:gd name="connsiteY2291" fmla="*/ 513136 h 674880"/>
                    <a:gd name="connsiteX2292" fmla="*/ 587670 w 871061"/>
                    <a:gd name="connsiteY2292" fmla="*/ 507514 h 674880"/>
                    <a:gd name="connsiteX2293" fmla="*/ 587730 w 871061"/>
                    <a:gd name="connsiteY2293" fmla="*/ 506227 h 674880"/>
                    <a:gd name="connsiteX2294" fmla="*/ 588520 w 871061"/>
                    <a:gd name="connsiteY2294" fmla="*/ 501333 h 674880"/>
                    <a:gd name="connsiteX2295" fmla="*/ 588593 w 871061"/>
                    <a:gd name="connsiteY2295" fmla="*/ 500933 h 674880"/>
                    <a:gd name="connsiteX2296" fmla="*/ 588605 w 871061"/>
                    <a:gd name="connsiteY2296" fmla="*/ 500520 h 674880"/>
                    <a:gd name="connsiteX2297" fmla="*/ 588726 w 871061"/>
                    <a:gd name="connsiteY2297" fmla="*/ 495833 h 674880"/>
                    <a:gd name="connsiteX2298" fmla="*/ 588799 w 871061"/>
                    <a:gd name="connsiteY2298" fmla="*/ 495323 h 674880"/>
                    <a:gd name="connsiteX2299" fmla="*/ 590280 w 871061"/>
                    <a:gd name="connsiteY2299" fmla="*/ 491716 h 674880"/>
                    <a:gd name="connsiteX2300" fmla="*/ 590414 w 871061"/>
                    <a:gd name="connsiteY2300" fmla="*/ 491388 h 674880"/>
                    <a:gd name="connsiteX2301" fmla="*/ 590511 w 871061"/>
                    <a:gd name="connsiteY2301" fmla="*/ 491060 h 674880"/>
                    <a:gd name="connsiteX2302" fmla="*/ 591130 w 871061"/>
                    <a:gd name="connsiteY2302" fmla="*/ 488887 h 674880"/>
                    <a:gd name="connsiteX2303" fmla="*/ 591434 w 871061"/>
                    <a:gd name="connsiteY2303" fmla="*/ 487818 h 674880"/>
                    <a:gd name="connsiteX2304" fmla="*/ 591337 w 871061"/>
                    <a:gd name="connsiteY2304" fmla="*/ 486701 h 674880"/>
                    <a:gd name="connsiteX2305" fmla="*/ 591167 w 871061"/>
                    <a:gd name="connsiteY2305" fmla="*/ 484807 h 674880"/>
                    <a:gd name="connsiteX2306" fmla="*/ 591106 w 871061"/>
                    <a:gd name="connsiteY2306" fmla="*/ 484115 h 674880"/>
                    <a:gd name="connsiteX2307" fmla="*/ 590887 w 871061"/>
                    <a:gd name="connsiteY2307" fmla="*/ 483459 h 674880"/>
                    <a:gd name="connsiteX2308" fmla="*/ 590778 w 871061"/>
                    <a:gd name="connsiteY2308" fmla="*/ 483143 h 674880"/>
                    <a:gd name="connsiteX2309" fmla="*/ 593510 w 871061"/>
                    <a:gd name="connsiteY2309" fmla="*/ 480945 h 674880"/>
                    <a:gd name="connsiteX2310" fmla="*/ 594421 w 871061"/>
                    <a:gd name="connsiteY2310" fmla="*/ 480520 h 674880"/>
                    <a:gd name="connsiteX2311" fmla="*/ 596218 w 871061"/>
                    <a:gd name="connsiteY2311" fmla="*/ 480059 h 674880"/>
                    <a:gd name="connsiteX2312" fmla="*/ 598817 w 871061"/>
                    <a:gd name="connsiteY2312" fmla="*/ 479755 h 674880"/>
                    <a:gd name="connsiteX2313" fmla="*/ 599157 w 871061"/>
                    <a:gd name="connsiteY2313" fmla="*/ 479719 h 674880"/>
                    <a:gd name="connsiteX2314" fmla="*/ 599497 w 871061"/>
                    <a:gd name="connsiteY2314" fmla="*/ 479634 h 674880"/>
                    <a:gd name="connsiteX2315" fmla="*/ 601780 w 871061"/>
                    <a:gd name="connsiteY2315" fmla="*/ 479088 h 674880"/>
                    <a:gd name="connsiteX2316" fmla="*/ 602277 w 871061"/>
                    <a:gd name="connsiteY2316" fmla="*/ 478966 h 674880"/>
                    <a:gd name="connsiteX2317" fmla="*/ 602763 w 871061"/>
                    <a:gd name="connsiteY2317" fmla="*/ 478760 h 674880"/>
                    <a:gd name="connsiteX2318" fmla="*/ 603844 w 871061"/>
                    <a:gd name="connsiteY2318" fmla="*/ 478298 h 674880"/>
                    <a:gd name="connsiteX2319" fmla="*/ 605010 w 871061"/>
                    <a:gd name="connsiteY2319" fmla="*/ 477800 h 674880"/>
                    <a:gd name="connsiteX2320" fmla="*/ 605872 w 871061"/>
                    <a:gd name="connsiteY2320" fmla="*/ 476878 h 674880"/>
                    <a:gd name="connsiteX2321" fmla="*/ 606746 w 871061"/>
                    <a:gd name="connsiteY2321" fmla="*/ 475943 h 674880"/>
                    <a:gd name="connsiteX2322" fmla="*/ 608106 w 871061"/>
                    <a:gd name="connsiteY2322" fmla="*/ 474497 h 674880"/>
                    <a:gd name="connsiteX2323" fmla="*/ 608349 w 871061"/>
                    <a:gd name="connsiteY2323" fmla="*/ 472506 h 674880"/>
                    <a:gd name="connsiteX2324" fmla="*/ 608446 w 871061"/>
                    <a:gd name="connsiteY2324" fmla="*/ 471571 h 674880"/>
                    <a:gd name="connsiteX2325" fmla="*/ 608774 w 871061"/>
                    <a:gd name="connsiteY2325" fmla="*/ 468912 h 674880"/>
                    <a:gd name="connsiteX2326" fmla="*/ 607013 w 871061"/>
                    <a:gd name="connsiteY2326" fmla="*/ 466884 h 674880"/>
                    <a:gd name="connsiteX2327" fmla="*/ 606394 w 871061"/>
                    <a:gd name="connsiteY2327" fmla="*/ 466167 h 674880"/>
                    <a:gd name="connsiteX2328" fmla="*/ 605398 w 871061"/>
                    <a:gd name="connsiteY2328" fmla="*/ 465002 h 674880"/>
                    <a:gd name="connsiteX2329" fmla="*/ 603953 w 871061"/>
                    <a:gd name="connsiteY2329" fmla="*/ 464455 h 674880"/>
                    <a:gd name="connsiteX2330" fmla="*/ 602460 w 871061"/>
                    <a:gd name="connsiteY2330" fmla="*/ 463885 h 674880"/>
                    <a:gd name="connsiteX2331" fmla="*/ 601513 w 871061"/>
                    <a:gd name="connsiteY2331" fmla="*/ 463520 h 674880"/>
                    <a:gd name="connsiteX2332" fmla="*/ 600505 w 871061"/>
                    <a:gd name="connsiteY2332" fmla="*/ 463496 h 674880"/>
                    <a:gd name="connsiteX2333" fmla="*/ 598125 w 871061"/>
                    <a:gd name="connsiteY2333" fmla="*/ 463411 h 674880"/>
                    <a:gd name="connsiteX2334" fmla="*/ 597153 w 871061"/>
                    <a:gd name="connsiteY2334" fmla="*/ 463107 h 674880"/>
                    <a:gd name="connsiteX2335" fmla="*/ 597117 w 871061"/>
                    <a:gd name="connsiteY2335" fmla="*/ 463095 h 674880"/>
                    <a:gd name="connsiteX2336" fmla="*/ 596801 w 871061"/>
                    <a:gd name="connsiteY2336" fmla="*/ 462901 h 674880"/>
                    <a:gd name="connsiteX2337" fmla="*/ 595854 w 871061"/>
                    <a:gd name="connsiteY2337" fmla="*/ 462306 h 674880"/>
                    <a:gd name="connsiteX2338" fmla="*/ 594761 w 871061"/>
                    <a:gd name="connsiteY2338" fmla="*/ 462087 h 674880"/>
                    <a:gd name="connsiteX2339" fmla="*/ 593158 w 871061"/>
                    <a:gd name="connsiteY2339" fmla="*/ 461772 h 674880"/>
                    <a:gd name="connsiteX2340" fmla="*/ 592673 w 871061"/>
                    <a:gd name="connsiteY2340" fmla="*/ 461675 h 674880"/>
                    <a:gd name="connsiteX2341" fmla="*/ 592187 w 871061"/>
                    <a:gd name="connsiteY2341" fmla="*/ 461663 h 674880"/>
                    <a:gd name="connsiteX2342" fmla="*/ 567136 w 871061"/>
                    <a:gd name="connsiteY2342" fmla="*/ 460825 h 674880"/>
                    <a:gd name="connsiteX2343" fmla="*/ 557628 w 871061"/>
                    <a:gd name="connsiteY2343" fmla="*/ 458736 h 674880"/>
                    <a:gd name="connsiteX2344" fmla="*/ 556984 w 871061"/>
                    <a:gd name="connsiteY2344" fmla="*/ 458590 h 674880"/>
                    <a:gd name="connsiteX2345" fmla="*/ 556341 w 871061"/>
                    <a:gd name="connsiteY2345" fmla="*/ 458590 h 674880"/>
                    <a:gd name="connsiteX2346" fmla="*/ 548351 w 871061"/>
                    <a:gd name="connsiteY2346" fmla="*/ 458566 h 674880"/>
                    <a:gd name="connsiteX2347" fmla="*/ 546602 w 871061"/>
                    <a:gd name="connsiteY2347" fmla="*/ 458566 h 674880"/>
                    <a:gd name="connsiteX2348" fmla="*/ 545133 w 871061"/>
                    <a:gd name="connsiteY2348" fmla="*/ 459477 h 674880"/>
                    <a:gd name="connsiteX2349" fmla="*/ 543554 w 871061"/>
                    <a:gd name="connsiteY2349" fmla="*/ 460448 h 674880"/>
                    <a:gd name="connsiteX2350" fmla="*/ 541939 w 871061"/>
                    <a:gd name="connsiteY2350" fmla="*/ 461152 h 674880"/>
                    <a:gd name="connsiteX2351" fmla="*/ 541563 w 871061"/>
                    <a:gd name="connsiteY2351" fmla="*/ 461201 h 674880"/>
                    <a:gd name="connsiteX2352" fmla="*/ 541296 w 871061"/>
                    <a:gd name="connsiteY2352" fmla="*/ 461092 h 674880"/>
                    <a:gd name="connsiteX2353" fmla="*/ 538430 w 871061"/>
                    <a:gd name="connsiteY2353" fmla="*/ 458603 h 674880"/>
                    <a:gd name="connsiteX2354" fmla="*/ 515686 w 871061"/>
                    <a:gd name="connsiteY2354" fmla="*/ 434244 h 674880"/>
                    <a:gd name="connsiteX2355" fmla="*/ 515286 w 871061"/>
                    <a:gd name="connsiteY2355" fmla="*/ 433807 h 674880"/>
                    <a:gd name="connsiteX2356" fmla="*/ 514800 w 871061"/>
                    <a:gd name="connsiteY2356" fmla="*/ 433454 h 674880"/>
                    <a:gd name="connsiteX2357" fmla="*/ 511351 w 871061"/>
                    <a:gd name="connsiteY2357" fmla="*/ 430977 h 674880"/>
                    <a:gd name="connsiteX2358" fmla="*/ 511048 w 871061"/>
                    <a:gd name="connsiteY2358" fmla="*/ 430759 h 674880"/>
                    <a:gd name="connsiteX2359" fmla="*/ 510732 w 871061"/>
                    <a:gd name="connsiteY2359" fmla="*/ 430576 h 674880"/>
                    <a:gd name="connsiteX2360" fmla="*/ 507113 w 871061"/>
                    <a:gd name="connsiteY2360" fmla="*/ 428597 h 674880"/>
                    <a:gd name="connsiteX2361" fmla="*/ 506276 w 871061"/>
                    <a:gd name="connsiteY2361" fmla="*/ 428136 h 674880"/>
                    <a:gd name="connsiteX2362" fmla="*/ 505341 w 871061"/>
                    <a:gd name="connsiteY2362" fmla="*/ 427954 h 674880"/>
                    <a:gd name="connsiteX2363" fmla="*/ 501091 w 871061"/>
                    <a:gd name="connsiteY2363" fmla="*/ 427140 h 674880"/>
                    <a:gd name="connsiteX2364" fmla="*/ 500726 w 871061"/>
                    <a:gd name="connsiteY2364" fmla="*/ 427067 h 674880"/>
                    <a:gd name="connsiteX2365" fmla="*/ 500362 w 871061"/>
                    <a:gd name="connsiteY2365" fmla="*/ 427043 h 674880"/>
                    <a:gd name="connsiteX2366" fmla="*/ 497083 w 871061"/>
                    <a:gd name="connsiteY2366" fmla="*/ 426824 h 674880"/>
                    <a:gd name="connsiteX2367" fmla="*/ 495845 w 871061"/>
                    <a:gd name="connsiteY2367" fmla="*/ 426739 h 674880"/>
                    <a:gd name="connsiteX2368" fmla="*/ 494679 w 871061"/>
                    <a:gd name="connsiteY2368" fmla="*/ 427152 h 674880"/>
                    <a:gd name="connsiteX2369" fmla="*/ 490186 w 871061"/>
                    <a:gd name="connsiteY2369" fmla="*/ 428719 h 674880"/>
                    <a:gd name="connsiteX2370" fmla="*/ 489106 w 871061"/>
                    <a:gd name="connsiteY2370" fmla="*/ 425149 h 674880"/>
                    <a:gd name="connsiteX2371" fmla="*/ 488668 w 871061"/>
                    <a:gd name="connsiteY2371" fmla="*/ 423679 h 674880"/>
                    <a:gd name="connsiteX2372" fmla="*/ 487575 w 871061"/>
                    <a:gd name="connsiteY2372" fmla="*/ 422599 h 674880"/>
                    <a:gd name="connsiteX2373" fmla="*/ 482390 w 871061"/>
                    <a:gd name="connsiteY2373" fmla="*/ 417438 h 674880"/>
                    <a:gd name="connsiteX2374" fmla="*/ 481771 w 871061"/>
                    <a:gd name="connsiteY2374" fmla="*/ 416053 h 674880"/>
                    <a:gd name="connsiteX2375" fmla="*/ 482014 w 871061"/>
                    <a:gd name="connsiteY2375" fmla="*/ 414256 h 674880"/>
                    <a:gd name="connsiteX2376" fmla="*/ 483592 w 871061"/>
                    <a:gd name="connsiteY2376" fmla="*/ 410735 h 674880"/>
                    <a:gd name="connsiteX2377" fmla="*/ 485997 w 871061"/>
                    <a:gd name="connsiteY2377" fmla="*/ 407019 h 674880"/>
                    <a:gd name="connsiteX2378" fmla="*/ 488644 w 871061"/>
                    <a:gd name="connsiteY2378" fmla="*/ 403850 h 674880"/>
                    <a:gd name="connsiteX2379" fmla="*/ 488984 w 871061"/>
                    <a:gd name="connsiteY2379" fmla="*/ 403437 h 674880"/>
                    <a:gd name="connsiteX2380" fmla="*/ 489251 w 871061"/>
                    <a:gd name="connsiteY2380" fmla="*/ 402964 h 674880"/>
                    <a:gd name="connsiteX2381" fmla="*/ 490332 w 871061"/>
                    <a:gd name="connsiteY2381" fmla="*/ 401069 h 674880"/>
                    <a:gd name="connsiteX2382" fmla="*/ 490769 w 871061"/>
                    <a:gd name="connsiteY2382" fmla="*/ 400292 h 674880"/>
                    <a:gd name="connsiteX2383" fmla="*/ 490975 w 871061"/>
                    <a:gd name="connsiteY2383" fmla="*/ 399418 h 674880"/>
                    <a:gd name="connsiteX2384" fmla="*/ 491498 w 871061"/>
                    <a:gd name="connsiteY2384" fmla="*/ 397123 h 674880"/>
                    <a:gd name="connsiteX2385" fmla="*/ 491607 w 871061"/>
                    <a:gd name="connsiteY2385" fmla="*/ 396685 h 674880"/>
                    <a:gd name="connsiteX2386" fmla="*/ 491631 w 871061"/>
                    <a:gd name="connsiteY2386" fmla="*/ 396236 h 674880"/>
                    <a:gd name="connsiteX2387" fmla="*/ 491935 w 871061"/>
                    <a:gd name="connsiteY2387" fmla="*/ 392351 h 674880"/>
                    <a:gd name="connsiteX2388" fmla="*/ 492178 w 871061"/>
                    <a:gd name="connsiteY2388" fmla="*/ 391598 h 674880"/>
                    <a:gd name="connsiteX2389" fmla="*/ 492675 w 871061"/>
                    <a:gd name="connsiteY2389" fmla="*/ 390869 h 674880"/>
                    <a:gd name="connsiteX2390" fmla="*/ 493550 w 871061"/>
                    <a:gd name="connsiteY2390" fmla="*/ 389570 h 674880"/>
                    <a:gd name="connsiteX2391" fmla="*/ 493695 w 871061"/>
                    <a:gd name="connsiteY2391" fmla="*/ 388016 h 674880"/>
                    <a:gd name="connsiteX2392" fmla="*/ 493817 w 871061"/>
                    <a:gd name="connsiteY2392" fmla="*/ 386692 h 674880"/>
                    <a:gd name="connsiteX2393" fmla="*/ 494072 w 871061"/>
                    <a:gd name="connsiteY2393" fmla="*/ 383911 h 674880"/>
                    <a:gd name="connsiteX2394" fmla="*/ 492129 w 871061"/>
                    <a:gd name="connsiteY2394" fmla="*/ 381908 h 674880"/>
                    <a:gd name="connsiteX2395" fmla="*/ 490308 w 871061"/>
                    <a:gd name="connsiteY2395" fmla="*/ 380038 h 674880"/>
                    <a:gd name="connsiteX2396" fmla="*/ 489263 w 871061"/>
                    <a:gd name="connsiteY2396" fmla="*/ 378981 h 674880"/>
                    <a:gd name="connsiteX2397" fmla="*/ 487855 w 871061"/>
                    <a:gd name="connsiteY2397" fmla="*/ 378508 h 674880"/>
                    <a:gd name="connsiteX2398" fmla="*/ 486580 w 871061"/>
                    <a:gd name="connsiteY2398" fmla="*/ 378083 h 674880"/>
                    <a:gd name="connsiteX2399" fmla="*/ 485438 w 871061"/>
                    <a:gd name="connsiteY2399" fmla="*/ 377706 h 674880"/>
                    <a:gd name="connsiteX2400" fmla="*/ 484236 w 871061"/>
                    <a:gd name="connsiteY2400" fmla="*/ 377791 h 674880"/>
                    <a:gd name="connsiteX2401" fmla="*/ 481783 w 871061"/>
                    <a:gd name="connsiteY2401" fmla="*/ 377961 h 674880"/>
                    <a:gd name="connsiteX2402" fmla="*/ 481043 w 871061"/>
                    <a:gd name="connsiteY2402" fmla="*/ 376844 h 674880"/>
                    <a:gd name="connsiteX2403" fmla="*/ 481237 w 871061"/>
                    <a:gd name="connsiteY2403" fmla="*/ 376747 h 674880"/>
                    <a:gd name="connsiteX2404" fmla="*/ 489676 w 871061"/>
                    <a:gd name="connsiteY2404" fmla="*/ 375156 h 674880"/>
                    <a:gd name="connsiteX2405" fmla="*/ 491971 w 871061"/>
                    <a:gd name="connsiteY2405" fmla="*/ 375290 h 674880"/>
                    <a:gd name="connsiteX2406" fmla="*/ 492275 w 871061"/>
                    <a:gd name="connsiteY2406" fmla="*/ 375302 h 674880"/>
                    <a:gd name="connsiteX2407" fmla="*/ 492578 w 871061"/>
                    <a:gd name="connsiteY2407" fmla="*/ 375290 h 674880"/>
                    <a:gd name="connsiteX2408" fmla="*/ 496938 w 871061"/>
                    <a:gd name="connsiteY2408" fmla="*/ 375095 h 674880"/>
                    <a:gd name="connsiteX2409" fmla="*/ 497314 w 871061"/>
                    <a:gd name="connsiteY2409" fmla="*/ 375083 h 674880"/>
                    <a:gd name="connsiteX2410" fmla="*/ 497691 w 871061"/>
                    <a:gd name="connsiteY2410" fmla="*/ 375023 h 674880"/>
                    <a:gd name="connsiteX2411" fmla="*/ 507805 w 871061"/>
                    <a:gd name="connsiteY2411" fmla="*/ 373286 h 674880"/>
                    <a:gd name="connsiteX2412" fmla="*/ 508219 w 871061"/>
                    <a:gd name="connsiteY2412" fmla="*/ 373213 h 674880"/>
                    <a:gd name="connsiteX2413" fmla="*/ 508619 w 871061"/>
                    <a:gd name="connsiteY2413" fmla="*/ 373080 h 674880"/>
                    <a:gd name="connsiteX2414" fmla="*/ 510210 w 871061"/>
                    <a:gd name="connsiteY2414" fmla="*/ 372570 h 674880"/>
                    <a:gd name="connsiteX2415" fmla="*/ 511254 w 871061"/>
                    <a:gd name="connsiteY2415" fmla="*/ 372242 h 674880"/>
                    <a:gd name="connsiteX2416" fmla="*/ 512116 w 871061"/>
                    <a:gd name="connsiteY2416" fmla="*/ 371562 h 674880"/>
                    <a:gd name="connsiteX2417" fmla="*/ 513209 w 871061"/>
                    <a:gd name="connsiteY2417" fmla="*/ 370700 h 674880"/>
                    <a:gd name="connsiteX2418" fmla="*/ 514375 w 871061"/>
                    <a:gd name="connsiteY2418" fmla="*/ 369789 h 674880"/>
                    <a:gd name="connsiteX2419" fmla="*/ 514982 w 871061"/>
                    <a:gd name="connsiteY2419" fmla="*/ 368453 h 674880"/>
                    <a:gd name="connsiteX2420" fmla="*/ 515966 w 871061"/>
                    <a:gd name="connsiteY2420" fmla="*/ 366292 h 674880"/>
                    <a:gd name="connsiteX2421" fmla="*/ 516718 w 871061"/>
                    <a:gd name="connsiteY2421" fmla="*/ 364628 h 674880"/>
                    <a:gd name="connsiteX2422" fmla="*/ 516439 w 871061"/>
                    <a:gd name="connsiteY2422" fmla="*/ 362831 h 674880"/>
                    <a:gd name="connsiteX2423" fmla="*/ 516160 w 871061"/>
                    <a:gd name="connsiteY2423" fmla="*/ 361034 h 674880"/>
                    <a:gd name="connsiteX2424" fmla="*/ 516063 w 871061"/>
                    <a:gd name="connsiteY2424" fmla="*/ 360475 h 674880"/>
                    <a:gd name="connsiteX2425" fmla="*/ 515868 w 871061"/>
                    <a:gd name="connsiteY2425" fmla="*/ 359941 h 674880"/>
                    <a:gd name="connsiteX2426" fmla="*/ 513925 w 871061"/>
                    <a:gd name="connsiteY2426" fmla="*/ 354513 h 674880"/>
                    <a:gd name="connsiteX2427" fmla="*/ 513962 w 871061"/>
                    <a:gd name="connsiteY2427" fmla="*/ 354477 h 674880"/>
                    <a:gd name="connsiteX2428" fmla="*/ 514047 w 871061"/>
                    <a:gd name="connsiteY2428" fmla="*/ 354477 h 674880"/>
                    <a:gd name="connsiteX2429" fmla="*/ 515589 w 871061"/>
                    <a:gd name="connsiteY2429" fmla="*/ 354914 h 674880"/>
                    <a:gd name="connsiteX2430" fmla="*/ 522790 w 871061"/>
                    <a:gd name="connsiteY2430" fmla="*/ 359212 h 674880"/>
                    <a:gd name="connsiteX2431" fmla="*/ 524174 w 871061"/>
                    <a:gd name="connsiteY2431" fmla="*/ 360038 h 674880"/>
                    <a:gd name="connsiteX2432" fmla="*/ 525789 w 871061"/>
                    <a:gd name="connsiteY2432" fmla="*/ 360062 h 674880"/>
                    <a:gd name="connsiteX2433" fmla="*/ 525983 w 871061"/>
                    <a:gd name="connsiteY2433" fmla="*/ 360062 h 674880"/>
                    <a:gd name="connsiteX2434" fmla="*/ 524733 w 871061"/>
                    <a:gd name="connsiteY2434" fmla="*/ 365430 h 674880"/>
                    <a:gd name="connsiteX2435" fmla="*/ 524259 w 871061"/>
                    <a:gd name="connsiteY2435" fmla="*/ 368538 h 674880"/>
                    <a:gd name="connsiteX2436" fmla="*/ 524114 w 871061"/>
                    <a:gd name="connsiteY2436" fmla="*/ 369437 h 674880"/>
                    <a:gd name="connsiteX2437" fmla="*/ 524259 w 871061"/>
                    <a:gd name="connsiteY2437" fmla="*/ 370323 h 674880"/>
                    <a:gd name="connsiteX2438" fmla="*/ 524320 w 871061"/>
                    <a:gd name="connsiteY2438" fmla="*/ 370748 h 674880"/>
                    <a:gd name="connsiteX2439" fmla="*/ 524490 w 871061"/>
                    <a:gd name="connsiteY2439" fmla="*/ 371489 h 674880"/>
                    <a:gd name="connsiteX2440" fmla="*/ 524806 w 871061"/>
                    <a:gd name="connsiteY2440" fmla="*/ 372557 h 674880"/>
                    <a:gd name="connsiteX2441" fmla="*/ 525595 w 871061"/>
                    <a:gd name="connsiteY2441" fmla="*/ 373833 h 674880"/>
                    <a:gd name="connsiteX2442" fmla="*/ 526336 w 871061"/>
                    <a:gd name="connsiteY2442" fmla="*/ 374792 h 674880"/>
                    <a:gd name="connsiteX2443" fmla="*/ 527089 w 871061"/>
                    <a:gd name="connsiteY2443" fmla="*/ 375775 h 674880"/>
                    <a:gd name="connsiteX2444" fmla="*/ 528169 w 871061"/>
                    <a:gd name="connsiteY2444" fmla="*/ 376383 h 674880"/>
                    <a:gd name="connsiteX2445" fmla="*/ 529614 w 871061"/>
                    <a:gd name="connsiteY2445" fmla="*/ 377208 h 674880"/>
                    <a:gd name="connsiteX2446" fmla="*/ 530695 w 871061"/>
                    <a:gd name="connsiteY2446" fmla="*/ 377828 h 674880"/>
                    <a:gd name="connsiteX2447" fmla="*/ 531933 w 871061"/>
                    <a:gd name="connsiteY2447" fmla="*/ 377973 h 674880"/>
                    <a:gd name="connsiteX2448" fmla="*/ 534107 w 871061"/>
                    <a:gd name="connsiteY2448" fmla="*/ 378216 h 674880"/>
                    <a:gd name="connsiteX2449" fmla="*/ 535091 w 871061"/>
                    <a:gd name="connsiteY2449" fmla="*/ 378544 h 674880"/>
                    <a:gd name="connsiteX2450" fmla="*/ 539304 w 871061"/>
                    <a:gd name="connsiteY2450" fmla="*/ 380463 h 674880"/>
                    <a:gd name="connsiteX2451" fmla="*/ 541672 w 871061"/>
                    <a:gd name="connsiteY2451" fmla="*/ 381920 h 674880"/>
                    <a:gd name="connsiteX2452" fmla="*/ 542959 w 871061"/>
                    <a:gd name="connsiteY2452" fmla="*/ 383498 h 674880"/>
                    <a:gd name="connsiteX2453" fmla="*/ 543858 w 871061"/>
                    <a:gd name="connsiteY2453" fmla="*/ 384616 h 674880"/>
                    <a:gd name="connsiteX2454" fmla="*/ 545157 w 871061"/>
                    <a:gd name="connsiteY2454" fmla="*/ 385198 h 674880"/>
                    <a:gd name="connsiteX2455" fmla="*/ 547744 w 871061"/>
                    <a:gd name="connsiteY2455" fmla="*/ 386364 h 674880"/>
                    <a:gd name="connsiteX2456" fmla="*/ 549006 w 871061"/>
                    <a:gd name="connsiteY2456" fmla="*/ 386935 h 674880"/>
                    <a:gd name="connsiteX2457" fmla="*/ 550391 w 871061"/>
                    <a:gd name="connsiteY2457" fmla="*/ 386911 h 674880"/>
                    <a:gd name="connsiteX2458" fmla="*/ 553159 w 871061"/>
                    <a:gd name="connsiteY2458" fmla="*/ 386850 h 674880"/>
                    <a:gd name="connsiteX2459" fmla="*/ 554131 w 871061"/>
                    <a:gd name="connsiteY2459" fmla="*/ 386825 h 674880"/>
                    <a:gd name="connsiteX2460" fmla="*/ 555029 w 871061"/>
                    <a:gd name="connsiteY2460" fmla="*/ 386510 h 674880"/>
                    <a:gd name="connsiteX2461" fmla="*/ 560712 w 871061"/>
                    <a:gd name="connsiteY2461" fmla="*/ 384506 h 674880"/>
                    <a:gd name="connsiteX2462" fmla="*/ 561817 w 871061"/>
                    <a:gd name="connsiteY2462" fmla="*/ 384118 h 674880"/>
                    <a:gd name="connsiteX2463" fmla="*/ 562692 w 871061"/>
                    <a:gd name="connsiteY2463" fmla="*/ 383353 h 674880"/>
                    <a:gd name="connsiteX2464" fmla="*/ 567816 w 871061"/>
                    <a:gd name="connsiteY2464" fmla="*/ 378872 h 674880"/>
                    <a:gd name="connsiteX2465" fmla="*/ 569504 w 871061"/>
                    <a:gd name="connsiteY2465" fmla="*/ 377840 h 674880"/>
                    <a:gd name="connsiteX2466" fmla="*/ 570159 w 871061"/>
                    <a:gd name="connsiteY2466" fmla="*/ 377439 h 674880"/>
                    <a:gd name="connsiteX2467" fmla="*/ 570694 w 871061"/>
                    <a:gd name="connsiteY2467" fmla="*/ 376893 h 674880"/>
                    <a:gd name="connsiteX2468" fmla="*/ 572321 w 871061"/>
                    <a:gd name="connsiteY2468" fmla="*/ 375217 h 674880"/>
                    <a:gd name="connsiteX2469" fmla="*/ 572940 w 871061"/>
                    <a:gd name="connsiteY2469" fmla="*/ 374695 h 674880"/>
                    <a:gd name="connsiteX2470" fmla="*/ 573608 w 871061"/>
                    <a:gd name="connsiteY2470" fmla="*/ 374136 h 674880"/>
                    <a:gd name="connsiteX2471" fmla="*/ 573960 w 871061"/>
                    <a:gd name="connsiteY2471" fmla="*/ 373602 h 674880"/>
                    <a:gd name="connsiteX2472" fmla="*/ 574227 w 871061"/>
                    <a:gd name="connsiteY2472" fmla="*/ 373310 h 674880"/>
                    <a:gd name="connsiteX2473" fmla="*/ 574422 w 871061"/>
                    <a:gd name="connsiteY2473" fmla="*/ 373080 h 674880"/>
                    <a:gd name="connsiteX2474" fmla="*/ 574932 w 871061"/>
                    <a:gd name="connsiteY2474" fmla="*/ 372400 h 674880"/>
                    <a:gd name="connsiteX2475" fmla="*/ 575672 w 871061"/>
                    <a:gd name="connsiteY2475" fmla="*/ 371270 h 674880"/>
                    <a:gd name="connsiteX2476" fmla="*/ 576061 w 871061"/>
                    <a:gd name="connsiteY2476" fmla="*/ 370663 h 674880"/>
                    <a:gd name="connsiteX2477" fmla="*/ 576304 w 871061"/>
                    <a:gd name="connsiteY2477" fmla="*/ 369983 h 674880"/>
                    <a:gd name="connsiteX2478" fmla="*/ 577008 w 871061"/>
                    <a:gd name="connsiteY2478" fmla="*/ 368016 h 674880"/>
                    <a:gd name="connsiteX2479" fmla="*/ 577263 w 871061"/>
                    <a:gd name="connsiteY2479" fmla="*/ 367312 h 674880"/>
                    <a:gd name="connsiteX2480" fmla="*/ 577348 w 871061"/>
                    <a:gd name="connsiteY2480" fmla="*/ 366571 h 674880"/>
                    <a:gd name="connsiteX2481" fmla="*/ 577579 w 871061"/>
                    <a:gd name="connsiteY2481" fmla="*/ 364264 h 674880"/>
                    <a:gd name="connsiteX2482" fmla="*/ 577603 w 871061"/>
                    <a:gd name="connsiteY2482" fmla="*/ 363912 h 674880"/>
                    <a:gd name="connsiteX2483" fmla="*/ 577603 w 871061"/>
                    <a:gd name="connsiteY2483" fmla="*/ 363560 h 674880"/>
                    <a:gd name="connsiteX2484" fmla="*/ 577567 w 871061"/>
                    <a:gd name="connsiteY2484" fmla="*/ 361532 h 674880"/>
                    <a:gd name="connsiteX2485" fmla="*/ 577700 w 871061"/>
                    <a:gd name="connsiteY2485" fmla="*/ 360415 h 674880"/>
                    <a:gd name="connsiteX2486" fmla="*/ 578149 w 871061"/>
                    <a:gd name="connsiteY2486" fmla="*/ 359310 h 674880"/>
                    <a:gd name="connsiteX2487" fmla="*/ 579570 w 871061"/>
                    <a:gd name="connsiteY2487" fmla="*/ 357585 h 674880"/>
                    <a:gd name="connsiteX2488" fmla="*/ 582424 w 871061"/>
                    <a:gd name="connsiteY2488" fmla="*/ 355060 h 674880"/>
                    <a:gd name="connsiteX2489" fmla="*/ 587475 w 871061"/>
                    <a:gd name="connsiteY2489" fmla="*/ 351842 h 674880"/>
                    <a:gd name="connsiteX2490" fmla="*/ 595660 w 871061"/>
                    <a:gd name="connsiteY2490" fmla="*/ 347871 h 674880"/>
                    <a:gd name="connsiteX2491" fmla="*/ 610851 w 871061"/>
                    <a:gd name="connsiteY2491" fmla="*/ 343742 h 674880"/>
                    <a:gd name="connsiteX2492" fmla="*/ 611312 w 871061"/>
                    <a:gd name="connsiteY2492" fmla="*/ 343621 h 674880"/>
                    <a:gd name="connsiteX2493" fmla="*/ 611749 w 871061"/>
                    <a:gd name="connsiteY2493" fmla="*/ 343427 h 674880"/>
                    <a:gd name="connsiteX2494" fmla="*/ 619083 w 871061"/>
                    <a:gd name="connsiteY2494" fmla="*/ 340136 h 674880"/>
                    <a:gd name="connsiteX2495" fmla="*/ 630158 w 871061"/>
                    <a:gd name="connsiteY2495" fmla="*/ 336517 h 674880"/>
                    <a:gd name="connsiteX2496" fmla="*/ 651784 w 871061"/>
                    <a:gd name="connsiteY2496" fmla="*/ 333057 h 674880"/>
                    <a:gd name="connsiteX2497" fmla="*/ 652221 w 871061"/>
                    <a:gd name="connsiteY2497" fmla="*/ 332984 h 674880"/>
                    <a:gd name="connsiteX2498" fmla="*/ 652659 w 871061"/>
                    <a:gd name="connsiteY2498" fmla="*/ 332850 h 674880"/>
                    <a:gd name="connsiteX2499" fmla="*/ 659374 w 871061"/>
                    <a:gd name="connsiteY2499" fmla="*/ 330725 h 674880"/>
                    <a:gd name="connsiteX2500" fmla="*/ 661341 w 871061"/>
                    <a:gd name="connsiteY2500" fmla="*/ 330106 h 674880"/>
                    <a:gd name="connsiteX2501" fmla="*/ 662519 w 871061"/>
                    <a:gd name="connsiteY2501" fmla="*/ 328406 h 674880"/>
                    <a:gd name="connsiteX2502" fmla="*/ 665907 w 871061"/>
                    <a:gd name="connsiteY2502" fmla="*/ 323524 h 674880"/>
                    <a:gd name="connsiteX2503" fmla="*/ 666720 w 871061"/>
                    <a:gd name="connsiteY2503" fmla="*/ 322359 h 674880"/>
                    <a:gd name="connsiteX2504" fmla="*/ 666926 w 871061"/>
                    <a:gd name="connsiteY2504" fmla="*/ 320962 h 674880"/>
                    <a:gd name="connsiteX2505" fmla="*/ 667716 w 871061"/>
                    <a:gd name="connsiteY2505" fmla="*/ 315656 h 674880"/>
                    <a:gd name="connsiteX2506" fmla="*/ 667934 w 871061"/>
                    <a:gd name="connsiteY2506" fmla="*/ 314284 h 674880"/>
                    <a:gd name="connsiteX2507" fmla="*/ 667522 w 871061"/>
                    <a:gd name="connsiteY2507" fmla="*/ 312960 h 674880"/>
                    <a:gd name="connsiteX2508" fmla="*/ 666319 w 871061"/>
                    <a:gd name="connsiteY2508" fmla="*/ 309086 h 674880"/>
                    <a:gd name="connsiteX2509" fmla="*/ 666222 w 871061"/>
                    <a:gd name="connsiteY2509" fmla="*/ 308783 h 674880"/>
                    <a:gd name="connsiteX2510" fmla="*/ 666089 w 871061"/>
                    <a:gd name="connsiteY2510" fmla="*/ 308479 h 674880"/>
                    <a:gd name="connsiteX2511" fmla="*/ 665506 w 871061"/>
                    <a:gd name="connsiteY2511" fmla="*/ 307119 h 674880"/>
                    <a:gd name="connsiteX2512" fmla="*/ 666028 w 871061"/>
                    <a:gd name="connsiteY2512" fmla="*/ 305128 h 674880"/>
                    <a:gd name="connsiteX2513" fmla="*/ 666805 w 871061"/>
                    <a:gd name="connsiteY2513" fmla="*/ 303683 h 674880"/>
                    <a:gd name="connsiteX2514" fmla="*/ 666963 w 871061"/>
                    <a:gd name="connsiteY2514" fmla="*/ 303476 h 674880"/>
                    <a:gd name="connsiteX2515" fmla="*/ 669635 w 871061"/>
                    <a:gd name="connsiteY2515" fmla="*/ 301655 h 674880"/>
                    <a:gd name="connsiteX2516" fmla="*/ 670387 w 871061"/>
                    <a:gd name="connsiteY2516" fmla="*/ 301133 h 674880"/>
                    <a:gd name="connsiteX2517" fmla="*/ 670958 w 871061"/>
                    <a:gd name="connsiteY2517" fmla="*/ 300416 h 674880"/>
                    <a:gd name="connsiteX2518" fmla="*/ 672682 w 871061"/>
                    <a:gd name="connsiteY2518" fmla="*/ 298255 h 674880"/>
                    <a:gd name="connsiteX2519" fmla="*/ 672925 w 871061"/>
                    <a:gd name="connsiteY2519" fmla="*/ 297951 h 674880"/>
                    <a:gd name="connsiteX2520" fmla="*/ 673132 w 871061"/>
                    <a:gd name="connsiteY2520" fmla="*/ 297624 h 674880"/>
                    <a:gd name="connsiteX2521" fmla="*/ 673593 w 871061"/>
                    <a:gd name="connsiteY2521" fmla="*/ 296858 h 674880"/>
                    <a:gd name="connsiteX2522" fmla="*/ 673945 w 871061"/>
                    <a:gd name="connsiteY2522" fmla="*/ 296276 h 674880"/>
                    <a:gd name="connsiteX2523" fmla="*/ 674164 w 871061"/>
                    <a:gd name="connsiteY2523" fmla="*/ 295632 h 674880"/>
                    <a:gd name="connsiteX2524" fmla="*/ 674504 w 871061"/>
                    <a:gd name="connsiteY2524" fmla="*/ 294600 h 674880"/>
                    <a:gd name="connsiteX2525" fmla="*/ 674540 w 871061"/>
                    <a:gd name="connsiteY2525" fmla="*/ 294466 h 674880"/>
                    <a:gd name="connsiteX2526" fmla="*/ 674892 w 871061"/>
                    <a:gd name="connsiteY2526" fmla="*/ 294600 h 674880"/>
                    <a:gd name="connsiteX2527" fmla="*/ 683951 w 871061"/>
                    <a:gd name="connsiteY2527" fmla="*/ 300696 h 674880"/>
                    <a:gd name="connsiteX2528" fmla="*/ 684352 w 871061"/>
                    <a:gd name="connsiteY2528" fmla="*/ 300963 h 674880"/>
                    <a:gd name="connsiteX2529" fmla="*/ 684777 w 871061"/>
                    <a:gd name="connsiteY2529" fmla="*/ 301169 h 674880"/>
                    <a:gd name="connsiteX2530" fmla="*/ 688735 w 871061"/>
                    <a:gd name="connsiteY2530" fmla="*/ 303003 h 674880"/>
                    <a:gd name="connsiteX2531" fmla="*/ 689622 w 871061"/>
                    <a:gd name="connsiteY2531" fmla="*/ 303416 h 674880"/>
                    <a:gd name="connsiteX2532" fmla="*/ 690618 w 871061"/>
                    <a:gd name="connsiteY2532" fmla="*/ 303525 h 674880"/>
                    <a:gd name="connsiteX2533" fmla="*/ 693665 w 871061"/>
                    <a:gd name="connsiteY2533" fmla="*/ 303865 h 674880"/>
                    <a:gd name="connsiteX2534" fmla="*/ 694928 w 871061"/>
                    <a:gd name="connsiteY2534" fmla="*/ 303901 h 674880"/>
                    <a:gd name="connsiteX2535" fmla="*/ 697660 w 871061"/>
                    <a:gd name="connsiteY2535" fmla="*/ 306670 h 674880"/>
                    <a:gd name="connsiteX2536" fmla="*/ 698012 w 871061"/>
                    <a:gd name="connsiteY2536" fmla="*/ 307034 h 674880"/>
                    <a:gd name="connsiteX2537" fmla="*/ 698425 w 871061"/>
                    <a:gd name="connsiteY2537" fmla="*/ 307338 h 674880"/>
                    <a:gd name="connsiteX2538" fmla="*/ 702153 w 871061"/>
                    <a:gd name="connsiteY2538" fmla="*/ 310009 h 674880"/>
                    <a:gd name="connsiteX2539" fmla="*/ 702590 w 871061"/>
                    <a:gd name="connsiteY2539" fmla="*/ 310325 h 674880"/>
                    <a:gd name="connsiteX2540" fmla="*/ 703076 w 871061"/>
                    <a:gd name="connsiteY2540" fmla="*/ 310556 h 674880"/>
                    <a:gd name="connsiteX2541" fmla="*/ 707387 w 871061"/>
                    <a:gd name="connsiteY2541" fmla="*/ 312620 h 674880"/>
                    <a:gd name="connsiteX2542" fmla="*/ 707957 w 871061"/>
                    <a:gd name="connsiteY2542" fmla="*/ 312887 h 674880"/>
                    <a:gd name="connsiteX2543" fmla="*/ 708565 w 871061"/>
                    <a:gd name="connsiteY2543" fmla="*/ 313033 h 674880"/>
                    <a:gd name="connsiteX2544" fmla="*/ 718328 w 871061"/>
                    <a:gd name="connsiteY2544" fmla="*/ 315425 h 674880"/>
                    <a:gd name="connsiteX2545" fmla="*/ 719688 w 871061"/>
                    <a:gd name="connsiteY2545" fmla="*/ 315765 h 674880"/>
                    <a:gd name="connsiteX2546" fmla="*/ 721060 w 871061"/>
                    <a:gd name="connsiteY2546" fmla="*/ 315474 h 674880"/>
                    <a:gd name="connsiteX2547" fmla="*/ 727556 w 871061"/>
                    <a:gd name="connsiteY2547" fmla="*/ 314065 h 674880"/>
                    <a:gd name="connsiteX2548" fmla="*/ 731138 w 871061"/>
                    <a:gd name="connsiteY2548" fmla="*/ 313288 h 674880"/>
                    <a:gd name="connsiteX2549" fmla="*/ 732110 w 871061"/>
                    <a:gd name="connsiteY2549" fmla="*/ 309754 h 674880"/>
                    <a:gd name="connsiteX2550" fmla="*/ 732851 w 871061"/>
                    <a:gd name="connsiteY2550" fmla="*/ 307107 h 674880"/>
                    <a:gd name="connsiteX2551" fmla="*/ 733227 w 871061"/>
                    <a:gd name="connsiteY2551" fmla="*/ 305771 h 674880"/>
                    <a:gd name="connsiteX2552" fmla="*/ 733980 w 871061"/>
                    <a:gd name="connsiteY2552" fmla="*/ 306852 h 674880"/>
                    <a:gd name="connsiteX2553" fmla="*/ 736918 w 871061"/>
                    <a:gd name="connsiteY2553" fmla="*/ 307034 h 674880"/>
                    <a:gd name="connsiteX2554" fmla="*/ 738291 w 871061"/>
                    <a:gd name="connsiteY2554" fmla="*/ 307119 h 674880"/>
                    <a:gd name="connsiteX2555" fmla="*/ 740173 w 871061"/>
                    <a:gd name="connsiteY2555" fmla="*/ 307229 h 674880"/>
                    <a:gd name="connsiteX2556" fmla="*/ 741788 w 871061"/>
                    <a:gd name="connsiteY2556" fmla="*/ 306257 h 674880"/>
                    <a:gd name="connsiteX2557" fmla="*/ 743403 w 871061"/>
                    <a:gd name="connsiteY2557" fmla="*/ 305286 h 674880"/>
                    <a:gd name="connsiteX2558" fmla="*/ 745236 w 871061"/>
                    <a:gd name="connsiteY2558" fmla="*/ 304181 h 674880"/>
                    <a:gd name="connsiteX2559" fmla="*/ 745977 w 871061"/>
                    <a:gd name="connsiteY2559" fmla="*/ 302165 h 674880"/>
                    <a:gd name="connsiteX2560" fmla="*/ 747009 w 871061"/>
                    <a:gd name="connsiteY2560" fmla="*/ 299348 h 674880"/>
                    <a:gd name="connsiteX2561" fmla="*/ 747240 w 871061"/>
                    <a:gd name="connsiteY2561" fmla="*/ 298716 h 674880"/>
                    <a:gd name="connsiteX2562" fmla="*/ 747337 w 871061"/>
                    <a:gd name="connsiteY2562" fmla="*/ 298049 h 674880"/>
                    <a:gd name="connsiteX2563" fmla="*/ 747617 w 871061"/>
                    <a:gd name="connsiteY2563" fmla="*/ 295863 h 674880"/>
                    <a:gd name="connsiteX2564" fmla="*/ 747677 w 871061"/>
                    <a:gd name="connsiteY2564" fmla="*/ 295401 h 674880"/>
                    <a:gd name="connsiteX2565" fmla="*/ 747665 w 871061"/>
                    <a:gd name="connsiteY2565" fmla="*/ 294928 h 674880"/>
                    <a:gd name="connsiteX2566" fmla="*/ 747641 w 871061"/>
                    <a:gd name="connsiteY2566" fmla="*/ 294066 h 674880"/>
                    <a:gd name="connsiteX2567" fmla="*/ 748709 w 871061"/>
                    <a:gd name="connsiteY2567" fmla="*/ 293301 h 674880"/>
                    <a:gd name="connsiteX2568" fmla="*/ 750312 w 871061"/>
                    <a:gd name="connsiteY2568" fmla="*/ 292147 h 674880"/>
                    <a:gd name="connsiteX2569" fmla="*/ 751417 w 871061"/>
                    <a:gd name="connsiteY2569" fmla="*/ 291358 h 674880"/>
                    <a:gd name="connsiteX2570" fmla="*/ 752073 w 871061"/>
                    <a:gd name="connsiteY2570" fmla="*/ 290168 h 674880"/>
                    <a:gd name="connsiteX2571" fmla="*/ 753409 w 871061"/>
                    <a:gd name="connsiteY2571" fmla="*/ 287739 h 674880"/>
                    <a:gd name="connsiteX2572" fmla="*/ 753894 w 871061"/>
                    <a:gd name="connsiteY2572" fmla="*/ 286865 h 674880"/>
                    <a:gd name="connsiteX2573" fmla="*/ 754076 w 871061"/>
                    <a:gd name="connsiteY2573" fmla="*/ 285881 h 674880"/>
                    <a:gd name="connsiteX2574" fmla="*/ 754538 w 871061"/>
                    <a:gd name="connsiteY2574" fmla="*/ 283319 h 674880"/>
                    <a:gd name="connsiteX2575" fmla="*/ 754720 w 871061"/>
                    <a:gd name="connsiteY2575" fmla="*/ 282336 h 674880"/>
                    <a:gd name="connsiteX2576" fmla="*/ 754574 w 871061"/>
                    <a:gd name="connsiteY2576" fmla="*/ 281352 h 674880"/>
                    <a:gd name="connsiteX2577" fmla="*/ 754162 w 871061"/>
                    <a:gd name="connsiteY2577" fmla="*/ 278535 h 674880"/>
                    <a:gd name="connsiteX2578" fmla="*/ 753979 w 871061"/>
                    <a:gd name="connsiteY2578" fmla="*/ 277357 h 674880"/>
                    <a:gd name="connsiteX2579" fmla="*/ 753372 w 871061"/>
                    <a:gd name="connsiteY2579" fmla="*/ 276337 h 674880"/>
                    <a:gd name="connsiteX2580" fmla="*/ 752061 w 871061"/>
                    <a:gd name="connsiteY2580" fmla="*/ 274103 h 674880"/>
                    <a:gd name="connsiteX2581" fmla="*/ 751490 w 871061"/>
                    <a:gd name="connsiteY2581" fmla="*/ 273131 h 674880"/>
                    <a:gd name="connsiteX2582" fmla="*/ 750604 w 871061"/>
                    <a:gd name="connsiteY2582" fmla="*/ 272427 h 674880"/>
                    <a:gd name="connsiteX2583" fmla="*/ 748308 w 871061"/>
                    <a:gd name="connsiteY2583" fmla="*/ 270593 h 674880"/>
                    <a:gd name="connsiteX2584" fmla="*/ 748308 w 871061"/>
                    <a:gd name="connsiteY2584" fmla="*/ 270375 h 674880"/>
                    <a:gd name="connsiteX2585" fmla="*/ 748308 w 871061"/>
                    <a:gd name="connsiteY2585" fmla="*/ 268359 h 674880"/>
                    <a:gd name="connsiteX2586" fmla="*/ 747106 w 871061"/>
                    <a:gd name="connsiteY2586" fmla="*/ 266744 h 674880"/>
                    <a:gd name="connsiteX2587" fmla="*/ 746900 w 871061"/>
                    <a:gd name="connsiteY2587" fmla="*/ 266477 h 674880"/>
                    <a:gd name="connsiteX2588" fmla="*/ 749924 w 871061"/>
                    <a:gd name="connsiteY2588" fmla="*/ 265785 h 674880"/>
                    <a:gd name="connsiteX2589" fmla="*/ 750093 w 871061"/>
                    <a:gd name="connsiteY2589" fmla="*/ 267545 h 674880"/>
                    <a:gd name="connsiteX2590" fmla="*/ 750130 w 871061"/>
                    <a:gd name="connsiteY2590" fmla="*/ 267934 h 674880"/>
                    <a:gd name="connsiteX2591" fmla="*/ 750227 w 871061"/>
                    <a:gd name="connsiteY2591" fmla="*/ 268323 h 674880"/>
                    <a:gd name="connsiteX2592" fmla="*/ 750676 w 871061"/>
                    <a:gd name="connsiteY2592" fmla="*/ 270302 h 674880"/>
                    <a:gd name="connsiteX2593" fmla="*/ 750968 w 871061"/>
                    <a:gd name="connsiteY2593" fmla="*/ 271613 h 674880"/>
                    <a:gd name="connsiteX2594" fmla="*/ 751781 w 871061"/>
                    <a:gd name="connsiteY2594" fmla="*/ 272670 h 674880"/>
                    <a:gd name="connsiteX2595" fmla="*/ 752522 w 871061"/>
                    <a:gd name="connsiteY2595" fmla="*/ 273617 h 674880"/>
                    <a:gd name="connsiteX2596" fmla="*/ 754016 w 871061"/>
                    <a:gd name="connsiteY2596" fmla="*/ 275548 h 674880"/>
                    <a:gd name="connsiteX2597" fmla="*/ 756432 w 871061"/>
                    <a:gd name="connsiteY2597" fmla="*/ 275900 h 674880"/>
                    <a:gd name="connsiteX2598" fmla="*/ 757598 w 871061"/>
                    <a:gd name="connsiteY2598" fmla="*/ 276070 h 674880"/>
                    <a:gd name="connsiteX2599" fmla="*/ 759177 w 871061"/>
                    <a:gd name="connsiteY2599" fmla="*/ 276301 h 674880"/>
                    <a:gd name="connsiteX2600" fmla="*/ 760670 w 871061"/>
                    <a:gd name="connsiteY2600" fmla="*/ 275730 h 674880"/>
                    <a:gd name="connsiteX2601" fmla="*/ 770773 w 871061"/>
                    <a:gd name="connsiteY2601" fmla="*/ 271844 h 674880"/>
                    <a:gd name="connsiteX2602" fmla="*/ 772692 w 871061"/>
                    <a:gd name="connsiteY2602" fmla="*/ 271796 h 674880"/>
                    <a:gd name="connsiteX2603" fmla="*/ 777245 w 871061"/>
                    <a:gd name="connsiteY2603" fmla="*/ 273010 h 674880"/>
                    <a:gd name="connsiteX2604" fmla="*/ 778872 w 871061"/>
                    <a:gd name="connsiteY2604" fmla="*/ 273435 h 674880"/>
                    <a:gd name="connsiteX2605" fmla="*/ 780499 w 871061"/>
                    <a:gd name="connsiteY2605" fmla="*/ 272973 h 674880"/>
                    <a:gd name="connsiteX2606" fmla="*/ 782685 w 871061"/>
                    <a:gd name="connsiteY2606" fmla="*/ 272342 h 674880"/>
                    <a:gd name="connsiteX2607" fmla="*/ 784324 w 871061"/>
                    <a:gd name="connsiteY2607" fmla="*/ 271868 h 674880"/>
                    <a:gd name="connsiteX2608" fmla="*/ 785490 w 871061"/>
                    <a:gd name="connsiteY2608" fmla="*/ 270605 h 674880"/>
                    <a:gd name="connsiteX2609" fmla="*/ 787579 w 871061"/>
                    <a:gd name="connsiteY2609" fmla="*/ 268323 h 674880"/>
                    <a:gd name="connsiteX2610" fmla="*/ 788817 w 871061"/>
                    <a:gd name="connsiteY2610" fmla="*/ 267497 h 674880"/>
                    <a:gd name="connsiteX2611" fmla="*/ 789315 w 871061"/>
                    <a:gd name="connsiteY2611" fmla="*/ 267169 h 674880"/>
                    <a:gd name="connsiteX2612" fmla="*/ 789728 w 871061"/>
                    <a:gd name="connsiteY2612" fmla="*/ 266744 h 674880"/>
                    <a:gd name="connsiteX2613" fmla="*/ 791040 w 871061"/>
                    <a:gd name="connsiteY2613" fmla="*/ 265433 h 674880"/>
                    <a:gd name="connsiteX2614" fmla="*/ 792242 w 871061"/>
                    <a:gd name="connsiteY2614" fmla="*/ 264243 h 674880"/>
                    <a:gd name="connsiteX2615" fmla="*/ 792642 w 871061"/>
                    <a:gd name="connsiteY2615" fmla="*/ 262615 h 674880"/>
                    <a:gd name="connsiteX2616" fmla="*/ 793092 w 871061"/>
                    <a:gd name="connsiteY2616" fmla="*/ 260806 h 674880"/>
                    <a:gd name="connsiteX2617" fmla="*/ 793310 w 871061"/>
                    <a:gd name="connsiteY2617" fmla="*/ 259956 h 674880"/>
                    <a:gd name="connsiteX2618" fmla="*/ 793274 w 871061"/>
                    <a:gd name="connsiteY2618" fmla="*/ 259082 h 674880"/>
                    <a:gd name="connsiteX2619" fmla="*/ 793067 w 871061"/>
                    <a:gd name="connsiteY2619" fmla="*/ 254553 h 674880"/>
                    <a:gd name="connsiteX2620" fmla="*/ 793456 w 871061"/>
                    <a:gd name="connsiteY2620" fmla="*/ 251869 h 674880"/>
                    <a:gd name="connsiteX2621" fmla="*/ 793517 w 871061"/>
                    <a:gd name="connsiteY2621" fmla="*/ 251480 h 674880"/>
                    <a:gd name="connsiteX2622" fmla="*/ 794355 w 871061"/>
                    <a:gd name="connsiteY2622" fmla="*/ 252282 h 674880"/>
                    <a:gd name="connsiteX2623" fmla="*/ 795727 w 871061"/>
                    <a:gd name="connsiteY2623" fmla="*/ 253569 h 674880"/>
                    <a:gd name="connsiteX2624" fmla="*/ 797585 w 871061"/>
                    <a:gd name="connsiteY2624" fmla="*/ 253860 h 674880"/>
                    <a:gd name="connsiteX2625" fmla="*/ 799770 w 871061"/>
                    <a:gd name="connsiteY2625" fmla="*/ 254200 h 674880"/>
                    <a:gd name="connsiteX2626" fmla="*/ 802053 w 871061"/>
                    <a:gd name="connsiteY2626" fmla="*/ 254553 h 674880"/>
                    <a:gd name="connsiteX2627" fmla="*/ 803996 w 871061"/>
                    <a:gd name="connsiteY2627" fmla="*/ 253290 h 674880"/>
                    <a:gd name="connsiteX2628" fmla="*/ 805660 w 871061"/>
                    <a:gd name="connsiteY2628" fmla="*/ 252209 h 674880"/>
                    <a:gd name="connsiteX2629" fmla="*/ 807068 w 871061"/>
                    <a:gd name="connsiteY2629" fmla="*/ 251286 h 674880"/>
                    <a:gd name="connsiteX2630" fmla="*/ 807809 w 871061"/>
                    <a:gd name="connsiteY2630" fmla="*/ 249768 h 674880"/>
                    <a:gd name="connsiteX2631" fmla="*/ 809655 w 871061"/>
                    <a:gd name="connsiteY2631" fmla="*/ 245967 h 674880"/>
                    <a:gd name="connsiteX2632" fmla="*/ 809801 w 871061"/>
                    <a:gd name="connsiteY2632" fmla="*/ 245688 h 674880"/>
                    <a:gd name="connsiteX2633" fmla="*/ 809910 w 871061"/>
                    <a:gd name="connsiteY2633" fmla="*/ 245397 h 674880"/>
                    <a:gd name="connsiteX2634" fmla="*/ 810820 w 871061"/>
                    <a:gd name="connsiteY2634" fmla="*/ 242907 h 674880"/>
                    <a:gd name="connsiteX2635" fmla="*/ 811075 w 871061"/>
                    <a:gd name="connsiteY2635" fmla="*/ 242203 h 674880"/>
                    <a:gd name="connsiteX2636" fmla="*/ 811161 w 871061"/>
                    <a:gd name="connsiteY2636" fmla="*/ 241462 h 674880"/>
                    <a:gd name="connsiteX2637" fmla="*/ 811245 w 871061"/>
                    <a:gd name="connsiteY2637" fmla="*/ 240734 h 674880"/>
                    <a:gd name="connsiteX2638" fmla="*/ 813553 w 871061"/>
                    <a:gd name="connsiteY2638" fmla="*/ 241050 h 674880"/>
                    <a:gd name="connsiteX2639" fmla="*/ 814245 w 871061"/>
                    <a:gd name="connsiteY2639" fmla="*/ 241134 h 674880"/>
                    <a:gd name="connsiteX2640" fmla="*/ 814925 w 871061"/>
                    <a:gd name="connsiteY2640" fmla="*/ 241074 h 674880"/>
                    <a:gd name="connsiteX2641" fmla="*/ 817730 w 871061"/>
                    <a:gd name="connsiteY2641" fmla="*/ 240819 h 674880"/>
                    <a:gd name="connsiteX2642" fmla="*/ 819284 w 871061"/>
                    <a:gd name="connsiteY2642" fmla="*/ 240673 h 674880"/>
                    <a:gd name="connsiteX2643" fmla="*/ 820571 w 871061"/>
                    <a:gd name="connsiteY2643" fmla="*/ 239799 h 674880"/>
                    <a:gd name="connsiteX2644" fmla="*/ 822514 w 871061"/>
                    <a:gd name="connsiteY2644" fmla="*/ 238487 h 674880"/>
                    <a:gd name="connsiteX2645" fmla="*/ 824797 w 871061"/>
                    <a:gd name="connsiteY2645" fmla="*/ 236945 h 674880"/>
                    <a:gd name="connsiteX2646" fmla="*/ 825137 w 871061"/>
                    <a:gd name="connsiteY2646" fmla="*/ 234201 h 674880"/>
                    <a:gd name="connsiteX2647" fmla="*/ 825489 w 871061"/>
                    <a:gd name="connsiteY2647" fmla="*/ 231347 h 674880"/>
                    <a:gd name="connsiteX2648" fmla="*/ 825732 w 871061"/>
                    <a:gd name="connsiteY2648" fmla="*/ 229429 h 674880"/>
                    <a:gd name="connsiteX2649" fmla="*/ 824833 w 871061"/>
                    <a:gd name="connsiteY2649" fmla="*/ 227729 h 674880"/>
                    <a:gd name="connsiteX2650" fmla="*/ 822866 w 871061"/>
                    <a:gd name="connsiteY2650" fmla="*/ 224049 h 674880"/>
                    <a:gd name="connsiteX2651" fmla="*/ 822162 w 871061"/>
                    <a:gd name="connsiteY2651" fmla="*/ 222762 h 674880"/>
                    <a:gd name="connsiteX2652" fmla="*/ 820960 w 871061"/>
                    <a:gd name="connsiteY2652" fmla="*/ 221924 h 674880"/>
                    <a:gd name="connsiteX2653" fmla="*/ 819733 w 871061"/>
                    <a:gd name="connsiteY2653" fmla="*/ 221074 h 674880"/>
                    <a:gd name="connsiteX2654" fmla="*/ 821482 w 871061"/>
                    <a:gd name="connsiteY2654" fmla="*/ 220625 h 674880"/>
                    <a:gd name="connsiteX2655" fmla="*/ 822514 w 871061"/>
                    <a:gd name="connsiteY2655" fmla="*/ 220370 h 674880"/>
                    <a:gd name="connsiteX2656" fmla="*/ 823388 w 871061"/>
                    <a:gd name="connsiteY2656" fmla="*/ 219775 h 674880"/>
                    <a:gd name="connsiteX2657" fmla="*/ 828209 w 871061"/>
                    <a:gd name="connsiteY2657" fmla="*/ 216497 h 674880"/>
                    <a:gd name="connsiteX2658" fmla="*/ 833929 w 871061"/>
                    <a:gd name="connsiteY2658" fmla="*/ 212040 h 674880"/>
                    <a:gd name="connsiteX2659" fmla="*/ 834584 w 871061"/>
                    <a:gd name="connsiteY2659" fmla="*/ 211530 h 674880"/>
                    <a:gd name="connsiteX2660" fmla="*/ 835070 w 871061"/>
                    <a:gd name="connsiteY2660" fmla="*/ 210862 h 674880"/>
                    <a:gd name="connsiteX2661" fmla="*/ 837547 w 871061"/>
                    <a:gd name="connsiteY2661" fmla="*/ 207499 h 674880"/>
                    <a:gd name="connsiteX2662" fmla="*/ 837899 w 871061"/>
                    <a:gd name="connsiteY2662" fmla="*/ 207013 h 674880"/>
                    <a:gd name="connsiteX2663" fmla="*/ 838154 w 871061"/>
                    <a:gd name="connsiteY2663" fmla="*/ 206466 h 674880"/>
                    <a:gd name="connsiteX2664" fmla="*/ 846023 w 871061"/>
                    <a:gd name="connsiteY2664" fmla="*/ 189649 h 674880"/>
                    <a:gd name="connsiteX2665" fmla="*/ 846278 w 871061"/>
                    <a:gd name="connsiteY2665" fmla="*/ 189114 h 674880"/>
                    <a:gd name="connsiteX2666" fmla="*/ 846424 w 871061"/>
                    <a:gd name="connsiteY2666" fmla="*/ 188531 h 674880"/>
                    <a:gd name="connsiteX2667" fmla="*/ 847213 w 871061"/>
                    <a:gd name="connsiteY2667" fmla="*/ 185313 h 674880"/>
                    <a:gd name="connsiteX2668" fmla="*/ 847480 w 871061"/>
                    <a:gd name="connsiteY2668" fmla="*/ 184196 h 674880"/>
                    <a:gd name="connsiteX2669" fmla="*/ 847322 w 871061"/>
                    <a:gd name="connsiteY2669" fmla="*/ 183043 h 674880"/>
                    <a:gd name="connsiteX2670" fmla="*/ 847043 w 871061"/>
                    <a:gd name="connsiteY2670" fmla="*/ 180942 h 674880"/>
                    <a:gd name="connsiteX2671" fmla="*/ 846982 w 871061"/>
                    <a:gd name="connsiteY2671" fmla="*/ 180468 h 674880"/>
                    <a:gd name="connsiteX2672" fmla="*/ 846836 w 871061"/>
                    <a:gd name="connsiteY2672" fmla="*/ 180007 h 674880"/>
                    <a:gd name="connsiteX2673" fmla="*/ 846800 w 871061"/>
                    <a:gd name="connsiteY2673" fmla="*/ 179873 h 674880"/>
                    <a:gd name="connsiteX2674" fmla="*/ 847298 w 871061"/>
                    <a:gd name="connsiteY2674" fmla="*/ 179400 h 674880"/>
                    <a:gd name="connsiteX2675" fmla="*/ 847699 w 871061"/>
                    <a:gd name="connsiteY2675" fmla="*/ 179011 h 674880"/>
                    <a:gd name="connsiteX2676" fmla="*/ 848014 w 871061"/>
                    <a:gd name="connsiteY2676" fmla="*/ 178562 h 674880"/>
                    <a:gd name="connsiteX2677" fmla="*/ 848864 w 871061"/>
                    <a:gd name="connsiteY2677" fmla="*/ 177384 h 674880"/>
                    <a:gd name="connsiteX2678" fmla="*/ 849168 w 871061"/>
                    <a:gd name="connsiteY2678" fmla="*/ 176959 h 674880"/>
                    <a:gd name="connsiteX2679" fmla="*/ 849399 w 871061"/>
                    <a:gd name="connsiteY2679" fmla="*/ 176486 h 674880"/>
                    <a:gd name="connsiteX2680" fmla="*/ 850249 w 871061"/>
                    <a:gd name="connsiteY2680" fmla="*/ 174737 h 674880"/>
                    <a:gd name="connsiteX2681" fmla="*/ 850491 w 871061"/>
                    <a:gd name="connsiteY2681" fmla="*/ 174263 h 674880"/>
                    <a:gd name="connsiteX2682" fmla="*/ 850637 w 871061"/>
                    <a:gd name="connsiteY2682" fmla="*/ 173753 h 674880"/>
                    <a:gd name="connsiteX2683" fmla="*/ 850989 w 871061"/>
                    <a:gd name="connsiteY2683" fmla="*/ 172515 h 674880"/>
                    <a:gd name="connsiteX2684" fmla="*/ 851257 w 871061"/>
                    <a:gd name="connsiteY2684" fmla="*/ 171568 h 674880"/>
                    <a:gd name="connsiteX2685" fmla="*/ 851220 w 871061"/>
                    <a:gd name="connsiteY2685" fmla="*/ 170584 h 674880"/>
                    <a:gd name="connsiteX2686" fmla="*/ 851159 w 871061"/>
                    <a:gd name="connsiteY2686" fmla="*/ 169090 h 674880"/>
                    <a:gd name="connsiteX2687" fmla="*/ 851111 w 871061"/>
                    <a:gd name="connsiteY2687" fmla="*/ 168107 h 674880"/>
                    <a:gd name="connsiteX2688" fmla="*/ 850771 w 871061"/>
                    <a:gd name="connsiteY2688" fmla="*/ 167184 h 674880"/>
                    <a:gd name="connsiteX2689" fmla="*/ 850261 w 871061"/>
                    <a:gd name="connsiteY2689" fmla="*/ 165836 h 674880"/>
                    <a:gd name="connsiteX2690" fmla="*/ 849969 w 871061"/>
                    <a:gd name="connsiteY2690" fmla="*/ 165047 h 674880"/>
                    <a:gd name="connsiteX2691" fmla="*/ 849472 w 871061"/>
                    <a:gd name="connsiteY2691" fmla="*/ 164379 h 674880"/>
                    <a:gd name="connsiteX2692" fmla="*/ 848876 w 871061"/>
                    <a:gd name="connsiteY2692" fmla="*/ 163578 h 674880"/>
                    <a:gd name="connsiteX2693" fmla="*/ 849192 w 871061"/>
                    <a:gd name="connsiteY2693" fmla="*/ 160930 h 674880"/>
                    <a:gd name="connsiteX2694" fmla="*/ 850394 w 871061"/>
                    <a:gd name="connsiteY2694" fmla="*/ 161173 h 674880"/>
                    <a:gd name="connsiteX2695" fmla="*/ 851050 w 871061"/>
                    <a:gd name="connsiteY2695" fmla="*/ 161307 h 674880"/>
                    <a:gd name="connsiteX2696" fmla="*/ 851718 w 871061"/>
                    <a:gd name="connsiteY2696" fmla="*/ 161295 h 674880"/>
                    <a:gd name="connsiteX2697" fmla="*/ 854426 w 871061"/>
                    <a:gd name="connsiteY2697" fmla="*/ 161234 h 674880"/>
                    <a:gd name="connsiteX2698" fmla="*/ 855069 w 871061"/>
                    <a:gd name="connsiteY2698" fmla="*/ 161222 h 674880"/>
                    <a:gd name="connsiteX2699" fmla="*/ 855689 w 871061"/>
                    <a:gd name="connsiteY2699" fmla="*/ 161076 h 674880"/>
                    <a:gd name="connsiteX2700" fmla="*/ 858493 w 871061"/>
                    <a:gd name="connsiteY2700" fmla="*/ 160421 h 674880"/>
                    <a:gd name="connsiteX2701" fmla="*/ 859149 w 871061"/>
                    <a:gd name="connsiteY2701" fmla="*/ 160263 h 674880"/>
                    <a:gd name="connsiteX2702" fmla="*/ 859756 w 871061"/>
                    <a:gd name="connsiteY2702" fmla="*/ 159971 h 674880"/>
                    <a:gd name="connsiteX2703" fmla="*/ 862221 w 871061"/>
                    <a:gd name="connsiteY2703" fmla="*/ 158781 h 674880"/>
                    <a:gd name="connsiteX2704" fmla="*/ 862926 w 871061"/>
                    <a:gd name="connsiteY2704" fmla="*/ 158441 h 674880"/>
                    <a:gd name="connsiteX2705" fmla="*/ 863533 w 871061"/>
                    <a:gd name="connsiteY2705" fmla="*/ 157931 h 674880"/>
                    <a:gd name="connsiteX2706" fmla="*/ 865537 w 871061"/>
                    <a:gd name="connsiteY2706" fmla="*/ 156219 h 674880"/>
                    <a:gd name="connsiteX2707" fmla="*/ 865828 w 871061"/>
                    <a:gd name="connsiteY2707" fmla="*/ 155964 h 674880"/>
                    <a:gd name="connsiteX2708" fmla="*/ 866083 w 871061"/>
                    <a:gd name="connsiteY2708" fmla="*/ 155673 h 674880"/>
                    <a:gd name="connsiteX2709" fmla="*/ 867346 w 871061"/>
                    <a:gd name="connsiteY2709" fmla="*/ 154264 h 674880"/>
                    <a:gd name="connsiteX2710" fmla="*/ 868268 w 871061"/>
                    <a:gd name="connsiteY2710" fmla="*/ 153244 h 674880"/>
                    <a:gd name="connsiteX2711" fmla="*/ 868657 w 871061"/>
                    <a:gd name="connsiteY2711" fmla="*/ 151933 h 674880"/>
                    <a:gd name="connsiteX2712" fmla="*/ 869641 w 871061"/>
                    <a:gd name="connsiteY2712" fmla="*/ 148630 h 674880"/>
                    <a:gd name="connsiteX2713" fmla="*/ 871061 w 871061"/>
                    <a:gd name="connsiteY2713" fmla="*/ 143833 h 674880"/>
                    <a:gd name="connsiteX2714" fmla="*/ 867953 w 871061"/>
                    <a:gd name="connsiteY2714" fmla="*/ 142206 h 674880"/>
                    <a:gd name="connsiteX2715" fmla="*/ 869021 w 871061"/>
                    <a:gd name="connsiteY2715" fmla="*/ 140785 h 674880"/>
                    <a:gd name="connsiteX2716" fmla="*/ 869021 w 871061"/>
                    <a:gd name="connsiteY2716" fmla="*/ 138770 h 674880"/>
                    <a:gd name="connsiteX2717" fmla="*/ 869021 w 871061"/>
                    <a:gd name="connsiteY2717" fmla="*/ 137082 h 674880"/>
                    <a:gd name="connsiteX2718" fmla="*/ 869021 w 871061"/>
                    <a:gd name="connsiteY2718" fmla="*/ 135491 h 674880"/>
                    <a:gd name="connsiteX2719" fmla="*/ 868244 w 871061"/>
                    <a:gd name="connsiteY2719" fmla="*/ 134107 h 674880"/>
                    <a:gd name="connsiteX2720" fmla="*/ 867054 w 871061"/>
                    <a:gd name="connsiteY2720" fmla="*/ 131970 h 674880"/>
                    <a:gd name="connsiteX2721" fmla="*/ 866727 w 871061"/>
                    <a:gd name="connsiteY2721" fmla="*/ 131387 h 674880"/>
                    <a:gd name="connsiteX2722" fmla="*/ 866277 w 871061"/>
                    <a:gd name="connsiteY2722" fmla="*/ 130889 h 674880"/>
                    <a:gd name="connsiteX2723" fmla="*/ 865731 w 871061"/>
                    <a:gd name="connsiteY2723" fmla="*/ 130282 h 674880"/>
                    <a:gd name="connsiteX2724" fmla="*/ 865609 w 871061"/>
                    <a:gd name="connsiteY2724" fmla="*/ 129553 h 674880"/>
                    <a:gd name="connsiteX2725" fmla="*/ 865500 w 871061"/>
                    <a:gd name="connsiteY2725" fmla="*/ 127501 h 674880"/>
                    <a:gd name="connsiteX2726" fmla="*/ 865476 w 871061"/>
                    <a:gd name="connsiteY2726" fmla="*/ 127161 h 674880"/>
                    <a:gd name="connsiteX2727" fmla="*/ 865415 w 871061"/>
                    <a:gd name="connsiteY2727" fmla="*/ 126821 h 674880"/>
                    <a:gd name="connsiteX2728" fmla="*/ 865063 w 871061"/>
                    <a:gd name="connsiteY2728" fmla="*/ 124866 h 674880"/>
                    <a:gd name="connsiteX2729" fmla="*/ 864868 w 871061"/>
                    <a:gd name="connsiteY2729" fmla="*/ 123822 h 674880"/>
                    <a:gd name="connsiteX2730" fmla="*/ 864334 w 871061"/>
                    <a:gd name="connsiteY2730" fmla="*/ 122899 h 674880"/>
                    <a:gd name="connsiteX2731" fmla="*/ 863084 w 871061"/>
                    <a:gd name="connsiteY2731" fmla="*/ 120749 h 674880"/>
                    <a:gd name="connsiteX2732" fmla="*/ 861991 w 871061"/>
                    <a:gd name="connsiteY2732" fmla="*/ 118394 h 674880"/>
                    <a:gd name="connsiteX2733" fmla="*/ 861784 w 871061"/>
                    <a:gd name="connsiteY2733" fmla="*/ 117969 h 674880"/>
                    <a:gd name="connsiteX2734" fmla="*/ 861529 w 871061"/>
                    <a:gd name="connsiteY2734" fmla="*/ 117580 h 674880"/>
                    <a:gd name="connsiteX2735" fmla="*/ 860946 w 871061"/>
                    <a:gd name="connsiteY2735" fmla="*/ 116718 h 674880"/>
                    <a:gd name="connsiteX2736" fmla="*/ 860631 w 871061"/>
                    <a:gd name="connsiteY2736" fmla="*/ 116232 h 674880"/>
                    <a:gd name="connsiteX2737" fmla="*/ 860946 w 871061"/>
                    <a:gd name="connsiteY2737" fmla="*/ 115334 h 674880"/>
                    <a:gd name="connsiteX2738" fmla="*/ 861408 w 871061"/>
                    <a:gd name="connsiteY2738" fmla="*/ 114059 h 674880"/>
                    <a:gd name="connsiteX2739" fmla="*/ 861529 w 871061"/>
                    <a:gd name="connsiteY2739" fmla="*/ 113743 h 674880"/>
                    <a:gd name="connsiteX2740" fmla="*/ 861614 w 871061"/>
                    <a:gd name="connsiteY2740" fmla="*/ 113415 h 674880"/>
                    <a:gd name="connsiteX2741" fmla="*/ 861833 w 871061"/>
                    <a:gd name="connsiteY2741" fmla="*/ 112529 h 674880"/>
                    <a:gd name="connsiteX2742" fmla="*/ 861954 w 871061"/>
                    <a:gd name="connsiteY2742" fmla="*/ 112055 h 674880"/>
                    <a:gd name="connsiteX2743" fmla="*/ 861991 w 871061"/>
                    <a:gd name="connsiteY2743" fmla="*/ 111557 h 674880"/>
                    <a:gd name="connsiteX2744" fmla="*/ 862683 w 871061"/>
                    <a:gd name="connsiteY2744" fmla="*/ 102292 h 674880"/>
                    <a:gd name="connsiteX2745" fmla="*/ 862914 w 871061"/>
                    <a:gd name="connsiteY2745" fmla="*/ 101722 h 674880"/>
                    <a:gd name="connsiteX2746" fmla="*/ 864820 w 871061"/>
                    <a:gd name="connsiteY2746" fmla="*/ 99099 h 674880"/>
                    <a:gd name="connsiteX2747" fmla="*/ 865609 w 871061"/>
                    <a:gd name="connsiteY2747" fmla="*/ 98018 h 674880"/>
                    <a:gd name="connsiteX2748" fmla="*/ 865864 w 871061"/>
                    <a:gd name="connsiteY2748" fmla="*/ 96694 h 674880"/>
                    <a:gd name="connsiteX2749" fmla="*/ 866386 w 871061"/>
                    <a:gd name="connsiteY2749" fmla="*/ 94023 h 674880"/>
                    <a:gd name="connsiteX2750" fmla="*/ 866520 w 871061"/>
                    <a:gd name="connsiteY2750" fmla="*/ 93343 h 674880"/>
                    <a:gd name="connsiteX2751" fmla="*/ 866496 w 871061"/>
                    <a:gd name="connsiteY2751" fmla="*/ 92651 h 674880"/>
                    <a:gd name="connsiteX2752" fmla="*/ 866326 w 871061"/>
                    <a:gd name="connsiteY2752" fmla="*/ 87976 h 674880"/>
                    <a:gd name="connsiteX2753" fmla="*/ 866314 w 871061"/>
                    <a:gd name="connsiteY2753" fmla="*/ 87672 h 674880"/>
                    <a:gd name="connsiteX2754" fmla="*/ 866265 w 871061"/>
                    <a:gd name="connsiteY2754" fmla="*/ 87369 h 674880"/>
                    <a:gd name="connsiteX2755" fmla="*/ 865621 w 871061"/>
                    <a:gd name="connsiteY2755" fmla="*/ 82718 h 674880"/>
                    <a:gd name="connsiteX2756" fmla="*/ 865573 w 871061"/>
                    <a:gd name="connsiteY2756" fmla="*/ 82390 h 674880"/>
                    <a:gd name="connsiteX2757" fmla="*/ 865500 w 871061"/>
                    <a:gd name="connsiteY2757" fmla="*/ 82074 h 674880"/>
                    <a:gd name="connsiteX2758" fmla="*/ 862003 w 871061"/>
                    <a:gd name="connsiteY2758" fmla="*/ 68086 h 674880"/>
                    <a:gd name="connsiteX2759" fmla="*/ 861893 w 871061"/>
                    <a:gd name="connsiteY2759" fmla="*/ 67661 h 674880"/>
                    <a:gd name="connsiteX2760" fmla="*/ 861724 w 871061"/>
                    <a:gd name="connsiteY2760" fmla="*/ 67248 h 674880"/>
                    <a:gd name="connsiteX2761" fmla="*/ 859951 w 871061"/>
                    <a:gd name="connsiteY2761" fmla="*/ 62925 h 674880"/>
                    <a:gd name="connsiteX2762" fmla="*/ 858882 w 871061"/>
                    <a:gd name="connsiteY2762" fmla="*/ 60557 h 674880"/>
                    <a:gd name="connsiteX2763" fmla="*/ 858190 w 871061"/>
                    <a:gd name="connsiteY2763" fmla="*/ 59003 h 674880"/>
                    <a:gd name="connsiteX2764" fmla="*/ 856781 w 871061"/>
                    <a:gd name="connsiteY2764" fmla="*/ 58031 h 674880"/>
                    <a:gd name="connsiteX2765" fmla="*/ 855664 w 871061"/>
                    <a:gd name="connsiteY2765" fmla="*/ 57266 h 674880"/>
                    <a:gd name="connsiteX2766" fmla="*/ 848901 w 871061"/>
                    <a:gd name="connsiteY2766" fmla="*/ 50357 h 674880"/>
                    <a:gd name="connsiteX2767" fmla="*/ 848330 w 871061"/>
                    <a:gd name="connsiteY2767" fmla="*/ 49786 h 674880"/>
                    <a:gd name="connsiteX2768" fmla="*/ 847638 w 871061"/>
                    <a:gd name="connsiteY2768" fmla="*/ 49373 h 674880"/>
                    <a:gd name="connsiteX2769" fmla="*/ 846715 w 871061"/>
                    <a:gd name="connsiteY2769" fmla="*/ 48827 h 674880"/>
                    <a:gd name="connsiteX2770" fmla="*/ 846654 w 871061"/>
                    <a:gd name="connsiteY2770" fmla="*/ 48790 h 674880"/>
                    <a:gd name="connsiteX2771" fmla="*/ 846691 w 871061"/>
                    <a:gd name="connsiteY2771" fmla="*/ 48426 h 674880"/>
                    <a:gd name="connsiteX2772" fmla="*/ 846739 w 871061"/>
                    <a:gd name="connsiteY2772" fmla="*/ 47953 h 674880"/>
                    <a:gd name="connsiteX2773" fmla="*/ 846715 w 871061"/>
                    <a:gd name="connsiteY2773" fmla="*/ 47467 h 674880"/>
                    <a:gd name="connsiteX2774" fmla="*/ 846642 w 871061"/>
                    <a:gd name="connsiteY2774" fmla="*/ 46095 h 674880"/>
                    <a:gd name="connsiteX2775" fmla="*/ 846618 w 871061"/>
                    <a:gd name="connsiteY2775" fmla="*/ 45548 h 674880"/>
                    <a:gd name="connsiteX2776" fmla="*/ 846484 w 871061"/>
                    <a:gd name="connsiteY2776" fmla="*/ 45014 h 674880"/>
                    <a:gd name="connsiteX2777" fmla="*/ 845392 w 871061"/>
                    <a:gd name="connsiteY2777" fmla="*/ 40387 h 674880"/>
                    <a:gd name="connsiteX2778" fmla="*/ 845245 w 871061"/>
                    <a:gd name="connsiteY2778" fmla="*/ 39295 h 674880"/>
                    <a:gd name="connsiteX2779" fmla="*/ 845343 w 871061"/>
                    <a:gd name="connsiteY2779" fmla="*/ 37801 h 674880"/>
                    <a:gd name="connsiteX2780" fmla="*/ 845525 w 871061"/>
                    <a:gd name="connsiteY2780" fmla="*/ 37206 h 674880"/>
                    <a:gd name="connsiteX2781" fmla="*/ 846011 w 871061"/>
                    <a:gd name="connsiteY2781" fmla="*/ 36550 h 674880"/>
                    <a:gd name="connsiteX2782" fmla="*/ 846266 w 871061"/>
                    <a:gd name="connsiteY2782" fmla="*/ 36198 h 674880"/>
                    <a:gd name="connsiteX2783" fmla="*/ 846484 w 871061"/>
                    <a:gd name="connsiteY2783" fmla="*/ 35810 h 674880"/>
                    <a:gd name="connsiteX2784" fmla="*/ 847346 w 871061"/>
                    <a:gd name="connsiteY2784" fmla="*/ 34170 h 674880"/>
                    <a:gd name="connsiteX2785" fmla="*/ 848051 w 871061"/>
                    <a:gd name="connsiteY2785" fmla="*/ 32835 h 674880"/>
                    <a:gd name="connsiteX2786" fmla="*/ 848051 w 871061"/>
                    <a:gd name="connsiteY2786" fmla="*/ 31329 h 674880"/>
                    <a:gd name="connsiteX2787" fmla="*/ 848051 w 871061"/>
                    <a:gd name="connsiteY2787" fmla="*/ 28548 h 674880"/>
                    <a:gd name="connsiteX2788" fmla="*/ 848051 w 871061"/>
                    <a:gd name="connsiteY2788" fmla="*/ 27528 h 674880"/>
                    <a:gd name="connsiteX2789" fmla="*/ 847723 w 871061"/>
                    <a:gd name="connsiteY2789" fmla="*/ 26557 h 674880"/>
                    <a:gd name="connsiteX2790" fmla="*/ 846800 w 871061"/>
                    <a:gd name="connsiteY2790" fmla="*/ 23885 h 674880"/>
                    <a:gd name="connsiteX2791" fmla="*/ 846436 w 871061"/>
                    <a:gd name="connsiteY2791" fmla="*/ 22817 h 674880"/>
                    <a:gd name="connsiteX2792" fmla="*/ 845695 w 871061"/>
                    <a:gd name="connsiteY2792" fmla="*/ 21955 h 674880"/>
                    <a:gd name="connsiteX2793" fmla="*/ 844092 w 871061"/>
                    <a:gd name="connsiteY2793" fmla="*/ 20060 h 674880"/>
                    <a:gd name="connsiteX2794" fmla="*/ 843546 w 871061"/>
                    <a:gd name="connsiteY2794" fmla="*/ 19429 h 674880"/>
                    <a:gd name="connsiteX2795" fmla="*/ 842853 w 871061"/>
                    <a:gd name="connsiteY2795" fmla="*/ 18967 h 674880"/>
                    <a:gd name="connsiteX2796" fmla="*/ 840959 w 871061"/>
                    <a:gd name="connsiteY2796" fmla="*/ 17680 h 674880"/>
                    <a:gd name="connsiteX2797" fmla="*/ 840607 w 871061"/>
                    <a:gd name="connsiteY2797" fmla="*/ 17437 h 674880"/>
                    <a:gd name="connsiteX2798" fmla="*/ 840206 w 871061"/>
                    <a:gd name="connsiteY2798" fmla="*/ 17243 h 674880"/>
                    <a:gd name="connsiteX2799" fmla="*/ 838251 w 871061"/>
                    <a:gd name="connsiteY2799" fmla="*/ 16296 h 674880"/>
                    <a:gd name="connsiteX2800" fmla="*/ 837450 w 871061"/>
                    <a:gd name="connsiteY2800" fmla="*/ 15895 h 674880"/>
                    <a:gd name="connsiteX2801" fmla="*/ 836551 w 871061"/>
                    <a:gd name="connsiteY2801" fmla="*/ 15750 h 674880"/>
                    <a:gd name="connsiteX2802" fmla="*/ 832119 w 871061"/>
                    <a:gd name="connsiteY2802" fmla="*/ 15057 h 674880"/>
                    <a:gd name="connsiteX2803" fmla="*/ 831209 w 871061"/>
                    <a:gd name="connsiteY2803" fmla="*/ 14912 h 674880"/>
                    <a:gd name="connsiteX2804" fmla="*/ 830310 w 871061"/>
                    <a:gd name="connsiteY2804" fmla="*/ 15045 h 674880"/>
                    <a:gd name="connsiteX2805" fmla="*/ 823753 w 871061"/>
                    <a:gd name="connsiteY2805" fmla="*/ 16004 h 674880"/>
                    <a:gd name="connsiteX2806" fmla="*/ 821312 w 871061"/>
                    <a:gd name="connsiteY2806" fmla="*/ 14863 h 674880"/>
                    <a:gd name="connsiteX2807" fmla="*/ 820656 w 871061"/>
                    <a:gd name="connsiteY2807" fmla="*/ 14559 h 674880"/>
                    <a:gd name="connsiteX2808" fmla="*/ 819940 w 871061"/>
                    <a:gd name="connsiteY2808" fmla="*/ 14414 h 674880"/>
                    <a:gd name="connsiteX2809" fmla="*/ 810420 w 871061"/>
                    <a:gd name="connsiteY2809" fmla="*/ 12471 h 674880"/>
                    <a:gd name="connsiteX2810" fmla="*/ 809533 w 871061"/>
                    <a:gd name="connsiteY2810" fmla="*/ 10698 h 674880"/>
                    <a:gd name="connsiteX2811" fmla="*/ 809266 w 871061"/>
                    <a:gd name="connsiteY2811" fmla="*/ 10164 h 674880"/>
                    <a:gd name="connsiteX2812" fmla="*/ 808902 w 871061"/>
                    <a:gd name="connsiteY2812" fmla="*/ 9690 h 674880"/>
                    <a:gd name="connsiteX2813" fmla="*/ 806777 w 871061"/>
                    <a:gd name="connsiteY2813" fmla="*/ 6958 h 674880"/>
                    <a:gd name="connsiteX2814" fmla="*/ 806243 w 871061"/>
                    <a:gd name="connsiteY2814" fmla="*/ 6266 h 674880"/>
                    <a:gd name="connsiteX2815" fmla="*/ 805538 w 871061"/>
                    <a:gd name="connsiteY2815" fmla="*/ 5756 h 674880"/>
                    <a:gd name="connsiteX2816" fmla="*/ 803243 w 871061"/>
                    <a:gd name="connsiteY2816" fmla="*/ 4092 h 674880"/>
                    <a:gd name="connsiteX2817" fmla="*/ 802685 w 871061"/>
                    <a:gd name="connsiteY2817" fmla="*/ 3691 h 674880"/>
                    <a:gd name="connsiteX2818" fmla="*/ 802053 w 871061"/>
                    <a:gd name="connsiteY2818" fmla="*/ 3424 h 674880"/>
                    <a:gd name="connsiteX2819" fmla="*/ 800499 w 871061"/>
                    <a:gd name="connsiteY2819" fmla="*/ 2769 h 674880"/>
                    <a:gd name="connsiteX2820" fmla="*/ 799807 w 871061"/>
                    <a:gd name="connsiteY2820" fmla="*/ 2477 h 674880"/>
                    <a:gd name="connsiteX2821" fmla="*/ 799066 w 871061"/>
                    <a:gd name="connsiteY2821" fmla="*/ 2368 h 674880"/>
                    <a:gd name="connsiteX2822" fmla="*/ 798690 w 871061"/>
                    <a:gd name="connsiteY2822" fmla="*/ 2004 h 674880"/>
                    <a:gd name="connsiteX2823" fmla="*/ 797354 w 871061"/>
                    <a:gd name="connsiteY2823" fmla="*/ 1579 h 674880"/>
                    <a:gd name="connsiteX2824" fmla="*/ 794998 w 871061"/>
                    <a:gd name="connsiteY2824" fmla="*/ 838 h 674880"/>
                    <a:gd name="connsiteX2825" fmla="*/ 792254 w 871061"/>
                    <a:gd name="connsiteY2825" fmla="*/ 0 h 674880"/>
                    <a:gd name="connsiteX2826" fmla="*/ 792254 w 871061"/>
                    <a:gd name="connsiteY2826" fmla="*/ 0 h 67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Lst>
                  <a:rect l="l" t="t" r="r" b="b"/>
                  <a:pathLst>
                    <a:path w="871061" h="674880">
                      <a:moveTo>
                        <a:pt x="793177" y="6654"/>
                      </a:moveTo>
                      <a:lnTo>
                        <a:pt x="795532" y="7395"/>
                      </a:lnTo>
                      <a:lnTo>
                        <a:pt x="796273" y="8087"/>
                      </a:lnTo>
                      <a:lnTo>
                        <a:pt x="798119" y="8379"/>
                      </a:lnTo>
                      <a:lnTo>
                        <a:pt x="799673" y="9034"/>
                      </a:lnTo>
                      <a:lnTo>
                        <a:pt x="801968" y="10698"/>
                      </a:lnTo>
                      <a:lnTo>
                        <a:pt x="804093" y="13430"/>
                      </a:lnTo>
                      <a:lnTo>
                        <a:pt x="805393" y="16041"/>
                      </a:lnTo>
                      <a:lnTo>
                        <a:pt x="807299" y="18057"/>
                      </a:lnTo>
                      <a:lnTo>
                        <a:pt x="818713" y="20376"/>
                      </a:lnTo>
                      <a:lnTo>
                        <a:pt x="822805" y="22295"/>
                      </a:lnTo>
                      <a:lnTo>
                        <a:pt x="831160" y="21068"/>
                      </a:lnTo>
                      <a:lnTo>
                        <a:pt x="835592" y="21760"/>
                      </a:lnTo>
                      <a:lnTo>
                        <a:pt x="837547" y="22707"/>
                      </a:lnTo>
                      <a:lnTo>
                        <a:pt x="839441" y="23995"/>
                      </a:lnTo>
                      <a:lnTo>
                        <a:pt x="841044" y="25889"/>
                      </a:lnTo>
                      <a:lnTo>
                        <a:pt x="841967" y="28560"/>
                      </a:lnTo>
                      <a:lnTo>
                        <a:pt x="841967" y="31341"/>
                      </a:lnTo>
                      <a:lnTo>
                        <a:pt x="841105" y="32980"/>
                      </a:lnTo>
                      <a:lnTo>
                        <a:pt x="840012" y="34474"/>
                      </a:lnTo>
                      <a:lnTo>
                        <a:pt x="839320" y="36745"/>
                      </a:lnTo>
                      <a:lnTo>
                        <a:pt x="839150" y="39525"/>
                      </a:lnTo>
                      <a:lnTo>
                        <a:pt x="839478" y="41796"/>
                      </a:lnTo>
                      <a:lnTo>
                        <a:pt x="840571" y="46423"/>
                      </a:lnTo>
                      <a:lnTo>
                        <a:pt x="840643" y="47795"/>
                      </a:lnTo>
                      <a:lnTo>
                        <a:pt x="840340" y="50697"/>
                      </a:lnTo>
                      <a:lnTo>
                        <a:pt x="840583" y="52020"/>
                      </a:lnTo>
                      <a:lnTo>
                        <a:pt x="841506" y="53393"/>
                      </a:lnTo>
                      <a:lnTo>
                        <a:pt x="842598" y="53854"/>
                      </a:lnTo>
                      <a:lnTo>
                        <a:pt x="843631" y="54060"/>
                      </a:lnTo>
                      <a:lnTo>
                        <a:pt x="844554" y="54607"/>
                      </a:lnTo>
                      <a:lnTo>
                        <a:pt x="851730" y="61929"/>
                      </a:lnTo>
                      <a:lnTo>
                        <a:pt x="853333" y="63034"/>
                      </a:lnTo>
                      <a:lnTo>
                        <a:pt x="854316" y="65232"/>
                      </a:lnTo>
                      <a:lnTo>
                        <a:pt x="856089" y="69555"/>
                      </a:lnTo>
                      <a:lnTo>
                        <a:pt x="859586" y="83543"/>
                      </a:lnTo>
                      <a:lnTo>
                        <a:pt x="860230" y="88194"/>
                      </a:lnTo>
                      <a:lnTo>
                        <a:pt x="860400" y="92869"/>
                      </a:lnTo>
                      <a:lnTo>
                        <a:pt x="859878" y="95541"/>
                      </a:lnTo>
                      <a:lnTo>
                        <a:pt x="857522" y="98783"/>
                      </a:lnTo>
                      <a:lnTo>
                        <a:pt x="856672" y="100932"/>
                      </a:lnTo>
                      <a:lnTo>
                        <a:pt x="855919" y="111132"/>
                      </a:lnTo>
                      <a:lnTo>
                        <a:pt x="855701" y="112019"/>
                      </a:lnTo>
                      <a:lnTo>
                        <a:pt x="855239" y="113294"/>
                      </a:lnTo>
                      <a:lnTo>
                        <a:pt x="854159" y="113804"/>
                      </a:lnTo>
                      <a:lnTo>
                        <a:pt x="852774" y="113573"/>
                      </a:lnTo>
                      <a:lnTo>
                        <a:pt x="850819" y="112249"/>
                      </a:lnTo>
                      <a:lnTo>
                        <a:pt x="849508" y="111849"/>
                      </a:lnTo>
                      <a:lnTo>
                        <a:pt x="848014" y="112286"/>
                      </a:lnTo>
                      <a:lnTo>
                        <a:pt x="847152" y="114119"/>
                      </a:lnTo>
                      <a:lnTo>
                        <a:pt x="847383" y="116074"/>
                      </a:lnTo>
                      <a:lnTo>
                        <a:pt x="848306" y="117738"/>
                      </a:lnTo>
                      <a:lnTo>
                        <a:pt x="849447" y="118479"/>
                      </a:lnTo>
                      <a:lnTo>
                        <a:pt x="850771" y="118916"/>
                      </a:lnTo>
                      <a:lnTo>
                        <a:pt x="855081" y="119523"/>
                      </a:lnTo>
                      <a:lnTo>
                        <a:pt x="855919" y="120142"/>
                      </a:lnTo>
                      <a:lnTo>
                        <a:pt x="856502" y="121005"/>
                      </a:lnTo>
                      <a:lnTo>
                        <a:pt x="857826" y="123822"/>
                      </a:lnTo>
                      <a:lnTo>
                        <a:pt x="859076" y="125971"/>
                      </a:lnTo>
                      <a:lnTo>
                        <a:pt x="859428" y="127926"/>
                      </a:lnTo>
                      <a:lnTo>
                        <a:pt x="859611" y="130561"/>
                      </a:lnTo>
                      <a:lnTo>
                        <a:pt x="859890" y="132285"/>
                      </a:lnTo>
                      <a:lnTo>
                        <a:pt x="860643" y="133730"/>
                      </a:lnTo>
                      <a:lnTo>
                        <a:pt x="861748" y="134957"/>
                      </a:lnTo>
                      <a:lnTo>
                        <a:pt x="862950" y="137094"/>
                      </a:lnTo>
                      <a:lnTo>
                        <a:pt x="862950" y="138782"/>
                      </a:lnTo>
                      <a:lnTo>
                        <a:pt x="862076" y="139960"/>
                      </a:lnTo>
                      <a:lnTo>
                        <a:pt x="860206" y="141137"/>
                      </a:lnTo>
                      <a:lnTo>
                        <a:pt x="858834" y="142291"/>
                      </a:lnTo>
                      <a:lnTo>
                        <a:pt x="858251" y="144173"/>
                      </a:lnTo>
                      <a:lnTo>
                        <a:pt x="858943" y="145157"/>
                      </a:lnTo>
                      <a:lnTo>
                        <a:pt x="860376" y="145703"/>
                      </a:lnTo>
                      <a:lnTo>
                        <a:pt x="861578" y="145727"/>
                      </a:lnTo>
                      <a:lnTo>
                        <a:pt x="863836" y="146905"/>
                      </a:lnTo>
                      <a:lnTo>
                        <a:pt x="862853" y="150208"/>
                      </a:lnTo>
                      <a:lnTo>
                        <a:pt x="861590" y="151617"/>
                      </a:lnTo>
                      <a:lnTo>
                        <a:pt x="859586" y="153329"/>
                      </a:lnTo>
                      <a:lnTo>
                        <a:pt x="857121" y="154519"/>
                      </a:lnTo>
                      <a:lnTo>
                        <a:pt x="854316" y="155175"/>
                      </a:lnTo>
                      <a:lnTo>
                        <a:pt x="851609" y="155235"/>
                      </a:lnTo>
                      <a:lnTo>
                        <a:pt x="849411" y="154798"/>
                      </a:lnTo>
                      <a:lnTo>
                        <a:pt x="847298" y="153778"/>
                      </a:lnTo>
                      <a:lnTo>
                        <a:pt x="845683" y="152710"/>
                      </a:lnTo>
                      <a:lnTo>
                        <a:pt x="843740" y="151762"/>
                      </a:lnTo>
                      <a:lnTo>
                        <a:pt x="841724" y="151119"/>
                      </a:lnTo>
                      <a:lnTo>
                        <a:pt x="839028" y="150779"/>
                      </a:lnTo>
                      <a:lnTo>
                        <a:pt x="837134" y="151216"/>
                      </a:lnTo>
                      <a:lnTo>
                        <a:pt x="835871" y="152418"/>
                      </a:lnTo>
                      <a:lnTo>
                        <a:pt x="836163" y="153620"/>
                      </a:lnTo>
                      <a:lnTo>
                        <a:pt x="837535" y="154774"/>
                      </a:lnTo>
                      <a:lnTo>
                        <a:pt x="839769" y="155405"/>
                      </a:lnTo>
                      <a:lnTo>
                        <a:pt x="841773" y="156207"/>
                      </a:lnTo>
                      <a:lnTo>
                        <a:pt x="843048" y="157154"/>
                      </a:lnTo>
                      <a:lnTo>
                        <a:pt x="843376" y="158563"/>
                      </a:lnTo>
                      <a:lnTo>
                        <a:pt x="842696" y="164282"/>
                      </a:lnTo>
                      <a:lnTo>
                        <a:pt x="842926" y="165739"/>
                      </a:lnTo>
                      <a:lnTo>
                        <a:pt x="844602" y="168010"/>
                      </a:lnTo>
                      <a:lnTo>
                        <a:pt x="845112" y="169358"/>
                      </a:lnTo>
                      <a:lnTo>
                        <a:pt x="845173" y="170851"/>
                      </a:lnTo>
                      <a:lnTo>
                        <a:pt x="844820" y="172090"/>
                      </a:lnTo>
                      <a:lnTo>
                        <a:pt x="843971" y="173838"/>
                      </a:lnTo>
                      <a:lnTo>
                        <a:pt x="843121" y="175016"/>
                      </a:lnTo>
                      <a:lnTo>
                        <a:pt x="841445" y="176619"/>
                      </a:lnTo>
                      <a:lnTo>
                        <a:pt x="840643" y="178113"/>
                      </a:lnTo>
                      <a:lnTo>
                        <a:pt x="840474" y="179861"/>
                      </a:lnTo>
                      <a:lnTo>
                        <a:pt x="841044" y="181756"/>
                      </a:lnTo>
                      <a:lnTo>
                        <a:pt x="841323" y="183856"/>
                      </a:lnTo>
                      <a:lnTo>
                        <a:pt x="840534" y="187074"/>
                      </a:lnTo>
                      <a:lnTo>
                        <a:pt x="832666" y="203892"/>
                      </a:lnTo>
                      <a:lnTo>
                        <a:pt x="830188" y="207256"/>
                      </a:lnTo>
                      <a:lnTo>
                        <a:pt x="824809" y="211469"/>
                      </a:lnTo>
                      <a:lnTo>
                        <a:pt x="819988" y="214748"/>
                      </a:lnTo>
                      <a:lnTo>
                        <a:pt x="817511" y="215379"/>
                      </a:lnTo>
                      <a:lnTo>
                        <a:pt x="813492" y="216897"/>
                      </a:lnTo>
                      <a:lnTo>
                        <a:pt x="812059" y="218658"/>
                      </a:lnTo>
                      <a:lnTo>
                        <a:pt x="811731" y="220601"/>
                      </a:lnTo>
                      <a:lnTo>
                        <a:pt x="811950" y="222726"/>
                      </a:lnTo>
                      <a:lnTo>
                        <a:pt x="811950" y="224681"/>
                      </a:lnTo>
                      <a:lnTo>
                        <a:pt x="812205" y="226126"/>
                      </a:lnTo>
                      <a:lnTo>
                        <a:pt x="813055" y="226782"/>
                      </a:lnTo>
                      <a:lnTo>
                        <a:pt x="814148" y="226612"/>
                      </a:lnTo>
                      <a:lnTo>
                        <a:pt x="815410" y="226041"/>
                      </a:lnTo>
                      <a:lnTo>
                        <a:pt x="816212" y="226004"/>
                      </a:lnTo>
                      <a:lnTo>
                        <a:pt x="817511" y="226915"/>
                      </a:lnTo>
                      <a:lnTo>
                        <a:pt x="819478" y="230594"/>
                      </a:lnTo>
                      <a:lnTo>
                        <a:pt x="819126" y="233448"/>
                      </a:lnTo>
                      <a:lnTo>
                        <a:pt x="817183" y="234760"/>
                      </a:lnTo>
                      <a:lnTo>
                        <a:pt x="814378" y="235014"/>
                      </a:lnTo>
                      <a:lnTo>
                        <a:pt x="808635" y="234237"/>
                      </a:lnTo>
                      <a:lnTo>
                        <a:pt x="806485" y="234966"/>
                      </a:lnTo>
                      <a:lnTo>
                        <a:pt x="805587" y="236484"/>
                      </a:lnTo>
                      <a:lnTo>
                        <a:pt x="805125" y="240794"/>
                      </a:lnTo>
                      <a:lnTo>
                        <a:pt x="804215" y="243284"/>
                      </a:lnTo>
                      <a:lnTo>
                        <a:pt x="802369" y="247085"/>
                      </a:lnTo>
                      <a:lnTo>
                        <a:pt x="800705" y="248165"/>
                      </a:lnTo>
                      <a:lnTo>
                        <a:pt x="798520" y="247825"/>
                      </a:lnTo>
                      <a:lnTo>
                        <a:pt x="794452" y="244000"/>
                      </a:lnTo>
                      <a:lnTo>
                        <a:pt x="792096" y="242834"/>
                      </a:lnTo>
                      <a:lnTo>
                        <a:pt x="790080" y="242567"/>
                      </a:lnTo>
                      <a:lnTo>
                        <a:pt x="788417" y="242944"/>
                      </a:lnTo>
                      <a:lnTo>
                        <a:pt x="786680" y="244122"/>
                      </a:lnTo>
                      <a:lnTo>
                        <a:pt x="786401" y="245761"/>
                      </a:lnTo>
                      <a:lnTo>
                        <a:pt x="787445" y="250982"/>
                      </a:lnTo>
                      <a:lnTo>
                        <a:pt x="786984" y="254225"/>
                      </a:lnTo>
                      <a:lnTo>
                        <a:pt x="787202" y="259313"/>
                      </a:lnTo>
                      <a:lnTo>
                        <a:pt x="786753" y="261122"/>
                      </a:lnTo>
                      <a:lnTo>
                        <a:pt x="785442" y="262433"/>
                      </a:lnTo>
                      <a:lnTo>
                        <a:pt x="783608" y="263672"/>
                      </a:lnTo>
                      <a:lnTo>
                        <a:pt x="781021" y="266489"/>
                      </a:lnTo>
                      <a:lnTo>
                        <a:pt x="778836" y="267120"/>
                      </a:lnTo>
                      <a:lnTo>
                        <a:pt x="773444" y="265688"/>
                      </a:lnTo>
                      <a:lnTo>
                        <a:pt x="769607" y="265773"/>
                      </a:lnTo>
                      <a:lnTo>
                        <a:pt x="758521" y="270047"/>
                      </a:lnTo>
                      <a:lnTo>
                        <a:pt x="757355" y="269877"/>
                      </a:lnTo>
                      <a:lnTo>
                        <a:pt x="756614" y="268930"/>
                      </a:lnTo>
                      <a:lnTo>
                        <a:pt x="756165" y="266950"/>
                      </a:lnTo>
                      <a:lnTo>
                        <a:pt x="755910" y="264303"/>
                      </a:lnTo>
                      <a:lnTo>
                        <a:pt x="755400" y="261948"/>
                      </a:lnTo>
                      <a:lnTo>
                        <a:pt x="754356" y="260284"/>
                      </a:lnTo>
                      <a:lnTo>
                        <a:pt x="753057" y="259252"/>
                      </a:lnTo>
                      <a:lnTo>
                        <a:pt x="751684" y="259142"/>
                      </a:lnTo>
                      <a:lnTo>
                        <a:pt x="742893" y="261146"/>
                      </a:lnTo>
                      <a:lnTo>
                        <a:pt x="739274" y="262409"/>
                      </a:lnTo>
                      <a:lnTo>
                        <a:pt x="737647" y="263733"/>
                      </a:lnTo>
                      <a:lnTo>
                        <a:pt x="737428" y="264996"/>
                      </a:lnTo>
                      <a:lnTo>
                        <a:pt x="738461" y="266598"/>
                      </a:lnTo>
                      <a:lnTo>
                        <a:pt x="741448" y="269270"/>
                      </a:lnTo>
                      <a:lnTo>
                        <a:pt x="742237" y="270338"/>
                      </a:lnTo>
                      <a:lnTo>
                        <a:pt x="742237" y="271771"/>
                      </a:lnTo>
                      <a:lnTo>
                        <a:pt x="742419" y="272998"/>
                      </a:lnTo>
                      <a:lnTo>
                        <a:pt x="743209" y="274261"/>
                      </a:lnTo>
                      <a:lnTo>
                        <a:pt x="746839" y="277138"/>
                      </a:lnTo>
                      <a:lnTo>
                        <a:pt x="748151" y="279373"/>
                      </a:lnTo>
                      <a:lnTo>
                        <a:pt x="748564" y="282190"/>
                      </a:lnTo>
                      <a:lnTo>
                        <a:pt x="748102" y="284752"/>
                      </a:lnTo>
                      <a:lnTo>
                        <a:pt x="746766" y="287181"/>
                      </a:lnTo>
                      <a:lnTo>
                        <a:pt x="745164" y="288334"/>
                      </a:lnTo>
                      <a:lnTo>
                        <a:pt x="743038" y="288310"/>
                      </a:lnTo>
                      <a:lnTo>
                        <a:pt x="742019" y="289160"/>
                      </a:lnTo>
                      <a:lnTo>
                        <a:pt x="741497" y="290775"/>
                      </a:lnTo>
                      <a:lnTo>
                        <a:pt x="741605" y="295049"/>
                      </a:lnTo>
                      <a:lnTo>
                        <a:pt x="741326" y="297235"/>
                      </a:lnTo>
                      <a:lnTo>
                        <a:pt x="740294" y="300052"/>
                      </a:lnTo>
                      <a:lnTo>
                        <a:pt x="738679" y="301024"/>
                      </a:lnTo>
                      <a:lnTo>
                        <a:pt x="737307" y="300938"/>
                      </a:lnTo>
                      <a:lnTo>
                        <a:pt x="735024" y="297636"/>
                      </a:lnTo>
                      <a:lnTo>
                        <a:pt x="733518" y="296458"/>
                      </a:lnTo>
                      <a:lnTo>
                        <a:pt x="731916" y="295972"/>
                      </a:lnTo>
                      <a:lnTo>
                        <a:pt x="729912" y="295681"/>
                      </a:lnTo>
                      <a:lnTo>
                        <a:pt x="725990" y="294564"/>
                      </a:lnTo>
                      <a:lnTo>
                        <a:pt x="723925" y="294248"/>
                      </a:lnTo>
                      <a:lnTo>
                        <a:pt x="722153" y="294624"/>
                      </a:lnTo>
                      <a:lnTo>
                        <a:pt x="721169" y="295571"/>
                      </a:lnTo>
                      <a:lnTo>
                        <a:pt x="720780" y="296689"/>
                      </a:lnTo>
                      <a:lnTo>
                        <a:pt x="721169" y="298243"/>
                      </a:lnTo>
                      <a:lnTo>
                        <a:pt x="722432" y="299676"/>
                      </a:lnTo>
                      <a:lnTo>
                        <a:pt x="725662" y="302626"/>
                      </a:lnTo>
                      <a:lnTo>
                        <a:pt x="726645" y="304302"/>
                      </a:lnTo>
                      <a:lnTo>
                        <a:pt x="726973" y="305444"/>
                      </a:lnTo>
                      <a:lnTo>
                        <a:pt x="726233" y="308091"/>
                      </a:lnTo>
                      <a:lnTo>
                        <a:pt x="719736" y="309499"/>
                      </a:lnTo>
                      <a:lnTo>
                        <a:pt x="709973" y="307107"/>
                      </a:lnTo>
                      <a:lnTo>
                        <a:pt x="705662" y="305043"/>
                      </a:lnTo>
                      <a:lnTo>
                        <a:pt x="701935" y="302371"/>
                      </a:lnTo>
                      <a:lnTo>
                        <a:pt x="697915" y="298304"/>
                      </a:lnTo>
                      <a:lnTo>
                        <a:pt x="696483" y="297842"/>
                      </a:lnTo>
                      <a:lnTo>
                        <a:pt x="694297" y="297806"/>
                      </a:lnTo>
                      <a:lnTo>
                        <a:pt x="691249" y="297466"/>
                      </a:lnTo>
                      <a:lnTo>
                        <a:pt x="687302" y="295632"/>
                      </a:lnTo>
                      <a:lnTo>
                        <a:pt x="677649" y="289136"/>
                      </a:lnTo>
                      <a:lnTo>
                        <a:pt x="674358" y="287897"/>
                      </a:lnTo>
                      <a:lnTo>
                        <a:pt x="671966" y="287666"/>
                      </a:lnTo>
                      <a:lnTo>
                        <a:pt x="670594" y="288626"/>
                      </a:lnTo>
                      <a:lnTo>
                        <a:pt x="669610" y="289852"/>
                      </a:lnTo>
                      <a:lnTo>
                        <a:pt x="669039" y="291176"/>
                      </a:lnTo>
                      <a:lnTo>
                        <a:pt x="668699" y="292645"/>
                      </a:lnTo>
                      <a:lnTo>
                        <a:pt x="668359" y="293677"/>
                      </a:lnTo>
                      <a:lnTo>
                        <a:pt x="667898" y="294442"/>
                      </a:lnTo>
                      <a:lnTo>
                        <a:pt x="666174" y="296604"/>
                      </a:lnTo>
                      <a:lnTo>
                        <a:pt x="662604" y="299044"/>
                      </a:lnTo>
                      <a:lnTo>
                        <a:pt x="661620" y="300429"/>
                      </a:lnTo>
                      <a:lnTo>
                        <a:pt x="660321" y="302833"/>
                      </a:lnTo>
                      <a:lnTo>
                        <a:pt x="659337" y="306536"/>
                      </a:lnTo>
                      <a:lnTo>
                        <a:pt x="659398" y="307629"/>
                      </a:lnTo>
                      <a:lnTo>
                        <a:pt x="659629" y="308844"/>
                      </a:lnTo>
                      <a:lnTo>
                        <a:pt x="660491" y="310847"/>
                      </a:lnTo>
                      <a:lnTo>
                        <a:pt x="661693" y="314721"/>
                      </a:lnTo>
                      <a:lnTo>
                        <a:pt x="660904" y="320027"/>
                      </a:lnTo>
                      <a:lnTo>
                        <a:pt x="657516" y="324909"/>
                      </a:lnTo>
                      <a:lnTo>
                        <a:pt x="650801" y="327034"/>
                      </a:lnTo>
                      <a:lnTo>
                        <a:pt x="628701" y="330567"/>
                      </a:lnTo>
                      <a:lnTo>
                        <a:pt x="616861" y="334441"/>
                      </a:lnTo>
                      <a:lnTo>
                        <a:pt x="609223" y="337865"/>
                      </a:lnTo>
                      <a:lnTo>
                        <a:pt x="593486" y="342140"/>
                      </a:lnTo>
                      <a:lnTo>
                        <a:pt x="584476" y="346511"/>
                      </a:lnTo>
                      <a:lnTo>
                        <a:pt x="578720" y="350178"/>
                      </a:lnTo>
                      <a:lnTo>
                        <a:pt x="575150" y="353335"/>
                      </a:lnTo>
                      <a:lnTo>
                        <a:pt x="572819" y="356152"/>
                      </a:lnTo>
                      <a:lnTo>
                        <a:pt x="571726" y="358885"/>
                      </a:lnTo>
                      <a:lnTo>
                        <a:pt x="571447" y="361204"/>
                      </a:lnTo>
                      <a:lnTo>
                        <a:pt x="571495" y="363669"/>
                      </a:lnTo>
                      <a:lnTo>
                        <a:pt x="571265" y="365976"/>
                      </a:lnTo>
                      <a:lnTo>
                        <a:pt x="570560" y="367943"/>
                      </a:lnTo>
                      <a:lnTo>
                        <a:pt x="569820" y="369073"/>
                      </a:lnTo>
                      <a:lnTo>
                        <a:pt x="569479" y="369497"/>
                      </a:lnTo>
                      <a:lnTo>
                        <a:pt x="569298" y="369619"/>
                      </a:lnTo>
                      <a:lnTo>
                        <a:pt x="569018" y="370044"/>
                      </a:lnTo>
                      <a:lnTo>
                        <a:pt x="568168" y="370760"/>
                      </a:lnTo>
                      <a:lnTo>
                        <a:pt x="566334" y="372655"/>
                      </a:lnTo>
                      <a:lnTo>
                        <a:pt x="564210" y="373954"/>
                      </a:lnTo>
                      <a:lnTo>
                        <a:pt x="558697" y="378775"/>
                      </a:lnTo>
                      <a:lnTo>
                        <a:pt x="553014" y="380778"/>
                      </a:lnTo>
                      <a:lnTo>
                        <a:pt x="550245" y="380839"/>
                      </a:lnTo>
                      <a:lnTo>
                        <a:pt x="547659" y="379673"/>
                      </a:lnTo>
                      <a:lnTo>
                        <a:pt x="545716" y="377281"/>
                      </a:lnTo>
                      <a:lnTo>
                        <a:pt x="542146" y="375095"/>
                      </a:lnTo>
                      <a:lnTo>
                        <a:pt x="537034" y="372800"/>
                      </a:lnTo>
                      <a:lnTo>
                        <a:pt x="535431" y="372254"/>
                      </a:lnTo>
                      <a:lnTo>
                        <a:pt x="532613" y="371938"/>
                      </a:lnTo>
                      <a:lnTo>
                        <a:pt x="531169" y="371113"/>
                      </a:lnTo>
                      <a:lnTo>
                        <a:pt x="530428" y="370153"/>
                      </a:lnTo>
                      <a:lnTo>
                        <a:pt x="530307" y="369753"/>
                      </a:lnTo>
                      <a:lnTo>
                        <a:pt x="530258" y="369437"/>
                      </a:lnTo>
                      <a:lnTo>
                        <a:pt x="530646" y="366802"/>
                      </a:lnTo>
                      <a:lnTo>
                        <a:pt x="532711" y="357925"/>
                      </a:lnTo>
                      <a:lnTo>
                        <a:pt x="531678" y="354088"/>
                      </a:lnTo>
                      <a:lnTo>
                        <a:pt x="525886" y="353991"/>
                      </a:lnTo>
                      <a:lnTo>
                        <a:pt x="518018" y="349292"/>
                      </a:lnTo>
                      <a:lnTo>
                        <a:pt x="514800" y="348369"/>
                      </a:lnTo>
                      <a:lnTo>
                        <a:pt x="512104" y="348454"/>
                      </a:lnTo>
                      <a:lnTo>
                        <a:pt x="510368" y="349425"/>
                      </a:lnTo>
                      <a:lnTo>
                        <a:pt x="508813" y="351065"/>
                      </a:lnTo>
                      <a:lnTo>
                        <a:pt x="507830" y="352643"/>
                      </a:lnTo>
                      <a:lnTo>
                        <a:pt x="507502" y="353857"/>
                      </a:lnTo>
                      <a:lnTo>
                        <a:pt x="507745" y="355254"/>
                      </a:lnTo>
                      <a:lnTo>
                        <a:pt x="510149" y="361981"/>
                      </a:lnTo>
                      <a:lnTo>
                        <a:pt x="510428" y="363778"/>
                      </a:lnTo>
                      <a:lnTo>
                        <a:pt x="509445" y="365940"/>
                      </a:lnTo>
                      <a:lnTo>
                        <a:pt x="508352" y="366802"/>
                      </a:lnTo>
                      <a:lnTo>
                        <a:pt x="506761" y="367312"/>
                      </a:lnTo>
                      <a:lnTo>
                        <a:pt x="496646" y="369048"/>
                      </a:lnTo>
                      <a:lnTo>
                        <a:pt x="492287" y="369243"/>
                      </a:lnTo>
                      <a:lnTo>
                        <a:pt x="489239" y="369073"/>
                      </a:lnTo>
                      <a:lnTo>
                        <a:pt x="479197" y="370967"/>
                      </a:lnTo>
                      <a:lnTo>
                        <a:pt x="475359" y="372970"/>
                      </a:lnTo>
                      <a:lnTo>
                        <a:pt x="474716" y="373687"/>
                      </a:lnTo>
                      <a:lnTo>
                        <a:pt x="474145" y="375508"/>
                      </a:lnTo>
                      <a:lnTo>
                        <a:pt x="474267" y="378738"/>
                      </a:lnTo>
                      <a:lnTo>
                        <a:pt x="475700" y="379843"/>
                      </a:lnTo>
                      <a:lnTo>
                        <a:pt x="476902" y="381653"/>
                      </a:lnTo>
                      <a:lnTo>
                        <a:pt x="477703" y="383450"/>
                      </a:lnTo>
                      <a:lnTo>
                        <a:pt x="478796" y="384288"/>
                      </a:lnTo>
                      <a:lnTo>
                        <a:pt x="484637" y="383863"/>
                      </a:lnTo>
                      <a:lnTo>
                        <a:pt x="485912" y="384288"/>
                      </a:lnTo>
                      <a:lnTo>
                        <a:pt x="487733" y="386158"/>
                      </a:lnTo>
                      <a:lnTo>
                        <a:pt x="487612" y="387481"/>
                      </a:lnTo>
                      <a:lnTo>
                        <a:pt x="486640" y="388914"/>
                      </a:lnTo>
                      <a:lnTo>
                        <a:pt x="485900" y="391173"/>
                      </a:lnTo>
                      <a:lnTo>
                        <a:pt x="485548" y="395775"/>
                      </a:lnTo>
                      <a:lnTo>
                        <a:pt x="485025" y="398070"/>
                      </a:lnTo>
                      <a:lnTo>
                        <a:pt x="483945" y="399964"/>
                      </a:lnTo>
                      <a:lnTo>
                        <a:pt x="481067" y="403413"/>
                      </a:lnTo>
                      <a:lnTo>
                        <a:pt x="478213" y="407833"/>
                      </a:lnTo>
                      <a:lnTo>
                        <a:pt x="476088" y="412569"/>
                      </a:lnTo>
                      <a:lnTo>
                        <a:pt x="475493" y="416952"/>
                      </a:lnTo>
                      <a:lnTo>
                        <a:pt x="477278" y="420947"/>
                      </a:lnTo>
                      <a:lnTo>
                        <a:pt x="483253" y="426897"/>
                      </a:lnTo>
                      <a:lnTo>
                        <a:pt x="484552" y="431232"/>
                      </a:lnTo>
                      <a:lnTo>
                        <a:pt x="484965" y="433552"/>
                      </a:lnTo>
                      <a:lnTo>
                        <a:pt x="485936" y="435652"/>
                      </a:lnTo>
                      <a:lnTo>
                        <a:pt x="486519" y="436308"/>
                      </a:lnTo>
                      <a:lnTo>
                        <a:pt x="488705" y="435652"/>
                      </a:lnTo>
                      <a:lnTo>
                        <a:pt x="496622" y="432896"/>
                      </a:lnTo>
                      <a:lnTo>
                        <a:pt x="499900" y="433114"/>
                      </a:lnTo>
                      <a:lnTo>
                        <a:pt x="504150" y="433928"/>
                      </a:lnTo>
                      <a:lnTo>
                        <a:pt x="507769" y="435907"/>
                      </a:lnTo>
                      <a:lnTo>
                        <a:pt x="511218" y="438384"/>
                      </a:lnTo>
                      <a:lnTo>
                        <a:pt x="534180" y="462986"/>
                      </a:lnTo>
                      <a:lnTo>
                        <a:pt x="538102" y="466374"/>
                      </a:lnTo>
                      <a:lnTo>
                        <a:pt x="540859" y="467430"/>
                      </a:lnTo>
                      <a:lnTo>
                        <a:pt x="543615" y="467030"/>
                      </a:lnTo>
                      <a:lnTo>
                        <a:pt x="546372" y="465827"/>
                      </a:lnTo>
                      <a:lnTo>
                        <a:pt x="548314" y="464625"/>
                      </a:lnTo>
                      <a:lnTo>
                        <a:pt x="556304" y="464650"/>
                      </a:lnTo>
                      <a:lnTo>
                        <a:pt x="566359" y="466860"/>
                      </a:lnTo>
                      <a:lnTo>
                        <a:pt x="591968" y="467722"/>
                      </a:lnTo>
                      <a:lnTo>
                        <a:pt x="593571" y="468037"/>
                      </a:lnTo>
                      <a:lnTo>
                        <a:pt x="594142" y="468390"/>
                      </a:lnTo>
                      <a:lnTo>
                        <a:pt x="594263" y="468487"/>
                      </a:lnTo>
                      <a:lnTo>
                        <a:pt x="594494" y="468693"/>
                      </a:lnTo>
                      <a:lnTo>
                        <a:pt x="595295" y="468875"/>
                      </a:lnTo>
                      <a:lnTo>
                        <a:pt x="597068" y="469446"/>
                      </a:lnTo>
                      <a:lnTo>
                        <a:pt x="600298" y="469555"/>
                      </a:lnTo>
                      <a:lnTo>
                        <a:pt x="601792" y="470126"/>
                      </a:lnTo>
                      <a:lnTo>
                        <a:pt x="602411" y="470843"/>
                      </a:lnTo>
                      <a:lnTo>
                        <a:pt x="602302" y="471717"/>
                      </a:lnTo>
                      <a:lnTo>
                        <a:pt x="601428" y="472652"/>
                      </a:lnTo>
                      <a:lnTo>
                        <a:pt x="600347" y="473113"/>
                      </a:lnTo>
                      <a:lnTo>
                        <a:pt x="598064" y="473660"/>
                      </a:lnTo>
                      <a:lnTo>
                        <a:pt x="595077" y="474012"/>
                      </a:lnTo>
                      <a:lnTo>
                        <a:pt x="592357" y="474704"/>
                      </a:lnTo>
                      <a:lnTo>
                        <a:pt x="590244" y="475675"/>
                      </a:lnTo>
                      <a:lnTo>
                        <a:pt x="585241" y="479719"/>
                      </a:lnTo>
                      <a:lnTo>
                        <a:pt x="584452" y="481237"/>
                      </a:lnTo>
                      <a:lnTo>
                        <a:pt x="584391" y="483143"/>
                      </a:lnTo>
                      <a:lnTo>
                        <a:pt x="585083" y="485268"/>
                      </a:lnTo>
                      <a:lnTo>
                        <a:pt x="585253" y="487163"/>
                      </a:lnTo>
                      <a:lnTo>
                        <a:pt x="584634" y="489336"/>
                      </a:lnTo>
                      <a:lnTo>
                        <a:pt x="582849" y="493671"/>
                      </a:lnTo>
                      <a:lnTo>
                        <a:pt x="582618" y="495626"/>
                      </a:lnTo>
                      <a:lnTo>
                        <a:pt x="582497" y="500313"/>
                      </a:lnTo>
                      <a:lnTo>
                        <a:pt x="581647" y="505559"/>
                      </a:lnTo>
                      <a:lnTo>
                        <a:pt x="581525" y="508206"/>
                      </a:lnTo>
                      <a:lnTo>
                        <a:pt x="582327" y="511036"/>
                      </a:lnTo>
                      <a:lnTo>
                        <a:pt x="592296" y="518856"/>
                      </a:lnTo>
                      <a:lnTo>
                        <a:pt x="595538" y="519366"/>
                      </a:lnTo>
                      <a:lnTo>
                        <a:pt x="597931" y="519426"/>
                      </a:lnTo>
                      <a:lnTo>
                        <a:pt x="599485" y="519111"/>
                      </a:lnTo>
                      <a:lnTo>
                        <a:pt x="600978" y="519293"/>
                      </a:lnTo>
                      <a:lnTo>
                        <a:pt x="605799" y="522013"/>
                      </a:lnTo>
                      <a:lnTo>
                        <a:pt x="617517" y="531630"/>
                      </a:lnTo>
                      <a:lnTo>
                        <a:pt x="618962" y="541138"/>
                      </a:lnTo>
                      <a:lnTo>
                        <a:pt x="620213" y="543809"/>
                      </a:lnTo>
                      <a:lnTo>
                        <a:pt x="622119" y="546699"/>
                      </a:lnTo>
                      <a:lnTo>
                        <a:pt x="624681" y="548399"/>
                      </a:lnTo>
                      <a:lnTo>
                        <a:pt x="627401" y="549225"/>
                      </a:lnTo>
                      <a:lnTo>
                        <a:pt x="636023" y="549371"/>
                      </a:lnTo>
                      <a:lnTo>
                        <a:pt x="639180" y="550318"/>
                      </a:lnTo>
                      <a:lnTo>
                        <a:pt x="643709" y="553172"/>
                      </a:lnTo>
                      <a:lnTo>
                        <a:pt x="646235" y="555770"/>
                      </a:lnTo>
                      <a:lnTo>
                        <a:pt x="648008" y="558442"/>
                      </a:lnTo>
                      <a:lnTo>
                        <a:pt x="649453" y="562060"/>
                      </a:lnTo>
                      <a:lnTo>
                        <a:pt x="649805" y="563590"/>
                      </a:lnTo>
                      <a:lnTo>
                        <a:pt x="649914" y="564877"/>
                      </a:lnTo>
                      <a:lnTo>
                        <a:pt x="649453" y="566116"/>
                      </a:lnTo>
                      <a:lnTo>
                        <a:pt x="648311" y="566747"/>
                      </a:lnTo>
                      <a:lnTo>
                        <a:pt x="646514" y="566808"/>
                      </a:lnTo>
                      <a:lnTo>
                        <a:pt x="642859" y="566116"/>
                      </a:lnTo>
                      <a:lnTo>
                        <a:pt x="641815" y="566164"/>
                      </a:lnTo>
                      <a:lnTo>
                        <a:pt x="641305" y="566857"/>
                      </a:lnTo>
                      <a:lnTo>
                        <a:pt x="641123" y="567124"/>
                      </a:lnTo>
                      <a:lnTo>
                        <a:pt x="641062" y="567318"/>
                      </a:lnTo>
                      <a:lnTo>
                        <a:pt x="641002" y="567634"/>
                      </a:lnTo>
                      <a:lnTo>
                        <a:pt x="641062" y="568690"/>
                      </a:lnTo>
                      <a:lnTo>
                        <a:pt x="641305" y="570645"/>
                      </a:lnTo>
                      <a:lnTo>
                        <a:pt x="642167" y="573317"/>
                      </a:lnTo>
                      <a:lnTo>
                        <a:pt x="643078" y="574774"/>
                      </a:lnTo>
                      <a:lnTo>
                        <a:pt x="644341" y="575940"/>
                      </a:lnTo>
                      <a:lnTo>
                        <a:pt x="650194" y="578866"/>
                      </a:lnTo>
                      <a:lnTo>
                        <a:pt x="652598" y="580603"/>
                      </a:lnTo>
                      <a:lnTo>
                        <a:pt x="655585" y="583905"/>
                      </a:lnTo>
                      <a:lnTo>
                        <a:pt x="656739" y="587245"/>
                      </a:lnTo>
                      <a:lnTo>
                        <a:pt x="657079" y="593814"/>
                      </a:lnTo>
                      <a:lnTo>
                        <a:pt x="658111" y="597178"/>
                      </a:lnTo>
                      <a:lnTo>
                        <a:pt x="660636" y="599533"/>
                      </a:lnTo>
                      <a:lnTo>
                        <a:pt x="663345" y="601622"/>
                      </a:lnTo>
                      <a:lnTo>
                        <a:pt x="666562" y="604694"/>
                      </a:lnTo>
                      <a:lnTo>
                        <a:pt x="667364" y="606309"/>
                      </a:lnTo>
                      <a:lnTo>
                        <a:pt x="666781" y="607803"/>
                      </a:lnTo>
                      <a:lnTo>
                        <a:pt x="663867" y="609005"/>
                      </a:lnTo>
                      <a:lnTo>
                        <a:pt x="656678" y="609612"/>
                      </a:lnTo>
                      <a:lnTo>
                        <a:pt x="653812" y="609321"/>
                      </a:lnTo>
                      <a:lnTo>
                        <a:pt x="652318" y="609867"/>
                      </a:lnTo>
                      <a:lnTo>
                        <a:pt x="651469" y="611166"/>
                      </a:lnTo>
                      <a:lnTo>
                        <a:pt x="651748" y="615088"/>
                      </a:lnTo>
                      <a:lnTo>
                        <a:pt x="651347" y="617189"/>
                      </a:lnTo>
                      <a:lnTo>
                        <a:pt x="650376" y="618391"/>
                      </a:lnTo>
                      <a:lnTo>
                        <a:pt x="648251" y="618428"/>
                      </a:lnTo>
                      <a:lnTo>
                        <a:pt x="645082" y="617189"/>
                      </a:lnTo>
                      <a:lnTo>
                        <a:pt x="644110" y="617238"/>
                      </a:lnTo>
                      <a:lnTo>
                        <a:pt x="643248" y="618076"/>
                      </a:lnTo>
                      <a:lnTo>
                        <a:pt x="639969" y="619873"/>
                      </a:lnTo>
                      <a:lnTo>
                        <a:pt x="637504" y="621609"/>
                      </a:lnTo>
                      <a:lnTo>
                        <a:pt x="636242" y="622848"/>
                      </a:lnTo>
                      <a:lnTo>
                        <a:pt x="628725" y="619533"/>
                      </a:lnTo>
                      <a:lnTo>
                        <a:pt x="620383" y="612065"/>
                      </a:lnTo>
                      <a:lnTo>
                        <a:pt x="602363" y="600638"/>
                      </a:lnTo>
                      <a:lnTo>
                        <a:pt x="600687" y="599886"/>
                      </a:lnTo>
                      <a:lnTo>
                        <a:pt x="598744" y="599460"/>
                      </a:lnTo>
                      <a:lnTo>
                        <a:pt x="595927" y="599800"/>
                      </a:lnTo>
                      <a:lnTo>
                        <a:pt x="588799" y="602156"/>
                      </a:lnTo>
                      <a:lnTo>
                        <a:pt x="586054" y="602618"/>
                      </a:lnTo>
                      <a:lnTo>
                        <a:pt x="582764" y="602763"/>
                      </a:lnTo>
                      <a:lnTo>
                        <a:pt x="579400" y="602132"/>
                      </a:lnTo>
                      <a:lnTo>
                        <a:pt x="576109" y="600784"/>
                      </a:lnTo>
                      <a:lnTo>
                        <a:pt x="572382" y="598040"/>
                      </a:lnTo>
                      <a:lnTo>
                        <a:pt x="569856" y="595551"/>
                      </a:lnTo>
                      <a:lnTo>
                        <a:pt x="567962" y="593171"/>
                      </a:lnTo>
                      <a:lnTo>
                        <a:pt x="564635" y="587573"/>
                      </a:lnTo>
                      <a:lnTo>
                        <a:pt x="561769" y="585217"/>
                      </a:lnTo>
                      <a:lnTo>
                        <a:pt x="557749" y="582582"/>
                      </a:lnTo>
                      <a:lnTo>
                        <a:pt x="526688" y="567270"/>
                      </a:lnTo>
                      <a:lnTo>
                        <a:pt x="519621" y="558235"/>
                      </a:lnTo>
                      <a:lnTo>
                        <a:pt x="518248" y="556997"/>
                      </a:lnTo>
                      <a:lnTo>
                        <a:pt x="516815" y="556280"/>
                      </a:lnTo>
                      <a:lnTo>
                        <a:pt x="514909" y="556110"/>
                      </a:lnTo>
                      <a:lnTo>
                        <a:pt x="513136" y="556851"/>
                      </a:lnTo>
                      <a:lnTo>
                        <a:pt x="511351" y="557822"/>
                      </a:lnTo>
                      <a:lnTo>
                        <a:pt x="508485" y="562485"/>
                      </a:lnTo>
                      <a:lnTo>
                        <a:pt x="507053" y="563505"/>
                      </a:lnTo>
                      <a:lnTo>
                        <a:pt x="506348" y="563736"/>
                      </a:lnTo>
                      <a:lnTo>
                        <a:pt x="505280" y="564003"/>
                      </a:lnTo>
                      <a:lnTo>
                        <a:pt x="502511" y="564343"/>
                      </a:lnTo>
                      <a:lnTo>
                        <a:pt x="501018" y="564683"/>
                      </a:lnTo>
                      <a:lnTo>
                        <a:pt x="497217" y="566177"/>
                      </a:lnTo>
                      <a:lnTo>
                        <a:pt x="495966" y="567185"/>
                      </a:lnTo>
                      <a:lnTo>
                        <a:pt x="495845" y="567306"/>
                      </a:lnTo>
                      <a:lnTo>
                        <a:pt x="495772" y="567440"/>
                      </a:lnTo>
                      <a:lnTo>
                        <a:pt x="495662" y="568253"/>
                      </a:lnTo>
                      <a:lnTo>
                        <a:pt x="495614" y="570026"/>
                      </a:lnTo>
                      <a:lnTo>
                        <a:pt x="496306" y="573560"/>
                      </a:lnTo>
                      <a:lnTo>
                        <a:pt x="498140" y="576571"/>
                      </a:lnTo>
                      <a:lnTo>
                        <a:pt x="502730" y="582145"/>
                      </a:lnTo>
                      <a:lnTo>
                        <a:pt x="504163" y="584877"/>
                      </a:lnTo>
                      <a:lnTo>
                        <a:pt x="504916" y="588253"/>
                      </a:lnTo>
                      <a:lnTo>
                        <a:pt x="506179" y="599776"/>
                      </a:lnTo>
                      <a:lnTo>
                        <a:pt x="506118" y="603480"/>
                      </a:lnTo>
                      <a:lnTo>
                        <a:pt x="505535" y="606552"/>
                      </a:lnTo>
                      <a:lnTo>
                        <a:pt x="502098" y="611603"/>
                      </a:lnTo>
                      <a:lnTo>
                        <a:pt x="500945" y="613947"/>
                      </a:lnTo>
                      <a:lnTo>
                        <a:pt x="500763" y="617578"/>
                      </a:lnTo>
                      <a:lnTo>
                        <a:pt x="502026" y="620796"/>
                      </a:lnTo>
                      <a:lnTo>
                        <a:pt x="504952" y="626078"/>
                      </a:lnTo>
                      <a:lnTo>
                        <a:pt x="505243" y="628859"/>
                      </a:lnTo>
                      <a:lnTo>
                        <a:pt x="504539" y="631894"/>
                      </a:lnTo>
                      <a:lnTo>
                        <a:pt x="503058" y="636290"/>
                      </a:lnTo>
                      <a:lnTo>
                        <a:pt x="502244" y="639508"/>
                      </a:lnTo>
                      <a:lnTo>
                        <a:pt x="502365" y="642374"/>
                      </a:lnTo>
                      <a:lnTo>
                        <a:pt x="502596" y="643831"/>
                      </a:lnTo>
                      <a:lnTo>
                        <a:pt x="502596" y="645191"/>
                      </a:lnTo>
                      <a:lnTo>
                        <a:pt x="502026" y="646527"/>
                      </a:lnTo>
                      <a:lnTo>
                        <a:pt x="500653" y="648907"/>
                      </a:lnTo>
                      <a:lnTo>
                        <a:pt x="491765" y="661390"/>
                      </a:lnTo>
                      <a:lnTo>
                        <a:pt x="488182" y="664267"/>
                      </a:lnTo>
                      <a:lnTo>
                        <a:pt x="484455" y="666538"/>
                      </a:lnTo>
                      <a:lnTo>
                        <a:pt x="476367" y="668481"/>
                      </a:lnTo>
                      <a:lnTo>
                        <a:pt x="467054" y="663430"/>
                      </a:lnTo>
                      <a:lnTo>
                        <a:pt x="466301" y="661390"/>
                      </a:lnTo>
                      <a:lnTo>
                        <a:pt x="465730" y="657953"/>
                      </a:lnTo>
                      <a:lnTo>
                        <a:pt x="465961" y="655221"/>
                      </a:lnTo>
                      <a:lnTo>
                        <a:pt x="465888" y="653205"/>
                      </a:lnTo>
                      <a:lnTo>
                        <a:pt x="466022" y="651602"/>
                      </a:lnTo>
                      <a:lnTo>
                        <a:pt x="466653" y="650048"/>
                      </a:lnTo>
                      <a:lnTo>
                        <a:pt x="469300" y="646697"/>
                      </a:lnTo>
                      <a:lnTo>
                        <a:pt x="470053" y="644863"/>
                      </a:lnTo>
                      <a:lnTo>
                        <a:pt x="470235" y="642738"/>
                      </a:lnTo>
                      <a:lnTo>
                        <a:pt x="469592" y="640953"/>
                      </a:lnTo>
                      <a:lnTo>
                        <a:pt x="468438" y="640358"/>
                      </a:lnTo>
                      <a:lnTo>
                        <a:pt x="466264" y="641123"/>
                      </a:lnTo>
                      <a:lnTo>
                        <a:pt x="463678" y="642799"/>
                      </a:lnTo>
                      <a:lnTo>
                        <a:pt x="461662" y="644657"/>
                      </a:lnTo>
                      <a:lnTo>
                        <a:pt x="459890" y="645859"/>
                      </a:lnTo>
                      <a:lnTo>
                        <a:pt x="457595" y="646842"/>
                      </a:lnTo>
                      <a:lnTo>
                        <a:pt x="454498" y="647668"/>
                      </a:lnTo>
                      <a:lnTo>
                        <a:pt x="452239" y="648530"/>
                      </a:lnTo>
                      <a:lnTo>
                        <a:pt x="448414" y="650594"/>
                      </a:lnTo>
                      <a:lnTo>
                        <a:pt x="447261" y="650825"/>
                      </a:lnTo>
                      <a:lnTo>
                        <a:pt x="442901" y="649077"/>
                      </a:lnTo>
                      <a:lnTo>
                        <a:pt x="434231" y="647607"/>
                      </a:lnTo>
                      <a:lnTo>
                        <a:pt x="423145" y="644559"/>
                      </a:lnTo>
                      <a:lnTo>
                        <a:pt x="406375" y="634639"/>
                      </a:lnTo>
                      <a:lnTo>
                        <a:pt x="404032" y="633776"/>
                      </a:lnTo>
                      <a:lnTo>
                        <a:pt x="401786" y="633436"/>
                      </a:lnTo>
                      <a:lnTo>
                        <a:pt x="399648" y="633376"/>
                      </a:lnTo>
                      <a:lnTo>
                        <a:pt x="396783" y="633862"/>
                      </a:lnTo>
                      <a:lnTo>
                        <a:pt x="394208" y="634699"/>
                      </a:lnTo>
                      <a:lnTo>
                        <a:pt x="390966" y="636824"/>
                      </a:lnTo>
                      <a:lnTo>
                        <a:pt x="382709" y="639690"/>
                      </a:lnTo>
                      <a:lnTo>
                        <a:pt x="380645" y="640819"/>
                      </a:lnTo>
                      <a:lnTo>
                        <a:pt x="371975" y="648967"/>
                      </a:lnTo>
                      <a:lnTo>
                        <a:pt x="363414" y="658815"/>
                      </a:lnTo>
                      <a:lnTo>
                        <a:pt x="362151" y="659762"/>
                      </a:lnTo>
                      <a:lnTo>
                        <a:pt x="361167" y="660017"/>
                      </a:lnTo>
                      <a:lnTo>
                        <a:pt x="360208" y="659653"/>
                      </a:lnTo>
                      <a:lnTo>
                        <a:pt x="358885" y="658524"/>
                      </a:lnTo>
                      <a:lnTo>
                        <a:pt x="354987" y="654019"/>
                      </a:lnTo>
                      <a:lnTo>
                        <a:pt x="340342" y="644402"/>
                      </a:lnTo>
                      <a:lnTo>
                        <a:pt x="338278" y="643430"/>
                      </a:lnTo>
                      <a:lnTo>
                        <a:pt x="334757" y="642337"/>
                      </a:lnTo>
                      <a:lnTo>
                        <a:pt x="331502" y="641900"/>
                      </a:lnTo>
                      <a:lnTo>
                        <a:pt x="329304" y="641961"/>
                      </a:lnTo>
                      <a:lnTo>
                        <a:pt x="327884" y="642204"/>
                      </a:lnTo>
                      <a:lnTo>
                        <a:pt x="320476" y="644875"/>
                      </a:lnTo>
                      <a:lnTo>
                        <a:pt x="318230" y="645300"/>
                      </a:lnTo>
                      <a:lnTo>
                        <a:pt x="317319" y="644790"/>
                      </a:lnTo>
                      <a:lnTo>
                        <a:pt x="317125" y="643576"/>
                      </a:lnTo>
                      <a:lnTo>
                        <a:pt x="318461" y="640649"/>
                      </a:lnTo>
                      <a:lnTo>
                        <a:pt x="319772" y="638889"/>
                      </a:lnTo>
                      <a:lnTo>
                        <a:pt x="321545" y="635938"/>
                      </a:lnTo>
                      <a:lnTo>
                        <a:pt x="327349" y="623163"/>
                      </a:lnTo>
                      <a:lnTo>
                        <a:pt x="336286" y="610620"/>
                      </a:lnTo>
                      <a:lnTo>
                        <a:pt x="337404" y="608641"/>
                      </a:lnTo>
                      <a:lnTo>
                        <a:pt x="338424" y="605763"/>
                      </a:lnTo>
                      <a:lnTo>
                        <a:pt x="339529" y="600626"/>
                      </a:lnTo>
                      <a:lnTo>
                        <a:pt x="339529" y="595368"/>
                      </a:lnTo>
                      <a:lnTo>
                        <a:pt x="338727" y="588192"/>
                      </a:lnTo>
                      <a:lnTo>
                        <a:pt x="336299" y="577798"/>
                      </a:lnTo>
                      <a:lnTo>
                        <a:pt x="332182" y="566638"/>
                      </a:lnTo>
                      <a:lnTo>
                        <a:pt x="327070" y="570730"/>
                      </a:lnTo>
                      <a:lnTo>
                        <a:pt x="317647" y="576705"/>
                      </a:lnTo>
                      <a:lnTo>
                        <a:pt x="316797" y="577081"/>
                      </a:lnTo>
                      <a:lnTo>
                        <a:pt x="310981" y="577652"/>
                      </a:lnTo>
                      <a:lnTo>
                        <a:pt x="309378" y="578052"/>
                      </a:lnTo>
                      <a:lnTo>
                        <a:pt x="308175" y="578890"/>
                      </a:lnTo>
                      <a:lnTo>
                        <a:pt x="305128" y="582072"/>
                      </a:lnTo>
                      <a:lnTo>
                        <a:pt x="304156" y="582424"/>
                      </a:lnTo>
                      <a:lnTo>
                        <a:pt x="302663" y="582643"/>
                      </a:lnTo>
                      <a:lnTo>
                        <a:pt x="297089" y="580299"/>
                      </a:lnTo>
                      <a:lnTo>
                        <a:pt x="285663" y="577518"/>
                      </a:lnTo>
                      <a:lnTo>
                        <a:pt x="282505" y="577105"/>
                      </a:lnTo>
                      <a:lnTo>
                        <a:pt x="278316" y="577445"/>
                      </a:lnTo>
                      <a:lnTo>
                        <a:pt x="276543" y="578004"/>
                      </a:lnTo>
                      <a:lnTo>
                        <a:pt x="275220" y="578939"/>
                      </a:lnTo>
                      <a:lnTo>
                        <a:pt x="274430" y="580007"/>
                      </a:lnTo>
                      <a:lnTo>
                        <a:pt x="272694" y="580930"/>
                      </a:lnTo>
                      <a:lnTo>
                        <a:pt x="269950" y="581610"/>
                      </a:lnTo>
                      <a:lnTo>
                        <a:pt x="231760" y="582448"/>
                      </a:lnTo>
                      <a:lnTo>
                        <a:pt x="229234" y="582764"/>
                      </a:lnTo>
                      <a:lnTo>
                        <a:pt x="227619" y="583626"/>
                      </a:lnTo>
                      <a:lnTo>
                        <a:pt x="227036" y="584913"/>
                      </a:lnTo>
                      <a:lnTo>
                        <a:pt x="226939" y="586492"/>
                      </a:lnTo>
                      <a:lnTo>
                        <a:pt x="227036" y="588447"/>
                      </a:lnTo>
                      <a:lnTo>
                        <a:pt x="226818" y="590001"/>
                      </a:lnTo>
                      <a:lnTo>
                        <a:pt x="226296" y="591604"/>
                      </a:lnTo>
                      <a:lnTo>
                        <a:pt x="225604" y="592466"/>
                      </a:lnTo>
                      <a:lnTo>
                        <a:pt x="224414" y="593595"/>
                      </a:lnTo>
                      <a:lnTo>
                        <a:pt x="223199" y="594421"/>
                      </a:lnTo>
                      <a:lnTo>
                        <a:pt x="211263" y="600590"/>
                      </a:lnTo>
                      <a:lnTo>
                        <a:pt x="208895" y="601027"/>
                      </a:lnTo>
                      <a:lnTo>
                        <a:pt x="190644" y="601974"/>
                      </a:lnTo>
                      <a:lnTo>
                        <a:pt x="187256" y="601136"/>
                      </a:lnTo>
                      <a:lnTo>
                        <a:pt x="175660" y="595393"/>
                      </a:lnTo>
                      <a:lnTo>
                        <a:pt x="173134" y="594761"/>
                      </a:lnTo>
                      <a:lnTo>
                        <a:pt x="169054" y="594907"/>
                      </a:lnTo>
                      <a:lnTo>
                        <a:pt x="167730" y="594761"/>
                      </a:lnTo>
                      <a:lnTo>
                        <a:pt x="165836" y="594020"/>
                      </a:lnTo>
                      <a:lnTo>
                        <a:pt x="160044" y="589600"/>
                      </a:lnTo>
                      <a:lnTo>
                        <a:pt x="158028" y="586808"/>
                      </a:lnTo>
                      <a:lnTo>
                        <a:pt x="156826" y="584610"/>
                      </a:lnTo>
                      <a:lnTo>
                        <a:pt x="155660" y="581732"/>
                      </a:lnTo>
                      <a:lnTo>
                        <a:pt x="144877" y="567355"/>
                      </a:lnTo>
                      <a:lnTo>
                        <a:pt x="139073" y="563675"/>
                      </a:lnTo>
                      <a:lnTo>
                        <a:pt x="133742" y="561064"/>
                      </a:lnTo>
                      <a:lnTo>
                        <a:pt x="126736" y="559510"/>
                      </a:lnTo>
                      <a:lnTo>
                        <a:pt x="127877" y="556669"/>
                      </a:lnTo>
                      <a:lnTo>
                        <a:pt x="129092" y="552686"/>
                      </a:lnTo>
                      <a:lnTo>
                        <a:pt x="129541" y="551520"/>
                      </a:lnTo>
                      <a:lnTo>
                        <a:pt x="130233" y="550318"/>
                      </a:lnTo>
                      <a:lnTo>
                        <a:pt x="130816" y="549577"/>
                      </a:lnTo>
                      <a:lnTo>
                        <a:pt x="131617" y="549007"/>
                      </a:lnTo>
                      <a:lnTo>
                        <a:pt x="134835" y="547537"/>
                      </a:lnTo>
                      <a:lnTo>
                        <a:pt x="135977" y="546797"/>
                      </a:lnTo>
                      <a:lnTo>
                        <a:pt x="137300" y="545728"/>
                      </a:lnTo>
                      <a:lnTo>
                        <a:pt x="140506" y="541879"/>
                      </a:lnTo>
                      <a:lnTo>
                        <a:pt x="142934" y="539790"/>
                      </a:lnTo>
                      <a:lnTo>
                        <a:pt x="143967" y="539438"/>
                      </a:lnTo>
                      <a:lnTo>
                        <a:pt x="149577" y="539669"/>
                      </a:lnTo>
                      <a:lnTo>
                        <a:pt x="151714" y="539414"/>
                      </a:lnTo>
                      <a:lnTo>
                        <a:pt x="153208" y="538867"/>
                      </a:lnTo>
                      <a:lnTo>
                        <a:pt x="154640" y="538054"/>
                      </a:lnTo>
                      <a:lnTo>
                        <a:pt x="158429" y="534326"/>
                      </a:lnTo>
                      <a:lnTo>
                        <a:pt x="168143" y="527647"/>
                      </a:lnTo>
                      <a:lnTo>
                        <a:pt x="169333" y="526324"/>
                      </a:lnTo>
                      <a:lnTo>
                        <a:pt x="170317" y="524648"/>
                      </a:lnTo>
                      <a:lnTo>
                        <a:pt x="173353" y="514666"/>
                      </a:lnTo>
                      <a:lnTo>
                        <a:pt x="174166" y="512881"/>
                      </a:lnTo>
                      <a:lnTo>
                        <a:pt x="175138" y="511424"/>
                      </a:lnTo>
                      <a:lnTo>
                        <a:pt x="176461" y="510101"/>
                      </a:lnTo>
                      <a:lnTo>
                        <a:pt x="177845" y="509323"/>
                      </a:lnTo>
                      <a:lnTo>
                        <a:pt x="181160" y="508170"/>
                      </a:lnTo>
                      <a:lnTo>
                        <a:pt x="182375" y="507113"/>
                      </a:lnTo>
                      <a:lnTo>
                        <a:pt x="184390" y="504661"/>
                      </a:lnTo>
                      <a:lnTo>
                        <a:pt x="185823" y="503434"/>
                      </a:lnTo>
                      <a:lnTo>
                        <a:pt x="193158" y="498237"/>
                      </a:lnTo>
                      <a:lnTo>
                        <a:pt x="195526" y="495857"/>
                      </a:lnTo>
                      <a:lnTo>
                        <a:pt x="197298" y="493477"/>
                      </a:lnTo>
                      <a:lnTo>
                        <a:pt x="198391" y="491182"/>
                      </a:lnTo>
                      <a:lnTo>
                        <a:pt x="198634" y="489020"/>
                      </a:lnTo>
                      <a:lnTo>
                        <a:pt x="198161" y="486640"/>
                      </a:lnTo>
                      <a:lnTo>
                        <a:pt x="197250" y="484321"/>
                      </a:lnTo>
                      <a:lnTo>
                        <a:pt x="195465" y="480691"/>
                      </a:lnTo>
                      <a:lnTo>
                        <a:pt x="194773" y="478371"/>
                      </a:lnTo>
                      <a:lnTo>
                        <a:pt x="194433" y="474412"/>
                      </a:lnTo>
                      <a:lnTo>
                        <a:pt x="193631" y="472858"/>
                      </a:lnTo>
                      <a:lnTo>
                        <a:pt x="192077" y="471450"/>
                      </a:lnTo>
                      <a:lnTo>
                        <a:pt x="187025" y="469094"/>
                      </a:lnTo>
                      <a:lnTo>
                        <a:pt x="185253" y="468523"/>
                      </a:lnTo>
                      <a:lnTo>
                        <a:pt x="183468" y="468329"/>
                      </a:lnTo>
                      <a:lnTo>
                        <a:pt x="181743" y="468292"/>
                      </a:lnTo>
                      <a:lnTo>
                        <a:pt x="179728" y="468487"/>
                      </a:lnTo>
                      <a:lnTo>
                        <a:pt x="179400" y="468608"/>
                      </a:lnTo>
                      <a:lnTo>
                        <a:pt x="178064" y="469240"/>
                      </a:lnTo>
                      <a:lnTo>
                        <a:pt x="176570" y="469762"/>
                      </a:lnTo>
                      <a:lnTo>
                        <a:pt x="174798" y="469762"/>
                      </a:lnTo>
                      <a:lnTo>
                        <a:pt x="173073" y="469507"/>
                      </a:lnTo>
                      <a:lnTo>
                        <a:pt x="169904" y="468523"/>
                      </a:lnTo>
                      <a:lnTo>
                        <a:pt x="168653" y="467916"/>
                      </a:lnTo>
                      <a:lnTo>
                        <a:pt x="162388" y="463994"/>
                      </a:lnTo>
                      <a:lnTo>
                        <a:pt x="160785" y="463727"/>
                      </a:lnTo>
                      <a:lnTo>
                        <a:pt x="159983" y="464395"/>
                      </a:lnTo>
                      <a:lnTo>
                        <a:pt x="159922" y="465451"/>
                      </a:lnTo>
                      <a:lnTo>
                        <a:pt x="160384" y="468523"/>
                      </a:lnTo>
                      <a:lnTo>
                        <a:pt x="160384" y="468778"/>
                      </a:lnTo>
                      <a:lnTo>
                        <a:pt x="160153" y="469215"/>
                      </a:lnTo>
                      <a:lnTo>
                        <a:pt x="159582" y="469871"/>
                      </a:lnTo>
                      <a:lnTo>
                        <a:pt x="158429" y="470308"/>
                      </a:lnTo>
                      <a:lnTo>
                        <a:pt x="157117" y="470357"/>
                      </a:lnTo>
                      <a:lnTo>
                        <a:pt x="155721" y="469895"/>
                      </a:lnTo>
                      <a:lnTo>
                        <a:pt x="154689" y="469410"/>
                      </a:lnTo>
                      <a:lnTo>
                        <a:pt x="153900" y="468778"/>
                      </a:lnTo>
                      <a:lnTo>
                        <a:pt x="153317" y="467831"/>
                      </a:lnTo>
                      <a:lnTo>
                        <a:pt x="152576" y="466022"/>
                      </a:lnTo>
                      <a:lnTo>
                        <a:pt x="151483" y="462087"/>
                      </a:lnTo>
                      <a:lnTo>
                        <a:pt x="150609" y="456526"/>
                      </a:lnTo>
                      <a:lnTo>
                        <a:pt x="150050" y="454195"/>
                      </a:lnTo>
                      <a:lnTo>
                        <a:pt x="149018" y="451790"/>
                      </a:lnTo>
                      <a:lnTo>
                        <a:pt x="147002" y="449459"/>
                      </a:lnTo>
                      <a:lnTo>
                        <a:pt x="140737" y="444177"/>
                      </a:lnTo>
                      <a:lnTo>
                        <a:pt x="137762" y="439672"/>
                      </a:lnTo>
                      <a:lnTo>
                        <a:pt x="136086" y="431572"/>
                      </a:lnTo>
                      <a:lnTo>
                        <a:pt x="138223" y="423048"/>
                      </a:lnTo>
                      <a:lnTo>
                        <a:pt x="139595" y="407347"/>
                      </a:lnTo>
                      <a:lnTo>
                        <a:pt x="137640" y="397657"/>
                      </a:lnTo>
                      <a:lnTo>
                        <a:pt x="136547" y="394937"/>
                      </a:lnTo>
                      <a:lnTo>
                        <a:pt x="135236" y="392873"/>
                      </a:lnTo>
                      <a:lnTo>
                        <a:pt x="133160" y="391695"/>
                      </a:lnTo>
                      <a:lnTo>
                        <a:pt x="132127" y="391525"/>
                      </a:lnTo>
                      <a:lnTo>
                        <a:pt x="130816" y="392096"/>
                      </a:lnTo>
                      <a:lnTo>
                        <a:pt x="126165" y="396843"/>
                      </a:lnTo>
                      <a:lnTo>
                        <a:pt x="125012" y="397584"/>
                      </a:lnTo>
                      <a:lnTo>
                        <a:pt x="124149" y="397608"/>
                      </a:lnTo>
                      <a:lnTo>
                        <a:pt x="123117" y="396807"/>
                      </a:lnTo>
                      <a:lnTo>
                        <a:pt x="122364" y="395350"/>
                      </a:lnTo>
                      <a:lnTo>
                        <a:pt x="121794" y="392812"/>
                      </a:lnTo>
                      <a:lnTo>
                        <a:pt x="121794" y="390347"/>
                      </a:lnTo>
                      <a:lnTo>
                        <a:pt x="122024" y="388392"/>
                      </a:lnTo>
                      <a:lnTo>
                        <a:pt x="123239" y="383085"/>
                      </a:lnTo>
                      <a:lnTo>
                        <a:pt x="123397" y="381167"/>
                      </a:lnTo>
                      <a:lnTo>
                        <a:pt x="123336" y="379406"/>
                      </a:lnTo>
                      <a:lnTo>
                        <a:pt x="123178" y="377682"/>
                      </a:lnTo>
                      <a:lnTo>
                        <a:pt x="123117" y="376103"/>
                      </a:lnTo>
                      <a:lnTo>
                        <a:pt x="123336" y="374585"/>
                      </a:lnTo>
                      <a:lnTo>
                        <a:pt x="124149" y="373007"/>
                      </a:lnTo>
                      <a:lnTo>
                        <a:pt x="125181" y="371574"/>
                      </a:lnTo>
                      <a:lnTo>
                        <a:pt x="130974" y="365539"/>
                      </a:lnTo>
                      <a:lnTo>
                        <a:pt x="133160" y="362734"/>
                      </a:lnTo>
                      <a:lnTo>
                        <a:pt x="134204" y="360852"/>
                      </a:lnTo>
                      <a:lnTo>
                        <a:pt x="135054" y="358909"/>
                      </a:lnTo>
                      <a:lnTo>
                        <a:pt x="135297" y="357355"/>
                      </a:lnTo>
                      <a:lnTo>
                        <a:pt x="135114" y="356322"/>
                      </a:lnTo>
                      <a:lnTo>
                        <a:pt x="131848" y="350008"/>
                      </a:lnTo>
                      <a:lnTo>
                        <a:pt x="131338" y="347713"/>
                      </a:lnTo>
                      <a:lnTo>
                        <a:pt x="131095" y="345588"/>
                      </a:lnTo>
                      <a:lnTo>
                        <a:pt x="130694" y="343487"/>
                      </a:lnTo>
                      <a:lnTo>
                        <a:pt x="129784" y="342055"/>
                      </a:lnTo>
                      <a:lnTo>
                        <a:pt x="127877" y="341132"/>
                      </a:lnTo>
                      <a:lnTo>
                        <a:pt x="126554" y="341168"/>
                      </a:lnTo>
                      <a:lnTo>
                        <a:pt x="125291" y="341593"/>
                      </a:lnTo>
                      <a:lnTo>
                        <a:pt x="122935" y="343087"/>
                      </a:lnTo>
                      <a:lnTo>
                        <a:pt x="121745" y="343609"/>
                      </a:lnTo>
                      <a:lnTo>
                        <a:pt x="119839" y="344155"/>
                      </a:lnTo>
                      <a:lnTo>
                        <a:pt x="118916" y="344520"/>
                      </a:lnTo>
                      <a:lnTo>
                        <a:pt x="118005" y="345127"/>
                      </a:lnTo>
                      <a:lnTo>
                        <a:pt x="117483" y="345892"/>
                      </a:lnTo>
                      <a:lnTo>
                        <a:pt x="117155" y="346669"/>
                      </a:lnTo>
                      <a:lnTo>
                        <a:pt x="116973" y="347859"/>
                      </a:lnTo>
                      <a:lnTo>
                        <a:pt x="116973" y="350178"/>
                      </a:lnTo>
                      <a:lnTo>
                        <a:pt x="117835" y="354537"/>
                      </a:lnTo>
                      <a:lnTo>
                        <a:pt x="117665" y="355715"/>
                      </a:lnTo>
                      <a:lnTo>
                        <a:pt x="117252" y="356383"/>
                      </a:lnTo>
                      <a:lnTo>
                        <a:pt x="116633" y="356978"/>
                      </a:lnTo>
                      <a:lnTo>
                        <a:pt x="115880" y="357015"/>
                      </a:lnTo>
                      <a:lnTo>
                        <a:pt x="114787" y="356784"/>
                      </a:lnTo>
                      <a:lnTo>
                        <a:pt x="103191" y="352024"/>
                      </a:lnTo>
                      <a:lnTo>
                        <a:pt x="101515" y="351696"/>
                      </a:lnTo>
                      <a:lnTo>
                        <a:pt x="99864" y="351611"/>
                      </a:lnTo>
                      <a:lnTo>
                        <a:pt x="98479" y="351757"/>
                      </a:lnTo>
                      <a:lnTo>
                        <a:pt x="94120" y="352619"/>
                      </a:lnTo>
                      <a:lnTo>
                        <a:pt x="92626" y="352680"/>
                      </a:lnTo>
                      <a:lnTo>
                        <a:pt x="91242" y="352473"/>
                      </a:lnTo>
                      <a:lnTo>
                        <a:pt x="89518" y="351842"/>
                      </a:lnTo>
                      <a:lnTo>
                        <a:pt x="87623" y="350494"/>
                      </a:lnTo>
                      <a:lnTo>
                        <a:pt x="85899" y="348648"/>
                      </a:lnTo>
                      <a:lnTo>
                        <a:pt x="84187" y="345321"/>
                      </a:lnTo>
                      <a:lnTo>
                        <a:pt x="81941" y="338897"/>
                      </a:lnTo>
                      <a:lnTo>
                        <a:pt x="79985" y="334696"/>
                      </a:lnTo>
                      <a:lnTo>
                        <a:pt x="79658" y="332874"/>
                      </a:lnTo>
                      <a:lnTo>
                        <a:pt x="79755" y="331405"/>
                      </a:lnTo>
                      <a:lnTo>
                        <a:pt x="80228" y="329827"/>
                      </a:lnTo>
                      <a:lnTo>
                        <a:pt x="82281" y="324192"/>
                      </a:lnTo>
                      <a:lnTo>
                        <a:pt x="82693" y="322359"/>
                      </a:lnTo>
                      <a:lnTo>
                        <a:pt x="82402" y="320173"/>
                      </a:lnTo>
                      <a:lnTo>
                        <a:pt x="81661" y="317817"/>
                      </a:lnTo>
                      <a:lnTo>
                        <a:pt x="78261" y="309924"/>
                      </a:lnTo>
                      <a:lnTo>
                        <a:pt x="75456" y="306427"/>
                      </a:lnTo>
                      <a:lnTo>
                        <a:pt x="49215" y="283173"/>
                      </a:lnTo>
                      <a:lnTo>
                        <a:pt x="46119" y="279008"/>
                      </a:lnTo>
                      <a:lnTo>
                        <a:pt x="44625" y="276130"/>
                      </a:lnTo>
                      <a:lnTo>
                        <a:pt x="43581" y="273496"/>
                      </a:lnTo>
                      <a:lnTo>
                        <a:pt x="43010" y="270533"/>
                      </a:lnTo>
                      <a:lnTo>
                        <a:pt x="42792" y="267922"/>
                      </a:lnTo>
                      <a:lnTo>
                        <a:pt x="42889" y="260005"/>
                      </a:lnTo>
                      <a:lnTo>
                        <a:pt x="42610" y="257321"/>
                      </a:lnTo>
                      <a:lnTo>
                        <a:pt x="41857" y="255488"/>
                      </a:lnTo>
                      <a:lnTo>
                        <a:pt x="40545" y="253970"/>
                      </a:lnTo>
                      <a:lnTo>
                        <a:pt x="33879" y="250290"/>
                      </a:lnTo>
                      <a:lnTo>
                        <a:pt x="30892" y="247655"/>
                      </a:lnTo>
                      <a:lnTo>
                        <a:pt x="29459" y="246696"/>
                      </a:lnTo>
                      <a:lnTo>
                        <a:pt x="27734" y="246210"/>
                      </a:lnTo>
                      <a:lnTo>
                        <a:pt x="18032" y="245640"/>
                      </a:lnTo>
                      <a:lnTo>
                        <a:pt x="7978" y="242567"/>
                      </a:lnTo>
                      <a:lnTo>
                        <a:pt x="12349" y="230995"/>
                      </a:lnTo>
                      <a:lnTo>
                        <a:pt x="13551" y="228554"/>
                      </a:lnTo>
                      <a:lnTo>
                        <a:pt x="16138" y="224280"/>
                      </a:lnTo>
                      <a:lnTo>
                        <a:pt x="21250" y="218622"/>
                      </a:lnTo>
                      <a:lnTo>
                        <a:pt x="22064" y="217164"/>
                      </a:lnTo>
                      <a:lnTo>
                        <a:pt x="22683" y="215440"/>
                      </a:lnTo>
                      <a:lnTo>
                        <a:pt x="22744" y="212999"/>
                      </a:lnTo>
                      <a:lnTo>
                        <a:pt x="22683" y="211445"/>
                      </a:lnTo>
                      <a:lnTo>
                        <a:pt x="22865" y="209721"/>
                      </a:lnTo>
                      <a:lnTo>
                        <a:pt x="23654" y="208033"/>
                      </a:lnTo>
                      <a:lnTo>
                        <a:pt x="28609" y="201658"/>
                      </a:lnTo>
                      <a:lnTo>
                        <a:pt x="29459" y="200104"/>
                      </a:lnTo>
                      <a:lnTo>
                        <a:pt x="29920" y="198561"/>
                      </a:lnTo>
                      <a:lnTo>
                        <a:pt x="29641" y="196631"/>
                      </a:lnTo>
                      <a:lnTo>
                        <a:pt x="28949" y="194797"/>
                      </a:lnTo>
                      <a:lnTo>
                        <a:pt x="26593" y="191300"/>
                      </a:lnTo>
                      <a:lnTo>
                        <a:pt x="23885" y="188191"/>
                      </a:lnTo>
                      <a:lnTo>
                        <a:pt x="22622" y="186467"/>
                      </a:lnTo>
                      <a:lnTo>
                        <a:pt x="21420" y="184378"/>
                      </a:lnTo>
                      <a:lnTo>
                        <a:pt x="19417" y="179521"/>
                      </a:lnTo>
                      <a:lnTo>
                        <a:pt x="18894" y="177590"/>
                      </a:lnTo>
                      <a:lnTo>
                        <a:pt x="18712" y="176109"/>
                      </a:lnTo>
                      <a:lnTo>
                        <a:pt x="18773" y="174701"/>
                      </a:lnTo>
                      <a:lnTo>
                        <a:pt x="19016" y="173438"/>
                      </a:lnTo>
                      <a:lnTo>
                        <a:pt x="19465" y="172345"/>
                      </a:lnTo>
                      <a:lnTo>
                        <a:pt x="20097" y="171337"/>
                      </a:lnTo>
                      <a:lnTo>
                        <a:pt x="21068" y="170450"/>
                      </a:lnTo>
                      <a:lnTo>
                        <a:pt x="23776" y="168581"/>
                      </a:lnTo>
                      <a:lnTo>
                        <a:pt x="26872" y="166832"/>
                      </a:lnTo>
                      <a:lnTo>
                        <a:pt x="42889" y="165083"/>
                      </a:lnTo>
                      <a:lnTo>
                        <a:pt x="45827" y="164768"/>
                      </a:lnTo>
                      <a:lnTo>
                        <a:pt x="64260" y="167573"/>
                      </a:lnTo>
                      <a:lnTo>
                        <a:pt x="75286" y="169758"/>
                      </a:lnTo>
                      <a:lnTo>
                        <a:pt x="85438" y="169333"/>
                      </a:lnTo>
                      <a:lnTo>
                        <a:pt x="88789" y="168265"/>
                      </a:lnTo>
                      <a:lnTo>
                        <a:pt x="92566" y="163565"/>
                      </a:lnTo>
                      <a:lnTo>
                        <a:pt x="96464" y="162521"/>
                      </a:lnTo>
                      <a:lnTo>
                        <a:pt x="98479" y="162788"/>
                      </a:lnTo>
                      <a:lnTo>
                        <a:pt x="102450" y="163784"/>
                      </a:lnTo>
                      <a:lnTo>
                        <a:pt x="104162" y="164015"/>
                      </a:lnTo>
                      <a:lnTo>
                        <a:pt x="106178" y="163784"/>
                      </a:lnTo>
                      <a:lnTo>
                        <a:pt x="109796" y="162788"/>
                      </a:lnTo>
                      <a:lnTo>
                        <a:pt x="117034" y="162266"/>
                      </a:lnTo>
                      <a:lnTo>
                        <a:pt x="120749" y="161319"/>
                      </a:lnTo>
                      <a:lnTo>
                        <a:pt x="123688" y="159279"/>
                      </a:lnTo>
                      <a:lnTo>
                        <a:pt x="125922" y="155867"/>
                      </a:lnTo>
                      <a:lnTo>
                        <a:pt x="128399" y="154653"/>
                      </a:lnTo>
                      <a:lnTo>
                        <a:pt x="130233" y="153487"/>
                      </a:lnTo>
                      <a:lnTo>
                        <a:pt x="130913" y="152795"/>
                      </a:lnTo>
                      <a:lnTo>
                        <a:pt x="131435" y="151993"/>
                      </a:lnTo>
                      <a:lnTo>
                        <a:pt x="131897" y="151119"/>
                      </a:lnTo>
                      <a:lnTo>
                        <a:pt x="134544" y="144550"/>
                      </a:lnTo>
                      <a:lnTo>
                        <a:pt x="135236" y="143773"/>
                      </a:lnTo>
                      <a:lnTo>
                        <a:pt x="136377" y="143311"/>
                      </a:lnTo>
                      <a:lnTo>
                        <a:pt x="137871" y="144149"/>
                      </a:lnTo>
                      <a:lnTo>
                        <a:pt x="140567" y="146335"/>
                      </a:lnTo>
                      <a:lnTo>
                        <a:pt x="146541" y="158623"/>
                      </a:lnTo>
                      <a:lnTo>
                        <a:pt x="150281" y="170196"/>
                      </a:lnTo>
                      <a:lnTo>
                        <a:pt x="152406" y="174069"/>
                      </a:lnTo>
                      <a:lnTo>
                        <a:pt x="154750" y="176133"/>
                      </a:lnTo>
                      <a:lnTo>
                        <a:pt x="156826" y="177032"/>
                      </a:lnTo>
                      <a:lnTo>
                        <a:pt x="158490" y="176741"/>
                      </a:lnTo>
                      <a:lnTo>
                        <a:pt x="159582" y="175648"/>
                      </a:lnTo>
                      <a:lnTo>
                        <a:pt x="160262" y="174008"/>
                      </a:lnTo>
                      <a:lnTo>
                        <a:pt x="160493" y="172248"/>
                      </a:lnTo>
                      <a:lnTo>
                        <a:pt x="160554" y="170681"/>
                      </a:lnTo>
                      <a:lnTo>
                        <a:pt x="160833" y="169443"/>
                      </a:lnTo>
                      <a:lnTo>
                        <a:pt x="161756" y="168811"/>
                      </a:lnTo>
                      <a:lnTo>
                        <a:pt x="163250" y="168957"/>
                      </a:lnTo>
                      <a:lnTo>
                        <a:pt x="164051" y="169904"/>
                      </a:lnTo>
                      <a:lnTo>
                        <a:pt x="164282" y="171458"/>
                      </a:lnTo>
                      <a:lnTo>
                        <a:pt x="164233" y="173292"/>
                      </a:lnTo>
                      <a:lnTo>
                        <a:pt x="164974" y="175065"/>
                      </a:lnTo>
                      <a:lnTo>
                        <a:pt x="166468" y="175818"/>
                      </a:lnTo>
                      <a:lnTo>
                        <a:pt x="168022" y="175648"/>
                      </a:lnTo>
                      <a:lnTo>
                        <a:pt x="169163" y="174616"/>
                      </a:lnTo>
                      <a:lnTo>
                        <a:pt x="169455" y="172952"/>
                      </a:lnTo>
                      <a:lnTo>
                        <a:pt x="169115" y="168933"/>
                      </a:lnTo>
                      <a:lnTo>
                        <a:pt x="169333" y="167378"/>
                      </a:lnTo>
                      <a:lnTo>
                        <a:pt x="170365" y="166747"/>
                      </a:lnTo>
                      <a:lnTo>
                        <a:pt x="172090" y="166516"/>
                      </a:lnTo>
                      <a:lnTo>
                        <a:pt x="174506" y="166941"/>
                      </a:lnTo>
                      <a:lnTo>
                        <a:pt x="176170" y="166625"/>
                      </a:lnTo>
                      <a:lnTo>
                        <a:pt x="177384" y="165933"/>
                      </a:lnTo>
                      <a:lnTo>
                        <a:pt x="178647" y="165654"/>
                      </a:lnTo>
                      <a:lnTo>
                        <a:pt x="180080" y="166201"/>
                      </a:lnTo>
                      <a:lnTo>
                        <a:pt x="181513" y="167208"/>
                      </a:lnTo>
                      <a:lnTo>
                        <a:pt x="182715" y="167488"/>
                      </a:lnTo>
                      <a:lnTo>
                        <a:pt x="184038" y="166941"/>
                      </a:lnTo>
                      <a:lnTo>
                        <a:pt x="185933" y="164707"/>
                      </a:lnTo>
                      <a:lnTo>
                        <a:pt x="187305" y="164245"/>
                      </a:lnTo>
                      <a:lnTo>
                        <a:pt x="189600" y="164877"/>
                      </a:lnTo>
                      <a:lnTo>
                        <a:pt x="191215" y="166431"/>
                      </a:lnTo>
                      <a:lnTo>
                        <a:pt x="193218" y="170426"/>
                      </a:lnTo>
                      <a:lnTo>
                        <a:pt x="193340" y="176874"/>
                      </a:lnTo>
                      <a:lnTo>
                        <a:pt x="192077" y="178295"/>
                      </a:lnTo>
                      <a:lnTo>
                        <a:pt x="190814" y="180723"/>
                      </a:lnTo>
                      <a:lnTo>
                        <a:pt x="191276" y="182302"/>
                      </a:lnTo>
                      <a:lnTo>
                        <a:pt x="195866" y="186783"/>
                      </a:lnTo>
                      <a:lnTo>
                        <a:pt x="198513" y="190693"/>
                      </a:lnTo>
                      <a:lnTo>
                        <a:pt x="201038" y="193267"/>
                      </a:lnTo>
                      <a:lnTo>
                        <a:pt x="203783" y="195307"/>
                      </a:lnTo>
                      <a:lnTo>
                        <a:pt x="209199" y="198015"/>
                      </a:lnTo>
                      <a:lnTo>
                        <a:pt x="213837" y="201549"/>
                      </a:lnTo>
                      <a:lnTo>
                        <a:pt x="215039" y="203212"/>
                      </a:lnTo>
                      <a:lnTo>
                        <a:pt x="216193" y="205191"/>
                      </a:lnTo>
                      <a:lnTo>
                        <a:pt x="217577" y="206746"/>
                      </a:lnTo>
                      <a:lnTo>
                        <a:pt x="220844" y="209320"/>
                      </a:lnTo>
                      <a:lnTo>
                        <a:pt x="223199" y="210243"/>
                      </a:lnTo>
                      <a:lnTo>
                        <a:pt x="225494" y="210461"/>
                      </a:lnTo>
                      <a:lnTo>
                        <a:pt x="227498" y="210158"/>
                      </a:lnTo>
                      <a:lnTo>
                        <a:pt x="229684" y="209296"/>
                      </a:lnTo>
                      <a:lnTo>
                        <a:pt x="233581" y="205617"/>
                      </a:lnTo>
                      <a:lnTo>
                        <a:pt x="234104" y="204244"/>
                      </a:lnTo>
                      <a:lnTo>
                        <a:pt x="234517" y="202459"/>
                      </a:lnTo>
                      <a:lnTo>
                        <a:pt x="235439" y="200395"/>
                      </a:lnTo>
                      <a:lnTo>
                        <a:pt x="239847" y="196521"/>
                      </a:lnTo>
                      <a:lnTo>
                        <a:pt x="241062" y="194457"/>
                      </a:lnTo>
                      <a:lnTo>
                        <a:pt x="241924" y="192441"/>
                      </a:lnTo>
                      <a:lnTo>
                        <a:pt x="242677" y="192004"/>
                      </a:lnTo>
                      <a:lnTo>
                        <a:pt x="243757" y="192587"/>
                      </a:lnTo>
                      <a:lnTo>
                        <a:pt x="245360" y="193741"/>
                      </a:lnTo>
                      <a:lnTo>
                        <a:pt x="247206" y="194736"/>
                      </a:lnTo>
                      <a:lnTo>
                        <a:pt x="249319" y="194858"/>
                      </a:lnTo>
                      <a:lnTo>
                        <a:pt x="253302" y="195829"/>
                      </a:lnTo>
                      <a:lnTo>
                        <a:pt x="255645" y="195854"/>
                      </a:lnTo>
                      <a:lnTo>
                        <a:pt x="257017" y="194481"/>
                      </a:lnTo>
                      <a:lnTo>
                        <a:pt x="258972" y="188616"/>
                      </a:lnTo>
                      <a:lnTo>
                        <a:pt x="261389" y="184803"/>
                      </a:lnTo>
                      <a:lnTo>
                        <a:pt x="264424" y="182278"/>
                      </a:lnTo>
                      <a:lnTo>
                        <a:pt x="272524" y="177943"/>
                      </a:lnTo>
                      <a:lnTo>
                        <a:pt x="275232" y="176048"/>
                      </a:lnTo>
                      <a:lnTo>
                        <a:pt x="278049" y="174530"/>
                      </a:lnTo>
                      <a:lnTo>
                        <a:pt x="279931" y="173025"/>
                      </a:lnTo>
                      <a:lnTo>
                        <a:pt x="282117" y="171689"/>
                      </a:lnTo>
                      <a:lnTo>
                        <a:pt x="284885" y="171920"/>
                      </a:lnTo>
                      <a:lnTo>
                        <a:pt x="287181" y="174008"/>
                      </a:lnTo>
                      <a:lnTo>
                        <a:pt x="288953" y="183346"/>
                      </a:lnTo>
                      <a:lnTo>
                        <a:pt x="290629" y="184233"/>
                      </a:lnTo>
                      <a:lnTo>
                        <a:pt x="293556" y="183686"/>
                      </a:lnTo>
                      <a:lnTo>
                        <a:pt x="295219" y="182909"/>
                      </a:lnTo>
                      <a:lnTo>
                        <a:pt x="296713" y="183650"/>
                      </a:lnTo>
                      <a:lnTo>
                        <a:pt x="297235" y="185581"/>
                      </a:lnTo>
                      <a:lnTo>
                        <a:pt x="299068" y="196315"/>
                      </a:lnTo>
                      <a:lnTo>
                        <a:pt x="300331" y="198440"/>
                      </a:lnTo>
                      <a:lnTo>
                        <a:pt x="302808" y="200104"/>
                      </a:lnTo>
                      <a:lnTo>
                        <a:pt x="312680" y="201172"/>
                      </a:lnTo>
                      <a:lnTo>
                        <a:pt x="316469" y="200310"/>
                      </a:lnTo>
                      <a:lnTo>
                        <a:pt x="319675" y="198646"/>
                      </a:lnTo>
                      <a:lnTo>
                        <a:pt x="322783" y="196521"/>
                      </a:lnTo>
                      <a:lnTo>
                        <a:pt x="335024" y="192235"/>
                      </a:lnTo>
                      <a:lnTo>
                        <a:pt x="336238" y="192709"/>
                      </a:lnTo>
                      <a:lnTo>
                        <a:pt x="336517" y="194226"/>
                      </a:lnTo>
                      <a:lnTo>
                        <a:pt x="335485" y="199132"/>
                      </a:lnTo>
                      <a:lnTo>
                        <a:pt x="335351" y="201136"/>
                      </a:lnTo>
                      <a:lnTo>
                        <a:pt x="336578" y="202459"/>
                      </a:lnTo>
                      <a:lnTo>
                        <a:pt x="338193" y="201998"/>
                      </a:lnTo>
                      <a:lnTo>
                        <a:pt x="345309" y="195222"/>
                      </a:lnTo>
                      <a:lnTo>
                        <a:pt x="347944" y="193304"/>
                      </a:lnTo>
                      <a:lnTo>
                        <a:pt x="349486" y="191786"/>
                      </a:lnTo>
                      <a:lnTo>
                        <a:pt x="349959" y="190292"/>
                      </a:lnTo>
                      <a:lnTo>
                        <a:pt x="349547" y="188446"/>
                      </a:lnTo>
                      <a:lnTo>
                        <a:pt x="349959" y="186673"/>
                      </a:lnTo>
                      <a:lnTo>
                        <a:pt x="351963" y="184743"/>
                      </a:lnTo>
                      <a:lnTo>
                        <a:pt x="368854" y="178598"/>
                      </a:lnTo>
                      <a:lnTo>
                        <a:pt x="370797" y="177566"/>
                      </a:lnTo>
                      <a:lnTo>
                        <a:pt x="371719" y="176303"/>
                      </a:lnTo>
                      <a:lnTo>
                        <a:pt x="371963" y="174810"/>
                      </a:lnTo>
                      <a:lnTo>
                        <a:pt x="372533" y="173523"/>
                      </a:lnTo>
                      <a:lnTo>
                        <a:pt x="375277" y="172770"/>
                      </a:lnTo>
                      <a:lnTo>
                        <a:pt x="390177" y="171082"/>
                      </a:lnTo>
                      <a:lnTo>
                        <a:pt x="393334" y="169127"/>
                      </a:lnTo>
                      <a:lnTo>
                        <a:pt x="402283" y="169965"/>
                      </a:lnTo>
                      <a:lnTo>
                        <a:pt x="406691" y="169758"/>
                      </a:lnTo>
                      <a:lnTo>
                        <a:pt x="410383" y="169163"/>
                      </a:lnTo>
                      <a:lnTo>
                        <a:pt x="412836" y="169382"/>
                      </a:lnTo>
                      <a:lnTo>
                        <a:pt x="414730" y="170366"/>
                      </a:lnTo>
                      <a:lnTo>
                        <a:pt x="416928" y="171106"/>
                      </a:lnTo>
                      <a:lnTo>
                        <a:pt x="418652" y="170681"/>
                      </a:lnTo>
                      <a:lnTo>
                        <a:pt x="424347" y="165423"/>
                      </a:lnTo>
                      <a:lnTo>
                        <a:pt x="424966" y="164367"/>
                      </a:lnTo>
                      <a:lnTo>
                        <a:pt x="426812" y="162788"/>
                      </a:lnTo>
                      <a:lnTo>
                        <a:pt x="427565" y="161914"/>
                      </a:lnTo>
                      <a:lnTo>
                        <a:pt x="428403" y="159473"/>
                      </a:lnTo>
                      <a:lnTo>
                        <a:pt x="430151" y="159534"/>
                      </a:lnTo>
                      <a:lnTo>
                        <a:pt x="432908" y="160372"/>
                      </a:lnTo>
                      <a:lnTo>
                        <a:pt x="436187" y="161064"/>
                      </a:lnTo>
                      <a:lnTo>
                        <a:pt x="440655" y="161028"/>
                      </a:lnTo>
                      <a:lnTo>
                        <a:pt x="443120" y="159510"/>
                      </a:lnTo>
                      <a:lnTo>
                        <a:pt x="444152" y="157275"/>
                      </a:lnTo>
                      <a:lnTo>
                        <a:pt x="444152" y="149953"/>
                      </a:lnTo>
                      <a:lnTo>
                        <a:pt x="443837" y="147658"/>
                      </a:lnTo>
                      <a:lnTo>
                        <a:pt x="443254" y="145813"/>
                      </a:lnTo>
                      <a:lnTo>
                        <a:pt x="442088" y="144027"/>
                      </a:lnTo>
                      <a:lnTo>
                        <a:pt x="441347" y="142449"/>
                      </a:lnTo>
                      <a:lnTo>
                        <a:pt x="441347" y="141417"/>
                      </a:lnTo>
                      <a:lnTo>
                        <a:pt x="442841" y="140761"/>
                      </a:lnTo>
                      <a:lnTo>
                        <a:pt x="447649" y="139413"/>
                      </a:lnTo>
                      <a:lnTo>
                        <a:pt x="449155" y="137373"/>
                      </a:lnTo>
                      <a:lnTo>
                        <a:pt x="450066" y="134702"/>
                      </a:lnTo>
                      <a:lnTo>
                        <a:pt x="450649" y="128849"/>
                      </a:lnTo>
                      <a:lnTo>
                        <a:pt x="451402" y="126262"/>
                      </a:lnTo>
                      <a:lnTo>
                        <a:pt x="452762" y="123445"/>
                      </a:lnTo>
                      <a:lnTo>
                        <a:pt x="454717" y="120434"/>
                      </a:lnTo>
                      <a:lnTo>
                        <a:pt x="457194" y="117908"/>
                      </a:lnTo>
                      <a:lnTo>
                        <a:pt x="459877" y="117192"/>
                      </a:lnTo>
                      <a:lnTo>
                        <a:pt x="475797" y="117022"/>
                      </a:lnTo>
                      <a:lnTo>
                        <a:pt x="479185" y="118309"/>
                      </a:lnTo>
                      <a:lnTo>
                        <a:pt x="482342" y="120871"/>
                      </a:lnTo>
                      <a:lnTo>
                        <a:pt x="490902" y="131459"/>
                      </a:lnTo>
                      <a:lnTo>
                        <a:pt x="499852" y="130512"/>
                      </a:lnTo>
                      <a:lnTo>
                        <a:pt x="507781" y="125376"/>
                      </a:lnTo>
                      <a:lnTo>
                        <a:pt x="510878" y="122583"/>
                      </a:lnTo>
                      <a:lnTo>
                        <a:pt x="515006" y="121211"/>
                      </a:lnTo>
                      <a:lnTo>
                        <a:pt x="516269" y="123275"/>
                      </a:lnTo>
                      <a:lnTo>
                        <a:pt x="515759" y="124890"/>
                      </a:lnTo>
                      <a:lnTo>
                        <a:pt x="514605" y="126699"/>
                      </a:lnTo>
                      <a:lnTo>
                        <a:pt x="513683" y="128703"/>
                      </a:lnTo>
                      <a:lnTo>
                        <a:pt x="514533" y="129505"/>
                      </a:lnTo>
                      <a:lnTo>
                        <a:pt x="516609" y="129759"/>
                      </a:lnTo>
                      <a:lnTo>
                        <a:pt x="519584" y="129820"/>
                      </a:lnTo>
                      <a:lnTo>
                        <a:pt x="522754" y="130950"/>
                      </a:lnTo>
                      <a:lnTo>
                        <a:pt x="525802" y="133062"/>
                      </a:lnTo>
                      <a:lnTo>
                        <a:pt x="527684" y="136802"/>
                      </a:lnTo>
                      <a:lnTo>
                        <a:pt x="529529" y="151665"/>
                      </a:lnTo>
                      <a:lnTo>
                        <a:pt x="531071" y="154920"/>
                      </a:lnTo>
                      <a:lnTo>
                        <a:pt x="533136" y="157154"/>
                      </a:lnTo>
                      <a:lnTo>
                        <a:pt x="536536" y="159825"/>
                      </a:lnTo>
                      <a:lnTo>
                        <a:pt x="540215" y="160578"/>
                      </a:lnTo>
                      <a:lnTo>
                        <a:pt x="543360" y="160433"/>
                      </a:lnTo>
                      <a:lnTo>
                        <a:pt x="547562" y="157931"/>
                      </a:lnTo>
                      <a:lnTo>
                        <a:pt x="549395" y="157470"/>
                      </a:lnTo>
                      <a:lnTo>
                        <a:pt x="556693" y="160287"/>
                      </a:lnTo>
                      <a:lnTo>
                        <a:pt x="561987" y="160748"/>
                      </a:lnTo>
                      <a:lnTo>
                        <a:pt x="563141" y="162521"/>
                      </a:lnTo>
                      <a:lnTo>
                        <a:pt x="563833" y="164501"/>
                      </a:lnTo>
                      <a:lnTo>
                        <a:pt x="564610" y="170936"/>
                      </a:lnTo>
                      <a:lnTo>
                        <a:pt x="564392" y="172770"/>
                      </a:lnTo>
                      <a:lnTo>
                        <a:pt x="563481" y="174664"/>
                      </a:lnTo>
                      <a:lnTo>
                        <a:pt x="558599" y="180068"/>
                      </a:lnTo>
                      <a:lnTo>
                        <a:pt x="558320" y="181756"/>
                      </a:lnTo>
                      <a:lnTo>
                        <a:pt x="559352" y="183966"/>
                      </a:lnTo>
                      <a:lnTo>
                        <a:pt x="574118" y="191834"/>
                      </a:lnTo>
                      <a:lnTo>
                        <a:pt x="585593" y="200480"/>
                      </a:lnTo>
                      <a:lnTo>
                        <a:pt x="589795" y="202775"/>
                      </a:lnTo>
                      <a:lnTo>
                        <a:pt x="591847" y="202229"/>
                      </a:lnTo>
                      <a:lnTo>
                        <a:pt x="593170" y="200395"/>
                      </a:lnTo>
                      <a:lnTo>
                        <a:pt x="594142" y="198246"/>
                      </a:lnTo>
                      <a:lnTo>
                        <a:pt x="594421" y="196181"/>
                      </a:lnTo>
                      <a:lnTo>
                        <a:pt x="594033" y="194202"/>
                      </a:lnTo>
                      <a:lnTo>
                        <a:pt x="594263" y="192551"/>
                      </a:lnTo>
                      <a:lnTo>
                        <a:pt x="595186" y="190924"/>
                      </a:lnTo>
                      <a:lnTo>
                        <a:pt x="596619" y="190292"/>
                      </a:lnTo>
                      <a:lnTo>
                        <a:pt x="598683" y="188823"/>
                      </a:lnTo>
                      <a:lnTo>
                        <a:pt x="598489" y="181901"/>
                      </a:lnTo>
                      <a:lnTo>
                        <a:pt x="600237" y="175016"/>
                      </a:lnTo>
                      <a:lnTo>
                        <a:pt x="601962" y="172867"/>
                      </a:lnTo>
                      <a:lnTo>
                        <a:pt x="608094" y="167901"/>
                      </a:lnTo>
                      <a:lnTo>
                        <a:pt x="617359" y="158757"/>
                      </a:lnTo>
                      <a:lnTo>
                        <a:pt x="621439" y="158793"/>
                      </a:lnTo>
                      <a:lnTo>
                        <a:pt x="625446" y="160457"/>
                      </a:lnTo>
                      <a:lnTo>
                        <a:pt x="629283" y="162497"/>
                      </a:lnTo>
                      <a:lnTo>
                        <a:pt x="632574" y="162558"/>
                      </a:lnTo>
                      <a:lnTo>
                        <a:pt x="636873" y="161489"/>
                      </a:lnTo>
                      <a:lnTo>
                        <a:pt x="639228" y="161489"/>
                      </a:lnTo>
                      <a:lnTo>
                        <a:pt x="644037" y="159024"/>
                      </a:lnTo>
                      <a:lnTo>
                        <a:pt x="645895" y="154883"/>
                      </a:lnTo>
                      <a:lnTo>
                        <a:pt x="647255" y="153718"/>
                      </a:lnTo>
                      <a:lnTo>
                        <a:pt x="649137" y="153450"/>
                      </a:lnTo>
                      <a:lnTo>
                        <a:pt x="651554" y="154142"/>
                      </a:lnTo>
                      <a:lnTo>
                        <a:pt x="654079" y="155575"/>
                      </a:lnTo>
                      <a:lnTo>
                        <a:pt x="660005" y="160226"/>
                      </a:lnTo>
                      <a:lnTo>
                        <a:pt x="674407" y="164707"/>
                      </a:lnTo>
                      <a:lnTo>
                        <a:pt x="674807" y="163650"/>
                      </a:lnTo>
                      <a:lnTo>
                        <a:pt x="674407" y="159680"/>
                      </a:lnTo>
                      <a:lnTo>
                        <a:pt x="674601" y="158162"/>
                      </a:lnTo>
                      <a:lnTo>
                        <a:pt x="676325" y="155782"/>
                      </a:lnTo>
                      <a:lnTo>
                        <a:pt x="679191" y="151641"/>
                      </a:lnTo>
                      <a:lnTo>
                        <a:pt x="679652" y="148569"/>
                      </a:lnTo>
                      <a:lnTo>
                        <a:pt x="681085" y="148375"/>
                      </a:lnTo>
                      <a:lnTo>
                        <a:pt x="687800" y="150062"/>
                      </a:lnTo>
                      <a:lnTo>
                        <a:pt x="697515" y="153851"/>
                      </a:lnTo>
                      <a:lnTo>
                        <a:pt x="700660" y="154264"/>
                      </a:lnTo>
                      <a:lnTo>
                        <a:pt x="702967" y="153390"/>
                      </a:lnTo>
                      <a:lnTo>
                        <a:pt x="704460" y="151665"/>
                      </a:lnTo>
                      <a:lnTo>
                        <a:pt x="704776" y="147476"/>
                      </a:lnTo>
                      <a:lnTo>
                        <a:pt x="705492" y="144695"/>
                      </a:lnTo>
                      <a:lnTo>
                        <a:pt x="708079" y="137519"/>
                      </a:lnTo>
                      <a:lnTo>
                        <a:pt x="707557" y="131265"/>
                      </a:lnTo>
                      <a:lnTo>
                        <a:pt x="709633" y="122134"/>
                      </a:lnTo>
                      <a:lnTo>
                        <a:pt x="709330" y="119122"/>
                      </a:lnTo>
                      <a:lnTo>
                        <a:pt x="708431" y="117131"/>
                      </a:lnTo>
                      <a:lnTo>
                        <a:pt x="707848" y="115528"/>
                      </a:lnTo>
                      <a:lnTo>
                        <a:pt x="708431" y="114666"/>
                      </a:lnTo>
                      <a:lnTo>
                        <a:pt x="709645" y="113451"/>
                      </a:lnTo>
                      <a:lnTo>
                        <a:pt x="711127" y="111654"/>
                      </a:lnTo>
                      <a:lnTo>
                        <a:pt x="714333" y="105765"/>
                      </a:lnTo>
                      <a:lnTo>
                        <a:pt x="716069" y="103409"/>
                      </a:lnTo>
                      <a:lnTo>
                        <a:pt x="717441" y="101029"/>
                      </a:lnTo>
                      <a:lnTo>
                        <a:pt x="717903" y="98528"/>
                      </a:lnTo>
                      <a:lnTo>
                        <a:pt x="717113" y="77132"/>
                      </a:lnTo>
                      <a:lnTo>
                        <a:pt x="717854" y="74072"/>
                      </a:lnTo>
                      <a:lnTo>
                        <a:pt x="719117" y="71000"/>
                      </a:lnTo>
                      <a:lnTo>
                        <a:pt x="723379" y="65026"/>
                      </a:lnTo>
                      <a:lnTo>
                        <a:pt x="727738" y="60569"/>
                      </a:lnTo>
                      <a:lnTo>
                        <a:pt x="729863" y="58966"/>
                      </a:lnTo>
                      <a:lnTo>
                        <a:pt x="735704" y="56841"/>
                      </a:lnTo>
                      <a:lnTo>
                        <a:pt x="738363" y="57011"/>
                      </a:lnTo>
                      <a:lnTo>
                        <a:pt x="742771" y="58760"/>
                      </a:lnTo>
                      <a:lnTo>
                        <a:pt x="744095" y="58566"/>
                      </a:lnTo>
                      <a:lnTo>
                        <a:pt x="744957" y="56926"/>
                      </a:lnTo>
                      <a:lnTo>
                        <a:pt x="747701" y="45220"/>
                      </a:lnTo>
                      <a:lnTo>
                        <a:pt x="748163" y="41456"/>
                      </a:lnTo>
                      <a:lnTo>
                        <a:pt x="749826" y="36538"/>
                      </a:lnTo>
                      <a:lnTo>
                        <a:pt x="751830" y="34620"/>
                      </a:lnTo>
                      <a:lnTo>
                        <a:pt x="754198" y="33927"/>
                      </a:lnTo>
                      <a:lnTo>
                        <a:pt x="758387" y="33733"/>
                      </a:lnTo>
                      <a:lnTo>
                        <a:pt x="759249" y="33381"/>
                      </a:lnTo>
                      <a:lnTo>
                        <a:pt x="760451" y="32604"/>
                      </a:lnTo>
                      <a:lnTo>
                        <a:pt x="761775" y="31972"/>
                      </a:lnTo>
                      <a:lnTo>
                        <a:pt x="763329" y="32094"/>
                      </a:lnTo>
                      <a:lnTo>
                        <a:pt x="765673" y="33381"/>
                      </a:lnTo>
                      <a:lnTo>
                        <a:pt x="768660" y="34595"/>
                      </a:lnTo>
                      <a:lnTo>
                        <a:pt x="771368" y="35166"/>
                      </a:lnTo>
                      <a:lnTo>
                        <a:pt x="774513" y="33672"/>
                      </a:lnTo>
                      <a:lnTo>
                        <a:pt x="775739" y="30940"/>
                      </a:lnTo>
                      <a:lnTo>
                        <a:pt x="776881" y="25634"/>
                      </a:lnTo>
                      <a:lnTo>
                        <a:pt x="777865" y="24225"/>
                      </a:lnTo>
                      <a:lnTo>
                        <a:pt x="780390" y="22744"/>
                      </a:lnTo>
                      <a:lnTo>
                        <a:pt x="780572" y="21068"/>
                      </a:lnTo>
                      <a:lnTo>
                        <a:pt x="781313" y="18227"/>
                      </a:lnTo>
                      <a:lnTo>
                        <a:pt x="783389" y="14584"/>
                      </a:lnTo>
                      <a:lnTo>
                        <a:pt x="790566" y="8403"/>
                      </a:lnTo>
                      <a:lnTo>
                        <a:pt x="793177" y="6654"/>
                      </a:lnTo>
                      <a:moveTo>
                        <a:pt x="792254" y="0"/>
                      </a:moveTo>
                      <a:lnTo>
                        <a:pt x="789862" y="1554"/>
                      </a:lnTo>
                      <a:lnTo>
                        <a:pt x="787166" y="3303"/>
                      </a:lnTo>
                      <a:lnTo>
                        <a:pt x="786826" y="3534"/>
                      </a:lnTo>
                      <a:lnTo>
                        <a:pt x="786522" y="3801"/>
                      </a:lnTo>
                      <a:lnTo>
                        <a:pt x="779346" y="9982"/>
                      </a:lnTo>
                      <a:lnTo>
                        <a:pt x="778557" y="10674"/>
                      </a:lnTo>
                      <a:lnTo>
                        <a:pt x="778034" y="11584"/>
                      </a:lnTo>
                      <a:lnTo>
                        <a:pt x="775958" y="15227"/>
                      </a:lnTo>
                      <a:lnTo>
                        <a:pt x="775557" y="15932"/>
                      </a:lnTo>
                      <a:lnTo>
                        <a:pt x="775351" y="16709"/>
                      </a:lnTo>
                      <a:lnTo>
                        <a:pt x="774768" y="18967"/>
                      </a:lnTo>
                      <a:lnTo>
                        <a:pt x="774720" y="18992"/>
                      </a:lnTo>
                      <a:lnTo>
                        <a:pt x="773578" y="19659"/>
                      </a:lnTo>
                      <a:lnTo>
                        <a:pt x="772825" y="20740"/>
                      </a:lnTo>
                      <a:lnTo>
                        <a:pt x="771842" y="22149"/>
                      </a:lnTo>
                      <a:lnTo>
                        <a:pt x="771125" y="23157"/>
                      </a:lnTo>
                      <a:lnTo>
                        <a:pt x="770870" y="24359"/>
                      </a:lnTo>
                      <a:lnTo>
                        <a:pt x="769972" y="28597"/>
                      </a:lnTo>
                      <a:lnTo>
                        <a:pt x="768223" y="27892"/>
                      </a:lnTo>
                      <a:lnTo>
                        <a:pt x="766183" y="26775"/>
                      </a:lnTo>
                      <a:lnTo>
                        <a:pt x="765042" y="26156"/>
                      </a:lnTo>
                      <a:lnTo>
                        <a:pt x="763754" y="26047"/>
                      </a:lnTo>
                      <a:lnTo>
                        <a:pt x="762200" y="25925"/>
                      </a:lnTo>
                      <a:lnTo>
                        <a:pt x="760573" y="25792"/>
                      </a:lnTo>
                      <a:lnTo>
                        <a:pt x="759091" y="26496"/>
                      </a:lnTo>
                      <a:lnTo>
                        <a:pt x="757768" y="27127"/>
                      </a:lnTo>
                      <a:lnTo>
                        <a:pt x="757416" y="27297"/>
                      </a:lnTo>
                      <a:lnTo>
                        <a:pt x="757088" y="27516"/>
                      </a:lnTo>
                      <a:lnTo>
                        <a:pt x="756760" y="27735"/>
                      </a:lnTo>
                      <a:lnTo>
                        <a:pt x="753882" y="27868"/>
                      </a:lnTo>
                      <a:lnTo>
                        <a:pt x="753141" y="27905"/>
                      </a:lnTo>
                      <a:lnTo>
                        <a:pt x="752437" y="28111"/>
                      </a:lnTo>
                      <a:lnTo>
                        <a:pt x="750069" y="28803"/>
                      </a:lnTo>
                      <a:lnTo>
                        <a:pt x="748649" y="29216"/>
                      </a:lnTo>
                      <a:lnTo>
                        <a:pt x="747580" y="30248"/>
                      </a:lnTo>
                      <a:lnTo>
                        <a:pt x="745577" y="32167"/>
                      </a:lnTo>
                      <a:lnTo>
                        <a:pt x="744496" y="33199"/>
                      </a:lnTo>
                      <a:lnTo>
                        <a:pt x="744022" y="34607"/>
                      </a:lnTo>
                      <a:lnTo>
                        <a:pt x="742358" y="39525"/>
                      </a:lnTo>
                      <a:lnTo>
                        <a:pt x="742152" y="40108"/>
                      </a:lnTo>
                      <a:lnTo>
                        <a:pt x="742079" y="40727"/>
                      </a:lnTo>
                      <a:lnTo>
                        <a:pt x="741654" y="44176"/>
                      </a:lnTo>
                      <a:lnTo>
                        <a:pt x="740015" y="51183"/>
                      </a:lnTo>
                      <a:lnTo>
                        <a:pt x="739638" y="51037"/>
                      </a:lnTo>
                      <a:lnTo>
                        <a:pt x="738691" y="50976"/>
                      </a:lnTo>
                      <a:lnTo>
                        <a:pt x="736032" y="50806"/>
                      </a:lnTo>
                      <a:lnTo>
                        <a:pt x="734769" y="50721"/>
                      </a:lnTo>
                      <a:lnTo>
                        <a:pt x="733567" y="51158"/>
                      </a:lnTo>
                      <a:lnTo>
                        <a:pt x="727726" y="53283"/>
                      </a:lnTo>
                      <a:lnTo>
                        <a:pt x="726876" y="53599"/>
                      </a:lnTo>
                      <a:lnTo>
                        <a:pt x="726136" y="54158"/>
                      </a:lnTo>
                      <a:lnTo>
                        <a:pt x="724011" y="55760"/>
                      </a:lnTo>
                      <a:lnTo>
                        <a:pt x="723658" y="56028"/>
                      </a:lnTo>
                      <a:lnTo>
                        <a:pt x="723343" y="56343"/>
                      </a:lnTo>
                      <a:lnTo>
                        <a:pt x="718983" y="60800"/>
                      </a:lnTo>
                      <a:lnTo>
                        <a:pt x="718656" y="61140"/>
                      </a:lnTo>
                      <a:lnTo>
                        <a:pt x="718388" y="61528"/>
                      </a:lnTo>
                      <a:lnTo>
                        <a:pt x="714126" y="67503"/>
                      </a:lnTo>
                      <a:lnTo>
                        <a:pt x="713725" y="68061"/>
                      </a:lnTo>
                      <a:lnTo>
                        <a:pt x="713470" y="68705"/>
                      </a:lnTo>
                      <a:lnTo>
                        <a:pt x="712208" y="71777"/>
                      </a:lnTo>
                      <a:lnTo>
                        <a:pt x="712026" y="72214"/>
                      </a:lnTo>
                      <a:lnTo>
                        <a:pt x="711904" y="72675"/>
                      </a:lnTo>
                      <a:lnTo>
                        <a:pt x="711163" y="75735"/>
                      </a:lnTo>
                      <a:lnTo>
                        <a:pt x="710969" y="76537"/>
                      </a:lnTo>
                      <a:lnTo>
                        <a:pt x="710993" y="77375"/>
                      </a:lnTo>
                      <a:lnTo>
                        <a:pt x="711758" y="98103"/>
                      </a:lnTo>
                      <a:lnTo>
                        <a:pt x="711613" y="98917"/>
                      </a:lnTo>
                      <a:lnTo>
                        <a:pt x="710921" y="100106"/>
                      </a:lnTo>
                      <a:lnTo>
                        <a:pt x="709390" y="102183"/>
                      </a:lnTo>
                      <a:lnTo>
                        <a:pt x="709135" y="102523"/>
                      </a:lnTo>
                      <a:lnTo>
                        <a:pt x="708929" y="102887"/>
                      </a:lnTo>
                      <a:lnTo>
                        <a:pt x="706015" y="108266"/>
                      </a:lnTo>
                      <a:lnTo>
                        <a:pt x="704898" y="109614"/>
                      </a:lnTo>
                      <a:lnTo>
                        <a:pt x="704084" y="110391"/>
                      </a:lnTo>
                      <a:lnTo>
                        <a:pt x="703671" y="110817"/>
                      </a:lnTo>
                      <a:lnTo>
                        <a:pt x="703343" y="111302"/>
                      </a:lnTo>
                      <a:lnTo>
                        <a:pt x="702761" y="112164"/>
                      </a:lnTo>
                      <a:lnTo>
                        <a:pt x="701036" y="114727"/>
                      </a:lnTo>
                      <a:lnTo>
                        <a:pt x="702092" y="117617"/>
                      </a:lnTo>
                      <a:lnTo>
                        <a:pt x="702675" y="119219"/>
                      </a:lnTo>
                      <a:lnTo>
                        <a:pt x="703343" y="120725"/>
                      </a:lnTo>
                      <a:lnTo>
                        <a:pt x="703452" y="121782"/>
                      </a:lnTo>
                      <a:lnTo>
                        <a:pt x="701607" y="129942"/>
                      </a:lnTo>
                      <a:lnTo>
                        <a:pt x="701388" y="130852"/>
                      </a:lnTo>
                      <a:lnTo>
                        <a:pt x="701473" y="131787"/>
                      </a:lnTo>
                      <a:lnTo>
                        <a:pt x="701874" y="136730"/>
                      </a:lnTo>
                      <a:lnTo>
                        <a:pt x="699737" y="142655"/>
                      </a:lnTo>
                      <a:lnTo>
                        <a:pt x="698862" y="145982"/>
                      </a:lnTo>
                      <a:lnTo>
                        <a:pt x="698729" y="146493"/>
                      </a:lnTo>
                      <a:lnTo>
                        <a:pt x="698692" y="147015"/>
                      </a:lnTo>
                      <a:lnTo>
                        <a:pt x="698620" y="147780"/>
                      </a:lnTo>
                      <a:lnTo>
                        <a:pt x="689962" y="144404"/>
                      </a:lnTo>
                      <a:lnTo>
                        <a:pt x="689610" y="144270"/>
                      </a:lnTo>
                      <a:lnTo>
                        <a:pt x="689245" y="144173"/>
                      </a:lnTo>
                      <a:lnTo>
                        <a:pt x="682530" y="142485"/>
                      </a:lnTo>
                      <a:lnTo>
                        <a:pt x="681401" y="142206"/>
                      </a:lnTo>
                      <a:lnTo>
                        <a:pt x="680247" y="142364"/>
                      </a:lnTo>
                      <a:lnTo>
                        <a:pt x="678814" y="142558"/>
                      </a:lnTo>
                      <a:lnTo>
                        <a:pt x="674285" y="143153"/>
                      </a:lnTo>
                      <a:lnTo>
                        <a:pt x="673605" y="147670"/>
                      </a:lnTo>
                      <a:lnTo>
                        <a:pt x="673350" y="149346"/>
                      </a:lnTo>
                      <a:lnTo>
                        <a:pt x="671286" y="152321"/>
                      </a:lnTo>
                      <a:lnTo>
                        <a:pt x="669635" y="154604"/>
                      </a:lnTo>
                      <a:lnTo>
                        <a:pt x="668724" y="155867"/>
                      </a:lnTo>
                      <a:lnTo>
                        <a:pt x="668639" y="156571"/>
                      </a:lnTo>
                      <a:lnTo>
                        <a:pt x="662834" y="154774"/>
                      </a:lnTo>
                      <a:lnTo>
                        <a:pt x="657783" y="150815"/>
                      </a:lnTo>
                      <a:lnTo>
                        <a:pt x="657431" y="150536"/>
                      </a:lnTo>
                      <a:lnTo>
                        <a:pt x="657042" y="150318"/>
                      </a:lnTo>
                      <a:lnTo>
                        <a:pt x="654516" y="148885"/>
                      </a:lnTo>
                      <a:lnTo>
                        <a:pt x="653873" y="148520"/>
                      </a:lnTo>
                      <a:lnTo>
                        <a:pt x="653169" y="148314"/>
                      </a:lnTo>
                      <a:lnTo>
                        <a:pt x="650752" y="147622"/>
                      </a:lnTo>
                      <a:lnTo>
                        <a:pt x="649514" y="147270"/>
                      </a:lnTo>
                      <a:lnTo>
                        <a:pt x="648238" y="147452"/>
                      </a:lnTo>
                      <a:lnTo>
                        <a:pt x="646356" y="147719"/>
                      </a:lnTo>
                      <a:lnTo>
                        <a:pt x="644608" y="147974"/>
                      </a:lnTo>
                      <a:lnTo>
                        <a:pt x="643272" y="149115"/>
                      </a:lnTo>
                      <a:lnTo>
                        <a:pt x="641912" y="150281"/>
                      </a:lnTo>
                      <a:lnTo>
                        <a:pt x="640868" y="151168"/>
                      </a:lnTo>
                      <a:lnTo>
                        <a:pt x="640309" y="152418"/>
                      </a:lnTo>
                      <a:lnTo>
                        <a:pt x="639326" y="154628"/>
                      </a:lnTo>
                      <a:lnTo>
                        <a:pt x="637711" y="155442"/>
                      </a:lnTo>
                      <a:lnTo>
                        <a:pt x="636824" y="155442"/>
                      </a:lnTo>
                      <a:lnTo>
                        <a:pt x="636071" y="155442"/>
                      </a:lnTo>
                      <a:lnTo>
                        <a:pt x="635343" y="155624"/>
                      </a:lnTo>
                      <a:lnTo>
                        <a:pt x="631821" y="156498"/>
                      </a:lnTo>
                      <a:lnTo>
                        <a:pt x="630789" y="156486"/>
                      </a:lnTo>
                      <a:lnTo>
                        <a:pt x="628227" y="155126"/>
                      </a:lnTo>
                      <a:lnTo>
                        <a:pt x="623698" y="153220"/>
                      </a:lnTo>
                      <a:lnTo>
                        <a:pt x="622605" y="152770"/>
                      </a:lnTo>
                      <a:lnTo>
                        <a:pt x="621415" y="152758"/>
                      </a:lnTo>
                      <a:lnTo>
                        <a:pt x="617335" y="152722"/>
                      </a:lnTo>
                      <a:lnTo>
                        <a:pt x="614821" y="152698"/>
                      </a:lnTo>
                      <a:lnTo>
                        <a:pt x="613024" y="154470"/>
                      </a:lnTo>
                      <a:lnTo>
                        <a:pt x="603759" y="163614"/>
                      </a:lnTo>
                      <a:lnTo>
                        <a:pt x="598076" y="168180"/>
                      </a:lnTo>
                      <a:lnTo>
                        <a:pt x="597566" y="168593"/>
                      </a:lnTo>
                      <a:lnTo>
                        <a:pt x="597153" y="169103"/>
                      </a:lnTo>
                      <a:lnTo>
                        <a:pt x="595429" y="171252"/>
                      </a:lnTo>
                      <a:lnTo>
                        <a:pt x="594615" y="172272"/>
                      </a:lnTo>
                      <a:lnTo>
                        <a:pt x="594300" y="173547"/>
                      </a:lnTo>
                      <a:lnTo>
                        <a:pt x="592551" y="180432"/>
                      </a:lnTo>
                      <a:lnTo>
                        <a:pt x="592332" y="181246"/>
                      </a:lnTo>
                      <a:lnTo>
                        <a:pt x="592357" y="182083"/>
                      </a:lnTo>
                      <a:lnTo>
                        <a:pt x="592454" y="185483"/>
                      </a:lnTo>
                      <a:lnTo>
                        <a:pt x="590839" y="186200"/>
                      </a:lnTo>
                      <a:lnTo>
                        <a:pt x="589843" y="187936"/>
                      </a:lnTo>
                      <a:lnTo>
                        <a:pt x="588920" y="189564"/>
                      </a:lnTo>
                      <a:lnTo>
                        <a:pt x="588338" y="190584"/>
                      </a:lnTo>
                      <a:lnTo>
                        <a:pt x="588180" y="191749"/>
                      </a:lnTo>
                      <a:lnTo>
                        <a:pt x="587949" y="193401"/>
                      </a:lnTo>
                      <a:lnTo>
                        <a:pt x="587803" y="194409"/>
                      </a:lnTo>
                      <a:lnTo>
                        <a:pt x="587852" y="194664"/>
                      </a:lnTo>
                      <a:lnTo>
                        <a:pt x="577688" y="187001"/>
                      </a:lnTo>
                      <a:lnTo>
                        <a:pt x="577312" y="186722"/>
                      </a:lnTo>
                      <a:lnTo>
                        <a:pt x="576899" y="186491"/>
                      </a:lnTo>
                      <a:lnTo>
                        <a:pt x="566116" y="180748"/>
                      </a:lnTo>
                      <a:lnTo>
                        <a:pt x="567913" y="178756"/>
                      </a:lnTo>
                      <a:lnTo>
                        <a:pt x="568496" y="178101"/>
                      </a:lnTo>
                      <a:lnTo>
                        <a:pt x="568872" y="177311"/>
                      </a:lnTo>
                      <a:lnTo>
                        <a:pt x="569783" y="175417"/>
                      </a:lnTo>
                      <a:lnTo>
                        <a:pt x="570232" y="174494"/>
                      </a:lnTo>
                      <a:lnTo>
                        <a:pt x="570354" y="173486"/>
                      </a:lnTo>
                      <a:lnTo>
                        <a:pt x="570572" y="171653"/>
                      </a:lnTo>
                      <a:lnTo>
                        <a:pt x="570658" y="170936"/>
                      </a:lnTo>
                      <a:lnTo>
                        <a:pt x="570560" y="170220"/>
                      </a:lnTo>
                      <a:lnTo>
                        <a:pt x="569783" y="163784"/>
                      </a:lnTo>
                      <a:lnTo>
                        <a:pt x="569710" y="163141"/>
                      </a:lnTo>
                      <a:lnTo>
                        <a:pt x="569492" y="162521"/>
                      </a:lnTo>
                      <a:lnTo>
                        <a:pt x="568799" y="160542"/>
                      </a:lnTo>
                      <a:lnTo>
                        <a:pt x="568545" y="159850"/>
                      </a:lnTo>
                      <a:lnTo>
                        <a:pt x="568156" y="159243"/>
                      </a:lnTo>
                      <a:lnTo>
                        <a:pt x="567002" y="157470"/>
                      </a:lnTo>
                      <a:lnTo>
                        <a:pt x="565387" y="154980"/>
                      </a:lnTo>
                      <a:lnTo>
                        <a:pt x="562437" y="154725"/>
                      </a:lnTo>
                      <a:lnTo>
                        <a:pt x="558004" y="154337"/>
                      </a:lnTo>
                      <a:lnTo>
                        <a:pt x="551508" y="151835"/>
                      </a:lnTo>
                      <a:lnTo>
                        <a:pt x="549735" y="151143"/>
                      </a:lnTo>
                      <a:lnTo>
                        <a:pt x="547877" y="151605"/>
                      </a:lnTo>
                      <a:lnTo>
                        <a:pt x="546044" y="152066"/>
                      </a:lnTo>
                      <a:lnTo>
                        <a:pt x="545170" y="152285"/>
                      </a:lnTo>
                      <a:lnTo>
                        <a:pt x="544404" y="152746"/>
                      </a:lnTo>
                      <a:lnTo>
                        <a:pt x="541514" y="154470"/>
                      </a:lnTo>
                      <a:lnTo>
                        <a:pt x="540652" y="154507"/>
                      </a:lnTo>
                      <a:lnTo>
                        <a:pt x="539122" y="154191"/>
                      </a:lnTo>
                      <a:lnTo>
                        <a:pt x="537228" y="152698"/>
                      </a:lnTo>
                      <a:lnTo>
                        <a:pt x="536123" y="151495"/>
                      </a:lnTo>
                      <a:lnTo>
                        <a:pt x="535394" y="149965"/>
                      </a:lnTo>
                      <a:lnTo>
                        <a:pt x="533658" y="136074"/>
                      </a:lnTo>
                      <a:lnTo>
                        <a:pt x="533524" y="135030"/>
                      </a:lnTo>
                      <a:lnTo>
                        <a:pt x="533051" y="134082"/>
                      </a:lnTo>
                      <a:lnTo>
                        <a:pt x="531169" y="130342"/>
                      </a:lnTo>
                      <a:lnTo>
                        <a:pt x="530476" y="128958"/>
                      </a:lnTo>
                      <a:lnTo>
                        <a:pt x="529213" y="128084"/>
                      </a:lnTo>
                      <a:lnTo>
                        <a:pt x="526166" y="125971"/>
                      </a:lnTo>
                      <a:lnTo>
                        <a:pt x="525498" y="125510"/>
                      </a:lnTo>
                      <a:lnTo>
                        <a:pt x="524745" y="125242"/>
                      </a:lnTo>
                      <a:lnTo>
                        <a:pt x="522244" y="124344"/>
                      </a:lnTo>
                      <a:lnTo>
                        <a:pt x="522851" y="122462"/>
                      </a:lnTo>
                      <a:lnTo>
                        <a:pt x="521394" y="120106"/>
                      </a:lnTo>
                      <a:lnTo>
                        <a:pt x="520131" y="118042"/>
                      </a:lnTo>
                      <a:lnTo>
                        <a:pt x="517605" y="113937"/>
                      </a:lnTo>
                      <a:lnTo>
                        <a:pt x="513039" y="115455"/>
                      </a:lnTo>
                      <a:lnTo>
                        <a:pt x="508910" y="116827"/>
                      </a:lnTo>
                      <a:lnTo>
                        <a:pt x="507708" y="117228"/>
                      </a:lnTo>
                      <a:lnTo>
                        <a:pt x="506761" y="118078"/>
                      </a:lnTo>
                      <a:lnTo>
                        <a:pt x="504017" y="120543"/>
                      </a:lnTo>
                      <a:lnTo>
                        <a:pt x="497702" y="124623"/>
                      </a:lnTo>
                      <a:lnTo>
                        <a:pt x="493477" y="125072"/>
                      </a:lnTo>
                      <a:lnTo>
                        <a:pt x="486992" y="117046"/>
                      </a:lnTo>
                      <a:lnTo>
                        <a:pt x="486592" y="116548"/>
                      </a:lnTo>
                      <a:lnTo>
                        <a:pt x="486106" y="116147"/>
                      </a:lnTo>
                      <a:lnTo>
                        <a:pt x="482949" y="113585"/>
                      </a:lnTo>
                      <a:lnTo>
                        <a:pt x="482196" y="112966"/>
                      </a:lnTo>
                      <a:lnTo>
                        <a:pt x="481285" y="112626"/>
                      </a:lnTo>
                      <a:lnTo>
                        <a:pt x="477898" y="111339"/>
                      </a:lnTo>
                      <a:lnTo>
                        <a:pt x="476817" y="110926"/>
                      </a:lnTo>
                      <a:lnTo>
                        <a:pt x="475675" y="110938"/>
                      </a:lnTo>
                      <a:lnTo>
                        <a:pt x="459756" y="111108"/>
                      </a:lnTo>
                      <a:lnTo>
                        <a:pt x="458991" y="111108"/>
                      </a:lnTo>
                      <a:lnTo>
                        <a:pt x="458250" y="111314"/>
                      </a:lnTo>
                      <a:lnTo>
                        <a:pt x="455566" y="112031"/>
                      </a:lnTo>
                      <a:lnTo>
                        <a:pt x="453951" y="112456"/>
                      </a:lnTo>
                      <a:lnTo>
                        <a:pt x="452798" y="113646"/>
                      </a:lnTo>
                      <a:lnTo>
                        <a:pt x="450321" y="116172"/>
                      </a:lnTo>
                      <a:lnTo>
                        <a:pt x="449896" y="116609"/>
                      </a:lnTo>
                      <a:lnTo>
                        <a:pt x="449568" y="117119"/>
                      </a:lnTo>
                      <a:lnTo>
                        <a:pt x="447613" y="120130"/>
                      </a:lnTo>
                      <a:lnTo>
                        <a:pt x="447395" y="120446"/>
                      </a:lnTo>
                      <a:lnTo>
                        <a:pt x="447224" y="120786"/>
                      </a:lnTo>
                      <a:lnTo>
                        <a:pt x="445864" y="123603"/>
                      </a:lnTo>
                      <a:lnTo>
                        <a:pt x="445634" y="124065"/>
                      </a:lnTo>
                      <a:lnTo>
                        <a:pt x="445488" y="124562"/>
                      </a:lnTo>
                      <a:lnTo>
                        <a:pt x="444735" y="127149"/>
                      </a:lnTo>
                      <a:lnTo>
                        <a:pt x="444577" y="127683"/>
                      </a:lnTo>
                      <a:lnTo>
                        <a:pt x="444517" y="128230"/>
                      </a:lnTo>
                      <a:lnTo>
                        <a:pt x="444006" y="133390"/>
                      </a:lnTo>
                      <a:lnTo>
                        <a:pt x="443751" y="134155"/>
                      </a:lnTo>
                      <a:lnTo>
                        <a:pt x="441117" y="134896"/>
                      </a:lnTo>
                      <a:lnTo>
                        <a:pt x="440716" y="135005"/>
                      </a:lnTo>
                      <a:lnTo>
                        <a:pt x="440327" y="135175"/>
                      </a:lnTo>
                      <a:lnTo>
                        <a:pt x="438834" y="135831"/>
                      </a:lnTo>
                      <a:lnTo>
                        <a:pt x="435191" y="137422"/>
                      </a:lnTo>
                      <a:lnTo>
                        <a:pt x="435191" y="141393"/>
                      </a:lnTo>
                      <a:lnTo>
                        <a:pt x="435191" y="142425"/>
                      </a:lnTo>
                      <a:lnTo>
                        <a:pt x="435191" y="143773"/>
                      </a:lnTo>
                      <a:lnTo>
                        <a:pt x="435762" y="144999"/>
                      </a:lnTo>
                      <a:lnTo>
                        <a:pt x="436502" y="146577"/>
                      </a:lnTo>
                      <a:lnTo>
                        <a:pt x="436684" y="146966"/>
                      </a:lnTo>
                      <a:lnTo>
                        <a:pt x="436927" y="147330"/>
                      </a:lnTo>
                      <a:lnTo>
                        <a:pt x="437644" y="148411"/>
                      </a:lnTo>
                      <a:lnTo>
                        <a:pt x="437826" y="148982"/>
                      </a:lnTo>
                      <a:lnTo>
                        <a:pt x="438020" y="150354"/>
                      </a:lnTo>
                      <a:lnTo>
                        <a:pt x="438020" y="154956"/>
                      </a:lnTo>
                      <a:lnTo>
                        <a:pt x="436745" y="154968"/>
                      </a:lnTo>
                      <a:lnTo>
                        <a:pt x="434110" y="154410"/>
                      </a:lnTo>
                      <a:lnTo>
                        <a:pt x="431863" y="153705"/>
                      </a:lnTo>
                      <a:lnTo>
                        <a:pt x="431111" y="153475"/>
                      </a:lnTo>
                      <a:lnTo>
                        <a:pt x="430334" y="153450"/>
                      </a:lnTo>
                      <a:lnTo>
                        <a:pt x="428585" y="153390"/>
                      </a:lnTo>
                      <a:lnTo>
                        <a:pt x="424092" y="153220"/>
                      </a:lnTo>
                      <a:lnTo>
                        <a:pt x="422623" y="157482"/>
                      </a:lnTo>
                      <a:lnTo>
                        <a:pt x="422210" y="158708"/>
                      </a:lnTo>
                      <a:lnTo>
                        <a:pt x="420983" y="159741"/>
                      </a:lnTo>
                      <a:lnTo>
                        <a:pt x="420206" y="160408"/>
                      </a:lnTo>
                      <a:lnTo>
                        <a:pt x="419684" y="161295"/>
                      </a:lnTo>
                      <a:lnTo>
                        <a:pt x="419514" y="161574"/>
                      </a:lnTo>
                      <a:lnTo>
                        <a:pt x="416430" y="164415"/>
                      </a:lnTo>
                      <a:lnTo>
                        <a:pt x="415604" y="163978"/>
                      </a:lnTo>
                      <a:lnTo>
                        <a:pt x="414535" y="163432"/>
                      </a:lnTo>
                      <a:lnTo>
                        <a:pt x="413346" y="163323"/>
                      </a:lnTo>
                      <a:lnTo>
                        <a:pt x="410893" y="163104"/>
                      </a:lnTo>
                      <a:lnTo>
                        <a:pt x="410140" y="163043"/>
                      </a:lnTo>
                      <a:lnTo>
                        <a:pt x="409387" y="163165"/>
                      </a:lnTo>
                      <a:lnTo>
                        <a:pt x="406036" y="163699"/>
                      </a:lnTo>
                      <a:lnTo>
                        <a:pt x="402393" y="163869"/>
                      </a:lnTo>
                      <a:lnTo>
                        <a:pt x="393868" y="163068"/>
                      </a:lnTo>
                      <a:lnTo>
                        <a:pt x="391840" y="162885"/>
                      </a:lnTo>
                      <a:lnTo>
                        <a:pt x="390104" y="163954"/>
                      </a:lnTo>
                      <a:lnTo>
                        <a:pt x="388100" y="165193"/>
                      </a:lnTo>
                      <a:lnTo>
                        <a:pt x="374561" y="166735"/>
                      </a:lnTo>
                      <a:lnTo>
                        <a:pt x="374100" y="166783"/>
                      </a:lnTo>
                      <a:lnTo>
                        <a:pt x="373638" y="166917"/>
                      </a:lnTo>
                      <a:lnTo>
                        <a:pt x="370894" y="167670"/>
                      </a:lnTo>
                      <a:lnTo>
                        <a:pt x="368113" y="168423"/>
                      </a:lnTo>
                      <a:lnTo>
                        <a:pt x="366948" y="171058"/>
                      </a:lnTo>
                      <a:lnTo>
                        <a:pt x="366377" y="172345"/>
                      </a:lnTo>
                      <a:lnTo>
                        <a:pt x="366061" y="173073"/>
                      </a:lnTo>
                      <a:lnTo>
                        <a:pt x="366049" y="173146"/>
                      </a:lnTo>
                      <a:lnTo>
                        <a:pt x="349862" y="179036"/>
                      </a:lnTo>
                      <a:lnTo>
                        <a:pt x="348648" y="179473"/>
                      </a:lnTo>
                      <a:lnTo>
                        <a:pt x="347725" y="180371"/>
                      </a:lnTo>
                      <a:lnTo>
                        <a:pt x="345722" y="182302"/>
                      </a:lnTo>
                      <a:lnTo>
                        <a:pt x="344435" y="183553"/>
                      </a:lnTo>
                      <a:lnTo>
                        <a:pt x="344022" y="185301"/>
                      </a:lnTo>
                      <a:lnTo>
                        <a:pt x="343609" y="187074"/>
                      </a:lnTo>
                      <a:lnTo>
                        <a:pt x="343305" y="188422"/>
                      </a:lnTo>
                      <a:lnTo>
                        <a:pt x="343451" y="189066"/>
                      </a:lnTo>
                      <a:lnTo>
                        <a:pt x="341933" y="190171"/>
                      </a:lnTo>
                      <a:lnTo>
                        <a:pt x="341581" y="188289"/>
                      </a:lnTo>
                      <a:lnTo>
                        <a:pt x="338448" y="187062"/>
                      </a:lnTo>
                      <a:lnTo>
                        <a:pt x="337234" y="186589"/>
                      </a:lnTo>
                      <a:lnTo>
                        <a:pt x="335133" y="185763"/>
                      </a:lnTo>
                      <a:lnTo>
                        <a:pt x="333008" y="186516"/>
                      </a:lnTo>
                      <a:lnTo>
                        <a:pt x="320768" y="190802"/>
                      </a:lnTo>
                      <a:lnTo>
                        <a:pt x="320015" y="191057"/>
                      </a:lnTo>
                      <a:lnTo>
                        <a:pt x="319347" y="191518"/>
                      </a:lnTo>
                      <a:lnTo>
                        <a:pt x="316542" y="193437"/>
                      </a:lnTo>
                      <a:lnTo>
                        <a:pt x="314356" y="194578"/>
                      </a:lnTo>
                      <a:lnTo>
                        <a:pt x="312328" y="195040"/>
                      </a:lnTo>
                      <a:lnTo>
                        <a:pt x="304946" y="194238"/>
                      </a:lnTo>
                      <a:lnTo>
                        <a:pt x="304873" y="194190"/>
                      </a:lnTo>
                      <a:lnTo>
                        <a:pt x="303221" y="184573"/>
                      </a:lnTo>
                      <a:lnTo>
                        <a:pt x="302566" y="182083"/>
                      </a:lnTo>
                      <a:lnTo>
                        <a:pt x="301849" y="179448"/>
                      </a:lnTo>
                      <a:lnTo>
                        <a:pt x="299408" y="178234"/>
                      </a:lnTo>
                      <a:lnTo>
                        <a:pt x="297915" y="177493"/>
                      </a:lnTo>
                      <a:lnTo>
                        <a:pt x="295280" y="176194"/>
                      </a:lnTo>
                      <a:lnTo>
                        <a:pt x="293895" y="176850"/>
                      </a:lnTo>
                      <a:lnTo>
                        <a:pt x="293143" y="172916"/>
                      </a:lnTo>
                      <a:lnTo>
                        <a:pt x="292766" y="170912"/>
                      </a:lnTo>
                      <a:lnTo>
                        <a:pt x="291261" y="169552"/>
                      </a:lnTo>
                      <a:lnTo>
                        <a:pt x="288966" y="167463"/>
                      </a:lnTo>
                      <a:lnTo>
                        <a:pt x="287448" y="166079"/>
                      </a:lnTo>
                      <a:lnTo>
                        <a:pt x="285396" y="165909"/>
                      </a:lnTo>
                      <a:lnTo>
                        <a:pt x="282627" y="165678"/>
                      </a:lnTo>
                      <a:lnTo>
                        <a:pt x="280647" y="165508"/>
                      </a:lnTo>
                      <a:lnTo>
                        <a:pt x="278948" y="166541"/>
                      </a:lnTo>
                      <a:lnTo>
                        <a:pt x="276762" y="167876"/>
                      </a:lnTo>
                      <a:lnTo>
                        <a:pt x="276446" y="168083"/>
                      </a:lnTo>
                      <a:lnTo>
                        <a:pt x="276143" y="168325"/>
                      </a:lnTo>
                      <a:lnTo>
                        <a:pt x="274685" y="169491"/>
                      </a:lnTo>
                      <a:lnTo>
                        <a:pt x="272354" y="170754"/>
                      </a:lnTo>
                      <a:lnTo>
                        <a:pt x="272038" y="170924"/>
                      </a:lnTo>
                      <a:lnTo>
                        <a:pt x="271747" y="171130"/>
                      </a:lnTo>
                      <a:lnTo>
                        <a:pt x="269342" y="172818"/>
                      </a:lnTo>
                      <a:lnTo>
                        <a:pt x="261571" y="176983"/>
                      </a:lnTo>
                      <a:lnTo>
                        <a:pt x="261024" y="177275"/>
                      </a:lnTo>
                      <a:lnTo>
                        <a:pt x="260551" y="177676"/>
                      </a:lnTo>
                      <a:lnTo>
                        <a:pt x="257515" y="180141"/>
                      </a:lnTo>
                      <a:lnTo>
                        <a:pt x="256775" y="180748"/>
                      </a:lnTo>
                      <a:lnTo>
                        <a:pt x="256265" y="181549"/>
                      </a:lnTo>
                      <a:lnTo>
                        <a:pt x="253848" y="185362"/>
                      </a:lnTo>
                      <a:lnTo>
                        <a:pt x="253447" y="185993"/>
                      </a:lnTo>
                      <a:lnTo>
                        <a:pt x="253217" y="186698"/>
                      </a:lnTo>
                      <a:lnTo>
                        <a:pt x="252330" y="189345"/>
                      </a:lnTo>
                      <a:lnTo>
                        <a:pt x="250764" y="188956"/>
                      </a:lnTo>
                      <a:lnTo>
                        <a:pt x="250217" y="188823"/>
                      </a:lnTo>
                      <a:lnTo>
                        <a:pt x="249659" y="188798"/>
                      </a:lnTo>
                      <a:lnTo>
                        <a:pt x="248906" y="188750"/>
                      </a:lnTo>
                      <a:lnTo>
                        <a:pt x="248602" y="188592"/>
                      </a:lnTo>
                      <a:lnTo>
                        <a:pt x="247327" y="187669"/>
                      </a:lnTo>
                      <a:lnTo>
                        <a:pt x="247000" y="187426"/>
                      </a:lnTo>
                      <a:lnTo>
                        <a:pt x="246635" y="187232"/>
                      </a:lnTo>
                      <a:lnTo>
                        <a:pt x="245555" y="186649"/>
                      </a:lnTo>
                      <a:lnTo>
                        <a:pt x="242555" y="185046"/>
                      </a:lnTo>
                      <a:lnTo>
                        <a:pt x="239617" y="186771"/>
                      </a:lnTo>
                      <a:lnTo>
                        <a:pt x="238864" y="187208"/>
                      </a:lnTo>
                      <a:lnTo>
                        <a:pt x="237152" y="188216"/>
                      </a:lnTo>
                      <a:lnTo>
                        <a:pt x="236362" y="190049"/>
                      </a:lnTo>
                      <a:lnTo>
                        <a:pt x="235646" y="191713"/>
                      </a:lnTo>
                      <a:lnTo>
                        <a:pt x="235124" y="192611"/>
                      </a:lnTo>
                      <a:lnTo>
                        <a:pt x="231444" y="195841"/>
                      </a:lnTo>
                      <a:lnTo>
                        <a:pt x="230449" y="196716"/>
                      </a:lnTo>
                      <a:lnTo>
                        <a:pt x="229914" y="197918"/>
                      </a:lnTo>
                      <a:lnTo>
                        <a:pt x="228992" y="199982"/>
                      </a:lnTo>
                      <a:lnTo>
                        <a:pt x="228736" y="200529"/>
                      </a:lnTo>
                      <a:lnTo>
                        <a:pt x="228603" y="201111"/>
                      </a:lnTo>
                      <a:lnTo>
                        <a:pt x="228348" y="202216"/>
                      </a:lnTo>
                      <a:lnTo>
                        <a:pt x="226369" y="204086"/>
                      </a:lnTo>
                      <a:lnTo>
                        <a:pt x="225907" y="204269"/>
                      </a:lnTo>
                      <a:lnTo>
                        <a:pt x="225336" y="204354"/>
                      </a:lnTo>
                      <a:lnTo>
                        <a:pt x="224620" y="204281"/>
                      </a:lnTo>
                      <a:lnTo>
                        <a:pt x="223892" y="204001"/>
                      </a:lnTo>
                      <a:lnTo>
                        <a:pt x="221754" y="202314"/>
                      </a:lnTo>
                      <a:lnTo>
                        <a:pt x="221135" y="201609"/>
                      </a:lnTo>
                      <a:lnTo>
                        <a:pt x="220285" y="200152"/>
                      </a:lnTo>
                      <a:lnTo>
                        <a:pt x="218755" y="197991"/>
                      </a:lnTo>
                      <a:lnTo>
                        <a:pt x="218233" y="197262"/>
                      </a:lnTo>
                      <a:lnTo>
                        <a:pt x="217516" y="196728"/>
                      </a:lnTo>
                      <a:lnTo>
                        <a:pt x="212878" y="193194"/>
                      </a:lnTo>
                      <a:lnTo>
                        <a:pt x="212416" y="192842"/>
                      </a:lnTo>
                      <a:lnTo>
                        <a:pt x="211906" y="192587"/>
                      </a:lnTo>
                      <a:lnTo>
                        <a:pt x="206976" y="190110"/>
                      </a:lnTo>
                      <a:lnTo>
                        <a:pt x="205033" y="188677"/>
                      </a:lnTo>
                      <a:lnTo>
                        <a:pt x="203224" y="186831"/>
                      </a:lnTo>
                      <a:lnTo>
                        <a:pt x="200881" y="183371"/>
                      </a:lnTo>
                      <a:lnTo>
                        <a:pt x="200528" y="182861"/>
                      </a:lnTo>
                      <a:lnTo>
                        <a:pt x="200091" y="182423"/>
                      </a:lnTo>
                      <a:lnTo>
                        <a:pt x="198173" y="180553"/>
                      </a:lnTo>
                      <a:lnTo>
                        <a:pt x="199436" y="179121"/>
                      </a:lnTo>
                      <a:lnTo>
                        <a:pt x="199399" y="176753"/>
                      </a:lnTo>
                      <a:lnTo>
                        <a:pt x="199278" y="170305"/>
                      </a:lnTo>
                      <a:lnTo>
                        <a:pt x="199253" y="168933"/>
                      </a:lnTo>
                      <a:lnTo>
                        <a:pt x="198634" y="167694"/>
                      </a:lnTo>
                      <a:lnTo>
                        <a:pt x="196631" y="163699"/>
                      </a:lnTo>
                      <a:lnTo>
                        <a:pt x="196169" y="162764"/>
                      </a:lnTo>
                      <a:lnTo>
                        <a:pt x="195416" y="162035"/>
                      </a:lnTo>
                      <a:lnTo>
                        <a:pt x="193801" y="160481"/>
                      </a:lnTo>
                      <a:lnTo>
                        <a:pt x="192696" y="159413"/>
                      </a:lnTo>
                      <a:lnTo>
                        <a:pt x="191215" y="159000"/>
                      </a:lnTo>
                      <a:lnTo>
                        <a:pt x="188920" y="158368"/>
                      </a:lnTo>
                      <a:lnTo>
                        <a:pt x="187135" y="157870"/>
                      </a:lnTo>
                      <a:lnTo>
                        <a:pt x="185374" y="158465"/>
                      </a:lnTo>
                      <a:lnTo>
                        <a:pt x="184002" y="158927"/>
                      </a:lnTo>
                      <a:lnTo>
                        <a:pt x="182399" y="159461"/>
                      </a:lnTo>
                      <a:lnTo>
                        <a:pt x="181695" y="160287"/>
                      </a:lnTo>
                      <a:lnTo>
                        <a:pt x="180808" y="159947"/>
                      </a:lnTo>
                      <a:lnTo>
                        <a:pt x="179108" y="159303"/>
                      </a:lnTo>
                      <a:lnTo>
                        <a:pt x="177336" y="159692"/>
                      </a:lnTo>
                      <a:lnTo>
                        <a:pt x="176073" y="159971"/>
                      </a:lnTo>
                      <a:lnTo>
                        <a:pt x="175162" y="160178"/>
                      </a:lnTo>
                      <a:lnTo>
                        <a:pt x="174360" y="160639"/>
                      </a:lnTo>
                      <a:lnTo>
                        <a:pt x="174251" y="160700"/>
                      </a:lnTo>
                      <a:lnTo>
                        <a:pt x="173146" y="160505"/>
                      </a:lnTo>
                      <a:lnTo>
                        <a:pt x="172211" y="160335"/>
                      </a:lnTo>
                      <a:lnTo>
                        <a:pt x="171276" y="160457"/>
                      </a:lnTo>
                      <a:lnTo>
                        <a:pt x="169552" y="160688"/>
                      </a:lnTo>
                      <a:lnTo>
                        <a:pt x="168277" y="160858"/>
                      </a:lnTo>
                      <a:lnTo>
                        <a:pt x="167184" y="161538"/>
                      </a:lnTo>
                      <a:lnTo>
                        <a:pt x="166152" y="162169"/>
                      </a:lnTo>
                      <a:lnTo>
                        <a:pt x="164840" y="162970"/>
                      </a:lnTo>
                      <a:lnTo>
                        <a:pt x="163845" y="162873"/>
                      </a:lnTo>
                      <a:lnTo>
                        <a:pt x="162351" y="162728"/>
                      </a:lnTo>
                      <a:lnTo>
                        <a:pt x="160141" y="162509"/>
                      </a:lnTo>
                      <a:lnTo>
                        <a:pt x="158320" y="163772"/>
                      </a:lnTo>
                      <a:lnTo>
                        <a:pt x="157397" y="164403"/>
                      </a:lnTo>
                      <a:lnTo>
                        <a:pt x="155430" y="165751"/>
                      </a:lnTo>
                      <a:lnTo>
                        <a:pt x="155345" y="166115"/>
                      </a:lnTo>
                      <a:lnTo>
                        <a:pt x="152309" y="156729"/>
                      </a:lnTo>
                      <a:lnTo>
                        <a:pt x="152175" y="156328"/>
                      </a:lnTo>
                      <a:lnTo>
                        <a:pt x="151993" y="155940"/>
                      </a:lnTo>
                      <a:lnTo>
                        <a:pt x="146019" y="143651"/>
                      </a:lnTo>
                      <a:lnTo>
                        <a:pt x="145436" y="142437"/>
                      </a:lnTo>
                      <a:lnTo>
                        <a:pt x="144392" y="141587"/>
                      </a:lnTo>
                      <a:lnTo>
                        <a:pt x="141696" y="139401"/>
                      </a:lnTo>
                      <a:lnTo>
                        <a:pt x="141295" y="139073"/>
                      </a:lnTo>
                      <a:lnTo>
                        <a:pt x="140834" y="138818"/>
                      </a:lnTo>
                      <a:lnTo>
                        <a:pt x="139340" y="137980"/>
                      </a:lnTo>
                      <a:lnTo>
                        <a:pt x="136814" y="136560"/>
                      </a:lnTo>
                      <a:lnTo>
                        <a:pt x="134119" y="137640"/>
                      </a:lnTo>
                      <a:lnTo>
                        <a:pt x="132977" y="138102"/>
                      </a:lnTo>
                      <a:lnTo>
                        <a:pt x="131642" y="138636"/>
                      </a:lnTo>
                      <a:lnTo>
                        <a:pt x="130694" y="139705"/>
                      </a:lnTo>
                      <a:lnTo>
                        <a:pt x="130002" y="140482"/>
                      </a:lnTo>
                      <a:lnTo>
                        <a:pt x="129298" y="141259"/>
                      </a:lnTo>
                      <a:lnTo>
                        <a:pt x="128909" y="142242"/>
                      </a:lnTo>
                      <a:lnTo>
                        <a:pt x="126384" y="148520"/>
                      </a:lnTo>
                      <a:lnTo>
                        <a:pt x="126238" y="148787"/>
                      </a:lnTo>
                      <a:lnTo>
                        <a:pt x="125424" y="149298"/>
                      </a:lnTo>
                      <a:lnTo>
                        <a:pt x="123239" y="150366"/>
                      </a:lnTo>
                      <a:lnTo>
                        <a:pt x="121745" y="151095"/>
                      </a:lnTo>
                      <a:lnTo>
                        <a:pt x="120834" y="152491"/>
                      </a:lnTo>
                      <a:lnTo>
                        <a:pt x="119244" y="154920"/>
                      </a:lnTo>
                      <a:lnTo>
                        <a:pt x="118175" y="155673"/>
                      </a:lnTo>
                      <a:lnTo>
                        <a:pt x="116050" y="156207"/>
                      </a:lnTo>
                      <a:lnTo>
                        <a:pt x="109347" y="156693"/>
                      </a:lnTo>
                      <a:lnTo>
                        <a:pt x="108752" y="156729"/>
                      </a:lnTo>
                      <a:lnTo>
                        <a:pt x="108169" y="156887"/>
                      </a:lnTo>
                      <a:lnTo>
                        <a:pt x="105012" y="157749"/>
                      </a:lnTo>
                      <a:lnTo>
                        <a:pt x="104211" y="157834"/>
                      </a:lnTo>
                      <a:lnTo>
                        <a:pt x="103579" y="157749"/>
                      </a:lnTo>
                      <a:lnTo>
                        <a:pt x="99949" y="156838"/>
                      </a:lnTo>
                      <a:lnTo>
                        <a:pt x="99609" y="156753"/>
                      </a:lnTo>
                      <a:lnTo>
                        <a:pt x="99269" y="156705"/>
                      </a:lnTo>
                      <a:lnTo>
                        <a:pt x="97253" y="156438"/>
                      </a:lnTo>
                      <a:lnTo>
                        <a:pt x="96051" y="156280"/>
                      </a:lnTo>
                      <a:lnTo>
                        <a:pt x="94885" y="156595"/>
                      </a:lnTo>
                      <a:lnTo>
                        <a:pt x="90987" y="157640"/>
                      </a:lnTo>
                      <a:lnTo>
                        <a:pt x="89068" y="158150"/>
                      </a:lnTo>
                      <a:lnTo>
                        <a:pt x="87818" y="159692"/>
                      </a:lnTo>
                      <a:lnTo>
                        <a:pt x="85183" y="162970"/>
                      </a:lnTo>
                      <a:lnTo>
                        <a:pt x="84345" y="163238"/>
                      </a:lnTo>
                      <a:lnTo>
                        <a:pt x="75736" y="163590"/>
                      </a:lnTo>
                      <a:lnTo>
                        <a:pt x="65414" y="161550"/>
                      </a:lnTo>
                      <a:lnTo>
                        <a:pt x="46714" y="158696"/>
                      </a:lnTo>
                      <a:lnTo>
                        <a:pt x="45937" y="158575"/>
                      </a:lnTo>
                      <a:lnTo>
                        <a:pt x="45147" y="158660"/>
                      </a:lnTo>
                      <a:lnTo>
                        <a:pt x="42209" y="158975"/>
                      </a:lnTo>
                      <a:lnTo>
                        <a:pt x="26192" y="160724"/>
                      </a:lnTo>
                      <a:lnTo>
                        <a:pt x="24954" y="160858"/>
                      </a:lnTo>
                      <a:lnTo>
                        <a:pt x="23873" y="161465"/>
                      </a:lnTo>
                      <a:lnTo>
                        <a:pt x="20777" y="163213"/>
                      </a:lnTo>
                      <a:lnTo>
                        <a:pt x="17595" y="165387"/>
                      </a:lnTo>
                      <a:lnTo>
                        <a:pt x="17255" y="165618"/>
                      </a:lnTo>
                      <a:lnTo>
                        <a:pt x="16951" y="165897"/>
                      </a:lnTo>
                      <a:lnTo>
                        <a:pt x="15980" y="166783"/>
                      </a:lnTo>
                      <a:lnTo>
                        <a:pt x="15373" y="167342"/>
                      </a:lnTo>
                      <a:lnTo>
                        <a:pt x="14936" y="168034"/>
                      </a:lnTo>
                      <a:lnTo>
                        <a:pt x="14304" y="169042"/>
                      </a:lnTo>
                      <a:lnTo>
                        <a:pt x="14025" y="169479"/>
                      </a:lnTo>
                      <a:lnTo>
                        <a:pt x="13831" y="169965"/>
                      </a:lnTo>
                      <a:lnTo>
                        <a:pt x="13382" y="171058"/>
                      </a:lnTo>
                      <a:lnTo>
                        <a:pt x="13151" y="171616"/>
                      </a:lnTo>
                      <a:lnTo>
                        <a:pt x="13029" y="172211"/>
                      </a:lnTo>
                      <a:lnTo>
                        <a:pt x="12786" y="173474"/>
                      </a:lnTo>
                      <a:lnTo>
                        <a:pt x="12702" y="173923"/>
                      </a:lnTo>
                      <a:lnTo>
                        <a:pt x="12689" y="174373"/>
                      </a:lnTo>
                      <a:lnTo>
                        <a:pt x="12629" y="175781"/>
                      </a:lnTo>
                      <a:lnTo>
                        <a:pt x="12604" y="176291"/>
                      </a:lnTo>
                      <a:lnTo>
                        <a:pt x="12665" y="176789"/>
                      </a:lnTo>
                      <a:lnTo>
                        <a:pt x="12847" y="178270"/>
                      </a:lnTo>
                      <a:lnTo>
                        <a:pt x="12896" y="178696"/>
                      </a:lnTo>
                      <a:lnTo>
                        <a:pt x="13005" y="179108"/>
                      </a:lnTo>
                      <a:lnTo>
                        <a:pt x="13527" y="181039"/>
                      </a:lnTo>
                      <a:lnTo>
                        <a:pt x="13624" y="181416"/>
                      </a:lnTo>
                      <a:lnTo>
                        <a:pt x="13770" y="181780"/>
                      </a:lnTo>
                      <a:lnTo>
                        <a:pt x="15774" y="186637"/>
                      </a:lnTo>
                      <a:lnTo>
                        <a:pt x="15931" y="187001"/>
                      </a:lnTo>
                      <a:lnTo>
                        <a:pt x="16138" y="187353"/>
                      </a:lnTo>
                      <a:lnTo>
                        <a:pt x="17340" y="189442"/>
                      </a:lnTo>
                      <a:lnTo>
                        <a:pt x="17510" y="189721"/>
                      </a:lnTo>
                      <a:lnTo>
                        <a:pt x="17704" y="189989"/>
                      </a:lnTo>
                      <a:lnTo>
                        <a:pt x="18967" y="191713"/>
                      </a:lnTo>
                      <a:lnTo>
                        <a:pt x="21736" y="194931"/>
                      </a:lnTo>
                      <a:lnTo>
                        <a:pt x="23497" y="197541"/>
                      </a:lnTo>
                      <a:lnTo>
                        <a:pt x="23654" y="197966"/>
                      </a:lnTo>
                      <a:lnTo>
                        <a:pt x="23497" y="198258"/>
                      </a:lnTo>
                      <a:lnTo>
                        <a:pt x="18834" y="204256"/>
                      </a:lnTo>
                      <a:lnTo>
                        <a:pt x="18421" y="204791"/>
                      </a:lnTo>
                      <a:lnTo>
                        <a:pt x="18129" y="205410"/>
                      </a:lnTo>
                      <a:lnTo>
                        <a:pt x="17340" y="207098"/>
                      </a:lnTo>
                      <a:lnTo>
                        <a:pt x="16915" y="208021"/>
                      </a:lnTo>
                      <a:lnTo>
                        <a:pt x="16806" y="209029"/>
                      </a:lnTo>
                      <a:lnTo>
                        <a:pt x="16624" y="210753"/>
                      </a:lnTo>
                      <a:lnTo>
                        <a:pt x="16575" y="211190"/>
                      </a:lnTo>
                      <a:lnTo>
                        <a:pt x="16587" y="211627"/>
                      </a:lnTo>
                      <a:lnTo>
                        <a:pt x="16648" y="213181"/>
                      </a:lnTo>
                      <a:lnTo>
                        <a:pt x="16611" y="214238"/>
                      </a:lnTo>
                      <a:lnTo>
                        <a:pt x="16490" y="214578"/>
                      </a:lnTo>
                      <a:lnTo>
                        <a:pt x="16259" y="215003"/>
                      </a:lnTo>
                      <a:lnTo>
                        <a:pt x="11609" y="220152"/>
                      </a:lnTo>
                      <a:lnTo>
                        <a:pt x="11220" y="220577"/>
                      </a:lnTo>
                      <a:lnTo>
                        <a:pt x="10929" y="221074"/>
                      </a:lnTo>
                      <a:lnTo>
                        <a:pt x="8342" y="225349"/>
                      </a:lnTo>
                      <a:lnTo>
                        <a:pt x="6885" y="228239"/>
                      </a:lnTo>
                      <a:lnTo>
                        <a:pt x="2283" y="240357"/>
                      </a:lnTo>
                      <a:lnTo>
                        <a:pt x="0" y="246417"/>
                      </a:lnTo>
                      <a:lnTo>
                        <a:pt x="6193" y="248311"/>
                      </a:lnTo>
                      <a:lnTo>
                        <a:pt x="16247" y="251383"/>
                      </a:lnTo>
                      <a:lnTo>
                        <a:pt x="16939" y="251602"/>
                      </a:lnTo>
                      <a:lnTo>
                        <a:pt x="17668" y="251638"/>
                      </a:lnTo>
                      <a:lnTo>
                        <a:pt x="26714" y="252173"/>
                      </a:lnTo>
                      <a:lnTo>
                        <a:pt x="26872" y="252209"/>
                      </a:lnTo>
                      <a:lnTo>
                        <a:pt x="27164" y="252403"/>
                      </a:lnTo>
                      <a:lnTo>
                        <a:pt x="29847" y="254783"/>
                      </a:lnTo>
                      <a:lnTo>
                        <a:pt x="30357" y="255220"/>
                      </a:lnTo>
                      <a:lnTo>
                        <a:pt x="30940" y="255548"/>
                      </a:lnTo>
                      <a:lnTo>
                        <a:pt x="36623" y="258681"/>
                      </a:lnTo>
                      <a:lnTo>
                        <a:pt x="36647" y="258754"/>
                      </a:lnTo>
                      <a:lnTo>
                        <a:pt x="36793" y="260211"/>
                      </a:lnTo>
                      <a:lnTo>
                        <a:pt x="36696" y="267776"/>
                      </a:lnTo>
                      <a:lnTo>
                        <a:pt x="36939" y="270982"/>
                      </a:lnTo>
                      <a:lnTo>
                        <a:pt x="36963" y="271310"/>
                      </a:lnTo>
                      <a:lnTo>
                        <a:pt x="37024" y="271625"/>
                      </a:lnTo>
                      <a:lnTo>
                        <a:pt x="37594" y="274588"/>
                      </a:lnTo>
                      <a:lnTo>
                        <a:pt x="37704" y="275135"/>
                      </a:lnTo>
                      <a:lnTo>
                        <a:pt x="37910" y="275657"/>
                      </a:lnTo>
                      <a:lnTo>
                        <a:pt x="38954" y="278292"/>
                      </a:lnTo>
                      <a:lnTo>
                        <a:pt x="39064" y="278583"/>
                      </a:lnTo>
                      <a:lnTo>
                        <a:pt x="39210" y="278850"/>
                      </a:lnTo>
                      <a:lnTo>
                        <a:pt x="40703" y="281728"/>
                      </a:lnTo>
                      <a:lnTo>
                        <a:pt x="40934" y="282165"/>
                      </a:lnTo>
                      <a:lnTo>
                        <a:pt x="41225" y="282554"/>
                      </a:lnTo>
                      <a:lnTo>
                        <a:pt x="44322" y="286719"/>
                      </a:lnTo>
                      <a:lnTo>
                        <a:pt x="44698" y="287229"/>
                      </a:lnTo>
                      <a:lnTo>
                        <a:pt x="45172" y="287642"/>
                      </a:lnTo>
                      <a:lnTo>
                        <a:pt x="71024" y="310556"/>
                      </a:lnTo>
                      <a:lnTo>
                        <a:pt x="72991" y="313009"/>
                      </a:lnTo>
                      <a:lnTo>
                        <a:pt x="75942" y="319857"/>
                      </a:lnTo>
                      <a:lnTo>
                        <a:pt x="76440" y="321424"/>
                      </a:lnTo>
                      <a:lnTo>
                        <a:pt x="76513" y="322007"/>
                      </a:lnTo>
                      <a:lnTo>
                        <a:pt x="76428" y="322407"/>
                      </a:lnTo>
                      <a:lnTo>
                        <a:pt x="74509" y="327677"/>
                      </a:lnTo>
                      <a:lnTo>
                        <a:pt x="73926" y="329584"/>
                      </a:lnTo>
                      <a:lnTo>
                        <a:pt x="73732" y="330252"/>
                      </a:lnTo>
                      <a:lnTo>
                        <a:pt x="73683" y="330944"/>
                      </a:lnTo>
                      <a:lnTo>
                        <a:pt x="73586" y="332413"/>
                      </a:lnTo>
                      <a:lnTo>
                        <a:pt x="73538" y="333154"/>
                      </a:lnTo>
                      <a:lnTo>
                        <a:pt x="73671" y="333882"/>
                      </a:lnTo>
                      <a:lnTo>
                        <a:pt x="73999" y="335704"/>
                      </a:lnTo>
                      <a:lnTo>
                        <a:pt x="74133" y="336469"/>
                      </a:lnTo>
                      <a:lnTo>
                        <a:pt x="74473" y="337185"/>
                      </a:lnTo>
                      <a:lnTo>
                        <a:pt x="76428" y="341387"/>
                      </a:lnTo>
                      <a:lnTo>
                        <a:pt x="78456" y="347252"/>
                      </a:lnTo>
                      <a:lnTo>
                        <a:pt x="78589" y="347652"/>
                      </a:lnTo>
                      <a:lnTo>
                        <a:pt x="78783" y="348029"/>
                      </a:lnTo>
                      <a:lnTo>
                        <a:pt x="80496" y="351356"/>
                      </a:lnTo>
                      <a:lnTo>
                        <a:pt x="80884" y="352109"/>
                      </a:lnTo>
                      <a:lnTo>
                        <a:pt x="81455" y="352716"/>
                      </a:lnTo>
                      <a:lnTo>
                        <a:pt x="83179" y="354562"/>
                      </a:lnTo>
                      <a:lnTo>
                        <a:pt x="83604" y="355011"/>
                      </a:lnTo>
                      <a:lnTo>
                        <a:pt x="84102" y="355363"/>
                      </a:lnTo>
                      <a:lnTo>
                        <a:pt x="85996" y="356711"/>
                      </a:lnTo>
                      <a:lnTo>
                        <a:pt x="86664" y="357197"/>
                      </a:lnTo>
                      <a:lnTo>
                        <a:pt x="87429" y="357476"/>
                      </a:lnTo>
                      <a:lnTo>
                        <a:pt x="89166" y="358108"/>
                      </a:lnTo>
                      <a:lnTo>
                        <a:pt x="89736" y="358314"/>
                      </a:lnTo>
                      <a:lnTo>
                        <a:pt x="90343" y="358411"/>
                      </a:lnTo>
                      <a:lnTo>
                        <a:pt x="91728" y="358617"/>
                      </a:lnTo>
                      <a:lnTo>
                        <a:pt x="92298" y="358702"/>
                      </a:lnTo>
                      <a:lnTo>
                        <a:pt x="92869" y="358678"/>
                      </a:lnTo>
                      <a:lnTo>
                        <a:pt x="94363" y="358617"/>
                      </a:lnTo>
                      <a:lnTo>
                        <a:pt x="94836" y="358605"/>
                      </a:lnTo>
                      <a:lnTo>
                        <a:pt x="95298" y="358520"/>
                      </a:lnTo>
                      <a:lnTo>
                        <a:pt x="99657" y="357658"/>
                      </a:lnTo>
                      <a:lnTo>
                        <a:pt x="99936" y="357634"/>
                      </a:lnTo>
                      <a:lnTo>
                        <a:pt x="100762" y="357670"/>
                      </a:lnTo>
                      <a:lnTo>
                        <a:pt x="101430" y="357804"/>
                      </a:lnTo>
                      <a:lnTo>
                        <a:pt x="112480" y="362333"/>
                      </a:lnTo>
                      <a:lnTo>
                        <a:pt x="112990" y="362552"/>
                      </a:lnTo>
                      <a:lnTo>
                        <a:pt x="113524" y="362661"/>
                      </a:lnTo>
                      <a:lnTo>
                        <a:pt x="114617" y="362892"/>
                      </a:lnTo>
                      <a:lnTo>
                        <a:pt x="115382" y="363050"/>
                      </a:lnTo>
                      <a:lnTo>
                        <a:pt x="116159" y="363013"/>
                      </a:lnTo>
                      <a:lnTo>
                        <a:pt x="116912" y="362977"/>
                      </a:lnTo>
                      <a:lnTo>
                        <a:pt x="119183" y="362868"/>
                      </a:lnTo>
                      <a:lnTo>
                        <a:pt x="120822" y="361313"/>
                      </a:lnTo>
                      <a:lnTo>
                        <a:pt x="121441" y="360718"/>
                      </a:lnTo>
                      <a:lnTo>
                        <a:pt x="122024" y="360172"/>
                      </a:lnTo>
                      <a:lnTo>
                        <a:pt x="122437" y="359492"/>
                      </a:lnTo>
                      <a:lnTo>
                        <a:pt x="122850" y="358824"/>
                      </a:lnTo>
                      <a:lnTo>
                        <a:pt x="123494" y="357768"/>
                      </a:lnTo>
                      <a:lnTo>
                        <a:pt x="123676" y="356541"/>
                      </a:lnTo>
                      <a:lnTo>
                        <a:pt x="123846" y="355363"/>
                      </a:lnTo>
                      <a:lnTo>
                        <a:pt x="124004" y="354331"/>
                      </a:lnTo>
                      <a:lnTo>
                        <a:pt x="123797" y="353311"/>
                      </a:lnTo>
                      <a:lnTo>
                        <a:pt x="123044" y="349522"/>
                      </a:lnTo>
                      <a:lnTo>
                        <a:pt x="123044" y="349486"/>
                      </a:lnTo>
                      <a:lnTo>
                        <a:pt x="123433" y="349389"/>
                      </a:lnTo>
                      <a:lnTo>
                        <a:pt x="123809" y="349280"/>
                      </a:lnTo>
                      <a:lnTo>
                        <a:pt x="124174" y="349122"/>
                      </a:lnTo>
                      <a:lnTo>
                        <a:pt x="125327" y="348612"/>
                      </a:lnTo>
                      <a:lnTo>
                        <a:pt x="125327" y="348672"/>
                      </a:lnTo>
                      <a:lnTo>
                        <a:pt x="125388" y="348976"/>
                      </a:lnTo>
                      <a:lnTo>
                        <a:pt x="125898" y="351271"/>
                      </a:lnTo>
                      <a:lnTo>
                        <a:pt x="126068" y="352036"/>
                      </a:lnTo>
                      <a:lnTo>
                        <a:pt x="126432" y="352740"/>
                      </a:lnTo>
                      <a:lnTo>
                        <a:pt x="128958" y="357610"/>
                      </a:lnTo>
                      <a:lnTo>
                        <a:pt x="128630" y="358362"/>
                      </a:lnTo>
                      <a:lnTo>
                        <a:pt x="128120" y="359261"/>
                      </a:lnTo>
                      <a:lnTo>
                        <a:pt x="126372" y="361495"/>
                      </a:lnTo>
                      <a:lnTo>
                        <a:pt x="120798" y="367312"/>
                      </a:lnTo>
                      <a:lnTo>
                        <a:pt x="120506" y="367615"/>
                      </a:lnTo>
                      <a:lnTo>
                        <a:pt x="120252" y="367968"/>
                      </a:lnTo>
                      <a:lnTo>
                        <a:pt x="119219" y="369400"/>
                      </a:lnTo>
                      <a:lnTo>
                        <a:pt x="118952" y="369765"/>
                      </a:lnTo>
                      <a:lnTo>
                        <a:pt x="118746" y="370165"/>
                      </a:lnTo>
                      <a:lnTo>
                        <a:pt x="117932" y="371744"/>
                      </a:lnTo>
                      <a:lnTo>
                        <a:pt x="117459" y="372655"/>
                      </a:lnTo>
                      <a:lnTo>
                        <a:pt x="117313" y="373663"/>
                      </a:lnTo>
                      <a:lnTo>
                        <a:pt x="117082" y="375180"/>
                      </a:lnTo>
                      <a:lnTo>
                        <a:pt x="117009" y="375727"/>
                      </a:lnTo>
                      <a:lnTo>
                        <a:pt x="117034" y="376273"/>
                      </a:lnTo>
                      <a:lnTo>
                        <a:pt x="117094" y="377852"/>
                      </a:lnTo>
                      <a:lnTo>
                        <a:pt x="117277" y="379916"/>
                      </a:lnTo>
                      <a:lnTo>
                        <a:pt x="117301" y="380936"/>
                      </a:lnTo>
                      <a:lnTo>
                        <a:pt x="117204" y="382090"/>
                      </a:lnTo>
                      <a:lnTo>
                        <a:pt x="116086" y="386971"/>
                      </a:lnTo>
                      <a:lnTo>
                        <a:pt x="116014" y="387287"/>
                      </a:lnTo>
                      <a:lnTo>
                        <a:pt x="115977" y="387603"/>
                      </a:lnTo>
                      <a:lnTo>
                        <a:pt x="115746" y="389558"/>
                      </a:lnTo>
                      <a:lnTo>
                        <a:pt x="115710" y="389910"/>
                      </a:lnTo>
                      <a:lnTo>
                        <a:pt x="115710" y="390262"/>
                      </a:lnTo>
                      <a:lnTo>
                        <a:pt x="115710" y="392727"/>
                      </a:lnTo>
                      <a:lnTo>
                        <a:pt x="115710" y="393395"/>
                      </a:lnTo>
                      <a:lnTo>
                        <a:pt x="115856" y="394051"/>
                      </a:lnTo>
                      <a:lnTo>
                        <a:pt x="116426" y="396588"/>
                      </a:lnTo>
                      <a:lnTo>
                        <a:pt x="116597" y="397353"/>
                      </a:lnTo>
                      <a:lnTo>
                        <a:pt x="116949" y="398046"/>
                      </a:lnTo>
                      <a:lnTo>
                        <a:pt x="117701" y="399503"/>
                      </a:lnTo>
                      <a:lnTo>
                        <a:pt x="118321" y="400693"/>
                      </a:lnTo>
                      <a:lnTo>
                        <a:pt x="119377" y="401506"/>
                      </a:lnTo>
                      <a:lnTo>
                        <a:pt x="120409" y="402308"/>
                      </a:lnTo>
                      <a:lnTo>
                        <a:pt x="122134" y="403644"/>
                      </a:lnTo>
                      <a:lnTo>
                        <a:pt x="124307" y="403583"/>
                      </a:lnTo>
                      <a:lnTo>
                        <a:pt x="125169" y="403559"/>
                      </a:lnTo>
                      <a:lnTo>
                        <a:pt x="126857" y="403510"/>
                      </a:lnTo>
                      <a:lnTo>
                        <a:pt x="128278" y="402599"/>
                      </a:lnTo>
                      <a:lnTo>
                        <a:pt x="129432" y="401859"/>
                      </a:lnTo>
                      <a:lnTo>
                        <a:pt x="130002" y="401482"/>
                      </a:lnTo>
                      <a:lnTo>
                        <a:pt x="130488" y="400984"/>
                      </a:lnTo>
                      <a:lnTo>
                        <a:pt x="131836" y="399600"/>
                      </a:lnTo>
                      <a:lnTo>
                        <a:pt x="133451" y="407578"/>
                      </a:lnTo>
                      <a:lnTo>
                        <a:pt x="132200" y="421931"/>
                      </a:lnTo>
                      <a:lnTo>
                        <a:pt x="130172" y="429994"/>
                      </a:lnTo>
                      <a:lnTo>
                        <a:pt x="129832" y="431341"/>
                      </a:lnTo>
                      <a:lnTo>
                        <a:pt x="130112" y="432701"/>
                      </a:lnTo>
                      <a:lnTo>
                        <a:pt x="131787" y="440801"/>
                      </a:lnTo>
                      <a:lnTo>
                        <a:pt x="132030" y="441942"/>
                      </a:lnTo>
                      <a:lnTo>
                        <a:pt x="132674" y="442914"/>
                      </a:lnTo>
                      <a:lnTo>
                        <a:pt x="135649" y="447419"/>
                      </a:lnTo>
                      <a:lnTo>
                        <a:pt x="136134" y="448160"/>
                      </a:lnTo>
                      <a:lnTo>
                        <a:pt x="136802" y="448718"/>
                      </a:lnTo>
                      <a:lnTo>
                        <a:pt x="142692" y="453697"/>
                      </a:lnTo>
                      <a:lnTo>
                        <a:pt x="143785" y="454960"/>
                      </a:lnTo>
                      <a:lnTo>
                        <a:pt x="144246" y="456028"/>
                      </a:lnTo>
                      <a:lnTo>
                        <a:pt x="144695" y="457862"/>
                      </a:lnTo>
                      <a:lnTo>
                        <a:pt x="145460" y="462937"/>
                      </a:lnTo>
                      <a:lnTo>
                        <a:pt x="145521" y="463277"/>
                      </a:lnTo>
                      <a:lnTo>
                        <a:pt x="145606" y="463617"/>
                      </a:lnTo>
                      <a:lnTo>
                        <a:pt x="146699" y="467552"/>
                      </a:lnTo>
                      <a:lnTo>
                        <a:pt x="146796" y="467892"/>
                      </a:lnTo>
                      <a:lnTo>
                        <a:pt x="146929" y="468220"/>
                      </a:lnTo>
                      <a:lnTo>
                        <a:pt x="147682" y="470029"/>
                      </a:lnTo>
                      <a:lnTo>
                        <a:pt x="147877" y="470503"/>
                      </a:lnTo>
                      <a:lnTo>
                        <a:pt x="148132" y="470928"/>
                      </a:lnTo>
                      <a:lnTo>
                        <a:pt x="148714" y="471875"/>
                      </a:lnTo>
                      <a:lnTo>
                        <a:pt x="149261" y="472761"/>
                      </a:lnTo>
                      <a:lnTo>
                        <a:pt x="150062" y="473417"/>
                      </a:lnTo>
                      <a:lnTo>
                        <a:pt x="150852" y="474048"/>
                      </a:lnTo>
                      <a:lnTo>
                        <a:pt x="151410" y="474497"/>
                      </a:lnTo>
                      <a:lnTo>
                        <a:pt x="152066" y="474801"/>
                      </a:lnTo>
                      <a:lnTo>
                        <a:pt x="153098" y="475287"/>
                      </a:lnTo>
                      <a:lnTo>
                        <a:pt x="153438" y="475445"/>
                      </a:lnTo>
                      <a:lnTo>
                        <a:pt x="153790" y="475566"/>
                      </a:lnTo>
                      <a:lnTo>
                        <a:pt x="155187" y="476028"/>
                      </a:lnTo>
                      <a:lnTo>
                        <a:pt x="156219" y="476368"/>
                      </a:lnTo>
                      <a:lnTo>
                        <a:pt x="157300" y="476331"/>
                      </a:lnTo>
                      <a:lnTo>
                        <a:pt x="158611" y="476283"/>
                      </a:lnTo>
                      <a:lnTo>
                        <a:pt x="159595" y="476246"/>
                      </a:lnTo>
                      <a:lnTo>
                        <a:pt x="160517" y="475906"/>
                      </a:lnTo>
                      <a:lnTo>
                        <a:pt x="161671" y="475469"/>
                      </a:lnTo>
                      <a:lnTo>
                        <a:pt x="163128" y="474923"/>
                      </a:lnTo>
                      <a:lnTo>
                        <a:pt x="164136" y="473757"/>
                      </a:lnTo>
                      <a:lnTo>
                        <a:pt x="164707" y="473101"/>
                      </a:lnTo>
                      <a:lnTo>
                        <a:pt x="165022" y="472737"/>
                      </a:lnTo>
                      <a:lnTo>
                        <a:pt x="165399" y="472980"/>
                      </a:lnTo>
                      <a:lnTo>
                        <a:pt x="165678" y="473162"/>
                      </a:lnTo>
                      <a:lnTo>
                        <a:pt x="165970" y="473308"/>
                      </a:lnTo>
                      <a:lnTo>
                        <a:pt x="167220" y="473915"/>
                      </a:lnTo>
                      <a:lnTo>
                        <a:pt x="167633" y="474109"/>
                      </a:lnTo>
                      <a:lnTo>
                        <a:pt x="168070" y="474243"/>
                      </a:lnTo>
                      <a:lnTo>
                        <a:pt x="171240" y="475226"/>
                      </a:lnTo>
                      <a:lnTo>
                        <a:pt x="171689" y="475360"/>
                      </a:lnTo>
                      <a:lnTo>
                        <a:pt x="172150" y="475432"/>
                      </a:lnTo>
                      <a:lnTo>
                        <a:pt x="173875" y="475688"/>
                      </a:lnTo>
                      <a:lnTo>
                        <a:pt x="174324" y="475748"/>
                      </a:lnTo>
                      <a:lnTo>
                        <a:pt x="174773" y="475748"/>
                      </a:lnTo>
                      <a:lnTo>
                        <a:pt x="176546" y="475748"/>
                      </a:lnTo>
                      <a:lnTo>
                        <a:pt x="177578" y="475748"/>
                      </a:lnTo>
                      <a:lnTo>
                        <a:pt x="178550" y="475408"/>
                      </a:lnTo>
                      <a:lnTo>
                        <a:pt x="180043" y="474886"/>
                      </a:lnTo>
                      <a:lnTo>
                        <a:pt x="180347" y="474777"/>
                      </a:lnTo>
                      <a:lnTo>
                        <a:pt x="180638" y="474631"/>
                      </a:lnTo>
                      <a:lnTo>
                        <a:pt x="181233" y="474352"/>
                      </a:lnTo>
                      <a:lnTo>
                        <a:pt x="181938" y="474279"/>
                      </a:lnTo>
                      <a:lnTo>
                        <a:pt x="183298" y="474303"/>
                      </a:lnTo>
                      <a:lnTo>
                        <a:pt x="183880" y="474376"/>
                      </a:lnTo>
                      <a:lnTo>
                        <a:pt x="184755" y="474655"/>
                      </a:lnTo>
                      <a:lnTo>
                        <a:pt x="188471" y="476392"/>
                      </a:lnTo>
                      <a:lnTo>
                        <a:pt x="188677" y="478784"/>
                      </a:lnTo>
                      <a:lnTo>
                        <a:pt x="188725" y="479403"/>
                      </a:lnTo>
                      <a:lnTo>
                        <a:pt x="188908" y="480011"/>
                      </a:lnTo>
                      <a:lnTo>
                        <a:pt x="189600" y="482330"/>
                      </a:lnTo>
                      <a:lnTo>
                        <a:pt x="189745" y="482815"/>
                      </a:lnTo>
                      <a:lnTo>
                        <a:pt x="189976" y="483265"/>
                      </a:lnTo>
                      <a:lnTo>
                        <a:pt x="191761" y="486895"/>
                      </a:lnTo>
                      <a:lnTo>
                        <a:pt x="192259" y="488219"/>
                      </a:lnTo>
                      <a:lnTo>
                        <a:pt x="192453" y="489178"/>
                      </a:lnTo>
                      <a:lnTo>
                        <a:pt x="192429" y="489397"/>
                      </a:lnTo>
                      <a:lnTo>
                        <a:pt x="192028" y="490235"/>
                      </a:lnTo>
                      <a:lnTo>
                        <a:pt x="190863" y="491789"/>
                      </a:lnTo>
                      <a:lnTo>
                        <a:pt x="189175" y="493501"/>
                      </a:lnTo>
                      <a:lnTo>
                        <a:pt x="182265" y="498383"/>
                      </a:lnTo>
                      <a:lnTo>
                        <a:pt x="180396" y="499949"/>
                      </a:lnTo>
                      <a:lnTo>
                        <a:pt x="179995" y="500289"/>
                      </a:lnTo>
                      <a:lnTo>
                        <a:pt x="179655" y="500702"/>
                      </a:lnTo>
                      <a:lnTo>
                        <a:pt x="177991" y="502730"/>
                      </a:lnTo>
                      <a:lnTo>
                        <a:pt x="175805" y="503483"/>
                      </a:lnTo>
                      <a:lnTo>
                        <a:pt x="175296" y="503665"/>
                      </a:lnTo>
                      <a:lnTo>
                        <a:pt x="174822" y="503920"/>
                      </a:lnTo>
                      <a:lnTo>
                        <a:pt x="173438" y="504697"/>
                      </a:lnTo>
                      <a:lnTo>
                        <a:pt x="172697" y="505110"/>
                      </a:lnTo>
                      <a:lnTo>
                        <a:pt x="172102" y="505705"/>
                      </a:lnTo>
                      <a:lnTo>
                        <a:pt x="170778" y="507028"/>
                      </a:lnTo>
                      <a:lnTo>
                        <a:pt x="170365" y="507453"/>
                      </a:lnTo>
                      <a:lnTo>
                        <a:pt x="170037" y="507951"/>
                      </a:lnTo>
                      <a:lnTo>
                        <a:pt x="169066" y="509408"/>
                      </a:lnTo>
                      <a:lnTo>
                        <a:pt x="168799" y="509809"/>
                      </a:lnTo>
                      <a:lnTo>
                        <a:pt x="168593" y="510246"/>
                      </a:lnTo>
                      <a:lnTo>
                        <a:pt x="167779" y="512031"/>
                      </a:lnTo>
                      <a:lnTo>
                        <a:pt x="167609" y="512408"/>
                      </a:lnTo>
                      <a:lnTo>
                        <a:pt x="167488" y="512796"/>
                      </a:lnTo>
                      <a:lnTo>
                        <a:pt x="164658" y="522098"/>
                      </a:lnTo>
                      <a:lnTo>
                        <a:pt x="164355" y="522620"/>
                      </a:lnTo>
                      <a:lnTo>
                        <a:pt x="164063" y="522936"/>
                      </a:lnTo>
                      <a:lnTo>
                        <a:pt x="154944" y="529214"/>
                      </a:lnTo>
                      <a:lnTo>
                        <a:pt x="154507" y="529517"/>
                      </a:lnTo>
                      <a:lnTo>
                        <a:pt x="154130" y="529894"/>
                      </a:lnTo>
                      <a:lnTo>
                        <a:pt x="150900" y="533063"/>
                      </a:lnTo>
                      <a:lnTo>
                        <a:pt x="150657" y="533342"/>
                      </a:lnTo>
                      <a:lnTo>
                        <a:pt x="150305" y="533464"/>
                      </a:lnTo>
                      <a:lnTo>
                        <a:pt x="149346" y="533573"/>
                      </a:lnTo>
                      <a:lnTo>
                        <a:pt x="144222" y="533367"/>
                      </a:lnTo>
                      <a:lnTo>
                        <a:pt x="143080" y="533318"/>
                      </a:lnTo>
                      <a:lnTo>
                        <a:pt x="142000" y="533694"/>
                      </a:lnTo>
                      <a:lnTo>
                        <a:pt x="140967" y="534047"/>
                      </a:lnTo>
                      <a:lnTo>
                        <a:pt x="139874" y="534423"/>
                      </a:lnTo>
                      <a:lnTo>
                        <a:pt x="138988" y="535176"/>
                      </a:lnTo>
                      <a:lnTo>
                        <a:pt x="136560" y="537264"/>
                      </a:lnTo>
                      <a:lnTo>
                        <a:pt x="136183" y="537592"/>
                      </a:lnTo>
                      <a:lnTo>
                        <a:pt x="135855" y="537981"/>
                      </a:lnTo>
                      <a:lnTo>
                        <a:pt x="133026" y="541381"/>
                      </a:lnTo>
                      <a:lnTo>
                        <a:pt x="132431" y="541867"/>
                      </a:lnTo>
                      <a:lnTo>
                        <a:pt x="131933" y="542182"/>
                      </a:lnTo>
                      <a:lnTo>
                        <a:pt x="129116" y="543469"/>
                      </a:lnTo>
                      <a:lnTo>
                        <a:pt x="128594" y="543712"/>
                      </a:lnTo>
                      <a:lnTo>
                        <a:pt x="128120" y="544040"/>
                      </a:lnTo>
                      <a:lnTo>
                        <a:pt x="127319" y="544611"/>
                      </a:lnTo>
                      <a:lnTo>
                        <a:pt x="126602" y="545121"/>
                      </a:lnTo>
                      <a:lnTo>
                        <a:pt x="126068" y="545813"/>
                      </a:lnTo>
                      <a:lnTo>
                        <a:pt x="125485" y="546554"/>
                      </a:lnTo>
                      <a:lnTo>
                        <a:pt x="125230" y="546894"/>
                      </a:lnTo>
                      <a:lnTo>
                        <a:pt x="125012" y="547258"/>
                      </a:lnTo>
                      <a:lnTo>
                        <a:pt x="124319" y="548460"/>
                      </a:lnTo>
                      <a:lnTo>
                        <a:pt x="124064" y="548885"/>
                      </a:lnTo>
                      <a:lnTo>
                        <a:pt x="123894" y="549347"/>
                      </a:lnTo>
                      <a:lnTo>
                        <a:pt x="123445" y="550512"/>
                      </a:lnTo>
                      <a:lnTo>
                        <a:pt x="122097" y="554884"/>
                      </a:lnTo>
                      <a:lnTo>
                        <a:pt x="121126" y="557227"/>
                      </a:lnTo>
                      <a:lnTo>
                        <a:pt x="118442" y="563870"/>
                      </a:lnTo>
                      <a:lnTo>
                        <a:pt x="125437" y="565424"/>
                      </a:lnTo>
                      <a:lnTo>
                        <a:pt x="131739" y="566820"/>
                      </a:lnTo>
                      <a:lnTo>
                        <a:pt x="136122" y="568970"/>
                      </a:lnTo>
                      <a:lnTo>
                        <a:pt x="140700" y="571872"/>
                      </a:lnTo>
                      <a:lnTo>
                        <a:pt x="150342" y="584731"/>
                      </a:lnTo>
                      <a:lnTo>
                        <a:pt x="151216" y="586880"/>
                      </a:lnTo>
                      <a:lnTo>
                        <a:pt x="151350" y="587208"/>
                      </a:lnTo>
                      <a:lnTo>
                        <a:pt x="151520" y="587512"/>
                      </a:lnTo>
                      <a:lnTo>
                        <a:pt x="152722" y="589710"/>
                      </a:lnTo>
                      <a:lnTo>
                        <a:pt x="152904" y="590038"/>
                      </a:lnTo>
                      <a:lnTo>
                        <a:pt x="153135" y="590341"/>
                      </a:lnTo>
                      <a:lnTo>
                        <a:pt x="155150" y="593134"/>
                      </a:lnTo>
                      <a:lnTo>
                        <a:pt x="155672" y="593863"/>
                      </a:lnTo>
                      <a:lnTo>
                        <a:pt x="156389" y="594409"/>
                      </a:lnTo>
                      <a:lnTo>
                        <a:pt x="162181" y="598829"/>
                      </a:lnTo>
                      <a:lnTo>
                        <a:pt x="162861" y="599339"/>
                      </a:lnTo>
                      <a:lnTo>
                        <a:pt x="163650" y="599643"/>
                      </a:lnTo>
                      <a:lnTo>
                        <a:pt x="165545" y="600383"/>
                      </a:lnTo>
                      <a:lnTo>
                        <a:pt x="166297" y="600675"/>
                      </a:lnTo>
                      <a:lnTo>
                        <a:pt x="167087" y="600760"/>
                      </a:lnTo>
                      <a:lnTo>
                        <a:pt x="168410" y="600906"/>
                      </a:lnTo>
                      <a:lnTo>
                        <a:pt x="168860" y="600954"/>
                      </a:lnTo>
                      <a:lnTo>
                        <a:pt x="169309" y="600942"/>
                      </a:lnTo>
                      <a:lnTo>
                        <a:pt x="172539" y="600833"/>
                      </a:lnTo>
                      <a:lnTo>
                        <a:pt x="173596" y="601088"/>
                      </a:lnTo>
                      <a:lnTo>
                        <a:pt x="184609" y="606540"/>
                      </a:lnTo>
                      <a:lnTo>
                        <a:pt x="185192" y="606831"/>
                      </a:lnTo>
                      <a:lnTo>
                        <a:pt x="185836" y="606989"/>
                      </a:lnTo>
                      <a:lnTo>
                        <a:pt x="189223" y="607827"/>
                      </a:lnTo>
                      <a:lnTo>
                        <a:pt x="190098" y="608046"/>
                      </a:lnTo>
                      <a:lnTo>
                        <a:pt x="190996" y="608009"/>
                      </a:lnTo>
                      <a:lnTo>
                        <a:pt x="209247" y="607062"/>
                      </a:lnTo>
                      <a:lnTo>
                        <a:pt x="209648" y="607038"/>
                      </a:lnTo>
                      <a:lnTo>
                        <a:pt x="210036" y="606965"/>
                      </a:lnTo>
                      <a:lnTo>
                        <a:pt x="212404" y="606528"/>
                      </a:lnTo>
                      <a:lnTo>
                        <a:pt x="213279" y="606358"/>
                      </a:lnTo>
                      <a:lnTo>
                        <a:pt x="214080" y="605945"/>
                      </a:lnTo>
                      <a:lnTo>
                        <a:pt x="226016" y="599776"/>
                      </a:lnTo>
                      <a:lnTo>
                        <a:pt x="226344" y="599606"/>
                      </a:lnTo>
                      <a:lnTo>
                        <a:pt x="226648" y="599400"/>
                      </a:lnTo>
                      <a:lnTo>
                        <a:pt x="227862" y="598574"/>
                      </a:lnTo>
                      <a:lnTo>
                        <a:pt x="228263" y="598295"/>
                      </a:lnTo>
                      <a:lnTo>
                        <a:pt x="228615" y="597955"/>
                      </a:lnTo>
                      <a:lnTo>
                        <a:pt x="229805" y="596826"/>
                      </a:lnTo>
                      <a:lnTo>
                        <a:pt x="230097" y="596558"/>
                      </a:lnTo>
                      <a:lnTo>
                        <a:pt x="230352" y="596243"/>
                      </a:lnTo>
                      <a:lnTo>
                        <a:pt x="231044" y="595380"/>
                      </a:lnTo>
                      <a:lnTo>
                        <a:pt x="231748" y="594506"/>
                      </a:lnTo>
                      <a:lnTo>
                        <a:pt x="232088" y="593438"/>
                      </a:lnTo>
                      <a:lnTo>
                        <a:pt x="232610" y="591835"/>
                      </a:lnTo>
                      <a:lnTo>
                        <a:pt x="232780" y="591337"/>
                      </a:lnTo>
                      <a:lnTo>
                        <a:pt x="232853" y="590815"/>
                      </a:lnTo>
                      <a:lnTo>
                        <a:pt x="233072" y="589260"/>
                      </a:lnTo>
                      <a:lnTo>
                        <a:pt x="233157" y="588690"/>
                      </a:lnTo>
                      <a:lnTo>
                        <a:pt x="233144" y="588459"/>
                      </a:lnTo>
                      <a:lnTo>
                        <a:pt x="270095" y="587658"/>
                      </a:lnTo>
                      <a:lnTo>
                        <a:pt x="270775" y="587646"/>
                      </a:lnTo>
                      <a:lnTo>
                        <a:pt x="271431" y="587488"/>
                      </a:lnTo>
                      <a:lnTo>
                        <a:pt x="274175" y="586808"/>
                      </a:lnTo>
                      <a:lnTo>
                        <a:pt x="274904" y="586626"/>
                      </a:lnTo>
                      <a:lnTo>
                        <a:pt x="275560" y="586273"/>
                      </a:lnTo>
                      <a:lnTo>
                        <a:pt x="277296" y="585350"/>
                      </a:lnTo>
                      <a:lnTo>
                        <a:pt x="278523" y="584707"/>
                      </a:lnTo>
                      <a:lnTo>
                        <a:pt x="279336" y="583602"/>
                      </a:lnTo>
                      <a:lnTo>
                        <a:pt x="279457" y="583432"/>
                      </a:lnTo>
                      <a:lnTo>
                        <a:pt x="279543" y="583408"/>
                      </a:lnTo>
                      <a:lnTo>
                        <a:pt x="282396" y="583165"/>
                      </a:lnTo>
                      <a:lnTo>
                        <a:pt x="284594" y="583456"/>
                      </a:lnTo>
                      <a:lnTo>
                        <a:pt x="295231" y="586043"/>
                      </a:lnTo>
                      <a:lnTo>
                        <a:pt x="300368" y="588192"/>
                      </a:lnTo>
                      <a:lnTo>
                        <a:pt x="301922" y="588848"/>
                      </a:lnTo>
                      <a:lnTo>
                        <a:pt x="303598" y="588593"/>
                      </a:lnTo>
                      <a:lnTo>
                        <a:pt x="305091" y="588374"/>
                      </a:lnTo>
                      <a:lnTo>
                        <a:pt x="305699" y="588289"/>
                      </a:lnTo>
                      <a:lnTo>
                        <a:pt x="306269" y="588083"/>
                      </a:lnTo>
                      <a:lnTo>
                        <a:pt x="307240" y="587730"/>
                      </a:lnTo>
                      <a:lnTo>
                        <a:pt x="308589" y="587245"/>
                      </a:lnTo>
                      <a:lnTo>
                        <a:pt x="309572" y="586212"/>
                      </a:lnTo>
                      <a:lnTo>
                        <a:pt x="312073" y="583602"/>
                      </a:lnTo>
                      <a:lnTo>
                        <a:pt x="317429" y="583068"/>
                      </a:lnTo>
                      <a:lnTo>
                        <a:pt x="318388" y="582970"/>
                      </a:lnTo>
                      <a:lnTo>
                        <a:pt x="319262" y="582582"/>
                      </a:lnTo>
                      <a:lnTo>
                        <a:pt x="320112" y="582205"/>
                      </a:lnTo>
                      <a:lnTo>
                        <a:pt x="320537" y="582023"/>
                      </a:lnTo>
                      <a:lnTo>
                        <a:pt x="320926" y="581768"/>
                      </a:lnTo>
                      <a:lnTo>
                        <a:pt x="329365" y="576413"/>
                      </a:lnTo>
                      <a:lnTo>
                        <a:pt x="330507" y="579473"/>
                      </a:lnTo>
                      <a:lnTo>
                        <a:pt x="332777" y="589151"/>
                      </a:lnTo>
                      <a:lnTo>
                        <a:pt x="333506" y="595635"/>
                      </a:lnTo>
                      <a:lnTo>
                        <a:pt x="333506" y="599910"/>
                      </a:lnTo>
                      <a:lnTo>
                        <a:pt x="332619" y="604038"/>
                      </a:lnTo>
                      <a:lnTo>
                        <a:pt x="331903" y="606054"/>
                      </a:lnTo>
                      <a:lnTo>
                        <a:pt x="331199" y="607305"/>
                      </a:lnTo>
                      <a:lnTo>
                        <a:pt x="322444" y="619594"/>
                      </a:lnTo>
                      <a:lnTo>
                        <a:pt x="322103" y="620067"/>
                      </a:lnTo>
                      <a:lnTo>
                        <a:pt x="321861" y="620601"/>
                      </a:lnTo>
                      <a:lnTo>
                        <a:pt x="316202" y="633048"/>
                      </a:lnTo>
                      <a:lnTo>
                        <a:pt x="314769" y="635440"/>
                      </a:lnTo>
                      <a:lnTo>
                        <a:pt x="313628" y="636946"/>
                      </a:lnTo>
                      <a:lnTo>
                        <a:pt x="313239" y="637468"/>
                      </a:lnTo>
                      <a:lnTo>
                        <a:pt x="312972" y="638063"/>
                      </a:lnTo>
                      <a:lnTo>
                        <a:pt x="311636" y="640989"/>
                      </a:lnTo>
                      <a:lnTo>
                        <a:pt x="310884" y="642653"/>
                      </a:lnTo>
                      <a:lnTo>
                        <a:pt x="311163" y="644450"/>
                      </a:lnTo>
                      <a:lnTo>
                        <a:pt x="311357" y="645664"/>
                      </a:lnTo>
                      <a:lnTo>
                        <a:pt x="311819" y="648579"/>
                      </a:lnTo>
                      <a:lnTo>
                        <a:pt x="314393" y="650024"/>
                      </a:lnTo>
                      <a:lnTo>
                        <a:pt x="315303" y="650534"/>
                      </a:lnTo>
                      <a:lnTo>
                        <a:pt x="317234" y="651614"/>
                      </a:lnTo>
                      <a:lnTo>
                        <a:pt x="319408" y="651202"/>
                      </a:lnTo>
                      <a:lnTo>
                        <a:pt x="321654" y="650777"/>
                      </a:lnTo>
                      <a:lnTo>
                        <a:pt x="322116" y="650679"/>
                      </a:lnTo>
                      <a:lnTo>
                        <a:pt x="322565" y="650522"/>
                      </a:lnTo>
                      <a:lnTo>
                        <a:pt x="329462" y="648032"/>
                      </a:lnTo>
                      <a:lnTo>
                        <a:pt x="329924" y="647959"/>
                      </a:lnTo>
                      <a:lnTo>
                        <a:pt x="331211" y="647923"/>
                      </a:lnTo>
                      <a:lnTo>
                        <a:pt x="333469" y="648227"/>
                      </a:lnTo>
                      <a:lnTo>
                        <a:pt x="336104" y="649028"/>
                      </a:lnTo>
                      <a:lnTo>
                        <a:pt x="337391" y="649647"/>
                      </a:lnTo>
                      <a:lnTo>
                        <a:pt x="350967" y="658560"/>
                      </a:lnTo>
                      <a:lnTo>
                        <a:pt x="354319" y="662422"/>
                      </a:lnTo>
                      <a:lnTo>
                        <a:pt x="354622" y="662774"/>
                      </a:lnTo>
                      <a:lnTo>
                        <a:pt x="354974" y="663065"/>
                      </a:lnTo>
                      <a:lnTo>
                        <a:pt x="356298" y="664195"/>
                      </a:lnTo>
                      <a:lnTo>
                        <a:pt x="357075" y="664875"/>
                      </a:lnTo>
                      <a:lnTo>
                        <a:pt x="358047" y="665239"/>
                      </a:lnTo>
                      <a:lnTo>
                        <a:pt x="359006" y="665603"/>
                      </a:lnTo>
                      <a:lnTo>
                        <a:pt x="360828" y="666307"/>
                      </a:lnTo>
                      <a:lnTo>
                        <a:pt x="362722" y="665810"/>
                      </a:lnTo>
                      <a:lnTo>
                        <a:pt x="363705" y="665555"/>
                      </a:lnTo>
                      <a:lnTo>
                        <a:pt x="364847" y="665251"/>
                      </a:lnTo>
                      <a:lnTo>
                        <a:pt x="365794" y="664547"/>
                      </a:lnTo>
                      <a:lnTo>
                        <a:pt x="367057" y="663599"/>
                      </a:lnTo>
                      <a:lnTo>
                        <a:pt x="367567" y="663211"/>
                      </a:lnTo>
                      <a:lnTo>
                        <a:pt x="367992" y="662725"/>
                      </a:lnTo>
                      <a:lnTo>
                        <a:pt x="376346" y="653108"/>
                      </a:lnTo>
                      <a:lnTo>
                        <a:pt x="384227" y="645713"/>
                      </a:lnTo>
                      <a:lnTo>
                        <a:pt x="385162" y="645203"/>
                      </a:lnTo>
                      <a:lnTo>
                        <a:pt x="392945" y="642495"/>
                      </a:lnTo>
                      <a:lnTo>
                        <a:pt x="393662" y="642240"/>
                      </a:lnTo>
                      <a:lnTo>
                        <a:pt x="394293" y="641827"/>
                      </a:lnTo>
                      <a:lnTo>
                        <a:pt x="396855" y="640139"/>
                      </a:lnTo>
                      <a:lnTo>
                        <a:pt x="398228" y="639690"/>
                      </a:lnTo>
                      <a:lnTo>
                        <a:pt x="400061" y="639387"/>
                      </a:lnTo>
                      <a:lnTo>
                        <a:pt x="401227" y="639423"/>
                      </a:lnTo>
                      <a:lnTo>
                        <a:pt x="402490" y="639617"/>
                      </a:lnTo>
                      <a:lnTo>
                        <a:pt x="403753" y="640079"/>
                      </a:lnTo>
                      <a:lnTo>
                        <a:pt x="420048" y="649732"/>
                      </a:lnTo>
                      <a:lnTo>
                        <a:pt x="420753" y="650145"/>
                      </a:lnTo>
                      <a:lnTo>
                        <a:pt x="421530" y="650364"/>
                      </a:lnTo>
                      <a:lnTo>
                        <a:pt x="432616" y="653412"/>
                      </a:lnTo>
                      <a:lnTo>
                        <a:pt x="432908" y="653484"/>
                      </a:lnTo>
                      <a:lnTo>
                        <a:pt x="433199" y="653545"/>
                      </a:lnTo>
                      <a:lnTo>
                        <a:pt x="441238" y="654905"/>
                      </a:lnTo>
                      <a:lnTo>
                        <a:pt x="445002" y="656399"/>
                      </a:lnTo>
                      <a:lnTo>
                        <a:pt x="446666" y="657067"/>
                      </a:lnTo>
                      <a:lnTo>
                        <a:pt x="448427" y="656727"/>
                      </a:lnTo>
                      <a:lnTo>
                        <a:pt x="449580" y="656496"/>
                      </a:lnTo>
                      <a:lnTo>
                        <a:pt x="450491" y="656326"/>
                      </a:lnTo>
                      <a:lnTo>
                        <a:pt x="451292" y="655889"/>
                      </a:lnTo>
                      <a:lnTo>
                        <a:pt x="454777" y="654007"/>
                      </a:lnTo>
                      <a:lnTo>
                        <a:pt x="456380" y="653399"/>
                      </a:lnTo>
                      <a:lnTo>
                        <a:pt x="459161" y="652647"/>
                      </a:lnTo>
                      <a:lnTo>
                        <a:pt x="459574" y="652525"/>
                      </a:lnTo>
                      <a:lnTo>
                        <a:pt x="459853" y="652404"/>
                      </a:lnTo>
                      <a:lnTo>
                        <a:pt x="459841" y="652647"/>
                      </a:lnTo>
                      <a:lnTo>
                        <a:pt x="459805" y="652999"/>
                      </a:lnTo>
                      <a:lnTo>
                        <a:pt x="459817" y="653351"/>
                      </a:lnTo>
                      <a:lnTo>
                        <a:pt x="459877" y="655014"/>
                      </a:lnTo>
                      <a:lnTo>
                        <a:pt x="459683" y="657382"/>
                      </a:lnTo>
                      <a:lnTo>
                        <a:pt x="459622" y="658135"/>
                      </a:lnTo>
                      <a:lnTo>
                        <a:pt x="459744" y="658888"/>
                      </a:lnTo>
                      <a:lnTo>
                        <a:pt x="460315" y="662324"/>
                      </a:lnTo>
                      <a:lnTo>
                        <a:pt x="460412" y="662883"/>
                      </a:lnTo>
                      <a:lnTo>
                        <a:pt x="460606" y="663417"/>
                      </a:lnTo>
                      <a:lnTo>
                        <a:pt x="461359" y="665457"/>
                      </a:lnTo>
                      <a:lnTo>
                        <a:pt x="462148" y="667619"/>
                      </a:lnTo>
                      <a:lnTo>
                        <a:pt x="464164" y="668712"/>
                      </a:lnTo>
                      <a:lnTo>
                        <a:pt x="473477" y="673763"/>
                      </a:lnTo>
                      <a:lnTo>
                        <a:pt x="475530" y="674880"/>
                      </a:lnTo>
                      <a:lnTo>
                        <a:pt x="477800" y="674334"/>
                      </a:lnTo>
                      <a:lnTo>
                        <a:pt x="485887" y="672391"/>
                      </a:lnTo>
                      <a:lnTo>
                        <a:pt x="486811" y="672160"/>
                      </a:lnTo>
                      <a:lnTo>
                        <a:pt x="487612" y="671662"/>
                      </a:lnTo>
                      <a:lnTo>
                        <a:pt x="491340" y="669392"/>
                      </a:lnTo>
                      <a:lnTo>
                        <a:pt x="491680" y="669185"/>
                      </a:lnTo>
                      <a:lnTo>
                        <a:pt x="491983" y="668930"/>
                      </a:lnTo>
                      <a:lnTo>
                        <a:pt x="495565" y="666052"/>
                      </a:lnTo>
                      <a:lnTo>
                        <a:pt x="496221" y="665530"/>
                      </a:lnTo>
                      <a:lnTo>
                        <a:pt x="496707" y="664838"/>
                      </a:lnTo>
                      <a:lnTo>
                        <a:pt x="505596" y="652355"/>
                      </a:lnTo>
                      <a:lnTo>
                        <a:pt x="507283" y="649489"/>
                      </a:lnTo>
                      <a:lnTo>
                        <a:pt x="507478" y="649174"/>
                      </a:lnTo>
                      <a:lnTo>
                        <a:pt x="507623" y="648834"/>
                      </a:lnTo>
                      <a:lnTo>
                        <a:pt x="508194" y="647498"/>
                      </a:lnTo>
                      <a:lnTo>
                        <a:pt x="508680" y="646357"/>
                      </a:lnTo>
                      <a:lnTo>
                        <a:pt x="508680" y="645118"/>
                      </a:lnTo>
                      <a:lnTo>
                        <a:pt x="508680" y="643758"/>
                      </a:lnTo>
                      <a:lnTo>
                        <a:pt x="508680" y="643296"/>
                      </a:lnTo>
                      <a:lnTo>
                        <a:pt x="508607" y="642835"/>
                      </a:lnTo>
                      <a:lnTo>
                        <a:pt x="508425" y="641706"/>
                      </a:lnTo>
                      <a:lnTo>
                        <a:pt x="508364" y="640067"/>
                      </a:lnTo>
                      <a:lnTo>
                        <a:pt x="508959" y="637711"/>
                      </a:lnTo>
                      <a:lnTo>
                        <a:pt x="510307" y="633752"/>
                      </a:lnTo>
                      <a:lnTo>
                        <a:pt x="511169" y="630146"/>
                      </a:lnTo>
                      <a:lnTo>
                        <a:pt x="511400" y="629150"/>
                      </a:lnTo>
                      <a:lnTo>
                        <a:pt x="511291" y="628142"/>
                      </a:lnTo>
                      <a:lnTo>
                        <a:pt x="510999" y="625361"/>
                      </a:lnTo>
                      <a:lnTo>
                        <a:pt x="510866" y="624123"/>
                      </a:lnTo>
                      <a:lnTo>
                        <a:pt x="510270" y="623054"/>
                      </a:lnTo>
                      <a:lnTo>
                        <a:pt x="507526" y="618124"/>
                      </a:lnTo>
                      <a:lnTo>
                        <a:pt x="506883" y="616497"/>
                      </a:lnTo>
                      <a:lnTo>
                        <a:pt x="506931" y="615416"/>
                      </a:lnTo>
                      <a:lnTo>
                        <a:pt x="507344" y="614591"/>
                      </a:lnTo>
                      <a:lnTo>
                        <a:pt x="510538" y="609891"/>
                      </a:lnTo>
                      <a:lnTo>
                        <a:pt x="511254" y="608847"/>
                      </a:lnTo>
                      <a:lnTo>
                        <a:pt x="511497" y="607596"/>
                      </a:lnTo>
                      <a:lnTo>
                        <a:pt x="512080" y="604524"/>
                      </a:lnTo>
                      <a:lnTo>
                        <a:pt x="512177" y="604014"/>
                      </a:lnTo>
                      <a:lnTo>
                        <a:pt x="512189" y="603492"/>
                      </a:lnTo>
                      <a:lnTo>
                        <a:pt x="512250" y="599788"/>
                      </a:lnTo>
                      <a:lnTo>
                        <a:pt x="512250" y="599412"/>
                      </a:lnTo>
                      <a:lnTo>
                        <a:pt x="512213" y="599035"/>
                      </a:lnTo>
                      <a:lnTo>
                        <a:pt x="510950" y="587512"/>
                      </a:lnTo>
                      <a:lnTo>
                        <a:pt x="510914" y="587184"/>
                      </a:lnTo>
                      <a:lnTo>
                        <a:pt x="510841" y="586868"/>
                      </a:lnTo>
                      <a:lnTo>
                        <a:pt x="510088" y="583492"/>
                      </a:lnTo>
                      <a:lnTo>
                        <a:pt x="509906" y="582703"/>
                      </a:lnTo>
                      <a:lnTo>
                        <a:pt x="509530" y="581987"/>
                      </a:lnTo>
                      <a:lnTo>
                        <a:pt x="508097" y="579255"/>
                      </a:lnTo>
                      <a:lnTo>
                        <a:pt x="507818" y="578708"/>
                      </a:lnTo>
                      <a:lnTo>
                        <a:pt x="507417" y="578223"/>
                      </a:lnTo>
                      <a:lnTo>
                        <a:pt x="503106" y="572977"/>
                      </a:lnTo>
                      <a:lnTo>
                        <a:pt x="502062" y="571265"/>
                      </a:lnTo>
                      <a:lnTo>
                        <a:pt x="501965" y="570767"/>
                      </a:lnTo>
                      <a:lnTo>
                        <a:pt x="502803" y="570439"/>
                      </a:lnTo>
                      <a:lnTo>
                        <a:pt x="503556" y="570269"/>
                      </a:lnTo>
                      <a:lnTo>
                        <a:pt x="506008" y="569965"/>
                      </a:lnTo>
                      <a:lnTo>
                        <a:pt x="506397" y="569917"/>
                      </a:lnTo>
                      <a:lnTo>
                        <a:pt x="506773" y="569820"/>
                      </a:lnTo>
                      <a:lnTo>
                        <a:pt x="507842" y="569552"/>
                      </a:lnTo>
                      <a:lnTo>
                        <a:pt x="508899" y="569225"/>
                      </a:lnTo>
                      <a:lnTo>
                        <a:pt x="509785" y="568933"/>
                      </a:lnTo>
                      <a:lnTo>
                        <a:pt x="510550" y="568399"/>
                      </a:lnTo>
                      <a:lnTo>
                        <a:pt x="511983" y="567379"/>
                      </a:lnTo>
                      <a:lnTo>
                        <a:pt x="512990" y="566662"/>
                      </a:lnTo>
                      <a:lnTo>
                        <a:pt x="513634" y="565606"/>
                      </a:lnTo>
                      <a:lnTo>
                        <a:pt x="515431" y="562692"/>
                      </a:lnTo>
                      <a:lnTo>
                        <a:pt x="521891" y="570949"/>
                      </a:lnTo>
                      <a:lnTo>
                        <a:pt x="522741" y="572042"/>
                      </a:lnTo>
                      <a:lnTo>
                        <a:pt x="523992" y="572649"/>
                      </a:lnTo>
                      <a:lnTo>
                        <a:pt x="554714" y="587803"/>
                      </a:lnTo>
                      <a:lnTo>
                        <a:pt x="558138" y="590050"/>
                      </a:lnTo>
                      <a:lnTo>
                        <a:pt x="559935" y="591531"/>
                      </a:lnTo>
                      <a:lnTo>
                        <a:pt x="562716" y="596218"/>
                      </a:lnTo>
                      <a:lnTo>
                        <a:pt x="562934" y="596571"/>
                      </a:lnTo>
                      <a:lnTo>
                        <a:pt x="563189" y="596898"/>
                      </a:lnTo>
                      <a:lnTo>
                        <a:pt x="565084" y="599278"/>
                      </a:lnTo>
                      <a:lnTo>
                        <a:pt x="565315" y="599558"/>
                      </a:lnTo>
                      <a:lnTo>
                        <a:pt x="565570" y="599813"/>
                      </a:lnTo>
                      <a:lnTo>
                        <a:pt x="568095" y="602302"/>
                      </a:lnTo>
                      <a:lnTo>
                        <a:pt x="568399" y="602606"/>
                      </a:lnTo>
                      <a:lnTo>
                        <a:pt x="568739" y="602860"/>
                      </a:lnTo>
                      <a:lnTo>
                        <a:pt x="572467" y="605605"/>
                      </a:lnTo>
                      <a:lnTo>
                        <a:pt x="573074" y="606054"/>
                      </a:lnTo>
                      <a:lnTo>
                        <a:pt x="573778" y="606346"/>
                      </a:lnTo>
                      <a:lnTo>
                        <a:pt x="577069" y="607694"/>
                      </a:lnTo>
                      <a:lnTo>
                        <a:pt x="577639" y="607924"/>
                      </a:lnTo>
                      <a:lnTo>
                        <a:pt x="578247" y="608034"/>
                      </a:lnTo>
                      <a:lnTo>
                        <a:pt x="581610" y="608665"/>
                      </a:lnTo>
                      <a:lnTo>
                        <a:pt x="582315" y="608798"/>
                      </a:lnTo>
                      <a:lnTo>
                        <a:pt x="583019" y="608774"/>
                      </a:lnTo>
                      <a:lnTo>
                        <a:pt x="586310" y="608628"/>
                      </a:lnTo>
                      <a:lnTo>
                        <a:pt x="586674" y="608616"/>
                      </a:lnTo>
                      <a:lnTo>
                        <a:pt x="587038" y="608556"/>
                      </a:lnTo>
                      <a:lnTo>
                        <a:pt x="589782" y="608094"/>
                      </a:lnTo>
                      <a:lnTo>
                        <a:pt x="590244" y="608021"/>
                      </a:lnTo>
                      <a:lnTo>
                        <a:pt x="590681" y="607876"/>
                      </a:lnTo>
                      <a:lnTo>
                        <a:pt x="597226" y="605714"/>
                      </a:lnTo>
                      <a:lnTo>
                        <a:pt x="598441" y="605568"/>
                      </a:lnTo>
                      <a:lnTo>
                        <a:pt x="598756" y="605641"/>
                      </a:lnTo>
                      <a:lnTo>
                        <a:pt x="599460" y="605957"/>
                      </a:lnTo>
                      <a:lnTo>
                        <a:pt x="616691" y="616886"/>
                      </a:lnTo>
                      <a:lnTo>
                        <a:pt x="624645" y="624014"/>
                      </a:lnTo>
                      <a:lnTo>
                        <a:pt x="625373" y="624669"/>
                      </a:lnTo>
                      <a:lnTo>
                        <a:pt x="626248" y="625046"/>
                      </a:lnTo>
                      <a:lnTo>
                        <a:pt x="633764" y="628361"/>
                      </a:lnTo>
                      <a:lnTo>
                        <a:pt x="637541" y="630036"/>
                      </a:lnTo>
                      <a:lnTo>
                        <a:pt x="640479" y="627146"/>
                      </a:lnTo>
                      <a:lnTo>
                        <a:pt x="641378" y="626272"/>
                      </a:lnTo>
                      <a:lnTo>
                        <a:pt x="643151" y="625009"/>
                      </a:lnTo>
                      <a:lnTo>
                        <a:pt x="645361" y="623795"/>
                      </a:lnTo>
                      <a:lnTo>
                        <a:pt x="646017" y="624050"/>
                      </a:lnTo>
                      <a:lnTo>
                        <a:pt x="647133" y="624487"/>
                      </a:lnTo>
                      <a:lnTo>
                        <a:pt x="648336" y="624463"/>
                      </a:lnTo>
                      <a:lnTo>
                        <a:pt x="650461" y="624426"/>
                      </a:lnTo>
                      <a:lnTo>
                        <a:pt x="653278" y="624378"/>
                      </a:lnTo>
                      <a:lnTo>
                        <a:pt x="655063" y="622180"/>
                      </a:lnTo>
                      <a:lnTo>
                        <a:pt x="656034" y="620978"/>
                      </a:lnTo>
                      <a:lnTo>
                        <a:pt x="656994" y="619788"/>
                      </a:lnTo>
                      <a:lnTo>
                        <a:pt x="657273" y="618294"/>
                      </a:lnTo>
                      <a:lnTo>
                        <a:pt x="657674" y="616194"/>
                      </a:lnTo>
                      <a:lnTo>
                        <a:pt x="657795" y="615562"/>
                      </a:lnTo>
                      <a:lnTo>
                        <a:pt x="664340" y="615003"/>
                      </a:lnTo>
                      <a:lnTo>
                        <a:pt x="665275" y="614931"/>
                      </a:lnTo>
                      <a:lnTo>
                        <a:pt x="666137" y="614566"/>
                      </a:lnTo>
                      <a:lnTo>
                        <a:pt x="669052" y="613364"/>
                      </a:lnTo>
                      <a:lnTo>
                        <a:pt x="671456" y="612368"/>
                      </a:lnTo>
                      <a:lnTo>
                        <a:pt x="672391" y="609952"/>
                      </a:lnTo>
                      <a:lnTo>
                        <a:pt x="672974" y="608458"/>
                      </a:lnTo>
                      <a:lnTo>
                        <a:pt x="673945" y="605957"/>
                      </a:lnTo>
                      <a:lnTo>
                        <a:pt x="672804" y="603601"/>
                      </a:lnTo>
                      <a:lnTo>
                        <a:pt x="672002" y="601986"/>
                      </a:lnTo>
                      <a:lnTo>
                        <a:pt x="671529" y="601039"/>
                      </a:lnTo>
                      <a:lnTo>
                        <a:pt x="670776" y="600311"/>
                      </a:lnTo>
                      <a:lnTo>
                        <a:pt x="667558" y="597238"/>
                      </a:lnTo>
                      <a:lnTo>
                        <a:pt x="667315" y="597008"/>
                      </a:lnTo>
                      <a:lnTo>
                        <a:pt x="667060" y="596813"/>
                      </a:lnTo>
                      <a:lnTo>
                        <a:pt x="664352" y="594725"/>
                      </a:lnTo>
                      <a:lnTo>
                        <a:pt x="663454" y="593875"/>
                      </a:lnTo>
                      <a:lnTo>
                        <a:pt x="663114" y="592746"/>
                      </a:lnTo>
                      <a:lnTo>
                        <a:pt x="662810" y="586929"/>
                      </a:lnTo>
                      <a:lnTo>
                        <a:pt x="662774" y="586079"/>
                      </a:lnTo>
                      <a:lnTo>
                        <a:pt x="662494" y="585266"/>
                      </a:lnTo>
                      <a:lnTo>
                        <a:pt x="661341" y="581926"/>
                      </a:lnTo>
                      <a:lnTo>
                        <a:pt x="660940" y="580748"/>
                      </a:lnTo>
                      <a:lnTo>
                        <a:pt x="660114" y="579825"/>
                      </a:lnTo>
                      <a:lnTo>
                        <a:pt x="657127" y="576523"/>
                      </a:lnTo>
                      <a:lnTo>
                        <a:pt x="656690" y="576049"/>
                      </a:lnTo>
                      <a:lnTo>
                        <a:pt x="656180" y="575672"/>
                      </a:lnTo>
                      <a:lnTo>
                        <a:pt x="653776" y="573936"/>
                      </a:lnTo>
                      <a:lnTo>
                        <a:pt x="653375" y="573645"/>
                      </a:lnTo>
                      <a:lnTo>
                        <a:pt x="652938" y="573426"/>
                      </a:lnTo>
                      <a:lnTo>
                        <a:pt x="650752" y="572333"/>
                      </a:lnTo>
                      <a:lnTo>
                        <a:pt x="651262" y="572054"/>
                      </a:lnTo>
                      <a:lnTo>
                        <a:pt x="652404" y="571423"/>
                      </a:lnTo>
                      <a:lnTo>
                        <a:pt x="654371" y="570342"/>
                      </a:lnTo>
                      <a:lnTo>
                        <a:pt x="655160" y="568241"/>
                      </a:lnTo>
                      <a:lnTo>
                        <a:pt x="655621" y="567002"/>
                      </a:lnTo>
                      <a:lnTo>
                        <a:pt x="656095" y="565740"/>
                      </a:lnTo>
                      <a:lnTo>
                        <a:pt x="655974" y="564380"/>
                      </a:lnTo>
                      <a:lnTo>
                        <a:pt x="655865" y="563092"/>
                      </a:lnTo>
                      <a:lnTo>
                        <a:pt x="655828" y="562655"/>
                      </a:lnTo>
                      <a:lnTo>
                        <a:pt x="655731" y="562218"/>
                      </a:lnTo>
                      <a:lnTo>
                        <a:pt x="655379" y="560688"/>
                      </a:lnTo>
                      <a:lnTo>
                        <a:pt x="655269" y="560239"/>
                      </a:lnTo>
                      <a:lnTo>
                        <a:pt x="655087" y="559814"/>
                      </a:lnTo>
                      <a:lnTo>
                        <a:pt x="653642" y="556195"/>
                      </a:lnTo>
                      <a:lnTo>
                        <a:pt x="653412" y="555624"/>
                      </a:lnTo>
                      <a:lnTo>
                        <a:pt x="653071" y="555102"/>
                      </a:lnTo>
                      <a:lnTo>
                        <a:pt x="651299" y="552431"/>
                      </a:lnTo>
                      <a:lnTo>
                        <a:pt x="650995" y="551957"/>
                      </a:lnTo>
                      <a:lnTo>
                        <a:pt x="650594" y="551544"/>
                      </a:lnTo>
                      <a:lnTo>
                        <a:pt x="648069" y="548946"/>
                      </a:lnTo>
                      <a:lnTo>
                        <a:pt x="647558" y="548436"/>
                      </a:lnTo>
                      <a:lnTo>
                        <a:pt x="646951" y="548047"/>
                      </a:lnTo>
                      <a:lnTo>
                        <a:pt x="642422" y="545194"/>
                      </a:lnTo>
                      <a:lnTo>
                        <a:pt x="641718" y="544756"/>
                      </a:lnTo>
                      <a:lnTo>
                        <a:pt x="640929" y="544514"/>
                      </a:lnTo>
                      <a:lnTo>
                        <a:pt x="637771" y="543567"/>
                      </a:lnTo>
                      <a:lnTo>
                        <a:pt x="636982" y="543324"/>
                      </a:lnTo>
                      <a:lnTo>
                        <a:pt x="636144" y="543312"/>
                      </a:lnTo>
                      <a:lnTo>
                        <a:pt x="628361" y="543178"/>
                      </a:lnTo>
                      <a:lnTo>
                        <a:pt x="627316" y="542862"/>
                      </a:lnTo>
                      <a:lnTo>
                        <a:pt x="626527" y="542340"/>
                      </a:lnTo>
                      <a:lnTo>
                        <a:pt x="625543" y="540859"/>
                      </a:lnTo>
                      <a:lnTo>
                        <a:pt x="624851" y="539377"/>
                      </a:lnTo>
                      <a:lnTo>
                        <a:pt x="623540" y="530731"/>
                      </a:lnTo>
                      <a:lnTo>
                        <a:pt x="623200" y="528436"/>
                      </a:lnTo>
                      <a:lnTo>
                        <a:pt x="621403" y="526955"/>
                      </a:lnTo>
                      <a:lnTo>
                        <a:pt x="609685" y="517338"/>
                      </a:lnTo>
                      <a:lnTo>
                        <a:pt x="609272" y="517010"/>
                      </a:lnTo>
                      <a:lnTo>
                        <a:pt x="608811" y="516755"/>
                      </a:lnTo>
                      <a:lnTo>
                        <a:pt x="603990" y="514035"/>
                      </a:lnTo>
                      <a:lnTo>
                        <a:pt x="602946" y="513440"/>
                      </a:lnTo>
                      <a:lnTo>
                        <a:pt x="601743" y="513294"/>
                      </a:lnTo>
                      <a:lnTo>
                        <a:pt x="600250" y="513112"/>
                      </a:lnTo>
                      <a:lnTo>
                        <a:pt x="599278" y="512991"/>
                      </a:lnTo>
                      <a:lnTo>
                        <a:pt x="598319" y="513185"/>
                      </a:lnTo>
                      <a:lnTo>
                        <a:pt x="597433" y="513367"/>
                      </a:lnTo>
                      <a:lnTo>
                        <a:pt x="596121" y="513343"/>
                      </a:lnTo>
                      <a:lnTo>
                        <a:pt x="594846" y="513136"/>
                      </a:lnTo>
                      <a:lnTo>
                        <a:pt x="587670" y="507514"/>
                      </a:lnTo>
                      <a:lnTo>
                        <a:pt x="587730" y="506227"/>
                      </a:lnTo>
                      <a:lnTo>
                        <a:pt x="588520" y="501333"/>
                      </a:lnTo>
                      <a:lnTo>
                        <a:pt x="588593" y="500933"/>
                      </a:lnTo>
                      <a:lnTo>
                        <a:pt x="588605" y="500520"/>
                      </a:lnTo>
                      <a:lnTo>
                        <a:pt x="588726" y="495833"/>
                      </a:lnTo>
                      <a:lnTo>
                        <a:pt x="588799" y="495323"/>
                      </a:lnTo>
                      <a:lnTo>
                        <a:pt x="590280" y="491716"/>
                      </a:lnTo>
                      <a:lnTo>
                        <a:pt x="590414" y="491388"/>
                      </a:lnTo>
                      <a:lnTo>
                        <a:pt x="590511" y="491060"/>
                      </a:lnTo>
                      <a:lnTo>
                        <a:pt x="591130" y="488887"/>
                      </a:lnTo>
                      <a:lnTo>
                        <a:pt x="591434" y="487818"/>
                      </a:lnTo>
                      <a:lnTo>
                        <a:pt x="591337" y="486701"/>
                      </a:lnTo>
                      <a:lnTo>
                        <a:pt x="591167" y="484807"/>
                      </a:lnTo>
                      <a:lnTo>
                        <a:pt x="591106" y="484115"/>
                      </a:lnTo>
                      <a:lnTo>
                        <a:pt x="590887" y="483459"/>
                      </a:lnTo>
                      <a:lnTo>
                        <a:pt x="590778" y="483143"/>
                      </a:lnTo>
                      <a:lnTo>
                        <a:pt x="593510" y="480945"/>
                      </a:lnTo>
                      <a:lnTo>
                        <a:pt x="594421" y="480520"/>
                      </a:lnTo>
                      <a:lnTo>
                        <a:pt x="596218" y="480059"/>
                      </a:lnTo>
                      <a:lnTo>
                        <a:pt x="598817" y="479755"/>
                      </a:lnTo>
                      <a:lnTo>
                        <a:pt x="599157" y="479719"/>
                      </a:lnTo>
                      <a:lnTo>
                        <a:pt x="599497" y="479634"/>
                      </a:lnTo>
                      <a:lnTo>
                        <a:pt x="601780" y="479088"/>
                      </a:lnTo>
                      <a:lnTo>
                        <a:pt x="602277" y="478966"/>
                      </a:lnTo>
                      <a:lnTo>
                        <a:pt x="602763" y="478760"/>
                      </a:lnTo>
                      <a:lnTo>
                        <a:pt x="603844" y="478298"/>
                      </a:lnTo>
                      <a:lnTo>
                        <a:pt x="605010" y="477800"/>
                      </a:lnTo>
                      <a:lnTo>
                        <a:pt x="605872" y="476878"/>
                      </a:lnTo>
                      <a:lnTo>
                        <a:pt x="606746" y="475943"/>
                      </a:lnTo>
                      <a:lnTo>
                        <a:pt x="608106" y="474497"/>
                      </a:lnTo>
                      <a:lnTo>
                        <a:pt x="608349" y="472506"/>
                      </a:lnTo>
                      <a:lnTo>
                        <a:pt x="608446" y="471571"/>
                      </a:lnTo>
                      <a:lnTo>
                        <a:pt x="608774" y="468912"/>
                      </a:lnTo>
                      <a:lnTo>
                        <a:pt x="607013" y="466884"/>
                      </a:lnTo>
                      <a:lnTo>
                        <a:pt x="606394" y="466167"/>
                      </a:lnTo>
                      <a:lnTo>
                        <a:pt x="605398" y="465002"/>
                      </a:lnTo>
                      <a:lnTo>
                        <a:pt x="603953" y="464455"/>
                      </a:lnTo>
                      <a:lnTo>
                        <a:pt x="602460" y="463885"/>
                      </a:lnTo>
                      <a:lnTo>
                        <a:pt x="601513" y="463520"/>
                      </a:lnTo>
                      <a:lnTo>
                        <a:pt x="600505" y="463496"/>
                      </a:lnTo>
                      <a:lnTo>
                        <a:pt x="598125" y="463411"/>
                      </a:lnTo>
                      <a:lnTo>
                        <a:pt x="597153" y="463107"/>
                      </a:lnTo>
                      <a:lnTo>
                        <a:pt x="597117" y="463095"/>
                      </a:lnTo>
                      <a:lnTo>
                        <a:pt x="596801" y="462901"/>
                      </a:lnTo>
                      <a:lnTo>
                        <a:pt x="595854" y="462306"/>
                      </a:lnTo>
                      <a:lnTo>
                        <a:pt x="594761" y="462087"/>
                      </a:lnTo>
                      <a:lnTo>
                        <a:pt x="593158" y="461772"/>
                      </a:lnTo>
                      <a:lnTo>
                        <a:pt x="592673" y="461675"/>
                      </a:lnTo>
                      <a:lnTo>
                        <a:pt x="592187" y="461663"/>
                      </a:lnTo>
                      <a:lnTo>
                        <a:pt x="567136" y="460825"/>
                      </a:lnTo>
                      <a:lnTo>
                        <a:pt x="557628" y="458736"/>
                      </a:lnTo>
                      <a:lnTo>
                        <a:pt x="556984" y="458590"/>
                      </a:lnTo>
                      <a:lnTo>
                        <a:pt x="556341" y="458590"/>
                      </a:lnTo>
                      <a:lnTo>
                        <a:pt x="548351" y="458566"/>
                      </a:lnTo>
                      <a:lnTo>
                        <a:pt x="546602" y="458566"/>
                      </a:lnTo>
                      <a:lnTo>
                        <a:pt x="545133" y="459477"/>
                      </a:lnTo>
                      <a:lnTo>
                        <a:pt x="543554" y="460448"/>
                      </a:lnTo>
                      <a:lnTo>
                        <a:pt x="541939" y="461152"/>
                      </a:lnTo>
                      <a:lnTo>
                        <a:pt x="541563" y="461201"/>
                      </a:lnTo>
                      <a:lnTo>
                        <a:pt x="541296" y="461092"/>
                      </a:lnTo>
                      <a:lnTo>
                        <a:pt x="538430" y="458603"/>
                      </a:lnTo>
                      <a:lnTo>
                        <a:pt x="515686" y="434244"/>
                      </a:lnTo>
                      <a:lnTo>
                        <a:pt x="515286" y="433807"/>
                      </a:lnTo>
                      <a:lnTo>
                        <a:pt x="514800" y="433454"/>
                      </a:lnTo>
                      <a:lnTo>
                        <a:pt x="511351" y="430977"/>
                      </a:lnTo>
                      <a:lnTo>
                        <a:pt x="511048" y="430759"/>
                      </a:lnTo>
                      <a:lnTo>
                        <a:pt x="510732" y="430576"/>
                      </a:lnTo>
                      <a:lnTo>
                        <a:pt x="507113" y="428597"/>
                      </a:lnTo>
                      <a:lnTo>
                        <a:pt x="506276" y="428136"/>
                      </a:lnTo>
                      <a:lnTo>
                        <a:pt x="505341" y="427954"/>
                      </a:lnTo>
                      <a:lnTo>
                        <a:pt x="501091" y="427140"/>
                      </a:lnTo>
                      <a:lnTo>
                        <a:pt x="500726" y="427067"/>
                      </a:lnTo>
                      <a:lnTo>
                        <a:pt x="500362" y="427043"/>
                      </a:lnTo>
                      <a:lnTo>
                        <a:pt x="497083" y="426824"/>
                      </a:lnTo>
                      <a:lnTo>
                        <a:pt x="495845" y="426739"/>
                      </a:lnTo>
                      <a:lnTo>
                        <a:pt x="494679" y="427152"/>
                      </a:lnTo>
                      <a:lnTo>
                        <a:pt x="490186" y="428719"/>
                      </a:lnTo>
                      <a:lnTo>
                        <a:pt x="489106" y="425149"/>
                      </a:lnTo>
                      <a:lnTo>
                        <a:pt x="488668" y="423679"/>
                      </a:lnTo>
                      <a:lnTo>
                        <a:pt x="487575" y="422599"/>
                      </a:lnTo>
                      <a:lnTo>
                        <a:pt x="482390" y="417438"/>
                      </a:lnTo>
                      <a:lnTo>
                        <a:pt x="481771" y="416053"/>
                      </a:lnTo>
                      <a:lnTo>
                        <a:pt x="482014" y="414256"/>
                      </a:lnTo>
                      <a:lnTo>
                        <a:pt x="483592" y="410735"/>
                      </a:lnTo>
                      <a:lnTo>
                        <a:pt x="485997" y="407019"/>
                      </a:lnTo>
                      <a:lnTo>
                        <a:pt x="488644" y="403850"/>
                      </a:lnTo>
                      <a:lnTo>
                        <a:pt x="488984" y="403437"/>
                      </a:lnTo>
                      <a:lnTo>
                        <a:pt x="489251" y="402964"/>
                      </a:lnTo>
                      <a:lnTo>
                        <a:pt x="490332" y="401069"/>
                      </a:lnTo>
                      <a:lnTo>
                        <a:pt x="490769" y="400292"/>
                      </a:lnTo>
                      <a:lnTo>
                        <a:pt x="490975" y="399418"/>
                      </a:lnTo>
                      <a:lnTo>
                        <a:pt x="491498" y="397123"/>
                      </a:lnTo>
                      <a:lnTo>
                        <a:pt x="491607" y="396685"/>
                      </a:lnTo>
                      <a:lnTo>
                        <a:pt x="491631" y="396236"/>
                      </a:lnTo>
                      <a:lnTo>
                        <a:pt x="491935" y="392351"/>
                      </a:lnTo>
                      <a:lnTo>
                        <a:pt x="492178" y="391598"/>
                      </a:lnTo>
                      <a:lnTo>
                        <a:pt x="492675" y="390869"/>
                      </a:lnTo>
                      <a:lnTo>
                        <a:pt x="493550" y="389570"/>
                      </a:lnTo>
                      <a:lnTo>
                        <a:pt x="493695" y="388016"/>
                      </a:lnTo>
                      <a:lnTo>
                        <a:pt x="493817" y="386692"/>
                      </a:lnTo>
                      <a:lnTo>
                        <a:pt x="494072" y="383911"/>
                      </a:lnTo>
                      <a:lnTo>
                        <a:pt x="492129" y="381908"/>
                      </a:lnTo>
                      <a:lnTo>
                        <a:pt x="490308" y="380038"/>
                      </a:lnTo>
                      <a:lnTo>
                        <a:pt x="489263" y="378981"/>
                      </a:lnTo>
                      <a:lnTo>
                        <a:pt x="487855" y="378508"/>
                      </a:lnTo>
                      <a:lnTo>
                        <a:pt x="486580" y="378083"/>
                      </a:lnTo>
                      <a:lnTo>
                        <a:pt x="485438" y="377706"/>
                      </a:lnTo>
                      <a:lnTo>
                        <a:pt x="484236" y="377791"/>
                      </a:lnTo>
                      <a:lnTo>
                        <a:pt x="481783" y="377961"/>
                      </a:lnTo>
                      <a:lnTo>
                        <a:pt x="481043" y="376844"/>
                      </a:lnTo>
                      <a:lnTo>
                        <a:pt x="481237" y="376747"/>
                      </a:lnTo>
                      <a:lnTo>
                        <a:pt x="489676" y="375156"/>
                      </a:lnTo>
                      <a:lnTo>
                        <a:pt x="491971" y="375290"/>
                      </a:lnTo>
                      <a:lnTo>
                        <a:pt x="492275" y="375302"/>
                      </a:lnTo>
                      <a:lnTo>
                        <a:pt x="492578" y="375290"/>
                      </a:lnTo>
                      <a:lnTo>
                        <a:pt x="496938" y="375095"/>
                      </a:lnTo>
                      <a:lnTo>
                        <a:pt x="497314" y="375083"/>
                      </a:lnTo>
                      <a:lnTo>
                        <a:pt x="497691" y="375023"/>
                      </a:lnTo>
                      <a:lnTo>
                        <a:pt x="507805" y="373286"/>
                      </a:lnTo>
                      <a:lnTo>
                        <a:pt x="508219" y="373213"/>
                      </a:lnTo>
                      <a:lnTo>
                        <a:pt x="508619" y="373080"/>
                      </a:lnTo>
                      <a:lnTo>
                        <a:pt x="510210" y="372570"/>
                      </a:lnTo>
                      <a:lnTo>
                        <a:pt x="511254" y="372242"/>
                      </a:lnTo>
                      <a:lnTo>
                        <a:pt x="512116" y="371562"/>
                      </a:lnTo>
                      <a:lnTo>
                        <a:pt x="513209" y="370700"/>
                      </a:lnTo>
                      <a:lnTo>
                        <a:pt x="514375" y="369789"/>
                      </a:lnTo>
                      <a:lnTo>
                        <a:pt x="514982" y="368453"/>
                      </a:lnTo>
                      <a:lnTo>
                        <a:pt x="515966" y="366292"/>
                      </a:lnTo>
                      <a:lnTo>
                        <a:pt x="516718" y="364628"/>
                      </a:lnTo>
                      <a:lnTo>
                        <a:pt x="516439" y="362831"/>
                      </a:lnTo>
                      <a:lnTo>
                        <a:pt x="516160" y="361034"/>
                      </a:lnTo>
                      <a:lnTo>
                        <a:pt x="516063" y="360475"/>
                      </a:lnTo>
                      <a:lnTo>
                        <a:pt x="515868" y="359941"/>
                      </a:lnTo>
                      <a:lnTo>
                        <a:pt x="513925" y="354513"/>
                      </a:lnTo>
                      <a:lnTo>
                        <a:pt x="513962" y="354477"/>
                      </a:lnTo>
                      <a:lnTo>
                        <a:pt x="514047" y="354477"/>
                      </a:lnTo>
                      <a:lnTo>
                        <a:pt x="515589" y="354914"/>
                      </a:lnTo>
                      <a:lnTo>
                        <a:pt x="522790" y="359212"/>
                      </a:lnTo>
                      <a:lnTo>
                        <a:pt x="524174" y="360038"/>
                      </a:lnTo>
                      <a:lnTo>
                        <a:pt x="525789" y="360062"/>
                      </a:lnTo>
                      <a:lnTo>
                        <a:pt x="525983" y="360062"/>
                      </a:lnTo>
                      <a:lnTo>
                        <a:pt x="524733" y="365430"/>
                      </a:lnTo>
                      <a:lnTo>
                        <a:pt x="524259" y="368538"/>
                      </a:lnTo>
                      <a:lnTo>
                        <a:pt x="524114" y="369437"/>
                      </a:lnTo>
                      <a:lnTo>
                        <a:pt x="524259" y="370323"/>
                      </a:lnTo>
                      <a:lnTo>
                        <a:pt x="524320" y="370748"/>
                      </a:lnTo>
                      <a:lnTo>
                        <a:pt x="524490" y="371489"/>
                      </a:lnTo>
                      <a:lnTo>
                        <a:pt x="524806" y="372557"/>
                      </a:lnTo>
                      <a:lnTo>
                        <a:pt x="525595" y="373833"/>
                      </a:lnTo>
                      <a:lnTo>
                        <a:pt x="526336" y="374792"/>
                      </a:lnTo>
                      <a:lnTo>
                        <a:pt x="527089" y="375775"/>
                      </a:lnTo>
                      <a:lnTo>
                        <a:pt x="528169" y="376383"/>
                      </a:lnTo>
                      <a:lnTo>
                        <a:pt x="529614" y="377208"/>
                      </a:lnTo>
                      <a:lnTo>
                        <a:pt x="530695" y="377828"/>
                      </a:lnTo>
                      <a:lnTo>
                        <a:pt x="531933" y="377973"/>
                      </a:lnTo>
                      <a:lnTo>
                        <a:pt x="534107" y="378216"/>
                      </a:lnTo>
                      <a:lnTo>
                        <a:pt x="535091" y="378544"/>
                      </a:lnTo>
                      <a:lnTo>
                        <a:pt x="539304" y="380463"/>
                      </a:lnTo>
                      <a:lnTo>
                        <a:pt x="541672" y="381920"/>
                      </a:lnTo>
                      <a:lnTo>
                        <a:pt x="542959" y="383498"/>
                      </a:lnTo>
                      <a:lnTo>
                        <a:pt x="543858" y="384616"/>
                      </a:lnTo>
                      <a:lnTo>
                        <a:pt x="545157" y="385198"/>
                      </a:lnTo>
                      <a:lnTo>
                        <a:pt x="547744" y="386364"/>
                      </a:lnTo>
                      <a:lnTo>
                        <a:pt x="549006" y="386935"/>
                      </a:lnTo>
                      <a:lnTo>
                        <a:pt x="550391" y="386911"/>
                      </a:lnTo>
                      <a:lnTo>
                        <a:pt x="553159" y="386850"/>
                      </a:lnTo>
                      <a:lnTo>
                        <a:pt x="554131" y="386825"/>
                      </a:lnTo>
                      <a:lnTo>
                        <a:pt x="555029" y="386510"/>
                      </a:lnTo>
                      <a:lnTo>
                        <a:pt x="560712" y="384506"/>
                      </a:lnTo>
                      <a:lnTo>
                        <a:pt x="561817" y="384118"/>
                      </a:lnTo>
                      <a:lnTo>
                        <a:pt x="562692" y="383353"/>
                      </a:lnTo>
                      <a:lnTo>
                        <a:pt x="567816" y="378872"/>
                      </a:lnTo>
                      <a:lnTo>
                        <a:pt x="569504" y="377840"/>
                      </a:lnTo>
                      <a:lnTo>
                        <a:pt x="570159" y="377439"/>
                      </a:lnTo>
                      <a:lnTo>
                        <a:pt x="570694" y="376893"/>
                      </a:lnTo>
                      <a:lnTo>
                        <a:pt x="572321" y="375217"/>
                      </a:lnTo>
                      <a:lnTo>
                        <a:pt x="572940" y="374695"/>
                      </a:lnTo>
                      <a:lnTo>
                        <a:pt x="573608" y="374136"/>
                      </a:lnTo>
                      <a:lnTo>
                        <a:pt x="573960" y="373602"/>
                      </a:lnTo>
                      <a:lnTo>
                        <a:pt x="574227" y="373310"/>
                      </a:lnTo>
                      <a:lnTo>
                        <a:pt x="574422" y="373080"/>
                      </a:lnTo>
                      <a:lnTo>
                        <a:pt x="574932" y="372400"/>
                      </a:lnTo>
                      <a:lnTo>
                        <a:pt x="575672" y="371270"/>
                      </a:lnTo>
                      <a:lnTo>
                        <a:pt x="576061" y="370663"/>
                      </a:lnTo>
                      <a:lnTo>
                        <a:pt x="576304" y="369983"/>
                      </a:lnTo>
                      <a:lnTo>
                        <a:pt x="577008" y="368016"/>
                      </a:lnTo>
                      <a:lnTo>
                        <a:pt x="577263" y="367312"/>
                      </a:lnTo>
                      <a:lnTo>
                        <a:pt x="577348" y="366571"/>
                      </a:lnTo>
                      <a:lnTo>
                        <a:pt x="577579" y="364264"/>
                      </a:lnTo>
                      <a:lnTo>
                        <a:pt x="577603" y="363912"/>
                      </a:lnTo>
                      <a:lnTo>
                        <a:pt x="577603" y="363560"/>
                      </a:lnTo>
                      <a:lnTo>
                        <a:pt x="577567" y="361532"/>
                      </a:lnTo>
                      <a:lnTo>
                        <a:pt x="577700" y="360415"/>
                      </a:lnTo>
                      <a:lnTo>
                        <a:pt x="578149" y="359310"/>
                      </a:lnTo>
                      <a:lnTo>
                        <a:pt x="579570" y="357585"/>
                      </a:lnTo>
                      <a:lnTo>
                        <a:pt x="582424" y="355060"/>
                      </a:lnTo>
                      <a:lnTo>
                        <a:pt x="587475" y="351842"/>
                      </a:lnTo>
                      <a:lnTo>
                        <a:pt x="595660" y="347871"/>
                      </a:lnTo>
                      <a:lnTo>
                        <a:pt x="610851" y="343742"/>
                      </a:lnTo>
                      <a:lnTo>
                        <a:pt x="611312" y="343621"/>
                      </a:lnTo>
                      <a:lnTo>
                        <a:pt x="611749" y="343427"/>
                      </a:lnTo>
                      <a:lnTo>
                        <a:pt x="619083" y="340136"/>
                      </a:lnTo>
                      <a:lnTo>
                        <a:pt x="630158" y="336517"/>
                      </a:lnTo>
                      <a:lnTo>
                        <a:pt x="651784" y="333057"/>
                      </a:lnTo>
                      <a:lnTo>
                        <a:pt x="652221" y="332984"/>
                      </a:lnTo>
                      <a:lnTo>
                        <a:pt x="652659" y="332850"/>
                      </a:lnTo>
                      <a:lnTo>
                        <a:pt x="659374" y="330725"/>
                      </a:lnTo>
                      <a:lnTo>
                        <a:pt x="661341" y="330106"/>
                      </a:lnTo>
                      <a:lnTo>
                        <a:pt x="662519" y="328406"/>
                      </a:lnTo>
                      <a:lnTo>
                        <a:pt x="665907" y="323524"/>
                      </a:lnTo>
                      <a:lnTo>
                        <a:pt x="666720" y="322359"/>
                      </a:lnTo>
                      <a:lnTo>
                        <a:pt x="666926" y="320962"/>
                      </a:lnTo>
                      <a:lnTo>
                        <a:pt x="667716" y="315656"/>
                      </a:lnTo>
                      <a:lnTo>
                        <a:pt x="667934" y="314284"/>
                      </a:lnTo>
                      <a:lnTo>
                        <a:pt x="667522" y="312960"/>
                      </a:lnTo>
                      <a:lnTo>
                        <a:pt x="666319" y="309086"/>
                      </a:lnTo>
                      <a:lnTo>
                        <a:pt x="666222" y="308783"/>
                      </a:lnTo>
                      <a:lnTo>
                        <a:pt x="666089" y="308479"/>
                      </a:lnTo>
                      <a:lnTo>
                        <a:pt x="665506" y="307119"/>
                      </a:lnTo>
                      <a:lnTo>
                        <a:pt x="666028" y="305128"/>
                      </a:lnTo>
                      <a:lnTo>
                        <a:pt x="666805" y="303683"/>
                      </a:lnTo>
                      <a:lnTo>
                        <a:pt x="666963" y="303476"/>
                      </a:lnTo>
                      <a:lnTo>
                        <a:pt x="669635" y="301655"/>
                      </a:lnTo>
                      <a:lnTo>
                        <a:pt x="670387" y="301133"/>
                      </a:lnTo>
                      <a:lnTo>
                        <a:pt x="670958" y="300416"/>
                      </a:lnTo>
                      <a:lnTo>
                        <a:pt x="672682" y="298255"/>
                      </a:lnTo>
                      <a:lnTo>
                        <a:pt x="672925" y="297951"/>
                      </a:lnTo>
                      <a:lnTo>
                        <a:pt x="673132" y="297624"/>
                      </a:lnTo>
                      <a:lnTo>
                        <a:pt x="673593" y="296858"/>
                      </a:lnTo>
                      <a:lnTo>
                        <a:pt x="673945" y="296276"/>
                      </a:lnTo>
                      <a:lnTo>
                        <a:pt x="674164" y="295632"/>
                      </a:lnTo>
                      <a:lnTo>
                        <a:pt x="674504" y="294600"/>
                      </a:lnTo>
                      <a:lnTo>
                        <a:pt x="674540" y="294466"/>
                      </a:lnTo>
                      <a:lnTo>
                        <a:pt x="674892" y="294600"/>
                      </a:lnTo>
                      <a:lnTo>
                        <a:pt x="683951" y="300696"/>
                      </a:lnTo>
                      <a:lnTo>
                        <a:pt x="684352" y="300963"/>
                      </a:lnTo>
                      <a:lnTo>
                        <a:pt x="684777" y="301169"/>
                      </a:lnTo>
                      <a:lnTo>
                        <a:pt x="688735" y="303003"/>
                      </a:lnTo>
                      <a:lnTo>
                        <a:pt x="689622" y="303416"/>
                      </a:lnTo>
                      <a:lnTo>
                        <a:pt x="690618" y="303525"/>
                      </a:lnTo>
                      <a:lnTo>
                        <a:pt x="693665" y="303865"/>
                      </a:lnTo>
                      <a:lnTo>
                        <a:pt x="694928" y="303901"/>
                      </a:lnTo>
                      <a:lnTo>
                        <a:pt x="697660" y="306670"/>
                      </a:lnTo>
                      <a:lnTo>
                        <a:pt x="698012" y="307034"/>
                      </a:lnTo>
                      <a:lnTo>
                        <a:pt x="698425" y="307338"/>
                      </a:lnTo>
                      <a:lnTo>
                        <a:pt x="702153" y="310009"/>
                      </a:lnTo>
                      <a:lnTo>
                        <a:pt x="702590" y="310325"/>
                      </a:lnTo>
                      <a:lnTo>
                        <a:pt x="703076" y="310556"/>
                      </a:lnTo>
                      <a:lnTo>
                        <a:pt x="707387" y="312620"/>
                      </a:lnTo>
                      <a:lnTo>
                        <a:pt x="707957" y="312887"/>
                      </a:lnTo>
                      <a:lnTo>
                        <a:pt x="708565" y="313033"/>
                      </a:lnTo>
                      <a:lnTo>
                        <a:pt x="718328" y="315425"/>
                      </a:lnTo>
                      <a:lnTo>
                        <a:pt x="719688" y="315765"/>
                      </a:lnTo>
                      <a:lnTo>
                        <a:pt x="721060" y="315474"/>
                      </a:lnTo>
                      <a:lnTo>
                        <a:pt x="727556" y="314065"/>
                      </a:lnTo>
                      <a:lnTo>
                        <a:pt x="731138" y="313288"/>
                      </a:lnTo>
                      <a:lnTo>
                        <a:pt x="732110" y="309754"/>
                      </a:lnTo>
                      <a:lnTo>
                        <a:pt x="732851" y="307107"/>
                      </a:lnTo>
                      <a:lnTo>
                        <a:pt x="733227" y="305771"/>
                      </a:lnTo>
                      <a:lnTo>
                        <a:pt x="733980" y="306852"/>
                      </a:lnTo>
                      <a:lnTo>
                        <a:pt x="736918" y="307034"/>
                      </a:lnTo>
                      <a:lnTo>
                        <a:pt x="738291" y="307119"/>
                      </a:lnTo>
                      <a:lnTo>
                        <a:pt x="740173" y="307229"/>
                      </a:lnTo>
                      <a:lnTo>
                        <a:pt x="741788" y="306257"/>
                      </a:lnTo>
                      <a:lnTo>
                        <a:pt x="743403" y="305286"/>
                      </a:lnTo>
                      <a:lnTo>
                        <a:pt x="745236" y="304181"/>
                      </a:lnTo>
                      <a:lnTo>
                        <a:pt x="745977" y="302165"/>
                      </a:lnTo>
                      <a:lnTo>
                        <a:pt x="747009" y="299348"/>
                      </a:lnTo>
                      <a:lnTo>
                        <a:pt x="747240" y="298716"/>
                      </a:lnTo>
                      <a:lnTo>
                        <a:pt x="747337" y="298049"/>
                      </a:lnTo>
                      <a:lnTo>
                        <a:pt x="747617" y="295863"/>
                      </a:lnTo>
                      <a:lnTo>
                        <a:pt x="747677" y="295401"/>
                      </a:lnTo>
                      <a:lnTo>
                        <a:pt x="747665" y="294928"/>
                      </a:lnTo>
                      <a:lnTo>
                        <a:pt x="747641" y="294066"/>
                      </a:lnTo>
                      <a:lnTo>
                        <a:pt x="748709" y="293301"/>
                      </a:lnTo>
                      <a:lnTo>
                        <a:pt x="750312" y="292147"/>
                      </a:lnTo>
                      <a:lnTo>
                        <a:pt x="751417" y="291358"/>
                      </a:lnTo>
                      <a:lnTo>
                        <a:pt x="752073" y="290168"/>
                      </a:lnTo>
                      <a:lnTo>
                        <a:pt x="753409" y="287739"/>
                      </a:lnTo>
                      <a:lnTo>
                        <a:pt x="753894" y="286865"/>
                      </a:lnTo>
                      <a:lnTo>
                        <a:pt x="754076" y="285881"/>
                      </a:lnTo>
                      <a:lnTo>
                        <a:pt x="754538" y="283319"/>
                      </a:lnTo>
                      <a:lnTo>
                        <a:pt x="754720" y="282336"/>
                      </a:lnTo>
                      <a:lnTo>
                        <a:pt x="754574" y="281352"/>
                      </a:lnTo>
                      <a:lnTo>
                        <a:pt x="754162" y="278535"/>
                      </a:lnTo>
                      <a:lnTo>
                        <a:pt x="753979" y="277357"/>
                      </a:lnTo>
                      <a:lnTo>
                        <a:pt x="753372" y="276337"/>
                      </a:lnTo>
                      <a:lnTo>
                        <a:pt x="752061" y="274103"/>
                      </a:lnTo>
                      <a:lnTo>
                        <a:pt x="751490" y="273131"/>
                      </a:lnTo>
                      <a:lnTo>
                        <a:pt x="750604" y="272427"/>
                      </a:lnTo>
                      <a:lnTo>
                        <a:pt x="748308" y="270593"/>
                      </a:lnTo>
                      <a:lnTo>
                        <a:pt x="748308" y="270375"/>
                      </a:lnTo>
                      <a:lnTo>
                        <a:pt x="748308" y="268359"/>
                      </a:lnTo>
                      <a:lnTo>
                        <a:pt x="747106" y="266744"/>
                      </a:lnTo>
                      <a:lnTo>
                        <a:pt x="746900" y="266477"/>
                      </a:lnTo>
                      <a:lnTo>
                        <a:pt x="749924" y="265785"/>
                      </a:lnTo>
                      <a:lnTo>
                        <a:pt x="750093" y="267545"/>
                      </a:lnTo>
                      <a:lnTo>
                        <a:pt x="750130" y="267934"/>
                      </a:lnTo>
                      <a:lnTo>
                        <a:pt x="750227" y="268323"/>
                      </a:lnTo>
                      <a:lnTo>
                        <a:pt x="750676" y="270302"/>
                      </a:lnTo>
                      <a:lnTo>
                        <a:pt x="750968" y="271613"/>
                      </a:lnTo>
                      <a:lnTo>
                        <a:pt x="751781" y="272670"/>
                      </a:lnTo>
                      <a:lnTo>
                        <a:pt x="752522" y="273617"/>
                      </a:lnTo>
                      <a:lnTo>
                        <a:pt x="754016" y="275548"/>
                      </a:lnTo>
                      <a:lnTo>
                        <a:pt x="756432" y="275900"/>
                      </a:lnTo>
                      <a:lnTo>
                        <a:pt x="757598" y="276070"/>
                      </a:lnTo>
                      <a:lnTo>
                        <a:pt x="759177" y="276301"/>
                      </a:lnTo>
                      <a:lnTo>
                        <a:pt x="760670" y="275730"/>
                      </a:lnTo>
                      <a:lnTo>
                        <a:pt x="770773" y="271844"/>
                      </a:lnTo>
                      <a:lnTo>
                        <a:pt x="772692" y="271796"/>
                      </a:lnTo>
                      <a:lnTo>
                        <a:pt x="777245" y="273010"/>
                      </a:lnTo>
                      <a:lnTo>
                        <a:pt x="778872" y="273435"/>
                      </a:lnTo>
                      <a:lnTo>
                        <a:pt x="780499" y="272973"/>
                      </a:lnTo>
                      <a:lnTo>
                        <a:pt x="782685" y="272342"/>
                      </a:lnTo>
                      <a:lnTo>
                        <a:pt x="784324" y="271868"/>
                      </a:lnTo>
                      <a:lnTo>
                        <a:pt x="785490" y="270605"/>
                      </a:lnTo>
                      <a:lnTo>
                        <a:pt x="787579" y="268323"/>
                      </a:lnTo>
                      <a:lnTo>
                        <a:pt x="788817" y="267497"/>
                      </a:lnTo>
                      <a:lnTo>
                        <a:pt x="789315" y="267169"/>
                      </a:lnTo>
                      <a:lnTo>
                        <a:pt x="789728" y="266744"/>
                      </a:lnTo>
                      <a:lnTo>
                        <a:pt x="791040" y="265433"/>
                      </a:lnTo>
                      <a:lnTo>
                        <a:pt x="792242" y="264243"/>
                      </a:lnTo>
                      <a:lnTo>
                        <a:pt x="792642" y="262615"/>
                      </a:lnTo>
                      <a:lnTo>
                        <a:pt x="793092" y="260806"/>
                      </a:lnTo>
                      <a:lnTo>
                        <a:pt x="793310" y="259956"/>
                      </a:lnTo>
                      <a:lnTo>
                        <a:pt x="793274" y="259082"/>
                      </a:lnTo>
                      <a:lnTo>
                        <a:pt x="793067" y="254553"/>
                      </a:lnTo>
                      <a:lnTo>
                        <a:pt x="793456" y="251869"/>
                      </a:lnTo>
                      <a:lnTo>
                        <a:pt x="793517" y="251480"/>
                      </a:lnTo>
                      <a:lnTo>
                        <a:pt x="794355" y="252282"/>
                      </a:lnTo>
                      <a:lnTo>
                        <a:pt x="795727" y="253569"/>
                      </a:lnTo>
                      <a:lnTo>
                        <a:pt x="797585" y="253860"/>
                      </a:lnTo>
                      <a:lnTo>
                        <a:pt x="799770" y="254200"/>
                      </a:lnTo>
                      <a:lnTo>
                        <a:pt x="802053" y="254553"/>
                      </a:lnTo>
                      <a:lnTo>
                        <a:pt x="803996" y="253290"/>
                      </a:lnTo>
                      <a:lnTo>
                        <a:pt x="805660" y="252209"/>
                      </a:lnTo>
                      <a:lnTo>
                        <a:pt x="807068" y="251286"/>
                      </a:lnTo>
                      <a:lnTo>
                        <a:pt x="807809" y="249768"/>
                      </a:lnTo>
                      <a:lnTo>
                        <a:pt x="809655" y="245967"/>
                      </a:lnTo>
                      <a:lnTo>
                        <a:pt x="809801" y="245688"/>
                      </a:lnTo>
                      <a:lnTo>
                        <a:pt x="809910" y="245397"/>
                      </a:lnTo>
                      <a:lnTo>
                        <a:pt x="810820" y="242907"/>
                      </a:lnTo>
                      <a:lnTo>
                        <a:pt x="811075" y="242203"/>
                      </a:lnTo>
                      <a:lnTo>
                        <a:pt x="811161" y="241462"/>
                      </a:lnTo>
                      <a:lnTo>
                        <a:pt x="811245" y="240734"/>
                      </a:lnTo>
                      <a:lnTo>
                        <a:pt x="813553" y="241050"/>
                      </a:lnTo>
                      <a:lnTo>
                        <a:pt x="814245" y="241134"/>
                      </a:lnTo>
                      <a:lnTo>
                        <a:pt x="814925" y="241074"/>
                      </a:lnTo>
                      <a:lnTo>
                        <a:pt x="817730" y="240819"/>
                      </a:lnTo>
                      <a:lnTo>
                        <a:pt x="819284" y="240673"/>
                      </a:lnTo>
                      <a:lnTo>
                        <a:pt x="820571" y="239799"/>
                      </a:lnTo>
                      <a:lnTo>
                        <a:pt x="822514" y="238487"/>
                      </a:lnTo>
                      <a:lnTo>
                        <a:pt x="824797" y="236945"/>
                      </a:lnTo>
                      <a:lnTo>
                        <a:pt x="825137" y="234201"/>
                      </a:lnTo>
                      <a:lnTo>
                        <a:pt x="825489" y="231347"/>
                      </a:lnTo>
                      <a:lnTo>
                        <a:pt x="825732" y="229429"/>
                      </a:lnTo>
                      <a:lnTo>
                        <a:pt x="824833" y="227729"/>
                      </a:lnTo>
                      <a:lnTo>
                        <a:pt x="822866" y="224049"/>
                      </a:lnTo>
                      <a:lnTo>
                        <a:pt x="822162" y="222762"/>
                      </a:lnTo>
                      <a:lnTo>
                        <a:pt x="820960" y="221924"/>
                      </a:lnTo>
                      <a:lnTo>
                        <a:pt x="819733" y="221074"/>
                      </a:lnTo>
                      <a:lnTo>
                        <a:pt x="821482" y="220625"/>
                      </a:lnTo>
                      <a:lnTo>
                        <a:pt x="822514" y="220370"/>
                      </a:lnTo>
                      <a:lnTo>
                        <a:pt x="823388" y="219775"/>
                      </a:lnTo>
                      <a:lnTo>
                        <a:pt x="828209" y="216497"/>
                      </a:lnTo>
                      <a:lnTo>
                        <a:pt x="833929" y="212040"/>
                      </a:lnTo>
                      <a:lnTo>
                        <a:pt x="834584" y="211530"/>
                      </a:lnTo>
                      <a:lnTo>
                        <a:pt x="835070" y="210862"/>
                      </a:lnTo>
                      <a:lnTo>
                        <a:pt x="837547" y="207499"/>
                      </a:lnTo>
                      <a:lnTo>
                        <a:pt x="837899" y="207013"/>
                      </a:lnTo>
                      <a:lnTo>
                        <a:pt x="838154" y="206466"/>
                      </a:lnTo>
                      <a:lnTo>
                        <a:pt x="846023" y="189649"/>
                      </a:lnTo>
                      <a:lnTo>
                        <a:pt x="846278" y="189114"/>
                      </a:lnTo>
                      <a:lnTo>
                        <a:pt x="846424" y="188531"/>
                      </a:lnTo>
                      <a:lnTo>
                        <a:pt x="847213" y="185313"/>
                      </a:lnTo>
                      <a:lnTo>
                        <a:pt x="847480" y="184196"/>
                      </a:lnTo>
                      <a:lnTo>
                        <a:pt x="847322" y="183043"/>
                      </a:lnTo>
                      <a:lnTo>
                        <a:pt x="847043" y="180942"/>
                      </a:lnTo>
                      <a:lnTo>
                        <a:pt x="846982" y="180468"/>
                      </a:lnTo>
                      <a:lnTo>
                        <a:pt x="846836" y="180007"/>
                      </a:lnTo>
                      <a:lnTo>
                        <a:pt x="846800" y="179873"/>
                      </a:lnTo>
                      <a:lnTo>
                        <a:pt x="847298" y="179400"/>
                      </a:lnTo>
                      <a:lnTo>
                        <a:pt x="847699" y="179011"/>
                      </a:lnTo>
                      <a:lnTo>
                        <a:pt x="848014" y="178562"/>
                      </a:lnTo>
                      <a:lnTo>
                        <a:pt x="848864" y="177384"/>
                      </a:lnTo>
                      <a:lnTo>
                        <a:pt x="849168" y="176959"/>
                      </a:lnTo>
                      <a:lnTo>
                        <a:pt x="849399" y="176486"/>
                      </a:lnTo>
                      <a:lnTo>
                        <a:pt x="850249" y="174737"/>
                      </a:lnTo>
                      <a:lnTo>
                        <a:pt x="850491" y="174263"/>
                      </a:lnTo>
                      <a:lnTo>
                        <a:pt x="850637" y="173753"/>
                      </a:lnTo>
                      <a:lnTo>
                        <a:pt x="850989" y="172515"/>
                      </a:lnTo>
                      <a:lnTo>
                        <a:pt x="851257" y="171568"/>
                      </a:lnTo>
                      <a:lnTo>
                        <a:pt x="851220" y="170584"/>
                      </a:lnTo>
                      <a:lnTo>
                        <a:pt x="851159" y="169090"/>
                      </a:lnTo>
                      <a:lnTo>
                        <a:pt x="851111" y="168107"/>
                      </a:lnTo>
                      <a:lnTo>
                        <a:pt x="850771" y="167184"/>
                      </a:lnTo>
                      <a:lnTo>
                        <a:pt x="850261" y="165836"/>
                      </a:lnTo>
                      <a:lnTo>
                        <a:pt x="849969" y="165047"/>
                      </a:lnTo>
                      <a:lnTo>
                        <a:pt x="849472" y="164379"/>
                      </a:lnTo>
                      <a:lnTo>
                        <a:pt x="848876" y="163578"/>
                      </a:lnTo>
                      <a:lnTo>
                        <a:pt x="849192" y="160930"/>
                      </a:lnTo>
                      <a:lnTo>
                        <a:pt x="850394" y="161173"/>
                      </a:lnTo>
                      <a:lnTo>
                        <a:pt x="851050" y="161307"/>
                      </a:lnTo>
                      <a:lnTo>
                        <a:pt x="851718" y="161295"/>
                      </a:lnTo>
                      <a:lnTo>
                        <a:pt x="854426" y="161234"/>
                      </a:lnTo>
                      <a:lnTo>
                        <a:pt x="855069" y="161222"/>
                      </a:lnTo>
                      <a:lnTo>
                        <a:pt x="855689" y="161076"/>
                      </a:lnTo>
                      <a:lnTo>
                        <a:pt x="858493" y="160421"/>
                      </a:lnTo>
                      <a:lnTo>
                        <a:pt x="859149" y="160263"/>
                      </a:lnTo>
                      <a:lnTo>
                        <a:pt x="859756" y="159971"/>
                      </a:lnTo>
                      <a:lnTo>
                        <a:pt x="862221" y="158781"/>
                      </a:lnTo>
                      <a:lnTo>
                        <a:pt x="862926" y="158441"/>
                      </a:lnTo>
                      <a:lnTo>
                        <a:pt x="863533" y="157931"/>
                      </a:lnTo>
                      <a:lnTo>
                        <a:pt x="865537" y="156219"/>
                      </a:lnTo>
                      <a:lnTo>
                        <a:pt x="865828" y="155964"/>
                      </a:lnTo>
                      <a:lnTo>
                        <a:pt x="866083" y="155673"/>
                      </a:lnTo>
                      <a:lnTo>
                        <a:pt x="867346" y="154264"/>
                      </a:lnTo>
                      <a:lnTo>
                        <a:pt x="868268" y="153244"/>
                      </a:lnTo>
                      <a:lnTo>
                        <a:pt x="868657" y="151933"/>
                      </a:lnTo>
                      <a:lnTo>
                        <a:pt x="869641" y="148630"/>
                      </a:lnTo>
                      <a:lnTo>
                        <a:pt x="871061" y="143833"/>
                      </a:lnTo>
                      <a:lnTo>
                        <a:pt x="867953" y="142206"/>
                      </a:lnTo>
                      <a:lnTo>
                        <a:pt x="869021" y="140785"/>
                      </a:lnTo>
                      <a:lnTo>
                        <a:pt x="869021" y="138770"/>
                      </a:lnTo>
                      <a:lnTo>
                        <a:pt x="869021" y="137082"/>
                      </a:lnTo>
                      <a:lnTo>
                        <a:pt x="869021" y="135491"/>
                      </a:lnTo>
                      <a:lnTo>
                        <a:pt x="868244" y="134107"/>
                      </a:lnTo>
                      <a:lnTo>
                        <a:pt x="867054" y="131970"/>
                      </a:lnTo>
                      <a:lnTo>
                        <a:pt x="866727" y="131387"/>
                      </a:lnTo>
                      <a:lnTo>
                        <a:pt x="866277" y="130889"/>
                      </a:lnTo>
                      <a:lnTo>
                        <a:pt x="865731" y="130282"/>
                      </a:lnTo>
                      <a:lnTo>
                        <a:pt x="865609" y="129553"/>
                      </a:lnTo>
                      <a:lnTo>
                        <a:pt x="865500" y="127501"/>
                      </a:lnTo>
                      <a:lnTo>
                        <a:pt x="865476" y="127161"/>
                      </a:lnTo>
                      <a:lnTo>
                        <a:pt x="865415" y="126821"/>
                      </a:lnTo>
                      <a:lnTo>
                        <a:pt x="865063" y="124866"/>
                      </a:lnTo>
                      <a:lnTo>
                        <a:pt x="864868" y="123822"/>
                      </a:lnTo>
                      <a:lnTo>
                        <a:pt x="864334" y="122899"/>
                      </a:lnTo>
                      <a:lnTo>
                        <a:pt x="863084" y="120749"/>
                      </a:lnTo>
                      <a:lnTo>
                        <a:pt x="861991" y="118394"/>
                      </a:lnTo>
                      <a:lnTo>
                        <a:pt x="861784" y="117969"/>
                      </a:lnTo>
                      <a:lnTo>
                        <a:pt x="861529" y="117580"/>
                      </a:lnTo>
                      <a:lnTo>
                        <a:pt x="860946" y="116718"/>
                      </a:lnTo>
                      <a:lnTo>
                        <a:pt x="860631" y="116232"/>
                      </a:lnTo>
                      <a:lnTo>
                        <a:pt x="860946" y="115334"/>
                      </a:lnTo>
                      <a:lnTo>
                        <a:pt x="861408" y="114059"/>
                      </a:lnTo>
                      <a:lnTo>
                        <a:pt x="861529" y="113743"/>
                      </a:lnTo>
                      <a:lnTo>
                        <a:pt x="861614" y="113415"/>
                      </a:lnTo>
                      <a:lnTo>
                        <a:pt x="861833" y="112529"/>
                      </a:lnTo>
                      <a:lnTo>
                        <a:pt x="861954" y="112055"/>
                      </a:lnTo>
                      <a:lnTo>
                        <a:pt x="861991" y="111557"/>
                      </a:lnTo>
                      <a:lnTo>
                        <a:pt x="862683" y="102292"/>
                      </a:lnTo>
                      <a:lnTo>
                        <a:pt x="862914" y="101722"/>
                      </a:lnTo>
                      <a:lnTo>
                        <a:pt x="864820" y="99099"/>
                      </a:lnTo>
                      <a:lnTo>
                        <a:pt x="865609" y="98018"/>
                      </a:lnTo>
                      <a:lnTo>
                        <a:pt x="865864" y="96694"/>
                      </a:lnTo>
                      <a:lnTo>
                        <a:pt x="866386" y="94023"/>
                      </a:lnTo>
                      <a:lnTo>
                        <a:pt x="866520" y="93343"/>
                      </a:lnTo>
                      <a:lnTo>
                        <a:pt x="866496" y="92651"/>
                      </a:lnTo>
                      <a:lnTo>
                        <a:pt x="866326" y="87976"/>
                      </a:lnTo>
                      <a:lnTo>
                        <a:pt x="866314" y="87672"/>
                      </a:lnTo>
                      <a:lnTo>
                        <a:pt x="866265" y="87369"/>
                      </a:lnTo>
                      <a:lnTo>
                        <a:pt x="865621" y="82718"/>
                      </a:lnTo>
                      <a:lnTo>
                        <a:pt x="865573" y="82390"/>
                      </a:lnTo>
                      <a:lnTo>
                        <a:pt x="865500" y="82074"/>
                      </a:lnTo>
                      <a:lnTo>
                        <a:pt x="862003" y="68086"/>
                      </a:lnTo>
                      <a:lnTo>
                        <a:pt x="861893" y="67661"/>
                      </a:lnTo>
                      <a:lnTo>
                        <a:pt x="861724" y="67248"/>
                      </a:lnTo>
                      <a:lnTo>
                        <a:pt x="859951" y="62925"/>
                      </a:lnTo>
                      <a:lnTo>
                        <a:pt x="858882" y="60557"/>
                      </a:lnTo>
                      <a:lnTo>
                        <a:pt x="858190" y="59003"/>
                      </a:lnTo>
                      <a:lnTo>
                        <a:pt x="856781" y="58031"/>
                      </a:lnTo>
                      <a:lnTo>
                        <a:pt x="855664" y="57266"/>
                      </a:lnTo>
                      <a:lnTo>
                        <a:pt x="848901" y="50357"/>
                      </a:lnTo>
                      <a:lnTo>
                        <a:pt x="848330" y="49786"/>
                      </a:lnTo>
                      <a:lnTo>
                        <a:pt x="847638" y="49373"/>
                      </a:lnTo>
                      <a:lnTo>
                        <a:pt x="846715" y="48827"/>
                      </a:lnTo>
                      <a:lnTo>
                        <a:pt x="846654" y="48790"/>
                      </a:lnTo>
                      <a:lnTo>
                        <a:pt x="846691" y="48426"/>
                      </a:lnTo>
                      <a:lnTo>
                        <a:pt x="846739" y="47953"/>
                      </a:lnTo>
                      <a:lnTo>
                        <a:pt x="846715" y="47467"/>
                      </a:lnTo>
                      <a:lnTo>
                        <a:pt x="846642" y="46095"/>
                      </a:lnTo>
                      <a:lnTo>
                        <a:pt x="846618" y="45548"/>
                      </a:lnTo>
                      <a:lnTo>
                        <a:pt x="846484" y="45014"/>
                      </a:lnTo>
                      <a:lnTo>
                        <a:pt x="845392" y="40387"/>
                      </a:lnTo>
                      <a:lnTo>
                        <a:pt x="845245" y="39295"/>
                      </a:lnTo>
                      <a:lnTo>
                        <a:pt x="845343" y="37801"/>
                      </a:lnTo>
                      <a:lnTo>
                        <a:pt x="845525" y="37206"/>
                      </a:lnTo>
                      <a:lnTo>
                        <a:pt x="846011" y="36550"/>
                      </a:lnTo>
                      <a:lnTo>
                        <a:pt x="846266" y="36198"/>
                      </a:lnTo>
                      <a:lnTo>
                        <a:pt x="846484" y="35810"/>
                      </a:lnTo>
                      <a:lnTo>
                        <a:pt x="847346" y="34170"/>
                      </a:lnTo>
                      <a:lnTo>
                        <a:pt x="848051" y="32835"/>
                      </a:lnTo>
                      <a:lnTo>
                        <a:pt x="848051" y="31329"/>
                      </a:lnTo>
                      <a:lnTo>
                        <a:pt x="848051" y="28548"/>
                      </a:lnTo>
                      <a:lnTo>
                        <a:pt x="848051" y="27528"/>
                      </a:lnTo>
                      <a:lnTo>
                        <a:pt x="847723" y="26557"/>
                      </a:lnTo>
                      <a:lnTo>
                        <a:pt x="846800" y="23885"/>
                      </a:lnTo>
                      <a:lnTo>
                        <a:pt x="846436" y="22817"/>
                      </a:lnTo>
                      <a:lnTo>
                        <a:pt x="845695" y="21955"/>
                      </a:lnTo>
                      <a:lnTo>
                        <a:pt x="844092" y="20060"/>
                      </a:lnTo>
                      <a:lnTo>
                        <a:pt x="843546" y="19429"/>
                      </a:lnTo>
                      <a:lnTo>
                        <a:pt x="842853" y="18967"/>
                      </a:lnTo>
                      <a:lnTo>
                        <a:pt x="840959" y="17680"/>
                      </a:lnTo>
                      <a:lnTo>
                        <a:pt x="840607" y="17437"/>
                      </a:lnTo>
                      <a:lnTo>
                        <a:pt x="840206" y="17243"/>
                      </a:lnTo>
                      <a:lnTo>
                        <a:pt x="838251" y="16296"/>
                      </a:lnTo>
                      <a:lnTo>
                        <a:pt x="837450" y="15895"/>
                      </a:lnTo>
                      <a:lnTo>
                        <a:pt x="836551" y="15750"/>
                      </a:lnTo>
                      <a:lnTo>
                        <a:pt x="832119" y="15057"/>
                      </a:lnTo>
                      <a:lnTo>
                        <a:pt x="831209" y="14912"/>
                      </a:lnTo>
                      <a:lnTo>
                        <a:pt x="830310" y="15045"/>
                      </a:lnTo>
                      <a:lnTo>
                        <a:pt x="823753" y="16004"/>
                      </a:lnTo>
                      <a:lnTo>
                        <a:pt x="821312" y="14863"/>
                      </a:lnTo>
                      <a:lnTo>
                        <a:pt x="820656" y="14559"/>
                      </a:lnTo>
                      <a:lnTo>
                        <a:pt x="819940" y="14414"/>
                      </a:lnTo>
                      <a:lnTo>
                        <a:pt x="810420" y="12471"/>
                      </a:lnTo>
                      <a:lnTo>
                        <a:pt x="809533" y="10698"/>
                      </a:lnTo>
                      <a:lnTo>
                        <a:pt x="809266" y="10164"/>
                      </a:lnTo>
                      <a:lnTo>
                        <a:pt x="808902" y="9690"/>
                      </a:lnTo>
                      <a:lnTo>
                        <a:pt x="806777" y="6958"/>
                      </a:lnTo>
                      <a:lnTo>
                        <a:pt x="806243" y="6266"/>
                      </a:lnTo>
                      <a:lnTo>
                        <a:pt x="805538" y="5756"/>
                      </a:lnTo>
                      <a:lnTo>
                        <a:pt x="803243" y="4092"/>
                      </a:lnTo>
                      <a:lnTo>
                        <a:pt x="802685" y="3691"/>
                      </a:lnTo>
                      <a:lnTo>
                        <a:pt x="802053" y="3424"/>
                      </a:lnTo>
                      <a:lnTo>
                        <a:pt x="800499" y="2769"/>
                      </a:lnTo>
                      <a:lnTo>
                        <a:pt x="799807" y="2477"/>
                      </a:lnTo>
                      <a:lnTo>
                        <a:pt x="799066" y="2368"/>
                      </a:lnTo>
                      <a:lnTo>
                        <a:pt x="798690" y="2004"/>
                      </a:lnTo>
                      <a:lnTo>
                        <a:pt x="797354" y="1579"/>
                      </a:lnTo>
                      <a:lnTo>
                        <a:pt x="794998" y="838"/>
                      </a:lnTo>
                      <a:lnTo>
                        <a:pt x="792254" y="0"/>
                      </a:lnTo>
                      <a:lnTo>
                        <a:pt x="792254" y="0"/>
                      </a:lnTo>
                      <a:close/>
                    </a:path>
                  </a:pathLst>
                </a:custGeom>
                <a:solidFill>
                  <a:srgbClr val="FFFFFF"/>
                </a:solidFill>
                <a:ln w="12138" cap="flat">
                  <a:noFill/>
                  <a:prstDash val="solid"/>
                  <a:miter/>
                </a:ln>
              </p:spPr>
              <p:txBody>
                <a:bodyPr rtlCol="0" anchor="ctr"/>
                <a:lstStyle/>
                <a:p>
                  <a:endParaRPr lang="en-US"/>
                </a:p>
              </p:txBody>
            </p:sp>
          </p:grpSp>
          <p:grpSp>
            <p:nvGrpSpPr>
              <p:cNvPr id="253" name="Graphic 280">
                <a:extLst>
                  <a:ext uri="{FF2B5EF4-FFF2-40B4-BE49-F238E27FC236}">
                    <a16:creationId xmlns:a16="http://schemas.microsoft.com/office/drawing/2014/main" id="{56848C5C-82C0-4DAB-A5CF-D0D738D80441}"/>
                  </a:ext>
                </a:extLst>
              </p:cNvPr>
              <p:cNvGrpSpPr/>
              <p:nvPr/>
            </p:nvGrpSpPr>
            <p:grpSpPr>
              <a:xfrm>
                <a:off x="5014404" y="2052952"/>
                <a:ext cx="1439351" cy="1323458"/>
                <a:chOff x="5014404" y="2052952"/>
                <a:chExt cx="1439351" cy="1323458"/>
              </a:xfrm>
            </p:grpSpPr>
            <p:sp>
              <p:nvSpPr>
                <p:cNvPr id="332" name="Freeform: Shape 331">
                  <a:extLst>
                    <a:ext uri="{FF2B5EF4-FFF2-40B4-BE49-F238E27FC236}">
                      <a16:creationId xmlns:a16="http://schemas.microsoft.com/office/drawing/2014/main" id="{51BC5B1C-8549-46D6-B714-0E495C8A324C}"/>
                    </a:ext>
                  </a:extLst>
                </p:cNvPr>
                <p:cNvSpPr/>
                <p:nvPr/>
              </p:nvSpPr>
              <p:spPr>
                <a:xfrm>
                  <a:off x="5022952" y="2056012"/>
                  <a:ext cx="1427705" cy="1317229"/>
                </a:xfrm>
                <a:custGeom>
                  <a:avLst/>
                  <a:gdLst>
                    <a:gd name="connsiteX0" fmla="*/ 1129573 w 1427705"/>
                    <a:gd name="connsiteY0" fmla="*/ 1316015 h 1317229"/>
                    <a:gd name="connsiteX1" fmla="*/ 1123076 w 1427705"/>
                    <a:gd name="connsiteY1" fmla="*/ 1315882 h 1317229"/>
                    <a:gd name="connsiteX2" fmla="*/ 1118013 w 1427705"/>
                    <a:gd name="connsiteY2" fmla="*/ 1316659 h 1317229"/>
                    <a:gd name="connsiteX3" fmla="*/ 1115414 w 1427705"/>
                    <a:gd name="connsiteY3" fmla="*/ 1316622 h 1317229"/>
                    <a:gd name="connsiteX4" fmla="*/ 1109585 w 1427705"/>
                    <a:gd name="connsiteY4" fmla="*/ 1315299 h 1317229"/>
                    <a:gd name="connsiteX5" fmla="*/ 1104473 w 1427705"/>
                    <a:gd name="connsiteY5" fmla="*/ 1313016 h 1317229"/>
                    <a:gd name="connsiteX6" fmla="*/ 1100624 w 1427705"/>
                    <a:gd name="connsiteY6" fmla="*/ 1310527 h 1317229"/>
                    <a:gd name="connsiteX7" fmla="*/ 1090594 w 1427705"/>
                    <a:gd name="connsiteY7" fmla="*/ 1301346 h 1317229"/>
                    <a:gd name="connsiteX8" fmla="*/ 1083004 w 1427705"/>
                    <a:gd name="connsiteY8" fmla="*/ 1299440 h 1317229"/>
                    <a:gd name="connsiteX9" fmla="*/ 1076496 w 1427705"/>
                    <a:gd name="connsiteY9" fmla="*/ 1290017 h 1317229"/>
                    <a:gd name="connsiteX10" fmla="*/ 1073144 w 1427705"/>
                    <a:gd name="connsiteY10" fmla="*/ 1287236 h 1317229"/>
                    <a:gd name="connsiteX11" fmla="*/ 1072306 w 1427705"/>
                    <a:gd name="connsiteY11" fmla="*/ 1286945 h 1317229"/>
                    <a:gd name="connsiteX12" fmla="*/ 1069744 w 1427705"/>
                    <a:gd name="connsiteY12" fmla="*/ 1285342 h 1317229"/>
                    <a:gd name="connsiteX13" fmla="*/ 1068931 w 1427705"/>
                    <a:gd name="connsiteY13" fmla="*/ 1282173 h 1317229"/>
                    <a:gd name="connsiteX14" fmla="*/ 1069453 w 1427705"/>
                    <a:gd name="connsiteY14" fmla="*/ 1279574 h 1317229"/>
                    <a:gd name="connsiteX15" fmla="*/ 1070291 w 1427705"/>
                    <a:gd name="connsiteY15" fmla="*/ 1276915 h 1317229"/>
                    <a:gd name="connsiteX16" fmla="*/ 1070145 w 1427705"/>
                    <a:gd name="connsiteY16" fmla="*/ 1275142 h 1317229"/>
                    <a:gd name="connsiteX17" fmla="*/ 1069793 w 1427705"/>
                    <a:gd name="connsiteY17" fmla="*/ 1274632 h 1317229"/>
                    <a:gd name="connsiteX18" fmla="*/ 1069368 w 1427705"/>
                    <a:gd name="connsiteY18" fmla="*/ 1274511 h 1317229"/>
                    <a:gd name="connsiteX19" fmla="*/ 1067607 w 1427705"/>
                    <a:gd name="connsiteY19" fmla="*/ 1273466 h 1317229"/>
                    <a:gd name="connsiteX20" fmla="*/ 1064061 w 1427705"/>
                    <a:gd name="connsiteY20" fmla="*/ 1270661 h 1317229"/>
                    <a:gd name="connsiteX21" fmla="*/ 1061220 w 1427705"/>
                    <a:gd name="connsiteY21" fmla="*/ 1267589 h 1317229"/>
                    <a:gd name="connsiteX22" fmla="*/ 1059508 w 1427705"/>
                    <a:gd name="connsiteY22" fmla="*/ 1265051 h 1317229"/>
                    <a:gd name="connsiteX23" fmla="*/ 1057881 w 1427705"/>
                    <a:gd name="connsiteY23" fmla="*/ 1260983 h 1317229"/>
                    <a:gd name="connsiteX24" fmla="*/ 1058427 w 1427705"/>
                    <a:gd name="connsiteY24" fmla="*/ 1257741 h 1317229"/>
                    <a:gd name="connsiteX25" fmla="*/ 1060929 w 1427705"/>
                    <a:gd name="connsiteY25" fmla="*/ 1255750 h 1317229"/>
                    <a:gd name="connsiteX26" fmla="*/ 1063114 w 1427705"/>
                    <a:gd name="connsiteY26" fmla="*/ 1255276 h 1317229"/>
                    <a:gd name="connsiteX27" fmla="*/ 1066672 w 1427705"/>
                    <a:gd name="connsiteY27" fmla="*/ 1254948 h 1317229"/>
                    <a:gd name="connsiteX28" fmla="*/ 1068433 w 1427705"/>
                    <a:gd name="connsiteY28" fmla="*/ 1253928 h 1317229"/>
                    <a:gd name="connsiteX29" fmla="*/ 1069174 w 1427705"/>
                    <a:gd name="connsiteY29" fmla="*/ 1252860 h 1317229"/>
                    <a:gd name="connsiteX30" fmla="*/ 1070631 w 1427705"/>
                    <a:gd name="connsiteY30" fmla="*/ 1240935 h 1317229"/>
                    <a:gd name="connsiteX31" fmla="*/ 1074055 w 1427705"/>
                    <a:gd name="connsiteY31" fmla="*/ 1234475 h 1317229"/>
                    <a:gd name="connsiteX32" fmla="*/ 1074662 w 1427705"/>
                    <a:gd name="connsiteY32" fmla="*/ 1232472 h 1317229"/>
                    <a:gd name="connsiteX33" fmla="*/ 1075087 w 1427705"/>
                    <a:gd name="connsiteY33" fmla="*/ 1230286 h 1317229"/>
                    <a:gd name="connsiteX34" fmla="*/ 1075427 w 1427705"/>
                    <a:gd name="connsiteY34" fmla="*/ 1219649 h 1317229"/>
                    <a:gd name="connsiteX35" fmla="*/ 1074942 w 1427705"/>
                    <a:gd name="connsiteY35" fmla="*/ 1218216 h 1317229"/>
                    <a:gd name="connsiteX36" fmla="*/ 1071554 w 1427705"/>
                    <a:gd name="connsiteY36" fmla="*/ 1216747 h 1317229"/>
                    <a:gd name="connsiteX37" fmla="*/ 1069501 w 1427705"/>
                    <a:gd name="connsiteY37" fmla="*/ 1214488 h 1317229"/>
                    <a:gd name="connsiteX38" fmla="*/ 1069052 w 1427705"/>
                    <a:gd name="connsiteY38" fmla="*/ 1212120 h 1317229"/>
                    <a:gd name="connsiteX39" fmla="*/ 1069064 w 1427705"/>
                    <a:gd name="connsiteY39" fmla="*/ 1208902 h 1317229"/>
                    <a:gd name="connsiteX40" fmla="*/ 1070946 w 1427705"/>
                    <a:gd name="connsiteY40" fmla="*/ 1199249 h 1317229"/>
                    <a:gd name="connsiteX41" fmla="*/ 1071007 w 1427705"/>
                    <a:gd name="connsiteY41" fmla="*/ 1195679 h 1317229"/>
                    <a:gd name="connsiteX42" fmla="*/ 1069696 w 1427705"/>
                    <a:gd name="connsiteY42" fmla="*/ 1192704 h 1317229"/>
                    <a:gd name="connsiteX43" fmla="*/ 1069246 w 1427705"/>
                    <a:gd name="connsiteY43" fmla="*/ 1188915 h 1317229"/>
                    <a:gd name="connsiteX44" fmla="*/ 1069404 w 1427705"/>
                    <a:gd name="connsiteY44" fmla="*/ 1185879 h 1317229"/>
                    <a:gd name="connsiteX45" fmla="*/ 1070764 w 1427705"/>
                    <a:gd name="connsiteY45" fmla="*/ 1183609 h 1317229"/>
                    <a:gd name="connsiteX46" fmla="*/ 1072428 w 1427705"/>
                    <a:gd name="connsiteY46" fmla="*/ 1181678 h 1317229"/>
                    <a:gd name="connsiteX47" fmla="*/ 1074444 w 1427705"/>
                    <a:gd name="connsiteY47" fmla="*/ 1180585 h 1317229"/>
                    <a:gd name="connsiteX48" fmla="*/ 1075719 w 1427705"/>
                    <a:gd name="connsiteY48" fmla="*/ 1180488 h 1317229"/>
                    <a:gd name="connsiteX49" fmla="*/ 1077394 w 1427705"/>
                    <a:gd name="connsiteY49" fmla="*/ 1180609 h 1317229"/>
                    <a:gd name="connsiteX50" fmla="*/ 1081814 w 1427705"/>
                    <a:gd name="connsiteY50" fmla="*/ 1182151 h 1317229"/>
                    <a:gd name="connsiteX51" fmla="*/ 1083854 w 1427705"/>
                    <a:gd name="connsiteY51" fmla="*/ 1181921 h 1317229"/>
                    <a:gd name="connsiteX52" fmla="*/ 1084959 w 1427705"/>
                    <a:gd name="connsiteY52" fmla="*/ 1180063 h 1317229"/>
                    <a:gd name="connsiteX53" fmla="*/ 1084935 w 1427705"/>
                    <a:gd name="connsiteY53" fmla="*/ 1179747 h 1317229"/>
                    <a:gd name="connsiteX54" fmla="*/ 1082944 w 1427705"/>
                    <a:gd name="connsiteY54" fmla="*/ 1177986 h 1317229"/>
                    <a:gd name="connsiteX55" fmla="*/ 1081159 w 1427705"/>
                    <a:gd name="connsiteY55" fmla="*/ 1175521 h 1317229"/>
                    <a:gd name="connsiteX56" fmla="*/ 1079896 w 1427705"/>
                    <a:gd name="connsiteY56" fmla="*/ 1172826 h 1317229"/>
                    <a:gd name="connsiteX57" fmla="*/ 1078609 w 1427705"/>
                    <a:gd name="connsiteY57" fmla="*/ 1167616 h 1317229"/>
                    <a:gd name="connsiteX58" fmla="*/ 1078038 w 1427705"/>
                    <a:gd name="connsiteY58" fmla="*/ 1166366 h 1317229"/>
                    <a:gd name="connsiteX59" fmla="*/ 1077382 w 1427705"/>
                    <a:gd name="connsiteY59" fmla="*/ 1166220 h 1317229"/>
                    <a:gd name="connsiteX60" fmla="*/ 1071687 w 1427705"/>
                    <a:gd name="connsiteY60" fmla="*/ 1165953 h 1317229"/>
                    <a:gd name="connsiteX61" fmla="*/ 1068712 w 1427705"/>
                    <a:gd name="connsiteY61" fmla="*/ 1165224 h 1317229"/>
                    <a:gd name="connsiteX62" fmla="*/ 1066150 w 1427705"/>
                    <a:gd name="connsiteY62" fmla="*/ 1162553 h 1317229"/>
                    <a:gd name="connsiteX63" fmla="*/ 1065761 w 1427705"/>
                    <a:gd name="connsiteY63" fmla="*/ 1160185 h 1317229"/>
                    <a:gd name="connsiteX64" fmla="*/ 1066065 w 1427705"/>
                    <a:gd name="connsiteY64" fmla="*/ 1155996 h 1317229"/>
                    <a:gd name="connsiteX65" fmla="*/ 1065081 w 1427705"/>
                    <a:gd name="connsiteY65" fmla="*/ 1156275 h 1317229"/>
                    <a:gd name="connsiteX66" fmla="*/ 1052854 w 1427705"/>
                    <a:gd name="connsiteY66" fmla="*/ 1161654 h 1317229"/>
                    <a:gd name="connsiteX67" fmla="*/ 1050048 w 1427705"/>
                    <a:gd name="connsiteY67" fmla="*/ 1162419 h 1317229"/>
                    <a:gd name="connsiteX68" fmla="*/ 1046478 w 1427705"/>
                    <a:gd name="connsiteY68" fmla="*/ 1162735 h 1317229"/>
                    <a:gd name="connsiteX69" fmla="*/ 1037286 w 1427705"/>
                    <a:gd name="connsiteY69" fmla="*/ 1161897 h 1317229"/>
                    <a:gd name="connsiteX70" fmla="*/ 1018720 w 1427705"/>
                    <a:gd name="connsiteY70" fmla="*/ 1155765 h 1317229"/>
                    <a:gd name="connsiteX71" fmla="*/ 1017165 w 1427705"/>
                    <a:gd name="connsiteY71" fmla="*/ 1156105 h 1317229"/>
                    <a:gd name="connsiteX72" fmla="*/ 1017056 w 1427705"/>
                    <a:gd name="connsiteY72" fmla="*/ 1157246 h 1317229"/>
                    <a:gd name="connsiteX73" fmla="*/ 1017178 w 1427705"/>
                    <a:gd name="connsiteY73" fmla="*/ 1160294 h 1317229"/>
                    <a:gd name="connsiteX74" fmla="*/ 1017809 w 1427705"/>
                    <a:gd name="connsiteY74" fmla="*/ 1163099 h 1317229"/>
                    <a:gd name="connsiteX75" fmla="*/ 1017821 w 1427705"/>
                    <a:gd name="connsiteY75" fmla="*/ 1165552 h 1317229"/>
                    <a:gd name="connsiteX76" fmla="*/ 1016740 w 1427705"/>
                    <a:gd name="connsiteY76" fmla="*/ 1169414 h 1317229"/>
                    <a:gd name="connsiteX77" fmla="*/ 1012927 w 1427705"/>
                    <a:gd name="connsiteY77" fmla="*/ 1172838 h 1317229"/>
                    <a:gd name="connsiteX78" fmla="*/ 1009491 w 1427705"/>
                    <a:gd name="connsiteY78" fmla="*/ 1173700 h 1317229"/>
                    <a:gd name="connsiteX79" fmla="*/ 1001197 w 1427705"/>
                    <a:gd name="connsiteY79" fmla="*/ 1172874 h 1317229"/>
                    <a:gd name="connsiteX80" fmla="*/ 990730 w 1427705"/>
                    <a:gd name="connsiteY80" fmla="*/ 1173991 h 1317229"/>
                    <a:gd name="connsiteX81" fmla="*/ 987743 w 1427705"/>
                    <a:gd name="connsiteY81" fmla="*/ 1169583 h 1317229"/>
                    <a:gd name="connsiteX82" fmla="*/ 990050 w 1427705"/>
                    <a:gd name="connsiteY82" fmla="*/ 1166183 h 1317229"/>
                    <a:gd name="connsiteX83" fmla="*/ 992612 w 1427705"/>
                    <a:gd name="connsiteY83" fmla="*/ 1160841 h 1317229"/>
                    <a:gd name="connsiteX84" fmla="*/ 992297 w 1427705"/>
                    <a:gd name="connsiteY84" fmla="*/ 1159128 h 1317229"/>
                    <a:gd name="connsiteX85" fmla="*/ 991374 w 1427705"/>
                    <a:gd name="connsiteY85" fmla="*/ 1158655 h 1317229"/>
                    <a:gd name="connsiteX86" fmla="*/ 990220 w 1427705"/>
                    <a:gd name="connsiteY86" fmla="*/ 1158254 h 1317229"/>
                    <a:gd name="connsiteX87" fmla="*/ 989832 w 1427705"/>
                    <a:gd name="connsiteY87" fmla="*/ 1158412 h 1317229"/>
                    <a:gd name="connsiteX88" fmla="*/ 988459 w 1427705"/>
                    <a:gd name="connsiteY88" fmla="*/ 1159262 h 1317229"/>
                    <a:gd name="connsiteX89" fmla="*/ 987949 w 1427705"/>
                    <a:gd name="connsiteY89" fmla="*/ 1159335 h 1317229"/>
                    <a:gd name="connsiteX90" fmla="*/ 986650 w 1427705"/>
                    <a:gd name="connsiteY90" fmla="*/ 1159323 h 1317229"/>
                    <a:gd name="connsiteX91" fmla="*/ 986043 w 1427705"/>
                    <a:gd name="connsiteY91" fmla="*/ 1159189 h 1317229"/>
                    <a:gd name="connsiteX92" fmla="*/ 984695 w 1427705"/>
                    <a:gd name="connsiteY92" fmla="*/ 1158667 h 1317229"/>
                    <a:gd name="connsiteX93" fmla="*/ 982570 w 1427705"/>
                    <a:gd name="connsiteY93" fmla="*/ 1157186 h 1317229"/>
                    <a:gd name="connsiteX94" fmla="*/ 981987 w 1427705"/>
                    <a:gd name="connsiteY94" fmla="*/ 1156166 h 1317229"/>
                    <a:gd name="connsiteX95" fmla="*/ 981368 w 1427705"/>
                    <a:gd name="connsiteY95" fmla="*/ 1154769 h 1317229"/>
                    <a:gd name="connsiteX96" fmla="*/ 981089 w 1427705"/>
                    <a:gd name="connsiteY96" fmla="*/ 1153360 h 1317229"/>
                    <a:gd name="connsiteX97" fmla="*/ 981502 w 1427705"/>
                    <a:gd name="connsiteY97" fmla="*/ 1146597 h 1317229"/>
                    <a:gd name="connsiteX98" fmla="*/ 980142 w 1427705"/>
                    <a:gd name="connsiteY98" fmla="*/ 1148151 h 1317229"/>
                    <a:gd name="connsiteX99" fmla="*/ 977312 w 1427705"/>
                    <a:gd name="connsiteY99" fmla="*/ 1149159 h 1317229"/>
                    <a:gd name="connsiteX100" fmla="*/ 974459 w 1427705"/>
                    <a:gd name="connsiteY100" fmla="*/ 1148734 h 1317229"/>
                    <a:gd name="connsiteX101" fmla="*/ 971204 w 1427705"/>
                    <a:gd name="connsiteY101" fmla="*/ 1146439 h 1317229"/>
                    <a:gd name="connsiteX102" fmla="*/ 969978 w 1427705"/>
                    <a:gd name="connsiteY102" fmla="*/ 1143768 h 1317229"/>
                    <a:gd name="connsiteX103" fmla="*/ 970087 w 1427705"/>
                    <a:gd name="connsiteY103" fmla="*/ 1140890 h 1317229"/>
                    <a:gd name="connsiteX104" fmla="*/ 971131 w 1427705"/>
                    <a:gd name="connsiteY104" fmla="*/ 1138838 h 1317229"/>
                    <a:gd name="connsiteX105" fmla="*/ 971702 w 1427705"/>
                    <a:gd name="connsiteY105" fmla="*/ 1137320 h 1317229"/>
                    <a:gd name="connsiteX106" fmla="*/ 972297 w 1427705"/>
                    <a:gd name="connsiteY106" fmla="*/ 1135231 h 1317229"/>
                    <a:gd name="connsiteX107" fmla="*/ 971957 w 1427705"/>
                    <a:gd name="connsiteY107" fmla="*/ 1132038 h 1317229"/>
                    <a:gd name="connsiteX108" fmla="*/ 965461 w 1427705"/>
                    <a:gd name="connsiteY108" fmla="*/ 1136530 h 1317229"/>
                    <a:gd name="connsiteX109" fmla="*/ 963481 w 1427705"/>
                    <a:gd name="connsiteY109" fmla="*/ 1137550 h 1317229"/>
                    <a:gd name="connsiteX110" fmla="*/ 961466 w 1427705"/>
                    <a:gd name="connsiteY110" fmla="*/ 1138315 h 1317229"/>
                    <a:gd name="connsiteX111" fmla="*/ 959559 w 1427705"/>
                    <a:gd name="connsiteY111" fmla="*/ 1138753 h 1317229"/>
                    <a:gd name="connsiteX112" fmla="*/ 957325 w 1427705"/>
                    <a:gd name="connsiteY112" fmla="*/ 1138728 h 1317229"/>
                    <a:gd name="connsiteX113" fmla="*/ 955710 w 1427705"/>
                    <a:gd name="connsiteY113" fmla="*/ 1138400 h 1317229"/>
                    <a:gd name="connsiteX114" fmla="*/ 953306 w 1427705"/>
                    <a:gd name="connsiteY114" fmla="*/ 1137478 h 1317229"/>
                    <a:gd name="connsiteX115" fmla="*/ 943385 w 1427705"/>
                    <a:gd name="connsiteY115" fmla="*/ 1129876 h 1317229"/>
                    <a:gd name="connsiteX116" fmla="*/ 939548 w 1427705"/>
                    <a:gd name="connsiteY116" fmla="*/ 1128200 h 1317229"/>
                    <a:gd name="connsiteX117" fmla="*/ 938819 w 1427705"/>
                    <a:gd name="connsiteY117" fmla="*/ 1128310 h 1317229"/>
                    <a:gd name="connsiteX118" fmla="*/ 934630 w 1427705"/>
                    <a:gd name="connsiteY118" fmla="*/ 1128395 h 1317229"/>
                    <a:gd name="connsiteX119" fmla="*/ 930562 w 1427705"/>
                    <a:gd name="connsiteY119" fmla="*/ 1127982 h 1317229"/>
                    <a:gd name="connsiteX120" fmla="*/ 927963 w 1427705"/>
                    <a:gd name="connsiteY120" fmla="*/ 1127265 h 1317229"/>
                    <a:gd name="connsiteX121" fmla="*/ 925025 w 1427705"/>
                    <a:gd name="connsiteY121" fmla="*/ 1125881 h 1317229"/>
                    <a:gd name="connsiteX122" fmla="*/ 910575 w 1427705"/>
                    <a:gd name="connsiteY122" fmla="*/ 1115535 h 1317229"/>
                    <a:gd name="connsiteX123" fmla="*/ 908583 w 1427705"/>
                    <a:gd name="connsiteY123" fmla="*/ 1113398 h 1317229"/>
                    <a:gd name="connsiteX124" fmla="*/ 907405 w 1427705"/>
                    <a:gd name="connsiteY124" fmla="*/ 1111613 h 1317229"/>
                    <a:gd name="connsiteX125" fmla="*/ 906531 w 1427705"/>
                    <a:gd name="connsiteY125" fmla="*/ 1109245 h 1317229"/>
                    <a:gd name="connsiteX126" fmla="*/ 906616 w 1427705"/>
                    <a:gd name="connsiteY126" fmla="*/ 1107667 h 1317229"/>
                    <a:gd name="connsiteX127" fmla="*/ 907235 w 1427705"/>
                    <a:gd name="connsiteY127" fmla="*/ 1105566 h 1317229"/>
                    <a:gd name="connsiteX128" fmla="*/ 908231 w 1427705"/>
                    <a:gd name="connsiteY128" fmla="*/ 1103611 h 1317229"/>
                    <a:gd name="connsiteX129" fmla="*/ 908158 w 1427705"/>
                    <a:gd name="connsiteY129" fmla="*/ 1102615 h 1317229"/>
                    <a:gd name="connsiteX130" fmla="*/ 905632 w 1427705"/>
                    <a:gd name="connsiteY130" fmla="*/ 1098790 h 1317229"/>
                    <a:gd name="connsiteX131" fmla="*/ 905292 w 1427705"/>
                    <a:gd name="connsiteY131" fmla="*/ 1097406 h 1317229"/>
                    <a:gd name="connsiteX132" fmla="*/ 904455 w 1427705"/>
                    <a:gd name="connsiteY132" fmla="*/ 1095912 h 1317229"/>
                    <a:gd name="connsiteX133" fmla="*/ 902657 w 1427705"/>
                    <a:gd name="connsiteY133" fmla="*/ 1093933 h 1317229"/>
                    <a:gd name="connsiteX134" fmla="*/ 901467 w 1427705"/>
                    <a:gd name="connsiteY134" fmla="*/ 1093508 h 1317229"/>
                    <a:gd name="connsiteX135" fmla="*/ 899682 w 1427705"/>
                    <a:gd name="connsiteY135" fmla="*/ 1093241 h 1317229"/>
                    <a:gd name="connsiteX136" fmla="*/ 897521 w 1427705"/>
                    <a:gd name="connsiteY136" fmla="*/ 1093544 h 1317229"/>
                    <a:gd name="connsiteX137" fmla="*/ 896829 w 1427705"/>
                    <a:gd name="connsiteY137" fmla="*/ 1093872 h 1317229"/>
                    <a:gd name="connsiteX138" fmla="*/ 894340 w 1427705"/>
                    <a:gd name="connsiteY138" fmla="*/ 1095293 h 1317229"/>
                    <a:gd name="connsiteX139" fmla="*/ 891583 w 1427705"/>
                    <a:gd name="connsiteY139" fmla="*/ 1096192 h 1317229"/>
                    <a:gd name="connsiteX140" fmla="*/ 888256 w 1427705"/>
                    <a:gd name="connsiteY140" fmla="*/ 1096350 h 1317229"/>
                    <a:gd name="connsiteX141" fmla="*/ 884127 w 1427705"/>
                    <a:gd name="connsiteY141" fmla="*/ 1095439 h 1317229"/>
                    <a:gd name="connsiteX142" fmla="*/ 881079 w 1427705"/>
                    <a:gd name="connsiteY142" fmla="*/ 1093593 h 1317229"/>
                    <a:gd name="connsiteX143" fmla="*/ 879768 w 1427705"/>
                    <a:gd name="connsiteY143" fmla="*/ 1091383 h 1317229"/>
                    <a:gd name="connsiteX144" fmla="*/ 879027 w 1427705"/>
                    <a:gd name="connsiteY144" fmla="*/ 1088068 h 1317229"/>
                    <a:gd name="connsiteX145" fmla="*/ 878736 w 1427705"/>
                    <a:gd name="connsiteY145" fmla="*/ 1087449 h 1317229"/>
                    <a:gd name="connsiteX146" fmla="*/ 871863 w 1427705"/>
                    <a:gd name="connsiteY146" fmla="*/ 1087582 h 1317229"/>
                    <a:gd name="connsiteX147" fmla="*/ 863472 w 1427705"/>
                    <a:gd name="connsiteY147" fmla="*/ 1085530 h 1317229"/>
                    <a:gd name="connsiteX148" fmla="*/ 859259 w 1427705"/>
                    <a:gd name="connsiteY148" fmla="*/ 1085202 h 1317229"/>
                    <a:gd name="connsiteX149" fmla="*/ 856089 w 1427705"/>
                    <a:gd name="connsiteY149" fmla="*/ 1084486 h 1317229"/>
                    <a:gd name="connsiteX150" fmla="*/ 853661 w 1427705"/>
                    <a:gd name="connsiteY150" fmla="*/ 1083016 h 1317229"/>
                    <a:gd name="connsiteX151" fmla="*/ 853126 w 1427705"/>
                    <a:gd name="connsiteY151" fmla="*/ 1082628 h 1317229"/>
                    <a:gd name="connsiteX152" fmla="*/ 851596 w 1427705"/>
                    <a:gd name="connsiteY152" fmla="*/ 1079956 h 1317229"/>
                    <a:gd name="connsiteX153" fmla="*/ 851596 w 1427705"/>
                    <a:gd name="connsiteY153" fmla="*/ 1077407 h 1317229"/>
                    <a:gd name="connsiteX154" fmla="*/ 851997 w 1427705"/>
                    <a:gd name="connsiteY154" fmla="*/ 1075962 h 1317229"/>
                    <a:gd name="connsiteX155" fmla="*/ 855555 w 1427705"/>
                    <a:gd name="connsiteY155" fmla="*/ 1075779 h 1317229"/>
                    <a:gd name="connsiteX156" fmla="*/ 852932 w 1427705"/>
                    <a:gd name="connsiteY156" fmla="*/ 1074261 h 1317229"/>
                    <a:gd name="connsiteX157" fmla="*/ 852422 w 1427705"/>
                    <a:gd name="connsiteY157" fmla="*/ 1074019 h 1317229"/>
                    <a:gd name="connsiteX158" fmla="*/ 851086 w 1427705"/>
                    <a:gd name="connsiteY158" fmla="*/ 1072416 h 1317229"/>
                    <a:gd name="connsiteX159" fmla="*/ 849945 w 1427705"/>
                    <a:gd name="connsiteY159" fmla="*/ 1070157 h 1317229"/>
                    <a:gd name="connsiteX160" fmla="*/ 848949 w 1427705"/>
                    <a:gd name="connsiteY160" fmla="*/ 1064462 h 1317229"/>
                    <a:gd name="connsiteX161" fmla="*/ 846508 w 1427705"/>
                    <a:gd name="connsiteY161" fmla="*/ 1061038 h 1317229"/>
                    <a:gd name="connsiteX162" fmla="*/ 832398 w 1427705"/>
                    <a:gd name="connsiteY162" fmla="*/ 1065130 h 1317229"/>
                    <a:gd name="connsiteX163" fmla="*/ 835301 w 1427705"/>
                    <a:gd name="connsiteY163" fmla="*/ 1066830 h 1317229"/>
                    <a:gd name="connsiteX164" fmla="*/ 837122 w 1427705"/>
                    <a:gd name="connsiteY164" fmla="*/ 1068700 h 1317229"/>
                    <a:gd name="connsiteX165" fmla="*/ 837693 w 1427705"/>
                    <a:gd name="connsiteY165" fmla="*/ 1069368 h 1317229"/>
                    <a:gd name="connsiteX166" fmla="*/ 838166 w 1427705"/>
                    <a:gd name="connsiteY166" fmla="*/ 1072379 h 1317229"/>
                    <a:gd name="connsiteX167" fmla="*/ 836916 w 1427705"/>
                    <a:gd name="connsiteY167" fmla="*/ 1075852 h 1317229"/>
                    <a:gd name="connsiteX168" fmla="*/ 834584 w 1427705"/>
                    <a:gd name="connsiteY168" fmla="*/ 1077613 h 1317229"/>
                    <a:gd name="connsiteX169" fmla="*/ 831706 w 1427705"/>
                    <a:gd name="connsiteY169" fmla="*/ 1078827 h 1317229"/>
                    <a:gd name="connsiteX170" fmla="*/ 825914 w 1427705"/>
                    <a:gd name="connsiteY170" fmla="*/ 1079653 h 1317229"/>
                    <a:gd name="connsiteX171" fmla="*/ 820340 w 1427705"/>
                    <a:gd name="connsiteY171" fmla="*/ 1079447 h 1317229"/>
                    <a:gd name="connsiteX172" fmla="*/ 817511 w 1427705"/>
                    <a:gd name="connsiteY172" fmla="*/ 1078851 h 1317229"/>
                    <a:gd name="connsiteX173" fmla="*/ 814573 w 1427705"/>
                    <a:gd name="connsiteY173" fmla="*/ 1077637 h 1317229"/>
                    <a:gd name="connsiteX174" fmla="*/ 813528 w 1427705"/>
                    <a:gd name="connsiteY174" fmla="*/ 1076471 h 1317229"/>
                    <a:gd name="connsiteX175" fmla="*/ 812654 w 1427705"/>
                    <a:gd name="connsiteY175" fmla="*/ 1074771 h 1317229"/>
                    <a:gd name="connsiteX176" fmla="*/ 812557 w 1427705"/>
                    <a:gd name="connsiteY176" fmla="*/ 1074225 h 1317229"/>
                    <a:gd name="connsiteX177" fmla="*/ 812496 w 1427705"/>
                    <a:gd name="connsiteY177" fmla="*/ 1072634 h 1317229"/>
                    <a:gd name="connsiteX178" fmla="*/ 812788 w 1427705"/>
                    <a:gd name="connsiteY178" fmla="*/ 1071165 h 1317229"/>
                    <a:gd name="connsiteX179" fmla="*/ 813480 w 1427705"/>
                    <a:gd name="connsiteY179" fmla="*/ 1068955 h 1317229"/>
                    <a:gd name="connsiteX180" fmla="*/ 813188 w 1427705"/>
                    <a:gd name="connsiteY180" fmla="*/ 1068736 h 1317229"/>
                    <a:gd name="connsiteX181" fmla="*/ 809557 w 1427705"/>
                    <a:gd name="connsiteY181" fmla="*/ 1067728 h 1317229"/>
                    <a:gd name="connsiteX182" fmla="*/ 806923 w 1427705"/>
                    <a:gd name="connsiteY182" fmla="*/ 1066672 h 1317229"/>
                    <a:gd name="connsiteX183" fmla="*/ 804931 w 1427705"/>
                    <a:gd name="connsiteY183" fmla="*/ 1066186 h 1317229"/>
                    <a:gd name="connsiteX184" fmla="*/ 803268 w 1427705"/>
                    <a:gd name="connsiteY184" fmla="*/ 1066490 h 1317229"/>
                    <a:gd name="connsiteX185" fmla="*/ 800827 w 1427705"/>
                    <a:gd name="connsiteY185" fmla="*/ 1067413 h 1317229"/>
                    <a:gd name="connsiteX186" fmla="*/ 797451 w 1427705"/>
                    <a:gd name="connsiteY186" fmla="*/ 1067595 h 1317229"/>
                    <a:gd name="connsiteX187" fmla="*/ 794172 w 1427705"/>
                    <a:gd name="connsiteY187" fmla="*/ 1066684 h 1317229"/>
                    <a:gd name="connsiteX188" fmla="*/ 795253 w 1427705"/>
                    <a:gd name="connsiteY188" fmla="*/ 1071699 h 1317229"/>
                    <a:gd name="connsiteX189" fmla="*/ 795375 w 1427705"/>
                    <a:gd name="connsiteY189" fmla="*/ 1074347 h 1317229"/>
                    <a:gd name="connsiteX190" fmla="*/ 795180 w 1427705"/>
                    <a:gd name="connsiteY190" fmla="*/ 1076787 h 1317229"/>
                    <a:gd name="connsiteX191" fmla="*/ 794852 w 1427705"/>
                    <a:gd name="connsiteY191" fmla="*/ 1078475 h 1317229"/>
                    <a:gd name="connsiteX192" fmla="*/ 794100 w 1427705"/>
                    <a:gd name="connsiteY192" fmla="*/ 1080649 h 1317229"/>
                    <a:gd name="connsiteX193" fmla="*/ 791367 w 1427705"/>
                    <a:gd name="connsiteY193" fmla="*/ 1085312 h 1317229"/>
                    <a:gd name="connsiteX194" fmla="*/ 788113 w 1427705"/>
                    <a:gd name="connsiteY194" fmla="*/ 1089464 h 1317229"/>
                    <a:gd name="connsiteX195" fmla="*/ 783062 w 1427705"/>
                    <a:gd name="connsiteY195" fmla="*/ 1094552 h 1317229"/>
                    <a:gd name="connsiteX196" fmla="*/ 783001 w 1427705"/>
                    <a:gd name="connsiteY196" fmla="*/ 1095026 h 1317229"/>
                    <a:gd name="connsiteX197" fmla="*/ 782722 w 1427705"/>
                    <a:gd name="connsiteY197" fmla="*/ 1096082 h 1317229"/>
                    <a:gd name="connsiteX198" fmla="*/ 782673 w 1427705"/>
                    <a:gd name="connsiteY198" fmla="*/ 1096690 h 1317229"/>
                    <a:gd name="connsiteX199" fmla="*/ 782928 w 1427705"/>
                    <a:gd name="connsiteY199" fmla="*/ 1097115 h 1317229"/>
                    <a:gd name="connsiteX200" fmla="*/ 783912 w 1427705"/>
                    <a:gd name="connsiteY200" fmla="*/ 1099215 h 1317229"/>
                    <a:gd name="connsiteX201" fmla="*/ 784312 w 1427705"/>
                    <a:gd name="connsiteY201" fmla="*/ 1100417 h 1317229"/>
                    <a:gd name="connsiteX202" fmla="*/ 784689 w 1427705"/>
                    <a:gd name="connsiteY202" fmla="*/ 1102227 h 1317229"/>
                    <a:gd name="connsiteX203" fmla="*/ 784677 w 1427705"/>
                    <a:gd name="connsiteY203" fmla="*/ 1104291 h 1317229"/>
                    <a:gd name="connsiteX204" fmla="*/ 783645 w 1427705"/>
                    <a:gd name="connsiteY204" fmla="*/ 1107667 h 1317229"/>
                    <a:gd name="connsiteX205" fmla="*/ 781459 w 1427705"/>
                    <a:gd name="connsiteY205" fmla="*/ 1109294 h 1317229"/>
                    <a:gd name="connsiteX206" fmla="*/ 780232 w 1427705"/>
                    <a:gd name="connsiteY206" fmla="*/ 1109840 h 1317229"/>
                    <a:gd name="connsiteX207" fmla="*/ 775011 w 1427705"/>
                    <a:gd name="connsiteY207" fmla="*/ 1110253 h 1317229"/>
                    <a:gd name="connsiteX208" fmla="*/ 773432 w 1427705"/>
                    <a:gd name="connsiteY208" fmla="*/ 1110617 h 1317229"/>
                    <a:gd name="connsiteX209" fmla="*/ 766329 w 1427705"/>
                    <a:gd name="connsiteY209" fmla="*/ 1119409 h 1317229"/>
                    <a:gd name="connsiteX210" fmla="*/ 758691 w 1427705"/>
                    <a:gd name="connsiteY210" fmla="*/ 1115900 h 1317229"/>
                    <a:gd name="connsiteX211" fmla="*/ 750871 w 1427705"/>
                    <a:gd name="connsiteY211" fmla="*/ 1109087 h 1317229"/>
                    <a:gd name="connsiteX212" fmla="*/ 748236 w 1427705"/>
                    <a:gd name="connsiteY212" fmla="*/ 1107509 h 1317229"/>
                    <a:gd name="connsiteX213" fmla="*/ 747798 w 1427705"/>
                    <a:gd name="connsiteY213" fmla="*/ 1107315 h 1317229"/>
                    <a:gd name="connsiteX214" fmla="*/ 742978 w 1427705"/>
                    <a:gd name="connsiteY214" fmla="*/ 1109039 h 1317229"/>
                    <a:gd name="connsiteX215" fmla="*/ 740318 w 1427705"/>
                    <a:gd name="connsiteY215" fmla="*/ 1109695 h 1317229"/>
                    <a:gd name="connsiteX216" fmla="*/ 736554 w 1427705"/>
                    <a:gd name="connsiteY216" fmla="*/ 1109804 h 1317229"/>
                    <a:gd name="connsiteX217" fmla="*/ 733336 w 1427705"/>
                    <a:gd name="connsiteY217" fmla="*/ 1108832 h 1317229"/>
                    <a:gd name="connsiteX218" fmla="*/ 731187 w 1427705"/>
                    <a:gd name="connsiteY218" fmla="*/ 1107412 h 1317229"/>
                    <a:gd name="connsiteX219" fmla="*/ 728734 w 1427705"/>
                    <a:gd name="connsiteY219" fmla="*/ 1104291 h 1317229"/>
                    <a:gd name="connsiteX220" fmla="*/ 727641 w 1427705"/>
                    <a:gd name="connsiteY220" fmla="*/ 1103368 h 1317229"/>
                    <a:gd name="connsiteX221" fmla="*/ 717927 w 1427705"/>
                    <a:gd name="connsiteY221" fmla="*/ 1106222 h 1317229"/>
                    <a:gd name="connsiteX222" fmla="*/ 716227 w 1427705"/>
                    <a:gd name="connsiteY222" fmla="*/ 1106489 h 1317229"/>
                    <a:gd name="connsiteX223" fmla="*/ 710605 w 1427705"/>
                    <a:gd name="connsiteY223" fmla="*/ 1106659 h 1317229"/>
                    <a:gd name="connsiteX224" fmla="*/ 705262 w 1427705"/>
                    <a:gd name="connsiteY224" fmla="*/ 1106137 h 1317229"/>
                    <a:gd name="connsiteX225" fmla="*/ 701449 w 1427705"/>
                    <a:gd name="connsiteY225" fmla="*/ 1104424 h 1317229"/>
                    <a:gd name="connsiteX226" fmla="*/ 699288 w 1427705"/>
                    <a:gd name="connsiteY226" fmla="*/ 1101814 h 1317229"/>
                    <a:gd name="connsiteX227" fmla="*/ 699385 w 1427705"/>
                    <a:gd name="connsiteY227" fmla="*/ 1099094 h 1317229"/>
                    <a:gd name="connsiteX228" fmla="*/ 699955 w 1427705"/>
                    <a:gd name="connsiteY228" fmla="*/ 1096750 h 1317229"/>
                    <a:gd name="connsiteX229" fmla="*/ 700842 w 1427705"/>
                    <a:gd name="connsiteY229" fmla="*/ 1095256 h 1317229"/>
                    <a:gd name="connsiteX230" fmla="*/ 702955 w 1427705"/>
                    <a:gd name="connsiteY230" fmla="*/ 1093132 h 1317229"/>
                    <a:gd name="connsiteX231" fmla="*/ 703999 w 1427705"/>
                    <a:gd name="connsiteY231" fmla="*/ 1091784 h 1317229"/>
                    <a:gd name="connsiteX232" fmla="*/ 704995 w 1427705"/>
                    <a:gd name="connsiteY232" fmla="*/ 1089634 h 1317229"/>
                    <a:gd name="connsiteX233" fmla="*/ 705080 w 1427705"/>
                    <a:gd name="connsiteY233" fmla="*/ 1086756 h 1317229"/>
                    <a:gd name="connsiteX234" fmla="*/ 705638 w 1427705"/>
                    <a:gd name="connsiteY234" fmla="*/ 1085008 h 1317229"/>
                    <a:gd name="connsiteX235" fmla="*/ 706245 w 1427705"/>
                    <a:gd name="connsiteY235" fmla="*/ 1083709 h 1317229"/>
                    <a:gd name="connsiteX236" fmla="*/ 706998 w 1427705"/>
                    <a:gd name="connsiteY236" fmla="*/ 1082640 h 1317229"/>
                    <a:gd name="connsiteX237" fmla="*/ 708091 w 1427705"/>
                    <a:gd name="connsiteY237" fmla="*/ 1081402 h 1317229"/>
                    <a:gd name="connsiteX238" fmla="*/ 711188 w 1427705"/>
                    <a:gd name="connsiteY238" fmla="*/ 1078888 h 1317229"/>
                    <a:gd name="connsiteX239" fmla="*/ 711685 w 1427705"/>
                    <a:gd name="connsiteY239" fmla="*/ 1073946 h 1317229"/>
                    <a:gd name="connsiteX240" fmla="*/ 712220 w 1427705"/>
                    <a:gd name="connsiteY240" fmla="*/ 1071724 h 1317229"/>
                    <a:gd name="connsiteX241" fmla="*/ 717842 w 1427705"/>
                    <a:gd name="connsiteY241" fmla="*/ 1058743 h 1317229"/>
                    <a:gd name="connsiteX242" fmla="*/ 717793 w 1427705"/>
                    <a:gd name="connsiteY242" fmla="*/ 1058196 h 1317229"/>
                    <a:gd name="connsiteX243" fmla="*/ 717611 w 1427705"/>
                    <a:gd name="connsiteY243" fmla="*/ 1057771 h 1317229"/>
                    <a:gd name="connsiteX244" fmla="*/ 716713 w 1427705"/>
                    <a:gd name="connsiteY244" fmla="*/ 1057043 h 1317229"/>
                    <a:gd name="connsiteX245" fmla="*/ 715571 w 1427705"/>
                    <a:gd name="connsiteY245" fmla="*/ 1056909 h 1317229"/>
                    <a:gd name="connsiteX246" fmla="*/ 714855 w 1427705"/>
                    <a:gd name="connsiteY246" fmla="*/ 1056946 h 1317229"/>
                    <a:gd name="connsiteX247" fmla="*/ 713677 w 1427705"/>
                    <a:gd name="connsiteY247" fmla="*/ 1057140 h 1317229"/>
                    <a:gd name="connsiteX248" fmla="*/ 712705 w 1427705"/>
                    <a:gd name="connsiteY248" fmla="*/ 1057504 h 1317229"/>
                    <a:gd name="connsiteX249" fmla="*/ 709937 w 1427705"/>
                    <a:gd name="connsiteY249" fmla="*/ 1055501 h 1317229"/>
                    <a:gd name="connsiteX250" fmla="*/ 711516 w 1427705"/>
                    <a:gd name="connsiteY250" fmla="*/ 1058257 h 1317229"/>
                    <a:gd name="connsiteX251" fmla="*/ 710168 w 1427705"/>
                    <a:gd name="connsiteY251" fmla="*/ 1063381 h 1317229"/>
                    <a:gd name="connsiteX252" fmla="*/ 709075 w 1427705"/>
                    <a:gd name="connsiteY252" fmla="*/ 1065421 h 1317229"/>
                    <a:gd name="connsiteX253" fmla="*/ 707362 w 1427705"/>
                    <a:gd name="connsiteY253" fmla="*/ 1067109 h 1317229"/>
                    <a:gd name="connsiteX254" fmla="*/ 705031 w 1427705"/>
                    <a:gd name="connsiteY254" fmla="*/ 1068275 h 1317229"/>
                    <a:gd name="connsiteX255" fmla="*/ 702821 w 1427705"/>
                    <a:gd name="connsiteY255" fmla="*/ 1068773 h 1317229"/>
                    <a:gd name="connsiteX256" fmla="*/ 690763 w 1427705"/>
                    <a:gd name="connsiteY256" fmla="*/ 1069174 h 1317229"/>
                    <a:gd name="connsiteX257" fmla="*/ 695669 w 1427705"/>
                    <a:gd name="connsiteY257" fmla="*/ 1072476 h 1317229"/>
                    <a:gd name="connsiteX258" fmla="*/ 698243 w 1427705"/>
                    <a:gd name="connsiteY258" fmla="*/ 1074929 h 1317229"/>
                    <a:gd name="connsiteX259" fmla="*/ 699494 w 1427705"/>
                    <a:gd name="connsiteY259" fmla="*/ 1078329 h 1317229"/>
                    <a:gd name="connsiteX260" fmla="*/ 698316 w 1427705"/>
                    <a:gd name="connsiteY260" fmla="*/ 1081778 h 1317229"/>
                    <a:gd name="connsiteX261" fmla="*/ 695365 w 1427705"/>
                    <a:gd name="connsiteY261" fmla="*/ 1083927 h 1317229"/>
                    <a:gd name="connsiteX262" fmla="*/ 692815 w 1427705"/>
                    <a:gd name="connsiteY262" fmla="*/ 1084401 h 1317229"/>
                    <a:gd name="connsiteX263" fmla="*/ 688237 w 1427705"/>
                    <a:gd name="connsiteY263" fmla="*/ 1084534 h 1317229"/>
                    <a:gd name="connsiteX264" fmla="*/ 686841 w 1427705"/>
                    <a:gd name="connsiteY264" fmla="*/ 1084874 h 1317229"/>
                    <a:gd name="connsiteX265" fmla="*/ 683745 w 1427705"/>
                    <a:gd name="connsiteY265" fmla="*/ 1085943 h 1317229"/>
                    <a:gd name="connsiteX266" fmla="*/ 680527 w 1427705"/>
                    <a:gd name="connsiteY266" fmla="*/ 1086574 h 1317229"/>
                    <a:gd name="connsiteX267" fmla="*/ 678134 w 1427705"/>
                    <a:gd name="connsiteY267" fmla="*/ 1085554 h 1317229"/>
                    <a:gd name="connsiteX268" fmla="*/ 676143 w 1427705"/>
                    <a:gd name="connsiteY268" fmla="*/ 1084291 h 1317229"/>
                    <a:gd name="connsiteX269" fmla="*/ 671019 w 1427705"/>
                    <a:gd name="connsiteY269" fmla="*/ 1079374 h 1317229"/>
                    <a:gd name="connsiteX270" fmla="*/ 669452 w 1427705"/>
                    <a:gd name="connsiteY270" fmla="*/ 1077151 h 1317229"/>
                    <a:gd name="connsiteX271" fmla="*/ 668347 w 1427705"/>
                    <a:gd name="connsiteY271" fmla="*/ 1074966 h 1317229"/>
                    <a:gd name="connsiteX272" fmla="*/ 666635 w 1427705"/>
                    <a:gd name="connsiteY272" fmla="*/ 1070776 h 1317229"/>
                    <a:gd name="connsiteX273" fmla="*/ 666089 w 1427705"/>
                    <a:gd name="connsiteY273" fmla="*/ 1070108 h 1317229"/>
                    <a:gd name="connsiteX274" fmla="*/ 666004 w 1427705"/>
                    <a:gd name="connsiteY274" fmla="*/ 1070096 h 1317229"/>
                    <a:gd name="connsiteX275" fmla="*/ 666332 w 1427705"/>
                    <a:gd name="connsiteY275" fmla="*/ 1071614 h 1317229"/>
                    <a:gd name="connsiteX276" fmla="*/ 666562 w 1427705"/>
                    <a:gd name="connsiteY276" fmla="*/ 1074480 h 1317229"/>
                    <a:gd name="connsiteX277" fmla="*/ 665457 w 1427705"/>
                    <a:gd name="connsiteY277" fmla="*/ 1077139 h 1317229"/>
                    <a:gd name="connsiteX278" fmla="*/ 663830 w 1427705"/>
                    <a:gd name="connsiteY278" fmla="*/ 1078366 h 1317229"/>
                    <a:gd name="connsiteX279" fmla="*/ 661389 w 1427705"/>
                    <a:gd name="connsiteY279" fmla="*/ 1079289 h 1317229"/>
                    <a:gd name="connsiteX280" fmla="*/ 659446 w 1427705"/>
                    <a:gd name="connsiteY280" fmla="*/ 1079641 h 1317229"/>
                    <a:gd name="connsiteX281" fmla="*/ 657273 w 1427705"/>
                    <a:gd name="connsiteY281" fmla="*/ 1079738 h 1317229"/>
                    <a:gd name="connsiteX282" fmla="*/ 650582 w 1427705"/>
                    <a:gd name="connsiteY282" fmla="*/ 1078694 h 1317229"/>
                    <a:gd name="connsiteX283" fmla="*/ 649174 w 1427705"/>
                    <a:gd name="connsiteY283" fmla="*/ 1078062 h 1317229"/>
                    <a:gd name="connsiteX284" fmla="*/ 649744 w 1427705"/>
                    <a:gd name="connsiteY284" fmla="*/ 1080503 h 1317229"/>
                    <a:gd name="connsiteX285" fmla="*/ 650303 w 1427705"/>
                    <a:gd name="connsiteY285" fmla="*/ 1081147 h 1317229"/>
                    <a:gd name="connsiteX286" fmla="*/ 651092 w 1427705"/>
                    <a:gd name="connsiteY286" fmla="*/ 1081535 h 1317229"/>
                    <a:gd name="connsiteX287" fmla="*/ 655318 w 1427705"/>
                    <a:gd name="connsiteY287" fmla="*/ 1083247 h 1317229"/>
                    <a:gd name="connsiteX288" fmla="*/ 657346 w 1427705"/>
                    <a:gd name="connsiteY288" fmla="*/ 1084413 h 1317229"/>
                    <a:gd name="connsiteX289" fmla="*/ 658803 w 1427705"/>
                    <a:gd name="connsiteY289" fmla="*/ 1086052 h 1317229"/>
                    <a:gd name="connsiteX290" fmla="*/ 659374 w 1427705"/>
                    <a:gd name="connsiteY290" fmla="*/ 1090836 h 1317229"/>
                    <a:gd name="connsiteX291" fmla="*/ 650825 w 1427705"/>
                    <a:gd name="connsiteY291" fmla="*/ 1096313 h 1317229"/>
                    <a:gd name="connsiteX292" fmla="*/ 648348 w 1427705"/>
                    <a:gd name="connsiteY292" fmla="*/ 1097115 h 1317229"/>
                    <a:gd name="connsiteX293" fmla="*/ 644766 w 1427705"/>
                    <a:gd name="connsiteY293" fmla="*/ 1097503 h 1317229"/>
                    <a:gd name="connsiteX294" fmla="*/ 642726 w 1427705"/>
                    <a:gd name="connsiteY294" fmla="*/ 1096325 h 1317229"/>
                    <a:gd name="connsiteX295" fmla="*/ 641111 w 1427705"/>
                    <a:gd name="connsiteY295" fmla="*/ 1094795 h 1317229"/>
                    <a:gd name="connsiteX296" fmla="*/ 639629 w 1427705"/>
                    <a:gd name="connsiteY296" fmla="*/ 1092743 h 1317229"/>
                    <a:gd name="connsiteX297" fmla="*/ 639617 w 1427705"/>
                    <a:gd name="connsiteY297" fmla="*/ 1094419 h 1317229"/>
                    <a:gd name="connsiteX298" fmla="*/ 637869 w 1427705"/>
                    <a:gd name="connsiteY298" fmla="*/ 1097309 h 1317229"/>
                    <a:gd name="connsiteX299" fmla="*/ 634942 w 1427705"/>
                    <a:gd name="connsiteY299" fmla="*/ 1098244 h 1317229"/>
                    <a:gd name="connsiteX300" fmla="*/ 632708 w 1427705"/>
                    <a:gd name="connsiteY300" fmla="*/ 1098037 h 1317229"/>
                    <a:gd name="connsiteX301" fmla="*/ 630668 w 1427705"/>
                    <a:gd name="connsiteY301" fmla="*/ 1097430 h 1317229"/>
                    <a:gd name="connsiteX302" fmla="*/ 628822 w 1427705"/>
                    <a:gd name="connsiteY302" fmla="*/ 1096604 h 1317229"/>
                    <a:gd name="connsiteX303" fmla="*/ 627426 w 1427705"/>
                    <a:gd name="connsiteY303" fmla="*/ 1096192 h 1317229"/>
                    <a:gd name="connsiteX304" fmla="*/ 624876 w 1427705"/>
                    <a:gd name="connsiteY304" fmla="*/ 1095754 h 1317229"/>
                    <a:gd name="connsiteX305" fmla="*/ 623273 w 1427705"/>
                    <a:gd name="connsiteY305" fmla="*/ 1096204 h 1317229"/>
                    <a:gd name="connsiteX306" fmla="*/ 617736 w 1427705"/>
                    <a:gd name="connsiteY306" fmla="*/ 1098232 h 1317229"/>
                    <a:gd name="connsiteX307" fmla="*/ 615028 w 1427705"/>
                    <a:gd name="connsiteY307" fmla="*/ 1098050 h 1317229"/>
                    <a:gd name="connsiteX308" fmla="*/ 612223 w 1427705"/>
                    <a:gd name="connsiteY308" fmla="*/ 1096896 h 1317229"/>
                    <a:gd name="connsiteX309" fmla="*/ 611543 w 1427705"/>
                    <a:gd name="connsiteY309" fmla="*/ 1096556 h 1317229"/>
                    <a:gd name="connsiteX310" fmla="*/ 608968 w 1427705"/>
                    <a:gd name="connsiteY310" fmla="*/ 1092889 h 1317229"/>
                    <a:gd name="connsiteX311" fmla="*/ 607778 w 1427705"/>
                    <a:gd name="connsiteY311" fmla="*/ 1090594 h 1317229"/>
                    <a:gd name="connsiteX312" fmla="*/ 606345 w 1427705"/>
                    <a:gd name="connsiteY312" fmla="*/ 1085457 h 1317229"/>
                    <a:gd name="connsiteX313" fmla="*/ 606248 w 1427705"/>
                    <a:gd name="connsiteY313" fmla="*/ 1082992 h 1317229"/>
                    <a:gd name="connsiteX314" fmla="*/ 606637 w 1427705"/>
                    <a:gd name="connsiteY314" fmla="*/ 1079422 h 1317229"/>
                    <a:gd name="connsiteX315" fmla="*/ 607766 w 1427705"/>
                    <a:gd name="connsiteY315" fmla="*/ 1077844 h 1317229"/>
                    <a:gd name="connsiteX316" fmla="*/ 609454 w 1427705"/>
                    <a:gd name="connsiteY316" fmla="*/ 1076787 h 1317229"/>
                    <a:gd name="connsiteX317" fmla="*/ 611033 w 1427705"/>
                    <a:gd name="connsiteY317" fmla="*/ 1076423 h 1317229"/>
                    <a:gd name="connsiteX318" fmla="*/ 612951 w 1427705"/>
                    <a:gd name="connsiteY318" fmla="*/ 1077346 h 1317229"/>
                    <a:gd name="connsiteX319" fmla="*/ 614081 w 1427705"/>
                    <a:gd name="connsiteY319" fmla="*/ 1077443 h 1317229"/>
                    <a:gd name="connsiteX320" fmla="*/ 615744 w 1427705"/>
                    <a:gd name="connsiteY320" fmla="*/ 1076690 h 1317229"/>
                    <a:gd name="connsiteX321" fmla="*/ 617007 w 1427705"/>
                    <a:gd name="connsiteY321" fmla="*/ 1074589 h 1317229"/>
                    <a:gd name="connsiteX322" fmla="*/ 621087 w 1427705"/>
                    <a:gd name="connsiteY322" fmla="*/ 1070473 h 1317229"/>
                    <a:gd name="connsiteX323" fmla="*/ 621876 w 1427705"/>
                    <a:gd name="connsiteY323" fmla="*/ 1069356 h 1317229"/>
                    <a:gd name="connsiteX324" fmla="*/ 622702 w 1427705"/>
                    <a:gd name="connsiteY324" fmla="*/ 1067765 h 1317229"/>
                    <a:gd name="connsiteX325" fmla="*/ 623771 w 1427705"/>
                    <a:gd name="connsiteY325" fmla="*/ 1066611 h 1317229"/>
                    <a:gd name="connsiteX326" fmla="*/ 626029 w 1427705"/>
                    <a:gd name="connsiteY326" fmla="*/ 1065264 h 1317229"/>
                    <a:gd name="connsiteX327" fmla="*/ 627280 w 1427705"/>
                    <a:gd name="connsiteY327" fmla="*/ 1064814 h 1317229"/>
                    <a:gd name="connsiteX328" fmla="*/ 630291 w 1427705"/>
                    <a:gd name="connsiteY328" fmla="*/ 1062981 h 1317229"/>
                    <a:gd name="connsiteX329" fmla="*/ 633813 w 1427705"/>
                    <a:gd name="connsiteY329" fmla="*/ 1061523 h 1317229"/>
                    <a:gd name="connsiteX330" fmla="*/ 635379 w 1427705"/>
                    <a:gd name="connsiteY330" fmla="*/ 1060686 h 1317229"/>
                    <a:gd name="connsiteX331" fmla="*/ 633995 w 1427705"/>
                    <a:gd name="connsiteY331" fmla="*/ 1057395 h 1317229"/>
                    <a:gd name="connsiteX332" fmla="*/ 633521 w 1427705"/>
                    <a:gd name="connsiteY332" fmla="*/ 1056132 h 1317229"/>
                    <a:gd name="connsiteX333" fmla="*/ 632963 w 1427705"/>
                    <a:gd name="connsiteY333" fmla="*/ 1051919 h 1317229"/>
                    <a:gd name="connsiteX334" fmla="*/ 635063 w 1427705"/>
                    <a:gd name="connsiteY334" fmla="*/ 1049478 h 1317229"/>
                    <a:gd name="connsiteX335" fmla="*/ 633278 w 1427705"/>
                    <a:gd name="connsiteY335" fmla="*/ 1050146 h 1317229"/>
                    <a:gd name="connsiteX336" fmla="*/ 633121 w 1427705"/>
                    <a:gd name="connsiteY336" fmla="*/ 1051166 h 1317229"/>
                    <a:gd name="connsiteX337" fmla="*/ 632732 w 1427705"/>
                    <a:gd name="connsiteY337" fmla="*/ 1050340 h 1317229"/>
                    <a:gd name="connsiteX338" fmla="*/ 632064 w 1427705"/>
                    <a:gd name="connsiteY338" fmla="*/ 1050595 h 1317229"/>
                    <a:gd name="connsiteX339" fmla="*/ 632501 w 1427705"/>
                    <a:gd name="connsiteY339" fmla="*/ 1049878 h 1317229"/>
                    <a:gd name="connsiteX340" fmla="*/ 631724 w 1427705"/>
                    <a:gd name="connsiteY340" fmla="*/ 1048300 h 1317229"/>
                    <a:gd name="connsiteX341" fmla="*/ 631894 w 1427705"/>
                    <a:gd name="connsiteY341" fmla="*/ 1051493 h 1317229"/>
                    <a:gd name="connsiteX342" fmla="*/ 630947 w 1427705"/>
                    <a:gd name="connsiteY342" fmla="*/ 1051493 h 1317229"/>
                    <a:gd name="connsiteX343" fmla="*/ 628288 w 1427705"/>
                    <a:gd name="connsiteY343" fmla="*/ 1051153 h 1317229"/>
                    <a:gd name="connsiteX344" fmla="*/ 627681 w 1427705"/>
                    <a:gd name="connsiteY344" fmla="*/ 1050741 h 1317229"/>
                    <a:gd name="connsiteX345" fmla="*/ 626588 w 1427705"/>
                    <a:gd name="connsiteY345" fmla="*/ 1049575 h 1317229"/>
                    <a:gd name="connsiteX346" fmla="*/ 624973 w 1427705"/>
                    <a:gd name="connsiteY346" fmla="*/ 1046563 h 1317229"/>
                    <a:gd name="connsiteX347" fmla="*/ 622119 w 1427705"/>
                    <a:gd name="connsiteY347" fmla="*/ 1044657 h 1317229"/>
                    <a:gd name="connsiteX348" fmla="*/ 618841 w 1427705"/>
                    <a:gd name="connsiteY348" fmla="*/ 1043588 h 1317229"/>
                    <a:gd name="connsiteX349" fmla="*/ 617420 w 1427705"/>
                    <a:gd name="connsiteY349" fmla="*/ 1041585 h 1317229"/>
                    <a:gd name="connsiteX350" fmla="*/ 616412 w 1427705"/>
                    <a:gd name="connsiteY350" fmla="*/ 1038585 h 1317229"/>
                    <a:gd name="connsiteX351" fmla="*/ 615950 w 1427705"/>
                    <a:gd name="connsiteY351" fmla="*/ 1030170 h 1317229"/>
                    <a:gd name="connsiteX352" fmla="*/ 615052 w 1427705"/>
                    <a:gd name="connsiteY352" fmla="*/ 1024208 h 1317229"/>
                    <a:gd name="connsiteX353" fmla="*/ 614590 w 1427705"/>
                    <a:gd name="connsiteY353" fmla="*/ 1022836 h 1317229"/>
                    <a:gd name="connsiteX354" fmla="*/ 614105 w 1427705"/>
                    <a:gd name="connsiteY354" fmla="*/ 1021840 h 1317229"/>
                    <a:gd name="connsiteX355" fmla="*/ 611494 w 1427705"/>
                    <a:gd name="connsiteY355" fmla="*/ 1018416 h 1317229"/>
                    <a:gd name="connsiteX356" fmla="*/ 610729 w 1427705"/>
                    <a:gd name="connsiteY356" fmla="*/ 1017214 h 1317229"/>
                    <a:gd name="connsiteX357" fmla="*/ 610413 w 1427705"/>
                    <a:gd name="connsiteY357" fmla="*/ 1017117 h 1317229"/>
                    <a:gd name="connsiteX358" fmla="*/ 609430 w 1427705"/>
                    <a:gd name="connsiteY358" fmla="*/ 1017068 h 1317229"/>
                    <a:gd name="connsiteX359" fmla="*/ 607572 w 1427705"/>
                    <a:gd name="connsiteY359" fmla="*/ 1017517 h 1317229"/>
                    <a:gd name="connsiteX360" fmla="*/ 604463 w 1427705"/>
                    <a:gd name="connsiteY360" fmla="*/ 1018477 h 1317229"/>
                    <a:gd name="connsiteX361" fmla="*/ 602751 w 1427705"/>
                    <a:gd name="connsiteY361" fmla="*/ 1018768 h 1317229"/>
                    <a:gd name="connsiteX362" fmla="*/ 600480 w 1427705"/>
                    <a:gd name="connsiteY362" fmla="*/ 1018562 h 1317229"/>
                    <a:gd name="connsiteX363" fmla="*/ 597335 w 1427705"/>
                    <a:gd name="connsiteY363" fmla="*/ 1017275 h 1317229"/>
                    <a:gd name="connsiteX364" fmla="*/ 597153 w 1427705"/>
                    <a:gd name="connsiteY364" fmla="*/ 1017530 h 1317229"/>
                    <a:gd name="connsiteX365" fmla="*/ 596206 w 1427705"/>
                    <a:gd name="connsiteY365" fmla="*/ 1019849 h 1317229"/>
                    <a:gd name="connsiteX366" fmla="*/ 594737 w 1427705"/>
                    <a:gd name="connsiteY366" fmla="*/ 1021913 h 1317229"/>
                    <a:gd name="connsiteX367" fmla="*/ 593110 w 1427705"/>
                    <a:gd name="connsiteY367" fmla="*/ 1023577 h 1317229"/>
                    <a:gd name="connsiteX368" fmla="*/ 584282 w 1427705"/>
                    <a:gd name="connsiteY368" fmla="*/ 1030049 h 1317229"/>
                    <a:gd name="connsiteX369" fmla="*/ 583201 w 1427705"/>
                    <a:gd name="connsiteY369" fmla="*/ 1030413 h 1317229"/>
                    <a:gd name="connsiteX370" fmla="*/ 580554 w 1427705"/>
                    <a:gd name="connsiteY370" fmla="*/ 1030498 h 1317229"/>
                    <a:gd name="connsiteX371" fmla="*/ 578915 w 1427705"/>
                    <a:gd name="connsiteY371" fmla="*/ 1030000 h 1317229"/>
                    <a:gd name="connsiteX372" fmla="*/ 575770 w 1427705"/>
                    <a:gd name="connsiteY372" fmla="*/ 1028507 h 1317229"/>
                    <a:gd name="connsiteX373" fmla="*/ 563614 w 1427705"/>
                    <a:gd name="connsiteY373" fmla="*/ 1034068 h 1317229"/>
                    <a:gd name="connsiteX374" fmla="*/ 561077 w 1427705"/>
                    <a:gd name="connsiteY374" fmla="*/ 1035938 h 1317229"/>
                    <a:gd name="connsiteX375" fmla="*/ 556511 w 1427705"/>
                    <a:gd name="connsiteY375" fmla="*/ 1040273 h 1317229"/>
                    <a:gd name="connsiteX376" fmla="*/ 549079 w 1427705"/>
                    <a:gd name="connsiteY376" fmla="*/ 1045835 h 1317229"/>
                    <a:gd name="connsiteX377" fmla="*/ 545169 w 1427705"/>
                    <a:gd name="connsiteY377" fmla="*/ 1048142 h 1317229"/>
                    <a:gd name="connsiteX378" fmla="*/ 541806 w 1427705"/>
                    <a:gd name="connsiteY378" fmla="*/ 1049235 h 1317229"/>
                    <a:gd name="connsiteX379" fmla="*/ 536439 w 1427705"/>
                    <a:gd name="connsiteY379" fmla="*/ 1049587 h 1317229"/>
                    <a:gd name="connsiteX380" fmla="*/ 532638 w 1427705"/>
                    <a:gd name="connsiteY380" fmla="*/ 1050838 h 1317229"/>
                    <a:gd name="connsiteX381" fmla="*/ 531217 w 1427705"/>
                    <a:gd name="connsiteY381" fmla="*/ 1051894 h 1317229"/>
                    <a:gd name="connsiteX382" fmla="*/ 530829 w 1427705"/>
                    <a:gd name="connsiteY382" fmla="*/ 1052574 h 1317229"/>
                    <a:gd name="connsiteX383" fmla="*/ 529991 w 1427705"/>
                    <a:gd name="connsiteY383" fmla="*/ 1051894 h 1317229"/>
                    <a:gd name="connsiteX384" fmla="*/ 528315 w 1427705"/>
                    <a:gd name="connsiteY384" fmla="*/ 1052756 h 1317229"/>
                    <a:gd name="connsiteX385" fmla="*/ 531521 w 1427705"/>
                    <a:gd name="connsiteY385" fmla="*/ 1053388 h 1317229"/>
                    <a:gd name="connsiteX386" fmla="*/ 531849 w 1427705"/>
                    <a:gd name="connsiteY386" fmla="*/ 1054347 h 1317229"/>
                    <a:gd name="connsiteX387" fmla="*/ 532480 w 1427705"/>
                    <a:gd name="connsiteY387" fmla="*/ 1055428 h 1317229"/>
                    <a:gd name="connsiteX388" fmla="*/ 533427 w 1427705"/>
                    <a:gd name="connsiteY388" fmla="*/ 1056715 h 1317229"/>
                    <a:gd name="connsiteX389" fmla="*/ 536329 w 1427705"/>
                    <a:gd name="connsiteY389" fmla="*/ 1060006 h 1317229"/>
                    <a:gd name="connsiteX390" fmla="*/ 537434 w 1427705"/>
                    <a:gd name="connsiteY390" fmla="*/ 1062058 h 1317229"/>
                    <a:gd name="connsiteX391" fmla="*/ 538102 w 1427705"/>
                    <a:gd name="connsiteY391" fmla="*/ 1064741 h 1317229"/>
                    <a:gd name="connsiteX392" fmla="*/ 537252 w 1427705"/>
                    <a:gd name="connsiteY392" fmla="*/ 1068105 h 1317229"/>
                    <a:gd name="connsiteX393" fmla="*/ 535831 w 1427705"/>
                    <a:gd name="connsiteY393" fmla="*/ 1069161 h 1317229"/>
                    <a:gd name="connsiteX394" fmla="*/ 534471 w 1427705"/>
                    <a:gd name="connsiteY394" fmla="*/ 1069805 h 1317229"/>
                    <a:gd name="connsiteX395" fmla="*/ 532103 w 1427705"/>
                    <a:gd name="connsiteY395" fmla="*/ 1070266 h 1317229"/>
                    <a:gd name="connsiteX396" fmla="*/ 530161 w 1427705"/>
                    <a:gd name="connsiteY396" fmla="*/ 1070910 h 1317229"/>
                    <a:gd name="connsiteX397" fmla="*/ 526141 w 1427705"/>
                    <a:gd name="connsiteY397" fmla="*/ 1073144 h 1317229"/>
                    <a:gd name="connsiteX398" fmla="*/ 522365 w 1427705"/>
                    <a:gd name="connsiteY398" fmla="*/ 1074176 h 1317229"/>
                    <a:gd name="connsiteX399" fmla="*/ 518734 w 1427705"/>
                    <a:gd name="connsiteY399" fmla="*/ 1073448 h 1317229"/>
                    <a:gd name="connsiteX400" fmla="*/ 515698 w 1427705"/>
                    <a:gd name="connsiteY400" fmla="*/ 1069550 h 1317229"/>
                    <a:gd name="connsiteX401" fmla="*/ 515043 w 1427705"/>
                    <a:gd name="connsiteY401" fmla="*/ 1069076 h 1317229"/>
                    <a:gd name="connsiteX402" fmla="*/ 514569 w 1427705"/>
                    <a:gd name="connsiteY402" fmla="*/ 1068955 h 1317229"/>
                    <a:gd name="connsiteX403" fmla="*/ 510683 w 1427705"/>
                    <a:gd name="connsiteY403" fmla="*/ 1069975 h 1317229"/>
                    <a:gd name="connsiteX404" fmla="*/ 496124 w 1427705"/>
                    <a:gd name="connsiteY404" fmla="*/ 1070898 h 1317229"/>
                    <a:gd name="connsiteX405" fmla="*/ 493258 w 1427705"/>
                    <a:gd name="connsiteY405" fmla="*/ 1070655 h 1317229"/>
                    <a:gd name="connsiteX406" fmla="*/ 486883 w 1427705"/>
                    <a:gd name="connsiteY406" fmla="*/ 1068906 h 1317229"/>
                    <a:gd name="connsiteX407" fmla="*/ 479087 w 1427705"/>
                    <a:gd name="connsiteY407" fmla="*/ 1065300 h 1317229"/>
                    <a:gd name="connsiteX408" fmla="*/ 477181 w 1427705"/>
                    <a:gd name="connsiteY408" fmla="*/ 1064693 h 1317229"/>
                    <a:gd name="connsiteX409" fmla="*/ 474801 w 1427705"/>
                    <a:gd name="connsiteY409" fmla="*/ 1065045 h 1317229"/>
                    <a:gd name="connsiteX410" fmla="*/ 473490 w 1427705"/>
                    <a:gd name="connsiteY410" fmla="*/ 1066089 h 1317229"/>
                    <a:gd name="connsiteX411" fmla="*/ 472263 w 1427705"/>
                    <a:gd name="connsiteY411" fmla="*/ 1067704 h 1317229"/>
                    <a:gd name="connsiteX412" fmla="*/ 469531 w 1427705"/>
                    <a:gd name="connsiteY412" fmla="*/ 1073326 h 1317229"/>
                    <a:gd name="connsiteX413" fmla="*/ 468450 w 1427705"/>
                    <a:gd name="connsiteY413" fmla="*/ 1075051 h 1317229"/>
                    <a:gd name="connsiteX414" fmla="*/ 466665 w 1427705"/>
                    <a:gd name="connsiteY414" fmla="*/ 1076872 h 1317229"/>
                    <a:gd name="connsiteX415" fmla="*/ 463472 w 1427705"/>
                    <a:gd name="connsiteY415" fmla="*/ 1078936 h 1317229"/>
                    <a:gd name="connsiteX416" fmla="*/ 460254 w 1427705"/>
                    <a:gd name="connsiteY416" fmla="*/ 1079702 h 1317229"/>
                    <a:gd name="connsiteX417" fmla="*/ 459622 w 1427705"/>
                    <a:gd name="connsiteY417" fmla="*/ 1079799 h 1317229"/>
                    <a:gd name="connsiteX418" fmla="*/ 456429 w 1427705"/>
                    <a:gd name="connsiteY418" fmla="*/ 1079009 h 1317229"/>
                    <a:gd name="connsiteX419" fmla="*/ 454328 w 1427705"/>
                    <a:gd name="connsiteY419" fmla="*/ 1076921 h 1317229"/>
                    <a:gd name="connsiteX420" fmla="*/ 453636 w 1427705"/>
                    <a:gd name="connsiteY420" fmla="*/ 1075063 h 1317229"/>
                    <a:gd name="connsiteX421" fmla="*/ 453247 w 1427705"/>
                    <a:gd name="connsiteY421" fmla="*/ 1073047 h 1317229"/>
                    <a:gd name="connsiteX422" fmla="*/ 452932 w 1427705"/>
                    <a:gd name="connsiteY422" fmla="*/ 1072039 h 1317229"/>
                    <a:gd name="connsiteX423" fmla="*/ 452324 w 1427705"/>
                    <a:gd name="connsiteY423" fmla="*/ 1071602 h 1317229"/>
                    <a:gd name="connsiteX424" fmla="*/ 451062 w 1427705"/>
                    <a:gd name="connsiteY424" fmla="*/ 1071347 h 1317229"/>
                    <a:gd name="connsiteX425" fmla="*/ 448596 w 1427705"/>
                    <a:gd name="connsiteY425" fmla="*/ 1071590 h 1317229"/>
                    <a:gd name="connsiteX426" fmla="*/ 448548 w 1427705"/>
                    <a:gd name="connsiteY426" fmla="*/ 1071881 h 1317229"/>
                    <a:gd name="connsiteX427" fmla="*/ 448754 w 1427705"/>
                    <a:gd name="connsiteY427" fmla="*/ 1074516 h 1317229"/>
                    <a:gd name="connsiteX428" fmla="*/ 449191 w 1427705"/>
                    <a:gd name="connsiteY428" fmla="*/ 1077079 h 1317229"/>
                    <a:gd name="connsiteX429" fmla="*/ 449289 w 1427705"/>
                    <a:gd name="connsiteY429" fmla="*/ 1080272 h 1317229"/>
                    <a:gd name="connsiteX430" fmla="*/ 448305 w 1427705"/>
                    <a:gd name="connsiteY430" fmla="*/ 1083636 h 1317229"/>
                    <a:gd name="connsiteX431" fmla="*/ 447662 w 1427705"/>
                    <a:gd name="connsiteY431" fmla="*/ 1085469 h 1317229"/>
                    <a:gd name="connsiteX432" fmla="*/ 438554 w 1427705"/>
                    <a:gd name="connsiteY432" fmla="*/ 1086307 h 1317229"/>
                    <a:gd name="connsiteX433" fmla="*/ 435919 w 1427705"/>
                    <a:gd name="connsiteY433" fmla="*/ 1085214 h 1317229"/>
                    <a:gd name="connsiteX434" fmla="*/ 432969 w 1427705"/>
                    <a:gd name="connsiteY434" fmla="*/ 1083405 h 1317229"/>
                    <a:gd name="connsiteX435" fmla="*/ 431682 w 1427705"/>
                    <a:gd name="connsiteY435" fmla="*/ 1081171 h 1317229"/>
                    <a:gd name="connsiteX436" fmla="*/ 431014 w 1427705"/>
                    <a:gd name="connsiteY436" fmla="*/ 1078014 h 1317229"/>
                    <a:gd name="connsiteX437" fmla="*/ 430989 w 1427705"/>
                    <a:gd name="connsiteY437" fmla="*/ 1075051 h 1317229"/>
                    <a:gd name="connsiteX438" fmla="*/ 431414 w 1427705"/>
                    <a:gd name="connsiteY438" fmla="*/ 1071626 h 1317229"/>
                    <a:gd name="connsiteX439" fmla="*/ 431985 w 1427705"/>
                    <a:gd name="connsiteY439" fmla="*/ 1069113 h 1317229"/>
                    <a:gd name="connsiteX440" fmla="*/ 432628 w 1427705"/>
                    <a:gd name="connsiteY440" fmla="*/ 1067061 h 1317229"/>
                    <a:gd name="connsiteX441" fmla="*/ 434013 w 1427705"/>
                    <a:gd name="connsiteY441" fmla="*/ 1064875 h 1317229"/>
                    <a:gd name="connsiteX442" fmla="*/ 439052 w 1427705"/>
                    <a:gd name="connsiteY442" fmla="*/ 1060236 h 1317229"/>
                    <a:gd name="connsiteX443" fmla="*/ 440303 w 1427705"/>
                    <a:gd name="connsiteY443" fmla="*/ 1058208 h 1317229"/>
                    <a:gd name="connsiteX444" fmla="*/ 442379 w 1427705"/>
                    <a:gd name="connsiteY444" fmla="*/ 1053315 h 1317229"/>
                    <a:gd name="connsiteX445" fmla="*/ 448767 w 1427705"/>
                    <a:gd name="connsiteY445" fmla="*/ 1044766 h 1317229"/>
                    <a:gd name="connsiteX446" fmla="*/ 447067 w 1427705"/>
                    <a:gd name="connsiteY446" fmla="*/ 1045628 h 1317229"/>
                    <a:gd name="connsiteX447" fmla="*/ 444662 w 1427705"/>
                    <a:gd name="connsiteY447" fmla="*/ 1045410 h 1317229"/>
                    <a:gd name="connsiteX448" fmla="*/ 441857 w 1427705"/>
                    <a:gd name="connsiteY448" fmla="*/ 1044329 h 1317229"/>
                    <a:gd name="connsiteX449" fmla="*/ 440874 w 1427705"/>
                    <a:gd name="connsiteY449" fmla="*/ 1044305 h 1317229"/>
                    <a:gd name="connsiteX450" fmla="*/ 439926 w 1427705"/>
                    <a:gd name="connsiteY450" fmla="*/ 1044730 h 1317229"/>
                    <a:gd name="connsiteX451" fmla="*/ 438627 w 1427705"/>
                    <a:gd name="connsiteY451" fmla="*/ 1045495 h 1317229"/>
                    <a:gd name="connsiteX452" fmla="*/ 437935 w 1427705"/>
                    <a:gd name="connsiteY452" fmla="*/ 1046369 h 1317229"/>
                    <a:gd name="connsiteX453" fmla="*/ 437024 w 1427705"/>
                    <a:gd name="connsiteY453" fmla="*/ 1048191 h 1317229"/>
                    <a:gd name="connsiteX454" fmla="*/ 435810 w 1427705"/>
                    <a:gd name="connsiteY454" fmla="*/ 1049988 h 1317229"/>
                    <a:gd name="connsiteX455" fmla="*/ 434608 w 1427705"/>
                    <a:gd name="connsiteY455" fmla="*/ 1050959 h 1317229"/>
                    <a:gd name="connsiteX456" fmla="*/ 432446 w 1427705"/>
                    <a:gd name="connsiteY456" fmla="*/ 1051882 h 1317229"/>
                    <a:gd name="connsiteX457" fmla="*/ 431706 w 1427705"/>
                    <a:gd name="connsiteY457" fmla="*/ 1052125 h 1317229"/>
                    <a:gd name="connsiteX458" fmla="*/ 428949 w 1427705"/>
                    <a:gd name="connsiteY458" fmla="*/ 1051603 h 1317229"/>
                    <a:gd name="connsiteX459" fmla="*/ 427091 w 1427705"/>
                    <a:gd name="connsiteY459" fmla="*/ 1050255 h 1317229"/>
                    <a:gd name="connsiteX460" fmla="*/ 426897 w 1427705"/>
                    <a:gd name="connsiteY460" fmla="*/ 1050036 h 1317229"/>
                    <a:gd name="connsiteX461" fmla="*/ 428706 w 1427705"/>
                    <a:gd name="connsiteY461" fmla="*/ 1055428 h 1317229"/>
                    <a:gd name="connsiteX462" fmla="*/ 429435 w 1427705"/>
                    <a:gd name="connsiteY462" fmla="*/ 1059180 h 1317229"/>
                    <a:gd name="connsiteX463" fmla="*/ 429484 w 1427705"/>
                    <a:gd name="connsiteY463" fmla="*/ 1062616 h 1317229"/>
                    <a:gd name="connsiteX464" fmla="*/ 428148 w 1427705"/>
                    <a:gd name="connsiteY464" fmla="*/ 1065652 h 1317229"/>
                    <a:gd name="connsiteX465" fmla="*/ 425355 w 1427705"/>
                    <a:gd name="connsiteY465" fmla="*/ 1067631 h 1317229"/>
                    <a:gd name="connsiteX466" fmla="*/ 422404 w 1427705"/>
                    <a:gd name="connsiteY466" fmla="*/ 1067668 h 1317229"/>
                    <a:gd name="connsiteX467" fmla="*/ 416952 w 1427705"/>
                    <a:gd name="connsiteY467" fmla="*/ 1065859 h 1317229"/>
                    <a:gd name="connsiteX468" fmla="*/ 415155 w 1427705"/>
                    <a:gd name="connsiteY468" fmla="*/ 1065397 h 1317229"/>
                    <a:gd name="connsiteX469" fmla="*/ 413273 w 1427705"/>
                    <a:gd name="connsiteY469" fmla="*/ 1065591 h 1317229"/>
                    <a:gd name="connsiteX470" fmla="*/ 410990 w 1427705"/>
                    <a:gd name="connsiteY470" fmla="*/ 1066053 h 1317229"/>
                    <a:gd name="connsiteX471" fmla="*/ 406728 w 1427705"/>
                    <a:gd name="connsiteY471" fmla="*/ 1064171 h 1317229"/>
                    <a:gd name="connsiteX472" fmla="*/ 405562 w 1427705"/>
                    <a:gd name="connsiteY472" fmla="*/ 1064013 h 1317229"/>
                    <a:gd name="connsiteX473" fmla="*/ 405198 w 1427705"/>
                    <a:gd name="connsiteY473" fmla="*/ 1064049 h 1317229"/>
                    <a:gd name="connsiteX474" fmla="*/ 403655 w 1427705"/>
                    <a:gd name="connsiteY474" fmla="*/ 1065081 h 1317229"/>
                    <a:gd name="connsiteX475" fmla="*/ 402878 w 1427705"/>
                    <a:gd name="connsiteY475" fmla="*/ 1066199 h 1317229"/>
                    <a:gd name="connsiteX476" fmla="*/ 400960 w 1427705"/>
                    <a:gd name="connsiteY476" fmla="*/ 1069477 h 1317229"/>
                    <a:gd name="connsiteX477" fmla="*/ 398689 w 1427705"/>
                    <a:gd name="connsiteY477" fmla="*/ 1070946 h 1317229"/>
                    <a:gd name="connsiteX478" fmla="*/ 396103 w 1427705"/>
                    <a:gd name="connsiteY478" fmla="*/ 1071663 h 1317229"/>
                    <a:gd name="connsiteX479" fmla="*/ 394937 w 1427705"/>
                    <a:gd name="connsiteY479" fmla="*/ 1071881 h 1317229"/>
                    <a:gd name="connsiteX480" fmla="*/ 391998 w 1427705"/>
                    <a:gd name="connsiteY480" fmla="*/ 1070036 h 1317229"/>
                    <a:gd name="connsiteX481" fmla="*/ 390990 w 1427705"/>
                    <a:gd name="connsiteY481" fmla="*/ 1068141 h 1317229"/>
                    <a:gd name="connsiteX482" fmla="*/ 389970 w 1427705"/>
                    <a:gd name="connsiteY482" fmla="*/ 1061123 h 1317229"/>
                    <a:gd name="connsiteX483" fmla="*/ 388112 w 1427705"/>
                    <a:gd name="connsiteY483" fmla="*/ 1061463 h 1317229"/>
                    <a:gd name="connsiteX484" fmla="*/ 382855 w 1427705"/>
                    <a:gd name="connsiteY484" fmla="*/ 1064001 h 1317229"/>
                    <a:gd name="connsiteX485" fmla="*/ 379406 w 1427705"/>
                    <a:gd name="connsiteY485" fmla="*/ 1065094 h 1317229"/>
                    <a:gd name="connsiteX486" fmla="*/ 375860 w 1427705"/>
                    <a:gd name="connsiteY486" fmla="*/ 1065725 h 1317229"/>
                    <a:gd name="connsiteX487" fmla="*/ 373638 w 1427705"/>
                    <a:gd name="connsiteY487" fmla="*/ 1064438 h 1317229"/>
                    <a:gd name="connsiteX488" fmla="*/ 371853 w 1427705"/>
                    <a:gd name="connsiteY488" fmla="*/ 1062531 h 1317229"/>
                    <a:gd name="connsiteX489" fmla="*/ 370797 w 1427705"/>
                    <a:gd name="connsiteY489" fmla="*/ 1060419 h 1317229"/>
                    <a:gd name="connsiteX490" fmla="*/ 370469 w 1427705"/>
                    <a:gd name="connsiteY490" fmla="*/ 1056970 h 1317229"/>
                    <a:gd name="connsiteX491" fmla="*/ 371149 w 1427705"/>
                    <a:gd name="connsiteY491" fmla="*/ 1053910 h 1317229"/>
                    <a:gd name="connsiteX492" fmla="*/ 372557 w 1427705"/>
                    <a:gd name="connsiteY492" fmla="*/ 1050935 h 1317229"/>
                    <a:gd name="connsiteX493" fmla="*/ 376686 w 1427705"/>
                    <a:gd name="connsiteY493" fmla="*/ 1046673 h 1317229"/>
                    <a:gd name="connsiteX494" fmla="*/ 376200 w 1427705"/>
                    <a:gd name="connsiteY494" fmla="*/ 1046442 h 1317229"/>
                    <a:gd name="connsiteX495" fmla="*/ 375107 w 1427705"/>
                    <a:gd name="connsiteY495" fmla="*/ 1045325 h 1317229"/>
                    <a:gd name="connsiteX496" fmla="*/ 376832 w 1427705"/>
                    <a:gd name="connsiteY496" fmla="*/ 1042678 h 1317229"/>
                    <a:gd name="connsiteX497" fmla="*/ 374112 w 1427705"/>
                    <a:gd name="connsiteY497" fmla="*/ 1044414 h 1317229"/>
                    <a:gd name="connsiteX498" fmla="*/ 373723 w 1427705"/>
                    <a:gd name="connsiteY498" fmla="*/ 1044208 h 1317229"/>
                    <a:gd name="connsiteX499" fmla="*/ 372278 w 1427705"/>
                    <a:gd name="connsiteY499" fmla="*/ 1044062 h 1317229"/>
                    <a:gd name="connsiteX500" fmla="*/ 372448 w 1427705"/>
                    <a:gd name="connsiteY500" fmla="*/ 1045568 h 1317229"/>
                    <a:gd name="connsiteX501" fmla="*/ 372327 w 1427705"/>
                    <a:gd name="connsiteY501" fmla="*/ 1048154 h 1317229"/>
                    <a:gd name="connsiteX502" fmla="*/ 371622 w 1427705"/>
                    <a:gd name="connsiteY502" fmla="*/ 1051579 h 1317229"/>
                    <a:gd name="connsiteX503" fmla="*/ 368368 w 1427705"/>
                    <a:gd name="connsiteY503" fmla="*/ 1054614 h 1317229"/>
                    <a:gd name="connsiteX504" fmla="*/ 365369 w 1427705"/>
                    <a:gd name="connsiteY504" fmla="*/ 1055282 h 1317229"/>
                    <a:gd name="connsiteX505" fmla="*/ 362540 w 1427705"/>
                    <a:gd name="connsiteY505" fmla="*/ 1055683 h 1317229"/>
                    <a:gd name="connsiteX506" fmla="*/ 361617 w 1427705"/>
                    <a:gd name="connsiteY506" fmla="*/ 1056290 h 1317229"/>
                    <a:gd name="connsiteX507" fmla="*/ 360791 w 1427705"/>
                    <a:gd name="connsiteY507" fmla="*/ 1057079 h 1317229"/>
                    <a:gd name="connsiteX508" fmla="*/ 358799 w 1427705"/>
                    <a:gd name="connsiteY508" fmla="*/ 1060018 h 1317229"/>
                    <a:gd name="connsiteX509" fmla="*/ 356881 w 1427705"/>
                    <a:gd name="connsiteY509" fmla="*/ 1062204 h 1317229"/>
                    <a:gd name="connsiteX510" fmla="*/ 352546 w 1427705"/>
                    <a:gd name="connsiteY510" fmla="*/ 1065385 h 1317229"/>
                    <a:gd name="connsiteX511" fmla="*/ 348527 w 1427705"/>
                    <a:gd name="connsiteY511" fmla="*/ 1065616 h 1317229"/>
                    <a:gd name="connsiteX512" fmla="*/ 345224 w 1427705"/>
                    <a:gd name="connsiteY512" fmla="*/ 1063479 h 1317229"/>
                    <a:gd name="connsiteX513" fmla="*/ 343706 w 1427705"/>
                    <a:gd name="connsiteY513" fmla="*/ 1060540 h 1317229"/>
                    <a:gd name="connsiteX514" fmla="*/ 343026 w 1427705"/>
                    <a:gd name="connsiteY514" fmla="*/ 1056460 h 1317229"/>
                    <a:gd name="connsiteX515" fmla="*/ 343269 w 1427705"/>
                    <a:gd name="connsiteY515" fmla="*/ 1053011 h 1317229"/>
                    <a:gd name="connsiteX516" fmla="*/ 344216 w 1427705"/>
                    <a:gd name="connsiteY516" fmla="*/ 1049174 h 1317229"/>
                    <a:gd name="connsiteX517" fmla="*/ 345782 w 1427705"/>
                    <a:gd name="connsiteY517" fmla="*/ 1045750 h 1317229"/>
                    <a:gd name="connsiteX518" fmla="*/ 347859 w 1427705"/>
                    <a:gd name="connsiteY518" fmla="*/ 1042653 h 1317229"/>
                    <a:gd name="connsiteX519" fmla="*/ 351101 w 1427705"/>
                    <a:gd name="connsiteY519" fmla="*/ 1039776 h 1317229"/>
                    <a:gd name="connsiteX520" fmla="*/ 355897 w 1427705"/>
                    <a:gd name="connsiteY520" fmla="*/ 1036667 h 1317229"/>
                    <a:gd name="connsiteX521" fmla="*/ 356662 w 1427705"/>
                    <a:gd name="connsiteY521" fmla="*/ 1035975 h 1317229"/>
                    <a:gd name="connsiteX522" fmla="*/ 357002 w 1427705"/>
                    <a:gd name="connsiteY522" fmla="*/ 1035477 h 1317229"/>
                    <a:gd name="connsiteX523" fmla="*/ 357270 w 1427705"/>
                    <a:gd name="connsiteY523" fmla="*/ 1034263 h 1317229"/>
                    <a:gd name="connsiteX524" fmla="*/ 357136 w 1427705"/>
                    <a:gd name="connsiteY524" fmla="*/ 1033231 h 1317229"/>
                    <a:gd name="connsiteX525" fmla="*/ 356614 w 1427705"/>
                    <a:gd name="connsiteY525" fmla="*/ 1030595 h 1317229"/>
                    <a:gd name="connsiteX526" fmla="*/ 356565 w 1427705"/>
                    <a:gd name="connsiteY526" fmla="*/ 1028203 h 1317229"/>
                    <a:gd name="connsiteX527" fmla="*/ 357099 w 1427705"/>
                    <a:gd name="connsiteY527" fmla="*/ 1025423 h 1317229"/>
                    <a:gd name="connsiteX528" fmla="*/ 360852 w 1427705"/>
                    <a:gd name="connsiteY528" fmla="*/ 1018817 h 1317229"/>
                    <a:gd name="connsiteX529" fmla="*/ 361398 w 1427705"/>
                    <a:gd name="connsiteY529" fmla="*/ 1012102 h 1317229"/>
                    <a:gd name="connsiteX530" fmla="*/ 361010 w 1427705"/>
                    <a:gd name="connsiteY530" fmla="*/ 1012126 h 1317229"/>
                    <a:gd name="connsiteX531" fmla="*/ 359419 w 1427705"/>
                    <a:gd name="connsiteY531" fmla="*/ 1012624 h 1317229"/>
                    <a:gd name="connsiteX532" fmla="*/ 355788 w 1427705"/>
                    <a:gd name="connsiteY532" fmla="*/ 1012976 h 1317229"/>
                    <a:gd name="connsiteX533" fmla="*/ 352716 w 1427705"/>
                    <a:gd name="connsiteY533" fmla="*/ 1011567 h 1317229"/>
                    <a:gd name="connsiteX534" fmla="*/ 351635 w 1427705"/>
                    <a:gd name="connsiteY534" fmla="*/ 1009564 h 1317229"/>
                    <a:gd name="connsiteX535" fmla="*/ 351417 w 1427705"/>
                    <a:gd name="connsiteY535" fmla="*/ 1007305 h 1317229"/>
                    <a:gd name="connsiteX536" fmla="*/ 351878 w 1427705"/>
                    <a:gd name="connsiteY536" fmla="*/ 1005751 h 1317229"/>
                    <a:gd name="connsiteX537" fmla="*/ 352922 w 1427705"/>
                    <a:gd name="connsiteY537" fmla="*/ 1003565 h 1317229"/>
                    <a:gd name="connsiteX538" fmla="*/ 353578 w 1427705"/>
                    <a:gd name="connsiteY538" fmla="*/ 1001659 h 1317229"/>
                    <a:gd name="connsiteX539" fmla="*/ 353797 w 1427705"/>
                    <a:gd name="connsiteY539" fmla="*/ 999947 h 1317229"/>
                    <a:gd name="connsiteX540" fmla="*/ 353760 w 1427705"/>
                    <a:gd name="connsiteY540" fmla="*/ 996559 h 1317229"/>
                    <a:gd name="connsiteX541" fmla="*/ 353420 w 1427705"/>
                    <a:gd name="connsiteY541" fmla="*/ 995235 h 1317229"/>
                    <a:gd name="connsiteX542" fmla="*/ 353019 w 1427705"/>
                    <a:gd name="connsiteY542" fmla="*/ 994130 h 1317229"/>
                    <a:gd name="connsiteX543" fmla="*/ 351927 w 1427705"/>
                    <a:gd name="connsiteY543" fmla="*/ 993062 h 1317229"/>
                    <a:gd name="connsiteX544" fmla="*/ 351781 w 1427705"/>
                    <a:gd name="connsiteY544" fmla="*/ 993025 h 1317229"/>
                    <a:gd name="connsiteX545" fmla="*/ 350421 w 1427705"/>
                    <a:gd name="connsiteY545" fmla="*/ 993547 h 1317229"/>
                    <a:gd name="connsiteX546" fmla="*/ 348417 w 1427705"/>
                    <a:gd name="connsiteY546" fmla="*/ 996304 h 1317229"/>
                    <a:gd name="connsiteX547" fmla="*/ 347543 w 1427705"/>
                    <a:gd name="connsiteY547" fmla="*/ 998356 h 1317229"/>
                    <a:gd name="connsiteX548" fmla="*/ 347276 w 1427705"/>
                    <a:gd name="connsiteY548" fmla="*/ 999704 h 1317229"/>
                    <a:gd name="connsiteX549" fmla="*/ 347203 w 1427705"/>
                    <a:gd name="connsiteY549" fmla="*/ 1001416 h 1317229"/>
                    <a:gd name="connsiteX550" fmla="*/ 347713 w 1427705"/>
                    <a:gd name="connsiteY550" fmla="*/ 1008325 h 1317229"/>
                    <a:gd name="connsiteX551" fmla="*/ 347288 w 1427705"/>
                    <a:gd name="connsiteY551" fmla="*/ 1011932 h 1317229"/>
                    <a:gd name="connsiteX552" fmla="*/ 345503 w 1427705"/>
                    <a:gd name="connsiteY552" fmla="*/ 1014178 h 1317229"/>
                    <a:gd name="connsiteX553" fmla="*/ 342188 w 1427705"/>
                    <a:gd name="connsiteY553" fmla="*/ 1016485 h 1317229"/>
                    <a:gd name="connsiteX554" fmla="*/ 337319 w 1427705"/>
                    <a:gd name="connsiteY554" fmla="*/ 1017153 h 1317229"/>
                    <a:gd name="connsiteX555" fmla="*/ 333919 w 1427705"/>
                    <a:gd name="connsiteY555" fmla="*/ 1015975 h 1317229"/>
                    <a:gd name="connsiteX556" fmla="*/ 331672 w 1427705"/>
                    <a:gd name="connsiteY556" fmla="*/ 1013437 h 1317229"/>
                    <a:gd name="connsiteX557" fmla="*/ 331271 w 1427705"/>
                    <a:gd name="connsiteY557" fmla="*/ 1010074 h 1317229"/>
                    <a:gd name="connsiteX558" fmla="*/ 331478 w 1427705"/>
                    <a:gd name="connsiteY558" fmla="*/ 1001877 h 1317229"/>
                    <a:gd name="connsiteX559" fmla="*/ 330871 w 1427705"/>
                    <a:gd name="connsiteY559" fmla="*/ 997980 h 1317229"/>
                    <a:gd name="connsiteX560" fmla="*/ 330336 w 1427705"/>
                    <a:gd name="connsiteY560" fmla="*/ 996984 h 1317229"/>
                    <a:gd name="connsiteX561" fmla="*/ 329316 w 1427705"/>
                    <a:gd name="connsiteY561" fmla="*/ 997749 h 1317229"/>
                    <a:gd name="connsiteX562" fmla="*/ 326936 w 1427705"/>
                    <a:gd name="connsiteY562" fmla="*/ 998696 h 1317229"/>
                    <a:gd name="connsiteX563" fmla="*/ 324459 w 1427705"/>
                    <a:gd name="connsiteY563" fmla="*/ 999157 h 1317229"/>
                    <a:gd name="connsiteX564" fmla="*/ 323573 w 1427705"/>
                    <a:gd name="connsiteY564" fmla="*/ 999728 h 1317229"/>
                    <a:gd name="connsiteX565" fmla="*/ 323160 w 1427705"/>
                    <a:gd name="connsiteY565" fmla="*/ 1001367 h 1317229"/>
                    <a:gd name="connsiteX566" fmla="*/ 323002 w 1427705"/>
                    <a:gd name="connsiteY566" fmla="*/ 1004500 h 1317229"/>
                    <a:gd name="connsiteX567" fmla="*/ 323269 w 1427705"/>
                    <a:gd name="connsiteY567" fmla="*/ 1005022 h 1317229"/>
                    <a:gd name="connsiteX568" fmla="*/ 326706 w 1427705"/>
                    <a:gd name="connsiteY568" fmla="*/ 1007840 h 1317229"/>
                    <a:gd name="connsiteX569" fmla="*/ 327131 w 1427705"/>
                    <a:gd name="connsiteY569" fmla="*/ 1008860 h 1317229"/>
                    <a:gd name="connsiteX570" fmla="*/ 327641 w 1427705"/>
                    <a:gd name="connsiteY570" fmla="*/ 1010389 h 1317229"/>
                    <a:gd name="connsiteX571" fmla="*/ 327908 w 1427705"/>
                    <a:gd name="connsiteY571" fmla="*/ 1012563 h 1317229"/>
                    <a:gd name="connsiteX572" fmla="*/ 327119 w 1427705"/>
                    <a:gd name="connsiteY572" fmla="*/ 1015040 h 1317229"/>
                    <a:gd name="connsiteX573" fmla="*/ 324787 w 1427705"/>
                    <a:gd name="connsiteY573" fmla="*/ 1018671 h 1317229"/>
                    <a:gd name="connsiteX574" fmla="*/ 324289 w 1427705"/>
                    <a:gd name="connsiteY574" fmla="*/ 1019691 h 1317229"/>
                    <a:gd name="connsiteX575" fmla="*/ 324374 w 1427705"/>
                    <a:gd name="connsiteY575" fmla="*/ 1020347 h 1317229"/>
                    <a:gd name="connsiteX576" fmla="*/ 324666 w 1427705"/>
                    <a:gd name="connsiteY576" fmla="*/ 1020626 h 1317229"/>
                    <a:gd name="connsiteX577" fmla="*/ 325516 w 1427705"/>
                    <a:gd name="connsiteY577" fmla="*/ 1022751 h 1317229"/>
                    <a:gd name="connsiteX578" fmla="*/ 325880 w 1427705"/>
                    <a:gd name="connsiteY578" fmla="*/ 1025228 h 1317229"/>
                    <a:gd name="connsiteX579" fmla="*/ 325406 w 1427705"/>
                    <a:gd name="connsiteY579" fmla="*/ 1027888 h 1317229"/>
                    <a:gd name="connsiteX580" fmla="*/ 325115 w 1427705"/>
                    <a:gd name="connsiteY580" fmla="*/ 1029041 h 1317229"/>
                    <a:gd name="connsiteX581" fmla="*/ 321545 w 1427705"/>
                    <a:gd name="connsiteY581" fmla="*/ 1031397 h 1317229"/>
                    <a:gd name="connsiteX582" fmla="*/ 317999 w 1427705"/>
                    <a:gd name="connsiteY582" fmla="*/ 1030826 h 1317229"/>
                    <a:gd name="connsiteX583" fmla="*/ 315886 w 1427705"/>
                    <a:gd name="connsiteY583" fmla="*/ 1029199 h 1317229"/>
                    <a:gd name="connsiteX584" fmla="*/ 313142 w 1427705"/>
                    <a:gd name="connsiteY584" fmla="*/ 1026151 h 1317229"/>
                    <a:gd name="connsiteX585" fmla="*/ 311976 w 1427705"/>
                    <a:gd name="connsiteY585" fmla="*/ 1025107 h 1317229"/>
                    <a:gd name="connsiteX586" fmla="*/ 309426 w 1427705"/>
                    <a:gd name="connsiteY586" fmla="*/ 1023589 h 1317229"/>
                    <a:gd name="connsiteX587" fmla="*/ 307666 w 1427705"/>
                    <a:gd name="connsiteY587" fmla="*/ 1021658 h 1317229"/>
                    <a:gd name="connsiteX588" fmla="*/ 306233 w 1427705"/>
                    <a:gd name="connsiteY588" fmla="*/ 1018246 h 1317229"/>
                    <a:gd name="connsiteX589" fmla="*/ 305492 w 1427705"/>
                    <a:gd name="connsiteY589" fmla="*/ 1018368 h 1317229"/>
                    <a:gd name="connsiteX590" fmla="*/ 301922 w 1427705"/>
                    <a:gd name="connsiteY590" fmla="*/ 1017299 h 1317229"/>
                    <a:gd name="connsiteX591" fmla="*/ 299117 w 1427705"/>
                    <a:gd name="connsiteY591" fmla="*/ 1017469 h 1317229"/>
                    <a:gd name="connsiteX592" fmla="*/ 296676 w 1427705"/>
                    <a:gd name="connsiteY592" fmla="*/ 1017724 h 1317229"/>
                    <a:gd name="connsiteX593" fmla="*/ 295911 w 1427705"/>
                    <a:gd name="connsiteY593" fmla="*/ 1018161 h 1317229"/>
                    <a:gd name="connsiteX594" fmla="*/ 295413 w 1427705"/>
                    <a:gd name="connsiteY594" fmla="*/ 1018550 h 1317229"/>
                    <a:gd name="connsiteX595" fmla="*/ 295559 w 1427705"/>
                    <a:gd name="connsiteY595" fmla="*/ 1019582 h 1317229"/>
                    <a:gd name="connsiteX596" fmla="*/ 296324 w 1427705"/>
                    <a:gd name="connsiteY596" fmla="*/ 1022387 h 1317229"/>
                    <a:gd name="connsiteX597" fmla="*/ 296057 w 1427705"/>
                    <a:gd name="connsiteY597" fmla="*/ 1023990 h 1317229"/>
                    <a:gd name="connsiteX598" fmla="*/ 294952 w 1427705"/>
                    <a:gd name="connsiteY598" fmla="*/ 1026212 h 1317229"/>
                    <a:gd name="connsiteX599" fmla="*/ 291710 w 1427705"/>
                    <a:gd name="connsiteY599" fmla="*/ 1028993 h 1317229"/>
                    <a:gd name="connsiteX600" fmla="*/ 290617 w 1427705"/>
                    <a:gd name="connsiteY600" fmla="*/ 1030122 h 1317229"/>
                    <a:gd name="connsiteX601" fmla="*/ 286331 w 1427705"/>
                    <a:gd name="connsiteY601" fmla="*/ 1036133 h 1317229"/>
                    <a:gd name="connsiteX602" fmla="*/ 284631 w 1427705"/>
                    <a:gd name="connsiteY602" fmla="*/ 1039217 h 1317229"/>
                    <a:gd name="connsiteX603" fmla="*/ 283865 w 1427705"/>
                    <a:gd name="connsiteY603" fmla="*/ 1040905 h 1317229"/>
                    <a:gd name="connsiteX604" fmla="*/ 283574 w 1427705"/>
                    <a:gd name="connsiteY604" fmla="*/ 1042095 h 1317229"/>
                    <a:gd name="connsiteX605" fmla="*/ 283744 w 1427705"/>
                    <a:gd name="connsiteY605" fmla="*/ 1042714 h 1317229"/>
                    <a:gd name="connsiteX606" fmla="*/ 284035 w 1427705"/>
                    <a:gd name="connsiteY606" fmla="*/ 1043431 h 1317229"/>
                    <a:gd name="connsiteX607" fmla="*/ 285663 w 1427705"/>
                    <a:gd name="connsiteY607" fmla="*/ 1044876 h 1317229"/>
                    <a:gd name="connsiteX608" fmla="*/ 289160 w 1427705"/>
                    <a:gd name="connsiteY608" fmla="*/ 1047535 h 1317229"/>
                    <a:gd name="connsiteX609" fmla="*/ 291856 w 1427705"/>
                    <a:gd name="connsiteY609" fmla="*/ 1050048 h 1317229"/>
                    <a:gd name="connsiteX610" fmla="*/ 294393 w 1427705"/>
                    <a:gd name="connsiteY610" fmla="*/ 1053157 h 1317229"/>
                    <a:gd name="connsiteX611" fmla="*/ 301509 w 1427705"/>
                    <a:gd name="connsiteY611" fmla="*/ 1068979 h 1317229"/>
                    <a:gd name="connsiteX612" fmla="*/ 303209 w 1427705"/>
                    <a:gd name="connsiteY612" fmla="*/ 1074881 h 1317229"/>
                    <a:gd name="connsiteX613" fmla="*/ 303610 w 1427705"/>
                    <a:gd name="connsiteY613" fmla="*/ 1084413 h 1317229"/>
                    <a:gd name="connsiteX614" fmla="*/ 307471 w 1427705"/>
                    <a:gd name="connsiteY614" fmla="*/ 1103999 h 1317229"/>
                    <a:gd name="connsiteX615" fmla="*/ 308953 w 1427705"/>
                    <a:gd name="connsiteY615" fmla="*/ 1108274 h 1317229"/>
                    <a:gd name="connsiteX616" fmla="*/ 310604 w 1427705"/>
                    <a:gd name="connsiteY616" fmla="*/ 1111018 h 1317229"/>
                    <a:gd name="connsiteX617" fmla="*/ 317356 w 1427705"/>
                    <a:gd name="connsiteY617" fmla="*/ 1117490 h 1317229"/>
                    <a:gd name="connsiteX618" fmla="*/ 319918 w 1427705"/>
                    <a:gd name="connsiteY618" fmla="*/ 1120745 h 1317229"/>
                    <a:gd name="connsiteX619" fmla="*/ 322796 w 1427705"/>
                    <a:gd name="connsiteY619" fmla="*/ 1126209 h 1317229"/>
                    <a:gd name="connsiteX620" fmla="*/ 324131 w 1427705"/>
                    <a:gd name="connsiteY620" fmla="*/ 1130301 h 1317229"/>
                    <a:gd name="connsiteX621" fmla="*/ 324714 w 1427705"/>
                    <a:gd name="connsiteY621" fmla="*/ 1133895 h 1317229"/>
                    <a:gd name="connsiteX622" fmla="*/ 324629 w 1427705"/>
                    <a:gd name="connsiteY622" fmla="*/ 1143610 h 1317229"/>
                    <a:gd name="connsiteX623" fmla="*/ 325419 w 1427705"/>
                    <a:gd name="connsiteY623" fmla="*/ 1149353 h 1317229"/>
                    <a:gd name="connsiteX624" fmla="*/ 325491 w 1427705"/>
                    <a:gd name="connsiteY624" fmla="*/ 1152098 h 1317229"/>
                    <a:gd name="connsiteX625" fmla="*/ 325091 w 1427705"/>
                    <a:gd name="connsiteY625" fmla="*/ 1154636 h 1317229"/>
                    <a:gd name="connsiteX626" fmla="*/ 324374 w 1427705"/>
                    <a:gd name="connsiteY626" fmla="*/ 1156700 h 1317229"/>
                    <a:gd name="connsiteX627" fmla="*/ 321788 w 1427705"/>
                    <a:gd name="connsiteY627" fmla="*/ 1160355 h 1317229"/>
                    <a:gd name="connsiteX628" fmla="*/ 321569 w 1427705"/>
                    <a:gd name="connsiteY628" fmla="*/ 1160865 h 1317229"/>
                    <a:gd name="connsiteX629" fmla="*/ 321521 w 1427705"/>
                    <a:gd name="connsiteY629" fmla="*/ 1163561 h 1317229"/>
                    <a:gd name="connsiteX630" fmla="*/ 323415 w 1427705"/>
                    <a:gd name="connsiteY630" fmla="*/ 1167106 h 1317229"/>
                    <a:gd name="connsiteX631" fmla="*/ 324144 w 1427705"/>
                    <a:gd name="connsiteY631" fmla="*/ 1168078 h 1317229"/>
                    <a:gd name="connsiteX632" fmla="*/ 325455 w 1427705"/>
                    <a:gd name="connsiteY632" fmla="*/ 1168236 h 1317229"/>
                    <a:gd name="connsiteX633" fmla="*/ 331842 w 1427705"/>
                    <a:gd name="connsiteY633" fmla="*/ 1165953 h 1317229"/>
                    <a:gd name="connsiteX634" fmla="*/ 336517 w 1427705"/>
                    <a:gd name="connsiteY634" fmla="*/ 1164994 h 1317229"/>
                    <a:gd name="connsiteX635" fmla="*/ 339298 w 1427705"/>
                    <a:gd name="connsiteY635" fmla="*/ 1164775 h 1317229"/>
                    <a:gd name="connsiteX636" fmla="*/ 342832 w 1427705"/>
                    <a:gd name="connsiteY636" fmla="*/ 1165297 h 1317229"/>
                    <a:gd name="connsiteX637" fmla="*/ 346244 w 1427705"/>
                    <a:gd name="connsiteY637" fmla="*/ 1166718 h 1317229"/>
                    <a:gd name="connsiteX638" fmla="*/ 349850 w 1427705"/>
                    <a:gd name="connsiteY638" fmla="*/ 1169826 h 1317229"/>
                    <a:gd name="connsiteX639" fmla="*/ 351854 w 1427705"/>
                    <a:gd name="connsiteY639" fmla="*/ 1173032 h 1317229"/>
                    <a:gd name="connsiteX640" fmla="*/ 353032 w 1427705"/>
                    <a:gd name="connsiteY640" fmla="*/ 1176529 h 1317229"/>
                    <a:gd name="connsiteX641" fmla="*/ 353833 w 1427705"/>
                    <a:gd name="connsiteY641" fmla="*/ 1179917 h 1317229"/>
                    <a:gd name="connsiteX642" fmla="*/ 354707 w 1427705"/>
                    <a:gd name="connsiteY642" fmla="*/ 1181581 h 1317229"/>
                    <a:gd name="connsiteX643" fmla="*/ 358035 w 1427705"/>
                    <a:gd name="connsiteY643" fmla="*/ 1185734 h 1317229"/>
                    <a:gd name="connsiteX644" fmla="*/ 360451 w 1427705"/>
                    <a:gd name="connsiteY644" fmla="*/ 1189680 h 1317229"/>
                    <a:gd name="connsiteX645" fmla="*/ 360281 w 1427705"/>
                    <a:gd name="connsiteY645" fmla="*/ 1192607 h 1317229"/>
                    <a:gd name="connsiteX646" fmla="*/ 358787 w 1427705"/>
                    <a:gd name="connsiteY646" fmla="*/ 1196638 h 1317229"/>
                    <a:gd name="connsiteX647" fmla="*/ 358982 w 1427705"/>
                    <a:gd name="connsiteY647" fmla="*/ 1197828 h 1317229"/>
                    <a:gd name="connsiteX648" fmla="*/ 359467 w 1427705"/>
                    <a:gd name="connsiteY648" fmla="*/ 1198059 h 1317229"/>
                    <a:gd name="connsiteX649" fmla="*/ 360572 w 1427705"/>
                    <a:gd name="connsiteY649" fmla="*/ 1197974 h 1317229"/>
                    <a:gd name="connsiteX650" fmla="*/ 364920 w 1427705"/>
                    <a:gd name="connsiteY650" fmla="*/ 1198666 h 1317229"/>
                    <a:gd name="connsiteX651" fmla="*/ 369352 w 1427705"/>
                    <a:gd name="connsiteY651" fmla="*/ 1200912 h 1317229"/>
                    <a:gd name="connsiteX652" fmla="*/ 370906 w 1427705"/>
                    <a:gd name="connsiteY652" fmla="*/ 1201774 h 1317229"/>
                    <a:gd name="connsiteX653" fmla="*/ 370979 w 1427705"/>
                    <a:gd name="connsiteY653" fmla="*/ 1208999 h 1317229"/>
                    <a:gd name="connsiteX654" fmla="*/ 369667 w 1427705"/>
                    <a:gd name="connsiteY654" fmla="*/ 1213468 h 1317229"/>
                    <a:gd name="connsiteX655" fmla="*/ 368077 w 1427705"/>
                    <a:gd name="connsiteY655" fmla="*/ 1217123 h 1317229"/>
                    <a:gd name="connsiteX656" fmla="*/ 366000 w 1427705"/>
                    <a:gd name="connsiteY656" fmla="*/ 1220207 h 1317229"/>
                    <a:gd name="connsiteX657" fmla="*/ 364167 w 1427705"/>
                    <a:gd name="connsiteY657" fmla="*/ 1222187 h 1317229"/>
                    <a:gd name="connsiteX658" fmla="*/ 361896 w 1427705"/>
                    <a:gd name="connsiteY658" fmla="*/ 1224178 h 1317229"/>
                    <a:gd name="connsiteX659" fmla="*/ 355618 w 1427705"/>
                    <a:gd name="connsiteY659" fmla="*/ 1229910 h 1317229"/>
                    <a:gd name="connsiteX660" fmla="*/ 353833 w 1427705"/>
                    <a:gd name="connsiteY660" fmla="*/ 1233540 h 1317229"/>
                    <a:gd name="connsiteX661" fmla="*/ 352267 w 1427705"/>
                    <a:gd name="connsiteY661" fmla="*/ 1238555 h 1317229"/>
                    <a:gd name="connsiteX662" fmla="*/ 349692 w 1427705"/>
                    <a:gd name="connsiteY662" fmla="*/ 1243789 h 1317229"/>
                    <a:gd name="connsiteX663" fmla="*/ 346474 w 1427705"/>
                    <a:gd name="connsiteY663" fmla="*/ 1247869 h 1317229"/>
                    <a:gd name="connsiteX664" fmla="*/ 341423 w 1427705"/>
                    <a:gd name="connsiteY664" fmla="*/ 1252921 h 1317229"/>
                    <a:gd name="connsiteX665" fmla="*/ 337428 w 1427705"/>
                    <a:gd name="connsiteY665" fmla="*/ 1255641 h 1317229"/>
                    <a:gd name="connsiteX666" fmla="*/ 332571 w 1427705"/>
                    <a:gd name="connsiteY666" fmla="*/ 1256478 h 1317229"/>
                    <a:gd name="connsiteX667" fmla="*/ 328551 w 1427705"/>
                    <a:gd name="connsiteY667" fmla="*/ 1254657 h 1317229"/>
                    <a:gd name="connsiteX668" fmla="*/ 324824 w 1427705"/>
                    <a:gd name="connsiteY668" fmla="*/ 1251512 h 1317229"/>
                    <a:gd name="connsiteX669" fmla="*/ 323354 w 1427705"/>
                    <a:gd name="connsiteY669" fmla="*/ 1248233 h 1317229"/>
                    <a:gd name="connsiteX670" fmla="*/ 322832 w 1427705"/>
                    <a:gd name="connsiteY670" fmla="*/ 1245161 h 1317229"/>
                    <a:gd name="connsiteX671" fmla="*/ 322784 w 1427705"/>
                    <a:gd name="connsiteY671" fmla="*/ 1243923 h 1317229"/>
                    <a:gd name="connsiteX672" fmla="*/ 322152 w 1427705"/>
                    <a:gd name="connsiteY672" fmla="*/ 1243801 h 1317229"/>
                    <a:gd name="connsiteX673" fmla="*/ 319651 w 1427705"/>
                    <a:gd name="connsiteY673" fmla="*/ 1243886 h 1317229"/>
                    <a:gd name="connsiteX674" fmla="*/ 313276 w 1427705"/>
                    <a:gd name="connsiteY674" fmla="*/ 1243315 h 1317229"/>
                    <a:gd name="connsiteX675" fmla="*/ 309839 w 1427705"/>
                    <a:gd name="connsiteY675" fmla="*/ 1242368 h 1317229"/>
                    <a:gd name="connsiteX676" fmla="*/ 306160 w 1427705"/>
                    <a:gd name="connsiteY676" fmla="*/ 1240729 h 1317229"/>
                    <a:gd name="connsiteX677" fmla="*/ 302808 w 1427705"/>
                    <a:gd name="connsiteY677" fmla="*/ 1238446 h 1317229"/>
                    <a:gd name="connsiteX678" fmla="*/ 296810 w 1427705"/>
                    <a:gd name="connsiteY678" fmla="*/ 1232460 h 1317229"/>
                    <a:gd name="connsiteX679" fmla="*/ 293483 w 1427705"/>
                    <a:gd name="connsiteY679" fmla="*/ 1230420 h 1317229"/>
                    <a:gd name="connsiteX680" fmla="*/ 282955 w 1427705"/>
                    <a:gd name="connsiteY680" fmla="*/ 1221604 h 1317229"/>
                    <a:gd name="connsiteX681" fmla="*/ 278401 w 1427705"/>
                    <a:gd name="connsiteY681" fmla="*/ 1219042 h 1317229"/>
                    <a:gd name="connsiteX682" fmla="*/ 275001 w 1427705"/>
                    <a:gd name="connsiteY682" fmla="*/ 1217657 h 1317229"/>
                    <a:gd name="connsiteX683" fmla="*/ 274722 w 1427705"/>
                    <a:gd name="connsiteY683" fmla="*/ 1217670 h 1317229"/>
                    <a:gd name="connsiteX684" fmla="*/ 274200 w 1427705"/>
                    <a:gd name="connsiteY684" fmla="*/ 1217900 h 1317229"/>
                    <a:gd name="connsiteX685" fmla="*/ 273641 w 1427705"/>
                    <a:gd name="connsiteY685" fmla="*/ 1218592 h 1317229"/>
                    <a:gd name="connsiteX686" fmla="*/ 272657 w 1427705"/>
                    <a:gd name="connsiteY686" fmla="*/ 1220062 h 1317229"/>
                    <a:gd name="connsiteX687" fmla="*/ 272026 w 1427705"/>
                    <a:gd name="connsiteY687" fmla="*/ 1221434 h 1317229"/>
                    <a:gd name="connsiteX688" fmla="*/ 271565 w 1427705"/>
                    <a:gd name="connsiteY688" fmla="*/ 1223110 h 1317229"/>
                    <a:gd name="connsiteX689" fmla="*/ 271346 w 1427705"/>
                    <a:gd name="connsiteY689" fmla="*/ 1226352 h 1317229"/>
                    <a:gd name="connsiteX690" fmla="*/ 271079 w 1427705"/>
                    <a:gd name="connsiteY690" fmla="*/ 1228270 h 1317229"/>
                    <a:gd name="connsiteX691" fmla="*/ 270083 w 1427705"/>
                    <a:gd name="connsiteY691" fmla="*/ 1230711 h 1317229"/>
                    <a:gd name="connsiteX692" fmla="*/ 268383 w 1427705"/>
                    <a:gd name="connsiteY692" fmla="*/ 1233115 h 1317229"/>
                    <a:gd name="connsiteX693" fmla="*/ 265894 w 1427705"/>
                    <a:gd name="connsiteY693" fmla="*/ 1235495 h 1317229"/>
                    <a:gd name="connsiteX694" fmla="*/ 262567 w 1427705"/>
                    <a:gd name="connsiteY694" fmla="*/ 1237742 h 1317229"/>
                    <a:gd name="connsiteX695" fmla="*/ 257090 w 1427705"/>
                    <a:gd name="connsiteY695" fmla="*/ 1239721 h 1317229"/>
                    <a:gd name="connsiteX696" fmla="*/ 253617 w 1427705"/>
                    <a:gd name="connsiteY696" fmla="*/ 1239405 h 1317229"/>
                    <a:gd name="connsiteX697" fmla="*/ 249902 w 1427705"/>
                    <a:gd name="connsiteY697" fmla="*/ 1237790 h 1317229"/>
                    <a:gd name="connsiteX698" fmla="*/ 247109 w 1427705"/>
                    <a:gd name="connsiteY698" fmla="*/ 1235277 h 1317229"/>
                    <a:gd name="connsiteX699" fmla="*/ 244972 w 1427705"/>
                    <a:gd name="connsiteY699" fmla="*/ 1232642 h 1317229"/>
                    <a:gd name="connsiteX700" fmla="*/ 243551 w 1427705"/>
                    <a:gd name="connsiteY700" fmla="*/ 1229812 h 1317229"/>
                    <a:gd name="connsiteX701" fmla="*/ 243101 w 1427705"/>
                    <a:gd name="connsiteY701" fmla="*/ 1226425 h 1317229"/>
                    <a:gd name="connsiteX702" fmla="*/ 243733 w 1427705"/>
                    <a:gd name="connsiteY702" fmla="*/ 1223438 h 1317229"/>
                    <a:gd name="connsiteX703" fmla="*/ 247376 w 1427705"/>
                    <a:gd name="connsiteY703" fmla="*/ 1217038 h 1317229"/>
                    <a:gd name="connsiteX704" fmla="*/ 247327 w 1427705"/>
                    <a:gd name="connsiteY704" fmla="*/ 1216819 h 1317229"/>
                    <a:gd name="connsiteX705" fmla="*/ 246647 w 1427705"/>
                    <a:gd name="connsiteY705" fmla="*/ 1216030 h 1317229"/>
                    <a:gd name="connsiteX706" fmla="*/ 245603 w 1427705"/>
                    <a:gd name="connsiteY706" fmla="*/ 1215520 h 1317229"/>
                    <a:gd name="connsiteX707" fmla="*/ 241207 w 1427705"/>
                    <a:gd name="connsiteY707" fmla="*/ 1213638 h 1317229"/>
                    <a:gd name="connsiteX708" fmla="*/ 237443 w 1427705"/>
                    <a:gd name="connsiteY708" fmla="*/ 1211161 h 1317229"/>
                    <a:gd name="connsiteX709" fmla="*/ 233861 w 1427705"/>
                    <a:gd name="connsiteY709" fmla="*/ 1208222 h 1317229"/>
                    <a:gd name="connsiteX710" fmla="*/ 232598 w 1427705"/>
                    <a:gd name="connsiteY710" fmla="*/ 1204567 h 1317229"/>
                    <a:gd name="connsiteX711" fmla="*/ 232379 w 1427705"/>
                    <a:gd name="connsiteY711" fmla="*/ 1203681 h 1317229"/>
                    <a:gd name="connsiteX712" fmla="*/ 231554 w 1427705"/>
                    <a:gd name="connsiteY712" fmla="*/ 1203644 h 1317229"/>
                    <a:gd name="connsiteX713" fmla="*/ 228615 w 1427705"/>
                    <a:gd name="connsiteY713" fmla="*/ 1202054 h 1317229"/>
                    <a:gd name="connsiteX714" fmla="*/ 227789 w 1427705"/>
                    <a:gd name="connsiteY714" fmla="*/ 1201532 h 1317229"/>
                    <a:gd name="connsiteX715" fmla="*/ 227425 w 1427705"/>
                    <a:gd name="connsiteY715" fmla="*/ 1200621 h 1317229"/>
                    <a:gd name="connsiteX716" fmla="*/ 224936 w 1427705"/>
                    <a:gd name="connsiteY716" fmla="*/ 1195994 h 1317229"/>
                    <a:gd name="connsiteX717" fmla="*/ 223126 w 1427705"/>
                    <a:gd name="connsiteY717" fmla="*/ 1195448 h 1317229"/>
                    <a:gd name="connsiteX718" fmla="*/ 223527 w 1427705"/>
                    <a:gd name="connsiteY718" fmla="*/ 1192291 h 1317229"/>
                    <a:gd name="connsiteX719" fmla="*/ 224450 w 1427705"/>
                    <a:gd name="connsiteY719" fmla="*/ 1189583 h 1317229"/>
                    <a:gd name="connsiteX720" fmla="*/ 229623 w 1427705"/>
                    <a:gd name="connsiteY720" fmla="*/ 1182370 h 1317229"/>
                    <a:gd name="connsiteX721" fmla="*/ 231335 w 1427705"/>
                    <a:gd name="connsiteY721" fmla="*/ 1179055 h 1317229"/>
                    <a:gd name="connsiteX722" fmla="*/ 232185 w 1427705"/>
                    <a:gd name="connsiteY722" fmla="*/ 1175740 h 1317229"/>
                    <a:gd name="connsiteX723" fmla="*/ 232367 w 1427705"/>
                    <a:gd name="connsiteY723" fmla="*/ 1173166 h 1317229"/>
                    <a:gd name="connsiteX724" fmla="*/ 230983 w 1427705"/>
                    <a:gd name="connsiteY724" fmla="*/ 1171381 h 1317229"/>
                    <a:gd name="connsiteX725" fmla="*/ 229987 w 1427705"/>
                    <a:gd name="connsiteY725" fmla="*/ 1169426 h 1317229"/>
                    <a:gd name="connsiteX726" fmla="*/ 229538 w 1427705"/>
                    <a:gd name="connsiteY726" fmla="*/ 1168406 h 1317229"/>
                    <a:gd name="connsiteX727" fmla="*/ 230959 w 1427705"/>
                    <a:gd name="connsiteY727" fmla="*/ 1163779 h 1317229"/>
                    <a:gd name="connsiteX728" fmla="*/ 231007 w 1427705"/>
                    <a:gd name="connsiteY728" fmla="*/ 1163026 h 1317229"/>
                    <a:gd name="connsiteX729" fmla="*/ 230388 w 1427705"/>
                    <a:gd name="connsiteY729" fmla="*/ 1159116 h 1317229"/>
                    <a:gd name="connsiteX730" fmla="*/ 229101 w 1427705"/>
                    <a:gd name="connsiteY730" fmla="*/ 1157283 h 1317229"/>
                    <a:gd name="connsiteX731" fmla="*/ 227352 w 1427705"/>
                    <a:gd name="connsiteY731" fmla="*/ 1155498 h 1317229"/>
                    <a:gd name="connsiteX732" fmla="*/ 225081 w 1427705"/>
                    <a:gd name="connsiteY732" fmla="*/ 1152049 h 1317229"/>
                    <a:gd name="connsiteX733" fmla="*/ 223976 w 1427705"/>
                    <a:gd name="connsiteY733" fmla="*/ 1147326 h 1317229"/>
                    <a:gd name="connsiteX734" fmla="*/ 223916 w 1427705"/>
                    <a:gd name="connsiteY734" fmla="*/ 1142651 h 1317229"/>
                    <a:gd name="connsiteX735" fmla="*/ 223600 w 1427705"/>
                    <a:gd name="connsiteY735" fmla="*/ 1139420 h 1317229"/>
                    <a:gd name="connsiteX736" fmla="*/ 219107 w 1427705"/>
                    <a:gd name="connsiteY736" fmla="*/ 1131370 h 1317229"/>
                    <a:gd name="connsiteX737" fmla="*/ 216909 w 1427705"/>
                    <a:gd name="connsiteY737" fmla="*/ 1130726 h 1317229"/>
                    <a:gd name="connsiteX738" fmla="*/ 214371 w 1427705"/>
                    <a:gd name="connsiteY738" fmla="*/ 1128140 h 1317229"/>
                    <a:gd name="connsiteX739" fmla="*/ 213291 w 1427705"/>
                    <a:gd name="connsiteY739" fmla="*/ 1125383 h 1317229"/>
                    <a:gd name="connsiteX740" fmla="*/ 213084 w 1427705"/>
                    <a:gd name="connsiteY740" fmla="*/ 1121825 h 1317229"/>
                    <a:gd name="connsiteX741" fmla="*/ 213084 w 1427705"/>
                    <a:gd name="connsiteY741" fmla="*/ 1120854 h 1317229"/>
                    <a:gd name="connsiteX742" fmla="*/ 215780 w 1427705"/>
                    <a:gd name="connsiteY742" fmla="*/ 1117102 h 1317229"/>
                    <a:gd name="connsiteX743" fmla="*/ 224912 w 1427705"/>
                    <a:gd name="connsiteY743" fmla="*/ 1109743 h 1317229"/>
                    <a:gd name="connsiteX744" fmla="*/ 231347 w 1427705"/>
                    <a:gd name="connsiteY744" fmla="*/ 1106610 h 1317229"/>
                    <a:gd name="connsiteX745" fmla="*/ 241013 w 1427705"/>
                    <a:gd name="connsiteY745" fmla="*/ 1097649 h 1317229"/>
                    <a:gd name="connsiteX746" fmla="*/ 242956 w 1427705"/>
                    <a:gd name="connsiteY746" fmla="*/ 1095123 h 1317229"/>
                    <a:gd name="connsiteX747" fmla="*/ 244838 w 1427705"/>
                    <a:gd name="connsiteY747" fmla="*/ 1091419 h 1317229"/>
                    <a:gd name="connsiteX748" fmla="*/ 245142 w 1427705"/>
                    <a:gd name="connsiteY748" fmla="*/ 1088796 h 1317229"/>
                    <a:gd name="connsiteX749" fmla="*/ 243259 w 1427705"/>
                    <a:gd name="connsiteY749" fmla="*/ 1084814 h 1317229"/>
                    <a:gd name="connsiteX750" fmla="*/ 243344 w 1427705"/>
                    <a:gd name="connsiteY750" fmla="*/ 1080066 h 1317229"/>
                    <a:gd name="connsiteX751" fmla="*/ 244316 w 1427705"/>
                    <a:gd name="connsiteY751" fmla="*/ 1078718 h 1317229"/>
                    <a:gd name="connsiteX752" fmla="*/ 244911 w 1427705"/>
                    <a:gd name="connsiteY752" fmla="*/ 1074128 h 1317229"/>
                    <a:gd name="connsiteX753" fmla="*/ 245579 w 1427705"/>
                    <a:gd name="connsiteY753" fmla="*/ 1070776 h 1317229"/>
                    <a:gd name="connsiteX754" fmla="*/ 246320 w 1427705"/>
                    <a:gd name="connsiteY754" fmla="*/ 1068591 h 1317229"/>
                    <a:gd name="connsiteX755" fmla="*/ 249307 w 1427705"/>
                    <a:gd name="connsiteY755" fmla="*/ 1063988 h 1317229"/>
                    <a:gd name="connsiteX756" fmla="*/ 250144 w 1427705"/>
                    <a:gd name="connsiteY756" fmla="*/ 1059581 h 1317229"/>
                    <a:gd name="connsiteX757" fmla="*/ 249100 w 1427705"/>
                    <a:gd name="connsiteY757" fmla="*/ 1056241 h 1317229"/>
                    <a:gd name="connsiteX758" fmla="*/ 247145 w 1427705"/>
                    <a:gd name="connsiteY758" fmla="*/ 1053485 h 1317229"/>
                    <a:gd name="connsiteX759" fmla="*/ 237479 w 1427705"/>
                    <a:gd name="connsiteY759" fmla="*/ 1033243 h 1317229"/>
                    <a:gd name="connsiteX760" fmla="*/ 235257 w 1427705"/>
                    <a:gd name="connsiteY760" fmla="*/ 1030365 h 1317229"/>
                    <a:gd name="connsiteX761" fmla="*/ 233290 w 1427705"/>
                    <a:gd name="connsiteY761" fmla="*/ 1028373 h 1317229"/>
                    <a:gd name="connsiteX762" fmla="*/ 230012 w 1427705"/>
                    <a:gd name="connsiteY762" fmla="*/ 1023941 h 1317229"/>
                    <a:gd name="connsiteX763" fmla="*/ 228761 w 1427705"/>
                    <a:gd name="connsiteY763" fmla="*/ 1020869 h 1317229"/>
                    <a:gd name="connsiteX764" fmla="*/ 228409 w 1427705"/>
                    <a:gd name="connsiteY764" fmla="*/ 1017238 h 1317229"/>
                    <a:gd name="connsiteX765" fmla="*/ 229538 w 1427705"/>
                    <a:gd name="connsiteY765" fmla="*/ 1015223 h 1317229"/>
                    <a:gd name="connsiteX766" fmla="*/ 231226 w 1427705"/>
                    <a:gd name="connsiteY766" fmla="*/ 1013183 h 1317229"/>
                    <a:gd name="connsiteX767" fmla="*/ 244364 w 1427705"/>
                    <a:gd name="connsiteY767" fmla="*/ 1002217 h 1317229"/>
                    <a:gd name="connsiteX768" fmla="*/ 246538 w 1427705"/>
                    <a:gd name="connsiteY768" fmla="*/ 999048 h 1317229"/>
                    <a:gd name="connsiteX769" fmla="*/ 248493 w 1427705"/>
                    <a:gd name="connsiteY769" fmla="*/ 988095 h 1317229"/>
                    <a:gd name="connsiteX770" fmla="*/ 252318 w 1427705"/>
                    <a:gd name="connsiteY770" fmla="*/ 984221 h 1317229"/>
                    <a:gd name="connsiteX771" fmla="*/ 270010 w 1427705"/>
                    <a:gd name="connsiteY771" fmla="*/ 979619 h 1317229"/>
                    <a:gd name="connsiteX772" fmla="*/ 274272 w 1427705"/>
                    <a:gd name="connsiteY772" fmla="*/ 978952 h 1317229"/>
                    <a:gd name="connsiteX773" fmla="*/ 277260 w 1427705"/>
                    <a:gd name="connsiteY773" fmla="*/ 978806 h 1317229"/>
                    <a:gd name="connsiteX774" fmla="*/ 283671 w 1427705"/>
                    <a:gd name="connsiteY774" fmla="*/ 979911 h 1317229"/>
                    <a:gd name="connsiteX775" fmla="*/ 286889 w 1427705"/>
                    <a:gd name="connsiteY775" fmla="*/ 979911 h 1317229"/>
                    <a:gd name="connsiteX776" fmla="*/ 288395 w 1427705"/>
                    <a:gd name="connsiteY776" fmla="*/ 979437 h 1317229"/>
                    <a:gd name="connsiteX777" fmla="*/ 290228 w 1427705"/>
                    <a:gd name="connsiteY777" fmla="*/ 978332 h 1317229"/>
                    <a:gd name="connsiteX778" fmla="*/ 291783 w 1427705"/>
                    <a:gd name="connsiteY778" fmla="*/ 977033 h 1317229"/>
                    <a:gd name="connsiteX779" fmla="*/ 298473 w 1427705"/>
                    <a:gd name="connsiteY779" fmla="*/ 973293 h 1317229"/>
                    <a:gd name="connsiteX780" fmla="*/ 317781 w 1427705"/>
                    <a:gd name="connsiteY780" fmla="*/ 969298 h 1317229"/>
                    <a:gd name="connsiteX781" fmla="*/ 322407 w 1427705"/>
                    <a:gd name="connsiteY781" fmla="*/ 966675 h 1317229"/>
                    <a:gd name="connsiteX782" fmla="*/ 322796 w 1427705"/>
                    <a:gd name="connsiteY782" fmla="*/ 966031 h 1317229"/>
                    <a:gd name="connsiteX783" fmla="*/ 322868 w 1427705"/>
                    <a:gd name="connsiteY783" fmla="*/ 964441 h 1317229"/>
                    <a:gd name="connsiteX784" fmla="*/ 322711 w 1427705"/>
                    <a:gd name="connsiteY784" fmla="*/ 962899 h 1317229"/>
                    <a:gd name="connsiteX785" fmla="*/ 322128 w 1427705"/>
                    <a:gd name="connsiteY785" fmla="*/ 961053 h 1317229"/>
                    <a:gd name="connsiteX786" fmla="*/ 321290 w 1427705"/>
                    <a:gd name="connsiteY786" fmla="*/ 958940 h 1317229"/>
                    <a:gd name="connsiteX787" fmla="*/ 318983 w 1427705"/>
                    <a:gd name="connsiteY787" fmla="*/ 954751 h 1317229"/>
                    <a:gd name="connsiteX788" fmla="*/ 318133 w 1427705"/>
                    <a:gd name="connsiteY788" fmla="*/ 952298 h 1317229"/>
                    <a:gd name="connsiteX789" fmla="*/ 317720 w 1427705"/>
                    <a:gd name="connsiteY789" fmla="*/ 949833 h 1317229"/>
                    <a:gd name="connsiteX790" fmla="*/ 317890 w 1427705"/>
                    <a:gd name="connsiteY790" fmla="*/ 947125 h 1317229"/>
                    <a:gd name="connsiteX791" fmla="*/ 318242 w 1427705"/>
                    <a:gd name="connsiteY791" fmla="*/ 944818 h 1317229"/>
                    <a:gd name="connsiteX792" fmla="*/ 319007 w 1427705"/>
                    <a:gd name="connsiteY792" fmla="*/ 941818 h 1317229"/>
                    <a:gd name="connsiteX793" fmla="*/ 320306 w 1427705"/>
                    <a:gd name="connsiteY793" fmla="*/ 938382 h 1317229"/>
                    <a:gd name="connsiteX794" fmla="*/ 322431 w 1427705"/>
                    <a:gd name="connsiteY794" fmla="*/ 935456 h 1317229"/>
                    <a:gd name="connsiteX795" fmla="*/ 325285 w 1427705"/>
                    <a:gd name="connsiteY795" fmla="*/ 933197 h 1317229"/>
                    <a:gd name="connsiteX796" fmla="*/ 328175 w 1427705"/>
                    <a:gd name="connsiteY796" fmla="*/ 931606 h 1317229"/>
                    <a:gd name="connsiteX797" fmla="*/ 330968 w 1427705"/>
                    <a:gd name="connsiteY797" fmla="*/ 929578 h 1317229"/>
                    <a:gd name="connsiteX798" fmla="*/ 333469 w 1427705"/>
                    <a:gd name="connsiteY798" fmla="*/ 927308 h 1317229"/>
                    <a:gd name="connsiteX799" fmla="*/ 336129 w 1427705"/>
                    <a:gd name="connsiteY799" fmla="*/ 920896 h 1317229"/>
                    <a:gd name="connsiteX800" fmla="*/ 338205 w 1427705"/>
                    <a:gd name="connsiteY800" fmla="*/ 915177 h 1317229"/>
                    <a:gd name="connsiteX801" fmla="*/ 347033 w 1427705"/>
                    <a:gd name="connsiteY801" fmla="*/ 904200 h 1317229"/>
                    <a:gd name="connsiteX802" fmla="*/ 348004 w 1427705"/>
                    <a:gd name="connsiteY802" fmla="*/ 902123 h 1317229"/>
                    <a:gd name="connsiteX803" fmla="*/ 348527 w 1427705"/>
                    <a:gd name="connsiteY803" fmla="*/ 900532 h 1317229"/>
                    <a:gd name="connsiteX804" fmla="*/ 348964 w 1427705"/>
                    <a:gd name="connsiteY804" fmla="*/ 896877 h 1317229"/>
                    <a:gd name="connsiteX805" fmla="*/ 353104 w 1427705"/>
                    <a:gd name="connsiteY805" fmla="*/ 887479 h 1317229"/>
                    <a:gd name="connsiteX806" fmla="*/ 359382 w 1427705"/>
                    <a:gd name="connsiteY806" fmla="*/ 877934 h 1317229"/>
                    <a:gd name="connsiteX807" fmla="*/ 360196 w 1427705"/>
                    <a:gd name="connsiteY807" fmla="*/ 876307 h 1317229"/>
                    <a:gd name="connsiteX808" fmla="*/ 357719 w 1427705"/>
                    <a:gd name="connsiteY808" fmla="*/ 874862 h 1317229"/>
                    <a:gd name="connsiteX809" fmla="*/ 355545 w 1427705"/>
                    <a:gd name="connsiteY809" fmla="*/ 872579 h 1317229"/>
                    <a:gd name="connsiteX810" fmla="*/ 354088 w 1427705"/>
                    <a:gd name="connsiteY810" fmla="*/ 869410 h 1317229"/>
                    <a:gd name="connsiteX811" fmla="*/ 353590 w 1427705"/>
                    <a:gd name="connsiteY811" fmla="*/ 864735 h 1317229"/>
                    <a:gd name="connsiteX812" fmla="*/ 354307 w 1427705"/>
                    <a:gd name="connsiteY812" fmla="*/ 861736 h 1317229"/>
                    <a:gd name="connsiteX813" fmla="*/ 354537 w 1427705"/>
                    <a:gd name="connsiteY813" fmla="*/ 861044 h 1317229"/>
                    <a:gd name="connsiteX814" fmla="*/ 356614 w 1427705"/>
                    <a:gd name="connsiteY814" fmla="*/ 858955 h 1317229"/>
                    <a:gd name="connsiteX815" fmla="*/ 360609 w 1427705"/>
                    <a:gd name="connsiteY815" fmla="*/ 857461 h 1317229"/>
                    <a:gd name="connsiteX816" fmla="*/ 360633 w 1427705"/>
                    <a:gd name="connsiteY816" fmla="*/ 857376 h 1317229"/>
                    <a:gd name="connsiteX817" fmla="*/ 358970 w 1427705"/>
                    <a:gd name="connsiteY817" fmla="*/ 854911 h 1317229"/>
                    <a:gd name="connsiteX818" fmla="*/ 357695 w 1427705"/>
                    <a:gd name="connsiteY818" fmla="*/ 852373 h 1317229"/>
                    <a:gd name="connsiteX819" fmla="*/ 356917 w 1427705"/>
                    <a:gd name="connsiteY819" fmla="*/ 848694 h 1317229"/>
                    <a:gd name="connsiteX820" fmla="*/ 357391 w 1427705"/>
                    <a:gd name="connsiteY820" fmla="*/ 845513 h 1317229"/>
                    <a:gd name="connsiteX821" fmla="*/ 358411 w 1427705"/>
                    <a:gd name="connsiteY821" fmla="*/ 843376 h 1317229"/>
                    <a:gd name="connsiteX822" fmla="*/ 361641 w 1427705"/>
                    <a:gd name="connsiteY822" fmla="*/ 840206 h 1317229"/>
                    <a:gd name="connsiteX823" fmla="*/ 363292 w 1427705"/>
                    <a:gd name="connsiteY823" fmla="*/ 839004 h 1317229"/>
                    <a:gd name="connsiteX824" fmla="*/ 365357 w 1427705"/>
                    <a:gd name="connsiteY824" fmla="*/ 838045 h 1317229"/>
                    <a:gd name="connsiteX825" fmla="*/ 367457 w 1427705"/>
                    <a:gd name="connsiteY825" fmla="*/ 837389 h 1317229"/>
                    <a:gd name="connsiteX826" fmla="*/ 372885 w 1427705"/>
                    <a:gd name="connsiteY826" fmla="*/ 836260 h 1317229"/>
                    <a:gd name="connsiteX827" fmla="*/ 374355 w 1427705"/>
                    <a:gd name="connsiteY827" fmla="*/ 835531 h 1317229"/>
                    <a:gd name="connsiteX828" fmla="*/ 375338 w 1427705"/>
                    <a:gd name="connsiteY828" fmla="*/ 834548 h 1317229"/>
                    <a:gd name="connsiteX829" fmla="*/ 376443 w 1427705"/>
                    <a:gd name="connsiteY829" fmla="*/ 833115 h 1317229"/>
                    <a:gd name="connsiteX830" fmla="*/ 380135 w 1427705"/>
                    <a:gd name="connsiteY830" fmla="*/ 827141 h 1317229"/>
                    <a:gd name="connsiteX831" fmla="*/ 378908 w 1427705"/>
                    <a:gd name="connsiteY831" fmla="*/ 826096 h 1317229"/>
                    <a:gd name="connsiteX832" fmla="*/ 375945 w 1427705"/>
                    <a:gd name="connsiteY832" fmla="*/ 822684 h 1317229"/>
                    <a:gd name="connsiteX833" fmla="*/ 378823 w 1427705"/>
                    <a:gd name="connsiteY833" fmla="*/ 813735 h 1317229"/>
                    <a:gd name="connsiteX834" fmla="*/ 378180 w 1427705"/>
                    <a:gd name="connsiteY834" fmla="*/ 809060 h 1317229"/>
                    <a:gd name="connsiteX835" fmla="*/ 376723 w 1427705"/>
                    <a:gd name="connsiteY835" fmla="*/ 804105 h 1317229"/>
                    <a:gd name="connsiteX836" fmla="*/ 374427 w 1427705"/>
                    <a:gd name="connsiteY836" fmla="*/ 798483 h 1317229"/>
                    <a:gd name="connsiteX837" fmla="*/ 364616 w 1427705"/>
                    <a:gd name="connsiteY837" fmla="*/ 784154 h 1317229"/>
                    <a:gd name="connsiteX838" fmla="*/ 361750 w 1427705"/>
                    <a:gd name="connsiteY838" fmla="*/ 778824 h 1317229"/>
                    <a:gd name="connsiteX839" fmla="*/ 358860 w 1427705"/>
                    <a:gd name="connsiteY839" fmla="*/ 770591 h 1317229"/>
                    <a:gd name="connsiteX840" fmla="*/ 357379 w 1427705"/>
                    <a:gd name="connsiteY840" fmla="*/ 763621 h 1317229"/>
                    <a:gd name="connsiteX841" fmla="*/ 357379 w 1427705"/>
                    <a:gd name="connsiteY841" fmla="*/ 762152 h 1317229"/>
                    <a:gd name="connsiteX842" fmla="*/ 357197 w 1427705"/>
                    <a:gd name="connsiteY842" fmla="*/ 761083 h 1317229"/>
                    <a:gd name="connsiteX843" fmla="*/ 357184 w 1427705"/>
                    <a:gd name="connsiteY843" fmla="*/ 759177 h 1317229"/>
                    <a:gd name="connsiteX844" fmla="*/ 356298 w 1427705"/>
                    <a:gd name="connsiteY844" fmla="*/ 758035 h 1317229"/>
                    <a:gd name="connsiteX845" fmla="*/ 356055 w 1427705"/>
                    <a:gd name="connsiteY845" fmla="*/ 757974 h 1317229"/>
                    <a:gd name="connsiteX846" fmla="*/ 354088 w 1427705"/>
                    <a:gd name="connsiteY846" fmla="*/ 757999 h 1317229"/>
                    <a:gd name="connsiteX847" fmla="*/ 348927 w 1427705"/>
                    <a:gd name="connsiteY847" fmla="*/ 759431 h 1317229"/>
                    <a:gd name="connsiteX848" fmla="*/ 345005 w 1427705"/>
                    <a:gd name="connsiteY848" fmla="*/ 759322 h 1317229"/>
                    <a:gd name="connsiteX849" fmla="*/ 340804 w 1427705"/>
                    <a:gd name="connsiteY849" fmla="*/ 756797 h 1317229"/>
                    <a:gd name="connsiteX850" fmla="*/ 334307 w 1427705"/>
                    <a:gd name="connsiteY850" fmla="*/ 748904 h 1317229"/>
                    <a:gd name="connsiteX851" fmla="*/ 331769 w 1427705"/>
                    <a:gd name="connsiteY851" fmla="*/ 746949 h 1317229"/>
                    <a:gd name="connsiteX852" fmla="*/ 330555 w 1427705"/>
                    <a:gd name="connsiteY852" fmla="*/ 746742 h 1317229"/>
                    <a:gd name="connsiteX853" fmla="*/ 329025 w 1427705"/>
                    <a:gd name="connsiteY853" fmla="*/ 746839 h 1317229"/>
                    <a:gd name="connsiteX854" fmla="*/ 325139 w 1427705"/>
                    <a:gd name="connsiteY854" fmla="*/ 746098 h 1317229"/>
                    <a:gd name="connsiteX855" fmla="*/ 323816 w 1427705"/>
                    <a:gd name="connsiteY855" fmla="*/ 743136 h 1317229"/>
                    <a:gd name="connsiteX856" fmla="*/ 323548 w 1427705"/>
                    <a:gd name="connsiteY856" fmla="*/ 742213 h 1317229"/>
                    <a:gd name="connsiteX857" fmla="*/ 319566 w 1427705"/>
                    <a:gd name="connsiteY857" fmla="*/ 746123 h 1317229"/>
                    <a:gd name="connsiteX858" fmla="*/ 315886 w 1427705"/>
                    <a:gd name="connsiteY858" fmla="*/ 739833 h 1317229"/>
                    <a:gd name="connsiteX859" fmla="*/ 315364 w 1427705"/>
                    <a:gd name="connsiteY859" fmla="*/ 739869 h 1317229"/>
                    <a:gd name="connsiteX860" fmla="*/ 308297 w 1427705"/>
                    <a:gd name="connsiteY860" fmla="*/ 744168 h 1317229"/>
                    <a:gd name="connsiteX861" fmla="*/ 305201 w 1427705"/>
                    <a:gd name="connsiteY861" fmla="*/ 744496 h 1317229"/>
                    <a:gd name="connsiteX862" fmla="*/ 300866 w 1427705"/>
                    <a:gd name="connsiteY862" fmla="*/ 744058 h 1317229"/>
                    <a:gd name="connsiteX863" fmla="*/ 299967 w 1427705"/>
                    <a:gd name="connsiteY863" fmla="*/ 744726 h 1317229"/>
                    <a:gd name="connsiteX864" fmla="*/ 299736 w 1427705"/>
                    <a:gd name="connsiteY864" fmla="*/ 745358 h 1317229"/>
                    <a:gd name="connsiteX865" fmla="*/ 297575 w 1427705"/>
                    <a:gd name="connsiteY865" fmla="*/ 747592 h 1317229"/>
                    <a:gd name="connsiteX866" fmla="*/ 294491 w 1427705"/>
                    <a:gd name="connsiteY866" fmla="*/ 748309 h 1317229"/>
                    <a:gd name="connsiteX867" fmla="*/ 289645 w 1427705"/>
                    <a:gd name="connsiteY867" fmla="*/ 747835 h 1317229"/>
                    <a:gd name="connsiteX868" fmla="*/ 280016 w 1427705"/>
                    <a:gd name="connsiteY868" fmla="*/ 742456 h 1317229"/>
                    <a:gd name="connsiteX869" fmla="*/ 277090 w 1427705"/>
                    <a:gd name="connsiteY869" fmla="*/ 741764 h 1317229"/>
                    <a:gd name="connsiteX870" fmla="*/ 270605 w 1427705"/>
                    <a:gd name="connsiteY870" fmla="*/ 741047 h 1317229"/>
                    <a:gd name="connsiteX871" fmla="*/ 266610 w 1427705"/>
                    <a:gd name="connsiteY871" fmla="*/ 739116 h 1317229"/>
                    <a:gd name="connsiteX872" fmla="*/ 264267 w 1427705"/>
                    <a:gd name="connsiteY872" fmla="*/ 736663 h 1317229"/>
                    <a:gd name="connsiteX873" fmla="*/ 263052 w 1427705"/>
                    <a:gd name="connsiteY873" fmla="*/ 734623 h 1317229"/>
                    <a:gd name="connsiteX874" fmla="*/ 262129 w 1427705"/>
                    <a:gd name="connsiteY874" fmla="*/ 734381 h 1317229"/>
                    <a:gd name="connsiteX875" fmla="*/ 258778 w 1427705"/>
                    <a:gd name="connsiteY875" fmla="*/ 734636 h 1317229"/>
                    <a:gd name="connsiteX876" fmla="*/ 255827 w 1427705"/>
                    <a:gd name="connsiteY876" fmla="*/ 733992 h 1317229"/>
                    <a:gd name="connsiteX877" fmla="*/ 254516 w 1427705"/>
                    <a:gd name="connsiteY877" fmla="*/ 733652 h 1317229"/>
                    <a:gd name="connsiteX878" fmla="*/ 251905 w 1427705"/>
                    <a:gd name="connsiteY878" fmla="*/ 728601 h 1317229"/>
                    <a:gd name="connsiteX879" fmla="*/ 249088 w 1427705"/>
                    <a:gd name="connsiteY879" fmla="*/ 727520 h 1317229"/>
                    <a:gd name="connsiteX880" fmla="*/ 245372 w 1427705"/>
                    <a:gd name="connsiteY880" fmla="*/ 727423 h 1317229"/>
                    <a:gd name="connsiteX881" fmla="*/ 239119 w 1427705"/>
                    <a:gd name="connsiteY881" fmla="*/ 728309 h 1317229"/>
                    <a:gd name="connsiteX882" fmla="*/ 238597 w 1427705"/>
                    <a:gd name="connsiteY882" fmla="*/ 728649 h 1317229"/>
                    <a:gd name="connsiteX883" fmla="*/ 237516 w 1427705"/>
                    <a:gd name="connsiteY883" fmla="*/ 729693 h 1317229"/>
                    <a:gd name="connsiteX884" fmla="*/ 235367 w 1427705"/>
                    <a:gd name="connsiteY884" fmla="*/ 733810 h 1317229"/>
                    <a:gd name="connsiteX885" fmla="*/ 233533 w 1427705"/>
                    <a:gd name="connsiteY885" fmla="*/ 736214 h 1317229"/>
                    <a:gd name="connsiteX886" fmla="*/ 227887 w 1427705"/>
                    <a:gd name="connsiteY886" fmla="*/ 735461 h 1317229"/>
                    <a:gd name="connsiteX887" fmla="*/ 224681 w 1427705"/>
                    <a:gd name="connsiteY887" fmla="*/ 734575 h 1317229"/>
                    <a:gd name="connsiteX888" fmla="*/ 221949 w 1427705"/>
                    <a:gd name="connsiteY888" fmla="*/ 734745 h 1317229"/>
                    <a:gd name="connsiteX889" fmla="*/ 219556 w 1427705"/>
                    <a:gd name="connsiteY889" fmla="*/ 734793 h 1317229"/>
                    <a:gd name="connsiteX890" fmla="*/ 218573 w 1427705"/>
                    <a:gd name="connsiteY890" fmla="*/ 730932 h 1317229"/>
                    <a:gd name="connsiteX891" fmla="*/ 217953 w 1427705"/>
                    <a:gd name="connsiteY891" fmla="*/ 729693 h 1317229"/>
                    <a:gd name="connsiteX892" fmla="*/ 217079 w 1427705"/>
                    <a:gd name="connsiteY892" fmla="*/ 728673 h 1317229"/>
                    <a:gd name="connsiteX893" fmla="*/ 215513 w 1427705"/>
                    <a:gd name="connsiteY893" fmla="*/ 727046 h 1317229"/>
                    <a:gd name="connsiteX894" fmla="*/ 214007 w 1427705"/>
                    <a:gd name="connsiteY894" fmla="*/ 724715 h 1317229"/>
                    <a:gd name="connsiteX895" fmla="*/ 213594 w 1427705"/>
                    <a:gd name="connsiteY895" fmla="*/ 722153 h 1317229"/>
                    <a:gd name="connsiteX896" fmla="*/ 214602 w 1427705"/>
                    <a:gd name="connsiteY896" fmla="*/ 720161 h 1317229"/>
                    <a:gd name="connsiteX897" fmla="*/ 216290 w 1427705"/>
                    <a:gd name="connsiteY897" fmla="*/ 718753 h 1317229"/>
                    <a:gd name="connsiteX898" fmla="*/ 216800 w 1427705"/>
                    <a:gd name="connsiteY898" fmla="*/ 718583 h 1317229"/>
                    <a:gd name="connsiteX899" fmla="*/ 218196 w 1427705"/>
                    <a:gd name="connsiteY899" fmla="*/ 718303 h 1317229"/>
                    <a:gd name="connsiteX900" fmla="*/ 219787 w 1427705"/>
                    <a:gd name="connsiteY900" fmla="*/ 718340 h 1317229"/>
                    <a:gd name="connsiteX901" fmla="*/ 220309 w 1427705"/>
                    <a:gd name="connsiteY901" fmla="*/ 718243 h 1317229"/>
                    <a:gd name="connsiteX902" fmla="*/ 221779 w 1427705"/>
                    <a:gd name="connsiteY902" fmla="*/ 717320 h 1317229"/>
                    <a:gd name="connsiteX903" fmla="*/ 226952 w 1427705"/>
                    <a:gd name="connsiteY903" fmla="*/ 712378 h 1317229"/>
                    <a:gd name="connsiteX904" fmla="*/ 226150 w 1427705"/>
                    <a:gd name="connsiteY904" fmla="*/ 711928 h 1317229"/>
                    <a:gd name="connsiteX905" fmla="*/ 225264 w 1427705"/>
                    <a:gd name="connsiteY905" fmla="*/ 711710 h 1317229"/>
                    <a:gd name="connsiteX906" fmla="*/ 221718 w 1427705"/>
                    <a:gd name="connsiteY906" fmla="*/ 711418 h 1317229"/>
                    <a:gd name="connsiteX907" fmla="*/ 219411 w 1427705"/>
                    <a:gd name="connsiteY907" fmla="*/ 710848 h 1317229"/>
                    <a:gd name="connsiteX908" fmla="*/ 217067 w 1427705"/>
                    <a:gd name="connsiteY908" fmla="*/ 709803 h 1317229"/>
                    <a:gd name="connsiteX909" fmla="*/ 215282 w 1427705"/>
                    <a:gd name="connsiteY909" fmla="*/ 709378 h 1317229"/>
                    <a:gd name="connsiteX910" fmla="*/ 212489 w 1427705"/>
                    <a:gd name="connsiteY910" fmla="*/ 709026 h 1317229"/>
                    <a:gd name="connsiteX911" fmla="*/ 207426 w 1427705"/>
                    <a:gd name="connsiteY911" fmla="*/ 709342 h 1317229"/>
                    <a:gd name="connsiteX912" fmla="*/ 204924 w 1427705"/>
                    <a:gd name="connsiteY912" fmla="*/ 709755 h 1317229"/>
                    <a:gd name="connsiteX913" fmla="*/ 203625 w 1427705"/>
                    <a:gd name="connsiteY913" fmla="*/ 710823 h 1317229"/>
                    <a:gd name="connsiteX914" fmla="*/ 203103 w 1427705"/>
                    <a:gd name="connsiteY914" fmla="*/ 711467 h 1317229"/>
                    <a:gd name="connsiteX915" fmla="*/ 200868 w 1427705"/>
                    <a:gd name="connsiteY915" fmla="*/ 713033 h 1317229"/>
                    <a:gd name="connsiteX916" fmla="*/ 200917 w 1427705"/>
                    <a:gd name="connsiteY916" fmla="*/ 713325 h 1317229"/>
                    <a:gd name="connsiteX917" fmla="*/ 200419 w 1427705"/>
                    <a:gd name="connsiteY917" fmla="*/ 714308 h 1317229"/>
                    <a:gd name="connsiteX918" fmla="*/ 198355 w 1427705"/>
                    <a:gd name="connsiteY918" fmla="*/ 716506 h 1317229"/>
                    <a:gd name="connsiteX919" fmla="*/ 196169 w 1427705"/>
                    <a:gd name="connsiteY919" fmla="*/ 717186 h 1317229"/>
                    <a:gd name="connsiteX920" fmla="*/ 191482 w 1427705"/>
                    <a:gd name="connsiteY920" fmla="*/ 717065 h 1317229"/>
                    <a:gd name="connsiteX921" fmla="*/ 191361 w 1427705"/>
                    <a:gd name="connsiteY921" fmla="*/ 717890 h 1317229"/>
                    <a:gd name="connsiteX922" fmla="*/ 191421 w 1427705"/>
                    <a:gd name="connsiteY922" fmla="*/ 721327 h 1317229"/>
                    <a:gd name="connsiteX923" fmla="*/ 190838 w 1427705"/>
                    <a:gd name="connsiteY923" fmla="*/ 723622 h 1317229"/>
                    <a:gd name="connsiteX924" fmla="*/ 190511 w 1427705"/>
                    <a:gd name="connsiteY924" fmla="*/ 724606 h 1317229"/>
                    <a:gd name="connsiteX925" fmla="*/ 188094 w 1427705"/>
                    <a:gd name="connsiteY925" fmla="*/ 726233 h 1317229"/>
                    <a:gd name="connsiteX926" fmla="*/ 185945 w 1427705"/>
                    <a:gd name="connsiteY926" fmla="*/ 725650 h 1317229"/>
                    <a:gd name="connsiteX927" fmla="*/ 184196 w 1427705"/>
                    <a:gd name="connsiteY927" fmla="*/ 724654 h 1317229"/>
                    <a:gd name="connsiteX928" fmla="*/ 183577 w 1427705"/>
                    <a:gd name="connsiteY928" fmla="*/ 723816 h 1317229"/>
                    <a:gd name="connsiteX929" fmla="*/ 182727 w 1427705"/>
                    <a:gd name="connsiteY929" fmla="*/ 722493 h 1317229"/>
                    <a:gd name="connsiteX930" fmla="*/ 182265 w 1427705"/>
                    <a:gd name="connsiteY930" fmla="*/ 721290 h 1317229"/>
                    <a:gd name="connsiteX931" fmla="*/ 181598 w 1427705"/>
                    <a:gd name="connsiteY931" fmla="*/ 719008 h 1317229"/>
                    <a:gd name="connsiteX932" fmla="*/ 179242 w 1427705"/>
                    <a:gd name="connsiteY932" fmla="*/ 718376 h 1317229"/>
                    <a:gd name="connsiteX933" fmla="*/ 168714 w 1427705"/>
                    <a:gd name="connsiteY933" fmla="*/ 717769 h 1317229"/>
                    <a:gd name="connsiteX934" fmla="*/ 162728 w 1427705"/>
                    <a:gd name="connsiteY934" fmla="*/ 716215 h 1317229"/>
                    <a:gd name="connsiteX935" fmla="*/ 161720 w 1427705"/>
                    <a:gd name="connsiteY935" fmla="*/ 716312 h 1317229"/>
                    <a:gd name="connsiteX936" fmla="*/ 160602 w 1427705"/>
                    <a:gd name="connsiteY936" fmla="*/ 716628 h 1317229"/>
                    <a:gd name="connsiteX937" fmla="*/ 159109 w 1427705"/>
                    <a:gd name="connsiteY937" fmla="*/ 717963 h 1317229"/>
                    <a:gd name="connsiteX938" fmla="*/ 156620 w 1427705"/>
                    <a:gd name="connsiteY938" fmla="*/ 719129 h 1317229"/>
                    <a:gd name="connsiteX939" fmla="*/ 154786 w 1427705"/>
                    <a:gd name="connsiteY939" fmla="*/ 718121 h 1317229"/>
                    <a:gd name="connsiteX940" fmla="*/ 151520 w 1427705"/>
                    <a:gd name="connsiteY940" fmla="*/ 715753 h 1317229"/>
                    <a:gd name="connsiteX941" fmla="*/ 150014 w 1427705"/>
                    <a:gd name="connsiteY941" fmla="*/ 715268 h 1317229"/>
                    <a:gd name="connsiteX942" fmla="*/ 139122 w 1427705"/>
                    <a:gd name="connsiteY942" fmla="*/ 713932 h 1317229"/>
                    <a:gd name="connsiteX943" fmla="*/ 133657 w 1427705"/>
                    <a:gd name="connsiteY943" fmla="*/ 712463 h 1317229"/>
                    <a:gd name="connsiteX944" fmla="*/ 131824 w 1427705"/>
                    <a:gd name="connsiteY944" fmla="*/ 712487 h 1317229"/>
                    <a:gd name="connsiteX945" fmla="*/ 129832 w 1427705"/>
                    <a:gd name="connsiteY945" fmla="*/ 713203 h 1317229"/>
                    <a:gd name="connsiteX946" fmla="*/ 128302 w 1427705"/>
                    <a:gd name="connsiteY946" fmla="*/ 714357 h 1317229"/>
                    <a:gd name="connsiteX947" fmla="*/ 123688 w 1427705"/>
                    <a:gd name="connsiteY947" fmla="*/ 719105 h 1317229"/>
                    <a:gd name="connsiteX948" fmla="*/ 118685 w 1427705"/>
                    <a:gd name="connsiteY948" fmla="*/ 722274 h 1317229"/>
                    <a:gd name="connsiteX949" fmla="*/ 93756 w 1427705"/>
                    <a:gd name="connsiteY949" fmla="*/ 732547 h 1317229"/>
                    <a:gd name="connsiteX950" fmla="*/ 91376 w 1427705"/>
                    <a:gd name="connsiteY950" fmla="*/ 733130 h 1317229"/>
                    <a:gd name="connsiteX951" fmla="*/ 89275 w 1427705"/>
                    <a:gd name="connsiteY951" fmla="*/ 733251 h 1317229"/>
                    <a:gd name="connsiteX952" fmla="*/ 86458 w 1427705"/>
                    <a:gd name="connsiteY952" fmla="*/ 732389 h 1317229"/>
                    <a:gd name="connsiteX953" fmla="*/ 84903 w 1427705"/>
                    <a:gd name="connsiteY953" fmla="*/ 736129 h 1317229"/>
                    <a:gd name="connsiteX954" fmla="*/ 83106 w 1427705"/>
                    <a:gd name="connsiteY954" fmla="*/ 739031 h 1317229"/>
                    <a:gd name="connsiteX955" fmla="*/ 79439 w 1427705"/>
                    <a:gd name="connsiteY955" fmla="*/ 742954 h 1317229"/>
                    <a:gd name="connsiteX956" fmla="*/ 72833 w 1427705"/>
                    <a:gd name="connsiteY956" fmla="*/ 744690 h 1317229"/>
                    <a:gd name="connsiteX957" fmla="*/ 69348 w 1427705"/>
                    <a:gd name="connsiteY957" fmla="*/ 743051 h 1317229"/>
                    <a:gd name="connsiteX958" fmla="*/ 68547 w 1427705"/>
                    <a:gd name="connsiteY958" fmla="*/ 741727 h 1317229"/>
                    <a:gd name="connsiteX959" fmla="*/ 68049 w 1427705"/>
                    <a:gd name="connsiteY959" fmla="*/ 740416 h 1317229"/>
                    <a:gd name="connsiteX960" fmla="*/ 67891 w 1427705"/>
                    <a:gd name="connsiteY960" fmla="*/ 739177 h 1317229"/>
                    <a:gd name="connsiteX961" fmla="*/ 68705 w 1427705"/>
                    <a:gd name="connsiteY961" fmla="*/ 733810 h 1317229"/>
                    <a:gd name="connsiteX962" fmla="*/ 68899 w 1427705"/>
                    <a:gd name="connsiteY962" fmla="*/ 729766 h 1317229"/>
                    <a:gd name="connsiteX963" fmla="*/ 68668 w 1427705"/>
                    <a:gd name="connsiteY963" fmla="*/ 726961 h 1317229"/>
                    <a:gd name="connsiteX964" fmla="*/ 68717 w 1427705"/>
                    <a:gd name="connsiteY964" fmla="*/ 725152 h 1317229"/>
                    <a:gd name="connsiteX965" fmla="*/ 69360 w 1427705"/>
                    <a:gd name="connsiteY965" fmla="*/ 722663 h 1317229"/>
                    <a:gd name="connsiteX966" fmla="*/ 70988 w 1427705"/>
                    <a:gd name="connsiteY966" fmla="*/ 720064 h 1317229"/>
                    <a:gd name="connsiteX967" fmla="*/ 74254 w 1427705"/>
                    <a:gd name="connsiteY967" fmla="*/ 717150 h 1317229"/>
                    <a:gd name="connsiteX968" fmla="*/ 81722 w 1427705"/>
                    <a:gd name="connsiteY968" fmla="*/ 712827 h 1317229"/>
                    <a:gd name="connsiteX969" fmla="*/ 113476 w 1427705"/>
                    <a:gd name="connsiteY969" fmla="*/ 698765 h 1317229"/>
                    <a:gd name="connsiteX970" fmla="*/ 117774 w 1427705"/>
                    <a:gd name="connsiteY970" fmla="*/ 697430 h 1317229"/>
                    <a:gd name="connsiteX971" fmla="*/ 120895 w 1427705"/>
                    <a:gd name="connsiteY971" fmla="*/ 696786 h 1317229"/>
                    <a:gd name="connsiteX972" fmla="*/ 119984 w 1427705"/>
                    <a:gd name="connsiteY972" fmla="*/ 695851 h 1317229"/>
                    <a:gd name="connsiteX973" fmla="*/ 117058 w 1427705"/>
                    <a:gd name="connsiteY973" fmla="*/ 690581 h 1317229"/>
                    <a:gd name="connsiteX974" fmla="*/ 116803 w 1427705"/>
                    <a:gd name="connsiteY974" fmla="*/ 691030 h 1317229"/>
                    <a:gd name="connsiteX975" fmla="*/ 116256 w 1427705"/>
                    <a:gd name="connsiteY975" fmla="*/ 691613 h 1317229"/>
                    <a:gd name="connsiteX976" fmla="*/ 114690 w 1427705"/>
                    <a:gd name="connsiteY976" fmla="*/ 692706 h 1317229"/>
                    <a:gd name="connsiteX977" fmla="*/ 114168 w 1427705"/>
                    <a:gd name="connsiteY977" fmla="*/ 692876 h 1317229"/>
                    <a:gd name="connsiteX978" fmla="*/ 112784 w 1427705"/>
                    <a:gd name="connsiteY978" fmla="*/ 693119 h 1317229"/>
                    <a:gd name="connsiteX979" fmla="*/ 108133 w 1427705"/>
                    <a:gd name="connsiteY979" fmla="*/ 692888 h 1317229"/>
                    <a:gd name="connsiteX980" fmla="*/ 101248 w 1427705"/>
                    <a:gd name="connsiteY980" fmla="*/ 691686 h 1317229"/>
                    <a:gd name="connsiteX981" fmla="*/ 99001 w 1427705"/>
                    <a:gd name="connsiteY981" fmla="*/ 690873 h 1317229"/>
                    <a:gd name="connsiteX982" fmla="*/ 96245 w 1427705"/>
                    <a:gd name="connsiteY982" fmla="*/ 688905 h 1317229"/>
                    <a:gd name="connsiteX983" fmla="*/ 95358 w 1427705"/>
                    <a:gd name="connsiteY983" fmla="*/ 686720 h 1317229"/>
                    <a:gd name="connsiteX984" fmla="*/ 94885 w 1427705"/>
                    <a:gd name="connsiteY984" fmla="*/ 684837 h 1317229"/>
                    <a:gd name="connsiteX985" fmla="*/ 93598 w 1427705"/>
                    <a:gd name="connsiteY985" fmla="*/ 684862 h 1317229"/>
                    <a:gd name="connsiteX986" fmla="*/ 92019 w 1427705"/>
                    <a:gd name="connsiteY986" fmla="*/ 684437 h 1317229"/>
                    <a:gd name="connsiteX987" fmla="*/ 89493 w 1427705"/>
                    <a:gd name="connsiteY987" fmla="*/ 682603 h 1317229"/>
                    <a:gd name="connsiteX988" fmla="*/ 88570 w 1427705"/>
                    <a:gd name="connsiteY988" fmla="*/ 681255 h 1317229"/>
                    <a:gd name="connsiteX989" fmla="*/ 87793 w 1427705"/>
                    <a:gd name="connsiteY989" fmla="*/ 679531 h 1317229"/>
                    <a:gd name="connsiteX990" fmla="*/ 87563 w 1427705"/>
                    <a:gd name="connsiteY990" fmla="*/ 678305 h 1317229"/>
                    <a:gd name="connsiteX991" fmla="*/ 87587 w 1427705"/>
                    <a:gd name="connsiteY991" fmla="*/ 676216 h 1317229"/>
                    <a:gd name="connsiteX992" fmla="*/ 87733 w 1427705"/>
                    <a:gd name="connsiteY992" fmla="*/ 675633 h 1317229"/>
                    <a:gd name="connsiteX993" fmla="*/ 88316 w 1427705"/>
                    <a:gd name="connsiteY993" fmla="*/ 674249 h 1317229"/>
                    <a:gd name="connsiteX994" fmla="*/ 89493 w 1427705"/>
                    <a:gd name="connsiteY994" fmla="*/ 672670 h 1317229"/>
                    <a:gd name="connsiteX995" fmla="*/ 91594 w 1427705"/>
                    <a:gd name="connsiteY995" fmla="*/ 671456 h 1317229"/>
                    <a:gd name="connsiteX996" fmla="*/ 103858 w 1427705"/>
                    <a:gd name="connsiteY996" fmla="*/ 668214 h 1317229"/>
                    <a:gd name="connsiteX997" fmla="*/ 105571 w 1427705"/>
                    <a:gd name="connsiteY997" fmla="*/ 667425 h 1317229"/>
                    <a:gd name="connsiteX998" fmla="*/ 106445 w 1427705"/>
                    <a:gd name="connsiteY998" fmla="*/ 665773 h 1317229"/>
                    <a:gd name="connsiteX999" fmla="*/ 106421 w 1427705"/>
                    <a:gd name="connsiteY999" fmla="*/ 664923 h 1317229"/>
                    <a:gd name="connsiteX1000" fmla="*/ 107769 w 1427705"/>
                    <a:gd name="connsiteY1000" fmla="*/ 661365 h 1317229"/>
                    <a:gd name="connsiteX1001" fmla="*/ 111521 w 1427705"/>
                    <a:gd name="connsiteY1001" fmla="*/ 659871 h 1317229"/>
                    <a:gd name="connsiteX1002" fmla="*/ 114739 w 1427705"/>
                    <a:gd name="connsiteY1002" fmla="*/ 658086 h 1317229"/>
                    <a:gd name="connsiteX1003" fmla="*/ 116633 w 1427705"/>
                    <a:gd name="connsiteY1003" fmla="*/ 655039 h 1317229"/>
                    <a:gd name="connsiteX1004" fmla="*/ 116281 w 1427705"/>
                    <a:gd name="connsiteY1004" fmla="*/ 654881 h 1317229"/>
                    <a:gd name="connsiteX1005" fmla="*/ 115066 w 1427705"/>
                    <a:gd name="connsiteY1005" fmla="*/ 653934 h 1317229"/>
                    <a:gd name="connsiteX1006" fmla="*/ 113318 w 1427705"/>
                    <a:gd name="connsiteY1006" fmla="*/ 652234 h 1317229"/>
                    <a:gd name="connsiteX1007" fmla="*/ 111897 w 1427705"/>
                    <a:gd name="connsiteY1007" fmla="*/ 647206 h 1317229"/>
                    <a:gd name="connsiteX1008" fmla="*/ 111181 w 1427705"/>
                    <a:gd name="connsiteY1008" fmla="*/ 645324 h 1317229"/>
                    <a:gd name="connsiteX1009" fmla="*/ 109894 w 1427705"/>
                    <a:gd name="connsiteY1009" fmla="*/ 643758 h 1317229"/>
                    <a:gd name="connsiteX1010" fmla="*/ 108570 w 1427705"/>
                    <a:gd name="connsiteY1010" fmla="*/ 641050 h 1317229"/>
                    <a:gd name="connsiteX1011" fmla="*/ 107453 w 1427705"/>
                    <a:gd name="connsiteY1011" fmla="*/ 636606 h 1317229"/>
                    <a:gd name="connsiteX1012" fmla="*/ 107671 w 1427705"/>
                    <a:gd name="connsiteY1012" fmla="*/ 633388 h 1317229"/>
                    <a:gd name="connsiteX1013" fmla="*/ 107659 w 1427705"/>
                    <a:gd name="connsiteY1013" fmla="*/ 632125 h 1317229"/>
                    <a:gd name="connsiteX1014" fmla="*/ 107246 w 1427705"/>
                    <a:gd name="connsiteY1014" fmla="*/ 631991 h 1317229"/>
                    <a:gd name="connsiteX1015" fmla="*/ 103713 w 1427705"/>
                    <a:gd name="connsiteY1015" fmla="*/ 631931 h 1317229"/>
                    <a:gd name="connsiteX1016" fmla="*/ 101248 w 1427705"/>
                    <a:gd name="connsiteY1016" fmla="*/ 631178 h 1317229"/>
                    <a:gd name="connsiteX1017" fmla="*/ 99851 w 1427705"/>
                    <a:gd name="connsiteY1017" fmla="*/ 630498 h 1317229"/>
                    <a:gd name="connsiteX1018" fmla="*/ 89214 w 1427705"/>
                    <a:gd name="connsiteY1018" fmla="*/ 622884 h 1317229"/>
                    <a:gd name="connsiteX1019" fmla="*/ 88303 w 1427705"/>
                    <a:gd name="connsiteY1019" fmla="*/ 622495 h 1317229"/>
                    <a:gd name="connsiteX1020" fmla="*/ 84053 w 1427705"/>
                    <a:gd name="connsiteY1020" fmla="*/ 621852 h 1317229"/>
                    <a:gd name="connsiteX1021" fmla="*/ 82074 w 1427705"/>
                    <a:gd name="connsiteY1021" fmla="*/ 621233 h 1317229"/>
                    <a:gd name="connsiteX1022" fmla="*/ 79791 w 1427705"/>
                    <a:gd name="connsiteY1022" fmla="*/ 619933 h 1317229"/>
                    <a:gd name="connsiteX1023" fmla="*/ 77945 w 1427705"/>
                    <a:gd name="connsiteY1023" fmla="*/ 618488 h 1317229"/>
                    <a:gd name="connsiteX1024" fmla="*/ 75869 w 1427705"/>
                    <a:gd name="connsiteY1024" fmla="*/ 616011 h 1317229"/>
                    <a:gd name="connsiteX1025" fmla="*/ 74351 w 1427705"/>
                    <a:gd name="connsiteY1025" fmla="*/ 613230 h 1317229"/>
                    <a:gd name="connsiteX1026" fmla="*/ 71995 w 1427705"/>
                    <a:gd name="connsiteY1026" fmla="*/ 604803 h 1317229"/>
                    <a:gd name="connsiteX1027" fmla="*/ 70089 w 1427705"/>
                    <a:gd name="connsiteY1027" fmla="*/ 602472 h 1317229"/>
                    <a:gd name="connsiteX1028" fmla="*/ 66956 w 1427705"/>
                    <a:gd name="connsiteY1028" fmla="*/ 597335 h 1317229"/>
                    <a:gd name="connsiteX1029" fmla="*/ 59367 w 1427705"/>
                    <a:gd name="connsiteY1029" fmla="*/ 588665 h 1317229"/>
                    <a:gd name="connsiteX1030" fmla="*/ 57995 w 1427705"/>
                    <a:gd name="connsiteY1030" fmla="*/ 586467 h 1317229"/>
                    <a:gd name="connsiteX1031" fmla="*/ 57084 w 1427705"/>
                    <a:gd name="connsiteY1031" fmla="*/ 583808 h 1317229"/>
                    <a:gd name="connsiteX1032" fmla="*/ 57254 w 1427705"/>
                    <a:gd name="connsiteY1032" fmla="*/ 579437 h 1317229"/>
                    <a:gd name="connsiteX1033" fmla="*/ 57849 w 1427705"/>
                    <a:gd name="connsiteY1033" fmla="*/ 576996 h 1317229"/>
                    <a:gd name="connsiteX1034" fmla="*/ 57885 w 1427705"/>
                    <a:gd name="connsiteY1034" fmla="*/ 576619 h 1317229"/>
                    <a:gd name="connsiteX1035" fmla="*/ 57254 w 1427705"/>
                    <a:gd name="connsiteY1035" fmla="*/ 575867 h 1317229"/>
                    <a:gd name="connsiteX1036" fmla="*/ 55177 w 1427705"/>
                    <a:gd name="connsiteY1036" fmla="*/ 574555 h 1317229"/>
                    <a:gd name="connsiteX1037" fmla="*/ 53684 w 1427705"/>
                    <a:gd name="connsiteY1037" fmla="*/ 572807 h 1317229"/>
                    <a:gd name="connsiteX1038" fmla="*/ 53441 w 1427705"/>
                    <a:gd name="connsiteY1038" fmla="*/ 571337 h 1317229"/>
                    <a:gd name="connsiteX1039" fmla="*/ 53429 w 1427705"/>
                    <a:gd name="connsiteY1039" fmla="*/ 569686 h 1317229"/>
                    <a:gd name="connsiteX1040" fmla="*/ 53830 w 1427705"/>
                    <a:gd name="connsiteY1040" fmla="*/ 568132 h 1317229"/>
                    <a:gd name="connsiteX1041" fmla="*/ 54922 w 1427705"/>
                    <a:gd name="connsiteY1041" fmla="*/ 566189 h 1317229"/>
                    <a:gd name="connsiteX1042" fmla="*/ 56744 w 1427705"/>
                    <a:gd name="connsiteY1042" fmla="*/ 564197 h 1317229"/>
                    <a:gd name="connsiteX1043" fmla="*/ 56222 w 1427705"/>
                    <a:gd name="connsiteY1043" fmla="*/ 560846 h 1317229"/>
                    <a:gd name="connsiteX1044" fmla="*/ 55323 w 1427705"/>
                    <a:gd name="connsiteY1044" fmla="*/ 557397 h 1317229"/>
                    <a:gd name="connsiteX1045" fmla="*/ 54218 w 1427705"/>
                    <a:gd name="connsiteY1045" fmla="*/ 555989 h 1317229"/>
                    <a:gd name="connsiteX1046" fmla="*/ 53575 w 1427705"/>
                    <a:gd name="connsiteY1046" fmla="*/ 555357 h 1317229"/>
                    <a:gd name="connsiteX1047" fmla="*/ 52178 w 1427705"/>
                    <a:gd name="connsiteY1047" fmla="*/ 555139 h 1317229"/>
                    <a:gd name="connsiteX1048" fmla="*/ 51340 w 1427705"/>
                    <a:gd name="connsiteY1048" fmla="*/ 554859 h 1317229"/>
                    <a:gd name="connsiteX1049" fmla="*/ 50515 w 1427705"/>
                    <a:gd name="connsiteY1049" fmla="*/ 553815 h 1317229"/>
                    <a:gd name="connsiteX1050" fmla="*/ 49701 w 1427705"/>
                    <a:gd name="connsiteY1050" fmla="*/ 552601 h 1317229"/>
                    <a:gd name="connsiteX1051" fmla="*/ 48936 w 1427705"/>
                    <a:gd name="connsiteY1051" fmla="*/ 550719 h 1317229"/>
                    <a:gd name="connsiteX1052" fmla="*/ 49203 w 1427705"/>
                    <a:gd name="connsiteY1052" fmla="*/ 545546 h 1317229"/>
                    <a:gd name="connsiteX1053" fmla="*/ 48863 w 1427705"/>
                    <a:gd name="connsiteY1053" fmla="*/ 540919 h 1317229"/>
                    <a:gd name="connsiteX1054" fmla="*/ 46034 w 1427705"/>
                    <a:gd name="connsiteY1054" fmla="*/ 531545 h 1317229"/>
                    <a:gd name="connsiteX1055" fmla="*/ 52287 w 1427705"/>
                    <a:gd name="connsiteY1055" fmla="*/ 525680 h 1317229"/>
                    <a:gd name="connsiteX1056" fmla="*/ 53975 w 1427705"/>
                    <a:gd name="connsiteY1056" fmla="*/ 524538 h 1317229"/>
                    <a:gd name="connsiteX1057" fmla="*/ 56185 w 1427705"/>
                    <a:gd name="connsiteY1057" fmla="*/ 523409 h 1317229"/>
                    <a:gd name="connsiteX1058" fmla="*/ 56817 w 1427705"/>
                    <a:gd name="connsiteY1058" fmla="*/ 523373 h 1317229"/>
                    <a:gd name="connsiteX1059" fmla="*/ 58480 w 1427705"/>
                    <a:gd name="connsiteY1059" fmla="*/ 523033 h 1317229"/>
                    <a:gd name="connsiteX1060" fmla="*/ 59513 w 1427705"/>
                    <a:gd name="connsiteY1060" fmla="*/ 522438 h 1317229"/>
                    <a:gd name="connsiteX1061" fmla="*/ 61735 w 1427705"/>
                    <a:gd name="connsiteY1061" fmla="*/ 520665 h 1317229"/>
                    <a:gd name="connsiteX1062" fmla="*/ 69445 w 1427705"/>
                    <a:gd name="connsiteY1062" fmla="*/ 519111 h 1317229"/>
                    <a:gd name="connsiteX1063" fmla="*/ 69943 w 1427705"/>
                    <a:gd name="connsiteY1063" fmla="*/ 518674 h 1317229"/>
                    <a:gd name="connsiteX1064" fmla="*/ 74983 w 1427705"/>
                    <a:gd name="connsiteY1064" fmla="*/ 513160 h 1317229"/>
                    <a:gd name="connsiteX1065" fmla="*/ 78710 w 1427705"/>
                    <a:gd name="connsiteY1065" fmla="*/ 512590 h 1317229"/>
                    <a:gd name="connsiteX1066" fmla="*/ 81406 w 1427705"/>
                    <a:gd name="connsiteY1066" fmla="*/ 513331 h 1317229"/>
                    <a:gd name="connsiteX1067" fmla="*/ 83058 w 1427705"/>
                    <a:gd name="connsiteY1067" fmla="*/ 513950 h 1317229"/>
                    <a:gd name="connsiteX1068" fmla="*/ 83264 w 1427705"/>
                    <a:gd name="connsiteY1068" fmla="*/ 513889 h 1317229"/>
                    <a:gd name="connsiteX1069" fmla="*/ 84527 w 1427705"/>
                    <a:gd name="connsiteY1069" fmla="*/ 512480 h 1317229"/>
                    <a:gd name="connsiteX1070" fmla="*/ 85693 w 1427705"/>
                    <a:gd name="connsiteY1070" fmla="*/ 508971 h 1317229"/>
                    <a:gd name="connsiteX1071" fmla="*/ 87028 w 1427705"/>
                    <a:gd name="connsiteY1071" fmla="*/ 507028 h 1317229"/>
                    <a:gd name="connsiteX1072" fmla="*/ 90186 w 1427705"/>
                    <a:gd name="connsiteY1072" fmla="*/ 502924 h 1317229"/>
                    <a:gd name="connsiteX1073" fmla="*/ 92833 w 1427705"/>
                    <a:gd name="connsiteY1073" fmla="*/ 501673 h 1317229"/>
                    <a:gd name="connsiteX1074" fmla="*/ 92553 w 1427705"/>
                    <a:gd name="connsiteY1074" fmla="*/ 499354 h 1317229"/>
                    <a:gd name="connsiteX1075" fmla="*/ 90210 w 1427705"/>
                    <a:gd name="connsiteY1075" fmla="*/ 495359 h 1317229"/>
                    <a:gd name="connsiteX1076" fmla="*/ 88473 w 1427705"/>
                    <a:gd name="connsiteY1076" fmla="*/ 490805 h 1317229"/>
                    <a:gd name="connsiteX1077" fmla="*/ 87563 w 1427705"/>
                    <a:gd name="connsiteY1077" fmla="*/ 490186 h 1317229"/>
                    <a:gd name="connsiteX1078" fmla="*/ 85316 w 1427705"/>
                    <a:gd name="connsiteY1078" fmla="*/ 489093 h 1317229"/>
                    <a:gd name="connsiteX1079" fmla="*/ 81151 w 1427705"/>
                    <a:gd name="connsiteY1079" fmla="*/ 485220 h 1317229"/>
                    <a:gd name="connsiteX1080" fmla="*/ 83045 w 1427705"/>
                    <a:gd name="connsiteY1080" fmla="*/ 479172 h 1317229"/>
                    <a:gd name="connsiteX1081" fmla="*/ 82098 w 1427705"/>
                    <a:gd name="connsiteY1081" fmla="*/ 474267 h 1317229"/>
                    <a:gd name="connsiteX1082" fmla="*/ 81503 w 1427705"/>
                    <a:gd name="connsiteY1082" fmla="*/ 465220 h 1317229"/>
                    <a:gd name="connsiteX1083" fmla="*/ 86798 w 1427705"/>
                    <a:gd name="connsiteY1083" fmla="*/ 468560 h 1317229"/>
                    <a:gd name="connsiteX1084" fmla="*/ 86628 w 1427705"/>
                    <a:gd name="connsiteY1084" fmla="*/ 462221 h 1317229"/>
                    <a:gd name="connsiteX1085" fmla="*/ 89882 w 1427705"/>
                    <a:gd name="connsiteY1085" fmla="*/ 456854 h 1317229"/>
                    <a:gd name="connsiteX1086" fmla="*/ 88546 w 1427705"/>
                    <a:gd name="connsiteY1086" fmla="*/ 456659 h 1317229"/>
                    <a:gd name="connsiteX1087" fmla="*/ 86494 w 1427705"/>
                    <a:gd name="connsiteY1087" fmla="*/ 450163 h 1317229"/>
                    <a:gd name="connsiteX1088" fmla="*/ 88898 w 1427705"/>
                    <a:gd name="connsiteY1088" fmla="*/ 448584 h 1317229"/>
                    <a:gd name="connsiteX1089" fmla="*/ 90319 w 1427705"/>
                    <a:gd name="connsiteY1089" fmla="*/ 447904 h 1317229"/>
                    <a:gd name="connsiteX1090" fmla="*/ 92177 w 1427705"/>
                    <a:gd name="connsiteY1090" fmla="*/ 447516 h 1317229"/>
                    <a:gd name="connsiteX1091" fmla="*/ 92553 w 1427705"/>
                    <a:gd name="connsiteY1091" fmla="*/ 446727 h 1317229"/>
                    <a:gd name="connsiteX1092" fmla="*/ 92456 w 1427705"/>
                    <a:gd name="connsiteY1092" fmla="*/ 446229 h 1317229"/>
                    <a:gd name="connsiteX1093" fmla="*/ 92505 w 1427705"/>
                    <a:gd name="connsiteY1093" fmla="*/ 445779 h 1317229"/>
                    <a:gd name="connsiteX1094" fmla="*/ 92845 w 1427705"/>
                    <a:gd name="connsiteY1094" fmla="*/ 445014 h 1317229"/>
                    <a:gd name="connsiteX1095" fmla="*/ 90853 w 1427705"/>
                    <a:gd name="connsiteY1095" fmla="*/ 444735 h 1317229"/>
                    <a:gd name="connsiteX1096" fmla="*/ 87332 w 1427705"/>
                    <a:gd name="connsiteY1096" fmla="*/ 442938 h 1317229"/>
                    <a:gd name="connsiteX1097" fmla="*/ 86142 w 1427705"/>
                    <a:gd name="connsiteY1097" fmla="*/ 442246 h 1317229"/>
                    <a:gd name="connsiteX1098" fmla="*/ 85535 w 1427705"/>
                    <a:gd name="connsiteY1098" fmla="*/ 439089 h 1317229"/>
                    <a:gd name="connsiteX1099" fmla="*/ 85608 w 1427705"/>
                    <a:gd name="connsiteY1099" fmla="*/ 435567 h 1317229"/>
                    <a:gd name="connsiteX1100" fmla="*/ 85498 w 1427705"/>
                    <a:gd name="connsiteY1100" fmla="*/ 434754 h 1317229"/>
                    <a:gd name="connsiteX1101" fmla="*/ 80993 w 1427705"/>
                    <a:gd name="connsiteY1101" fmla="*/ 431050 h 1317229"/>
                    <a:gd name="connsiteX1102" fmla="*/ 82378 w 1427705"/>
                    <a:gd name="connsiteY1102" fmla="*/ 424104 h 1317229"/>
                    <a:gd name="connsiteX1103" fmla="*/ 85243 w 1427705"/>
                    <a:gd name="connsiteY1103" fmla="*/ 417499 h 1317229"/>
                    <a:gd name="connsiteX1104" fmla="*/ 85170 w 1427705"/>
                    <a:gd name="connsiteY1104" fmla="*/ 417511 h 1317229"/>
                    <a:gd name="connsiteX1105" fmla="*/ 81503 w 1427705"/>
                    <a:gd name="connsiteY1105" fmla="*/ 414742 h 1317229"/>
                    <a:gd name="connsiteX1106" fmla="*/ 81795 w 1427705"/>
                    <a:gd name="connsiteY1106" fmla="*/ 408853 h 1317229"/>
                    <a:gd name="connsiteX1107" fmla="*/ 80156 w 1427705"/>
                    <a:gd name="connsiteY1107" fmla="*/ 409642 h 1317229"/>
                    <a:gd name="connsiteX1108" fmla="*/ 79318 w 1427705"/>
                    <a:gd name="connsiteY1108" fmla="*/ 409946 h 1317229"/>
                    <a:gd name="connsiteX1109" fmla="*/ 75153 w 1427705"/>
                    <a:gd name="connsiteY1109" fmla="*/ 409023 h 1317229"/>
                    <a:gd name="connsiteX1110" fmla="*/ 74181 w 1427705"/>
                    <a:gd name="connsiteY1110" fmla="*/ 407274 h 1317229"/>
                    <a:gd name="connsiteX1111" fmla="*/ 73562 w 1427705"/>
                    <a:gd name="connsiteY1111" fmla="*/ 405635 h 1317229"/>
                    <a:gd name="connsiteX1112" fmla="*/ 73440 w 1427705"/>
                    <a:gd name="connsiteY1112" fmla="*/ 404360 h 1317229"/>
                    <a:gd name="connsiteX1113" fmla="*/ 72469 w 1427705"/>
                    <a:gd name="connsiteY1113" fmla="*/ 403048 h 1317229"/>
                    <a:gd name="connsiteX1114" fmla="*/ 72226 w 1427705"/>
                    <a:gd name="connsiteY1114" fmla="*/ 402587 h 1317229"/>
                    <a:gd name="connsiteX1115" fmla="*/ 70611 w 1427705"/>
                    <a:gd name="connsiteY1115" fmla="*/ 403473 h 1317229"/>
                    <a:gd name="connsiteX1116" fmla="*/ 68438 w 1427705"/>
                    <a:gd name="connsiteY1116" fmla="*/ 404238 h 1317229"/>
                    <a:gd name="connsiteX1117" fmla="*/ 65244 w 1427705"/>
                    <a:gd name="connsiteY1117" fmla="*/ 405198 h 1317229"/>
                    <a:gd name="connsiteX1118" fmla="*/ 64455 w 1427705"/>
                    <a:gd name="connsiteY1118" fmla="*/ 401300 h 1317229"/>
                    <a:gd name="connsiteX1119" fmla="*/ 64370 w 1427705"/>
                    <a:gd name="connsiteY1119" fmla="*/ 399588 h 1317229"/>
                    <a:gd name="connsiteX1120" fmla="*/ 64807 w 1427705"/>
                    <a:gd name="connsiteY1120" fmla="*/ 397645 h 1317229"/>
                    <a:gd name="connsiteX1121" fmla="*/ 63811 w 1427705"/>
                    <a:gd name="connsiteY1121" fmla="*/ 397220 h 1317229"/>
                    <a:gd name="connsiteX1122" fmla="*/ 62293 w 1427705"/>
                    <a:gd name="connsiteY1122" fmla="*/ 396880 h 1317229"/>
                    <a:gd name="connsiteX1123" fmla="*/ 59440 w 1427705"/>
                    <a:gd name="connsiteY1123" fmla="*/ 395046 h 1317229"/>
                    <a:gd name="connsiteX1124" fmla="*/ 57327 w 1427705"/>
                    <a:gd name="connsiteY1124" fmla="*/ 392545 h 1317229"/>
                    <a:gd name="connsiteX1125" fmla="*/ 55651 w 1427705"/>
                    <a:gd name="connsiteY1125" fmla="*/ 389800 h 1317229"/>
                    <a:gd name="connsiteX1126" fmla="*/ 51025 w 1427705"/>
                    <a:gd name="connsiteY1126" fmla="*/ 380851 h 1317229"/>
                    <a:gd name="connsiteX1127" fmla="*/ 49446 w 1427705"/>
                    <a:gd name="connsiteY1127" fmla="*/ 378908 h 1317229"/>
                    <a:gd name="connsiteX1128" fmla="*/ 50284 w 1427705"/>
                    <a:gd name="connsiteY1128" fmla="*/ 374683 h 1317229"/>
                    <a:gd name="connsiteX1129" fmla="*/ 51425 w 1427705"/>
                    <a:gd name="connsiteY1129" fmla="*/ 372363 h 1317229"/>
                    <a:gd name="connsiteX1130" fmla="*/ 52895 w 1427705"/>
                    <a:gd name="connsiteY1130" fmla="*/ 370615 h 1317229"/>
                    <a:gd name="connsiteX1131" fmla="*/ 55979 w 1427705"/>
                    <a:gd name="connsiteY1131" fmla="*/ 367895 h 1317229"/>
                    <a:gd name="connsiteX1132" fmla="*/ 56732 w 1427705"/>
                    <a:gd name="connsiteY1132" fmla="*/ 367081 h 1317229"/>
                    <a:gd name="connsiteX1133" fmla="*/ 57351 w 1427705"/>
                    <a:gd name="connsiteY1133" fmla="*/ 366170 h 1317229"/>
                    <a:gd name="connsiteX1134" fmla="*/ 57011 w 1427705"/>
                    <a:gd name="connsiteY1134" fmla="*/ 365247 h 1317229"/>
                    <a:gd name="connsiteX1135" fmla="*/ 56537 w 1427705"/>
                    <a:gd name="connsiteY1135" fmla="*/ 363632 h 1317229"/>
                    <a:gd name="connsiteX1136" fmla="*/ 53805 w 1427705"/>
                    <a:gd name="connsiteY1136" fmla="*/ 356480 h 1317229"/>
                    <a:gd name="connsiteX1137" fmla="*/ 53429 w 1427705"/>
                    <a:gd name="connsiteY1137" fmla="*/ 354683 h 1317229"/>
                    <a:gd name="connsiteX1138" fmla="*/ 53283 w 1427705"/>
                    <a:gd name="connsiteY1138" fmla="*/ 352534 h 1317229"/>
                    <a:gd name="connsiteX1139" fmla="*/ 51899 w 1427705"/>
                    <a:gd name="connsiteY1139" fmla="*/ 349207 h 1317229"/>
                    <a:gd name="connsiteX1140" fmla="*/ 36781 w 1427705"/>
                    <a:gd name="connsiteY1140" fmla="*/ 336250 h 1317229"/>
                    <a:gd name="connsiteX1141" fmla="*/ 35202 w 1427705"/>
                    <a:gd name="connsiteY1141" fmla="*/ 331016 h 1317229"/>
                    <a:gd name="connsiteX1142" fmla="*/ 33102 w 1427705"/>
                    <a:gd name="connsiteY1142" fmla="*/ 328551 h 1317229"/>
                    <a:gd name="connsiteX1143" fmla="*/ 32033 w 1427705"/>
                    <a:gd name="connsiteY1143" fmla="*/ 327131 h 1317229"/>
                    <a:gd name="connsiteX1144" fmla="*/ 34158 w 1427705"/>
                    <a:gd name="connsiteY1144" fmla="*/ 322310 h 1317229"/>
                    <a:gd name="connsiteX1145" fmla="*/ 31098 w 1427705"/>
                    <a:gd name="connsiteY1145" fmla="*/ 315376 h 1317229"/>
                    <a:gd name="connsiteX1146" fmla="*/ 34122 w 1427705"/>
                    <a:gd name="connsiteY1146" fmla="*/ 309900 h 1317229"/>
                    <a:gd name="connsiteX1147" fmla="*/ 35129 w 1427705"/>
                    <a:gd name="connsiteY1147" fmla="*/ 308479 h 1317229"/>
                    <a:gd name="connsiteX1148" fmla="*/ 35142 w 1427705"/>
                    <a:gd name="connsiteY1148" fmla="*/ 308285 h 1317229"/>
                    <a:gd name="connsiteX1149" fmla="*/ 34680 w 1427705"/>
                    <a:gd name="connsiteY1149" fmla="*/ 306986 h 1317229"/>
                    <a:gd name="connsiteX1150" fmla="*/ 33539 w 1427705"/>
                    <a:gd name="connsiteY1150" fmla="*/ 305140 h 1317229"/>
                    <a:gd name="connsiteX1151" fmla="*/ 32543 w 1427705"/>
                    <a:gd name="connsiteY1151" fmla="*/ 304156 h 1317229"/>
                    <a:gd name="connsiteX1152" fmla="*/ 26508 w 1427705"/>
                    <a:gd name="connsiteY1152" fmla="*/ 299214 h 1317229"/>
                    <a:gd name="connsiteX1153" fmla="*/ 27261 w 1427705"/>
                    <a:gd name="connsiteY1153" fmla="*/ 292584 h 1317229"/>
                    <a:gd name="connsiteX1154" fmla="*/ 29896 w 1427705"/>
                    <a:gd name="connsiteY1154" fmla="*/ 290823 h 1317229"/>
                    <a:gd name="connsiteX1155" fmla="*/ 25986 w 1427705"/>
                    <a:gd name="connsiteY1155" fmla="*/ 284545 h 1317229"/>
                    <a:gd name="connsiteX1156" fmla="*/ 22027 w 1427705"/>
                    <a:gd name="connsiteY1156" fmla="*/ 271965 h 1317229"/>
                    <a:gd name="connsiteX1157" fmla="*/ 20983 w 1427705"/>
                    <a:gd name="connsiteY1157" fmla="*/ 271176 h 1317229"/>
                    <a:gd name="connsiteX1158" fmla="*/ 20339 w 1427705"/>
                    <a:gd name="connsiteY1158" fmla="*/ 270532 h 1317229"/>
                    <a:gd name="connsiteX1159" fmla="*/ 19356 w 1427705"/>
                    <a:gd name="connsiteY1159" fmla="*/ 268869 h 1317229"/>
                    <a:gd name="connsiteX1160" fmla="*/ 18846 w 1427705"/>
                    <a:gd name="connsiteY1160" fmla="*/ 266501 h 1317229"/>
                    <a:gd name="connsiteX1161" fmla="*/ 19344 w 1427705"/>
                    <a:gd name="connsiteY1161" fmla="*/ 264850 h 1317229"/>
                    <a:gd name="connsiteX1162" fmla="*/ 20230 w 1427705"/>
                    <a:gd name="connsiteY1162" fmla="*/ 263732 h 1317229"/>
                    <a:gd name="connsiteX1163" fmla="*/ 20376 w 1427705"/>
                    <a:gd name="connsiteY1163" fmla="*/ 263210 h 1317229"/>
                    <a:gd name="connsiteX1164" fmla="*/ 18263 w 1427705"/>
                    <a:gd name="connsiteY1164" fmla="*/ 232659 h 1317229"/>
                    <a:gd name="connsiteX1165" fmla="*/ 19125 w 1427705"/>
                    <a:gd name="connsiteY1165" fmla="*/ 230279 h 1317229"/>
                    <a:gd name="connsiteX1166" fmla="*/ 21614 w 1427705"/>
                    <a:gd name="connsiteY1166" fmla="*/ 226903 h 1317229"/>
                    <a:gd name="connsiteX1167" fmla="*/ 21748 w 1427705"/>
                    <a:gd name="connsiteY1167" fmla="*/ 226466 h 1317229"/>
                    <a:gd name="connsiteX1168" fmla="*/ 21311 w 1427705"/>
                    <a:gd name="connsiteY1168" fmla="*/ 225324 h 1317229"/>
                    <a:gd name="connsiteX1169" fmla="*/ 20254 w 1427705"/>
                    <a:gd name="connsiteY1169" fmla="*/ 224061 h 1317229"/>
                    <a:gd name="connsiteX1170" fmla="*/ 19149 w 1427705"/>
                    <a:gd name="connsiteY1170" fmla="*/ 221524 h 1317229"/>
                    <a:gd name="connsiteX1171" fmla="*/ 18700 w 1427705"/>
                    <a:gd name="connsiteY1171" fmla="*/ 214456 h 1317229"/>
                    <a:gd name="connsiteX1172" fmla="*/ 18979 w 1427705"/>
                    <a:gd name="connsiteY1172" fmla="*/ 212259 h 1317229"/>
                    <a:gd name="connsiteX1173" fmla="*/ 20121 w 1427705"/>
                    <a:gd name="connsiteY1173" fmla="*/ 209636 h 1317229"/>
                    <a:gd name="connsiteX1174" fmla="*/ 21833 w 1427705"/>
                    <a:gd name="connsiteY1174" fmla="*/ 207559 h 1317229"/>
                    <a:gd name="connsiteX1175" fmla="*/ 21797 w 1427705"/>
                    <a:gd name="connsiteY1175" fmla="*/ 207329 h 1317229"/>
                    <a:gd name="connsiteX1176" fmla="*/ 20327 w 1427705"/>
                    <a:gd name="connsiteY1176" fmla="*/ 206272 h 1317229"/>
                    <a:gd name="connsiteX1177" fmla="*/ 16041 w 1427705"/>
                    <a:gd name="connsiteY1177" fmla="*/ 206187 h 1317229"/>
                    <a:gd name="connsiteX1178" fmla="*/ 11681 w 1427705"/>
                    <a:gd name="connsiteY1178" fmla="*/ 206782 h 1317229"/>
                    <a:gd name="connsiteX1179" fmla="*/ 8889 w 1427705"/>
                    <a:gd name="connsiteY1179" fmla="*/ 206600 h 1317229"/>
                    <a:gd name="connsiteX1180" fmla="*/ 4760 w 1427705"/>
                    <a:gd name="connsiteY1180" fmla="*/ 206224 h 1317229"/>
                    <a:gd name="connsiteX1181" fmla="*/ 7941 w 1427705"/>
                    <a:gd name="connsiteY1181" fmla="*/ 198683 h 1317229"/>
                    <a:gd name="connsiteX1182" fmla="*/ 14741 w 1427705"/>
                    <a:gd name="connsiteY1182" fmla="*/ 192429 h 1317229"/>
                    <a:gd name="connsiteX1183" fmla="*/ 10188 w 1427705"/>
                    <a:gd name="connsiteY1183" fmla="*/ 193012 h 1317229"/>
                    <a:gd name="connsiteX1184" fmla="*/ 0 w 1427705"/>
                    <a:gd name="connsiteY1184" fmla="*/ 182023 h 1317229"/>
                    <a:gd name="connsiteX1185" fmla="*/ 7286 w 1427705"/>
                    <a:gd name="connsiteY1185" fmla="*/ 183844 h 1317229"/>
                    <a:gd name="connsiteX1186" fmla="*/ 7395 w 1427705"/>
                    <a:gd name="connsiteY1186" fmla="*/ 182302 h 1317229"/>
                    <a:gd name="connsiteX1187" fmla="*/ 5731 w 1427705"/>
                    <a:gd name="connsiteY1187" fmla="*/ 180043 h 1317229"/>
                    <a:gd name="connsiteX1188" fmla="*/ 4845 w 1427705"/>
                    <a:gd name="connsiteY1188" fmla="*/ 177797 h 1317229"/>
                    <a:gd name="connsiteX1189" fmla="*/ 4505 w 1427705"/>
                    <a:gd name="connsiteY1189" fmla="*/ 176728 h 1317229"/>
                    <a:gd name="connsiteX1190" fmla="*/ 6545 w 1427705"/>
                    <a:gd name="connsiteY1190" fmla="*/ 171798 h 1317229"/>
                    <a:gd name="connsiteX1191" fmla="*/ 10237 w 1427705"/>
                    <a:gd name="connsiteY1191" fmla="*/ 169880 h 1317229"/>
                    <a:gd name="connsiteX1192" fmla="*/ 12106 w 1427705"/>
                    <a:gd name="connsiteY1192" fmla="*/ 169188 h 1317229"/>
                    <a:gd name="connsiteX1193" fmla="*/ 11888 w 1427705"/>
                    <a:gd name="connsiteY1193" fmla="*/ 168471 h 1317229"/>
                    <a:gd name="connsiteX1194" fmla="*/ 10892 w 1427705"/>
                    <a:gd name="connsiteY1194" fmla="*/ 166868 h 1317229"/>
                    <a:gd name="connsiteX1195" fmla="*/ 9775 w 1427705"/>
                    <a:gd name="connsiteY1195" fmla="*/ 162521 h 1317229"/>
                    <a:gd name="connsiteX1196" fmla="*/ 11171 w 1427705"/>
                    <a:gd name="connsiteY1196" fmla="*/ 159206 h 1317229"/>
                    <a:gd name="connsiteX1197" fmla="*/ 9860 w 1427705"/>
                    <a:gd name="connsiteY1197" fmla="*/ 154883 h 1317229"/>
                    <a:gd name="connsiteX1198" fmla="*/ 14717 w 1427705"/>
                    <a:gd name="connsiteY1198" fmla="*/ 150050 h 1317229"/>
                    <a:gd name="connsiteX1199" fmla="*/ 13260 w 1427705"/>
                    <a:gd name="connsiteY1199" fmla="*/ 145460 h 1317229"/>
                    <a:gd name="connsiteX1200" fmla="*/ 19283 w 1427705"/>
                    <a:gd name="connsiteY1200" fmla="*/ 141732 h 1317229"/>
                    <a:gd name="connsiteX1201" fmla="*/ 19926 w 1427705"/>
                    <a:gd name="connsiteY1201" fmla="*/ 140992 h 1317229"/>
                    <a:gd name="connsiteX1202" fmla="*/ 20157 w 1427705"/>
                    <a:gd name="connsiteY1202" fmla="*/ 140336 h 1317229"/>
                    <a:gd name="connsiteX1203" fmla="*/ 20036 w 1427705"/>
                    <a:gd name="connsiteY1203" fmla="*/ 139935 h 1317229"/>
                    <a:gd name="connsiteX1204" fmla="*/ 19441 w 1427705"/>
                    <a:gd name="connsiteY1204" fmla="*/ 138879 h 1317229"/>
                    <a:gd name="connsiteX1205" fmla="*/ 18482 w 1427705"/>
                    <a:gd name="connsiteY1205" fmla="*/ 135928 h 1317229"/>
                    <a:gd name="connsiteX1206" fmla="*/ 19198 w 1427705"/>
                    <a:gd name="connsiteY1206" fmla="*/ 132455 h 1317229"/>
                    <a:gd name="connsiteX1207" fmla="*/ 21930 w 1427705"/>
                    <a:gd name="connsiteY1207" fmla="*/ 129954 h 1317229"/>
                    <a:gd name="connsiteX1208" fmla="*/ 24541 w 1427705"/>
                    <a:gd name="connsiteY1208" fmla="*/ 129844 h 1317229"/>
                    <a:gd name="connsiteX1209" fmla="*/ 25148 w 1427705"/>
                    <a:gd name="connsiteY1209" fmla="*/ 129929 h 1317229"/>
                    <a:gd name="connsiteX1210" fmla="*/ 27941 w 1427705"/>
                    <a:gd name="connsiteY1210" fmla="*/ 124502 h 1317229"/>
                    <a:gd name="connsiteX1211" fmla="*/ 33174 w 1427705"/>
                    <a:gd name="connsiteY1211" fmla="*/ 99669 h 1317229"/>
                    <a:gd name="connsiteX1212" fmla="*/ 35385 w 1427705"/>
                    <a:gd name="connsiteY1212" fmla="*/ 92821 h 1317229"/>
                    <a:gd name="connsiteX1213" fmla="*/ 37558 w 1427705"/>
                    <a:gd name="connsiteY1213" fmla="*/ 88498 h 1317229"/>
                    <a:gd name="connsiteX1214" fmla="*/ 40023 w 1427705"/>
                    <a:gd name="connsiteY1214" fmla="*/ 86676 h 1317229"/>
                    <a:gd name="connsiteX1215" fmla="*/ 46167 w 1427705"/>
                    <a:gd name="connsiteY1215" fmla="*/ 80483 h 1317229"/>
                    <a:gd name="connsiteX1216" fmla="*/ 46192 w 1427705"/>
                    <a:gd name="connsiteY1216" fmla="*/ 79743 h 1317229"/>
                    <a:gd name="connsiteX1217" fmla="*/ 46301 w 1427705"/>
                    <a:gd name="connsiteY1217" fmla="*/ 78893 h 1317229"/>
                    <a:gd name="connsiteX1218" fmla="*/ 47005 w 1427705"/>
                    <a:gd name="connsiteY1218" fmla="*/ 77023 h 1317229"/>
                    <a:gd name="connsiteX1219" fmla="*/ 48584 w 1427705"/>
                    <a:gd name="connsiteY1219" fmla="*/ 75104 h 1317229"/>
                    <a:gd name="connsiteX1220" fmla="*/ 50211 w 1427705"/>
                    <a:gd name="connsiteY1220" fmla="*/ 74800 h 1317229"/>
                    <a:gd name="connsiteX1221" fmla="*/ 51583 w 1427705"/>
                    <a:gd name="connsiteY1221" fmla="*/ 74740 h 1317229"/>
                    <a:gd name="connsiteX1222" fmla="*/ 52943 w 1427705"/>
                    <a:gd name="connsiteY1222" fmla="*/ 74970 h 1317229"/>
                    <a:gd name="connsiteX1223" fmla="*/ 53356 w 1427705"/>
                    <a:gd name="connsiteY1223" fmla="*/ 74800 h 1317229"/>
                    <a:gd name="connsiteX1224" fmla="*/ 53647 w 1427705"/>
                    <a:gd name="connsiteY1224" fmla="*/ 74752 h 1317229"/>
                    <a:gd name="connsiteX1225" fmla="*/ 53963 w 1427705"/>
                    <a:gd name="connsiteY1225" fmla="*/ 72287 h 1317229"/>
                    <a:gd name="connsiteX1226" fmla="*/ 54874 w 1427705"/>
                    <a:gd name="connsiteY1226" fmla="*/ 70878 h 1317229"/>
                    <a:gd name="connsiteX1227" fmla="*/ 56392 w 1427705"/>
                    <a:gd name="connsiteY1227" fmla="*/ 69640 h 1317229"/>
                    <a:gd name="connsiteX1228" fmla="*/ 59330 w 1427705"/>
                    <a:gd name="connsiteY1228" fmla="*/ 68547 h 1317229"/>
                    <a:gd name="connsiteX1229" fmla="*/ 64163 w 1427705"/>
                    <a:gd name="connsiteY1229" fmla="*/ 63690 h 1317229"/>
                    <a:gd name="connsiteX1230" fmla="*/ 69542 w 1427705"/>
                    <a:gd name="connsiteY1230" fmla="*/ 60666 h 1317229"/>
                    <a:gd name="connsiteX1231" fmla="*/ 69955 w 1427705"/>
                    <a:gd name="connsiteY1231" fmla="*/ 55554 h 1317229"/>
                    <a:gd name="connsiteX1232" fmla="*/ 72032 w 1427705"/>
                    <a:gd name="connsiteY1232" fmla="*/ 52627 h 1317229"/>
                    <a:gd name="connsiteX1233" fmla="*/ 78285 w 1427705"/>
                    <a:gd name="connsiteY1233" fmla="*/ 47625 h 1317229"/>
                    <a:gd name="connsiteX1234" fmla="*/ 90222 w 1427705"/>
                    <a:gd name="connsiteY1234" fmla="*/ 35809 h 1317229"/>
                    <a:gd name="connsiteX1235" fmla="*/ 98406 w 1427705"/>
                    <a:gd name="connsiteY1235" fmla="*/ 29580 h 1317229"/>
                    <a:gd name="connsiteX1236" fmla="*/ 101041 w 1427705"/>
                    <a:gd name="connsiteY1236" fmla="*/ 26933 h 1317229"/>
                    <a:gd name="connsiteX1237" fmla="*/ 103628 w 1427705"/>
                    <a:gd name="connsiteY1237" fmla="*/ 18020 h 1317229"/>
                    <a:gd name="connsiteX1238" fmla="*/ 104089 w 1427705"/>
                    <a:gd name="connsiteY1238" fmla="*/ 9362 h 1317229"/>
                    <a:gd name="connsiteX1239" fmla="*/ 103956 w 1427705"/>
                    <a:gd name="connsiteY1239" fmla="*/ 8597 h 1317229"/>
                    <a:gd name="connsiteX1240" fmla="*/ 102571 w 1427705"/>
                    <a:gd name="connsiteY1240" fmla="*/ 6521 h 1317229"/>
                    <a:gd name="connsiteX1241" fmla="*/ 104951 w 1427705"/>
                    <a:gd name="connsiteY1241" fmla="*/ 4408 h 1317229"/>
                    <a:gd name="connsiteX1242" fmla="*/ 112116 w 1427705"/>
                    <a:gd name="connsiteY1242" fmla="*/ 0 h 1317229"/>
                    <a:gd name="connsiteX1243" fmla="*/ 116293 w 1427705"/>
                    <a:gd name="connsiteY1243" fmla="*/ 134 h 1317229"/>
                    <a:gd name="connsiteX1244" fmla="*/ 122377 w 1427705"/>
                    <a:gd name="connsiteY1244" fmla="*/ 1785 h 1317229"/>
                    <a:gd name="connsiteX1245" fmla="*/ 139583 w 1427705"/>
                    <a:gd name="connsiteY1245" fmla="*/ 16478 h 1317229"/>
                    <a:gd name="connsiteX1246" fmla="*/ 150597 w 1427705"/>
                    <a:gd name="connsiteY1246" fmla="*/ 23047 h 1317229"/>
                    <a:gd name="connsiteX1247" fmla="*/ 172272 w 1427705"/>
                    <a:gd name="connsiteY1247" fmla="*/ 32737 h 1317229"/>
                    <a:gd name="connsiteX1248" fmla="*/ 176425 w 1427705"/>
                    <a:gd name="connsiteY1248" fmla="*/ 36684 h 1317229"/>
                    <a:gd name="connsiteX1249" fmla="*/ 177833 w 1427705"/>
                    <a:gd name="connsiteY1249" fmla="*/ 38117 h 1317229"/>
                    <a:gd name="connsiteX1250" fmla="*/ 175648 w 1427705"/>
                    <a:gd name="connsiteY1250" fmla="*/ 43314 h 1317229"/>
                    <a:gd name="connsiteX1251" fmla="*/ 171568 w 1427705"/>
                    <a:gd name="connsiteY1251" fmla="*/ 47102 h 1317229"/>
                    <a:gd name="connsiteX1252" fmla="*/ 161574 w 1427705"/>
                    <a:gd name="connsiteY1252" fmla="*/ 54157 h 1317229"/>
                    <a:gd name="connsiteX1253" fmla="*/ 155648 w 1427705"/>
                    <a:gd name="connsiteY1253" fmla="*/ 60788 h 1317229"/>
                    <a:gd name="connsiteX1254" fmla="*/ 147913 w 1427705"/>
                    <a:gd name="connsiteY1254" fmla="*/ 78820 h 1317229"/>
                    <a:gd name="connsiteX1255" fmla="*/ 139352 w 1427705"/>
                    <a:gd name="connsiteY1255" fmla="*/ 92031 h 1317229"/>
                    <a:gd name="connsiteX1256" fmla="*/ 139170 w 1427705"/>
                    <a:gd name="connsiteY1256" fmla="*/ 94460 h 1317229"/>
                    <a:gd name="connsiteX1257" fmla="*/ 140166 w 1427705"/>
                    <a:gd name="connsiteY1257" fmla="*/ 101806 h 1317229"/>
                    <a:gd name="connsiteX1258" fmla="*/ 139960 w 1427705"/>
                    <a:gd name="connsiteY1258" fmla="*/ 110829 h 1317229"/>
                    <a:gd name="connsiteX1259" fmla="*/ 140652 w 1427705"/>
                    <a:gd name="connsiteY1259" fmla="*/ 113791 h 1317229"/>
                    <a:gd name="connsiteX1260" fmla="*/ 143675 w 1427705"/>
                    <a:gd name="connsiteY1260" fmla="*/ 121721 h 1317229"/>
                    <a:gd name="connsiteX1261" fmla="*/ 145436 w 1427705"/>
                    <a:gd name="connsiteY1261" fmla="*/ 132953 h 1317229"/>
                    <a:gd name="connsiteX1262" fmla="*/ 146760 w 1427705"/>
                    <a:gd name="connsiteY1262" fmla="*/ 137920 h 1317229"/>
                    <a:gd name="connsiteX1263" fmla="*/ 154057 w 1427705"/>
                    <a:gd name="connsiteY1263" fmla="*/ 151447 h 1317229"/>
                    <a:gd name="connsiteX1264" fmla="*/ 168605 w 1427705"/>
                    <a:gd name="connsiteY1264" fmla="*/ 144319 h 1317229"/>
                    <a:gd name="connsiteX1265" fmla="*/ 174506 w 1427705"/>
                    <a:gd name="connsiteY1265" fmla="*/ 139559 h 1317229"/>
                    <a:gd name="connsiteX1266" fmla="*/ 178513 w 1427705"/>
                    <a:gd name="connsiteY1266" fmla="*/ 139158 h 1317229"/>
                    <a:gd name="connsiteX1267" fmla="*/ 182217 w 1427705"/>
                    <a:gd name="connsiteY1267" fmla="*/ 140567 h 1317229"/>
                    <a:gd name="connsiteX1268" fmla="*/ 193413 w 1427705"/>
                    <a:gd name="connsiteY1268" fmla="*/ 147027 h 1317229"/>
                    <a:gd name="connsiteX1269" fmla="*/ 200444 w 1427705"/>
                    <a:gd name="connsiteY1269" fmla="*/ 152151 h 1317229"/>
                    <a:gd name="connsiteX1270" fmla="*/ 201427 w 1427705"/>
                    <a:gd name="connsiteY1270" fmla="*/ 152515 h 1317229"/>
                    <a:gd name="connsiteX1271" fmla="*/ 204256 w 1427705"/>
                    <a:gd name="connsiteY1271" fmla="*/ 153317 h 1317229"/>
                    <a:gd name="connsiteX1272" fmla="*/ 212186 w 1427705"/>
                    <a:gd name="connsiteY1272" fmla="*/ 149613 h 1317229"/>
                    <a:gd name="connsiteX1273" fmla="*/ 217019 w 1427705"/>
                    <a:gd name="connsiteY1273" fmla="*/ 144428 h 1317229"/>
                    <a:gd name="connsiteX1274" fmla="*/ 218536 w 1427705"/>
                    <a:gd name="connsiteY1274" fmla="*/ 136790 h 1317229"/>
                    <a:gd name="connsiteX1275" fmla="*/ 217128 w 1427705"/>
                    <a:gd name="connsiteY1275" fmla="*/ 128727 h 1317229"/>
                    <a:gd name="connsiteX1276" fmla="*/ 211615 w 1427705"/>
                    <a:gd name="connsiteY1276" fmla="*/ 111861 h 1317229"/>
                    <a:gd name="connsiteX1277" fmla="*/ 210704 w 1427705"/>
                    <a:gd name="connsiteY1277" fmla="*/ 106773 h 1317229"/>
                    <a:gd name="connsiteX1278" fmla="*/ 210437 w 1427705"/>
                    <a:gd name="connsiteY1278" fmla="*/ 101163 h 1317229"/>
                    <a:gd name="connsiteX1279" fmla="*/ 211506 w 1427705"/>
                    <a:gd name="connsiteY1279" fmla="*/ 97350 h 1317229"/>
                    <a:gd name="connsiteX1280" fmla="*/ 213485 w 1427705"/>
                    <a:gd name="connsiteY1280" fmla="*/ 94654 h 1317229"/>
                    <a:gd name="connsiteX1281" fmla="*/ 216059 w 1427705"/>
                    <a:gd name="connsiteY1281" fmla="*/ 92869 h 1317229"/>
                    <a:gd name="connsiteX1282" fmla="*/ 219993 w 1427705"/>
                    <a:gd name="connsiteY1282" fmla="*/ 91764 h 1317229"/>
                    <a:gd name="connsiteX1283" fmla="*/ 223624 w 1427705"/>
                    <a:gd name="connsiteY1283" fmla="*/ 91776 h 1317229"/>
                    <a:gd name="connsiteX1284" fmla="*/ 225907 w 1427705"/>
                    <a:gd name="connsiteY1284" fmla="*/ 92262 h 1317229"/>
                    <a:gd name="connsiteX1285" fmla="*/ 228821 w 1427705"/>
                    <a:gd name="connsiteY1285" fmla="*/ 93913 h 1317229"/>
                    <a:gd name="connsiteX1286" fmla="*/ 240284 w 1427705"/>
                    <a:gd name="connsiteY1286" fmla="*/ 105692 h 1317229"/>
                    <a:gd name="connsiteX1287" fmla="*/ 247862 w 1427705"/>
                    <a:gd name="connsiteY1287" fmla="*/ 116123 h 1317229"/>
                    <a:gd name="connsiteX1288" fmla="*/ 253277 w 1427705"/>
                    <a:gd name="connsiteY1288" fmla="*/ 127999 h 1317229"/>
                    <a:gd name="connsiteX1289" fmla="*/ 254735 w 1427705"/>
                    <a:gd name="connsiteY1289" fmla="*/ 130087 h 1317229"/>
                    <a:gd name="connsiteX1290" fmla="*/ 257685 w 1427705"/>
                    <a:gd name="connsiteY1290" fmla="*/ 132249 h 1317229"/>
                    <a:gd name="connsiteX1291" fmla="*/ 275390 w 1427705"/>
                    <a:gd name="connsiteY1291" fmla="*/ 139972 h 1317229"/>
                    <a:gd name="connsiteX1292" fmla="*/ 283076 w 1427705"/>
                    <a:gd name="connsiteY1292" fmla="*/ 147294 h 1317229"/>
                    <a:gd name="connsiteX1293" fmla="*/ 287703 w 1427705"/>
                    <a:gd name="connsiteY1293" fmla="*/ 156620 h 1317229"/>
                    <a:gd name="connsiteX1294" fmla="*/ 290933 w 1427705"/>
                    <a:gd name="connsiteY1294" fmla="*/ 161853 h 1317229"/>
                    <a:gd name="connsiteX1295" fmla="*/ 297283 w 1427705"/>
                    <a:gd name="connsiteY1295" fmla="*/ 169916 h 1317229"/>
                    <a:gd name="connsiteX1296" fmla="*/ 306986 w 1427705"/>
                    <a:gd name="connsiteY1296" fmla="*/ 178222 h 1317229"/>
                    <a:gd name="connsiteX1297" fmla="*/ 337100 w 1427705"/>
                    <a:gd name="connsiteY1297" fmla="*/ 195149 h 1317229"/>
                    <a:gd name="connsiteX1298" fmla="*/ 341678 w 1427705"/>
                    <a:gd name="connsiteY1298" fmla="*/ 196849 h 1317229"/>
                    <a:gd name="connsiteX1299" fmla="*/ 354975 w 1427705"/>
                    <a:gd name="connsiteY1299" fmla="*/ 199448 h 1317229"/>
                    <a:gd name="connsiteX1300" fmla="*/ 358605 w 1427705"/>
                    <a:gd name="connsiteY1300" fmla="*/ 201609 h 1317229"/>
                    <a:gd name="connsiteX1301" fmla="*/ 360099 w 1427705"/>
                    <a:gd name="connsiteY1301" fmla="*/ 202617 h 1317229"/>
                    <a:gd name="connsiteX1302" fmla="*/ 359759 w 1427705"/>
                    <a:gd name="connsiteY1302" fmla="*/ 206381 h 1317229"/>
                    <a:gd name="connsiteX1303" fmla="*/ 358970 w 1427705"/>
                    <a:gd name="connsiteY1303" fmla="*/ 209453 h 1317229"/>
                    <a:gd name="connsiteX1304" fmla="*/ 357039 w 1427705"/>
                    <a:gd name="connsiteY1304" fmla="*/ 212708 h 1317229"/>
                    <a:gd name="connsiteX1305" fmla="*/ 347749 w 1427705"/>
                    <a:gd name="connsiteY1305" fmla="*/ 221123 h 1317229"/>
                    <a:gd name="connsiteX1306" fmla="*/ 343852 w 1427705"/>
                    <a:gd name="connsiteY1306" fmla="*/ 222932 h 1317229"/>
                    <a:gd name="connsiteX1307" fmla="*/ 340524 w 1427705"/>
                    <a:gd name="connsiteY1307" fmla="*/ 222677 h 1317229"/>
                    <a:gd name="connsiteX1308" fmla="*/ 339140 w 1427705"/>
                    <a:gd name="connsiteY1308" fmla="*/ 221706 h 1317229"/>
                    <a:gd name="connsiteX1309" fmla="*/ 338594 w 1427705"/>
                    <a:gd name="connsiteY1309" fmla="*/ 222398 h 1317229"/>
                    <a:gd name="connsiteX1310" fmla="*/ 335813 w 1427705"/>
                    <a:gd name="connsiteY1310" fmla="*/ 227583 h 1317229"/>
                    <a:gd name="connsiteX1311" fmla="*/ 332049 w 1427705"/>
                    <a:gd name="connsiteY1311" fmla="*/ 228336 h 1317229"/>
                    <a:gd name="connsiteX1312" fmla="*/ 329231 w 1427705"/>
                    <a:gd name="connsiteY1312" fmla="*/ 227546 h 1317229"/>
                    <a:gd name="connsiteX1313" fmla="*/ 327228 w 1427705"/>
                    <a:gd name="connsiteY1313" fmla="*/ 226356 h 1317229"/>
                    <a:gd name="connsiteX1314" fmla="*/ 326256 w 1427705"/>
                    <a:gd name="connsiteY1314" fmla="*/ 227061 h 1317229"/>
                    <a:gd name="connsiteX1315" fmla="*/ 323597 w 1427705"/>
                    <a:gd name="connsiteY1315" fmla="*/ 227644 h 1317229"/>
                    <a:gd name="connsiteX1316" fmla="*/ 323646 w 1427705"/>
                    <a:gd name="connsiteY1316" fmla="*/ 229708 h 1317229"/>
                    <a:gd name="connsiteX1317" fmla="*/ 323585 w 1427705"/>
                    <a:gd name="connsiteY1317" fmla="*/ 231092 h 1317229"/>
                    <a:gd name="connsiteX1318" fmla="*/ 348539 w 1427705"/>
                    <a:gd name="connsiteY1318" fmla="*/ 243745 h 1317229"/>
                    <a:gd name="connsiteX1319" fmla="*/ 352716 w 1427705"/>
                    <a:gd name="connsiteY1319" fmla="*/ 248044 h 1317229"/>
                    <a:gd name="connsiteX1320" fmla="*/ 355497 w 1427705"/>
                    <a:gd name="connsiteY1320" fmla="*/ 252622 h 1317229"/>
                    <a:gd name="connsiteX1321" fmla="*/ 357027 w 1427705"/>
                    <a:gd name="connsiteY1321" fmla="*/ 256993 h 1317229"/>
                    <a:gd name="connsiteX1322" fmla="*/ 358071 w 1427705"/>
                    <a:gd name="connsiteY1322" fmla="*/ 263781 h 1317229"/>
                    <a:gd name="connsiteX1323" fmla="*/ 361022 w 1427705"/>
                    <a:gd name="connsiteY1323" fmla="*/ 261899 h 1317229"/>
                    <a:gd name="connsiteX1324" fmla="*/ 373723 w 1427705"/>
                    <a:gd name="connsiteY1324" fmla="*/ 258462 h 1317229"/>
                    <a:gd name="connsiteX1325" fmla="*/ 377354 w 1427705"/>
                    <a:gd name="connsiteY1325" fmla="*/ 256313 h 1317229"/>
                    <a:gd name="connsiteX1326" fmla="*/ 379612 w 1427705"/>
                    <a:gd name="connsiteY1326" fmla="*/ 255779 h 1317229"/>
                    <a:gd name="connsiteX1327" fmla="*/ 383158 w 1427705"/>
                    <a:gd name="connsiteY1327" fmla="*/ 256447 h 1317229"/>
                    <a:gd name="connsiteX1328" fmla="*/ 397839 w 1427705"/>
                    <a:gd name="connsiteY1328" fmla="*/ 264182 h 1317229"/>
                    <a:gd name="connsiteX1329" fmla="*/ 400231 w 1427705"/>
                    <a:gd name="connsiteY1329" fmla="*/ 266501 h 1317229"/>
                    <a:gd name="connsiteX1330" fmla="*/ 401567 w 1427705"/>
                    <a:gd name="connsiteY1330" fmla="*/ 269403 h 1317229"/>
                    <a:gd name="connsiteX1331" fmla="*/ 401871 w 1427705"/>
                    <a:gd name="connsiteY1331" fmla="*/ 272390 h 1317229"/>
                    <a:gd name="connsiteX1332" fmla="*/ 402028 w 1427705"/>
                    <a:gd name="connsiteY1332" fmla="*/ 273289 h 1317229"/>
                    <a:gd name="connsiteX1333" fmla="*/ 403486 w 1427705"/>
                    <a:gd name="connsiteY1333" fmla="*/ 275353 h 1317229"/>
                    <a:gd name="connsiteX1334" fmla="*/ 406048 w 1427705"/>
                    <a:gd name="connsiteY1334" fmla="*/ 277770 h 1317229"/>
                    <a:gd name="connsiteX1335" fmla="*/ 429265 w 1427705"/>
                    <a:gd name="connsiteY1335" fmla="*/ 293713 h 1317229"/>
                    <a:gd name="connsiteX1336" fmla="*/ 432896 w 1427705"/>
                    <a:gd name="connsiteY1336" fmla="*/ 294758 h 1317229"/>
                    <a:gd name="connsiteX1337" fmla="*/ 436053 w 1427705"/>
                    <a:gd name="connsiteY1337" fmla="*/ 294916 h 1317229"/>
                    <a:gd name="connsiteX1338" fmla="*/ 437219 w 1427705"/>
                    <a:gd name="connsiteY1338" fmla="*/ 294442 h 1317229"/>
                    <a:gd name="connsiteX1339" fmla="*/ 438251 w 1427705"/>
                    <a:gd name="connsiteY1339" fmla="*/ 293762 h 1317229"/>
                    <a:gd name="connsiteX1340" fmla="*/ 439028 w 1427705"/>
                    <a:gd name="connsiteY1340" fmla="*/ 293337 h 1317229"/>
                    <a:gd name="connsiteX1341" fmla="*/ 442816 w 1427705"/>
                    <a:gd name="connsiteY1341" fmla="*/ 293592 h 1317229"/>
                    <a:gd name="connsiteX1342" fmla="*/ 445087 w 1427705"/>
                    <a:gd name="connsiteY1342" fmla="*/ 295681 h 1317229"/>
                    <a:gd name="connsiteX1343" fmla="*/ 446751 w 1427705"/>
                    <a:gd name="connsiteY1343" fmla="*/ 297842 h 1317229"/>
                    <a:gd name="connsiteX1344" fmla="*/ 449337 w 1427705"/>
                    <a:gd name="connsiteY1344" fmla="*/ 300283 h 1317229"/>
                    <a:gd name="connsiteX1345" fmla="*/ 451183 w 1427705"/>
                    <a:gd name="connsiteY1345" fmla="*/ 302456 h 1317229"/>
                    <a:gd name="connsiteX1346" fmla="*/ 452652 w 1427705"/>
                    <a:gd name="connsiteY1346" fmla="*/ 304727 h 1317229"/>
                    <a:gd name="connsiteX1347" fmla="*/ 455615 w 1427705"/>
                    <a:gd name="connsiteY1347" fmla="*/ 314769 h 1317229"/>
                    <a:gd name="connsiteX1348" fmla="*/ 456732 w 1427705"/>
                    <a:gd name="connsiteY1348" fmla="*/ 317222 h 1317229"/>
                    <a:gd name="connsiteX1349" fmla="*/ 469579 w 1427705"/>
                    <a:gd name="connsiteY1349" fmla="*/ 312328 h 1317229"/>
                    <a:gd name="connsiteX1350" fmla="*/ 479512 w 1427705"/>
                    <a:gd name="connsiteY1350" fmla="*/ 311940 h 1317229"/>
                    <a:gd name="connsiteX1351" fmla="*/ 481978 w 1427705"/>
                    <a:gd name="connsiteY1351" fmla="*/ 314672 h 1317229"/>
                    <a:gd name="connsiteX1352" fmla="*/ 483580 w 1427705"/>
                    <a:gd name="connsiteY1352" fmla="*/ 317768 h 1317229"/>
                    <a:gd name="connsiteX1353" fmla="*/ 483835 w 1427705"/>
                    <a:gd name="connsiteY1353" fmla="*/ 318133 h 1317229"/>
                    <a:gd name="connsiteX1354" fmla="*/ 484491 w 1427705"/>
                    <a:gd name="connsiteY1354" fmla="*/ 318133 h 1317229"/>
                    <a:gd name="connsiteX1355" fmla="*/ 490186 w 1427705"/>
                    <a:gd name="connsiteY1355" fmla="*/ 315085 h 1317229"/>
                    <a:gd name="connsiteX1356" fmla="*/ 502900 w 1427705"/>
                    <a:gd name="connsiteY1356" fmla="*/ 317756 h 1317229"/>
                    <a:gd name="connsiteX1357" fmla="*/ 505802 w 1427705"/>
                    <a:gd name="connsiteY1357" fmla="*/ 316736 h 1317229"/>
                    <a:gd name="connsiteX1358" fmla="*/ 505948 w 1427705"/>
                    <a:gd name="connsiteY1358" fmla="*/ 316408 h 1317229"/>
                    <a:gd name="connsiteX1359" fmla="*/ 505814 w 1427705"/>
                    <a:gd name="connsiteY1359" fmla="*/ 315085 h 1317229"/>
                    <a:gd name="connsiteX1360" fmla="*/ 505705 w 1427705"/>
                    <a:gd name="connsiteY1360" fmla="*/ 313033 h 1317229"/>
                    <a:gd name="connsiteX1361" fmla="*/ 510781 w 1427705"/>
                    <a:gd name="connsiteY1361" fmla="*/ 310738 h 1317229"/>
                    <a:gd name="connsiteX1362" fmla="*/ 515298 w 1427705"/>
                    <a:gd name="connsiteY1362" fmla="*/ 310944 h 1317229"/>
                    <a:gd name="connsiteX1363" fmla="*/ 524842 w 1427705"/>
                    <a:gd name="connsiteY1363" fmla="*/ 312499 h 1317229"/>
                    <a:gd name="connsiteX1364" fmla="*/ 529602 w 1427705"/>
                    <a:gd name="connsiteY1364" fmla="*/ 315158 h 1317229"/>
                    <a:gd name="connsiteX1365" fmla="*/ 532091 w 1427705"/>
                    <a:gd name="connsiteY1365" fmla="*/ 318060 h 1317229"/>
                    <a:gd name="connsiteX1366" fmla="*/ 533002 w 1427705"/>
                    <a:gd name="connsiteY1366" fmla="*/ 319250 h 1317229"/>
                    <a:gd name="connsiteX1367" fmla="*/ 532055 w 1427705"/>
                    <a:gd name="connsiteY1367" fmla="*/ 322820 h 1317229"/>
                    <a:gd name="connsiteX1368" fmla="*/ 530318 w 1427705"/>
                    <a:gd name="connsiteY1368" fmla="*/ 326912 h 1317229"/>
                    <a:gd name="connsiteX1369" fmla="*/ 534556 w 1427705"/>
                    <a:gd name="connsiteY1369" fmla="*/ 325139 h 1317229"/>
                    <a:gd name="connsiteX1370" fmla="*/ 538952 w 1427705"/>
                    <a:gd name="connsiteY1370" fmla="*/ 324289 h 1317229"/>
                    <a:gd name="connsiteX1371" fmla="*/ 542267 w 1427705"/>
                    <a:gd name="connsiteY1371" fmla="*/ 326463 h 1317229"/>
                    <a:gd name="connsiteX1372" fmla="*/ 542984 w 1427705"/>
                    <a:gd name="connsiteY1372" fmla="*/ 330324 h 1317229"/>
                    <a:gd name="connsiteX1373" fmla="*/ 542194 w 1427705"/>
                    <a:gd name="connsiteY1373" fmla="*/ 332826 h 1317229"/>
                    <a:gd name="connsiteX1374" fmla="*/ 543251 w 1427705"/>
                    <a:gd name="connsiteY1374" fmla="*/ 332364 h 1317229"/>
                    <a:gd name="connsiteX1375" fmla="*/ 548399 w 1427705"/>
                    <a:gd name="connsiteY1375" fmla="*/ 331417 h 1317229"/>
                    <a:gd name="connsiteX1376" fmla="*/ 550500 w 1427705"/>
                    <a:gd name="connsiteY1376" fmla="*/ 335971 h 1317229"/>
                    <a:gd name="connsiteX1377" fmla="*/ 549116 w 1427705"/>
                    <a:gd name="connsiteY1377" fmla="*/ 338861 h 1317229"/>
                    <a:gd name="connsiteX1378" fmla="*/ 549565 w 1427705"/>
                    <a:gd name="connsiteY1378" fmla="*/ 339723 h 1317229"/>
                    <a:gd name="connsiteX1379" fmla="*/ 552467 w 1427705"/>
                    <a:gd name="connsiteY1379" fmla="*/ 341593 h 1317229"/>
                    <a:gd name="connsiteX1380" fmla="*/ 554871 w 1427705"/>
                    <a:gd name="connsiteY1380" fmla="*/ 341897 h 1317229"/>
                    <a:gd name="connsiteX1381" fmla="*/ 556924 w 1427705"/>
                    <a:gd name="connsiteY1381" fmla="*/ 341690 h 1317229"/>
                    <a:gd name="connsiteX1382" fmla="*/ 558721 w 1427705"/>
                    <a:gd name="connsiteY1382" fmla="*/ 341047 h 1317229"/>
                    <a:gd name="connsiteX1383" fmla="*/ 560858 w 1427705"/>
                    <a:gd name="connsiteY1383" fmla="*/ 339954 h 1317229"/>
                    <a:gd name="connsiteX1384" fmla="*/ 563056 w 1427705"/>
                    <a:gd name="connsiteY1384" fmla="*/ 338399 h 1317229"/>
                    <a:gd name="connsiteX1385" fmla="*/ 567670 w 1427705"/>
                    <a:gd name="connsiteY1385" fmla="*/ 333372 h 1317229"/>
                    <a:gd name="connsiteX1386" fmla="*/ 569054 w 1427705"/>
                    <a:gd name="connsiteY1386" fmla="*/ 330907 h 1317229"/>
                    <a:gd name="connsiteX1387" fmla="*/ 569759 w 1427705"/>
                    <a:gd name="connsiteY1387" fmla="*/ 329025 h 1317229"/>
                    <a:gd name="connsiteX1388" fmla="*/ 570827 w 1427705"/>
                    <a:gd name="connsiteY1388" fmla="*/ 323379 h 1317229"/>
                    <a:gd name="connsiteX1389" fmla="*/ 575442 w 1427705"/>
                    <a:gd name="connsiteY1389" fmla="*/ 324253 h 1317229"/>
                    <a:gd name="connsiteX1390" fmla="*/ 582424 w 1427705"/>
                    <a:gd name="connsiteY1390" fmla="*/ 328017 h 1317229"/>
                    <a:gd name="connsiteX1391" fmla="*/ 589552 w 1427705"/>
                    <a:gd name="connsiteY1391" fmla="*/ 336784 h 1317229"/>
                    <a:gd name="connsiteX1392" fmla="*/ 591725 w 1427705"/>
                    <a:gd name="connsiteY1392" fmla="*/ 338254 h 1317229"/>
                    <a:gd name="connsiteX1393" fmla="*/ 594458 w 1427705"/>
                    <a:gd name="connsiteY1393" fmla="*/ 339019 h 1317229"/>
                    <a:gd name="connsiteX1394" fmla="*/ 600590 w 1427705"/>
                    <a:gd name="connsiteY1394" fmla="*/ 340002 h 1317229"/>
                    <a:gd name="connsiteX1395" fmla="*/ 604815 w 1427705"/>
                    <a:gd name="connsiteY1395" fmla="*/ 342285 h 1317229"/>
                    <a:gd name="connsiteX1396" fmla="*/ 606685 w 1427705"/>
                    <a:gd name="connsiteY1396" fmla="*/ 344277 h 1317229"/>
                    <a:gd name="connsiteX1397" fmla="*/ 608908 w 1427705"/>
                    <a:gd name="connsiteY1397" fmla="*/ 347932 h 1317229"/>
                    <a:gd name="connsiteX1398" fmla="*/ 609915 w 1427705"/>
                    <a:gd name="connsiteY1398" fmla="*/ 348867 h 1317229"/>
                    <a:gd name="connsiteX1399" fmla="*/ 614020 w 1427705"/>
                    <a:gd name="connsiteY1399" fmla="*/ 349704 h 1317229"/>
                    <a:gd name="connsiteX1400" fmla="*/ 616509 w 1427705"/>
                    <a:gd name="connsiteY1400" fmla="*/ 351708 h 1317229"/>
                    <a:gd name="connsiteX1401" fmla="*/ 621913 w 1427705"/>
                    <a:gd name="connsiteY1401" fmla="*/ 362394 h 1317229"/>
                    <a:gd name="connsiteX1402" fmla="*/ 623127 w 1427705"/>
                    <a:gd name="connsiteY1402" fmla="*/ 363754 h 1317229"/>
                    <a:gd name="connsiteX1403" fmla="*/ 625507 w 1427705"/>
                    <a:gd name="connsiteY1403" fmla="*/ 364689 h 1317229"/>
                    <a:gd name="connsiteX1404" fmla="*/ 628336 w 1427705"/>
                    <a:gd name="connsiteY1404" fmla="*/ 364312 h 1317229"/>
                    <a:gd name="connsiteX1405" fmla="*/ 631518 w 1427705"/>
                    <a:gd name="connsiteY1405" fmla="*/ 363438 h 1317229"/>
                    <a:gd name="connsiteX1406" fmla="*/ 636970 w 1427705"/>
                    <a:gd name="connsiteY1406" fmla="*/ 363547 h 1317229"/>
                    <a:gd name="connsiteX1407" fmla="*/ 640989 w 1427705"/>
                    <a:gd name="connsiteY1407" fmla="*/ 365867 h 1317229"/>
                    <a:gd name="connsiteX1408" fmla="*/ 648712 w 1427705"/>
                    <a:gd name="connsiteY1408" fmla="*/ 374537 h 1317229"/>
                    <a:gd name="connsiteX1409" fmla="*/ 647437 w 1427705"/>
                    <a:gd name="connsiteY1409" fmla="*/ 364300 h 1317229"/>
                    <a:gd name="connsiteX1410" fmla="*/ 648057 w 1427705"/>
                    <a:gd name="connsiteY1410" fmla="*/ 359309 h 1317229"/>
                    <a:gd name="connsiteX1411" fmla="*/ 650704 w 1427705"/>
                    <a:gd name="connsiteY1411" fmla="*/ 355315 h 1317229"/>
                    <a:gd name="connsiteX1412" fmla="*/ 655889 w 1427705"/>
                    <a:gd name="connsiteY1412" fmla="*/ 352570 h 1317229"/>
                    <a:gd name="connsiteX1413" fmla="*/ 665712 w 1427705"/>
                    <a:gd name="connsiteY1413" fmla="*/ 352837 h 1317229"/>
                    <a:gd name="connsiteX1414" fmla="*/ 667497 w 1427705"/>
                    <a:gd name="connsiteY1414" fmla="*/ 356589 h 1317229"/>
                    <a:gd name="connsiteX1415" fmla="*/ 667036 w 1427705"/>
                    <a:gd name="connsiteY1415" fmla="*/ 359309 h 1317229"/>
                    <a:gd name="connsiteX1416" fmla="*/ 667024 w 1427705"/>
                    <a:gd name="connsiteY1416" fmla="*/ 359735 h 1317229"/>
                    <a:gd name="connsiteX1417" fmla="*/ 667182 w 1427705"/>
                    <a:gd name="connsiteY1417" fmla="*/ 359941 h 1317229"/>
                    <a:gd name="connsiteX1418" fmla="*/ 669877 w 1427705"/>
                    <a:gd name="connsiteY1418" fmla="*/ 361264 h 1317229"/>
                    <a:gd name="connsiteX1419" fmla="*/ 672707 w 1427705"/>
                    <a:gd name="connsiteY1419" fmla="*/ 362163 h 1317229"/>
                    <a:gd name="connsiteX1420" fmla="*/ 679871 w 1427705"/>
                    <a:gd name="connsiteY1420" fmla="*/ 363377 h 1317229"/>
                    <a:gd name="connsiteX1421" fmla="*/ 683429 w 1427705"/>
                    <a:gd name="connsiteY1421" fmla="*/ 365794 h 1317229"/>
                    <a:gd name="connsiteX1422" fmla="*/ 687509 w 1427705"/>
                    <a:gd name="connsiteY1422" fmla="*/ 373237 h 1317229"/>
                    <a:gd name="connsiteX1423" fmla="*/ 688650 w 1427705"/>
                    <a:gd name="connsiteY1423" fmla="*/ 374561 h 1317229"/>
                    <a:gd name="connsiteX1424" fmla="*/ 691297 w 1427705"/>
                    <a:gd name="connsiteY1424" fmla="*/ 375787 h 1317229"/>
                    <a:gd name="connsiteX1425" fmla="*/ 696653 w 1427705"/>
                    <a:gd name="connsiteY1425" fmla="*/ 377184 h 1317229"/>
                    <a:gd name="connsiteX1426" fmla="*/ 700599 w 1427705"/>
                    <a:gd name="connsiteY1426" fmla="*/ 379540 h 1317229"/>
                    <a:gd name="connsiteX1427" fmla="*/ 708249 w 1427705"/>
                    <a:gd name="connsiteY1427" fmla="*/ 387141 h 1317229"/>
                    <a:gd name="connsiteX1428" fmla="*/ 710775 w 1427705"/>
                    <a:gd name="connsiteY1428" fmla="*/ 388501 h 1317229"/>
                    <a:gd name="connsiteX1429" fmla="*/ 713288 w 1427705"/>
                    <a:gd name="connsiteY1429" fmla="*/ 388756 h 1317229"/>
                    <a:gd name="connsiteX1430" fmla="*/ 720453 w 1427705"/>
                    <a:gd name="connsiteY1430" fmla="*/ 388732 h 1317229"/>
                    <a:gd name="connsiteX1431" fmla="*/ 724278 w 1427705"/>
                    <a:gd name="connsiteY1431" fmla="*/ 390116 h 1317229"/>
                    <a:gd name="connsiteX1432" fmla="*/ 725285 w 1427705"/>
                    <a:gd name="connsiteY1432" fmla="*/ 390541 h 1317229"/>
                    <a:gd name="connsiteX1433" fmla="*/ 727350 w 1427705"/>
                    <a:gd name="connsiteY1433" fmla="*/ 394560 h 1317229"/>
                    <a:gd name="connsiteX1434" fmla="*/ 727945 w 1427705"/>
                    <a:gd name="connsiteY1434" fmla="*/ 398738 h 1317229"/>
                    <a:gd name="connsiteX1435" fmla="*/ 728333 w 1427705"/>
                    <a:gd name="connsiteY1435" fmla="*/ 399940 h 1317229"/>
                    <a:gd name="connsiteX1436" fmla="*/ 731017 w 1427705"/>
                    <a:gd name="connsiteY1436" fmla="*/ 401798 h 1317229"/>
                    <a:gd name="connsiteX1437" fmla="*/ 733239 w 1427705"/>
                    <a:gd name="connsiteY1437" fmla="*/ 402332 h 1317229"/>
                    <a:gd name="connsiteX1438" fmla="*/ 736603 w 1427705"/>
                    <a:gd name="connsiteY1438" fmla="*/ 402988 h 1317229"/>
                    <a:gd name="connsiteX1439" fmla="*/ 739760 w 1427705"/>
                    <a:gd name="connsiteY1439" fmla="*/ 403024 h 1317229"/>
                    <a:gd name="connsiteX1440" fmla="*/ 741593 w 1427705"/>
                    <a:gd name="connsiteY1440" fmla="*/ 402211 h 1317229"/>
                    <a:gd name="connsiteX1441" fmla="*/ 742844 w 1427705"/>
                    <a:gd name="connsiteY1441" fmla="*/ 401798 h 1317229"/>
                    <a:gd name="connsiteX1442" fmla="*/ 747349 w 1427705"/>
                    <a:gd name="connsiteY1442" fmla="*/ 404251 h 1317229"/>
                    <a:gd name="connsiteX1443" fmla="*/ 748333 w 1427705"/>
                    <a:gd name="connsiteY1443" fmla="*/ 407638 h 1317229"/>
                    <a:gd name="connsiteX1444" fmla="*/ 748685 w 1427705"/>
                    <a:gd name="connsiteY1444" fmla="*/ 409946 h 1317229"/>
                    <a:gd name="connsiteX1445" fmla="*/ 749013 w 1427705"/>
                    <a:gd name="connsiteY1445" fmla="*/ 410480 h 1317229"/>
                    <a:gd name="connsiteX1446" fmla="*/ 775023 w 1427705"/>
                    <a:gd name="connsiteY1446" fmla="*/ 415252 h 1317229"/>
                    <a:gd name="connsiteX1447" fmla="*/ 780827 w 1427705"/>
                    <a:gd name="connsiteY1447" fmla="*/ 418033 h 1317229"/>
                    <a:gd name="connsiteX1448" fmla="*/ 785102 w 1427705"/>
                    <a:gd name="connsiteY1448" fmla="*/ 423279 h 1317229"/>
                    <a:gd name="connsiteX1449" fmla="*/ 789473 w 1427705"/>
                    <a:gd name="connsiteY1449" fmla="*/ 436369 h 1317229"/>
                    <a:gd name="connsiteX1450" fmla="*/ 791889 w 1427705"/>
                    <a:gd name="connsiteY1450" fmla="*/ 441711 h 1317229"/>
                    <a:gd name="connsiteX1451" fmla="*/ 802284 w 1427705"/>
                    <a:gd name="connsiteY1451" fmla="*/ 452919 h 1317229"/>
                    <a:gd name="connsiteX1452" fmla="*/ 805259 w 1427705"/>
                    <a:gd name="connsiteY1452" fmla="*/ 458457 h 1317229"/>
                    <a:gd name="connsiteX1453" fmla="*/ 806801 w 1427705"/>
                    <a:gd name="connsiteY1453" fmla="*/ 461444 h 1317229"/>
                    <a:gd name="connsiteX1454" fmla="*/ 804858 w 1427705"/>
                    <a:gd name="connsiteY1454" fmla="*/ 462221 h 1317229"/>
                    <a:gd name="connsiteX1455" fmla="*/ 806716 w 1427705"/>
                    <a:gd name="connsiteY1455" fmla="*/ 462658 h 1317229"/>
                    <a:gd name="connsiteX1456" fmla="*/ 806182 w 1427705"/>
                    <a:gd name="connsiteY1456" fmla="*/ 465415 h 1317229"/>
                    <a:gd name="connsiteX1457" fmla="*/ 807335 w 1427705"/>
                    <a:gd name="connsiteY1457" fmla="*/ 465244 h 1317229"/>
                    <a:gd name="connsiteX1458" fmla="*/ 808392 w 1427705"/>
                    <a:gd name="connsiteY1458" fmla="*/ 464625 h 1317229"/>
                    <a:gd name="connsiteX1459" fmla="*/ 809752 w 1427705"/>
                    <a:gd name="connsiteY1459" fmla="*/ 462743 h 1317229"/>
                    <a:gd name="connsiteX1460" fmla="*/ 810031 w 1427705"/>
                    <a:gd name="connsiteY1460" fmla="*/ 461177 h 1317229"/>
                    <a:gd name="connsiteX1461" fmla="*/ 811695 w 1427705"/>
                    <a:gd name="connsiteY1461" fmla="*/ 458457 h 1317229"/>
                    <a:gd name="connsiteX1462" fmla="*/ 812460 w 1427705"/>
                    <a:gd name="connsiteY1462" fmla="*/ 457327 h 1317229"/>
                    <a:gd name="connsiteX1463" fmla="*/ 817390 w 1427705"/>
                    <a:gd name="connsiteY1463" fmla="*/ 456696 h 1317229"/>
                    <a:gd name="connsiteX1464" fmla="*/ 822308 w 1427705"/>
                    <a:gd name="connsiteY1464" fmla="*/ 458359 h 1317229"/>
                    <a:gd name="connsiteX1465" fmla="*/ 827092 w 1427705"/>
                    <a:gd name="connsiteY1465" fmla="*/ 461529 h 1317229"/>
                    <a:gd name="connsiteX1466" fmla="*/ 830881 w 1427705"/>
                    <a:gd name="connsiteY1466" fmla="*/ 465427 h 1317229"/>
                    <a:gd name="connsiteX1467" fmla="*/ 833685 w 1427705"/>
                    <a:gd name="connsiteY1467" fmla="*/ 469567 h 1317229"/>
                    <a:gd name="connsiteX1468" fmla="*/ 834924 w 1427705"/>
                    <a:gd name="connsiteY1468" fmla="*/ 473295 h 1317229"/>
                    <a:gd name="connsiteX1469" fmla="*/ 835252 w 1427705"/>
                    <a:gd name="connsiteY1469" fmla="*/ 475942 h 1317229"/>
                    <a:gd name="connsiteX1470" fmla="*/ 835373 w 1427705"/>
                    <a:gd name="connsiteY1470" fmla="*/ 476173 h 1317229"/>
                    <a:gd name="connsiteX1471" fmla="*/ 837717 w 1427705"/>
                    <a:gd name="connsiteY1471" fmla="*/ 477970 h 1317229"/>
                    <a:gd name="connsiteX1472" fmla="*/ 853794 w 1427705"/>
                    <a:gd name="connsiteY1472" fmla="*/ 485839 h 1317229"/>
                    <a:gd name="connsiteX1473" fmla="*/ 857959 w 1427705"/>
                    <a:gd name="connsiteY1473" fmla="*/ 488620 h 1317229"/>
                    <a:gd name="connsiteX1474" fmla="*/ 861007 w 1427705"/>
                    <a:gd name="connsiteY1474" fmla="*/ 492930 h 1317229"/>
                    <a:gd name="connsiteX1475" fmla="*/ 863642 w 1427705"/>
                    <a:gd name="connsiteY1475" fmla="*/ 494837 h 1317229"/>
                    <a:gd name="connsiteX1476" fmla="*/ 872519 w 1427705"/>
                    <a:gd name="connsiteY1476" fmla="*/ 496792 h 1317229"/>
                    <a:gd name="connsiteX1477" fmla="*/ 877279 w 1427705"/>
                    <a:gd name="connsiteY1477" fmla="*/ 498431 h 1317229"/>
                    <a:gd name="connsiteX1478" fmla="*/ 882197 w 1427705"/>
                    <a:gd name="connsiteY1478" fmla="*/ 502123 h 1317229"/>
                    <a:gd name="connsiteX1479" fmla="*/ 889944 w 1427705"/>
                    <a:gd name="connsiteY1479" fmla="*/ 510040 h 1317229"/>
                    <a:gd name="connsiteX1480" fmla="*/ 898614 w 1427705"/>
                    <a:gd name="connsiteY1480" fmla="*/ 514715 h 1317229"/>
                    <a:gd name="connsiteX1481" fmla="*/ 904078 w 1427705"/>
                    <a:gd name="connsiteY1481" fmla="*/ 518637 h 1317229"/>
                    <a:gd name="connsiteX1482" fmla="*/ 908425 w 1427705"/>
                    <a:gd name="connsiteY1482" fmla="*/ 521090 h 1317229"/>
                    <a:gd name="connsiteX1483" fmla="*/ 911874 w 1427705"/>
                    <a:gd name="connsiteY1483" fmla="*/ 521357 h 1317229"/>
                    <a:gd name="connsiteX1484" fmla="*/ 915323 w 1427705"/>
                    <a:gd name="connsiteY1484" fmla="*/ 519074 h 1317229"/>
                    <a:gd name="connsiteX1485" fmla="*/ 922766 w 1427705"/>
                    <a:gd name="connsiteY1485" fmla="*/ 510538 h 1317229"/>
                    <a:gd name="connsiteX1486" fmla="*/ 929603 w 1427705"/>
                    <a:gd name="connsiteY1486" fmla="*/ 507599 h 1317229"/>
                    <a:gd name="connsiteX1487" fmla="*/ 940021 w 1427705"/>
                    <a:gd name="connsiteY1487" fmla="*/ 508583 h 1317229"/>
                    <a:gd name="connsiteX1488" fmla="*/ 945510 w 1427705"/>
                    <a:gd name="connsiteY1488" fmla="*/ 510283 h 1317229"/>
                    <a:gd name="connsiteX1489" fmla="*/ 946178 w 1427705"/>
                    <a:gd name="connsiteY1489" fmla="*/ 510720 h 1317229"/>
                    <a:gd name="connsiteX1490" fmla="*/ 949966 w 1427705"/>
                    <a:gd name="connsiteY1490" fmla="*/ 513792 h 1317229"/>
                    <a:gd name="connsiteX1491" fmla="*/ 953743 w 1427705"/>
                    <a:gd name="connsiteY1491" fmla="*/ 517617 h 1317229"/>
                    <a:gd name="connsiteX1492" fmla="*/ 956256 w 1427705"/>
                    <a:gd name="connsiteY1492" fmla="*/ 518868 h 1317229"/>
                    <a:gd name="connsiteX1493" fmla="*/ 964016 w 1427705"/>
                    <a:gd name="connsiteY1493" fmla="*/ 521770 h 1317229"/>
                    <a:gd name="connsiteX1494" fmla="*/ 987209 w 1427705"/>
                    <a:gd name="connsiteY1494" fmla="*/ 540021 h 1317229"/>
                    <a:gd name="connsiteX1495" fmla="*/ 1001173 w 1427705"/>
                    <a:gd name="connsiteY1495" fmla="*/ 546626 h 1317229"/>
                    <a:gd name="connsiteX1496" fmla="*/ 1011592 w 1427705"/>
                    <a:gd name="connsiteY1496" fmla="*/ 556571 h 1317229"/>
                    <a:gd name="connsiteX1497" fmla="*/ 1017542 w 1427705"/>
                    <a:gd name="connsiteY1497" fmla="*/ 558369 h 1317229"/>
                    <a:gd name="connsiteX1498" fmla="*/ 1032939 w 1427705"/>
                    <a:gd name="connsiteY1498" fmla="*/ 556657 h 1317229"/>
                    <a:gd name="connsiteX1499" fmla="*/ 1057128 w 1427705"/>
                    <a:gd name="connsiteY1499" fmla="*/ 550646 h 1317229"/>
                    <a:gd name="connsiteX1500" fmla="*/ 1063029 w 1427705"/>
                    <a:gd name="connsiteY1500" fmla="*/ 552892 h 1317229"/>
                    <a:gd name="connsiteX1501" fmla="*/ 1064669 w 1427705"/>
                    <a:gd name="connsiteY1501" fmla="*/ 554131 h 1317229"/>
                    <a:gd name="connsiteX1502" fmla="*/ 1067935 w 1427705"/>
                    <a:gd name="connsiteY1502" fmla="*/ 559207 h 1317229"/>
                    <a:gd name="connsiteX1503" fmla="*/ 1070534 w 1427705"/>
                    <a:gd name="connsiteY1503" fmla="*/ 567792 h 1317229"/>
                    <a:gd name="connsiteX1504" fmla="*/ 1072452 w 1427705"/>
                    <a:gd name="connsiteY1504" fmla="*/ 583395 h 1317229"/>
                    <a:gd name="connsiteX1505" fmla="*/ 1074201 w 1427705"/>
                    <a:gd name="connsiteY1505" fmla="*/ 589977 h 1317229"/>
                    <a:gd name="connsiteX1506" fmla="*/ 1077127 w 1427705"/>
                    <a:gd name="connsiteY1506" fmla="*/ 593195 h 1317229"/>
                    <a:gd name="connsiteX1507" fmla="*/ 1099167 w 1427705"/>
                    <a:gd name="connsiteY1507" fmla="*/ 594627 h 1317229"/>
                    <a:gd name="connsiteX1508" fmla="*/ 1104570 w 1427705"/>
                    <a:gd name="connsiteY1508" fmla="*/ 596206 h 1317229"/>
                    <a:gd name="connsiteX1509" fmla="*/ 1113738 w 1427705"/>
                    <a:gd name="connsiteY1509" fmla="*/ 601112 h 1317229"/>
                    <a:gd name="connsiteX1510" fmla="*/ 1124813 w 1427705"/>
                    <a:gd name="connsiteY1510" fmla="*/ 603638 h 1317229"/>
                    <a:gd name="connsiteX1511" fmla="*/ 1147070 w 1427705"/>
                    <a:gd name="connsiteY1511" fmla="*/ 603383 h 1317229"/>
                    <a:gd name="connsiteX1512" fmla="*/ 1155048 w 1427705"/>
                    <a:gd name="connsiteY1512" fmla="*/ 606224 h 1317229"/>
                    <a:gd name="connsiteX1513" fmla="*/ 1165188 w 1427705"/>
                    <a:gd name="connsiteY1513" fmla="*/ 614250 h 1317229"/>
                    <a:gd name="connsiteX1514" fmla="*/ 1167859 w 1427705"/>
                    <a:gd name="connsiteY1514" fmla="*/ 617068 h 1317229"/>
                    <a:gd name="connsiteX1515" fmla="*/ 1170434 w 1427705"/>
                    <a:gd name="connsiteY1515" fmla="*/ 621548 h 1317229"/>
                    <a:gd name="connsiteX1516" fmla="*/ 1171757 w 1427705"/>
                    <a:gd name="connsiteY1516" fmla="*/ 624669 h 1317229"/>
                    <a:gd name="connsiteX1517" fmla="*/ 1172328 w 1427705"/>
                    <a:gd name="connsiteY1517" fmla="*/ 625155 h 1317229"/>
                    <a:gd name="connsiteX1518" fmla="*/ 1176117 w 1427705"/>
                    <a:gd name="connsiteY1518" fmla="*/ 626418 h 1317229"/>
                    <a:gd name="connsiteX1519" fmla="*/ 1178436 w 1427705"/>
                    <a:gd name="connsiteY1519" fmla="*/ 626175 h 1317229"/>
                    <a:gd name="connsiteX1520" fmla="*/ 1181593 w 1427705"/>
                    <a:gd name="connsiteY1520" fmla="*/ 624475 h 1317229"/>
                    <a:gd name="connsiteX1521" fmla="*/ 1183997 w 1427705"/>
                    <a:gd name="connsiteY1521" fmla="*/ 621925 h 1317229"/>
                    <a:gd name="connsiteX1522" fmla="*/ 1187725 w 1427705"/>
                    <a:gd name="connsiteY1522" fmla="*/ 616533 h 1317229"/>
                    <a:gd name="connsiteX1523" fmla="*/ 1188733 w 1427705"/>
                    <a:gd name="connsiteY1523" fmla="*/ 614335 h 1317229"/>
                    <a:gd name="connsiteX1524" fmla="*/ 1186001 w 1427705"/>
                    <a:gd name="connsiteY1524" fmla="*/ 610766 h 1317229"/>
                    <a:gd name="connsiteX1525" fmla="*/ 1185539 w 1427705"/>
                    <a:gd name="connsiteY1525" fmla="*/ 607681 h 1317229"/>
                    <a:gd name="connsiteX1526" fmla="*/ 1185952 w 1427705"/>
                    <a:gd name="connsiteY1526" fmla="*/ 604257 h 1317229"/>
                    <a:gd name="connsiteX1527" fmla="*/ 1187652 w 1427705"/>
                    <a:gd name="connsiteY1527" fmla="*/ 600310 h 1317229"/>
                    <a:gd name="connsiteX1528" fmla="*/ 1193760 w 1427705"/>
                    <a:gd name="connsiteY1528" fmla="*/ 598234 h 1317229"/>
                    <a:gd name="connsiteX1529" fmla="*/ 1212399 w 1427705"/>
                    <a:gd name="connsiteY1529" fmla="*/ 598210 h 1317229"/>
                    <a:gd name="connsiteX1530" fmla="*/ 1233322 w 1427705"/>
                    <a:gd name="connsiteY1530" fmla="*/ 600905 h 1317229"/>
                    <a:gd name="connsiteX1531" fmla="*/ 1247614 w 1427705"/>
                    <a:gd name="connsiteY1531" fmla="*/ 605969 h 1317229"/>
                    <a:gd name="connsiteX1532" fmla="*/ 1274001 w 1427705"/>
                    <a:gd name="connsiteY1532" fmla="*/ 619533 h 1317229"/>
                    <a:gd name="connsiteX1533" fmla="*/ 1282889 w 1427705"/>
                    <a:gd name="connsiteY1533" fmla="*/ 622617 h 1317229"/>
                    <a:gd name="connsiteX1534" fmla="*/ 1285536 w 1427705"/>
                    <a:gd name="connsiteY1534" fmla="*/ 625276 h 1317229"/>
                    <a:gd name="connsiteX1535" fmla="*/ 1285196 w 1427705"/>
                    <a:gd name="connsiteY1535" fmla="*/ 626721 h 1317229"/>
                    <a:gd name="connsiteX1536" fmla="*/ 1288123 w 1427705"/>
                    <a:gd name="connsiteY1536" fmla="*/ 626406 h 1317229"/>
                    <a:gd name="connsiteX1537" fmla="*/ 1291098 w 1427705"/>
                    <a:gd name="connsiteY1537" fmla="*/ 627316 h 1317229"/>
                    <a:gd name="connsiteX1538" fmla="*/ 1292179 w 1427705"/>
                    <a:gd name="connsiteY1538" fmla="*/ 629126 h 1317229"/>
                    <a:gd name="connsiteX1539" fmla="*/ 1292628 w 1427705"/>
                    <a:gd name="connsiteY1539" fmla="*/ 630911 h 1317229"/>
                    <a:gd name="connsiteX1540" fmla="*/ 1292519 w 1427705"/>
                    <a:gd name="connsiteY1540" fmla="*/ 632975 h 1317229"/>
                    <a:gd name="connsiteX1541" fmla="*/ 1291110 w 1427705"/>
                    <a:gd name="connsiteY1541" fmla="*/ 638342 h 1317229"/>
                    <a:gd name="connsiteX1542" fmla="*/ 1291244 w 1427705"/>
                    <a:gd name="connsiteY1542" fmla="*/ 638925 h 1317229"/>
                    <a:gd name="connsiteX1543" fmla="*/ 1291766 w 1427705"/>
                    <a:gd name="connsiteY1543" fmla="*/ 639301 h 1317229"/>
                    <a:gd name="connsiteX1544" fmla="*/ 1293842 w 1427705"/>
                    <a:gd name="connsiteY1544" fmla="*/ 641074 h 1317229"/>
                    <a:gd name="connsiteX1545" fmla="*/ 1294947 w 1427705"/>
                    <a:gd name="connsiteY1545" fmla="*/ 641706 h 1317229"/>
                    <a:gd name="connsiteX1546" fmla="*/ 1297412 w 1427705"/>
                    <a:gd name="connsiteY1546" fmla="*/ 643624 h 1317229"/>
                    <a:gd name="connsiteX1547" fmla="*/ 1298857 w 1427705"/>
                    <a:gd name="connsiteY1547" fmla="*/ 645239 h 1317229"/>
                    <a:gd name="connsiteX1548" fmla="*/ 1301954 w 1427705"/>
                    <a:gd name="connsiteY1548" fmla="*/ 650412 h 1317229"/>
                    <a:gd name="connsiteX1549" fmla="*/ 1301954 w 1427705"/>
                    <a:gd name="connsiteY1549" fmla="*/ 654529 h 1317229"/>
                    <a:gd name="connsiteX1550" fmla="*/ 1301262 w 1427705"/>
                    <a:gd name="connsiteY1550" fmla="*/ 658463 h 1317229"/>
                    <a:gd name="connsiteX1551" fmla="*/ 1301189 w 1427705"/>
                    <a:gd name="connsiteY1551" fmla="*/ 663029 h 1317229"/>
                    <a:gd name="connsiteX1552" fmla="*/ 1301662 w 1427705"/>
                    <a:gd name="connsiteY1552" fmla="*/ 664243 h 1317229"/>
                    <a:gd name="connsiteX1553" fmla="*/ 1302561 w 1427705"/>
                    <a:gd name="connsiteY1553" fmla="*/ 665421 h 1317229"/>
                    <a:gd name="connsiteX1554" fmla="*/ 1306264 w 1427705"/>
                    <a:gd name="connsiteY1554" fmla="*/ 667849 h 1317229"/>
                    <a:gd name="connsiteX1555" fmla="*/ 1308220 w 1427705"/>
                    <a:gd name="connsiteY1555" fmla="*/ 669987 h 1317229"/>
                    <a:gd name="connsiteX1556" fmla="*/ 1311085 w 1427705"/>
                    <a:gd name="connsiteY1556" fmla="*/ 676592 h 1317229"/>
                    <a:gd name="connsiteX1557" fmla="*/ 1311996 w 1427705"/>
                    <a:gd name="connsiteY1557" fmla="*/ 677952 h 1317229"/>
                    <a:gd name="connsiteX1558" fmla="*/ 1314546 w 1427705"/>
                    <a:gd name="connsiteY1558" fmla="*/ 679701 h 1317229"/>
                    <a:gd name="connsiteX1559" fmla="*/ 1316574 w 1427705"/>
                    <a:gd name="connsiteY1559" fmla="*/ 682251 h 1317229"/>
                    <a:gd name="connsiteX1560" fmla="*/ 1317922 w 1427705"/>
                    <a:gd name="connsiteY1560" fmla="*/ 686380 h 1317229"/>
                    <a:gd name="connsiteX1561" fmla="*/ 1318189 w 1427705"/>
                    <a:gd name="connsiteY1561" fmla="*/ 689767 h 1317229"/>
                    <a:gd name="connsiteX1562" fmla="*/ 1317849 w 1427705"/>
                    <a:gd name="connsiteY1562" fmla="*/ 695875 h 1317229"/>
                    <a:gd name="connsiteX1563" fmla="*/ 1323617 w 1427705"/>
                    <a:gd name="connsiteY1563" fmla="*/ 707108 h 1317229"/>
                    <a:gd name="connsiteX1564" fmla="*/ 1325074 w 1427705"/>
                    <a:gd name="connsiteY1564" fmla="*/ 709233 h 1317229"/>
                    <a:gd name="connsiteX1565" fmla="*/ 1327478 w 1427705"/>
                    <a:gd name="connsiteY1565" fmla="*/ 710617 h 1317229"/>
                    <a:gd name="connsiteX1566" fmla="*/ 1329190 w 1427705"/>
                    <a:gd name="connsiteY1566" fmla="*/ 711151 h 1317229"/>
                    <a:gd name="connsiteX1567" fmla="*/ 1331910 w 1427705"/>
                    <a:gd name="connsiteY1567" fmla="*/ 712560 h 1317229"/>
                    <a:gd name="connsiteX1568" fmla="*/ 1334897 w 1427705"/>
                    <a:gd name="connsiteY1568" fmla="*/ 715523 h 1317229"/>
                    <a:gd name="connsiteX1569" fmla="*/ 1338553 w 1427705"/>
                    <a:gd name="connsiteY1569" fmla="*/ 717988 h 1317229"/>
                    <a:gd name="connsiteX1570" fmla="*/ 1338929 w 1427705"/>
                    <a:gd name="connsiteY1570" fmla="*/ 717733 h 1317229"/>
                    <a:gd name="connsiteX1571" fmla="*/ 1339973 w 1427705"/>
                    <a:gd name="connsiteY1571" fmla="*/ 716785 h 1317229"/>
                    <a:gd name="connsiteX1572" fmla="*/ 1341576 w 1427705"/>
                    <a:gd name="connsiteY1572" fmla="*/ 715705 h 1317229"/>
                    <a:gd name="connsiteX1573" fmla="*/ 1343798 w 1427705"/>
                    <a:gd name="connsiteY1573" fmla="*/ 714721 h 1317229"/>
                    <a:gd name="connsiteX1574" fmla="*/ 1346190 w 1427705"/>
                    <a:gd name="connsiteY1574" fmla="*/ 714187 h 1317229"/>
                    <a:gd name="connsiteX1575" fmla="*/ 1348692 w 1427705"/>
                    <a:gd name="connsiteY1575" fmla="*/ 714090 h 1317229"/>
                    <a:gd name="connsiteX1576" fmla="*/ 1350878 w 1427705"/>
                    <a:gd name="connsiteY1576" fmla="*/ 714381 h 1317229"/>
                    <a:gd name="connsiteX1577" fmla="*/ 1353185 w 1427705"/>
                    <a:gd name="connsiteY1577" fmla="*/ 715170 h 1317229"/>
                    <a:gd name="connsiteX1578" fmla="*/ 1355638 w 1427705"/>
                    <a:gd name="connsiteY1578" fmla="*/ 717065 h 1317229"/>
                    <a:gd name="connsiteX1579" fmla="*/ 1357508 w 1427705"/>
                    <a:gd name="connsiteY1579" fmla="*/ 719967 h 1317229"/>
                    <a:gd name="connsiteX1580" fmla="*/ 1358880 w 1427705"/>
                    <a:gd name="connsiteY1580" fmla="*/ 724958 h 1317229"/>
                    <a:gd name="connsiteX1581" fmla="*/ 1359183 w 1427705"/>
                    <a:gd name="connsiteY1581" fmla="*/ 728928 h 1317229"/>
                    <a:gd name="connsiteX1582" fmla="*/ 1359135 w 1427705"/>
                    <a:gd name="connsiteY1582" fmla="*/ 732134 h 1317229"/>
                    <a:gd name="connsiteX1583" fmla="*/ 1357811 w 1427705"/>
                    <a:gd name="connsiteY1583" fmla="*/ 742516 h 1317229"/>
                    <a:gd name="connsiteX1584" fmla="*/ 1358722 w 1427705"/>
                    <a:gd name="connsiteY1584" fmla="*/ 742771 h 1317229"/>
                    <a:gd name="connsiteX1585" fmla="*/ 1360956 w 1427705"/>
                    <a:gd name="connsiteY1585" fmla="*/ 742334 h 1317229"/>
                    <a:gd name="connsiteX1586" fmla="*/ 1362984 w 1427705"/>
                    <a:gd name="connsiteY1586" fmla="*/ 742371 h 1317229"/>
                    <a:gd name="connsiteX1587" fmla="*/ 1365838 w 1427705"/>
                    <a:gd name="connsiteY1587" fmla="*/ 743245 h 1317229"/>
                    <a:gd name="connsiteX1588" fmla="*/ 1368873 w 1427705"/>
                    <a:gd name="connsiteY1588" fmla="*/ 745151 h 1317229"/>
                    <a:gd name="connsiteX1589" fmla="*/ 1383348 w 1427705"/>
                    <a:gd name="connsiteY1589" fmla="*/ 758958 h 1317229"/>
                    <a:gd name="connsiteX1590" fmla="*/ 1384926 w 1427705"/>
                    <a:gd name="connsiteY1590" fmla="*/ 760877 h 1317229"/>
                    <a:gd name="connsiteX1591" fmla="*/ 1386056 w 1427705"/>
                    <a:gd name="connsiteY1591" fmla="*/ 762880 h 1317229"/>
                    <a:gd name="connsiteX1592" fmla="*/ 1386651 w 1427705"/>
                    <a:gd name="connsiteY1592" fmla="*/ 765649 h 1317229"/>
                    <a:gd name="connsiteX1593" fmla="*/ 1386493 w 1427705"/>
                    <a:gd name="connsiteY1593" fmla="*/ 768405 h 1317229"/>
                    <a:gd name="connsiteX1594" fmla="*/ 1382571 w 1427705"/>
                    <a:gd name="connsiteY1594" fmla="*/ 771380 h 1317229"/>
                    <a:gd name="connsiteX1595" fmla="*/ 1352796 w 1427705"/>
                    <a:gd name="connsiteY1595" fmla="*/ 771599 h 1317229"/>
                    <a:gd name="connsiteX1596" fmla="*/ 1345243 w 1427705"/>
                    <a:gd name="connsiteY1596" fmla="*/ 770457 h 1317229"/>
                    <a:gd name="connsiteX1597" fmla="*/ 1339755 w 1427705"/>
                    <a:gd name="connsiteY1597" fmla="*/ 768806 h 1317229"/>
                    <a:gd name="connsiteX1598" fmla="*/ 1338650 w 1427705"/>
                    <a:gd name="connsiteY1598" fmla="*/ 768903 h 1317229"/>
                    <a:gd name="connsiteX1599" fmla="*/ 1336294 w 1427705"/>
                    <a:gd name="connsiteY1599" fmla="*/ 769559 h 1317229"/>
                    <a:gd name="connsiteX1600" fmla="*/ 1329700 w 1427705"/>
                    <a:gd name="connsiteY1600" fmla="*/ 769510 h 1317229"/>
                    <a:gd name="connsiteX1601" fmla="*/ 1328802 w 1427705"/>
                    <a:gd name="connsiteY1601" fmla="*/ 770154 h 1317229"/>
                    <a:gd name="connsiteX1602" fmla="*/ 1328304 w 1427705"/>
                    <a:gd name="connsiteY1602" fmla="*/ 771028 h 1317229"/>
                    <a:gd name="connsiteX1603" fmla="*/ 1327612 w 1427705"/>
                    <a:gd name="connsiteY1603" fmla="*/ 772971 h 1317229"/>
                    <a:gd name="connsiteX1604" fmla="*/ 1326082 w 1427705"/>
                    <a:gd name="connsiteY1604" fmla="*/ 779139 h 1317229"/>
                    <a:gd name="connsiteX1605" fmla="*/ 1325001 w 1427705"/>
                    <a:gd name="connsiteY1605" fmla="*/ 781665 h 1317229"/>
                    <a:gd name="connsiteX1606" fmla="*/ 1323605 w 1427705"/>
                    <a:gd name="connsiteY1606" fmla="*/ 783985 h 1317229"/>
                    <a:gd name="connsiteX1607" fmla="*/ 1322220 w 1427705"/>
                    <a:gd name="connsiteY1607" fmla="*/ 785745 h 1317229"/>
                    <a:gd name="connsiteX1608" fmla="*/ 1319877 w 1427705"/>
                    <a:gd name="connsiteY1608" fmla="*/ 787409 h 1317229"/>
                    <a:gd name="connsiteX1609" fmla="*/ 1317314 w 1427705"/>
                    <a:gd name="connsiteY1609" fmla="*/ 788441 h 1317229"/>
                    <a:gd name="connsiteX1610" fmla="*/ 1309324 w 1427705"/>
                    <a:gd name="connsiteY1610" fmla="*/ 790214 h 1317229"/>
                    <a:gd name="connsiteX1611" fmla="*/ 1306726 w 1427705"/>
                    <a:gd name="connsiteY1611" fmla="*/ 794634 h 1317229"/>
                    <a:gd name="connsiteX1612" fmla="*/ 1305706 w 1427705"/>
                    <a:gd name="connsiteY1612" fmla="*/ 795545 h 1317229"/>
                    <a:gd name="connsiteX1613" fmla="*/ 1304674 w 1427705"/>
                    <a:gd name="connsiteY1613" fmla="*/ 795994 h 1317229"/>
                    <a:gd name="connsiteX1614" fmla="*/ 1301990 w 1427705"/>
                    <a:gd name="connsiteY1614" fmla="*/ 796540 h 1317229"/>
                    <a:gd name="connsiteX1615" fmla="*/ 1301116 w 1427705"/>
                    <a:gd name="connsiteY1615" fmla="*/ 796273 h 1317229"/>
                    <a:gd name="connsiteX1616" fmla="*/ 1299780 w 1427705"/>
                    <a:gd name="connsiteY1616" fmla="*/ 795338 h 1317229"/>
                    <a:gd name="connsiteX1617" fmla="*/ 1299392 w 1427705"/>
                    <a:gd name="connsiteY1617" fmla="*/ 794865 h 1317229"/>
                    <a:gd name="connsiteX1618" fmla="*/ 1298626 w 1427705"/>
                    <a:gd name="connsiteY1618" fmla="*/ 793553 h 1317229"/>
                    <a:gd name="connsiteX1619" fmla="*/ 1298226 w 1427705"/>
                    <a:gd name="connsiteY1619" fmla="*/ 792205 h 1317229"/>
                    <a:gd name="connsiteX1620" fmla="*/ 1297789 w 1427705"/>
                    <a:gd name="connsiteY1620" fmla="*/ 790299 h 1317229"/>
                    <a:gd name="connsiteX1621" fmla="*/ 1297643 w 1427705"/>
                    <a:gd name="connsiteY1621" fmla="*/ 791088 h 1317229"/>
                    <a:gd name="connsiteX1622" fmla="*/ 1297752 w 1427705"/>
                    <a:gd name="connsiteY1622" fmla="*/ 796637 h 1317229"/>
                    <a:gd name="connsiteX1623" fmla="*/ 1297461 w 1427705"/>
                    <a:gd name="connsiteY1623" fmla="*/ 800171 h 1317229"/>
                    <a:gd name="connsiteX1624" fmla="*/ 1297606 w 1427705"/>
                    <a:gd name="connsiteY1624" fmla="*/ 800960 h 1317229"/>
                    <a:gd name="connsiteX1625" fmla="*/ 1298068 w 1427705"/>
                    <a:gd name="connsiteY1625" fmla="*/ 801701 h 1317229"/>
                    <a:gd name="connsiteX1626" fmla="*/ 1300205 w 1427705"/>
                    <a:gd name="connsiteY1626" fmla="*/ 802879 h 1317229"/>
                    <a:gd name="connsiteX1627" fmla="*/ 1302002 w 1427705"/>
                    <a:gd name="connsiteY1627" fmla="*/ 803170 h 1317229"/>
                    <a:gd name="connsiteX1628" fmla="*/ 1304103 w 1427705"/>
                    <a:gd name="connsiteY1628" fmla="*/ 803255 h 1317229"/>
                    <a:gd name="connsiteX1629" fmla="*/ 1305779 w 1427705"/>
                    <a:gd name="connsiteY1629" fmla="*/ 803000 h 1317229"/>
                    <a:gd name="connsiteX1630" fmla="*/ 1307090 w 1427705"/>
                    <a:gd name="connsiteY1630" fmla="*/ 802539 h 1317229"/>
                    <a:gd name="connsiteX1631" fmla="*/ 1307794 w 1427705"/>
                    <a:gd name="connsiteY1631" fmla="*/ 802053 h 1317229"/>
                    <a:gd name="connsiteX1632" fmla="*/ 1308984 w 1427705"/>
                    <a:gd name="connsiteY1632" fmla="*/ 800827 h 1317229"/>
                    <a:gd name="connsiteX1633" fmla="*/ 1309434 w 1427705"/>
                    <a:gd name="connsiteY1633" fmla="*/ 800450 h 1317229"/>
                    <a:gd name="connsiteX1634" fmla="*/ 1310794 w 1427705"/>
                    <a:gd name="connsiteY1634" fmla="*/ 799625 h 1317229"/>
                    <a:gd name="connsiteX1635" fmla="*/ 1311899 w 1427705"/>
                    <a:gd name="connsiteY1635" fmla="*/ 799272 h 1317229"/>
                    <a:gd name="connsiteX1636" fmla="*/ 1313987 w 1427705"/>
                    <a:gd name="connsiteY1636" fmla="*/ 799430 h 1317229"/>
                    <a:gd name="connsiteX1637" fmla="*/ 1315894 w 1427705"/>
                    <a:gd name="connsiteY1637" fmla="*/ 800280 h 1317229"/>
                    <a:gd name="connsiteX1638" fmla="*/ 1319051 w 1427705"/>
                    <a:gd name="connsiteY1638" fmla="*/ 802551 h 1317229"/>
                    <a:gd name="connsiteX1639" fmla="*/ 1324418 w 1427705"/>
                    <a:gd name="connsiteY1639" fmla="*/ 807335 h 1317229"/>
                    <a:gd name="connsiteX1640" fmla="*/ 1327466 w 1427705"/>
                    <a:gd name="connsiteY1640" fmla="*/ 809120 h 1317229"/>
                    <a:gd name="connsiteX1641" fmla="*/ 1330429 w 1427705"/>
                    <a:gd name="connsiteY1641" fmla="*/ 810456 h 1317229"/>
                    <a:gd name="connsiteX1642" fmla="*/ 1343677 w 1427705"/>
                    <a:gd name="connsiteY1642" fmla="*/ 813152 h 1317229"/>
                    <a:gd name="connsiteX1643" fmla="*/ 1345765 w 1427705"/>
                    <a:gd name="connsiteY1643" fmla="*/ 814160 h 1317229"/>
                    <a:gd name="connsiteX1644" fmla="*/ 1346785 w 1427705"/>
                    <a:gd name="connsiteY1644" fmla="*/ 814742 h 1317229"/>
                    <a:gd name="connsiteX1645" fmla="*/ 1347563 w 1427705"/>
                    <a:gd name="connsiteY1645" fmla="*/ 817110 h 1317229"/>
                    <a:gd name="connsiteX1646" fmla="*/ 1347648 w 1427705"/>
                    <a:gd name="connsiteY1646" fmla="*/ 820450 h 1317229"/>
                    <a:gd name="connsiteX1647" fmla="*/ 1346093 w 1427705"/>
                    <a:gd name="connsiteY1647" fmla="*/ 824603 h 1317229"/>
                    <a:gd name="connsiteX1648" fmla="*/ 1343215 w 1427705"/>
                    <a:gd name="connsiteY1648" fmla="*/ 828950 h 1317229"/>
                    <a:gd name="connsiteX1649" fmla="*/ 1343070 w 1427705"/>
                    <a:gd name="connsiteY1649" fmla="*/ 829897 h 1317229"/>
                    <a:gd name="connsiteX1650" fmla="*/ 1343373 w 1427705"/>
                    <a:gd name="connsiteY1650" fmla="*/ 830856 h 1317229"/>
                    <a:gd name="connsiteX1651" fmla="*/ 1344612 w 1427705"/>
                    <a:gd name="connsiteY1651" fmla="*/ 833188 h 1317229"/>
                    <a:gd name="connsiteX1652" fmla="*/ 1347939 w 1427705"/>
                    <a:gd name="connsiteY1652" fmla="*/ 837584 h 1317229"/>
                    <a:gd name="connsiteX1653" fmla="*/ 1347854 w 1427705"/>
                    <a:gd name="connsiteY1653" fmla="*/ 839162 h 1317229"/>
                    <a:gd name="connsiteX1654" fmla="*/ 1347611 w 1427705"/>
                    <a:gd name="connsiteY1654" fmla="*/ 840644 h 1317229"/>
                    <a:gd name="connsiteX1655" fmla="*/ 1347235 w 1427705"/>
                    <a:gd name="connsiteY1655" fmla="*/ 841603 h 1317229"/>
                    <a:gd name="connsiteX1656" fmla="*/ 1346093 w 1427705"/>
                    <a:gd name="connsiteY1656" fmla="*/ 842744 h 1317229"/>
                    <a:gd name="connsiteX1657" fmla="*/ 1341734 w 1427705"/>
                    <a:gd name="connsiteY1657" fmla="*/ 845318 h 1317229"/>
                    <a:gd name="connsiteX1658" fmla="*/ 1336768 w 1427705"/>
                    <a:gd name="connsiteY1658" fmla="*/ 844784 h 1317229"/>
                    <a:gd name="connsiteX1659" fmla="*/ 1334679 w 1427705"/>
                    <a:gd name="connsiteY1659" fmla="*/ 844213 h 1317229"/>
                    <a:gd name="connsiteX1660" fmla="*/ 1333149 w 1427705"/>
                    <a:gd name="connsiteY1660" fmla="*/ 843983 h 1317229"/>
                    <a:gd name="connsiteX1661" fmla="*/ 1332469 w 1427705"/>
                    <a:gd name="connsiteY1661" fmla="*/ 844080 h 1317229"/>
                    <a:gd name="connsiteX1662" fmla="*/ 1332032 w 1427705"/>
                    <a:gd name="connsiteY1662" fmla="*/ 844347 h 1317229"/>
                    <a:gd name="connsiteX1663" fmla="*/ 1329700 w 1427705"/>
                    <a:gd name="connsiteY1663" fmla="*/ 846399 h 1317229"/>
                    <a:gd name="connsiteX1664" fmla="*/ 1328122 w 1427705"/>
                    <a:gd name="connsiteY1664" fmla="*/ 847383 h 1317229"/>
                    <a:gd name="connsiteX1665" fmla="*/ 1325620 w 1427705"/>
                    <a:gd name="connsiteY1665" fmla="*/ 848184 h 1317229"/>
                    <a:gd name="connsiteX1666" fmla="*/ 1314315 w 1427705"/>
                    <a:gd name="connsiteY1666" fmla="*/ 849144 h 1317229"/>
                    <a:gd name="connsiteX1667" fmla="*/ 1312008 w 1427705"/>
                    <a:gd name="connsiteY1667" fmla="*/ 849848 h 1317229"/>
                    <a:gd name="connsiteX1668" fmla="*/ 1311365 w 1427705"/>
                    <a:gd name="connsiteY1668" fmla="*/ 850249 h 1317229"/>
                    <a:gd name="connsiteX1669" fmla="*/ 1310490 w 1427705"/>
                    <a:gd name="connsiteY1669" fmla="*/ 851098 h 1317229"/>
                    <a:gd name="connsiteX1670" fmla="*/ 1310126 w 1427705"/>
                    <a:gd name="connsiteY1670" fmla="*/ 851791 h 1317229"/>
                    <a:gd name="connsiteX1671" fmla="*/ 1309762 w 1427705"/>
                    <a:gd name="connsiteY1671" fmla="*/ 852774 h 1317229"/>
                    <a:gd name="connsiteX1672" fmla="*/ 1310126 w 1427705"/>
                    <a:gd name="connsiteY1672" fmla="*/ 853746 h 1317229"/>
                    <a:gd name="connsiteX1673" fmla="*/ 1311474 w 1427705"/>
                    <a:gd name="connsiteY1673" fmla="*/ 855057 h 1317229"/>
                    <a:gd name="connsiteX1674" fmla="*/ 1315627 w 1427705"/>
                    <a:gd name="connsiteY1674" fmla="*/ 857899 h 1317229"/>
                    <a:gd name="connsiteX1675" fmla="*/ 1319440 w 1427705"/>
                    <a:gd name="connsiteY1675" fmla="*/ 863059 h 1317229"/>
                    <a:gd name="connsiteX1676" fmla="*/ 1324163 w 1427705"/>
                    <a:gd name="connsiteY1676" fmla="*/ 874170 h 1317229"/>
                    <a:gd name="connsiteX1677" fmla="*/ 1324649 w 1427705"/>
                    <a:gd name="connsiteY1677" fmla="*/ 874352 h 1317229"/>
                    <a:gd name="connsiteX1678" fmla="*/ 1327162 w 1427705"/>
                    <a:gd name="connsiteY1678" fmla="*/ 875943 h 1317229"/>
                    <a:gd name="connsiteX1679" fmla="*/ 1328025 w 1427705"/>
                    <a:gd name="connsiteY1679" fmla="*/ 876004 h 1317229"/>
                    <a:gd name="connsiteX1680" fmla="*/ 1331085 w 1427705"/>
                    <a:gd name="connsiteY1680" fmla="*/ 877072 h 1317229"/>
                    <a:gd name="connsiteX1681" fmla="*/ 1335699 w 1427705"/>
                    <a:gd name="connsiteY1681" fmla="*/ 880011 h 1317229"/>
                    <a:gd name="connsiteX1682" fmla="*/ 1336974 w 1427705"/>
                    <a:gd name="connsiteY1682" fmla="*/ 880217 h 1317229"/>
                    <a:gd name="connsiteX1683" fmla="*/ 1339330 w 1427705"/>
                    <a:gd name="connsiteY1683" fmla="*/ 881347 h 1317229"/>
                    <a:gd name="connsiteX1684" fmla="*/ 1342159 w 1427705"/>
                    <a:gd name="connsiteY1684" fmla="*/ 884285 h 1317229"/>
                    <a:gd name="connsiteX1685" fmla="*/ 1343968 w 1427705"/>
                    <a:gd name="connsiteY1685" fmla="*/ 887236 h 1317229"/>
                    <a:gd name="connsiteX1686" fmla="*/ 1345049 w 1427705"/>
                    <a:gd name="connsiteY1686" fmla="*/ 890260 h 1317229"/>
                    <a:gd name="connsiteX1687" fmla="*/ 1345268 w 1427705"/>
                    <a:gd name="connsiteY1687" fmla="*/ 890320 h 1317229"/>
                    <a:gd name="connsiteX1688" fmla="*/ 1347332 w 1427705"/>
                    <a:gd name="connsiteY1688" fmla="*/ 890344 h 1317229"/>
                    <a:gd name="connsiteX1689" fmla="*/ 1350562 w 1427705"/>
                    <a:gd name="connsiteY1689" fmla="*/ 891923 h 1317229"/>
                    <a:gd name="connsiteX1690" fmla="*/ 1351934 w 1427705"/>
                    <a:gd name="connsiteY1690" fmla="*/ 894473 h 1317229"/>
                    <a:gd name="connsiteX1691" fmla="*/ 1353877 w 1427705"/>
                    <a:gd name="connsiteY1691" fmla="*/ 901674 h 1317229"/>
                    <a:gd name="connsiteX1692" fmla="*/ 1354739 w 1427705"/>
                    <a:gd name="connsiteY1692" fmla="*/ 903240 h 1317229"/>
                    <a:gd name="connsiteX1693" fmla="*/ 1355480 w 1427705"/>
                    <a:gd name="connsiteY1693" fmla="*/ 904321 h 1317229"/>
                    <a:gd name="connsiteX1694" fmla="*/ 1357617 w 1427705"/>
                    <a:gd name="connsiteY1694" fmla="*/ 906519 h 1317229"/>
                    <a:gd name="connsiteX1695" fmla="*/ 1360604 w 1427705"/>
                    <a:gd name="connsiteY1695" fmla="*/ 908656 h 1317229"/>
                    <a:gd name="connsiteX1696" fmla="*/ 1362948 w 1427705"/>
                    <a:gd name="connsiteY1696" fmla="*/ 908972 h 1317229"/>
                    <a:gd name="connsiteX1697" fmla="*/ 1365425 w 1427705"/>
                    <a:gd name="connsiteY1697" fmla="*/ 908583 h 1317229"/>
                    <a:gd name="connsiteX1698" fmla="*/ 1371290 w 1427705"/>
                    <a:gd name="connsiteY1698" fmla="*/ 906725 h 1317229"/>
                    <a:gd name="connsiteX1699" fmla="*/ 1373901 w 1427705"/>
                    <a:gd name="connsiteY1699" fmla="*/ 906264 h 1317229"/>
                    <a:gd name="connsiteX1700" fmla="*/ 1380701 w 1427705"/>
                    <a:gd name="connsiteY1700" fmla="*/ 906252 h 1317229"/>
                    <a:gd name="connsiteX1701" fmla="*/ 1383202 w 1427705"/>
                    <a:gd name="connsiteY1701" fmla="*/ 907588 h 1317229"/>
                    <a:gd name="connsiteX1702" fmla="*/ 1386262 w 1427705"/>
                    <a:gd name="connsiteY1702" fmla="*/ 910477 h 1317229"/>
                    <a:gd name="connsiteX1703" fmla="*/ 1388630 w 1427705"/>
                    <a:gd name="connsiteY1703" fmla="*/ 913841 h 1317229"/>
                    <a:gd name="connsiteX1704" fmla="*/ 1389626 w 1427705"/>
                    <a:gd name="connsiteY1704" fmla="*/ 916428 h 1317229"/>
                    <a:gd name="connsiteX1705" fmla="*/ 1390488 w 1427705"/>
                    <a:gd name="connsiteY1705" fmla="*/ 917205 h 1317229"/>
                    <a:gd name="connsiteX1706" fmla="*/ 1396863 w 1427705"/>
                    <a:gd name="connsiteY1706" fmla="*/ 920750 h 1317229"/>
                    <a:gd name="connsiteX1707" fmla="*/ 1398842 w 1427705"/>
                    <a:gd name="connsiteY1707" fmla="*/ 921333 h 1317229"/>
                    <a:gd name="connsiteX1708" fmla="*/ 1403809 w 1427705"/>
                    <a:gd name="connsiteY1708" fmla="*/ 920823 h 1317229"/>
                    <a:gd name="connsiteX1709" fmla="*/ 1407306 w 1427705"/>
                    <a:gd name="connsiteY1709" fmla="*/ 920993 h 1317229"/>
                    <a:gd name="connsiteX1710" fmla="*/ 1410597 w 1427705"/>
                    <a:gd name="connsiteY1710" fmla="*/ 922147 h 1317229"/>
                    <a:gd name="connsiteX1711" fmla="*/ 1425326 w 1427705"/>
                    <a:gd name="connsiteY1711" fmla="*/ 935200 h 1317229"/>
                    <a:gd name="connsiteX1712" fmla="*/ 1427014 w 1427705"/>
                    <a:gd name="connsiteY1712" fmla="*/ 937799 h 1317229"/>
                    <a:gd name="connsiteX1713" fmla="*/ 1427706 w 1427705"/>
                    <a:gd name="connsiteY1713" fmla="*/ 939693 h 1317229"/>
                    <a:gd name="connsiteX1714" fmla="*/ 1427160 w 1427705"/>
                    <a:gd name="connsiteY1714" fmla="*/ 943919 h 1317229"/>
                    <a:gd name="connsiteX1715" fmla="*/ 1425253 w 1427705"/>
                    <a:gd name="connsiteY1715" fmla="*/ 946178 h 1317229"/>
                    <a:gd name="connsiteX1716" fmla="*/ 1425496 w 1427705"/>
                    <a:gd name="connsiteY1716" fmla="*/ 949116 h 1317229"/>
                    <a:gd name="connsiteX1717" fmla="*/ 1423055 w 1427705"/>
                    <a:gd name="connsiteY1717" fmla="*/ 951800 h 1317229"/>
                    <a:gd name="connsiteX1718" fmla="*/ 1420967 w 1427705"/>
                    <a:gd name="connsiteY1718" fmla="*/ 953111 h 1317229"/>
                    <a:gd name="connsiteX1719" fmla="*/ 1413195 w 1427705"/>
                    <a:gd name="connsiteY1719" fmla="*/ 958819 h 1317229"/>
                    <a:gd name="connsiteX1720" fmla="*/ 1411374 w 1427705"/>
                    <a:gd name="connsiteY1720" fmla="*/ 959644 h 1317229"/>
                    <a:gd name="connsiteX1721" fmla="*/ 1408824 w 1427705"/>
                    <a:gd name="connsiteY1721" fmla="*/ 960336 h 1317229"/>
                    <a:gd name="connsiteX1722" fmla="*/ 1403444 w 1427705"/>
                    <a:gd name="connsiteY1722" fmla="*/ 960664 h 1317229"/>
                    <a:gd name="connsiteX1723" fmla="*/ 1400566 w 1427705"/>
                    <a:gd name="connsiteY1723" fmla="*/ 960300 h 1317229"/>
                    <a:gd name="connsiteX1724" fmla="*/ 1398575 w 1427705"/>
                    <a:gd name="connsiteY1724" fmla="*/ 959596 h 1317229"/>
                    <a:gd name="connsiteX1725" fmla="*/ 1395224 w 1427705"/>
                    <a:gd name="connsiteY1725" fmla="*/ 957677 h 1317229"/>
                    <a:gd name="connsiteX1726" fmla="*/ 1391071 w 1427705"/>
                    <a:gd name="connsiteY1726" fmla="*/ 956645 h 1317229"/>
                    <a:gd name="connsiteX1727" fmla="*/ 1386651 w 1427705"/>
                    <a:gd name="connsiteY1727" fmla="*/ 953791 h 1317229"/>
                    <a:gd name="connsiteX1728" fmla="*/ 1380349 w 1427705"/>
                    <a:gd name="connsiteY1728" fmla="*/ 947720 h 1317229"/>
                    <a:gd name="connsiteX1729" fmla="*/ 1379717 w 1427705"/>
                    <a:gd name="connsiteY1729" fmla="*/ 947562 h 1317229"/>
                    <a:gd name="connsiteX1730" fmla="*/ 1377301 w 1427705"/>
                    <a:gd name="connsiteY1730" fmla="*/ 948242 h 1317229"/>
                    <a:gd name="connsiteX1731" fmla="*/ 1374848 w 1427705"/>
                    <a:gd name="connsiteY1731" fmla="*/ 949590 h 1317229"/>
                    <a:gd name="connsiteX1732" fmla="*/ 1371861 w 1427705"/>
                    <a:gd name="connsiteY1732" fmla="*/ 950610 h 1317229"/>
                    <a:gd name="connsiteX1733" fmla="*/ 1371642 w 1427705"/>
                    <a:gd name="connsiteY1733" fmla="*/ 950744 h 1317229"/>
                    <a:gd name="connsiteX1734" fmla="*/ 1371460 w 1427705"/>
                    <a:gd name="connsiteY1734" fmla="*/ 953026 h 1317229"/>
                    <a:gd name="connsiteX1735" fmla="*/ 1373439 w 1427705"/>
                    <a:gd name="connsiteY1735" fmla="*/ 957896 h 1317229"/>
                    <a:gd name="connsiteX1736" fmla="*/ 1373888 w 1427705"/>
                    <a:gd name="connsiteY1736" fmla="*/ 959353 h 1317229"/>
                    <a:gd name="connsiteX1737" fmla="*/ 1374192 w 1427705"/>
                    <a:gd name="connsiteY1737" fmla="*/ 960846 h 1317229"/>
                    <a:gd name="connsiteX1738" fmla="*/ 1374350 w 1427705"/>
                    <a:gd name="connsiteY1738" fmla="*/ 962571 h 1317229"/>
                    <a:gd name="connsiteX1739" fmla="*/ 1374301 w 1427705"/>
                    <a:gd name="connsiteY1739" fmla="*/ 963931 h 1317229"/>
                    <a:gd name="connsiteX1740" fmla="*/ 1373682 w 1427705"/>
                    <a:gd name="connsiteY1740" fmla="*/ 966165 h 1317229"/>
                    <a:gd name="connsiteX1741" fmla="*/ 1373391 w 1427705"/>
                    <a:gd name="connsiteY1741" fmla="*/ 966711 h 1317229"/>
                    <a:gd name="connsiteX1742" fmla="*/ 1372468 w 1427705"/>
                    <a:gd name="connsiteY1742" fmla="*/ 968011 h 1317229"/>
                    <a:gd name="connsiteX1743" fmla="*/ 1371375 w 1427705"/>
                    <a:gd name="connsiteY1743" fmla="*/ 968933 h 1317229"/>
                    <a:gd name="connsiteX1744" fmla="*/ 1369213 w 1427705"/>
                    <a:gd name="connsiteY1744" fmla="*/ 970172 h 1317229"/>
                    <a:gd name="connsiteX1745" fmla="*/ 1365109 w 1427705"/>
                    <a:gd name="connsiteY1745" fmla="*/ 971593 h 1317229"/>
                    <a:gd name="connsiteX1746" fmla="*/ 1362013 w 1427705"/>
                    <a:gd name="connsiteY1746" fmla="*/ 972176 h 1317229"/>
                    <a:gd name="connsiteX1747" fmla="*/ 1358236 w 1427705"/>
                    <a:gd name="connsiteY1747" fmla="*/ 972164 h 1317229"/>
                    <a:gd name="connsiteX1748" fmla="*/ 1356075 w 1427705"/>
                    <a:gd name="connsiteY1748" fmla="*/ 971739 h 1317229"/>
                    <a:gd name="connsiteX1749" fmla="*/ 1354265 w 1427705"/>
                    <a:gd name="connsiteY1749" fmla="*/ 971107 h 1317229"/>
                    <a:gd name="connsiteX1750" fmla="*/ 1353185 w 1427705"/>
                    <a:gd name="connsiteY1750" fmla="*/ 970561 h 1317229"/>
                    <a:gd name="connsiteX1751" fmla="*/ 1350926 w 1427705"/>
                    <a:gd name="connsiteY1751" fmla="*/ 969152 h 1317229"/>
                    <a:gd name="connsiteX1752" fmla="*/ 1349809 w 1427705"/>
                    <a:gd name="connsiteY1752" fmla="*/ 967999 h 1317229"/>
                    <a:gd name="connsiteX1753" fmla="*/ 1348740 w 1427705"/>
                    <a:gd name="connsiteY1753" fmla="*/ 966675 h 1317229"/>
                    <a:gd name="connsiteX1754" fmla="*/ 1348036 w 1427705"/>
                    <a:gd name="connsiteY1754" fmla="*/ 965412 h 1317229"/>
                    <a:gd name="connsiteX1755" fmla="*/ 1347550 w 1427705"/>
                    <a:gd name="connsiteY1755" fmla="*/ 964246 h 1317229"/>
                    <a:gd name="connsiteX1756" fmla="*/ 1347150 w 1427705"/>
                    <a:gd name="connsiteY1756" fmla="*/ 963081 h 1317229"/>
                    <a:gd name="connsiteX1757" fmla="*/ 1346773 w 1427705"/>
                    <a:gd name="connsiteY1757" fmla="*/ 961514 h 1317229"/>
                    <a:gd name="connsiteX1758" fmla="*/ 1346628 w 1427705"/>
                    <a:gd name="connsiteY1758" fmla="*/ 959596 h 1317229"/>
                    <a:gd name="connsiteX1759" fmla="*/ 1346700 w 1427705"/>
                    <a:gd name="connsiteY1759" fmla="*/ 958369 h 1317229"/>
                    <a:gd name="connsiteX1760" fmla="*/ 1347101 w 1427705"/>
                    <a:gd name="connsiteY1760" fmla="*/ 955370 h 1317229"/>
                    <a:gd name="connsiteX1761" fmla="*/ 1347053 w 1427705"/>
                    <a:gd name="connsiteY1761" fmla="*/ 953828 h 1317229"/>
                    <a:gd name="connsiteX1762" fmla="*/ 1343070 w 1427705"/>
                    <a:gd name="connsiteY1762" fmla="*/ 951521 h 1317229"/>
                    <a:gd name="connsiteX1763" fmla="*/ 1337472 w 1427705"/>
                    <a:gd name="connsiteY1763" fmla="*/ 953124 h 1317229"/>
                    <a:gd name="connsiteX1764" fmla="*/ 1322487 w 1427705"/>
                    <a:gd name="connsiteY1764" fmla="*/ 965109 h 1317229"/>
                    <a:gd name="connsiteX1765" fmla="*/ 1312725 w 1427705"/>
                    <a:gd name="connsiteY1765" fmla="*/ 977713 h 1317229"/>
                    <a:gd name="connsiteX1766" fmla="*/ 1308389 w 1427705"/>
                    <a:gd name="connsiteY1766" fmla="*/ 981841 h 1317229"/>
                    <a:gd name="connsiteX1767" fmla="*/ 1296064 w 1427705"/>
                    <a:gd name="connsiteY1767" fmla="*/ 990159 h 1317229"/>
                    <a:gd name="connsiteX1768" fmla="*/ 1294862 w 1427705"/>
                    <a:gd name="connsiteY1768" fmla="*/ 991787 h 1317229"/>
                    <a:gd name="connsiteX1769" fmla="*/ 1294583 w 1427705"/>
                    <a:gd name="connsiteY1769" fmla="*/ 992782 h 1317229"/>
                    <a:gd name="connsiteX1770" fmla="*/ 1294267 w 1427705"/>
                    <a:gd name="connsiteY1770" fmla="*/ 993523 h 1317229"/>
                    <a:gd name="connsiteX1771" fmla="*/ 1290357 w 1427705"/>
                    <a:gd name="connsiteY1771" fmla="*/ 996510 h 1317229"/>
                    <a:gd name="connsiteX1772" fmla="*/ 1283836 w 1427705"/>
                    <a:gd name="connsiteY1772" fmla="*/ 999801 h 1317229"/>
                    <a:gd name="connsiteX1773" fmla="*/ 1276745 w 1427705"/>
                    <a:gd name="connsiteY1773" fmla="*/ 1002229 h 1317229"/>
                    <a:gd name="connsiteX1774" fmla="*/ 1275992 w 1427705"/>
                    <a:gd name="connsiteY1774" fmla="*/ 1003687 h 1317229"/>
                    <a:gd name="connsiteX1775" fmla="*/ 1275081 w 1427705"/>
                    <a:gd name="connsiteY1775" fmla="*/ 1006504 h 1317229"/>
                    <a:gd name="connsiteX1776" fmla="*/ 1269362 w 1427705"/>
                    <a:gd name="connsiteY1776" fmla="*/ 1010924 h 1317229"/>
                    <a:gd name="connsiteX1777" fmla="*/ 1249375 w 1427705"/>
                    <a:gd name="connsiteY1777" fmla="*/ 1022423 h 1317229"/>
                    <a:gd name="connsiteX1778" fmla="*/ 1220365 w 1427705"/>
                    <a:gd name="connsiteY1778" fmla="*/ 1038755 h 1317229"/>
                    <a:gd name="connsiteX1779" fmla="*/ 1214731 w 1427705"/>
                    <a:gd name="connsiteY1779" fmla="*/ 1043078 h 1317229"/>
                    <a:gd name="connsiteX1780" fmla="*/ 1211780 w 1427705"/>
                    <a:gd name="connsiteY1780" fmla="*/ 1044754 h 1317229"/>
                    <a:gd name="connsiteX1781" fmla="*/ 1201447 w 1427705"/>
                    <a:gd name="connsiteY1781" fmla="*/ 1049380 h 1317229"/>
                    <a:gd name="connsiteX1782" fmla="*/ 1195824 w 1427705"/>
                    <a:gd name="connsiteY1782" fmla="*/ 1052890 h 1317229"/>
                    <a:gd name="connsiteX1783" fmla="*/ 1193809 w 1427705"/>
                    <a:gd name="connsiteY1783" fmla="*/ 1054505 h 1317229"/>
                    <a:gd name="connsiteX1784" fmla="*/ 1191344 w 1427705"/>
                    <a:gd name="connsiteY1784" fmla="*/ 1057043 h 1317229"/>
                    <a:gd name="connsiteX1785" fmla="*/ 1189449 w 1427705"/>
                    <a:gd name="connsiteY1785" fmla="*/ 1059544 h 1317229"/>
                    <a:gd name="connsiteX1786" fmla="*/ 1188794 w 1427705"/>
                    <a:gd name="connsiteY1786" fmla="*/ 1060710 h 1317229"/>
                    <a:gd name="connsiteX1787" fmla="*/ 1188320 w 1427705"/>
                    <a:gd name="connsiteY1787" fmla="*/ 1061961 h 1317229"/>
                    <a:gd name="connsiteX1788" fmla="*/ 1187762 w 1427705"/>
                    <a:gd name="connsiteY1788" fmla="*/ 1063831 h 1317229"/>
                    <a:gd name="connsiteX1789" fmla="*/ 1187009 w 1427705"/>
                    <a:gd name="connsiteY1789" fmla="*/ 1068797 h 1317229"/>
                    <a:gd name="connsiteX1790" fmla="*/ 1186231 w 1427705"/>
                    <a:gd name="connsiteY1790" fmla="*/ 1079738 h 1317229"/>
                    <a:gd name="connsiteX1791" fmla="*/ 1185697 w 1427705"/>
                    <a:gd name="connsiteY1791" fmla="*/ 1082276 h 1317229"/>
                    <a:gd name="connsiteX1792" fmla="*/ 1185831 w 1427705"/>
                    <a:gd name="connsiteY1792" fmla="*/ 1083769 h 1317229"/>
                    <a:gd name="connsiteX1793" fmla="*/ 1186304 w 1427705"/>
                    <a:gd name="connsiteY1793" fmla="*/ 1084777 h 1317229"/>
                    <a:gd name="connsiteX1794" fmla="*/ 1188199 w 1427705"/>
                    <a:gd name="connsiteY1794" fmla="*/ 1088335 h 1317229"/>
                    <a:gd name="connsiteX1795" fmla="*/ 1192169 w 1427705"/>
                    <a:gd name="connsiteY1795" fmla="*/ 1093872 h 1317229"/>
                    <a:gd name="connsiteX1796" fmla="*/ 1193177 w 1427705"/>
                    <a:gd name="connsiteY1796" fmla="*/ 1096058 h 1317229"/>
                    <a:gd name="connsiteX1797" fmla="*/ 1193517 w 1427705"/>
                    <a:gd name="connsiteY1797" fmla="*/ 1097503 h 1317229"/>
                    <a:gd name="connsiteX1798" fmla="*/ 1193979 w 1427705"/>
                    <a:gd name="connsiteY1798" fmla="*/ 1103429 h 1317229"/>
                    <a:gd name="connsiteX1799" fmla="*/ 1193809 w 1427705"/>
                    <a:gd name="connsiteY1799" fmla="*/ 1111200 h 1317229"/>
                    <a:gd name="connsiteX1800" fmla="*/ 1193335 w 1427705"/>
                    <a:gd name="connsiteY1800" fmla="*/ 1114819 h 1317229"/>
                    <a:gd name="connsiteX1801" fmla="*/ 1192473 w 1427705"/>
                    <a:gd name="connsiteY1801" fmla="*/ 1117636 h 1317229"/>
                    <a:gd name="connsiteX1802" fmla="*/ 1191538 w 1427705"/>
                    <a:gd name="connsiteY1802" fmla="*/ 1119433 h 1317229"/>
                    <a:gd name="connsiteX1803" fmla="*/ 1191404 w 1427705"/>
                    <a:gd name="connsiteY1803" fmla="*/ 1119919 h 1317229"/>
                    <a:gd name="connsiteX1804" fmla="*/ 1191720 w 1427705"/>
                    <a:gd name="connsiteY1804" fmla="*/ 1121874 h 1317229"/>
                    <a:gd name="connsiteX1805" fmla="*/ 1192522 w 1427705"/>
                    <a:gd name="connsiteY1805" fmla="*/ 1123501 h 1317229"/>
                    <a:gd name="connsiteX1806" fmla="*/ 1195314 w 1427705"/>
                    <a:gd name="connsiteY1806" fmla="*/ 1125893 h 1317229"/>
                    <a:gd name="connsiteX1807" fmla="*/ 1196577 w 1427705"/>
                    <a:gd name="connsiteY1807" fmla="*/ 1126294 h 1317229"/>
                    <a:gd name="connsiteX1808" fmla="*/ 1198423 w 1427705"/>
                    <a:gd name="connsiteY1808" fmla="*/ 1127302 h 1317229"/>
                    <a:gd name="connsiteX1809" fmla="*/ 1200099 w 1427705"/>
                    <a:gd name="connsiteY1809" fmla="*/ 1128832 h 1317229"/>
                    <a:gd name="connsiteX1810" fmla="*/ 1204264 w 1427705"/>
                    <a:gd name="connsiteY1810" fmla="*/ 1135207 h 1317229"/>
                    <a:gd name="connsiteX1811" fmla="*/ 1205648 w 1427705"/>
                    <a:gd name="connsiteY1811" fmla="*/ 1136870 h 1317229"/>
                    <a:gd name="connsiteX1812" fmla="*/ 1207457 w 1427705"/>
                    <a:gd name="connsiteY1812" fmla="*/ 1138255 h 1317229"/>
                    <a:gd name="connsiteX1813" fmla="*/ 1209594 w 1427705"/>
                    <a:gd name="connsiteY1813" fmla="*/ 1139542 h 1317229"/>
                    <a:gd name="connsiteX1814" fmla="*/ 1211817 w 1427705"/>
                    <a:gd name="connsiteY1814" fmla="*/ 1140428 h 1317229"/>
                    <a:gd name="connsiteX1815" fmla="*/ 1218945 w 1427705"/>
                    <a:gd name="connsiteY1815" fmla="*/ 1142092 h 1317229"/>
                    <a:gd name="connsiteX1816" fmla="*/ 1221179 w 1427705"/>
                    <a:gd name="connsiteY1816" fmla="*/ 1143816 h 1317229"/>
                    <a:gd name="connsiteX1817" fmla="*/ 1222988 w 1427705"/>
                    <a:gd name="connsiteY1817" fmla="*/ 1146512 h 1317229"/>
                    <a:gd name="connsiteX1818" fmla="*/ 1224470 w 1427705"/>
                    <a:gd name="connsiteY1818" fmla="*/ 1151114 h 1317229"/>
                    <a:gd name="connsiteX1819" fmla="*/ 1224919 w 1427705"/>
                    <a:gd name="connsiteY1819" fmla="*/ 1154089 h 1317229"/>
                    <a:gd name="connsiteX1820" fmla="*/ 1224688 w 1427705"/>
                    <a:gd name="connsiteY1820" fmla="*/ 1157538 h 1317229"/>
                    <a:gd name="connsiteX1821" fmla="*/ 1221142 w 1427705"/>
                    <a:gd name="connsiteY1821" fmla="*/ 1163196 h 1317229"/>
                    <a:gd name="connsiteX1822" fmla="*/ 1221021 w 1427705"/>
                    <a:gd name="connsiteY1822" fmla="*/ 1164156 h 1317229"/>
                    <a:gd name="connsiteX1823" fmla="*/ 1221264 w 1427705"/>
                    <a:gd name="connsiteY1823" fmla="*/ 1164532 h 1317229"/>
                    <a:gd name="connsiteX1824" fmla="*/ 1223061 w 1427705"/>
                    <a:gd name="connsiteY1824" fmla="*/ 1168272 h 1317229"/>
                    <a:gd name="connsiteX1825" fmla="*/ 1223802 w 1427705"/>
                    <a:gd name="connsiteY1825" fmla="*/ 1171417 h 1317229"/>
                    <a:gd name="connsiteX1826" fmla="*/ 1223085 w 1427705"/>
                    <a:gd name="connsiteY1826" fmla="*/ 1174659 h 1317229"/>
                    <a:gd name="connsiteX1827" fmla="*/ 1222745 w 1427705"/>
                    <a:gd name="connsiteY1827" fmla="*/ 1178922 h 1317229"/>
                    <a:gd name="connsiteX1828" fmla="*/ 1223644 w 1427705"/>
                    <a:gd name="connsiteY1828" fmla="*/ 1185029 h 1317229"/>
                    <a:gd name="connsiteX1829" fmla="*/ 1223170 w 1427705"/>
                    <a:gd name="connsiteY1829" fmla="*/ 1193918 h 1317229"/>
                    <a:gd name="connsiteX1830" fmla="*/ 1205235 w 1427705"/>
                    <a:gd name="connsiteY1830" fmla="*/ 1195861 h 1317229"/>
                    <a:gd name="connsiteX1831" fmla="*/ 1202685 w 1427705"/>
                    <a:gd name="connsiteY1831" fmla="*/ 1197318 h 1317229"/>
                    <a:gd name="connsiteX1832" fmla="*/ 1200196 w 1427705"/>
                    <a:gd name="connsiteY1832" fmla="*/ 1199042 h 1317229"/>
                    <a:gd name="connsiteX1833" fmla="*/ 1199552 w 1427705"/>
                    <a:gd name="connsiteY1833" fmla="*/ 1199674 h 1317229"/>
                    <a:gd name="connsiteX1834" fmla="*/ 1199164 w 1427705"/>
                    <a:gd name="connsiteY1834" fmla="*/ 1201325 h 1317229"/>
                    <a:gd name="connsiteX1835" fmla="*/ 1199152 w 1427705"/>
                    <a:gd name="connsiteY1835" fmla="*/ 1202333 h 1317229"/>
                    <a:gd name="connsiteX1836" fmla="*/ 1199309 w 1427705"/>
                    <a:gd name="connsiteY1836" fmla="*/ 1203329 h 1317229"/>
                    <a:gd name="connsiteX1837" fmla="*/ 1199747 w 1427705"/>
                    <a:gd name="connsiteY1837" fmla="*/ 1204834 h 1317229"/>
                    <a:gd name="connsiteX1838" fmla="*/ 1201629 w 1427705"/>
                    <a:gd name="connsiteY1838" fmla="*/ 1209291 h 1317229"/>
                    <a:gd name="connsiteX1839" fmla="*/ 1202661 w 1427705"/>
                    <a:gd name="connsiteY1839" fmla="*/ 1211052 h 1317229"/>
                    <a:gd name="connsiteX1840" fmla="*/ 1203742 w 1427705"/>
                    <a:gd name="connsiteY1840" fmla="*/ 1212497 h 1317229"/>
                    <a:gd name="connsiteX1841" fmla="*/ 1206279 w 1427705"/>
                    <a:gd name="connsiteY1841" fmla="*/ 1215399 h 1317229"/>
                    <a:gd name="connsiteX1842" fmla="*/ 1208866 w 1427705"/>
                    <a:gd name="connsiteY1842" fmla="*/ 1219187 h 1317229"/>
                    <a:gd name="connsiteX1843" fmla="*/ 1209886 w 1427705"/>
                    <a:gd name="connsiteY1843" fmla="*/ 1221665 h 1317229"/>
                    <a:gd name="connsiteX1844" fmla="*/ 1210420 w 1427705"/>
                    <a:gd name="connsiteY1844" fmla="*/ 1224870 h 1317229"/>
                    <a:gd name="connsiteX1845" fmla="*/ 1209777 w 1427705"/>
                    <a:gd name="connsiteY1845" fmla="*/ 1227068 h 1317229"/>
                    <a:gd name="connsiteX1846" fmla="*/ 1208659 w 1427705"/>
                    <a:gd name="connsiteY1846" fmla="*/ 1229230 h 1317229"/>
                    <a:gd name="connsiteX1847" fmla="*/ 1203450 w 1427705"/>
                    <a:gd name="connsiteY1847" fmla="*/ 1235981 h 1317229"/>
                    <a:gd name="connsiteX1848" fmla="*/ 1203025 w 1427705"/>
                    <a:gd name="connsiteY1848" fmla="*/ 1237098 h 1317229"/>
                    <a:gd name="connsiteX1849" fmla="*/ 1203183 w 1427705"/>
                    <a:gd name="connsiteY1849" fmla="*/ 1238968 h 1317229"/>
                    <a:gd name="connsiteX1850" fmla="*/ 1203122 w 1427705"/>
                    <a:gd name="connsiteY1850" fmla="*/ 1241603 h 1317229"/>
                    <a:gd name="connsiteX1851" fmla="*/ 1202309 w 1427705"/>
                    <a:gd name="connsiteY1851" fmla="*/ 1244287 h 1317229"/>
                    <a:gd name="connsiteX1852" fmla="*/ 1201325 w 1427705"/>
                    <a:gd name="connsiteY1852" fmla="*/ 1246169 h 1317229"/>
                    <a:gd name="connsiteX1853" fmla="*/ 1195800 w 1427705"/>
                    <a:gd name="connsiteY1853" fmla="*/ 1252410 h 1317229"/>
                    <a:gd name="connsiteX1854" fmla="*/ 1193554 w 1427705"/>
                    <a:gd name="connsiteY1854" fmla="*/ 1256223 h 1317229"/>
                    <a:gd name="connsiteX1855" fmla="*/ 1192449 w 1427705"/>
                    <a:gd name="connsiteY1855" fmla="*/ 1258446 h 1317229"/>
                    <a:gd name="connsiteX1856" fmla="*/ 1188223 w 1427705"/>
                    <a:gd name="connsiteY1856" fmla="*/ 1269726 h 1317229"/>
                    <a:gd name="connsiteX1857" fmla="*/ 1185916 w 1427705"/>
                    <a:gd name="connsiteY1857" fmla="*/ 1273442 h 1317229"/>
                    <a:gd name="connsiteX1858" fmla="*/ 1184119 w 1427705"/>
                    <a:gd name="connsiteY1858" fmla="*/ 1278918 h 1317229"/>
                    <a:gd name="connsiteX1859" fmla="*/ 1182953 w 1427705"/>
                    <a:gd name="connsiteY1859" fmla="*/ 1281201 h 1317229"/>
                    <a:gd name="connsiteX1860" fmla="*/ 1180791 w 1427705"/>
                    <a:gd name="connsiteY1860" fmla="*/ 1283375 h 1317229"/>
                    <a:gd name="connsiteX1861" fmla="*/ 1174186 w 1427705"/>
                    <a:gd name="connsiteY1861" fmla="*/ 1287370 h 1317229"/>
                    <a:gd name="connsiteX1862" fmla="*/ 1173348 w 1427705"/>
                    <a:gd name="connsiteY1862" fmla="*/ 1288863 h 1317229"/>
                    <a:gd name="connsiteX1863" fmla="*/ 1172862 w 1427705"/>
                    <a:gd name="connsiteY1863" fmla="*/ 1290685 h 1317229"/>
                    <a:gd name="connsiteX1864" fmla="*/ 1172680 w 1427705"/>
                    <a:gd name="connsiteY1864" fmla="*/ 1295785 h 1317229"/>
                    <a:gd name="connsiteX1865" fmla="*/ 1172401 w 1427705"/>
                    <a:gd name="connsiteY1865" fmla="*/ 1297121 h 1317229"/>
                    <a:gd name="connsiteX1866" fmla="*/ 1171599 w 1427705"/>
                    <a:gd name="connsiteY1866" fmla="*/ 1299027 h 1317229"/>
                    <a:gd name="connsiteX1867" fmla="*/ 1167483 w 1427705"/>
                    <a:gd name="connsiteY1867" fmla="*/ 1305791 h 1317229"/>
                    <a:gd name="connsiteX1868" fmla="*/ 1165977 w 1427705"/>
                    <a:gd name="connsiteY1868" fmla="*/ 1307600 h 1317229"/>
                    <a:gd name="connsiteX1869" fmla="*/ 1164435 w 1427705"/>
                    <a:gd name="connsiteY1869" fmla="*/ 1308960 h 1317229"/>
                    <a:gd name="connsiteX1870" fmla="*/ 1162431 w 1427705"/>
                    <a:gd name="connsiteY1870" fmla="*/ 1310211 h 1317229"/>
                    <a:gd name="connsiteX1871" fmla="*/ 1157647 w 1427705"/>
                    <a:gd name="connsiteY1871" fmla="*/ 1312008 h 1317229"/>
                    <a:gd name="connsiteX1872" fmla="*/ 1152073 w 1427705"/>
                    <a:gd name="connsiteY1872" fmla="*/ 1313210 h 1317229"/>
                    <a:gd name="connsiteX1873" fmla="*/ 1150519 w 1427705"/>
                    <a:gd name="connsiteY1873" fmla="*/ 1313745 h 1317229"/>
                    <a:gd name="connsiteX1874" fmla="*/ 1145225 w 1427705"/>
                    <a:gd name="connsiteY1874" fmla="*/ 1316125 h 1317229"/>
                    <a:gd name="connsiteX1875" fmla="*/ 1142395 w 1427705"/>
                    <a:gd name="connsiteY1875" fmla="*/ 1316877 h 1317229"/>
                    <a:gd name="connsiteX1876" fmla="*/ 1138741 w 1427705"/>
                    <a:gd name="connsiteY1876" fmla="*/ 1317230 h 131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Lst>
                  <a:rect l="l" t="t" r="r" b="b"/>
                  <a:pathLst>
                    <a:path w="1427705" h="1317229">
                      <a:moveTo>
                        <a:pt x="1129573" y="1316015"/>
                      </a:moveTo>
                      <a:lnTo>
                        <a:pt x="1123076" y="1315882"/>
                      </a:lnTo>
                      <a:lnTo>
                        <a:pt x="1118013" y="1316659"/>
                      </a:lnTo>
                      <a:lnTo>
                        <a:pt x="1115414" y="1316622"/>
                      </a:lnTo>
                      <a:lnTo>
                        <a:pt x="1109585" y="1315299"/>
                      </a:lnTo>
                      <a:lnTo>
                        <a:pt x="1104473" y="1313016"/>
                      </a:lnTo>
                      <a:lnTo>
                        <a:pt x="1100624" y="1310527"/>
                      </a:lnTo>
                      <a:lnTo>
                        <a:pt x="1090594" y="1301346"/>
                      </a:lnTo>
                      <a:lnTo>
                        <a:pt x="1083004" y="1299440"/>
                      </a:lnTo>
                      <a:lnTo>
                        <a:pt x="1076496" y="1290017"/>
                      </a:lnTo>
                      <a:lnTo>
                        <a:pt x="1073144" y="1287236"/>
                      </a:lnTo>
                      <a:lnTo>
                        <a:pt x="1072306" y="1286945"/>
                      </a:lnTo>
                      <a:lnTo>
                        <a:pt x="1069744" y="1285342"/>
                      </a:lnTo>
                      <a:lnTo>
                        <a:pt x="1068931" y="1282173"/>
                      </a:lnTo>
                      <a:lnTo>
                        <a:pt x="1069453" y="1279574"/>
                      </a:lnTo>
                      <a:lnTo>
                        <a:pt x="1070291" y="1276915"/>
                      </a:lnTo>
                      <a:lnTo>
                        <a:pt x="1070145" y="1275142"/>
                      </a:lnTo>
                      <a:lnTo>
                        <a:pt x="1069793" y="1274632"/>
                      </a:lnTo>
                      <a:lnTo>
                        <a:pt x="1069368" y="1274511"/>
                      </a:lnTo>
                      <a:lnTo>
                        <a:pt x="1067607" y="1273466"/>
                      </a:lnTo>
                      <a:lnTo>
                        <a:pt x="1064061" y="1270661"/>
                      </a:lnTo>
                      <a:lnTo>
                        <a:pt x="1061220" y="1267589"/>
                      </a:lnTo>
                      <a:lnTo>
                        <a:pt x="1059508" y="1265051"/>
                      </a:lnTo>
                      <a:lnTo>
                        <a:pt x="1057881" y="1260983"/>
                      </a:lnTo>
                      <a:lnTo>
                        <a:pt x="1058427" y="1257741"/>
                      </a:lnTo>
                      <a:lnTo>
                        <a:pt x="1060929" y="1255750"/>
                      </a:lnTo>
                      <a:lnTo>
                        <a:pt x="1063114" y="1255276"/>
                      </a:lnTo>
                      <a:lnTo>
                        <a:pt x="1066672" y="1254948"/>
                      </a:lnTo>
                      <a:lnTo>
                        <a:pt x="1068433" y="1253928"/>
                      </a:lnTo>
                      <a:lnTo>
                        <a:pt x="1069174" y="1252860"/>
                      </a:lnTo>
                      <a:lnTo>
                        <a:pt x="1070631" y="1240935"/>
                      </a:lnTo>
                      <a:lnTo>
                        <a:pt x="1074055" y="1234475"/>
                      </a:lnTo>
                      <a:lnTo>
                        <a:pt x="1074662" y="1232472"/>
                      </a:lnTo>
                      <a:lnTo>
                        <a:pt x="1075087" y="1230286"/>
                      </a:lnTo>
                      <a:lnTo>
                        <a:pt x="1075427" y="1219649"/>
                      </a:lnTo>
                      <a:lnTo>
                        <a:pt x="1074942" y="1218216"/>
                      </a:lnTo>
                      <a:lnTo>
                        <a:pt x="1071554" y="1216747"/>
                      </a:lnTo>
                      <a:lnTo>
                        <a:pt x="1069501" y="1214488"/>
                      </a:lnTo>
                      <a:lnTo>
                        <a:pt x="1069052" y="1212120"/>
                      </a:lnTo>
                      <a:lnTo>
                        <a:pt x="1069064" y="1208902"/>
                      </a:lnTo>
                      <a:lnTo>
                        <a:pt x="1070946" y="1199249"/>
                      </a:lnTo>
                      <a:lnTo>
                        <a:pt x="1071007" y="1195679"/>
                      </a:lnTo>
                      <a:lnTo>
                        <a:pt x="1069696" y="1192704"/>
                      </a:lnTo>
                      <a:lnTo>
                        <a:pt x="1069246" y="1188915"/>
                      </a:lnTo>
                      <a:lnTo>
                        <a:pt x="1069404" y="1185879"/>
                      </a:lnTo>
                      <a:lnTo>
                        <a:pt x="1070764" y="1183609"/>
                      </a:lnTo>
                      <a:lnTo>
                        <a:pt x="1072428" y="1181678"/>
                      </a:lnTo>
                      <a:lnTo>
                        <a:pt x="1074444" y="1180585"/>
                      </a:lnTo>
                      <a:lnTo>
                        <a:pt x="1075719" y="1180488"/>
                      </a:lnTo>
                      <a:lnTo>
                        <a:pt x="1077394" y="1180609"/>
                      </a:lnTo>
                      <a:lnTo>
                        <a:pt x="1081814" y="1182151"/>
                      </a:lnTo>
                      <a:lnTo>
                        <a:pt x="1083854" y="1181921"/>
                      </a:lnTo>
                      <a:lnTo>
                        <a:pt x="1084959" y="1180063"/>
                      </a:lnTo>
                      <a:lnTo>
                        <a:pt x="1084935" y="1179747"/>
                      </a:lnTo>
                      <a:lnTo>
                        <a:pt x="1082944" y="1177986"/>
                      </a:lnTo>
                      <a:lnTo>
                        <a:pt x="1081159" y="1175521"/>
                      </a:lnTo>
                      <a:lnTo>
                        <a:pt x="1079896" y="1172826"/>
                      </a:lnTo>
                      <a:lnTo>
                        <a:pt x="1078609" y="1167616"/>
                      </a:lnTo>
                      <a:lnTo>
                        <a:pt x="1078038" y="1166366"/>
                      </a:lnTo>
                      <a:lnTo>
                        <a:pt x="1077382" y="1166220"/>
                      </a:lnTo>
                      <a:lnTo>
                        <a:pt x="1071687" y="1165953"/>
                      </a:lnTo>
                      <a:lnTo>
                        <a:pt x="1068712" y="1165224"/>
                      </a:lnTo>
                      <a:lnTo>
                        <a:pt x="1066150" y="1162553"/>
                      </a:lnTo>
                      <a:lnTo>
                        <a:pt x="1065761" y="1160185"/>
                      </a:lnTo>
                      <a:lnTo>
                        <a:pt x="1066065" y="1155996"/>
                      </a:lnTo>
                      <a:lnTo>
                        <a:pt x="1065081" y="1156275"/>
                      </a:lnTo>
                      <a:lnTo>
                        <a:pt x="1052854" y="1161654"/>
                      </a:lnTo>
                      <a:lnTo>
                        <a:pt x="1050048" y="1162419"/>
                      </a:lnTo>
                      <a:lnTo>
                        <a:pt x="1046478" y="1162735"/>
                      </a:lnTo>
                      <a:lnTo>
                        <a:pt x="1037286" y="1161897"/>
                      </a:lnTo>
                      <a:lnTo>
                        <a:pt x="1018720" y="1155765"/>
                      </a:lnTo>
                      <a:lnTo>
                        <a:pt x="1017165" y="1156105"/>
                      </a:lnTo>
                      <a:lnTo>
                        <a:pt x="1017056" y="1157246"/>
                      </a:lnTo>
                      <a:lnTo>
                        <a:pt x="1017178" y="1160294"/>
                      </a:lnTo>
                      <a:lnTo>
                        <a:pt x="1017809" y="1163099"/>
                      </a:lnTo>
                      <a:lnTo>
                        <a:pt x="1017821" y="1165552"/>
                      </a:lnTo>
                      <a:lnTo>
                        <a:pt x="1016740" y="1169414"/>
                      </a:lnTo>
                      <a:lnTo>
                        <a:pt x="1012927" y="1172838"/>
                      </a:lnTo>
                      <a:lnTo>
                        <a:pt x="1009491" y="1173700"/>
                      </a:lnTo>
                      <a:lnTo>
                        <a:pt x="1001197" y="1172874"/>
                      </a:lnTo>
                      <a:lnTo>
                        <a:pt x="990730" y="1173991"/>
                      </a:lnTo>
                      <a:lnTo>
                        <a:pt x="987743" y="1169583"/>
                      </a:lnTo>
                      <a:lnTo>
                        <a:pt x="990050" y="1166183"/>
                      </a:lnTo>
                      <a:lnTo>
                        <a:pt x="992612" y="1160841"/>
                      </a:lnTo>
                      <a:lnTo>
                        <a:pt x="992297" y="1159128"/>
                      </a:lnTo>
                      <a:lnTo>
                        <a:pt x="991374" y="1158655"/>
                      </a:lnTo>
                      <a:lnTo>
                        <a:pt x="990220" y="1158254"/>
                      </a:lnTo>
                      <a:lnTo>
                        <a:pt x="989832" y="1158412"/>
                      </a:lnTo>
                      <a:lnTo>
                        <a:pt x="988459" y="1159262"/>
                      </a:lnTo>
                      <a:lnTo>
                        <a:pt x="987949" y="1159335"/>
                      </a:lnTo>
                      <a:lnTo>
                        <a:pt x="986650" y="1159323"/>
                      </a:lnTo>
                      <a:lnTo>
                        <a:pt x="986043" y="1159189"/>
                      </a:lnTo>
                      <a:lnTo>
                        <a:pt x="984695" y="1158667"/>
                      </a:lnTo>
                      <a:lnTo>
                        <a:pt x="982570" y="1157186"/>
                      </a:lnTo>
                      <a:lnTo>
                        <a:pt x="981987" y="1156166"/>
                      </a:lnTo>
                      <a:lnTo>
                        <a:pt x="981368" y="1154769"/>
                      </a:lnTo>
                      <a:lnTo>
                        <a:pt x="981089" y="1153360"/>
                      </a:lnTo>
                      <a:lnTo>
                        <a:pt x="981502" y="1146597"/>
                      </a:lnTo>
                      <a:lnTo>
                        <a:pt x="980142" y="1148151"/>
                      </a:lnTo>
                      <a:lnTo>
                        <a:pt x="977312" y="1149159"/>
                      </a:lnTo>
                      <a:lnTo>
                        <a:pt x="974459" y="1148734"/>
                      </a:lnTo>
                      <a:lnTo>
                        <a:pt x="971204" y="1146439"/>
                      </a:lnTo>
                      <a:lnTo>
                        <a:pt x="969978" y="1143768"/>
                      </a:lnTo>
                      <a:lnTo>
                        <a:pt x="970087" y="1140890"/>
                      </a:lnTo>
                      <a:lnTo>
                        <a:pt x="971131" y="1138838"/>
                      </a:lnTo>
                      <a:lnTo>
                        <a:pt x="971702" y="1137320"/>
                      </a:lnTo>
                      <a:lnTo>
                        <a:pt x="972297" y="1135231"/>
                      </a:lnTo>
                      <a:lnTo>
                        <a:pt x="971957" y="1132038"/>
                      </a:lnTo>
                      <a:lnTo>
                        <a:pt x="965461" y="1136530"/>
                      </a:lnTo>
                      <a:lnTo>
                        <a:pt x="963481" y="1137550"/>
                      </a:lnTo>
                      <a:lnTo>
                        <a:pt x="961466" y="1138315"/>
                      </a:lnTo>
                      <a:lnTo>
                        <a:pt x="959559" y="1138753"/>
                      </a:lnTo>
                      <a:lnTo>
                        <a:pt x="957325" y="1138728"/>
                      </a:lnTo>
                      <a:lnTo>
                        <a:pt x="955710" y="1138400"/>
                      </a:lnTo>
                      <a:lnTo>
                        <a:pt x="953306" y="1137478"/>
                      </a:lnTo>
                      <a:lnTo>
                        <a:pt x="943385" y="1129876"/>
                      </a:lnTo>
                      <a:lnTo>
                        <a:pt x="939548" y="1128200"/>
                      </a:lnTo>
                      <a:lnTo>
                        <a:pt x="938819" y="1128310"/>
                      </a:lnTo>
                      <a:lnTo>
                        <a:pt x="934630" y="1128395"/>
                      </a:lnTo>
                      <a:lnTo>
                        <a:pt x="930562" y="1127982"/>
                      </a:lnTo>
                      <a:lnTo>
                        <a:pt x="927963" y="1127265"/>
                      </a:lnTo>
                      <a:lnTo>
                        <a:pt x="925025" y="1125881"/>
                      </a:lnTo>
                      <a:lnTo>
                        <a:pt x="910575" y="1115535"/>
                      </a:lnTo>
                      <a:lnTo>
                        <a:pt x="908583" y="1113398"/>
                      </a:lnTo>
                      <a:lnTo>
                        <a:pt x="907405" y="1111613"/>
                      </a:lnTo>
                      <a:lnTo>
                        <a:pt x="906531" y="1109245"/>
                      </a:lnTo>
                      <a:lnTo>
                        <a:pt x="906616" y="1107667"/>
                      </a:lnTo>
                      <a:lnTo>
                        <a:pt x="907235" y="1105566"/>
                      </a:lnTo>
                      <a:lnTo>
                        <a:pt x="908231" y="1103611"/>
                      </a:lnTo>
                      <a:lnTo>
                        <a:pt x="908158" y="1102615"/>
                      </a:lnTo>
                      <a:lnTo>
                        <a:pt x="905632" y="1098790"/>
                      </a:lnTo>
                      <a:lnTo>
                        <a:pt x="905292" y="1097406"/>
                      </a:lnTo>
                      <a:lnTo>
                        <a:pt x="904455" y="1095912"/>
                      </a:lnTo>
                      <a:lnTo>
                        <a:pt x="902657" y="1093933"/>
                      </a:lnTo>
                      <a:lnTo>
                        <a:pt x="901467" y="1093508"/>
                      </a:lnTo>
                      <a:lnTo>
                        <a:pt x="899682" y="1093241"/>
                      </a:lnTo>
                      <a:lnTo>
                        <a:pt x="897521" y="1093544"/>
                      </a:lnTo>
                      <a:lnTo>
                        <a:pt x="896829" y="1093872"/>
                      </a:lnTo>
                      <a:lnTo>
                        <a:pt x="894340" y="1095293"/>
                      </a:lnTo>
                      <a:lnTo>
                        <a:pt x="891583" y="1096192"/>
                      </a:lnTo>
                      <a:lnTo>
                        <a:pt x="888256" y="1096350"/>
                      </a:lnTo>
                      <a:lnTo>
                        <a:pt x="884127" y="1095439"/>
                      </a:lnTo>
                      <a:lnTo>
                        <a:pt x="881079" y="1093593"/>
                      </a:lnTo>
                      <a:lnTo>
                        <a:pt x="879768" y="1091383"/>
                      </a:lnTo>
                      <a:lnTo>
                        <a:pt x="879027" y="1088068"/>
                      </a:lnTo>
                      <a:lnTo>
                        <a:pt x="878736" y="1087449"/>
                      </a:lnTo>
                      <a:lnTo>
                        <a:pt x="871863" y="1087582"/>
                      </a:lnTo>
                      <a:lnTo>
                        <a:pt x="863472" y="1085530"/>
                      </a:lnTo>
                      <a:lnTo>
                        <a:pt x="859259" y="1085202"/>
                      </a:lnTo>
                      <a:lnTo>
                        <a:pt x="856089" y="1084486"/>
                      </a:lnTo>
                      <a:lnTo>
                        <a:pt x="853661" y="1083016"/>
                      </a:lnTo>
                      <a:lnTo>
                        <a:pt x="853126" y="1082628"/>
                      </a:lnTo>
                      <a:lnTo>
                        <a:pt x="851596" y="1079956"/>
                      </a:lnTo>
                      <a:lnTo>
                        <a:pt x="851596" y="1077407"/>
                      </a:lnTo>
                      <a:lnTo>
                        <a:pt x="851997" y="1075962"/>
                      </a:lnTo>
                      <a:lnTo>
                        <a:pt x="855555" y="1075779"/>
                      </a:lnTo>
                      <a:lnTo>
                        <a:pt x="852932" y="1074261"/>
                      </a:lnTo>
                      <a:lnTo>
                        <a:pt x="852422" y="1074019"/>
                      </a:lnTo>
                      <a:lnTo>
                        <a:pt x="851086" y="1072416"/>
                      </a:lnTo>
                      <a:lnTo>
                        <a:pt x="849945" y="1070157"/>
                      </a:lnTo>
                      <a:lnTo>
                        <a:pt x="848949" y="1064462"/>
                      </a:lnTo>
                      <a:lnTo>
                        <a:pt x="846508" y="1061038"/>
                      </a:lnTo>
                      <a:lnTo>
                        <a:pt x="832398" y="1065130"/>
                      </a:lnTo>
                      <a:lnTo>
                        <a:pt x="835301" y="1066830"/>
                      </a:lnTo>
                      <a:lnTo>
                        <a:pt x="837122" y="1068700"/>
                      </a:lnTo>
                      <a:lnTo>
                        <a:pt x="837693" y="1069368"/>
                      </a:lnTo>
                      <a:lnTo>
                        <a:pt x="838166" y="1072379"/>
                      </a:lnTo>
                      <a:lnTo>
                        <a:pt x="836916" y="1075852"/>
                      </a:lnTo>
                      <a:lnTo>
                        <a:pt x="834584" y="1077613"/>
                      </a:lnTo>
                      <a:lnTo>
                        <a:pt x="831706" y="1078827"/>
                      </a:lnTo>
                      <a:lnTo>
                        <a:pt x="825914" y="1079653"/>
                      </a:lnTo>
                      <a:lnTo>
                        <a:pt x="820340" y="1079447"/>
                      </a:lnTo>
                      <a:lnTo>
                        <a:pt x="817511" y="1078851"/>
                      </a:lnTo>
                      <a:lnTo>
                        <a:pt x="814573" y="1077637"/>
                      </a:lnTo>
                      <a:lnTo>
                        <a:pt x="813528" y="1076471"/>
                      </a:lnTo>
                      <a:lnTo>
                        <a:pt x="812654" y="1074771"/>
                      </a:lnTo>
                      <a:lnTo>
                        <a:pt x="812557" y="1074225"/>
                      </a:lnTo>
                      <a:lnTo>
                        <a:pt x="812496" y="1072634"/>
                      </a:lnTo>
                      <a:lnTo>
                        <a:pt x="812788" y="1071165"/>
                      </a:lnTo>
                      <a:lnTo>
                        <a:pt x="813480" y="1068955"/>
                      </a:lnTo>
                      <a:lnTo>
                        <a:pt x="813188" y="1068736"/>
                      </a:lnTo>
                      <a:lnTo>
                        <a:pt x="809557" y="1067728"/>
                      </a:lnTo>
                      <a:lnTo>
                        <a:pt x="806923" y="1066672"/>
                      </a:lnTo>
                      <a:lnTo>
                        <a:pt x="804931" y="1066186"/>
                      </a:lnTo>
                      <a:lnTo>
                        <a:pt x="803268" y="1066490"/>
                      </a:lnTo>
                      <a:lnTo>
                        <a:pt x="800827" y="1067413"/>
                      </a:lnTo>
                      <a:lnTo>
                        <a:pt x="797451" y="1067595"/>
                      </a:lnTo>
                      <a:lnTo>
                        <a:pt x="794172" y="1066684"/>
                      </a:lnTo>
                      <a:lnTo>
                        <a:pt x="795253" y="1071699"/>
                      </a:lnTo>
                      <a:lnTo>
                        <a:pt x="795375" y="1074347"/>
                      </a:lnTo>
                      <a:lnTo>
                        <a:pt x="795180" y="1076787"/>
                      </a:lnTo>
                      <a:lnTo>
                        <a:pt x="794852" y="1078475"/>
                      </a:lnTo>
                      <a:lnTo>
                        <a:pt x="794100" y="1080649"/>
                      </a:lnTo>
                      <a:lnTo>
                        <a:pt x="791367" y="1085312"/>
                      </a:lnTo>
                      <a:lnTo>
                        <a:pt x="788113" y="1089464"/>
                      </a:lnTo>
                      <a:lnTo>
                        <a:pt x="783062" y="1094552"/>
                      </a:lnTo>
                      <a:lnTo>
                        <a:pt x="783001" y="1095026"/>
                      </a:lnTo>
                      <a:lnTo>
                        <a:pt x="782722" y="1096082"/>
                      </a:lnTo>
                      <a:lnTo>
                        <a:pt x="782673" y="1096690"/>
                      </a:lnTo>
                      <a:lnTo>
                        <a:pt x="782928" y="1097115"/>
                      </a:lnTo>
                      <a:lnTo>
                        <a:pt x="783912" y="1099215"/>
                      </a:lnTo>
                      <a:lnTo>
                        <a:pt x="784312" y="1100417"/>
                      </a:lnTo>
                      <a:lnTo>
                        <a:pt x="784689" y="1102227"/>
                      </a:lnTo>
                      <a:lnTo>
                        <a:pt x="784677" y="1104291"/>
                      </a:lnTo>
                      <a:lnTo>
                        <a:pt x="783645" y="1107667"/>
                      </a:lnTo>
                      <a:lnTo>
                        <a:pt x="781459" y="1109294"/>
                      </a:lnTo>
                      <a:lnTo>
                        <a:pt x="780232" y="1109840"/>
                      </a:lnTo>
                      <a:lnTo>
                        <a:pt x="775011" y="1110253"/>
                      </a:lnTo>
                      <a:lnTo>
                        <a:pt x="773432" y="1110617"/>
                      </a:lnTo>
                      <a:lnTo>
                        <a:pt x="766329" y="1119409"/>
                      </a:lnTo>
                      <a:lnTo>
                        <a:pt x="758691" y="1115900"/>
                      </a:lnTo>
                      <a:lnTo>
                        <a:pt x="750871" y="1109087"/>
                      </a:lnTo>
                      <a:lnTo>
                        <a:pt x="748236" y="1107509"/>
                      </a:lnTo>
                      <a:lnTo>
                        <a:pt x="747798" y="1107315"/>
                      </a:lnTo>
                      <a:lnTo>
                        <a:pt x="742978" y="1109039"/>
                      </a:lnTo>
                      <a:lnTo>
                        <a:pt x="740318" y="1109695"/>
                      </a:lnTo>
                      <a:lnTo>
                        <a:pt x="736554" y="1109804"/>
                      </a:lnTo>
                      <a:lnTo>
                        <a:pt x="733336" y="1108832"/>
                      </a:lnTo>
                      <a:lnTo>
                        <a:pt x="731187" y="1107412"/>
                      </a:lnTo>
                      <a:lnTo>
                        <a:pt x="728734" y="1104291"/>
                      </a:lnTo>
                      <a:lnTo>
                        <a:pt x="727641" y="1103368"/>
                      </a:lnTo>
                      <a:lnTo>
                        <a:pt x="717927" y="1106222"/>
                      </a:lnTo>
                      <a:lnTo>
                        <a:pt x="716227" y="1106489"/>
                      </a:lnTo>
                      <a:lnTo>
                        <a:pt x="710605" y="1106659"/>
                      </a:lnTo>
                      <a:lnTo>
                        <a:pt x="705262" y="1106137"/>
                      </a:lnTo>
                      <a:lnTo>
                        <a:pt x="701449" y="1104424"/>
                      </a:lnTo>
                      <a:lnTo>
                        <a:pt x="699288" y="1101814"/>
                      </a:lnTo>
                      <a:lnTo>
                        <a:pt x="699385" y="1099094"/>
                      </a:lnTo>
                      <a:lnTo>
                        <a:pt x="699955" y="1096750"/>
                      </a:lnTo>
                      <a:lnTo>
                        <a:pt x="700842" y="1095256"/>
                      </a:lnTo>
                      <a:lnTo>
                        <a:pt x="702955" y="1093132"/>
                      </a:lnTo>
                      <a:lnTo>
                        <a:pt x="703999" y="1091784"/>
                      </a:lnTo>
                      <a:lnTo>
                        <a:pt x="704995" y="1089634"/>
                      </a:lnTo>
                      <a:lnTo>
                        <a:pt x="705080" y="1086756"/>
                      </a:lnTo>
                      <a:lnTo>
                        <a:pt x="705638" y="1085008"/>
                      </a:lnTo>
                      <a:lnTo>
                        <a:pt x="706245" y="1083709"/>
                      </a:lnTo>
                      <a:lnTo>
                        <a:pt x="706998" y="1082640"/>
                      </a:lnTo>
                      <a:lnTo>
                        <a:pt x="708091" y="1081402"/>
                      </a:lnTo>
                      <a:lnTo>
                        <a:pt x="711188" y="1078888"/>
                      </a:lnTo>
                      <a:lnTo>
                        <a:pt x="711685" y="1073946"/>
                      </a:lnTo>
                      <a:lnTo>
                        <a:pt x="712220" y="1071724"/>
                      </a:lnTo>
                      <a:lnTo>
                        <a:pt x="717842" y="1058743"/>
                      </a:lnTo>
                      <a:lnTo>
                        <a:pt x="717793" y="1058196"/>
                      </a:lnTo>
                      <a:lnTo>
                        <a:pt x="717611" y="1057771"/>
                      </a:lnTo>
                      <a:lnTo>
                        <a:pt x="716713" y="1057043"/>
                      </a:lnTo>
                      <a:lnTo>
                        <a:pt x="715571" y="1056909"/>
                      </a:lnTo>
                      <a:lnTo>
                        <a:pt x="714855" y="1056946"/>
                      </a:lnTo>
                      <a:lnTo>
                        <a:pt x="713677" y="1057140"/>
                      </a:lnTo>
                      <a:lnTo>
                        <a:pt x="712705" y="1057504"/>
                      </a:lnTo>
                      <a:lnTo>
                        <a:pt x="709937" y="1055501"/>
                      </a:lnTo>
                      <a:lnTo>
                        <a:pt x="711516" y="1058257"/>
                      </a:lnTo>
                      <a:lnTo>
                        <a:pt x="710168" y="1063381"/>
                      </a:lnTo>
                      <a:lnTo>
                        <a:pt x="709075" y="1065421"/>
                      </a:lnTo>
                      <a:lnTo>
                        <a:pt x="707362" y="1067109"/>
                      </a:lnTo>
                      <a:lnTo>
                        <a:pt x="705031" y="1068275"/>
                      </a:lnTo>
                      <a:lnTo>
                        <a:pt x="702821" y="1068773"/>
                      </a:lnTo>
                      <a:lnTo>
                        <a:pt x="690763" y="1069174"/>
                      </a:lnTo>
                      <a:lnTo>
                        <a:pt x="695669" y="1072476"/>
                      </a:lnTo>
                      <a:lnTo>
                        <a:pt x="698243" y="1074929"/>
                      </a:lnTo>
                      <a:lnTo>
                        <a:pt x="699494" y="1078329"/>
                      </a:lnTo>
                      <a:lnTo>
                        <a:pt x="698316" y="1081778"/>
                      </a:lnTo>
                      <a:lnTo>
                        <a:pt x="695365" y="1083927"/>
                      </a:lnTo>
                      <a:lnTo>
                        <a:pt x="692815" y="1084401"/>
                      </a:lnTo>
                      <a:lnTo>
                        <a:pt x="688237" y="1084534"/>
                      </a:lnTo>
                      <a:lnTo>
                        <a:pt x="686841" y="1084874"/>
                      </a:lnTo>
                      <a:lnTo>
                        <a:pt x="683745" y="1085943"/>
                      </a:lnTo>
                      <a:lnTo>
                        <a:pt x="680527" y="1086574"/>
                      </a:lnTo>
                      <a:lnTo>
                        <a:pt x="678134" y="1085554"/>
                      </a:lnTo>
                      <a:lnTo>
                        <a:pt x="676143" y="1084291"/>
                      </a:lnTo>
                      <a:lnTo>
                        <a:pt x="671019" y="1079374"/>
                      </a:lnTo>
                      <a:lnTo>
                        <a:pt x="669452" y="1077151"/>
                      </a:lnTo>
                      <a:lnTo>
                        <a:pt x="668347" y="1074966"/>
                      </a:lnTo>
                      <a:lnTo>
                        <a:pt x="666635" y="1070776"/>
                      </a:lnTo>
                      <a:lnTo>
                        <a:pt x="666089" y="1070108"/>
                      </a:lnTo>
                      <a:lnTo>
                        <a:pt x="666004" y="1070096"/>
                      </a:lnTo>
                      <a:lnTo>
                        <a:pt x="666332" y="1071614"/>
                      </a:lnTo>
                      <a:lnTo>
                        <a:pt x="666562" y="1074480"/>
                      </a:lnTo>
                      <a:lnTo>
                        <a:pt x="665457" y="1077139"/>
                      </a:lnTo>
                      <a:lnTo>
                        <a:pt x="663830" y="1078366"/>
                      </a:lnTo>
                      <a:lnTo>
                        <a:pt x="661389" y="1079289"/>
                      </a:lnTo>
                      <a:lnTo>
                        <a:pt x="659446" y="1079641"/>
                      </a:lnTo>
                      <a:lnTo>
                        <a:pt x="657273" y="1079738"/>
                      </a:lnTo>
                      <a:lnTo>
                        <a:pt x="650582" y="1078694"/>
                      </a:lnTo>
                      <a:lnTo>
                        <a:pt x="649174" y="1078062"/>
                      </a:lnTo>
                      <a:lnTo>
                        <a:pt x="649744" y="1080503"/>
                      </a:lnTo>
                      <a:lnTo>
                        <a:pt x="650303" y="1081147"/>
                      </a:lnTo>
                      <a:lnTo>
                        <a:pt x="651092" y="1081535"/>
                      </a:lnTo>
                      <a:lnTo>
                        <a:pt x="655318" y="1083247"/>
                      </a:lnTo>
                      <a:lnTo>
                        <a:pt x="657346" y="1084413"/>
                      </a:lnTo>
                      <a:lnTo>
                        <a:pt x="658803" y="1086052"/>
                      </a:lnTo>
                      <a:lnTo>
                        <a:pt x="659374" y="1090836"/>
                      </a:lnTo>
                      <a:lnTo>
                        <a:pt x="650825" y="1096313"/>
                      </a:lnTo>
                      <a:lnTo>
                        <a:pt x="648348" y="1097115"/>
                      </a:lnTo>
                      <a:lnTo>
                        <a:pt x="644766" y="1097503"/>
                      </a:lnTo>
                      <a:lnTo>
                        <a:pt x="642726" y="1096325"/>
                      </a:lnTo>
                      <a:lnTo>
                        <a:pt x="641111" y="1094795"/>
                      </a:lnTo>
                      <a:lnTo>
                        <a:pt x="639629" y="1092743"/>
                      </a:lnTo>
                      <a:lnTo>
                        <a:pt x="639617" y="1094419"/>
                      </a:lnTo>
                      <a:lnTo>
                        <a:pt x="637869" y="1097309"/>
                      </a:lnTo>
                      <a:lnTo>
                        <a:pt x="634942" y="1098244"/>
                      </a:lnTo>
                      <a:lnTo>
                        <a:pt x="632708" y="1098037"/>
                      </a:lnTo>
                      <a:lnTo>
                        <a:pt x="630668" y="1097430"/>
                      </a:lnTo>
                      <a:lnTo>
                        <a:pt x="628822" y="1096604"/>
                      </a:lnTo>
                      <a:lnTo>
                        <a:pt x="627426" y="1096192"/>
                      </a:lnTo>
                      <a:lnTo>
                        <a:pt x="624876" y="1095754"/>
                      </a:lnTo>
                      <a:lnTo>
                        <a:pt x="623273" y="1096204"/>
                      </a:lnTo>
                      <a:lnTo>
                        <a:pt x="617736" y="1098232"/>
                      </a:lnTo>
                      <a:lnTo>
                        <a:pt x="615028" y="1098050"/>
                      </a:lnTo>
                      <a:lnTo>
                        <a:pt x="612223" y="1096896"/>
                      </a:lnTo>
                      <a:lnTo>
                        <a:pt x="611543" y="1096556"/>
                      </a:lnTo>
                      <a:lnTo>
                        <a:pt x="608968" y="1092889"/>
                      </a:lnTo>
                      <a:lnTo>
                        <a:pt x="607778" y="1090594"/>
                      </a:lnTo>
                      <a:lnTo>
                        <a:pt x="606345" y="1085457"/>
                      </a:lnTo>
                      <a:lnTo>
                        <a:pt x="606248" y="1082992"/>
                      </a:lnTo>
                      <a:lnTo>
                        <a:pt x="606637" y="1079422"/>
                      </a:lnTo>
                      <a:lnTo>
                        <a:pt x="607766" y="1077844"/>
                      </a:lnTo>
                      <a:lnTo>
                        <a:pt x="609454" y="1076787"/>
                      </a:lnTo>
                      <a:lnTo>
                        <a:pt x="611033" y="1076423"/>
                      </a:lnTo>
                      <a:lnTo>
                        <a:pt x="612951" y="1077346"/>
                      </a:lnTo>
                      <a:lnTo>
                        <a:pt x="614081" y="1077443"/>
                      </a:lnTo>
                      <a:lnTo>
                        <a:pt x="615744" y="1076690"/>
                      </a:lnTo>
                      <a:lnTo>
                        <a:pt x="617007" y="1074589"/>
                      </a:lnTo>
                      <a:lnTo>
                        <a:pt x="621087" y="1070473"/>
                      </a:lnTo>
                      <a:lnTo>
                        <a:pt x="621876" y="1069356"/>
                      </a:lnTo>
                      <a:lnTo>
                        <a:pt x="622702" y="1067765"/>
                      </a:lnTo>
                      <a:lnTo>
                        <a:pt x="623771" y="1066611"/>
                      </a:lnTo>
                      <a:lnTo>
                        <a:pt x="626029" y="1065264"/>
                      </a:lnTo>
                      <a:lnTo>
                        <a:pt x="627280" y="1064814"/>
                      </a:lnTo>
                      <a:lnTo>
                        <a:pt x="630291" y="1062981"/>
                      </a:lnTo>
                      <a:lnTo>
                        <a:pt x="633813" y="1061523"/>
                      </a:lnTo>
                      <a:lnTo>
                        <a:pt x="635379" y="1060686"/>
                      </a:lnTo>
                      <a:lnTo>
                        <a:pt x="633995" y="1057395"/>
                      </a:lnTo>
                      <a:lnTo>
                        <a:pt x="633521" y="1056132"/>
                      </a:lnTo>
                      <a:lnTo>
                        <a:pt x="632963" y="1051919"/>
                      </a:lnTo>
                      <a:lnTo>
                        <a:pt x="635063" y="1049478"/>
                      </a:lnTo>
                      <a:lnTo>
                        <a:pt x="633278" y="1050146"/>
                      </a:lnTo>
                      <a:lnTo>
                        <a:pt x="633121" y="1051166"/>
                      </a:lnTo>
                      <a:lnTo>
                        <a:pt x="632732" y="1050340"/>
                      </a:lnTo>
                      <a:lnTo>
                        <a:pt x="632064" y="1050595"/>
                      </a:lnTo>
                      <a:lnTo>
                        <a:pt x="632501" y="1049878"/>
                      </a:lnTo>
                      <a:lnTo>
                        <a:pt x="631724" y="1048300"/>
                      </a:lnTo>
                      <a:lnTo>
                        <a:pt x="631894" y="1051493"/>
                      </a:lnTo>
                      <a:lnTo>
                        <a:pt x="630947" y="1051493"/>
                      </a:lnTo>
                      <a:lnTo>
                        <a:pt x="628288" y="1051153"/>
                      </a:lnTo>
                      <a:lnTo>
                        <a:pt x="627681" y="1050741"/>
                      </a:lnTo>
                      <a:lnTo>
                        <a:pt x="626588" y="1049575"/>
                      </a:lnTo>
                      <a:lnTo>
                        <a:pt x="624973" y="1046563"/>
                      </a:lnTo>
                      <a:lnTo>
                        <a:pt x="622119" y="1044657"/>
                      </a:lnTo>
                      <a:lnTo>
                        <a:pt x="618841" y="1043588"/>
                      </a:lnTo>
                      <a:lnTo>
                        <a:pt x="617420" y="1041585"/>
                      </a:lnTo>
                      <a:lnTo>
                        <a:pt x="616412" y="1038585"/>
                      </a:lnTo>
                      <a:lnTo>
                        <a:pt x="615950" y="1030170"/>
                      </a:lnTo>
                      <a:lnTo>
                        <a:pt x="615052" y="1024208"/>
                      </a:lnTo>
                      <a:lnTo>
                        <a:pt x="614590" y="1022836"/>
                      </a:lnTo>
                      <a:lnTo>
                        <a:pt x="614105" y="1021840"/>
                      </a:lnTo>
                      <a:lnTo>
                        <a:pt x="611494" y="1018416"/>
                      </a:lnTo>
                      <a:lnTo>
                        <a:pt x="610729" y="1017214"/>
                      </a:lnTo>
                      <a:lnTo>
                        <a:pt x="610413" y="1017117"/>
                      </a:lnTo>
                      <a:lnTo>
                        <a:pt x="609430" y="1017068"/>
                      </a:lnTo>
                      <a:lnTo>
                        <a:pt x="607572" y="1017517"/>
                      </a:lnTo>
                      <a:lnTo>
                        <a:pt x="604463" y="1018477"/>
                      </a:lnTo>
                      <a:lnTo>
                        <a:pt x="602751" y="1018768"/>
                      </a:lnTo>
                      <a:lnTo>
                        <a:pt x="600480" y="1018562"/>
                      </a:lnTo>
                      <a:lnTo>
                        <a:pt x="597335" y="1017275"/>
                      </a:lnTo>
                      <a:lnTo>
                        <a:pt x="597153" y="1017530"/>
                      </a:lnTo>
                      <a:lnTo>
                        <a:pt x="596206" y="1019849"/>
                      </a:lnTo>
                      <a:lnTo>
                        <a:pt x="594737" y="1021913"/>
                      </a:lnTo>
                      <a:lnTo>
                        <a:pt x="593110" y="1023577"/>
                      </a:lnTo>
                      <a:lnTo>
                        <a:pt x="584282" y="1030049"/>
                      </a:lnTo>
                      <a:lnTo>
                        <a:pt x="583201" y="1030413"/>
                      </a:lnTo>
                      <a:lnTo>
                        <a:pt x="580554" y="1030498"/>
                      </a:lnTo>
                      <a:lnTo>
                        <a:pt x="578915" y="1030000"/>
                      </a:lnTo>
                      <a:lnTo>
                        <a:pt x="575770" y="1028507"/>
                      </a:lnTo>
                      <a:lnTo>
                        <a:pt x="563614" y="1034068"/>
                      </a:lnTo>
                      <a:lnTo>
                        <a:pt x="561077" y="1035938"/>
                      </a:lnTo>
                      <a:lnTo>
                        <a:pt x="556511" y="1040273"/>
                      </a:lnTo>
                      <a:lnTo>
                        <a:pt x="549079" y="1045835"/>
                      </a:lnTo>
                      <a:lnTo>
                        <a:pt x="545169" y="1048142"/>
                      </a:lnTo>
                      <a:lnTo>
                        <a:pt x="541806" y="1049235"/>
                      </a:lnTo>
                      <a:lnTo>
                        <a:pt x="536439" y="1049587"/>
                      </a:lnTo>
                      <a:lnTo>
                        <a:pt x="532638" y="1050838"/>
                      </a:lnTo>
                      <a:lnTo>
                        <a:pt x="531217" y="1051894"/>
                      </a:lnTo>
                      <a:lnTo>
                        <a:pt x="530829" y="1052574"/>
                      </a:lnTo>
                      <a:lnTo>
                        <a:pt x="529991" y="1051894"/>
                      </a:lnTo>
                      <a:lnTo>
                        <a:pt x="528315" y="1052756"/>
                      </a:lnTo>
                      <a:lnTo>
                        <a:pt x="531521" y="1053388"/>
                      </a:lnTo>
                      <a:lnTo>
                        <a:pt x="531849" y="1054347"/>
                      </a:lnTo>
                      <a:lnTo>
                        <a:pt x="532480" y="1055428"/>
                      </a:lnTo>
                      <a:lnTo>
                        <a:pt x="533427" y="1056715"/>
                      </a:lnTo>
                      <a:lnTo>
                        <a:pt x="536329" y="1060006"/>
                      </a:lnTo>
                      <a:lnTo>
                        <a:pt x="537434" y="1062058"/>
                      </a:lnTo>
                      <a:lnTo>
                        <a:pt x="538102" y="1064741"/>
                      </a:lnTo>
                      <a:lnTo>
                        <a:pt x="537252" y="1068105"/>
                      </a:lnTo>
                      <a:lnTo>
                        <a:pt x="535831" y="1069161"/>
                      </a:lnTo>
                      <a:lnTo>
                        <a:pt x="534471" y="1069805"/>
                      </a:lnTo>
                      <a:lnTo>
                        <a:pt x="532103" y="1070266"/>
                      </a:lnTo>
                      <a:lnTo>
                        <a:pt x="530161" y="1070910"/>
                      </a:lnTo>
                      <a:lnTo>
                        <a:pt x="526141" y="1073144"/>
                      </a:lnTo>
                      <a:lnTo>
                        <a:pt x="522365" y="1074176"/>
                      </a:lnTo>
                      <a:lnTo>
                        <a:pt x="518734" y="1073448"/>
                      </a:lnTo>
                      <a:lnTo>
                        <a:pt x="515698" y="1069550"/>
                      </a:lnTo>
                      <a:lnTo>
                        <a:pt x="515043" y="1069076"/>
                      </a:lnTo>
                      <a:lnTo>
                        <a:pt x="514569" y="1068955"/>
                      </a:lnTo>
                      <a:lnTo>
                        <a:pt x="510683" y="1069975"/>
                      </a:lnTo>
                      <a:lnTo>
                        <a:pt x="496124" y="1070898"/>
                      </a:lnTo>
                      <a:lnTo>
                        <a:pt x="493258" y="1070655"/>
                      </a:lnTo>
                      <a:lnTo>
                        <a:pt x="486883" y="1068906"/>
                      </a:lnTo>
                      <a:lnTo>
                        <a:pt x="479087" y="1065300"/>
                      </a:lnTo>
                      <a:lnTo>
                        <a:pt x="477181" y="1064693"/>
                      </a:lnTo>
                      <a:lnTo>
                        <a:pt x="474801" y="1065045"/>
                      </a:lnTo>
                      <a:lnTo>
                        <a:pt x="473490" y="1066089"/>
                      </a:lnTo>
                      <a:lnTo>
                        <a:pt x="472263" y="1067704"/>
                      </a:lnTo>
                      <a:lnTo>
                        <a:pt x="469531" y="1073326"/>
                      </a:lnTo>
                      <a:lnTo>
                        <a:pt x="468450" y="1075051"/>
                      </a:lnTo>
                      <a:lnTo>
                        <a:pt x="466665" y="1076872"/>
                      </a:lnTo>
                      <a:lnTo>
                        <a:pt x="463472" y="1078936"/>
                      </a:lnTo>
                      <a:lnTo>
                        <a:pt x="460254" y="1079702"/>
                      </a:lnTo>
                      <a:lnTo>
                        <a:pt x="459622" y="1079799"/>
                      </a:lnTo>
                      <a:lnTo>
                        <a:pt x="456429" y="1079009"/>
                      </a:lnTo>
                      <a:lnTo>
                        <a:pt x="454328" y="1076921"/>
                      </a:lnTo>
                      <a:lnTo>
                        <a:pt x="453636" y="1075063"/>
                      </a:lnTo>
                      <a:lnTo>
                        <a:pt x="453247" y="1073047"/>
                      </a:lnTo>
                      <a:lnTo>
                        <a:pt x="452932" y="1072039"/>
                      </a:lnTo>
                      <a:lnTo>
                        <a:pt x="452324" y="1071602"/>
                      </a:lnTo>
                      <a:lnTo>
                        <a:pt x="451062" y="1071347"/>
                      </a:lnTo>
                      <a:lnTo>
                        <a:pt x="448596" y="1071590"/>
                      </a:lnTo>
                      <a:lnTo>
                        <a:pt x="448548" y="1071881"/>
                      </a:lnTo>
                      <a:lnTo>
                        <a:pt x="448754" y="1074516"/>
                      </a:lnTo>
                      <a:lnTo>
                        <a:pt x="449191" y="1077079"/>
                      </a:lnTo>
                      <a:lnTo>
                        <a:pt x="449289" y="1080272"/>
                      </a:lnTo>
                      <a:lnTo>
                        <a:pt x="448305" y="1083636"/>
                      </a:lnTo>
                      <a:lnTo>
                        <a:pt x="447662" y="1085469"/>
                      </a:lnTo>
                      <a:lnTo>
                        <a:pt x="438554" y="1086307"/>
                      </a:lnTo>
                      <a:lnTo>
                        <a:pt x="435919" y="1085214"/>
                      </a:lnTo>
                      <a:lnTo>
                        <a:pt x="432969" y="1083405"/>
                      </a:lnTo>
                      <a:lnTo>
                        <a:pt x="431682" y="1081171"/>
                      </a:lnTo>
                      <a:lnTo>
                        <a:pt x="431014" y="1078014"/>
                      </a:lnTo>
                      <a:lnTo>
                        <a:pt x="430989" y="1075051"/>
                      </a:lnTo>
                      <a:lnTo>
                        <a:pt x="431414" y="1071626"/>
                      </a:lnTo>
                      <a:lnTo>
                        <a:pt x="431985" y="1069113"/>
                      </a:lnTo>
                      <a:lnTo>
                        <a:pt x="432628" y="1067061"/>
                      </a:lnTo>
                      <a:lnTo>
                        <a:pt x="434013" y="1064875"/>
                      </a:lnTo>
                      <a:lnTo>
                        <a:pt x="439052" y="1060236"/>
                      </a:lnTo>
                      <a:lnTo>
                        <a:pt x="440303" y="1058208"/>
                      </a:lnTo>
                      <a:lnTo>
                        <a:pt x="442379" y="1053315"/>
                      </a:lnTo>
                      <a:lnTo>
                        <a:pt x="448767" y="1044766"/>
                      </a:lnTo>
                      <a:lnTo>
                        <a:pt x="447067" y="1045628"/>
                      </a:lnTo>
                      <a:lnTo>
                        <a:pt x="444662" y="1045410"/>
                      </a:lnTo>
                      <a:lnTo>
                        <a:pt x="441857" y="1044329"/>
                      </a:lnTo>
                      <a:lnTo>
                        <a:pt x="440874" y="1044305"/>
                      </a:lnTo>
                      <a:lnTo>
                        <a:pt x="439926" y="1044730"/>
                      </a:lnTo>
                      <a:lnTo>
                        <a:pt x="438627" y="1045495"/>
                      </a:lnTo>
                      <a:lnTo>
                        <a:pt x="437935" y="1046369"/>
                      </a:lnTo>
                      <a:lnTo>
                        <a:pt x="437024" y="1048191"/>
                      </a:lnTo>
                      <a:lnTo>
                        <a:pt x="435810" y="1049988"/>
                      </a:lnTo>
                      <a:lnTo>
                        <a:pt x="434608" y="1050959"/>
                      </a:lnTo>
                      <a:lnTo>
                        <a:pt x="432446" y="1051882"/>
                      </a:lnTo>
                      <a:lnTo>
                        <a:pt x="431706" y="1052125"/>
                      </a:lnTo>
                      <a:lnTo>
                        <a:pt x="428949" y="1051603"/>
                      </a:lnTo>
                      <a:lnTo>
                        <a:pt x="427091" y="1050255"/>
                      </a:lnTo>
                      <a:lnTo>
                        <a:pt x="426897" y="1050036"/>
                      </a:lnTo>
                      <a:lnTo>
                        <a:pt x="428706" y="1055428"/>
                      </a:lnTo>
                      <a:lnTo>
                        <a:pt x="429435" y="1059180"/>
                      </a:lnTo>
                      <a:lnTo>
                        <a:pt x="429484" y="1062616"/>
                      </a:lnTo>
                      <a:lnTo>
                        <a:pt x="428148" y="1065652"/>
                      </a:lnTo>
                      <a:lnTo>
                        <a:pt x="425355" y="1067631"/>
                      </a:lnTo>
                      <a:lnTo>
                        <a:pt x="422404" y="1067668"/>
                      </a:lnTo>
                      <a:lnTo>
                        <a:pt x="416952" y="1065859"/>
                      </a:lnTo>
                      <a:lnTo>
                        <a:pt x="415155" y="1065397"/>
                      </a:lnTo>
                      <a:lnTo>
                        <a:pt x="413273" y="1065591"/>
                      </a:lnTo>
                      <a:lnTo>
                        <a:pt x="410990" y="1066053"/>
                      </a:lnTo>
                      <a:lnTo>
                        <a:pt x="406728" y="1064171"/>
                      </a:lnTo>
                      <a:lnTo>
                        <a:pt x="405562" y="1064013"/>
                      </a:lnTo>
                      <a:lnTo>
                        <a:pt x="405198" y="1064049"/>
                      </a:lnTo>
                      <a:lnTo>
                        <a:pt x="403655" y="1065081"/>
                      </a:lnTo>
                      <a:lnTo>
                        <a:pt x="402878" y="1066199"/>
                      </a:lnTo>
                      <a:lnTo>
                        <a:pt x="400960" y="1069477"/>
                      </a:lnTo>
                      <a:lnTo>
                        <a:pt x="398689" y="1070946"/>
                      </a:lnTo>
                      <a:lnTo>
                        <a:pt x="396103" y="1071663"/>
                      </a:lnTo>
                      <a:lnTo>
                        <a:pt x="394937" y="1071881"/>
                      </a:lnTo>
                      <a:lnTo>
                        <a:pt x="391998" y="1070036"/>
                      </a:lnTo>
                      <a:lnTo>
                        <a:pt x="390990" y="1068141"/>
                      </a:lnTo>
                      <a:lnTo>
                        <a:pt x="389970" y="1061123"/>
                      </a:lnTo>
                      <a:lnTo>
                        <a:pt x="388112" y="1061463"/>
                      </a:lnTo>
                      <a:lnTo>
                        <a:pt x="382855" y="1064001"/>
                      </a:lnTo>
                      <a:lnTo>
                        <a:pt x="379406" y="1065094"/>
                      </a:lnTo>
                      <a:lnTo>
                        <a:pt x="375860" y="1065725"/>
                      </a:lnTo>
                      <a:lnTo>
                        <a:pt x="373638" y="1064438"/>
                      </a:lnTo>
                      <a:lnTo>
                        <a:pt x="371853" y="1062531"/>
                      </a:lnTo>
                      <a:lnTo>
                        <a:pt x="370797" y="1060419"/>
                      </a:lnTo>
                      <a:lnTo>
                        <a:pt x="370469" y="1056970"/>
                      </a:lnTo>
                      <a:lnTo>
                        <a:pt x="371149" y="1053910"/>
                      </a:lnTo>
                      <a:lnTo>
                        <a:pt x="372557" y="1050935"/>
                      </a:lnTo>
                      <a:lnTo>
                        <a:pt x="376686" y="1046673"/>
                      </a:lnTo>
                      <a:lnTo>
                        <a:pt x="376200" y="1046442"/>
                      </a:lnTo>
                      <a:lnTo>
                        <a:pt x="375107" y="1045325"/>
                      </a:lnTo>
                      <a:lnTo>
                        <a:pt x="376832" y="1042678"/>
                      </a:lnTo>
                      <a:lnTo>
                        <a:pt x="374112" y="1044414"/>
                      </a:lnTo>
                      <a:lnTo>
                        <a:pt x="373723" y="1044208"/>
                      </a:lnTo>
                      <a:lnTo>
                        <a:pt x="372278" y="1044062"/>
                      </a:lnTo>
                      <a:lnTo>
                        <a:pt x="372448" y="1045568"/>
                      </a:lnTo>
                      <a:lnTo>
                        <a:pt x="372327" y="1048154"/>
                      </a:lnTo>
                      <a:lnTo>
                        <a:pt x="371622" y="1051579"/>
                      </a:lnTo>
                      <a:lnTo>
                        <a:pt x="368368" y="1054614"/>
                      </a:lnTo>
                      <a:lnTo>
                        <a:pt x="365369" y="1055282"/>
                      </a:lnTo>
                      <a:lnTo>
                        <a:pt x="362540" y="1055683"/>
                      </a:lnTo>
                      <a:lnTo>
                        <a:pt x="361617" y="1056290"/>
                      </a:lnTo>
                      <a:lnTo>
                        <a:pt x="360791" y="1057079"/>
                      </a:lnTo>
                      <a:lnTo>
                        <a:pt x="358799" y="1060018"/>
                      </a:lnTo>
                      <a:lnTo>
                        <a:pt x="356881" y="1062204"/>
                      </a:lnTo>
                      <a:lnTo>
                        <a:pt x="352546" y="1065385"/>
                      </a:lnTo>
                      <a:lnTo>
                        <a:pt x="348527" y="1065616"/>
                      </a:lnTo>
                      <a:lnTo>
                        <a:pt x="345224" y="1063479"/>
                      </a:lnTo>
                      <a:lnTo>
                        <a:pt x="343706" y="1060540"/>
                      </a:lnTo>
                      <a:lnTo>
                        <a:pt x="343026" y="1056460"/>
                      </a:lnTo>
                      <a:lnTo>
                        <a:pt x="343269" y="1053011"/>
                      </a:lnTo>
                      <a:lnTo>
                        <a:pt x="344216" y="1049174"/>
                      </a:lnTo>
                      <a:lnTo>
                        <a:pt x="345782" y="1045750"/>
                      </a:lnTo>
                      <a:lnTo>
                        <a:pt x="347859" y="1042653"/>
                      </a:lnTo>
                      <a:lnTo>
                        <a:pt x="351101" y="1039776"/>
                      </a:lnTo>
                      <a:lnTo>
                        <a:pt x="355897" y="1036667"/>
                      </a:lnTo>
                      <a:lnTo>
                        <a:pt x="356662" y="1035975"/>
                      </a:lnTo>
                      <a:lnTo>
                        <a:pt x="357002" y="1035477"/>
                      </a:lnTo>
                      <a:lnTo>
                        <a:pt x="357270" y="1034263"/>
                      </a:lnTo>
                      <a:lnTo>
                        <a:pt x="357136" y="1033231"/>
                      </a:lnTo>
                      <a:lnTo>
                        <a:pt x="356614" y="1030595"/>
                      </a:lnTo>
                      <a:lnTo>
                        <a:pt x="356565" y="1028203"/>
                      </a:lnTo>
                      <a:lnTo>
                        <a:pt x="357099" y="1025423"/>
                      </a:lnTo>
                      <a:lnTo>
                        <a:pt x="360852" y="1018817"/>
                      </a:lnTo>
                      <a:lnTo>
                        <a:pt x="361398" y="1012102"/>
                      </a:lnTo>
                      <a:lnTo>
                        <a:pt x="361010" y="1012126"/>
                      </a:lnTo>
                      <a:lnTo>
                        <a:pt x="359419" y="1012624"/>
                      </a:lnTo>
                      <a:lnTo>
                        <a:pt x="355788" y="1012976"/>
                      </a:lnTo>
                      <a:lnTo>
                        <a:pt x="352716" y="1011567"/>
                      </a:lnTo>
                      <a:lnTo>
                        <a:pt x="351635" y="1009564"/>
                      </a:lnTo>
                      <a:lnTo>
                        <a:pt x="351417" y="1007305"/>
                      </a:lnTo>
                      <a:lnTo>
                        <a:pt x="351878" y="1005751"/>
                      </a:lnTo>
                      <a:lnTo>
                        <a:pt x="352922" y="1003565"/>
                      </a:lnTo>
                      <a:lnTo>
                        <a:pt x="353578" y="1001659"/>
                      </a:lnTo>
                      <a:lnTo>
                        <a:pt x="353797" y="999947"/>
                      </a:lnTo>
                      <a:lnTo>
                        <a:pt x="353760" y="996559"/>
                      </a:lnTo>
                      <a:lnTo>
                        <a:pt x="353420" y="995235"/>
                      </a:lnTo>
                      <a:lnTo>
                        <a:pt x="353019" y="994130"/>
                      </a:lnTo>
                      <a:lnTo>
                        <a:pt x="351927" y="993062"/>
                      </a:lnTo>
                      <a:lnTo>
                        <a:pt x="351781" y="993025"/>
                      </a:lnTo>
                      <a:lnTo>
                        <a:pt x="350421" y="993547"/>
                      </a:lnTo>
                      <a:lnTo>
                        <a:pt x="348417" y="996304"/>
                      </a:lnTo>
                      <a:lnTo>
                        <a:pt x="347543" y="998356"/>
                      </a:lnTo>
                      <a:lnTo>
                        <a:pt x="347276" y="999704"/>
                      </a:lnTo>
                      <a:lnTo>
                        <a:pt x="347203" y="1001416"/>
                      </a:lnTo>
                      <a:lnTo>
                        <a:pt x="347713" y="1008325"/>
                      </a:lnTo>
                      <a:lnTo>
                        <a:pt x="347288" y="1011932"/>
                      </a:lnTo>
                      <a:lnTo>
                        <a:pt x="345503" y="1014178"/>
                      </a:lnTo>
                      <a:lnTo>
                        <a:pt x="342188" y="1016485"/>
                      </a:lnTo>
                      <a:lnTo>
                        <a:pt x="337319" y="1017153"/>
                      </a:lnTo>
                      <a:lnTo>
                        <a:pt x="333919" y="1015975"/>
                      </a:lnTo>
                      <a:lnTo>
                        <a:pt x="331672" y="1013437"/>
                      </a:lnTo>
                      <a:lnTo>
                        <a:pt x="331271" y="1010074"/>
                      </a:lnTo>
                      <a:lnTo>
                        <a:pt x="331478" y="1001877"/>
                      </a:lnTo>
                      <a:lnTo>
                        <a:pt x="330871" y="997980"/>
                      </a:lnTo>
                      <a:lnTo>
                        <a:pt x="330336" y="996984"/>
                      </a:lnTo>
                      <a:lnTo>
                        <a:pt x="329316" y="997749"/>
                      </a:lnTo>
                      <a:lnTo>
                        <a:pt x="326936" y="998696"/>
                      </a:lnTo>
                      <a:lnTo>
                        <a:pt x="324459" y="999157"/>
                      </a:lnTo>
                      <a:lnTo>
                        <a:pt x="323573" y="999728"/>
                      </a:lnTo>
                      <a:lnTo>
                        <a:pt x="323160" y="1001367"/>
                      </a:lnTo>
                      <a:lnTo>
                        <a:pt x="323002" y="1004500"/>
                      </a:lnTo>
                      <a:lnTo>
                        <a:pt x="323269" y="1005022"/>
                      </a:lnTo>
                      <a:lnTo>
                        <a:pt x="326706" y="1007840"/>
                      </a:lnTo>
                      <a:lnTo>
                        <a:pt x="327131" y="1008860"/>
                      </a:lnTo>
                      <a:lnTo>
                        <a:pt x="327641" y="1010389"/>
                      </a:lnTo>
                      <a:lnTo>
                        <a:pt x="327908" y="1012563"/>
                      </a:lnTo>
                      <a:lnTo>
                        <a:pt x="327119" y="1015040"/>
                      </a:lnTo>
                      <a:lnTo>
                        <a:pt x="324787" y="1018671"/>
                      </a:lnTo>
                      <a:lnTo>
                        <a:pt x="324289" y="1019691"/>
                      </a:lnTo>
                      <a:lnTo>
                        <a:pt x="324374" y="1020347"/>
                      </a:lnTo>
                      <a:lnTo>
                        <a:pt x="324666" y="1020626"/>
                      </a:lnTo>
                      <a:lnTo>
                        <a:pt x="325516" y="1022751"/>
                      </a:lnTo>
                      <a:lnTo>
                        <a:pt x="325880" y="1025228"/>
                      </a:lnTo>
                      <a:lnTo>
                        <a:pt x="325406" y="1027888"/>
                      </a:lnTo>
                      <a:lnTo>
                        <a:pt x="325115" y="1029041"/>
                      </a:lnTo>
                      <a:lnTo>
                        <a:pt x="321545" y="1031397"/>
                      </a:lnTo>
                      <a:lnTo>
                        <a:pt x="317999" y="1030826"/>
                      </a:lnTo>
                      <a:lnTo>
                        <a:pt x="315886" y="1029199"/>
                      </a:lnTo>
                      <a:lnTo>
                        <a:pt x="313142" y="1026151"/>
                      </a:lnTo>
                      <a:lnTo>
                        <a:pt x="311976" y="1025107"/>
                      </a:lnTo>
                      <a:lnTo>
                        <a:pt x="309426" y="1023589"/>
                      </a:lnTo>
                      <a:lnTo>
                        <a:pt x="307666" y="1021658"/>
                      </a:lnTo>
                      <a:lnTo>
                        <a:pt x="306233" y="1018246"/>
                      </a:lnTo>
                      <a:lnTo>
                        <a:pt x="305492" y="1018368"/>
                      </a:lnTo>
                      <a:lnTo>
                        <a:pt x="301922" y="1017299"/>
                      </a:lnTo>
                      <a:lnTo>
                        <a:pt x="299117" y="1017469"/>
                      </a:lnTo>
                      <a:lnTo>
                        <a:pt x="296676" y="1017724"/>
                      </a:lnTo>
                      <a:lnTo>
                        <a:pt x="295911" y="1018161"/>
                      </a:lnTo>
                      <a:lnTo>
                        <a:pt x="295413" y="1018550"/>
                      </a:lnTo>
                      <a:lnTo>
                        <a:pt x="295559" y="1019582"/>
                      </a:lnTo>
                      <a:lnTo>
                        <a:pt x="296324" y="1022387"/>
                      </a:lnTo>
                      <a:lnTo>
                        <a:pt x="296057" y="1023990"/>
                      </a:lnTo>
                      <a:lnTo>
                        <a:pt x="294952" y="1026212"/>
                      </a:lnTo>
                      <a:lnTo>
                        <a:pt x="291710" y="1028993"/>
                      </a:lnTo>
                      <a:lnTo>
                        <a:pt x="290617" y="1030122"/>
                      </a:lnTo>
                      <a:lnTo>
                        <a:pt x="286331" y="1036133"/>
                      </a:lnTo>
                      <a:lnTo>
                        <a:pt x="284631" y="1039217"/>
                      </a:lnTo>
                      <a:lnTo>
                        <a:pt x="283865" y="1040905"/>
                      </a:lnTo>
                      <a:lnTo>
                        <a:pt x="283574" y="1042095"/>
                      </a:lnTo>
                      <a:lnTo>
                        <a:pt x="283744" y="1042714"/>
                      </a:lnTo>
                      <a:lnTo>
                        <a:pt x="284035" y="1043431"/>
                      </a:lnTo>
                      <a:lnTo>
                        <a:pt x="285663" y="1044876"/>
                      </a:lnTo>
                      <a:lnTo>
                        <a:pt x="289160" y="1047535"/>
                      </a:lnTo>
                      <a:lnTo>
                        <a:pt x="291856" y="1050048"/>
                      </a:lnTo>
                      <a:lnTo>
                        <a:pt x="294393" y="1053157"/>
                      </a:lnTo>
                      <a:lnTo>
                        <a:pt x="301509" y="1068979"/>
                      </a:lnTo>
                      <a:lnTo>
                        <a:pt x="303209" y="1074881"/>
                      </a:lnTo>
                      <a:lnTo>
                        <a:pt x="303610" y="1084413"/>
                      </a:lnTo>
                      <a:lnTo>
                        <a:pt x="307471" y="1103999"/>
                      </a:lnTo>
                      <a:lnTo>
                        <a:pt x="308953" y="1108274"/>
                      </a:lnTo>
                      <a:lnTo>
                        <a:pt x="310604" y="1111018"/>
                      </a:lnTo>
                      <a:lnTo>
                        <a:pt x="317356" y="1117490"/>
                      </a:lnTo>
                      <a:lnTo>
                        <a:pt x="319918" y="1120745"/>
                      </a:lnTo>
                      <a:lnTo>
                        <a:pt x="322796" y="1126209"/>
                      </a:lnTo>
                      <a:lnTo>
                        <a:pt x="324131" y="1130301"/>
                      </a:lnTo>
                      <a:lnTo>
                        <a:pt x="324714" y="1133895"/>
                      </a:lnTo>
                      <a:lnTo>
                        <a:pt x="324629" y="1143610"/>
                      </a:lnTo>
                      <a:lnTo>
                        <a:pt x="325419" y="1149353"/>
                      </a:lnTo>
                      <a:lnTo>
                        <a:pt x="325491" y="1152098"/>
                      </a:lnTo>
                      <a:lnTo>
                        <a:pt x="325091" y="1154636"/>
                      </a:lnTo>
                      <a:lnTo>
                        <a:pt x="324374" y="1156700"/>
                      </a:lnTo>
                      <a:lnTo>
                        <a:pt x="321788" y="1160355"/>
                      </a:lnTo>
                      <a:lnTo>
                        <a:pt x="321569" y="1160865"/>
                      </a:lnTo>
                      <a:lnTo>
                        <a:pt x="321521" y="1163561"/>
                      </a:lnTo>
                      <a:lnTo>
                        <a:pt x="323415" y="1167106"/>
                      </a:lnTo>
                      <a:lnTo>
                        <a:pt x="324144" y="1168078"/>
                      </a:lnTo>
                      <a:lnTo>
                        <a:pt x="325455" y="1168236"/>
                      </a:lnTo>
                      <a:lnTo>
                        <a:pt x="331842" y="1165953"/>
                      </a:lnTo>
                      <a:lnTo>
                        <a:pt x="336517" y="1164994"/>
                      </a:lnTo>
                      <a:lnTo>
                        <a:pt x="339298" y="1164775"/>
                      </a:lnTo>
                      <a:lnTo>
                        <a:pt x="342832" y="1165297"/>
                      </a:lnTo>
                      <a:lnTo>
                        <a:pt x="346244" y="1166718"/>
                      </a:lnTo>
                      <a:lnTo>
                        <a:pt x="349850" y="1169826"/>
                      </a:lnTo>
                      <a:lnTo>
                        <a:pt x="351854" y="1173032"/>
                      </a:lnTo>
                      <a:lnTo>
                        <a:pt x="353032" y="1176529"/>
                      </a:lnTo>
                      <a:lnTo>
                        <a:pt x="353833" y="1179917"/>
                      </a:lnTo>
                      <a:lnTo>
                        <a:pt x="354707" y="1181581"/>
                      </a:lnTo>
                      <a:lnTo>
                        <a:pt x="358035" y="1185734"/>
                      </a:lnTo>
                      <a:lnTo>
                        <a:pt x="360451" y="1189680"/>
                      </a:lnTo>
                      <a:lnTo>
                        <a:pt x="360281" y="1192607"/>
                      </a:lnTo>
                      <a:lnTo>
                        <a:pt x="358787" y="1196638"/>
                      </a:lnTo>
                      <a:lnTo>
                        <a:pt x="358982" y="1197828"/>
                      </a:lnTo>
                      <a:lnTo>
                        <a:pt x="359467" y="1198059"/>
                      </a:lnTo>
                      <a:lnTo>
                        <a:pt x="360572" y="1197974"/>
                      </a:lnTo>
                      <a:lnTo>
                        <a:pt x="364920" y="1198666"/>
                      </a:lnTo>
                      <a:lnTo>
                        <a:pt x="369352" y="1200912"/>
                      </a:lnTo>
                      <a:lnTo>
                        <a:pt x="370906" y="1201774"/>
                      </a:lnTo>
                      <a:lnTo>
                        <a:pt x="370979" y="1208999"/>
                      </a:lnTo>
                      <a:lnTo>
                        <a:pt x="369667" y="1213468"/>
                      </a:lnTo>
                      <a:lnTo>
                        <a:pt x="368077" y="1217123"/>
                      </a:lnTo>
                      <a:lnTo>
                        <a:pt x="366000" y="1220207"/>
                      </a:lnTo>
                      <a:lnTo>
                        <a:pt x="364167" y="1222187"/>
                      </a:lnTo>
                      <a:lnTo>
                        <a:pt x="361896" y="1224178"/>
                      </a:lnTo>
                      <a:lnTo>
                        <a:pt x="355618" y="1229910"/>
                      </a:lnTo>
                      <a:lnTo>
                        <a:pt x="353833" y="1233540"/>
                      </a:lnTo>
                      <a:lnTo>
                        <a:pt x="352267" y="1238555"/>
                      </a:lnTo>
                      <a:lnTo>
                        <a:pt x="349692" y="1243789"/>
                      </a:lnTo>
                      <a:lnTo>
                        <a:pt x="346474" y="1247869"/>
                      </a:lnTo>
                      <a:lnTo>
                        <a:pt x="341423" y="1252921"/>
                      </a:lnTo>
                      <a:lnTo>
                        <a:pt x="337428" y="1255641"/>
                      </a:lnTo>
                      <a:lnTo>
                        <a:pt x="332571" y="1256478"/>
                      </a:lnTo>
                      <a:lnTo>
                        <a:pt x="328551" y="1254657"/>
                      </a:lnTo>
                      <a:lnTo>
                        <a:pt x="324824" y="1251512"/>
                      </a:lnTo>
                      <a:lnTo>
                        <a:pt x="323354" y="1248233"/>
                      </a:lnTo>
                      <a:lnTo>
                        <a:pt x="322832" y="1245161"/>
                      </a:lnTo>
                      <a:lnTo>
                        <a:pt x="322784" y="1243923"/>
                      </a:lnTo>
                      <a:lnTo>
                        <a:pt x="322152" y="1243801"/>
                      </a:lnTo>
                      <a:lnTo>
                        <a:pt x="319651" y="1243886"/>
                      </a:lnTo>
                      <a:lnTo>
                        <a:pt x="313276" y="1243315"/>
                      </a:lnTo>
                      <a:lnTo>
                        <a:pt x="309839" y="1242368"/>
                      </a:lnTo>
                      <a:lnTo>
                        <a:pt x="306160" y="1240729"/>
                      </a:lnTo>
                      <a:lnTo>
                        <a:pt x="302808" y="1238446"/>
                      </a:lnTo>
                      <a:lnTo>
                        <a:pt x="296810" y="1232460"/>
                      </a:lnTo>
                      <a:lnTo>
                        <a:pt x="293483" y="1230420"/>
                      </a:lnTo>
                      <a:lnTo>
                        <a:pt x="282955" y="1221604"/>
                      </a:lnTo>
                      <a:lnTo>
                        <a:pt x="278401" y="1219042"/>
                      </a:lnTo>
                      <a:lnTo>
                        <a:pt x="275001" y="1217657"/>
                      </a:lnTo>
                      <a:lnTo>
                        <a:pt x="274722" y="1217670"/>
                      </a:lnTo>
                      <a:lnTo>
                        <a:pt x="274200" y="1217900"/>
                      </a:lnTo>
                      <a:lnTo>
                        <a:pt x="273641" y="1218592"/>
                      </a:lnTo>
                      <a:lnTo>
                        <a:pt x="272657" y="1220062"/>
                      </a:lnTo>
                      <a:lnTo>
                        <a:pt x="272026" y="1221434"/>
                      </a:lnTo>
                      <a:lnTo>
                        <a:pt x="271565" y="1223110"/>
                      </a:lnTo>
                      <a:lnTo>
                        <a:pt x="271346" y="1226352"/>
                      </a:lnTo>
                      <a:lnTo>
                        <a:pt x="271079" y="1228270"/>
                      </a:lnTo>
                      <a:lnTo>
                        <a:pt x="270083" y="1230711"/>
                      </a:lnTo>
                      <a:lnTo>
                        <a:pt x="268383" y="1233115"/>
                      </a:lnTo>
                      <a:lnTo>
                        <a:pt x="265894" y="1235495"/>
                      </a:lnTo>
                      <a:lnTo>
                        <a:pt x="262567" y="1237742"/>
                      </a:lnTo>
                      <a:lnTo>
                        <a:pt x="257090" y="1239721"/>
                      </a:lnTo>
                      <a:lnTo>
                        <a:pt x="253617" y="1239405"/>
                      </a:lnTo>
                      <a:lnTo>
                        <a:pt x="249902" y="1237790"/>
                      </a:lnTo>
                      <a:lnTo>
                        <a:pt x="247109" y="1235277"/>
                      </a:lnTo>
                      <a:lnTo>
                        <a:pt x="244972" y="1232642"/>
                      </a:lnTo>
                      <a:lnTo>
                        <a:pt x="243551" y="1229812"/>
                      </a:lnTo>
                      <a:lnTo>
                        <a:pt x="243101" y="1226425"/>
                      </a:lnTo>
                      <a:lnTo>
                        <a:pt x="243733" y="1223438"/>
                      </a:lnTo>
                      <a:lnTo>
                        <a:pt x="247376" y="1217038"/>
                      </a:lnTo>
                      <a:lnTo>
                        <a:pt x="247327" y="1216819"/>
                      </a:lnTo>
                      <a:lnTo>
                        <a:pt x="246647" y="1216030"/>
                      </a:lnTo>
                      <a:lnTo>
                        <a:pt x="245603" y="1215520"/>
                      </a:lnTo>
                      <a:lnTo>
                        <a:pt x="241207" y="1213638"/>
                      </a:lnTo>
                      <a:lnTo>
                        <a:pt x="237443" y="1211161"/>
                      </a:lnTo>
                      <a:lnTo>
                        <a:pt x="233861" y="1208222"/>
                      </a:lnTo>
                      <a:lnTo>
                        <a:pt x="232598" y="1204567"/>
                      </a:lnTo>
                      <a:lnTo>
                        <a:pt x="232379" y="1203681"/>
                      </a:lnTo>
                      <a:lnTo>
                        <a:pt x="231554" y="1203644"/>
                      </a:lnTo>
                      <a:lnTo>
                        <a:pt x="228615" y="1202054"/>
                      </a:lnTo>
                      <a:lnTo>
                        <a:pt x="227789" y="1201532"/>
                      </a:lnTo>
                      <a:lnTo>
                        <a:pt x="227425" y="1200621"/>
                      </a:lnTo>
                      <a:lnTo>
                        <a:pt x="224936" y="1195994"/>
                      </a:lnTo>
                      <a:lnTo>
                        <a:pt x="223126" y="1195448"/>
                      </a:lnTo>
                      <a:lnTo>
                        <a:pt x="223527" y="1192291"/>
                      </a:lnTo>
                      <a:lnTo>
                        <a:pt x="224450" y="1189583"/>
                      </a:lnTo>
                      <a:lnTo>
                        <a:pt x="229623" y="1182370"/>
                      </a:lnTo>
                      <a:lnTo>
                        <a:pt x="231335" y="1179055"/>
                      </a:lnTo>
                      <a:lnTo>
                        <a:pt x="232185" y="1175740"/>
                      </a:lnTo>
                      <a:lnTo>
                        <a:pt x="232367" y="1173166"/>
                      </a:lnTo>
                      <a:lnTo>
                        <a:pt x="230983" y="1171381"/>
                      </a:lnTo>
                      <a:lnTo>
                        <a:pt x="229987" y="1169426"/>
                      </a:lnTo>
                      <a:lnTo>
                        <a:pt x="229538" y="1168406"/>
                      </a:lnTo>
                      <a:lnTo>
                        <a:pt x="230959" y="1163779"/>
                      </a:lnTo>
                      <a:lnTo>
                        <a:pt x="231007" y="1163026"/>
                      </a:lnTo>
                      <a:lnTo>
                        <a:pt x="230388" y="1159116"/>
                      </a:lnTo>
                      <a:lnTo>
                        <a:pt x="229101" y="1157283"/>
                      </a:lnTo>
                      <a:lnTo>
                        <a:pt x="227352" y="1155498"/>
                      </a:lnTo>
                      <a:lnTo>
                        <a:pt x="225081" y="1152049"/>
                      </a:lnTo>
                      <a:lnTo>
                        <a:pt x="223976" y="1147326"/>
                      </a:lnTo>
                      <a:lnTo>
                        <a:pt x="223916" y="1142651"/>
                      </a:lnTo>
                      <a:lnTo>
                        <a:pt x="223600" y="1139420"/>
                      </a:lnTo>
                      <a:lnTo>
                        <a:pt x="219107" y="1131370"/>
                      </a:lnTo>
                      <a:lnTo>
                        <a:pt x="216909" y="1130726"/>
                      </a:lnTo>
                      <a:lnTo>
                        <a:pt x="214371" y="1128140"/>
                      </a:lnTo>
                      <a:lnTo>
                        <a:pt x="213291" y="1125383"/>
                      </a:lnTo>
                      <a:lnTo>
                        <a:pt x="213084" y="1121825"/>
                      </a:lnTo>
                      <a:lnTo>
                        <a:pt x="213084" y="1120854"/>
                      </a:lnTo>
                      <a:lnTo>
                        <a:pt x="215780" y="1117102"/>
                      </a:lnTo>
                      <a:lnTo>
                        <a:pt x="224912" y="1109743"/>
                      </a:lnTo>
                      <a:lnTo>
                        <a:pt x="231347" y="1106610"/>
                      </a:lnTo>
                      <a:lnTo>
                        <a:pt x="241013" y="1097649"/>
                      </a:lnTo>
                      <a:lnTo>
                        <a:pt x="242956" y="1095123"/>
                      </a:lnTo>
                      <a:lnTo>
                        <a:pt x="244838" y="1091419"/>
                      </a:lnTo>
                      <a:lnTo>
                        <a:pt x="245142" y="1088796"/>
                      </a:lnTo>
                      <a:lnTo>
                        <a:pt x="243259" y="1084814"/>
                      </a:lnTo>
                      <a:lnTo>
                        <a:pt x="243344" y="1080066"/>
                      </a:lnTo>
                      <a:lnTo>
                        <a:pt x="244316" y="1078718"/>
                      </a:lnTo>
                      <a:lnTo>
                        <a:pt x="244911" y="1074128"/>
                      </a:lnTo>
                      <a:lnTo>
                        <a:pt x="245579" y="1070776"/>
                      </a:lnTo>
                      <a:lnTo>
                        <a:pt x="246320" y="1068591"/>
                      </a:lnTo>
                      <a:lnTo>
                        <a:pt x="249307" y="1063988"/>
                      </a:lnTo>
                      <a:lnTo>
                        <a:pt x="250144" y="1059581"/>
                      </a:lnTo>
                      <a:lnTo>
                        <a:pt x="249100" y="1056241"/>
                      </a:lnTo>
                      <a:lnTo>
                        <a:pt x="247145" y="1053485"/>
                      </a:lnTo>
                      <a:lnTo>
                        <a:pt x="237479" y="1033243"/>
                      </a:lnTo>
                      <a:lnTo>
                        <a:pt x="235257" y="1030365"/>
                      </a:lnTo>
                      <a:lnTo>
                        <a:pt x="233290" y="1028373"/>
                      </a:lnTo>
                      <a:lnTo>
                        <a:pt x="230012" y="1023941"/>
                      </a:lnTo>
                      <a:lnTo>
                        <a:pt x="228761" y="1020869"/>
                      </a:lnTo>
                      <a:lnTo>
                        <a:pt x="228409" y="1017238"/>
                      </a:lnTo>
                      <a:lnTo>
                        <a:pt x="229538" y="1015223"/>
                      </a:lnTo>
                      <a:lnTo>
                        <a:pt x="231226" y="1013183"/>
                      </a:lnTo>
                      <a:lnTo>
                        <a:pt x="244364" y="1002217"/>
                      </a:lnTo>
                      <a:lnTo>
                        <a:pt x="246538" y="999048"/>
                      </a:lnTo>
                      <a:lnTo>
                        <a:pt x="248493" y="988095"/>
                      </a:lnTo>
                      <a:lnTo>
                        <a:pt x="252318" y="984221"/>
                      </a:lnTo>
                      <a:lnTo>
                        <a:pt x="270010" y="979619"/>
                      </a:lnTo>
                      <a:lnTo>
                        <a:pt x="274272" y="978952"/>
                      </a:lnTo>
                      <a:lnTo>
                        <a:pt x="277260" y="978806"/>
                      </a:lnTo>
                      <a:lnTo>
                        <a:pt x="283671" y="979911"/>
                      </a:lnTo>
                      <a:lnTo>
                        <a:pt x="286889" y="979911"/>
                      </a:lnTo>
                      <a:lnTo>
                        <a:pt x="288395" y="979437"/>
                      </a:lnTo>
                      <a:lnTo>
                        <a:pt x="290228" y="978332"/>
                      </a:lnTo>
                      <a:lnTo>
                        <a:pt x="291783" y="977033"/>
                      </a:lnTo>
                      <a:lnTo>
                        <a:pt x="298473" y="973293"/>
                      </a:lnTo>
                      <a:lnTo>
                        <a:pt x="317781" y="969298"/>
                      </a:lnTo>
                      <a:lnTo>
                        <a:pt x="322407" y="966675"/>
                      </a:lnTo>
                      <a:lnTo>
                        <a:pt x="322796" y="966031"/>
                      </a:lnTo>
                      <a:lnTo>
                        <a:pt x="322868" y="964441"/>
                      </a:lnTo>
                      <a:lnTo>
                        <a:pt x="322711" y="962899"/>
                      </a:lnTo>
                      <a:lnTo>
                        <a:pt x="322128" y="961053"/>
                      </a:lnTo>
                      <a:lnTo>
                        <a:pt x="321290" y="958940"/>
                      </a:lnTo>
                      <a:lnTo>
                        <a:pt x="318983" y="954751"/>
                      </a:lnTo>
                      <a:lnTo>
                        <a:pt x="318133" y="952298"/>
                      </a:lnTo>
                      <a:lnTo>
                        <a:pt x="317720" y="949833"/>
                      </a:lnTo>
                      <a:lnTo>
                        <a:pt x="317890" y="947125"/>
                      </a:lnTo>
                      <a:lnTo>
                        <a:pt x="318242" y="944818"/>
                      </a:lnTo>
                      <a:lnTo>
                        <a:pt x="319007" y="941818"/>
                      </a:lnTo>
                      <a:lnTo>
                        <a:pt x="320306" y="938382"/>
                      </a:lnTo>
                      <a:lnTo>
                        <a:pt x="322431" y="935456"/>
                      </a:lnTo>
                      <a:lnTo>
                        <a:pt x="325285" y="933197"/>
                      </a:lnTo>
                      <a:lnTo>
                        <a:pt x="328175" y="931606"/>
                      </a:lnTo>
                      <a:lnTo>
                        <a:pt x="330968" y="929578"/>
                      </a:lnTo>
                      <a:lnTo>
                        <a:pt x="333469" y="927308"/>
                      </a:lnTo>
                      <a:lnTo>
                        <a:pt x="336129" y="920896"/>
                      </a:lnTo>
                      <a:lnTo>
                        <a:pt x="338205" y="915177"/>
                      </a:lnTo>
                      <a:lnTo>
                        <a:pt x="347033" y="904200"/>
                      </a:lnTo>
                      <a:lnTo>
                        <a:pt x="348004" y="902123"/>
                      </a:lnTo>
                      <a:lnTo>
                        <a:pt x="348527" y="900532"/>
                      </a:lnTo>
                      <a:lnTo>
                        <a:pt x="348964" y="896877"/>
                      </a:lnTo>
                      <a:lnTo>
                        <a:pt x="353104" y="887479"/>
                      </a:lnTo>
                      <a:lnTo>
                        <a:pt x="359382" y="877934"/>
                      </a:lnTo>
                      <a:lnTo>
                        <a:pt x="360196" y="876307"/>
                      </a:lnTo>
                      <a:lnTo>
                        <a:pt x="357719" y="874862"/>
                      </a:lnTo>
                      <a:lnTo>
                        <a:pt x="355545" y="872579"/>
                      </a:lnTo>
                      <a:lnTo>
                        <a:pt x="354088" y="869410"/>
                      </a:lnTo>
                      <a:lnTo>
                        <a:pt x="353590" y="864735"/>
                      </a:lnTo>
                      <a:lnTo>
                        <a:pt x="354307" y="861736"/>
                      </a:lnTo>
                      <a:lnTo>
                        <a:pt x="354537" y="861044"/>
                      </a:lnTo>
                      <a:lnTo>
                        <a:pt x="356614" y="858955"/>
                      </a:lnTo>
                      <a:lnTo>
                        <a:pt x="360609" y="857461"/>
                      </a:lnTo>
                      <a:lnTo>
                        <a:pt x="360633" y="857376"/>
                      </a:lnTo>
                      <a:lnTo>
                        <a:pt x="358970" y="854911"/>
                      </a:lnTo>
                      <a:lnTo>
                        <a:pt x="357695" y="852373"/>
                      </a:lnTo>
                      <a:lnTo>
                        <a:pt x="356917" y="848694"/>
                      </a:lnTo>
                      <a:lnTo>
                        <a:pt x="357391" y="845513"/>
                      </a:lnTo>
                      <a:lnTo>
                        <a:pt x="358411" y="843376"/>
                      </a:lnTo>
                      <a:lnTo>
                        <a:pt x="361641" y="840206"/>
                      </a:lnTo>
                      <a:lnTo>
                        <a:pt x="363292" y="839004"/>
                      </a:lnTo>
                      <a:lnTo>
                        <a:pt x="365357" y="838045"/>
                      </a:lnTo>
                      <a:lnTo>
                        <a:pt x="367457" y="837389"/>
                      </a:lnTo>
                      <a:lnTo>
                        <a:pt x="372885" y="836260"/>
                      </a:lnTo>
                      <a:lnTo>
                        <a:pt x="374355" y="835531"/>
                      </a:lnTo>
                      <a:lnTo>
                        <a:pt x="375338" y="834548"/>
                      </a:lnTo>
                      <a:lnTo>
                        <a:pt x="376443" y="833115"/>
                      </a:lnTo>
                      <a:lnTo>
                        <a:pt x="380135" y="827141"/>
                      </a:lnTo>
                      <a:lnTo>
                        <a:pt x="378908" y="826096"/>
                      </a:lnTo>
                      <a:lnTo>
                        <a:pt x="375945" y="822684"/>
                      </a:lnTo>
                      <a:lnTo>
                        <a:pt x="378823" y="813735"/>
                      </a:lnTo>
                      <a:lnTo>
                        <a:pt x="378180" y="809060"/>
                      </a:lnTo>
                      <a:lnTo>
                        <a:pt x="376723" y="804105"/>
                      </a:lnTo>
                      <a:lnTo>
                        <a:pt x="374427" y="798483"/>
                      </a:lnTo>
                      <a:lnTo>
                        <a:pt x="364616" y="784154"/>
                      </a:lnTo>
                      <a:lnTo>
                        <a:pt x="361750" y="778824"/>
                      </a:lnTo>
                      <a:lnTo>
                        <a:pt x="358860" y="770591"/>
                      </a:lnTo>
                      <a:lnTo>
                        <a:pt x="357379" y="763621"/>
                      </a:lnTo>
                      <a:lnTo>
                        <a:pt x="357379" y="762152"/>
                      </a:lnTo>
                      <a:lnTo>
                        <a:pt x="357197" y="761083"/>
                      </a:lnTo>
                      <a:lnTo>
                        <a:pt x="357184" y="759177"/>
                      </a:lnTo>
                      <a:lnTo>
                        <a:pt x="356298" y="758035"/>
                      </a:lnTo>
                      <a:lnTo>
                        <a:pt x="356055" y="757974"/>
                      </a:lnTo>
                      <a:lnTo>
                        <a:pt x="354088" y="757999"/>
                      </a:lnTo>
                      <a:lnTo>
                        <a:pt x="348927" y="759431"/>
                      </a:lnTo>
                      <a:lnTo>
                        <a:pt x="345005" y="759322"/>
                      </a:lnTo>
                      <a:lnTo>
                        <a:pt x="340804" y="756797"/>
                      </a:lnTo>
                      <a:lnTo>
                        <a:pt x="334307" y="748904"/>
                      </a:lnTo>
                      <a:lnTo>
                        <a:pt x="331769" y="746949"/>
                      </a:lnTo>
                      <a:lnTo>
                        <a:pt x="330555" y="746742"/>
                      </a:lnTo>
                      <a:lnTo>
                        <a:pt x="329025" y="746839"/>
                      </a:lnTo>
                      <a:lnTo>
                        <a:pt x="325139" y="746098"/>
                      </a:lnTo>
                      <a:lnTo>
                        <a:pt x="323816" y="743136"/>
                      </a:lnTo>
                      <a:lnTo>
                        <a:pt x="323548" y="742213"/>
                      </a:lnTo>
                      <a:lnTo>
                        <a:pt x="319566" y="746123"/>
                      </a:lnTo>
                      <a:lnTo>
                        <a:pt x="315886" y="739833"/>
                      </a:lnTo>
                      <a:lnTo>
                        <a:pt x="315364" y="739869"/>
                      </a:lnTo>
                      <a:lnTo>
                        <a:pt x="308297" y="744168"/>
                      </a:lnTo>
                      <a:lnTo>
                        <a:pt x="305201" y="744496"/>
                      </a:lnTo>
                      <a:lnTo>
                        <a:pt x="300866" y="744058"/>
                      </a:lnTo>
                      <a:lnTo>
                        <a:pt x="299967" y="744726"/>
                      </a:lnTo>
                      <a:lnTo>
                        <a:pt x="299736" y="745358"/>
                      </a:lnTo>
                      <a:lnTo>
                        <a:pt x="297575" y="747592"/>
                      </a:lnTo>
                      <a:lnTo>
                        <a:pt x="294491" y="748309"/>
                      </a:lnTo>
                      <a:lnTo>
                        <a:pt x="289645" y="747835"/>
                      </a:lnTo>
                      <a:lnTo>
                        <a:pt x="280016" y="742456"/>
                      </a:lnTo>
                      <a:lnTo>
                        <a:pt x="277090" y="741764"/>
                      </a:lnTo>
                      <a:lnTo>
                        <a:pt x="270605" y="741047"/>
                      </a:lnTo>
                      <a:lnTo>
                        <a:pt x="266610" y="739116"/>
                      </a:lnTo>
                      <a:lnTo>
                        <a:pt x="264267" y="736663"/>
                      </a:lnTo>
                      <a:lnTo>
                        <a:pt x="263052" y="734623"/>
                      </a:lnTo>
                      <a:lnTo>
                        <a:pt x="262129" y="734381"/>
                      </a:lnTo>
                      <a:lnTo>
                        <a:pt x="258778" y="734636"/>
                      </a:lnTo>
                      <a:lnTo>
                        <a:pt x="255827" y="733992"/>
                      </a:lnTo>
                      <a:lnTo>
                        <a:pt x="254516" y="733652"/>
                      </a:lnTo>
                      <a:lnTo>
                        <a:pt x="251905" y="728601"/>
                      </a:lnTo>
                      <a:lnTo>
                        <a:pt x="249088" y="727520"/>
                      </a:lnTo>
                      <a:lnTo>
                        <a:pt x="245372" y="727423"/>
                      </a:lnTo>
                      <a:lnTo>
                        <a:pt x="239119" y="728309"/>
                      </a:lnTo>
                      <a:lnTo>
                        <a:pt x="238597" y="728649"/>
                      </a:lnTo>
                      <a:lnTo>
                        <a:pt x="237516" y="729693"/>
                      </a:lnTo>
                      <a:lnTo>
                        <a:pt x="235367" y="733810"/>
                      </a:lnTo>
                      <a:lnTo>
                        <a:pt x="233533" y="736214"/>
                      </a:lnTo>
                      <a:lnTo>
                        <a:pt x="227887" y="735461"/>
                      </a:lnTo>
                      <a:lnTo>
                        <a:pt x="224681" y="734575"/>
                      </a:lnTo>
                      <a:lnTo>
                        <a:pt x="221949" y="734745"/>
                      </a:lnTo>
                      <a:lnTo>
                        <a:pt x="219556" y="734793"/>
                      </a:lnTo>
                      <a:lnTo>
                        <a:pt x="218573" y="730932"/>
                      </a:lnTo>
                      <a:lnTo>
                        <a:pt x="217953" y="729693"/>
                      </a:lnTo>
                      <a:lnTo>
                        <a:pt x="217079" y="728673"/>
                      </a:lnTo>
                      <a:lnTo>
                        <a:pt x="215513" y="727046"/>
                      </a:lnTo>
                      <a:lnTo>
                        <a:pt x="214007" y="724715"/>
                      </a:lnTo>
                      <a:lnTo>
                        <a:pt x="213594" y="722153"/>
                      </a:lnTo>
                      <a:lnTo>
                        <a:pt x="214602" y="720161"/>
                      </a:lnTo>
                      <a:lnTo>
                        <a:pt x="216290" y="718753"/>
                      </a:lnTo>
                      <a:lnTo>
                        <a:pt x="216800" y="718583"/>
                      </a:lnTo>
                      <a:lnTo>
                        <a:pt x="218196" y="718303"/>
                      </a:lnTo>
                      <a:lnTo>
                        <a:pt x="219787" y="718340"/>
                      </a:lnTo>
                      <a:lnTo>
                        <a:pt x="220309" y="718243"/>
                      </a:lnTo>
                      <a:lnTo>
                        <a:pt x="221779" y="717320"/>
                      </a:lnTo>
                      <a:lnTo>
                        <a:pt x="226952" y="712378"/>
                      </a:lnTo>
                      <a:lnTo>
                        <a:pt x="226150" y="711928"/>
                      </a:lnTo>
                      <a:lnTo>
                        <a:pt x="225264" y="711710"/>
                      </a:lnTo>
                      <a:lnTo>
                        <a:pt x="221718" y="711418"/>
                      </a:lnTo>
                      <a:lnTo>
                        <a:pt x="219411" y="710848"/>
                      </a:lnTo>
                      <a:lnTo>
                        <a:pt x="217067" y="709803"/>
                      </a:lnTo>
                      <a:lnTo>
                        <a:pt x="215282" y="709378"/>
                      </a:lnTo>
                      <a:lnTo>
                        <a:pt x="212489" y="709026"/>
                      </a:lnTo>
                      <a:lnTo>
                        <a:pt x="207426" y="709342"/>
                      </a:lnTo>
                      <a:lnTo>
                        <a:pt x="204924" y="709755"/>
                      </a:lnTo>
                      <a:lnTo>
                        <a:pt x="203625" y="710823"/>
                      </a:lnTo>
                      <a:lnTo>
                        <a:pt x="203103" y="711467"/>
                      </a:lnTo>
                      <a:lnTo>
                        <a:pt x="200868" y="713033"/>
                      </a:lnTo>
                      <a:lnTo>
                        <a:pt x="200917" y="713325"/>
                      </a:lnTo>
                      <a:lnTo>
                        <a:pt x="200419" y="714308"/>
                      </a:lnTo>
                      <a:lnTo>
                        <a:pt x="198355" y="716506"/>
                      </a:lnTo>
                      <a:lnTo>
                        <a:pt x="196169" y="717186"/>
                      </a:lnTo>
                      <a:lnTo>
                        <a:pt x="191482" y="717065"/>
                      </a:lnTo>
                      <a:lnTo>
                        <a:pt x="191361" y="717890"/>
                      </a:lnTo>
                      <a:lnTo>
                        <a:pt x="191421" y="721327"/>
                      </a:lnTo>
                      <a:lnTo>
                        <a:pt x="190838" y="723622"/>
                      </a:lnTo>
                      <a:lnTo>
                        <a:pt x="190511" y="724606"/>
                      </a:lnTo>
                      <a:lnTo>
                        <a:pt x="188094" y="726233"/>
                      </a:lnTo>
                      <a:lnTo>
                        <a:pt x="185945" y="725650"/>
                      </a:lnTo>
                      <a:lnTo>
                        <a:pt x="184196" y="724654"/>
                      </a:lnTo>
                      <a:lnTo>
                        <a:pt x="183577" y="723816"/>
                      </a:lnTo>
                      <a:lnTo>
                        <a:pt x="182727" y="722493"/>
                      </a:lnTo>
                      <a:lnTo>
                        <a:pt x="182265" y="721290"/>
                      </a:lnTo>
                      <a:lnTo>
                        <a:pt x="181598" y="719008"/>
                      </a:lnTo>
                      <a:lnTo>
                        <a:pt x="179242" y="718376"/>
                      </a:lnTo>
                      <a:lnTo>
                        <a:pt x="168714" y="717769"/>
                      </a:lnTo>
                      <a:lnTo>
                        <a:pt x="162728" y="716215"/>
                      </a:lnTo>
                      <a:lnTo>
                        <a:pt x="161720" y="716312"/>
                      </a:lnTo>
                      <a:lnTo>
                        <a:pt x="160602" y="716628"/>
                      </a:lnTo>
                      <a:lnTo>
                        <a:pt x="159109" y="717963"/>
                      </a:lnTo>
                      <a:lnTo>
                        <a:pt x="156620" y="719129"/>
                      </a:lnTo>
                      <a:lnTo>
                        <a:pt x="154786" y="718121"/>
                      </a:lnTo>
                      <a:lnTo>
                        <a:pt x="151520" y="715753"/>
                      </a:lnTo>
                      <a:lnTo>
                        <a:pt x="150014" y="715268"/>
                      </a:lnTo>
                      <a:lnTo>
                        <a:pt x="139122" y="713932"/>
                      </a:lnTo>
                      <a:lnTo>
                        <a:pt x="133657" y="712463"/>
                      </a:lnTo>
                      <a:lnTo>
                        <a:pt x="131824" y="712487"/>
                      </a:lnTo>
                      <a:lnTo>
                        <a:pt x="129832" y="713203"/>
                      </a:lnTo>
                      <a:lnTo>
                        <a:pt x="128302" y="714357"/>
                      </a:lnTo>
                      <a:lnTo>
                        <a:pt x="123688" y="719105"/>
                      </a:lnTo>
                      <a:lnTo>
                        <a:pt x="118685" y="722274"/>
                      </a:lnTo>
                      <a:lnTo>
                        <a:pt x="93756" y="732547"/>
                      </a:lnTo>
                      <a:lnTo>
                        <a:pt x="91376" y="733130"/>
                      </a:lnTo>
                      <a:lnTo>
                        <a:pt x="89275" y="733251"/>
                      </a:lnTo>
                      <a:lnTo>
                        <a:pt x="86458" y="732389"/>
                      </a:lnTo>
                      <a:lnTo>
                        <a:pt x="84903" y="736129"/>
                      </a:lnTo>
                      <a:lnTo>
                        <a:pt x="83106" y="739031"/>
                      </a:lnTo>
                      <a:lnTo>
                        <a:pt x="79439" y="742954"/>
                      </a:lnTo>
                      <a:lnTo>
                        <a:pt x="72833" y="744690"/>
                      </a:lnTo>
                      <a:lnTo>
                        <a:pt x="69348" y="743051"/>
                      </a:lnTo>
                      <a:lnTo>
                        <a:pt x="68547" y="741727"/>
                      </a:lnTo>
                      <a:lnTo>
                        <a:pt x="68049" y="740416"/>
                      </a:lnTo>
                      <a:lnTo>
                        <a:pt x="67891" y="739177"/>
                      </a:lnTo>
                      <a:lnTo>
                        <a:pt x="68705" y="733810"/>
                      </a:lnTo>
                      <a:lnTo>
                        <a:pt x="68899" y="729766"/>
                      </a:lnTo>
                      <a:lnTo>
                        <a:pt x="68668" y="726961"/>
                      </a:lnTo>
                      <a:lnTo>
                        <a:pt x="68717" y="725152"/>
                      </a:lnTo>
                      <a:lnTo>
                        <a:pt x="69360" y="722663"/>
                      </a:lnTo>
                      <a:lnTo>
                        <a:pt x="70988" y="720064"/>
                      </a:lnTo>
                      <a:lnTo>
                        <a:pt x="74254" y="717150"/>
                      </a:lnTo>
                      <a:lnTo>
                        <a:pt x="81722" y="712827"/>
                      </a:lnTo>
                      <a:lnTo>
                        <a:pt x="113476" y="698765"/>
                      </a:lnTo>
                      <a:lnTo>
                        <a:pt x="117774" y="697430"/>
                      </a:lnTo>
                      <a:lnTo>
                        <a:pt x="120895" y="696786"/>
                      </a:lnTo>
                      <a:lnTo>
                        <a:pt x="119984" y="695851"/>
                      </a:lnTo>
                      <a:lnTo>
                        <a:pt x="117058" y="690581"/>
                      </a:lnTo>
                      <a:lnTo>
                        <a:pt x="116803" y="691030"/>
                      </a:lnTo>
                      <a:lnTo>
                        <a:pt x="116256" y="691613"/>
                      </a:lnTo>
                      <a:lnTo>
                        <a:pt x="114690" y="692706"/>
                      </a:lnTo>
                      <a:lnTo>
                        <a:pt x="114168" y="692876"/>
                      </a:lnTo>
                      <a:lnTo>
                        <a:pt x="112784" y="693119"/>
                      </a:lnTo>
                      <a:lnTo>
                        <a:pt x="108133" y="692888"/>
                      </a:lnTo>
                      <a:lnTo>
                        <a:pt x="101248" y="691686"/>
                      </a:lnTo>
                      <a:lnTo>
                        <a:pt x="99001" y="690873"/>
                      </a:lnTo>
                      <a:lnTo>
                        <a:pt x="96245" y="688905"/>
                      </a:lnTo>
                      <a:lnTo>
                        <a:pt x="95358" y="686720"/>
                      </a:lnTo>
                      <a:lnTo>
                        <a:pt x="94885" y="684837"/>
                      </a:lnTo>
                      <a:lnTo>
                        <a:pt x="93598" y="684862"/>
                      </a:lnTo>
                      <a:lnTo>
                        <a:pt x="92019" y="684437"/>
                      </a:lnTo>
                      <a:lnTo>
                        <a:pt x="89493" y="682603"/>
                      </a:lnTo>
                      <a:lnTo>
                        <a:pt x="88570" y="681255"/>
                      </a:lnTo>
                      <a:lnTo>
                        <a:pt x="87793" y="679531"/>
                      </a:lnTo>
                      <a:lnTo>
                        <a:pt x="87563" y="678305"/>
                      </a:lnTo>
                      <a:lnTo>
                        <a:pt x="87587" y="676216"/>
                      </a:lnTo>
                      <a:lnTo>
                        <a:pt x="87733" y="675633"/>
                      </a:lnTo>
                      <a:lnTo>
                        <a:pt x="88316" y="674249"/>
                      </a:lnTo>
                      <a:lnTo>
                        <a:pt x="89493" y="672670"/>
                      </a:lnTo>
                      <a:lnTo>
                        <a:pt x="91594" y="671456"/>
                      </a:lnTo>
                      <a:lnTo>
                        <a:pt x="103858" y="668214"/>
                      </a:lnTo>
                      <a:lnTo>
                        <a:pt x="105571" y="667425"/>
                      </a:lnTo>
                      <a:lnTo>
                        <a:pt x="106445" y="665773"/>
                      </a:lnTo>
                      <a:lnTo>
                        <a:pt x="106421" y="664923"/>
                      </a:lnTo>
                      <a:lnTo>
                        <a:pt x="107769" y="661365"/>
                      </a:lnTo>
                      <a:lnTo>
                        <a:pt x="111521" y="659871"/>
                      </a:lnTo>
                      <a:lnTo>
                        <a:pt x="114739" y="658086"/>
                      </a:lnTo>
                      <a:lnTo>
                        <a:pt x="116633" y="655039"/>
                      </a:lnTo>
                      <a:lnTo>
                        <a:pt x="116281" y="654881"/>
                      </a:lnTo>
                      <a:lnTo>
                        <a:pt x="115066" y="653934"/>
                      </a:lnTo>
                      <a:lnTo>
                        <a:pt x="113318" y="652234"/>
                      </a:lnTo>
                      <a:lnTo>
                        <a:pt x="111897" y="647206"/>
                      </a:lnTo>
                      <a:lnTo>
                        <a:pt x="111181" y="645324"/>
                      </a:lnTo>
                      <a:lnTo>
                        <a:pt x="109894" y="643758"/>
                      </a:lnTo>
                      <a:lnTo>
                        <a:pt x="108570" y="641050"/>
                      </a:lnTo>
                      <a:lnTo>
                        <a:pt x="107453" y="636606"/>
                      </a:lnTo>
                      <a:lnTo>
                        <a:pt x="107671" y="633388"/>
                      </a:lnTo>
                      <a:lnTo>
                        <a:pt x="107659" y="632125"/>
                      </a:lnTo>
                      <a:lnTo>
                        <a:pt x="107246" y="631991"/>
                      </a:lnTo>
                      <a:lnTo>
                        <a:pt x="103713" y="631931"/>
                      </a:lnTo>
                      <a:lnTo>
                        <a:pt x="101248" y="631178"/>
                      </a:lnTo>
                      <a:lnTo>
                        <a:pt x="99851" y="630498"/>
                      </a:lnTo>
                      <a:lnTo>
                        <a:pt x="89214" y="622884"/>
                      </a:lnTo>
                      <a:lnTo>
                        <a:pt x="88303" y="622495"/>
                      </a:lnTo>
                      <a:lnTo>
                        <a:pt x="84053" y="621852"/>
                      </a:lnTo>
                      <a:lnTo>
                        <a:pt x="82074" y="621233"/>
                      </a:lnTo>
                      <a:lnTo>
                        <a:pt x="79791" y="619933"/>
                      </a:lnTo>
                      <a:lnTo>
                        <a:pt x="77945" y="618488"/>
                      </a:lnTo>
                      <a:lnTo>
                        <a:pt x="75869" y="616011"/>
                      </a:lnTo>
                      <a:lnTo>
                        <a:pt x="74351" y="613230"/>
                      </a:lnTo>
                      <a:lnTo>
                        <a:pt x="71995" y="604803"/>
                      </a:lnTo>
                      <a:lnTo>
                        <a:pt x="70089" y="602472"/>
                      </a:lnTo>
                      <a:lnTo>
                        <a:pt x="66956" y="597335"/>
                      </a:lnTo>
                      <a:lnTo>
                        <a:pt x="59367" y="588665"/>
                      </a:lnTo>
                      <a:lnTo>
                        <a:pt x="57995" y="586467"/>
                      </a:lnTo>
                      <a:lnTo>
                        <a:pt x="57084" y="583808"/>
                      </a:lnTo>
                      <a:lnTo>
                        <a:pt x="57254" y="579437"/>
                      </a:lnTo>
                      <a:lnTo>
                        <a:pt x="57849" y="576996"/>
                      </a:lnTo>
                      <a:lnTo>
                        <a:pt x="57885" y="576619"/>
                      </a:lnTo>
                      <a:lnTo>
                        <a:pt x="57254" y="575867"/>
                      </a:lnTo>
                      <a:lnTo>
                        <a:pt x="55177" y="574555"/>
                      </a:lnTo>
                      <a:lnTo>
                        <a:pt x="53684" y="572807"/>
                      </a:lnTo>
                      <a:lnTo>
                        <a:pt x="53441" y="571337"/>
                      </a:lnTo>
                      <a:lnTo>
                        <a:pt x="53429" y="569686"/>
                      </a:lnTo>
                      <a:lnTo>
                        <a:pt x="53830" y="568132"/>
                      </a:lnTo>
                      <a:lnTo>
                        <a:pt x="54922" y="566189"/>
                      </a:lnTo>
                      <a:lnTo>
                        <a:pt x="56744" y="564197"/>
                      </a:lnTo>
                      <a:lnTo>
                        <a:pt x="56222" y="560846"/>
                      </a:lnTo>
                      <a:lnTo>
                        <a:pt x="55323" y="557397"/>
                      </a:lnTo>
                      <a:lnTo>
                        <a:pt x="54218" y="555989"/>
                      </a:lnTo>
                      <a:lnTo>
                        <a:pt x="53575" y="555357"/>
                      </a:lnTo>
                      <a:lnTo>
                        <a:pt x="52178" y="555139"/>
                      </a:lnTo>
                      <a:lnTo>
                        <a:pt x="51340" y="554859"/>
                      </a:lnTo>
                      <a:lnTo>
                        <a:pt x="50515" y="553815"/>
                      </a:lnTo>
                      <a:lnTo>
                        <a:pt x="49701" y="552601"/>
                      </a:lnTo>
                      <a:lnTo>
                        <a:pt x="48936" y="550719"/>
                      </a:lnTo>
                      <a:lnTo>
                        <a:pt x="49203" y="545546"/>
                      </a:lnTo>
                      <a:lnTo>
                        <a:pt x="48863" y="540919"/>
                      </a:lnTo>
                      <a:lnTo>
                        <a:pt x="46034" y="531545"/>
                      </a:lnTo>
                      <a:lnTo>
                        <a:pt x="52287" y="525680"/>
                      </a:lnTo>
                      <a:lnTo>
                        <a:pt x="53975" y="524538"/>
                      </a:lnTo>
                      <a:lnTo>
                        <a:pt x="56185" y="523409"/>
                      </a:lnTo>
                      <a:lnTo>
                        <a:pt x="56817" y="523373"/>
                      </a:lnTo>
                      <a:lnTo>
                        <a:pt x="58480" y="523033"/>
                      </a:lnTo>
                      <a:lnTo>
                        <a:pt x="59513" y="522438"/>
                      </a:lnTo>
                      <a:lnTo>
                        <a:pt x="61735" y="520665"/>
                      </a:lnTo>
                      <a:lnTo>
                        <a:pt x="69445" y="519111"/>
                      </a:lnTo>
                      <a:lnTo>
                        <a:pt x="69943" y="518674"/>
                      </a:lnTo>
                      <a:lnTo>
                        <a:pt x="74983" y="513160"/>
                      </a:lnTo>
                      <a:lnTo>
                        <a:pt x="78710" y="512590"/>
                      </a:lnTo>
                      <a:lnTo>
                        <a:pt x="81406" y="513331"/>
                      </a:lnTo>
                      <a:lnTo>
                        <a:pt x="83058" y="513950"/>
                      </a:lnTo>
                      <a:lnTo>
                        <a:pt x="83264" y="513889"/>
                      </a:lnTo>
                      <a:lnTo>
                        <a:pt x="84527" y="512480"/>
                      </a:lnTo>
                      <a:lnTo>
                        <a:pt x="85693" y="508971"/>
                      </a:lnTo>
                      <a:lnTo>
                        <a:pt x="87028" y="507028"/>
                      </a:lnTo>
                      <a:lnTo>
                        <a:pt x="90186" y="502924"/>
                      </a:lnTo>
                      <a:lnTo>
                        <a:pt x="92833" y="501673"/>
                      </a:lnTo>
                      <a:lnTo>
                        <a:pt x="92553" y="499354"/>
                      </a:lnTo>
                      <a:lnTo>
                        <a:pt x="90210" y="495359"/>
                      </a:lnTo>
                      <a:lnTo>
                        <a:pt x="88473" y="490805"/>
                      </a:lnTo>
                      <a:lnTo>
                        <a:pt x="87563" y="490186"/>
                      </a:lnTo>
                      <a:lnTo>
                        <a:pt x="85316" y="489093"/>
                      </a:lnTo>
                      <a:lnTo>
                        <a:pt x="81151" y="485220"/>
                      </a:lnTo>
                      <a:lnTo>
                        <a:pt x="83045" y="479172"/>
                      </a:lnTo>
                      <a:lnTo>
                        <a:pt x="82098" y="474267"/>
                      </a:lnTo>
                      <a:lnTo>
                        <a:pt x="81503" y="465220"/>
                      </a:lnTo>
                      <a:lnTo>
                        <a:pt x="86798" y="468560"/>
                      </a:lnTo>
                      <a:lnTo>
                        <a:pt x="86628" y="462221"/>
                      </a:lnTo>
                      <a:lnTo>
                        <a:pt x="89882" y="456854"/>
                      </a:lnTo>
                      <a:lnTo>
                        <a:pt x="88546" y="456659"/>
                      </a:lnTo>
                      <a:lnTo>
                        <a:pt x="86494" y="450163"/>
                      </a:lnTo>
                      <a:lnTo>
                        <a:pt x="88898" y="448584"/>
                      </a:lnTo>
                      <a:lnTo>
                        <a:pt x="90319" y="447904"/>
                      </a:lnTo>
                      <a:lnTo>
                        <a:pt x="92177" y="447516"/>
                      </a:lnTo>
                      <a:lnTo>
                        <a:pt x="92553" y="446727"/>
                      </a:lnTo>
                      <a:lnTo>
                        <a:pt x="92456" y="446229"/>
                      </a:lnTo>
                      <a:lnTo>
                        <a:pt x="92505" y="445779"/>
                      </a:lnTo>
                      <a:lnTo>
                        <a:pt x="92845" y="445014"/>
                      </a:lnTo>
                      <a:lnTo>
                        <a:pt x="90853" y="444735"/>
                      </a:lnTo>
                      <a:lnTo>
                        <a:pt x="87332" y="442938"/>
                      </a:lnTo>
                      <a:lnTo>
                        <a:pt x="86142" y="442246"/>
                      </a:lnTo>
                      <a:lnTo>
                        <a:pt x="85535" y="439089"/>
                      </a:lnTo>
                      <a:lnTo>
                        <a:pt x="85608" y="435567"/>
                      </a:lnTo>
                      <a:lnTo>
                        <a:pt x="85498" y="434754"/>
                      </a:lnTo>
                      <a:lnTo>
                        <a:pt x="80993" y="431050"/>
                      </a:lnTo>
                      <a:lnTo>
                        <a:pt x="82378" y="424104"/>
                      </a:lnTo>
                      <a:lnTo>
                        <a:pt x="85243" y="417499"/>
                      </a:lnTo>
                      <a:lnTo>
                        <a:pt x="85170" y="417511"/>
                      </a:lnTo>
                      <a:lnTo>
                        <a:pt x="81503" y="414742"/>
                      </a:lnTo>
                      <a:lnTo>
                        <a:pt x="81795" y="408853"/>
                      </a:lnTo>
                      <a:lnTo>
                        <a:pt x="80156" y="409642"/>
                      </a:lnTo>
                      <a:lnTo>
                        <a:pt x="79318" y="409946"/>
                      </a:lnTo>
                      <a:lnTo>
                        <a:pt x="75153" y="409023"/>
                      </a:lnTo>
                      <a:lnTo>
                        <a:pt x="74181" y="407274"/>
                      </a:lnTo>
                      <a:lnTo>
                        <a:pt x="73562" y="405635"/>
                      </a:lnTo>
                      <a:lnTo>
                        <a:pt x="73440" y="404360"/>
                      </a:lnTo>
                      <a:lnTo>
                        <a:pt x="72469" y="403048"/>
                      </a:lnTo>
                      <a:lnTo>
                        <a:pt x="72226" y="402587"/>
                      </a:lnTo>
                      <a:lnTo>
                        <a:pt x="70611" y="403473"/>
                      </a:lnTo>
                      <a:lnTo>
                        <a:pt x="68438" y="404238"/>
                      </a:lnTo>
                      <a:lnTo>
                        <a:pt x="65244" y="405198"/>
                      </a:lnTo>
                      <a:lnTo>
                        <a:pt x="64455" y="401300"/>
                      </a:lnTo>
                      <a:lnTo>
                        <a:pt x="64370" y="399588"/>
                      </a:lnTo>
                      <a:lnTo>
                        <a:pt x="64807" y="397645"/>
                      </a:lnTo>
                      <a:lnTo>
                        <a:pt x="63811" y="397220"/>
                      </a:lnTo>
                      <a:lnTo>
                        <a:pt x="62293" y="396880"/>
                      </a:lnTo>
                      <a:lnTo>
                        <a:pt x="59440" y="395046"/>
                      </a:lnTo>
                      <a:lnTo>
                        <a:pt x="57327" y="392545"/>
                      </a:lnTo>
                      <a:lnTo>
                        <a:pt x="55651" y="389800"/>
                      </a:lnTo>
                      <a:lnTo>
                        <a:pt x="51025" y="380851"/>
                      </a:lnTo>
                      <a:lnTo>
                        <a:pt x="49446" y="378908"/>
                      </a:lnTo>
                      <a:lnTo>
                        <a:pt x="50284" y="374683"/>
                      </a:lnTo>
                      <a:lnTo>
                        <a:pt x="51425" y="372363"/>
                      </a:lnTo>
                      <a:lnTo>
                        <a:pt x="52895" y="370615"/>
                      </a:lnTo>
                      <a:lnTo>
                        <a:pt x="55979" y="367895"/>
                      </a:lnTo>
                      <a:lnTo>
                        <a:pt x="56732" y="367081"/>
                      </a:lnTo>
                      <a:lnTo>
                        <a:pt x="57351" y="366170"/>
                      </a:lnTo>
                      <a:lnTo>
                        <a:pt x="57011" y="365247"/>
                      </a:lnTo>
                      <a:lnTo>
                        <a:pt x="56537" y="363632"/>
                      </a:lnTo>
                      <a:lnTo>
                        <a:pt x="53805" y="356480"/>
                      </a:lnTo>
                      <a:lnTo>
                        <a:pt x="53429" y="354683"/>
                      </a:lnTo>
                      <a:lnTo>
                        <a:pt x="53283" y="352534"/>
                      </a:lnTo>
                      <a:lnTo>
                        <a:pt x="51899" y="349207"/>
                      </a:lnTo>
                      <a:lnTo>
                        <a:pt x="36781" y="336250"/>
                      </a:lnTo>
                      <a:lnTo>
                        <a:pt x="35202" y="331016"/>
                      </a:lnTo>
                      <a:lnTo>
                        <a:pt x="33102" y="328551"/>
                      </a:lnTo>
                      <a:lnTo>
                        <a:pt x="32033" y="327131"/>
                      </a:lnTo>
                      <a:lnTo>
                        <a:pt x="34158" y="322310"/>
                      </a:lnTo>
                      <a:lnTo>
                        <a:pt x="31098" y="315376"/>
                      </a:lnTo>
                      <a:lnTo>
                        <a:pt x="34122" y="309900"/>
                      </a:lnTo>
                      <a:lnTo>
                        <a:pt x="35129" y="308479"/>
                      </a:lnTo>
                      <a:lnTo>
                        <a:pt x="35142" y="308285"/>
                      </a:lnTo>
                      <a:lnTo>
                        <a:pt x="34680" y="306986"/>
                      </a:lnTo>
                      <a:lnTo>
                        <a:pt x="33539" y="305140"/>
                      </a:lnTo>
                      <a:lnTo>
                        <a:pt x="32543" y="304156"/>
                      </a:lnTo>
                      <a:lnTo>
                        <a:pt x="26508" y="299214"/>
                      </a:lnTo>
                      <a:lnTo>
                        <a:pt x="27261" y="292584"/>
                      </a:lnTo>
                      <a:lnTo>
                        <a:pt x="29896" y="290823"/>
                      </a:lnTo>
                      <a:lnTo>
                        <a:pt x="25986" y="284545"/>
                      </a:lnTo>
                      <a:lnTo>
                        <a:pt x="22027" y="271965"/>
                      </a:lnTo>
                      <a:lnTo>
                        <a:pt x="20983" y="271176"/>
                      </a:lnTo>
                      <a:lnTo>
                        <a:pt x="20339" y="270532"/>
                      </a:lnTo>
                      <a:lnTo>
                        <a:pt x="19356" y="268869"/>
                      </a:lnTo>
                      <a:lnTo>
                        <a:pt x="18846" y="266501"/>
                      </a:lnTo>
                      <a:lnTo>
                        <a:pt x="19344" y="264850"/>
                      </a:lnTo>
                      <a:lnTo>
                        <a:pt x="20230" y="263732"/>
                      </a:lnTo>
                      <a:lnTo>
                        <a:pt x="20376" y="263210"/>
                      </a:lnTo>
                      <a:lnTo>
                        <a:pt x="18263" y="232659"/>
                      </a:lnTo>
                      <a:lnTo>
                        <a:pt x="19125" y="230279"/>
                      </a:lnTo>
                      <a:lnTo>
                        <a:pt x="21614" y="226903"/>
                      </a:lnTo>
                      <a:lnTo>
                        <a:pt x="21748" y="226466"/>
                      </a:lnTo>
                      <a:lnTo>
                        <a:pt x="21311" y="225324"/>
                      </a:lnTo>
                      <a:lnTo>
                        <a:pt x="20254" y="224061"/>
                      </a:lnTo>
                      <a:lnTo>
                        <a:pt x="19149" y="221524"/>
                      </a:lnTo>
                      <a:lnTo>
                        <a:pt x="18700" y="214456"/>
                      </a:lnTo>
                      <a:lnTo>
                        <a:pt x="18979" y="212259"/>
                      </a:lnTo>
                      <a:lnTo>
                        <a:pt x="20121" y="209636"/>
                      </a:lnTo>
                      <a:lnTo>
                        <a:pt x="21833" y="207559"/>
                      </a:lnTo>
                      <a:lnTo>
                        <a:pt x="21797" y="207329"/>
                      </a:lnTo>
                      <a:lnTo>
                        <a:pt x="20327" y="206272"/>
                      </a:lnTo>
                      <a:lnTo>
                        <a:pt x="16041" y="206187"/>
                      </a:lnTo>
                      <a:lnTo>
                        <a:pt x="11681" y="206782"/>
                      </a:lnTo>
                      <a:lnTo>
                        <a:pt x="8889" y="206600"/>
                      </a:lnTo>
                      <a:lnTo>
                        <a:pt x="4760" y="206224"/>
                      </a:lnTo>
                      <a:lnTo>
                        <a:pt x="7941" y="198683"/>
                      </a:lnTo>
                      <a:lnTo>
                        <a:pt x="14741" y="192429"/>
                      </a:lnTo>
                      <a:lnTo>
                        <a:pt x="10188" y="193012"/>
                      </a:lnTo>
                      <a:lnTo>
                        <a:pt x="0" y="182023"/>
                      </a:lnTo>
                      <a:lnTo>
                        <a:pt x="7286" y="183844"/>
                      </a:lnTo>
                      <a:lnTo>
                        <a:pt x="7395" y="182302"/>
                      </a:lnTo>
                      <a:lnTo>
                        <a:pt x="5731" y="180043"/>
                      </a:lnTo>
                      <a:lnTo>
                        <a:pt x="4845" y="177797"/>
                      </a:lnTo>
                      <a:lnTo>
                        <a:pt x="4505" y="176728"/>
                      </a:lnTo>
                      <a:lnTo>
                        <a:pt x="6545" y="171798"/>
                      </a:lnTo>
                      <a:lnTo>
                        <a:pt x="10237" y="169880"/>
                      </a:lnTo>
                      <a:lnTo>
                        <a:pt x="12106" y="169188"/>
                      </a:lnTo>
                      <a:lnTo>
                        <a:pt x="11888" y="168471"/>
                      </a:lnTo>
                      <a:lnTo>
                        <a:pt x="10892" y="166868"/>
                      </a:lnTo>
                      <a:lnTo>
                        <a:pt x="9775" y="162521"/>
                      </a:lnTo>
                      <a:lnTo>
                        <a:pt x="11171" y="159206"/>
                      </a:lnTo>
                      <a:lnTo>
                        <a:pt x="9860" y="154883"/>
                      </a:lnTo>
                      <a:lnTo>
                        <a:pt x="14717" y="150050"/>
                      </a:lnTo>
                      <a:lnTo>
                        <a:pt x="13260" y="145460"/>
                      </a:lnTo>
                      <a:lnTo>
                        <a:pt x="19283" y="141732"/>
                      </a:lnTo>
                      <a:lnTo>
                        <a:pt x="19926" y="140992"/>
                      </a:lnTo>
                      <a:lnTo>
                        <a:pt x="20157" y="140336"/>
                      </a:lnTo>
                      <a:lnTo>
                        <a:pt x="20036" y="139935"/>
                      </a:lnTo>
                      <a:lnTo>
                        <a:pt x="19441" y="138879"/>
                      </a:lnTo>
                      <a:lnTo>
                        <a:pt x="18482" y="135928"/>
                      </a:lnTo>
                      <a:lnTo>
                        <a:pt x="19198" y="132455"/>
                      </a:lnTo>
                      <a:lnTo>
                        <a:pt x="21930" y="129954"/>
                      </a:lnTo>
                      <a:lnTo>
                        <a:pt x="24541" y="129844"/>
                      </a:lnTo>
                      <a:lnTo>
                        <a:pt x="25148" y="129929"/>
                      </a:lnTo>
                      <a:lnTo>
                        <a:pt x="27941" y="124502"/>
                      </a:lnTo>
                      <a:lnTo>
                        <a:pt x="33174" y="99669"/>
                      </a:lnTo>
                      <a:lnTo>
                        <a:pt x="35385" y="92821"/>
                      </a:lnTo>
                      <a:lnTo>
                        <a:pt x="37558" y="88498"/>
                      </a:lnTo>
                      <a:lnTo>
                        <a:pt x="40023" y="86676"/>
                      </a:lnTo>
                      <a:lnTo>
                        <a:pt x="46167" y="80483"/>
                      </a:lnTo>
                      <a:lnTo>
                        <a:pt x="46192" y="79743"/>
                      </a:lnTo>
                      <a:lnTo>
                        <a:pt x="46301" y="78893"/>
                      </a:lnTo>
                      <a:lnTo>
                        <a:pt x="47005" y="77023"/>
                      </a:lnTo>
                      <a:lnTo>
                        <a:pt x="48584" y="75104"/>
                      </a:lnTo>
                      <a:lnTo>
                        <a:pt x="50211" y="74800"/>
                      </a:lnTo>
                      <a:lnTo>
                        <a:pt x="51583" y="74740"/>
                      </a:lnTo>
                      <a:lnTo>
                        <a:pt x="52943" y="74970"/>
                      </a:lnTo>
                      <a:lnTo>
                        <a:pt x="53356" y="74800"/>
                      </a:lnTo>
                      <a:lnTo>
                        <a:pt x="53647" y="74752"/>
                      </a:lnTo>
                      <a:lnTo>
                        <a:pt x="53963" y="72287"/>
                      </a:lnTo>
                      <a:lnTo>
                        <a:pt x="54874" y="70878"/>
                      </a:lnTo>
                      <a:lnTo>
                        <a:pt x="56392" y="69640"/>
                      </a:lnTo>
                      <a:lnTo>
                        <a:pt x="59330" y="68547"/>
                      </a:lnTo>
                      <a:lnTo>
                        <a:pt x="64163" y="63690"/>
                      </a:lnTo>
                      <a:lnTo>
                        <a:pt x="69542" y="60666"/>
                      </a:lnTo>
                      <a:lnTo>
                        <a:pt x="69955" y="55554"/>
                      </a:lnTo>
                      <a:lnTo>
                        <a:pt x="72032" y="52627"/>
                      </a:lnTo>
                      <a:lnTo>
                        <a:pt x="78285" y="47625"/>
                      </a:lnTo>
                      <a:lnTo>
                        <a:pt x="90222" y="35809"/>
                      </a:lnTo>
                      <a:lnTo>
                        <a:pt x="98406" y="29580"/>
                      </a:lnTo>
                      <a:lnTo>
                        <a:pt x="101041" y="26933"/>
                      </a:lnTo>
                      <a:lnTo>
                        <a:pt x="103628" y="18020"/>
                      </a:lnTo>
                      <a:lnTo>
                        <a:pt x="104089" y="9362"/>
                      </a:lnTo>
                      <a:lnTo>
                        <a:pt x="103956" y="8597"/>
                      </a:lnTo>
                      <a:lnTo>
                        <a:pt x="102571" y="6521"/>
                      </a:lnTo>
                      <a:lnTo>
                        <a:pt x="104951" y="4408"/>
                      </a:lnTo>
                      <a:lnTo>
                        <a:pt x="112116" y="0"/>
                      </a:lnTo>
                      <a:lnTo>
                        <a:pt x="116293" y="134"/>
                      </a:lnTo>
                      <a:lnTo>
                        <a:pt x="122377" y="1785"/>
                      </a:lnTo>
                      <a:lnTo>
                        <a:pt x="139583" y="16478"/>
                      </a:lnTo>
                      <a:lnTo>
                        <a:pt x="150597" y="23047"/>
                      </a:lnTo>
                      <a:lnTo>
                        <a:pt x="172272" y="32737"/>
                      </a:lnTo>
                      <a:lnTo>
                        <a:pt x="176425" y="36684"/>
                      </a:lnTo>
                      <a:lnTo>
                        <a:pt x="177833" y="38117"/>
                      </a:lnTo>
                      <a:lnTo>
                        <a:pt x="175648" y="43314"/>
                      </a:lnTo>
                      <a:lnTo>
                        <a:pt x="171568" y="47102"/>
                      </a:lnTo>
                      <a:lnTo>
                        <a:pt x="161574" y="54157"/>
                      </a:lnTo>
                      <a:lnTo>
                        <a:pt x="155648" y="60788"/>
                      </a:lnTo>
                      <a:lnTo>
                        <a:pt x="147913" y="78820"/>
                      </a:lnTo>
                      <a:lnTo>
                        <a:pt x="139352" y="92031"/>
                      </a:lnTo>
                      <a:lnTo>
                        <a:pt x="139170" y="94460"/>
                      </a:lnTo>
                      <a:lnTo>
                        <a:pt x="140166" y="101806"/>
                      </a:lnTo>
                      <a:lnTo>
                        <a:pt x="139960" y="110829"/>
                      </a:lnTo>
                      <a:lnTo>
                        <a:pt x="140652" y="113791"/>
                      </a:lnTo>
                      <a:lnTo>
                        <a:pt x="143675" y="121721"/>
                      </a:lnTo>
                      <a:lnTo>
                        <a:pt x="145436" y="132953"/>
                      </a:lnTo>
                      <a:lnTo>
                        <a:pt x="146760" y="137920"/>
                      </a:lnTo>
                      <a:lnTo>
                        <a:pt x="154057" y="151447"/>
                      </a:lnTo>
                      <a:lnTo>
                        <a:pt x="168605" y="144319"/>
                      </a:lnTo>
                      <a:lnTo>
                        <a:pt x="174506" y="139559"/>
                      </a:lnTo>
                      <a:lnTo>
                        <a:pt x="178513" y="139158"/>
                      </a:lnTo>
                      <a:lnTo>
                        <a:pt x="182217" y="140567"/>
                      </a:lnTo>
                      <a:lnTo>
                        <a:pt x="193413" y="147027"/>
                      </a:lnTo>
                      <a:lnTo>
                        <a:pt x="200444" y="152151"/>
                      </a:lnTo>
                      <a:lnTo>
                        <a:pt x="201427" y="152515"/>
                      </a:lnTo>
                      <a:lnTo>
                        <a:pt x="204256" y="153317"/>
                      </a:lnTo>
                      <a:lnTo>
                        <a:pt x="212186" y="149613"/>
                      </a:lnTo>
                      <a:lnTo>
                        <a:pt x="217019" y="144428"/>
                      </a:lnTo>
                      <a:lnTo>
                        <a:pt x="218536" y="136790"/>
                      </a:lnTo>
                      <a:lnTo>
                        <a:pt x="217128" y="128727"/>
                      </a:lnTo>
                      <a:lnTo>
                        <a:pt x="211615" y="111861"/>
                      </a:lnTo>
                      <a:lnTo>
                        <a:pt x="210704" y="106773"/>
                      </a:lnTo>
                      <a:lnTo>
                        <a:pt x="210437" y="101163"/>
                      </a:lnTo>
                      <a:lnTo>
                        <a:pt x="211506" y="97350"/>
                      </a:lnTo>
                      <a:lnTo>
                        <a:pt x="213485" y="94654"/>
                      </a:lnTo>
                      <a:lnTo>
                        <a:pt x="216059" y="92869"/>
                      </a:lnTo>
                      <a:lnTo>
                        <a:pt x="219993" y="91764"/>
                      </a:lnTo>
                      <a:lnTo>
                        <a:pt x="223624" y="91776"/>
                      </a:lnTo>
                      <a:lnTo>
                        <a:pt x="225907" y="92262"/>
                      </a:lnTo>
                      <a:lnTo>
                        <a:pt x="228821" y="93913"/>
                      </a:lnTo>
                      <a:lnTo>
                        <a:pt x="240284" y="105692"/>
                      </a:lnTo>
                      <a:lnTo>
                        <a:pt x="247862" y="116123"/>
                      </a:lnTo>
                      <a:lnTo>
                        <a:pt x="253277" y="127999"/>
                      </a:lnTo>
                      <a:lnTo>
                        <a:pt x="254735" y="130087"/>
                      </a:lnTo>
                      <a:lnTo>
                        <a:pt x="257685" y="132249"/>
                      </a:lnTo>
                      <a:lnTo>
                        <a:pt x="275390" y="139972"/>
                      </a:lnTo>
                      <a:lnTo>
                        <a:pt x="283076" y="147294"/>
                      </a:lnTo>
                      <a:lnTo>
                        <a:pt x="287703" y="156620"/>
                      </a:lnTo>
                      <a:lnTo>
                        <a:pt x="290933" y="161853"/>
                      </a:lnTo>
                      <a:lnTo>
                        <a:pt x="297283" y="169916"/>
                      </a:lnTo>
                      <a:lnTo>
                        <a:pt x="306986" y="178222"/>
                      </a:lnTo>
                      <a:lnTo>
                        <a:pt x="337100" y="195149"/>
                      </a:lnTo>
                      <a:lnTo>
                        <a:pt x="341678" y="196849"/>
                      </a:lnTo>
                      <a:lnTo>
                        <a:pt x="354975" y="199448"/>
                      </a:lnTo>
                      <a:lnTo>
                        <a:pt x="358605" y="201609"/>
                      </a:lnTo>
                      <a:lnTo>
                        <a:pt x="360099" y="202617"/>
                      </a:lnTo>
                      <a:lnTo>
                        <a:pt x="359759" y="206381"/>
                      </a:lnTo>
                      <a:lnTo>
                        <a:pt x="358970" y="209453"/>
                      </a:lnTo>
                      <a:lnTo>
                        <a:pt x="357039" y="212708"/>
                      </a:lnTo>
                      <a:lnTo>
                        <a:pt x="347749" y="221123"/>
                      </a:lnTo>
                      <a:lnTo>
                        <a:pt x="343852" y="222932"/>
                      </a:lnTo>
                      <a:lnTo>
                        <a:pt x="340524" y="222677"/>
                      </a:lnTo>
                      <a:lnTo>
                        <a:pt x="339140" y="221706"/>
                      </a:lnTo>
                      <a:lnTo>
                        <a:pt x="338594" y="222398"/>
                      </a:lnTo>
                      <a:lnTo>
                        <a:pt x="335813" y="227583"/>
                      </a:lnTo>
                      <a:lnTo>
                        <a:pt x="332049" y="228336"/>
                      </a:lnTo>
                      <a:lnTo>
                        <a:pt x="329231" y="227546"/>
                      </a:lnTo>
                      <a:lnTo>
                        <a:pt x="327228" y="226356"/>
                      </a:lnTo>
                      <a:lnTo>
                        <a:pt x="326256" y="227061"/>
                      </a:lnTo>
                      <a:lnTo>
                        <a:pt x="323597" y="227644"/>
                      </a:lnTo>
                      <a:lnTo>
                        <a:pt x="323646" y="229708"/>
                      </a:lnTo>
                      <a:lnTo>
                        <a:pt x="323585" y="231092"/>
                      </a:lnTo>
                      <a:lnTo>
                        <a:pt x="348539" y="243745"/>
                      </a:lnTo>
                      <a:lnTo>
                        <a:pt x="352716" y="248044"/>
                      </a:lnTo>
                      <a:lnTo>
                        <a:pt x="355497" y="252622"/>
                      </a:lnTo>
                      <a:lnTo>
                        <a:pt x="357027" y="256993"/>
                      </a:lnTo>
                      <a:lnTo>
                        <a:pt x="358071" y="263781"/>
                      </a:lnTo>
                      <a:lnTo>
                        <a:pt x="361022" y="261899"/>
                      </a:lnTo>
                      <a:lnTo>
                        <a:pt x="373723" y="258462"/>
                      </a:lnTo>
                      <a:lnTo>
                        <a:pt x="377354" y="256313"/>
                      </a:lnTo>
                      <a:lnTo>
                        <a:pt x="379612" y="255779"/>
                      </a:lnTo>
                      <a:lnTo>
                        <a:pt x="383158" y="256447"/>
                      </a:lnTo>
                      <a:lnTo>
                        <a:pt x="397839" y="264182"/>
                      </a:lnTo>
                      <a:lnTo>
                        <a:pt x="400231" y="266501"/>
                      </a:lnTo>
                      <a:lnTo>
                        <a:pt x="401567" y="269403"/>
                      </a:lnTo>
                      <a:lnTo>
                        <a:pt x="401871" y="272390"/>
                      </a:lnTo>
                      <a:lnTo>
                        <a:pt x="402028" y="273289"/>
                      </a:lnTo>
                      <a:lnTo>
                        <a:pt x="403486" y="275353"/>
                      </a:lnTo>
                      <a:lnTo>
                        <a:pt x="406048" y="277770"/>
                      </a:lnTo>
                      <a:lnTo>
                        <a:pt x="429265" y="293713"/>
                      </a:lnTo>
                      <a:lnTo>
                        <a:pt x="432896" y="294758"/>
                      </a:lnTo>
                      <a:lnTo>
                        <a:pt x="436053" y="294916"/>
                      </a:lnTo>
                      <a:lnTo>
                        <a:pt x="437219" y="294442"/>
                      </a:lnTo>
                      <a:lnTo>
                        <a:pt x="438251" y="293762"/>
                      </a:lnTo>
                      <a:lnTo>
                        <a:pt x="439028" y="293337"/>
                      </a:lnTo>
                      <a:lnTo>
                        <a:pt x="442816" y="293592"/>
                      </a:lnTo>
                      <a:lnTo>
                        <a:pt x="445087" y="295681"/>
                      </a:lnTo>
                      <a:lnTo>
                        <a:pt x="446751" y="297842"/>
                      </a:lnTo>
                      <a:lnTo>
                        <a:pt x="449337" y="300283"/>
                      </a:lnTo>
                      <a:lnTo>
                        <a:pt x="451183" y="302456"/>
                      </a:lnTo>
                      <a:lnTo>
                        <a:pt x="452652" y="304727"/>
                      </a:lnTo>
                      <a:lnTo>
                        <a:pt x="455615" y="314769"/>
                      </a:lnTo>
                      <a:lnTo>
                        <a:pt x="456732" y="317222"/>
                      </a:lnTo>
                      <a:lnTo>
                        <a:pt x="469579" y="312328"/>
                      </a:lnTo>
                      <a:lnTo>
                        <a:pt x="479512" y="311940"/>
                      </a:lnTo>
                      <a:lnTo>
                        <a:pt x="481978" y="314672"/>
                      </a:lnTo>
                      <a:lnTo>
                        <a:pt x="483580" y="317768"/>
                      </a:lnTo>
                      <a:lnTo>
                        <a:pt x="483835" y="318133"/>
                      </a:lnTo>
                      <a:lnTo>
                        <a:pt x="484491" y="318133"/>
                      </a:lnTo>
                      <a:lnTo>
                        <a:pt x="490186" y="315085"/>
                      </a:lnTo>
                      <a:lnTo>
                        <a:pt x="502900" y="317756"/>
                      </a:lnTo>
                      <a:lnTo>
                        <a:pt x="505802" y="316736"/>
                      </a:lnTo>
                      <a:lnTo>
                        <a:pt x="505948" y="316408"/>
                      </a:lnTo>
                      <a:lnTo>
                        <a:pt x="505814" y="315085"/>
                      </a:lnTo>
                      <a:lnTo>
                        <a:pt x="505705" y="313033"/>
                      </a:lnTo>
                      <a:lnTo>
                        <a:pt x="510781" y="310738"/>
                      </a:lnTo>
                      <a:lnTo>
                        <a:pt x="515298" y="310944"/>
                      </a:lnTo>
                      <a:lnTo>
                        <a:pt x="524842" y="312499"/>
                      </a:lnTo>
                      <a:lnTo>
                        <a:pt x="529602" y="315158"/>
                      </a:lnTo>
                      <a:lnTo>
                        <a:pt x="532091" y="318060"/>
                      </a:lnTo>
                      <a:lnTo>
                        <a:pt x="533002" y="319250"/>
                      </a:lnTo>
                      <a:lnTo>
                        <a:pt x="532055" y="322820"/>
                      </a:lnTo>
                      <a:lnTo>
                        <a:pt x="530318" y="326912"/>
                      </a:lnTo>
                      <a:lnTo>
                        <a:pt x="534556" y="325139"/>
                      </a:lnTo>
                      <a:lnTo>
                        <a:pt x="538952" y="324289"/>
                      </a:lnTo>
                      <a:lnTo>
                        <a:pt x="542267" y="326463"/>
                      </a:lnTo>
                      <a:lnTo>
                        <a:pt x="542984" y="330324"/>
                      </a:lnTo>
                      <a:lnTo>
                        <a:pt x="542194" y="332826"/>
                      </a:lnTo>
                      <a:lnTo>
                        <a:pt x="543251" y="332364"/>
                      </a:lnTo>
                      <a:lnTo>
                        <a:pt x="548399" y="331417"/>
                      </a:lnTo>
                      <a:lnTo>
                        <a:pt x="550500" y="335971"/>
                      </a:lnTo>
                      <a:lnTo>
                        <a:pt x="549116" y="338861"/>
                      </a:lnTo>
                      <a:lnTo>
                        <a:pt x="549565" y="339723"/>
                      </a:lnTo>
                      <a:lnTo>
                        <a:pt x="552467" y="341593"/>
                      </a:lnTo>
                      <a:lnTo>
                        <a:pt x="554871" y="341897"/>
                      </a:lnTo>
                      <a:lnTo>
                        <a:pt x="556924" y="341690"/>
                      </a:lnTo>
                      <a:lnTo>
                        <a:pt x="558721" y="341047"/>
                      </a:lnTo>
                      <a:lnTo>
                        <a:pt x="560858" y="339954"/>
                      </a:lnTo>
                      <a:lnTo>
                        <a:pt x="563056" y="338399"/>
                      </a:lnTo>
                      <a:lnTo>
                        <a:pt x="567670" y="333372"/>
                      </a:lnTo>
                      <a:lnTo>
                        <a:pt x="569054" y="330907"/>
                      </a:lnTo>
                      <a:lnTo>
                        <a:pt x="569759" y="329025"/>
                      </a:lnTo>
                      <a:lnTo>
                        <a:pt x="570827" y="323379"/>
                      </a:lnTo>
                      <a:lnTo>
                        <a:pt x="575442" y="324253"/>
                      </a:lnTo>
                      <a:lnTo>
                        <a:pt x="582424" y="328017"/>
                      </a:lnTo>
                      <a:lnTo>
                        <a:pt x="589552" y="336784"/>
                      </a:lnTo>
                      <a:lnTo>
                        <a:pt x="591725" y="338254"/>
                      </a:lnTo>
                      <a:lnTo>
                        <a:pt x="594458" y="339019"/>
                      </a:lnTo>
                      <a:lnTo>
                        <a:pt x="600590" y="340002"/>
                      </a:lnTo>
                      <a:lnTo>
                        <a:pt x="604815" y="342285"/>
                      </a:lnTo>
                      <a:lnTo>
                        <a:pt x="606685" y="344277"/>
                      </a:lnTo>
                      <a:lnTo>
                        <a:pt x="608908" y="347932"/>
                      </a:lnTo>
                      <a:lnTo>
                        <a:pt x="609915" y="348867"/>
                      </a:lnTo>
                      <a:lnTo>
                        <a:pt x="614020" y="349704"/>
                      </a:lnTo>
                      <a:lnTo>
                        <a:pt x="616509" y="351708"/>
                      </a:lnTo>
                      <a:lnTo>
                        <a:pt x="621913" y="362394"/>
                      </a:lnTo>
                      <a:lnTo>
                        <a:pt x="623127" y="363754"/>
                      </a:lnTo>
                      <a:lnTo>
                        <a:pt x="625507" y="364689"/>
                      </a:lnTo>
                      <a:lnTo>
                        <a:pt x="628336" y="364312"/>
                      </a:lnTo>
                      <a:lnTo>
                        <a:pt x="631518" y="363438"/>
                      </a:lnTo>
                      <a:lnTo>
                        <a:pt x="636970" y="363547"/>
                      </a:lnTo>
                      <a:lnTo>
                        <a:pt x="640989" y="365867"/>
                      </a:lnTo>
                      <a:lnTo>
                        <a:pt x="648712" y="374537"/>
                      </a:lnTo>
                      <a:lnTo>
                        <a:pt x="647437" y="364300"/>
                      </a:lnTo>
                      <a:lnTo>
                        <a:pt x="648057" y="359309"/>
                      </a:lnTo>
                      <a:lnTo>
                        <a:pt x="650704" y="355315"/>
                      </a:lnTo>
                      <a:lnTo>
                        <a:pt x="655889" y="352570"/>
                      </a:lnTo>
                      <a:lnTo>
                        <a:pt x="665712" y="352837"/>
                      </a:lnTo>
                      <a:lnTo>
                        <a:pt x="667497" y="356589"/>
                      </a:lnTo>
                      <a:lnTo>
                        <a:pt x="667036" y="359309"/>
                      </a:lnTo>
                      <a:lnTo>
                        <a:pt x="667024" y="359735"/>
                      </a:lnTo>
                      <a:lnTo>
                        <a:pt x="667182" y="359941"/>
                      </a:lnTo>
                      <a:lnTo>
                        <a:pt x="669877" y="361264"/>
                      </a:lnTo>
                      <a:lnTo>
                        <a:pt x="672707" y="362163"/>
                      </a:lnTo>
                      <a:lnTo>
                        <a:pt x="679871" y="363377"/>
                      </a:lnTo>
                      <a:lnTo>
                        <a:pt x="683429" y="365794"/>
                      </a:lnTo>
                      <a:lnTo>
                        <a:pt x="687509" y="373237"/>
                      </a:lnTo>
                      <a:lnTo>
                        <a:pt x="688650" y="374561"/>
                      </a:lnTo>
                      <a:lnTo>
                        <a:pt x="691297" y="375787"/>
                      </a:lnTo>
                      <a:lnTo>
                        <a:pt x="696653" y="377184"/>
                      </a:lnTo>
                      <a:lnTo>
                        <a:pt x="700599" y="379540"/>
                      </a:lnTo>
                      <a:lnTo>
                        <a:pt x="708249" y="387141"/>
                      </a:lnTo>
                      <a:lnTo>
                        <a:pt x="710775" y="388501"/>
                      </a:lnTo>
                      <a:lnTo>
                        <a:pt x="713288" y="388756"/>
                      </a:lnTo>
                      <a:lnTo>
                        <a:pt x="720453" y="388732"/>
                      </a:lnTo>
                      <a:lnTo>
                        <a:pt x="724278" y="390116"/>
                      </a:lnTo>
                      <a:lnTo>
                        <a:pt x="725285" y="390541"/>
                      </a:lnTo>
                      <a:lnTo>
                        <a:pt x="727350" y="394560"/>
                      </a:lnTo>
                      <a:lnTo>
                        <a:pt x="727945" y="398738"/>
                      </a:lnTo>
                      <a:lnTo>
                        <a:pt x="728333" y="399940"/>
                      </a:lnTo>
                      <a:lnTo>
                        <a:pt x="731017" y="401798"/>
                      </a:lnTo>
                      <a:lnTo>
                        <a:pt x="733239" y="402332"/>
                      </a:lnTo>
                      <a:lnTo>
                        <a:pt x="736603" y="402988"/>
                      </a:lnTo>
                      <a:lnTo>
                        <a:pt x="739760" y="403024"/>
                      </a:lnTo>
                      <a:lnTo>
                        <a:pt x="741593" y="402211"/>
                      </a:lnTo>
                      <a:lnTo>
                        <a:pt x="742844" y="401798"/>
                      </a:lnTo>
                      <a:lnTo>
                        <a:pt x="747349" y="404251"/>
                      </a:lnTo>
                      <a:lnTo>
                        <a:pt x="748333" y="407638"/>
                      </a:lnTo>
                      <a:lnTo>
                        <a:pt x="748685" y="409946"/>
                      </a:lnTo>
                      <a:lnTo>
                        <a:pt x="749013" y="410480"/>
                      </a:lnTo>
                      <a:lnTo>
                        <a:pt x="775023" y="415252"/>
                      </a:lnTo>
                      <a:lnTo>
                        <a:pt x="780827" y="418033"/>
                      </a:lnTo>
                      <a:lnTo>
                        <a:pt x="785102" y="423279"/>
                      </a:lnTo>
                      <a:lnTo>
                        <a:pt x="789473" y="436369"/>
                      </a:lnTo>
                      <a:lnTo>
                        <a:pt x="791889" y="441711"/>
                      </a:lnTo>
                      <a:lnTo>
                        <a:pt x="802284" y="452919"/>
                      </a:lnTo>
                      <a:lnTo>
                        <a:pt x="805259" y="458457"/>
                      </a:lnTo>
                      <a:lnTo>
                        <a:pt x="806801" y="461444"/>
                      </a:lnTo>
                      <a:lnTo>
                        <a:pt x="804858" y="462221"/>
                      </a:lnTo>
                      <a:lnTo>
                        <a:pt x="806716" y="462658"/>
                      </a:lnTo>
                      <a:lnTo>
                        <a:pt x="806182" y="465415"/>
                      </a:lnTo>
                      <a:lnTo>
                        <a:pt x="807335" y="465244"/>
                      </a:lnTo>
                      <a:lnTo>
                        <a:pt x="808392" y="464625"/>
                      </a:lnTo>
                      <a:lnTo>
                        <a:pt x="809752" y="462743"/>
                      </a:lnTo>
                      <a:lnTo>
                        <a:pt x="810031" y="461177"/>
                      </a:lnTo>
                      <a:lnTo>
                        <a:pt x="811695" y="458457"/>
                      </a:lnTo>
                      <a:lnTo>
                        <a:pt x="812460" y="457327"/>
                      </a:lnTo>
                      <a:lnTo>
                        <a:pt x="817390" y="456696"/>
                      </a:lnTo>
                      <a:lnTo>
                        <a:pt x="822308" y="458359"/>
                      </a:lnTo>
                      <a:lnTo>
                        <a:pt x="827092" y="461529"/>
                      </a:lnTo>
                      <a:lnTo>
                        <a:pt x="830881" y="465427"/>
                      </a:lnTo>
                      <a:lnTo>
                        <a:pt x="833685" y="469567"/>
                      </a:lnTo>
                      <a:lnTo>
                        <a:pt x="834924" y="473295"/>
                      </a:lnTo>
                      <a:lnTo>
                        <a:pt x="835252" y="475942"/>
                      </a:lnTo>
                      <a:lnTo>
                        <a:pt x="835373" y="476173"/>
                      </a:lnTo>
                      <a:lnTo>
                        <a:pt x="837717" y="477970"/>
                      </a:lnTo>
                      <a:lnTo>
                        <a:pt x="853794" y="485839"/>
                      </a:lnTo>
                      <a:lnTo>
                        <a:pt x="857959" y="488620"/>
                      </a:lnTo>
                      <a:lnTo>
                        <a:pt x="861007" y="492930"/>
                      </a:lnTo>
                      <a:lnTo>
                        <a:pt x="863642" y="494837"/>
                      </a:lnTo>
                      <a:lnTo>
                        <a:pt x="872519" y="496792"/>
                      </a:lnTo>
                      <a:lnTo>
                        <a:pt x="877279" y="498431"/>
                      </a:lnTo>
                      <a:lnTo>
                        <a:pt x="882197" y="502123"/>
                      </a:lnTo>
                      <a:lnTo>
                        <a:pt x="889944" y="510040"/>
                      </a:lnTo>
                      <a:lnTo>
                        <a:pt x="898614" y="514715"/>
                      </a:lnTo>
                      <a:lnTo>
                        <a:pt x="904078" y="518637"/>
                      </a:lnTo>
                      <a:lnTo>
                        <a:pt x="908425" y="521090"/>
                      </a:lnTo>
                      <a:lnTo>
                        <a:pt x="911874" y="521357"/>
                      </a:lnTo>
                      <a:lnTo>
                        <a:pt x="915323" y="519074"/>
                      </a:lnTo>
                      <a:lnTo>
                        <a:pt x="922766" y="510538"/>
                      </a:lnTo>
                      <a:lnTo>
                        <a:pt x="929603" y="507599"/>
                      </a:lnTo>
                      <a:lnTo>
                        <a:pt x="940021" y="508583"/>
                      </a:lnTo>
                      <a:lnTo>
                        <a:pt x="945510" y="510283"/>
                      </a:lnTo>
                      <a:lnTo>
                        <a:pt x="946178" y="510720"/>
                      </a:lnTo>
                      <a:lnTo>
                        <a:pt x="949966" y="513792"/>
                      </a:lnTo>
                      <a:lnTo>
                        <a:pt x="953743" y="517617"/>
                      </a:lnTo>
                      <a:lnTo>
                        <a:pt x="956256" y="518868"/>
                      </a:lnTo>
                      <a:lnTo>
                        <a:pt x="964016" y="521770"/>
                      </a:lnTo>
                      <a:lnTo>
                        <a:pt x="987209" y="540021"/>
                      </a:lnTo>
                      <a:lnTo>
                        <a:pt x="1001173" y="546626"/>
                      </a:lnTo>
                      <a:lnTo>
                        <a:pt x="1011592" y="556571"/>
                      </a:lnTo>
                      <a:lnTo>
                        <a:pt x="1017542" y="558369"/>
                      </a:lnTo>
                      <a:lnTo>
                        <a:pt x="1032939" y="556657"/>
                      </a:lnTo>
                      <a:lnTo>
                        <a:pt x="1057128" y="550646"/>
                      </a:lnTo>
                      <a:lnTo>
                        <a:pt x="1063029" y="552892"/>
                      </a:lnTo>
                      <a:lnTo>
                        <a:pt x="1064669" y="554131"/>
                      </a:lnTo>
                      <a:lnTo>
                        <a:pt x="1067935" y="559207"/>
                      </a:lnTo>
                      <a:lnTo>
                        <a:pt x="1070534" y="567792"/>
                      </a:lnTo>
                      <a:lnTo>
                        <a:pt x="1072452" y="583395"/>
                      </a:lnTo>
                      <a:lnTo>
                        <a:pt x="1074201" y="589977"/>
                      </a:lnTo>
                      <a:lnTo>
                        <a:pt x="1077127" y="593195"/>
                      </a:lnTo>
                      <a:lnTo>
                        <a:pt x="1099167" y="594627"/>
                      </a:lnTo>
                      <a:lnTo>
                        <a:pt x="1104570" y="596206"/>
                      </a:lnTo>
                      <a:lnTo>
                        <a:pt x="1113738" y="601112"/>
                      </a:lnTo>
                      <a:lnTo>
                        <a:pt x="1124813" y="603638"/>
                      </a:lnTo>
                      <a:lnTo>
                        <a:pt x="1147070" y="603383"/>
                      </a:lnTo>
                      <a:lnTo>
                        <a:pt x="1155048" y="606224"/>
                      </a:lnTo>
                      <a:lnTo>
                        <a:pt x="1165188" y="614250"/>
                      </a:lnTo>
                      <a:lnTo>
                        <a:pt x="1167859" y="617068"/>
                      </a:lnTo>
                      <a:lnTo>
                        <a:pt x="1170434" y="621548"/>
                      </a:lnTo>
                      <a:lnTo>
                        <a:pt x="1171757" y="624669"/>
                      </a:lnTo>
                      <a:lnTo>
                        <a:pt x="1172328" y="625155"/>
                      </a:lnTo>
                      <a:lnTo>
                        <a:pt x="1176117" y="626418"/>
                      </a:lnTo>
                      <a:lnTo>
                        <a:pt x="1178436" y="626175"/>
                      </a:lnTo>
                      <a:lnTo>
                        <a:pt x="1181593" y="624475"/>
                      </a:lnTo>
                      <a:lnTo>
                        <a:pt x="1183997" y="621925"/>
                      </a:lnTo>
                      <a:lnTo>
                        <a:pt x="1187725" y="616533"/>
                      </a:lnTo>
                      <a:lnTo>
                        <a:pt x="1188733" y="614335"/>
                      </a:lnTo>
                      <a:lnTo>
                        <a:pt x="1186001" y="610766"/>
                      </a:lnTo>
                      <a:lnTo>
                        <a:pt x="1185539" y="607681"/>
                      </a:lnTo>
                      <a:lnTo>
                        <a:pt x="1185952" y="604257"/>
                      </a:lnTo>
                      <a:lnTo>
                        <a:pt x="1187652" y="600310"/>
                      </a:lnTo>
                      <a:lnTo>
                        <a:pt x="1193760" y="598234"/>
                      </a:lnTo>
                      <a:lnTo>
                        <a:pt x="1212399" y="598210"/>
                      </a:lnTo>
                      <a:lnTo>
                        <a:pt x="1233322" y="600905"/>
                      </a:lnTo>
                      <a:lnTo>
                        <a:pt x="1247614" y="605969"/>
                      </a:lnTo>
                      <a:lnTo>
                        <a:pt x="1274001" y="619533"/>
                      </a:lnTo>
                      <a:lnTo>
                        <a:pt x="1282889" y="622617"/>
                      </a:lnTo>
                      <a:lnTo>
                        <a:pt x="1285536" y="625276"/>
                      </a:lnTo>
                      <a:lnTo>
                        <a:pt x="1285196" y="626721"/>
                      </a:lnTo>
                      <a:lnTo>
                        <a:pt x="1288123" y="626406"/>
                      </a:lnTo>
                      <a:lnTo>
                        <a:pt x="1291098" y="627316"/>
                      </a:lnTo>
                      <a:lnTo>
                        <a:pt x="1292179" y="629126"/>
                      </a:lnTo>
                      <a:lnTo>
                        <a:pt x="1292628" y="630911"/>
                      </a:lnTo>
                      <a:lnTo>
                        <a:pt x="1292519" y="632975"/>
                      </a:lnTo>
                      <a:lnTo>
                        <a:pt x="1291110" y="638342"/>
                      </a:lnTo>
                      <a:lnTo>
                        <a:pt x="1291244" y="638925"/>
                      </a:lnTo>
                      <a:lnTo>
                        <a:pt x="1291766" y="639301"/>
                      </a:lnTo>
                      <a:lnTo>
                        <a:pt x="1293842" y="641074"/>
                      </a:lnTo>
                      <a:lnTo>
                        <a:pt x="1294947" y="641706"/>
                      </a:lnTo>
                      <a:lnTo>
                        <a:pt x="1297412" y="643624"/>
                      </a:lnTo>
                      <a:lnTo>
                        <a:pt x="1298857" y="645239"/>
                      </a:lnTo>
                      <a:lnTo>
                        <a:pt x="1301954" y="650412"/>
                      </a:lnTo>
                      <a:lnTo>
                        <a:pt x="1301954" y="654529"/>
                      </a:lnTo>
                      <a:lnTo>
                        <a:pt x="1301262" y="658463"/>
                      </a:lnTo>
                      <a:lnTo>
                        <a:pt x="1301189" y="663029"/>
                      </a:lnTo>
                      <a:lnTo>
                        <a:pt x="1301662" y="664243"/>
                      </a:lnTo>
                      <a:lnTo>
                        <a:pt x="1302561" y="665421"/>
                      </a:lnTo>
                      <a:lnTo>
                        <a:pt x="1306264" y="667849"/>
                      </a:lnTo>
                      <a:lnTo>
                        <a:pt x="1308220" y="669987"/>
                      </a:lnTo>
                      <a:lnTo>
                        <a:pt x="1311085" y="676592"/>
                      </a:lnTo>
                      <a:lnTo>
                        <a:pt x="1311996" y="677952"/>
                      </a:lnTo>
                      <a:lnTo>
                        <a:pt x="1314546" y="679701"/>
                      </a:lnTo>
                      <a:lnTo>
                        <a:pt x="1316574" y="682251"/>
                      </a:lnTo>
                      <a:lnTo>
                        <a:pt x="1317922" y="686380"/>
                      </a:lnTo>
                      <a:lnTo>
                        <a:pt x="1318189" y="689767"/>
                      </a:lnTo>
                      <a:lnTo>
                        <a:pt x="1317849" y="695875"/>
                      </a:lnTo>
                      <a:lnTo>
                        <a:pt x="1323617" y="707108"/>
                      </a:lnTo>
                      <a:lnTo>
                        <a:pt x="1325074" y="709233"/>
                      </a:lnTo>
                      <a:lnTo>
                        <a:pt x="1327478" y="710617"/>
                      </a:lnTo>
                      <a:lnTo>
                        <a:pt x="1329190" y="711151"/>
                      </a:lnTo>
                      <a:lnTo>
                        <a:pt x="1331910" y="712560"/>
                      </a:lnTo>
                      <a:lnTo>
                        <a:pt x="1334897" y="715523"/>
                      </a:lnTo>
                      <a:lnTo>
                        <a:pt x="1338553" y="717988"/>
                      </a:lnTo>
                      <a:lnTo>
                        <a:pt x="1338929" y="717733"/>
                      </a:lnTo>
                      <a:lnTo>
                        <a:pt x="1339973" y="716785"/>
                      </a:lnTo>
                      <a:lnTo>
                        <a:pt x="1341576" y="715705"/>
                      </a:lnTo>
                      <a:lnTo>
                        <a:pt x="1343798" y="714721"/>
                      </a:lnTo>
                      <a:lnTo>
                        <a:pt x="1346190" y="714187"/>
                      </a:lnTo>
                      <a:lnTo>
                        <a:pt x="1348692" y="714090"/>
                      </a:lnTo>
                      <a:lnTo>
                        <a:pt x="1350878" y="714381"/>
                      </a:lnTo>
                      <a:lnTo>
                        <a:pt x="1353185" y="715170"/>
                      </a:lnTo>
                      <a:lnTo>
                        <a:pt x="1355638" y="717065"/>
                      </a:lnTo>
                      <a:lnTo>
                        <a:pt x="1357508" y="719967"/>
                      </a:lnTo>
                      <a:lnTo>
                        <a:pt x="1358880" y="724958"/>
                      </a:lnTo>
                      <a:lnTo>
                        <a:pt x="1359183" y="728928"/>
                      </a:lnTo>
                      <a:lnTo>
                        <a:pt x="1359135" y="732134"/>
                      </a:lnTo>
                      <a:lnTo>
                        <a:pt x="1357811" y="742516"/>
                      </a:lnTo>
                      <a:lnTo>
                        <a:pt x="1358722" y="742771"/>
                      </a:lnTo>
                      <a:lnTo>
                        <a:pt x="1360956" y="742334"/>
                      </a:lnTo>
                      <a:lnTo>
                        <a:pt x="1362984" y="742371"/>
                      </a:lnTo>
                      <a:lnTo>
                        <a:pt x="1365838" y="743245"/>
                      </a:lnTo>
                      <a:lnTo>
                        <a:pt x="1368873" y="745151"/>
                      </a:lnTo>
                      <a:lnTo>
                        <a:pt x="1383348" y="758958"/>
                      </a:lnTo>
                      <a:lnTo>
                        <a:pt x="1384926" y="760877"/>
                      </a:lnTo>
                      <a:lnTo>
                        <a:pt x="1386056" y="762880"/>
                      </a:lnTo>
                      <a:lnTo>
                        <a:pt x="1386651" y="765649"/>
                      </a:lnTo>
                      <a:lnTo>
                        <a:pt x="1386493" y="768405"/>
                      </a:lnTo>
                      <a:lnTo>
                        <a:pt x="1382571" y="771380"/>
                      </a:lnTo>
                      <a:lnTo>
                        <a:pt x="1352796" y="771599"/>
                      </a:lnTo>
                      <a:lnTo>
                        <a:pt x="1345243" y="770457"/>
                      </a:lnTo>
                      <a:lnTo>
                        <a:pt x="1339755" y="768806"/>
                      </a:lnTo>
                      <a:lnTo>
                        <a:pt x="1338650" y="768903"/>
                      </a:lnTo>
                      <a:lnTo>
                        <a:pt x="1336294" y="769559"/>
                      </a:lnTo>
                      <a:lnTo>
                        <a:pt x="1329700" y="769510"/>
                      </a:lnTo>
                      <a:lnTo>
                        <a:pt x="1328802" y="770154"/>
                      </a:lnTo>
                      <a:lnTo>
                        <a:pt x="1328304" y="771028"/>
                      </a:lnTo>
                      <a:lnTo>
                        <a:pt x="1327612" y="772971"/>
                      </a:lnTo>
                      <a:lnTo>
                        <a:pt x="1326082" y="779139"/>
                      </a:lnTo>
                      <a:lnTo>
                        <a:pt x="1325001" y="781665"/>
                      </a:lnTo>
                      <a:lnTo>
                        <a:pt x="1323605" y="783985"/>
                      </a:lnTo>
                      <a:lnTo>
                        <a:pt x="1322220" y="785745"/>
                      </a:lnTo>
                      <a:lnTo>
                        <a:pt x="1319877" y="787409"/>
                      </a:lnTo>
                      <a:lnTo>
                        <a:pt x="1317314" y="788441"/>
                      </a:lnTo>
                      <a:lnTo>
                        <a:pt x="1309324" y="790214"/>
                      </a:lnTo>
                      <a:lnTo>
                        <a:pt x="1306726" y="794634"/>
                      </a:lnTo>
                      <a:lnTo>
                        <a:pt x="1305706" y="795545"/>
                      </a:lnTo>
                      <a:lnTo>
                        <a:pt x="1304674" y="795994"/>
                      </a:lnTo>
                      <a:lnTo>
                        <a:pt x="1301990" y="796540"/>
                      </a:lnTo>
                      <a:lnTo>
                        <a:pt x="1301116" y="796273"/>
                      </a:lnTo>
                      <a:lnTo>
                        <a:pt x="1299780" y="795338"/>
                      </a:lnTo>
                      <a:lnTo>
                        <a:pt x="1299392" y="794865"/>
                      </a:lnTo>
                      <a:lnTo>
                        <a:pt x="1298626" y="793553"/>
                      </a:lnTo>
                      <a:lnTo>
                        <a:pt x="1298226" y="792205"/>
                      </a:lnTo>
                      <a:lnTo>
                        <a:pt x="1297789" y="790299"/>
                      </a:lnTo>
                      <a:lnTo>
                        <a:pt x="1297643" y="791088"/>
                      </a:lnTo>
                      <a:lnTo>
                        <a:pt x="1297752" y="796637"/>
                      </a:lnTo>
                      <a:lnTo>
                        <a:pt x="1297461" y="800171"/>
                      </a:lnTo>
                      <a:lnTo>
                        <a:pt x="1297606" y="800960"/>
                      </a:lnTo>
                      <a:lnTo>
                        <a:pt x="1298068" y="801701"/>
                      </a:lnTo>
                      <a:lnTo>
                        <a:pt x="1300205" y="802879"/>
                      </a:lnTo>
                      <a:lnTo>
                        <a:pt x="1302002" y="803170"/>
                      </a:lnTo>
                      <a:lnTo>
                        <a:pt x="1304103" y="803255"/>
                      </a:lnTo>
                      <a:lnTo>
                        <a:pt x="1305779" y="803000"/>
                      </a:lnTo>
                      <a:lnTo>
                        <a:pt x="1307090" y="802539"/>
                      </a:lnTo>
                      <a:lnTo>
                        <a:pt x="1307794" y="802053"/>
                      </a:lnTo>
                      <a:lnTo>
                        <a:pt x="1308984" y="800827"/>
                      </a:lnTo>
                      <a:lnTo>
                        <a:pt x="1309434" y="800450"/>
                      </a:lnTo>
                      <a:lnTo>
                        <a:pt x="1310794" y="799625"/>
                      </a:lnTo>
                      <a:lnTo>
                        <a:pt x="1311899" y="799272"/>
                      </a:lnTo>
                      <a:lnTo>
                        <a:pt x="1313987" y="799430"/>
                      </a:lnTo>
                      <a:lnTo>
                        <a:pt x="1315894" y="800280"/>
                      </a:lnTo>
                      <a:lnTo>
                        <a:pt x="1319051" y="802551"/>
                      </a:lnTo>
                      <a:lnTo>
                        <a:pt x="1324418" y="807335"/>
                      </a:lnTo>
                      <a:lnTo>
                        <a:pt x="1327466" y="809120"/>
                      </a:lnTo>
                      <a:lnTo>
                        <a:pt x="1330429" y="810456"/>
                      </a:lnTo>
                      <a:lnTo>
                        <a:pt x="1343677" y="813152"/>
                      </a:lnTo>
                      <a:lnTo>
                        <a:pt x="1345765" y="814160"/>
                      </a:lnTo>
                      <a:lnTo>
                        <a:pt x="1346785" y="814742"/>
                      </a:lnTo>
                      <a:lnTo>
                        <a:pt x="1347563" y="817110"/>
                      </a:lnTo>
                      <a:lnTo>
                        <a:pt x="1347648" y="820450"/>
                      </a:lnTo>
                      <a:lnTo>
                        <a:pt x="1346093" y="824603"/>
                      </a:lnTo>
                      <a:lnTo>
                        <a:pt x="1343215" y="828950"/>
                      </a:lnTo>
                      <a:lnTo>
                        <a:pt x="1343070" y="829897"/>
                      </a:lnTo>
                      <a:lnTo>
                        <a:pt x="1343373" y="830856"/>
                      </a:lnTo>
                      <a:lnTo>
                        <a:pt x="1344612" y="833188"/>
                      </a:lnTo>
                      <a:lnTo>
                        <a:pt x="1347939" y="837584"/>
                      </a:lnTo>
                      <a:lnTo>
                        <a:pt x="1347854" y="839162"/>
                      </a:lnTo>
                      <a:lnTo>
                        <a:pt x="1347611" y="840644"/>
                      </a:lnTo>
                      <a:lnTo>
                        <a:pt x="1347235" y="841603"/>
                      </a:lnTo>
                      <a:lnTo>
                        <a:pt x="1346093" y="842744"/>
                      </a:lnTo>
                      <a:lnTo>
                        <a:pt x="1341734" y="845318"/>
                      </a:lnTo>
                      <a:lnTo>
                        <a:pt x="1336768" y="844784"/>
                      </a:lnTo>
                      <a:lnTo>
                        <a:pt x="1334679" y="844213"/>
                      </a:lnTo>
                      <a:lnTo>
                        <a:pt x="1333149" y="843983"/>
                      </a:lnTo>
                      <a:lnTo>
                        <a:pt x="1332469" y="844080"/>
                      </a:lnTo>
                      <a:lnTo>
                        <a:pt x="1332032" y="844347"/>
                      </a:lnTo>
                      <a:lnTo>
                        <a:pt x="1329700" y="846399"/>
                      </a:lnTo>
                      <a:lnTo>
                        <a:pt x="1328122" y="847383"/>
                      </a:lnTo>
                      <a:lnTo>
                        <a:pt x="1325620" y="848184"/>
                      </a:lnTo>
                      <a:lnTo>
                        <a:pt x="1314315" y="849144"/>
                      </a:lnTo>
                      <a:lnTo>
                        <a:pt x="1312008" y="849848"/>
                      </a:lnTo>
                      <a:lnTo>
                        <a:pt x="1311365" y="850249"/>
                      </a:lnTo>
                      <a:lnTo>
                        <a:pt x="1310490" y="851098"/>
                      </a:lnTo>
                      <a:lnTo>
                        <a:pt x="1310126" y="851791"/>
                      </a:lnTo>
                      <a:lnTo>
                        <a:pt x="1309762" y="852774"/>
                      </a:lnTo>
                      <a:lnTo>
                        <a:pt x="1310126" y="853746"/>
                      </a:lnTo>
                      <a:lnTo>
                        <a:pt x="1311474" y="855057"/>
                      </a:lnTo>
                      <a:lnTo>
                        <a:pt x="1315627" y="857899"/>
                      </a:lnTo>
                      <a:lnTo>
                        <a:pt x="1319440" y="863059"/>
                      </a:lnTo>
                      <a:lnTo>
                        <a:pt x="1324163" y="874170"/>
                      </a:lnTo>
                      <a:lnTo>
                        <a:pt x="1324649" y="874352"/>
                      </a:lnTo>
                      <a:lnTo>
                        <a:pt x="1327162" y="875943"/>
                      </a:lnTo>
                      <a:lnTo>
                        <a:pt x="1328025" y="876004"/>
                      </a:lnTo>
                      <a:lnTo>
                        <a:pt x="1331085" y="877072"/>
                      </a:lnTo>
                      <a:lnTo>
                        <a:pt x="1335699" y="880011"/>
                      </a:lnTo>
                      <a:lnTo>
                        <a:pt x="1336974" y="880217"/>
                      </a:lnTo>
                      <a:lnTo>
                        <a:pt x="1339330" y="881347"/>
                      </a:lnTo>
                      <a:lnTo>
                        <a:pt x="1342159" y="884285"/>
                      </a:lnTo>
                      <a:lnTo>
                        <a:pt x="1343968" y="887236"/>
                      </a:lnTo>
                      <a:lnTo>
                        <a:pt x="1345049" y="890260"/>
                      </a:lnTo>
                      <a:lnTo>
                        <a:pt x="1345268" y="890320"/>
                      </a:lnTo>
                      <a:lnTo>
                        <a:pt x="1347332" y="890344"/>
                      </a:lnTo>
                      <a:lnTo>
                        <a:pt x="1350562" y="891923"/>
                      </a:lnTo>
                      <a:lnTo>
                        <a:pt x="1351934" y="894473"/>
                      </a:lnTo>
                      <a:lnTo>
                        <a:pt x="1353877" y="901674"/>
                      </a:lnTo>
                      <a:lnTo>
                        <a:pt x="1354739" y="903240"/>
                      </a:lnTo>
                      <a:lnTo>
                        <a:pt x="1355480" y="904321"/>
                      </a:lnTo>
                      <a:lnTo>
                        <a:pt x="1357617" y="906519"/>
                      </a:lnTo>
                      <a:lnTo>
                        <a:pt x="1360604" y="908656"/>
                      </a:lnTo>
                      <a:lnTo>
                        <a:pt x="1362948" y="908972"/>
                      </a:lnTo>
                      <a:lnTo>
                        <a:pt x="1365425" y="908583"/>
                      </a:lnTo>
                      <a:lnTo>
                        <a:pt x="1371290" y="906725"/>
                      </a:lnTo>
                      <a:lnTo>
                        <a:pt x="1373901" y="906264"/>
                      </a:lnTo>
                      <a:lnTo>
                        <a:pt x="1380701" y="906252"/>
                      </a:lnTo>
                      <a:lnTo>
                        <a:pt x="1383202" y="907588"/>
                      </a:lnTo>
                      <a:lnTo>
                        <a:pt x="1386262" y="910477"/>
                      </a:lnTo>
                      <a:lnTo>
                        <a:pt x="1388630" y="913841"/>
                      </a:lnTo>
                      <a:lnTo>
                        <a:pt x="1389626" y="916428"/>
                      </a:lnTo>
                      <a:lnTo>
                        <a:pt x="1390488" y="917205"/>
                      </a:lnTo>
                      <a:lnTo>
                        <a:pt x="1396863" y="920750"/>
                      </a:lnTo>
                      <a:lnTo>
                        <a:pt x="1398842" y="921333"/>
                      </a:lnTo>
                      <a:lnTo>
                        <a:pt x="1403809" y="920823"/>
                      </a:lnTo>
                      <a:lnTo>
                        <a:pt x="1407306" y="920993"/>
                      </a:lnTo>
                      <a:lnTo>
                        <a:pt x="1410597" y="922147"/>
                      </a:lnTo>
                      <a:lnTo>
                        <a:pt x="1425326" y="935200"/>
                      </a:lnTo>
                      <a:lnTo>
                        <a:pt x="1427014" y="937799"/>
                      </a:lnTo>
                      <a:lnTo>
                        <a:pt x="1427706" y="939693"/>
                      </a:lnTo>
                      <a:lnTo>
                        <a:pt x="1427160" y="943919"/>
                      </a:lnTo>
                      <a:lnTo>
                        <a:pt x="1425253" y="946178"/>
                      </a:lnTo>
                      <a:lnTo>
                        <a:pt x="1425496" y="949116"/>
                      </a:lnTo>
                      <a:lnTo>
                        <a:pt x="1423055" y="951800"/>
                      </a:lnTo>
                      <a:lnTo>
                        <a:pt x="1420967" y="953111"/>
                      </a:lnTo>
                      <a:lnTo>
                        <a:pt x="1413195" y="958819"/>
                      </a:lnTo>
                      <a:lnTo>
                        <a:pt x="1411374" y="959644"/>
                      </a:lnTo>
                      <a:lnTo>
                        <a:pt x="1408824" y="960336"/>
                      </a:lnTo>
                      <a:lnTo>
                        <a:pt x="1403444" y="960664"/>
                      </a:lnTo>
                      <a:lnTo>
                        <a:pt x="1400566" y="960300"/>
                      </a:lnTo>
                      <a:lnTo>
                        <a:pt x="1398575" y="959596"/>
                      </a:lnTo>
                      <a:lnTo>
                        <a:pt x="1395224" y="957677"/>
                      </a:lnTo>
                      <a:lnTo>
                        <a:pt x="1391071" y="956645"/>
                      </a:lnTo>
                      <a:lnTo>
                        <a:pt x="1386651" y="953791"/>
                      </a:lnTo>
                      <a:lnTo>
                        <a:pt x="1380349" y="947720"/>
                      </a:lnTo>
                      <a:lnTo>
                        <a:pt x="1379717" y="947562"/>
                      </a:lnTo>
                      <a:lnTo>
                        <a:pt x="1377301" y="948242"/>
                      </a:lnTo>
                      <a:lnTo>
                        <a:pt x="1374848" y="949590"/>
                      </a:lnTo>
                      <a:lnTo>
                        <a:pt x="1371861" y="950610"/>
                      </a:lnTo>
                      <a:lnTo>
                        <a:pt x="1371642" y="950744"/>
                      </a:lnTo>
                      <a:lnTo>
                        <a:pt x="1371460" y="953026"/>
                      </a:lnTo>
                      <a:lnTo>
                        <a:pt x="1373439" y="957896"/>
                      </a:lnTo>
                      <a:lnTo>
                        <a:pt x="1373888" y="959353"/>
                      </a:lnTo>
                      <a:lnTo>
                        <a:pt x="1374192" y="960846"/>
                      </a:lnTo>
                      <a:lnTo>
                        <a:pt x="1374350" y="962571"/>
                      </a:lnTo>
                      <a:lnTo>
                        <a:pt x="1374301" y="963931"/>
                      </a:lnTo>
                      <a:lnTo>
                        <a:pt x="1373682" y="966165"/>
                      </a:lnTo>
                      <a:lnTo>
                        <a:pt x="1373391" y="966711"/>
                      </a:lnTo>
                      <a:lnTo>
                        <a:pt x="1372468" y="968011"/>
                      </a:lnTo>
                      <a:lnTo>
                        <a:pt x="1371375" y="968933"/>
                      </a:lnTo>
                      <a:lnTo>
                        <a:pt x="1369213" y="970172"/>
                      </a:lnTo>
                      <a:lnTo>
                        <a:pt x="1365109" y="971593"/>
                      </a:lnTo>
                      <a:lnTo>
                        <a:pt x="1362013" y="972176"/>
                      </a:lnTo>
                      <a:lnTo>
                        <a:pt x="1358236" y="972164"/>
                      </a:lnTo>
                      <a:lnTo>
                        <a:pt x="1356075" y="971739"/>
                      </a:lnTo>
                      <a:lnTo>
                        <a:pt x="1354265" y="971107"/>
                      </a:lnTo>
                      <a:lnTo>
                        <a:pt x="1353185" y="970561"/>
                      </a:lnTo>
                      <a:lnTo>
                        <a:pt x="1350926" y="969152"/>
                      </a:lnTo>
                      <a:lnTo>
                        <a:pt x="1349809" y="967999"/>
                      </a:lnTo>
                      <a:lnTo>
                        <a:pt x="1348740" y="966675"/>
                      </a:lnTo>
                      <a:lnTo>
                        <a:pt x="1348036" y="965412"/>
                      </a:lnTo>
                      <a:lnTo>
                        <a:pt x="1347550" y="964246"/>
                      </a:lnTo>
                      <a:lnTo>
                        <a:pt x="1347150" y="963081"/>
                      </a:lnTo>
                      <a:lnTo>
                        <a:pt x="1346773" y="961514"/>
                      </a:lnTo>
                      <a:lnTo>
                        <a:pt x="1346628" y="959596"/>
                      </a:lnTo>
                      <a:lnTo>
                        <a:pt x="1346700" y="958369"/>
                      </a:lnTo>
                      <a:lnTo>
                        <a:pt x="1347101" y="955370"/>
                      </a:lnTo>
                      <a:lnTo>
                        <a:pt x="1347053" y="953828"/>
                      </a:lnTo>
                      <a:lnTo>
                        <a:pt x="1343070" y="951521"/>
                      </a:lnTo>
                      <a:lnTo>
                        <a:pt x="1337472" y="953124"/>
                      </a:lnTo>
                      <a:lnTo>
                        <a:pt x="1322487" y="965109"/>
                      </a:lnTo>
                      <a:lnTo>
                        <a:pt x="1312725" y="977713"/>
                      </a:lnTo>
                      <a:lnTo>
                        <a:pt x="1308389" y="981841"/>
                      </a:lnTo>
                      <a:lnTo>
                        <a:pt x="1296064" y="990159"/>
                      </a:lnTo>
                      <a:lnTo>
                        <a:pt x="1294862" y="991787"/>
                      </a:lnTo>
                      <a:lnTo>
                        <a:pt x="1294583" y="992782"/>
                      </a:lnTo>
                      <a:lnTo>
                        <a:pt x="1294267" y="993523"/>
                      </a:lnTo>
                      <a:lnTo>
                        <a:pt x="1290357" y="996510"/>
                      </a:lnTo>
                      <a:lnTo>
                        <a:pt x="1283836" y="999801"/>
                      </a:lnTo>
                      <a:lnTo>
                        <a:pt x="1276745" y="1002229"/>
                      </a:lnTo>
                      <a:lnTo>
                        <a:pt x="1275992" y="1003687"/>
                      </a:lnTo>
                      <a:lnTo>
                        <a:pt x="1275081" y="1006504"/>
                      </a:lnTo>
                      <a:lnTo>
                        <a:pt x="1269362" y="1010924"/>
                      </a:lnTo>
                      <a:lnTo>
                        <a:pt x="1249375" y="1022423"/>
                      </a:lnTo>
                      <a:lnTo>
                        <a:pt x="1220365" y="1038755"/>
                      </a:lnTo>
                      <a:lnTo>
                        <a:pt x="1214731" y="1043078"/>
                      </a:lnTo>
                      <a:lnTo>
                        <a:pt x="1211780" y="1044754"/>
                      </a:lnTo>
                      <a:lnTo>
                        <a:pt x="1201447" y="1049380"/>
                      </a:lnTo>
                      <a:lnTo>
                        <a:pt x="1195824" y="1052890"/>
                      </a:lnTo>
                      <a:lnTo>
                        <a:pt x="1193809" y="1054505"/>
                      </a:lnTo>
                      <a:lnTo>
                        <a:pt x="1191344" y="1057043"/>
                      </a:lnTo>
                      <a:lnTo>
                        <a:pt x="1189449" y="1059544"/>
                      </a:lnTo>
                      <a:lnTo>
                        <a:pt x="1188794" y="1060710"/>
                      </a:lnTo>
                      <a:lnTo>
                        <a:pt x="1188320" y="1061961"/>
                      </a:lnTo>
                      <a:lnTo>
                        <a:pt x="1187762" y="1063831"/>
                      </a:lnTo>
                      <a:lnTo>
                        <a:pt x="1187009" y="1068797"/>
                      </a:lnTo>
                      <a:lnTo>
                        <a:pt x="1186231" y="1079738"/>
                      </a:lnTo>
                      <a:lnTo>
                        <a:pt x="1185697" y="1082276"/>
                      </a:lnTo>
                      <a:lnTo>
                        <a:pt x="1185831" y="1083769"/>
                      </a:lnTo>
                      <a:lnTo>
                        <a:pt x="1186304" y="1084777"/>
                      </a:lnTo>
                      <a:lnTo>
                        <a:pt x="1188199" y="1088335"/>
                      </a:lnTo>
                      <a:lnTo>
                        <a:pt x="1192169" y="1093872"/>
                      </a:lnTo>
                      <a:lnTo>
                        <a:pt x="1193177" y="1096058"/>
                      </a:lnTo>
                      <a:lnTo>
                        <a:pt x="1193517" y="1097503"/>
                      </a:lnTo>
                      <a:lnTo>
                        <a:pt x="1193979" y="1103429"/>
                      </a:lnTo>
                      <a:lnTo>
                        <a:pt x="1193809" y="1111200"/>
                      </a:lnTo>
                      <a:lnTo>
                        <a:pt x="1193335" y="1114819"/>
                      </a:lnTo>
                      <a:lnTo>
                        <a:pt x="1192473" y="1117636"/>
                      </a:lnTo>
                      <a:lnTo>
                        <a:pt x="1191538" y="1119433"/>
                      </a:lnTo>
                      <a:lnTo>
                        <a:pt x="1191404" y="1119919"/>
                      </a:lnTo>
                      <a:lnTo>
                        <a:pt x="1191720" y="1121874"/>
                      </a:lnTo>
                      <a:lnTo>
                        <a:pt x="1192522" y="1123501"/>
                      </a:lnTo>
                      <a:lnTo>
                        <a:pt x="1195314" y="1125893"/>
                      </a:lnTo>
                      <a:lnTo>
                        <a:pt x="1196577" y="1126294"/>
                      </a:lnTo>
                      <a:lnTo>
                        <a:pt x="1198423" y="1127302"/>
                      </a:lnTo>
                      <a:lnTo>
                        <a:pt x="1200099" y="1128832"/>
                      </a:lnTo>
                      <a:lnTo>
                        <a:pt x="1204264" y="1135207"/>
                      </a:lnTo>
                      <a:lnTo>
                        <a:pt x="1205648" y="1136870"/>
                      </a:lnTo>
                      <a:lnTo>
                        <a:pt x="1207457" y="1138255"/>
                      </a:lnTo>
                      <a:lnTo>
                        <a:pt x="1209594" y="1139542"/>
                      </a:lnTo>
                      <a:lnTo>
                        <a:pt x="1211817" y="1140428"/>
                      </a:lnTo>
                      <a:lnTo>
                        <a:pt x="1218945" y="1142092"/>
                      </a:lnTo>
                      <a:lnTo>
                        <a:pt x="1221179" y="1143816"/>
                      </a:lnTo>
                      <a:lnTo>
                        <a:pt x="1222988" y="1146512"/>
                      </a:lnTo>
                      <a:lnTo>
                        <a:pt x="1224470" y="1151114"/>
                      </a:lnTo>
                      <a:lnTo>
                        <a:pt x="1224919" y="1154089"/>
                      </a:lnTo>
                      <a:lnTo>
                        <a:pt x="1224688" y="1157538"/>
                      </a:lnTo>
                      <a:lnTo>
                        <a:pt x="1221142" y="1163196"/>
                      </a:lnTo>
                      <a:lnTo>
                        <a:pt x="1221021" y="1164156"/>
                      </a:lnTo>
                      <a:lnTo>
                        <a:pt x="1221264" y="1164532"/>
                      </a:lnTo>
                      <a:lnTo>
                        <a:pt x="1223061" y="1168272"/>
                      </a:lnTo>
                      <a:lnTo>
                        <a:pt x="1223802" y="1171417"/>
                      </a:lnTo>
                      <a:lnTo>
                        <a:pt x="1223085" y="1174659"/>
                      </a:lnTo>
                      <a:lnTo>
                        <a:pt x="1222745" y="1178922"/>
                      </a:lnTo>
                      <a:lnTo>
                        <a:pt x="1223644" y="1185029"/>
                      </a:lnTo>
                      <a:lnTo>
                        <a:pt x="1223170" y="1193918"/>
                      </a:lnTo>
                      <a:lnTo>
                        <a:pt x="1205235" y="1195861"/>
                      </a:lnTo>
                      <a:lnTo>
                        <a:pt x="1202685" y="1197318"/>
                      </a:lnTo>
                      <a:lnTo>
                        <a:pt x="1200196" y="1199042"/>
                      </a:lnTo>
                      <a:lnTo>
                        <a:pt x="1199552" y="1199674"/>
                      </a:lnTo>
                      <a:lnTo>
                        <a:pt x="1199164" y="1201325"/>
                      </a:lnTo>
                      <a:lnTo>
                        <a:pt x="1199152" y="1202333"/>
                      </a:lnTo>
                      <a:lnTo>
                        <a:pt x="1199309" y="1203329"/>
                      </a:lnTo>
                      <a:lnTo>
                        <a:pt x="1199747" y="1204834"/>
                      </a:lnTo>
                      <a:lnTo>
                        <a:pt x="1201629" y="1209291"/>
                      </a:lnTo>
                      <a:lnTo>
                        <a:pt x="1202661" y="1211052"/>
                      </a:lnTo>
                      <a:lnTo>
                        <a:pt x="1203742" y="1212497"/>
                      </a:lnTo>
                      <a:lnTo>
                        <a:pt x="1206279" y="1215399"/>
                      </a:lnTo>
                      <a:lnTo>
                        <a:pt x="1208866" y="1219187"/>
                      </a:lnTo>
                      <a:lnTo>
                        <a:pt x="1209886" y="1221665"/>
                      </a:lnTo>
                      <a:lnTo>
                        <a:pt x="1210420" y="1224870"/>
                      </a:lnTo>
                      <a:lnTo>
                        <a:pt x="1209777" y="1227068"/>
                      </a:lnTo>
                      <a:lnTo>
                        <a:pt x="1208659" y="1229230"/>
                      </a:lnTo>
                      <a:lnTo>
                        <a:pt x="1203450" y="1235981"/>
                      </a:lnTo>
                      <a:lnTo>
                        <a:pt x="1203025" y="1237098"/>
                      </a:lnTo>
                      <a:lnTo>
                        <a:pt x="1203183" y="1238968"/>
                      </a:lnTo>
                      <a:lnTo>
                        <a:pt x="1203122" y="1241603"/>
                      </a:lnTo>
                      <a:lnTo>
                        <a:pt x="1202309" y="1244287"/>
                      </a:lnTo>
                      <a:lnTo>
                        <a:pt x="1201325" y="1246169"/>
                      </a:lnTo>
                      <a:lnTo>
                        <a:pt x="1195800" y="1252410"/>
                      </a:lnTo>
                      <a:lnTo>
                        <a:pt x="1193554" y="1256223"/>
                      </a:lnTo>
                      <a:lnTo>
                        <a:pt x="1192449" y="1258446"/>
                      </a:lnTo>
                      <a:lnTo>
                        <a:pt x="1188223" y="1269726"/>
                      </a:lnTo>
                      <a:lnTo>
                        <a:pt x="1185916" y="1273442"/>
                      </a:lnTo>
                      <a:lnTo>
                        <a:pt x="1184119" y="1278918"/>
                      </a:lnTo>
                      <a:lnTo>
                        <a:pt x="1182953" y="1281201"/>
                      </a:lnTo>
                      <a:lnTo>
                        <a:pt x="1180791" y="1283375"/>
                      </a:lnTo>
                      <a:lnTo>
                        <a:pt x="1174186" y="1287370"/>
                      </a:lnTo>
                      <a:lnTo>
                        <a:pt x="1173348" y="1288863"/>
                      </a:lnTo>
                      <a:lnTo>
                        <a:pt x="1172862" y="1290685"/>
                      </a:lnTo>
                      <a:lnTo>
                        <a:pt x="1172680" y="1295785"/>
                      </a:lnTo>
                      <a:lnTo>
                        <a:pt x="1172401" y="1297121"/>
                      </a:lnTo>
                      <a:lnTo>
                        <a:pt x="1171599" y="1299027"/>
                      </a:lnTo>
                      <a:lnTo>
                        <a:pt x="1167483" y="1305791"/>
                      </a:lnTo>
                      <a:lnTo>
                        <a:pt x="1165977" y="1307600"/>
                      </a:lnTo>
                      <a:lnTo>
                        <a:pt x="1164435" y="1308960"/>
                      </a:lnTo>
                      <a:lnTo>
                        <a:pt x="1162431" y="1310211"/>
                      </a:lnTo>
                      <a:lnTo>
                        <a:pt x="1157647" y="1312008"/>
                      </a:lnTo>
                      <a:lnTo>
                        <a:pt x="1152073" y="1313210"/>
                      </a:lnTo>
                      <a:lnTo>
                        <a:pt x="1150519" y="1313745"/>
                      </a:lnTo>
                      <a:lnTo>
                        <a:pt x="1145225" y="1316125"/>
                      </a:lnTo>
                      <a:lnTo>
                        <a:pt x="1142395" y="1316877"/>
                      </a:lnTo>
                      <a:lnTo>
                        <a:pt x="1138741" y="1317230"/>
                      </a:lnTo>
                      <a:close/>
                    </a:path>
                  </a:pathLst>
                </a:custGeom>
                <a:solidFill>
                  <a:srgbClr val="D7D7D2"/>
                </a:solidFill>
                <a:ln w="12138" cap="flat">
                  <a:noFill/>
                  <a:prstDash val="solid"/>
                  <a:miter/>
                </a:ln>
              </p:spPr>
              <p:txBody>
                <a:bodyPr rtlCol="0" anchor="ctr"/>
                <a:lstStyle/>
                <a:p>
                  <a:endParaRPr lang="en-US"/>
                </a:p>
              </p:txBody>
            </p:sp>
            <p:sp>
              <p:nvSpPr>
                <p:cNvPr id="333" name="Freeform: Shape 332">
                  <a:extLst>
                    <a:ext uri="{FF2B5EF4-FFF2-40B4-BE49-F238E27FC236}">
                      <a16:creationId xmlns:a16="http://schemas.microsoft.com/office/drawing/2014/main" id="{FB34BD52-E0B4-415F-8B78-BEB9F0E9A0C3}"/>
                    </a:ext>
                  </a:extLst>
                </p:cNvPr>
                <p:cNvSpPr/>
                <p:nvPr/>
              </p:nvSpPr>
              <p:spPr>
                <a:xfrm>
                  <a:off x="5014404" y="2052952"/>
                  <a:ext cx="1439351" cy="1323458"/>
                </a:xfrm>
                <a:custGeom>
                  <a:avLst/>
                  <a:gdLst>
                    <a:gd name="connsiteX0" fmla="*/ 121478 w 1439351"/>
                    <a:gd name="connsiteY0" fmla="*/ 6132 h 1323458"/>
                    <a:gd name="connsiteX1" fmla="*/ 124745 w 1439351"/>
                    <a:gd name="connsiteY1" fmla="*/ 6241 h 1323458"/>
                    <a:gd name="connsiteX2" fmla="*/ 129456 w 1439351"/>
                    <a:gd name="connsiteY2" fmla="*/ 7589 h 1323458"/>
                    <a:gd name="connsiteX3" fmla="*/ 146165 w 1439351"/>
                    <a:gd name="connsiteY3" fmla="*/ 21857 h 1323458"/>
                    <a:gd name="connsiteX4" fmla="*/ 157579 w 1439351"/>
                    <a:gd name="connsiteY4" fmla="*/ 28718 h 1323458"/>
                    <a:gd name="connsiteX5" fmla="*/ 179582 w 1439351"/>
                    <a:gd name="connsiteY5" fmla="*/ 38578 h 1323458"/>
                    <a:gd name="connsiteX6" fmla="*/ 182800 w 1439351"/>
                    <a:gd name="connsiteY6" fmla="*/ 41869 h 1323458"/>
                    <a:gd name="connsiteX7" fmla="*/ 181646 w 1439351"/>
                    <a:gd name="connsiteY7" fmla="*/ 44601 h 1323458"/>
                    <a:gd name="connsiteX8" fmla="*/ 178040 w 1439351"/>
                    <a:gd name="connsiteY8" fmla="*/ 47952 h 1323458"/>
                    <a:gd name="connsiteX9" fmla="*/ 168386 w 1439351"/>
                    <a:gd name="connsiteY9" fmla="*/ 54740 h 1323458"/>
                    <a:gd name="connsiteX10" fmla="*/ 161950 w 1439351"/>
                    <a:gd name="connsiteY10" fmla="*/ 61808 h 1323458"/>
                    <a:gd name="connsiteX11" fmla="*/ 153681 w 1439351"/>
                    <a:gd name="connsiteY11" fmla="*/ 80666 h 1323458"/>
                    <a:gd name="connsiteX12" fmla="*/ 145363 w 1439351"/>
                    <a:gd name="connsiteY12" fmla="*/ 93440 h 1323458"/>
                    <a:gd name="connsiteX13" fmla="*/ 144732 w 1439351"/>
                    <a:gd name="connsiteY13" fmla="*/ 96998 h 1323458"/>
                    <a:gd name="connsiteX14" fmla="*/ 145703 w 1439351"/>
                    <a:gd name="connsiteY14" fmla="*/ 105231 h 1323458"/>
                    <a:gd name="connsiteX15" fmla="*/ 145473 w 1439351"/>
                    <a:gd name="connsiteY15" fmla="*/ 113816 h 1323458"/>
                    <a:gd name="connsiteX16" fmla="*/ 146225 w 1439351"/>
                    <a:gd name="connsiteY16" fmla="*/ 117471 h 1323458"/>
                    <a:gd name="connsiteX17" fmla="*/ 149382 w 1439351"/>
                    <a:gd name="connsiteY17" fmla="*/ 125849 h 1323458"/>
                    <a:gd name="connsiteX18" fmla="*/ 150985 w 1439351"/>
                    <a:gd name="connsiteY18" fmla="*/ 136474 h 1323458"/>
                    <a:gd name="connsiteX19" fmla="*/ 152370 w 1439351"/>
                    <a:gd name="connsiteY19" fmla="*/ 141757 h 1323458"/>
                    <a:gd name="connsiteX20" fmla="*/ 161319 w 1439351"/>
                    <a:gd name="connsiteY20" fmla="*/ 158526 h 1323458"/>
                    <a:gd name="connsiteX21" fmla="*/ 178489 w 1439351"/>
                    <a:gd name="connsiteY21" fmla="*/ 150111 h 1323458"/>
                    <a:gd name="connsiteX22" fmla="*/ 184245 w 1439351"/>
                    <a:gd name="connsiteY22" fmla="*/ 145557 h 1323458"/>
                    <a:gd name="connsiteX23" fmla="*/ 186649 w 1439351"/>
                    <a:gd name="connsiteY23" fmla="*/ 145314 h 1323458"/>
                    <a:gd name="connsiteX24" fmla="*/ 189685 w 1439351"/>
                    <a:gd name="connsiteY24" fmla="*/ 146468 h 1323458"/>
                    <a:gd name="connsiteX25" fmla="*/ 200431 w 1439351"/>
                    <a:gd name="connsiteY25" fmla="*/ 152722 h 1323458"/>
                    <a:gd name="connsiteX26" fmla="*/ 207195 w 1439351"/>
                    <a:gd name="connsiteY26" fmla="*/ 157664 h 1323458"/>
                    <a:gd name="connsiteX27" fmla="*/ 208749 w 1439351"/>
                    <a:gd name="connsiteY27" fmla="*/ 158356 h 1323458"/>
                    <a:gd name="connsiteX28" fmla="*/ 213060 w 1439351"/>
                    <a:gd name="connsiteY28" fmla="*/ 159619 h 1323458"/>
                    <a:gd name="connsiteX29" fmla="*/ 222022 w 1439351"/>
                    <a:gd name="connsiteY29" fmla="*/ 155430 h 1323458"/>
                    <a:gd name="connsiteX30" fmla="*/ 228384 w 1439351"/>
                    <a:gd name="connsiteY30" fmla="*/ 148933 h 1323458"/>
                    <a:gd name="connsiteX31" fmla="*/ 230060 w 1439351"/>
                    <a:gd name="connsiteY31" fmla="*/ 140445 h 1323458"/>
                    <a:gd name="connsiteX32" fmla="*/ 228676 w 1439351"/>
                    <a:gd name="connsiteY32" fmla="*/ 131338 h 1323458"/>
                    <a:gd name="connsiteX33" fmla="*/ 223054 w 1439351"/>
                    <a:gd name="connsiteY33" fmla="*/ 113998 h 1323458"/>
                    <a:gd name="connsiteX34" fmla="*/ 222252 w 1439351"/>
                    <a:gd name="connsiteY34" fmla="*/ 109323 h 1323458"/>
                    <a:gd name="connsiteX35" fmla="*/ 222022 w 1439351"/>
                    <a:gd name="connsiteY35" fmla="*/ 104089 h 1323458"/>
                    <a:gd name="connsiteX36" fmla="*/ 222932 w 1439351"/>
                    <a:gd name="connsiteY36" fmla="*/ 101394 h 1323458"/>
                    <a:gd name="connsiteX37" fmla="*/ 224365 w 1439351"/>
                    <a:gd name="connsiteY37" fmla="*/ 99669 h 1323458"/>
                    <a:gd name="connsiteX38" fmla="*/ 226211 w 1439351"/>
                    <a:gd name="connsiteY38" fmla="*/ 98516 h 1323458"/>
                    <a:gd name="connsiteX39" fmla="*/ 229259 w 1439351"/>
                    <a:gd name="connsiteY39" fmla="*/ 97775 h 1323458"/>
                    <a:gd name="connsiteX40" fmla="*/ 232064 w 1439351"/>
                    <a:gd name="connsiteY40" fmla="*/ 97884 h 1323458"/>
                    <a:gd name="connsiteX41" fmla="*/ 233740 w 1439351"/>
                    <a:gd name="connsiteY41" fmla="*/ 98285 h 1323458"/>
                    <a:gd name="connsiteX42" fmla="*/ 235743 w 1439351"/>
                    <a:gd name="connsiteY42" fmla="*/ 99548 h 1323458"/>
                    <a:gd name="connsiteX43" fmla="*/ 246648 w 1439351"/>
                    <a:gd name="connsiteY43" fmla="*/ 110865 h 1323458"/>
                    <a:gd name="connsiteX44" fmla="*/ 253945 w 1439351"/>
                    <a:gd name="connsiteY44" fmla="*/ 120968 h 1323458"/>
                    <a:gd name="connsiteX45" fmla="*/ 259057 w 1439351"/>
                    <a:gd name="connsiteY45" fmla="*/ 132309 h 1323458"/>
                    <a:gd name="connsiteX46" fmla="*/ 260770 w 1439351"/>
                    <a:gd name="connsiteY46" fmla="*/ 134847 h 1323458"/>
                    <a:gd name="connsiteX47" fmla="*/ 264340 w 1439351"/>
                    <a:gd name="connsiteY47" fmla="*/ 137689 h 1323458"/>
                    <a:gd name="connsiteX48" fmla="*/ 282712 w 1439351"/>
                    <a:gd name="connsiteY48" fmla="*/ 145812 h 1323458"/>
                    <a:gd name="connsiteX49" fmla="*/ 289488 w 1439351"/>
                    <a:gd name="connsiteY49" fmla="*/ 152527 h 1323458"/>
                    <a:gd name="connsiteX50" fmla="*/ 293507 w 1439351"/>
                    <a:gd name="connsiteY50" fmla="*/ 160991 h 1323458"/>
                    <a:gd name="connsiteX51" fmla="*/ 296895 w 1439351"/>
                    <a:gd name="connsiteY51" fmla="*/ 166504 h 1323458"/>
                    <a:gd name="connsiteX52" fmla="*/ 303440 w 1439351"/>
                    <a:gd name="connsiteY52" fmla="*/ 174858 h 1323458"/>
                    <a:gd name="connsiteX53" fmla="*/ 313543 w 1439351"/>
                    <a:gd name="connsiteY53" fmla="*/ 183589 h 1323458"/>
                    <a:gd name="connsiteX54" fmla="*/ 344155 w 1439351"/>
                    <a:gd name="connsiteY54" fmla="*/ 200868 h 1323458"/>
                    <a:gd name="connsiteX55" fmla="*/ 349146 w 1439351"/>
                    <a:gd name="connsiteY55" fmla="*/ 202763 h 1323458"/>
                    <a:gd name="connsiteX56" fmla="*/ 362928 w 1439351"/>
                    <a:gd name="connsiteY56" fmla="*/ 205495 h 1323458"/>
                    <a:gd name="connsiteX57" fmla="*/ 365466 w 1439351"/>
                    <a:gd name="connsiteY57" fmla="*/ 207195 h 1323458"/>
                    <a:gd name="connsiteX58" fmla="*/ 365284 w 1439351"/>
                    <a:gd name="connsiteY58" fmla="*/ 209174 h 1323458"/>
                    <a:gd name="connsiteX59" fmla="*/ 364592 w 1439351"/>
                    <a:gd name="connsiteY59" fmla="*/ 211724 h 1323458"/>
                    <a:gd name="connsiteX60" fmla="*/ 363037 w 1439351"/>
                    <a:gd name="connsiteY60" fmla="*/ 214116 h 1323458"/>
                    <a:gd name="connsiteX61" fmla="*/ 354270 w 1439351"/>
                    <a:gd name="connsiteY61" fmla="*/ 221924 h 1323458"/>
                    <a:gd name="connsiteX62" fmla="*/ 351902 w 1439351"/>
                    <a:gd name="connsiteY62" fmla="*/ 222920 h 1323458"/>
                    <a:gd name="connsiteX63" fmla="*/ 350129 w 1439351"/>
                    <a:gd name="connsiteY63" fmla="*/ 222786 h 1323458"/>
                    <a:gd name="connsiteX64" fmla="*/ 348855 w 1439351"/>
                    <a:gd name="connsiteY64" fmla="*/ 221888 h 1323458"/>
                    <a:gd name="connsiteX65" fmla="*/ 347665 w 1439351"/>
                    <a:gd name="connsiteY65" fmla="*/ 221439 h 1323458"/>
                    <a:gd name="connsiteX66" fmla="*/ 346049 w 1439351"/>
                    <a:gd name="connsiteY66" fmla="*/ 221973 h 1323458"/>
                    <a:gd name="connsiteX67" fmla="*/ 344775 w 1439351"/>
                    <a:gd name="connsiteY67" fmla="*/ 223552 h 1323458"/>
                    <a:gd name="connsiteX68" fmla="*/ 342370 w 1439351"/>
                    <a:gd name="connsiteY68" fmla="*/ 227947 h 1323458"/>
                    <a:gd name="connsiteX69" fmla="*/ 340707 w 1439351"/>
                    <a:gd name="connsiteY69" fmla="*/ 228287 h 1323458"/>
                    <a:gd name="connsiteX70" fmla="*/ 338594 w 1439351"/>
                    <a:gd name="connsiteY70" fmla="*/ 227692 h 1323458"/>
                    <a:gd name="connsiteX71" fmla="*/ 336857 w 1439351"/>
                    <a:gd name="connsiteY71" fmla="*/ 226539 h 1323458"/>
                    <a:gd name="connsiteX72" fmla="*/ 335704 w 1439351"/>
                    <a:gd name="connsiteY72" fmla="*/ 226004 h 1323458"/>
                    <a:gd name="connsiteX73" fmla="*/ 334732 w 1439351"/>
                    <a:gd name="connsiteY73" fmla="*/ 226308 h 1323458"/>
                    <a:gd name="connsiteX74" fmla="*/ 333469 w 1439351"/>
                    <a:gd name="connsiteY74" fmla="*/ 227316 h 1323458"/>
                    <a:gd name="connsiteX75" fmla="*/ 330033 w 1439351"/>
                    <a:gd name="connsiteY75" fmla="*/ 228056 h 1323458"/>
                    <a:gd name="connsiteX76" fmla="*/ 329098 w 1439351"/>
                    <a:gd name="connsiteY76" fmla="*/ 228870 h 1323458"/>
                    <a:gd name="connsiteX77" fmla="*/ 328879 w 1439351"/>
                    <a:gd name="connsiteY77" fmla="*/ 230072 h 1323458"/>
                    <a:gd name="connsiteX78" fmla="*/ 329219 w 1439351"/>
                    <a:gd name="connsiteY78" fmla="*/ 231287 h 1323458"/>
                    <a:gd name="connsiteX79" fmla="*/ 329159 w 1439351"/>
                    <a:gd name="connsiteY79" fmla="*/ 232634 h 1323458"/>
                    <a:gd name="connsiteX80" fmla="*/ 327216 w 1439351"/>
                    <a:gd name="connsiteY80" fmla="*/ 233630 h 1323458"/>
                    <a:gd name="connsiteX81" fmla="*/ 326864 w 1439351"/>
                    <a:gd name="connsiteY81" fmla="*/ 234092 h 1323458"/>
                    <a:gd name="connsiteX82" fmla="*/ 328248 w 1439351"/>
                    <a:gd name="connsiteY82" fmla="*/ 235439 h 1323458"/>
                    <a:gd name="connsiteX83" fmla="*/ 355703 w 1439351"/>
                    <a:gd name="connsiteY83" fmla="*/ 249513 h 1323458"/>
                    <a:gd name="connsiteX84" fmla="*/ 359018 w 1439351"/>
                    <a:gd name="connsiteY84" fmla="*/ 253156 h 1323458"/>
                    <a:gd name="connsiteX85" fmla="*/ 361435 w 1439351"/>
                    <a:gd name="connsiteY85" fmla="*/ 257236 h 1323458"/>
                    <a:gd name="connsiteX86" fmla="*/ 362697 w 1439351"/>
                    <a:gd name="connsiteY86" fmla="*/ 261025 h 1323458"/>
                    <a:gd name="connsiteX87" fmla="*/ 364312 w 1439351"/>
                    <a:gd name="connsiteY87" fmla="*/ 271905 h 1323458"/>
                    <a:gd name="connsiteX88" fmla="*/ 371197 w 1439351"/>
                    <a:gd name="connsiteY88" fmla="*/ 267533 h 1323458"/>
                    <a:gd name="connsiteX89" fmla="*/ 383025 w 1439351"/>
                    <a:gd name="connsiteY89" fmla="*/ 264473 h 1323458"/>
                    <a:gd name="connsiteX90" fmla="*/ 387384 w 1439351"/>
                    <a:gd name="connsiteY90" fmla="*/ 262032 h 1323458"/>
                    <a:gd name="connsiteX91" fmla="*/ 388598 w 1439351"/>
                    <a:gd name="connsiteY91" fmla="*/ 261850 h 1323458"/>
                    <a:gd name="connsiteX92" fmla="*/ 390954 w 1439351"/>
                    <a:gd name="connsiteY92" fmla="*/ 262457 h 1323458"/>
                    <a:gd name="connsiteX93" fmla="*/ 404955 w 1439351"/>
                    <a:gd name="connsiteY93" fmla="*/ 269925 h 1323458"/>
                    <a:gd name="connsiteX94" fmla="*/ 406570 w 1439351"/>
                    <a:gd name="connsiteY94" fmla="*/ 271650 h 1323458"/>
                    <a:gd name="connsiteX95" fmla="*/ 407262 w 1439351"/>
                    <a:gd name="connsiteY95" fmla="*/ 273520 h 1323458"/>
                    <a:gd name="connsiteX96" fmla="*/ 407384 w 1439351"/>
                    <a:gd name="connsiteY96" fmla="*/ 275632 h 1323458"/>
                    <a:gd name="connsiteX97" fmla="*/ 407711 w 1439351"/>
                    <a:gd name="connsiteY97" fmla="*/ 277563 h 1323458"/>
                    <a:gd name="connsiteX98" fmla="*/ 409557 w 1439351"/>
                    <a:gd name="connsiteY98" fmla="*/ 280174 h 1323458"/>
                    <a:gd name="connsiteX99" fmla="*/ 412484 w 1439351"/>
                    <a:gd name="connsiteY99" fmla="*/ 283015 h 1323458"/>
                    <a:gd name="connsiteX100" fmla="*/ 436089 w 1439351"/>
                    <a:gd name="connsiteY100" fmla="*/ 299275 h 1323458"/>
                    <a:gd name="connsiteX101" fmla="*/ 440509 w 1439351"/>
                    <a:gd name="connsiteY101" fmla="*/ 300708 h 1323458"/>
                    <a:gd name="connsiteX102" fmla="*/ 444359 w 1439351"/>
                    <a:gd name="connsiteY102" fmla="*/ 301011 h 1323458"/>
                    <a:gd name="connsiteX103" fmla="*/ 446532 w 1439351"/>
                    <a:gd name="connsiteY103" fmla="*/ 300441 h 1323458"/>
                    <a:gd name="connsiteX104" fmla="*/ 448257 w 1439351"/>
                    <a:gd name="connsiteY104" fmla="*/ 299493 h 1323458"/>
                    <a:gd name="connsiteX105" fmla="*/ 450090 w 1439351"/>
                    <a:gd name="connsiteY105" fmla="*/ 299615 h 1323458"/>
                    <a:gd name="connsiteX106" fmla="*/ 451584 w 1439351"/>
                    <a:gd name="connsiteY106" fmla="*/ 300987 h 1323458"/>
                    <a:gd name="connsiteX107" fmla="*/ 452859 w 1439351"/>
                    <a:gd name="connsiteY107" fmla="*/ 302711 h 1323458"/>
                    <a:gd name="connsiteX108" fmla="*/ 455773 w 1439351"/>
                    <a:gd name="connsiteY108" fmla="*/ 305528 h 1323458"/>
                    <a:gd name="connsiteX109" fmla="*/ 457388 w 1439351"/>
                    <a:gd name="connsiteY109" fmla="*/ 307471 h 1323458"/>
                    <a:gd name="connsiteX110" fmla="*/ 458639 w 1439351"/>
                    <a:gd name="connsiteY110" fmla="*/ 309426 h 1323458"/>
                    <a:gd name="connsiteX111" fmla="*/ 461237 w 1439351"/>
                    <a:gd name="connsiteY111" fmla="*/ 318667 h 1323458"/>
                    <a:gd name="connsiteX112" fmla="*/ 463703 w 1439351"/>
                    <a:gd name="connsiteY112" fmla="*/ 324131 h 1323458"/>
                    <a:gd name="connsiteX113" fmla="*/ 479209 w 1439351"/>
                    <a:gd name="connsiteY113" fmla="*/ 318242 h 1323458"/>
                    <a:gd name="connsiteX114" fmla="*/ 486738 w 1439351"/>
                    <a:gd name="connsiteY114" fmla="*/ 318072 h 1323458"/>
                    <a:gd name="connsiteX115" fmla="*/ 488280 w 1439351"/>
                    <a:gd name="connsiteY115" fmla="*/ 319772 h 1323458"/>
                    <a:gd name="connsiteX116" fmla="*/ 489373 w 1439351"/>
                    <a:gd name="connsiteY116" fmla="*/ 322116 h 1323458"/>
                    <a:gd name="connsiteX117" fmla="*/ 490806 w 1439351"/>
                    <a:gd name="connsiteY117" fmla="*/ 324241 h 1323458"/>
                    <a:gd name="connsiteX118" fmla="*/ 493040 w 1439351"/>
                    <a:gd name="connsiteY118" fmla="*/ 324241 h 1323458"/>
                    <a:gd name="connsiteX119" fmla="*/ 495347 w 1439351"/>
                    <a:gd name="connsiteY119" fmla="*/ 323391 h 1323458"/>
                    <a:gd name="connsiteX120" fmla="*/ 499184 w 1439351"/>
                    <a:gd name="connsiteY120" fmla="*/ 321351 h 1323458"/>
                    <a:gd name="connsiteX121" fmla="*/ 511655 w 1439351"/>
                    <a:gd name="connsiteY121" fmla="*/ 323961 h 1323458"/>
                    <a:gd name="connsiteX122" fmla="*/ 516597 w 1439351"/>
                    <a:gd name="connsiteY122" fmla="*/ 322237 h 1323458"/>
                    <a:gd name="connsiteX123" fmla="*/ 517277 w 1439351"/>
                    <a:gd name="connsiteY123" fmla="*/ 320707 h 1323458"/>
                    <a:gd name="connsiteX124" fmla="*/ 517447 w 1439351"/>
                    <a:gd name="connsiteY124" fmla="*/ 319274 h 1323458"/>
                    <a:gd name="connsiteX125" fmla="*/ 517386 w 1439351"/>
                    <a:gd name="connsiteY125" fmla="*/ 318011 h 1323458"/>
                    <a:gd name="connsiteX126" fmla="*/ 519912 w 1439351"/>
                    <a:gd name="connsiteY126" fmla="*/ 316870 h 1323458"/>
                    <a:gd name="connsiteX127" fmla="*/ 523713 w 1439351"/>
                    <a:gd name="connsiteY127" fmla="*/ 317040 h 1323458"/>
                    <a:gd name="connsiteX128" fmla="*/ 532905 w 1439351"/>
                    <a:gd name="connsiteY128" fmla="*/ 318558 h 1323458"/>
                    <a:gd name="connsiteX129" fmla="*/ 536560 w 1439351"/>
                    <a:gd name="connsiteY129" fmla="*/ 320804 h 1323458"/>
                    <a:gd name="connsiteX130" fmla="*/ 538236 w 1439351"/>
                    <a:gd name="connsiteY130" fmla="*/ 322978 h 1323458"/>
                    <a:gd name="connsiteX131" fmla="*/ 537665 w 1439351"/>
                    <a:gd name="connsiteY131" fmla="*/ 325103 h 1323458"/>
                    <a:gd name="connsiteX132" fmla="*/ 535880 w 1439351"/>
                    <a:gd name="connsiteY132" fmla="*/ 329231 h 1323458"/>
                    <a:gd name="connsiteX133" fmla="*/ 535771 w 1439351"/>
                    <a:gd name="connsiteY133" fmla="*/ 331271 h 1323458"/>
                    <a:gd name="connsiteX134" fmla="*/ 536924 w 1439351"/>
                    <a:gd name="connsiteY134" fmla="*/ 333056 h 1323458"/>
                    <a:gd name="connsiteX135" fmla="*/ 538867 w 1439351"/>
                    <a:gd name="connsiteY135" fmla="*/ 333263 h 1323458"/>
                    <a:gd name="connsiteX136" fmla="*/ 544271 w 1439351"/>
                    <a:gd name="connsiteY136" fmla="*/ 331016 h 1323458"/>
                    <a:gd name="connsiteX137" fmla="*/ 546845 w 1439351"/>
                    <a:gd name="connsiteY137" fmla="*/ 330555 h 1323458"/>
                    <a:gd name="connsiteX138" fmla="*/ 548059 w 1439351"/>
                    <a:gd name="connsiteY138" fmla="*/ 331356 h 1323458"/>
                    <a:gd name="connsiteX139" fmla="*/ 548399 w 1439351"/>
                    <a:gd name="connsiteY139" fmla="*/ 333202 h 1323458"/>
                    <a:gd name="connsiteX140" fmla="*/ 547647 w 1439351"/>
                    <a:gd name="connsiteY140" fmla="*/ 335607 h 1323458"/>
                    <a:gd name="connsiteX141" fmla="*/ 547428 w 1439351"/>
                    <a:gd name="connsiteY141" fmla="*/ 337792 h 1323458"/>
                    <a:gd name="connsiteX142" fmla="*/ 548521 w 1439351"/>
                    <a:gd name="connsiteY142" fmla="*/ 339286 h 1323458"/>
                    <a:gd name="connsiteX143" fmla="*/ 550524 w 1439351"/>
                    <a:gd name="connsiteY143" fmla="*/ 339116 h 1323458"/>
                    <a:gd name="connsiteX144" fmla="*/ 552819 w 1439351"/>
                    <a:gd name="connsiteY144" fmla="*/ 338290 h 1323458"/>
                    <a:gd name="connsiteX145" fmla="*/ 555175 w 1439351"/>
                    <a:gd name="connsiteY145" fmla="*/ 337877 h 1323458"/>
                    <a:gd name="connsiteX146" fmla="*/ 555697 w 1439351"/>
                    <a:gd name="connsiteY146" fmla="*/ 339007 h 1323458"/>
                    <a:gd name="connsiteX147" fmla="*/ 554896 w 1439351"/>
                    <a:gd name="connsiteY147" fmla="*/ 340670 h 1323458"/>
                    <a:gd name="connsiteX148" fmla="*/ 554714 w 1439351"/>
                    <a:gd name="connsiteY148" fmla="*/ 342856 h 1323458"/>
                    <a:gd name="connsiteX149" fmla="*/ 555807 w 1439351"/>
                    <a:gd name="connsiteY149" fmla="*/ 344908 h 1323458"/>
                    <a:gd name="connsiteX150" fmla="*/ 559365 w 1439351"/>
                    <a:gd name="connsiteY150" fmla="*/ 347215 h 1323458"/>
                    <a:gd name="connsiteX151" fmla="*/ 562801 w 1439351"/>
                    <a:gd name="connsiteY151" fmla="*/ 347932 h 1323458"/>
                    <a:gd name="connsiteX152" fmla="*/ 565630 w 1439351"/>
                    <a:gd name="connsiteY152" fmla="*/ 347786 h 1323458"/>
                    <a:gd name="connsiteX153" fmla="*/ 568156 w 1439351"/>
                    <a:gd name="connsiteY153" fmla="*/ 347009 h 1323458"/>
                    <a:gd name="connsiteX154" fmla="*/ 570742 w 1439351"/>
                    <a:gd name="connsiteY154" fmla="*/ 345746 h 1323458"/>
                    <a:gd name="connsiteX155" fmla="*/ 573329 w 1439351"/>
                    <a:gd name="connsiteY155" fmla="*/ 343973 h 1323458"/>
                    <a:gd name="connsiteX156" fmla="*/ 578441 w 1439351"/>
                    <a:gd name="connsiteY156" fmla="*/ 338509 h 1323458"/>
                    <a:gd name="connsiteX157" fmla="*/ 580214 w 1439351"/>
                    <a:gd name="connsiteY157" fmla="*/ 335509 h 1323458"/>
                    <a:gd name="connsiteX158" fmla="*/ 581125 w 1439351"/>
                    <a:gd name="connsiteY158" fmla="*/ 333202 h 1323458"/>
                    <a:gd name="connsiteX159" fmla="*/ 581768 w 1439351"/>
                    <a:gd name="connsiteY159" fmla="*/ 329984 h 1323458"/>
                    <a:gd name="connsiteX160" fmla="*/ 583432 w 1439351"/>
                    <a:gd name="connsiteY160" fmla="*/ 330300 h 1323458"/>
                    <a:gd name="connsiteX161" fmla="*/ 589467 w 1439351"/>
                    <a:gd name="connsiteY161" fmla="*/ 333724 h 1323458"/>
                    <a:gd name="connsiteX162" fmla="*/ 595708 w 1439351"/>
                    <a:gd name="connsiteY162" fmla="*/ 341727 h 1323458"/>
                    <a:gd name="connsiteX163" fmla="*/ 598477 w 1439351"/>
                    <a:gd name="connsiteY163" fmla="*/ 343767 h 1323458"/>
                    <a:gd name="connsiteX164" fmla="*/ 602035 w 1439351"/>
                    <a:gd name="connsiteY164" fmla="*/ 344969 h 1323458"/>
                    <a:gd name="connsiteX165" fmla="*/ 608641 w 1439351"/>
                    <a:gd name="connsiteY165" fmla="*/ 346062 h 1323458"/>
                    <a:gd name="connsiteX166" fmla="*/ 611798 w 1439351"/>
                    <a:gd name="connsiteY166" fmla="*/ 347956 h 1323458"/>
                    <a:gd name="connsiteX167" fmla="*/ 612891 w 1439351"/>
                    <a:gd name="connsiteY167" fmla="*/ 349279 h 1323458"/>
                    <a:gd name="connsiteX168" fmla="*/ 614846 w 1439351"/>
                    <a:gd name="connsiteY168" fmla="*/ 352558 h 1323458"/>
                    <a:gd name="connsiteX169" fmla="*/ 616278 w 1439351"/>
                    <a:gd name="connsiteY169" fmla="*/ 354039 h 1323458"/>
                    <a:gd name="connsiteX170" fmla="*/ 617772 w 1439351"/>
                    <a:gd name="connsiteY170" fmla="*/ 354768 h 1323458"/>
                    <a:gd name="connsiteX171" fmla="*/ 621209 w 1439351"/>
                    <a:gd name="connsiteY171" fmla="*/ 355569 h 1323458"/>
                    <a:gd name="connsiteX172" fmla="*/ 622641 w 1439351"/>
                    <a:gd name="connsiteY172" fmla="*/ 356723 h 1323458"/>
                    <a:gd name="connsiteX173" fmla="*/ 627754 w 1439351"/>
                    <a:gd name="connsiteY173" fmla="*/ 366826 h 1323458"/>
                    <a:gd name="connsiteX174" fmla="*/ 629891 w 1439351"/>
                    <a:gd name="connsiteY174" fmla="*/ 369376 h 1323458"/>
                    <a:gd name="connsiteX175" fmla="*/ 633667 w 1439351"/>
                    <a:gd name="connsiteY175" fmla="*/ 370870 h 1323458"/>
                    <a:gd name="connsiteX176" fmla="*/ 637286 w 1439351"/>
                    <a:gd name="connsiteY176" fmla="*/ 370384 h 1323458"/>
                    <a:gd name="connsiteX177" fmla="*/ 640844 w 1439351"/>
                    <a:gd name="connsiteY177" fmla="*/ 369437 h 1323458"/>
                    <a:gd name="connsiteX178" fmla="*/ 644644 w 1439351"/>
                    <a:gd name="connsiteY178" fmla="*/ 369607 h 1323458"/>
                    <a:gd name="connsiteX179" fmla="*/ 648020 w 1439351"/>
                    <a:gd name="connsiteY179" fmla="*/ 371562 h 1323458"/>
                    <a:gd name="connsiteX180" fmla="*/ 655950 w 1439351"/>
                    <a:gd name="connsiteY180" fmla="*/ 380718 h 1323458"/>
                    <a:gd name="connsiteX181" fmla="*/ 659690 w 1439351"/>
                    <a:gd name="connsiteY181" fmla="*/ 382636 h 1323458"/>
                    <a:gd name="connsiteX182" fmla="*/ 660600 w 1439351"/>
                    <a:gd name="connsiteY182" fmla="*/ 379940 h 1323458"/>
                    <a:gd name="connsiteX183" fmla="*/ 658997 w 1439351"/>
                    <a:gd name="connsiteY183" fmla="*/ 366996 h 1323458"/>
                    <a:gd name="connsiteX184" fmla="*/ 659507 w 1439351"/>
                    <a:gd name="connsiteY184" fmla="*/ 363487 h 1323458"/>
                    <a:gd name="connsiteX185" fmla="*/ 661353 w 1439351"/>
                    <a:gd name="connsiteY185" fmla="*/ 360706 h 1323458"/>
                    <a:gd name="connsiteX186" fmla="*/ 665142 w 1439351"/>
                    <a:gd name="connsiteY186" fmla="*/ 358702 h 1323458"/>
                    <a:gd name="connsiteX187" fmla="*/ 668299 w 1439351"/>
                    <a:gd name="connsiteY187" fmla="*/ 358787 h 1323458"/>
                    <a:gd name="connsiteX188" fmla="*/ 672318 w 1439351"/>
                    <a:gd name="connsiteY188" fmla="*/ 358897 h 1323458"/>
                    <a:gd name="connsiteX189" fmla="*/ 672889 w 1439351"/>
                    <a:gd name="connsiteY189" fmla="*/ 360099 h 1323458"/>
                    <a:gd name="connsiteX190" fmla="*/ 672597 w 1439351"/>
                    <a:gd name="connsiteY190" fmla="*/ 361884 h 1323458"/>
                    <a:gd name="connsiteX191" fmla="*/ 672500 w 1439351"/>
                    <a:gd name="connsiteY191" fmla="*/ 363778 h 1323458"/>
                    <a:gd name="connsiteX192" fmla="*/ 673751 w 1439351"/>
                    <a:gd name="connsiteY192" fmla="*/ 365417 h 1323458"/>
                    <a:gd name="connsiteX193" fmla="*/ 677090 w 1439351"/>
                    <a:gd name="connsiteY193" fmla="*/ 367057 h 1323458"/>
                    <a:gd name="connsiteX194" fmla="*/ 680296 w 1439351"/>
                    <a:gd name="connsiteY194" fmla="*/ 368113 h 1323458"/>
                    <a:gd name="connsiteX195" fmla="*/ 687254 w 1439351"/>
                    <a:gd name="connsiteY195" fmla="*/ 369327 h 1323458"/>
                    <a:gd name="connsiteX196" fmla="*/ 689658 w 1439351"/>
                    <a:gd name="connsiteY196" fmla="*/ 370955 h 1323458"/>
                    <a:gd name="connsiteX197" fmla="*/ 693386 w 1439351"/>
                    <a:gd name="connsiteY197" fmla="*/ 377767 h 1323458"/>
                    <a:gd name="connsiteX198" fmla="*/ 695341 w 1439351"/>
                    <a:gd name="connsiteY198" fmla="*/ 380110 h 1323458"/>
                    <a:gd name="connsiteX199" fmla="*/ 698559 w 1439351"/>
                    <a:gd name="connsiteY199" fmla="*/ 381604 h 1323458"/>
                    <a:gd name="connsiteX200" fmla="*/ 704412 w 1439351"/>
                    <a:gd name="connsiteY200" fmla="*/ 383183 h 1323458"/>
                    <a:gd name="connsiteX201" fmla="*/ 707508 w 1439351"/>
                    <a:gd name="connsiteY201" fmla="*/ 385162 h 1323458"/>
                    <a:gd name="connsiteX202" fmla="*/ 714636 w 1439351"/>
                    <a:gd name="connsiteY202" fmla="*/ 392351 h 1323458"/>
                    <a:gd name="connsiteX203" fmla="*/ 717793 w 1439351"/>
                    <a:gd name="connsiteY203" fmla="*/ 394184 h 1323458"/>
                    <a:gd name="connsiteX204" fmla="*/ 721291 w 1439351"/>
                    <a:gd name="connsiteY204" fmla="*/ 394815 h 1323458"/>
                    <a:gd name="connsiteX205" fmla="*/ 728989 w 1439351"/>
                    <a:gd name="connsiteY205" fmla="*/ 394840 h 1323458"/>
                    <a:gd name="connsiteX206" fmla="*/ 731636 w 1439351"/>
                    <a:gd name="connsiteY206" fmla="*/ 395969 h 1323458"/>
                    <a:gd name="connsiteX207" fmla="*/ 733191 w 1439351"/>
                    <a:gd name="connsiteY207" fmla="*/ 399005 h 1323458"/>
                    <a:gd name="connsiteX208" fmla="*/ 733470 w 1439351"/>
                    <a:gd name="connsiteY208" fmla="*/ 402077 h 1323458"/>
                    <a:gd name="connsiteX209" fmla="*/ 734320 w 1439351"/>
                    <a:gd name="connsiteY209" fmla="*/ 404918 h 1323458"/>
                    <a:gd name="connsiteX210" fmla="*/ 737841 w 1439351"/>
                    <a:gd name="connsiteY210" fmla="*/ 407359 h 1323458"/>
                    <a:gd name="connsiteX211" fmla="*/ 740889 w 1439351"/>
                    <a:gd name="connsiteY211" fmla="*/ 408306 h 1323458"/>
                    <a:gd name="connsiteX212" fmla="*/ 744557 w 1439351"/>
                    <a:gd name="connsiteY212" fmla="*/ 409035 h 1323458"/>
                    <a:gd name="connsiteX213" fmla="*/ 748236 w 1439351"/>
                    <a:gd name="connsiteY213" fmla="*/ 409120 h 1323458"/>
                    <a:gd name="connsiteX214" fmla="*/ 751102 w 1439351"/>
                    <a:gd name="connsiteY214" fmla="*/ 408160 h 1323458"/>
                    <a:gd name="connsiteX215" fmla="*/ 753336 w 1439351"/>
                    <a:gd name="connsiteY215" fmla="*/ 409375 h 1323458"/>
                    <a:gd name="connsiteX216" fmla="*/ 753967 w 1439351"/>
                    <a:gd name="connsiteY216" fmla="*/ 411548 h 1323458"/>
                    <a:gd name="connsiteX217" fmla="*/ 754319 w 1439351"/>
                    <a:gd name="connsiteY217" fmla="*/ 414086 h 1323458"/>
                    <a:gd name="connsiteX218" fmla="*/ 755692 w 1439351"/>
                    <a:gd name="connsiteY218" fmla="*/ 416284 h 1323458"/>
                    <a:gd name="connsiteX219" fmla="*/ 764422 w 1439351"/>
                    <a:gd name="connsiteY219" fmla="*/ 417899 h 1323458"/>
                    <a:gd name="connsiteX220" fmla="*/ 783025 w 1439351"/>
                    <a:gd name="connsiteY220" fmla="*/ 421311 h 1323458"/>
                    <a:gd name="connsiteX221" fmla="*/ 787433 w 1439351"/>
                    <a:gd name="connsiteY221" fmla="*/ 423521 h 1323458"/>
                    <a:gd name="connsiteX222" fmla="*/ 791295 w 1439351"/>
                    <a:gd name="connsiteY222" fmla="*/ 428269 h 1323458"/>
                    <a:gd name="connsiteX223" fmla="*/ 795132 w 1439351"/>
                    <a:gd name="connsiteY223" fmla="*/ 440351 h 1323458"/>
                    <a:gd name="connsiteX224" fmla="*/ 797670 w 1439351"/>
                    <a:gd name="connsiteY224" fmla="*/ 446010 h 1323458"/>
                    <a:gd name="connsiteX225" fmla="*/ 808586 w 1439351"/>
                    <a:gd name="connsiteY225" fmla="*/ 458032 h 1323458"/>
                    <a:gd name="connsiteX226" fmla="*/ 811112 w 1439351"/>
                    <a:gd name="connsiteY226" fmla="*/ 462925 h 1323458"/>
                    <a:gd name="connsiteX227" fmla="*/ 808283 w 1439351"/>
                    <a:gd name="connsiteY227" fmla="*/ 464042 h 1323458"/>
                    <a:gd name="connsiteX228" fmla="*/ 807493 w 1439351"/>
                    <a:gd name="connsiteY228" fmla="*/ 465706 h 1323458"/>
                    <a:gd name="connsiteX229" fmla="*/ 808683 w 1439351"/>
                    <a:gd name="connsiteY229" fmla="*/ 467260 h 1323458"/>
                    <a:gd name="connsiteX230" fmla="*/ 811731 w 1439351"/>
                    <a:gd name="connsiteY230" fmla="*/ 468001 h 1323458"/>
                    <a:gd name="connsiteX231" fmla="*/ 811173 w 1439351"/>
                    <a:gd name="connsiteY231" fmla="*/ 470867 h 1323458"/>
                    <a:gd name="connsiteX232" fmla="*/ 813176 w 1439351"/>
                    <a:gd name="connsiteY232" fmla="*/ 471790 h 1323458"/>
                    <a:gd name="connsiteX233" fmla="*/ 816333 w 1439351"/>
                    <a:gd name="connsiteY233" fmla="*/ 471304 h 1323458"/>
                    <a:gd name="connsiteX234" fmla="*/ 819029 w 1439351"/>
                    <a:gd name="connsiteY234" fmla="*/ 469980 h 1323458"/>
                    <a:gd name="connsiteX235" fmla="*/ 820753 w 1439351"/>
                    <a:gd name="connsiteY235" fmla="*/ 467600 h 1323458"/>
                    <a:gd name="connsiteX236" fmla="*/ 821494 w 1439351"/>
                    <a:gd name="connsiteY236" fmla="*/ 465099 h 1323458"/>
                    <a:gd name="connsiteX237" fmla="*/ 822757 w 1439351"/>
                    <a:gd name="connsiteY237" fmla="*/ 463229 h 1323458"/>
                    <a:gd name="connsiteX238" fmla="*/ 825635 w 1439351"/>
                    <a:gd name="connsiteY238" fmla="*/ 462864 h 1323458"/>
                    <a:gd name="connsiteX239" fmla="*/ 829885 w 1439351"/>
                    <a:gd name="connsiteY239" fmla="*/ 464297 h 1323458"/>
                    <a:gd name="connsiteX240" fmla="*/ 833904 w 1439351"/>
                    <a:gd name="connsiteY240" fmla="*/ 467090 h 1323458"/>
                    <a:gd name="connsiteX241" fmla="*/ 837231 w 1439351"/>
                    <a:gd name="connsiteY241" fmla="*/ 470587 h 1323458"/>
                    <a:gd name="connsiteX242" fmla="*/ 839696 w 1439351"/>
                    <a:gd name="connsiteY242" fmla="*/ 474315 h 1323458"/>
                    <a:gd name="connsiteX243" fmla="*/ 840558 w 1439351"/>
                    <a:gd name="connsiteY243" fmla="*/ 477218 h 1323458"/>
                    <a:gd name="connsiteX244" fmla="*/ 840789 w 1439351"/>
                    <a:gd name="connsiteY244" fmla="*/ 479342 h 1323458"/>
                    <a:gd name="connsiteX245" fmla="*/ 841542 w 1439351"/>
                    <a:gd name="connsiteY245" fmla="*/ 481237 h 1323458"/>
                    <a:gd name="connsiteX246" fmla="*/ 844408 w 1439351"/>
                    <a:gd name="connsiteY246" fmla="*/ 483447 h 1323458"/>
                    <a:gd name="connsiteX247" fmla="*/ 861007 w 1439351"/>
                    <a:gd name="connsiteY247" fmla="*/ 491631 h 1323458"/>
                    <a:gd name="connsiteX248" fmla="*/ 864796 w 1439351"/>
                    <a:gd name="connsiteY248" fmla="*/ 494205 h 1323458"/>
                    <a:gd name="connsiteX249" fmla="*/ 867212 w 1439351"/>
                    <a:gd name="connsiteY249" fmla="*/ 497946 h 1323458"/>
                    <a:gd name="connsiteX250" fmla="*/ 867273 w 1439351"/>
                    <a:gd name="connsiteY250" fmla="*/ 497970 h 1323458"/>
                    <a:gd name="connsiteX251" fmla="*/ 870928 w 1439351"/>
                    <a:gd name="connsiteY251" fmla="*/ 500726 h 1323458"/>
                    <a:gd name="connsiteX252" fmla="*/ 880412 w 1439351"/>
                    <a:gd name="connsiteY252" fmla="*/ 502827 h 1323458"/>
                    <a:gd name="connsiteX253" fmla="*/ 884832 w 1439351"/>
                    <a:gd name="connsiteY253" fmla="*/ 504369 h 1323458"/>
                    <a:gd name="connsiteX254" fmla="*/ 888851 w 1439351"/>
                    <a:gd name="connsiteY254" fmla="*/ 507563 h 1323458"/>
                    <a:gd name="connsiteX255" fmla="*/ 896319 w 1439351"/>
                    <a:gd name="connsiteY255" fmla="*/ 515225 h 1323458"/>
                    <a:gd name="connsiteX256" fmla="*/ 905681 w 1439351"/>
                    <a:gd name="connsiteY256" fmla="*/ 520434 h 1323458"/>
                    <a:gd name="connsiteX257" fmla="*/ 910854 w 1439351"/>
                    <a:gd name="connsiteY257" fmla="*/ 524162 h 1323458"/>
                    <a:gd name="connsiteX258" fmla="*/ 916063 w 1439351"/>
                    <a:gd name="connsiteY258" fmla="*/ 527137 h 1323458"/>
                    <a:gd name="connsiteX259" fmla="*/ 921236 w 1439351"/>
                    <a:gd name="connsiteY259" fmla="*/ 527526 h 1323458"/>
                    <a:gd name="connsiteX260" fmla="*/ 925547 w 1439351"/>
                    <a:gd name="connsiteY260" fmla="*/ 524672 h 1323458"/>
                    <a:gd name="connsiteX261" fmla="*/ 933136 w 1439351"/>
                    <a:gd name="connsiteY261" fmla="*/ 516123 h 1323458"/>
                    <a:gd name="connsiteX262" fmla="*/ 938637 w 1439351"/>
                    <a:gd name="connsiteY262" fmla="*/ 513768 h 1323458"/>
                    <a:gd name="connsiteX263" fmla="*/ 948291 w 1439351"/>
                    <a:gd name="connsiteY263" fmla="*/ 514678 h 1323458"/>
                    <a:gd name="connsiteX264" fmla="*/ 952589 w 1439351"/>
                    <a:gd name="connsiteY264" fmla="*/ 516063 h 1323458"/>
                    <a:gd name="connsiteX265" fmla="*/ 952820 w 1439351"/>
                    <a:gd name="connsiteY265" fmla="*/ 516148 h 1323458"/>
                    <a:gd name="connsiteX266" fmla="*/ 956609 w 1439351"/>
                    <a:gd name="connsiteY266" fmla="*/ 519220 h 1323458"/>
                    <a:gd name="connsiteX267" fmla="*/ 960118 w 1439351"/>
                    <a:gd name="connsiteY267" fmla="*/ 522802 h 1323458"/>
                    <a:gd name="connsiteX268" fmla="*/ 963336 w 1439351"/>
                    <a:gd name="connsiteY268" fmla="*/ 524587 h 1323458"/>
                    <a:gd name="connsiteX269" fmla="*/ 971484 w 1439351"/>
                    <a:gd name="connsiteY269" fmla="*/ 527683 h 1323458"/>
                    <a:gd name="connsiteX270" fmla="*/ 993875 w 1439351"/>
                    <a:gd name="connsiteY270" fmla="*/ 545461 h 1323458"/>
                    <a:gd name="connsiteX271" fmla="*/ 1008410 w 1439351"/>
                    <a:gd name="connsiteY271" fmla="*/ 552431 h 1323458"/>
                    <a:gd name="connsiteX272" fmla="*/ 1018574 w 1439351"/>
                    <a:gd name="connsiteY272" fmla="*/ 562339 h 1323458"/>
                    <a:gd name="connsiteX273" fmla="*/ 1025799 w 1439351"/>
                    <a:gd name="connsiteY273" fmla="*/ 564525 h 1323458"/>
                    <a:gd name="connsiteX274" fmla="*/ 1041828 w 1439351"/>
                    <a:gd name="connsiteY274" fmla="*/ 562740 h 1323458"/>
                    <a:gd name="connsiteX275" fmla="*/ 1065482 w 1439351"/>
                    <a:gd name="connsiteY275" fmla="*/ 556887 h 1323458"/>
                    <a:gd name="connsiteX276" fmla="*/ 1069562 w 1439351"/>
                    <a:gd name="connsiteY276" fmla="*/ 558442 h 1323458"/>
                    <a:gd name="connsiteX277" fmla="*/ 1070655 w 1439351"/>
                    <a:gd name="connsiteY277" fmla="*/ 558842 h 1323458"/>
                    <a:gd name="connsiteX278" fmla="*/ 1073922 w 1439351"/>
                    <a:gd name="connsiteY278" fmla="*/ 563918 h 1323458"/>
                    <a:gd name="connsiteX279" fmla="*/ 1076168 w 1439351"/>
                    <a:gd name="connsiteY279" fmla="*/ 571702 h 1323458"/>
                    <a:gd name="connsiteX280" fmla="*/ 1077989 w 1439351"/>
                    <a:gd name="connsiteY280" fmla="*/ 586832 h 1323458"/>
                    <a:gd name="connsiteX281" fmla="*/ 1080005 w 1439351"/>
                    <a:gd name="connsiteY281" fmla="*/ 594530 h 1323458"/>
                    <a:gd name="connsiteX282" fmla="*/ 1084255 w 1439351"/>
                    <a:gd name="connsiteY282" fmla="*/ 599205 h 1323458"/>
                    <a:gd name="connsiteX283" fmla="*/ 1107521 w 1439351"/>
                    <a:gd name="connsiteY283" fmla="*/ 600723 h 1323458"/>
                    <a:gd name="connsiteX284" fmla="*/ 1112232 w 1439351"/>
                    <a:gd name="connsiteY284" fmla="*/ 602168 h 1323458"/>
                    <a:gd name="connsiteX285" fmla="*/ 1120842 w 1439351"/>
                    <a:gd name="connsiteY285" fmla="*/ 606843 h 1323458"/>
                    <a:gd name="connsiteX286" fmla="*/ 1132657 w 1439351"/>
                    <a:gd name="connsiteY286" fmla="*/ 609661 h 1323458"/>
                    <a:gd name="connsiteX287" fmla="*/ 1155644 w 1439351"/>
                    <a:gd name="connsiteY287" fmla="*/ 609490 h 1323458"/>
                    <a:gd name="connsiteX288" fmla="*/ 1162516 w 1439351"/>
                    <a:gd name="connsiteY288" fmla="*/ 612126 h 1323458"/>
                    <a:gd name="connsiteX289" fmla="*/ 1171830 w 1439351"/>
                    <a:gd name="connsiteY289" fmla="*/ 619678 h 1323458"/>
                    <a:gd name="connsiteX290" fmla="*/ 1174186 w 1439351"/>
                    <a:gd name="connsiteY290" fmla="*/ 622204 h 1323458"/>
                    <a:gd name="connsiteX291" fmla="*/ 1176311 w 1439351"/>
                    <a:gd name="connsiteY291" fmla="*/ 626078 h 1323458"/>
                    <a:gd name="connsiteX292" fmla="*/ 1177513 w 1439351"/>
                    <a:gd name="connsiteY292" fmla="*/ 628919 h 1323458"/>
                    <a:gd name="connsiteX293" fmla="*/ 1179407 w 1439351"/>
                    <a:gd name="connsiteY293" fmla="*/ 630935 h 1323458"/>
                    <a:gd name="connsiteX294" fmla="*/ 1183706 w 1439351"/>
                    <a:gd name="connsiteY294" fmla="*/ 632368 h 1323458"/>
                    <a:gd name="connsiteX295" fmla="*/ 1187907 w 1439351"/>
                    <a:gd name="connsiteY295" fmla="*/ 632198 h 1323458"/>
                    <a:gd name="connsiteX296" fmla="*/ 1191587 w 1439351"/>
                    <a:gd name="connsiteY296" fmla="*/ 630218 h 1323458"/>
                    <a:gd name="connsiteX297" fmla="*/ 1194683 w 1439351"/>
                    <a:gd name="connsiteY297" fmla="*/ 627146 h 1323458"/>
                    <a:gd name="connsiteX298" fmla="*/ 1198763 w 1439351"/>
                    <a:gd name="connsiteY298" fmla="*/ 621342 h 1323458"/>
                    <a:gd name="connsiteX299" fmla="*/ 1200014 w 1439351"/>
                    <a:gd name="connsiteY299" fmla="*/ 618792 h 1323458"/>
                    <a:gd name="connsiteX300" fmla="*/ 1200305 w 1439351"/>
                    <a:gd name="connsiteY300" fmla="*/ 616351 h 1323458"/>
                    <a:gd name="connsiteX301" fmla="*/ 1197439 w 1439351"/>
                    <a:gd name="connsiteY301" fmla="*/ 612611 h 1323458"/>
                    <a:gd name="connsiteX302" fmla="*/ 1197087 w 1439351"/>
                    <a:gd name="connsiteY302" fmla="*/ 610292 h 1323458"/>
                    <a:gd name="connsiteX303" fmla="*/ 1197500 w 1439351"/>
                    <a:gd name="connsiteY303" fmla="*/ 607815 h 1323458"/>
                    <a:gd name="connsiteX304" fmla="*/ 1198411 w 1439351"/>
                    <a:gd name="connsiteY304" fmla="*/ 605835 h 1323458"/>
                    <a:gd name="connsiteX305" fmla="*/ 1203292 w 1439351"/>
                    <a:gd name="connsiteY305" fmla="*/ 604172 h 1323458"/>
                    <a:gd name="connsiteX306" fmla="*/ 1220924 w 1439351"/>
                    <a:gd name="connsiteY306" fmla="*/ 604318 h 1323458"/>
                    <a:gd name="connsiteX307" fmla="*/ 1241482 w 1439351"/>
                    <a:gd name="connsiteY307" fmla="*/ 606989 h 1323458"/>
                    <a:gd name="connsiteX308" fmla="*/ 1255143 w 1439351"/>
                    <a:gd name="connsiteY308" fmla="*/ 611895 h 1323458"/>
                    <a:gd name="connsiteX309" fmla="*/ 1281165 w 1439351"/>
                    <a:gd name="connsiteY309" fmla="*/ 625301 h 1323458"/>
                    <a:gd name="connsiteX310" fmla="*/ 1289774 w 1439351"/>
                    <a:gd name="connsiteY310" fmla="*/ 628312 h 1323458"/>
                    <a:gd name="connsiteX311" fmla="*/ 1290746 w 1439351"/>
                    <a:gd name="connsiteY311" fmla="*/ 629296 h 1323458"/>
                    <a:gd name="connsiteX312" fmla="*/ 1290746 w 1439351"/>
                    <a:gd name="connsiteY312" fmla="*/ 629320 h 1323458"/>
                    <a:gd name="connsiteX313" fmla="*/ 1290357 w 1439351"/>
                    <a:gd name="connsiteY313" fmla="*/ 630996 h 1323458"/>
                    <a:gd name="connsiteX314" fmla="*/ 1289932 w 1439351"/>
                    <a:gd name="connsiteY314" fmla="*/ 632028 h 1323458"/>
                    <a:gd name="connsiteX315" fmla="*/ 1289774 w 1439351"/>
                    <a:gd name="connsiteY315" fmla="*/ 632769 h 1323458"/>
                    <a:gd name="connsiteX316" fmla="*/ 1289993 w 1439351"/>
                    <a:gd name="connsiteY316" fmla="*/ 633254 h 1323458"/>
                    <a:gd name="connsiteX317" fmla="*/ 1296380 w 1439351"/>
                    <a:gd name="connsiteY317" fmla="*/ 632562 h 1323458"/>
                    <a:gd name="connsiteX318" fmla="*/ 1297643 w 1439351"/>
                    <a:gd name="connsiteY318" fmla="*/ 632951 h 1323458"/>
                    <a:gd name="connsiteX319" fmla="*/ 1298153 w 1439351"/>
                    <a:gd name="connsiteY319" fmla="*/ 633801 h 1323458"/>
                    <a:gd name="connsiteX320" fmla="*/ 1298032 w 1439351"/>
                    <a:gd name="connsiteY320" fmla="*/ 635865 h 1323458"/>
                    <a:gd name="connsiteX321" fmla="*/ 1296538 w 1439351"/>
                    <a:gd name="connsiteY321" fmla="*/ 641354 h 1323458"/>
                    <a:gd name="connsiteX322" fmla="*/ 1296830 w 1439351"/>
                    <a:gd name="connsiteY322" fmla="*/ 642653 h 1323458"/>
                    <a:gd name="connsiteX323" fmla="*/ 1297813 w 1439351"/>
                    <a:gd name="connsiteY323" fmla="*/ 644086 h 1323458"/>
                    <a:gd name="connsiteX324" fmla="*/ 1300339 w 1439351"/>
                    <a:gd name="connsiteY324" fmla="*/ 646381 h 1323458"/>
                    <a:gd name="connsiteX325" fmla="*/ 1301893 w 1439351"/>
                    <a:gd name="connsiteY325" fmla="*/ 647352 h 1323458"/>
                    <a:gd name="connsiteX326" fmla="*/ 1304067 w 1439351"/>
                    <a:gd name="connsiteY326" fmla="*/ 649077 h 1323458"/>
                    <a:gd name="connsiteX327" fmla="*/ 1305099 w 1439351"/>
                    <a:gd name="connsiteY327" fmla="*/ 650279 h 1323458"/>
                    <a:gd name="connsiteX328" fmla="*/ 1307467 w 1439351"/>
                    <a:gd name="connsiteY328" fmla="*/ 654298 h 1323458"/>
                    <a:gd name="connsiteX329" fmla="*/ 1307467 w 1439351"/>
                    <a:gd name="connsiteY329" fmla="*/ 657601 h 1323458"/>
                    <a:gd name="connsiteX330" fmla="*/ 1306823 w 1439351"/>
                    <a:gd name="connsiteY330" fmla="*/ 660964 h 1323458"/>
                    <a:gd name="connsiteX331" fmla="*/ 1306702 w 1439351"/>
                    <a:gd name="connsiteY331" fmla="*/ 666016 h 1323458"/>
                    <a:gd name="connsiteX332" fmla="*/ 1307285 w 1439351"/>
                    <a:gd name="connsiteY332" fmla="*/ 668117 h 1323458"/>
                    <a:gd name="connsiteX333" fmla="*/ 1308547 w 1439351"/>
                    <a:gd name="connsiteY333" fmla="*/ 670120 h 1323458"/>
                    <a:gd name="connsiteX334" fmla="*/ 1313028 w 1439351"/>
                    <a:gd name="connsiteY334" fmla="*/ 673374 h 1323458"/>
                    <a:gd name="connsiteX335" fmla="*/ 1314461 w 1439351"/>
                    <a:gd name="connsiteY335" fmla="*/ 675038 h 1323458"/>
                    <a:gd name="connsiteX336" fmla="*/ 1316817 w 1439351"/>
                    <a:gd name="connsiteY336" fmla="*/ 680806 h 1323458"/>
                    <a:gd name="connsiteX337" fmla="*/ 1317970 w 1439351"/>
                    <a:gd name="connsiteY337" fmla="*/ 682639 h 1323458"/>
                    <a:gd name="connsiteX338" fmla="*/ 1321237 w 1439351"/>
                    <a:gd name="connsiteY338" fmla="*/ 685165 h 1323458"/>
                    <a:gd name="connsiteX339" fmla="*/ 1322682 w 1439351"/>
                    <a:gd name="connsiteY339" fmla="*/ 687120 h 1323458"/>
                    <a:gd name="connsiteX340" fmla="*/ 1323532 w 1439351"/>
                    <a:gd name="connsiteY340" fmla="*/ 690253 h 1323458"/>
                    <a:gd name="connsiteX341" fmla="*/ 1323714 w 1439351"/>
                    <a:gd name="connsiteY341" fmla="*/ 693034 h 1323458"/>
                    <a:gd name="connsiteX342" fmla="*/ 1323362 w 1439351"/>
                    <a:gd name="connsiteY342" fmla="*/ 698753 h 1323458"/>
                    <a:gd name="connsiteX343" fmla="*/ 1323362 w 1439351"/>
                    <a:gd name="connsiteY343" fmla="*/ 699263 h 1323458"/>
                    <a:gd name="connsiteX344" fmla="*/ 1329445 w 1439351"/>
                    <a:gd name="connsiteY344" fmla="*/ 711528 h 1323458"/>
                    <a:gd name="connsiteX345" fmla="*/ 1331510 w 1439351"/>
                    <a:gd name="connsiteY345" fmla="*/ 714588 h 1323458"/>
                    <a:gd name="connsiteX346" fmla="*/ 1334509 w 1439351"/>
                    <a:gd name="connsiteY346" fmla="*/ 716312 h 1323458"/>
                    <a:gd name="connsiteX347" fmla="*/ 1336743 w 1439351"/>
                    <a:gd name="connsiteY347" fmla="*/ 717089 h 1323458"/>
                    <a:gd name="connsiteX348" fmla="*/ 1339038 w 1439351"/>
                    <a:gd name="connsiteY348" fmla="*/ 718303 h 1323458"/>
                    <a:gd name="connsiteX349" fmla="*/ 1341224 w 1439351"/>
                    <a:gd name="connsiteY349" fmla="*/ 720659 h 1323458"/>
                    <a:gd name="connsiteX350" fmla="*/ 1346215 w 1439351"/>
                    <a:gd name="connsiteY350" fmla="*/ 724120 h 1323458"/>
                    <a:gd name="connsiteX351" fmla="*/ 1348048 w 1439351"/>
                    <a:gd name="connsiteY351" fmla="*/ 724096 h 1323458"/>
                    <a:gd name="connsiteX352" fmla="*/ 1349202 w 1439351"/>
                    <a:gd name="connsiteY352" fmla="*/ 723294 h 1323458"/>
                    <a:gd name="connsiteX353" fmla="*/ 1350526 w 1439351"/>
                    <a:gd name="connsiteY353" fmla="*/ 722141 h 1323458"/>
                    <a:gd name="connsiteX354" fmla="*/ 1351789 w 1439351"/>
                    <a:gd name="connsiteY354" fmla="*/ 721315 h 1323458"/>
                    <a:gd name="connsiteX355" fmla="*/ 1353513 w 1439351"/>
                    <a:gd name="connsiteY355" fmla="*/ 720598 h 1323458"/>
                    <a:gd name="connsiteX356" fmla="*/ 1355346 w 1439351"/>
                    <a:gd name="connsiteY356" fmla="*/ 720222 h 1323458"/>
                    <a:gd name="connsiteX357" fmla="*/ 1357289 w 1439351"/>
                    <a:gd name="connsiteY357" fmla="*/ 720198 h 1323458"/>
                    <a:gd name="connsiteX358" fmla="*/ 1358965 w 1439351"/>
                    <a:gd name="connsiteY358" fmla="*/ 720453 h 1323458"/>
                    <a:gd name="connsiteX359" fmla="*/ 1360689 w 1439351"/>
                    <a:gd name="connsiteY359" fmla="*/ 721084 h 1323458"/>
                    <a:gd name="connsiteX360" fmla="*/ 1362183 w 1439351"/>
                    <a:gd name="connsiteY360" fmla="*/ 722408 h 1323458"/>
                    <a:gd name="connsiteX361" fmla="*/ 1363434 w 1439351"/>
                    <a:gd name="connsiteY361" fmla="*/ 724557 h 1323458"/>
                    <a:gd name="connsiteX362" fmla="*/ 1364478 w 1439351"/>
                    <a:gd name="connsiteY362" fmla="*/ 728758 h 1323458"/>
                    <a:gd name="connsiteX363" fmla="*/ 1364709 w 1439351"/>
                    <a:gd name="connsiteY363" fmla="*/ 732195 h 1323458"/>
                    <a:gd name="connsiteX364" fmla="*/ 1364648 w 1439351"/>
                    <a:gd name="connsiteY364" fmla="*/ 735146 h 1323458"/>
                    <a:gd name="connsiteX365" fmla="*/ 1363324 w 1439351"/>
                    <a:gd name="connsiteY365" fmla="*/ 745115 h 1323458"/>
                    <a:gd name="connsiteX366" fmla="*/ 1363676 w 1439351"/>
                    <a:gd name="connsiteY366" fmla="*/ 746876 h 1323458"/>
                    <a:gd name="connsiteX367" fmla="*/ 1364478 w 1439351"/>
                    <a:gd name="connsiteY367" fmla="*/ 748187 h 1323458"/>
                    <a:gd name="connsiteX368" fmla="*/ 1366421 w 1439351"/>
                    <a:gd name="connsiteY368" fmla="*/ 748758 h 1323458"/>
                    <a:gd name="connsiteX369" fmla="*/ 1369809 w 1439351"/>
                    <a:gd name="connsiteY369" fmla="*/ 748418 h 1323458"/>
                    <a:gd name="connsiteX370" fmla="*/ 1371424 w 1439351"/>
                    <a:gd name="connsiteY370" fmla="*/ 748478 h 1323458"/>
                    <a:gd name="connsiteX371" fmla="*/ 1373366 w 1439351"/>
                    <a:gd name="connsiteY371" fmla="*/ 749171 h 1323458"/>
                    <a:gd name="connsiteX372" fmla="*/ 1375734 w 1439351"/>
                    <a:gd name="connsiteY372" fmla="*/ 750749 h 1323458"/>
                    <a:gd name="connsiteX373" fmla="*/ 1389796 w 1439351"/>
                    <a:gd name="connsiteY373" fmla="*/ 764216 h 1323458"/>
                    <a:gd name="connsiteX374" fmla="*/ 1391107 w 1439351"/>
                    <a:gd name="connsiteY374" fmla="*/ 765843 h 1323458"/>
                    <a:gd name="connsiteX375" fmla="*/ 1391921 w 1439351"/>
                    <a:gd name="connsiteY375" fmla="*/ 767373 h 1323458"/>
                    <a:gd name="connsiteX376" fmla="*/ 1392152 w 1439351"/>
                    <a:gd name="connsiteY376" fmla="*/ 768866 h 1323458"/>
                    <a:gd name="connsiteX377" fmla="*/ 1392091 w 1439351"/>
                    <a:gd name="connsiteY377" fmla="*/ 769899 h 1323458"/>
                    <a:gd name="connsiteX378" fmla="*/ 1390087 w 1439351"/>
                    <a:gd name="connsiteY378" fmla="*/ 771417 h 1323458"/>
                    <a:gd name="connsiteX379" fmla="*/ 1361321 w 1439351"/>
                    <a:gd name="connsiteY379" fmla="*/ 771623 h 1323458"/>
                    <a:gd name="connsiteX380" fmla="*/ 1354253 w 1439351"/>
                    <a:gd name="connsiteY380" fmla="*/ 770530 h 1323458"/>
                    <a:gd name="connsiteX381" fmla="*/ 1349202 w 1439351"/>
                    <a:gd name="connsiteY381" fmla="*/ 768976 h 1323458"/>
                    <a:gd name="connsiteX382" fmla="*/ 1347247 w 1439351"/>
                    <a:gd name="connsiteY382" fmla="*/ 768939 h 1323458"/>
                    <a:gd name="connsiteX383" fmla="*/ 1344150 w 1439351"/>
                    <a:gd name="connsiteY383" fmla="*/ 769668 h 1323458"/>
                    <a:gd name="connsiteX384" fmla="*/ 1338237 w 1439351"/>
                    <a:gd name="connsiteY384" fmla="*/ 769546 h 1323458"/>
                    <a:gd name="connsiteX385" fmla="*/ 1336865 w 1439351"/>
                    <a:gd name="connsiteY385" fmla="*/ 769838 h 1323458"/>
                    <a:gd name="connsiteX386" fmla="*/ 1335590 w 1439351"/>
                    <a:gd name="connsiteY386" fmla="*/ 770749 h 1323458"/>
                    <a:gd name="connsiteX387" fmla="*/ 1334436 w 1439351"/>
                    <a:gd name="connsiteY387" fmla="*/ 772242 h 1323458"/>
                    <a:gd name="connsiteX388" fmla="*/ 1333355 w 1439351"/>
                    <a:gd name="connsiteY388" fmla="*/ 774889 h 1323458"/>
                    <a:gd name="connsiteX389" fmla="*/ 1331692 w 1439351"/>
                    <a:gd name="connsiteY389" fmla="*/ 781459 h 1323458"/>
                    <a:gd name="connsiteX390" fmla="*/ 1330781 w 1439351"/>
                    <a:gd name="connsiteY390" fmla="*/ 783474 h 1323458"/>
                    <a:gd name="connsiteX391" fmla="*/ 1329567 w 1439351"/>
                    <a:gd name="connsiteY391" fmla="*/ 785478 h 1323458"/>
                    <a:gd name="connsiteX392" fmla="*/ 1328413 w 1439351"/>
                    <a:gd name="connsiteY392" fmla="*/ 786887 h 1323458"/>
                    <a:gd name="connsiteX393" fmla="*/ 1326798 w 1439351"/>
                    <a:gd name="connsiteY393" fmla="*/ 787919 h 1323458"/>
                    <a:gd name="connsiteX394" fmla="*/ 1324795 w 1439351"/>
                    <a:gd name="connsiteY394" fmla="*/ 788672 h 1323458"/>
                    <a:gd name="connsiteX395" fmla="*/ 1317218 w 1439351"/>
                    <a:gd name="connsiteY395" fmla="*/ 790311 h 1323458"/>
                    <a:gd name="connsiteX396" fmla="*/ 1316538 w 1439351"/>
                    <a:gd name="connsiteY396" fmla="*/ 790675 h 1323458"/>
                    <a:gd name="connsiteX397" fmla="*/ 1315955 w 1439351"/>
                    <a:gd name="connsiteY397" fmla="*/ 791137 h 1323458"/>
                    <a:gd name="connsiteX398" fmla="*/ 1315202 w 1439351"/>
                    <a:gd name="connsiteY398" fmla="*/ 792084 h 1323458"/>
                    <a:gd name="connsiteX399" fmla="*/ 1312919 w 1439351"/>
                    <a:gd name="connsiteY399" fmla="*/ 795727 h 1323458"/>
                    <a:gd name="connsiteX400" fmla="*/ 1312215 w 1439351"/>
                    <a:gd name="connsiteY400" fmla="*/ 796370 h 1323458"/>
                    <a:gd name="connsiteX401" fmla="*/ 1311425 w 1439351"/>
                    <a:gd name="connsiteY401" fmla="*/ 796710 h 1323458"/>
                    <a:gd name="connsiteX402" fmla="*/ 1310673 w 1439351"/>
                    <a:gd name="connsiteY402" fmla="*/ 796480 h 1323458"/>
                    <a:gd name="connsiteX403" fmla="*/ 1310090 w 1439351"/>
                    <a:gd name="connsiteY403" fmla="*/ 795763 h 1323458"/>
                    <a:gd name="connsiteX404" fmla="*/ 1309689 w 1439351"/>
                    <a:gd name="connsiteY404" fmla="*/ 794415 h 1323458"/>
                    <a:gd name="connsiteX405" fmla="*/ 1309349 w 1439351"/>
                    <a:gd name="connsiteY405" fmla="*/ 792897 h 1323458"/>
                    <a:gd name="connsiteX406" fmla="*/ 1309009 w 1439351"/>
                    <a:gd name="connsiteY406" fmla="*/ 791598 h 1323458"/>
                    <a:gd name="connsiteX407" fmla="*/ 1308499 w 1439351"/>
                    <a:gd name="connsiteY407" fmla="*/ 790627 h 1323458"/>
                    <a:gd name="connsiteX408" fmla="*/ 1307807 w 1439351"/>
                    <a:gd name="connsiteY408" fmla="*/ 789934 h 1323458"/>
                    <a:gd name="connsiteX409" fmla="*/ 1306884 w 1439351"/>
                    <a:gd name="connsiteY409" fmla="*/ 789619 h 1323458"/>
                    <a:gd name="connsiteX410" fmla="*/ 1305670 w 1439351"/>
                    <a:gd name="connsiteY410" fmla="*/ 789789 h 1323458"/>
                    <a:gd name="connsiteX411" fmla="*/ 1304358 w 1439351"/>
                    <a:gd name="connsiteY411" fmla="*/ 790590 h 1323458"/>
                    <a:gd name="connsiteX412" fmla="*/ 1303666 w 1439351"/>
                    <a:gd name="connsiteY412" fmla="*/ 791890 h 1323458"/>
                    <a:gd name="connsiteX413" fmla="*/ 1303265 w 1439351"/>
                    <a:gd name="connsiteY413" fmla="*/ 793347 h 1323458"/>
                    <a:gd name="connsiteX414" fmla="*/ 1303265 w 1439351"/>
                    <a:gd name="connsiteY414" fmla="*/ 799697 h 1323458"/>
                    <a:gd name="connsiteX415" fmla="*/ 1303205 w 1439351"/>
                    <a:gd name="connsiteY415" fmla="*/ 799892 h 1323458"/>
                    <a:gd name="connsiteX416" fmla="*/ 1302986 w 1439351"/>
                    <a:gd name="connsiteY416" fmla="*/ 803025 h 1323458"/>
                    <a:gd name="connsiteX417" fmla="*/ 1303265 w 1439351"/>
                    <a:gd name="connsiteY417" fmla="*/ 805150 h 1323458"/>
                    <a:gd name="connsiteX418" fmla="*/ 1304479 w 1439351"/>
                    <a:gd name="connsiteY418" fmla="*/ 807044 h 1323458"/>
                    <a:gd name="connsiteX419" fmla="*/ 1307285 w 1439351"/>
                    <a:gd name="connsiteY419" fmla="*/ 808598 h 1323458"/>
                    <a:gd name="connsiteX420" fmla="*/ 1309871 w 1439351"/>
                    <a:gd name="connsiteY420" fmla="*/ 809193 h 1323458"/>
                    <a:gd name="connsiteX421" fmla="*/ 1312457 w 1439351"/>
                    <a:gd name="connsiteY421" fmla="*/ 809351 h 1323458"/>
                    <a:gd name="connsiteX422" fmla="*/ 1314680 w 1439351"/>
                    <a:gd name="connsiteY422" fmla="*/ 809084 h 1323458"/>
                    <a:gd name="connsiteX423" fmla="*/ 1316538 w 1439351"/>
                    <a:gd name="connsiteY423" fmla="*/ 808513 h 1323458"/>
                    <a:gd name="connsiteX424" fmla="*/ 1317849 w 1439351"/>
                    <a:gd name="connsiteY424" fmla="*/ 807760 h 1323458"/>
                    <a:gd name="connsiteX425" fmla="*/ 1318662 w 1439351"/>
                    <a:gd name="connsiteY425" fmla="*/ 807129 h 1323458"/>
                    <a:gd name="connsiteX426" fmla="*/ 1319452 w 1439351"/>
                    <a:gd name="connsiteY426" fmla="*/ 806242 h 1323458"/>
                    <a:gd name="connsiteX427" fmla="*/ 1320253 w 1439351"/>
                    <a:gd name="connsiteY427" fmla="*/ 805587 h 1323458"/>
                    <a:gd name="connsiteX428" fmla="*/ 1321285 w 1439351"/>
                    <a:gd name="connsiteY428" fmla="*/ 805259 h 1323458"/>
                    <a:gd name="connsiteX429" fmla="*/ 1323192 w 1439351"/>
                    <a:gd name="connsiteY429" fmla="*/ 806121 h 1323458"/>
                    <a:gd name="connsiteX430" fmla="*/ 1325778 w 1439351"/>
                    <a:gd name="connsiteY430" fmla="*/ 808052 h 1323458"/>
                    <a:gd name="connsiteX431" fmla="*/ 1330939 w 1439351"/>
                    <a:gd name="connsiteY431" fmla="*/ 812666 h 1323458"/>
                    <a:gd name="connsiteX432" fmla="*/ 1334436 w 1439351"/>
                    <a:gd name="connsiteY432" fmla="*/ 814791 h 1323458"/>
                    <a:gd name="connsiteX433" fmla="*/ 1337715 w 1439351"/>
                    <a:gd name="connsiteY433" fmla="*/ 816285 h 1323458"/>
                    <a:gd name="connsiteX434" fmla="*/ 1351606 w 1439351"/>
                    <a:gd name="connsiteY434" fmla="*/ 819187 h 1323458"/>
                    <a:gd name="connsiteX435" fmla="*/ 1352821 w 1439351"/>
                    <a:gd name="connsiteY435" fmla="*/ 819879 h 1323458"/>
                    <a:gd name="connsiteX436" fmla="*/ 1353221 w 1439351"/>
                    <a:gd name="connsiteY436" fmla="*/ 821118 h 1323458"/>
                    <a:gd name="connsiteX437" fmla="*/ 1353161 w 1439351"/>
                    <a:gd name="connsiteY437" fmla="*/ 823437 h 1323458"/>
                    <a:gd name="connsiteX438" fmla="*/ 1351849 w 1439351"/>
                    <a:gd name="connsiteY438" fmla="*/ 826461 h 1323458"/>
                    <a:gd name="connsiteX439" fmla="*/ 1348862 w 1439351"/>
                    <a:gd name="connsiteY439" fmla="*/ 830905 h 1323458"/>
                    <a:gd name="connsiteX440" fmla="*/ 1348619 w 1439351"/>
                    <a:gd name="connsiteY440" fmla="*/ 832508 h 1323458"/>
                    <a:gd name="connsiteX441" fmla="*/ 1348923 w 1439351"/>
                    <a:gd name="connsiteY441" fmla="*/ 834402 h 1323458"/>
                    <a:gd name="connsiteX442" fmla="*/ 1350416 w 1439351"/>
                    <a:gd name="connsiteY442" fmla="*/ 837559 h 1323458"/>
                    <a:gd name="connsiteX443" fmla="*/ 1353391 w 1439351"/>
                    <a:gd name="connsiteY443" fmla="*/ 841578 h 1323458"/>
                    <a:gd name="connsiteX444" fmla="*/ 1353343 w 1439351"/>
                    <a:gd name="connsiteY444" fmla="*/ 842586 h 1323458"/>
                    <a:gd name="connsiteX445" fmla="*/ 1353100 w 1439351"/>
                    <a:gd name="connsiteY445" fmla="*/ 843193 h 1323458"/>
                    <a:gd name="connsiteX446" fmla="*/ 1349603 w 1439351"/>
                    <a:gd name="connsiteY446" fmla="*/ 845258 h 1323458"/>
                    <a:gd name="connsiteX447" fmla="*/ 1345644 w 1439351"/>
                    <a:gd name="connsiteY447" fmla="*/ 844833 h 1323458"/>
                    <a:gd name="connsiteX448" fmla="*/ 1344090 w 1439351"/>
                    <a:gd name="connsiteY448" fmla="*/ 844371 h 1323458"/>
                    <a:gd name="connsiteX449" fmla="*/ 1342195 w 1439351"/>
                    <a:gd name="connsiteY449" fmla="*/ 844056 h 1323458"/>
                    <a:gd name="connsiteX450" fmla="*/ 1340884 w 1439351"/>
                    <a:gd name="connsiteY450" fmla="*/ 844116 h 1323458"/>
                    <a:gd name="connsiteX451" fmla="*/ 1339609 w 1439351"/>
                    <a:gd name="connsiteY451" fmla="*/ 844541 h 1323458"/>
                    <a:gd name="connsiteX452" fmla="*/ 1338516 w 1439351"/>
                    <a:gd name="connsiteY452" fmla="*/ 845258 h 1323458"/>
                    <a:gd name="connsiteX453" fmla="*/ 1336282 w 1439351"/>
                    <a:gd name="connsiteY453" fmla="*/ 847152 h 1323458"/>
                    <a:gd name="connsiteX454" fmla="*/ 1335128 w 1439351"/>
                    <a:gd name="connsiteY454" fmla="*/ 847832 h 1323458"/>
                    <a:gd name="connsiteX455" fmla="*/ 1333355 w 1439351"/>
                    <a:gd name="connsiteY455" fmla="*/ 848330 h 1323458"/>
                    <a:gd name="connsiteX456" fmla="*/ 1322621 w 1439351"/>
                    <a:gd name="connsiteY456" fmla="*/ 849192 h 1323458"/>
                    <a:gd name="connsiteX457" fmla="*/ 1319743 w 1439351"/>
                    <a:gd name="connsiteY457" fmla="*/ 849993 h 1323458"/>
                    <a:gd name="connsiteX458" fmla="*/ 1318541 w 1439351"/>
                    <a:gd name="connsiteY458" fmla="*/ 850601 h 1323458"/>
                    <a:gd name="connsiteX459" fmla="*/ 1317849 w 1439351"/>
                    <a:gd name="connsiteY459" fmla="*/ 851086 h 1323458"/>
                    <a:gd name="connsiteX460" fmla="*/ 1316926 w 1439351"/>
                    <a:gd name="connsiteY460" fmla="*/ 851985 h 1323458"/>
                    <a:gd name="connsiteX461" fmla="*/ 1316137 w 1439351"/>
                    <a:gd name="connsiteY461" fmla="*/ 853187 h 1323458"/>
                    <a:gd name="connsiteX462" fmla="*/ 1315493 w 1439351"/>
                    <a:gd name="connsiteY462" fmla="*/ 854705 h 1323458"/>
                    <a:gd name="connsiteX463" fmla="*/ 1315384 w 1439351"/>
                    <a:gd name="connsiteY463" fmla="*/ 856684 h 1323458"/>
                    <a:gd name="connsiteX464" fmla="*/ 1316076 w 1439351"/>
                    <a:gd name="connsiteY464" fmla="*/ 858518 h 1323458"/>
                    <a:gd name="connsiteX465" fmla="*/ 1317910 w 1439351"/>
                    <a:gd name="connsiteY465" fmla="*/ 860303 h 1323458"/>
                    <a:gd name="connsiteX466" fmla="*/ 1322439 w 1439351"/>
                    <a:gd name="connsiteY466" fmla="*/ 863460 h 1323458"/>
                    <a:gd name="connsiteX467" fmla="*/ 1325487 w 1439351"/>
                    <a:gd name="connsiteY467" fmla="*/ 867856 h 1323458"/>
                    <a:gd name="connsiteX468" fmla="*/ 1330417 w 1439351"/>
                    <a:gd name="connsiteY468" fmla="*/ 879598 h 1323458"/>
                    <a:gd name="connsiteX469" fmla="*/ 1332093 w 1439351"/>
                    <a:gd name="connsiteY469" fmla="*/ 880254 h 1323458"/>
                    <a:gd name="connsiteX470" fmla="*/ 1334740 w 1439351"/>
                    <a:gd name="connsiteY470" fmla="*/ 881978 h 1323458"/>
                    <a:gd name="connsiteX471" fmla="*/ 1336343 w 1439351"/>
                    <a:gd name="connsiteY471" fmla="*/ 882099 h 1323458"/>
                    <a:gd name="connsiteX472" fmla="*/ 1338516 w 1439351"/>
                    <a:gd name="connsiteY472" fmla="*/ 882962 h 1323458"/>
                    <a:gd name="connsiteX473" fmla="*/ 1342596 w 1439351"/>
                    <a:gd name="connsiteY473" fmla="*/ 885621 h 1323458"/>
                    <a:gd name="connsiteX474" fmla="*/ 1344721 w 1439351"/>
                    <a:gd name="connsiteY474" fmla="*/ 886204 h 1323458"/>
                    <a:gd name="connsiteX475" fmla="*/ 1346506 w 1439351"/>
                    <a:gd name="connsiteY475" fmla="*/ 887114 h 1323458"/>
                    <a:gd name="connsiteX476" fmla="*/ 1348401 w 1439351"/>
                    <a:gd name="connsiteY476" fmla="*/ 889324 h 1323458"/>
                    <a:gd name="connsiteX477" fmla="*/ 1349894 w 1439351"/>
                    <a:gd name="connsiteY477" fmla="*/ 891850 h 1323458"/>
                    <a:gd name="connsiteX478" fmla="*/ 1351266 w 1439351"/>
                    <a:gd name="connsiteY478" fmla="*/ 895821 h 1323458"/>
                    <a:gd name="connsiteX479" fmla="*/ 1352991 w 1439351"/>
                    <a:gd name="connsiteY479" fmla="*/ 896307 h 1323458"/>
                    <a:gd name="connsiteX480" fmla="*/ 1355116 w 1439351"/>
                    <a:gd name="connsiteY480" fmla="*/ 896416 h 1323458"/>
                    <a:gd name="connsiteX481" fmla="*/ 1356901 w 1439351"/>
                    <a:gd name="connsiteY481" fmla="*/ 897290 h 1323458"/>
                    <a:gd name="connsiteX482" fmla="*/ 1357811 w 1439351"/>
                    <a:gd name="connsiteY482" fmla="*/ 898978 h 1323458"/>
                    <a:gd name="connsiteX483" fmla="*/ 1359487 w 1439351"/>
                    <a:gd name="connsiteY483" fmla="*/ 905499 h 1323458"/>
                    <a:gd name="connsiteX484" fmla="*/ 1360580 w 1439351"/>
                    <a:gd name="connsiteY484" fmla="*/ 907672 h 1323458"/>
                    <a:gd name="connsiteX485" fmla="*/ 1361491 w 1439351"/>
                    <a:gd name="connsiteY485" fmla="*/ 909057 h 1323458"/>
                    <a:gd name="connsiteX486" fmla="*/ 1363956 w 1439351"/>
                    <a:gd name="connsiteY486" fmla="*/ 911668 h 1323458"/>
                    <a:gd name="connsiteX487" fmla="*/ 1367344 w 1439351"/>
                    <a:gd name="connsiteY487" fmla="*/ 914169 h 1323458"/>
                    <a:gd name="connsiteX488" fmla="*/ 1370792 w 1439351"/>
                    <a:gd name="connsiteY488" fmla="*/ 914995 h 1323458"/>
                    <a:gd name="connsiteX489" fmla="*/ 1374241 w 1439351"/>
                    <a:gd name="connsiteY489" fmla="*/ 914679 h 1323458"/>
                    <a:gd name="connsiteX490" fmla="*/ 1380725 w 1439351"/>
                    <a:gd name="connsiteY490" fmla="*/ 912700 h 1323458"/>
                    <a:gd name="connsiteX491" fmla="*/ 1382959 w 1439351"/>
                    <a:gd name="connsiteY491" fmla="*/ 912323 h 1323458"/>
                    <a:gd name="connsiteX492" fmla="*/ 1388484 w 1439351"/>
                    <a:gd name="connsiteY492" fmla="*/ 912348 h 1323458"/>
                    <a:gd name="connsiteX493" fmla="*/ 1390318 w 1439351"/>
                    <a:gd name="connsiteY493" fmla="*/ 913331 h 1323458"/>
                    <a:gd name="connsiteX494" fmla="*/ 1392662 w 1439351"/>
                    <a:gd name="connsiteY494" fmla="*/ 915687 h 1323458"/>
                    <a:gd name="connsiteX495" fmla="*/ 1394677 w 1439351"/>
                    <a:gd name="connsiteY495" fmla="*/ 918625 h 1323458"/>
                    <a:gd name="connsiteX496" fmla="*/ 1395600 w 1439351"/>
                    <a:gd name="connsiteY496" fmla="*/ 921260 h 1323458"/>
                    <a:gd name="connsiteX497" fmla="*/ 1396985 w 1439351"/>
                    <a:gd name="connsiteY497" fmla="*/ 922523 h 1323458"/>
                    <a:gd name="connsiteX498" fmla="*/ 1403918 w 1439351"/>
                    <a:gd name="connsiteY498" fmla="*/ 926457 h 1323458"/>
                    <a:gd name="connsiteX499" fmla="*/ 1406456 w 1439351"/>
                    <a:gd name="connsiteY499" fmla="*/ 927283 h 1323458"/>
                    <a:gd name="connsiteX500" fmla="*/ 1412540 w 1439351"/>
                    <a:gd name="connsiteY500" fmla="*/ 926919 h 1323458"/>
                    <a:gd name="connsiteX501" fmla="*/ 1415697 w 1439351"/>
                    <a:gd name="connsiteY501" fmla="*/ 927089 h 1323458"/>
                    <a:gd name="connsiteX502" fmla="*/ 1417992 w 1439351"/>
                    <a:gd name="connsiteY502" fmla="*/ 928024 h 1323458"/>
                    <a:gd name="connsiteX503" fmla="*/ 1431835 w 1439351"/>
                    <a:gd name="connsiteY503" fmla="*/ 940519 h 1323458"/>
                    <a:gd name="connsiteX504" fmla="*/ 1432806 w 1439351"/>
                    <a:gd name="connsiteY504" fmla="*/ 942158 h 1323458"/>
                    <a:gd name="connsiteX505" fmla="*/ 1433146 w 1439351"/>
                    <a:gd name="connsiteY505" fmla="*/ 943105 h 1323458"/>
                    <a:gd name="connsiteX506" fmla="*/ 1432806 w 1439351"/>
                    <a:gd name="connsiteY506" fmla="*/ 945716 h 1323458"/>
                    <a:gd name="connsiteX507" fmla="*/ 1430681 w 1439351"/>
                    <a:gd name="connsiteY507" fmla="*/ 948254 h 1323458"/>
                    <a:gd name="connsiteX508" fmla="*/ 1430912 w 1439351"/>
                    <a:gd name="connsiteY508" fmla="*/ 951120 h 1323458"/>
                    <a:gd name="connsiteX509" fmla="*/ 1429358 w 1439351"/>
                    <a:gd name="connsiteY509" fmla="*/ 952832 h 1323458"/>
                    <a:gd name="connsiteX510" fmla="*/ 1428095 w 1439351"/>
                    <a:gd name="connsiteY510" fmla="*/ 953500 h 1323458"/>
                    <a:gd name="connsiteX511" fmla="*/ 1419947 w 1439351"/>
                    <a:gd name="connsiteY511" fmla="*/ 959438 h 1323458"/>
                    <a:gd name="connsiteX512" fmla="*/ 1418793 w 1439351"/>
                    <a:gd name="connsiteY512" fmla="*/ 959899 h 1323458"/>
                    <a:gd name="connsiteX513" fmla="*/ 1416607 w 1439351"/>
                    <a:gd name="connsiteY513" fmla="*/ 960470 h 1323458"/>
                    <a:gd name="connsiteX514" fmla="*/ 1411847 w 1439351"/>
                    <a:gd name="connsiteY514" fmla="*/ 960701 h 1323458"/>
                    <a:gd name="connsiteX515" fmla="*/ 1409552 w 1439351"/>
                    <a:gd name="connsiteY515" fmla="*/ 960361 h 1323458"/>
                    <a:gd name="connsiteX516" fmla="*/ 1408241 w 1439351"/>
                    <a:gd name="connsiteY516" fmla="*/ 959839 h 1323458"/>
                    <a:gd name="connsiteX517" fmla="*/ 1405302 w 1439351"/>
                    <a:gd name="connsiteY517" fmla="*/ 958126 h 1323458"/>
                    <a:gd name="connsiteX518" fmla="*/ 1400421 w 1439351"/>
                    <a:gd name="connsiteY518" fmla="*/ 956779 h 1323458"/>
                    <a:gd name="connsiteX519" fmla="*/ 1396924 w 1439351"/>
                    <a:gd name="connsiteY519" fmla="*/ 954362 h 1323458"/>
                    <a:gd name="connsiteX520" fmla="*/ 1391010 w 1439351"/>
                    <a:gd name="connsiteY520" fmla="*/ 948618 h 1323458"/>
                    <a:gd name="connsiteX521" fmla="*/ 1388193 w 1439351"/>
                    <a:gd name="connsiteY521" fmla="*/ 947501 h 1323458"/>
                    <a:gd name="connsiteX522" fmla="*/ 1385024 w 1439351"/>
                    <a:gd name="connsiteY522" fmla="*/ 948388 h 1323458"/>
                    <a:gd name="connsiteX523" fmla="*/ 1381988 w 1439351"/>
                    <a:gd name="connsiteY523" fmla="*/ 949966 h 1323458"/>
                    <a:gd name="connsiteX524" fmla="*/ 1379462 w 1439351"/>
                    <a:gd name="connsiteY524" fmla="*/ 950792 h 1323458"/>
                    <a:gd name="connsiteX525" fmla="*/ 1377289 w 1439351"/>
                    <a:gd name="connsiteY525" fmla="*/ 952055 h 1323458"/>
                    <a:gd name="connsiteX526" fmla="*/ 1376924 w 1439351"/>
                    <a:gd name="connsiteY526" fmla="*/ 956572 h 1323458"/>
                    <a:gd name="connsiteX527" fmla="*/ 1379171 w 1439351"/>
                    <a:gd name="connsiteY527" fmla="*/ 962109 h 1323458"/>
                    <a:gd name="connsiteX528" fmla="*/ 1379523 w 1439351"/>
                    <a:gd name="connsiteY528" fmla="*/ 963287 h 1323458"/>
                    <a:gd name="connsiteX529" fmla="*/ 1379754 w 1439351"/>
                    <a:gd name="connsiteY529" fmla="*/ 964489 h 1323458"/>
                    <a:gd name="connsiteX530" fmla="*/ 1379863 w 1439351"/>
                    <a:gd name="connsiteY530" fmla="*/ 965704 h 1323458"/>
                    <a:gd name="connsiteX531" fmla="*/ 1379814 w 1439351"/>
                    <a:gd name="connsiteY531" fmla="*/ 966881 h 1323458"/>
                    <a:gd name="connsiteX532" fmla="*/ 1379523 w 1439351"/>
                    <a:gd name="connsiteY532" fmla="*/ 967853 h 1323458"/>
                    <a:gd name="connsiteX533" fmla="*/ 1379061 w 1439351"/>
                    <a:gd name="connsiteY533" fmla="*/ 968751 h 1323458"/>
                    <a:gd name="connsiteX534" fmla="*/ 1377969 w 1439351"/>
                    <a:gd name="connsiteY534" fmla="*/ 969662 h 1323458"/>
                    <a:gd name="connsiteX535" fmla="*/ 1376305 w 1439351"/>
                    <a:gd name="connsiteY535" fmla="*/ 970573 h 1323458"/>
                    <a:gd name="connsiteX536" fmla="*/ 1372686 w 1439351"/>
                    <a:gd name="connsiteY536" fmla="*/ 971787 h 1323458"/>
                    <a:gd name="connsiteX537" fmla="*/ 1370039 w 1439351"/>
                    <a:gd name="connsiteY537" fmla="*/ 972249 h 1323458"/>
                    <a:gd name="connsiteX538" fmla="*/ 1366834 w 1439351"/>
                    <a:gd name="connsiteY538" fmla="*/ 972188 h 1323458"/>
                    <a:gd name="connsiteX539" fmla="*/ 1365279 w 1439351"/>
                    <a:gd name="connsiteY539" fmla="*/ 971848 h 1323458"/>
                    <a:gd name="connsiteX540" fmla="*/ 1364016 w 1439351"/>
                    <a:gd name="connsiteY540" fmla="*/ 971386 h 1323458"/>
                    <a:gd name="connsiteX541" fmla="*/ 1363106 w 1439351"/>
                    <a:gd name="connsiteY541" fmla="*/ 970925 h 1323458"/>
                    <a:gd name="connsiteX542" fmla="*/ 1361381 w 1439351"/>
                    <a:gd name="connsiteY542" fmla="*/ 969832 h 1323458"/>
                    <a:gd name="connsiteX543" fmla="*/ 1360689 w 1439351"/>
                    <a:gd name="connsiteY543" fmla="*/ 969140 h 1323458"/>
                    <a:gd name="connsiteX544" fmla="*/ 1359997 w 1439351"/>
                    <a:gd name="connsiteY544" fmla="*/ 968363 h 1323458"/>
                    <a:gd name="connsiteX545" fmla="*/ 1359426 w 1439351"/>
                    <a:gd name="connsiteY545" fmla="*/ 967391 h 1323458"/>
                    <a:gd name="connsiteX546" fmla="*/ 1358965 w 1439351"/>
                    <a:gd name="connsiteY546" fmla="*/ 966335 h 1323458"/>
                    <a:gd name="connsiteX547" fmla="*/ 1358564 w 1439351"/>
                    <a:gd name="connsiteY547" fmla="*/ 965157 h 1323458"/>
                    <a:gd name="connsiteX548" fmla="*/ 1358273 w 1439351"/>
                    <a:gd name="connsiteY548" fmla="*/ 963894 h 1323458"/>
                    <a:gd name="connsiteX549" fmla="*/ 1358212 w 1439351"/>
                    <a:gd name="connsiteY549" fmla="*/ 962680 h 1323458"/>
                    <a:gd name="connsiteX550" fmla="*/ 1358273 w 1439351"/>
                    <a:gd name="connsiteY550" fmla="*/ 961599 h 1323458"/>
                    <a:gd name="connsiteX551" fmla="*/ 1358455 w 1439351"/>
                    <a:gd name="connsiteY551" fmla="*/ 960652 h 1323458"/>
                    <a:gd name="connsiteX552" fmla="*/ 1358673 w 1439351"/>
                    <a:gd name="connsiteY552" fmla="*/ 958782 h 1323458"/>
                    <a:gd name="connsiteX553" fmla="*/ 1358625 w 1439351"/>
                    <a:gd name="connsiteY553" fmla="*/ 956220 h 1323458"/>
                    <a:gd name="connsiteX554" fmla="*/ 1358212 w 1439351"/>
                    <a:gd name="connsiteY554" fmla="*/ 954896 h 1323458"/>
                    <a:gd name="connsiteX555" fmla="*/ 1352019 w 1439351"/>
                    <a:gd name="connsiteY555" fmla="*/ 951314 h 1323458"/>
                    <a:gd name="connsiteX556" fmla="*/ 1345183 w 1439351"/>
                    <a:gd name="connsiteY556" fmla="*/ 953269 h 1323458"/>
                    <a:gd name="connsiteX557" fmla="*/ 1329166 w 1439351"/>
                    <a:gd name="connsiteY557" fmla="*/ 965789 h 1323458"/>
                    <a:gd name="connsiteX558" fmla="*/ 1318881 w 1439351"/>
                    <a:gd name="connsiteY558" fmla="*/ 978903 h 1323458"/>
                    <a:gd name="connsiteX559" fmla="*/ 1314862 w 1439351"/>
                    <a:gd name="connsiteY559" fmla="*/ 982692 h 1323458"/>
                    <a:gd name="connsiteX560" fmla="*/ 1302925 w 1439351"/>
                    <a:gd name="connsiteY560" fmla="*/ 990706 h 1323458"/>
                    <a:gd name="connsiteX561" fmla="*/ 1301079 w 1439351"/>
                    <a:gd name="connsiteY561" fmla="*/ 992916 h 1323458"/>
                    <a:gd name="connsiteX562" fmla="*/ 1300339 w 1439351"/>
                    <a:gd name="connsiteY562" fmla="*/ 994664 h 1323458"/>
                    <a:gd name="connsiteX563" fmla="*/ 1297060 w 1439351"/>
                    <a:gd name="connsiteY563" fmla="*/ 997166 h 1323458"/>
                    <a:gd name="connsiteX564" fmla="*/ 1291037 w 1439351"/>
                    <a:gd name="connsiteY564" fmla="*/ 1000153 h 1323458"/>
                    <a:gd name="connsiteX565" fmla="*/ 1284079 w 1439351"/>
                    <a:gd name="connsiteY565" fmla="*/ 1002509 h 1323458"/>
                    <a:gd name="connsiteX566" fmla="*/ 1282877 w 1439351"/>
                    <a:gd name="connsiteY566" fmla="*/ 1003371 h 1323458"/>
                    <a:gd name="connsiteX567" fmla="*/ 1281845 w 1439351"/>
                    <a:gd name="connsiteY567" fmla="*/ 1005350 h 1323458"/>
                    <a:gd name="connsiteX568" fmla="*/ 1281044 w 1439351"/>
                    <a:gd name="connsiteY568" fmla="*/ 1007730 h 1323458"/>
                    <a:gd name="connsiteX569" fmla="*/ 1276053 w 1439351"/>
                    <a:gd name="connsiteY569" fmla="*/ 1011580 h 1323458"/>
                    <a:gd name="connsiteX570" fmla="*/ 1256406 w 1439351"/>
                    <a:gd name="connsiteY570" fmla="*/ 1022860 h 1323458"/>
                    <a:gd name="connsiteX571" fmla="*/ 1230517 w 1439351"/>
                    <a:gd name="connsiteY571" fmla="*/ 1037420 h 1323458"/>
                    <a:gd name="connsiteX572" fmla="*/ 1227408 w 1439351"/>
                    <a:gd name="connsiteY572" fmla="*/ 1039193 h 1323458"/>
                    <a:gd name="connsiteX573" fmla="*/ 1221446 w 1439351"/>
                    <a:gd name="connsiteY573" fmla="*/ 1043734 h 1323458"/>
                    <a:gd name="connsiteX574" fmla="*/ 1218860 w 1439351"/>
                    <a:gd name="connsiteY574" fmla="*/ 1045167 h 1323458"/>
                    <a:gd name="connsiteX575" fmla="*/ 1208757 w 1439351"/>
                    <a:gd name="connsiteY575" fmla="*/ 1049684 h 1323458"/>
                    <a:gd name="connsiteX576" fmla="*/ 1202782 w 1439351"/>
                    <a:gd name="connsiteY576" fmla="*/ 1053376 h 1323458"/>
                    <a:gd name="connsiteX577" fmla="*/ 1200475 w 1439351"/>
                    <a:gd name="connsiteY577" fmla="*/ 1055197 h 1323458"/>
                    <a:gd name="connsiteX578" fmla="*/ 1197731 w 1439351"/>
                    <a:gd name="connsiteY578" fmla="*/ 1057978 h 1323458"/>
                    <a:gd name="connsiteX579" fmla="*/ 1195594 w 1439351"/>
                    <a:gd name="connsiteY579" fmla="*/ 1060759 h 1323458"/>
                    <a:gd name="connsiteX580" fmla="*/ 1194732 w 1439351"/>
                    <a:gd name="connsiteY580" fmla="*/ 1062228 h 1323458"/>
                    <a:gd name="connsiteX581" fmla="*/ 1194052 w 1439351"/>
                    <a:gd name="connsiteY581" fmla="*/ 1063891 h 1323458"/>
                    <a:gd name="connsiteX582" fmla="*/ 1193408 w 1439351"/>
                    <a:gd name="connsiteY582" fmla="*/ 1066016 h 1323458"/>
                    <a:gd name="connsiteX583" fmla="*/ 1192558 w 1439351"/>
                    <a:gd name="connsiteY583" fmla="*/ 1071384 h 1323458"/>
                    <a:gd name="connsiteX584" fmla="*/ 1191744 w 1439351"/>
                    <a:gd name="connsiteY584" fmla="*/ 1082579 h 1323458"/>
                    <a:gd name="connsiteX585" fmla="*/ 1191283 w 1439351"/>
                    <a:gd name="connsiteY585" fmla="*/ 1084704 h 1323458"/>
                    <a:gd name="connsiteX586" fmla="*/ 1191344 w 1439351"/>
                    <a:gd name="connsiteY586" fmla="*/ 1086914 h 1323458"/>
                    <a:gd name="connsiteX587" fmla="*/ 1191975 w 1439351"/>
                    <a:gd name="connsiteY587" fmla="*/ 1088809 h 1323458"/>
                    <a:gd name="connsiteX588" fmla="*/ 1194052 w 1439351"/>
                    <a:gd name="connsiteY588" fmla="*/ 1092804 h 1323458"/>
                    <a:gd name="connsiteX589" fmla="*/ 1198241 w 1439351"/>
                    <a:gd name="connsiteY589" fmla="*/ 1098693 h 1323458"/>
                    <a:gd name="connsiteX590" fmla="*/ 1198933 w 1439351"/>
                    <a:gd name="connsiteY590" fmla="*/ 1100320 h 1323458"/>
                    <a:gd name="connsiteX591" fmla="*/ 1199042 w 1439351"/>
                    <a:gd name="connsiteY591" fmla="*/ 1100806 h 1323458"/>
                    <a:gd name="connsiteX592" fmla="*/ 1199504 w 1439351"/>
                    <a:gd name="connsiteY592" fmla="*/ 1106732 h 1323458"/>
                    <a:gd name="connsiteX593" fmla="*/ 1199322 w 1439351"/>
                    <a:gd name="connsiteY593" fmla="*/ 1114200 h 1323458"/>
                    <a:gd name="connsiteX594" fmla="*/ 1198872 w 1439351"/>
                    <a:gd name="connsiteY594" fmla="*/ 1117466 h 1323458"/>
                    <a:gd name="connsiteX595" fmla="*/ 1198132 w 1439351"/>
                    <a:gd name="connsiteY595" fmla="*/ 1119773 h 1323458"/>
                    <a:gd name="connsiteX596" fmla="*/ 1197439 w 1439351"/>
                    <a:gd name="connsiteY596" fmla="*/ 1121000 h 1323458"/>
                    <a:gd name="connsiteX597" fmla="*/ 1196857 w 1439351"/>
                    <a:gd name="connsiteY597" fmla="*/ 1122833 h 1323458"/>
                    <a:gd name="connsiteX598" fmla="*/ 1197270 w 1439351"/>
                    <a:gd name="connsiteY598" fmla="*/ 1125420 h 1323458"/>
                    <a:gd name="connsiteX599" fmla="*/ 1198290 w 1439351"/>
                    <a:gd name="connsiteY599" fmla="*/ 1127775 h 1323458"/>
                    <a:gd name="connsiteX600" fmla="*/ 1202370 w 1439351"/>
                    <a:gd name="connsiteY600" fmla="*/ 1131673 h 1323458"/>
                    <a:gd name="connsiteX601" fmla="*/ 1204215 w 1439351"/>
                    <a:gd name="connsiteY601" fmla="*/ 1132256 h 1323458"/>
                    <a:gd name="connsiteX602" fmla="*/ 1205405 w 1439351"/>
                    <a:gd name="connsiteY602" fmla="*/ 1132972 h 1323458"/>
                    <a:gd name="connsiteX603" fmla="*/ 1206510 w 1439351"/>
                    <a:gd name="connsiteY603" fmla="*/ 1134065 h 1323458"/>
                    <a:gd name="connsiteX604" fmla="*/ 1210250 w 1439351"/>
                    <a:gd name="connsiteY604" fmla="*/ 1139918 h 1323458"/>
                    <a:gd name="connsiteX605" fmla="*/ 1211853 w 1439351"/>
                    <a:gd name="connsiteY605" fmla="*/ 1141861 h 1323458"/>
                    <a:gd name="connsiteX606" fmla="*/ 1214087 w 1439351"/>
                    <a:gd name="connsiteY606" fmla="*/ 1143683 h 1323458"/>
                    <a:gd name="connsiteX607" fmla="*/ 1216553 w 1439351"/>
                    <a:gd name="connsiteY607" fmla="*/ 1145200 h 1323458"/>
                    <a:gd name="connsiteX608" fmla="*/ 1219200 w 1439351"/>
                    <a:gd name="connsiteY608" fmla="*/ 1146293 h 1323458"/>
                    <a:gd name="connsiteX609" fmla="*/ 1226146 w 1439351"/>
                    <a:gd name="connsiteY609" fmla="*/ 1147957 h 1323458"/>
                    <a:gd name="connsiteX610" fmla="*/ 1227870 w 1439351"/>
                    <a:gd name="connsiteY610" fmla="*/ 1149280 h 1323458"/>
                    <a:gd name="connsiteX611" fmla="*/ 1228902 w 1439351"/>
                    <a:gd name="connsiteY611" fmla="*/ 1151090 h 1323458"/>
                    <a:gd name="connsiteX612" fmla="*/ 1230116 w 1439351"/>
                    <a:gd name="connsiteY612" fmla="*/ 1155073 h 1323458"/>
                    <a:gd name="connsiteX613" fmla="*/ 1230456 w 1439351"/>
                    <a:gd name="connsiteY613" fmla="*/ 1157574 h 1323458"/>
                    <a:gd name="connsiteX614" fmla="*/ 1230274 w 1439351"/>
                    <a:gd name="connsiteY614" fmla="*/ 1159614 h 1323458"/>
                    <a:gd name="connsiteX615" fmla="*/ 1226777 w 1439351"/>
                    <a:gd name="connsiteY615" fmla="*/ 1165212 h 1323458"/>
                    <a:gd name="connsiteX616" fmla="*/ 1226558 w 1439351"/>
                    <a:gd name="connsiteY616" fmla="*/ 1166815 h 1323458"/>
                    <a:gd name="connsiteX617" fmla="*/ 1226838 w 1439351"/>
                    <a:gd name="connsiteY617" fmla="*/ 1168199 h 1323458"/>
                    <a:gd name="connsiteX618" fmla="*/ 1228841 w 1439351"/>
                    <a:gd name="connsiteY618" fmla="*/ 1172595 h 1323458"/>
                    <a:gd name="connsiteX619" fmla="*/ 1229242 w 1439351"/>
                    <a:gd name="connsiteY619" fmla="*/ 1174477 h 1323458"/>
                    <a:gd name="connsiteX620" fmla="*/ 1228671 w 1439351"/>
                    <a:gd name="connsiteY620" fmla="*/ 1177076 h 1323458"/>
                    <a:gd name="connsiteX621" fmla="*/ 1228270 w 1439351"/>
                    <a:gd name="connsiteY621" fmla="*/ 1181726 h 1323458"/>
                    <a:gd name="connsiteX622" fmla="*/ 1229181 w 1439351"/>
                    <a:gd name="connsiteY622" fmla="*/ 1188502 h 1323458"/>
                    <a:gd name="connsiteX623" fmla="*/ 1228841 w 1439351"/>
                    <a:gd name="connsiteY623" fmla="*/ 1194246 h 1323458"/>
                    <a:gd name="connsiteX624" fmla="*/ 1212825 w 1439351"/>
                    <a:gd name="connsiteY624" fmla="*/ 1195982 h 1323458"/>
                    <a:gd name="connsiteX625" fmla="*/ 1209728 w 1439351"/>
                    <a:gd name="connsiteY625" fmla="*/ 1197743 h 1323458"/>
                    <a:gd name="connsiteX626" fmla="*/ 1207020 w 1439351"/>
                    <a:gd name="connsiteY626" fmla="*/ 1199613 h 1323458"/>
                    <a:gd name="connsiteX627" fmla="*/ 1206049 w 1439351"/>
                    <a:gd name="connsiteY627" fmla="*/ 1200499 h 1323458"/>
                    <a:gd name="connsiteX628" fmla="*/ 1205405 w 1439351"/>
                    <a:gd name="connsiteY628" fmla="*/ 1201495 h 1323458"/>
                    <a:gd name="connsiteX629" fmla="*/ 1204956 w 1439351"/>
                    <a:gd name="connsiteY629" fmla="*/ 1202588 h 1323458"/>
                    <a:gd name="connsiteX630" fmla="*/ 1204725 w 1439351"/>
                    <a:gd name="connsiteY630" fmla="*/ 1203851 h 1323458"/>
                    <a:gd name="connsiteX631" fmla="*/ 1204665 w 1439351"/>
                    <a:gd name="connsiteY631" fmla="*/ 1205272 h 1323458"/>
                    <a:gd name="connsiteX632" fmla="*/ 1204847 w 1439351"/>
                    <a:gd name="connsiteY632" fmla="*/ 1206753 h 1323458"/>
                    <a:gd name="connsiteX633" fmla="*/ 1205357 w 1439351"/>
                    <a:gd name="connsiteY633" fmla="*/ 1208684 h 1323458"/>
                    <a:gd name="connsiteX634" fmla="*/ 1207372 w 1439351"/>
                    <a:gd name="connsiteY634" fmla="*/ 1213529 h 1323458"/>
                    <a:gd name="connsiteX635" fmla="*/ 1208575 w 1439351"/>
                    <a:gd name="connsiteY635" fmla="*/ 1215630 h 1323458"/>
                    <a:gd name="connsiteX636" fmla="*/ 1209838 w 1439351"/>
                    <a:gd name="connsiteY636" fmla="*/ 1217354 h 1323458"/>
                    <a:gd name="connsiteX637" fmla="*/ 1212533 w 1439351"/>
                    <a:gd name="connsiteY637" fmla="*/ 1220462 h 1323458"/>
                    <a:gd name="connsiteX638" fmla="*/ 1214901 w 1439351"/>
                    <a:gd name="connsiteY638" fmla="*/ 1223959 h 1323458"/>
                    <a:gd name="connsiteX639" fmla="*/ 1215581 w 1439351"/>
                    <a:gd name="connsiteY639" fmla="*/ 1225793 h 1323458"/>
                    <a:gd name="connsiteX640" fmla="*/ 1215873 w 1439351"/>
                    <a:gd name="connsiteY640" fmla="*/ 1227712 h 1323458"/>
                    <a:gd name="connsiteX641" fmla="*/ 1215411 w 1439351"/>
                    <a:gd name="connsiteY641" fmla="*/ 1229266 h 1323458"/>
                    <a:gd name="connsiteX642" fmla="*/ 1214549 w 1439351"/>
                    <a:gd name="connsiteY642" fmla="*/ 1230820 h 1323458"/>
                    <a:gd name="connsiteX643" fmla="*/ 1209607 w 1439351"/>
                    <a:gd name="connsiteY643" fmla="*/ 1237183 h 1323458"/>
                    <a:gd name="connsiteX644" fmla="*/ 1208818 w 1439351"/>
                    <a:gd name="connsiteY644" fmla="*/ 1238883 h 1323458"/>
                    <a:gd name="connsiteX645" fmla="*/ 1208635 w 1439351"/>
                    <a:gd name="connsiteY645" fmla="*/ 1240607 h 1323458"/>
                    <a:gd name="connsiteX646" fmla="*/ 1208696 w 1439351"/>
                    <a:gd name="connsiteY646" fmla="*/ 1242162 h 1323458"/>
                    <a:gd name="connsiteX647" fmla="*/ 1208635 w 1439351"/>
                    <a:gd name="connsiteY647" fmla="*/ 1244590 h 1323458"/>
                    <a:gd name="connsiteX648" fmla="*/ 1208004 w 1439351"/>
                    <a:gd name="connsiteY648" fmla="*/ 1246315 h 1323458"/>
                    <a:gd name="connsiteX649" fmla="*/ 1207202 w 1439351"/>
                    <a:gd name="connsiteY649" fmla="*/ 1247784 h 1323458"/>
                    <a:gd name="connsiteX650" fmla="*/ 1202090 w 1439351"/>
                    <a:gd name="connsiteY650" fmla="*/ 1253443 h 1323458"/>
                    <a:gd name="connsiteX651" fmla="*/ 1199504 w 1439351"/>
                    <a:gd name="connsiteY651" fmla="*/ 1257717 h 1323458"/>
                    <a:gd name="connsiteX652" fmla="*/ 1198290 w 1439351"/>
                    <a:gd name="connsiteY652" fmla="*/ 1260158 h 1323458"/>
                    <a:gd name="connsiteX653" fmla="*/ 1193930 w 1439351"/>
                    <a:gd name="connsiteY653" fmla="*/ 1271730 h 1323458"/>
                    <a:gd name="connsiteX654" fmla="*/ 1191915 w 1439351"/>
                    <a:gd name="connsiteY654" fmla="*/ 1274863 h 1323458"/>
                    <a:gd name="connsiteX655" fmla="*/ 1189802 w 1439351"/>
                    <a:gd name="connsiteY655" fmla="*/ 1280995 h 1323458"/>
                    <a:gd name="connsiteX656" fmla="*/ 1188818 w 1439351"/>
                    <a:gd name="connsiteY656" fmla="*/ 1282841 h 1323458"/>
                    <a:gd name="connsiteX657" fmla="*/ 1187324 w 1439351"/>
                    <a:gd name="connsiteY657" fmla="*/ 1284164 h 1323458"/>
                    <a:gd name="connsiteX658" fmla="*/ 1181180 w 1439351"/>
                    <a:gd name="connsiteY658" fmla="*/ 1287831 h 1323458"/>
                    <a:gd name="connsiteX659" fmla="*/ 1179468 w 1439351"/>
                    <a:gd name="connsiteY659" fmla="*/ 1290102 h 1323458"/>
                    <a:gd name="connsiteX660" fmla="*/ 1178545 w 1439351"/>
                    <a:gd name="connsiteY660" fmla="*/ 1292749 h 1323458"/>
                    <a:gd name="connsiteX661" fmla="*/ 1178205 w 1439351"/>
                    <a:gd name="connsiteY661" fmla="*/ 1298457 h 1323458"/>
                    <a:gd name="connsiteX662" fmla="*/ 1177974 w 1439351"/>
                    <a:gd name="connsiteY662" fmla="*/ 1299586 h 1323458"/>
                    <a:gd name="connsiteX663" fmla="*/ 1177404 w 1439351"/>
                    <a:gd name="connsiteY663" fmla="*/ 1300788 h 1323458"/>
                    <a:gd name="connsiteX664" fmla="*/ 1173445 w 1439351"/>
                    <a:gd name="connsiteY664" fmla="*/ 1307272 h 1323458"/>
                    <a:gd name="connsiteX665" fmla="*/ 1172231 w 1439351"/>
                    <a:gd name="connsiteY665" fmla="*/ 1308681 h 1323458"/>
                    <a:gd name="connsiteX666" fmla="*/ 1171016 w 1439351"/>
                    <a:gd name="connsiteY666" fmla="*/ 1309713 h 1323458"/>
                    <a:gd name="connsiteX667" fmla="*/ 1169414 w 1439351"/>
                    <a:gd name="connsiteY667" fmla="*/ 1310685 h 1323458"/>
                    <a:gd name="connsiteX668" fmla="*/ 1165164 w 1439351"/>
                    <a:gd name="connsiteY668" fmla="*/ 1312214 h 1323458"/>
                    <a:gd name="connsiteX669" fmla="*/ 1159991 w 1439351"/>
                    <a:gd name="connsiteY669" fmla="*/ 1313307 h 1323458"/>
                    <a:gd name="connsiteX670" fmla="*/ 1158109 w 1439351"/>
                    <a:gd name="connsiteY670" fmla="*/ 1313939 h 1323458"/>
                    <a:gd name="connsiteX671" fmla="*/ 1152535 w 1439351"/>
                    <a:gd name="connsiteY671" fmla="*/ 1316428 h 1323458"/>
                    <a:gd name="connsiteX672" fmla="*/ 1150228 w 1439351"/>
                    <a:gd name="connsiteY672" fmla="*/ 1316999 h 1323458"/>
                    <a:gd name="connsiteX673" fmla="*/ 1147362 w 1439351"/>
                    <a:gd name="connsiteY673" fmla="*/ 1317242 h 1323458"/>
                    <a:gd name="connsiteX674" fmla="*/ 1138522 w 1439351"/>
                    <a:gd name="connsiteY674" fmla="*/ 1316064 h 1323458"/>
                    <a:gd name="connsiteX675" fmla="*/ 1131686 w 1439351"/>
                    <a:gd name="connsiteY675" fmla="*/ 1315918 h 1323458"/>
                    <a:gd name="connsiteX676" fmla="*/ 1126124 w 1439351"/>
                    <a:gd name="connsiteY676" fmla="*/ 1316719 h 1323458"/>
                    <a:gd name="connsiteX677" fmla="*/ 1124048 w 1439351"/>
                    <a:gd name="connsiteY677" fmla="*/ 1316659 h 1323458"/>
                    <a:gd name="connsiteX678" fmla="*/ 1118838 w 1439351"/>
                    <a:gd name="connsiteY678" fmla="*/ 1315420 h 1323458"/>
                    <a:gd name="connsiteX679" fmla="*/ 1114285 w 1439351"/>
                    <a:gd name="connsiteY679" fmla="*/ 1313332 h 1323458"/>
                    <a:gd name="connsiteX680" fmla="*/ 1110836 w 1439351"/>
                    <a:gd name="connsiteY680" fmla="*/ 1311061 h 1323458"/>
                    <a:gd name="connsiteX681" fmla="*/ 1100624 w 1439351"/>
                    <a:gd name="connsiteY681" fmla="*/ 1301650 h 1323458"/>
                    <a:gd name="connsiteX682" fmla="*/ 1093399 w 1439351"/>
                    <a:gd name="connsiteY682" fmla="*/ 1299841 h 1323458"/>
                    <a:gd name="connsiteX683" fmla="*/ 1087534 w 1439351"/>
                    <a:gd name="connsiteY683" fmla="*/ 1291365 h 1323458"/>
                    <a:gd name="connsiteX684" fmla="*/ 1083684 w 1439351"/>
                    <a:gd name="connsiteY684" fmla="*/ 1288014 h 1323458"/>
                    <a:gd name="connsiteX685" fmla="*/ 1082191 w 1439351"/>
                    <a:gd name="connsiteY685" fmla="*/ 1287285 h 1323458"/>
                    <a:gd name="connsiteX686" fmla="*/ 1080928 w 1439351"/>
                    <a:gd name="connsiteY686" fmla="*/ 1286483 h 1323458"/>
                    <a:gd name="connsiteX687" fmla="*/ 1080588 w 1439351"/>
                    <a:gd name="connsiteY687" fmla="*/ 1285160 h 1323458"/>
                    <a:gd name="connsiteX688" fmla="*/ 1080977 w 1439351"/>
                    <a:gd name="connsiteY688" fmla="*/ 1283241 h 1323458"/>
                    <a:gd name="connsiteX689" fmla="*/ 1081730 w 1439351"/>
                    <a:gd name="connsiteY689" fmla="*/ 1280922 h 1323458"/>
                    <a:gd name="connsiteX690" fmla="*/ 1081730 w 1439351"/>
                    <a:gd name="connsiteY690" fmla="*/ 1278214 h 1323458"/>
                    <a:gd name="connsiteX691" fmla="*/ 1081219 w 1439351"/>
                    <a:gd name="connsiteY691" fmla="*/ 1276721 h 1323458"/>
                    <a:gd name="connsiteX692" fmla="*/ 1080187 w 1439351"/>
                    <a:gd name="connsiteY692" fmla="*/ 1275555 h 1323458"/>
                    <a:gd name="connsiteX693" fmla="*/ 1077832 w 1439351"/>
                    <a:gd name="connsiteY693" fmla="*/ 1274001 h 1323458"/>
                    <a:gd name="connsiteX694" fmla="*/ 1074492 w 1439351"/>
                    <a:gd name="connsiteY694" fmla="*/ 1271353 h 1323458"/>
                    <a:gd name="connsiteX695" fmla="*/ 1072027 w 1439351"/>
                    <a:gd name="connsiteY695" fmla="*/ 1268621 h 1323458"/>
                    <a:gd name="connsiteX696" fmla="*/ 1070594 w 1439351"/>
                    <a:gd name="connsiteY696" fmla="*/ 1266448 h 1323458"/>
                    <a:gd name="connsiteX697" fmla="*/ 1069562 w 1439351"/>
                    <a:gd name="connsiteY697" fmla="*/ 1263740 h 1323458"/>
                    <a:gd name="connsiteX698" fmla="*/ 1069781 w 1439351"/>
                    <a:gd name="connsiteY698" fmla="*/ 1262453 h 1323458"/>
                    <a:gd name="connsiteX699" fmla="*/ 1070813 w 1439351"/>
                    <a:gd name="connsiteY699" fmla="*/ 1261627 h 1323458"/>
                    <a:gd name="connsiteX700" fmla="*/ 1072307 w 1439351"/>
                    <a:gd name="connsiteY700" fmla="*/ 1261311 h 1323458"/>
                    <a:gd name="connsiteX701" fmla="*/ 1076168 w 1439351"/>
                    <a:gd name="connsiteY701" fmla="*/ 1260983 h 1323458"/>
                    <a:gd name="connsiteX702" fmla="*/ 1078512 w 1439351"/>
                    <a:gd name="connsiteY702" fmla="*/ 1259611 h 1323458"/>
                    <a:gd name="connsiteX703" fmla="*/ 1080649 w 1439351"/>
                    <a:gd name="connsiteY703" fmla="*/ 1257025 h 1323458"/>
                    <a:gd name="connsiteX704" fmla="*/ 1082191 w 1439351"/>
                    <a:gd name="connsiteY704" fmla="*/ 1244372 h 1323458"/>
                    <a:gd name="connsiteX705" fmla="*/ 1085239 w 1439351"/>
                    <a:gd name="connsiteY705" fmla="*/ 1239053 h 1323458"/>
                    <a:gd name="connsiteX706" fmla="*/ 1086089 w 1439351"/>
                    <a:gd name="connsiteY706" fmla="*/ 1236503 h 1323458"/>
                    <a:gd name="connsiteX707" fmla="*/ 1086611 w 1439351"/>
                    <a:gd name="connsiteY707" fmla="*/ 1233965 h 1323458"/>
                    <a:gd name="connsiteX708" fmla="*/ 1087012 w 1439351"/>
                    <a:gd name="connsiteY708" fmla="*/ 1222830 h 1323458"/>
                    <a:gd name="connsiteX709" fmla="*/ 1086332 w 1439351"/>
                    <a:gd name="connsiteY709" fmla="*/ 1220244 h 1323458"/>
                    <a:gd name="connsiteX710" fmla="*/ 1085117 w 1439351"/>
                    <a:gd name="connsiteY710" fmla="*/ 1218677 h 1323458"/>
                    <a:gd name="connsiteX711" fmla="*/ 1081912 w 1439351"/>
                    <a:gd name="connsiteY711" fmla="*/ 1217293 h 1323458"/>
                    <a:gd name="connsiteX712" fmla="*/ 1080879 w 1439351"/>
                    <a:gd name="connsiteY712" fmla="*/ 1216152 h 1323458"/>
                    <a:gd name="connsiteX713" fmla="*/ 1080588 w 1439351"/>
                    <a:gd name="connsiteY713" fmla="*/ 1214622 h 1323458"/>
                    <a:gd name="connsiteX714" fmla="*/ 1080649 w 1439351"/>
                    <a:gd name="connsiteY714" fmla="*/ 1212035 h 1323458"/>
                    <a:gd name="connsiteX715" fmla="*/ 1082470 w 1439351"/>
                    <a:gd name="connsiteY715" fmla="*/ 1202904 h 1323458"/>
                    <a:gd name="connsiteX716" fmla="*/ 1082592 w 1439351"/>
                    <a:gd name="connsiteY716" fmla="*/ 1198836 h 1323458"/>
                    <a:gd name="connsiteX717" fmla="*/ 1081098 w 1439351"/>
                    <a:gd name="connsiteY717" fmla="*/ 1194731 h 1323458"/>
                    <a:gd name="connsiteX718" fmla="*/ 1080819 w 1439351"/>
                    <a:gd name="connsiteY718" fmla="*/ 1191708 h 1323458"/>
                    <a:gd name="connsiteX719" fmla="*/ 1080928 w 1439351"/>
                    <a:gd name="connsiteY719" fmla="*/ 1189874 h 1323458"/>
                    <a:gd name="connsiteX720" fmla="*/ 1081912 w 1439351"/>
                    <a:gd name="connsiteY720" fmla="*/ 1188235 h 1323458"/>
                    <a:gd name="connsiteX721" fmla="*/ 1082883 w 1439351"/>
                    <a:gd name="connsiteY721" fmla="*/ 1187166 h 1323458"/>
                    <a:gd name="connsiteX722" fmla="*/ 1083867 w 1439351"/>
                    <a:gd name="connsiteY722" fmla="*/ 1186632 h 1323458"/>
                    <a:gd name="connsiteX723" fmla="*/ 1084947 w 1439351"/>
                    <a:gd name="connsiteY723" fmla="*/ 1186547 h 1323458"/>
                    <a:gd name="connsiteX724" fmla="*/ 1089999 w 1439351"/>
                    <a:gd name="connsiteY724" fmla="*/ 1188296 h 1323458"/>
                    <a:gd name="connsiteX725" fmla="*/ 1092646 w 1439351"/>
                    <a:gd name="connsiteY725" fmla="*/ 1188041 h 1323458"/>
                    <a:gd name="connsiteX726" fmla="*/ 1094771 w 1439351"/>
                    <a:gd name="connsiteY726" fmla="*/ 1186948 h 1323458"/>
                    <a:gd name="connsiteX727" fmla="*/ 1096495 w 1439351"/>
                    <a:gd name="connsiteY727" fmla="*/ 1184046 h 1323458"/>
                    <a:gd name="connsiteX728" fmla="*/ 1096604 w 1439351"/>
                    <a:gd name="connsiteY728" fmla="*/ 1182346 h 1323458"/>
                    <a:gd name="connsiteX729" fmla="*/ 1095973 w 1439351"/>
                    <a:gd name="connsiteY729" fmla="*/ 1180974 h 1323458"/>
                    <a:gd name="connsiteX730" fmla="*/ 1093508 w 1439351"/>
                    <a:gd name="connsiteY730" fmla="*/ 1178788 h 1323458"/>
                    <a:gd name="connsiteX731" fmla="*/ 1092233 w 1439351"/>
                    <a:gd name="connsiteY731" fmla="*/ 1176894 h 1323458"/>
                    <a:gd name="connsiteX732" fmla="*/ 1091213 w 1439351"/>
                    <a:gd name="connsiteY732" fmla="*/ 1174635 h 1323458"/>
                    <a:gd name="connsiteX733" fmla="*/ 1090108 w 1439351"/>
                    <a:gd name="connsiteY733" fmla="*/ 1169984 h 1323458"/>
                    <a:gd name="connsiteX734" fmla="*/ 1089258 w 1439351"/>
                    <a:gd name="connsiteY734" fmla="*/ 1168005 h 1323458"/>
                    <a:gd name="connsiteX735" fmla="*/ 1087983 w 1439351"/>
                    <a:gd name="connsiteY735" fmla="*/ 1166645 h 1323458"/>
                    <a:gd name="connsiteX736" fmla="*/ 1086611 w 1439351"/>
                    <a:gd name="connsiteY736" fmla="*/ 1166329 h 1323458"/>
                    <a:gd name="connsiteX737" fmla="*/ 1080406 w 1439351"/>
                    <a:gd name="connsiteY737" fmla="*/ 1165989 h 1323458"/>
                    <a:gd name="connsiteX738" fmla="*/ 1078864 w 1439351"/>
                    <a:gd name="connsiteY738" fmla="*/ 1165576 h 1323458"/>
                    <a:gd name="connsiteX739" fmla="*/ 1077540 w 1439351"/>
                    <a:gd name="connsiteY739" fmla="*/ 1164204 h 1323458"/>
                    <a:gd name="connsiteX740" fmla="*/ 1077309 w 1439351"/>
                    <a:gd name="connsiteY740" fmla="*/ 1162771 h 1323458"/>
                    <a:gd name="connsiteX741" fmla="*/ 1077722 w 1439351"/>
                    <a:gd name="connsiteY741" fmla="*/ 1158157 h 1323458"/>
                    <a:gd name="connsiteX742" fmla="*/ 1077200 w 1439351"/>
                    <a:gd name="connsiteY742" fmla="*/ 1156773 h 1323458"/>
                    <a:gd name="connsiteX743" fmla="*/ 1075986 w 1439351"/>
                    <a:gd name="connsiteY743" fmla="*/ 1156032 h 1323458"/>
                    <a:gd name="connsiteX744" fmla="*/ 1074614 w 1439351"/>
                    <a:gd name="connsiteY744" fmla="*/ 1156032 h 1323458"/>
                    <a:gd name="connsiteX745" fmla="*/ 1072999 w 1439351"/>
                    <a:gd name="connsiteY745" fmla="*/ 1156372 h 1323458"/>
                    <a:gd name="connsiteX746" fmla="*/ 1060188 w 1439351"/>
                    <a:gd name="connsiteY746" fmla="*/ 1161934 h 1323458"/>
                    <a:gd name="connsiteX747" fmla="*/ 1057844 w 1439351"/>
                    <a:gd name="connsiteY747" fmla="*/ 1162541 h 1323458"/>
                    <a:gd name="connsiteX748" fmla="*/ 1054796 w 1439351"/>
                    <a:gd name="connsiteY748" fmla="*/ 1162771 h 1323458"/>
                    <a:gd name="connsiteX749" fmla="*/ 1046126 w 1439351"/>
                    <a:gd name="connsiteY749" fmla="*/ 1161934 h 1323458"/>
                    <a:gd name="connsiteX750" fmla="*/ 1028228 w 1439351"/>
                    <a:gd name="connsiteY750" fmla="*/ 1155947 h 1323458"/>
                    <a:gd name="connsiteX751" fmla="*/ 1025981 w 1439351"/>
                    <a:gd name="connsiteY751" fmla="*/ 1156044 h 1323458"/>
                    <a:gd name="connsiteX752" fmla="*/ 1023273 w 1439351"/>
                    <a:gd name="connsiteY752" fmla="*/ 1156627 h 1323458"/>
                    <a:gd name="connsiteX753" fmla="*/ 1022812 w 1439351"/>
                    <a:gd name="connsiteY753" fmla="*/ 1158206 h 1323458"/>
                    <a:gd name="connsiteX754" fmla="*/ 1022593 w 1439351"/>
                    <a:gd name="connsiteY754" fmla="*/ 1159930 h 1323458"/>
                    <a:gd name="connsiteX755" fmla="*/ 1022593 w 1439351"/>
                    <a:gd name="connsiteY755" fmla="*/ 1161763 h 1323458"/>
                    <a:gd name="connsiteX756" fmla="*/ 1022703 w 1439351"/>
                    <a:gd name="connsiteY756" fmla="*/ 1163548 h 1323458"/>
                    <a:gd name="connsiteX757" fmla="*/ 1023383 w 1439351"/>
                    <a:gd name="connsiteY757" fmla="*/ 1166791 h 1323458"/>
                    <a:gd name="connsiteX758" fmla="*/ 1023334 w 1439351"/>
                    <a:gd name="connsiteY758" fmla="*/ 1168539 h 1323458"/>
                    <a:gd name="connsiteX759" fmla="*/ 1022642 w 1439351"/>
                    <a:gd name="connsiteY759" fmla="*/ 1170786 h 1323458"/>
                    <a:gd name="connsiteX760" fmla="*/ 1020007 w 1439351"/>
                    <a:gd name="connsiteY760" fmla="*/ 1173141 h 1323458"/>
                    <a:gd name="connsiteX761" fmla="*/ 1017299 w 1439351"/>
                    <a:gd name="connsiteY761" fmla="*/ 1173821 h 1323458"/>
                    <a:gd name="connsiteX762" fmla="*/ 1010123 w 1439351"/>
                    <a:gd name="connsiteY762" fmla="*/ 1172935 h 1323458"/>
                    <a:gd name="connsiteX763" fmla="*/ 1000772 w 1439351"/>
                    <a:gd name="connsiteY763" fmla="*/ 1173858 h 1323458"/>
                    <a:gd name="connsiteX764" fmla="*/ 999959 w 1439351"/>
                    <a:gd name="connsiteY764" fmla="*/ 1172656 h 1323458"/>
                    <a:gd name="connsiteX765" fmla="*/ 1001112 w 1439351"/>
                    <a:gd name="connsiteY765" fmla="*/ 1170956 h 1323458"/>
                    <a:gd name="connsiteX766" fmla="*/ 1004330 w 1439351"/>
                    <a:gd name="connsiteY766" fmla="*/ 1164326 h 1323458"/>
                    <a:gd name="connsiteX767" fmla="*/ 1003808 w 1439351"/>
                    <a:gd name="connsiteY767" fmla="*/ 1161569 h 1323458"/>
                    <a:gd name="connsiteX768" fmla="*/ 1003007 w 1439351"/>
                    <a:gd name="connsiteY768" fmla="*/ 1159906 h 1323458"/>
                    <a:gd name="connsiteX769" fmla="*/ 1001343 w 1439351"/>
                    <a:gd name="connsiteY769" fmla="*/ 1159031 h 1323458"/>
                    <a:gd name="connsiteX770" fmla="*/ 999801 w 1439351"/>
                    <a:gd name="connsiteY770" fmla="*/ 1158473 h 1323458"/>
                    <a:gd name="connsiteX771" fmla="*/ 998465 w 1439351"/>
                    <a:gd name="connsiteY771" fmla="*/ 1158436 h 1323458"/>
                    <a:gd name="connsiteX772" fmla="*/ 997433 w 1439351"/>
                    <a:gd name="connsiteY772" fmla="*/ 1158776 h 1323458"/>
                    <a:gd name="connsiteX773" fmla="*/ 996632 w 1439351"/>
                    <a:gd name="connsiteY773" fmla="*/ 1159323 h 1323458"/>
                    <a:gd name="connsiteX774" fmla="*/ 995830 w 1439351"/>
                    <a:gd name="connsiteY774" fmla="*/ 1159420 h 1323458"/>
                    <a:gd name="connsiteX775" fmla="*/ 994968 w 1439351"/>
                    <a:gd name="connsiteY775" fmla="*/ 1159238 h 1323458"/>
                    <a:gd name="connsiteX776" fmla="*/ 993414 w 1439351"/>
                    <a:gd name="connsiteY776" fmla="*/ 1158157 h 1323458"/>
                    <a:gd name="connsiteX777" fmla="*/ 992892 w 1439351"/>
                    <a:gd name="connsiteY777" fmla="*/ 1157234 h 1323458"/>
                    <a:gd name="connsiteX778" fmla="*/ 992612 w 1439351"/>
                    <a:gd name="connsiteY778" fmla="*/ 1155826 h 1323458"/>
                    <a:gd name="connsiteX779" fmla="*/ 993244 w 1439351"/>
                    <a:gd name="connsiteY779" fmla="*/ 1147155 h 1323458"/>
                    <a:gd name="connsiteX780" fmla="*/ 993135 w 1439351"/>
                    <a:gd name="connsiteY780" fmla="*/ 1143355 h 1323458"/>
                    <a:gd name="connsiteX781" fmla="*/ 992491 w 1439351"/>
                    <a:gd name="connsiteY781" fmla="*/ 1142153 h 1323458"/>
                    <a:gd name="connsiteX782" fmla="*/ 991520 w 1439351"/>
                    <a:gd name="connsiteY782" fmla="*/ 1142043 h 1323458"/>
                    <a:gd name="connsiteX783" fmla="*/ 990669 w 1439351"/>
                    <a:gd name="connsiteY783" fmla="*/ 1142990 h 1323458"/>
                    <a:gd name="connsiteX784" fmla="*/ 990026 w 1439351"/>
                    <a:gd name="connsiteY784" fmla="*/ 1143913 h 1323458"/>
                    <a:gd name="connsiteX785" fmla="*/ 988593 w 1439351"/>
                    <a:gd name="connsiteY785" fmla="*/ 1146609 h 1323458"/>
                    <a:gd name="connsiteX786" fmla="*/ 987840 w 1439351"/>
                    <a:gd name="connsiteY786" fmla="*/ 1147580 h 1323458"/>
                    <a:gd name="connsiteX787" fmla="*/ 986929 w 1439351"/>
                    <a:gd name="connsiteY787" fmla="*/ 1148625 h 1323458"/>
                    <a:gd name="connsiteX788" fmla="*/ 985557 w 1439351"/>
                    <a:gd name="connsiteY788" fmla="*/ 1149111 h 1323458"/>
                    <a:gd name="connsiteX789" fmla="*/ 984173 w 1439351"/>
                    <a:gd name="connsiteY789" fmla="*/ 1148904 h 1323458"/>
                    <a:gd name="connsiteX790" fmla="*/ 982169 w 1439351"/>
                    <a:gd name="connsiteY790" fmla="*/ 1147495 h 1323458"/>
                    <a:gd name="connsiteX791" fmla="*/ 981587 w 1439351"/>
                    <a:gd name="connsiteY791" fmla="*/ 1146233 h 1323458"/>
                    <a:gd name="connsiteX792" fmla="*/ 981647 w 1439351"/>
                    <a:gd name="connsiteY792" fmla="*/ 1144739 h 1323458"/>
                    <a:gd name="connsiteX793" fmla="*/ 982388 w 1439351"/>
                    <a:gd name="connsiteY793" fmla="*/ 1143282 h 1323458"/>
                    <a:gd name="connsiteX794" fmla="*/ 983080 w 1439351"/>
                    <a:gd name="connsiteY794" fmla="*/ 1141473 h 1323458"/>
                    <a:gd name="connsiteX795" fmla="*/ 983760 w 1439351"/>
                    <a:gd name="connsiteY795" fmla="*/ 1139141 h 1323458"/>
                    <a:gd name="connsiteX796" fmla="*/ 983542 w 1439351"/>
                    <a:gd name="connsiteY796" fmla="*/ 1134952 h 1323458"/>
                    <a:gd name="connsiteX797" fmla="*/ 982959 w 1439351"/>
                    <a:gd name="connsiteY797" fmla="*/ 1133021 h 1323458"/>
                    <a:gd name="connsiteX798" fmla="*/ 982267 w 1439351"/>
                    <a:gd name="connsiteY798" fmla="*/ 1131795 h 1323458"/>
                    <a:gd name="connsiteX799" fmla="*/ 981587 w 1439351"/>
                    <a:gd name="connsiteY799" fmla="*/ 1131333 h 1323458"/>
                    <a:gd name="connsiteX800" fmla="*/ 980955 w 1439351"/>
                    <a:gd name="connsiteY800" fmla="*/ 1131224 h 1323458"/>
                    <a:gd name="connsiteX801" fmla="*/ 979862 w 1439351"/>
                    <a:gd name="connsiteY801" fmla="*/ 1131625 h 1323458"/>
                    <a:gd name="connsiteX802" fmla="*/ 972224 w 1439351"/>
                    <a:gd name="connsiteY802" fmla="*/ 1137138 h 1323458"/>
                    <a:gd name="connsiteX803" fmla="*/ 970682 w 1439351"/>
                    <a:gd name="connsiteY803" fmla="*/ 1137890 h 1323458"/>
                    <a:gd name="connsiteX804" fmla="*/ 968958 w 1439351"/>
                    <a:gd name="connsiteY804" fmla="*/ 1138522 h 1323458"/>
                    <a:gd name="connsiteX805" fmla="*/ 967464 w 1439351"/>
                    <a:gd name="connsiteY805" fmla="*/ 1138850 h 1323458"/>
                    <a:gd name="connsiteX806" fmla="*/ 966080 w 1439351"/>
                    <a:gd name="connsiteY806" fmla="*/ 1138753 h 1323458"/>
                    <a:gd name="connsiteX807" fmla="*/ 965339 w 1439351"/>
                    <a:gd name="connsiteY807" fmla="*/ 1138619 h 1323458"/>
                    <a:gd name="connsiteX808" fmla="*/ 962935 w 1439351"/>
                    <a:gd name="connsiteY808" fmla="*/ 1137696 h 1323458"/>
                    <a:gd name="connsiteX809" fmla="*/ 953804 w 1439351"/>
                    <a:gd name="connsiteY809" fmla="*/ 1130544 h 1323458"/>
                    <a:gd name="connsiteX810" fmla="*/ 949371 w 1439351"/>
                    <a:gd name="connsiteY810" fmla="*/ 1128504 h 1323458"/>
                    <a:gd name="connsiteX811" fmla="*/ 947659 w 1439351"/>
                    <a:gd name="connsiteY811" fmla="*/ 1128334 h 1323458"/>
                    <a:gd name="connsiteX812" fmla="*/ 943118 w 1439351"/>
                    <a:gd name="connsiteY812" fmla="*/ 1128419 h 1323458"/>
                    <a:gd name="connsiteX813" fmla="*/ 939439 w 1439351"/>
                    <a:gd name="connsiteY813" fmla="*/ 1128018 h 1323458"/>
                    <a:gd name="connsiteX814" fmla="*/ 937374 w 1439351"/>
                    <a:gd name="connsiteY814" fmla="*/ 1127411 h 1323458"/>
                    <a:gd name="connsiteX815" fmla="*/ 934909 w 1439351"/>
                    <a:gd name="connsiteY815" fmla="*/ 1126209 h 1323458"/>
                    <a:gd name="connsiteX816" fmla="*/ 920896 w 1439351"/>
                    <a:gd name="connsiteY816" fmla="*/ 1116130 h 1323458"/>
                    <a:gd name="connsiteX817" fmla="*/ 919403 w 1439351"/>
                    <a:gd name="connsiteY817" fmla="*/ 1114442 h 1323458"/>
                    <a:gd name="connsiteX818" fmla="*/ 918528 w 1439351"/>
                    <a:gd name="connsiteY818" fmla="*/ 1113058 h 1323458"/>
                    <a:gd name="connsiteX819" fmla="*/ 918140 w 1439351"/>
                    <a:gd name="connsiteY819" fmla="*/ 1111892 h 1323458"/>
                    <a:gd name="connsiteX820" fmla="*/ 918201 w 1439351"/>
                    <a:gd name="connsiteY820" fmla="*/ 1110909 h 1323458"/>
                    <a:gd name="connsiteX821" fmla="*/ 918650 w 1439351"/>
                    <a:gd name="connsiteY821" fmla="*/ 1109622 h 1323458"/>
                    <a:gd name="connsiteX822" fmla="*/ 919463 w 1439351"/>
                    <a:gd name="connsiteY822" fmla="*/ 1108092 h 1323458"/>
                    <a:gd name="connsiteX823" fmla="*/ 919743 w 1439351"/>
                    <a:gd name="connsiteY823" fmla="*/ 1106282 h 1323458"/>
                    <a:gd name="connsiteX824" fmla="*/ 919512 w 1439351"/>
                    <a:gd name="connsiteY824" fmla="*/ 1104412 h 1323458"/>
                    <a:gd name="connsiteX825" fmla="*/ 917217 w 1439351"/>
                    <a:gd name="connsiteY825" fmla="*/ 1100939 h 1323458"/>
                    <a:gd name="connsiteX826" fmla="*/ 916877 w 1439351"/>
                    <a:gd name="connsiteY826" fmla="*/ 1100454 h 1323458"/>
                    <a:gd name="connsiteX827" fmla="*/ 916877 w 1439351"/>
                    <a:gd name="connsiteY827" fmla="*/ 1100284 h 1323458"/>
                    <a:gd name="connsiteX828" fmla="*/ 915784 w 1439351"/>
                    <a:gd name="connsiteY828" fmla="*/ 1097758 h 1323458"/>
                    <a:gd name="connsiteX829" fmla="*/ 913538 w 1439351"/>
                    <a:gd name="connsiteY829" fmla="*/ 1095050 h 1323458"/>
                    <a:gd name="connsiteX830" fmla="*/ 911473 w 1439351"/>
                    <a:gd name="connsiteY830" fmla="*/ 1093909 h 1323458"/>
                    <a:gd name="connsiteX831" fmla="*/ 908887 w 1439351"/>
                    <a:gd name="connsiteY831" fmla="*/ 1093338 h 1323458"/>
                    <a:gd name="connsiteX832" fmla="*/ 907175 w 1439351"/>
                    <a:gd name="connsiteY832" fmla="*/ 1093399 h 1323458"/>
                    <a:gd name="connsiteX833" fmla="*/ 905681 w 1439351"/>
                    <a:gd name="connsiteY833" fmla="*/ 1093593 h 1323458"/>
                    <a:gd name="connsiteX834" fmla="*/ 904345 w 1439351"/>
                    <a:gd name="connsiteY834" fmla="*/ 1094079 h 1323458"/>
                    <a:gd name="connsiteX835" fmla="*/ 901419 w 1439351"/>
                    <a:gd name="connsiteY835" fmla="*/ 1095694 h 1323458"/>
                    <a:gd name="connsiteX836" fmla="*/ 899257 w 1439351"/>
                    <a:gd name="connsiteY836" fmla="*/ 1096350 h 1323458"/>
                    <a:gd name="connsiteX837" fmla="*/ 896768 w 1439351"/>
                    <a:gd name="connsiteY837" fmla="*/ 1096374 h 1323458"/>
                    <a:gd name="connsiteX838" fmla="*/ 893393 w 1439351"/>
                    <a:gd name="connsiteY838" fmla="*/ 1095548 h 1323458"/>
                    <a:gd name="connsiteX839" fmla="*/ 891899 w 1439351"/>
                    <a:gd name="connsiteY839" fmla="*/ 1094516 h 1323458"/>
                    <a:gd name="connsiteX840" fmla="*/ 890915 w 1439351"/>
                    <a:gd name="connsiteY840" fmla="*/ 1092876 h 1323458"/>
                    <a:gd name="connsiteX841" fmla="*/ 890575 w 1439351"/>
                    <a:gd name="connsiteY841" fmla="*/ 1090667 h 1323458"/>
                    <a:gd name="connsiteX842" fmla="*/ 889652 w 1439351"/>
                    <a:gd name="connsiteY842" fmla="*/ 1088396 h 1323458"/>
                    <a:gd name="connsiteX843" fmla="*/ 888341 w 1439351"/>
                    <a:gd name="connsiteY843" fmla="*/ 1087449 h 1323458"/>
                    <a:gd name="connsiteX844" fmla="*/ 880351 w 1439351"/>
                    <a:gd name="connsiteY844" fmla="*/ 1087594 h 1323458"/>
                    <a:gd name="connsiteX845" fmla="*/ 872774 w 1439351"/>
                    <a:gd name="connsiteY845" fmla="*/ 1085639 h 1323458"/>
                    <a:gd name="connsiteX846" fmla="*/ 868062 w 1439351"/>
                    <a:gd name="connsiteY846" fmla="*/ 1085239 h 1323458"/>
                    <a:gd name="connsiteX847" fmla="*/ 865354 w 1439351"/>
                    <a:gd name="connsiteY847" fmla="*/ 1084583 h 1323458"/>
                    <a:gd name="connsiteX848" fmla="*/ 863982 w 1439351"/>
                    <a:gd name="connsiteY848" fmla="*/ 1083599 h 1323458"/>
                    <a:gd name="connsiteX849" fmla="*/ 863181 w 1439351"/>
                    <a:gd name="connsiteY849" fmla="*/ 1082203 h 1323458"/>
                    <a:gd name="connsiteX850" fmla="*/ 863181 w 1439351"/>
                    <a:gd name="connsiteY850" fmla="*/ 1080879 h 1323458"/>
                    <a:gd name="connsiteX851" fmla="*/ 863472 w 1439351"/>
                    <a:gd name="connsiteY851" fmla="*/ 1079835 h 1323458"/>
                    <a:gd name="connsiteX852" fmla="*/ 864104 w 1439351"/>
                    <a:gd name="connsiteY852" fmla="*/ 1078839 h 1323458"/>
                    <a:gd name="connsiteX853" fmla="*/ 864504 w 1439351"/>
                    <a:gd name="connsiteY853" fmla="*/ 1078147 h 1323458"/>
                    <a:gd name="connsiteX854" fmla="*/ 864383 w 1439351"/>
                    <a:gd name="connsiteY854" fmla="*/ 1077200 h 1323458"/>
                    <a:gd name="connsiteX855" fmla="*/ 863703 w 1439351"/>
                    <a:gd name="connsiteY855" fmla="*/ 1075767 h 1323458"/>
                    <a:gd name="connsiteX856" fmla="*/ 862039 w 1439351"/>
                    <a:gd name="connsiteY856" fmla="*/ 1073618 h 1323458"/>
                    <a:gd name="connsiteX857" fmla="*/ 861238 w 1439351"/>
                    <a:gd name="connsiteY857" fmla="*/ 1071918 h 1323458"/>
                    <a:gd name="connsiteX858" fmla="*/ 860364 w 1439351"/>
                    <a:gd name="connsiteY858" fmla="*/ 1066320 h 1323458"/>
                    <a:gd name="connsiteX859" fmla="*/ 856284 w 1439351"/>
                    <a:gd name="connsiteY859" fmla="*/ 1060576 h 1323458"/>
                    <a:gd name="connsiteX860" fmla="*/ 838956 w 1439351"/>
                    <a:gd name="connsiteY860" fmla="*/ 1065604 h 1323458"/>
                    <a:gd name="connsiteX861" fmla="*/ 835398 w 1439351"/>
                    <a:gd name="connsiteY861" fmla="*/ 1067559 h 1323458"/>
                    <a:gd name="connsiteX862" fmla="*/ 835969 w 1439351"/>
                    <a:gd name="connsiteY862" fmla="*/ 1068360 h 1323458"/>
                    <a:gd name="connsiteX863" fmla="*/ 836891 w 1439351"/>
                    <a:gd name="connsiteY863" fmla="*/ 1069246 h 1323458"/>
                    <a:gd name="connsiteX864" fmla="*/ 842283 w 1439351"/>
                    <a:gd name="connsiteY864" fmla="*/ 1072488 h 1323458"/>
                    <a:gd name="connsiteX865" fmla="*/ 843376 w 1439351"/>
                    <a:gd name="connsiteY865" fmla="*/ 1073751 h 1323458"/>
                    <a:gd name="connsiteX866" fmla="*/ 843594 w 1439351"/>
                    <a:gd name="connsiteY866" fmla="*/ 1075136 h 1323458"/>
                    <a:gd name="connsiteX867" fmla="*/ 842914 w 1439351"/>
                    <a:gd name="connsiteY867" fmla="*/ 1077030 h 1323458"/>
                    <a:gd name="connsiteX868" fmla="*/ 841311 w 1439351"/>
                    <a:gd name="connsiteY868" fmla="*/ 1078232 h 1323458"/>
                    <a:gd name="connsiteX869" fmla="*/ 839174 w 1439351"/>
                    <a:gd name="connsiteY869" fmla="*/ 1079046 h 1323458"/>
                    <a:gd name="connsiteX870" fmla="*/ 834074 w 1439351"/>
                    <a:gd name="connsiteY870" fmla="*/ 1079702 h 1323458"/>
                    <a:gd name="connsiteX871" fmla="*/ 829023 w 1439351"/>
                    <a:gd name="connsiteY871" fmla="*/ 1079471 h 1323458"/>
                    <a:gd name="connsiteX872" fmla="*/ 826728 w 1439351"/>
                    <a:gd name="connsiteY872" fmla="*/ 1078949 h 1323458"/>
                    <a:gd name="connsiteX873" fmla="*/ 824931 w 1439351"/>
                    <a:gd name="connsiteY873" fmla="*/ 1078171 h 1323458"/>
                    <a:gd name="connsiteX874" fmla="*/ 824190 w 1439351"/>
                    <a:gd name="connsiteY874" fmla="*/ 1077346 h 1323458"/>
                    <a:gd name="connsiteX875" fmla="*/ 824020 w 1439351"/>
                    <a:gd name="connsiteY875" fmla="*/ 1076277 h 1323458"/>
                    <a:gd name="connsiteX876" fmla="*/ 824311 w 1439351"/>
                    <a:gd name="connsiteY876" fmla="*/ 1074820 h 1323458"/>
                    <a:gd name="connsiteX877" fmla="*/ 825113 w 1439351"/>
                    <a:gd name="connsiteY877" fmla="*/ 1072294 h 1323458"/>
                    <a:gd name="connsiteX878" fmla="*/ 825295 w 1439351"/>
                    <a:gd name="connsiteY878" fmla="*/ 1071639 h 1323458"/>
                    <a:gd name="connsiteX879" fmla="*/ 825173 w 1439351"/>
                    <a:gd name="connsiteY879" fmla="*/ 1070764 h 1323458"/>
                    <a:gd name="connsiteX880" fmla="*/ 824542 w 1439351"/>
                    <a:gd name="connsiteY880" fmla="*/ 1069878 h 1323458"/>
                    <a:gd name="connsiteX881" fmla="*/ 823218 w 1439351"/>
                    <a:gd name="connsiteY881" fmla="*/ 1069137 h 1323458"/>
                    <a:gd name="connsiteX882" fmla="*/ 818968 w 1439351"/>
                    <a:gd name="connsiteY882" fmla="*/ 1067874 h 1323458"/>
                    <a:gd name="connsiteX883" fmla="*/ 816613 w 1439351"/>
                    <a:gd name="connsiteY883" fmla="*/ 1066915 h 1323458"/>
                    <a:gd name="connsiteX884" fmla="*/ 813577 w 1439351"/>
                    <a:gd name="connsiteY884" fmla="*/ 1066138 h 1323458"/>
                    <a:gd name="connsiteX885" fmla="*/ 811270 w 1439351"/>
                    <a:gd name="connsiteY885" fmla="*/ 1066551 h 1323458"/>
                    <a:gd name="connsiteX886" fmla="*/ 808343 w 1439351"/>
                    <a:gd name="connsiteY886" fmla="*/ 1067607 h 1323458"/>
                    <a:gd name="connsiteX887" fmla="*/ 806000 w 1439351"/>
                    <a:gd name="connsiteY887" fmla="*/ 1067607 h 1323458"/>
                    <a:gd name="connsiteX888" fmla="*/ 803814 w 1439351"/>
                    <a:gd name="connsiteY888" fmla="*/ 1066866 h 1323458"/>
                    <a:gd name="connsiteX889" fmla="*/ 801228 w 1439351"/>
                    <a:gd name="connsiteY889" fmla="*/ 1066636 h 1323458"/>
                    <a:gd name="connsiteX890" fmla="*/ 799965 w 1439351"/>
                    <a:gd name="connsiteY890" fmla="*/ 1067522 h 1323458"/>
                    <a:gd name="connsiteX891" fmla="*/ 799503 w 1439351"/>
                    <a:gd name="connsiteY891" fmla="*/ 1069246 h 1323458"/>
                    <a:gd name="connsiteX892" fmla="*/ 800827 w 1439351"/>
                    <a:gd name="connsiteY892" fmla="*/ 1075391 h 1323458"/>
                    <a:gd name="connsiteX893" fmla="*/ 800888 w 1439351"/>
                    <a:gd name="connsiteY893" fmla="*/ 1077491 h 1323458"/>
                    <a:gd name="connsiteX894" fmla="*/ 800705 w 1439351"/>
                    <a:gd name="connsiteY894" fmla="*/ 1079580 h 1323458"/>
                    <a:gd name="connsiteX895" fmla="*/ 800426 w 1439351"/>
                    <a:gd name="connsiteY895" fmla="*/ 1080904 h 1323458"/>
                    <a:gd name="connsiteX896" fmla="*/ 799795 w 1439351"/>
                    <a:gd name="connsiteY896" fmla="*/ 1082689 h 1323458"/>
                    <a:gd name="connsiteX897" fmla="*/ 797318 w 1439351"/>
                    <a:gd name="connsiteY897" fmla="*/ 1086793 h 1323458"/>
                    <a:gd name="connsiteX898" fmla="*/ 794282 w 1439351"/>
                    <a:gd name="connsiteY898" fmla="*/ 1090642 h 1323458"/>
                    <a:gd name="connsiteX899" fmla="*/ 789461 w 1439351"/>
                    <a:gd name="connsiteY899" fmla="*/ 1095463 h 1323458"/>
                    <a:gd name="connsiteX900" fmla="*/ 788830 w 1439351"/>
                    <a:gd name="connsiteY900" fmla="*/ 1096726 h 1323458"/>
                    <a:gd name="connsiteX901" fmla="*/ 788368 w 1439351"/>
                    <a:gd name="connsiteY901" fmla="*/ 1098268 h 1323458"/>
                    <a:gd name="connsiteX902" fmla="*/ 788137 w 1439351"/>
                    <a:gd name="connsiteY902" fmla="*/ 1100223 h 1323458"/>
                    <a:gd name="connsiteX903" fmla="*/ 788137 w 1439351"/>
                    <a:gd name="connsiteY903" fmla="*/ 1100405 h 1323458"/>
                    <a:gd name="connsiteX904" fmla="*/ 788186 w 1439351"/>
                    <a:gd name="connsiteY904" fmla="*/ 1100599 h 1323458"/>
                    <a:gd name="connsiteX905" fmla="*/ 788890 w 1439351"/>
                    <a:gd name="connsiteY905" fmla="*/ 1101753 h 1323458"/>
                    <a:gd name="connsiteX906" fmla="*/ 789631 w 1439351"/>
                    <a:gd name="connsiteY906" fmla="*/ 1103380 h 1323458"/>
                    <a:gd name="connsiteX907" fmla="*/ 789971 w 1439351"/>
                    <a:gd name="connsiteY907" fmla="*/ 1104412 h 1323458"/>
                    <a:gd name="connsiteX908" fmla="*/ 790262 w 1439351"/>
                    <a:gd name="connsiteY908" fmla="*/ 1105882 h 1323458"/>
                    <a:gd name="connsiteX909" fmla="*/ 790202 w 1439351"/>
                    <a:gd name="connsiteY909" fmla="*/ 1107205 h 1323458"/>
                    <a:gd name="connsiteX910" fmla="*/ 789631 w 1439351"/>
                    <a:gd name="connsiteY910" fmla="*/ 1108844 h 1323458"/>
                    <a:gd name="connsiteX911" fmla="*/ 788477 w 1439351"/>
                    <a:gd name="connsiteY911" fmla="*/ 1109707 h 1323458"/>
                    <a:gd name="connsiteX912" fmla="*/ 787555 w 1439351"/>
                    <a:gd name="connsiteY912" fmla="*/ 1110107 h 1323458"/>
                    <a:gd name="connsiteX913" fmla="*/ 783426 w 1439351"/>
                    <a:gd name="connsiteY913" fmla="*/ 1110277 h 1323458"/>
                    <a:gd name="connsiteX914" fmla="*/ 781362 w 1439351"/>
                    <a:gd name="connsiteY914" fmla="*/ 1110702 h 1323458"/>
                    <a:gd name="connsiteX915" fmla="*/ 780208 w 1439351"/>
                    <a:gd name="connsiteY915" fmla="*/ 1111370 h 1323458"/>
                    <a:gd name="connsiteX916" fmla="*/ 778945 w 1439351"/>
                    <a:gd name="connsiteY916" fmla="*/ 1112633 h 1323458"/>
                    <a:gd name="connsiteX917" fmla="*/ 774003 w 1439351"/>
                    <a:gd name="connsiteY917" fmla="*/ 1118717 h 1323458"/>
                    <a:gd name="connsiteX918" fmla="*/ 768502 w 1439351"/>
                    <a:gd name="connsiteY918" fmla="*/ 1116191 h 1323458"/>
                    <a:gd name="connsiteX919" fmla="*/ 761435 w 1439351"/>
                    <a:gd name="connsiteY919" fmla="*/ 1109877 h 1323458"/>
                    <a:gd name="connsiteX920" fmla="*/ 758387 w 1439351"/>
                    <a:gd name="connsiteY920" fmla="*/ 1107982 h 1323458"/>
                    <a:gd name="connsiteX921" fmla="*/ 756505 w 1439351"/>
                    <a:gd name="connsiteY921" fmla="*/ 1107169 h 1323458"/>
                    <a:gd name="connsiteX922" fmla="*/ 755412 w 1439351"/>
                    <a:gd name="connsiteY922" fmla="*/ 1107315 h 1323458"/>
                    <a:gd name="connsiteX923" fmla="*/ 750422 w 1439351"/>
                    <a:gd name="connsiteY923" fmla="*/ 1109270 h 1323458"/>
                    <a:gd name="connsiteX924" fmla="*/ 748175 w 1439351"/>
                    <a:gd name="connsiteY924" fmla="*/ 1109792 h 1323458"/>
                    <a:gd name="connsiteX925" fmla="*/ 745066 w 1439351"/>
                    <a:gd name="connsiteY925" fmla="*/ 1109816 h 1323458"/>
                    <a:gd name="connsiteX926" fmla="*/ 742941 w 1439351"/>
                    <a:gd name="connsiteY926" fmla="*/ 1109039 h 1323458"/>
                    <a:gd name="connsiteX927" fmla="*/ 741509 w 1439351"/>
                    <a:gd name="connsiteY927" fmla="*/ 1108007 h 1323458"/>
                    <a:gd name="connsiteX928" fmla="*/ 739736 w 1439351"/>
                    <a:gd name="connsiteY928" fmla="*/ 1105566 h 1323458"/>
                    <a:gd name="connsiteX929" fmla="*/ 738242 w 1439351"/>
                    <a:gd name="connsiteY929" fmla="*/ 1104194 h 1323458"/>
                    <a:gd name="connsiteX930" fmla="*/ 736919 w 1439351"/>
                    <a:gd name="connsiteY930" fmla="*/ 1103696 h 1323458"/>
                    <a:gd name="connsiteX931" fmla="*/ 735534 w 1439351"/>
                    <a:gd name="connsiteY931" fmla="*/ 1103635 h 1323458"/>
                    <a:gd name="connsiteX932" fmla="*/ 725674 w 1439351"/>
                    <a:gd name="connsiteY932" fmla="*/ 1106343 h 1323458"/>
                    <a:gd name="connsiteX933" fmla="*/ 724338 w 1439351"/>
                    <a:gd name="connsiteY933" fmla="*/ 1106537 h 1323458"/>
                    <a:gd name="connsiteX934" fmla="*/ 719069 w 1439351"/>
                    <a:gd name="connsiteY934" fmla="*/ 1106683 h 1323458"/>
                    <a:gd name="connsiteX935" fmla="*/ 714114 w 1439351"/>
                    <a:gd name="connsiteY935" fmla="*/ 1106173 h 1323458"/>
                    <a:gd name="connsiteX936" fmla="*/ 711941 w 1439351"/>
                    <a:gd name="connsiteY936" fmla="*/ 1105056 h 1323458"/>
                    <a:gd name="connsiteX937" fmla="*/ 710909 w 1439351"/>
                    <a:gd name="connsiteY937" fmla="*/ 1103817 h 1323458"/>
                    <a:gd name="connsiteX938" fmla="*/ 710969 w 1439351"/>
                    <a:gd name="connsiteY938" fmla="*/ 1102263 h 1323458"/>
                    <a:gd name="connsiteX939" fmla="*/ 711431 w 1439351"/>
                    <a:gd name="connsiteY939" fmla="*/ 1100636 h 1323458"/>
                    <a:gd name="connsiteX940" fmla="*/ 711540 w 1439351"/>
                    <a:gd name="connsiteY940" fmla="*/ 1100454 h 1323458"/>
                    <a:gd name="connsiteX941" fmla="*/ 713653 w 1439351"/>
                    <a:gd name="connsiteY941" fmla="*/ 1098329 h 1323458"/>
                    <a:gd name="connsiteX942" fmla="*/ 714928 w 1439351"/>
                    <a:gd name="connsiteY942" fmla="*/ 1096726 h 1323458"/>
                    <a:gd name="connsiteX943" fmla="*/ 715559 w 1439351"/>
                    <a:gd name="connsiteY943" fmla="*/ 1095572 h 1323458"/>
                    <a:gd name="connsiteX944" fmla="*/ 716300 w 1439351"/>
                    <a:gd name="connsiteY944" fmla="*/ 1093969 h 1323458"/>
                    <a:gd name="connsiteX945" fmla="*/ 716531 w 1439351"/>
                    <a:gd name="connsiteY945" fmla="*/ 1092585 h 1323458"/>
                    <a:gd name="connsiteX946" fmla="*/ 716640 w 1439351"/>
                    <a:gd name="connsiteY946" fmla="*/ 1090351 h 1323458"/>
                    <a:gd name="connsiteX947" fmla="*/ 716931 w 1439351"/>
                    <a:gd name="connsiteY947" fmla="*/ 1089428 h 1323458"/>
                    <a:gd name="connsiteX948" fmla="*/ 717271 w 1439351"/>
                    <a:gd name="connsiteY948" fmla="*/ 1088517 h 1323458"/>
                    <a:gd name="connsiteX949" fmla="*/ 718024 w 1439351"/>
                    <a:gd name="connsiteY949" fmla="*/ 1087449 h 1323458"/>
                    <a:gd name="connsiteX950" fmla="*/ 718886 w 1439351"/>
                    <a:gd name="connsiteY950" fmla="*/ 1086502 h 1323458"/>
                    <a:gd name="connsiteX951" fmla="*/ 722214 w 1439351"/>
                    <a:gd name="connsiteY951" fmla="*/ 1083830 h 1323458"/>
                    <a:gd name="connsiteX952" fmla="*/ 722675 w 1439351"/>
                    <a:gd name="connsiteY952" fmla="*/ 1083029 h 1323458"/>
                    <a:gd name="connsiteX953" fmla="*/ 723246 w 1439351"/>
                    <a:gd name="connsiteY953" fmla="*/ 1077309 h 1323458"/>
                    <a:gd name="connsiteX954" fmla="*/ 723707 w 1439351"/>
                    <a:gd name="connsiteY954" fmla="*/ 1075536 h 1323458"/>
                    <a:gd name="connsiteX955" fmla="*/ 729171 w 1439351"/>
                    <a:gd name="connsiteY955" fmla="*/ 1063017 h 1323458"/>
                    <a:gd name="connsiteX956" fmla="*/ 729281 w 1439351"/>
                    <a:gd name="connsiteY956" fmla="*/ 1060406 h 1323458"/>
                    <a:gd name="connsiteX957" fmla="*/ 728649 w 1439351"/>
                    <a:gd name="connsiteY957" fmla="*/ 1058937 h 1323458"/>
                    <a:gd name="connsiteX958" fmla="*/ 727156 w 1439351"/>
                    <a:gd name="connsiteY958" fmla="*/ 1057735 h 1323458"/>
                    <a:gd name="connsiteX959" fmla="*/ 726184 w 1439351"/>
                    <a:gd name="connsiteY959" fmla="*/ 1057298 h 1323458"/>
                    <a:gd name="connsiteX960" fmla="*/ 724739 w 1439351"/>
                    <a:gd name="connsiteY960" fmla="*/ 1056994 h 1323458"/>
                    <a:gd name="connsiteX961" fmla="*/ 723489 w 1439351"/>
                    <a:gd name="connsiteY961" fmla="*/ 1056958 h 1323458"/>
                    <a:gd name="connsiteX962" fmla="*/ 721813 w 1439351"/>
                    <a:gd name="connsiteY962" fmla="*/ 1057188 h 1323458"/>
                    <a:gd name="connsiteX963" fmla="*/ 720319 w 1439351"/>
                    <a:gd name="connsiteY963" fmla="*/ 1057674 h 1323458"/>
                    <a:gd name="connsiteX964" fmla="*/ 719226 w 1439351"/>
                    <a:gd name="connsiteY964" fmla="*/ 1058111 h 1323458"/>
                    <a:gd name="connsiteX965" fmla="*/ 718486 w 1439351"/>
                    <a:gd name="connsiteY965" fmla="*/ 1058561 h 1323458"/>
                    <a:gd name="connsiteX966" fmla="*/ 717854 w 1439351"/>
                    <a:gd name="connsiteY966" fmla="*/ 1059228 h 1323458"/>
                    <a:gd name="connsiteX967" fmla="*/ 717393 w 1439351"/>
                    <a:gd name="connsiteY967" fmla="*/ 1059981 h 1323458"/>
                    <a:gd name="connsiteX968" fmla="*/ 716992 w 1439351"/>
                    <a:gd name="connsiteY968" fmla="*/ 1060953 h 1323458"/>
                    <a:gd name="connsiteX969" fmla="*/ 715778 w 1439351"/>
                    <a:gd name="connsiteY969" fmla="*/ 1065688 h 1323458"/>
                    <a:gd name="connsiteX970" fmla="*/ 715037 w 1439351"/>
                    <a:gd name="connsiteY970" fmla="*/ 1066891 h 1323458"/>
                    <a:gd name="connsiteX971" fmla="*/ 713896 w 1439351"/>
                    <a:gd name="connsiteY971" fmla="*/ 1067899 h 1323458"/>
                    <a:gd name="connsiteX972" fmla="*/ 712402 w 1439351"/>
                    <a:gd name="connsiteY972" fmla="*/ 1068530 h 1323458"/>
                    <a:gd name="connsiteX973" fmla="*/ 710787 w 1439351"/>
                    <a:gd name="connsiteY973" fmla="*/ 1068846 h 1323458"/>
                    <a:gd name="connsiteX974" fmla="*/ 696835 w 1439351"/>
                    <a:gd name="connsiteY974" fmla="*/ 1069283 h 1323458"/>
                    <a:gd name="connsiteX975" fmla="*/ 694880 w 1439351"/>
                    <a:gd name="connsiteY975" fmla="*/ 1069623 h 1323458"/>
                    <a:gd name="connsiteX976" fmla="*/ 693738 w 1439351"/>
                    <a:gd name="connsiteY976" fmla="*/ 1070084 h 1323458"/>
                    <a:gd name="connsiteX977" fmla="*/ 693046 w 1439351"/>
                    <a:gd name="connsiteY977" fmla="*/ 1070594 h 1323458"/>
                    <a:gd name="connsiteX978" fmla="*/ 692925 w 1439351"/>
                    <a:gd name="connsiteY978" fmla="*/ 1071286 h 1323458"/>
                    <a:gd name="connsiteX979" fmla="*/ 693386 w 1439351"/>
                    <a:gd name="connsiteY979" fmla="*/ 1072027 h 1323458"/>
                    <a:gd name="connsiteX980" fmla="*/ 694321 w 1439351"/>
                    <a:gd name="connsiteY980" fmla="*/ 1072780 h 1323458"/>
                    <a:gd name="connsiteX981" fmla="*/ 702578 w 1439351"/>
                    <a:gd name="connsiteY981" fmla="*/ 1078087 h 1323458"/>
                    <a:gd name="connsiteX982" fmla="*/ 704181 w 1439351"/>
                    <a:gd name="connsiteY982" fmla="*/ 1079665 h 1323458"/>
                    <a:gd name="connsiteX983" fmla="*/ 704825 w 1439351"/>
                    <a:gd name="connsiteY983" fmla="*/ 1081426 h 1323458"/>
                    <a:gd name="connsiteX984" fmla="*/ 704303 w 1439351"/>
                    <a:gd name="connsiteY984" fmla="*/ 1082944 h 1323458"/>
                    <a:gd name="connsiteX985" fmla="*/ 702688 w 1439351"/>
                    <a:gd name="connsiteY985" fmla="*/ 1084122 h 1323458"/>
                    <a:gd name="connsiteX986" fmla="*/ 700806 w 1439351"/>
                    <a:gd name="connsiteY986" fmla="*/ 1084474 h 1323458"/>
                    <a:gd name="connsiteX987" fmla="*/ 696725 w 1439351"/>
                    <a:gd name="connsiteY987" fmla="*/ 1084547 h 1323458"/>
                    <a:gd name="connsiteX988" fmla="*/ 694770 w 1439351"/>
                    <a:gd name="connsiteY988" fmla="*/ 1084959 h 1323458"/>
                    <a:gd name="connsiteX989" fmla="*/ 691322 w 1439351"/>
                    <a:gd name="connsiteY989" fmla="*/ 1086125 h 1323458"/>
                    <a:gd name="connsiteX990" fmla="*/ 689427 w 1439351"/>
                    <a:gd name="connsiteY990" fmla="*/ 1086477 h 1323458"/>
                    <a:gd name="connsiteX991" fmla="*/ 687873 w 1439351"/>
                    <a:gd name="connsiteY991" fmla="*/ 1085809 h 1323458"/>
                    <a:gd name="connsiteX992" fmla="*/ 686380 w 1439351"/>
                    <a:gd name="connsiteY992" fmla="*/ 1084814 h 1323458"/>
                    <a:gd name="connsiteX993" fmla="*/ 681680 w 1439351"/>
                    <a:gd name="connsiteY993" fmla="*/ 1080248 h 1323458"/>
                    <a:gd name="connsiteX994" fmla="*/ 680527 w 1439351"/>
                    <a:gd name="connsiteY994" fmla="*/ 1078524 h 1323458"/>
                    <a:gd name="connsiteX995" fmla="*/ 679616 w 1439351"/>
                    <a:gd name="connsiteY995" fmla="*/ 1076678 h 1323458"/>
                    <a:gd name="connsiteX996" fmla="*/ 678001 w 1439351"/>
                    <a:gd name="connsiteY996" fmla="*/ 1072695 h 1323458"/>
                    <a:gd name="connsiteX997" fmla="*/ 676738 w 1439351"/>
                    <a:gd name="connsiteY997" fmla="*/ 1070946 h 1323458"/>
                    <a:gd name="connsiteX998" fmla="*/ 675597 w 1439351"/>
                    <a:gd name="connsiteY998" fmla="*/ 1070218 h 1323458"/>
                    <a:gd name="connsiteX999" fmla="*/ 673921 w 1439351"/>
                    <a:gd name="connsiteY999" fmla="*/ 1070024 h 1323458"/>
                    <a:gd name="connsiteX1000" fmla="*/ 672828 w 1439351"/>
                    <a:gd name="connsiteY1000" fmla="*/ 1070339 h 1323458"/>
                    <a:gd name="connsiteX1001" fmla="*/ 671687 w 1439351"/>
                    <a:gd name="connsiteY1001" fmla="*/ 1071056 h 1323458"/>
                    <a:gd name="connsiteX1002" fmla="*/ 671395 w 1439351"/>
                    <a:gd name="connsiteY1002" fmla="*/ 1072064 h 1323458"/>
                    <a:gd name="connsiteX1003" fmla="*/ 671517 w 1439351"/>
                    <a:gd name="connsiteY1003" fmla="*/ 1073521 h 1323458"/>
                    <a:gd name="connsiteX1004" fmla="*/ 671917 w 1439351"/>
                    <a:gd name="connsiteY1004" fmla="*/ 1075330 h 1323458"/>
                    <a:gd name="connsiteX1005" fmla="*/ 672039 w 1439351"/>
                    <a:gd name="connsiteY1005" fmla="*/ 1077030 h 1323458"/>
                    <a:gd name="connsiteX1006" fmla="*/ 671517 w 1439351"/>
                    <a:gd name="connsiteY1006" fmla="*/ 1078269 h 1323458"/>
                    <a:gd name="connsiteX1007" fmla="*/ 670545 w 1439351"/>
                    <a:gd name="connsiteY1007" fmla="*/ 1079009 h 1323458"/>
                    <a:gd name="connsiteX1008" fmla="*/ 669088 w 1439351"/>
                    <a:gd name="connsiteY1008" fmla="*/ 1079434 h 1323458"/>
                    <a:gd name="connsiteX1009" fmla="*/ 667497 w 1439351"/>
                    <a:gd name="connsiteY1009" fmla="*/ 1079702 h 1323458"/>
                    <a:gd name="connsiteX1010" fmla="*/ 665712 w 1439351"/>
                    <a:gd name="connsiteY1010" fmla="*/ 1079762 h 1323458"/>
                    <a:gd name="connsiteX1011" fmla="*/ 659629 w 1439351"/>
                    <a:gd name="connsiteY1011" fmla="*/ 1078754 h 1323458"/>
                    <a:gd name="connsiteX1012" fmla="*/ 656642 w 1439351"/>
                    <a:gd name="connsiteY1012" fmla="*/ 1077309 h 1323458"/>
                    <a:gd name="connsiteX1013" fmla="*/ 654869 w 1439351"/>
                    <a:gd name="connsiteY1013" fmla="*/ 1076945 h 1323458"/>
                    <a:gd name="connsiteX1014" fmla="*/ 654055 w 1439351"/>
                    <a:gd name="connsiteY1014" fmla="*/ 1077115 h 1323458"/>
                    <a:gd name="connsiteX1015" fmla="*/ 653837 w 1439351"/>
                    <a:gd name="connsiteY1015" fmla="*/ 1077747 h 1323458"/>
                    <a:gd name="connsiteX1016" fmla="*/ 653885 w 1439351"/>
                    <a:gd name="connsiteY1016" fmla="*/ 1078609 h 1323458"/>
                    <a:gd name="connsiteX1017" fmla="*/ 654395 w 1439351"/>
                    <a:gd name="connsiteY1017" fmla="*/ 1080770 h 1323458"/>
                    <a:gd name="connsiteX1018" fmla="*/ 654808 w 1439351"/>
                    <a:gd name="connsiteY1018" fmla="*/ 1081911 h 1323458"/>
                    <a:gd name="connsiteX1019" fmla="*/ 655330 w 1439351"/>
                    <a:gd name="connsiteY1019" fmla="*/ 1084231 h 1323458"/>
                    <a:gd name="connsiteX1020" fmla="*/ 656241 w 1439351"/>
                    <a:gd name="connsiteY1020" fmla="*/ 1085761 h 1323458"/>
                    <a:gd name="connsiteX1021" fmla="*/ 657734 w 1439351"/>
                    <a:gd name="connsiteY1021" fmla="*/ 1086963 h 1323458"/>
                    <a:gd name="connsiteX1022" fmla="*/ 662665 w 1439351"/>
                    <a:gd name="connsiteY1022" fmla="*/ 1089088 h 1323458"/>
                    <a:gd name="connsiteX1023" fmla="*/ 663939 w 1439351"/>
                    <a:gd name="connsiteY1023" fmla="*/ 1089841 h 1323458"/>
                    <a:gd name="connsiteX1024" fmla="*/ 664450 w 1439351"/>
                    <a:gd name="connsiteY1024" fmla="*/ 1090412 h 1323458"/>
                    <a:gd name="connsiteX1025" fmla="*/ 664680 w 1439351"/>
                    <a:gd name="connsiteY1025" fmla="*/ 1092354 h 1323458"/>
                    <a:gd name="connsiteX1026" fmla="*/ 657734 w 1439351"/>
                    <a:gd name="connsiteY1026" fmla="*/ 1096811 h 1323458"/>
                    <a:gd name="connsiteX1027" fmla="*/ 656119 w 1439351"/>
                    <a:gd name="connsiteY1027" fmla="*/ 1097236 h 1323458"/>
                    <a:gd name="connsiteX1028" fmla="*/ 653994 w 1439351"/>
                    <a:gd name="connsiteY1028" fmla="*/ 1097442 h 1323458"/>
                    <a:gd name="connsiteX1029" fmla="*/ 652792 w 1439351"/>
                    <a:gd name="connsiteY1029" fmla="*/ 1096750 h 1323458"/>
                    <a:gd name="connsiteX1030" fmla="*/ 651869 w 1439351"/>
                    <a:gd name="connsiteY1030" fmla="*/ 1095767 h 1323458"/>
                    <a:gd name="connsiteX1031" fmla="*/ 648724 w 1439351"/>
                    <a:gd name="connsiteY1031" fmla="*/ 1091383 h 1323458"/>
                    <a:gd name="connsiteX1032" fmla="*/ 645616 w 1439351"/>
                    <a:gd name="connsiteY1032" fmla="*/ 1088019 h 1323458"/>
                    <a:gd name="connsiteX1033" fmla="*/ 644341 w 1439351"/>
                    <a:gd name="connsiteY1033" fmla="*/ 1087740 h 1323458"/>
                    <a:gd name="connsiteX1034" fmla="*/ 643831 w 1439351"/>
                    <a:gd name="connsiteY1034" fmla="*/ 1088141 h 1323458"/>
                    <a:gd name="connsiteX1035" fmla="*/ 643770 w 1439351"/>
                    <a:gd name="connsiteY1035" fmla="*/ 1089064 h 1323458"/>
                    <a:gd name="connsiteX1036" fmla="*/ 643952 w 1439351"/>
                    <a:gd name="connsiteY1036" fmla="*/ 1090266 h 1323458"/>
                    <a:gd name="connsiteX1037" fmla="*/ 645215 w 1439351"/>
                    <a:gd name="connsiteY1037" fmla="*/ 1095002 h 1323458"/>
                    <a:gd name="connsiteX1038" fmla="*/ 645154 w 1439351"/>
                    <a:gd name="connsiteY1038" fmla="*/ 1096580 h 1323458"/>
                    <a:gd name="connsiteX1039" fmla="*/ 644402 w 1439351"/>
                    <a:gd name="connsiteY1039" fmla="*/ 1097819 h 1323458"/>
                    <a:gd name="connsiteX1040" fmla="*/ 643151 w 1439351"/>
                    <a:gd name="connsiteY1040" fmla="*/ 1098219 h 1323458"/>
                    <a:gd name="connsiteX1041" fmla="*/ 641536 w 1439351"/>
                    <a:gd name="connsiteY1041" fmla="*/ 1098074 h 1323458"/>
                    <a:gd name="connsiteX1042" fmla="*/ 640212 w 1439351"/>
                    <a:gd name="connsiteY1042" fmla="*/ 1097612 h 1323458"/>
                    <a:gd name="connsiteX1043" fmla="*/ 638609 w 1439351"/>
                    <a:gd name="connsiteY1043" fmla="*/ 1096896 h 1323458"/>
                    <a:gd name="connsiteX1044" fmla="*/ 636885 w 1439351"/>
                    <a:gd name="connsiteY1044" fmla="*/ 1096350 h 1323458"/>
                    <a:gd name="connsiteX1045" fmla="*/ 633959 w 1439351"/>
                    <a:gd name="connsiteY1045" fmla="*/ 1095827 h 1323458"/>
                    <a:gd name="connsiteX1046" fmla="*/ 631324 w 1439351"/>
                    <a:gd name="connsiteY1046" fmla="*/ 1096264 h 1323458"/>
                    <a:gd name="connsiteX1047" fmla="*/ 625859 w 1439351"/>
                    <a:gd name="connsiteY1047" fmla="*/ 1098219 h 1323458"/>
                    <a:gd name="connsiteX1048" fmla="*/ 623795 w 1439351"/>
                    <a:gd name="connsiteY1048" fmla="*/ 1098074 h 1323458"/>
                    <a:gd name="connsiteX1049" fmla="*/ 622131 w 1439351"/>
                    <a:gd name="connsiteY1049" fmla="*/ 1097236 h 1323458"/>
                    <a:gd name="connsiteX1050" fmla="*/ 620006 w 1439351"/>
                    <a:gd name="connsiteY1050" fmla="*/ 1094200 h 1323458"/>
                    <a:gd name="connsiteX1051" fmla="*/ 619023 w 1439351"/>
                    <a:gd name="connsiteY1051" fmla="*/ 1092269 h 1323458"/>
                    <a:gd name="connsiteX1052" fmla="*/ 617833 w 1439351"/>
                    <a:gd name="connsiteY1052" fmla="*/ 1087740 h 1323458"/>
                    <a:gd name="connsiteX1053" fmla="*/ 617833 w 1439351"/>
                    <a:gd name="connsiteY1053" fmla="*/ 1086040 h 1323458"/>
                    <a:gd name="connsiteX1054" fmla="*/ 618112 w 1439351"/>
                    <a:gd name="connsiteY1054" fmla="*/ 1083599 h 1323458"/>
                    <a:gd name="connsiteX1055" fmla="*/ 618683 w 1439351"/>
                    <a:gd name="connsiteY1055" fmla="*/ 1082798 h 1323458"/>
                    <a:gd name="connsiteX1056" fmla="*/ 619436 w 1439351"/>
                    <a:gd name="connsiteY1056" fmla="*/ 1082628 h 1323458"/>
                    <a:gd name="connsiteX1057" fmla="*/ 619958 w 1439351"/>
                    <a:gd name="connsiteY1057" fmla="*/ 1083114 h 1323458"/>
                    <a:gd name="connsiteX1058" fmla="*/ 620929 w 1439351"/>
                    <a:gd name="connsiteY1058" fmla="*/ 1083369 h 1323458"/>
                    <a:gd name="connsiteX1059" fmla="*/ 622301 w 1439351"/>
                    <a:gd name="connsiteY1059" fmla="*/ 1083514 h 1323458"/>
                    <a:gd name="connsiteX1060" fmla="*/ 625167 w 1439351"/>
                    <a:gd name="connsiteY1060" fmla="*/ 1082652 h 1323458"/>
                    <a:gd name="connsiteX1061" fmla="*/ 626551 w 1439351"/>
                    <a:gd name="connsiteY1061" fmla="*/ 1081511 h 1323458"/>
                    <a:gd name="connsiteX1062" fmla="*/ 628045 w 1439351"/>
                    <a:gd name="connsiteY1062" fmla="*/ 1079386 h 1323458"/>
                    <a:gd name="connsiteX1063" fmla="*/ 631773 w 1439351"/>
                    <a:gd name="connsiteY1063" fmla="*/ 1075682 h 1323458"/>
                    <a:gd name="connsiteX1064" fmla="*/ 632866 w 1439351"/>
                    <a:gd name="connsiteY1064" fmla="*/ 1074213 h 1323458"/>
                    <a:gd name="connsiteX1065" fmla="*/ 633728 w 1439351"/>
                    <a:gd name="connsiteY1065" fmla="*/ 1072610 h 1323458"/>
                    <a:gd name="connsiteX1066" fmla="*/ 634542 w 1439351"/>
                    <a:gd name="connsiteY1066" fmla="*/ 1071736 h 1323458"/>
                    <a:gd name="connsiteX1067" fmla="*/ 635574 w 1439351"/>
                    <a:gd name="connsiteY1067" fmla="*/ 1071177 h 1323458"/>
                    <a:gd name="connsiteX1068" fmla="*/ 636824 w 1439351"/>
                    <a:gd name="connsiteY1068" fmla="*/ 1070740 h 1323458"/>
                    <a:gd name="connsiteX1069" fmla="*/ 637978 w 1439351"/>
                    <a:gd name="connsiteY1069" fmla="*/ 1070145 h 1323458"/>
                    <a:gd name="connsiteX1070" fmla="*/ 640443 w 1439351"/>
                    <a:gd name="connsiteY1070" fmla="*/ 1068615 h 1323458"/>
                    <a:gd name="connsiteX1071" fmla="*/ 643491 w 1439351"/>
                    <a:gd name="connsiteY1071" fmla="*/ 1067388 h 1323458"/>
                    <a:gd name="connsiteX1072" fmla="*/ 645567 w 1439351"/>
                    <a:gd name="connsiteY1072" fmla="*/ 1066296 h 1323458"/>
                    <a:gd name="connsiteX1073" fmla="*/ 646539 w 1439351"/>
                    <a:gd name="connsiteY1073" fmla="*/ 1065373 h 1323458"/>
                    <a:gd name="connsiteX1074" fmla="*/ 647231 w 1439351"/>
                    <a:gd name="connsiteY1074" fmla="*/ 1064389 h 1323458"/>
                    <a:gd name="connsiteX1075" fmla="*/ 647231 w 1439351"/>
                    <a:gd name="connsiteY1075" fmla="*/ 1063333 h 1323458"/>
                    <a:gd name="connsiteX1076" fmla="*/ 646879 w 1439351"/>
                    <a:gd name="connsiteY1076" fmla="*/ 1062276 h 1323458"/>
                    <a:gd name="connsiteX1077" fmla="*/ 645324 w 1439351"/>
                    <a:gd name="connsiteY1077" fmla="*/ 1059228 h 1323458"/>
                    <a:gd name="connsiteX1078" fmla="*/ 644924 w 1439351"/>
                    <a:gd name="connsiteY1078" fmla="*/ 1058136 h 1323458"/>
                    <a:gd name="connsiteX1079" fmla="*/ 644523 w 1439351"/>
                    <a:gd name="connsiteY1079" fmla="*/ 1054626 h 1323458"/>
                    <a:gd name="connsiteX1080" fmla="*/ 644183 w 1439351"/>
                    <a:gd name="connsiteY1080" fmla="*/ 1053509 h 1323458"/>
                    <a:gd name="connsiteX1081" fmla="*/ 643612 w 1439351"/>
                    <a:gd name="connsiteY1081" fmla="*/ 1052538 h 1323458"/>
                    <a:gd name="connsiteX1082" fmla="*/ 642969 w 1439351"/>
                    <a:gd name="connsiteY1082" fmla="*/ 1051736 h 1323458"/>
                    <a:gd name="connsiteX1083" fmla="*/ 642119 w 1439351"/>
                    <a:gd name="connsiteY1083" fmla="*/ 1051214 h 1323458"/>
                    <a:gd name="connsiteX1084" fmla="*/ 641196 w 1439351"/>
                    <a:gd name="connsiteY1084" fmla="*/ 1051080 h 1323458"/>
                    <a:gd name="connsiteX1085" fmla="*/ 640273 w 1439351"/>
                    <a:gd name="connsiteY1085" fmla="*/ 1051360 h 1323458"/>
                    <a:gd name="connsiteX1086" fmla="*/ 639350 w 1439351"/>
                    <a:gd name="connsiteY1086" fmla="*/ 1051712 h 1323458"/>
                    <a:gd name="connsiteX1087" fmla="*/ 638561 w 1439351"/>
                    <a:gd name="connsiteY1087" fmla="*/ 1051712 h 1323458"/>
                    <a:gd name="connsiteX1088" fmla="*/ 637808 w 1439351"/>
                    <a:gd name="connsiteY1088" fmla="*/ 1051190 h 1323458"/>
                    <a:gd name="connsiteX1089" fmla="*/ 636193 w 1439351"/>
                    <a:gd name="connsiteY1089" fmla="*/ 1048178 h 1323458"/>
                    <a:gd name="connsiteX1090" fmla="*/ 635513 w 1439351"/>
                    <a:gd name="connsiteY1090" fmla="*/ 1047316 h 1323458"/>
                    <a:gd name="connsiteX1091" fmla="*/ 634760 w 1439351"/>
                    <a:gd name="connsiteY1091" fmla="*/ 1046624 h 1323458"/>
                    <a:gd name="connsiteX1092" fmla="*/ 632234 w 1439351"/>
                    <a:gd name="connsiteY1092" fmla="*/ 1045106 h 1323458"/>
                    <a:gd name="connsiteX1093" fmla="*/ 629308 w 1439351"/>
                    <a:gd name="connsiteY1093" fmla="*/ 1044098 h 1323458"/>
                    <a:gd name="connsiteX1094" fmla="*/ 628446 w 1439351"/>
                    <a:gd name="connsiteY1094" fmla="*/ 1042884 h 1323458"/>
                    <a:gd name="connsiteX1095" fmla="*/ 627875 w 1439351"/>
                    <a:gd name="connsiteY1095" fmla="*/ 1040832 h 1323458"/>
                    <a:gd name="connsiteX1096" fmla="*/ 627535 w 1439351"/>
                    <a:gd name="connsiteY1096" fmla="*/ 1033097 h 1323458"/>
                    <a:gd name="connsiteX1097" fmla="*/ 626600 w 1439351"/>
                    <a:gd name="connsiteY1097" fmla="*/ 1026819 h 1323458"/>
                    <a:gd name="connsiteX1098" fmla="*/ 626041 w 1439351"/>
                    <a:gd name="connsiteY1098" fmla="*/ 1024997 h 1323458"/>
                    <a:gd name="connsiteX1099" fmla="*/ 625410 w 1439351"/>
                    <a:gd name="connsiteY1099" fmla="*/ 1023625 h 1323458"/>
                    <a:gd name="connsiteX1100" fmla="*/ 622483 w 1439351"/>
                    <a:gd name="connsiteY1100" fmla="*/ 1019667 h 1323458"/>
                    <a:gd name="connsiteX1101" fmla="*/ 621209 w 1439351"/>
                    <a:gd name="connsiteY1101" fmla="*/ 1017651 h 1323458"/>
                    <a:gd name="connsiteX1102" fmla="*/ 619776 w 1439351"/>
                    <a:gd name="connsiteY1102" fmla="*/ 1017250 h 1323458"/>
                    <a:gd name="connsiteX1103" fmla="*/ 618282 w 1439351"/>
                    <a:gd name="connsiteY1103" fmla="*/ 1017105 h 1323458"/>
                    <a:gd name="connsiteX1104" fmla="*/ 615586 w 1439351"/>
                    <a:gd name="connsiteY1104" fmla="*/ 1017590 h 1323458"/>
                    <a:gd name="connsiteX1105" fmla="*/ 612138 w 1439351"/>
                    <a:gd name="connsiteY1105" fmla="*/ 1018623 h 1323458"/>
                    <a:gd name="connsiteX1106" fmla="*/ 610826 w 1439351"/>
                    <a:gd name="connsiteY1106" fmla="*/ 1018829 h 1323458"/>
                    <a:gd name="connsiteX1107" fmla="*/ 609491 w 1439351"/>
                    <a:gd name="connsiteY1107" fmla="*/ 1018623 h 1323458"/>
                    <a:gd name="connsiteX1108" fmla="*/ 606625 w 1439351"/>
                    <a:gd name="connsiteY1108" fmla="*/ 1017360 h 1323458"/>
                    <a:gd name="connsiteX1109" fmla="*/ 605192 w 1439351"/>
                    <a:gd name="connsiteY1109" fmla="*/ 1017287 h 1323458"/>
                    <a:gd name="connsiteX1110" fmla="*/ 603868 w 1439351"/>
                    <a:gd name="connsiteY1110" fmla="*/ 1017882 h 1323458"/>
                    <a:gd name="connsiteX1111" fmla="*/ 603188 w 1439351"/>
                    <a:gd name="connsiteY1111" fmla="*/ 1018890 h 1323458"/>
                    <a:gd name="connsiteX1112" fmla="*/ 601974 w 1439351"/>
                    <a:gd name="connsiteY1112" fmla="*/ 1021707 h 1323458"/>
                    <a:gd name="connsiteX1113" fmla="*/ 600881 w 1439351"/>
                    <a:gd name="connsiteY1113" fmla="*/ 1023115 h 1323458"/>
                    <a:gd name="connsiteX1114" fmla="*/ 599509 w 1439351"/>
                    <a:gd name="connsiteY1114" fmla="*/ 1024488 h 1323458"/>
                    <a:gd name="connsiteX1115" fmla="*/ 591410 w 1439351"/>
                    <a:gd name="connsiteY1115" fmla="*/ 1030377 h 1323458"/>
                    <a:gd name="connsiteX1116" fmla="*/ 590778 w 1439351"/>
                    <a:gd name="connsiteY1116" fmla="*/ 1030595 h 1323458"/>
                    <a:gd name="connsiteX1117" fmla="*/ 589916 w 1439351"/>
                    <a:gd name="connsiteY1117" fmla="*/ 1030632 h 1323458"/>
                    <a:gd name="connsiteX1118" fmla="*/ 588763 w 1439351"/>
                    <a:gd name="connsiteY1118" fmla="*/ 1030316 h 1323458"/>
                    <a:gd name="connsiteX1119" fmla="*/ 584343 w 1439351"/>
                    <a:gd name="connsiteY1119" fmla="*/ 1028215 h 1323458"/>
                    <a:gd name="connsiteX1120" fmla="*/ 570900 w 1439351"/>
                    <a:gd name="connsiteY1120" fmla="*/ 1034360 h 1323458"/>
                    <a:gd name="connsiteX1121" fmla="*/ 567865 w 1439351"/>
                    <a:gd name="connsiteY1121" fmla="*/ 1036521 h 1323458"/>
                    <a:gd name="connsiteX1122" fmla="*/ 562983 w 1439351"/>
                    <a:gd name="connsiteY1122" fmla="*/ 1041111 h 1323458"/>
                    <a:gd name="connsiteX1123" fmla="*/ 555807 w 1439351"/>
                    <a:gd name="connsiteY1123" fmla="*/ 1046454 h 1323458"/>
                    <a:gd name="connsiteX1124" fmla="*/ 552188 w 1439351"/>
                    <a:gd name="connsiteY1124" fmla="*/ 1048579 h 1323458"/>
                    <a:gd name="connsiteX1125" fmla="*/ 549492 w 1439351"/>
                    <a:gd name="connsiteY1125" fmla="*/ 1049380 h 1323458"/>
                    <a:gd name="connsiteX1126" fmla="*/ 544842 w 1439351"/>
                    <a:gd name="connsiteY1126" fmla="*/ 1049611 h 1323458"/>
                    <a:gd name="connsiteX1127" fmla="*/ 540300 w 1439351"/>
                    <a:gd name="connsiteY1127" fmla="*/ 1050983 h 1323458"/>
                    <a:gd name="connsiteX1128" fmla="*/ 538114 w 1439351"/>
                    <a:gd name="connsiteY1128" fmla="*/ 1052392 h 1323458"/>
                    <a:gd name="connsiteX1129" fmla="*/ 537034 w 1439351"/>
                    <a:gd name="connsiteY1129" fmla="*/ 1053691 h 1323458"/>
                    <a:gd name="connsiteX1130" fmla="*/ 536864 w 1439351"/>
                    <a:gd name="connsiteY1130" fmla="*/ 1054772 h 1323458"/>
                    <a:gd name="connsiteX1131" fmla="*/ 536864 w 1439351"/>
                    <a:gd name="connsiteY1131" fmla="*/ 1055816 h 1323458"/>
                    <a:gd name="connsiteX1132" fmla="*/ 537082 w 1439351"/>
                    <a:gd name="connsiteY1132" fmla="*/ 1056994 h 1323458"/>
                    <a:gd name="connsiteX1133" fmla="*/ 537495 w 1439351"/>
                    <a:gd name="connsiteY1133" fmla="*/ 1058306 h 1323458"/>
                    <a:gd name="connsiteX1134" fmla="*/ 538357 w 1439351"/>
                    <a:gd name="connsiteY1134" fmla="*/ 1059921 h 1323458"/>
                    <a:gd name="connsiteX1135" fmla="*/ 539499 w 1439351"/>
                    <a:gd name="connsiteY1135" fmla="*/ 1061523 h 1323458"/>
                    <a:gd name="connsiteX1136" fmla="*/ 542595 w 1439351"/>
                    <a:gd name="connsiteY1136" fmla="*/ 1065057 h 1323458"/>
                    <a:gd name="connsiteX1137" fmla="*/ 543227 w 1439351"/>
                    <a:gd name="connsiteY1137" fmla="*/ 1066405 h 1323458"/>
                    <a:gd name="connsiteX1138" fmla="*/ 543530 w 1439351"/>
                    <a:gd name="connsiteY1138" fmla="*/ 1067753 h 1323458"/>
                    <a:gd name="connsiteX1139" fmla="*/ 543117 w 1439351"/>
                    <a:gd name="connsiteY1139" fmla="*/ 1069368 h 1323458"/>
                    <a:gd name="connsiteX1140" fmla="*/ 542437 w 1439351"/>
                    <a:gd name="connsiteY1140" fmla="*/ 1069878 h 1323458"/>
                    <a:gd name="connsiteX1141" fmla="*/ 540070 w 1439351"/>
                    <a:gd name="connsiteY1141" fmla="*/ 1070339 h 1323458"/>
                    <a:gd name="connsiteX1142" fmla="*/ 537774 w 1439351"/>
                    <a:gd name="connsiteY1142" fmla="*/ 1071080 h 1323458"/>
                    <a:gd name="connsiteX1143" fmla="*/ 533245 w 1439351"/>
                    <a:gd name="connsiteY1143" fmla="*/ 1073521 h 1323458"/>
                    <a:gd name="connsiteX1144" fmla="*/ 530841 w 1439351"/>
                    <a:gd name="connsiteY1144" fmla="*/ 1074128 h 1323458"/>
                    <a:gd name="connsiteX1145" fmla="*/ 528983 w 1439351"/>
                    <a:gd name="connsiteY1145" fmla="*/ 1073751 h 1323458"/>
                    <a:gd name="connsiteX1146" fmla="*/ 526639 w 1439351"/>
                    <a:gd name="connsiteY1146" fmla="*/ 1070740 h 1323458"/>
                    <a:gd name="connsiteX1147" fmla="*/ 525546 w 1439351"/>
                    <a:gd name="connsiteY1147" fmla="*/ 1069817 h 1323458"/>
                    <a:gd name="connsiteX1148" fmla="*/ 524454 w 1439351"/>
                    <a:gd name="connsiteY1148" fmla="*/ 1069283 h 1323458"/>
                    <a:gd name="connsiteX1149" fmla="*/ 523482 w 1439351"/>
                    <a:gd name="connsiteY1149" fmla="*/ 1069137 h 1323458"/>
                    <a:gd name="connsiteX1150" fmla="*/ 518661 w 1439351"/>
                    <a:gd name="connsiteY1150" fmla="*/ 1070048 h 1323458"/>
                    <a:gd name="connsiteX1151" fmla="*/ 504479 w 1439351"/>
                    <a:gd name="connsiteY1151" fmla="*/ 1070922 h 1323458"/>
                    <a:gd name="connsiteX1152" fmla="*/ 502111 w 1439351"/>
                    <a:gd name="connsiteY1152" fmla="*/ 1070691 h 1323458"/>
                    <a:gd name="connsiteX1153" fmla="*/ 496258 w 1439351"/>
                    <a:gd name="connsiteY1153" fmla="*/ 1069040 h 1323458"/>
                    <a:gd name="connsiteX1154" fmla="*/ 488923 w 1439351"/>
                    <a:gd name="connsiteY1154" fmla="*/ 1065604 h 1323458"/>
                    <a:gd name="connsiteX1155" fmla="*/ 486677 w 1439351"/>
                    <a:gd name="connsiteY1155" fmla="*/ 1064863 h 1323458"/>
                    <a:gd name="connsiteX1156" fmla="*/ 485523 w 1439351"/>
                    <a:gd name="connsiteY1156" fmla="*/ 1064644 h 1323458"/>
                    <a:gd name="connsiteX1157" fmla="*/ 484321 w 1439351"/>
                    <a:gd name="connsiteY1157" fmla="*/ 1064705 h 1323458"/>
                    <a:gd name="connsiteX1158" fmla="*/ 482075 w 1439351"/>
                    <a:gd name="connsiteY1158" fmla="*/ 1065227 h 1323458"/>
                    <a:gd name="connsiteX1159" fmla="*/ 480132 w 1439351"/>
                    <a:gd name="connsiteY1159" fmla="*/ 1066781 h 1323458"/>
                    <a:gd name="connsiteX1160" fmla="*/ 478456 w 1439351"/>
                    <a:gd name="connsiteY1160" fmla="*/ 1068846 h 1323458"/>
                    <a:gd name="connsiteX1161" fmla="*/ 475360 w 1439351"/>
                    <a:gd name="connsiteY1161" fmla="*/ 1075014 h 1323458"/>
                    <a:gd name="connsiteX1162" fmla="*/ 474437 w 1439351"/>
                    <a:gd name="connsiteY1162" fmla="*/ 1076484 h 1323458"/>
                    <a:gd name="connsiteX1163" fmla="*/ 473125 w 1439351"/>
                    <a:gd name="connsiteY1163" fmla="*/ 1077722 h 1323458"/>
                    <a:gd name="connsiteX1164" fmla="*/ 470418 w 1439351"/>
                    <a:gd name="connsiteY1164" fmla="*/ 1079410 h 1323458"/>
                    <a:gd name="connsiteX1165" fmla="*/ 468292 w 1439351"/>
                    <a:gd name="connsiteY1165" fmla="*/ 1079762 h 1323458"/>
                    <a:gd name="connsiteX1166" fmla="*/ 466520 w 1439351"/>
                    <a:gd name="connsiteY1166" fmla="*/ 1079325 h 1323458"/>
                    <a:gd name="connsiteX1167" fmla="*/ 465487 w 1439351"/>
                    <a:gd name="connsiteY1167" fmla="*/ 1078293 h 1323458"/>
                    <a:gd name="connsiteX1168" fmla="*/ 465026 w 1439351"/>
                    <a:gd name="connsiteY1168" fmla="*/ 1077054 h 1323458"/>
                    <a:gd name="connsiteX1169" fmla="*/ 464795 w 1439351"/>
                    <a:gd name="connsiteY1169" fmla="*/ 1075621 h 1323458"/>
                    <a:gd name="connsiteX1170" fmla="*/ 464565 w 1439351"/>
                    <a:gd name="connsiteY1170" fmla="*/ 1074480 h 1323458"/>
                    <a:gd name="connsiteX1171" fmla="*/ 464055 w 1439351"/>
                    <a:gd name="connsiteY1171" fmla="*/ 1073229 h 1323458"/>
                    <a:gd name="connsiteX1172" fmla="*/ 462670 w 1439351"/>
                    <a:gd name="connsiteY1172" fmla="*/ 1072209 h 1323458"/>
                    <a:gd name="connsiteX1173" fmla="*/ 460557 w 1439351"/>
                    <a:gd name="connsiteY1173" fmla="*/ 1071517 h 1323458"/>
                    <a:gd name="connsiteX1174" fmla="*/ 457097 w 1439351"/>
                    <a:gd name="connsiteY1174" fmla="*/ 1071602 h 1323458"/>
                    <a:gd name="connsiteX1175" fmla="*/ 455324 w 1439351"/>
                    <a:gd name="connsiteY1175" fmla="*/ 1072258 h 1323458"/>
                    <a:gd name="connsiteX1176" fmla="*/ 454340 w 1439351"/>
                    <a:gd name="connsiteY1176" fmla="*/ 1073156 h 1323458"/>
                    <a:gd name="connsiteX1177" fmla="*/ 454110 w 1439351"/>
                    <a:gd name="connsiteY1177" fmla="*/ 1074359 h 1323458"/>
                    <a:gd name="connsiteX1178" fmla="*/ 454280 w 1439351"/>
                    <a:gd name="connsiteY1178" fmla="*/ 1077722 h 1323458"/>
                    <a:gd name="connsiteX1179" fmla="*/ 454741 w 1439351"/>
                    <a:gd name="connsiteY1179" fmla="*/ 1080612 h 1323458"/>
                    <a:gd name="connsiteX1180" fmla="*/ 454802 w 1439351"/>
                    <a:gd name="connsiteY1180" fmla="*/ 1083405 h 1323458"/>
                    <a:gd name="connsiteX1181" fmla="*/ 454000 w 1439351"/>
                    <a:gd name="connsiteY1181" fmla="*/ 1085676 h 1323458"/>
                    <a:gd name="connsiteX1182" fmla="*/ 447564 w 1439351"/>
                    <a:gd name="connsiteY1182" fmla="*/ 1086271 h 1323458"/>
                    <a:gd name="connsiteX1183" fmla="*/ 445622 w 1439351"/>
                    <a:gd name="connsiteY1183" fmla="*/ 1085469 h 1323458"/>
                    <a:gd name="connsiteX1184" fmla="*/ 443776 w 1439351"/>
                    <a:gd name="connsiteY1184" fmla="*/ 1084291 h 1323458"/>
                    <a:gd name="connsiteX1185" fmla="*/ 442865 w 1439351"/>
                    <a:gd name="connsiteY1185" fmla="*/ 1082713 h 1323458"/>
                    <a:gd name="connsiteX1186" fmla="*/ 442574 w 1439351"/>
                    <a:gd name="connsiteY1186" fmla="*/ 1080649 h 1323458"/>
                    <a:gd name="connsiteX1187" fmla="*/ 442574 w 1439351"/>
                    <a:gd name="connsiteY1187" fmla="*/ 1078111 h 1323458"/>
                    <a:gd name="connsiteX1188" fmla="*/ 442975 w 1439351"/>
                    <a:gd name="connsiteY1188" fmla="*/ 1075075 h 1323458"/>
                    <a:gd name="connsiteX1189" fmla="*/ 443484 w 1439351"/>
                    <a:gd name="connsiteY1189" fmla="*/ 1072841 h 1323458"/>
                    <a:gd name="connsiteX1190" fmla="*/ 444067 w 1439351"/>
                    <a:gd name="connsiteY1190" fmla="*/ 1071056 h 1323458"/>
                    <a:gd name="connsiteX1191" fmla="*/ 445039 w 1439351"/>
                    <a:gd name="connsiteY1191" fmla="*/ 1069684 h 1323458"/>
                    <a:gd name="connsiteX1192" fmla="*/ 449629 w 1439351"/>
                    <a:gd name="connsiteY1192" fmla="*/ 1065543 h 1323458"/>
                    <a:gd name="connsiteX1193" fmla="*/ 451365 w 1439351"/>
                    <a:gd name="connsiteY1193" fmla="*/ 1062956 h 1323458"/>
                    <a:gd name="connsiteX1194" fmla="*/ 453709 w 1439351"/>
                    <a:gd name="connsiteY1194" fmla="*/ 1057589 h 1323458"/>
                    <a:gd name="connsiteX1195" fmla="*/ 460132 w 1439351"/>
                    <a:gd name="connsiteY1195" fmla="*/ 1049126 h 1323458"/>
                    <a:gd name="connsiteX1196" fmla="*/ 462962 w 1439351"/>
                    <a:gd name="connsiteY1196" fmla="*/ 1043297 h 1323458"/>
                    <a:gd name="connsiteX1197" fmla="*/ 463363 w 1439351"/>
                    <a:gd name="connsiteY1197" fmla="*/ 1041087 h 1323458"/>
                    <a:gd name="connsiteX1198" fmla="*/ 462610 w 1439351"/>
                    <a:gd name="connsiteY1198" fmla="*/ 1040103 h 1323458"/>
                    <a:gd name="connsiteX1199" fmla="*/ 461177 w 1439351"/>
                    <a:gd name="connsiteY1199" fmla="*/ 1040674 h 1323458"/>
                    <a:gd name="connsiteX1200" fmla="*/ 459744 w 1439351"/>
                    <a:gd name="connsiteY1200" fmla="*/ 1041779 h 1323458"/>
                    <a:gd name="connsiteX1201" fmla="*/ 456417 w 1439351"/>
                    <a:gd name="connsiteY1201" fmla="*/ 1044985 h 1323458"/>
                    <a:gd name="connsiteX1202" fmla="*/ 455081 w 1439351"/>
                    <a:gd name="connsiteY1202" fmla="*/ 1045592 h 1323458"/>
                    <a:gd name="connsiteX1203" fmla="*/ 453490 w 1439351"/>
                    <a:gd name="connsiteY1203" fmla="*/ 1045446 h 1323458"/>
                    <a:gd name="connsiteX1204" fmla="*/ 451644 w 1439351"/>
                    <a:gd name="connsiteY1204" fmla="*/ 1044620 h 1323458"/>
                    <a:gd name="connsiteX1205" fmla="*/ 449872 w 1439351"/>
                    <a:gd name="connsiteY1205" fmla="*/ 1044353 h 1323458"/>
                    <a:gd name="connsiteX1206" fmla="*/ 447807 w 1439351"/>
                    <a:gd name="connsiteY1206" fmla="*/ 1044815 h 1323458"/>
                    <a:gd name="connsiteX1207" fmla="*/ 445792 w 1439351"/>
                    <a:gd name="connsiteY1207" fmla="*/ 1045847 h 1323458"/>
                    <a:gd name="connsiteX1208" fmla="*/ 444359 w 1439351"/>
                    <a:gd name="connsiteY1208" fmla="*/ 1047256 h 1323458"/>
                    <a:gd name="connsiteX1209" fmla="*/ 443484 w 1439351"/>
                    <a:gd name="connsiteY1209" fmla="*/ 1048640 h 1323458"/>
                    <a:gd name="connsiteX1210" fmla="*/ 442865 w 1439351"/>
                    <a:gd name="connsiteY1210" fmla="*/ 1049866 h 1323458"/>
                    <a:gd name="connsiteX1211" fmla="*/ 442112 w 1439351"/>
                    <a:gd name="connsiteY1211" fmla="*/ 1050959 h 1323458"/>
                    <a:gd name="connsiteX1212" fmla="*/ 441250 w 1439351"/>
                    <a:gd name="connsiteY1212" fmla="*/ 1051651 h 1323458"/>
                    <a:gd name="connsiteX1213" fmla="*/ 440048 w 1439351"/>
                    <a:gd name="connsiteY1213" fmla="*/ 1052052 h 1323458"/>
                    <a:gd name="connsiteX1214" fmla="*/ 438724 w 1439351"/>
                    <a:gd name="connsiteY1214" fmla="*/ 1051797 h 1323458"/>
                    <a:gd name="connsiteX1215" fmla="*/ 437401 w 1439351"/>
                    <a:gd name="connsiteY1215" fmla="*/ 1050850 h 1323458"/>
                    <a:gd name="connsiteX1216" fmla="*/ 435749 w 1439351"/>
                    <a:gd name="connsiteY1216" fmla="*/ 1048664 h 1323458"/>
                    <a:gd name="connsiteX1217" fmla="*/ 434997 w 1439351"/>
                    <a:gd name="connsiteY1217" fmla="*/ 1046600 h 1323458"/>
                    <a:gd name="connsiteX1218" fmla="*/ 434814 w 1439351"/>
                    <a:gd name="connsiteY1218" fmla="*/ 1044645 h 1323458"/>
                    <a:gd name="connsiteX1219" fmla="*/ 435069 w 1439351"/>
                    <a:gd name="connsiteY1219" fmla="*/ 1043066 h 1323458"/>
                    <a:gd name="connsiteX1220" fmla="*/ 435397 w 1439351"/>
                    <a:gd name="connsiteY1220" fmla="*/ 1041888 h 1323458"/>
                    <a:gd name="connsiteX1221" fmla="*/ 436211 w 1439351"/>
                    <a:gd name="connsiteY1221" fmla="*/ 1039994 h 1323458"/>
                    <a:gd name="connsiteX1222" fmla="*/ 440874 w 1439351"/>
                    <a:gd name="connsiteY1222" fmla="*/ 1032672 h 1323458"/>
                    <a:gd name="connsiteX1223" fmla="*/ 441432 w 1439351"/>
                    <a:gd name="connsiteY1223" fmla="*/ 1030595 h 1323458"/>
                    <a:gd name="connsiteX1224" fmla="*/ 441214 w 1439351"/>
                    <a:gd name="connsiteY1224" fmla="*/ 1029393 h 1323458"/>
                    <a:gd name="connsiteX1225" fmla="*/ 440060 w 1439351"/>
                    <a:gd name="connsiteY1225" fmla="*/ 1028106 h 1323458"/>
                    <a:gd name="connsiteX1226" fmla="*/ 438967 w 1439351"/>
                    <a:gd name="connsiteY1226" fmla="*/ 1027645 h 1323458"/>
                    <a:gd name="connsiteX1227" fmla="*/ 437255 w 1439351"/>
                    <a:gd name="connsiteY1227" fmla="*/ 1027645 h 1323458"/>
                    <a:gd name="connsiteX1228" fmla="*/ 432252 w 1439351"/>
                    <a:gd name="connsiteY1228" fmla="*/ 1033740 h 1323458"/>
                    <a:gd name="connsiteX1229" fmla="*/ 430067 w 1439351"/>
                    <a:gd name="connsiteY1229" fmla="*/ 1038755 h 1323458"/>
                    <a:gd name="connsiteX1230" fmla="*/ 429666 w 1439351"/>
                    <a:gd name="connsiteY1230" fmla="*/ 1041366 h 1323458"/>
                    <a:gd name="connsiteX1231" fmla="*/ 429605 w 1439351"/>
                    <a:gd name="connsiteY1231" fmla="*/ 1043115 h 1323458"/>
                    <a:gd name="connsiteX1232" fmla="*/ 429836 w 1439351"/>
                    <a:gd name="connsiteY1232" fmla="*/ 1045592 h 1323458"/>
                    <a:gd name="connsiteX1233" fmla="*/ 434377 w 1439351"/>
                    <a:gd name="connsiteY1233" fmla="*/ 1059435 h 1323458"/>
                    <a:gd name="connsiteX1234" fmla="*/ 435009 w 1439351"/>
                    <a:gd name="connsiteY1234" fmla="*/ 1062786 h 1323458"/>
                    <a:gd name="connsiteX1235" fmla="*/ 435009 w 1439351"/>
                    <a:gd name="connsiteY1235" fmla="*/ 1065033 h 1323458"/>
                    <a:gd name="connsiteX1236" fmla="*/ 434268 w 1439351"/>
                    <a:gd name="connsiteY1236" fmla="*/ 1066721 h 1323458"/>
                    <a:gd name="connsiteX1237" fmla="*/ 432932 w 1439351"/>
                    <a:gd name="connsiteY1237" fmla="*/ 1067668 h 1323458"/>
                    <a:gd name="connsiteX1238" fmla="*/ 430929 w 1439351"/>
                    <a:gd name="connsiteY1238" fmla="*/ 1067692 h 1323458"/>
                    <a:gd name="connsiteX1239" fmla="*/ 426569 w 1439351"/>
                    <a:gd name="connsiteY1239" fmla="*/ 1066065 h 1323458"/>
                    <a:gd name="connsiteX1240" fmla="*/ 424493 w 1439351"/>
                    <a:gd name="connsiteY1240" fmla="*/ 1065519 h 1323458"/>
                    <a:gd name="connsiteX1241" fmla="*/ 422951 w 1439351"/>
                    <a:gd name="connsiteY1241" fmla="*/ 1065482 h 1323458"/>
                    <a:gd name="connsiteX1242" fmla="*/ 421518 w 1439351"/>
                    <a:gd name="connsiteY1242" fmla="*/ 1065628 h 1323458"/>
                    <a:gd name="connsiteX1243" fmla="*/ 419903 w 1439351"/>
                    <a:gd name="connsiteY1243" fmla="*/ 1065944 h 1323458"/>
                    <a:gd name="connsiteX1244" fmla="*/ 416515 w 1439351"/>
                    <a:gd name="connsiteY1244" fmla="*/ 1064450 h 1323458"/>
                    <a:gd name="connsiteX1245" fmla="*/ 414730 w 1439351"/>
                    <a:gd name="connsiteY1245" fmla="*/ 1064086 h 1323458"/>
                    <a:gd name="connsiteX1246" fmla="*/ 412666 w 1439351"/>
                    <a:gd name="connsiteY1246" fmla="*/ 1064195 h 1323458"/>
                    <a:gd name="connsiteX1247" fmla="*/ 410541 w 1439351"/>
                    <a:gd name="connsiteY1247" fmla="*/ 1065604 h 1323458"/>
                    <a:gd name="connsiteX1248" fmla="*/ 409108 w 1439351"/>
                    <a:gd name="connsiteY1248" fmla="*/ 1067304 h 1323458"/>
                    <a:gd name="connsiteX1249" fmla="*/ 407274 w 1439351"/>
                    <a:gd name="connsiteY1249" fmla="*/ 1070364 h 1323458"/>
                    <a:gd name="connsiteX1250" fmla="*/ 405599 w 1439351"/>
                    <a:gd name="connsiteY1250" fmla="*/ 1071456 h 1323458"/>
                    <a:gd name="connsiteX1251" fmla="*/ 404105 w 1439351"/>
                    <a:gd name="connsiteY1251" fmla="*/ 1071736 h 1323458"/>
                    <a:gd name="connsiteX1252" fmla="*/ 402854 w 1439351"/>
                    <a:gd name="connsiteY1252" fmla="*/ 1070946 h 1323458"/>
                    <a:gd name="connsiteX1253" fmla="*/ 402223 w 1439351"/>
                    <a:gd name="connsiteY1253" fmla="*/ 1069768 h 1323458"/>
                    <a:gd name="connsiteX1254" fmla="*/ 401470 w 1439351"/>
                    <a:gd name="connsiteY1254" fmla="*/ 1063333 h 1323458"/>
                    <a:gd name="connsiteX1255" fmla="*/ 400948 w 1439351"/>
                    <a:gd name="connsiteY1255" fmla="*/ 1061523 h 1323458"/>
                    <a:gd name="connsiteX1256" fmla="*/ 399357 w 1439351"/>
                    <a:gd name="connsiteY1256" fmla="*/ 1061183 h 1323458"/>
                    <a:gd name="connsiteX1257" fmla="*/ 396358 w 1439351"/>
                    <a:gd name="connsiteY1257" fmla="*/ 1061499 h 1323458"/>
                    <a:gd name="connsiteX1258" fmla="*/ 390165 w 1439351"/>
                    <a:gd name="connsiteY1258" fmla="*/ 1064280 h 1323458"/>
                    <a:gd name="connsiteX1259" fmla="*/ 387056 w 1439351"/>
                    <a:gd name="connsiteY1259" fmla="*/ 1065264 h 1323458"/>
                    <a:gd name="connsiteX1260" fmla="*/ 384992 w 1439351"/>
                    <a:gd name="connsiteY1260" fmla="*/ 1065604 h 1323458"/>
                    <a:gd name="connsiteX1261" fmla="*/ 383717 w 1439351"/>
                    <a:gd name="connsiteY1261" fmla="*/ 1064863 h 1323458"/>
                    <a:gd name="connsiteX1262" fmla="*/ 382806 w 1439351"/>
                    <a:gd name="connsiteY1262" fmla="*/ 1063709 h 1323458"/>
                    <a:gd name="connsiteX1263" fmla="*/ 382126 w 1439351"/>
                    <a:gd name="connsiteY1263" fmla="*/ 1062216 h 1323458"/>
                    <a:gd name="connsiteX1264" fmla="*/ 382065 w 1439351"/>
                    <a:gd name="connsiteY1264" fmla="*/ 1059945 h 1323458"/>
                    <a:gd name="connsiteX1265" fmla="*/ 382648 w 1439351"/>
                    <a:gd name="connsiteY1265" fmla="*/ 1057735 h 1323458"/>
                    <a:gd name="connsiteX1266" fmla="*/ 383838 w 1439351"/>
                    <a:gd name="connsiteY1266" fmla="*/ 1055343 h 1323458"/>
                    <a:gd name="connsiteX1267" fmla="*/ 388781 w 1439351"/>
                    <a:gd name="connsiteY1267" fmla="*/ 1050437 h 1323458"/>
                    <a:gd name="connsiteX1268" fmla="*/ 389412 w 1439351"/>
                    <a:gd name="connsiteY1268" fmla="*/ 1049150 h 1323458"/>
                    <a:gd name="connsiteX1269" fmla="*/ 389121 w 1439351"/>
                    <a:gd name="connsiteY1269" fmla="*/ 1048458 h 1323458"/>
                    <a:gd name="connsiteX1270" fmla="*/ 388671 w 1439351"/>
                    <a:gd name="connsiteY1270" fmla="*/ 1047972 h 1323458"/>
                    <a:gd name="connsiteX1271" fmla="*/ 386546 w 1439351"/>
                    <a:gd name="connsiteY1271" fmla="*/ 1046988 h 1323458"/>
                    <a:gd name="connsiteX1272" fmla="*/ 385854 w 1439351"/>
                    <a:gd name="connsiteY1272" fmla="*/ 1046272 h 1323458"/>
                    <a:gd name="connsiteX1273" fmla="*/ 385393 w 1439351"/>
                    <a:gd name="connsiteY1273" fmla="*/ 1045738 h 1323458"/>
                    <a:gd name="connsiteX1274" fmla="*/ 384531 w 1439351"/>
                    <a:gd name="connsiteY1274" fmla="*/ 1045070 h 1323458"/>
                    <a:gd name="connsiteX1275" fmla="*/ 383207 w 1439351"/>
                    <a:gd name="connsiteY1275" fmla="*/ 1044293 h 1323458"/>
                    <a:gd name="connsiteX1276" fmla="*/ 380220 w 1439351"/>
                    <a:gd name="connsiteY1276" fmla="*/ 1044013 h 1323458"/>
                    <a:gd name="connsiteX1277" fmla="*/ 378787 w 1439351"/>
                    <a:gd name="connsiteY1277" fmla="*/ 1044378 h 1323458"/>
                    <a:gd name="connsiteX1278" fmla="*/ 377985 w 1439351"/>
                    <a:gd name="connsiteY1278" fmla="*/ 1045300 h 1323458"/>
                    <a:gd name="connsiteX1279" fmla="*/ 377816 w 1439351"/>
                    <a:gd name="connsiteY1279" fmla="*/ 1046855 h 1323458"/>
                    <a:gd name="connsiteX1280" fmla="*/ 377985 w 1439351"/>
                    <a:gd name="connsiteY1280" fmla="*/ 1048871 h 1323458"/>
                    <a:gd name="connsiteX1281" fmla="*/ 377864 w 1439351"/>
                    <a:gd name="connsiteY1281" fmla="*/ 1051044 h 1323458"/>
                    <a:gd name="connsiteX1282" fmla="*/ 377415 w 1439351"/>
                    <a:gd name="connsiteY1282" fmla="*/ 1053060 h 1323458"/>
                    <a:gd name="connsiteX1283" fmla="*/ 375460 w 1439351"/>
                    <a:gd name="connsiteY1283" fmla="*/ 1054893 h 1323458"/>
                    <a:gd name="connsiteX1284" fmla="*/ 373274 w 1439351"/>
                    <a:gd name="connsiteY1284" fmla="*/ 1055379 h 1323458"/>
                    <a:gd name="connsiteX1285" fmla="*/ 370688 w 1439351"/>
                    <a:gd name="connsiteY1285" fmla="*/ 1055731 h 1323458"/>
                    <a:gd name="connsiteX1286" fmla="*/ 368854 w 1439351"/>
                    <a:gd name="connsiteY1286" fmla="*/ 1056618 h 1323458"/>
                    <a:gd name="connsiteX1287" fmla="*/ 367421 w 1439351"/>
                    <a:gd name="connsiteY1287" fmla="*/ 1057796 h 1323458"/>
                    <a:gd name="connsiteX1288" fmla="*/ 364895 w 1439351"/>
                    <a:gd name="connsiteY1288" fmla="*/ 1061293 h 1323458"/>
                    <a:gd name="connsiteX1289" fmla="*/ 363171 w 1439351"/>
                    <a:gd name="connsiteY1289" fmla="*/ 1063248 h 1323458"/>
                    <a:gd name="connsiteX1290" fmla="*/ 360063 w 1439351"/>
                    <a:gd name="connsiteY1290" fmla="*/ 1065458 h 1323458"/>
                    <a:gd name="connsiteX1291" fmla="*/ 357901 w 1439351"/>
                    <a:gd name="connsiteY1291" fmla="*/ 1065579 h 1323458"/>
                    <a:gd name="connsiteX1292" fmla="*/ 356104 w 1439351"/>
                    <a:gd name="connsiteY1292" fmla="*/ 1064426 h 1323458"/>
                    <a:gd name="connsiteX1293" fmla="*/ 354963 w 1439351"/>
                    <a:gd name="connsiteY1293" fmla="*/ 1062216 h 1323458"/>
                    <a:gd name="connsiteX1294" fmla="*/ 354610 w 1439351"/>
                    <a:gd name="connsiteY1294" fmla="*/ 1059168 h 1323458"/>
                    <a:gd name="connsiteX1295" fmla="*/ 354853 w 1439351"/>
                    <a:gd name="connsiteY1295" fmla="*/ 1056326 h 1323458"/>
                    <a:gd name="connsiteX1296" fmla="*/ 355715 w 1439351"/>
                    <a:gd name="connsiteY1296" fmla="*/ 1052999 h 1323458"/>
                    <a:gd name="connsiteX1297" fmla="*/ 357088 w 1439351"/>
                    <a:gd name="connsiteY1297" fmla="*/ 1050097 h 1323458"/>
                    <a:gd name="connsiteX1298" fmla="*/ 358921 w 1439351"/>
                    <a:gd name="connsiteY1298" fmla="*/ 1047425 h 1323458"/>
                    <a:gd name="connsiteX1299" fmla="*/ 361617 w 1439351"/>
                    <a:gd name="connsiteY1299" fmla="*/ 1045155 h 1323458"/>
                    <a:gd name="connsiteX1300" fmla="*/ 366097 w 1439351"/>
                    <a:gd name="connsiteY1300" fmla="*/ 1042265 h 1323458"/>
                    <a:gd name="connsiteX1301" fmla="*/ 367190 w 1439351"/>
                    <a:gd name="connsiteY1301" fmla="*/ 1041342 h 1323458"/>
                    <a:gd name="connsiteX1302" fmla="*/ 368405 w 1439351"/>
                    <a:gd name="connsiteY1302" fmla="*/ 1039739 h 1323458"/>
                    <a:gd name="connsiteX1303" fmla="*/ 368793 w 1439351"/>
                    <a:gd name="connsiteY1303" fmla="*/ 1037978 h 1323458"/>
                    <a:gd name="connsiteX1304" fmla="*/ 368733 w 1439351"/>
                    <a:gd name="connsiteY1304" fmla="*/ 1036181 h 1323458"/>
                    <a:gd name="connsiteX1305" fmla="*/ 368162 w 1439351"/>
                    <a:gd name="connsiteY1305" fmla="*/ 1033097 h 1323458"/>
                    <a:gd name="connsiteX1306" fmla="*/ 368162 w 1439351"/>
                    <a:gd name="connsiteY1306" fmla="*/ 1031263 h 1323458"/>
                    <a:gd name="connsiteX1307" fmla="*/ 368623 w 1439351"/>
                    <a:gd name="connsiteY1307" fmla="*/ 1029114 h 1323458"/>
                    <a:gd name="connsiteX1308" fmla="*/ 372023 w 1439351"/>
                    <a:gd name="connsiteY1308" fmla="*/ 1023431 h 1323458"/>
                    <a:gd name="connsiteX1309" fmla="*/ 372533 w 1439351"/>
                    <a:gd name="connsiteY1309" fmla="*/ 1021015 h 1323458"/>
                    <a:gd name="connsiteX1310" fmla="*/ 372995 w 1439351"/>
                    <a:gd name="connsiteY1310" fmla="*/ 1015247 h 1323458"/>
                    <a:gd name="connsiteX1311" fmla="*/ 372995 w 1439351"/>
                    <a:gd name="connsiteY1311" fmla="*/ 1013899 h 1323458"/>
                    <a:gd name="connsiteX1312" fmla="*/ 372643 w 1439351"/>
                    <a:gd name="connsiteY1312" fmla="*/ 1013000 h 1323458"/>
                    <a:gd name="connsiteX1313" fmla="*/ 371720 w 1439351"/>
                    <a:gd name="connsiteY1313" fmla="*/ 1012089 h 1323458"/>
                    <a:gd name="connsiteX1314" fmla="*/ 370809 w 1439351"/>
                    <a:gd name="connsiteY1314" fmla="*/ 1011944 h 1323458"/>
                    <a:gd name="connsiteX1315" fmla="*/ 369145 w 1439351"/>
                    <a:gd name="connsiteY1315" fmla="*/ 1012175 h 1323458"/>
                    <a:gd name="connsiteX1316" fmla="*/ 367130 w 1439351"/>
                    <a:gd name="connsiteY1316" fmla="*/ 1012770 h 1323458"/>
                    <a:gd name="connsiteX1317" fmla="*/ 364895 w 1439351"/>
                    <a:gd name="connsiteY1317" fmla="*/ 1012940 h 1323458"/>
                    <a:gd name="connsiteX1318" fmla="*/ 363463 w 1439351"/>
                    <a:gd name="connsiteY1318" fmla="*/ 1012284 h 1323458"/>
                    <a:gd name="connsiteX1319" fmla="*/ 362892 w 1439351"/>
                    <a:gd name="connsiteY1319" fmla="*/ 1011227 h 1323458"/>
                    <a:gd name="connsiteX1320" fmla="*/ 363353 w 1439351"/>
                    <a:gd name="connsiteY1320" fmla="*/ 1009673 h 1323458"/>
                    <a:gd name="connsiteX1321" fmla="*/ 364203 w 1439351"/>
                    <a:gd name="connsiteY1321" fmla="*/ 1007973 h 1323458"/>
                    <a:gd name="connsiteX1322" fmla="*/ 365005 w 1439351"/>
                    <a:gd name="connsiteY1322" fmla="*/ 1005739 h 1323458"/>
                    <a:gd name="connsiteX1323" fmla="*/ 365357 w 1439351"/>
                    <a:gd name="connsiteY1323" fmla="*/ 1003468 h 1323458"/>
                    <a:gd name="connsiteX1324" fmla="*/ 365357 w 1439351"/>
                    <a:gd name="connsiteY1324" fmla="*/ 999619 h 1323458"/>
                    <a:gd name="connsiteX1325" fmla="*/ 364956 w 1439351"/>
                    <a:gd name="connsiteY1325" fmla="*/ 997676 h 1323458"/>
                    <a:gd name="connsiteX1326" fmla="*/ 364203 w 1439351"/>
                    <a:gd name="connsiteY1326" fmla="*/ 995490 h 1323458"/>
                    <a:gd name="connsiteX1327" fmla="*/ 361957 w 1439351"/>
                    <a:gd name="connsiteY1327" fmla="*/ 993304 h 1323458"/>
                    <a:gd name="connsiteX1328" fmla="*/ 360063 w 1439351"/>
                    <a:gd name="connsiteY1328" fmla="*/ 992940 h 1323458"/>
                    <a:gd name="connsiteX1329" fmla="*/ 357901 w 1439351"/>
                    <a:gd name="connsiteY1329" fmla="*/ 993766 h 1323458"/>
                    <a:gd name="connsiteX1330" fmla="*/ 356043 w 1439351"/>
                    <a:gd name="connsiteY1330" fmla="*/ 995551 h 1323458"/>
                    <a:gd name="connsiteX1331" fmla="*/ 354550 w 1439351"/>
                    <a:gd name="connsiteY1331" fmla="*/ 997530 h 1323458"/>
                    <a:gd name="connsiteX1332" fmla="*/ 353347 w 1439351"/>
                    <a:gd name="connsiteY1332" fmla="*/ 1000141 h 1323458"/>
                    <a:gd name="connsiteX1333" fmla="*/ 353007 w 1439351"/>
                    <a:gd name="connsiteY1333" fmla="*/ 1001088 h 1323458"/>
                    <a:gd name="connsiteX1334" fmla="*/ 352837 w 1439351"/>
                    <a:gd name="connsiteY1334" fmla="*/ 1002351 h 1323458"/>
                    <a:gd name="connsiteX1335" fmla="*/ 352728 w 1439351"/>
                    <a:gd name="connsiteY1335" fmla="*/ 1004306 h 1323458"/>
                    <a:gd name="connsiteX1336" fmla="*/ 353238 w 1439351"/>
                    <a:gd name="connsiteY1336" fmla="*/ 1011592 h 1323458"/>
                    <a:gd name="connsiteX1337" fmla="*/ 352947 w 1439351"/>
                    <a:gd name="connsiteY1337" fmla="*/ 1013753 h 1323458"/>
                    <a:gd name="connsiteX1338" fmla="*/ 351684 w 1439351"/>
                    <a:gd name="connsiteY1338" fmla="*/ 1015356 h 1323458"/>
                    <a:gd name="connsiteX1339" fmla="*/ 349680 w 1439351"/>
                    <a:gd name="connsiteY1339" fmla="*/ 1016619 h 1323458"/>
                    <a:gd name="connsiteX1340" fmla="*/ 346183 w 1439351"/>
                    <a:gd name="connsiteY1340" fmla="*/ 1017105 h 1323458"/>
                    <a:gd name="connsiteX1341" fmla="*/ 344228 w 1439351"/>
                    <a:gd name="connsiteY1341" fmla="*/ 1016425 h 1323458"/>
                    <a:gd name="connsiteX1342" fmla="*/ 343135 w 1439351"/>
                    <a:gd name="connsiteY1342" fmla="*/ 1015186 h 1323458"/>
                    <a:gd name="connsiteX1343" fmla="*/ 342844 w 1439351"/>
                    <a:gd name="connsiteY1343" fmla="*/ 1012770 h 1323458"/>
                    <a:gd name="connsiteX1344" fmla="*/ 343075 w 1439351"/>
                    <a:gd name="connsiteY1344" fmla="*/ 1005022 h 1323458"/>
                    <a:gd name="connsiteX1345" fmla="*/ 342443 w 1439351"/>
                    <a:gd name="connsiteY1345" fmla="*/ 1000602 h 1323458"/>
                    <a:gd name="connsiteX1346" fmla="*/ 342164 w 1439351"/>
                    <a:gd name="connsiteY1346" fmla="*/ 999764 h 1323458"/>
                    <a:gd name="connsiteX1347" fmla="*/ 341581 w 1439351"/>
                    <a:gd name="connsiteY1347" fmla="*/ 998623 h 1323458"/>
                    <a:gd name="connsiteX1348" fmla="*/ 339577 w 1439351"/>
                    <a:gd name="connsiteY1348" fmla="*/ 995757 h 1323458"/>
                    <a:gd name="connsiteX1349" fmla="*/ 336068 w 1439351"/>
                    <a:gd name="connsiteY1349" fmla="*/ 998356 h 1323458"/>
                    <a:gd name="connsiteX1350" fmla="*/ 334526 w 1439351"/>
                    <a:gd name="connsiteY1350" fmla="*/ 998878 h 1323458"/>
                    <a:gd name="connsiteX1351" fmla="*/ 332510 w 1439351"/>
                    <a:gd name="connsiteY1351" fmla="*/ 999218 h 1323458"/>
                    <a:gd name="connsiteX1352" fmla="*/ 330664 w 1439351"/>
                    <a:gd name="connsiteY1352" fmla="*/ 1000141 h 1323458"/>
                    <a:gd name="connsiteX1353" fmla="*/ 329292 w 1439351"/>
                    <a:gd name="connsiteY1353" fmla="*/ 1001659 h 1323458"/>
                    <a:gd name="connsiteX1354" fmla="*/ 328782 w 1439351"/>
                    <a:gd name="connsiteY1354" fmla="*/ 1003675 h 1323458"/>
                    <a:gd name="connsiteX1355" fmla="*/ 328491 w 1439351"/>
                    <a:gd name="connsiteY1355" fmla="*/ 1008204 h 1323458"/>
                    <a:gd name="connsiteX1356" fmla="*/ 329110 w 1439351"/>
                    <a:gd name="connsiteY1356" fmla="*/ 1009442 h 1323458"/>
                    <a:gd name="connsiteX1357" fmla="*/ 332729 w 1439351"/>
                    <a:gd name="connsiteY1357" fmla="*/ 1012697 h 1323458"/>
                    <a:gd name="connsiteX1358" fmla="*/ 333190 w 1439351"/>
                    <a:gd name="connsiteY1358" fmla="*/ 1013802 h 1323458"/>
                    <a:gd name="connsiteX1359" fmla="*/ 333372 w 1439351"/>
                    <a:gd name="connsiteY1359" fmla="*/ 1015332 h 1323458"/>
                    <a:gd name="connsiteX1360" fmla="*/ 332789 w 1439351"/>
                    <a:gd name="connsiteY1360" fmla="*/ 1017190 h 1323458"/>
                    <a:gd name="connsiteX1361" fmla="*/ 330847 w 1439351"/>
                    <a:gd name="connsiteY1361" fmla="*/ 1020007 h 1323458"/>
                    <a:gd name="connsiteX1362" fmla="*/ 330154 w 1439351"/>
                    <a:gd name="connsiteY1362" fmla="*/ 1021355 h 1323458"/>
                    <a:gd name="connsiteX1363" fmla="*/ 329924 w 1439351"/>
                    <a:gd name="connsiteY1363" fmla="*/ 1022970 h 1323458"/>
                    <a:gd name="connsiteX1364" fmla="*/ 330276 w 1439351"/>
                    <a:gd name="connsiteY1364" fmla="*/ 1024403 h 1323458"/>
                    <a:gd name="connsiteX1365" fmla="*/ 331247 w 1439351"/>
                    <a:gd name="connsiteY1365" fmla="*/ 1026904 h 1323458"/>
                    <a:gd name="connsiteX1366" fmla="*/ 331417 w 1439351"/>
                    <a:gd name="connsiteY1366" fmla="*/ 1028592 h 1323458"/>
                    <a:gd name="connsiteX1367" fmla="*/ 331017 w 1439351"/>
                    <a:gd name="connsiteY1367" fmla="*/ 1030207 h 1323458"/>
                    <a:gd name="connsiteX1368" fmla="*/ 329414 w 1439351"/>
                    <a:gd name="connsiteY1368" fmla="*/ 1031263 h 1323458"/>
                    <a:gd name="connsiteX1369" fmla="*/ 327799 w 1439351"/>
                    <a:gd name="connsiteY1369" fmla="*/ 1031008 h 1323458"/>
                    <a:gd name="connsiteX1370" fmla="*/ 326305 w 1439351"/>
                    <a:gd name="connsiteY1370" fmla="*/ 1029855 h 1323458"/>
                    <a:gd name="connsiteX1371" fmla="*/ 323998 w 1439351"/>
                    <a:gd name="connsiteY1371" fmla="*/ 1027208 h 1323458"/>
                    <a:gd name="connsiteX1372" fmla="*/ 322577 w 1439351"/>
                    <a:gd name="connsiteY1372" fmla="*/ 1025920 h 1323458"/>
                    <a:gd name="connsiteX1373" fmla="*/ 319590 w 1439351"/>
                    <a:gd name="connsiteY1373" fmla="*/ 1024063 h 1323458"/>
                    <a:gd name="connsiteX1374" fmla="*/ 318607 w 1439351"/>
                    <a:gd name="connsiteY1374" fmla="*/ 1022824 h 1323458"/>
                    <a:gd name="connsiteX1375" fmla="*/ 317635 w 1439351"/>
                    <a:gd name="connsiteY1375" fmla="*/ 1020237 h 1323458"/>
                    <a:gd name="connsiteX1376" fmla="*/ 316894 w 1439351"/>
                    <a:gd name="connsiteY1376" fmla="*/ 1019375 h 1323458"/>
                    <a:gd name="connsiteX1377" fmla="*/ 315292 w 1439351"/>
                    <a:gd name="connsiteY1377" fmla="*/ 1018659 h 1323458"/>
                    <a:gd name="connsiteX1378" fmla="*/ 311369 w 1439351"/>
                    <a:gd name="connsiteY1378" fmla="*/ 1017457 h 1323458"/>
                    <a:gd name="connsiteX1379" fmla="*/ 307654 w 1439351"/>
                    <a:gd name="connsiteY1379" fmla="*/ 1017481 h 1323458"/>
                    <a:gd name="connsiteX1380" fmla="*/ 304946 w 1439351"/>
                    <a:gd name="connsiteY1380" fmla="*/ 1017748 h 1323458"/>
                    <a:gd name="connsiteX1381" fmla="*/ 303331 w 1439351"/>
                    <a:gd name="connsiteY1381" fmla="*/ 1018404 h 1323458"/>
                    <a:gd name="connsiteX1382" fmla="*/ 302129 w 1439351"/>
                    <a:gd name="connsiteY1382" fmla="*/ 1019205 h 1323458"/>
                    <a:gd name="connsiteX1383" fmla="*/ 301327 w 1439351"/>
                    <a:gd name="connsiteY1383" fmla="*/ 1020347 h 1323458"/>
                    <a:gd name="connsiteX1384" fmla="*/ 300926 w 1439351"/>
                    <a:gd name="connsiteY1384" fmla="*/ 1021755 h 1323458"/>
                    <a:gd name="connsiteX1385" fmla="*/ 301109 w 1439351"/>
                    <a:gd name="connsiteY1385" fmla="*/ 1023055 h 1323458"/>
                    <a:gd name="connsiteX1386" fmla="*/ 301497 w 1439351"/>
                    <a:gd name="connsiteY1386" fmla="*/ 1024172 h 1323458"/>
                    <a:gd name="connsiteX1387" fmla="*/ 301789 w 1439351"/>
                    <a:gd name="connsiteY1387" fmla="*/ 1025520 h 1323458"/>
                    <a:gd name="connsiteX1388" fmla="*/ 301619 w 1439351"/>
                    <a:gd name="connsiteY1388" fmla="*/ 1026552 h 1323458"/>
                    <a:gd name="connsiteX1389" fmla="*/ 300926 w 1439351"/>
                    <a:gd name="connsiteY1389" fmla="*/ 1027681 h 1323458"/>
                    <a:gd name="connsiteX1390" fmla="*/ 298401 w 1439351"/>
                    <a:gd name="connsiteY1390" fmla="*/ 1029660 h 1323458"/>
                    <a:gd name="connsiteX1391" fmla="*/ 297029 w 1439351"/>
                    <a:gd name="connsiteY1391" fmla="*/ 1031033 h 1323458"/>
                    <a:gd name="connsiteX1392" fmla="*/ 292426 w 1439351"/>
                    <a:gd name="connsiteY1392" fmla="*/ 1037408 h 1323458"/>
                    <a:gd name="connsiteX1393" fmla="*/ 290544 w 1439351"/>
                    <a:gd name="connsiteY1393" fmla="*/ 1040795 h 1323458"/>
                    <a:gd name="connsiteX1394" fmla="*/ 289670 w 1439351"/>
                    <a:gd name="connsiteY1394" fmla="*/ 1042690 h 1323458"/>
                    <a:gd name="connsiteX1395" fmla="*/ 289208 w 1439351"/>
                    <a:gd name="connsiteY1395" fmla="*/ 1044329 h 1323458"/>
                    <a:gd name="connsiteX1396" fmla="*/ 289269 w 1439351"/>
                    <a:gd name="connsiteY1396" fmla="*/ 1045883 h 1323458"/>
                    <a:gd name="connsiteX1397" fmla="*/ 289670 w 1439351"/>
                    <a:gd name="connsiteY1397" fmla="*/ 1047316 h 1323458"/>
                    <a:gd name="connsiteX1398" fmla="*/ 290763 w 1439351"/>
                    <a:gd name="connsiteY1398" fmla="*/ 1048834 h 1323458"/>
                    <a:gd name="connsiteX1399" fmla="*/ 292135 w 1439351"/>
                    <a:gd name="connsiteY1399" fmla="*/ 1050133 h 1323458"/>
                    <a:gd name="connsiteX1400" fmla="*/ 295875 w 1439351"/>
                    <a:gd name="connsiteY1400" fmla="*/ 1052999 h 1323458"/>
                    <a:gd name="connsiteX1401" fmla="*/ 298340 w 1439351"/>
                    <a:gd name="connsiteY1401" fmla="*/ 1055319 h 1323458"/>
                    <a:gd name="connsiteX1402" fmla="*/ 300586 w 1439351"/>
                    <a:gd name="connsiteY1402" fmla="*/ 1058111 h 1323458"/>
                    <a:gd name="connsiteX1403" fmla="*/ 307301 w 1439351"/>
                    <a:gd name="connsiteY1403" fmla="*/ 1073266 h 1323458"/>
                    <a:gd name="connsiteX1404" fmla="*/ 308844 w 1439351"/>
                    <a:gd name="connsiteY1404" fmla="*/ 1078754 h 1323458"/>
                    <a:gd name="connsiteX1405" fmla="*/ 309135 w 1439351"/>
                    <a:gd name="connsiteY1405" fmla="*/ 1087570 h 1323458"/>
                    <a:gd name="connsiteX1406" fmla="*/ 313045 w 1439351"/>
                    <a:gd name="connsiteY1406" fmla="*/ 1107630 h 1323458"/>
                    <a:gd name="connsiteX1407" fmla="*/ 314648 w 1439351"/>
                    <a:gd name="connsiteY1407" fmla="*/ 1112317 h 1323458"/>
                    <a:gd name="connsiteX1408" fmla="*/ 316542 w 1439351"/>
                    <a:gd name="connsiteY1408" fmla="*/ 1115596 h 1323458"/>
                    <a:gd name="connsiteX1409" fmla="*/ 323779 w 1439351"/>
                    <a:gd name="connsiteY1409" fmla="*/ 1122712 h 1323458"/>
                    <a:gd name="connsiteX1410" fmla="*/ 326074 w 1439351"/>
                    <a:gd name="connsiteY1410" fmla="*/ 1125663 h 1323458"/>
                    <a:gd name="connsiteX1411" fmla="*/ 328661 w 1439351"/>
                    <a:gd name="connsiteY1411" fmla="*/ 1130653 h 1323458"/>
                    <a:gd name="connsiteX1412" fmla="*/ 329802 w 1439351"/>
                    <a:gd name="connsiteY1412" fmla="*/ 1134272 h 1323458"/>
                    <a:gd name="connsiteX1413" fmla="*/ 330276 w 1439351"/>
                    <a:gd name="connsiteY1413" fmla="*/ 1137405 h 1323458"/>
                    <a:gd name="connsiteX1414" fmla="*/ 330154 w 1439351"/>
                    <a:gd name="connsiteY1414" fmla="*/ 1146621 h 1323458"/>
                    <a:gd name="connsiteX1415" fmla="*/ 330968 w 1439351"/>
                    <a:gd name="connsiteY1415" fmla="*/ 1152802 h 1323458"/>
                    <a:gd name="connsiteX1416" fmla="*/ 331017 w 1439351"/>
                    <a:gd name="connsiteY1416" fmla="*/ 1155206 h 1323458"/>
                    <a:gd name="connsiteX1417" fmla="*/ 330664 w 1439351"/>
                    <a:gd name="connsiteY1417" fmla="*/ 1157161 h 1323458"/>
                    <a:gd name="connsiteX1418" fmla="*/ 330094 w 1439351"/>
                    <a:gd name="connsiteY1418" fmla="*/ 1158691 h 1323458"/>
                    <a:gd name="connsiteX1419" fmla="*/ 327920 w 1439351"/>
                    <a:gd name="connsiteY1419" fmla="*/ 1161581 h 1323458"/>
                    <a:gd name="connsiteX1420" fmla="*/ 327107 w 1439351"/>
                    <a:gd name="connsiteY1420" fmla="*/ 1163281 h 1323458"/>
                    <a:gd name="connsiteX1421" fmla="*/ 327046 w 1439351"/>
                    <a:gd name="connsiteY1421" fmla="*/ 1166560 h 1323458"/>
                    <a:gd name="connsiteX1422" fmla="*/ 327920 w 1439351"/>
                    <a:gd name="connsiteY1422" fmla="*/ 1168988 h 1323458"/>
                    <a:gd name="connsiteX1423" fmla="*/ 329292 w 1439351"/>
                    <a:gd name="connsiteY1423" fmla="*/ 1171575 h 1323458"/>
                    <a:gd name="connsiteX1424" fmla="*/ 330446 w 1439351"/>
                    <a:gd name="connsiteY1424" fmla="*/ 1173178 h 1323458"/>
                    <a:gd name="connsiteX1425" fmla="*/ 331757 w 1439351"/>
                    <a:gd name="connsiteY1425" fmla="*/ 1174076 h 1323458"/>
                    <a:gd name="connsiteX1426" fmla="*/ 333652 w 1439351"/>
                    <a:gd name="connsiteY1426" fmla="*/ 1174307 h 1323458"/>
                    <a:gd name="connsiteX1427" fmla="*/ 335898 w 1439351"/>
                    <a:gd name="connsiteY1427" fmla="*/ 1173809 h 1323458"/>
                    <a:gd name="connsiteX1428" fmla="*/ 341411 w 1439351"/>
                    <a:gd name="connsiteY1428" fmla="*/ 1171866 h 1323458"/>
                    <a:gd name="connsiteX1429" fmla="*/ 345661 w 1439351"/>
                    <a:gd name="connsiteY1429" fmla="*/ 1171028 h 1323458"/>
                    <a:gd name="connsiteX1430" fmla="*/ 348065 w 1439351"/>
                    <a:gd name="connsiteY1430" fmla="*/ 1170859 h 1323458"/>
                    <a:gd name="connsiteX1431" fmla="*/ 350870 w 1439351"/>
                    <a:gd name="connsiteY1431" fmla="*/ 1171344 h 1323458"/>
                    <a:gd name="connsiteX1432" fmla="*/ 353578 w 1439351"/>
                    <a:gd name="connsiteY1432" fmla="*/ 1172546 h 1323458"/>
                    <a:gd name="connsiteX1433" fmla="*/ 356347 w 1439351"/>
                    <a:gd name="connsiteY1433" fmla="*/ 1175109 h 1323458"/>
                    <a:gd name="connsiteX1434" fmla="*/ 357780 w 1439351"/>
                    <a:gd name="connsiteY1434" fmla="*/ 1177598 h 1323458"/>
                    <a:gd name="connsiteX1435" fmla="*/ 358690 w 1439351"/>
                    <a:gd name="connsiteY1435" fmla="*/ 1180500 h 1323458"/>
                    <a:gd name="connsiteX1436" fmla="*/ 359431 w 1439351"/>
                    <a:gd name="connsiteY1436" fmla="*/ 1183657 h 1323458"/>
                    <a:gd name="connsiteX1437" fmla="*/ 360524 w 1439351"/>
                    <a:gd name="connsiteY1437" fmla="*/ 1185952 h 1323458"/>
                    <a:gd name="connsiteX1438" fmla="*/ 364203 w 1439351"/>
                    <a:gd name="connsiteY1438" fmla="*/ 1190664 h 1323458"/>
                    <a:gd name="connsiteX1439" fmla="*/ 365928 w 1439351"/>
                    <a:gd name="connsiteY1439" fmla="*/ 1193505 h 1323458"/>
                    <a:gd name="connsiteX1440" fmla="*/ 365806 w 1439351"/>
                    <a:gd name="connsiteY1440" fmla="*/ 1195484 h 1323458"/>
                    <a:gd name="connsiteX1441" fmla="*/ 364543 w 1439351"/>
                    <a:gd name="connsiteY1441" fmla="*/ 1198532 h 1323458"/>
                    <a:gd name="connsiteX1442" fmla="*/ 364325 w 1439351"/>
                    <a:gd name="connsiteY1442" fmla="*/ 1199601 h 1323458"/>
                    <a:gd name="connsiteX1443" fmla="*/ 364325 w 1439351"/>
                    <a:gd name="connsiteY1443" fmla="*/ 1200026 h 1323458"/>
                    <a:gd name="connsiteX1444" fmla="*/ 364325 w 1439351"/>
                    <a:gd name="connsiteY1444" fmla="*/ 1200511 h 1323458"/>
                    <a:gd name="connsiteX1445" fmla="*/ 364434 w 1439351"/>
                    <a:gd name="connsiteY1445" fmla="*/ 1201204 h 1323458"/>
                    <a:gd name="connsiteX1446" fmla="*/ 364786 w 1439351"/>
                    <a:gd name="connsiteY1446" fmla="*/ 1202782 h 1323458"/>
                    <a:gd name="connsiteX1447" fmla="*/ 365575 w 1439351"/>
                    <a:gd name="connsiteY1447" fmla="*/ 1203499 h 1323458"/>
                    <a:gd name="connsiteX1448" fmla="*/ 367069 w 1439351"/>
                    <a:gd name="connsiteY1448" fmla="*/ 1203997 h 1323458"/>
                    <a:gd name="connsiteX1449" fmla="*/ 369024 w 1439351"/>
                    <a:gd name="connsiteY1449" fmla="*/ 1204070 h 1323458"/>
                    <a:gd name="connsiteX1450" fmla="*/ 372995 w 1439351"/>
                    <a:gd name="connsiteY1450" fmla="*/ 1204713 h 1323458"/>
                    <a:gd name="connsiteX1451" fmla="*/ 376443 w 1439351"/>
                    <a:gd name="connsiteY1451" fmla="*/ 1206632 h 1323458"/>
                    <a:gd name="connsiteX1452" fmla="*/ 376504 w 1439351"/>
                    <a:gd name="connsiteY1452" fmla="*/ 1212084 h 1323458"/>
                    <a:gd name="connsiteX1453" fmla="*/ 375351 w 1439351"/>
                    <a:gd name="connsiteY1453" fmla="*/ 1215557 h 1323458"/>
                    <a:gd name="connsiteX1454" fmla="*/ 373857 w 1439351"/>
                    <a:gd name="connsiteY1454" fmla="*/ 1218969 h 1323458"/>
                    <a:gd name="connsiteX1455" fmla="*/ 372072 w 1439351"/>
                    <a:gd name="connsiteY1455" fmla="*/ 1221531 h 1323458"/>
                    <a:gd name="connsiteX1456" fmla="*/ 370530 w 1439351"/>
                    <a:gd name="connsiteY1456" fmla="*/ 1223146 h 1323458"/>
                    <a:gd name="connsiteX1457" fmla="*/ 368465 w 1439351"/>
                    <a:gd name="connsiteY1457" fmla="*/ 1224943 h 1323458"/>
                    <a:gd name="connsiteX1458" fmla="*/ 362139 w 1439351"/>
                    <a:gd name="connsiteY1458" fmla="*/ 1230723 h 1323458"/>
                    <a:gd name="connsiteX1459" fmla="*/ 359723 w 1439351"/>
                    <a:gd name="connsiteY1459" fmla="*/ 1235143 h 1323458"/>
                    <a:gd name="connsiteX1460" fmla="*/ 357937 w 1439351"/>
                    <a:gd name="connsiteY1460" fmla="*/ 1240680 h 1323458"/>
                    <a:gd name="connsiteX1461" fmla="*/ 355533 w 1439351"/>
                    <a:gd name="connsiteY1461" fmla="*/ 1245477 h 1323458"/>
                    <a:gd name="connsiteX1462" fmla="*/ 352667 w 1439351"/>
                    <a:gd name="connsiteY1462" fmla="*/ 1249010 h 1323458"/>
                    <a:gd name="connsiteX1463" fmla="*/ 347835 w 1439351"/>
                    <a:gd name="connsiteY1463" fmla="*/ 1253831 h 1323458"/>
                    <a:gd name="connsiteX1464" fmla="*/ 344847 w 1439351"/>
                    <a:gd name="connsiteY1464" fmla="*/ 1255810 h 1323458"/>
                    <a:gd name="connsiteX1465" fmla="*/ 341532 w 1439351"/>
                    <a:gd name="connsiteY1465" fmla="*/ 1256381 h 1323458"/>
                    <a:gd name="connsiteX1466" fmla="*/ 338363 w 1439351"/>
                    <a:gd name="connsiteY1466" fmla="*/ 1254948 h 1323458"/>
                    <a:gd name="connsiteX1467" fmla="*/ 335898 w 1439351"/>
                    <a:gd name="connsiteY1467" fmla="*/ 1252738 h 1323458"/>
                    <a:gd name="connsiteX1468" fmla="*/ 334684 w 1439351"/>
                    <a:gd name="connsiteY1468" fmla="*/ 1250043 h 1323458"/>
                    <a:gd name="connsiteX1469" fmla="*/ 334404 w 1439351"/>
                    <a:gd name="connsiteY1469" fmla="*/ 1247833 h 1323458"/>
                    <a:gd name="connsiteX1470" fmla="*/ 334344 w 1439351"/>
                    <a:gd name="connsiteY1470" fmla="*/ 1245914 h 1323458"/>
                    <a:gd name="connsiteX1471" fmla="*/ 333882 w 1439351"/>
                    <a:gd name="connsiteY1471" fmla="*/ 1244615 h 1323458"/>
                    <a:gd name="connsiteX1472" fmla="*/ 332972 w 1439351"/>
                    <a:gd name="connsiteY1472" fmla="*/ 1244032 h 1323458"/>
                    <a:gd name="connsiteX1473" fmla="*/ 331017 w 1439351"/>
                    <a:gd name="connsiteY1473" fmla="*/ 1243838 h 1323458"/>
                    <a:gd name="connsiteX1474" fmla="*/ 328139 w 1439351"/>
                    <a:gd name="connsiteY1474" fmla="*/ 1243898 h 1323458"/>
                    <a:gd name="connsiteX1475" fmla="*/ 322116 w 1439351"/>
                    <a:gd name="connsiteY1475" fmla="*/ 1243352 h 1323458"/>
                    <a:gd name="connsiteX1476" fmla="*/ 319250 w 1439351"/>
                    <a:gd name="connsiteY1476" fmla="*/ 1242514 h 1323458"/>
                    <a:gd name="connsiteX1477" fmla="*/ 315972 w 1439351"/>
                    <a:gd name="connsiteY1477" fmla="*/ 1241020 h 1323458"/>
                    <a:gd name="connsiteX1478" fmla="*/ 313106 w 1439351"/>
                    <a:gd name="connsiteY1478" fmla="*/ 1239017 h 1323458"/>
                    <a:gd name="connsiteX1479" fmla="*/ 307532 w 1439351"/>
                    <a:gd name="connsiteY1479" fmla="*/ 1233382 h 1323458"/>
                    <a:gd name="connsiteX1480" fmla="*/ 303683 w 1439351"/>
                    <a:gd name="connsiteY1480" fmla="*/ 1230918 h 1323458"/>
                    <a:gd name="connsiteX1481" fmla="*/ 293458 w 1439351"/>
                    <a:gd name="connsiteY1481" fmla="*/ 1222332 h 1323458"/>
                    <a:gd name="connsiteX1482" fmla="*/ 288468 w 1439351"/>
                    <a:gd name="connsiteY1482" fmla="*/ 1219467 h 1323458"/>
                    <a:gd name="connsiteX1483" fmla="*/ 284728 w 1439351"/>
                    <a:gd name="connsiteY1483" fmla="*/ 1217912 h 1323458"/>
                    <a:gd name="connsiteX1484" fmla="*/ 282542 w 1439351"/>
                    <a:gd name="connsiteY1484" fmla="*/ 1217742 h 1323458"/>
                    <a:gd name="connsiteX1485" fmla="*/ 280891 w 1439351"/>
                    <a:gd name="connsiteY1485" fmla="*/ 1218459 h 1323458"/>
                    <a:gd name="connsiteX1486" fmla="*/ 279858 w 1439351"/>
                    <a:gd name="connsiteY1486" fmla="*/ 1219697 h 1323458"/>
                    <a:gd name="connsiteX1487" fmla="*/ 278693 w 1439351"/>
                    <a:gd name="connsiteY1487" fmla="*/ 1221434 h 1323458"/>
                    <a:gd name="connsiteX1488" fmla="*/ 277843 w 1439351"/>
                    <a:gd name="connsiteY1488" fmla="*/ 1223158 h 1323458"/>
                    <a:gd name="connsiteX1489" fmla="*/ 277199 w 1439351"/>
                    <a:gd name="connsiteY1489" fmla="*/ 1225307 h 1323458"/>
                    <a:gd name="connsiteX1490" fmla="*/ 276968 w 1439351"/>
                    <a:gd name="connsiteY1490" fmla="*/ 1227335 h 1323458"/>
                    <a:gd name="connsiteX1491" fmla="*/ 276859 w 1439351"/>
                    <a:gd name="connsiteY1491" fmla="*/ 1229242 h 1323458"/>
                    <a:gd name="connsiteX1492" fmla="*/ 276616 w 1439351"/>
                    <a:gd name="connsiteY1492" fmla="*/ 1230905 h 1323458"/>
                    <a:gd name="connsiteX1493" fmla="*/ 275876 w 1439351"/>
                    <a:gd name="connsiteY1493" fmla="*/ 1232508 h 1323458"/>
                    <a:gd name="connsiteX1494" fmla="*/ 274491 w 1439351"/>
                    <a:gd name="connsiteY1494" fmla="*/ 1234378 h 1323458"/>
                    <a:gd name="connsiteX1495" fmla="*/ 272378 w 1439351"/>
                    <a:gd name="connsiteY1495" fmla="*/ 1236333 h 1323458"/>
                    <a:gd name="connsiteX1496" fmla="*/ 269440 w 1439351"/>
                    <a:gd name="connsiteY1496" fmla="*/ 1238276 h 1323458"/>
                    <a:gd name="connsiteX1497" fmla="*/ 265263 w 1439351"/>
                    <a:gd name="connsiteY1497" fmla="*/ 1239709 h 1323458"/>
                    <a:gd name="connsiteX1498" fmla="*/ 262433 w 1439351"/>
                    <a:gd name="connsiteY1498" fmla="*/ 1239454 h 1323458"/>
                    <a:gd name="connsiteX1499" fmla="*/ 259798 w 1439351"/>
                    <a:gd name="connsiteY1499" fmla="*/ 1238143 h 1323458"/>
                    <a:gd name="connsiteX1500" fmla="*/ 257782 w 1439351"/>
                    <a:gd name="connsiteY1500" fmla="*/ 1236175 h 1323458"/>
                    <a:gd name="connsiteX1501" fmla="*/ 255888 w 1439351"/>
                    <a:gd name="connsiteY1501" fmla="*/ 1233807 h 1323458"/>
                    <a:gd name="connsiteX1502" fmla="*/ 254856 w 1439351"/>
                    <a:gd name="connsiteY1502" fmla="*/ 1231598 h 1323458"/>
                    <a:gd name="connsiteX1503" fmla="*/ 254686 w 1439351"/>
                    <a:gd name="connsiteY1503" fmla="*/ 1229266 h 1323458"/>
                    <a:gd name="connsiteX1504" fmla="*/ 255208 w 1439351"/>
                    <a:gd name="connsiteY1504" fmla="*/ 1227287 h 1323458"/>
                    <a:gd name="connsiteX1505" fmla="*/ 258596 w 1439351"/>
                    <a:gd name="connsiteY1505" fmla="*/ 1221543 h 1323458"/>
                    <a:gd name="connsiteX1506" fmla="*/ 258997 w 1439351"/>
                    <a:gd name="connsiteY1506" fmla="*/ 1219904 h 1323458"/>
                    <a:gd name="connsiteX1507" fmla="*/ 258657 w 1439351"/>
                    <a:gd name="connsiteY1507" fmla="*/ 1218471 h 1323458"/>
                    <a:gd name="connsiteX1508" fmla="*/ 257503 w 1439351"/>
                    <a:gd name="connsiteY1508" fmla="*/ 1217123 h 1323458"/>
                    <a:gd name="connsiteX1509" fmla="*/ 255779 w 1439351"/>
                    <a:gd name="connsiteY1509" fmla="*/ 1216030 h 1323458"/>
                    <a:gd name="connsiteX1510" fmla="*/ 250958 w 1439351"/>
                    <a:gd name="connsiteY1510" fmla="*/ 1213930 h 1323458"/>
                    <a:gd name="connsiteX1511" fmla="*/ 247680 w 1439351"/>
                    <a:gd name="connsiteY1511" fmla="*/ 1211719 h 1323458"/>
                    <a:gd name="connsiteX1512" fmla="*/ 244996 w 1439351"/>
                    <a:gd name="connsiteY1512" fmla="*/ 1209485 h 1323458"/>
                    <a:gd name="connsiteX1513" fmla="*/ 244012 w 1439351"/>
                    <a:gd name="connsiteY1513" fmla="*/ 1206644 h 1323458"/>
                    <a:gd name="connsiteX1514" fmla="*/ 243539 w 1439351"/>
                    <a:gd name="connsiteY1514" fmla="*/ 1204604 h 1323458"/>
                    <a:gd name="connsiteX1515" fmla="*/ 242288 w 1439351"/>
                    <a:gd name="connsiteY1515" fmla="*/ 1204009 h 1323458"/>
                    <a:gd name="connsiteX1516" fmla="*/ 240612 w 1439351"/>
                    <a:gd name="connsiteY1516" fmla="*/ 1203717 h 1323458"/>
                    <a:gd name="connsiteX1517" fmla="*/ 238791 w 1439351"/>
                    <a:gd name="connsiteY1517" fmla="*/ 1202564 h 1323458"/>
                    <a:gd name="connsiteX1518" fmla="*/ 238390 w 1439351"/>
                    <a:gd name="connsiteY1518" fmla="*/ 1201556 h 1323458"/>
                    <a:gd name="connsiteX1519" fmla="*/ 235561 w 1439351"/>
                    <a:gd name="connsiteY1519" fmla="*/ 1196529 h 1323458"/>
                    <a:gd name="connsiteX1520" fmla="*/ 234942 w 1439351"/>
                    <a:gd name="connsiteY1520" fmla="*/ 1196334 h 1323458"/>
                    <a:gd name="connsiteX1521" fmla="*/ 235865 w 1439351"/>
                    <a:gd name="connsiteY1521" fmla="*/ 1193639 h 1323458"/>
                    <a:gd name="connsiteX1522" fmla="*/ 240612 w 1439351"/>
                    <a:gd name="connsiteY1522" fmla="*/ 1187239 h 1323458"/>
                    <a:gd name="connsiteX1523" fmla="*/ 242567 w 1439351"/>
                    <a:gd name="connsiteY1523" fmla="*/ 1183536 h 1323458"/>
                    <a:gd name="connsiteX1524" fmla="*/ 243660 w 1439351"/>
                    <a:gd name="connsiteY1524" fmla="*/ 1179626 h 1323458"/>
                    <a:gd name="connsiteX1525" fmla="*/ 244012 w 1439351"/>
                    <a:gd name="connsiteY1525" fmla="*/ 1175376 h 1323458"/>
                    <a:gd name="connsiteX1526" fmla="*/ 243600 w 1439351"/>
                    <a:gd name="connsiteY1526" fmla="*/ 1174538 h 1323458"/>
                    <a:gd name="connsiteX1527" fmla="*/ 241827 w 1439351"/>
                    <a:gd name="connsiteY1527" fmla="*/ 1172474 h 1323458"/>
                    <a:gd name="connsiteX1528" fmla="*/ 241317 w 1439351"/>
                    <a:gd name="connsiteY1528" fmla="*/ 1171296 h 1323458"/>
                    <a:gd name="connsiteX1529" fmla="*/ 242410 w 1439351"/>
                    <a:gd name="connsiteY1529" fmla="*/ 1167738 h 1323458"/>
                    <a:gd name="connsiteX1530" fmla="*/ 242567 w 1439351"/>
                    <a:gd name="connsiteY1530" fmla="*/ 1166475 h 1323458"/>
                    <a:gd name="connsiteX1531" fmla="*/ 241948 w 1439351"/>
                    <a:gd name="connsiteY1531" fmla="*/ 1161788 h 1323458"/>
                    <a:gd name="connsiteX1532" fmla="*/ 240285 w 1439351"/>
                    <a:gd name="connsiteY1532" fmla="*/ 1158861 h 1323458"/>
                    <a:gd name="connsiteX1533" fmla="*/ 238147 w 1439351"/>
                    <a:gd name="connsiteY1533" fmla="*/ 1156518 h 1323458"/>
                    <a:gd name="connsiteX1534" fmla="*/ 236192 w 1439351"/>
                    <a:gd name="connsiteY1534" fmla="*/ 1153470 h 1323458"/>
                    <a:gd name="connsiteX1535" fmla="*/ 235500 w 1439351"/>
                    <a:gd name="connsiteY1535" fmla="*/ 1149827 h 1323458"/>
                    <a:gd name="connsiteX1536" fmla="*/ 235500 w 1439351"/>
                    <a:gd name="connsiteY1536" fmla="*/ 1145723 h 1323458"/>
                    <a:gd name="connsiteX1537" fmla="*/ 235112 w 1439351"/>
                    <a:gd name="connsiteY1537" fmla="*/ 1141558 h 1323458"/>
                    <a:gd name="connsiteX1538" fmla="*/ 230060 w 1439351"/>
                    <a:gd name="connsiteY1538" fmla="*/ 1132511 h 1323458"/>
                    <a:gd name="connsiteX1539" fmla="*/ 229137 w 1439351"/>
                    <a:gd name="connsiteY1539" fmla="*/ 1131710 h 1323458"/>
                    <a:gd name="connsiteX1540" fmla="*/ 227073 w 1439351"/>
                    <a:gd name="connsiteY1540" fmla="*/ 1131103 h 1323458"/>
                    <a:gd name="connsiteX1541" fmla="*/ 225519 w 1439351"/>
                    <a:gd name="connsiteY1541" fmla="*/ 1129524 h 1323458"/>
                    <a:gd name="connsiteX1542" fmla="*/ 224669 w 1439351"/>
                    <a:gd name="connsiteY1542" fmla="*/ 1127350 h 1323458"/>
                    <a:gd name="connsiteX1543" fmla="*/ 224669 w 1439351"/>
                    <a:gd name="connsiteY1543" fmla="*/ 1124898 h 1323458"/>
                    <a:gd name="connsiteX1544" fmla="*/ 226794 w 1439351"/>
                    <a:gd name="connsiteY1544" fmla="*/ 1121947 h 1323458"/>
                    <a:gd name="connsiteX1545" fmla="*/ 235342 w 1439351"/>
                    <a:gd name="connsiteY1545" fmla="*/ 1115195 h 1323458"/>
                    <a:gd name="connsiteX1546" fmla="*/ 241195 w 1439351"/>
                    <a:gd name="connsiteY1546" fmla="*/ 1112415 h 1323458"/>
                    <a:gd name="connsiteX1547" fmla="*/ 251602 w 1439351"/>
                    <a:gd name="connsiteY1547" fmla="*/ 1102967 h 1323458"/>
                    <a:gd name="connsiteX1548" fmla="*/ 253885 w 1439351"/>
                    <a:gd name="connsiteY1548" fmla="*/ 1100065 h 1323458"/>
                    <a:gd name="connsiteX1549" fmla="*/ 256070 w 1439351"/>
                    <a:gd name="connsiteY1549" fmla="*/ 1095900 h 1323458"/>
                    <a:gd name="connsiteX1550" fmla="*/ 256811 w 1439351"/>
                    <a:gd name="connsiteY1550" fmla="*/ 1091347 h 1323458"/>
                    <a:gd name="connsiteX1551" fmla="*/ 254856 w 1439351"/>
                    <a:gd name="connsiteY1551" fmla="*/ 1087230 h 1323458"/>
                    <a:gd name="connsiteX1552" fmla="*/ 254917 w 1439351"/>
                    <a:gd name="connsiteY1552" fmla="*/ 1084134 h 1323458"/>
                    <a:gd name="connsiteX1553" fmla="*/ 255779 w 1439351"/>
                    <a:gd name="connsiteY1553" fmla="*/ 1082931 h 1323458"/>
                    <a:gd name="connsiteX1554" fmla="*/ 256471 w 1439351"/>
                    <a:gd name="connsiteY1554" fmla="*/ 1077589 h 1323458"/>
                    <a:gd name="connsiteX1555" fmla="*/ 257102 w 1439351"/>
                    <a:gd name="connsiteY1555" fmla="*/ 1074431 h 1323458"/>
                    <a:gd name="connsiteX1556" fmla="*/ 257734 w 1439351"/>
                    <a:gd name="connsiteY1556" fmla="*/ 1072683 h 1323458"/>
                    <a:gd name="connsiteX1557" fmla="*/ 260369 w 1439351"/>
                    <a:gd name="connsiteY1557" fmla="*/ 1068748 h 1323458"/>
                    <a:gd name="connsiteX1558" fmla="*/ 261644 w 1439351"/>
                    <a:gd name="connsiteY1558" fmla="*/ 1063345 h 1323458"/>
                    <a:gd name="connsiteX1559" fmla="*/ 261353 w 1439351"/>
                    <a:gd name="connsiteY1559" fmla="*/ 1061196 h 1323458"/>
                    <a:gd name="connsiteX1560" fmla="*/ 260551 w 1439351"/>
                    <a:gd name="connsiteY1560" fmla="*/ 1058463 h 1323458"/>
                    <a:gd name="connsiteX1561" fmla="*/ 258244 w 1439351"/>
                    <a:gd name="connsiteY1561" fmla="*/ 1054906 h 1323458"/>
                    <a:gd name="connsiteX1562" fmla="*/ 248772 w 1439351"/>
                    <a:gd name="connsiteY1562" fmla="*/ 1035003 h 1323458"/>
                    <a:gd name="connsiteX1563" fmla="*/ 246247 w 1439351"/>
                    <a:gd name="connsiteY1563" fmla="*/ 1031615 h 1323458"/>
                    <a:gd name="connsiteX1564" fmla="*/ 244012 w 1439351"/>
                    <a:gd name="connsiteY1564" fmla="*/ 1029320 h 1323458"/>
                    <a:gd name="connsiteX1565" fmla="*/ 241013 w 1439351"/>
                    <a:gd name="connsiteY1565" fmla="*/ 1025216 h 1323458"/>
                    <a:gd name="connsiteX1566" fmla="*/ 240163 w 1439351"/>
                    <a:gd name="connsiteY1566" fmla="*/ 1022897 h 1323458"/>
                    <a:gd name="connsiteX1567" fmla="*/ 240042 w 1439351"/>
                    <a:gd name="connsiteY1567" fmla="*/ 1021003 h 1323458"/>
                    <a:gd name="connsiteX1568" fmla="*/ 240734 w 1439351"/>
                    <a:gd name="connsiteY1568" fmla="*/ 1019764 h 1323458"/>
                    <a:gd name="connsiteX1569" fmla="*/ 242057 w 1439351"/>
                    <a:gd name="connsiteY1569" fmla="*/ 1018246 h 1323458"/>
                    <a:gd name="connsiteX1570" fmla="*/ 254856 w 1439351"/>
                    <a:gd name="connsiteY1570" fmla="*/ 1007621 h 1323458"/>
                    <a:gd name="connsiteX1571" fmla="*/ 257965 w 1439351"/>
                    <a:gd name="connsiteY1571" fmla="*/ 1003286 h 1323458"/>
                    <a:gd name="connsiteX1572" fmla="*/ 259859 w 1439351"/>
                    <a:gd name="connsiteY1572" fmla="*/ 992624 h 1323458"/>
                    <a:gd name="connsiteX1573" fmla="*/ 262433 w 1439351"/>
                    <a:gd name="connsiteY1573" fmla="*/ 990014 h 1323458"/>
                    <a:gd name="connsiteX1574" fmla="*/ 279324 w 1439351"/>
                    <a:gd name="connsiteY1574" fmla="*/ 985630 h 1323458"/>
                    <a:gd name="connsiteX1575" fmla="*/ 283283 w 1439351"/>
                    <a:gd name="connsiteY1575" fmla="*/ 985023 h 1323458"/>
                    <a:gd name="connsiteX1576" fmla="*/ 285930 w 1439351"/>
                    <a:gd name="connsiteY1576" fmla="*/ 984914 h 1323458"/>
                    <a:gd name="connsiteX1577" fmla="*/ 291661 w 1439351"/>
                    <a:gd name="connsiteY1577" fmla="*/ 985970 h 1323458"/>
                    <a:gd name="connsiteX1578" fmla="*/ 295401 w 1439351"/>
                    <a:gd name="connsiteY1578" fmla="*/ 986019 h 1323458"/>
                    <a:gd name="connsiteX1579" fmla="*/ 297684 w 1439351"/>
                    <a:gd name="connsiteY1579" fmla="*/ 985448 h 1323458"/>
                    <a:gd name="connsiteX1580" fmla="*/ 300222 w 1439351"/>
                    <a:gd name="connsiteY1580" fmla="*/ 984076 h 1323458"/>
                    <a:gd name="connsiteX1581" fmla="*/ 302226 w 1439351"/>
                    <a:gd name="connsiteY1581" fmla="*/ 982473 h 1323458"/>
                    <a:gd name="connsiteX1582" fmla="*/ 308491 w 1439351"/>
                    <a:gd name="connsiteY1582" fmla="*/ 979024 h 1323458"/>
                    <a:gd name="connsiteX1583" fmla="*/ 326924 w 1439351"/>
                    <a:gd name="connsiteY1583" fmla="*/ 975345 h 1323458"/>
                    <a:gd name="connsiteX1584" fmla="*/ 333129 w 1439351"/>
                    <a:gd name="connsiteY1584" fmla="*/ 971993 h 1323458"/>
                    <a:gd name="connsiteX1585" fmla="*/ 333931 w 1439351"/>
                    <a:gd name="connsiteY1585" fmla="*/ 970694 h 1323458"/>
                    <a:gd name="connsiteX1586" fmla="*/ 334271 w 1439351"/>
                    <a:gd name="connsiteY1586" fmla="*/ 969747 h 1323458"/>
                    <a:gd name="connsiteX1587" fmla="*/ 334453 w 1439351"/>
                    <a:gd name="connsiteY1587" fmla="*/ 968909 h 1323458"/>
                    <a:gd name="connsiteX1588" fmla="*/ 334453 w 1439351"/>
                    <a:gd name="connsiteY1588" fmla="*/ 967513 h 1323458"/>
                    <a:gd name="connsiteX1589" fmla="*/ 334271 w 1439351"/>
                    <a:gd name="connsiteY1589" fmla="*/ 965667 h 1323458"/>
                    <a:gd name="connsiteX1590" fmla="*/ 333591 w 1439351"/>
                    <a:gd name="connsiteY1590" fmla="*/ 963287 h 1323458"/>
                    <a:gd name="connsiteX1591" fmla="*/ 332668 w 1439351"/>
                    <a:gd name="connsiteY1591" fmla="*/ 960907 h 1323458"/>
                    <a:gd name="connsiteX1592" fmla="*/ 330203 w 1439351"/>
                    <a:gd name="connsiteY1592" fmla="*/ 956366 h 1323458"/>
                    <a:gd name="connsiteX1593" fmla="*/ 329559 w 1439351"/>
                    <a:gd name="connsiteY1593" fmla="*/ 954411 h 1323458"/>
                    <a:gd name="connsiteX1594" fmla="*/ 329280 w 1439351"/>
                    <a:gd name="connsiteY1594" fmla="*/ 952468 h 1323458"/>
                    <a:gd name="connsiteX1595" fmla="*/ 329462 w 1439351"/>
                    <a:gd name="connsiteY1595" fmla="*/ 950464 h 1323458"/>
                    <a:gd name="connsiteX1596" fmla="*/ 329790 w 1439351"/>
                    <a:gd name="connsiteY1596" fmla="*/ 948351 h 1323458"/>
                    <a:gd name="connsiteX1597" fmla="*/ 330494 w 1439351"/>
                    <a:gd name="connsiteY1597" fmla="*/ 945656 h 1323458"/>
                    <a:gd name="connsiteX1598" fmla="*/ 331684 w 1439351"/>
                    <a:gd name="connsiteY1598" fmla="*/ 942535 h 1323458"/>
                    <a:gd name="connsiteX1599" fmla="*/ 333360 w 1439351"/>
                    <a:gd name="connsiteY1599" fmla="*/ 940385 h 1323458"/>
                    <a:gd name="connsiteX1600" fmla="*/ 335643 w 1439351"/>
                    <a:gd name="connsiteY1600" fmla="*/ 938710 h 1323458"/>
                    <a:gd name="connsiteX1601" fmla="*/ 338169 w 1439351"/>
                    <a:gd name="connsiteY1601" fmla="*/ 937338 h 1323458"/>
                    <a:gd name="connsiteX1602" fmla="*/ 341277 w 1439351"/>
                    <a:gd name="connsiteY1602" fmla="*/ 935116 h 1323458"/>
                    <a:gd name="connsiteX1603" fmla="*/ 344556 w 1439351"/>
                    <a:gd name="connsiteY1603" fmla="*/ 932165 h 1323458"/>
                    <a:gd name="connsiteX1604" fmla="*/ 347482 w 1439351"/>
                    <a:gd name="connsiteY1604" fmla="*/ 925134 h 1323458"/>
                    <a:gd name="connsiteX1605" fmla="*/ 349607 w 1439351"/>
                    <a:gd name="connsiteY1605" fmla="*/ 919281 h 1323458"/>
                    <a:gd name="connsiteX1606" fmla="*/ 357925 w 1439351"/>
                    <a:gd name="connsiteY1606" fmla="*/ 909202 h 1323458"/>
                    <a:gd name="connsiteX1607" fmla="*/ 359261 w 1439351"/>
                    <a:gd name="connsiteY1607" fmla="*/ 906555 h 1323458"/>
                    <a:gd name="connsiteX1608" fmla="*/ 359941 w 1439351"/>
                    <a:gd name="connsiteY1608" fmla="*/ 904600 h 1323458"/>
                    <a:gd name="connsiteX1609" fmla="*/ 360512 w 1439351"/>
                    <a:gd name="connsiteY1609" fmla="*/ 900350 h 1323458"/>
                    <a:gd name="connsiteX1610" fmla="*/ 364422 w 1439351"/>
                    <a:gd name="connsiteY1610" fmla="*/ 891802 h 1323458"/>
                    <a:gd name="connsiteX1611" fmla="*/ 370457 w 1439351"/>
                    <a:gd name="connsiteY1611" fmla="*/ 882670 h 1323458"/>
                    <a:gd name="connsiteX1612" fmla="*/ 371708 w 1439351"/>
                    <a:gd name="connsiteY1612" fmla="*/ 880254 h 1323458"/>
                    <a:gd name="connsiteX1613" fmla="*/ 371890 w 1439351"/>
                    <a:gd name="connsiteY1613" fmla="*/ 878299 h 1323458"/>
                    <a:gd name="connsiteX1614" fmla="*/ 370918 w 1439351"/>
                    <a:gd name="connsiteY1614" fmla="*/ 877242 h 1323458"/>
                    <a:gd name="connsiteX1615" fmla="*/ 367870 w 1439351"/>
                    <a:gd name="connsiteY1615" fmla="*/ 875348 h 1323458"/>
                    <a:gd name="connsiteX1616" fmla="*/ 366377 w 1439351"/>
                    <a:gd name="connsiteY1616" fmla="*/ 873648 h 1323458"/>
                    <a:gd name="connsiteX1617" fmla="*/ 365466 w 1439351"/>
                    <a:gd name="connsiteY1617" fmla="*/ 871353 h 1323458"/>
                    <a:gd name="connsiteX1618" fmla="*/ 365163 w 1439351"/>
                    <a:gd name="connsiteY1618" fmla="*/ 867552 h 1323458"/>
                    <a:gd name="connsiteX1619" fmla="*/ 365745 w 1439351"/>
                    <a:gd name="connsiteY1619" fmla="*/ 865719 h 1323458"/>
                    <a:gd name="connsiteX1620" fmla="*/ 366838 w 1439351"/>
                    <a:gd name="connsiteY1620" fmla="*/ 864626 h 1323458"/>
                    <a:gd name="connsiteX1621" fmla="*/ 370214 w 1439351"/>
                    <a:gd name="connsiteY1621" fmla="*/ 863363 h 1323458"/>
                    <a:gd name="connsiteX1622" fmla="*/ 371890 w 1439351"/>
                    <a:gd name="connsiteY1622" fmla="*/ 861845 h 1323458"/>
                    <a:gd name="connsiteX1623" fmla="*/ 372351 w 1439351"/>
                    <a:gd name="connsiteY1623" fmla="*/ 860667 h 1323458"/>
                    <a:gd name="connsiteX1624" fmla="*/ 372169 w 1439351"/>
                    <a:gd name="connsiteY1624" fmla="*/ 859429 h 1323458"/>
                    <a:gd name="connsiteX1625" fmla="*/ 370044 w 1439351"/>
                    <a:gd name="connsiteY1625" fmla="*/ 856271 h 1323458"/>
                    <a:gd name="connsiteX1626" fmla="*/ 368963 w 1439351"/>
                    <a:gd name="connsiteY1626" fmla="*/ 854086 h 1323458"/>
                    <a:gd name="connsiteX1627" fmla="*/ 368453 w 1439351"/>
                    <a:gd name="connsiteY1627" fmla="*/ 851220 h 1323458"/>
                    <a:gd name="connsiteX1628" fmla="*/ 368903 w 1439351"/>
                    <a:gd name="connsiteY1628" fmla="*/ 849241 h 1323458"/>
                    <a:gd name="connsiteX1629" fmla="*/ 369643 w 1439351"/>
                    <a:gd name="connsiteY1629" fmla="*/ 847856 h 1323458"/>
                    <a:gd name="connsiteX1630" fmla="*/ 372230 w 1439351"/>
                    <a:gd name="connsiteY1630" fmla="*/ 845513 h 1323458"/>
                    <a:gd name="connsiteX1631" fmla="*/ 373602 w 1439351"/>
                    <a:gd name="connsiteY1631" fmla="*/ 844529 h 1323458"/>
                    <a:gd name="connsiteX1632" fmla="*/ 375095 w 1439351"/>
                    <a:gd name="connsiteY1632" fmla="*/ 843898 h 1323458"/>
                    <a:gd name="connsiteX1633" fmla="*/ 376880 w 1439351"/>
                    <a:gd name="connsiteY1633" fmla="*/ 843351 h 1323458"/>
                    <a:gd name="connsiteX1634" fmla="*/ 382053 w 1439351"/>
                    <a:gd name="connsiteY1634" fmla="*/ 842283 h 1323458"/>
                    <a:gd name="connsiteX1635" fmla="*/ 384130 w 1439351"/>
                    <a:gd name="connsiteY1635" fmla="*/ 841372 h 1323458"/>
                    <a:gd name="connsiteX1636" fmla="*/ 385842 w 1439351"/>
                    <a:gd name="connsiteY1636" fmla="*/ 839915 h 1323458"/>
                    <a:gd name="connsiteX1637" fmla="*/ 387336 w 1439351"/>
                    <a:gd name="connsiteY1637" fmla="*/ 838093 h 1323458"/>
                    <a:gd name="connsiteX1638" fmla="*/ 391464 w 1439351"/>
                    <a:gd name="connsiteY1638" fmla="*/ 831463 h 1323458"/>
                    <a:gd name="connsiteX1639" fmla="*/ 391986 w 1439351"/>
                    <a:gd name="connsiteY1639" fmla="*/ 830201 h 1323458"/>
                    <a:gd name="connsiteX1640" fmla="*/ 391925 w 1439351"/>
                    <a:gd name="connsiteY1640" fmla="*/ 829059 h 1323458"/>
                    <a:gd name="connsiteX1641" fmla="*/ 391282 w 1439351"/>
                    <a:gd name="connsiteY1641" fmla="*/ 828343 h 1323458"/>
                    <a:gd name="connsiteX1642" fmla="*/ 390493 w 1439351"/>
                    <a:gd name="connsiteY1642" fmla="*/ 827614 h 1323458"/>
                    <a:gd name="connsiteX1643" fmla="*/ 389752 w 1439351"/>
                    <a:gd name="connsiteY1643" fmla="*/ 827165 h 1323458"/>
                    <a:gd name="connsiteX1644" fmla="*/ 387906 w 1439351"/>
                    <a:gd name="connsiteY1644" fmla="*/ 825040 h 1323458"/>
                    <a:gd name="connsiteX1645" fmla="*/ 390262 w 1439351"/>
                    <a:gd name="connsiteY1645" fmla="*/ 817718 h 1323458"/>
                    <a:gd name="connsiteX1646" fmla="*/ 389752 w 1439351"/>
                    <a:gd name="connsiteY1646" fmla="*/ 811853 h 1323458"/>
                    <a:gd name="connsiteX1647" fmla="*/ 388198 w 1439351"/>
                    <a:gd name="connsiteY1647" fmla="*/ 806340 h 1323458"/>
                    <a:gd name="connsiteX1648" fmla="*/ 385781 w 1439351"/>
                    <a:gd name="connsiteY1648" fmla="*/ 800402 h 1323458"/>
                    <a:gd name="connsiteX1649" fmla="*/ 375678 w 1439351"/>
                    <a:gd name="connsiteY1649" fmla="*/ 785502 h 1323458"/>
                    <a:gd name="connsiteX1650" fmla="*/ 372983 w 1439351"/>
                    <a:gd name="connsiteY1650" fmla="*/ 780451 h 1323458"/>
                    <a:gd name="connsiteX1651" fmla="*/ 370275 w 1439351"/>
                    <a:gd name="connsiteY1651" fmla="*/ 772643 h 1323458"/>
                    <a:gd name="connsiteX1652" fmla="*/ 368903 w 1439351"/>
                    <a:gd name="connsiteY1652" fmla="*/ 766061 h 1323458"/>
                    <a:gd name="connsiteX1653" fmla="*/ 368963 w 1439351"/>
                    <a:gd name="connsiteY1653" fmla="*/ 764507 h 1323458"/>
                    <a:gd name="connsiteX1654" fmla="*/ 368781 w 1439351"/>
                    <a:gd name="connsiteY1654" fmla="*/ 764143 h 1323458"/>
                    <a:gd name="connsiteX1655" fmla="*/ 368781 w 1439351"/>
                    <a:gd name="connsiteY1655" fmla="*/ 762273 h 1323458"/>
                    <a:gd name="connsiteX1656" fmla="*/ 368453 w 1439351"/>
                    <a:gd name="connsiteY1656" fmla="*/ 760779 h 1323458"/>
                    <a:gd name="connsiteX1657" fmla="*/ 366595 w 1439351"/>
                    <a:gd name="connsiteY1657" fmla="*/ 758399 h 1323458"/>
                    <a:gd name="connsiteX1658" fmla="*/ 365345 w 1439351"/>
                    <a:gd name="connsiteY1658" fmla="*/ 758084 h 1323458"/>
                    <a:gd name="connsiteX1659" fmla="*/ 362697 w 1439351"/>
                    <a:gd name="connsiteY1659" fmla="*/ 758023 h 1323458"/>
                    <a:gd name="connsiteX1660" fmla="*/ 356723 w 1439351"/>
                    <a:gd name="connsiteY1660" fmla="*/ 759541 h 1323458"/>
                    <a:gd name="connsiteX1661" fmla="*/ 354489 w 1439351"/>
                    <a:gd name="connsiteY1661" fmla="*/ 759395 h 1323458"/>
                    <a:gd name="connsiteX1662" fmla="*/ 350919 w 1439351"/>
                    <a:gd name="connsiteY1662" fmla="*/ 757246 h 1323458"/>
                    <a:gd name="connsiteX1663" fmla="*/ 345236 w 1439351"/>
                    <a:gd name="connsiteY1663" fmla="*/ 750069 h 1323458"/>
                    <a:gd name="connsiteX1664" fmla="*/ 341569 w 1439351"/>
                    <a:gd name="connsiteY1664" fmla="*/ 747143 h 1323458"/>
                    <a:gd name="connsiteX1665" fmla="*/ 339626 w 1439351"/>
                    <a:gd name="connsiteY1665" fmla="*/ 746803 h 1323458"/>
                    <a:gd name="connsiteX1666" fmla="*/ 337489 w 1439351"/>
                    <a:gd name="connsiteY1666" fmla="*/ 746864 h 1323458"/>
                    <a:gd name="connsiteX1667" fmla="*/ 335825 w 1439351"/>
                    <a:gd name="connsiteY1667" fmla="*/ 746511 h 1323458"/>
                    <a:gd name="connsiteX1668" fmla="*/ 335133 w 1439351"/>
                    <a:gd name="connsiteY1668" fmla="*/ 744957 h 1323458"/>
                    <a:gd name="connsiteX1669" fmla="*/ 334453 w 1439351"/>
                    <a:gd name="connsiteY1669" fmla="*/ 742371 h 1323458"/>
                    <a:gd name="connsiteX1670" fmla="*/ 332717 w 1439351"/>
                    <a:gd name="connsiteY1670" fmla="*/ 741691 h 1323458"/>
                    <a:gd name="connsiteX1671" fmla="*/ 330652 w 1439351"/>
                    <a:gd name="connsiteY1671" fmla="*/ 742431 h 1323458"/>
                    <a:gd name="connsiteX1672" fmla="*/ 328770 w 1439351"/>
                    <a:gd name="connsiteY1672" fmla="*/ 744277 h 1323458"/>
                    <a:gd name="connsiteX1673" fmla="*/ 326111 w 1439351"/>
                    <a:gd name="connsiteY1673" fmla="*/ 739736 h 1323458"/>
                    <a:gd name="connsiteX1674" fmla="*/ 322966 w 1439351"/>
                    <a:gd name="connsiteY1674" fmla="*/ 739942 h 1323458"/>
                    <a:gd name="connsiteX1675" fmla="*/ 315850 w 1439351"/>
                    <a:gd name="connsiteY1675" fmla="*/ 744277 h 1323458"/>
                    <a:gd name="connsiteX1676" fmla="*/ 313421 w 1439351"/>
                    <a:gd name="connsiteY1676" fmla="*/ 744532 h 1323458"/>
                    <a:gd name="connsiteX1677" fmla="*/ 309706 w 1439351"/>
                    <a:gd name="connsiteY1677" fmla="*/ 744095 h 1323458"/>
                    <a:gd name="connsiteX1678" fmla="*/ 308151 w 1439351"/>
                    <a:gd name="connsiteY1678" fmla="*/ 744277 h 1323458"/>
                    <a:gd name="connsiteX1679" fmla="*/ 306719 w 1439351"/>
                    <a:gd name="connsiteY1679" fmla="*/ 745334 h 1323458"/>
                    <a:gd name="connsiteX1680" fmla="*/ 305784 w 1439351"/>
                    <a:gd name="connsiteY1680" fmla="*/ 746706 h 1323458"/>
                    <a:gd name="connsiteX1681" fmla="*/ 304593 w 1439351"/>
                    <a:gd name="connsiteY1681" fmla="*/ 747884 h 1323458"/>
                    <a:gd name="connsiteX1682" fmla="*/ 302347 w 1439351"/>
                    <a:gd name="connsiteY1682" fmla="*/ 748406 h 1323458"/>
                    <a:gd name="connsiteX1683" fmla="*/ 298619 w 1439351"/>
                    <a:gd name="connsiteY1683" fmla="*/ 747884 h 1323458"/>
                    <a:gd name="connsiteX1684" fmla="*/ 290107 w 1439351"/>
                    <a:gd name="connsiteY1684" fmla="*/ 742893 h 1323458"/>
                    <a:gd name="connsiteX1685" fmla="*/ 286440 w 1439351"/>
                    <a:gd name="connsiteY1685" fmla="*/ 741885 h 1323458"/>
                    <a:gd name="connsiteX1686" fmla="*/ 279494 w 1439351"/>
                    <a:gd name="connsiteY1686" fmla="*/ 741083 h 1323458"/>
                    <a:gd name="connsiteX1687" fmla="*/ 276616 w 1439351"/>
                    <a:gd name="connsiteY1687" fmla="*/ 739505 h 1323458"/>
                    <a:gd name="connsiteX1688" fmla="*/ 275135 w 1439351"/>
                    <a:gd name="connsiteY1688" fmla="*/ 737756 h 1323458"/>
                    <a:gd name="connsiteX1689" fmla="*/ 274212 w 1439351"/>
                    <a:gd name="connsiteY1689" fmla="*/ 736141 h 1323458"/>
                    <a:gd name="connsiteX1690" fmla="*/ 273240 w 1439351"/>
                    <a:gd name="connsiteY1690" fmla="*/ 734976 h 1323458"/>
                    <a:gd name="connsiteX1691" fmla="*/ 271456 w 1439351"/>
                    <a:gd name="connsiteY1691" fmla="*/ 734502 h 1323458"/>
                    <a:gd name="connsiteX1692" fmla="*/ 267218 w 1439351"/>
                    <a:gd name="connsiteY1692" fmla="*/ 734648 h 1323458"/>
                    <a:gd name="connsiteX1693" fmla="*/ 265141 w 1439351"/>
                    <a:gd name="connsiteY1693" fmla="*/ 734113 h 1323458"/>
                    <a:gd name="connsiteX1694" fmla="*/ 262615 w 1439351"/>
                    <a:gd name="connsiteY1694" fmla="*/ 729232 h 1323458"/>
                    <a:gd name="connsiteX1695" fmla="*/ 258717 w 1439351"/>
                    <a:gd name="connsiteY1695" fmla="*/ 727738 h 1323458"/>
                    <a:gd name="connsiteX1696" fmla="*/ 254115 w 1439351"/>
                    <a:gd name="connsiteY1696" fmla="*/ 727447 h 1323458"/>
                    <a:gd name="connsiteX1697" fmla="*/ 246587 w 1439351"/>
                    <a:gd name="connsiteY1697" fmla="*/ 728455 h 1323458"/>
                    <a:gd name="connsiteX1698" fmla="*/ 245506 w 1439351"/>
                    <a:gd name="connsiteY1698" fmla="*/ 729147 h 1323458"/>
                    <a:gd name="connsiteX1699" fmla="*/ 244012 w 1439351"/>
                    <a:gd name="connsiteY1699" fmla="*/ 730519 h 1323458"/>
                    <a:gd name="connsiteX1700" fmla="*/ 241365 w 1439351"/>
                    <a:gd name="connsiteY1700" fmla="*/ 735194 h 1323458"/>
                    <a:gd name="connsiteX1701" fmla="*/ 240734 w 1439351"/>
                    <a:gd name="connsiteY1701" fmla="*/ 736032 h 1323458"/>
                    <a:gd name="connsiteX1702" fmla="*/ 236836 w 1439351"/>
                    <a:gd name="connsiteY1702" fmla="*/ 735510 h 1323458"/>
                    <a:gd name="connsiteX1703" fmla="*/ 234067 w 1439351"/>
                    <a:gd name="connsiteY1703" fmla="*/ 734709 h 1323458"/>
                    <a:gd name="connsiteX1704" fmla="*/ 230449 w 1439351"/>
                    <a:gd name="connsiteY1704" fmla="*/ 734769 h 1323458"/>
                    <a:gd name="connsiteX1705" fmla="*/ 230060 w 1439351"/>
                    <a:gd name="connsiteY1705" fmla="*/ 733239 h 1323458"/>
                    <a:gd name="connsiteX1706" fmla="*/ 229259 w 1439351"/>
                    <a:gd name="connsiteY1706" fmla="*/ 731490 h 1323458"/>
                    <a:gd name="connsiteX1707" fmla="*/ 228044 w 1439351"/>
                    <a:gd name="connsiteY1707" fmla="*/ 729888 h 1323458"/>
                    <a:gd name="connsiteX1708" fmla="*/ 226272 w 1439351"/>
                    <a:gd name="connsiteY1708" fmla="*/ 728018 h 1323458"/>
                    <a:gd name="connsiteX1709" fmla="*/ 225458 w 1439351"/>
                    <a:gd name="connsiteY1709" fmla="*/ 726694 h 1323458"/>
                    <a:gd name="connsiteX1710" fmla="*/ 225300 w 1439351"/>
                    <a:gd name="connsiteY1710" fmla="*/ 725698 h 1323458"/>
                    <a:gd name="connsiteX1711" fmla="*/ 225810 w 1439351"/>
                    <a:gd name="connsiteY1711" fmla="*/ 724690 h 1323458"/>
                    <a:gd name="connsiteX1712" fmla="*/ 226672 w 1439351"/>
                    <a:gd name="connsiteY1712" fmla="*/ 724399 h 1323458"/>
                    <a:gd name="connsiteX1713" fmla="*/ 228275 w 1439351"/>
                    <a:gd name="connsiteY1713" fmla="*/ 724436 h 1323458"/>
                    <a:gd name="connsiteX1714" fmla="*/ 230000 w 1439351"/>
                    <a:gd name="connsiteY1714" fmla="*/ 724168 h 1323458"/>
                    <a:gd name="connsiteX1715" fmla="*/ 231942 w 1439351"/>
                    <a:gd name="connsiteY1715" fmla="*/ 722942 h 1323458"/>
                    <a:gd name="connsiteX1716" fmla="*/ 238208 w 1439351"/>
                    <a:gd name="connsiteY1716" fmla="*/ 717053 h 1323458"/>
                    <a:gd name="connsiteX1717" fmla="*/ 239180 w 1439351"/>
                    <a:gd name="connsiteY1717" fmla="*/ 715765 h 1323458"/>
                    <a:gd name="connsiteX1718" fmla="*/ 239070 w 1439351"/>
                    <a:gd name="connsiteY1718" fmla="*/ 714733 h 1323458"/>
                    <a:gd name="connsiteX1719" fmla="*/ 238439 w 1439351"/>
                    <a:gd name="connsiteY1719" fmla="*/ 713871 h 1323458"/>
                    <a:gd name="connsiteX1720" fmla="*/ 237358 w 1439351"/>
                    <a:gd name="connsiteY1720" fmla="*/ 713033 h 1323458"/>
                    <a:gd name="connsiteX1721" fmla="*/ 236253 w 1439351"/>
                    <a:gd name="connsiteY1721" fmla="*/ 712378 h 1323458"/>
                    <a:gd name="connsiteX1722" fmla="*/ 234760 w 1439351"/>
                    <a:gd name="connsiteY1722" fmla="*/ 711880 h 1323458"/>
                    <a:gd name="connsiteX1723" fmla="*/ 230570 w 1439351"/>
                    <a:gd name="connsiteY1723" fmla="*/ 711455 h 1323458"/>
                    <a:gd name="connsiteX1724" fmla="*/ 228737 w 1439351"/>
                    <a:gd name="connsiteY1724" fmla="*/ 710969 h 1323458"/>
                    <a:gd name="connsiteX1725" fmla="*/ 226891 w 1439351"/>
                    <a:gd name="connsiteY1725" fmla="*/ 710107 h 1323458"/>
                    <a:gd name="connsiteX1726" fmla="*/ 224608 w 1439351"/>
                    <a:gd name="connsiteY1726" fmla="*/ 709500 h 1323458"/>
                    <a:gd name="connsiteX1727" fmla="*/ 221439 w 1439351"/>
                    <a:gd name="connsiteY1727" fmla="*/ 709075 h 1323458"/>
                    <a:gd name="connsiteX1728" fmla="*/ 215817 w 1439351"/>
                    <a:gd name="connsiteY1728" fmla="*/ 709366 h 1323458"/>
                    <a:gd name="connsiteX1729" fmla="*/ 212999 w 1439351"/>
                    <a:gd name="connsiteY1729" fmla="*/ 709815 h 1323458"/>
                    <a:gd name="connsiteX1730" fmla="*/ 210595 w 1439351"/>
                    <a:gd name="connsiteY1730" fmla="*/ 711285 h 1323458"/>
                    <a:gd name="connsiteX1731" fmla="*/ 209502 w 1439351"/>
                    <a:gd name="connsiteY1731" fmla="*/ 712378 h 1323458"/>
                    <a:gd name="connsiteX1732" fmla="*/ 207717 w 1439351"/>
                    <a:gd name="connsiteY1732" fmla="*/ 713580 h 1323458"/>
                    <a:gd name="connsiteX1733" fmla="*/ 206977 w 1439351"/>
                    <a:gd name="connsiteY1733" fmla="*/ 714636 h 1323458"/>
                    <a:gd name="connsiteX1734" fmla="*/ 206284 w 1439351"/>
                    <a:gd name="connsiteY1734" fmla="*/ 715935 h 1323458"/>
                    <a:gd name="connsiteX1735" fmla="*/ 205313 w 1439351"/>
                    <a:gd name="connsiteY1735" fmla="*/ 716883 h 1323458"/>
                    <a:gd name="connsiteX1736" fmla="*/ 203819 w 1439351"/>
                    <a:gd name="connsiteY1736" fmla="*/ 717344 h 1323458"/>
                    <a:gd name="connsiteX1737" fmla="*/ 199861 w 1439351"/>
                    <a:gd name="connsiteY1737" fmla="*/ 717077 h 1323458"/>
                    <a:gd name="connsiteX1738" fmla="*/ 198428 w 1439351"/>
                    <a:gd name="connsiteY1738" fmla="*/ 717344 h 1323458"/>
                    <a:gd name="connsiteX1739" fmla="*/ 197262 w 1439351"/>
                    <a:gd name="connsiteY1739" fmla="*/ 718255 h 1323458"/>
                    <a:gd name="connsiteX1740" fmla="*/ 196934 w 1439351"/>
                    <a:gd name="connsiteY1740" fmla="*/ 719384 h 1323458"/>
                    <a:gd name="connsiteX1741" fmla="*/ 196874 w 1439351"/>
                    <a:gd name="connsiteY1741" fmla="*/ 720817 h 1323458"/>
                    <a:gd name="connsiteX1742" fmla="*/ 196934 w 1439351"/>
                    <a:gd name="connsiteY1742" fmla="*/ 724436 h 1323458"/>
                    <a:gd name="connsiteX1743" fmla="*/ 196509 w 1439351"/>
                    <a:gd name="connsiteY1743" fmla="*/ 725723 h 1323458"/>
                    <a:gd name="connsiteX1744" fmla="*/ 195999 w 1439351"/>
                    <a:gd name="connsiteY1744" fmla="*/ 726063 h 1323458"/>
                    <a:gd name="connsiteX1745" fmla="*/ 194797 w 1439351"/>
                    <a:gd name="connsiteY1745" fmla="*/ 725383 h 1323458"/>
                    <a:gd name="connsiteX1746" fmla="*/ 194105 w 1439351"/>
                    <a:gd name="connsiteY1746" fmla="*/ 724460 h 1323458"/>
                    <a:gd name="connsiteX1747" fmla="*/ 193644 w 1439351"/>
                    <a:gd name="connsiteY1747" fmla="*/ 723258 h 1323458"/>
                    <a:gd name="connsiteX1748" fmla="*/ 193073 w 1439351"/>
                    <a:gd name="connsiteY1748" fmla="*/ 721242 h 1323458"/>
                    <a:gd name="connsiteX1749" fmla="*/ 192441 w 1439351"/>
                    <a:gd name="connsiteY1749" fmla="*/ 720355 h 1323458"/>
                    <a:gd name="connsiteX1750" fmla="*/ 190899 w 1439351"/>
                    <a:gd name="connsiteY1750" fmla="*/ 719093 h 1323458"/>
                    <a:gd name="connsiteX1751" fmla="*/ 188544 w 1439351"/>
                    <a:gd name="connsiteY1751" fmla="*/ 718485 h 1323458"/>
                    <a:gd name="connsiteX1752" fmla="*/ 177457 w 1439351"/>
                    <a:gd name="connsiteY1752" fmla="*/ 717793 h 1323458"/>
                    <a:gd name="connsiteX1753" fmla="*/ 172066 w 1439351"/>
                    <a:gd name="connsiteY1753" fmla="*/ 716336 h 1323458"/>
                    <a:gd name="connsiteX1754" fmla="*/ 170268 w 1439351"/>
                    <a:gd name="connsiteY1754" fmla="*/ 716336 h 1323458"/>
                    <a:gd name="connsiteX1755" fmla="*/ 168508 w 1439351"/>
                    <a:gd name="connsiteY1755" fmla="*/ 716713 h 1323458"/>
                    <a:gd name="connsiteX1756" fmla="*/ 166140 w 1439351"/>
                    <a:gd name="connsiteY1756" fmla="*/ 718376 h 1323458"/>
                    <a:gd name="connsiteX1757" fmla="*/ 165278 w 1439351"/>
                    <a:gd name="connsiteY1757" fmla="*/ 718777 h 1323458"/>
                    <a:gd name="connsiteX1758" fmla="*/ 164245 w 1439351"/>
                    <a:gd name="connsiteY1758" fmla="*/ 718206 h 1323458"/>
                    <a:gd name="connsiteX1759" fmla="*/ 163614 w 1439351"/>
                    <a:gd name="connsiteY1759" fmla="*/ 717478 h 1323458"/>
                    <a:gd name="connsiteX1760" fmla="*/ 162691 w 1439351"/>
                    <a:gd name="connsiteY1760" fmla="*/ 716737 h 1323458"/>
                    <a:gd name="connsiteX1761" fmla="*/ 161441 w 1439351"/>
                    <a:gd name="connsiteY1761" fmla="*/ 716105 h 1323458"/>
                    <a:gd name="connsiteX1762" fmla="*/ 159546 w 1439351"/>
                    <a:gd name="connsiteY1762" fmla="*/ 715450 h 1323458"/>
                    <a:gd name="connsiteX1763" fmla="*/ 148059 w 1439351"/>
                    <a:gd name="connsiteY1763" fmla="*/ 713981 h 1323458"/>
                    <a:gd name="connsiteX1764" fmla="*/ 143007 w 1439351"/>
                    <a:gd name="connsiteY1764" fmla="*/ 712596 h 1323458"/>
                    <a:gd name="connsiteX1765" fmla="*/ 140470 w 1439351"/>
                    <a:gd name="connsiteY1765" fmla="*/ 712511 h 1323458"/>
                    <a:gd name="connsiteX1766" fmla="*/ 137543 w 1439351"/>
                    <a:gd name="connsiteY1766" fmla="*/ 713349 h 1323458"/>
                    <a:gd name="connsiteX1767" fmla="*/ 135200 w 1439351"/>
                    <a:gd name="connsiteY1767" fmla="*/ 714867 h 1323458"/>
                    <a:gd name="connsiteX1768" fmla="*/ 130087 w 1439351"/>
                    <a:gd name="connsiteY1768" fmla="*/ 720015 h 1323458"/>
                    <a:gd name="connsiteX1769" fmla="*/ 125655 w 1439351"/>
                    <a:gd name="connsiteY1769" fmla="*/ 722736 h 1323458"/>
                    <a:gd name="connsiteX1770" fmla="*/ 101151 w 1439351"/>
                    <a:gd name="connsiteY1770" fmla="*/ 732790 h 1323458"/>
                    <a:gd name="connsiteX1771" fmla="*/ 99257 w 1439351"/>
                    <a:gd name="connsiteY1771" fmla="*/ 733215 h 1323458"/>
                    <a:gd name="connsiteX1772" fmla="*/ 97702 w 1439351"/>
                    <a:gd name="connsiteY1772" fmla="*/ 733276 h 1323458"/>
                    <a:gd name="connsiteX1773" fmla="*/ 95055 w 1439351"/>
                    <a:gd name="connsiteY1773" fmla="*/ 732292 h 1323458"/>
                    <a:gd name="connsiteX1774" fmla="*/ 93901 w 1439351"/>
                    <a:gd name="connsiteY1774" fmla="*/ 732158 h 1323458"/>
                    <a:gd name="connsiteX1775" fmla="*/ 92821 w 1439351"/>
                    <a:gd name="connsiteY1775" fmla="*/ 732790 h 1323458"/>
                    <a:gd name="connsiteX1776" fmla="*/ 90647 w 1439351"/>
                    <a:gd name="connsiteY1776" fmla="*/ 738011 h 1323458"/>
                    <a:gd name="connsiteX1777" fmla="*/ 89093 w 1439351"/>
                    <a:gd name="connsiteY1777" fmla="*/ 740452 h 1323458"/>
                    <a:gd name="connsiteX1778" fmla="*/ 86385 w 1439351"/>
                    <a:gd name="connsiteY1778" fmla="*/ 743293 h 1323458"/>
                    <a:gd name="connsiteX1779" fmla="*/ 81674 w 1439351"/>
                    <a:gd name="connsiteY1779" fmla="*/ 744532 h 1323458"/>
                    <a:gd name="connsiteX1780" fmla="*/ 80022 w 1439351"/>
                    <a:gd name="connsiteY1780" fmla="*/ 743755 h 1323458"/>
                    <a:gd name="connsiteX1781" fmla="*/ 79609 w 1439351"/>
                    <a:gd name="connsiteY1781" fmla="*/ 743063 h 1323458"/>
                    <a:gd name="connsiteX1782" fmla="*/ 79439 w 1439351"/>
                    <a:gd name="connsiteY1782" fmla="*/ 741824 h 1323458"/>
                    <a:gd name="connsiteX1783" fmla="*/ 80241 w 1439351"/>
                    <a:gd name="connsiteY1783" fmla="*/ 737404 h 1323458"/>
                    <a:gd name="connsiteX1784" fmla="*/ 80471 w 1439351"/>
                    <a:gd name="connsiteY1784" fmla="*/ 732984 h 1323458"/>
                    <a:gd name="connsiteX1785" fmla="*/ 80241 w 1439351"/>
                    <a:gd name="connsiteY1785" fmla="*/ 729803 h 1323458"/>
                    <a:gd name="connsiteX1786" fmla="*/ 80301 w 1439351"/>
                    <a:gd name="connsiteY1786" fmla="*/ 728333 h 1323458"/>
                    <a:gd name="connsiteX1787" fmla="*/ 80823 w 1439351"/>
                    <a:gd name="connsiteY1787" fmla="*/ 726585 h 1323458"/>
                    <a:gd name="connsiteX1788" fmla="*/ 82026 w 1439351"/>
                    <a:gd name="connsiteY1788" fmla="*/ 724861 h 1323458"/>
                    <a:gd name="connsiteX1789" fmla="*/ 84770 w 1439351"/>
                    <a:gd name="connsiteY1789" fmla="*/ 722505 h 1323458"/>
                    <a:gd name="connsiteX1790" fmla="*/ 91776 w 1439351"/>
                    <a:gd name="connsiteY1790" fmla="*/ 718522 h 1323458"/>
                    <a:gd name="connsiteX1791" fmla="*/ 123251 w 1439351"/>
                    <a:gd name="connsiteY1791" fmla="*/ 704594 h 1323458"/>
                    <a:gd name="connsiteX1792" fmla="*/ 127210 w 1439351"/>
                    <a:gd name="connsiteY1792" fmla="*/ 703380 h 1323458"/>
                    <a:gd name="connsiteX1793" fmla="*/ 136693 w 1439351"/>
                    <a:gd name="connsiteY1793" fmla="*/ 701461 h 1323458"/>
                    <a:gd name="connsiteX1794" fmla="*/ 138988 w 1439351"/>
                    <a:gd name="connsiteY1794" fmla="*/ 700259 h 1323458"/>
                    <a:gd name="connsiteX1795" fmla="*/ 140251 w 1439351"/>
                    <a:gd name="connsiteY1795" fmla="*/ 698595 h 1323458"/>
                    <a:gd name="connsiteX1796" fmla="*/ 140251 w 1439351"/>
                    <a:gd name="connsiteY1796" fmla="*/ 696009 h 1323458"/>
                    <a:gd name="connsiteX1797" fmla="*/ 139280 w 1439351"/>
                    <a:gd name="connsiteY1797" fmla="*/ 694491 h 1323458"/>
                    <a:gd name="connsiteX1798" fmla="*/ 138065 w 1439351"/>
                    <a:gd name="connsiteY1798" fmla="*/ 693884 h 1323458"/>
                    <a:gd name="connsiteX1799" fmla="*/ 136912 w 1439351"/>
                    <a:gd name="connsiteY1799" fmla="*/ 694078 h 1323458"/>
                    <a:gd name="connsiteX1800" fmla="*/ 135880 w 1439351"/>
                    <a:gd name="connsiteY1800" fmla="*/ 694746 h 1323458"/>
                    <a:gd name="connsiteX1801" fmla="*/ 135139 w 1439351"/>
                    <a:gd name="connsiteY1801" fmla="*/ 695547 h 1323458"/>
                    <a:gd name="connsiteX1802" fmla="*/ 133524 w 1439351"/>
                    <a:gd name="connsiteY1802" fmla="*/ 697757 h 1323458"/>
                    <a:gd name="connsiteX1803" fmla="*/ 132674 w 1439351"/>
                    <a:gd name="connsiteY1803" fmla="*/ 698158 h 1323458"/>
                    <a:gd name="connsiteX1804" fmla="*/ 131812 w 1439351"/>
                    <a:gd name="connsiteY1804" fmla="*/ 697927 h 1323458"/>
                    <a:gd name="connsiteX1805" fmla="*/ 130707 w 1439351"/>
                    <a:gd name="connsiteY1805" fmla="*/ 696786 h 1323458"/>
                    <a:gd name="connsiteX1806" fmla="*/ 127780 w 1439351"/>
                    <a:gd name="connsiteY1806" fmla="*/ 691297 h 1323458"/>
                    <a:gd name="connsiteX1807" fmla="*/ 126870 w 1439351"/>
                    <a:gd name="connsiteY1807" fmla="*/ 690241 h 1323458"/>
                    <a:gd name="connsiteX1808" fmla="*/ 126007 w 1439351"/>
                    <a:gd name="connsiteY1808" fmla="*/ 689780 h 1323458"/>
                    <a:gd name="connsiteX1809" fmla="*/ 125097 w 1439351"/>
                    <a:gd name="connsiteY1809" fmla="*/ 689804 h 1323458"/>
                    <a:gd name="connsiteX1810" fmla="*/ 124283 w 1439351"/>
                    <a:gd name="connsiteY1810" fmla="*/ 690290 h 1323458"/>
                    <a:gd name="connsiteX1811" fmla="*/ 123603 w 1439351"/>
                    <a:gd name="connsiteY1811" fmla="*/ 691164 h 1323458"/>
                    <a:gd name="connsiteX1812" fmla="*/ 123129 w 1439351"/>
                    <a:gd name="connsiteY1812" fmla="*/ 692014 h 1323458"/>
                    <a:gd name="connsiteX1813" fmla="*/ 122328 w 1439351"/>
                    <a:gd name="connsiteY1813" fmla="*/ 692876 h 1323458"/>
                    <a:gd name="connsiteX1814" fmla="*/ 121478 w 1439351"/>
                    <a:gd name="connsiteY1814" fmla="*/ 693143 h 1323458"/>
                    <a:gd name="connsiteX1815" fmla="*/ 116827 w 1439351"/>
                    <a:gd name="connsiteY1815" fmla="*/ 692913 h 1323458"/>
                    <a:gd name="connsiteX1816" fmla="*/ 110331 w 1439351"/>
                    <a:gd name="connsiteY1816" fmla="*/ 691759 h 1323458"/>
                    <a:gd name="connsiteX1817" fmla="*/ 108667 w 1439351"/>
                    <a:gd name="connsiteY1817" fmla="*/ 691103 h 1323458"/>
                    <a:gd name="connsiteX1818" fmla="*/ 107295 w 1439351"/>
                    <a:gd name="connsiteY1818" fmla="*/ 690059 h 1323458"/>
                    <a:gd name="connsiteX1819" fmla="*/ 106712 w 1439351"/>
                    <a:gd name="connsiteY1819" fmla="*/ 688626 h 1323458"/>
                    <a:gd name="connsiteX1820" fmla="*/ 106020 w 1439351"/>
                    <a:gd name="connsiteY1820" fmla="*/ 685760 h 1323458"/>
                    <a:gd name="connsiteX1821" fmla="*/ 105279 w 1439351"/>
                    <a:gd name="connsiteY1821" fmla="*/ 685007 h 1323458"/>
                    <a:gd name="connsiteX1822" fmla="*/ 104466 w 1439351"/>
                    <a:gd name="connsiteY1822" fmla="*/ 684837 h 1323458"/>
                    <a:gd name="connsiteX1823" fmla="*/ 102523 w 1439351"/>
                    <a:gd name="connsiteY1823" fmla="*/ 684874 h 1323458"/>
                    <a:gd name="connsiteX1824" fmla="*/ 101369 w 1439351"/>
                    <a:gd name="connsiteY1824" fmla="*/ 684558 h 1323458"/>
                    <a:gd name="connsiteX1825" fmla="*/ 100507 w 1439351"/>
                    <a:gd name="connsiteY1825" fmla="*/ 683890 h 1323458"/>
                    <a:gd name="connsiteX1826" fmla="*/ 99827 w 1439351"/>
                    <a:gd name="connsiteY1826" fmla="*/ 682943 h 1323458"/>
                    <a:gd name="connsiteX1827" fmla="*/ 99305 w 1439351"/>
                    <a:gd name="connsiteY1827" fmla="*/ 681911 h 1323458"/>
                    <a:gd name="connsiteX1828" fmla="*/ 99135 w 1439351"/>
                    <a:gd name="connsiteY1828" fmla="*/ 681194 h 1323458"/>
                    <a:gd name="connsiteX1829" fmla="*/ 99074 w 1439351"/>
                    <a:gd name="connsiteY1829" fmla="*/ 680017 h 1323458"/>
                    <a:gd name="connsiteX1830" fmla="*/ 99305 w 1439351"/>
                    <a:gd name="connsiteY1830" fmla="*/ 679118 h 1323458"/>
                    <a:gd name="connsiteX1831" fmla="*/ 100106 w 1439351"/>
                    <a:gd name="connsiteY1831" fmla="*/ 678037 h 1323458"/>
                    <a:gd name="connsiteX1832" fmla="*/ 101661 w 1439351"/>
                    <a:gd name="connsiteY1832" fmla="*/ 677139 h 1323458"/>
                    <a:gd name="connsiteX1833" fmla="*/ 113148 w 1439351"/>
                    <a:gd name="connsiteY1833" fmla="*/ 674212 h 1323458"/>
                    <a:gd name="connsiteX1834" fmla="*/ 116305 w 1439351"/>
                    <a:gd name="connsiteY1834" fmla="*/ 672816 h 1323458"/>
                    <a:gd name="connsiteX1835" fmla="*/ 117677 w 1439351"/>
                    <a:gd name="connsiteY1835" fmla="*/ 670254 h 1323458"/>
                    <a:gd name="connsiteX1836" fmla="*/ 117969 w 1439351"/>
                    <a:gd name="connsiteY1836" fmla="*/ 668469 h 1323458"/>
                    <a:gd name="connsiteX1837" fmla="*/ 118649 w 1439351"/>
                    <a:gd name="connsiteY1837" fmla="*/ 666757 h 1323458"/>
                    <a:gd name="connsiteX1838" fmla="*/ 121187 w 1439351"/>
                    <a:gd name="connsiteY1838" fmla="*/ 665749 h 1323458"/>
                    <a:gd name="connsiteX1839" fmla="*/ 125437 w 1439351"/>
                    <a:gd name="connsiteY1839" fmla="*/ 663417 h 1323458"/>
                    <a:gd name="connsiteX1840" fmla="*/ 128654 w 1439351"/>
                    <a:gd name="connsiteY1840" fmla="*/ 658281 h 1323458"/>
                    <a:gd name="connsiteX1841" fmla="*/ 127719 w 1439351"/>
                    <a:gd name="connsiteY1841" fmla="*/ 655901 h 1323458"/>
                    <a:gd name="connsiteX1842" fmla="*/ 126408 w 1439351"/>
                    <a:gd name="connsiteY1842" fmla="*/ 655318 h 1323458"/>
                    <a:gd name="connsiteX1843" fmla="*/ 125497 w 1439351"/>
                    <a:gd name="connsiteY1843" fmla="*/ 654602 h 1323458"/>
                    <a:gd name="connsiteX1844" fmla="*/ 124574 w 1439351"/>
                    <a:gd name="connsiteY1844" fmla="*/ 653691 h 1323458"/>
                    <a:gd name="connsiteX1845" fmla="*/ 123372 w 1439351"/>
                    <a:gd name="connsiteY1845" fmla="*/ 649441 h 1323458"/>
                    <a:gd name="connsiteX1846" fmla="*/ 122571 w 1439351"/>
                    <a:gd name="connsiteY1846" fmla="*/ 647316 h 1323458"/>
                    <a:gd name="connsiteX1847" fmla="*/ 120895 w 1439351"/>
                    <a:gd name="connsiteY1847" fmla="*/ 645021 h 1323458"/>
                    <a:gd name="connsiteX1848" fmla="*/ 119863 w 1439351"/>
                    <a:gd name="connsiteY1848" fmla="*/ 642811 h 1323458"/>
                    <a:gd name="connsiteX1849" fmla="*/ 118952 w 1439351"/>
                    <a:gd name="connsiteY1849" fmla="*/ 638961 h 1323458"/>
                    <a:gd name="connsiteX1850" fmla="*/ 119232 w 1439351"/>
                    <a:gd name="connsiteY1850" fmla="*/ 636836 h 1323458"/>
                    <a:gd name="connsiteX1851" fmla="*/ 119232 w 1439351"/>
                    <a:gd name="connsiteY1851" fmla="*/ 635003 h 1323458"/>
                    <a:gd name="connsiteX1852" fmla="*/ 119074 w 1439351"/>
                    <a:gd name="connsiteY1852" fmla="*/ 633849 h 1323458"/>
                    <a:gd name="connsiteX1853" fmla="*/ 118321 w 1439351"/>
                    <a:gd name="connsiteY1853" fmla="*/ 632671 h 1323458"/>
                    <a:gd name="connsiteX1854" fmla="*/ 116706 w 1439351"/>
                    <a:gd name="connsiteY1854" fmla="*/ 632161 h 1323458"/>
                    <a:gd name="connsiteX1855" fmla="*/ 112407 w 1439351"/>
                    <a:gd name="connsiteY1855" fmla="*/ 631955 h 1323458"/>
                    <a:gd name="connsiteX1856" fmla="*/ 110853 w 1439351"/>
                    <a:gd name="connsiteY1856" fmla="*/ 631384 h 1323458"/>
                    <a:gd name="connsiteX1857" fmla="*/ 109760 w 1439351"/>
                    <a:gd name="connsiteY1857" fmla="*/ 630838 h 1323458"/>
                    <a:gd name="connsiteX1858" fmla="*/ 99536 w 1439351"/>
                    <a:gd name="connsiteY1858" fmla="*/ 623479 h 1323458"/>
                    <a:gd name="connsiteX1859" fmla="*/ 98164 w 1439351"/>
                    <a:gd name="connsiteY1859" fmla="*/ 622823 h 1323458"/>
                    <a:gd name="connsiteX1860" fmla="*/ 96318 w 1439351"/>
                    <a:gd name="connsiteY1860" fmla="*/ 622398 h 1323458"/>
                    <a:gd name="connsiteX1861" fmla="*/ 93051 w 1439351"/>
                    <a:gd name="connsiteY1861" fmla="*/ 621913 h 1323458"/>
                    <a:gd name="connsiteX1862" fmla="*/ 91619 w 1439351"/>
                    <a:gd name="connsiteY1862" fmla="*/ 621415 h 1323458"/>
                    <a:gd name="connsiteX1863" fmla="*/ 89894 w 1439351"/>
                    <a:gd name="connsiteY1863" fmla="*/ 620383 h 1323458"/>
                    <a:gd name="connsiteX1864" fmla="*/ 88401 w 1439351"/>
                    <a:gd name="connsiteY1864" fmla="*/ 619181 h 1323458"/>
                    <a:gd name="connsiteX1865" fmla="*/ 86786 w 1439351"/>
                    <a:gd name="connsiteY1865" fmla="*/ 617165 h 1323458"/>
                    <a:gd name="connsiteX1866" fmla="*/ 85583 w 1439351"/>
                    <a:gd name="connsiteY1866" fmla="*/ 614870 h 1323458"/>
                    <a:gd name="connsiteX1867" fmla="*/ 83289 w 1439351"/>
                    <a:gd name="connsiteY1867" fmla="*/ 606430 h 1323458"/>
                    <a:gd name="connsiteX1868" fmla="*/ 80994 w 1439351"/>
                    <a:gd name="connsiteY1868" fmla="*/ 603613 h 1323458"/>
                    <a:gd name="connsiteX1869" fmla="*/ 78116 w 1439351"/>
                    <a:gd name="connsiteY1869" fmla="*/ 598829 h 1323458"/>
                    <a:gd name="connsiteX1870" fmla="*/ 70198 w 1439351"/>
                    <a:gd name="connsiteY1870" fmla="*/ 589722 h 1323458"/>
                    <a:gd name="connsiteX1871" fmla="*/ 69154 w 1439351"/>
                    <a:gd name="connsiteY1871" fmla="*/ 587973 h 1323458"/>
                    <a:gd name="connsiteX1872" fmla="*/ 68523 w 1439351"/>
                    <a:gd name="connsiteY1872" fmla="*/ 585958 h 1323458"/>
                    <a:gd name="connsiteX1873" fmla="*/ 68826 w 1439351"/>
                    <a:gd name="connsiteY1873" fmla="*/ 582776 h 1323458"/>
                    <a:gd name="connsiteX1874" fmla="*/ 69336 w 1439351"/>
                    <a:gd name="connsiteY1874" fmla="*/ 580821 h 1323458"/>
                    <a:gd name="connsiteX1875" fmla="*/ 69494 w 1439351"/>
                    <a:gd name="connsiteY1875" fmla="*/ 579473 h 1323458"/>
                    <a:gd name="connsiteX1876" fmla="*/ 69215 w 1439351"/>
                    <a:gd name="connsiteY1876" fmla="*/ 578271 h 1323458"/>
                    <a:gd name="connsiteX1877" fmla="*/ 68122 w 1439351"/>
                    <a:gd name="connsiteY1877" fmla="*/ 576972 h 1323458"/>
                    <a:gd name="connsiteX1878" fmla="*/ 65778 w 1439351"/>
                    <a:gd name="connsiteY1878" fmla="*/ 575345 h 1323458"/>
                    <a:gd name="connsiteX1879" fmla="*/ 65086 w 1439351"/>
                    <a:gd name="connsiteY1879" fmla="*/ 574531 h 1323458"/>
                    <a:gd name="connsiteX1880" fmla="*/ 64916 w 1439351"/>
                    <a:gd name="connsiteY1880" fmla="*/ 573499 h 1323458"/>
                    <a:gd name="connsiteX1881" fmla="*/ 65317 w 1439351"/>
                    <a:gd name="connsiteY1881" fmla="*/ 571945 h 1323458"/>
                    <a:gd name="connsiteX1882" fmla="*/ 65997 w 1439351"/>
                    <a:gd name="connsiteY1882" fmla="*/ 570912 h 1323458"/>
                    <a:gd name="connsiteX1883" fmla="*/ 67490 w 1439351"/>
                    <a:gd name="connsiteY1883" fmla="*/ 569358 h 1323458"/>
                    <a:gd name="connsiteX1884" fmla="*/ 68013 w 1439351"/>
                    <a:gd name="connsiteY1884" fmla="*/ 568362 h 1323458"/>
                    <a:gd name="connsiteX1885" fmla="*/ 68183 w 1439351"/>
                    <a:gd name="connsiteY1885" fmla="*/ 567185 h 1323458"/>
                    <a:gd name="connsiteX1886" fmla="*/ 67782 w 1439351"/>
                    <a:gd name="connsiteY1886" fmla="*/ 563566 h 1323458"/>
                    <a:gd name="connsiteX1887" fmla="*/ 66810 w 1439351"/>
                    <a:gd name="connsiteY1887" fmla="*/ 559717 h 1323458"/>
                    <a:gd name="connsiteX1888" fmla="*/ 65317 w 1439351"/>
                    <a:gd name="connsiteY1888" fmla="*/ 557397 h 1323458"/>
                    <a:gd name="connsiteX1889" fmla="*/ 64443 w 1439351"/>
                    <a:gd name="connsiteY1889" fmla="*/ 556414 h 1323458"/>
                    <a:gd name="connsiteX1890" fmla="*/ 63410 w 1439351"/>
                    <a:gd name="connsiteY1890" fmla="*/ 555867 h 1323458"/>
                    <a:gd name="connsiteX1891" fmla="*/ 62488 w 1439351"/>
                    <a:gd name="connsiteY1891" fmla="*/ 555588 h 1323458"/>
                    <a:gd name="connsiteX1892" fmla="*/ 61698 w 1439351"/>
                    <a:gd name="connsiteY1892" fmla="*/ 555321 h 1323458"/>
                    <a:gd name="connsiteX1893" fmla="*/ 61055 w 1439351"/>
                    <a:gd name="connsiteY1893" fmla="*/ 554519 h 1323458"/>
                    <a:gd name="connsiteX1894" fmla="*/ 60545 w 1439351"/>
                    <a:gd name="connsiteY1894" fmla="*/ 553257 h 1323458"/>
                    <a:gd name="connsiteX1895" fmla="*/ 60775 w 1439351"/>
                    <a:gd name="connsiteY1895" fmla="*/ 548751 h 1323458"/>
                    <a:gd name="connsiteX1896" fmla="*/ 60435 w 1439351"/>
                    <a:gd name="connsiteY1896" fmla="*/ 543773 h 1323458"/>
                    <a:gd name="connsiteX1897" fmla="*/ 58019 w 1439351"/>
                    <a:gd name="connsiteY1897" fmla="*/ 535540 h 1323458"/>
                    <a:gd name="connsiteX1898" fmla="*/ 62913 w 1439351"/>
                    <a:gd name="connsiteY1898" fmla="*/ 530950 h 1323458"/>
                    <a:gd name="connsiteX1899" fmla="*/ 64163 w 1439351"/>
                    <a:gd name="connsiteY1899" fmla="*/ 530149 h 1323458"/>
                    <a:gd name="connsiteX1900" fmla="*/ 65535 w 1439351"/>
                    <a:gd name="connsiteY1900" fmla="*/ 529456 h 1323458"/>
                    <a:gd name="connsiteX1901" fmla="*/ 66580 w 1439351"/>
                    <a:gd name="connsiteY1901" fmla="*/ 529396 h 1323458"/>
                    <a:gd name="connsiteX1902" fmla="*/ 67903 w 1439351"/>
                    <a:gd name="connsiteY1902" fmla="*/ 528995 h 1323458"/>
                    <a:gd name="connsiteX1903" fmla="*/ 69458 w 1439351"/>
                    <a:gd name="connsiteY1903" fmla="*/ 528194 h 1323458"/>
                    <a:gd name="connsiteX1904" fmla="*/ 71571 w 1439351"/>
                    <a:gd name="connsiteY1904" fmla="*/ 526554 h 1323458"/>
                    <a:gd name="connsiteX1905" fmla="*/ 78589 w 1439351"/>
                    <a:gd name="connsiteY1905" fmla="*/ 525146 h 1323458"/>
                    <a:gd name="connsiteX1906" fmla="*/ 79961 w 1439351"/>
                    <a:gd name="connsiteY1906" fmla="*/ 524381 h 1323458"/>
                    <a:gd name="connsiteX1907" fmla="*/ 85013 w 1439351"/>
                    <a:gd name="connsiteY1907" fmla="*/ 519062 h 1323458"/>
                    <a:gd name="connsiteX1908" fmla="*/ 87077 w 1439351"/>
                    <a:gd name="connsiteY1908" fmla="*/ 518746 h 1323458"/>
                    <a:gd name="connsiteX1909" fmla="*/ 89154 w 1439351"/>
                    <a:gd name="connsiteY1909" fmla="*/ 519317 h 1323458"/>
                    <a:gd name="connsiteX1910" fmla="*/ 91497 w 1439351"/>
                    <a:gd name="connsiteY1910" fmla="*/ 520216 h 1323458"/>
                    <a:gd name="connsiteX1911" fmla="*/ 93513 w 1439351"/>
                    <a:gd name="connsiteY1911" fmla="*/ 519608 h 1323458"/>
                    <a:gd name="connsiteX1912" fmla="*/ 95334 w 1439351"/>
                    <a:gd name="connsiteY1912" fmla="*/ 517568 h 1323458"/>
                    <a:gd name="connsiteX1913" fmla="*/ 97071 w 1439351"/>
                    <a:gd name="connsiteY1913" fmla="*/ 513124 h 1323458"/>
                    <a:gd name="connsiteX1914" fmla="*/ 97981 w 1439351"/>
                    <a:gd name="connsiteY1914" fmla="*/ 511934 h 1323458"/>
                    <a:gd name="connsiteX1915" fmla="*/ 100689 w 1439351"/>
                    <a:gd name="connsiteY1915" fmla="*/ 508413 h 1323458"/>
                    <a:gd name="connsiteX1916" fmla="*/ 104648 w 1439351"/>
                    <a:gd name="connsiteY1916" fmla="*/ 506543 h 1323458"/>
                    <a:gd name="connsiteX1917" fmla="*/ 104126 w 1439351"/>
                    <a:gd name="connsiteY1917" fmla="*/ 502062 h 1323458"/>
                    <a:gd name="connsiteX1918" fmla="*/ 101430 w 1439351"/>
                    <a:gd name="connsiteY1918" fmla="*/ 496986 h 1323458"/>
                    <a:gd name="connsiteX1919" fmla="*/ 99876 w 1439351"/>
                    <a:gd name="connsiteY1919" fmla="*/ 492797 h 1323458"/>
                    <a:gd name="connsiteX1920" fmla="*/ 98321 w 1439351"/>
                    <a:gd name="connsiteY1920" fmla="*/ 491158 h 1323458"/>
                    <a:gd name="connsiteX1921" fmla="*/ 95334 w 1439351"/>
                    <a:gd name="connsiteY1921" fmla="*/ 489494 h 1323458"/>
                    <a:gd name="connsiteX1922" fmla="*/ 93161 w 1439351"/>
                    <a:gd name="connsiteY1922" fmla="*/ 487393 h 1323458"/>
                    <a:gd name="connsiteX1923" fmla="*/ 94715 w 1439351"/>
                    <a:gd name="connsiteY1923" fmla="*/ 482403 h 1323458"/>
                    <a:gd name="connsiteX1924" fmla="*/ 93622 w 1439351"/>
                    <a:gd name="connsiteY1924" fmla="*/ 476744 h 1323458"/>
                    <a:gd name="connsiteX1925" fmla="*/ 93452 w 1439351"/>
                    <a:gd name="connsiteY1925" fmla="*/ 474012 h 1323458"/>
                    <a:gd name="connsiteX1926" fmla="*/ 99876 w 1439351"/>
                    <a:gd name="connsiteY1926" fmla="*/ 478067 h 1323458"/>
                    <a:gd name="connsiteX1927" fmla="*/ 98321 w 1439351"/>
                    <a:gd name="connsiteY1927" fmla="*/ 471352 h 1323458"/>
                    <a:gd name="connsiteX1928" fmla="*/ 98224 w 1439351"/>
                    <a:gd name="connsiteY1928" fmla="*/ 466095 h 1323458"/>
                    <a:gd name="connsiteX1929" fmla="*/ 100507 w 1439351"/>
                    <a:gd name="connsiteY1929" fmla="*/ 462330 h 1323458"/>
                    <a:gd name="connsiteX1930" fmla="*/ 106421 w 1439351"/>
                    <a:gd name="connsiteY1930" fmla="*/ 460144 h 1323458"/>
                    <a:gd name="connsiteX1931" fmla="*/ 104526 w 1439351"/>
                    <a:gd name="connsiteY1931" fmla="*/ 457740 h 1323458"/>
                    <a:gd name="connsiteX1932" fmla="*/ 99414 w 1439351"/>
                    <a:gd name="connsiteY1932" fmla="*/ 456987 h 1323458"/>
                    <a:gd name="connsiteX1933" fmla="*/ 98625 w 1439351"/>
                    <a:gd name="connsiteY1933" fmla="*/ 454498 h 1323458"/>
                    <a:gd name="connsiteX1934" fmla="*/ 99475 w 1439351"/>
                    <a:gd name="connsiteY1934" fmla="*/ 453939 h 1323458"/>
                    <a:gd name="connsiteX1935" fmla="*/ 101260 w 1439351"/>
                    <a:gd name="connsiteY1935" fmla="*/ 453575 h 1323458"/>
                    <a:gd name="connsiteX1936" fmla="*/ 103033 w 1439351"/>
                    <a:gd name="connsiteY1936" fmla="*/ 452798 h 1323458"/>
                    <a:gd name="connsiteX1937" fmla="*/ 103846 w 1439351"/>
                    <a:gd name="connsiteY1937" fmla="*/ 451074 h 1323458"/>
                    <a:gd name="connsiteX1938" fmla="*/ 104017 w 1439351"/>
                    <a:gd name="connsiteY1938" fmla="*/ 449641 h 1323458"/>
                    <a:gd name="connsiteX1939" fmla="*/ 104466 w 1439351"/>
                    <a:gd name="connsiteY1939" fmla="*/ 448609 h 1323458"/>
                    <a:gd name="connsiteX1940" fmla="*/ 105279 w 1439351"/>
                    <a:gd name="connsiteY1940" fmla="*/ 447953 h 1323458"/>
                    <a:gd name="connsiteX1941" fmla="*/ 106421 w 1439351"/>
                    <a:gd name="connsiteY1941" fmla="*/ 447576 h 1323458"/>
                    <a:gd name="connsiteX1942" fmla="*/ 104587 w 1439351"/>
                    <a:gd name="connsiteY1942" fmla="*/ 445451 h 1323458"/>
                    <a:gd name="connsiteX1943" fmla="*/ 99827 w 1439351"/>
                    <a:gd name="connsiteY1943" fmla="*/ 444784 h 1323458"/>
                    <a:gd name="connsiteX1944" fmla="*/ 97411 w 1439351"/>
                    <a:gd name="connsiteY1944" fmla="*/ 443375 h 1323458"/>
                    <a:gd name="connsiteX1945" fmla="*/ 97071 w 1439351"/>
                    <a:gd name="connsiteY1945" fmla="*/ 441578 h 1323458"/>
                    <a:gd name="connsiteX1946" fmla="*/ 97192 w 1439351"/>
                    <a:gd name="connsiteY1946" fmla="*/ 438761 h 1323458"/>
                    <a:gd name="connsiteX1947" fmla="*/ 96889 w 1439351"/>
                    <a:gd name="connsiteY1947" fmla="*/ 436211 h 1323458"/>
                    <a:gd name="connsiteX1948" fmla="*/ 92869 w 1439351"/>
                    <a:gd name="connsiteY1948" fmla="*/ 432908 h 1323458"/>
                    <a:gd name="connsiteX1949" fmla="*/ 93901 w 1439351"/>
                    <a:gd name="connsiteY1949" fmla="*/ 427759 h 1323458"/>
                    <a:gd name="connsiteX1950" fmla="*/ 98625 w 1439351"/>
                    <a:gd name="connsiteY1950" fmla="*/ 417025 h 1323458"/>
                    <a:gd name="connsiteX1951" fmla="*/ 94594 w 1439351"/>
                    <a:gd name="connsiteY1951" fmla="*/ 417426 h 1323458"/>
                    <a:gd name="connsiteX1952" fmla="*/ 93161 w 1439351"/>
                    <a:gd name="connsiteY1952" fmla="*/ 416345 h 1323458"/>
                    <a:gd name="connsiteX1953" fmla="*/ 93452 w 1439351"/>
                    <a:gd name="connsiteY1953" fmla="*/ 410601 h 1323458"/>
                    <a:gd name="connsiteX1954" fmla="*/ 92760 w 1439351"/>
                    <a:gd name="connsiteY1954" fmla="*/ 408695 h 1323458"/>
                    <a:gd name="connsiteX1955" fmla="*/ 91036 w 1439351"/>
                    <a:gd name="connsiteY1955" fmla="*/ 408610 h 1323458"/>
                    <a:gd name="connsiteX1956" fmla="*/ 87660 w 1439351"/>
                    <a:gd name="connsiteY1956" fmla="*/ 409848 h 1323458"/>
                    <a:gd name="connsiteX1957" fmla="*/ 85693 w 1439351"/>
                    <a:gd name="connsiteY1957" fmla="*/ 409411 h 1323458"/>
                    <a:gd name="connsiteX1958" fmla="*/ 85134 w 1439351"/>
                    <a:gd name="connsiteY1958" fmla="*/ 408416 h 1323458"/>
                    <a:gd name="connsiteX1959" fmla="*/ 85013 w 1439351"/>
                    <a:gd name="connsiteY1959" fmla="*/ 407140 h 1323458"/>
                    <a:gd name="connsiteX1960" fmla="*/ 83689 w 1439351"/>
                    <a:gd name="connsiteY1960" fmla="*/ 404676 h 1323458"/>
                    <a:gd name="connsiteX1961" fmla="*/ 83641 w 1439351"/>
                    <a:gd name="connsiteY1961" fmla="*/ 403510 h 1323458"/>
                    <a:gd name="connsiteX1962" fmla="*/ 83289 w 1439351"/>
                    <a:gd name="connsiteY1962" fmla="*/ 402441 h 1323458"/>
                    <a:gd name="connsiteX1963" fmla="*/ 81843 w 1439351"/>
                    <a:gd name="connsiteY1963" fmla="*/ 401640 h 1323458"/>
                    <a:gd name="connsiteX1964" fmla="*/ 80823 w 1439351"/>
                    <a:gd name="connsiteY1964" fmla="*/ 401980 h 1323458"/>
                    <a:gd name="connsiteX1965" fmla="*/ 77593 w 1439351"/>
                    <a:gd name="connsiteY1965" fmla="*/ 403935 h 1323458"/>
                    <a:gd name="connsiteX1966" fmla="*/ 76100 w 1439351"/>
                    <a:gd name="connsiteY1966" fmla="*/ 404384 h 1323458"/>
                    <a:gd name="connsiteX1967" fmla="*/ 75881 w 1439351"/>
                    <a:gd name="connsiteY1967" fmla="*/ 403303 h 1323458"/>
                    <a:gd name="connsiteX1968" fmla="*/ 76403 w 1439351"/>
                    <a:gd name="connsiteY1968" fmla="*/ 400948 h 1323458"/>
                    <a:gd name="connsiteX1969" fmla="*/ 76051 w 1439351"/>
                    <a:gd name="connsiteY1969" fmla="*/ 398531 h 1323458"/>
                    <a:gd name="connsiteX1970" fmla="*/ 73526 w 1439351"/>
                    <a:gd name="connsiteY1970" fmla="*/ 397475 h 1323458"/>
                    <a:gd name="connsiteX1971" fmla="*/ 71571 w 1439351"/>
                    <a:gd name="connsiteY1971" fmla="*/ 396989 h 1323458"/>
                    <a:gd name="connsiteX1972" fmla="*/ 69798 w 1439351"/>
                    <a:gd name="connsiteY1972" fmla="*/ 395665 h 1323458"/>
                    <a:gd name="connsiteX1973" fmla="*/ 68243 w 1439351"/>
                    <a:gd name="connsiteY1973" fmla="*/ 393711 h 1323458"/>
                    <a:gd name="connsiteX1974" fmla="*/ 66810 w 1439351"/>
                    <a:gd name="connsiteY1974" fmla="*/ 391306 h 1323458"/>
                    <a:gd name="connsiteX1975" fmla="*/ 62269 w 1439351"/>
                    <a:gd name="connsiteY1975" fmla="*/ 382515 h 1323458"/>
                    <a:gd name="connsiteX1976" fmla="*/ 61237 w 1439351"/>
                    <a:gd name="connsiteY1976" fmla="*/ 381191 h 1323458"/>
                    <a:gd name="connsiteX1977" fmla="*/ 61808 w 1439351"/>
                    <a:gd name="connsiteY1977" fmla="*/ 378325 h 1323458"/>
                    <a:gd name="connsiteX1978" fmla="*/ 62609 w 1439351"/>
                    <a:gd name="connsiteY1978" fmla="*/ 376917 h 1323458"/>
                    <a:gd name="connsiteX1979" fmla="*/ 63702 w 1439351"/>
                    <a:gd name="connsiteY1979" fmla="*/ 375690 h 1323458"/>
                    <a:gd name="connsiteX1980" fmla="*/ 66519 w 1439351"/>
                    <a:gd name="connsiteY1980" fmla="*/ 373237 h 1323458"/>
                    <a:gd name="connsiteX1981" fmla="*/ 67490 w 1439351"/>
                    <a:gd name="connsiteY1981" fmla="*/ 372217 h 1323458"/>
                    <a:gd name="connsiteX1982" fmla="*/ 68365 w 1439351"/>
                    <a:gd name="connsiteY1982" fmla="*/ 371003 h 1323458"/>
                    <a:gd name="connsiteX1983" fmla="*/ 68705 w 1439351"/>
                    <a:gd name="connsiteY1983" fmla="*/ 369655 h 1323458"/>
                    <a:gd name="connsiteX1984" fmla="*/ 68583 w 1439351"/>
                    <a:gd name="connsiteY1984" fmla="*/ 368077 h 1323458"/>
                    <a:gd name="connsiteX1985" fmla="*/ 68013 w 1439351"/>
                    <a:gd name="connsiteY1985" fmla="*/ 365915 h 1323458"/>
                    <a:gd name="connsiteX1986" fmla="*/ 65195 w 1439351"/>
                    <a:gd name="connsiteY1986" fmla="*/ 358460 h 1323458"/>
                    <a:gd name="connsiteX1987" fmla="*/ 64965 w 1439351"/>
                    <a:gd name="connsiteY1987" fmla="*/ 357197 h 1323458"/>
                    <a:gd name="connsiteX1988" fmla="*/ 64855 w 1439351"/>
                    <a:gd name="connsiteY1988" fmla="*/ 355412 h 1323458"/>
                    <a:gd name="connsiteX1989" fmla="*/ 64103 w 1439351"/>
                    <a:gd name="connsiteY1989" fmla="*/ 353117 h 1323458"/>
                    <a:gd name="connsiteX1990" fmla="*/ 62961 w 1439351"/>
                    <a:gd name="connsiteY1990" fmla="*/ 350421 h 1323458"/>
                    <a:gd name="connsiteX1991" fmla="*/ 47977 w 1439351"/>
                    <a:gd name="connsiteY1991" fmla="*/ 337586 h 1323458"/>
                    <a:gd name="connsiteX1992" fmla="*/ 46653 w 1439351"/>
                    <a:gd name="connsiteY1992" fmla="*/ 333190 h 1323458"/>
                    <a:gd name="connsiteX1993" fmla="*/ 44079 w 1439351"/>
                    <a:gd name="connsiteY1993" fmla="*/ 329778 h 1323458"/>
                    <a:gd name="connsiteX1994" fmla="*/ 46022 w 1439351"/>
                    <a:gd name="connsiteY1994" fmla="*/ 325358 h 1323458"/>
                    <a:gd name="connsiteX1995" fmla="*/ 43035 w 1439351"/>
                    <a:gd name="connsiteY1995" fmla="*/ 318582 h 1323458"/>
                    <a:gd name="connsiteX1996" fmla="*/ 45330 w 1439351"/>
                    <a:gd name="connsiteY1996" fmla="*/ 314417 h 1323458"/>
                    <a:gd name="connsiteX1997" fmla="*/ 46653 w 1439351"/>
                    <a:gd name="connsiteY1997" fmla="*/ 312608 h 1323458"/>
                    <a:gd name="connsiteX1998" fmla="*/ 46763 w 1439351"/>
                    <a:gd name="connsiteY1998" fmla="*/ 310908 h 1323458"/>
                    <a:gd name="connsiteX1999" fmla="*/ 46083 w 1439351"/>
                    <a:gd name="connsiteY1999" fmla="*/ 309013 h 1323458"/>
                    <a:gd name="connsiteX2000" fmla="*/ 44698 w 1439351"/>
                    <a:gd name="connsiteY2000" fmla="*/ 306658 h 1323458"/>
                    <a:gd name="connsiteX2001" fmla="*/ 43326 w 1439351"/>
                    <a:gd name="connsiteY2001" fmla="*/ 305164 h 1323458"/>
                    <a:gd name="connsiteX2002" fmla="*/ 38262 w 1439351"/>
                    <a:gd name="connsiteY2002" fmla="*/ 300975 h 1323458"/>
                    <a:gd name="connsiteX2003" fmla="*/ 38663 w 1439351"/>
                    <a:gd name="connsiteY2003" fmla="*/ 297380 h 1323458"/>
                    <a:gd name="connsiteX2004" fmla="*/ 40970 w 1439351"/>
                    <a:gd name="connsiteY2004" fmla="*/ 295838 h 1323458"/>
                    <a:gd name="connsiteX2005" fmla="*/ 42063 w 1439351"/>
                    <a:gd name="connsiteY2005" fmla="*/ 293944 h 1323458"/>
                    <a:gd name="connsiteX2006" fmla="*/ 37109 w 1439351"/>
                    <a:gd name="connsiteY2006" fmla="*/ 285991 h 1323458"/>
                    <a:gd name="connsiteX2007" fmla="*/ 33150 w 1439351"/>
                    <a:gd name="connsiteY2007" fmla="*/ 273095 h 1323458"/>
                    <a:gd name="connsiteX2008" fmla="*/ 32579 w 1439351"/>
                    <a:gd name="connsiteY2008" fmla="*/ 272500 h 1323458"/>
                    <a:gd name="connsiteX2009" fmla="*/ 31657 w 1439351"/>
                    <a:gd name="connsiteY2009" fmla="*/ 272063 h 1323458"/>
                    <a:gd name="connsiteX2010" fmla="*/ 30867 w 1439351"/>
                    <a:gd name="connsiteY2010" fmla="*/ 271285 h 1323458"/>
                    <a:gd name="connsiteX2011" fmla="*/ 30527 w 1439351"/>
                    <a:gd name="connsiteY2011" fmla="*/ 269683 h 1323458"/>
                    <a:gd name="connsiteX2012" fmla="*/ 30685 w 1439351"/>
                    <a:gd name="connsiteY2012" fmla="*/ 269160 h 1323458"/>
                    <a:gd name="connsiteX2013" fmla="*/ 31207 w 1439351"/>
                    <a:gd name="connsiteY2013" fmla="*/ 268735 h 1323458"/>
                    <a:gd name="connsiteX2014" fmla="*/ 31657 w 1439351"/>
                    <a:gd name="connsiteY2014" fmla="*/ 268104 h 1323458"/>
                    <a:gd name="connsiteX2015" fmla="*/ 31899 w 1439351"/>
                    <a:gd name="connsiteY2015" fmla="*/ 266841 h 1323458"/>
                    <a:gd name="connsiteX2016" fmla="*/ 29884 w 1439351"/>
                    <a:gd name="connsiteY2016" fmla="*/ 236144 h 1323458"/>
                    <a:gd name="connsiteX2017" fmla="*/ 30527 w 1439351"/>
                    <a:gd name="connsiteY2017" fmla="*/ 234359 h 1323458"/>
                    <a:gd name="connsiteX2018" fmla="*/ 32531 w 1439351"/>
                    <a:gd name="connsiteY2018" fmla="*/ 231845 h 1323458"/>
                    <a:gd name="connsiteX2019" fmla="*/ 33515 w 1439351"/>
                    <a:gd name="connsiteY2019" fmla="*/ 229453 h 1323458"/>
                    <a:gd name="connsiteX2020" fmla="*/ 32701 w 1439351"/>
                    <a:gd name="connsiteY2020" fmla="*/ 227304 h 1323458"/>
                    <a:gd name="connsiteX2021" fmla="*/ 31256 w 1439351"/>
                    <a:gd name="connsiteY2021" fmla="*/ 225324 h 1323458"/>
                    <a:gd name="connsiteX2022" fmla="*/ 30527 w 1439351"/>
                    <a:gd name="connsiteY2022" fmla="*/ 223466 h 1323458"/>
                    <a:gd name="connsiteX2023" fmla="*/ 30285 w 1439351"/>
                    <a:gd name="connsiteY2023" fmla="*/ 217395 h 1323458"/>
                    <a:gd name="connsiteX2024" fmla="*/ 30527 w 1439351"/>
                    <a:gd name="connsiteY2024" fmla="*/ 215756 h 1323458"/>
                    <a:gd name="connsiteX2025" fmla="*/ 31377 w 1439351"/>
                    <a:gd name="connsiteY2025" fmla="*/ 214044 h 1323458"/>
                    <a:gd name="connsiteX2026" fmla="*/ 32640 w 1439351"/>
                    <a:gd name="connsiteY2026" fmla="*/ 212635 h 1323458"/>
                    <a:gd name="connsiteX2027" fmla="*/ 33515 w 1439351"/>
                    <a:gd name="connsiteY2027" fmla="*/ 211032 h 1323458"/>
                    <a:gd name="connsiteX2028" fmla="*/ 33150 w 1439351"/>
                    <a:gd name="connsiteY2028" fmla="*/ 208664 h 1323458"/>
                    <a:gd name="connsiteX2029" fmla="*/ 29884 w 1439351"/>
                    <a:gd name="connsiteY2029" fmla="*/ 206321 h 1323458"/>
                    <a:gd name="connsiteX2030" fmla="*/ 24662 w 1439351"/>
                    <a:gd name="connsiteY2030" fmla="*/ 206199 h 1323458"/>
                    <a:gd name="connsiteX2031" fmla="*/ 19842 w 1439351"/>
                    <a:gd name="connsiteY2031" fmla="*/ 206831 h 1323458"/>
                    <a:gd name="connsiteX2032" fmla="*/ 17717 w 1439351"/>
                    <a:gd name="connsiteY2032" fmla="*/ 206636 h 1323458"/>
                    <a:gd name="connsiteX2033" fmla="*/ 19028 w 1439351"/>
                    <a:gd name="connsiteY2033" fmla="*/ 203528 h 1323458"/>
                    <a:gd name="connsiteX2034" fmla="*/ 25512 w 1439351"/>
                    <a:gd name="connsiteY2034" fmla="*/ 197566 h 1323458"/>
                    <a:gd name="connsiteX2035" fmla="*/ 27941 w 1439351"/>
                    <a:gd name="connsiteY2035" fmla="*/ 194578 h 1323458"/>
                    <a:gd name="connsiteX2036" fmla="*/ 25112 w 1439351"/>
                    <a:gd name="connsiteY2036" fmla="*/ 192198 h 1323458"/>
                    <a:gd name="connsiteX2037" fmla="*/ 19902 w 1439351"/>
                    <a:gd name="connsiteY2037" fmla="*/ 192854 h 1323458"/>
                    <a:gd name="connsiteX2038" fmla="*/ 17717 w 1439351"/>
                    <a:gd name="connsiteY2038" fmla="*/ 190498 h 1323458"/>
                    <a:gd name="connsiteX2039" fmla="*/ 18287 w 1439351"/>
                    <a:gd name="connsiteY2039" fmla="*/ 190644 h 1323458"/>
                    <a:gd name="connsiteX2040" fmla="*/ 18688 w 1439351"/>
                    <a:gd name="connsiteY2040" fmla="*/ 188981 h 1323458"/>
                    <a:gd name="connsiteX2041" fmla="*/ 18967 w 1439351"/>
                    <a:gd name="connsiteY2041" fmla="*/ 185556 h 1323458"/>
                    <a:gd name="connsiteX2042" fmla="*/ 18567 w 1439351"/>
                    <a:gd name="connsiteY2042" fmla="*/ 183808 h 1323458"/>
                    <a:gd name="connsiteX2043" fmla="*/ 16733 w 1439351"/>
                    <a:gd name="connsiteY2043" fmla="*/ 181306 h 1323458"/>
                    <a:gd name="connsiteX2044" fmla="*/ 16284 w 1439351"/>
                    <a:gd name="connsiteY2044" fmla="*/ 179910 h 1323458"/>
                    <a:gd name="connsiteX2045" fmla="*/ 17474 w 1439351"/>
                    <a:gd name="connsiteY2045" fmla="*/ 177032 h 1323458"/>
                    <a:gd name="connsiteX2046" fmla="*/ 20182 w 1439351"/>
                    <a:gd name="connsiteY2046" fmla="*/ 175623 h 1323458"/>
                    <a:gd name="connsiteX2047" fmla="*/ 22877 w 1439351"/>
                    <a:gd name="connsiteY2047" fmla="*/ 174652 h 1323458"/>
                    <a:gd name="connsiteX2048" fmla="*/ 24079 w 1439351"/>
                    <a:gd name="connsiteY2048" fmla="*/ 173049 h 1323458"/>
                    <a:gd name="connsiteX2049" fmla="*/ 23339 w 1439351"/>
                    <a:gd name="connsiteY2049" fmla="*/ 170633 h 1323458"/>
                    <a:gd name="connsiteX2050" fmla="*/ 22076 w 1439351"/>
                    <a:gd name="connsiteY2050" fmla="*/ 168422 h 1323458"/>
                    <a:gd name="connsiteX2051" fmla="*/ 21493 w 1439351"/>
                    <a:gd name="connsiteY2051" fmla="*/ 165860 h 1323458"/>
                    <a:gd name="connsiteX2052" fmla="*/ 22938 w 1439351"/>
                    <a:gd name="connsiteY2052" fmla="*/ 162424 h 1323458"/>
                    <a:gd name="connsiteX2053" fmla="*/ 21845 w 1439351"/>
                    <a:gd name="connsiteY2053" fmla="*/ 158805 h 1323458"/>
                    <a:gd name="connsiteX2054" fmla="*/ 26727 w 1439351"/>
                    <a:gd name="connsiteY2054" fmla="*/ 153948 h 1323458"/>
                    <a:gd name="connsiteX2055" fmla="*/ 25415 w 1439351"/>
                    <a:gd name="connsiteY2055" fmla="*/ 149844 h 1323458"/>
                    <a:gd name="connsiteX2056" fmla="*/ 29422 w 1439351"/>
                    <a:gd name="connsiteY2056" fmla="*/ 147367 h 1323458"/>
                    <a:gd name="connsiteX2057" fmla="*/ 31147 w 1439351"/>
                    <a:gd name="connsiteY2057" fmla="*/ 145618 h 1323458"/>
                    <a:gd name="connsiteX2058" fmla="*/ 31899 w 1439351"/>
                    <a:gd name="connsiteY2058" fmla="*/ 143469 h 1323458"/>
                    <a:gd name="connsiteX2059" fmla="*/ 31499 w 1439351"/>
                    <a:gd name="connsiteY2059" fmla="*/ 142121 h 1323458"/>
                    <a:gd name="connsiteX2060" fmla="*/ 30685 w 1439351"/>
                    <a:gd name="connsiteY2060" fmla="*/ 140542 h 1323458"/>
                    <a:gd name="connsiteX2061" fmla="*/ 30163 w 1439351"/>
                    <a:gd name="connsiteY2061" fmla="*/ 138842 h 1323458"/>
                    <a:gd name="connsiteX2062" fmla="*/ 30527 w 1439351"/>
                    <a:gd name="connsiteY2062" fmla="*/ 137094 h 1323458"/>
                    <a:gd name="connsiteX2063" fmla="*/ 31717 w 1439351"/>
                    <a:gd name="connsiteY2063" fmla="*/ 136001 h 1323458"/>
                    <a:gd name="connsiteX2064" fmla="*/ 33211 w 1439351"/>
                    <a:gd name="connsiteY2064" fmla="*/ 135940 h 1323458"/>
                    <a:gd name="connsiteX2065" fmla="*/ 34644 w 1439351"/>
                    <a:gd name="connsiteY2065" fmla="*/ 136147 h 1323458"/>
                    <a:gd name="connsiteX2066" fmla="*/ 35737 w 1439351"/>
                    <a:gd name="connsiteY2066" fmla="*/ 135709 h 1323458"/>
                    <a:gd name="connsiteX2067" fmla="*/ 39185 w 1439351"/>
                    <a:gd name="connsiteY2067" fmla="*/ 128946 h 1323458"/>
                    <a:gd name="connsiteX2068" fmla="*/ 44698 w 1439351"/>
                    <a:gd name="connsiteY2068" fmla="*/ 103361 h 1323458"/>
                    <a:gd name="connsiteX2069" fmla="*/ 46823 w 1439351"/>
                    <a:gd name="connsiteY2069" fmla="*/ 96816 h 1323458"/>
                    <a:gd name="connsiteX2070" fmla="*/ 48487 w 1439351"/>
                    <a:gd name="connsiteY2070" fmla="*/ 93573 h 1323458"/>
                    <a:gd name="connsiteX2071" fmla="*/ 50381 w 1439351"/>
                    <a:gd name="connsiteY2071" fmla="*/ 92165 h 1323458"/>
                    <a:gd name="connsiteX2072" fmla="*/ 57388 w 1439351"/>
                    <a:gd name="connsiteY2072" fmla="*/ 85158 h 1323458"/>
                    <a:gd name="connsiteX2073" fmla="*/ 57740 w 1439351"/>
                    <a:gd name="connsiteY2073" fmla="*/ 84333 h 1323458"/>
                    <a:gd name="connsiteX2074" fmla="*/ 57740 w 1439351"/>
                    <a:gd name="connsiteY2074" fmla="*/ 83203 h 1323458"/>
                    <a:gd name="connsiteX2075" fmla="*/ 57898 w 1439351"/>
                    <a:gd name="connsiteY2075" fmla="*/ 82001 h 1323458"/>
                    <a:gd name="connsiteX2076" fmla="*/ 58772 w 1439351"/>
                    <a:gd name="connsiteY2076" fmla="*/ 80945 h 1323458"/>
                    <a:gd name="connsiteX2077" fmla="*/ 59622 w 1439351"/>
                    <a:gd name="connsiteY2077" fmla="*/ 80787 h 1323458"/>
                    <a:gd name="connsiteX2078" fmla="*/ 61808 w 1439351"/>
                    <a:gd name="connsiteY2078" fmla="*/ 81163 h 1323458"/>
                    <a:gd name="connsiteX2079" fmla="*/ 62609 w 1439351"/>
                    <a:gd name="connsiteY2079" fmla="*/ 80945 h 1323458"/>
                    <a:gd name="connsiteX2080" fmla="*/ 63702 w 1439351"/>
                    <a:gd name="connsiteY2080" fmla="*/ 80471 h 1323458"/>
                    <a:gd name="connsiteX2081" fmla="*/ 64503 w 1439351"/>
                    <a:gd name="connsiteY2081" fmla="*/ 80653 h 1323458"/>
                    <a:gd name="connsiteX2082" fmla="*/ 65026 w 1439351"/>
                    <a:gd name="connsiteY2082" fmla="*/ 80471 h 1323458"/>
                    <a:gd name="connsiteX2083" fmla="*/ 65256 w 1439351"/>
                    <a:gd name="connsiteY2083" fmla="*/ 77569 h 1323458"/>
                    <a:gd name="connsiteX2084" fmla="*/ 65426 w 1439351"/>
                    <a:gd name="connsiteY2084" fmla="*/ 76428 h 1323458"/>
                    <a:gd name="connsiteX2085" fmla="*/ 65997 w 1439351"/>
                    <a:gd name="connsiteY2085" fmla="*/ 75541 h 1323458"/>
                    <a:gd name="connsiteX2086" fmla="*/ 68935 w 1439351"/>
                    <a:gd name="connsiteY2086" fmla="*/ 74448 h 1323458"/>
                    <a:gd name="connsiteX2087" fmla="*/ 74789 w 1439351"/>
                    <a:gd name="connsiteY2087" fmla="*/ 68960 h 1323458"/>
                    <a:gd name="connsiteX2088" fmla="*/ 80994 w 1439351"/>
                    <a:gd name="connsiteY2088" fmla="*/ 65572 h 1323458"/>
                    <a:gd name="connsiteX2089" fmla="*/ 81455 w 1439351"/>
                    <a:gd name="connsiteY2089" fmla="*/ 59695 h 1323458"/>
                    <a:gd name="connsiteX2090" fmla="*/ 83058 w 1439351"/>
                    <a:gd name="connsiteY2090" fmla="*/ 57448 h 1323458"/>
                    <a:gd name="connsiteX2091" fmla="*/ 88692 w 1439351"/>
                    <a:gd name="connsiteY2091" fmla="*/ 53089 h 1323458"/>
                    <a:gd name="connsiteX2092" fmla="*/ 100908 w 1439351"/>
                    <a:gd name="connsiteY2092" fmla="*/ 41031 h 1323458"/>
                    <a:gd name="connsiteX2093" fmla="*/ 108789 w 1439351"/>
                    <a:gd name="connsiteY2093" fmla="*/ 35057 h 1323458"/>
                    <a:gd name="connsiteX2094" fmla="*/ 112286 w 1439351"/>
                    <a:gd name="connsiteY2094" fmla="*/ 31584 h 1323458"/>
                    <a:gd name="connsiteX2095" fmla="*/ 115091 w 1439351"/>
                    <a:gd name="connsiteY2095" fmla="*/ 21930 h 1323458"/>
                    <a:gd name="connsiteX2096" fmla="*/ 115662 w 1439351"/>
                    <a:gd name="connsiteY2096" fmla="*/ 12604 h 1323458"/>
                    <a:gd name="connsiteX2097" fmla="*/ 115394 w 1439351"/>
                    <a:gd name="connsiteY2097" fmla="*/ 10504 h 1323458"/>
                    <a:gd name="connsiteX2098" fmla="*/ 115091 w 1439351"/>
                    <a:gd name="connsiteY2098" fmla="*/ 10054 h 1323458"/>
                    <a:gd name="connsiteX2099" fmla="*/ 121478 w 1439351"/>
                    <a:gd name="connsiteY2099" fmla="*/ 6132 h 1323458"/>
                    <a:gd name="connsiteX2100" fmla="*/ 119851 w 1439351"/>
                    <a:gd name="connsiteY2100" fmla="*/ 0 h 1323458"/>
                    <a:gd name="connsiteX2101" fmla="*/ 118297 w 1439351"/>
                    <a:gd name="connsiteY2101" fmla="*/ 959 h 1323458"/>
                    <a:gd name="connsiteX2102" fmla="*/ 111909 w 1439351"/>
                    <a:gd name="connsiteY2102" fmla="*/ 4894 h 1323458"/>
                    <a:gd name="connsiteX2103" fmla="*/ 106530 w 1439351"/>
                    <a:gd name="connsiteY2103" fmla="*/ 8196 h 1323458"/>
                    <a:gd name="connsiteX2104" fmla="*/ 109554 w 1439351"/>
                    <a:gd name="connsiteY2104" fmla="*/ 12701 h 1323458"/>
                    <a:gd name="connsiteX2105" fmla="*/ 109566 w 1439351"/>
                    <a:gd name="connsiteY2105" fmla="*/ 12811 h 1323458"/>
                    <a:gd name="connsiteX2106" fmla="*/ 109068 w 1439351"/>
                    <a:gd name="connsiteY2106" fmla="*/ 20898 h 1323458"/>
                    <a:gd name="connsiteX2107" fmla="*/ 106894 w 1439351"/>
                    <a:gd name="connsiteY2107" fmla="*/ 28390 h 1323458"/>
                    <a:gd name="connsiteX2108" fmla="*/ 104794 w 1439351"/>
                    <a:gd name="connsiteY2108" fmla="*/ 30467 h 1323458"/>
                    <a:gd name="connsiteX2109" fmla="*/ 97229 w 1439351"/>
                    <a:gd name="connsiteY2109" fmla="*/ 36198 h 1323458"/>
                    <a:gd name="connsiteX2110" fmla="*/ 96913 w 1439351"/>
                    <a:gd name="connsiteY2110" fmla="*/ 36441 h 1323458"/>
                    <a:gd name="connsiteX2111" fmla="*/ 96634 w 1439351"/>
                    <a:gd name="connsiteY2111" fmla="*/ 36720 h 1323458"/>
                    <a:gd name="connsiteX2112" fmla="*/ 84673 w 1439351"/>
                    <a:gd name="connsiteY2112" fmla="*/ 48523 h 1323458"/>
                    <a:gd name="connsiteX2113" fmla="*/ 79330 w 1439351"/>
                    <a:gd name="connsiteY2113" fmla="*/ 52664 h 1323458"/>
                    <a:gd name="connsiteX2114" fmla="*/ 78626 w 1439351"/>
                    <a:gd name="connsiteY2114" fmla="*/ 53210 h 1323458"/>
                    <a:gd name="connsiteX2115" fmla="*/ 78116 w 1439351"/>
                    <a:gd name="connsiteY2115" fmla="*/ 53939 h 1323458"/>
                    <a:gd name="connsiteX2116" fmla="*/ 76513 w 1439351"/>
                    <a:gd name="connsiteY2116" fmla="*/ 56185 h 1323458"/>
                    <a:gd name="connsiteX2117" fmla="*/ 75529 w 1439351"/>
                    <a:gd name="connsiteY2117" fmla="*/ 57558 h 1323458"/>
                    <a:gd name="connsiteX2118" fmla="*/ 75396 w 1439351"/>
                    <a:gd name="connsiteY2118" fmla="*/ 59245 h 1323458"/>
                    <a:gd name="connsiteX2119" fmla="*/ 75189 w 1439351"/>
                    <a:gd name="connsiteY2119" fmla="*/ 61844 h 1323458"/>
                    <a:gd name="connsiteX2120" fmla="*/ 71874 w 1439351"/>
                    <a:gd name="connsiteY2120" fmla="*/ 63653 h 1323458"/>
                    <a:gd name="connsiteX2121" fmla="*/ 71194 w 1439351"/>
                    <a:gd name="connsiteY2121" fmla="*/ 64030 h 1323458"/>
                    <a:gd name="connsiteX2122" fmla="*/ 70623 w 1439351"/>
                    <a:gd name="connsiteY2122" fmla="*/ 64552 h 1323458"/>
                    <a:gd name="connsiteX2123" fmla="*/ 65669 w 1439351"/>
                    <a:gd name="connsiteY2123" fmla="*/ 69203 h 1323458"/>
                    <a:gd name="connsiteX2124" fmla="*/ 63884 w 1439351"/>
                    <a:gd name="connsiteY2124" fmla="*/ 69870 h 1323458"/>
                    <a:gd name="connsiteX2125" fmla="*/ 62002 w 1439351"/>
                    <a:gd name="connsiteY2125" fmla="*/ 70575 h 1323458"/>
                    <a:gd name="connsiteX2126" fmla="*/ 60909 w 1439351"/>
                    <a:gd name="connsiteY2126" fmla="*/ 72263 h 1323458"/>
                    <a:gd name="connsiteX2127" fmla="*/ 60338 w 1439351"/>
                    <a:gd name="connsiteY2127" fmla="*/ 73149 h 1323458"/>
                    <a:gd name="connsiteX2128" fmla="*/ 59622 w 1439351"/>
                    <a:gd name="connsiteY2128" fmla="*/ 74254 h 1323458"/>
                    <a:gd name="connsiteX2129" fmla="*/ 59573 w 1439351"/>
                    <a:gd name="connsiteY2129" fmla="*/ 74643 h 1323458"/>
                    <a:gd name="connsiteX2130" fmla="*/ 58553 w 1439351"/>
                    <a:gd name="connsiteY2130" fmla="*/ 74825 h 1323458"/>
                    <a:gd name="connsiteX2131" fmla="*/ 57703 w 1439351"/>
                    <a:gd name="connsiteY2131" fmla="*/ 74983 h 1323458"/>
                    <a:gd name="connsiteX2132" fmla="*/ 55505 w 1439351"/>
                    <a:gd name="connsiteY2132" fmla="*/ 75383 h 1323458"/>
                    <a:gd name="connsiteX2133" fmla="*/ 54097 w 1439351"/>
                    <a:gd name="connsiteY2133" fmla="*/ 77108 h 1323458"/>
                    <a:gd name="connsiteX2134" fmla="*/ 53223 w 1439351"/>
                    <a:gd name="connsiteY2134" fmla="*/ 78164 h 1323458"/>
                    <a:gd name="connsiteX2135" fmla="*/ 52130 w 1439351"/>
                    <a:gd name="connsiteY2135" fmla="*/ 79500 h 1323458"/>
                    <a:gd name="connsiteX2136" fmla="*/ 51899 w 1439351"/>
                    <a:gd name="connsiteY2136" fmla="*/ 81212 h 1323458"/>
                    <a:gd name="connsiteX2137" fmla="*/ 51765 w 1439351"/>
                    <a:gd name="connsiteY2137" fmla="*/ 82232 h 1323458"/>
                    <a:gd name="connsiteX2138" fmla="*/ 46435 w 1439351"/>
                    <a:gd name="connsiteY2138" fmla="*/ 87563 h 1323458"/>
                    <a:gd name="connsiteX2139" fmla="*/ 44905 w 1439351"/>
                    <a:gd name="connsiteY2139" fmla="*/ 88704 h 1323458"/>
                    <a:gd name="connsiteX2140" fmla="*/ 43763 w 1439351"/>
                    <a:gd name="connsiteY2140" fmla="*/ 89554 h 1323458"/>
                    <a:gd name="connsiteX2141" fmla="*/ 43120 w 1439351"/>
                    <a:gd name="connsiteY2141" fmla="*/ 90817 h 1323458"/>
                    <a:gd name="connsiteX2142" fmla="*/ 41456 w 1439351"/>
                    <a:gd name="connsiteY2142" fmla="*/ 94059 h 1323458"/>
                    <a:gd name="connsiteX2143" fmla="*/ 41225 w 1439351"/>
                    <a:gd name="connsiteY2143" fmla="*/ 94496 h 1323458"/>
                    <a:gd name="connsiteX2144" fmla="*/ 41080 w 1439351"/>
                    <a:gd name="connsiteY2144" fmla="*/ 94958 h 1323458"/>
                    <a:gd name="connsiteX2145" fmla="*/ 38955 w 1439351"/>
                    <a:gd name="connsiteY2145" fmla="*/ 101503 h 1323458"/>
                    <a:gd name="connsiteX2146" fmla="*/ 38858 w 1439351"/>
                    <a:gd name="connsiteY2146" fmla="*/ 101794 h 1323458"/>
                    <a:gd name="connsiteX2147" fmla="*/ 38797 w 1439351"/>
                    <a:gd name="connsiteY2147" fmla="*/ 102098 h 1323458"/>
                    <a:gd name="connsiteX2148" fmla="*/ 33454 w 1439351"/>
                    <a:gd name="connsiteY2148" fmla="*/ 126906 h 1323458"/>
                    <a:gd name="connsiteX2149" fmla="*/ 31912 w 1439351"/>
                    <a:gd name="connsiteY2149" fmla="*/ 129929 h 1323458"/>
                    <a:gd name="connsiteX2150" fmla="*/ 31511 w 1439351"/>
                    <a:gd name="connsiteY2150" fmla="*/ 129942 h 1323458"/>
                    <a:gd name="connsiteX2151" fmla="*/ 29289 w 1439351"/>
                    <a:gd name="connsiteY2151" fmla="*/ 130027 h 1323458"/>
                    <a:gd name="connsiteX2152" fmla="*/ 27650 w 1439351"/>
                    <a:gd name="connsiteY2152" fmla="*/ 131532 h 1323458"/>
                    <a:gd name="connsiteX2153" fmla="*/ 26459 w 1439351"/>
                    <a:gd name="connsiteY2153" fmla="*/ 132625 h 1323458"/>
                    <a:gd name="connsiteX2154" fmla="*/ 25002 w 1439351"/>
                    <a:gd name="connsiteY2154" fmla="*/ 133949 h 1323458"/>
                    <a:gd name="connsiteX2155" fmla="*/ 24602 w 1439351"/>
                    <a:gd name="connsiteY2155" fmla="*/ 135879 h 1323458"/>
                    <a:gd name="connsiteX2156" fmla="*/ 24237 w 1439351"/>
                    <a:gd name="connsiteY2156" fmla="*/ 137628 h 1323458"/>
                    <a:gd name="connsiteX2157" fmla="*/ 23922 w 1439351"/>
                    <a:gd name="connsiteY2157" fmla="*/ 139146 h 1323458"/>
                    <a:gd name="connsiteX2158" fmla="*/ 24383 w 1439351"/>
                    <a:gd name="connsiteY2158" fmla="*/ 140640 h 1323458"/>
                    <a:gd name="connsiteX2159" fmla="*/ 24905 w 1439351"/>
                    <a:gd name="connsiteY2159" fmla="*/ 142340 h 1323458"/>
                    <a:gd name="connsiteX2160" fmla="*/ 25063 w 1439351"/>
                    <a:gd name="connsiteY2160" fmla="*/ 142862 h 1323458"/>
                    <a:gd name="connsiteX2161" fmla="*/ 25099 w 1439351"/>
                    <a:gd name="connsiteY2161" fmla="*/ 142934 h 1323458"/>
                    <a:gd name="connsiteX2162" fmla="*/ 22246 w 1439351"/>
                    <a:gd name="connsiteY2162" fmla="*/ 144707 h 1323458"/>
                    <a:gd name="connsiteX2163" fmla="*/ 18214 w 1439351"/>
                    <a:gd name="connsiteY2163" fmla="*/ 147209 h 1323458"/>
                    <a:gd name="connsiteX2164" fmla="*/ 19659 w 1439351"/>
                    <a:gd name="connsiteY2164" fmla="*/ 151726 h 1323458"/>
                    <a:gd name="connsiteX2165" fmla="*/ 19842 w 1439351"/>
                    <a:gd name="connsiteY2165" fmla="*/ 152285 h 1323458"/>
                    <a:gd name="connsiteX2166" fmla="*/ 17595 w 1439351"/>
                    <a:gd name="connsiteY2166" fmla="*/ 154531 h 1323458"/>
                    <a:gd name="connsiteX2167" fmla="*/ 15009 w 1439351"/>
                    <a:gd name="connsiteY2167" fmla="*/ 157093 h 1323458"/>
                    <a:gd name="connsiteX2168" fmla="*/ 16065 w 1439351"/>
                    <a:gd name="connsiteY2168" fmla="*/ 160578 h 1323458"/>
                    <a:gd name="connsiteX2169" fmla="*/ 16527 w 1439351"/>
                    <a:gd name="connsiteY2169" fmla="*/ 162108 h 1323458"/>
                    <a:gd name="connsiteX2170" fmla="*/ 15932 w 1439351"/>
                    <a:gd name="connsiteY2170" fmla="*/ 163529 h 1323458"/>
                    <a:gd name="connsiteX2171" fmla="*/ 15179 w 1439351"/>
                    <a:gd name="connsiteY2171" fmla="*/ 165314 h 1323458"/>
                    <a:gd name="connsiteX2172" fmla="*/ 15604 w 1439351"/>
                    <a:gd name="connsiteY2172" fmla="*/ 167208 h 1323458"/>
                    <a:gd name="connsiteX2173" fmla="*/ 16187 w 1439351"/>
                    <a:gd name="connsiteY2173" fmla="*/ 169770 h 1323458"/>
                    <a:gd name="connsiteX2174" fmla="*/ 16393 w 1439351"/>
                    <a:gd name="connsiteY2174" fmla="*/ 170657 h 1323458"/>
                    <a:gd name="connsiteX2175" fmla="*/ 16442 w 1439351"/>
                    <a:gd name="connsiteY2175" fmla="*/ 170754 h 1323458"/>
                    <a:gd name="connsiteX2176" fmla="*/ 14717 w 1439351"/>
                    <a:gd name="connsiteY2176" fmla="*/ 171653 h 1323458"/>
                    <a:gd name="connsiteX2177" fmla="*/ 12750 w 1439351"/>
                    <a:gd name="connsiteY2177" fmla="*/ 172673 h 1323458"/>
                    <a:gd name="connsiteX2178" fmla="*/ 11900 w 1439351"/>
                    <a:gd name="connsiteY2178" fmla="*/ 174725 h 1323458"/>
                    <a:gd name="connsiteX2179" fmla="*/ 10710 w 1439351"/>
                    <a:gd name="connsiteY2179" fmla="*/ 177603 h 1323458"/>
                    <a:gd name="connsiteX2180" fmla="*/ 9860 w 1439351"/>
                    <a:gd name="connsiteY2180" fmla="*/ 179667 h 1323458"/>
                    <a:gd name="connsiteX2181" fmla="*/ 10552 w 1439351"/>
                    <a:gd name="connsiteY2181" fmla="*/ 181792 h 1323458"/>
                    <a:gd name="connsiteX2182" fmla="*/ 10783 w 1439351"/>
                    <a:gd name="connsiteY2182" fmla="*/ 182508 h 1323458"/>
                    <a:gd name="connsiteX2183" fmla="*/ 0 w 1439351"/>
                    <a:gd name="connsiteY2183" fmla="*/ 179813 h 1323458"/>
                    <a:gd name="connsiteX2184" fmla="*/ 13309 w 1439351"/>
                    <a:gd name="connsiteY2184" fmla="*/ 194639 h 1323458"/>
                    <a:gd name="connsiteX2185" fmla="*/ 15494 w 1439351"/>
                    <a:gd name="connsiteY2185" fmla="*/ 196995 h 1323458"/>
                    <a:gd name="connsiteX2186" fmla="*/ 16284 w 1439351"/>
                    <a:gd name="connsiteY2186" fmla="*/ 197857 h 1323458"/>
                    <a:gd name="connsiteX2187" fmla="*/ 14960 w 1439351"/>
                    <a:gd name="connsiteY2187" fmla="*/ 199071 h 1323458"/>
                    <a:gd name="connsiteX2188" fmla="*/ 13989 w 1439351"/>
                    <a:gd name="connsiteY2188" fmla="*/ 199970 h 1323458"/>
                    <a:gd name="connsiteX2189" fmla="*/ 13479 w 1439351"/>
                    <a:gd name="connsiteY2189" fmla="*/ 201184 h 1323458"/>
                    <a:gd name="connsiteX2190" fmla="*/ 12167 w 1439351"/>
                    <a:gd name="connsiteY2190" fmla="*/ 204293 h 1323458"/>
                    <a:gd name="connsiteX2191" fmla="*/ 8949 w 1439351"/>
                    <a:gd name="connsiteY2191" fmla="*/ 211931 h 1323458"/>
                    <a:gd name="connsiteX2192" fmla="*/ 17207 w 1439351"/>
                    <a:gd name="connsiteY2192" fmla="*/ 212696 h 1323458"/>
                    <a:gd name="connsiteX2193" fmla="*/ 19332 w 1439351"/>
                    <a:gd name="connsiteY2193" fmla="*/ 212890 h 1323458"/>
                    <a:gd name="connsiteX2194" fmla="*/ 19999 w 1439351"/>
                    <a:gd name="connsiteY2194" fmla="*/ 212951 h 1323458"/>
                    <a:gd name="connsiteX2195" fmla="*/ 20667 w 1439351"/>
                    <a:gd name="connsiteY2195" fmla="*/ 212866 h 1323458"/>
                    <a:gd name="connsiteX2196" fmla="*/ 25027 w 1439351"/>
                    <a:gd name="connsiteY2196" fmla="*/ 212307 h 1323458"/>
                    <a:gd name="connsiteX2197" fmla="*/ 25512 w 1439351"/>
                    <a:gd name="connsiteY2197" fmla="*/ 212307 h 1323458"/>
                    <a:gd name="connsiteX2198" fmla="*/ 25136 w 1439351"/>
                    <a:gd name="connsiteY2198" fmla="*/ 213060 h 1323458"/>
                    <a:gd name="connsiteX2199" fmla="*/ 24699 w 1439351"/>
                    <a:gd name="connsiteY2199" fmla="*/ 213922 h 1323458"/>
                    <a:gd name="connsiteX2200" fmla="*/ 24553 w 1439351"/>
                    <a:gd name="connsiteY2200" fmla="*/ 214881 h 1323458"/>
                    <a:gd name="connsiteX2201" fmla="*/ 24310 w 1439351"/>
                    <a:gd name="connsiteY2201" fmla="*/ 216521 h 1323458"/>
                    <a:gd name="connsiteX2202" fmla="*/ 24225 w 1439351"/>
                    <a:gd name="connsiteY2202" fmla="*/ 217079 h 1323458"/>
                    <a:gd name="connsiteX2203" fmla="*/ 24250 w 1439351"/>
                    <a:gd name="connsiteY2203" fmla="*/ 217650 h 1323458"/>
                    <a:gd name="connsiteX2204" fmla="*/ 24492 w 1439351"/>
                    <a:gd name="connsiteY2204" fmla="*/ 223721 h 1323458"/>
                    <a:gd name="connsiteX2205" fmla="*/ 24529 w 1439351"/>
                    <a:gd name="connsiteY2205" fmla="*/ 224741 h 1323458"/>
                    <a:gd name="connsiteX2206" fmla="*/ 24905 w 1439351"/>
                    <a:gd name="connsiteY2206" fmla="*/ 225701 h 1323458"/>
                    <a:gd name="connsiteX2207" fmla="*/ 25634 w 1439351"/>
                    <a:gd name="connsiteY2207" fmla="*/ 227559 h 1323458"/>
                    <a:gd name="connsiteX2208" fmla="*/ 25913 w 1439351"/>
                    <a:gd name="connsiteY2208" fmla="*/ 228287 h 1323458"/>
                    <a:gd name="connsiteX2209" fmla="*/ 26375 w 1439351"/>
                    <a:gd name="connsiteY2209" fmla="*/ 228919 h 1323458"/>
                    <a:gd name="connsiteX2210" fmla="*/ 26739 w 1439351"/>
                    <a:gd name="connsiteY2210" fmla="*/ 229416 h 1323458"/>
                    <a:gd name="connsiteX2211" fmla="*/ 25804 w 1439351"/>
                    <a:gd name="connsiteY2211" fmla="*/ 230594 h 1323458"/>
                    <a:gd name="connsiteX2212" fmla="*/ 25160 w 1439351"/>
                    <a:gd name="connsiteY2212" fmla="*/ 231359 h 1323458"/>
                    <a:gd name="connsiteX2213" fmla="*/ 24820 w 1439351"/>
                    <a:gd name="connsiteY2213" fmla="*/ 232307 h 1323458"/>
                    <a:gd name="connsiteX2214" fmla="*/ 24177 w 1439351"/>
                    <a:gd name="connsiteY2214" fmla="*/ 234092 h 1323458"/>
                    <a:gd name="connsiteX2215" fmla="*/ 23752 w 1439351"/>
                    <a:gd name="connsiteY2215" fmla="*/ 235281 h 1323458"/>
                    <a:gd name="connsiteX2216" fmla="*/ 23837 w 1439351"/>
                    <a:gd name="connsiteY2216" fmla="*/ 236544 h 1323458"/>
                    <a:gd name="connsiteX2217" fmla="*/ 25731 w 1439351"/>
                    <a:gd name="connsiteY2217" fmla="*/ 265372 h 1323458"/>
                    <a:gd name="connsiteX2218" fmla="*/ 25439 w 1439351"/>
                    <a:gd name="connsiteY2218" fmla="*/ 265615 h 1323458"/>
                    <a:gd name="connsiteX2219" fmla="*/ 24893 w 1439351"/>
                    <a:gd name="connsiteY2219" fmla="*/ 267400 h 1323458"/>
                    <a:gd name="connsiteX2220" fmla="*/ 24432 w 1439351"/>
                    <a:gd name="connsiteY2220" fmla="*/ 268905 h 1323458"/>
                    <a:gd name="connsiteX2221" fmla="*/ 24602 w 1439351"/>
                    <a:gd name="connsiteY2221" fmla="*/ 270970 h 1323458"/>
                    <a:gd name="connsiteX2222" fmla="*/ 24942 w 1439351"/>
                    <a:gd name="connsiteY2222" fmla="*/ 272572 h 1323458"/>
                    <a:gd name="connsiteX2223" fmla="*/ 25318 w 1439351"/>
                    <a:gd name="connsiteY2223" fmla="*/ 274345 h 1323458"/>
                    <a:gd name="connsiteX2224" fmla="*/ 26605 w 1439351"/>
                    <a:gd name="connsiteY2224" fmla="*/ 275608 h 1323458"/>
                    <a:gd name="connsiteX2225" fmla="*/ 27395 w 1439351"/>
                    <a:gd name="connsiteY2225" fmla="*/ 276385 h 1323458"/>
                    <a:gd name="connsiteX2226" fmla="*/ 27990 w 1439351"/>
                    <a:gd name="connsiteY2226" fmla="*/ 276968 h 1323458"/>
                    <a:gd name="connsiteX2227" fmla="*/ 31305 w 1439351"/>
                    <a:gd name="connsiteY2227" fmla="*/ 287763 h 1323458"/>
                    <a:gd name="connsiteX2228" fmla="*/ 31535 w 1439351"/>
                    <a:gd name="connsiteY2228" fmla="*/ 288516 h 1323458"/>
                    <a:gd name="connsiteX2229" fmla="*/ 31960 w 1439351"/>
                    <a:gd name="connsiteY2229" fmla="*/ 289196 h 1323458"/>
                    <a:gd name="connsiteX2230" fmla="*/ 34316 w 1439351"/>
                    <a:gd name="connsiteY2230" fmla="*/ 292985 h 1323458"/>
                    <a:gd name="connsiteX2231" fmla="*/ 32944 w 1439351"/>
                    <a:gd name="connsiteY2231" fmla="*/ 293896 h 1323458"/>
                    <a:gd name="connsiteX2232" fmla="*/ 32628 w 1439351"/>
                    <a:gd name="connsiteY2232" fmla="*/ 296700 h 1323458"/>
                    <a:gd name="connsiteX2233" fmla="*/ 32227 w 1439351"/>
                    <a:gd name="connsiteY2233" fmla="*/ 300295 h 1323458"/>
                    <a:gd name="connsiteX2234" fmla="*/ 31863 w 1439351"/>
                    <a:gd name="connsiteY2234" fmla="*/ 303561 h 1323458"/>
                    <a:gd name="connsiteX2235" fmla="*/ 34389 w 1439351"/>
                    <a:gd name="connsiteY2235" fmla="*/ 305650 h 1323458"/>
                    <a:gd name="connsiteX2236" fmla="*/ 39137 w 1439351"/>
                    <a:gd name="connsiteY2236" fmla="*/ 309572 h 1323458"/>
                    <a:gd name="connsiteX2237" fmla="*/ 39793 w 1439351"/>
                    <a:gd name="connsiteY2237" fmla="*/ 310288 h 1323458"/>
                    <a:gd name="connsiteX2238" fmla="*/ 40254 w 1439351"/>
                    <a:gd name="connsiteY2238" fmla="*/ 311066 h 1323458"/>
                    <a:gd name="connsiteX2239" fmla="*/ 40205 w 1439351"/>
                    <a:gd name="connsiteY2239" fmla="*/ 311139 h 1323458"/>
                    <a:gd name="connsiteX2240" fmla="*/ 40011 w 1439351"/>
                    <a:gd name="connsiteY2240" fmla="*/ 311479 h 1323458"/>
                    <a:gd name="connsiteX2241" fmla="*/ 37716 w 1439351"/>
                    <a:gd name="connsiteY2241" fmla="*/ 315644 h 1323458"/>
                    <a:gd name="connsiteX2242" fmla="*/ 36271 w 1439351"/>
                    <a:gd name="connsiteY2242" fmla="*/ 318279 h 1323458"/>
                    <a:gd name="connsiteX2243" fmla="*/ 37485 w 1439351"/>
                    <a:gd name="connsiteY2243" fmla="*/ 321023 h 1323458"/>
                    <a:gd name="connsiteX2244" fmla="*/ 39392 w 1439351"/>
                    <a:gd name="connsiteY2244" fmla="*/ 325346 h 1323458"/>
                    <a:gd name="connsiteX2245" fmla="*/ 38530 w 1439351"/>
                    <a:gd name="connsiteY2245" fmla="*/ 327313 h 1323458"/>
                    <a:gd name="connsiteX2246" fmla="*/ 37097 w 1439351"/>
                    <a:gd name="connsiteY2246" fmla="*/ 330579 h 1323458"/>
                    <a:gd name="connsiteX2247" fmla="*/ 39234 w 1439351"/>
                    <a:gd name="connsiteY2247" fmla="*/ 333421 h 1323458"/>
                    <a:gd name="connsiteX2248" fmla="*/ 41153 w 1439351"/>
                    <a:gd name="connsiteY2248" fmla="*/ 335971 h 1323458"/>
                    <a:gd name="connsiteX2249" fmla="*/ 42160 w 1439351"/>
                    <a:gd name="connsiteY2249" fmla="*/ 339322 h 1323458"/>
                    <a:gd name="connsiteX2250" fmla="*/ 42670 w 1439351"/>
                    <a:gd name="connsiteY2250" fmla="*/ 341034 h 1323458"/>
                    <a:gd name="connsiteX2251" fmla="*/ 44018 w 1439351"/>
                    <a:gd name="connsiteY2251" fmla="*/ 342188 h 1323458"/>
                    <a:gd name="connsiteX2252" fmla="*/ 57922 w 1439351"/>
                    <a:gd name="connsiteY2252" fmla="*/ 354088 h 1323458"/>
                    <a:gd name="connsiteX2253" fmla="*/ 58505 w 1439351"/>
                    <a:gd name="connsiteY2253" fmla="*/ 355460 h 1323458"/>
                    <a:gd name="connsiteX2254" fmla="*/ 58833 w 1439351"/>
                    <a:gd name="connsiteY2254" fmla="*/ 356492 h 1323458"/>
                    <a:gd name="connsiteX2255" fmla="*/ 58893 w 1439351"/>
                    <a:gd name="connsiteY2255" fmla="*/ 357524 h 1323458"/>
                    <a:gd name="connsiteX2256" fmla="*/ 58918 w 1439351"/>
                    <a:gd name="connsiteY2256" fmla="*/ 357889 h 1323458"/>
                    <a:gd name="connsiteX2257" fmla="*/ 58978 w 1439351"/>
                    <a:gd name="connsiteY2257" fmla="*/ 358253 h 1323458"/>
                    <a:gd name="connsiteX2258" fmla="*/ 59209 w 1439351"/>
                    <a:gd name="connsiteY2258" fmla="*/ 359516 h 1323458"/>
                    <a:gd name="connsiteX2259" fmla="*/ 59306 w 1439351"/>
                    <a:gd name="connsiteY2259" fmla="*/ 360050 h 1323458"/>
                    <a:gd name="connsiteX2260" fmla="*/ 59501 w 1439351"/>
                    <a:gd name="connsiteY2260" fmla="*/ 360572 h 1323458"/>
                    <a:gd name="connsiteX2261" fmla="*/ 62208 w 1439351"/>
                    <a:gd name="connsiteY2261" fmla="*/ 367725 h 1323458"/>
                    <a:gd name="connsiteX2262" fmla="*/ 62451 w 1439351"/>
                    <a:gd name="connsiteY2262" fmla="*/ 368647 h 1323458"/>
                    <a:gd name="connsiteX2263" fmla="*/ 62099 w 1439351"/>
                    <a:gd name="connsiteY2263" fmla="*/ 369024 h 1323458"/>
                    <a:gd name="connsiteX2264" fmla="*/ 59695 w 1439351"/>
                    <a:gd name="connsiteY2264" fmla="*/ 371076 h 1323458"/>
                    <a:gd name="connsiteX2265" fmla="*/ 59415 w 1439351"/>
                    <a:gd name="connsiteY2265" fmla="*/ 371319 h 1323458"/>
                    <a:gd name="connsiteX2266" fmla="*/ 59161 w 1439351"/>
                    <a:gd name="connsiteY2266" fmla="*/ 371598 h 1323458"/>
                    <a:gd name="connsiteX2267" fmla="*/ 58068 w 1439351"/>
                    <a:gd name="connsiteY2267" fmla="*/ 372825 h 1323458"/>
                    <a:gd name="connsiteX2268" fmla="*/ 57630 w 1439351"/>
                    <a:gd name="connsiteY2268" fmla="*/ 373310 h 1323458"/>
                    <a:gd name="connsiteX2269" fmla="*/ 57303 w 1439351"/>
                    <a:gd name="connsiteY2269" fmla="*/ 373881 h 1323458"/>
                    <a:gd name="connsiteX2270" fmla="*/ 56501 w 1439351"/>
                    <a:gd name="connsiteY2270" fmla="*/ 375290 h 1323458"/>
                    <a:gd name="connsiteX2271" fmla="*/ 56015 w 1439351"/>
                    <a:gd name="connsiteY2271" fmla="*/ 376140 h 1323458"/>
                    <a:gd name="connsiteX2272" fmla="*/ 55821 w 1439351"/>
                    <a:gd name="connsiteY2272" fmla="*/ 377099 h 1323458"/>
                    <a:gd name="connsiteX2273" fmla="*/ 55250 w 1439351"/>
                    <a:gd name="connsiteY2273" fmla="*/ 379965 h 1323458"/>
                    <a:gd name="connsiteX2274" fmla="*/ 54704 w 1439351"/>
                    <a:gd name="connsiteY2274" fmla="*/ 382685 h 1323458"/>
                    <a:gd name="connsiteX2275" fmla="*/ 56404 w 1439351"/>
                    <a:gd name="connsiteY2275" fmla="*/ 384870 h 1323458"/>
                    <a:gd name="connsiteX2276" fmla="*/ 57096 w 1439351"/>
                    <a:gd name="connsiteY2276" fmla="*/ 385757 h 1323458"/>
                    <a:gd name="connsiteX2277" fmla="*/ 61383 w 1439351"/>
                    <a:gd name="connsiteY2277" fmla="*/ 394051 h 1323458"/>
                    <a:gd name="connsiteX2278" fmla="*/ 62998 w 1439351"/>
                    <a:gd name="connsiteY2278" fmla="*/ 396783 h 1323458"/>
                    <a:gd name="connsiteX2279" fmla="*/ 63204 w 1439351"/>
                    <a:gd name="connsiteY2279" fmla="*/ 397135 h 1323458"/>
                    <a:gd name="connsiteX2280" fmla="*/ 63459 w 1439351"/>
                    <a:gd name="connsiteY2280" fmla="*/ 397451 h 1323458"/>
                    <a:gd name="connsiteX2281" fmla="*/ 65013 w 1439351"/>
                    <a:gd name="connsiteY2281" fmla="*/ 399405 h 1323458"/>
                    <a:gd name="connsiteX2282" fmla="*/ 65511 w 1439351"/>
                    <a:gd name="connsiteY2282" fmla="*/ 400025 h 1323458"/>
                    <a:gd name="connsiteX2283" fmla="*/ 66143 w 1439351"/>
                    <a:gd name="connsiteY2283" fmla="*/ 400498 h 1323458"/>
                    <a:gd name="connsiteX2284" fmla="*/ 67915 w 1439351"/>
                    <a:gd name="connsiteY2284" fmla="*/ 401822 h 1323458"/>
                    <a:gd name="connsiteX2285" fmla="*/ 68899 w 1439351"/>
                    <a:gd name="connsiteY2285" fmla="*/ 402551 h 1323458"/>
                    <a:gd name="connsiteX2286" fmla="*/ 69749 w 1439351"/>
                    <a:gd name="connsiteY2286" fmla="*/ 402769 h 1323458"/>
                    <a:gd name="connsiteX2287" fmla="*/ 69652 w 1439351"/>
                    <a:gd name="connsiteY2287" fmla="*/ 403218 h 1323458"/>
                    <a:gd name="connsiteX2288" fmla="*/ 69907 w 1439351"/>
                    <a:gd name="connsiteY2288" fmla="*/ 404481 h 1323458"/>
                    <a:gd name="connsiteX2289" fmla="*/ 70138 w 1439351"/>
                    <a:gd name="connsiteY2289" fmla="*/ 405562 h 1323458"/>
                    <a:gd name="connsiteX2290" fmla="*/ 71461 w 1439351"/>
                    <a:gd name="connsiteY2290" fmla="*/ 412095 h 1323458"/>
                    <a:gd name="connsiteX2291" fmla="*/ 77836 w 1439351"/>
                    <a:gd name="connsiteY2291" fmla="*/ 410164 h 1323458"/>
                    <a:gd name="connsiteX2292" fmla="*/ 79136 w 1439351"/>
                    <a:gd name="connsiteY2292" fmla="*/ 409776 h 1323458"/>
                    <a:gd name="connsiteX2293" fmla="*/ 79172 w 1439351"/>
                    <a:gd name="connsiteY2293" fmla="*/ 410237 h 1323458"/>
                    <a:gd name="connsiteX2294" fmla="*/ 79803 w 1439351"/>
                    <a:gd name="connsiteY2294" fmla="*/ 411354 h 1323458"/>
                    <a:gd name="connsiteX2295" fmla="*/ 80362 w 1439351"/>
                    <a:gd name="connsiteY2295" fmla="*/ 412350 h 1323458"/>
                    <a:gd name="connsiteX2296" fmla="*/ 81686 w 1439351"/>
                    <a:gd name="connsiteY2296" fmla="*/ 414718 h 1323458"/>
                    <a:gd name="connsiteX2297" fmla="*/ 84333 w 1439351"/>
                    <a:gd name="connsiteY2297" fmla="*/ 415301 h 1323458"/>
                    <a:gd name="connsiteX2298" fmla="*/ 86300 w 1439351"/>
                    <a:gd name="connsiteY2298" fmla="*/ 415738 h 1323458"/>
                    <a:gd name="connsiteX2299" fmla="*/ 87065 w 1439351"/>
                    <a:gd name="connsiteY2299" fmla="*/ 415908 h 1323458"/>
                    <a:gd name="connsiteX2300" fmla="*/ 87065 w 1439351"/>
                    <a:gd name="connsiteY2300" fmla="*/ 415993 h 1323458"/>
                    <a:gd name="connsiteX2301" fmla="*/ 86907 w 1439351"/>
                    <a:gd name="connsiteY2301" fmla="*/ 419211 h 1323458"/>
                    <a:gd name="connsiteX2302" fmla="*/ 89469 w 1439351"/>
                    <a:gd name="connsiteY2302" fmla="*/ 421154 h 1323458"/>
                    <a:gd name="connsiteX2303" fmla="*/ 89967 w 1439351"/>
                    <a:gd name="connsiteY2303" fmla="*/ 421530 h 1323458"/>
                    <a:gd name="connsiteX2304" fmla="*/ 88316 w 1439351"/>
                    <a:gd name="connsiteY2304" fmla="*/ 425282 h 1323458"/>
                    <a:gd name="connsiteX2305" fmla="*/ 88049 w 1439351"/>
                    <a:gd name="connsiteY2305" fmla="*/ 425889 h 1323458"/>
                    <a:gd name="connsiteX2306" fmla="*/ 87915 w 1439351"/>
                    <a:gd name="connsiteY2306" fmla="*/ 426545 h 1323458"/>
                    <a:gd name="connsiteX2307" fmla="*/ 86883 w 1439351"/>
                    <a:gd name="connsiteY2307" fmla="*/ 431694 h 1323458"/>
                    <a:gd name="connsiteX2308" fmla="*/ 86166 w 1439351"/>
                    <a:gd name="connsiteY2308" fmla="*/ 435264 h 1323458"/>
                    <a:gd name="connsiteX2309" fmla="*/ 88983 w 1439351"/>
                    <a:gd name="connsiteY2309" fmla="*/ 437571 h 1323458"/>
                    <a:gd name="connsiteX2310" fmla="*/ 91060 w 1439351"/>
                    <a:gd name="connsiteY2310" fmla="*/ 439283 h 1323458"/>
                    <a:gd name="connsiteX2311" fmla="*/ 90975 w 1439351"/>
                    <a:gd name="connsiteY2311" fmla="*/ 441287 h 1323458"/>
                    <a:gd name="connsiteX2312" fmla="*/ 90951 w 1439351"/>
                    <a:gd name="connsiteY2312" fmla="*/ 442003 h 1323458"/>
                    <a:gd name="connsiteX2313" fmla="*/ 91084 w 1439351"/>
                    <a:gd name="connsiteY2313" fmla="*/ 442707 h 1323458"/>
                    <a:gd name="connsiteX2314" fmla="*/ 91424 w 1439351"/>
                    <a:gd name="connsiteY2314" fmla="*/ 444504 h 1323458"/>
                    <a:gd name="connsiteX2315" fmla="*/ 91946 w 1439351"/>
                    <a:gd name="connsiteY2315" fmla="*/ 447212 h 1323458"/>
                    <a:gd name="connsiteX2316" fmla="*/ 94326 w 1439351"/>
                    <a:gd name="connsiteY2316" fmla="*/ 448609 h 1323458"/>
                    <a:gd name="connsiteX2317" fmla="*/ 95480 w 1439351"/>
                    <a:gd name="connsiteY2317" fmla="*/ 449276 h 1323458"/>
                    <a:gd name="connsiteX2318" fmla="*/ 95274 w 1439351"/>
                    <a:gd name="connsiteY2318" fmla="*/ 449410 h 1323458"/>
                    <a:gd name="connsiteX2319" fmla="*/ 91436 w 1439351"/>
                    <a:gd name="connsiteY2319" fmla="*/ 451936 h 1323458"/>
                    <a:gd name="connsiteX2320" fmla="*/ 92821 w 1439351"/>
                    <a:gd name="connsiteY2320" fmla="*/ 456319 h 1323458"/>
                    <a:gd name="connsiteX2321" fmla="*/ 93610 w 1439351"/>
                    <a:gd name="connsiteY2321" fmla="*/ 458809 h 1323458"/>
                    <a:gd name="connsiteX2322" fmla="*/ 94266 w 1439351"/>
                    <a:gd name="connsiteY2322" fmla="*/ 460873 h 1323458"/>
                    <a:gd name="connsiteX2323" fmla="*/ 93015 w 1439351"/>
                    <a:gd name="connsiteY2323" fmla="*/ 462925 h 1323458"/>
                    <a:gd name="connsiteX2324" fmla="*/ 92104 w 1439351"/>
                    <a:gd name="connsiteY2324" fmla="*/ 464431 h 1323458"/>
                    <a:gd name="connsiteX2325" fmla="*/ 92129 w 1439351"/>
                    <a:gd name="connsiteY2325" fmla="*/ 465985 h 1323458"/>
                    <a:gd name="connsiteX2326" fmla="*/ 86616 w 1439351"/>
                    <a:gd name="connsiteY2326" fmla="*/ 462512 h 1323458"/>
                    <a:gd name="connsiteX2327" fmla="*/ 87369 w 1439351"/>
                    <a:gd name="connsiteY2327" fmla="*/ 474376 h 1323458"/>
                    <a:gd name="connsiteX2328" fmla="*/ 87538 w 1439351"/>
                    <a:gd name="connsiteY2328" fmla="*/ 477108 h 1323458"/>
                    <a:gd name="connsiteX2329" fmla="*/ 87563 w 1439351"/>
                    <a:gd name="connsiteY2329" fmla="*/ 477497 h 1323458"/>
                    <a:gd name="connsiteX2330" fmla="*/ 87636 w 1439351"/>
                    <a:gd name="connsiteY2330" fmla="*/ 477873 h 1323458"/>
                    <a:gd name="connsiteX2331" fmla="*/ 88437 w 1439351"/>
                    <a:gd name="connsiteY2331" fmla="*/ 482026 h 1323458"/>
                    <a:gd name="connsiteX2332" fmla="*/ 87332 w 1439351"/>
                    <a:gd name="connsiteY2332" fmla="*/ 485572 h 1323458"/>
                    <a:gd name="connsiteX2333" fmla="*/ 86227 w 1439351"/>
                    <a:gd name="connsiteY2333" fmla="*/ 489142 h 1323458"/>
                    <a:gd name="connsiteX2334" fmla="*/ 88911 w 1439351"/>
                    <a:gd name="connsiteY2334" fmla="*/ 491740 h 1323458"/>
                    <a:gd name="connsiteX2335" fmla="*/ 91084 w 1439351"/>
                    <a:gd name="connsiteY2335" fmla="*/ 493841 h 1323458"/>
                    <a:gd name="connsiteX2336" fmla="*/ 91655 w 1439351"/>
                    <a:gd name="connsiteY2336" fmla="*/ 494388 h 1323458"/>
                    <a:gd name="connsiteX2337" fmla="*/ 92347 w 1439351"/>
                    <a:gd name="connsiteY2337" fmla="*/ 494776 h 1323458"/>
                    <a:gd name="connsiteX2338" fmla="*/ 94509 w 1439351"/>
                    <a:gd name="connsiteY2338" fmla="*/ 495978 h 1323458"/>
                    <a:gd name="connsiteX2339" fmla="*/ 94569 w 1439351"/>
                    <a:gd name="connsiteY2339" fmla="*/ 496051 h 1323458"/>
                    <a:gd name="connsiteX2340" fmla="*/ 95699 w 1439351"/>
                    <a:gd name="connsiteY2340" fmla="*/ 499075 h 1323458"/>
                    <a:gd name="connsiteX2341" fmla="*/ 95844 w 1439351"/>
                    <a:gd name="connsiteY2341" fmla="*/ 499451 h 1323458"/>
                    <a:gd name="connsiteX2342" fmla="*/ 96026 w 1439351"/>
                    <a:gd name="connsiteY2342" fmla="*/ 499803 h 1323458"/>
                    <a:gd name="connsiteX2343" fmla="*/ 97751 w 1439351"/>
                    <a:gd name="connsiteY2343" fmla="*/ 503046 h 1323458"/>
                    <a:gd name="connsiteX2344" fmla="*/ 96743 w 1439351"/>
                    <a:gd name="connsiteY2344" fmla="*/ 503531 h 1323458"/>
                    <a:gd name="connsiteX2345" fmla="*/ 95844 w 1439351"/>
                    <a:gd name="connsiteY2345" fmla="*/ 504697 h 1323458"/>
                    <a:gd name="connsiteX2346" fmla="*/ 93137 w 1439351"/>
                    <a:gd name="connsiteY2346" fmla="*/ 508218 h 1323458"/>
                    <a:gd name="connsiteX2347" fmla="*/ 92214 w 1439351"/>
                    <a:gd name="connsiteY2347" fmla="*/ 509420 h 1323458"/>
                    <a:gd name="connsiteX2348" fmla="*/ 91691 w 1439351"/>
                    <a:gd name="connsiteY2348" fmla="*/ 510113 h 1323458"/>
                    <a:gd name="connsiteX2349" fmla="*/ 91376 w 1439351"/>
                    <a:gd name="connsiteY2349" fmla="*/ 510914 h 1323458"/>
                    <a:gd name="connsiteX2350" fmla="*/ 90404 w 1439351"/>
                    <a:gd name="connsiteY2350" fmla="*/ 513391 h 1323458"/>
                    <a:gd name="connsiteX2351" fmla="*/ 88643 w 1439351"/>
                    <a:gd name="connsiteY2351" fmla="*/ 512881 h 1323458"/>
                    <a:gd name="connsiteX2352" fmla="*/ 87393 w 1439351"/>
                    <a:gd name="connsiteY2352" fmla="*/ 512541 h 1323458"/>
                    <a:gd name="connsiteX2353" fmla="*/ 86118 w 1439351"/>
                    <a:gd name="connsiteY2353" fmla="*/ 512735 h 1323458"/>
                    <a:gd name="connsiteX2354" fmla="*/ 84054 w 1439351"/>
                    <a:gd name="connsiteY2354" fmla="*/ 513051 h 1323458"/>
                    <a:gd name="connsiteX2355" fmla="*/ 82001 w 1439351"/>
                    <a:gd name="connsiteY2355" fmla="*/ 513355 h 1323458"/>
                    <a:gd name="connsiteX2356" fmla="*/ 80569 w 1439351"/>
                    <a:gd name="connsiteY2356" fmla="*/ 514873 h 1323458"/>
                    <a:gd name="connsiteX2357" fmla="*/ 76270 w 1439351"/>
                    <a:gd name="connsiteY2357" fmla="*/ 519402 h 1323458"/>
                    <a:gd name="connsiteX2358" fmla="*/ 70332 w 1439351"/>
                    <a:gd name="connsiteY2358" fmla="*/ 520592 h 1323458"/>
                    <a:gd name="connsiteX2359" fmla="*/ 68935 w 1439351"/>
                    <a:gd name="connsiteY2359" fmla="*/ 520871 h 1323458"/>
                    <a:gd name="connsiteX2360" fmla="*/ 67818 w 1439351"/>
                    <a:gd name="connsiteY2360" fmla="*/ 521746 h 1323458"/>
                    <a:gd name="connsiteX2361" fmla="*/ 66130 w 1439351"/>
                    <a:gd name="connsiteY2361" fmla="*/ 523045 h 1323458"/>
                    <a:gd name="connsiteX2362" fmla="*/ 65572 w 1439351"/>
                    <a:gd name="connsiteY2362" fmla="*/ 523336 h 1323458"/>
                    <a:gd name="connsiteX2363" fmla="*/ 65475 w 1439351"/>
                    <a:gd name="connsiteY2363" fmla="*/ 523361 h 1323458"/>
                    <a:gd name="connsiteX2364" fmla="*/ 65147 w 1439351"/>
                    <a:gd name="connsiteY2364" fmla="*/ 523373 h 1323458"/>
                    <a:gd name="connsiteX2365" fmla="*/ 63884 w 1439351"/>
                    <a:gd name="connsiteY2365" fmla="*/ 523446 h 1323458"/>
                    <a:gd name="connsiteX2366" fmla="*/ 62755 w 1439351"/>
                    <a:gd name="connsiteY2366" fmla="*/ 524016 h 1323458"/>
                    <a:gd name="connsiteX2367" fmla="*/ 61383 w 1439351"/>
                    <a:gd name="connsiteY2367" fmla="*/ 524708 h 1323458"/>
                    <a:gd name="connsiteX2368" fmla="*/ 61103 w 1439351"/>
                    <a:gd name="connsiteY2368" fmla="*/ 524842 h 1323458"/>
                    <a:gd name="connsiteX2369" fmla="*/ 60848 w 1439351"/>
                    <a:gd name="connsiteY2369" fmla="*/ 525012 h 1323458"/>
                    <a:gd name="connsiteX2370" fmla="*/ 59598 w 1439351"/>
                    <a:gd name="connsiteY2370" fmla="*/ 525814 h 1323458"/>
                    <a:gd name="connsiteX2371" fmla="*/ 59124 w 1439351"/>
                    <a:gd name="connsiteY2371" fmla="*/ 526117 h 1323458"/>
                    <a:gd name="connsiteX2372" fmla="*/ 58711 w 1439351"/>
                    <a:gd name="connsiteY2372" fmla="*/ 526506 h 1323458"/>
                    <a:gd name="connsiteX2373" fmla="*/ 53818 w 1439351"/>
                    <a:gd name="connsiteY2373" fmla="*/ 531096 h 1323458"/>
                    <a:gd name="connsiteX2374" fmla="*/ 51098 w 1439351"/>
                    <a:gd name="connsiteY2374" fmla="*/ 533646 h 1323458"/>
                    <a:gd name="connsiteX2375" fmla="*/ 52154 w 1439351"/>
                    <a:gd name="connsiteY2375" fmla="*/ 537228 h 1323458"/>
                    <a:gd name="connsiteX2376" fmla="*/ 54388 w 1439351"/>
                    <a:gd name="connsiteY2376" fmla="*/ 544817 h 1323458"/>
                    <a:gd name="connsiteX2377" fmla="*/ 54655 w 1439351"/>
                    <a:gd name="connsiteY2377" fmla="*/ 548776 h 1323458"/>
                    <a:gd name="connsiteX2378" fmla="*/ 54437 w 1439351"/>
                    <a:gd name="connsiteY2378" fmla="*/ 552929 h 1323458"/>
                    <a:gd name="connsiteX2379" fmla="*/ 54376 w 1439351"/>
                    <a:gd name="connsiteY2379" fmla="*/ 554264 h 1323458"/>
                    <a:gd name="connsiteX2380" fmla="*/ 54886 w 1439351"/>
                    <a:gd name="connsiteY2380" fmla="*/ 555515 h 1323458"/>
                    <a:gd name="connsiteX2381" fmla="*/ 55396 w 1439351"/>
                    <a:gd name="connsiteY2381" fmla="*/ 556778 h 1323458"/>
                    <a:gd name="connsiteX2382" fmla="*/ 55724 w 1439351"/>
                    <a:gd name="connsiteY2382" fmla="*/ 557604 h 1323458"/>
                    <a:gd name="connsiteX2383" fmla="*/ 56283 w 1439351"/>
                    <a:gd name="connsiteY2383" fmla="*/ 558296 h 1323458"/>
                    <a:gd name="connsiteX2384" fmla="*/ 56926 w 1439351"/>
                    <a:gd name="connsiteY2384" fmla="*/ 559097 h 1323458"/>
                    <a:gd name="connsiteX2385" fmla="*/ 58031 w 1439351"/>
                    <a:gd name="connsiteY2385" fmla="*/ 560482 h 1323458"/>
                    <a:gd name="connsiteX2386" fmla="*/ 59719 w 1439351"/>
                    <a:gd name="connsiteY2386" fmla="*/ 561052 h 1323458"/>
                    <a:gd name="connsiteX2387" fmla="*/ 60508 w 1439351"/>
                    <a:gd name="connsiteY2387" fmla="*/ 561319 h 1323458"/>
                    <a:gd name="connsiteX2388" fmla="*/ 60618 w 1439351"/>
                    <a:gd name="connsiteY2388" fmla="*/ 561356 h 1323458"/>
                    <a:gd name="connsiteX2389" fmla="*/ 61128 w 1439351"/>
                    <a:gd name="connsiteY2389" fmla="*/ 562145 h 1323458"/>
                    <a:gd name="connsiteX2390" fmla="*/ 61759 w 1439351"/>
                    <a:gd name="connsiteY2390" fmla="*/ 564622 h 1323458"/>
                    <a:gd name="connsiteX2391" fmla="*/ 61941 w 1439351"/>
                    <a:gd name="connsiteY2391" fmla="*/ 566310 h 1323458"/>
                    <a:gd name="connsiteX2392" fmla="*/ 61577 w 1439351"/>
                    <a:gd name="connsiteY2392" fmla="*/ 566699 h 1323458"/>
                    <a:gd name="connsiteX2393" fmla="*/ 61201 w 1439351"/>
                    <a:gd name="connsiteY2393" fmla="*/ 567087 h 1323458"/>
                    <a:gd name="connsiteX2394" fmla="*/ 60897 w 1439351"/>
                    <a:gd name="connsiteY2394" fmla="*/ 567549 h 1323458"/>
                    <a:gd name="connsiteX2395" fmla="*/ 60217 w 1439351"/>
                    <a:gd name="connsiteY2395" fmla="*/ 568581 h 1323458"/>
                    <a:gd name="connsiteX2396" fmla="*/ 59658 w 1439351"/>
                    <a:gd name="connsiteY2396" fmla="*/ 569431 h 1323458"/>
                    <a:gd name="connsiteX2397" fmla="*/ 59403 w 1439351"/>
                    <a:gd name="connsiteY2397" fmla="*/ 570414 h 1323458"/>
                    <a:gd name="connsiteX2398" fmla="*/ 59003 w 1439351"/>
                    <a:gd name="connsiteY2398" fmla="*/ 571969 h 1323458"/>
                    <a:gd name="connsiteX2399" fmla="*/ 58675 w 1439351"/>
                    <a:gd name="connsiteY2399" fmla="*/ 573219 h 1323458"/>
                    <a:gd name="connsiteX2400" fmla="*/ 58893 w 1439351"/>
                    <a:gd name="connsiteY2400" fmla="*/ 574482 h 1323458"/>
                    <a:gd name="connsiteX2401" fmla="*/ 59063 w 1439351"/>
                    <a:gd name="connsiteY2401" fmla="*/ 575515 h 1323458"/>
                    <a:gd name="connsiteX2402" fmla="*/ 59343 w 1439351"/>
                    <a:gd name="connsiteY2402" fmla="*/ 577178 h 1323458"/>
                    <a:gd name="connsiteX2403" fmla="*/ 60435 w 1439351"/>
                    <a:gd name="connsiteY2403" fmla="*/ 578453 h 1323458"/>
                    <a:gd name="connsiteX2404" fmla="*/ 61128 w 1439351"/>
                    <a:gd name="connsiteY2404" fmla="*/ 579267 h 1323458"/>
                    <a:gd name="connsiteX2405" fmla="*/ 61638 w 1439351"/>
                    <a:gd name="connsiteY2405" fmla="*/ 579862 h 1323458"/>
                    <a:gd name="connsiteX2406" fmla="*/ 62281 w 1439351"/>
                    <a:gd name="connsiteY2406" fmla="*/ 580311 h 1323458"/>
                    <a:gd name="connsiteX2407" fmla="*/ 63022 w 1439351"/>
                    <a:gd name="connsiteY2407" fmla="*/ 580821 h 1323458"/>
                    <a:gd name="connsiteX2408" fmla="*/ 62913 w 1439351"/>
                    <a:gd name="connsiteY2408" fmla="*/ 581222 h 1323458"/>
                    <a:gd name="connsiteX2409" fmla="*/ 62791 w 1439351"/>
                    <a:gd name="connsiteY2409" fmla="*/ 581695 h 1323458"/>
                    <a:gd name="connsiteX2410" fmla="*/ 62755 w 1439351"/>
                    <a:gd name="connsiteY2410" fmla="*/ 582181 h 1323458"/>
                    <a:gd name="connsiteX2411" fmla="*/ 62451 w 1439351"/>
                    <a:gd name="connsiteY2411" fmla="*/ 585362 h 1323458"/>
                    <a:gd name="connsiteX2412" fmla="*/ 62330 w 1439351"/>
                    <a:gd name="connsiteY2412" fmla="*/ 586577 h 1323458"/>
                    <a:gd name="connsiteX2413" fmla="*/ 62694 w 1439351"/>
                    <a:gd name="connsiteY2413" fmla="*/ 587742 h 1323458"/>
                    <a:gd name="connsiteX2414" fmla="*/ 63326 w 1439351"/>
                    <a:gd name="connsiteY2414" fmla="*/ 589758 h 1323458"/>
                    <a:gd name="connsiteX2415" fmla="*/ 63544 w 1439351"/>
                    <a:gd name="connsiteY2415" fmla="*/ 590450 h 1323458"/>
                    <a:gd name="connsiteX2416" fmla="*/ 63908 w 1439351"/>
                    <a:gd name="connsiteY2416" fmla="*/ 591070 h 1323458"/>
                    <a:gd name="connsiteX2417" fmla="*/ 64953 w 1439351"/>
                    <a:gd name="connsiteY2417" fmla="*/ 592818 h 1323458"/>
                    <a:gd name="connsiteX2418" fmla="*/ 65220 w 1439351"/>
                    <a:gd name="connsiteY2418" fmla="*/ 593280 h 1323458"/>
                    <a:gd name="connsiteX2419" fmla="*/ 65572 w 1439351"/>
                    <a:gd name="connsiteY2419" fmla="*/ 593693 h 1323458"/>
                    <a:gd name="connsiteX2420" fmla="*/ 73149 w 1439351"/>
                    <a:gd name="connsiteY2420" fmla="*/ 602399 h 1323458"/>
                    <a:gd name="connsiteX2421" fmla="*/ 75760 w 1439351"/>
                    <a:gd name="connsiteY2421" fmla="*/ 606734 h 1323458"/>
                    <a:gd name="connsiteX2422" fmla="*/ 75978 w 1439351"/>
                    <a:gd name="connsiteY2422" fmla="*/ 607110 h 1323458"/>
                    <a:gd name="connsiteX2423" fmla="*/ 76246 w 1439351"/>
                    <a:gd name="connsiteY2423" fmla="*/ 607438 h 1323458"/>
                    <a:gd name="connsiteX2424" fmla="*/ 77727 w 1439351"/>
                    <a:gd name="connsiteY2424" fmla="*/ 609248 h 1323458"/>
                    <a:gd name="connsiteX2425" fmla="*/ 79682 w 1439351"/>
                    <a:gd name="connsiteY2425" fmla="*/ 616448 h 1323458"/>
                    <a:gd name="connsiteX2426" fmla="*/ 79852 w 1439351"/>
                    <a:gd name="connsiteY2426" fmla="*/ 617092 h 1323458"/>
                    <a:gd name="connsiteX2427" fmla="*/ 80156 w 1439351"/>
                    <a:gd name="connsiteY2427" fmla="*/ 617675 h 1323458"/>
                    <a:gd name="connsiteX2428" fmla="*/ 81358 w 1439351"/>
                    <a:gd name="connsiteY2428" fmla="*/ 619970 h 1323458"/>
                    <a:gd name="connsiteX2429" fmla="*/ 81625 w 1439351"/>
                    <a:gd name="connsiteY2429" fmla="*/ 620480 h 1323458"/>
                    <a:gd name="connsiteX2430" fmla="*/ 81989 w 1439351"/>
                    <a:gd name="connsiteY2430" fmla="*/ 620941 h 1323458"/>
                    <a:gd name="connsiteX2431" fmla="*/ 83604 w 1439351"/>
                    <a:gd name="connsiteY2431" fmla="*/ 622957 h 1323458"/>
                    <a:gd name="connsiteX2432" fmla="*/ 84017 w 1439351"/>
                    <a:gd name="connsiteY2432" fmla="*/ 623467 h 1323458"/>
                    <a:gd name="connsiteX2433" fmla="*/ 84539 w 1439351"/>
                    <a:gd name="connsiteY2433" fmla="*/ 623880 h 1323458"/>
                    <a:gd name="connsiteX2434" fmla="*/ 86033 w 1439351"/>
                    <a:gd name="connsiteY2434" fmla="*/ 625082 h 1323458"/>
                    <a:gd name="connsiteX2435" fmla="*/ 86361 w 1439351"/>
                    <a:gd name="connsiteY2435" fmla="*/ 625349 h 1323458"/>
                    <a:gd name="connsiteX2436" fmla="*/ 86725 w 1439351"/>
                    <a:gd name="connsiteY2436" fmla="*/ 625568 h 1323458"/>
                    <a:gd name="connsiteX2437" fmla="*/ 88449 w 1439351"/>
                    <a:gd name="connsiteY2437" fmla="*/ 626600 h 1323458"/>
                    <a:gd name="connsiteX2438" fmla="*/ 88983 w 1439351"/>
                    <a:gd name="connsiteY2438" fmla="*/ 626916 h 1323458"/>
                    <a:gd name="connsiteX2439" fmla="*/ 89566 w 1439351"/>
                    <a:gd name="connsiteY2439" fmla="*/ 627122 h 1323458"/>
                    <a:gd name="connsiteX2440" fmla="*/ 90999 w 1439351"/>
                    <a:gd name="connsiteY2440" fmla="*/ 627620 h 1323458"/>
                    <a:gd name="connsiteX2441" fmla="*/ 91534 w 1439351"/>
                    <a:gd name="connsiteY2441" fmla="*/ 627814 h 1323458"/>
                    <a:gd name="connsiteX2442" fmla="*/ 92092 w 1439351"/>
                    <a:gd name="connsiteY2442" fmla="*/ 627899 h 1323458"/>
                    <a:gd name="connsiteX2443" fmla="*/ 95359 w 1439351"/>
                    <a:gd name="connsiteY2443" fmla="*/ 628385 h 1323458"/>
                    <a:gd name="connsiteX2444" fmla="*/ 96051 w 1439351"/>
                    <a:gd name="connsiteY2444" fmla="*/ 628555 h 1323458"/>
                    <a:gd name="connsiteX2445" fmla="*/ 96354 w 1439351"/>
                    <a:gd name="connsiteY2445" fmla="*/ 628701 h 1323458"/>
                    <a:gd name="connsiteX2446" fmla="*/ 106154 w 1439351"/>
                    <a:gd name="connsiteY2446" fmla="*/ 635743 h 1323458"/>
                    <a:gd name="connsiteX2447" fmla="*/ 106554 w 1439351"/>
                    <a:gd name="connsiteY2447" fmla="*/ 636023 h 1323458"/>
                    <a:gd name="connsiteX2448" fmla="*/ 106991 w 1439351"/>
                    <a:gd name="connsiteY2448" fmla="*/ 636241 h 1323458"/>
                    <a:gd name="connsiteX2449" fmla="*/ 108084 w 1439351"/>
                    <a:gd name="connsiteY2449" fmla="*/ 636788 h 1323458"/>
                    <a:gd name="connsiteX2450" fmla="*/ 108376 w 1439351"/>
                    <a:gd name="connsiteY2450" fmla="*/ 636934 h 1323458"/>
                    <a:gd name="connsiteX2451" fmla="*/ 108679 w 1439351"/>
                    <a:gd name="connsiteY2451" fmla="*/ 637043 h 1323458"/>
                    <a:gd name="connsiteX2452" fmla="*/ 110234 w 1439351"/>
                    <a:gd name="connsiteY2452" fmla="*/ 637614 h 1323458"/>
                    <a:gd name="connsiteX2453" fmla="*/ 111120 w 1439351"/>
                    <a:gd name="connsiteY2453" fmla="*/ 637941 h 1323458"/>
                    <a:gd name="connsiteX2454" fmla="*/ 112067 w 1439351"/>
                    <a:gd name="connsiteY2454" fmla="*/ 637990 h 1323458"/>
                    <a:gd name="connsiteX2455" fmla="*/ 112893 w 1439351"/>
                    <a:gd name="connsiteY2455" fmla="*/ 638026 h 1323458"/>
                    <a:gd name="connsiteX2456" fmla="*/ 112881 w 1439351"/>
                    <a:gd name="connsiteY2456" fmla="*/ 638136 h 1323458"/>
                    <a:gd name="connsiteX2457" fmla="*/ 112735 w 1439351"/>
                    <a:gd name="connsiteY2457" fmla="*/ 639241 h 1323458"/>
                    <a:gd name="connsiteX2458" fmla="*/ 112990 w 1439351"/>
                    <a:gd name="connsiteY2458" fmla="*/ 640321 h 1323458"/>
                    <a:gd name="connsiteX2459" fmla="*/ 113901 w 1439351"/>
                    <a:gd name="connsiteY2459" fmla="*/ 644171 h 1323458"/>
                    <a:gd name="connsiteX2460" fmla="*/ 114047 w 1439351"/>
                    <a:gd name="connsiteY2460" fmla="*/ 644778 h 1323458"/>
                    <a:gd name="connsiteX2461" fmla="*/ 114302 w 1439351"/>
                    <a:gd name="connsiteY2461" fmla="*/ 645337 h 1323458"/>
                    <a:gd name="connsiteX2462" fmla="*/ 115334 w 1439351"/>
                    <a:gd name="connsiteY2462" fmla="*/ 647546 h 1323458"/>
                    <a:gd name="connsiteX2463" fmla="*/ 115589 w 1439351"/>
                    <a:gd name="connsiteY2463" fmla="*/ 648069 h 1323458"/>
                    <a:gd name="connsiteX2464" fmla="*/ 115929 w 1439351"/>
                    <a:gd name="connsiteY2464" fmla="*/ 648542 h 1323458"/>
                    <a:gd name="connsiteX2465" fmla="*/ 117119 w 1439351"/>
                    <a:gd name="connsiteY2465" fmla="*/ 650169 h 1323458"/>
                    <a:gd name="connsiteX2466" fmla="*/ 117629 w 1439351"/>
                    <a:gd name="connsiteY2466" fmla="*/ 651517 h 1323458"/>
                    <a:gd name="connsiteX2467" fmla="*/ 118673 w 1439351"/>
                    <a:gd name="connsiteY2467" fmla="*/ 655294 h 1323458"/>
                    <a:gd name="connsiteX2468" fmla="*/ 119110 w 1439351"/>
                    <a:gd name="connsiteY2468" fmla="*/ 656848 h 1323458"/>
                    <a:gd name="connsiteX2469" fmla="*/ 120264 w 1439351"/>
                    <a:gd name="connsiteY2469" fmla="*/ 657977 h 1323458"/>
                    <a:gd name="connsiteX2470" fmla="*/ 121089 w 1439351"/>
                    <a:gd name="connsiteY2470" fmla="*/ 658779 h 1323458"/>
                    <a:gd name="connsiteX2471" fmla="*/ 121077 w 1439351"/>
                    <a:gd name="connsiteY2471" fmla="*/ 658791 h 1323458"/>
                    <a:gd name="connsiteX2472" fmla="*/ 118539 w 1439351"/>
                    <a:gd name="connsiteY2472" fmla="*/ 660187 h 1323458"/>
                    <a:gd name="connsiteX2473" fmla="*/ 116354 w 1439351"/>
                    <a:gd name="connsiteY2473" fmla="*/ 661049 h 1323458"/>
                    <a:gd name="connsiteX2474" fmla="*/ 113925 w 1439351"/>
                    <a:gd name="connsiteY2474" fmla="*/ 662021 h 1323458"/>
                    <a:gd name="connsiteX2475" fmla="*/ 112954 w 1439351"/>
                    <a:gd name="connsiteY2475" fmla="*/ 664449 h 1323458"/>
                    <a:gd name="connsiteX2476" fmla="*/ 112274 w 1439351"/>
                    <a:gd name="connsiteY2476" fmla="*/ 666162 h 1323458"/>
                    <a:gd name="connsiteX2477" fmla="*/ 112019 w 1439351"/>
                    <a:gd name="connsiteY2477" fmla="*/ 666781 h 1323458"/>
                    <a:gd name="connsiteX2478" fmla="*/ 111909 w 1439351"/>
                    <a:gd name="connsiteY2478" fmla="*/ 667437 h 1323458"/>
                    <a:gd name="connsiteX2479" fmla="*/ 111812 w 1439351"/>
                    <a:gd name="connsiteY2479" fmla="*/ 668092 h 1323458"/>
                    <a:gd name="connsiteX2480" fmla="*/ 111096 w 1439351"/>
                    <a:gd name="connsiteY2480" fmla="*/ 668408 h 1323458"/>
                    <a:gd name="connsiteX2481" fmla="*/ 100106 w 1439351"/>
                    <a:gd name="connsiteY2481" fmla="*/ 671201 h 1323458"/>
                    <a:gd name="connsiteX2482" fmla="*/ 99293 w 1439351"/>
                    <a:gd name="connsiteY2482" fmla="*/ 671407 h 1323458"/>
                    <a:gd name="connsiteX2483" fmla="*/ 98564 w 1439351"/>
                    <a:gd name="connsiteY2483" fmla="*/ 671820 h 1323458"/>
                    <a:gd name="connsiteX2484" fmla="*/ 96998 w 1439351"/>
                    <a:gd name="connsiteY2484" fmla="*/ 672719 h 1323458"/>
                    <a:gd name="connsiteX2485" fmla="*/ 95917 w 1439351"/>
                    <a:gd name="connsiteY2485" fmla="*/ 673350 h 1323458"/>
                    <a:gd name="connsiteX2486" fmla="*/ 95164 w 1439351"/>
                    <a:gd name="connsiteY2486" fmla="*/ 674358 h 1323458"/>
                    <a:gd name="connsiteX2487" fmla="*/ 94363 w 1439351"/>
                    <a:gd name="connsiteY2487" fmla="*/ 675439 h 1323458"/>
                    <a:gd name="connsiteX2488" fmla="*/ 93646 w 1439351"/>
                    <a:gd name="connsiteY2488" fmla="*/ 676398 h 1323458"/>
                    <a:gd name="connsiteX2489" fmla="*/ 93355 w 1439351"/>
                    <a:gd name="connsiteY2489" fmla="*/ 677552 h 1323458"/>
                    <a:gd name="connsiteX2490" fmla="*/ 93124 w 1439351"/>
                    <a:gd name="connsiteY2490" fmla="*/ 678450 h 1323458"/>
                    <a:gd name="connsiteX2491" fmla="*/ 92894 w 1439351"/>
                    <a:gd name="connsiteY2491" fmla="*/ 679361 h 1323458"/>
                    <a:gd name="connsiteX2492" fmla="*/ 92942 w 1439351"/>
                    <a:gd name="connsiteY2492" fmla="*/ 680296 h 1323458"/>
                    <a:gd name="connsiteX2493" fmla="*/ 93003 w 1439351"/>
                    <a:gd name="connsiteY2493" fmla="*/ 681474 h 1323458"/>
                    <a:gd name="connsiteX2494" fmla="*/ 93027 w 1439351"/>
                    <a:gd name="connsiteY2494" fmla="*/ 681996 h 1323458"/>
                    <a:gd name="connsiteX2495" fmla="*/ 93149 w 1439351"/>
                    <a:gd name="connsiteY2495" fmla="*/ 682506 h 1323458"/>
                    <a:gd name="connsiteX2496" fmla="*/ 93319 w 1439351"/>
                    <a:gd name="connsiteY2496" fmla="*/ 683222 h 1323458"/>
                    <a:gd name="connsiteX2497" fmla="*/ 93489 w 1439351"/>
                    <a:gd name="connsiteY2497" fmla="*/ 683939 h 1323458"/>
                    <a:gd name="connsiteX2498" fmla="*/ 93817 w 1439351"/>
                    <a:gd name="connsiteY2498" fmla="*/ 684594 h 1323458"/>
                    <a:gd name="connsiteX2499" fmla="*/ 94339 w 1439351"/>
                    <a:gd name="connsiteY2499" fmla="*/ 685627 h 1323458"/>
                    <a:gd name="connsiteX2500" fmla="*/ 94557 w 1439351"/>
                    <a:gd name="connsiteY2500" fmla="*/ 686052 h 1323458"/>
                    <a:gd name="connsiteX2501" fmla="*/ 94824 w 1439351"/>
                    <a:gd name="connsiteY2501" fmla="*/ 686440 h 1323458"/>
                    <a:gd name="connsiteX2502" fmla="*/ 95517 w 1439351"/>
                    <a:gd name="connsiteY2502" fmla="*/ 687387 h 1323458"/>
                    <a:gd name="connsiteX2503" fmla="*/ 96026 w 1439351"/>
                    <a:gd name="connsiteY2503" fmla="*/ 688092 h 1323458"/>
                    <a:gd name="connsiteX2504" fmla="*/ 96719 w 1439351"/>
                    <a:gd name="connsiteY2504" fmla="*/ 688626 h 1323458"/>
                    <a:gd name="connsiteX2505" fmla="*/ 97569 w 1439351"/>
                    <a:gd name="connsiteY2505" fmla="*/ 689294 h 1323458"/>
                    <a:gd name="connsiteX2506" fmla="*/ 98540 w 1439351"/>
                    <a:gd name="connsiteY2506" fmla="*/ 690047 h 1323458"/>
                    <a:gd name="connsiteX2507" fmla="*/ 99718 w 1439351"/>
                    <a:gd name="connsiteY2507" fmla="*/ 690362 h 1323458"/>
                    <a:gd name="connsiteX2508" fmla="*/ 100871 w 1439351"/>
                    <a:gd name="connsiteY2508" fmla="*/ 690678 h 1323458"/>
                    <a:gd name="connsiteX2509" fmla="*/ 100969 w 1439351"/>
                    <a:gd name="connsiteY2509" fmla="*/ 690702 h 1323458"/>
                    <a:gd name="connsiteX2510" fmla="*/ 101029 w 1439351"/>
                    <a:gd name="connsiteY2510" fmla="*/ 690860 h 1323458"/>
                    <a:gd name="connsiteX2511" fmla="*/ 101612 w 1439351"/>
                    <a:gd name="connsiteY2511" fmla="*/ 692293 h 1323458"/>
                    <a:gd name="connsiteX2512" fmla="*/ 102244 w 1439351"/>
                    <a:gd name="connsiteY2512" fmla="*/ 693823 h 1323458"/>
                    <a:gd name="connsiteX2513" fmla="*/ 103555 w 1439351"/>
                    <a:gd name="connsiteY2513" fmla="*/ 694831 h 1323458"/>
                    <a:gd name="connsiteX2514" fmla="*/ 104927 w 1439351"/>
                    <a:gd name="connsiteY2514" fmla="*/ 695875 h 1323458"/>
                    <a:gd name="connsiteX2515" fmla="*/ 105595 w 1439351"/>
                    <a:gd name="connsiteY2515" fmla="*/ 696385 h 1323458"/>
                    <a:gd name="connsiteX2516" fmla="*/ 106372 w 1439351"/>
                    <a:gd name="connsiteY2516" fmla="*/ 696689 h 1323458"/>
                    <a:gd name="connsiteX2517" fmla="*/ 108036 w 1439351"/>
                    <a:gd name="connsiteY2517" fmla="*/ 697345 h 1323458"/>
                    <a:gd name="connsiteX2518" fmla="*/ 108594 w 1439351"/>
                    <a:gd name="connsiteY2518" fmla="*/ 697575 h 1323458"/>
                    <a:gd name="connsiteX2519" fmla="*/ 109202 w 1439351"/>
                    <a:gd name="connsiteY2519" fmla="*/ 697685 h 1323458"/>
                    <a:gd name="connsiteX2520" fmla="*/ 115698 w 1439351"/>
                    <a:gd name="connsiteY2520" fmla="*/ 698838 h 1323458"/>
                    <a:gd name="connsiteX2521" fmla="*/ 116074 w 1439351"/>
                    <a:gd name="connsiteY2521" fmla="*/ 698911 h 1323458"/>
                    <a:gd name="connsiteX2522" fmla="*/ 116463 w 1439351"/>
                    <a:gd name="connsiteY2522" fmla="*/ 698923 h 1323458"/>
                    <a:gd name="connsiteX2523" fmla="*/ 120434 w 1439351"/>
                    <a:gd name="connsiteY2523" fmla="*/ 699117 h 1323458"/>
                    <a:gd name="connsiteX2524" fmla="*/ 89251 w 1439351"/>
                    <a:gd name="connsiteY2524" fmla="*/ 712924 h 1323458"/>
                    <a:gd name="connsiteX2525" fmla="*/ 88971 w 1439351"/>
                    <a:gd name="connsiteY2525" fmla="*/ 713045 h 1323458"/>
                    <a:gd name="connsiteX2526" fmla="*/ 88716 w 1439351"/>
                    <a:gd name="connsiteY2526" fmla="*/ 713203 h 1323458"/>
                    <a:gd name="connsiteX2527" fmla="*/ 81710 w 1439351"/>
                    <a:gd name="connsiteY2527" fmla="*/ 717186 h 1323458"/>
                    <a:gd name="connsiteX2528" fmla="*/ 81200 w 1439351"/>
                    <a:gd name="connsiteY2528" fmla="*/ 717478 h 1323458"/>
                    <a:gd name="connsiteX2529" fmla="*/ 80751 w 1439351"/>
                    <a:gd name="connsiteY2529" fmla="*/ 717854 h 1323458"/>
                    <a:gd name="connsiteX2530" fmla="*/ 78006 w 1439351"/>
                    <a:gd name="connsiteY2530" fmla="*/ 720210 h 1323458"/>
                    <a:gd name="connsiteX2531" fmla="*/ 77423 w 1439351"/>
                    <a:gd name="connsiteY2531" fmla="*/ 720708 h 1323458"/>
                    <a:gd name="connsiteX2532" fmla="*/ 76974 w 1439351"/>
                    <a:gd name="connsiteY2532" fmla="*/ 721339 h 1323458"/>
                    <a:gd name="connsiteX2533" fmla="*/ 75772 w 1439351"/>
                    <a:gd name="connsiteY2533" fmla="*/ 723063 h 1323458"/>
                    <a:gd name="connsiteX2534" fmla="*/ 75213 w 1439351"/>
                    <a:gd name="connsiteY2534" fmla="*/ 723865 h 1323458"/>
                    <a:gd name="connsiteX2535" fmla="*/ 74934 w 1439351"/>
                    <a:gd name="connsiteY2535" fmla="*/ 724800 h 1323458"/>
                    <a:gd name="connsiteX2536" fmla="*/ 74412 w 1439351"/>
                    <a:gd name="connsiteY2536" fmla="*/ 726548 h 1323458"/>
                    <a:gd name="connsiteX2537" fmla="*/ 74193 w 1439351"/>
                    <a:gd name="connsiteY2537" fmla="*/ 727277 h 1323458"/>
                    <a:gd name="connsiteX2538" fmla="*/ 74169 w 1439351"/>
                    <a:gd name="connsiteY2538" fmla="*/ 728042 h 1323458"/>
                    <a:gd name="connsiteX2539" fmla="*/ 74109 w 1439351"/>
                    <a:gd name="connsiteY2539" fmla="*/ 729511 h 1323458"/>
                    <a:gd name="connsiteX2540" fmla="*/ 74096 w 1439351"/>
                    <a:gd name="connsiteY2540" fmla="*/ 729851 h 1323458"/>
                    <a:gd name="connsiteX2541" fmla="*/ 74121 w 1439351"/>
                    <a:gd name="connsiteY2541" fmla="*/ 730191 h 1323458"/>
                    <a:gd name="connsiteX2542" fmla="*/ 74327 w 1439351"/>
                    <a:gd name="connsiteY2542" fmla="*/ 732996 h 1323458"/>
                    <a:gd name="connsiteX2543" fmla="*/ 74133 w 1439351"/>
                    <a:gd name="connsiteY2543" fmla="*/ 736651 h 1323458"/>
                    <a:gd name="connsiteX2544" fmla="*/ 73392 w 1439351"/>
                    <a:gd name="connsiteY2544" fmla="*/ 740695 h 1323458"/>
                    <a:gd name="connsiteX2545" fmla="*/ 73222 w 1439351"/>
                    <a:gd name="connsiteY2545" fmla="*/ 741630 h 1323458"/>
                    <a:gd name="connsiteX2546" fmla="*/ 73343 w 1439351"/>
                    <a:gd name="connsiteY2546" fmla="*/ 742577 h 1323458"/>
                    <a:gd name="connsiteX2547" fmla="*/ 73513 w 1439351"/>
                    <a:gd name="connsiteY2547" fmla="*/ 743816 h 1323458"/>
                    <a:gd name="connsiteX2548" fmla="*/ 73683 w 1439351"/>
                    <a:gd name="connsiteY2548" fmla="*/ 745054 h 1323458"/>
                    <a:gd name="connsiteX2549" fmla="*/ 74327 w 1439351"/>
                    <a:gd name="connsiteY2549" fmla="*/ 746123 h 1323458"/>
                    <a:gd name="connsiteX2550" fmla="*/ 74740 w 1439351"/>
                    <a:gd name="connsiteY2550" fmla="*/ 746815 h 1323458"/>
                    <a:gd name="connsiteX2551" fmla="*/ 75699 w 1439351"/>
                    <a:gd name="connsiteY2551" fmla="*/ 748406 h 1323458"/>
                    <a:gd name="connsiteX2552" fmla="*/ 77375 w 1439351"/>
                    <a:gd name="connsiteY2552" fmla="*/ 749195 h 1323458"/>
                    <a:gd name="connsiteX2553" fmla="*/ 79026 w 1439351"/>
                    <a:gd name="connsiteY2553" fmla="*/ 749972 h 1323458"/>
                    <a:gd name="connsiteX2554" fmla="*/ 81018 w 1439351"/>
                    <a:gd name="connsiteY2554" fmla="*/ 750907 h 1323458"/>
                    <a:gd name="connsiteX2555" fmla="*/ 83155 w 1439351"/>
                    <a:gd name="connsiteY2555" fmla="*/ 750349 h 1323458"/>
                    <a:gd name="connsiteX2556" fmla="*/ 87866 w 1439351"/>
                    <a:gd name="connsiteY2556" fmla="*/ 749110 h 1323458"/>
                    <a:gd name="connsiteX2557" fmla="*/ 89530 w 1439351"/>
                    <a:gd name="connsiteY2557" fmla="*/ 748673 h 1323458"/>
                    <a:gd name="connsiteX2558" fmla="*/ 90720 w 1439351"/>
                    <a:gd name="connsiteY2558" fmla="*/ 747422 h 1323458"/>
                    <a:gd name="connsiteX2559" fmla="*/ 93428 w 1439351"/>
                    <a:gd name="connsiteY2559" fmla="*/ 744581 h 1323458"/>
                    <a:gd name="connsiteX2560" fmla="*/ 93841 w 1439351"/>
                    <a:gd name="connsiteY2560" fmla="*/ 744144 h 1323458"/>
                    <a:gd name="connsiteX2561" fmla="*/ 94157 w 1439351"/>
                    <a:gd name="connsiteY2561" fmla="*/ 743633 h 1323458"/>
                    <a:gd name="connsiteX2562" fmla="*/ 95711 w 1439351"/>
                    <a:gd name="connsiteY2562" fmla="*/ 741193 h 1323458"/>
                    <a:gd name="connsiteX2563" fmla="*/ 95990 w 1439351"/>
                    <a:gd name="connsiteY2563" fmla="*/ 740756 h 1323458"/>
                    <a:gd name="connsiteX2564" fmla="*/ 96197 w 1439351"/>
                    <a:gd name="connsiteY2564" fmla="*/ 740270 h 1323458"/>
                    <a:gd name="connsiteX2565" fmla="*/ 96609 w 1439351"/>
                    <a:gd name="connsiteY2565" fmla="*/ 739286 h 1323458"/>
                    <a:gd name="connsiteX2566" fmla="*/ 96670 w 1439351"/>
                    <a:gd name="connsiteY2566" fmla="*/ 739311 h 1323458"/>
                    <a:gd name="connsiteX2567" fmla="*/ 97884 w 1439351"/>
                    <a:gd name="connsiteY2567" fmla="*/ 739262 h 1323458"/>
                    <a:gd name="connsiteX2568" fmla="*/ 99439 w 1439351"/>
                    <a:gd name="connsiteY2568" fmla="*/ 739201 h 1323458"/>
                    <a:gd name="connsiteX2569" fmla="*/ 99997 w 1439351"/>
                    <a:gd name="connsiteY2569" fmla="*/ 739189 h 1323458"/>
                    <a:gd name="connsiteX2570" fmla="*/ 100544 w 1439351"/>
                    <a:gd name="connsiteY2570" fmla="*/ 739068 h 1323458"/>
                    <a:gd name="connsiteX2571" fmla="*/ 102438 w 1439351"/>
                    <a:gd name="connsiteY2571" fmla="*/ 738643 h 1323458"/>
                    <a:gd name="connsiteX2572" fmla="*/ 102936 w 1439351"/>
                    <a:gd name="connsiteY2572" fmla="*/ 738533 h 1323458"/>
                    <a:gd name="connsiteX2573" fmla="*/ 103409 w 1439351"/>
                    <a:gd name="connsiteY2573" fmla="*/ 738339 h 1323458"/>
                    <a:gd name="connsiteX2574" fmla="*/ 127914 w 1439351"/>
                    <a:gd name="connsiteY2574" fmla="*/ 728285 h 1323458"/>
                    <a:gd name="connsiteX2575" fmla="*/ 128363 w 1439351"/>
                    <a:gd name="connsiteY2575" fmla="*/ 728103 h 1323458"/>
                    <a:gd name="connsiteX2576" fmla="*/ 128776 w 1439351"/>
                    <a:gd name="connsiteY2576" fmla="*/ 727848 h 1323458"/>
                    <a:gd name="connsiteX2577" fmla="*/ 133208 w 1439351"/>
                    <a:gd name="connsiteY2577" fmla="*/ 725128 h 1323458"/>
                    <a:gd name="connsiteX2578" fmla="*/ 133827 w 1439351"/>
                    <a:gd name="connsiteY2578" fmla="*/ 724751 h 1323458"/>
                    <a:gd name="connsiteX2579" fmla="*/ 134337 w 1439351"/>
                    <a:gd name="connsiteY2579" fmla="*/ 724229 h 1323458"/>
                    <a:gd name="connsiteX2580" fmla="*/ 138988 w 1439351"/>
                    <a:gd name="connsiteY2580" fmla="*/ 719542 h 1323458"/>
                    <a:gd name="connsiteX2581" fmla="*/ 140020 w 1439351"/>
                    <a:gd name="connsiteY2581" fmla="*/ 718874 h 1323458"/>
                    <a:gd name="connsiteX2582" fmla="*/ 141162 w 1439351"/>
                    <a:gd name="connsiteY2582" fmla="*/ 718546 h 1323458"/>
                    <a:gd name="connsiteX2583" fmla="*/ 142036 w 1439351"/>
                    <a:gd name="connsiteY2583" fmla="*/ 718570 h 1323458"/>
                    <a:gd name="connsiteX2584" fmla="*/ 146395 w 1439351"/>
                    <a:gd name="connsiteY2584" fmla="*/ 719773 h 1323458"/>
                    <a:gd name="connsiteX2585" fmla="*/ 146808 w 1439351"/>
                    <a:gd name="connsiteY2585" fmla="*/ 719894 h 1323458"/>
                    <a:gd name="connsiteX2586" fmla="*/ 147233 w 1439351"/>
                    <a:gd name="connsiteY2586" fmla="*/ 719943 h 1323458"/>
                    <a:gd name="connsiteX2587" fmla="*/ 158101 w 1439351"/>
                    <a:gd name="connsiteY2587" fmla="*/ 721327 h 1323458"/>
                    <a:gd name="connsiteX2588" fmla="*/ 159012 w 1439351"/>
                    <a:gd name="connsiteY2588" fmla="*/ 721643 h 1323458"/>
                    <a:gd name="connsiteX2589" fmla="*/ 159315 w 1439351"/>
                    <a:gd name="connsiteY2589" fmla="*/ 721801 h 1323458"/>
                    <a:gd name="connsiteX2590" fmla="*/ 159315 w 1439351"/>
                    <a:gd name="connsiteY2590" fmla="*/ 721801 h 1323458"/>
                    <a:gd name="connsiteX2591" fmla="*/ 159595 w 1439351"/>
                    <a:gd name="connsiteY2591" fmla="*/ 722128 h 1323458"/>
                    <a:gd name="connsiteX2592" fmla="*/ 160311 w 1439351"/>
                    <a:gd name="connsiteY2592" fmla="*/ 722942 h 1323458"/>
                    <a:gd name="connsiteX2593" fmla="*/ 161246 w 1439351"/>
                    <a:gd name="connsiteY2593" fmla="*/ 723464 h 1323458"/>
                    <a:gd name="connsiteX2594" fmla="*/ 162278 w 1439351"/>
                    <a:gd name="connsiteY2594" fmla="*/ 724035 h 1323458"/>
                    <a:gd name="connsiteX2595" fmla="*/ 164986 w 1439351"/>
                    <a:gd name="connsiteY2595" fmla="*/ 725528 h 1323458"/>
                    <a:gd name="connsiteX2596" fmla="*/ 167791 w 1439351"/>
                    <a:gd name="connsiteY2596" fmla="*/ 724217 h 1323458"/>
                    <a:gd name="connsiteX2597" fmla="*/ 168653 w 1439351"/>
                    <a:gd name="connsiteY2597" fmla="*/ 723816 h 1323458"/>
                    <a:gd name="connsiteX2598" fmla="*/ 169127 w 1439351"/>
                    <a:gd name="connsiteY2598" fmla="*/ 723598 h 1323458"/>
                    <a:gd name="connsiteX2599" fmla="*/ 169552 w 1439351"/>
                    <a:gd name="connsiteY2599" fmla="*/ 723294 h 1323458"/>
                    <a:gd name="connsiteX2600" fmla="*/ 170900 w 1439351"/>
                    <a:gd name="connsiteY2600" fmla="*/ 722347 h 1323458"/>
                    <a:gd name="connsiteX2601" fmla="*/ 171191 w 1439351"/>
                    <a:gd name="connsiteY2601" fmla="*/ 722347 h 1323458"/>
                    <a:gd name="connsiteX2602" fmla="*/ 175806 w 1439351"/>
                    <a:gd name="connsiteY2602" fmla="*/ 723598 h 1323458"/>
                    <a:gd name="connsiteX2603" fmla="*/ 176401 w 1439351"/>
                    <a:gd name="connsiteY2603" fmla="*/ 723768 h 1323458"/>
                    <a:gd name="connsiteX2604" fmla="*/ 177008 w 1439351"/>
                    <a:gd name="connsiteY2604" fmla="*/ 723804 h 1323458"/>
                    <a:gd name="connsiteX2605" fmla="*/ 187524 w 1439351"/>
                    <a:gd name="connsiteY2605" fmla="*/ 724460 h 1323458"/>
                    <a:gd name="connsiteX2606" fmla="*/ 187633 w 1439351"/>
                    <a:gd name="connsiteY2606" fmla="*/ 724484 h 1323458"/>
                    <a:gd name="connsiteX2607" fmla="*/ 187742 w 1439351"/>
                    <a:gd name="connsiteY2607" fmla="*/ 724861 h 1323458"/>
                    <a:gd name="connsiteX2608" fmla="*/ 188386 w 1439351"/>
                    <a:gd name="connsiteY2608" fmla="*/ 726597 h 1323458"/>
                    <a:gd name="connsiteX2609" fmla="*/ 188689 w 1439351"/>
                    <a:gd name="connsiteY2609" fmla="*/ 727374 h 1323458"/>
                    <a:gd name="connsiteX2610" fmla="*/ 189199 w 1439351"/>
                    <a:gd name="connsiteY2610" fmla="*/ 728042 h 1323458"/>
                    <a:gd name="connsiteX2611" fmla="*/ 189891 w 1439351"/>
                    <a:gd name="connsiteY2611" fmla="*/ 728965 h 1323458"/>
                    <a:gd name="connsiteX2612" fmla="*/ 190644 w 1439351"/>
                    <a:gd name="connsiteY2612" fmla="*/ 729973 h 1323458"/>
                    <a:gd name="connsiteX2613" fmla="*/ 191737 w 1439351"/>
                    <a:gd name="connsiteY2613" fmla="*/ 730592 h 1323458"/>
                    <a:gd name="connsiteX2614" fmla="*/ 192939 w 1439351"/>
                    <a:gd name="connsiteY2614" fmla="*/ 731272 h 1323458"/>
                    <a:gd name="connsiteX2615" fmla="*/ 196218 w 1439351"/>
                    <a:gd name="connsiteY2615" fmla="*/ 733130 h 1323458"/>
                    <a:gd name="connsiteX2616" fmla="*/ 199338 w 1439351"/>
                    <a:gd name="connsiteY2616" fmla="*/ 731029 h 1323458"/>
                    <a:gd name="connsiteX2617" fmla="*/ 199849 w 1439351"/>
                    <a:gd name="connsiteY2617" fmla="*/ 730689 h 1323458"/>
                    <a:gd name="connsiteX2618" fmla="*/ 201561 w 1439351"/>
                    <a:gd name="connsiteY2618" fmla="*/ 729536 h 1323458"/>
                    <a:gd name="connsiteX2619" fmla="*/ 202216 w 1439351"/>
                    <a:gd name="connsiteY2619" fmla="*/ 727568 h 1323458"/>
                    <a:gd name="connsiteX2620" fmla="*/ 202641 w 1439351"/>
                    <a:gd name="connsiteY2620" fmla="*/ 726281 h 1323458"/>
                    <a:gd name="connsiteX2621" fmla="*/ 202969 w 1439351"/>
                    <a:gd name="connsiteY2621" fmla="*/ 725298 h 1323458"/>
                    <a:gd name="connsiteX2622" fmla="*/ 202957 w 1439351"/>
                    <a:gd name="connsiteY2622" fmla="*/ 724266 h 1323458"/>
                    <a:gd name="connsiteX2623" fmla="*/ 202945 w 1439351"/>
                    <a:gd name="connsiteY2623" fmla="*/ 723306 h 1323458"/>
                    <a:gd name="connsiteX2624" fmla="*/ 203370 w 1439351"/>
                    <a:gd name="connsiteY2624" fmla="*/ 723330 h 1323458"/>
                    <a:gd name="connsiteX2625" fmla="*/ 204499 w 1439351"/>
                    <a:gd name="connsiteY2625" fmla="*/ 723403 h 1323458"/>
                    <a:gd name="connsiteX2626" fmla="*/ 205580 w 1439351"/>
                    <a:gd name="connsiteY2626" fmla="*/ 723076 h 1323458"/>
                    <a:gd name="connsiteX2627" fmla="*/ 207074 w 1439351"/>
                    <a:gd name="connsiteY2627" fmla="*/ 722614 h 1323458"/>
                    <a:gd name="connsiteX2628" fmla="*/ 208458 w 1439351"/>
                    <a:gd name="connsiteY2628" fmla="*/ 722189 h 1323458"/>
                    <a:gd name="connsiteX2629" fmla="*/ 209502 w 1439351"/>
                    <a:gd name="connsiteY2629" fmla="*/ 721181 h 1323458"/>
                    <a:gd name="connsiteX2630" fmla="*/ 210474 w 1439351"/>
                    <a:gd name="connsiteY2630" fmla="*/ 720234 h 1323458"/>
                    <a:gd name="connsiteX2631" fmla="*/ 211154 w 1439351"/>
                    <a:gd name="connsiteY2631" fmla="*/ 719566 h 1323458"/>
                    <a:gd name="connsiteX2632" fmla="*/ 211603 w 1439351"/>
                    <a:gd name="connsiteY2632" fmla="*/ 718728 h 1323458"/>
                    <a:gd name="connsiteX2633" fmla="*/ 212052 w 1439351"/>
                    <a:gd name="connsiteY2633" fmla="*/ 717890 h 1323458"/>
                    <a:gd name="connsiteX2634" fmla="*/ 212866 w 1439351"/>
                    <a:gd name="connsiteY2634" fmla="*/ 717344 h 1323458"/>
                    <a:gd name="connsiteX2635" fmla="*/ 213352 w 1439351"/>
                    <a:gd name="connsiteY2635" fmla="*/ 717016 h 1323458"/>
                    <a:gd name="connsiteX2636" fmla="*/ 213764 w 1439351"/>
                    <a:gd name="connsiteY2636" fmla="*/ 716603 h 1323458"/>
                    <a:gd name="connsiteX2637" fmla="*/ 214347 w 1439351"/>
                    <a:gd name="connsiteY2637" fmla="*/ 716021 h 1323458"/>
                    <a:gd name="connsiteX2638" fmla="*/ 215100 w 1439351"/>
                    <a:gd name="connsiteY2638" fmla="*/ 715559 h 1323458"/>
                    <a:gd name="connsiteX2639" fmla="*/ 216412 w 1439351"/>
                    <a:gd name="connsiteY2639" fmla="*/ 715353 h 1323458"/>
                    <a:gd name="connsiteX2640" fmla="*/ 221147 w 1439351"/>
                    <a:gd name="connsiteY2640" fmla="*/ 715098 h 1323458"/>
                    <a:gd name="connsiteX2641" fmla="*/ 223382 w 1439351"/>
                    <a:gd name="connsiteY2641" fmla="*/ 715389 h 1323458"/>
                    <a:gd name="connsiteX2642" fmla="*/ 224778 w 1439351"/>
                    <a:gd name="connsiteY2642" fmla="*/ 715765 h 1323458"/>
                    <a:gd name="connsiteX2643" fmla="*/ 226138 w 1439351"/>
                    <a:gd name="connsiteY2643" fmla="*/ 716397 h 1323458"/>
                    <a:gd name="connsiteX2644" fmla="*/ 226636 w 1439351"/>
                    <a:gd name="connsiteY2644" fmla="*/ 716628 h 1323458"/>
                    <a:gd name="connsiteX2645" fmla="*/ 227146 w 1439351"/>
                    <a:gd name="connsiteY2645" fmla="*/ 716773 h 1323458"/>
                    <a:gd name="connsiteX2646" fmla="*/ 228980 w 1439351"/>
                    <a:gd name="connsiteY2646" fmla="*/ 717259 h 1323458"/>
                    <a:gd name="connsiteX2647" fmla="*/ 229016 w 1439351"/>
                    <a:gd name="connsiteY2647" fmla="*/ 717259 h 1323458"/>
                    <a:gd name="connsiteX2648" fmla="*/ 228178 w 1439351"/>
                    <a:gd name="connsiteY2648" fmla="*/ 718048 h 1323458"/>
                    <a:gd name="connsiteX2649" fmla="*/ 227814 w 1439351"/>
                    <a:gd name="connsiteY2649" fmla="*/ 718279 h 1323458"/>
                    <a:gd name="connsiteX2650" fmla="*/ 226782 w 1439351"/>
                    <a:gd name="connsiteY2650" fmla="*/ 718255 h 1323458"/>
                    <a:gd name="connsiteX2651" fmla="*/ 225725 w 1439351"/>
                    <a:gd name="connsiteY2651" fmla="*/ 718230 h 1323458"/>
                    <a:gd name="connsiteX2652" fmla="*/ 224717 w 1439351"/>
                    <a:gd name="connsiteY2652" fmla="*/ 718570 h 1323458"/>
                    <a:gd name="connsiteX2653" fmla="*/ 223855 w 1439351"/>
                    <a:gd name="connsiteY2653" fmla="*/ 718862 h 1323458"/>
                    <a:gd name="connsiteX2654" fmla="*/ 221499 w 1439351"/>
                    <a:gd name="connsiteY2654" fmla="*/ 719651 h 1323458"/>
                    <a:gd name="connsiteX2655" fmla="*/ 220370 w 1439351"/>
                    <a:gd name="connsiteY2655" fmla="*/ 721873 h 1323458"/>
                    <a:gd name="connsiteX2656" fmla="*/ 219860 w 1439351"/>
                    <a:gd name="connsiteY2656" fmla="*/ 722881 h 1323458"/>
                    <a:gd name="connsiteX2657" fmla="*/ 218974 w 1439351"/>
                    <a:gd name="connsiteY2657" fmla="*/ 724642 h 1323458"/>
                    <a:gd name="connsiteX2658" fmla="*/ 219289 w 1439351"/>
                    <a:gd name="connsiteY2658" fmla="*/ 726597 h 1323458"/>
                    <a:gd name="connsiteX2659" fmla="*/ 219447 w 1439351"/>
                    <a:gd name="connsiteY2659" fmla="*/ 727593 h 1323458"/>
                    <a:gd name="connsiteX2660" fmla="*/ 219642 w 1439351"/>
                    <a:gd name="connsiteY2660" fmla="*/ 728783 h 1323458"/>
                    <a:gd name="connsiteX2661" fmla="*/ 220273 w 1439351"/>
                    <a:gd name="connsiteY2661" fmla="*/ 729803 h 1323458"/>
                    <a:gd name="connsiteX2662" fmla="*/ 221086 w 1439351"/>
                    <a:gd name="connsiteY2662" fmla="*/ 731126 h 1323458"/>
                    <a:gd name="connsiteX2663" fmla="*/ 221414 w 1439351"/>
                    <a:gd name="connsiteY2663" fmla="*/ 731661 h 1323458"/>
                    <a:gd name="connsiteX2664" fmla="*/ 221852 w 1439351"/>
                    <a:gd name="connsiteY2664" fmla="*/ 732122 h 1323458"/>
                    <a:gd name="connsiteX2665" fmla="*/ 223394 w 1439351"/>
                    <a:gd name="connsiteY2665" fmla="*/ 733761 h 1323458"/>
                    <a:gd name="connsiteX2666" fmla="*/ 224001 w 1439351"/>
                    <a:gd name="connsiteY2666" fmla="*/ 734563 h 1323458"/>
                    <a:gd name="connsiteX2667" fmla="*/ 224292 w 1439351"/>
                    <a:gd name="connsiteY2667" fmla="*/ 735206 h 1323458"/>
                    <a:gd name="connsiteX2668" fmla="*/ 224547 w 1439351"/>
                    <a:gd name="connsiteY2668" fmla="*/ 736214 h 1323458"/>
                    <a:gd name="connsiteX2669" fmla="*/ 225737 w 1439351"/>
                    <a:gd name="connsiteY2669" fmla="*/ 740853 h 1323458"/>
                    <a:gd name="connsiteX2670" fmla="*/ 230534 w 1439351"/>
                    <a:gd name="connsiteY2670" fmla="*/ 740780 h 1323458"/>
                    <a:gd name="connsiteX2671" fmla="*/ 233242 w 1439351"/>
                    <a:gd name="connsiteY2671" fmla="*/ 740731 h 1323458"/>
                    <a:gd name="connsiteX2672" fmla="*/ 235136 w 1439351"/>
                    <a:gd name="connsiteY2672" fmla="*/ 741278 h 1323458"/>
                    <a:gd name="connsiteX2673" fmla="*/ 235573 w 1439351"/>
                    <a:gd name="connsiteY2673" fmla="*/ 741399 h 1323458"/>
                    <a:gd name="connsiteX2674" fmla="*/ 236022 w 1439351"/>
                    <a:gd name="connsiteY2674" fmla="*/ 741460 h 1323458"/>
                    <a:gd name="connsiteX2675" fmla="*/ 239920 w 1439351"/>
                    <a:gd name="connsiteY2675" fmla="*/ 741982 h 1323458"/>
                    <a:gd name="connsiteX2676" fmla="*/ 243430 w 1439351"/>
                    <a:gd name="connsiteY2676" fmla="*/ 742456 h 1323458"/>
                    <a:gd name="connsiteX2677" fmla="*/ 245567 w 1439351"/>
                    <a:gd name="connsiteY2677" fmla="*/ 739638 h 1323458"/>
                    <a:gd name="connsiteX2678" fmla="*/ 246198 w 1439351"/>
                    <a:gd name="connsiteY2678" fmla="*/ 738801 h 1323458"/>
                    <a:gd name="connsiteX2679" fmla="*/ 246441 w 1439351"/>
                    <a:gd name="connsiteY2679" fmla="*/ 738473 h 1323458"/>
                    <a:gd name="connsiteX2680" fmla="*/ 246648 w 1439351"/>
                    <a:gd name="connsiteY2680" fmla="*/ 738121 h 1323458"/>
                    <a:gd name="connsiteX2681" fmla="*/ 248821 w 1439351"/>
                    <a:gd name="connsiteY2681" fmla="*/ 734283 h 1323458"/>
                    <a:gd name="connsiteX2682" fmla="*/ 248894 w 1439351"/>
                    <a:gd name="connsiteY2682" fmla="*/ 734211 h 1323458"/>
                    <a:gd name="connsiteX2683" fmla="*/ 254322 w 1439351"/>
                    <a:gd name="connsiteY2683" fmla="*/ 733482 h 1323458"/>
                    <a:gd name="connsiteX2684" fmla="*/ 257406 w 1439351"/>
                    <a:gd name="connsiteY2684" fmla="*/ 733676 h 1323458"/>
                    <a:gd name="connsiteX2685" fmla="*/ 258280 w 1439351"/>
                    <a:gd name="connsiteY2685" fmla="*/ 734016 h 1323458"/>
                    <a:gd name="connsiteX2686" fmla="*/ 259750 w 1439351"/>
                    <a:gd name="connsiteY2686" fmla="*/ 736846 h 1323458"/>
                    <a:gd name="connsiteX2687" fmla="*/ 260988 w 1439351"/>
                    <a:gd name="connsiteY2687" fmla="*/ 739250 h 1323458"/>
                    <a:gd name="connsiteX2688" fmla="*/ 263611 w 1439351"/>
                    <a:gd name="connsiteY2688" fmla="*/ 739930 h 1323458"/>
                    <a:gd name="connsiteX2689" fmla="*/ 265688 w 1439351"/>
                    <a:gd name="connsiteY2689" fmla="*/ 740464 h 1323458"/>
                    <a:gd name="connsiteX2690" fmla="*/ 266550 w 1439351"/>
                    <a:gd name="connsiteY2690" fmla="*/ 740695 h 1323458"/>
                    <a:gd name="connsiteX2691" fmla="*/ 267436 w 1439351"/>
                    <a:gd name="connsiteY2691" fmla="*/ 740658 h 1323458"/>
                    <a:gd name="connsiteX2692" fmla="*/ 269792 w 1439351"/>
                    <a:gd name="connsiteY2692" fmla="*/ 740573 h 1323458"/>
                    <a:gd name="connsiteX2693" fmla="*/ 269853 w 1439351"/>
                    <a:gd name="connsiteY2693" fmla="*/ 740695 h 1323458"/>
                    <a:gd name="connsiteX2694" fmla="*/ 270132 w 1439351"/>
                    <a:gd name="connsiteY2694" fmla="*/ 741193 h 1323458"/>
                    <a:gd name="connsiteX2695" fmla="*/ 270496 w 1439351"/>
                    <a:gd name="connsiteY2695" fmla="*/ 741630 h 1323458"/>
                    <a:gd name="connsiteX2696" fmla="*/ 271978 w 1439351"/>
                    <a:gd name="connsiteY2696" fmla="*/ 743378 h 1323458"/>
                    <a:gd name="connsiteX2697" fmla="*/ 272706 w 1439351"/>
                    <a:gd name="connsiteY2697" fmla="*/ 744241 h 1323458"/>
                    <a:gd name="connsiteX2698" fmla="*/ 273690 w 1439351"/>
                    <a:gd name="connsiteY2698" fmla="*/ 744775 h 1323458"/>
                    <a:gd name="connsiteX2699" fmla="*/ 276568 w 1439351"/>
                    <a:gd name="connsiteY2699" fmla="*/ 746354 h 1323458"/>
                    <a:gd name="connsiteX2700" fmla="*/ 277612 w 1439351"/>
                    <a:gd name="connsiteY2700" fmla="*/ 746924 h 1323458"/>
                    <a:gd name="connsiteX2701" fmla="*/ 278790 w 1439351"/>
                    <a:gd name="connsiteY2701" fmla="*/ 747058 h 1323458"/>
                    <a:gd name="connsiteX2702" fmla="*/ 285262 w 1439351"/>
                    <a:gd name="connsiteY2702" fmla="*/ 747811 h 1323458"/>
                    <a:gd name="connsiteX2703" fmla="*/ 287703 w 1439351"/>
                    <a:gd name="connsiteY2703" fmla="*/ 748491 h 1323458"/>
                    <a:gd name="connsiteX2704" fmla="*/ 295535 w 1439351"/>
                    <a:gd name="connsiteY2704" fmla="*/ 753069 h 1323458"/>
                    <a:gd name="connsiteX2705" fmla="*/ 296567 w 1439351"/>
                    <a:gd name="connsiteY2705" fmla="*/ 753676 h 1323458"/>
                    <a:gd name="connsiteX2706" fmla="*/ 297757 w 1439351"/>
                    <a:gd name="connsiteY2706" fmla="*/ 753846 h 1323458"/>
                    <a:gd name="connsiteX2707" fmla="*/ 301485 w 1439351"/>
                    <a:gd name="connsiteY2707" fmla="*/ 754368 h 1323458"/>
                    <a:gd name="connsiteX2708" fmla="*/ 302602 w 1439351"/>
                    <a:gd name="connsiteY2708" fmla="*/ 754526 h 1323458"/>
                    <a:gd name="connsiteX2709" fmla="*/ 303707 w 1439351"/>
                    <a:gd name="connsiteY2709" fmla="*/ 754271 h 1323458"/>
                    <a:gd name="connsiteX2710" fmla="*/ 305953 w 1439351"/>
                    <a:gd name="connsiteY2710" fmla="*/ 753749 h 1323458"/>
                    <a:gd name="connsiteX2711" fmla="*/ 307641 w 1439351"/>
                    <a:gd name="connsiteY2711" fmla="*/ 753360 h 1323458"/>
                    <a:gd name="connsiteX2712" fmla="*/ 308868 w 1439351"/>
                    <a:gd name="connsiteY2712" fmla="*/ 752134 h 1323458"/>
                    <a:gd name="connsiteX2713" fmla="*/ 310058 w 1439351"/>
                    <a:gd name="connsiteY2713" fmla="*/ 750956 h 1323458"/>
                    <a:gd name="connsiteX2714" fmla="*/ 310471 w 1439351"/>
                    <a:gd name="connsiteY2714" fmla="*/ 750555 h 1323458"/>
                    <a:gd name="connsiteX2715" fmla="*/ 310665 w 1439351"/>
                    <a:gd name="connsiteY2715" fmla="*/ 750276 h 1323458"/>
                    <a:gd name="connsiteX2716" fmla="*/ 312717 w 1439351"/>
                    <a:gd name="connsiteY2716" fmla="*/ 750518 h 1323458"/>
                    <a:gd name="connsiteX2717" fmla="*/ 313385 w 1439351"/>
                    <a:gd name="connsiteY2717" fmla="*/ 750591 h 1323458"/>
                    <a:gd name="connsiteX2718" fmla="*/ 314065 w 1439351"/>
                    <a:gd name="connsiteY2718" fmla="*/ 750518 h 1323458"/>
                    <a:gd name="connsiteX2719" fmla="*/ 316494 w 1439351"/>
                    <a:gd name="connsiteY2719" fmla="*/ 750264 h 1323458"/>
                    <a:gd name="connsiteX2720" fmla="*/ 317854 w 1439351"/>
                    <a:gd name="connsiteY2720" fmla="*/ 750118 h 1323458"/>
                    <a:gd name="connsiteX2721" fmla="*/ 319019 w 1439351"/>
                    <a:gd name="connsiteY2721" fmla="*/ 749414 h 1323458"/>
                    <a:gd name="connsiteX2722" fmla="*/ 323269 w 1439351"/>
                    <a:gd name="connsiteY2722" fmla="*/ 746827 h 1323458"/>
                    <a:gd name="connsiteX2723" fmla="*/ 323537 w 1439351"/>
                    <a:gd name="connsiteY2723" fmla="*/ 747301 h 1323458"/>
                    <a:gd name="connsiteX2724" fmla="*/ 327471 w 1439351"/>
                    <a:gd name="connsiteY2724" fmla="*/ 754028 h 1323458"/>
                    <a:gd name="connsiteX2725" fmla="*/ 331017 w 1439351"/>
                    <a:gd name="connsiteY2725" fmla="*/ 750555 h 1323458"/>
                    <a:gd name="connsiteX2726" fmla="*/ 331551 w 1439351"/>
                    <a:gd name="connsiteY2726" fmla="*/ 751769 h 1323458"/>
                    <a:gd name="connsiteX2727" fmla="*/ 334574 w 1439351"/>
                    <a:gd name="connsiteY2727" fmla="*/ 752413 h 1323458"/>
                    <a:gd name="connsiteX2728" fmla="*/ 336238 w 1439351"/>
                    <a:gd name="connsiteY2728" fmla="*/ 752765 h 1323458"/>
                    <a:gd name="connsiteX2729" fmla="*/ 336955 w 1439351"/>
                    <a:gd name="connsiteY2729" fmla="*/ 752923 h 1323458"/>
                    <a:gd name="connsiteX2730" fmla="*/ 337683 w 1439351"/>
                    <a:gd name="connsiteY2730" fmla="*/ 752911 h 1323458"/>
                    <a:gd name="connsiteX2731" fmla="*/ 339067 w 1439351"/>
                    <a:gd name="connsiteY2731" fmla="*/ 752874 h 1323458"/>
                    <a:gd name="connsiteX2732" fmla="*/ 340925 w 1439351"/>
                    <a:gd name="connsiteY2732" fmla="*/ 754368 h 1323458"/>
                    <a:gd name="connsiteX2733" fmla="*/ 346183 w 1439351"/>
                    <a:gd name="connsiteY2733" fmla="*/ 760998 h 1323458"/>
                    <a:gd name="connsiteX2734" fmla="*/ 346875 w 1439351"/>
                    <a:gd name="connsiteY2734" fmla="*/ 761860 h 1323458"/>
                    <a:gd name="connsiteX2735" fmla="*/ 347822 w 1439351"/>
                    <a:gd name="connsiteY2735" fmla="*/ 762431 h 1323458"/>
                    <a:gd name="connsiteX2736" fmla="*/ 351392 w 1439351"/>
                    <a:gd name="connsiteY2736" fmla="*/ 764580 h 1323458"/>
                    <a:gd name="connsiteX2737" fmla="*/ 352655 w 1439351"/>
                    <a:gd name="connsiteY2737" fmla="*/ 765333 h 1323458"/>
                    <a:gd name="connsiteX2738" fmla="*/ 354125 w 1439351"/>
                    <a:gd name="connsiteY2738" fmla="*/ 765430 h 1323458"/>
                    <a:gd name="connsiteX2739" fmla="*/ 356359 w 1439351"/>
                    <a:gd name="connsiteY2739" fmla="*/ 765576 h 1323458"/>
                    <a:gd name="connsiteX2740" fmla="*/ 357330 w 1439351"/>
                    <a:gd name="connsiteY2740" fmla="*/ 765637 h 1323458"/>
                    <a:gd name="connsiteX2741" fmla="*/ 358265 w 1439351"/>
                    <a:gd name="connsiteY2741" fmla="*/ 765394 h 1323458"/>
                    <a:gd name="connsiteX2742" fmla="*/ 362758 w 1439351"/>
                    <a:gd name="connsiteY2742" fmla="*/ 764252 h 1323458"/>
                    <a:gd name="connsiteX2743" fmla="*/ 362758 w 1439351"/>
                    <a:gd name="connsiteY2743" fmla="*/ 765503 h 1323458"/>
                    <a:gd name="connsiteX2744" fmla="*/ 362880 w 1439351"/>
                    <a:gd name="connsiteY2744" fmla="*/ 765758 h 1323458"/>
                    <a:gd name="connsiteX2745" fmla="*/ 362880 w 1439351"/>
                    <a:gd name="connsiteY2745" fmla="*/ 765794 h 1323458"/>
                    <a:gd name="connsiteX2746" fmla="*/ 362855 w 1439351"/>
                    <a:gd name="connsiteY2746" fmla="*/ 766535 h 1323458"/>
                    <a:gd name="connsiteX2747" fmla="*/ 363013 w 1439351"/>
                    <a:gd name="connsiteY2747" fmla="*/ 767264 h 1323458"/>
                    <a:gd name="connsiteX2748" fmla="*/ 364373 w 1439351"/>
                    <a:gd name="connsiteY2748" fmla="*/ 773845 h 1323458"/>
                    <a:gd name="connsiteX2749" fmla="*/ 364458 w 1439351"/>
                    <a:gd name="connsiteY2749" fmla="*/ 774222 h 1323458"/>
                    <a:gd name="connsiteX2750" fmla="*/ 364592 w 1439351"/>
                    <a:gd name="connsiteY2750" fmla="*/ 774598 h 1323458"/>
                    <a:gd name="connsiteX2751" fmla="*/ 367300 w 1439351"/>
                    <a:gd name="connsiteY2751" fmla="*/ 782406 h 1323458"/>
                    <a:gd name="connsiteX2752" fmla="*/ 367457 w 1439351"/>
                    <a:gd name="connsiteY2752" fmla="*/ 782855 h 1323458"/>
                    <a:gd name="connsiteX2753" fmla="*/ 367688 w 1439351"/>
                    <a:gd name="connsiteY2753" fmla="*/ 783268 h 1323458"/>
                    <a:gd name="connsiteX2754" fmla="*/ 370384 w 1439351"/>
                    <a:gd name="connsiteY2754" fmla="*/ 788320 h 1323458"/>
                    <a:gd name="connsiteX2755" fmla="*/ 370530 w 1439351"/>
                    <a:gd name="connsiteY2755" fmla="*/ 788599 h 1323458"/>
                    <a:gd name="connsiteX2756" fmla="*/ 370712 w 1439351"/>
                    <a:gd name="connsiteY2756" fmla="*/ 788866 h 1323458"/>
                    <a:gd name="connsiteX2757" fmla="*/ 380451 w 1439351"/>
                    <a:gd name="connsiteY2757" fmla="*/ 803231 h 1323458"/>
                    <a:gd name="connsiteX2758" fmla="*/ 382491 w 1439351"/>
                    <a:gd name="connsiteY2758" fmla="*/ 808270 h 1323458"/>
                    <a:gd name="connsiteX2759" fmla="*/ 383790 w 1439351"/>
                    <a:gd name="connsiteY2759" fmla="*/ 812909 h 1323458"/>
                    <a:gd name="connsiteX2760" fmla="*/ 384142 w 1439351"/>
                    <a:gd name="connsiteY2760" fmla="*/ 816977 h 1323458"/>
                    <a:gd name="connsiteX2761" fmla="*/ 382163 w 1439351"/>
                    <a:gd name="connsiteY2761" fmla="*/ 823133 h 1323458"/>
                    <a:gd name="connsiteX2762" fmla="*/ 381118 w 1439351"/>
                    <a:gd name="connsiteY2762" fmla="*/ 826388 h 1323458"/>
                    <a:gd name="connsiteX2763" fmla="*/ 383365 w 1439351"/>
                    <a:gd name="connsiteY2763" fmla="*/ 828974 h 1323458"/>
                    <a:gd name="connsiteX2764" fmla="*/ 384822 w 1439351"/>
                    <a:gd name="connsiteY2764" fmla="*/ 830650 h 1323458"/>
                    <a:gd name="connsiteX2765" fmla="*/ 382430 w 1439351"/>
                    <a:gd name="connsiteY2765" fmla="*/ 834499 h 1323458"/>
                    <a:gd name="connsiteX2766" fmla="*/ 381531 w 1439351"/>
                    <a:gd name="connsiteY2766" fmla="*/ 835592 h 1323458"/>
                    <a:gd name="connsiteX2767" fmla="*/ 380912 w 1439351"/>
                    <a:gd name="connsiteY2767" fmla="*/ 836114 h 1323458"/>
                    <a:gd name="connsiteX2768" fmla="*/ 380232 w 1439351"/>
                    <a:gd name="connsiteY2768" fmla="*/ 836406 h 1323458"/>
                    <a:gd name="connsiteX2769" fmla="*/ 375691 w 1439351"/>
                    <a:gd name="connsiteY2769" fmla="*/ 837341 h 1323458"/>
                    <a:gd name="connsiteX2770" fmla="*/ 373359 w 1439351"/>
                    <a:gd name="connsiteY2770" fmla="*/ 838021 h 1323458"/>
                    <a:gd name="connsiteX2771" fmla="*/ 373043 w 1439351"/>
                    <a:gd name="connsiteY2771" fmla="*/ 838118 h 1323458"/>
                    <a:gd name="connsiteX2772" fmla="*/ 372740 w 1439351"/>
                    <a:gd name="connsiteY2772" fmla="*/ 838251 h 1323458"/>
                    <a:gd name="connsiteX2773" fmla="*/ 371246 w 1439351"/>
                    <a:gd name="connsiteY2773" fmla="*/ 838883 h 1323458"/>
                    <a:gd name="connsiteX2774" fmla="*/ 370639 w 1439351"/>
                    <a:gd name="connsiteY2774" fmla="*/ 839138 h 1323458"/>
                    <a:gd name="connsiteX2775" fmla="*/ 370105 w 1439351"/>
                    <a:gd name="connsiteY2775" fmla="*/ 839526 h 1323458"/>
                    <a:gd name="connsiteX2776" fmla="*/ 368733 w 1439351"/>
                    <a:gd name="connsiteY2776" fmla="*/ 840510 h 1323458"/>
                    <a:gd name="connsiteX2777" fmla="*/ 368453 w 1439351"/>
                    <a:gd name="connsiteY2777" fmla="*/ 840716 h 1323458"/>
                    <a:gd name="connsiteX2778" fmla="*/ 368198 w 1439351"/>
                    <a:gd name="connsiteY2778" fmla="*/ 840959 h 1323458"/>
                    <a:gd name="connsiteX2779" fmla="*/ 365612 w 1439351"/>
                    <a:gd name="connsiteY2779" fmla="*/ 843303 h 1323458"/>
                    <a:gd name="connsiteX2780" fmla="*/ 364835 w 1439351"/>
                    <a:gd name="connsiteY2780" fmla="*/ 844019 h 1323458"/>
                    <a:gd name="connsiteX2781" fmla="*/ 364288 w 1439351"/>
                    <a:gd name="connsiteY2781" fmla="*/ 845003 h 1323458"/>
                    <a:gd name="connsiteX2782" fmla="*/ 363548 w 1439351"/>
                    <a:gd name="connsiteY2782" fmla="*/ 846387 h 1323458"/>
                    <a:gd name="connsiteX2783" fmla="*/ 363159 w 1439351"/>
                    <a:gd name="connsiteY2783" fmla="*/ 847104 h 1323458"/>
                    <a:gd name="connsiteX2784" fmla="*/ 362977 w 1439351"/>
                    <a:gd name="connsiteY2784" fmla="*/ 847893 h 1323458"/>
                    <a:gd name="connsiteX2785" fmla="*/ 362528 w 1439351"/>
                    <a:gd name="connsiteY2785" fmla="*/ 849872 h 1323458"/>
                    <a:gd name="connsiteX2786" fmla="*/ 362248 w 1439351"/>
                    <a:gd name="connsiteY2786" fmla="*/ 851074 h 1323458"/>
                    <a:gd name="connsiteX2787" fmla="*/ 362467 w 1439351"/>
                    <a:gd name="connsiteY2787" fmla="*/ 852289 h 1323458"/>
                    <a:gd name="connsiteX2788" fmla="*/ 362977 w 1439351"/>
                    <a:gd name="connsiteY2788" fmla="*/ 855154 h 1323458"/>
                    <a:gd name="connsiteX2789" fmla="*/ 363123 w 1439351"/>
                    <a:gd name="connsiteY2789" fmla="*/ 856004 h 1323458"/>
                    <a:gd name="connsiteX2790" fmla="*/ 363511 w 1439351"/>
                    <a:gd name="connsiteY2790" fmla="*/ 856781 h 1323458"/>
                    <a:gd name="connsiteX2791" fmla="*/ 364592 w 1439351"/>
                    <a:gd name="connsiteY2791" fmla="*/ 858967 h 1323458"/>
                    <a:gd name="connsiteX2792" fmla="*/ 364592 w 1439351"/>
                    <a:gd name="connsiteY2792" fmla="*/ 858979 h 1323458"/>
                    <a:gd name="connsiteX2793" fmla="*/ 363463 w 1439351"/>
                    <a:gd name="connsiteY2793" fmla="*/ 859404 h 1323458"/>
                    <a:gd name="connsiteX2794" fmla="*/ 362528 w 1439351"/>
                    <a:gd name="connsiteY2794" fmla="*/ 860352 h 1323458"/>
                    <a:gd name="connsiteX2795" fmla="*/ 361435 w 1439351"/>
                    <a:gd name="connsiteY2795" fmla="*/ 861444 h 1323458"/>
                    <a:gd name="connsiteX2796" fmla="*/ 360403 w 1439351"/>
                    <a:gd name="connsiteY2796" fmla="*/ 862476 h 1323458"/>
                    <a:gd name="connsiteX2797" fmla="*/ 359953 w 1439351"/>
                    <a:gd name="connsiteY2797" fmla="*/ 863873 h 1323458"/>
                    <a:gd name="connsiteX2798" fmla="*/ 359370 w 1439351"/>
                    <a:gd name="connsiteY2798" fmla="*/ 865706 h 1323458"/>
                    <a:gd name="connsiteX2799" fmla="*/ 359006 w 1439351"/>
                    <a:gd name="connsiteY2799" fmla="*/ 866848 h 1323458"/>
                    <a:gd name="connsiteX2800" fmla="*/ 359103 w 1439351"/>
                    <a:gd name="connsiteY2800" fmla="*/ 868038 h 1323458"/>
                    <a:gd name="connsiteX2801" fmla="*/ 359407 w 1439351"/>
                    <a:gd name="connsiteY2801" fmla="*/ 871826 h 1323458"/>
                    <a:gd name="connsiteX2802" fmla="*/ 359480 w 1439351"/>
                    <a:gd name="connsiteY2802" fmla="*/ 872737 h 1323458"/>
                    <a:gd name="connsiteX2803" fmla="*/ 359820 w 1439351"/>
                    <a:gd name="connsiteY2803" fmla="*/ 873587 h 1323458"/>
                    <a:gd name="connsiteX2804" fmla="*/ 360730 w 1439351"/>
                    <a:gd name="connsiteY2804" fmla="*/ 875882 h 1323458"/>
                    <a:gd name="connsiteX2805" fmla="*/ 361119 w 1439351"/>
                    <a:gd name="connsiteY2805" fmla="*/ 876854 h 1323458"/>
                    <a:gd name="connsiteX2806" fmla="*/ 361811 w 1439351"/>
                    <a:gd name="connsiteY2806" fmla="*/ 877643 h 1323458"/>
                    <a:gd name="connsiteX2807" fmla="*/ 363305 w 1439351"/>
                    <a:gd name="connsiteY2807" fmla="*/ 879343 h 1323458"/>
                    <a:gd name="connsiteX2808" fmla="*/ 363900 w 1439351"/>
                    <a:gd name="connsiteY2808" fmla="*/ 880023 h 1323458"/>
                    <a:gd name="connsiteX2809" fmla="*/ 364628 w 1439351"/>
                    <a:gd name="connsiteY2809" fmla="*/ 880472 h 1323458"/>
                    <a:gd name="connsiteX2810" fmla="*/ 359358 w 1439351"/>
                    <a:gd name="connsiteY2810" fmla="*/ 888438 h 1323458"/>
                    <a:gd name="connsiteX2811" fmla="*/ 359103 w 1439351"/>
                    <a:gd name="connsiteY2811" fmla="*/ 888839 h 1323458"/>
                    <a:gd name="connsiteX2812" fmla="*/ 358909 w 1439351"/>
                    <a:gd name="connsiteY2812" fmla="*/ 889264 h 1323458"/>
                    <a:gd name="connsiteX2813" fmla="*/ 354999 w 1439351"/>
                    <a:gd name="connsiteY2813" fmla="*/ 897812 h 1323458"/>
                    <a:gd name="connsiteX2814" fmla="*/ 354623 w 1439351"/>
                    <a:gd name="connsiteY2814" fmla="*/ 898638 h 1323458"/>
                    <a:gd name="connsiteX2815" fmla="*/ 354501 w 1439351"/>
                    <a:gd name="connsiteY2815" fmla="*/ 899537 h 1323458"/>
                    <a:gd name="connsiteX2816" fmla="*/ 354015 w 1439351"/>
                    <a:gd name="connsiteY2816" fmla="*/ 903167 h 1323458"/>
                    <a:gd name="connsiteX2817" fmla="*/ 353663 w 1439351"/>
                    <a:gd name="connsiteY2817" fmla="*/ 904163 h 1323458"/>
                    <a:gd name="connsiteX2818" fmla="*/ 352813 w 1439351"/>
                    <a:gd name="connsiteY2818" fmla="*/ 905851 h 1323458"/>
                    <a:gd name="connsiteX2819" fmla="*/ 344932 w 1439351"/>
                    <a:gd name="connsiteY2819" fmla="*/ 915408 h 1323458"/>
                    <a:gd name="connsiteX2820" fmla="*/ 344265 w 1439351"/>
                    <a:gd name="connsiteY2820" fmla="*/ 916209 h 1323458"/>
                    <a:gd name="connsiteX2821" fmla="*/ 343912 w 1439351"/>
                    <a:gd name="connsiteY2821" fmla="*/ 917193 h 1323458"/>
                    <a:gd name="connsiteX2822" fmla="*/ 341787 w 1439351"/>
                    <a:gd name="connsiteY2822" fmla="*/ 923045 h 1323458"/>
                    <a:gd name="connsiteX2823" fmla="*/ 339492 w 1439351"/>
                    <a:gd name="connsiteY2823" fmla="*/ 928546 h 1323458"/>
                    <a:gd name="connsiteX2824" fmla="*/ 337477 w 1439351"/>
                    <a:gd name="connsiteY2824" fmla="*/ 930356 h 1323458"/>
                    <a:gd name="connsiteX2825" fmla="*/ 334951 w 1439351"/>
                    <a:gd name="connsiteY2825" fmla="*/ 932165 h 1323458"/>
                    <a:gd name="connsiteX2826" fmla="*/ 332753 w 1439351"/>
                    <a:gd name="connsiteY2826" fmla="*/ 933355 h 1323458"/>
                    <a:gd name="connsiteX2827" fmla="*/ 332389 w 1439351"/>
                    <a:gd name="connsiteY2827" fmla="*/ 933561 h 1323458"/>
                    <a:gd name="connsiteX2828" fmla="*/ 332049 w 1439351"/>
                    <a:gd name="connsiteY2828" fmla="*/ 933816 h 1323458"/>
                    <a:gd name="connsiteX2829" fmla="*/ 329766 w 1439351"/>
                    <a:gd name="connsiteY2829" fmla="*/ 935492 h 1323458"/>
                    <a:gd name="connsiteX2830" fmla="*/ 329098 w 1439351"/>
                    <a:gd name="connsiteY2830" fmla="*/ 935990 h 1323458"/>
                    <a:gd name="connsiteX2831" fmla="*/ 328588 w 1439351"/>
                    <a:gd name="connsiteY2831" fmla="*/ 936645 h 1323458"/>
                    <a:gd name="connsiteX2832" fmla="*/ 326912 w 1439351"/>
                    <a:gd name="connsiteY2832" fmla="*/ 938795 h 1323458"/>
                    <a:gd name="connsiteX2833" fmla="*/ 326354 w 1439351"/>
                    <a:gd name="connsiteY2833" fmla="*/ 939523 h 1323458"/>
                    <a:gd name="connsiteX2834" fmla="*/ 326026 w 1439351"/>
                    <a:gd name="connsiteY2834" fmla="*/ 940373 h 1323458"/>
                    <a:gd name="connsiteX2835" fmla="*/ 324836 w 1439351"/>
                    <a:gd name="connsiteY2835" fmla="*/ 943494 h 1323458"/>
                    <a:gd name="connsiteX2836" fmla="*/ 324727 w 1439351"/>
                    <a:gd name="connsiteY2836" fmla="*/ 943798 h 1323458"/>
                    <a:gd name="connsiteX2837" fmla="*/ 324641 w 1439351"/>
                    <a:gd name="connsiteY2837" fmla="*/ 944113 h 1323458"/>
                    <a:gd name="connsiteX2838" fmla="*/ 323937 w 1439351"/>
                    <a:gd name="connsiteY2838" fmla="*/ 946809 h 1323458"/>
                    <a:gd name="connsiteX2839" fmla="*/ 323864 w 1439351"/>
                    <a:gd name="connsiteY2839" fmla="*/ 947113 h 1323458"/>
                    <a:gd name="connsiteX2840" fmla="*/ 323816 w 1439351"/>
                    <a:gd name="connsiteY2840" fmla="*/ 947416 h 1323458"/>
                    <a:gd name="connsiteX2841" fmla="*/ 323488 w 1439351"/>
                    <a:gd name="connsiteY2841" fmla="*/ 949529 h 1323458"/>
                    <a:gd name="connsiteX2842" fmla="*/ 323257 w 1439351"/>
                    <a:gd name="connsiteY2842" fmla="*/ 951897 h 1323458"/>
                    <a:gd name="connsiteX2843" fmla="*/ 323197 w 1439351"/>
                    <a:gd name="connsiteY2843" fmla="*/ 952613 h 1323458"/>
                    <a:gd name="connsiteX2844" fmla="*/ 323294 w 1439351"/>
                    <a:gd name="connsiteY2844" fmla="*/ 953330 h 1323458"/>
                    <a:gd name="connsiteX2845" fmla="*/ 323573 w 1439351"/>
                    <a:gd name="connsiteY2845" fmla="*/ 955273 h 1323458"/>
                    <a:gd name="connsiteX2846" fmla="*/ 323646 w 1439351"/>
                    <a:gd name="connsiteY2846" fmla="*/ 955795 h 1323458"/>
                    <a:gd name="connsiteX2847" fmla="*/ 323816 w 1439351"/>
                    <a:gd name="connsiteY2847" fmla="*/ 956305 h 1323458"/>
                    <a:gd name="connsiteX2848" fmla="*/ 324459 w 1439351"/>
                    <a:gd name="connsiteY2848" fmla="*/ 958260 h 1323458"/>
                    <a:gd name="connsiteX2849" fmla="*/ 324629 w 1439351"/>
                    <a:gd name="connsiteY2849" fmla="*/ 958770 h 1323458"/>
                    <a:gd name="connsiteX2850" fmla="*/ 324884 w 1439351"/>
                    <a:gd name="connsiteY2850" fmla="*/ 959256 h 1323458"/>
                    <a:gd name="connsiteX2851" fmla="*/ 327167 w 1439351"/>
                    <a:gd name="connsiteY2851" fmla="*/ 963457 h 1323458"/>
                    <a:gd name="connsiteX2852" fmla="*/ 327944 w 1439351"/>
                    <a:gd name="connsiteY2852" fmla="*/ 965473 h 1323458"/>
                    <a:gd name="connsiteX2853" fmla="*/ 328297 w 1439351"/>
                    <a:gd name="connsiteY2853" fmla="*/ 966772 h 1323458"/>
                    <a:gd name="connsiteX2854" fmla="*/ 328394 w 1439351"/>
                    <a:gd name="connsiteY2854" fmla="*/ 967671 h 1323458"/>
                    <a:gd name="connsiteX2855" fmla="*/ 324860 w 1439351"/>
                    <a:gd name="connsiteY2855" fmla="*/ 969577 h 1323458"/>
                    <a:gd name="connsiteX2856" fmla="*/ 307326 w 1439351"/>
                    <a:gd name="connsiteY2856" fmla="*/ 973074 h 1323458"/>
                    <a:gd name="connsiteX2857" fmla="*/ 306403 w 1439351"/>
                    <a:gd name="connsiteY2857" fmla="*/ 973256 h 1323458"/>
                    <a:gd name="connsiteX2858" fmla="*/ 305577 w 1439351"/>
                    <a:gd name="connsiteY2858" fmla="*/ 973706 h 1323458"/>
                    <a:gd name="connsiteX2859" fmla="*/ 299311 w 1439351"/>
                    <a:gd name="connsiteY2859" fmla="*/ 977154 h 1323458"/>
                    <a:gd name="connsiteX2860" fmla="*/ 298850 w 1439351"/>
                    <a:gd name="connsiteY2860" fmla="*/ 977409 h 1323458"/>
                    <a:gd name="connsiteX2861" fmla="*/ 298449 w 1439351"/>
                    <a:gd name="connsiteY2861" fmla="*/ 977737 h 1323458"/>
                    <a:gd name="connsiteX2862" fmla="*/ 296871 w 1439351"/>
                    <a:gd name="connsiteY2862" fmla="*/ 979000 h 1323458"/>
                    <a:gd name="connsiteX2863" fmla="*/ 295486 w 1439351"/>
                    <a:gd name="connsiteY2863" fmla="*/ 979753 h 1323458"/>
                    <a:gd name="connsiteX2864" fmla="*/ 294721 w 1439351"/>
                    <a:gd name="connsiteY2864" fmla="*/ 979947 h 1323458"/>
                    <a:gd name="connsiteX2865" fmla="*/ 292281 w 1439351"/>
                    <a:gd name="connsiteY2865" fmla="*/ 979923 h 1323458"/>
                    <a:gd name="connsiteX2866" fmla="*/ 287047 w 1439351"/>
                    <a:gd name="connsiteY2866" fmla="*/ 978964 h 1323458"/>
                    <a:gd name="connsiteX2867" fmla="*/ 286379 w 1439351"/>
                    <a:gd name="connsiteY2867" fmla="*/ 978842 h 1323458"/>
                    <a:gd name="connsiteX2868" fmla="*/ 285699 w 1439351"/>
                    <a:gd name="connsiteY2868" fmla="*/ 978867 h 1323458"/>
                    <a:gd name="connsiteX2869" fmla="*/ 283052 w 1439351"/>
                    <a:gd name="connsiteY2869" fmla="*/ 978976 h 1323458"/>
                    <a:gd name="connsiteX2870" fmla="*/ 282712 w 1439351"/>
                    <a:gd name="connsiteY2870" fmla="*/ 978988 h 1323458"/>
                    <a:gd name="connsiteX2871" fmla="*/ 282372 w 1439351"/>
                    <a:gd name="connsiteY2871" fmla="*/ 979036 h 1323458"/>
                    <a:gd name="connsiteX2872" fmla="*/ 278413 w 1439351"/>
                    <a:gd name="connsiteY2872" fmla="*/ 979644 h 1323458"/>
                    <a:gd name="connsiteX2873" fmla="*/ 278110 w 1439351"/>
                    <a:gd name="connsiteY2873" fmla="*/ 979692 h 1323458"/>
                    <a:gd name="connsiteX2874" fmla="*/ 277818 w 1439351"/>
                    <a:gd name="connsiteY2874" fmla="*/ 979765 h 1323458"/>
                    <a:gd name="connsiteX2875" fmla="*/ 260928 w 1439351"/>
                    <a:gd name="connsiteY2875" fmla="*/ 984149 h 1323458"/>
                    <a:gd name="connsiteX2876" fmla="*/ 259300 w 1439351"/>
                    <a:gd name="connsiteY2876" fmla="*/ 984574 h 1323458"/>
                    <a:gd name="connsiteX2877" fmla="*/ 258122 w 1439351"/>
                    <a:gd name="connsiteY2877" fmla="*/ 985764 h 1323458"/>
                    <a:gd name="connsiteX2878" fmla="*/ 255548 w 1439351"/>
                    <a:gd name="connsiteY2878" fmla="*/ 988374 h 1323458"/>
                    <a:gd name="connsiteX2879" fmla="*/ 254225 w 1439351"/>
                    <a:gd name="connsiteY2879" fmla="*/ 989710 h 1323458"/>
                    <a:gd name="connsiteX2880" fmla="*/ 253897 w 1439351"/>
                    <a:gd name="connsiteY2880" fmla="*/ 991568 h 1323458"/>
                    <a:gd name="connsiteX2881" fmla="*/ 252233 w 1439351"/>
                    <a:gd name="connsiteY2881" fmla="*/ 1000869 h 1323458"/>
                    <a:gd name="connsiteX2882" fmla="*/ 250388 w 1439351"/>
                    <a:gd name="connsiteY2882" fmla="*/ 1003456 h 1323458"/>
                    <a:gd name="connsiteX2883" fmla="*/ 238196 w 1439351"/>
                    <a:gd name="connsiteY2883" fmla="*/ 1013571 h 1323458"/>
                    <a:gd name="connsiteX2884" fmla="*/ 237820 w 1439351"/>
                    <a:gd name="connsiteY2884" fmla="*/ 1013875 h 1323458"/>
                    <a:gd name="connsiteX2885" fmla="*/ 237504 w 1439351"/>
                    <a:gd name="connsiteY2885" fmla="*/ 1014239 h 1323458"/>
                    <a:gd name="connsiteX2886" fmla="*/ 236180 w 1439351"/>
                    <a:gd name="connsiteY2886" fmla="*/ 1015757 h 1323458"/>
                    <a:gd name="connsiteX2887" fmla="*/ 235755 w 1439351"/>
                    <a:gd name="connsiteY2887" fmla="*/ 1016243 h 1323458"/>
                    <a:gd name="connsiteX2888" fmla="*/ 235452 w 1439351"/>
                    <a:gd name="connsiteY2888" fmla="*/ 1016801 h 1323458"/>
                    <a:gd name="connsiteX2889" fmla="*/ 234760 w 1439351"/>
                    <a:gd name="connsiteY2889" fmla="*/ 1018040 h 1323458"/>
                    <a:gd name="connsiteX2890" fmla="*/ 233885 w 1439351"/>
                    <a:gd name="connsiteY2890" fmla="*/ 1019594 h 1323458"/>
                    <a:gd name="connsiteX2891" fmla="*/ 233994 w 1439351"/>
                    <a:gd name="connsiteY2891" fmla="*/ 1021367 h 1323458"/>
                    <a:gd name="connsiteX2892" fmla="*/ 234116 w 1439351"/>
                    <a:gd name="connsiteY2892" fmla="*/ 1023261 h 1323458"/>
                    <a:gd name="connsiteX2893" fmla="*/ 234165 w 1439351"/>
                    <a:gd name="connsiteY2893" fmla="*/ 1024135 h 1323458"/>
                    <a:gd name="connsiteX2894" fmla="*/ 234468 w 1439351"/>
                    <a:gd name="connsiteY2894" fmla="*/ 1024961 h 1323458"/>
                    <a:gd name="connsiteX2895" fmla="*/ 235318 w 1439351"/>
                    <a:gd name="connsiteY2895" fmla="*/ 1027280 h 1323458"/>
                    <a:gd name="connsiteX2896" fmla="*/ 235609 w 1439351"/>
                    <a:gd name="connsiteY2896" fmla="*/ 1028082 h 1323458"/>
                    <a:gd name="connsiteX2897" fmla="*/ 236120 w 1439351"/>
                    <a:gd name="connsiteY2897" fmla="*/ 1028774 h 1323458"/>
                    <a:gd name="connsiteX2898" fmla="*/ 239119 w 1439351"/>
                    <a:gd name="connsiteY2898" fmla="*/ 1032878 h 1323458"/>
                    <a:gd name="connsiteX2899" fmla="*/ 239374 w 1439351"/>
                    <a:gd name="connsiteY2899" fmla="*/ 1033231 h 1323458"/>
                    <a:gd name="connsiteX2900" fmla="*/ 239665 w 1439351"/>
                    <a:gd name="connsiteY2900" fmla="*/ 1033534 h 1323458"/>
                    <a:gd name="connsiteX2901" fmla="*/ 241620 w 1439351"/>
                    <a:gd name="connsiteY2901" fmla="*/ 1035538 h 1323458"/>
                    <a:gd name="connsiteX2902" fmla="*/ 243551 w 1439351"/>
                    <a:gd name="connsiteY2902" fmla="*/ 1038124 h 1323458"/>
                    <a:gd name="connsiteX2903" fmla="*/ 252768 w 1439351"/>
                    <a:gd name="connsiteY2903" fmla="*/ 1057480 h 1323458"/>
                    <a:gd name="connsiteX2904" fmla="*/ 252937 w 1439351"/>
                    <a:gd name="connsiteY2904" fmla="*/ 1057844 h 1323458"/>
                    <a:gd name="connsiteX2905" fmla="*/ 253156 w 1439351"/>
                    <a:gd name="connsiteY2905" fmla="*/ 1058172 h 1323458"/>
                    <a:gd name="connsiteX2906" fmla="*/ 254977 w 1439351"/>
                    <a:gd name="connsiteY2906" fmla="*/ 1060989 h 1323458"/>
                    <a:gd name="connsiteX2907" fmla="*/ 255402 w 1439351"/>
                    <a:gd name="connsiteY2907" fmla="*/ 1062422 h 1323458"/>
                    <a:gd name="connsiteX2908" fmla="*/ 255488 w 1439351"/>
                    <a:gd name="connsiteY2908" fmla="*/ 1063005 h 1323458"/>
                    <a:gd name="connsiteX2909" fmla="*/ 254722 w 1439351"/>
                    <a:gd name="connsiteY2909" fmla="*/ 1066247 h 1323458"/>
                    <a:gd name="connsiteX2910" fmla="*/ 252695 w 1439351"/>
                    <a:gd name="connsiteY2910" fmla="*/ 1069271 h 1323458"/>
                    <a:gd name="connsiteX2911" fmla="*/ 252282 w 1439351"/>
                    <a:gd name="connsiteY2911" fmla="*/ 1069890 h 1323458"/>
                    <a:gd name="connsiteX2912" fmla="*/ 252027 w 1439351"/>
                    <a:gd name="connsiteY2912" fmla="*/ 1070594 h 1323458"/>
                    <a:gd name="connsiteX2913" fmla="*/ 251395 w 1439351"/>
                    <a:gd name="connsiteY2913" fmla="*/ 1072343 h 1323458"/>
                    <a:gd name="connsiteX2914" fmla="*/ 251250 w 1439351"/>
                    <a:gd name="connsiteY2914" fmla="*/ 1072768 h 1323458"/>
                    <a:gd name="connsiteX2915" fmla="*/ 251165 w 1439351"/>
                    <a:gd name="connsiteY2915" fmla="*/ 1073217 h 1323458"/>
                    <a:gd name="connsiteX2916" fmla="*/ 250533 w 1439351"/>
                    <a:gd name="connsiteY2916" fmla="*/ 1076374 h 1323458"/>
                    <a:gd name="connsiteX2917" fmla="*/ 249975 w 1439351"/>
                    <a:gd name="connsiteY2917" fmla="*/ 1080600 h 1323458"/>
                    <a:gd name="connsiteX2918" fmla="*/ 248894 w 1439351"/>
                    <a:gd name="connsiteY2918" fmla="*/ 1082106 h 1323458"/>
                    <a:gd name="connsiteX2919" fmla="*/ 248857 w 1439351"/>
                    <a:gd name="connsiteY2919" fmla="*/ 1084000 h 1323458"/>
                    <a:gd name="connsiteX2920" fmla="*/ 248797 w 1439351"/>
                    <a:gd name="connsiteY2920" fmla="*/ 1087096 h 1323458"/>
                    <a:gd name="connsiteX2921" fmla="*/ 248772 w 1439351"/>
                    <a:gd name="connsiteY2921" fmla="*/ 1088529 h 1323458"/>
                    <a:gd name="connsiteX2922" fmla="*/ 249380 w 1439351"/>
                    <a:gd name="connsiteY2922" fmla="*/ 1089816 h 1323458"/>
                    <a:gd name="connsiteX2923" fmla="*/ 250521 w 1439351"/>
                    <a:gd name="connsiteY2923" fmla="*/ 1092221 h 1323458"/>
                    <a:gd name="connsiteX2924" fmla="*/ 250242 w 1439351"/>
                    <a:gd name="connsiteY2924" fmla="*/ 1093933 h 1323458"/>
                    <a:gd name="connsiteX2925" fmla="*/ 248772 w 1439351"/>
                    <a:gd name="connsiteY2925" fmla="*/ 1096738 h 1323458"/>
                    <a:gd name="connsiteX2926" fmla="*/ 247145 w 1439351"/>
                    <a:gd name="connsiteY2926" fmla="*/ 1098790 h 1323458"/>
                    <a:gd name="connsiteX2927" fmla="*/ 237783 w 1439351"/>
                    <a:gd name="connsiteY2927" fmla="*/ 1107302 h 1323458"/>
                    <a:gd name="connsiteX2928" fmla="*/ 232732 w 1439351"/>
                    <a:gd name="connsiteY2928" fmla="*/ 1109695 h 1323458"/>
                    <a:gd name="connsiteX2929" fmla="*/ 232112 w 1439351"/>
                    <a:gd name="connsiteY2929" fmla="*/ 1109986 h 1323458"/>
                    <a:gd name="connsiteX2930" fmla="*/ 231590 w 1439351"/>
                    <a:gd name="connsiteY2930" fmla="*/ 1110423 h 1323458"/>
                    <a:gd name="connsiteX2931" fmla="*/ 223042 w 1439351"/>
                    <a:gd name="connsiteY2931" fmla="*/ 1117175 h 1323458"/>
                    <a:gd name="connsiteX2932" fmla="*/ 222374 w 1439351"/>
                    <a:gd name="connsiteY2932" fmla="*/ 1117697 h 1323458"/>
                    <a:gd name="connsiteX2933" fmla="*/ 221876 w 1439351"/>
                    <a:gd name="connsiteY2933" fmla="*/ 1118389 h 1323458"/>
                    <a:gd name="connsiteX2934" fmla="*/ 219751 w 1439351"/>
                    <a:gd name="connsiteY2934" fmla="*/ 1121340 h 1323458"/>
                    <a:gd name="connsiteX2935" fmla="*/ 218609 w 1439351"/>
                    <a:gd name="connsiteY2935" fmla="*/ 1122930 h 1323458"/>
                    <a:gd name="connsiteX2936" fmla="*/ 218609 w 1439351"/>
                    <a:gd name="connsiteY2936" fmla="*/ 1124885 h 1323458"/>
                    <a:gd name="connsiteX2937" fmla="*/ 218609 w 1439351"/>
                    <a:gd name="connsiteY2937" fmla="*/ 1127338 h 1323458"/>
                    <a:gd name="connsiteX2938" fmla="*/ 218609 w 1439351"/>
                    <a:gd name="connsiteY2938" fmla="*/ 1128480 h 1323458"/>
                    <a:gd name="connsiteX2939" fmla="*/ 219022 w 1439351"/>
                    <a:gd name="connsiteY2939" fmla="*/ 1129548 h 1323458"/>
                    <a:gd name="connsiteX2940" fmla="*/ 219872 w 1439351"/>
                    <a:gd name="connsiteY2940" fmla="*/ 1131722 h 1323458"/>
                    <a:gd name="connsiteX2941" fmla="*/ 220322 w 1439351"/>
                    <a:gd name="connsiteY2941" fmla="*/ 1132875 h 1323458"/>
                    <a:gd name="connsiteX2942" fmla="*/ 221196 w 1439351"/>
                    <a:gd name="connsiteY2942" fmla="*/ 1133762 h 1323458"/>
                    <a:gd name="connsiteX2943" fmla="*/ 222750 w 1439351"/>
                    <a:gd name="connsiteY2943" fmla="*/ 1135340 h 1323458"/>
                    <a:gd name="connsiteX2944" fmla="*/ 223855 w 1439351"/>
                    <a:gd name="connsiteY2944" fmla="*/ 1136470 h 1323458"/>
                    <a:gd name="connsiteX2945" fmla="*/ 225373 w 1439351"/>
                    <a:gd name="connsiteY2945" fmla="*/ 1136919 h 1323458"/>
                    <a:gd name="connsiteX2946" fmla="*/ 225628 w 1439351"/>
                    <a:gd name="connsiteY2946" fmla="*/ 1136992 h 1323458"/>
                    <a:gd name="connsiteX2947" fmla="*/ 229198 w 1439351"/>
                    <a:gd name="connsiteY2947" fmla="*/ 1143391 h 1323458"/>
                    <a:gd name="connsiteX2948" fmla="*/ 229465 w 1439351"/>
                    <a:gd name="connsiteY2948" fmla="*/ 1146281 h 1323458"/>
                    <a:gd name="connsiteX2949" fmla="*/ 229441 w 1439351"/>
                    <a:gd name="connsiteY2949" fmla="*/ 1149827 h 1323458"/>
                    <a:gd name="connsiteX2950" fmla="*/ 229441 w 1439351"/>
                    <a:gd name="connsiteY2950" fmla="*/ 1150398 h 1323458"/>
                    <a:gd name="connsiteX2951" fmla="*/ 229550 w 1439351"/>
                    <a:gd name="connsiteY2951" fmla="*/ 1150956 h 1323458"/>
                    <a:gd name="connsiteX2952" fmla="*/ 230242 w 1439351"/>
                    <a:gd name="connsiteY2952" fmla="*/ 1154599 h 1323458"/>
                    <a:gd name="connsiteX2953" fmla="*/ 230461 w 1439351"/>
                    <a:gd name="connsiteY2953" fmla="*/ 1155765 h 1323458"/>
                    <a:gd name="connsiteX2954" fmla="*/ 231092 w 1439351"/>
                    <a:gd name="connsiteY2954" fmla="*/ 1156761 h 1323458"/>
                    <a:gd name="connsiteX2955" fmla="*/ 233047 w 1439351"/>
                    <a:gd name="connsiteY2955" fmla="*/ 1159808 h 1323458"/>
                    <a:gd name="connsiteX2956" fmla="*/ 233327 w 1439351"/>
                    <a:gd name="connsiteY2956" fmla="*/ 1160246 h 1323458"/>
                    <a:gd name="connsiteX2957" fmla="*/ 233679 w 1439351"/>
                    <a:gd name="connsiteY2957" fmla="*/ 1160622 h 1323458"/>
                    <a:gd name="connsiteX2958" fmla="*/ 235354 w 1439351"/>
                    <a:gd name="connsiteY2958" fmla="*/ 1162456 h 1323458"/>
                    <a:gd name="connsiteX2959" fmla="*/ 236095 w 1439351"/>
                    <a:gd name="connsiteY2959" fmla="*/ 1163767 h 1323458"/>
                    <a:gd name="connsiteX2960" fmla="*/ 236460 w 1439351"/>
                    <a:gd name="connsiteY2960" fmla="*/ 1166487 h 1323458"/>
                    <a:gd name="connsiteX2961" fmla="*/ 235525 w 1439351"/>
                    <a:gd name="connsiteY2961" fmla="*/ 1169523 h 1323458"/>
                    <a:gd name="connsiteX2962" fmla="*/ 234869 w 1439351"/>
                    <a:gd name="connsiteY2962" fmla="*/ 1171660 h 1323458"/>
                    <a:gd name="connsiteX2963" fmla="*/ 235755 w 1439351"/>
                    <a:gd name="connsiteY2963" fmla="*/ 1173712 h 1323458"/>
                    <a:gd name="connsiteX2964" fmla="*/ 236265 w 1439351"/>
                    <a:gd name="connsiteY2964" fmla="*/ 1174890 h 1323458"/>
                    <a:gd name="connsiteX2965" fmla="*/ 236629 w 1439351"/>
                    <a:gd name="connsiteY2965" fmla="*/ 1175740 h 1323458"/>
                    <a:gd name="connsiteX2966" fmla="*/ 237225 w 1439351"/>
                    <a:gd name="connsiteY2966" fmla="*/ 1176444 h 1323458"/>
                    <a:gd name="connsiteX2967" fmla="*/ 237783 w 1439351"/>
                    <a:gd name="connsiteY2967" fmla="*/ 1177088 h 1323458"/>
                    <a:gd name="connsiteX2968" fmla="*/ 237662 w 1439351"/>
                    <a:gd name="connsiteY2968" fmla="*/ 1178569 h 1323458"/>
                    <a:gd name="connsiteX2969" fmla="*/ 236909 w 1439351"/>
                    <a:gd name="connsiteY2969" fmla="*/ 1181302 h 1323458"/>
                    <a:gd name="connsiteX2970" fmla="*/ 235476 w 1439351"/>
                    <a:gd name="connsiteY2970" fmla="*/ 1184022 h 1323458"/>
                    <a:gd name="connsiteX2971" fmla="*/ 231007 w 1439351"/>
                    <a:gd name="connsiteY2971" fmla="*/ 1190056 h 1323458"/>
                    <a:gd name="connsiteX2972" fmla="*/ 230449 w 1439351"/>
                    <a:gd name="connsiteY2972" fmla="*/ 1190809 h 1323458"/>
                    <a:gd name="connsiteX2973" fmla="*/ 230145 w 1439351"/>
                    <a:gd name="connsiteY2973" fmla="*/ 1191708 h 1323458"/>
                    <a:gd name="connsiteX2974" fmla="*/ 229222 w 1439351"/>
                    <a:gd name="connsiteY2974" fmla="*/ 1194404 h 1323458"/>
                    <a:gd name="connsiteX2975" fmla="*/ 227194 w 1439351"/>
                    <a:gd name="connsiteY2975" fmla="*/ 1200342 h 1323458"/>
                    <a:gd name="connsiteX2976" fmla="*/ 231493 w 1439351"/>
                    <a:gd name="connsiteY2976" fmla="*/ 1201653 h 1323458"/>
                    <a:gd name="connsiteX2977" fmla="*/ 232926 w 1439351"/>
                    <a:gd name="connsiteY2977" fmla="*/ 1204203 h 1323458"/>
                    <a:gd name="connsiteX2978" fmla="*/ 233181 w 1439351"/>
                    <a:gd name="connsiteY2978" fmla="*/ 1204834 h 1323458"/>
                    <a:gd name="connsiteX2979" fmla="*/ 233909 w 1439351"/>
                    <a:gd name="connsiteY2979" fmla="*/ 1206656 h 1323458"/>
                    <a:gd name="connsiteX2980" fmla="*/ 235561 w 1439351"/>
                    <a:gd name="connsiteY2980" fmla="*/ 1207700 h 1323458"/>
                    <a:gd name="connsiteX2981" fmla="*/ 237382 w 1439351"/>
                    <a:gd name="connsiteY2981" fmla="*/ 1208854 h 1323458"/>
                    <a:gd name="connsiteX2982" fmla="*/ 238402 w 1439351"/>
                    <a:gd name="connsiteY2982" fmla="*/ 1209510 h 1323458"/>
                    <a:gd name="connsiteX2983" fmla="*/ 238609 w 1439351"/>
                    <a:gd name="connsiteY2983" fmla="*/ 1209546 h 1323458"/>
                    <a:gd name="connsiteX2984" fmla="*/ 239277 w 1439351"/>
                    <a:gd name="connsiteY2984" fmla="*/ 1211489 h 1323458"/>
                    <a:gd name="connsiteX2985" fmla="*/ 239835 w 1439351"/>
                    <a:gd name="connsiteY2985" fmla="*/ 1213092 h 1323458"/>
                    <a:gd name="connsiteX2986" fmla="*/ 241134 w 1439351"/>
                    <a:gd name="connsiteY2986" fmla="*/ 1214172 h 1323458"/>
                    <a:gd name="connsiteX2987" fmla="*/ 243818 w 1439351"/>
                    <a:gd name="connsiteY2987" fmla="*/ 1216407 h 1323458"/>
                    <a:gd name="connsiteX2988" fmla="*/ 247582 w 1439351"/>
                    <a:gd name="connsiteY2988" fmla="*/ 1218981 h 1323458"/>
                    <a:gd name="connsiteX2989" fmla="*/ 248044 w 1439351"/>
                    <a:gd name="connsiteY2989" fmla="*/ 1219285 h 1323458"/>
                    <a:gd name="connsiteX2990" fmla="*/ 248554 w 1439351"/>
                    <a:gd name="connsiteY2990" fmla="*/ 1219515 h 1323458"/>
                    <a:gd name="connsiteX2991" fmla="*/ 251917 w 1439351"/>
                    <a:gd name="connsiteY2991" fmla="*/ 1220972 h 1323458"/>
                    <a:gd name="connsiteX2992" fmla="*/ 249999 w 1439351"/>
                    <a:gd name="connsiteY2992" fmla="*/ 1224227 h 1323458"/>
                    <a:gd name="connsiteX2993" fmla="*/ 249574 w 1439351"/>
                    <a:gd name="connsiteY2993" fmla="*/ 1224943 h 1323458"/>
                    <a:gd name="connsiteX2994" fmla="*/ 249355 w 1439351"/>
                    <a:gd name="connsiteY2994" fmla="*/ 1225745 h 1323458"/>
                    <a:gd name="connsiteX2995" fmla="*/ 248821 w 1439351"/>
                    <a:gd name="connsiteY2995" fmla="*/ 1227724 h 1323458"/>
                    <a:gd name="connsiteX2996" fmla="*/ 248566 w 1439351"/>
                    <a:gd name="connsiteY2996" fmla="*/ 1228720 h 1323458"/>
                    <a:gd name="connsiteX2997" fmla="*/ 248639 w 1439351"/>
                    <a:gd name="connsiteY2997" fmla="*/ 1229740 h 1323458"/>
                    <a:gd name="connsiteX2998" fmla="*/ 248809 w 1439351"/>
                    <a:gd name="connsiteY2998" fmla="*/ 1232071 h 1323458"/>
                    <a:gd name="connsiteX2999" fmla="*/ 248894 w 1439351"/>
                    <a:gd name="connsiteY2999" fmla="*/ 1233188 h 1323458"/>
                    <a:gd name="connsiteX3000" fmla="*/ 249368 w 1439351"/>
                    <a:gd name="connsiteY3000" fmla="*/ 1234196 h 1323458"/>
                    <a:gd name="connsiteX3001" fmla="*/ 250400 w 1439351"/>
                    <a:gd name="connsiteY3001" fmla="*/ 1236406 h 1323458"/>
                    <a:gd name="connsiteX3002" fmla="*/ 250703 w 1439351"/>
                    <a:gd name="connsiteY3002" fmla="*/ 1237074 h 1323458"/>
                    <a:gd name="connsiteX3003" fmla="*/ 251165 w 1439351"/>
                    <a:gd name="connsiteY3003" fmla="*/ 1237645 h 1323458"/>
                    <a:gd name="connsiteX3004" fmla="*/ 253059 w 1439351"/>
                    <a:gd name="connsiteY3004" fmla="*/ 1240013 h 1323458"/>
                    <a:gd name="connsiteX3005" fmla="*/ 253290 w 1439351"/>
                    <a:gd name="connsiteY3005" fmla="*/ 1240292 h 1323458"/>
                    <a:gd name="connsiteX3006" fmla="*/ 253557 w 1439351"/>
                    <a:gd name="connsiteY3006" fmla="*/ 1240547 h 1323458"/>
                    <a:gd name="connsiteX3007" fmla="*/ 255573 w 1439351"/>
                    <a:gd name="connsiteY3007" fmla="*/ 1242514 h 1323458"/>
                    <a:gd name="connsiteX3008" fmla="*/ 256253 w 1439351"/>
                    <a:gd name="connsiteY3008" fmla="*/ 1243182 h 1323458"/>
                    <a:gd name="connsiteX3009" fmla="*/ 257102 w 1439351"/>
                    <a:gd name="connsiteY3009" fmla="*/ 1243607 h 1323458"/>
                    <a:gd name="connsiteX3010" fmla="*/ 259737 w 1439351"/>
                    <a:gd name="connsiteY3010" fmla="*/ 1244918 h 1323458"/>
                    <a:gd name="connsiteX3011" fmla="*/ 260757 w 1439351"/>
                    <a:gd name="connsiteY3011" fmla="*/ 1245428 h 1323458"/>
                    <a:gd name="connsiteX3012" fmla="*/ 261899 w 1439351"/>
                    <a:gd name="connsiteY3012" fmla="*/ 1245525 h 1323458"/>
                    <a:gd name="connsiteX3013" fmla="*/ 264728 w 1439351"/>
                    <a:gd name="connsiteY3013" fmla="*/ 1245780 h 1323458"/>
                    <a:gd name="connsiteX3014" fmla="*/ 266016 w 1439351"/>
                    <a:gd name="connsiteY3014" fmla="*/ 1245890 h 1323458"/>
                    <a:gd name="connsiteX3015" fmla="*/ 267242 w 1439351"/>
                    <a:gd name="connsiteY3015" fmla="*/ 1245477 h 1323458"/>
                    <a:gd name="connsiteX3016" fmla="*/ 271419 w 1439351"/>
                    <a:gd name="connsiteY3016" fmla="*/ 1244044 h 1323458"/>
                    <a:gd name="connsiteX3017" fmla="*/ 272160 w 1439351"/>
                    <a:gd name="connsiteY3017" fmla="*/ 1243789 h 1323458"/>
                    <a:gd name="connsiteX3018" fmla="*/ 272803 w 1439351"/>
                    <a:gd name="connsiteY3018" fmla="*/ 1243364 h 1323458"/>
                    <a:gd name="connsiteX3019" fmla="*/ 275742 w 1439351"/>
                    <a:gd name="connsiteY3019" fmla="*/ 1241421 h 1323458"/>
                    <a:gd name="connsiteX3020" fmla="*/ 276155 w 1439351"/>
                    <a:gd name="connsiteY3020" fmla="*/ 1241154 h 1323458"/>
                    <a:gd name="connsiteX3021" fmla="*/ 276519 w 1439351"/>
                    <a:gd name="connsiteY3021" fmla="*/ 1240826 h 1323458"/>
                    <a:gd name="connsiteX3022" fmla="*/ 278632 w 1439351"/>
                    <a:gd name="connsiteY3022" fmla="*/ 1238871 h 1323458"/>
                    <a:gd name="connsiteX3023" fmla="*/ 279057 w 1439351"/>
                    <a:gd name="connsiteY3023" fmla="*/ 1238483 h 1323458"/>
                    <a:gd name="connsiteX3024" fmla="*/ 279397 w 1439351"/>
                    <a:gd name="connsiteY3024" fmla="*/ 1238021 h 1323458"/>
                    <a:gd name="connsiteX3025" fmla="*/ 280781 w 1439351"/>
                    <a:gd name="connsiteY3025" fmla="*/ 1236151 h 1323458"/>
                    <a:gd name="connsiteX3026" fmla="*/ 281145 w 1439351"/>
                    <a:gd name="connsiteY3026" fmla="*/ 1235653 h 1323458"/>
                    <a:gd name="connsiteX3027" fmla="*/ 281401 w 1439351"/>
                    <a:gd name="connsiteY3027" fmla="*/ 1235095 h 1323458"/>
                    <a:gd name="connsiteX3028" fmla="*/ 282141 w 1439351"/>
                    <a:gd name="connsiteY3028" fmla="*/ 1233492 h 1323458"/>
                    <a:gd name="connsiteX3029" fmla="*/ 282518 w 1439351"/>
                    <a:gd name="connsiteY3029" fmla="*/ 1232690 h 1323458"/>
                    <a:gd name="connsiteX3030" fmla="*/ 282639 w 1439351"/>
                    <a:gd name="connsiteY3030" fmla="*/ 1231816 h 1323458"/>
                    <a:gd name="connsiteX3031" fmla="*/ 282882 w 1439351"/>
                    <a:gd name="connsiteY3031" fmla="*/ 1230152 h 1323458"/>
                    <a:gd name="connsiteX3032" fmla="*/ 283052 w 1439351"/>
                    <a:gd name="connsiteY3032" fmla="*/ 1227724 h 1323458"/>
                    <a:gd name="connsiteX3033" fmla="*/ 283185 w 1439351"/>
                    <a:gd name="connsiteY3033" fmla="*/ 1226582 h 1323458"/>
                    <a:gd name="connsiteX3034" fmla="*/ 283538 w 1439351"/>
                    <a:gd name="connsiteY3034" fmla="*/ 1225417 h 1323458"/>
                    <a:gd name="connsiteX3035" fmla="*/ 283987 w 1439351"/>
                    <a:gd name="connsiteY3035" fmla="*/ 1224506 h 1323458"/>
                    <a:gd name="connsiteX3036" fmla="*/ 284145 w 1439351"/>
                    <a:gd name="connsiteY3036" fmla="*/ 1224275 h 1323458"/>
                    <a:gd name="connsiteX3037" fmla="*/ 285796 w 1439351"/>
                    <a:gd name="connsiteY3037" fmla="*/ 1224967 h 1323458"/>
                    <a:gd name="connsiteX3038" fmla="*/ 289986 w 1439351"/>
                    <a:gd name="connsiteY3038" fmla="*/ 1227372 h 1323458"/>
                    <a:gd name="connsiteX3039" fmla="*/ 299797 w 1439351"/>
                    <a:gd name="connsiteY3039" fmla="*/ 1235605 h 1323458"/>
                    <a:gd name="connsiteX3040" fmla="*/ 300101 w 1439351"/>
                    <a:gd name="connsiteY3040" fmla="*/ 1235860 h 1323458"/>
                    <a:gd name="connsiteX3041" fmla="*/ 300429 w 1439351"/>
                    <a:gd name="connsiteY3041" fmla="*/ 1236078 h 1323458"/>
                    <a:gd name="connsiteX3042" fmla="*/ 303719 w 1439351"/>
                    <a:gd name="connsiteY3042" fmla="*/ 1238179 h 1323458"/>
                    <a:gd name="connsiteX3043" fmla="*/ 308819 w 1439351"/>
                    <a:gd name="connsiteY3043" fmla="*/ 1243327 h 1323458"/>
                    <a:gd name="connsiteX3044" fmla="*/ 309208 w 1439351"/>
                    <a:gd name="connsiteY3044" fmla="*/ 1243716 h 1323458"/>
                    <a:gd name="connsiteX3045" fmla="*/ 309669 w 1439351"/>
                    <a:gd name="connsiteY3045" fmla="*/ 1244032 h 1323458"/>
                    <a:gd name="connsiteX3046" fmla="*/ 312535 w 1439351"/>
                    <a:gd name="connsiteY3046" fmla="*/ 1246035 h 1323458"/>
                    <a:gd name="connsiteX3047" fmla="*/ 312984 w 1439351"/>
                    <a:gd name="connsiteY3047" fmla="*/ 1246351 h 1323458"/>
                    <a:gd name="connsiteX3048" fmla="*/ 313494 w 1439351"/>
                    <a:gd name="connsiteY3048" fmla="*/ 1246582 h 1323458"/>
                    <a:gd name="connsiteX3049" fmla="*/ 316773 w 1439351"/>
                    <a:gd name="connsiteY3049" fmla="*/ 1248075 h 1323458"/>
                    <a:gd name="connsiteX3050" fmla="*/ 317174 w 1439351"/>
                    <a:gd name="connsiteY3050" fmla="*/ 1248258 h 1323458"/>
                    <a:gd name="connsiteX3051" fmla="*/ 317599 w 1439351"/>
                    <a:gd name="connsiteY3051" fmla="*/ 1248379 h 1323458"/>
                    <a:gd name="connsiteX3052" fmla="*/ 320464 w 1439351"/>
                    <a:gd name="connsiteY3052" fmla="*/ 1249217 h 1323458"/>
                    <a:gd name="connsiteX3053" fmla="*/ 321023 w 1439351"/>
                    <a:gd name="connsiteY3053" fmla="*/ 1249387 h 1323458"/>
                    <a:gd name="connsiteX3054" fmla="*/ 321606 w 1439351"/>
                    <a:gd name="connsiteY3054" fmla="*/ 1249435 h 1323458"/>
                    <a:gd name="connsiteX3055" fmla="*/ 327629 w 1439351"/>
                    <a:gd name="connsiteY3055" fmla="*/ 1249982 h 1323458"/>
                    <a:gd name="connsiteX3056" fmla="*/ 327969 w 1439351"/>
                    <a:gd name="connsiteY3056" fmla="*/ 1250006 h 1323458"/>
                    <a:gd name="connsiteX3057" fmla="*/ 328309 w 1439351"/>
                    <a:gd name="connsiteY3057" fmla="*/ 1250006 h 1323458"/>
                    <a:gd name="connsiteX3058" fmla="*/ 328588 w 1439351"/>
                    <a:gd name="connsiteY3058" fmla="*/ 1250006 h 1323458"/>
                    <a:gd name="connsiteX3059" fmla="*/ 328685 w 1439351"/>
                    <a:gd name="connsiteY3059" fmla="*/ 1250844 h 1323458"/>
                    <a:gd name="connsiteX3060" fmla="*/ 328794 w 1439351"/>
                    <a:gd name="connsiteY3060" fmla="*/ 1251743 h 1323458"/>
                    <a:gd name="connsiteX3061" fmla="*/ 329171 w 1439351"/>
                    <a:gd name="connsiteY3061" fmla="*/ 1252568 h 1323458"/>
                    <a:gd name="connsiteX3062" fmla="*/ 330385 w 1439351"/>
                    <a:gd name="connsiteY3062" fmla="*/ 1255264 h 1323458"/>
                    <a:gd name="connsiteX3063" fmla="*/ 330907 w 1439351"/>
                    <a:gd name="connsiteY3063" fmla="*/ 1256442 h 1323458"/>
                    <a:gd name="connsiteX3064" fmla="*/ 331867 w 1439351"/>
                    <a:gd name="connsiteY3064" fmla="*/ 1257292 h 1323458"/>
                    <a:gd name="connsiteX3065" fmla="*/ 334332 w 1439351"/>
                    <a:gd name="connsiteY3065" fmla="*/ 1259502 h 1323458"/>
                    <a:gd name="connsiteX3066" fmla="*/ 335036 w 1439351"/>
                    <a:gd name="connsiteY3066" fmla="*/ 1260133 h 1323458"/>
                    <a:gd name="connsiteX3067" fmla="*/ 335886 w 1439351"/>
                    <a:gd name="connsiteY3067" fmla="*/ 1260522 h 1323458"/>
                    <a:gd name="connsiteX3068" fmla="*/ 339055 w 1439351"/>
                    <a:gd name="connsiteY3068" fmla="*/ 1261955 h 1323458"/>
                    <a:gd name="connsiteX3069" fmla="*/ 340755 w 1439351"/>
                    <a:gd name="connsiteY3069" fmla="*/ 1262720 h 1323458"/>
                    <a:gd name="connsiteX3070" fmla="*/ 342589 w 1439351"/>
                    <a:gd name="connsiteY3070" fmla="*/ 1262404 h 1323458"/>
                    <a:gd name="connsiteX3071" fmla="*/ 345904 w 1439351"/>
                    <a:gd name="connsiteY3071" fmla="*/ 1261833 h 1323458"/>
                    <a:gd name="connsiteX3072" fmla="*/ 347167 w 1439351"/>
                    <a:gd name="connsiteY3072" fmla="*/ 1261615 h 1323458"/>
                    <a:gd name="connsiteX3073" fmla="*/ 348235 w 1439351"/>
                    <a:gd name="connsiteY3073" fmla="*/ 1260911 h 1323458"/>
                    <a:gd name="connsiteX3074" fmla="*/ 351222 w 1439351"/>
                    <a:gd name="connsiteY3074" fmla="*/ 1258931 h 1323458"/>
                    <a:gd name="connsiteX3075" fmla="*/ 351732 w 1439351"/>
                    <a:gd name="connsiteY3075" fmla="*/ 1258591 h 1323458"/>
                    <a:gd name="connsiteX3076" fmla="*/ 352157 w 1439351"/>
                    <a:gd name="connsiteY3076" fmla="*/ 1258166 h 1323458"/>
                    <a:gd name="connsiteX3077" fmla="*/ 356990 w 1439351"/>
                    <a:gd name="connsiteY3077" fmla="*/ 1253346 h 1323458"/>
                    <a:gd name="connsiteX3078" fmla="*/ 357221 w 1439351"/>
                    <a:gd name="connsiteY3078" fmla="*/ 1253115 h 1323458"/>
                    <a:gd name="connsiteX3079" fmla="*/ 357428 w 1439351"/>
                    <a:gd name="connsiteY3079" fmla="*/ 1252860 h 1323458"/>
                    <a:gd name="connsiteX3080" fmla="*/ 360293 w 1439351"/>
                    <a:gd name="connsiteY3080" fmla="*/ 1249326 h 1323458"/>
                    <a:gd name="connsiteX3081" fmla="*/ 360706 w 1439351"/>
                    <a:gd name="connsiteY3081" fmla="*/ 1248816 h 1323458"/>
                    <a:gd name="connsiteX3082" fmla="*/ 360997 w 1439351"/>
                    <a:gd name="connsiteY3082" fmla="*/ 1248233 h 1323458"/>
                    <a:gd name="connsiteX3083" fmla="*/ 363402 w 1439351"/>
                    <a:gd name="connsiteY3083" fmla="*/ 1243437 h 1323458"/>
                    <a:gd name="connsiteX3084" fmla="*/ 363620 w 1439351"/>
                    <a:gd name="connsiteY3084" fmla="*/ 1243024 h 1323458"/>
                    <a:gd name="connsiteX3085" fmla="*/ 363766 w 1439351"/>
                    <a:gd name="connsiteY3085" fmla="*/ 1242575 h 1323458"/>
                    <a:gd name="connsiteX3086" fmla="*/ 365369 w 1439351"/>
                    <a:gd name="connsiteY3086" fmla="*/ 1237584 h 1323458"/>
                    <a:gd name="connsiteX3087" fmla="*/ 367020 w 1439351"/>
                    <a:gd name="connsiteY3087" fmla="*/ 1234560 h 1323458"/>
                    <a:gd name="connsiteX3088" fmla="*/ 372594 w 1439351"/>
                    <a:gd name="connsiteY3088" fmla="*/ 1229460 h 1323458"/>
                    <a:gd name="connsiteX3089" fmla="*/ 374549 w 1439351"/>
                    <a:gd name="connsiteY3089" fmla="*/ 1227760 h 1323458"/>
                    <a:gd name="connsiteX3090" fmla="*/ 376504 w 1439351"/>
                    <a:gd name="connsiteY3090" fmla="*/ 1225745 h 1323458"/>
                    <a:gd name="connsiteX3091" fmla="*/ 376820 w 1439351"/>
                    <a:gd name="connsiteY3091" fmla="*/ 1225417 h 1323458"/>
                    <a:gd name="connsiteX3092" fmla="*/ 377075 w 1439351"/>
                    <a:gd name="connsiteY3092" fmla="*/ 1225040 h 1323458"/>
                    <a:gd name="connsiteX3093" fmla="*/ 378860 w 1439351"/>
                    <a:gd name="connsiteY3093" fmla="*/ 1222478 h 1323458"/>
                    <a:gd name="connsiteX3094" fmla="*/ 379212 w 1439351"/>
                    <a:gd name="connsiteY3094" fmla="*/ 1221980 h 1323458"/>
                    <a:gd name="connsiteX3095" fmla="*/ 379455 w 1439351"/>
                    <a:gd name="connsiteY3095" fmla="*/ 1221434 h 1323458"/>
                    <a:gd name="connsiteX3096" fmla="*/ 380948 w 1439351"/>
                    <a:gd name="connsiteY3096" fmla="*/ 1218022 h 1323458"/>
                    <a:gd name="connsiteX3097" fmla="*/ 382296 w 1439351"/>
                    <a:gd name="connsiteY3097" fmla="*/ 1214027 h 1323458"/>
                    <a:gd name="connsiteX3098" fmla="*/ 382612 w 1439351"/>
                    <a:gd name="connsiteY3098" fmla="*/ 1213055 h 1323458"/>
                    <a:gd name="connsiteX3099" fmla="*/ 382600 w 1439351"/>
                    <a:gd name="connsiteY3099" fmla="*/ 1212047 h 1323458"/>
                    <a:gd name="connsiteX3100" fmla="*/ 382539 w 1439351"/>
                    <a:gd name="connsiteY3100" fmla="*/ 1206595 h 1323458"/>
                    <a:gd name="connsiteX3101" fmla="*/ 382503 w 1439351"/>
                    <a:gd name="connsiteY3101" fmla="*/ 1203062 h 1323458"/>
                    <a:gd name="connsiteX3102" fmla="*/ 379418 w 1439351"/>
                    <a:gd name="connsiteY3102" fmla="*/ 1201349 h 1323458"/>
                    <a:gd name="connsiteX3103" fmla="*/ 375970 w 1439351"/>
                    <a:gd name="connsiteY3103" fmla="*/ 1199431 h 1323458"/>
                    <a:gd name="connsiteX3104" fmla="*/ 375047 w 1439351"/>
                    <a:gd name="connsiteY3104" fmla="*/ 1198921 h 1323458"/>
                    <a:gd name="connsiteX3105" fmla="*/ 374003 w 1439351"/>
                    <a:gd name="connsiteY3105" fmla="*/ 1198751 h 1323458"/>
                    <a:gd name="connsiteX3106" fmla="*/ 371258 w 1439351"/>
                    <a:gd name="connsiteY3106" fmla="*/ 1198302 h 1323458"/>
                    <a:gd name="connsiteX3107" fmla="*/ 371453 w 1439351"/>
                    <a:gd name="connsiteY3107" fmla="*/ 1197828 h 1323458"/>
                    <a:gd name="connsiteX3108" fmla="*/ 371841 w 1439351"/>
                    <a:gd name="connsiteY3108" fmla="*/ 1196881 h 1323458"/>
                    <a:gd name="connsiteX3109" fmla="*/ 371902 w 1439351"/>
                    <a:gd name="connsiteY3109" fmla="*/ 1195861 h 1323458"/>
                    <a:gd name="connsiteX3110" fmla="*/ 372023 w 1439351"/>
                    <a:gd name="connsiteY3110" fmla="*/ 1193882 h 1323458"/>
                    <a:gd name="connsiteX3111" fmla="*/ 372133 w 1439351"/>
                    <a:gd name="connsiteY3111" fmla="*/ 1191987 h 1323458"/>
                    <a:gd name="connsiteX3112" fmla="*/ 371149 w 1439351"/>
                    <a:gd name="connsiteY3112" fmla="*/ 1190360 h 1323458"/>
                    <a:gd name="connsiteX3113" fmla="*/ 369425 w 1439351"/>
                    <a:gd name="connsiteY3113" fmla="*/ 1187519 h 1323458"/>
                    <a:gd name="connsiteX3114" fmla="*/ 369243 w 1439351"/>
                    <a:gd name="connsiteY3114" fmla="*/ 1187215 h 1323458"/>
                    <a:gd name="connsiteX3115" fmla="*/ 369024 w 1439351"/>
                    <a:gd name="connsiteY3115" fmla="*/ 1186936 h 1323458"/>
                    <a:gd name="connsiteX3116" fmla="*/ 365757 w 1439351"/>
                    <a:gd name="connsiteY3116" fmla="*/ 1182746 h 1323458"/>
                    <a:gd name="connsiteX3117" fmla="*/ 365235 w 1439351"/>
                    <a:gd name="connsiteY3117" fmla="*/ 1181642 h 1323458"/>
                    <a:gd name="connsiteX3118" fmla="*/ 364652 w 1439351"/>
                    <a:gd name="connsiteY3118" fmla="*/ 1179128 h 1323458"/>
                    <a:gd name="connsiteX3119" fmla="*/ 363620 w 1439351"/>
                    <a:gd name="connsiteY3119" fmla="*/ 1175789 h 1323458"/>
                    <a:gd name="connsiteX3120" fmla="*/ 363414 w 1439351"/>
                    <a:gd name="connsiteY3120" fmla="*/ 1175157 h 1323458"/>
                    <a:gd name="connsiteX3121" fmla="*/ 363086 w 1439351"/>
                    <a:gd name="connsiteY3121" fmla="*/ 1174586 h 1323458"/>
                    <a:gd name="connsiteX3122" fmla="*/ 361653 w 1439351"/>
                    <a:gd name="connsiteY3122" fmla="*/ 1172097 h 1323458"/>
                    <a:gd name="connsiteX3123" fmla="*/ 361192 w 1439351"/>
                    <a:gd name="connsiteY3123" fmla="*/ 1171296 h 1323458"/>
                    <a:gd name="connsiteX3124" fmla="*/ 360512 w 1439351"/>
                    <a:gd name="connsiteY3124" fmla="*/ 1170664 h 1323458"/>
                    <a:gd name="connsiteX3125" fmla="*/ 357743 w 1439351"/>
                    <a:gd name="connsiteY3125" fmla="*/ 1168102 h 1323458"/>
                    <a:gd name="connsiteX3126" fmla="*/ 357003 w 1439351"/>
                    <a:gd name="connsiteY3126" fmla="*/ 1167422 h 1323458"/>
                    <a:gd name="connsiteX3127" fmla="*/ 356092 w 1439351"/>
                    <a:gd name="connsiteY3127" fmla="*/ 1167009 h 1323458"/>
                    <a:gd name="connsiteX3128" fmla="*/ 353384 w 1439351"/>
                    <a:gd name="connsiteY3128" fmla="*/ 1165807 h 1323458"/>
                    <a:gd name="connsiteX3129" fmla="*/ 352692 w 1439351"/>
                    <a:gd name="connsiteY3129" fmla="*/ 1165503 h 1323458"/>
                    <a:gd name="connsiteX3130" fmla="*/ 351951 w 1439351"/>
                    <a:gd name="connsiteY3130" fmla="*/ 1165370 h 1323458"/>
                    <a:gd name="connsiteX3131" fmla="*/ 349146 w 1439351"/>
                    <a:gd name="connsiteY3131" fmla="*/ 1164884 h 1323458"/>
                    <a:gd name="connsiteX3132" fmla="*/ 348417 w 1439351"/>
                    <a:gd name="connsiteY3132" fmla="*/ 1164763 h 1323458"/>
                    <a:gd name="connsiteX3133" fmla="*/ 347677 w 1439351"/>
                    <a:gd name="connsiteY3133" fmla="*/ 1164811 h 1323458"/>
                    <a:gd name="connsiteX3134" fmla="*/ 345272 w 1439351"/>
                    <a:gd name="connsiteY3134" fmla="*/ 1164981 h 1323458"/>
                    <a:gd name="connsiteX3135" fmla="*/ 344896 w 1439351"/>
                    <a:gd name="connsiteY3135" fmla="*/ 1165006 h 1323458"/>
                    <a:gd name="connsiteX3136" fmla="*/ 344532 w 1439351"/>
                    <a:gd name="connsiteY3136" fmla="*/ 1165078 h 1323458"/>
                    <a:gd name="connsiteX3137" fmla="*/ 340282 w 1439351"/>
                    <a:gd name="connsiteY3137" fmla="*/ 1165916 h 1323458"/>
                    <a:gd name="connsiteX3138" fmla="*/ 339857 w 1439351"/>
                    <a:gd name="connsiteY3138" fmla="*/ 1166001 h 1323458"/>
                    <a:gd name="connsiteX3139" fmla="*/ 339444 w 1439351"/>
                    <a:gd name="connsiteY3139" fmla="*/ 1166147 h 1323458"/>
                    <a:gd name="connsiteX3140" fmla="*/ 334295 w 1439351"/>
                    <a:gd name="connsiteY3140" fmla="*/ 1167956 h 1323458"/>
                    <a:gd name="connsiteX3141" fmla="*/ 333542 w 1439351"/>
                    <a:gd name="connsiteY3141" fmla="*/ 1166523 h 1323458"/>
                    <a:gd name="connsiteX3142" fmla="*/ 333190 w 1439351"/>
                    <a:gd name="connsiteY3142" fmla="*/ 1165552 h 1323458"/>
                    <a:gd name="connsiteX3143" fmla="*/ 333202 w 1439351"/>
                    <a:gd name="connsiteY3143" fmla="*/ 1164726 h 1323458"/>
                    <a:gd name="connsiteX3144" fmla="*/ 335000 w 1439351"/>
                    <a:gd name="connsiteY3144" fmla="*/ 1162346 h 1323458"/>
                    <a:gd name="connsiteX3145" fmla="*/ 335522 w 1439351"/>
                    <a:gd name="connsiteY3145" fmla="*/ 1161654 h 1323458"/>
                    <a:gd name="connsiteX3146" fmla="*/ 335825 w 1439351"/>
                    <a:gd name="connsiteY3146" fmla="*/ 1160841 h 1323458"/>
                    <a:gd name="connsiteX3147" fmla="*/ 336396 w 1439351"/>
                    <a:gd name="connsiteY3147" fmla="*/ 1159311 h 1323458"/>
                    <a:gd name="connsiteX3148" fmla="*/ 336590 w 1439351"/>
                    <a:gd name="connsiteY3148" fmla="*/ 1158801 h 1323458"/>
                    <a:gd name="connsiteX3149" fmla="*/ 336687 w 1439351"/>
                    <a:gd name="connsiteY3149" fmla="*/ 1158254 h 1323458"/>
                    <a:gd name="connsiteX3150" fmla="*/ 337040 w 1439351"/>
                    <a:gd name="connsiteY3150" fmla="*/ 1156299 h 1323458"/>
                    <a:gd name="connsiteX3151" fmla="*/ 337149 w 1439351"/>
                    <a:gd name="connsiteY3151" fmla="*/ 1155716 h 1323458"/>
                    <a:gd name="connsiteX3152" fmla="*/ 337137 w 1439351"/>
                    <a:gd name="connsiteY3152" fmla="*/ 1155121 h 1323458"/>
                    <a:gd name="connsiteX3153" fmla="*/ 337088 w 1439351"/>
                    <a:gd name="connsiteY3153" fmla="*/ 1152717 h 1323458"/>
                    <a:gd name="connsiteX3154" fmla="*/ 337088 w 1439351"/>
                    <a:gd name="connsiteY3154" fmla="*/ 1152377 h 1323458"/>
                    <a:gd name="connsiteX3155" fmla="*/ 337040 w 1439351"/>
                    <a:gd name="connsiteY3155" fmla="*/ 1152049 h 1323458"/>
                    <a:gd name="connsiteX3156" fmla="*/ 336287 w 1439351"/>
                    <a:gd name="connsiteY3156" fmla="*/ 1146293 h 1323458"/>
                    <a:gd name="connsiteX3157" fmla="*/ 336396 w 1439351"/>
                    <a:gd name="connsiteY3157" fmla="*/ 1137514 h 1323458"/>
                    <a:gd name="connsiteX3158" fmla="*/ 336396 w 1439351"/>
                    <a:gd name="connsiteY3158" fmla="*/ 1137016 h 1323458"/>
                    <a:gd name="connsiteX3159" fmla="*/ 336323 w 1439351"/>
                    <a:gd name="connsiteY3159" fmla="*/ 1136518 h 1323458"/>
                    <a:gd name="connsiteX3160" fmla="*/ 335849 w 1439351"/>
                    <a:gd name="connsiteY3160" fmla="*/ 1133385 h 1323458"/>
                    <a:gd name="connsiteX3161" fmla="*/ 335777 w 1439351"/>
                    <a:gd name="connsiteY3161" fmla="*/ 1132912 h 1323458"/>
                    <a:gd name="connsiteX3162" fmla="*/ 335631 w 1439351"/>
                    <a:gd name="connsiteY3162" fmla="*/ 1132463 h 1323458"/>
                    <a:gd name="connsiteX3163" fmla="*/ 334489 w 1439351"/>
                    <a:gd name="connsiteY3163" fmla="*/ 1128844 h 1323458"/>
                    <a:gd name="connsiteX3164" fmla="*/ 334332 w 1439351"/>
                    <a:gd name="connsiteY3164" fmla="*/ 1128334 h 1323458"/>
                    <a:gd name="connsiteX3165" fmla="*/ 334089 w 1439351"/>
                    <a:gd name="connsiteY3165" fmla="*/ 1127860 h 1323458"/>
                    <a:gd name="connsiteX3166" fmla="*/ 331502 w 1439351"/>
                    <a:gd name="connsiteY3166" fmla="*/ 1122870 h 1323458"/>
                    <a:gd name="connsiteX3167" fmla="*/ 331247 w 1439351"/>
                    <a:gd name="connsiteY3167" fmla="*/ 1122372 h 1323458"/>
                    <a:gd name="connsiteX3168" fmla="*/ 330907 w 1439351"/>
                    <a:gd name="connsiteY3168" fmla="*/ 1121935 h 1323458"/>
                    <a:gd name="connsiteX3169" fmla="*/ 328612 w 1439351"/>
                    <a:gd name="connsiteY3169" fmla="*/ 1118984 h 1323458"/>
                    <a:gd name="connsiteX3170" fmla="*/ 328357 w 1439351"/>
                    <a:gd name="connsiteY3170" fmla="*/ 1118668 h 1323458"/>
                    <a:gd name="connsiteX3171" fmla="*/ 328066 w 1439351"/>
                    <a:gd name="connsiteY3171" fmla="*/ 1118389 h 1323458"/>
                    <a:gd name="connsiteX3172" fmla="*/ 321412 w 1439351"/>
                    <a:gd name="connsiteY3172" fmla="*/ 1111844 h 1323458"/>
                    <a:gd name="connsiteX3173" fmla="*/ 320221 w 1439351"/>
                    <a:gd name="connsiteY3173" fmla="*/ 1109792 h 1323458"/>
                    <a:gd name="connsiteX3174" fmla="*/ 318947 w 1439351"/>
                    <a:gd name="connsiteY3174" fmla="*/ 1106064 h 1323458"/>
                    <a:gd name="connsiteX3175" fmla="*/ 315206 w 1439351"/>
                    <a:gd name="connsiteY3175" fmla="*/ 1086890 h 1323458"/>
                    <a:gd name="connsiteX3176" fmla="*/ 314927 w 1439351"/>
                    <a:gd name="connsiteY3176" fmla="*/ 1078560 h 1323458"/>
                    <a:gd name="connsiteX3177" fmla="*/ 314903 w 1439351"/>
                    <a:gd name="connsiteY3177" fmla="*/ 1077819 h 1323458"/>
                    <a:gd name="connsiteX3178" fmla="*/ 314709 w 1439351"/>
                    <a:gd name="connsiteY3178" fmla="*/ 1077115 h 1323458"/>
                    <a:gd name="connsiteX3179" fmla="*/ 313166 w 1439351"/>
                    <a:gd name="connsiteY3179" fmla="*/ 1071626 h 1323458"/>
                    <a:gd name="connsiteX3180" fmla="*/ 313045 w 1439351"/>
                    <a:gd name="connsiteY3180" fmla="*/ 1071214 h 1323458"/>
                    <a:gd name="connsiteX3181" fmla="*/ 312863 w 1439351"/>
                    <a:gd name="connsiteY3181" fmla="*/ 1070813 h 1323458"/>
                    <a:gd name="connsiteX3182" fmla="*/ 306148 w 1439351"/>
                    <a:gd name="connsiteY3182" fmla="*/ 1055659 h 1323458"/>
                    <a:gd name="connsiteX3183" fmla="*/ 305832 w 1439351"/>
                    <a:gd name="connsiteY3183" fmla="*/ 1054930 h 1323458"/>
                    <a:gd name="connsiteX3184" fmla="*/ 305334 w 1439351"/>
                    <a:gd name="connsiteY3184" fmla="*/ 1054311 h 1323458"/>
                    <a:gd name="connsiteX3185" fmla="*/ 303088 w 1439351"/>
                    <a:gd name="connsiteY3185" fmla="*/ 1051518 h 1323458"/>
                    <a:gd name="connsiteX3186" fmla="*/ 302821 w 1439351"/>
                    <a:gd name="connsiteY3186" fmla="*/ 1051190 h 1323458"/>
                    <a:gd name="connsiteX3187" fmla="*/ 302517 w 1439351"/>
                    <a:gd name="connsiteY3187" fmla="*/ 1050898 h 1323458"/>
                    <a:gd name="connsiteX3188" fmla="*/ 300052 w 1439351"/>
                    <a:gd name="connsiteY3188" fmla="*/ 1048579 h 1323458"/>
                    <a:gd name="connsiteX3189" fmla="*/ 299833 w 1439351"/>
                    <a:gd name="connsiteY3189" fmla="*/ 1048360 h 1323458"/>
                    <a:gd name="connsiteX3190" fmla="*/ 299579 w 1439351"/>
                    <a:gd name="connsiteY3190" fmla="*/ 1048178 h 1323458"/>
                    <a:gd name="connsiteX3191" fmla="*/ 296093 w 1439351"/>
                    <a:gd name="connsiteY3191" fmla="*/ 1045507 h 1323458"/>
                    <a:gd name="connsiteX3192" fmla="*/ 295389 w 1439351"/>
                    <a:gd name="connsiteY3192" fmla="*/ 1044839 h 1323458"/>
                    <a:gd name="connsiteX3193" fmla="*/ 295401 w 1439351"/>
                    <a:gd name="connsiteY3193" fmla="*/ 1044791 h 1323458"/>
                    <a:gd name="connsiteX3194" fmla="*/ 296069 w 1439351"/>
                    <a:gd name="connsiteY3194" fmla="*/ 1043333 h 1323458"/>
                    <a:gd name="connsiteX3195" fmla="*/ 297563 w 1439351"/>
                    <a:gd name="connsiteY3195" fmla="*/ 1040674 h 1323458"/>
                    <a:gd name="connsiteX3196" fmla="*/ 301679 w 1439351"/>
                    <a:gd name="connsiteY3196" fmla="*/ 1034967 h 1323458"/>
                    <a:gd name="connsiteX3197" fmla="*/ 302444 w 1439351"/>
                    <a:gd name="connsiteY3197" fmla="*/ 1034202 h 1323458"/>
                    <a:gd name="connsiteX3198" fmla="*/ 304691 w 1439351"/>
                    <a:gd name="connsiteY3198" fmla="*/ 1032441 h 1323458"/>
                    <a:gd name="connsiteX3199" fmla="*/ 305553 w 1439351"/>
                    <a:gd name="connsiteY3199" fmla="*/ 1031761 h 1323458"/>
                    <a:gd name="connsiteX3200" fmla="*/ 306124 w 1439351"/>
                    <a:gd name="connsiteY3200" fmla="*/ 1030826 h 1323458"/>
                    <a:gd name="connsiteX3201" fmla="*/ 306816 w 1439351"/>
                    <a:gd name="connsiteY3201" fmla="*/ 1029697 h 1323458"/>
                    <a:gd name="connsiteX3202" fmla="*/ 307435 w 1439351"/>
                    <a:gd name="connsiteY3202" fmla="*/ 1028689 h 1323458"/>
                    <a:gd name="connsiteX3203" fmla="*/ 307629 w 1439351"/>
                    <a:gd name="connsiteY3203" fmla="*/ 1027523 h 1323458"/>
                    <a:gd name="connsiteX3204" fmla="*/ 307799 w 1439351"/>
                    <a:gd name="connsiteY3204" fmla="*/ 1026491 h 1323458"/>
                    <a:gd name="connsiteX3205" fmla="*/ 307994 w 1439351"/>
                    <a:gd name="connsiteY3205" fmla="*/ 1025350 h 1323458"/>
                    <a:gd name="connsiteX3206" fmla="*/ 307751 w 1439351"/>
                    <a:gd name="connsiteY3206" fmla="*/ 1024220 h 1323458"/>
                    <a:gd name="connsiteX3207" fmla="*/ 307605 w 1439351"/>
                    <a:gd name="connsiteY3207" fmla="*/ 1023577 h 1323458"/>
                    <a:gd name="connsiteX3208" fmla="*/ 308273 w 1439351"/>
                    <a:gd name="connsiteY3208" fmla="*/ 1023516 h 1323458"/>
                    <a:gd name="connsiteX3209" fmla="*/ 310483 w 1439351"/>
                    <a:gd name="connsiteY3209" fmla="*/ 1023516 h 1323458"/>
                    <a:gd name="connsiteX3210" fmla="*/ 312656 w 1439351"/>
                    <a:gd name="connsiteY3210" fmla="*/ 1024184 h 1323458"/>
                    <a:gd name="connsiteX3211" fmla="*/ 312936 w 1439351"/>
                    <a:gd name="connsiteY3211" fmla="*/ 1024949 h 1323458"/>
                    <a:gd name="connsiteX3212" fmla="*/ 313276 w 1439351"/>
                    <a:gd name="connsiteY3212" fmla="*/ 1025848 h 1323458"/>
                    <a:gd name="connsiteX3213" fmla="*/ 313871 w 1439351"/>
                    <a:gd name="connsiteY3213" fmla="*/ 1026600 h 1323458"/>
                    <a:gd name="connsiteX3214" fmla="*/ 314854 w 1439351"/>
                    <a:gd name="connsiteY3214" fmla="*/ 1027839 h 1323458"/>
                    <a:gd name="connsiteX3215" fmla="*/ 315510 w 1439351"/>
                    <a:gd name="connsiteY3215" fmla="*/ 1028665 h 1323458"/>
                    <a:gd name="connsiteX3216" fmla="*/ 316409 w 1439351"/>
                    <a:gd name="connsiteY3216" fmla="*/ 1029223 h 1323458"/>
                    <a:gd name="connsiteX3217" fmla="*/ 318934 w 1439351"/>
                    <a:gd name="connsiteY3217" fmla="*/ 1030790 h 1323458"/>
                    <a:gd name="connsiteX3218" fmla="*/ 319687 w 1439351"/>
                    <a:gd name="connsiteY3218" fmla="*/ 1031470 h 1323458"/>
                    <a:gd name="connsiteX3219" fmla="*/ 321764 w 1439351"/>
                    <a:gd name="connsiteY3219" fmla="*/ 1033850 h 1323458"/>
                    <a:gd name="connsiteX3220" fmla="*/ 322152 w 1439351"/>
                    <a:gd name="connsiteY3220" fmla="*/ 1034299 h 1323458"/>
                    <a:gd name="connsiteX3221" fmla="*/ 322626 w 1439351"/>
                    <a:gd name="connsiteY3221" fmla="*/ 1034663 h 1323458"/>
                    <a:gd name="connsiteX3222" fmla="*/ 324119 w 1439351"/>
                    <a:gd name="connsiteY3222" fmla="*/ 1035817 h 1323458"/>
                    <a:gd name="connsiteX3223" fmla="*/ 325346 w 1439351"/>
                    <a:gd name="connsiteY3223" fmla="*/ 1036776 h 1323458"/>
                    <a:gd name="connsiteX3224" fmla="*/ 326888 w 1439351"/>
                    <a:gd name="connsiteY3224" fmla="*/ 1037019 h 1323458"/>
                    <a:gd name="connsiteX3225" fmla="*/ 328503 w 1439351"/>
                    <a:gd name="connsiteY3225" fmla="*/ 1037274 h 1323458"/>
                    <a:gd name="connsiteX3226" fmla="*/ 330822 w 1439351"/>
                    <a:gd name="connsiteY3226" fmla="*/ 1037638 h 1323458"/>
                    <a:gd name="connsiteX3227" fmla="*/ 332789 w 1439351"/>
                    <a:gd name="connsiteY3227" fmla="*/ 1036351 h 1323458"/>
                    <a:gd name="connsiteX3228" fmla="*/ 334392 w 1439351"/>
                    <a:gd name="connsiteY3228" fmla="*/ 1035295 h 1323458"/>
                    <a:gd name="connsiteX3229" fmla="*/ 336372 w 1439351"/>
                    <a:gd name="connsiteY3229" fmla="*/ 1033995 h 1323458"/>
                    <a:gd name="connsiteX3230" fmla="*/ 336942 w 1439351"/>
                    <a:gd name="connsiteY3230" fmla="*/ 1031700 h 1323458"/>
                    <a:gd name="connsiteX3231" fmla="*/ 337343 w 1439351"/>
                    <a:gd name="connsiteY3231" fmla="*/ 1030085 h 1323458"/>
                    <a:gd name="connsiteX3232" fmla="*/ 337598 w 1439351"/>
                    <a:gd name="connsiteY3232" fmla="*/ 1029065 h 1323458"/>
                    <a:gd name="connsiteX3233" fmla="*/ 337489 w 1439351"/>
                    <a:gd name="connsiteY3233" fmla="*/ 1028009 h 1323458"/>
                    <a:gd name="connsiteX3234" fmla="*/ 337319 w 1439351"/>
                    <a:gd name="connsiteY3234" fmla="*/ 1026321 h 1323458"/>
                    <a:gd name="connsiteX3235" fmla="*/ 337234 w 1439351"/>
                    <a:gd name="connsiteY3235" fmla="*/ 1025508 h 1323458"/>
                    <a:gd name="connsiteX3236" fmla="*/ 336930 w 1439351"/>
                    <a:gd name="connsiteY3236" fmla="*/ 1024743 h 1323458"/>
                    <a:gd name="connsiteX3237" fmla="*/ 336238 w 1439351"/>
                    <a:gd name="connsiteY3237" fmla="*/ 1022970 h 1323458"/>
                    <a:gd name="connsiteX3238" fmla="*/ 337817 w 1439351"/>
                    <a:gd name="connsiteY3238" fmla="*/ 1020675 h 1323458"/>
                    <a:gd name="connsiteX3239" fmla="*/ 338327 w 1439351"/>
                    <a:gd name="connsiteY3239" fmla="*/ 1019922 h 1323458"/>
                    <a:gd name="connsiteX3240" fmla="*/ 338557 w 1439351"/>
                    <a:gd name="connsiteY3240" fmla="*/ 1019193 h 1323458"/>
                    <a:gd name="connsiteX3241" fmla="*/ 338606 w 1439351"/>
                    <a:gd name="connsiteY3241" fmla="*/ 1019254 h 1323458"/>
                    <a:gd name="connsiteX3242" fmla="*/ 339699 w 1439351"/>
                    <a:gd name="connsiteY3242" fmla="*/ 1020480 h 1323458"/>
                    <a:gd name="connsiteX3243" fmla="*/ 340743 w 1439351"/>
                    <a:gd name="connsiteY3243" fmla="*/ 1021670 h 1323458"/>
                    <a:gd name="connsiteX3244" fmla="*/ 342249 w 1439351"/>
                    <a:gd name="connsiteY3244" fmla="*/ 1022192 h 1323458"/>
                    <a:gd name="connsiteX3245" fmla="*/ 344204 w 1439351"/>
                    <a:gd name="connsiteY3245" fmla="*/ 1022872 h 1323458"/>
                    <a:gd name="connsiteX3246" fmla="*/ 345588 w 1439351"/>
                    <a:gd name="connsiteY3246" fmla="*/ 1023358 h 1323458"/>
                    <a:gd name="connsiteX3247" fmla="*/ 347045 w 1439351"/>
                    <a:gd name="connsiteY3247" fmla="*/ 1023152 h 1323458"/>
                    <a:gd name="connsiteX3248" fmla="*/ 350542 w 1439351"/>
                    <a:gd name="connsiteY3248" fmla="*/ 1022666 h 1323458"/>
                    <a:gd name="connsiteX3249" fmla="*/ 351829 w 1439351"/>
                    <a:gd name="connsiteY3249" fmla="*/ 1022484 h 1323458"/>
                    <a:gd name="connsiteX3250" fmla="*/ 352935 w 1439351"/>
                    <a:gd name="connsiteY3250" fmla="*/ 1021780 h 1323458"/>
                    <a:gd name="connsiteX3251" fmla="*/ 354938 w 1439351"/>
                    <a:gd name="connsiteY3251" fmla="*/ 1020517 h 1323458"/>
                    <a:gd name="connsiteX3252" fmla="*/ 355825 w 1439351"/>
                    <a:gd name="connsiteY3252" fmla="*/ 1019958 h 1323458"/>
                    <a:gd name="connsiteX3253" fmla="*/ 356468 w 1439351"/>
                    <a:gd name="connsiteY3253" fmla="*/ 1019145 h 1323458"/>
                    <a:gd name="connsiteX3254" fmla="*/ 357731 w 1439351"/>
                    <a:gd name="connsiteY3254" fmla="*/ 1017542 h 1323458"/>
                    <a:gd name="connsiteX3255" fmla="*/ 358727 w 1439351"/>
                    <a:gd name="connsiteY3255" fmla="*/ 1016279 h 1323458"/>
                    <a:gd name="connsiteX3256" fmla="*/ 359103 w 1439351"/>
                    <a:gd name="connsiteY3256" fmla="*/ 1016983 h 1323458"/>
                    <a:gd name="connsiteX3257" fmla="*/ 360949 w 1439351"/>
                    <a:gd name="connsiteY3257" fmla="*/ 1017833 h 1323458"/>
                    <a:gd name="connsiteX3258" fmla="*/ 362382 w 1439351"/>
                    <a:gd name="connsiteY3258" fmla="*/ 1018489 h 1323458"/>
                    <a:gd name="connsiteX3259" fmla="*/ 363815 w 1439351"/>
                    <a:gd name="connsiteY3259" fmla="*/ 1019145 h 1323458"/>
                    <a:gd name="connsiteX3260" fmla="*/ 365381 w 1439351"/>
                    <a:gd name="connsiteY3260" fmla="*/ 1019023 h 1323458"/>
                    <a:gd name="connsiteX3261" fmla="*/ 366632 w 1439351"/>
                    <a:gd name="connsiteY3261" fmla="*/ 1018926 h 1323458"/>
                    <a:gd name="connsiteX3262" fmla="*/ 366535 w 1439351"/>
                    <a:gd name="connsiteY3262" fmla="*/ 1020165 h 1323458"/>
                    <a:gd name="connsiteX3263" fmla="*/ 366304 w 1439351"/>
                    <a:gd name="connsiteY3263" fmla="*/ 1021209 h 1323458"/>
                    <a:gd name="connsiteX3264" fmla="*/ 363426 w 1439351"/>
                    <a:gd name="connsiteY3264" fmla="*/ 1026030 h 1323458"/>
                    <a:gd name="connsiteX3265" fmla="*/ 362916 w 1439351"/>
                    <a:gd name="connsiteY3265" fmla="*/ 1026880 h 1323458"/>
                    <a:gd name="connsiteX3266" fmla="*/ 362697 w 1439351"/>
                    <a:gd name="connsiteY3266" fmla="*/ 1027863 h 1323458"/>
                    <a:gd name="connsiteX3267" fmla="*/ 362236 w 1439351"/>
                    <a:gd name="connsiteY3267" fmla="*/ 1030012 h 1323458"/>
                    <a:gd name="connsiteX3268" fmla="*/ 362103 w 1439351"/>
                    <a:gd name="connsiteY3268" fmla="*/ 1030644 h 1323458"/>
                    <a:gd name="connsiteX3269" fmla="*/ 362103 w 1439351"/>
                    <a:gd name="connsiteY3269" fmla="*/ 1031288 h 1323458"/>
                    <a:gd name="connsiteX3270" fmla="*/ 362103 w 1439351"/>
                    <a:gd name="connsiteY3270" fmla="*/ 1033121 h 1323458"/>
                    <a:gd name="connsiteX3271" fmla="*/ 362103 w 1439351"/>
                    <a:gd name="connsiteY3271" fmla="*/ 1033680 h 1323458"/>
                    <a:gd name="connsiteX3272" fmla="*/ 362200 w 1439351"/>
                    <a:gd name="connsiteY3272" fmla="*/ 1034226 h 1323458"/>
                    <a:gd name="connsiteX3273" fmla="*/ 362685 w 1439351"/>
                    <a:gd name="connsiteY3273" fmla="*/ 1036873 h 1323458"/>
                    <a:gd name="connsiteX3274" fmla="*/ 362697 w 1439351"/>
                    <a:gd name="connsiteY3274" fmla="*/ 1037225 h 1323458"/>
                    <a:gd name="connsiteX3275" fmla="*/ 362479 w 1439351"/>
                    <a:gd name="connsiteY3275" fmla="*/ 1037408 h 1323458"/>
                    <a:gd name="connsiteX3276" fmla="*/ 358326 w 1439351"/>
                    <a:gd name="connsiteY3276" fmla="*/ 1040079 h 1323458"/>
                    <a:gd name="connsiteX3277" fmla="*/ 358010 w 1439351"/>
                    <a:gd name="connsiteY3277" fmla="*/ 1040298 h 1323458"/>
                    <a:gd name="connsiteX3278" fmla="*/ 357719 w 1439351"/>
                    <a:gd name="connsiteY3278" fmla="*/ 1040553 h 1323458"/>
                    <a:gd name="connsiteX3279" fmla="*/ 355023 w 1439351"/>
                    <a:gd name="connsiteY3279" fmla="*/ 1042823 h 1323458"/>
                    <a:gd name="connsiteX3280" fmla="*/ 354392 w 1439351"/>
                    <a:gd name="connsiteY3280" fmla="*/ 1043345 h 1323458"/>
                    <a:gd name="connsiteX3281" fmla="*/ 353918 w 1439351"/>
                    <a:gd name="connsiteY3281" fmla="*/ 1044025 h 1323458"/>
                    <a:gd name="connsiteX3282" fmla="*/ 352085 w 1439351"/>
                    <a:gd name="connsiteY3282" fmla="*/ 1046697 h 1323458"/>
                    <a:gd name="connsiteX3283" fmla="*/ 351817 w 1439351"/>
                    <a:gd name="connsiteY3283" fmla="*/ 1047098 h 1323458"/>
                    <a:gd name="connsiteX3284" fmla="*/ 351611 w 1439351"/>
                    <a:gd name="connsiteY3284" fmla="*/ 1047535 h 1323458"/>
                    <a:gd name="connsiteX3285" fmla="*/ 350239 w 1439351"/>
                    <a:gd name="connsiteY3285" fmla="*/ 1050437 h 1323458"/>
                    <a:gd name="connsiteX3286" fmla="*/ 349996 w 1439351"/>
                    <a:gd name="connsiteY3286" fmla="*/ 1050947 h 1323458"/>
                    <a:gd name="connsiteX3287" fmla="*/ 349850 w 1439351"/>
                    <a:gd name="connsiteY3287" fmla="*/ 1051493 h 1323458"/>
                    <a:gd name="connsiteX3288" fmla="*/ 348988 w 1439351"/>
                    <a:gd name="connsiteY3288" fmla="*/ 1054821 h 1323458"/>
                    <a:gd name="connsiteX3289" fmla="*/ 348855 w 1439351"/>
                    <a:gd name="connsiteY3289" fmla="*/ 1055319 h 1323458"/>
                    <a:gd name="connsiteX3290" fmla="*/ 348818 w 1439351"/>
                    <a:gd name="connsiteY3290" fmla="*/ 1055828 h 1323458"/>
                    <a:gd name="connsiteX3291" fmla="*/ 348575 w 1439351"/>
                    <a:gd name="connsiteY3291" fmla="*/ 1058670 h 1323458"/>
                    <a:gd name="connsiteX3292" fmla="*/ 348527 w 1439351"/>
                    <a:gd name="connsiteY3292" fmla="*/ 1059277 h 1323458"/>
                    <a:gd name="connsiteX3293" fmla="*/ 348600 w 1439351"/>
                    <a:gd name="connsiteY3293" fmla="*/ 1059884 h 1323458"/>
                    <a:gd name="connsiteX3294" fmla="*/ 348952 w 1439351"/>
                    <a:gd name="connsiteY3294" fmla="*/ 1062932 h 1323458"/>
                    <a:gd name="connsiteX3295" fmla="*/ 349073 w 1439351"/>
                    <a:gd name="connsiteY3295" fmla="*/ 1064025 h 1323458"/>
                    <a:gd name="connsiteX3296" fmla="*/ 349583 w 1439351"/>
                    <a:gd name="connsiteY3296" fmla="*/ 1065008 h 1323458"/>
                    <a:gd name="connsiteX3297" fmla="*/ 350712 w 1439351"/>
                    <a:gd name="connsiteY3297" fmla="*/ 1067219 h 1323458"/>
                    <a:gd name="connsiteX3298" fmla="*/ 351465 w 1439351"/>
                    <a:gd name="connsiteY3298" fmla="*/ 1068664 h 1323458"/>
                    <a:gd name="connsiteX3299" fmla="*/ 352837 w 1439351"/>
                    <a:gd name="connsiteY3299" fmla="*/ 1069538 h 1323458"/>
                    <a:gd name="connsiteX3300" fmla="*/ 354635 w 1439351"/>
                    <a:gd name="connsiteY3300" fmla="*/ 1070691 h 1323458"/>
                    <a:gd name="connsiteX3301" fmla="*/ 356298 w 1439351"/>
                    <a:gd name="connsiteY3301" fmla="*/ 1071760 h 1323458"/>
                    <a:gd name="connsiteX3302" fmla="*/ 358277 w 1439351"/>
                    <a:gd name="connsiteY3302" fmla="*/ 1071651 h 1323458"/>
                    <a:gd name="connsiteX3303" fmla="*/ 360439 w 1439351"/>
                    <a:gd name="connsiteY3303" fmla="*/ 1071529 h 1323458"/>
                    <a:gd name="connsiteX3304" fmla="*/ 362188 w 1439351"/>
                    <a:gd name="connsiteY3304" fmla="*/ 1071432 h 1323458"/>
                    <a:gd name="connsiteX3305" fmla="*/ 363608 w 1439351"/>
                    <a:gd name="connsiteY3305" fmla="*/ 1070424 h 1323458"/>
                    <a:gd name="connsiteX3306" fmla="*/ 366717 w 1439351"/>
                    <a:gd name="connsiteY3306" fmla="*/ 1068214 h 1323458"/>
                    <a:gd name="connsiteX3307" fmla="*/ 367288 w 1439351"/>
                    <a:gd name="connsiteY3307" fmla="*/ 1067801 h 1323458"/>
                    <a:gd name="connsiteX3308" fmla="*/ 367749 w 1439351"/>
                    <a:gd name="connsiteY3308" fmla="*/ 1067279 h 1323458"/>
                    <a:gd name="connsiteX3309" fmla="*/ 369473 w 1439351"/>
                    <a:gd name="connsiteY3309" fmla="*/ 1065324 h 1323458"/>
                    <a:gd name="connsiteX3310" fmla="*/ 371890 w 1439351"/>
                    <a:gd name="connsiteY3310" fmla="*/ 1062021 h 1323458"/>
                    <a:gd name="connsiteX3311" fmla="*/ 372169 w 1439351"/>
                    <a:gd name="connsiteY3311" fmla="*/ 1061791 h 1323458"/>
                    <a:gd name="connsiteX3312" fmla="*/ 372473 w 1439351"/>
                    <a:gd name="connsiteY3312" fmla="*/ 1061633 h 1323458"/>
                    <a:gd name="connsiteX3313" fmla="*/ 374112 w 1439351"/>
                    <a:gd name="connsiteY3313" fmla="*/ 1061402 h 1323458"/>
                    <a:gd name="connsiteX3314" fmla="*/ 376031 w 1439351"/>
                    <a:gd name="connsiteY3314" fmla="*/ 1060989 h 1323458"/>
                    <a:gd name="connsiteX3315" fmla="*/ 376067 w 1439351"/>
                    <a:gd name="connsiteY3315" fmla="*/ 1062386 h 1323458"/>
                    <a:gd name="connsiteX3316" fmla="*/ 376103 w 1439351"/>
                    <a:gd name="connsiteY3316" fmla="*/ 1063624 h 1323458"/>
                    <a:gd name="connsiteX3317" fmla="*/ 376613 w 1439351"/>
                    <a:gd name="connsiteY3317" fmla="*/ 1064754 h 1323458"/>
                    <a:gd name="connsiteX3318" fmla="*/ 377293 w 1439351"/>
                    <a:gd name="connsiteY3318" fmla="*/ 1066247 h 1323458"/>
                    <a:gd name="connsiteX3319" fmla="*/ 377597 w 1439351"/>
                    <a:gd name="connsiteY3319" fmla="*/ 1066903 h 1323458"/>
                    <a:gd name="connsiteX3320" fmla="*/ 378046 w 1439351"/>
                    <a:gd name="connsiteY3320" fmla="*/ 1067474 h 1323458"/>
                    <a:gd name="connsiteX3321" fmla="*/ 378957 w 1439351"/>
                    <a:gd name="connsiteY3321" fmla="*/ 1068627 h 1323458"/>
                    <a:gd name="connsiteX3322" fmla="*/ 379685 w 1439351"/>
                    <a:gd name="connsiteY3322" fmla="*/ 1069550 h 1323458"/>
                    <a:gd name="connsiteX3323" fmla="*/ 380693 w 1439351"/>
                    <a:gd name="connsiteY3323" fmla="*/ 1070133 h 1323458"/>
                    <a:gd name="connsiteX3324" fmla="*/ 381968 w 1439351"/>
                    <a:gd name="connsiteY3324" fmla="*/ 1070874 h 1323458"/>
                    <a:gd name="connsiteX3325" fmla="*/ 383863 w 1439351"/>
                    <a:gd name="connsiteY3325" fmla="*/ 1071966 h 1323458"/>
                    <a:gd name="connsiteX3326" fmla="*/ 386012 w 1439351"/>
                    <a:gd name="connsiteY3326" fmla="*/ 1071602 h 1323458"/>
                    <a:gd name="connsiteX3327" fmla="*/ 388076 w 1439351"/>
                    <a:gd name="connsiteY3327" fmla="*/ 1071262 h 1323458"/>
                    <a:gd name="connsiteX3328" fmla="*/ 388501 w 1439351"/>
                    <a:gd name="connsiteY3328" fmla="*/ 1071189 h 1323458"/>
                    <a:gd name="connsiteX3329" fmla="*/ 388914 w 1439351"/>
                    <a:gd name="connsiteY3329" fmla="*/ 1071068 h 1323458"/>
                    <a:gd name="connsiteX3330" fmla="*/ 392023 w 1439351"/>
                    <a:gd name="connsiteY3330" fmla="*/ 1070084 h 1323458"/>
                    <a:gd name="connsiteX3331" fmla="*/ 392363 w 1439351"/>
                    <a:gd name="connsiteY3331" fmla="*/ 1069975 h 1323458"/>
                    <a:gd name="connsiteX3332" fmla="*/ 392691 w 1439351"/>
                    <a:gd name="connsiteY3332" fmla="*/ 1069829 h 1323458"/>
                    <a:gd name="connsiteX3333" fmla="*/ 395981 w 1439351"/>
                    <a:gd name="connsiteY3333" fmla="*/ 1068348 h 1323458"/>
                    <a:gd name="connsiteX3334" fmla="*/ 396236 w 1439351"/>
                    <a:gd name="connsiteY3334" fmla="*/ 1070473 h 1323458"/>
                    <a:gd name="connsiteX3335" fmla="*/ 396370 w 1439351"/>
                    <a:gd name="connsiteY3335" fmla="*/ 1071614 h 1323458"/>
                    <a:gd name="connsiteX3336" fmla="*/ 396904 w 1439351"/>
                    <a:gd name="connsiteY3336" fmla="*/ 1072622 h 1323458"/>
                    <a:gd name="connsiteX3337" fmla="*/ 397536 w 1439351"/>
                    <a:gd name="connsiteY3337" fmla="*/ 1073800 h 1323458"/>
                    <a:gd name="connsiteX3338" fmla="*/ 398288 w 1439351"/>
                    <a:gd name="connsiteY3338" fmla="*/ 1075221 h 1323458"/>
                    <a:gd name="connsiteX3339" fmla="*/ 399648 w 1439351"/>
                    <a:gd name="connsiteY3339" fmla="*/ 1076083 h 1323458"/>
                    <a:gd name="connsiteX3340" fmla="*/ 400899 w 1439351"/>
                    <a:gd name="connsiteY3340" fmla="*/ 1076872 h 1323458"/>
                    <a:gd name="connsiteX3341" fmla="*/ 402915 w 1439351"/>
                    <a:gd name="connsiteY3341" fmla="*/ 1078135 h 1323458"/>
                    <a:gd name="connsiteX3342" fmla="*/ 405259 w 1439351"/>
                    <a:gd name="connsiteY3342" fmla="*/ 1077698 h 1323458"/>
                    <a:gd name="connsiteX3343" fmla="*/ 406752 w 1439351"/>
                    <a:gd name="connsiteY3343" fmla="*/ 1077419 h 1323458"/>
                    <a:gd name="connsiteX3344" fmla="*/ 407942 w 1439351"/>
                    <a:gd name="connsiteY3344" fmla="*/ 1077188 h 1323458"/>
                    <a:gd name="connsiteX3345" fmla="*/ 408950 w 1439351"/>
                    <a:gd name="connsiteY3345" fmla="*/ 1076532 h 1323458"/>
                    <a:gd name="connsiteX3346" fmla="*/ 410626 w 1439351"/>
                    <a:gd name="connsiteY3346" fmla="*/ 1075439 h 1323458"/>
                    <a:gd name="connsiteX3347" fmla="*/ 411804 w 1439351"/>
                    <a:gd name="connsiteY3347" fmla="*/ 1074674 h 1323458"/>
                    <a:gd name="connsiteX3348" fmla="*/ 412532 w 1439351"/>
                    <a:gd name="connsiteY3348" fmla="*/ 1073472 h 1323458"/>
                    <a:gd name="connsiteX3349" fmla="*/ 414111 w 1439351"/>
                    <a:gd name="connsiteY3349" fmla="*/ 1070825 h 1323458"/>
                    <a:gd name="connsiteX3350" fmla="*/ 414609 w 1439351"/>
                    <a:gd name="connsiteY3350" fmla="*/ 1070230 h 1323458"/>
                    <a:gd name="connsiteX3351" fmla="*/ 414706 w 1439351"/>
                    <a:gd name="connsiteY3351" fmla="*/ 1070254 h 1323458"/>
                    <a:gd name="connsiteX3352" fmla="*/ 417499 w 1439351"/>
                    <a:gd name="connsiteY3352" fmla="*/ 1071481 h 1323458"/>
                    <a:gd name="connsiteX3353" fmla="*/ 419247 w 1439351"/>
                    <a:gd name="connsiteY3353" fmla="*/ 1072246 h 1323458"/>
                    <a:gd name="connsiteX3354" fmla="*/ 421117 w 1439351"/>
                    <a:gd name="connsiteY3354" fmla="*/ 1071881 h 1323458"/>
                    <a:gd name="connsiteX3355" fmla="*/ 422732 w 1439351"/>
                    <a:gd name="connsiteY3355" fmla="*/ 1071566 h 1323458"/>
                    <a:gd name="connsiteX3356" fmla="*/ 423145 w 1439351"/>
                    <a:gd name="connsiteY3356" fmla="*/ 1071541 h 1323458"/>
                    <a:gd name="connsiteX3357" fmla="*/ 423692 w 1439351"/>
                    <a:gd name="connsiteY3357" fmla="*/ 1071554 h 1323458"/>
                    <a:gd name="connsiteX3358" fmla="*/ 425064 w 1439351"/>
                    <a:gd name="connsiteY3358" fmla="*/ 1071918 h 1323458"/>
                    <a:gd name="connsiteX3359" fmla="*/ 428852 w 1439351"/>
                    <a:gd name="connsiteY3359" fmla="*/ 1073363 h 1323458"/>
                    <a:gd name="connsiteX3360" fmla="*/ 429909 w 1439351"/>
                    <a:gd name="connsiteY3360" fmla="*/ 1073764 h 1323458"/>
                    <a:gd name="connsiteX3361" fmla="*/ 431038 w 1439351"/>
                    <a:gd name="connsiteY3361" fmla="*/ 1073751 h 1323458"/>
                    <a:gd name="connsiteX3362" fmla="*/ 433042 w 1439351"/>
                    <a:gd name="connsiteY3362" fmla="*/ 1073727 h 1323458"/>
                    <a:gd name="connsiteX3363" fmla="*/ 434936 w 1439351"/>
                    <a:gd name="connsiteY3363" fmla="*/ 1073703 h 1323458"/>
                    <a:gd name="connsiteX3364" fmla="*/ 436478 w 1439351"/>
                    <a:gd name="connsiteY3364" fmla="*/ 1072610 h 1323458"/>
                    <a:gd name="connsiteX3365" fmla="*/ 437535 w 1439351"/>
                    <a:gd name="connsiteY3365" fmla="*/ 1071857 h 1323458"/>
                    <a:gd name="connsiteX3366" fmla="*/ 437097 w 1439351"/>
                    <a:gd name="connsiteY3366" fmla="*/ 1073715 h 1323458"/>
                    <a:gd name="connsiteX3367" fmla="*/ 436587 w 1439351"/>
                    <a:gd name="connsiteY3367" fmla="*/ 1077297 h 1323458"/>
                    <a:gd name="connsiteX3368" fmla="*/ 436539 w 1439351"/>
                    <a:gd name="connsiteY3368" fmla="*/ 1077698 h 1323458"/>
                    <a:gd name="connsiteX3369" fmla="*/ 436539 w 1439351"/>
                    <a:gd name="connsiteY3369" fmla="*/ 1078099 h 1323458"/>
                    <a:gd name="connsiteX3370" fmla="*/ 436539 w 1439351"/>
                    <a:gd name="connsiteY3370" fmla="*/ 1080636 h 1323458"/>
                    <a:gd name="connsiteX3371" fmla="*/ 436539 w 1439351"/>
                    <a:gd name="connsiteY3371" fmla="*/ 1081062 h 1323458"/>
                    <a:gd name="connsiteX3372" fmla="*/ 436599 w 1439351"/>
                    <a:gd name="connsiteY3372" fmla="*/ 1081487 h 1323458"/>
                    <a:gd name="connsiteX3373" fmla="*/ 436891 w 1439351"/>
                    <a:gd name="connsiteY3373" fmla="*/ 1083551 h 1323458"/>
                    <a:gd name="connsiteX3374" fmla="*/ 437061 w 1439351"/>
                    <a:gd name="connsiteY3374" fmla="*/ 1084716 h 1323458"/>
                    <a:gd name="connsiteX3375" fmla="*/ 437644 w 1439351"/>
                    <a:gd name="connsiteY3375" fmla="*/ 1085736 h 1323458"/>
                    <a:gd name="connsiteX3376" fmla="*/ 438555 w 1439351"/>
                    <a:gd name="connsiteY3376" fmla="*/ 1087315 h 1323458"/>
                    <a:gd name="connsiteX3377" fmla="*/ 439295 w 1439351"/>
                    <a:gd name="connsiteY3377" fmla="*/ 1088602 h 1323458"/>
                    <a:gd name="connsiteX3378" fmla="*/ 440558 w 1439351"/>
                    <a:gd name="connsiteY3378" fmla="*/ 1089404 h 1323458"/>
                    <a:gd name="connsiteX3379" fmla="*/ 442404 w 1439351"/>
                    <a:gd name="connsiteY3379" fmla="*/ 1090582 h 1323458"/>
                    <a:gd name="connsiteX3380" fmla="*/ 442853 w 1439351"/>
                    <a:gd name="connsiteY3380" fmla="*/ 1090861 h 1323458"/>
                    <a:gd name="connsiteX3381" fmla="*/ 443351 w 1439351"/>
                    <a:gd name="connsiteY3381" fmla="*/ 1091067 h 1323458"/>
                    <a:gd name="connsiteX3382" fmla="*/ 445294 w 1439351"/>
                    <a:gd name="connsiteY3382" fmla="*/ 1091869 h 1323458"/>
                    <a:gd name="connsiteX3383" fmla="*/ 446678 w 1439351"/>
                    <a:gd name="connsiteY3383" fmla="*/ 1092439 h 1323458"/>
                    <a:gd name="connsiteX3384" fmla="*/ 448172 w 1439351"/>
                    <a:gd name="connsiteY3384" fmla="*/ 1092306 h 1323458"/>
                    <a:gd name="connsiteX3385" fmla="*/ 454607 w 1439351"/>
                    <a:gd name="connsiteY3385" fmla="*/ 1091711 h 1323458"/>
                    <a:gd name="connsiteX3386" fmla="*/ 458469 w 1439351"/>
                    <a:gd name="connsiteY3386" fmla="*/ 1091359 h 1323458"/>
                    <a:gd name="connsiteX3387" fmla="*/ 459768 w 1439351"/>
                    <a:gd name="connsiteY3387" fmla="*/ 1087704 h 1323458"/>
                    <a:gd name="connsiteX3388" fmla="*/ 460570 w 1439351"/>
                    <a:gd name="connsiteY3388" fmla="*/ 1085433 h 1323458"/>
                    <a:gd name="connsiteX3389" fmla="*/ 460946 w 1439351"/>
                    <a:gd name="connsiteY3389" fmla="*/ 1084376 h 1323458"/>
                    <a:gd name="connsiteX3390" fmla="*/ 460922 w 1439351"/>
                    <a:gd name="connsiteY3390" fmla="*/ 1083259 h 1323458"/>
                    <a:gd name="connsiteX3391" fmla="*/ 460897 w 1439351"/>
                    <a:gd name="connsiteY3391" fmla="*/ 1082239 h 1323458"/>
                    <a:gd name="connsiteX3392" fmla="*/ 461237 w 1439351"/>
                    <a:gd name="connsiteY3392" fmla="*/ 1082579 h 1323458"/>
                    <a:gd name="connsiteX3393" fmla="*/ 462270 w 1439351"/>
                    <a:gd name="connsiteY3393" fmla="*/ 1083611 h 1323458"/>
                    <a:gd name="connsiteX3394" fmla="*/ 463460 w 1439351"/>
                    <a:gd name="connsiteY3394" fmla="*/ 1084814 h 1323458"/>
                    <a:gd name="connsiteX3395" fmla="*/ 465099 w 1439351"/>
                    <a:gd name="connsiteY3395" fmla="*/ 1085214 h 1323458"/>
                    <a:gd name="connsiteX3396" fmla="*/ 466872 w 1439351"/>
                    <a:gd name="connsiteY3396" fmla="*/ 1085651 h 1323458"/>
                    <a:gd name="connsiteX3397" fmla="*/ 468098 w 1439351"/>
                    <a:gd name="connsiteY3397" fmla="*/ 1085955 h 1323458"/>
                    <a:gd name="connsiteX3398" fmla="*/ 469337 w 1439351"/>
                    <a:gd name="connsiteY3398" fmla="*/ 1085749 h 1323458"/>
                    <a:gd name="connsiteX3399" fmla="*/ 471462 w 1439351"/>
                    <a:gd name="connsiteY3399" fmla="*/ 1085396 h 1323458"/>
                    <a:gd name="connsiteX3400" fmla="*/ 472652 w 1439351"/>
                    <a:gd name="connsiteY3400" fmla="*/ 1085202 h 1323458"/>
                    <a:gd name="connsiteX3401" fmla="*/ 473672 w 1439351"/>
                    <a:gd name="connsiteY3401" fmla="*/ 1084571 h 1323458"/>
                    <a:gd name="connsiteX3402" fmla="*/ 476380 w 1439351"/>
                    <a:gd name="connsiteY3402" fmla="*/ 1082883 h 1323458"/>
                    <a:gd name="connsiteX3403" fmla="*/ 476902 w 1439351"/>
                    <a:gd name="connsiteY3403" fmla="*/ 1082555 h 1323458"/>
                    <a:gd name="connsiteX3404" fmla="*/ 477351 w 1439351"/>
                    <a:gd name="connsiteY3404" fmla="*/ 1082130 h 1323458"/>
                    <a:gd name="connsiteX3405" fmla="*/ 478663 w 1439351"/>
                    <a:gd name="connsiteY3405" fmla="*/ 1080891 h 1323458"/>
                    <a:gd name="connsiteX3406" fmla="*/ 479221 w 1439351"/>
                    <a:gd name="connsiteY3406" fmla="*/ 1080369 h 1323458"/>
                    <a:gd name="connsiteX3407" fmla="*/ 479634 w 1439351"/>
                    <a:gd name="connsiteY3407" fmla="*/ 1079714 h 1323458"/>
                    <a:gd name="connsiteX3408" fmla="*/ 480557 w 1439351"/>
                    <a:gd name="connsiteY3408" fmla="*/ 1078244 h 1323458"/>
                    <a:gd name="connsiteX3409" fmla="*/ 483629 w 1439351"/>
                    <a:gd name="connsiteY3409" fmla="*/ 1072173 h 1323458"/>
                    <a:gd name="connsiteX3410" fmla="*/ 484491 w 1439351"/>
                    <a:gd name="connsiteY3410" fmla="*/ 1071116 h 1323458"/>
                    <a:gd name="connsiteX3411" fmla="*/ 484843 w 1439351"/>
                    <a:gd name="connsiteY3411" fmla="*/ 1070837 h 1323458"/>
                    <a:gd name="connsiteX3412" fmla="*/ 485183 w 1439351"/>
                    <a:gd name="connsiteY3412" fmla="*/ 1070764 h 1323458"/>
                    <a:gd name="connsiteX3413" fmla="*/ 485208 w 1439351"/>
                    <a:gd name="connsiteY3413" fmla="*/ 1070764 h 1323458"/>
                    <a:gd name="connsiteX3414" fmla="*/ 486725 w 1439351"/>
                    <a:gd name="connsiteY3414" fmla="*/ 1071262 h 1323458"/>
                    <a:gd name="connsiteX3415" fmla="*/ 493732 w 1439351"/>
                    <a:gd name="connsiteY3415" fmla="*/ 1074541 h 1323458"/>
                    <a:gd name="connsiteX3416" fmla="*/ 494181 w 1439351"/>
                    <a:gd name="connsiteY3416" fmla="*/ 1074759 h 1323458"/>
                    <a:gd name="connsiteX3417" fmla="*/ 494655 w 1439351"/>
                    <a:gd name="connsiteY3417" fmla="*/ 1074893 h 1323458"/>
                    <a:gd name="connsiteX3418" fmla="*/ 500508 w 1439351"/>
                    <a:gd name="connsiteY3418" fmla="*/ 1076544 h 1323458"/>
                    <a:gd name="connsiteX3419" fmla="*/ 501030 w 1439351"/>
                    <a:gd name="connsiteY3419" fmla="*/ 1076690 h 1323458"/>
                    <a:gd name="connsiteX3420" fmla="*/ 501564 w 1439351"/>
                    <a:gd name="connsiteY3420" fmla="*/ 1076739 h 1323458"/>
                    <a:gd name="connsiteX3421" fmla="*/ 503932 w 1439351"/>
                    <a:gd name="connsiteY3421" fmla="*/ 1076969 h 1323458"/>
                    <a:gd name="connsiteX3422" fmla="*/ 504418 w 1439351"/>
                    <a:gd name="connsiteY3422" fmla="*/ 1077018 h 1323458"/>
                    <a:gd name="connsiteX3423" fmla="*/ 504903 w 1439351"/>
                    <a:gd name="connsiteY3423" fmla="*/ 1076994 h 1323458"/>
                    <a:gd name="connsiteX3424" fmla="*/ 519086 w 1439351"/>
                    <a:gd name="connsiteY3424" fmla="*/ 1076119 h 1323458"/>
                    <a:gd name="connsiteX3425" fmla="*/ 519463 w 1439351"/>
                    <a:gd name="connsiteY3425" fmla="*/ 1076095 h 1323458"/>
                    <a:gd name="connsiteX3426" fmla="*/ 519827 w 1439351"/>
                    <a:gd name="connsiteY3426" fmla="*/ 1076022 h 1323458"/>
                    <a:gd name="connsiteX3427" fmla="*/ 522681 w 1439351"/>
                    <a:gd name="connsiteY3427" fmla="*/ 1075488 h 1323458"/>
                    <a:gd name="connsiteX3428" fmla="*/ 524235 w 1439351"/>
                    <a:gd name="connsiteY3428" fmla="*/ 1077491 h 1323458"/>
                    <a:gd name="connsiteX3429" fmla="*/ 525619 w 1439351"/>
                    <a:gd name="connsiteY3429" fmla="*/ 1079264 h 1323458"/>
                    <a:gd name="connsiteX3430" fmla="*/ 527829 w 1439351"/>
                    <a:gd name="connsiteY3430" fmla="*/ 1079714 h 1323458"/>
                    <a:gd name="connsiteX3431" fmla="*/ 529687 w 1439351"/>
                    <a:gd name="connsiteY3431" fmla="*/ 1080090 h 1323458"/>
                    <a:gd name="connsiteX3432" fmla="*/ 531035 w 1439351"/>
                    <a:gd name="connsiteY3432" fmla="*/ 1080357 h 1323458"/>
                    <a:gd name="connsiteX3433" fmla="*/ 532371 w 1439351"/>
                    <a:gd name="connsiteY3433" fmla="*/ 1080017 h 1323458"/>
                    <a:gd name="connsiteX3434" fmla="*/ 534775 w 1439351"/>
                    <a:gd name="connsiteY3434" fmla="*/ 1079410 h 1323458"/>
                    <a:gd name="connsiteX3435" fmla="*/ 535516 w 1439351"/>
                    <a:gd name="connsiteY3435" fmla="*/ 1079228 h 1323458"/>
                    <a:gd name="connsiteX3436" fmla="*/ 536184 w 1439351"/>
                    <a:gd name="connsiteY3436" fmla="*/ 1078864 h 1323458"/>
                    <a:gd name="connsiteX3437" fmla="*/ 540227 w 1439351"/>
                    <a:gd name="connsiteY3437" fmla="*/ 1076690 h 1323458"/>
                    <a:gd name="connsiteX3438" fmla="*/ 541648 w 1439351"/>
                    <a:gd name="connsiteY3438" fmla="*/ 1076229 h 1323458"/>
                    <a:gd name="connsiteX3439" fmla="*/ 543664 w 1439351"/>
                    <a:gd name="connsiteY3439" fmla="*/ 1075840 h 1323458"/>
                    <a:gd name="connsiteX3440" fmla="*/ 545024 w 1439351"/>
                    <a:gd name="connsiteY3440" fmla="*/ 1075573 h 1323458"/>
                    <a:gd name="connsiteX3441" fmla="*/ 546129 w 1439351"/>
                    <a:gd name="connsiteY3441" fmla="*/ 1074747 h 1323458"/>
                    <a:gd name="connsiteX3442" fmla="*/ 546809 w 1439351"/>
                    <a:gd name="connsiteY3442" fmla="*/ 1074237 h 1323458"/>
                    <a:gd name="connsiteX3443" fmla="*/ 548533 w 1439351"/>
                    <a:gd name="connsiteY3443" fmla="*/ 1072950 h 1323458"/>
                    <a:gd name="connsiteX3444" fmla="*/ 549055 w 1439351"/>
                    <a:gd name="connsiteY3444" fmla="*/ 1070861 h 1323458"/>
                    <a:gd name="connsiteX3445" fmla="*/ 549468 w 1439351"/>
                    <a:gd name="connsiteY3445" fmla="*/ 1069246 h 1323458"/>
                    <a:gd name="connsiteX3446" fmla="*/ 549820 w 1439351"/>
                    <a:gd name="connsiteY3446" fmla="*/ 1067838 h 1323458"/>
                    <a:gd name="connsiteX3447" fmla="*/ 549504 w 1439351"/>
                    <a:gd name="connsiteY3447" fmla="*/ 1066417 h 1323458"/>
                    <a:gd name="connsiteX3448" fmla="*/ 549201 w 1439351"/>
                    <a:gd name="connsiteY3448" fmla="*/ 1065081 h 1323458"/>
                    <a:gd name="connsiteX3449" fmla="*/ 549055 w 1439351"/>
                    <a:gd name="connsiteY3449" fmla="*/ 1064438 h 1323458"/>
                    <a:gd name="connsiteX3450" fmla="*/ 548776 w 1439351"/>
                    <a:gd name="connsiteY3450" fmla="*/ 1063843 h 1323458"/>
                    <a:gd name="connsiteX3451" fmla="*/ 548144 w 1439351"/>
                    <a:gd name="connsiteY3451" fmla="*/ 1062495 h 1323458"/>
                    <a:gd name="connsiteX3452" fmla="*/ 547780 w 1439351"/>
                    <a:gd name="connsiteY3452" fmla="*/ 1061706 h 1323458"/>
                    <a:gd name="connsiteX3453" fmla="*/ 547210 w 1439351"/>
                    <a:gd name="connsiteY3453" fmla="*/ 1061062 h 1323458"/>
                    <a:gd name="connsiteX3454" fmla="*/ 544319 w 1439351"/>
                    <a:gd name="connsiteY3454" fmla="*/ 1057771 h 1323458"/>
                    <a:gd name="connsiteX3455" fmla="*/ 543579 w 1439351"/>
                    <a:gd name="connsiteY3455" fmla="*/ 1056727 h 1323458"/>
                    <a:gd name="connsiteX3456" fmla="*/ 543409 w 1439351"/>
                    <a:gd name="connsiteY3456" fmla="*/ 1056411 h 1323458"/>
                    <a:gd name="connsiteX3457" fmla="*/ 545934 w 1439351"/>
                    <a:gd name="connsiteY3457" fmla="*/ 1055646 h 1323458"/>
                    <a:gd name="connsiteX3458" fmla="*/ 549844 w 1439351"/>
                    <a:gd name="connsiteY3458" fmla="*/ 1055452 h 1323458"/>
                    <a:gd name="connsiteX3459" fmla="*/ 550573 w 1439351"/>
                    <a:gd name="connsiteY3459" fmla="*/ 1055416 h 1323458"/>
                    <a:gd name="connsiteX3460" fmla="*/ 551277 w 1439351"/>
                    <a:gd name="connsiteY3460" fmla="*/ 1055197 h 1323458"/>
                    <a:gd name="connsiteX3461" fmla="*/ 553973 w 1439351"/>
                    <a:gd name="connsiteY3461" fmla="*/ 1054408 h 1323458"/>
                    <a:gd name="connsiteX3462" fmla="*/ 554677 w 1439351"/>
                    <a:gd name="connsiteY3462" fmla="*/ 1054189 h 1323458"/>
                    <a:gd name="connsiteX3463" fmla="*/ 555321 w 1439351"/>
                    <a:gd name="connsiteY3463" fmla="*/ 1053813 h 1323458"/>
                    <a:gd name="connsiteX3464" fmla="*/ 558939 w 1439351"/>
                    <a:gd name="connsiteY3464" fmla="*/ 1051688 h 1323458"/>
                    <a:gd name="connsiteX3465" fmla="*/ 559219 w 1439351"/>
                    <a:gd name="connsiteY3465" fmla="*/ 1051518 h 1323458"/>
                    <a:gd name="connsiteX3466" fmla="*/ 559486 w 1439351"/>
                    <a:gd name="connsiteY3466" fmla="*/ 1051311 h 1323458"/>
                    <a:gd name="connsiteX3467" fmla="*/ 566662 w 1439351"/>
                    <a:gd name="connsiteY3467" fmla="*/ 1045968 h 1323458"/>
                    <a:gd name="connsiteX3468" fmla="*/ 566942 w 1439351"/>
                    <a:gd name="connsiteY3468" fmla="*/ 1045762 h 1323458"/>
                    <a:gd name="connsiteX3469" fmla="*/ 567197 w 1439351"/>
                    <a:gd name="connsiteY3469" fmla="*/ 1045519 h 1323458"/>
                    <a:gd name="connsiteX3470" fmla="*/ 571775 w 1439351"/>
                    <a:gd name="connsiteY3470" fmla="*/ 1041208 h 1323458"/>
                    <a:gd name="connsiteX3471" fmla="*/ 574009 w 1439351"/>
                    <a:gd name="connsiteY3471" fmla="*/ 1039630 h 1323458"/>
                    <a:gd name="connsiteX3472" fmla="*/ 584355 w 1439351"/>
                    <a:gd name="connsiteY3472" fmla="*/ 1034906 h 1323458"/>
                    <a:gd name="connsiteX3473" fmla="*/ 586225 w 1439351"/>
                    <a:gd name="connsiteY3473" fmla="*/ 1035793 h 1323458"/>
                    <a:gd name="connsiteX3474" fmla="*/ 586698 w 1439351"/>
                    <a:gd name="connsiteY3474" fmla="*/ 1036023 h 1323458"/>
                    <a:gd name="connsiteX3475" fmla="*/ 587208 w 1439351"/>
                    <a:gd name="connsiteY3475" fmla="*/ 1036169 h 1323458"/>
                    <a:gd name="connsiteX3476" fmla="*/ 588362 w 1439351"/>
                    <a:gd name="connsiteY3476" fmla="*/ 1036485 h 1323458"/>
                    <a:gd name="connsiteX3477" fmla="*/ 589297 w 1439351"/>
                    <a:gd name="connsiteY3477" fmla="*/ 1036740 h 1323458"/>
                    <a:gd name="connsiteX3478" fmla="*/ 590268 w 1439351"/>
                    <a:gd name="connsiteY3478" fmla="*/ 1036691 h 1323458"/>
                    <a:gd name="connsiteX3479" fmla="*/ 591130 w 1439351"/>
                    <a:gd name="connsiteY3479" fmla="*/ 1036655 h 1323458"/>
                    <a:gd name="connsiteX3480" fmla="*/ 591980 w 1439351"/>
                    <a:gd name="connsiteY3480" fmla="*/ 1036618 h 1323458"/>
                    <a:gd name="connsiteX3481" fmla="*/ 592782 w 1439351"/>
                    <a:gd name="connsiteY3481" fmla="*/ 1036351 h 1323458"/>
                    <a:gd name="connsiteX3482" fmla="*/ 593413 w 1439351"/>
                    <a:gd name="connsiteY3482" fmla="*/ 1036133 h 1323458"/>
                    <a:gd name="connsiteX3483" fmla="*/ 594300 w 1439351"/>
                    <a:gd name="connsiteY3483" fmla="*/ 1035841 h 1323458"/>
                    <a:gd name="connsiteX3484" fmla="*/ 595053 w 1439351"/>
                    <a:gd name="connsiteY3484" fmla="*/ 1035295 h 1323458"/>
                    <a:gd name="connsiteX3485" fmla="*/ 603152 w 1439351"/>
                    <a:gd name="connsiteY3485" fmla="*/ 1029405 h 1323458"/>
                    <a:gd name="connsiteX3486" fmla="*/ 603541 w 1439351"/>
                    <a:gd name="connsiteY3486" fmla="*/ 1029126 h 1323458"/>
                    <a:gd name="connsiteX3487" fmla="*/ 603881 w 1439351"/>
                    <a:gd name="connsiteY3487" fmla="*/ 1028786 h 1323458"/>
                    <a:gd name="connsiteX3488" fmla="*/ 605253 w 1439351"/>
                    <a:gd name="connsiteY3488" fmla="*/ 1027414 h 1323458"/>
                    <a:gd name="connsiteX3489" fmla="*/ 605520 w 1439351"/>
                    <a:gd name="connsiteY3489" fmla="*/ 1027147 h 1323458"/>
                    <a:gd name="connsiteX3490" fmla="*/ 605763 w 1439351"/>
                    <a:gd name="connsiteY3490" fmla="*/ 1026843 h 1323458"/>
                    <a:gd name="connsiteX3491" fmla="*/ 606856 w 1439351"/>
                    <a:gd name="connsiteY3491" fmla="*/ 1025435 h 1323458"/>
                    <a:gd name="connsiteX3492" fmla="*/ 607329 w 1439351"/>
                    <a:gd name="connsiteY3492" fmla="*/ 1024828 h 1323458"/>
                    <a:gd name="connsiteX3493" fmla="*/ 607536 w 1439351"/>
                    <a:gd name="connsiteY3493" fmla="*/ 1024366 h 1323458"/>
                    <a:gd name="connsiteX3494" fmla="*/ 607863 w 1439351"/>
                    <a:gd name="connsiteY3494" fmla="*/ 1024512 h 1323458"/>
                    <a:gd name="connsiteX3495" fmla="*/ 608653 w 1439351"/>
                    <a:gd name="connsiteY3495" fmla="*/ 1024633 h 1323458"/>
                    <a:gd name="connsiteX3496" fmla="*/ 609988 w 1439351"/>
                    <a:gd name="connsiteY3496" fmla="*/ 1024840 h 1323458"/>
                    <a:gd name="connsiteX3497" fmla="*/ 610923 w 1439351"/>
                    <a:gd name="connsiteY3497" fmla="*/ 1024985 h 1323458"/>
                    <a:gd name="connsiteX3498" fmla="*/ 611871 w 1439351"/>
                    <a:gd name="connsiteY3498" fmla="*/ 1024828 h 1323458"/>
                    <a:gd name="connsiteX3499" fmla="*/ 613182 w 1439351"/>
                    <a:gd name="connsiteY3499" fmla="*/ 1024621 h 1323458"/>
                    <a:gd name="connsiteX3500" fmla="*/ 613583 w 1439351"/>
                    <a:gd name="connsiteY3500" fmla="*/ 1024560 h 1323458"/>
                    <a:gd name="connsiteX3501" fmla="*/ 613971 w 1439351"/>
                    <a:gd name="connsiteY3501" fmla="*/ 1024439 h 1323458"/>
                    <a:gd name="connsiteX3502" fmla="*/ 617092 w 1439351"/>
                    <a:gd name="connsiteY3502" fmla="*/ 1023504 h 1323458"/>
                    <a:gd name="connsiteX3503" fmla="*/ 617796 w 1439351"/>
                    <a:gd name="connsiteY3503" fmla="*/ 1023370 h 1323458"/>
                    <a:gd name="connsiteX3504" fmla="*/ 620249 w 1439351"/>
                    <a:gd name="connsiteY3504" fmla="*/ 1026710 h 1323458"/>
                    <a:gd name="connsiteX3505" fmla="*/ 620456 w 1439351"/>
                    <a:gd name="connsiteY3505" fmla="*/ 1027159 h 1323458"/>
                    <a:gd name="connsiteX3506" fmla="*/ 620771 w 1439351"/>
                    <a:gd name="connsiteY3506" fmla="*/ 1028167 h 1323458"/>
                    <a:gd name="connsiteX3507" fmla="*/ 621585 w 1439351"/>
                    <a:gd name="connsiteY3507" fmla="*/ 1033680 h 1323458"/>
                    <a:gd name="connsiteX3508" fmla="*/ 621913 w 1439351"/>
                    <a:gd name="connsiteY3508" fmla="*/ 1041099 h 1323458"/>
                    <a:gd name="connsiteX3509" fmla="*/ 621937 w 1439351"/>
                    <a:gd name="connsiteY3509" fmla="*/ 1041791 h 1323458"/>
                    <a:gd name="connsiteX3510" fmla="*/ 622119 w 1439351"/>
                    <a:gd name="connsiteY3510" fmla="*/ 1042459 h 1323458"/>
                    <a:gd name="connsiteX3511" fmla="*/ 622690 w 1439351"/>
                    <a:gd name="connsiteY3511" fmla="*/ 1044511 h 1323458"/>
                    <a:gd name="connsiteX3512" fmla="*/ 622969 w 1439351"/>
                    <a:gd name="connsiteY3512" fmla="*/ 1045531 h 1323458"/>
                    <a:gd name="connsiteX3513" fmla="*/ 623576 w 1439351"/>
                    <a:gd name="connsiteY3513" fmla="*/ 1046393 h 1323458"/>
                    <a:gd name="connsiteX3514" fmla="*/ 624439 w 1439351"/>
                    <a:gd name="connsiteY3514" fmla="*/ 1047608 h 1323458"/>
                    <a:gd name="connsiteX3515" fmla="*/ 625568 w 1439351"/>
                    <a:gd name="connsiteY3515" fmla="*/ 1049211 h 1323458"/>
                    <a:gd name="connsiteX3516" fmla="*/ 627414 w 1439351"/>
                    <a:gd name="connsiteY3516" fmla="*/ 1049842 h 1323458"/>
                    <a:gd name="connsiteX3517" fmla="*/ 629733 w 1439351"/>
                    <a:gd name="connsiteY3517" fmla="*/ 1050643 h 1323458"/>
                    <a:gd name="connsiteX3518" fmla="*/ 631154 w 1439351"/>
                    <a:gd name="connsiteY3518" fmla="*/ 1051506 h 1323458"/>
                    <a:gd name="connsiteX3519" fmla="*/ 631166 w 1439351"/>
                    <a:gd name="connsiteY3519" fmla="*/ 1051518 h 1323458"/>
                    <a:gd name="connsiteX3520" fmla="*/ 632526 w 1439351"/>
                    <a:gd name="connsiteY3520" fmla="*/ 1054056 h 1323458"/>
                    <a:gd name="connsiteX3521" fmla="*/ 633218 w 1439351"/>
                    <a:gd name="connsiteY3521" fmla="*/ 1055343 h 1323458"/>
                    <a:gd name="connsiteX3522" fmla="*/ 634420 w 1439351"/>
                    <a:gd name="connsiteY3522" fmla="*/ 1056181 h 1323458"/>
                    <a:gd name="connsiteX3523" fmla="*/ 635173 w 1439351"/>
                    <a:gd name="connsiteY3523" fmla="*/ 1056703 h 1323458"/>
                    <a:gd name="connsiteX3524" fmla="*/ 636727 w 1439351"/>
                    <a:gd name="connsiteY3524" fmla="*/ 1057783 h 1323458"/>
                    <a:gd name="connsiteX3525" fmla="*/ 638622 w 1439351"/>
                    <a:gd name="connsiteY3525" fmla="*/ 1057783 h 1323458"/>
                    <a:gd name="connsiteX3526" fmla="*/ 638840 w 1439351"/>
                    <a:gd name="connsiteY3526" fmla="*/ 1057783 h 1323458"/>
                    <a:gd name="connsiteX3527" fmla="*/ 638962 w 1439351"/>
                    <a:gd name="connsiteY3527" fmla="*/ 1058816 h 1323458"/>
                    <a:gd name="connsiteX3528" fmla="*/ 639034 w 1439351"/>
                    <a:gd name="connsiteY3528" fmla="*/ 1059544 h 1323458"/>
                    <a:gd name="connsiteX3529" fmla="*/ 639289 w 1439351"/>
                    <a:gd name="connsiteY3529" fmla="*/ 1060224 h 1323458"/>
                    <a:gd name="connsiteX3530" fmla="*/ 639690 w 1439351"/>
                    <a:gd name="connsiteY3530" fmla="*/ 1061317 h 1323458"/>
                    <a:gd name="connsiteX3531" fmla="*/ 639811 w 1439351"/>
                    <a:gd name="connsiteY3531" fmla="*/ 1061657 h 1323458"/>
                    <a:gd name="connsiteX3532" fmla="*/ 639982 w 1439351"/>
                    <a:gd name="connsiteY3532" fmla="*/ 1061973 h 1323458"/>
                    <a:gd name="connsiteX3533" fmla="*/ 640115 w 1439351"/>
                    <a:gd name="connsiteY3533" fmla="*/ 1062240 h 1323458"/>
                    <a:gd name="connsiteX3534" fmla="*/ 638233 w 1439351"/>
                    <a:gd name="connsiteY3534" fmla="*/ 1062968 h 1323458"/>
                    <a:gd name="connsiteX3535" fmla="*/ 637747 w 1439351"/>
                    <a:gd name="connsiteY3535" fmla="*/ 1063163 h 1323458"/>
                    <a:gd name="connsiteX3536" fmla="*/ 637298 w 1439351"/>
                    <a:gd name="connsiteY3536" fmla="*/ 1063442 h 1323458"/>
                    <a:gd name="connsiteX3537" fmla="*/ 634833 w 1439351"/>
                    <a:gd name="connsiteY3537" fmla="*/ 1064972 h 1323458"/>
                    <a:gd name="connsiteX3538" fmla="*/ 634578 w 1439351"/>
                    <a:gd name="connsiteY3538" fmla="*/ 1065094 h 1323458"/>
                    <a:gd name="connsiteX3539" fmla="*/ 633619 w 1439351"/>
                    <a:gd name="connsiteY3539" fmla="*/ 1065434 h 1323458"/>
                    <a:gd name="connsiteX3540" fmla="*/ 633169 w 1439351"/>
                    <a:gd name="connsiteY3540" fmla="*/ 1065591 h 1323458"/>
                    <a:gd name="connsiteX3541" fmla="*/ 632744 w 1439351"/>
                    <a:gd name="connsiteY3541" fmla="*/ 1065822 h 1323458"/>
                    <a:gd name="connsiteX3542" fmla="*/ 631712 w 1439351"/>
                    <a:gd name="connsiteY3542" fmla="*/ 1066381 h 1323458"/>
                    <a:gd name="connsiteX3543" fmla="*/ 630838 w 1439351"/>
                    <a:gd name="connsiteY3543" fmla="*/ 1066854 h 1323458"/>
                    <a:gd name="connsiteX3544" fmla="*/ 630158 w 1439351"/>
                    <a:gd name="connsiteY3544" fmla="*/ 1067583 h 1323458"/>
                    <a:gd name="connsiteX3545" fmla="*/ 629344 w 1439351"/>
                    <a:gd name="connsiteY3545" fmla="*/ 1068457 h 1323458"/>
                    <a:gd name="connsiteX3546" fmla="*/ 628810 w 1439351"/>
                    <a:gd name="connsiteY3546" fmla="*/ 1069028 h 1323458"/>
                    <a:gd name="connsiteX3547" fmla="*/ 628446 w 1439351"/>
                    <a:gd name="connsiteY3547" fmla="*/ 1069720 h 1323458"/>
                    <a:gd name="connsiteX3548" fmla="*/ 627778 w 1439351"/>
                    <a:gd name="connsiteY3548" fmla="*/ 1070946 h 1323458"/>
                    <a:gd name="connsiteX3549" fmla="*/ 627231 w 1439351"/>
                    <a:gd name="connsiteY3549" fmla="*/ 1071699 h 1323458"/>
                    <a:gd name="connsiteX3550" fmla="*/ 623831 w 1439351"/>
                    <a:gd name="connsiteY3550" fmla="*/ 1075075 h 1323458"/>
                    <a:gd name="connsiteX3551" fmla="*/ 623443 w 1439351"/>
                    <a:gd name="connsiteY3551" fmla="*/ 1075451 h 1323458"/>
                    <a:gd name="connsiteX3552" fmla="*/ 623139 w 1439351"/>
                    <a:gd name="connsiteY3552" fmla="*/ 1075901 h 1323458"/>
                    <a:gd name="connsiteX3553" fmla="*/ 622362 w 1439351"/>
                    <a:gd name="connsiteY3553" fmla="*/ 1077006 h 1323458"/>
                    <a:gd name="connsiteX3554" fmla="*/ 621281 w 1439351"/>
                    <a:gd name="connsiteY3554" fmla="*/ 1075998 h 1323458"/>
                    <a:gd name="connsiteX3555" fmla="*/ 618149 w 1439351"/>
                    <a:gd name="connsiteY3555" fmla="*/ 1076714 h 1323458"/>
                    <a:gd name="connsiteX3556" fmla="*/ 617396 w 1439351"/>
                    <a:gd name="connsiteY3556" fmla="*/ 1076884 h 1323458"/>
                    <a:gd name="connsiteX3557" fmla="*/ 615137 w 1439351"/>
                    <a:gd name="connsiteY3557" fmla="*/ 1077394 h 1323458"/>
                    <a:gd name="connsiteX3558" fmla="*/ 613789 w 1439351"/>
                    <a:gd name="connsiteY3558" fmla="*/ 1079276 h 1323458"/>
                    <a:gd name="connsiteX3559" fmla="*/ 613218 w 1439351"/>
                    <a:gd name="connsiteY3559" fmla="*/ 1080078 h 1323458"/>
                    <a:gd name="connsiteX3560" fmla="*/ 612320 w 1439351"/>
                    <a:gd name="connsiteY3560" fmla="*/ 1081353 h 1323458"/>
                    <a:gd name="connsiteX3561" fmla="*/ 612138 w 1439351"/>
                    <a:gd name="connsiteY3561" fmla="*/ 1082907 h 1323458"/>
                    <a:gd name="connsiteX3562" fmla="*/ 611858 w 1439351"/>
                    <a:gd name="connsiteY3562" fmla="*/ 1085348 h 1323458"/>
                    <a:gd name="connsiteX3563" fmla="*/ 611822 w 1439351"/>
                    <a:gd name="connsiteY3563" fmla="*/ 1085688 h 1323458"/>
                    <a:gd name="connsiteX3564" fmla="*/ 611822 w 1439351"/>
                    <a:gd name="connsiteY3564" fmla="*/ 1086028 h 1323458"/>
                    <a:gd name="connsiteX3565" fmla="*/ 611822 w 1439351"/>
                    <a:gd name="connsiteY3565" fmla="*/ 1087728 h 1323458"/>
                    <a:gd name="connsiteX3566" fmla="*/ 611822 w 1439351"/>
                    <a:gd name="connsiteY3566" fmla="*/ 1088505 h 1323458"/>
                    <a:gd name="connsiteX3567" fmla="*/ 612028 w 1439351"/>
                    <a:gd name="connsiteY3567" fmla="*/ 1089270 h 1323458"/>
                    <a:gd name="connsiteX3568" fmla="*/ 613218 w 1439351"/>
                    <a:gd name="connsiteY3568" fmla="*/ 1093799 h 1323458"/>
                    <a:gd name="connsiteX3569" fmla="*/ 613388 w 1439351"/>
                    <a:gd name="connsiteY3569" fmla="*/ 1094431 h 1323458"/>
                    <a:gd name="connsiteX3570" fmla="*/ 613680 w 1439351"/>
                    <a:gd name="connsiteY3570" fmla="*/ 1095014 h 1323458"/>
                    <a:gd name="connsiteX3571" fmla="*/ 614663 w 1439351"/>
                    <a:gd name="connsiteY3571" fmla="*/ 1096944 h 1323458"/>
                    <a:gd name="connsiteX3572" fmla="*/ 614858 w 1439351"/>
                    <a:gd name="connsiteY3572" fmla="*/ 1097321 h 1323458"/>
                    <a:gd name="connsiteX3573" fmla="*/ 615101 w 1439351"/>
                    <a:gd name="connsiteY3573" fmla="*/ 1097673 h 1323458"/>
                    <a:gd name="connsiteX3574" fmla="*/ 617226 w 1439351"/>
                    <a:gd name="connsiteY3574" fmla="*/ 1100709 h 1323458"/>
                    <a:gd name="connsiteX3575" fmla="*/ 618100 w 1439351"/>
                    <a:gd name="connsiteY3575" fmla="*/ 1101972 h 1323458"/>
                    <a:gd name="connsiteX3576" fmla="*/ 619472 w 1439351"/>
                    <a:gd name="connsiteY3576" fmla="*/ 1102664 h 1323458"/>
                    <a:gd name="connsiteX3577" fmla="*/ 621136 w 1439351"/>
                    <a:gd name="connsiteY3577" fmla="*/ 1103502 h 1323458"/>
                    <a:gd name="connsiteX3578" fmla="*/ 622216 w 1439351"/>
                    <a:gd name="connsiteY3578" fmla="*/ 1104048 h 1323458"/>
                    <a:gd name="connsiteX3579" fmla="*/ 623431 w 1439351"/>
                    <a:gd name="connsiteY3579" fmla="*/ 1104133 h 1323458"/>
                    <a:gd name="connsiteX3580" fmla="*/ 625495 w 1439351"/>
                    <a:gd name="connsiteY3580" fmla="*/ 1104279 h 1323458"/>
                    <a:gd name="connsiteX3581" fmla="*/ 626770 w 1439351"/>
                    <a:gd name="connsiteY3581" fmla="*/ 1104376 h 1323458"/>
                    <a:gd name="connsiteX3582" fmla="*/ 627972 w 1439351"/>
                    <a:gd name="connsiteY3582" fmla="*/ 1103939 h 1323458"/>
                    <a:gd name="connsiteX3583" fmla="*/ 632926 w 1439351"/>
                    <a:gd name="connsiteY3583" fmla="*/ 1102166 h 1323458"/>
                    <a:gd name="connsiteX3584" fmla="*/ 633995 w 1439351"/>
                    <a:gd name="connsiteY3584" fmla="*/ 1101984 h 1323458"/>
                    <a:gd name="connsiteX3585" fmla="*/ 635501 w 1439351"/>
                    <a:gd name="connsiteY3585" fmla="*/ 1102251 h 1323458"/>
                    <a:gd name="connsiteX3586" fmla="*/ 636509 w 1439351"/>
                    <a:gd name="connsiteY3586" fmla="*/ 1102579 h 1323458"/>
                    <a:gd name="connsiteX3587" fmla="*/ 637784 w 1439351"/>
                    <a:gd name="connsiteY3587" fmla="*/ 1103150 h 1323458"/>
                    <a:gd name="connsiteX3588" fmla="*/ 639593 w 1439351"/>
                    <a:gd name="connsiteY3588" fmla="*/ 1103805 h 1323458"/>
                    <a:gd name="connsiteX3589" fmla="*/ 640297 w 1439351"/>
                    <a:gd name="connsiteY3589" fmla="*/ 1104048 h 1323458"/>
                    <a:gd name="connsiteX3590" fmla="*/ 641038 w 1439351"/>
                    <a:gd name="connsiteY3590" fmla="*/ 1104121 h 1323458"/>
                    <a:gd name="connsiteX3591" fmla="*/ 642653 w 1439351"/>
                    <a:gd name="connsiteY3591" fmla="*/ 1104267 h 1323458"/>
                    <a:gd name="connsiteX3592" fmla="*/ 643891 w 1439351"/>
                    <a:gd name="connsiteY3592" fmla="*/ 1104376 h 1323458"/>
                    <a:gd name="connsiteX3593" fmla="*/ 645069 w 1439351"/>
                    <a:gd name="connsiteY3593" fmla="*/ 1103999 h 1323458"/>
                    <a:gd name="connsiteX3594" fmla="*/ 646320 w 1439351"/>
                    <a:gd name="connsiteY3594" fmla="*/ 1103599 h 1323458"/>
                    <a:gd name="connsiteX3595" fmla="*/ 648469 w 1439351"/>
                    <a:gd name="connsiteY3595" fmla="*/ 1102907 h 1323458"/>
                    <a:gd name="connsiteX3596" fmla="*/ 649222 w 1439351"/>
                    <a:gd name="connsiteY3596" fmla="*/ 1101668 h 1323458"/>
                    <a:gd name="connsiteX3597" fmla="*/ 649817 w 1439351"/>
                    <a:gd name="connsiteY3597" fmla="*/ 1102008 h 1323458"/>
                    <a:gd name="connsiteX3598" fmla="*/ 651019 w 1439351"/>
                    <a:gd name="connsiteY3598" fmla="*/ 1102700 h 1323458"/>
                    <a:gd name="connsiteX3599" fmla="*/ 652707 w 1439351"/>
                    <a:gd name="connsiteY3599" fmla="*/ 1103672 h 1323458"/>
                    <a:gd name="connsiteX3600" fmla="*/ 654650 w 1439351"/>
                    <a:gd name="connsiteY3600" fmla="*/ 1103477 h 1323458"/>
                    <a:gd name="connsiteX3601" fmla="*/ 656775 w 1439351"/>
                    <a:gd name="connsiteY3601" fmla="*/ 1103271 h 1323458"/>
                    <a:gd name="connsiteX3602" fmla="*/ 657261 w 1439351"/>
                    <a:gd name="connsiteY3602" fmla="*/ 1103222 h 1323458"/>
                    <a:gd name="connsiteX3603" fmla="*/ 657734 w 1439351"/>
                    <a:gd name="connsiteY3603" fmla="*/ 1103101 h 1323458"/>
                    <a:gd name="connsiteX3604" fmla="*/ 659350 w 1439351"/>
                    <a:gd name="connsiteY3604" fmla="*/ 1102676 h 1323458"/>
                    <a:gd name="connsiteX3605" fmla="*/ 660272 w 1439351"/>
                    <a:gd name="connsiteY3605" fmla="*/ 1102433 h 1323458"/>
                    <a:gd name="connsiteX3606" fmla="*/ 661074 w 1439351"/>
                    <a:gd name="connsiteY3606" fmla="*/ 1101923 h 1323458"/>
                    <a:gd name="connsiteX3607" fmla="*/ 668019 w 1439351"/>
                    <a:gd name="connsiteY3607" fmla="*/ 1097467 h 1323458"/>
                    <a:gd name="connsiteX3608" fmla="*/ 671225 w 1439351"/>
                    <a:gd name="connsiteY3608" fmla="*/ 1095414 h 1323458"/>
                    <a:gd name="connsiteX3609" fmla="*/ 670776 w 1439351"/>
                    <a:gd name="connsiteY3609" fmla="*/ 1091638 h 1323458"/>
                    <a:gd name="connsiteX3610" fmla="*/ 670545 w 1439351"/>
                    <a:gd name="connsiteY3610" fmla="*/ 1089695 h 1323458"/>
                    <a:gd name="connsiteX3611" fmla="*/ 670315 w 1439351"/>
                    <a:gd name="connsiteY3611" fmla="*/ 1087789 h 1323458"/>
                    <a:gd name="connsiteX3612" fmla="*/ 669039 w 1439351"/>
                    <a:gd name="connsiteY3612" fmla="*/ 1086356 h 1323458"/>
                    <a:gd name="connsiteX3613" fmla="*/ 668530 w 1439351"/>
                    <a:gd name="connsiteY3613" fmla="*/ 1085785 h 1323458"/>
                    <a:gd name="connsiteX3614" fmla="*/ 668457 w 1439351"/>
                    <a:gd name="connsiteY3614" fmla="*/ 1085700 h 1323458"/>
                    <a:gd name="connsiteX3615" fmla="*/ 668566 w 1439351"/>
                    <a:gd name="connsiteY3615" fmla="*/ 1085688 h 1323458"/>
                    <a:gd name="connsiteX3616" fmla="*/ 670157 w 1439351"/>
                    <a:gd name="connsiteY3616" fmla="*/ 1085421 h 1323458"/>
                    <a:gd name="connsiteX3617" fmla="*/ 670509 w 1439351"/>
                    <a:gd name="connsiteY3617" fmla="*/ 1085360 h 1323458"/>
                    <a:gd name="connsiteX3618" fmla="*/ 670849 w 1439351"/>
                    <a:gd name="connsiteY3618" fmla="*/ 1085263 h 1323458"/>
                    <a:gd name="connsiteX3619" fmla="*/ 672306 w 1439351"/>
                    <a:gd name="connsiteY3619" fmla="*/ 1084850 h 1323458"/>
                    <a:gd name="connsiteX3620" fmla="*/ 673399 w 1439351"/>
                    <a:gd name="connsiteY3620" fmla="*/ 1084534 h 1323458"/>
                    <a:gd name="connsiteX3621" fmla="*/ 674297 w 1439351"/>
                    <a:gd name="connsiteY3621" fmla="*/ 1083842 h 1323458"/>
                    <a:gd name="connsiteX3622" fmla="*/ 675269 w 1439351"/>
                    <a:gd name="connsiteY3622" fmla="*/ 1083102 h 1323458"/>
                    <a:gd name="connsiteX3623" fmla="*/ 675985 w 1439351"/>
                    <a:gd name="connsiteY3623" fmla="*/ 1082555 h 1323458"/>
                    <a:gd name="connsiteX3624" fmla="*/ 676702 w 1439351"/>
                    <a:gd name="connsiteY3624" fmla="*/ 1083624 h 1323458"/>
                    <a:gd name="connsiteX3625" fmla="*/ 677054 w 1439351"/>
                    <a:gd name="connsiteY3625" fmla="*/ 1084158 h 1323458"/>
                    <a:gd name="connsiteX3626" fmla="*/ 677527 w 1439351"/>
                    <a:gd name="connsiteY3626" fmla="*/ 1084607 h 1323458"/>
                    <a:gd name="connsiteX3627" fmla="*/ 682227 w 1439351"/>
                    <a:gd name="connsiteY3627" fmla="*/ 1089173 h 1323458"/>
                    <a:gd name="connsiteX3628" fmla="*/ 682627 w 1439351"/>
                    <a:gd name="connsiteY3628" fmla="*/ 1089562 h 1323458"/>
                    <a:gd name="connsiteX3629" fmla="*/ 683089 w 1439351"/>
                    <a:gd name="connsiteY3629" fmla="*/ 1089865 h 1323458"/>
                    <a:gd name="connsiteX3630" fmla="*/ 684582 w 1439351"/>
                    <a:gd name="connsiteY3630" fmla="*/ 1090861 h 1323458"/>
                    <a:gd name="connsiteX3631" fmla="*/ 685056 w 1439351"/>
                    <a:gd name="connsiteY3631" fmla="*/ 1091164 h 1323458"/>
                    <a:gd name="connsiteX3632" fmla="*/ 685566 w 1439351"/>
                    <a:gd name="connsiteY3632" fmla="*/ 1091395 h 1323458"/>
                    <a:gd name="connsiteX3633" fmla="*/ 687120 w 1439351"/>
                    <a:gd name="connsiteY3633" fmla="*/ 1092063 h 1323458"/>
                    <a:gd name="connsiteX3634" fmla="*/ 688808 w 1439351"/>
                    <a:gd name="connsiteY3634" fmla="*/ 1092779 h 1323458"/>
                    <a:gd name="connsiteX3635" fmla="*/ 690605 w 1439351"/>
                    <a:gd name="connsiteY3635" fmla="*/ 1092452 h 1323458"/>
                    <a:gd name="connsiteX3636" fmla="*/ 692500 w 1439351"/>
                    <a:gd name="connsiteY3636" fmla="*/ 1092099 h 1323458"/>
                    <a:gd name="connsiteX3637" fmla="*/ 692937 w 1439351"/>
                    <a:gd name="connsiteY3637" fmla="*/ 1092027 h 1323458"/>
                    <a:gd name="connsiteX3638" fmla="*/ 693350 w 1439351"/>
                    <a:gd name="connsiteY3638" fmla="*/ 1091881 h 1323458"/>
                    <a:gd name="connsiteX3639" fmla="*/ 696458 w 1439351"/>
                    <a:gd name="connsiteY3639" fmla="*/ 1090836 h 1323458"/>
                    <a:gd name="connsiteX3640" fmla="*/ 697503 w 1439351"/>
                    <a:gd name="connsiteY3640" fmla="*/ 1090618 h 1323458"/>
                    <a:gd name="connsiteX3641" fmla="*/ 701012 w 1439351"/>
                    <a:gd name="connsiteY3641" fmla="*/ 1090557 h 1323458"/>
                    <a:gd name="connsiteX3642" fmla="*/ 701522 w 1439351"/>
                    <a:gd name="connsiteY3642" fmla="*/ 1090545 h 1323458"/>
                    <a:gd name="connsiteX3643" fmla="*/ 702020 w 1439351"/>
                    <a:gd name="connsiteY3643" fmla="*/ 1090460 h 1323458"/>
                    <a:gd name="connsiteX3644" fmla="*/ 703902 w 1439351"/>
                    <a:gd name="connsiteY3644" fmla="*/ 1090108 h 1323458"/>
                    <a:gd name="connsiteX3645" fmla="*/ 705262 w 1439351"/>
                    <a:gd name="connsiteY3645" fmla="*/ 1089853 h 1323458"/>
                    <a:gd name="connsiteX3646" fmla="*/ 706367 w 1439351"/>
                    <a:gd name="connsiteY3646" fmla="*/ 1089052 h 1323458"/>
                    <a:gd name="connsiteX3647" fmla="*/ 707982 w 1439351"/>
                    <a:gd name="connsiteY3647" fmla="*/ 1087862 h 1323458"/>
                    <a:gd name="connsiteX3648" fmla="*/ 709524 w 1439351"/>
                    <a:gd name="connsiteY3648" fmla="*/ 1086744 h 1323458"/>
                    <a:gd name="connsiteX3649" fmla="*/ 710143 w 1439351"/>
                    <a:gd name="connsiteY3649" fmla="*/ 1084935 h 1323458"/>
                    <a:gd name="connsiteX3650" fmla="*/ 710666 w 1439351"/>
                    <a:gd name="connsiteY3650" fmla="*/ 1083417 h 1323458"/>
                    <a:gd name="connsiteX3651" fmla="*/ 711370 w 1439351"/>
                    <a:gd name="connsiteY3651" fmla="*/ 1081377 h 1323458"/>
                    <a:gd name="connsiteX3652" fmla="*/ 710617 w 1439351"/>
                    <a:gd name="connsiteY3652" fmla="*/ 1079349 h 1323458"/>
                    <a:gd name="connsiteX3653" fmla="*/ 709973 w 1439351"/>
                    <a:gd name="connsiteY3653" fmla="*/ 1077589 h 1323458"/>
                    <a:gd name="connsiteX3654" fmla="*/ 709500 w 1439351"/>
                    <a:gd name="connsiteY3654" fmla="*/ 1076314 h 1323458"/>
                    <a:gd name="connsiteX3655" fmla="*/ 708528 w 1439351"/>
                    <a:gd name="connsiteY3655" fmla="*/ 1075354 h 1323458"/>
                    <a:gd name="connsiteX3656" fmla="*/ 708188 w 1439351"/>
                    <a:gd name="connsiteY3656" fmla="*/ 1075014 h 1323458"/>
                    <a:gd name="connsiteX3657" fmla="*/ 711054 w 1439351"/>
                    <a:gd name="connsiteY3657" fmla="*/ 1074929 h 1323458"/>
                    <a:gd name="connsiteX3658" fmla="*/ 711552 w 1439351"/>
                    <a:gd name="connsiteY3658" fmla="*/ 1074917 h 1323458"/>
                    <a:gd name="connsiteX3659" fmla="*/ 712050 w 1439351"/>
                    <a:gd name="connsiteY3659" fmla="*/ 1074820 h 1323458"/>
                    <a:gd name="connsiteX3660" fmla="*/ 713665 w 1439351"/>
                    <a:gd name="connsiteY3660" fmla="*/ 1074504 h 1323458"/>
                    <a:gd name="connsiteX3661" fmla="*/ 714272 w 1439351"/>
                    <a:gd name="connsiteY3661" fmla="*/ 1074383 h 1323458"/>
                    <a:gd name="connsiteX3662" fmla="*/ 714843 w 1439351"/>
                    <a:gd name="connsiteY3662" fmla="*/ 1074140 h 1323458"/>
                    <a:gd name="connsiteX3663" fmla="*/ 716336 w 1439351"/>
                    <a:gd name="connsiteY3663" fmla="*/ 1073508 h 1323458"/>
                    <a:gd name="connsiteX3664" fmla="*/ 717259 w 1439351"/>
                    <a:gd name="connsiteY3664" fmla="*/ 1073120 h 1323458"/>
                    <a:gd name="connsiteX3665" fmla="*/ 718012 w 1439351"/>
                    <a:gd name="connsiteY3665" fmla="*/ 1072464 h 1323458"/>
                    <a:gd name="connsiteX3666" fmla="*/ 718838 w 1439351"/>
                    <a:gd name="connsiteY3666" fmla="*/ 1071724 h 1323458"/>
                    <a:gd name="connsiteX3667" fmla="*/ 718231 w 1439351"/>
                    <a:gd name="connsiteY3667" fmla="*/ 1073120 h 1323458"/>
                    <a:gd name="connsiteX3668" fmla="*/ 718036 w 1439351"/>
                    <a:gd name="connsiteY3668" fmla="*/ 1073569 h 1323458"/>
                    <a:gd name="connsiteX3669" fmla="*/ 717915 w 1439351"/>
                    <a:gd name="connsiteY3669" fmla="*/ 1074043 h 1323458"/>
                    <a:gd name="connsiteX3670" fmla="*/ 717453 w 1439351"/>
                    <a:gd name="connsiteY3670" fmla="*/ 1075816 h 1323458"/>
                    <a:gd name="connsiteX3671" fmla="*/ 717344 w 1439351"/>
                    <a:gd name="connsiteY3671" fmla="*/ 1076265 h 1323458"/>
                    <a:gd name="connsiteX3672" fmla="*/ 717296 w 1439351"/>
                    <a:gd name="connsiteY3672" fmla="*/ 1076726 h 1323458"/>
                    <a:gd name="connsiteX3673" fmla="*/ 716931 w 1439351"/>
                    <a:gd name="connsiteY3673" fmla="*/ 1080382 h 1323458"/>
                    <a:gd name="connsiteX3674" fmla="*/ 715183 w 1439351"/>
                    <a:gd name="connsiteY3674" fmla="*/ 1081790 h 1323458"/>
                    <a:gd name="connsiteX3675" fmla="*/ 714806 w 1439351"/>
                    <a:gd name="connsiteY3675" fmla="*/ 1082094 h 1323458"/>
                    <a:gd name="connsiteX3676" fmla="*/ 714478 w 1439351"/>
                    <a:gd name="connsiteY3676" fmla="*/ 1082446 h 1323458"/>
                    <a:gd name="connsiteX3677" fmla="*/ 713616 w 1439351"/>
                    <a:gd name="connsiteY3677" fmla="*/ 1083393 h 1323458"/>
                    <a:gd name="connsiteX3678" fmla="*/ 713361 w 1439351"/>
                    <a:gd name="connsiteY3678" fmla="*/ 1083672 h 1323458"/>
                    <a:gd name="connsiteX3679" fmla="*/ 713143 w 1439351"/>
                    <a:gd name="connsiteY3679" fmla="*/ 1083976 h 1323458"/>
                    <a:gd name="connsiteX3680" fmla="*/ 712390 w 1439351"/>
                    <a:gd name="connsiteY3680" fmla="*/ 1085044 h 1323458"/>
                    <a:gd name="connsiteX3681" fmla="*/ 711929 w 1439351"/>
                    <a:gd name="connsiteY3681" fmla="*/ 1085688 h 1323458"/>
                    <a:gd name="connsiteX3682" fmla="*/ 711661 w 1439351"/>
                    <a:gd name="connsiteY3682" fmla="*/ 1086441 h 1323458"/>
                    <a:gd name="connsiteX3683" fmla="*/ 711321 w 1439351"/>
                    <a:gd name="connsiteY3683" fmla="*/ 1087351 h 1323458"/>
                    <a:gd name="connsiteX3684" fmla="*/ 710933 w 1439351"/>
                    <a:gd name="connsiteY3684" fmla="*/ 1088566 h 1323458"/>
                    <a:gd name="connsiteX3685" fmla="*/ 710702 w 1439351"/>
                    <a:gd name="connsiteY3685" fmla="*/ 1089307 h 1323458"/>
                    <a:gd name="connsiteX3686" fmla="*/ 710666 w 1439351"/>
                    <a:gd name="connsiteY3686" fmla="*/ 1090072 h 1323458"/>
                    <a:gd name="connsiteX3687" fmla="*/ 710569 w 1439351"/>
                    <a:gd name="connsiteY3687" fmla="*/ 1091954 h 1323458"/>
                    <a:gd name="connsiteX3688" fmla="*/ 710532 w 1439351"/>
                    <a:gd name="connsiteY3688" fmla="*/ 1092184 h 1323458"/>
                    <a:gd name="connsiteX3689" fmla="*/ 710131 w 1439351"/>
                    <a:gd name="connsiteY3689" fmla="*/ 1093047 h 1323458"/>
                    <a:gd name="connsiteX3690" fmla="*/ 709961 w 1439351"/>
                    <a:gd name="connsiteY3690" fmla="*/ 1093350 h 1323458"/>
                    <a:gd name="connsiteX3691" fmla="*/ 709196 w 1439351"/>
                    <a:gd name="connsiteY3691" fmla="*/ 1094309 h 1323458"/>
                    <a:gd name="connsiteX3692" fmla="*/ 707314 w 1439351"/>
                    <a:gd name="connsiteY3692" fmla="*/ 1096204 h 1323458"/>
                    <a:gd name="connsiteX3693" fmla="*/ 706792 w 1439351"/>
                    <a:gd name="connsiteY3693" fmla="*/ 1096726 h 1323458"/>
                    <a:gd name="connsiteX3694" fmla="*/ 706415 w 1439351"/>
                    <a:gd name="connsiteY3694" fmla="*/ 1097357 h 1323458"/>
                    <a:gd name="connsiteX3695" fmla="*/ 706003 w 1439351"/>
                    <a:gd name="connsiteY3695" fmla="*/ 1098050 h 1323458"/>
                    <a:gd name="connsiteX3696" fmla="*/ 705675 w 1439351"/>
                    <a:gd name="connsiteY3696" fmla="*/ 1099009 h 1323458"/>
                    <a:gd name="connsiteX3697" fmla="*/ 705213 w 1439351"/>
                    <a:gd name="connsiteY3697" fmla="*/ 1100636 h 1323458"/>
                    <a:gd name="connsiteX3698" fmla="*/ 705007 w 1439351"/>
                    <a:gd name="connsiteY3698" fmla="*/ 1101328 h 1323458"/>
                    <a:gd name="connsiteX3699" fmla="*/ 704983 w 1439351"/>
                    <a:gd name="connsiteY3699" fmla="*/ 1102057 h 1323458"/>
                    <a:gd name="connsiteX3700" fmla="*/ 704922 w 1439351"/>
                    <a:gd name="connsiteY3700" fmla="*/ 1103611 h 1323458"/>
                    <a:gd name="connsiteX3701" fmla="*/ 704837 w 1439351"/>
                    <a:gd name="connsiteY3701" fmla="*/ 1105930 h 1323458"/>
                    <a:gd name="connsiteX3702" fmla="*/ 706330 w 1439351"/>
                    <a:gd name="connsiteY3702" fmla="*/ 1107715 h 1323458"/>
                    <a:gd name="connsiteX3703" fmla="*/ 707363 w 1439351"/>
                    <a:gd name="connsiteY3703" fmla="*/ 1108954 h 1323458"/>
                    <a:gd name="connsiteX3704" fmla="*/ 708152 w 1439351"/>
                    <a:gd name="connsiteY3704" fmla="*/ 1109913 h 1323458"/>
                    <a:gd name="connsiteX3705" fmla="*/ 709257 w 1439351"/>
                    <a:gd name="connsiteY3705" fmla="*/ 1110472 h 1323458"/>
                    <a:gd name="connsiteX3706" fmla="*/ 711431 w 1439351"/>
                    <a:gd name="connsiteY3706" fmla="*/ 1111589 h 1323458"/>
                    <a:gd name="connsiteX3707" fmla="*/ 712438 w 1439351"/>
                    <a:gd name="connsiteY3707" fmla="*/ 1112111 h 1323458"/>
                    <a:gd name="connsiteX3708" fmla="*/ 713568 w 1439351"/>
                    <a:gd name="connsiteY3708" fmla="*/ 1112232 h 1323458"/>
                    <a:gd name="connsiteX3709" fmla="*/ 718522 w 1439351"/>
                    <a:gd name="connsiteY3709" fmla="*/ 1112742 h 1323458"/>
                    <a:gd name="connsiteX3710" fmla="*/ 718911 w 1439351"/>
                    <a:gd name="connsiteY3710" fmla="*/ 1112779 h 1323458"/>
                    <a:gd name="connsiteX3711" fmla="*/ 719311 w 1439351"/>
                    <a:gd name="connsiteY3711" fmla="*/ 1112779 h 1323458"/>
                    <a:gd name="connsiteX3712" fmla="*/ 724581 w 1439351"/>
                    <a:gd name="connsiteY3712" fmla="*/ 1112633 h 1323458"/>
                    <a:gd name="connsiteX3713" fmla="*/ 724934 w 1439351"/>
                    <a:gd name="connsiteY3713" fmla="*/ 1112621 h 1323458"/>
                    <a:gd name="connsiteX3714" fmla="*/ 725298 w 1439351"/>
                    <a:gd name="connsiteY3714" fmla="*/ 1112572 h 1323458"/>
                    <a:gd name="connsiteX3715" fmla="*/ 726634 w 1439351"/>
                    <a:gd name="connsiteY3715" fmla="*/ 1112378 h 1323458"/>
                    <a:gd name="connsiteX3716" fmla="*/ 726998 w 1439351"/>
                    <a:gd name="connsiteY3716" fmla="*/ 1112330 h 1323458"/>
                    <a:gd name="connsiteX3717" fmla="*/ 727350 w 1439351"/>
                    <a:gd name="connsiteY3717" fmla="*/ 1112232 h 1323458"/>
                    <a:gd name="connsiteX3718" fmla="*/ 735498 w 1439351"/>
                    <a:gd name="connsiteY3718" fmla="*/ 1109998 h 1323458"/>
                    <a:gd name="connsiteX3719" fmla="*/ 736676 w 1439351"/>
                    <a:gd name="connsiteY3719" fmla="*/ 1111613 h 1323458"/>
                    <a:gd name="connsiteX3720" fmla="*/ 737246 w 1439351"/>
                    <a:gd name="connsiteY3720" fmla="*/ 1112402 h 1323458"/>
                    <a:gd name="connsiteX3721" fmla="*/ 738036 w 1439351"/>
                    <a:gd name="connsiteY3721" fmla="*/ 1112961 h 1323458"/>
                    <a:gd name="connsiteX3722" fmla="*/ 739469 w 1439351"/>
                    <a:gd name="connsiteY3722" fmla="*/ 1113993 h 1323458"/>
                    <a:gd name="connsiteX3723" fmla="*/ 740149 w 1439351"/>
                    <a:gd name="connsiteY3723" fmla="*/ 1114491 h 1323458"/>
                    <a:gd name="connsiteX3724" fmla="*/ 740926 w 1439351"/>
                    <a:gd name="connsiteY3724" fmla="*/ 1114770 h 1323458"/>
                    <a:gd name="connsiteX3725" fmla="*/ 743051 w 1439351"/>
                    <a:gd name="connsiteY3725" fmla="*/ 1115547 h 1323458"/>
                    <a:gd name="connsiteX3726" fmla="*/ 744083 w 1439351"/>
                    <a:gd name="connsiteY3726" fmla="*/ 1115936 h 1323458"/>
                    <a:gd name="connsiteX3727" fmla="*/ 745200 w 1439351"/>
                    <a:gd name="connsiteY3727" fmla="*/ 1115924 h 1323458"/>
                    <a:gd name="connsiteX3728" fmla="*/ 748309 w 1439351"/>
                    <a:gd name="connsiteY3728" fmla="*/ 1115900 h 1323458"/>
                    <a:gd name="connsiteX3729" fmla="*/ 748977 w 1439351"/>
                    <a:gd name="connsiteY3729" fmla="*/ 1115900 h 1323458"/>
                    <a:gd name="connsiteX3730" fmla="*/ 749632 w 1439351"/>
                    <a:gd name="connsiteY3730" fmla="*/ 1115742 h 1323458"/>
                    <a:gd name="connsiteX3731" fmla="*/ 751879 w 1439351"/>
                    <a:gd name="connsiteY3731" fmla="*/ 1115220 h 1323458"/>
                    <a:gd name="connsiteX3732" fmla="*/ 752304 w 1439351"/>
                    <a:gd name="connsiteY3732" fmla="*/ 1115122 h 1323458"/>
                    <a:gd name="connsiteX3733" fmla="*/ 752717 w 1439351"/>
                    <a:gd name="connsiteY3733" fmla="*/ 1114964 h 1323458"/>
                    <a:gd name="connsiteX3734" fmla="*/ 756044 w 1439351"/>
                    <a:gd name="connsiteY3734" fmla="*/ 1113665 h 1323458"/>
                    <a:gd name="connsiteX3735" fmla="*/ 757865 w 1439351"/>
                    <a:gd name="connsiteY3735" fmla="*/ 1114795 h 1323458"/>
                    <a:gd name="connsiteX3736" fmla="*/ 764544 w 1439351"/>
                    <a:gd name="connsiteY3736" fmla="*/ 1120769 h 1323458"/>
                    <a:gd name="connsiteX3737" fmla="*/ 765224 w 1439351"/>
                    <a:gd name="connsiteY3737" fmla="*/ 1121376 h 1323458"/>
                    <a:gd name="connsiteX3738" fmla="*/ 766050 w 1439351"/>
                    <a:gd name="connsiteY3738" fmla="*/ 1121752 h 1323458"/>
                    <a:gd name="connsiteX3739" fmla="*/ 771550 w 1439351"/>
                    <a:gd name="connsiteY3739" fmla="*/ 1124278 h 1323458"/>
                    <a:gd name="connsiteX3740" fmla="*/ 775837 w 1439351"/>
                    <a:gd name="connsiteY3740" fmla="*/ 1126245 h 1323458"/>
                    <a:gd name="connsiteX3741" fmla="*/ 778812 w 1439351"/>
                    <a:gd name="connsiteY3741" fmla="*/ 1122590 h 1323458"/>
                    <a:gd name="connsiteX3742" fmla="*/ 783560 w 1439351"/>
                    <a:gd name="connsiteY3742" fmla="*/ 1116750 h 1323458"/>
                    <a:gd name="connsiteX3743" fmla="*/ 783863 w 1439351"/>
                    <a:gd name="connsiteY3743" fmla="*/ 1116446 h 1323458"/>
                    <a:gd name="connsiteX3744" fmla="*/ 784276 w 1439351"/>
                    <a:gd name="connsiteY3744" fmla="*/ 1116361 h 1323458"/>
                    <a:gd name="connsiteX3745" fmla="*/ 787907 w 1439351"/>
                    <a:gd name="connsiteY3745" fmla="*/ 1116215 h 1323458"/>
                    <a:gd name="connsiteX3746" fmla="*/ 789048 w 1439351"/>
                    <a:gd name="connsiteY3746" fmla="*/ 1116167 h 1323458"/>
                    <a:gd name="connsiteX3747" fmla="*/ 790093 w 1439351"/>
                    <a:gd name="connsiteY3747" fmla="*/ 1115705 h 1323458"/>
                    <a:gd name="connsiteX3748" fmla="*/ 791015 w 1439351"/>
                    <a:gd name="connsiteY3748" fmla="*/ 1115304 h 1323458"/>
                    <a:gd name="connsiteX3749" fmla="*/ 791647 w 1439351"/>
                    <a:gd name="connsiteY3749" fmla="*/ 1115025 h 1323458"/>
                    <a:gd name="connsiteX3750" fmla="*/ 792193 w 1439351"/>
                    <a:gd name="connsiteY3750" fmla="*/ 1114612 h 1323458"/>
                    <a:gd name="connsiteX3751" fmla="*/ 793347 w 1439351"/>
                    <a:gd name="connsiteY3751" fmla="*/ 1113750 h 1323458"/>
                    <a:gd name="connsiteX3752" fmla="*/ 794853 w 1439351"/>
                    <a:gd name="connsiteY3752" fmla="*/ 1112633 h 1323458"/>
                    <a:gd name="connsiteX3753" fmla="*/ 795472 w 1439351"/>
                    <a:gd name="connsiteY3753" fmla="*/ 1110860 h 1323458"/>
                    <a:gd name="connsiteX3754" fmla="*/ 796042 w 1439351"/>
                    <a:gd name="connsiteY3754" fmla="*/ 1109221 h 1323458"/>
                    <a:gd name="connsiteX3755" fmla="*/ 796322 w 1439351"/>
                    <a:gd name="connsiteY3755" fmla="*/ 1108407 h 1323458"/>
                    <a:gd name="connsiteX3756" fmla="*/ 796370 w 1439351"/>
                    <a:gd name="connsiteY3756" fmla="*/ 1107545 h 1323458"/>
                    <a:gd name="connsiteX3757" fmla="*/ 796431 w 1439351"/>
                    <a:gd name="connsiteY3757" fmla="*/ 1106222 h 1323458"/>
                    <a:gd name="connsiteX3758" fmla="*/ 796468 w 1439351"/>
                    <a:gd name="connsiteY3758" fmla="*/ 1105469 h 1323458"/>
                    <a:gd name="connsiteX3759" fmla="*/ 796322 w 1439351"/>
                    <a:gd name="connsiteY3759" fmla="*/ 1104728 h 1323458"/>
                    <a:gd name="connsiteX3760" fmla="*/ 796030 w 1439351"/>
                    <a:gd name="connsiteY3760" fmla="*/ 1103259 h 1323458"/>
                    <a:gd name="connsiteX3761" fmla="*/ 795958 w 1439351"/>
                    <a:gd name="connsiteY3761" fmla="*/ 1102907 h 1323458"/>
                    <a:gd name="connsiteX3762" fmla="*/ 795848 w 1439351"/>
                    <a:gd name="connsiteY3762" fmla="*/ 1102567 h 1323458"/>
                    <a:gd name="connsiteX3763" fmla="*/ 795508 w 1439351"/>
                    <a:gd name="connsiteY3763" fmla="*/ 1101535 h 1323458"/>
                    <a:gd name="connsiteX3764" fmla="*/ 795399 w 1439351"/>
                    <a:gd name="connsiteY3764" fmla="*/ 1101219 h 1323458"/>
                    <a:gd name="connsiteX3765" fmla="*/ 795265 w 1439351"/>
                    <a:gd name="connsiteY3765" fmla="*/ 1100915 h 1323458"/>
                    <a:gd name="connsiteX3766" fmla="*/ 794525 w 1439351"/>
                    <a:gd name="connsiteY3766" fmla="*/ 1099300 h 1323458"/>
                    <a:gd name="connsiteX3767" fmla="*/ 794585 w 1439351"/>
                    <a:gd name="connsiteY3767" fmla="*/ 1099094 h 1323458"/>
                    <a:gd name="connsiteX3768" fmla="*/ 798678 w 1439351"/>
                    <a:gd name="connsiteY3768" fmla="*/ 1095002 h 1323458"/>
                    <a:gd name="connsiteX3769" fmla="*/ 798933 w 1439351"/>
                    <a:gd name="connsiteY3769" fmla="*/ 1094747 h 1323458"/>
                    <a:gd name="connsiteX3770" fmla="*/ 799151 w 1439351"/>
                    <a:gd name="connsiteY3770" fmla="*/ 1094467 h 1323458"/>
                    <a:gd name="connsiteX3771" fmla="*/ 802187 w 1439351"/>
                    <a:gd name="connsiteY3771" fmla="*/ 1090618 h 1323458"/>
                    <a:gd name="connsiteX3772" fmla="*/ 802430 w 1439351"/>
                    <a:gd name="connsiteY3772" fmla="*/ 1090327 h 1323458"/>
                    <a:gd name="connsiteX3773" fmla="*/ 802624 w 1439351"/>
                    <a:gd name="connsiteY3773" fmla="*/ 1089999 h 1323458"/>
                    <a:gd name="connsiteX3774" fmla="*/ 805101 w 1439351"/>
                    <a:gd name="connsiteY3774" fmla="*/ 1085894 h 1323458"/>
                    <a:gd name="connsiteX3775" fmla="*/ 805417 w 1439351"/>
                    <a:gd name="connsiteY3775" fmla="*/ 1085372 h 1323458"/>
                    <a:gd name="connsiteX3776" fmla="*/ 805623 w 1439351"/>
                    <a:gd name="connsiteY3776" fmla="*/ 1084802 h 1323458"/>
                    <a:gd name="connsiteX3777" fmla="*/ 806255 w 1439351"/>
                    <a:gd name="connsiteY3777" fmla="*/ 1083016 h 1323458"/>
                    <a:gd name="connsiteX3778" fmla="*/ 806388 w 1439351"/>
                    <a:gd name="connsiteY3778" fmla="*/ 1082628 h 1323458"/>
                    <a:gd name="connsiteX3779" fmla="*/ 806473 w 1439351"/>
                    <a:gd name="connsiteY3779" fmla="*/ 1082227 h 1323458"/>
                    <a:gd name="connsiteX3780" fmla="*/ 806753 w 1439351"/>
                    <a:gd name="connsiteY3780" fmla="*/ 1080904 h 1323458"/>
                    <a:gd name="connsiteX3781" fmla="*/ 806825 w 1439351"/>
                    <a:gd name="connsiteY3781" fmla="*/ 1080551 h 1323458"/>
                    <a:gd name="connsiteX3782" fmla="*/ 806850 w 1439351"/>
                    <a:gd name="connsiteY3782" fmla="*/ 1080187 h 1323458"/>
                    <a:gd name="connsiteX3783" fmla="*/ 807032 w 1439351"/>
                    <a:gd name="connsiteY3783" fmla="*/ 1078099 h 1323458"/>
                    <a:gd name="connsiteX3784" fmla="*/ 807056 w 1439351"/>
                    <a:gd name="connsiteY3784" fmla="*/ 1077734 h 1323458"/>
                    <a:gd name="connsiteX3785" fmla="*/ 807056 w 1439351"/>
                    <a:gd name="connsiteY3785" fmla="*/ 1077370 h 1323458"/>
                    <a:gd name="connsiteX3786" fmla="*/ 806983 w 1439351"/>
                    <a:gd name="connsiteY3786" fmla="*/ 1075269 h 1323458"/>
                    <a:gd name="connsiteX3787" fmla="*/ 806971 w 1439351"/>
                    <a:gd name="connsiteY3787" fmla="*/ 1074723 h 1323458"/>
                    <a:gd name="connsiteX3788" fmla="*/ 806850 w 1439351"/>
                    <a:gd name="connsiteY3788" fmla="*/ 1074188 h 1323458"/>
                    <a:gd name="connsiteX3789" fmla="*/ 806753 w 1439351"/>
                    <a:gd name="connsiteY3789" fmla="*/ 1073751 h 1323458"/>
                    <a:gd name="connsiteX3790" fmla="*/ 808428 w 1439351"/>
                    <a:gd name="connsiteY3790" fmla="*/ 1073751 h 1323458"/>
                    <a:gd name="connsiteX3791" fmla="*/ 809485 w 1439351"/>
                    <a:gd name="connsiteY3791" fmla="*/ 1073751 h 1323458"/>
                    <a:gd name="connsiteX3792" fmla="*/ 810481 w 1439351"/>
                    <a:gd name="connsiteY3792" fmla="*/ 1073387 h 1323458"/>
                    <a:gd name="connsiteX3793" fmla="*/ 812933 w 1439351"/>
                    <a:gd name="connsiteY3793" fmla="*/ 1072513 h 1323458"/>
                    <a:gd name="connsiteX3794" fmla="*/ 813443 w 1439351"/>
                    <a:gd name="connsiteY3794" fmla="*/ 1072416 h 1323458"/>
                    <a:gd name="connsiteX3795" fmla="*/ 814791 w 1439351"/>
                    <a:gd name="connsiteY3795" fmla="*/ 1072768 h 1323458"/>
                    <a:gd name="connsiteX3796" fmla="*/ 816758 w 1439351"/>
                    <a:gd name="connsiteY3796" fmla="*/ 1073569 h 1323458"/>
                    <a:gd name="connsiteX3797" fmla="*/ 818373 w 1439351"/>
                    <a:gd name="connsiteY3797" fmla="*/ 1074067 h 1323458"/>
                    <a:gd name="connsiteX3798" fmla="*/ 818155 w 1439351"/>
                    <a:gd name="connsiteY3798" fmla="*/ 1075172 h 1323458"/>
                    <a:gd name="connsiteX3799" fmla="*/ 817936 w 1439351"/>
                    <a:gd name="connsiteY3799" fmla="*/ 1076241 h 1323458"/>
                    <a:gd name="connsiteX3800" fmla="*/ 818106 w 1439351"/>
                    <a:gd name="connsiteY3800" fmla="*/ 1077322 h 1323458"/>
                    <a:gd name="connsiteX3801" fmla="*/ 818276 w 1439351"/>
                    <a:gd name="connsiteY3801" fmla="*/ 1078390 h 1323458"/>
                    <a:gd name="connsiteX3802" fmla="*/ 818556 w 1439351"/>
                    <a:gd name="connsiteY3802" fmla="*/ 1080151 h 1323458"/>
                    <a:gd name="connsiteX3803" fmla="*/ 819758 w 1439351"/>
                    <a:gd name="connsiteY3803" fmla="*/ 1081487 h 1323458"/>
                    <a:gd name="connsiteX3804" fmla="*/ 820498 w 1439351"/>
                    <a:gd name="connsiteY3804" fmla="*/ 1082312 h 1323458"/>
                    <a:gd name="connsiteX3805" fmla="*/ 821373 w 1439351"/>
                    <a:gd name="connsiteY3805" fmla="*/ 1083296 h 1323458"/>
                    <a:gd name="connsiteX3806" fmla="*/ 822587 w 1439351"/>
                    <a:gd name="connsiteY3806" fmla="*/ 1083818 h 1323458"/>
                    <a:gd name="connsiteX3807" fmla="*/ 824384 w 1439351"/>
                    <a:gd name="connsiteY3807" fmla="*/ 1084595 h 1323458"/>
                    <a:gd name="connsiteX3808" fmla="*/ 824906 w 1439351"/>
                    <a:gd name="connsiteY3808" fmla="*/ 1084826 h 1323458"/>
                    <a:gd name="connsiteX3809" fmla="*/ 825465 w 1439351"/>
                    <a:gd name="connsiteY3809" fmla="*/ 1084947 h 1323458"/>
                    <a:gd name="connsiteX3810" fmla="*/ 827760 w 1439351"/>
                    <a:gd name="connsiteY3810" fmla="*/ 1085469 h 1323458"/>
                    <a:gd name="connsiteX3811" fmla="*/ 828294 w 1439351"/>
                    <a:gd name="connsiteY3811" fmla="*/ 1085591 h 1323458"/>
                    <a:gd name="connsiteX3812" fmla="*/ 828829 w 1439351"/>
                    <a:gd name="connsiteY3812" fmla="*/ 1085615 h 1323458"/>
                    <a:gd name="connsiteX3813" fmla="*/ 833880 w 1439351"/>
                    <a:gd name="connsiteY3813" fmla="*/ 1085846 h 1323458"/>
                    <a:gd name="connsiteX3814" fmla="*/ 834402 w 1439351"/>
                    <a:gd name="connsiteY3814" fmla="*/ 1085870 h 1323458"/>
                    <a:gd name="connsiteX3815" fmla="*/ 834924 w 1439351"/>
                    <a:gd name="connsiteY3815" fmla="*/ 1085809 h 1323458"/>
                    <a:gd name="connsiteX3816" fmla="*/ 840024 w 1439351"/>
                    <a:gd name="connsiteY3816" fmla="*/ 1085154 h 1323458"/>
                    <a:gd name="connsiteX3817" fmla="*/ 840741 w 1439351"/>
                    <a:gd name="connsiteY3817" fmla="*/ 1085056 h 1323458"/>
                    <a:gd name="connsiteX3818" fmla="*/ 841409 w 1439351"/>
                    <a:gd name="connsiteY3818" fmla="*/ 1084802 h 1323458"/>
                    <a:gd name="connsiteX3819" fmla="*/ 843546 w 1439351"/>
                    <a:gd name="connsiteY3819" fmla="*/ 1083988 h 1323458"/>
                    <a:gd name="connsiteX3820" fmla="*/ 844347 w 1439351"/>
                    <a:gd name="connsiteY3820" fmla="*/ 1083684 h 1323458"/>
                    <a:gd name="connsiteX3821" fmla="*/ 845027 w 1439351"/>
                    <a:gd name="connsiteY3821" fmla="*/ 1083174 h 1323458"/>
                    <a:gd name="connsiteX3822" fmla="*/ 846630 w 1439351"/>
                    <a:gd name="connsiteY3822" fmla="*/ 1081972 h 1323458"/>
                    <a:gd name="connsiteX3823" fmla="*/ 848099 w 1439351"/>
                    <a:gd name="connsiteY3823" fmla="*/ 1080867 h 1323458"/>
                    <a:gd name="connsiteX3824" fmla="*/ 848719 w 1439351"/>
                    <a:gd name="connsiteY3824" fmla="*/ 1079143 h 1323458"/>
                    <a:gd name="connsiteX3825" fmla="*/ 849399 w 1439351"/>
                    <a:gd name="connsiteY3825" fmla="*/ 1077249 h 1323458"/>
                    <a:gd name="connsiteX3826" fmla="*/ 849909 w 1439351"/>
                    <a:gd name="connsiteY3826" fmla="*/ 1075804 h 1323458"/>
                    <a:gd name="connsiteX3827" fmla="*/ 849666 w 1439351"/>
                    <a:gd name="connsiteY3827" fmla="*/ 1074286 h 1323458"/>
                    <a:gd name="connsiteX3828" fmla="*/ 849447 w 1439351"/>
                    <a:gd name="connsiteY3828" fmla="*/ 1072901 h 1323458"/>
                    <a:gd name="connsiteX3829" fmla="*/ 849180 w 1439351"/>
                    <a:gd name="connsiteY3829" fmla="*/ 1071165 h 1323458"/>
                    <a:gd name="connsiteX3830" fmla="*/ 848026 w 1439351"/>
                    <a:gd name="connsiteY3830" fmla="*/ 1069841 h 1323458"/>
                    <a:gd name="connsiteX3831" fmla="*/ 847711 w 1439351"/>
                    <a:gd name="connsiteY3831" fmla="*/ 1069477 h 1323458"/>
                    <a:gd name="connsiteX3832" fmla="*/ 853892 w 1439351"/>
                    <a:gd name="connsiteY3832" fmla="*/ 1067680 h 1323458"/>
                    <a:gd name="connsiteX3833" fmla="*/ 854644 w 1439351"/>
                    <a:gd name="connsiteY3833" fmla="*/ 1068736 h 1323458"/>
                    <a:gd name="connsiteX3834" fmla="*/ 855300 w 1439351"/>
                    <a:gd name="connsiteY3834" fmla="*/ 1072926 h 1323458"/>
                    <a:gd name="connsiteX3835" fmla="*/ 855434 w 1439351"/>
                    <a:gd name="connsiteY3835" fmla="*/ 1073788 h 1323458"/>
                    <a:gd name="connsiteX3836" fmla="*/ 855810 w 1439351"/>
                    <a:gd name="connsiteY3836" fmla="*/ 1074577 h 1323458"/>
                    <a:gd name="connsiteX3837" fmla="*/ 856612 w 1439351"/>
                    <a:gd name="connsiteY3837" fmla="*/ 1076277 h 1323458"/>
                    <a:gd name="connsiteX3838" fmla="*/ 856891 w 1439351"/>
                    <a:gd name="connsiteY3838" fmla="*/ 1076872 h 1323458"/>
                    <a:gd name="connsiteX3839" fmla="*/ 857292 w 1439351"/>
                    <a:gd name="connsiteY3839" fmla="*/ 1077394 h 1323458"/>
                    <a:gd name="connsiteX3840" fmla="*/ 857753 w 1439351"/>
                    <a:gd name="connsiteY3840" fmla="*/ 1077989 h 1323458"/>
                    <a:gd name="connsiteX3841" fmla="*/ 857680 w 1439351"/>
                    <a:gd name="connsiteY3841" fmla="*/ 1078256 h 1323458"/>
                    <a:gd name="connsiteX3842" fmla="*/ 857401 w 1439351"/>
                    <a:gd name="connsiteY3842" fmla="*/ 1079301 h 1323458"/>
                    <a:gd name="connsiteX3843" fmla="*/ 857170 w 1439351"/>
                    <a:gd name="connsiteY3843" fmla="*/ 1080102 h 1323458"/>
                    <a:gd name="connsiteX3844" fmla="*/ 857170 w 1439351"/>
                    <a:gd name="connsiteY3844" fmla="*/ 1080928 h 1323458"/>
                    <a:gd name="connsiteX3845" fmla="*/ 857170 w 1439351"/>
                    <a:gd name="connsiteY3845" fmla="*/ 1082251 h 1323458"/>
                    <a:gd name="connsiteX3846" fmla="*/ 857170 w 1439351"/>
                    <a:gd name="connsiteY3846" fmla="*/ 1083867 h 1323458"/>
                    <a:gd name="connsiteX3847" fmla="*/ 857972 w 1439351"/>
                    <a:gd name="connsiteY3847" fmla="*/ 1085263 h 1323458"/>
                    <a:gd name="connsiteX3848" fmla="*/ 858773 w 1439351"/>
                    <a:gd name="connsiteY3848" fmla="*/ 1086659 h 1323458"/>
                    <a:gd name="connsiteX3849" fmla="*/ 859429 w 1439351"/>
                    <a:gd name="connsiteY3849" fmla="*/ 1087813 h 1323458"/>
                    <a:gd name="connsiteX3850" fmla="*/ 860497 w 1439351"/>
                    <a:gd name="connsiteY3850" fmla="*/ 1088578 h 1323458"/>
                    <a:gd name="connsiteX3851" fmla="*/ 861869 w 1439351"/>
                    <a:gd name="connsiteY3851" fmla="*/ 1089562 h 1323458"/>
                    <a:gd name="connsiteX3852" fmla="*/ 862841 w 1439351"/>
                    <a:gd name="connsiteY3852" fmla="*/ 1090254 h 1323458"/>
                    <a:gd name="connsiteX3853" fmla="*/ 863994 w 1439351"/>
                    <a:gd name="connsiteY3853" fmla="*/ 1090533 h 1323458"/>
                    <a:gd name="connsiteX3854" fmla="*/ 866702 w 1439351"/>
                    <a:gd name="connsiteY3854" fmla="*/ 1091189 h 1323458"/>
                    <a:gd name="connsiteX3855" fmla="*/ 867152 w 1439351"/>
                    <a:gd name="connsiteY3855" fmla="*/ 1091298 h 1323458"/>
                    <a:gd name="connsiteX3856" fmla="*/ 867613 w 1439351"/>
                    <a:gd name="connsiteY3856" fmla="*/ 1091334 h 1323458"/>
                    <a:gd name="connsiteX3857" fmla="*/ 871814 w 1439351"/>
                    <a:gd name="connsiteY3857" fmla="*/ 1091699 h 1323458"/>
                    <a:gd name="connsiteX3858" fmla="*/ 878894 w 1439351"/>
                    <a:gd name="connsiteY3858" fmla="*/ 1093532 h 1323458"/>
                    <a:gd name="connsiteX3859" fmla="*/ 879695 w 1439351"/>
                    <a:gd name="connsiteY3859" fmla="*/ 1093739 h 1323458"/>
                    <a:gd name="connsiteX3860" fmla="*/ 880521 w 1439351"/>
                    <a:gd name="connsiteY3860" fmla="*/ 1093727 h 1323458"/>
                    <a:gd name="connsiteX3861" fmla="*/ 884929 w 1439351"/>
                    <a:gd name="connsiteY3861" fmla="*/ 1093642 h 1323458"/>
                    <a:gd name="connsiteX3862" fmla="*/ 884965 w 1439351"/>
                    <a:gd name="connsiteY3862" fmla="*/ 1093860 h 1323458"/>
                    <a:gd name="connsiteX3863" fmla="*/ 885148 w 1439351"/>
                    <a:gd name="connsiteY3863" fmla="*/ 1095050 h 1323458"/>
                    <a:gd name="connsiteX3864" fmla="*/ 885767 w 1439351"/>
                    <a:gd name="connsiteY3864" fmla="*/ 1096070 h 1323458"/>
                    <a:gd name="connsiteX3865" fmla="*/ 886750 w 1439351"/>
                    <a:gd name="connsiteY3865" fmla="*/ 1097710 h 1323458"/>
                    <a:gd name="connsiteX3866" fmla="*/ 887430 w 1439351"/>
                    <a:gd name="connsiteY3866" fmla="*/ 1098827 h 1323458"/>
                    <a:gd name="connsiteX3867" fmla="*/ 888511 w 1439351"/>
                    <a:gd name="connsiteY3867" fmla="*/ 1099579 h 1323458"/>
                    <a:gd name="connsiteX3868" fmla="*/ 890005 w 1439351"/>
                    <a:gd name="connsiteY3868" fmla="*/ 1100612 h 1323458"/>
                    <a:gd name="connsiteX3869" fmla="*/ 890928 w 1439351"/>
                    <a:gd name="connsiteY3869" fmla="*/ 1101243 h 1323458"/>
                    <a:gd name="connsiteX3870" fmla="*/ 892008 w 1439351"/>
                    <a:gd name="connsiteY3870" fmla="*/ 1101510 h 1323458"/>
                    <a:gd name="connsiteX3871" fmla="*/ 895384 w 1439351"/>
                    <a:gd name="connsiteY3871" fmla="*/ 1102336 h 1323458"/>
                    <a:gd name="connsiteX3872" fmla="*/ 896125 w 1439351"/>
                    <a:gd name="connsiteY3872" fmla="*/ 1102518 h 1323458"/>
                    <a:gd name="connsiteX3873" fmla="*/ 896877 w 1439351"/>
                    <a:gd name="connsiteY3873" fmla="*/ 1102518 h 1323458"/>
                    <a:gd name="connsiteX3874" fmla="*/ 899367 w 1439351"/>
                    <a:gd name="connsiteY3874" fmla="*/ 1102494 h 1323458"/>
                    <a:gd name="connsiteX3875" fmla="*/ 900229 w 1439351"/>
                    <a:gd name="connsiteY3875" fmla="*/ 1102494 h 1323458"/>
                    <a:gd name="connsiteX3876" fmla="*/ 901055 w 1439351"/>
                    <a:gd name="connsiteY3876" fmla="*/ 1102239 h 1323458"/>
                    <a:gd name="connsiteX3877" fmla="*/ 903216 w 1439351"/>
                    <a:gd name="connsiteY3877" fmla="*/ 1101583 h 1323458"/>
                    <a:gd name="connsiteX3878" fmla="*/ 903835 w 1439351"/>
                    <a:gd name="connsiteY3878" fmla="*/ 1101401 h 1323458"/>
                    <a:gd name="connsiteX3879" fmla="*/ 904406 w 1439351"/>
                    <a:gd name="connsiteY3879" fmla="*/ 1101085 h 1323458"/>
                    <a:gd name="connsiteX3880" fmla="*/ 906908 w 1439351"/>
                    <a:gd name="connsiteY3880" fmla="*/ 1099701 h 1323458"/>
                    <a:gd name="connsiteX3881" fmla="*/ 907163 w 1439351"/>
                    <a:gd name="connsiteY3881" fmla="*/ 1099604 h 1323458"/>
                    <a:gd name="connsiteX3882" fmla="*/ 907988 w 1439351"/>
                    <a:gd name="connsiteY3882" fmla="*/ 1099507 h 1323458"/>
                    <a:gd name="connsiteX3883" fmla="*/ 908316 w 1439351"/>
                    <a:gd name="connsiteY3883" fmla="*/ 1099507 h 1323458"/>
                    <a:gd name="connsiteX3884" fmla="*/ 909348 w 1439351"/>
                    <a:gd name="connsiteY3884" fmla="*/ 1099737 h 1323458"/>
                    <a:gd name="connsiteX3885" fmla="*/ 909640 w 1439351"/>
                    <a:gd name="connsiteY3885" fmla="*/ 1099895 h 1323458"/>
                    <a:gd name="connsiteX3886" fmla="*/ 910599 w 1439351"/>
                    <a:gd name="connsiteY3886" fmla="*/ 1101049 h 1323458"/>
                    <a:gd name="connsiteX3887" fmla="*/ 910854 w 1439351"/>
                    <a:gd name="connsiteY3887" fmla="*/ 1101619 h 1323458"/>
                    <a:gd name="connsiteX3888" fmla="*/ 910854 w 1439351"/>
                    <a:gd name="connsiteY3888" fmla="*/ 1102287 h 1323458"/>
                    <a:gd name="connsiteX3889" fmla="*/ 911959 w 1439351"/>
                    <a:gd name="connsiteY3889" fmla="*/ 1104036 h 1323458"/>
                    <a:gd name="connsiteX3890" fmla="*/ 913562 w 1439351"/>
                    <a:gd name="connsiteY3890" fmla="*/ 1106440 h 1323458"/>
                    <a:gd name="connsiteX3891" fmla="*/ 913343 w 1439351"/>
                    <a:gd name="connsiteY3891" fmla="*/ 1106865 h 1323458"/>
                    <a:gd name="connsiteX3892" fmla="*/ 913125 w 1439351"/>
                    <a:gd name="connsiteY3892" fmla="*/ 1107266 h 1323458"/>
                    <a:gd name="connsiteX3893" fmla="*/ 912979 w 1439351"/>
                    <a:gd name="connsiteY3893" fmla="*/ 1107703 h 1323458"/>
                    <a:gd name="connsiteX3894" fmla="*/ 912530 w 1439351"/>
                    <a:gd name="connsiteY3894" fmla="*/ 1108990 h 1323458"/>
                    <a:gd name="connsiteX3895" fmla="*/ 912250 w 1439351"/>
                    <a:gd name="connsiteY3895" fmla="*/ 1109792 h 1323458"/>
                    <a:gd name="connsiteX3896" fmla="*/ 912202 w 1439351"/>
                    <a:gd name="connsiteY3896" fmla="*/ 1110630 h 1323458"/>
                    <a:gd name="connsiteX3897" fmla="*/ 912141 w 1439351"/>
                    <a:gd name="connsiteY3897" fmla="*/ 1111613 h 1323458"/>
                    <a:gd name="connsiteX3898" fmla="*/ 912068 w 1439351"/>
                    <a:gd name="connsiteY3898" fmla="*/ 1112803 h 1323458"/>
                    <a:gd name="connsiteX3899" fmla="*/ 912445 w 1439351"/>
                    <a:gd name="connsiteY3899" fmla="*/ 1113920 h 1323458"/>
                    <a:gd name="connsiteX3900" fmla="*/ 912833 w 1439351"/>
                    <a:gd name="connsiteY3900" fmla="*/ 1115086 h 1323458"/>
                    <a:gd name="connsiteX3901" fmla="*/ 913064 w 1439351"/>
                    <a:gd name="connsiteY3901" fmla="*/ 1115766 h 1323458"/>
                    <a:gd name="connsiteX3902" fmla="*/ 913453 w 1439351"/>
                    <a:gd name="connsiteY3902" fmla="*/ 1116373 h 1323458"/>
                    <a:gd name="connsiteX3903" fmla="*/ 914327 w 1439351"/>
                    <a:gd name="connsiteY3903" fmla="*/ 1117758 h 1323458"/>
                    <a:gd name="connsiteX3904" fmla="*/ 914594 w 1439351"/>
                    <a:gd name="connsiteY3904" fmla="*/ 1118182 h 1323458"/>
                    <a:gd name="connsiteX3905" fmla="*/ 914922 w 1439351"/>
                    <a:gd name="connsiteY3905" fmla="*/ 1118559 h 1323458"/>
                    <a:gd name="connsiteX3906" fmla="*/ 916416 w 1439351"/>
                    <a:gd name="connsiteY3906" fmla="*/ 1120247 h 1323458"/>
                    <a:gd name="connsiteX3907" fmla="*/ 916865 w 1439351"/>
                    <a:gd name="connsiteY3907" fmla="*/ 1120757 h 1323458"/>
                    <a:gd name="connsiteX3908" fmla="*/ 917411 w 1439351"/>
                    <a:gd name="connsiteY3908" fmla="*/ 1121145 h 1323458"/>
                    <a:gd name="connsiteX3909" fmla="*/ 931424 w 1439351"/>
                    <a:gd name="connsiteY3909" fmla="*/ 1131224 h 1323458"/>
                    <a:gd name="connsiteX3910" fmla="*/ 931849 w 1439351"/>
                    <a:gd name="connsiteY3910" fmla="*/ 1131527 h 1323458"/>
                    <a:gd name="connsiteX3911" fmla="*/ 932311 w 1439351"/>
                    <a:gd name="connsiteY3911" fmla="*/ 1131758 h 1323458"/>
                    <a:gd name="connsiteX3912" fmla="*/ 934776 w 1439351"/>
                    <a:gd name="connsiteY3912" fmla="*/ 1132960 h 1323458"/>
                    <a:gd name="connsiteX3913" fmla="*/ 935237 w 1439351"/>
                    <a:gd name="connsiteY3913" fmla="*/ 1133191 h 1323458"/>
                    <a:gd name="connsiteX3914" fmla="*/ 935723 w 1439351"/>
                    <a:gd name="connsiteY3914" fmla="*/ 1133337 h 1323458"/>
                    <a:gd name="connsiteX3915" fmla="*/ 937787 w 1439351"/>
                    <a:gd name="connsiteY3915" fmla="*/ 1133944 h 1323458"/>
                    <a:gd name="connsiteX3916" fmla="*/ 938309 w 1439351"/>
                    <a:gd name="connsiteY3916" fmla="*/ 1134102 h 1323458"/>
                    <a:gd name="connsiteX3917" fmla="*/ 938856 w 1439351"/>
                    <a:gd name="connsiteY3917" fmla="*/ 1134163 h 1323458"/>
                    <a:gd name="connsiteX3918" fmla="*/ 942535 w 1439351"/>
                    <a:gd name="connsiteY3918" fmla="*/ 1134563 h 1323458"/>
                    <a:gd name="connsiteX3919" fmla="*/ 942911 w 1439351"/>
                    <a:gd name="connsiteY3919" fmla="*/ 1134600 h 1323458"/>
                    <a:gd name="connsiteX3920" fmla="*/ 943300 w 1439351"/>
                    <a:gd name="connsiteY3920" fmla="*/ 1134600 h 1323458"/>
                    <a:gd name="connsiteX3921" fmla="*/ 947489 w 1439351"/>
                    <a:gd name="connsiteY3921" fmla="*/ 1134527 h 1323458"/>
                    <a:gd name="connsiteX3922" fmla="*/ 947817 w 1439351"/>
                    <a:gd name="connsiteY3922" fmla="*/ 1134551 h 1323458"/>
                    <a:gd name="connsiteX3923" fmla="*/ 950683 w 1439351"/>
                    <a:gd name="connsiteY3923" fmla="*/ 1135875 h 1323458"/>
                    <a:gd name="connsiteX3924" fmla="*/ 959256 w 1439351"/>
                    <a:gd name="connsiteY3924" fmla="*/ 1142590 h 1323458"/>
                    <a:gd name="connsiteX3925" fmla="*/ 959972 w 1439351"/>
                    <a:gd name="connsiteY3925" fmla="*/ 1143160 h 1323458"/>
                    <a:gd name="connsiteX3926" fmla="*/ 960834 w 1439351"/>
                    <a:gd name="connsiteY3926" fmla="*/ 1143488 h 1323458"/>
                    <a:gd name="connsiteX3927" fmla="*/ 963239 w 1439351"/>
                    <a:gd name="connsiteY3927" fmla="*/ 1144411 h 1323458"/>
                    <a:gd name="connsiteX3928" fmla="*/ 963749 w 1439351"/>
                    <a:gd name="connsiteY3928" fmla="*/ 1144606 h 1323458"/>
                    <a:gd name="connsiteX3929" fmla="*/ 964295 w 1439351"/>
                    <a:gd name="connsiteY3929" fmla="*/ 1144703 h 1323458"/>
                    <a:gd name="connsiteX3930" fmla="*/ 965036 w 1439351"/>
                    <a:gd name="connsiteY3930" fmla="*/ 1144836 h 1323458"/>
                    <a:gd name="connsiteX3931" fmla="*/ 965376 w 1439351"/>
                    <a:gd name="connsiteY3931" fmla="*/ 1144897 h 1323458"/>
                    <a:gd name="connsiteX3932" fmla="*/ 965716 w 1439351"/>
                    <a:gd name="connsiteY3932" fmla="*/ 1144921 h 1323458"/>
                    <a:gd name="connsiteX3933" fmla="*/ 967100 w 1439351"/>
                    <a:gd name="connsiteY3933" fmla="*/ 1145018 h 1323458"/>
                    <a:gd name="connsiteX3934" fmla="*/ 967962 w 1439351"/>
                    <a:gd name="connsiteY3934" fmla="*/ 1145079 h 1323458"/>
                    <a:gd name="connsiteX3935" fmla="*/ 968800 w 1439351"/>
                    <a:gd name="connsiteY3935" fmla="*/ 1144885 h 1323458"/>
                    <a:gd name="connsiteX3936" fmla="*/ 970294 w 1439351"/>
                    <a:gd name="connsiteY3936" fmla="*/ 1144569 h 1323458"/>
                    <a:gd name="connsiteX3937" fmla="*/ 970707 w 1439351"/>
                    <a:gd name="connsiteY3937" fmla="*/ 1144472 h 1323458"/>
                    <a:gd name="connsiteX3938" fmla="*/ 971095 w 1439351"/>
                    <a:gd name="connsiteY3938" fmla="*/ 1144326 h 1323458"/>
                    <a:gd name="connsiteX3939" fmla="*/ 972820 w 1439351"/>
                    <a:gd name="connsiteY3939" fmla="*/ 1143695 h 1323458"/>
                    <a:gd name="connsiteX3940" fmla="*/ 973123 w 1439351"/>
                    <a:gd name="connsiteY3940" fmla="*/ 1143586 h 1323458"/>
                    <a:gd name="connsiteX3941" fmla="*/ 973402 w 1439351"/>
                    <a:gd name="connsiteY3941" fmla="*/ 1143452 h 1323458"/>
                    <a:gd name="connsiteX3942" fmla="*/ 974944 w 1439351"/>
                    <a:gd name="connsiteY3942" fmla="*/ 1142699 h 1323458"/>
                    <a:gd name="connsiteX3943" fmla="*/ 975406 w 1439351"/>
                    <a:gd name="connsiteY3943" fmla="*/ 1142468 h 1323458"/>
                    <a:gd name="connsiteX3944" fmla="*/ 975819 w 1439351"/>
                    <a:gd name="connsiteY3944" fmla="*/ 1142165 h 1323458"/>
                    <a:gd name="connsiteX3945" fmla="*/ 976487 w 1439351"/>
                    <a:gd name="connsiteY3945" fmla="*/ 1141691 h 1323458"/>
                    <a:gd name="connsiteX3946" fmla="*/ 976280 w 1439351"/>
                    <a:gd name="connsiteY3946" fmla="*/ 1142092 h 1323458"/>
                    <a:gd name="connsiteX3947" fmla="*/ 975685 w 1439351"/>
                    <a:gd name="connsiteY3947" fmla="*/ 1143282 h 1323458"/>
                    <a:gd name="connsiteX3948" fmla="*/ 975637 w 1439351"/>
                    <a:gd name="connsiteY3948" fmla="*/ 1144606 h 1323458"/>
                    <a:gd name="connsiteX3949" fmla="*/ 975576 w 1439351"/>
                    <a:gd name="connsiteY3949" fmla="*/ 1146099 h 1323458"/>
                    <a:gd name="connsiteX3950" fmla="*/ 975515 w 1439351"/>
                    <a:gd name="connsiteY3950" fmla="*/ 1147556 h 1323458"/>
                    <a:gd name="connsiteX3951" fmla="*/ 976122 w 1439351"/>
                    <a:gd name="connsiteY3951" fmla="*/ 1148880 h 1323458"/>
                    <a:gd name="connsiteX3952" fmla="*/ 976705 w 1439351"/>
                    <a:gd name="connsiteY3952" fmla="*/ 1150143 h 1323458"/>
                    <a:gd name="connsiteX3953" fmla="*/ 977385 w 1439351"/>
                    <a:gd name="connsiteY3953" fmla="*/ 1151624 h 1323458"/>
                    <a:gd name="connsiteX3954" fmla="*/ 978721 w 1439351"/>
                    <a:gd name="connsiteY3954" fmla="*/ 1152571 h 1323458"/>
                    <a:gd name="connsiteX3955" fmla="*/ 980724 w 1439351"/>
                    <a:gd name="connsiteY3955" fmla="*/ 1153980 h 1323458"/>
                    <a:gd name="connsiteX3956" fmla="*/ 981902 w 1439351"/>
                    <a:gd name="connsiteY3956" fmla="*/ 1154806 h 1323458"/>
                    <a:gd name="connsiteX3957" fmla="*/ 983323 w 1439351"/>
                    <a:gd name="connsiteY3957" fmla="*/ 1155024 h 1323458"/>
                    <a:gd name="connsiteX3958" fmla="*/ 984707 w 1439351"/>
                    <a:gd name="connsiteY3958" fmla="*/ 1155231 h 1323458"/>
                    <a:gd name="connsiteX3959" fmla="*/ 986213 w 1439351"/>
                    <a:gd name="connsiteY3959" fmla="*/ 1155461 h 1323458"/>
                    <a:gd name="connsiteX3960" fmla="*/ 986614 w 1439351"/>
                    <a:gd name="connsiteY3960" fmla="*/ 1155315 h 1323458"/>
                    <a:gd name="connsiteX3961" fmla="*/ 986602 w 1439351"/>
                    <a:gd name="connsiteY3961" fmla="*/ 1155498 h 1323458"/>
                    <a:gd name="connsiteX3962" fmla="*/ 986541 w 1439351"/>
                    <a:gd name="connsiteY3962" fmla="*/ 1156323 h 1323458"/>
                    <a:gd name="connsiteX3963" fmla="*/ 986699 w 1439351"/>
                    <a:gd name="connsiteY3963" fmla="*/ 1157137 h 1323458"/>
                    <a:gd name="connsiteX3964" fmla="*/ 986978 w 1439351"/>
                    <a:gd name="connsiteY3964" fmla="*/ 1158546 h 1323458"/>
                    <a:gd name="connsiteX3965" fmla="*/ 987172 w 1439351"/>
                    <a:gd name="connsiteY3965" fmla="*/ 1159493 h 1323458"/>
                    <a:gd name="connsiteX3966" fmla="*/ 987646 w 1439351"/>
                    <a:gd name="connsiteY3966" fmla="*/ 1160331 h 1323458"/>
                    <a:gd name="connsiteX3967" fmla="*/ 988168 w 1439351"/>
                    <a:gd name="connsiteY3967" fmla="*/ 1161254 h 1323458"/>
                    <a:gd name="connsiteX3968" fmla="*/ 988848 w 1439351"/>
                    <a:gd name="connsiteY3968" fmla="*/ 1162468 h 1323458"/>
                    <a:gd name="connsiteX3969" fmla="*/ 989989 w 1439351"/>
                    <a:gd name="connsiteY3969" fmla="*/ 1163257 h 1323458"/>
                    <a:gd name="connsiteX3970" fmla="*/ 991544 w 1439351"/>
                    <a:gd name="connsiteY3970" fmla="*/ 1164338 h 1323458"/>
                    <a:gd name="connsiteX3971" fmla="*/ 992552 w 1439351"/>
                    <a:gd name="connsiteY3971" fmla="*/ 1165030 h 1323458"/>
                    <a:gd name="connsiteX3972" fmla="*/ 993742 w 1439351"/>
                    <a:gd name="connsiteY3972" fmla="*/ 1165285 h 1323458"/>
                    <a:gd name="connsiteX3973" fmla="*/ 994604 w 1439351"/>
                    <a:gd name="connsiteY3973" fmla="*/ 1165467 h 1323458"/>
                    <a:gd name="connsiteX3974" fmla="*/ 995612 w 1439351"/>
                    <a:gd name="connsiteY3974" fmla="*/ 1165686 h 1323458"/>
                    <a:gd name="connsiteX3975" fmla="*/ 996632 w 1439351"/>
                    <a:gd name="connsiteY3975" fmla="*/ 1165552 h 1323458"/>
                    <a:gd name="connsiteX3976" fmla="*/ 997117 w 1439351"/>
                    <a:gd name="connsiteY3976" fmla="*/ 1165491 h 1323458"/>
                    <a:gd name="connsiteX3977" fmla="*/ 995891 w 1439351"/>
                    <a:gd name="connsiteY3977" fmla="*/ 1168017 h 1323458"/>
                    <a:gd name="connsiteX3978" fmla="*/ 994980 w 1439351"/>
                    <a:gd name="connsiteY3978" fmla="*/ 1169353 h 1323458"/>
                    <a:gd name="connsiteX3979" fmla="*/ 992661 w 1439351"/>
                    <a:gd name="connsiteY3979" fmla="*/ 1172765 h 1323458"/>
                    <a:gd name="connsiteX3980" fmla="*/ 994980 w 1439351"/>
                    <a:gd name="connsiteY3980" fmla="*/ 1176177 h 1323458"/>
                    <a:gd name="connsiteX3981" fmla="*/ 995794 w 1439351"/>
                    <a:gd name="connsiteY3981" fmla="*/ 1177379 h 1323458"/>
                    <a:gd name="connsiteX3982" fmla="*/ 997822 w 1439351"/>
                    <a:gd name="connsiteY3982" fmla="*/ 1180366 h 1323458"/>
                    <a:gd name="connsiteX3983" fmla="*/ 1001416 w 1439351"/>
                    <a:gd name="connsiteY3983" fmla="*/ 1180014 h 1323458"/>
                    <a:gd name="connsiteX3984" fmla="*/ 1010098 w 1439351"/>
                    <a:gd name="connsiteY3984" fmla="*/ 1179152 h 1323458"/>
                    <a:gd name="connsiteX3985" fmla="*/ 1016607 w 1439351"/>
                    <a:gd name="connsiteY3985" fmla="*/ 1179954 h 1323458"/>
                    <a:gd name="connsiteX3986" fmla="*/ 1017724 w 1439351"/>
                    <a:gd name="connsiteY3986" fmla="*/ 1180099 h 1323458"/>
                    <a:gd name="connsiteX3987" fmla="*/ 1018817 w 1439351"/>
                    <a:gd name="connsiteY3987" fmla="*/ 1179832 h 1323458"/>
                    <a:gd name="connsiteX3988" fmla="*/ 1021525 w 1439351"/>
                    <a:gd name="connsiteY3988" fmla="*/ 1179152 h 1323458"/>
                    <a:gd name="connsiteX3989" fmla="*/ 1022982 w 1439351"/>
                    <a:gd name="connsiteY3989" fmla="*/ 1178788 h 1323458"/>
                    <a:gd name="connsiteX3990" fmla="*/ 1024111 w 1439351"/>
                    <a:gd name="connsiteY3990" fmla="*/ 1177780 h 1323458"/>
                    <a:gd name="connsiteX3991" fmla="*/ 1026746 w 1439351"/>
                    <a:gd name="connsiteY3991" fmla="*/ 1175424 h 1323458"/>
                    <a:gd name="connsiteX3992" fmla="*/ 1027997 w 1439351"/>
                    <a:gd name="connsiteY3992" fmla="*/ 1174307 h 1323458"/>
                    <a:gd name="connsiteX3993" fmla="*/ 1028495 w 1439351"/>
                    <a:gd name="connsiteY3993" fmla="*/ 1172704 h 1323458"/>
                    <a:gd name="connsiteX3994" fmla="*/ 1029187 w 1439351"/>
                    <a:gd name="connsiteY3994" fmla="*/ 1170458 h 1323458"/>
                    <a:gd name="connsiteX3995" fmla="*/ 1029442 w 1439351"/>
                    <a:gd name="connsiteY3995" fmla="*/ 1169656 h 1323458"/>
                    <a:gd name="connsiteX3996" fmla="*/ 1029466 w 1439351"/>
                    <a:gd name="connsiteY3996" fmla="*/ 1168831 h 1323458"/>
                    <a:gd name="connsiteX3997" fmla="*/ 1029515 w 1439351"/>
                    <a:gd name="connsiteY3997" fmla="*/ 1167082 h 1323458"/>
                    <a:gd name="connsiteX3998" fmla="*/ 1029527 w 1439351"/>
                    <a:gd name="connsiteY3998" fmla="*/ 1166366 h 1323458"/>
                    <a:gd name="connsiteX3999" fmla="*/ 1029381 w 1439351"/>
                    <a:gd name="connsiteY3999" fmla="*/ 1165661 h 1323458"/>
                    <a:gd name="connsiteX4000" fmla="*/ 1028798 w 1439351"/>
                    <a:gd name="connsiteY4000" fmla="*/ 1162856 h 1323458"/>
                    <a:gd name="connsiteX4001" fmla="*/ 1028786 w 1439351"/>
                    <a:gd name="connsiteY4001" fmla="*/ 1162638 h 1323458"/>
                    <a:gd name="connsiteX4002" fmla="*/ 1044268 w 1439351"/>
                    <a:gd name="connsiteY4002" fmla="*/ 1167811 h 1323458"/>
                    <a:gd name="connsiteX4003" fmla="*/ 1044924 w 1439351"/>
                    <a:gd name="connsiteY4003" fmla="*/ 1168029 h 1323458"/>
                    <a:gd name="connsiteX4004" fmla="*/ 1045616 w 1439351"/>
                    <a:gd name="connsiteY4004" fmla="*/ 1168090 h 1323458"/>
                    <a:gd name="connsiteX4005" fmla="*/ 1054287 w 1439351"/>
                    <a:gd name="connsiteY4005" fmla="*/ 1168928 h 1323458"/>
                    <a:gd name="connsiteX4006" fmla="*/ 1054796 w 1439351"/>
                    <a:gd name="connsiteY4006" fmla="*/ 1168976 h 1323458"/>
                    <a:gd name="connsiteX4007" fmla="*/ 1055319 w 1439351"/>
                    <a:gd name="connsiteY4007" fmla="*/ 1168940 h 1323458"/>
                    <a:gd name="connsiteX4008" fmla="*/ 1058367 w 1439351"/>
                    <a:gd name="connsiteY4008" fmla="*/ 1168709 h 1323458"/>
                    <a:gd name="connsiteX4009" fmla="*/ 1058901 w 1439351"/>
                    <a:gd name="connsiteY4009" fmla="*/ 1168673 h 1323458"/>
                    <a:gd name="connsiteX4010" fmla="*/ 1059411 w 1439351"/>
                    <a:gd name="connsiteY4010" fmla="*/ 1168539 h 1323458"/>
                    <a:gd name="connsiteX4011" fmla="*/ 1061754 w 1439351"/>
                    <a:gd name="connsiteY4011" fmla="*/ 1167932 h 1323458"/>
                    <a:gd name="connsiteX4012" fmla="*/ 1062228 w 1439351"/>
                    <a:gd name="connsiteY4012" fmla="*/ 1167811 h 1323458"/>
                    <a:gd name="connsiteX4013" fmla="*/ 1062665 w 1439351"/>
                    <a:gd name="connsiteY4013" fmla="*/ 1167616 h 1323458"/>
                    <a:gd name="connsiteX4014" fmla="*/ 1071372 w 1439351"/>
                    <a:gd name="connsiteY4014" fmla="*/ 1163840 h 1323458"/>
                    <a:gd name="connsiteX4015" fmla="*/ 1071372 w 1439351"/>
                    <a:gd name="connsiteY4015" fmla="*/ 1163852 h 1323458"/>
                    <a:gd name="connsiteX4016" fmla="*/ 1071602 w 1439351"/>
                    <a:gd name="connsiteY4016" fmla="*/ 1165285 h 1323458"/>
                    <a:gd name="connsiteX4017" fmla="*/ 1071906 w 1439351"/>
                    <a:gd name="connsiteY4017" fmla="*/ 1167155 h 1323458"/>
                    <a:gd name="connsiteX4018" fmla="*/ 1073217 w 1439351"/>
                    <a:gd name="connsiteY4018" fmla="*/ 1168527 h 1323458"/>
                    <a:gd name="connsiteX4019" fmla="*/ 1074541 w 1439351"/>
                    <a:gd name="connsiteY4019" fmla="*/ 1169899 h 1323458"/>
                    <a:gd name="connsiteX4020" fmla="*/ 1075707 w 1439351"/>
                    <a:gd name="connsiteY4020" fmla="*/ 1171114 h 1323458"/>
                    <a:gd name="connsiteX4021" fmla="*/ 1077334 w 1439351"/>
                    <a:gd name="connsiteY4021" fmla="*/ 1171551 h 1323458"/>
                    <a:gd name="connsiteX4022" fmla="*/ 1078876 w 1439351"/>
                    <a:gd name="connsiteY4022" fmla="*/ 1171963 h 1323458"/>
                    <a:gd name="connsiteX4023" fmla="*/ 1079483 w 1439351"/>
                    <a:gd name="connsiteY4023" fmla="*/ 1172134 h 1323458"/>
                    <a:gd name="connsiteX4024" fmla="*/ 1080115 w 1439351"/>
                    <a:gd name="connsiteY4024" fmla="*/ 1172158 h 1323458"/>
                    <a:gd name="connsiteX4025" fmla="*/ 1084462 w 1439351"/>
                    <a:gd name="connsiteY4025" fmla="*/ 1172401 h 1323458"/>
                    <a:gd name="connsiteX4026" fmla="*/ 1085348 w 1439351"/>
                    <a:gd name="connsiteY4026" fmla="*/ 1176153 h 1323458"/>
                    <a:gd name="connsiteX4027" fmla="*/ 1085482 w 1439351"/>
                    <a:gd name="connsiteY4027" fmla="*/ 1176723 h 1323458"/>
                    <a:gd name="connsiteX4028" fmla="*/ 1085724 w 1439351"/>
                    <a:gd name="connsiteY4028" fmla="*/ 1177246 h 1323458"/>
                    <a:gd name="connsiteX4029" fmla="*/ 1086744 w 1439351"/>
                    <a:gd name="connsiteY4029" fmla="*/ 1179504 h 1323458"/>
                    <a:gd name="connsiteX4030" fmla="*/ 1086951 w 1439351"/>
                    <a:gd name="connsiteY4030" fmla="*/ 1179978 h 1323458"/>
                    <a:gd name="connsiteX4031" fmla="*/ 1087242 w 1439351"/>
                    <a:gd name="connsiteY4031" fmla="*/ 1180403 h 1323458"/>
                    <a:gd name="connsiteX4032" fmla="*/ 1087777 w 1439351"/>
                    <a:gd name="connsiteY4032" fmla="*/ 1181204 h 1323458"/>
                    <a:gd name="connsiteX4033" fmla="*/ 1086975 w 1439351"/>
                    <a:gd name="connsiteY4033" fmla="*/ 1180925 h 1323458"/>
                    <a:gd name="connsiteX4034" fmla="*/ 1085785 w 1439351"/>
                    <a:gd name="connsiteY4034" fmla="*/ 1180512 h 1323458"/>
                    <a:gd name="connsiteX4035" fmla="*/ 1084522 w 1439351"/>
                    <a:gd name="connsiteY4035" fmla="*/ 1180609 h 1323458"/>
                    <a:gd name="connsiteX4036" fmla="*/ 1083442 w 1439351"/>
                    <a:gd name="connsiteY4036" fmla="*/ 1180694 h 1323458"/>
                    <a:gd name="connsiteX4037" fmla="*/ 1082155 w 1439351"/>
                    <a:gd name="connsiteY4037" fmla="*/ 1180791 h 1323458"/>
                    <a:gd name="connsiteX4038" fmla="*/ 1081013 w 1439351"/>
                    <a:gd name="connsiteY4038" fmla="*/ 1181411 h 1323458"/>
                    <a:gd name="connsiteX4039" fmla="*/ 1080030 w 1439351"/>
                    <a:gd name="connsiteY4039" fmla="*/ 1181945 h 1323458"/>
                    <a:gd name="connsiteX4040" fmla="*/ 1079119 w 1439351"/>
                    <a:gd name="connsiteY4040" fmla="*/ 1182443 h 1323458"/>
                    <a:gd name="connsiteX4041" fmla="*/ 1078427 w 1439351"/>
                    <a:gd name="connsiteY4041" fmla="*/ 1183208 h 1323458"/>
                    <a:gd name="connsiteX4042" fmla="*/ 1077455 w 1439351"/>
                    <a:gd name="connsiteY4042" fmla="*/ 1184276 h 1323458"/>
                    <a:gd name="connsiteX4043" fmla="*/ 1077055 w 1439351"/>
                    <a:gd name="connsiteY4043" fmla="*/ 1184726 h 1323458"/>
                    <a:gd name="connsiteX4044" fmla="*/ 1076751 w 1439351"/>
                    <a:gd name="connsiteY4044" fmla="*/ 1185236 h 1323458"/>
                    <a:gd name="connsiteX4045" fmla="*/ 1075767 w 1439351"/>
                    <a:gd name="connsiteY4045" fmla="*/ 1186875 h 1323458"/>
                    <a:gd name="connsiteX4046" fmla="*/ 1075014 w 1439351"/>
                    <a:gd name="connsiteY4046" fmla="*/ 1188138 h 1323458"/>
                    <a:gd name="connsiteX4047" fmla="*/ 1074929 w 1439351"/>
                    <a:gd name="connsiteY4047" fmla="*/ 1189619 h 1323458"/>
                    <a:gd name="connsiteX4048" fmla="*/ 1074820 w 1439351"/>
                    <a:gd name="connsiteY4048" fmla="*/ 1191453 h 1323458"/>
                    <a:gd name="connsiteX4049" fmla="*/ 1074796 w 1439351"/>
                    <a:gd name="connsiteY4049" fmla="*/ 1191927 h 1323458"/>
                    <a:gd name="connsiteX4050" fmla="*/ 1074832 w 1439351"/>
                    <a:gd name="connsiteY4050" fmla="*/ 1192388 h 1323458"/>
                    <a:gd name="connsiteX4051" fmla="*/ 1075112 w 1439351"/>
                    <a:gd name="connsiteY4051" fmla="*/ 1195411 h 1323458"/>
                    <a:gd name="connsiteX4052" fmla="*/ 1075184 w 1439351"/>
                    <a:gd name="connsiteY4052" fmla="*/ 1196189 h 1323458"/>
                    <a:gd name="connsiteX4053" fmla="*/ 1075452 w 1439351"/>
                    <a:gd name="connsiteY4053" fmla="*/ 1196929 h 1323458"/>
                    <a:gd name="connsiteX4054" fmla="*/ 1076544 w 1439351"/>
                    <a:gd name="connsiteY4054" fmla="*/ 1199941 h 1323458"/>
                    <a:gd name="connsiteX4055" fmla="*/ 1076472 w 1439351"/>
                    <a:gd name="connsiteY4055" fmla="*/ 1202345 h 1323458"/>
                    <a:gd name="connsiteX4056" fmla="*/ 1074747 w 1439351"/>
                    <a:gd name="connsiteY4056" fmla="*/ 1210967 h 1323458"/>
                    <a:gd name="connsiteX4057" fmla="*/ 1074638 w 1439351"/>
                    <a:gd name="connsiteY4057" fmla="*/ 1211489 h 1323458"/>
                    <a:gd name="connsiteX4058" fmla="*/ 1074626 w 1439351"/>
                    <a:gd name="connsiteY4058" fmla="*/ 1212023 h 1323458"/>
                    <a:gd name="connsiteX4059" fmla="*/ 1074565 w 1439351"/>
                    <a:gd name="connsiteY4059" fmla="*/ 1214610 h 1323458"/>
                    <a:gd name="connsiteX4060" fmla="*/ 1074553 w 1439351"/>
                    <a:gd name="connsiteY4060" fmla="*/ 1215253 h 1323458"/>
                    <a:gd name="connsiteX4061" fmla="*/ 1074674 w 1439351"/>
                    <a:gd name="connsiteY4061" fmla="*/ 1215885 h 1323458"/>
                    <a:gd name="connsiteX4062" fmla="*/ 1074966 w 1439351"/>
                    <a:gd name="connsiteY4062" fmla="*/ 1217415 h 1323458"/>
                    <a:gd name="connsiteX4063" fmla="*/ 1075282 w 1439351"/>
                    <a:gd name="connsiteY4063" fmla="*/ 1219090 h 1323458"/>
                    <a:gd name="connsiteX4064" fmla="*/ 1076423 w 1439351"/>
                    <a:gd name="connsiteY4064" fmla="*/ 1220353 h 1323458"/>
                    <a:gd name="connsiteX4065" fmla="*/ 1077455 w 1439351"/>
                    <a:gd name="connsiteY4065" fmla="*/ 1221495 h 1323458"/>
                    <a:gd name="connsiteX4066" fmla="*/ 1078342 w 1439351"/>
                    <a:gd name="connsiteY4066" fmla="*/ 1222466 h 1323458"/>
                    <a:gd name="connsiteX4067" fmla="*/ 1079556 w 1439351"/>
                    <a:gd name="connsiteY4067" fmla="*/ 1222988 h 1323458"/>
                    <a:gd name="connsiteX4068" fmla="*/ 1080964 w 1439351"/>
                    <a:gd name="connsiteY4068" fmla="*/ 1223595 h 1323458"/>
                    <a:gd name="connsiteX4069" fmla="*/ 1080964 w 1439351"/>
                    <a:gd name="connsiteY4069" fmla="*/ 1223632 h 1323458"/>
                    <a:gd name="connsiteX4070" fmla="*/ 1080612 w 1439351"/>
                    <a:gd name="connsiteY4070" fmla="*/ 1233370 h 1323458"/>
                    <a:gd name="connsiteX4071" fmla="*/ 1080260 w 1439351"/>
                    <a:gd name="connsiteY4071" fmla="*/ 1235058 h 1323458"/>
                    <a:gd name="connsiteX4072" fmla="*/ 1079726 w 1439351"/>
                    <a:gd name="connsiteY4072" fmla="*/ 1236698 h 1323458"/>
                    <a:gd name="connsiteX4073" fmla="*/ 1076982 w 1439351"/>
                    <a:gd name="connsiteY4073" fmla="*/ 1241494 h 1323458"/>
                    <a:gd name="connsiteX4074" fmla="*/ 1076375 w 1439351"/>
                    <a:gd name="connsiteY4074" fmla="*/ 1242550 h 1323458"/>
                    <a:gd name="connsiteX4075" fmla="*/ 1076229 w 1439351"/>
                    <a:gd name="connsiteY4075" fmla="*/ 1243777 h 1323458"/>
                    <a:gd name="connsiteX4076" fmla="*/ 1074893 w 1439351"/>
                    <a:gd name="connsiteY4076" fmla="*/ 1254669 h 1323458"/>
                    <a:gd name="connsiteX4077" fmla="*/ 1074577 w 1439351"/>
                    <a:gd name="connsiteY4077" fmla="*/ 1255058 h 1323458"/>
                    <a:gd name="connsiteX4078" fmla="*/ 1074347 w 1439351"/>
                    <a:gd name="connsiteY4078" fmla="*/ 1255191 h 1323458"/>
                    <a:gd name="connsiteX4079" fmla="*/ 1071845 w 1439351"/>
                    <a:gd name="connsiteY4079" fmla="*/ 1255410 h 1323458"/>
                    <a:gd name="connsiteX4080" fmla="*/ 1071456 w 1439351"/>
                    <a:gd name="connsiteY4080" fmla="*/ 1255434 h 1323458"/>
                    <a:gd name="connsiteX4081" fmla="*/ 1071080 w 1439351"/>
                    <a:gd name="connsiteY4081" fmla="*/ 1255519 h 1323458"/>
                    <a:gd name="connsiteX4082" fmla="*/ 1069587 w 1439351"/>
                    <a:gd name="connsiteY4082" fmla="*/ 1255835 h 1323458"/>
                    <a:gd name="connsiteX4083" fmla="*/ 1068202 w 1439351"/>
                    <a:gd name="connsiteY4083" fmla="*/ 1256126 h 1323458"/>
                    <a:gd name="connsiteX4084" fmla="*/ 1067085 w 1439351"/>
                    <a:gd name="connsiteY4084" fmla="*/ 1257013 h 1323458"/>
                    <a:gd name="connsiteX4085" fmla="*/ 1066053 w 1439351"/>
                    <a:gd name="connsiteY4085" fmla="*/ 1257838 h 1323458"/>
                    <a:gd name="connsiteX4086" fmla="*/ 1064219 w 1439351"/>
                    <a:gd name="connsiteY4086" fmla="*/ 1259295 h 1323458"/>
                    <a:gd name="connsiteX4087" fmla="*/ 1063843 w 1439351"/>
                    <a:gd name="connsiteY4087" fmla="*/ 1261603 h 1323458"/>
                    <a:gd name="connsiteX4088" fmla="*/ 1063624 w 1439351"/>
                    <a:gd name="connsiteY4088" fmla="*/ 1262890 h 1323458"/>
                    <a:gd name="connsiteX4089" fmla="*/ 1063357 w 1439351"/>
                    <a:gd name="connsiteY4089" fmla="*/ 1264517 h 1323458"/>
                    <a:gd name="connsiteX4090" fmla="*/ 1063940 w 1439351"/>
                    <a:gd name="connsiteY4090" fmla="*/ 1266047 h 1323458"/>
                    <a:gd name="connsiteX4091" fmla="*/ 1064972 w 1439351"/>
                    <a:gd name="connsiteY4091" fmla="*/ 1268755 h 1323458"/>
                    <a:gd name="connsiteX4092" fmla="*/ 1065215 w 1439351"/>
                    <a:gd name="connsiteY4092" fmla="*/ 1269374 h 1323458"/>
                    <a:gd name="connsiteX4093" fmla="*/ 1065579 w 1439351"/>
                    <a:gd name="connsiteY4093" fmla="*/ 1269933 h 1323458"/>
                    <a:gd name="connsiteX4094" fmla="*/ 1067012 w 1439351"/>
                    <a:gd name="connsiteY4094" fmla="*/ 1272106 h 1323458"/>
                    <a:gd name="connsiteX4095" fmla="*/ 1067267 w 1439351"/>
                    <a:gd name="connsiteY4095" fmla="*/ 1272495 h 1323458"/>
                    <a:gd name="connsiteX4096" fmla="*/ 1067571 w 1439351"/>
                    <a:gd name="connsiteY4096" fmla="*/ 1272835 h 1323458"/>
                    <a:gd name="connsiteX4097" fmla="*/ 1070036 w 1439351"/>
                    <a:gd name="connsiteY4097" fmla="*/ 1275567 h 1323458"/>
                    <a:gd name="connsiteX4098" fmla="*/ 1070376 w 1439351"/>
                    <a:gd name="connsiteY4098" fmla="*/ 1275943 h 1323458"/>
                    <a:gd name="connsiteX4099" fmla="*/ 1070776 w 1439351"/>
                    <a:gd name="connsiteY4099" fmla="*/ 1276259 h 1323458"/>
                    <a:gd name="connsiteX4100" fmla="*/ 1074116 w 1439351"/>
                    <a:gd name="connsiteY4100" fmla="*/ 1278906 h 1323458"/>
                    <a:gd name="connsiteX4101" fmla="*/ 1075719 w 1439351"/>
                    <a:gd name="connsiteY4101" fmla="*/ 1279975 h 1323458"/>
                    <a:gd name="connsiteX4102" fmla="*/ 1075719 w 1439351"/>
                    <a:gd name="connsiteY4102" fmla="*/ 1280109 h 1323458"/>
                    <a:gd name="connsiteX4103" fmla="*/ 1075257 w 1439351"/>
                    <a:gd name="connsiteY4103" fmla="*/ 1281517 h 1323458"/>
                    <a:gd name="connsiteX4104" fmla="*/ 1075148 w 1439351"/>
                    <a:gd name="connsiteY4104" fmla="*/ 1281845 h 1323458"/>
                    <a:gd name="connsiteX4105" fmla="*/ 1075087 w 1439351"/>
                    <a:gd name="connsiteY4105" fmla="*/ 1282185 h 1323458"/>
                    <a:gd name="connsiteX4106" fmla="*/ 1074699 w 1439351"/>
                    <a:gd name="connsiteY4106" fmla="*/ 1284103 h 1323458"/>
                    <a:gd name="connsiteX4107" fmla="*/ 1074419 w 1439351"/>
                    <a:gd name="connsiteY4107" fmla="*/ 1285476 h 1323458"/>
                    <a:gd name="connsiteX4108" fmla="*/ 1074772 w 1439351"/>
                    <a:gd name="connsiteY4108" fmla="*/ 1286836 h 1323458"/>
                    <a:gd name="connsiteX4109" fmla="*/ 1075112 w 1439351"/>
                    <a:gd name="connsiteY4109" fmla="*/ 1288159 h 1323458"/>
                    <a:gd name="connsiteX4110" fmla="*/ 1075719 w 1439351"/>
                    <a:gd name="connsiteY4110" fmla="*/ 1290479 h 1323458"/>
                    <a:gd name="connsiteX4111" fmla="*/ 1077747 w 1439351"/>
                    <a:gd name="connsiteY4111" fmla="*/ 1291754 h 1323458"/>
                    <a:gd name="connsiteX4112" fmla="*/ 1079010 w 1439351"/>
                    <a:gd name="connsiteY4112" fmla="*/ 1292555 h 1323458"/>
                    <a:gd name="connsiteX4113" fmla="*/ 1079289 w 1439351"/>
                    <a:gd name="connsiteY4113" fmla="*/ 1292737 h 1323458"/>
                    <a:gd name="connsiteX4114" fmla="*/ 1079592 w 1439351"/>
                    <a:gd name="connsiteY4114" fmla="*/ 1292883 h 1323458"/>
                    <a:gd name="connsiteX4115" fmla="*/ 1080357 w 1439351"/>
                    <a:gd name="connsiteY4115" fmla="*/ 1293259 h 1323458"/>
                    <a:gd name="connsiteX4116" fmla="*/ 1083041 w 1439351"/>
                    <a:gd name="connsiteY4116" fmla="*/ 1295579 h 1323458"/>
                    <a:gd name="connsiteX4117" fmla="*/ 1088469 w 1439351"/>
                    <a:gd name="connsiteY4117" fmla="*/ 1303435 h 1323458"/>
                    <a:gd name="connsiteX4118" fmla="*/ 1089768 w 1439351"/>
                    <a:gd name="connsiteY4118" fmla="*/ 1305317 h 1323458"/>
                    <a:gd name="connsiteX4119" fmla="*/ 1091990 w 1439351"/>
                    <a:gd name="connsiteY4119" fmla="*/ 1305864 h 1323458"/>
                    <a:gd name="connsiteX4120" fmla="*/ 1097710 w 1439351"/>
                    <a:gd name="connsiteY4120" fmla="*/ 1307297 h 1323458"/>
                    <a:gd name="connsiteX4121" fmla="*/ 1106792 w 1439351"/>
                    <a:gd name="connsiteY4121" fmla="*/ 1315651 h 1323458"/>
                    <a:gd name="connsiteX4122" fmla="*/ 1107157 w 1439351"/>
                    <a:gd name="connsiteY4122" fmla="*/ 1315979 h 1323458"/>
                    <a:gd name="connsiteX4123" fmla="*/ 1107570 w 1439351"/>
                    <a:gd name="connsiteY4123" fmla="*/ 1316246 h 1323458"/>
                    <a:gd name="connsiteX4124" fmla="*/ 1111018 w 1439351"/>
                    <a:gd name="connsiteY4124" fmla="*/ 1318517 h 1323458"/>
                    <a:gd name="connsiteX4125" fmla="*/ 1111407 w 1439351"/>
                    <a:gd name="connsiteY4125" fmla="*/ 1318772 h 1323458"/>
                    <a:gd name="connsiteX4126" fmla="*/ 1111832 w 1439351"/>
                    <a:gd name="connsiteY4126" fmla="*/ 1318966 h 1323458"/>
                    <a:gd name="connsiteX4127" fmla="*/ 1116386 w 1439351"/>
                    <a:gd name="connsiteY4127" fmla="*/ 1321054 h 1323458"/>
                    <a:gd name="connsiteX4128" fmla="*/ 1116932 w 1439351"/>
                    <a:gd name="connsiteY4128" fmla="*/ 1321310 h 1323458"/>
                    <a:gd name="connsiteX4129" fmla="*/ 1117515 w 1439351"/>
                    <a:gd name="connsiteY4129" fmla="*/ 1321443 h 1323458"/>
                    <a:gd name="connsiteX4130" fmla="*/ 1122724 w 1439351"/>
                    <a:gd name="connsiteY4130" fmla="*/ 1322682 h 1323458"/>
                    <a:gd name="connsiteX4131" fmla="*/ 1123331 w 1439351"/>
                    <a:gd name="connsiteY4131" fmla="*/ 1322827 h 1323458"/>
                    <a:gd name="connsiteX4132" fmla="*/ 1123951 w 1439351"/>
                    <a:gd name="connsiteY4132" fmla="*/ 1322839 h 1323458"/>
                    <a:gd name="connsiteX4133" fmla="*/ 1126027 w 1439351"/>
                    <a:gd name="connsiteY4133" fmla="*/ 1322900 h 1323458"/>
                    <a:gd name="connsiteX4134" fmla="*/ 1126549 w 1439351"/>
                    <a:gd name="connsiteY4134" fmla="*/ 1322912 h 1323458"/>
                    <a:gd name="connsiteX4135" fmla="*/ 1127059 w 1439351"/>
                    <a:gd name="connsiteY4135" fmla="*/ 1322839 h 1323458"/>
                    <a:gd name="connsiteX4136" fmla="*/ 1132123 w 1439351"/>
                    <a:gd name="connsiteY4136" fmla="*/ 1322111 h 1323458"/>
                    <a:gd name="connsiteX4137" fmla="*/ 1138121 w 1439351"/>
                    <a:gd name="connsiteY4137" fmla="*/ 1322245 h 1323458"/>
                    <a:gd name="connsiteX4138" fmla="*/ 1146634 w 1439351"/>
                    <a:gd name="connsiteY4138" fmla="*/ 1323374 h 1323458"/>
                    <a:gd name="connsiteX4139" fmla="*/ 1147289 w 1439351"/>
                    <a:gd name="connsiteY4139" fmla="*/ 1323459 h 1323458"/>
                    <a:gd name="connsiteX4140" fmla="*/ 1147945 w 1439351"/>
                    <a:gd name="connsiteY4140" fmla="*/ 1323398 h 1323458"/>
                    <a:gd name="connsiteX4141" fmla="*/ 1150811 w 1439351"/>
                    <a:gd name="connsiteY4141" fmla="*/ 1323155 h 1323458"/>
                    <a:gd name="connsiteX4142" fmla="*/ 1151284 w 1439351"/>
                    <a:gd name="connsiteY4142" fmla="*/ 1323119 h 1323458"/>
                    <a:gd name="connsiteX4143" fmla="*/ 1151746 w 1439351"/>
                    <a:gd name="connsiteY4143" fmla="*/ 1322997 h 1323458"/>
                    <a:gd name="connsiteX4144" fmla="*/ 1154053 w 1439351"/>
                    <a:gd name="connsiteY4144" fmla="*/ 1322427 h 1323458"/>
                    <a:gd name="connsiteX4145" fmla="*/ 1154575 w 1439351"/>
                    <a:gd name="connsiteY4145" fmla="*/ 1322293 h 1323458"/>
                    <a:gd name="connsiteX4146" fmla="*/ 1155073 w 1439351"/>
                    <a:gd name="connsiteY4146" fmla="*/ 1322074 h 1323458"/>
                    <a:gd name="connsiteX4147" fmla="*/ 1160646 w 1439351"/>
                    <a:gd name="connsiteY4147" fmla="*/ 1319585 h 1323458"/>
                    <a:gd name="connsiteX4148" fmla="*/ 1161569 w 1439351"/>
                    <a:gd name="connsiteY4148" fmla="*/ 1319294 h 1323458"/>
                    <a:gd name="connsiteX4149" fmla="*/ 1166475 w 1439351"/>
                    <a:gd name="connsiteY4149" fmla="*/ 1318262 h 1323458"/>
                    <a:gd name="connsiteX4150" fmla="*/ 1166888 w 1439351"/>
                    <a:gd name="connsiteY4150" fmla="*/ 1318177 h 1323458"/>
                    <a:gd name="connsiteX4151" fmla="*/ 1167289 w 1439351"/>
                    <a:gd name="connsiteY4151" fmla="*/ 1318031 h 1323458"/>
                    <a:gd name="connsiteX4152" fmla="*/ 1171539 w 1439351"/>
                    <a:gd name="connsiteY4152" fmla="*/ 1316501 h 1323458"/>
                    <a:gd name="connsiteX4153" fmla="*/ 1172109 w 1439351"/>
                    <a:gd name="connsiteY4153" fmla="*/ 1316294 h 1323458"/>
                    <a:gd name="connsiteX4154" fmla="*/ 1172619 w 1439351"/>
                    <a:gd name="connsiteY4154" fmla="*/ 1315979 h 1323458"/>
                    <a:gd name="connsiteX4155" fmla="*/ 1174222 w 1439351"/>
                    <a:gd name="connsiteY4155" fmla="*/ 1315007 h 1323458"/>
                    <a:gd name="connsiteX4156" fmla="*/ 1174647 w 1439351"/>
                    <a:gd name="connsiteY4156" fmla="*/ 1314752 h 1323458"/>
                    <a:gd name="connsiteX4157" fmla="*/ 1175024 w 1439351"/>
                    <a:gd name="connsiteY4157" fmla="*/ 1314437 h 1323458"/>
                    <a:gd name="connsiteX4158" fmla="*/ 1176238 w 1439351"/>
                    <a:gd name="connsiteY4158" fmla="*/ 1313405 h 1323458"/>
                    <a:gd name="connsiteX4159" fmla="*/ 1176590 w 1439351"/>
                    <a:gd name="connsiteY4159" fmla="*/ 1313101 h 1323458"/>
                    <a:gd name="connsiteX4160" fmla="*/ 1176894 w 1439351"/>
                    <a:gd name="connsiteY4160" fmla="*/ 1312749 h 1323458"/>
                    <a:gd name="connsiteX4161" fmla="*/ 1178108 w 1439351"/>
                    <a:gd name="connsiteY4161" fmla="*/ 1311340 h 1323458"/>
                    <a:gd name="connsiteX4162" fmla="*/ 1178424 w 1439351"/>
                    <a:gd name="connsiteY4162" fmla="*/ 1310964 h 1323458"/>
                    <a:gd name="connsiteX4163" fmla="*/ 1178679 w 1439351"/>
                    <a:gd name="connsiteY4163" fmla="*/ 1310539 h 1323458"/>
                    <a:gd name="connsiteX4164" fmla="*/ 1182637 w 1439351"/>
                    <a:gd name="connsiteY4164" fmla="*/ 1304054 h 1323458"/>
                    <a:gd name="connsiteX4165" fmla="*/ 1182807 w 1439351"/>
                    <a:gd name="connsiteY4165" fmla="*/ 1303787 h 1323458"/>
                    <a:gd name="connsiteX4166" fmla="*/ 1182941 w 1439351"/>
                    <a:gd name="connsiteY4166" fmla="*/ 1303508 h 1323458"/>
                    <a:gd name="connsiteX4167" fmla="*/ 1183512 w 1439351"/>
                    <a:gd name="connsiteY4167" fmla="*/ 1302306 h 1323458"/>
                    <a:gd name="connsiteX4168" fmla="*/ 1183827 w 1439351"/>
                    <a:gd name="connsiteY4168" fmla="*/ 1301638 h 1323458"/>
                    <a:gd name="connsiteX4169" fmla="*/ 1183973 w 1439351"/>
                    <a:gd name="connsiteY4169" fmla="*/ 1300909 h 1323458"/>
                    <a:gd name="connsiteX4170" fmla="*/ 1184204 w 1439351"/>
                    <a:gd name="connsiteY4170" fmla="*/ 1299780 h 1323458"/>
                    <a:gd name="connsiteX4171" fmla="*/ 1184289 w 1439351"/>
                    <a:gd name="connsiteY4171" fmla="*/ 1299355 h 1323458"/>
                    <a:gd name="connsiteX4172" fmla="*/ 1184313 w 1439351"/>
                    <a:gd name="connsiteY4172" fmla="*/ 1298930 h 1323458"/>
                    <a:gd name="connsiteX4173" fmla="*/ 1184604 w 1439351"/>
                    <a:gd name="connsiteY4173" fmla="*/ 1294073 h 1323458"/>
                    <a:gd name="connsiteX4174" fmla="*/ 1184932 w 1439351"/>
                    <a:gd name="connsiteY4174" fmla="*/ 1293114 h 1323458"/>
                    <a:gd name="connsiteX4175" fmla="*/ 1185357 w 1439351"/>
                    <a:gd name="connsiteY4175" fmla="*/ 1292555 h 1323458"/>
                    <a:gd name="connsiteX4176" fmla="*/ 1190482 w 1439351"/>
                    <a:gd name="connsiteY4176" fmla="*/ 1289495 h 1323458"/>
                    <a:gd name="connsiteX4177" fmla="*/ 1190979 w 1439351"/>
                    <a:gd name="connsiteY4177" fmla="*/ 1289203 h 1323458"/>
                    <a:gd name="connsiteX4178" fmla="*/ 1191404 w 1439351"/>
                    <a:gd name="connsiteY4178" fmla="*/ 1288815 h 1323458"/>
                    <a:gd name="connsiteX4179" fmla="*/ 1192898 w 1439351"/>
                    <a:gd name="connsiteY4179" fmla="*/ 1287491 h 1323458"/>
                    <a:gd name="connsiteX4180" fmla="*/ 1193712 w 1439351"/>
                    <a:gd name="connsiteY4180" fmla="*/ 1286775 h 1323458"/>
                    <a:gd name="connsiteX4181" fmla="*/ 1194222 w 1439351"/>
                    <a:gd name="connsiteY4181" fmla="*/ 1285816 h 1323458"/>
                    <a:gd name="connsiteX4182" fmla="*/ 1195205 w 1439351"/>
                    <a:gd name="connsiteY4182" fmla="*/ 1283970 h 1323458"/>
                    <a:gd name="connsiteX4183" fmla="*/ 1195436 w 1439351"/>
                    <a:gd name="connsiteY4183" fmla="*/ 1283545 h 1323458"/>
                    <a:gd name="connsiteX4184" fmla="*/ 1195594 w 1439351"/>
                    <a:gd name="connsiteY4184" fmla="*/ 1283083 h 1323458"/>
                    <a:gd name="connsiteX4185" fmla="*/ 1197464 w 1439351"/>
                    <a:gd name="connsiteY4185" fmla="*/ 1277643 h 1323458"/>
                    <a:gd name="connsiteX4186" fmla="*/ 1199079 w 1439351"/>
                    <a:gd name="connsiteY4186" fmla="*/ 1275130 h 1323458"/>
                    <a:gd name="connsiteX4187" fmla="*/ 1199431 w 1439351"/>
                    <a:gd name="connsiteY4187" fmla="*/ 1274596 h 1323458"/>
                    <a:gd name="connsiteX4188" fmla="*/ 1199662 w 1439351"/>
                    <a:gd name="connsiteY4188" fmla="*/ 1273989 h 1323458"/>
                    <a:gd name="connsiteX4189" fmla="*/ 1203912 w 1439351"/>
                    <a:gd name="connsiteY4189" fmla="*/ 1262695 h 1323458"/>
                    <a:gd name="connsiteX4190" fmla="*/ 1204992 w 1439351"/>
                    <a:gd name="connsiteY4190" fmla="*/ 1260534 h 1323458"/>
                    <a:gd name="connsiteX4191" fmla="*/ 1207032 w 1439351"/>
                    <a:gd name="connsiteY4191" fmla="*/ 1257207 h 1323458"/>
                    <a:gd name="connsiteX4192" fmla="*/ 1211768 w 1439351"/>
                    <a:gd name="connsiteY4192" fmla="*/ 1251973 h 1323458"/>
                    <a:gd name="connsiteX4193" fmla="*/ 1212254 w 1439351"/>
                    <a:gd name="connsiteY4193" fmla="*/ 1251439 h 1323458"/>
                    <a:gd name="connsiteX4194" fmla="*/ 1212594 w 1439351"/>
                    <a:gd name="connsiteY4194" fmla="*/ 1250808 h 1323458"/>
                    <a:gd name="connsiteX4195" fmla="*/ 1213395 w 1439351"/>
                    <a:gd name="connsiteY4195" fmla="*/ 1249338 h 1323458"/>
                    <a:gd name="connsiteX4196" fmla="*/ 1213614 w 1439351"/>
                    <a:gd name="connsiteY4196" fmla="*/ 1248938 h 1323458"/>
                    <a:gd name="connsiteX4197" fmla="*/ 1213772 w 1439351"/>
                    <a:gd name="connsiteY4197" fmla="*/ 1248513 h 1323458"/>
                    <a:gd name="connsiteX4198" fmla="*/ 1214403 w 1439351"/>
                    <a:gd name="connsiteY4198" fmla="*/ 1246788 h 1323458"/>
                    <a:gd name="connsiteX4199" fmla="*/ 1214743 w 1439351"/>
                    <a:gd name="connsiteY4199" fmla="*/ 1245865 h 1323458"/>
                    <a:gd name="connsiteX4200" fmla="*/ 1214767 w 1439351"/>
                    <a:gd name="connsiteY4200" fmla="*/ 1244882 h 1323458"/>
                    <a:gd name="connsiteX4201" fmla="*/ 1214828 w 1439351"/>
                    <a:gd name="connsiteY4201" fmla="*/ 1242453 h 1323458"/>
                    <a:gd name="connsiteX4202" fmla="*/ 1214780 w 1439351"/>
                    <a:gd name="connsiteY4202" fmla="*/ 1240947 h 1323458"/>
                    <a:gd name="connsiteX4203" fmla="*/ 1214804 w 1439351"/>
                    <a:gd name="connsiteY4203" fmla="*/ 1240656 h 1323458"/>
                    <a:gd name="connsiteX4204" fmla="*/ 1214877 w 1439351"/>
                    <a:gd name="connsiteY4204" fmla="*/ 1240486 h 1323458"/>
                    <a:gd name="connsiteX4205" fmla="*/ 1219406 w 1439351"/>
                    <a:gd name="connsiteY4205" fmla="*/ 1234670 h 1323458"/>
                    <a:gd name="connsiteX4206" fmla="*/ 1219685 w 1439351"/>
                    <a:gd name="connsiteY4206" fmla="*/ 1234305 h 1323458"/>
                    <a:gd name="connsiteX4207" fmla="*/ 1219916 w 1439351"/>
                    <a:gd name="connsiteY4207" fmla="*/ 1233893 h 1323458"/>
                    <a:gd name="connsiteX4208" fmla="*/ 1220778 w 1439351"/>
                    <a:gd name="connsiteY4208" fmla="*/ 1232338 h 1323458"/>
                    <a:gd name="connsiteX4209" fmla="*/ 1221094 w 1439351"/>
                    <a:gd name="connsiteY4209" fmla="*/ 1231767 h 1323458"/>
                    <a:gd name="connsiteX4210" fmla="*/ 1221276 w 1439351"/>
                    <a:gd name="connsiteY4210" fmla="*/ 1231136 h 1323458"/>
                    <a:gd name="connsiteX4211" fmla="*/ 1221738 w 1439351"/>
                    <a:gd name="connsiteY4211" fmla="*/ 1229582 h 1323458"/>
                    <a:gd name="connsiteX4212" fmla="*/ 1222126 w 1439351"/>
                    <a:gd name="connsiteY4212" fmla="*/ 1228282 h 1323458"/>
                    <a:gd name="connsiteX4213" fmla="*/ 1221920 w 1439351"/>
                    <a:gd name="connsiteY4213" fmla="*/ 1226947 h 1323458"/>
                    <a:gd name="connsiteX4214" fmla="*/ 1221640 w 1439351"/>
                    <a:gd name="connsiteY4214" fmla="*/ 1225028 h 1323458"/>
                    <a:gd name="connsiteX4215" fmla="*/ 1221543 w 1439351"/>
                    <a:gd name="connsiteY4215" fmla="*/ 1224409 h 1323458"/>
                    <a:gd name="connsiteX4216" fmla="*/ 1221325 w 1439351"/>
                    <a:gd name="connsiteY4216" fmla="*/ 1223826 h 1323458"/>
                    <a:gd name="connsiteX4217" fmla="*/ 1220645 w 1439351"/>
                    <a:gd name="connsiteY4217" fmla="*/ 1221992 h 1323458"/>
                    <a:gd name="connsiteX4218" fmla="*/ 1220390 w 1439351"/>
                    <a:gd name="connsiteY4218" fmla="*/ 1221312 h 1323458"/>
                    <a:gd name="connsiteX4219" fmla="*/ 1219977 w 1439351"/>
                    <a:gd name="connsiteY4219" fmla="*/ 1220705 h 1323458"/>
                    <a:gd name="connsiteX4220" fmla="*/ 1217609 w 1439351"/>
                    <a:gd name="connsiteY4220" fmla="*/ 1217208 h 1323458"/>
                    <a:gd name="connsiteX4221" fmla="*/ 1217403 w 1439351"/>
                    <a:gd name="connsiteY4221" fmla="*/ 1216905 h 1323458"/>
                    <a:gd name="connsiteX4222" fmla="*/ 1217160 w 1439351"/>
                    <a:gd name="connsiteY4222" fmla="*/ 1216637 h 1323458"/>
                    <a:gd name="connsiteX4223" fmla="*/ 1214464 w 1439351"/>
                    <a:gd name="connsiteY4223" fmla="*/ 1213529 h 1323458"/>
                    <a:gd name="connsiteX4224" fmla="*/ 1213735 w 1439351"/>
                    <a:gd name="connsiteY4224" fmla="*/ 1212509 h 1323458"/>
                    <a:gd name="connsiteX4225" fmla="*/ 1212873 w 1439351"/>
                    <a:gd name="connsiteY4225" fmla="*/ 1210991 h 1323458"/>
                    <a:gd name="connsiteX4226" fmla="*/ 1211161 w 1439351"/>
                    <a:gd name="connsiteY4226" fmla="*/ 1206874 h 1323458"/>
                    <a:gd name="connsiteX4227" fmla="*/ 1210870 w 1439351"/>
                    <a:gd name="connsiteY4227" fmla="*/ 1205757 h 1323458"/>
                    <a:gd name="connsiteX4228" fmla="*/ 1210809 w 1439351"/>
                    <a:gd name="connsiteY4228" fmla="*/ 1205187 h 1323458"/>
                    <a:gd name="connsiteX4229" fmla="*/ 1210821 w 1439351"/>
                    <a:gd name="connsiteY4229" fmla="*/ 1204677 h 1323458"/>
                    <a:gd name="connsiteX4230" fmla="*/ 1210845 w 1439351"/>
                    <a:gd name="connsiteY4230" fmla="*/ 1204531 h 1323458"/>
                    <a:gd name="connsiteX4231" fmla="*/ 1210845 w 1439351"/>
                    <a:gd name="connsiteY4231" fmla="*/ 1204519 h 1323458"/>
                    <a:gd name="connsiteX4232" fmla="*/ 1213213 w 1439351"/>
                    <a:gd name="connsiteY4232" fmla="*/ 1202892 h 1323458"/>
                    <a:gd name="connsiteX4233" fmla="*/ 1214743 w 1439351"/>
                    <a:gd name="connsiteY4233" fmla="*/ 1202042 h 1323458"/>
                    <a:gd name="connsiteX4234" fmla="*/ 1229521 w 1439351"/>
                    <a:gd name="connsiteY4234" fmla="*/ 1200439 h 1323458"/>
                    <a:gd name="connsiteX4235" fmla="*/ 1234621 w 1439351"/>
                    <a:gd name="connsiteY4235" fmla="*/ 1199892 h 1323458"/>
                    <a:gd name="connsiteX4236" fmla="*/ 1234925 w 1439351"/>
                    <a:gd name="connsiteY4236" fmla="*/ 1194768 h 1323458"/>
                    <a:gd name="connsiteX4237" fmla="*/ 1235265 w 1439351"/>
                    <a:gd name="connsiteY4237" fmla="*/ 1189024 h 1323458"/>
                    <a:gd name="connsiteX4238" fmla="*/ 1235301 w 1439351"/>
                    <a:gd name="connsiteY4238" fmla="*/ 1188442 h 1323458"/>
                    <a:gd name="connsiteX4239" fmla="*/ 1235228 w 1439351"/>
                    <a:gd name="connsiteY4239" fmla="*/ 1187859 h 1323458"/>
                    <a:gd name="connsiteX4240" fmla="*/ 1234403 w 1439351"/>
                    <a:gd name="connsiteY4240" fmla="*/ 1181751 h 1323458"/>
                    <a:gd name="connsiteX4241" fmla="*/ 1234718 w 1439351"/>
                    <a:gd name="connsiteY4241" fmla="*/ 1178156 h 1323458"/>
                    <a:gd name="connsiteX4242" fmla="*/ 1235204 w 1439351"/>
                    <a:gd name="connsiteY4242" fmla="*/ 1175946 h 1323458"/>
                    <a:gd name="connsiteX4243" fmla="*/ 1235483 w 1439351"/>
                    <a:gd name="connsiteY4243" fmla="*/ 1174659 h 1323458"/>
                    <a:gd name="connsiteX4244" fmla="*/ 1235204 w 1439351"/>
                    <a:gd name="connsiteY4244" fmla="*/ 1173372 h 1323458"/>
                    <a:gd name="connsiteX4245" fmla="*/ 1234803 w 1439351"/>
                    <a:gd name="connsiteY4245" fmla="*/ 1171490 h 1323458"/>
                    <a:gd name="connsiteX4246" fmla="*/ 1234670 w 1439351"/>
                    <a:gd name="connsiteY4246" fmla="*/ 1170846 h 1323458"/>
                    <a:gd name="connsiteX4247" fmla="*/ 1234403 w 1439351"/>
                    <a:gd name="connsiteY4247" fmla="*/ 1170251 h 1323458"/>
                    <a:gd name="connsiteX4248" fmla="*/ 1232933 w 1439351"/>
                    <a:gd name="connsiteY4248" fmla="*/ 1167034 h 1323458"/>
                    <a:gd name="connsiteX4249" fmla="*/ 1235459 w 1439351"/>
                    <a:gd name="connsiteY4249" fmla="*/ 1163002 h 1323458"/>
                    <a:gd name="connsiteX4250" fmla="*/ 1236224 w 1439351"/>
                    <a:gd name="connsiteY4250" fmla="*/ 1161763 h 1323458"/>
                    <a:gd name="connsiteX4251" fmla="*/ 1236358 w 1439351"/>
                    <a:gd name="connsiteY4251" fmla="*/ 1160318 h 1323458"/>
                    <a:gd name="connsiteX4252" fmla="*/ 1236540 w 1439351"/>
                    <a:gd name="connsiteY4252" fmla="*/ 1158278 h 1323458"/>
                    <a:gd name="connsiteX4253" fmla="*/ 1236601 w 1439351"/>
                    <a:gd name="connsiteY4253" fmla="*/ 1157586 h 1323458"/>
                    <a:gd name="connsiteX4254" fmla="*/ 1236503 w 1439351"/>
                    <a:gd name="connsiteY4254" fmla="*/ 1156906 h 1323458"/>
                    <a:gd name="connsiteX4255" fmla="*/ 1236163 w 1439351"/>
                    <a:gd name="connsiteY4255" fmla="*/ 1154405 h 1323458"/>
                    <a:gd name="connsiteX4256" fmla="*/ 1236103 w 1439351"/>
                    <a:gd name="connsiteY4256" fmla="*/ 1153919 h 1323458"/>
                    <a:gd name="connsiteX4257" fmla="*/ 1235969 w 1439351"/>
                    <a:gd name="connsiteY4257" fmla="*/ 1153458 h 1323458"/>
                    <a:gd name="connsiteX4258" fmla="*/ 1234755 w 1439351"/>
                    <a:gd name="connsiteY4258" fmla="*/ 1149475 h 1323458"/>
                    <a:gd name="connsiteX4259" fmla="*/ 1234548 w 1439351"/>
                    <a:gd name="connsiteY4259" fmla="*/ 1148819 h 1323458"/>
                    <a:gd name="connsiteX4260" fmla="*/ 1234208 w 1439351"/>
                    <a:gd name="connsiteY4260" fmla="*/ 1148224 h 1323458"/>
                    <a:gd name="connsiteX4261" fmla="*/ 1233176 w 1439351"/>
                    <a:gd name="connsiteY4261" fmla="*/ 1146415 h 1323458"/>
                    <a:gd name="connsiteX4262" fmla="*/ 1232581 w 1439351"/>
                    <a:gd name="connsiteY4262" fmla="*/ 1145370 h 1323458"/>
                    <a:gd name="connsiteX4263" fmla="*/ 1231622 w 1439351"/>
                    <a:gd name="connsiteY4263" fmla="*/ 1144630 h 1323458"/>
                    <a:gd name="connsiteX4264" fmla="*/ 1229898 w 1439351"/>
                    <a:gd name="connsiteY4264" fmla="*/ 1143306 h 1323458"/>
                    <a:gd name="connsiteX4265" fmla="*/ 1228866 w 1439351"/>
                    <a:gd name="connsiteY4265" fmla="*/ 1142505 h 1323458"/>
                    <a:gd name="connsiteX4266" fmla="*/ 1227603 w 1439351"/>
                    <a:gd name="connsiteY4266" fmla="*/ 1142201 h 1323458"/>
                    <a:gd name="connsiteX4267" fmla="*/ 1221118 w 1439351"/>
                    <a:gd name="connsiteY4267" fmla="*/ 1140659 h 1323458"/>
                    <a:gd name="connsiteX4268" fmla="*/ 1219370 w 1439351"/>
                    <a:gd name="connsiteY4268" fmla="*/ 1139930 h 1323458"/>
                    <a:gd name="connsiteX4269" fmla="*/ 1217645 w 1439351"/>
                    <a:gd name="connsiteY4269" fmla="*/ 1138874 h 1323458"/>
                    <a:gd name="connsiteX4270" fmla="*/ 1216188 w 1439351"/>
                    <a:gd name="connsiteY4270" fmla="*/ 1137684 h 1323458"/>
                    <a:gd name="connsiteX4271" fmla="*/ 1215168 w 1439351"/>
                    <a:gd name="connsiteY4271" fmla="*/ 1136336 h 1323458"/>
                    <a:gd name="connsiteX4272" fmla="*/ 1211622 w 1439351"/>
                    <a:gd name="connsiteY4272" fmla="*/ 1130787 h 1323458"/>
                    <a:gd name="connsiteX4273" fmla="*/ 1211258 w 1439351"/>
                    <a:gd name="connsiteY4273" fmla="*/ 1130216 h 1323458"/>
                    <a:gd name="connsiteX4274" fmla="*/ 1210772 w 1439351"/>
                    <a:gd name="connsiteY4274" fmla="*/ 1129743 h 1323458"/>
                    <a:gd name="connsiteX4275" fmla="*/ 1209667 w 1439351"/>
                    <a:gd name="connsiteY4275" fmla="*/ 1128650 h 1323458"/>
                    <a:gd name="connsiteX4276" fmla="*/ 1209158 w 1439351"/>
                    <a:gd name="connsiteY4276" fmla="*/ 1128140 h 1323458"/>
                    <a:gd name="connsiteX4277" fmla="*/ 1208538 w 1439351"/>
                    <a:gd name="connsiteY4277" fmla="*/ 1127763 h 1323458"/>
                    <a:gd name="connsiteX4278" fmla="*/ 1207348 w 1439351"/>
                    <a:gd name="connsiteY4278" fmla="*/ 1127047 h 1323458"/>
                    <a:gd name="connsiteX4279" fmla="*/ 1206729 w 1439351"/>
                    <a:gd name="connsiteY4279" fmla="*/ 1126670 h 1323458"/>
                    <a:gd name="connsiteX4280" fmla="*/ 1206037 w 1439351"/>
                    <a:gd name="connsiteY4280" fmla="*/ 1126452 h 1323458"/>
                    <a:gd name="connsiteX4281" fmla="*/ 1205539 w 1439351"/>
                    <a:gd name="connsiteY4281" fmla="*/ 1126294 h 1323458"/>
                    <a:gd name="connsiteX4282" fmla="*/ 1203365 w 1439351"/>
                    <a:gd name="connsiteY4282" fmla="*/ 1124218 h 1323458"/>
                    <a:gd name="connsiteX4283" fmla="*/ 1203135 w 1439351"/>
                    <a:gd name="connsiteY4283" fmla="*/ 1123695 h 1323458"/>
                    <a:gd name="connsiteX4284" fmla="*/ 1203086 w 1439351"/>
                    <a:gd name="connsiteY4284" fmla="*/ 1123331 h 1323458"/>
                    <a:gd name="connsiteX4285" fmla="*/ 1203414 w 1439351"/>
                    <a:gd name="connsiteY4285" fmla="*/ 1122748 h 1323458"/>
                    <a:gd name="connsiteX4286" fmla="*/ 1203718 w 1439351"/>
                    <a:gd name="connsiteY4286" fmla="*/ 1122214 h 1323458"/>
                    <a:gd name="connsiteX4287" fmla="*/ 1203912 w 1439351"/>
                    <a:gd name="connsiteY4287" fmla="*/ 1121619 h 1323458"/>
                    <a:gd name="connsiteX4288" fmla="*/ 1204652 w 1439351"/>
                    <a:gd name="connsiteY4288" fmla="*/ 1119312 h 1323458"/>
                    <a:gd name="connsiteX4289" fmla="*/ 1204810 w 1439351"/>
                    <a:gd name="connsiteY4289" fmla="*/ 1118802 h 1323458"/>
                    <a:gd name="connsiteX4290" fmla="*/ 1204883 w 1439351"/>
                    <a:gd name="connsiteY4290" fmla="*/ 1118280 h 1323458"/>
                    <a:gd name="connsiteX4291" fmla="*/ 1205332 w 1439351"/>
                    <a:gd name="connsiteY4291" fmla="*/ 1115013 h 1323458"/>
                    <a:gd name="connsiteX4292" fmla="*/ 1205381 w 1439351"/>
                    <a:gd name="connsiteY4292" fmla="*/ 1114673 h 1323458"/>
                    <a:gd name="connsiteX4293" fmla="*/ 1205393 w 1439351"/>
                    <a:gd name="connsiteY4293" fmla="*/ 1114333 h 1323458"/>
                    <a:gd name="connsiteX4294" fmla="*/ 1205575 w 1439351"/>
                    <a:gd name="connsiteY4294" fmla="*/ 1106865 h 1323458"/>
                    <a:gd name="connsiteX4295" fmla="*/ 1205575 w 1439351"/>
                    <a:gd name="connsiteY4295" fmla="*/ 1106562 h 1323458"/>
                    <a:gd name="connsiteX4296" fmla="*/ 1205551 w 1439351"/>
                    <a:gd name="connsiteY4296" fmla="*/ 1106258 h 1323458"/>
                    <a:gd name="connsiteX4297" fmla="*/ 1205090 w 1439351"/>
                    <a:gd name="connsiteY4297" fmla="*/ 1100332 h 1323458"/>
                    <a:gd name="connsiteX4298" fmla="*/ 1205053 w 1439351"/>
                    <a:gd name="connsiteY4298" fmla="*/ 1099919 h 1323458"/>
                    <a:gd name="connsiteX4299" fmla="*/ 1204968 w 1439351"/>
                    <a:gd name="connsiteY4299" fmla="*/ 1099507 h 1323458"/>
                    <a:gd name="connsiteX4300" fmla="*/ 1204847 w 1439351"/>
                    <a:gd name="connsiteY4300" fmla="*/ 1098948 h 1323458"/>
                    <a:gd name="connsiteX4301" fmla="*/ 1204519 w 1439351"/>
                    <a:gd name="connsiteY4301" fmla="*/ 1097940 h 1323458"/>
                    <a:gd name="connsiteX4302" fmla="*/ 1203827 w 1439351"/>
                    <a:gd name="connsiteY4302" fmla="*/ 1096313 h 1323458"/>
                    <a:gd name="connsiteX4303" fmla="*/ 1203572 w 1439351"/>
                    <a:gd name="connsiteY4303" fmla="*/ 1095718 h 1323458"/>
                    <a:gd name="connsiteX4304" fmla="*/ 1203195 w 1439351"/>
                    <a:gd name="connsiteY4304" fmla="*/ 1095184 h 1323458"/>
                    <a:gd name="connsiteX4305" fmla="*/ 1199249 w 1439351"/>
                    <a:gd name="connsiteY4305" fmla="*/ 1089634 h 1323458"/>
                    <a:gd name="connsiteX4306" fmla="*/ 1197585 w 1439351"/>
                    <a:gd name="connsiteY4306" fmla="*/ 1086429 h 1323458"/>
                    <a:gd name="connsiteX4307" fmla="*/ 1197379 w 1439351"/>
                    <a:gd name="connsiteY4307" fmla="*/ 1085846 h 1323458"/>
                    <a:gd name="connsiteX4308" fmla="*/ 1197367 w 1439351"/>
                    <a:gd name="connsiteY4308" fmla="*/ 1085287 h 1323458"/>
                    <a:gd name="connsiteX4309" fmla="*/ 1197670 w 1439351"/>
                    <a:gd name="connsiteY4309" fmla="*/ 1083879 h 1323458"/>
                    <a:gd name="connsiteX4310" fmla="*/ 1197755 w 1439351"/>
                    <a:gd name="connsiteY4310" fmla="*/ 1083454 h 1323458"/>
                    <a:gd name="connsiteX4311" fmla="*/ 1197779 w 1439351"/>
                    <a:gd name="connsiteY4311" fmla="*/ 1083016 h 1323458"/>
                    <a:gd name="connsiteX4312" fmla="*/ 1198593 w 1439351"/>
                    <a:gd name="connsiteY4312" fmla="*/ 1071821 h 1323458"/>
                    <a:gd name="connsiteX4313" fmla="*/ 1199322 w 1439351"/>
                    <a:gd name="connsiteY4313" fmla="*/ 1067388 h 1323458"/>
                    <a:gd name="connsiteX4314" fmla="*/ 1199844 w 1439351"/>
                    <a:gd name="connsiteY4314" fmla="*/ 1065652 h 1323458"/>
                    <a:gd name="connsiteX4315" fmla="*/ 1200123 w 1439351"/>
                    <a:gd name="connsiteY4315" fmla="*/ 1064972 h 1323458"/>
                    <a:gd name="connsiteX4316" fmla="*/ 1200609 w 1439351"/>
                    <a:gd name="connsiteY4316" fmla="*/ 1064159 h 1323458"/>
                    <a:gd name="connsiteX4317" fmla="*/ 1202285 w 1439351"/>
                    <a:gd name="connsiteY4317" fmla="*/ 1061973 h 1323458"/>
                    <a:gd name="connsiteX4318" fmla="*/ 1204507 w 1439351"/>
                    <a:gd name="connsiteY4318" fmla="*/ 1059726 h 1323458"/>
                    <a:gd name="connsiteX4319" fmla="*/ 1206243 w 1439351"/>
                    <a:gd name="connsiteY4319" fmla="*/ 1058354 h 1323458"/>
                    <a:gd name="connsiteX4320" fmla="*/ 1211574 w 1439351"/>
                    <a:gd name="connsiteY4320" fmla="*/ 1055063 h 1323458"/>
                    <a:gd name="connsiteX4321" fmla="*/ 1221313 w 1439351"/>
                    <a:gd name="connsiteY4321" fmla="*/ 1050716 h 1323458"/>
                    <a:gd name="connsiteX4322" fmla="*/ 1224360 w 1439351"/>
                    <a:gd name="connsiteY4322" fmla="*/ 1049040 h 1323458"/>
                    <a:gd name="connsiteX4323" fmla="*/ 1224749 w 1439351"/>
                    <a:gd name="connsiteY4323" fmla="*/ 1048822 h 1323458"/>
                    <a:gd name="connsiteX4324" fmla="*/ 1225089 w 1439351"/>
                    <a:gd name="connsiteY4324" fmla="*/ 1048567 h 1323458"/>
                    <a:gd name="connsiteX4325" fmla="*/ 1230735 w 1439351"/>
                    <a:gd name="connsiteY4325" fmla="*/ 1044268 h 1323458"/>
                    <a:gd name="connsiteX4326" fmla="*/ 1233504 w 1439351"/>
                    <a:gd name="connsiteY4326" fmla="*/ 1042690 h 1323458"/>
                    <a:gd name="connsiteX4327" fmla="*/ 1259356 w 1439351"/>
                    <a:gd name="connsiteY4327" fmla="*/ 1028155 h 1323458"/>
                    <a:gd name="connsiteX4328" fmla="*/ 1279052 w 1439351"/>
                    <a:gd name="connsiteY4328" fmla="*/ 1016837 h 1323458"/>
                    <a:gd name="connsiteX4329" fmla="*/ 1279404 w 1439351"/>
                    <a:gd name="connsiteY4329" fmla="*/ 1016631 h 1323458"/>
                    <a:gd name="connsiteX4330" fmla="*/ 1279732 w 1439351"/>
                    <a:gd name="connsiteY4330" fmla="*/ 1016376 h 1323458"/>
                    <a:gd name="connsiteX4331" fmla="*/ 1284723 w 1439351"/>
                    <a:gd name="connsiteY4331" fmla="*/ 1012527 h 1323458"/>
                    <a:gd name="connsiteX4332" fmla="*/ 1286180 w 1439351"/>
                    <a:gd name="connsiteY4332" fmla="*/ 1011397 h 1323458"/>
                    <a:gd name="connsiteX4333" fmla="*/ 1286763 w 1439351"/>
                    <a:gd name="connsiteY4333" fmla="*/ 1009649 h 1323458"/>
                    <a:gd name="connsiteX4334" fmla="*/ 1287407 w 1439351"/>
                    <a:gd name="connsiteY4334" fmla="*/ 1007767 h 1323458"/>
                    <a:gd name="connsiteX4335" fmla="*/ 1292956 w 1439351"/>
                    <a:gd name="connsiteY4335" fmla="*/ 1005884 h 1323458"/>
                    <a:gd name="connsiteX4336" fmla="*/ 1293345 w 1439351"/>
                    <a:gd name="connsiteY4336" fmla="*/ 1005751 h 1323458"/>
                    <a:gd name="connsiteX4337" fmla="*/ 1293709 w 1439351"/>
                    <a:gd name="connsiteY4337" fmla="*/ 1005569 h 1323458"/>
                    <a:gd name="connsiteX4338" fmla="*/ 1299732 w 1439351"/>
                    <a:gd name="connsiteY4338" fmla="*/ 1002582 h 1323458"/>
                    <a:gd name="connsiteX4339" fmla="*/ 1300254 w 1439351"/>
                    <a:gd name="connsiteY4339" fmla="*/ 1002327 h 1323458"/>
                    <a:gd name="connsiteX4340" fmla="*/ 1300715 w 1439351"/>
                    <a:gd name="connsiteY4340" fmla="*/ 1001975 h 1323458"/>
                    <a:gd name="connsiteX4341" fmla="*/ 1303994 w 1439351"/>
                    <a:gd name="connsiteY4341" fmla="*/ 999473 h 1323458"/>
                    <a:gd name="connsiteX4342" fmla="*/ 1305269 w 1439351"/>
                    <a:gd name="connsiteY4342" fmla="*/ 998489 h 1323458"/>
                    <a:gd name="connsiteX4343" fmla="*/ 1305900 w 1439351"/>
                    <a:gd name="connsiteY4343" fmla="*/ 997008 h 1323458"/>
                    <a:gd name="connsiteX4344" fmla="*/ 1306289 w 1439351"/>
                    <a:gd name="connsiteY4344" fmla="*/ 996085 h 1323458"/>
                    <a:gd name="connsiteX4345" fmla="*/ 1307005 w 1439351"/>
                    <a:gd name="connsiteY4345" fmla="*/ 995235 h 1323458"/>
                    <a:gd name="connsiteX4346" fmla="*/ 1318225 w 1439351"/>
                    <a:gd name="connsiteY4346" fmla="*/ 987694 h 1323458"/>
                    <a:gd name="connsiteX4347" fmla="*/ 1318638 w 1439351"/>
                    <a:gd name="connsiteY4347" fmla="*/ 987415 h 1323458"/>
                    <a:gd name="connsiteX4348" fmla="*/ 1319002 w 1439351"/>
                    <a:gd name="connsiteY4348" fmla="*/ 987075 h 1323458"/>
                    <a:gd name="connsiteX4349" fmla="*/ 1323022 w 1439351"/>
                    <a:gd name="connsiteY4349" fmla="*/ 983287 h 1323458"/>
                    <a:gd name="connsiteX4350" fmla="*/ 1323350 w 1439351"/>
                    <a:gd name="connsiteY4350" fmla="*/ 982971 h 1323458"/>
                    <a:gd name="connsiteX4351" fmla="*/ 1323629 w 1439351"/>
                    <a:gd name="connsiteY4351" fmla="*/ 982619 h 1323458"/>
                    <a:gd name="connsiteX4352" fmla="*/ 1333465 w 1439351"/>
                    <a:gd name="connsiteY4352" fmla="*/ 970087 h 1323458"/>
                    <a:gd name="connsiteX4353" fmla="*/ 1347963 w 1439351"/>
                    <a:gd name="connsiteY4353" fmla="*/ 958758 h 1323458"/>
                    <a:gd name="connsiteX4354" fmla="*/ 1351193 w 1439351"/>
                    <a:gd name="connsiteY4354" fmla="*/ 957835 h 1323458"/>
                    <a:gd name="connsiteX4355" fmla="*/ 1352553 w 1439351"/>
                    <a:gd name="connsiteY4355" fmla="*/ 958624 h 1323458"/>
                    <a:gd name="connsiteX4356" fmla="*/ 1352408 w 1439351"/>
                    <a:gd name="connsiteY4356" fmla="*/ 959936 h 1323458"/>
                    <a:gd name="connsiteX4357" fmla="*/ 1352298 w 1439351"/>
                    <a:gd name="connsiteY4357" fmla="*/ 960421 h 1323458"/>
                    <a:gd name="connsiteX4358" fmla="*/ 1352213 w 1439351"/>
                    <a:gd name="connsiteY4358" fmla="*/ 960834 h 1323458"/>
                    <a:gd name="connsiteX4359" fmla="*/ 1352201 w 1439351"/>
                    <a:gd name="connsiteY4359" fmla="*/ 961247 h 1323458"/>
                    <a:gd name="connsiteX4360" fmla="*/ 1352141 w 1439351"/>
                    <a:gd name="connsiteY4360" fmla="*/ 962328 h 1323458"/>
                    <a:gd name="connsiteX4361" fmla="*/ 1352129 w 1439351"/>
                    <a:gd name="connsiteY4361" fmla="*/ 962644 h 1323458"/>
                    <a:gd name="connsiteX4362" fmla="*/ 1352141 w 1439351"/>
                    <a:gd name="connsiteY4362" fmla="*/ 962959 h 1323458"/>
                    <a:gd name="connsiteX4363" fmla="*/ 1352201 w 1439351"/>
                    <a:gd name="connsiteY4363" fmla="*/ 964173 h 1323458"/>
                    <a:gd name="connsiteX4364" fmla="*/ 1352226 w 1439351"/>
                    <a:gd name="connsiteY4364" fmla="*/ 964708 h 1323458"/>
                    <a:gd name="connsiteX4365" fmla="*/ 1352347 w 1439351"/>
                    <a:gd name="connsiteY4365" fmla="*/ 965230 h 1323458"/>
                    <a:gd name="connsiteX4366" fmla="*/ 1352638 w 1439351"/>
                    <a:gd name="connsiteY4366" fmla="*/ 966493 h 1323458"/>
                    <a:gd name="connsiteX4367" fmla="*/ 1352711 w 1439351"/>
                    <a:gd name="connsiteY4367" fmla="*/ 966796 h 1323458"/>
                    <a:gd name="connsiteX4368" fmla="*/ 1352821 w 1439351"/>
                    <a:gd name="connsiteY4368" fmla="*/ 967100 h 1323458"/>
                    <a:gd name="connsiteX4369" fmla="*/ 1353221 w 1439351"/>
                    <a:gd name="connsiteY4369" fmla="*/ 968278 h 1323458"/>
                    <a:gd name="connsiteX4370" fmla="*/ 1353841 w 1439351"/>
                    <a:gd name="connsiteY4370" fmla="*/ 969771 h 1323458"/>
                    <a:gd name="connsiteX4371" fmla="*/ 1353998 w 1439351"/>
                    <a:gd name="connsiteY4371" fmla="*/ 970124 h 1323458"/>
                    <a:gd name="connsiteX4372" fmla="*/ 1354193 w 1439351"/>
                    <a:gd name="connsiteY4372" fmla="*/ 970451 h 1323458"/>
                    <a:gd name="connsiteX4373" fmla="*/ 1354763 w 1439351"/>
                    <a:gd name="connsiteY4373" fmla="*/ 971423 h 1323458"/>
                    <a:gd name="connsiteX4374" fmla="*/ 1355055 w 1439351"/>
                    <a:gd name="connsiteY4374" fmla="*/ 971933 h 1323458"/>
                    <a:gd name="connsiteX4375" fmla="*/ 1355443 w 1439351"/>
                    <a:gd name="connsiteY4375" fmla="*/ 972370 h 1323458"/>
                    <a:gd name="connsiteX4376" fmla="*/ 1356136 w 1439351"/>
                    <a:gd name="connsiteY4376" fmla="*/ 973147 h 1323458"/>
                    <a:gd name="connsiteX4377" fmla="*/ 1357083 w 1439351"/>
                    <a:gd name="connsiteY4377" fmla="*/ 974107 h 1323458"/>
                    <a:gd name="connsiteX4378" fmla="*/ 1357556 w 1439351"/>
                    <a:gd name="connsiteY4378" fmla="*/ 974592 h 1323458"/>
                    <a:gd name="connsiteX4379" fmla="*/ 1358127 w 1439351"/>
                    <a:gd name="connsiteY4379" fmla="*/ 974956 h 1323458"/>
                    <a:gd name="connsiteX4380" fmla="*/ 1359851 w 1439351"/>
                    <a:gd name="connsiteY4380" fmla="*/ 976049 h 1323458"/>
                    <a:gd name="connsiteX4381" fmla="*/ 1361260 w 1439351"/>
                    <a:gd name="connsiteY4381" fmla="*/ 976802 h 1323458"/>
                    <a:gd name="connsiteX4382" fmla="*/ 1361576 w 1439351"/>
                    <a:gd name="connsiteY4382" fmla="*/ 976960 h 1323458"/>
                    <a:gd name="connsiteX4383" fmla="*/ 1361916 w 1439351"/>
                    <a:gd name="connsiteY4383" fmla="*/ 977081 h 1323458"/>
                    <a:gd name="connsiteX4384" fmla="*/ 1363178 w 1439351"/>
                    <a:gd name="connsiteY4384" fmla="*/ 977543 h 1323458"/>
                    <a:gd name="connsiteX4385" fmla="*/ 1363555 w 1439351"/>
                    <a:gd name="connsiteY4385" fmla="*/ 977676 h 1323458"/>
                    <a:gd name="connsiteX4386" fmla="*/ 1363956 w 1439351"/>
                    <a:gd name="connsiteY4386" fmla="*/ 977761 h 1323458"/>
                    <a:gd name="connsiteX4387" fmla="*/ 1365510 w 1439351"/>
                    <a:gd name="connsiteY4387" fmla="*/ 978101 h 1323458"/>
                    <a:gd name="connsiteX4388" fmla="*/ 1366105 w 1439351"/>
                    <a:gd name="connsiteY4388" fmla="*/ 978235 h 1323458"/>
                    <a:gd name="connsiteX4389" fmla="*/ 1366712 w 1439351"/>
                    <a:gd name="connsiteY4389" fmla="*/ 978247 h 1323458"/>
                    <a:gd name="connsiteX4390" fmla="*/ 1369918 w 1439351"/>
                    <a:gd name="connsiteY4390" fmla="*/ 978308 h 1323458"/>
                    <a:gd name="connsiteX4391" fmla="*/ 1370501 w 1439351"/>
                    <a:gd name="connsiteY4391" fmla="*/ 978320 h 1323458"/>
                    <a:gd name="connsiteX4392" fmla="*/ 1371071 w 1439351"/>
                    <a:gd name="connsiteY4392" fmla="*/ 978223 h 1323458"/>
                    <a:gd name="connsiteX4393" fmla="*/ 1373719 w 1439351"/>
                    <a:gd name="connsiteY4393" fmla="*/ 977761 h 1323458"/>
                    <a:gd name="connsiteX4394" fmla="*/ 1374180 w 1439351"/>
                    <a:gd name="connsiteY4394" fmla="*/ 977676 h 1323458"/>
                    <a:gd name="connsiteX4395" fmla="*/ 1374617 w 1439351"/>
                    <a:gd name="connsiteY4395" fmla="*/ 977531 h 1323458"/>
                    <a:gd name="connsiteX4396" fmla="*/ 1378236 w 1439351"/>
                    <a:gd name="connsiteY4396" fmla="*/ 976316 h 1323458"/>
                    <a:gd name="connsiteX4397" fmla="*/ 1378746 w 1439351"/>
                    <a:gd name="connsiteY4397" fmla="*/ 976147 h 1323458"/>
                    <a:gd name="connsiteX4398" fmla="*/ 1379219 w 1439351"/>
                    <a:gd name="connsiteY4398" fmla="*/ 975892 h 1323458"/>
                    <a:gd name="connsiteX4399" fmla="*/ 1380883 w 1439351"/>
                    <a:gd name="connsiteY4399" fmla="*/ 974981 h 1323458"/>
                    <a:gd name="connsiteX4400" fmla="*/ 1381405 w 1439351"/>
                    <a:gd name="connsiteY4400" fmla="*/ 974701 h 1323458"/>
                    <a:gd name="connsiteX4401" fmla="*/ 1381866 w 1439351"/>
                    <a:gd name="connsiteY4401" fmla="*/ 974313 h 1323458"/>
                    <a:gd name="connsiteX4402" fmla="*/ 1382959 w 1439351"/>
                    <a:gd name="connsiteY4402" fmla="*/ 973402 h 1323458"/>
                    <a:gd name="connsiteX4403" fmla="*/ 1383906 w 1439351"/>
                    <a:gd name="connsiteY4403" fmla="*/ 972613 h 1323458"/>
                    <a:gd name="connsiteX4404" fmla="*/ 1384465 w 1439351"/>
                    <a:gd name="connsiteY4404" fmla="*/ 971520 h 1323458"/>
                    <a:gd name="connsiteX4405" fmla="*/ 1384926 w 1439351"/>
                    <a:gd name="connsiteY4405" fmla="*/ 970621 h 1323458"/>
                    <a:gd name="connsiteX4406" fmla="*/ 1385182 w 1439351"/>
                    <a:gd name="connsiteY4406" fmla="*/ 970124 h 1323458"/>
                    <a:gd name="connsiteX4407" fmla="*/ 1385339 w 1439351"/>
                    <a:gd name="connsiteY4407" fmla="*/ 969589 h 1323458"/>
                    <a:gd name="connsiteX4408" fmla="*/ 1385631 w 1439351"/>
                    <a:gd name="connsiteY4408" fmla="*/ 968618 h 1323458"/>
                    <a:gd name="connsiteX4409" fmla="*/ 1385849 w 1439351"/>
                    <a:gd name="connsiteY4409" fmla="*/ 967889 h 1323458"/>
                    <a:gd name="connsiteX4410" fmla="*/ 1385874 w 1439351"/>
                    <a:gd name="connsiteY4410" fmla="*/ 967124 h 1323458"/>
                    <a:gd name="connsiteX4411" fmla="*/ 1385922 w 1439351"/>
                    <a:gd name="connsiteY4411" fmla="*/ 965946 h 1323458"/>
                    <a:gd name="connsiteX4412" fmla="*/ 1385934 w 1439351"/>
                    <a:gd name="connsiteY4412" fmla="*/ 965558 h 1323458"/>
                    <a:gd name="connsiteX4413" fmla="*/ 1385898 w 1439351"/>
                    <a:gd name="connsiteY4413" fmla="*/ 965169 h 1323458"/>
                    <a:gd name="connsiteX4414" fmla="*/ 1385789 w 1439351"/>
                    <a:gd name="connsiteY4414" fmla="*/ 963955 h 1323458"/>
                    <a:gd name="connsiteX4415" fmla="*/ 1385764 w 1439351"/>
                    <a:gd name="connsiteY4415" fmla="*/ 963639 h 1323458"/>
                    <a:gd name="connsiteX4416" fmla="*/ 1385704 w 1439351"/>
                    <a:gd name="connsiteY4416" fmla="*/ 963336 h 1323458"/>
                    <a:gd name="connsiteX4417" fmla="*/ 1385473 w 1439351"/>
                    <a:gd name="connsiteY4417" fmla="*/ 962133 h 1323458"/>
                    <a:gd name="connsiteX4418" fmla="*/ 1384975 w 1439351"/>
                    <a:gd name="connsiteY4418" fmla="*/ 960373 h 1323458"/>
                    <a:gd name="connsiteX4419" fmla="*/ 1383202 w 1439351"/>
                    <a:gd name="connsiteY4419" fmla="*/ 955953 h 1323458"/>
                    <a:gd name="connsiteX4420" fmla="*/ 1383858 w 1439351"/>
                    <a:gd name="connsiteY4420" fmla="*/ 955734 h 1323458"/>
                    <a:gd name="connsiteX4421" fmla="*/ 1384332 w 1439351"/>
                    <a:gd name="connsiteY4421" fmla="*/ 955576 h 1323458"/>
                    <a:gd name="connsiteX4422" fmla="*/ 1384781 w 1439351"/>
                    <a:gd name="connsiteY4422" fmla="*/ 955346 h 1323458"/>
                    <a:gd name="connsiteX4423" fmla="*/ 1387258 w 1439351"/>
                    <a:gd name="connsiteY4423" fmla="*/ 954059 h 1323458"/>
                    <a:gd name="connsiteX4424" fmla="*/ 1387756 w 1439351"/>
                    <a:gd name="connsiteY4424" fmla="*/ 953925 h 1323458"/>
                    <a:gd name="connsiteX4425" fmla="*/ 1392698 w 1439351"/>
                    <a:gd name="connsiteY4425" fmla="*/ 958721 h 1323458"/>
                    <a:gd name="connsiteX4426" fmla="*/ 1393062 w 1439351"/>
                    <a:gd name="connsiteY4426" fmla="*/ 959073 h 1323458"/>
                    <a:gd name="connsiteX4427" fmla="*/ 1393475 w 1439351"/>
                    <a:gd name="connsiteY4427" fmla="*/ 959353 h 1323458"/>
                    <a:gd name="connsiteX4428" fmla="*/ 1396972 w 1439351"/>
                    <a:gd name="connsiteY4428" fmla="*/ 961769 h 1323458"/>
                    <a:gd name="connsiteX4429" fmla="*/ 1397810 w 1439351"/>
                    <a:gd name="connsiteY4429" fmla="*/ 962352 h 1323458"/>
                    <a:gd name="connsiteX4430" fmla="*/ 1398806 w 1439351"/>
                    <a:gd name="connsiteY4430" fmla="*/ 962619 h 1323458"/>
                    <a:gd name="connsiteX4431" fmla="*/ 1402922 w 1439351"/>
                    <a:gd name="connsiteY4431" fmla="*/ 963761 h 1323458"/>
                    <a:gd name="connsiteX4432" fmla="*/ 1405181 w 1439351"/>
                    <a:gd name="connsiteY4432" fmla="*/ 965072 h 1323458"/>
                    <a:gd name="connsiteX4433" fmla="*/ 1405582 w 1439351"/>
                    <a:gd name="connsiteY4433" fmla="*/ 965303 h 1323458"/>
                    <a:gd name="connsiteX4434" fmla="*/ 1406007 w 1439351"/>
                    <a:gd name="connsiteY4434" fmla="*/ 965473 h 1323458"/>
                    <a:gd name="connsiteX4435" fmla="*/ 1407318 w 1439351"/>
                    <a:gd name="connsiteY4435" fmla="*/ 965995 h 1323458"/>
                    <a:gd name="connsiteX4436" fmla="*/ 1407974 w 1439351"/>
                    <a:gd name="connsiteY4436" fmla="*/ 966250 h 1323458"/>
                    <a:gd name="connsiteX4437" fmla="*/ 1408678 w 1439351"/>
                    <a:gd name="connsiteY4437" fmla="*/ 966347 h 1323458"/>
                    <a:gd name="connsiteX4438" fmla="*/ 1410973 w 1439351"/>
                    <a:gd name="connsiteY4438" fmla="*/ 966687 h 1323458"/>
                    <a:gd name="connsiteX4439" fmla="*/ 1411556 w 1439351"/>
                    <a:gd name="connsiteY4439" fmla="*/ 966772 h 1323458"/>
                    <a:gd name="connsiteX4440" fmla="*/ 1412151 w 1439351"/>
                    <a:gd name="connsiteY4440" fmla="*/ 966748 h 1323458"/>
                    <a:gd name="connsiteX4441" fmla="*/ 1416911 w 1439351"/>
                    <a:gd name="connsiteY4441" fmla="*/ 966517 h 1323458"/>
                    <a:gd name="connsiteX4442" fmla="*/ 1417530 w 1439351"/>
                    <a:gd name="connsiteY4442" fmla="*/ 966493 h 1323458"/>
                    <a:gd name="connsiteX4443" fmla="*/ 1418137 w 1439351"/>
                    <a:gd name="connsiteY4443" fmla="*/ 966335 h 1323458"/>
                    <a:gd name="connsiteX4444" fmla="*/ 1420323 w 1439351"/>
                    <a:gd name="connsiteY4444" fmla="*/ 965764 h 1323458"/>
                    <a:gd name="connsiteX4445" fmla="*/ 1420687 w 1439351"/>
                    <a:gd name="connsiteY4445" fmla="*/ 965667 h 1323458"/>
                    <a:gd name="connsiteX4446" fmla="*/ 1421040 w 1439351"/>
                    <a:gd name="connsiteY4446" fmla="*/ 965521 h 1323458"/>
                    <a:gd name="connsiteX4447" fmla="*/ 1422193 w 1439351"/>
                    <a:gd name="connsiteY4447" fmla="*/ 965060 h 1323458"/>
                    <a:gd name="connsiteX4448" fmla="*/ 1422897 w 1439351"/>
                    <a:gd name="connsiteY4448" fmla="*/ 964781 h 1323458"/>
                    <a:gd name="connsiteX4449" fmla="*/ 1423517 w 1439351"/>
                    <a:gd name="connsiteY4449" fmla="*/ 964331 h 1323458"/>
                    <a:gd name="connsiteX4450" fmla="*/ 1431313 w 1439351"/>
                    <a:gd name="connsiteY4450" fmla="*/ 958648 h 1323458"/>
                    <a:gd name="connsiteX4451" fmla="*/ 1432199 w 1439351"/>
                    <a:gd name="connsiteY4451" fmla="*/ 958187 h 1323458"/>
                    <a:gd name="connsiteX4452" fmla="*/ 1433134 w 1439351"/>
                    <a:gd name="connsiteY4452" fmla="*/ 957689 h 1323458"/>
                    <a:gd name="connsiteX4453" fmla="*/ 1433850 w 1439351"/>
                    <a:gd name="connsiteY4453" fmla="*/ 956900 h 1323458"/>
                    <a:gd name="connsiteX4454" fmla="*/ 1435405 w 1439351"/>
                    <a:gd name="connsiteY4454" fmla="*/ 955188 h 1323458"/>
                    <a:gd name="connsiteX4455" fmla="*/ 1437165 w 1439351"/>
                    <a:gd name="connsiteY4455" fmla="*/ 953233 h 1323458"/>
                    <a:gd name="connsiteX4456" fmla="*/ 1436959 w 1439351"/>
                    <a:gd name="connsiteY4456" fmla="*/ 950622 h 1323458"/>
                    <a:gd name="connsiteX4457" fmla="*/ 1436935 w 1439351"/>
                    <a:gd name="connsiteY4457" fmla="*/ 950233 h 1323458"/>
                    <a:gd name="connsiteX4458" fmla="*/ 1437457 w 1439351"/>
                    <a:gd name="connsiteY4458" fmla="*/ 949602 h 1323458"/>
                    <a:gd name="connsiteX4459" fmla="*/ 1438598 w 1439351"/>
                    <a:gd name="connsiteY4459" fmla="*/ 948242 h 1323458"/>
                    <a:gd name="connsiteX4460" fmla="*/ 1438829 w 1439351"/>
                    <a:gd name="connsiteY4460" fmla="*/ 946469 h 1323458"/>
                    <a:gd name="connsiteX4461" fmla="*/ 1439169 w 1439351"/>
                    <a:gd name="connsiteY4461" fmla="*/ 943858 h 1323458"/>
                    <a:gd name="connsiteX4462" fmla="*/ 1439351 w 1439351"/>
                    <a:gd name="connsiteY4462" fmla="*/ 942413 h 1323458"/>
                    <a:gd name="connsiteX4463" fmla="*/ 1438853 w 1439351"/>
                    <a:gd name="connsiteY4463" fmla="*/ 941029 h 1323458"/>
                    <a:gd name="connsiteX4464" fmla="*/ 1438513 w 1439351"/>
                    <a:gd name="connsiteY4464" fmla="*/ 940082 h 1323458"/>
                    <a:gd name="connsiteX4465" fmla="*/ 1438319 w 1439351"/>
                    <a:gd name="connsiteY4465" fmla="*/ 939536 h 1323458"/>
                    <a:gd name="connsiteX4466" fmla="*/ 1438028 w 1439351"/>
                    <a:gd name="connsiteY4466" fmla="*/ 939038 h 1323458"/>
                    <a:gd name="connsiteX4467" fmla="*/ 1437056 w 1439351"/>
                    <a:gd name="connsiteY4467" fmla="*/ 937398 h 1323458"/>
                    <a:gd name="connsiteX4468" fmla="*/ 1436582 w 1439351"/>
                    <a:gd name="connsiteY4468" fmla="*/ 936609 h 1323458"/>
                    <a:gd name="connsiteX4469" fmla="*/ 1435890 w 1439351"/>
                    <a:gd name="connsiteY4469" fmla="*/ 935990 h 1323458"/>
                    <a:gd name="connsiteX4470" fmla="*/ 1422048 w 1439351"/>
                    <a:gd name="connsiteY4470" fmla="*/ 923495 h 1323458"/>
                    <a:gd name="connsiteX4471" fmla="*/ 1421258 w 1439351"/>
                    <a:gd name="connsiteY4471" fmla="*/ 922778 h 1323458"/>
                    <a:gd name="connsiteX4472" fmla="*/ 1420275 w 1439351"/>
                    <a:gd name="connsiteY4472" fmla="*/ 922377 h 1323458"/>
                    <a:gd name="connsiteX4473" fmla="*/ 1417980 w 1439351"/>
                    <a:gd name="connsiteY4473" fmla="*/ 921443 h 1323458"/>
                    <a:gd name="connsiteX4474" fmla="*/ 1417032 w 1439351"/>
                    <a:gd name="connsiteY4474" fmla="*/ 921054 h 1323458"/>
                    <a:gd name="connsiteX4475" fmla="*/ 1416012 w 1439351"/>
                    <a:gd name="connsiteY4475" fmla="*/ 920993 h 1323458"/>
                    <a:gd name="connsiteX4476" fmla="*/ 1412855 w 1439351"/>
                    <a:gd name="connsiteY4476" fmla="*/ 920823 h 1323458"/>
                    <a:gd name="connsiteX4477" fmla="*/ 1412515 w 1439351"/>
                    <a:gd name="connsiteY4477" fmla="*/ 920811 h 1323458"/>
                    <a:gd name="connsiteX4478" fmla="*/ 1412175 w 1439351"/>
                    <a:gd name="connsiteY4478" fmla="*/ 920835 h 1323458"/>
                    <a:gd name="connsiteX4479" fmla="*/ 1407233 w 1439351"/>
                    <a:gd name="connsiteY4479" fmla="*/ 921127 h 1323458"/>
                    <a:gd name="connsiteX4480" fmla="*/ 1406371 w 1439351"/>
                    <a:gd name="connsiteY4480" fmla="*/ 920848 h 1323458"/>
                    <a:gd name="connsiteX4481" fmla="*/ 1400785 w 1439351"/>
                    <a:gd name="connsiteY4481" fmla="*/ 917666 h 1323458"/>
                    <a:gd name="connsiteX4482" fmla="*/ 1400409 w 1439351"/>
                    <a:gd name="connsiteY4482" fmla="*/ 916597 h 1323458"/>
                    <a:gd name="connsiteX4483" fmla="*/ 1400142 w 1439351"/>
                    <a:gd name="connsiteY4483" fmla="*/ 915845 h 1323458"/>
                    <a:gd name="connsiteX4484" fmla="*/ 1399680 w 1439351"/>
                    <a:gd name="connsiteY4484" fmla="*/ 915177 h 1323458"/>
                    <a:gd name="connsiteX4485" fmla="*/ 1397665 w 1439351"/>
                    <a:gd name="connsiteY4485" fmla="*/ 912238 h 1323458"/>
                    <a:gd name="connsiteX4486" fmla="*/ 1397349 w 1439351"/>
                    <a:gd name="connsiteY4486" fmla="*/ 911777 h 1323458"/>
                    <a:gd name="connsiteX4487" fmla="*/ 1396960 w 1439351"/>
                    <a:gd name="connsiteY4487" fmla="*/ 911388 h 1323458"/>
                    <a:gd name="connsiteX4488" fmla="*/ 1394617 w 1439351"/>
                    <a:gd name="connsiteY4488" fmla="*/ 909032 h 1323458"/>
                    <a:gd name="connsiteX4489" fmla="*/ 1393973 w 1439351"/>
                    <a:gd name="connsiteY4489" fmla="*/ 908389 h 1323458"/>
                    <a:gd name="connsiteX4490" fmla="*/ 1393172 w 1439351"/>
                    <a:gd name="connsiteY4490" fmla="*/ 907964 h 1323458"/>
                    <a:gd name="connsiteX4491" fmla="*/ 1391338 w 1439351"/>
                    <a:gd name="connsiteY4491" fmla="*/ 906980 h 1323458"/>
                    <a:gd name="connsiteX4492" fmla="*/ 1390014 w 1439351"/>
                    <a:gd name="connsiteY4492" fmla="*/ 906264 h 1323458"/>
                    <a:gd name="connsiteX4493" fmla="*/ 1388497 w 1439351"/>
                    <a:gd name="connsiteY4493" fmla="*/ 906264 h 1323458"/>
                    <a:gd name="connsiteX4494" fmla="*/ 1382971 w 1439351"/>
                    <a:gd name="connsiteY4494" fmla="*/ 906240 h 1323458"/>
                    <a:gd name="connsiteX4495" fmla="*/ 1382461 w 1439351"/>
                    <a:gd name="connsiteY4495" fmla="*/ 906240 h 1323458"/>
                    <a:gd name="connsiteX4496" fmla="*/ 1381951 w 1439351"/>
                    <a:gd name="connsiteY4496" fmla="*/ 906325 h 1323458"/>
                    <a:gd name="connsiteX4497" fmla="*/ 1379717 w 1439351"/>
                    <a:gd name="connsiteY4497" fmla="*/ 906701 h 1323458"/>
                    <a:gd name="connsiteX4498" fmla="*/ 1379329 w 1439351"/>
                    <a:gd name="connsiteY4498" fmla="*/ 906762 h 1323458"/>
                    <a:gd name="connsiteX4499" fmla="*/ 1378952 w 1439351"/>
                    <a:gd name="connsiteY4499" fmla="*/ 906883 h 1323458"/>
                    <a:gd name="connsiteX4500" fmla="*/ 1373063 w 1439351"/>
                    <a:gd name="connsiteY4500" fmla="*/ 908680 h 1323458"/>
                    <a:gd name="connsiteX4501" fmla="*/ 1371229 w 1439351"/>
                    <a:gd name="connsiteY4501" fmla="*/ 908850 h 1323458"/>
                    <a:gd name="connsiteX4502" fmla="*/ 1369954 w 1439351"/>
                    <a:gd name="connsiteY4502" fmla="*/ 908547 h 1323458"/>
                    <a:gd name="connsiteX4503" fmla="*/ 1367987 w 1439351"/>
                    <a:gd name="connsiteY4503" fmla="*/ 907102 h 1323458"/>
                    <a:gd name="connsiteX4504" fmla="*/ 1366263 w 1439351"/>
                    <a:gd name="connsiteY4504" fmla="*/ 905280 h 1323458"/>
                    <a:gd name="connsiteX4505" fmla="*/ 1365838 w 1439351"/>
                    <a:gd name="connsiteY4505" fmla="*/ 904637 h 1323458"/>
                    <a:gd name="connsiteX4506" fmla="*/ 1365194 w 1439351"/>
                    <a:gd name="connsiteY4506" fmla="*/ 903362 h 1323458"/>
                    <a:gd name="connsiteX4507" fmla="*/ 1363676 w 1439351"/>
                    <a:gd name="connsiteY4507" fmla="*/ 897472 h 1323458"/>
                    <a:gd name="connsiteX4508" fmla="*/ 1363494 w 1439351"/>
                    <a:gd name="connsiteY4508" fmla="*/ 896756 h 1323458"/>
                    <a:gd name="connsiteX4509" fmla="*/ 1363142 w 1439351"/>
                    <a:gd name="connsiteY4509" fmla="*/ 896100 h 1323458"/>
                    <a:gd name="connsiteX4510" fmla="*/ 1362231 w 1439351"/>
                    <a:gd name="connsiteY4510" fmla="*/ 894412 h 1323458"/>
                    <a:gd name="connsiteX4511" fmla="*/ 1361309 w 1439351"/>
                    <a:gd name="connsiteY4511" fmla="*/ 892700 h 1323458"/>
                    <a:gd name="connsiteX4512" fmla="*/ 1359548 w 1439351"/>
                    <a:gd name="connsiteY4512" fmla="*/ 891850 h 1323458"/>
                    <a:gd name="connsiteX4513" fmla="*/ 1357763 w 1439351"/>
                    <a:gd name="connsiteY4513" fmla="*/ 890976 h 1323458"/>
                    <a:gd name="connsiteX4514" fmla="*/ 1356646 w 1439351"/>
                    <a:gd name="connsiteY4514" fmla="*/ 890429 h 1323458"/>
                    <a:gd name="connsiteX4515" fmla="*/ 1355796 w 1439351"/>
                    <a:gd name="connsiteY4515" fmla="*/ 890393 h 1323458"/>
                    <a:gd name="connsiteX4516" fmla="*/ 1355626 w 1439351"/>
                    <a:gd name="connsiteY4516" fmla="*/ 889883 h 1323458"/>
                    <a:gd name="connsiteX4517" fmla="*/ 1355419 w 1439351"/>
                    <a:gd name="connsiteY4517" fmla="*/ 889300 h 1323458"/>
                    <a:gd name="connsiteX4518" fmla="*/ 1355103 w 1439351"/>
                    <a:gd name="connsiteY4518" fmla="*/ 888778 h 1323458"/>
                    <a:gd name="connsiteX4519" fmla="*/ 1353610 w 1439351"/>
                    <a:gd name="connsiteY4519" fmla="*/ 886252 h 1323458"/>
                    <a:gd name="connsiteX4520" fmla="*/ 1353343 w 1439351"/>
                    <a:gd name="connsiteY4520" fmla="*/ 885791 h 1323458"/>
                    <a:gd name="connsiteX4521" fmla="*/ 1352991 w 1439351"/>
                    <a:gd name="connsiteY4521" fmla="*/ 885390 h 1323458"/>
                    <a:gd name="connsiteX4522" fmla="*/ 1351096 w 1439351"/>
                    <a:gd name="connsiteY4522" fmla="*/ 883180 h 1323458"/>
                    <a:gd name="connsiteX4523" fmla="*/ 1350319 w 1439351"/>
                    <a:gd name="connsiteY4523" fmla="*/ 882269 h 1323458"/>
                    <a:gd name="connsiteX4524" fmla="*/ 1349251 w 1439351"/>
                    <a:gd name="connsiteY4524" fmla="*/ 881723 h 1323458"/>
                    <a:gd name="connsiteX4525" fmla="*/ 1347466 w 1439351"/>
                    <a:gd name="connsiteY4525" fmla="*/ 880812 h 1323458"/>
                    <a:gd name="connsiteX4526" fmla="*/ 1346919 w 1439351"/>
                    <a:gd name="connsiteY4526" fmla="*/ 880533 h 1323458"/>
                    <a:gd name="connsiteX4527" fmla="*/ 1346336 w 1439351"/>
                    <a:gd name="connsiteY4527" fmla="*/ 880375 h 1323458"/>
                    <a:gd name="connsiteX4528" fmla="*/ 1345122 w 1439351"/>
                    <a:gd name="connsiteY4528" fmla="*/ 880035 h 1323458"/>
                    <a:gd name="connsiteX4529" fmla="*/ 1341831 w 1439351"/>
                    <a:gd name="connsiteY4529" fmla="*/ 877898 h 1323458"/>
                    <a:gd name="connsiteX4530" fmla="*/ 1341321 w 1439351"/>
                    <a:gd name="connsiteY4530" fmla="*/ 877570 h 1323458"/>
                    <a:gd name="connsiteX4531" fmla="*/ 1340763 w 1439351"/>
                    <a:gd name="connsiteY4531" fmla="*/ 877352 h 1323458"/>
                    <a:gd name="connsiteX4532" fmla="*/ 1338577 w 1439351"/>
                    <a:gd name="connsiteY4532" fmla="*/ 876489 h 1323458"/>
                    <a:gd name="connsiteX4533" fmla="*/ 1337715 w 1439351"/>
                    <a:gd name="connsiteY4533" fmla="*/ 876137 h 1323458"/>
                    <a:gd name="connsiteX4534" fmla="*/ 1336792 w 1439351"/>
                    <a:gd name="connsiteY4534" fmla="*/ 876077 h 1323458"/>
                    <a:gd name="connsiteX4535" fmla="*/ 1336743 w 1439351"/>
                    <a:gd name="connsiteY4535" fmla="*/ 876077 h 1323458"/>
                    <a:gd name="connsiteX4536" fmla="*/ 1335408 w 1439351"/>
                    <a:gd name="connsiteY4536" fmla="*/ 875202 h 1323458"/>
                    <a:gd name="connsiteX4537" fmla="*/ 1335043 w 1439351"/>
                    <a:gd name="connsiteY4537" fmla="*/ 874959 h 1323458"/>
                    <a:gd name="connsiteX4538" fmla="*/ 1331085 w 1439351"/>
                    <a:gd name="connsiteY4538" fmla="*/ 865536 h 1323458"/>
                    <a:gd name="connsiteX4539" fmla="*/ 1330842 w 1439351"/>
                    <a:gd name="connsiteY4539" fmla="*/ 864954 h 1323458"/>
                    <a:gd name="connsiteX4540" fmla="*/ 1330478 w 1439351"/>
                    <a:gd name="connsiteY4540" fmla="*/ 864432 h 1323458"/>
                    <a:gd name="connsiteX4541" fmla="*/ 1327430 w 1439351"/>
                    <a:gd name="connsiteY4541" fmla="*/ 860036 h 1323458"/>
                    <a:gd name="connsiteX4542" fmla="*/ 1326810 w 1439351"/>
                    <a:gd name="connsiteY4542" fmla="*/ 859137 h 1323458"/>
                    <a:gd name="connsiteX4543" fmla="*/ 1325912 w 1439351"/>
                    <a:gd name="connsiteY4543" fmla="*/ 858518 h 1323458"/>
                    <a:gd name="connsiteX4544" fmla="*/ 1321917 w 1439351"/>
                    <a:gd name="connsiteY4544" fmla="*/ 855737 h 1323458"/>
                    <a:gd name="connsiteX4545" fmla="*/ 1321953 w 1439351"/>
                    <a:gd name="connsiteY4545" fmla="*/ 855725 h 1323458"/>
                    <a:gd name="connsiteX4546" fmla="*/ 1323690 w 1439351"/>
                    <a:gd name="connsiteY4546" fmla="*/ 855239 h 1323458"/>
                    <a:gd name="connsiteX4547" fmla="*/ 1333841 w 1439351"/>
                    <a:gd name="connsiteY4547" fmla="*/ 854426 h 1323458"/>
                    <a:gd name="connsiteX4548" fmla="*/ 1334424 w 1439351"/>
                    <a:gd name="connsiteY4548" fmla="*/ 854377 h 1323458"/>
                    <a:gd name="connsiteX4549" fmla="*/ 1334995 w 1439351"/>
                    <a:gd name="connsiteY4549" fmla="*/ 854219 h 1323458"/>
                    <a:gd name="connsiteX4550" fmla="*/ 1336768 w 1439351"/>
                    <a:gd name="connsiteY4550" fmla="*/ 853721 h 1323458"/>
                    <a:gd name="connsiteX4551" fmla="*/ 1337521 w 1439351"/>
                    <a:gd name="connsiteY4551" fmla="*/ 853503 h 1323458"/>
                    <a:gd name="connsiteX4552" fmla="*/ 1338201 w 1439351"/>
                    <a:gd name="connsiteY4552" fmla="*/ 853102 h 1323458"/>
                    <a:gd name="connsiteX4553" fmla="*/ 1339354 w 1439351"/>
                    <a:gd name="connsiteY4553" fmla="*/ 852422 h 1323458"/>
                    <a:gd name="connsiteX4554" fmla="*/ 1339803 w 1439351"/>
                    <a:gd name="connsiteY4554" fmla="*/ 852167 h 1323458"/>
                    <a:gd name="connsiteX4555" fmla="*/ 1340192 w 1439351"/>
                    <a:gd name="connsiteY4555" fmla="*/ 851839 h 1323458"/>
                    <a:gd name="connsiteX4556" fmla="*/ 1342074 w 1439351"/>
                    <a:gd name="connsiteY4556" fmla="*/ 850249 h 1323458"/>
                    <a:gd name="connsiteX4557" fmla="*/ 1342706 w 1439351"/>
                    <a:gd name="connsiteY4557" fmla="*/ 850358 h 1323458"/>
                    <a:gd name="connsiteX4558" fmla="*/ 1343895 w 1439351"/>
                    <a:gd name="connsiteY4558" fmla="*/ 850710 h 1323458"/>
                    <a:gd name="connsiteX4559" fmla="*/ 1344418 w 1439351"/>
                    <a:gd name="connsiteY4559" fmla="*/ 850868 h 1323458"/>
                    <a:gd name="connsiteX4560" fmla="*/ 1344964 w 1439351"/>
                    <a:gd name="connsiteY4560" fmla="*/ 850929 h 1323458"/>
                    <a:gd name="connsiteX4561" fmla="*/ 1348923 w 1439351"/>
                    <a:gd name="connsiteY4561" fmla="*/ 851353 h 1323458"/>
                    <a:gd name="connsiteX4562" fmla="*/ 1350926 w 1439351"/>
                    <a:gd name="connsiteY4562" fmla="*/ 851572 h 1323458"/>
                    <a:gd name="connsiteX4563" fmla="*/ 1352663 w 1439351"/>
                    <a:gd name="connsiteY4563" fmla="*/ 850552 h 1323458"/>
                    <a:gd name="connsiteX4564" fmla="*/ 1356160 w 1439351"/>
                    <a:gd name="connsiteY4564" fmla="*/ 848488 h 1323458"/>
                    <a:gd name="connsiteX4565" fmla="*/ 1357945 w 1439351"/>
                    <a:gd name="connsiteY4565" fmla="*/ 847431 h 1323458"/>
                    <a:gd name="connsiteX4566" fmla="*/ 1358710 w 1439351"/>
                    <a:gd name="connsiteY4566" fmla="*/ 845501 h 1323458"/>
                    <a:gd name="connsiteX4567" fmla="*/ 1358953 w 1439351"/>
                    <a:gd name="connsiteY4567" fmla="*/ 844893 h 1323458"/>
                    <a:gd name="connsiteX4568" fmla="*/ 1359329 w 1439351"/>
                    <a:gd name="connsiteY4568" fmla="*/ 843958 h 1323458"/>
                    <a:gd name="connsiteX4569" fmla="*/ 1359378 w 1439351"/>
                    <a:gd name="connsiteY4569" fmla="*/ 842963 h 1323458"/>
                    <a:gd name="connsiteX4570" fmla="*/ 1359426 w 1439351"/>
                    <a:gd name="connsiteY4570" fmla="*/ 841955 h 1323458"/>
                    <a:gd name="connsiteX4571" fmla="*/ 1359536 w 1439351"/>
                    <a:gd name="connsiteY4571" fmla="*/ 839781 h 1323458"/>
                    <a:gd name="connsiteX4572" fmla="*/ 1358236 w 1439351"/>
                    <a:gd name="connsiteY4572" fmla="*/ 838021 h 1323458"/>
                    <a:gd name="connsiteX4573" fmla="*/ 1355613 w 1439351"/>
                    <a:gd name="connsiteY4573" fmla="*/ 834475 h 1323458"/>
                    <a:gd name="connsiteX4574" fmla="*/ 1354861 w 1439351"/>
                    <a:gd name="connsiteY4574" fmla="*/ 832872 h 1323458"/>
                    <a:gd name="connsiteX4575" fmla="*/ 1356864 w 1439351"/>
                    <a:gd name="connsiteY4575" fmla="*/ 829897 h 1323458"/>
                    <a:gd name="connsiteX4576" fmla="*/ 1357168 w 1439351"/>
                    <a:gd name="connsiteY4576" fmla="*/ 829436 h 1323458"/>
                    <a:gd name="connsiteX4577" fmla="*/ 1357386 w 1439351"/>
                    <a:gd name="connsiteY4577" fmla="*/ 828925 h 1323458"/>
                    <a:gd name="connsiteX4578" fmla="*/ 1358698 w 1439351"/>
                    <a:gd name="connsiteY4578" fmla="*/ 825902 h 1323458"/>
                    <a:gd name="connsiteX4579" fmla="*/ 1359171 w 1439351"/>
                    <a:gd name="connsiteY4579" fmla="*/ 824821 h 1323458"/>
                    <a:gd name="connsiteX4580" fmla="*/ 1359196 w 1439351"/>
                    <a:gd name="connsiteY4580" fmla="*/ 823643 h 1323458"/>
                    <a:gd name="connsiteX4581" fmla="*/ 1359256 w 1439351"/>
                    <a:gd name="connsiteY4581" fmla="*/ 821324 h 1323458"/>
                    <a:gd name="connsiteX4582" fmla="*/ 1359281 w 1439351"/>
                    <a:gd name="connsiteY4582" fmla="*/ 820280 h 1323458"/>
                    <a:gd name="connsiteX4583" fmla="*/ 1358965 w 1439351"/>
                    <a:gd name="connsiteY4583" fmla="*/ 819284 h 1323458"/>
                    <a:gd name="connsiteX4584" fmla="*/ 1358564 w 1439351"/>
                    <a:gd name="connsiteY4584" fmla="*/ 818045 h 1323458"/>
                    <a:gd name="connsiteX4585" fmla="*/ 1357836 w 1439351"/>
                    <a:gd name="connsiteY4585" fmla="*/ 815799 h 1323458"/>
                    <a:gd name="connsiteX4586" fmla="*/ 1355783 w 1439351"/>
                    <a:gd name="connsiteY4586" fmla="*/ 814633 h 1323458"/>
                    <a:gd name="connsiteX4587" fmla="*/ 1354569 w 1439351"/>
                    <a:gd name="connsiteY4587" fmla="*/ 813941 h 1323458"/>
                    <a:gd name="connsiteX4588" fmla="*/ 1353756 w 1439351"/>
                    <a:gd name="connsiteY4588" fmla="*/ 813468 h 1323458"/>
                    <a:gd name="connsiteX4589" fmla="*/ 1352833 w 1439351"/>
                    <a:gd name="connsiteY4589" fmla="*/ 813273 h 1323458"/>
                    <a:gd name="connsiteX4590" fmla="*/ 1339609 w 1439351"/>
                    <a:gd name="connsiteY4590" fmla="*/ 810505 h 1323458"/>
                    <a:gd name="connsiteX4591" fmla="*/ 1337278 w 1439351"/>
                    <a:gd name="connsiteY4591" fmla="*/ 809436 h 1323458"/>
                    <a:gd name="connsiteX4592" fmla="*/ 1334558 w 1439351"/>
                    <a:gd name="connsiteY4592" fmla="*/ 807785 h 1323458"/>
                    <a:gd name="connsiteX4593" fmla="*/ 1329810 w 1439351"/>
                    <a:gd name="connsiteY4593" fmla="*/ 803547 h 1323458"/>
                    <a:gd name="connsiteX4594" fmla="*/ 1326810 w 1439351"/>
                    <a:gd name="connsiteY4594" fmla="*/ 801276 h 1323458"/>
                    <a:gd name="connsiteX4595" fmla="*/ 1326288 w 1439351"/>
                    <a:gd name="connsiteY4595" fmla="*/ 800875 h 1323458"/>
                    <a:gd name="connsiteX4596" fmla="*/ 1325681 w 1439351"/>
                    <a:gd name="connsiteY4596" fmla="*/ 800608 h 1323458"/>
                    <a:gd name="connsiteX4597" fmla="*/ 1323775 w 1439351"/>
                    <a:gd name="connsiteY4597" fmla="*/ 799746 h 1323458"/>
                    <a:gd name="connsiteX4598" fmla="*/ 1321662 w 1439351"/>
                    <a:gd name="connsiteY4598" fmla="*/ 798787 h 1323458"/>
                    <a:gd name="connsiteX4599" fmla="*/ 1319440 w 1439351"/>
                    <a:gd name="connsiteY4599" fmla="*/ 799491 h 1323458"/>
                    <a:gd name="connsiteX4600" fmla="*/ 1318407 w 1439351"/>
                    <a:gd name="connsiteY4600" fmla="*/ 799819 h 1323458"/>
                    <a:gd name="connsiteX4601" fmla="*/ 1317302 w 1439351"/>
                    <a:gd name="connsiteY4601" fmla="*/ 800171 h 1323458"/>
                    <a:gd name="connsiteX4602" fmla="*/ 1316404 w 1439351"/>
                    <a:gd name="connsiteY4602" fmla="*/ 800912 h 1323458"/>
                    <a:gd name="connsiteX4603" fmla="*/ 1315602 w 1439351"/>
                    <a:gd name="connsiteY4603" fmla="*/ 801568 h 1323458"/>
                    <a:gd name="connsiteX4604" fmla="*/ 1315226 w 1439351"/>
                    <a:gd name="connsiteY4604" fmla="*/ 801871 h 1323458"/>
                    <a:gd name="connsiteX4605" fmla="*/ 1314910 w 1439351"/>
                    <a:gd name="connsiteY4605" fmla="*/ 802223 h 1323458"/>
                    <a:gd name="connsiteX4606" fmla="*/ 1314485 w 1439351"/>
                    <a:gd name="connsiteY4606" fmla="*/ 802709 h 1323458"/>
                    <a:gd name="connsiteX4607" fmla="*/ 1314449 w 1439351"/>
                    <a:gd name="connsiteY4607" fmla="*/ 802733 h 1323458"/>
                    <a:gd name="connsiteX4608" fmla="*/ 1314097 w 1439351"/>
                    <a:gd name="connsiteY4608" fmla="*/ 802940 h 1323458"/>
                    <a:gd name="connsiteX4609" fmla="*/ 1313405 w 1439351"/>
                    <a:gd name="connsiteY4609" fmla="*/ 803158 h 1323458"/>
                    <a:gd name="connsiteX4610" fmla="*/ 1312275 w 1439351"/>
                    <a:gd name="connsiteY4610" fmla="*/ 803292 h 1323458"/>
                    <a:gd name="connsiteX4611" fmla="*/ 1310745 w 1439351"/>
                    <a:gd name="connsiteY4611" fmla="*/ 803195 h 1323458"/>
                    <a:gd name="connsiteX4612" fmla="*/ 1309470 w 1439351"/>
                    <a:gd name="connsiteY4612" fmla="*/ 802903 h 1323458"/>
                    <a:gd name="connsiteX4613" fmla="*/ 1309094 w 1439351"/>
                    <a:gd name="connsiteY4613" fmla="*/ 802697 h 1323458"/>
                    <a:gd name="connsiteX4614" fmla="*/ 1309106 w 1439351"/>
                    <a:gd name="connsiteY4614" fmla="*/ 802393 h 1323458"/>
                    <a:gd name="connsiteX4615" fmla="*/ 1309628 w 1439351"/>
                    <a:gd name="connsiteY4615" fmla="*/ 802551 h 1323458"/>
                    <a:gd name="connsiteX4616" fmla="*/ 1311777 w 1439351"/>
                    <a:gd name="connsiteY4616" fmla="*/ 803207 h 1323458"/>
                    <a:gd name="connsiteX4617" fmla="*/ 1313830 w 1439351"/>
                    <a:gd name="connsiteY4617" fmla="*/ 802308 h 1323458"/>
                    <a:gd name="connsiteX4618" fmla="*/ 1314619 w 1439351"/>
                    <a:gd name="connsiteY4618" fmla="*/ 801968 h 1323458"/>
                    <a:gd name="connsiteX4619" fmla="*/ 1315542 w 1439351"/>
                    <a:gd name="connsiteY4619" fmla="*/ 801568 h 1323458"/>
                    <a:gd name="connsiteX4620" fmla="*/ 1316282 w 1439351"/>
                    <a:gd name="connsiteY4620" fmla="*/ 800900 h 1323458"/>
                    <a:gd name="connsiteX4621" fmla="*/ 1316987 w 1439351"/>
                    <a:gd name="connsiteY4621" fmla="*/ 800256 h 1323458"/>
                    <a:gd name="connsiteX4622" fmla="*/ 1317606 w 1439351"/>
                    <a:gd name="connsiteY4622" fmla="*/ 799697 h 1323458"/>
                    <a:gd name="connsiteX4623" fmla="*/ 1318055 w 1439351"/>
                    <a:gd name="connsiteY4623" fmla="*/ 798981 h 1323458"/>
                    <a:gd name="connsiteX4624" fmla="*/ 1319950 w 1439351"/>
                    <a:gd name="connsiteY4624" fmla="*/ 795957 h 1323458"/>
                    <a:gd name="connsiteX4625" fmla="*/ 1326070 w 1439351"/>
                    <a:gd name="connsiteY4625" fmla="*/ 794634 h 1323458"/>
                    <a:gd name="connsiteX4626" fmla="*/ 1326507 w 1439351"/>
                    <a:gd name="connsiteY4626" fmla="*/ 794537 h 1323458"/>
                    <a:gd name="connsiteX4627" fmla="*/ 1326920 w 1439351"/>
                    <a:gd name="connsiteY4627" fmla="*/ 794379 h 1323458"/>
                    <a:gd name="connsiteX4628" fmla="*/ 1328923 w 1439351"/>
                    <a:gd name="connsiteY4628" fmla="*/ 793626 h 1323458"/>
                    <a:gd name="connsiteX4629" fmla="*/ 1329518 w 1439351"/>
                    <a:gd name="connsiteY4629" fmla="*/ 793395 h 1323458"/>
                    <a:gd name="connsiteX4630" fmla="*/ 1330053 w 1439351"/>
                    <a:gd name="connsiteY4630" fmla="*/ 793055 h 1323458"/>
                    <a:gd name="connsiteX4631" fmla="*/ 1331668 w 1439351"/>
                    <a:gd name="connsiteY4631" fmla="*/ 792035 h 1323458"/>
                    <a:gd name="connsiteX4632" fmla="*/ 1332493 w 1439351"/>
                    <a:gd name="connsiteY4632" fmla="*/ 791513 h 1323458"/>
                    <a:gd name="connsiteX4633" fmla="*/ 1333113 w 1439351"/>
                    <a:gd name="connsiteY4633" fmla="*/ 790760 h 1323458"/>
                    <a:gd name="connsiteX4634" fmla="*/ 1334266 w 1439351"/>
                    <a:gd name="connsiteY4634" fmla="*/ 789352 h 1323458"/>
                    <a:gd name="connsiteX4635" fmla="*/ 1334521 w 1439351"/>
                    <a:gd name="connsiteY4635" fmla="*/ 789024 h 1323458"/>
                    <a:gd name="connsiteX4636" fmla="*/ 1334740 w 1439351"/>
                    <a:gd name="connsiteY4636" fmla="*/ 788672 h 1323458"/>
                    <a:gd name="connsiteX4637" fmla="*/ 1335954 w 1439351"/>
                    <a:gd name="connsiteY4637" fmla="*/ 786668 h 1323458"/>
                    <a:gd name="connsiteX4638" fmla="*/ 1336148 w 1439351"/>
                    <a:gd name="connsiteY4638" fmla="*/ 786352 h 1323458"/>
                    <a:gd name="connsiteX4639" fmla="*/ 1336306 w 1439351"/>
                    <a:gd name="connsiteY4639" fmla="*/ 786012 h 1323458"/>
                    <a:gd name="connsiteX4640" fmla="*/ 1337217 w 1439351"/>
                    <a:gd name="connsiteY4640" fmla="*/ 783997 h 1323458"/>
                    <a:gd name="connsiteX4641" fmla="*/ 1337435 w 1439351"/>
                    <a:gd name="connsiteY4641" fmla="*/ 783499 h 1323458"/>
                    <a:gd name="connsiteX4642" fmla="*/ 1337569 w 1439351"/>
                    <a:gd name="connsiteY4642" fmla="*/ 782977 h 1323458"/>
                    <a:gd name="connsiteX4643" fmla="*/ 1339123 w 1439351"/>
                    <a:gd name="connsiteY4643" fmla="*/ 776820 h 1323458"/>
                    <a:gd name="connsiteX4644" fmla="*/ 1339597 w 1439351"/>
                    <a:gd name="connsiteY4644" fmla="*/ 775666 h 1323458"/>
                    <a:gd name="connsiteX4645" fmla="*/ 1344017 w 1439351"/>
                    <a:gd name="connsiteY4645" fmla="*/ 775764 h 1323458"/>
                    <a:gd name="connsiteX4646" fmla="*/ 1344782 w 1439351"/>
                    <a:gd name="connsiteY4646" fmla="*/ 775776 h 1323458"/>
                    <a:gd name="connsiteX4647" fmla="*/ 1345535 w 1439351"/>
                    <a:gd name="connsiteY4647" fmla="*/ 775594 h 1323458"/>
                    <a:gd name="connsiteX4648" fmla="*/ 1347890 w 1439351"/>
                    <a:gd name="connsiteY4648" fmla="*/ 775035 h 1323458"/>
                    <a:gd name="connsiteX4649" fmla="*/ 1348230 w 1439351"/>
                    <a:gd name="connsiteY4649" fmla="*/ 775035 h 1323458"/>
                    <a:gd name="connsiteX4650" fmla="*/ 1352469 w 1439351"/>
                    <a:gd name="connsiteY4650" fmla="*/ 776334 h 1323458"/>
                    <a:gd name="connsiteX4651" fmla="*/ 1352893 w 1439351"/>
                    <a:gd name="connsiteY4651" fmla="*/ 776468 h 1323458"/>
                    <a:gd name="connsiteX4652" fmla="*/ 1353331 w 1439351"/>
                    <a:gd name="connsiteY4652" fmla="*/ 776529 h 1323458"/>
                    <a:gd name="connsiteX4653" fmla="*/ 1360398 w 1439351"/>
                    <a:gd name="connsiteY4653" fmla="*/ 777622 h 1323458"/>
                    <a:gd name="connsiteX4654" fmla="*/ 1360883 w 1439351"/>
                    <a:gd name="connsiteY4654" fmla="*/ 777694 h 1323458"/>
                    <a:gd name="connsiteX4655" fmla="*/ 1361369 w 1439351"/>
                    <a:gd name="connsiteY4655" fmla="*/ 777694 h 1323458"/>
                    <a:gd name="connsiteX4656" fmla="*/ 1390136 w 1439351"/>
                    <a:gd name="connsiteY4656" fmla="*/ 777488 h 1323458"/>
                    <a:gd name="connsiteX4657" fmla="*/ 1392152 w 1439351"/>
                    <a:gd name="connsiteY4657" fmla="*/ 777476 h 1323458"/>
                    <a:gd name="connsiteX4658" fmla="*/ 1393754 w 1439351"/>
                    <a:gd name="connsiteY4658" fmla="*/ 776249 h 1323458"/>
                    <a:gd name="connsiteX4659" fmla="*/ 1395758 w 1439351"/>
                    <a:gd name="connsiteY4659" fmla="*/ 774732 h 1323458"/>
                    <a:gd name="connsiteX4660" fmla="*/ 1397992 w 1439351"/>
                    <a:gd name="connsiteY4660" fmla="*/ 773044 h 1323458"/>
                    <a:gd name="connsiteX4661" fmla="*/ 1398150 w 1439351"/>
                    <a:gd name="connsiteY4661" fmla="*/ 770251 h 1323458"/>
                    <a:gd name="connsiteX4662" fmla="*/ 1398211 w 1439351"/>
                    <a:gd name="connsiteY4662" fmla="*/ 769219 h 1323458"/>
                    <a:gd name="connsiteX4663" fmla="*/ 1398247 w 1439351"/>
                    <a:gd name="connsiteY4663" fmla="*/ 768575 h 1323458"/>
                    <a:gd name="connsiteX4664" fmla="*/ 1398150 w 1439351"/>
                    <a:gd name="connsiteY4664" fmla="*/ 767932 h 1323458"/>
                    <a:gd name="connsiteX4665" fmla="*/ 1397919 w 1439351"/>
                    <a:gd name="connsiteY4665" fmla="*/ 766438 h 1323458"/>
                    <a:gd name="connsiteX4666" fmla="*/ 1397762 w 1439351"/>
                    <a:gd name="connsiteY4666" fmla="*/ 765430 h 1323458"/>
                    <a:gd name="connsiteX4667" fmla="*/ 1397276 w 1439351"/>
                    <a:gd name="connsiteY4667" fmla="*/ 764532 h 1323458"/>
                    <a:gd name="connsiteX4668" fmla="*/ 1396462 w 1439351"/>
                    <a:gd name="connsiteY4668" fmla="*/ 763001 h 1323458"/>
                    <a:gd name="connsiteX4669" fmla="*/ 1396195 w 1439351"/>
                    <a:gd name="connsiteY4669" fmla="*/ 762492 h 1323458"/>
                    <a:gd name="connsiteX4670" fmla="*/ 1395831 w 1439351"/>
                    <a:gd name="connsiteY4670" fmla="*/ 762042 h 1323458"/>
                    <a:gd name="connsiteX4671" fmla="*/ 1394519 w 1439351"/>
                    <a:gd name="connsiteY4671" fmla="*/ 760415 h 1323458"/>
                    <a:gd name="connsiteX4672" fmla="*/ 1394264 w 1439351"/>
                    <a:gd name="connsiteY4672" fmla="*/ 760111 h 1323458"/>
                    <a:gd name="connsiteX4673" fmla="*/ 1393985 w 1439351"/>
                    <a:gd name="connsiteY4673" fmla="*/ 759832 h 1323458"/>
                    <a:gd name="connsiteX4674" fmla="*/ 1379924 w 1439351"/>
                    <a:gd name="connsiteY4674" fmla="*/ 746366 h 1323458"/>
                    <a:gd name="connsiteX4675" fmla="*/ 1379535 w 1439351"/>
                    <a:gd name="connsiteY4675" fmla="*/ 746001 h 1323458"/>
                    <a:gd name="connsiteX4676" fmla="*/ 1379086 w 1439351"/>
                    <a:gd name="connsiteY4676" fmla="*/ 745710 h 1323458"/>
                    <a:gd name="connsiteX4677" fmla="*/ 1376718 w 1439351"/>
                    <a:gd name="connsiteY4677" fmla="*/ 744131 h 1323458"/>
                    <a:gd name="connsiteX4678" fmla="*/ 1376099 w 1439351"/>
                    <a:gd name="connsiteY4678" fmla="*/ 743718 h 1323458"/>
                    <a:gd name="connsiteX4679" fmla="*/ 1375394 w 1439351"/>
                    <a:gd name="connsiteY4679" fmla="*/ 743464 h 1323458"/>
                    <a:gd name="connsiteX4680" fmla="*/ 1373451 w 1439351"/>
                    <a:gd name="connsiteY4680" fmla="*/ 742759 h 1323458"/>
                    <a:gd name="connsiteX4681" fmla="*/ 1372565 w 1439351"/>
                    <a:gd name="connsiteY4681" fmla="*/ 742444 h 1323458"/>
                    <a:gd name="connsiteX4682" fmla="*/ 1371630 w 1439351"/>
                    <a:gd name="connsiteY4682" fmla="*/ 742419 h 1323458"/>
                    <a:gd name="connsiteX4683" fmla="*/ 1370015 w 1439351"/>
                    <a:gd name="connsiteY4683" fmla="*/ 742358 h 1323458"/>
                    <a:gd name="connsiteX4684" fmla="*/ 1369809 w 1439351"/>
                    <a:gd name="connsiteY4684" fmla="*/ 742346 h 1323458"/>
                    <a:gd name="connsiteX4685" fmla="*/ 1370658 w 1439351"/>
                    <a:gd name="connsiteY4685" fmla="*/ 735947 h 1323458"/>
                    <a:gd name="connsiteX4686" fmla="*/ 1370707 w 1439351"/>
                    <a:gd name="connsiteY4686" fmla="*/ 735607 h 1323458"/>
                    <a:gd name="connsiteX4687" fmla="*/ 1370707 w 1439351"/>
                    <a:gd name="connsiteY4687" fmla="*/ 735267 h 1323458"/>
                    <a:gd name="connsiteX4688" fmla="*/ 1370768 w 1439351"/>
                    <a:gd name="connsiteY4688" fmla="*/ 732316 h 1323458"/>
                    <a:gd name="connsiteX4689" fmla="*/ 1370525 w 1439351"/>
                    <a:gd name="connsiteY4689" fmla="*/ 728346 h 1323458"/>
                    <a:gd name="connsiteX4690" fmla="*/ 1370489 w 1439351"/>
                    <a:gd name="connsiteY4690" fmla="*/ 727811 h 1323458"/>
                    <a:gd name="connsiteX4691" fmla="*/ 1370355 w 1439351"/>
                    <a:gd name="connsiteY4691" fmla="*/ 727289 h 1323458"/>
                    <a:gd name="connsiteX4692" fmla="*/ 1369311 w 1439351"/>
                    <a:gd name="connsiteY4692" fmla="*/ 723088 h 1323458"/>
                    <a:gd name="connsiteX4693" fmla="*/ 1369104 w 1439351"/>
                    <a:gd name="connsiteY4693" fmla="*/ 722250 h 1323458"/>
                    <a:gd name="connsiteX4694" fmla="*/ 1368667 w 1439351"/>
                    <a:gd name="connsiteY4694" fmla="*/ 721497 h 1323458"/>
                    <a:gd name="connsiteX4695" fmla="*/ 1367416 w 1439351"/>
                    <a:gd name="connsiteY4695" fmla="*/ 719348 h 1323458"/>
                    <a:gd name="connsiteX4696" fmla="*/ 1366918 w 1439351"/>
                    <a:gd name="connsiteY4696" fmla="*/ 718510 h 1323458"/>
                    <a:gd name="connsiteX4697" fmla="*/ 1366190 w 1439351"/>
                    <a:gd name="connsiteY4697" fmla="*/ 717854 h 1323458"/>
                    <a:gd name="connsiteX4698" fmla="*/ 1364696 w 1439351"/>
                    <a:gd name="connsiteY4698" fmla="*/ 716530 h 1323458"/>
                    <a:gd name="connsiteX4699" fmla="*/ 1363846 w 1439351"/>
                    <a:gd name="connsiteY4699" fmla="*/ 715778 h 1323458"/>
                    <a:gd name="connsiteX4700" fmla="*/ 1362778 w 1439351"/>
                    <a:gd name="connsiteY4700" fmla="*/ 715377 h 1323458"/>
                    <a:gd name="connsiteX4701" fmla="*/ 1361054 w 1439351"/>
                    <a:gd name="connsiteY4701" fmla="*/ 714745 h 1323458"/>
                    <a:gd name="connsiteX4702" fmla="*/ 1360483 w 1439351"/>
                    <a:gd name="connsiteY4702" fmla="*/ 714527 h 1323458"/>
                    <a:gd name="connsiteX4703" fmla="*/ 1359876 w 1439351"/>
                    <a:gd name="connsiteY4703" fmla="*/ 714442 h 1323458"/>
                    <a:gd name="connsiteX4704" fmla="*/ 1358200 w 1439351"/>
                    <a:gd name="connsiteY4704" fmla="*/ 714187 h 1323458"/>
                    <a:gd name="connsiteX4705" fmla="*/ 1357702 w 1439351"/>
                    <a:gd name="connsiteY4705" fmla="*/ 714114 h 1323458"/>
                    <a:gd name="connsiteX4706" fmla="*/ 1357192 w 1439351"/>
                    <a:gd name="connsiteY4706" fmla="*/ 714114 h 1323458"/>
                    <a:gd name="connsiteX4707" fmla="*/ 1355249 w 1439351"/>
                    <a:gd name="connsiteY4707" fmla="*/ 714138 h 1323458"/>
                    <a:gd name="connsiteX4708" fmla="*/ 1354691 w 1439351"/>
                    <a:gd name="connsiteY4708" fmla="*/ 714150 h 1323458"/>
                    <a:gd name="connsiteX4709" fmla="*/ 1354132 w 1439351"/>
                    <a:gd name="connsiteY4709" fmla="*/ 714260 h 1323458"/>
                    <a:gd name="connsiteX4710" fmla="*/ 1352298 w 1439351"/>
                    <a:gd name="connsiteY4710" fmla="*/ 714636 h 1323458"/>
                    <a:gd name="connsiteX4711" fmla="*/ 1351728 w 1439351"/>
                    <a:gd name="connsiteY4711" fmla="*/ 714758 h 1323458"/>
                    <a:gd name="connsiteX4712" fmla="*/ 1351193 w 1439351"/>
                    <a:gd name="connsiteY4712" fmla="*/ 714976 h 1323458"/>
                    <a:gd name="connsiteX4713" fmla="*/ 1349469 w 1439351"/>
                    <a:gd name="connsiteY4713" fmla="*/ 715693 h 1323458"/>
                    <a:gd name="connsiteX4714" fmla="*/ 1348947 w 1439351"/>
                    <a:gd name="connsiteY4714" fmla="*/ 715911 h 1323458"/>
                    <a:gd name="connsiteX4715" fmla="*/ 1348473 w 1439351"/>
                    <a:gd name="connsiteY4715" fmla="*/ 716215 h 1323458"/>
                    <a:gd name="connsiteX4716" fmla="*/ 1347210 w 1439351"/>
                    <a:gd name="connsiteY4716" fmla="*/ 717041 h 1323458"/>
                    <a:gd name="connsiteX4717" fmla="*/ 1346943 w 1439351"/>
                    <a:gd name="connsiteY4717" fmla="*/ 717210 h 1323458"/>
                    <a:gd name="connsiteX4718" fmla="*/ 1345231 w 1439351"/>
                    <a:gd name="connsiteY4718" fmla="*/ 716021 h 1323458"/>
                    <a:gd name="connsiteX4719" fmla="*/ 1343483 w 1439351"/>
                    <a:gd name="connsiteY4719" fmla="*/ 714150 h 1323458"/>
                    <a:gd name="connsiteX4720" fmla="*/ 1342778 w 1439351"/>
                    <a:gd name="connsiteY4720" fmla="*/ 713398 h 1323458"/>
                    <a:gd name="connsiteX4721" fmla="*/ 1341868 w 1439351"/>
                    <a:gd name="connsiteY4721" fmla="*/ 712912 h 1323458"/>
                    <a:gd name="connsiteX4722" fmla="*/ 1339573 w 1439351"/>
                    <a:gd name="connsiteY4722" fmla="*/ 711698 h 1323458"/>
                    <a:gd name="connsiteX4723" fmla="*/ 1339160 w 1439351"/>
                    <a:gd name="connsiteY4723" fmla="*/ 711479 h 1323458"/>
                    <a:gd name="connsiteX4724" fmla="*/ 1338723 w 1439351"/>
                    <a:gd name="connsiteY4724" fmla="*/ 711333 h 1323458"/>
                    <a:gd name="connsiteX4725" fmla="*/ 1337023 w 1439351"/>
                    <a:gd name="connsiteY4725" fmla="*/ 710738 h 1323458"/>
                    <a:gd name="connsiteX4726" fmla="*/ 1335735 w 1439351"/>
                    <a:gd name="connsiteY4726" fmla="*/ 709998 h 1323458"/>
                    <a:gd name="connsiteX4727" fmla="*/ 1334691 w 1439351"/>
                    <a:gd name="connsiteY4727" fmla="*/ 708443 h 1323458"/>
                    <a:gd name="connsiteX4728" fmla="*/ 1329494 w 1439351"/>
                    <a:gd name="connsiteY4728" fmla="*/ 697964 h 1323458"/>
                    <a:gd name="connsiteX4729" fmla="*/ 1329761 w 1439351"/>
                    <a:gd name="connsiteY4729" fmla="*/ 693374 h 1323458"/>
                    <a:gd name="connsiteX4730" fmla="*/ 1329785 w 1439351"/>
                    <a:gd name="connsiteY4730" fmla="*/ 692997 h 1323458"/>
                    <a:gd name="connsiteX4731" fmla="*/ 1329761 w 1439351"/>
                    <a:gd name="connsiteY4731" fmla="*/ 692621 h 1323458"/>
                    <a:gd name="connsiteX4732" fmla="*/ 1329579 w 1439351"/>
                    <a:gd name="connsiteY4732" fmla="*/ 689840 h 1323458"/>
                    <a:gd name="connsiteX4733" fmla="*/ 1329543 w 1439351"/>
                    <a:gd name="connsiteY4733" fmla="*/ 689221 h 1323458"/>
                    <a:gd name="connsiteX4734" fmla="*/ 1329385 w 1439351"/>
                    <a:gd name="connsiteY4734" fmla="*/ 688626 h 1323458"/>
                    <a:gd name="connsiteX4735" fmla="*/ 1328535 w 1439351"/>
                    <a:gd name="connsiteY4735" fmla="*/ 685493 h 1323458"/>
                    <a:gd name="connsiteX4736" fmla="*/ 1328231 w 1439351"/>
                    <a:gd name="connsiteY4736" fmla="*/ 684388 h 1323458"/>
                    <a:gd name="connsiteX4737" fmla="*/ 1327551 w 1439351"/>
                    <a:gd name="connsiteY4737" fmla="*/ 683477 h 1323458"/>
                    <a:gd name="connsiteX4738" fmla="*/ 1326106 w 1439351"/>
                    <a:gd name="connsiteY4738" fmla="*/ 681522 h 1323458"/>
                    <a:gd name="connsiteX4739" fmla="*/ 1325608 w 1439351"/>
                    <a:gd name="connsiteY4739" fmla="*/ 680842 h 1323458"/>
                    <a:gd name="connsiteX4740" fmla="*/ 1324940 w 1439351"/>
                    <a:gd name="connsiteY4740" fmla="*/ 680332 h 1323458"/>
                    <a:gd name="connsiteX4741" fmla="*/ 1322524 w 1439351"/>
                    <a:gd name="connsiteY4741" fmla="*/ 678462 h 1323458"/>
                    <a:gd name="connsiteX4742" fmla="*/ 1322220 w 1439351"/>
                    <a:gd name="connsiteY4742" fmla="*/ 677989 h 1323458"/>
                    <a:gd name="connsiteX4743" fmla="*/ 1320071 w 1439351"/>
                    <a:gd name="connsiteY4743" fmla="*/ 672707 h 1323458"/>
                    <a:gd name="connsiteX4744" fmla="*/ 1319695 w 1439351"/>
                    <a:gd name="connsiteY4744" fmla="*/ 671784 h 1323458"/>
                    <a:gd name="connsiteX4745" fmla="*/ 1319051 w 1439351"/>
                    <a:gd name="connsiteY4745" fmla="*/ 671031 h 1323458"/>
                    <a:gd name="connsiteX4746" fmla="*/ 1317618 w 1439351"/>
                    <a:gd name="connsiteY4746" fmla="*/ 669367 h 1323458"/>
                    <a:gd name="connsiteX4747" fmla="*/ 1317157 w 1439351"/>
                    <a:gd name="connsiteY4747" fmla="*/ 668833 h 1323458"/>
                    <a:gd name="connsiteX4748" fmla="*/ 1316586 w 1439351"/>
                    <a:gd name="connsiteY4748" fmla="*/ 668420 h 1323458"/>
                    <a:gd name="connsiteX4749" fmla="*/ 1313040 w 1439351"/>
                    <a:gd name="connsiteY4749" fmla="*/ 665858 h 1323458"/>
                    <a:gd name="connsiteX4750" fmla="*/ 1312882 w 1439351"/>
                    <a:gd name="connsiteY4750" fmla="*/ 665603 h 1323458"/>
                    <a:gd name="connsiteX4751" fmla="*/ 1312773 w 1439351"/>
                    <a:gd name="connsiteY4751" fmla="*/ 665239 h 1323458"/>
                    <a:gd name="connsiteX4752" fmla="*/ 1312870 w 1439351"/>
                    <a:gd name="connsiteY4752" fmla="*/ 661584 h 1323458"/>
                    <a:gd name="connsiteX4753" fmla="*/ 1313417 w 1439351"/>
                    <a:gd name="connsiteY4753" fmla="*/ 658718 h 1323458"/>
                    <a:gd name="connsiteX4754" fmla="*/ 1313526 w 1439351"/>
                    <a:gd name="connsiteY4754" fmla="*/ 658159 h 1323458"/>
                    <a:gd name="connsiteX4755" fmla="*/ 1313526 w 1439351"/>
                    <a:gd name="connsiteY4755" fmla="*/ 657589 h 1323458"/>
                    <a:gd name="connsiteX4756" fmla="*/ 1313526 w 1439351"/>
                    <a:gd name="connsiteY4756" fmla="*/ 654286 h 1323458"/>
                    <a:gd name="connsiteX4757" fmla="*/ 1313526 w 1439351"/>
                    <a:gd name="connsiteY4757" fmla="*/ 652634 h 1323458"/>
                    <a:gd name="connsiteX4758" fmla="*/ 1312688 w 1439351"/>
                    <a:gd name="connsiteY4758" fmla="*/ 651214 h 1323458"/>
                    <a:gd name="connsiteX4759" fmla="*/ 1310333 w 1439351"/>
                    <a:gd name="connsiteY4759" fmla="*/ 647194 h 1323458"/>
                    <a:gd name="connsiteX4760" fmla="*/ 1310065 w 1439351"/>
                    <a:gd name="connsiteY4760" fmla="*/ 646733 h 1323458"/>
                    <a:gd name="connsiteX4761" fmla="*/ 1309713 w 1439351"/>
                    <a:gd name="connsiteY4761" fmla="*/ 646320 h 1323458"/>
                    <a:gd name="connsiteX4762" fmla="*/ 1308681 w 1439351"/>
                    <a:gd name="connsiteY4762" fmla="*/ 645118 h 1323458"/>
                    <a:gd name="connsiteX4763" fmla="*/ 1308305 w 1439351"/>
                    <a:gd name="connsiteY4763" fmla="*/ 644669 h 1323458"/>
                    <a:gd name="connsiteX4764" fmla="*/ 1307843 w 1439351"/>
                    <a:gd name="connsiteY4764" fmla="*/ 644304 h 1323458"/>
                    <a:gd name="connsiteX4765" fmla="*/ 1305670 w 1439351"/>
                    <a:gd name="connsiteY4765" fmla="*/ 642580 h 1323458"/>
                    <a:gd name="connsiteX4766" fmla="*/ 1305402 w 1439351"/>
                    <a:gd name="connsiteY4766" fmla="*/ 642361 h 1323458"/>
                    <a:gd name="connsiteX4767" fmla="*/ 1305111 w 1439351"/>
                    <a:gd name="connsiteY4767" fmla="*/ 642179 h 1323458"/>
                    <a:gd name="connsiteX4768" fmla="*/ 1304030 w 1439351"/>
                    <a:gd name="connsiteY4768" fmla="*/ 641499 h 1323458"/>
                    <a:gd name="connsiteX4769" fmla="*/ 1303047 w 1439351"/>
                    <a:gd name="connsiteY4769" fmla="*/ 640601 h 1323458"/>
                    <a:gd name="connsiteX4770" fmla="*/ 1303909 w 1439351"/>
                    <a:gd name="connsiteY4770" fmla="*/ 637443 h 1323458"/>
                    <a:gd name="connsiteX4771" fmla="*/ 1304079 w 1439351"/>
                    <a:gd name="connsiteY4771" fmla="*/ 636836 h 1323458"/>
                    <a:gd name="connsiteX4772" fmla="*/ 1304115 w 1439351"/>
                    <a:gd name="connsiteY4772" fmla="*/ 636205 h 1323458"/>
                    <a:gd name="connsiteX4773" fmla="*/ 1304237 w 1439351"/>
                    <a:gd name="connsiteY4773" fmla="*/ 634141 h 1323458"/>
                    <a:gd name="connsiteX4774" fmla="*/ 1304346 w 1439351"/>
                    <a:gd name="connsiteY4774" fmla="*/ 632283 h 1323458"/>
                    <a:gd name="connsiteX4775" fmla="*/ 1303387 w 1439351"/>
                    <a:gd name="connsiteY4775" fmla="*/ 630680 h 1323458"/>
                    <a:gd name="connsiteX4776" fmla="*/ 1302877 w 1439351"/>
                    <a:gd name="connsiteY4776" fmla="*/ 629830 h 1323458"/>
                    <a:gd name="connsiteX4777" fmla="*/ 1301674 w 1439351"/>
                    <a:gd name="connsiteY4777" fmla="*/ 627814 h 1323458"/>
                    <a:gd name="connsiteX4778" fmla="*/ 1299428 w 1439351"/>
                    <a:gd name="connsiteY4778" fmla="*/ 627134 h 1323458"/>
                    <a:gd name="connsiteX4779" fmla="*/ 1298165 w 1439351"/>
                    <a:gd name="connsiteY4779" fmla="*/ 626746 h 1323458"/>
                    <a:gd name="connsiteX4780" fmla="*/ 1296975 w 1439351"/>
                    <a:gd name="connsiteY4780" fmla="*/ 626381 h 1323458"/>
                    <a:gd name="connsiteX4781" fmla="*/ 1296465 w 1439351"/>
                    <a:gd name="connsiteY4781" fmla="*/ 626442 h 1323458"/>
                    <a:gd name="connsiteX4782" fmla="*/ 1295081 w 1439351"/>
                    <a:gd name="connsiteY4782" fmla="*/ 625021 h 1323458"/>
                    <a:gd name="connsiteX4783" fmla="*/ 1294110 w 1439351"/>
                    <a:gd name="connsiteY4783" fmla="*/ 624038 h 1323458"/>
                    <a:gd name="connsiteX4784" fmla="*/ 1293126 w 1439351"/>
                    <a:gd name="connsiteY4784" fmla="*/ 623042 h 1323458"/>
                    <a:gd name="connsiteX4785" fmla="*/ 1291802 w 1439351"/>
                    <a:gd name="connsiteY4785" fmla="*/ 622568 h 1323458"/>
                    <a:gd name="connsiteX4786" fmla="*/ 1283594 w 1439351"/>
                    <a:gd name="connsiteY4786" fmla="*/ 619703 h 1323458"/>
                    <a:gd name="connsiteX4787" fmla="*/ 1257948 w 1439351"/>
                    <a:gd name="connsiteY4787" fmla="*/ 606491 h 1323458"/>
                    <a:gd name="connsiteX4788" fmla="*/ 1257596 w 1439351"/>
                    <a:gd name="connsiteY4788" fmla="*/ 606309 h 1323458"/>
                    <a:gd name="connsiteX4789" fmla="*/ 1257219 w 1439351"/>
                    <a:gd name="connsiteY4789" fmla="*/ 606175 h 1323458"/>
                    <a:gd name="connsiteX4790" fmla="*/ 1243558 w 1439351"/>
                    <a:gd name="connsiteY4790" fmla="*/ 601270 h 1323458"/>
                    <a:gd name="connsiteX4791" fmla="*/ 1242939 w 1439351"/>
                    <a:gd name="connsiteY4791" fmla="*/ 601051 h 1323458"/>
                    <a:gd name="connsiteX4792" fmla="*/ 1242283 w 1439351"/>
                    <a:gd name="connsiteY4792" fmla="*/ 600966 h 1323458"/>
                    <a:gd name="connsiteX4793" fmla="*/ 1221725 w 1439351"/>
                    <a:gd name="connsiteY4793" fmla="*/ 598295 h 1323458"/>
                    <a:gd name="connsiteX4794" fmla="*/ 1221361 w 1439351"/>
                    <a:gd name="connsiteY4794" fmla="*/ 598246 h 1323458"/>
                    <a:gd name="connsiteX4795" fmla="*/ 1220997 w 1439351"/>
                    <a:gd name="connsiteY4795" fmla="*/ 598246 h 1323458"/>
                    <a:gd name="connsiteX4796" fmla="*/ 1203365 w 1439351"/>
                    <a:gd name="connsiteY4796" fmla="*/ 598100 h 1323458"/>
                    <a:gd name="connsiteX4797" fmla="*/ 1202345 w 1439351"/>
                    <a:gd name="connsiteY4797" fmla="*/ 598100 h 1323458"/>
                    <a:gd name="connsiteX4798" fmla="*/ 1201362 w 1439351"/>
                    <a:gd name="connsiteY4798" fmla="*/ 598428 h 1323458"/>
                    <a:gd name="connsiteX4799" fmla="*/ 1196480 w 1439351"/>
                    <a:gd name="connsiteY4799" fmla="*/ 600092 h 1323458"/>
                    <a:gd name="connsiteX4800" fmla="*/ 1194015 w 1439351"/>
                    <a:gd name="connsiteY4800" fmla="*/ 600930 h 1323458"/>
                    <a:gd name="connsiteX4801" fmla="*/ 1192922 w 1439351"/>
                    <a:gd name="connsiteY4801" fmla="*/ 603298 h 1323458"/>
                    <a:gd name="connsiteX4802" fmla="*/ 1192012 w 1439351"/>
                    <a:gd name="connsiteY4802" fmla="*/ 605277 h 1323458"/>
                    <a:gd name="connsiteX4803" fmla="*/ 1191672 w 1439351"/>
                    <a:gd name="connsiteY4803" fmla="*/ 606030 h 1323458"/>
                    <a:gd name="connsiteX4804" fmla="*/ 1191538 w 1439351"/>
                    <a:gd name="connsiteY4804" fmla="*/ 606831 h 1323458"/>
                    <a:gd name="connsiteX4805" fmla="*/ 1191125 w 1439351"/>
                    <a:gd name="connsiteY4805" fmla="*/ 609308 h 1323458"/>
                    <a:gd name="connsiteX4806" fmla="*/ 1190967 w 1439351"/>
                    <a:gd name="connsiteY4806" fmla="*/ 610255 h 1323458"/>
                    <a:gd name="connsiteX4807" fmla="*/ 1191113 w 1439351"/>
                    <a:gd name="connsiteY4807" fmla="*/ 611203 h 1323458"/>
                    <a:gd name="connsiteX4808" fmla="*/ 1191453 w 1439351"/>
                    <a:gd name="connsiteY4808" fmla="*/ 613522 h 1323458"/>
                    <a:gd name="connsiteX4809" fmla="*/ 1191696 w 1439351"/>
                    <a:gd name="connsiteY4809" fmla="*/ 615064 h 1323458"/>
                    <a:gd name="connsiteX4810" fmla="*/ 1192643 w 1439351"/>
                    <a:gd name="connsiteY4810" fmla="*/ 616303 h 1323458"/>
                    <a:gd name="connsiteX4811" fmla="*/ 1193772 w 1439351"/>
                    <a:gd name="connsiteY4811" fmla="*/ 617784 h 1323458"/>
                    <a:gd name="connsiteX4812" fmla="*/ 1193542 w 1439351"/>
                    <a:gd name="connsiteY4812" fmla="*/ 618246 h 1323458"/>
                    <a:gd name="connsiteX4813" fmla="*/ 1190044 w 1439351"/>
                    <a:gd name="connsiteY4813" fmla="*/ 623224 h 1323458"/>
                    <a:gd name="connsiteX4814" fmla="*/ 1187956 w 1439351"/>
                    <a:gd name="connsiteY4814" fmla="*/ 625289 h 1323458"/>
                    <a:gd name="connsiteX4815" fmla="*/ 1186280 w 1439351"/>
                    <a:gd name="connsiteY4815" fmla="*/ 626187 h 1323458"/>
                    <a:gd name="connsiteX4816" fmla="*/ 1184592 w 1439351"/>
                    <a:gd name="connsiteY4816" fmla="*/ 626248 h 1323458"/>
                    <a:gd name="connsiteX4817" fmla="*/ 1182795 w 1439351"/>
                    <a:gd name="connsiteY4817" fmla="*/ 625653 h 1323458"/>
                    <a:gd name="connsiteX4818" fmla="*/ 1182698 w 1439351"/>
                    <a:gd name="connsiteY4818" fmla="*/ 625555 h 1323458"/>
                    <a:gd name="connsiteX4819" fmla="*/ 1181933 w 1439351"/>
                    <a:gd name="connsiteY4819" fmla="*/ 623722 h 1323458"/>
                    <a:gd name="connsiteX4820" fmla="*/ 1181812 w 1439351"/>
                    <a:gd name="connsiteY4820" fmla="*/ 623431 h 1323458"/>
                    <a:gd name="connsiteX4821" fmla="*/ 1181654 w 1439351"/>
                    <a:gd name="connsiteY4821" fmla="*/ 623151 h 1323458"/>
                    <a:gd name="connsiteX4822" fmla="*/ 1179529 w 1439351"/>
                    <a:gd name="connsiteY4822" fmla="*/ 619278 h 1323458"/>
                    <a:gd name="connsiteX4823" fmla="*/ 1179164 w 1439351"/>
                    <a:gd name="connsiteY4823" fmla="*/ 618610 h 1323458"/>
                    <a:gd name="connsiteX4824" fmla="*/ 1178654 w 1439351"/>
                    <a:gd name="connsiteY4824" fmla="*/ 618063 h 1323458"/>
                    <a:gd name="connsiteX4825" fmla="*/ 1176299 w 1439351"/>
                    <a:gd name="connsiteY4825" fmla="*/ 615538 h 1323458"/>
                    <a:gd name="connsiteX4826" fmla="*/ 1176007 w 1439351"/>
                    <a:gd name="connsiteY4826" fmla="*/ 615234 h 1323458"/>
                    <a:gd name="connsiteX4827" fmla="*/ 1175679 w 1439351"/>
                    <a:gd name="connsiteY4827" fmla="*/ 614967 h 1323458"/>
                    <a:gd name="connsiteX4828" fmla="*/ 1166366 w 1439351"/>
                    <a:gd name="connsiteY4828" fmla="*/ 607414 h 1323458"/>
                    <a:gd name="connsiteX4829" fmla="*/ 1165613 w 1439351"/>
                    <a:gd name="connsiteY4829" fmla="*/ 606807 h 1323458"/>
                    <a:gd name="connsiteX4830" fmla="*/ 1164714 w 1439351"/>
                    <a:gd name="connsiteY4830" fmla="*/ 606467 h 1323458"/>
                    <a:gd name="connsiteX4831" fmla="*/ 1157842 w 1439351"/>
                    <a:gd name="connsiteY4831" fmla="*/ 603832 h 1323458"/>
                    <a:gd name="connsiteX4832" fmla="*/ 1156773 w 1439351"/>
                    <a:gd name="connsiteY4832" fmla="*/ 603419 h 1323458"/>
                    <a:gd name="connsiteX4833" fmla="*/ 1155631 w 1439351"/>
                    <a:gd name="connsiteY4833" fmla="*/ 603419 h 1323458"/>
                    <a:gd name="connsiteX4834" fmla="*/ 1133373 w 1439351"/>
                    <a:gd name="connsiteY4834" fmla="*/ 603577 h 1323458"/>
                    <a:gd name="connsiteX4835" fmla="*/ 1123052 w 1439351"/>
                    <a:gd name="connsiteY4835" fmla="*/ 601112 h 1323458"/>
                    <a:gd name="connsiteX4836" fmla="*/ 1115147 w 1439351"/>
                    <a:gd name="connsiteY4836" fmla="*/ 596825 h 1323458"/>
                    <a:gd name="connsiteX4837" fmla="*/ 1114625 w 1439351"/>
                    <a:gd name="connsiteY4837" fmla="*/ 596534 h 1323458"/>
                    <a:gd name="connsiteX4838" fmla="*/ 1114042 w 1439351"/>
                    <a:gd name="connsiteY4838" fmla="*/ 596352 h 1323458"/>
                    <a:gd name="connsiteX4839" fmla="*/ 1109330 w 1439351"/>
                    <a:gd name="connsiteY4839" fmla="*/ 594907 h 1323458"/>
                    <a:gd name="connsiteX4840" fmla="*/ 1108650 w 1439351"/>
                    <a:gd name="connsiteY4840" fmla="*/ 594700 h 1323458"/>
                    <a:gd name="connsiteX4841" fmla="*/ 1107946 w 1439351"/>
                    <a:gd name="connsiteY4841" fmla="*/ 594652 h 1323458"/>
                    <a:gd name="connsiteX4842" fmla="*/ 1087121 w 1439351"/>
                    <a:gd name="connsiteY4842" fmla="*/ 593292 h 1323458"/>
                    <a:gd name="connsiteX4843" fmla="*/ 1085530 w 1439351"/>
                    <a:gd name="connsiteY4843" fmla="*/ 591531 h 1323458"/>
                    <a:gd name="connsiteX4844" fmla="*/ 1084000 w 1439351"/>
                    <a:gd name="connsiteY4844" fmla="*/ 585678 h 1323458"/>
                    <a:gd name="connsiteX4845" fmla="*/ 1082227 w 1439351"/>
                    <a:gd name="connsiteY4845" fmla="*/ 570961 h 1323458"/>
                    <a:gd name="connsiteX4846" fmla="*/ 1082167 w 1439351"/>
                    <a:gd name="connsiteY4846" fmla="*/ 570463 h 1323458"/>
                    <a:gd name="connsiteX4847" fmla="*/ 1082033 w 1439351"/>
                    <a:gd name="connsiteY4847" fmla="*/ 569990 h 1323458"/>
                    <a:gd name="connsiteX4848" fmla="*/ 1079787 w 1439351"/>
                    <a:gd name="connsiteY4848" fmla="*/ 562206 h 1323458"/>
                    <a:gd name="connsiteX4849" fmla="*/ 1079532 w 1439351"/>
                    <a:gd name="connsiteY4849" fmla="*/ 561356 h 1323458"/>
                    <a:gd name="connsiteX4850" fmla="*/ 1079046 w 1439351"/>
                    <a:gd name="connsiteY4850" fmla="*/ 560603 h 1323458"/>
                    <a:gd name="connsiteX4851" fmla="*/ 1075779 w 1439351"/>
                    <a:gd name="connsiteY4851" fmla="*/ 555527 h 1323458"/>
                    <a:gd name="connsiteX4852" fmla="*/ 1074687 w 1439351"/>
                    <a:gd name="connsiteY4852" fmla="*/ 553815 h 1323458"/>
                    <a:gd name="connsiteX4853" fmla="*/ 1072780 w 1439351"/>
                    <a:gd name="connsiteY4853" fmla="*/ 553111 h 1323458"/>
                    <a:gd name="connsiteX4854" fmla="*/ 1071687 w 1439351"/>
                    <a:gd name="connsiteY4854" fmla="*/ 552710 h 1323458"/>
                    <a:gd name="connsiteX4855" fmla="*/ 1067656 w 1439351"/>
                    <a:gd name="connsiteY4855" fmla="*/ 551180 h 1323458"/>
                    <a:gd name="connsiteX4856" fmla="*/ 1065883 w 1439351"/>
                    <a:gd name="connsiteY4856" fmla="*/ 550500 h 1323458"/>
                    <a:gd name="connsiteX4857" fmla="*/ 1064037 w 1439351"/>
                    <a:gd name="connsiteY4857" fmla="*/ 550962 h 1323458"/>
                    <a:gd name="connsiteX4858" fmla="*/ 1040771 w 1439351"/>
                    <a:gd name="connsiteY4858" fmla="*/ 556717 h 1323458"/>
                    <a:gd name="connsiteX4859" fmla="*/ 1026382 w 1439351"/>
                    <a:gd name="connsiteY4859" fmla="*/ 558320 h 1323458"/>
                    <a:gd name="connsiteX4860" fmla="*/ 1021768 w 1439351"/>
                    <a:gd name="connsiteY4860" fmla="*/ 556924 h 1323458"/>
                    <a:gd name="connsiteX4861" fmla="*/ 1012660 w 1439351"/>
                    <a:gd name="connsiteY4861" fmla="*/ 548059 h 1323458"/>
                    <a:gd name="connsiteX4862" fmla="*/ 1011944 w 1439351"/>
                    <a:gd name="connsiteY4862" fmla="*/ 547355 h 1323458"/>
                    <a:gd name="connsiteX4863" fmla="*/ 1011045 w 1439351"/>
                    <a:gd name="connsiteY4863" fmla="*/ 546930 h 1323458"/>
                    <a:gd name="connsiteX4864" fmla="*/ 997130 w 1439351"/>
                    <a:gd name="connsiteY4864" fmla="*/ 540251 h 1323458"/>
                    <a:gd name="connsiteX4865" fmla="*/ 975284 w 1439351"/>
                    <a:gd name="connsiteY4865" fmla="*/ 522899 h 1323458"/>
                    <a:gd name="connsiteX4866" fmla="*/ 974544 w 1439351"/>
                    <a:gd name="connsiteY4866" fmla="*/ 522316 h 1323458"/>
                    <a:gd name="connsiteX4867" fmla="*/ 973669 w 1439351"/>
                    <a:gd name="connsiteY4867" fmla="*/ 521988 h 1323458"/>
                    <a:gd name="connsiteX4868" fmla="*/ 965922 w 1439351"/>
                    <a:gd name="connsiteY4868" fmla="*/ 519050 h 1323458"/>
                    <a:gd name="connsiteX4869" fmla="*/ 963858 w 1439351"/>
                    <a:gd name="connsiteY4869" fmla="*/ 517908 h 1323458"/>
                    <a:gd name="connsiteX4870" fmla="*/ 960968 w 1439351"/>
                    <a:gd name="connsiteY4870" fmla="*/ 514958 h 1323458"/>
                    <a:gd name="connsiteX4871" fmla="*/ 960725 w 1439351"/>
                    <a:gd name="connsiteY4871" fmla="*/ 514703 h 1323458"/>
                    <a:gd name="connsiteX4872" fmla="*/ 960458 w 1439351"/>
                    <a:gd name="connsiteY4872" fmla="*/ 514484 h 1323458"/>
                    <a:gd name="connsiteX4873" fmla="*/ 956669 w 1439351"/>
                    <a:gd name="connsiteY4873" fmla="*/ 511412 h 1323458"/>
                    <a:gd name="connsiteX4874" fmla="*/ 955916 w 1439351"/>
                    <a:gd name="connsiteY4874" fmla="*/ 510805 h 1323458"/>
                    <a:gd name="connsiteX4875" fmla="*/ 955018 w 1439351"/>
                    <a:gd name="connsiteY4875" fmla="*/ 510465 h 1323458"/>
                    <a:gd name="connsiteX4876" fmla="*/ 950161 w 1439351"/>
                    <a:gd name="connsiteY4876" fmla="*/ 508886 h 1323458"/>
                    <a:gd name="connsiteX4877" fmla="*/ 949529 w 1439351"/>
                    <a:gd name="connsiteY4877" fmla="*/ 508680 h 1323458"/>
                    <a:gd name="connsiteX4878" fmla="*/ 948874 w 1439351"/>
                    <a:gd name="connsiteY4878" fmla="*/ 508619 h 1323458"/>
                    <a:gd name="connsiteX4879" fmla="*/ 939220 w 1439351"/>
                    <a:gd name="connsiteY4879" fmla="*/ 507708 h 1323458"/>
                    <a:gd name="connsiteX4880" fmla="*/ 937678 w 1439351"/>
                    <a:gd name="connsiteY4880" fmla="*/ 507563 h 1323458"/>
                    <a:gd name="connsiteX4881" fmla="*/ 936257 w 1439351"/>
                    <a:gd name="connsiteY4881" fmla="*/ 508170 h 1323458"/>
                    <a:gd name="connsiteX4882" fmla="*/ 930756 w 1439351"/>
                    <a:gd name="connsiteY4882" fmla="*/ 510526 h 1323458"/>
                    <a:gd name="connsiteX4883" fmla="*/ 929506 w 1439351"/>
                    <a:gd name="connsiteY4883" fmla="*/ 511060 h 1323458"/>
                    <a:gd name="connsiteX4884" fmla="*/ 928607 w 1439351"/>
                    <a:gd name="connsiteY4884" fmla="*/ 512068 h 1323458"/>
                    <a:gd name="connsiteX4885" fmla="*/ 921540 w 1439351"/>
                    <a:gd name="connsiteY4885" fmla="*/ 520021 h 1323458"/>
                    <a:gd name="connsiteX4886" fmla="*/ 919621 w 1439351"/>
                    <a:gd name="connsiteY4886" fmla="*/ 521284 h 1323458"/>
                    <a:gd name="connsiteX4887" fmla="*/ 917885 w 1439351"/>
                    <a:gd name="connsiteY4887" fmla="*/ 521151 h 1323458"/>
                    <a:gd name="connsiteX4888" fmla="*/ 914145 w 1439351"/>
                    <a:gd name="connsiteY4888" fmla="*/ 519014 h 1323458"/>
                    <a:gd name="connsiteX4889" fmla="*/ 909227 w 1439351"/>
                    <a:gd name="connsiteY4889" fmla="*/ 515468 h 1323458"/>
                    <a:gd name="connsiteX4890" fmla="*/ 908948 w 1439351"/>
                    <a:gd name="connsiteY4890" fmla="*/ 515261 h 1323458"/>
                    <a:gd name="connsiteX4891" fmla="*/ 908644 w 1439351"/>
                    <a:gd name="connsiteY4891" fmla="*/ 515091 h 1323458"/>
                    <a:gd name="connsiteX4892" fmla="*/ 900059 w 1439351"/>
                    <a:gd name="connsiteY4892" fmla="*/ 510307 h 1323458"/>
                    <a:gd name="connsiteX4893" fmla="*/ 893210 w 1439351"/>
                    <a:gd name="connsiteY4893" fmla="*/ 503276 h 1323458"/>
                    <a:gd name="connsiteX4894" fmla="*/ 892943 w 1439351"/>
                    <a:gd name="connsiteY4894" fmla="*/ 503009 h 1323458"/>
                    <a:gd name="connsiteX4895" fmla="*/ 892640 w 1439351"/>
                    <a:gd name="connsiteY4895" fmla="*/ 502766 h 1323458"/>
                    <a:gd name="connsiteX4896" fmla="*/ 888620 w 1439351"/>
                    <a:gd name="connsiteY4896" fmla="*/ 499573 h 1323458"/>
                    <a:gd name="connsiteX4897" fmla="*/ 887819 w 1439351"/>
                    <a:gd name="connsiteY4897" fmla="*/ 498929 h 1323458"/>
                    <a:gd name="connsiteX4898" fmla="*/ 886848 w 1439351"/>
                    <a:gd name="connsiteY4898" fmla="*/ 498589 h 1323458"/>
                    <a:gd name="connsiteX4899" fmla="*/ 882428 w 1439351"/>
                    <a:gd name="connsiteY4899" fmla="*/ 497047 h 1323458"/>
                    <a:gd name="connsiteX4900" fmla="*/ 882088 w 1439351"/>
                    <a:gd name="connsiteY4900" fmla="*/ 496926 h 1323458"/>
                    <a:gd name="connsiteX4901" fmla="*/ 881735 w 1439351"/>
                    <a:gd name="connsiteY4901" fmla="*/ 496852 h 1323458"/>
                    <a:gd name="connsiteX4902" fmla="*/ 873539 w 1439351"/>
                    <a:gd name="connsiteY4902" fmla="*/ 495043 h 1323458"/>
                    <a:gd name="connsiteX4903" fmla="*/ 871717 w 1439351"/>
                    <a:gd name="connsiteY4903" fmla="*/ 493671 h 1323458"/>
                    <a:gd name="connsiteX4904" fmla="*/ 869908 w 1439351"/>
                    <a:gd name="connsiteY4904" fmla="*/ 490878 h 1323458"/>
                    <a:gd name="connsiteX4905" fmla="*/ 869240 w 1439351"/>
                    <a:gd name="connsiteY4905" fmla="*/ 489846 h 1323458"/>
                    <a:gd name="connsiteX4906" fmla="*/ 868220 w 1439351"/>
                    <a:gd name="connsiteY4906" fmla="*/ 489154 h 1323458"/>
                    <a:gd name="connsiteX4907" fmla="*/ 864432 w 1439351"/>
                    <a:gd name="connsiteY4907" fmla="*/ 486580 h 1323458"/>
                    <a:gd name="connsiteX4908" fmla="*/ 864092 w 1439351"/>
                    <a:gd name="connsiteY4908" fmla="*/ 486337 h 1323458"/>
                    <a:gd name="connsiteX4909" fmla="*/ 863715 w 1439351"/>
                    <a:gd name="connsiteY4909" fmla="*/ 486155 h 1323458"/>
                    <a:gd name="connsiteX4910" fmla="*/ 847662 w 1439351"/>
                    <a:gd name="connsiteY4910" fmla="*/ 478238 h 1323458"/>
                    <a:gd name="connsiteX4911" fmla="*/ 846727 w 1439351"/>
                    <a:gd name="connsiteY4911" fmla="*/ 477509 h 1323458"/>
                    <a:gd name="connsiteX4912" fmla="*/ 846618 w 1439351"/>
                    <a:gd name="connsiteY4912" fmla="*/ 476513 h 1323458"/>
                    <a:gd name="connsiteX4913" fmla="*/ 846557 w 1439351"/>
                    <a:gd name="connsiteY4913" fmla="*/ 475979 h 1323458"/>
                    <a:gd name="connsiteX4914" fmla="*/ 846399 w 1439351"/>
                    <a:gd name="connsiteY4914" fmla="*/ 475457 h 1323458"/>
                    <a:gd name="connsiteX4915" fmla="*/ 845537 w 1439351"/>
                    <a:gd name="connsiteY4915" fmla="*/ 472555 h 1323458"/>
                    <a:gd name="connsiteX4916" fmla="*/ 845282 w 1439351"/>
                    <a:gd name="connsiteY4916" fmla="*/ 471680 h 1323458"/>
                    <a:gd name="connsiteX4917" fmla="*/ 844784 w 1439351"/>
                    <a:gd name="connsiteY4917" fmla="*/ 470927 h 1323458"/>
                    <a:gd name="connsiteX4918" fmla="*/ 842319 w 1439351"/>
                    <a:gd name="connsiteY4918" fmla="*/ 467199 h 1323458"/>
                    <a:gd name="connsiteX4919" fmla="*/ 842028 w 1439351"/>
                    <a:gd name="connsiteY4919" fmla="*/ 466762 h 1323458"/>
                    <a:gd name="connsiteX4920" fmla="*/ 841664 w 1439351"/>
                    <a:gd name="connsiteY4920" fmla="*/ 466374 h 1323458"/>
                    <a:gd name="connsiteX4921" fmla="*/ 838336 w 1439351"/>
                    <a:gd name="connsiteY4921" fmla="*/ 462877 h 1323458"/>
                    <a:gd name="connsiteX4922" fmla="*/ 837911 w 1439351"/>
                    <a:gd name="connsiteY4922" fmla="*/ 462427 h 1323458"/>
                    <a:gd name="connsiteX4923" fmla="*/ 837401 w 1439351"/>
                    <a:gd name="connsiteY4923" fmla="*/ 462075 h 1323458"/>
                    <a:gd name="connsiteX4924" fmla="*/ 833382 w 1439351"/>
                    <a:gd name="connsiteY4924" fmla="*/ 459282 h 1323458"/>
                    <a:gd name="connsiteX4925" fmla="*/ 832678 w 1439351"/>
                    <a:gd name="connsiteY4925" fmla="*/ 458784 h 1323458"/>
                    <a:gd name="connsiteX4926" fmla="*/ 831864 w 1439351"/>
                    <a:gd name="connsiteY4926" fmla="*/ 458517 h 1323458"/>
                    <a:gd name="connsiteX4927" fmla="*/ 827614 w 1439351"/>
                    <a:gd name="connsiteY4927" fmla="*/ 457084 h 1323458"/>
                    <a:gd name="connsiteX4928" fmla="*/ 826291 w 1439351"/>
                    <a:gd name="connsiteY4928" fmla="*/ 456635 h 1323458"/>
                    <a:gd name="connsiteX4929" fmla="*/ 824906 w 1439351"/>
                    <a:gd name="connsiteY4929" fmla="*/ 456817 h 1323458"/>
                    <a:gd name="connsiteX4930" fmla="*/ 822028 w 1439351"/>
                    <a:gd name="connsiteY4930" fmla="*/ 457182 h 1323458"/>
                    <a:gd name="connsiteX4931" fmla="*/ 819308 w 1439351"/>
                    <a:gd name="connsiteY4931" fmla="*/ 457534 h 1323458"/>
                    <a:gd name="connsiteX4932" fmla="*/ 817778 w 1439351"/>
                    <a:gd name="connsiteY4932" fmla="*/ 459804 h 1323458"/>
                    <a:gd name="connsiteX4933" fmla="*/ 817001 w 1439351"/>
                    <a:gd name="connsiteY4933" fmla="*/ 460958 h 1323458"/>
                    <a:gd name="connsiteX4934" fmla="*/ 816564 w 1439351"/>
                    <a:gd name="connsiteY4934" fmla="*/ 460108 h 1323458"/>
                    <a:gd name="connsiteX4935" fmla="*/ 814038 w 1439351"/>
                    <a:gd name="connsiteY4935" fmla="*/ 455214 h 1323458"/>
                    <a:gd name="connsiteX4936" fmla="*/ 813674 w 1439351"/>
                    <a:gd name="connsiteY4936" fmla="*/ 454510 h 1323458"/>
                    <a:gd name="connsiteX4937" fmla="*/ 813140 w 1439351"/>
                    <a:gd name="connsiteY4937" fmla="*/ 453927 h 1323458"/>
                    <a:gd name="connsiteX4938" fmla="*/ 802879 w 1439351"/>
                    <a:gd name="connsiteY4938" fmla="*/ 442622 h 1323458"/>
                    <a:gd name="connsiteX4939" fmla="*/ 800875 w 1439351"/>
                    <a:gd name="connsiteY4939" fmla="*/ 438154 h 1323458"/>
                    <a:gd name="connsiteX4940" fmla="*/ 797148 w 1439351"/>
                    <a:gd name="connsiteY4940" fmla="*/ 426399 h 1323458"/>
                    <a:gd name="connsiteX4941" fmla="*/ 796795 w 1439351"/>
                    <a:gd name="connsiteY4941" fmla="*/ 425294 h 1323458"/>
                    <a:gd name="connsiteX4942" fmla="*/ 796067 w 1439351"/>
                    <a:gd name="connsiteY4942" fmla="*/ 424396 h 1323458"/>
                    <a:gd name="connsiteX4943" fmla="*/ 792205 w 1439351"/>
                    <a:gd name="connsiteY4943" fmla="*/ 419648 h 1323458"/>
                    <a:gd name="connsiteX4944" fmla="*/ 791380 w 1439351"/>
                    <a:gd name="connsiteY4944" fmla="*/ 418640 h 1323458"/>
                    <a:gd name="connsiteX4945" fmla="*/ 790214 w 1439351"/>
                    <a:gd name="connsiteY4945" fmla="*/ 418057 h 1323458"/>
                    <a:gd name="connsiteX4946" fmla="*/ 785806 w 1439351"/>
                    <a:gd name="connsiteY4946" fmla="*/ 415847 h 1323458"/>
                    <a:gd name="connsiteX4947" fmla="*/ 785041 w 1439351"/>
                    <a:gd name="connsiteY4947" fmla="*/ 415459 h 1323458"/>
                    <a:gd name="connsiteX4948" fmla="*/ 784191 w 1439351"/>
                    <a:gd name="connsiteY4948" fmla="*/ 415301 h 1323458"/>
                    <a:gd name="connsiteX4949" fmla="*/ 765588 w 1439351"/>
                    <a:gd name="connsiteY4949" fmla="*/ 411888 h 1323458"/>
                    <a:gd name="connsiteX4950" fmla="*/ 760075 w 1439351"/>
                    <a:gd name="connsiteY4950" fmla="*/ 410868 h 1323458"/>
                    <a:gd name="connsiteX4951" fmla="*/ 760051 w 1439351"/>
                    <a:gd name="connsiteY4951" fmla="*/ 410662 h 1323458"/>
                    <a:gd name="connsiteX4952" fmla="*/ 759990 w 1439351"/>
                    <a:gd name="connsiteY4952" fmla="*/ 410225 h 1323458"/>
                    <a:gd name="connsiteX4953" fmla="*/ 759869 w 1439351"/>
                    <a:gd name="connsiteY4953" fmla="*/ 409812 h 1323458"/>
                    <a:gd name="connsiteX4954" fmla="*/ 759237 w 1439351"/>
                    <a:gd name="connsiteY4954" fmla="*/ 407638 h 1323458"/>
                    <a:gd name="connsiteX4955" fmla="*/ 758533 w 1439351"/>
                    <a:gd name="connsiteY4955" fmla="*/ 405210 h 1323458"/>
                    <a:gd name="connsiteX4956" fmla="*/ 756299 w 1439351"/>
                    <a:gd name="connsiteY4956" fmla="*/ 403996 h 1323458"/>
                    <a:gd name="connsiteX4957" fmla="*/ 754064 w 1439351"/>
                    <a:gd name="connsiteY4957" fmla="*/ 402781 h 1323458"/>
                    <a:gd name="connsiteX4958" fmla="*/ 751745 w 1439351"/>
                    <a:gd name="connsiteY4958" fmla="*/ 401518 h 1323458"/>
                    <a:gd name="connsiteX4959" fmla="*/ 749232 w 1439351"/>
                    <a:gd name="connsiteY4959" fmla="*/ 402356 h 1323458"/>
                    <a:gd name="connsiteX4960" fmla="*/ 747374 w 1439351"/>
                    <a:gd name="connsiteY4960" fmla="*/ 402976 h 1323458"/>
                    <a:gd name="connsiteX4961" fmla="*/ 745285 w 1439351"/>
                    <a:gd name="connsiteY4961" fmla="*/ 402927 h 1323458"/>
                    <a:gd name="connsiteX4962" fmla="*/ 742444 w 1439351"/>
                    <a:gd name="connsiteY4962" fmla="*/ 402368 h 1323458"/>
                    <a:gd name="connsiteX4963" fmla="*/ 740598 w 1439351"/>
                    <a:gd name="connsiteY4963" fmla="*/ 401798 h 1323458"/>
                    <a:gd name="connsiteX4964" fmla="*/ 739590 w 1439351"/>
                    <a:gd name="connsiteY4964" fmla="*/ 401106 h 1323458"/>
                    <a:gd name="connsiteX4965" fmla="*/ 739529 w 1439351"/>
                    <a:gd name="connsiteY4965" fmla="*/ 400887 h 1323458"/>
                    <a:gd name="connsiteX4966" fmla="*/ 739299 w 1439351"/>
                    <a:gd name="connsiteY4966" fmla="*/ 398422 h 1323458"/>
                    <a:gd name="connsiteX4967" fmla="*/ 739189 w 1439351"/>
                    <a:gd name="connsiteY4967" fmla="*/ 397256 h 1323458"/>
                    <a:gd name="connsiteX4968" fmla="*/ 738655 w 1439351"/>
                    <a:gd name="connsiteY4968" fmla="*/ 396212 h 1323458"/>
                    <a:gd name="connsiteX4969" fmla="*/ 737101 w 1439351"/>
                    <a:gd name="connsiteY4969" fmla="*/ 393176 h 1323458"/>
                    <a:gd name="connsiteX4970" fmla="*/ 736093 w 1439351"/>
                    <a:gd name="connsiteY4970" fmla="*/ 391221 h 1323458"/>
                    <a:gd name="connsiteX4971" fmla="*/ 734065 w 1439351"/>
                    <a:gd name="connsiteY4971" fmla="*/ 390359 h 1323458"/>
                    <a:gd name="connsiteX4972" fmla="*/ 731418 w 1439351"/>
                    <a:gd name="connsiteY4972" fmla="*/ 389230 h 1323458"/>
                    <a:gd name="connsiteX4973" fmla="*/ 730289 w 1439351"/>
                    <a:gd name="connsiteY4973" fmla="*/ 388744 h 1323458"/>
                    <a:gd name="connsiteX4974" fmla="*/ 729050 w 1439351"/>
                    <a:gd name="connsiteY4974" fmla="*/ 388744 h 1323458"/>
                    <a:gd name="connsiteX4975" fmla="*/ 721886 w 1439351"/>
                    <a:gd name="connsiteY4975" fmla="*/ 388720 h 1323458"/>
                    <a:gd name="connsiteX4976" fmla="*/ 719967 w 1439351"/>
                    <a:gd name="connsiteY4976" fmla="*/ 388380 h 1323458"/>
                    <a:gd name="connsiteX4977" fmla="*/ 718437 w 1439351"/>
                    <a:gd name="connsiteY4977" fmla="*/ 387481 h 1323458"/>
                    <a:gd name="connsiteX4978" fmla="*/ 711868 w 1439351"/>
                    <a:gd name="connsiteY4978" fmla="*/ 380863 h 1323458"/>
                    <a:gd name="connsiteX4979" fmla="*/ 711394 w 1439351"/>
                    <a:gd name="connsiteY4979" fmla="*/ 380377 h 1323458"/>
                    <a:gd name="connsiteX4980" fmla="*/ 710835 w 1439351"/>
                    <a:gd name="connsiteY4980" fmla="*/ 380013 h 1323458"/>
                    <a:gd name="connsiteX4981" fmla="*/ 707739 w 1439351"/>
                    <a:gd name="connsiteY4981" fmla="*/ 378034 h 1323458"/>
                    <a:gd name="connsiteX4982" fmla="*/ 706950 w 1439351"/>
                    <a:gd name="connsiteY4982" fmla="*/ 377524 h 1323458"/>
                    <a:gd name="connsiteX4983" fmla="*/ 706039 w 1439351"/>
                    <a:gd name="connsiteY4983" fmla="*/ 377281 h 1323458"/>
                    <a:gd name="connsiteX4984" fmla="*/ 700696 w 1439351"/>
                    <a:gd name="connsiteY4984" fmla="*/ 375836 h 1323458"/>
                    <a:gd name="connsiteX4985" fmla="*/ 699190 w 1439351"/>
                    <a:gd name="connsiteY4985" fmla="*/ 375132 h 1323458"/>
                    <a:gd name="connsiteX4986" fmla="*/ 698486 w 1439351"/>
                    <a:gd name="connsiteY4986" fmla="*/ 374294 h 1323458"/>
                    <a:gd name="connsiteX4987" fmla="*/ 695038 w 1439351"/>
                    <a:gd name="connsiteY4987" fmla="*/ 367992 h 1323458"/>
                    <a:gd name="connsiteX4988" fmla="*/ 694333 w 1439351"/>
                    <a:gd name="connsiteY4988" fmla="*/ 366704 h 1323458"/>
                    <a:gd name="connsiteX4989" fmla="*/ 693119 w 1439351"/>
                    <a:gd name="connsiteY4989" fmla="*/ 365879 h 1323458"/>
                    <a:gd name="connsiteX4990" fmla="*/ 690715 w 1439351"/>
                    <a:gd name="connsiteY4990" fmla="*/ 364252 h 1323458"/>
                    <a:gd name="connsiteX4991" fmla="*/ 689634 w 1439351"/>
                    <a:gd name="connsiteY4991" fmla="*/ 363523 h 1323458"/>
                    <a:gd name="connsiteX4992" fmla="*/ 688359 w 1439351"/>
                    <a:gd name="connsiteY4992" fmla="*/ 363292 h 1323458"/>
                    <a:gd name="connsiteX4993" fmla="*/ 681838 w 1439351"/>
                    <a:gd name="connsiteY4993" fmla="*/ 362163 h 1323458"/>
                    <a:gd name="connsiteX4994" fmla="*/ 679446 w 1439351"/>
                    <a:gd name="connsiteY4994" fmla="*/ 361374 h 1323458"/>
                    <a:gd name="connsiteX4995" fmla="*/ 678924 w 1439351"/>
                    <a:gd name="connsiteY4995" fmla="*/ 361119 h 1323458"/>
                    <a:gd name="connsiteX4996" fmla="*/ 678936 w 1439351"/>
                    <a:gd name="connsiteY4996" fmla="*/ 361046 h 1323458"/>
                    <a:gd name="connsiteX4997" fmla="*/ 679252 w 1439351"/>
                    <a:gd name="connsiteY4997" fmla="*/ 359164 h 1323458"/>
                    <a:gd name="connsiteX4998" fmla="*/ 678426 w 1439351"/>
                    <a:gd name="connsiteY4998" fmla="*/ 357427 h 1323458"/>
                    <a:gd name="connsiteX4999" fmla="*/ 677855 w 1439351"/>
                    <a:gd name="connsiteY4999" fmla="*/ 356225 h 1323458"/>
                    <a:gd name="connsiteX5000" fmla="*/ 676253 w 1439351"/>
                    <a:gd name="connsiteY5000" fmla="*/ 352874 h 1323458"/>
                    <a:gd name="connsiteX5001" fmla="*/ 672537 w 1439351"/>
                    <a:gd name="connsiteY5001" fmla="*/ 352777 h 1323458"/>
                    <a:gd name="connsiteX5002" fmla="*/ 668517 w 1439351"/>
                    <a:gd name="connsiteY5002" fmla="*/ 352667 h 1323458"/>
                    <a:gd name="connsiteX5003" fmla="*/ 665372 w 1439351"/>
                    <a:gd name="connsiteY5003" fmla="*/ 352582 h 1323458"/>
                    <a:gd name="connsiteX5004" fmla="*/ 663770 w 1439351"/>
                    <a:gd name="connsiteY5004" fmla="*/ 352546 h 1323458"/>
                    <a:gd name="connsiteX5005" fmla="*/ 662361 w 1439351"/>
                    <a:gd name="connsiteY5005" fmla="*/ 353299 h 1323458"/>
                    <a:gd name="connsiteX5006" fmla="*/ 658572 w 1439351"/>
                    <a:gd name="connsiteY5006" fmla="*/ 355302 h 1323458"/>
                    <a:gd name="connsiteX5007" fmla="*/ 657212 w 1439351"/>
                    <a:gd name="connsiteY5007" fmla="*/ 356031 h 1323458"/>
                    <a:gd name="connsiteX5008" fmla="*/ 656362 w 1439351"/>
                    <a:gd name="connsiteY5008" fmla="*/ 357318 h 1323458"/>
                    <a:gd name="connsiteX5009" fmla="*/ 654517 w 1439351"/>
                    <a:gd name="connsiteY5009" fmla="*/ 360099 h 1323458"/>
                    <a:gd name="connsiteX5010" fmla="*/ 653764 w 1439351"/>
                    <a:gd name="connsiteY5010" fmla="*/ 361228 h 1323458"/>
                    <a:gd name="connsiteX5011" fmla="*/ 653570 w 1439351"/>
                    <a:gd name="connsiteY5011" fmla="*/ 362576 h 1323458"/>
                    <a:gd name="connsiteX5012" fmla="*/ 653059 w 1439351"/>
                    <a:gd name="connsiteY5012" fmla="*/ 366085 h 1323458"/>
                    <a:gd name="connsiteX5013" fmla="*/ 652938 w 1439351"/>
                    <a:gd name="connsiteY5013" fmla="*/ 366887 h 1323458"/>
                    <a:gd name="connsiteX5014" fmla="*/ 653035 w 1439351"/>
                    <a:gd name="connsiteY5014" fmla="*/ 367700 h 1323458"/>
                    <a:gd name="connsiteX5015" fmla="*/ 653072 w 1439351"/>
                    <a:gd name="connsiteY5015" fmla="*/ 368004 h 1323458"/>
                    <a:gd name="connsiteX5016" fmla="*/ 652671 w 1439351"/>
                    <a:gd name="connsiteY5016" fmla="*/ 367530 h 1323458"/>
                    <a:gd name="connsiteX5017" fmla="*/ 652003 w 1439351"/>
                    <a:gd name="connsiteY5017" fmla="*/ 366765 h 1323458"/>
                    <a:gd name="connsiteX5018" fmla="*/ 651129 w 1439351"/>
                    <a:gd name="connsiteY5018" fmla="*/ 366255 h 1323458"/>
                    <a:gd name="connsiteX5019" fmla="*/ 647753 w 1439351"/>
                    <a:gd name="connsiteY5019" fmla="*/ 364312 h 1323458"/>
                    <a:gd name="connsiteX5020" fmla="*/ 646478 w 1439351"/>
                    <a:gd name="connsiteY5020" fmla="*/ 363560 h 1323458"/>
                    <a:gd name="connsiteX5021" fmla="*/ 644997 w 1439351"/>
                    <a:gd name="connsiteY5021" fmla="*/ 363499 h 1323458"/>
                    <a:gd name="connsiteX5022" fmla="*/ 641196 w 1439351"/>
                    <a:gd name="connsiteY5022" fmla="*/ 363329 h 1323458"/>
                    <a:gd name="connsiteX5023" fmla="*/ 640261 w 1439351"/>
                    <a:gd name="connsiteY5023" fmla="*/ 363292 h 1323458"/>
                    <a:gd name="connsiteX5024" fmla="*/ 639350 w 1439351"/>
                    <a:gd name="connsiteY5024" fmla="*/ 363535 h 1323458"/>
                    <a:gd name="connsiteX5025" fmla="*/ 636169 w 1439351"/>
                    <a:gd name="connsiteY5025" fmla="*/ 364385 h 1323458"/>
                    <a:gd name="connsiteX5026" fmla="*/ 634493 w 1439351"/>
                    <a:gd name="connsiteY5026" fmla="*/ 364604 h 1323458"/>
                    <a:gd name="connsiteX5027" fmla="*/ 633619 w 1439351"/>
                    <a:gd name="connsiteY5027" fmla="*/ 364264 h 1323458"/>
                    <a:gd name="connsiteX5028" fmla="*/ 632914 w 1439351"/>
                    <a:gd name="connsiteY5028" fmla="*/ 363426 h 1323458"/>
                    <a:gd name="connsiteX5029" fmla="*/ 628118 w 1439351"/>
                    <a:gd name="connsiteY5029" fmla="*/ 353955 h 1323458"/>
                    <a:gd name="connsiteX5030" fmla="*/ 627523 w 1439351"/>
                    <a:gd name="connsiteY5030" fmla="*/ 352789 h 1323458"/>
                    <a:gd name="connsiteX5031" fmla="*/ 626515 w 1439351"/>
                    <a:gd name="connsiteY5031" fmla="*/ 351975 h 1323458"/>
                    <a:gd name="connsiteX5032" fmla="*/ 625082 w 1439351"/>
                    <a:gd name="connsiteY5032" fmla="*/ 350822 h 1323458"/>
                    <a:gd name="connsiteX5033" fmla="*/ 624001 w 1439351"/>
                    <a:gd name="connsiteY5033" fmla="*/ 349947 h 1323458"/>
                    <a:gd name="connsiteX5034" fmla="*/ 622654 w 1439351"/>
                    <a:gd name="connsiteY5034" fmla="*/ 349632 h 1323458"/>
                    <a:gd name="connsiteX5035" fmla="*/ 619946 w 1439351"/>
                    <a:gd name="connsiteY5035" fmla="*/ 349000 h 1323458"/>
                    <a:gd name="connsiteX5036" fmla="*/ 619763 w 1439351"/>
                    <a:gd name="connsiteY5036" fmla="*/ 348818 h 1323458"/>
                    <a:gd name="connsiteX5037" fmla="*/ 618173 w 1439351"/>
                    <a:gd name="connsiteY5037" fmla="*/ 346147 h 1323458"/>
                    <a:gd name="connsiteX5038" fmla="*/ 617930 w 1439351"/>
                    <a:gd name="connsiteY5038" fmla="*/ 345746 h 1323458"/>
                    <a:gd name="connsiteX5039" fmla="*/ 617639 w 1439351"/>
                    <a:gd name="connsiteY5039" fmla="*/ 345394 h 1323458"/>
                    <a:gd name="connsiteX5040" fmla="*/ 616546 w 1439351"/>
                    <a:gd name="connsiteY5040" fmla="*/ 344070 h 1323458"/>
                    <a:gd name="connsiteX5041" fmla="*/ 615878 w 1439351"/>
                    <a:gd name="connsiteY5041" fmla="*/ 343269 h 1323458"/>
                    <a:gd name="connsiteX5042" fmla="*/ 614991 w 1439351"/>
                    <a:gd name="connsiteY5042" fmla="*/ 342734 h 1323458"/>
                    <a:gd name="connsiteX5043" fmla="*/ 611834 w 1439351"/>
                    <a:gd name="connsiteY5043" fmla="*/ 340840 h 1323458"/>
                    <a:gd name="connsiteX5044" fmla="*/ 610838 w 1439351"/>
                    <a:gd name="connsiteY5044" fmla="*/ 340245 h 1323458"/>
                    <a:gd name="connsiteX5045" fmla="*/ 609697 w 1439351"/>
                    <a:gd name="connsiteY5045" fmla="*/ 340051 h 1323458"/>
                    <a:gd name="connsiteX5046" fmla="*/ 603577 w 1439351"/>
                    <a:gd name="connsiteY5046" fmla="*/ 339043 h 1323458"/>
                    <a:gd name="connsiteX5047" fmla="*/ 601379 w 1439351"/>
                    <a:gd name="connsiteY5047" fmla="*/ 338302 h 1323458"/>
                    <a:gd name="connsiteX5048" fmla="*/ 600043 w 1439351"/>
                    <a:gd name="connsiteY5048" fmla="*/ 337319 h 1323458"/>
                    <a:gd name="connsiteX5049" fmla="*/ 594324 w 1439351"/>
                    <a:gd name="connsiteY5049" fmla="*/ 329984 h 1323458"/>
                    <a:gd name="connsiteX5050" fmla="*/ 593571 w 1439351"/>
                    <a:gd name="connsiteY5050" fmla="*/ 329037 h 1323458"/>
                    <a:gd name="connsiteX5051" fmla="*/ 592527 w 1439351"/>
                    <a:gd name="connsiteY5051" fmla="*/ 328442 h 1323458"/>
                    <a:gd name="connsiteX5052" fmla="*/ 586492 w 1439351"/>
                    <a:gd name="connsiteY5052" fmla="*/ 325018 h 1323458"/>
                    <a:gd name="connsiteX5053" fmla="*/ 585606 w 1439351"/>
                    <a:gd name="connsiteY5053" fmla="*/ 324508 h 1323458"/>
                    <a:gd name="connsiteX5054" fmla="*/ 584610 w 1439351"/>
                    <a:gd name="connsiteY5054" fmla="*/ 324326 h 1323458"/>
                    <a:gd name="connsiteX5055" fmla="*/ 582946 w 1439351"/>
                    <a:gd name="connsiteY5055" fmla="*/ 324010 h 1323458"/>
                    <a:gd name="connsiteX5056" fmla="*/ 577032 w 1439351"/>
                    <a:gd name="connsiteY5056" fmla="*/ 322893 h 1323458"/>
                    <a:gd name="connsiteX5057" fmla="*/ 575867 w 1439351"/>
                    <a:gd name="connsiteY5057" fmla="*/ 328782 h 1323458"/>
                    <a:gd name="connsiteX5058" fmla="*/ 575332 w 1439351"/>
                    <a:gd name="connsiteY5058" fmla="*/ 331466 h 1323458"/>
                    <a:gd name="connsiteX5059" fmla="*/ 574798 w 1439351"/>
                    <a:gd name="connsiteY5059" fmla="*/ 332814 h 1323458"/>
                    <a:gd name="connsiteX5060" fmla="*/ 573608 w 1439351"/>
                    <a:gd name="connsiteY5060" fmla="*/ 334829 h 1323458"/>
                    <a:gd name="connsiteX5061" fmla="*/ 569407 w 1439351"/>
                    <a:gd name="connsiteY5061" fmla="*/ 339322 h 1323458"/>
                    <a:gd name="connsiteX5062" fmla="*/ 567731 w 1439351"/>
                    <a:gd name="connsiteY5062" fmla="*/ 340464 h 1323458"/>
                    <a:gd name="connsiteX5063" fmla="*/ 565970 w 1439351"/>
                    <a:gd name="connsiteY5063" fmla="*/ 341326 h 1323458"/>
                    <a:gd name="connsiteX5064" fmla="*/ 564622 w 1439351"/>
                    <a:gd name="connsiteY5064" fmla="*/ 341739 h 1323458"/>
                    <a:gd name="connsiteX5065" fmla="*/ 563323 w 1439351"/>
                    <a:gd name="connsiteY5065" fmla="*/ 341799 h 1323458"/>
                    <a:gd name="connsiteX5066" fmla="*/ 561781 w 1439351"/>
                    <a:gd name="connsiteY5066" fmla="*/ 341484 h 1323458"/>
                    <a:gd name="connsiteX5067" fmla="*/ 561405 w 1439351"/>
                    <a:gd name="connsiteY5067" fmla="*/ 341241 h 1323458"/>
                    <a:gd name="connsiteX5068" fmla="*/ 562461 w 1439351"/>
                    <a:gd name="connsiteY5068" fmla="*/ 339043 h 1323458"/>
                    <a:gd name="connsiteX5069" fmla="*/ 561259 w 1439351"/>
                    <a:gd name="connsiteY5069" fmla="*/ 336444 h 1323458"/>
                    <a:gd name="connsiteX5070" fmla="*/ 560737 w 1439351"/>
                    <a:gd name="connsiteY5070" fmla="*/ 335315 h 1323458"/>
                    <a:gd name="connsiteX5071" fmla="*/ 558782 w 1439351"/>
                    <a:gd name="connsiteY5071" fmla="*/ 331053 h 1323458"/>
                    <a:gd name="connsiteX5072" fmla="*/ 554374 w 1439351"/>
                    <a:gd name="connsiteY5072" fmla="*/ 331830 h 1323458"/>
                    <a:gd name="connsiteX5073" fmla="*/ 554082 w 1439351"/>
                    <a:gd name="connsiteY5073" fmla="*/ 330215 h 1323458"/>
                    <a:gd name="connsiteX5074" fmla="*/ 553609 w 1439351"/>
                    <a:gd name="connsiteY5074" fmla="*/ 327677 h 1323458"/>
                    <a:gd name="connsiteX5075" fmla="*/ 551447 w 1439351"/>
                    <a:gd name="connsiteY5075" fmla="*/ 326256 h 1323458"/>
                    <a:gd name="connsiteX5076" fmla="*/ 550233 w 1439351"/>
                    <a:gd name="connsiteY5076" fmla="*/ 325455 h 1323458"/>
                    <a:gd name="connsiteX5077" fmla="*/ 548205 w 1439351"/>
                    <a:gd name="connsiteY5077" fmla="*/ 324119 h 1323458"/>
                    <a:gd name="connsiteX5078" fmla="*/ 545825 w 1439351"/>
                    <a:gd name="connsiteY5078" fmla="*/ 324544 h 1323458"/>
                    <a:gd name="connsiteX5079" fmla="*/ 544052 w 1439351"/>
                    <a:gd name="connsiteY5079" fmla="*/ 324860 h 1323458"/>
                    <a:gd name="connsiteX5080" fmla="*/ 544150 w 1439351"/>
                    <a:gd name="connsiteY5080" fmla="*/ 324508 h 1323458"/>
                    <a:gd name="connsiteX5081" fmla="*/ 544927 w 1439351"/>
                    <a:gd name="connsiteY5081" fmla="*/ 321606 h 1323458"/>
                    <a:gd name="connsiteX5082" fmla="*/ 543093 w 1439351"/>
                    <a:gd name="connsiteY5082" fmla="*/ 319226 h 1323458"/>
                    <a:gd name="connsiteX5083" fmla="*/ 541417 w 1439351"/>
                    <a:gd name="connsiteY5083" fmla="*/ 317052 h 1323458"/>
                    <a:gd name="connsiteX5084" fmla="*/ 540737 w 1439351"/>
                    <a:gd name="connsiteY5084" fmla="*/ 316166 h 1323458"/>
                    <a:gd name="connsiteX5085" fmla="*/ 539790 w 1439351"/>
                    <a:gd name="connsiteY5085" fmla="*/ 315583 h 1323458"/>
                    <a:gd name="connsiteX5086" fmla="*/ 536135 w 1439351"/>
                    <a:gd name="connsiteY5086" fmla="*/ 313336 h 1323458"/>
                    <a:gd name="connsiteX5087" fmla="*/ 535127 w 1439351"/>
                    <a:gd name="connsiteY5087" fmla="*/ 312705 h 1323458"/>
                    <a:gd name="connsiteX5088" fmla="*/ 533949 w 1439351"/>
                    <a:gd name="connsiteY5088" fmla="*/ 312511 h 1323458"/>
                    <a:gd name="connsiteX5089" fmla="*/ 524757 w 1439351"/>
                    <a:gd name="connsiteY5089" fmla="*/ 310993 h 1323458"/>
                    <a:gd name="connsiteX5090" fmla="*/ 524405 w 1439351"/>
                    <a:gd name="connsiteY5090" fmla="*/ 310932 h 1323458"/>
                    <a:gd name="connsiteX5091" fmla="*/ 524041 w 1439351"/>
                    <a:gd name="connsiteY5091" fmla="*/ 310920 h 1323458"/>
                    <a:gd name="connsiteX5092" fmla="*/ 520240 w 1439351"/>
                    <a:gd name="connsiteY5092" fmla="*/ 310750 h 1323458"/>
                    <a:gd name="connsiteX5093" fmla="*/ 518783 w 1439351"/>
                    <a:gd name="connsiteY5093" fmla="*/ 310689 h 1323458"/>
                    <a:gd name="connsiteX5094" fmla="*/ 517459 w 1439351"/>
                    <a:gd name="connsiteY5094" fmla="*/ 311284 h 1323458"/>
                    <a:gd name="connsiteX5095" fmla="*/ 514934 w 1439351"/>
                    <a:gd name="connsiteY5095" fmla="*/ 312426 h 1323458"/>
                    <a:gd name="connsiteX5096" fmla="*/ 511181 w 1439351"/>
                    <a:gd name="connsiteY5096" fmla="*/ 314126 h 1323458"/>
                    <a:gd name="connsiteX5097" fmla="*/ 511339 w 1439351"/>
                    <a:gd name="connsiteY5097" fmla="*/ 317599 h 1323458"/>
                    <a:gd name="connsiteX5098" fmla="*/ 511291 w 1439351"/>
                    <a:gd name="connsiteY5098" fmla="*/ 317611 h 1323458"/>
                    <a:gd name="connsiteX5099" fmla="*/ 500471 w 1439351"/>
                    <a:gd name="connsiteY5099" fmla="*/ 315352 h 1323458"/>
                    <a:gd name="connsiteX5100" fmla="*/ 498322 w 1439351"/>
                    <a:gd name="connsiteY5100" fmla="*/ 314903 h 1323458"/>
                    <a:gd name="connsiteX5101" fmla="*/ 496379 w 1439351"/>
                    <a:gd name="connsiteY5101" fmla="*/ 315935 h 1323458"/>
                    <a:gd name="connsiteX5102" fmla="*/ 493878 w 1439351"/>
                    <a:gd name="connsiteY5102" fmla="*/ 317259 h 1323458"/>
                    <a:gd name="connsiteX5103" fmla="*/ 493829 w 1439351"/>
                    <a:gd name="connsiteY5103" fmla="*/ 317149 h 1323458"/>
                    <a:gd name="connsiteX5104" fmla="*/ 493440 w 1439351"/>
                    <a:gd name="connsiteY5104" fmla="*/ 316311 h 1323458"/>
                    <a:gd name="connsiteX5105" fmla="*/ 492821 w 1439351"/>
                    <a:gd name="connsiteY5105" fmla="*/ 315631 h 1323458"/>
                    <a:gd name="connsiteX5106" fmla="*/ 491279 w 1439351"/>
                    <a:gd name="connsiteY5106" fmla="*/ 313919 h 1323458"/>
                    <a:gd name="connsiteX5107" fmla="*/ 489421 w 1439351"/>
                    <a:gd name="connsiteY5107" fmla="*/ 311867 h 1323458"/>
                    <a:gd name="connsiteX5108" fmla="*/ 486640 w 1439351"/>
                    <a:gd name="connsiteY5108" fmla="*/ 311928 h 1323458"/>
                    <a:gd name="connsiteX5109" fmla="*/ 479112 w 1439351"/>
                    <a:gd name="connsiteY5109" fmla="*/ 312098 h 1323458"/>
                    <a:gd name="connsiteX5110" fmla="*/ 478068 w 1439351"/>
                    <a:gd name="connsiteY5110" fmla="*/ 312122 h 1323458"/>
                    <a:gd name="connsiteX5111" fmla="*/ 477084 w 1439351"/>
                    <a:gd name="connsiteY5111" fmla="*/ 312499 h 1323458"/>
                    <a:gd name="connsiteX5112" fmla="*/ 466945 w 1439351"/>
                    <a:gd name="connsiteY5112" fmla="*/ 316348 h 1323458"/>
                    <a:gd name="connsiteX5113" fmla="*/ 464516 w 1439351"/>
                    <a:gd name="connsiteY5113" fmla="*/ 307714 h 1323458"/>
                    <a:gd name="connsiteX5114" fmla="*/ 464273 w 1439351"/>
                    <a:gd name="connsiteY5114" fmla="*/ 306840 h 1323458"/>
                    <a:gd name="connsiteX5115" fmla="*/ 463787 w 1439351"/>
                    <a:gd name="connsiteY5115" fmla="*/ 306087 h 1323458"/>
                    <a:gd name="connsiteX5116" fmla="*/ 462537 w 1439351"/>
                    <a:gd name="connsiteY5116" fmla="*/ 304132 h 1323458"/>
                    <a:gd name="connsiteX5117" fmla="*/ 462306 w 1439351"/>
                    <a:gd name="connsiteY5117" fmla="*/ 303877 h 1323458"/>
                    <a:gd name="connsiteX5118" fmla="*/ 462063 w 1439351"/>
                    <a:gd name="connsiteY5118" fmla="*/ 303585 h 1323458"/>
                    <a:gd name="connsiteX5119" fmla="*/ 460448 w 1439351"/>
                    <a:gd name="connsiteY5119" fmla="*/ 301643 h 1323458"/>
                    <a:gd name="connsiteX5120" fmla="*/ 460242 w 1439351"/>
                    <a:gd name="connsiteY5120" fmla="*/ 301388 h 1323458"/>
                    <a:gd name="connsiteX5121" fmla="*/ 459999 w 1439351"/>
                    <a:gd name="connsiteY5121" fmla="*/ 301157 h 1323458"/>
                    <a:gd name="connsiteX5122" fmla="*/ 457449 w 1439351"/>
                    <a:gd name="connsiteY5122" fmla="*/ 298692 h 1323458"/>
                    <a:gd name="connsiteX5123" fmla="*/ 456477 w 1439351"/>
                    <a:gd name="connsiteY5123" fmla="*/ 297380 h 1323458"/>
                    <a:gd name="connsiteX5124" fmla="*/ 456125 w 1439351"/>
                    <a:gd name="connsiteY5124" fmla="*/ 296907 h 1323458"/>
                    <a:gd name="connsiteX5125" fmla="*/ 455688 w 1439351"/>
                    <a:gd name="connsiteY5125" fmla="*/ 296506 h 1323458"/>
                    <a:gd name="connsiteX5126" fmla="*/ 454195 w 1439351"/>
                    <a:gd name="connsiteY5126" fmla="*/ 295134 h 1323458"/>
                    <a:gd name="connsiteX5127" fmla="*/ 452628 w 1439351"/>
                    <a:gd name="connsiteY5127" fmla="*/ 293701 h 1323458"/>
                    <a:gd name="connsiteX5128" fmla="*/ 450503 w 1439351"/>
                    <a:gd name="connsiteY5128" fmla="*/ 293556 h 1323458"/>
                    <a:gd name="connsiteX5129" fmla="*/ 448669 w 1439351"/>
                    <a:gd name="connsiteY5129" fmla="*/ 293434 h 1323458"/>
                    <a:gd name="connsiteX5130" fmla="*/ 446897 w 1439351"/>
                    <a:gd name="connsiteY5130" fmla="*/ 293313 h 1323458"/>
                    <a:gd name="connsiteX5131" fmla="*/ 445342 w 1439351"/>
                    <a:gd name="connsiteY5131" fmla="*/ 294175 h 1323458"/>
                    <a:gd name="connsiteX5132" fmla="*/ 444274 w 1439351"/>
                    <a:gd name="connsiteY5132" fmla="*/ 294758 h 1323458"/>
                    <a:gd name="connsiteX5133" fmla="*/ 443812 w 1439351"/>
                    <a:gd name="connsiteY5133" fmla="*/ 294879 h 1323458"/>
                    <a:gd name="connsiteX5134" fmla="*/ 441699 w 1439351"/>
                    <a:gd name="connsiteY5134" fmla="*/ 294709 h 1323458"/>
                    <a:gd name="connsiteX5135" fmla="*/ 438809 w 1439351"/>
                    <a:gd name="connsiteY5135" fmla="*/ 293774 h 1323458"/>
                    <a:gd name="connsiteX5136" fmla="*/ 416345 w 1439351"/>
                    <a:gd name="connsiteY5136" fmla="*/ 278304 h 1323458"/>
                    <a:gd name="connsiteX5137" fmla="*/ 414184 w 1439351"/>
                    <a:gd name="connsiteY5137" fmla="*/ 276215 h 1323458"/>
                    <a:gd name="connsiteX5138" fmla="*/ 413455 w 1439351"/>
                    <a:gd name="connsiteY5138" fmla="*/ 275195 h 1323458"/>
                    <a:gd name="connsiteX5139" fmla="*/ 413419 w 1439351"/>
                    <a:gd name="connsiteY5139" fmla="*/ 274965 h 1323458"/>
                    <a:gd name="connsiteX5140" fmla="*/ 413321 w 1439351"/>
                    <a:gd name="connsiteY5140" fmla="*/ 273192 h 1323458"/>
                    <a:gd name="connsiteX5141" fmla="*/ 413273 w 1439351"/>
                    <a:gd name="connsiteY5141" fmla="*/ 272281 h 1323458"/>
                    <a:gd name="connsiteX5142" fmla="*/ 412957 w 1439351"/>
                    <a:gd name="connsiteY5142" fmla="*/ 271419 h 1323458"/>
                    <a:gd name="connsiteX5143" fmla="*/ 412265 w 1439351"/>
                    <a:gd name="connsiteY5143" fmla="*/ 269549 h 1323458"/>
                    <a:gd name="connsiteX5144" fmla="*/ 411840 w 1439351"/>
                    <a:gd name="connsiteY5144" fmla="*/ 268395 h 1323458"/>
                    <a:gd name="connsiteX5145" fmla="*/ 411002 w 1439351"/>
                    <a:gd name="connsiteY5145" fmla="*/ 267497 h 1323458"/>
                    <a:gd name="connsiteX5146" fmla="*/ 409387 w 1439351"/>
                    <a:gd name="connsiteY5146" fmla="*/ 265772 h 1323458"/>
                    <a:gd name="connsiteX5147" fmla="*/ 408695 w 1439351"/>
                    <a:gd name="connsiteY5147" fmla="*/ 265044 h 1323458"/>
                    <a:gd name="connsiteX5148" fmla="*/ 407821 w 1439351"/>
                    <a:gd name="connsiteY5148" fmla="*/ 264570 h 1323458"/>
                    <a:gd name="connsiteX5149" fmla="*/ 393820 w 1439351"/>
                    <a:gd name="connsiteY5149" fmla="*/ 257102 h 1323458"/>
                    <a:gd name="connsiteX5150" fmla="*/ 393176 w 1439351"/>
                    <a:gd name="connsiteY5150" fmla="*/ 256762 h 1323458"/>
                    <a:gd name="connsiteX5151" fmla="*/ 392472 w 1439351"/>
                    <a:gd name="connsiteY5151" fmla="*/ 256580 h 1323458"/>
                    <a:gd name="connsiteX5152" fmla="*/ 390116 w 1439351"/>
                    <a:gd name="connsiteY5152" fmla="*/ 255973 h 1323458"/>
                    <a:gd name="connsiteX5153" fmla="*/ 388926 w 1439351"/>
                    <a:gd name="connsiteY5153" fmla="*/ 255669 h 1323458"/>
                    <a:gd name="connsiteX5154" fmla="*/ 387724 w 1439351"/>
                    <a:gd name="connsiteY5154" fmla="*/ 255852 h 1323458"/>
                    <a:gd name="connsiteX5155" fmla="*/ 386510 w 1439351"/>
                    <a:gd name="connsiteY5155" fmla="*/ 256034 h 1323458"/>
                    <a:gd name="connsiteX5156" fmla="*/ 385393 w 1439351"/>
                    <a:gd name="connsiteY5156" fmla="*/ 256192 h 1323458"/>
                    <a:gd name="connsiteX5157" fmla="*/ 384409 w 1439351"/>
                    <a:gd name="connsiteY5157" fmla="*/ 256738 h 1323458"/>
                    <a:gd name="connsiteX5158" fmla="*/ 380742 w 1439351"/>
                    <a:gd name="connsiteY5158" fmla="*/ 258790 h 1323458"/>
                    <a:gd name="connsiteX5159" fmla="*/ 369680 w 1439351"/>
                    <a:gd name="connsiteY5159" fmla="*/ 261656 h 1323458"/>
                    <a:gd name="connsiteX5160" fmla="*/ 368951 w 1439351"/>
                    <a:gd name="connsiteY5160" fmla="*/ 261838 h 1323458"/>
                    <a:gd name="connsiteX5161" fmla="*/ 368696 w 1439351"/>
                    <a:gd name="connsiteY5161" fmla="*/ 260126 h 1323458"/>
                    <a:gd name="connsiteX5162" fmla="*/ 368623 w 1439351"/>
                    <a:gd name="connsiteY5162" fmla="*/ 259604 h 1323458"/>
                    <a:gd name="connsiteX5163" fmla="*/ 368453 w 1439351"/>
                    <a:gd name="connsiteY5163" fmla="*/ 259094 h 1323458"/>
                    <a:gd name="connsiteX5164" fmla="*/ 367190 w 1439351"/>
                    <a:gd name="connsiteY5164" fmla="*/ 255305 h 1323458"/>
                    <a:gd name="connsiteX5165" fmla="*/ 366984 w 1439351"/>
                    <a:gd name="connsiteY5165" fmla="*/ 254698 h 1323458"/>
                    <a:gd name="connsiteX5166" fmla="*/ 366656 w 1439351"/>
                    <a:gd name="connsiteY5166" fmla="*/ 254140 h 1323458"/>
                    <a:gd name="connsiteX5167" fmla="*/ 364240 w 1439351"/>
                    <a:gd name="connsiteY5167" fmla="*/ 250060 h 1323458"/>
                    <a:gd name="connsiteX5168" fmla="*/ 363924 w 1439351"/>
                    <a:gd name="connsiteY5168" fmla="*/ 249525 h 1323458"/>
                    <a:gd name="connsiteX5169" fmla="*/ 363499 w 1439351"/>
                    <a:gd name="connsiteY5169" fmla="*/ 249064 h 1323458"/>
                    <a:gd name="connsiteX5170" fmla="*/ 360184 w 1439351"/>
                    <a:gd name="connsiteY5170" fmla="*/ 245421 h 1323458"/>
                    <a:gd name="connsiteX5171" fmla="*/ 359443 w 1439351"/>
                    <a:gd name="connsiteY5171" fmla="*/ 244607 h 1323458"/>
                    <a:gd name="connsiteX5172" fmla="*/ 358460 w 1439351"/>
                    <a:gd name="connsiteY5172" fmla="*/ 244109 h 1323458"/>
                    <a:gd name="connsiteX5173" fmla="*/ 338934 w 1439351"/>
                    <a:gd name="connsiteY5173" fmla="*/ 234092 h 1323458"/>
                    <a:gd name="connsiteX5174" fmla="*/ 339043 w 1439351"/>
                    <a:gd name="connsiteY5174" fmla="*/ 234128 h 1323458"/>
                    <a:gd name="connsiteX5175" fmla="*/ 340452 w 1439351"/>
                    <a:gd name="connsiteY5175" fmla="*/ 234529 h 1323458"/>
                    <a:gd name="connsiteX5176" fmla="*/ 341897 w 1439351"/>
                    <a:gd name="connsiteY5176" fmla="*/ 234237 h 1323458"/>
                    <a:gd name="connsiteX5177" fmla="*/ 343560 w 1439351"/>
                    <a:gd name="connsiteY5177" fmla="*/ 233897 h 1323458"/>
                    <a:gd name="connsiteX5178" fmla="*/ 346329 w 1439351"/>
                    <a:gd name="connsiteY5178" fmla="*/ 233339 h 1323458"/>
                    <a:gd name="connsiteX5179" fmla="*/ 347677 w 1439351"/>
                    <a:gd name="connsiteY5179" fmla="*/ 230861 h 1323458"/>
                    <a:gd name="connsiteX5180" fmla="*/ 348818 w 1439351"/>
                    <a:gd name="connsiteY5180" fmla="*/ 228773 h 1323458"/>
                    <a:gd name="connsiteX5181" fmla="*/ 349644 w 1439351"/>
                    <a:gd name="connsiteY5181" fmla="*/ 228834 h 1323458"/>
                    <a:gd name="connsiteX5182" fmla="*/ 351417 w 1439351"/>
                    <a:gd name="connsiteY5182" fmla="*/ 228967 h 1323458"/>
                    <a:gd name="connsiteX5183" fmla="*/ 352886 w 1439351"/>
                    <a:gd name="connsiteY5183" fmla="*/ 229076 h 1323458"/>
                    <a:gd name="connsiteX5184" fmla="*/ 354234 w 1439351"/>
                    <a:gd name="connsiteY5184" fmla="*/ 228506 h 1323458"/>
                    <a:gd name="connsiteX5185" fmla="*/ 356602 w 1439351"/>
                    <a:gd name="connsiteY5185" fmla="*/ 227510 h 1323458"/>
                    <a:gd name="connsiteX5186" fmla="*/ 357537 w 1439351"/>
                    <a:gd name="connsiteY5186" fmla="*/ 227121 h 1323458"/>
                    <a:gd name="connsiteX5187" fmla="*/ 358290 w 1439351"/>
                    <a:gd name="connsiteY5187" fmla="*/ 226454 h 1323458"/>
                    <a:gd name="connsiteX5188" fmla="*/ 367057 w 1439351"/>
                    <a:gd name="connsiteY5188" fmla="*/ 218646 h 1323458"/>
                    <a:gd name="connsiteX5189" fmla="*/ 367664 w 1439351"/>
                    <a:gd name="connsiteY5189" fmla="*/ 218099 h 1323458"/>
                    <a:gd name="connsiteX5190" fmla="*/ 368113 w 1439351"/>
                    <a:gd name="connsiteY5190" fmla="*/ 217407 h 1323458"/>
                    <a:gd name="connsiteX5191" fmla="*/ 369668 w 1439351"/>
                    <a:gd name="connsiteY5191" fmla="*/ 215015 h 1323458"/>
                    <a:gd name="connsiteX5192" fmla="*/ 370177 w 1439351"/>
                    <a:gd name="connsiteY5192" fmla="*/ 214226 h 1323458"/>
                    <a:gd name="connsiteX5193" fmla="*/ 370433 w 1439351"/>
                    <a:gd name="connsiteY5193" fmla="*/ 213315 h 1323458"/>
                    <a:gd name="connsiteX5194" fmla="*/ 371125 w 1439351"/>
                    <a:gd name="connsiteY5194" fmla="*/ 210765 h 1323458"/>
                    <a:gd name="connsiteX5195" fmla="*/ 371270 w 1439351"/>
                    <a:gd name="connsiteY5195" fmla="*/ 210255 h 1323458"/>
                    <a:gd name="connsiteX5196" fmla="*/ 371319 w 1439351"/>
                    <a:gd name="connsiteY5196" fmla="*/ 209721 h 1323458"/>
                    <a:gd name="connsiteX5197" fmla="*/ 371501 w 1439351"/>
                    <a:gd name="connsiteY5197" fmla="*/ 207741 h 1323458"/>
                    <a:gd name="connsiteX5198" fmla="*/ 371817 w 1439351"/>
                    <a:gd name="connsiteY5198" fmla="*/ 204159 h 1323458"/>
                    <a:gd name="connsiteX5199" fmla="*/ 368830 w 1439351"/>
                    <a:gd name="connsiteY5199" fmla="*/ 202156 h 1323458"/>
                    <a:gd name="connsiteX5200" fmla="*/ 366292 w 1439351"/>
                    <a:gd name="connsiteY5200" fmla="*/ 200444 h 1323458"/>
                    <a:gd name="connsiteX5201" fmla="*/ 365284 w 1439351"/>
                    <a:gd name="connsiteY5201" fmla="*/ 199764 h 1323458"/>
                    <a:gd name="connsiteX5202" fmla="*/ 364094 w 1439351"/>
                    <a:gd name="connsiteY5202" fmla="*/ 199533 h 1323458"/>
                    <a:gd name="connsiteX5203" fmla="*/ 350809 w 1439351"/>
                    <a:gd name="connsiteY5203" fmla="*/ 196898 h 1323458"/>
                    <a:gd name="connsiteX5204" fmla="*/ 346729 w 1439351"/>
                    <a:gd name="connsiteY5204" fmla="*/ 195343 h 1323458"/>
                    <a:gd name="connsiteX5205" fmla="*/ 317040 w 1439351"/>
                    <a:gd name="connsiteY5205" fmla="*/ 178586 h 1323458"/>
                    <a:gd name="connsiteX5206" fmla="*/ 307848 w 1439351"/>
                    <a:gd name="connsiteY5206" fmla="*/ 170645 h 1323458"/>
                    <a:gd name="connsiteX5207" fmla="*/ 301873 w 1439351"/>
                    <a:gd name="connsiteY5207" fmla="*/ 163031 h 1323458"/>
                    <a:gd name="connsiteX5208" fmla="*/ 298838 w 1439351"/>
                    <a:gd name="connsiteY5208" fmla="*/ 158089 h 1323458"/>
                    <a:gd name="connsiteX5209" fmla="*/ 294952 w 1439351"/>
                    <a:gd name="connsiteY5209" fmla="*/ 149917 h 1323458"/>
                    <a:gd name="connsiteX5210" fmla="*/ 294491 w 1439351"/>
                    <a:gd name="connsiteY5210" fmla="*/ 148957 h 1323458"/>
                    <a:gd name="connsiteX5211" fmla="*/ 293738 w 1439351"/>
                    <a:gd name="connsiteY5211" fmla="*/ 148204 h 1323458"/>
                    <a:gd name="connsiteX5212" fmla="*/ 286962 w 1439351"/>
                    <a:gd name="connsiteY5212" fmla="*/ 141490 h 1323458"/>
                    <a:gd name="connsiteX5213" fmla="*/ 286197 w 1439351"/>
                    <a:gd name="connsiteY5213" fmla="*/ 140712 h 1323458"/>
                    <a:gd name="connsiteX5214" fmla="*/ 285177 w 1439351"/>
                    <a:gd name="connsiteY5214" fmla="*/ 140251 h 1323458"/>
                    <a:gd name="connsiteX5215" fmla="*/ 267521 w 1439351"/>
                    <a:gd name="connsiteY5215" fmla="*/ 132443 h 1323458"/>
                    <a:gd name="connsiteX5216" fmla="*/ 265287 w 1439351"/>
                    <a:gd name="connsiteY5216" fmla="*/ 130670 h 1323458"/>
                    <a:gd name="connsiteX5217" fmla="*/ 264388 w 1439351"/>
                    <a:gd name="connsiteY5217" fmla="*/ 129334 h 1323458"/>
                    <a:gd name="connsiteX5218" fmla="*/ 259495 w 1439351"/>
                    <a:gd name="connsiteY5218" fmla="*/ 118454 h 1323458"/>
                    <a:gd name="connsiteX5219" fmla="*/ 259240 w 1439351"/>
                    <a:gd name="connsiteY5219" fmla="*/ 117896 h 1323458"/>
                    <a:gd name="connsiteX5220" fmla="*/ 258875 w 1439351"/>
                    <a:gd name="connsiteY5220" fmla="*/ 117386 h 1323458"/>
                    <a:gd name="connsiteX5221" fmla="*/ 251577 w 1439351"/>
                    <a:gd name="connsiteY5221" fmla="*/ 107283 h 1323458"/>
                    <a:gd name="connsiteX5222" fmla="*/ 251322 w 1439351"/>
                    <a:gd name="connsiteY5222" fmla="*/ 106943 h 1323458"/>
                    <a:gd name="connsiteX5223" fmla="*/ 251019 w 1439351"/>
                    <a:gd name="connsiteY5223" fmla="*/ 106639 h 1323458"/>
                    <a:gd name="connsiteX5224" fmla="*/ 240127 w 1439351"/>
                    <a:gd name="connsiteY5224" fmla="*/ 95322 h 1323458"/>
                    <a:gd name="connsiteX5225" fmla="*/ 239617 w 1439351"/>
                    <a:gd name="connsiteY5225" fmla="*/ 94788 h 1323458"/>
                    <a:gd name="connsiteX5226" fmla="*/ 238997 w 1439351"/>
                    <a:gd name="connsiteY5226" fmla="*/ 94399 h 1323458"/>
                    <a:gd name="connsiteX5227" fmla="*/ 236994 w 1439351"/>
                    <a:gd name="connsiteY5227" fmla="*/ 93136 h 1323458"/>
                    <a:gd name="connsiteX5228" fmla="*/ 236144 w 1439351"/>
                    <a:gd name="connsiteY5228" fmla="*/ 92602 h 1323458"/>
                    <a:gd name="connsiteX5229" fmla="*/ 235172 w 1439351"/>
                    <a:gd name="connsiteY5229" fmla="*/ 92359 h 1323458"/>
                    <a:gd name="connsiteX5230" fmla="*/ 233497 w 1439351"/>
                    <a:gd name="connsiteY5230" fmla="*/ 91958 h 1323458"/>
                    <a:gd name="connsiteX5231" fmla="*/ 232914 w 1439351"/>
                    <a:gd name="connsiteY5231" fmla="*/ 91825 h 1323458"/>
                    <a:gd name="connsiteX5232" fmla="*/ 232319 w 1439351"/>
                    <a:gd name="connsiteY5232" fmla="*/ 91801 h 1323458"/>
                    <a:gd name="connsiteX5233" fmla="*/ 229514 w 1439351"/>
                    <a:gd name="connsiteY5233" fmla="*/ 91691 h 1323458"/>
                    <a:gd name="connsiteX5234" fmla="*/ 228676 w 1439351"/>
                    <a:gd name="connsiteY5234" fmla="*/ 91655 h 1323458"/>
                    <a:gd name="connsiteX5235" fmla="*/ 227850 w 1439351"/>
                    <a:gd name="connsiteY5235" fmla="*/ 91861 h 1323458"/>
                    <a:gd name="connsiteX5236" fmla="*/ 224802 w 1439351"/>
                    <a:gd name="connsiteY5236" fmla="*/ 92602 h 1323458"/>
                    <a:gd name="connsiteX5237" fmla="*/ 223855 w 1439351"/>
                    <a:gd name="connsiteY5237" fmla="*/ 92833 h 1323458"/>
                    <a:gd name="connsiteX5238" fmla="*/ 223029 w 1439351"/>
                    <a:gd name="connsiteY5238" fmla="*/ 93343 h 1323458"/>
                    <a:gd name="connsiteX5239" fmla="*/ 221184 w 1439351"/>
                    <a:gd name="connsiteY5239" fmla="*/ 94496 h 1323458"/>
                    <a:gd name="connsiteX5240" fmla="*/ 220358 w 1439351"/>
                    <a:gd name="connsiteY5240" fmla="*/ 95006 h 1323458"/>
                    <a:gd name="connsiteX5241" fmla="*/ 219739 w 1439351"/>
                    <a:gd name="connsiteY5241" fmla="*/ 95759 h 1323458"/>
                    <a:gd name="connsiteX5242" fmla="*/ 218306 w 1439351"/>
                    <a:gd name="connsiteY5242" fmla="*/ 97484 h 1323458"/>
                    <a:gd name="connsiteX5243" fmla="*/ 217577 w 1439351"/>
                    <a:gd name="connsiteY5243" fmla="*/ 98346 h 1323458"/>
                    <a:gd name="connsiteX5244" fmla="*/ 217213 w 1439351"/>
                    <a:gd name="connsiteY5244" fmla="*/ 99414 h 1323458"/>
                    <a:gd name="connsiteX5245" fmla="*/ 216302 w 1439351"/>
                    <a:gd name="connsiteY5245" fmla="*/ 102110 h 1323458"/>
                    <a:gd name="connsiteX5246" fmla="*/ 215938 w 1439351"/>
                    <a:gd name="connsiteY5246" fmla="*/ 103178 h 1323458"/>
                    <a:gd name="connsiteX5247" fmla="*/ 215986 w 1439351"/>
                    <a:gd name="connsiteY5247" fmla="*/ 104320 h 1323458"/>
                    <a:gd name="connsiteX5248" fmla="*/ 216217 w 1439351"/>
                    <a:gd name="connsiteY5248" fmla="*/ 109554 h 1323458"/>
                    <a:gd name="connsiteX5249" fmla="*/ 216229 w 1439351"/>
                    <a:gd name="connsiteY5249" fmla="*/ 109930 h 1323458"/>
                    <a:gd name="connsiteX5250" fmla="*/ 216290 w 1439351"/>
                    <a:gd name="connsiteY5250" fmla="*/ 110306 h 1323458"/>
                    <a:gd name="connsiteX5251" fmla="*/ 217092 w 1439351"/>
                    <a:gd name="connsiteY5251" fmla="*/ 114981 h 1323458"/>
                    <a:gd name="connsiteX5252" fmla="*/ 217164 w 1439351"/>
                    <a:gd name="connsiteY5252" fmla="*/ 115419 h 1323458"/>
                    <a:gd name="connsiteX5253" fmla="*/ 217298 w 1439351"/>
                    <a:gd name="connsiteY5253" fmla="*/ 115831 h 1323458"/>
                    <a:gd name="connsiteX5254" fmla="*/ 222774 w 1439351"/>
                    <a:gd name="connsiteY5254" fmla="*/ 132698 h 1323458"/>
                    <a:gd name="connsiteX5255" fmla="*/ 223928 w 1439351"/>
                    <a:gd name="connsiteY5255" fmla="*/ 140275 h 1323458"/>
                    <a:gd name="connsiteX5256" fmla="*/ 222811 w 1439351"/>
                    <a:gd name="connsiteY5256" fmla="*/ 145946 h 1323458"/>
                    <a:gd name="connsiteX5257" fmla="*/ 218488 w 1439351"/>
                    <a:gd name="connsiteY5257" fmla="*/ 150366 h 1323458"/>
                    <a:gd name="connsiteX5258" fmla="*/ 212611 w 1439351"/>
                    <a:gd name="connsiteY5258" fmla="*/ 153122 h 1323458"/>
                    <a:gd name="connsiteX5259" fmla="*/ 210886 w 1439351"/>
                    <a:gd name="connsiteY5259" fmla="*/ 152612 h 1323458"/>
                    <a:gd name="connsiteX5260" fmla="*/ 210292 w 1439351"/>
                    <a:gd name="connsiteY5260" fmla="*/ 152357 h 1323458"/>
                    <a:gd name="connsiteX5261" fmla="*/ 204050 w 1439351"/>
                    <a:gd name="connsiteY5261" fmla="*/ 147804 h 1323458"/>
                    <a:gd name="connsiteX5262" fmla="*/ 203795 w 1439351"/>
                    <a:gd name="connsiteY5262" fmla="*/ 147622 h 1323458"/>
                    <a:gd name="connsiteX5263" fmla="*/ 203528 w 1439351"/>
                    <a:gd name="connsiteY5263" fmla="*/ 147464 h 1323458"/>
                    <a:gd name="connsiteX5264" fmla="*/ 192781 w 1439351"/>
                    <a:gd name="connsiteY5264" fmla="*/ 141210 h 1323458"/>
                    <a:gd name="connsiteX5265" fmla="*/ 192356 w 1439351"/>
                    <a:gd name="connsiteY5265" fmla="*/ 140955 h 1323458"/>
                    <a:gd name="connsiteX5266" fmla="*/ 191883 w 1439351"/>
                    <a:gd name="connsiteY5266" fmla="*/ 140773 h 1323458"/>
                    <a:gd name="connsiteX5267" fmla="*/ 188847 w 1439351"/>
                    <a:gd name="connsiteY5267" fmla="*/ 139620 h 1323458"/>
                    <a:gd name="connsiteX5268" fmla="*/ 187511 w 1439351"/>
                    <a:gd name="connsiteY5268" fmla="*/ 139109 h 1323458"/>
                    <a:gd name="connsiteX5269" fmla="*/ 186078 w 1439351"/>
                    <a:gd name="connsiteY5269" fmla="*/ 139255 h 1323458"/>
                    <a:gd name="connsiteX5270" fmla="*/ 183674 w 1439351"/>
                    <a:gd name="connsiteY5270" fmla="*/ 139498 h 1323458"/>
                    <a:gd name="connsiteX5271" fmla="*/ 181901 w 1439351"/>
                    <a:gd name="connsiteY5271" fmla="*/ 139680 h 1323458"/>
                    <a:gd name="connsiteX5272" fmla="*/ 180517 w 1439351"/>
                    <a:gd name="connsiteY5272" fmla="*/ 140785 h 1323458"/>
                    <a:gd name="connsiteX5273" fmla="*/ 175271 w 1439351"/>
                    <a:gd name="connsiteY5273" fmla="*/ 144938 h 1323458"/>
                    <a:gd name="connsiteX5274" fmla="*/ 163954 w 1439351"/>
                    <a:gd name="connsiteY5274" fmla="*/ 150487 h 1323458"/>
                    <a:gd name="connsiteX5275" fmla="*/ 158101 w 1439351"/>
                    <a:gd name="connsiteY5275" fmla="*/ 139522 h 1323458"/>
                    <a:gd name="connsiteX5276" fmla="*/ 156984 w 1439351"/>
                    <a:gd name="connsiteY5276" fmla="*/ 135236 h 1323458"/>
                    <a:gd name="connsiteX5277" fmla="*/ 155430 w 1439351"/>
                    <a:gd name="connsiteY5277" fmla="*/ 124926 h 1323458"/>
                    <a:gd name="connsiteX5278" fmla="*/ 155333 w 1439351"/>
                    <a:gd name="connsiteY5278" fmla="*/ 124295 h 1323458"/>
                    <a:gd name="connsiteX5279" fmla="*/ 155102 w 1439351"/>
                    <a:gd name="connsiteY5279" fmla="*/ 123700 h 1323458"/>
                    <a:gd name="connsiteX5280" fmla="*/ 152115 w 1439351"/>
                    <a:gd name="connsiteY5280" fmla="*/ 115771 h 1323458"/>
                    <a:gd name="connsiteX5281" fmla="*/ 151605 w 1439351"/>
                    <a:gd name="connsiteY5281" fmla="*/ 113257 h 1323458"/>
                    <a:gd name="connsiteX5282" fmla="*/ 151823 w 1439351"/>
                    <a:gd name="connsiteY5282" fmla="*/ 105376 h 1323458"/>
                    <a:gd name="connsiteX5283" fmla="*/ 151835 w 1439351"/>
                    <a:gd name="connsiteY5283" fmla="*/ 104939 h 1323458"/>
                    <a:gd name="connsiteX5284" fmla="*/ 151787 w 1439351"/>
                    <a:gd name="connsiteY5284" fmla="*/ 104502 h 1323458"/>
                    <a:gd name="connsiteX5285" fmla="*/ 150925 w 1439351"/>
                    <a:gd name="connsiteY5285" fmla="*/ 97168 h 1323458"/>
                    <a:gd name="connsiteX5286" fmla="*/ 151180 w 1439351"/>
                    <a:gd name="connsiteY5286" fmla="*/ 95711 h 1323458"/>
                    <a:gd name="connsiteX5287" fmla="*/ 158818 w 1439351"/>
                    <a:gd name="connsiteY5287" fmla="*/ 83968 h 1323458"/>
                    <a:gd name="connsiteX5288" fmla="*/ 159085 w 1439351"/>
                    <a:gd name="connsiteY5288" fmla="*/ 83543 h 1323458"/>
                    <a:gd name="connsiteX5289" fmla="*/ 159291 w 1439351"/>
                    <a:gd name="connsiteY5289" fmla="*/ 83082 h 1323458"/>
                    <a:gd name="connsiteX5290" fmla="*/ 167160 w 1439351"/>
                    <a:gd name="connsiteY5290" fmla="*/ 65135 h 1323458"/>
                    <a:gd name="connsiteX5291" fmla="*/ 172478 w 1439351"/>
                    <a:gd name="connsiteY5291" fmla="*/ 59306 h 1323458"/>
                    <a:gd name="connsiteX5292" fmla="*/ 181586 w 1439351"/>
                    <a:gd name="connsiteY5292" fmla="*/ 52907 h 1323458"/>
                    <a:gd name="connsiteX5293" fmla="*/ 181926 w 1439351"/>
                    <a:gd name="connsiteY5293" fmla="*/ 52664 h 1323458"/>
                    <a:gd name="connsiteX5294" fmla="*/ 182229 w 1439351"/>
                    <a:gd name="connsiteY5294" fmla="*/ 52385 h 1323458"/>
                    <a:gd name="connsiteX5295" fmla="*/ 185836 w 1439351"/>
                    <a:gd name="connsiteY5295" fmla="*/ 49033 h 1323458"/>
                    <a:gd name="connsiteX5296" fmla="*/ 186795 w 1439351"/>
                    <a:gd name="connsiteY5296" fmla="*/ 48147 h 1323458"/>
                    <a:gd name="connsiteX5297" fmla="*/ 187305 w 1439351"/>
                    <a:gd name="connsiteY5297" fmla="*/ 46945 h 1323458"/>
                    <a:gd name="connsiteX5298" fmla="*/ 188458 w 1439351"/>
                    <a:gd name="connsiteY5298" fmla="*/ 44212 h 1323458"/>
                    <a:gd name="connsiteX5299" fmla="*/ 190025 w 1439351"/>
                    <a:gd name="connsiteY5299" fmla="*/ 40497 h 1323458"/>
                    <a:gd name="connsiteX5300" fmla="*/ 187208 w 1439351"/>
                    <a:gd name="connsiteY5300" fmla="*/ 37619 h 1323458"/>
                    <a:gd name="connsiteX5301" fmla="*/ 183990 w 1439351"/>
                    <a:gd name="connsiteY5301" fmla="*/ 34328 h 1323458"/>
                    <a:gd name="connsiteX5302" fmla="*/ 183176 w 1439351"/>
                    <a:gd name="connsiteY5302" fmla="*/ 33502 h 1323458"/>
                    <a:gd name="connsiteX5303" fmla="*/ 182132 w 1439351"/>
                    <a:gd name="connsiteY5303" fmla="*/ 33029 h 1323458"/>
                    <a:gd name="connsiteX5304" fmla="*/ 160457 w 1439351"/>
                    <a:gd name="connsiteY5304" fmla="*/ 23314 h 1323458"/>
                    <a:gd name="connsiteX5305" fmla="*/ 149783 w 1439351"/>
                    <a:gd name="connsiteY5305" fmla="*/ 16903 h 1323458"/>
                    <a:gd name="connsiteX5306" fmla="*/ 133451 w 1439351"/>
                    <a:gd name="connsiteY5306" fmla="*/ 2963 h 1323458"/>
                    <a:gd name="connsiteX5307" fmla="*/ 132443 w 1439351"/>
                    <a:gd name="connsiteY5307" fmla="*/ 2113 h 1323458"/>
                    <a:gd name="connsiteX5308" fmla="*/ 131168 w 1439351"/>
                    <a:gd name="connsiteY5308" fmla="*/ 1749 h 1323458"/>
                    <a:gd name="connsiteX5309" fmla="*/ 126457 w 1439351"/>
                    <a:gd name="connsiteY5309" fmla="*/ 401 h 1323458"/>
                    <a:gd name="connsiteX5310" fmla="*/ 125740 w 1439351"/>
                    <a:gd name="connsiteY5310" fmla="*/ 194 h 1323458"/>
                    <a:gd name="connsiteX5311" fmla="*/ 124987 w 1439351"/>
                    <a:gd name="connsiteY5311" fmla="*/ 170 h 1323458"/>
                    <a:gd name="connsiteX5312" fmla="*/ 121721 w 1439351"/>
                    <a:gd name="connsiteY5312" fmla="*/ 61 h 1323458"/>
                    <a:gd name="connsiteX5313" fmla="*/ 119851 w 1439351"/>
                    <a:gd name="connsiteY5313" fmla="*/ 0 h 1323458"/>
                    <a:gd name="connsiteX5314" fmla="*/ 119851 w 1439351"/>
                    <a:gd name="connsiteY5314" fmla="*/ 0 h 1323458"/>
                    <a:gd name="connsiteX5315" fmla="*/ 449896 w 1439351"/>
                    <a:gd name="connsiteY5315" fmla="*/ 1050583 h 1323458"/>
                    <a:gd name="connsiteX5316" fmla="*/ 450017 w 1439351"/>
                    <a:gd name="connsiteY5316" fmla="*/ 1050558 h 1323458"/>
                    <a:gd name="connsiteX5317" fmla="*/ 451013 w 1439351"/>
                    <a:gd name="connsiteY5317" fmla="*/ 1051008 h 1323458"/>
                    <a:gd name="connsiteX5318" fmla="*/ 451074 w 1439351"/>
                    <a:gd name="connsiteY5318" fmla="*/ 1051032 h 1323458"/>
                    <a:gd name="connsiteX5319" fmla="*/ 448876 w 1439351"/>
                    <a:gd name="connsiteY5319" fmla="*/ 1053934 h 1323458"/>
                    <a:gd name="connsiteX5320" fmla="*/ 448439 w 1439351"/>
                    <a:gd name="connsiteY5320" fmla="*/ 1054505 h 1323458"/>
                    <a:gd name="connsiteX5321" fmla="*/ 448147 w 1439351"/>
                    <a:gd name="connsiteY5321" fmla="*/ 1055173 h 1323458"/>
                    <a:gd name="connsiteX5322" fmla="*/ 446022 w 1439351"/>
                    <a:gd name="connsiteY5322" fmla="*/ 1060042 h 1323458"/>
                    <a:gd name="connsiteX5323" fmla="*/ 445015 w 1439351"/>
                    <a:gd name="connsiteY5323" fmla="*/ 1061560 h 1323458"/>
                    <a:gd name="connsiteX5324" fmla="*/ 441080 w 1439351"/>
                    <a:gd name="connsiteY5324" fmla="*/ 1065106 h 1323458"/>
                    <a:gd name="connsiteX5325" fmla="*/ 441080 w 1439351"/>
                    <a:gd name="connsiteY5325" fmla="*/ 1065057 h 1323458"/>
                    <a:gd name="connsiteX5326" fmla="*/ 441080 w 1439351"/>
                    <a:gd name="connsiteY5326" fmla="*/ 1062811 h 1323458"/>
                    <a:gd name="connsiteX5327" fmla="*/ 441080 w 1439351"/>
                    <a:gd name="connsiteY5327" fmla="*/ 1062252 h 1323458"/>
                    <a:gd name="connsiteX5328" fmla="*/ 440983 w 1439351"/>
                    <a:gd name="connsiteY5328" fmla="*/ 1061706 h 1323458"/>
                    <a:gd name="connsiteX5329" fmla="*/ 440352 w 1439351"/>
                    <a:gd name="connsiteY5329" fmla="*/ 1058354 h 1323458"/>
                    <a:gd name="connsiteX5330" fmla="*/ 440352 w 1439351"/>
                    <a:gd name="connsiteY5330" fmla="*/ 1058330 h 1323458"/>
                    <a:gd name="connsiteX5331" fmla="*/ 440473 w 1439351"/>
                    <a:gd name="connsiteY5331" fmla="*/ 1058354 h 1323458"/>
                    <a:gd name="connsiteX5332" fmla="*/ 441979 w 1439351"/>
                    <a:gd name="connsiteY5332" fmla="*/ 1057856 h 1323458"/>
                    <a:gd name="connsiteX5333" fmla="*/ 443181 w 1439351"/>
                    <a:gd name="connsiteY5333" fmla="*/ 1057456 h 1323458"/>
                    <a:gd name="connsiteX5334" fmla="*/ 444225 w 1439351"/>
                    <a:gd name="connsiteY5334" fmla="*/ 1057116 h 1323458"/>
                    <a:gd name="connsiteX5335" fmla="*/ 445087 w 1439351"/>
                    <a:gd name="connsiteY5335" fmla="*/ 1056423 h 1323458"/>
                    <a:gd name="connsiteX5336" fmla="*/ 445949 w 1439351"/>
                    <a:gd name="connsiteY5336" fmla="*/ 1055731 h 1323458"/>
                    <a:gd name="connsiteX5337" fmla="*/ 446629 w 1439351"/>
                    <a:gd name="connsiteY5337" fmla="*/ 1055185 h 1323458"/>
                    <a:gd name="connsiteX5338" fmla="*/ 447140 w 1439351"/>
                    <a:gd name="connsiteY5338" fmla="*/ 1054456 h 1323458"/>
                    <a:gd name="connsiteX5339" fmla="*/ 447892 w 1439351"/>
                    <a:gd name="connsiteY5339" fmla="*/ 1053363 h 1323458"/>
                    <a:gd name="connsiteX5340" fmla="*/ 448123 w 1439351"/>
                    <a:gd name="connsiteY5340" fmla="*/ 1053023 h 1323458"/>
                    <a:gd name="connsiteX5341" fmla="*/ 448305 w 1439351"/>
                    <a:gd name="connsiteY5341" fmla="*/ 1052659 h 1323458"/>
                    <a:gd name="connsiteX5342" fmla="*/ 448924 w 1439351"/>
                    <a:gd name="connsiteY5342" fmla="*/ 1051433 h 1323458"/>
                    <a:gd name="connsiteX5343" fmla="*/ 449082 w 1439351"/>
                    <a:gd name="connsiteY5343" fmla="*/ 1051190 h 1323458"/>
                    <a:gd name="connsiteX5344" fmla="*/ 449398 w 1439351"/>
                    <a:gd name="connsiteY5344" fmla="*/ 1050886 h 1323458"/>
                    <a:gd name="connsiteX5345" fmla="*/ 449896 w 1439351"/>
                    <a:gd name="connsiteY5345" fmla="*/ 1050583 h 1323458"/>
                    <a:gd name="connsiteX5346" fmla="*/ 449896 w 1439351"/>
                    <a:gd name="connsiteY5346" fmla="*/ 1050583 h 1323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Lst>
                  <a:rect l="l" t="t" r="r" b="b"/>
                  <a:pathLst>
                    <a:path w="1439351" h="1323458">
                      <a:moveTo>
                        <a:pt x="121478" y="6132"/>
                      </a:moveTo>
                      <a:lnTo>
                        <a:pt x="124745" y="6241"/>
                      </a:lnTo>
                      <a:lnTo>
                        <a:pt x="129456" y="7589"/>
                      </a:lnTo>
                      <a:lnTo>
                        <a:pt x="146165" y="21857"/>
                      </a:lnTo>
                      <a:lnTo>
                        <a:pt x="157579" y="28718"/>
                      </a:lnTo>
                      <a:lnTo>
                        <a:pt x="179582" y="38578"/>
                      </a:lnTo>
                      <a:lnTo>
                        <a:pt x="182800" y="41869"/>
                      </a:lnTo>
                      <a:lnTo>
                        <a:pt x="181646" y="44601"/>
                      </a:lnTo>
                      <a:lnTo>
                        <a:pt x="178040" y="47952"/>
                      </a:lnTo>
                      <a:lnTo>
                        <a:pt x="168386" y="54740"/>
                      </a:lnTo>
                      <a:lnTo>
                        <a:pt x="161950" y="61808"/>
                      </a:lnTo>
                      <a:lnTo>
                        <a:pt x="153681" y="80666"/>
                      </a:lnTo>
                      <a:lnTo>
                        <a:pt x="145363" y="93440"/>
                      </a:lnTo>
                      <a:lnTo>
                        <a:pt x="144732" y="96998"/>
                      </a:lnTo>
                      <a:lnTo>
                        <a:pt x="145703" y="105231"/>
                      </a:lnTo>
                      <a:lnTo>
                        <a:pt x="145473" y="113816"/>
                      </a:lnTo>
                      <a:lnTo>
                        <a:pt x="146225" y="117471"/>
                      </a:lnTo>
                      <a:lnTo>
                        <a:pt x="149382" y="125849"/>
                      </a:lnTo>
                      <a:lnTo>
                        <a:pt x="150985" y="136474"/>
                      </a:lnTo>
                      <a:lnTo>
                        <a:pt x="152370" y="141757"/>
                      </a:lnTo>
                      <a:lnTo>
                        <a:pt x="161319" y="158526"/>
                      </a:lnTo>
                      <a:lnTo>
                        <a:pt x="178489" y="150111"/>
                      </a:lnTo>
                      <a:lnTo>
                        <a:pt x="184245" y="145557"/>
                      </a:lnTo>
                      <a:lnTo>
                        <a:pt x="186649" y="145314"/>
                      </a:lnTo>
                      <a:lnTo>
                        <a:pt x="189685" y="146468"/>
                      </a:lnTo>
                      <a:lnTo>
                        <a:pt x="200431" y="152722"/>
                      </a:lnTo>
                      <a:lnTo>
                        <a:pt x="207195" y="157664"/>
                      </a:lnTo>
                      <a:lnTo>
                        <a:pt x="208749" y="158356"/>
                      </a:lnTo>
                      <a:lnTo>
                        <a:pt x="213060" y="159619"/>
                      </a:lnTo>
                      <a:lnTo>
                        <a:pt x="222022" y="155430"/>
                      </a:lnTo>
                      <a:lnTo>
                        <a:pt x="228384" y="148933"/>
                      </a:lnTo>
                      <a:lnTo>
                        <a:pt x="230060" y="140445"/>
                      </a:lnTo>
                      <a:lnTo>
                        <a:pt x="228676" y="131338"/>
                      </a:lnTo>
                      <a:lnTo>
                        <a:pt x="223054" y="113998"/>
                      </a:lnTo>
                      <a:lnTo>
                        <a:pt x="222252" y="109323"/>
                      </a:lnTo>
                      <a:lnTo>
                        <a:pt x="222022" y="104089"/>
                      </a:lnTo>
                      <a:lnTo>
                        <a:pt x="222932" y="101394"/>
                      </a:lnTo>
                      <a:lnTo>
                        <a:pt x="224365" y="99669"/>
                      </a:lnTo>
                      <a:lnTo>
                        <a:pt x="226211" y="98516"/>
                      </a:lnTo>
                      <a:lnTo>
                        <a:pt x="229259" y="97775"/>
                      </a:lnTo>
                      <a:lnTo>
                        <a:pt x="232064" y="97884"/>
                      </a:lnTo>
                      <a:lnTo>
                        <a:pt x="233740" y="98285"/>
                      </a:lnTo>
                      <a:lnTo>
                        <a:pt x="235743" y="99548"/>
                      </a:lnTo>
                      <a:lnTo>
                        <a:pt x="246648" y="110865"/>
                      </a:lnTo>
                      <a:lnTo>
                        <a:pt x="253945" y="120968"/>
                      </a:lnTo>
                      <a:lnTo>
                        <a:pt x="259057" y="132309"/>
                      </a:lnTo>
                      <a:lnTo>
                        <a:pt x="260770" y="134847"/>
                      </a:lnTo>
                      <a:lnTo>
                        <a:pt x="264340" y="137689"/>
                      </a:lnTo>
                      <a:lnTo>
                        <a:pt x="282712" y="145812"/>
                      </a:lnTo>
                      <a:lnTo>
                        <a:pt x="289488" y="152527"/>
                      </a:lnTo>
                      <a:lnTo>
                        <a:pt x="293507" y="160991"/>
                      </a:lnTo>
                      <a:lnTo>
                        <a:pt x="296895" y="166504"/>
                      </a:lnTo>
                      <a:lnTo>
                        <a:pt x="303440" y="174858"/>
                      </a:lnTo>
                      <a:lnTo>
                        <a:pt x="313543" y="183589"/>
                      </a:lnTo>
                      <a:lnTo>
                        <a:pt x="344155" y="200868"/>
                      </a:lnTo>
                      <a:lnTo>
                        <a:pt x="349146" y="202763"/>
                      </a:lnTo>
                      <a:lnTo>
                        <a:pt x="362928" y="205495"/>
                      </a:lnTo>
                      <a:lnTo>
                        <a:pt x="365466" y="207195"/>
                      </a:lnTo>
                      <a:lnTo>
                        <a:pt x="365284" y="209174"/>
                      </a:lnTo>
                      <a:lnTo>
                        <a:pt x="364592" y="211724"/>
                      </a:lnTo>
                      <a:lnTo>
                        <a:pt x="363037" y="214116"/>
                      </a:lnTo>
                      <a:lnTo>
                        <a:pt x="354270" y="221924"/>
                      </a:lnTo>
                      <a:lnTo>
                        <a:pt x="351902" y="222920"/>
                      </a:lnTo>
                      <a:lnTo>
                        <a:pt x="350129" y="222786"/>
                      </a:lnTo>
                      <a:lnTo>
                        <a:pt x="348855" y="221888"/>
                      </a:lnTo>
                      <a:lnTo>
                        <a:pt x="347665" y="221439"/>
                      </a:lnTo>
                      <a:lnTo>
                        <a:pt x="346049" y="221973"/>
                      </a:lnTo>
                      <a:lnTo>
                        <a:pt x="344775" y="223552"/>
                      </a:lnTo>
                      <a:lnTo>
                        <a:pt x="342370" y="227947"/>
                      </a:lnTo>
                      <a:lnTo>
                        <a:pt x="340707" y="228287"/>
                      </a:lnTo>
                      <a:lnTo>
                        <a:pt x="338594" y="227692"/>
                      </a:lnTo>
                      <a:lnTo>
                        <a:pt x="336857" y="226539"/>
                      </a:lnTo>
                      <a:lnTo>
                        <a:pt x="335704" y="226004"/>
                      </a:lnTo>
                      <a:lnTo>
                        <a:pt x="334732" y="226308"/>
                      </a:lnTo>
                      <a:lnTo>
                        <a:pt x="333469" y="227316"/>
                      </a:lnTo>
                      <a:lnTo>
                        <a:pt x="330033" y="228056"/>
                      </a:lnTo>
                      <a:lnTo>
                        <a:pt x="329098" y="228870"/>
                      </a:lnTo>
                      <a:lnTo>
                        <a:pt x="328879" y="230072"/>
                      </a:lnTo>
                      <a:lnTo>
                        <a:pt x="329219" y="231287"/>
                      </a:lnTo>
                      <a:lnTo>
                        <a:pt x="329159" y="232634"/>
                      </a:lnTo>
                      <a:lnTo>
                        <a:pt x="327216" y="233630"/>
                      </a:lnTo>
                      <a:lnTo>
                        <a:pt x="326864" y="234092"/>
                      </a:lnTo>
                      <a:lnTo>
                        <a:pt x="328248" y="235439"/>
                      </a:lnTo>
                      <a:lnTo>
                        <a:pt x="355703" y="249513"/>
                      </a:lnTo>
                      <a:lnTo>
                        <a:pt x="359018" y="253156"/>
                      </a:lnTo>
                      <a:lnTo>
                        <a:pt x="361435" y="257236"/>
                      </a:lnTo>
                      <a:lnTo>
                        <a:pt x="362697" y="261025"/>
                      </a:lnTo>
                      <a:lnTo>
                        <a:pt x="364312" y="271905"/>
                      </a:lnTo>
                      <a:lnTo>
                        <a:pt x="371197" y="267533"/>
                      </a:lnTo>
                      <a:lnTo>
                        <a:pt x="383025" y="264473"/>
                      </a:lnTo>
                      <a:lnTo>
                        <a:pt x="387384" y="262032"/>
                      </a:lnTo>
                      <a:lnTo>
                        <a:pt x="388598" y="261850"/>
                      </a:lnTo>
                      <a:lnTo>
                        <a:pt x="390954" y="262457"/>
                      </a:lnTo>
                      <a:lnTo>
                        <a:pt x="404955" y="269925"/>
                      </a:lnTo>
                      <a:lnTo>
                        <a:pt x="406570" y="271650"/>
                      </a:lnTo>
                      <a:lnTo>
                        <a:pt x="407262" y="273520"/>
                      </a:lnTo>
                      <a:lnTo>
                        <a:pt x="407384" y="275632"/>
                      </a:lnTo>
                      <a:lnTo>
                        <a:pt x="407711" y="277563"/>
                      </a:lnTo>
                      <a:lnTo>
                        <a:pt x="409557" y="280174"/>
                      </a:lnTo>
                      <a:lnTo>
                        <a:pt x="412484" y="283015"/>
                      </a:lnTo>
                      <a:lnTo>
                        <a:pt x="436089" y="299275"/>
                      </a:lnTo>
                      <a:lnTo>
                        <a:pt x="440509" y="300708"/>
                      </a:lnTo>
                      <a:lnTo>
                        <a:pt x="444359" y="301011"/>
                      </a:lnTo>
                      <a:lnTo>
                        <a:pt x="446532" y="300441"/>
                      </a:lnTo>
                      <a:lnTo>
                        <a:pt x="448257" y="299493"/>
                      </a:lnTo>
                      <a:lnTo>
                        <a:pt x="450090" y="299615"/>
                      </a:lnTo>
                      <a:lnTo>
                        <a:pt x="451584" y="300987"/>
                      </a:lnTo>
                      <a:lnTo>
                        <a:pt x="452859" y="302711"/>
                      </a:lnTo>
                      <a:lnTo>
                        <a:pt x="455773" y="305528"/>
                      </a:lnTo>
                      <a:lnTo>
                        <a:pt x="457388" y="307471"/>
                      </a:lnTo>
                      <a:lnTo>
                        <a:pt x="458639" y="309426"/>
                      </a:lnTo>
                      <a:lnTo>
                        <a:pt x="461237" y="318667"/>
                      </a:lnTo>
                      <a:lnTo>
                        <a:pt x="463703" y="324131"/>
                      </a:lnTo>
                      <a:lnTo>
                        <a:pt x="479209" y="318242"/>
                      </a:lnTo>
                      <a:lnTo>
                        <a:pt x="486738" y="318072"/>
                      </a:lnTo>
                      <a:lnTo>
                        <a:pt x="488280" y="319772"/>
                      </a:lnTo>
                      <a:lnTo>
                        <a:pt x="489373" y="322116"/>
                      </a:lnTo>
                      <a:lnTo>
                        <a:pt x="490806" y="324241"/>
                      </a:lnTo>
                      <a:lnTo>
                        <a:pt x="493040" y="324241"/>
                      </a:lnTo>
                      <a:lnTo>
                        <a:pt x="495347" y="323391"/>
                      </a:lnTo>
                      <a:lnTo>
                        <a:pt x="499184" y="321351"/>
                      </a:lnTo>
                      <a:lnTo>
                        <a:pt x="511655" y="323961"/>
                      </a:lnTo>
                      <a:lnTo>
                        <a:pt x="516597" y="322237"/>
                      </a:lnTo>
                      <a:lnTo>
                        <a:pt x="517277" y="320707"/>
                      </a:lnTo>
                      <a:lnTo>
                        <a:pt x="517447" y="319274"/>
                      </a:lnTo>
                      <a:lnTo>
                        <a:pt x="517386" y="318011"/>
                      </a:lnTo>
                      <a:lnTo>
                        <a:pt x="519912" y="316870"/>
                      </a:lnTo>
                      <a:lnTo>
                        <a:pt x="523713" y="317040"/>
                      </a:lnTo>
                      <a:lnTo>
                        <a:pt x="532905" y="318558"/>
                      </a:lnTo>
                      <a:lnTo>
                        <a:pt x="536560" y="320804"/>
                      </a:lnTo>
                      <a:lnTo>
                        <a:pt x="538236" y="322978"/>
                      </a:lnTo>
                      <a:lnTo>
                        <a:pt x="537665" y="325103"/>
                      </a:lnTo>
                      <a:lnTo>
                        <a:pt x="535880" y="329231"/>
                      </a:lnTo>
                      <a:lnTo>
                        <a:pt x="535771" y="331271"/>
                      </a:lnTo>
                      <a:lnTo>
                        <a:pt x="536924" y="333056"/>
                      </a:lnTo>
                      <a:lnTo>
                        <a:pt x="538867" y="333263"/>
                      </a:lnTo>
                      <a:lnTo>
                        <a:pt x="544271" y="331016"/>
                      </a:lnTo>
                      <a:lnTo>
                        <a:pt x="546845" y="330555"/>
                      </a:lnTo>
                      <a:lnTo>
                        <a:pt x="548059" y="331356"/>
                      </a:lnTo>
                      <a:lnTo>
                        <a:pt x="548399" y="333202"/>
                      </a:lnTo>
                      <a:lnTo>
                        <a:pt x="547647" y="335607"/>
                      </a:lnTo>
                      <a:lnTo>
                        <a:pt x="547428" y="337792"/>
                      </a:lnTo>
                      <a:lnTo>
                        <a:pt x="548521" y="339286"/>
                      </a:lnTo>
                      <a:lnTo>
                        <a:pt x="550524" y="339116"/>
                      </a:lnTo>
                      <a:lnTo>
                        <a:pt x="552819" y="338290"/>
                      </a:lnTo>
                      <a:lnTo>
                        <a:pt x="555175" y="337877"/>
                      </a:lnTo>
                      <a:lnTo>
                        <a:pt x="555697" y="339007"/>
                      </a:lnTo>
                      <a:lnTo>
                        <a:pt x="554896" y="340670"/>
                      </a:lnTo>
                      <a:lnTo>
                        <a:pt x="554714" y="342856"/>
                      </a:lnTo>
                      <a:lnTo>
                        <a:pt x="555807" y="344908"/>
                      </a:lnTo>
                      <a:lnTo>
                        <a:pt x="559365" y="347215"/>
                      </a:lnTo>
                      <a:lnTo>
                        <a:pt x="562801" y="347932"/>
                      </a:lnTo>
                      <a:lnTo>
                        <a:pt x="565630" y="347786"/>
                      </a:lnTo>
                      <a:lnTo>
                        <a:pt x="568156" y="347009"/>
                      </a:lnTo>
                      <a:lnTo>
                        <a:pt x="570742" y="345746"/>
                      </a:lnTo>
                      <a:lnTo>
                        <a:pt x="573329" y="343973"/>
                      </a:lnTo>
                      <a:lnTo>
                        <a:pt x="578441" y="338509"/>
                      </a:lnTo>
                      <a:lnTo>
                        <a:pt x="580214" y="335509"/>
                      </a:lnTo>
                      <a:lnTo>
                        <a:pt x="581125" y="333202"/>
                      </a:lnTo>
                      <a:lnTo>
                        <a:pt x="581768" y="329984"/>
                      </a:lnTo>
                      <a:lnTo>
                        <a:pt x="583432" y="330300"/>
                      </a:lnTo>
                      <a:lnTo>
                        <a:pt x="589467" y="333724"/>
                      </a:lnTo>
                      <a:lnTo>
                        <a:pt x="595708" y="341727"/>
                      </a:lnTo>
                      <a:lnTo>
                        <a:pt x="598477" y="343767"/>
                      </a:lnTo>
                      <a:lnTo>
                        <a:pt x="602035" y="344969"/>
                      </a:lnTo>
                      <a:lnTo>
                        <a:pt x="608641" y="346062"/>
                      </a:lnTo>
                      <a:lnTo>
                        <a:pt x="611798" y="347956"/>
                      </a:lnTo>
                      <a:lnTo>
                        <a:pt x="612891" y="349279"/>
                      </a:lnTo>
                      <a:lnTo>
                        <a:pt x="614846" y="352558"/>
                      </a:lnTo>
                      <a:lnTo>
                        <a:pt x="616278" y="354039"/>
                      </a:lnTo>
                      <a:lnTo>
                        <a:pt x="617772" y="354768"/>
                      </a:lnTo>
                      <a:lnTo>
                        <a:pt x="621209" y="355569"/>
                      </a:lnTo>
                      <a:lnTo>
                        <a:pt x="622641" y="356723"/>
                      </a:lnTo>
                      <a:lnTo>
                        <a:pt x="627754" y="366826"/>
                      </a:lnTo>
                      <a:lnTo>
                        <a:pt x="629891" y="369376"/>
                      </a:lnTo>
                      <a:lnTo>
                        <a:pt x="633667" y="370870"/>
                      </a:lnTo>
                      <a:lnTo>
                        <a:pt x="637286" y="370384"/>
                      </a:lnTo>
                      <a:lnTo>
                        <a:pt x="640844" y="369437"/>
                      </a:lnTo>
                      <a:lnTo>
                        <a:pt x="644644" y="369607"/>
                      </a:lnTo>
                      <a:lnTo>
                        <a:pt x="648020" y="371562"/>
                      </a:lnTo>
                      <a:lnTo>
                        <a:pt x="655950" y="380718"/>
                      </a:lnTo>
                      <a:lnTo>
                        <a:pt x="659690" y="382636"/>
                      </a:lnTo>
                      <a:lnTo>
                        <a:pt x="660600" y="379940"/>
                      </a:lnTo>
                      <a:lnTo>
                        <a:pt x="658997" y="366996"/>
                      </a:lnTo>
                      <a:lnTo>
                        <a:pt x="659507" y="363487"/>
                      </a:lnTo>
                      <a:lnTo>
                        <a:pt x="661353" y="360706"/>
                      </a:lnTo>
                      <a:lnTo>
                        <a:pt x="665142" y="358702"/>
                      </a:lnTo>
                      <a:lnTo>
                        <a:pt x="668299" y="358787"/>
                      </a:lnTo>
                      <a:lnTo>
                        <a:pt x="672318" y="358897"/>
                      </a:lnTo>
                      <a:lnTo>
                        <a:pt x="672889" y="360099"/>
                      </a:lnTo>
                      <a:lnTo>
                        <a:pt x="672597" y="361884"/>
                      </a:lnTo>
                      <a:lnTo>
                        <a:pt x="672500" y="363778"/>
                      </a:lnTo>
                      <a:lnTo>
                        <a:pt x="673751" y="365417"/>
                      </a:lnTo>
                      <a:lnTo>
                        <a:pt x="677090" y="367057"/>
                      </a:lnTo>
                      <a:lnTo>
                        <a:pt x="680296" y="368113"/>
                      </a:lnTo>
                      <a:lnTo>
                        <a:pt x="687254" y="369327"/>
                      </a:lnTo>
                      <a:lnTo>
                        <a:pt x="689658" y="370955"/>
                      </a:lnTo>
                      <a:lnTo>
                        <a:pt x="693386" y="377767"/>
                      </a:lnTo>
                      <a:lnTo>
                        <a:pt x="695341" y="380110"/>
                      </a:lnTo>
                      <a:lnTo>
                        <a:pt x="698559" y="381604"/>
                      </a:lnTo>
                      <a:lnTo>
                        <a:pt x="704412" y="383183"/>
                      </a:lnTo>
                      <a:lnTo>
                        <a:pt x="707508" y="385162"/>
                      </a:lnTo>
                      <a:lnTo>
                        <a:pt x="714636" y="392351"/>
                      </a:lnTo>
                      <a:lnTo>
                        <a:pt x="717793" y="394184"/>
                      </a:lnTo>
                      <a:lnTo>
                        <a:pt x="721291" y="394815"/>
                      </a:lnTo>
                      <a:lnTo>
                        <a:pt x="728989" y="394840"/>
                      </a:lnTo>
                      <a:lnTo>
                        <a:pt x="731636" y="395969"/>
                      </a:lnTo>
                      <a:lnTo>
                        <a:pt x="733191" y="399005"/>
                      </a:lnTo>
                      <a:lnTo>
                        <a:pt x="733470" y="402077"/>
                      </a:lnTo>
                      <a:lnTo>
                        <a:pt x="734320" y="404918"/>
                      </a:lnTo>
                      <a:lnTo>
                        <a:pt x="737841" y="407359"/>
                      </a:lnTo>
                      <a:lnTo>
                        <a:pt x="740889" y="408306"/>
                      </a:lnTo>
                      <a:lnTo>
                        <a:pt x="744557" y="409035"/>
                      </a:lnTo>
                      <a:lnTo>
                        <a:pt x="748236" y="409120"/>
                      </a:lnTo>
                      <a:lnTo>
                        <a:pt x="751102" y="408160"/>
                      </a:lnTo>
                      <a:lnTo>
                        <a:pt x="753336" y="409375"/>
                      </a:lnTo>
                      <a:lnTo>
                        <a:pt x="753967" y="411548"/>
                      </a:lnTo>
                      <a:lnTo>
                        <a:pt x="754319" y="414086"/>
                      </a:lnTo>
                      <a:lnTo>
                        <a:pt x="755692" y="416284"/>
                      </a:lnTo>
                      <a:lnTo>
                        <a:pt x="764422" y="417899"/>
                      </a:lnTo>
                      <a:lnTo>
                        <a:pt x="783025" y="421311"/>
                      </a:lnTo>
                      <a:lnTo>
                        <a:pt x="787433" y="423521"/>
                      </a:lnTo>
                      <a:lnTo>
                        <a:pt x="791295" y="428269"/>
                      </a:lnTo>
                      <a:lnTo>
                        <a:pt x="795132" y="440351"/>
                      </a:lnTo>
                      <a:lnTo>
                        <a:pt x="797670" y="446010"/>
                      </a:lnTo>
                      <a:lnTo>
                        <a:pt x="808586" y="458032"/>
                      </a:lnTo>
                      <a:lnTo>
                        <a:pt x="811112" y="462925"/>
                      </a:lnTo>
                      <a:lnTo>
                        <a:pt x="808283" y="464042"/>
                      </a:lnTo>
                      <a:lnTo>
                        <a:pt x="807493" y="465706"/>
                      </a:lnTo>
                      <a:lnTo>
                        <a:pt x="808683" y="467260"/>
                      </a:lnTo>
                      <a:lnTo>
                        <a:pt x="811731" y="468001"/>
                      </a:lnTo>
                      <a:lnTo>
                        <a:pt x="811173" y="470867"/>
                      </a:lnTo>
                      <a:lnTo>
                        <a:pt x="813176" y="471790"/>
                      </a:lnTo>
                      <a:lnTo>
                        <a:pt x="816333" y="471304"/>
                      </a:lnTo>
                      <a:lnTo>
                        <a:pt x="819029" y="469980"/>
                      </a:lnTo>
                      <a:lnTo>
                        <a:pt x="820753" y="467600"/>
                      </a:lnTo>
                      <a:lnTo>
                        <a:pt x="821494" y="465099"/>
                      </a:lnTo>
                      <a:lnTo>
                        <a:pt x="822757" y="463229"/>
                      </a:lnTo>
                      <a:lnTo>
                        <a:pt x="825635" y="462864"/>
                      </a:lnTo>
                      <a:lnTo>
                        <a:pt x="829885" y="464297"/>
                      </a:lnTo>
                      <a:lnTo>
                        <a:pt x="833904" y="467090"/>
                      </a:lnTo>
                      <a:lnTo>
                        <a:pt x="837231" y="470587"/>
                      </a:lnTo>
                      <a:lnTo>
                        <a:pt x="839696" y="474315"/>
                      </a:lnTo>
                      <a:lnTo>
                        <a:pt x="840558" y="477218"/>
                      </a:lnTo>
                      <a:lnTo>
                        <a:pt x="840789" y="479342"/>
                      </a:lnTo>
                      <a:lnTo>
                        <a:pt x="841542" y="481237"/>
                      </a:lnTo>
                      <a:lnTo>
                        <a:pt x="844408" y="483447"/>
                      </a:lnTo>
                      <a:lnTo>
                        <a:pt x="861007" y="491631"/>
                      </a:lnTo>
                      <a:lnTo>
                        <a:pt x="864796" y="494205"/>
                      </a:lnTo>
                      <a:lnTo>
                        <a:pt x="867212" y="497946"/>
                      </a:lnTo>
                      <a:lnTo>
                        <a:pt x="867273" y="497970"/>
                      </a:lnTo>
                      <a:lnTo>
                        <a:pt x="870928" y="500726"/>
                      </a:lnTo>
                      <a:lnTo>
                        <a:pt x="880412" y="502827"/>
                      </a:lnTo>
                      <a:lnTo>
                        <a:pt x="884832" y="504369"/>
                      </a:lnTo>
                      <a:lnTo>
                        <a:pt x="888851" y="507563"/>
                      </a:lnTo>
                      <a:lnTo>
                        <a:pt x="896319" y="515225"/>
                      </a:lnTo>
                      <a:lnTo>
                        <a:pt x="905681" y="520434"/>
                      </a:lnTo>
                      <a:lnTo>
                        <a:pt x="910854" y="524162"/>
                      </a:lnTo>
                      <a:lnTo>
                        <a:pt x="916063" y="527137"/>
                      </a:lnTo>
                      <a:lnTo>
                        <a:pt x="921236" y="527526"/>
                      </a:lnTo>
                      <a:lnTo>
                        <a:pt x="925547" y="524672"/>
                      </a:lnTo>
                      <a:lnTo>
                        <a:pt x="933136" y="516123"/>
                      </a:lnTo>
                      <a:lnTo>
                        <a:pt x="938637" y="513768"/>
                      </a:lnTo>
                      <a:lnTo>
                        <a:pt x="948291" y="514678"/>
                      </a:lnTo>
                      <a:lnTo>
                        <a:pt x="952589" y="516063"/>
                      </a:lnTo>
                      <a:lnTo>
                        <a:pt x="952820" y="516148"/>
                      </a:lnTo>
                      <a:lnTo>
                        <a:pt x="956609" y="519220"/>
                      </a:lnTo>
                      <a:lnTo>
                        <a:pt x="960118" y="522802"/>
                      </a:lnTo>
                      <a:lnTo>
                        <a:pt x="963336" y="524587"/>
                      </a:lnTo>
                      <a:lnTo>
                        <a:pt x="971484" y="527683"/>
                      </a:lnTo>
                      <a:lnTo>
                        <a:pt x="993875" y="545461"/>
                      </a:lnTo>
                      <a:lnTo>
                        <a:pt x="1008410" y="552431"/>
                      </a:lnTo>
                      <a:lnTo>
                        <a:pt x="1018574" y="562339"/>
                      </a:lnTo>
                      <a:lnTo>
                        <a:pt x="1025799" y="564525"/>
                      </a:lnTo>
                      <a:lnTo>
                        <a:pt x="1041828" y="562740"/>
                      </a:lnTo>
                      <a:lnTo>
                        <a:pt x="1065482" y="556887"/>
                      </a:lnTo>
                      <a:lnTo>
                        <a:pt x="1069562" y="558442"/>
                      </a:lnTo>
                      <a:lnTo>
                        <a:pt x="1070655" y="558842"/>
                      </a:lnTo>
                      <a:lnTo>
                        <a:pt x="1073922" y="563918"/>
                      </a:lnTo>
                      <a:lnTo>
                        <a:pt x="1076168" y="571702"/>
                      </a:lnTo>
                      <a:lnTo>
                        <a:pt x="1077989" y="586832"/>
                      </a:lnTo>
                      <a:lnTo>
                        <a:pt x="1080005" y="594530"/>
                      </a:lnTo>
                      <a:lnTo>
                        <a:pt x="1084255" y="599205"/>
                      </a:lnTo>
                      <a:lnTo>
                        <a:pt x="1107521" y="600723"/>
                      </a:lnTo>
                      <a:lnTo>
                        <a:pt x="1112232" y="602168"/>
                      </a:lnTo>
                      <a:lnTo>
                        <a:pt x="1120842" y="606843"/>
                      </a:lnTo>
                      <a:lnTo>
                        <a:pt x="1132657" y="609661"/>
                      </a:lnTo>
                      <a:lnTo>
                        <a:pt x="1155644" y="609490"/>
                      </a:lnTo>
                      <a:lnTo>
                        <a:pt x="1162516" y="612126"/>
                      </a:lnTo>
                      <a:lnTo>
                        <a:pt x="1171830" y="619678"/>
                      </a:lnTo>
                      <a:lnTo>
                        <a:pt x="1174186" y="622204"/>
                      </a:lnTo>
                      <a:lnTo>
                        <a:pt x="1176311" y="626078"/>
                      </a:lnTo>
                      <a:lnTo>
                        <a:pt x="1177513" y="628919"/>
                      </a:lnTo>
                      <a:lnTo>
                        <a:pt x="1179407" y="630935"/>
                      </a:lnTo>
                      <a:lnTo>
                        <a:pt x="1183706" y="632368"/>
                      </a:lnTo>
                      <a:lnTo>
                        <a:pt x="1187907" y="632198"/>
                      </a:lnTo>
                      <a:lnTo>
                        <a:pt x="1191587" y="630218"/>
                      </a:lnTo>
                      <a:lnTo>
                        <a:pt x="1194683" y="627146"/>
                      </a:lnTo>
                      <a:lnTo>
                        <a:pt x="1198763" y="621342"/>
                      </a:lnTo>
                      <a:lnTo>
                        <a:pt x="1200014" y="618792"/>
                      </a:lnTo>
                      <a:lnTo>
                        <a:pt x="1200305" y="616351"/>
                      </a:lnTo>
                      <a:lnTo>
                        <a:pt x="1197439" y="612611"/>
                      </a:lnTo>
                      <a:lnTo>
                        <a:pt x="1197087" y="610292"/>
                      </a:lnTo>
                      <a:lnTo>
                        <a:pt x="1197500" y="607815"/>
                      </a:lnTo>
                      <a:lnTo>
                        <a:pt x="1198411" y="605835"/>
                      </a:lnTo>
                      <a:lnTo>
                        <a:pt x="1203292" y="604172"/>
                      </a:lnTo>
                      <a:lnTo>
                        <a:pt x="1220924" y="604318"/>
                      </a:lnTo>
                      <a:lnTo>
                        <a:pt x="1241482" y="606989"/>
                      </a:lnTo>
                      <a:lnTo>
                        <a:pt x="1255143" y="611895"/>
                      </a:lnTo>
                      <a:lnTo>
                        <a:pt x="1281165" y="625301"/>
                      </a:lnTo>
                      <a:lnTo>
                        <a:pt x="1289774" y="628312"/>
                      </a:lnTo>
                      <a:lnTo>
                        <a:pt x="1290746" y="629296"/>
                      </a:lnTo>
                      <a:lnTo>
                        <a:pt x="1290746" y="629320"/>
                      </a:lnTo>
                      <a:lnTo>
                        <a:pt x="1290357" y="630996"/>
                      </a:lnTo>
                      <a:lnTo>
                        <a:pt x="1289932" y="632028"/>
                      </a:lnTo>
                      <a:lnTo>
                        <a:pt x="1289774" y="632769"/>
                      </a:lnTo>
                      <a:lnTo>
                        <a:pt x="1289993" y="633254"/>
                      </a:lnTo>
                      <a:lnTo>
                        <a:pt x="1296380" y="632562"/>
                      </a:lnTo>
                      <a:lnTo>
                        <a:pt x="1297643" y="632951"/>
                      </a:lnTo>
                      <a:lnTo>
                        <a:pt x="1298153" y="633801"/>
                      </a:lnTo>
                      <a:lnTo>
                        <a:pt x="1298032" y="635865"/>
                      </a:lnTo>
                      <a:lnTo>
                        <a:pt x="1296538" y="641354"/>
                      </a:lnTo>
                      <a:lnTo>
                        <a:pt x="1296830" y="642653"/>
                      </a:lnTo>
                      <a:lnTo>
                        <a:pt x="1297813" y="644086"/>
                      </a:lnTo>
                      <a:lnTo>
                        <a:pt x="1300339" y="646381"/>
                      </a:lnTo>
                      <a:lnTo>
                        <a:pt x="1301893" y="647352"/>
                      </a:lnTo>
                      <a:lnTo>
                        <a:pt x="1304067" y="649077"/>
                      </a:lnTo>
                      <a:lnTo>
                        <a:pt x="1305099" y="650279"/>
                      </a:lnTo>
                      <a:lnTo>
                        <a:pt x="1307467" y="654298"/>
                      </a:lnTo>
                      <a:lnTo>
                        <a:pt x="1307467" y="657601"/>
                      </a:lnTo>
                      <a:lnTo>
                        <a:pt x="1306823" y="660964"/>
                      </a:lnTo>
                      <a:lnTo>
                        <a:pt x="1306702" y="666016"/>
                      </a:lnTo>
                      <a:lnTo>
                        <a:pt x="1307285" y="668117"/>
                      </a:lnTo>
                      <a:lnTo>
                        <a:pt x="1308547" y="670120"/>
                      </a:lnTo>
                      <a:lnTo>
                        <a:pt x="1313028" y="673374"/>
                      </a:lnTo>
                      <a:lnTo>
                        <a:pt x="1314461" y="675038"/>
                      </a:lnTo>
                      <a:lnTo>
                        <a:pt x="1316817" y="680806"/>
                      </a:lnTo>
                      <a:lnTo>
                        <a:pt x="1317970" y="682639"/>
                      </a:lnTo>
                      <a:lnTo>
                        <a:pt x="1321237" y="685165"/>
                      </a:lnTo>
                      <a:lnTo>
                        <a:pt x="1322682" y="687120"/>
                      </a:lnTo>
                      <a:lnTo>
                        <a:pt x="1323532" y="690253"/>
                      </a:lnTo>
                      <a:lnTo>
                        <a:pt x="1323714" y="693034"/>
                      </a:lnTo>
                      <a:lnTo>
                        <a:pt x="1323362" y="698753"/>
                      </a:lnTo>
                      <a:lnTo>
                        <a:pt x="1323362" y="699263"/>
                      </a:lnTo>
                      <a:lnTo>
                        <a:pt x="1329445" y="711528"/>
                      </a:lnTo>
                      <a:lnTo>
                        <a:pt x="1331510" y="714588"/>
                      </a:lnTo>
                      <a:lnTo>
                        <a:pt x="1334509" y="716312"/>
                      </a:lnTo>
                      <a:lnTo>
                        <a:pt x="1336743" y="717089"/>
                      </a:lnTo>
                      <a:lnTo>
                        <a:pt x="1339038" y="718303"/>
                      </a:lnTo>
                      <a:lnTo>
                        <a:pt x="1341224" y="720659"/>
                      </a:lnTo>
                      <a:lnTo>
                        <a:pt x="1346215" y="724120"/>
                      </a:lnTo>
                      <a:lnTo>
                        <a:pt x="1348048" y="724096"/>
                      </a:lnTo>
                      <a:lnTo>
                        <a:pt x="1349202" y="723294"/>
                      </a:lnTo>
                      <a:lnTo>
                        <a:pt x="1350526" y="722141"/>
                      </a:lnTo>
                      <a:lnTo>
                        <a:pt x="1351789" y="721315"/>
                      </a:lnTo>
                      <a:lnTo>
                        <a:pt x="1353513" y="720598"/>
                      </a:lnTo>
                      <a:lnTo>
                        <a:pt x="1355346" y="720222"/>
                      </a:lnTo>
                      <a:lnTo>
                        <a:pt x="1357289" y="720198"/>
                      </a:lnTo>
                      <a:lnTo>
                        <a:pt x="1358965" y="720453"/>
                      </a:lnTo>
                      <a:lnTo>
                        <a:pt x="1360689" y="721084"/>
                      </a:lnTo>
                      <a:lnTo>
                        <a:pt x="1362183" y="722408"/>
                      </a:lnTo>
                      <a:lnTo>
                        <a:pt x="1363434" y="724557"/>
                      </a:lnTo>
                      <a:lnTo>
                        <a:pt x="1364478" y="728758"/>
                      </a:lnTo>
                      <a:lnTo>
                        <a:pt x="1364709" y="732195"/>
                      </a:lnTo>
                      <a:lnTo>
                        <a:pt x="1364648" y="735146"/>
                      </a:lnTo>
                      <a:lnTo>
                        <a:pt x="1363324" y="745115"/>
                      </a:lnTo>
                      <a:lnTo>
                        <a:pt x="1363676" y="746876"/>
                      </a:lnTo>
                      <a:lnTo>
                        <a:pt x="1364478" y="748187"/>
                      </a:lnTo>
                      <a:lnTo>
                        <a:pt x="1366421" y="748758"/>
                      </a:lnTo>
                      <a:lnTo>
                        <a:pt x="1369809" y="748418"/>
                      </a:lnTo>
                      <a:lnTo>
                        <a:pt x="1371424" y="748478"/>
                      </a:lnTo>
                      <a:lnTo>
                        <a:pt x="1373366" y="749171"/>
                      </a:lnTo>
                      <a:lnTo>
                        <a:pt x="1375734" y="750749"/>
                      </a:lnTo>
                      <a:lnTo>
                        <a:pt x="1389796" y="764216"/>
                      </a:lnTo>
                      <a:lnTo>
                        <a:pt x="1391107" y="765843"/>
                      </a:lnTo>
                      <a:lnTo>
                        <a:pt x="1391921" y="767373"/>
                      </a:lnTo>
                      <a:lnTo>
                        <a:pt x="1392152" y="768866"/>
                      </a:lnTo>
                      <a:lnTo>
                        <a:pt x="1392091" y="769899"/>
                      </a:lnTo>
                      <a:lnTo>
                        <a:pt x="1390087" y="771417"/>
                      </a:lnTo>
                      <a:lnTo>
                        <a:pt x="1361321" y="771623"/>
                      </a:lnTo>
                      <a:lnTo>
                        <a:pt x="1354253" y="770530"/>
                      </a:lnTo>
                      <a:lnTo>
                        <a:pt x="1349202" y="768976"/>
                      </a:lnTo>
                      <a:lnTo>
                        <a:pt x="1347247" y="768939"/>
                      </a:lnTo>
                      <a:lnTo>
                        <a:pt x="1344150" y="769668"/>
                      </a:lnTo>
                      <a:lnTo>
                        <a:pt x="1338237" y="769546"/>
                      </a:lnTo>
                      <a:lnTo>
                        <a:pt x="1336865" y="769838"/>
                      </a:lnTo>
                      <a:lnTo>
                        <a:pt x="1335590" y="770749"/>
                      </a:lnTo>
                      <a:lnTo>
                        <a:pt x="1334436" y="772242"/>
                      </a:lnTo>
                      <a:lnTo>
                        <a:pt x="1333355" y="774889"/>
                      </a:lnTo>
                      <a:lnTo>
                        <a:pt x="1331692" y="781459"/>
                      </a:lnTo>
                      <a:lnTo>
                        <a:pt x="1330781" y="783474"/>
                      </a:lnTo>
                      <a:lnTo>
                        <a:pt x="1329567" y="785478"/>
                      </a:lnTo>
                      <a:lnTo>
                        <a:pt x="1328413" y="786887"/>
                      </a:lnTo>
                      <a:lnTo>
                        <a:pt x="1326798" y="787919"/>
                      </a:lnTo>
                      <a:lnTo>
                        <a:pt x="1324795" y="788672"/>
                      </a:lnTo>
                      <a:lnTo>
                        <a:pt x="1317218" y="790311"/>
                      </a:lnTo>
                      <a:lnTo>
                        <a:pt x="1316538" y="790675"/>
                      </a:lnTo>
                      <a:lnTo>
                        <a:pt x="1315955" y="791137"/>
                      </a:lnTo>
                      <a:lnTo>
                        <a:pt x="1315202" y="792084"/>
                      </a:lnTo>
                      <a:lnTo>
                        <a:pt x="1312919" y="795727"/>
                      </a:lnTo>
                      <a:lnTo>
                        <a:pt x="1312215" y="796370"/>
                      </a:lnTo>
                      <a:lnTo>
                        <a:pt x="1311425" y="796710"/>
                      </a:lnTo>
                      <a:lnTo>
                        <a:pt x="1310673" y="796480"/>
                      </a:lnTo>
                      <a:lnTo>
                        <a:pt x="1310090" y="795763"/>
                      </a:lnTo>
                      <a:lnTo>
                        <a:pt x="1309689" y="794415"/>
                      </a:lnTo>
                      <a:lnTo>
                        <a:pt x="1309349" y="792897"/>
                      </a:lnTo>
                      <a:lnTo>
                        <a:pt x="1309009" y="791598"/>
                      </a:lnTo>
                      <a:lnTo>
                        <a:pt x="1308499" y="790627"/>
                      </a:lnTo>
                      <a:lnTo>
                        <a:pt x="1307807" y="789934"/>
                      </a:lnTo>
                      <a:lnTo>
                        <a:pt x="1306884" y="789619"/>
                      </a:lnTo>
                      <a:lnTo>
                        <a:pt x="1305670" y="789789"/>
                      </a:lnTo>
                      <a:lnTo>
                        <a:pt x="1304358" y="790590"/>
                      </a:lnTo>
                      <a:lnTo>
                        <a:pt x="1303666" y="791890"/>
                      </a:lnTo>
                      <a:lnTo>
                        <a:pt x="1303265" y="793347"/>
                      </a:lnTo>
                      <a:lnTo>
                        <a:pt x="1303265" y="799697"/>
                      </a:lnTo>
                      <a:lnTo>
                        <a:pt x="1303205" y="799892"/>
                      </a:lnTo>
                      <a:lnTo>
                        <a:pt x="1302986" y="803025"/>
                      </a:lnTo>
                      <a:lnTo>
                        <a:pt x="1303265" y="805150"/>
                      </a:lnTo>
                      <a:lnTo>
                        <a:pt x="1304479" y="807044"/>
                      </a:lnTo>
                      <a:lnTo>
                        <a:pt x="1307285" y="808598"/>
                      </a:lnTo>
                      <a:lnTo>
                        <a:pt x="1309871" y="809193"/>
                      </a:lnTo>
                      <a:lnTo>
                        <a:pt x="1312457" y="809351"/>
                      </a:lnTo>
                      <a:lnTo>
                        <a:pt x="1314680" y="809084"/>
                      </a:lnTo>
                      <a:lnTo>
                        <a:pt x="1316538" y="808513"/>
                      </a:lnTo>
                      <a:lnTo>
                        <a:pt x="1317849" y="807760"/>
                      </a:lnTo>
                      <a:lnTo>
                        <a:pt x="1318662" y="807129"/>
                      </a:lnTo>
                      <a:lnTo>
                        <a:pt x="1319452" y="806242"/>
                      </a:lnTo>
                      <a:lnTo>
                        <a:pt x="1320253" y="805587"/>
                      </a:lnTo>
                      <a:lnTo>
                        <a:pt x="1321285" y="805259"/>
                      </a:lnTo>
                      <a:lnTo>
                        <a:pt x="1323192" y="806121"/>
                      </a:lnTo>
                      <a:lnTo>
                        <a:pt x="1325778" y="808052"/>
                      </a:lnTo>
                      <a:lnTo>
                        <a:pt x="1330939" y="812666"/>
                      </a:lnTo>
                      <a:lnTo>
                        <a:pt x="1334436" y="814791"/>
                      </a:lnTo>
                      <a:lnTo>
                        <a:pt x="1337715" y="816285"/>
                      </a:lnTo>
                      <a:lnTo>
                        <a:pt x="1351606" y="819187"/>
                      </a:lnTo>
                      <a:lnTo>
                        <a:pt x="1352821" y="819879"/>
                      </a:lnTo>
                      <a:lnTo>
                        <a:pt x="1353221" y="821118"/>
                      </a:lnTo>
                      <a:lnTo>
                        <a:pt x="1353161" y="823437"/>
                      </a:lnTo>
                      <a:lnTo>
                        <a:pt x="1351849" y="826461"/>
                      </a:lnTo>
                      <a:lnTo>
                        <a:pt x="1348862" y="830905"/>
                      </a:lnTo>
                      <a:lnTo>
                        <a:pt x="1348619" y="832508"/>
                      </a:lnTo>
                      <a:lnTo>
                        <a:pt x="1348923" y="834402"/>
                      </a:lnTo>
                      <a:lnTo>
                        <a:pt x="1350416" y="837559"/>
                      </a:lnTo>
                      <a:lnTo>
                        <a:pt x="1353391" y="841578"/>
                      </a:lnTo>
                      <a:lnTo>
                        <a:pt x="1353343" y="842586"/>
                      </a:lnTo>
                      <a:lnTo>
                        <a:pt x="1353100" y="843193"/>
                      </a:lnTo>
                      <a:lnTo>
                        <a:pt x="1349603" y="845258"/>
                      </a:lnTo>
                      <a:lnTo>
                        <a:pt x="1345644" y="844833"/>
                      </a:lnTo>
                      <a:lnTo>
                        <a:pt x="1344090" y="844371"/>
                      </a:lnTo>
                      <a:lnTo>
                        <a:pt x="1342195" y="844056"/>
                      </a:lnTo>
                      <a:lnTo>
                        <a:pt x="1340884" y="844116"/>
                      </a:lnTo>
                      <a:lnTo>
                        <a:pt x="1339609" y="844541"/>
                      </a:lnTo>
                      <a:lnTo>
                        <a:pt x="1338516" y="845258"/>
                      </a:lnTo>
                      <a:lnTo>
                        <a:pt x="1336282" y="847152"/>
                      </a:lnTo>
                      <a:lnTo>
                        <a:pt x="1335128" y="847832"/>
                      </a:lnTo>
                      <a:lnTo>
                        <a:pt x="1333355" y="848330"/>
                      </a:lnTo>
                      <a:lnTo>
                        <a:pt x="1322621" y="849192"/>
                      </a:lnTo>
                      <a:lnTo>
                        <a:pt x="1319743" y="849993"/>
                      </a:lnTo>
                      <a:lnTo>
                        <a:pt x="1318541" y="850601"/>
                      </a:lnTo>
                      <a:lnTo>
                        <a:pt x="1317849" y="851086"/>
                      </a:lnTo>
                      <a:lnTo>
                        <a:pt x="1316926" y="851985"/>
                      </a:lnTo>
                      <a:lnTo>
                        <a:pt x="1316137" y="853187"/>
                      </a:lnTo>
                      <a:lnTo>
                        <a:pt x="1315493" y="854705"/>
                      </a:lnTo>
                      <a:lnTo>
                        <a:pt x="1315384" y="856684"/>
                      </a:lnTo>
                      <a:lnTo>
                        <a:pt x="1316076" y="858518"/>
                      </a:lnTo>
                      <a:lnTo>
                        <a:pt x="1317910" y="860303"/>
                      </a:lnTo>
                      <a:lnTo>
                        <a:pt x="1322439" y="863460"/>
                      </a:lnTo>
                      <a:lnTo>
                        <a:pt x="1325487" y="867856"/>
                      </a:lnTo>
                      <a:lnTo>
                        <a:pt x="1330417" y="879598"/>
                      </a:lnTo>
                      <a:lnTo>
                        <a:pt x="1332093" y="880254"/>
                      </a:lnTo>
                      <a:lnTo>
                        <a:pt x="1334740" y="881978"/>
                      </a:lnTo>
                      <a:lnTo>
                        <a:pt x="1336343" y="882099"/>
                      </a:lnTo>
                      <a:lnTo>
                        <a:pt x="1338516" y="882962"/>
                      </a:lnTo>
                      <a:lnTo>
                        <a:pt x="1342596" y="885621"/>
                      </a:lnTo>
                      <a:lnTo>
                        <a:pt x="1344721" y="886204"/>
                      </a:lnTo>
                      <a:lnTo>
                        <a:pt x="1346506" y="887114"/>
                      </a:lnTo>
                      <a:lnTo>
                        <a:pt x="1348401" y="889324"/>
                      </a:lnTo>
                      <a:lnTo>
                        <a:pt x="1349894" y="891850"/>
                      </a:lnTo>
                      <a:lnTo>
                        <a:pt x="1351266" y="895821"/>
                      </a:lnTo>
                      <a:lnTo>
                        <a:pt x="1352991" y="896307"/>
                      </a:lnTo>
                      <a:lnTo>
                        <a:pt x="1355116" y="896416"/>
                      </a:lnTo>
                      <a:lnTo>
                        <a:pt x="1356901" y="897290"/>
                      </a:lnTo>
                      <a:lnTo>
                        <a:pt x="1357811" y="898978"/>
                      </a:lnTo>
                      <a:lnTo>
                        <a:pt x="1359487" y="905499"/>
                      </a:lnTo>
                      <a:lnTo>
                        <a:pt x="1360580" y="907672"/>
                      </a:lnTo>
                      <a:lnTo>
                        <a:pt x="1361491" y="909057"/>
                      </a:lnTo>
                      <a:lnTo>
                        <a:pt x="1363956" y="911668"/>
                      </a:lnTo>
                      <a:lnTo>
                        <a:pt x="1367344" y="914169"/>
                      </a:lnTo>
                      <a:lnTo>
                        <a:pt x="1370792" y="914995"/>
                      </a:lnTo>
                      <a:lnTo>
                        <a:pt x="1374241" y="914679"/>
                      </a:lnTo>
                      <a:lnTo>
                        <a:pt x="1380725" y="912700"/>
                      </a:lnTo>
                      <a:lnTo>
                        <a:pt x="1382959" y="912323"/>
                      </a:lnTo>
                      <a:lnTo>
                        <a:pt x="1388484" y="912348"/>
                      </a:lnTo>
                      <a:lnTo>
                        <a:pt x="1390318" y="913331"/>
                      </a:lnTo>
                      <a:lnTo>
                        <a:pt x="1392662" y="915687"/>
                      </a:lnTo>
                      <a:lnTo>
                        <a:pt x="1394677" y="918625"/>
                      </a:lnTo>
                      <a:lnTo>
                        <a:pt x="1395600" y="921260"/>
                      </a:lnTo>
                      <a:lnTo>
                        <a:pt x="1396985" y="922523"/>
                      </a:lnTo>
                      <a:lnTo>
                        <a:pt x="1403918" y="926457"/>
                      </a:lnTo>
                      <a:lnTo>
                        <a:pt x="1406456" y="927283"/>
                      </a:lnTo>
                      <a:lnTo>
                        <a:pt x="1412540" y="926919"/>
                      </a:lnTo>
                      <a:lnTo>
                        <a:pt x="1415697" y="927089"/>
                      </a:lnTo>
                      <a:lnTo>
                        <a:pt x="1417992" y="928024"/>
                      </a:lnTo>
                      <a:lnTo>
                        <a:pt x="1431835" y="940519"/>
                      </a:lnTo>
                      <a:lnTo>
                        <a:pt x="1432806" y="942158"/>
                      </a:lnTo>
                      <a:lnTo>
                        <a:pt x="1433146" y="943105"/>
                      </a:lnTo>
                      <a:lnTo>
                        <a:pt x="1432806" y="945716"/>
                      </a:lnTo>
                      <a:lnTo>
                        <a:pt x="1430681" y="948254"/>
                      </a:lnTo>
                      <a:lnTo>
                        <a:pt x="1430912" y="951120"/>
                      </a:lnTo>
                      <a:lnTo>
                        <a:pt x="1429358" y="952832"/>
                      </a:lnTo>
                      <a:lnTo>
                        <a:pt x="1428095" y="953500"/>
                      </a:lnTo>
                      <a:lnTo>
                        <a:pt x="1419947" y="959438"/>
                      </a:lnTo>
                      <a:lnTo>
                        <a:pt x="1418793" y="959899"/>
                      </a:lnTo>
                      <a:lnTo>
                        <a:pt x="1416607" y="960470"/>
                      </a:lnTo>
                      <a:lnTo>
                        <a:pt x="1411847" y="960701"/>
                      </a:lnTo>
                      <a:lnTo>
                        <a:pt x="1409552" y="960361"/>
                      </a:lnTo>
                      <a:lnTo>
                        <a:pt x="1408241" y="959839"/>
                      </a:lnTo>
                      <a:lnTo>
                        <a:pt x="1405302" y="958126"/>
                      </a:lnTo>
                      <a:lnTo>
                        <a:pt x="1400421" y="956779"/>
                      </a:lnTo>
                      <a:lnTo>
                        <a:pt x="1396924" y="954362"/>
                      </a:lnTo>
                      <a:lnTo>
                        <a:pt x="1391010" y="948618"/>
                      </a:lnTo>
                      <a:lnTo>
                        <a:pt x="1388193" y="947501"/>
                      </a:lnTo>
                      <a:lnTo>
                        <a:pt x="1385024" y="948388"/>
                      </a:lnTo>
                      <a:lnTo>
                        <a:pt x="1381988" y="949966"/>
                      </a:lnTo>
                      <a:lnTo>
                        <a:pt x="1379462" y="950792"/>
                      </a:lnTo>
                      <a:lnTo>
                        <a:pt x="1377289" y="952055"/>
                      </a:lnTo>
                      <a:lnTo>
                        <a:pt x="1376924" y="956572"/>
                      </a:lnTo>
                      <a:lnTo>
                        <a:pt x="1379171" y="962109"/>
                      </a:lnTo>
                      <a:lnTo>
                        <a:pt x="1379523" y="963287"/>
                      </a:lnTo>
                      <a:lnTo>
                        <a:pt x="1379754" y="964489"/>
                      </a:lnTo>
                      <a:lnTo>
                        <a:pt x="1379863" y="965704"/>
                      </a:lnTo>
                      <a:lnTo>
                        <a:pt x="1379814" y="966881"/>
                      </a:lnTo>
                      <a:lnTo>
                        <a:pt x="1379523" y="967853"/>
                      </a:lnTo>
                      <a:lnTo>
                        <a:pt x="1379061" y="968751"/>
                      </a:lnTo>
                      <a:lnTo>
                        <a:pt x="1377969" y="969662"/>
                      </a:lnTo>
                      <a:lnTo>
                        <a:pt x="1376305" y="970573"/>
                      </a:lnTo>
                      <a:lnTo>
                        <a:pt x="1372686" y="971787"/>
                      </a:lnTo>
                      <a:lnTo>
                        <a:pt x="1370039" y="972249"/>
                      </a:lnTo>
                      <a:lnTo>
                        <a:pt x="1366834" y="972188"/>
                      </a:lnTo>
                      <a:lnTo>
                        <a:pt x="1365279" y="971848"/>
                      </a:lnTo>
                      <a:lnTo>
                        <a:pt x="1364016" y="971386"/>
                      </a:lnTo>
                      <a:lnTo>
                        <a:pt x="1363106" y="970925"/>
                      </a:lnTo>
                      <a:lnTo>
                        <a:pt x="1361381" y="969832"/>
                      </a:lnTo>
                      <a:lnTo>
                        <a:pt x="1360689" y="969140"/>
                      </a:lnTo>
                      <a:lnTo>
                        <a:pt x="1359997" y="968363"/>
                      </a:lnTo>
                      <a:lnTo>
                        <a:pt x="1359426" y="967391"/>
                      </a:lnTo>
                      <a:lnTo>
                        <a:pt x="1358965" y="966335"/>
                      </a:lnTo>
                      <a:lnTo>
                        <a:pt x="1358564" y="965157"/>
                      </a:lnTo>
                      <a:lnTo>
                        <a:pt x="1358273" y="963894"/>
                      </a:lnTo>
                      <a:lnTo>
                        <a:pt x="1358212" y="962680"/>
                      </a:lnTo>
                      <a:lnTo>
                        <a:pt x="1358273" y="961599"/>
                      </a:lnTo>
                      <a:lnTo>
                        <a:pt x="1358455" y="960652"/>
                      </a:lnTo>
                      <a:lnTo>
                        <a:pt x="1358673" y="958782"/>
                      </a:lnTo>
                      <a:lnTo>
                        <a:pt x="1358625" y="956220"/>
                      </a:lnTo>
                      <a:lnTo>
                        <a:pt x="1358212" y="954896"/>
                      </a:lnTo>
                      <a:lnTo>
                        <a:pt x="1352019" y="951314"/>
                      </a:lnTo>
                      <a:lnTo>
                        <a:pt x="1345183" y="953269"/>
                      </a:lnTo>
                      <a:lnTo>
                        <a:pt x="1329166" y="965789"/>
                      </a:lnTo>
                      <a:lnTo>
                        <a:pt x="1318881" y="978903"/>
                      </a:lnTo>
                      <a:lnTo>
                        <a:pt x="1314862" y="982692"/>
                      </a:lnTo>
                      <a:lnTo>
                        <a:pt x="1302925" y="990706"/>
                      </a:lnTo>
                      <a:lnTo>
                        <a:pt x="1301079" y="992916"/>
                      </a:lnTo>
                      <a:lnTo>
                        <a:pt x="1300339" y="994664"/>
                      </a:lnTo>
                      <a:lnTo>
                        <a:pt x="1297060" y="997166"/>
                      </a:lnTo>
                      <a:lnTo>
                        <a:pt x="1291037" y="1000153"/>
                      </a:lnTo>
                      <a:lnTo>
                        <a:pt x="1284079" y="1002509"/>
                      </a:lnTo>
                      <a:lnTo>
                        <a:pt x="1282877" y="1003371"/>
                      </a:lnTo>
                      <a:lnTo>
                        <a:pt x="1281845" y="1005350"/>
                      </a:lnTo>
                      <a:lnTo>
                        <a:pt x="1281044" y="1007730"/>
                      </a:lnTo>
                      <a:lnTo>
                        <a:pt x="1276053" y="1011580"/>
                      </a:lnTo>
                      <a:lnTo>
                        <a:pt x="1256406" y="1022860"/>
                      </a:lnTo>
                      <a:lnTo>
                        <a:pt x="1230517" y="1037420"/>
                      </a:lnTo>
                      <a:lnTo>
                        <a:pt x="1227408" y="1039193"/>
                      </a:lnTo>
                      <a:lnTo>
                        <a:pt x="1221446" y="1043734"/>
                      </a:lnTo>
                      <a:lnTo>
                        <a:pt x="1218860" y="1045167"/>
                      </a:lnTo>
                      <a:lnTo>
                        <a:pt x="1208757" y="1049684"/>
                      </a:lnTo>
                      <a:lnTo>
                        <a:pt x="1202782" y="1053376"/>
                      </a:lnTo>
                      <a:lnTo>
                        <a:pt x="1200475" y="1055197"/>
                      </a:lnTo>
                      <a:lnTo>
                        <a:pt x="1197731" y="1057978"/>
                      </a:lnTo>
                      <a:lnTo>
                        <a:pt x="1195594" y="1060759"/>
                      </a:lnTo>
                      <a:lnTo>
                        <a:pt x="1194732" y="1062228"/>
                      </a:lnTo>
                      <a:lnTo>
                        <a:pt x="1194052" y="1063891"/>
                      </a:lnTo>
                      <a:lnTo>
                        <a:pt x="1193408" y="1066016"/>
                      </a:lnTo>
                      <a:lnTo>
                        <a:pt x="1192558" y="1071384"/>
                      </a:lnTo>
                      <a:lnTo>
                        <a:pt x="1191744" y="1082579"/>
                      </a:lnTo>
                      <a:lnTo>
                        <a:pt x="1191283" y="1084704"/>
                      </a:lnTo>
                      <a:lnTo>
                        <a:pt x="1191344" y="1086914"/>
                      </a:lnTo>
                      <a:lnTo>
                        <a:pt x="1191975" y="1088809"/>
                      </a:lnTo>
                      <a:lnTo>
                        <a:pt x="1194052" y="1092804"/>
                      </a:lnTo>
                      <a:lnTo>
                        <a:pt x="1198241" y="1098693"/>
                      </a:lnTo>
                      <a:lnTo>
                        <a:pt x="1198933" y="1100320"/>
                      </a:lnTo>
                      <a:lnTo>
                        <a:pt x="1199042" y="1100806"/>
                      </a:lnTo>
                      <a:lnTo>
                        <a:pt x="1199504" y="1106732"/>
                      </a:lnTo>
                      <a:lnTo>
                        <a:pt x="1199322" y="1114200"/>
                      </a:lnTo>
                      <a:lnTo>
                        <a:pt x="1198872" y="1117466"/>
                      </a:lnTo>
                      <a:lnTo>
                        <a:pt x="1198132" y="1119773"/>
                      </a:lnTo>
                      <a:lnTo>
                        <a:pt x="1197439" y="1121000"/>
                      </a:lnTo>
                      <a:lnTo>
                        <a:pt x="1196857" y="1122833"/>
                      </a:lnTo>
                      <a:lnTo>
                        <a:pt x="1197270" y="1125420"/>
                      </a:lnTo>
                      <a:lnTo>
                        <a:pt x="1198290" y="1127775"/>
                      </a:lnTo>
                      <a:lnTo>
                        <a:pt x="1202370" y="1131673"/>
                      </a:lnTo>
                      <a:lnTo>
                        <a:pt x="1204215" y="1132256"/>
                      </a:lnTo>
                      <a:lnTo>
                        <a:pt x="1205405" y="1132972"/>
                      </a:lnTo>
                      <a:lnTo>
                        <a:pt x="1206510" y="1134065"/>
                      </a:lnTo>
                      <a:lnTo>
                        <a:pt x="1210250" y="1139918"/>
                      </a:lnTo>
                      <a:lnTo>
                        <a:pt x="1211853" y="1141861"/>
                      </a:lnTo>
                      <a:lnTo>
                        <a:pt x="1214087" y="1143683"/>
                      </a:lnTo>
                      <a:lnTo>
                        <a:pt x="1216553" y="1145200"/>
                      </a:lnTo>
                      <a:lnTo>
                        <a:pt x="1219200" y="1146293"/>
                      </a:lnTo>
                      <a:lnTo>
                        <a:pt x="1226146" y="1147957"/>
                      </a:lnTo>
                      <a:lnTo>
                        <a:pt x="1227870" y="1149280"/>
                      </a:lnTo>
                      <a:lnTo>
                        <a:pt x="1228902" y="1151090"/>
                      </a:lnTo>
                      <a:lnTo>
                        <a:pt x="1230116" y="1155073"/>
                      </a:lnTo>
                      <a:lnTo>
                        <a:pt x="1230456" y="1157574"/>
                      </a:lnTo>
                      <a:lnTo>
                        <a:pt x="1230274" y="1159614"/>
                      </a:lnTo>
                      <a:lnTo>
                        <a:pt x="1226777" y="1165212"/>
                      </a:lnTo>
                      <a:lnTo>
                        <a:pt x="1226558" y="1166815"/>
                      </a:lnTo>
                      <a:lnTo>
                        <a:pt x="1226838" y="1168199"/>
                      </a:lnTo>
                      <a:lnTo>
                        <a:pt x="1228841" y="1172595"/>
                      </a:lnTo>
                      <a:lnTo>
                        <a:pt x="1229242" y="1174477"/>
                      </a:lnTo>
                      <a:lnTo>
                        <a:pt x="1228671" y="1177076"/>
                      </a:lnTo>
                      <a:lnTo>
                        <a:pt x="1228270" y="1181726"/>
                      </a:lnTo>
                      <a:lnTo>
                        <a:pt x="1229181" y="1188502"/>
                      </a:lnTo>
                      <a:lnTo>
                        <a:pt x="1228841" y="1194246"/>
                      </a:lnTo>
                      <a:lnTo>
                        <a:pt x="1212825" y="1195982"/>
                      </a:lnTo>
                      <a:lnTo>
                        <a:pt x="1209728" y="1197743"/>
                      </a:lnTo>
                      <a:lnTo>
                        <a:pt x="1207020" y="1199613"/>
                      </a:lnTo>
                      <a:lnTo>
                        <a:pt x="1206049" y="1200499"/>
                      </a:lnTo>
                      <a:lnTo>
                        <a:pt x="1205405" y="1201495"/>
                      </a:lnTo>
                      <a:lnTo>
                        <a:pt x="1204956" y="1202588"/>
                      </a:lnTo>
                      <a:lnTo>
                        <a:pt x="1204725" y="1203851"/>
                      </a:lnTo>
                      <a:lnTo>
                        <a:pt x="1204665" y="1205272"/>
                      </a:lnTo>
                      <a:lnTo>
                        <a:pt x="1204847" y="1206753"/>
                      </a:lnTo>
                      <a:lnTo>
                        <a:pt x="1205357" y="1208684"/>
                      </a:lnTo>
                      <a:lnTo>
                        <a:pt x="1207372" y="1213529"/>
                      </a:lnTo>
                      <a:lnTo>
                        <a:pt x="1208575" y="1215630"/>
                      </a:lnTo>
                      <a:lnTo>
                        <a:pt x="1209838" y="1217354"/>
                      </a:lnTo>
                      <a:lnTo>
                        <a:pt x="1212533" y="1220462"/>
                      </a:lnTo>
                      <a:lnTo>
                        <a:pt x="1214901" y="1223959"/>
                      </a:lnTo>
                      <a:lnTo>
                        <a:pt x="1215581" y="1225793"/>
                      </a:lnTo>
                      <a:lnTo>
                        <a:pt x="1215873" y="1227712"/>
                      </a:lnTo>
                      <a:lnTo>
                        <a:pt x="1215411" y="1229266"/>
                      </a:lnTo>
                      <a:lnTo>
                        <a:pt x="1214549" y="1230820"/>
                      </a:lnTo>
                      <a:lnTo>
                        <a:pt x="1209607" y="1237183"/>
                      </a:lnTo>
                      <a:lnTo>
                        <a:pt x="1208818" y="1238883"/>
                      </a:lnTo>
                      <a:lnTo>
                        <a:pt x="1208635" y="1240607"/>
                      </a:lnTo>
                      <a:lnTo>
                        <a:pt x="1208696" y="1242162"/>
                      </a:lnTo>
                      <a:lnTo>
                        <a:pt x="1208635" y="1244590"/>
                      </a:lnTo>
                      <a:lnTo>
                        <a:pt x="1208004" y="1246315"/>
                      </a:lnTo>
                      <a:lnTo>
                        <a:pt x="1207202" y="1247784"/>
                      </a:lnTo>
                      <a:lnTo>
                        <a:pt x="1202090" y="1253443"/>
                      </a:lnTo>
                      <a:lnTo>
                        <a:pt x="1199504" y="1257717"/>
                      </a:lnTo>
                      <a:lnTo>
                        <a:pt x="1198290" y="1260158"/>
                      </a:lnTo>
                      <a:lnTo>
                        <a:pt x="1193930" y="1271730"/>
                      </a:lnTo>
                      <a:lnTo>
                        <a:pt x="1191915" y="1274863"/>
                      </a:lnTo>
                      <a:lnTo>
                        <a:pt x="1189802" y="1280995"/>
                      </a:lnTo>
                      <a:lnTo>
                        <a:pt x="1188818" y="1282841"/>
                      </a:lnTo>
                      <a:lnTo>
                        <a:pt x="1187324" y="1284164"/>
                      </a:lnTo>
                      <a:lnTo>
                        <a:pt x="1181180" y="1287831"/>
                      </a:lnTo>
                      <a:lnTo>
                        <a:pt x="1179468" y="1290102"/>
                      </a:lnTo>
                      <a:lnTo>
                        <a:pt x="1178545" y="1292749"/>
                      </a:lnTo>
                      <a:lnTo>
                        <a:pt x="1178205" y="1298457"/>
                      </a:lnTo>
                      <a:lnTo>
                        <a:pt x="1177974" y="1299586"/>
                      </a:lnTo>
                      <a:lnTo>
                        <a:pt x="1177404" y="1300788"/>
                      </a:lnTo>
                      <a:lnTo>
                        <a:pt x="1173445" y="1307272"/>
                      </a:lnTo>
                      <a:lnTo>
                        <a:pt x="1172231" y="1308681"/>
                      </a:lnTo>
                      <a:lnTo>
                        <a:pt x="1171016" y="1309713"/>
                      </a:lnTo>
                      <a:lnTo>
                        <a:pt x="1169414" y="1310685"/>
                      </a:lnTo>
                      <a:lnTo>
                        <a:pt x="1165164" y="1312214"/>
                      </a:lnTo>
                      <a:lnTo>
                        <a:pt x="1159991" y="1313307"/>
                      </a:lnTo>
                      <a:lnTo>
                        <a:pt x="1158109" y="1313939"/>
                      </a:lnTo>
                      <a:lnTo>
                        <a:pt x="1152535" y="1316428"/>
                      </a:lnTo>
                      <a:lnTo>
                        <a:pt x="1150228" y="1316999"/>
                      </a:lnTo>
                      <a:lnTo>
                        <a:pt x="1147362" y="1317242"/>
                      </a:lnTo>
                      <a:lnTo>
                        <a:pt x="1138522" y="1316064"/>
                      </a:lnTo>
                      <a:lnTo>
                        <a:pt x="1131686" y="1315918"/>
                      </a:lnTo>
                      <a:lnTo>
                        <a:pt x="1126124" y="1316719"/>
                      </a:lnTo>
                      <a:lnTo>
                        <a:pt x="1124048" y="1316659"/>
                      </a:lnTo>
                      <a:lnTo>
                        <a:pt x="1118838" y="1315420"/>
                      </a:lnTo>
                      <a:lnTo>
                        <a:pt x="1114285" y="1313332"/>
                      </a:lnTo>
                      <a:lnTo>
                        <a:pt x="1110836" y="1311061"/>
                      </a:lnTo>
                      <a:lnTo>
                        <a:pt x="1100624" y="1301650"/>
                      </a:lnTo>
                      <a:lnTo>
                        <a:pt x="1093399" y="1299841"/>
                      </a:lnTo>
                      <a:lnTo>
                        <a:pt x="1087534" y="1291365"/>
                      </a:lnTo>
                      <a:lnTo>
                        <a:pt x="1083684" y="1288014"/>
                      </a:lnTo>
                      <a:lnTo>
                        <a:pt x="1082191" y="1287285"/>
                      </a:lnTo>
                      <a:lnTo>
                        <a:pt x="1080928" y="1286483"/>
                      </a:lnTo>
                      <a:lnTo>
                        <a:pt x="1080588" y="1285160"/>
                      </a:lnTo>
                      <a:lnTo>
                        <a:pt x="1080977" y="1283241"/>
                      </a:lnTo>
                      <a:lnTo>
                        <a:pt x="1081730" y="1280922"/>
                      </a:lnTo>
                      <a:lnTo>
                        <a:pt x="1081730" y="1278214"/>
                      </a:lnTo>
                      <a:lnTo>
                        <a:pt x="1081219" y="1276721"/>
                      </a:lnTo>
                      <a:lnTo>
                        <a:pt x="1080187" y="1275555"/>
                      </a:lnTo>
                      <a:lnTo>
                        <a:pt x="1077832" y="1274001"/>
                      </a:lnTo>
                      <a:lnTo>
                        <a:pt x="1074492" y="1271353"/>
                      </a:lnTo>
                      <a:lnTo>
                        <a:pt x="1072027" y="1268621"/>
                      </a:lnTo>
                      <a:lnTo>
                        <a:pt x="1070594" y="1266448"/>
                      </a:lnTo>
                      <a:lnTo>
                        <a:pt x="1069562" y="1263740"/>
                      </a:lnTo>
                      <a:lnTo>
                        <a:pt x="1069781" y="1262453"/>
                      </a:lnTo>
                      <a:lnTo>
                        <a:pt x="1070813" y="1261627"/>
                      </a:lnTo>
                      <a:lnTo>
                        <a:pt x="1072307" y="1261311"/>
                      </a:lnTo>
                      <a:lnTo>
                        <a:pt x="1076168" y="1260983"/>
                      </a:lnTo>
                      <a:lnTo>
                        <a:pt x="1078512" y="1259611"/>
                      </a:lnTo>
                      <a:lnTo>
                        <a:pt x="1080649" y="1257025"/>
                      </a:lnTo>
                      <a:lnTo>
                        <a:pt x="1082191" y="1244372"/>
                      </a:lnTo>
                      <a:lnTo>
                        <a:pt x="1085239" y="1239053"/>
                      </a:lnTo>
                      <a:lnTo>
                        <a:pt x="1086089" y="1236503"/>
                      </a:lnTo>
                      <a:lnTo>
                        <a:pt x="1086611" y="1233965"/>
                      </a:lnTo>
                      <a:lnTo>
                        <a:pt x="1087012" y="1222830"/>
                      </a:lnTo>
                      <a:lnTo>
                        <a:pt x="1086332" y="1220244"/>
                      </a:lnTo>
                      <a:lnTo>
                        <a:pt x="1085117" y="1218677"/>
                      </a:lnTo>
                      <a:lnTo>
                        <a:pt x="1081912" y="1217293"/>
                      </a:lnTo>
                      <a:lnTo>
                        <a:pt x="1080879" y="1216152"/>
                      </a:lnTo>
                      <a:lnTo>
                        <a:pt x="1080588" y="1214622"/>
                      </a:lnTo>
                      <a:lnTo>
                        <a:pt x="1080649" y="1212035"/>
                      </a:lnTo>
                      <a:lnTo>
                        <a:pt x="1082470" y="1202904"/>
                      </a:lnTo>
                      <a:lnTo>
                        <a:pt x="1082592" y="1198836"/>
                      </a:lnTo>
                      <a:lnTo>
                        <a:pt x="1081098" y="1194731"/>
                      </a:lnTo>
                      <a:lnTo>
                        <a:pt x="1080819" y="1191708"/>
                      </a:lnTo>
                      <a:lnTo>
                        <a:pt x="1080928" y="1189874"/>
                      </a:lnTo>
                      <a:lnTo>
                        <a:pt x="1081912" y="1188235"/>
                      </a:lnTo>
                      <a:lnTo>
                        <a:pt x="1082883" y="1187166"/>
                      </a:lnTo>
                      <a:lnTo>
                        <a:pt x="1083867" y="1186632"/>
                      </a:lnTo>
                      <a:lnTo>
                        <a:pt x="1084947" y="1186547"/>
                      </a:lnTo>
                      <a:lnTo>
                        <a:pt x="1089999" y="1188296"/>
                      </a:lnTo>
                      <a:lnTo>
                        <a:pt x="1092646" y="1188041"/>
                      </a:lnTo>
                      <a:lnTo>
                        <a:pt x="1094771" y="1186948"/>
                      </a:lnTo>
                      <a:lnTo>
                        <a:pt x="1096495" y="1184046"/>
                      </a:lnTo>
                      <a:lnTo>
                        <a:pt x="1096604" y="1182346"/>
                      </a:lnTo>
                      <a:lnTo>
                        <a:pt x="1095973" y="1180974"/>
                      </a:lnTo>
                      <a:lnTo>
                        <a:pt x="1093508" y="1178788"/>
                      </a:lnTo>
                      <a:lnTo>
                        <a:pt x="1092233" y="1176894"/>
                      </a:lnTo>
                      <a:lnTo>
                        <a:pt x="1091213" y="1174635"/>
                      </a:lnTo>
                      <a:lnTo>
                        <a:pt x="1090108" y="1169984"/>
                      </a:lnTo>
                      <a:lnTo>
                        <a:pt x="1089258" y="1168005"/>
                      </a:lnTo>
                      <a:lnTo>
                        <a:pt x="1087983" y="1166645"/>
                      </a:lnTo>
                      <a:lnTo>
                        <a:pt x="1086611" y="1166329"/>
                      </a:lnTo>
                      <a:lnTo>
                        <a:pt x="1080406" y="1165989"/>
                      </a:lnTo>
                      <a:lnTo>
                        <a:pt x="1078864" y="1165576"/>
                      </a:lnTo>
                      <a:lnTo>
                        <a:pt x="1077540" y="1164204"/>
                      </a:lnTo>
                      <a:lnTo>
                        <a:pt x="1077309" y="1162771"/>
                      </a:lnTo>
                      <a:lnTo>
                        <a:pt x="1077722" y="1158157"/>
                      </a:lnTo>
                      <a:lnTo>
                        <a:pt x="1077200" y="1156773"/>
                      </a:lnTo>
                      <a:lnTo>
                        <a:pt x="1075986" y="1156032"/>
                      </a:lnTo>
                      <a:lnTo>
                        <a:pt x="1074614" y="1156032"/>
                      </a:lnTo>
                      <a:lnTo>
                        <a:pt x="1072999" y="1156372"/>
                      </a:lnTo>
                      <a:lnTo>
                        <a:pt x="1060188" y="1161934"/>
                      </a:lnTo>
                      <a:lnTo>
                        <a:pt x="1057844" y="1162541"/>
                      </a:lnTo>
                      <a:lnTo>
                        <a:pt x="1054796" y="1162771"/>
                      </a:lnTo>
                      <a:lnTo>
                        <a:pt x="1046126" y="1161934"/>
                      </a:lnTo>
                      <a:lnTo>
                        <a:pt x="1028228" y="1155947"/>
                      </a:lnTo>
                      <a:lnTo>
                        <a:pt x="1025981" y="1156044"/>
                      </a:lnTo>
                      <a:lnTo>
                        <a:pt x="1023273" y="1156627"/>
                      </a:lnTo>
                      <a:lnTo>
                        <a:pt x="1022812" y="1158206"/>
                      </a:lnTo>
                      <a:lnTo>
                        <a:pt x="1022593" y="1159930"/>
                      </a:lnTo>
                      <a:lnTo>
                        <a:pt x="1022593" y="1161763"/>
                      </a:lnTo>
                      <a:lnTo>
                        <a:pt x="1022703" y="1163548"/>
                      </a:lnTo>
                      <a:lnTo>
                        <a:pt x="1023383" y="1166791"/>
                      </a:lnTo>
                      <a:lnTo>
                        <a:pt x="1023334" y="1168539"/>
                      </a:lnTo>
                      <a:lnTo>
                        <a:pt x="1022642" y="1170786"/>
                      </a:lnTo>
                      <a:lnTo>
                        <a:pt x="1020007" y="1173141"/>
                      </a:lnTo>
                      <a:lnTo>
                        <a:pt x="1017299" y="1173821"/>
                      </a:lnTo>
                      <a:lnTo>
                        <a:pt x="1010123" y="1172935"/>
                      </a:lnTo>
                      <a:lnTo>
                        <a:pt x="1000772" y="1173858"/>
                      </a:lnTo>
                      <a:lnTo>
                        <a:pt x="999959" y="1172656"/>
                      </a:lnTo>
                      <a:lnTo>
                        <a:pt x="1001112" y="1170956"/>
                      </a:lnTo>
                      <a:lnTo>
                        <a:pt x="1004330" y="1164326"/>
                      </a:lnTo>
                      <a:lnTo>
                        <a:pt x="1003808" y="1161569"/>
                      </a:lnTo>
                      <a:lnTo>
                        <a:pt x="1003007" y="1159906"/>
                      </a:lnTo>
                      <a:lnTo>
                        <a:pt x="1001343" y="1159031"/>
                      </a:lnTo>
                      <a:lnTo>
                        <a:pt x="999801" y="1158473"/>
                      </a:lnTo>
                      <a:lnTo>
                        <a:pt x="998465" y="1158436"/>
                      </a:lnTo>
                      <a:lnTo>
                        <a:pt x="997433" y="1158776"/>
                      </a:lnTo>
                      <a:lnTo>
                        <a:pt x="996632" y="1159323"/>
                      </a:lnTo>
                      <a:lnTo>
                        <a:pt x="995830" y="1159420"/>
                      </a:lnTo>
                      <a:lnTo>
                        <a:pt x="994968" y="1159238"/>
                      </a:lnTo>
                      <a:lnTo>
                        <a:pt x="993414" y="1158157"/>
                      </a:lnTo>
                      <a:lnTo>
                        <a:pt x="992892" y="1157234"/>
                      </a:lnTo>
                      <a:lnTo>
                        <a:pt x="992612" y="1155826"/>
                      </a:lnTo>
                      <a:lnTo>
                        <a:pt x="993244" y="1147155"/>
                      </a:lnTo>
                      <a:lnTo>
                        <a:pt x="993135" y="1143355"/>
                      </a:lnTo>
                      <a:lnTo>
                        <a:pt x="992491" y="1142153"/>
                      </a:lnTo>
                      <a:lnTo>
                        <a:pt x="991520" y="1142043"/>
                      </a:lnTo>
                      <a:lnTo>
                        <a:pt x="990669" y="1142990"/>
                      </a:lnTo>
                      <a:lnTo>
                        <a:pt x="990026" y="1143913"/>
                      </a:lnTo>
                      <a:lnTo>
                        <a:pt x="988593" y="1146609"/>
                      </a:lnTo>
                      <a:lnTo>
                        <a:pt x="987840" y="1147580"/>
                      </a:lnTo>
                      <a:lnTo>
                        <a:pt x="986929" y="1148625"/>
                      </a:lnTo>
                      <a:lnTo>
                        <a:pt x="985557" y="1149111"/>
                      </a:lnTo>
                      <a:lnTo>
                        <a:pt x="984173" y="1148904"/>
                      </a:lnTo>
                      <a:lnTo>
                        <a:pt x="982169" y="1147495"/>
                      </a:lnTo>
                      <a:lnTo>
                        <a:pt x="981587" y="1146233"/>
                      </a:lnTo>
                      <a:lnTo>
                        <a:pt x="981647" y="1144739"/>
                      </a:lnTo>
                      <a:lnTo>
                        <a:pt x="982388" y="1143282"/>
                      </a:lnTo>
                      <a:lnTo>
                        <a:pt x="983080" y="1141473"/>
                      </a:lnTo>
                      <a:lnTo>
                        <a:pt x="983760" y="1139141"/>
                      </a:lnTo>
                      <a:lnTo>
                        <a:pt x="983542" y="1134952"/>
                      </a:lnTo>
                      <a:lnTo>
                        <a:pt x="982959" y="1133021"/>
                      </a:lnTo>
                      <a:lnTo>
                        <a:pt x="982267" y="1131795"/>
                      </a:lnTo>
                      <a:lnTo>
                        <a:pt x="981587" y="1131333"/>
                      </a:lnTo>
                      <a:lnTo>
                        <a:pt x="980955" y="1131224"/>
                      </a:lnTo>
                      <a:lnTo>
                        <a:pt x="979862" y="1131625"/>
                      </a:lnTo>
                      <a:lnTo>
                        <a:pt x="972224" y="1137138"/>
                      </a:lnTo>
                      <a:lnTo>
                        <a:pt x="970682" y="1137890"/>
                      </a:lnTo>
                      <a:lnTo>
                        <a:pt x="968958" y="1138522"/>
                      </a:lnTo>
                      <a:lnTo>
                        <a:pt x="967464" y="1138850"/>
                      </a:lnTo>
                      <a:lnTo>
                        <a:pt x="966080" y="1138753"/>
                      </a:lnTo>
                      <a:lnTo>
                        <a:pt x="965339" y="1138619"/>
                      </a:lnTo>
                      <a:lnTo>
                        <a:pt x="962935" y="1137696"/>
                      </a:lnTo>
                      <a:lnTo>
                        <a:pt x="953804" y="1130544"/>
                      </a:lnTo>
                      <a:lnTo>
                        <a:pt x="949371" y="1128504"/>
                      </a:lnTo>
                      <a:lnTo>
                        <a:pt x="947659" y="1128334"/>
                      </a:lnTo>
                      <a:lnTo>
                        <a:pt x="943118" y="1128419"/>
                      </a:lnTo>
                      <a:lnTo>
                        <a:pt x="939439" y="1128018"/>
                      </a:lnTo>
                      <a:lnTo>
                        <a:pt x="937374" y="1127411"/>
                      </a:lnTo>
                      <a:lnTo>
                        <a:pt x="934909" y="1126209"/>
                      </a:lnTo>
                      <a:lnTo>
                        <a:pt x="920896" y="1116130"/>
                      </a:lnTo>
                      <a:lnTo>
                        <a:pt x="919403" y="1114442"/>
                      </a:lnTo>
                      <a:lnTo>
                        <a:pt x="918528" y="1113058"/>
                      </a:lnTo>
                      <a:lnTo>
                        <a:pt x="918140" y="1111892"/>
                      </a:lnTo>
                      <a:lnTo>
                        <a:pt x="918201" y="1110909"/>
                      </a:lnTo>
                      <a:lnTo>
                        <a:pt x="918650" y="1109622"/>
                      </a:lnTo>
                      <a:lnTo>
                        <a:pt x="919463" y="1108092"/>
                      </a:lnTo>
                      <a:lnTo>
                        <a:pt x="919743" y="1106282"/>
                      </a:lnTo>
                      <a:lnTo>
                        <a:pt x="919512" y="1104412"/>
                      </a:lnTo>
                      <a:lnTo>
                        <a:pt x="917217" y="1100939"/>
                      </a:lnTo>
                      <a:lnTo>
                        <a:pt x="916877" y="1100454"/>
                      </a:lnTo>
                      <a:lnTo>
                        <a:pt x="916877" y="1100284"/>
                      </a:lnTo>
                      <a:lnTo>
                        <a:pt x="915784" y="1097758"/>
                      </a:lnTo>
                      <a:lnTo>
                        <a:pt x="913538" y="1095050"/>
                      </a:lnTo>
                      <a:lnTo>
                        <a:pt x="911473" y="1093909"/>
                      </a:lnTo>
                      <a:lnTo>
                        <a:pt x="908887" y="1093338"/>
                      </a:lnTo>
                      <a:lnTo>
                        <a:pt x="907175" y="1093399"/>
                      </a:lnTo>
                      <a:lnTo>
                        <a:pt x="905681" y="1093593"/>
                      </a:lnTo>
                      <a:lnTo>
                        <a:pt x="904345" y="1094079"/>
                      </a:lnTo>
                      <a:lnTo>
                        <a:pt x="901419" y="1095694"/>
                      </a:lnTo>
                      <a:lnTo>
                        <a:pt x="899257" y="1096350"/>
                      </a:lnTo>
                      <a:lnTo>
                        <a:pt x="896768" y="1096374"/>
                      </a:lnTo>
                      <a:lnTo>
                        <a:pt x="893393" y="1095548"/>
                      </a:lnTo>
                      <a:lnTo>
                        <a:pt x="891899" y="1094516"/>
                      </a:lnTo>
                      <a:lnTo>
                        <a:pt x="890915" y="1092876"/>
                      </a:lnTo>
                      <a:lnTo>
                        <a:pt x="890575" y="1090667"/>
                      </a:lnTo>
                      <a:lnTo>
                        <a:pt x="889652" y="1088396"/>
                      </a:lnTo>
                      <a:lnTo>
                        <a:pt x="888341" y="1087449"/>
                      </a:lnTo>
                      <a:lnTo>
                        <a:pt x="880351" y="1087594"/>
                      </a:lnTo>
                      <a:lnTo>
                        <a:pt x="872774" y="1085639"/>
                      </a:lnTo>
                      <a:lnTo>
                        <a:pt x="868062" y="1085239"/>
                      </a:lnTo>
                      <a:lnTo>
                        <a:pt x="865354" y="1084583"/>
                      </a:lnTo>
                      <a:lnTo>
                        <a:pt x="863982" y="1083599"/>
                      </a:lnTo>
                      <a:lnTo>
                        <a:pt x="863181" y="1082203"/>
                      </a:lnTo>
                      <a:lnTo>
                        <a:pt x="863181" y="1080879"/>
                      </a:lnTo>
                      <a:lnTo>
                        <a:pt x="863472" y="1079835"/>
                      </a:lnTo>
                      <a:lnTo>
                        <a:pt x="864104" y="1078839"/>
                      </a:lnTo>
                      <a:lnTo>
                        <a:pt x="864504" y="1078147"/>
                      </a:lnTo>
                      <a:lnTo>
                        <a:pt x="864383" y="1077200"/>
                      </a:lnTo>
                      <a:lnTo>
                        <a:pt x="863703" y="1075767"/>
                      </a:lnTo>
                      <a:lnTo>
                        <a:pt x="862039" y="1073618"/>
                      </a:lnTo>
                      <a:lnTo>
                        <a:pt x="861238" y="1071918"/>
                      </a:lnTo>
                      <a:lnTo>
                        <a:pt x="860364" y="1066320"/>
                      </a:lnTo>
                      <a:lnTo>
                        <a:pt x="856284" y="1060576"/>
                      </a:lnTo>
                      <a:lnTo>
                        <a:pt x="838956" y="1065604"/>
                      </a:lnTo>
                      <a:lnTo>
                        <a:pt x="835398" y="1067559"/>
                      </a:lnTo>
                      <a:lnTo>
                        <a:pt x="835969" y="1068360"/>
                      </a:lnTo>
                      <a:lnTo>
                        <a:pt x="836891" y="1069246"/>
                      </a:lnTo>
                      <a:lnTo>
                        <a:pt x="842283" y="1072488"/>
                      </a:lnTo>
                      <a:lnTo>
                        <a:pt x="843376" y="1073751"/>
                      </a:lnTo>
                      <a:lnTo>
                        <a:pt x="843594" y="1075136"/>
                      </a:lnTo>
                      <a:lnTo>
                        <a:pt x="842914" y="1077030"/>
                      </a:lnTo>
                      <a:lnTo>
                        <a:pt x="841311" y="1078232"/>
                      </a:lnTo>
                      <a:lnTo>
                        <a:pt x="839174" y="1079046"/>
                      </a:lnTo>
                      <a:lnTo>
                        <a:pt x="834074" y="1079702"/>
                      </a:lnTo>
                      <a:lnTo>
                        <a:pt x="829023" y="1079471"/>
                      </a:lnTo>
                      <a:lnTo>
                        <a:pt x="826728" y="1078949"/>
                      </a:lnTo>
                      <a:lnTo>
                        <a:pt x="824931" y="1078171"/>
                      </a:lnTo>
                      <a:lnTo>
                        <a:pt x="824190" y="1077346"/>
                      </a:lnTo>
                      <a:lnTo>
                        <a:pt x="824020" y="1076277"/>
                      </a:lnTo>
                      <a:lnTo>
                        <a:pt x="824311" y="1074820"/>
                      </a:lnTo>
                      <a:lnTo>
                        <a:pt x="825113" y="1072294"/>
                      </a:lnTo>
                      <a:lnTo>
                        <a:pt x="825295" y="1071639"/>
                      </a:lnTo>
                      <a:lnTo>
                        <a:pt x="825173" y="1070764"/>
                      </a:lnTo>
                      <a:lnTo>
                        <a:pt x="824542" y="1069878"/>
                      </a:lnTo>
                      <a:lnTo>
                        <a:pt x="823218" y="1069137"/>
                      </a:lnTo>
                      <a:lnTo>
                        <a:pt x="818968" y="1067874"/>
                      </a:lnTo>
                      <a:lnTo>
                        <a:pt x="816613" y="1066915"/>
                      </a:lnTo>
                      <a:lnTo>
                        <a:pt x="813577" y="1066138"/>
                      </a:lnTo>
                      <a:lnTo>
                        <a:pt x="811270" y="1066551"/>
                      </a:lnTo>
                      <a:lnTo>
                        <a:pt x="808343" y="1067607"/>
                      </a:lnTo>
                      <a:lnTo>
                        <a:pt x="806000" y="1067607"/>
                      </a:lnTo>
                      <a:lnTo>
                        <a:pt x="803814" y="1066866"/>
                      </a:lnTo>
                      <a:lnTo>
                        <a:pt x="801228" y="1066636"/>
                      </a:lnTo>
                      <a:lnTo>
                        <a:pt x="799965" y="1067522"/>
                      </a:lnTo>
                      <a:lnTo>
                        <a:pt x="799503" y="1069246"/>
                      </a:lnTo>
                      <a:lnTo>
                        <a:pt x="800827" y="1075391"/>
                      </a:lnTo>
                      <a:lnTo>
                        <a:pt x="800888" y="1077491"/>
                      </a:lnTo>
                      <a:lnTo>
                        <a:pt x="800705" y="1079580"/>
                      </a:lnTo>
                      <a:lnTo>
                        <a:pt x="800426" y="1080904"/>
                      </a:lnTo>
                      <a:lnTo>
                        <a:pt x="799795" y="1082689"/>
                      </a:lnTo>
                      <a:lnTo>
                        <a:pt x="797318" y="1086793"/>
                      </a:lnTo>
                      <a:lnTo>
                        <a:pt x="794282" y="1090642"/>
                      </a:lnTo>
                      <a:lnTo>
                        <a:pt x="789461" y="1095463"/>
                      </a:lnTo>
                      <a:lnTo>
                        <a:pt x="788830" y="1096726"/>
                      </a:lnTo>
                      <a:lnTo>
                        <a:pt x="788368" y="1098268"/>
                      </a:lnTo>
                      <a:lnTo>
                        <a:pt x="788137" y="1100223"/>
                      </a:lnTo>
                      <a:lnTo>
                        <a:pt x="788137" y="1100405"/>
                      </a:lnTo>
                      <a:lnTo>
                        <a:pt x="788186" y="1100599"/>
                      </a:lnTo>
                      <a:lnTo>
                        <a:pt x="788890" y="1101753"/>
                      </a:lnTo>
                      <a:lnTo>
                        <a:pt x="789631" y="1103380"/>
                      </a:lnTo>
                      <a:lnTo>
                        <a:pt x="789971" y="1104412"/>
                      </a:lnTo>
                      <a:lnTo>
                        <a:pt x="790262" y="1105882"/>
                      </a:lnTo>
                      <a:lnTo>
                        <a:pt x="790202" y="1107205"/>
                      </a:lnTo>
                      <a:lnTo>
                        <a:pt x="789631" y="1108844"/>
                      </a:lnTo>
                      <a:lnTo>
                        <a:pt x="788477" y="1109707"/>
                      </a:lnTo>
                      <a:lnTo>
                        <a:pt x="787555" y="1110107"/>
                      </a:lnTo>
                      <a:lnTo>
                        <a:pt x="783426" y="1110277"/>
                      </a:lnTo>
                      <a:lnTo>
                        <a:pt x="781362" y="1110702"/>
                      </a:lnTo>
                      <a:lnTo>
                        <a:pt x="780208" y="1111370"/>
                      </a:lnTo>
                      <a:lnTo>
                        <a:pt x="778945" y="1112633"/>
                      </a:lnTo>
                      <a:lnTo>
                        <a:pt x="774003" y="1118717"/>
                      </a:lnTo>
                      <a:lnTo>
                        <a:pt x="768502" y="1116191"/>
                      </a:lnTo>
                      <a:lnTo>
                        <a:pt x="761435" y="1109877"/>
                      </a:lnTo>
                      <a:lnTo>
                        <a:pt x="758387" y="1107982"/>
                      </a:lnTo>
                      <a:lnTo>
                        <a:pt x="756505" y="1107169"/>
                      </a:lnTo>
                      <a:lnTo>
                        <a:pt x="755412" y="1107315"/>
                      </a:lnTo>
                      <a:lnTo>
                        <a:pt x="750422" y="1109270"/>
                      </a:lnTo>
                      <a:lnTo>
                        <a:pt x="748175" y="1109792"/>
                      </a:lnTo>
                      <a:lnTo>
                        <a:pt x="745066" y="1109816"/>
                      </a:lnTo>
                      <a:lnTo>
                        <a:pt x="742941" y="1109039"/>
                      </a:lnTo>
                      <a:lnTo>
                        <a:pt x="741509" y="1108007"/>
                      </a:lnTo>
                      <a:lnTo>
                        <a:pt x="739736" y="1105566"/>
                      </a:lnTo>
                      <a:lnTo>
                        <a:pt x="738242" y="1104194"/>
                      </a:lnTo>
                      <a:lnTo>
                        <a:pt x="736919" y="1103696"/>
                      </a:lnTo>
                      <a:lnTo>
                        <a:pt x="735534" y="1103635"/>
                      </a:lnTo>
                      <a:lnTo>
                        <a:pt x="725674" y="1106343"/>
                      </a:lnTo>
                      <a:lnTo>
                        <a:pt x="724338" y="1106537"/>
                      </a:lnTo>
                      <a:lnTo>
                        <a:pt x="719069" y="1106683"/>
                      </a:lnTo>
                      <a:lnTo>
                        <a:pt x="714114" y="1106173"/>
                      </a:lnTo>
                      <a:lnTo>
                        <a:pt x="711941" y="1105056"/>
                      </a:lnTo>
                      <a:lnTo>
                        <a:pt x="710909" y="1103817"/>
                      </a:lnTo>
                      <a:lnTo>
                        <a:pt x="710969" y="1102263"/>
                      </a:lnTo>
                      <a:lnTo>
                        <a:pt x="711431" y="1100636"/>
                      </a:lnTo>
                      <a:lnTo>
                        <a:pt x="711540" y="1100454"/>
                      </a:lnTo>
                      <a:lnTo>
                        <a:pt x="713653" y="1098329"/>
                      </a:lnTo>
                      <a:lnTo>
                        <a:pt x="714928" y="1096726"/>
                      </a:lnTo>
                      <a:lnTo>
                        <a:pt x="715559" y="1095572"/>
                      </a:lnTo>
                      <a:lnTo>
                        <a:pt x="716300" y="1093969"/>
                      </a:lnTo>
                      <a:lnTo>
                        <a:pt x="716531" y="1092585"/>
                      </a:lnTo>
                      <a:lnTo>
                        <a:pt x="716640" y="1090351"/>
                      </a:lnTo>
                      <a:lnTo>
                        <a:pt x="716931" y="1089428"/>
                      </a:lnTo>
                      <a:lnTo>
                        <a:pt x="717271" y="1088517"/>
                      </a:lnTo>
                      <a:lnTo>
                        <a:pt x="718024" y="1087449"/>
                      </a:lnTo>
                      <a:lnTo>
                        <a:pt x="718886" y="1086502"/>
                      </a:lnTo>
                      <a:lnTo>
                        <a:pt x="722214" y="1083830"/>
                      </a:lnTo>
                      <a:lnTo>
                        <a:pt x="722675" y="1083029"/>
                      </a:lnTo>
                      <a:lnTo>
                        <a:pt x="723246" y="1077309"/>
                      </a:lnTo>
                      <a:lnTo>
                        <a:pt x="723707" y="1075536"/>
                      </a:lnTo>
                      <a:lnTo>
                        <a:pt x="729171" y="1063017"/>
                      </a:lnTo>
                      <a:lnTo>
                        <a:pt x="729281" y="1060406"/>
                      </a:lnTo>
                      <a:lnTo>
                        <a:pt x="728649" y="1058937"/>
                      </a:lnTo>
                      <a:lnTo>
                        <a:pt x="727156" y="1057735"/>
                      </a:lnTo>
                      <a:lnTo>
                        <a:pt x="726184" y="1057298"/>
                      </a:lnTo>
                      <a:lnTo>
                        <a:pt x="724739" y="1056994"/>
                      </a:lnTo>
                      <a:lnTo>
                        <a:pt x="723489" y="1056958"/>
                      </a:lnTo>
                      <a:lnTo>
                        <a:pt x="721813" y="1057188"/>
                      </a:lnTo>
                      <a:lnTo>
                        <a:pt x="720319" y="1057674"/>
                      </a:lnTo>
                      <a:lnTo>
                        <a:pt x="719226" y="1058111"/>
                      </a:lnTo>
                      <a:lnTo>
                        <a:pt x="718486" y="1058561"/>
                      </a:lnTo>
                      <a:lnTo>
                        <a:pt x="717854" y="1059228"/>
                      </a:lnTo>
                      <a:lnTo>
                        <a:pt x="717393" y="1059981"/>
                      </a:lnTo>
                      <a:lnTo>
                        <a:pt x="716992" y="1060953"/>
                      </a:lnTo>
                      <a:lnTo>
                        <a:pt x="715778" y="1065688"/>
                      </a:lnTo>
                      <a:lnTo>
                        <a:pt x="715037" y="1066891"/>
                      </a:lnTo>
                      <a:lnTo>
                        <a:pt x="713896" y="1067899"/>
                      </a:lnTo>
                      <a:lnTo>
                        <a:pt x="712402" y="1068530"/>
                      </a:lnTo>
                      <a:lnTo>
                        <a:pt x="710787" y="1068846"/>
                      </a:lnTo>
                      <a:lnTo>
                        <a:pt x="696835" y="1069283"/>
                      </a:lnTo>
                      <a:lnTo>
                        <a:pt x="694880" y="1069623"/>
                      </a:lnTo>
                      <a:lnTo>
                        <a:pt x="693738" y="1070084"/>
                      </a:lnTo>
                      <a:lnTo>
                        <a:pt x="693046" y="1070594"/>
                      </a:lnTo>
                      <a:lnTo>
                        <a:pt x="692925" y="1071286"/>
                      </a:lnTo>
                      <a:lnTo>
                        <a:pt x="693386" y="1072027"/>
                      </a:lnTo>
                      <a:lnTo>
                        <a:pt x="694321" y="1072780"/>
                      </a:lnTo>
                      <a:lnTo>
                        <a:pt x="702578" y="1078087"/>
                      </a:lnTo>
                      <a:lnTo>
                        <a:pt x="704181" y="1079665"/>
                      </a:lnTo>
                      <a:lnTo>
                        <a:pt x="704825" y="1081426"/>
                      </a:lnTo>
                      <a:lnTo>
                        <a:pt x="704303" y="1082944"/>
                      </a:lnTo>
                      <a:lnTo>
                        <a:pt x="702688" y="1084122"/>
                      </a:lnTo>
                      <a:lnTo>
                        <a:pt x="700806" y="1084474"/>
                      </a:lnTo>
                      <a:lnTo>
                        <a:pt x="696725" y="1084547"/>
                      </a:lnTo>
                      <a:lnTo>
                        <a:pt x="694770" y="1084959"/>
                      </a:lnTo>
                      <a:lnTo>
                        <a:pt x="691322" y="1086125"/>
                      </a:lnTo>
                      <a:lnTo>
                        <a:pt x="689427" y="1086477"/>
                      </a:lnTo>
                      <a:lnTo>
                        <a:pt x="687873" y="1085809"/>
                      </a:lnTo>
                      <a:lnTo>
                        <a:pt x="686380" y="1084814"/>
                      </a:lnTo>
                      <a:lnTo>
                        <a:pt x="681680" y="1080248"/>
                      </a:lnTo>
                      <a:lnTo>
                        <a:pt x="680527" y="1078524"/>
                      </a:lnTo>
                      <a:lnTo>
                        <a:pt x="679616" y="1076678"/>
                      </a:lnTo>
                      <a:lnTo>
                        <a:pt x="678001" y="1072695"/>
                      </a:lnTo>
                      <a:lnTo>
                        <a:pt x="676738" y="1070946"/>
                      </a:lnTo>
                      <a:lnTo>
                        <a:pt x="675597" y="1070218"/>
                      </a:lnTo>
                      <a:lnTo>
                        <a:pt x="673921" y="1070024"/>
                      </a:lnTo>
                      <a:lnTo>
                        <a:pt x="672828" y="1070339"/>
                      </a:lnTo>
                      <a:lnTo>
                        <a:pt x="671687" y="1071056"/>
                      </a:lnTo>
                      <a:lnTo>
                        <a:pt x="671395" y="1072064"/>
                      </a:lnTo>
                      <a:lnTo>
                        <a:pt x="671517" y="1073521"/>
                      </a:lnTo>
                      <a:lnTo>
                        <a:pt x="671917" y="1075330"/>
                      </a:lnTo>
                      <a:lnTo>
                        <a:pt x="672039" y="1077030"/>
                      </a:lnTo>
                      <a:lnTo>
                        <a:pt x="671517" y="1078269"/>
                      </a:lnTo>
                      <a:lnTo>
                        <a:pt x="670545" y="1079009"/>
                      </a:lnTo>
                      <a:lnTo>
                        <a:pt x="669088" y="1079434"/>
                      </a:lnTo>
                      <a:lnTo>
                        <a:pt x="667497" y="1079702"/>
                      </a:lnTo>
                      <a:lnTo>
                        <a:pt x="665712" y="1079762"/>
                      </a:lnTo>
                      <a:lnTo>
                        <a:pt x="659629" y="1078754"/>
                      </a:lnTo>
                      <a:lnTo>
                        <a:pt x="656642" y="1077309"/>
                      </a:lnTo>
                      <a:lnTo>
                        <a:pt x="654869" y="1076945"/>
                      </a:lnTo>
                      <a:lnTo>
                        <a:pt x="654055" y="1077115"/>
                      </a:lnTo>
                      <a:lnTo>
                        <a:pt x="653837" y="1077747"/>
                      </a:lnTo>
                      <a:lnTo>
                        <a:pt x="653885" y="1078609"/>
                      </a:lnTo>
                      <a:lnTo>
                        <a:pt x="654395" y="1080770"/>
                      </a:lnTo>
                      <a:lnTo>
                        <a:pt x="654808" y="1081911"/>
                      </a:lnTo>
                      <a:lnTo>
                        <a:pt x="655330" y="1084231"/>
                      </a:lnTo>
                      <a:lnTo>
                        <a:pt x="656241" y="1085761"/>
                      </a:lnTo>
                      <a:lnTo>
                        <a:pt x="657734" y="1086963"/>
                      </a:lnTo>
                      <a:lnTo>
                        <a:pt x="662665" y="1089088"/>
                      </a:lnTo>
                      <a:lnTo>
                        <a:pt x="663939" y="1089841"/>
                      </a:lnTo>
                      <a:lnTo>
                        <a:pt x="664450" y="1090412"/>
                      </a:lnTo>
                      <a:lnTo>
                        <a:pt x="664680" y="1092354"/>
                      </a:lnTo>
                      <a:lnTo>
                        <a:pt x="657734" y="1096811"/>
                      </a:lnTo>
                      <a:lnTo>
                        <a:pt x="656119" y="1097236"/>
                      </a:lnTo>
                      <a:lnTo>
                        <a:pt x="653994" y="1097442"/>
                      </a:lnTo>
                      <a:lnTo>
                        <a:pt x="652792" y="1096750"/>
                      </a:lnTo>
                      <a:lnTo>
                        <a:pt x="651869" y="1095767"/>
                      </a:lnTo>
                      <a:lnTo>
                        <a:pt x="648724" y="1091383"/>
                      </a:lnTo>
                      <a:lnTo>
                        <a:pt x="645616" y="1088019"/>
                      </a:lnTo>
                      <a:lnTo>
                        <a:pt x="644341" y="1087740"/>
                      </a:lnTo>
                      <a:lnTo>
                        <a:pt x="643831" y="1088141"/>
                      </a:lnTo>
                      <a:lnTo>
                        <a:pt x="643770" y="1089064"/>
                      </a:lnTo>
                      <a:lnTo>
                        <a:pt x="643952" y="1090266"/>
                      </a:lnTo>
                      <a:lnTo>
                        <a:pt x="645215" y="1095002"/>
                      </a:lnTo>
                      <a:lnTo>
                        <a:pt x="645154" y="1096580"/>
                      </a:lnTo>
                      <a:lnTo>
                        <a:pt x="644402" y="1097819"/>
                      </a:lnTo>
                      <a:lnTo>
                        <a:pt x="643151" y="1098219"/>
                      </a:lnTo>
                      <a:lnTo>
                        <a:pt x="641536" y="1098074"/>
                      </a:lnTo>
                      <a:lnTo>
                        <a:pt x="640212" y="1097612"/>
                      </a:lnTo>
                      <a:lnTo>
                        <a:pt x="638609" y="1096896"/>
                      </a:lnTo>
                      <a:lnTo>
                        <a:pt x="636885" y="1096350"/>
                      </a:lnTo>
                      <a:lnTo>
                        <a:pt x="633959" y="1095827"/>
                      </a:lnTo>
                      <a:lnTo>
                        <a:pt x="631324" y="1096264"/>
                      </a:lnTo>
                      <a:lnTo>
                        <a:pt x="625859" y="1098219"/>
                      </a:lnTo>
                      <a:lnTo>
                        <a:pt x="623795" y="1098074"/>
                      </a:lnTo>
                      <a:lnTo>
                        <a:pt x="622131" y="1097236"/>
                      </a:lnTo>
                      <a:lnTo>
                        <a:pt x="620006" y="1094200"/>
                      </a:lnTo>
                      <a:lnTo>
                        <a:pt x="619023" y="1092269"/>
                      </a:lnTo>
                      <a:lnTo>
                        <a:pt x="617833" y="1087740"/>
                      </a:lnTo>
                      <a:lnTo>
                        <a:pt x="617833" y="1086040"/>
                      </a:lnTo>
                      <a:lnTo>
                        <a:pt x="618112" y="1083599"/>
                      </a:lnTo>
                      <a:lnTo>
                        <a:pt x="618683" y="1082798"/>
                      </a:lnTo>
                      <a:lnTo>
                        <a:pt x="619436" y="1082628"/>
                      </a:lnTo>
                      <a:lnTo>
                        <a:pt x="619958" y="1083114"/>
                      </a:lnTo>
                      <a:lnTo>
                        <a:pt x="620929" y="1083369"/>
                      </a:lnTo>
                      <a:lnTo>
                        <a:pt x="622301" y="1083514"/>
                      </a:lnTo>
                      <a:lnTo>
                        <a:pt x="625167" y="1082652"/>
                      </a:lnTo>
                      <a:lnTo>
                        <a:pt x="626551" y="1081511"/>
                      </a:lnTo>
                      <a:lnTo>
                        <a:pt x="628045" y="1079386"/>
                      </a:lnTo>
                      <a:lnTo>
                        <a:pt x="631773" y="1075682"/>
                      </a:lnTo>
                      <a:lnTo>
                        <a:pt x="632866" y="1074213"/>
                      </a:lnTo>
                      <a:lnTo>
                        <a:pt x="633728" y="1072610"/>
                      </a:lnTo>
                      <a:lnTo>
                        <a:pt x="634542" y="1071736"/>
                      </a:lnTo>
                      <a:lnTo>
                        <a:pt x="635574" y="1071177"/>
                      </a:lnTo>
                      <a:lnTo>
                        <a:pt x="636824" y="1070740"/>
                      </a:lnTo>
                      <a:lnTo>
                        <a:pt x="637978" y="1070145"/>
                      </a:lnTo>
                      <a:lnTo>
                        <a:pt x="640443" y="1068615"/>
                      </a:lnTo>
                      <a:lnTo>
                        <a:pt x="643491" y="1067388"/>
                      </a:lnTo>
                      <a:lnTo>
                        <a:pt x="645567" y="1066296"/>
                      </a:lnTo>
                      <a:lnTo>
                        <a:pt x="646539" y="1065373"/>
                      </a:lnTo>
                      <a:lnTo>
                        <a:pt x="647231" y="1064389"/>
                      </a:lnTo>
                      <a:lnTo>
                        <a:pt x="647231" y="1063333"/>
                      </a:lnTo>
                      <a:lnTo>
                        <a:pt x="646879" y="1062276"/>
                      </a:lnTo>
                      <a:lnTo>
                        <a:pt x="645324" y="1059228"/>
                      </a:lnTo>
                      <a:lnTo>
                        <a:pt x="644924" y="1058136"/>
                      </a:lnTo>
                      <a:lnTo>
                        <a:pt x="644523" y="1054626"/>
                      </a:lnTo>
                      <a:lnTo>
                        <a:pt x="644183" y="1053509"/>
                      </a:lnTo>
                      <a:lnTo>
                        <a:pt x="643612" y="1052538"/>
                      </a:lnTo>
                      <a:lnTo>
                        <a:pt x="642969" y="1051736"/>
                      </a:lnTo>
                      <a:lnTo>
                        <a:pt x="642119" y="1051214"/>
                      </a:lnTo>
                      <a:lnTo>
                        <a:pt x="641196" y="1051080"/>
                      </a:lnTo>
                      <a:lnTo>
                        <a:pt x="640273" y="1051360"/>
                      </a:lnTo>
                      <a:lnTo>
                        <a:pt x="639350" y="1051712"/>
                      </a:lnTo>
                      <a:lnTo>
                        <a:pt x="638561" y="1051712"/>
                      </a:lnTo>
                      <a:lnTo>
                        <a:pt x="637808" y="1051190"/>
                      </a:lnTo>
                      <a:lnTo>
                        <a:pt x="636193" y="1048178"/>
                      </a:lnTo>
                      <a:lnTo>
                        <a:pt x="635513" y="1047316"/>
                      </a:lnTo>
                      <a:lnTo>
                        <a:pt x="634760" y="1046624"/>
                      </a:lnTo>
                      <a:lnTo>
                        <a:pt x="632234" y="1045106"/>
                      </a:lnTo>
                      <a:lnTo>
                        <a:pt x="629308" y="1044098"/>
                      </a:lnTo>
                      <a:lnTo>
                        <a:pt x="628446" y="1042884"/>
                      </a:lnTo>
                      <a:lnTo>
                        <a:pt x="627875" y="1040832"/>
                      </a:lnTo>
                      <a:lnTo>
                        <a:pt x="627535" y="1033097"/>
                      </a:lnTo>
                      <a:lnTo>
                        <a:pt x="626600" y="1026819"/>
                      </a:lnTo>
                      <a:lnTo>
                        <a:pt x="626041" y="1024997"/>
                      </a:lnTo>
                      <a:lnTo>
                        <a:pt x="625410" y="1023625"/>
                      </a:lnTo>
                      <a:lnTo>
                        <a:pt x="622483" y="1019667"/>
                      </a:lnTo>
                      <a:lnTo>
                        <a:pt x="621209" y="1017651"/>
                      </a:lnTo>
                      <a:lnTo>
                        <a:pt x="619776" y="1017250"/>
                      </a:lnTo>
                      <a:lnTo>
                        <a:pt x="618282" y="1017105"/>
                      </a:lnTo>
                      <a:lnTo>
                        <a:pt x="615586" y="1017590"/>
                      </a:lnTo>
                      <a:lnTo>
                        <a:pt x="612138" y="1018623"/>
                      </a:lnTo>
                      <a:lnTo>
                        <a:pt x="610826" y="1018829"/>
                      </a:lnTo>
                      <a:lnTo>
                        <a:pt x="609491" y="1018623"/>
                      </a:lnTo>
                      <a:lnTo>
                        <a:pt x="606625" y="1017360"/>
                      </a:lnTo>
                      <a:lnTo>
                        <a:pt x="605192" y="1017287"/>
                      </a:lnTo>
                      <a:lnTo>
                        <a:pt x="603868" y="1017882"/>
                      </a:lnTo>
                      <a:lnTo>
                        <a:pt x="603188" y="1018890"/>
                      </a:lnTo>
                      <a:lnTo>
                        <a:pt x="601974" y="1021707"/>
                      </a:lnTo>
                      <a:lnTo>
                        <a:pt x="600881" y="1023115"/>
                      </a:lnTo>
                      <a:lnTo>
                        <a:pt x="599509" y="1024488"/>
                      </a:lnTo>
                      <a:lnTo>
                        <a:pt x="591410" y="1030377"/>
                      </a:lnTo>
                      <a:lnTo>
                        <a:pt x="590778" y="1030595"/>
                      </a:lnTo>
                      <a:lnTo>
                        <a:pt x="589916" y="1030632"/>
                      </a:lnTo>
                      <a:lnTo>
                        <a:pt x="588763" y="1030316"/>
                      </a:lnTo>
                      <a:lnTo>
                        <a:pt x="584343" y="1028215"/>
                      </a:lnTo>
                      <a:lnTo>
                        <a:pt x="570900" y="1034360"/>
                      </a:lnTo>
                      <a:lnTo>
                        <a:pt x="567865" y="1036521"/>
                      </a:lnTo>
                      <a:lnTo>
                        <a:pt x="562983" y="1041111"/>
                      </a:lnTo>
                      <a:lnTo>
                        <a:pt x="555807" y="1046454"/>
                      </a:lnTo>
                      <a:lnTo>
                        <a:pt x="552188" y="1048579"/>
                      </a:lnTo>
                      <a:lnTo>
                        <a:pt x="549492" y="1049380"/>
                      </a:lnTo>
                      <a:lnTo>
                        <a:pt x="544842" y="1049611"/>
                      </a:lnTo>
                      <a:lnTo>
                        <a:pt x="540300" y="1050983"/>
                      </a:lnTo>
                      <a:lnTo>
                        <a:pt x="538114" y="1052392"/>
                      </a:lnTo>
                      <a:lnTo>
                        <a:pt x="537034" y="1053691"/>
                      </a:lnTo>
                      <a:lnTo>
                        <a:pt x="536864" y="1054772"/>
                      </a:lnTo>
                      <a:lnTo>
                        <a:pt x="536864" y="1055816"/>
                      </a:lnTo>
                      <a:lnTo>
                        <a:pt x="537082" y="1056994"/>
                      </a:lnTo>
                      <a:lnTo>
                        <a:pt x="537495" y="1058306"/>
                      </a:lnTo>
                      <a:lnTo>
                        <a:pt x="538357" y="1059921"/>
                      </a:lnTo>
                      <a:lnTo>
                        <a:pt x="539499" y="1061523"/>
                      </a:lnTo>
                      <a:lnTo>
                        <a:pt x="542595" y="1065057"/>
                      </a:lnTo>
                      <a:lnTo>
                        <a:pt x="543227" y="1066405"/>
                      </a:lnTo>
                      <a:lnTo>
                        <a:pt x="543530" y="1067753"/>
                      </a:lnTo>
                      <a:lnTo>
                        <a:pt x="543117" y="1069368"/>
                      </a:lnTo>
                      <a:lnTo>
                        <a:pt x="542437" y="1069878"/>
                      </a:lnTo>
                      <a:lnTo>
                        <a:pt x="540070" y="1070339"/>
                      </a:lnTo>
                      <a:lnTo>
                        <a:pt x="537774" y="1071080"/>
                      </a:lnTo>
                      <a:lnTo>
                        <a:pt x="533245" y="1073521"/>
                      </a:lnTo>
                      <a:lnTo>
                        <a:pt x="530841" y="1074128"/>
                      </a:lnTo>
                      <a:lnTo>
                        <a:pt x="528983" y="1073751"/>
                      </a:lnTo>
                      <a:lnTo>
                        <a:pt x="526639" y="1070740"/>
                      </a:lnTo>
                      <a:lnTo>
                        <a:pt x="525546" y="1069817"/>
                      </a:lnTo>
                      <a:lnTo>
                        <a:pt x="524454" y="1069283"/>
                      </a:lnTo>
                      <a:lnTo>
                        <a:pt x="523482" y="1069137"/>
                      </a:lnTo>
                      <a:lnTo>
                        <a:pt x="518661" y="1070048"/>
                      </a:lnTo>
                      <a:lnTo>
                        <a:pt x="504479" y="1070922"/>
                      </a:lnTo>
                      <a:lnTo>
                        <a:pt x="502111" y="1070691"/>
                      </a:lnTo>
                      <a:lnTo>
                        <a:pt x="496258" y="1069040"/>
                      </a:lnTo>
                      <a:lnTo>
                        <a:pt x="488923" y="1065604"/>
                      </a:lnTo>
                      <a:lnTo>
                        <a:pt x="486677" y="1064863"/>
                      </a:lnTo>
                      <a:lnTo>
                        <a:pt x="485523" y="1064644"/>
                      </a:lnTo>
                      <a:lnTo>
                        <a:pt x="484321" y="1064705"/>
                      </a:lnTo>
                      <a:lnTo>
                        <a:pt x="482075" y="1065227"/>
                      </a:lnTo>
                      <a:lnTo>
                        <a:pt x="480132" y="1066781"/>
                      </a:lnTo>
                      <a:lnTo>
                        <a:pt x="478456" y="1068846"/>
                      </a:lnTo>
                      <a:lnTo>
                        <a:pt x="475360" y="1075014"/>
                      </a:lnTo>
                      <a:lnTo>
                        <a:pt x="474437" y="1076484"/>
                      </a:lnTo>
                      <a:lnTo>
                        <a:pt x="473125" y="1077722"/>
                      </a:lnTo>
                      <a:lnTo>
                        <a:pt x="470418" y="1079410"/>
                      </a:lnTo>
                      <a:lnTo>
                        <a:pt x="468292" y="1079762"/>
                      </a:lnTo>
                      <a:lnTo>
                        <a:pt x="466520" y="1079325"/>
                      </a:lnTo>
                      <a:lnTo>
                        <a:pt x="465487" y="1078293"/>
                      </a:lnTo>
                      <a:lnTo>
                        <a:pt x="465026" y="1077054"/>
                      </a:lnTo>
                      <a:lnTo>
                        <a:pt x="464795" y="1075621"/>
                      </a:lnTo>
                      <a:lnTo>
                        <a:pt x="464565" y="1074480"/>
                      </a:lnTo>
                      <a:lnTo>
                        <a:pt x="464055" y="1073229"/>
                      </a:lnTo>
                      <a:lnTo>
                        <a:pt x="462670" y="1072209"/>
                      </a:lnTo>
                      <a:lnTo>
                        <a:pt x="460557" y="1071517"/>
                      </a:lnTo>
                      <a:lnTo>
                        <a:pt x="457097" y="1071602"/>
                      </a:lnTo>
                      <a:lnTo>
                        <a:pt x="455324" y="1072258"/>
                      </a:lnTo>
                      <a:lnTo>
                        <a:pt x="454340" y="1073156"/>
                      </a:lnTo>
                      <a:lnTo>
                        <a:pt x="454110" y="1074359"/>
                      </a:lnTo>
                      <a:lnTo>
                        <a:pt x="454280" y="1077722"/>
                      </a:lnTo>
                      <a:lnTo>
                        <a:pt x="454741" y="1080612"/>
                      </a:lnTo>
                      <a:lnTo>
                        <a:pt x="454802" y="1083405"/>
                      </a:lnTo>
                      <a:lnTo>
                        <a:pt x="454000" y="1085676"/>
                      </a:lnTo>
                      <a:lnTo>
                        <a:pt x="447564" y="1086271"/>
                      </a:lnTo>
                      <a:lnTo>
                        <a:pt x="445622" y="1085469"/>
                      </a:lnTo>
                      <a:lnTo>
                        <a:pt x="443776" y="1084291"/>
                      </a:lnTo>
                      <a:lnTo>
                        <a:pt x="442865" y="1082713"/>
                      </a:lnTo>
                      <a:lnTo>
                        <a:pt x="442574" y="1080649"/>
                      </a:lnTo>
                      <a:lnTo>
                        <a:pt x="442574" y="1078111"/>
                      </a:lnTo>
                      <a:lnTo>
                        <a:pt x="442975" y="1075075"/>
                      </a:lnTo>
                      <a:lnTo>
                        <a:pt x="443484" y="1072841"/>
                      </a:lnTo>
                      <a:lnTo>
                        <a:pt x="444067" y="1071056"/>
                      </a:lnTo>
                      <a:lnTo>
                        <a:pt x="445039" y="1069684"/>
                      </a:lnTo>
                      <a:lnTo>
                        <a:pt x="449629" y="1065543"/>
                      </a:lnTo>
                      <a:lnTo>
                        <a:pt x="451365" y="1062956"/>
                      </a:lnTo>
                      <a:lnTo>
                        <a:pt x="453709" y="1057589"/>
                      </a:lnTo>
                      <a:lnTo>
                        <a:pt x="460132" y="1049126"/>
                      </a:lnTo>
                      <a:lnTo>
                        <a:pt x="462962" y="1043297"/>
                      </a:lnTo>
                      <a:lnTo>
                        <a:pt x="463363" y="1041087"/>
                      </a:lnTo>
                      <a:lnTo>
                        <a:pt x="462610" y="1040103"/>
                      </a:lnTo>
                      <a:lnTo>
                        <a:pt x="461177" y="1040674"/>
                      </a:lnTo>
                      <a:lnTo>
                        <a:pt x="459744" y="1041779"/>
                      </a:lnTo>
                      <a:lnTo>
                        <a:pt x="456417" y="1044985"/>
                      </a:lnTo>
                      <a:lnTo>
                        <a:pt x="455081" y="1045592"/>
                      </a:lnTo>
                      <a:lnTo>
                        <a:pt x="453490" y="1045446"/>
                      </a:lnTo>
                      <a:lnTo>
                        <a:pt x="451644" y="1044620"/>
                      </a:lnTo>
                      <a:lnTo>
                        <a:pt x="449872" y="1044353"/>
                      </a:lnTo>
                      <a:lnTo>
                        <a:pt x="447807" y="1044815"/>
                      </a:lnTo>
                      <a:lnTo>
                        <a:pt x="445792" y="1045847"/>
                      </a:lnTo>
                      <a:lnTo>
                        <a:pt x="444359" y="1047256"/>
                      </a:lnTo>
                      <a:lnTo>
                        <a:pt x="443484" y="1048640"/>
                      </a:lnTo>
                      <a:lnTo>
                        <a:pt x="442865" y="1049866"/>
                      </a:lnTo>
                      <a:lnTo>
                        <a:pt x="442112" y="1050959"/>
                      </a:lnTo>
                      <a:lnTo>
                        <a:pt x="441250" y="1051651"/>
                      </a:lnTo>
                      <a:lnTo>
                        <a:pt x="440048" y="1052052"/>
                      </a:lnTo>
                      <a:lnTo>
                        <a:pt x="438724" y="1051797"/>
                      </a:lnTo>
                      <a:lnTo>
                        <a:pt x="437401" y="1050850"/>
                      </a:lnTo>
                      <a:lnTo>
                        <a:pt x="435749" y="1048664"/>
                      </a:lnTo>
                      <a:lnTo>
                        <a:pt x="434997" y="1046600"/>
                      </a:lnTo>
                      <a:lnTo>
                        <a:pt x="434814" y="1044645"/>
                      </a:lnTo>
                      <a:lnTo>
                        <a:pt x="435069" y="1043066"/>
                      </a:lnTo>
                      <a:lnTo>
                        <a:pt x="435397" y="1041888"/>
                      </a:lnTo>
                      <a:lnTo>
                        <a:pt x="436211" y="1039994"/>
                      </a:lnTo>
                      <a:lnTo>
                        <a:pt x="440874" y="1032672"/>
                      </a:lnTo>
                      <a:lnTo>
                        <a:pt x="441432" y="1030595"/>
                      </a:lnTo>
                      <a:lnTo>
                        <a:pt x="441214" y="1029393"/>
                      </a:lnTo>
                      <a:lnTo>
                        <a:pt x="440060" y="1028106"/>
                      </a:lnTo>
                      <a:lnTo>
                        <a:pt x="438967" y="1027645"/>
                      </a:lnTo>
                      <a:lnTo>
                        <a:pt x="437255" y="1027645"/>
                      </a:lnTo>
                      <a:lnTo>
                        <a:pt x="432252" y="1033740"/>
                      </a:lnTo>
                      <a:lnTo>
                        <a:pt x="430067" y="1038755"/>
                      </a:lnTo>
                      <a:lnTo>
                        <a:pt x="429666" y="1041366"/>
                      </a:lnTo>
                      <a:lnTo>
                        <a:pt x="429605" y="1043115"/>
                      </a:lnTo>
                      <a:lnTo>
                        <a:pt x="429836" y="1045592"/>
                      </a:lnTo>
                      <a:lnTo>
                        <a:pt x="434377" y="1059435"/>
                      </a:lnTo>
                      <a:lnTo>
                        <a:pt x="435009" y="1062786"/>
                      </a:lnTo>
                      <a:lnTo>
                        <a:pt x="435009" y="1065033"/>
                      </a:lnTo>
                      <a:lnTo>
                        <a:pt x="434268" y="1066721"/>
                      </a:lnTo>
                      <a:lnTo>
                        <a:pt x="432932" y="1067668"/>
                      </a:lnTo>
                      <a:lnTo>
                        <a:pt x="430929" y="1067692"/>
                      </a:lnTo>
                      <a:lnTo>
                        <a:pt x="426569" y="1066065"/>
                      </a:lnTo>
                      <a:lnTo>
                        <a:pt x="424493" y="1065519"/>
                      </a:lnTo>
                      <a:lnTo>
                        <a:pt x="422951" y="1065482"/>
                      </a:lnTo>
                      <a:lnTo>
                        <a:pt x="421518" y="1065628"/>
                      </a:lnTo>
                      <a:lnTo>
                        <a:pt x="419903" y="1065944"/>
                      </a:lnTo>
                      <a:lnTo>
                        <a:pt x="416515" y="1064450"/>
                      </a:lnTo>
                      <a:lnTo>
                        <a:pt x="414730" y="1064086"/>
                      </a:lnTo>
                      <a:lnTo>
                        <a:pt x="412666" y="1064195"/>
                      </a:lnTo>
                      <a:lnTo>
                        <a:pt x="410541" y="1065604"/>
                      </a:lnTo>
                      <a:lnTo>
                        <a:pt x="409108" y="1067304"/>
                      </a:lnTo>
                      <a:lnTo>
                        <a:pt x="407274" y="1070364"/>
                      </a:lnTo>
                      <a:lnTo>
                        <a:pt x="405599" y="1071456"/>
                      </a:lnTo>
                      <a:lnTo>
                        <a:pt x="404105" y="1071736"/>
                      </a:lnTo>
                      <a:lnTo>
                        <a:pt x="402854" y="1070946"/>
                      </a:lnTo>
                      <a:lnTo>
                        <a:pt x="402223" y="1069768"/>
                      </a:lnTo>
                      <a:lnTo>
                        <a:pt x="401470" y="1063333"/>
                      </a:lnTo>
                      <a:lnTo>
                        <a:pt x="400948" y="1061523"/>
                      </a:lnTo>
                      <a:lnTo>
                        <a:pt x="399357" y="1061183"/>
                      </a:lnTo>
                      <a:lnTo>
                        <a:pt x="396358" y="1061499"/>
                      </a:lnTo>
                      <a:lnTo>
                        <a:pt x="390165" y="1064280"/>
                      </a:lnTo>
                      <a:lnTo>
                        <a:pt x="387056" y="1065264"/>
                      </a:lnTo>
                      <a:lnTo>
                        <a:pt x="384992" y="1065604"/>
                      </a:lnTo>
                      <a:lnTo>
                        <a:pt x="383717" y="1064863"/>
                      </a:lnTo>
                      <a:lnTo>
                        <a:pt x="382806" y="1063709"/>
                      </a:lnTo>
                      <a:lnTo>
                        <a:pt x="382126" y="1062216"/>
                      </a:lnTo>
                      <a:lnTo>
                        <a:pt x="382065" y="1059945"/>
                      </a:lnTo>
                      <a:lnTo>
                        <a:pt x="382648" y="1057735"/>
                      </a:lnTo>
                      <a:lnTo>
                        <a:pt x="383838" y="1055343"/>
                      </a:lnTo>
                      <a:lnTo>
                        <a:pt x="388781" y="1050437"/>
                      </a:lnTo>
                      <a:lnTo>
                        <a:pt x="389412" y="1049150"/>
                      </a:lnTo>
                      <a:lnTo>
                        <a:pt x="389121" y="1048458"/>
                      </a:lnTo>
                      <a:lnTo>
                        <a:pt x="388671" y="1047972"/>
                      </a:lnTo>
                      <a:lnTo>
                        <a:pt x="386546" y="1046988"/>
                      </a:lnTo>
                      <a:lnTo>
                        <a:pt x="385854" y="1046272"/>
                      </a:lnTo>
                      <a:lnTo>
                        <a:pt x="385393" y="1045738"/>
                      </a:lnTo>
                      <a:lnTo>
                        <a:pt x="384531" y="1045070"/>
                      </a:lnTo>
                      <a:lnTo>
                        <a:pt x="383207" y="1044293"/>
                      </a:lnTo>
                      <a:lnTo>
                        <a:pt x="380220" y="1044013"/>
                      </a:lnTo>
                      <a:lnTo>
                        <a:pt x="378787" y="1044378"/>
                      </a:lnTo>
                      <a:lnTo>
                        <a:pt x="377985" y="1045300"/>
                      </a:lnTo>
                      <a:lnTo>
                        <a:pt x="377816" y="1046855"/>
                      </a:lnTo>
                      <a:lnTo>
                        <a:pt x="377985" y="1048871"/>
                      </a:lnTo>
                      <a:lnTo>
                        <a:pt x="377864" y="1051044"/>
                      </a:lnTo>
                      <a:lnTo>
                        <a:pt x="377415" y="1053060"/>
                      </a:lnTo>
                      <a:lnTo>
                        <a:pt x="375460" y="1054893"/>
                      </a:lnTo>
                      <a:lnTo>
                        <a:pt x="373274" y="1055379"/>
                      </a:lnTo>
                      <a:lnTo>
                        <a:pt x="370688" y="1055731"/>
                      </a:lnTo>
                      <a:lnTo>
                        <a:pt x="368854" y="1056618"/>
                      </a:lnTo>
                      <a:lnTo>
                        <a:pt x="367421" y="1057796"/>
                      </a:lnTo>
                      <a:lnTo>
                        <a:pt x="364895" y="1061293"/>
                      </a:lnTo>
                      <a:lnTo>
                        <a:pt x="363171" y="1063248"/>
                      </a:lnTo>
                      <a:lnTo>
                        <a:pt x="360063" y="1065458"/>
                      </a:lnTo>
                      <a:lnTo>
                        <a:pt x="357901" y="1065579"/>
                      </a:lnTo>
                      <a:lnTo>
                        <a:pt x="356104" y="1064426"/>
                      </a:lnTo>
                      <a:lnTo>
                        <a:pt x="354963" y="1062216"/>
                      </a:lnTo>
                      <a:lnTo>
                        <a:pt x="354610" y="1059168"/>
                      </a:lnTo>
                      <a:lnTo>
                        <a:pt x="354853" y="1056326"/>
                      </a:lnTo>
                      <a:lnTo>
                        <a:pt x="355715" y="1052999"/>
                      </a:lnTo>
                      <a:lnTo>
                        <a:pt x="357088" y="1050097"/>
                      </a:lnTo>
                      <a:lnTo>
                        <a:pt x="358921" y="1047425"/>
                      </a:lnTo>
                      <a:lnTo>
                        <a:pt x="361617" y="1045155"/>
                      </a:lnTo>
                      <a:lnTo>
                        <a:pt x="366097" y="1042265"/>
                      </a:lnTo>
                      <a:lnTo>
                        <a:pt x="367190" y="1041342"/>
                      </a:lnTo>
                      <a:lnTo>
                        <a:pt x="368405" y="1039739"/>
                      </a:lnTo>
                      <a:lnTo>
                        <a:pt x="368793" y="1037978"/>
                      </a:lnTo>
                      <a:lnTo>
                        <a:pt x="368733" y="1036181"/>
                      </a:lnTo>
                      <a:lnTo>
                        <a:pt x="368162" y="1033097"/>
                      </a:lnTo>
                      <a:lnTo>
                        <a:pt x="368162" y="1031263"/>
                      </a:lnTo>
                      <a:lnTo>
                        <a:pt x="368623" y="1029114"/>
                      </a:lnTo>
                      <a:lnTo>
                        <a:pt x="372023" y="1023431"/>
                      </a:lnTo>
                      <a:lnTo>
                        <a:pt x="372533" y="1021015"/>
                      </a:lnTo>
                      <a:lnTo>
                        <a:pt x="372995" y="1015247"/>
                      </a:lnTo>
                      <a:lnTo>
                        <a:pt x="372995" y="1013899"/>
                      </a:lnTo>
                      <a:lnTo>
                        <a:pt x="372643" y="1013000"/>
                      </a:lnTo>
                      <a:lnTo>
                        <a:pt x="371720" y="1012089"/>
                      </a:lnTo>
                      <a:lnTo>
                        <a:pt x="370809" y="1011944"/>
                      </a:lnTo>
                      <a:lnTo>
                        <a:pt x="369145" y="1012175"/>
                      </a:lnTo>
                      <a:lnTo>
                        <a:pt x="367130" y="1012770"/>
                      </a:lnTo>
                      <a:lnTo>
                        <a:pt x="364895" y="1012940"/>
                      </a:lnTo>
                      <a:lnTo>
                        <a:pt x="363463" y="1012284"/>
                      </a:lnTo>
                      <a:lnTo>
                        <a:pt x="362892" y="1011227"/>
                      </a:lnTo>
                      <a:lnTo>
                        <a:pt x="363353" y="1009673"/>
                      </a:lnTo>
                      <a:lnTo>
                        <a:pt x="364203" y="1007973"/>
                      </a:lnTo>
                      <a:lnTo>
                        <a:pt x="365005" y="1005739"/>
                      </a:lnTo>
                      <a:lnTo>
                        <a:pt x="365357" y="1003468"/>
                      </a:lnTo>
                      <a:lnTo>
                        <a:pt x="365357" y="999619"/>
                      </a:lnTo>
                      <a:lnTo>
                        <a:pt x="364956" y="997676"/>
                      </a:lnTo>
                      <a:lnTo>
                        <a:pt x="364203" y="995490"/>
                      </a:lnTo>
                      <a:lnTo>
                        <a:pt x="361957" y="993304"/>
                      </a:lnTo>
                      <a:lnTo>
                        <a:pt x="360063" y="992940"/>
                      </a:lnTo>
                      <a:lnTo>
                        <a:pt x="357901" y="993766"/>
                      </a:lnTo>
                      <a:lnTo>
                        <a:pt x="356043" y="995551"/>
                      </a:lnTo>
                      <a:lnTo>
                        <a:pt x="354550" y="997530"/>
                      </a:lnTo>
                      <a:lnTo>
                        <a:pt x="353347" y="1000141"/>
                      </a:lnTo>
                      <a:lnTo>
                        <a:pt x="353007" y="1001088"/>
                      </a:lnTo>
                      <a:lnTo>
                        <a:pt x="352837" y="1002351"/>
                      </a:lnTo>
                      <a:lnTo>
                        <a:pt x="352728" y="1004306"/>
                      </a:lnTo>
                      <a:lnTo>
                        <a:pt x="353238" y="1011592"/>
                      </a:lnTo>
                      <a:lnTo>
                        <a:pt x="352947" y="1013753"/>
                      </a:lnTo>
                      <a:lnTo>
                        <a:pt x="351684" y="1015356"/>
                      </a:lnTo>
                      <a:lnTo>
                        <a:pt x="349680" y="1016619"/>
                      </a:lnTo>
                      <a:lnTo>
                        <a:pt x="346183" y="1017105"/>
                      </a:lnTo>
                      <a:lnTo>
                        <a:pt x="344228" y="1016425"/>
                      </a:lnTo>
                      <a:lnTo>
                        <a:pt x="343135" y="1015186"/>
                      </a:lnTo>
                      <a:lnTo>
                        <a:pt x="342844" y="1012770"/>
                      </a:lnTo>
                      <a:lnTo>
                        <a:pt x="343075" y="1005022"/>
                      </a:lnTo>
                      <a:lnTo>
                        <a:pt x="342443" y="1000602"/>
                      </a:lnTo>
                      <a:lnTo>
                        <a:pt x="342164" y="999764"/>
                      </a:lnTo>
                      <a:lnTo>
                        <a:pt x="341581" y="998623"/>
                      </a:lnTo>
                      <a:lnTo>
                        <a:pt x="339577" y="995757"/>
                      </a:lnTo>
                      <a:lnTo>
                        <a:pt x="336068" y="998356"/>
                      </a:lnTo>
                      <a:lnTo>
                        <a:pt x="334526" y="998878"/>
                      </a:lnTo>
                      <a:lnTo>
                        <a:pt x="332510" y="999218"/>
                      </a:lnTo>
                      <a:lnTo>
                        <a:pt x="330664" y="1000141"/>
                      </a:lnTo>
                      <a:lnTo>
                        <a:pt x="329292" y="1001659"/>
                      </a:lnTo>
                      <a:lnTo>
                        <a:pt x="328782" y="1003675"/>
                      </a:lnTo>
                      <a:lnTo>
                        <a:pt x="328491" y="1008204"/>
                      </a:lnTo>
                      <a:lnTo>
                        <a:pt x="329110" y="1009442"/>
                      </a:lnTo>
                      <a:lnTo>
                        <a:pt x="332729" y="1012697"/>
                      </a:lnTo>
                      <a:lnTo>
                        <a:pt x="333190" y="1013802"/>
                      </a:lnTo>
                      <a:lnTo>
                        <a:pt x="333372" y="1015332"/>
                      </a:lnTo>
                      <a:lnTo>
                        <a:pt x="332789" y="1017190"/>
                      </a:lnTo>
                      <a:lnTo>
                        <a:pt x="330847" y="1020007"/>
                      </a:lnTo>
                      <a:lnTo>
                        <a:pt x="330154" y="1021355"/>
                      </a:lnTo>
                      <a:lnTo>
                        <a:pt x="329924" y="1022970"/>
                      </a:lnTo>
                      <a:lnTo>
                        <a:pt x="330276" y="1024403"/>
                      </a:lnTo>
                      <a:lnTo>
                        <a:pt x="331247" y="1026904"/>
                      </a:lnTo>
                      <a:lnTo>
                        <a:pt x="331417" y="1028592"/>
                      </a:lnTo>
                      <a:lnTo>
                        <a:pt x="331017" y="1030207"/>
                      </a:lnTo>
                      <a:lnTo>
                        <a:pt x="329414" y="1031263"/>
                      </a:lnTo>
                      <a:lnTo>
                        <a:pt x="327799" y="1031008"/>
                      </a:lnTo>
                      <a:lnTo>
                        <a:pt x="326305" y="1029855"/>
                      </a:lnTo>
                      <a:lnTo>
                        <a:pt x="323998" y="1027208"/>
                      </a:lnTo>
                      <a:lnTo>
                        <a:pt x="322577" y="1025920"/>
                      </a:lnTo>
                      <a:lnTo>
                        <a:pt x="319590" y="1024063"/>
                      </a:lnTo>
                      <a:lnTo>
                        <a:pt x="318607" y="1022824"/>
                      </a:lnTo>
                      <a:lnTo>
                        <a:pt x="317635" y="1020237"/>
                      </a:lnTo>
                      <a:lnTo>
                        <a:pt x="316894" y="1019375"/>
                      </a:lnTo>
                      <a:lnTo>
                        <a:pt x="315292" y="1018659"/>
                      </a:lnTo>
                      <a:lnTo>
                        <a:pt x="311369" y="1017457"/>
                      </a:lnTo>
                      <a:lnTo>
                        <a:pt x="307654" y="1017481"/>
                      </a:lnTo>
                      <a:lnTo>
                        <a:pt x="304946" y="1017748"/>
                      </a:lnTo>
                      <a:lnTo>
                        <a:pt x="303331" y="1018404"/>
                      </a:lnTo>
                      <a:lnTo>
                        <a:pt x="302129" y="1019205"/>
                      </a:lnTo>
                      <a:lnTo>
                        <a:pt x="301327" y="1020347"/>
                      </a:lnTo>
                      <a:lnTo>
                        <a:pt x="300926" y="1021755"/>
                      </a:lnTo>
                      <a:lnTo>
                        <a:pt x="301109" y="1023055"/>
                      </a:lnTo>
                      <a:lnTo>
                        <a:pt x="301497" y="1024172"/>
                      </a:lnTo>
                      <a:lnTo>
                        <a:pt x="301789" y="1025520"/>
                      </a:lnTo>
                      <a:lnTo>
                        <a:pt x="301619" y="1026552"/>
                      </a:lnTo>
                      <a:lnTo>
                        <a:pt x="300926" y="1027681"/>
                      </a:lnTo>
                      <a:lnTo>
                        <a:pt x="298401" y="1029660"/>
                      </a:lnTo>
                      <a:lnTo>
                        <a:pt x="297029" y="1031033"/>
                      </a:lnTo>
                      <a:lnTo>
                        <a:pt x="292426" y="1037408"/>
                      </a:lnTo>
                      <a:lnTo>
                        <a:pt x="290544" y="1040795"/>
                      </a:lnTo>
                      <a:lnTo>
                        <a:pt x="289670" y="1042690"/>
                      </a:lnTo>
                      <a:lnTo>
                        <a:pt x="289208" y="1044329"/>
                      </a:lnTo>
                      <a:lnTo>
                        <a:pt x="289269" y="1045883"/>
                      </a:lnTo>
                      <a:lnTo>
                        <a:pt x="289670" y="1047316"/>
                      </a:lnTo>
                      <a:lnTo>
                        <a:pt x="290763" y="1048834"/>
                      </a:lnTo>
                      <a:lnTo>
                        <a:pt x="292135" y="1050133"/>
                      </a:lnTo>
                      <a:lnTo>
                        <a:pt x="295875" y="1052999"/>
                      </a:lnTo>
                      <a:lnTo>
                        <a:pt x="298340" y="1055319"/>
                      </a:lnTo>
                      <a:lnTo>
                        <a:pt x="300586" y="1058111"/>
                      </a:lnTo>
                      <a:lnTo>
                        <a:pt x="307301" y="1073266"/>
                      </a:lnTo>
                      <a:lnTo>
                        <a:pt x="308844" y="1078754"/>
                      </a:lnTo>
                      <a:lnTo>
                        <a:pt x="309135" y="1087570"/>
                      </a:lnTo>
                      <a:lnTo>
                        <a:pt x="313045" y="1107630"/>
                      </a:lnTo>
                      <a:lnTo>
                        <a:pt x="314648" y="1112317"/>
                      </a:lnTo>
                      <a:lnTo>
                        <a:pt x="316542" y="1115596"/>
                      </a:lnTo>
                      <a:lnTo>
                        <a:pt x="323779" y="1122712"/>
                      </a:lnTo>
                      <a:lnTo>
                        <a:pt x="326074" y="1125663"/>
                      </a:lnTo>
                      <a:lnTo>
                        <a:pt x="328661" y="1130653"/>
                      </a:lnTo>
                      <a:lnTo>
                        <a:pt x="329802" y="1134272"/>
                      </a:lnTo>
                      <a:lnTo>
                        <a:pt x="330276" y="1137405"/>
                      </a:lnTo>
                      <a:lnTo>
                        <a:pt x="330154" y="1146621"/>
                      </a:lnTo>
                      <a:lnTo>
                        <a:pt x="330968" y="1152802"/>
                      </a:lnTo>
                      <a:lnTo>
                        <a:pt x="331017" y="1155206"/>
                      </a:lnTo>
                      <a:lnTo>
                        <a:pt x="330664" y="1157161"/>
                      </a:lnTo>
                      <a:lnTo>
                        <a:pt x="330094" y="1158691"/>
                      </a:lnTo>
                      <a:lnTo>
                        <a:pt x="327920" y="1161581"/>
                      </a:lnTo>
                      <a:lnTo>
                        <a:pt x="327107" y="1163281"/>
                      </a:lnTo>
                      <a:lnTo>
                        <a:pt x="327046" y="1166560"/>
                      </a:lnTo>
                      <a:lnTo>
                        <a:pt x="327920" y="1168988"/>
                      </a:lnTo>
                      <a:lnTo>
                        <a:pt x="329292" y="1171575"/>
                      </a:lnTo>
                      <a:lnTo>
                        <a:pt x="330446" y="1173178"/>
                      </a:lnTo>
                      <a:lnTo>
                        <a:pt x="331757" y="1174076"/>
                      </a:lnTo>
                      <a:lnTo>
                        <a:pt x="333652" y="1174307"/>
                      </a:lnTo>
                      <a:lnTo>
                        <a:pt x="335898" y="1173809"/>
                      </a:lnTo>
                      <a:lnTo>
                        <a:pt x="341411" y="1171866"/>
                      </a:lnTo>
                      <a:lnTo>
                        <a:pt x="345661" y="1171028"/>
                      </a:lnTo>
                      <a:lnTo>
                        <a:pt x="348065" y="1170859"/>
                      </a:lnTo>
                      <a:lnTo>
                        <a:pt x="350870" y="1171344"/>
                      </a:lnTo>
                      <a:lnTo>
                        <a:pt x="353578" y="1172546"/>
                      </a:lnTo>
                      <a:lnTo>
                        <a:pt x="356347" y="1175109"/>
                      </a:lnTo>
                      <a:lnTo>
                        <a:pt x="357780" y="1177598"/>
                      </a:lnTo>
                      <a:lnTo>
                        <a:pt x="358690" y="1180500"/>
                      </a:lnTo>
                      <a:lnTo>
                        <a:pt x="359431" y="1183657"/>
                      </a:lnTo>
                      <a:lnTo>
                        <a:pt x="360524" y="1185952"/>
                      </a:lnTo>
                      <a:lnTo>
                        <a:pt x="364203" y="1190664"/>
                      </a:lnTo>
                      <a:lnTo>
                        <a:pt x="365928" y="1193505"/>
                      </a:lnTo>
                      <a:lnTo>
                        <a:pt x="365806" y="1195484"/>
                      </a:lnTo>
                      <a:lnTo>
                        <a:pt x="364543" y="1198532"/>
                      </a:lnTo>
                      <a:lnTo>
                        <a:pt x="364325" y="1199601"/>
                      </a:lnTo>
                      <a:lnTo>
                        <a:pt x="364325" y="1200026"/>
                      </a:lnTo>
                      <a:lnTo>
                        <a:pt x="364325" y="1200511"/>
                      </a:lnTo>
                      <a:lnTo>
                        <a:pt x="364434" y="1201204"/>
                      </a:lnTo>
                      <a:lnTo>
                        <a:pt x="364786" y="1202782"/>
                      </a:lnTo>
                      <a:lnTo>
                        <a:pt x="365575" y="1203499"/>
                      </a:lnTo>
                      <a:lnTo>
                        <a:pt x="367069" y="1203997"/>
                      </a:lnTo>
                      <a:lnTo>
                        <a:pt x="369024" y="1204070"/>
                      </a:lnTo>
                      <a:lnTo>
                        <a:pt x="372995" y="1204713"/>
                      </a:lnTo>
                      <a:lnTo>
                        <a:pt x="376443" y="1206632"/>
                      </a:lnTo>
                      <a:lnTo>
                        <a:pt x="376504" y="1212084"/>
                      </a:lnTo>
                      <a:lnTo>
                        <a:pt x="375351" y="1215557"/>
                      </a:lnTo>
                      <a:lnTo>
                        <a:pt x="373857" y="1218969"/>
                      </a:lnTo>
                      <a:lnTo>
                        <a:pt x="372072" y="1221531"/>
                      </a:lnTo>
                      <a:lnTo>
                        <a:pt x="370530" y="1223146"/>
                      </a:lnTo>
                      <a:lnTo>
                        <a:pt x="368465" y="1224943"/>
                      </a:lnTo>
                      <a:lnTo>
                        <a:pt x="362139" y="1230723"/>
                      </a:lnTo>
                      <a:lnTo>
                        <a:pt x="359723" y="1235143"/>
                      </a:lnTo>
                      <a:lnTo>
                        <a:pt x="357937" y="1240680"/>
                      </a:lnTo>
                      <a:lnTo>
                        <a:pt x="355533" y="1245477"/>
                      </a:lnTo>
                      <a:lnTo>
                        <a:pt x="352667" y="1249010"/>
                      </a:lnTo>
                      <a:lnTo>
                        <a:pt x="347835" y="1253831"/>
                      </a:lnTo>
                      <a:lnTo>
                        <a:pt x="344847" y="1255810"/>
                      </a:lnTo>
                      <a:lnTo>
                        <a:pt x="341532" y="1256381"/>
                      </a:lnTo>
                      <a:lnTo>
                        <a:pt x="338363" y="1254948"/>
                      </a:lnTo>
                      <a:lnTo>
                        <a:pt x="335898" y="1252738"/>
                      </a:lnTo>
                      <a:lnTo>
                        <a:pt x="334684" y="1250043"/>
                      </a:lnTo>
                      <a:lnTo>
                        <a:pt x="334404" y="1247833"/>
                      </a:lnTo>
                      <a:lnTo>
                        <a:pt x="334344" y="1245914"/>
                      </a:lnTo>
                      <a:lnTo>
                        <a:pt x="333882" y="1244615"/>
                      </a:lnTo>
                      <a:lnTo>
                        <a:pt x="332972" y="1244032"/>
                      </a:lnTo>
                      <a:lnTo>
                        <a:pt x="331017" y="1243838"/>
                      </a:lnTo>
                      <a:lnTo>
                        <a:pt x="328139" y="1243898"/>
                      </a:lnTo>
                      <a:lnTo>
                        <a:pt x="322116" y="1243352"/>
                      </a:lnTo>
                      <a:lnTo>
                        <a:pt x="319250" y="1242514"/>
                      </a:lnTo>
                      <a:lnTo>
                        <a:pt x="315972" y="1241020"/>
                      </a:lnTo>
                      <a:lnTo>
                        <a:pt x="313106" y="1239017"/>
                      </a:lnTo>
                      <a:lnTo>
                        <a:pt x="307532" y="1233382"/>
                      </a:lnTo>
                      <a:lnTo>
                        <a:pt x="303683" y="1230918"/>
                      </a:lnTo>
                      <a:lnTo>
                        <a:pt x="293458" y="1222332"/>
                      </a:lnTo>
                      <a:lnTo>
                        <a:pt x="288468" y="1219467"/>
                      </a:lnTo>
                      <a:lnTo>
                        <a:pt x="284728" y="1217912"/>
                      </a:lnTo>
                      <a:lnTo>
                        <a:pt x="282542" y="1217742"/>
                      </a:lnTo>
                      <a:lnTo>
                        <a:pt x="280891" y="1218459"/>
                      </a:lnTo>
                      <a:lnTo>
                        <a:pt x="279858" y="1219697"/>
                      </a:lnTo>
                      <a:lnTo>
                        <a:pt x="278693" y="1221434"/>
                      </a:lnTo>
                      <a:lnTo>
                        <a:pt x="277843" y="1223158"/>
                      </a:lnTo>
                      <a:lnTo>
                        <a:pt x="277199" y="1225307"/>
                      </a:lnTo>
                      <a:lnTo>
                        <a:pt x="276968" y="1227335"/>
                      </a:lnTo>
                      <a:lnTo>
                        <a:pt x="276859" y="1229242"/>
                      </a:lnTo>
                      <a:lnTo>
                        <a:pt x="276616" y="1230905"/>
                      </a:lnTo>
                      <a:lnTo>
                        <a:pt x="275876" y="1232508"/>
                      </a:lnTo>
                      <a:lnTo>
                        <a:pt x="274491" y="1234378"/>
                      </a:lnTo>
                      <a:lnTo>
                        <a:pt x="272378" y="1236333"/>
                      </a:lnTo>
                      <a:lnTo>
                        <a:pt x="269440" y="1238276"/>
                      </a:lnTo>
                      <a:lnTo>
                        <a:pt x="265263" y="1239709"/>
                      </a:lnTo>
                      <a:lnTo>
                        <a:pt x="262433" y="1239454"/>
                      </a:lnTo>
                      <a:lnTo>
                        <a:pt x="259798" y="1238143"/>
                      </a:lnTo>
                      <a:lnTo>
                        <a:pt x="257782" y="1236175"/>
                      </a:lnTo>
                      <a:lnTo>
                        <a:pt x="255888" y="1233807"/>
                      </a:lnTo>
                      <a:lnTo>
                        <a:pt x="254856" y="1231598"/>
                      </a:lnTo>
                      <a:lnTo>
                        <a:pt x="254686" y="1229266"/>
                      </a:lnTo>
                      <a:lnTo>
                        <a:pt x="255208" y="1227287"/>
                      </a:lnTo>
                      <a:lnTo>
                        <a:pt x="258596" y="1221543"/>
                      </a:lnTo>
                      <a:lnTo>
                        <a:pt x="258997" y="1219904"/>
                      </a:lnTo>
                      <a:lnTo>
                        <a:pt x="258657" y="1218471"/>
                      </a:lnTo>
                      <a:lnTo>
                        <a:pt x="257503" y="1217123"/>
                      </a:lnTo>
                      <a:lnTo>
                        <a:pt x="255779" y="1216030"/>
                      </a:lnTo>
                      <a:lnTo>
                        <a:pt x="250958" y="1213930"/>
                      </a:lnTo>
                      <a:lnTo>
                        <a:pt x="247680" y="1211719"/>
                      </a:lnTo>
                      <a:lnTo>
                        <a:pt x="244996" y="1209485"/>
                      </a:lnTo>
                      <a:lnTo>
                        <a:pt x="244012" y="1206644"/>
                      </a:lnTo>
                      <a:lnTo>
                        <a:pt x="243539" y="1204604"/>
                      </a:lnTo>
                      <a:lnTo>
                        <a:pt x="242288" y="1204009"/>
                      </a:lnTo>
                      <a:lnTo>
                        <a:pt x="240612" y="1203717"/>
                      </a:lnTo>
                      <a:lnTo>
                        <a:pt x="238791" y="1202564"/>
                      </a:lnTo>
                      <a:lnTo>
                        <a:pt x="238390" y="1201556"/>
                      </a:lnTo>
                      <a:lnTo>
                        <a:pt x="235561" y="1196529"/>
                      </a:lnTo>
                      <a:lnTo>
                        <a:pt x="234942" y="1196334"/>
                      </a:lnTo>
                      <a:lnTo>
                        <a:pt x="235865" y="1193639"/>
                      </a:lnTo>
                      <a:lnTo>
                        <a:pt x="240612" y="1187239"/>
                      </a:lnTo>
                      <a:lnTo>
                        <a:pt x="242567" y="1183536"/>
                      </a:lnTo>
                      <a:lnTo>
                        <a:pt x="243660" y="1179626"/>
                      </a:lnTo>
                      <a:lnTo>
                        <a:pt x="244012" y="1175376"/>
                      </a:lnTo>
                      <a:lnTo>
                        <a:pt x="243600" y="1174538"/>
                      </a:lnTo>
                      <a:lnTo>
                        <a:pt x="241827" y="1172474"/>
                      </a:lnTo>
                      <a:lnTo>
                        <a:pt x="241317" y="1171296"/>
                      </a:lnTo>
                      <a:lnTo>
                        <a:pt x="242410" y="1167738"/>
                      </a:lnTo>
                      <a:lnTo>
                        <a:pt x="242567" y="1166475"/>
                      </a:lnTo>
                      <a:lnTo>
                        <a:pt x="241948" y="1161788"/>
                      </a:lnTo>
                      <a:lnTo>
                        <a:pt x="240285" y="1158861"/>
                      </a:lnTo>
                      <a:lnTo>
                        <a:pt x="238147" y="1156518"/>
                      </a:lnTo>
                      <a:lnTo>
                        <a:pt x="236192" y="1153470"/>
                      </a:lnTo>
                      <a:lnTo>
                        <a:pt x="235500" y="1149827"/>
                      </a:lnTo>
                      <a:lnTo>
                        <a:pt x="235500" y="1145723"/>
                      </a:lnTo>
                      <a:lnTo>
                        <a:pt x="235112" y="1141558"/>
                      </a:lnTo>
                      <a:lnTo>
                        <a:pt x="230060" y="1132511"/>
                      </a:lnTo>
                      <a:lnTo>
                        <a:pt x="229137" y="1131710"/>
                      </a:lnTo>
                      <a:lnTo>
                        <a:pt x="227073" y="1131103"/>
                      </a:lnTo>
                      <a:lnTo>
                        <a:pt x="225519" y="1129524"/>
                      </a:lnTo>
                      <a:lnTo>
                        <a:pt x="224669" y="1127350"/>
                      </a:lnTo>
                      <a:lnTo>
                        <a:pt x="224669" y="1124898"/>
                      </a:lnTo>
                      <a:lnTo>
                        <a:pt x="226794" y="1121947"/>
                      </a:lnTo>
                      <a:lnTo>
                        <a:pt x="235342" y="1115195"/>
                      </a:lnTo>
                      <a:lnTo>
                        <a:pt x="241195" y="1112415"/>
                      </a:lnTo>
                      <a:lnTo>
                        <a:pt x="251602" y="1102967"/>
                      </a:lnTo>
                      <a:lnTo>
                        <a:pt x="253885" y="1100065"/>
                      </a:lnTo>
                      <a:lnTo>
                        <a:pt x="256070" y="1095900"/>
                      </a:lnTo>
                      <a:lnTo>
                        <a:pt x="256811" y="1091347"/>
                      </a:lnTo>
                      <a:lnTo>
                        <a:pt x="254856" y="1087230"/>
                      </a:lnTo>
                      <a:lnTo>
                        <a:pt x="254917" y="1084134"/>
                      </a:lnTo>
                      <a:lnTo>
                        <a:pt x="255779" y="1082931"/>
                      </a:lnTo>
                      <a:lnTo>
                        <a:pt x="256471" y="1077589"/>
                      </a:lnTo>
                      <a:lnTo>
                        <a:pt x="257102" y="1074431"/>
                      </a:lnTo>
                      <a:lnTo>
                        <a:pt x="257734" y="1072683"/>
                      </a:lnTo>
                      <a:lnTo>
                        <a:pt x="260369" y="1068748"/>
                      </a:lnTo>
                      <a:lnTo>
                        <a:pt x="261644" y="1063345"/>
                      </a:lnTo>
                      <a:lnTo>
                        <a:pt x="261353" y="1061196"/>
                      </a:lnTo>
                      <a:lnTo>
                        <a:pt x="260551" y="1058463"/>
                      </a:lnTo>
                      <a:lnTo>
                        <a:pt x="258244" y="1054906"/>
                      </a:lnTo>
                      <a:lnTo>
                        <a:pt x="248772" y="1035003"/>
                      </a:lnTo>
                      <a:lnTo>
                        <a:pt x="246247" y="1031615"/>
                      </a:lnTo>
                      <a:lnTo>
                        <a:pt x="244012" y="1029320"/>
                      </a:lnTo>
                      <a:lnTo>
                        <a:pt x="241013" y="1025216"/>
                      </a:lnTo>
                      <a:lnTo>
                        <a:pt x="240163" y="1022897"/>
                      </a:lnTo>
                      <a:lnTo>
                        <a:pt x="240042" y="1021003"/>
                      </a:lnTo>
                      <a:lnTo>
                        <a:pt x="240734" y="1019764"/>
                      </a:lnTo>
                      <a:lnTo>
                        <a:pt x="242057" y="1018246"/>
                      </a:lnTo>
                      <a:lnTo>
                        <a:pt x="254856" y="1007621"/>
                      </a:lnTo>
                      <a:lnTo>
                        <a:pt x="257965" y="1003286"/>
                      </a:lnTo>
                      <a:lnTo>
                        <a:pt x="259859" y="992624"/>
                      </a:lnTo>
                      <a:lnTo>
                        <a:pt x="262433" y="990014"/>
                      </a:lnTo>
                      <a:lnTo>
                        <a:pt x="279324" y="985630"/>
                      </a:lnTo>
                      <a:lnTo>
                        <a:pt x="283283" y="985023"/>
                      </a:lnTo>
                      <a:lnTo>
                        <a:pt x="285930" y="984914"/>
                      </a:lnTo>
                      <a:lnTo>
                        <a:pt x="291661" y="985970"/>
                      </a:lnTo>
                      <a:lnTo>
                        <a:pt x="295401" y="986019"/>
                      </a:lnTo>
                      <a:lnTo>
                        <a:pt x="297684" y="985448"/>
                      </a:lnTo>
                      <a:lnTo>
                        <a:pt x="300222" y="984076"/>
                      </a:lnTo>
                      <a:lnTo>
                        <a:pt x="302226" y="982473"/>
                      </a:lnTo>
                      <a:lnTo>
                        <a:pt x="308491" y="979024"/>
                      </a:lnTo>
                      <a:lnTo>
                        <a:pt x="326924" y="975345"/>
                      </a:lnTo>
                      <a:lnTo>
                        <a:pt x="333129" y="971993"/>
                      </a:lnTo>
                      <a:lnTo>
                        <a:pt x="333931" y="970694"/>
                      </a:lnTo>
                      <a:lnTo>
                        <a:pt x="334271" y="969747"/>
                      </a:lnTo>
                      <a:lnTo>
                        <a:pt x="334453" y="968909"/>
                      </a:lnTo>
                      <a:lnTo>
                        <a:pt x="334453" y="967513"/>
                      </a:lnTo>
                      <a:lnTo>
                        <a:pt x="334271" y="965667"/>
                      </a:lnTo>
                      <a:lnTo>
                        <a:pt x="333591" y="963287"/>
                      </a:lnTo>
                      <a:lnTo>
                        <a:pt x="332668" y="960907"/>
                      </a:lnTo>
                      <a:lnTo>
                        <a:pt x="330203" y="956366"/>
                      </a:lnTo>
                      <a:lnTo>
                        <a:pt x="329559" y="954411"/>
                      </a:lnTo>
                      <a:lnTo>
                        <a:pt x="329280" y="952468"/>
                      </a:lnTo>
                      <a:lnTo>
                        <a:pt x="329462" y="950464"/>
                      </a:lnTo>
                      <a:lnTo>
                        <a:pt x="329790" y="948351"/>
                      </a:lnTo>
                      <a:lnTo>
                        <a:pt x="330494" y="945656"/>
                      </a:lnTo>
                      <a:lnTo>
                        <a:pt x="331684" y="942535"/>
                      </a:lnTo>
                      <a:lnTo>
                        <a:pt x="333360" y="940385"/>
                      </a:lnTo>
                      <a:lnTo>
                        <a:pt x="335643" y="938710"/>
                      </a:lnTo>
                      <a:lnTo>
                        <a:pt x="338169" y="937338"/>
                      </a:lnTo>
                      <a:lnTo>
                        <a:pt x="341277" y="935116"/>
                      </a:lnTo>
                      <a:lnTo>
                        <a:pt x="344556" y="932165"/>
                      </a:lnTo>
                      <a:lnTo>
                        <a:pt x="347482" y="925134"/>
                      </a:lnTo>
                      <a:lnTo>
                        <a:pt x="349607" y="919281"/>
                      </a:lnTo>
                      <a:lnTo>
                        <a:pt x="357925" y="909202"/>
                      </a:lnTo>
                      <a:lnTo>
                        <a:pt x="359261" y="906555"/>
                      </a:lnTo>
                      <a:lnTo>
                        <a:pt x="359941" y="904600"/>
                      </a:lnTo>
                      <a:lnTo>
                        <a:pt x="360512" y="900350"/>
                      </a:lnTo>
                      <a:lnTo>
                        <a:pt x="364422" y="891802"/>
                      </a:lnTo>
                      <a:lnTo>
                        <a:pt x="370457" y="882670"/>
                      </a:lnTo>
                      <a:lnTo>
                        <a:pt x="371708" y="880254"/>
                      </a:lnTo>
                      <a:lnTo>
                        <a:pt x="371890" y="878299"/>
                      </a:lnTo>
                      <a:lnTo>
                        <a:pt x="370918" y="877242"/>
                      </a:lnTo>
                      <a:lnTo>
                        <a:pt x="367870" y="875348"/>
                      </a:lnTo>
                      <a:lnTo>
                        <a:pt x="366377" y="873648"/>
                      </a:lnTo>
                      <a:lnTo>
                        <a:pt x="365466" y="871353"/>
                      </a:lnTo>
                      <a:lnTo>
                        <a:pt x="365163" y="867552"/>
                      </a:lnTo>
                      <a:lnTo>
                        <a:pt x="365745" y="865719"/>
                      </a:lnTo>
                      <a:lnTo>
                        <a:pt x="366838" y="864626"/>
                      </a:lnTo>
                      <a:lnTo>
                        <a:pt x="370214" y="863363"/>
                      </a:lnTo>
                      <a:lnTo>
                        <a:pt x="371890" y="861845"/>
                      </a:lnTo>
                      <a:lnTo>
                        <a:pt x="372351" y="860667"/>
                      </a:lnTo>
                      <a:lnTo>
                        <a:pt x="372169" y="859429"/>
                      </a:lnTo>
                      <a:lnTo>
                        <a:pt x="370044" y="856271"/>
                      </a:lnTo>
                      <a:lnTo>
                        <a:pt x="368963" y="854086"/>
                      </a:lnTo>
                      <a:lnTo>
                        <a:pt x="368453" y="851220"/>
                      </a:lnTo>
                      <a:lnTo>
                        <a:pt x="368903" y="849241"/>
                      </a:lnTo>
                      <a:lnTo>
                        <a:pt x="369643" y="847856"/>
                      </a:lnTo>
                      <a:lnTo>
                        <a:pt x="372230" y="845513"/>
                      </a:lnTo>
                      <a:lnTo>
                        <a:pt x="373602" y="844529"/>
                      </a:lnTo>
                      <a:lnTo>
                        <a:pt x="375095" y="843898"/>
                      </a:lnTo>
                      <a:lnTo>
                        <a:pt x="376880" y="843351"/>
                      </a:lnTo>
                      <a:lnTo>
                        <a:pt x="382053" y="842283"/>
                      </a:lnTo>
                      <a:lnTo>
                        <a:pt x="384130" y="841372"/>
                      </a:lnTo>
                      <a:lnTo>
                        <a:pt x="385842" y="839915"/>
                      </a:lnTo>
                      <a:lnTo>
                        <a:pt x="387336" y="838093"/>
                      </a:lnTo>
                      <a:lnTo>
                        <a:pt x="391464" y="831463"/>
                      </a:lnTo>
                      <a:lnTo>
                        <a:pt x="391986" y="830201"/>
                      </a:lnTo>
                      <a:lnTo>
                        <a:pt x="391925" y="829059"/>
                      </a:lnTo>
                      <a:lnTo>
                        <a:pt x="391282" y="828343"/>
                      </a:lnTo>
                      <a:lnTo>
                        <a:pt x="390493" y="827614"/>
                      </a:lnTo>
                      <a:lnTo>
                        <a:pt x="389752" y="827165"/>
                      </a:lnTo>
                      <a:lnTo>
                        <a:pt x="387906" y="825040"/>
                      </a:lnTo>
                      <a:lnTo>
                        <a:pt x="390262" y="817718"/>
                      </a:lnTo>
                      <a:lnTo>
                        <a:pt x="389752" y="811853"/>
                      </a:lnTo>
                      <a:lnTo>
                        <a:pt x="388198" y="806340"/>
                      </a:lnTo>
                      <a:lnTo>
                        <a:pt x="385781" y="800402"/>
                      </a:lnTo>
                      <a:lnTo>
                        <a:pt x="375678" y="785502"/>
                      </a:lnTo>
                      <a:lnTo>
                        <a:pt x="372983" y="780451"/>
                      </a:lnTo>
                      <a:lnTo>
                        <a:pt x="370275" y="772643"/>
                      </a:lnTo>
                      <a:lnTo>
                        <a:pt x="368903" y="766061"/>
                      </a:lnTo>
                      <a:lnTo>
                        <a:pt x="368963" y="764507"/>
                      </a:lnTo>
                      <a:lnTo>
                        <a:pt x="368781" y="764143"/>
                      </a:lnTo>
                      <a:lnTo>
                        <a:pt x="368781" y="762273"/>
                      </a:lnTo>
                      <a:lnTo>
                        <a:pt x="368453" y="760779"/>
                      </a:lnTo>
                      <a:lnTo>
                        <a:pt x="366595" y="758399"/>
                      </a:lnTo>
                      <a:lnTo>
                        <a:pt x="365345" y="758084"/>
                      </a:lnTo>
                      <a:lnTo>
                        <a:pt x="362697" y="758023"/>
                      </a:lnTo>
                      <a:lnTo>
                        <a:pt x="356723" y="759541"/>
                      </a:lnTo>
                      <a:lnTo>
                        <a:pt x="354489" y="759395"/>
                      </a:lnTo>
                      <a:lnTo>
                        <a:pt x="350919" y="757246"/>
                      </a:lnTo>
                      <a:lnTo>
                        <a:pt x="345236" y="750069"/>
                      </a:lnTo>
                      <a:lnTo>
                        <a:pt x="341569" y="747143"/>
                      </a:lnTo>
                      <a:lnTo>
                        <a:pt x="339626" y="746803"/>
                      </a:lnTo>
                      <a:lnTo>
                        <a:pt x="337489" y="746864"/>
                      </a:lnTo>
                      <a:lnTo>
                        <a:pt x="335825" y="746511"/>
                      </a:lnTo>
                      <a:lnTo>
                        <a:pt x="335133" y="744957"/>
                      </a:lnTo>
                      <a:lnTo>
                        <a:pt x="334453" y="742371"/>
                      </a:lnTo>
                      <a:lnTo>
                        <a:pt x="332717" y="741691"/>
                      </a:lnTo>
                      <a:lnTo>
                        <a:pt x="330652" y="742431"/>
                      </a:lnTo>
                      <a:lnTo>
                        <a:pt x="328770" y="744277"/>
                      </a:lnTo>
                      <a:lnTo>
                        <a:pt x="326111" y="739736"/>
                      </a:lnTo>
                      <a:lnTo>
                        <a:pt x="322966" y="739942"/>
                      </a:lnTo>
                      <a:lnTo>
                        <a:pt x="315850" y="744277"/>
                      </a:lnTo>
                      <a:lnTo>
                        <a:pt x="313421" y="744532"/>
                      </a:lnTo>
                      <a:lnTo>
                        <a:pt x="309706" y="744095"/>
                      </a:lnTo>
                      <a:lnTo>
                        <a:pt x="308151" y="744277"/>
                      </a:lnTo>
                      <a:lnTo>
                        <a:pt x="306719" y="745334"/>
                      </a:lnTo>
                      <a:lnTo>
                        <a:pt x="305784" y="746706"/>
                      </a:lnTo>
                      <a:lnTo>
                        <a:pt x="304593" y="747884"/>
                      </a:lnTo>
                      <a:lnTo>
                        <a:pt x="302347" y="748406"/>
                      </a:lnTo>
                      <a:lnTo>
                        <a:pt x="298619" y="747884"/>
                      </a:lnTo>
                      <a:lnTo>
                        <a:pt x="290107" y="742893"/>
                      </a:lnTo>
                      <a:lnTo>
                        <a:pt x="286440" y="741885"/>
                      </a:lnTo>
                      <a:lnTo>
                        <a:pt x="279494" y="741083"/>
                      </a:lnTo>
                      <a:lnTo>
                        <a:pt x="276616" y="739505"/>
                      </a:lnTo>
                      <a:lnTo>
                        <a:pt x="275135" y="737756"/>
                      </a:lnTo>
                      <a:lnTo>
                        <a:pt x="274212" y="736141"/>
                      </a:lnTo>
                      <a:lnTo>
                        <a:pt x="273240" y="734976"/>
                      </a:lnTo>
                      <a:lnTo>
                        <a:pt x="271456" y="734502"/>
                      </a:lnTo>
                      <a:lnTo>
                        <a:pt x="267218" y="734648"/>
                      </a:lnTo>
                      <a:lnTo>
                        <a:pt x="265141" y="734113"/>
                      </a:lnTo>
                      <a:lnTo>
                        <a:pt x="262615" y="729232"/>
                      </a:lnTo>
                      <a:lnTo>
                        <a:pt x="258717" y="727738"/>
                      </a:lnTo>
                      <a:lnTo>
                        <a:pt x="254115" y="727447"/>
                      </a:lnTo>
                      <a:lnTo>
                        <a:pt x="246587" y="728455"/>
                      </a:lnTo>
                      <a:lnTo>
                        <a:pt x="245506" y="729147"/>
                      </a:lnTo>
                      <a:lnTo>
                        <a:pt x="244012" y="730519"/>
                      </a:lnTo>
                      <a:lnTo>
                        <a:pt x="241365" y="735194"/>
                      </a:lnTo>
                      <a:lnTo>
                        <a:pt x="240734" y="736032"/>
                      </a:lnTo>
                      <a:lnTo>
                        <a:pt x="236836" y="735510"/>
                      </a:lnTo>
                      <a:lnTo>
                        <a:pt x="234067" y="734709"/>
                      </a:lnTo>
                      <a:lnTo>
                        <a:pt x="230449" y="734769"/>
                      </a:lnTo>
                      <a:lnTo>
                        <a:pt x="230060" y="733239"/>
                      </a:lnTo>
                      <a:lnTo>
                        <a:pt x="229259" y="731490"/>
                      </a:lnTo>
                      <a:lnTo>
                        <a:pt x="228044" y="729888"/>
                      </a:lnTo>
                      <a:lnTo>
                        <a:pt x="226272" y="728018"/>
                      </a:lnTo>
                      <a:lnTo>
                        <a:pt x="225458" y="726694"/>
                      </a:lnTo>
                      <a:lnTo>
                        <a:pt x="225300" y="725698"/>
                      </a:lnTo>
                      <a:lnTo>
                        <a:pt x="225810" y="724690"/>
                      </a:lnTo>
                      <a:lnTo>
                        <a:pt x="226672" y="724399"/>
                      </a:lnTo>
                      <a:lnTo>
                        <a:pt x="228275" y="724436"/>
                      </a:lnTo>
                      <a:lnTo>
                        <a:pt x="230000" y="724168"/>
                      </a:lnTo>
                      <a:lnTo>
                        <a:pt x="231942" y="722942"/>
                      </a:lnTo>
                      <a:lnTo>
                        <a:pt x="238208" y="717053"/>
                      </a:lnTo>
                      <a:lnTo>
                        <a:pt x="239180" y="715765"/>
                      </a:lnTo>
                      <a:lnTo>
                        <a:pt x="239070" y="714733"/>
                      </a:lnTo>
                      <a:lnTo>
                        <a:pt x="238439" y="713871"/>
                      </a:lnTo>
                      <a:lnTo>
                        <a:pt x="237358" y="713033"/>
                      </a:lnTo>
                      <a:lnTo>
                        <a:pt x="236253" y="712378"/>
                      </a:lnTo>
                      <a:lnTo>
                        <a:pt x="234760" y="711880"/>
                      </a:lnTo>
                      <a:lnTo>
                        <a:pt x="230570" y="711455"/>
                      </a:lnTo>
                      <a:lnTo>
                        <a:pt x="228737" y="710969"/>
                      </a:lnTo>
                      <a:lnTo>
                        <a:pt x="226891" y="710107"/>
                      </a:lnTo>
                      <a:lnTo>
                        <a:pt x="224608" y="709500"/>
                      </a:lnTo>
                      <a:lnTo>
                        <a:pt x="221439" y="709075"/>
                      </a:lnTo>
                      <a:lnTo>
                        <a:pt x="215817" y="709366"/>
                      </a:lnTo>
                      <a:lnTo>
                        <a:pt x="212999" y="709815"/>
                      </a:lnTo>
                      <a:lnTo>
                        <a:pt x="210595" y="711285"/>
                      </a:lnTo>
                      <a:lnTo>
                        <a:pt x="209502" y="712378"/>
                      </a:lnTo>
                      <a:lnTo>
                        <a:pt x="207717" y="713580"/>
                      </a:lnTo>
                      <a:lnTo>
                        <a:pt x="206977" y="714636"/>
                      </a:lnTo>
                      <a:lnTo>
                        <a:pt x="206284" y="715935"/>
                      </a:lnTo>
                      <a:lnTo>
                        <a:pt x="205313" y="716883"/>
                      </a:lnTo>
                      <a:lnTo>
                        <a:pt x="203819" y="717344"/>
                      </a:lnTo>
                      <a:lnTo>
                        <a:pt x="199861" y="717077"/>
                      </a:lnTo>
                      <a:lnTo>
                        <a:pt x="198428" y="717344"/>
                      </a:lnTo>
                      <a:lnTo>
                        <a:pt x="197262" y="718255"/>
                      </a:lnTo>
                      <a:lnTo>
                        <a:pt x="196934" y="719384"/>
                      </a:lnTo>
                      <a:lnTo>
                        <a:pt x="196874" y="720817"/>
                      </a:lnTo>
                      <a:lnTo>
                        <a:pt x="196934" y="724436"/>
                      </a:lnTo>
                      <a:lnTo>
                        <a:pt x="196509" y="725723"/>
                      </a:lnTo>
                      <a:lnTo>
                        <a:pt x="195999" y="726063"/>
                      </a:lnTo>
                      <a:lnTo>
                        <a:pt x="194797" y="725383"/>
                      </a:lnTo>
                      <a:lnTo>
                        <a:pt x="194105" y="724460"/>
                      </a:lnTo>
                      <a:lnTo>
                        <a:pt x="193644" y="723258"/>
                      </a:lnTo>
                      <a:lnTo>
                        <a:pt x="193073" y="721242"/>
                      </a:lnTo>
                      <a:lnTo>
                        <a:pt x="192441" y="720355"/>
                      </a:lnTo>
                      <a:lnTo>
                        <a:pt x="190899" y="719093"/>
                      </a:lnTo>
                      <a:lnTo>
                        <a:pt x="188544" y="718485"/>
                      </a:lnTo>
                      <a:lnTo>
                        <a:pt x="177457" y="717793"/>
                      </a:lnTo>
                      <a:lnTo>
                        <a:pt x="172066" y="716336"/>
                      </a:lnTo>
                      <a:lnTo>
                        <a:pt x="170268" y="716336"/>
                      </a:lnTo>
                      <a:lnTo>
                        <a:pt x="168508" y="716713"/>
                      </a:lnTo>
                      <a:lnTo>
                        <a:pt x="166140" y="718376"/>
                      </a:lnTo>
                      <a:lnTo>
                        <a:pt x="165278" y="718777"/>
                      </a:lnTo>
                      <a:lnTo>
                        <a:pt x="164245" y="718206"/>
                      </a:lnTo>
                      <a:lnTo>
                        <a:pt x="163614" y="717478"/>
                      </a:lnTo>
                      <a:lnTo>
                        <a:pt x="162691" y="716737"/>
                      </a:lnTo>
                      <a:lnTo>
                        <a:pt x="161441" y="716105"/>
                      </a:lnTo>
                      <a:lnTo>
                        <a:pt x="159546" y="715450"/>
                      </a:lnTo>
                      <a:lnTo>
                        <a:pt x="148059" y="713981"/>
                      </a:lnTo>
                      <a:lnTo>
                        <a:pt x="143007" y="712596"/>
                      </a:lnTo>
                      <a:lnTo>
                        <a:pt x="140470" y="712511"/>
                      </a:lnTo>
                      <a:lnTo>
                        <a:pt x="137543" y="713349"/>
                      </a:lnTo>
                      <a:lnTo>
                        <a:pt x="135200" y="714867"/>
                      </a:lnTo>
                      <a:lnTo>
                        <a:pt x="130087" y="720015"/>
                      </a:lnTo>
                      <a:lnTo>
                        <a:pt x="125655" y="722736"/>
                      </a:lnTo>
                      <a:lnTo>
                        <a:pt x="101151" y="732790"/>
                      </a:lnTo>
                      <a:lnTo>
                        <a:pt x="99257" y="733215"/>
                      </a:lnTo>
                      <a:lnTo>
                        <a:pt x="97702" y="733276"/>
                      </a:lnTo>
                      <a:lnTo>
                        <a:pt x="95055" y="732292"/>
                      </a:lnTo>
                      <a:lnTo>
                        <a:pt x="93901" y="732158"/>
                      </a:lnTo>
                      <a:lnTo>
                        <a:pt x="92821" y="732790"/>
                      </a:lnTo>
                      <a:lnTo>
                        <a:pt x="90647" y="738011"/>
                      </a:lnTo>
                      <a:lnTo>
                        <a:pt x="89093" y="740452"/>
                      </a:lnTo>
                      <a:lnTo>
                        <a:pt x="86385" y="743293"/>
                      </a:lnTo>
                      <a:lnTo>
                        <a:pt x="81674" y="744532"/>
                      </a:lnTo>
                      <a:lnTo>
                        <a:pt x="80022" y="743755"/>
                      </a:lnTo>
                      <a:lnTo>
                        <a:pt x="79609" y="743063"/>
                      </a:lnTo>
                      <a:lnTo>
                        <a:pt x="79439" y="741824"/>
                      </a:lnTo>
                      <a:lnTo>
                        <a:pt x="80241" y="737404"/>
                      </a:lnTo>
                      <a:lnTo>
                        <a:pt x="80471" y="732984"/>
                      </a:lnTo>
                      <a:lnTo>
                        <a:pt x="80241" y="729803"/>
                      </a:lnTo>
                      <a:lnTo>
                        <a:pt x="80301" y="728333"/>
                      </a:lnTo>
                      <a:lnTo>
                        <a:pt x="80823" y="726585"/>
                      </a:lnTo>
                      <a:lnTo>
                        <a:pt x="82026" y="724861"/>
                      </a:lnTo>
                      <a:lnTo>
                        <a:pt x="84770" y="722505"/>
                      </a:lnTo>
                      <a:lnTo>
                        <a:pt x="91776" y="718522"/>
                      </a:lnTo>
                      <a:lnTo>
                        <a:pt x="123251" y="704594"/>
                      </a:lnTo>
                      <a:lnTo>
                        <a:pt x="127210" y="703380"/>
                      </a:lnTo>
                      <a:lnTo>
                        <a:pt x="136693" y="701461"/>
                      </a:lnTo>
                      <a:lnTo>
                        <a:pt x="138988" y="700259"/>
                      </a:lnTo>
                      <a:lnTo>
                        <a:pt x="140251" y="698595"/>
                      </a:lnTo>
                      <a:lnTo>
                        <a:pt x="140251" y="696009"/>
                      </a:lnTo>
                      <a:lnTo>
                        <a:pt x="139280" y="694491"/>
                      </a:lnTo>
                      <a:lnTo>
                        <a:pt x="138065" y="693884"/>
                      </a:lnTo>
                      <a:lnTo>
                        <a:pt x="136912" y="694078"/>
                      </a:lnTo>
                      <a:lnTo>
                        <a:pt x="135880" y="694746"/>
                      </a:lnTo>
                      <a:lnTo>
                        <a:pt x="135139" y="695547"/>
                      </a:lnTo>
                      <a:lnTo>
                        <a:pt x="133524" y="697757"/>
                      </a:lnTo>
                      <a:lnTo>
                        <a:pt x="132674" y="698158"/>
                      </a:lnTo>
                      <a:lnTo>
                        <a:pt x="131812" y="697927"/>
                      </a:lnTo>
                      <a:lnTo>
                        <a:pt x="130707" y="696786"/>
                      </a:lnTo>
                      <a:lnTo>
                        <a:pt x="127780" y="691297"/>
                      </a:lnTo>
                      <a:lnTo>
                        <a:pt x="126870" y="690241"/>
                      </a:lnTo>
                      <a:lnTo>
                        <a:pt x="126007" y="689780"/>
                      </a:lnTo>
                      <a:lnTo>
                        <a:pt x="125097" y="689804"/>
                      </a:lnTo>
                      <a:lnTo>
                        <a:pt x="124283" y="690290"/>
                      </a:lnTo>
                      <a:lnTo>
                        <a:pt x="123603" y="691164"/>
                      </a:lnTo>
                      <a:lnTo>
                        <a:pt x="123129" y="692014"/>
                      </a:lnTo>
                      <a:lnTo>
                        <a:pt x="122328" y="692876"/>
                      </a:lnTo>
                      <a:lnTo>
                        <a:pt x="121478" y="693143"/>
                      </a:lnTo>
                      <a:lnTo>
                        <a:pt x="116827" y="692913"/>
                      </a:lnTo>
                      <a:lnTo>
                        <a:pt x="110331" y="691759"/>
                      </a:lnTo>
                      <a:lnTo>
                        <a:pt x="108667" y="691103"/>
                      </a:lnTo>
                      <a:lnTo>
                        <a:pt x="107295" y="690059"/>
                      </a:lnTo>
                      <a:lnTo>
                        <a:pt x="106712" y="688626"/>
                      </a:lnTo>
                      <a:lnTo>
                        <a:pt x="106020" y="685760"/>
                      </a:lnTo>
                      <a:lnTo>
                        <a:pt x="105279" y="685007"/>
                      </a:lnTo>
                      <a:lnTo>
                        <a:pt x="104466" y="684837"/>
                      </a:lnTo>
                      <a:lnTo>
                        <a:pt x="102523" y="684874"/>
                      </a:lnTo>
                      <a:lnTo>
                        <a:pt x="101369" y="684558"/>
                      </a:lnTo>
                      <a:lnTo>
                        <a:pt x="100507" y="683890"/>
                      </a:lnTo>
                      <a:lnTo>
                        <a:pt x="99827" y="682943"/>
                      </a:lnTo>
                      <a:lnTo>
                        <a:pt x="99305" y="681911"/>
                      </a:lnTo>
                      <a:lnTo>
                        <a:pt x="99135" y="681194"/>
                      </a:lnTo>
                      <a:lnTo>
                        <a:pt x="99074" y="680017"/>
                      </a:lnTo>
                      <a:lnTo>
                        <a:pt x="99305" y="679118"/>
                      </a:lnTo>
                      <a:lnTo>
                        <a:pt x="100106" y="678037"/>
                      </a:lnTo>
                      <a:lnTo>
                        <a:pt x="101661" y="677139"/>
                      </a:lnTo>
                      <a:lnTo>
                        <a:pt x="113148" y="674212"/>
                      </a:lnTo>
                      <a:lnTo>
                        <a:pt x="116305" y="672816"/>
                      </a:lnTo>
                      <a:lnTo>
                        <a:pt x="117677" y="670254"/>
                      </a:lnTo>
                      <a:lnTo>
                        <a:pt x="117969" y="668469"/>
                      </a:lnTo>
                      <a:lnTo>
                        <a:pt x="118649" y="666757"/>
                      </a:lnTo>
                      <a:lnTo>
                        <a:pt x="121187" y="665749"/>
                      </a:lnTo>
                      <a:lnTo>
                        <a:pt x="125437" y="663417"/>
                      </a:lnTo>
                      <a:lnTo>
                        <a:pt x="128654" y="658281"/>
                      </a:lnTo>
                      <a:lnTo>
                        <a:pt x="127719" y="655901"/>
                      </a:lnTo>
                      <a:lnTo>
                        <a:pt x="126408" y="655318"/>
                      </a:lnTo>
                      <a:lnTo>
                        <a:pt x="125497" y="654602"/>
                      </a:lnTo>
                      <a:lnTo>
                        <a:pt x="124574" y="653691"/>
                      </a:lnTo>
                      <a:lnTo>
                        <a:pt x="123372" y="649441"/>
                      </a:lnTo>
                      <a:lnTo>
                        <a:pt x="122571" y="647316"/>
                      </a:lnTo>
                      <a:lnTo>
                        <a:pt x="120895" y="645021"/>
                      </a:lnTo>
                      <a:lnTo>
                        <a:pt x="119863" y="642811"/>
                      </a:lnTo>
                      <a:lnTo>
                        <a:pt x="118952" y="638961"/>
                      </a:lnTo>
                      <a:lnTo>
                        <a:pt x="119232" y="636836"/>
                      </a:lnTo>
                      <a:lnTo>
                        <a:pt x="119232" y="635003"/>
                      </a:lnTo>
                      <a:lnTo>
                        <a:pt x="119074" y="633849"/>
                      </a:lnTo>
                      <a:lnTo>
                        <a:pt x="118321" y="632671"/>
                      </a:lnTo>
                      <a:lnTo>
                        <a:pt x="116706" y="632161"/>
                      </a:lnTo>
                      <a:lnTo>
                        <a:pt x="112407" y="631955"/>
                      </a:lnTo>
                      <a:lnTo>
                        <a:pt x="110853" y="631384"/>
                      </a:lnTo>
                      <a:lnTo>
                        <a:pt x="109760" y="630838"/>
                      </a:lnTo>
                      <a:lnTo>
                        <a:pt x="99536" y="623479"/>
                      </a:lnTo>
                      <a:lnTo>
                        <a:pt x="98164" y="622823"/>
                      </a:lnTo>
                      <a:lnTo>
                        <a:pt x="96318" y="622398"/>
                      </a:lnTo>
                      <a:lnTo>
                        <a:pt x="93051" y="621913"/>
                      </a:lnTo>
                      <a:lnTo>
                        <a:pt x="91619" y="621415"/>
                      </a:lnTo>
                      <a:lnTo>
                        <a:pt x="89894" y="620383"/>
                      </a:lnTo>
                      <a:lnTo>
                        <a:pt x="88401" y="619181"/>
                      </a:lnTo>
                      <a:lnTo>
                        <a:pt x="86786" y="617165"/>
                      </a:lnTo>
                      <a:lnTo>
                        <a:pt x="85583" y="614870"/>
                      </a:lnTo>
                      <a:lnTo>
                        <a:pt x="83289" y="606430"/>
                      </a:lnTo>
                      <a:lnTo>
                        <a:pt x="80994" y="603613"/>
                      </a:lnTo>
                      <a:lnTo>
                        <a:pt x="78116" y="598829"/>
                      </a:lnTo>
                      <a:lnTo>
                        <a:pt x="70198" y="589722"/>
                      </a:lnTo>
                      <a:lnTo>
                        <a:pt x="69154" y="587973"/>
                      </a:lnTo>
                      <a:lnTo>
                        <a:pt x="68523" y="585958"/>
                      </a:lnTo>
                      <a:lnTo>
                        <a:pt x="68826" y="582776"/>
                      </a:lnTo>
                      <a:lnTo>
                        <a:pt x="69336" y="580821"/>
                      </a:lnTo>
                      <a:lnTo>
                        <a:pt x="69494" y="579473"/>
                      </a:lnTo>
                      <a:lnTo>
                        <a:pt x="69215" y="578271"/>
                      </a:lnTo>
                      <a:lnTo>
                        <a:pt x="68122" y="576972"/>
                      </a:lnTo>
                      <a:lnTo>
                        <a:pt x="65778" y="575345"/>
                      </a:lnTo>
                      <a:lnTo>
                        <a:pt x="65086" y="574531"/>
                      </a:lnTo>
                      <a:lnTo>
                        <a:pt x="64916" y="573499"/>
                      </a:lnTo>
                      <a:lnTo>
                        <a:pt x="65317" y="571945"/>
                      </a:lnTo>
                      <a:lnTo>
                        <a:pt x="65997" y="570912"/>
                      </a:lnTo>
                      <a:lnTo>
                        <a:pt x="67490" y="569358"/>
                      </a:lnTo>
                      <a:lnTo>
                        <a:pt x="68013" y="568362"/>
                      </a:lnTo>
                      <a:lnTo>
                        <a:pt x="68183" y="567185"/>
                      </a:lnTo>
                      <a:lnTo>
                        <a:pt x="67782" y="563566"/>
                      </a:lnTo>
                      <a:lnTo>
                        <a:pt x="66810" y="559717"/>
                      </a:lnTo>
                      <a:lnTo>
                        <a:pt x="65317" y="557397"/>
                      </a:lnTo>
                      <a:lnTo>
                        <a:pt x="64443" y="556414"/>
                      </a:lnTo>
                      <a:lnTo>
                        <a:pt x="63410" y="555867"/>
                      </a:lnTo>
                      <a:lnTo>
                        <a:pt x="62488" y="555588"/>
                      </a:lnTo>
                      <a:lnTo>
                        <a:pt x="61698" y="555321"/>
                      </a:lnTo>
                      <a:lnTo>
                        <a:pt x="61055" y="554519"/>
                      </a:lnTo>
                      <a:lnTo>
                        <a:pt x="60545" y="553257"/>
                      </a:lnTo>
                      <a:lnTo>
                        <a:pt x="60775" y="548751"/>
                      </a:lnTo>
                      <a:lnTo>
                        <a:pt x="60435" y="543773"/>
                      </a:lnTo>
                      <a:lnTo>
                        <a:pt x="58019" y="535540"/>
                      </a:lnTo>
                      <a:lnTo>
                        <a:pt x="62913" y="530950"/>
                      </a:lnTo>
                      <a:lnTo>
                        <a:pt x="64163" y="530149"/>
                      </a:lnTo>
                      <a:lnTo>
                        <a:pt x="65535" y="529456"/>
                      </a:lnTo>
                      <a:lnTo>
                        <a:pt x="66580" y="529396"/>
                      </a:lnTo>
                      <a:lnTo>
                        <a:pt x="67903" y="528995"/>
                      </a:lnTo>
                      <a:lnTo>
                        <a:pt x="69458" y="528194"/>
                      </a:lnTo>
                      <a:lnTo>
                        <a:pt x="71571" y="526554"/>
                      </a:lnTo>
                      <a:lnTo>
                        <a:pt x="78589" y="525146"/>
                      </a:lnTo>
                      <a:lnTo>
                        <a:pt x="79961" y="524381"/>
                      </a:lnTo>
                      <a:lnTo>
                        <a:pt x="85013" y="519062"/>
                      </a:lnTo>
                      <a:lnTo>
                        <a:pt x="87077" y="518746"/>
                      </a:lnTo>
                      <a:lnTo>
                        <a:pt x="89154" y="519317"/>
                      </a:lnTo>
                      <a:lnTo>
                        <a:pt x="91497" y="520216"/>
                      </a:lnTo>
                      <a:lnTo>
                        <a:pt x="93513" y="519608"/>
                      </a:lnTo>
                      <a:lnTo>
                        <a:pt x="95334" y="517568"/>
                      </a:lnTo>
                      <a:lnTo>
                        <a:pt x="97071" y="513124"/>
                      </a:lnTo>
                      <a:lnTo>
                        <a:pt x="97981" y="511934"/>
                      </a:lnTo>
                      <a:lnTo>
                        <a:pt x="100689" y="508413"/>
                      </a:lnTo>
                      <a:lnTo>
                        <a:pt x="104648" y="506543"/>
                      </a:lnTo>
                      <a:lnTo>
                        <a:pt x="104126" y="502062"/>
                      </a:lnTo>
                      <a:lnTo>
                        <a:pt x="101430" y="496986"/>
                      </a:lnTo>
                      <a:lnTo>
                        <a:pt x="99876" y="492797"/>
                      </a:lnTo>
                      <a:lnTo>
                        <a:pt x="98321" y="491158"/>
                      </a:lnTo>
                      <a:lnTo>
                        <a:pt x="95334" y="489494"/>
                      </a:lnTo>
                      <a:lnTo>
                        <a:pt x="93161" y="487393"/>
                      </a:lnTo>
                      <a:lnTo>
                        <a:pt x="94715" y="482403"/>
                      </a:lnTo>
                      <a:lnTo>
                        <a:pt x="93622" y="476744"/>
                      </a:lnTo>
                      <a:lnTo>
                        <a:pt x="93452" y="474012"/>
                      </a:lnTo>
                      <a:lnTo>
                        <a:pt x="99876" y="478067"/>
                      </a:lnTo>
                      <a:lnTo>
                        <a:pt x="98321" y="471352"/>
                      </a:lnTo>
                      <a:lnTo>
                        <a:pt x="98224" y="466095"/>
                      </a:lnTo>
                      <a:lnTo>
                        <a:pt x="100507" y="462330"/>
                      </a:lnTo>
                      <a:lnTo>
                        <a:pt x="106421" y="460144"/>
                      </a:lnTo>
                      <a:lnTo>
                        <a:pt x="104526" y="457740"/>
                      </a:lnTo>
                      <a:lnTo>
                        <a:pt x="99414" y="456987"/>
                      </a:lnTo>
                      <a:lnTo>
                        <a:pt x="98625" y="454498"/>
                      </a:lnTo>
                      <a:lnTo>
                        <a:pt x="99475" y="453939"/>
                      </a:lnTo>
                      <a:lnTo>
                        <a:pt x="101260" y="453575"/>
                      </a:lnTo>
                      <a:lnTo>
                        <a:pt x="103033" y="452798"/>
                      </a:lnTo>
                      <a:lnTo>
                        <a:pt x="103846" y="451074"/>
                      </a:lnTo>
                      <a:lnTo>
                        <a:pt x="104017" y="449641"/>
                      </a:lnTo>
                      <a:lnTo>
                        <a:pt x="104466" y="448609"/>
                      </a:lnTo>
                      <a:lnTo>
                        <a:pt x="105279" y="447953"/>
                      </a:lnTo>
                      <a:lnTo>
                        <a:pt x="106421" y="447576"/>
                      </a:lnTo>
                      <a:lnTo>
                        <a:pt x="104587" y="445451"/>
                      </a:lnTo>
                      <a:lnTo>
                        <a:pt x="99827" y="444784"/>
                      </a:lnTo>
                      <a:lnTo>
                        <a:pt x="97411" y="443375"/>
                      </a:lnTo>
                      <a:lnTo>
                        <a:pt x="97071" y="441578"/>
                      </a:lnTo>
                      <a:lnTo>
                        <a:pt x="97192" y="438761"/>
                      </a:lnTo>
                      <a:lnTo>
                        <a:pt x="96889" y="436211"/>
                      </a:lnTo>
                      <a:lnTo>
                        <a:pt x="92869" y="432908"/>
                      </a:lnTo>
                      <a:lnTo>
                        <a:pt x="93901" y="427759"/>
                      </a:lnTo>
                      <a:lnTo>
                        <a:pt x="98625" y="417025"/>
                      </a:lnTo>
                      <a:lnTo>
                        <a:pt x="94594" y="417426"/>
                      </a:lnTo>
                      <a:lnTo>
                        <a:pt x="93161" y="416345"/>
                      </a:lnTo>
                      <a:lnTo>
                        <a:pt x="93452" y="410601"/>
                      </a:lnTo>
                      <a:lnTo>
                        <a:pt x="92760" y="408695"/>
                      </a:lnTo>
                      <a:lnTo>
                        <a:pt x="91036" y="408610"/>
                      </a:lnTo>
                      <a:lnTo>
                        <a:pt x="87660" y="409848"/>
                      </a:lnTo>
                      <a:lnTo>
                        <a:pt x="85693" y="409411"/>
                      </a:lnTo>
                      <a:lnTo>
                        <a:pt x="85134" y="408416"/>
                      </a:lnTo>
                      <a:lnTo>
                        <a:pt x="85013" y="407140"/>
                      </a:lnTo>
                      <a:lnTo>
                        <a:pt x="83689" y="404676"/>
                      </a:lnTo>
                      <a:lnTo>
                        <a:pt x="83641" y="403510"/>
                      </a:lnTo>
                      <a:lnTo>
                        <a:pt x="83289" y="402441"/>
                      </a:lnTo>
                      <a:lnTo>
                        <a:pt x="81843" y="401640"/>
                      </a:lnTo>
                      <a:lnTo>
                        <a:pt x="80823" y="401980"/>
                      </a:lnTo>
                      <a:lnTo>
                        <a:pt x="77593" y="403935"/>
                      </a:lnTo>
                      <a:lnTo>
                        <a:pt x="76100" y="404384"/>
                      </a:lnTo>
                      <a:lnTo>
                        <a:pt x="75881" y="403303"/>
                      </a:lnTo>
                      <a:lnTo>
                        <a:pt x="76403" y="400948"/>
                      </a:lnTo>
                      <a:lnTo>
                        <a:pt x="76051" y="398531"/>
                      </a:lnTo>
                      <a:lnTo>
                        <a:pt x="73526" y="397475"/>
                      </a:lnTo>
                      <a:lnTo>
                        <a:pt x="71571" y="396989"/>
                      </a:lnTo>
                      <a:lnTo>
                        <a:pt x="69798" y="395665"/>
                      </a:lnTo>
                      <a:lnTo>
                        <a:pt x="68243" y="393711"/>
                      </a:lnTo>
                      <a:lnTo>
                        <a:pt x="66810" y="391306"/>
                      </a:lnTo>
                      <a:lnTo>
                        <a:pt x="62269" y="382515"/>
                      </a:lnTo>
                      <a:lnTo>
                        <a:pt x="61237" y="381191"/>
                      </a:lnTo>
                      <a:lnTo>
                        <a:pt x="61808" y="378325"/>
                      </a:lnTo>
                      <a:lnTo>
                        <a:pt x="62609" y="376917"/>
                      </a:lnTo>
                      <a:lnTo>
                        <a:pt x="63702" y="375690"/>
                      </a:lnTo>
                      <a:lnTo>
                        <a:pt x="66519" y="373237"/>
                      </a:lnTo>
                      <a:lnTo>
                        <a:pt x="67490" y="372217"/>
                      </a:lnTo>
                      <a:lnTo>
                        <a:pt x="68365" y="371003"/>
                      </a:lnTo>
                      <a:lnTo>
                        <a:pt x="68705" y="369655"/>
                      </a:lnTo>
                      <a:lnTo>
                        <a:pt x="68583" y="368077"/>
                      </a:lnTo>
                      <a:lnTo>
                        <a:pt x="68013" y="365915"/>
                      </a:lnTo>
                      <a:lnTo>
                        <a:pt x="65195" y="358460"/>
                      </a:lnTo>
                      <a:lnTo>
                        <a:pt x="64965" y="357197"/>
                      </a:lnTo>
                      <a:lnTo>
                        <a:pt x="64855" y="355412"/>
                      </a:lnTo>
                      <a:lnTo>
                        <a:pt x="64103" y="353117"/>
                      </a:lnTo>
                      <a:lnTo>
                        <a:pt x="62961" y="350421"/>
                      </a:lnTo>
                      <a:lnTo>
                        <a:pt x="47977" y="337586"/>
                      </a:lnTo>
                      <a:lnTo>
                        <a:pt x="46653" y="333190"/>
                      </a:lnTo>
                      <a:lnTo>
                        <a:pt x="44079" y="329778"/>
                      </a:lnTo>
                      <a:lnTo>
                        <a:pt x="46022" y="325358"/>
                      </a:lnTo>
                      <a:lnTo>
                        <a:pt x="43035" y="318582"/>
                      </a:lnTo>
                      <a:lnTo>
                        <a:pt x="45330" y="314417"/>
                      </a:lnTo>
                      <a:lnTo>
                        <a:pt x="46653" y="312608"/>
                      </a:lnTo>
                      <a:lnTo>
                        <a:pt x="46763" y="310908"/>
                      </a:lnTo>
                      <a:lnTo>
                        <a:pt x="46083" y="309013"/>
                      </a:lnTo>
                      <a:lnTo>
                        <a:pt x="44698" y="306658"/>
                      </a:lnTo>
                      <a:lnTo>
                        <a:pt x="43326" y="305164"/>
                      </a:lnTo>
                      <a:lnTo>
                        <a:pt x="38262" y="300975"/>
                      </a:lnTo>
                      <a:lnTo>
                        <a:pt x="38663" y="297380"/>
                      </a:lnTo>
                      <a:lnTo>
                        <a:pt x="40970" y="295838"/>
                      </a:lnTo>
                      <a:lnTo>
                        <a:pt x="42063" y="293944"/>
                      </a:lnTo>
                      <a:lnTo>
                        <a:pt x="37109" y="285991"/>
                      </a:lnTo>
                      <a:lnTo>
                        <a:pt x="33150" y="273095"/>
                      </a:lnTo>
                      <a:lnTo>
                        <a:pt x="32579" y="272500"/>
                      </a:lnTo>
                      <a:lnTo>
                        <a:pt x="31657" y="272063"/>
                      </a:lnTo>
                      <a:lnTo>
                        <a:pt x="30867" y="271285"/>
                      </a:lnTo>
                      <a:lnTo>
                        <a:pt x="30527" y="269683"/>
                      </a:lnTo>
                      <a:lnTo>
                        <a:pt x="30685" y="269160"/>
                      </a:lnTo>
                      <a:lnTo>
                        <a:pt x="31207" y="268735"/>
                      </a:lnTo>
                      <a:lnTo>
                        <a:pt x="31657" y="268104"/>
                      </a:lnTo>
                      <a:lnTo>
                        <a:pt x="31899" y="266841"/>
                      </a:lnTo>
                      <a:lnTo>
                        <a:pt x="29884" y="236144"/>
                      </a:lnTo>
                      <a:lnTo>
                        <a:pt x="30527" y="234359"/>
                      </a:lnTo>
                      <a:lnTo>
                        <a:pt x="32531" y="231845"/>
                      </a:lnTo>
                      <a:lnTo>
                        <a:pt x="33515" y="229453"/>
                      </a:lnTo>
                      <a:lnTo>
                        <a:pt x="32701" y="227304"/>
                      </a:lnTo>
                      <a:lnTo>
                        <a:pt x="31256" y="225324"/>
                      </a:lnTo>
                      <a:lnTo>
                        <a:pt x="30527" y="223466"/>
                      </a:lnTo>
                      <a:lnTo>
                        <a:pt x="30285" y="217395"/>
                      </a:lnTo>
                      <a:lnTo>
                        <a:pt x="30527" y="215756"/>
                      </a:lnTo>
                      <a:lnTo>
                        <a:pt x="31377" y="214044"/>
                      </a:lnTo>
                      <a:lnTo>
                        <a:pt x="32640" y="212635"/>
                      </a:lnTo>
                      <a:lnTo>
                        <a:pt x="33515" y="211032"/>
                      </a:lnTo>
                      <a:lnTo>
                        <a:pt x="33150" y="208664"/>
                      </a:lnTo>
                      <a:lnTo>
                        <a:pt x="29884" y="206321"/>
                      </a:lnTo>
                      <a:lnTo>
                        <a:pt x="24662" y="206199"/>
                      </a:lnTo>
                      <a:lnTo>
                        <a:pt x="19842" y="206831"/>
                      </a:lnTo>
                      <a:lnTo>
                        <a:pt x="17717" y="206636"/>
                      </a:lnTo>
                      <a:lnTo>
                        <a:pt x="19028" y="203528"/>
                      </a:lnTo>
                      <a:lnTo>
                        <a:pt x="25512" y="197566"/>
                      </a:lnTo>
                      <a:lnTo>
                        <a:pt x="27941" y="194578"/>
                      </a:lnTo>
                      <a:lnTo>
                        <a:pt x="25112" y="192198"/>
                      </a:lnTo>
                      <a:lnTo>
                        <a:pt x="19902" y="192854"/>
                      </a:lnTo>
                      <a:lnTo>
                        <a:pt x="17717" y="190498"/>
                      </a:lnTo>
                      <a:lnTo>
                        <a:pt x="18287" y="190644"/>
                      </a:lnTo>
                      <a:lnTo>
                        <a:pt x="18688" y="188981"/>
                      </a:lnTo>
                      <a:lnTo>
                        <a:pt x="18967" y="185556"/>
                      </a:lnTo>
                      <a:lnTo>
                        <a:pt x="18567" y="183808"/>
                      </a:lnTo>
                      <a:lnTo>
                        <a:pt x="16733" y="181306"/>
                      </a:lnTo>
                      <a:lnTo>
                        <a:pt x="16284" y="179910"/>
                      </a:lnTo>
                      <a:lnTo>
                        <a:pt x="17474" y="177032"/>
                      </a:lnTo>
                      <a:lnTo>
                        <a:pt x="20182" y="175623"/>
                      </a:lnTo>
                      <a:lnTo>
                        <a:pt x="22877" y="174652"/>
                      </a:lnTo>
                      <a:lnTo>
                        <a:pt x="24079" y="173049"/>
                      </a:lnTo>
                      <a:lnTo>
                        <a:pt x="23339" y="170633"/>
                      </a:lnTo>
                      <a:lnTo>
                        <a:pt x="22076" y="168422"/>
                      </a:lnTo>
                      <a:lnTo>
                        <a:pt x="21493" y="165860"/>
                      </a:lnTo>
                      <a:lnTo>
                        <a:pt x="22938" y="162424"/>
                      </a:lnTo>
                      <a:lnTo>
                        <a:pt x="21845" y="158805"/>
                      </a:lnTo>
                      <a:lnTo>
                        <a:pt x="26727" y="153948"/>
                      </a:lnTo>
                      <a:lnTo>
                        <a:pt x="25415" y="149844"/>
                      </a:lnTo>
                      <a:lnTo>
                        <a:pt x="29422" y="147367"/>
                      </a:lnTo>
                      <a:lnTo>
                        <a:pt x="31147" y="145618"/>
                      </a:lnTo>
                      <a:lnTo>
                        <a:pt x="31899" y="143469"/>
                      </a:lnTo>
                      <a:lnTo>
                        <a:pt x="31499" y="142121"/>
                      </a:lnTo>
                      <a:lnTo>
                        <a:pt x="30685" y="140542"/>
                      </a:lnTo>
                      <a:lnTo>
                        <a:pt x="30163" y="138842"/>
                      </a:lnTo>
                      <a:lnTo>
                        <a:pt x="30527" y="137094"/>
                      </a:lnTo>
                      <a:lnTo>
                        <a:pt x="31717" y="136001"/>
                      </a:lnTo>
                      <a:lnTo>
                        <a:pt x="33211" y="135940"/>
                      </a:lnTo>
                      <a:lnTo>
                        <a:pt x="34644" y="136147"/>
                      </a:lnTo>
                      <a:lnTo>
                        <a:pt x="35737" y="135709"/>
                      </a:lnTo>
                      <a:lnTo>
                        <a:pt x="39185" y="128946"/>
                      </a:lnTo>
                      <a:lnTo>
                        <a:pt x="44698" y="103361"/>
                      </a:lnTo>
                      <a:lnTo>
                        <a:pt x="46823" y="96816"/>
                      </a:lnTo>
                      <a:lnTo>
                        <a:pt x="48487" y="93573"/>
                      </a:lnTo>
                      <a:lnTo>
                        <a:pt x="50381" y="92165"/>
                      </a:lnTo>
                      <a:lnTo>
                        <a:pt x="57388" y="85158"/>
                      </a:lnTo>
                      <a:lnTo>
                        <a:pt x="57740" y="84333"/>
                      </a:lnTo>
                      <a:lnTo>
                        <a:pt x="57740" y="83203"/>
                      </a:lnTo>
                      <a:lnTo>
                        <a:pt x="57898" y="82001"/>
                      </a:lnTo>
                      <a:lnTo>
                        <a:pt x="58772" y="80945"/>
                      </a:lnTo>
                      <a:lnTo>
                        <a:pt x="59622" y="80787"/>
                      </a:lnTo>
                      <a:lnTo>
                        <a:pt x="61808" y="81163"/>
                      </a:lnTo>
                      <a:lnTo>
                        <a:pt x="62609" y="80945"/>
                      </a:lnTo>
                      <a:lnTo>
                        <a:pt x="63702" y="80471"/>
                      </a:lnTo>
                      <a:lnTo>
                        <a:pt x="64503" y="80653"/>
                      </a:lnTo>
                      <a:lnTo>
                        <a:pt x="65026" y="80471"/>
                      </a:lnTo>
                      <a:lnTo>
                        <a:pt x="65256" y="77569"/>
                      </a:lnTo>
                      <a:lnTo>
                        <a:pt x="65426" y="76428"/>
                      </a:lnTo>
                      <a:lnTo>
                        <a:pt x="65997" y="75541"/>
                      </a:lnTo>
                      <a:lnTo>
                        <a:pt x="68935" y="74448"/>
                      </a:lnTo>
                      <a:lnTo>
                        <a:pt x="74789" y="68960"/>
                      </a:lnTo>
                      <a:lnTo>
                        <a:pt x="80994" y="65572"/>
                      </a:lnTo>
                      <a:lnTo>
                        <a:pt x="81455" y="59695"/>
                      </a:lnTo>
                      <a:lnTo>
                        <a:pt x="83058" y="57448"/>
                      </a:lnTo>
                      <a:lnTo>
                        <a:pt x="88692" y="53089"/>
                      </a:lnTo>
                      <a:lnTo>
                        <a:pt x="100908" y="41031"/>
                      </a:lnTo>
                      <a:lnTo>
                        <a:pt x="108789" y="35057"/>
                      </a:lnTo>
                      <a:lnTo>
                        <a:pt x="112286" y="31584"/>
                      </a:lnTo>
                      <a:lnTo>
                        <a:pt x="115091" y="21930"/>
                      </a:lnTo>
                      <a:lnTo>
                        <a:pt x="115662" y="12604"/>
                      </a:lnTo>
                      <a:lnTo>
                        <a:pt x="115394" y="10504"/>
                      </a:lnTo>
                      <a:lnTo>
                        <a:pt x="115091" y="10054"/>
                      </a:lnTo>
                      <a:lnTo>
                        <a:pt x="121478" y="6132"/>
                      </a:lnTo>
                      <a:moveTo>
                        <a:pt x="119851" y="0"/>
                      </a:moveTo>
                      <a:lnTo>
                        <a:pt x="118297" y="959"/>
                      </a:lnTo>
                      <a:lnTo>
                        <a:pt x="111909" y="4894"/>
                      </a:lnTo>
                      <a:lnTo>
                        <a:pt x="106530" y="8196"/>
                      </a:lnTo>
                      <a:lnTo>
                        <a:pt x="109554" y="12701"/>
                      </a:lnTo>
                      <a:lnTo>
                        <a:pt x="109566" y="12811"/>
                      </a:lnTo>
                      <a:lnTo>
                        <a:pt x="109068" y="20898"/>
                      </a:lnTo>
                      <a:lnTo>
                        <a:pt x="106894" y="28390"/>
                      </a:lnTo>
                      <a:lnTo>
                        <a:pt x="104794" y="30467"/>
                      </a:lnTo>
                      <a:lnTo>
                        <a:pt x="97229" y="36198"/>
                      </a:lnTo>
                      <a:lnTo>
                        <a:pt x="96913" y="36441"/>
                      </a:lnTo>
                      <a:lnTo>
                        <a:pt x="96634" y="36720"/>
                      </a:lnTo>
                      <a:lnTo>
                        <a:pt x="84673" y="48523"/>
                      </a:lnTo>
                      <a:lnTo>
                        <a:pt x="79330" y="52664"/>
                      </a:lnTo>
                      <a:lnTo>
                        <a:pt x="78626" y="53210"/>
                      </a:lnTo>
                      <a:lnTo>
                        <a:pt x="78116" y="53939"/>
                      </a:lnTo>
                      <a:lnTo>
                        <a:pt x="76513" y="56185"/>
                      </a:lnTo>
                      <a:lnTo>
                        <a:pt x="75529" y="57558"/>
                      </a:lnTo>
                      <a:lnTo>
                        <a:pt x="75396" y="59245"/>
                      </a:lnTo>
                      <a:lnTo>
                        <a:pt x="75189" y="61844"/>
                      </a:lnTo>
                      <a:lnTo>
                        <a:pt x="71874" y="63653"/>
                      </a:lnTo>
                      <a:lnTo>
                        <a:pt x="71194" y="64030"/>
                      </a:lnTo>
                      <a:lnTo>
                        <a:pt x="70623" y="64552"/>
                      </a:lnTo>
                      <a:lnTo>
                        <a:pt x="65669" y="69203"/>
                      </a:lnTo>
                      <a:lnTo>
                        <a:pt x="63884" y="69870"/>
                      </a:lnTo>
                      <a:lnTo>
                        <a:pt x="62002" y="70575"/>
                      </a:lnTo>
                      <a:lnTo>
                        <a:pt x="60909" y="72263"/>
                      </a:lnTo>
                      <a:lnTo>
                        <a:pt x="60338" y="73149"/>
                      </a:lnTo>
                      <a:lnTo>
                        <a:pt x="59622" y="74254"/>
                      </a:lnTo>
                      <a:lnTo>
                        <a:pt x="59573" y="74643"/>
                      </a:lnTo>
                      <a:lnTo>
                        <a:pt x="58553" y="74825"/>
                      </a:lnTo>
                      <a:lnTo>
                        <a:pt x="57703" y="74983"/>
                      </a:lnTo>
                      <a:lnTo>
                        <a:pt x="55505" y="75383"/>
                      </a:lnTo>
                      <a:lnTo>
                        <a:pt x="54097" y="77108"/>
                      </a:lnTo>
                      <a:lnTo>
                        <a:pt x="53223" y="78164"/>
                      </a:lnTo>
                      <a:lnTo>
                        <a:pt x="52130" y="79500"/>
                      </a:lnTo>
                      <a:lnTo>
                        <a:pt x="51899" y="81212"/>
                      </a:lnTo>
                      <a:lnTo>
                        <a:pt x="51765" y="82232"/>
                      </a:lnTo>
                      <a:lnTo>
                        <a:pt x="46435" y="87563"/>
                      </a:lnTo>
                      <a:lnTo>
                        <a:pt x="44905" y="88704"/>
                      </a:lnTo>
                      <a:lnTo>
                        <a:pt x="43763" y="89554"/>
                      </a:lnTo>
                      <a:lnTo>
                        <a:pt x="43120" y="90817"/>
                      </a:lnTo>
                      <a:lnTo>
                        <a:pt x="41456" y="94059"/>
                      </a:lnTo>
                      <a:lnTo>
                        <a:pt x="41225" y="94496"/>
                      </a:lnTo>
                      <a:lnTo>
                        <a:pt x="41080" y="94958"/>
                      </a:lnTo>
                      <a:lnTo>
                        <a:pt x="38955" y="101503"/>
                      </a:lnTo>
                      <a:lnTo>
                        <a:pt x="38858" y="101794"/>
                      </a:lnTo>
                      <a:lnTo>
                        <a:pt x="38797" y="102098"/>
                      </a:lnTo>
                      <a:lnTo>
                        <a:pt x="33454" y="126906"/>
                      </a:lnTo>
                      <a:lnTo>
                        <a:pt x="31912" y="129929"/>
                      </a:lnTo>
                      <a:lnTo>
                        <a:pt x="31511" y="129942"/>
                      </a:lnTo>
                      <a:lnTo>
                        <a:pt x="29289" y="130027"/>
                      </a:lnTo>
                      <a:lnTo>
                        <a:pt x="27650" y="131532"/>
                      </a:lnTo>
                      <a:lnTo>
                        <a:pt x="26459" y="132625"/>
                      </a:lnTo>
                      <a:lnTo>
                        <a:pt x="25002" y="133949"/>
                      </a:lnTo>
                      <a:lnTo>
                        <a:pt x="24602" y="135879"/>
                      </a:lnTo>
                      <a:lnTo>
                        <a:pt x="24237" y="137628"/>
                      </a:lnTo>
                      <a:lnTo>
                        <a:pt x="23922" y="139146"/>
                      </a:lnTo>
                      <a:lnTo>
                        <a:pt x="24383" y="140640"/>
                      </a:lnTo>
                      <a:lnTo>
                        <a:pt x="24905" y="142340"/>
                      </a:lnTo>
                      <a:lnTo>
                        <a:pt x="25063" y="142862"/>
                      </a:lnTo>
                      <a:lnTo>
                        <a:pt x="25099" y="142934"/>
                      </a:lnTo>
                      <a:lnTo>
                        <a:pt x="22246" y="144707"/>
                      </a:lnTo>
                      <a:lnTo>
                        <a:pt x="18214" y="147209"/>
                      </a:lnTo>
                      <a:lnTo>
                        <a:pt x="19659" y="151726"/>
                      </a:lnTo>
                      <a:lnTo>
                        <a:pt x="19842" y="152285"/>
                      </a:lnTo>
                      <a:lnTo>
                        <a:pt x="17595" y="154531"/>
                      </a:lnTo>
                      <a:lnTo>
                        <a:pt x="15009" y="157093"/>
                      </a:lnTo>
                      <a:lnTo>
                        <a:pt x="16065" y="160578"/>
                      </a:lnTo>
                      <a:lnTo>
                        <a:pt x="16527" y="162108"/>
                      </a:lnTo>
                      <a:lnTo>
                        <a:pt x="15932" y="163529"/>
                      </a:lnTo>
                      <a:lnTo>
                        <a:pt x="15179" y="165314"/>
                      </a:lnTo>
                      <a:lnTo>
                        <a:pt x="15604" y="167208"/>
                      </a:lnTo>
                      <a:lnTo>
                        <a:pt x="16187" y="169770"/>
                      </a:lnTo>
                      <a:lnTo>
                        <a:pt x="16393" y="170657"/>
                      </a:lnTo>
                      <a:lnTo>
                        <a:pt x="16442" y="170754"/>
                      </a:lnTo>
                      <a:lnTo>
                        <a:pt x="14717" y="171653"/>
                      </a:lnTo>
                      <a:lnTo>
                        <a:pt x="12750" y="172673"/>
                      </a:lnTo>
                      <a:lnTo>
                        <a:pt x="11900" y="174725"/>
                      </a:lnTo>
                      <a:lnTo>
                        <a:pt x="10710" y="177603"/>
                      </a:lnTo>
                      <a:lnTo>
                        <a:pt x="9860" y="179667"/>
                      </a:lnTo>
                      <a:lnTo>
                        <a:pt x="10552" y="181792"/>
                      </a:lnTo>
                      <a:lnTo>
                        <a:pt x="10783" y="182508"/>
                      </a:lnTo>
                      <a:lnTo>
                        <a:pt x="0" y="179813"/>
                      </a:lnTo>
                      <a:lnTo>
                        <a:pt x="13309" y="194639"/>
                      </a:lnTo>
                      <a:lnTo>
                        <a:pt x="15494" y="196995"/>
                      </a:lnTo>
                      <a:lnTo>
                        <a:pt x="16284" y="197857"/>
                      </a:lnTo>
                      <a:lnTo>
                        <a:pt x="14960" y="199071"/>
                      </a:lnTo>
                      <a:lnTo>
                        <a:pt x="13989" y="199970"/>
                      </a:lnTo>
                      <a:lnTo>
                        <a:pt x="13479" y="201184"/>
                      </a:lnTo>
                      <a:lnTo>
                        <a:pt x="12167" y="204293"/>
                      </a:lnTo>
                      <a:lnTo>
                        <a:pt x="8949" y="211931"/>
                      </a:lnTo>
                      <a:lnTo>
                        <a:pt x="17207" y="212696"/>
                      </a:lnTo>
                      <a:lnTo>
                        <a:pt x="19332" y="212890"/>
                      </a:lnTo>
                      <a:lnTo>
                        <a:pt x="19999" y="212951"/>
                      </a:lnTo>
                      <a:lnTo>
                        <a:pt x="20667" y="212866"/>
                      </a:lnTo>
                      <a:lnTo>
                        <a:pt x="25027" y="212307"/>
                      </a:lnTo>
                      <a:lnTo>
                        <a:pt x="25512" y="212307"/>
                      </a:lnTo>
                      <a:lnTo>
                        <a:pt x="25136" y="213060"/>
                      </a:lnTo>
                      <a:lnTo>
                        <a:pt x="24699" y="213922"/>
                      </a:lnTo>
                      <a:lnTo>
                        <a:pt x="24553" y="214881"/>
                      </a:lnTo>
                      <a:lnTo>
                        <a:pt x="24310" y="216521"/>
                      </a:lnTo>
                      <a:lnTo>
                        <a:pt x="24225" y="217079"/>
                      </a:lnTo>
                      <a:lnTo>
                        <a:pt x="24250" y="217650"/>
                      </a:lnTo>
                      <a:lnTo>
                        <a:pt x="24492" y="223721"/>
                      </a:lnTo>
                      <a:lnTo>
                        <a:pt x="24529" y="224741"/>
                      </a:lnTo>
                      <a:lnTo>
                        <a:pt x="24905" y="225701"/>
                      </a:lnTo>
                      <a:lnTo>
                        <a:pt x="25634" y="227559"/>
                      </a:lnTo>
                      <a:lnTo>
                        <a:pt x="25913" y="228287"/>
                      </a:lnTo>
                      <a:lnTo>
                        <a:pt x="26375" y="228919"/>
                      </a:lnTo>
                      <a:lnTo>
                        <a:pt x="26739" y="229416"/>
                      </a:lnTo>
                      <a:lnTo>
                        <a:pt x="25804" y="230594"/>
                      </a:lnTo>
                      <a:lnTo>
                        <a:pt x="25160" y="231359"/>
                      </a:lnTo>
                      <a:lnTo>
                        <a:pt x="24820" y="232307"/>
                      </a:lnTo>
                      <a:lnTo>
                        <a:pt x="24177" y="234092"/>
                      </a:lnTo>
                      <a:lnTo>
                        <a:pt x="23752" y="235281"/>
                      </a:lnTo>
                      <a:lnTo>
                        <a:pt x="23837" y="236544"/>
                      </a:lnTo>
                      <a:lnTo>
                        <a:pt x="25731" y="265372"/>
                      </a:lnTo>
                      <a:lnTo>
                        <a:pt x="25439" y="265615"/>
                      </a:lnTo>
                      <a:lnTo>
                        <a:pt x="24893" y="267400"/>
                      </a:lnTo>
                      <a:lnTo>
                        <a:pt x="24432" y="268905"/>
                      </a:lnTo>
                      <a:lnTo>
                        <a:pt x="24602" y="270970"/>
                      </a:lnTo>
                      <a:lnTo>
                        <a:pt x="24942" y="272572"/>
                      </a:lnTo>
                      <a:lnTo>
                        <a:pt x="25318" y="274345"/>
                      </a:lnTo>
                      <a:lnTo>
                        <a:pt x="26605" y="275608"/>
                      </a:lnTo>
                      <a:lnTo>
                        <a:pt x="27395" y="276385"/>
                      </a:lnTo>
                      <a:lnTo>
                        <a:pt x="27990" y="276968"/>
                      </a:lnTo>
                      <a:lnTo>
                        <a:pt x="31305" y="287763"/>
                      </a:lnTo>
                      <a:lnTo>
                        <a:pt x="31535" y="288516"/>
                      </a:lnTo>
                      <a:lnTo>
                        <a:pt x="31960" y="289196"/>
                      </a:lnTo>
                      <a:lnTo>
                        <a:pt x="34316" y="292985"/>
                      </a:lnTo>
                      <a:lnTo>
                        <a:pt x="32944" y="293896"/>
                      </a:lnTo>
                      <a:lnTo>
                        <a:pt x="32628" y="296700"/>
                      </a:lnTo>
                      <a:lnTo>
                        <a:pt x="32227" y="300295"/>
                      </a:lnTo>
                      <a:lnTo>
                        <a:pt x="31863" y="303561"/>
                      </a:lnTo>
                      <a:lnTo>
                        <a:pt x="34389" y="305650"/>
                      </a:lnTo>
                      <a:lnTo>
                        <a:pt x="39137" y="309572"/>
                      </a:lnTo>
                      <a:lnTo>
                        <a:pt x="39793" y="310288"/>
                      </a:lnTo>
                      <a:lnTo>
                        <a:pt x="40254" y="311066"/>
                      </a:lnTo>
                      <a:lnTo>
                        <a:pt x="40205" y="311139"/>
                      </a:lnTo>
                      <a:lnTo>
                        <a:pt x="40011" y="311479"/>
                      </a:lnTo>
                      <a:lnTo>
                        <a:pt x="37716" y="315644"/>
                      </a:lnTo>
                      <a:lnTo>
                        <a:pt x="36271" y="318279"/>
                      </a:lnTo>
                      <a:lnTo>
                        <a:pt x="37485" y="321023"/>
                      </a:lnTo>
                      <a:lnTo>
                        <a:pt x="39392" y="325346"/>
                      </a:lnTo>
                      <a:lnTo>
                        <a:pt x="38530" y="327313"/>
                      </a:lnTo>
                      <a:lnTo>
                        <a:pt x="37097" y="330579"/>
                      </a:lnTo>
                      <a:lnTo>
                        <a:pt x="39234" y="333421"/>
                      </a:lnTo>
                      <a:lnTo>
                        <a:pt x="41153" y="335971"/>
                      </a:lnTo>
                      <a:lnTo>
                        <a:pt x="42160" y="339322"/>
                      </a:lnTo>
                      <a:lnTo>
                        <a:pt x="42670" y="341034"/>
                      </a:lnTo>
                      <a:lnTo>
                        <a:pt x="44018" y="342188"/>
                      </a:lnTo>
                      <a:lnTo>
                        <a:pt x="57922" y="354088"/>
                      </a:lnTo>
                      <a:lnTo>
                        <a:pt x="58505" y="355460"/>
                      </a:lnTo>
                      <a:lnTo>
                        <a:pt x="58833" y="356492"/>
                      </a:lnTo>
                      <a:lnTo>
                        <a:pt x="58893" y="357524"/>
                      </a:lnTo>
                      <a:lnTo>
                        <a:pt x="58918" y="357889"/>
                      </a:lnTo>
                      <a:lnTo>
                        <a:pt x="58978" y="358253"/>
                      </a:lnTo>
                      <a:lnTo>
                        <a:pt x="59209" y="359516"/>
                      </a:lnTo>
                      <a:lnTo>
                        <a:pt x="59306" y="360050"/>
                      </a:lnTo>
                      <a:lnTo>
                        <a:pt x="59501" y="360572"/>
                      </a:lnTo>
                      <a:lnTo>
                        <a:pt x="62208" y="367725"/>
                      </a:lnTo>
                      <a:lnTo>
                        <a:pt x="62451" y="368647"/>
                      </a:lnTo>
                      <a:lnTo>
                        <a:pt x="62099" y="369024"/>
                      </a:lnTo>
                      <a:lnTo>
                        <a:pt x="59695" y="371076"/>
                      </a:lnTo>
                      <a:lnTo>
                        <a:pt x="59415" y="371319"/>
                      </a:lnTo>
                      <a:lnTo>
                        <a:pt x="59161" y="371598"/>
                      </a:lnTo>
                      <a:lnTo>
                        <a:pt x="58068" y="372825"/>
                      </a:lnTo>
                      <a:lnTo>
                        <a:pt x="57630" y="373310"/>
                      </a:lnTo>
                      <a:lnTo>
                        <a:pt x="57303" y="373881"/>
                      </a:lnTo>
                      <a:lnTo>
                        <a:pt x="56501" y="375290"/>
                      </a:lnTo>
                      <a:lnTo>
                        <a:pt x="56015" y="376140"/>
                      </a:lnTo>
                      <a:lnTo>
                        <a:pt x="55821" y="377099"/>
                      </a:lnTo>
                      <a:lnTo>
                        <a:pt x="55250" y="379965"/>
                      </a:lnTo>
                      <a:lnTo>
                        <a:pt x="54704" y="382685"/>
                      </a:lnTo>
                      <a:lnTo>
                        <a:pt x="56404" y="384870"/>
                      </a:lnTo>
                      <a:lnTo>
                        <a:pt x="57096" y="385757"/>
                      </a:lnTo>
                      <a:lnTo>
                        <a:pt x="61383" y="394051"/>
                      </a:lnTo>
                      <a:lnTo>
                        <a:pt x="62998" y="396783"/>
                      </a:lnTo>
                      <a:lnTo>
                        <a:pt x="63204" y="397135"/>
                      </a:lnTo>
                      <a:lnTo>
                        <a:pt x="63459" y="397451"/>
                      </a:lnTo>
                      <a:lnTo>
                        <a:pt x="65013" y="399405"/>
                      </a:lnTo>
                      <a:lnTo>
                        <a:pt x="65511" y="400025"/>
                      </a:lnTo>
                      <a:lnTo>
                        <a:pt x="66143" y="400498"/>
                      </a:lnTo>
                      <a:lnTo>
                        <a:pt x="67915" y="401822"/>
                      </a:lnTo>
                      <a:lnTo>
                        <a:pt x="68899" y="402551"/>
                      </a:lnTo>
                      <a:lnTo>
                        <a:pt x="69749" y="402769"/>
                      </a:lnTo>
                      <a:lnTo>
                        <a:pt x="69652" y="403218"/>
                      </a:lnTo>
                      <a:lnTo>
                        <a:pt x="69907" y="404481"/>
                      </a:lnTo>
                      <a:lnTo>
                        <a:pt x="70138" y="405562"/>
                      </a:lnTo>
                      <a:lnTo>
                        <a:pt x="71461" y="412095"/>
                      </a:lnTo>
                      <a:lnTo>
                        <a:pt x="77836" y="410164"/>
                      </a:lnTo>
                      <a:lnTo>
                        <a:pt x="79136" y="409776"/>
                      </a:lnTo>
                      <a:lnTo>
                        <a:pt x="79172" y="410237"/>
                      </a:lnTo>
                      <a:lnTo>
                        <a:pt x="79803" y="411354"/>
                      </a:lnTo>
                      <a:lnTo>
                        <a:pt x="80362" y="412350"/>
                      </a:lnTo>
                      <a:lnTo>
                        <a:pt x="81686" y="414718"/>
                      </a:lnTo>
                      <a:lnTo>
                        <a:pt x="84333" y="415301"/>
                      </a:lnTo>
                      <a:lnTo>
                        <a:pt x="86300" y="415738"/>
                      </a:lnTo>
                      <a:lnTo>
                        <a:pt x="87065" y="415908"/>
                      </a:lnTo>
                      <a:lnTo>
                        <a:pt x="87065" y="415993"/>
                      </a:lnTo>
                      <a:lnTo>
                        <a:pt x="86907" y="419211"/>
                      </a:lnTo>
                      <a:lnTo>
                        <a:pt x="89469" y="421154"/>
                      </a:lnTo>
                      <a:lnTo>
                        <a:pt x="89967" y="421530"/>
                      </a:lnTo>
                      <a:lnTo>
                        <a:pt x="88316" y="425282"/>
                      </a:lnTo>
                      <a:lnTo>
                        <a:pt x="88049" y="425889"/>
                      </a:lnTo>
                      <a:lnTo>
                        <a:pt x="87915" y="426545"/>
                      </a:lnTo>
                      <a:lnTo>
                        <a:pt x="86883" y="431694"/>
                      </a:lnTo>
                      <a:lnTo>
                        <a:pt x="86166" y="435264"/>
                      </a:lnTo>
                      <a:lnTo>
                        <a:pt x="88983" y="437571"/>
                      </a:lnTo>
                      <a:lnTo>
                        <a:pt x="91060" y="439283"/>
                      </a:lnTo>
                      <a:lnTo>
                        <a:pt x="90975" y="441287"/>
                      </a:lnTo>
                      <a:lnTo>
                        <a:pt x="90951" y="442003"/>
                      </a:lnTo>
                      <a:lnTo>
                        <a:pt x="91084" y="442707"/>
                      </a:lnTo>
                      <a:lnTo>
                        <a:pt x="91424" y="444504"/>
                      </a:lnTo>
                      <a:lnTo>
                        <a:pt x="91946" y="447212"/>
                      </a:lnTo>
                      <a:lnTo>
                        <a:pt x="94326" y="448609"/>
                      </a:lnTo>
                      <a:lnTo>
                        <a:pt x="95480" y="449276"/>
                      </a:lnTo>
                      <a:lnTo>
                        <a:pt x="95274" y="449410"/>
                      </a:lnTo>
                      <a:lnTo>
                        <a:pt x="91436" y="451936"/>
                      </a:lnTo>
                      <a:lnTo>
                        <a:pt x="92821" y="456319"/>
                      </a:lnTo>
                      <a:lnTo>
                        <a:pt x="93610" y="458809"/>
                      </a:lnTo>
                      <a:lnTo>
                        <a:pt x="94266" y="460873"/>
                      </a:lnTo>
                      <a:lnTo>
                        <a:pt x="93015" y="462925"/>
                      </a:lnTo>
                      <a:lnTo>
                        <a:pt x="92104" y="464431"/>
                      </a:lnTo>
                      <a:lnTo>
                        <a:pt x="92129" y="465985"/>
                      </a:lnTo>
                      <a:lnTo>
                        <a:pt x="86616" y="462512"/>
                      </a:lnTo>
                      <a:lnTo>
                        <a:pt x="87369" y="474376"/>
                      </a:lnTo>
                      <a:lnTo>
                        <a:pt x="87538" y="477108"/>
                      </a:lnTo>
                      <a:lnTo>
                        <a:pt x="87563" y="477497"/>
                      </a:lnTo>
                      <a:lnTo>
                        <a:pt x="87636" y="477873"/>
                      </a:lnTo>
                      <a:lnTo>
                        <a:pt x="88437" y="482026"/>
                      </a:lnTo>
                      <a:lnTo>
                        <a:pt x="87332" y="485572"/>
                      </a:lnTo>
                      <a:lnTo>
                        <a:pt x="86227" y="489142"/>
                      </a:lnTo>
                      <a:lnTo>
                        <a:pt x="88911" y="491740"/>
                      </a:lnTo>
                      <a:lnTo>
                        <a:pt x="91084" y="493841"/>
                      </a:lnTo>
                      <a:lnTo>
                        <a:pt x="91655" y="494388"/>
                      </a:lnTo>
                      <a:lnTo>
                        <a:pt x="92347" y="494776"/>
                      </a:lnTo>
                      <a:lnTo>
                        <a:pt x="94509" y="495978"/>
                      </a:lnTo>
                      <a:lnTo>
                        <a:pt x="94569" y="496051"/>
                      </a:lnTo>
                      <a:lnTo>
                        <a:pt x="95699" y="499075"/>
                      </a:lnTo>
                      <a:lnTo>
                        <a:pt x="95844" y="499451"/>
                      </a:lnTo>
                      <a:lnTo>
                        <a:pt x="96026" y="499803"/>
                      </a:lnTo>
                      <a:lnTo>
                        <a:pt x="97751" y="503046"/>
                      </a:lnTo>
                      <a:lnTo>
                        <a:pt x="96743" y="503531"/>
                      </a:lnTo>
                      <a:lnTo>
                        <a:pt x="95844" y="504697"/>
                      </a:lnTo>
                      <a:lnTo>
                        <a:pt x="93137" y="508218"/>
                      </a:lnTo>
                      <a:lnTo>
                        <a:pt x="92214" y="509420"/>
                      </a:lnTo>
                      <a:lnTo>
                        <a:pt x="91691" y="510113"/>
                      </a:lnTo>
                      <a:lnTo>
                        <a:pt x="91376" y="510914"/>
                      </a:lnTo>
                      <a:lnTo>
                        <a:pt x="90404" y="513391"/>
                      </a:lnTo>
                      <a:lnTo>
                        <a:pt x="88643" y="512881"/>
                      </a:lnTo>
                      <a:lnTo>
                        <a:pt x="87393" y="512541"/>
                      </a:lnTo>
                      <a:lnTo>
                        <a:pt x="86118" y="512735"/>
                      </a:lnTo>
                      <a:lnTo>
                        <a:pt x="84054" y="513051"/>
                      </a:lnTo>
                      <a:lnTo>
                        <a:pt x="82001" y="513355"/>
                      </a:lnTo>
                      <a:lnTo>
                        <a:pt x="80569" y="514873"/>
                      </a:lnTo>
                      <a:lnTo>
                        <a:pt x="76270" y="519402"/>
                      </a:lnTo>
                      <a:lnTo>
                        <a:pt x="70332" y="520592"/>
                      </a:lnTo>
                      <a:lnTo>
                        <a:pt x="68935" y="520871"/>
                      </a:lnTo>
                      <a:lnTo>
                        <a:pt x="67818" y="521746"/>
                      </a:lnTo>
                      <a:lnTo>
                        <a:pt x="66130" y="523045"/>
                      </a:lnTo>
                      <a:lnTo>
                        <a:pt x="65572" y="523336"/>
                      </a:lnTo>
                      <a:lnTo>
                        <a:pt x="65475" y="523361"/>
                      </a:lnTo>
                      <a:lnTo>
                        <a:pt x="65147" y="523373"/>
                      </a:lnTo>
                      <a:lnTo>
                        <a:pt x="63884" y="523446"/>
                      </a:lnTo>
                      <a:lnTo>
                        <a:pt x="62755" y="524016"/>
                      </a:lnTo>
                      <a:lnTo>
                        <a:pt x="61383" y="524708"/>
                      </a:lnTo>
                      <a:lnTo>
                        <a:pt x="61103" y="524842"/>
                      </a:lnTo>
                      <a:lnTo>
                        <a:pt x="60848" y="525012"/>
                      </a:lnTo>
                      <a:lnTo>
                        <a:pt x="59598" y="525814"/>
                      </a:lnTo>
                      <a:lnTo>
                        <a:pt x="59124" y="526117"/>
                      </a:lnTo>
                      <a:lnTo>
                        <a:pt x="58711" y="526506"/>
                      </a:lnTo>
                      <a:lnTo>
                        <a:pt x="53818" y="531096"/>
                      </a:lnTo>
                      <a:lnTo>
                        <a:pt x="51098" y="533646"/>
                      </a:lnTo>
                      <a:lnTo>
                        <a:pt x="52154" y="537228"/>
                      </a:lnTo>
                      <a:lnTo>
                        <a:pt x="54388" y="544817"/>
                      </a:lnTo>
                      <a:lnTo>
                        <a:pt x="54655" y="548776"/>
                      </a:lnTo>
                      <a:lnTo>
                        <a:pt x="54437" y="552929"/>
                      </a:lnTo>
                      <a:lnTo>
                        <a:pt x="54376" y="554264"/>
                      </a:lnTo>
                      <a:lnTo>
                        <a:pt x="54886" y="555515"/>
                      </a:lnTo>
                      <a:lnTo>
                        <a:pt x="55396" y="556778"/>
                      </a:lnTo>
                      <a:lnTo>
                        <a:pt x="55724" y="557604"/>
                      </a:lnTo>
                      <a:lnTo>
                        <a:pt x="56283" y="558296"/>
                      </a:lnTo>
                      <a:lnTo>
                        <a:pt x="56926" y="559097"/>
                      </a:lnTo>
                      <a:lnTo>
                        <a:pt x="58031" y="560482"/>
                      </a:lnTo>
                      <a:lnTo>
                        <a:pt x="59719" y="561052"/>
                      </a:lnTo>
                      <a:lnTo>
                        <a:pt x="60508" y="561319"/>
                      </a:lnTo>
                      <a:lnTo>
                        <a:pt x="60618" y="561356"/>
                      </a:lnTo>
                      <a:lnTo>
                        <a:pt x="61128" y="562145"/>
                      </a:lnTo>
                      <a:lnTo>
                        <a:pt x="61759" y="564622"/>
                      </a:lnTo>
                      <a:lnTo>
                        <a:pt x="61941" y="566310"/>
                      </a:lnTo>
                      <a:lnTo>
                        <a:pt x="61577" y="566699"/>
                      </a:lnTo>
                      <a:lnTo>
                        <a:pt x="61201" y="567087"/>
                      </a:lnTo>
                      <a:lnTo>
                        <a:pt x="60897" y="567549"/>
                      </a:lnTo>
                      <a:lnTo>
                        <a:pt x="60217" y="568581"/>
                      </a:lnTo>
                      <a:lnTo>
                        <a:pt x="59658" y="569431"/>
                      </a:lnTo>
                      <a:lnTo>
                        <a:pt x="59403" y="570414"/>
                      </a:lnTo>
                      <a:lnTo>
                        <a:pt x="59003" y="571969"/>
                      </a:lnTo>
                      <a:lnTo>
                        <a:pt x="58675" y="573219"/>
                      </a:lnTo>
                      <a:lnTo>
                        <a:pt x="58893" y="574482"/>
                      </a:lnTo>
                      <a:lnTo>
                        <a:pt x="59063" y="575515"/>
                      </a:lnTo>
                      <a:lnTo>
                        <a:pt x="59343" y="577178"/>
                      </a:lnTo>
                      <a:lnTo>
                        <a:pt x="60435" y="578453"/>
                      </a:lnTo>
                      <a:lnTo>
                        <a:pt x="61128" y="579267"/>
                      </a:lnTo>
                      <a:lnTo>
                        <a:pt x="61638" y="579862"/>
                      </a:lnTo>
                      <a:lnTo>
                        <a:pt x="62281" y="580311"/>
                      </a:lnTo>
                      <a:lnTo>
                        <a:pt x="63022" y="580821"/>
                      </a:lnTo>
                      <a:lnTo>
                        <a:pt x="62913" y="581222"/>
                      </a:lnTo>
                      <a:lnTo>
                        <a:pt x="62791" y="581695"/>
                      </a:lnTo>
                      <a:lnTo>
                        <a:pt x="62755" y="582181"/>
                      </a:lnTo>
                      <a:lnTo>
                        <a:pt x="62451" y="585362"/>
                      </a:lnTo>
                      <a:lnTo>
                        <a:pt x="62330" y="586577"/>
                      </a:lnTo>
                      <a:lnTo>
                        <a:pt x="62694" y="587742"/>
                      </a:lnTo>
                      <a:lnTo>
                        <a:pt x="63326" y="589758"/>
                      </a:lnTo>
                      <a:lnTo>
                        <a:pt x="63544" y="590450"/>
                      </a:lnTo>
                      <a:lnTo>
                        <a:pt x="63908" y="591070"/>
                      </a:lnTo>
                      <a:lnTo>
                        <a:pt x="64953" y="592818"/>
                      </a:lnTo>
                      <a:lnTo>
                        <a:pt x="65220" y="593280"/>
                      </a:lnTo>
                      <a:lnTo>
                        <a:pt x="65572" y="593693"/>
                      </a:lnTo>
                      <a:lnTo>
                        <a:pt x="73149" y="602399"/>
                      </a:lnTo>
                      <a:lnTo>
                        <a:pt x="75760" y="606734"/>
                      </a:lnTo>
                      <a:lnTo>
                        <a:pt x="75978" y="607110"/>
                      </a:lnTo>
                      <a:lnTo>
                        <a:pt x="76246" y="607438"/>
                      </a:lnTo>
                      <a:lnTo>
                        <a:pt x="77727" y="609248"/>
                      </a:lnTo>
                      <a:lnTo>
                        <a:pt x="79682" y="616448"/>
                      </a:lnTo>
                      <a:lnTo>
                        <a:pt x="79852" y="617092"/>
                      </a:lnTo>
                      <a:lnTo>
                        <a:pt x="80156" y="617675"/>
                      </a:lnTo>
                      <a:lnTo>
                        <a:pt x="81358" y="619970"/>
                      </a:lnTo>
                      <a:lnTo>
                        <a:pt x="81625" y="620480"/>
                      </a:lnTo>
                      <a:lnTo>
                        <a:pt x="81989" y="620941"/>
                      </a:lnTo>
                      <a:lnTo>
                        <a:pt x="83604" y="622957"/>
                      </a:lnTo>
                      <a:lnTo>
                        <a:pt x="84017" y="623467"/>
                      </a:lnTo>
                      <a:lnTo>
                        <a:pt x="84539" y="623880"/>
                      </a:lnTo>
                      <a:lnTo>
                        <a:pt x="86033" y="625082"/>
                      </a:lnTo>
                      <a:lnTo>
                        <a:pt x="86361" y="625349"/>
                      </a:lnTo>
                      <a:lnTo>
                        <a:pt x="86725" y="625568"/>
                      </a:lnTo>
                      <a:lnTo>
                        <a:pt x="88449" y="626600"/>
                      </a:lnTo>
                      <a:lnTo>
                        <a:pt x="88983" y="626916"/>
                      </a:lnTo>
                      <a:lnTo>
                        <a:pt x="89566" y="627122"/>
                      </a:lnTo>
                      <a:lnTo>
                        <a:pt x="90999" y="627620"/>
                      </a:lnTo>
                      <a:lnTo>
                        <a:pt x="91534" y="627814"/>
                      </a:lnTo>
                      <a:lnTo>
                        <a:pt x="92092" y="627899"/>
                      </a:lnTo>
                      <a:lnTo>
                        <a:pt x="95359" y="628385"/>
                      </a:lnTo>
                      <a:lnTo>
                        <a:pt x="96051" y="628555"/>
                      </a:lnTo>
                      <a:lnTo>
                        <a:pt x="96354" y="628701"/>
                      </a:lnTo>
                      <a:lnTo>
                        <a:pt x="106154" y="635743"/>
                      </a:lnTo>
                      <a:lnTo>
                        <a:pt x="106554" y="636023"/>
                      </a:lnTo>
                      <a:lnTo>
                        <a:pt x="106991" y="636241"/>
                      </a:lnTo>
                      <a:lnTo>
                        <a:pt x="108084" y="636788"/>
                      </a:lnTo>
                      <a:lnTo>
                        <a:pt x="108376" y="636934"/>
                      </a:lnTo>
                      <a:lnTo>
                        <a:pt x="108679" y="637043"/>
                      </a:lnTo>
                      <a:lnTo>
                        <a:pt x="110234" y="637614"/>
                      </a:lnTo>
                      <a:lnTo>
                        <a:pt x="111120" y="637941"/>
                      </a:lnTo>
                      <a:lnTo>
                        <a:pt x="112067" y="637990"/>
                      </a:lnTo>
                      <a:lnTo>
                        <a:pt x="112893" y="638026"/>
                      </a:lnTo>
                      <a:lnTo>
                        <a:pt x="112881" y="638136"/>
                      </a:lnTo>
                      <a:lnTo>
                        <a:pt x="112735" y="639241"/>
                      </a:lnTo>
                      <a:lnTo>
                        <a:pt x="112990" y="640321"/>
                      </a:lnTo>
                      <a:lnTo>
                        <a:pt x="113901" y="644171"/>
                      </a:lnTo>
                      <a:lnTo>
                        <a:pt x="114047" y="644778"/>
                      </a:lnTo>
                      <a:lnTo>
                        <a:pt x="114302" y="645337"/>
                      </a:lnTo>
                      <a:lnTo>
                        <a:pt x="115334" y="647546"/>
                      </a:lnTo>
                      <a:lnTo>
                        <a:pt x="115589" y="648069"/>
                      </a:lnTo>
                      <a:lnTo>
                        <a:pt x="115929" y="648542"/>
                      </a:lnTo>
                      <a:lnTo>
                        <a:pt x="117119" y="650169"/>
                      </a:lnTo>
                      <a:lnTo>
                        <a:pt x="117629" y="651517"/>
                      </a:lnTo>
                      <a:lnTo>
                        <a:pt x="118673" y="655294"/>
                      </a:lnTo>
                      <a:lnTo>
                        <a:pt x="119110" y="656848"/>
                      </a:lnTo>
                      <a:lnTo>
                        <a:pt x="120264" y="657977"/>
                      </a:lnTo>
                      <a:lnTo>
                        <a:pt x="121089" y="658779"/>
                      </a:lnTo>
                      <a:lnTo>
                        <a:pt x="121077" y="658791"/>
                      </a:lnTo>
                      <a:lnTo>
                        <a:pt x="118539" y="660187"/>
                      </a:lnTo>
                      <a:lnTo>
                        <a:pt x="116354" y="661049"/>
                      </a:lnTo>
                      <a:lnTo>
                        <a:pt x="113925" y="662021"/>
                      </a:lnTo>
                      <a:lnTo>
                        <a:pt x="112954" y="664449"/>
                      </a:lnTo>
                      <a:lnTo>
                        <a:pt x="112274" y="666162"/>
                      </a:lnTo>
                      <a:lnTo>
                        <a:pt x="112019" y="666781"/>
                      </a:lnTo>
                      <a:lnTo>
                        <a:pt x="111909" y="667437"/>
                      </a:lnTo>
                      <a:lnTo>
                        <a:pt x="111812" y="668092"/>
                      </a:lnTo>
                      <a:lnTo>
                        <a:pt x="111096" y="668408"/>
                      </a:lnTo>
                      <a:lnTo>
                        <a:pt x="100106" y="671201"/>
                      </a:lnTo>
                      <a:lnTo>
                        <a:pt x="99293" y="671407"/>
                      </a:lnTo>
                      <a:lnTo>
                        <a:pt x="98564" y="671820"/>
                      </a:lnTo>
                      <a:lnTo>
                        <a:pt x="96998" y="672719"/>
                      </a:lnTo>
                      <a:lnTo>
                        <a:pt x="95917" y="673350"/>
                      </a:lnTo>
                      <a:lnTo>
                        <a:pt x="95164" y="674358"/>
                      </a:lnTo>
                      <a:lnTo>
                        <a:pt x="94363" y="675439"/>
                      </a:lnTo>
                      <a:lnTo>
                        <a:pt x="93646" y="676398"/>
                      </a:lnTo>
                      <a:lnTo>
                        <a:pt x="93355" y="677552"/>
                      </a:lnTo>
                      <a:lnTo>
                        <a:pt x="93124" y="678450"/>
                      </a:lnTo>
                      <a:lnTo>
                        <a:pt x="92894" y="679361"/>
                      </a:lnTo>
                      <a:lnTo>
                        <a:pt x="92942" y="680296"/>
                      </a:lnTo>
                      <a:lnTo>
                        <a:pt x="93003" y="681474"/>
                      </a:lnTo>
                      <a:lnTo>
                        <a:pt x="93027" y="681996"/>
                      </a:lnTo>
                      <a:lnTo>
                        <a:pt x="93149" y="682506"/>
                      </a:lnTo>
                      <a:lnTo>
                        <a:pt x="93319" y="683222"/>
                      </a:lnTo>
                      <a:lnTo>
                        <a:pt x="93489" y="683939"/>
                      </a:lnTo>
                      <a:lnTo>
                        <a:pt x="93817" y="684594"/>
                      </a:lnTo>
                      <a:lnTo>
                        <a:pt x="94339" y="685627"/>
                      </a:lnTo>
                      <a:lnTo>
                        <a:pt x="94557" y="686052"/>
                      </a:lnTo>
                      <a:lnTo>
                        <a:pt x="94824" y="686440"/>
                      </a:lnTo>
                      <a:lnTo>
                        <a:pt x="95517" y="687387"/>
                      </a:lnTo>
                      <a:lnTo>
                        <a:pt x="96026" y="688092"/>
                      </a:lnTo>
                      <a:lnTo>
                        <a:pt x="96719" y="688626"/>
                      </a:lnTo>
                      <a:lnTo>
                        <a:pt x="97569" y="689294"/>
                      </a:lnTo>
                      <a:lnTo>
                        <a:pt x="98540" y="690047"/>
                      </a:lnTo>
                      <a:lnTo>
                        <a:pt x="99718" y="690362"/>
                      </a:lnTo>
                      <a:lnTo>
                        <a:pt x="100871" y="690678"/>
                      </a:lnTo>
                      <a:lnTo>
                        <a:pt x="100969" y="690702"/>
                      </a:lnTo>
                      <a:lnTo>
                        <a:pt x="101029" y="690860"/>
                      </a:lnTo>
                      <a:lnTo>
                        <a:pt x="101612" y="692293"/>
                      </a:lnTo>
                      <a:lnTo>
                        <a:pt x="102244" y="693823"/>
                      </a:lnTo>
                      <a:lnTo>
                        <a:pt x="103555" y="694831"/>
                      </a:lnTo>
                      <a:lnTo>
                        <a:pt x="104927" y="695875"/>
                      </a:lnTo>
                      <a:lnTo>
                        <a:pt x="105595" y="696385"/>
                      </a:lnTo>
                      <a:lnTo>
                        <a:pt x="106372" y="696689"/>
                      </a:lnTo>
                      <a:lnTo>
                        <a:pt x="108036" y="697345"/>
                      </a:lnTo>
                      <a:lnTo>
                        <a:pt x="108594" y="697575"/>
                      </a:lnTo>
                      <a:lnTo>
                        <a:pt x="109202" y="697685"/>
                      </a:lnTo>
                      <a:lnTo>
                        <a:pt x="115698" y="698838"/>
                      </a:lnTo>
                      <a:lnTo>
                        <a:pt x="116074" y="698911"/>
                      </a:lnTo>
                      <a:lnTo>
                        <a:pt x="116463" y="698923"/>
                      </a:lnTo>
                      <a:lnTo>
                        <a:pt x="120434" y="699117"/>
                      </a:lnTo>
                      <a:lnTo>
                        <a:pt x="89251" y="712924"/>
                      </a:lnTo>
                      <a:lnTo>
                        <a:pt x="88971" y="713045"/>
                      </a:lnTo>
                      <a:lnTo>
                        <a:pt x="88716" y="713203"/>
                      </a:lnTo>
                      <a:lnTo>
                        <a:pt x="81710" y="717186"/>
                      </a:lnTo>
                      <a:lnTo>
                        <a:pt x="81200" y="717478"/>
                      </a:lnTo>
                      <a:lnTo>
                        <a:pt x="80751" y="717854"/>
                      </a:lnTo>
                      <a:lnTo>
                        <a:pt x="78006" y="720210"/>
                      </a:lnTo>
                      <a:lnTo>
                        <a:pt x="77423" y="720708"/>
                      </a:lnTo>
                      <a:lnTo>
                        <a:pt x="76974" y="721339"/>
                      </a:lnTo>
                      <a:lnTo>
                        <a:pt x="75772" y="723063"/>
                      </a:lnTo>
                      <a:lnTo>
                        <a:pt x="75213" y="723865"/>
                      </a:lnTo>
                      <a:lnTo>
                        <a:pt x="74934" y="724800"/>
                      </a:lnTo>
                      <a:lnTo>
                        <a:pt x="74412" y="726548"/>
                      </a:lnTo>
                      <a:lnTo>
                        <a:pt x="74193" y="727277"/>
                      </a:lnTo>
                      <a:lnTo>
                        <a:pt x="74169" y="728042"/>
                      </a:lnTo>
                      <a:lnTo>
                        <a:pt x="74109" y="729511"/>
                      </a:lnTo>
                      <a:lnTo>
                        <a:pt x="74096" y="729851"/>
                      </a:lnTo>
                      <a:lnTo>
                        <a:pt x="74121" y="730191"/>
                      </a:lnTo>
                      <a:lnTo>
                        <a:pt x="74327" y="732996"/>
                      </a:lnTo>
                      <a:lnTo>
                        <a:pt x="74133" y="736651"/>
                      </a:lnTo>
                      <a:lnTo>
                        <a:pt x="73392" y="740695"/>
                      </a:lnTo>
                      <a:lnTo>
                        <a:pt x="73222" y="741630"/>
                      </a:lnTo>
                      <a:lnTo>
                        <a:pt x="73343" y="742577"/>
                      </a:lnTo>
                      <a:lnTo>
                        <a:pt x="73513" y="743816"/>
                      </a:lnTo>
                      <a:lnTo>
                        <a:pt x="73683" y="745054"/>
                      </a:lnTo>
                      <a:lnTo>
                        <a:pt x="74327" y="746123"/>
                      </a:lnTo>
                      <a:lnTo>
                        <a:pt x="74740" y="746815"/>
                      </a:lnTo>
                      <a:lnTo>
                        <a:pt x="75699" y="748406"/>
                      </a:lnTo>
                      <a:lnTo>
                        <a:pt x="77375" y="749195"/>
                      </a:lnTo>
                      <a:lnTo>
                        <a:pt x="79026" y="749972"/>
                      </a:lnTo>
                      <a:lnTo>
                        <a:pt x="81018" y="750907"/>
                      </a:lnTo>
                      <a:lnTo>
                        <a:pt x="83155" y="750349"/>
                      </a:lnTo>
                      <a:lnTo>
                        <a:pt x="87866" y="749110"/>
                      </a:lnTo>
                      <a:lnTo>
                        <a:pt x="89530" y="748673"/>
                      </a:lnTo>
                      <a:lnTo>
                        <a:pt x="90720" y="747422"/>
                      </a:lnTo>
                      <a:lnTo>
                        <a:pt x="93428" y="744581"/>
                      </a:lnTo>
                      <a:lnTo>
                        <a:pt x="93841" y="744144"/>
                      </a:lnTo>
                      <a:lnTo>
                        <a:pt x="94157" y="743633"/>
                      </a:lnTo>
                      <a:lnTo>
                        <a:pt x="95711" y="741193"/>
                      </a:lnTo>
                      <a:lnTo>
                        <a:pt x="95990" y="740756"/>
                      </a:lnTo>
                      <a:lnTo>
                        <a:pt x="96197" y="740270"/>
                      </a:lnTo>
                      <a:lnTo>
                        <a:pt x="96609" y="739286"/>
                      </a:lnTo>
                      <a:lnTo>
                        <a:pt x="96670" y="739311"/>
                      </a:lnTo>
                      <a:lnTo>
                        <a:pt x="97884" y="739262"/>
                      </a:lnTo>
                      <a:lnTo>
                        <a:pt x="99439" y="739201"/>
                      </a:lnTo>
                      <a:lnTo>
                        <a:pt x="99997" y="739189"/>
                      </a:lnTo>
                      <a:lnTo>
                        <a:pt x="100544" y="739068"/>
                      </a:lnTo>
                      <a:lnTo>
                        <a:pt x="102438" y="738643"/>
                      </a:lnTo>
                      <a:lnTo>
                        <a:pt x="102936" y="738533"/>
                      </a:lnTo>
                      <a:lnTo>
                        <a:pt x="103409" y="738339"/>
                      </a:lnTo>
                      <a:lnTo>
                        <a:pt x="127914" y="728285"/>
                      </a:lnTo>
                      <a:lnTo>
                        <a:pt x="128363" y="728103"/>
                      </a:lnTo>
                      <a:lnTo>
                        <a:pt x="128776" y="727848"/>
                      </a:lnTo>
                      <a:lnTo>
                        <a:pt x="133208" y="725128"/>
                      </a:lnTo>
                      <a:lnTo>
                        <a:pt x="133827" y="724751"/>
                      </a:lnTo>
                      <a:lnTo>
                        <a:pt x="134337" y="724229"/>
                      </a:lnTo>
                      <a:lnTo>
                        <a:pt x="138988" y="719542"/>
                      </a:lnTo>
                      <a:lnTo>
                        <a:pt x="140020" y="718874"/>
                      </a:lnTo>
                      <a:lnTo>
                        <a:pt x="141162" y="718546"/>
                      </a:lnTo>
                      <a:lnTo>
                        <a:pt x="142036" y="718570"/>
                      </a:lnTo>
                      <a:lnTo>
                        <a:pt x="146395" y="719773"/>
                      </a:lnTo>
                      <a:lnTo>
                        <a:pt x="146808" y="719894"/>
                      </a:lnTo>
                      <a:lnTo>
                        <a:pt x="147233" y="719943"/>
                      </a:lnTo>
                      <a:lnTo>
                        <a:pt x="158101" y="721327"/>
                      </a:lnTo>
                      <a:lnTo>
                        <a:pt x="159012" y="721643"/>
                      </a:lnTo>
                      <a:lnTo>
                        <a:pt x="159315" y="721801"/>
                      </a:lnTo>
                      <a:lnTo>
                        <a:pt x="159315" y="721801"/>
                      </a:lnTo>
                      <a:lnTo>
                        <a:pt x="159595" y="722128"/>
                      </a:lnTo>
                      <a:lnTo>
                        <a:pt x="160311" y="722942"/>
                      </a:lnTo>
                      <a:lnTo>
                        <a:pt x="161246" y="723464"/>
                      </a:lnTo>
                      <a:lnTo>
                        <a:pt x="162278" y="724035"/>
                      </a:lnTo>
                      <a:lnTo>
                        <a:pt x="164986" y="725528"/>
                      </a:lnTo>
                      <a:lnTo>
                        <a:pt x="167791" y="724217"/>
                      </a:lnTo>
                      <a:lnTo>
                        <a:pt x="168653" y="723816"/>
                      </a:lnTo>
                      <a:lnTo>
                        <a:pt x="169127" y="723598"/>
                      </a:lnTo>
                      <a:lnTo>
                        <a:pt x="169552" y="723294"/>
                      </a:lnTo>
                      <a:lnTo>
                        <a:pt x="170900" y="722347"/>
                      </a:lnTo>
                      <a:lnTo>
                        <a:pt x="171191" y="722347"/>
                      </a:lnTo>
                      <a:lnTo>
                        <a:pt x="175806" y="723598"/>
                      </a:lnTo>
                      <a:lnTo>
                        <a:pt x="176401" y="723768"/>
                      </a:lnTo>
                      <a:lnTo>
                        <a:pt x="177008" y="723804"/>
                      </a:lnTo>
                      <a:lnTo>
                        <a:pt x="187524" y="724460"/>
                      </a:lnTo>
                      <a:lnTo>
                        <a:pt x="187633" y="724484"/>
                      </a:lnTo>
                      <a:lnTo>
                        <a:pt x="187742" y="724861"/>
                      </a:lnTo>
                      <a:lnTo>
                        <a:pt x="188386" y="726597"/>
                      </a:lnTo>
                      <a:lnTo>
                        <a:pt x="188689" y="727374"/>
                      </a:lnTo>
                      <a:lnTo>
                        <a:pt x="189199" y="728042"/>
                      </a:lnTo>
                      <a:lnTo>
                        <a:pt x="189891" y="728965"/>
                      </a:lnTo>
                      <a:lnTo>
                        <a:pt x="190644" y="729973"/>
                      </a:lnTo>
                      <a:lnTo>
                        <a:pt x="191737" y="730592"/>
                      </a:lnTo>
                      <a:lnTo>
                        <a:pt x="192939" y="731272"/>
                      </a:lnTo>
                      <a:lnTo>
                        <a:pt x="196218" y="733130"/>
                      </a:lnTo>
                      <a:lnTo>
                        <a:pt x="199338" y="731029"/>
                      </a:lnTo>
                      <a:lnTo>
                        <a:pt x="199849" y="730689"/>
                      </a:lnTo>
                      <a:lnTo>
                        <a:pt x="201561" y="729536"/>
                      </a:lnTo>
                      <a:lnTo>
                        <a:pt x="202216" y="727568"/>
                      </a:lnTo>
                      <a:lnTo>
                        <a:pt x="202641" y="726281"/>
                      </a:lnTo>
                      <a:lnTo>
                        <a:pt x="202969" y="725298"/>
                      </a:lnTo>
                      <a:lnTo>
                        <a:pt x="202957" y="724266"/>
                      </a:lnTo>
                      <a:lnTo>
                        <a:pt x="202945" y="723306"/>
                      </a:lnTo>
                      <a:lnTo>
                        <a:pt x="203370" y="723330"/>
                      </a:lnTo>
                      <a:lnTo>
                        <a:pt x="204499" y="723403"/>
                      </a:lnTo>
                      <a:lnTo>
                        <a:pt x="205580" y="723076"/>
                      </a:lnTo>
                      <a:lnTo>
                        <a:pt x="207074" y="722614"/>
                      </a:lnTo>
                      <a:lnTo>
                        <a:pt x="208458" y="722189"/>
                      </a:lnTo>
                      <a:lnTo>
                        <a:pt x="209502" y="721181"/>
                      </a:lnTo>
                      <a:lnTo>
                        <a:pt x="210474" y="720234"/>
                      </a:lnTo>
                      <a:lnTo>
                        <a:pt x="211154" y="719566"/>
                      </a:lnTo>
                      <a:lnTo>
                        <a:pt x="211603" y="718728"/>
                      </a:lnTo>
                      <a:lnTo>
                        <a:pt x="212052" y="717890"/>
                      </a:lnTo>
                      <a:lnTo>
                        <a:pt x="212866" y="717344"/>
                      </a:lnTo>
                      <a:lnTo>
                        <a:pt x="213352" y="717016"/>
                      </a:lnTo>
                      <a:lnTo>
                        <a:pt x="213764" y="716603"/>
                      </a:lnTo>
                      <a:lnTo>
                        <a:pt x="214347" y="716021"/>
                      </a:lnTo>
                      <a:lnTo>
                        <a:pt x="215100" y="715559"/>
                      </a:lnTo>
                      <a:lnTo>
                        <a:pt x="216412" y="715353"/>
                      </a:lnTo>
                      <a:lnTo>
                        <a:pt x="221147" y="715098"/>
                      </a:lnTo>
                      <a:lnTo>
                        <a:pt x="223382" y="715389"/>
                      </a:lnTo>
                      <a:lnTo>
                        <a:pt x="224778" y="715765"/>
                      </a:lnTo>
                      <a:lnTo>
                        <a:pt x="226138" y="716397"/>
                      </a:lnTo>
                      <a:lnTo>
                        <a:pt x="226636" y="716628"/>
                      </a:lnTo>
                      <a:lnTo>
                        <a:pt x="227146" y="716773"/>
                      </a:lnTo>
                      <a:lnTo>
                        <a:pt x="228980" y="717259"/>
                      </a:lnTo>
                      <a:lnTo>
                        <a:pt x="229016" y="717259"/>
                      </a:lnTo>
                      <a:lnTo>
                        <a:pt x="228178" y="718048"/>
                      </a:lnTo>
                      <a:lnTo>
                        <a:pt x="227814" y="718279"/>
                      </a:lnTo>
                      <a:lnTo>
                        <a:pt x="226782" y="718255"/>
                      </a:lnTo>
                      <a:lnTo>
                        <a:pt x="225725" y="718230"/>
                      </a:lnTo>
                      <a:lnTo>
                        <a:pt x="224717" y="718570"/>
                      </a:lnTo>
                      <a:lnTo>
                        <a:pt x="223855" y="718862"/>
                      </a:lnTo>
                      <a:lnTo>
                        <a:pt x="221499" y="719651"/>
                      </a:lnTo>
                      <a:lnTo>
                        <a:pt x="220370" y="721873"/>
                      </a:lnTo>
                      <a:lnTo>
                        <a:pt x="219860" y="722881"/>
                      </a:lnTo>
                      <a:lnTo>
                        <a:pt x="218974" y="724642"/>
                      </a:lnTo>
                      <a:lnTo>
                        <a:pt x="219289" y="726597"/>
                      </a:lnTo>
                      <a:lnTo>
                        <a:pt x="219447" y="727593"/>
                      </a:lnTo>
                      <a:lnTo>
                        <a:pt x="219642" y="728783"/>
                      </a:lnTo>
                      <a:lnTo>
                        <a:pt x="220273" y="729803"/>
                      </a:lnTo>
                      <a:lnTo>
                        <a:pt x="221086" y="731126"/>
                      </a:lnTo>
                      <a:lnTo>
                        <a:pt x="221414" y="731661"/>
                      </a:lnTo>
                      <a:lnTo>
                        <a:pt x="221852" y="732122"/>
                      </a:lnTo>
                      <a:lnTo>
                        <a:pt x="223394" y="733761"/>
                      </a:lnTo>
                      <a:lnTo>
                        <a:pt x="224001" y="734563"/>
                      </a:lnTo>
                      <a:lnTo>
                        <a:pt x="224292" y="735206"/>
                      </a:lnTo>
                      <a:lnTo>
                        <a:pt x="224547" y="736214"/>
                      </a:lnTo>
                      <a:lnTo>
                        <a:pt x="225737" y="740853"/>
                      </a:lnTo>
                      <a:lnTo>
                        <a:pt x="230534" y="740780"/>
                      </a:lnTo>
                      <a:lnTo>
                        <a:pt x="233242" y="740731"/>
                      </a:lnTo>
                      <a:lnTo>
                        <a:pt x="235136" y="741278"/>
                      </a:lnTo>
                      <a:lnTo>
                        <a:pt x="235573" y="741399"/>
                      </a:lnTo>
                      <a:lnTo>
                        <a:pt x="236022" y="741460"/>
                      </a:lnTo>
                      <a:lnTo>
                        <a:pt x="239920" y="741982"/>
                      </a:lnTo>
                      <a:lnTo>
                        <a:pt x="243430" y="742456"/>
                      </a:lnTo>
                      <a:lnTo>
                        <a:pt x="245567" y="739638"/>
                      </a:lnTo>
                      <a:lnTo>
                        <a:pt x="246198" y="738801"/>
                      </a:lnTo>
                      <a:lnTo>
                        <a:pt x="246441" y="738473"/>
                      </a:lnTo>
                      <a:lnTo>
                        <a:pt x="246648" y="738121"/>
                      </a:lnTo>
                      <a:lnTo>
                        <a:pt x="248821" y="734283"/>
                      </a:lnTo>
                      <a:lnTo>
                        <a:pt x="248894" y="734211"/>
                      </a:lnTo>
                      <a:lnTo>
                        <a:pt x="254322" y="733482"/>
                      </a:lnTo>
                      <a:lnTo>
                        <a:pt x="257406" y="733676"/>
                      </a:lnTo>
                      <a:lnTo>
                        <a:pt x="258280" y="734016"/>
                      </a:lnTo>
                      <a:lnTo>
                        <a:pt x="259750" y="736846"/>
                      </a:lnTo>
                      <a:lnTo>
                        <a:pt x="260988" y="739250"/>
                      </a:lnTo>
                      <a:lnTo>
                        <a:pt x="263611" y="739930"/>
                      </a:lnTo>
                      <a:lnTo>
                        <a:pt x="265688" y="740464"/>
                      </a:lnTo>
                      <a:lnTo>
                        <a:pt x="266550" y="740695"/>
                      </a:lnTo>
                      <a:lnTo>
                        <a:pt x="267436" y="740658"/>
                      </a:lnTo>
                      <a:lnTo>
                        <a:pt x="269792" y="740573"/>
                      </a:lnTo>
                      <a:lnTo>
                        <a:pt x="269853" y="740695"/>
                      </a:lnTo>
                      <a:lnTo>
                        <a:pt x="270132" y="741193"/>
                      </a:lnTo>
                      <a:lnTo>
                        <a:pt x="270496" y="741630"/>
                      </a:lnTo>
                      <a:lnTo>
                        <a:pt x="271978" y="743378"/>
                      </a:lnTo>
                      <a:lnTo>
                        <a:pt x="272706" y="744241"/>
                      </a:lnTo>
                      <a:lnTo>
                        <a:pt x="273690" y="744775"/>
                      </a:lnTo>
                      <a:lnTo>
                        <a:pt x="276568" y="746354"/>
                      </a:lnTo>
                      <a:lnTo>
                        <a:pt x="277612" y="746924"/>
                      </a:lnTo>
                      <a:lnTo>
                        <a:pt x="278790" y="747058"/>
                      </a:lnTo>
                      <a:lnTo>
                        <a:pt x="285262" y="747811"/>
                      </a:lnTo>
                      <a:lnTo>
                        <a:pt x="287703" y="748491"/>
                      </a:lnTo>
                      <a:lnTo>
                        <a:pt x="295535" y="753069"/>
                      </a:lnTo>
                      <a:lnTo>
                        <a:pt x="296567" y="753676"/>
                      </a:lnTo>
                      <a:lnTo>
                        <a:pt x="297757" y="753846"/>
                      </a:lnTo>
                      <a:lnTo>
                        <a:pt x="301485" y="754368"/>
                      </a:lnTo>
                      <a:lnTo>
                        <a:pt x="302602" y="754526"/>
                      </a:lnTo>
                      <a:lnTo>
                        <a:pt x="303707" y="754271"/>
                      </a:lnTo>
                      <a:lnTo>
                        <a:pt x="305953" y="753749"/>
                      </a:lnTo>
                      <a:lnTo>
                        <a:pt x="307641" y="753360"/>
                      </a:lnTo>
                      <a:lnTo>
                        <a:pt x="308868" y="752134"/>
                      </a:lnTo>
                      <a:lnTo>
                        <a:pt x="310058" y="750956"/>
                      </a:lnTo>
                      <a:lnTo>
                        <a:pt x="310471" y="750555"/>
                      </a:lnTo>
                      <a:lnTo>
                        <a:pt x="310665" y="750276"/>
                      </a:lnTo>
                      <a:lnTo>
                        <a:pt x="312717" y="750518"/>
                      </a:lnTo>
                      <a:lnTo>
                        <a:pt x="313385" y="750591"/>
                      </a:lnTo>
                      <a:lnTo>
                        <a:pt x="314065" y="750518"/>
                      </a:lnTo>
                      <a:lnTo>
                        <a:pt x="316494" y="750264"/>
                      </a:lnTo>
                      <a:lnTo>
                        <a:pt x="317854" y="750118"/>
                      </a:lnTo>
                      <a:lnTo>
                        <a:pt x="319019" y="749414"/>
                      </a:lnTo>
                      <a:lnTo>
                        <a:pt x="323269" y="746827"/>
                      </a:lnTo>
                      <a:lnTo>
                        <a:pt x="323537" y="747301"/>
                      </a:lnTo>
                      <a:lnTo>
                        <a:pt x="327471" y="754028"/>
                      </a:lnTo>
                      <a:lnTo>
                        <a:pt x="331017" y="750555"/>
                      </a:lnTo>
                      <a:lnTo>
                        <a:pt x="331551" y="751769"/>
                      </a:lnTo>
                      <a:lnTo>
                        <a:pt x="334574" y="752413"/>
                      </a:lnTo>
                      <a:lnTo>
                        <a:pt x="336238" y="752765"/>
                      </a:lnTo>
                      <a:lnTo>
                        <a:pt x="336955" y="752923"/>
                      </a:lnTo>
                      <a:lnTo>
                        <a:pt x="337683" y="752911"/>
                      </a:lnTo>
                      <a:lnTo>
                        <a:pt x="339067" y="752874"/>
                      </a:lnTo>
                      <a:lnTo>
                        <a:pt x="340925" y="754368"/>
                      </a:lnTo>
                      <a:lnTo>
                        <a:pt x="346183" y="760998"/>
                      </a:lnTo>
                      <a:lnTo>
                        <a:pt x="346875" y="761860"/>
                      </a:lnTo>
                      <a:lnTo>
                        <a:pt x="347822" y="762431"/>
                      </a:lnTo>
                      <a:lnTo>
                        <a:pt x="351392" y="764580"/>
                      </a:lnTo>
                      <a:lnTo>
                        <a:pt x="352655" y="765333"/>
                      </a:lnTo>
                      <a:lnTo>
                        <a:pt x="354125" y="765430"/>
                      </a:lnTo>
                      <a:lnTo>
                        <a:pt x="356359" y="765576"/>
                      </a:lnTo>
                      <a:lnTo>
                        <a:pt x="357330" y="765637"/>
                      </a:lnTo>
                      <a:lnTo>
                        <a:pt x="358265" y="765394"/>
                      </a:lnTo>
                      <a:lnTo>
                        <a:pt x="362758" y="764252"/>
                      </a:lnTo>
                      <a:lnTo>
                        <a:pt x="362758" y="765503"/>
                      </a:lnTo>
                      <a:lnTo>
                        <a:pt x="362880" y="765758"/>
                      </a:lnTo>
                      <a:lnTo>
                        <a:pt x="362880" y="765794"/>
                      </a:lnTo>
                      <a:lnTo>
                        <a:pt x="362855" y="766535"/>
                      </a:lnTo>
                      <a:lnTo>
                        <a:pt x="363013" y="767264"/>
                      </a:lnTo>
                      <a:lnTo>
                        <a:pt x="364373" y="773845"/>
                      </a:lnTo>
                      <a:lnTo>
                        <a:pt x="364458" y="774222"/>
                      </a:lnTo>
                      <a:lnTo>
                        <a:pt x="364592" y="774598"/>
                      </a:lnTo>
                      <a:lnTo>
                        <a:pt x="367300" y="782406"/>
                      </a:lnTo>
                      <a:lnTo>
                        <a:pt x="367457" y="782855"/>
                      </a:lnTo>
                      <a:lnTo>
                        <a:pt x="367688" y="783268"/>
                      </a:lnTo>
                      <a:lnTo>
                        <a:pt x="370384" y="788320"/>
                      </a:lnTo>
                      <a:lnTo>
                        <a:pt x="370530" y="788599"/>
                      </a:lnTo>
                      <a:lnTo>
                        <a:pt x="370712" y="788866"/>
                      </a:lnTo>
                      <a:lnTo>
                        <a:pt x="380451" y="803231"/>
                      </a:lnTo>
                      <a:lnTo>
                        <a:pt x="382491" y="808270"/>
                      </a:lnTo>
                      <a:lnTo>
                        <a:pt x="383790" y="812909"/>
                      </a:lnTo>
                      <a:lnTo>
                        <a:pt x="384142" y="816977"/>
                      </a:lnTo>
                      <a:lnTo>
                        <a:pt x="382163" y="823133"/>
                      </a:lnTo>
                      <a:lnTo>
                        <a:pt x="381118" y="826388"/>
                      </a:lnTo>
                      <a:lnTo>
                        <a:pt x="383365" y="828974"/>
                      </a:lnTo>
                      <a:lnTo>
                        <a:pt x="384822" y="830650"/>
                      </a:lnTo>
                      <a:lnTo>
                        <a:pt x="382430" y="834499"/>
                      </a:lnTo>
                      <a:lnTo>
                        <a:pt x="381531" y="835592"/>
                      </a:lnTo>
                      <a:lnTo>
                        <a:pt x="380912" y="836114"/>
                      </a:lnTo>
                      <a:lnTo>
                        <a:pt x="380232" y="836406"/>
                      </a:lnTo>
                      <a:lnTo>
                        <a:pt x="375691" y="837341"/>
                      </a:lnTo>
                      <a:lnTo>
                        <a:pt x="373359" y="838021"/>
                      </a:lnTo>
                      <a:lnTo>
                        <a:pt x="373043" y="838118"/>
                      </a:lnTo>
                      <a:lnTo>
                        <a:pt x="372740" y="838251"/>
                      </a:lnTo>
                      <a:lnTo>
                        <a:pt x="371246" y="838883"/>
                      </a:lnTo>
                      <a:lnTo>
                        <a:pt x="370639" y="839138"/>
                      </a:lnTo>
                      <a:lnTo>
                        <a:pt x="370105" y="839526"/>
                      </a:lnTo>
                      <a:lnTo>
                        <a:pt x="368733" y="840510"/>
                      </a:lnTo>
                      <a:lnTo>
                        <a:pt x="368453" y="840716"/>
                      </a:lnTo>
                      <a:lnTo>
                        <a:pt x="368198" y="840959"/>
                      </a:lnTo>
                      <a:lnTo>
                        <a:pt x="365612" y="843303"/>
                      </a:lnTo>
                      <a:lnTo>
                        <a:pt x="364835" y="844019"/>
                      </a:lnTo>
                      <a:lnTo>
                        <a:pt x="364288" y="845003"/>
                      </a:lnTo>
                      <a:lnTo>
                        <a:pt x="363548" y="846387"/>
                      </a:lnTo>
                      <a:lnTo>
                        <a:pt x="363159" y="847104"/>
                      </a:lnTo>
                      <a:lnTo>
                        <a:pt x="362977" y="847893"/>
                      </a:lnTo>
                      <a:lnTo>
                        <a:pt x="362528" y="849872"/>
                      </a:lnTo>
                      <a:lnTo>
                        <a:pt x="362248" y="851074"/>
                      </a:lnTo>
                      <a:lnTo>
                        <a:pt x="362467" y="852289"/>
                      </a:lnTo>
                      <a:lnTo>
                        <a:pt x="362977" y="855154"/>
                      </a:lnTo>
                      <a:lnTo>
                        <a:pt x="363123" y="856004"/>
                      </a:lnTo>
                      <a:lnTo>
                        <a:pt x="363511" y="856781"/>
                      </a:lnTo>
                      <a:lnTo>
                        <a:pt x="364592" y="858967"/>
                      </a:lnTo>
                      <a:lnTo>
                        <a:pt x="364592" y="858979"/>
                      </a:lnTo>
                      <a:lnTo>
                        <a:pt x="363463" y="859404"/>
                      </a:lnTo>
                      <a:lnTo>
                        <a:pt x="362528" y="860352"/>
                      </a:lnTo>
                      <a:lnTo>
                        <a:pt x="361435" y="861444"/>
                      </a:lnTo>
                      <a:lnTo>
                        <a:pt x="360403" y="862476"/>
                      </a:lnTo>
                      <a:lnTo>
                        <a:pt x="359953" y="863873"/>
                      </a:lnTo>
                      <a:lnTo>
                        <a:pt x="359370" y="865706"/>
                      </a:lnTo>
                      <a:lnTo>
                        <a:pt x="359006" y="866848"/>
                      </a:lnTo>
                      <a:lnTo>
                        <a:pt x="359103" y="868038"/>
                      </a:lnTo>
                      <a:lnTo>
                        <a:pt x="359407" y="871826"/>
                      </a:lnTo>
                      <a:lnTo>
                        <a:pt x="359480" y="872737"/>
                      </a:lnTo>
                      <a:lnTo>
                        <a:pt x="359820" y="873587"/>
                      </a:lnTo>
                      <a:lnTo>
                        <a:pt x="360730" y="875882"/>
                      </a:lnTo>
                      <a:lnTo>
                        <a:pt x="361119" y="876854"/>
                      </a:lnTo>
                      <a:lnTo>
                        <a:pt x="361811" y="877643"/>
                      </a:lnTo>
                      <a:lnTo>
                        <a:pt x="363305" y="879343"/>
                      </a:lnTo>
                      <a:lnTo>
                        <a:pt x="363900" y="880023"/>
                      </a:lnTo>
                      <a:lnTo>
                        <a:pt x="364628" y="880472"/>
                      </a:lnTo>
                      <a:lnTo>
                        <a:pt x="359358" y="888438"/>
                      </a:lnTo>
                      <a:lnTo>
                        <a:pt x="359103" y="888839"/>
                      </a:lnTo>
                      <a:lnTo>
                        <a:pt x="358909" y="889264"/>
                      </a:lnTo>
                      <a:lnTo>
                        <a:pt x="354999" y="897812"/>
                      </a:lnTo>
                      <a:lnTo>
                        <a:pt x="354623" y="898638"/>
                      </a:lnTo>
                      <a:lnTo>
                        <a:pt x="354501" y="899537"/>
                      </a:lnTo>
                      <a:lnTo>
                        <a:pt x="354015" y="903167"/>
                      </a:lnTo>
                      <a:lnTo>
                        <a:pt x="353663" y="904163"/>
                      </a:lnTo>
                      <a:lnTo>
                        <a:pt x="352813" y="905851"/>
                      </a:lnTo>
                      <a:lnTo>
                        <a:pt x="344932" y="915408"/>
                      </a:lnTo>
                      <a:lnTo>
                        <a:pt x="344265" y="916209"/>
                      </a:lnTo>
                      <a:lnTo>
                        <a:pt x="343912" y="917193"/>
                      </a:lnTo>
                      <a:lnTo>
                        <a:pt x="341787" y="923045"/>
                      </a:lnTo>
                      <a:lnTo>
                        <a:pt x="339492" y="928546"/>
                      </a:lnTo>
                      <a:lnTo>
                        <a:pt x="337477" y="930356"/>
                      </a:lnTo>
                      <a:lnTo>
                        <a:pt x="334951" y="932165"/>
                      </a:lnTo>
                      <a:lnTo>
                        <a:pt x="332753" y="933355"/>
                      </a:lnTo>
                      <a:lnTo>
                        <a:pt x="332389" y="933561"/>
                      </a:lnTo>
                      <a:lnTo>
                        <a:pt x="332049" y="933816"/>
                      </a:lnTo>
                      <a:lnTo>
                        <a:pt x="329766" y="935492"/>
                      </a:lnTo>
                      <a:lnTo>
                        <a:pt x="329098" y="935990"/>
                      </a:lnTo>
                      <a:lnTo>
                        <a:pt x="328588" y="936645"/>
                      </a:lnTo>
                      <a:lnTo>
                        <a:pt x="326912" y="938795"/>
                      </a:lnTo>
                      <a:lnTo>
                        <a:pt x="326354" y="939523"/>
                      </a:lnTo>
                      <a:lnTo>
                        <a:pt x="326026" y="940373"/>
                      </a:lnTo>
                      <a:lnTo>
                        <a:pt x="324836" y="943494"/>
                      </a:lnTo>
                      <a:lnTo>
                        <a:pt x="324727" y="943798"/>
                      </a:lnTo>
                      <a:lnTo>
                        <a:pt x="324641" y="944113"/>
                      </a:lnTo>
                      <a:lnTo>
                        <a:pt x="323937" y="946809"/>
                      </a:lnTo>
                      <a:lnTo>
                        <a:pt x="323864" y="947113"/>
                      </a:lnTo>
                      <a:lnTo>
                        <a:pt x="323816" y="947416"/>
                      </a:lnTo>
                      <a:lnTo>
                        <a:pt x="323488" y="949529"/>
                      </a:lnTo>
                      <a:lnTo>
                        <a:pt x="323257" y="951897"/>
                      </a:lnTo>
                      <a:lnTo>
                        <a:pt x="323197" y="952613"/>
                      </a:lnTo>
                      <a:lnTo>
                        <a:pt x="323294" y="953330"/>
                      </a:lnTo>
                      <a:lnTo>
                        <a:pt x="323573" y="955273"/>
                      </a:lnTo>
                      <a:lnTo>
                        <a:pt x="323646" y="955795"/>
                      </a:lnTo>
                      <a:lnTo>
                        <a:pt x="323816" y="956305"/>
                      </a:lnTo>
                      <a:lnTo>
                        <a:pt x="324459" y="958260"/>
                      </a:lnTo>
                      <a:lnTo>
                        <a:pt x="324629" y="958770"/>
                      </a:lnTo>
                      <a:lnTo>
                        <a:pt x="324884" y="959256"/>
                      </a:lnTo>
                      <a:lnTo>
                        <a:pt x="327167" y="963457"/>
                      </a:lnTo>
                      <a:lnTo>
                        <a:pt x="327944" y="965473"/>
                      </a:lnTo>
                      <a:lnTo>
                        <a:pt x="328297" y="966772"/>
                      </a:lnTo>
                      <a:lnTo>
                        <a:pt x="328394" y="967671"/>
                      </a:lnTo>
                      <a:lnTo>
                        <a:pt x="324860" y="969577"/>
                      </a:lnTo>
                      <a:lnTo>
                        <a:pt x="307326" y="973074"/>
                      </a:lnTo>
                      <a:lnTo>
                        <a:pt x="306403" y="973256"/>
                      </a:lnTo>
                      <a:lnTo>
                        <a:pt x="305577" y="973706"/>
                      </a:lnTo>
                      <a:lnTo>
                        <a:pt x="299311" y="977154"/>
                      </a:lnTo>
                      <a:lnTo>
                        <a:pt x="298850" y="977409"/>
                      </a:lnTo>
                      <a:lnTo>
                        <a:pt x="298449" y="977737"/>
                      </a:lnTo>
                      <a:lnTo>
                        <a:pt x="296871" y="979000"/>
                      </a:lnTo>
                      <a:lnTo>
                        <a:pt x="295486" y="979753"/>
                      </a:lnTo>
                      <a:lnTo>
                        <a:pt x="294721" y="979947"/>
                      </a:lnTo>
                      <a:lnTo>
                        <a:pt x="292281" y="979923"/>
                      </a:lnTo>
                      <a:lnTo>
                        <a:pt x="287047" y="978964"/>
                      </a:lnTo>
                      <a:lnTo>
                        <a:pt x="286379" y="978842"/>
                      </a:lnTo>
                      <a:lnTo>
                        <a:pt x="285699" y="978867"/>
                      </a:lnTo>
                      <a:lnTo>
                        <a:pt x="283052" y="978976"/>
                      </a:lnTo>
                      <a:lnTo>
                        <a:pt x="282712" y="978988"/>
                      </a:lnTo>
                      <a:lnTo>
                        <a:pt x="282372" y="979036"/>
                      </a:lnTo>
                      <a:lnTo>
                        <a:pt x="278413" y="979644"/>
                      </a:lnTo>
                      <a:lnTo>
                        <a:pt x="278110" y="979692"/>
                      </a:lnTo>
                      <a:lnTo>
                        <a:pt x="277818" y="979765"/>
                      </a:lnTo>
                      <a:lnTo>
                        <a:pt x="260928" y="984149"/>
                      </a:lnTo>
                      <a:lnTo>
                        <a:pt x="259300" y="984574"/>
                      </a:lnTo>
                      <a:lnTo>
                        <a:pt x="258122" y="985764"/>
                      </a:lnTo>
                      <a:lnTo>
                        <a:pt x="255548" y="988374"/>
                      </a:lnTo>
                      <a:lnTo>
                        <a:pt x="254225" y="989710"/>
                      </a:lnTo>
                      <a:lnTo>
                        <a:pt x="253897" y="991568"/>
                      </a:lnTo>
                      <a:lnTo>
                        <a:pt x="252233" y="1000869"/>
                      </a:lnTo>
                      <a:lnTo>
                        <a:pt x="250388" y="1003456"/>
                      </a:lnTo>
                      <a:lnTo>
                        <a:pt x="238196" y="1013571"/>
                      </a:lnTo>
                      <a:lnTo>
                        <a:pt x="237820" y="1013875"/>
                      </a:lnTo>
                      <a:lnTo>
                        <a:pt x="237504" y="1014239"/>
                      </a:lnTo>
                      <a:lnTo>
                        <a:pt x="236180" y="1015757"/>
                      </a:lnTo>
                      <a:lnTo>
                        <a:pt x="235755" y="1016243"/>
                      </a:lnTo>
                      <a:lnTo>
                        <a:pt x="235452" y="1016801"/>
                      </a:lnTo>
                      <a:lnTo>
                        <a:pt x="234760" y="1018040"/>
                      </a:lnTo>
                      <a:lnTo>
                        <a:pt x="233885" y="1019594"/>
                      </a:lnTo>
                      <a:lnTo>
                        <a:pt x="233994" y="1021367"/>
                      </a:lnTo>
                      <a:lnTo>
                        <a:pt x="234116" y="1023261"/>
                      </a:lnTo>
                      <a:lnTo>
                        <a:pt x="234165" y="1024135"/>
                      </a:lnTo>
                      <a:lnTo>
                        <a:pt x="234468" y="1024961"/>
                      </a:lnTo>
                      <a:lnTo>
                        <a:pt x="235318" y="1027280"/>
                      </a:lnTo>
                      <a:lnTo>
                        <a:pt x="235609" y="1028082"/>
                      </a:lnTo>
                      <a:lnTo>
                        <a:pt x="236120" y="1028774"/>
                      </a:lnTo>
                      <a:lnTo>
                        <a:pt x="239119" y="1032878"/>
                      </a:lnTo>
                      <a:lnTo>
                        <a:pt x="239374" y="1033231"/>
                      </a:lnTo>
                      <a:lnTo>
                        <a:pt x="239665" y="1033534"/>
                      </a:lnTo>
                      <a:lnTo>
                        <a:pt x="241620" y="1035538"/>
                      </a:lnTo>
                      <a:lnTo>
                        <a:pt x="243551" y="1038124"/>
                      </a:lnTo>
                      <a:lnTo>
                        <a:pt x="252768" y="1057480"/>
                      </a:lnTo>
                      <a:lnTo>
                        <a:pt x="252937" y="1057844"/>
                      </a:lnTo>
                      <a:lnTo>
                        <a:pt x="253156" y="1058172"/>
                      </a:lnTo>
                      <a:lnTo>
                        <a:pt x="254977" y="1060989"/>
                      </a:lnTo>
                      <a:lnTo>
                        <a:pt x="255402" y="1062422"/>
                      </a:lnTo>
                      <a:lnTo>
                        <a:pt x="255488" y="1063005"/>
                      </a:lnTo>
                      <a:lnTo>
                        <a:pt x="254722" y="1066247"/>
                      </a:lnTo>
                      <a:lnTo>
                        <a:pt x="252695" y="1069271"/>
                      </a:lnTo>
                      <a:lnTo>
                        <a:pt x="252282" y="1069890"/>
                      </a:lnTo>
                      <a:lnTo>
                        <a:pt x="252027" y="1070594"/>
                      </a:lnTo>
                      <a:lnTo>
                        <a:pt x="251395" y="1072343"/>
                      </a:lnTo>
                      <a:lnTo>
                        <a:pt x="251250" y="1072768"/>
                      </a:lnTo>
                      <a:lnTo>
                        <a:pt x="251165" y="1073217"/>
                      </a:lnTo>
                      <a:lnTo>
                        <a:pt x="250533" y="1076374"/>
                      </a:lnTo>
                      <a:lnTo>
                        <a:pt x="249975" y="1080600"/>
                      </a:lnTo>
                      <a:lnTo>
                        <a:pt x="248894" y="1082106"/>
                      </a:lnTo>
                      <a:lnTo>
                        <a:pt x="248857" y="1084000"/>
                      </a:lnTo>
                      <a:lnTo>
                        <a:pt x="248797" y="1087096"/>
                      </a:lnTo>
                      <a:lnTo>
                        <a:pt x="248772" y="1088529"/>
                      </a:lnTo>
                      <a:lnTo>
                        <a:pt x="249380" y="1089816"/>
                      </a:lnTo>
                      <a:lnTo>
                        <a:pt x="250521" y="1092221"/>
                      </a:lnTo>
                      <a:lnTo>
                        <a:pt x="250242" y="1093933"/>
                      </a:lnTo>
                      <a:lnTo>
                        <a:pt x="248772" y="1096738"/>
                      </a:lnTo>
                      <a:lnTo>
                        <a:pt x="247145" y="1098790"/>
                      </a:lnTo>
                      <a:lnTo>
                        <a:pt x="237783" y="1107302"/>
                      </a:lnTo>
                      <a:lnTo>
                        <a:pt x="232732" y="1109695"/>
                      </a:lnTo>
                      <a:lnTo>
                        <a:pt x="232112" y="1109986"/>
                      </a:lnTo>
                      <a:lnTo>
                        <a:pt x="231590" y="1110423"/>
                      </a:lnTo>
                      <a:lnTo>
                        <a:pt x="223042" y="1117175"/>
                      </a:lnTo>
                      <a:lnTo>
                        <a:pt x="222374" y="1117697"/>
                      </a:lnTo>
                      <a:lnTo>
                        <a:pt x="221876" y="1118389"/>
                      </a:lnTo>
                      <a:lnTo>
                        <a:pt x="219751" y="1121340"/>
                      </a:lnTo>
                      <a:lnTo>
                        <a:pt x="218609" y="1122930"/>
                      </a:lnTo>
                      <a:lnTo>
                        <a:pt x="218609" y="1124885"/>
                      </a:lnTo>
                      <a:lnTo>
                        <a:pt x="218609" y="1127338"/>
                      </a:lnTo>
                      <a:lnTo>
                        <a:pt x="218609" y="1128480"/>
                      </a:lnTo>
                      <a:lnTo>
                        <a:pt x="219022" y="1129548"/>
                      </a:lnTo>
                      <a:lnTo>
                        <a:pt x="219872" y="1131722"/>
                      </a:lnTo>
                      <a:lnTo>
                        <a:pt x="220322" y="1132875"/>
                      </a:lnTo>
                      <a:lnTo>
                        <a:pt x="221196" y="1133762"/>
                      </a:lnTo>
                      <a:lnTo>
                        <a:pt x="222750" y="1135340"/>
                      </a:lnTo>
                      <a:lnTo>
                        <a:pt x="223855" y="1136470"/>
                      </a:lnTo>
                      <a:lnTo>
                        <a:pt x="225373" y="1136919"/>
                      </a:lnTo>
                      <a:lnTo>
                        <a:pt x="225628" y="1136992"/>
                      </a:lnTo>
                      <a:lnTo>
                        <a:pt x="229198" y="1143391"/>
                      </a:lnTo>
                      <a:lnTo>
                        <a:pt x="229465" y="1146281"/>
                      </a:lnTo>
                      <a:lnTo>
                        <a:pt x="229441" y="1149827"/>
                      </a:lnTo>
                      <a:lnTo>
                        <a:pt x="229441" y="1150398"/>
                      </a:lnTo>
                      <a:lnTo>
                        <a:pt x="229550" y="1150956"/>
                      </a:lnTo>
                      <a:lnTo>
                        <a:pt x="230242" y="1154599"/>
                      </a:lnTo>
                      <a:lnTo>
                        <a:pt x="230461" y="1155765"/>
                      </a:lnTo>
                      <a:lnTo>
                        <a:pt x="231092" y="1156761"/>
                      </a:lnTo>
                      <a:lnTo>
                        <a:pt x="233047" y="1159808"/>
                      </a:lnTo>
                      <a:lnTo>
                        <a:pt x="233327" y="1160246"/>
                      </a:lnTo>
                      <a:lnTo>
                        <a:pt x="233679" y="1160622"/>
                      </a:lnTo>
                      <a:lnTo>
                        <a:pt x="235354" y="1162456"/>
                      </a:lnTo>
                      <a:lnTo>
                        <a:pt x="236095" y="1163767"/>
                      </a:lnTo>
                      <a:lnTo>
                        <a:pt x="236460" y="1166487"/>
                      </a:lnTo>
                      <a:lnTo>
                        <a:pt x="235525" y="1169523"/>
                      </a:lnTo>
                      <a:lnTo>
                        <a:pt x="234869" y="1171660"/>
                      </a:lnTo>
                      <a:lnTo>
                        <a:pt x="235755" y="1173712"/>
                      </a:lnTo>
                      <a:lnTo>
                        <a:pt x="236265" y="1174890"/>
                      </a:lnTo>
                      <a:lnTo>
                        <a:pt x="236629" y="1175740"/>
                      </a:lnTo>
                      <a:lnTo>
                        <a:pt x="237225" y="1176444"/>
                      </a:lnTo>
                      <a:lnTo>
                        <a:pt x="237783" y="1177088"/>
                      </a:lnTo>
                      <a:lnTo>
                        <a:pt x="237662" y="1178569"/>
                      </a:lnTo>
                      <a:lnTo>
                        <a:pt x="236909" y="1181302"/>
                      </a:lnTo>
                      <a:lnTo>
                        <a:pt x="235476" y="1184022"/>
                      </a:lnTo>
                      <a:lnTo>
                        <a:pt x="231007" y="1190056"/>
                      </a:lnTo>
                      <a:lnTo>
                        <a:pt x="230449" y="1190809"/>
                      </a:lnTo>
                      <a:lnTo>
                        <a:pt x="230145" y="1191708"/>
                      </a:lnTo>
                      <a:lnTo>
                        <a:pt x="229222" y="1194404"/>
                      </a:lnTo>
                      <a:lnTo>
                        <a:pt x="227194" y="1200342"/>
                      </a:lnTo>
                      <a:lnTo>
                        <a:pt x="231493" y="1201653"/>
                      </a:lnTo>
                      <a:lnTo>
                        <a:pt x="232926" y="1204203"/>
                      </a:lnTo>
                      <a:lnTo>
                        <a:pt x="233181" y="1204834"/>
                      </a:lnTo>
                      <a:lnTo>
                        <a:pt x="233909" y="1206656"/>
                      </a:lnTo>
                      <a:lnTo>
                        <a:pt x="235561" y="1207700"/>
                      </a:lnTo>
                      <a:lnTo>
                        <a:pt x="237382" y="1208854"/>
                      </a:lnTo>
                      <a:lnTo>
                        <a:pt x="238402" y="1209510"/>
                      </a:lnTo>
                      <a:lnTo>
                        <a:pt x="238609" y="1209546"/>
                      </a:lnTo>
                      <a:lnTo>
                        <a:pt x="239277" y="1211489"/>
                      </a:lnTo>
                      <a:lnTo>
                        <a:pt x="239835" y="1213092"/>
                      </a:lnTo>
                      <a:lnTo>
                        <a:pt x="241134" y="1214172"/>
                      </a:lnTo>
                      <a:lnTo>
                        <a:pt x="243818" y="1216407"/>
                      </a:lnTo>
                      <a:lnTo>
                        <a:pt x="247582" y="1218981"/>
                      </a:lnTo>
                      <a:lnTo>
                        <a:pt x="248044" y="1219285"/>
                      </a:lnTo>
                      <a:lnTo>
                        <a:pt x="248554" y="1219515"/>
                      </a:lnTo>
                      <a:lnTo>
                        <a:pt x="251917" y="1220972"/>
                      </a:lnTo>
                      <a:lnTo>
                        <a:pt x="249999" y="1224227"/>
                      </a:lnTo>
                      <a:lnTo>
                        <a:pt x="249574" y="1224943"/>
                      </a:lnTo>
                      <a:lnTo>
                        <a:pt x="249355" y="1225745"/>
                      </a:lnTo>
                      <a:lnTo>
                        <a:pt x="248821" y="1227724"/>
                      </a:lnTo>
                      <a:lnTo>
                        <a:pt x="248566" y="1228720"/>
                      </a:lnTo>
                      <a:lnTo>
                        <a:pt x="248639" y="1229740"/>
                      </a:lnTo>
                      <a:lnTo>
                        <a:pt x="248809" y="1232071"/>
                      </a:lnTo>
                      <a:lnTo>
                        <a:pt x="248894" y="1233188"/>
                      </a:lnTo>
                      <a:lnTo>
                        <a:pt x="249368" y="1234196"/>
                      </a:lnTo>
                      <a:lnTo>
                        <a:pt x="250400" y="1236406"/>
                      </a:lnTo>
                      <a:lnTo>
                        <a:pt x="250703" y="1237074"/>
                      </a:lnTo>
                      <a:lnTo>
                        <a:pt x="251165" y="1237645"/>
                      </a:lnTo>
                      <a:lnTo>
                        <a:pt x="253059" y="1240013"/>
                      </a:lnTo>
                      <a:lnTo>
                        <a:pt x="253290" y="1240292"/>
                      </a:lnTo>
                      <a:lnTo>
                        <a:pt x="253557" y="1240547"/>
                      </a:lnTo>
                      <a:lnTo>
                        <a:pt x="255573" y="1242514"/>
                      </a:lnTo>
                      <a:lnTo>
                        <a:pt x="256253" y="1243182"/>
                      </a:lnTo>
                      <a:lnTo>
                        <a:pt x="257102" y="1243607"/>
                      </a:lnTo>
                      <a:lnTo>
                        <a:pt x="259737" y="1244918"/>
                      </a:lnTo>
                      <a:lnTo>
                        <a:pt x="260757" y="1245428"/>
                      </a:lnTo>
                      <a:lnTo>
                        <a:pt x="261899" y="1245525"/>
                      </a:lnTo>
                      <a:lnTo>
                        <a:pt x="264728" y="1245780"/>
                      </a:lnTo>
                      <a:lnTo>
                        <a:pt x="266016" y="1245890"/>
                      </a:lnTo>
                      <a:lnTo>
                        <a:pt x="267242" y="1245477"/>
                      </a:lnTo>
                      <a:lnTo>
                        <a:pt x="271419" y="1244044"/>
                      </a:lnTo>
                      <a:lnTo>
                        <a:pt x="272160" y="1243789"/>
                      </a:lnTo>
                      <a:lnTo>
                        <a:pt x="272803" y="1243364"/>
                      </a:lnTo>
                      <a:lnTo>
                        <a:pt x="275742" y="1241421"/>
                      </a:lnTo>
                      <a:lnTo>
                        <a:pt x="276155" y="1241154"/>
                      </a:lnTo>
                      <a:lnTo>
                        <a:pt x="276519" y="1240826"/>
                      </a:lnTo>
                      <a:lnTo>
                        <a:pt x="278632" y="1238871"/>
                      </a:lnTo>
                      <a:lnTo>
                        <a:pt x="279057" y="1238483"/>
                      </a:lnTo>
                      <a:lnTo>
                        <a:pt x="279397" y="1238021"/>
                      </a:lnTo>
                      <a:lnTo>
                        <a:pt x="280781" y="1236151"/>
                      </a:lnTo>
                      <a:lnTo>
                        <a:pt x="281145" y="1235653"/>
                      </a:lnTo>
                      <a:lnTo>
                        <a:pt x="281401" y="1235095"/>
                      </a:lnTo>
                      <a:lnTo>
                        <a:pt x="282141" y="1233492"/>
                      </a:lnTo>
                      <a:lnTo>
                        <a:pt x="282518" y="1232690"/>
                      </a:lnTo>
                      <a:lnTo>
                        <a:pt x="282639" y="1231816"/>
                      </a:lnTo>
                      <a:lnTo>
                        <a:pt x="282882" y="1230152"/>
                      </a:lnTo>
                      <a:lnTo>
                        <a:pt x="283052" y="1227724"/>
                      </a:lnTo>
                      <a:lnTo>
                        <a:pt x="283185" y="1226582"/>
                      </a:lnTo>
                      <a:lnTo>
                        <a:pt x="283538" y="1225417"/>
                      </a:lnTo>
                      <a:lnTo>
                        <a:pt x="283987" y="1224506"/>
                      </a:lnTo>
                      <a:lnTo>
                        <a:pt x="284145" y="1224275"/>
                      </a:lnTo>
                      <a:lnTo>
                        <a:pt x="285796" y="1224967"/>
                      </a:lnTo>
                      <a:lnTo>
                        <a:pt x="289986" y="1227372"/>
                      </a:lnTo>
                      <a:lnTo>
                        <a:pt x="299797" y="1235605"/>
                      </a:lnTo>
                      <a:lnTo>
                        <a:pt x="300101" y="1235860"/>
                      </a:lnTo>
                      <a:lnTo>
                        <a:pt x="300429" y="1236078"/>
                      </a:lnTo>
                      <a:lnTo>
                        <a:pt x="303719" y="1238179"/>
                      </a:lnTo>
                      <a:lnTo>
                        <a:pt x="308819" y="1243327"/>
                      </a:lnTo>
                      <a:lnTo>
                        <a:pt x="309208" y="1243716"/>
                      </a:lnTo>
                      <a:lnTo>
                        <a:pt x="309669" y="1244032"/>
                      </a:lnTo>
                      <a:lnTo>
                        <a:pt x="312535" y="1246035"/>
                      </a:lnTo>
                      <a:lnTo>
                        <a:pt x="312984" y="1246351"/>
                      </a:lnTo>
                      <a:lnTo>
                        <a:pt x="313494" y="1246582"/>
                      </a:lnTo>
                      <a:lnTo>
                        <a:pt x="316773" y="1248075"/>
                      </a:lnTo>
                      <a:lnTo>
                        <a:pt x="317174" y="1248258"/>
                      </a:lnTo>
                      <a:lnTo>
                        <a:pt x="317599" y="1248379"/>
                      </a:lnTo>
                      <a:lnTo>
                        <a:pt x="320464" y="1249217"/>
                      </a:lnTo>
                      <a:lnTo>
                        <a:pt x="321023" y="1249387"/>
                      </a:lnTo>
                      <a:lnTo>
                        <a:pt x="321606" y="1249435"/>
                      </a:lnTo>
                      <a:lnTo>
                        <a:pt x="327629" y="1249982"/>
                      </a:lnTo>
                      <a:lnTo>
                        <a:pt x="327969" y="1250006"/>
                      </a:lnTo>
                      <a:lnTo>
                        <a:pt x="328309" y="1250006"/>
                      </a:lnTo>
                      <a:lnTo>
                        <a:pt x="328588" y="1250006"/>
                      </a:lnTo>
                      <a:lnTo>
                        <a:pt x="328685" y="1250844"/>
                      </a:lnTo>
                      <a:lnTo>
                        <a:pt x="328794" y="1251743"/>
                      </a:lnTo>
                      <a:lnTo>
                        <a:pt x="329171" y="1252568"/>
                      </a:lnTo>
                      <a:lnTo>
                        <a:pt x="330385" y="1255264"/>
                      </a:lnTo>
                      <a:lnTo>
                        <a:pt x="330907" y="1256442"/>
                      </a:lnTo>
                      <a:lnTo>
                        <a:pt x="331867" y="1257292"/>
                      </a:lnTo>
                      <a:lnTo>
                        <a:pt x="334332" y="1259502"/>
                      </a:lnTo>
                      <a:lnTo>
                        <a:pt x="335036" y="1260133"/>
                      </a:lnTo>
                      <a:lnTo>
                        <a:pt x="335886" y="1260522"/>
                      </a:lnTo>
                      <a:lnTo>
                        <a:pt x="339055" y="1261955"/>
                      </a:lnTo>
                      <a:lnTo>
                        <a:pt x="340755" y="1262720"/>
                      </a:lnTo>
                      <a:lnTo>
                        <a:pt x="342589" y="1262404"/>
                      </a:lnTo>
                      <a:lnTo>
                        <a:pt x="345904" y="1261833"/>
                      </a:lnTo>
                      <a:lnTo>
                        <a:pt x="347167" y="1261615"/>
                      </a:lnTo>
                      <a:lnTo>
                        <a:pt x="348235" y="1260911"/>
                      </a:lnTo>
                      <a:lnTo>
                        <a:pt x="351222" y="1258931"/>
                      </a:lnTo>
                      <a:lnTo>
                        <a:pt x="351732" y="1258591"/>
                      </a:lnTo>
                      <a:lnTo>
                        <a:pt x="352157" y="1258166"/>
                      </a:lnTo>
                      <a:lnTo>
                        <a:pt x="356990" y="1253346"/>
                      </a:lnTo>
                      <a:lnTo>
                        <a:pt x="357221" y="1253115"/>
                      </a:lnTo>
                      <a:lnTo>
                        <a:pt x="357428" y="1252860"/>
                      </a:lnTo>
                      <a:lnTo>
                        <a:pt x="360293" y="1249326"/>
                      </a:lnTo>
                      <a:lnTo>
                        <a:pt x="360706" y="1248816"/>
                      </a:lnTo>
                      <a:lnTo>
                        <a:pt x="360997" y="1248233"/>
                      </a:lnTo>
                      <a:lnTo>
                        <a:pt x="363402" y="1243437"/>
                      </a:lnTo>
                      <a:lnTo>
                        <a:pt x="363620" y="1243024"/>
                      </a:lnTo>
                      <a:lnTo>
                        <a:pt x="363766" y="1242575"/>
                      </a:lnTo>
                      <a:lnTo>
                        <a:pt x="365369" y="1237584"/>
                      </a:lnTo>
                      <a:lnTo>
                        <a:pt x="367020" y="1234560"/>
                      </a:lnTo>
                      <a:lnTo>
                        <a:pt x="372594" y="1229460"/>
                      </a:lnTo>
                      <a:lnTo>
                        <a:pt x="374549" y="1227760"/>
                      </a:lnTo>
                      <a:lnTo>
                        <a:pt x="376504" y="1225745"/>
                      </a:lnTo>
                      <a:lnTo>
                        <a:pt x="376820" y="1225417"/>
                      </a:lnTo>
                      <a:lnTo>
                        <a:pt x="377075" y="1225040"/>
                      </a:lnTo>
                      <a:lnTo>
                        <a:pt x="378860" y="1222478"/>
                      </a:lnTo>
                      <a:lnTo>
                        <a:pt x="379212" y="1221980"/>
                      </a:lnTo>
                      <a:lnTo>
                        <a:pt x="379455" y="1221434"/>
                      </a:lnTo>
                      <a:lnTo>
                        <a:pt x="380948" y="1218022"/>
                      </a:lnTo>
                      <a:lnTo>
                        <a:pt x="382296" y="1214027"/>
                      </a:lnTo>
                      <a:lnTo>
                        <a:pt x="382612" y="1213055"/>
                      </a:lnTo>
                      <a:lnTo>
                        <a:pt x="382600" y="1212047"/>
                      </a:lnTo>
                      <a:lnTo>
                        <a:pt x="382539" y="1206595"/>
                      </a:lnTo>
                      <a:lnTo>
                        <a:pt x="382503" y="1203062"/>
                      </a:lnTo>
                      <a:lnTo>
                        <a:pt x="379418" y="1201349"/>
                      </a:lnTo>
                      <a:lnTo>
                        <a:pt x="375970" y="1199431"/>
                      </a:lnTo>
                      <a:lnTo>
                        <a:pt x="375047" y="1198921"/>
                      </a:lnTo>
                      <a:lnTo>
                        <a:pt x="374003" y="1198751"/>
                      </a:lnTo>
                      <a:lnTo>
                        <a:pt x="371258" y="1198302"/>
                      </a:lnTo>
                      <a:lnTo>
                        <a:pt x="371453" y="1197828"/>
                      </a:lnTo>
                      <a:lnTo>
                        <a:pt x="371841" y="1196881"/>
                      </a:lnTo>
                      <a:lnTo>
                        <a:pt x="371902" y="1195861"/>
                      </a:lnTo>
                      <a:lnTo>
                        <a:pt x="372023" y="1193882"/>
                      </a:lnTo>
                      <a:lnTo>
                        <a:pt x="372133" y="1191987"/>
                      </a:lnTo>
                      <a:lnTo>
                        <a:pt x="371149" y="1190360"/>
                      </a:lnTo>
                      <a:lnTo>
                        <a:pt x="369425" y="1187519"/>
                      </a:lnTo>
                      <a:lnTo>
                        <a:pt x="369243" y="1187215"/>
                      </a:lnTo>
                      <a:lnTo>
                        <a:pt x="369024" y="1186936"/>
                      </a:lnTo>
                      <a:lnTo>
                        <a:pt x="365757" y="1182746"/>
                      </a:lnTo>
                      <a:lnTo>
                        <a:pt x="365235" y="1181642"/>
                      </a:lnTo>
                      <a:lnTo>
                        <a:pt x="364652" y="1179128"/>
                      </a:lnTo>
                      <a:lnTo>
                        <a:pt x="363620" y="1175789"/>
                      </a:lnTo>
                      <a:lnTo>
                        <a:pt x="363414" y="1175157"/>
                      </a:lnTo>
                      <a:lnTo>
                        <a:pt x="363086" y="1174586"/>
                      </a:lnTo>
                      <a:lnTo>
                        <a:pt x="361653" y="1172097"/>
                      </a:lnTo>
                      <a:lnTo>
                        <a:pt x="361192" y="1171296"/>
                      </a:lnTo>
                      <a:lnTo>
                        <a:pt x="360512" y="1170664"/>
                      </a:lnTo>
                      <a:lnTo>
                        <a:pt x="357743" y="1168102"/>
                      </a:lnTo>
                      <a:lnTo>
                        <a:pt x="357003" y="1167422"/>
                      </a:lnTo>
                      <a:lnTo>
                        <a:pt x="356092" y="1167009"/>
                      </a:lnTo>
                      <a:lnTo>
                        <a:pt x="353384" y="1165807"/>
                      </a:lnTo>
                      <a:lnTo>
                        <a:pt x="352692" y="1165503"/>
                      </a:lnTo>
                      <a:lnTo>
                        <a:pt x="351951" y="1165370"/>
                      </a:lnTo>
                      <a:lnTo>
                        <a:pt x="349146" y="1164884"/>
                      </a:lnTo>
                      <a:lnTo>
                        <a:pt x="348417" y="1164763"/>
                      </a:lnTo>
                      <a:lnTo>
                        <a:pt x="347677" y="1164811"/>
                      </a:lnTo>
                      <a:lnTo>
                        <a:pt x="345272" y="1164981"/>
                      </a:lnTo>
                      <a:lnTo>
                        <a:pt x="344896" y="1165006"/>
                      </a:lnTo>
                      <a:lnTo>
                        <a:pt x="344532" y="1165078"/>
                      </a:lnTo>
                      <a:lnTo>
                        <a:pt x="340282" y="1165916"/>
                      </a:lnTo>
                      <a:lnTo>
                        <a:pt x="339857" y="1166001"/>
                      </a:lnTo>
                      <a:lnTo>
                        <a:pt x="339444" y="1166147"/>
                      </a:lnTo>
                      <a:lnTo>
                        <a:pt x="334295" y="1167956"/>
                      </a:lnTo>
                      <a:lnTo>
                        <a:pt x="333542" y="1166523"/>
                      </a:lnTo>
                      <a:lnTo>
                        <a:pt x="333190" y="1165552"/>
                      </a:lnTo>
                      <a:lnTo>
                        <a:pt x="333202" y="1164726"/>
                      </a:lnTo>
                      <a:lnTo>
                        <a:pt x="335000" y="1162346"/>
                      </a:lnTo>
                      <a:lnTo>
                        <a:pt x="335522" y="1161654"/>
                      </a:lnTo>
                      <a:lnTo>
                        <a:pt x="335825" y="1160841"/>
                      </a:lnTo>
                      <a:lnTo>
                        <a:pt x="336396" y="1159311"/>
                      </a:lnTo>
                      <a:lnTo>
                        <a:pt x="336590" y="1158801"/>
                      </a:lnTo>
                      <a:lnTo>
                        <a:pt x="336687" y="1158254"/>
                      </a:lnTo>
                      <a:lnTo>
                        <a:pt x="337040" y="1156299"/>
                      </a:lnTo>
                      <a:lnTo>
                        <a:pt x="337149" y="1155716"/>
                      </a:lnTo>
                      <a:lnTo>
                        <a:pt x="337137" y="1155121"/>
                      </a:lnTo>
                      <a:lnTo>
                        <a:pt x="337088" y="1152717"/>
                      </a:lnTo>
                      <a:lnTo>
                        <a:pt x="337088" y="1152377"/>
                      </a:lnTo>
                      <a:lnTo>
                        <a:pt x="337040" y="1152049"/>
                      </a:lnTo>
                      <a:lnTo>
                        <a:pt x="336287" y="1146293"/>
                      </a:lnTo>
                      <a:lnTo>
                        <a:pt x="336396" y="1137514"/>
                      </a:lnTo>
                      <a:lnTo>
                        <a:pt x="336396" y="1137016"/>
                      </a:lnTo>
                      <a:lnTo>
                        <a:pt x="336323" y="1136518"/>
                      </a:lnTo>
                      <a:lnTo>
                        <a:pt x="335849" y="1133385"/>
                      </a:lnTo>
                      <a:lnTo>
                        <a:pt x="335777" y="1132912"/>
                      </a:lnTo>
                      <a:lnTo>
                        <a:pt x="335631" y="1132463"/>
                      </a:lnTo>
                      <a:lnTo>
                        <a:pt x="334489" y="1128844"/>
                      </a:lnTo>
                      <a:lnTo>
                        <a:pt x="334332" y="1128334"/>
                      </a:lnTo>
                      <a:lnTo>
                        <a:pt x="334089" y="1127860"/>
                      </a:lnTo>
                      <a:lnTo>
                        <a:pt x="331502" y="1122870"/>
                      </a:lnTo>
                      <a:lnTo>
                        <a:pt x="331247" y="1122372"/>
                      </a:lnTo>
                      <a:lnTo>
                        <a:pt x="330907" y="1121935"/>
                      </a:lnTo>
                      <a:lnTo>
                        <a:pt x="328612" y="1118984"/>
                      </a:lnTo>
                      <a:lnTo>
                        <a:pt x="328357" y="1118668"/>
                      </a:lnTo>
                      <a:lnTo>
                        <a:pt x="328066" y="1118389"/>
                      </a:lnTo>
                      <a:lnTo>
                        <a:pt x="321412" y="1111844"/>
                      </a:lnTo>
                      <a:lnTo>
                        <a:pt x="320221" y="1109792"/>
                      </a:lnTo>
                      <a:lnTo>
                        <a:pt x="318947" y="1106064"/>
                      </a:lnTo>
                      <a:lnTo>
                        <a:pt x="315206" y="1086890"/>
                      </a:lnTo>
                      <a:lnTo>
                        <a:pt x="314927" y="1078560"/>
                      </a:lnTo>
                      <a:lnTo>
                        <a:pt x="314903" y="1077819"/>
                      </a:lnTo>
                      <a:lnTo>
                        <a:pt x="314709" y="1077115"/>
                      </a:lnTo>
                      <a:lnTo>
                        <a:pt x="313166" y="1071626"/>
                      </a:lnTo>
                      <a:lnTo>
                        <a:pt x="313045" y="1071214"/>
                      </a:lnTo>
                      <a:lnTo>
                        <a:pt x="312863" y="1070813"/>
                      </a:lnTo>
                      <a:lnTo>
                        <a:pt x="306148" y="1055659"/>
                      </a:lnTo>
                      <a:lnTo>
                        <a:pt x="305832" y="1054930"/>
                      </a:lnTo>
                      <a:lnTo>
                        <a:pt x="305334" y="1054311"/>
                      </a:lnTo>
                      <a:lnTo>
                        <a:pt x="303088" y="1051518"/>
                      </a:lnTo>
                      <a:lnTo>
                        <a:pt x="302821" y="1051190"/>
                      </a:lnTo>
                      <a:lnTo>
                        <a:pt x="302517" y="1050898"/>
                      </a:lnTo>
                      <a:lnTo>
                        <a:pt x="300052" y="1048579"/>
                      </a:lnTo>
                      <a:lnTo>
                        <a:pt x="299833" y="1048360"/>
                      </a:lnTo>
                      <a:lnTo>
                        <a:pt x="299579" y="1048178"/>
                      </a:lnTo>
                      <a:lnTo>
                        <a:pt x="296093" y="1045507"/>
                      </a:lnTo>
                      <a:lnTo>
                        <a:pt x="295389" y="1044839"/>
                      </a:lnTo>
                      <a:lnTo>
                        <a:pt x="295401" y="1044791"/>
                      </a:lnTo>
                      <a:lnTo>
                        <a:pt x="296069" y="1043333"/>
                      </a:lnTo>
                      <a:lnTo>
                        <a:pt x="297563" y="1040674"/>
                      </a:lnTo>
                      <a:lnTo>
                        <a:pt x="301679" y="1034967"/>
                      </a:lnTo>
                      <a:lnTo>
                        <a:pt x="302444" y="1034202"/>
                      </a:lnTo>
                      <a:lnTo>
                        <a:pt x="304691" y="1032441"/>
                      </a:lnTo>
                      <a:lnTo>
                        <a:pt x="305553" y="1031761"/>
                      </a:lnTo>
                      <a:lnTo>
                        <a:pt x="306124" y="1030826"/>
                      </a:lnTo>
                      <a:lnTo>
                        <a:pt x="306816" y="1029697"/>
                      </a:lnTo>
                      <a:lnTo>
                        <a:pt x="307435" y="1028689"/>
                      </a:lnTo>
                      <a:lnTo>
                        <a:pt x="307629" y="1027523"/>
                      </a:lnTo>
                      <a:lnTo>
                        <a:pt x="307799" y="1026491"/>
                      </a:lnTo>
                      <a:lnTo>
                        <a:pt x="307994" y="1025350"/>
                      </a:lnTo>
                      <a:lnTo>
                        <a:pt x="307751" y="1024220"/>
                      </a:lnTo>
                      <a:lnTo>
                        <a:pt x="307605" y="1023577"/>
                      </a:lnTo>
                      <a:lnTo>
                        <a:pt x="308273" y="1023516"/>
                      </a:lnTo>
                      <a:lnTo>
                        <a:pt x="310483" y="1023516"/>
                      </a:lnTo>
                      <a:lnTo>
                        <a:pt x="312656" y="1024184"/>
                      </a:lnTo>
                      <a:lnTo>
                        <a:pt x="312936" y="1024949"/>
                      </a:lnTo>
                      <a:lnTo>
                        <a:pt x="313276" y="1025848"/>
                      </a:lnTo>
                      <a:lnTo>
                        <a:pt x="313871" y="1026600"/>
                      </a:lnTo>
                      <a:lnTo>
                        <a:pt x="314854" y="1027839"/>
                      </a:lnTo>
                      <a:lnTo>
                        <a:pt x="315510" y="1028665"/>
                      </a:lnTo>
                      <a:lnTo>
                        <a:pt x="316409" y="1029223"/>
                      </a:lnTo>
                      <a:lnTo>
                        <a:pt x="318934" y="1030790"/>
                      </a:lnTo>
                      <a:lnTo>
                        <a:pt x="319687" y="1031470"/>
                      </a:lnTo>
                      <a:lnTo>
                        <a:pt x="321764" y="1033850"/>
                      </a:lnTo>
                      <a:lnTo>
                        <a:pt x="322152" y="1034299"/>
                      </a:lnTo>
                      <a:lnTo>
                        <a:pt x="322626" y="1034663"/>
                      </a:lnTo>
                      <a:lnTo>
                        <a:pt x="324119" y="1035817"/>
                      </a:lnTo>
                      <a:lnTo>
                        <a:pt x="325346" y="1036776"/>
                      </a:lnTo>
                      <a:lnTo>
                        <a:pt x="326888" y="1037019"/>
                      </a:lnTo>
                      <a:lnTo>
                        <a:pt x="328503" y="1037274"/>
                      </a:lnTo>
                      <a:lnTo>
                        <a:pt x="330822" y="1037638"/>
                      </a:lnTo>
                      <a:lnTo>
                        <a:pt x="332789" y="1036351"/>
                      </a:lnTo>
                      <a:lnTo>
                        <a:pt x="334392" y="1035295"/>
                      </a:lnTo>
                      <a:lnTo>
                        <a:pt x="336372" y="1033995"/>
                      </a:lnTo>
                      <a:lnTo>
                        <a:pt x="336942" y="1031700"/>
                      </a:lnTo>
                      <a:lnTo>
                        <a:pt x="337343" y="1030085"/>
                      </a:lnTo>
                      <a:lnTo>
                        <a:pt x="337598" y="1029065"/>
                      </a:lnTo>
                      <a:lnTo>
                        <a:pt x="337489" y="1028009"/>
                      </a:lnTo>
                      <a:lnTo>
                        <a:pt x="337319" y="1026321"/>
                      </a:lnTo>
                      <a:lnTo>
                        <a:pt x="337234" y="1025508"/>
                      </a:lnTo>
                      <a:lnTo>
                        <a:pt x="336930" y="1024743"/>
                      </a:lnTo>
                      <a:lnTo>
                        <a:pt x="336238" y="1022970"/>
                      </a:lnTo>
                      <a:lnTo>
                        <a:pt x="337817" y="1020675"/>
                      </a:lnTo>
                      <a:lnTo>
                        <a:pt x="338327" y="1019922"/>
                      </a:lnTo>
                      <a:lnTo>
                        <a:pt x="338557" y="1019193"/>
                      </a:lnTo>
                      <a:lnTo>
                        <a:pt x="338606" y="1019254"/>
                      </a:lnTo>
                      <a:lnTo>
                        <a:pt x="339699" y="1020480"/>
                      </a:lnTo>
                      <a:lnTo>
                        <a:pt x="340743" y="1021670"/>
                      </a:lnTo>
                      <a:lnTo>
                        <a:pt x="342249" y="1022192"/>
                      </a:lnTo>
                      <a:lnTo>
                        <a:pt x="344204" y="1022872"/>
                      </a:lnTo>
                      <a:lnTo>
                        <a:pt x="345588" y="1023358"/>
                      </a:lnTo>
                      <a:lnTo>
                        <a:pt x="347045" y="1023152"/>
                      </a:lnTo>
                      <a:lnTo>
                        <a:pt x="350542" y="1022666"/>
                      </a:lnTo>
                      <a:lnTo>
                        <a:pt x="351829" y="1022484"/>
                      </a:lnTo>
                      <a:lnTo>
                        <a:pt x="352935" y="1021780"/>
                      </a:lnTo>
                      <a:lnTo>
                        <a:pt x="354938" y="1020517"/>
                      </a:lnTo>
                      <a:lnTo>
                        <a:pt x="355825" y="1019958"/>
                      </a:lnTo>
                      <a:lnTo>
                        <a:pt x="356468" y="1019145"/>
                      </a:lnTo>
                      <a:lnTo>
                        <a:pt x="357731" y="1017542"/>
                      </a:lnTo>
                      <a:lnTo>
                        <a:pt x="358727" y="1016279"/>
                      </a:lnTo>
                      <a:lnTo>
                        <a:pt x="359103" y="1016983"/>
                      </a:lnTo>
                      <a:lnTo>
                        <a:pt x="360949" y="1017833"/>
                      </a:lnTo>
                      <a:lnTo>
                        <a:pt x="362382" y="1018489"/>
                      </a:lnTo>
                      <a:lnTo>
                        <a:pt x="363815" y="1019145"/>
                      </a:lnTo>
                      <a:lnTo>
                        <a:pt x="365381" y="1019023"/>
                      </a:lnTo>
                      <a:lnTo>
                        <a:pt x="366632" y="1018926"/>
                      </a:lnTo>
                      <a:lnTo>
                        <a:pt x="366535" y="1020165"/>
                      </a:lnTo>
                      <a:lnTo>
                        <a:pt x="366304" y="1021209"/>
                      </a:lnTo>
                      <a:lnTo>
                        <a:pt x="363426" y="1026030"/>
                      </a:lnTo>
                      <a:lnTo>
                        <a:pt x="362916" y="1026880"/>
                      </a:lnTo>
                      <a:lnTo>
                        <a:pt x="362697" y="1027863"/>
                      </a:lnTo>
                      <a:lnTo>
                        <a:pt x="362236" y="1030012"/>
                      </a:lnTo>
                      <a:lnTo>
                        <a:pt x="362103" y="1030644"/>
                      </a:lnTo>
                      <a:lnTo>
                        <a:pt x="362103" y="1031288"/>
                      </a:lnTo>
                      <a:lnTo>
                        <a:pt x="362103" y="1033121"/>
                      </a:lnTo>
                      <a:lnTo>
                        <a:pt x="362103" y="1033680"/>
                      </a:lnTo>
                      <a:lnTo>
                        <a:pt x="362200" y="1034226"/>
                      </a:lnTo>
                      <a:lnTo>
                        <a:pt x="362685" y="1036873"/>
                      </a:lnTo>
                      <a:lnTo>
                        <a:pt x="362697" y="1037225"/>
                      </a:lnTo>
                      <a:lnTo>
                        <a:pt x="362479" y="1037408"/>
                      </a:lnTo>
                      <a:lnTo>
                        <a:pt x="358326" y="1040079"/>
                      </a:lnTo>
                      <a:lnTo>
                        <a:pt x="358010" y="1040298"/>
                      </a:lnTo>
                      <a:lnTo>
                        <a:pt x="357719" y="1040553"/>
                      </a:lnTo>
                      <a:lnTo>
                        <a:pt x="355023" y="1042823"/>
                      </a:lnTo>
                      <a:lnTo>
                        <a:pt x="354392" y="1043345"/>
                      </a:lnTo>
                      <a:lnTo>
                        <a:pt x="353918" y="1044025"/>
                      </a:lnTo>
                      <a:lnTo>
                        <a:pt x="352085" y="1046697"/>
                      </a:lnTo>
                      <a:lnTo>
                        <a:pt x="351817" y="1047098"/>
                      </a:lnTo>
                      <a:lnTo>
                        <a:pt x="351611" y="1047535"/>
                      </a:lnTo>
                      <a:lnTo>
                        <a:pt x="350239" y="1050437"/>
                      </a:lnTo>
                      <a:lnTo>
                        <a:pt x="349996" y="1050947"/>
                      </a:lnTo>
                      <a:lnTo>
                        <a:pt x="349850" y="1051493"/>
                      </a:lnTo>
                      <a:lnTo>
                        <a:pt x="348988" y="1054821"/>
                      </a:lnTo>
                      <a:lnTo>
                        <a:pt x="348855" y="1055319"/>
                      </a:lnTo>
                      <a:lnTo>
                        <a:pt x="348818" y="1055828"/>
                      </a:lnTo>
                      <a:lnTo>
                        <a:pt x="348575" y="1058670"/>
                      </a:lnTo>
                      <a:lnTo>
                        <a:pt x="348527" y="1059277"/>
                      </a:lnTo>
                      <a:lnTo>
                        <a:pt x="348600" y="1059884"/>
                      </a:lnTo>
                      <a:lnTo>
                        <a:pt x="348952" y="1062932"/>
                      </a:lnTo>
                      <a:lnTo>
                        <a:pt x="349073" y="1064025"/>
                      </a:lnTo>
                      <a:lnTo>
                        <a:pt x="349583" y="1065008"/>
                      </a:lnTo>
                      <a:lnTo>
                        <a:pt x="350712" y="1067219"/>
                      </a:lnTo>
                      <a:lnTo>
                        <a:pt x="351465" y="1068664"/>
                      </a:lnTo>
                      <a:lnTo>
                        <a:pt x="352837" y="1069538"/>
                      </a:lnTo>
                      <a:lnTo>
                        <a:pt x="354635" y="1070691"/>
                      </a:lnTo>
                      <a:lnTo>
                        <a:pt x="356298" y="1071760"/>
                      </a:lnTo>
                      <a:lnTo>
                        <a:pt x="358277" y="1071651"/>
                      </a:lnTo>
                      <a:lnTo>
                        <a:pt x="360439" y="1071529"/>
                      </a:lnTo>
                      <a:lnTo>
                        <a:pt x="362188" y="1071432"/>
                      </a:lnTo>
                      <a:lnTo>
                        <a:pt x="363608" y="1070424"/>
                      </a:lnTo>
                      <a:lnTo>
                        <a:pt x="366717" y="1068214"/>
                      </a:lnTo>
                      <a:lnTo>
                        <a:pt x="367288" y="1067801"/>
                      </a:lnTo>
                      <a:lnTo>
                        <a:pt x="367749" y="1067279"/>
                      </a:lnTo>
                      <a:lnTo>
                        <a:pt x="369473" y="1065324"/>
                      </a:lnTo>
                      <a:lnTo>
                        <a:pt x="371890" y="1062021"/>
                      </a:lnTo>
                      <a:lnTo>
                        <a:pt x="372169" y="1061791"/>
                      </a:lnTo>
                      <a:lnTo>
                        <a:pt x="372473" y="1061633"/>
                      </a:lnTo>
                      <a:lnTo>
                        <a:pt x="374112" y="1061402"/>
                      </a:lnTo>
                      <a:lnTo>
                        <a:pt x="376031" y="1060989"/>
                      </a:lnTo>
                      <a:lnTo>
                        <a:pt x="376067" y="1062386"/>
                      </a:lnTo>
                      <a:lnTo>
                        <a:pt x="376103" y="1063624"/>
                      </a:lnTo>
                      <a:lnTo>
                        <a:pt x="376613" y="1064754"/>
                      </a:lnTo>
                      <a:lnTo>
                        <a:pt x="377293" y="1066247"/>
                      </a:lnTo>
                      <a:lnTo>
                        <a:pt x="377597" y="1066903"/>
                      </a:lnTo>
                      <a:lnTo>
                        <a:pt x="378046" y="1067474"/>
                      </a:lnTo>
                      <a:lnTo>
                        <a:pt x="378957" y="1068627"/>
                      </a:lnTo>
                      <a:lnTo>
                        <a:pt x="379685" y="1069550"/>
                      </a:lnTo>
                      <a:lnTo>
                        <a:pt x="380693" y="1070133"/>
                      </a:lnTo>
                      <a:lnTo>
                        <a:pt x="381968" y="1070874"/>
                      </a:lnTo>
                      <a:lnTo>
                        <a:pt x="383863" y="1071966"/>
                      </a:lnTo>
                      <a:lnTo>
                        <a:pt x="386012" y="1071602"/>
                      </a:lnTo>
                      <a:lnTo>
                        <a:pt x="388076" y="1071262"/>
                      </a:lnTo>
                      <a:lnTo>
                        <a:pt x="388501" y="1071189"/>
                      </a:lnTo>
                      <a:lnTo>
                        <a:pt x="388914" y="1071068"/>
                      </a:lnTo>
                      <a:lnTo>
                        <a:pt x="392023" y="1070084"/>
                      </a:lnTo>
                      <a:lnTo>
                        <a:pt x="392363" y="1069975"/>
                      </a:lnTo>
                      <a:lnTo>
                        <a:pt x="392691" y="1069829"/>
                      </a:lnTo>
                      <a:lnTo>
                        <a:pt x="395981" y="1068348"/>
                      </a:lnTo>
                      <a:lnTo>
                        <a:pt x="396236" y="1070473"/>
                      </a:lnTo>
                      <a:lnTo>
                        <a:pt x="396370" y="1071614"/>
                      </a:lnTo>
                      <a:lnTo>
                        <a:pt x="396904" y="1072622"/>
                      </a:lnTo>
                      <a:lnTo>
                        <a:pt x="397536" y="1073800"/>
                      </a:lnTo>
                      <a:lnTo>
                        <a:pt x="398288" y="1075221"/>
                      </a:lnTo>
                      <a:lnTo>
                        <a:pt x="399648" y="1076083"/>
                      </a:lnTo>
                      <a:lnTo>
                        <a:pt x="400899" y="1076872"/>
                      </a:lnTo>
                      <a:lnTo>
                        <a:pt x="402915" y="1078135"/>
                      </a:lnTo>
                      <a:lnTo>
                        <a:pt x="405259" y="1077698"/>
                      </a:lnTo>
                      <a:lnTo>
                        <a:pt x="406752" y="1077419"/>
                      </a:lnTo>
                      <a:lnTo>
                        <a:pt x="407942" y="1077188"/>
                      </a:lnTo>
                      <a:lnTo>
                        <a:pt x="408950" y="1076532"/>
                      </a:lnTo>
                      <a:lnTo>
                        <a:pt x="410626" y="1075439"/>
                      </a:lnTo>
                      <a:lnTo>
                        <a:pt x="411804" y="1074674"/>
                      </a:lnTo>
                      <a:lnTo>
                        <a:pt x="412532" y="1073472"/>
                      </a:lnTo>
                      <a:lnTo>
                        <a:pt x="414111" y="1070825"/>
                      </a:lnTo>
                      <a:lnTo>
                        <a:pt x="414609" y="1070230"/>
                      </a:lnTo>
                      <a:lnTo>
                        <a:pt x="414706" y="1070254"/>
                      </a:lnTo>
                      <a:lnTo>
                        <a:pt x="417499" y="1071481"/>
                      </a:lnTo>
                      <a:lnTo>
                        <a:pt x="419247" y="1072246"/>
                      </a:lnTo>
                      <a:lnTo>
                        <a:pt x="421117" y="1071881"/>
                      </a:lnTo>
                      <a:lnTo>
                        <a:pt x="422732" y="1071566"/>
                      </a:lnTo>
                      <a:lnTo>
                        <a:pt x="423145" y="1071541"/>
                      </a:lnTo>
                      <a:lnTo>
                        <a:pt x="423692" y="1071554"/>
                      </a:lnTo>
                      <a:lnTo>
                        <a:pt x="425064" y="1071918"/>
                      </a:lnTo>
                      <a:lnTo>
                        <a:pt x="428852" y="1073363"/>
                      </a:lnTo>
                      <a:lnTo>
                        <a:pt x="429909" y="1073764"/>
                      </a:lnTo>
                      <a:lnTo>
                        <a:pt x="431038" y="1073751"/>
                      </a:lnTo>
                      <a:lnTo>
                        <a:pt x="433042" y="1073727"/>
                      </a:lnTo>
                      <a:lnTo>
                        <a:pt x="434936" y="1073703"/>
                      </a:lnTo>
                      <a:lnTo>
                        <a:pt x="436478" y="1072610"/>
                      </a:lnTo>
                      <a:lnTo>
                        <a:pt x="437535" y="1071857"/>
                      </a:lnTo>
                      <a:lnTo>
                        <a:pt x="437097" y="1073715"/>
                      </a:lnTo>
                      <a:lnTo>
                        <a:pt x="436587" y="1077297"/>
                      </a:lnTo>
                      <a:lnTo>
                        <a:pt x="436539" y="1077698"/>
                      </a:lnTo>
                      <a:lnTo>
                        <a:pt x="436539" y="1078099"/>
                      </a:lnTo>
                      <a:lnTo>
                        <a:pt x="436539" y="1080636"/>
                      </a:lnTo>
                      <a:lnTo>
                        <a:pt x="436539" y="1081062"/>
                      </a:lnTo>
                      <a:lnTo>
                        <a:pt x="436599" y="1081487"/>
                      </a:lnTo>
                      <a:lnTo>
                        <a:pt x="436891" y="1083551"/>
                      </a:lnTo>
                      <a:lnTo>
                        <a:pt x="437061" y="1084716"/>
                      </a:lnTo>
                      <a:lnTo>
                        <a:pt x="437644" y="1085736"/>
                      </a:lnTo>
                      <a:lnTo>
                        <a:pt x="438555" y="1087315"/>
                      </a:lnTo>
                      <a:lnTo>
                        <a:pt x="439295" y="1088602"/>
                      </a:lnTo>
                      <a:lnTo>
                        <a:pt x="440558" y="1089404"/>
                      </a:lnTo>
                      <a:lnTo>
                        <a:pt x="442404" y="1090582"/>
                      </a:lnTo>
                      <a:lnTo>
                        <a:pt x="442853" y="1090861"/>
                      </a:lnTo>
                      <a:lnTo>
                        <a:pt x="443351" y="1091067"/>
                      </a:lnTo>
                      <a:lnTo>
                        <a:pt x="445294" y="1091869"/>
                      </a:lnTo>
                      <a:lnTo>
                        <a:pt x="446678" y="1092439"/>
                      </a:lnTo>
                      <a:lnTo>
                        <a:pt x="448172" y="1092306"/>
                      </a:lnTo>
                      <a:lnTo>
                        <a:pt x="454607" y="1091711"/>
                      </a:lnTo>
                      <a:lnTo>
                        <a:pt x="458469" y="1091359"/>
                      </a:lnTo>
                      <a:lnTo>
                        <a:pt x="459768" y="1087704"/>
                      </a:lnTo>
                      <a:lnTo>
                        <a:pt x="460570" y="1085433"/>
                      </a:lnTo>
                      <a:lnTo>
                        <a:pt x="460946" y="1084376"/>
                      </a:lnTo>
                      <a:lnTo>
                        <a:pt x="460922" y="1083259"/>
                      </a:lnTo>
                      <a:lnTo>
                        <a:pt x="460897" y="1082239"/>
                      </a:lnTo>
                      <a:lnTo>
                        <a:pt x="461237" y="1082579"/>
                      </a:lnTo>
                      <a:lnTo>
                        <a:pt x="462270" y="1083611"/>
                      </a:lnTo>
                      <a:lnTo>
                        <a:pt x="463460" y="1084814"/>
                      </a:lnTo>
                      <a:lnTo>
                        <a:pt x="465099" y="1085214"/>
                      </a:lnTo>
                      <a:lnTo>
                        <a:pt x="466872" y="1085651"/>
                      </a:lnTo>
                      <a:lnTo>
                        <a:pt x="468098" y="1085955"/>
                      </a:lnTo>
                      <a:lnTo>
                        <a:pt x="469337" y="1085749"/>
                      </a:lnTo>
                      <a:lnTo>
                        <a:pt x="471462" y="1085396"/>
                      </a:lnTo>
                      <a:lnTo>
                        <a:pt x="472652" y="1085202"/>
                      </a:lnTo>
                      <a:lnTo>
                        <a:pt x="473672" y="1084571"/>
                      </a:lnTo>
                      <a:lnTo>
                        <a:pt x="476380" y="1082883"/>
                      </a:lnTo>
                      <a:lnTo>
                        <a:pt x="476902" y="1082555"/>
                      </a:lnTo>
                      <a:lnTo>
                        <a:pt x="477351" y="1082130"/>
                      </a:lnTo>
                      <a:lnTo>
                        <a:pt x="478663" y="1080891"/>
                      </a:lnTo>
                      <a:lnTo>
                        <a:pt x="479221" y="1080369"/>
                      </a:lnTo>
                      <a:lnTo>
                        <a:pt x="479634" y="1079714"/>
                      </a:lnTo>
                      <a:lnTo>
                        <a:pt x="480557" y="1078244"/>
                      </a:lnTo>
                      <a:lnTo>
                        <a:pt x="483629" y="1072173"/>
                      </a:lnTo>
                      <a:lnTo>
                        <a:pt x="484491" y="1071116"/>
                      </a:lnTo>
                      <a:lnTo>
                        <a:pt x="484843" y="1070837"/>
                      </a:lnTo>
                      <a:lnTo>
                        <a:pt x="485183" y="1070764"/>
                      </a:lnTo>
                      <a:lnTo>
                        <a:pt x="485208" y="1070764"/>
                      </a:lnTo>
                      <a:lnTo>
                        <a:pt x="486725" y="1071262"/>
                      </a:lnTo>
                      <a:lnTo>
                        <a:pt x="493732" y="1074541"/>
                      </a:lnTo>
                      <a:lnTo>
                        <a:pt x="494181" y="1074759"/>
                      </a:lnTo>
                      <a:lnTo>
                        <a:pt x="494655" y="1074893"/>
                      </a:lnTo>
                      <a:lnTo>
                        <a:pt x="500508" y="1076544"/>
                      </a:lnTo>
                      <a:lnTo>
                        <a:pt x="501030" y="1076690"/>
                      </a:lnTo>
                      <a:lnTo>
                        <a:pt x="501564" y="1076739"/>
                      </a:lnTo>
                      <a:lnTo>
                        <a:pt x="503932" y="1076969"/>
                      </a:lnTo>
                      <a:lnTo>
                        <a:pt x="504418" y="1077018"/>
                      </a:lnTo>
                      <a:lnTo>
                        <a:pt x="504903" y="1076994"/>
                      </a:lnTo>
                      <a:lnTo>
                        <a:pt x="519086" y="1076119"/>
                      </a:lnTo>
                      <a:lnTo>
                        <a:pt x="519463" y="1076095"/>
                      </a:lnTo>
                      <a:lnTo>
                        <a:pt x="519827" y="1076022"/>
                      </a:lnTo>
                      <a:lnTo>
                        <a:pt x="522681" y="1075488"/>
                      </a:lnTo>
                      <a:lnTo>
                        <a:pt x="524235" y="1077491"/>
                      </a:lnTo>
                      <a:lnTo>
                        <a:pt x="525619" y="1079264"/>
                      </a:lnTo>
                      <a:lnTo>
                        <a:pt x="527829" y="1079714"/>
                      </a:lnTo>
                      <a:lnTo>
                        <a:pt x="529687" y="1080090"/>
                      </a:lnTo>
                      <a:lnTo>
                        <a:pt x="531035" y="1080357"/>
                      </a:lnTo>
                      <a:lnTo>
                        <a:pt x="532371" y="1080017"/>
                      </a:lnTo>
                      <a:lnTo>
                        <a:pt x="534775" y="1079410"/>
                      </a:lnTo>
                      <a:lnTo>
                        <a:pt x="535516" y="1079228"/>
                      </a:lnTo>
                      <a:lnTo>
                        <a:pt x="536184" y="1078864"/>
                      </a:lnTo>
                      <a:lnTo>
                        <a:pt x="540227" y="1076690"/>
                      </a:lnTo>
                      <a:lnTo>
                        <a:pt x="541648" y="1076229"/>
                      </a:lnTo>
                      <a:lnTo>
                        <a:pt x="543664" y="1075840"/>
                      </a:lnTo>
                      <a:lnTo>
                        <a:pt x="545024" y="1075573"/>
                      </a:lnTo>
                      <a:lnTo>
                        <a:pt x="546129" y="1074747"/>
                      </a:lnTo>
                      <a:lnTo>
                        <a:pt x="546809" y="1074237"/>
                      </a:lnTo>
                      <a:lnTo>
                        <a:pt x="548533" y="1072950"/>
                      </a:lnTo>
                      <a:lnTo>
                        <a:pt x="549055" y="1070861"/>
                      </a:lnTo>
                      <a:lnTo>
                        <a:pt x="549468" y="1069246"/>
                      </a:lnTo>
                      <a:lnTo>
                        <a:pt x="549820" y="1067838"/>
                      </a:lnTo>
                      <a:lnTo>
                        <a:pt x="549504" y="1066417"/>
                      </a:lnTo>
                      <a:lnTo>
                        <a:pt x="549201" y="1065081"/>
                      </a:lnTo>
                      <a:lnTo>
                        <a:pt x="549055" y="1064438"/>
                      </a:lnTo>
                      <a:lnTo>
                        <a:pt x="548776" y="1063843"/>
                      </a:lnTo>
                      <a:lnTo>
                        <a:pt x="548144" y="1062495"/>
                      </a:lnTo>
                      <a:lnTo>
                        <a:pt x="547780" y="1061706"/>
                      </a:lnTo>
                      <a:lnTo>
                        <a:pt x="547210" y="1061062"/>
                      </a:lnTo>
                      <a:lnTo>
                        <a:pt x="544319" y="1057771"/>
                      </a:lnTo>
                      <a:lnTo>
                        <a:pt x="543579" y="1056727"/>
                      </a:lnTo>
                      <a:lnTo>
                        <a:pt x="543409" y="1056411"/>
                      </a:lnTo>
                      <a:lnTo>
                        <a:pt x="545934" y="1055646"/>
                      </a:lnTo>
                      <a:lnTo>
                        <a:pt x="549844" y="1055452"/>
                      </a:lnTo>
                      <a:lnTo>
                        <a:pt x="550573" y="1055416"/>
                      </a:lnTo>
                      <a:lnTo>
                        <a:pt x="551277" y="1055197"/>
                      </a:lnTo>
                      <a:lnTo>
                        <a:pt x="553973" y="1054408"/>
                      </a:lnTo>
                      <a:lnTo>
                        <a:pt x="554677" y="1054189"/>
                      </a:lnTo>
                      <a:lnTo>
                        <a:pt x="555321" y="1053813"/>
                      </a:lnTo>
                      <a:lnTo>
                        <a:pt x="558939" y="1051688"/>
                      </a:lnTo>
                      <a:lnTo>
                        <a:pt x="559219" y="1051518"/>
                      </a:lnTo>
                      <a:lnTo>
                        <a:pt x="559486" y="1051311"/>
                      </a:lnTo>
                      <a:lnTo>
                        <a:pt x="566662" y="1045968"/>
                      </a:lnTo>
                      <a:lnTo>
                        <a:pt x="566942" y="1045762"/>
                      </a:lnTo>
                      <a:lnTo>
                        <a:pt x="567197" y="1045519"/>
                      </a:lnTo>
                      <a:lnTo>
                        <a:pt x="571775" y="1041208"/>
                      </a:lnTo>
                      <a:lnTo>
                        <a:pt x="574009" y="1039630"/>
                      </a:lnTo>
                      <a:lnTo>
                        <a:pt x="584355" y="1034906"/>
                      </a:lnTo>
                      <a:lnTo>
                        <a:pt x="586225" y="1035793"/>
                      </a:lnTo>
                      <a:lnTo>
                        <a:pt x="586698" y="1036023"/>
                      </a:lnTo>
                      <a:lnTo>
                        <a:pt x="587208" y="1036169"/>
                      </a:lnTo>
                      <a:lnTo>
                        <a:pt x="588362" y="1036485"/>
                      </a:lnTo>
                      <a:lnTo>
                        <a:pt x="589297" y="1036740"/>
                      </a:lnTo>
                      <a:lnTo>
                        <a:pt x="590268" y="1036691"/>
                      </a:lnTo>
                      <a:lnTo>
                        <a:pt x="591130" y="1036655"/>
                      </a:lnTo>
                      <a:lnTo>
                        <a:pt x="591980" y="1036618"/>
                      </a:lnTo>
                      <a:lnTo>
                        <a:pt x="592782" y="1036351"/>
                      </a:lnTo>
                      <a:lnTo>
                        <a:pt x="593413" y="1036133"/>
                      </a:lnTo>
                      <a:lnTo>
                        <a:pt x="594300" y="1035841"/>
                      </a:lnTo>
                      <a:lnTo>
                        <a:pt x="595053" y="1035295"/>
                      </a:lnTo>
                      <a:lnTo>
                        <a:pt x="603152" y="1029405"/>
                      </a:lnTo>
                      <a:lnTo>
                        <a:pt x="603541" y="1029126"/>
                      </a:lnTo>
                      <a:lnTo>
                        <a:pt x="603881" y="1028786"/>
                      </a:lnTo>
                      <a:lnTo>
                        <a:pt x="605253" y="1027414"/>
                      </a:lnTo>
                      <a:lnTo>
                        <a:pt x="605520" y="1027147"/>
                      </a:lnTo>
                      <a:lnTo>
                        <a:pt x="605763" y="1026843"/>
                      </a:lnTo>
                      <a:lnTo>
                        <a:pt x="606856" y="1025435"/>
                      </a:lnTo>
                      <a:lnTo>
                        <a:pt x="607329" y="1024828"/>
                      </a:lnTo>
                      <a:lnTo>
                        <a:pt x="607536" y="1024366"/>
                      </a:lnTo>
                      <a:lnTo>
                        <a:pt x="607863" y="1024512"/>
                      </a:lnTo>
                      <a:lnTo>
                        <a:pt x="608653" y="1024633"/>
                      </a:lnTo>
                      <a:lnTo>
                        <a:pt x="609988" y="1024840"/>
                      </a:lnTo>
                      <a:lnTo>
                        <a:pt x="610923" y="1024985"/>
                      </a:lnTo>
                      <a:lnTo>
                        <a:pt x="611871" y="1024828"/>
                      </a:lnTo>
                      <a:lnTo>
                        <a:pt x="613182" y="1024621"/>
                      </a:lnTo>
                      <a:lnTo>
                        <a:pt x="613583" y="1024560"/>
                      </a:lnTo>
                      <a:lnTo>
                        <a:pt x="613971" y="1024439"/>
                      </a:lnTo>
                      <a:lnTo>
                        <a:pt x="617092" y="1023504"/>
                      </a:lnTo>
                      <a:lnTo>
                        <a:pt x="617796" y="1023370"/>
                      </a:lnTo>
                      <a:lnTo>
                        <a:pt x="620249" y="1026710"/>
                      </a:lnTo>
                      <a:lnTo>
                        <a:pt x="620456" y="1027159"/>
                      </a:lnTo>
                      <a:lnTo>
                        <a:pt x="620771" y="1028167"/>
                      </a:lnTo>
                      <a:lnTo>
                        <a:pt x="621585" y="1033680"/>
                      </a:lnTo>
                      <a:lnTo>
                        <a:pt x="621913" y="1041099"/>
                      </a:lnTo>
                      <a:lnTo>
                        <a:pt x="621937" y="1041791"/>
                      </a:lnTo>
                      <a:lnTo>
                        <a:pt x="622119" y="1042459"/>
                      </a:lnTo>
                      <a:lnTo>
                        <a:pt x="622690" y="1044511"/>
                      </a:lnTo>
                      <a:lnTo>
                        <a:pt x="622969" y="1045531"/>
                      </a:lnTo>
                      <a:lnTo>
                        <a:pt x="623576" y="1046393"/>
                      </a:lnTo>
                      <a:lnTo>
                        <a:pt x="624439" y="1047608"/>
                      </a:lnTo>
                      <a:lnTo>
                        <a:pt x="625568" y="1049211"/>
                      </a:lnTo>
                      <a:lnTo>
                        <a:pt x="627414" y="1049842"/>
                      </a:lnTo>
                      <a:lnTo>
                        <a:pt x="629733" y="1050643"/>
                      </a:lnTo>
                      <a:lnTo>
                        <a:pt x="631154" y="1051506"/>
                      </a:lnTo>
                      <a:lnTo>
                        <a:pt x="631166" y="1051518"/>
                      </a:lnTo>
                      <a:lnTo>
                        <a:pt x="632526" y="1054056"/>
                      </a:lnTo>
                      <a:lnTo>
                        <a:pt x="633218" y="1055343"/>
                      </a:lnTo>
                      <a:lnTo>
                        <a:pt x="634420" y="1056181"/>
                      </a:lnTo>
                      <a:lnTo>
                        <a:pt x="635173" y="1056703"/>
                      </a:lnTo>
                      <a:lnTo>
                        <a:pt x="636727" y="1057783"/>
                      </a:lnTo>
                      <a:lnTo>
                        <a:pt x="638622" y="1057783"/>
                      </a:lnTo>
                      <a:lnTo>
                        <a:pt x="638840" y="1057783"/>
                      </a:lnTo>
                      <a:lnTo>
                        <a:pt x="638962" y="1058816"/>
                      </a:lnTo>
                      <a:lnTo>
                        <a:pt x="639034" y="1059544"/>
                      </a:lnTo>
                      <a:lnTo>
                        <a:pt x="639289" y="1060224"/>
                      </a:lnTo>
                      <a:lnTo>
                        <a:pt x="639690" y="1061317"/>
                      </a:lnTo>
                      <a:lnTo>
                        <a:pt x="639811" y="1061657"/>
                      </a:lnTo>
                      <a:lnTo>
                        <a:pt x="639982" y="1061973"/>
                      </a:lnTo>
                      <a:lnTo>
                        <a:pt x="640115" y="1062240"/>
                      </a:lnTo>
                      <a:lnTo>
                        <a:pt x="638233" y="1062968"/>
                      </a:lnTo>
                      <a:lnTo>
                        <a:pt x="637747" y="1063163"/>
                      </a:lnTo>
                      <a:lnTo>
                        <a:pt x="637298" y="1063442"/>
                      </a:lnTo>
                      <a:lnTo>
                        <a:pt x="634833" y="1064972"/>
                      </a:lnTo>
                      <a:lnTo>
                        <a:pt x="634578" y="1065094"/>
                      </a:lnTo>
                      <a:lnTo>
                        <a:pt x="633619" y="1065434"/>
                      </a:lnTo>
                      <a:lnTo>
                        <a:pt x="633169" y="1065591"/>
                      </a:lnTo>
                      <a:lnTo>
                        <a:pt x="632744" y="1065822"/>
                      </a:lnTo>
                      <a:lnTo>
                        <a:pt x="631712" y="1066381"/>
                      </a:lnTo>
                      <a:lnTo>
                        <a:pt x="630838" y="1066854"/>
                      </a:lnTo>
                      <a:lnTo>
                        <a:pt x="630158" y="1067583"/>
                      </a:lnTo>
                      <a:lnTo>
                        <a:pt x="629344" y="1068457"/>
                      </a:lnTo>
                      <a:lnTo>
                        <a:pt x="628810" y="1069028"/>
                      </a:lnTo>
                      <a:lnTo>
                        <a:pt x="628446" y="1069720"/>
                      </a:lnTo>
                      <a:lnTo>
                        <a:pt x="627778" y="1070946"/>
                      </a:lnTo>
                      <a:lnTo>
                        <a:pt x="627231" y="1071699"/>
                      </a:lnTo>
                      <a:lnTo>
                        <a:pt x="623831" y="1075075"/>
                      </a:lnTo>
                      <a:lnTo>
                        <a:pt x="623443" y="1075451"/>
                      </a:lnTo>
                      <a:lnTo>
                        <a:pt x="623139" y="1075901"/>
                      </a:lnTo>
                      <a:lnTo>
                        <a:pt x="622362" y="1077006"/>
                      </a:lnTo>
                      <a:lnTo>
                        <a:pt x="621281" y="1075998"/>
                      </a:lnTo>
                      <a:lnTo>
                        <a:pt x="618149" y="1076714"/>
                      </a:lnTo>
                      <a:lnTo>
                        <a:pt x="617396" y="1076884"/>
                      </a:lnTo>
                      <a:lnTo>
                        <a:pt x="615137" y="1077394"/>
                      </a:lnTo>
                      <a:lnTo>
                        <a:pt x="613789" y="1079276"/>
                      </a:lnTo>
                      <a:lnTo>
                        <a:pt x="613218" y="1080078"/>
                      </a:lnTo>
                      <a:lnTo>
                        <a:pt x="612320" y="1081353"/>
                      </a:lnTo>
                      <a:lnTo>
                        <a:pt x="612138" y="1082907"/>
                      </a:lnTo>
                      <a:lnTo>
                        <a:pt x="611858" y="1085348"/>
                      </a:lnTo>
                      <a:lnTo>
                        <a:pt x="611822" y="1085688"/>
                      </a:lnTo>
                      <a:lnTo>
                        <a:pt x="611822" y="1086028"/>
                      </a:lnTo>
                      <a:lnTo>
                        <a:pt x="611822" y="1087728"/>
                      </a:lnTo>
                      <a:lnTo>
                        <a:pt x="611822" y="1088505"/>
                      </a:lnTo>
                      <a:lnTo>
                        <a:pt x="612028" y="1089270"/>
                      </a:lnTo>
                      <a:lnTo>
                        <a:pt x="613218" y="1093799"/>
                      </a:lnTo>
                      <a:lnTo>
                        <a:pt x="613388" y="1094431"/>
                      </a:lnTo>
                      <a:lnTo>
                        <a:pt x="613680" y="1095014"/>
                      </a:lnTo>
                      <a:lnTo>
                        <a:pt x="614663" y="1096944"/>
                      </a:lnTo>
                      <a:lnTo>
                        <a:pt x="614858" y="1097321"/>
                      </a:lnTo>
                      <a:lnTo>
                        <a:pt x="615101" y="1097673"/>
                      </a:lnTo>
                      <a:lnTo>
                        <a:pt x="617226" y="1100709"/>
                      </a:lnTo>
                      <a:lnTo>
                        <a:pt x="618100" y="1101972"/>
                      </a:lnTo>
                      <a:lnTo>
                        <a:pt x="619472" y="1102664"/>
                      </a:lnTo>
                      <a:lnTo>
                        <a:pt x="621136" y="1103502"/>
                      </a:lnTo>
                      <a:lnTo>
                        <a:pt x="622216" y="1104048"/>
                      </a:lnTo>
                      <a:lnTo>
                        <a:pt x="623431" y="1104133"/>
                      </a:lnTo>
                      <a:lnTo>
                        <a:pt x="625495" y="1104279"/>
                      </a:lnTo>
                      <a:lnTo>
                        <a:pt x="626770" y="1104376"/>
                      </a:lnTo>
                      <a:lnTo>
                        <a:pt x="627972" y="1103939"/>
                      </a:lnTo>
                      <a:lnTo>
                        <a:pt x="632926" y="1102166"/>
                      </a:lnTo>
                      <a:lnTo>
                        <a:pt x="633995" y="1101984"/>
                      </a:lnTo>
                      <a:lnTo>
                        <a:pt x="635501" y="1102251"/>
                      </a:lnTo>
                      <a:lnTo>
                        <a:pt x="636509" y="1102579"/>
                      </a:lnTo>
                      <a:lnTo>
                        <a:pt x="637784" y="1103150"/>
                      </a:lnTo>
                      <a:lnTo>
                        <a:pt x="639593" y="1103805"/>
                      </a:lnTo>
                      <a:lnTo>
                        <a:pt x="640297" y="1104048"/>
                      </a:lnTo>
                      <a:lnTo>
                        <a:pt x="641038" y="1104121"/>
                      </a:lnTo>
                      <a:lnTo>
                        <a:pt x="642653" y="1104267"/>
                      </a:lnTo>
                      <a:lnTo>
                        <a:pt x="643891" y="1104376"/>
                      </a:lnTo>
                      <a:lnTo>
                        <a:pt x="645069" y="1103999"/>
                      </a:lnTo>
                      <a:lnTo>
                        <a:pt x="646320" y="1103599"/>
                      </a:lnTo>
                      <a:lnTo>
                        <a:pt x="648469" y="1102907"/>
                      </a:lnTo>
                      <a:lnTo>
                        <a:pt x="649222" y="1101668"/>
                      </a:lnTo>
                      <a:lnTo>
                        <a:pt x="649817" y="1102008"/>
                      </a:lnTo>
                      <a:lnTo>
                        <a:pt x="651019" y="1102700"/>
                      </a:lnTo>
                      <a:lnTo>
                        <a:pt x="652707" y="1103672"/>
                      </a:lnTo>
                      <a:lnTo>
                        <a:pt x="654650" y="1103477"/>
                      </a:lnTo>
                      <a:lnTo>
                        <a:pt x="656775" y="1103271"/>
                      </a:lnTo>
                      <a:lnTo>
                        <a:pt x="657261" y="1103222"/>
                      </a:lnTo>
                      <a:lnTo>
                        <a:pt x="657734" y="1103101"/>
                      </a:lnTo>
                      <a:lnTo>
                        <a:pt x="659350" y="1102676"/>
                      </a:lnTo>
                      <a:lnTo>
                        <a:pt x="660272" y="1102433"/>
                      </a:lnTo>
                      <a:lnTo>
                        <a:pt x="661074" y="1101923"/>
                      </a:lnTo>
                      <a:lnTo>
                        <a:pt x="668019" y="1097467"/>
                      </a:lnTo>
                      <a:lnTo>
                        <a:pt x="671225" y="1095414"/>
                      </a:lnTo>
                      <a:lnTo>
                        <a:pt x="670776" y="1091638"/>
                      </a:lnTo>
                      <a:lnTo>
                        <a:pt x="670545" y="1089695"/>
                      </a:lnTo>
                      <a:lnTo>
                        <a:pt x="670315" y="1087789"/>
                      </a:lnTo>
                      <a:lnTo>
                        <a:pt x="669039" y="1086356"/>
                      </a:lnTo>
                      <a:lnTo>
                        <a:pt x="668530" y="1085785"/>
                      </a:lnTo>
                      <a:lnTo>
                        <a:pt x="668457" y="1085700"/>
                      </a:lnTo>
                      <a:lnTo>
                        <a:pt x="668566" y="1085688"/>
                      </a:lnTo>
                      <a:lnTo>
                        <a:pt x="670157" y="1085421"/>
                      </a:lnTo>
                      <a:lnTo>
                        <a:pt x="670509" y="1085360"/>
                      </a:lnTo>
                      <a:lnTo>
                        <a:pt x="670849" y="1085263"/>
                      </a:lnTo>
                      <a:lnTo>
                        <a:pt x="672306" y="1084850"/>
                      </a:lnTo>
                      <a:lnTo>
                        <a:pt x="673399" y="1084534"/>
                      </a:lnTo>
                      <a:lnTo>
                        <a:pt x="674297" y="1083842"/>
                      </a:lnTo>
                      <a:lnTo>
                        <a:pt x="675269" y="1083102"/>
                      </a:lnTo>
                      <a:lnTo>
                        <a:pt x="675985" y="1082555"/>
                      </a:lnTo>
                      <a:lnTo>
                        <a:pt x="676702" y="1083624"/>
                      </a:lnTo>
                      <a:lnTo>
                        <a:pt x="677054" y="1084158"/>
                      </a:lnTo>
                      <a:lnTo>
                        <a:pt x="677527" y="1084607"/>
                      </a:lnTo>
                      <a:lnTo>
                        <a:pt x="682227" y="1089173"/>
                      </a:lnTo>
                      <a:lnTo>
                        <a:pt x="682627" y="1089562"/>
                      </a:lnTo>
                      <a:lnTo>
                        <a:pt x="683089" y="1089865"/>
                      </a:lnTo>
                      <a:lnTo>
                        <a:pt x="684582" y="1090861"/>
                      </a:lnTo>
                      <a:lnTo>
                        <a:pt x="685056" y="1091164"/>
                      </a:lnTo>
                      <a:lnTo>
                        <a:pt x="685566" y="1091395"/>
                      </a:lnTo>
                      <a:lnTo>
                        <a:pt x="687120" y="1092063"/>
                      </a:lnTo>
                      <a:lnTo>
                        <a:pt x="688808" y="1092779"/>
                      </a:lnTo>
                      <a:lnTo>
                        <a:pt x="690605" y="1092452"/>
                      </a:lnTo>
                      <a:lnTo>
                        <a:pt x="692500" y="1092099"/>
                      </a:lnTo>
                      <a:lnTo>
                        <a:pt x="692937" y="1092027"/>
                      </a:lnTo>
                      <a:lnTo>
                        <a:pt x="693350" y="1091881"/>
                      </a:lnTo>
                      <a:lnTo>
                        <a:pt x="696458" y="1090836"/>
                      </a:lnTo>
                      <a:lnTo>
                        <a:pt x="697503" y="1090618"/>
                      </a:lnTo>
                      <a:lnTo>
                        <a:pt x="701012" y="1090557"/>
                      </a:lnTo>
                      <a:lnTo>
                        <a:pt x="701522" y="1090545"/>
                      </a:lnTo>
                      <a:lnTo>
                        <a:pt x="702020" y="1090460"/>
                      </a:lnTo>
                      <a:lnTo>
                        <a:pt x="703902" y="1090108"/>
                      </a:lnTo>
                      <a:lnTo>
                        <a:pt x="705262" y="1089853"/>
                      </a:lnTo>
                      <a:lnTo>
                        <a:pt x="706367" y="1089052"/>
                      </a:lnTo>
                      <a:lnTo>
                        <a:pt x="707982" y="1087862"/>
                      </a:lnTo>
                      <a:lnTo>
                        <a:pt x="709524" y="1086744"/>
                      </a:lnTo>
                      <a:lnTo>
                        <a:pt x="710143" y="1084935"/>
                      </a:lnTo>
                      <a:lnTo>
                        <a:pt x="710666" y="1083417"/>
                      </a:lnTo>
                      <a:lnTo>
                        <a:pt x="711370" y="1081377"/>
                      </a:lnTo>
                      <a:lnTo>
                        <a:pt x="710617" y="1079349"/>
                      </a:lnTo>
                      <a:lnTo>
                        <a:pt x="709973" y="1077589"/>
                      </a:lnTo>
                      <a:lnTo>
                        <a:pt x="709500" y="1076314"/>
                      </a:lnTo>
                      <a:lnTo>
                        <a:pt x="708528" y="1075354"/>
                      </a:lnTo>
                      <a:lnTo>
                        <a:pt x="708188" y="1075014"/>
                      </a:lnTo>
                      <a:lnTo>
                        <a:pt x="711054" y="1074929"/>
                      </a:lnTo>
                      <a:lnTo>
                        <a:pt x="711552" y="1074917"/>
                      </a:lnTo>
                      <a:lnTo>
                        <a:pt x="712050" y="1074820"/>
                      </a:lnTo>
                      <a:lnTo>
                        <a:pt x="713665" y="1074504"/>
                      </a:lnTo>
                      <a:lnTo>
                        <a:pt x="714272" y="1074383"/>
                      </a:lnTo>
                      <a:lnTo>
                        <a:pt x="714843" y="1074140"/>
                      </a:lnTo>
                      <a:lnTo>
                        <a:pt x="716336" y="1073508"/>
                      </a:lnTo>
                      <a:lnTo>
                        <a:pt x="717259" y="1073120"/>
                      </a:lnTo>
                      <a:lnTo>
                        <a:pt x="718012" y="1072464"/>
                      </a:lnTo>
                      <a:lnTo>
                        <a:pt x="718838" y="1071724"/>
                      </a:lnTo>
                      <a:lnTo>
                        <a:pt x="718231" y="1073120"/>
                      </a:lnTo>
                      <a:lnTo>
                        <a:pt x="718036" y="1073569"/>
                      </a:lnTo>
                      <a:lnTo>
                        <a:pt x="717915" y="1074043"/>
                      </a:lnTo>
                      <a:lnTo>
                        <a:pt x="717453" y="1075816"/>
                      </a:lnTo>
                      <a:lnTo>
                        <a:pt x="717344" y="1076265"/>
                      </a:lnTo>
                      <a:lnTo>
                        <a:pt x="717296" y="1076726"/>
                      </a:lnTo>
                      <a:lnTo>
                        <a:pt x="716931" y="1080382"/>
                      </a:lnTo>
                      <a:lnTo>
                        <a:pt x="715183" y="1081790"/>
                      </a:lnTo>
                      <a:lnTo>
                        <a:pt x="714806" y="1082094"/>
                      </a:lnTo>
                      <a:lnTo>
                        <a:pt x="714478" y="1082446"/>
                      </a:lnTo>
                      <a:lnTo>
                        <a:pt x="713616" y="1083393"/>
                      </a:lnTo>
                      <a:lnTo>
                        <a:pt x="713361" y="1083672"/>
                      </a:lnTo>
                      <a:lnTo>
                        <a:pt x="713143" y="1083976"/>
                      </a:lnTo>
                      <a:lnTo>
                        <a:pt x="712390" y="1085044"/>
                      </a:lnTo>
                      <a:lnTo>
                        <a:pt x="711929" y="1085688"/>
                      </a:lnTo>
                      <a:lnTo>
                        <a:pt x="711661" y="1086441"/>
                      </a:lnTo>
                      <a:lnTo>
                        <a:pt x="711321" y="1087351"/>
                      </a:lnTo>
                      <a:lnTo>
                        <a:pt x="710933" y="1088566"/>
                      </a:lnTo>
                      <a:lnTo>
                        <a:pt x="710702" y="1089307"/>
                      </a:lnTo>
                      <a:lnTo>
                        <a:pt x="710666" y="1090072"/>
                      </a:lnTo>
                      <a:lnTo>
                        <a:pt x="710569" y="1091954"/>
                      </a:lnTo>
                      <a:lnTo>
                        <a:pt x="710532" y="1092184"/>
                      </a:lnTo>
                      <a:lnTo>
                        <a:pt x="710131" y="1093047"/>
                      </a:lnTo>
                      <a:lnTo>
                        <a:pt x="709961" y="1093350"/>
                      </a:lnTo>
                      <a:lnTo>
                        <a:pt x="709196" y="1094309"/>
                      </a:lnTo>
                      <a:lnTo>
                        <a:pt x="707314" y="1096204"/>
                      </a:lnTo>
                      <a:lnTo>
                        <a:pt x="706792" y="1096726"/>
                      </a:lnTo>
                      <a:lnTo>
                        <a:pt x="706415" y="1097357"/>
                      </a:lnTo>
                      <a:lnTo>
                        <a:pt x="706003" y="1098050"/>
                      </a:lnTo>
                      <a:lnTo>
                        <a:pt x="705675" y="1099009"/>
                      </a:lnTo>
                      <a:lnTo>
                        <a:pt x="705213" y="1100636"/>
                      </a:lnTo>
                      <a:lnTo>
                        <a:pt x="705007" y="1101328"/>
                      </a:lnTo>
                      <a:lnTo>
                        <a:pt x="704983" y="1102057"/>
                      </a:lnTo>
                      <a:lnTo>
                        <a:pt x="704922" y="1103611"/>
                      </a:lnTo>
                      <a:lnTo>
                        <a:pt x="704837" y="1105930"/>
                      </a:lnTo>
                      <a:lnTo>
                        <a:pt x="706330" y="1107715"/>
                      </a:lnTo>
                      <a:lnTo>
                        <a:pt x="707363" y="1108954"/>
                      </a:lnTo>
                      <a:lnTo>
                        <a:pt x="708152" y="1109913"/>
                      </a:lnTo>
                      <a:lnTo>
                        <a:pt x="709257" y="1110472"/>
                      </a:lnTo>
                      <a:lnTo>
                        <a:pt x="711431" y="1111589"/>
                      </a:lnTo>
                      <a:lnTo>
                        <a:pt x="712438" y="1112111"/>
                      </a:lnTo>
                      <a:lnTo>
                        <a:pt x="713568" y="1112232"/>
                      </a:lnTo>
                      <a:lnTo>
                        <a:pt x="718522" y="1112742"/>
                      </a:lnTo>
                      <a:lnTo>
                        <a:pt x="718911" y="1112779"/>
                      </a:lnTo>
                      <a:lnTo>
                        <a:pt x="719311" y="1112779"/>
                      </a:lnTo>
                      <a:lnTo>
                        <a:pt x="724581" y="1112633"/>
                      </a:lnTo>
                      <a:lnTo>
                        <a:pt x="724934" y="1112621"/>
                      </a:lnTo>
                      <a:lnTo>
                        <a:pt x="725298" y="1112572"/>
                      </a:lnTo>
                      <a:lnTo>
                        <a:pt x="726634" y="1112378"/>
                      </a:lnTo>
                      <a:lnTo>
                        <a:pt x="726998" y="1112330"/>
                      </a:lnTo>
                      <a:lnTo>
                        <a:pt x="727350" y="1112232"/>
                      </a:lnTo>
                      <a:lnTo>
                        <a:pt x="735498" y="1109998"/>
                      </a:lnTo>
                      <a:lnTo>
                        <a:pt x="736676" y="1111613"/>
                      </a:lnTo>
                      <a:lnTo>
                        <a:pt x="737246" y="1112402"/>
                      </a:lnTo>
                      <a:lnTo>
                        <a:pt x="738036" y="1112961"/>
                      </a:lnTo>
                      <a:lnTo>
                        <a:pt x="739469" y="1113993"/>
                      </a:lnTo>
                      <a:lnTo>
                        <a:pt x="740149" y="1114491"/>
                      </a:lnTo>
                      <a:lnTo>
                        <a:pt x="740926" y="1114770"/>
                      </a:lnTo>
                      <a:lnTo>
                        <a:pt x="743051" y="1115547"/>
                      </a:lnTo>
                      <a:lnTo>
                        <a:pt x="744083" y="1115936"/>
                      </a:lnTo>
                      <a:lnTo>
                        <a:pt x="745200" y="1115924"/>
                      </a:lnTo>
                      <a:lnTo>
                        <a:pt x="748309" y="1115900"/>
                      </a:lnTo>
                      <a:lnTo>
                        <a:pt x="748977" y="1115900"/>
                      </a:lnTo>
                      <a:lnTo>
                        <a:pt x="749632" y="1115742"/>
                      </a:lnTo>
                      <a:lnTo>
                        <a:pt x="751879" y="1115220"/>
                      </a:lnTo>
                      <a:lnTo>
                        <a:pt x="752304" y="1115122"/>
                      </a:lnTo>
                      <a:lnTo>
                        <a:pt x="752717" y="1114964"/>
                      </a:lnTo>
                      <a:lnTo>
                        <a:pt x="756044" y="1113665"/>
                      </a:lnTo>
                      <a:lnTo>
                        <a:pt x="757865" y="1114795"/>
                      </a:lnTo>
                      <a:lnTo>
                        <a:pt x="764544" y="1120769"/>
                      </a:lnTo>
                      <a:lnTo>
                        <a:pt x="765224" y="1121376"/>
                      </a:lnTo>
                      <a:lnTo>
                        <a:pt x="766050" y="1121752"/>
                      </a:lnTo>
                      <a:lnTo>
                        <a:pt x="771550" y="1124278"/>
                      </a:lnTo>
                      <a:lnTo>
                        <a:pt x="775837" y="1126245"/>
                      </a:lnTo>
                      <a:lnTo>
                        <a:pt x="778812" y="1122590"/>
                      </a:lnTo>
                      <a:lnTo>
                        <a:pt x="783560" y="1116750"/>
                      </a:lnTo>
                      <a:lnTo>
                        <a:pt x="783863" y="1116446"/>
                      </a:lnTo>
                      <a:lnTo>
                        <a:pt x="784276" y="1116361"/>
                      </a:lnTo>
                      <a:lnTo>
                        <a:pt x="787907" y="1116215"/>
                      </a:lnTo>
                      <a:lnTo>
                        <a:pt x="789048" y="1116167"/>
                      </a:lnTo>
                      <a:lnTo>
                        <a:pt x="790093" y="1115705"/>
                      </a:lnTo>
                      <a:lnTo>
                        <a:pt x="791015" y="1115304"/>
                      </a:lnTo>
                      <a:lnTo>
                        <a:pt x="791647" y="1115025"/>
                      </a:lnTo>
                      <a:lnTo>
                        <a:pt x="792193" y="1114612"/>
                      </a:lnTo>
                      <a:lnTo>
                        <a:pt x="793347" y="1113750"/>
                      </a:lnTo>
                      <a:lnTo>
                        <a:pt x="794853" y="1112633"/>
                      </a:lnTo>
                      <a:lnTo>
                        <a:pt x="795472" y="1110860"/>
                      </a:lnTo>
                      <a:lnTo>
                        <a:pt x="796042" y="1109221"/>
                      </a:lnTo>
                      <a:lnTo>
                        <a:pt x="796322" y="1108407"/>
                      </a:lnTo>
                      <a:lnTo>
                        <a:pt x="796370" y="1107545"/>
                      </a:lnTo>
                      <a:lnTo>
                        <a:pt x="796431" y="1106222"/>
                      </a:lnTo>
                      <a:lnTo>
                        <a:pt x="796468" y="1105469"/>
                      </a:lnTo>
                      <a:lnTo>
                        <a:pt x="796322" y="1104728"/>
                      </a:lnTo>
                      <a:lnTo>
                        <a:pt x="796030" y="1103259"/>
                      </a:lnTo>
                      <a:lnTo>
                        <a:pt x="795958" y="1102907"/>
                      </a:lnTo>
                      <a:lnTo>
                        <a:pt x="795848" y="1102567"/>
                      </a:lnTo>
                      <a:lnTo>
                        <a:pt x="795508" y="1101535"/>
                      </a:lnTo>
                      <a:lnTo>
                        <a:pt x="795399" y="1101219"/>
                      </a:lnTo>
                      <a:lnTo>
                        <a:pt x="795265" y="1100915"/>
                      </a:lnTo>
                      <a:lnTo>
                        <a:pt x="794525" y="1099300"/>
                      </a:lnTo>
                      <a:lnTo>
                        <a:pt x="794585" y="1099094"/>
                      </a:lnTo>
                      <a:lnTo>
                        <a:pt x="798678" y="1095002"/>
                      </a:lnTo>
                      <a:lnTo>
                        <a:pt x="798933" y="1094747"/>
                      </a:lnTo>
                      <a:lnTo>
                        <a:pt x="799151" y="1094467"/>
                      </a:lnTo>
                      <a:lnTo>
                        <a:pt x="802187" y="1090618"/>
                      </a:lnTo>
                      <a:lnTo>
                        <a:pt x="802430" y="1090327"/>
                      </a:lnTo>
                      <a:lnTo>
                        <a:pt x="802624" y="1089999"/>
                      </a:lnTo>
                      <a:lnTo>
                        <a:pt x="805101" y="1085894"/>
                      </a:lnTo>
                      <a:lnTo>
                        <a:pt x="805417" y="1085372"/>
                      </a:lnTo>
                      <a:lnTo>
                        <a:pt x="805623" y="1084802"/>
                      </a:lnTo>
                      <a:lnTo>
                        <a:pt x="806255" y="1083016"/>
                      </a:lnTo>
                      <a:lnTo>
                        <a:pt x="806388" y="1082628"/>
                      </a:lnTo>
                      <a:lnTo>
                        <a:pt x="806473" y="1082227"/>
                      </a:lnTo>
                      <a:lnTo>
                        <a:pt x="806753" y="1080904"/>
                      </a:lnTo>
                      <a:lnTo>
                        <a:pt x="806825" y="1080551"/>
                      </a:lnTo>
                      <a:lnTo>
                        <a:pt x="806850" y="1080187"/>
                      </a:lnTo>
                      <a:lnTo>
                        <a:pt x="807032" y="1078099"/>
                      </a:lnTo>
                      <a:lnTo>
                        <a:pt x="807056" y="1077734"/>
                      </a:lnTo>
                      <a:lnTo>
                        <a:pt x="807056" y="1077370"/>
                      </a:lnTo>
                      <a:lnTo>
                        <a:pt x="806983" y="1075269"/>
                      </a:lnTo>
                      <a:lnTo>
                        <a:pt x="806971" y="1074723"/>
                      </a:lnTo>
                      <a:lnTo>
                        <a:pt x="806850" y="1074188"/>
                      </a:lnTo>
                      <a:lnTo>
                        <a:pt x="806753" y="1073751"/>
                      </a:lnTo>
                      <a:lnTo>
                        <a:pt x="808428" y="1073751"/>
                      </a:lnTo>
                      <a:lnTo>
                        <a:pt x="809485" y="1073751"/>
                      </a:lnTo>
                      <a:lnTo>
                        <a:pt x="810481" y="1073387"/>
                      </a:lnTo>
                      <a:lnTo>
                        <a:pt x="812933" y="1072513"/>
                      </a:lnTo>
                      <a:lnTo>
                        <a:pt x="813443" y="1072416"/>
                      </a:lnTo>
                      <a:lnTo>
                        <a:pt x="814791" y="1072768"/>
                      </a:lnTo>
                      <a:lnTo>
                        <a:pt x="816758" y="1073569"/>
                      </a:lnTo>
                      <a:lnTo>
                        <a:pt x="818373" y="1074067"/>
                      </a:lnTo>
                      <a:lnTo>
                        <a:pt x="818155" y="1075172"/>
                      </a:lnTo>
                      <a:lnTo>
                        <a:pt x="817936" y="1076241"/>
                      </a:lnTo>
                      <a:lnTo>
                        <a:pt x="818106" y="1077322"/>
                      </a:lnTo>
                      <a:lnTo>
                        <a:pt x="818276" y="1078390"/>
                      </a:lnTo>
                      <a:lnTo>
                        <a:pt x="818556" y="1080151"/>
                      </a:lnTo>
                      <a:lnTo>
                        <a:pt x="819758" y="1081487"/>
                      </a:lnTo>
                      <a:lnTo>
                        <a:pt x="820498" y="1082312"/>
                      </a:lnTo>
                      <a:lnTo>
                        <a:pt x="821373" y="1083296"/>
                      </a:lnTo>
                      <a:lnTo>
                        <a:pt x="822587" y="1083818"/>
                      </a:lnTo>
                      <a:lnTo>
                        <a:pt x="824384" y="1084595"/>
                      </a:lnTo>
                      <a:lnTo>
                        <a:pt x="824906" y="1084826"/>
                      </a:lnTo>
                      <a:lnTo>
                        <a:pt x="825465" y="1084947"/>
                      </a:lnTo>
                      <a:lnTo>
                        <a:pt x="827760" y="1085469"/>
                      </a:lnTo>
                      <a:lnTo>
                        <a:pt x="828294" y="1085591"/>
                      </a:lnTo>
                      <a:lnTo>
                        <a:pt x="828829" y="1085615"/>
                      </a:lnTo>
                      <a:lnTo>
                        <a:pt x="833880" y="1085846"/>
                      </a:lnTo>
                      <a:lnTo>
                        <a:pt x="834402" y="1085870"/>
                      </a:lnTo>
                      <a:lnTo>
                        <a:pt x="834924" y="1085809"/>
                      </a:lnTo>
                      <a:lnTo>
                        <a:pt x="840024" y="1085154"/>
                      </a:lnTo>
                      <a:lnTo>
                        <a:pt x="840741" y="1085056"/>
                      </a:lnTo>
                      <a:lnTo>
                        <a:pt x="841409" y="1084802"/>
                      </a:lnTo>
                      <a:lnTo>
                        <a:pt x="843546" y="1083988"/>
                      </a:lnTo>
                      <a:lnTo>
                        <a:pt x="844347" y="1083684"/>
                      </a:lnTo>
                      <a:lnTo>
                        <a:pt x="845027" y="1083174"/>
                      </a:lnTo>
                      <a:lnTo>
                        <a:pt x="846630" y="1081972"/>
                      </a:lnTo>
                      <a:lnTo>
                        <a:pt x="848099" y="1080867"/>
                      </a:lnTo>
                      <a:lnTo>
                        <a:pt x="848719" y="1079143"/>
                      </a:lnTo>
                      <a:lnTo>
                        <a:pt x="849399" y="1077249"/>
                      </a:lnTo>
                      <a:lnTo>
                        <a:pt x="849909" y="1075804"/>
                      </a:lnTo>
                      <a:lnTo>
                        <a:pt x="849666" y="1074286"/>
                      </a:lnTo>
                      <a:lnTo>
                        <a:pt x="849447" y="1072901"/>
                      </a:lnTo>
                      <a:lnTo>
                        <a:pt x="849180" y="1071165"/>
                      </a:lnTo>
                      <a:lnTo>
                        <a:pt x="848026" y="1069841"/>
                      </a:lnTo>
                      <a:lnTo>
                        <a:pt x="847711" y="1069477"/>
                      </a:lnTo>
                      <a:lnTo>
                        <a:pt x="853892" y="1067680"/>
                      </a:lnTo>
                      <a:lnTo>
                        <a:pt x="854644" y="1068736"/>
                      </a:lnTo>
                      <a:lnTo>
                        <a:pt x="855300" y="1072926"/>
                      </a:lnTo>
                      <a:lnTo>
                        <a:pt x="855434" y="1073788"/>
                      </a:lnTo>
                      <a:lnTo>
                        <a:pt x="855810" y="1074577"/>
                      </a:lnTo>
                      <a:lnTo>
                        <a:pt x="856612" y="1076277"/>
                      </a:lnTo>
                      <a:lnTo>
                        <a:pt x="856891" y="1076872"/>
                      </a:lnTo>
                      <a:lnTo>
                        <a:pt x="857292" y="1077394"/>
                      </a:lnTo>
                      <a:lnTo>
                        <a:pt x="857753" y="1077989"/>
                      </a:lnTo>
                      <a:lnTo>
                        <a:pt x="857680" y="1078256"/>
                      </a:lnTo>
                      <a:lnTo>
                        <a:pt x="857401" y="1079301"/>
                      </a:lnTo>
                      <a:lnTo>
                        <a:pt x="857170" y="1080102"/>
                      </a:lnTo>
                      <a:lnTo>
                        <a:pt x="857170" y="1080928"/>
                      </a:lnTo>
                      <a:lnTo>
                        <a:pt x="857170" y="1082251"/>
                      </a:lnTo>
                      <a:lnTo>
                        <a:pt x="857170" y="1083867"/>
                      </a:lnTo>
                      <a:lnTo>
                        <a:pt x="857972" y="1085263"/>
                      </a:lnTo>
                      <a:lnTo>
                        <a:pt x="858773" y="1086659"/>
                      </a:lnTo>
                      <a:lnTo>
                        <a:pt x="859429" y="1087813"/>
                      </a:lnTo>
                      <a:lnTo>
                        <a:pt x="860497" y="1088578"/>
                      </a:lnTo>
                      <a:lnTo>
                        <a:pt x="861869" y="1089562"/>
                      </a:lnTo>
                      <a:lnTo>
                        <a:pt x="862841" y="1090254"/>
                      </a:lnTo>
                      <a:lnTo>
                        <a:pt x="863994" y="1090533"/>
                      </a:lnTo>
                      <a:lnTo>
                        <a:pt x="866702" y="1091189"/>
                      </a:lnTo>
                      <a:lnTo>
                        <a:pt x="867152" y="1091298"/>
                      </a:lnTo>
                      <a:lnTo>
                        <a:pt x="867613" y="1091334"/>
                      </a:lnTo>
                      <a:lnTo>
                        <a:pt x="871814" y="1091699"/>
                      </a:lnTo>
                      <a:lnTo>
                        <a:pt x="878894" y="1093532"/>
                      </a:lnTo>
                      <a:lnTo>
                        <a:pt x="879695" y="1093739"/>
                      </a:lnTo>
                      <a:lnTo>
                        <a:pt x="880521" y="1093727"/>
                      </a:lnTo>
                      <a:lnTo>
                        <a:pt x="884929" y="1093642"/>
                      </a:lnTo>
                      <a:lnTo>
                        <a:pt x="884965" y="1093860"/>
                      </a:lnTo>
                      <a:lnTo>
                        <a:pt x="885148" y="1095050"/>
                      </a:lnTo>
                      <a:lnTo>
                        <a:pt x="885767" y="1096070"/>
                      </a:lnTo>
                      <a:lnTo>
                        <a:pt x="886750" y="1097710"/>
                      </a:lnTo>
                      <a:lnTo>
                        <a:pt x="887430" y="1098827"/>
                      </a:lnTo>
                      <a:lnTo>
                        <a:pt x="888511" y="1099579"/>
                      </a:lnTo>
                      <a:lnTo>
                        <a:pt x="890005" y="1100612"/>
                      </a:lnTo>
                      <a:lnTo>
                        <a:pt x="890928" y="1101243"/>
                      </a:lnTo>
                      <a:lnTo>
                        <a:pt x="892008" y="1101510"/>
                      </a:lnTo>
                      <a:lnTo>
                        <a:pt x="895384" y="1102336"/>
                      </a:lnTo>
                      <a:lnTo>
                        <a:pt x="896125" y="1102518"/>
                      </a:lnTo>
                      <a:lnTo>
                        <a:pt x="896877" y="1102518"/>
                      </a:lnTo>
                      <a:lnTo>
                        <a:pt x="899367" y="1102494"/>
                      </a:lnTo>
                      <a:lnTo>
                        <a:pt x="900229" y="1102494"/>
                      </a:lnTo>
                      <a:lnTo>
                        <a:pt x="901055" y="1102239"/>
                      </a:lnTo>
                      <a:lnTo>
                        <a:pt x="903216" y="1101583"/>
                      </a:lnTo>
                      <a:lnTo>
                        <a:pt x="903835" y="1101401"/>
                      </a:lnTo>
                      <a:lnTo>
                        <a:pt x="904406" y="1101085"/>
                      </a:lnTo>
                      <a:lnTo>
                        <a:pt x="906908" y="1099701"/>
                      </a:lnTo>
                      <a:lnTo>
                        <a:pt x="907163" y="1099604"/>
                      </a:lnTo>
                      <a:lnTo>
                        <a:pt x="907988" y="1099507"/>
                      </a:lnTo>
                      <a:lnTo>
                        <a:pt x="908316" y="1099507"/>
                      </a:lnTo>
                      <a:lnTo>
                        <a:pt x="909348" y="1099737"/>
                      </a:lnTo>
                      <a:lnTo>
                        <a:pt x="909640" y="1099895"/>
                      </a:lnTo>
                      <a:lnTo>
                        <a:pt x="910599" y="1101049"/>
                      </a:lnTo>
                      <a:lnTo>
                        <a:pt x="910854" y="1101619"/>
                      </a:lnTo>
                      <a:lnTo>
                        <a:pt x="910854" y="1102287"/>
                      </a:lnTo>
                      <a:lnTo>
                        <a:pt x="911959" y="1104036"/>
                      </a:lnTo>
                      <a:lnTo>
                        <a:pt x="913562" y="1106440"/>
                      </a:lnTo>
                      <a:lnTo>
                        <a:pt x="913343" y="1106865"/>
                      </a:lnTo>
                      <a:lnTo>
                        <a:pt x="913125" y="1107266"/>
                      </a:lnTo>
                      <a:lnTo>
                        <a:pt x="912979" y="1107703"/>
                      </a:lnTo>
                      <a:lnTo>
                        <a:pt x="912530" y="1108990"/>
                      </a:lnTo>
                      <a:lnTo>
                        <a:pt x="912250" y="1109792"/>
                      </a:lnTo>
                      <a:lnTo>
                        <a:pt x="912202" y="1110630"/>
                      </a:lnTo>
                      <a:lnTo>
                        <a:pt x="912141" y="1111613"/>
                      </a:lnTo>
                      <a:lnTo>
                        <a:pt x="912068" y="1112803"/>
                      </a:lnTo>
                      <a:lnTo>
                        <a:pt x="912445" y="1113920"/>
                      </a:lnTo>
                      <a:lnTo>
                        <a:pt x="912833" y="1115086"/>
                      </a:lnTo>
                      <a:lnTo>
                        <a:pt x="913064" y="1115766"/>
                      </a:lnTo>
                      <a:lnTo>
                        <a:pt x="913453" y="1116373"/>
                      </a:lnTo>
                      <a:lnTo>
                        <a:pt x="914327" y="1117758"/>
                      </a:lnTo>
                      <a:lnTo>
                        <a:pt x="914594" y="1118182"/>
                      </a:lnTo>
                      <a:lnTo>
                        <a:pt x="914922" y="1118559"/>
                      </a:lnTo>
                      <a:lnTo>
                        <a:pt x="916416" y="1120247"/>
                      </a:lnTo>
                      <a:lnTo>
                        <a:pt x="916865" y="1120757"/>
                      </a:lnTo>
                      <a:lnTo>
                        <a:pt x="917411" y="1121145"/>
                      </a:lnTo>
                      <a:lnTo>
                        <a:pt x="931424" y="1131224"/>
                      </a:lnTo>
                      <a:lnTo>
                        <a:pt x="931849" y="1131527"/>
                      </a:lnTo>
                      <a:lnTo>
                        <a:pt x="932311" y="1131758"/>
                      </a:lnTo>
                      <a:lnTo>
                        <a:pt x="934776" y="1132960"/>
                      </a:lnTo>
                      <a:lnTo>
                        <a:pt x="935237" y="1133191"/>
                      </a:lnTo>
                      <a:lnTo>
                        <a:pt x="935723" y="1133337"/>
                      </a:lnTo>
                      <a:lnTo>
                        <a:pt x="937787" y="1133944"/>
                      </a:lnTo>
                      <a:lnTo>
                        <a:pt x="938309" y="1134102"/>
                      </a:lnTo>
                      <a:lnTo>
                        <a:pt x="938856" y="1134163"/>
                      </a:lnTo>
                      <a:lnTo>
                        <a:pt x="942535" y="1134563"/>
                      </a:lnTo>
                      <a:lnTo>
                        <a:pt x="942911" y="1134600"/>
                      </a:lnTo>
                      <a:lnTo>
                        <a:pt x="943300" y="1134600"/>
                      </a:lnTo>
                      <a:lnTo>
                        <a:pt x="947489" y="1134527"/>
                      </a:lnTo>
                      <a:lnTo>
                        <a:pt x="947817" y="1134551"/>
                      </a:lnTo>
                      <a:lnTo>
                        <a:pt x="950683" y="1135875"/>
                      </a:lnTo>
                      <a:lnTo>
                        <a:pt x="959256" y="1142590"/>
                      </a:lnTo>
                      <a:lnTo>
                        <a:pt x="959972" y="1143160"/>
                      </a:lnTo>
                      <a:lnTo>
                        <a:pt x="960834" y="1143488"/>
                      </a:lnTo>
                      <a:lnTo>
                        <a:pt x="963239" y="1144411"/>
                      </a:lnTo>
                      <a:lnTo>
                        <a:pt x="963749" y="1144606"/>
                      </a:lnTo>
                      <a:lnTo>
                        <a:pt x="964295" y="1144703"/>
                      </a:lnTo>
                      <a:lnTo>
                        <a:pt x="965036" y="1144836"/>
                      </a:lnTo>
                      <a:lnTo>
                        <a:pt x="965376" y="1144897"/>
                      </a:lnTo>
                      <a:lnTo>
                        <a:pt x="965716" y="1144921"/>
                      </a:lnTo>
                      <a:lnTo>
                        <a:pt x="967100" y="1145018"/>
                      </a:lnTo>
                      <a:lnTo>
                        <a:pt x="967962" y="1145079"/>
                      </a:lnTo>
                      <a:lnTo>
                        <a:pt x="968800" y="1144885"/>
                      </a:lnTo>
                      <a:lnTo>
                        <a:pt x="970294" y="1144569"/>
                      </a:lnTo>
                      <a:lnTo>
                        <a:pt x="970707" y="1144472"/>
                      </a:lnTo>
                      <a:lnTo>
                        <a:pt x="971095" y="1144326"/>
                      </a:lnTo>
                      <a:lnTo>
                        <a:pt x="972820" y="1143695"/>
                      </a:lnTo>
                      <a:lnTo>
                        <a:pt x="973123" y="1143586"/>
                      </a:lnTo>
                      <a:lnTo>
                        <a:pt x="973402" y="1143452"/>
                      </a:lnTo>
                      <a:lnTo>
                        <a:pt x="974944" y="1142699"/>
                      </a:lnTo>
                      <a:lnTo>
                        <a:pt x="975406" y="1142468"/>
                      </a:lnTo>
                      <a:lnTo>
                        <a:pt x="975819" y="1142165"/>
                      </a:lnTo>
                      <a:lnTo>
                        <a:pt x="976487" y="1141691"/>
                      </a:lnTo>
                      <a:lnTo>
                        <a:pt x="976280" y="1142092"/>
                      </a:lnTo>
                      <a:lnTo>
                        <a:pt x="975685" y="1143282"/>
                      </a:lnTo>
                      <a:lnTo>
                        <a:pt x="975637" y="1144606"/>
                      </a:lnTo>
                      <a:lnTo>
                        <a:pt x="975576" y="1146099"/>
                      </a:lnTo>
                      <a:lnTo>
                        <a:pt x="975515" y="1147556"/>
                      </a:lnTo>
                      <a:lnTo>
                        <a:pt x="976122" y="1148880"/>
                      </a:lnTo>
                      <a:lnTo>
                        <a:pt x="976705" y="1150143"/>
                      </a:lnTo>
                      <a:lnTo>
                        <a:pt x="977385" y="1151624"/>
                      </a:lnTo>
                      <a:lnTo>
                        <a:pt x="978721" y="1152571"/>
                      </a:lnTo>
                      <a:lnTo>
                        <a:pt x="980724" y="1153980"/>
                      </a:lnTo>
                      <a:lnTo>
                        <a:pt x="981902" y="1154806"/>
                      </a:lnTo>
                      <a:lnTo>
                        <a:pt x="983323" y="1155024"/>
                      </a:lnTo>
                      <a:lnTo>
                        <a:pt x="984707" y="1155231"/>
                      </a:lnTo>
                      <a:lnTo>
                        <a:pt x="986213" y="1155461"/>
                      </a:lnTo>
                      <a:lnTo>
                        <a:pt x="986614" y="1155315"/>
                      </a:lnTo>
                      <a:lnTo>
                        <a:pt x="986602" y="1155498"/>
                      </a:lnTo>
                      <a:lnTo>
                        <a:pt x="986541" y="1156323"/>
                      </a:lnTo>
                      <a:lnTo>
                        <a:pt x="986699" y="1157137"/>
                      </a:lnTo>
                      <a:lnTo>
                        <a:pt x="986978" y="1158546"/>
                      </a:lnTo>
                      <a:lnTo>
                        <a:pt x="987172" y="1159493"/>
                      </a:lnTo>
                      <a:lnTo>
                        <a:pt x="987646" y="1160331"/>
                      </a:lnTo>
                      <a:lnTo>
                        <a:pt x="988168" y="1161254"/>
                      </a:lnTo>
                      <a:lnTo>
                        <a:pt x="988848" y="1162468"/>
                      </a:lnTo>
                      <a:lnTo>
                        <a:pt x="989989" y="1163257"/>
                      </a:lnTo>
                      <a:lnTo>
                        <a:pt x="991544" y="1164338"/>
                      </a:lnTo>
                      <a:lnTo>
                        <a:pt x="992552" y="1165030"/>
                      </a:lnTo>
                      <a:lnTo>
                        <a:pt x="993742" y="1165285"/>
                      </a:lnTo>
                      <a:lnTo>
                        <a:pt x="994604" y="1165467"/>
                      </a:lnTo>
                      <a:lnTo>
                        <a:pt x="995612" y="1165686"/>
                      </a:lnTo>
                      <a:lnTo>
                        <a:pt x="996632" y="1165552"/>
                      </a:lnTo>
                      <a:lnTo>
                        <a:pt x="997117" y="1165491"/>
                      </a:lnTo>
                      <a:lnTo>
                        <a:pt x="995891" y="1168017"/>
                      </a:lnTo>
                      <a:lnTo>
                        <a:pt x="994980" y="1169353"/>
                      </a:lnTo>
                      <a:lnTo>
                        <a:pt x="992661" y="1172765"/>
                      </a:lnTo>
                      <a:lnTo>
                        <a:pt x="994980" y="1176177"/>
                      </a:lnTo>
                      <a:lnTo>
                        <a:pt x="995794" y="1177379"/>
                      </a:lnTo>
                      <a:lnTo>
                        <a:pt x="997822" y="1180366"/>
                      </a:lnTo>
                      <a:lnTo>
                        <a:pt x="1001416" y="1180014"/>
                      </a:lnTo>
                      <a:lnTo>
                        <a:pt x="1010098" y="1179152"/>
                      </a:lnTo>
                      <a:lnTo>
                        <a:pt x="1016607" y="1179954"/>
                      </a:lnTo>
                      <a:lnTo>
                        <a:pt x="1017724" y="1180099"/>
                      </a:lnTo>
                      <a:lnTo>
                        <a:pt x="1018817" y="1179832"/>
                      </a:lnTo>
                      <a:lnTo>
                        <a:pt x="1021525" y="1179152"/>
                      </a:lnTo>
                      <a:lnTo>
                        <a:pt x="1022982" y="1178788"/>
                      </a:lnTo>
                      <a:lnTo>
                        <a:pt x="1024111" y="1177780"/>
                      </a:lnTo>
                      <a:lnTo>
                        <a:pt x="1026746" y="1175424"/>
                      </a:lnTo>
                      <a:lnTo>
                        <a:pt x="1027997" y="1174307"/>
                      </a:lnTo>
                      <a:lnTo>
                        <a:pt x="1028495" y="1172704"/>
                      </a:lnTo>
                      <a:lnTo>
                        <a:pt x="1029187" y="1170458"/>
                      </a:lnTo>
                      <a:lnTo>
                        <a:pt x="1029442" y="1169656"/>
                      </a:lnTo>
                      <a:lnTo>
                        <a:pt x="1029466" y="1168831"/>
                      </a:lnTo>
                      <a:lnTo>
                        <a:pt x="1029515" y="1167082"/>
                      </a:lnTo>
                      <a:lnTo>
                        <a:pt x="1029527" y="1166366"/>
                      </a:lnTo>
                      <a:lnTo>
                        <a:pt x="1029381" y="1165661"/>
                      </a:lnTo>
                      <a:lnTo>
                        <a:pt x="1028798" y="1162856"/>
                      </a:lnTo>
                      <a:lnTo>
                        <a:pt x="1028786" y="1162638"/>
                      </a:lnTo>
                      <a:lnTo>
                        <a:pt x="1044268" y="1167811"/>
                      </a:lnTo>
                      <a:lnTo>
                        <a:pt x="1044924" y="1168029"/>
                      </a:lnTo>
                      <a:lnTo>
                        <a:pt x="1045616" y="1168090"/>
                      </a:lnTo>
                      <a:lnTo>
                        <a:pt x="1054287" y="1168928"/>
                      </a:lnTo>
                      <a:lnTo>
                        <a:pt x="1054796" y="1168976"/>
                      </a:lnTo>
                      <a:lnTo>
                        <a:pt x="1055319" y="1168940"/>
                      </a:lnTo>
                      <a:lnTo>
                        <a:pt x="1058367" y="1168709"/>
                      </a:lnTo>
                      <a:lnTo>
                        <a:pt x="1058901" y="1168673"/>
                      </a:lnTo>
                      <a:lnTo>
                        <a:pt x="1059411" y="1168539"/>
                      </a:lnTo>
                      <a:lnTo>
                        <a:pt x="1061754" y="1167932"/>
                      </a:lnTo>
                      <a:lnTo>
                        <a:pt x="1062228" y="1167811"/>
                      </a:lnTo>
                      <a:lnTo>
                        <a:pt x="1062665" y="1167616"/>
                      </a:lnTo>
                      <a:lnTo>
                        <a:pt x="1071372" y="1163840"/>
                      </a:lnTo>
                      <a:lnTo>
                        <a:pt x="1071372" y="1163852"/>
                      </a:lnTo>
                      <a:lnTo>
                        <a:pt x="1071602" y="1165285"/>
                      </a:lnTo>
                      <a:lnTo>
                        <a:pt x="1071906" y="1167155"/>
                      </a:lnTo>
                      <a:lnTo>
                        <a:pt x="1073217" y="1168527"/>
                      </a:lnTo>
                      <a:lnTo>
                        <a:pt x="1074541" y="1169899"/>
                      </a:lnTo>
                      <a:lnTo>
                        <a:pt x="1075707" y="1171114"/>
                      </a:lnTo>
                      <a:lnTo>
                        <a:pt x="1077334" y="1171551"/>
                      </a:lnTo>
                      <a:lnTo>
                        <a:pt x="1078876" y="1171963"/>
                      </a:lnTo>
                      <a:lnTo>
                        <a:pt x="1079483" y="1172134"/>
                      </a:lnTo>
                      <a:lnTo>
                        <a:pt x="1080115" y="1172158"/>
                      </a:lnTo>
                      <a:lnTo>
                        <a:pt x="1084462" y="1172401"/>
                      </a:lnTo>
                      <a:lnTo>
                        <a:pt x="1085348" y="1176153"/>
                      </a:lnTo>
                      <a:lnTo>
                        <a:pt x="1085482" y="1176723"/>
                      </a:lnTo>
                      <a:lnTo>
                        <a:pt x="1085724" y="1177246"/>
                      </a:lnTo>
                      <a:lnTo>
                        <a:pt x="1086744" y="1179504"/>
                      </a:lnTo>
                      <a:lnTo>
                        <a:pt x="1086951" y="1179978"/>
                      </a:lnTo>
                      <a:lnTo>
                        <a:pt x="1087242" y="1180403"/>
                      </a:lnTo>
                      <a:lnTo>
                        <a:pt x="1087777" y="1181204"/>
                      </a:lnTo>
                      <a:lnTo>
                        <a:pt x="1086975" y="1180925"/>
                      </a:lnTo>
                      <a:lnTo>
                        <a:pt x="1085785" y="1180512"/>
                      </a:lnTo>
                      <a:lnTo>
                        <a:pt x="1084522" y="1180609"/>
                      </a:lnTo>
                      <a:lnTo>
                        <a:pt x="1083442" y="1180694"/>
                      </a:lnTo>
                      <a:lnTo>
                        <a:pt x="1082155" y="1180791"/>
                      </a:lnTo>
                      <a:lnTo>
                        <a:pt x="1081013" y="1181411"/>
                      </a:lnTo>
                      <a:lnTo>
                        <a:pt x="1080030" y="1181945"/>
                      </a:lnTo>
                      <a:lnTo>
                        <a:pt x="1079119" y="1182443"/>
                      </a:lnTo>
                      <a:lnTo>
                        <a:pt x="1078427" y="1183208"/>
                      </a:lnTo>
                      <a:lnTo>
                        <a:pt x="1077455" y="1184276"/>
                      </a:lnTo>
                      <a:lnTo>
                        <a:pt x="1077055" y="1184726"/>
                      </a:lnTo>
                      <a:lnTo>
                        <a:pt x="1076751" y="1185236"/>
                      </a:lnTo>
                      <a:lnTo>
                        <a:pt x="1075767" y="1186875"/>
                      </a:lnTo>
                      <a:lnTo>
                        <a:pt x="1075014" y="1188138"/>
                      </a:lnTo>
                      <a:lnTo>
                        <a:pt x="1074929" y="1189619"/>
                      </a:lnTo>
                      <a:lnTo>
                        <a:pt x="1074820" y="1191453"/>
                      </a:lnTo>
                      <a:lnTo>
                        <a:pt x="1074796" y="1191927"/>
                      </a:lnTo>
                      <a:lnTo>
                        <a:pt x="1074832" y="1192388"/>
                      </a:lnTo>
                      <a:lnTo>
                        <a:pt x="1075112" y="1195411"/>
                      </a:lnTo>
                      <a:lnTo>
                        <a:pt x="1075184" y="1196189"/>
                      </a:lnTo>
                      <a:lnTo>
                        <a:pt x="1075452" y="1196929"/>
                      </a:lnTo>
                      <a:lnTo>
                        <a:pt x="1076544" y="1199941"/>
                      </a:lnTo>
                      <a:lnTo>
                        <a:pt x="1076472" y="1202345"/>
                      </a:lnTo>
                      <a:lnTo>
                        <a:pt x="1074747" y="1210967"/>
                      </a:lnTo>
                      <a:lnTo>
                        <a:pt x="1074638" y="1211489"/>
                      </a:lnTo>
                      <a:lnTo>
                        <a:pt x="1074626" y="1212023"/>
                      </a:lnTo>
                      <a:lnTo>
                        <a:pt x="1074565" y="1214610"/>
                      </a:lnTo>
                      <a:lnTo>
                        <a:pt x="1074553" y="1215253"/>
                      </a:lnTo>
                      <a:lnTo>
                        <a:pt x="1074674" y="1215885"/>
                      </a:lnTo>
                      <a:lnTo>
                        <a:pt x="1074966" y="1217415"/>
                      </a:lnTo>
                      <a:lnTo>
                        <a:pt x="1075282" y="1219090"/>
                      </a:lnTo>
                      <a:lnTo>
                        <a:pt x="1076423" y="1220353"/>
                      </a:lnTo>
                      <a:lnTo>
                        <a:pt x="1077455" y="1221495"/>
                      </a:lnTo>
                      <a:lnTo>
                        <a:pt x="1078342" y="1222466"/>
                      </a:lnTo>
                      <a:lnTo>
                        <a:pt x="1079556" y="1222988"/>
                      </a:lnTo>
                      <a:lnTo>
                        <a:pt x="1080964" y="1223595"/>
                      </a:lnTo>
                      <a:lnTo>
                        <a:pt x="1080964" y="1223632"/>
                      </a:lnTo>
                      <a:lnTo>
                        <a:pt x="1080612" y="1233370"/>
                      </a:lnTo>
                      <a:lnTo>
                        <a:pt x="1080260" y="1235058"/>
                      </a:lnTo>
                      <a:lnTo>
                        <a:pt x="1079726" y="1236698"/>
                      </a:lnTo>
                      <a:lnTo>
                        <a:pt x="1076982" y="1241494"/>
                      </a:lnTo>
                      <a:lnTo>
                        <a:pt x="1076375" y="1242550"/>
                      </a:lnTo>
                      <a:lnTo>
                        <a:pt x="1076229" y="1243777"/>
                      </a:lnTo>
                      <a:lnTo>
                        <a:pt x="1074893" y="1254669"/>
                      </a:lnTo>
                      <a:lnTo>
                        <a:pt x="1074577" y="1255058"/>
                      </a:lnTo>
                      <a:lnTo>
                        <a:pt x="1074347" y="1255191"/>
                      </a:lnTo>
                      <a:lnTo>
                        <a:pt x="1071845" y="1255410"/>
                      </a:lnTo>
                      <a:lnTo>
                        <a:pt x="1071456" y="1255434"/>
                      </a:lnTo>
                      <a:lnTo>
                        <a:pt x="1071080" y="1255519"/>
                      </a:lnTo>
                      <a:lnTo>
                        <a:pt x="1069587" y="1255835"/>
                      </a:lnTo>
                      <a:lnTo>
                        <a:pt x="1068202" y="1256126"/>
                      </a:lnTo>
                      <a:lnTo>
                        <a:pt x="1067085" y="1257013"/>
                      </a:lnTo>
                      <a:lnTo>
                        <a:pt x="1066053" y="1257838"/>
                      </a:lnTo>
                      <a:lnTo>
                        <a:pt x="1064219" y="1259295"/>
                      </a:lnTo>
                      <a:lnTo>
                        <a:pt x="1063843" y="1261603"/>
                      </a:lnTo>
                      <a:lnTo>
                        <a:pt x="1063624" y="1262890"/>
                      </a:lnTo>
                      <a:lnTo>
                        <a:pt x="1063357" y="1264517"/>
                      </a:lnTo>
                      <a:lnTo>
                        <a:pt x="1063940" y="1266047"/>
                      </a:lnTo>
                      <a:lnTo>
                        <a:pt x="1064972" y="1268755"/>
                      </a:lnTo>
                      <a:lnTo>
                        <a:pt x="1065215" y="1269374"/>
                      </a:lnTo>
                      <a:lnTo>
                        <a:pt x="1065579" y="1269933"/>
                      </a:lnTo>
                      <a:lnTo>
                        <a:pt x="1067012" y="1272106"/>
                      </a:lnTo>
                      <a:lnTo>
                        <a:pt x="1067267" y="1272495"/>
                      </a:lnTo>
                      <a:lnTo>
                        <a:pt x="1067571" y="1272835"/>
                      </a:lnTo>
                      <a:lnTo>
                        <a:pt x="1070036" y="1275567"/>
                      </a:lnTo>
                      <a:lnTo>
                        <a:pt x="1070376" y="1275943"/>
                      </a:lnTo>
                      <a:lnTo>
                        <a:pt x="1070776" y="1276259"/>
                      </a:lnTo>
                      <a:lnTo>
                        <a:pt x="1074116" y="1278906"/>
                      </a:lnTo>
                      <a:lnTo>
                        <a:pt x="1075719" y="1279975"/>
                      </a:lnTo>
                      <a:lnTo>
                        <a:pt x="1075719" y="1280109"/>
                      </a:lnTo>
                      <a:lnTo>
                        <a:pt x="1075257" y="1281517"/>
                      </a:lnTo>
                      <a:lnTo>
                        <a:pt x="1075148" y="1281845"/>
                      </a:lnTo>
                      <a:lnTo>
                        <a:pt x="1075087" y="1282185"/>
                      </a:lnTo>
                      <a:lnTo>
                        <a:pt x="1074699" y="1284103"/>
                      </a:lnTo>
                      <a:lnTo>
                        <a:pt x="1074419" y="1285476"/>
                      </a:lnTo>
                      <a:lnTo>
                        <a:pt x="1074772" y="1286836"/>
                      </a:lnTo>
                      <a:lnTo>
                        <a:pt x="1075112" y="1288159"/>
                      </a:lnTo>
                      <a:lnTo>
                        <a:pt x="1075719" y="1290479"/>
                      </a:lnTo>
                      <a:lnTo>
                        <a:pt x="1077747" y="1291754"/>
                      </a:lnTo>
                      <a:lnTo>
                        <a:pt x="1079010" y="1292555"/>
                      </a:lnTo>
                      <a:lnTo>
                        <a:pt x="1079289" y="1292737"/>
                      </a:lnTo>
                      <a:lnTo>
                        <a:pt x="1079592" y="1292883"/>
                      </a:lnTo>
                      <a:lnTo>
                        <a:pt x="1080357" y="1293259"/>
                      </a:lnTo>
                      <a:lnTo>
                        <a:pt x="1083041" y="1295579"/>
                      </a:lnTo>
                      <a:lnTo>
                        <a:pt x="1088469" y="1303435"/>
                      </a:lnTo>
                      <a:lnTo>
                        <a:pt x="1089768" y="1305317"/>
                      </a:lnTo>
                      <a:lnTo>
                        <a:pt x="1091990" y="1305864"/>
                      </a:lnTo>
                      <a:lnTo>
                        <a:pt x="1097710" y="1307297"/>
                      </a:lnTo>
                      <a:lnTo>
                        <a:pt x="1106792" y="1315651"/>
                      </a:lnTo>
                      <a:lnTo>
                        <a:pt x="1107157" y="1315979"/>
                      </a:lnTo>
                      <a:lnTo>
                        <a:pt x="1107570" y="1316246"/>
                      </a:lnTo>
                      <a:lnTo>
                        <a:pt x="1111018" y="1318517"/>
                      </a:lnTo>
                      <a:lnTo>
                        <a:pt x="1111407" y="1318772"/>
                      </a:lnTo>
                      <a:lnTo>
                        <a:pt x="1111832" y="1318966"/>
                      </a:lnTo>
                      <a:lnTo>
                        <a:pt x="1116386" y="1321054"/>
                      </a:lnTo>
                      <a:lnTo>
                        <a:pt x="1116932" y="1321310"/>
                      </a:lnTo>
                      <a:lnTo>
                        <a:pt x="1117515" y="1321443"/>
                      </a:lnTo>
                      <a:lnTo>
                        <a:pt x="1122724" y="1322682"/>
                      </a:lnTo>
                      <a:lnTo>
                        <a:pt x="1123331" y="1322827"/>
                      </a:lnTo>
                      <a:lnTo>
                        <a:pt x="1123951" y="1322839"/>
                      </a:lnTo>
                      <a:lnTo>
                        <a:pt x="1126027" y="1322900"/>
                      </a:lnTo>
                      <a:lnTo>
                        <a:pt x="1126549" y="1322912"/>
                      </a:lnTo>
                      <a:lnTo>
                        <a:pt x="1127059" y="1322839"/>
                      </a:lnTo>
                      <a:lnTo>
                        <a:pt x="1132123" y="1322111"/>
                      </a:lnTo>
                      <a:lnTo>
                        <a:pt x="1138121" y="1322245"/>
                      </a:lnTo>
                      <a:lnTo>
                        <a:pt x="1146634" y="1323374"/>
                      </a:lnTo>
                      <a:lnTo>
                        <a:pt x="1147289" y="1323459"/>
                      </a:lnTo>
                      <a:lnTo>
                        <a:pt x="1147945" y="1323398"/>
                      </a:lnTo>
                      <a:lnTo>
                        <a:pt x="1150811" y="1323155"/>
                      </a:lnTo>
                      <a:lnTo>
                        <a:pt x="1151284" y="1323119"/>
                      </a:lnTo>
                      <a:lnTo>
                        <a:pt x="1151746" y="1322997"/>
                      </a:lnTo>
                      <a:lnTo>
                        <a:pt x="1154053" y="1322427"/>
                      </a:lnTo>
                      <a:lnTo>
                        <a:pt x="1154575" y="1322293"/>
                      </a:lnTo>
                      <a:lnTo>
                        <a:pt x="1155073" y="1322074"/>
                      </a:lnTo>
                      <a:lnTo>
                        <a:pt x="1160646" y="1319585"/>
                      </a:lnTo>
                      <a:lnTo>
                        <a:pt x="1161569" y="1319294"/>
                      </a:lnTo>
                      <a:lnTo>
                        <a:pt x="1166475" y="1318262"/>
                      </a:lnTo>
                      <a:lnTo>
                        <a:pt x="1166888" y="1318177"/>
                      </a:lnTo>
                      <a:lnTo>
                        <a:pt x="1167289" y="1318031"/>
                      </a:lnTo>
                      <a:lnTo>
                        <a:pt x="1171539" y="1316501"/>
                      </a:lnTo>
                      <a:lnTo>
                        <a:pt x="1172109" y="1316294"/>
                      </a:lnTo>
                      <a:lnTo>
                        <a:pt x="1172619" y="1315979"/>
                      </a:lnTo>
                      <a:lnTo>
                        <a:pt x="1174222" y="1315007"/>
                      </a:lnTo>
                      <a:lnTo>
                        <a:pt x="1174647" y="1314752"/>
                      </a:lnTo>
                      <a:lnTo>
                        <a:pt x="1175024" y="1314437"/>
                      </a:lnTo>
                      <a:lnTo>
                        <a:pt x="1176238" y="1313405"/>
                      </a:lnTo>
                      <a:lnTo>
                        <a:pt x="1176590" y="1313101"/>
                      </a:lnTo>
                      <a:lnTo>
                        <a:pt x="1176894" y="1312749"/>
                      </a:lnTo>
                      <a:lnTo>
                        <a:pt x="1178108" y="1311340"/>
                      </a:lnTo>
                      <a:lnTo>
                        <a:pt x="1178424" y="1310964"/>
                      </a:lnTo>
                      <a:lnTo>
                        <a:pt x="1178679" y="1310539"/>
                      </a:lnTo>
                      <a:lnTo>
                        <a:pt x="1182637" y="1304054"/>
                      </a:lnTo>
                      <a:lnTo>
                        <a:pt x="1182807" y="1303787"/>
                      </a:lnTo>
                      <a:lnTo>
                        <a:pt x="1182941" y="1303508"/>
                      </a:lnTo>
                      <a:lnTo>
                        <a:pt x="1183512" y="1302306"/>
                      </a:lnTo>
                      <a:lnTo>
                        <a:pt x="1183827" y="1301638"/>
                      </a:lnTo>
                      <a:lnTo>
                        <a:pt x="1183973" y="1300909"/>
                      </a:lnTo>
                      <a:lnTo>
                        <a:pt x="1184204" y="1299780"/>
                      </a:lnTo>
                      <a:lnTo>
                        <a:pt x="1184289" y="1299355"/>
                      </a:lnTo>
                      <a:lnTo>
                        <a:pt x="1184313" y="1298930"/>
                      </a:lnTo>
                      <a:lnTo>
                        <a:pt x="1184604" y="1294073"/>
                      </a:lnTo>
                      <a:lnTo>
                        <a:pt x="1184932" y="1293114"/>
                      </a:lnTo>
                      <a:lnTo>
                        <a:pt x="1185357" y="1292555"/>
                      </a:lnTo>
                      <a:lnTo>
                        <a:pt x="1190482" y="1289495"/>
                      </a:lnTo>
                      <a:lnTo>
                        <a:pt x="1190979" y="1289203"/>
                      </a:lnTo>
                      <a:lnTo>
                        <a:pt x="1191404" y="1288815"/>
                      </a:lnTo>
                      <a:lnTo>
                        <a:pt x="1192898" y="1287491"/>
                      </a:lnTo>
                      <a:lnTo>
                        <a:pt x="1193712" y="1286775"/>
                      </a:lnTo>
                      <a:lnTo>
                        <a:pt x="1194222" y="1285816"/>
                      </a:lnTo>
                      <a:lnTo>
                        <a:pt x="1195205" y="1283970"/>
                      </a:lnTo>
                      <a:lnTo>
                        <a:pt x="1195436" y="1283545"/>
                      </a:lnTo>
                      <a:lnTo>
                        <a:pt x="1195594" y="1283083"/>
                      </a:lnTo>
                      <a:lnTo>
                        <a:pt x="1197464" y="1277643"/>
                      </a:lnTo>
                      <a:lnTo>
                        <a:pt x="1199079" y="1275130"/>
                      </a:lnTo>
                      <a:lnTo>
                        <a:pt x="1199431" y="1274596"/>
                      </a:lnTo>
                      <a:lnTo>
                        <a:pt x="1199662" y="1273989"/>
                      </a:lnTo>
                      <a:lnTo>
                        <a:pt x="1203912" y="1262695"/>
                      </a:lnTo>
                      <a:lnTo>
                        <a:pt x="1204992" y="1260534"/>
                      </a:lnTo>
                      <a:lnTo>
                        <a:pt x="1207032" y="1257207"/>
                      </a:lnTo>
                      <a:lnTo>
                        <a:pt x="1211768" y="1251973"/>
                      </a:lnTo>
                      <a:lnTo>
                        <a:pt x="1212254" y="1251439"/>
                      </a:lnTo>
                      <a:lnTo>
                        <a:pt x="1212594" y="1250808"/>
                      </a:lnTo>
                      <a:lnTo>
                        <a:pt x="1213395" y="1249338"/>
                      </a:lnTo>
                      <a:lnTo>
                        <a:pt x="1213614" y="1248938"/>
                      </a:lnTo>
                      <a:lnTo>
                        <a:pt x="1213772" y="1248513"/>
                      </a:lnTo>
                      <a:lnTo>
                        <a:pt x="1214403" y="1246788"/>
                      </a:lnTo>
                      <a:lnTo>
                        <a:pt x="1214743" y="1245865"/>
                      </a:lnTo>
                      <a:lnTo>
                        <a:pt x="1214767" y="1244882"/>
                      </a:lnTo>
                      <a:lnTo>
                        <a:pt x="1214828" y="1242453"/>
                      </a:lnTo>
                      <a:lnTo>
                        <a:pt x="1214780" y="1240947"/>
                      </a:lnTo>
                      <a:lnTo>
                        <a:pt x="1214804" y="1240656"/>
                      </a:lnTo>
                      <a:lnTo>
                        <a:pt x="1214877" y="1240486"/>
                      </a:lnTo>
                      <a:lnTo>
                        <a:pt x="1219406" y="1234670"/>
                      </a:lnTo>
                      <a:lnTo>
                        <a:pt x="1219685" y="1234305"/>
                      </a:lnTo>
                      <a:lnTo>
                        <a:pt x="1219916" y="1233893"/>
                      </a:lnTo>
                      <a:lnTo>
                        <a:pt x="1220778" y="1232338"/>
                      </a:lnTo>
                      <a:lnTo>
                        <a:pt x="1221094" y="1231767"/>
                      </a:lnTo>
                      <a:lnTo>
                        <a:pt x="1221276" y="1231136"/>
                      </a:lnTo>
                      <a:lnTo>
                        <a:pt x="1221738" y="1229582"/>
                      </a:lnTo>
                      <a:lnTo>
                        <a:pt x="1222126" y="1228282"/>
                      </a:lnTo>
                      <a:lnTo>
                        <a:pt x="1221920" y="1226947"/>
                      </a:lnTo>
                      <a:lnTo>
                        <a:pt x="1221640" y="1225028"/>
                      </a:lnTo>
                      <a:lnTo>
                        <a:pt x="1221543" y="1224409"/>
                      </a:lnTo>
                      <a:lnTo>
                        <a:pt x="1221325" y="1223826"/>
                      </a:lnTo>
                      <a:lnTo>
                        <a:pt x="1220645" y="1221992"/>
                      </a:lnTo>
                      <a:lnTo>
                        <a:pt x="1220390" y="1221312"/>
                      </a:lnTo>
                      <a:lnTo>
                        <a:pt x="1219977" y="1220705"/>
                      </a:lnTo>
                      <a:lnTo>
                        <a:pt x="1217609" y="1217208"/>
                      </a:lnTo>
                      <a:lnTo>
                        <a:pt x="1217403" y="1216905"/>
                      </a:lnTo>
                      <a:lnTo>
                        <a:pt x="1217160" y="1216637"/>
                      </a:lnTo>
                      <a:lnTo>
                        <a:pt x="1214464" y="1213529"/>
                      </a:lnTo>
                      <a:lnTo>
                        <a:pt x="1213735" y="1212509"/>
                      </a:lnTo>
                      <a:lnTo>
                        <a:pt x="1212873" y="1210991"/>
                      </a:lnTo>
                      <a:lnTo>
                        <a:pt x="1211161" y="1206874"/>
                      </a:lnTo>
                      <a:lnTo>
                        <a:pt x="1210870" y="1205757"/>
                      </a:lnTo>
                      <a:lnTo>
                        <a:pt x="1210809" y="1205187"/>
                      </a:lnTo>
                      <a:lnTo>
                        <a:pt x="1210821" y="1204677"/>
                      </a:lnTo>
                      <a:lnTo>
                        <a:pt x="1210845" y="1204531"/>
                      </a:lnTo>
                      <a:lnTo>
                        <a:pt x="1210845" y="1204519"/>
                      </a:lnTo>
                      <a:lnTo>
                        <a:pt x="1213213" y="1202892"/>
                      </a:lnTo>
                      <a:lnTo>
                        <a:pt x="1214743" y="1202042"/>
                      </a:lnTo>
                      <a:lnTo>
                        <a:pt x="1229521" y="1200439"/>
                      </a:lnTo>
                      <a:lnTo>
                        <a:pt x="1234621" y="1199892"/>
                      </a:lnTo>
                      <a:lnTo>
                        <a:pt x="1234925" y="1194768"/>
                      </a:lnTo>
                      <a:lnTo>
                        <a:pt x="1235265" y="1189024"/>
                      </a:lnTo>
                      <a:lnTo>
                        <a:pt x="1235301" y="1188442"/>
                      </a:lnTo>
                      <a:lnTo>
                        <a:pt x="1235228" y="1187859"/>
                      </a:lnTo>
                      <a:lnTo>
                        <a:pt x="1234403" y="1181751"/>
                      </a:lnTo>
                      <a:lnTo>
                        <a:pt x="1234718" y="1178156"/>
                      </a:lnTo>
                      <a:lnTo>
                        <a:pt x="1235204" y="1175946"/>
                      </a:lnTo>
                      <a:lnTo>
                        <a:pt x="1235483" y="1174659"/>
                      </a:lnTo>
                      <a:lnTo>
                        <a:pt x="1235204" y="1173372"/>
                      </a:lnTo>
                      <a:lnTo>
                        <a:pt x="1234803" y="1171490"/>
                      </a:lnTo>
                      <a:lnTo>
                        <a:pt x="1234670" y="1170846"/>
                      </a:lnTo>
                      <a:lnTo>
                        <a:pt x="1234403" y="1170251"/>
                      </a:lnTo>
                      <a:lnTo>
                        <a:pt x="1232933" y="1167034"/>
                      </a:lnTo>
                      <a:lnTo>
                        <a:pt x="1235459" y="1163002"/>
                      </a:lnTo>
                      <a:lnTo>
                        <a:pt x="1236224" y="1161763"/>
                      </a:lnTo>
                      <a:lnTo>
                        <a:pt x="1236358" y="1160318"/>
                      </a:lnTo>
                      <a:lnTo>
                        <a:pt x="1236540" y="1158278"/>
                      </a:lnTo>
                      <a:lnTo>
                        <a:pt x="1236601" y="1157586"/>
                      </a:lnTo>
                      <a:lnTo>
                        <a:pt x="1236503" y="1156906"/>
                      </a:lnTo>
                      <a:lnTo>
                        <a:pt x="1236163" y="1154405"/>
                      </a:lnTo>
                      <a:lnTo>
                        <a:pt x="1236103" y="1153919"/>
                      </a:lnTo>
                      <a:lnTo>
                        <a:pt x="1235969" y="1153458"/>
                      </a:lnTo>
                      <a:lnTo>
                        <a:pt x="1234755" y="1149475"/>
                      </a:lnTo>
                      <a:lnTo>
                        <a:pt x="1234548" y="1148819"/>
                      </a:lnTo>
                      <a:lnTo>
                        <a:pt x="1234208" y="1148224"/>
                      </a:lnTo>
                      <a:lnTo>
                        <a:pt x="1233176" y="1146415"/>
                      </a:lnTo>
                      <a:lnTo>
                        <a:pt x="1232581" y="1145370"/>
                      </a:lnTo>
                      <a:lnTo>
                        <a:pt x="1231622" y="1144630"/>
                      </a:lnTo>
                      <a:lnTo>
                        <a:pt x="1229898" y="1143306"/>
                      </a:lnTo>
                      <a:lnTo>
                        <a:pt x="1228866" y="1142505"/>
                      </a:lnTo>
                      <a:lnTo>
                        <a:pt x="1227603" y="1142201"/>
                      </a:lnTo>
                      <a:lnTo>
                        <a:pt x="1221118" y="1140659"/>
                      </a:lnTo>
                      <a:lnTo>
                        <a:pt x="1219370" y="1139930"/>
                      </a:lnTo>
                      <a:lnTo>
                        <a:pt x="1217645" y="1138874"/>
                      </a:lnTo>
                      <a:lnTo>
                        <a:pt x="1216188" y="1137684"/>
                      </a:lnTo>
                      <a:lnTo>
                        <a:pt x="1215168" y="1136336"/>
                      </a:lnTo>
                      <a:lnTo>
                        <a:pt x="1211622" y="1130787"/>
                      </a:lnTo>
                      <a:lnTo>
                        <a:pt x="1211258" y="1130216"/>
                      </a:lnTo>
                      <a:lnTo>
                        <a:pt x="1210772" y="1129743"/>
                      </a:lnTo>
                      <a:lnTo>
                        <a:pt x="1209667" y="1128650"/>
                      </a:lnTo>
                      <a:lnTo>
                        <a:pt x="1209158" y="1128140"/>
                      </a:lnTo>
                      <a:lnTo>
                        <a:pt x="1208538" y="1127763"/>
                      </a:lnTo>
                      <a:lnTo>
                        <a:pt x="1207348" y="1127047"/>
                      </a:lnTo>
                      <a:lnTo>
                        <a:pt x="1206729" y="1126670"/>
                      </a:lnTo>
                      <a:lnTo>
                        <a:pt x="1206037" y="1126452"/>
                      </a:lnTo>
                      <a:lnTo>
                        <a:pt x="1205539" y="1126294"/>
                      </a:lnTo>
                      <a:lnTo>
                        <a:pt x="1203365" y="1124218"/>
                      </a:lnTo>
                      <a:lnTo>
                        <a:pt x="1203135" y="1123695"/>
                      </a:lnTo>
                      <a:lnTo>
                        <a:pt x="1203086" y="1123331"/>
                      </a:lnTo>
                      <a:lnTo>
                        <a:pt x="1203414" y="1122748"/>
                      </a:lnTo>
                      <a:lnTo>
                        <a:pt x="1203718" y="1122214"/>
                      </a:lnTo>
                      <a:lnTo>
                        <a:pt x="1203912" y="1121619"/>
                      </a:lnTo>
                      <a:lnTo>
                        <a:pt x="1204652" y="1119312"/>
                      </a:lnTo>
                      <a:lnTo>
                        <a:pt x="1204810" y="1118802"/>
                      </a:lnTo>
                      <a:lnTo>
                        <a:pt x="1204883" y="1118280"/>
                      </a:lnTo>
                      <a:lnTo>
                        <a:pt x="1205332" y="1115013"/>
                      </a:lnTo>
                      <a:lnTo>
                        <a:pt x="1205381" y="1114673"/>
                      </a:lnTo>
                      <a:lnTo>
                        <a:pt x="1205393" y="1114333"/>
                      </a:lnTo>
                      <a:lnTo>
                        <a:pt x="1205575" y="1106865"/>
                      </a:lnTo>
                      <a:lnTo>
                        <a:pt x="1205575" y="1106562"/>
                      </a:lnTo>
                      <a:lnTo>
                        <a:pt x="1205551" y="1106258"/>
                      </a:lnTo>
                      <a:lnTo>
                        <a:pt x="1205090" y="1100332"/>
                      </a:lnTo>
                      <a:lnTo>
                        <a:pt x="1205053" y="1099919"/>
                      </a:lnTo>
                      <a:lnTo>
                        <a:pt x="1204968" y="1099507"/>
                      </a:lnTo>
                      <a:lnTo>
                        <a:pt x="1204847" y="1098948"/>
                      </a:lnTo>
                      <a:lnTo>
                        <a:pt x="1204519" y="1097940"/>
                      </a:lnTo>
                      <a:lnTo>
                        <a:pt x="1203827" y="1096313"/>
                      </a:lnTo>
                      <a:lnTo>
                        <a:pt x="1203572" y="1095718"/>
                      </a:lnTo>
                      <a:lnTo>
                        <a:pt x="1203195" y="1095184"/>
                      </a:lnTo>
                      <a:lnTo>
                        <a:pt x="1199249" y="1089634"/>
                      </a:lnTo>
                      <a:lnTo>
                        <a:pt x="1197585" y="1086429"/>
                      </a:lnTo>
                      <a:lnTo>
                        <a:pt x="1197379" y="1085846"/>
                      </a:lnTo>
                      <a:lnTo>
                        <a:pt x="1197367" y="1085287"/>
                      </a:lnTo>
                      <a:lnTo>
                        <a:pt x="1197670" y="1083879"/>
                      </a:lnTo>
                      <a:lnTo>
                        <a:pt x="1197755" y="1083454"/>
                      </a:lnTo>
                      <a:lnTo>
                        <a:pt x="1197779" y="1083016"/>
                      </a:lnTo>
                      <a:lnTo>
                        <a:pt x="1198593" y="1071821"/>
                      </a:lnTo>
                      <a:lnTo>
                        <a:pt x="1199322" y="1067388"/>
                      </a:lnTo>
                      <a:lnTo>
                        <a:pt x="1199844" y="1065652"/>
                      </a:lnTo>
                      <a:lnTo>
                        <a:pt x="1200123" y="1064972"/>
                      </a:lnTo>
                      <a:lnTo>
                        <a:pt x="1200609" y="1064159"/>
                      </a:lnTo>
                      <a:lnTo>
                        <a:pt x="1202285" y="1061973"/>
                      </a:lnTo>
                      <a:lnTo>
                        <a:pt x="1204507" y="1059726"/>
                      </a:lnTo>
                      <a:lnTo>
                        <a:pt x="1206243" y="1058354"/>
                      </a:lnTo>
                      <a:lnTo>
                        <a:pt x="1211574" y="1055063"/>
                      </a:lnTo>
                      <a:lnTo>
                        <a:pt x="1221313" y="1050716"/>
                      </a:lnTo>
                      <a:lnTo>
                        <a:pt x="1224360" y="1049040"/>
                      </a:lnTo>
                      <a:lnTo>
                        <a:pt x="1224749" y="1048822"/>
                      </a:lnTo>
                      <a:lnTo>
                        <a:pt x="1225089" y="1048567"/>
                      </a:lnTo>
                      <a:lnTo>
                        <a:pt x="1230735" y="1044268"/>
                      </a:lnTo>
                      <a:lnTo>
                        <a:pt x="1233504" y="1042690"/>
                      </a:lnTo>
                      <a:lnTo>
                        <a:pt x="1259356" y="1028155"/>
                      </a:lnTo>
                      <a:lnTo>
                        <a:pt x="1279052" y="1016837"/>
                      </a:lnTo>
                      <a:lnTo>
                        <a:pt x="1279404" y="1016631"/>
                      </a:lnTo>
                      <a:lnTo>
                        <a:pt x="1279732" y="1016376"/>
                      </a:lnTo>
                      <a:lnTo>
                        <a:pt x="1284723" y="1012527"/>
                      </a:lnTo>
                      <a:lnTo>
                        <a:pt x="1286180" y="1011397"/>
                      </a:lnTo>
                      <a:lnTo>
                        <a:pt x="1286763" y="1009649"/>
                      </a:lnTo>
                      <a:lnTo>
                        <a:pt x="1287407" y="1007767"/>
                      </a:lnTo>
                      <a:lnTo>
                        <a:pt x="1292956" y="1005884"/>
                      </a:lnTo>
                      <a:lnTo>
                        <a:pt x="1293345" y="1005751"/>
                      </a:lnTo>
                      <a:lnTo>
                        <a:pt x="1293709" y="1005569"/>
                      </a:lnTo>
                      <a:lnTo>
                        <a:pt x="1299732" y="1002582"/>
                      </a:lnTo>
                      <a:lnTo>
                        <a:pt x="1300254" y="1002327"/>
                      </a:lnTo>
                      <a:lnTo>
                        <a:pt x="1300715" y="1001975"/>
                      </a:lnTo>
                      <a:lnTo>
                        <a:pt x="1303994" y="999473"/>
                      </a:lnTo>
                      <a:lnTo>
                        <a:pt x="1305269" y="998489"/>
                      </a:lnTo>
                      <a:lnTo>
                        <a:pt x="1305900" y="997008"/>
                      </a:lnTo>
                      <a:lnTo>
                        <a:pt x="1306289" y="996085"/>
                      </a:lnTo>
                      <a:lnTo>
                        <a:pt x="1307005" y="995235"/>
                      </a:lnTo>
                      <a:lnTo>
                        <a:pt x="1318225" y="987694"/>
                      </a:lnTo>
                      <a:lnTo>
                        <a:pt x="1318638" y="987415"/>
                      </a:lnTo>
                      <a:lnTo>
                        <a:pt x="1319002" y="987075"/>
                      </a:lnTo>
                      <a:lnTo>
                        <a:pt x="1323022" y="983287"/>
                      </a:lnTo>
                      <a:lnTo>
                        <a:pt x="1323350" y="982971"/>
                      </a:lnTo>
                      <a:lnTo>
                        <a:pt x="1323629" y="982619"/>
                      </a:lnTo>
                      <a:lnTo>
                        <a:pt x="1333465" y="970087"/>
                      </a:lnTo>
                      <a:lnTo>
                        <a:pt x="1347963" y="958758"/>
                      </a:lnTo>
                      <a:lnTo>
                        <a:pt x="1351193" y="957835"/>
                      </a:lnTo>
                      <a:lnTo>
                        <a:pt x="1352553" y="958624"/>
                      </a:lnTo>
                      <a:lnTo>
                        <a:pt x="1352408" y="959936"/>
                      </a:lnTo>
                      <a:lnTo>
                        <a:pt x="1352298" y="960421"/>
                      </a:lnTo>
                      <a:lnTo>
                        <a:pt x="1352213" y="960834"/>
                      </a:lnTo>
                      <a:lnTo>
                        <a:pt x="1352201" y="961247"/>
                      </a:lnTo>
                      <a:lnTo>
                        <a:pt x="1352141" y="962328"/>
                      </a:lnTo>
                      <a:lnTo>
                        <a:pt x="1352129" y="962644"/>
                      </a:lnTo>
                      <a:lnTo>
                        <a:pt x="1352141" y="962959"/>
                      </a:lnTo>
                      <a:lnTo>
                        <a:pt x="1352201" y="964173"/>
                      </a:lnTo>
                      <a:lnTo>
                        <a:pt x="1352226" y="964708"/>
                      </a:lnTo>
                      <a:lnTo>
                        <a:pt x="1352347" y="965230"/>
                      </a:lnTo>
                      <a:lnTo>
                        <a:pt x="1352638" y="966493"/>
                      </a:lnTo>
                      <a:lnTo>
                        <a:pt x="1352711" y="966796"/>
                      </a:lnTo>
                      <a:lnTo>
                        <a:pt x="1352821" y="967100"/>
                      </a:lnTo>
                      <a:lnTo>
                        <a:pt x="1353221" y="968278"/>
                      </a:lnTo>
                      <a:lnTo>
                        <a:pt x="1353841" y="969771"/>
                      </a:lnTo>
                      <a:lnTo>
                        <a:pt x="1353998" y="970124"/>
                      </a:lnTo>
                      <a:lnTo>
                        <a:pt x="1354193" y="970451"/>
                      </a:lnTo>
                      <a:lnTo>
                        <a:pt x="1354763" y="971423"/>
                      </a:lnTo>
                      <a:lnTo>
                        <a:pt x="1355055" y="971933"/>
                      </a:lnTo>
                      <a:lnTo>
                        <a:pt x="1355443" y="972370"/>
                      </a:lnTo>
                      <a:lnTo>
                        <a:pt x="1356136" y="973147"/>
                      </a:lnTo>
                      <a:lnTo>
                        <a:pt x="1357083" y="974107"/>
                      </a:lnTo>
                      <a:lnTo>
                        <a:pt x="1357556" y="974592"/>
                      </a:lnTo>
                      <a:lnTo>
                        <a:pt x="1358127" y="974956"/>
                      </a:lnTo>
                      <a:lnTo>
                        <a:pt x="1359851" y="976049"/>
                      </a:lnTo>
                      <a:lnTo>
                        <a:pt x="1361260" y="976802"/>
                      </a:lnTo>
                      <a:lnTo>
                        <a:pt x="1361576" y="976960"/>
                      </a:lnTo>
                      <a:lnTo>
                        <a:pt x="1361916" y="977081"/>
                      </a:lnTo>
                      <a:lnTo>
                        <a:pt x="1363178" y="977543"/>
                      </a:lnTo>
                      <a:lnTo>
                        <a:pt x="1363555" y="977676"/>
                      </a:lnTo>
                      <a:lnTo>
                        <a:pt x="1363956" y="977761"/>
                      </a:lnTo>
                      <a:lnTo>
                        <a:pt x="1365510" y="978101"/>
                      </a:lnTo>
                      <a:lnTo>
                        <a:pt x="1366105" y="978235"/>
                      </a:lnTo>
                      <a:lnTo>
                        <a:pt x="1366712" y="978247"/>
                      </a:lnTo>
                      <a:lnTo>
                        <a:pt x="1369918" y="978308"/>
                      </a:lnTo>
                      <a:lnTo>
                        <a:pt x="1370501" y="978320"/>
                      </a:lnTo>
                      <a:lnTo>
                        <a:pt x="1371071" y="978223"/>
                      </a:lnTo>
                      <a:lnTo>
                        <a:pt x="1373719" y="977761"/>
                      </a:lnTo>
                      <a:lnTo>
                        <a:pt x="1374180" y="977676"/>
                      </a:lnTo>
                      <a:lnTo>
                        <a:pt x="1374617" y="977531"/>
                      </a:lnTo>
                      <a:lnTo>
                        <a:pt x="1378236" y="976316"/>
                      </a:lnTo>
                      <a:lnTo>
                        <a:pt x="1378746" y="976147"/>
                      </a:lnTo>
                      <a:lnTo>
                        <a:pt x="1379219" y="975892"/>
                      </a:lnTo>
                      <a:lnTo>
                        <a:pt x="1380883" y="974981"/>
                      </a:lnTo>
                      <a:lnTo>
                        <a:pt x="1381405" y="974701"/>
                      </a:lnTo>
                      <a:lnTo>
                        <a:pt x="1381866" y="974313"/>
                      </a:lnTo>
                      <a:lnTo>
                        <a:pt x="1382959" y="973402"/>
                      </a:lnTo>
                      <a:lnTo>
                        <a:pt x="1383906" y="972613"/>
                      </a:lnTo>
                      <a:lnTo>
                        <a:pt x="1384465" y="971520"/>
                      </a:lnTo>
                      <a:lnTo>
                        <a:pt x="1384926" y="970621"/>
                      </a:lnTo>
                      <a:lnTo>
                        <a:pt x="1385182" y="970124"/>
                      </a:lnTo>
                      <a:lnTo>
                        <a:pt x="1385339" y="969589"/>
                      </a:lnTo>
                      <a:lnTo>
                        <a:pt x="1385631" y="968618"/>
                      </a:lnTo>
                      <a:lnTo>
                        <a:pt x="1385849" y="967889"/>
                      </a:lnTo>
                      <a:lnTo>
                        <a:pt x="1385874" y="967124"/>
                      </a:lnTo>
                      <a:lnTo>
                        <a:pt x="1385922" y="965946"/>
                      </a:lnTo>
                      <a:lnTo>
                        <a:pt x="1385934" y="965558"/>
                      </a:lnTo>
                      <a:lnTo>
                        <a:pt x="1385898" y="965169"/>
                      </a:lnTo>
                      <a:lnTo>
                        <a:pt x="1385789" y="963955"/>
                      </a:lnTo>
                      <a:lnTo>
                        <a:pt x="1385764" y="963639"/>
                      </a:lnTo>
                      <a:lnTo>
                        <a:pt x="1385704" y="963336"/>
                      </a:lnTo>
                      <a:lnTo>
                        <a:pt x="1385473" y="962133"/>
                      </a:lnTo>
                      <a:lnTo>
                        <a:pt x="1384975" y="960373"/>
                      </a:lnTo>
                      <a:lnTo>
                        <a:pt x="1383202" y="955953"/>
                      </a:lnTo>
                      <a:lnTo>
                        <a:pt x="1383858" y="955734"/>
                      </a:lnTo>
                      <a:lnTo>
                        <a:pt x="1384332" y="955576"/>
                      </a:lnTo>
                      <a:lnTo>
                        <a:pt x="1384781" y="955346"/>
                      </a:lnTo>
                      <a:lnTo>
                        <a:pt x="1387258" y="954059"/>
                      </a:lnTo>
                      <a:lnTo>
                        <a:pt x="1387756" y="953925"/>
                      </a:lnTo>
                      <a:lnTo>
                        <a:pt x="1392698" y="958721"/>
                      </a:lnTo>
                      <a:lnTo>
                        <a:pt x="1393062" y="959073"/>
                      </a:lnTo>
                      <a:lnTo>
                        <a:pt x="1393475" y="959353"/>
                      </a:lnTo>
                      <a:lnTo>
                        <a:pt x="1396972" y="961769"/>
                      </a:lnTo>
                      <a:lnTo>
                        <a:pt x="1397810" y="962352"/>
                      </a:lnTo>
                      <a:lnTo>
                        <a:pt x="1398806" y="962619"/>
                      </a:lnTo>
                      <a:lnTo>
                        <a:pt x="1402922" y="963761"/>
                      </a:lnTo>
                      <a:lnTo>
                        <a:pt x="1405181" y="965072"/>
                      </a:lnTo>
                      <a:lnTo>
                        <a:pt x="1405582" y="965303"/>
                      </a:lnTo>
                      <a:lnTo>
                        <a:pt x="1406007" y="965473"/>
                      </a:lnTo>
                      <a:lnTo>
                        <a:pt x="1407318" y="965995"/>
                      </a:lnTo>
                      <a:lnTo>
                        <a:pt x="1407974" y="966250"/>
                      </a:lnTo>
                      <a:lnTo>
                        <a:pt x="1408678" y="966347"/>
                      </a:lnTo>
                      <a:lnTo>
                        <a:pt x="1410973" y="966687"/>
                      </a:lnTo>
                      <a:lnTo>
                        <a:pt x="1411556" y="966772"/>
                      </a:lnTo>
                      <a:lnTo>
                        <a:pt x="1412151" y="966748"/>
                      </a:lnTo>
                      <a:lnTo>
                        <a:pt x="1416911" y="966517"/>
                      </a:lnTo>
                      <a:lnTo>
                        <a:pt x="1417530" y="966493"/>
                      </a:lnTo>
                      <a:lnTo>
                        <a:pt x="1418137" y="966335"/>
                      </a:lnTo>
                      <a:lnTo>
                        <a:pt x="1420323" y="965764"/>
                      </a:lnTo>
                      <a:lnTo>
                        <a:pt x="1420687" y="965667"/>
                      </a:lnTo>
                      <a:lnTo>
                        <a:pt x="1421040" y="965521"/>
                      </a:lnTo>
                      <a:lnTo>
                        <a:pt x="1422193" y="965060"/>
                      </a:lnTo>
                      <a:lnTo>
                        <a:pt x="1422897" y="964781"/>
                      </a:lnTo>
                      <a:lnTo>
                        <a:pt x="1423517" y="964331"/>
                      </a:lnTo>
                      <a:lnTo>
                        <a:pt x="1431313" y="958648"/>
                      </a:lnTo>
                      <a:lnTo>
                        <a:pt x="1432199" y="958187"/>
                      </a:lnTo>
                      <a:lnTo>
                        <a:pt x="1433134" y="957689"/>
                      </a:lnTo>
                      <a:lnTo>
                        <a:pt x="1433850" y="956900"/>
                      </a:lnTo>
                      <a:lnTo>
                        <a:pt x="1435405" y="955188"/>
                      </a:lnTo>
                      <a:lnTo>
                        <a:pt x="1437165" y="953233"/>
                      </a:lnTo>
                      <a:lnTo>
                        <a:pt x="1436959" y="950622"/>
                      </a:lnTo>
                      <a:lnTo>
                        <a:pt x="1436935" y="950233"/>
                      </a:lnTo>
                      <a:lnTo>
                        <a:pt x="1437457" y="949602"/>
                      </a:lnTo>
                      <a:lnTo>
                        <a:pt x="1438598" y="948242"/>
                      </a:lnTo>
                      <a:lnTo>
                        <a:pt x="1438829" y="946469"/>
                      </a:lnTo>
                      <a:lnTo>
                        <a:pt x="1439169" y="943858"/>
                      </a:lnTo>
                      <a:lnTo>
                        <a:pt x="1439351" y="942413"/>
                      </a:lnTo>
                      <a:lnTo>
                        <a:pt x="1438853" y="941029"/>
                      </a:lnTo>
                      <a:lnTo>
                        <a:pt x="1438513" y="940082"/>
                      </a:lnTo>
                      <a:lnTo>
                        <a:pt x="1438319" y="939536"/>
                      </a:lnTo>
                      <a:lnTo>
                        <a:pt x="1438028" y="939038"/>
                      </a:lnTo>
                      <a:lnTo>
                        <a:pt x="1437056" y="937398"/>
                      </a:lnTo>
                      <a:lnTo>
                        <a:pt x="1436582" y="936609"/>
                      </a:lnTo>
                      <a:lnTo>
                        <a:pt x="1435890" y="935990"/>
                      </a:lnTo>
                      <a:lnTo>
                        <a:pt x="1422048" y="923495"/>
                      </a:lnTo>
                      <a:lnTo>
                        <a:pt x="1421258" y="922778"/>
                      </a:lnTo>
                      <a:lnTo>
                        <a:pt x="1420275" y="922377"/>
                      </a:lnTo>
                      <a:lnTo>
                        <a:pt x="1417980" y="921443"/>
                      </a:lnTo>
                      <a:lnTo>
                        <a:pt x="1417032" y="921054"/>
                      </a:lnTo>
                      <a:lnTo>
                        <a:pt x="1416012" y="920993"/>
                      </a:lnTo>
                      <a:lnTo>
                        <a:pt x="1412855" y="920823"/>
                      </a:lnTo>
                      <a:lnTo>
                        <a:pt x="1412515" y="920811"/>
                      </a:lnTo>
                      <a:lnTo>
                        <a:pt x="1412175" y="920835"/>
                      </a:lnTo>
                      <a:lnTo>
                        <a:pt x="1407233" y="921127"/>
                      </a:lnTo>
                      <a:lnTo>
                        <a:pt x="1406371" y="920848"/>
                      </a:lnTo>
                      <a:lnTo>
                        <a:pt x="1400785" y="917666"/>
                      </a:lnTo>
                      <a:lnTo>
                        <a:pt x="1400409" y="916597"/>
                      </a:lnTo>
                      <a:lnTo>
                        <a:pt x="1400142" y="915845"/>
                      </a:lnTo>
                      <a:lnTo>
                        <a:pt x="1399680" y="915177"/>
                      </a:lnTo>
                      <a:lnTo>
                        <a:pt x="1397665" y="912238"/>
                      </a:lnTo>
                      <a:lnTo>
                        <a:pt x="1397349" y="911777"/>
                      </a:lnTo>
                      <a:lnTo>
                        <a:pt x="1396960" y="911388"/>
                      </a:lnTo>
                      <a:lnTo>
                        <a:pt x="1394617" y="909032"/>
                      </a:lnTo>
                      <a:lnTo>
                        <a:pt x="1393973" y="908389"/>
                      </a:lnTo>
                      <a:lnTo>
                        <a:pt x="1393172" y="907964"/>
                      </a:lnTo>
                      <a:lnTo>
                        <a:pt x="1391338" y="906980"/>
                      </a:lnTo>
                      <a:lnTo>
                        <a:pt x="1390014" y="906264"/>
                      </a:lnTo>
                      <a:lnTo>
                        <a:pt x="1388497" y="906264"/>
                      </a:lnTo>
                      <a:lnTo>
                        <a:pt x="1382971" y="906240"/>
                      </a:lnTo>
                      <a:lnTo>
                        <a:pt x="1382461" y="906240"/>
                      </a:lnTo>
                      <a:lnTo>
                        <a:pt x="1381951" y="906325"/>
                      </a:lnTo>
                      <a:lnTo>
                        <a:pt x="1379717" y="906701"/>
                      </a:lnTo>
                      <a:lnTo>
                        <a:pt x="1379329" y="906762"/>
                      </a:lnTo>
                      <a:lnTo>
                        <a:pt x="1378952" y="906883"/>
                      </a:lnTo>
                      <a:lnTo>
                        <a:pt x="1373063" y="908680"/>
                      </a:lnTo>
                      <a:lnTo>
                        <a:pt x="1371229" y="908850"/>
                      </a:lnTo>
                      <a:lnTo>
                        <a:pt x="1369954" y="908547"/>
                      </a:lnTo>
                      <a:lnTo>
                        <a:pt x="1367987" y="907102"/>
                      </a:lnTo>
                      <a:lnTo>
                        <a:pt x="1366263" y="905280"/>
                      </a:lnTo>
                      <a:lnTo>
                        <a:pt x="1365838" y="904637"/>
                      </a:lnTo>
                      <a:lnTo>
                        <a:pt x="1365194" y="903362"/>
                      </a:lnTo>
                      <a:lnTo>
                        <a:pt x="1363676" y="897472"/>
                      </a:lnTo>
                      <a:lnTo>
                        <a:pt x="1363494" y="896756"/>
                      </a:lnTo>
                      <a:lnTo>
                        <a:pt x="1363142" y="896100"/>
                      </a:lnTo>
                      <a:lnTo>
                        <a:pt x="1362231" y="894412"/>
                      </a:lnTo>
                      <a:lnTo>
                        <a:pt x="1361309" y="892700"/>
                      </a:lnTo>
                      <a:lnTo>
                        <a:pt x="1359548" y="891850"/>
                      </a:lnTo>
                      <a:lnTo>
                        <a:pt x="1357763" y="890976"/>
                      </a:lnTo>
                      <a:lnTo>
                        <a:pt x="1356646" y="890429"/>
                      </a:lnTo>
                      <a:lnTo>
                        <a:pt x="1355796" y="890393"/>
                      </a:lnTo>
                      <a:lnTo>
                        <a:pt x="1355626" y="889883"/>
                      </a:lnTo>
                      <a:lnTo>
                        <a:pt x="1355419" y="889300"/>
                      </a:lnTo>
                      <a:lnTo>
                        <a:pt x="1355103" y="888778"/>
                      </a:lnTo>
                      <a:lnTo>
                        <a:pt x="1353610" y="886252"/>
                      </a:lnTo>
                      <a:lnTo>
                        <a:pt x="1353343" y="885791"/>
                      </a:lnTo>
                      <a:lnTo>
                        <a:pt x="1352991" y="885390"/>
                      </a:lnTo>
                      <a:lnTo>
                        <a:pt x="1351096" y="883180"/>
                      </a:lnTo>
                      <a:lnTo>
                        <a:pt x="1350319" y="882269"/>
                      </a:lnTo>
                      <a:lnTo>
                        <a:pt x="1349251" y="881723"/>
                      </a:lnTo>
                      <a:lnTo>
                        <a:pt x="1347466" y="880812"/>
                      </a:lnTo>
                      <a:lnTo>
                        <a:pt x="1346919" y="880533"/>
                      </a:lnTo>
                      <a:lnTo>
                        <a:pt x="1346336" y="880375"/>
                      </a:lnTo>
                      <a:lnTo>
                        <a:pt x="1345122" y="880035"/>
                      </a:lnTo>
                      <a:lnTo>
                        <a:pt x="1341831" y="877898"/>
                      </a:lnTo>
                      <a:lnTo>
                        <a:pt x="1341321" y="877570"/>
                      </a:lnTo>
                      <a:lnTo>
                        <a:pt x="1340763" y="877352"/>
                      </a:lnTo>
                      <a:lnTo>
                        <a:pt x="1338577" y="876489"/>
                      </a:lnTo>
                      <a:lnTo>
                        <a:pt x="1337715" y="876137"/>
                      </a:lnTo>
                      <a:lnTo>
                        <a:pt x="1336792" y="876077"/>
                      </a:lnTo>
                      <a:lnTo>
                        <a:pt x="1336743" y="876077"/>
                      </a:lnTo>
                      <a:lnTo>
                        <a:pt x="1335408" y="875202"/>
                      </a:lnTo>
                      <a:lnTo>
                        <a:pt x="1335043" y="874959"/>
                      </a:lnTo>
                      <a:lnTo>
                        <a:pt x="1331085" y="865536"/>
                      </a:lnTo>
                      <a:lnTo>
                        <a:pt x="1330842" y="864954"/>
                      </a:lnTo>
                      <a:lnTo>
                        <a:pt x="1330478" y="864432"/>
                      </a:lnTo>
                      <a:lnTo>
                        <a:pt x="1327430" y="860036"/>
                      </a:lnTo>
                      <a:lnTo>
                        <a:pt x="1326810" y="859137"/>
                      </a:lnTo>
                      <a:lnTo>
                        <a:pt x="1325912" y="858518"/>
                      </a:lnTo>
                      <a:lnTo>
                        <a:pt x="1321917" y="855737"/>
                      </a:lnTo>
                      <a:lnTo>
                        <a:pt x="1321953" y="855725"/>
                      </a:lnTo>
                      <a:lnTo>
                        <a:pt x="1323690" y="855239"/>
                      </a:lnTo>
                      <a:lnTo>
                        <a:pt x="1333841" y="854426"/>
                      </a:lnTo>
                      <a:lnTo>
                        <a:pt x="1334424" y="854377"/>
                      </a:lnTo>
                      <a:lnTo>
                        <a:pt x="1334995" y="854219"/>
                      </a:lnTo>
                      <a:lnTo>
                        <a:pt x="1336768" y="853721"/>
                      </a:lnTo>
                      <a:lnTo>
                        <a:pt x="1337521" y="853503"/>
                      </a:lnTo>
                      <a:lnTo>
                        <a:pt x="1338201" y="853102"/>
                      </a:lnTo>
                      <a:lnTo>
                        <a:pt x="1339354" y="852422"/>
                      </a:lnTo>
                      <a:lnTo>
                        <a:pt x="1339803" y="852167"/>
                      </a:lnTo>
                      <a:lnTo>
                        <a:pt x="1340192" y="851839"/>
                      </a:lnTo>
                      <a:lnTo>
                        <a:pt x="1342074" y="850249"/>
                      </a:lnTo>
                      <a:lnTo>
                        <a:pt x="1342706" y="850358"/>
                      </a:lnTo>
                      <a:lnTo>
                        <a:pt x="1343895" y="850710"/>
                      </a:lnTo>
                      <a:lnTo>
                        <a:pt x="1344418" y="850868"/>
                      </a:lnTo>
                      <a:lnTo>
                        <a:pt x="1344964" y="850929"/>
                      </a:lnTo>
                      <a:lnTo>
                        <a:pt x="1348923" y="851353"/>
                      </a:lnTo>
                      <a:lnTo>
                        <a:pt x="1350926" y="851572"/>
                      </a:lnTo>
                      <a:lnTo>
                        <a:pt x="1352663" y="850552"/>
                      </a:lnTo>
                      <a:lnTo>
                        <a:pt x="1356160" y="848488"/>
                      </a:lnTo>
                      <a:lnTo>
                        <a:pt x="1357945" y="847431"/>
                      </a:lnTo>
                      <a:lnTo>
                        <a:pt x="1358710" y="845501"/>
                      </a:lnTo>
                      <a:lnTo>
                        <a:pt x="1358953" y="844893"/>
                      </a:lnTo>
                      <a:lnTo>
                        <a:pt x="1359329" y="843958"/>
                      </a:lnTo>
                      <a:lnTo>
                        <a:pt x="1359378" y="842963"/>
                      </a:lnTo>
                      <a:lnTo>
                        <a:pt x="1359426" y="841955"/>
                      </a:lnTo>
                      <a:lnTo>
                        <a:pt x="1359536" y="839781"/>
                      </a:lnTo>
                      <a:lnTo>
                        <a:pt x="1358236" y="838021"/>
                      </a:lnTo>
                      <a:lnTo>
                        <a:pt x="1355613" y="834475"/>
                      </a:lnTo>
                      <a:lnTo>
                        <a:pt x="1354861" y="832872"/>
                      </a:lnTo>
                      <a:lnTo>
                        <a:pt x="1356864" y="829897"/>
                      </a:lnTo>
                      <a:lnTo>
                        <a:pt x="1357168" y="829436"/>
                      </a:lnTo>
                      <a:lnTo>
                        <a:pt x="1357386" y="828925"/>
                      </a:lnTo>
                      <a:lnTo>
                        <a:pt x="1358698" y="825902"/>
                      </a:lnTo>
                      <a:lnTo>
                        <a:pt x="1359171" y="824821"/>
                      </a:lnTo>
                      <a:lnTo>
                        <a:pt x="1359196" y="823643"/>
                      </a:lnTo>
                      <a:lnTo>
                        <a:pt x="1359256" y="821324"/>
                      </a:lnTo>
                      <a:lnTo>
                        <a:pt x="1359281" y="820280"/>
                      </a:lnTo>
                      <a:lnTo>
                        <a:pt x="1358965" y="819284"/>
                      </a:lnTo>
                      <a:lnTo>
                        <a:pt x="1358564" y="818045"/>
                      </a:lnTo>
                      <a:lnTo>
                        <a:pt x="1357836" y="815799"/>
                      </a:lnTo>
                      <a:lnTo>
                        <a:pt x="1355783" y="814633"/>
                      </a:lnTo>
                      <a:lnTo>
                        <a:pt x="1354569" y="813941"/>
                      </a:lnTo>
                      <a:lnTo>
                        <a:pt x="1353756" y="813468"/>
                      </a:lnTo>
                      <a:lnTo>
                        <a:pt x="1352833" y="813273"/>
                      </a:lnTo>
                      <a:lnTo>
                        <a:pt x="1339609" y="810505"/>
                      </a:lnTo>
                      <a:lnTo>
                        <a:pt x="1337278" y="809436"/>
                      </a:lnTo>
                      <a:lnTo>
                        <a:pt x="1334558" y="807785"/>
                      </a:lnTo>
                      <a:lnTo>
                        <a:pt x="1329810" y="803547"/>
                      </a:lnTo>
                      <a:lnTo>
                        <a:pt x="1326810" y="801276"/>
                      </a:lnTo>
                      <a:lnTo>
                        <a:pt x="1326288" y="800875"/>
                      </a:lnTo>
                      <a:lnTo>
                        <a:pt x="1325681" y="800608"/>
                      </a:lnTo>
                      <a:lnTo>
                        <a:pt x="1323775" y="799746"/>
                      </a:lnTo>
                      <a:lnTo>
                        <a:pt x="1321662" y="798787"/>
                      </a:lnTo>
                      <a:lnTo>
                        <a:pt x="1319440" y="799491"/>
                      </a:lnTo>
                      <a:lnTo>
                        <a:pt x="1318407" y="799819"/>
                      </a:lnTo>
                      <a:lnTo>
                        <a:pt x="1317302" y="800171"/>
                      </a:lnTo>
                      <a:lnTo>
                        <a:pt x="1316404" y="800912"/>
                      </a:lnTo>
                      <a:lnTo>
                        <a:pt x="1315602" y="801568"/>
                      </a:lnTo>
                      <a:lnTo>
                        <a:pt x="1315226" y="801871"/>
                      </a:lnTo>
                      <a:lnTo>
                        <a:pt x="1314910" y="802223"/>
                      </a:lnTo>
                      <a:lnTo>
                        <a:pt x="1314485" y="802709"/>
                      </a:lnTo>
                      <a:lnTo>
                        <a:pt x="1314449" y="802733"/>
                      </a:lnTo>
                      <a:lnTo>
                        <a:pt x="1314097" y="802940"/>
                      </a:lnTo>
                      <a:lnTo>
                        <a:pt x="1313405" y="803158"/>
                      </a:lnTo>
                      <a:lnTo>
                        <a:pt x="1312275" y="803292"/>
                      </a:lnTo>
                      <a:lnTo>
                        <a:pt x="1310745" y="803195"/>
                      </a:lnTo>
                      <a:lnTo>
                        <a:pt x="1309470" y="802903"/>
                      </a:lnTo>
                      <a:lnTo>
                        <a:pt x="1309094" y="802697"/>
                      </a:lnTo>
                      <a:lnTo>
                        <a:pt x="1309106" y="802393"/>
                      </a:lnTo>
                      <a:lnTo>
                        <a:pt x="1309628" y="802551"/>
                      </a:lnTo>
                      <a:lnTo>
                        <a:pt x="1311777" y="803207"/>
                      </a:lnTo>
                      <a:lnTo>
                        <a:pt x="1313830" y="802308"/>
                      </a:lnTo>
                      <a:lnTo>
                        <a:pt x="1314619" y="801968"/>
                      </a:lnTo>
                      <a:lnTo>
                        <a:pt x="1315542" y="801568"/>
                      </a:lnTo>
                      <a:lnTo>
                        <a:pt x="1316282" y="800900"/>
                      </a:lnTo>
                      <a:lnTo>
                        <a:pt x="1316987" y="800256"/>
                      </a:lnTo>
                      <a:lnTo>
                        <a:pt x="1317606" y="799697"/>
                      </a:lnTo>
                      <a:lnTo>
                        <a:pt x="1318055" y="798981"/>
                      </a:lnTo>
                      <a:lnTo>
                        <a:pt x="1319950" y="795957"/>
                      </a:lnTo>
                      <a:lnTo>
                        <a:pt x="1326070" y="794634"/>
                      </a:lnTo>
                      <a:lnTo>
                        <a:pt x="1326507" y="794537"/>
                      </a:lnTo>
                      <a:lnTo>
                        <a:pt x="1326920" y="794379"/>
                      </a:lnTo>
                      <a:lnTo>
                        <a:pt x="1328923" y="793626"/>
                      </a:lnTo>
                      <a:lnTo>
                        <a:pt x="1329518" y="793395"/>
                      </a:lnTo>
                      <a:lnTo>
                        <a:pt x="1330053" y="793055"/>
                      </a:lnTo>
                      <a:lnTo>
                        <a:pt x="1331668" y="792035"/>
                      </a:lnTo>
                      <a:lnTo>
                        <a:pt x="1332493" y="791513"/>
                      </a:lnTo>
                      <a:lnTo>
                        <a:pt x="1333113" y="790760"/>
                      </a:lnTo>
                      <a:lnTo>
                        <a:pt x="1334266" y="789352"/>
                      </a:lnTo>
                      <a:lnTo>
                        <a:pt x="1334521" y="789024"/>
                      </a:lnTo>
                      <a:lnTo>
                        <a:pt x="1334740" y="788672"/>
                      </a:lnTo>
                      <a:lnTo>
                        <a:pt x="1335954" y="786668"/>
                      </a:lnTo>
                      <a:lnTo>
                        <a:pt x="1336148" y="786352"/>
                      </a:lnTo>
                      <a:lnTo>
                        <a:pt x="1336306" y="786012"/>
                      </a:lnTo>
                      <a:lnTo>
                        <a:pt x="1337217" y="783997"/>
                      </a:lnTo>
                      <a:lnTo>
                        <a:pt x="1337435" y="783499"/>
                      </a:lnTo>
                      <a:lnTo>
                        <a:pt x="1337569" y="782977"/>
                      </a:lnTo>
                      <a:lnTo>
                        <a:pt x="1339123" y="776820"/>
                      </a:lnTo>
                      <a:lnTo>
                        <a:pt x="1339597" y="775666"/>
                      </a:lnTo>
                      <a:lnTo>
                        <a:pt x="1344017" y="775764"/>
                      </a:lnTo>
                      <a:lnTo>
                        <a:pt x="1344782" y="775776"/>
                      </a:lnTo>
                      <a:lnTo>
                        <a:pt x="1345535" y="775594"/>
                      </a:lnTo>
                      <a:lnTo>
                        <a:pt x="1347890" y="775035"/>
                      </a:lnTo>
                      <a:lnTo>
                        <a:pt x="1348230" y="775035"/>
                      </a:lnTo>
                      <a:lnTo>
                        <a:pt x="1352469" y="776334"/>
                      </a:lnTo>
                      <a:lnTo>
                        <a:pt x="1352893" y="776468"/>
                      </a:lnTo>
                      <a:lnTo>
                        <a:pt x="1353331" y="776529"/>
                      </a:lnTo>
                      <a:lnTo>
                        <a:pt x="1360398" y="777622"/>
                      </a:lnTo>
                      <a:lnTo>
                        <a:pt x="1360883" y="777694"/>
                      </a:lnTo>
                      <a:lnTo>
                        <a:pt x="1361369" y="777694"/>
                      </a:lnTo>
                      <a:lnTo>
                        <a:pt x="1390136" y="777488"/>
                      </a:lnTo>
                      <a:lnTo>
                        <a:pt x="1392152" y="777476"/>
                      </a:lnTo>
                      <a:lnTo>
                        <a:pt x="1393754" y="776249"/>
                      </a:lnTo>
                      <a:lnTo>
                        <a:pt x="1395758" y="774732"/>
                      </a:lnTo>
                      <a:lnTo>
                        <a:pt x="1397992" y="773044"/>
                      </a:lnTo>
                      <a:lnTo>
                        <a:pt x="1398150" y="770251"/>
                      </a:lnTo>
                      <a:lnTo>
                        <a:pt x="1398211" y="769219"/>
                      </a:lnTo>
                      <a:lnTo>
                        <a:pt x="1398247" y="768575"/>
                      </a:lnTo>
                      <a:lnTo>
                        <a:pt x="1398150" y="767932"/>
                      </a:lnTo>
                      <a:lnTo>
                        <a:pt x="1397919" y="766438"/>
                      </a:lnTo>
                      <a:lnTo>
                        <a:pt x="1397762" y="765430"/>
                      </a:lnTo>
                      <a:lnTo>
                        <a:pt x="1397276" y="764532"/>
                      </a:lnTo>
                      <a:lnTo>
                        <a:pt x="1396462" y="763001"/>
                      </a:lnTo>
                      <a:lnTo>
                        <a:pt x="1396195" y="762492"/>
                      </a:lnTo>
                      <a:lnTo>
                        <a:pt x="1395831" y="762042"/>
                      </a:lnTo>
                      <a:lnTo>
                        <a:pt x="1394519" y="760415"/>
                      </a:lnTo>
                      <a:lnTo>
                        <a:pt x="1394264" y="760111"/>
                      </a:lnTo>
                      <a:lnTo>
                        <a:pt x="1393985" y="759832"/>
                      </a:lnTo>
                      <a:lnTo>
                        <a:pt x="1379924" y="746366"/>
                      </a:lnTo>
                      <a:lnTo>
                        <a:pt x="1379535" y="746001"/>
                      </a:lnTo>
                      <a:lnTo>
                        <a:pt x="1379086" y="745710"/>
                      </a:lnTo>
                      <a:lnTo>
                        <a:pt x="1376718" y="744131"/>
                      </a:lnTo>
                      <a:lnTo>
                        <a:pt x="1376099" y="743718"/>
                      </a:lnTo>
                      <a:lnTo>
                        <a:pt x="1375394" y="743464"/>
                      </a:lnTo>
                      <a:lnTo>
                        <a:pt x="1373451" y="742759"/>
                      </a:lnTo>
                      <a:lnTo>
                        <a:pt x="1372565" y="742444"/>
                      </a:lnTo>
                      <a:lnTo>
                        <a:pt x="1371630" y="742419"/>
                      </a:lnTo>
                      <a:lnTo>
                        <a:pt x="1370015" y="742358"/>
                      </a:lnTo>
                      <a:lnTo>
                        <a:pt x="1369809" y="742346"/>
                      </a:lnTo>
                      <a:lnTo>
                        <a:pt x="1370658" y="735947"/>
                      </a:lnTo>
                      <a:lnTo>
                        <a:pt x="1370707" y="735607"/>
                      </a:lnTo>
                      <a:lnTo>
                        <a:pt x="1370707" y="735267"/>
                      </a:lnTo>
                      <a:lnTo>
                        <a:pt x="1370768" y="732316"/>
                      </a:lnTo>
                      <a:lnTo>
                        <a:pt x="1370525" y="728346"/>
                      </a:lnTo>
                      <a:lnTo>
                        <a:pt x="1370489" y="727811"/>
                      </a:lnTo>
                      <a:lnTo>
                        <a:pt x="1370355" y="727289"/>
                      </a:lnTo>
                      <a:lnTo>
                        <a:pt x="1369311" y="723088"/>
                      </a:lnTo>
                      <a:lnTo>
                        <a:pt x="1369104" y="722250"/>
                      </a:lnTo>
                      <a:lnTo>
                        <a:pt x="1368667" y="721497"/>
                      </a:lnTo>
                      <a:lnTo>
                        <a:pt x="1367416" y="719348"/>
                      </a:lnTo>
                      <a:lnTo>
                        <a:pt x="1366918" y="718510"/>
                      </a:lnTo>
                      <a:lnTo>
                        <a:pt x="1366190" y="717854"/>
                      </a:lnTo>
                      <a:lnTo>
                        <a:pt x="1364696" y="716530"/>
                      </a:lnTo>
                      <a:lnTo>
                        <a:pt x="1363846" y="715778"/>
                      </a:lnTo>
                      <a:lnTo>
                        <a:pt x="1362778" y="715377"/>
                      </a:lnTo>
                      <a:lnTo>
                        <a:pt x="1361054" y="714745"/>
                      </a:lnTo>
                      <a:lnTo>
                        <a:pt x="1360483" y="714527"/>
                      </a:lnTo>
                      <a:lnTo>
                        <a:pt x="1359876" y="714442"/>
                      </a:lnTo>
                      <a:lnTo>
                        <a:pt x="1358200" y="714187"/>
                      </a:lnTo>
                      <a:lnTo>
                        <a:pt x="1357702" y="714114"/>
                      </a:lnTo>
                      <a:lnTo>
                        <a:pt x="1357192" y="714114"/>
                      </a:lnTo>
                      <a:lnTo>
                        <a:pt x="1355249" y="714138"/>
                      </a:lnTo>
                      <a:lnTo>
                        <a:pt x="1354691" y="714150"/>
                      </a:lnTo>
                      <a:lnTo>
                        <a:pt x="1354132" y="714260"/>
                      </a:lnTo>
                      <a:lnTo>
                        <a:pt x="1352298" y="714636"/>
                      </a:lnTo>
                      <a:lnTo>
                        <a:pt x="1351728" y="714758"/>
                      </a:lnTo>
                      <a:lnTo>
                        <a:pt x="1351193" y="714976"/>
                      </a:lnTo>
                      <a:lnTo>
                        <a:pt x="1349469" y="715693"/>
                      </a:lnTo>
                      <a:lnTo>
                        <a:pt x="1348947" y="715911"/>
                      </a:lnTo>
                      <a:lnTo>
                        <a:pt x="1348473" y="716215"/>
                      </a:lnTo>
                      <a:lnTo>
                        <a:pt x="1347210" y="717041"/>
                      </a:lnTo>
                      <a:lnTo>
                        <a:pt x="1346943" y="717210"/>
                      </a:lnTo>
                      <a:lnTo>
                        <a:pt x="1345231" y="716021"/>
                      </a:lnTo>
                      <a:lnTo>
                        <a:pt x="1343483" y="714150"/>
                      </a:lnTo>
                      <a:lnTo>
                        <a:pt x="1342778" y="713398"/>
                      </a:lnTo>
                      <a:lnTo>
                        <a:pt x="1341868" y="712912"/>
                      </a:lnTo>
                      <a:lnTo>
                        <a:pt x="1339573" y="711698"/>
                      </a:lnTo>
                      <a:lnTo>
                        <a:pt x="1339160" y="711479"/>
                      </a:lnTo>
                      <a:lnTo>
                        <a:pt x="1338723" y="711333"/>
                      </a:lnTo>
                      <a:lnTo>
                        <a:pt x="1337023" y="710738"/>
                      </a:lnTo>
                      <a:lnTo>
                        <a:pt x="1335735" y="709998"/>
                      </a:lnTo>
                      <a:lnTo>
                        <a:pt x="1334691" y="708443"/>
                      </a:lnTo>
                      <a:lnTo>
                        <a:pt x="1329494" y="697964"/>
                      </a:lnTo>
                      <a:lnTo>
                        <a:pt x="1329761" y="693374"/>
                      </a:lnTo>
                      <a:lnTo>
                        <a:pt x="1329785" y="692997"/>
                      </a:lnTo>
                      <a:lnTo>
                        <a:pt x="1329761" y="692621"/>
                      </a:lnTo>
                      <a:lnTo>
                        <a:pt x="1329579" y="689840"/>
                      </a:lnTo>
                      <a:lnTo>
                        <a:pt x="1329543" y="689221"/>
                      </a:lnTo>
                      <a:lnTo>
                        <a:pt x="1329385" y="688626"/>
                      </a:lnTo>
                      <a:lnTo>
                        <a:pt x="1328535" y="685493"/>
                      </a:lnTo>
                      <a:lnTo>
                        <a:pt x="1328231" y="684388"/>
                      </a:lnTo>
                      <a:lnTo>
                        <a:pt x="1327551" y="683477"/>
                      </a:lnTo>
                      <a:lnTo>
                        <a:pt x="1326106" y="681522"/>
                      </a:lnTo>
                      <a:lnTo>
                        <a:pt x="1325608" y="680842"/>
                      </a:lnTo>
                      <a:lnTo>
                        <a:pt x="1324940" y="680332"/>
                      </a:lnTo>
                      <a:lnTo>
                        <a:pt x="1322524" y="678462"/>
                      </a:lnTo>
                      <a:lnTo>
                        <a:pt x="1322220" y="677989"/>
                      </a:lnTo>
                      <a:lnTo>
                        <a:pt x="1320071" y="672707"/>
                      </a:lnTo>
                      <a:lnTo>
                        <a:pt x="1319695" y="671784"/>
                      </a:lnTo>
                      <a:lnTo>
                        <a:pt x="1319051" y="671031"/>
                      </a:lnTo>
                      <a:lnTo>
                        <a:pt x="1317618" y="669367"/>
                      </a:lnTo>
                      <a:lnTo>
                        <a:pt x="1317157" y="668833"/>
                      </a:lnTo>
                      <a:lnTo>
                        <a:pt x="1316586" y="668420"/>
                      </a:lnTo>
                      <a:lnTo>
                        <a:pt x="1313040" y="665858"/>
                      </a:lnTo>
                      <a:lnTo>
                        <a:pt x="1312882" y="665603"/>
                      </a:lnTo>
                      <a:lnTo>
                        <a:pt x="1312773" y="665239"/>
                      </a:lnTo>
                      <a:lnTo>
                        <a:pt x="1312870" y="661584"/>
                      </a:lnTo>
                      <a:lnTo>
                        <a:pt x="1313417" y="658718"/>
                      </a:lnTo>
                      <a:lnTo>
                        <a:pt x="1313526" y="658159"/>
                      </a:lnTo>
                      <a:lnTo>
                        <a:pt x="1313526" y="657589"/>
                      </a:lnTo>
                      <a:lnTo>
                        <a:pt x="1313526" y="654286"/>
                      </a:lnTo>
                      <a:lnTo>
                        <a:pt x="1313526" y="652634"/>
                      </a:lnTo>
                      <a:lnTo>
                        <a:pt x="1312688" y="651214"/>
                      </a:lnTo>
                      <a:lnTo>
                        <a:pt x="1310333" y="647194"/>
                      </a:lnTo>
                      <a:lnTo>
                        <a:pt x="1310065" y="646733"/>
                      </a:lnTo>
                      <a:lnTo>
                        <a:pt x="1309713" y="646320"/>
                      </a:lnTo>
                      <a:lnTo>
                        <a:pt x="1308681" y="645118"/>
                      </a:lnTo>
                      <a:lnTo>
                        <a:pt x="1308305" y="644669"/>
                      </a:lnTo>
                      <a:lnTo>
                        <a:pt x="1307843" y="644304"/>
                      </a:lnTo>
                      <a:lnTo>
                        <a:pt x="1305670" y="642580"/>
                      </a:lnTo>
                      <a:lnTo>
                        <a:pt x="1305402" y="642361"/>
                      </a:lnTo>
                      <a:lnTo>
                        <a:pt x="1305111" y="642179"/>
                      </a:lnTo>
                      <a:lnTo>
                        <a:pt x="1304030" y="641499"/>
                      </a:lnTo>
                      <a:lnTo>
                        <a:pt x="1303047" y="640601"/>
                      </a:lnTo>
                      <a:lnTo>
                        <a:pt x="1303909" y="637443"/>
                      </a:lnTo>
                      <a:lnTo>
                        <a:pt x="1304079" y="636836"/>
                      </a:lnTo>
                      <a:lnTo>
                        <a:pt x="1304115" y="636205"/>
                      </a:lnTo>
                      <a:lnTo>
                        <a:pt x="1304237" y="634141"/>
                      </a:lnTo>
                      <a:lnTo>
                        <a:pt x="1304346" y="632283"/>
                      </a:lnTo>
                      <a:lnTo>
                        <a:pt x="1303387" y="630680"/>
                      </a:lnTo>
                      <a:lnTo>
                        <a:pt x="1302877" y="629830"/>
                      </a:lnTo>
                      <a:lnTo>
                        <a:pt x="1301674" y="627814"/>
                      </a:lnTo>
                      <a:lnTo>
                        <a:pt x="1299428" y="627134"/>
                      </a:lnTo>
                      <a:lnTo>
                        <a:pt x="1298165" y="626746"/>
                      </a:lnTo>
                      <a:lnTo>
                        <a:pt x="1296975" y="626381"/>
                      </a:lnTo>
                      <a:lnTo>
                        <a:pt x="1296465" y="626442"/>
                      </a:lnTo>
                      <a:lnTo>
                        <a:pt x="1295081" y="625021"/>
                      </a:lnTo>
                      <a:lnTo>
                        <a:pt x="1294110" y="624038"/>
                      </a:lnTo>
                      <a:lnTo>
                        <a:pt x="1293126" y="623042"/>
                      </a:lnTo>
                      <a:lnTo>
                        <a:pt x="1291802" y="622568"/>
                      </a:lnTo>
                      <a:lnTo>
                        <a:pt x="1283594" y="619703"/>
                      </a:lnTo>
                      <a:lnTo>
                        <a:pt x="1257948" y="606491"/>
                      </a:lnTo>
                      <a:lnTo>
                        <a:pt x="1257596" y="606309"/>
                      </a:lnTo>
                      <a:lnTo>
                        <a:pt x="1257219" y="606175"/>
                      </a:lnTo>
                      <a:lnTo>
                        <a:pt x="1243558" y="601270"/>
                      </a:lnTo>
                      <a:lnTo>
                        <a:pt x="1242939" y="601051"/>
                      </a:lnTo>
                      <a:lnTo>
                        <a:pt x="1242283" y="600966"/>
                      </a:lnTo>
                      <a:lnTo>
                        <a:pt x="1221725" y="598295"/>
                      </a:lnTo>
                      <a:lnTo>
                        <a:pt x="1221361" y="598246"/>
                      </a:lnTo>
                      <a:lnTo>
                        <a:pt x="1220997" y="598246"/>
                      </a:lnTo>
                      <a:lnTo>
                        <a:pt x="1203365" y="598100"/>
                      </a:lnTo>
                      <a:lnTo>
                        <a:pt x="1202345" y="598100"/>
                      </a:lnTo>
                      <a:lnTo>
                        <a:pt x="1201362" y="598428"/>
                      </a:lnTo>
                      <a:lnTo>
                        <a:pt x="1196480" y="600092"/>
                      </a:lnTo>
                      <a:lnTo>
                        <a:pt x="1194015" y="600930"/>
                      </a:lnTo>
                      <a:lnTo>
                        <a:pt x="1192922" y="603298"/>
                      </a:lnTo>
                      <a:lnTo>
                        <a:pt x="1192012" y="605277"/>
                      </a:lnTo>
                      <a:lnTo>
                        <a:pt x="1191672" y="606030"/>
                      </a:lnTo>
                      <a:lnTo>
                        <a:pt x="1191538" y="606831"/>
                      </a:lnTo>
                      <a:lnTo>
                        <a:pt x="1191125" y="609308"/>
                      </a:lnTo>
                      <a:lnTo>
                        <a:pt x="1190967" y="610255"/>
                      </a:lnTo>
                      <a:lnTo>
                        <a:pt x="1191113" y="611203"/>
                      </a:lnTo>
                      <a:lnTo>
                        <a:pt x="1191453" y="613522"/>
                      </a:lnTo>
                      <a:lnTo>
                        <a:pt x="1191696" y="615064"/>
                      </a:lnTo>
                      <a:lnTo>
                        <a:pt x="1192643" y="616303"/>
                      </a:lnTo>
                      <a:lnTo>
                        <a:pt x="1193772" y="617784"/>
                      </a:lnTo>
                      <a:lnTo>
                        <a:pt x="1193542" y="618246"/>
                      </a:lnTo>
                      <a:lnTo>
                        <a:pt x="1190044" y="623224"/>
                      </a:lnTo>
                      <a:lnTo>
                        <a:pt x="1187956" y="625289"/>
                      </a:lnTo>
                      <a:lnTo>
                        <a:pt x="1186280" y="626187"/>
                      </a:lnTo>
                      <a:lnTo>
                        <a:pt x="1184592" y="626248"/>
                      </a:lnTo>
                      <a:lnTo>
                        <a:pt x="1182795" y="625653"/>
                      </a:lnTo>
                      <a:lnTo>
                        <a:pt x="1182698" y="625555"/>
                      </a:lnTo>
                      <a:lnTo>
                        <a:pt x="1181933" y="623722"/>
                      </a:lnTo>
                      <a:lnTo>
                        <a:pt x="1181812" y="623431"/>
                      </a:lnTo>
                      <a:lnTo>
                        <a:pt x="1181654" y="623151"/>
                      </a:lnTo>
                      <a:lnTo>
                        <a:pt x="1179529" y="619278"/>
                      </a:lnTo>
                      <a:lnTo>
                        <a:pt x="1179164" y="618610"/>
                      </a:lnTo>
                      <a:lnTo>
                        <a:pt x="1178654" y="618063"/>
                      </a:lnTo>
                      <a:lnTo>
                        <a:pt x="1176299" y="615538"/>
                      </a:lnTo>
                      <a:lnTo>
                        <a:pt x="1176007" y="615234"/>
                      </a:lnTo>
                      <a:lnTo>
                        <a:pt x="1175679" y="614967"/>
                      </a:lnTo>
                      <a:lnTo>
                        <a:pt x="1166366" y="607414"/>
                      </a:lnTo>
                      <a:lnTo>
                        <a:pt x="1165613" y="606807"/>
                      </a:lnTo>
                      <a:lnTo>
                        <a:pt x="1164714" y="606467"/>
                      </a:lnTo>
                      <a:lnTo>
                        <a:pt x="1157842" y="603832"/>
                      </a:lnTo>
                      <a:lnTo>
                        <a:pt x="1156773" y="603419"/>
                      </a:lnTo>
                      <a:lnTo>
                        <a:pt x="1155631" y="603419"/>
                      </a:lnTo>
                      <a:lnTo>
                        <a:pt x="1133373" y="603577"/>
                      </a:lnTo>
                      <a:lnTo>
                        <a:pt x="1123052" y="601112"/>
                      </a:lnTo>
                      <a:lnTo>
                        <a:pt x="1115147" y="596825"/>
                      </a:lnTo>
                      <a:lnTo>
                        <a:pt x="1114625" y="596534"/>
                      </a:lnTo>
                      <a:lnTo>
                        <a:pt x="1114042" y="596352"/>
                      </a:lnTo>
                      <a:lnTo>
                        <a:pt x="1109330" y="594907"/>
                      </a:lnTo>
                      <a:lnTo>
                        <a:pt x="1108650" y="594700"/>
                      </a:lnTo>
                      <a:lnTo>
                        <a:pt x="1107946" y="594652"/>
                      </a:lnTo>
                      <a:lnTo>
                        <a:pt x="1087121" y="593292"/>
                      </a:lnTo>
                      <a:lnTo>
                        <a:pt x="1085530" y="591531"/>
                      </a:lnTo>
                      <a:lnTo>
                        <a:pt x="1084000" y="585678"/>
                      </a:lnTo>
                      <a:lnTo>
                        <a:pt x="1082227" y="570961"/>
                      </a:lnTo>
                      <a:lnTo>
                        <a:pt x="1082167" y="570463"/>
                      </a:lnTo>
                      <a:lnTo>
                        <a:pt x="1082033" y="569990"/>
                      </a:lnTo>
                      <a:lnTo>
                        <a:pt x="1079787" y="562206"/>
                      </a:lnTo>
                      <a:lnTo>
                        <a:pt x="1079532" y="561356"/>
                      </a:lnTo>
                      <a:lnTo>
                        <a:pt x="1079046" y="560603"/>
                      </a:lnTo>
                      <a:lnTo>
                        <a:pt x="1075779" y="555527"/>
                      </a:lnTo>
                      <a:lnTo>
                        <a:pt x="1074687" y="553815"/>
                      </a:lnTo>
                      <a:lnTo>
                        <a:pt x="1072780" y="553111"/>
                      </a:lnTo>
                      <a:lnTo>
                        <a:pt x="1071687" y="552710"/>
                      </a:lnTo>
                      <a:lnTo>
                        <a:pt x="1067656" y="551180"/>
                      </a:lnTo>
                      <a:lnTo>
                        <a:pt x="1065883" y="550500"/>
                      </a:lnTo>
                      <a:lnTo>
                        <a:pt x="1064037" y="550962"/>
                      </a:lnTo>
                      <a:lnTo>
                        <a:pt x="1040771" y="556717"/>
                      </a:lnTo>
                      <a:lnTo>
                        <a:pt x="1026382" y="558320"/>
                      </a:lnTo>
                      <a:lnTo>
                        <a:pt x="1021768" y="556924"/>
                      </a:lnTo>
                      <a:lnTo>
                        <a:pt x="1012660" y="548059"/>
                      </a:lnTo>
                      <a:lnTo>
                        <a:pt x="1011944" y="547355"/>
                      </a:lnTo>
                      <a:lnTo>
                        <a:pt x="1011045" y="546930"/>
                      </a:lnTo>
                      <a:lnTo>
                        <a:pt x="997130" y="540251"/>
                      </a:lnTo>
                      <a:lnTo>
                        <a:pt x="975284" y="522899"/>
                      </a:lnTo>
                      <a:lnTo>
                        <a:pt x="974544" y="522316"/>
                      </a:lnTo>
                      <a:lnTo>
                        <a:pt x="973669" y="521988"/>
                      </a:lnTo>
                      <a:lnTo>
                        <a:pt x="965922" y="519050"/>
                      </a:lnTo>
                      <a:lnTo>
                        <a:pt x="963858" y="517908"/>
                      </a:lnTo>
                      <a:lnTo>
                        <a:pt x="960968" y="514958"/>
                      </a:lnTo>
                      <a:lnTo>
                        <a:pt x="960725" y="514703"/>
                      </a:lnTo>
                      <a:lnTo>
                        <a:pt x="960458" y="514484"/>
                      </a:lnTo>
                      <a:lnTo>
                        <a:pt x="956669" y="511412"/>
                      </a:lnTo>
                      <a:lnTo>
                        <a:pt x="955916" y="510805"/>
                      </a:lnTo>
                      <a:lnTo>
                        <a:pt x="955018" y="510465"/>
                      </a:lnTo>
                      <a:lnTo>
                        <a:pt x="950161" y="508886"/>
                      </a:lnTo>
                      <a:lnTo>
                        <a:pt x="949529" y="508680"/>
                      </a:lnTo>
                      <a:lnTo>
                        <a:pt x="948874" y="508619"/>
                      </a:lnTo>
                      <a:lnTo>
                        <a:pt x="939220" y="507708"/>
                      </a:lnTo>
                      <a:lnTo>
                        <a:pt x="937678" y="507563"/>
                      </a:lnTo>
                      <a:lnTo>
                        <a:pt x="936257" y="508170"/>
                      </a:lnTo>
                      <a:lnTo>
                        <a:pt x="930756" y="510526"/>
                      </a:lnTo>
                      <a:lnTo>
                        <a:pt x="929506" y="511060"/>
                      </a:lnTo>
                      <a:lnTo>
                        <a:pt x="928607" y="512068"/>
                      </a:lnTo>
                      <a:lnTo>
                        <a:pt x="921540" y="520021"/>
                      </a:lnTo>
                      <a:lnTo>
                        <a:pt x="919621" y="521284"/>
                      </a:lnTo>
                      <a:lnTo>
                        <a:pt x="917885" y="521151"/>
                      </a:lnTo>
                      <a:lnTo>
                        <a:pt x="914145" y="519014"/>
                      </a:lnTo>
                      <a:lnTo>
                        <a:pt x="909227" y="515468"/>
                      </a:lnTo>
                      <a:lnTo>
                        <a:pt x="908948" y="515261"/>
                      </a:lnTo>
                      <a:lnTo>
                        <a:pt x="908644" y="515091"/>
                      </a:lnTo>
                      <a:lnTo>
                        <a:pt x="900059" y="510307"/>
                      </a:lnTo>
                      <a:lnTo>
                        <a:pt x="893210" y="503276"/>
                      </a:lnTo>
                      <a:lnTo>
                        <a:pt x="892943" y="503009"/>
                      </a:lnTo>
                      <a:lnTo>
                        <a:pt x="892640" y="502766"/>
                      </a:lnTo>
                      <a:lnTo>
                        <a:pt x="888620" y="499573"/>
                      </a:lnTo>
                      <a:lnTo>
                        <a:pt x="887819" y="498929"/>
                      </a:lnTo>
                      <a:lnTo>
                        <a:pt x="886848" y="498589"/>
                      </a:lnTo>
                      <a:lnTo>
                        <a:pt x="882428" y="497047"/>
                      </a:lnTo>
                      <a:lnTo>
                        <a:pt x="882088" y="496926"/>
                      </a:lnTo>
                      <a:lnTo>
                        <a:pt x="881735" y="496852"/>
                      </a:lnTo>
                      <a:lnTo>
                        <a:pt x="873539" y="495043"/>
                      </a:lnTo>
                      <a:lnTo>
                        <a:pt x="871717" y="493671"/>
                      </a:lnTo>
                      <a:lnTo>
                        <a:pt x="869908" y="490878"/>
                      </a:lnTo>
                      <a:lnTo>
                        <a:pt x="869240" y="489846"/>
                      </a:lnTo>
                      <a:lnTo>
                        <a:pt x="868220" y="489154"/>
                      </a:lnTo>
                      <a:lnTo>
                        <a:pt x="864432" y="486580"/>
                      </a:lnTo>
                      <a:lnTo>
                        <a:pt x="864092" y="486337"/>
                      </a:lnTo>
                      <a:lnTo>
                        <a:pt x="863715" y="486155"/>
                      </a:lnTo>
                      <a:lnTo>
                        <a:pt x="847662" y="478238"/>
                      </a:lnTo>
                      <a:lnTo>
                        <a:pt x="846727" y="477509"/>
                      </a:lnTo>
                      <a:lnTo>
                        <a:pt x="846618" y="476513"/>
                      </a:lnTo>
                      <a:lnTo>
                        <a:pt x="846557" y="475979"/>
                      </a:lnTo>
                      <a:lnTo>
                        <a:pt x="846399" y="475457"/>
                      </a:lnTo>
                      <a:lnTo>
                        <a:pt x="845537" y="472555"/>
                      </a:lnTo>
                      <a:lnTo>
                        <a:pt x="845282" y="471680"/>
                      </a:lnTo>
                      <a:lnTo>
                        <a:pt x="844784" y="470927"/>
                      </a:lnTo>
                      <a:lnTo>
                        <a:pt x="842319" y="467199"/>
                      </a:lnTo>
                      <a:lnTo>
                        <a:pt x="842028" y="466762"/>
                      </a:lnTo>
                      <a:lnTo>
                        <a:pt x="841664" y="466374"/>
                      </a:lnTo>
                      <a:lnTo>
                        <a:pt x="838336" y="462877"/>
                      </a:lnTo>
                      <a:lnTo>
                        <a:pt x="837911" y="462427"/>
                      </a:lnTo>
                      <a:lnTo>
                        <a:pt x="837401" y="462075"/>
                      </a:lnTo>
                      <a:lnTo>
                        <a:pt x="833382" y="459282"/>
                      </a:lnTo>
                      <a:lnTo>
                        <a:pt x="832678" y="458784"/>
                      </a:lnTo>
                      <a:lnTo>
                        <a:pt x="831864" y="458517"/>
                      </a:lnTo>
                      <a:lnTo>
                        <a:pt x="827614" y="457084"/>
                      </a:lnTo>
                      <a:lnTo>
                        <a:pt x="826291" y="456635"/>
                      </a:lnTo>
                      <a:lnTo>
                        <a:pt x="824906" y="456817"/>
                      </a:lnTo>
                      <a:lnTo>
                        <a:pt x="822028" y="457182"/>
                      </a:lnTo>
                      <a:lnTo>
                        <a:pt x="819308" y="457534"/>
                      </a:lnTo>
                      <a:lnTo>
                        <a:pt x="817778" y="459804"/>
                      </a:lnTo>
                      <a:lnTo>
                        <a:pt x="817001" y="460958"/>
                      </a:lnTo>
                      <a:lnTo>
                        <a:pt x="816564" y="460108"/>
                      </a:lnTo>
                      <a:lnTo>
                        <a:pt x="814038" y="455214"/>
                      </a:lnTo>
                      <a:lnTo>
                        <a:pt x="813674" y="454510"/>
                      </a:lnTo>
                      <a:lnTo>
                        <a:pt x="813140" y="453927"/>
                      </a:lnTo>
                      <a:lnTo>
                        <a:pt x="802879" y="442622"/>
                      </a:lnTo>
                      <a:lnTo>
                        <a:pt x="800875" y="438154"/>
                      </a:lnTo>
                      <a:lnTo>
                        <a:pt x="797148" y="426399"/>
                      </a:lnTo>
                      <a:lnTo>
                        <a:pt x="796795" y="425294"/>
                      </a:lnTo>
                      <a:lnTo>
                        <a:pt x="796067" y="424396"/>
                      </a:lnTo>
                      <a:lnTo>
                        <a:pt x="792205" y="419648"/>
                      </a:lnTo>
                      <a:lnTo>
                        <a:pt x="791380" y="418640"/>
                      </a:lnTo>
                      <a:lnTo>
                        <a:pt x="790214" y="418057"/>
                      </a:lnTo>
                      <a:lnTo>
                        <a:pt x="785806" y="415847"/>
                      </a:lnTo>
                      <a:lnTo>
                        <a:pt x="785041" y="415459"/>
                      </a:lnTo>
                      <a:lnTo>
                        <a:pt x="784191" y="415301"/>
                      </a:lnTo>
                      <a:lnTo>
                        <a:pt x="765588" y="411888"/>
                      </a:lnTo>
                      <a:lnTo>
                        <a:pt x="760075" y="410868"/>
                      </a:lnTo>
                      <a:lnTo>
                        <a:pt x="760051" y="410662"/>
                      </a:lnTo>
                      <a:lnTo>
                        <a:pt x="759990" y="410225"/>
                      </a:lnTo>
                      <a:lnTo>
                        <a:pt x="759869" y="409812"/>
                      </a:lnTo>
                      <a:lnTo>
                        <a:pt x="759237" y="407638"/>
                      </a:lnTo>
                      <a:lnTo>
                        <a:pt x="758533" y="405210"/>
                      </a:lnTo>
                      <a:lnTo>
                        <a:pt x="756299" y="403996"/>
                      </a:lnTo>
                      <a:lnTo>
                        <a:pt x="754064" y="402781"/>
                      </a:lnTo>
                      <a:lnTo>
                        <a:pt x="751745" y="401518"/>
                      </a:lnTo>
                      <a:lnTo>
                        <a:pt x="749232" y="402356"/>
                      </a:lnTo>
                      <a:lnTo>
                        <a:pt x="747374" y="402976"/>
                      </a:lnTo>
                      <a:lnTo>
                        <a:pt x="745285" y="402927"/>
                      </a:lnTo>
                      <a:lnTo>
                        <a:pt x="742444" y="402368"/>
                      </a:lnTo>
                      <a:lnTo>
                        <a:pt x="740598" y="401798"/>
                      </a:lnTo>
                      <a:lnTo>
                        <a:pt x="739590" y="401106"/>
                      </a:lnTo>
                      <a:lnTo>
                        <a:pt x="739529" y="400887"/>
                      </a:lnTo>
                      <a:lnTo>
                        <a:pt x="739299" y="398422"/>
                      </a:lnTo>
                      <a:lnTo>
                        <a:pt x="739189" y="397256"/>
                      </a:lnTo>
                      <a:lnTo>
                        <a:pt x="738655" y="396212"/>
                      </a:lnTo>
                      <a:lnTo>
                        <a:pt x="737101" y="393176"/>
                      </a:lnTo>
                      <a:lnTo>
                        <a:pt x="736093" y="391221"/>
                      </a:lnTo>
                      <a:lnTo>
                        <a:pt x="734065" y="390359"/>
                      </a:lnTo>
                      <a:lnTo>
                        <a:pt x="731418" y="389230"/>
                      </a:lnTo>
                      <a:lnTo>
                        <a:pt x="730289" y="388744"/>
                      </a:lnTo>
                      <a:lnTo>
                        <a:pt x="729050" y="388744"/>
                      </a:lnTo>
                      <a:lnTo>
                        <a:pt x="721886" y="388720"/>
                      </a:lnTo>
                      <a:lnTo>
                        <a:pt x="719967" y="388380"/>
                      </a:lnTo>
                      <a:lnTo>
                        <a:pt x="718437" y="387481"/>
                      </a:lnTo>
                      <a:lnTo>
                        <a:pt x="711868" y="380863"/>
                      </a:lnTo>
                      <a:lnTo>
                        <a:pt x="711394" y="380377"/>
                      </a:lnTo>
                      <a:lnTo>
                        <a:pt x="710835" y="380013"/>
                      </a:lnTo>
                      <a:lnTo>
                        <a:pt x="707739" y="378034"/>
                      </a:lnTo>
                      <a:lnTo>
                        <a:pt x="706950" y="377524"/>
                      </a:lnTo>
                      <a:lnTo>
                        <a:pt x="706039" y="377281"/>
                      </a:lnTo>
                      <a:lnTo>
                        <a:pt x="700696" y="375836"/>
                      </a:lnTo>
                      <a:lnTo>
                        <a:pt x="699190" y="375132"/>
                      </a:lnTo>
                      <a:lnTo>
                        <a:pt x="698486" y="374294"/>
                      </a:lnTo>
                      <a:lnTo>
                        <a:pt x="695038" y="367992"/>
                      </a:lnTo>
                      <a:lnTo>
                        <a:pt x="694333" y="366704"/>
                      </a:lnTo>
                      <a:lnTo>
                        <a:pt x="693119" y="365879"/>
                      </a:lnTo>
                      <a:lnTo>
                        <a:pt x="690715" y="364252"/>
                      </a:lnTo>
                      <a:lnTo>
                        <a:pt x="689634" y="363523"/>
                      </a:lnTo>
                      <a:lnTo>
                        <a:pt x="688359" y="363292"/>
                      </a:lnTo>
                      <a:lnTo>
                        <a:pt x="681838" y="362163"/>
                      </a:lnTo>
                      <a:lnTo>
                        <a:pt x="679446" y="361374"/>
                      </a:lnTo>
                      <a:lnTo>
                        <a:pt x="678924" y="361119"/>
                      </a:lnTo>
                      <a:lnTo>
                        <a:pt x="678936" y="361046"/>
                      </a:lnTo>
                      <a:lnTo>
                        <a:pt x="679252" y="359164"/>
                      </a:lnTo>
                      <a:lnTo>
                        <a:pt x="678426" y="357427"/>
                      </a:lnTo>
                      <a:lnTo>
                        <a:pt x="677855" y="356225"/>
                      </a:lnTo>
                      <a:lnTo>
                        <a:pt x="676253" y="352874"/>
                      </a:lnTo>
                      <a:lnTo>
                        <a:pt x="672537" y="352777"/>
                      </a:lnTo>
                      <a:lnTo>
                        <a:pt x="668517" y="352667"/>
                      </a:lnTo>
                      <a:lnTo>
                        <a:pt x="665372" y="352582"/>
                      </a:lnTo>
                      <a:lnTo>
                        <a:pt x="663770" y="352546"/>
                      </a:lnTo>
                      <a:lnTo>
                        <a:pt x="662361" y="353299"/>
                      </a:lnTo>
                      <a:lnTo>
                        <a:pt x="658572" y="355302"/>
                      </a:lnTo>
                      <a:lnTo>
                        <a:pt x="657212" y="356031"/>
                      </a:lnTo>
                      <a:lnTo>
                        <a:pt x="656362" y="357318"/>
                      </a:lnTo>
                      <a:lnTo>
                        <a:pt x="654517" y="360099"/>
                      </a:lnTo>
                      <a:lnTo>
                        <a:pt x="653764" y="361228"/>
                      </a:lnTo>
                      <a:lnTo>
                        <a:pt x="653570" y="362576"/>
                      </a:lnTo>
                      <a:lnTo>
                        <a:pt x="653059" y="366085"/>
                      </a:lnTo>
                      <a:lnTo>
                        <a:pt x="652938" y="366887"/>
                      </a:lnTo>
                      <a:lnTo>
                        <a:pt x="653035" y="367700"/>
                      </a:lnTo>
                      <a:lnTo>
                        <a:pt x="653072" y="368004"/>
                      </a:lnTo>
                      <a:lnTo>
                        <a:pt x="652671" y="367530"/>
                      </a:lnTo>
                      <a:lnTo>
                        <a:pt x="652003" y="366765"/>
                      </a:lnTo>
                      <a:lnTo>
                        <a:pt x="651129" y="366255"/>
                      </a:lnTo>
                      <a:lnTo>
                        <a:pt x="647753" y="364312"/>
                      </a:lnTo>
                      <a:lnTo>
                        <a:pt x="646478" y="363560"/>
                      </a:lnTo>
                      <a:lnTo>
                        <a:pt x="644997" y="363499"/>
                      </a:lnTo>
                      <a:lnTo>
                        <a:pt x="641196" y="363329"/>
                      </a:lnTo>
                      <a:lnTo>
                        <a:pt x="640261" y="363292"/>
                      </a:lnTo>
                      <a:lnTo>
                        <a:pt x="639350" y="363535"/>
                      </a:lnTo>
                      <a:lnTo>
                        <a:pt x="636169" y="364385"/>
                      </a:lnTo>
                      <a:lnTo>
                        <a:pt x="634493" y="364604"/>
                      </a:lnTo>
                      <a:lnTo>
                        <a:pt x="633619" y="364264"/>
                      </a:lnTo>
                      <a:lnTo>
                        <a:pt x="632914" y="363426"/>
                      </a:lnTo>
                      <a:lnTo>
                        <a:pt x="628118" y="353955"/>
                      </a:lnTo>
                      <a:lnTo>
                        <a:pt x="627523" y="352789"/>
                      </a:lnTo>
                      <a:lnTo>
                        <a:pt x="626515" y="351975"/>
                      </a:lnTo>
                      <a:lnTo>
                        <a:pt x="625082" y="350822"/>
                      </a:lnTo>
                      <a:lnTo>
                        <a:pt x="624001" y="349947"/>
                      </a:lnTo>
                      <a:lnTo>
                        <a:pt x="622654" y="349632"/>
                      </a:lnTo>
                      <a:lnTo>
                        <a:pt x="619946" y="349000"/>
                      </a:lnTo>
                      <a:lnTo>
                        <a:pt x="619763" y="348818"/>
                      </a:lnTo>
                      <a:lnTo>
                        <a:pt x="618173" y="346147"/>
                      </a:lnTo>
                      <a:lnTo>
                        <a:pt x="617930" y="345746"/>
                      </a:lnTo>
                      <a:lnTo>
                        <a:pt x="617639" y="345394"/>
                      </a:lnTo>
                      <a:lnTo>
                        <a:pt x="616546" y="344070"/>
                      </a:lnTo>
                      <a:lnTo>
                        <a:pt x="615878" y="343269"/>
                      </a:lnTo>
                      <a:lnTo>
                        <a:pt x="614991" y="342734"/>
                      </a:lnTo>
                      <a:lnTo>
                        <a:pt x="611834" y="340840"/>
                      </a:lnTo>
                      <a:lnTo>
                        <a:pt x="610838" y="340245"/>
                      </a:lnTo>
                      <a:lnTo>
                        <a:pt x="609697" y="340051"/>
                      </a:lnTo>
                      <a:lnTo>
                        <a:pt x="603577" y="339043"/>
                      </a:lnTo>
                      <a:lnTo>
                        <a:pt x="601379" y="338302"/>
                      </a:lnTo>
                      <a:lnTo>
                        <a:pt x="600043" y="337319"/>
                      </a:lnTo>
                      <a:lnTo>
                        <a:pt x="594324" y="329984"/>
                      </a:lnTo>
                      <a:lnTo>
                        <a:pt x="593571" y="329037"/>
                      </a:lnTo>
                      <a:lnTo>
                        <a:pt x="592527" y="328442"/>
                      </a:lnTo>
                      <a:lnTo>
                        <a:pt x="586492" y="325018"/>
                      </a:lnTo>
                      <a:lnTo>
                        <a:pt x="585606" y="324508"/>
                      </a:lnTo>
                      <a:lnTo>
                        <a:pt x="584610" y="324326"/>
                      </a:lnTo>
                      <a:lnTo>
                        <a:pt x="582946" y="324010"/>
                      </a:lnTo>
                      <a:lnTo>
                        <a:pt x="577032" y="322893"/>
                      </a:lnTo>
                      <a:lnTo>
                        <a:pt x="575867" y="328782"/>
                      </a:lnTo>
                      <a:lnTo>
                        <a:pt x="575332" y="331466"/>
                      </a:lnTo>
                      <a:lnTo>
                        <a:pt x="574798" y="332814"/>
                      </a:lnTo>
                      <a:lnTo>
                        <a:pt x="573608" y="334829"/>
                      </a:lnTo>
                      <a:lnTo>
                        <a:pt x="569407" y="339322"/>
                      </a:lnTo>
                      <a:lnTo>
                        <a:pt x="567731" y="340464"/>
                      </a:lnTo>
                      <a:lnTo>
                        <a:pt x="565970" y="341326"/>
                      </a:lnTo>
                      <a:lnTo>
                        <a:pt x="564622" y="341739"/>
                      </a:lnTo>
                      <a:lnTo>
                        <a:pt x="563323" y="341799"/>
                      </a:lnTo>
                      <a:lnTo>
                        <a:pt x="561781" y="341484"/>
                      </a:lnTo>
                      <a:lnTo>
                        <a:pt x="561405" y="341241"/>
                      </a:lnTo>
                      <a:lnTo>
                        <a:pt x="562461" y="339043"/>
                      </a:lnTo>
                      <a:lnTo>
                        <a:pt x="561259" y="336444"/>
                      </a:lnTo>
                      <a:lnTo>
                        <a:pt x="560737" y="335315"/>
                      </a:lnTo>
                      <a:lnTo>
                        <a:pt x="558782" y="331053"/>
                      </a:lnTo>
                      <a:lnTo>
                        <a:pt x="554374" y="331830"/>
                      </a:lnTo>
                      <a:lnTo>
                        <a:pt x="554082" y="330215"/>
                      </a:lnTo>
                      <a:lnTo>
                        <a:pt x="553609" y="327677"/>
                      </a:lnTo>
                      <a:lnTo>
                        <a:pt x="551447" y="326256"/>
                      </a:lnTo>
                      <a:lnTo>
                        <a:pt x="550233" y="325455"/>
                      </a:lnTo>
                      <a:lnTo>
                        <a:pt x="548205" y="324119"/>
                      </a:lnTo>
                      <a:lnTo>
                        <a:pt x="545825" y="324544"/>
                      </a:lnTo>
                      <a:lnTo>
                        <a:pt x="544052" y="324860"/>
                      </a:lnTo>
                      <a:lnTo>
                        <a:pt x="544150" y="324508"/>
                      </a:lnTo>
                      <a:lnTo>
                        <a:pt x="544927" y="321606"/>
                      </a:lnTo>
                      <a:lnTo>
                        <a:pt x="543093" y="319226"/>
                      </a:lnTo>
                      <a:lnTo>
                        <a:pt x="541417" y="317052"/>
                      </a:lnTo>
                      <a:lnTo>
                        <a:pt x="540737" y="316166"/>
                      </a:lnTo>
                      <a:lnTo>
                        <a:pt x="539790" y="315583"/>
                      </a:lnTo>
                      <a:lnTo>
                        <a:pt x="536135" y="313336"/>
                      </a:lnTo>
                      <a:lnTo>
                        <a:pt x="535127" y="312705"/>
                      </a:lnTo>
                      <a:lnTo>
                        <a:pt x="533949" y="312511"/>
                      </a:lnTo>
                      <a:lnTo>
                        <a:pt x="524757" y="310993"/>
                      </a:lnTo>
                      <a:lnTo>
                        <a:pt x="524405" y="310932"/>
                      </a:lnTo>
                      <a:lnTo>
                        <a:pt x="524041" y="310920"/>
                      </a:lnTo>
                      <a:lnTo>
                        <a:pt x="520240" y="310750"/>
                      </a:lnTo>
                      <a:lnTo>
                        <a:pt x="518783" y="310689"/>
                      </a:lnTo>
                      <a:lnTo>
                        <a:pt x="517459" y="311284"/>
                      </a:lnTo>
                      <a:lnTo>
                        <a:pt x="514934" y="312426"/>
                      </a:lnTo>
                      <a:lnTo>
                        <a:pt x="511181" y="314126"/>
                      </a:lnTo>
                      <a:lnTo>
                        <a:pt x="511339" y="317599"/>
                      </a:lnTo>
                      <a:lnTo>
                        <a:pt x="511291" y="317611"/>
                      </a:lnTo>
                      <a:lnTo>
                        <a:pt x="500471" y="315352"/>
                      </a:lnTo>
                      <a:lnTo>
                        <a:pt x="498322" y="314903"/>
                      </a:lnTo>
                      <a:lnTo>
                        <a:pt x="496379" y="315935"/>
                      </a:lnTo>
                      <a:lnTo>
                        <a:pt x="493878" y="317259"/>
                      </a:lnTo>
                      <a:lnTo>
                        <a:pt x="493829" y="317149"/>
                      </a:lnTo>
                      <a:lnTo>
                        <a:pt x="493440" y="316311"/>
                      </a:lnTo>
                      <a:lnTo>
                        <a:pt x="492821" y="315631"/>
                      </a:lnTo>
                      <a:lnTo>
                        <a:pt x="491279" y="313919"/>
                      </a:lnTo>
                      <a:lnTo>
                        <a:pt x="489421" y="311867"/>
                      </a:lnTo>
                      <a:lnTo>
                        <a:pt x="486640" y="311928"/>
                      </a:lnTo>
                      <a:lnTo>
                        <a:pt x="479112" y="312098"/>
                      </a:lnTo>
                      <a:lnTo>
                        <a:pt x="478068" y="312122"/>
                      </a:lnTo>
                      <a:lnTo>
                        <a:pt x="477084" y="312499"/>
                      </a:lnTo>
                      <a:lnTo>
                        <a:pt x="466945" y="316348"/>
                      </a:lnTo>
                      <a:lnTo>
                        <a:pt x="464516" y="307714"/>
                      </a:lnTo>
                      <a:lnTo>
                        <a:pt x="464273" y="306840"/>
                      </a:lnTo>
                      <a:lnTo>
                        <a:pt x="463787" y="306087"/>
                      </a:lnTo>
                      <a:lnTo>
                        <a:pt x="462537" y="304132"/>
                      </a:lnTo>
                      <a:lnTo>
                        <a:pt x="462306" y="303877"/>
                      </a:lnTo>
                      <a:lnTo>
                        <a:pt x="462063" y="303585"/>
                      </a:lnTo>
                      <a:lnTo>
                        <a:pt x="460448" y="301643"/>
                      </a:lnTo>
                      <a:lnTo>
                        <a:pt x="460242" y="301388"/>
                      </a:lnTo>
                      <a:lnTo>
                        <a:pt x="459999" y="301157"/>
                      </a:lnTo>
                      <a:lnTo>
                        <a:pt x="457449" y="298692"/>
                      </a:lnTo>
                      <a:lnTo>
                        <a:pt x="456477" y="297380"/>
                      </a:lnTo>
                      <a:lnTo>
                        <a:pt x="456125" y="296907"/>
                      </a:lnTo>
                      <a:lnTo>
                        <a:pt x="455688" y="296506"/>
                      </a:lnTo>
                      <a:lnTo>
                        <a:pt x="454195" y="295134"/>
                      </a:lnTo>
                      <a:lnTo>
                        <a:pt x="452628" y="293701"/>
                      </a:lnTo>
                      <a:lnTo>
                        <a:pt x="450503" y="293556"/>
                      </a:lnTo>
                      <a:lnTo>
                        <a:pt x="448669" y="293434"/>
                      </a:lnTo>
                      <a:lnTo>
                        <a:pt x="446897" y="293313"/>
                      </a:lnTo>
                      <a:lnTo>
                        <a:pt x="445342" y="294175"/>
                      </a:lnTo>
                      <a:lnTo>
                        <a:pt x="444274" y="294758"/>
                      </a:lnTo>
                      <a:lnTo>
                        <a:pt x="443812" y="294879"/>
                      </a:lnTo>
                      <a:lnTo>
                        <a:pt x="441699" y="294709"/>
                      </a:lnTo>
                      <a:lnTo>
                        <a:pt x="438809" y="293774"/>
                      </a:lnTo>
                      <a:lnTo>
                        <a:pt x="416345" y="278304"/>
                      </a:lnTo>
                      <a:lnTo>
                        <a:pt x="414184" y="276215"/>
                      </a:lnTo>
                      <a:lnTo>
                        <a:pt x="413455" y="275195"/>
                      </a:lnTo>
                      <a:lnTo>
                        <a:pt x="413419" y="274965"/>
                      </a:lnTo>
                      <a:lnTo>
                        <a:pt x="413321" y="273192"/>
                      </a:lnTo>
                      <a:lnTo>
                        <a:pt x="413273" y="272281"/>
                      </a:lnTo>
                      <a:lnTo>
                        <a:pt x="412957" y="271419"/>
                      </a:lnTo>
                      <a:lnTo>
                        <a:pt x="412265" y="269549"/>
                      </a:lnTo>
                      <a:lnTo>
                        <a:pt x="411840" y="268395"/>
                      </a:lnTo>
                      <a:lnTo>
                        <a:pt x="411002" y="267497"/>
                      </a:lnTo>
                      <a:lnTo>
                        <a:pt x="409387" y="265772"/>
                      </a:lnTo>
                      <a:lnTo>
                        <a:pt x="408695" y="265044"/>
                      </a:lnTo>
                      <a:lnTo>
                        <a:pt x="407821" y="264570"/>
                      </a:lnTo>
                      <a:lnTo>
                        <a:pt x="393820" y="257102"/>
                      </a:lnTo>
                      <a:lnTo>
                        <a:pt x="393176" y="256762"/>
                      </a:lnTo>
                      <a:lnTo>
                        <a:pt x="392472" y="256580"/>
                      </a:lnTo>
                      <a:lnTo>
                        <a:pt x="390116" y="255973"/>
                      </a:lnTo>
                      <a:lnTo>
                        <a:pt x="388926" y="255669"/>
                      </a:lnTo>
                      <a:lnTo>
                        <a:pt x="387724" y="255852"/>
                      </a:lnTo>
                      <a:lnTo>
                        <a:pt x="386510" y="256034"/>
                      </a:lnTo>
                      <a:lnTo>
                        <a:pt x="385393" y="256192"/>
                      </a:lnTo>
                      <a:lnTo>
                        <a:pt x="384409" y="256738"/>
                      </a:lnTo>
                      <a:lnTo>
                        <a:pt x="380742" y="258790"/>
                      </a:lnTo>
                      <a:lnTo>
                        <a:pt x="369680" y="261656"/>
                      </a:lnTo>
                      <a:lnTo>
                        <a:pt x="368951" y="261838"/>
                      </a:lnTo>
                      <a:lnTo>
                        <a:pt x="368696" y="260126"/>
                      </a:lnTo>
                      <a:lnTo>
                        <a:pt x="368623" y="259604"/>
                      </a:lnTo>
                      <a:lnTo>
                        <a:pt x="368453" y="259094"/>
                      </a:lnTo>
                      <a:lnTo>
                        <a:pt x="367190" y="255305"/>
                      </a:lnTo>
                      <a:lnTo>
                        <a:pt x="366984" y="254698"/>
                      </a:lnTo>
                      <a:lnTo>
                        <a:pt x="366656" y="254140"/>
                      </a:lnTo>
                      <a:lnTo>
                        <a:pt x="364240" y="250060"/>
                      </a:lnTo>
                      <a:lnTo>
                        <a:pt x="363924" y="249525"/>
                      </a:lnTo>
                      <a:lnTo>
                        <a:pt x="363499" y="249064"/>
                      </a:lnTo>
                      <a:lnTo>
                        <a:pt x="360184" y="245421"/>
                      </a:lnTo>
                      <a:lnTo>
                        <a:pt x="359443" y="244607"/>
                      </a:lnTo>
                      <a:lnTo>
                        <a:pt x="358460" y="244109"/>
                      </a:lnTo>
                      <a:lnTo>
                        <a:pt x="338934" y="234092"/>
                      </a:lnTo>
                      <a:lnTo>
                        <a:pt x="339043" y="234128"/>
                      </a:lnTo>
                      <a:lnTo>
                        <a:pt x="340452" y="234529"/>
                      </a:lnTo>
                      <a:lnTo>
                        <a:pt x="341897" y="234237"/>
                      </a:lnTo>
                      <a:lnTo>
                        <a:pt x="343560" y="233897"/>
                      </a:lnTo>
                      <a:lnTo>
                        <a:pt x="346329" y="233339"/>
                      </a:lnTo>
                      <a:lnTo>
                        <a:pt x="347677" y="230861"/>
                      </a:lnTo>
                      <a:lnTo>
                        <a:pt x="348818" y="228773"/>
                      </a:lnTo>
                      <a:lnTo>
                        <a:pt x="349644" y="228834"/>
                      </a:lnTo>
                      <a:lnTo>
                        <a:pt x="351417" y="228967"/>
                      </a:lnTo>
                      <a:lnTo>
                        <a:pt x="352886" y="229076"/>
                      </a:lnTo>
                      <a:lnTo>
                        <a:pt x="354234" y="228506"/>
                      </a:lnTo>
                      <a:lnTo>
                        <a:pt x="356602" y="227510"/>
                      </a:lnTo>
                      <a:lnTo>
                        <a:pt x="357537" y="227121"/>
                      </a:lnTo>
                      <a:lnTo>
                        <a:pt x="358290" y="226454"/>
                      </a:lnTo>
                      <a:lnTo>
                        <a:pt x="367057" y="218646"/>
                      </a:lnTo>
                      <a:lnTo>
                        <a:pt x="367664" y="218099"/>
                      </a:lnTo>
                      <a:lnTo>
                        <a:pt x="368113" y="217407"/>
                      </a:lnTo>
                      <a:lnTo>
                        <a:pt x="369668" y="215015"/>
                      </a:lnTo>
                      <a:lnTo>
                        <a:pt x="370177" y="214226"/>
                      </a:lnTo>
                      <a:lnTo>
                        <a:pt x="370433" y="213315"/>
                      </a:lnTo>
                      <a:lnTo>
                        <a:pt x="371125" y="210765"/>
                      </a:lnTo>
                      <a:lnTo>
                        <a:pt x="371270" y="210255"/>
                      </a:lnTo>
                      <a:lnTo>
                        <a:pt x="371319" y="209721"/>
                      </a:lnTo>
                      <a:lnTo>
                        <a:pt x="371501" y="207741"/>
                      </a:lnTo>
                      <a:lnTo>
                        <a:pt x="371817" y="204159"/>
                      </a:lnTo>
                      <a:lnTo>
                        <a:pt x="368830" y="202156"/>
                      </a:lnTo>
                      <a:lnTo>
                        <a:pt x="366292" y="200444"/>
                      </a:lnTo>
                      <a:lnTo>
                        <a:pt x="365284" y="199764"/>
                      </a:lnTo>
                      <a:lnTo>
                        <a:pt x="364094" y="199533"/>
                      </a:lnTo>
                      <a:lnTo>
                        <a:pt x="350809" y="196898"/>
                      </a:lnTo>
                      <a:lnTo>
                        <a:pt x="346729" y="195343"/>
                      </a:lnTo>
                      <a:lnTo>
                        <a:pt x="317040" y="178586"/>
                      </a:lnTo>
                      <a:lnTo>
                        <a:pt x="307848" y="170645"/>
                      </a:lnTo>
                      <a:lnTo>
                        <a:pt x="301873" y="163031"/>
                      </a:lnTo>
                      <a:lnTo>
                        <a:pt x="298838" y="158089"/>
                      </a:lnTo>
                      <a:lnTo>
                        <a:pt x="294952" y="149917"/>
                      </a:lnTo>
                      <a:lnTo>
                        <a:pt x="294491" y="148957"/>
                      </a:lnTo>
                      <a:lnTo>
                        <a:pt x="293738" y="148204"/>
                      </a:lnTo>
                      <a:lnTo>
                        <a:pt x="286962" y="141490"/>
                      </a:lnTo>
                      <a:lnTo>
                        <a:pt x="286197" y="140712"/>
                      </a:lnTo>
                      <a:lnTo>
                        <a:pt x="285177" y="140251"/>
                      </a:lnTo>
                      <a:lnTo>
                        <a:pt x="267521" y="132443"/>
                      </a:lnTo>
                      <a:lnTo>
                        <a:pt x="265287" y="130670"/>
                      </a:lnTo>
                      <a:lnTo>
                        <a:pt x="264388" y="129334"/>
                      </a:lnTo>
                      <a:lnTo>
                        <a:pt x="259495" y="118454"/>
                      </a:lnTo>
                      <a:lnTo>
                        <a:pt x="259240" y="117896"/>
                      </a:lnTo>
                      <a:lnTo>
                        <a:pt x="258875" y="117386"/>
                      </a:lnTo>
                      <a:lnTo>
                        <a:pt x="251577" y="107283"/>
                      </a:lnTo>
                      <a:lnTo>
                        <a:pt x="251322" y="106943"/>
                      </a:lnTo>
                      <a:lnTo>
                        <a:pt x="251019" y="106639"/>
                      </a:lnTo>
                      <a:lnTo>
                        <a:pt x="240127" y="95322"/>
                      </a:lnTo>
                      <a:lnTo>
                        <a:pt x="239617" y="94788"/>
                      </a:lnTo>
                      <a:lnTo>
                        <a:pt x="238997" y="94399"/>
                      </a:lnTo>
                      <a:lnTo>
                        <a:pt x="236994" y="93136"/>
                      </a:lnTo>
                      <a:lnTo>
                        <a:pt x="236144" y="92602"/>
                      </a:lnTo>
                      <a:lnTo>
                        <a:pt x="235172" y="92359"/>
                      </a:lnTo>
                      <a:lnTo>
                        <a:pt x="233497" y="91958"/>
                      </a:lnTo>
                      <a:lnTo>
                        <a:pt x="232914" y="91825"/>
                      </a:lnTo>
                      <a:lnTo>
                        <a:pt x="232319" y="91801"/>
                      </a:lnTo>
                      <a:lnTo>
                        <a:pt x="229514" y="91691"/>
                      </a:lnTo>
                      <a:lnTo>
                        <a:pt x="228676" y="91655"/>
                      </a:lnTo>
                      <a:lnTo>
                        <a:pt x="227850" y="91861"/>
                      </a:lnTo>
                      <a:lnTo>
                        <a:pt x="224802" y="92602"/>
                      </a:lnTo>
                      <a:lnTo>
                        <a:pt x="223855" y="92833"/>
                      </a:lnTo>
                      <a:lnTo>
                        <a:pt x="223029" y="93343"/>
                      </a:lnTo>
                      <a:lnTo>
                        <a:pt x="221184" y="94496"/>
                      </a:lnTo>
                      <a:lnTo>
                        <a:pt x="220358" y="95006"/>
                      </a:lnTo>
                      <a:lnTo>
                        <a:pt x="219739" y="95759"/>
                      </a:lnTo>
                      <a:lnTo>
                        <a:pt x="218306" y="97484"/>
                      </a:lnTo>
                      <a:lnTo>
                        <a:pt x="217577" y="98346"/>
                      </a:lnTo>
                      <a:lnTo>
                        <a:pt x="217213" y="99414"/>
                      </a:lnTo>
                      <a:lnTo>
                        <a:pt x="216302" y="102110"/>
                      </a:lnTo>
                      <a:lnTo>
                        <a:pt x="215938" y="103178"/>
                      </a:lnTo>
                      <a:lnTo>
                        <a:pt x="215986" y="104320"/>
                      </a:lnTo>
                      <a:lnTo>
                        <a:pt x="216217" y="109554"/>
                      </a:lnTo>
                      <a:lnTo>
                        <a:pt x="216229" y="109930"/>
                      </a:lnTo>
                      <a:lnTo>
                        <a:pt x="216290" y="110306"/>
                      </a:lnTo>
                      <a:lnTo>
                        <a:pt x="217092" y="114981"/>
                      </a:lnTo>
                      <a:lnTo>
                        <a:pt x="217164" y="115419"/>
                      </a:lnTo>
                      <a:lnTo>
                        <a:pt x="217298" y="115831"/>
                      </a:lnTo>
                      <a:lnTo>
                        <a:pt x="222774" y="132698"/>
                      </a:lnTo>
                      <a:lnTo>
                        <a:pt x="223928" y="140275"/>
                      </a:lnTo>
                      <a:lnTo>
                        <a:pt x="222811" y="145946"/>
                      </a:lnTo>
                      <a:lnTo>
                        <a:pt x="218488" y="150366"/>
                      </a:lnTo>
                      <a:lnTo>
                        <a:pt x="212611" y="153122"/>
                      </a:lnTo>
                      <a:lnTo>
                        <a:pt x="210886" y="152612"/>
                      </a:lnTo>
                      <a:lnTo>
                        <a:pt x="210292" y="152357"/>
                      </a:lnTo>
                      <a:lnTo>
                        <a:pt x="204050" y="147804"/>
                      </a:lnTo>
                      <a:lnTo>
                        <a:pt x="203795" y="147622"/>
                      </a:lnTo>
                      <a:lnTo>
                        <a:pt x="203528" y="147464"/>
                      </a:lnTo>
                      <a:lnTo>
                        <a:pt x="192781" y="141210"/>
                      </a:lnTo>
                      <a:lnTo>
                        <a:pt x="192356" y="140955"/>
                      </a:lnTo>
                      <a:lnTo>
                        <a:pt x="191883" y="140773"/>
                      </a:lnTo>
                      <a:lnTo>
                        <a:pt x="188847" y="139620"/>
                      </a:lnTo>
                      <a:lnTo>
                        <a:pt x="187511" y="139109"/>
                      </a:lnTo>
                      <a:lnTo>
                        <a:pt x="186078" y="139255"/>
                      </a:lnTo>
                      <a:lnTo>
                        <a:pt x="183674" y="139498"/>
                      </a:lnTo>
                      <a:lnTo>
                        <a:pt x="181901" y="139680"/>
                      </a:lnTo>
                      <a:lnTo>
                        <a:pt x="180517" y="140785"/>
                      </a:lnTo>
                      <a:lnTo>
                        <a:pt x="175271" y="144938"/>
                      </a:lnTo>
                      <a:lnTo>
                        <a:pt x="163954" y="150487"/>
                      </a:lnTo>
                      <a:lnTo>
                        <a:pt x="158101" y="139522"/>
                      </a:lnTo>
                      <a:lnTo>
                        <a:pt x="156984" y="135236"/>
                      </a:lnTo>
                      <a:lnTo>
                        <a:pt x="155430" y="124926"/>
                      </a:lnTo>
                      <a:lnTo>
                        <a:pt x="155333" y="124295"/>
                      </a:lnTo>
                      <a:lnTo>
                        <a:pt x="155102" y="123700"/>
                      </a:lnTo>
                      <a:lnTo>
                        <a:pt x="152115" y="115771"/>
                      </a:lnTo>
                      <a:lnTo>
                        <a:pt x="151605" y="113257"/>
                      </a:lnTo>
                      <a:lnTo>
                        <a:pt x="151823" y="105376"/>
                      </a:lnTo>
                      <a:lnTo>
                        <a:pt x="151835" y="104939"/>
                      </a:lnTo>
                      <a:lnTo>
                        <a:pt x="151787" y="104502"/>
                      </a:lnTo>
                      <a:lnTo>
                        <a:pt x="150925" y="97168"/>
                      </a:lnTo>
                      <a:lnTo>
                        <a:pt x="151180" y="95711"/>
                      </a:lnTo>
                      <a:lnTo>
                        <a:pt x="158818" y="83968"/>
                      </a:lnTo>
                      <a:lnTo>
                        <a:pt x="159085" y="83543"/>
                      </a:lnTo>
                      <a:lnTo>
                        <a:pt x="159291" y="83082"/>
                      </a:lnTo>
                      <a:lnTo>
                        <a:pt x="167160" y="65135"/>
                      </a:lnTo>
                      <a:lnTo>
                        <a:pt x="172478" y="59306"/>
                      </a:lnTo>
                      <a:lnTo>
                        <a:pt x="181586" y="52907"/>
                      </a:lnTo>
                      <a:lnTo>
                        <a:pt x="181926" y="52664"/>
                      </a:lnTo>
                      <a:lnTo>
                        <a:pt x="182229" y="52385"/>
                      </a:lnTo>
                      <a:lnTo>
                        <a:pt x="185836" y="49033"/>
                      </a:lnTo>
                      <a:lnTo>
                        <a:pt x="186795" y="48147"/>
                      </a:lnTo>
                      <a:lnTo>
                        <a:pt x="187305" y="46945"/>
                      </a:lnTo>
                      <a:lnTo>
                        <a:pt x="188458" y="44212"/>
                      </a:lnTo>
                      <a:lnTo>
                        <a:pt x="190025" y="40497"/>
                      </a:lnTo>
                      <a:lnTo>
                        <a:pt x="187208" y="37619"/>
                      </a:lnTo>
                      <a:lnTo>
                        <a:pt x="183990" y="34328"/>
                      </a:lnTo>
                      <a:lnTo>
                        <a:pt x="183176" y="33502"/>
                      </a:lnTo>
                      <a:lnTo>
                        <a:pt x="182132" y="33029"/>
                      </a:lnTo>
                      <a:lnTo>
                        <a:pt x="160457" y="23314"/>
                      </a:lnTo>
                      <a:lnTo>
                        <a:pt x="149783" y="16903"/>
                      </a:lnTo>
                      <a:lnTo>
                        <a:pt x="133451" y="2963"/>
                      </a:lnTo>
                      <a:lnTo>
                        <a:pt x="132443" y="2113"/>
                      </a:lnTo>
                      <a:lnTo>
                        <a:pt x="131168" y="1749"/>
                      </a:lnTo>
                      <a:lnTo>
                        <a:pt x="126457" y="401"/>
                      </a:lnTo>
                      <a:lnTo>
                        <a:pt x="125740" y="194"/>
                      </a:lnTo>
                      <a:lnTo>
                        <a:pt x="124987" y="170"/>
                      </a:lnTo>
                      <a:lnTo>
                        <a:pt x="121721" y="61"/>
                      </a:lnTo>
                      <a:lnTo>
                        <a:pt x="119851" y="0"/>
                      </a:lnTo>
                      <a:lnTo>
                        <a:pt x="119851" y="0"/>
                      </a:lnTo>
                      <a:close/>
                      <a:moveTo>
                        <a:pt x="449896" y="1050583"/>
                      </a:moveTo>
                      <a:lnTo>
                        <a:pt x="450017" y="1050558"/>
                      </a:lnTo>
                      <a:lnTo>
                        <a:pt x="451013" y="1051008"/>
                      </a:lnTo>
                      <a:lnTo>
                        <a:pt x="451074" y="1051032"/>
                      </a:lnTo>
                      <a:lnTo>
                        <a:pt x="448876" y="1053934"/>
                      </a:lnTo>
                      <a:lnTo>
                        <a:pt x="448439" y="1054505"/>
                      </a:lnTo>
                      <a:lnTo>
                        <a:pt x="448147" y="1055173"/>
                      </a:lnTo>
                      <a:lnTo>
                        <a:pt x="446022" y="1060042"/>
                      </a:lnTo>
                      <a:lnTo>
                        <a:pt x="445015" y="1061560"/>
                      </a:lnTo>
                      <a:lnTo>
                        <a:pt x="441080" y="1065106"/>
                      </a:lnTo>
                      <a:lnTo>
                        <a:pt x="441080" y="1065057"/>
                      </a:lnTo>
                      <a:lnTo>
                        <a:pt x="441080" y="1062811"/>
                      </a:lnTo>
                      <a:lnTo>
                        <a:pt x="441080" y="1062252"/>
                      </a:lnTo>
                      <a:lnTo>
                        <a:pt x="440983" y="1061706"/>
                      </a:lnTo>
                      <a:lnTo>
                        <a:pt x="440352" y="1058354"/>
                      </a:lnTo>
                      <a:lnTo>
                        <a:pt x="440352" y="1058330"/>
                      </a:lnTo>
                      <a:lnTo>
                        <a:pt x="440473" y="1058354"/>
                      </a:lnTo>
                      <a:lnTo>
                        <a:pt x="441979" y="1057856"/>
                      </a:lnTo>
                      <a:lnTo>
                        <a:pt x="443181" y="1057456"/>
                      </a:lnTo>
                      <a:lnTo>
                        <a:pt x="444225" y="1057116"/>
                      </a:lnTo>
                      <a:lnTo>
                        <a:pt x="445087" y="1056423"/>
                      </a:lnTo>
                      <a:lnTo>
                        <a:pt x="445949" y="1055731"/>
                      </a:lnTo>
                      <a:lnTo>
                        <a:pt x="446629" y="1055185"/>
                      </a:lnTo>
                      <a:lnTo>
                        <a:pt x="447140" y="1054456"/>
                      </a:lnTo>
                      <a:lnTo>
                        <a:pt x="447892" y="1053363"/>
                      </a:lnTo>
                      <a:lnTo>
                        <a:pt x="448123" y="1053023"/>
                      </a:lnTo>
                      <a:lnTo>
                        <a:pt x="448305" y="1052659"/>
                      </a:lnTo>
                      <a:lnTo>
                        <a:pt x="448924" y="1051433"/>
                      </a:lnTo>
                      <a:lnTo>
                        <a:pt x="449082" y="1051190"/>
                      </a:lnTo>
                      <a:lnTo>
                        <a:pt x="449398" y="1050886"/>
                      </a:lnTo>
                      <a:lnTo>
                        <a:pt x="449896" y="1050583"/>
                      </a:lnTo>
                      <a:lnTo>
                        <a:pt x="449896" y="1050583"/>
                      </a:lnTo>
                      <a:close/>
                    </a:path>
                  </a:pathLst>
                </a:custGeom>
                <a:solidFill>
                  <a:srgbClr val="FFFFFF"/>
                </a:solidFill>
                <a:ln w="12138" cap="flat">
                  <a:noFill/>
                  <a:prstDash val="solid"/>
                  <a:miter/>
                </a:ln>
              </p:spPr>
              <p:txBody>
                <a:bodyPr rtlCol="0" anchor="ctr"/>
                <a:lstStyle/>
                <a:p>
                  <a:endParaRPr lang="en-US"/>
                </a:p>
              </p:txBody>
            </p:sp>
          </p:grpSp>
          <p:grpSp>
            <p:nvGrpSpPr>
              <p:cNvPr id="254" name="Graphic 280">
                <a:extLst>
                  <a:ext uri="{FF2B5EF4-FFF2-40B4-BE49-F238E27FC236}">
                    <a16:creationId xmlns:a16="http://schemas.microsoft.com/office/drawing/2014/main" id="{3B150DB0-39A3-4F06-86DE-3C951516DFB7}"/>
                  </a:ext>
                </a:extLst>
              </p:cNvPr>
              <p:cNvGrpSpPr/>
              <p:nvPr/>
            </p:nvGrpSpPr>
            <p:grpSpPr>
              <a:xfrm>
                <a:off x="4464705" y="4433041"/>
                <a:ext cx="855312" cy="1324114"/>
                <a:chOff x="4464705" y="4433041"/>
                <a:chExt cx="855312" cy="1324114"/>
              </a:xfrm>
            </p:grpSpPr>
            <p:sp>
              <p:nvSpPr>
                <p:cNvPr id="330" name="Freeform: Shape 329">
                  <a:extLst>
                    <a:ext uri="{FF2B5EF4-FFF2-40B4-BE49-F238E27FC236}">
                      <a16:creationId xmlns:a16="http://schemas.microsoft.com/office/drawing/2014/main" id="{B3616397-416F-4BA1-9580-6370FB98DC21}"/>
                    </a:ext>
                  </a:extLst>
                </p:cNvPr>
                <p:cNvSpPr/>
                <p:nvPr/>
              </p:nvSpPr>
              <p:spPr>
                <a:xfrm>
                  <a:off x="4469441" y="4436125"/>
                  <a:ext cx="847637" cy="1317836"/>
                </a:xfrm>
                <a:custGeom>
                  <a:avLst/>
                  <a:gdLst>
                    <a:gd name="connsiteX0" fmla="*/ 505814 w 847637"/>
                    <a:gd name="connsiteY0" fmla="*/ 1314449 h 1317836"/>
                    <a:gd name="connsiteX1" fmla="*/ 503264 w 847637"/>
                    <a:gd name="connsiteY1" fmla="*/ 1314206 h 1317836"/>
                    <a:gd name="connsiteX2" fmla="*/ 476550 w 847637"/>
                    <a:gd name="connsiteY2" fmla="*/ 1316343 h 1317836"/>
                    <a:gd name="connsiteX3" fmla="*/ 472142 w 847637"/>
                    <a:gd name="connsiteY3" fmla="*/ 1316294 h 1317836"/>
                    <a:gd name="connsiteX4" fmla="*/ 468705 w 847637"/>
                    <a:gd name="connsiteY4" fmla="*/ 1315821 h 1317836"/>
                    <a:gd name="connsiteX5" fmla="*/ 465900 w 847637"/>
                    <a:gd name="connsiteY5" fmla="*/ 1314619 h 1317836"/>
                    <a:gd name="connsiteX6" fmla="*/ 463289 w 847637"/>
                    <a:gd name="connsiteY6" fmla="*/ 1312178 h 1317836"/>
                    <a:gd name="connsiteX7" fmla="*/ 462561 w 847637"/>
                    <a:gd name="connsiteY7" fmla="*/ 1309846 h 1317836"/>
                    <a:gd name="connsiteX8" fmla="*/ 462367 w 847637"/>
                    <a:gd name="connsiteY8" fmla="*/ 1307272 h 1317836"/>
                    <a:gd name="connsiteX9" fmla="*/ 462719 w 847637"/>
                    <a:gd name="connsiteY9" fmla="*/ 1303629 h 1317836"/>
                    <a:gd name="connsiteX10" fmla="*/ 462014 w 847637"/>
                    <a:gd name="connsiteY10" fmla="*/ 1301893 h 1317836"/>
                    <a:gd name="connsiteX11" fmla="*/ 461164 w 847637"/>
                    <a:gd name="connsiteY11" fmla="*/ 1301225 h 1317836"/>
                    <a:gd name="connsiteX12" fmla="*/ 456210 w 847637"/>
                    <a:gd name="connsiteY12" fmla="*/ 1299440 h 1317836"/>
                    <a:gd name="connsiteX13" fmla="*/ 453478 w 847637"/>
                    <a:gd name="connsiteY13" fmla="*/ 1299549 h 1317836"/>
                    <a:gd name="connsiteX14" fmla="*/ 450806 w 847637"/>
                    <a:gd name="connsiteY14" fmla="*/ 1300326 h 1317836"/>
                    <a:gd name="connsiteX15" fmla="*/ 448985 w 847637"/>
                    <a:gd name="connsiteY15" fmla="*/ 1301565 h 1317836"/>
                    <a:gd name="connsiteX16" fmla="*/ 447042 w 847637"/>
                    <a:gd name="connsiteY16" fmla="*/ 1303083 h 1317836"/>
                    <a:gd name="connsiteX17" fmla="*/ 445682 w 847637"/>
                    <a:gd name="connsiteY17" fmla="*/ 1304419 h 1317836"/>
                    <a:gd name="connsiteX18" fmla="*/ 444808 w 847637"/>
                    <a:gd name="connsiteY18" fmla="*/ 1305487 h 1317836"/>
                    <a:gd name="connsiteX19" fmla="*/ 444322 w 847637"/>
                    <a:gd name="connsiteY19" fmla="*/ 1306228 h 1317836"/>
                    <a:gd name="connsiteX20" fmla="*/ 441286 w 847637"/>
                    <a:gd name="connsiteY20" fmla="*/ 1312190 h 1317836"/>
                    <a:gd name="connsiteX21" fmla="*/ 435081 w 847637"/>
                    <a:gd name="connsiteY21" fmla="*/ 1304091 h 1317836"/>
                    <a:gd name="connsiteX22" fmla="*/ 434341 w 847637"/>
                    <a:gd name="connsiteY22" fmla="*/ 1299780 h 1317836"/>
                    <a:gd name="connsiteX23" fmla="*/ 434122 w 847637"/>
                    <a:gd name="connsiteY23" fmla="*/ 1295469 h 1317836"/>
                    <a:gd name="connsiteX24" fmla="*/ 433758 w 847637"/>
                    <a:gd name="connsiteY24" fmla="*/ 1294170 h 1317836"/>
                    <a:gd name="connsiteX25" fmla="*/ 433479 w 847637"/>
                    <a:gd name="connsiteY25" fmla="*/ 1293818 h 1317836"/>
                    <a:gd name="connsiteX26" fmla="*/ 432046 w 847637"/>
                    <a:gd name="connsiteY26" fmla="*/ 1293660 h 1317836"/>
                    <a:gd name="connsiteX27" fmla="*/ 431669 w 847637"/>
                    <a:gd name="connsiteY27" fmla="*/ 1293915 h 1317836"/>
                    <a:gd name="connsiteX28" fmla="*/ 429641 w 847637"/>
                    <a:gd name="connsiteY28" fmla="*/ 1294802 h 1317836"/>
                    <a:gd name="connsiteX29" fmla="*/ 427516 w 847637"/>
                    <a:gd name="connsiteY29" fmla="*/ 1295190 h 1317836"/>
                    <a:gd name="connsiteX30" fmla="*/ 425318 w 847637"/>
                    <a:gd name="connsiteY30" fmla="*/ 1295020 h 1317836"/>
                    <a:gd name="connsiteX31" fmla="*/ 421591 w 847637"/>
                    <a:gd name="connsiteY31" fmla="*/ 1294304 h 1317836"/>
                    <a:gd name="connsiteX32" fmla="*/ 419672 w 847637"/>
                    <a:gd name="connsiteY32" fmla="*/ 1293599 h 1317836"/>
                    <a:gd name="connsiteX33" fmla="*/ 417486 w 847637"/>
                    <a:gd name="connsiteY33" fmla="*/ 1292166 h 1317836"/>
                    <a:gd name="connsiteX34" fmla="*/ 414657 w 847637"/>
                    <a:gd name="connsiteY34" fmla="*/ 1289349 h 1317836"/>
                    <a:gd name="connsiteX35" fmla="*/ 410152 w 847637"/>
                    <a:gd name="connsiteY35" fmla="*/ 1283059 h 1317836"/>
                    <a:gd name="connsiteX36" fmla="*/ 409266 w 847637"/>
                    <a:gd name="connsiteY36" fmla="*/ 1282318 h 1317836"/>
                    <a:gd name="connsiteX37" fmla="*/ 407833 w 847637"/>
                    <a:gd name="connsiteY37" fmla="*/ 1282282 h 1317836"/>
                    <a:gd name="connsiteX38" fmla="*/ 407323 w 847637"/>
                    <a:gd name="connsiteY38" fmla="*/ 1282464 h 1317836"/>
                    <a:gd name="connsiteX39" fmla="*/ 405586 w 847637"/>
                    <a:gd name="connsiteY39" fmla="*/ 1283423 h 1317836"/>
                    <a:gd name="connsiteX40" fmla="*/ 404250 w 847637"/>
                    <a:gd name="connsiteY40" fmla="*/ 1283423 h 1317836"/>
                    <a:gd name="connsiteX41" fmla="*/ 402648 w 847637"/>
                    <a:gd name="connsiteY41" fmla="*/ 1283181 h 1317836"/>
                    <a:gd name="connsiteX42" fmla="*/ 400741 w 847637"/>
                    <a:gd name="connsiteY42" fmla="*/ 1282355 h 1317836"/>
                    <a:gd name="connsiteX43" fmla="*/ 398896 w 847637"/>
                    <a:gd name="connsiteY43" fmla="*/ 1280218 h 1317836"/>
                    <a:gd name="connsiteX44" fmla="*/ 397803 w 847637"/>
                    <a:gd name="connsiteY44" fmla="*/ 1278566 h 1317836"/>
                    <a:gd name="connsiteX45" fmla="*/ 395775 w 847637"/>
                    <a:gd name="connsiteY45" fmla="*/ 1274827 h 1317836"/>
                    <a:gd name="connsiteX46" fmla="*/ 394973 w 847637"/>
                    <a:gd name="connsiteY46" fmla="*/ 1273685 h 1317836"/>
                    <a:gd name="connsiteX47" fmla="*/ 393735 w 847637"/>
                    <a:gd name="connsiteY47" fmla="*/ 1272471 h 1317836"/>
                    <a:gd name="connsiteX48" fmla="*/ 392569 w 847637"/>
                    <a:gd name="connsiteY48" fmla="*/ 1271936 h 1317836"/>
                    <a:gd name="connsiteX49" fmla="*/ 390881 w 847637"/>
                    <a:gd name="connsiteY49" fmla="*/ 1271438 h 1317836"/>
                    <a:gd name="connsiteX50" fmla="*/ 388732 w 847637"/>
                    <a:gd name="connsiteY50" fmla="*/ 1271475 h 1317836"/>
                    <a:gd name="connsiteX51" fmla="*/ 387008 w 847637"/>
                    <a:gd name="connsiteY51" fmla="*/ 1272289 h 1317836"/>
                    <a:gd name="connsiteX52" fmla="*/ 385235 w 847637"/>
                    <a:gd name="connsiteY52" fmla="*/ 1273309 h 1317836"/>
                    <a:gd name="connsiteX53" fmla="*/ 382818 w 847637"/>
                    <a:gd name="connsiteY53" fmla="*/ 1273309 h 1317836"/>
                    <a:gd name="connsiteX54" fmla="*/ 380268 w 847637"/>
                    <a:gd name="connsiteY54" fmla="*/ 1272592 h 1317836"/>
                    <a:gd name="connsiteX55" fmla="*/ 376965 w 847637"/>
                    <a:gd name="connsiteY55" fmla="*/ 1269957 h 1317836"/>
                    <a:gd name="connsiteX56" fmla="*/ 375496 w 847637"/>
                    <a:gd name="connsiteY56" fmla="*/ 1267699 h 1317836"/>
                    <a:gd name="connsiteX57" fmla="*/ 374828 w 847637"/>
                    <a:gd name="connsiteY57" fmla="*/ 1264566 h 1317836"/>
                    <a:gd name="connsiteX58" fmla="*/ 375569 w 847637"/>
                    <a:gd name="connsiteY58" fmla="*/ 1256819 h 1317836"/>
                    <a:gd name="connsiteX59" fmla="*/ 375448 w 847637"/>
                    <a:gd name="connsiteY59" fmla="*/ 1253188 h 1317836"/>
                    <a:gd name="connsiteX60" fmla="*/ 373116 w 847637"/>
                    <a:gd name="connsiteY60" fmla="*/ 1253103 h 1317836"/>
                    <a:gd name="connsiteX61" fmla="*/ 367627 w 847637"/>
                    <a:gd name="connsiteY61" fmla="*/ 1255240 h 1317836"/>
                    <a:gd name="connsiteX62" fmla="*/ 360500 w 847637"/>
                    <a:gd name="connsiteY62" fmla="*/ 1259271 h 1317836"/>
                    <a:gd name="connsiteX63" fmla="*/ 355703 w 847637"/>
                    <a:gd name="connsiteY63" fmla="*/ 1259781 h 1317836"/>
                    <a:gd name="connsiteX64" fmla="*/ 344192 w 847637"/>
                    <a:gd name="connsiteY64" fmla="*/ 1257049 h 1317836"/>
                    <a:gd name="connsiteX65" fmla="*/ 340731 w 847637"/>
                    <a:gd name="connsiteY65" fmla="*/ 1257061 h 1317836"/>
                    <a:gd name="connsiteX66" fmla="*/ 336663 w 847637"/>
                    <a:gd name="connsiteY66" fmla="*/ 1256394 h 1317836"/>
                    <a:gd name="connsiteX67" fmla="*/ 333081 w 847637"/>
                    <a:gd name="connsiteY67" fmla="*/ 1255398 h 1317836"/>
                    <a:gd name="connsiteX68" fmla="*/ 329814 w 847637"/>
                    <a:gd name="connsiteY68" fmla="*/ 1253989 h 1317836"/>
                    <a:gd name="connsiteX69" fmla="*/ 326511 w 847637"/>
                    <a:gd name="connsiteY69" fmla="*/ 1251986 h 1317836"/>
                    <a:gd name="connsiteX70" fmla="*/ 322723 w 847637"/>
                    <a:gd name="connsiteY70" fmla="*/ 1248598 h 1317836"/>
                    <a:gd name="connsiteX71" fmla="*/ 319711 w 847637"/>
                    <a:gd name="connsiteY71" fmla="*/ 1245137 h 1317836"/>
                    <a:gd name="connsiteX72" fmla="*/ 318266 w 847637"/>
                    <a:gd name="connsiteY72" fmla="*/ 1242951 h 1317836"/>
                    <a:gd name="connsiteX73" fmla="*/ 316639 w 847637"/>
                    <a:gd name="connsiteY73" fmla="*/ 1239150 h 1317836"/>
                    <a:gd name="connsiteX74" fmla="*/ 315692 w 847637"/>
                    <a:gd name="connsiteY74" fmla="*/ 1232411 h 1317836"/>
                    <a:gd name="connsiteX75" fmla="*/ 314004 w 847637"/>
                    <a:gd name="connsiteY75" fmla="*/ 1231767 h 1317836"/>
                    <a:gd name="connsiteX76" fmla="*/ 313021 w 847637"/>
                    <a:gd name="connsiteY76" fmla="*/ 1231731 h 1317836"/>
                    <a:gd name="connsiteX77" fmla="*/ 311005 w 847637"/>
                    <a:gd name="connsiteY77" fmla="*/ 1232071 h 1317836"/>
                    <a:gd name="connsiteX78" fmla="*/ 309730 w 847637"/>
                    <a:gd name="connsiteY78" fmla="*/ 1232120 h 1317836"/>
                    <a:gd name="connsiteX79" fmla="*/ 307981 w 847637"/>
                    <a:gd name="connsiteY79" fmla="*/ 1231962 h 1317836"/>
                    <a:gd name="connsiteX80" fmla="*/ 305881 w 847637"/>
                    <a:gd name="connsiteY80" fmla="*/ 1231331 h 1317836"/>
                    <a:gd name="connsiteX81" fmla="*/ 303804 w 847637"/>
                    <a:gd name="connsiteY81" fmla="*/ 1230189 h 1317836"/>
                    <a:gd name="connsiteX82" fmla="*/ 299360 w 847637"/>
                    <a:gd name="connsiteY82" fmla="*/ 1226874 h 1317836"/>
                    <a:gd name="connsiteX83" fmla="*/ 298315 w 847637"/>
                    <a:gd name="connsiteY83" fmla="*/ 1226473 h 1317836"/>
                    <a:gd name="connsiteX84" fmla="*/ 297684 w 847637"/>
                    <a:gd name="connsiteY84" fmla="*/ 1226619 h 1317836"/>
                    <a:gd name="connsiteX85" fmla="*/ 295608 w 847637"/>
                    <a:gd name="connsiteY85" fmla="*/ 1227348 h 1317836"/>
                    <a:gd name="connsiteX86" fmla="*/ 293422 w 847637"/>
                    <a:gd name="connsiteY86" fmla="*/ 1227348 h 1317836"/>
                    <a:gd name="connsiteX87" fmla="*/ 292244 w 847637"/>
                    <a:gd name="connsiteY87" fmla="*/ 1226679 h 1317836"/>
                    <a:gd name="connsiteX88" fmla="*/ 290921 w 847637"/>
                    <a:gd name="connsiteY88" fmla="*/ 1225696 h 1317836"/>
                    <a:gd name="connsiteX89" fmla="*/ 289998 w 847637"/>
                    <a:gd name="connsiteY89" fmla="*/ 1224591 h 1317836"/>
                    <a:gd name="connsiteX90" fmla="*/ 288540 w 847637"/>
                    <a:gd name="connsiteY90" fmla="*/ 1221919 h 1317836"/>
                    <a:gd name="connsiteX91" fmla="*/ 287618 w 847637"/>
                    <a:gd name="connsiteY91" fmla="*/ 1220559 h 1317836"/>
                    <a:gd name="connsiteX92" fmla="*/ 286634 w 847637"/>
                    <a:gd name="connsiteY92" fmla="*/ 1219527 h 1317836"/>
                    <a:gd name="connsiteX93" fmla="*/ 284910 w 847637"/>
                    <a:gd name="connsiteY93" fmla="*/ 1218544 h 1317836"/>
                    <a:gd name="connsiteX94" fmla="*/ 283343 w 847637"/>
                    <a:gd name="connsiteY94" fmla="*/ 1217973 h 1317836"/>
                    <a:gd name="connsiteX95" fmla="*/ 277442 w 847637"/>
                    <a:gd name="connsiteY95" fmla="*/ 1216492 h 1317836"/>
                    <a:gd name="connsiteX96" fmla="*/ 273860 w 847637"/>
                    <a:gd name="connsiteY96" fmla="*/ 1213347 h 1317836"/>
                    <a:gd name="connsiteX97" fmla="*/ 255755 w 847637"/>
                    <a:gd name="connsiteY97" fmla="*/ 1192218 h 1317836"/>
                    <a:gd name="connsiteX98" fmla="*/ 253787 w 847637"/>
                    <a:gd name="connsiteY98" fmla="*/ 1190469 h 1317836"/>
                    <a:gd name="connsiteX99" fmla="*/ 253277 w 847637"/>
                    <a:gd name="connsiteY99" fmla="*/ 1190360 h 1317836"/>
                    <a:gd name="connsiteX100" fmla="*/ 251079 w 847637"/>
                    <a:gd name="connsiteY100" fmla="*/ 1190676 h 1317836"/>
                    <a:gd name="connsiteX101" fmla="*/ 249440 w 847637"/>
                    <a:gd name="connsiteY101" fmla="*/ 1190566 h 1317836"/>
                    <a:gd name="connsiteX102" fmla="*/ 247849 w 847637"/>
                    <a:gd name="connsiteY102" fmla="*/ 1190239 h 1317836"/>
                    <a:gd name="connsiteX103" fmla="*/ 246842 w 847637"/>
                    <a:gd name="connsiteY103" fmla="*/ 1189814 h 1317836"/>
                    <a:gd name="connsiteX104" fmla="*/ 245530 w 847637"/>
                    <a:gd name="connsiteY104" fmla="*/ 1188502 h 1317836"/>
                    <a:gd name="connsiteX105" fmla="*/ 244850 w 847637"/>
                    <a:gd name="connsiteY105" fmla="*/ 1187179 h 1317836"/>
                    <a:gd name="connsiteX106" fmla="*/ 243915 w 847637"/>
                    <a:gd name="connsiteY106" fmla="*/ 1184386 h 1317836"/>
                    <a:gd name="connsiteX107" fmla="*/ 242628 w 847637"/>
                    <a:gd name="connsiteY107" fmla="*/ 1178472 h 1317836"/>
                    <a:gd name="connsiteX108" fmla="*/ 241535 w 847637"/>
                    <a:gd name="connsiteY108" fmla="*/ 1175497 h 1317836"/>
                    <a:gd name="connsiteX109" fmla="*/ 239774 w 847637"/>
                    <a:gd name="connsiteY109" fmla="*/ 1172911 h 1317836"/>
                    <a:gd name="connsiteX110" fmla="*/ 237856 w 847637"/>
                    <a:gd name="connsiteY110" fmla="*/ 1171004 h 1317836"/>
                    <a:gd name="connsiteX111" fmla="*/ 236678 w 847637"/>
                    <a:gd name="connsiteY111" fmla="*/ 1169207 h 1317836"/>
                    <a:gd name="connsiteX112" fmla="*/ 235974 w 847637"/>
                    <a:gd name="connsiteY112" fmla="*/ 1166852 h 1317836"/>
                    <a:gd name="connsiteX113" fmla="*/ 235779 w 847637"/>
                    <a:gd name="connsiteY113" fmla="*/ 1163281 h 1317836"/>
                    <a:gd name="connsiteX114" fmla="*/ 236107 w 847637"/>
                    <a:gd name="connsiteY114" fmla="*/ 1161071 h 1317836"/>
                    <a:gd name="connsiteX115" fmla="*/ 237249 w 847637"/>
                    <a:gd name="connsiteY115" fmla="*/ 1158400 h 1317836"/>
                    <a:gd name="connsiteX116" fmla="*/ 240552 w 847637"/>
                    <a:gd name="connsiteY116" fmla="*/ 1155886 h 1317836"/>
                    <a:gd name="connsiteX117" fmla="*/ 240989 w 847637"/>
                    <a:gd name="connsiteY117" fmla="*/ 1155182 h 1317836"/>
                    <a:gd name="connsiteX118" fmla="*/ 240649 w 847637"/>
                    <a:gd name="connsiteY118" fmla="*/ 1155231 h 1317836"/>
                    <a:gd name="connsiteX119" fmla="*/ 235925 w 847637"/>
                    <a:gd name="connsiteY119" fmla="*/ 1156627 h 1317836"/>
                    <a:gd name="connsiteX120" fmla="*/ 234626 w 847637"/>
                    <a:gd name="connsiteY120" fmla="*/ 1156846 h 1317836"/>
                    <a:gd name="connsiteX121" fmla="*/ 232246 w 847637"/>
                    <a:gd name="connsiteY121" fmla="*/ 1156457 h 1317836"/>
                    <a:gd name="connsiteX122" fmla="*/ 231201 w 847637"/>
                    <a:gd name="connsiteY122" fmla="*/ 1155741 h 1317836"/>
                    <a:gd name="connsiteX123" fmla="*/ 229684 w 847637"/>
                    <a:gd name="connsiteY123" fmla="*/ 1154016 h 1317836"/>
                    <a:gd name="connsiteX124" fmla="*/ 227619 w 847637"/>
                    <a:gd name="connsiteY124" fmla="*/ 1150677 h 1317836"/>
                    <a:gd name="connsiteX125" fmla="*/ 227085 w 847637"/>
                    <a:gd name="connsiteY125" fmla="*/ 1150556 h 1317836"/>
                    <a:gd name="connsiteX126" fmla="*/ 225494 w 847637"/>
                    <a:gd name="connsiteY126" fmla="*/ 1149718 h 1317836"/>
                    <a:gd name="connsiteX127" fmla="*/ 224426 w 847637"/>
                    <a:gd name="connsiteY127" fmla="*/ 1148564 h 1317836"/>
                    <a:gd name="connsiteX128" fmla="*/ 223515 w 847637"/>
                    <a:gd name="connsiteY128" fmla="*/ 1147228 h 1317836"/>
                    <a:gd name="connsiteX129" fmla="*/ 222191 w 847637"/>
                    <a:gd name="connsiteY129" fmla="*/ 1144812 h 1317836"/>
                    <a:gd name="connsiteX130" fmla="*/ 220285 w 847637"/>
                    <a:gd name="connsiteY130" fmla="*/ 1143173 h 1317836"/>
                    <a:gd name="connsiteX131" fmla="*/ 218682 w 847637"/>
                    <a:gd name="connsiteY131" fmla="*/ 1140841 h 1317836"/>
                    <a:gd name="connsiteX132" fmla="*/ 218500 w 847637"/>
                    <a:gd name="connsiteY132" fmla="*/ 1138485 h 1317836"/>
                    <a:gd name="connsiteX133" fmla="*/ 219338 w 847637"/>
                    <a:gd name="connsiteY133" fmla="*/ 1135195 h 1317836"/>
                    <a:gd name="connsiteX134" fmla="*/ 222082 w 847637"/>
                    <a:gd name="connsiteY134" fmla="*/ 1131637 h 1317836"/>
                    <a:gd name="connsiteX135" fmla="*/ 222276 w 847637"/>
                    <a:gd name="connsiteY135" fmla="*/ 1130981 h 1317836"/>
                    <a:gd name="connsiteX136" fmla="*/ 216715 w 847637"/>
                    <a:gd name="connsiteY136" fmla="*/ 1129512 h 1317836"/>
                    <a:gd name="connsiteX137" fmla="*/ 216181 w 847637"/>
                    <a:gd name="connsiteY137" fmla="*/ 1130156 h 1317836"/>
                    <a:gd name="connsiteX138" fmla="*/ 215209 w 847637"/>
                    <a:gd name="connsiteY138" fmla="*/ 1130993 h 1317836"/>
                    <a:gd name="connsiteX139" fmla="*/ 213412 w 847637"/>
                    <a:gd name="connsiteY139" fmla="*/ 1132001 h 1317836"/>
                    <a:gd name="connsiteX140" fmla="*/ 211457 w 847637"/>
                    <a:gd name="connsiteY140" fmla="*/ 1132523 h 1317836"/>
                    <a:gd name="connsiteX141" fmla="*/ 209344 w 847637"/>
                    <a:gd name="connsiteY141" fmla="*/ 1132511 h 1317836"/>
                    <a:gd name="connsiteX142" fmla="*/ 206649 w 847637"/>
                    <a:gd name="connsiteY142" fmla="*/ 1131625 h 1317836"/>
                    <a:gd name="connsiteX143" fmla="*/ 204888 w 847637"/>
                    <a:gd name="connsiteY143" fmla="*/ 1129912 h 1317836"/>
                    <a:gd name="connsiteX144" fmla="*/ 202058 w 847637"/>
                    <a:gd name="connsiteY144" fmla="*/ 1125529 h 1317836"/>
                    <a:gd name="connsiteX145" fmla="*/ 201233 w 847637"/>
                    <a:gd name="connsiteY145" fmla="*/ 1125468 h 1317836"/>
                    <a:gd name="connsiteX146" fmla="*/ 200832 w 847637"/>
                    <a:gd name="connsiteY146" fmla="*/ 1125845 h 1317836"/>
                    <a:gd name="connsiteX147" fmla="*/ 199982 w 847637"/>
                    <a:gd name="connsiteY147" fmla="*/ 1126342 h 1317836"/>
                    <a:gd name="connsiteX148" fmla="*/ 197590 w 847637"/>
                    <a:gd name="connsiteY148" fmla="*/ 1126816 h 1317836"/>
                    <a:gd name="connsiteX149" fmla="*/ 196801 w 847637"/>
                    <a:gd name="connsiteY149" fmla="*/ 1126913 h 1317836"/>
                    <a:gd name="connsiteX150" fmla="*/ 194068 w 847637"/>
                    <a:gd name="connsiteY150" fmla="*/ 1125772 h 1317836"/>
                    <a:gd name="connsiteX151" fmla="*/ 192101 w 847637"/>
                    <a:gd name="connsiteY151" fmla="*/ 1123416 h 1317836"/>
                    <a:gd name="connsiteX152" fmla="*/ 191021 w 847637"/>
                    <a:gd name="connsiteY152" fmla="*/ 1121413 h 1317836"/>
                    <a:gd name="connsiteX153" fmla="*/ 190462 w 847637"/>
                    <a:gd name="connsiteY153" fmla="*/ 1119542 h 1317836"/>
                    <a:gd name="connsiteX154" fmla="*/ 190426 w 847637"/>
                    <a:gd name="connsiteY154" fmla="*/ 1117320 h 1317836"/>
                    <a:gd name="connsiteX155" fmla="*/ 190681 w 847637"/>
                    <a:gd name="connsiteY155" fmla="*/ 1115632 h 1317836"/>
                    <a:gd name="connsiteX156" fmla="*/ 190948 w 847637"/>
                    <a:gd name="connsiteY156" fmla="*/ 1114843 h 1317836"/>
                    <a:gd name="connsiteX157" fmla="*/ 187232 w 847637"/>
                    <a:gd name="connsiteY157" fmla="*/ 1112730 h 1317836"/>
                    <a:gd name="connsiteX158" fmla="*/ 185714 w 847637"/>
                    <a:gd name="connsiteY158" fmla="*/ 1112281 h 1317836"/>
                    <a:gd name="connsiteX159" fmla="*/ 185301 w 847637"/>
                    <a:gd name="connsiteY159" fmla="*/ 1112342 h 1317836"/>
                    <a:gd name="connsiteX160" fmla="*/ 184257 w 847637"/>
                    <a:gd name="connsiteY160" fmla="*/ 1112925 h 1317836"/>
                    <a:gd name="connsiteX161" fmla="*/ 182508 w 847637"/>
                    <a:gd name="connsiteY161" fmla="*/ 1114406 h 1317836"/>
                    <a:gd name="connsiteX162" fmla="*/ 181962 w 847637"/>
                    <a:gd name="connsiteY162" fmla="*/ 1114758 h 1317836"/>
                    <a:gd name="connsiteX163" fmla="*/ 180298 w 847637"/>
                    <a:gd name="connsiteY163" fmla="*/ 1115499 h 1317836"/>
                    <a:gd name="connsiteX164" fmla="*/ 179679 w 847637"/>
                    <a:gd name="connsiteY164" fmla="*/ 1115584 h 1317836"/>
                    <a:gd name="connsiteX165" fmla="*/ 178270 w 847637"/>
                    <a:gd name="connsiteY165" fmla="*/ 1115511 h 1317836"/>
                    <a:gd name="connsiteX166" fmla="*/ 176728 w 847637"/>
                    <a:gd name="connsiteY166" fmla="*/ 1115037 h 1317836"/>
                    <a:gd name="connsiteX167" fmla="*/ 174810 w 847637"/>
                    <a:gd name="connsiteY167" fmla="*/ 1114163 h 1317836"/>
                    <a:gd name="connsiteX168" fmla="*/ 173085 w 847637"/>
                    <a:gd name="connsiteY168" fmla="*/ 1112123 h 1317836"/>
                    <a:gd name="connsiteX169" fmla="*/ 172393 w 847637"/>
                    <a:gd name="connsiteY169" fmla="*/ 1110156 h 1317836"/>
                    <a:gd name="connsiteX170" fmla="*/ 172490 w 847637"/>
                    <a:gd name="connsiteY170" fmla="*/ 1109136 h 1317836"/>
                    <a:gd name="connsiteX171" fmla="*/ 169977 w 847637"/>
                    <a:gd name="connsiteY171" fmla="*/ 1108759 h 1317836"/>
                    <a:gd name="connsiteX172" fmla="*/ 168702 w 847637"/>
                    <a:gd name="connsiteY172" fmla="*/ 1108444 h 1317836"/>
                    <a:gd name="connsiteX173" fmla="*/ 166395 w 847637"/>
                    <a:gd name="connsiteY173" fmla="*/ 1107096 h 1317836"/>
                    <a:gd name="connsiteX174" fmla="*/ 165241 w 847637"/>
                    <a:gd name="connsiteY174" fmla="*/ 1105882 h 1317836"/>
                    <a:gd name="connsiteX175" fmla="*/ 164160 w 847637"/>
                    <a:gd name="connsiteY175" fmla="*/ 1104170 h 1317836"/>
                    <a:gd name="connsiteX176" fmla="*/ 163505 w 847637"/>
                    <a:gd name="connsiteY176" fmla="*/ 1102275 h 1317836"/>
                    <a:gd name="connsiteX177" fmla="*/ 162958 w 847637"/>
                    <a:gd name="connsiteY177" fmla="*/ 1098608 h 1317836"/>
                    <a:gd name="connsiteX178" fmla="*/ 161950 w 847637"/>
                    <a:gd name="connsiteY178" fmla="*/ 1097965 h 1317836"/>
                    <a:gd name="connsiteX179" fmla="*/ 159837 w 847637"/>
                    <a:gd name="connsiteY179" fmla="*/ 1097697 h 1317836"/>
                    <a:gd name="connsiteX180" fmla="*/ 156231 w 847637"/>
                    <a:gd name="connsiteY180" fmla="*/ 1097952 h 1317836"/>
                    <a:gd name="connsiteX181" fmla="*/ 144707 w 847637"/>
                    <a:gd name="connsiteY181" fmla="*/ 1101607 h 1317836"/>
                    <a:gd name="connsiteX182" fmla="*/ 144950 w 847637"/>
                    <a:gd name="connsiteY182" fmla="*/ 1093253 h 1317836"/>
                    <a:gd name="connsiteX183" fmla="*/ 144817 w 847637"/>
                    <a:gd name="connsiteY183" fmla="*/ 1092852 h 1317836"/>
                    <a:gd name="connsiteX184" fmla="*/ 143542 w 847637"/>
                    <a:gd name="connsiteY184" fmla="*/ 1091176 h 1317836"/>
                    <a:gd name="connsiteX185" fmla="*/ 142242 w 847637"/>
                    <a:gd name="connsiteY185" fmla="*/ 1090108 h 1317836"/>
                    <a:gd name="connsiteX186" fmla="*/ 140081 w 847637"/>
                    <a:gd name="connsiteY186" fmla="*/ 1087461 h 1317836"/>
                    <a:gd name="connsiteX187" fmla="*/ 138976 w 847637"/>
                    <a:gd name="connsiteY187" fmla="*/ 1081875 h 1317836"/>
                    <a:gd name="connsiteX188" fmla="*/ 138563 w 847637"/>
                    <a:gd name="connsiteY188" fmla="*/ 1081814 h 1317836"/>
                    <a:gd name="connsiteX189" fmla="*/ 128946 w 847637"/>
                    <a:gd name="connsiteY189" fmla="*/ 1042484 h 1317836"/>
                    <a:gd name="connsiteX190" fmla="*/ 131010 w 847637"/>
                    <a:gd name="connsiteY190" fmla="*/ 1037347 h 1317836"/>
                    <a:gd name="connsiteX191" fmla="*/ 129553 w 847637"/>
                    <a:gd name="connsiteY191" fmla="*/ 1035574 h 1317836"/>
                    <a:gd name="connsiteX192" fmla="*/ 127877 w 847637"/>
                    <a:gd name="connsiteY192" fmla="*/ 1031032 h 1317836"/>
                    <a:gd name="connsiteX193" fmla="*/ 127537 w 847637"/>
                    <a:gd name="connsiteY193" fmla="*/ 1025556 h 1317836"/>
                    <a:gd name="connsiteX194" fmla="*/ 127416 w 847637"/>
                    <a:gd name="connsiteY194" fmla="*/ 1024815 h 1317836"/>
                    <a:gd name="connsiteX195" fmla="*/ 126396 w 847637"/>
                    <a:gd name="connsiteY195" fmla="*/ 1024026 h 1317836"/>
                    <a:gd name="connsiteX196" fmla="*/ 125291 w 847637"/>
                    <a:gd name="connsiteY196" fmla="*/ 1021270 h 1317836"/>
                    <a:gd name="connsiteX197" fmla="*/ 123081 w 847637"/>
                    <a:gd name="connsiteY197" fmla="*/ 1011142 h 1317836"/>
                    <a:gd name="connsiteX198" fmla="*/ 122206 w 847637"/>
                    <a:gd name="connsiteY198" fmla="*/ 1002922 h 1317836"/>
                    <a:gd name="connsiteX199" fmla="*/ 118855 w 847637"/>
                    <a:gd name="connsiteY199" fmla="*/ 990342 h 1317836"/>
                    <a:gd name="connsiteX200" fmla="*/ 117531 w 847637"/>
                    <a:gd name="connsiteY200" fmla="*/ 987512 h 1317836"/>
                    <a:gd name="connsiteX201" fmla="*/ 115649 w 847637"/>
                    <a:gd name="connsiteY201" fmla="*/ 984513 h 1317836"/>
                    <a:gd name="connsiteX202" fmla="*/ 113670 w 847637"/>
                    <a:gd name="connsiteY202" fmla="*/ 979887 h 1317836"/>
                    <a:gd name="connsiteX203" fmla="*/ 114654 w 847637"/>
                    <a:gd name="connsiteY203" fmla="*/ 977677 h 1317836"/>
                    <a:gd name="connsiteX204" fmla="*/ 113804 w 847637"/>
                    <a:gd name="connsiteY204" fmla="*/ 975588 h 1317836"/>
                    <a:gd name="connsiteX205" fmla="*/ 112808 w 847637"/>
                    <a:gd name="connsiteY205" fmla="*/ 968630 h 1317836"/>
                    <a:gd name="connsiteX206" fmla="*/ 109809 w 847637"/>
                    <a:gd name="connsiteY206" fmla="*/ 936767 h 1317836"/>
                    <a:gd name="connsiteX207" fmla="*/ 110829 w 847637"/>
                    <a:gd name="connsiteY207" fmla="*/ 939863 h 1317836"/>
                    <a:gd name="connsiteX208" fmla="*/ 110574 w 847637"/>
                    <a:gd name="connsiteY208" fmla="*/ 937823 h 1317836"/>
                    <a:gd name="connsiteX209" fmla="*/ 110804 w 847637"/>
                    <a:gd name="connsiteY209" fmla="*/ 935686 h 1317836"/>
                    <a:gd name="connsiteX210" fmla="*/ 110452 w 847637"/>
                    <a:gd name="connsiteY210" fmla="*/ 935176 h 1317836"/>
                    <a:gd name="connsiteX211" fmla="*/ 109954 w 847637"/>
                    <a:gd name="connsiteY211" fmla="*/ 933926 h 1317836"/>
                    <a:gd name="connsiteX212" fmla="*/ 109748 w 847637"/>
                    <a:gd name="connsiteY212" fmla="*/ 932991 h 1317836"/>
                    <a:gd name="connsiteX213" fmla="*/ 109505 w 847637"/>
                    <a:gd name="connsiteY213" fmla="*/ 929712 h 1317836"/>
                    <a:gd name="connsiteX214" fmla="*/ 106190 w 847637"/>
                    <a:gd name="connsiteY214" fmla="*/ 921819 h 1317836"/>
                    <a:gd name="connsiteX215" fmla="*/ 101588 w 847637"/>
                    <a:gd name="connsiteY215" fmla="*/ 905802 h 1317836"/>
                    <a:gd name="connsiteX216" fmla="*/ 99948 w 847637"/>
                    <a:gd name="connsiteY216" fmla="*/ 893623 h 1317836"/>
                    <a:gd name="connsiteX217" fmla="*/ 96755 w 847637"/>
                    <a:gd name="connsiteY217" fmla="*/ 887734 h 1317836"/>
                    <a:gd name="connsiteX218" fmla="*/ 94363 w 847637"/>
                    <a:gd name="connsiteY218" fmla="*/ 881189 h 1317836"/>
                    <a:gd name="connsiteX219" fmla="*/ 88571 w 847637"/>
                    <a:gd name="connsiteY219" fmla="*/ 874073 h 1317836"/>
                    <a:gd name="connsiteX220" fmla="*/ 85644 w 847637"/>
                    <a:gd name="connsiteY220" fmla="*/ 869082 h 1317836"/>
                    <a:gd name="connsiteX221" fmla="*/ 79937 w 847637"/>
                    <a:gd name="connsiteY221" fmla="*/ 861687 h 1317836"/>
                    <a:gd name="connsiteX222" fmla="*/ 77812 w 847637"/>
                    <a:gd name="connsiteY222" fmla="*/ 857218 h 1317836"/>
                    <a:gd name="connsiteX223" fmla="*/ 77423 w 847637"/>
                    <a:gd name="connsiteY223" fmla="*/ 854183 h 1317836"/>
                    <a:gd name="connsiteX224" fmla="*/ 77703 w 847637"/>
                    <a:gd name="connsiteY224" fmla="*/ 849824 h 1317836"/>
                    <a:gd name="connsiteX225" fmla="*/ 77545 w 847637"/>
                    <a:gd name="connsiteY225" fmla="*/ 848366 h 1317836"/>
                    <a:gd name="connsiteX226" fmla="*/ 77023 w 847637"/>
                    <a:gd name="connsiteY226" fmla="*/ 847565 h 1317836"/>
                    <a:gd name="connsiteX227" fmla="*/ 75153 w 847637"/>
                    <a:gd name="connsiteY227" fmla="*/ 845391 h 1317836"/>
                    <a:gd name="connsiteX228" fmla="*/ 73914 w 847637"/>
                    <a:gd name="connsiteY228" fmla="*/ 842732 h 1317836"/>
                    <a:gd name="connsiteX229" fmla="*/ 73392 w 847637"/>
                    <a:gd name="connsiteY229" fmla="*/ 830941 h 1317836"/>
                    <a:gd name="connsiteX230" fmla="*/ 72420 w 847637"/>
                    <a:gd name="connsiteY230" fmla="*/ 827954 h 1317836"/>
                    <a:gd name="connsiteX231" fmla="*/ 67490 w 847637"/>
                    <a:gd name="connsiteY231" fmla="*/ 821458 h 1317836"/>
                    <a:gd name="connsiteX232" fmla="*/ 65001 w 847637"/>
                    <a:gd name="connsiteY232" fmla="*/ 816212 h 1317836"/>
                    <a:gd name="connsiteX233" fmla="*/ 66143 w 847637"/>
                    <a:gd name="connsiteY233" fmla="*/ 810019 h 1317836"/>
                    <a:gd name="connsiteX234" fmla="*/ 65839 w 847637"/>
                    <a:gd name="connsiteY234" fmla="*/ 809873 h 1317836"/>
                    <a:gd name="connsiteX235" fmla="*/ 62597 w 847637"/>
                    <a:gd name="connsiteY235" fmla="*/ 805223 h 1317836"/>
                    <a:gd name="connsiteX236" fmla="*/ 62026 w 847637"/>
                    <a:gd name="connsiteY236" fmla="*/ 796030 h 1317836"/>
                    <a:gd name="connsiteX237" fmla="*/ 60618 w 847637"/>
                    <a:gd name="connsiteY237" fmla="*/ 793699 h 1317836"/>
                    <a:gd name="connsiteX238" fmla="*/ 59573 w 847637"/>
                    <a:gd name="connsiteY238" fmla="*/ 792133 h 1317836"/>
                    <a:gd name="connsiteX239" fmla="*/ 58650 w 847637"/>
                    <a:gd name="connsiteY239" fmla="*/ 788781 h 1317836"/>
                    <a:gd name="connsiteX240" fmla="*/ 58578 w 847637"/>
                    <a:gd name="connsiteY240" fmla="*/ 783329 h 1317836"/>
                    <a:gd name="connsiteX241" fmla="*/ 57995 w 847637"/>
                    <a:gd name="connsiteY241" fmla="*/ 782722 h 1317836"/>
                    <a:gd name="connsiteX242" fmla="*/ 56404 w 847637"/>
                    <a:gd name="connsiteY242" fmla="*/ 780512 h 1317836"/>
                    <a:gd name="connsiteX243" fmla="*/ 54910 w 847637"/>
                    <a:gd name="connsiteY243" fmla="*/ 772971 h 1317836"/>
                    <a:gd name="connsiteX244" fmla="*/ 51049 w 847637"/>
                    <a:gd name="connsiteY244" fmla="*/ 766001 h 1317836"/>
                    <a:gd name="connsiteX245" fmla="*/ 50988 w 847637"/>
                    <a:gd name="connsiteY245" fmla="*/ 765030 h 1317836"/>
                    <a:gd name="connsiteX246" fmla="*/ 49082 w 847637"/>
                    <a:gd name="connsiteY246" fmla="*/ 765940 h 1317836"/>
                    <a:gd name="connsiteX247" fmla="*/ 44431 w 847637"/>
                    <a:gd name="connsiteY247" fmla="*/ 765297 h 1317836"/>
                    <a:gd name="connsiteX248" fmla="*/ 40594 w 847637"/>
                    <a:gd name="connsiteY248" fmla="*/ 761836 h 1317836"/>
                    <a:gd name="connsiteX249" fmla="*/ 41468 w 847637"/>
                    <a:gd name="connsiteY249" fmla="*/ 758873 h 1317836"/>
                    <a:gd name="connsiteX250" fmla="*/ 40266 w 847637"/>
                    <a:gd name="connsiteY250" fmla="*/ 754489 h 1317836"/>
                    <a:gd name="connsiteX251" fmla="*/ 39938 w 847637"/>
                    <a:gd name="connsiteY251" fmla="*/ 748466 h 1317836"/>
                    <a:gd name="connsiteX252" fmla="*/ 37509 w 847637"/>
                    <a:gd name="connsiteY252" fmla="*/ 747568 h 1317836"/>
                    <a:gd name="connsiteX253" fmla="*/ 35044 w 847637"/>
                    <a:gd name="connsiteY253" fmla="*/ 744326 h 1317836"/>
                    <a:gd name="connsiteX254" fmla="*/ 34534 w 847637"/>
                    <a:gd name="connsiteY254" fmla="*/ 739821 h 1317836"/>
                    <a:gd name="connsiteX255" fmla="*/ 35943 w 847637"/>
                    <a:gd name="connsiteY255" fmla="*/ 738461 h 1317836"/>
                    <a:gd name="connsiteX256" fmla="*/ 35324 w 847637"/>
                    <a:gd name="connsiteY256" fmla="*/ 736688 h 1317836"/>
                    <a:gd name="connsiteX257" fmla="*/ 34049 w 847637"/>
                    <a:gd name="connsiteY257" fmla="*/ 727909 h 1317836"/>
                    <a:gd name="connsiteX258" fmla="*/ 32482 w 847637"/>
                    <a:gd name="connsiteY258" fmla="*/ 725747 h 1317836"/>
                    <a:gd name="connsiteX259" fmla="*/ 29604 w 847637"/>
                    <a:gd name="connsiteY259" fmla="*/ 723646 h 1317836"/>
                    <a:gd name="connsiteX260" fmla="*/ 28269 w 847637"/>
                    <a:gd name="connsiteY260" fmla="*/ 724375 h 1317836"/>
                    <a:gd name="connsiteX261" fmla="*/ 26411 w 847637"/>
                    <a:gd name="connsiteY261" fmla="*/ 726791 h 1317836"/>
                    <a:gd name="connsiteX262" fmla="*/ 23460 w 847637"/>
                    <a:gd name="connsiteY262" fmla="*/ 730179 h 1317836"/>
                    <a:gd name="connsiteX263" fmla="*/ 18907 w 847637"/>
                    <a:gd name="connsiteY263" fmla="*/ 721279 h 1317836"/>
                    <a:gd name="connsiteX264" fmla="*/ 17170 w 847637"/>
                    <a:gd name="connsiteY264" fmla="*/ 721509 h 1317836"/>
                    <a:gd name="connsiteX265" fmla="*/ 14450 w 847637"/>
                    <a:gd name="connsiteY265" fmla="*/ 720951 h 1317836"/>
                    <a:gd name="connsiteX266" fmla="*/ 12738 w 847637"/>
                    <a:gd name="connsiteY266" fmla="*/ 717866 h 1317836"/>
                    <a:gd name="connsiteX267" fmla="*/ 7225 w 847637"/>
                    <a:gd name="connsiteY267" fmla="*/ 715146 h 1317836"/>
                    <a:gd name="connsiteX268" fmla="*/ 3060 w 847637"/>
                    <a:gd name="connsiteY268" fmla="*/ 711613 h 1317836"/>
                    <a:gd name="connsiteX269" fmla="*/ 0 w 847637"/>
                    <a:gd name="connsiteY269" fmla="*/ 700684 h 1317836"/>
                    <a:gd name="connsiteX270" fmla="*/ 6314 w 847637"/>
                    <a:gd name="connsiteY270" fmla="*/ 703841 h 1317836"/>
                    <a:gd name="connsiteX271" fmla="*/ 6800 w 847637"/>
                    <a:gd name="connsiteY271" fmla="*/ 702384 h 1317836"/>
                    <a:gd name="connsiteX272" fmla="*/ 4626 w 847637"/>
                    <a:gd name="connsiteY272" fmla="*/ 699627 h 1317836"/>
                    <a:gd name="connsiteX273" fmla="*/ 971 w 847637"/>
                    <a:gd name="connsiteY273" fmla="*/ 690411 h 1317836"/>
                    <a:gd name="connsiteX274" fmla="*/ 9811 w 847637"/>
                    <a:gd name="connsiteY274" fmla="*/ 685857 h 1317836"/>
                    <a:gd name="connsiteX275" fmla="*/ 13357 w 847637"/>
                    <a:gd name="connsiteY275" fmla="*/ 682712 h 1317836"/>
                    <a:gd name="connsiteX276" fmla="*/ 15421 w 847637"/>
                    <a:gd name="connsiteY276" fmla="*/ 681438 h 1317836"/>
                    <a:gd name="connsiteX277" fmla="*/ 16939 w 847637"/>
                    <a:gd name="connsiteY277" fmla="*/ 680988 h 1317836"/>
                    <a:gd name="connsiteX278" fmla="*/ 22379 w 847637"/>
                    <a:gd name="connsiteY278" fmla="*/ 681316 h 1317836"/>
                    <a:gd name="connsiteX279" fmla="*/ 24334 w 847637"/>
                    <a:gd name="connsiteY279" fmla="*/ 680964 h 1317836"/>
                    <a:gd name="connsiteX280" fmla="*/ 25937 w 847637"/>
                    <a:gd name="connsiteY280" fmla="*/ 680235 h 1317836"/>
                    <a:gd name="connsiteX281" fmla="*/ 28560 w 847637"/>
                    <a:gd name="connsiteY281" fmla="*/ 678596 h 1317836"/>
                    <a:gd name="connsiteX282" fmla="*/ 30904 w 847637"/>
                    <a:gd name="connsiteY282" fmla="*/ 676471 h 1317836"/>
                    <a:gd name="connsiteX283" fmla="*/ 31572 w 847637"/>
                    <a:gd name="connsiteY283" fmla="*/ 677236 h 1317836"/>
                    <a:gd name="connsiteX284" fmla="*/ 33648 w 847637"/>
                    <a:gd name="connsiteY284" fmla="*/ 676884 h 1317836"/>
                    <a:gd name="connsiteX285" fmla="*/ 30673 w 847637"/>
                    <a:gd name="connsiteY285" fmla="*/ 676265 h 1317836"/>
                    <a:gd name="connsiteX286" fmla="*/ 31147 w 847637"/>
                    <a:gd name="connsiteY286" fmla="*/ 673969 h 1317836"/>
                    <a:gd name="connsiteX287" fmla="*/ 32604 w 847637"/>
                    <a:gd name="connsiteY287" fmla="*/ 669355 h 1317836"/>
                    <a:gd name="connsiteX288" fmla="*/ 33806 w 847637"/>
                    <a:gd name="connsiteY288" fmla="*/ 666575 h 1317836"/>
                    <a:gd name="connsiteX289" fmla="*/ 34437 w 847637"/>
                    <a:gd name="connsiteY289" fmla="*/ 664960 h 1317836"/>
                    <a:gd name="connsiteX290" fmla="*/ 34704 w 847637"/>
                    <a:gd name="connsiteY290" fmla="*/ 663490 h 1317836"/>
                    <a:gd name="connsiteX291" fmla="*/ 34814 w 847637"/>
                    <a:gd name="connsiteY291" fmla="*/ 662094 h 1317836"/>
                    <a:gd name="connsiteX292" fmla="*/ 34741 w 847637"/>
                    <a:gd name="connsiteY292" fmla="*/ 660867 h 1317836"/>
                    <a:gd name="connsiteX293" fmla="*/ 33490 w 847637"/>
                    <a:gd name="connsiteY293" fmla="*/ 654978 h 1317836"/>
                    <a:gd name="connsiteX294" fmla="*/ 33320 w 847637"/>
                    <a:gd name="connsiteY294" fmla="*/ 653278 h 1317836"/>
                    <a:gd name="connsiteX295" fmla="*/ 33308 w 847637"/>
                    <a:gd name="connsiteY295" fmla="*/ 651590 h 1317836"/>
                    <a:gd name="connsiteX296" fmla="*/ 33952 w 847637"/>
                    <a:gd name="connsiteY296" fmla="*/ 648105 h 1317836"/>
                    <a:gd name="connsiteX297" fmla="*/ 34389 w 847637"/>
                    <a:gd name="connsiteY297" fmla="*/ 646381 h 1317836"/>
                    <a:gd name="connsiteX298" fmla="*/ 39003 w 847637"/>
                    <a:gd name="connsiteY298" fmla="*/ 636836 h 1317836"/>
                    <a:gd name="connsiteX299" fmla="*/ 39477 w 847637"/>
                    <a:gd name="connsiteY299" fmla="*/ 635161 h 1317836"/>
                    <a:gd name="connsiteX300" fmla="*/ 39525 w 847637"/>
                    <a:gd name="connsiteY300" fmla="*/ 633910 h 1317836"/>
                    <a:gd name="connsiteX301" fmla="*/ 38991 w 847637"/>
                    <a:gd name="connsiteY301" fmla="*/ 633206 h 1317836"/>
                    <a:gd name="connsiteX302" fmla="*/ 38700 w 847637"/>
                    <a:gd name="connsiteY302" fmla="*/ 633145 h 1317836"/>
                    <a:gd name="connsiteX303" fmla="*/ 32871 w 847637"/>
                    <a:gd name="connsiteY303" fmla="*/ 629696 h 1317836"/>
                    <a:gd name="connsiteX304" fmla="*/ 31122 w 847637"/>
                    <a:gd name="connsiteY304" fmla="*/ 627875 h 1317836"/>
                    <a:gd name="connsiteX305" fmla="*/ 30139 w 847637"/>
                    <a:gd name="connsiteY305" fmla="*/ 625932 h 1317836"/>
                    <a:gd name="connsiteX306" fmla="*/ 29811 w 847637"/>
                    <a:gd name="connsiteY306" fmla="*/ 622981 h 1317836"/>
                    <a:gd name="connsiteX307" fmla="*/ 29787 w 847637"/>
                    <a:gd name="connsiteY307" fmla="*/ 622253 h 1317836"/>
                    <a:gd name="connsiteX308" fmla="*/ 30321 w 847637"/>
                    <a:gd name="connsiteY308" fmla="*/ 621099 h 1317836"/>
                    <a:gd name="connsiteX309" fmla="*/ 31171 w 847637"/>
                    <a:gd name="connsiteY309" fmla="*/ 619715 h 1317836"/>
                    <a:gd name="connsiteX310" fmla="*/ 31681 w 847637"/>
                    <a:gd name="connsiteY310" fmla="*/ 619205 h 1317836"/>
                    <a:gd name="connsiteX311" fmla="*/ 33053 w 847637"/>
                    <a:gd name="connsiteY311" fmla="*/ 618306 h 1317836"/>
                    <a:gd name="connsiteX312" fmla="*/ 34231 w 847637"/>
                    <a:gd name="connsiteY312" fmla="*/ 617954 h 1317836"/>
                    <a:gd name="connsiteX313" fmla="*/ 40023 w 847637"/>
                    <a:gd name="connsiteY313" fmla="*/ 616837 h 1317836"/>
                    <a:gd name="connsiteX314" fmla="*/ 40703 w 847637"/>
                    <a:gd name="connsiteY314" fmla="*/ 616424 h 1317836"/>
                    <a:gd name="connsiteX315" fmla="*/ 41213 w 847637"/>
                    <a:gd name="connsiteY315" fmla="*/ 616011 h 1317836"/>
                    <a:gd name="connsiteX316" fmla="*/ 41590 w 847637"/>
                    <a:gd name="connsiteY316" fmla="*/ 615246 h 1317836"/>
                    <a:gd name="connsiteX317" fmla="*/ 41784 w 847637"/>
                    <a:gd name="connsiteY317" fmla="*/ 614141 h 1317836"/>
                    <a:gd name="connsiteX318" fmla="*/ 40958 w 847637"/>
                    <a:gd name="connsiteY318" fmla="*/ 607499 h 1317836"/>
                    <a:gd name="connsiteX319" fmla="*/ 40679 w 847637"/>
                    <a:gd name="connsiteY319" fmla="*/ 606406 h 1317836"/>
                    <a:gd name="connsiteX320" fmla="*/ 39829 w 847637"/>
                    <a:gd name="connsiteY320" fmla="*/ 605155 h 1317836"/>
                    <a:gd name="connsiteX321" fmla="*/ 34887 w 847637"/>
                    <a:gd name="connsiteY321" fmla="*/ 599983 h 1317836"/>
                    <a:gd name="connsiteX322" fmla="*/ 33551 w 847637"/>
                    <a:gd name="connsiteY322" fmla="*/ 597675 h 1317836"/>
                    <a:gd name="connsiteX323" fmla="*/ 32919 w 847637"/>
                    <a:gd name="connsiteY323" fmla="*/ 595344 h 1317836"/>
                    <a:gd name="connsiteX324" fmla="*/ 32847 w 847637"/>
                    <a:gd name="connsiteY324" fmla="*/ 593049 h 1317836"/>
                    <a:gd name="connsiteX325" fmla="*/ 33235 w 847637"/>
                    <a:gd name="connsiteY325" fmla="*/ 590195 h 1317836"/>
                    <a:gd name="connsiteX326" fmla="*/ 33053 w 847637"/>
                    <a:gd name="connsiteY326" fmla="*/ 588507 h 1317836"/>
                    <a:gd name="connsiteX327" fmla="*/ 32082 w 847637"/>
                    <a:gd name="connsiteY327" fmla="*/ 586856 h 1317836"/>
                    <a:gd name="connsiteX328" fmla="*/ 29714 w 847637"/>
                    <a:gd name="connsiteY328" fmla="*/ 584585 h 1317836"/>
                    <a:gd name="connsiteX329" fmla="*/ 28888 w 847637"/>
                    <a:gd name="connsiteY329" fmla="*/ 579085 h 1317836"/>
                    <a:gd name="connsiteX330" fmla="*/ 31049 w 847637"/>
                    <a:gd name="connsiteY330" fmla="*/ 575248 h 1317836"/>
                    <a:gd name="connsiteX331" fmla="*/ 32555 w 847637"/>
                    <a:gd name="connsiteY331" fmla="*/ 573110 h 1317836"/>
                    <a:gd name="connsiteX332" fmla="*/ 32907 w 847637"/>
                    <a:gd name="connsiteY332" fmla="*/ 570925 h 1317836"/>
                    <a:gd name="connsiteX333" fmla="*/ 32373 w 847637"/>
                    <a:gd name="connsiteY333" fmla="*/ 568824 h 1317836"/>
                    <a:gd name="connsiteX334" fmla="*/ 30807 w 847637"/>
                    <a:gd name="connsiteY334" fmla="*/ 558053 h 1317836"/>
                    <a:gd name="connsiteX335" fmla="*/ 29398 w 847637"/>
                    <a:gd name="connsiteY335" fmla="*/ 552868 h 1317836"/>
                    <a:gd name="connsiteX336" fmla="*/ 28961 w 847637"/>
                    <a:gd name="connsiteY336" fmla="*/ 552310 h 1317836"/>
                    <a:gd name="connsiteX337" fmla="*/ 28074 w 847637"/>
                    <a:gd name="connsiteY337" fmla="*/ 551617 h 1317836"/>
                    <a:gd name="connsiteX338" fmla="*/ 23290 w 847637"/>
                    <a:gd name="connsiteY338" fmla="*/ 549128 h 1317836"/>
                    <a:gd name="connsiteX339" fmla="*/ 20315 w 847637"/>
                    <a:gd name="connsiteY339" fmla="*/ 548059 h 1317836"/>
                    <a:gd name="connsiteX340" fmla="*/ 18287 w 847637"/>
                    <a:gd name="connsiteY340" fmla="*/ 549335 h 1317836"/>
                    <a:gd name="connsiteX341" fmla="*/ 16806 w 847637"/>
                    <a:gd name="connsiteY341" fmla="*/ 550148 h 1317836"/>
                    <a:gd name="connsiteX342" fmla="*/ 15118 w 847637"/>
                    <a:gd name="connsiteY342" fmla="*/ 550792 h 1317836"/>
                    <a:gd name="connsiteX343" fmla="*/ 12143 w 847637"/>
                    <a:gd name="connsiteY343" fmla="*/ 551386 h 1317836"/>
                    <a:gd name="connsiteX344" fmla="*/ 9095 w 847637"/>
                    <a:gd name="connsiteY344" fmla="*/ 551253 h 1317836"/>
                    <a:gd name="connsiteX345" fmla="*/ 3691 w 847637"/>
                    <a:gd name="connsiteY345" fmla="*/ 549747 h 1317836"/>
                    <a:gd name="connsiteX346" fmla="*/ 3339 w 847637"/>
                    <a:gd name="connsiteY346" fmla="*/ 545400 h 1317836"/>
                    <a:gd name="connsiteX347" fmla="*/ 2477 w 847637"/>
                    <a:gd name="connsiteY347" fmla="*/ 543834 h 1317836"/>
                    <a:gd name="connsiteX348" fmla="*/ 1894 w 847637"/>
                    <a:gd name="connsiteY348" fmla="*/ 541527 h 1317836"/>
                    <a:gd name="connsiteX349" fmla="*/ 2926 w 847637"/>
                    <a:gd name="connsiteY349" fmla="*/ 539438 h 1317836"/>
                    <a:gd name="connsiteX350" fmla="*/ 4384 w 847637"/>
                    <a:gd name="connsiteY350" fmla="*/ 538321 h 1317836"/>
                    <a:gd name="connsiteX351" fmla="*/ 6108 w 847637"/>
                    <a:gd name="connsiteY351" fmla="*/ 537677 h 1317836"/>
                    <a:gd name="connsiteX352" fmla="*/ 6630 w 847637"/>
                    <a:gd name="connsiteY352" fmla="*/ 537179 h 1317836"/>
                    <a:gd name="connsiteX353" fmla="*/ 6946 w 847637"/>
                    <a:gd name="connsiteY353" fmla="*/ 536354 h 1317836"/>
                    <a:gd name="connsiteX354" fmla="*/ 8209 w 847637"/>
                    <a:gd name="connsiteY354" fmla="*/ 532371 h 1317836"/>
                    <a:gd name="connsiteX355" fmla="*/ 11196 w 847637"/>
                    <a:gd name="connsiteY355" fmla="*/ 528376 h 1317836"/>
                    <a:gd name="connsiteX356" fmla="*/ 20704 w 847637"/>
                    <a:gd name="connsiteY356" fmla="*/ 520908 h 1317836"/>
                    <a:gd name="connsiteX357" fmla="*/ 22841 w 847637"/>
                    <a:gd name="connsiteY357" fmla="*/ 519839 h 1317836"/>
                    <a:gd name="connsiteX358" fmla="*/ 25877 w 847637"/>
                    <a:gd name="connsiteY358" fmla="*/ 519195 h 1317836"/>
                    <a:gd name="connsiteX359" fmla="*/ 28706 w 847637"/>
                    <a:gd name="connsiteY359" fmla="*/ 520106 h 1317836"/>
                    <a:gd name="connsiteX360" fmla="*/ 29689 w 847637"/>
                    <a:gd name="connsiteY360" fmla="*/ 521199 h 1317836"/>
                    <a:gd name="connsiteX361" fmla="*/ 30624 w 847637"/>
                    <a:gd name="connsiteY361" fmla="*/ 522644 h 1317836"/>
                    <a:gd name="connsiteX362" fmla="*/ 31025 w 847637"/>
                    <a:gd name="connsiteY362" fmla="*/ 523907 h 1317836"/>
                    <a:gd name="connsiteX363" fmla="*/ 31317 w 847637"/>
                    <a:gd name="connsiteY363" fmla="*/ 525729 h 1317836"/>
                    <a:gd name="connsiteX364" fmla="*/ 31171 w 847637"/>
                    <a:gd name="connsiteY364" fmla="*/ 527744 h 1317836"/>
                    <a:gd name="connsiteX365" fmla="*/ 35664 w 847637"/>
                    <a:gd name="connsiteY365" fmla="*/ 527914 h 1317836"/>
                    <a:gd name="connsiteX366" fmla="*/ 40023 w 847637"/>
                    <a:gd name="connsiteY366" fmla="*/ 527210 h 1317836"/>
                    <a:gd name="connsiteX367" fmla="*/ 41687 w 847637"/>
                    <a:gd name="connsiteY367" fmla="*/ 526506 h 1317836"/>
                    <a:gd name="connsiteX368" fmla="*/ 43350 w 847637"/>
                    <a:gd name="connsiteY368" fmla="*/ 525632 h 1317836"/>
                    <a:gd name="connsiteX369" fmla="*/ 46143 w 847637"/>
                    <a:gd name="connsiteY369" fmla="*/ 523397 h 1317836"/>
                    <a:gd name="connsiteX370" fmla="*/ 47673 w 847637"/>
                    <a:gd name="connsiteY370" fmla="*/ 521879 h 1317836"/>
                    <a:gd name="connsiteX371" fmla="*/ 50697 w 847637"/>
                    <a:gd name="connsiteY371" fmla="*/ 517119 h 1317836"/>
                    <a:gd name="connsiteX372" fmla="*/ 54279 w 847637"/>
                    <a:gd name="connsiteY372" fmla="*/ 510344 h 1317836"/>
                    <a:gd name="connsiteX373" fmla="*/ 54485 w 847637"/>
                    <a:gd name="connsiteY373" fmla="*/ 509761 h 1317836"/>
                    <a:gd name="connsiteX374" fmla="*/ 54255 w 847637"/>
                    <a:gd name="connsiteY374" fmla="*/ 508886 h 1317836"/>
                    <a:gd name="connsiteX375" fmla="*/ 53817 w 847637"/>
                    <a:gd name="connsiteY375" fmla="*/ 508656 h 1317836"/>
                    <a:gd name="connsiteX376" fmla="*/ 51110 w 847637"/>
                    <a:gd name="connsiteY376" fmla="*/ 506275 h 1317836"/>
                    <a:gd name="connsiteX377" fmla="*/ 50527 w 847637"/>
                    <a:gd name="connsiteY377" fmla="*/ 504187 h 1317836"/>
                    <a:gd name="connsiteX378" fmla="*/ 50964 w 847637"/>
                    <a:gd name="connsiteY378" fmla="*/ 502244 h 1317836"/>
                    <a:gd name="connsiteX379" fmla="*/ 51753 w 847637"/>
                    <a:gd name="connsiteY379" fmla="*/ 500957 h 1317836"/>
                    <a:gd name="connsiteX380" fmla="*/ 56962 w 847637"/>
                    <a:gd name="connsiteY380" fmla="*/ 494108 h 1317836"/>
                    <a:gd name="connsiteX381" fmla="*/ 60156 w 847637"/>
                    <a:gd name="connsiteY381" fmla="*/ 487527 h 1317836"/>
                    <a:gd name="connsiteX382" fmla="*/ 62730 w 847637"/>
                    <a:gd name="connsiteY382" fmla="*/ 483751 h 1317836"/>
                    <a:gd name="connsiteX383" fmla="*/ 64139 w 847637"/>
                    <a:gd name="connsiteY383" fmla="*/ 481273 h 1317836"/>
                    <a:gd name="connsiteX384" fmla="*/ 65280 w 847637"/>
                    <a:gd name="connsiteY384" fmla="*/ 478335 h 1317836"/>
                    <a:gd name="connsiteX385" fmla="*/ 65851 w 847637"/>
                    <a:gd name="connsiteY385" fmla="*/ 474230 h 1317836"/>
                    <a:gd name="connsiteX386" fmla="*/ 65875 w 847637"/>
                    <a:gd name="connsiteY386" fmla="*/ 472117 h 1317836"/>
                    <a:gd name="connsiteX387" fmla="*/ 61285 w 847637"/>
                    <a:gd name="connsiteY387" fmla="*/ 470648 h 1317836"/>
                    <a:gd name="connsiteX388" fmla="*/ 59027 w 847637"/>
                    <a:gd name="connsiteY388" fmla="*/ 469713 h 1317836"/>
                    <a:gd name="connsiteX389" fmla="*/ 56902 w 847637"/>
                    <a:gd name="connsiteY389" fmla="*/ 467819 h 1317836"/>
                    <a:gd name="connsiteX390" fmla="*/ 56489 w 847637"/>
                    <a:gd name="connsiteY390" fmla="*/ 464455 h 1317836"/>
                    <a:gd name="connsiteX391" fmla="*/ 57472 w 847637"/>
                    <a:gd name="connsiteY391" fmla="*/ 462257 h 1317836"/>
                    <a:gd name="connsiteX392" fmla="*/ 60095 w 847637"/>
                    <a:gd name="connsiteY392" fmla="*/ 459222 h 1317836"/>
                    <a:gd name="connsiteX393" fmla="*/ 62281 w 847637"/>
                    <a:gd name="connsiteY393" fmla="*/ 457764 h 1317836"/>
                    <a:gd name="connsiteX394" fmla="*/ 64746 w 847637"/>
                    <a:gd name="connsiteY394" fmla="*/ 456866 h 1317836"/>
                    <a:gd name="connsiteX395" fmla="*/ 72566 w 847637"/>
                    <a:gd name="connsiteY395" fmla="*/ 456526 h 1317836"/>
                    <a:gd name="connsiteX396" fmla="*/ 72809 w 847637"/>
                    <a:gd name="connsiteY396" fmla="*/ 456113 h 1317836"/>
                    <a:gd name="connsiteX397" fmla="*/ 73185 w 847637"/>
                    <a:gd name="connsiteY397" fmla="*/ 453284 h 1317836"/>
                    <a:gd name="connsiteX398" fmla="*/ 72882 w 847637"/>
                    <a:gd name="connsiteY398" fmla="*/ 447394 h 1317836"/>
                    <a:gd name="connsiteX399" fmla="*/ 74011 w 847637"/>
                    <a:gd name="connsiteY399" fmla="*/ 438834 h 1317836"/>
                    <a:gd name="connsiteX400" fmla="*/ 73914 w 847637"/>
                    <a:gd name="connsiteY400" fmla="*/ 436514 h 1317836"/>
                    <a:gd name="connsiteX401" fmla="*/ 73574 w 847637"/>
                    <a:gd name="connsiteY401" fmla="*/ 435021 h 1317836"/>
                    <a:gd name="connsiteX402" fmla="*/ 73149 w 847637"/>
                    <a:gd name="connsiteY402" fmla="*/ 434013 h 1317836"/>
                    <a:gd name="connsiteX403" fmla="*/ 72590 w 847637"/>
                    <a:gd name="connsiteY403" fmla="*/ 433321 h 1317836"/>
                    <a:gd name="connsiteX404" fmla="*/ 71607 w 847637"/>
                    <a:gd name="connsiteY404" fmla="*/ 432459 h 1317836"/>
                    <a:gd name="connsiteX405" fmla="*/ 70745 w 847637"/>
                    <a:gd name="connsiteY405" fmla="*/ 431961 h 1317836"/>
                    <a:gd name="connsiteX406" fmla="*/ 55056 w 847637"/>
                    <a:gd name="connsiteY406" fmla="*/ 424687 h 1317836"/>
                    <a:gd name="connsiteX407" fmla="*/ 53125 w 847637"/>
                    <a:gd name="connsiteY407" fmla="*/ 426144 h 1317836"/>
                    <a:gd name="connsiteX408" fmla="*/ 52093 w 847637"/>
                    <a:gd name="connsiteY408" fmla="*/ 426703 h 1317836"/>
                    <a:gd name="connsiteX409" fmla="*/ 51535 w 847637"/>
                    <a:gd name="connsiteY409" fmla="*/ 426946 h 1317836"/>
                    <a:gd name="connsiteX410" fmla="*/ 50017 w 847637"/>
                    <a:gd name="connsiteY410" fmla="*/ 427322 h 1317836"/>
                    <a:gd name="connsiteX411" fmla="*/ 49215 w 847637"/>
                    <a:gd name="connsiteY411" fmla="*/ 427322 h 1317836"/>
                    <a:gd name="connsiteX412" fmla="*/ 47722 w 847637"/>
                    <a:gd name="connsiteY412" fmla="*/ 426921 h 1317836"/>
                    <a:gd name="connsiteX413" fmla="*/ 46823 w 847637"/>
                    <a:gd name="connsiteY413" fmla="*/ 426424 h 1317836"/>
                    <a:gd name="connsiteX414" fmla="*/ 45609 w 847637"/>
                    <a:gd name="connsiteY414" fmla="*/ 425015 h 1317836"/>
                    <a:gd name="connsiteX415" fmla="*/ 45087 w 847637"/>
                    <a:gd name="connsiteY415" fmla="*/ 423777 h 1317836"/>
                    <a:gd name="connsiteX416" fmla="*/ 44613 w 847637"/>
                    <a:gd name="connsiteY416" fmla="*/ 421579 h 1317836"/>
                    <a:gd name="connsiteX417" fmla="*/ 44856 w 847637"/>
                    <a:gd name="connsiteY417" fmla="*/ 417183 h 1317836"/>
                    <a:gd name="connsiteX418" fmla="*/ 43727 w 847637"/>
                    <a:gd name="connsiteY418" fmla="*/ 415252 h 1317836"/>
                    <a:gd name="connsiteX419" fmla="*/ 42755 w 847637"/>
                    <a:gd name="connsiteY419" fmla="*/ 413358 h 1317836"/>
                    <a:gd name="connsiteX420" fmla="*/ 42100 w 847637"/>
                    <a:gd name="connsiteY420" fmla="*/ 411233 h 1317836"/>
                    <a:gd name="connsiteX421" fmla="*/ 41711 w 847637"/>
                    <a:gd name="connsiteY421" fmla="*/ 407444 h 1317836"/>
                    <a:gd name="connsiteX422" fmla="*/ 42306 w 847637"/>
                    <a:gd name="connsiteY422" fmla="*/ 404239 h 1317836"/>
                    <a:gd name="connsiteX423" fmla="*/ 44285 w 847637"/>
                    <a:gd name="connsiteY423" fmla="*/ 402089 h 1317836"/>
                    <a:gd name="connsiteX424" fmla="*/ 47236 w 847637"/>
                    <a:gd name="connsiteY424" fmla="*/ 401251 h 1317836"/>
                    <a:gd name="connsiteX425" fmla="*/ 48936 w 847637"/>
                    <a:gd name="connsiteY425" fmla="*/ 401057 h 1317836"/>
                    <a:gd name="connsiteX426" fmla="*/ 46775 w 847637"/>
                    <a:gd name="connsiteY426" fmla="*/ 399709 h 1317836"/>
                    <a:gd name="connsiteX427" fmla="*/ 45779 w 847637"/>
                    <a:gd name="connsiteY427" fmla="*/ 398398 h 1317836"/>
                    <a:gd name="connsiteX428" fmla="*/ 44722 w 847637"/>
                    <a:gd name="connsiteY428" fmla="*/ 395957 h 1317836"/>
                    <a:gd name="connsiteX429" fmla="*/ 44492 w 847637"/>
                    <a:gd name="connsiteY429" fmla="*/ 394585 h 1317836"/>
                    <a:gd name="connsiteX430" fmla="*/ 44407 w 847637"/>
                    <a:gd name="connsiteY430" fmla="*/ 393006 h 1317836"/>
                    <a:gd name="connsiteX431" fmla="*/ 43290 w 847637"/>
                    <a:gd name="connsiteY431" fmla="*/ 393261 h 1317836"/>
                    <a:gd name="connsiteX432" fmla="*/ 41990 w 847637"/>
                    <a:gd name="connsiteY432" fmla="*/ 393212 h 1317836"/>
                    <a:gd name="connsiteX433" fmla="*/ 39598 w 847637"/>
                    <a:gd name="connsiteY433" fmla="*/ 392642 h 1317836"/>
                    <a:gd name="connsiteX434" fmla="*/ 38955 w 847637"/>
                    <a:gd name="connsiteY434" fmla="*/ 392302 h 1317836"/>
                    <a:gd name="connsiteX435" fmla="*/ 37607 w 847637"/>
                    <a:gd name="connsiteY435" fmla="*/ 391221 h 1317836"/>
                    <a:gd name="connsiteX436" fmla="*/ 37315 w 847637"/>
                    <a:gd name="connsiteY436" fmla="*/ 390796 h 1317836"/>
                    <a:gd name="connsiteX437" fmla="*/ 36599 w 847637"/>
                    <a:gd name="connsiteY437" fmla="*/ 389509 h 1317836"/>
                    <a:gd name="connsiteX438" fmla="*/ 35967 w 847637"/>
                    <a:gd name="connsiteY438" fmla="*/ 386401 h 1317836"/>
                    <a:gd name="connsiteX439" fmla="*/ 34413 w 847637"/>
                    <a:gd name="connsiteY439" fmla="*/ 387554 h 1317836"/>
                    <a:gd name="connsiteX440" fmla="*/ 32616 w 847637"/>
                    <a:gd name="connsiteY440" fmla="*/ 388368 h 1317836"/>
                    <a:gd name="connsiteX441" fmla="*/ 31414 w 847637"/>
                    <a:gd name="connsiteY441" fmla="*/ 388452 h 1317836"/>
                    <a:gd name="connsiteX442" fmla="*/ 29592 w 847637"/>
                    <a:gd name="connsiteY442" fmla="*/ 388040 h 1317836"/>
                    <a:gd name="connsiteX443" fmla="*/ 29009 w 847637"/>
                    <a:gd name="connsiteY443" fmla="*/ 387845 h 1317836"/>
                    <a:gd name="connsiteX444" fmla="*/ 27941 w 847637"/>
                    <a:gd name="connsiteY444" fmla="*/ 386898 h 1317836"/>
                    <a:gd name="connsiteX445" fmla="*/ 27152 w 847637"/>
                    <a:gd name="connsiteY445" fmla="*/ 385684 h 1317836"/>
                    <a:gd name="connsiteX446" fmla="*/ 26909 w 847637"/>
                    <a:gd name="connsiteY446" fmla="*/ 384968 h 1317836"/>
                    <a:gd name="connsiteX447" fmla="*/ 26860 w 847637"/>
                    <a:gd name="connsiteY447" fmla="*/ 383729 h 1317836"/>
                    <a:gd name="connsiteX448" fmla="*/ 27224 w 847637"/>
                    <a:gd name="connsiteY448" fmla="*/ 382187 h 1317836"/>
                    <a:gd name="connsiteX449" fmla="*/ 29629 w 847637"/>
                    <a:gd name="connsiteY449" fmla="*/ 376941 h 1317836"/>
                    <a:gd name="connsiteX450" fmla="*/ 30588 w 847637"/>
                    <a:gd name="connsiteY450" fmla="*/ 373019 h 1317836"/>
                    <a:gd name="connsiteX451" fmla="*/ 32907 w 847637"/>
                    <a:gd name="connsiteY451" fmla="*/ 370153 h 1317836"/>
                    <a:gd name="connsiteX452" fmla="*/ 37218 w 847637"/>
                    <a:gd name="connsiteY452" fmla="*/ 370627 h 1317836"/>
                    <a:gd name="connsiteX453" fmla="*/ 39185 w 847637"/>
                    <a:gd name="connsiteY453" fmla="*/ 372084 h 1317836"/>
                    <a:gd name="connsiteX454" fmla="*/ 40970 w 847637"/>
                    <a:gd name="connsiteY454" fmla="*/ 373808 h 1317836"/>
                    <a:gd name="connsiteX455" fmla="*/ 41468 w 847637"/>
                    <a:gd name="connsiteY455" fmla="*/ 373335 h 1317836"/>
                    <a:gd name="connsiteX456" fmla="*/ 42597 w 847637"/>
                    <a:gd name="connsiteY456" fmla="*/ 369182 h 1317836"/>
                    <a:gd name="connsiteX457" fmla="*/ 44152 w 847637"/>
                    <a:gd name="connsiteY457" fmla="*/ 367372 h 1317836"/>
                    <a:gd name="connsiteX458" fmla="*/ 45670 w 847637"/>
                    <a:gd name="connsiteY458" fmla="*/ 366717 h 1317836"/>
                    <a:gd name="connsiteX459" fmla="*/ 47285 w 847637"/>
                    <a:gd name="connsiteY459" fmla="*/ 366608 h 1317836"/>
                    <a:gd name="connsiteX460" fmla="*/ 49215 w 847637"/>
                    <a:gd name="connsiteY460" fmla="*/ 366996 h 1317836"/>
                    <a:gd name="connsiteX461" fmla="*/ 51316 w 847637"/>
                    <a:gd name="connsiteY461" fmla="*/ 368587 h 1317836"/>
                    <a:gd name="connsiteX462" fmla="*/ 52202 w 847637"/>
                    <a:gd name="connsiteY462" fmla="*/ 369583 h 1317836"/>
                    <a:gd name="connsiteX463" fmla="*/ 52858 w 847637"/>
                    <a:gd name="connsiteY463" fmla="*/ 370444 h 1317836"/>
                    <a:gd name="connsiteX464" fmla="*/ 56149 w 847637"/>
                    <a:gd name="connsiteY464" fmla="*/ 366680 h 1317836"/>
                    <a:gd name="connsiteX465" fmla="*/ 57363 w 847637"/>
                    <a:gd name="connsiteY465" fmla="*/ 365563 h 1317836"/>
                    <a:gd name="connsiteX466" fmla="*/ 58772 w 847637"/>
                    <a:gd name="connsiteY466" fmla="*/ 364628 h 1317836"/>
                    <a:gd name="connsiteX467" fmla="*/ 61310 w 847637"/>
                    <a:gd name="connsiteY467" fmla="*/ 363220 h 1317836"/>
                    <a:gd name="connsiteX468" fmla="*/ 62196 w 847637"/>
                    <a:gd name="connsiteY468" fmla="*/ 362637 h 1317836"/>
                    <a:gd name="connsiteX469" fmla="*/ 62645 w 847637"/>
                    <a:gd name="connsiteY469" fmla="*/ 362054 h 1317836"/>
                    <a:gd name="connsiteX470" fmla="*/ 63471 w 847637"/>
                    <a:gd name="connsiteY470" fmla="*/ 360378 h 1317836"/>
                    <a:gd name="connsiteX471" fmla="*/ 64965 w 847637"/>
                    <a:gd name="connsiteY471" fmla="*/ 354113 h 1317836"/>
                    <a:gd name="connsiteX472" fmla="*/ 66082 w 847637"/>
                    <a:gd name="connsiteY472" fmla="*/ 351987 h 1317836"/>
                    <a:gd name="connsiteX473" fmla="*/ 67648 w 847637"/>
                    <a:gd name="connsiteY473" fmla="*/ 351162 h 1317836"/>
                    <a:gd name="connsiteX474" fmla="*/ 69397 w 847637"/>
                    <a:gd name="connsiteY474" fmla="*/ 350712 h 1317836"/>
                    <a:gd name="connsiteX475" fmla="*/ 71425 w 847637"/>
                    <a:gd name="connsiteY475" fmla="*/ 350919 h 1317836"/>
                    <a:gd name="connsiteX476" fmla="*/ 73902 w 847637"/>
                    <a:gd name="connsiteY476" fmla="*/ 351757 h 1317836"/>
                    <a:gd name="connsiteX477" fmla="*/ 77338 w 847637"/>
                    <a:gd name="connsiteY477" fmla="*/ 353724 h 1317836"/>
                    <a:gd name="connsiteX478" fmla="*/ 78370 w 847637"/>
                    <a:gd name="connsiteY478" fmla="*/ 354003 h 1317836"/>
                    <a:gd name="connsiteX479" fmla="*/ 83883 w 847637"/>
                    <a:gd name="connsiteY479" fmla="*/ 354392 h 1317836"/>
                    <a:gd name="connsiteX480" fmla="*/ 86106 w 847637"/>
                    <a:gd name="connsiteY480" fmla="*/ 354865 h 1317836"/>
                    <a:gd name="connsiteX481" fmla="*/ 88753 w 847637"/>
                    <a:gd name="connsiteY481" fmla="*/ 356019 h 1317836"/>
                    <a:gd name="connsiteX482" fmla="*/ 89396 w 847637"/>
                    <a:gd name="connsiteY482" fmla="*/ 359273 h 1317836"/>
                    <a:gd name="connsiteX483" fmla="*/ 89821 w 847637"/>
                    <a:gd name="connsiteY483" fmla="*/ 362612 h 1317836"/>
                    <a:gd name="connsiteX484" fmla="*/ 91497 w 847637"/>
                    <a:gd name="connsiteY484" fmla="*/ 364470 h 1317836"/>
                    <a:gd name="connsiteX485" fmla="*/ 92529 w 847637"/>
                    <a:gd name="connsiteY485" fmla="*/ 366267 h 1317836"/>
                    <a:gd name="connsiteX486" fmla="*/ 92954 w 847637"/>
                    <a:gd name="connsiteY486" fmla="*/ 367397 h 1317836"/>
                    <a:gd name="connsiteX487" fmla="*/ 93003 w 847637"/>
                    <a:gd name="connsiteY487" fmla="*/ 368562 h 1317836"/>
                    <a:gd name="connsiteX488" fmla="*/ 93986 w 847637"/>
                    <a:gd name="connsiteY488" fmla="*/ 368223 h 1317836"/>
                    <a:gd name="connsiteX489" fmla="*/ 95116 w 847637"/>
                    <a:gd name="connsiteY489" fmla="*/ 367506 h 1317836"/>
                    <a:gd name="connsiteX490" fmla="*/ 100835 w 847637"/>
                    <a:gd name="connsiteY490" fmla="*/ 362333 h 1317836"/>
                    <a:gd name="connsiteX491" fmla="*/ 102559 w 847637"/>
                    <a:gd name="connsiteY491" fmla="*/ 361107 h 1317836"/>
                    <a:gd name="connsiteX492" fmla="*/ 104429 w 847637"/>
                    <a:gd name="connsiteY492" fmla="*/ 360220 h 1317836"/>
                    <a:gd name="connsiteX493" fmla="*/ 106263 w 847637"/>
                    <a:gd name="connsiteY493" fmla="*/ 359722 h 1317836"/>
                    <a:gd name="connsiteX494" fmla="*/ 110209 w 847637"/>
                    <a:gd name="connsiteY494" fmla="*/ 359261 h 1317836"/>
                    <a:gd name="connsiteX495" fmla="*/ 110367 w 847637"/>
                    <a:gd name="connsiteY495" fmla="*/ 358873 h 1317836"/>
                    <a:gd name="connsiteX496" fmla="*/ 103907 w 847637"/>
                    <a:gd name="connsiteY496" fmla="*/ 352485 h 1317836"/>
                    <a:gd name="connsiteX497" fmla="*/ 109554 w 847637"/>
                    <a:gd name="connsiteY497" fmla="*/ 348150 h 1317836"/>
                    <a:gd name="connsiteX498" fmla="*/ 111217 w 847637"/>
                    <a:gd name="connsiteY498" fmla="*/ 347082 h 1317836"/>
                    <a:gd name="connsiteX499" fmla="*/ 111630 w 847637"/>
                    <a:gd name="connsiteY499" fmla="*/ 346584 h 1317836"/>
                    <a:gd name="connsiteX500" fmla="*/ 113354 w 847637"/>
                    <a:gd name="connsiteY500" fmla="*/ 340464 h 1317836"/>
                    <a:gd name="connsiteX501" fmla="*/ 114811 w 847637"/>
                    <a:gd name="connsiteY501" fmla="*/ 338545 h 1317836"/>
                    <a:gd name="connsiteX502" fmla="*/ 116754 w 847637"/>
                    <a:gd name="connsiteY502" fmla="*/ 337756 h 1317836"/>
                    <a:gd name="connsiteX503" fmla="*/ 119839 w 847637"/>
                    <a:gd name="connsiteY503" fmla="*/ 337537 h 1317836"/>
                    <a:gd name="connsiteX504" fmla="*/ 121029 w 847637"/>
                    <a:gd name="connsiteY504" fmla="*/ 337331 h 1317836"/>
                    <a:gd name="connsiteX505" fmla="*/ 121502 w 847637"/>
                    <a:gd name="connsiteY505" fmla="*/ 336979 h 1317836"/>
                    <a:gd name="connsiteX506" fmla="*/ 122292 w 847637"/>
                    <a:gd name="connsiteY506" fmla="*/ 336105 h 1317836"/>
                    <a:gd name="connsiteX507" fmla="*/ 123433 w 847637"/>
                    <a:gd name="connsiteY507" fmla="*/ 334028 h 1317836"/>
                    <a:gd name="connsiteX508" fmla="*/ 124465 w 847637"/>
                    <a:gd name="connsiteY508" fmla="*/ 333263 h 1317836"/>
                    <a:gd name="connsiteX509" fmla="*/ 126311 w 847637"/>
                    <a:gd name="connsiteY509" fmla="*/ 332437 h 1317836"/>
                    <a:gd name="connsiteX510" fmla="*/ 129189 w 847637"/>
                    <a:gd name="connsiteY510" fmla="*/ 331769 h 1317836"/>
                    <a:gd name="connsiteX511" fmla="*/ 132637 w 847637"/>
                    <a:gd name="connsiteY511" fmla="*/ 329766 h 1317836"/>
                    <a:gd name="connsiteX512" fmla="*/ 133633 w 847637"/>
                    <a:gd name="connsiteY512" fmla="*/ 328989 h 1317836"/>
                    <a:gd name="connsiteX513" fmla="*/ 135685 w 847637"/>
                    <a:gd name="connsiteY513" fmla="*/ 327956 h 1317836"/>
                    <a:gd name="connsiteX514" fmla="*/ 138721 w 847637"/>
                    <a:gd name="connsiteY514" fmla="*/ 327459 h 1317836"/>
                    <a:gd name="connsiteX515" fmla="*/ 142752 w 847637"/>
                    <a:gd name="connsiteY515" fmla="*/ 328029 h 1317836"/>
                    <a:gd name="connsiteX516" fmla="*/ 146128 w 847637"/>
                    <a:gd name="connsiteY516" fmla="*/ 329256 h 1317836"/>
                    <a:gd name="connsiteX517" fmla="*/ 147209 w 847637"/>
                    <a:gd name="connsiteY517" fmla="*/ 329414 h 1317836"/>
                    <a:gd name="connsiteX518" fmla="*/ 147634 w 847637"/>
                    <a:gd name="connsiteY518" fmla="*/ 329049 h 1317836"/>
                    <a:gd name="connsiteX519" fmla="*/ 145740 w 847637"/>
                    <a:gd name="connsiteY519" fmla="*/ 321096 h 1317836"/>
                    <a:gd name="connsiteX520" fmla="*/ 145169 w 847637"/>
                    <a:gd name="connsiteY520" fmla="*/ 319141 h 1317836"/>
                    <a:gd name="connsiteX521" fmla="*/ 144562 w 847637"/>
                    <a:gd name="connsiteY521" fmla="*/ 317841 h 1317836"/>
                    <a:gd name="connsiteX522" fmla="*/ 143214 w 847637"/>
                    <a:gd name="connsiteY522" fmla="*/ 315255 h 1317836"/>
                    <a:gd name="connsiteX523" fmla="*/ 142862 w 847637"/>
                    <a:gd name="connsiteY523" fmla="*/ 313761 h 1317836"/>
                    <a:gd name="connsiteX524" fmla="*/ 143032 w 847637"/>
                    <a:gd name="connsiteY524" fmla="*/ 312790 h 1317836"/>
                    <a:gd name="connsiteX525" fmla="*/ 143299 w 847637"/>
                    <a:gd name="connsiteY525" fmla="*/ 311733 h 1317836"/>
                    <a:gd name="connsiteX526" fmla="*/ 143712 w 847637"/>
                    <a:gd name="connsiteY526" fmla="*/ 310774 h 1317836"/>
                    <a:gd name="connsiteX527" fmla="*/ 144865 w 847637"/>
                    <a:gd name="connsiteY527" fmla="*/ 309742 h 1317836"/>
                    <a:gd name="connsiteX528" fmla="*/ 146420 w 847637"/>
                    <a:gd name="connsiteY528" fmla="*/ 308892 h 1317836"/>
                    <a:gd name="connsiteX529" fmla="*/ 155502 w 847637"/>
                    <a:gd name="connsiteY529" fmla="*/ 306136 h 1317836"/>
                    <a:gd name="connsiteX530" fmla="*/ 157761 w 847637"/>
                    <a:gd name="connsiteY530" fmla="*/ 305152 h 1317836"/>
                    <a:gd name="connsiteX531" fmla="*/ 158587 w 847637"/>
                    <a:gd name="connsiteY531" fmla="*/ 304679 h 1317836"/>
                    <a:gd name="connsiteX532" fmla="*/ 159510 w 847637"/>
                    <a:gd name="connsiteY532" fmla="*/ 303416 h 1317836"/>
                    <a:gd name="connsiteX533" fmla="*/ 160384 w 847637"/>
                    <a:gd name="connsiteY533" fmla="*/ 302408 h 1317836"/>
                    <a:gd name="connsiteX534" fmla="*/ 163565 w 847637"/>
                    <a:gd name="connsiteY534" fmla="*/ 299736 h 1317836"/>
                    <a:gd name="connsiteX535" fmla="*/ 163456 w 847637"/>
                    <a:gd name="connsiteY535" fmla="*/ 299457 h 1317836"/>
                    <a:gd name="connsiteX536" fmla="*/ 165022 w 847637"/>
                    <a:gd name="connsiteY536" fmla="*/ 293373 h 1317836"/>
                    <a:gd name="connsiteX537" fmla="*/ 166382 w 847637"/>
                    <a:gd name="connsiteY537" fmla="*/ 292184 h 1317836"/>
                    <a:gd name="connsiteX538" fmla="*/ 167961 w 847637"/>
                    <a:gd name="connsiteY538" fmla="*/ 291455 h 1317836"/>
                    <a:gd name="connsiteX539" fmla="*/ 169989 w 847637"/>
                    <a:gd name="connsiteY539" fmla="*/ 291139 h 1317836"/>
                    <a:gd name="connsiteX540" fmla="*/ 175405 w 847637"/>
                    <a:gd name="connsiteY540" fmla="*/ 293082 h 1317836"/>
                    <a:gd name="connsiteX541" fmla="*/ 182958 w 847637"/>
                    <a:gd name="connsiteY541" fmla="*/ 291734 h 1317836"/>
                    <a:gd name="connsiteX542" fmla="*/ 185034 w 847637"/>
                    <a:gd name="connsiteY542" fmla="*/ 291552 h 1317836"/>
                    <a:gd name="connsiteX543" fmla="*/ 186625 w 847637"/>
                    <a:gd name="connsiteY543" fmla="*/ 292414 h 1317836"/>
                    <a:gd name="connsiteX544" fmla="*/ 187961 w 847637"/>
                    <a:gd name="connsiteY544" fmla="*/ 293689 h 1317836"/>
                    <a:gd name="connsiteX545" fmla="*/ 188762 w 847637"/>
                    <a:gd name="connsiteY545" fmla="*/ 295158 h 1317836"/>
                    <a:gd name="connsiteX546" fmla="*/ 189612 w 847637"/>
                    <a:gd name="connsiteY546" fmla="*/ 298024 h 1317836"/>
                    <a:gd name="connsiteX547" fmla="*/ 190304 w 847637"/>
                    <a:gd name="connsiteY547" fmla="*/ 298777 h 1317836"/>
                    <a:gd name="connsiteX548" fmla="*/ 191336 w 847637"/>
                    <a:gd name="connsiteY548" fmla="*/ 299481 h 1317836"/>
                    <a:gd name="connsiteX549" fmla="*/ 194299 w 847637"/>
                    <a:gd name="connsiteY549" fmla="*/ 300671 h 1317836"/>
                    <a:gd name="connsiteX550" fmla="*/ 195538 w 847637"/>
                    <a:gd name="connsiteY550" fmla="*/ 301667 h 1317836"/>
                    <a:gd name="connsiteX551" fmla="*/ 194263 w 847637"/>
                    <a:gd name="connsiteY551" fmla="*/ 304994 h 1317836"/>
                    <a:gd name="connsiteX552" fmla="*/ 196667 w 847637"/>
                    <a:gd name="connsiteY552" fmla="*/ 303148 h 1317836"/>
                    <a:gd name="connsiteX553" fmla="*/ 197930 w 847637"/>
                    <a:gd name="connsiteY553" fmla="*/ 304776 h 1317836"/>
                    <a:gd name="connsiteX554" fmla="*/ 199460 w 847637"/>
                    <a:gd name="connsiteY554" fmla="*/ 306099 h 1317836"/>
                    <a:gd name="connsiteX555" fmla="*/ 201403 w 847637"/>
                    <a:gd name="connsiteY555" fmla="*/ 306597 h 1317836"/>
                    <a:gd name="connsiteX556" fmla="*/ 203710 w 847637"/>
                    <a:gd name="connsiteY556" fmla="*/ 307799 h 1317836"/>
                    <a:gd name="connsiteX557" fmla="*/ 205033 w 847637"/>
                    <a:gd name="connsiteY557" fmla="*/ 308066 h 1317836"/>
                    <a:gd name="connsiteX558" fmla="*/ 206600 w 847637"/>
                    <a:gd name="connsiteY558" fmla="*/ 308079 h 1317836"/>
                    <a:gd name="connsiteX559" fmla="*/ 211287 w 847637"/>
                    <a:gd name="connsiteY559" fmla="*/ 306451 h 1317836"/>
                    <a:gd name="connsiteX560" fmla="*/ 217820 w 847637"/>
                    <a:gd name="connsiteY560" fmla="*/ 302687 h 1317836"/>
                    <a:gd name="connsiteX561" fmla="*/ 217929 w 847637"/>
                    <a:gd name="connsiteY561" fmla="*/ 301230 h 1317836"/>
                    <a:gd name="connsiteX562" fmla="*/ 217444 w 847637"/>
                    <a:gd name="connsiteY562" fmla="*/ 298146 h 1317836"/>
                    <a:gd name="connsiteX563" fmla="*/ 217492 w 847637"/>
                    <a:gd name="connsiteY563" fmla="*/ 294709 h 1317836"/>
                    <a:gd name="connsiteX564" fmla="*/ 219241 w 847637"/>
                    <a:gd name="connsiteY564" fmla="*/ 292184 h 1317836"/>
                    <a:gd name="connsiteX565" fmla="*/ 222495 w 847637"/>
                    <a:gd name="connsiteY565" fmla="*/ 290496 h 1317836"/>
                    <a:gd name="connsiteX566" fmla="*/ 232792 w 847637"/>
                    <a:gd name="connsiteY566" fmla="*/ 290325 h 1317836"/>
                    <a:gd name="connsiteX567" fmla="*/ 235609 w 847637"/>
                    <a:gd name="connsiteY567" fmla="*/ 289670 h 1317836"/>
                    <a:gd name="connsiteX568" fmla="*/ 237552 w 847637"/>
                    <a:gd name="connsiteY568" fmla="*/ 288771 h 1317836"/>
                    <a:gd name="connsiteX569" fmla="*/ 241268 w 847637"/>
                    <a:gd name="connsiteY569" fmla="*/ 286513 h 1317836"/>
                    <a:gd name="connsiteX570" fmla="*/ 244061 w 847637"/>
                    <a:gd name="connsiteY570" fmla="*/ 285687 h 1317836"/>
                    <a:gd name="connsiteX571" fmla="*/ 255111 w 847637"/>
                    <a:gd name="connsiteY571" fmla="*/ 285517 h 1317836"/>
                    <a:gd name="connsiteX572" fmla="*/ 257685 w 847637"/>
                    <a:gd name="connsiteY572" fmla="*/ 286148 h 1317836"/>
                    <a:gd name="connsiteX573" fmla="*/ 259883 w 847637"/>
                    <a:gd name="connsiteY573" fmla="*/ 287569 h 1317836"/>
                    <a:gd name="connsiteX574" fmla="*/ 261510 w 847637"/>
                    <a:gd name="connsiteY574" fmla="*/ 289536 h 1317836"/>
                    <a:gd name="connsiteX575" fmla="*/ 261875 w 847637"/>
                    <a:gd name="connsiteY575" fmla="*/ 289876 h 1317836"/>
                    <a:gd name="connsiteX576" fmla="*/ 262045 w 847637"/>
                    <a:gd name="connsiteY576" fmla="*/ 289937 h 1317836"/>
                    <a:gd name="connsiteX577" fmla="*/ 263271 w 847637"/>
                    <a:gd name="connsiteY577" fmla="*/ 289755 h 1317836"/>
                    <a:gd name="connsiteX578" fmla="*/ 269622 w 847637"/>
                    <a:gd name="connsiteY578" fmla="*/ 287278 h 1317836"/>
                    <a:gd name="connsiteX579" fmla="*/ 270751 w 847637"/>
                    <a:gd name="connsiteY579" fmla="*/ 286525 h 1317836"/>
                    <a:gd name="connsiteX580" fmla="*/ 271990 w 847637"/>
                    <a:gd name="connsiteY580" fmla="*/ 285408 h 1317836"/>
                    <a:gd name="connsiteX581" fmla="*/ 275074 w 847637"/>
                    <a:gd name="connsiteY581" fmla="*/ 281121 h 1317836"/>
                    <a:gd name="connsiteX582" fmla="*/ 277296 w 847637"/>
                    <a:gd name="connsiteY582" fmla="*/ 279591 h 1317836"/>
                    <a:gd name="connsiteX583" fmla="*/ 279081 w 847637"/>
                    <a:gd name="connsiteY583" fmla="*/ 279713 h 1317836"/>
                    <a:gd name="connsiteX584" fmla="*/ 280648 w 847637"/>
                    <a:gd name="connsiteY584" fmla="*/ 280150 h 1317836"/>
                    <a:gd name="connsiteX585" fmla="*/ 282433 w 847637"/>
                    <a:gd name="connsiteY585" fmla="*/ 281230 h 1317836"/>
                    <a:gd name="connsiteX586" fmla="*/ 287812 w 847637"/>
                    <a:gd name="connsiteY586" fmla="*/ 285991 h 1317836"/>
                    <a:gd name="connsiteX587" fmla="*/ 289925 w 847637"/>
                    <a:gd name="connsiteY587" fmla="*/ 287266 h 1317836"/>
                    <a:gd name="connsiteX588" fmla="*/ 290811 w 847637"/>
                    <a:gd name="connsiteY588" fmla="*/ 287435 h 1317836"/>
                    <a:gd name="connsiteX589" fmla="*/ 291406 w 847637"/>
                    <a:gd name="connsiteY589" fmla="*/ 287290 h 1317836"/>
                    <a:gd name="connsiteX590" fmla="*/ 292086 w 847637"/>
                    <a:gd name="connsiteY590" fmla="*/ 286646 h 1317836"/>
                    <a:gd name="connsiteX591" fmla="*/ 292451 w 847637"/>
                    <a:gd name="connsiteY591" fmla="*/ 284971 h 1317836"/>
                    <a:gd name="connsiteX592" fmla="*/ 292535 w 847637"/>
                    <a:gd name="connsiteY592" fmla="*/ 283404 h 1317836"/>
                    <a:gd name="connsiteX593" fmla="*/ 291868 w 847637"/>
                    <a:gd name="connsiteY593" fmla="*/ 280830 h 1317836"/>
                    <a:gd name="connsiteX594" fmla="*/ 289160 w 847637"/>
                    <a:gd name="connsiteY594" fmla="*/ 277308 h 1317836"/>
                    <a:gd name="connsiteX595" fmla="*/ 288953 w 847637"/>
                    <a:gd name="connsiteY595" fmla="*/ 275961 h 1317836"/>
                    <a:gd name="connsiteX596" fmla="*/ 288990 w 847637"/>
                    <a:gd name="connsiteY596" fmla="*/ 274528 h 1317836"/>
                    <a:gd name="connsiteX597" fmla="*/ 289585 w 847637"/>
                    <a:gd name="connsiteY597" fmla="*/ 272330 h 1317836"/>
                    <a:gd name="connsiteX598" fmla="*/ 290945 w 847637"/>
                    <a:gd name="connsiteY598" fmla="*/ 270812 h 1317836"/>
                    <a:gd name="connsiteX599" fmla="*/ 293422 w 847637"/>
                    <a:gd name="connsiteY599" fmla="*/ 269051 h 1317836"/>
                    <a:gd name="connsiteX600" fmla="*/ 293507 w 847637"/>
                    <a:gd name="connsiteY600" fmla="*/ 267801 h 1317836"/>
                    <a:gd name="connsiteX601" fmla="*/ 292961 w 847637"/>
                    <a:gd name="connsiteY601" fmla="*/ 266428 h 1317836"/>
                    <a:gd name="connsiteX602" fmla="*/ 291564 w 847637"/>
                    <a:gd name="connsiteY602" fmla="*/ 264048 h 1317836"/>
                    <a:gd name="connsiteX603" fmla="*/ 290240 w 847637"/>
                    <a:gd name="connsiteY603" fmla="*/ 262688 h 1317836"/>
                    <a:gd name="connsiteX604" fmla="*/ 288735 w 847637"/>
                    <a:gd name="connsiteY604" fmla="*/ 261401 h 1317836"/>
                    <a:gd name="connsiteX605" fmla="*/ 287059 w 847637"/>
                    <a:gd name="connsiteY605" fmla="*/ 259240 h 1317836"/>
                    <a:gd name="connsiteX606" fmla="*/ 285845 w 847637"/>
                    <a:gd name="connsiteY606" fmla="*/ 256082 h 1317836"/>
                    <a:gd name="connsiteX607" fmla="*/ 285675 w 847637"/>
                    <a:gd name="connsiteY607" fmla="*/ 251055 h 1317836"/>
                    <a:gd name="connsiteX608" fmla="*/ 286330 w 847637"/>
                    <a:gd name="connsiteY608" fmla="*/ 247753 h 1317836"/>
                    <a:gd name="connsiteX609" fmla="*/ 287448 w 847637"/>
                    <a:gd name="connsiteY609" fmla="*/ 245154 h 1317836"/>
                    <a:gd name="connsiteX610" fmla="*/ 288553 w 847637"/>
                    <a:gd name="connsiteY610" fmla="*/ 243235 h 1317836"/>
                    <a:gd name="connsiteX611" fmla="*/ 289063 w 847637"/>
                    <a:gd name="connsiteY611" fmla="*/ 241863 h 1317836"/>
                    <a:gd name="connsiteX612" fmla="*/ 288893 w 847637"/>
                    <a:gd name="connsiteY612" fmla="*/ 241025 h 1317836"/>
                    <a:gd name="connsiteX613" fmla="*/ 288674 w 847637"/>
                    <a:gd name="connsiteY613" fmla="*/ 239107 h 1317836"/>
                    <a:gd name="connsiteX614" fmla="*/ 287909 w 847637"/>
                    <a:gd name="connsiteY614" fmla="*/ 236484 h 1317836"/>
                    <a:gd name="connsiteX615" fmla="*/ 287095 w 847637"/>
                    <a:gd name="connsiteY615" fmla="*/ 234772 h 1317836"/>
                    <a:gd name="connsiteX616" fmla="*/ 286148 w 847637"/>
                    <a:gd name="connsiteY616" fmla="*/ 234177 h 1317836"/>
                    <a:gd name="connsiteX617" fmla="*/ 284048 w 847637"/>
                    <a:gd name="connsiteY617" fmla="*/ 233314 h 1317836"/>
                    <a:gd name="connsiteX618" fmla="*/ 282250 w 847637"/>
                    <a:gd name="connsiteY618" fmla="*/ 231663 h 1317836"/>
                    <a:gd name="connsiteX619" fmla="*/ 280975 w 847637"/>
                    <a:gd name="connsiteY619" fmla="*/ 229089 h 1317836"/>
                    <a:gd name="connsiteX620" fmla="*/ 280065 w 847637"/>
                    <a:gd name="connsiteY620" fmla="*/ 224766 h 1317836"/>
                    <a:gd name="connsiteX621" fmla="*/ 279203 w 847637"/>
                    <a:gd name="connsiteY621" fmla="*/ 221949 h 1317836"/>
                    <a:gd name="connsiteX622" fmla="*/ 275912 w 847637"/>
                    <a:gd name="connsiteY622" fmla="*/ 215817 h 1317836"/>
                    <a:gd name="connsiteX623" fmla="*/ 275560 w 847637"/>
                    <a:gd name="connsiteY623" fmla="*/ 209381 h 1317836"/>
                    <a:gd name="connsiteX624" fmla="*/ 277988 w 847637"/>
                    <a:gd name="connsiteY624" fmla="*/ 206612 h 1317836"/>
                    <a:gd name="connsiteX625" fmla="*/ 281024 w 847637"/>
                    <a:gd name="connsiteY625" fmla="*/ 204317 h 1317836"/>
                    <a:gd name="connsiteX626" fmla="*/ 282068 w 847637"/>
                    <a:gd name="connsiteY626" fmla="*/ 203261 h 1317836"/>
                    <a:gd name="connsiteX627" fmla="*/ 283088 w 847637"/>
                    <a:gd name="connsiteY627" fmla="*/ 201743 h 1317836"/>
                    <a:gd name="connsiteX628" fmla="*/ 285371 w 847637"/>
                    <a:gd name="connsiteY628" fmla="*/ 196533 h 1317836"/>
                    <a:gd name="connsiteX629" fmla="*/ 286525 w 847637"/>
                    <a:gd name="connsiteY629" fmla="*/ 194445 h 1317836"/>
                    <a:gd name="connsiteX630" fmla="*/ 288152 w 847637"/>
                    <a:gd name="connsiteY630" fmla="*/ 192223 h 1317836"/>
                    <a:gd name="connsiteX631" fmla="*/ 290313 w 847637"/>
                    <a:gd name="connsiteY631" fmla="*/ 190984 h 1317836"/>
                    <a:gd name="connsiteX632" fmla="*/ 294065 w 847637"/>
                    <a:gd name="connsiteY632" fmla="*/ 189649 h 1317836"/>
                    <a:gd name="connsiteX633" fmla="*/ 296980 w 847637"/>
                    <a:gd name="connsiteY633" fmla="*/ 190765 h 1317836"/>
                    <a:gd name="connsiteX634" fmla="*/ 301448 w 847637"/>
                    <a:gd name="connsiteY634" fmla="*/ 193413 h 1317836"/>
                    <a:gd name="connsiteX635" fmla="*/ 303185 w 847637"/>
                    <a:gd name="connsiteY635" fmla="*/ 198476 h 1317836"/>
                    <a:gd name="connsiteX636" fmla="*/ 304533 w 847637"/>
                    <a:gd name="connsiteY636" fmla="*/ 201051 h 1317836"/>
                    <a:gd name="connsiteX637" fmla="*/ 307763 w 847637"/>
                    <a:gd name="connsiteY637" fmla="*/ 202241 h 1317836"/>
                    <a:gd name="connsiteX638" fmla="*/ 311831 w 847637"/>
                    <a:gd name="connsiteY638" fmla="*/ 201828 h 1317836"/>
                    <a:gd name="connsiteX639" fmla="*/ 315583 w 847637"/>
                    <a:gd name="connsiteY639" fmla="*/ 202581 h 1317836"/>
                    <a:gd name="connsiteX640" fmla="*/ 318412 w 847637"/>
                    <a:gd name="connsiteY640" fmla="*/ 205009 h 1317836"/>
                    <a:gd name="connsiteX641" fmla="*/ 320173 w 847637"/>
                    <a:gd name="connsiteY641" fmla="*/ 207814 h 1317836"/>
                    <a:gd name="connsiteX642" fmla="*/ 321108 w 847637"/>
                    <a:gd name="connsiteY642" fmla="*/ 209988 h 1317836"/>
                    <a:gd name="connsiteX643" fmla="*/ 321472 w 847637"/>
                    <a:gd name="connsiteY643" fmla="*/ 210049 h 1317836"/>
                    <a:gd name="connsiteX644" fmla="*/ 323294 w 847637"/>
                    <a:gd name="connsiteY644" fmla="*/ 208676 h 1317836"/>
                    <a:gd name="connsiteX645" fmla="*/ 325868 w 847637"/>
                    <a:gd name="connsiteY645" fmla="*/ 205362 h 1317836"/>
                    <a:gd name="connsiteX646" fmla="*/ 329414 w 847637"/>
                    <a:gd name="connsiteY646" fmla="*/ 202653 h 1317836"/>
                    <a:gd name="connsiteX647" fmla="*/ 331624 w 847637"/>
                    <a:gd name="connsiteY647" fmla="*/ 201051 h 1317836"/>
                    <a:gd name="connsiteX648" fmla="*/ 334380 w 847637"/>
                    <a:gd name="connsiteY648" fmla="*/ 204099 h 1317836"/>
                    <a:gd name="connsiteX649" fmla="*/ 338351 w 847637"/>
                    <a:gd name="connsiteY649" fmla="*/ 201779 h 1317836"/>
                    <a:gd name="connsiteX650" fmla="*/ 342079 w 847637"/>
                    <a:gd name="connsiteY650" fmla="*/ 203868 h 1317836"/>
                    <a:gd name="connsiteX651" fmla="*/ 344277 w 847637"/>
                    <a:gd name="connsiteY651" fmla="*/ 207984 h 1317836"/>
                    <a:gd name="connsiteX652" fmla="*/ 345236 w 847637"/>
                    <a:gd name="connsiteY652" fmla="*/ 211737 h 1317836"/>
                    <a:gd name="connsiteX653" fmla="*/ 345649 w 847637"/>
                    <a:gd name="connsiteY653" fmla="*/ 214991 h 1317836"/>
                    <a:gd name="connsiteX654" fmla="*/ 345746 w 847637"/>
                    <a:gd name="connsiteY654" fmla="*/ 215185 h 1317836"/>
                    <a:gd name="connsiteX655" fmla="*/ 347142 w 847637"/>
                    <a:gd name="connsiteY655" fmla="*/ 215707 h 1317836"/>
                    <a:gd name="connsiteX656" fmla="*/ 349972 w 847637"/>
                    <a:gd name="connsiteY656" fmla="*/ 217492 h 1317836"/>
                    <a:gd name="connsiteX657" fmla="*/ 350907 w 847637"/>
                    <a:gd name="connsiteY657" fmla="*/ 218973 h 1317836"/>
                    <a:gd name="connsiteX658" fmla="*/ 352097 w 847637"/>
                    <a:gd name="connsiteY658" fmla="*/ 218148 h 1317836"/>
                    <a:gd name="connsiteX659" fmla="*/ 354452 w 847637"/>
                    <a:gd name="connsiteY659" fmla="*/ 216836 h 1317836"/>
                    <a:gd name="connsiteX660" fmla="*/ 361544 w 847637"/>
                    <a:gd name="connsiteY660" fmla="*/ 215221 h 1317836"/>
                    <a:gd name="connsiteX661" fmla="*/ 365053 w 847637"/>
                    <a:gd name="connsiteY661" fmla="*/ 213971 h 1317836"/>
                    <a:gd name="connsiteX662" fmla="*/ 367785 w 847637"/>
                    <a:gd name="connsiteY662" fmla="*/ 215780 h 1317836"/>
                    <a:gd name="connsiteX663" fmla="*/ 368271 w 847637"/>
                    <a:gd name="connsiteY663" fmla="*/ 215829 h 1317836"/>
                    <a:gd name="connsiteX664" fmla="*/ 369522 w 847637"/>
                    <a:gd name="connsiteY664" fmla="*/ 215246 h 1317836"/>
                    <a:gd name="connsiteX665" fmla="*/ 373116 w 847637"/>
                    <a:gd name="connsiteY665" fmla="*/ 213752 h 1317836"/>
                    <a:gd name="connsiteX666" fmla="*/ 378945 w 847637"/>
                    <a:gd name="connsiteY666" fmla="*/ 210109 h 1317836"/>
                    <a:gd name="connsiteX667" fmla="*/ 383219 w 847637"/>
                    <a:gd name="connsiteY667" fmla="*/ 208931 h 1317836"/>
                    <a:gd name="connsiteX668" fmla="*/ 387457 w 847637"/>
                    <a:gd name="connsiteY668" fmla="*/ 209004 h 1317836"/>
                    <a:gd name="connsiteX669" fmla="*/ 391027 w 847637"/>
                    <a:gd name="connsiteY669" fmla="*/ 210959 h 1317836"/>
                    <a:gd name="connsiteX670" fmla="*/ 392168 w 847637"/>
                    <a:gd name="connsiteY670" fmla="*/ 210971 h 1317836"/>
                    <a:gd name="connsiteX671" fmla="*/ 395763 w 847637"/>
                    <a:gd name="connsiteY671" fmla="*/ 208786 h 1317836"/>
                    <a:gd name="connsiteX672" fmla="*/ 399211 w 847637"/>
                    <a:gd name="connsiteY672" fmla="*/ 207802 h 1317836"/>
                    <a:gd name="connsiteX673" fmla="*/ 401956 w 847637"/>
                    <a:gd name="connsiteY673" fmla="*/ 207511 h 1317836"/>
                    <a:gd name="connsiteX674" fmla="*/ 404688 w 847637"/>
                    <a:gd name="connsiteY674" fmla="*/ 207972 h 1317836"/>
                    <a:gd name="connsiteX675" fmla="*/ 407019 w 847637"/>
                    <a:gd name="connsiteY675" fmla="*/ 209077 h 1317836"/>
                    <a:gd name="connsiteX676" fmla="*/ 410868 w 847637"/>
                    <a:gd name="connsiteY676" fmla="*/ 212550 h 1317836"/>
                    <a:gd name="connsiteX677" fmla="*/ 412362 w 847637"/>
                    <a:gd name="connsiteY677" fmla="*/ 213570 h 1317836"/>
                    <a:gd name="connsiteX678" fmla="*/ 413358 w 847637"/>
                    <a:gd name="connsiteY678" fmla="*/ 213643 h 1317836"/>
                    <a:gd name="connsiteX679" fmla="*/ 417341 w 847637"/>
                    <a:gd name="connsiteY679" fmla="*/ 213449 h 1317836"/>
                    <a:gd name="connsiteX680" fmla="*/ 420146 w 847637"/>
                    <a:gd name="connsiteY680" fmla="*/ 213777 h 1317836"/>
                    <a:gd name="connsiteX681" fmla="*/ 425561 w 847637"/>
                    <a:gd name="connsiteY681" fmla="*/ 215051 h 1317836"/>
                    <a:gd name="connsiteX682" fmla="*/ 426873 w 847637"/>
                    <a:gd name="connsiteY682" fmla="*/ 214675 h 1317836"/>
                    <a:gd name="connsiteX683" fmla="*/ 427650 w 847637"/>
                    <a:gd name="connsiteY683" fmla="*/ 214019 h 1317836"/>
                    <a:gd name="connsiteX684" fmla="*/ 430831 w 847637"/>
                    <a:gd name="connsiteY684" fmla="*/ 211712 h 1317836"/>
                    <a:gd name="connsiteX685" fmla="*/ 429933 w 847637"/>
                    <a:gd name="connsiteY685" fmla="*/ 210753 h 1317836"/>
                    <a:gd name="connsiteX686" fmla="*/ 425695 w 847637"/>
                    <a:gd name="connsiteY686" fmla="*/ 207924 h 1317836"/>
                    <a:gd name="connsiteX687" fmla="*/ 424153 w 847637"/>
                    <a:gd name="connsiteY687" fmla="*/ 205337 h 1317836"/>
                    <a:gd name="connsiteX688" fmla="*/ 422926 w 847637"/>
                    <a:gd name="connsiteY688" fmla="*/ 200140 h 1317836"/>
                    <a:gd name="connsiteX689" fmla="*/ 422732 w 847637"/>
                    <a:gd name="connsiteY689" fmla="*/ 199727 h 1317836"/>
                    <a:gd name="connsiteX690" fmla="*/ 421068 w 847637"/>
                    <a:gd name="connsiteY690" fmla="*/ 198245 h 1317836"/>
                    <a:gd name="connsiteX691" fmla="*/ 419417 w 847637"/>
                    <a:gd name="connsiteY691" fmla="*/ 195501 h 1317836"/>
                    <a:gd name="connsiteX692" fmla="*/ 418980 w 847637"/>
                    <a:gd name="connsiteY692" fmla="*/ 194664 h 1317836"/>
                    <a:gd name="connsiteX693" fmla="*/ 419538 w 847637"/>
                    <a:gd name="connsiteY693" fmla="*/ 190365 h 1317836"/>
                    <a:gd name="connsiteX694" fmla="*/ 421809 w 847637"/>
                    <a:gd name="connsiteY694" fmla="*/ 187147 h 1317836"/>
                    <a:gd name="connsiteX695" fmla="*/ 423424 w 847637"/>
                    <a:gd name="connsiteY695" fmla="*/ 185520 h 1317836"/>
                    <a:gd name="connsiteX696" fmla="*/ 423364 w 847637"/>
                    <a:gd name="connsiteY696" fmla="*/ 185168 h 1317836"/>
                    <a:gd name="connsiteX697" fmla="*/ 422465 w 847637"/>
                    <a:gd name="connsiteY697" fmla="*/ 183965 h 1317836"/>
                    <a:gd name="connsiteX698" fmla="*/ 422064 w 847637"/>
                    <a:gd name="connsiteY698" fmla="*/ 183274 h 1317836"/>
                    <a:gd name="connsiteX699" fmla="*/ 422064 w 847637"/>
                    <a:gd name="connsiteY699" fmla="*/ 182035 h 1317836"/>
                    <a:gd name="connsiteX700" fmla="*/ 422186 w 847637"/>
                    <a:gd name="connsiteY700" fmla="*/ 180820 h 1317836"/>
                    <a:gd name="connsiteX701" fmla="*/ 422926 w 847637"/>
                    <a:gd name="connsiteY701" fmla="*/ 178258 h 1317836"/>
                    <a:gd name="connsiteX702" fmla="*/ 422999 w 847637"/>
                    <a:gd name="connsiteY702" fmla="*/ 177141 h 1317836"/>
                    <a:gd name="connsiteX703" fmla="*/ 422963 w 847637"/>
                    <a:gd name="connsiteY703" fmla="*/ 176850 h 1317836"/>
                    <a:gd name="connsiteX704" fmla="*/ 422368 w 847637"/>
                    <a:gd name="connsiteY704" fmla="*/ 175854 h 1317836"/>
                    <a:gd name="connsiteX705" fmla="*/ 420012 w 847637"/>
                    <a:gd name="connsiteY705" fmla="*/ 173098 h 1317836"/>
                    <a:gd name="connsiteX706" fmla="*/ 417948 w 847637"/>
                    <a:gd name="connsiteY706" fmla="*/ 170195 h 1317836"/>
                    <a:gd name="connsiteX707" fmla="*/ 418749 w 847637"/>
                    <a:gd name="connsiteY707" fmla="*/ 166273 h 1317836"/>
                    <a:gd name="connsiteX708" fmla="*/ 421664 w 847637"/>
                    <a:gd name="connsiteY708" fmla="*/ 163578 h 1317836"/>
                    <a:gd name="connsiteX709" fmla="*/ 434547 w 847637"/>
                    <a:gd name="connsiteY709" fmla="*/ 159898 h 1317836"/>
                    <a:gd name="connsiteX710" fmla="*/ 437049 w 847637"/>
                    <a:gd name="connsiteY710" fmla="*/ 157652 h 1317836"/>
                    <a:gd name="connsiteX711" fmla="*/ 437389 w 847637"/>
                    <a:gd name="connsiteY711" fmla="*/ 156389 h 1317836"/>
                    <a:gd name="connsiteX712" fmla="*/ 438117 w 847637"/>
                    <a:gd name="connsiteY712" fmla="*/ 154677 h 1317836"/>
                    <a:gd name="connsiteX713" fmla="*/ 439416 w 847637"/>
                    <a:gd name="connsiteY713" fmla="*/ 152807 h 1317836"/>
                    <a:gd name="connsiteX714" fmla="*/ 442149 w 847637"/>
                    <a:gd name="connsiteY714" fmla="*/ 150913 h 1317836"/>
                    <a:gd name="connsiteX715" fmla="*/ 446848 w 847637"/>
                    <a:gd name="connsiteY715" fmla="*/ 149030 h 1317836"/>
                    <a:gd name="connsiteX716" fmla="*/ 447261 w 847637"/>
                    <a:gd name="connsiteY716" fmla="*/ 148654 h 1317836"/>
                    <a:gd name="connsiteX717" fmla="*/ 447334 w 847637"/>
                    <a:gd name="connsiteY717" fmla="*/ 147731 h 1317836"/>
                    <a:gd name="connsiteX718" fmla="*/ 447176 w 847637"/>
                    <a:gd name="connsiteY718" fmla="*/ 147148 h 1317836"/>
                    <a:gd name="connsiteX719" fmla="*/ 447066 w 847637"/>
                    <a:gd name="connsiteY719" fmla="*/ 144513 h 1317836"/>
                    <a:gd name="connsiteX720" fmla="*/ 448597 w 847637"/>
                    <a:gd name="connsiteY720" fmla="*/ 141963 h 1317836"/>
                    <a:gd name="connsiteX721" fmla="*/ 450649 w 847637"/>
                    <a:gd name="connsiteY721" fmla="*/ 140700 h 1317836"/>
                    <a:gd name="connsiteX722" fmla="*/ 453745 w 847637"/>
                    <a:gd name="connsiteY722" fmla="*/ 139668 h 1317836"/>
                    <a:gd name="connsiteX723" fmla="*/ 454510 w 847637"/>
                    <a:gd name="connsiteY723" fmla="*/ 139158 h 1317836"/>
                    <a:gd name="connsiteX724" fmla="*/ 455336 w 847637"/>
                    <a:gd name="connsiteY724" fmla="*/ 136414 h 1317836"/>
                    <a:gd name="connsiteX725" fmla="*/ 456939 w 847637"/>
                    <a:gd name="connsiteY725" fmla="*/ 133852 h 1317836"/>
                    <a:gd name="connsiteX726" fmla="*/ 460327 w 847637"/>
                    <a:gd name="connsiteY726" fmla="*/ 132395 h 1317836"/>
                    <a:gd name="connsiteX727" fmla="*/ 463350 w 847637"/>
                    <a:gd name="connsiteY727" fmla="*/ 132698 h 1317836"/>
                    <a:gd name="connsiteX728" fmla="*/ 467163 w 847637"/>
                    <a:gd name="connsiteY728" fmla="*/ 134495 h 1317836"/>
                    <a:gd name="connsiteX729" fmla="*/ 469689 w 847637"/>
                    <a:gd name="connsiteY729" fmla="*/ 134374 h 1317836"/>
                    <a:gd name="connsiteX730" fmla="*/ 471486 w 847637"/>
                    <a:gd name="connsiteY730" fmla="*/ 133913 h 1317836"/>
                    <a:gd name="connsiteX731" fmla="*/ 474680 w 847637"/>
                    <a:gd name="connsiteY731" fmla="*/ 133621 h 1317836"/>
                    <a:gd name="connsiteX732" fmla="*/ 477740 w 847637"/>
                    <a:gd name="connsiteY732" fmla="*/ 135454 h 1317836"/>
                    <a:gd name="connsiteX733" fmla="*/ 480909 w 847637"/>
                    <a:gd name="connsiteY733" fmla="*/ 139923 h 1317836"/>
                    <a:gd name="connsiteX734" fmla="*/ 482245 w 847637"/>
                    <a:gd name="connsiteY734" fmla="*/ 141222 h 1317836"/>
                    <a:gd name="connsiteX735" fmla="*/ 484090 w 847637"/>
                    <a:gd name="connsiteY735" fmla="*/ 142230 h 1317836"/>
                    <a:gd name="connsiteX736" fmla="*/ 487405 w 847637"/>
                    <a:gd name="connsiteY736" fmla="*/ 145084 h 1317836"/>
                    <a:gd name="connsiteX737" fmla="*/ 488802 w 847637"/>
                    <a:gd name="connsiteY737" fmla="*/ 139049 h 1317836"/>
                    <a:gd name="connsiteX738" fmla="*/ 490538 w 847637"/>
                    <a:gd name="connsiteY738" fmla="*/ 134447 h 1317836"/>
                    <a:gd name="connsiteX739" fmla="*/ 492445 w 847637"/>
                    <a:gd name="connsiteY739" fmla="*/ 131059 h 1317836"/>
                    <a:gd name="connsiteX740" fmla="*/ 494983 w 847637"/>
                    <a:gd name="connsiteY740" fmla="*/ 128739 h 1317836"/>
                    <a:gd name="connsiteX741" fmla="*/ 499233 w 847637"/>
                    <a:gd name="connsiteY741" fmla="*/ 126687 h 1317836"/>
                    <a:gd name="connsiteX742" fmla="*/ 500811 w 847637"/>
                    <a:gd name="connsiteY742" fmla="*/ 125764 h 1317836"/>
                    <a:gd name="connsiteX743" fmla="*/ 501576 w 847637"/>
                    <a:gd name="connsiteY743" fmla="*/ 125060 h 1317836"/>
                    <a:gd name="connsiteX744" fmla="*/ 501722 w 847637"/>
                    <a:gd name="connsiteY744" fmla="*/ 123846 h 1317836"/>
                    <a:gd name="connsiteX745" fmla="*/ 501333 w 847637"/>
                    <a:gd name="connsiteY745" fmla="*/ 121988 h 1317836"/>
                    <a:gd name="connsiteX746" fmla="*/ 499245 w 847637"/>
                    <a:gd name="connsiteY746" fmla="*/ 117325 h 1317836"/>
                    <a:gd name="connsiteX747" fmla="*/ 498723 w 847637"/>
                    <a:gd name="connsiteY747" fmla="*/ 112213 h 1317836"/>
                    <a:gd name="connsiteX748" fmla="*/ 498528 w 847637"/>
                    <a:gd name="connsiteY748" fmla="*/ 109541 h 1317836"/>
                    <a:gd name="connsiteX749" fmla="*/ 503628 w 847637"/>
                    <a:gd name="connsiteY749" fmla="*/ 108533 h 1317836"/>
                    <a:gd name="connsiteX750" fmla="*/ 505826 w 847637"/>
                    <a:gd name="connsiteY750" fmla="*/ 108533 h 1317836"/>
                    <a:gd name="connsiteX751" fmla="*/ 507903 w 847637"/>
                    <a:gd name="connsiteY751" fmla="*/ 108849 h 1317836"/>
                    <a:gd name="connsiteX752" fmla="*/ 518418 w 847637"/>
                    <a:gd name="connsiteY752" fmla="*/ 111788 h 1317836"/>
                    <a:gd name="connsiteX753" fmla="*/ 519341 w 847637"/>
                    <a:gd name="connsiteY753" fmla="*/ 111739 h 1317836"/>
                    <a:gd name="connsiteX754" fmla="*/ 521041 w 847637"/>
                    <a:gd name="connsiteY754" fmla="*/ 110829 h 1317836"/>
                    <a:gd name="connsiteX755" fmla="*/ 522365 w 847637"/>
                    <a:gd name="connsiteY755" fmla="*/ 108983 h 1317836"/>
                    <a:gd name="connsiteX756" fmla="*/ 524611 w 847637"/>
                    <a:gd name="connsiteY756" fmla="*/ 103907 h 1317836"/>
                    <a:gd name="connsiteX757" fmla="*/ 525449 w 847637"/>
                    <a:gd name="connsiteY757" fmla="*/ 100325 h 1317836"/>
                    <a:gd name="connsiteX758" fmla="*/ 525789 w 847637"/>
                    <a:gd name="connsiteY758" fmla="*/ 96949 h 1317836"/>
                    <a:gd name="connsiteX759" fmla="*/ 525146 w 847637"/>
                    <a:gd name="connsiteY759" fmla="*/ 92153 h 1317836"/>
                    <a:gd name="connsiteX760" fmla="*/ 525121 w 847637"/>
                    <a:gd name="connsiteY760" fmla="*/ 88741 h 1317836"/>
                    <a:gd name="connsiteX761" fmla="*/ 525522 w 847637"/>
                    <a:gd name="connsiteY761" fmla="*/ 86142 h 1317836"/>
                    <a:gd name="connsiteX762" fmla="*/ 527914 w 847637"/>
                    <a:gd name="connsiteY762" fmla="*/ 76209 h 1317836"/>
                    <a:gd name="connsiteX763" fmla="*/ 528060 w 847637"/>
                    <a:gd name="connsiteY763" fmla="*/ 74060 h 1317836"/>
                    <a:gd name="connsiteX764" fmla="*/ 528048 w 847637"/>
                    <a:gd name="connsiteY764" fmla="*/ 71886 h 1317836"/>
                    <a:gd name="connsiteX765" fmla="*/ 527101 w 847637"/>
                    <a:gd name="connsiteY765" fmla="*/ 63726 h 1317836"/>
                    <a:gd name="connsiteX766" fmla="*/ 528959 w 847637"/>
                    <a:gd name="connsiteY766" fmla="*/ 60435 h 1317836"/>
                    <a:gd name="connsiteX767" fmla="*/ 532468 w 847637"/>
                    <a:gd name="connsiteY767" fmla="*/ 57448 h 1317836"/>
                    <a:gd name="connsiteX768" fmla="*/ 539802 w 847637"/>
                    <a:gd name="connsiteY768" fmla="*/ 54631 h 1317836"/>
                    <a:gd name="connsiteX769" fmla="*/ 544429 w 847637"/>
                    <a:gd name="connsiteY769" fmla="*/ 54036 h 1317836"/>
                    <a:gd name="connsiteX770" fmla="*/ 550354 w 847637"/>
                    <a:gd name="connsiteY770" fmla="*/ 54874 h 1317836"/>
                    <a:gd name="connsiteX771" fmla="*/ 551265 w 847637"/>
                    <a:gd name="connsiteY771" fmla="*/ 54765 h 1317836"/>
                    <a:gd name="connsiteX772" fmla="*/ 554094 w 847637"/>
                    <a:gd name="connsiteY772" fmla="*/ 53125 h 1317836"/>
                    <a:gd name="connsiteX773" fmla="*/ 556899 w 847637"/>
                    <a:gd name="connsiteY773" fmla="*/ 52239 h 1317836"/>
                    <a:gd name="connsiteX774" fmla="*/ 559595 w 847637"/>
                    <a:gd name="connsiteY774" fmla="*/ 52057 h 1317836"/>
                    <a:gd name="connsiteX775" fmla="*/ 563772 w 847637"/>
                    <a:gd name="connsiteY775" fmla="*/ 52676 h 1317836"/>
                    <a:gd name="connsiteX776" fmla="*/ 564246 w 847637"/>
                    <a:gd name="connsiteY776" fmla="*/ 52300 h 1317836"/>
                    <a:gd name="connsiteX777" fmla="*/ 564756 w 847637"/>
                    <a:gd name="connsiteY777" fmla="*/ 50891 h 1317836"/>
                    <a:gd name="connsiteX778" fmla="*/ 564962 w 847637"/>
                    <a:gd name="connsiteY778" fmla="*/ 49361 h 1317836"/>
                    <a:gd name="connsiteX779" fmla="*/ 565752 w 847637"/>
                    <a:gd name="connsiteY779" fmla="*/ 46774 h 1317836"/>
                    <a:gd name="connsiteX780" fmla="*/ 567391 w 847637"/>
                    <a:gd name="connsiteY780" fmla="*/ 44018 h 1317836"/>
                    <a:gd name="connsiteX781" fmla="*/ 570293 w 847637"/>
                    <a:gd name="connsiteY781" fmla="*/ 41007 h 1317836"/>
                    <a:gd name="connsiteX782" fmla="*/ 581683 w 847637"/>
                    <a:gd name="connsiteY782" fmla="*/ 32349 h 1317836"/>
                    <a:gd name="connsiteX783" fmla="*/ 587403 w 847637"/>
                    <a:gd name="connsiteY783" fmla="*/ 29847 h 1317836"/>
                    <a:gd name="connsiteX784" fmla="*/ 589710 w 847637"/>
                    <a:gd name="connsiteY784" fmla="*/ 29289 h 1317836"/>
                    <a:gd name="connsiteX785" fmla="*/ 590523 w 847637"/>
                    <a:gd name="connsiteY785" fmla="*/ 28147 h 1317836"/>
                    <a:gd name="connsiteX786" fmla="*/ 590790 w 847637"/>
                    <a:gd name="connsiteY786" fmla="*/ 26751 h 1317836"/>
                    <a:gd name="connsiteX787" fmla="*/ 590754 w 847637"/>
                    <a:gd name="connsiteY787" fmla="*/ 23266 h 1317836"/>
                    <a:gd name="connsiteX788" fmla="*/ 589770 w 847637"/>
                    <a:gd name="connsiteY788" fmla="*/ 18178 h 1317836"/>
                    <a:gd name="connsiteX789" fmla="*/ 590292 w 847637"/>
                    <a:gd name="connsiteY789" fmla="*/ 14365 h 1317836"/>
                    <a:gd name="connsiteX790" fmla="*/ 591070 w 847637"/>
                    <a:gd name="connsiteY790" fmla="*/ 11827 h 1317836"/>
                    <a:gd name="connsiteX791" fmla="*/ 598052 w 847637"/>
                    <a:gd name="connsiteY791" fmla="*/ 2052 h 1317836"/>
                    <a:gd name="connsiteX792" fmla="*/ 602023 w 847637"/>
                    <a:gd name="connsiteY792" fmla="*/ 437 h 1317836"/>
                    <a:gd name="connsiteX793" fmla="*/ 604463 w 847637"/>
                    <a:gd name="connsiteY793" fmla="*/ 0 h 1317836"/>
                    <a:gd name="connsiteX794" fmla="*/ 607111 w 847637"/>
                    <a:gd name="connsiteY794" fmla="*/ 97 h 1317836"/>
                    <a:gd name="connsiteX795" fmla="*/ 610146 w 847637"/>
                    <a:gd name="connsiteY795" fmla="*/ 1057 h 1317836"/>
                    <a:gd name="connsiteX796" fmla="*/ 612854 w 847637"/>
                    <a:gd name="connsiteY796" fmla="*/ 2781 h 1317836"/>
                    <a:gd name="connsiteX797" fmla="*/ 615720 w 847637"/>
                    <a:gd name="connsiteY797" fmla="*/ 5768 h 1317836"/>
                    <a:gd name="connsiteX798" fmla="*/ 617140 w 847637"/>
                    <a:gd name="connsiteY798" fmla="*/ 8342 h 1317836"/>
                    <a:gd name="connsiteX799" fmla="*/ 617784 w 847637"/>
                    <a:gd name="connsiteY799" fmla="*/ 10977 h 1317836"/>
                    <a:gd name="connsiteX800" fmla="*/ 617675 w 847637"/>
                    <a:gd name="connsiteY800" fmla="*/ 20437 h 1317836"/>
                    <a:gd name="connsiteX801" fmla="*/ 617893 w 847637"/>
                    <a:gd name="connsiteY801" fmla="*/ 22246 h 1317836"/>
                    <a:gd name="connsiteX802" fmla="*/ 618756 w 847637"/>
                    <a:gd name="connsiteY802" fmla="*/ 22804 h 1317836"/>
                    <a:gd name="connsiteX803" fmla="*/ 621342 w 847637"/>
                    <a:gd name="connsiteY803" fmla="*/ 23946 h 1317836"/>
                    <a:gd name="connsiteX804" fmla="*/ 627535 w 847637"/>
                    <a:gd name="connsiteY804" fmla="*/ 25949 h 1317836"/>
                    <a:gd name="connsiteX805" fmla="*/ 630425 w 847637"/>
                    <a:gd name="connsiteY805" fmla="*/ 27298 h 1317836"/>
                    <a:gd name="connsiteX806" fmla="*/ 633376 w 847637"/>
                    <a:gd name="connsiteY806" fmla="*/ 29446 h 1317836"/>
                    <a:gd name="connsiteX807" fmla="*/ 633898 w 847637"/>
                    <a:gd name="connsiteY807" fmla="*/ 34717 h 1317836"/>
                    <a:gd name="connsiteX808" fmla="*/ 634056 w 847637"/>
                    <a:gd name="connsiteY808" fmla="*/ 35008 h 1317836"/>
                    <a:gd name="connsiteX809" fmla="*/ 634299 w 847637"/>
                    <a:gd name="connsiteY809" fmla="*/ 35081 h 1317836"/>
                    <a:gd name="connsiteX810" fmla="*/ 635659 w 847637"/>
                    <a:gd name="connsiteY810" fmla="*/ 34826 h 1317836"/>
                    <a:gd name="connsiteX811" fmla="*/ 638039 w 847637"/>
                    <a:gd name="connsiteY811" fmla="*/ 33150 h 1317836"/>
                    <a:gd name="connsiteX812" fmla="*/ 640649 w 847637"/>
                    <a:gd name="connsiteY812" fmla="*/ 30357 h 1317836"/>
                    <a:gd name="connsiteX813" fmla="*/ 643418 w 847637"/>
                    <a:gd name="connsiteY813" fmla="*/ 28912 h 1317836"/>
                    <a:gd name="connsiteX814" fmla="*/ 645676 w 847637"/>
                    <a:gd name="connsiteY814" fmla="*/ 28293 h 1317836"/>
                    <a:gd name="connsiteX815" fmla="*/ 654176 w 847637"/>
                    <a:gd name="connsiteY815" fmla="*/ 29665 h 1317836"/>
                    <a:gd name="connsiteX816" fmla="*/ 662664 w 847637"/>
                    <a:gd name="connsiteY816" fmla="*/ 33964 h 1317836"/>
                    <a:gd name="connsiteX817" fmla="*/ 662810 w 847637"/>
                    <a:gd name="connsiteY817" fmla="*/ 37073 h 1317836"/>
                    <a:gd name="connsiteX818" fmla="*/ 662494 w 847637"/>
                    <a:gd name="connsiteY818" fmla="*/ 39659 h 1317836"/>
                    <a:gd name="connsiteX819" fmla="*/ 660989 w 847637"/>
                    <a:gd name="connsiteY819" fmla="*/ 42974 h 1317836"/>
                    <a:gd name="connsiteX820" fmla="*/ 660284 w 847637"/>
                    <a:gd name="connsiteY820" fmla="*/ 45002 h 1317836"/>
                    <a:gd name="connsiteX821" fmla="*/ 659969 w 847637"/>
                    <a:gd name="connsiteY821" fmla="*/ 47515 h 1317836"/>
                    <a:gd name="connsiteX822" fmla="*/ 660199 w 847637"/>
                    <a:gd name="connsiteY822" fmla="*/ 48669 h 1317836"/>
                    <a:gd name="connsiteX823" fmla="*/ 663939 w 847637"/>
                    <a:gd name="connsiteY823" fmla="*/ 57157 h 1317836"/>
                    <a:gd name="connsiteX824" fmla="*/ 666028 w 847637"/>
                    <a:gd name="connsiteY824" fmla="*/ 67515 h 1317836"/>
                    <a:gd name="connsiteX825" fmla="*/ 665809 w 847637"/>
                    <a:gd name="connsiteY825" fmla="*/ 71291 h 1317836"/>
                    <a:gd name="connsiteX826" fmla="*/ 664838 w 847637"/>
                    <a:gd name="connsiteY826" fmla="*/ 72481 h 1317836"/>
                    <a:gd name="connsiteX827" fmla="*/ 663672 w 847637"/>
                    <a:gd name="connsiteY827" fmla="*/ 73538 h 1317836"/>
                    <a:gd name="connsiteX828" fmla="*/ 662276 w 847637"/>
                    <a:gd name="connsiteY828" fmla="*/ 74218 h 1317836"/>
                    <a:gd name="connsiteX829" fmla="*/ 661122 w 847637"/>
                    <a:gd name="connsiteY829" fmla="*/ 74594 h 1317836"/>
                    <a:gd name="connsiteX830" fmla="*/ 658414 w 847637"/>
                    <a:gd name="connsiteY830" fmla="*/ 75153 h 1317836"/>
                    <a:gd name="connsiteX831" fmla="*/ 658014 w 847637"/>
                    <a:gd name="connsiteY831" fmla="*/ 75614 h 1317836"/>
                    <a:gd name="connsiteX832" fmla="*/ 658184 w 847637"/>
                    <a:gd name="connsiteY832" fmla="*/ 76683 h 1317836"/>
                    <a:gd name="connsiteX833" fmla="*/ 658633 w 847637"/>
                    <a:gd name="connsiteY833" fmla="*/ 77217 h 1317836"/>
                    <a:gd name="connsiteX834" fmla="*/ 663867 w 847637"/>
                    <a:gd name="connsiteY834" fmla="*/ 81382 h 1317836"/>
                    <a:gd name="connsiteX835" fmla="*/ 665919 w 847637"/>
                    <a:gd name="connsiteY835" fmla="*/ 83944 h 1317836"/>
                    <a:gd name="connsiteX836" fmla="*/ 667764 w 847637"/>
                    <a:gd name="connsiteY836" fmla="*/ 87721 h 1317836"/>
                    <a:gd name="connsiteX837" fmla="*/ 669792 w 847637"/>
                    <a:gd name="connsiteY837" fmla="*/ 93962 h 1317836"/>
                    <a:gd name="connsiteX838" fmla="*/ 670703 w 847637"/>
                    <a:gd name="connsiteY838" fmla="*/ 100143 h 1317836"/>
                    <a:gd name="connsiteX839" fmla="*/ 670909 w 847637"/>
                    <a:gd name="connsiteY839" fmla="*/ 103349 h 1317836"/>
                    <a:gd name="connsiteX840" fmla="*/ 670363 w 847637"/>
                    <a:gd name="connsiteY840" fmla="*/ 106166 h 1317836"/>
                    <a:gd name="connsiteX841" fmla="*/ 669149 w 847637"/>
                    <a:gd name="connsiteY841" fmla="*/ 108376 h 1317836"/>
                    <a:gd name="connsiteX842" fmla="*/ 657334 w 847637"/>
                    <a:gd name="connsiteY842" fmla="*/ 119717 h 1317836"/>
                    <a:gd name="connsiteX843" fmla="*/ 655160 w 847637"/>
                    <a:gd name="connsiteY843" fmla="*/ 121284 h 1317836"/>
                    <a:gd name="connsiteX844" fmla="*/ 652865 w 847637"/>
                    <a:gd name="connsiteY844" fmla="*/ 122437 h 1317836"/>
                    <a:gd name="connsiteX845" fmla="*/ 650813 w 847637"/>
                    <a:gd name="connsiteY845" fmla="*/ 123178 h 1317836"/>
                    <a:gd name="connsiteX846" fmla="*/ 649854 w 847637"/>
                    <a:gd name="connsiteY846" fmla="*/ 123676 h 1317836"/>
                    <a:gd name="connsiteX847" fmla="*/ 649089 w 847637"/>
                    <a:gd name="connsiteY847" fmla="*/ 124501 h 1317836"/>
                    <a:gd name="connsiteX848" fmla="*/ 648056 w 847637"/>
                    <a:gd name="connsiteY848" fmla="*/ 126080 h 1317836"/>
                    <a:gd name="connsiteX849" fmla="*/ 647255 w 847637"/>
                    <a:gd name="connsiteY849" fmla="*/ 127950 h 1317836"/>
                    <a:gd name="connsiteX850" fmla="*/ 647389 w 847637"/>
                    <a:gd name="connsiteY850" fmla="*/ 127792 h 1317836"/>
                    <a:gd name="connsiteX851" fmla="*/ 649805 w 847637"/>
                    <a:gd name="connsiteY851" fmla="*/ 129954 h 1317836"/>
                    <a:gd name="connsiteX852" fmla="*/ 651323 w 847637"/>
                    <a:gd name="connsiteY852" fmla="*/ 131739 h 1317836"/>
                    <a:gd name="connsiteX853" fmla="*/ 652574 w 847637"/>
                    <a:gd name="connsiteY853" fmla="*/ 133924 h 1317836"/>
                    <a:gd name="connsiteX854" fmla="*/ 653399 w 847637"/>
                    <a:gd name="connsiteY854" fmla="*/ 137616 h 1317836"/>
                    <a:gd name="connsiteX855" fmla="*/ 652974 w 847637"/>
                    <a:gd name="connsiteY855" fmla="*/ 140603 h 1317836"/>
                    <a:gd name="connsiteX856" fmla="*/ 652829 w 847637"/>
                    <a:gd name="connsiteY856" fmla="*/ 141259 h 1317836"/>
                    <a:gd name="connsiteX857" fmla="*/ 651287 w 847637"/>
                    <a:gd name="connsiteY857" fmla="*/ 143287 h 1317836"/>
                    <a:gd name="connsiteX858" fmla="*/ 648761 w 847637"/>
                    <a:gd name="connsiteY858" fmla="*/ 145096 h 1317836"/>
                    <a:gd name="connsiteX859" fmla="*/ 641706 w 847637"/>
                    <a:gd name="connsiteY859" fmla="*/ 148047 h 1317836"/>
                    <a:gd name="connsiteX860" fmla="*/ 640188 w 847637"/>
                    <a:gd name="connsiteY860" fmla="*/ 149030 h 1317836"/>
                    <a:gd name="connsiteX861" fmla="*/ 639544 w 847637"/>
                    <a:gd name="connsiteY861" fmla="*/ 149881 h 1317836"/>
                    <a:gd name="connsiteX862" fmla="*/ 637954 w 847637"/>
                    <a:gd name="connsiteY862" fmla="*/ 153717 h 1317836"/>
                    <a:gd name="connsiteX863" fmla="*/ 632283 w 847637"/>
                    <a:gd name="connsiteY863" fmla="*/ 161368 h 1317836"/>
                    <a:gd name="connsiteX864" fmla="*/ 631020 w 847637"/>
                    <a:gd name="connsiteY864" fmla="*/ 163662 h 1317836"/>
                    <a:gd name="connsiteX865" fmla="*/ 631761 w 847637"/>
                    <a:gd name="connsiteY865" fmla="*/ 164865 h 1317836"/>
                    <a:gd name="connsiteX866" fmla="*/ 637164 w 847637"/>
                    <a:gd name="connsiteY866" fmla="*/ 167099 h 1317836"/>
                    <a:gd name="connsiteX867" fmla="*/ 639933 w 847637"/>
                    <a:gd name="connsiteY867" fmla="*/ 168593 h 1317836"/>
                    <a:gd name="connsiteX868" fmla="*/ 643114 w 847637"/>
                    <a:gd name="connsiteY868" fmla="*/ 170961 h 1317836"/>
                    <a:gd name="connsiteX869" fmla="*/ 644049 w 847637"/>
                    <a:gd name="connsiteY869" fmla="*/ 171300 h 1317836"/>
                    <a:gd name="connsiteX870" fmla="*/ 647000 w 847637"/>
                    <a:gd name="connsiteY870" fmla="*/ 171264 h 1317836"/>
                    <a:gd name="connsiteX871" fmla="*/ 651274 w 847637"/>
                    <a:gd name="connsiteY871" fmla="*/ 171798 h 1317836"/>
                    <a:gd name="connsiteX872" fmla="*/ 653314 w 847637"/>
                    <a:gd name="connsiteY872" fmla="*/ 171701 h 1317836"/>
                    <a:gd name="connsiteX873" fmla="*/ 661912 w 847637"/>
                    <a:gd name="connsiteY873" fmla="*/ 170438 h 1317836"/>
                    <a:gd name="connsiteX874" fmla="*/ 663454 w 847637"/>
                    <a:gd name="connsiteY874" fmla="*/ 176837 h 1317836"/>
                    <a:gd name="connsiteX875" fmla="*/ 664049 w 847637"/>
                    <a:gd name="connsiteY875" fmla="*/ 176765 h 1317836"/>
                    <a:gd name="connsiteX876" fmla="*/ 665506 w 847637"/>
                    <a:gd name="connsiteY876" fmla="*/ 176060 h 1317836"/>
                    <a:gd name="connsiteX877" fmla="*/ 669197 w 847637"/>
                    <a:gd name="connsiteY877" fmla="*/ 173717 h 1317836"/>
                    <a:gd name="connsiteX878" fmla="*/ 671869 w 847637"/>
                    <a:gd name="connsiteY878" fmla="*/ 172369 h 1317836"/>
                    <a:gd name="connsiteX879" fmla="*/ 676993 w 847637"/>
                    <a:gd name="connsiteY879" fmla="*/ 170985 h 1317836"/>
                    <a:gd name="connsiteX880" fmla="*/ 680757 w 847637"/>
                    <a:gd name="connsiteY880" fmla="*/ 172393 h 1317836"/>
                    <a:gd name="connsiteX881" fmla="*/ 682166 w 847637"/>
                    <a:gd name="connsiteY881" fmla="*/ 175939 h 1317836"/>
                    <a:gd name="connsiteX882" fmla="*/ 681170 w 847637"/>
                    <a:gd name="connsiteY882" fmla="*/ 179303 h 1317836"/>
                    <a:gd name="connsiteX883" fmla="*/ 675123 w 847637"/>
                    <a:gd name="connsiteY883" fmla="*/ 191312 h 1317836"/>
                    <a:gd name="connsiteX884" fmla="*/ 673132 w 847637"/>
                    <a:gd name="connsiteY884" fmla="*/ 192283 h 1317836"/>
                    <a:gd name="connsiteX885" fmla="*/ 663442 w 847637"/>
                    <a:gd name="connsiteY885" fmla="*/ 194554 h 1317836"/>
                    <a:gd name="connsiteX886" fmla="*/ 662409 w 847637"/>
                    <a:gd name="connsiteY886" fmla="*/ 195271 h 1317836"/>
                    <a:gd name="connsiteX887" fmla="*/ 662239 w 847637"/>
                    <a:gd name="connsiteY887" fmla="*/ 195525 h 1317836"/>
                    <a:gd name="connsiteX888" fmla="*/ 661693 w 847637"/>
                    <a:gd name="connsiteY888" fmla="*/ 198877 h 1317836"/>
                    <a:gd name="connsiteX889" fmla="*/ 659835 w 847637"/>
                    <a:gd name="connsiteY889" fmla="*/ 201451 h 1317836"/>
                    <a:gd name="connsiteX890" fmla="*/ 656799 w 847637"/>
                    <a:gd name="connsiteY890" fmla="*/ 203795 h 1317836"/>
                    <a:gd name="connsiteX891" fmla="*/ 653739 w 847637"/>
                    <a:gd name="connsiteY891" fmla="*/ 204378 h 1317836"/>
                    <a:gd name="connsiteX892" fmla="*/ 651129 w 847637"/>
                    <a:gd name="connsiteY892" fmla="*/ 204584 h 1317836"/>
                    <a:gd name="connsiteX893" fmla="*/ 649465 w 847637"/>
                    <a:gd name="connsiteY893" fmla="*/ 206576 h 1317836"/>
                    <a:gd name="connsiteX894" fmla="*/ 648457 w 847637"/>
                    <a:gd name="connsiteY894" fmla="*/ 210097 h 1317836"/>
                    <a:gd name="connsiteX895" fmla="*/ 646101 w 847637"/>
                    <a:gd name="connsiteY895" fmla="*/ 214699 h 1317836"/>
                    <a:gd name="connsiteX896" fmla="*/ 622945 w 847637"/>
                    <a:gd name="connsiteY896" fmla="*/ 244534 h 1317836"/>
                    <a:gd name="connsiteX897" fmla="*/ 621731 w 847637"/>
                    <a:gd name="connsiteY897" fmla="*/ 249088 h 1317836"/>
                    <a:gd name="connsiteX898" fmla="*/ 622083 w 847637"/>
                    <a:gd name="connsiteY898" fmla="*/ 250521 h 1317836"/>
                    <a:gd name="connsiteX899" fmla="*/ 622374 w 847637"/>
                    <a:gd name="connsiteY899" fmla="*/ 251225 h 1317836"/>
                    <a:gd name="connsiteX900" fmla="*/ 623370 w 847637"/>
                    <a:gd name="connsiteY900" fmla="*/ 252197 h 1317836"/>
                    <a:gd name="connsiteX901" fmla="*/ 627280 w 847637"/>
                    <a:gd name="connsiteY901" fmla="*/ 253193 h 1317836"/>
                    <a:gd name="connsiteX902" fmla="*/ 629417 w 847637"/>
                    <a:gd name="connsiteY902" fmla="*/ 254030 h 1317836"/>
                    <a:gd name="connsiteX903" fmla="*/ 632465 w 847637"/>
                    <a:gd name="connsiteY903" fmla="*/ 256143 h 1317836"/>
                    <a:gd name="connsiteX904" fmla="*/ 633412 w 847637"/>
                    <a:gd name="connsiteY904" fmla="*/ 257989 h 1317836"/>
                    <a:gd name="connsiteX905" fmla="*/ 634651 w 847637"/>
                    <a:gd name="connsiteY905" fmla="*/ 266586 h 1317836"/>
                    <a:gd name="connsiteX906" fmla="*/ 635816 w 847637"/>
                    <a:gd name="connsiteY906" fmla="*/ 268626 h 1317836"/>
                    <a:gd name="connsiteX907" fmla="*/ 640540 w 847637"/>
                    <a:gd name="connsiteY907" fmla="*/ 276361 h 1317836"/>
                    <a:gd name="connsiteX908" fmla="*/ 641074 w 847637"/>
                    <a:gd name="connsiteY908" fmla="*/ 280235 h 1317836"/>
                    <a:gd name="connsiteX909" fmla="*/ 640309 w 847637"/>
                    <a:gd name="connsiteY909" fmla="*/ 284145 h 1317836"/>
                    <a:gd name="connsiteX910" fmla="*/ 637492 w 847637"/>
                    <a:gd name="connsiteY910" fmla="*/ 288723 h 1317836"/>
                    <a:gd name="connsiteX911" fmla="*/ 635962 w 847637"/>
                    <a:gd name="connsiteY911" fmla="*/ 291843 h 1317836"/>
                    <a:gd name="connsiteX912" fmla="*/ 634930 w 847637"/>
                    <a:gd name="connsiteY912" fmla="*/ 295219 h 1317836"/>
                    <a:gd name="connsiteX913" fmla="*/ 634651 w 847637"/>
                    <a:gd name="connsiteY913" fmla="*/ 298522 h 1317836"/>
                    <a:gd name="connsiteX914" fmla="*/ 634845 w 847637"/>
                    <a:gd name="connsiteY914" fmla="*/ 321739 h 1317836"/>
                    <a:gd name="connsiteX915" fmla="*/ 634007 w 847637"/>
                    <a:gd name="connsiteY915" fmla="*/ 326147 h 1317836"/>
                    <a:gd name="connsiteX916" fmla="*/ 631676 w 847637"/>
                    <a:gd name="connsiteY916" fmla="*/ 327641 h 1317836"/>
                    <a:gd name="connsiteX917" fmla="*/ 631117 w 847637"/>
                    <a:gd name="connsiteY917" fmla="*/ 328333 h 1317836"/>
                    <a:gd name="connsiteX918" fmla="*/ 630935 w 847637"/>
                    <a:gd name="connsiteY918" fmla="*/ 329304 h 1317836"/>
                    <a:gd name="connsiteX919" fmla="*/ 630170 w 847637"/>
                    <a:gd name="connsiteY919" fmla="*/ 336566 h 1317836"/>
                    <a:gd name="connsiteX920" fmla="*/ 630194 w 847637"/>
                    <a:gd name="connsiteY920" fmla="*/ 337695 h 1317836"/>
                    <a:gd name="connsiteX921" fmla="*/ 633619 w 847637"/>
                    <a:gd name="connsiteY921" fmla="*/ 339832 h 1317836"/>
                    <a:gd name="connsiteX922" fmla="*/ 636472 w 847637"/>
                    <a:gd name="connsiteY922" fmla="*/ 342880 h 1317836"/>
                    <a:gd name="connsiteX923" fmla="*/ 636873 w 847637"/>
                    <a:gd name="connsiteY923" fmla="*/ 344896 h 1317836"/>
                    <a:gd name="connsiteX924" fmla="*/ 636411 w 847637"/>
                    <a:gd name="connsiteY924" fmla="*/ 347057 h 1317836"/>
                    <a:gd name="connsiteX925" fmla="*/ 635671 w 847637"/>
                    <a:gd name="connsiteY925" fmla="*/ 348199 h 1317836"/>
                    <a:gd name="connsiteX926" fmla="*/ 633473 w 847637"/>
                    <a:gd name="connsiteY926" fmla="*/ 350093 h 1317836"/>
                    <a:gd name="connsiteX927" fmla="*/ 633849 w 847637"/>
                    <a:gd name="connsiteY927" fmla="*/ 350154 h 1317836"/>
                    <a:gd name="connsiteX928" fmla="*/ 636630 w 847637"/>
                    <a:gd name="connsiteY928" fmla="*/ 352267 h 1317836"/>
                    <a:gd name="connsiteX929" fmla="*/ 636994 w 847637"/>
                    <a:gd name="connsiteY929" fmla="*/ 354088 h 1317836"/>
                    <a:gd name="connsiteX930" fmla="*/ 636982 w 847637"/>
                    <a:gd name="connsiteY930" fmla="*/ 355691 h 1317836"/>
                    <a:gd name="connsiteX931" fmla="*/ 636581 w 847637"/>
                    <a:gd name="connsiteY931" fmla="*/ 357185 h 1317836"/>
                    <a:gd name="connsiteX932" fmla="*/ 635501 w 847637"/>
                    <a:gd name="connsiteY932" fmla="*/ 359735 h 1317836"/>
                    <a:gd name="connsiteX933" fmla="*/ 635015 w 847637"/>
                    <a:gd name="connsiteY933" fmla="*/ 362442 h 1317836"/>
                    <a:gd name="connsiteX934" fmla="*/ 634238 w 847637"/>
                    <a:gd name="connsiteY934" fmla="*/ 364920 h 1317836"/>
                    <a:gd name="connsiteX935" fmla="*/ 632781 w 847637"/>
                    <a:gd name="connsiteY935" fmla="*/ 367640 h 1317836"/>
                    <a:gd name="connsiteX936" fmla="*/ 630449 w 847637"/>
                    <a:gd name="connsiteY936" fmla="*/ 369194 h 1317836"/>
                    <a:gd name="connsiteX937" fmla="*/ 625908 w 847637"/>
                    <a:gd name="connsiteY937" fmla="*/ 371052 h 1317836"/>
                    <a:gd name="connsiteX938" fmla="*/ 625361 w 847637"/>
                    <a:gd name="connsiteY938" fmla="*/ 371598 h 1317836"/>
                    <a:gd name="connsiteX939" fmla="*/ 625252 w 847637"/>
                    <a:gd name="connsiteY939" fmla="*/ 373930 h 1317836"/>
                    <a:gd name="connsiteX940" fmla="*/ 624171 w 847637"/>
                    <a:gd name="connsiteY940" fmla="*/ 376990 h 1317836"/>
                    <a:gd name="connsiteX941" fmla="*/ 622143 w 847637"/>
                    <a:gd name="connsiteY941" fmla="*/ 379431 h 1317836"/>
                    <a:gd name="connsiteX942" fmla="*/ 616509 w 847637"/>
                    <a:gd name="connsiteY942" fmla="*/ 382697 h 1317836"/>
                    <a:gd name="connsiteX943" fmla="*/ 610632 w 847637"/>
                    <a:gd name="connsiteY943" fmla="*/ 387238 h 1317836"/>
                    <a:gd name="connsiteX944" fmla="*/ 603128 w 847637"/>
                    <a:gd name="connsiteY944" fmla="*/ 391391 h 1317836"/>
                    <a:gd name="connsiteX945" fmla="*/ 602545 w 847637"/>
                    <a:gd name="connsiteY945" fmla="*/ 391889 h 1317836"/>
                    <a:gd name="connsiteX946" fmla="*/ 606127 w 847637"/>
                    <a:gd name="connsiteY946" fmla="*/ 396504 h 1317836"/>
                    <a:gd name="connsiteX947" fmla="*/ 606940 w 847637"/>
                    <a:gd name="connsiteY947" fmla="*/ 397293 h 1317836"/>
                    <a:gd name="connsiteX948" fmla="*/ 624997 w 847637"/>
                    <a:gd name="connsiteY948" fmla="*/ 401992 h 1317836"/>
                    <a:gd name="connsiteX949" fmla="*/ 627668 w 847637"/>
                    <a:gd name="connsiteY949" fmla="*/ 402271 h 1317836"/>
                    <a:gd name="connsiteX950" fmla="*/ 639022 w 847637"/>
                    <a:gd name="connsiteY950" fmla="*/ 401907 h 1317836"/>
                    <a:gd name="connsiteX951" fmla="*/ 643308 w 847637"/>
                    <a:gd name="connsiteY951" fmla="*/ 402514 h 1317836"/>
                    <a:gd name="connsiteX952" fmla="*/ 652659 w 847637"/>
                    <a:gd name="connsiteY952" fmla="*/ 406473 h 1317836"/>
                    <a:gd name="connsiteX953" fmla="*/ 653764 w 847637"/>
                    <a:gd name="connsiteY953" fmla="*/ 408950 h 1317836"/>
                    <a:gd name="connsiteX954" fmla="*/ 655524 w 847637"/>
                    <a:gd name="connsiteY954" fmla="*/ 410334 h 1317836"/>
                    <a:gd name="connsiteX955" fmla="*/ 657030 w 847637"/>
                    <a:gd name="connsiteY955" fmla="*/ 413771 h 1317836"/>
                    <a:gd name="connsiteX956" fmla="*/ 656872 w 847637"/>
                    <a:gd name="connsiteY956" fmla="*/ 417948 h 1317836"/>
                    <a:gd name="connsiteX957" fmla="*/ 655512 w 847637"/>
                    <a:gd name="connsiteY957" fmla="*/ 420510 h 1317836"/>
                    <a:gd name="connsiteX958" fmla="*/ 653994 w 847637"/>
                    <a:gd name="connsiteY958" fmla="*/ 422526 h 1317836"/>
                    <a:gd name="connsiteX959" fmla="*/ 651675 w 847637"/>
                    <a:gd name="connsiteY959" fmla="*/ 424408 h 1317836"/>
                    <a:gd name="connsiteX960" fmla="*/ 645944 w 847637"/>
                    <a:gd name="connsiteY960" fmla="*/ 427868 h 1317836"/>
                    <a:gd name="connsiteX961" fmla="*/ 645446 w 847637"/>
                    <a:gd name="connsiteY961" fmla="*/ 428439 h 1317836"/>
                    <a:gd name="connsiteX962" fmla="*/ 645009 w 847637"/>
                    <a:gd name="connsiteY962" fmla="*/ 429447 h 1317836"/>
                    <a:gd name="connsiteX963" fmla="*/ 644960 w 847637"/>
                    <a:gd name="connsiteY963" fmla="*/ 430649 h 1317836"/>
                    <a:gd name="connsiteX964" fmla="*/ 645288 w 847637"/>
                    <a:gd name="connsiteY964" fmla="*/ 435264 h 1317836"/>
                    <a:gd name="connsiteX965" fmla="*/ 644911 w 847637"/>
                    <a:gd name="connsiteY965" fmla="*/ 438239 h 1317836"/>
                    <a:gd name="connsiteX966" fmla="*/ 643952 w 847637"/>
                    <a:gd name="connsiteY966" fmla="*/ 440971 h 1317836"/>
                    <a:gd name="connsiteX967" fmla="*/ 643381 w 847637"/>
                    <a:gd name="connsiteY967" fmla="*/ 443594 h 1317836"/>
                    <a:gd name="connsiteX968" fmla="*/ 643236 w 847637"/>
                    <a:gd name="connsiteY968" fmla="*/ 446836 h 1317836"/>
                    <a:gd name="connsiteX969" fmla="*/ 644365 w 847637"/>
                    <a:gd name="connsiteY969" fmla="*/ 456623 h 1317836"/>
                    <a:gd name="connsiteX970" fmla="*/ 644377 w 847637"/>
                    <a:gd name="connsiteY970" fmla="*/ 460375 h 1317836"/>
                    <a:gd name="connsiteX971" fmla="*/ 643673 w 847637"/>
                    <a:gd name="connsiteY971" fmla="*/ 465524 h 1317836"/>
                    <a:gd name="connsiteX972" fmla="*/ 643576 w 847637"/>
                    <a:gd name="connsiteY972" fmla="*/ 469543 h 1317836"/>
                    <a:gd name="connsiteX973" fmla="*/ 644134 w 847637"/>
                    <a:gd name="connsiteY973" fmla="*/ 478444 h 1317836"/>
                    <a:gd name="connsiteX974" fmla="*/ 643139 w 847637"/>
                    <a:gd name="connsiteY974" fmla="*/ 480678 h 1317836"/>
                    <a:gd name="connsiteX975" fmla="*/ 641876 w 847637"/>
                    <a:gd name="connsiteY975" fmla="*/ 482937 h 1317836"/>
                    <a:gd name="connsiteX976" fmla="*/ 638221 w 847637"/>
                    <a:gd name="connsiteY976" fmla="*/ 486798 h 1317836"/>
                    <a:gd name="connsiteX977" fmla="*/ 635513 w 847637"/>
                    <a:gd name="connsiteY977" fmla="*/ 490526 h 1317836"/>
                    <a:gd name="connsiteX978" fmla="*/ 630874 w 847637"/>
                    <a:gd name="connsiteY978" fmla="*/ 489968 h 1317836"/>
                    <a:gd name="connsiteX979" fmla="*/ 629854 w 847637"/>
                    <a:gd name="connsiteY979" fmla="*/ 489652 h 1317836"/>
                    <a:gd name="connsiteX980" fmla="*/ 607730 w 847637"/>
                    <a:gd name="connsiteY980" fmla="*/ 489567 h 1317836"/>
                    <a:gd name="connsiteX981" fmla="*/ 599412 w 847637"/>
                    <a:gd name="connsiteY981" fmla="*/ 488571 h 1317836"/>
                    <a:gd name="connsiteX982" fmla="*/ 596777 w 847637"/>
                    <a:gd name="connsiteY982" fmla="*/ 487745 h 1317836"/>
                    <a:gd name="connsiteX983" fmla="*/ 593061 w 847637"/>
                    <a:gd name="connsiteY983" fmla="*/ 485827 h 1317836"/>
                    <a:gd name="connsiteX984" fmla="*/ 592260 w 847637"/>
                    <a:gd name="connsiteY984" fmla="*/ 485827 h 1317836"/>
                    <a:gd name="connsiteX985" fmla="*/ 581392 w 847637"/>
                    <a:gd name="connsiteY985" fmla="*/ 487612 h 1317836"/>
                    <a:gd name="connsiteX986" fmla="*/ 578295 w 847637"/>
                    <a:gd name="connsiteY986" fmla="*/ 488717 h 1317836"/>
                    <a:gd name="connsiteX987" fmla="*/ 565630 w 847637"/>
                    <a:gd name="connsiteY987" fmla="*/ 496112 h 1317836"/>
                    <a:gd name="connsiteX988" fmla="*/ 559850 w 847637"/>
                    <a:gd name="connsiteY988" fmla="*/ 503471 h 1317836"/>
                    <a:gd name="connsiteX989" fmla="*/ 560081 w 847637"/>
                    <a:gd name="connsiteY989" fmla="*/ 505741 h 1317836"/>
                    <a:gd name="connsiteX990" fmla="*/ 559109 w 847637"/>
                    <a:gd name="connsiteY990" fmla="*/ 507927 h 1317836"/>
                    <a:gd name="connsiteX991" fmla="*/ 559109 w 847637"/>
                    <a:gd name="connsiteY991" fmla="*/ 511971 h 1317836"/>
                    <a:gd name="connsiteX992" fmla="*/ 558101 w 847637"/>
                    <a:gd name="connsiteY992" fmla="*/ 520689 h 1317836"/>
                    <a:gd name="connsiteX993" fmla="*/ 558563 w 847637"/>
                    <a:gd name="connsiteY993" fmla="*/ 523871 h 1317836"/>
                    <a:gd name="connsiteX994" fmla="*/ 558818 w 847637"/>
                    <a:gd name="connsiteY994" fmla="*/ 524745 h 1317836"/>
                    <a:gd name="connsiteX995" fmla="*/ 559316 w 847637"/>
                    <a:gd name="connsiteY995" fmla="*/ 525024 h 1317836"/>
                    <a:gd name="connsiteX996" fmla="*/ 561004 w 847637"/>
                    <a:gd name="connsiteY996" fmla="*/ 525729 h 1317836"/>
                    <a:gd name="connsiteX997" fmla="*/ 561562 w 847637"/>
                    <a:gd name="connsiteY997" fmla="*/ 526166 h 1317836"/>
                    <a:gd name="connsiteX998" fmla="*/ 562789 w 847637"/>
                    <a:gd name="connsiteY998" fmla="*/ 527538 h 1317836"/>
                    <a:gd name="connsiteX999" fmla="*/ 564975 w 847637"/>
                    <a:gd name="connsiteY999" fmla="*/ 532225 h 1317836"/>
                    <a:gd name="connsiteX1000" fmla="*/ 567367 w 847637"/>
                    <a:gd name="connsiteY1000" fmla="*/ 536305 h 1317836"/>
                    <a:gd name="connsiteX1001" fmla="*/ 569431 w 847637"/>
                    <a:gd name="connsiteY1001" fmla="*/ 542000 h 1317836"/>
                    <a:gd name="connsiteX1002" fmla="*/ 568678 w 847637"/>
                    <a:gd name="connsiteY1002" fmla="*/ 545946 h 1317836"/>
                    <a:gd name="connsiteX1003" fmla="*/ 565290 w 847637"/>
                    <a:gd name="connsiteY1003" fmla="*/ 548059 h 1317836"/>
                    <a:gd name="connsiteX1004" fmla="*/ 562291 w 847637"/>
                    <a:gd name="connsiteY1004" fmla="*/ 547379 h 1317836"/>
                    <a:gd name="connsiteX1005" fmla="*/ 559923 w 847637"/>
                    <a:gd name="connsiteY1005" fmla="*/ 546505 h 1317836"/>
                    <a:gd name="connsiteX1006" fmla="*/ 558563 w 847637"/>
                    <a:gd name="connsiteY1006" fmla="*/ 546165 h 1317836"/>
                    <a:gd name="connsiteX1007" fmla="*/ 557446 w 847637"/>
                    <a:gd name="connsiteY1007" fmla="*/ 546189 h 1317836"/>
                    <a:gd name="connsiteX1008" fmla="*/ 556511 w 847637"/>
                    <a:gd name="connsiteY1008" fmla="*/ 546578 h 1317836"/>
                    <a:gd name="connsiteX1009" fmla="*/ 555612 w 847637"/>
                    <a:gd name="connsiteY1009" fmla="*/ 547355 h 1317836"/>
                    <a:gd name="connsiteX1010" fmla="*/ 554580 w 847637"/>
                    <a:gd name="connsiteY1010" fmla="*/ 548642 h 1317836"/>
                    <a:gd name="connsiteX1011" fmla="*/ 553706 w 847637"/>
                    <a:gd name="connsiteY1011" fmla="*/ 550488 h 1317836"/>
                    <a:gd name="connsiteX1012" fmla="*/ 553366 w 847637"/>
                    <a:gd name="connsiteY1012" fmla="*/ 551557 h 1317836"/>
                    <a:gd name="connsiteX1013" fmla="*/ 555029 w 847637"/>
                    <a:gd name="connsiteY1013" fmla="*/ 560445 h 1317836"/>
                    <a:gd name="connsiteX1014" fmla="*/ 555260 w 847637"/>
                    <a:gd name="connsiteY1014" fmla="*/ 569613 h 1317836"/>
                    <a:gd name="connsiteX1015" fmla="*/ 554823 w 847637"/>
                    <a:gd name="connsiteY1015" fmla="*/ 572576 h 1317836"/>
                    <a:gd name="connsiteX1016" fmla="*/ 554021 w 847637"/>
                    <a:gd name="connsiteY1016" fmla="*/ 574652 h 1317836"/>
                    <a:gd name="connsiteX1017" fmla="*/ 553414 w 847637"/>
                    <a:gd name="connsiteY1017" fmla="*/ 576061 h 1317836"/>
                    <a:gd name="connsiteX1018" fmla="*/ 550864 w 847637"/>
                    <a:gd name="connsiteY1018" fmla="*/ 576644 h 1317836"/>
                    <a:gd name="connsiteX1019" fmla="*/ 549201 w 847637"/>
                    <a:gd name="connsiteY1019" fmla="*/ 576340 h 1317836"/>
                    <a:gd name="connsiteX1020" fmla="*/ 549529 w 847637"/>
                    <a:gd name="connsiteY1020" fmla="*/ 576947 h 1317836"/>
                    <a:gd name="connsiteX1021" fmla="*/ 550719 w 847637"/>
                    <a:gd name="connsiteY1021" fmla="*/ 580821 h 1317836"/>
                    <a:gd name="connsiteX1022" fmla="*/ 551362 w 847637"/>
                    <a:gd name="connsiteY1022" fmla="*/ 582072 h 1317836"/>
                    <a:gd name="connsiteX1023" fmla="*/ 551994 w 847637"/>
                    <a:gd name="connsiteY1023" fmla="*/ 582728 h 1317836"/>
                    <a:gd name="connsiteX1024" fmla="*/ 552504 w 847637"/>
                    <a:gd name="connsiteY1024" fmla="*/ 583067 h 1317836"/>
                    <a:gd name="connsiteX1025" fmla="*/ 553111 w 847637"/>
                    <a:gd name="connsiteY1025" fmla="*/ 583614 h 1317836"/>
                    <a:gd name="connsiteX1026" fmla="*/ 554313 w 847637"/>
                    <a:gd name="connsiteY1026" fmla="*/ 585484 h 1317836"/>
                    <a:gd name="connsiteX1027" fmla="*/ 555843 w 847637"/>
                    <a:gd name="connsiteY1027" fmla="*/ 589127 h 1317836"/>
                    <a:gd name="connsiteX1028" fmla="*/ 557579 w 847637"/>
                    <a:gd name="connsiteY1028" fmla="*/ 599849 h 1317836"/>
                    <a:gd name="connsiteX1029" fmla="*/ 557968 w 847637"/>
                    <a:gd name="connsiteY1029" fmla="*/ 601403 h 1317836"/>
                    <a:gd name="connsiteX1030" fmla="*/ 558478 w 847637"/>
                    <a:gd name="connsiteY1030" fmla="*/ 601950 h 1317836"/>
                    <a:gd name="connsiteX1031" fmla="*/ 559097 w 847637"/>
                    <a:gd name="connsiteY1031" fmla="*/ 602047 h 1317836"/>
                    <a:gd name="connsiteX1032" fmla="*/ 564987 w 847637"/>
                    <a:gd name="connsiteY1032" fmla="*/ 603358 h 1317836"/>
                    <a:gd name="connsiteX1033" fmla="*/ 567767 w 847637"/>
                    <a:gd name="connsiteY1033" fmla="*/ 604730 h 1317836"/>
                    <a:gd name="connsiteX1034" fmla="*/ 569637 w 847637"/>
                    <a:gd name="connsiteY1034" fmla="*/ 606018 h 1317836"/>
                    <a:gd name="connsiteX1035" fmla="*/ 572916 w 847637"/>
                    <a:gd name="connsiteY1035" fmla="*/ 609988 h 1317836"/>
                    <a:gd name="connsiteX1036" fmla="*/ 574640 w 847637"/>
                    <a:gd name="connsiteY1036" fmla="*/ 623455 h 1317836"/>
                    <a:gd name="connsiteX1037" fmla="*/ 577348 w 847637"/>
                    <a:gd name="connsiteY1037" fmla="*/ 632149 h 1317836"/>
                    <a:gd name="connsiteX1038" fmla="*/ 578113 w 847637"/>
                    <a:gd name="connsiteY1038" fmla="*/ 636229 h 1317836"/>
                    <a:gd name="connsiteX1039" fmla="*/ 578223 w 847637"/>
                    <a:gd name="connsiteY1039" fmla="*/ 640674 h 1317836"/>
                    <a:gd name="connsiteX1040" fmla="*/ 577858 w 847637"/>
                    <a:gd name="connsiteY1040" fmla="*/ 643563 h 1317836"/>
                    <a:gd name="connsiteX1041" fmla="*/ 577324 w 847637"/>
                    <a:gd name="connsiteY1041" fmla="*/ 645713 h 1317836"/>
                    <a:gd name="connsiteX1042" fmla="*/ 576425 w 847637"/>
                    <a:gd name="connsiteY1042" fmla="*/ 647911 h 1317836"/>
                    <a:gd name="connsiteX1043" fmla="*/ 575442 w 847637"/>
                    <a:gd name="connsiteY1043" fmla="*/ 649720 h 1317836"/>
                    <a:gd name="connsiteX1044" fmla="*/ 574009 w 847637"/>
                    <a:gd name="connsiteY1044" fmla="*/ 651602 h 1317836"/>
                    <a:gd name="connsiteX1045" fmla="*/ 573037 w 847637"/>
                    <a:gd name="connsiteY1045" fmla="*/ 653181 h 1317836"/>
                    <a:gd name="connsiteX1046" fmla="*/ 571957 w 847637"/>
                    <a:gd name="connsiteY1046" fmla="*/ 655439 h 1317836"/>
                    <a:gd name="connsiteX1047" fmla="*/ 570767 w 847637"/>
                    <a:gd name="connsiteY1047" fmla="*/ 659859 h 1317836"/>
                    <a:gd name="connsiteX1048" fmla="*/ 569467 w 847637"/>
                    <a:gd name="connsiteY1048" fmla="*/ 662786 h 1317836"/>
                    <a:gd name="connsiteX1049" fmla="*/ 567877 w 847637"/>
                    <a:gd name="connsiteY1049" fmla="*/ 665057 h 1317836"/>
                    <a:gd name="connsiteX1050" fmla="*/ 563129 w 847637"/>
                    <a:gd name="connsiteY1050" fmla="*/ 669756 h 1317836"/>
                    <a:gd name="connsiteX1051" fmla="*/ 561526 w 847637"/>
                    <a:gd name="connsiteY1051" fmla="*/ 670910 h 1317836"/>
                    <a:gd name="connsiteX1052" fmla="*/ 559571 w 847637"/>
                    <a:gd name="connsiteY1052" fmla="*/ 671845 h 1317836"/>
                    <a:gd name="connsiteX1053" fmla="*/ 556620 w 847637"/>
                    <a:gd name="connsiteY1053" fmla="*/ 672452 h 1317836"/>
                    <a:gd name="connsiteX1054" fmla="*/ 553827 w 847637"/>
                    <a:gd name="connsiteY1054" fmla="*/ 671699 h 1317836"/>
                    <a:gd name="connsiteX1055" fmla="*/ 552261 w 847637"/>
                    <a:gd name="connsiteY1055" fmla="*/ 670059 h 1317836"/>
                    <a:gd name="connsiteX1056" fmla="*/ 551034 w 847637"/>
                    <a:gd name="connsiteY1056" fmla="*/ 668226 h 1317836"/>
                    <a:gd name="connsiteX1057" fmla="*/ 550391 w 847637"/>
                    <a:gd name="connsiteY1057" fmla="*/ 667461 h 1317836"/>
                    <a:gd name="connsiteX1058" fmla="*/ 549735 w 847637"/>
                    <a:gd name="connsiteY1058" fmla="*/ 667012 h 1317836"/>
                    <a:gd name="connsiteX1059" fmla="*/ 549298 w 847637"/>
                    <a:gd name="connsiteY1059" fmla="*/ 667012 h 1317836"/>
                    <a:gd name="connsiteX1060" fmla="*/ 548424 w 847637"/>
                    <a:gd name="connsiteY1060" fmla="*/ 666830 h 1317836"/>
                    <a:gd name="connsiteX1061" fmla="*/ 547136 w 847637"/>
                    <a:gd name="connsiteY1061" fmla="*/ 667036 h 1317836"/>
                    <a:gd name="connsiteX1062" fmla="*/ 545594 w 847637"/>
                    <a:gd name="connsiteY1062" fmla="*/ 667400 h 1317836"/>
                    <a:gd name="connsiteX1063" fmla="*/ 543797 w 847637"/>
                    <a:gd name="connsiteY1063" fmla="*/ 668457 h 1317836"/>
                    <a:gd name="connsiteX1064" fmla="*/ 540652 w 847637"/>
                    <a:gd name="connsiteY1064" fmla="*/ 669270 h 1317836"/>
                    <a:gd name="connsiteX1065" fmla="*/ 538090 w 847637"/>
                    <a:gd name="connsiteY1065" fmla="*/ 668821 h 1317836"/>
                    <a:gd name="connsiteX1066" fmla="*/ 533828 w 847637"/>
                    <a:gd name="connsiteY1066" fmla="*/ 666951 h 1317836"/>
                    <a:gd name="connsiteX1067" fmla="*/ 531909 w 847637"/>
                    <a:gd name="connsiteY1067" fmla="*/ 666429 h 1317836"/>
                    <a:gd name="connsiteX1068" fmla="*/ 527501 w 847637"/>
                    <a:gd name="connsiteY1068" fmla="*/ 666089 h 1317836"/>
                    <a:gd name="connsiteX1069" fmla="*/ 524138 w 847637"/>
                    <a:gd name="connsiteY1069" fmla="*/ 665457 h 1317836"/>
                    <a:gd name="connsiteX1070" fmla="*/ 507417 w 847637"/>
                    <a:gd name="connsiteY1070" fmla="*/ 655986 h 1317836"/>
                    <a:gd name="connsiteX1071" fmla="*/ 505596 w 847637"/>
                    <a:gd name="connsiteY1071" fmla="*/ 659009 h 1317836"/>
                    <a:gd name="connsiteX1072" fmla="*/ 505365 w 847637"/>
                    <a:gd name="connsiteY1072" fmla="*/ 662834 h 1317836"/>
                    <a:gd name="connsiteX1073" fmla="*/ 505535 w 847637"/>
                    <a:gd name="connsiteY1073" fmla="*/ 665215 h 1317836"/>
                    <a:gd name="connsiteX1074" fmla="*/ 505183 w 847637"/>
                    <a:gd name="connsiteY1074" fmla="*/ 667424 h 1317836"/>
                    <a:gd name="connsiteX1075" fmla="*/ 503956 w 847637"/>
                    <a:gd name="connsiteY1075" fmla="*/ 669841 h 1317836"/>
                    <a:gd name="connsiteX1076" fmla="*/ 502693 w 847637"/>
                    <a:gd name="connsiteY1076" fmla="*/ 670922 h 1317836"/>
                    <a:gd name="connsiteX1077" fmla="*/ 502147 w 847637"/>
                    <a:gd name="connsiteY1077" fmla="*/ 671529 h 1317836"/>
                    <a:gd name="connsiteX1078" fmla="*/ 505498 w 847637"/>
                    <a:gd name="connsiteY1078" fmla="*/ 672306 h 1317836"/>
                    <a:gd name="connsiteX1079" fmla="*/ 507271 w 847637"/>
                    <a:gd name="connsiteY1079" fmla="*/ 673010 h 1317836"/>
                    <a:gd name="connsiteX1080" fmla="*/ 511205 w 847637"/>
                    <a:gd name="connsiteY1080" fmla="*/ 675609 h 1317836"/>
                    <a:gd name="connsiteX1081" fmla="*/ 512784 w 847637"/>
                    <a:gd name="connsiteY1081" fmla="*/ 675949 h 1317836"/>
                    <a:gd name="connsiteX1082" fmla="*/ 514375 w 847637"/>
                    <a:gd name="connsiteY1082" fmla="*/ 676495 h 1317836"/>
                    <a:gd name="connsiteX1083" fmla="*/ 516342 w 847637"/>
                    <a:gd name="connsiteY1083" fmla="*/ 677649 h 1317836"/>
                    <a:gd name="connsiteX1084" fmla="*/ 518771 w 847637"/>
                    <a:gd name="connsiteY1084" fmla="*/ 680296 h 1317836"/>
                    <a:gd name="connsiteX1085" fmla="*/ 519851 w 847637"/>
                    <a:gd name="connsiteY1085" fmla="*/ 682931 h 1317836"/>
                    <a:gd name="connsiteX1086" fmla="*/ 519997 w 847637"/>
                    <a:gd name="connsiteY1086" fmla="*/ 685469 h 1317836"/>
                    <a:gd name="connsiteX1087" fmla="*/ 519402 w 847637"/>
                    <a:gd name="connsiteY1087" fmla="*/ 689913 h 1317836"/>
                    <a:gd name="connsiteX1088" fmla="*/ 519366 w 847637"/>
                    <a:gd name="connsiteY1088" fmla="*/ 692876 h 1317836"/>
                    <a:gd name="connsiteX1089" fmla="*/ 518661 w 847637"/>
                    <a:gd name="connsiteY1089" fmla="*/ 697952 h 1317836"/>
                    <a:gd name="connsiteX1090" fmla="*/ 515674 w 847637"/>
                    <a:gd name="connsiteY1090" fmla="*/ 710581 h 1317836"/>
                    <a:gd name="connsiteX1091" fmla="*/ 515103 w 847637"/>
                    <a:gd name="connsiteY1091" fmla="*/ 711928 h 1317836"/>
                    <a:gd name="connsiteX1092" fmla="*/ 514739 w 847637"/>
                    <a:gd name="connsiteY1092" fmla="*/ 712438 h 1317836"/>
                    <a:gd name="connsiteX1093" fmla="*/ 513391 w 847637"/>
                    <a:gd name="connsiteY1093" fmla="*/ 713993 h 1317836"/>
                    <a:gd name="connsiteX1094" fmla="*/ 512165 w 847637"/>
                    <a:gd name="connsiteY1094" fmla="*/ 714636 h 1317836"/>
                    <a:gd name="connsiteX1095" fmla="*/ 508741 w 847637"/>
                    <a:gd name="connsiteY1095" fmla="*/ 715899 h 1317836"/>
                    <a:gd name="connsiteX1096" fmla="*/ 509408 w 847637"/>
                    <a:gd name="connsiteY1096" fmla="*/ 721363 h 1317836"/>
                    <a:gd name="connsiteX1097" fmla="*/ 509311 w 847637"/>
                    <a:gd name="connsiteY1097" fmla="*/ 724314 h 1317836"/>
                    <a:gd name="connsiteX1098" fmla="*/ 508643 w 847637"/>
                    <a:gd name="connsiteY1098" fmla="*/ 727192 h 1317836"/>
                    <a:gd name="connsiteX1099" fmla="*/ 506773 w 847637"/>
                    <a:gd name="connsiteY1099" fmla="*/ 730847 h 1317836"/>
                    <a:gd name="connsiteX1100" fmla="*/ 505158 w 847637"/>
                    <a:gd name="connsiteY1100" fmla="*/ 735061 h 1317836"/>
                    <a:gd name="connsiteX1101" fmla="*/ 504248 w 847637"/>
                    <a:gd name="connsiteY1101" fmla="*/ 739311 h 1317836"/>
                    <a:gd name="connsiteX1102" fmla="*/ 504260 w 847637"/>
                    <a:gd name="connsiteY1102" fmla="*/ 741436 h 1317836"/>
                    <a:gd name="connsiteX1103" fmla="*/ 504685 w 847637"/>
                    <a:gd name="connsiteY1103" fmla="*/ 744058 h 1317836"/>
                    <a:gd name="connsiteX1104" fmla="*/ 506895 w 847637"/>
                    <a:gd name="connsiteY1104" fmla="*/ 752692 h 1317836"/>
                    <a:gd name="connsiteX1105" fmla="*/ 507283 w 847637"/>
                    <a:gd name="connsiteY1105" fmla="*/ 752935 h 1317836"/>
                    <a:gd name="connsiteX1106" fmla="*/ 509530 w 847637"/>
                    <a:gd name="connsiteY1106" fmla="*/ 753627 h 1317836"/>
                    <a:gd name="connsiteX1107" fmla="*/ 511254 w 847637"/>
                    <a:gd name="connsiteY1107" fmla="*/ 754477 h 1317836"/>
                    <a:gd name="connsiteX1108" fmla="*/ 512991 w 847637"/>
                    <a:gd name="connsiteY1108" fmla="*/ 755667 h 1317836"/>
                    <a:gd name="connsiteX1109" fmla="*/ 514861 w 847637"/>
                    <a:gd name="connsiteY1109" fmla="*/ 757938 h 1317836"/>
                    <a:gd name="connsiteX1110" fmla="*/ 516099 w 847637"/>
                    <a:gd name="connsiteY1110" fmla="*/ 760051 h 1317836"/>
                    <a:gd name="connsiteX1111" fmla="*/ 518151 w 847637"/>
                    <a:gd name="connsiteY1111" fmla="*/ 764932 h 1317836"/>
                    <a:gd name="connsiteX1112" fmla="*/ 519366 w 847637"/>
                    <a:gd name="connsiteY1112" fmla="*/ 767094 h 1317836"/>
                    <a:gd name="connsiteX1113" fmla="*/ 519730 w 847637"/>
                    <a:gd name="connsiteY1113" fmla="*/ 767033 h 1317836"/>
                    <a:gd name="connsiteX1114" fmla="*/ 522098 w 847637"/>
                    <a:gd name="connsiteY1114" fmla="*/ 765721 h 1317836"/>
                    <a:gd name="connsiteX1115" fmla="*/ 523470 w 847637"/>
                    <a:gd name="connsiteY1115" fmla="*/ 765321 h 1317836"/>
                    <a:gd name="connsiteX1116" fmla="*/ 525510 w 847637"/>
                    <a:gd name="connsiteY1116" fmla="*/ 765102 h 1317836"/>
                    <a:gd name="connsiteX1117" fmla="*/ 530343 w 847637"/>
                    <a:gd name="connsiteY1117" fmla="*/ 765661 h 1317836"/>
                    <a:gd name="connsiteX1118" fmla="*/ 534289 w 847637"/>
                    <a:gd name="connsiteY1118" fmla="*/ 765637 h 1317836"/>
                    <a:gd name="connsiteX1119" fmla="*/ 536099 w 847637"/>
                    <a:gd name="connsiteY1119" fmla="*/ 766474 h 1317836"/>
                    <a:gd name="connsiteX1120" fmla="*/ 538005 w 847637"/>
                    <a:gd name="connsiteY1120" fmla="*/ 768102 h 1317836"/>
                    <a:gd name="connsiteX1121" fmla="*/ 539778 w 847637"/>
                    <a:gd name="connsiteY1121" fmla="*/ 771052 h 1317836"/>
                    <a:gd name="connsiteX1122" fmla="*/ 540482 w 847637"/>
                    <a:gd name="connsiteY1122" fmla="*/ 773542 h 1317836"/>
                    <a:gd name="connsiteX1123" fmla="*/ 540385 w 847637"/>
                    <a:gd name="connsiteY1123" fmla="*/ 776699 h 1317836"/>
                    <a:gd name="connsiteX1124" fmla="*/ 539851 w 847637"/>
                    <a:gd name="connsiteY1124" fmla="*/ 777658 h 1317836"/>
                    <a:gd name="connsiteX1125" fmla="*/ 538989 w 847637"/>
                    <a:gd name="connsiteY1125" fmla="*/ 778958 h 1317836"/>
                    <a:gd name="connsiteX1126" fmla="*/ 537082 w 847637"/>
                    <a:gd name="connsiteY1126" fmla="*/ 780852 h 1317836"/>
                    <a:gd name="connsiteX1127" fmla="*/ 536888 w 847637"/>
                    <a:gd name="connsiteY1127" fmla="*/ 781398 h 1317836"/>
                    <a:gd name="connsiteX1128" fmla="*/ 536402 w 847637"/>
                    <a:gd name="connsiteY1128" fmla="*/ 783474 h 1317836"/>
                    <a:gd name="connsiteX1129" fmla="*/ 535406 w 847637"/>
                    <a:gd name="connsiteY1129" fmla="*/ 785393 h 1317836"/>
                    <a:gd name="connsiteX1130" fmla="*/ 534180 w 847637"/>
                    <a:gd name="connsiteY1130" fmla="*/ 786158 h 1317836"/>
                    <a:gd name="connsiteX1131" fmla="*/ 532529 w 847637"/>
                    <a:gd name="connsiteY1131" fmla="*/ 786899 h 1317836"/>
                    <a:gd name="connsiteX1132" fmla="*/ 531217 w 847637"/>
                    <a:gd name="connsiteY1132" fmla="*/ 787093 h 1317836"/>
                    <a:gd name="connsiteX1133" fmla="*/ 528886 w 847637"/>
                    <a:gd name="connsiteY1133" fmla="*/ 786874 h 1317836"/>
                    <a:gd name="connsiteX1134" fmla="*/ 527793 w 847637"/>
                    <a:gd name="connsiteY1134" fmla="*/ 786607 h 1317836"/>
                    <a:gd name="connsiteX1135" fmla="*/ 527356 w 847637"/>
                    <a:gd name="connsiteY1135" fmla="*/ 787166 h 1317836"/>
                    <a:gd name="connsiteX1136" fmla="*/ 526979 w 847637"/>
                    <a:gd name="connsiteY1136" fmla="*/ 788223 h 1317836"/>
                    <a:gd name="connsiteX1137" fmla="*/ 526664 w 847637"/>
                    <a:gd name="connsiteY1137" fmla="*/ 789473 h 1317836"/>
                    <a:gd name="connsiteX1138" fmla="*/ 526530 w 847637"/>
                    <a:gd name="connsiteY1138" fmla="*/ 791610 h 1317836"/>
                    <a:gd name="connsiteX1139" fmla="*/ 526858 w 847637"/>
                    <a:gd name="connsiteY1139" fmla="*/ 793019 h 1317836"/>
                    <a:gd name="connsiteX1140" fmla="*/ 527392 w 847637"/>
                    <a:gd name="connsiteY1140" fmla="*/ 794318 h 1317836"/>
                    <a:gd name="connsiteX1141" fmla="*/ 528193 w 847637"/>
                    <a:gd name="connsiteY1141" fmla="*/ 795581 h 1317836"/>
                    <a:gd name="connsiteX1142" fmla="*/ 529201 w 847637"/>
                    <a:gd name="connsiteY1142" fmla="*/ 796613 h 1317836"/>
                    <a:gd name="connsiteX1143" fmla="*/ 530221 w 847637"/>
                    <a:gd name="connsiteY1143" fmla="*/ 797318 h 1317836"/>
                    <a:gd name="connsiteX1144" fmla="*/ 536281 w 847637"/>
                    <a:gd name="connsiteY1144" fmla="*/ 799697 h 1317836"/>
                    <a:gd name="connsiteX1145" fmla="*/ 538624 w 847637"/>
                    <a:gd name="connsiteY1145" fmla="*/ 802162 h 1317836"/>
                    <a:gd name="connsiteX1146" fmla="*/ 538819 w 847637"/>
                    <a:gd name="connsiteY1146" fmla="*/ 804470 h 1317836"/>
                    <a:gd name="connsiteX1147" fmla="*/ 538369 w 847637"/>
                    <a:gd name="connsiteY1147" fmla="*/ 806741 h 1317836"/>
                    <a:gd name="connsiteX1148" fmla="*/ 536293 w 847637"/>
                    <a:gd name="connsiteY1148" fmla="*/ 810019 h 1317836"/>
                    <a:gd name="connsiteX1149" fmla="*/ 544963 w 847637"/>
                    <a:gd name="connsiteY1149" fmla="*/ 811768 h 1317836"/>
                    <a:gd name="connsiteX1150" fmla="*/ 550391 w 847637"/>
                    <a:gd name="connsiteY1150" fmla="*/ 812035 h 1317836"/>
                    <a:gd name="connsiteX1151" fmla="*/ 555673 w 847637"/>
                    <a:gd name="connsiteY1151" fmla="*/ 813237 h 1317836"/>
                    <a:gd name="connsiteX1152" fmla="*/ 559838 w 847637"/>
                    <a:gd name="connsiteY1152" fmla="*/ 814597 h 1317836"/>
                    <a:gd name="connsiteX1153" fmla="*/ 562473 w 847637"/>
                    <a:gd name="connsiteY1153" fmla="*/ 814585 h 1317836"/>
                    <a:gd name="connsiteX1154" fmla="*/ 562667 w 847637"/>
                    <a:gd name="connsiteY1154" fmla="*/ 814075 h 1317836"/>
                    <a:gd name="connsiteX1155" fmla="*/ 562789 w 847637"/>
                    <a:gd name="connsiteY1155" fmla="*/ 813128 h 1317836"/>
                    <a:gd name="connsiteX1156" fmla="*/ 562352 w 847637"/>
                    <a:gd name="connsiteY1156" fmla="*/ 808781 h 1317836"/>
                    <a:gd name="connsiteX1157" fmla="*/ 562959 w 847637"/>
                    <a:gd name="connsiteY1157" fmla="*/ 805793 h 1317836"/>
                    <a:gd name="connsiteX1158" fmla="*/ 563955 w 847637"/>
                    <a:gd name="connsiteY1158" fmla="*/ 803753 h 1317836"/>
                    <a:gd name="connsiteX1159" fmla="*/ 566565 w 847637"/>
                    <a:gd name="connsiteY1159" fmla="*/ 800366 h 1317836"/>
                    <a:gd name="connsiteX1160" fmla="*/ 568690 w 847637"/>
                    <a:gd name="connsiteY1160" fmla="*/ 797074 h 1317836"/>
                    <a:gd name="connsiteX1161" fmla="*/ 571592 w 847637"/>
                    <a:gd name="connsiteY1161" fmla="*/ 794306 h 1317836"/>
                    <a:gd name="connsiteX1162" fmla="*/ 574240 w 847637"/>
                    <a:gd name="connsiteY1162" fmla="*/ 793116 h 1317836"/>
                    <a:gd name="connsiteX1163" fmla="*/ 576960 w 847637"/>
                    <a:gd name="connsiteY1163" fmla="*/ 793019 h 1317836"/>
                    <a:gd name="connsiteX1164" fmla="*/ 577737 w 847637"/>
                    <a:gd name="connsiteY1164" fmla="*/ 793067 h 1317836"/>
                    <a:gd name="connsiteX1165" fmla="*/ 581950 w 847637"/>
                    <a:gd name="connsiteY1165" fmla="*/ 795654 h 1317836"/>
                    <a:gd name="connsiteX1166" fmla="*/ 583262 w 847637"/>
                    <a:gd name="connsiteY1166" fmla="*/ 796079 h 1317836"/>
                    <a:gd name="connsiteX1167" fmla="*/ 585496 w 847637"/>
                    <a:gd name="connsiteY1167" fmla="*/ 796322 h 1317836"/>
                    <a:gd name="connsiteX1168" fmla="*/ 589030 w 847637"/>
                    <a:gd name="connsiteY1168" fmla="*/ 796213 h 1317836"/>
                    <a:gd name="connsiteX1169" fmla="*/ 593316 w 847637"/>
                    <a:gd name="connsiteY1169" fmla="*/ 795120 h 1317836"/>
                    <a:gd name="connsiteX1170" fmla="*/ 596400 w 847637"/>
                    <a:gd name="connsiteY1170" fmla="*/ 794767 h 1317836"/>
                    <a:gd name="connsiteX1171" fmla="*/ 599885 w 847637"/>
                    <a:gd name="connsiteY1171" fmla="*/ 794950 h 1317836"/>
                    <a:gd name="connsiteX1172" fmla="*/ 601160 w 847637"/>
                    <a:gd name="connsiteY1172" fmla="*/ 796297 h 1317836"/>
                    <a:gd name="connsiteX1173" fmla="*/ 602180 w 847637"/>
                    <a:gd name="connsiteY1173" fmla="*/ 797767 h 1317836"/>
                    <a:gd name="connsiteX1174" fmla="*/ 602691 w 847637"/>
                    <a:gd name="connsiteY1174" fmla="*/ 799794 h 1317836"/>
                    <a:gd name="connsiteX1175" fmla="*/ 602666 w 847637"/>
                    <a:gd name="connsiteY1175" fmla="*/ 801798 h 1317836"/>
                    <a:gd name="connsiteX1176" fmla="*/ 604026 w 847637"/>
                    <a:gd name="connsiteY1176" fmla="*/ 802624 h 1317836"/>
                    <a:gd name="connsiteX1177" fmla="*/ 608155 w 847637"/>
                    <a:gd name="connsiteY1177" fmla="*/ 803377 h 1317836"/>
                    <a:gd name="connsiteX1178" fmla="*/ 610972 w 847637"/>
                    <a:gd name="connsiteY1178" fmla="*/ 804251 h 1317836"/>
                    <a:gd name="connsiteX1179" fmla="*/ 613825 w 847637"/>
                    <a:gd name="connsiteY1179" fmla="*/ 805720 h 1317836"/>
                    <a:gd name="connsiteX1180" fmla="*/ 617298 w 847637"/>
                    <a:gd name="connsiteY1180" fmla="*/ 810942 h 1317836"/>
                    <a:gd name="connsiteX1181" fmla="*/ 618950 w 847637"/>
                    <a:gd name="connsiteY1181" fmla="*/ 812703 h 1317836"/>
                    <a:gd name="connsiteX1182" fmla="*/ 619727 w 847637"/>
                    <a:gd name="connsiteY1182" fmla="*/ 813091 h 1317836"/>
                    <a:gd name="connsiteX1183" fmla="*/ 619593 w 847637"/>
                    <a:gd name="connsiteY1183" fmla="*/ 812727 h 1317836"/>
                    <a:gd name="connsiteX1184" fmla="*/ 616618 w 847637"/>
                    <a:gd name="connsiteY1184" fmla="*/ 808574 h 1317836"/>
                    <a:gd name="connsiteX1185" fmla="*/ 615659 w 847637"/>
                    <a:gd name="connsiteY1185" fmla="*/ 806680 h 1317836"/>
                    <a:gd name="connsiteX1186" fmla="*/ 614894 w 847637"/>
                    <a:gd name="connsiteY1186" fmla="*/ 804640 h 1317836"/>
                    <a:gd name="connsiteX1187" fmla="*/ 614420 w 847637"/>
                    <a:gd name="connsiteY1187" fmla="*/ 802490 h 1317836"/>
                    <a:gd name="connsiteX1188" fmla="*/ 614700 w 847637"/>
                    <a:gd name="connsiteY1188" fmla="*/ 799722 h 1317836"/>
                    <a:gd name="connsiteX1189" fmla="*/ 615975 w 847637"/>
                    <a:gd name="connsiteY1189" fmla="*/ 797293 h 1317836"/>
                    <a:gd name="connsiteX1190" fmla="*/ 616388 w 847637"/>
                    <a:gd name="connsiteY1190" fmla="*/ 796638 h 1317836"/>
                    <a:gd name="connsiteX1191" fmla="*/ 619083 w 847637"/>
                    <a:gd name="connsiteY1191" fmla="*/ 795156 h 1317836"/>
                    <a:gd name="connsiteX1192" fmla="*/ 621658 w 847637"/>
                    <a:gd name="connsiteY1192" fmla="*/ 794598 h 1317836"/>
                    <a:gd name="connsiteX1193" fmla="*/ 624050 w 847637"/>
                    <a:gd name="connsiteY1193" fmla="*/ 794925 h 1317836"/>
                    <a:gd name="connsiteX1194" fmla="*/ 627037 w 847637"/>
                    <a:gd name="connsiteY1194" fmla="*/ 796492 h 1317836"/>
                    <a:gd name="connsiteX1195" fmla="*/ 628555 w 847637"/>
                    <a:gd name="connsiteY1195" fmla="*/ 797657 h 1317836"/>
                    <a:gd name="connsiteX1196" fmla="*/ 629453 w 847637"/>
                    <a:gd name="connsiteY1196" fmla="*/ 798544 h 1317836"/>
                    <a:gd name="connsiteX1197" fmla="*/ 630765 w 847637"/>
                    <a:gd name="connsiteY1197" fmla="*/ 800523 h 1317836"/>
                    <a:gd name="connsiteX1198" fmla="*/ 631105 w 847637"/>
                    <a:gd name="connsiteY1198" fmla="*/ 801713 h 1317836"/>
                    <a:gd name="connsiteX1199" fmla="*/ 631141 w 847637"/>
                    <a:gd name="connsiteY1199" fmla="*/ 802272 h 1317836"/>
                    <a:gd name="connsiteX1200" fmla="*/ 635428 w 847637"/>
                    <a:gd name="connsiteY1200" fmla="*/ 802588 h 1317836"/>
                    <a:gd name="connsiteX1201" fmla="*/ 638961 w 847637"/>
                    <a:gd name="connsiteY1201" fmla="*/ 803875 h 1317836"/>
                    <a:gd name="connsiteX1202" fmla="*/ 639872 w 847637"/>
                    <a:gd name="connsiteY1202" fmla="*/ 805599 h 1317836"/>
                    <a:gd name="connsiteX1203" fmla="*/ 640358 w 847637"/>
                    <a:gd name="connsiteY1203" fmla="*/ 807396 h 1317836"/>
                    <a:gd name="connsiteX1204" fmla="*/ 640297 w 847637"/>
                    <a:gd name="connsiteY1204" fmla="*/ 808853 h 1317836"/>
                    <a:gd name="connsiteX1205" fmla="*/ 638804 w 847637"/>
                    <a:gd name="connsiteY1205" fmla="*/ 813468 h 1317836"/>
                    <a:gd name="connsiteX1206" fmla="*/ 638524 w 847637"/>
                    <a:gd name="connsiteY1206" fmla="*/ 814925 h 1317836"/>
                    <a:gd name="connsiteX1207" fmla="*/ 638585 w 847637"/>
                    <a:gd name="connsiteY1207" fmla="*/ 815981 h 1317836"/>
                    <a:gd name="connsiteX1208" fmla="*/ 638864 w 847637"/>
                    <a:gd name="connsiteY1208" fmla="*/ 817183 h 1317836"/>
                    <a:gd name="connsiteX1209" fmla="*/ 640455 w 847637"/>
                    <a:gd name="connsiteY1209" fmla="*/ 821300 h 1317836"/>
                    <a:gd name="connsiteX1210" fmla="*/ 640953 w 847637"/>
                    <a:gd name="connsiteY1210" fmla="*/ 823303 h 1317836"/>
                    <a:gd name="connsiteX1211" fmla="*/ 641147 w 847637"/>
                    <a:gd name="connsiteY1211" fmla="*/ 825307 h 1317836"/>
                    <a:gd name="connsiteX1212" fmla="*/ 640346 w 847637"/>
                    <a:gd name="connsiteY1212" fmla="*/ 827796 h 1317836"/>
                    <a:gd name="connsiteX1213" fmla="*/ 638864 w 847637"/>
                    <a:gd name="connsiteY1213" fmla="*/ 829314 h 1317836"/>
                    <a:gd name="connsiteX1214" fmla="*/ 636278 w 847637"/>
                    <a:gd name="connsiteY1214" fmla="*/ 830759 h 1317836"/>
                    <a:gd name="connsiteX1215" fmla="*/ 633485 w 847637"/>
                    <a:gd name="connsiteY1215" fmla="*/ 831451 h 1317836"/>
                    <a:gd name="connsiteX1216" fmla="*/ 624912 w 847637"/>
                    <a:gd name="connsiteY1216" fmla="*/ 831803 h 1317836"/>
                    <a:gd name="connsiteX1217" fmla="*/ 622690 w 847637"/>
                    <a:gd name="connsiteY1217" fmla="*/ 832168 h 1317836"/>
                    <a:gd name="connsiteX1218" fmla="*/ 621803 w 847637"/>
                    <a:gd name="connsiteY1218" fmla="*/ 832568 h 1317836"/>
                    <a:gd name="connsiteX1219" fmla="*/ 621099 w 847637"/>
                    <a:gd name="connsiteY1219" fmla="*/ 833103 h 1317836"/>
                    <a:gd name="connsiteX1220" fmla="*/ 618148 w 847637"/>
                    <a:gd name="connsiteY1220" fmla="*/ 836454 h 1317836"/>
                    <a:gd name="connsiteX1221" fmla="*/ 617638 w 847637"/>
                    <a:gd name="connsiteY1221" fmla="*/ 836867 h 1317836"/>
                    <a:gd name="connsiteX1222" fmla="*/ 619958 w 847637"/>
                    <a:gd name="connsiteY1222" fmla="*/ 838349 h 1317836"/>
                    <a:gd name="connsiteX1223" fmla="*/ 620808 w 847637"/>
                    <a:gd name="connsiteY1223" fmla="*/ 840218 h 1317836"/>
                    <a:gd name="connsiteX1224" fmla="*/ 620929 w 847637"/>
                    <a:gd name="connsiteY1224" fmla="*/ 842319 h 1317836"/>
                    <a:gd name="connsiteX1225" fmla="*/ 620468 w 847637"/>
                    <a:gd name="connsiteY1225" fmla="*/ 843801 h 1317836"/>
                    <a:gd name="connsiteX1226" fmla="*/ 619278 w 847637"/>
                    <a:gd name="connsiteY1226" fmla="*/ 845913 h 1317836"/>
                    <a:gd name="connsiteX1227" fmla="*/ 615040 w 847637"/>
                    <a:gd name="connsiteY1227" fmla="*/ 851524 h 1317836"/>
                    <a:gd name="connsiteX1228" fmla="*/ 614700 w 847637"/>
                    <a:gd name="connsiteY1228" fmla="*/ 852301 h 1317836"/>
                    <a:gd name="connsiteX1229" fmla="*/ 615440 w 847637"/>
                    <a:gd name="connsiteY1229" fmla="*/ 852422 h 1317836"/>
                    <a:gd name="connsiteX1230" fmla="*/ 617772 w 847637"/>
                    <a:gd name="connsiteY1230" fmla="*/ 855045 h 1317836"/>
                    <a:gd name="connsiteX1231" fmla="*/ 618440 w 847637"/>
                    <a:gd name="connsiteY1231" fmla="*/ 856223 h 1317836"/>
                    <a:gd name="connsiteX1232" fmla="*/ 619472 w 847637"/>
                    <a:gd name="connsiteY1232" fmla="*/ 861372 h 1317836"/>
                    <a:gd name="connsiteX1233" fmla="*/ 620674 w 847637"/>
                    <a:gd name="connsiteY1233" fmla="*/ 862659 h 1317836"/>
                    <a:gd name="connsiteX1234" fmla="*/ 623759 w 847637"/>
                    <a:gd name="connsiteY1234" fmla="*/ 864079 h 1317836"/>
                    <a:gd name="connsiteX1235" fmla="*/ 625106 w 847637"/>
                    <a:gd name="connsiteY1235" fmla="*/ 865779 h 1317836"/>
                    <a:gd name="connsiteX1236" fmla="*/ 626005 w 847637"/>
                    <a:gd name="connsiteY1236" fmla="*/ 868038 h 1317836"/>
                    <a:gd name="connsiteX1237" fmla="*/ 626187 w 847637"/>
                    <a:gd name="connsiteY1237" fmla="*/ 868718 h 1317836"/>
                    <a:gd name="connsiteX1238" fmla="*/ 625495 w 847637"/>
                    <a:gd name="connsiteY1238" fmla="*/ 872640 h 1317836"/>
                    <a:gd name="connsiteX1239" fmla="*/ 625422 w 847637"/>
                    <a:gd name="connsiteY1239" fmla="*/ 873660 h 1317836"/>
                    <a:gd name="connsiteX1240" fmla="*/ 627778 w 847637"/>
                    <a:gd name="connsiteY1240" fmla="*/ 877327 h 1317836"/>
                    <a:gd name="connsiteX1241" fmla="*/ 628446 w 847637"/>
                    <a:gd name="connsiteY1241" fmla="*/ 879586 h 1317836"/>
                    <a:gd name="connsiteX1242" fmla="*/ 628324 w 847637"/>
                    <a:gd name="connsiteY1242" fmla="*/ 881942 h 1317836"/>
                    <a:gd name="connsiteX1243" fmla="*/ 628179 w 847637"/>
                    <a:gd name="connsiteY1243" fmla="*/ 882974 h 1317836"/>
                    <a:gd name="connsiteX1244" fmla="*/ 625896 w 847637"/>
                    <a:gd name="connsiteY1244" fmla="*/ 885172 h 1317836"/>
                    <a:gd name="connsiteX1245" fmla="*/ 622921 w 847637"/>
                    <a:gd name="connsiteY1245" fmla="*/ 885839 h 1317836"/>
                    <a:gd name="connsiteX1246" fmla="*/ 620456 w 847637"/>
                    <a:gd name="connsiteY1246" fmla="*/ 885390 h 1317836"/>
                    <a:gd name="connsiteX1247" fmla="*/ 616181 w 847637"/>
                    <a:gd name="connsiteY1247" fmla="*/ 883533 h 1317836"/>
                    <a:gd name="connsiteX1248" fmla="*/ 613656 w 847637"/>
                    <a:gd name="connsiteY1248" fmla="*/ 882925 h 1317836"/>
                    <a:gd name="connsiteX1249" fmla="*/ 610595 w 847637"/>
                    <a:gd name="connsiteY1249" fmla="*/ 881820 h 1317836"/>
                    <a:gd name="connsiteX1250" fmla="*/ 608993 w 847637"/>
                    <a:gd name="connsiteY1250" fmla="*/ 878979 h 1317836"/>
                    <a:gd name="connsiteX1251" fmla="*/ 609078 w 847637"/>
                    <a:gd name="connsiteY1251" fmla="*/ 876623 h 1317836"/>
                    <a:gd name="connsiteX1252" fmla="*/ 609418 w 847637"/>
                    <a:gd name="connsiteY1252" fmla="*/ 874632 h 1317836"/>
                    <a:gd name="connsiteX1253" fmla="*/ 609369 w 847637"/>
                    <a:gd name="connsiteY1253" fmla="*/ 873441 h 1317836"/>
                    <a:gd name="connsiteX1254" fmla="*/ 608750 w 847637"/>
                    <a:gd name="connsiteY1254" fmla="*/ 872567 h 1317836"/>
                    <a:gd name="connsiteX1255" fmla="*/ 606151 w 847637"/>
                    <a:gd name="connsiteY1255" fmla="*/ 868499 h 1317836"/>
                    <a:gd name="connsiteX1256" fmla="*/ 603516 w 847637"/>
                    <a:gd name="connsiteY1256" fmla="*/ 862962 h 1317836"/>
                    <a:gd name="connsiteX1257" fmla="*/ 602958 w 847637"/>
                    <a:gd name="connsiteY1257" fmla="*/ 862319 h 1317836"/>
                    <a:gd name="connsiteX1258" fmla="*/ 601233 w 847637"/>
                    <a:gd name="connsiteY1258" fmla="*/ 862076 h 1317836"/>
                    <a:gd name="connsiteX1259" fmla="*/ 599181 w 847637"/>
                    <a:gd name="connsiteY1259" fmla="*/ 861481 h 1317836"/>
                    <a:gd name="connsiteX1260" fmla="*/ 597505 w 847637"/>
                    <a:gd name="connsiteY1260" fmla="*/ 860679 h 1317836"/>
                    <a:gd name="connsiteX1261" fmla="*/ 596570 w 847637"/>
                    <a:gd name="connsiteY1261" fmla="*/ 860437 h 1317836"/>
                    <a:gd name="connsiteX1262" fmla="*/ 584925 w 847637"/>
                    <a:gd name="connsiteY1262" fmla="*/ 863424 h 1317836"/>
                    <a:gd name="connsiteX1263" fmla="*/ 582230 w 847637"/>
                    <a:gd name="connsiteY1263" fmla="*/ 863751 h 1317836"/>
                    <a:gd name="connsiteX1264" fmla="*/ 576595 w 847637"/>
                    <a:gd name="connsiteY1264" fmla="*/ 863606 h 1317836"/>
                    <a:gd name="connsiteX1265" fmla="*/ 573584 w 847637"/>
                    <a:gd name="connsiteY1265" fmla="*/ 863958 h 1317836"/>
                    <a:gd name="connsiteX1266" fmla="*/ 570584 w 847637"/>
                    <a:gd name="connsiteY1266" fmla="*/ 863824 h 1317836"/>
                    <a:gd name="connsiteX1267" fmla="*/ 568411 w 847637"/>
                    <a:gd name="connsiteY1267" fmla="*/ 862707 h 1317836"/>
                    <a:gd name="connsiteX1268" fmla="*/ 566504 w 847637"/>
                    <a:gd name="connsiteY1268" fmla="*/ 860995 h 1317836"/>
                    <a:gd name="connsiteX1269" fmla="*/ 564355 w 847637"/>
                    <a:gd name="connsiteY1269" fmla="*/ 858142 h 1317836"/>
                    <a:gd name="connsiteX1270" fmla="*/ 563639 w 847637"/>
                    <a:gd name="connsiteY1270" fmla="*/ 857546 h 1317836"/>
                    <a:gd name="connsiteX1271" fmla="*/ 562910 w 847637"/>
                    <a:gd name="connsiteY1271" fmla="*/ 857279 h 1317836"/>
                    <a:gd name="connsiteX1272" fmla="*/ 561793 w 847637"/>
                    <a:gd name="connsiteY1272" fmla="*/ 856988 h 1317836"/>
                    <a:gd name="connsiteX1273" fmla="*/ 556462 w 847637"/>
                    <a:gd name="connsiteY1273" fmla="*/ 855944 h 1317836"/>
                    <a:gd name="connsiteX1274" fmla="*/ 553074 w 847637"/>
                    <a:gd name="connsiteY1274" fmla="*/ 854802 h 1317836"/>
                    <a:gd name="connsiteX1275" fmla="*/ 549674 w 847637"/>
                    <a:gd name="connsiteY1275" fmla="*/ 853236 h 1317836"/>
                    <a:gd name="connsiteX1276" fmla="*/ 548254 w 847637"/>
                    <a:gd name="connsiteY1276" fmla="*/ 852131 h 1317836"/>
                    <a:gd name="connsiteX1277" fmla="*/ 546881 w 847637"/>
                    <a:gd name="connsiteY1277" fmla="*/ 850686 h 1317836"/>
                    <a:gd name="connsiteX1278" fmla="*/ 545910 w 847637"/>
                    <a:gd name="connsiteY1278" fmla="*/ 849095 h 1317836"/>
                    <a:gd name="connsiteX1279" fmla="*/ 544951 w 847637"/>
                    <a:gd name="connsiteY1279" fmla="*/ 846654 h 1317836"/>
                    <a:gd name="connsiteX1280" fmla="*/ 543724 w 847637"/>
                    <a:gd name="connsiteY1280" fmla="*/ 842101 h 1317836"/>
                    <a:gd name="connsiteX1281" fmla="*/ 542364 w 847637"/>
                    <a:gd name="connsiteY1281" fmla="*/ 832338 h 1317836"/>
                    <a:gd name="connsiteX1282" fmla="*/ 539110 w 847637"/>
                    <a:gd name="connsiteY1282" fmla="*/ 831791 h 1317836"/>
                    <a:gd name="connsiteX1283" fmla="*/ 537969 w 847637"/>
                    <a:gd name="connsiteY1283" fmla="*/ 830990 h 1317836"/>
                    <a:gd name="connsiteX1284" fmla="*/ 535625 w 847637"/>
                    <a:gd name="connsiteY1284" fmla="*/ 828950 h 1317836"/>
                    <a:gd name="connsiteX1285" fmla="*/ 535103 w 847637"/>
                    <a:gd name="connsiteY1285" fmla="*/ 828998 h 1317836"/>
                    <a:gd name="connsiteX1286" fmla="*/ 535079 w 847637"/>
                    <a:gd name="connsiteY1286" fmla="*/ 829351 h 1317836"/>
                    <a:gd name="connsiteX1287" fmla="*/ 533731 w 847637"/>
                    <a:gd name="connsiteY1287" fmla="*/ 831476 h 1317836"/>
                    <a:gd name="connsiteX1288" fmla="*/ 532626 w 847637"/>
                    <a:gd name="connsiteY1288" fmla="*/ 832071 h 1317836"/>
                    <a:gd name="connsiteX1289" fmla="*/ 531472 w 847637"/>
                    <a:gd name="connsiteY1289" fmla="*/ 832520 h 1317836"/>
                    <a:gd name="connsiteX1290" fmla="*/ 528995 w 847637"/>
                    <a:gd name="connsiteY1290" fmla="*/ 832981 h 1317836"/>
                    <a:gd name="connsiteX1291" fmla="*/ 528728 w 847637"/>
                    <a:gd name="connsiteY1291" fmla="*/ 833309 h 1317836"/>
                    <a:gd name="connsiteX1292" fmla="*/ 529128 w 847637"/>
                    <a:gd name="connsiteY1292" fmla="*/ 834001 h 1317836"/>
                    <a:gd name="connsiteX1293" fmla="*/ 539863 w 847637"/>
                    <a:gd name="connsiteY1293" fmla="*/ 844311 h 1317836"/>
                    <a:gd name="connsiteX1294" fmla="*/ 541830 w 847637"/>
                    <a:gd name="connsiteY1294" fmla="*/ 847334 h 1317836"/>
                    <a:gd name="connsiteX1295" fmla="*/ 542801 w 847637"/>
                    <a:gd name="connsiteY1295" fmla="*/ 850212 h 1317836"/>
                    <a:gd name="connsiteX1296" fmla="*/ 541794 w 847637"/>
                    <a:gd name="connsiteY1296" fmla="*/ 852665 h 1317836"/>
                    <a:gd name="connsiteX1297" fmla="*/ 541053 w 847637"/>
                    <a:gd name="connsiteY1297" fmla="*/ 853806 h 1317836"/>
                    <a:gd name="connsiteX1298" fmla="*/ 540737 w 847637"/>
                    <a:gd name="connsiteY1298" fmla="*/ 854948 h 1317836"/>
                    <a:gd name="connsiteX1299" fmla="*/ 540664 w 847637"/>
                    <a:gd name="connsiteY1299" fmla="*/ 857850 h 1317836"/>
                    <a:gd name="connsiteX1300" fmla="*/ 541211 w 847637"/>
                    <a:gd name="connsiteY1300" fmla="*/ 858736 h 1317836"/>
                    <a:gd name="connsiteX1301" fmla="*/ 541842 w 847637"/>
                    <a:gd name="connsiteY1301" fmla="*/ 859319 h 1317836"/>
                    <a:gd name="connsiteX1302" fmla="*/ 542134 w 847637"/>
                    <a:gd name="connsiteY1302" fmla="*/ 859307 h 1317836"/>
                    <a:gd name="connsiteX1303" fmla="*/ 543360 w 847637"/>
                    <a:gd name="connsiteY1303" fmla="*/ 860388 h 1317836"/>
                    <a:gd name="connsiteX1304" fmla="*/ 545655 w 847637"/>
                    <a:gd name="connsiteY1304" fmla="*/ 863424 h 1317836"/>
                    <a:gd name="connsiteX1305" fmla="*/ 548484 w 847637"/>
                    <a:gd name="connsiteY1305" fmla="*/ 868354 h 1317836"/>
                    <a:gd name="connsiteX1306" fmla="*/ 549359 w 847637"/>
                    <a:gd name="connsiteY1306" fmla="*/ 869556 h 1317836"/>
                    <a:gd name="connsiteX1307" fmla="*/ 552637 w 847637"/>
                    <a:gd name="connsiteY1307" fmla="*/ 872956 h 1317836"/>
                    <a:gd name="connsiteX1308" fmla="*/ 553803 w 847637"/>
                    <a:gd name="connsiteY1308" fmla="*/ 874583 h 1317836"/>
                    <a:gd name="connsiteX1309" fmla="*/ 555236 w 847637"/>
                    <a:gd name="connsiteY1309" fmla="*/ 877473 h 1317836"/>
                    <a:gd name="connsiteX1310" fmla="*/ 555333 w 847637"/>
                    <a:gd name="connsiteY1310" fmla="*/ 880740 h 1317836"/>
                    <a:gd name="connsiteX1311" fmla="*/ 553949 w 847637"/>
                    <a:gd name="connsiteY1311" fmla="*/ 883095 h 1317836"/>
                    <a:gd name="connsiteX1312" fmla="*/ 552819 w 847637"/>
                    <a:gd name="connsiteY1312" fmla="*/ 884224 h 1317836"/>
                    <a:gd name="connsiteX1313" fmla="*/ 551581 w 847637"/>
                    <a:gd name="connsiteY1313" fmla="*/ 885329 h 1317836"/>
                    <a:gd name="connsiteX1314" fmla="*/ 550804 w 847637"/>
                    <a:gd name="connsiteY1314" fmla="*/ 886860 h 1317836"/>
                    <a:gd name="connsiteX1315" fmla="*/ 550609 w 847637"/>
                    <a:gd name="connsiteY1315" fmla="*/ 887734 h 1317836"/>
                    <a:gd name="connsiteX1316" fmla="*/ 549881 w 847637"/>
                    <a:gd name="connsiteY1316" fmla="*/ 889422 h 1317836"/>
                    <a:gd name="connsiteX1317" fmla="*/ 548630 w 847637"/>
                    <a:gd name="connsiteY1317" fmla="*/ 891231 h 1317836"/>
                    <a:gd name="connsiteX1318" fmla="*/ 545789 w 847637"/>
                    <a:gd name="connsiteY1318" fmla="*/ 894340 h 1317836"/>
                    <a:gd name="connsiteX1319" fmla="*/ 545242 w 847637"/>
                    <a:gd name="connsiteY1319" fmla="*/ 895032 h 1317836"/>
                    <a:gd name="connsiteX1320" fmla="*/ 544769 w 847637"/>
                    <a:gd name="connsiteY1320" fmla="*/ 896878 h 1317836"/>
                    <a:gd name="connsiteX1321" fmla="*/ 544866 w 847637"/>
                    <a:gd name="connsiteY1321" fmla="*/ 898614 h 1317836"/>
                    <a:gd name="connsiteX1322" fmla="*/ 545582 w 847637"/>
                    <a:gd name="connsiteY1322" fmla="*/ 903070 h 1317836"/>
                    <a:gd name="connsiteX1323" fmla="*/ 545740 w 847637"/>
                    <a:gd name="connsiteY1323" fmla="*/ 903568 h 1317836"/>
                    <a:gd name="connsiteX1324" fmla="*/ 546092 w 847637"/>
                    <a:gd name="connsiteY1324" fmla="*/ 902876 h 1317836"/>
                    <a:gd name="connsiteX1325" fmla="*/ 547197 w 847637"/>
                    <a:gd name="connsiteY1325" fmla="*/ 901528 h 1317836"/>
                    <a:gd name="connsiteX1326" fmla="*/ 548424 w 847637"/>
                    <a:gd name="connsiteY1326" fmla="*/ 900739 h 1317836"/>
                    <a:gd name="connsiteX1327" fmla="*/ 550148 w 847637"/>
                    <a:gd name="connsiteY1327" fmla="*/ 900969 h 1317836"/>
                    <a:gd name="connsiteX1328" fmla="*/ 551399 w 847637"/>
                    <a:gd name="connsiteY1328" fmla="*/ 901443 h 1317836"/>
                    <a:gd name="connsiteX1329" fmla="*/ 553621 w 847637"/>
                    <a:gd name="connsiteY1329" fmla="*/ 902973 h 1317836"/>
                    <a:gd name="connsiteX1330" fmla="*/ 554507 w 847637"/>
                    <a:gd name="connsiteY1330" fmla="*/ 903835 h 1317836"/>
                    <a:gd name="connsiteX1331" fmla="*/ 556924 w 847637"/>
                    <a:gd name="connsiteY1331" fmla="*/ 906604 h 1317836"/>
                    <a:gd name="connsiteX1332" fmla="*/ 557507 w 847637"/>
                    <a:gd name="connsiteY1332" fmla="*/ 907138 h 1317836"/>
                    <a:gd name="connsiteX1333" fmla="*/ 557895 w 847637"/>
                    <a:gd name="connsiteY1333" fmla="*/ 905718 h 1317836"/>
                    <a:gd name="connsiteX1334" fmla="*/ 559304 w 847637"/>
                    <a:gd name="connsiteY1334" fmla="*/ 903520 h 1317836"/>
                    <a:gd name="connsiteX1335" fmla="*/ 561052 w 847637"/>
                    <a:gd name="connsiteY1335" fmla="*/ 902998 h 1317836"/>
                    <a:gd name="connsiteX1336" fmla="*/ 562789 w 847637"/>
                    <a:gd name="connsiteY1336" fmla="*/ 902815 h 1317836"/>
                    <a:gd name="connsiteX1337" fmla="*/ 564100 w 847637"/>
                    <a:gd name="connsiteY1337" fmla="*/ 903034 h 1317836"/>
                    <a:gd name="connsiteX1338" fmla="*/ 567731 w 847637"/>
                    <a:gd name="connsiteY1338" fmla="*/ 904017 h 1317836"/>
                    <a:gd name="connsiteX1339" fmla="*/ 569370 w 847637"/>
                    <a:gd name="connsiteY1339" fmla="*/ 904309 h 1317836"/>
                    <a:gd name="connsiteX1340" fmla="*/ 571009 w 847637"/>
                    <a:gd name="connsiteY1340" fmla="*/ 904333 h 1317836"/>
                    <a:gd name="connsiteX1341" fmla="*/ 571957 w 847637"/>
                    <a:gd name="connsiteY1341" fmla="*/ 904115 h 1317836"/>
                    <a:gd name="connsiteX1342" fmla="*/ 572248 w 847637"/>
                    <a:gd name="connsiteY1342" fmla="*/ 903653 h 1317836"/>
                    <a:gd name="connsiteX1343" fmla="*/ 572272 w 847637"/>
                    <a:gd name="connsiteY1343" fmla="*/ 902815 h 1317836"/>
                    <a:gd name="connsiteX1344" fmla="*/ 571447 w 847637"/>
                    <a:gd name="connsiteY1344" fmla="*/ 900872 h 1317836"/>
                    <a:gd name="connsiteX1345" fmla="*/ 571107 w 847637"/>
                    <a:gd name="connsiteY1345" fmla="*/ 898881 h 1317836"/>
                    <a:gd name="connsiteX1346" fmla="*/ 571119 w 847637"/>
                    <a:gd name="connsiteY1346" fmla="*/ 896562 h 1317836"/>
                    <a:gd name="connsiteX1347" fmla="*/ 570961 w 847637"/>
                    <a:gd name="connsiteY1347" fmla="*/ 894947 h 1317836"/>
                    <a:gd name="connsiteX1348" fmla="*/ 570317 w 847637"/>
                    <a:gd name="connsiteY1348" fmla="*/ 894449 h 1317836"/>
                    <a:gd name="connsiteX1349" fmla="*/ 569710 w 847637"/>
                    <a:gd name="connsiteY1349" fmla="*/ 894291 h 1317836"/>
                    <a:gd name="connsiteX1350" fmla="*/ 567342 w 847637"/>
                    <a:gd name="connsiteY1350" fmla="*/ 892652 h 1317836"/>
                    <a:gd name="connsiteX1351" fmla="*/ 565824 w 847637"/>
                    <a:gd name="connsiteY1351" fmla="*/ 890393 h 1317836"/>
                    <a:gd name="connsiteX1352" fmla="*/ 566104 w 847637"/>
                    <a:gd name="connsiteY1352" fmla="*/ 888341 h 1317836"/>
                    <a:gd name="connsiteX1353" fmla="*/ 566820 w 847637"/>
                    <a:gd name="connsiteY1353" fmla="*/ 886799 h 1317836"/>
                    <a:gd name="connsiteX1354" fmla="*/ 567355 w 847637"/>
                    <a:gd name="connsiteY1354" fmla="*/ 886192 h 1317836"/>
                    <a:gd name="connsiteX1355" fmla="*/ 568715 w 847637"/>
                    <a:gd name="connsiteY1355" fmla="*/ 885257 h 1317836"/>
                    <a:gd name="connsiteX1356" fmla="*/ 571872 w 847637"/>
                    <a:gd name="connsiteY1356" fmla="*/ 884188 h 1317836"/>
                    <a:gd name="connsiteX1357" fmla="*/ 572685 w 847637"/>
                    <a:gd name="connsiteY1357" fmla="*/ 884880 h 1317836"/>
                    <a:gd name="connsiteX1358" fmla="*/ 574276 w 847637"/>
                    <a:gd name="connsiteY1358" fmla="*/ 884346 h 1317836"/>
                    <a:gd name="connsiteX1359" fmla="*/ 571180 w 847637"/>
                    <a:gd name="connsiteY1359" fmla="*/ 883605 h 1317836"/>
                    <a:gd name="connsiteX1360" fmla="*/ 571447 w 847637"/>
                    <a:gd name="connsiteY1360" fmla="*/ 881735 h 1317836"/>
                    <a:gd name="connsiteX1361" fmla="*/ 571835 w 847637"/>
                    <a:gd name="connsiteY1361" fmla="*/ 880460 h 1317836"/>
                    <a:gd name="connsiteX1362" fmla="*/ 572369 w 847637"/>
                    <a:gd name="connsiteY1362" fmla="*/ 879246 h 1317836"/>
                    <a:gd name="connsiteX1363" fmla="*/ 572685 w 847637"/>
                    <a:gd name="connsiteY1363" fmla="*/ 878712 h 1317836"/>
                    <a:gd name="connsiteX1364" fmla="*/ 573815 w 847637"/>
                    <a:gd name="connsiteY1364" fmla="*/ 877327 h 1317836"/>
                    <a:gd name="connsiteX1365" fmla="*/ 575211 w 847637"/>
                    <a:gd name="connsiteY1365" fmla="*/ 876416 h 1317836"/>
                    <a:gd name="connsiteX1366" fmla="*/ 576437 w 847637"/>
                    <a:gd name="connsiteY1366" fmla="*/ 875931 h 1317836"/>
                    <a:gd name="connsiteX1367" fmla="*/ 578538 w 847637"/>
                    <a:gd name="connsiteY1367" fmla="*/ 876113 h 1317836"/>
                    <a:gd name="connsiteX1368" fmla="*/ 579376 w 847637"/>
                    <a:gd name="connsiteY1368" fmla="*/ 876502 h 1317836"/>
                    <a:gd name="connsiteX1369" fmla="*/ 580955 w 847637"/>
                    <a:gd name="connsiteY1369" fmla="*/ 877801 h 1317836"/>
                    <a:gd name="connsiteX1370" fmla="*/ 581283 w 847637"/>
                    <a:gd name="connsiteY1370" fmla="*/ 878359 h 1317836"/>
                    <a:gd name="connsiteX1371" fmla="*/ 581877 w 847637"/>
                    <a:gd name="connsiteY1371" fmla="*/ 879841 h 1317836"/>
                    <a:gd name="connsiteX1372" fmla="*/ 582035 w 847637"/>
                    <a:gd name="connsiteY1372" fmla="*/ 881092 h 1317836"/>
                    <a:gd name="connsiteX1373" fmla="*/ 582812 w 847637"/>
                    <a:gd name="connsiteY1373" fmla="*/ 880569 h 1317836"/>
                    <a:gd name="connsiteX1374" fmla="*/ 585132 w 847637"/>
                    <a:gd name="connsiteY1374" fmla="*/ 879464 h 1317836"/>
                    <a:gd name="connsiteX1375" fmla="*/ 588083 w 847637"/>
                    <a:gd name="connsiteY1375" fmla="*/ 879416 h 1317836"/>
                    <a:gd name="connsiteX1376" fmla="*/ 590560 w 847637"/>
                    <a:gd name="connsiteY1376" fmla="*/ 880934 h 1317836"/>
                    <a:gd name="connsiteX1377" fmla="*/ 593365 w 847637"/>
                    <a:gd name="connsiteY1377" fmla="*/ 884224 h 1317836"/>
                    <a:gd name="connsiteX1378" fmla="*/ 594275 w 847637"/>
                    <a:gd name="connsiteY1378" fmla="*/ 884431 h 1317836"/>
                    <a:gd name="connsiteX1379" fmla="*/ 596777 w 847637"/>
                    <a:gd name="connsiteY1379" fmla="*/ 883897 h 1317836"/>
                    <a:gd name="connsiteX1380" fmla="*/ 599436 w 847637"/>
                    <a:gd name="connsiteY1380" fmla="*/ 884285 h 1317836"/>
                    <a:gd name="connsiteX1381" fmla="*/ 602144 w 847637"/>
                    <a:gd name="connsiteY1381" fmla="*/ 885609 h 1317836"/>
                    <a:gd name="connsiteX1382" fmla="*/ 604900 w 847637"/>
                    <a:gd name="connsiteY1382" fmla="*/ 887515 h 1317836"/>
                    <a:gd name="connsiteX1383" fmla="*/ 606200 w 847637"/>
                    <a:gd name="connsiteY1383" fmla="*/ 887916 h 1317836"/>
                    <a:gd name="connsiteX1384" fmla="*/ 607159 w 847637"/>
                    <a:gd name="connsiteY1384" fmla="*/ 887807 h 1317836"/>
                    <a:gd name="connsiteX1385" fmla="*/ 607839 w 847637"/>
                    <a:gd name="connsiteY1385" fmla="*/ 887552 h 1317836"/>
                    <a:gd name="connsiteX1386" fmla="*/ 609575 w 847637"/>
                    <a:gd name="connsiteY1386" fmla="*/ 887382 h 1317836"/>
                    <a:gd name="connsiteX1387" fmla="*/ 613716 w 847637"/>
                    <a:gd name="connsiteY1387" fmla="*/ 888001 h 1317836"/>
                    <a:gd name="connsiteX1388" fmla="*/ 616886 w 847637"/>
                    <a:gd name="connsiteY1388" fmla="*/ 888827 h 1317836"/>
                    <a:gd name="connsiteX1389" fmla="*/ 623176 w 847637"/>
                    <a:gd name="connsiteY1389" fmla="*/ 887928 h 1317836"/>
                    <a:gd name="connsiteX1390" fmla="*/ 624475 w 847637"/>
                    <a:gd name="connsiteY1390" fmla="*/ 888851 h 1317836"/>
                    <a:gd name="connsiteX1391" fmla="*/ 625616 w 847637"/>
                    <a:gd name="connsiteY1391" fmla="*/ 889786 h 1317836"/>
                    <a:gd name="connsiteX1392" fmla="*/ 627243 w 847637"/>
                    <a:gd name="connsiteY1392" fmla="*/ 891693 h 1317836"/>
                    <a:gd name="connsiteX1393" fmla="*/ 627583 w 847637"/>
                    <a:gd name="connsiteY1393" fmla="*/ 894194 h 1317836"/>
                    <a:gd name="connsiteX1394" fmla="*/ 627911 w 847637"/>
                    <a:gd name="connsiteY1394" fmla="*/ 894777 h 1317836"/>
                    <a:gd name="connsiteX1395" fmla="*/ 628749 w 847637"/>
                    <a:gd name="connsiteY1395" fmla="*/ 895518 h 1317836"/>
                    <a:gd name="connsiteX1396" fmla="*/ 630279 w 847637"/>
                    <a:gd name="connsiteY1396" fmla="*/ 896198 h 1317836"/>
                    <a:gd name="connsiteX1397" fmla="*/ 632453 w 847637"/>
                    <a:gd name="connsiteY1397" fmla="*/ 898675 h 1317836"/>
                    <a:gd name="connsiteX1398" fmla="*/ 633558 w 847637"/>
                    <a:gd name="connsiteY1398" fmla="*/ 901577 h 1317836"/>
                    <a:gd name="connsiteX1399" fmla="*/ 634056 w 847637"/>
                    <a:gd name="connsiteY1399" fmla="*/ 904017 h 1317836"/>
                    <a:gd name="connsiteX1400" fmla="*/ 635428 w 847637"/>
                    <a:gd name="connsiteY1400" fmla="*/ 907830 h 1317836"/>
                    <a:gd name="connsiteX1401" fmla="*/ 635962 w 847637"/>
                    <a:gd name="connsiteY1401" fmla="*/ 910028 h 1317836"/>
                    <a:gd name="connsiteX1402" fmla="*/ 635999 w 847637"/>
                    <a:gd name="connsiteY1402" fmla="*/ 915529 h 1317836"/>
                    <a:gd name="connsiteX1403" fmla="*/ 637274 w 847637"/>
                    <a:gd name="connsiteY1403" fmla="*/ 915322 h 1317836"/>
                    <a:gd name="connsiteX1404" fmla="*/ 642119 w 847637"/>
                    <a:gd name="connsiteY1404" fmla="*/ 915699 h 1317836"/>
                    <a:gd name="connsiteX1405" fmla="*/ 646818 w 847637"/>
                    <a:gd name="connsiteY1405" fmla="*/ 912044 h 1317836"/>
                    <a:gd name="connsiteX1406" fmla="*/ 652416 w 847637"/>
                    <a:gd name="connsiteY1406" fmla="*/ 909336 h 1317836"/>
                    <a:gd name="connsiteX1407" fmla="*/ 655318 w 847637"/>
                    <a:gd name="connsiteY1407" fmla="*/ 908559 h 1317836"/>
                    <a:gd name="connsiteX1408" fmla="*/ 658342 w 847637"/>
                    <a:gd name="connsiteY1408" fmla="*/ 908741 h 1317836"/>
                    <a:gd name="connsiteX1409" fmla="*/ 658208 w 847637"/>
                    <a:gd name="connsiteY1409" fmla="*/ 907053 h 1317836"/>
                    <a:gd name="connsiteX1410" fmla="*/ 658912 w 847637"/>
                    <a:gd name="connsiteY1410" fmla="*/ 904783 h 1317836"/>
                    <a:gd name="connsiteX1411" fmla="*/ 660284 w 847637"/>
                    <a:gd name="connsiteY1411" fmla="*/ 903253 h 1317836"/>
                    <a:gd name="connsiteX1412" fmla="*/ 662118 w 847637"/>
                    <a:gd name="connsiteY1412" fmla="*/ 901953 h 1317836"/>
                    <a:gd name="connsiteX1413" fmla="*/ 664595 w 847637"/>
                    <a:gd name="connsiteY1413" fmla="*/ 901067 h 1317836"/>
                    <a:gd name="connsiteX1414" fmla="*/ 667133 w 847637"/>
                    <a:gd name="connsiteY1414" fmla="*/ 900520 h 1317836"/>
                    <a:gd name="connsiteX1415" fmla="*/ 671213 w 847637"/>
                    <a:gd name="connsiteY1415" fmla="*/ 900460 h 1317836"/>
                    <a:gd name="connsiteX1416" fmla="*/ 673897 w 847637"/>
                    <a:gd name="connsiteY1416" fmla="*/ 901868 h 1317836"/>
                    <a:gd name="connsiteX1417" fmla="*/ 674880 w 847637"/>
                    <a:gd name="connsiteY1417" fmla="*/ 903192 h 1317836"/>
                    <a:gd name="connsiteX1418" fmla="*/ 675390 w 847637"/>
                    <a:gd name="connsiteY1418" fmla="*/ 901273 h 1317836"/>
                    <a:gd name="connsiteX1419" fmla="*/ 676228 w 847637"/>
                    <a:gd name="connsiteY1419" fmla="*/ 899002 h 1317836"/>
                    <a:gd name="connsiteX1420" fmla="*/ 678183 w 847637"/>
                    <a:gd name="connsiteY1420" fmla="*/ 896525 h 1317836"/>
                    <a:gd name="connsiteX1421" fmla="*/ 680684 w 847637"/>
                    <a:gd name="connsiteY1421" fmla="*/ 894947 h 1317836"/>
                    <a:gd name="connsiteX1422" fmla="*/ 684485 w 847637"/>
                    <a:gd name="connsiteY1422" fmla="*/ 893842 h 1317836"/>
                    <a:gd name="connsiteX1423" fmla="*/ 685918 w 847637"/>
                    <a:gd name="connsiteY1423" fmla="*/ 893234 h 1317836"/>
                    <a:gd name="connsiteX1424" fmla="*/ 686695 w 847637"/>
                    <a:gd name="connsiteY1424" fmla="*/ 892761 h 1317836"/>
                    <a:gd name="connsiteX1425" fmla="*/ 688055 w 847637"/>
                    <a:gd name="connsiteY1425" fmla="*/ 891000 h 1317836"/>
                    <a:gd name="connsiteX1426" fmla="*/ 689986 w 847637"/>
                    <a:gd name="connsiteY1426" fmla="*/ 889300 h 1317836"/>
                    <a:gd name="connsiteX1427" fmla="*/ 694200 w 847637"/>
                    <a:gd name="connsiteY1427" fmla="*/ 886568 h 1317836"/>
                    <a:gd name="connsiteX1428" fmla="*/ 695487 w 847637"/>
                    <a:gd name="connsiteY1428" fmla="*/ 885500 h 1317836"/>
                    <a:gd name="connsiteX1429" fmla="*/ 695766 w 847637"/>
                    <a:gd name="connsiteY1429" fmla="*/ 885050 h 1317836"/>
                    <a:gd name="connsiteX1430" fmla="*/ 695742 w 847637"/>
                    <a:gd name="connsiteY1430" fmla="*/ 884759 h 1317836"/>
                    <a:gd name="connsiteX1431" fmla="*/ 695414 w 847637"/>
                    <a:gd name="connsiteY1431" fmla="*/ 884164 h 1317836"/>
                    <a:gd name="connsiteX1432" fmla="*/ 694783 w 847637"/>
                    <a:gd name="connsiteY1432" fmla="*/ 883702 h 1317836"/>
                    <a:gd name="connsiteX1433" fmla="*/ 693556 w 847637"/>
                    <a:gd name="connsiteY1433" fmla="*/ 882221 h 1317836"/>
                    <a:gd name="connsiteX1434" fmla="*/ 692512 w 847637"/>
                    <a:gd name="connsiteY1434" fmla="*/ 880205 h 1317836"/>
                    <a:gd name="connsiteX1435" fmla="*/ 692075 w 847637"/>
                    <a:gd name="connsiteY1435" fmla="*/ 877886 h 1317836"/>
                    <a:gd name="connsiteX1436" fmla="*/ 692415 w 847637"/>
                    <a:gd name="connsiteY1436" fmla="*/ 875567 h 1317836"/>
                    <a:gd name="connsiteX1437" fmla="*/ 693483 w 847637"/>
                    <a:gd name="connsiteY1437" fmla="*/ 873454 h 1317836"/>
                    <a:gd name="connsiteX1438" fmla="*/ 694880 w 847637"/>
                    <a:gd name="connsiteY1438" fmla="*/ 871826 h 1317836"/>
                    <a:gd name="connsiteX1439" fmla="*/ 698134 w 847637"/>
                    <a:gd name="connsiteY1439" fmla="*/ 869872 h 1317836"/>
                    <a:gd name="connsiteX1440" fmla="*/ 700478 w 847637"/>
                    <a:gd name="connsiteY1440" fmla="*/ 869993 h 1317836"/>
                    <a:gd name="connsiteX1441" fmla="*/ 704521 w 847637"/>
                    <a:gd name="connsiteY1441" fmla="*/ 871292 h 1317836"/>
                    <a:gd name="connsiteX1442" fmla="*/ 707593 w 847637"/>
                    <a:gd name="connsiteY1442" fmla="*/ 871171 h 1317836"/>
                    <a:gd name="connsiteX1443" fmla="*/ 709973 w 847637"/>
                    <a:gd name="connsiteY1443" fmla="*/ 871535 h 1317836"/>
                    <a:gd name="connsiteX1444" fmla="*/ 711795 w 847637"/>
                    <a:gd name="connsiteY1444" fmla="*/ 872822 h 1317836"/>
                    <a:gd name="connsiteX1445" fmla="*/ 712997 w 847637"/>
                    <a:gd name="connsiteY1445" fmla="*/ 873939 h 1317836"/>
                    <a:gd name="connsiteX1446" fmla="*/ 713932 w 847637"/>
                    <a:gd name="connsiteY1446" fmla="*/ 874437 h 1317836"/>
                    <a:gd name="connsiteX1447" fmla="*/ 714988 w 847637"/>
                    <a:gd name="connsiteY1447" fmla="*/ 874607 h 1317836"/>
                    <a:gd name="connsiteX1448" fmla="*/ 715960 w 847637"/>
                    <a:gd name="connsiteY1448" fmla="*/ 874328 h 1317836"/>
                    <a:gd name="connsiteX1449" fmla="*/ 716591 w 847637"/>
                    <a:gd name="connsiteY1449" fmla="*/ 873029 h 1317836"/>
                    <a:gd name="connsiteX1450" fmla="*/ 716980 w 847637"/>
                    <a:gd name="connsiteY1450" fmla="*/ 871924 h 1317836"/>
                    <a:gd name="connsiteX1451" fmla="*/ 718243 w 847637"/>
                    <a:gd name="connsiteY1451" fmla="*/ 869884 h 1317836"/>
                    <a:gd name="connsiteX1452" fmla="*/ 719663 w 847637"/>
                    <a:gd name="connsiteY1452" fmla="*/ 868402 h 1317836"/>
                    <a:gd name="connsiteX1453" fmla="*/ 722675 w 847637"/>
                    <a:gd name="connsiteY1453" fmla="*/ 866399 h 1317836"/>
                    <a:gd name="connsiteX1454" fmla="*/ 724691 w 847637"/>
                    <a:gd name="connsiteY1454" fmla="*/ 865646 h 1317836"/>
                    <a:gd name="connsiteX1455" fmla="*/ 726548 w 847637"/>
                    <a:gd name="connsiteY1455" fmla="*/ 865804 h 1317836"/>
                    <a:gd name="connsiteX1456" fmla="*/ 728333 w 847637"/>
                    <a:gd name="connsiteY1456" fmla="*/ 866751 h 1317836"/>
                    <a:gd name="connsiteX1457" fmla="*/ 728783 w 847637"/>
                    <a:gd name="connsiteY1457" fmla="*/ 867249 h 1317836"/>
                    <a:gd name="connsiteX1458" fmla="*/ 729451 w 847637"/>
                    <a:gd name="connsiteY1458" fmla="*/ 868390 h 1317836"/>
                    <a:gd name="connsiteX1459" fmla="*/ 729900 w 847637"/>
                    <a:gd name="connsiteY1459" fmla="*/ 869944 h 1317836"/>
                    <a:gd name="connsiteX1460" fmla="*/ 730131 w 847637"/>
                    <a:gd name="connsiteY1460" fmla="*/ 871487 h 1317836"/>
                    <a:gd name="connsiteX1461" fmla="*/ 729924 w 847637"/>
                    <a:gd name="connsiteY1461" fmla="*/ 877473 h 1317836"/>
                    <a:gd name="connsiteX1462" fmla="*/ 729511 w 847637"/>
                    <a:gd name="connsiteY1462" fmla="*/ 878748 h 1317836"/>
                    <a:gd name="connsiteX1463" fmla="*/ 728795 w 847637"/>
                    <a:gd name="connsiteY1463" fmla="*/ 880254 h 1317836"/>
                    <a:gd name="connsiteX1464" fmla="*/ 727666 w 847637"/>
                    <a:gd name="connsiteY1464" fmla="*/ 881638 h 1317836"/>
                    <a:gd name="connsiteX1465" fmla="*/ 723998 w 847637"/>
                    <a:gd name="connsiteY1465" fmla="*/ 884771 h 1317836"/>
                    <a:gd name="connsiteX1466" fmla="*/ 723755 w 847637"/>
                    <a:gd name="connsiteY1466" fmla="*/ 885536 h 1317836"/>
                    <a:gd name="connsiteX1467" fmla="*/ 724253 w 847637"/>
                    <a:gd name="connsiteY1467" fmla="*/ 888632 h 1317836"/>
                    <a:gd name="connsiteX1468" fmla="*/ 725528 w 847637"/>
                    <a:gd name="connsiteY1468" fmla="*/ 886872 h 1317836"/>
                    <a:gd name="connsiteX1469" fmla="*/ 729183 w 847637"/>
                    <a:gd name="connsiteY1469" fmla="*/ 884018 h 1317836"/>
                    <a:gd name="connsiteX1470" fmla="*/ 731940 w 847637"/>
                    <a:gd name="connsiteY1470" fmla="*/ 883423 h 1317836"/>
                    <a:gd name="connsiteX1471" fmla="*/ 734903 w 847637"/>
                    <a:gd name="connsiteY1471" fmla="*/ 883569 h 1317836"/>
                    <a:gd name="connsiteX1472" fmla="*/ 737404 w 847637"/>
                    <a:gd name="connsiteY1472" fmla="*/ 884346 h 1317836"/>
                    <a:gd name="connsiteX1473" fmla="*/ 744022 w 847637"/>
                    <a:gd name="connsiteY1473" fmla="*/ 880302 h 1317836"/>
                    <a:gd name="connsiteX1474" fmla="*/ 755254 w 847637"/>
                    <a:gd name="connsiteY1474" fmla="*/ 887054 h 1317836"/>
                    <a:gd name="connsiteX1475" fmla="*/ 757829 w 847637"/>
                    <a:gd name="connsiteY1475" fmla="*/ 893064 h 1317836"/>
                    <a:gd name="connsiteX1476" fmla="*/ 759019 w 847637"/>
                    <a:gd name="connsiteY1476" fmla="*/ 897545 h 1317836"/>
                    <a:gd name="connsiteX1477" fmla="*/ 759274 w 847637"/>
                    <a:gd name="connsiteY1477" fmla="*/ 900569 h 1317836"/>
                    <a:gd name="connsiteX1478" fmla="*/ 758909 w 847637"/>
                    <a:gd name="connsiteY1478" fmla="*/ 903544 h 1317836"/>
                    <a:gd name="connsiteX1479" fmla="*/ 756772 w 847637"/>
                    <a:gd name="connsiteY1479" fmla="*/ 908122 h 1317836"/>
                    <a:gd name="connsiteX1480" fmla="*/ 756505 w 847637"/>
                    <a:gd name="connsiteY1480" fmla="*/ 908899 h 1317836"/>
                    <a:gd name="connsiteX1481" fmla="*/ 756809 w 847637"/>
                    <a:gd name="connsiteY1481" fmla="*/ 909907 h 1317836"/>
                    <a:gd name="connsiteX1482" fmla="*/ 757695 w 847637"/>
                    <a:gd name="connsiteY1482" fmla="*/ 911413 h 1317836"/>
                    <a:gd name="connsiteX1483" fmla="*/ 759553 w 847637"/>
                    <a:gd name="connsiteY1483" fmla="*/ 914084 h 1317836"/>
                    <a:gd name="connsiteX1484" fmla="*/ 760743 w 847637"/>
                    <a:gd name="connsiteY1484" fmla="*/ 917035 h 1317836"/>
                    <a:gd name="connsiteX1485" fmla="*/ 760512 w 847637"/>
                    <a:gd name="connsiteY1485" fmla="*/ 920447 h 1317836"/>
                    <a:gd name="connsiteX1486" fmla="*/ 758436 w 847637"/>
                    <a:gd name="connsiteY1486" fmla="*/ 922110 h 1317836"/>
                    <a:gd name="connsiteX1487" fmla="*/ 756262 w 847637"/>
                    <a:gd name="connsiteY1487" fmla="*/ 923033 h 1317836"/>
                    <a:gd name="connsiteX1488" fmla="*/ 753627 w 847637"/>
                    <a:gd name="connsiteY1488" fmla="*/ 923130 h 1317836"/>
                    <a:gd name="connsiteX1489" fmla="*/ 751818 w 847637"/>
                    <a:gd name="connsiteY1489" fmla="*/ 922730 h 1317836"/>
                    <a:gd name="connsiteX1490" fmla="*/ 752085 w 847637"/>
                    <a:gd name="connsiteY1490" fmla="*/ 923556 h 1317836"/>
                    <a:gd name="connsiteX1491" fmla="*/ 752959 w 847637"/>
                    <a:gd name="connsiteY1491" fmla="*/ 924928 h 1317836"/>
                    <a:gd name="connsiteX1492" fmla="*/ 753069 w 847637"/>
                    <a:gd name="connsiteY1492" fmla="*/ 924940 h 1317836"/>
                    <a:gd name="connsiteX1493" fmla="*/ 755631 w 847637"/>
                    <a:gd name="connsiteY1493" fmla="*/ 923847 h 1317836"/>
                    <a:gd name="connsiteX1494" fmla="*/ 757889 w 847637"/>
                    <a:gd name="connsiteY1494" fmla="*/ 923325 h 1317836"/>
                    <a:gd name="connsiteX1495" fmla="*/ 760245 w 847637"/>
                    <a:gd name="connsiteY1495" fmla="*/ 923385 h 1317836"/>
                    <a:gd name="connsiteX1496" fmla="*/ 762771 w 847637"/>
                    <a:gd name="connsiteY1496" fmla="*/ 924223 h 1317836"/>
                    <a:gd name="connsiteX1497" fmla="*/ 764726 w 847637"/>
                    <a:gd name="connsiteY1497" fmla="*/ 925474 h 1317836"/>
                    <a:gd name="connsiteX1498" fmla="*/ 771805 w 847637"/>
                    <a:gd name="connsiteY1498" fmla="*/ 933488 h 1317836"/>
                    <a:gd name="connsiteX1499" fmla="*/ 773129 w 847637"/>
                    <a:gd name="connsiteY1499" fmla="*/ 934788 h 1317836"/>
                    <a:gd name="connsiteX1500" fmla="*/ 774137 w 847637"/>
                    <a:gd name="connsiteY1500" fmla="*/ 935407 h 1317836"/>
                    <a:gd name="connsiteX1501" fmla="*/ 776347 w 847637"/>
                    <a:gd name="connsiteY1501" fmla="*/ 935492 h 1317836"/>
                    <a:gd name="connsiteX1502" fmla="*/ 778508 w 847637"/>
                    <a:gd name="connsiteY1502" fmla="*/ 936002 h 1317836"/>
                    <a:gd name="connsiteX1503" fmla="*/ 782357 w 847637"/>
                    <a:gd name="connsiteY1503" fmla="*/ 937362 h 1317836"/>
                    <a:gd name="connsiteX1504" fmla="*/ 785988 w 847637"/>
                    <a:gd name="connsiteY1504" fmla="*/ 937945 h 1317836"/>
                    <a:gd name="connsiteX1505" fmla="*/ 787470 w 847637"/>
                    <a:gd name="connsiteY1505" fmla="*/ 937993 h 1317836"/>
                    <a:gd name="connsiteX1506" fmla="*/ 788623 w 847637"/>
                    <a:gd name="connsiteY1506" fmla="*/ 937848 h 1317836"/>
                    <a:gd name="connsiteX1507" fmla="*/ 789242 w 847637"/>
                    <a:gd name="connsiteY1507" fmla="*/ 937556 h 1317836"/>
                    <a:gd name="connsiteX1508" fmla="*/ 791246 w 847637"/>
                    <a:gd name="connsiteY1508" fmla="*/ 936136 h 1317836"/>
                    <a:gd name="connsiteX1509" fmla="*/ 793152 w 847637"/>
                    <a:gd name="connsiteY1509" fmla="*/ 935286 h 1317836"/>
                    <a:gd name="connsiteX1510" fmla="*/ 794391 w 847637"/>
                    <a:gd name="connsiteY1510" fmla="*/ 935286 h 1317836"/>
                    <a:gd name="connsiteX1511" fmla="*/ 796091 w 847637"/>
                    <a:gd name="connsiteY1511" fmla="*/ 935516 h 1317836"/>
                    <a:gd name="connsiteX1512" fmla="*/ 797293 w 847637"/>
                    <a:gd name="connsiteY1512" fmla="*/ 936002 h 1317836"/>
                    <a:gd name="connsiteX1513" fmla="*/ 800050 w 847637"/>
                    <a:gd name="connsiteY1513" fmla="*/ 937678 h 1317836"/>
                    <a:gd name="connsiteX1514" fmla="*/ 802867 w 847637"/>
                    <a:gd name="connsiteY1514" fmla="*/ 936864 h 1317836"/>
                    <a:gd name="connsiteX1515" fmla="*/ 804846 w 847637"/>
                    <a:gd name="connsiteY1515" fmla="*/ 936621 h 1317836"/>
                    <a:gd name="connsiteX1516" fmla="*/ 808525 w 847637"/>
                    <a:gd name="connsiteY1516" fmla="*/ 937107 h 1317836"/>
                    <a:gd name="connsiteX1517" fmla="*/ 810638 w 847637"/>
                    <a:gd name="connsiteY1517" fmla="*/ 939378 h 1317836"/>
                    <a:gd name="connsiteX1518" fmla="*/ 811270 w 847637"/>
                    <a:gd name="connsiteY1518" fmla="*/ 942134 h 1317836"/>
                    <a:gd name="connsiteX1519" fmla="*/ 810699 w 847637"/>
                    <a:gd name="connsiteY1519" fmla="*/ 944417 h 1317836"/>
                    <a:gd name="connsiteX1520" fmla="*/ 809278 w 847637"/>
                    <a:gd name="connsiteY1520" fmla="*/ 948424 h 1317836"/>
                    <a:gd name="connsiteX1521" fmla="*/ 809011 w 847637"/>
                    <a:gd name="connsiteY1521" fmla="*/ 950076 h 1317836"/>
                    <a:gd name="connsiteX1522" fmla="*/ 808938 w 847637"/>
                    <a:gd name="connsiteY1522" fmla="*/ 952031 h 1317836"/>
                    <a:gd name="connsiteX1523" fmla="*/ 809788 w 847637"/>
                    <a:gd name="connsiteY1523" fmla="*/ 957277 h 1317836"/>
                    <a:gd name="connsiteX1524" fmla="*/ 809764 w 847637"/>
                    <a:gd name="connsiteY1524" fmla="*/ 958187 h 1317836"/>
                    <a:gd name="connsiteX1525" fmla="*/ 809424 w 847637"/>
                    <a:gd name="connsiteY1525" fmla="*/ 960227 h 1317836"/>
                    <a:gd name="connsiteX1526" fmla="*/ 808635 w 847637"/>
                    <a:gd name="connsiteY1526" fmla="*/ 962462 h 1317836"/>
                    <a:gd name="connsiteX1527" fmla="*/ 808367 w 847637"/>
                    <a:gd name="connsiteY1527" fmla="*/ 963894 h 1317836"/>
                    <a:gd name="connsiteX1528" fmla="*/ 808173 w 847637"/>
                    <a:gd name="connsiteY1528" fmla="*/ 965789 h 1317836"/>
                    <a:gd name="connsiteX1529" fmla="*/ 808732 w 847637"/>
                    <a:gd name="connsiteY1529" fmla="*/ 974033 h 1317836"/>
                    <a:gd name="connsiteX1530" fmla="*/ 808513 w 847637"/>
                    <a:gd name="connsiteY1530" fmla="*/ 975369 h 1317836"/>
                    <a:gd name="connsiteX1531" fmla="*/ 807505 w 847637"/>
                    <a:gd name="connsiteY1531" fmla="*/ 977604 h 1317836"/>
                    <a:gd name="connsiteX1532" fmla="*/ 806425 w 847637"/>
                    <a:gd name="connsiteY1532" fmla="*/ 979207 h 1317836"/>
                    <a:gd name="connsiteX1533" fmla="*/ 806473 w 847637"/>
                    <a:gd name="connsiteY1533" fmla="*/ 980020 h 1317836"/>
                    <a:gd name="connsiteX1534" fmla="*/ 806971 w 847637"/>
                    <a:gd name="connsiteY1534" fmla="*/ 981040 h 1317836"/>
                    <a:gd name="connsiteX1535" fmla="*/ 808525 w 847637"/>
                    <a:gd name="connsiteY1535" fmla="*/ 982449 h 1317836"/>
                    <a:gd name="connsiteX1536" fmla="*/ 810250 w 847637"/>
                    <a:gd name="connsiteY1536" fmla="*/ 984598 h 1317836"/>
                    <a:gd name="connsiteX1537" fmla="*/ 811464 w 847637"/>
                    <a:gd name="connsiteY1537" fmla="*/ 987172 h 1317836"/>
                    <a:gd name="connsiteX1538" fmla="*/ 811828 w 847637"/>
                    <a:gd name="connsiteY1538" fmla="*/ 988593 h 1317836"/>
                    <a:gd name="connsiteX1539" fmla="*/ 813237 w 847637"/>
                    <a:gd name="connsiteY1539" fmla="*/ 987792 h 1317836"/>
                    <a:gd name="connsiteX1540" fmla="*/ 815544 w 847637"/>
                    <a:gd name="connsiteY1540" fmla="*/ 987233 h 1317836"/>
                    <a:gd name="connsiteX1541" fmla="*/ 816394 w 847637"/>
                    <a:gd name="connsiteY1541" fmla="*/ 987124 h 1317836"/>
                    <a:gd name="connsiteX1542" fmla="*/ 817475 w 847637"/>
                    <a:gd name="connsiteY1542" fmla="*/ 987585 h 1317836"/>
                    <a:gd name="connsiteX1543" fmla="*/ 818701 w 847637"/>
                    <a:gd name="connsiteY1543" fmla="*/ 988205 h 1317836"/>
                    <a:gd name="connsiteX1544" fmla="*/ 820426 w 847637"/>
                    <a:gd name="connsiteY1544" fmla="*/ 989431 h 1317836"/>
                    <a:gd name="connsiteX1545" fmla="*/ 820729 w 847637"/>
                    <a:gd name="connsiteY1545" fmla="*/ 992673 h 1317836"/>
                    <a:gd name="connsiteX1546" fmla="*/ 821640 w 847637"/>
                    <a:gd name="connsiteY1546" fmla="*/ 989637 h 1317836"/>
                    <a:gd name="connsiteX1547" fmla="*/ 823995 w 847637"/>
                    <a:gd name="connsiteY1547" fmla="*/ 989467 h 1317836"/>
                    <a:gd name="connsiteX1548" fmla="*/ 826290 w 847637"/>
                    <a:gd name="connsiteY1548" fmla="*/ 990135 h 1317836"/>
                    <a:gd name="connsiteX1549" fmla="*/ 834596 w 847637"/>
                    <a:gd name="connsiteY1549" fmla="*/ 996486 h 1317836"/>
                    <a:gd name="connsiteX1550" fmla="*/ 834742 w 847637"/>
                    <a:gd name="connsiteY1550" fmla="*/ 999534 h 1317836"/>
                    <a:gd name="connsiteX1551" fmla="*/ 835859 w 847637"/>
                    <a:gd name="connsiteY1551" fmla="*/ 996462 h 1317836"/>
                    <a:gd name="connsiteX1552" fmla="*/ 836491 w 847637"/>
                    <a:gd name="connsiteY1552" fmla="*/ 996219 h 1317836"/>
                    <a:gd name="connsiteX1553" fmla="*/ 837341 w 847637"/>
                    <a:gd name="connsiteY1553" fmla="*/ 995478 h 1317836"/>
                    <a:gd name="connsiteX1554" fmla="*/ 841190 w 847637"/>
                    <a:gd name="connsiteY1554" fmla="*/ 991277 h 1317836"/>
                    <a:gd name="connsiteX1555" fmla="*/ 843886 w 847637"/>
                    <a:gd name="connsiteY1555" fmla="*/ 992892 h 1317836"/>
                    <a:gd name="connsiteX1556" fmla="*/ 845246 w 847637"/>
                    <a:gd name="connsiteY1556" fmla="*/ 994045 h 1317836"/>
                    <a:gd name="connsiteX1557" fmla="*/ 846205 w 847637"/>
                    <a:gd name="connsiteY1557" fmla="*/ 995599 h 1317836"/>
                    <a:gd name="connsiteX1558" fmla="*/ 846800 w 847637"/>
                    <a:gd name="connsiteY1558" fmla="*/ 997032 h 1317836"/>
                    <a:gd name="connsiteX1559" fmla="*/ 847456 w 847637"/>
                    <a:gd name="connsiteY1559" fmla="*/ 999582 h 1317836"/>
                    <a:gd name="connsiteX1560" fmla="*/ 847638 w 847637"/>
                    <a:gd name="connsiteY1560" fmla="*/ 1001853 h 1317836"/>
                    <a:gd name="connsiteX1561" fmla="*/ 847541 w 847637"/>
                    <a:gd name="connsiteY1561" fmla="*/ 1004015 h 1317836"/>
                    <a:gd name="connsiteX1562" fmla="*/ 846982 w 847637"/>
                    <a:gd name="connsiteY1562" fmla="*/ 1007500 h 1317836"/>
                    <a:gd name="connsiteX1563" fmla="*/ 846849 w 847637"/>
                    <a:gd name="connsiteY1563" fmla="*/ 1011531 h 1317836"/>
                    <a:gd name="connsiteX1564" fmla="*/ 846509 w 847637"/>
                    <a:gd name="connsiteY1564" fmla="*/ 1013304 h 1317836"/>
                    <a:gd name="connsiteX1565" fmla="*/ 845270 w 847637"/>
                    <a:gd name="connsiteY1565" fmla="*/ 1018161 h 1317836"/>
                    <a:gd name="connsiteX1566" fmla="*/ 844408 w 847637"/>
                    <a:gd name="connsiteY1566" fmla="*/ 1020480 h 1317836"/>
                    <a:gd name="connsiteX1567" fmla="*/ 842866 w 847637"/>
                    <a:gd name="connsiteY1567" fmla="*/ 1023043 h 1317836"/>
                    <a:gd name="connsiteX1568" fmla="*/ 839538 w 847637"/>
                    <a:gd name="connsiteY1568" fmla="*/ 1026697 h 1317836"/>
                    <a:gd name="connsiteX1569" fmla="*/ 838567 w 847637"/>
                    <a:gd name="connsiteY1569" fmla="*/ 1028057 h 1317836"/>
                    <a:gd name="connsiteX1570" fmla="*/ 838324 w 847637"/>
                    <a:gd name="connsiteY1570" fmla="*/ 1029308 h 1317836"/>
                    <a:gd name="connsiteX1571" fmla="*/ 838227 w 847637"/>
                    <a:gd name="connsiteY1571" fmla="*/ 1033121 h 1317836"/>
                    <a:gd name="connsiteX1572" fmla="*/ 837741 w 847637"/>
                    <a:gd name="connsiteY1572" fmla="*/ 1036218 h 1317836"/>
                    <a:gd name="connsiteX1573" fmla="*/ 836636 w 847637"/>
                    <a:gd name="connsiteY1573" fmla="*/ 1039144 h 1317836"/>
                    <a:gd name="connsiteX1574" fmla="*/ 834451 w 847637"/>
                    <a:gd name="connsiteY1574" fmla="*/ 1041949 h 1317836"/>
                    <a:gd name="connsiteX1575" fmla="*/ 832872 w 847637"/>
                    <a:gd name="connsiteY1575" fmla="*/ 1043285 h 1317836"/>
                    <a:gd name="connsiteX1576" fmla="*/ 828828 w 847637"/>
                    <a:gd name="connsiteY1576" fmla="*/ 1045422 h 1317836"/>
                    <a:gd name="connsiteX1577" fmla="*/ 827966 w 847637"/>
                    <a:gd name="connsiteY1577" fmla="*/ 1046041 h 1317836"/>
                    <a:gd name="connsiteX1578" fmla="*/ 826533 w 847637"/>
                    <a:gd name="connsiteY1578" fmla="*/ 1051906 h 1317836"/>
                    <a:gd name="connsiteX1579" fmla="*/ 825950 w 847637"/>
                    <a:gd name="connsiteY1579" fmla="*/ 1053776 h 1317836"/>
                    <a:gd name="connsiteX1580" fmla="*/ 825440 w 847637"/>
                    <a:gd name="connsiteY1580" fmla="*/ 1054748 h 1317836"/>
                    <a:gd name="connsiteX1581" fmla="*/ 823303 w 847637"/>
                    <a:gd name="connsiteY1581" fmla="*/ 1058172 h 1317836"/>
                    <a:gd name="connsiteX1582" fmla="*/ 818483 w 847637"/>
                    <a:gd name="connsiteY1582" fmla="*/ 1064244 h 1317836"/>
                    <a:gd name="connsiteX1583" fmla="*/ 820972 w 847637"/>
                    <a:gd name="connsiteY1583" fmla="*/ 1065397 h 1317836"/>
                    <a:gd name="connsiteX1584" fmla="*/ 823813 w 847637"/>
                    <a:gd name="connsiteY1584" fmla="*/ 1067364 h 1317836"/>
                    <a:gd name="connsiteX1585" fmla="*/ 827286 w 847637"/>
                    <a:gd name="connsiteY1585" fmla="*/ 1071966 h 1317836"/>
                    <a:gd name="connsiteX1586" fmla="*/ 828561 w 847637"/>
                    <a:gd name="connsiteY1586" fmla="*/ 1075014 h 1317836"/>
                    <a:gd name="connsiteX1587" fmla="*/ 828707 w 847637"/>
                    <a:gd name="connsiteY1587" fmla="*/ 1078026 h 1317836"/>
                    <a:gd name="connsiteX1588" fmla="*/ 828658 w 847637"/>
                    <a:gd name="connsiteY1588" fmla="*/ 1079544 h 1317836"/>
                    <a:gd name="connsiteX1589" fmla="*/ 825598 w 847637"/>
                    <a:gd name="connsiteY1589" fmla="*/ 1081717 h 1317836"/>
                    <a:gd name="connsiteX1590" fmla="*/ 822830 w 847637"/>
                    <a:gd name="connsiteY1590" fmla="*/ 1081851 h 1317836"/>
                    <a:gd name="connsiteX1591" fmla="*/ 819418 w 847637"/>
                    <a:gd name="connsiteY1591" fmla="*/ 1080867 h 1317836"/>
                    <a:gd name="connsiteX1592" fmla="*/ 807020 w 847637"/>
                    <a:gd name="connsiteY1592" fmla="*/ 1072149 h 1317836"/>
                    <a:gd name="connsiteX1593" fmla="*/ 806085 w 847637"/>
                    <a:gd name="connsiteY1593" fmla="*/ 1071760 h 1317836"/>
                    <a:gd name="connsiteX1594" fmla="*/ 805271 w 847637"/>
                    <a:gd name="connsiteY1594" fmla="*/ 1068494 h 1317836"/>
                    <a:gd name="connsiteX1595" fmla="*/ 804798 w 847637"/>
                    <a:gd name="connsiteY1595" fmla="*/ 1070813 h 1317836"/>
                    <a:gd name="connsiteX1596" fmla="*/ 805210 w 847637"/>
                    <a:gd name="connsiteY1596" fmla="*/ 1071141 h 1317836"/>
                    <a:gd name="connsiteX1597" fmla="*/ 804810 w 847637"/>
                    <a:gd name="connsiteY1597" fmla="*/ 1071663 h 1317836"/>
                    <a:gd name="connsiteX1598" fmla="*/ 804615 w 847637"/>
                    <a:gd name="connsiteY1598" fmla="*/ 1072440 h 1317836"/>
                    <a:gd name="connsiteX1599" fmla="*/ 804749 w 847637"/>
                    <a:gd name="connsiteY1599" fmla="*/ 1076277 h 1317836"/>
                    <a:gd name="connsiteX1600" fmla="*/ 804312 w 847637"/>
                    <a:gd name="connsiteY1600" fmla="*/ 1079046 h 1317836"/>
                    <a:gd name="connsiteX1601" fmla="*/ 802393 w 847637"/>
                    <a:gd name="connsiteY1601" fmla="*/ 1080758 h 1317836"/>
                    <a:gd name="connsiteX1602" fmla="*/ 800620 w 847637"/>
                    <a:gd name="connsiteY1602" fmla="*/ 1081851 h 1317836"/>
                    <a:gd name="connsiteX1603" fmla="*/ 798435 w 847637"/>
                    <a:gd name="connsiteY1603" fmla="*/ 1082713 h 1317836"/>
                    <a:gd name="connsiteX1604" fmla="*/ 796978 w 847637"/>
                    <a:gd name="connsiteY1604" fmla="*/ 1082919 h 1317836"/>
                    <a:gd name="connsiteX1605" fmla="*/ 795897 w 847637"/>
                    <a:gd name="connsiteY1605" fmla="*/ 1082932 h 1317836"/>
                    <a:gd name="connsiteX1606" fmla="*/ 794938 w 847637"/>
                    <a:gd name="connsiteY1606" fmla="*/ 1084000 h 1317836"/>
                    <a:gd name="connsiteX1607" fmla="*/ 793869 w 847637"/>
                    <a:gd name="connsiteY1607" fmla="*/ 1084789 h 1317836"/>
                    <a:gd name="connsiteX1608" fmla="*/ 792764 w 847637"/>
                    <a:gd name="connsiteY1608" fmla="*/ 1085275 h 1317836"/>
                    <a:gd name="connsiteX1609" fmla="*/ 790469 w 847637"/>
                    <a:gd name="connsiteY1609" fmla="*/ 1085457 h 1317836"/>
                    <a:gd name="connsiteX1610" fmla="*/ 789947 w 847637"/>
                    <a:gd name="connsiteY1610" fmla="*/ 1085263 h 1317836"/>
                    <a:gd name="connsiteX1611" fmla="*/ 788878 w 847637"/>
                    <a:gd name="connsiteY1611" fmla="*/ 1084656 h 1317836"/>
                    <a:gd name="connsiteX1612" fmla="*/ 787324 w 847637"/>
                    <a:gd name="connsiteY1612" fmla="*/ 1083308 h 1317836"/>
                    <a:gd name="connsiteX1613" fmla="*/ 786547 w 847637"/>
                    <a:gd name="connsiteY1613" fmla="*/ 1082932 h 1317836"/>
                    <a:gd name="connsiteX1614" fmla="*/ 786182 w 847637"/>
                    <a:gd name="connsiteY1614" fmla="*/ 1082846 h 1317836"/>
                    <a:gd name="connsiteX1615" fmla="*/ 786000 w 847637"/>
                    <a:gd name="connsiteY1615" fmla="*/ 1083442 h 1317836"/>
                    <a:gd name="connsiteX1616" fmla="*/ 786146 w 847637"/>
                    <a:gd name="connsiteY1616" fmla="*/ 1085421 h 1317836"/>
                    <a:gd name="connsiteX1617" fmla="*/ 787384 w 847637"/>
                    <a:gd name="connsiteY1617" fmla="*/ 1089756 h 1317836"/>
                    <a:gd name="connsiteX1618" fmla="*/ 787591 w 847637"/>
                    <a:gd name="connsiteY1618" fmla="*/ 1092269 h 1317836"/>
                    <a:gd name="connsiteX1619" fmla="*/ 786875 w 847637"/>
                    <a:gd name="connsiteY1619" fmla="*/ 1095245 h 1317836"/>
                    <a:gd name="connsiteX1620" fmla="*/ 785041 w 847637"/>
                    <a:gd name="connsiteY1620" fmla="*/ 1098304 h 1317836"/>
                    <a:gd name="connsiteX1621" fmla="*/ 782054 w 847637"/>
                    <a:gd name="connsiteY1621" fmla="*/ 1101899 h 1317836"/>
                    <a:gd name="connsiteX1622" fmla="*/ 767944 w 847637"/>
                    <a:gd name="connsiteY1622" fmla="*/ 1098535 h 1317836"/>
                    <a:gd name="connsiteX1623" fmla="*/ 761532 w 847637"/>
                    <a:gd name="connsiteY1623" fmla="*/ 1095378 h 1317836"/>
                    <a:gd name="connsiteX1624" fmla="*/ 752668 w 847637"/>
                    <a:gd name="connsiteY1624" fmla="*/ 1088238 h 1317836"/>
                    <a:gd name="connsiteX1625" fmla="*/ 746839 w 847637"/>
                    <a:gd name="connsiteY1625" fmla="*/ 1084692 h 1317836"/>
                    <a:gd name="connsiteX1626" fmla="*/ 745382 w 847637"/>
                    <a:gd name="connsiteY1626" fmla="*/ 1084352 h 1317836"/>
                    <a:gd name="connsiteX1627" fmla="*/ 745127 w 847637"/>
                    <a:gd name="connsiteY1627" fmla="*/ 1084389 h 1317836"/>
                    <a:gd name="connsiteX1628" fmla="*/ 742905 w 847637"/>
                    <a:gd name="connsiteY1628" fmla="*/ 1087412 h 1317836"/>
                    <a:gd name="connsiteX1629" fmla="*/ 742310 w 847637"/>
                    <a:gd name="connsiteY1629" fmla="*/ 1088347 h 1317836"/>
                    <a:gd name="connsiteX1630" fmla="*/ 742164 w 847637"/>
                    <a:gd name="connsiteY1630" fmla="*/ 1089549 h 1317836"/>
                    <a:gd name="connsiteX1631" fmla="*/ 741897 w 847637"/>
                    <a:gd name="connsiteY1631" fmla="*/ 1090485 h 1317836"/>
                    <a:gd name="connsiteX1632" fmla="*/ 739602 w 847637"/>
                    <a:gd name="connsiteY1632" fmla="*/ 1092330 h 1317836"/>
                    <a:gd name="connsiteX1633" fmla="*/ 735218 w 847637"/>
                    <a:gd name="connsiteY1633" fmla="*/ 1093192 h 1317836"/>
                    <a:gd name="connsiteX1634" fmla="*/ 732219 w 847637"/>
                    <a:gd name="connsiteY1634" fmla="*/ 1092002 h 1317836"/>
                    <a:gd name="connsiteX1635" fmla="*/ 729536 w 847637"/>
                    <a:gd name="connsiteY1635" fmla="*/ 1090144 h 1317836"/>
                    <a:gd name="connsiteX1636" fmla="*/ 725832 w 847637"/>
                    <a:gd name="connsiteY1636" fmla="*/ 1086077 h 1317836"/>
                    <a:gd name="connsiteX1637" fmla="*/ 724363 w 847637"/>
                    <a:gd name="connsiteY1637" fmla="*/ 1083891 h 1317836"/>
                    <a:gd name="connsiteX1638" fmla="*/ 723282 w 847637"/>
                    <a:gd name="connsiteY1638" fmla="*/ 1082580 h 1317836"/>
                    <a:gd name="connsiteX1639" fmla="*/ 722031 w 847637"/>
                    <a:gd name="connsiteY1639" fmla="*/ 1081462 h 1317836"/>
                    <a:gd name="connsiteX1640" fmla="*/ 720246 w 847637"/>
                    <a:gd name="connsiteY1640" fmla="*/ 1080382 h 1317836"/>
                    <a:gd name="connsiteX1641" fmla="*/ 719129 w 847637"/>
                    <a:gd name="connsiteY1641" fmla="*/ 1080126 h 1317836"/>
                    <a:gd name="connsiteX1642" fmla="*/ 717842 w 847637"/>
                    <a:gd name="connsiteY1642" fmla="*/ 1080005 h 1317836"/>
                    <a:gd name="connsiteX1643" fmla="*/ 709063 w 847637"/>
                    <a:gd name="connsiteY1643" fmla="*/ 1080272 h 1317836"/>
                    <a:gd name="connsiteX1644" fmla="*/ 703161 w 847637"/>
                    <a:gd name="connsiteY1644" fmla="*/ 1082385 h 1317836"/>
                    <a:gd name="connsiteX1645" fmla="*/ 701412 w 847637"/>
                    <a:gd name="connsiteY1645" fmla="*/ 1089513 h 1317836"/>
                    <a:gd name="connsiteX1646" fmla="*/ 699020 w 847637"/>
                    <a:gd name="connsiteY1646" fmla="*/ 1094492 h 1317836"/>
                    <a:gd name="connsiteX1647" fmla="*/ 695378 w 847637"/>
                    <a:gd name="connsiteY1647" fmla="*/ 1099701 h 1317836"/>
                    <a:gd name="connsiteX1648" fmla="*/ 695062 w 847637"/>
                    <a:gd name="connsiteY1648" fmla="*/ 1100709 h 1317836"/>
                    <a:gd name="connsiteX1649" fmla="*/ 696762 w 847637"/>
                    <a:gd name="connsiteY1649" fmla="*/ 1103744 h 1317836"/>
                    <a:gd name="connsiteX1650" fmla="*/ 697005 w 847637"/>
                    <a:gd name="connsiteY1650" fmla="*/ 1107570 h 1317836"/>
                    <a:gd name="connsiteX1651" fmla="*/ 694989 w 847637"/>
                    <a:gd name="connsiteY1651" fmla="*/ 1109476 h 1317836"/>
                    <a:gd name="connsiteX1652" fmla="*/ 693083 w 847637"/>
                    <a:gd name="connsiteY1652" fmla="*/ 1110630 h 1317836"/>
                    <a:gd name="connsiteX1653" fmla="*/ 691006 w 847637"/>
                    <a:gd name="connsiteY1653" fmla="*/ 1111443 h 1317836"/>
                    <a:gd name="connsiteX1654" fmla="*/ 683356 w 847637"/>
                    <a:gd name="connsiteY1654" fmla="*/ 1115936 h 1317836"/>
                    <a:gd name="connsiteX1655" fmla="*/ 680794 w 847637"/>
                    <a:gd name="connsiteY1655" fmla="*/ 1116956 h 1317836"/>
                    <a:gd name="connsiteX1656" fmla="*/ 678135 w 847637"/>
                    <a:gd name="connsiteY1656" fmla="*/ 1117466 h 1317836"/>
                    <a:gd name="connsiteX1657" fmla="*/ 675512 w 847637"/>
                    <a:gd name="connsiteY1657" fmla="*/ 1117284 h 1317836"/>
                    <a:gd name="connsiteX1658" fmla="*/ 671687 w 847637"/>
                    <a:gd name="connsiteY1658" fmla="*/ 1116385 h 1317836"/>
                    <a:gd name="connsiteX1659" fmla="*/ 670229 w 847637"/>
                    <a:gd name="connsiteY1659" fmla="*/ 1116349 h 1317836"/>
                    <a:gd name="connsiteX1660" fmla="*/ 669416 w 847637"/>
                    <a:gd name="connsiteY1660" fmla="*/ 1116507 h 1317836"/>
                    <a:gd name="connsiteX1661" fmla="*/ 666878 w 847637"/>
                    <a:gd name="connsiteY1661" fmla="*/ 1117491 h 1317836"/>
                    <a:gd name="connsiteX1662" fmla="*/ 662968 w 847637"/>
                    <a:gd name="connsiteY1662" fmla="*/ 1125675 h 1317836"/>
                    <a:gd name="connsiteX1663" fmla="*/ 660479 w 847637"/>
                    <a:gd name="connsiteY1663" fmla="*/ 1133385 h 1317836"/>
                    <a:gd name="connsiteX1664" fmla="*/ 660017 w 847637"/>
                    <a:gd name="connsiteY1664" fmla="*/ 1137065 h 1317836"/>
                    <a:gd name="connsiteX1665" fmla="*/ 660236 w 847637"/>
                    <a:gd name="connsiteY1665" fmla="*/ 1137951 h 1317836"/>
                    <a:gd name="connsiteX1666" fmla="*/ 660782 w 847637"/>
                    <a:gd name="connsiteY1666" fmla="*/ 1138607 h 1317836"/>
                    <a:gd name="connsiteX1667" fmla="*/ 662167 w 847637"/>
                    <a:gd name="connsiteY1667" fmla="*/ 1141752 h 1317836"/>
                    <a:gd name="connsiteX1668" fmla="*/ 662361 w 847637"/>
                    <a:gd name="connsiteY1668" fmla="*/ 1144350 h 1317836"/>
                    <a:gd name="connsiteX1669" fmla="*/ 661814 w 847637"/>
                    <a:gd name="connsiteY1669" fmla="*/ 1146208 h 1317836"/>
                    <a:gd name="connsiteX1670" fmla="*/ 662494 w 847637"/>
                    <a:gd name="connsiteY1670" fmla="*/ 1146002 h 1317836"/>
                    <a:gd name="connsiteX1671" fmla="*/ 665688 w 847637"/>
                    <a:gd name="connsiteY1671" fmla="*/ 1145844 h 1317836"/>
                    <a:gd name="connsiteX1672" fmla="*/ 667254 w 847637"/>
                    <a:gd name="connsiteY1672" fmla="*/ 1146913 h 1317836"/>
                    <a:gd name="connsiteX1673" fmla="*/ 668566 w 847637"/>
                    <a:gd name="connsiteY1673" fmla="*/ 1148443 h 1317836"/>
                    <a:gd name="connsiteX1674" fmla="*/ 669671 w 847637"/>
                    <a:gd name="connsiteY1674" fmla="*/ 1151211 h 1317836"/>
                    <a:gd name="connsiteX1675" fmla="*/ 669477 w 847637"/>
                    <a:gd name="connsiteY1675" fmla="*/ 1154551 h 1317836"/>
                    <a:gd name="connsiteX1676" fmla="*/ 666696 w 847637"/>
                    <a:gd name="connsiteY1676" fmla="*/ 1166633 h 1317836"/>
                    <a:gd name="connsiteX1677" fmla="*/ 665372 w 847637"/>
                    <a:gd name="connsiteY1677" fmla="*/ 1170094 h 1317836"/>
                    <a:gd name="connsiteX1678" fmla="*/ 663648 w 847637"/>
                    <a:gd name="connsiteY1678" fmla="*/ 1172850 h 1317836"/>
                    <a:gd name="connsiteX1679" fmla="*/ 659920 w 847637"/>
                    <a:gd name="connsiteY1679" fmla="*/ 1177088 h 1317836"/>
                    <a:gd name="connsiteX1680" fmla="*/ 658123 w 847637"/>
                    <a:gd name="connsiteY1680" fmla="*/ 1180124 h 1317836"/>
                    <a:gd name="connsiteX1681" fmla="*/ 651699 w 847637"/>
                    <a:gd name="connsiteY1681" fmla="*/ 1186656 h 1317836"/>
                    <a:gd name="connsiteX1682" fmla="*/ 643636 w 847637"/>
                    <a:gd name="connsiteY1682" fmla="*/ 1190907 h 1317836"/>
                    <a:gd name="connsiteX1683" fmla="*/ 642009 w 847637"/>
                    <a:gd name="connsiteY1683" fmla="*/ 1191975 h 1317836"/>
                    <a:gd name="connsiteX1684" fmla="*/ 640965 w 847637"/>
                    <a:gd name="connsiteY1684" fmla="*/ 1193141 h 1317836"/>
                    <a:gd name="connsiteX1685" fmla="*/ 640528 w 847637"/>
                    <a:gd name="connsiteY1685" fmla="*/ 1194088 h 1317836"/>
                    <a:gd name="connsiteX1686" fmla="*/ 642228 w 847637"/>
                    <a:gd name="connsiteY1686" fmla="*/ 1195169 h 1317836"/>
                    <a:gd name="connsiteX1687" fmla="*/ 643588 w 847637"/>
                    <a:gd name="connsiteY1687" fmla="*/ 1198775 h 1317836"/>
                    <a:gd name="connsiteX1688" fmla="*/ 643284 w 847637"/>
                    <a:gd name="connsiteY1688" fmla="*/ 1201131 h 1317836"/>
                    <a:gd name="connsiteX1689" fmla="*/ 675645 w 847637"/>
                    <a:gd name="connsiteY1689" fmla="*/ 1201349 h 1317836"/>
                    <a:gd name="connsiteX1690" fmla="*/ 681947 w 847637"/>
                    <a:gd name="connsiteY1690" fmla="*/ 1202527 h 1317836"/>
                    <a:gd name="connsiteX1691" fmla="*/ 688250 w 847637"/>
                    <a:gd name="connsiteY1691" fmla="*/ 1205624 h 1317836"/>
                    <a:gd name="connsiteX1692" fmla="*/ 689403 w 847637"/>
                    <a:gd name="connsiteY1692" fmla="*/ 1207142 h 1317836"/>
                    <a:gd name="connsiteX1693" fmla="*/ 690290 w 847637"/>
                    <a:gd name="connsiteY1693" fmla="*/ 1207591 h 1317836"/>
                    <a:gd name="connsiteX1694" fmla="*/ 690800 w 847637"/>
                    <a:gd name="connsiteY1694" fmla="*/ 1207943 h 1317836"/>
                    <a:gd name="connsiteX1695" fmla="*/ 696410 w 847637"/>
                    <a:gd name="connsiteY1695" fmla="*/ 1217026 h 1317836"/>
                    <a:gd name="connsiteX1696" fmla="*/ 697551 w 847637"/>
                    <a:gd name="connsiteY1696" fmla="*/ 1219770 h 1317836"/>
                    <a:gd name="connsiteX1697" fmla="*/ 697539 w 847637"/>
                    <a:gd name="connsiteY1697" fmla="*/ 1221483 h 1317836"/>
                    <a:gd name="connsiteX1698" fmla="*/ 697369 w 847637"/>
                    <a:gd name="connsiteY1698" fmla="*/ 1222927 h 1317836"/>
                    <a:gd name="connsiteX1699" fmla="*/ 696895 w 847637"/>
                    <a:gd name="connsiteY1699" fmla="*/ 1224955 h 1317836"/>
                    <a:gd name="connsiteX1700" fmla="*/ 696361 w 847637"/>
                    <a:gd name="connsiteY1700" fmla="*/ 1226243 h 1317836"/>
                    <a:gd name="connsiteX1701" fmla="*/ 695669 w 847637"/>
                    <a:gd name="connsiteY1701" fmla="*/ 1227505 h 1317836"/>
                    <a:gd name="connsiteX1702" fmla="*/ 694855 w 847637"/>
                    <a:gd name="connsiteY1702" fmla="*/ 1228611 h 1317836"/>
                    <a:gd name="connsiteX1703" fmla="*/ 690569 w 847637"/>
                    <a:gd name="connsiteY1703" fmla="*/ 1232824 h 1317836"/>
                    <a:gd name="connsiteX1704" fmla="*/ 688942 w 847637"/>
                    <a:gd name="connsiteY1704" fmla="*/ 1234087 h 1317836"/>
                    <a:gd name="connsiteX1705" fmla="*/ 687642 w 847637"/>
                    <a:gd name="connsiteY1705" fmla="*/ 1237001 h 1317836"/>
                    <a:gd name="connsiteX1706" fmla="*/ 680733 w 847637"/>
                    <a:gd name="connsiteY1706" fmla="*/ 1245720 h 1317836"/>
                    <a:gd name="connsiteX1707" fmla="*/ 678584 w 847637"/>
                    <a:gd name="connsiteY1707" fmla="*/ 1250577 h 1317836"/>
                    <a:gd name="connsiteX1708" fmla="*/ 675937 w 847637"/>
                    <a:gd name="connsiteY1708" fmla="*/ 1252629 h 1317836"/>
                    <a:gd name="connsiteX1709" fmla="*/ 674006 w 847637"/>
                    <a:gd name="connsiteY1709" fmla="*/ 1253807 h 1317836"/>
                    <a:gd name="connsiteX1710" fmla="*/ 672015 w 847637"/>
                    <a:gd name="connsiteY1710" fmla="*/ 1254693 h 1317836"/>
                    <a:gd name="connsiteX1711" fmla="*/ 667862 w 847637"/>
                    <a:gd name="connsiteY1711" fmla="*/ 1255701 h 1317836"/>
                    <a:gd name="connsiteX1712" fmla="*/ 647704 w 847637"/>
                    <a:gd name="connsiteY1712" fmla="*/ 1257535 h 1317836"/>
                    <a:gd name="connsiteX1713" fmla="*/ 644559 w 847637"/>
                    <a:gd name="connsiteY1713" fmla="*/ 1259405 h 1317836"/>
                    <a:gd name="connsiteX1714" fmla="*/ 644037 w 847637"/>
                    <a:gd name="connsiteY1714" fmla="*/ 1260510 h 1317836"/>
                    <a:gd name="connsiteX1715" fmla="*/ 640722 w 847637"/>
                    <a:gd name="connsiteY1715" fmla="*/ 1265051 h 1317836"/>
                    <a:gd name="connsiteX1716" fmla="*/ 639629 w 847637"/>
                    <a:gd name="connsiteY1716" fmla="*/ 1267043 h 1317836"/>
                    <a:gd name="connsiteX1717" fmla="*/ 636229 w 847637"/>
                    <a:gd name="connsiteY1717" fmla="*/ 1276794 h 1317836"/>
                    <a:gd name="connsiteX1718" fmla="*/ 634384 w 847637"/>
                    <a:gd name="connsiteY1718" fmla="*/ 1280424 h 1317836"/>
                    <a:gd name="connsiteX1719" fmla="*/ 630704 w 847637"/>
                    <a:gd name="connsiteY1719" fmla="*/ 1284602 h 1317836"/>
                    <a:gd name="connsiteX1720" fmla="*/ 627960 w 847637"/>
                    <a:gd name="connsiteY1720" fmla="*/ 1285670 h 1317836"/>
                    <a:gd name="connsiteX1721" fmla="*/ 621488 w 847637"/>
                    <a:gd name="connsiteY1721" fmla="*/ 1285998 h 1317836"/>
                    <a:gd name="connsiteX1722" fmla="*/ 617541 w 847637"/>
                    <a:gd name="connsiteY1722" fmla="*/ 1287249 h 1317836"/>
                    <a:gd name="connsiteX1723" fmla="*/ 613886 w 847637"/>
                    <a:gd name="connsiteY1723" fmla="*/ 1287406 h 1317836"/>
                    <a:gd name="connsiteX1724" fmla="*/ 610328 w 847637"/>
                    <a:gd name="connsiteY1724" fmla="*/ 1286435 h 1317836"/>
                    <a:gd name="connsiteX1725" fmla="*/ 605945 w 847637"/>
                    <a:gd name="connsiteY1725" fmla="*/ 1283108 h 1317836"/>
                    <a:gd name="connsiteX1726" fmla="*/ 604949 w 847637"/>
                    <a:gd name="connsiteY1726" fmla="*/ 1282732 h 1317836"/>
                    <a:gd name="connsiteX1727" fmla="*/ 602132 w 847637"/>
                    <a:gd name="connsiteY1727" fmla="*/ 1281869 h 1317836"/>
                    <a:gd name="connsiteX1728" fmla="*/ 600590 w 847637"/>
                    <a:gd name="connsiteY1728" fmla="*/ 1281116 h 1317836"/>
                    <a:gd name="connsiteX1729" fmla="*/ 599473 w 847637"/>
                    <a:gd name="connsiteY1729" fmla="*/ 1281056 h 1317836"/>
                    <a:gd name="connsiteX1730" fmla="*/ 597894 w 847637"/>
                    <a:gd name="connsiteY1730" fmla="*/ 1281687 h 1317836"/>
                    <a:gd name="connsiteX1731" fmla="*/ 595757 w 847637"/>
                    <a:gd name="connsiteY1731" fmla="*/ 1282792 h 1317836"/>
                    <a:gd name="connsiteX1732" fmla="*/ 592588 w 847637"/>
                    <a:gd name="connsiteY1732" fmla="*/ 1283727 h 1317836"/>
                    <a:gd name="connsiteX1733" fmla="*/ 582630 w 847637"/>
                    <a:gd name="connsiteY1733" fmla="*/ 1283448 h 1317836"/>
                    <a:gd name="connsiteX1734" fmla="*/ 577955 w 847637"/>
                    <a:gd name="connsiteY1734" fmla="*/ 1284152 h 1317836"/>
                    <a:gd name="connsiteX1735" fmla="*/ 575624 w 847637"/>
                    <a:gd name="connsiteY1735" fmla="*/ 1284783 h 1317836"/>
                    <a:gd name="connsiteX1736" fmla="*/ 575478 w 847637"/>
                    <a:gd name="connsiteY1736" fmla="*/ 1284856 h 1317836"/>
                    <a:gd name="connsiteX1737" fmla="*/ 575357 w 847637"/>
                    <a:gd name="connsiteY1737" fmla="*/ 1285124 h 1317836"/>
                    <a:gd name="connsiteX1738" fmla="*/ 574859 w 847637"/>
                    <a:gd name="connsiteY1738" fmla="*/ 1288269 h 1317836"/>
                    <a:gd name="connsiteX1739" fmla="*/ 572442 w 847637"/>
                    <a:gd name="connsiteY1739" fmla="*/ 1292907 h 1317836"/>
                    <a:gd name="connsiteX1740" fmla="*/ 567962 w 847637"/>
                    <a:gd name="connsiteY1740" fmla="*/ 1293818 h 1317836"/>
                    <a:gd name="connsiteX1741" fmla="*/ 564525 w 847637"/>
                    <a:gd name="connsiteY1741" fmla="*/ 1292166 h 1317836"/>
                    <a:gd name="connsiteX1742" fmla="*/ 553147 w 847637"/>
                    <a:gd name="connsiteY1742" fmla="*/ 1280667 h 1317836"/>
                    <a:gd name="connsiteX1743" fmla="*/ 551192 w 847637"/>
                    <a:gd name="connsiteY1743" fmla="*/ 1279635 h 1317836"/>
                    <a:gd name="connsiteX1744" fmla="*/ 550002 w 847637"/>
                    <a:gd name="connsiteY1744" fmla="*/ 1279392 h 1317836"/>
                    <a:gd name="connsiteX1745" fmla="*/ 548824 w 847637"/>
                    <a:gd name="connsiteY1745" fmla="*/ 1279744 h 1317836"/>
                    <a:gd name="connsiteX1746" fmla="*/ 545582 w 847637"/>
                    <a:gd name="connsiteY1746" fmla="*/ 1281214 h 1317836"/>
                    <a:gd name="connsiteX1747" fmla="*/ 541915 w 847637"/>
                    <a:gd name="connsiteY1747" fmla="*/ 1281784 h 1317836"/>
                    <a:gd name="connsiteX1748" fmla="*/ 537580 w 847637"/>
                    <a:gd name="connsiteY1748" fmla="*/ 1281954 h 1317836"/>
                    <a:gd name="connsiteX1749" fmla="*/ 536038 w 847637"/>
                    <a:gd name="connsiteY1749" fmla="*/ 1282671 h 1317836"/>
                    <a:gd name="connsiteX1750" fmla="*/ 534787 w 847637"/>
                    <a:gd name="connsiteY1750" fmla="*/ 1283678 h 1317836"/>
                    <a:gd name="connsiteX1751" fmla="*/ 528096 w 847637"/>
                    <a:gd name="connsiteY1751" fmla="*/ 1293320 h 1317836"/>
                    <a:gd name="connsiteX1752" fmla="*/ 523725 w 847637"/>
                    <a:gd name="connsiteY1752" fmla="*/ 1300861 h 1317836"/>
                    <a:gd name="connsiteX1753" fmla="*/ 521904 w 847637"/>
                    <a:gd name="connsiteY1753" fmla="*/ 1311826 h 1317836"/>
                    <a:gd name="connsiteX1754" fmla="*/ 520483 w 847637"/>
                    <a:gd name="connsiteY1754" fmla="*/ 1314558 h 1317836"/>
                    <a:gd name="connsiteX1755" fmla="*/ 517823 w 847637"/>
                    <a:gd name="connsiteY1755" fmla="*/ 1317837 h 1317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Lst>
                  <a:rect l="l" t="t" r="r" b="b"/>
                  <a:pathLst>
                    <a:path w="847637" h="1317836">
                      <a:moveTo>
                        <a:pt x="505814" y="1314449"/>
                      </a:moveTo>
                      <a:lnTo>
                        <a:pt x="503264" y="1314206"/>
                      </a:lnTo>
                      <a:lnTo>
                        <a:pt x="476550" y="1316343"/>
                      </a:lnTo>
                      <a:lnTo>
                        <a:pt x="472142" y="1316294"/>
                      </a:lnTo>
                      <a:lnTo>
                        <a:pt x="468705" y="1315821"/>
                      </a:lnTo>
                      <a:lnTo>
                        <a:pt x="465900" y="1314619"/>
                      </a:lnTo>
                      <a:lnTo>
                        <a:pt x="463289" y="1312178"/>
                      </a:lnTo>
                      <a:lnTo>
                        <a:pt x="462561" y="1309846"/>
                      </a:lnTo>
                      <a:lnTo>
                        <a:pt x="462367" y="1307272"/>
                      </a:lnTo>
                      <a:lnTo>
                        <a:pt x="462719" y="1303629"/>
                      </a:lnTo>
                      <a:lnTo>
                        <a:pt x="462014" y="1301893"/>
                      </a:lnTo>
                      <a:lnTo>
                        <a:pt x="461164" y="1301225"/>
                      </a:lnTo>
                      <a:lnTo>
                        <a:pt x="456210" y="1299440"/>
                      </a:lnTo>
                      <a:lnTo>
                        <a:pt x="453478" y="1299549"/>
                      </a:lnTo>
                      <a:lnTo>
                        <a:pt x="450806" y="1300326"/>
                      </a:lnTo>
                      <a:lnTo>
                        <a:pt x="448985" y="1301565"/>
                      </a:lnTo>
                      <a:lnTo>
                        <a:pt x="447042" y="1303083"/>
                      </a:lnTo>
                      <a:lnTo>
                        <a:pt x="445682" y="1304419"/>
                      </a:lnTo>
                      <a:lnTo>
                        <a:pt x="444808" y="1305487"/>
                      </a:lnTo>
                      <a:lnTo>
                        <a:pt x="444322" y="1306228"/>
                      </a:lnTo>
                      <a:lnTo>
                        <a:pt x="441286" y="1312190"/>
                      </a:lnTo>
                      <a:lnTo>
                        <a:pt x="435081" y="1304091"/>
                      </a:lnTo>
                      <a:lnTo>
                        <a:pt x="434341" y="1299780"/>
                      </a:lnTo>
                      <a:lnTo>
                        <a:pt x="434122" y="1295469"/>
                      </a:lnTo>
                      <a:lnTo>
                        <a:pt x="433758" y="1294170"/>
                      </a:lnTo>
                      <a:lnTo>
                        <a:pt x="433479" y="1293818"/>
                      </a:lnTo>
                      <a:lnTo>
                        <a:pt x="432046" y="1293660"/>
                      </a:lnTo>
                      <a:lnTo>
                        <a:pt x="431669" y="1293915"/>
                      </a:lnTo>
                      <a:lnTo>
                        <a:pt x="429641" y="1294802"/>
                      </a:lnTo>
                      <a:lnTo>
                        <a:pt x="427516" y="1295190"/>
                      </a:lnTo>
                      <a:lnTo>
                        <a:pt x="425318" y="1295020"/>
                      </a:lnTo>
                      <a:lnTo>
                        <a:pt x="421591" y="1294304"/>
                      </a:lnTo>
                      <a:lnTo>
                        <a:pt x="419672" y="1293599"/>
                      </a:lnTo>
                      <a:lnTo>
                        <a:pt x="417486" y="1292166"/>
                      </a:lnTo>
                      <a:lnTo>
                        <a:pt x="414657" y="1289349"/>
                      </a:lnTo>
                      <a:lnTo>
                        <a:pt x="410152" y="1283059"/>
                      </a:lnTo>
                      <a:lnTo>
                        <a:pt x="409266" y="1282318"/>
                      </a:lnTo>
                      <a:lnTo>
                        <a:pt x="407833" y="1282282"/>
                      </a:lnTo>
                      <a:lnTo>
                        <a:pt x="407323" y="1282464"/>
                      </a:lnTo>
                      <a:lnTo>
                        <a:pt x="405586" y="1283423"/>
                      </a:lnTo>
                      <a:lnTo>
                        <a:pt x="404250" y="1283423"/>
                      </a:lnTo>
                      <a:lnTo>
                        <a:pt x="402648" y="1283181"/>
                      </a:lnTo>
                      <a:lnTo>
                        <a:pt x="400741" y="1282355"/>
                      </a:lnTo>
                      <a:lnTo>
                        <a:pt x="398896" y="1280218"/>
                      </a:lnTo>
                      <a:lnTo>
                        <a:pt x="397803" y="1278566"/>
                      </a:lnTo>
                      <a:lnTo>
                        <a:pt x="395775" y="1274827"/>
                      </a:lnTo>
                      <a:lnTo>
                        <a:pt x="394973" y="1273685"/>
                      </a:lnTo>
                      <a:lnTo>
                        <a:pt x="393735" y="1272471"/>
                      </a:lnTo>
                      <a:lnTo>
                        <a:pt x="392569" y="1271936"/>
                      </a:lnTo>
                      <a:lnTo>
                        <a:pt x="390881" y="1271438"/>
                      </a:lnTo>
                      <a:lnTo>
                        <a:pt x="388732" y="1271475"/>
                      </a:lnTo>
                      <a:lnTo>
                        <a:pt x="387008" y="1272289"/>
                      </a:lnTo>
                      <a:lnTo>
                        <a:pt x="385235" y="1273309"/>
                      </a:lnTo>
                      <a:lnTo>
                        <a:pt x="382818" y="1273309"/>
                      </a:lnTo>
                      <a:lnTo>
                        <a:pt x="380268" y="1272592"/>
                      </a:lnTo>
                      <a:lnTo>
                        <a:pt x="376965" y="1269957"/>
                      </a:lnTo>
                      <a:lnTo>
                        <a:pt x="375496" y="1267699"/>
                      </a:lnTo>
                      <a:lnTo>
                        <a:pt x="374828" y="1264566"/>
                      </a:lnTo>
                      <a:lnTo>
                        <a:pt x="375569" y="1256819"/>
                      </a:lnTo>
                      <a:lnTo>
                        <a:pt x="375448" y="1253188"/>
                      </a:lnTo>
                      <a:lnTo>
                        <a:pt x="373116" y="1253103"/>
                      </a:lnTo>
                      <a:lnTo>
                        <a:pt x="367627" y="1255240"/>
                      </a:lnTo>
                      <a:lnTo>
                        <a:pt x="360500" y="1259271"/>
                      </a:lnTo>
                      <a:lnTo>
                        <a:pt x="355703" y="1259781"/>
                      </a:lnTo>
                      <a:lnTo>
                        <a:pt x="344192" y="1257049"/>
                      </a:lnTo>
                      <a:lnTo>
                        <a:pt x="340731" y="1257061"/>
                      </a:lnTo>
                      <a:lnTo>
                        <a:pt x="336663" y="1256394"/>
                      </a:lnTo>
                      <a:lnTo>
                        <a:pt x="333081" y="1255398"/>
                      </a:lnTo>
                      <a:lnTo>
                        <a:pt x="329814" y="1253989"/>
                      </a:lnTo>
                      <a:lnTo>
                        <a:pt x="326511" y="1251986"/>
                      </a:lnTo>
                      <a:lnTo>
                        <a:pt x="322723" y="1248598"/>
                      </a:lnTo>
                      <a:lnTo>
                        <a:pt x="319711" y="1245137"/>
                      </a:lnTo>
                      <a:lnTo>
                        <a:pt x="318266" y="1242951"/>
                      </a:lnTo>
                      <a:lnTo>
                        <a:pt x="316639" y="1239150"/>
                      </a:lnTo>
                      <a:lnTo>
                        <a:pt x="315692" y="1232411"/>
                      </a:lnTo>
                      <a:lnTo>
                        <a:pt x="314004" y="1231767"/>
                      </a:lnTo>
                      <a:lnTo>
                        <a:pt x="313021" y="1231731"/>
                      </a:lnTo>
                      <a:lnTo>
                        <a:pt x="311005" y="1232071"/>
                      </a:lnTo>
                      <a:lnTo>
                        <a:pt x="309730" y="1232120"/>
                      </a:lnTo>
                      <a:lnTo>
                        <a:pt x="307981" y="1231962"/>
                      </a:lnTo>
                      <a:lnTo>
                        <a:pt x="305881" y="1231331"/>
                      </a:lnTo>
                      <a:lnTo>
                        <a:pt x="303804" y="1230189"/>
                      </a:lnTo>
                      <a:lnTo>
                        <a:pt x="299360" y="1226874"/>
                      </a:lnTo>
                      <a:lnTo>
                        <a:pt x="298315" y="1226473"/>
                      </a:lnTo>
                      <a:lnTo>
                        <a:pt x="297684" y="1226619"/>
                      </a:lnTo>
                      <a:lnTo>
                        <a:pt x="295608" y="1227348"/>
                      </a:lnTo>
                      <a:lnTo>
                        <a:pt x="293422" y="1227348"/>
                      </a:lnTo>
                      <a:lnTo>
                        <a:pt x="292244" y="1226679"/>
                      </a:lnTo>
                      <a:lnTo>
                        <a:pt x="290921" y="1225696"/>
                      </a:lnTo>
                      <a:lnTo>
                        <a:pt x="289998" y="1224591"/>
                      </a:lnTo>
                      <a:lnTo>
                        <a:pt x="288540" y="1221919"/>
                      </a:lnTo>
                      <a:lnTo>
                        <a:pt x="287618" y="1220559"/>
                      </a:lnTo>
                      <a:lnTo>
                        <a:pt x="286634" y="1219527"/>
                      </a:lnTo>
                      <a:lnTo>
                        <a:pt x="284910" y="1218544"/>
                      </a:lnTo>
                      <a:lnTo>
                        <a:pt x="283343" y="1217973"/>
                      </a:lnTo>
                      <a:lnTo>
                        <a:pt x="277442" y="1216492"/>
                      </a:lnTo>
                      <a:lnTo>
                        <a:pt x="273860" y="1213347"/>
                      </a:lnTo>
                      <a:lnTo>
                        <a:pt x="255755" y="1192218"/>
                      </a:lnTo>
                      <a:lnTo>
                        <a:pt x="253787" y="1190469"/>
                      </a:lnTo>
                      <a:lnTo>
                        <a:pt x="253277" y="1190360"/>
                      </a:lnTo>
                      <a:lnTo>
                        <a:pt x="251079" y="1190676"/>
                      </a:lnTo>
                      <a:lnTo>
                        <a:pt x="249440" y="1190566"/>
                      </a:lnTo>
                      <a:lnTo>
                        <a:pt x="247849" y="1190239"/>
                      </a:lnTo>
                      <a:lnTo>
                        <a:pt x="246842" y="1189814"/>
                      </a:lnTo>
                      <a:lnTo>
                        <a:pt x="245530" y="1188502"/>
                      </a:lnTo>
                      <a:lnTo>
                        <a:pt x="244850" y="1187179"/>
                      </a:lnTo>
                      <a:lnTo>
                        <a:pt x="243915" y="1184386"/>
                      </a:lnTo>
                      <a:lnTo>
                        <a:pt x="242628" y="1178472"/>
                      </a:lnTo>
                      <a:lnTo>
                        <a:pt x="241535" y="1175497"/>
                      </a:lnTo>
                      <a:lnTo>
                        <a:pt x="239774" y="1172911"/>
                      </a:lnTo>
                      <a:lnTo>
                        <a:pt x="237856" y="1171004"/>
                      </a:lnTo>
                      <a:lnTo>
                        <a:pt x="236678" y="1169207"/>
                      </a:lnTo>
                      <a:lnTo>
                        <a:pt x="235974" y="1166852"/>
                      </a:lnTo>
                      <a:lnTo>
                        <a:pt x="235779" y="1163281"/>
                      </a:lnTo>
                      <a:lnTo>
                        <a:pt x="236107" y="1161071"/>
                      </a:lnTo>
                      <a:lnTo>
                        <a:pt x="237249" y="1158400"/>
                      </a:lnTo>
                      <a:lnTo>
                        <a:pt x="240552" y="1155886"/>
                      </a:lnTo>
                      <a:lnTo>
                        <a:pt x="240989" y="1155182"/>
                      </a:lnTo>
                      <a:lnTo>
                        <a:pt x="240649" y="1155231"/>
                      </a:lnTo>
                      <a:lnTo>
                        <a:pt x="235925" y="1156627"/>
                      </a:lnTo>
                      <a:lnTo>
                        <a:pt x="234626" y="1156846"/>
                      </a:lnTo>
                      <a:lnTo>
                        <a:pt x="232246" y="1156457"/>
                      </a:lnTo>
                      <a:lnTo>
                        <a:pt x="231201" y="1155741"/>
                      </a:lnTo>
                      <a:lnTo>
                        <a:pt x="229684" y="1154016"/>
                      </a:lnTo>
                      <a:lnTo>
                        <a:pt x="227619" y="1150677"/>
                      </a:lnTo>
                      <a:lnTo>
                        <a:pt x="227085" y="1150556"/>
                      </a:lnTo>
                      <a:lnTo>
                        <a:pt x="225494" y="1149718"/>
                      </a:lnTo>
                      <a:lnTo>
                        <a:pt x="224426" y="1148564"/>
                      </a:lnTo>
                      <a:lnTo>
                        <a:pt x="223515" y="1147228"/>
                      </a:lnTo>
                      <a:lnTo>
                        <a:pt x="222191" y="1144812"/>
                      </a:lnTo>
                      <a:lnTo>
                        <a:pt x="220285" y="1143173"/>
                      </a:lnTo>
                      <a:lnTo>
                        <a:pt x="218682" y="1140841"/>
                      </a:lnTo>
                      <a:lnTo>
                        <a:pt x="218500" y="1138485"/>
                      </a:lnTo>
                      <a:lnTo>
                        <a:pt x="219338" y="1135195"/>
                      </a:lnTo>
                      <a:lnTo>
                        <a:pt x="222082" y="1131637"/>
                      </a:lnTo>
                      <a:lnTo>
                        <a:pt x="222276" y="1130981"/>
                      </a:lnTo>
                      <a:lnTo>
                        <a:pt x="216715" y="1129512"/>
                      </a:lnTo>
                      <a:lnTo>
                        <a:pt x="216181" y="1130156"/>
                      </a:lnTo>
                      <a:lnTo>
                        <a:pt x="215209" y="1130993"/>
                      </a:lnTo>
                      <a:lnTo>
                        <a:pt x="213412" y="1132001"/>
                      </a:lnTo>
                      <a:lnTo>
                        <a:pt x="211457" y="1132523"/>
                      </a:lnTo>
                      <a:lnTo>
                        <a:pt x="209344" y="1132511"/>
                      </a:lnTo>
                      <a:lnTo>
                        <a:pt x="206649" y="1131625"/>
                      </a:lnTo>
                      <a:lnTo>
                        <a:pt x="204888" y="1129912"/>
                      </a:lnTo>
                      <a:lnTo>
                        <a:pt x="202058" y="1125529"/>
                      </a:lnTo>
                      <a:lnTo>
                        <a:pt x="201233" y="1125468"/>
                      </a:lnTo>
                      <a:lnTo>
                        <a:pt x="200832" y="1125845"/>
                      </a:lnTo>
                      <a:lnTo>
                        <a:pt x="199982" y="1126342"/>
                      </a:lnTo>
                      <a:lnTo>
                        <a:pt x="197590" y="1126816"/>
                      </a:lnTo>
                      <a:lnTo>
                        <a:pt x="196801" y="1126913"/>
                      </a:lnTo>
                      <a:lnTo>
                        <a:pt x="194068" y="1125772"/>
                      </a:lnTo>
                      <a:lnTo>
                        <a:pt x="192101" y="1123416"/>
                      </a:lnTo>
                      <a:lnTo>
                        <a:pt x="191021" y="1121413"/>
                      </a:lnTo>
                      <a:lnTo>
                        <a:pt x="190462" y="1119542"/>
                      </a:lnTo>
                      <a:lnTo>
                        <a:pt x="190426" y="1117320"/>
                      </a:lnTo>
                      <a:lnTo>
                        <a:pt x="190681" y="1115632"/>
                      </a:lnTo>
                      <a:lnTo>
                        <a:pt x="190948" y="1114843"/>
                      </a:lnTo>
                      <a:lnTo>
                        <a:pt x="187232" y="1112730"/>
                      </a:lnTo>
                      <a:lnTo>
                        <a:pt x="185714" y="1112281"/>
                      </a:lnTo>
                      <a:lnTo>
                        <a:pt x="185301" y="1112342"/>
                      </a:lnTo>
                      <a:lnTo>
                        <a:pt x="184257" y="1112925"/>
                      </a:lnTo>
                      <a:lnTo>
                        <a:pt x="182508" y="1114406"/>
                      </a:lnTo>
                      <a:lnTo>
                        <a:pt x="181962" y="1114758"/>
                      </a:lnTo>
                      <a:lnTo>
                        <a:pt x="180298" y="1115499"/>
                      </a:lnTo>
                      <a:lnTo>
                        <a:pt x="179679" y="1115584"/>
                      </a:lnTo>
                      <a:lnTo>
                        <a:pt x="178270" y="1115511"/>
                      </a:lnTo>
                      <a:lnTo>
                        <a:pt x="176728" y="1115037"/>
                      </a:lnTo>
                      <a:lnTo>
                        <a:pt x="174810" y="1114163"/>
                      </a:lnTo>
                      <a:lnTo>
                        <a:pt x="173085" y="1112123"/>
                      </a:lnTo>
                      <a:lnTo>
                        <a:pt x="172393" y="1110156"/>
                      </a:lnTo>
                      <a:lnTo>
                        <a:pt x="172490" y="1109136"/>
                      </a:lnTo>
                      <a:lnTo>
                        <a:pt x="169977" y="1108759"/>
                      </a:lnTo>
                      <a:lnTo>
                        <a:pt x="168702" y="1108444"/>
                      </a:lnTo>
                      <a:lnTo>
                        <a:pt x="166395" y="1107096"/>
                      </a:lnTo>
                      <a:lnTo>
                        <a:pt x="165241" y="1105882"/>
                      </a:lnTo>
                      <a:lnTo>
                        <a:pt x="164160" y="1104170"/>
                      </a:lnTo>
                      <a:lnTo>
                        <a:pt x="163505" y="1102275"/>
                      </a:lnTo>
                      <a:lnTo>
                        <a:pt x="162958" y="1098608"/>
                      </a:lnTo>
                      <a:lnTo>
                        <a:pt x="161950" y="1097965"/>
                      </a:lnTo>
                      <a:lnTo>
                        <a:pt x="159837" y="1097697"/>
                      </a:lnTo>
                      <a:lnTo>
                        <a:pt x="156231" y="1097952"/>
                      </a:lnTo>
                      <a:lnTo>
                        <a:pt x="144707" y="1101607"/>
                      </a:lnTo>
                      <a:lnTo>
                        <a:pt x="144950" y="1093253"/>
                      </a:lnTo>
                      <a:lnTo>
                        <a:pt x="144817" y="1092852"/>
                      </a:lnTo>
                      <a:lnTo>
                        <a:pt x="143542" y="1091176"/>
                      </a:lnTo>
                      <a:lnTo>
                        <a:pt x="142242" y="1090108"/>
                      </a:lnTo>
                      <a:lnTo>
                        <a:pt x="140081" y="1087461"/>
                      </a:lnTo>
                      <a:lnTo>
                        <a:pt x="138976" y="1081875"/>
                      </a:lnTo>
                      <a:lnTo>
                        <a:pt x="138563" y="1081814"/>
                      </a:lnTo>
                      <a:lnTo>
                        <a:pt x="128946" y="1042484"/>
                      </a:lnTo>
                      <a:lnTo>
                        <a:pt x="131010" y="1037347"/>
                      </a:lnTo>
                      <a:lnTo>
                        <a:pt x="129553" y="1035574"/>
                      </a:lnTo>
                      <a:lnTo>
                        <a:pt x="127877" y="1031032"/>
                      </a:lnTo>
                      <a:lnTo>
                        <a:pt x="127537" y="1025556"/>
                      </a:lnTo>
                      <a:lnTo>
                        <a:pt x="127416" y="1024815"/>
                      </a:lnTo>
                      <a:lnTo>
                        <a:pt x="126396" y="1024026"/>
                      </a:lnTo>
                      <a:lnTo>
                        <a:pt x="125291" y="1021270"/>
                      </a:lnTo>
                      <a:lnTo>
                        <a:pt x="123081" y="1011142"/>
                      </a:lnTo>
                      <a:lnTo>
                        <a:pt x="122206" y="1002922"/>
                      </a:lnTo>
                      <a:lnTo>
                        <a:pt x="118855" y="990342"/>
                      </a:lnTo>
                      <a:lnTo>
                        <a:pt x="117531" y="987512"/>
                      </a:lnTo>
                      <a:lnTo>
                        <a:pt x="115649" y="984513"/>
                      </a:lnTo>
                      <a:lnTo>
                        <a:pt x="113670" y="979887"/>
                      </a:lnTo>
                      <a:lnTo>
                        <a:pt x="114654" y="977677"/>
                      </a:lnTo>
                      <a:lnTo>
                        <a:pt x="113804" y="975588"/>
                      </a:lnTo>
                      <a:lnTo>
                        <a:pt x="112808" y="968630"/>
                      </a:lnTo>
                      <a:lnTo>
                        <a:pt x="109809" y="936767"/>
                      </a:lnTo>
                      <a:lnTo>
                        <a:pt x="110829" y="939863"/>
                      </a:lnTo>
                      <a:lnTo>
                        <a:pt x="110574" y="937823"/>
                      </a:lnTo>
                      <a:lnTo>
                        <a:pt x="110804" y="935686"/>
                      </a:lnTo>
                      <a:lnTo>
                        <a:pt x="110452" y="935176"/>
                      </a:lnTo>
                      <a:lnTo>
                        <a:pt x="109954" y="933926"/>
                      </a:lnTo>
                      <a:lnTo>
                        <a:pt x="109748" y="932991"/>
                      </a:lnTo>
                      <a:lnTo>
                        <a:pt x="109505" y="929712"/>
                      </a:lnTo>
                      <a:lnTo>
                        <a:pt x="106190" y="921819"/>
                      </a:lnTo>
                      <a:lnTo>
                        <a:pt x="101588" y="905802"/>
                      </a:lnTo>
                      <a:lnTo>
                        <a:pt x="99948" y="893623"/>
                      </a:lnTo>
                      <a:lnTo>
                        <a:pt x="96755" y="887734"/>
                      </a:lnTo>
                      <a:lnTo>
                        <a:pt x="94363" y="881189"/>
                      </a:lnTo>
                      <a:lnTo>
                        <a:pt x="88571" y="874073"/>
                      </a:lnTo>
                      <a:lnTo>
                        <a:pt x="85644" y="869082"/>
                      </a:lnTo>
                      <a:lnTo>
                        <a:pt x="79937" y="861687"/>
                      </a:lnTo>
                      <a:lnTo>
                        <a:pt x="77812" y="857218"/>
                      </a:lnTo>
                      <a:lnTo>
                        <a:pt x="77423" y="854183"/>
                      </a:lnTo>
                      <a:lnTo>
                        <a:pt x="77703" y="849824"/>
                      </a:lnTo>
                      <a:lnTo>
                        <a:pt x="77545" y="848366"/>
                      </a:lnTo>
                      <a:lnTo>
                        <a:pt x="77023" y="847565"/>
                      </a:lnTo>
                      <a:lnTo>
                        <a:pt x="75153" y="845391"/>
                      </a:lnTo>
                      <a:lnTo>
                        <a:pt x="73914" y="842732"/>
                      </a:lnTo>
                      <a:lnTo>
                        <a:pt x="73392" y="830941"/>
                      </a:lnTo>
                      <a:lnTo>
                        <a:pt x="72420" y="827954"/>
                      </a:lnTo>
                      <a:lnTo>
                        <a:pt x="67490" y="821458"/>
                      </a:lnTo>
                      <a:lnTo>
                        <a:pt x="65001" y="816212"/>
                      </a:lnTo>
                      <a:lnTo>
                        <a:pt x="66143" y="810019"/>
                      </a:lnTo>
                      <a:lnTo>
                        <a:pt x="65839" y="809873"/>
                      </a:lnTo>
                      <a:lnTo>
                        <a:pt x="62597" y="805223"/>
                      </a:lnTo>
                      <a:lnTo>
                        <a:pt x="62026" y="796030"/>
                      </a:lnTo>
                      <a:lnTo>
                        <a:pt x="60618" y="793699"/>
                      </a:lnTo>
                      <a:lnTo>
                        <a:pt x="59573" y="792133"/>
                      </a:lnTo>
                      <a:lnTo>
                        <a:pt x="58650" y="788781"/>
                      </a:lnTo>
                      <a:lnTo>
                        <a:pt x="58578" y="783329"/>
                      </a:lnTo>
                      <a:lnTo>
                        <a:pt x="57995" y="782722"/>
                      </a:lnTo>
                      <a:lnTo>
                        <a:pt x="56404" y="780512"/>
                      </a:lnTo>
                      <a:lnTo>
                        <a:pt x="54910" y="772971"/>
                      </a:lnTo>
                      <a:lnTo>
                        <a:pt x="51049" y="766001"/>
                      </a:lnTo>
                      <a:lnTo>
                        <a:pt x="50988" y="765030"/>
                      </a:lnTo>
                      <a:lnTo>
                        <a:pt x="49082" y="765940"/>
                      </a:lnTo>
                      <a:lnTo>
                        <a:pt x="44431" y="765297"/>
                      </a:lnTo>
                      <a:lnTo>
                        <a:pt x="40594" y="761836"/>
                      </a:lnTo>
                      <a:lnTo>
                        <a:pt x="41468" y="758873"/>
                      </a:lnTo>
                      <a:lnTo>
                        <a:pt x="40266" y="754489"/>
                      </a:lnTo>
                      <a:lnTo>
                        <a:pt x="39938" y="748466"/>
                      </a:lnTo>
                      <a:lnTo>
                        <a:pt x="37509" y="747568"/>
                      </a:lnTo>
                      <a:lnTo>
                        <a:pt x="35044" y="744326"/>
                      </a:lnTo>
                      <a:lnTo>
                        <a:pt x="34534" y="739821"/>
                      </a:lnTo>
                      <a:lnTo>
                        <a:pt x="35943" y="738461"/>
                      </a:lnTo>
                      <a:lnTo>
                        <a:pt x="35324" y="736688"/>
                      </a:lnTo>
                      <a:lnTo>
                        <a:pt x="34049" y="727909"/>
                      </a:lnTo>
                      <a:lnTo>
                        <a:pt x="32482" y="725747"/>
                      </a:lnTo>
                      <a:lnTo>
                        <a:pt x="29604" y="723646"/>
                      </a:lnTo>
                      <a:lnTo>
                        <a:pt x="28269" y="724375"/>
                      </a:lnTo>
                      <a:lnTo>
                        <a:pt x="26411" y="726791"/>
                      </a:lnTo>
                      <a:lnTo>
                        <a:pt x="23460" y="730179"/>
                      </a:lnTo>
                      <a:lnTo>
                        <a:pt x="18907" y="721279"/>
                      </a:lnTo>
                      <a:lnTo>
                        <a:pt x="17170" y="721509"/>
                      </a:lnTo>
                      <a:lnTo>
                        <a:pt x="14450" y="720951"/>
                      </a:lnTo>
                      <a:lnTo>
                        <a:pt x="12738" y="717866"/>
                      </a:lnTo>
                      <a:lnTo>
                        <a:pt x="7225" y="715146"/>
                      </a:lnTo>
                      <a:lnTo>
                        <a:pt x="3060" y="711613"/>
                      </a:lnTo>
                      <a:lnTo>
                        <a:pt x="0" y="700684"/>
                      </a:lnTo>
                      <a:lnTo>
                        <a:pt x="6314" y="703841"/>
                      </a:lnTo>
                      <a:lnTo>
                        <a:pt x="6800" y="702384"/>
                      </a:lnTo>
                      <a:lnTo>
                        <a:pt x="4626" y="699627"/>
                      </a:lnTo>
                      <a:lnTo>
                        <a:pt x="971" y="690411"/>
                      </a:lnTo>
                      <a:lnTo>
                        <a:pt x="9811" y="685857"/>
                      </a:lnTo>
                      <a:lnTo>
                        <a:pt x="13357" y="682712"/>
                      </a:lnTo>
                      <a:lnTo>
                        <a:pt x="15421" y="681438"/>
                      </a:lnTo>
                      <a:lnTo>
                        <a:pt x="16939" y="680988"/>
                      </a:lnTo>
                      <a:lnTo>
                        <a:pt x="22379" y="681316"/>
                      </a:lnTo>
                      <a:lnTo>
                        <a:pt x="24334" y="680964"/>
                      </a:lnTo>
                      <a:lnTo>
                        <a:pt x="25937" y="680235"/>
                      </a:lnTo>
                      <a:lnTo>
                        <a:pt x="28560" y="678596"/>
                      </a:lnTo>
                      <a:lnTo>
                        <a:pt x="30904" y="676471"/>
                      </a:lnTo>
                      <a:lnTo>
                        <a:pt x="31572" y="677236"/>
                      </a:lnTo>
                      <a:lnTo>
                        <a:pt x="33648" y="676884"/>
                      </a:lnTo>
                      <a:lnTo>
                        <a:pt x="30673" y="676265"/>
                      </a:lnTo>
                      <a:lnTo>
                        <a:pt x="31147" y="673969"/>
                      </a:lnTo>
                      <a:lnTo>
                        <a:pt x="32604" y="669355"/>
                      </a:lnTo>
                      <a:lnTo>
                        <a:pt x="33806" y="666575"/>
                      </a:lnTo>
                      <a:lnTo>
                        <a:pt x="34437" y="664960"/>
                      </a:lnTo>
                      <a:lnTo>
                        <a:pt x="34704" y="663490"/>
                      </a:lnTo>
                      <a:lnTo>
                        <a:pt x="34814" y="662094"/>
                      </a:lnTo>
                      <a:lnTo>
                        <a:pt x="34741" y="660867"/>
                      </a:lnTo>
                      <a:lnTo>
                        <a:pt x="33490" y="654978"/>
                      </a:lnTo>
                      <a:lnTo>
                        <a:pt x="33320" y="653278"/>
                      </a:lnTo>
                      <a:lnTo>
                        <a:pt x="33308" y="651590"/>
                      </a:lnTo>
                      <a:lnTo>
                        <a:pt x="33952" y="648105"/>
                      </a:lnTo>
                      <a:lnTo>
                        <a:pt x="34389" y="646381"/>
                      </a:lnTo>
                      <a:lnTo>
                        <a:pt x="39003" y="636836"/>
                      </a:lnTo>
                      <a:lnTo>
                        <a:pt x="39477" y="635161"/>
                      </a:lnTo>
                      <a:lnTo>
                        <a:pt x="39525" y="633910"/>
                      </a:lnTo>
                      <a:lnTo>
                        <a:pt x="38991" y="633206"/>
                      </a:lnTo>
                      <a:lnTo>
                        <a:pt x="38700" y="633145"/>
                      </a:lnTo>
                      <a:lnTo>
                        <a:pt x="32871" y="629696"/>
                      </a:lnTo>
                      <a:lnTo>
                        <a:pt x="31122" y="627875"/>
                      </a:lnTo>
                      <a:lnTo>
                        <a:pt x="30139" y="625932"/>
                      </a:lnTo>
                      <a:lnTo>
                        <a:pt x="29811" y="622981"/>
                      </a:lnTo>
                      <a:lnTo>
                        <a:pt x="29787" y="622253"/>
                      </a:lnTo>
                      <a:lnTo>
                        <a:pt x="30321" y="621099"/>
                      </a:lnTo>
                      <a:lnTo>
                        <a:pt x="31171" y="619715"/>
                      </a:lnTo>
                      <a:lnTo>
                        <a:pt x="31681" y="619205"/>
                      </a:lnTo>
                      <a:lnTo>
                        <a:pt x="33053" y="618306"/>
                      </a:lnTo>
                      <a:lnTo>
                        <a:pt x="34231" y="617954"/>
                      </a:lnTo>
                      <a:lnTo>
                        <a:pt x="40023" y="616837"/>
                      </a:lnTo>
                      <a:lnTo>
                        <a:pt x="40703" y="616424"/>
                      </a:lnTo>
                      <a:lnTo>
                        <a:pt x="41213" y="616011"/>
                      </a:lnTo>
                      <a:lnTo>
                        <a:pt x="41590" y="615246"/>
                      </a:lnTo>
                      <a:lnTo>
                        <a:pt x="41784" y="614141"/>
                      </a:lnTo>
                      <a:lnTo>
                        <a:pt x="40958" y="607499"/>
                      </a:lnTo>
                      <a:lnTo>
                        <a:pt x="40679" y="606406"/>
                      </a:lnTo>
                      <a:lnTo>
                        <a:pt x="39829" y="605155"/>
                      </a:lnTo>
                      <a:lnTo>
                        <a:pt x="34887" y="599983"/>
                      </a:lnTo>
                      <a:lnTo>
                        <a:pt x="33551" y="597675"/>
                      </a:lnTo>
                      <a:lnTo>
                        <a:pt x="32919" y="595344"/>
                      </a:lnTo>
                      <a:lnTo>
                        <a:pt x="32847" y="593049"/>
                      </a:lnTo>
                      <a:lnTo>
                        <a:pt x="33235" y="590195"/>
                      </a:lnTo>
                      <a:lnTo>
                        <a:pt x="33053" y="588507"/>
                      </a:lnTo>
                      <a:lnTo>
                        <a:pt x="32082" y="586856"/>
                      </a:lnTo>
                      <a:lnTo>
                        <a:pt x="29714" y="584585"/>
                      </a:lnTo>
                      <a:lnTo>
                        <a:pt x="28888" y="579085"/>
                      </a:lnTo>
                      <a:lnTo>
                        <a:pt x="31049" y="575248"/>
                      </a:lnTo>
                      <a:lnTo>
                        <a:pt x="32555" y="573110"/>
                      </a:lnTo>
                      <a:lnTo>
                        <a:pt x="32907" y="570925"/>
                      </a:lnTo>
                      <a:lnTo>
                        <a:pt x="32373" y="568824"/>
                      </a:lnTo>
                      <a:lnTo>
                        <a:pt x="30807" y="558053"/>
                      </a:lnTo>
                      <a:lnTo>
                        <a:pt x="29398" y="552868"/>
                      </a:lnTo>
                      <a:lnTo>
                        <a:pt x="28961" y="552310"/>
                      </a:lnTo>
                      <a:lnTo>
                        <a:pt x="28074" y="551617"/>
                      </a:lnTo>
                      <a:lnTo>
                        <a:pt x="23290" y="549128"/>
                      </a:lnTo>
                      <a:lnTo>
                        <a:pt x="20315" y="548059"/>
                      </a:lnTo>
                      <a:lnTo>
                        <a:pt x="18287" y="549335"/>
                      </a:lnTo>
                      <a:lnTo>
                        <a:pt x="16806" y="550148"/>
                      </a:lnTo>
                      <a:lnTo>
                        <a:pt x="15118" y="550792"/>
                      </a:lnTo>
                      <a:lnTo>
                        <a:pt x="12143" y="551386"/>
                      </a:lnTo>
                      <a:lnTo>
                        <a:pt x="9095" y="551253"/>
                      </a:lnTo>
                      <a:lnTo>
                        <a:pt x="3691" y="549747"/>
                      </a:lnTo>
                      <a:lnTo>
                        <a:pt x="3339" y="545400"/>
                      </a:lnTo>
                      <a:lnTo>
                        <a:pt x="2477" y="543834"/>
                      </a:lnTo>
                      <a:lnTo>
                        <a:pt x="1894" y="541527"/>
                      </a:lnTo>
                      <a:lnTo>
                        <a:pt x="2926" y="539438"/>
                      </a:lnTo>
                      <a:lnTo>
                        <a:pt x="4384" y="538321"/>
                      </a:lnTo>
                      <a:lnTo>
                        <a:pt x="6108" y="537677"/>
                      </a:lnTo>
                      <a:lnTo>
                        <a:pt x="6630" y="537179"/>
                      </a:lnTo>
                      <a:lnTo>
                        <a:pt x="6946" y="536354"/>
                      </a:lnTo>
                      <a:lnTo>
                        <a:pt x="8209" y="532371"/>
                      </a:lnTo>
                      <a:lnTo>
                        <a:pt x="11196" y="528376"/>
                      </a:lnTo>
                      <a:lnTo>
                        <a:pt x="20704" y="520908"/>
                      </a:lnTo>
                      <a:lnTo>
                        <a:pt x="22841" y="519839"/>
                      </a:lnTo>
                      <a:lnTo>
                        <a:pt x="25877" y="519195"/>
                      </a:lnTo>
                      <a:lnTo>
                        <a:pt x="28706" y="520106"/>
                      </a:lnTo>
                      <a:lnTo>
                        <a:pt x="29689" y="521199"/>
                      </a:lnTo>
                      <a:lnTo>
                        <a:pt x="30624" y="522644"/>
                      </a:lnTo>
                      <a:lnTo>
                        <a:pt x="31025" y="523907"/>
                      </a:lnTo>
                      <a:lnTo>
                        <a:pt x="31317" y="525729"/>
                      </a:lnTo>
                      <a:lnTo>
                        <a:pt x="31171" y="527744"/>
                      </a:lnTo>
                      <a:lnTo>
                        <a:pt x="35664" y="527914"/>
                      </a:lnTo>
                      <a:lnTo>
                        <a:pt x="40023" y="527210"/>
                      </a:lnTo>
                      <a:lnTo>
                        <a:pt x="41687" y="526506"/>
                      </a:lnTo>
                      <a:lnTo>
                        <a:pt x="43350" y="525632"/>
                      </a:lnTo>
                      <a:lnTo>
                        <a:pt x="46143" y="523397"/>
                      </a:lnTo>
                      <a:lnTo>
                        <a:pt x="47673" y="521879"/>
                      </a:lnTo>
                      <a:lnTo>
                        <a:pt x="50697" y="517119"/>
                      </a:lnTo>
                      <a:lnTo>
                        <a:pt x="54279" y="510344"/>
                      </a:lnTo>
                      <a:lnTo>
                        <a:pt x="54485" y="509761"/>
                      </a:lnTo>
                      <a:lnTo>
                        <a:pt x="54255" y="508886"/>
                      </a:lnTo>
                      <a:lnTo>
                        <a:pt x="53817" y="508656"/>
                      </a:lnTo>
                      <a:lnTo>
                        <a:pt x="51110" y="506275"/>
                      </a:lnTo>
                      <a:lnTo>
                        <a:pt x="50527" y="504187"/>
                      </a:lnTo>
                      <a:lnTo>
                        <a:pt x="50964" y="502244"/>
                      </a:lnTo>
                      <a:lnTo>
                        <a:pt x="51753" y="500957"/>
                      </a:lnTo>
                      <a:lnTo>
                        <a:pt x="56962" y="494108"/>
                      </a:lnTo>
                      <a:lnTo>
                        <a:pt x="60156" y="487527"/>
                      </a:lnTo>
                      <a:lnTo>
                        <a:pt x="62730" y="483751"/>
                      </a:lnTo>
                      <a:lnTo>
                        <a:pt x="64139" y="481273"/>
                      </a:lnTo>
                      <a:lnTo>
                        <a:pt x="65280" y="478335"/>
                      </a:lnTo>
                      <a:lnTo>
                        <a:pt x="65851" y="474230"/>
                      </a:lnTo>
                      <a:lnTo>
                        <a:pt x="65875" y="472117"/>
                      </a:lnTo>
                      <a:lnTo>
                        <a:pt x="61285" y="470648"/>
                      </a:lnTo>
                      <a:lnTo>
                        <a:pt x="59027" y="469713"/>
                      </a:lnTo>
                      <a:lnTo>
                        <a:pt x="56902" y="467819"/>
                      </a:lnTo>
                      <a:lnTo>
                        <a:pt x="56489" y="464455"/>
                      </a:lnTo>
                      <a:lnTo>
                        <a:pt x="57472" y="462257"/>
                      </a:lnTo>
                      <a:lnTo>
                        <a:pt x="60095" y="459222"/>
                      </a:lnTo>
                      <a:lnTo>
                        <a:pt x="62281" y="457764"/>
                      </a:lnTo>
                      <a:lnTo>
                        <a:pt x="64746" y="456866"/>
                      </a:lnTo>
                      <a:lnTo>
                        <a:pt x="72566" y="456526"/>
                      </a:lnTo>
                      <a:lnTo>
                        <a:pt x="72809" y="456113"/>
                      </a:lnTo>
                      <a:lnTo>
                        <a:pt x="73185" y="453284"/>
                      </a:lnTo>
                      <a:lnTo>
                        <a:pt x="72882" y="447394"/>
                      </a:lnTo>
                      <a:lnTo>
                        <a:pt x="74011" y="438834"/>
                      </a:lnTo>
                      <a:lnTo>
                        <a:pt x="73914" y="436514"/>
                      </a:lnTo>
                      <a:lnTo>
                        <a:pt x="73574" y="435021"/>
                      </a:lnTo>
                      <a:lnTo>
                        <a:pt x="73149" y="434013"/>
                      </a:lnTo>
                      <a:lnTo>
                        <a:pt x="72590" y="433321"/>
                      </a:lnTo>
                      <a:lnTo>
                        <a:pt x="71607" y="432459"/>
                      </a:lnTo>
                      <a:lnTo>
                        <a:pt x="70745" y="431961"/>
                      </a:lnTo>
                      <a:lnTo>
                        <a:pt x="55056" y="424687"/>
                      </a:lnTo>
                      <a:lnTo>
                        <a:pt x="53125" y="426144"/>
                      </a:lnTo>
                      <a:lnTo>
                        <a:pt x="52093" y="426703"/>
                      </a:lnTo>
                      <a:lnTo>
                        <a:pt x="51535" y="426946"/>
                      </a:lnTo>
                      <a:lnTo>
                        <a:pt x="50017" y="427322"/>
                      </a:lnTo>
                      <a:lnTo>
                        <a:pt x="49215" y="427322"/>
                      </a:lnTo>
                      <a:lnTo>
                        <a:pt x="47722" y="426921"/>
                      </a:lnTo>
                      <a:lnTo>
                        <a:pt x="46823" y="426424"/>
                      </a:lnTo>
                      <a:lnTo>
                        <a:pt x="45609" y="425015"/>
                      </a:lnTo>
                      <a:lnTo>
                        <a:pt x="45087" y="423777"/>
                      </a:lnTo>
                      <a:lnTo>
                        <a:pt x="44613" y="421579"/>
                      </a:lnTo>
                      <a:lnTo>
                        <a:pt x="44856" y="417183"/>
                      </a:lnTo>
                      <a:lnTo>
                        <a:pt x="43727" y="415252"/>
                      </a:lnTo>
                      <a:lnTo>
                        <a:pt x="42755" y="413358"/>
                      </a:lnTo>
                      <a:lnTo>
                        <a:pt x="42100" y="411233"/>
                      </a:lnTo>
                      <a:lnTo>
                        <a:pt x="41711" y="407444"/>
                      </a:lnTo>
                      <a:lnTo>
                        <a:pt x="42306" y="404239"/>
                      </a:lnTo>
                      <a:lnTo>
                        <a:pt x="44285" y="402089"/>
                      </a:lnTo>
                      <a:lnTo>
                        <a:pt x="47236" y="401251"/>
                      </a:lnTo>
                      <a:lnTo>
                        <a:pt x="48936" y="401057"/>
                      </a:lnTo>
                      <a:lnTo>
                        <a:pt x="46775" y="399709"/>
                      </a:lnTo>
                      <a:lnTo>
                        <a:pt x="45779" y="398398"/>
                      </a:lnTo>
                      <a:lnTo>
                        <a:pt x="44722" y="395957"/>
                      </a:lnTo>
                      <a:lnTo>
                        <a:pt x="44492" y="394585"/>
                      </a:lnTo>
                      <a:lnTo>
                        <a:pt x="44407" y="393006"/>
                      </a:lnTo>
                      <a:lnTo>
                        <a:pt x="43290" y="393261"/>
                      </a:lnTo>
                      <a:lnTo>
                        <a:pt x="41990" y="393212"/>
                      </a:lnTo>
                      <a:lnTo>
                        <a:pt x="39598" y="392642"/>
                      </a:lnTo>
                      <a:lnTo>
                        <a:pt x="38955" y="392302"/>
                      </a:lnTo>
                      <a:lnTo>
                        <a:pt x="37607" y="391221"/>
                      </a:lnTo>
                      <a:lnTo>
                        <a:pt x="37315" y="390796"/>
                      </a:lnTo>
                      <a:lnTo>
                        <a:pt x="36599" y="389509"/>
                      </a:lnTo>
                      <a:lnTo>
                        <a:pt x="35967" y="386401"/>
                      </a:lnTo>
                      <a:lnTo>
                        <a:pt x="34413" y="387554"/>
                      </a:lnTo>
                      <a:lnTo>
                        <a:pt x="32616" y="388368"/>
                      </a:lnTo>
                      <a:lnTo>
                        <a:pt x="31414" y="388452"/>
                      </a:lnTo>
                      <a:lnTo>
                        <a:pt x="29592" y="388040"/>
                      </a:lnTo>
                      <a:lnTo>
                        <a:pt x="29009" y="387845"/>
                      </a:lnTo>
                      <a:lnTo>
                        <a:pt x="27941" y="386898"/>
                      </a:lnTo>
                      <a:lnTo>
                        <a:pt x="27152" y="385684"/>
                      </a:lnTo>
                      <a:lnTo>
                        <a:pt x="26909" y="384968"/>
                      </a:lnTo>
                      <a:lnTo>
                        <a:pt x="26860" y="383729"/>
                      </a:lnTo>
                      <a:lnTo>
                        <a:pt x="27224" y="382187"/>
                      </a:lnTo>
                      <a:lnTo>
                        <a:pt x="29629" y="376941"/>
                      </a:lnTo>
                      <a:lnTo>
                        <a:pt x="30588" y="373019"/>
                      </a:lnTo>
                      <a:lnTo>
                        <a:pt x="32907" y="370153"/>
                      </a:lnTo>
                      <a:lnTo>
                        <a:pt x="37218" y="370627"/>
                      </a:lnTo>
                      <a:lnTo>
                        <a:pt x="39185" y="372084"/>
                      </a:lnTo>
                      <a:lnTo>
                        <a:pt x="40970" y="373808"/>
                      </a:lnTo>
                      <a:lnTo>
                        <a:pt x="41468" y="373335"/>
                      </a:lnTo>
                      <a:lnTo>
                        <a:pt x="42597" y="369182"/>
                      </a:lnTo>
                      <a:lnTo>
                        <a:pt x="44152" y="367372"/>
                      </a:lnTo>
                      <a:lnTo>
                        <a:pt x="45670" y="366717"/>
                      </a:lnTo>
                      <a:lnTo>
                        <a:pt x="47285" y="366608"/>
                      </a:lnTo>
                      <a:lnTo>
                        <a:pt x="49215" y="366996"/>
                      </a:lnTo>
                      <a:lnTo>
                        <a:pt x="51316" y="368587"/>
                      </a:lnTo>
                      <a:lnTo>
                        <a:pt x="52202" y="369583"/>
                      </a:lnTo>
                      <a:lnTo>
                        <a:pt x="52858" y="370444"/>
                      </a:lnTo>
                      <a:lnTo>
                        <a:pt x="56149" y="366680"/>
                      </a:lnTo>
                      <a:lnTo>
                        <a:pt x="57363" y="365563"/>
                      </a:lnTo>
                      <a:lnTo>
                        <a:pt x="58772" y="364628"/>
                      </a:lnTo>
                      <a:lnTo>
                        <a:pt x="61310" y="363220"/>
                      </a:lnTo>
                      <a:lnTo>
                        <a:pt x="62196" y="362637"/>
                      </a:lnTo>
                      <a:lnTo>
                        <a:pt x="62645" y="362054"/>
                      </a:lnTo>
                      <a:lnTo>
                        <a:pt x="63471" y="360378"/>
                      </a:lnTo>
                      <a:lnTo>
                        <a:pt x="64965" y="354113"/>
                      </a:lnTo>
                      <a:lnTo>
                        <a:pt x="66082" y="351987"/>
                      </a:lnTo>
                      <a:lnTo>
                        <a:pt x="67648" y="351162"/>
                      </a:lnTo>
                      <a:lnTo>
                        <a:pt x="69397" y="350712"/>
                      </a:lnTo>
                      <a:lnTo>
                        <a:pt x="71425" y="350919"/>
                      </a:lnTo>
                      <a:lnTo>
                        <a:pt x="73902" y="351757"/>
                      </a:lnTo>
                      <a:lnTo>
                        <a:pt x="77338" y="353724"/>
                      </a:lnTo>
                      <a:lnTo>
                        <a:pt x="78370" y="354003"/>
                      </a:lnTo>
                      <a:lnTo>
                        <a:pt x="83883" y="354392"/>
                      </a:lnTo>
                      <a:lnTo>
                        <a:pt x="86106" y="354865"/>
                      </a:lnTo>
                      <a:lnTo>
                        <a:pt x="88753" y="356019"/>
                      </a:lnTo>
                      <a:lnTo>
                        <a:pt x="89396" y="359273"/>
                      </a:lnTo>
                      <a:lnTo>
                        <a:pt x="89821" y="362612"/>
                      </a:lnTo>
                      <a:lnTo>
                        <a:pt x="91497" y="364470"/>
                      </a:lnTo>
                      <a:lnTo>
                        <a:pt x="92529" y="366267"/>
                      </a:lnTo>
                      <a:lnTo>
                        <a:pt x="92954" y="367397"/>
                      </a:lnTo>
                      <a:lnTo>
                        <a:pt x="93003" y="368562"/>
                      </a:lnTo>
                      <a:lnTo>
                        <a:pt x="93986" y="368223"/>
                      </a:lnTo>
                      <a:lnTo>
                        <a:pt x="95116" y="367506"/>
                      </a:lnTo>
                      <a:lnTo>
                        <a:pt x="100835" y="362333"/>
                      </a:lnTo>
                      <a:lnTo>
                        <a:pt x="102559" y="361107"/>
                      </a:lnTo>
                      <a:lnTo>
                        <a:pt x="104429" y="360220"/>
                      </a:lnTo>
                      <a:lnTo>
                        <a:pt x="106263" y="359722"/>
                      </a:lnTo>
                      <a:lnTo>
                        <a:pt x="110209" y="359261"/>
                      </a:lnTo>
                      <a:lnTo>
                        <a:pt x="110367" y="358873"/>
                      </a:lnTo>
                      <a:lnTo>
                        <a:pt x="103907" y="352485"/>
                      </a:lnTo>
                      <a:lnTo>
                        <a:pt x="109554" y="348150"/>
                      </a:lnTo>
                      <a:lnTo>
                        <a:pt x="111217" y="347082"/>
                      </a:lnTo>
                      <a:lnTo>
                        <a:pt x="111630" y="346584"/>
                      </a:lnTo>
                      <a:lnTo>
                        <a:pt x="113354" y="340464"/>
                      </a:lnTo>
                      <a:lnTo>
                        <a:pt x="114811" y="338545"/>
                      </a:lnTo>
                      <a:lnTo>
                        <a:pt x="116754" y="337756"/>
                      </a:lnTo>
                      <a:lnTo>
                        <a:pt x="119839" y="337537"/>
                      </a:lnTo>
                      <a:lnTo>
                        <a:pt x="121029" y="337331"/>
                      </a:lnTo>
                      <a:lnTo>
                        <a:pt x="121502" y="336979"/>
                      </a:lnTo>
                      <a:lnTo>
                        <a:pt x="122292" y="336105"/>
                      </a:lnTo>
                      <a:lnTo>
                        <a:pt x="123433" y="334028"/>
                      </a:lnTo>
                      <a:lnTo>
                        <a:pt x="124465" y="333263"/>
                      </a:lnTo>
                      <a:lnTo>
                        <a:pt x="126311" y="332437"/>
                      </a:lnTo>
                      <a:lnTo>
                        <a:pt x="129189" y="331769"/>
                      </a:lnTo>
                      <a:lnTo>
                        <a:pt x="132637" y="329766"/>
                      </a:lnTo>
                      <a:lnTo>
                        <a:pt x="133633" y="328989"/>
                      </a:lnTo>
                      <a:lnTo>
                        <a:pt x="135685" y="327956"/>
                      </a:lnTo>
                      <a:lnTo>
                        <a:pt x="138721" y="327459"/>
                      </a:lnTo>
                      <a:lnTo>
                        <a:pt x="142752" y="328029"/>
                      </a:lnTo>
                      <a:lnTo>
                        <a:pt x="146128" y="329256"/>
                      </a:lnTo>
                      <a:lnTo>
                        <a:pt x="147209" y="329414"/>
                      </a:lnTo>
                      <a:lnTo>
                        <a:pt x="147634" y="329049"/>
                      </a:lnTo>
                      <a:lnTo>
                        <a:pt x="145740" y="321096"/>
                      </a:lnTo>
                      <a:lnTo>
                        <a:pt x="145169" y="319141"/>
                      </a:lnTo>
                      <a:lnTo>
                        <a:pt x="144562" y="317841"/>
                      </a:lnTo>
                      <a:lnTo>
                        <a:pt x="143214" y="315255"/>
                      </a:lnTo>
                      <a:lnTo>
                        <a:pt x="142862" y="313761"/>
                      </a:lnTo>
                      <a:lnTo>
                        <a:pt x="143032" y="312790"/>
                      </a:lnTo>
                      <a:lnTo>
                        <a:pt x="143299" y="311733"/>
                      </a:lnTo>
                      <a:lnTo>
                        <a:pt x="143712" y="310774"/>
                      </a:lnTo>
                      <a:lnTo>
                        <a:pt x="144865" y="309742"/>
                      </a:lnTo>
                      <a:lnTo>
                        <a:pt x="146420" y="308892"/>
                      </a:lnTo>
                      <a:lnTo>
                        <a:pt x="155502" y="306136"/>
                      </a:lnTo>
                      <a:lnTo>
                        <a:pt x="157761" y="305152"/>
                      </a:lnTo>
                      <a:lnTo>
                        <a:pt x="158587" y="304679"/>
                      </a:lnTo>
                      <a:lnTo>
                        <a:pt x="159510" y="303416"/>
                      </a:lnTo>
                      <a:lnTo>
                        <a:pt x="160384" y="302408"/>
                      </a:lnTo>
                      <a:lnTo>
                        <a:pt x="163565" y="299736"/>
                      </a:lnTo>
                      <a:lnTo>
                        <a:pt x="163456" y="299457"/>
                      </a:lnTo>
                      <a:lnTo>
                        <a:pt x="165022" y="293373"/>
                      </a:lnTo>
                      <a:lnTo>
                        <a:pt x="166382" y="292184"/>
                      </a:lnTo>
                      <a:lnTo>
                        <a:pt x="167961" y="291455"/>
                      </a:lnTo>
                      <a:lnTo>
                        <a:pt x="169989" y="291139"/>
                      </a:lnTo>
                      <a:lnTo>
                        <a:pt x="175405" y="293082"/>
                      </a:lnTo>
                      <a:lnTo>
                        <a:pt x="182958" y="291734"/>
                      </a:lnTo>
                      <a:lnTo>
                        <a:pt x="185034" y="291552"/>
                      </a:lnTo>
                      <a:lnTo>
                        <a:pt x="186625" y="292414"/>
                      </a:lnTo>
                      <a:lnTo>
                        <a:pt x="187961" y="293689"/>
                      </a:lnTo>
                      <a:lnTo>
                        <a:pt x="188762" y="295158"/>
                      </a:lnTo>
                      <a:lnTo>
                        <a:pt x="189612" y="298024"/>
                      </a:lnTo>
                      <a:lnTo>
                        <a:pt x="190304" y="298777"/>
                      </a:lnTo>
                      <a:lnTo>
                        <a:pt x="191336" y="299481"/>
                      </a:lnTo>
                      <a:lnTo>
                        <a:pt x="194299" y="300671"/>
                      </a:lnTo>
                      <a:lnTo>
                        <a:pt x="195538" y="301667"/>
                      </a:lnTo>
                      <a:lnTo>
                        <a:pt x="194263" y="304994"/>
                      </a:lnTo>
                      <a:lnTo>
                        <a:pt x="196667" y="303148"/>
                      </a:lnTo>
                      <a:lnTo>
                        <a:pt x="197930" y="304776"/>
                      </a:lnTo>
                      <a:lnTo>
                        <a:pt x="199460" y="306099"/>
                      </a:lnTo>
                      <a:lnTo>
                        <a:pt x="201403" y="306597"/>
                      </a:lnTo>
                      <a:lnTo>
                        <a:pt x="203710" y="307799"/>
                      </a:lnTo>
                      <a:lnTo>
                        <a:pt x="205033" y="308066"/>
                      </a:lnTo>
                      <a:lnTo>
                        <a:pt x="206600" y="308079"/>
                      </a:lnTo>
                      <a:lnTo>
                        <a:pt x="211287" y="306451"/>
                      </a:lnTo>
                      <a:lnTo>
                        <a:pt x="217820" y="302687"/>
                      </a:lnTo>
                      <a:lnTo>
                        <a:pt x="217929" y="301230"/>
                      </a:lnTo>
                      <a:lnTo>
                        <a:pt x="217444" y="298146"/>
                      </a:lnTo>
                      <a:lnTo>
                        <a:pt x="217492" y="294709"/>
                      </a:lnTo>
                      <a:lnTo>
                        <a:pt x="219241" y="292184"/>
                      </a:lnTo>
                      <a:lnTo>
                        <a:pt x="222495" y="290496"/>
                      </a:lnTo>
                      <a:lnTo>
                        <a:pt x="232792" y="290325"/>
                      </a:lnTo>
                      <a:lnTo>
                        <a:pt x="235609" y="289670"/>
                      </a:lnTo>
                      <a:lnTo>
                        <a:pt x="237552" y="288771"/>
                      </a:lnTo>
                      <a:lnTo>
                        <a:pt x="241268" y="286513"/>
                      </a:lnTo>
                      <a:lnTo>
                        <a:pt x="244061" y="285687"/>
                      </a:lnTo>
                      <a:lnTo>
                        <a:pt x="255111" y="285517"/>
                      </a:lnTo>
                      <a:lnTo>
                        <a:pt x="257685" y="286148"/>
                      </a:lnTo>
                      <a:lnTo>
                        <a:pt x="259883" y="287569"/>
                      </a:lnTo>
                      <a:lnTo>
                        <a:pt x="261510" y="289536"/>
                      </a:lnTo>
                      <a:lnTo>
                        <a:pt x="261875" y="289876"/>
                      </a:lnTo>
                      <a:lnTo>
                        <a:pt x="262045" y="289937"/>
                      </a:lnTo>
                      <a:lnTo>
                        <a:pt x="263271" y="289755"/>
                      </a:lnTo>
                      <a:lnTo>
                        <a:pt x="269622" y="287278"/>
                      </a:lnTo>
                      <a:lnTo>
                        <a:pt x="270751" y="286525"/>
                      </a:lnTo>
                      <a:lnTo>
                        <a:pt x="271990" y="285408"/>
                      </a:lnTo>
                      <a:lnTo>
                        <a:pt x="275074" y="281121"/>
                      </a:lnTo>
                      <a:lnTo>
                        <a:pt x="277296" y="279591"/>
                      </a:lnTo>
                      <a:lnTo>
                        <a:pt x="279081" y="279713"/>
                      </a:lnTo>
                      <a:lnTo>
                        <a:pt x="280648" y="280150"/>
                      </a:lnTo>
                      <a:lnTo>
                        <a:pt x="282433" y="281230"/>
                      </a:lnTo>
                      <a:lnTo>
                        <a:pt x="287812" y="285991"/>
                      </a:lnTo>
                      <a:lnTo>
                        <a:pt x="289925" y="287266"/>
                      </a:lnTo>
                      <a:lnTo>
                        <a:pt x="290811" y="287435"/>
                      </a:lnTo>
                      <a:lnTo>
                        <a:pt x="291406" y="287290"/>
                      </a:lnTo>
                      <a:lnTo>
                        <a:pt x="292086" y="286646"/>
                      </a:lnTo>
                      <a:lnTo>
                        <a:pt x="292451" y="284971"/>
                      </a:lnTo>
                      <a:lnTo>
                        <a:pt x="292535" y="283404"/>
                      </a:lnTo>
                      <a:lnTo>
                        <a:pt x="291868" y="280830"/>
                      </a:lnTo>
                      <a:lnTo>
                        <a:pt x="289160" y="277308"/>
                      </a:lnTo>
                      <a:lnTo>
                        <a:pt x="288953" y="275961"/>
                      </a:lnTo>
                      <a:lnTo>
                        <a:pt x="288990" y="274528"/>
                      </a:lnTo>
                      <a:lnTo>
                        <a:pt x="289585" y="272330"/>
                      </a:lnTo>
                      <a:lnTo>
                        <a:pt x="290945" y="270812"/>
                      </a:lnTo>
                      <a:lnTo>
                        <a:pt x="293422" y="269051"/>
                      </a:lnTo>
                      <a:lnTo>
                        <a:pt x="293507" y="267801"/>
                      </a:lnTo>
                      <a:lnTo>
                        <a:pt x="292961" y="266428"/>
                      </a:lnTo>
                      <a:lnTo>
                        <a:pt x="291564" y="264048"/>
                      </a:lnTo>
                      <a:lnTo>
                        <a:pt x="290240" y="262688"/>
                      </a:lnTo>
                      <a:lnTo>
                        <a:pt x="288735" y="261401"/>
                      </a:lnTo>
                      <a:lnTo>
                        <a:pt x="287059" y="259240"/>
                      </a:lnTo>
                      <a:lnTo>
                        <a:pt x="285845" y="256082"/>
                      </a:lnTo>
                      <a:lnTo>
                        <a:pt x="285675" y="251055"/>
                      </a:lnTo>
                      <a:lnTo>
                        <a:pt x="286330" y="247753"/>
                      </a:lnTo>
                      <a:lnTo>
                        <a:pt x="287448" y="245154"/>
                      </a:lnTo>
                      <a:lnTo>
                        <a:pt x="288553" y="243235"/>
                      </a:lnTo>
                      <a:lnTo>
                        <a:pt x="289063" y="241863"/>
                      </a:lnTo>
                      <a:lnTo>
                        <a:pt x="288893" y="241025"/>
                      </a:lnTo>
                      <a:lnTo>
                        <a:pt x="288674" y="239107"/>
                      </a:lnTo>
                      <a:lnTo>
                        <a:pt x="287909" y="236484"/>
                      </a:lnTo>
                      <a:lnTo>
                        <a:pt x="287095" y="234772"/>
                      </a:lnTo>
                      <a:lnTo>
                        <a:pt x="286148" y="234177"/>
                      </a:lnTo>
                      <a:lnTo>
                        <a:pt x="284048" y="233314"/>
                      </a:lnTo>
                      <a:lnTo>
                        <a:pt x="282250" y="231663"/>
                      </a:lnTo>
                      <a:lnTo>
                        <a:pt x="280975" y="229089"/>
                      </a:lnTo>
                      <a:lnTo>
                        <a:pt x="280065" y="224766"/>
                      </a:lnTo>
                      <a:lnTo>
                        <a:pt x="279203" y="221949"/>
                      </a:lnTo>
                      <a:lnTo>
                        <a:pt x="275912" y="215817"/>
                      </a:lnTo>
                      <a:lnTo>
                        <a:pt x="275560" y="209381"/>
                      </a:lnTo>
                      <a:lnTo>
                        <a:pt x="277988" y="206612"/>
                      </a:lnTo>
                      <a:lnTo>
                        <a:pt x="281024" y="204317"/>
                      </a:lnTo>
                      <a:lnTo>
                        <a:pt x="282068" y="203261"/>
                      </a:lnTo>
                      <a:lnTo>
                        <a:pt x="283088" y="201743"/>
                      </a:lnTo>
                      <a:lnTo>
                        <a:pt x="285371" y="196533"/>
                      </a:lnTo>
                      <a:lnTo>
                        <a:pt x="286525" y="194445"/>
                      </a:lnTo>
                      <a:lnTo>
                        <a:pt x="288152" y="192223"/>
                      </a:lnTo>
                      <a:lnTo>
                        <a:pt x="290313" y="190984"/>
                      </a:lnTo>
                      <a:lnTo>
                        <a:pt x="294065" y="189649"/>
                      </a:lnTo>
                      <a:lnTo>
                        <a:pt x="296980" y="190765"/>
                      </a:lnTo>
                      <a:lnTo>
                        <a:pt x="301448" y="193413"/>
                      </a:lnTo>
                      <a:lnTo>
                        <a:pt x="303185" y="198476"/>
                      </a:lnTo>
                      <a:lnTo>
                        <a:pt x="304533" y="201051"/>
                      </a:lnTo>
                      <a:lnTo>
                        <a:pt x="307763" y="202241"/>
                      </a:lnTo>
                      <a:lnTo>
                        <a:pt x="311831" y="201828"/>
                      </a:lnTo>
                      <a:lnTo>
                        <a:pt x="315583" y="202581"/>
                      </a:lnTo>
                      <a:lnTo>
                        <a:pt x="318412" y="205009"/>
                      </a:lnTo>
                      <a:lnTo>
                        <a:pt x="320173" y="207814"/>
                      </a:lnTo>
                      <a:lnTo>
                        <a:pt x="321108" y="209988"/>
                      </a:lnTo>
                      <a:lnTo>
                        <a:pt x="321472" y="210049"/>
                      </a:lnTo>
                      <a:lnTo>
                        <a:pt x="323294" y="208676"/>
                      </a:lnTo>
                      <a:lnTo>
                        <a:pt x="325868" y="205362"/>
                      </a:lnTo>
                      <a:lnTo>
                        <a:pt x="329414" y="202653"/>
                      </a:lnTo>
                      <a:lnTo>
                        <a:pt x="331624" y="201051"/>
                      </a:lnTo>
                      <a:lnTo>
                        <a:pt x="334380" y="204099"/>
                      </a:lnTo>
                      <a:lnTo>
                        <a:pt x="338351" y="201779"/>
                      </a:lnTo>
                      <a:lnTo>
                        <a:pt x="342079" y="203868"/>
                      </a:lnTo>
                      <a:lnTo>
                        <a:pt x="344277" y="207984"/>
                      </a:lnTo>
                      <a:lnTo>
                        <a:pt x="345236" y="211737"/>
                      </a:lnTo>
                      <a:lnTo>
                        <a:pt x="345649" y="214991"/>
                      </a:lnTo>
                      <a:lnTo>
                        <a:pt x="345746" y="215185"/>
                      </a:lnTo>
                      <a:lnTo>
                        <a:pt x="347142" y="215707"/>
                      </a:lnTo>
                      <a:lnTo>
                        <a:pt x="349972" y="217492"/>
                      </a:lnTo>
                      <a:lnTo>
                        <a:pt x="350907" y="218973"/>
                      </a:lnTo>
                      <a:lnTo>
                        <a:pt x="352097" y="218148"/>
                      </a:lnTo>
                      <a:lnTo>
                        <a:pt x="354452" y="216836"/>
                      </a:lnTo>
                      <a:lnTo>
                        <a:pt x="361544" y="215221"/>
                      </a:lnTo>
                      <a:lnTo>
                        <a:pt x="365053" y="213971"/>
                      </a:lnTo>
                      <a:lnTo>
                        <a:pt x="367785" y="215780"/>
                      </a:lnTo>
                      <a:lnTo>
                        <a:pt x="368271" y="215829"/>
                      </a:lnTo>
                      <a:lnTo>
                        <a:pt x="369522" y="215246"/>
                      </a:lnTo>
                      <a:lnTo>
                        <a:pt x="373116" y="213752"/>
                      </a:lnTo>
                      <a:lnTo>
                        <a:pt x="378945" y="210109"/>
                      </a:lnTo>
                      <a:lnTo>
                        <a:pt x="383219" y="208931"/>
                      </a:lnTo>
                      <a:lnTo>
                        <a:pt x="387457" y="209004"/>
                      </a:lnTo>
                      <a:lnTo>
                        <a:pt x="391027" y="210959"/>
                      </a:lnTo>
                      <a:lnTo>
                        <a:pt x="392168" y="210971"/>
                      </a:lnTo>
                      <a:lnTo>
                        <a:pt x="395763" y="208786"/>
                      </a:lnTo>
                      <a:lnTo>
                        <a:pt x="399211" y="207802"/>
                      </a:lnTo>
                      <a:lnTo>
                        <a:pt x="401956" y="207511"/>
                      </a:lnTo>
                      <a:lnTo>
                        <a:pt x="404688" y="207972"/>
                      </a:lnTo>
                      <a:lnTo>
                        <a:pt x="407019" y="209077"/>
                      </a:lnTo>
                      <a:lnTo>
                        <a:pt x="410868" y="212550"/>
                      </a:lnTo>
                      <a:lnTo>
                        <a:pt x="412362" y="213570"/>
                      </a:lnTo>
                      <a:lnTo>
                        <a:pt x="413358" y="213643"/>
                      </a:lnTo>
                      <a:lnTo>
                        <a:pt x="417341" y="213449"/>
                      </a:lnTo>
                      <a:lnTo>
                        <a:pt x="420146" y="213777"/>
                      </a:lnTo>
                      <a:lnTo>
                        <a:pt x="425561" y="215051"/>
                      </a:lnTo>
                      <a:lnTo>
                        <a:pt x="426873" y="214675"/>
                      </a:lnTo>
                      <a:lnTo>
                        <a:pt x="427650" y="214019"/>
                      </a:lnTo>
                      <a:lnTo>
                        <a:pt x="430831" y="211712"/>
                      </a:lnTo>
                      <a:lnTo>
                        <a:pt x="429933" y="210753"/>
                      </a:lnTo>
                      <a:lnTo>
                        <a:pt x="425695" y="207924"/>
                      </a:lnTo>
                      <a:lnTo>
                        <a:pt x="424153" y="205337"/>
                      </a:lnTo>
                      <a:lnTo>
                        <a:pt x="422926" y="200140"/>
                      </a:lnTo>
                      <a:lnTo>
                        <a:pt x="422732" y="199727"/>
                      </a:lnTo>
                      <a:lnTo>
                        <a:pt x="421068" y="198245"/>
                      </a:lnTo>
                      <a:lnTo>
                        <a:pt x="419417" y="195501"/>
                      </a:lnTo>
                      <a:lnTo>
                        <a:pt x="418980" y="194664"/>
                      </a:lnTo>
                      <a:lnTo>
                        <a:pt x="419538" y="190365"/>
                      </a:lnTo>
                      <a:lnTo>
                        <a:pt x="421809" y="187147"/>
                      </a:lnTo>
                      <a:lnTo>
                        <a:pt x="423424" y="185520"/>
                      </a:lnTo>
                      <a:lnTo>
                        <a:pt x="423364" y="185168"/>
                      </a:lnTo>
                      <a:lnTo>
                        <a:pt x="422465" y="183965"/>
                      </a:lnTo>
                      <a:lnTo>
                        <a:pt x="422064" y="183274"/>
                      </a:lnTo>
                      <a:lnTo>
                        <a:pt x="422064" y="182035"/>
                      </a:lnTo>
                      <a:lnTo>
                        <a:pt x="422186" y="180820"/>
                      </a:lnTo>
                      <a:lnTo>
                        <a:pt x="422926" y="178258"/>
                      </a:lnTo>
                      <a:lnTo>
                        <a:pt x="422999" y="177141"/>
                      </a:lnTo>
                      <a:lnTo>
                        <a:pt x="422963" y="176850"/>
                      </a:lnTo>
                      <a:lnTo>
                        <a:pt x="422368" y="175854"/>
                      </a:lnTo>
                      <a:lnTo>
                        <a:pt x="420012" y="173098"/>
                      </a:lnTo>
                      <a:lnTo>
                        <a:pt x="417948" y="170195"/>
                      </a:lnTo>
                      <a:lnTo>
                        <a:pt x="418749" y="166273"/>
                      </a:lnTo>
                      <a:lnTo>
                        <a:pt x="421664" y="163578"/>
                      </a:lnTo>
                      <a:lnTo>
                        <a:pt x="434547" y="159898"/>
                      </a:lnTo>
                      <a:lnTo>
                        <a:pt x="437049" y="157652"/>
                      </a:lnTo>
                      <a:lnTo>
                        <a:pt x="437389" y="156389"/>
                      </a:lnTo>
                      <a:lnTo>
                        <a:pt x="438117" y="154677"/>
                      </a:lnTo>
                      <a:lnTo>
                        <a:pt x="439416" y="152807"/>
                      </a:lnTo>
                      <a:lnTo>
                        <a:pt x="442149" y="150913"/>
                      </a:lnTo>
                      <a:lnTo>
                        <a:pt x="446848" y="149030"/>
                      </a:lnTo>
                      <a:lnTo>
                        <a:pt x="447261" y="148654"/>
                      </a:lnTo>
                      <a:lnTo>
                        <a:pt x="447334" y="147731"/>
                      </a:lnTo>
                      <a:lnTo>
                        <a:pt x="447176" y="147148"/>
                      </a:lnTo>
                      <a:lnTo>
                        <a:pt x="447066" y="144513"/>
                      </a:lnTo>
                      <a:lnTo>
                        <a:pt x="448597" y="141963"/>
                      </a:lnTo>
                      <a:lnTo>
                        <a:pt x="450649" y="140700"/>
                      </a:lnTo>
                      <a:lnTo>
                        <a:pt x="453745" y="139668"/>
                      </a:lnTo>
                      <a:lnTo>
                        <a:pt x="454510" y="139158"/>
                      </a:lnTo>
                      <a:lnTo>
                        <a:pt x="455336" y="136414"/>
                      </a:lnTo>
                      <a:lnTo>
                        <a:pt x="456939" y="133852"/>
                      </a:lnTo>
                      <a:lnTo>
                        <a:pt x="460327" y="132395"/>
                      </a:lnTo>
                      <a:lnTo>
                        <a:pt x="463350" y="132698"/>
                      </a:lnTo>
                      <a:lnTo>
                        <a:pt x="467163" y="134495"/>
                      </a:lnTo>
                      <a:lnTo>
                        <a:pt x="469689" y="134374"/>
                      </a:lnTo>
                      <a:lnTo>
                        <a:pt x="471486" y="133913"/>
                      </a:lnTo>
                      <a:lnTo>
                        <a:pt x="474680" y="133621"/>
                      </a:lnTo>
                      <a:lnTo>
                        <a:pt x="477740" y="135454"/>
                      </a:lnTo>
                      <a:lnTo>
                        <a:pt x="480909" y="139923"/>
                      </a:lnTo>
                      <a:lnTo>
                        <a:pt x="482245" y="141222"/>
                      </a:lnTo>
                      <a:lnTo>
                        <a:pt x="484090" y="142230"/>
                      </a:lnTo>
                      <a:lnTo>
                        <a:pt x="487405" y="145084"/>
                      </a:lnTo>
                      <a:lnTo>
                        <a:pt x="488802" y="139049"/>
                      </a:lnTo>
                      <a:lnTo>
                        <a:pt x="490538" y="134447"/>
                      </a:lnTo>
                      <a:lnTo>
                        <a:pt x="492445" y="131059"/>
                      </a:lnTo>
                      <a:lnTo>
                        <a:pt x="494983" y="128739"/>
                      </a:lnTo>
                      <a:lnTo>
                        <a:pt x="499233" y="126687"/>
                      </a:lnTo>
                      <a:lnTo>
                        <a:pt x="500811" y="125764"/>
                      </a:lnTo>
                      <a:lnTo>
                        <a:pt x="501576" y="125060"/>
                      </a:lnTo>
                      <a:lnTo>
                        <a:pt x="501722" y="123846"/>
                      </a:lnTo>
                      <a:lnTo>
                        <a:pt x="501333" y="121988"/>
                      </a:lnTo>
                      <a:lnTo>
                        <a:pt x="499245" y="117325"/>
                      </a:lnTo>
                      <a:lnTo>
                        <a:pt x="498723" y="112213"/>
                      </a:lnTo>
                      <a:lnTo>
                        <a:pt x="498528" y="109541"/>
                      </a:lnTo>
                      <a:lnTo>
                        <a:pt x="503628" y="108533"/>
                      </a:lnTo>
                      <a:lnTo>
                        <a:pt x="505826" y="108533"/>
                      </a:lnTo>
                      <a:lnTo>
                        <a:pt x="507903" y="108849"/>
                      </a:lnTo>
                      <a:lnTo>
                        <a:pt x="518418" y="111788"/>
                      </a:lnTo>
                      <a:lnTo>
                        <a:pt x="519341" y="111739"/>
                      </a:lnTo>
                      <a:lnTo>
                        <a:pt x="521041" y="110829"/>
                      </a:lnTo>
                      <a:lnTo>
                        <a:pt x="522365" y="108983"/>
                      </a:lnTo>
                      <a:lnTo>
                        <a:pt x="524611" y="103907"/>
                      </a:lnTo>
                      <a:lnTo>
                        <a:pt x="525449" y="100325"/>
                      </a:lnTo>
                      <a:lnTo>
                        <a:pt x="525789" y="96949"/>
                      </a:lnTo>
                      <a:lnTo>
                        <a:pt x="525146" y="92153"/>
                      </a:lnTo>
                      <a:lnTo>
                        <a:pt x="525121" y="88741"/>
                      </a:lnTo>
                      <a:lnTo>
                        <a:pt x="525522" y="86142"/>
                      </a:lnTo>
                      <a:lnTo>
                        <a:pt x="527914" y="76209"/>
                      </a:lnTo>
                      <a:lnTo>
                        <a:pt x="528060" y="74060"/>
                      </a:lnTo>
                      <a:lnTo>
                        <a:pt x="528048" y="71886"/>
                      </a:lnTo>
                      <a:lnTo>
                        <a:pt x="527101" y="63726"/>
                      </a:lnTo>
                      <a:lnTo>
                        <a:pt x="528959" y="60435"/>
                      </a:lnTo>
                      <a:lnTo>
                        <a:pt x="532468" y="57448"/>
                      </a:lnTo>
                      <a:lnTo>
                        <a:pt x="539802" y="54631"/>
                      </a:lnTo>
                      <a:lnTo>
                        <a:pt x="544429" y="54036"/>
                      </a:lnTo>
                      <a:lnTo>
                        <a:pt x="550354" y="54874"/>
                      </a:lnTo>
                      <a:lnTo>
                        <a:pt x="551265" y="54765"/>
                      </a:lnTo>
                      <a:lnTo>
                        <a:pt x="554094" y="53125"/>
                      </a:lnTo>
                      <a:lnTo>
                        <a:pt x="556899" y="52239"/>
                      </a:lnTo>
                      <a:lnTo>
                        <a:pt x="559595" y="52057"/>
                      </a:lnTo>
                      <a:lnTo>
                        <a:pt x="563772" y="52676"/>
                      </a:lnTo>
                      <a:lnTo>
                        <a:pt x="564246" y="52300"/>
                      </a:lnTo>
                      <a:lnTo>
                        <a:pt x="564756" y="50891"/>
                      </a:lnTo>
                      <a:lnTo>
                        <a:pt x="564962" y="49361"/>
                      </a:lnTo>
                      <a:lnTo>
                        <a:pt x="565752" y="46774"/>
                      </a:lnTo>
                      <a:lnTo>
                        <a:pt x="567391" y="44018"/>
                      </a:lnTo>
                      <a:lnTo>
                        <a:pt x="570293" y="41007"/>
                      </a:lnTo>
                      <a:lnTo>
                        <a:pt x="581683" y="32349"/>
                      </a:lnTo>
                      <a:lnTo>
                        <a:pt x="587403" y="29847"/>
                      </a:lnTo>
                      <a:lnTo>
                        <a:pt x="589710" y="29289"/>
                      </a:lnTo>
                      <a:lnTo>
                        <a:pt x="590523" y="28147"/>
                      </a:lnTo>
                      <a:lnTo>
                        <a:pt x="590790" y="26751"/>
                      </a:lnTo>
                      <a:lnTo>
                        <a:pt x="590754" y="23266"/>
                      </a:lnTo>
                      <a:lnTo>
                        <a:pt x="589770" y="18178"/>
                      </a:lnTo>
                      <a:lnTo>
                        <a:pt x="590292" y="14365"/>
                      </a:lnTo>
                      <a:lnTo>
                        <a:pt x="591070" y="11827"/>
                      </a:lnTo>
                      <a:lnTo>
                        <a:pt x="598052" y="2052"/>
                      </a:lnTo>
                      <a:lnTo>
                        <a:pt x="602023" y="437"/>
                      </a:lnTo>
                      <a:lnTo>
                        <a:pt x="604463" y="0"/>
                      </a:lnTo>
                      <a:lnTo>
                        <a:pt x="607111" y="97"/>
                      </a:lnTo>
                      <a:lnTo>
                        <a:pt x="610146" y="1057"/>
                      </a:lnTo>
                      <a:lnTo>
                        <a:pt x="612854" y="2781"/>
                      </a:lnTo>
                      <a:lnTo>
                        <a:pt x="615720" y="5768"/>
                      </a:lnTo>
                      <a:lnTo>
                        <a:pt x="617140" y="8342"/>
                      </a:lnTo>
                      <a:lnTo>
                        <a:pt x="617784" y="10977"/>
                      </a:lnTo>
                      <a:lnTo>
                        <a:pt x="617675" y="20437"/>
                      </a:lnTo>
                      <a:lnTo>
                        <a:pt x="617893" y="22246"/>
                      </a:lnTo>
                      <a:lnTo>
                        <a:pt x="618756" y="22804"/>
                      </a:lnTo>
                      <a:lnTo>
                        <a:pt x="621342" y="23946"/>
                      </a:lnTo>
                      <a:lnTo>
                        <a:pt x="627535" y="25949"/>
                      </a:lnTo>
                      <a:lnTo>
                        <a:pt x="630425" y="27298"/>
                      </a:lnTo>
                      <a:lnTo>
                        <a:pt x="633376" y="29446"/>
                      </a:lnTo>
                      <a:lnTo>
                        <a:pt x="633898" y="34717"/>
                      </a:lnTo>
                      <a:lnTo>
                        <a:pt x="634056" y="35008"/>
                      </a:lnTo>
                      <a:lnTo>
                        <a:pt x="634299" y="35081"/>
                      </a:lnTo>
                      <a:lnTo>
                        <a:pt x="635659" y="34826"/>
                      </a:lnTo>
                      <a:lnTo>
                        <a:pt x="638039" y="33150"/>
                      </a:lnTo>
                      <a:lnTo>
                        <a:pt x="640649" y="30357"/>
                      </a:lnTo>
                      <a:lnTo>
                        <a:pt x="643418" y="28912"/>
                      </a:lnTo>
                      <a:lnTo>
                        <a:pt x="645676" y="28293"/>
                      </a:lnTo>
                      <a:lnTo>
                        <a:pt x="654176" y="29665"/>
                      </a:lnTo>
                      <a:lnTo>
                        <a:pt x="662664" y="33964"/>
                      </a:lnTo>
                      <a:lnTo>
                        <a:pt x="662810" y="37073"/>
                      </a:lnTo>
                      <a:lnTo>
                        <a:pt x="662494" y="39659"/>
                      </a:lnTo>
                      <a:lnTo>
                        <a:pt x="660989" y="42974"/>
                      </a:lnTo>
                      <a:lnTo>
                        <a:pt x="660284" y="45002"/>
                      </a:lnTo>
                      <a:lnTo>
                        <a:pt x="659969" y="47515"/>
                      </a:lnTo>
                      <a:lnTo>
                        <a:pt x="660199" y="48669"/>
                      </a:lnTo>
                      <a:lnTo>
                        <a:pt x="663939" y="57157"/>
                      </a:lnTo>
                      <a:lnTo>
                        <a:pt x="666028" y="67515"/>
                      </a:lnTo>
                      <a:lnTo>
                        <a:pt x="665809" y="71291"/>
                      </a:lnTo>
                      <a:lnTo>
                        <a:pt x="664838" y="72481"/>
                      </a:lnTo>
                      <a:lnTo>
                        <a:pt x="663672" y="73538"/>
                      </a:lnTo>
                      <a:lnTo>
                        <a:pt x="662276" y="74218"/>
                      </a:lnTo>
                      <a:lnTo>
                        <a:pt x="661122" y="74594"/>
                      </a:lnTo>
                      <a:lnTo>
                        <a:pt x="658414" y="75153"/>
                      </a:lnTo>
                      <a:lnTo>
                        <a:pt x="658014" y="75614"/>
                      </a:lnTo>
                      <a:lnTo>
                        <a:pt x="658184" y="76683"/>
                      </a:lnTo>
                      <a:lnTo>
                        <a:pt x="658633" y="77217"/>
                      </a:lnTo>
                      <a:lnTo>
                        <a:pt x="663867" y="81382"/>
                      </a:lnTo>
                      <a:lnTo>
                        <a:pt x="665919" y="83944"/>
                      </a:lnTo>
                      <a:lnTo>
                        <a:pt x="667764" y="87721"/>
                      </a:lnTo>
                      <a:lnTo>
                        <a:pt x="669792" y="93962"/>
                      </a:lnTo>
                      <a:lnTo>
                        <a:pt x="670703" y="100143"/>
                      </a:lnTo>
                      <a:lnTo>
                        <a:pt x="670909" y="103349"/>
                      </a:lnTo>
                      <a:lnTo>
                        <a:pt x="670363" y="106166"/>
                      </a:lnTo>
                      <a:lnTo>
                        <a:pt x="669149" y="108376"/>
                      </a:lnTo>
                      <a:lnTo>
                        <a:pt x="657334" y="119717"/>
                      </a:lnTo>
                      <a:lnTo>
                        <a:pt x="655160" y="121284"/>
                      </a:lnTo>
                      <a:lnTo>
                        <a:pt x="652865" y="122437"/>
                      </a:lnTo>
                      <a:lnTo>
                        <a:pt x="650813" y="123178"/>
                      </a:lnTo>
                      <a:lnTo>
                        <a:pt x="649854" y="123676"/>
                      </a:lnTo>
                      <a:lnTo>
                        <a:pt x="649089" y="124501"/>
                      </a:lnTo>
                      <a:lnTo>
                        <a:pt x="648056" y="126080"/>
                      </a:lnTo>
                      <a:lnTo>
                        <a:pt x="647255" y="127950"/>
                      </a:lnTo>
                      <a:lnTo>
                        <a:pt x="647389" y="127792"/>
                      </a:lnTo>
                      <a:lnTo>
                        <a:pt x="649805" y="129954"/>
                      </a:lnTo>
                      <a:lnTo>
                        <a:pt x="651323" y="131739"/>
                      </a:lnTo>
                      <a:lnTo>
                        <a:pt x="652574" y="133924"/>
                      </a:lnTo>
                      <a:lnTo>
                        <a:pt x="653399" y="137616"/>
                      </a:lnTo>
                      <a:lnTo>
                        <a:pt x="652974" y="140603"/>
                      </a:lnTo>
                      <a:lnTo>
                        <a:pt x="652829" y="141259"/>
                      </a:lnTo>
                      <a:lnTo>
                        <a:pt x="651287" y="143287"/>
                      </a:lnTo>
                      <a:lnTo>
                        <a:pt x="648761" y="145096"/>
                      </a:lnTo>
                      <a:lnTo>
                        <a:pt x="641706" y="148047"/>
                      </a:lnTo>
                      <a:lnTo>
                        <a:pt x="640188" y="149030"/>
                      </a:lnTo>
                      <a:lnTo>
                        <a:pt x="639544" y="149881"/>
                      </a:lnTo>
                      <a:lnTo>
                        <a:pt x="637954" y="153717"/>
                      </a:lnTo>
                      <a:lnTo>
                        <a:pt x="632283" y="161368"/>
                      </a:lnTo>
                      <a:lnTo>
                        <a:pt x="631020" y="163662"/>
                      </a:lnTo>
                      <a:lnTo>
                        <a:pt x="631761" y="164865"/>
                      </a:lnTo>
                      <a:lnTo>
                        <a:pt x="637164" y="167099"/>
                      </a:lnTo>
                      <a:lnTo>
                        <a:pt x="639933" y="168593"/>
                      </a:lnTo>
                      <a:lnTo>
                        <a:pt x="643114" y="170961"/>
                      </a:lnTo>
                      <a:lnTo>
                        <a:pt x="644049" y="171300"/>
                      </a:lnTo>
                      <a:lnTo>
                        <a:pt x="647000" y="171264"/>
                      </a:lnTo>
                      <a:lnTo>
                        <a:pt x="651274" y="171798"/>
                      </a:lnTo>
                      <a:lnTo>
                        <a:pt x="653314" y="171701"/>
                      </a:lnTo>
                      <a:lnTo>
                        <a:pt x="661912" y="170438"/>
                      </a:lnTo>
                      <a:lnTo>
                        <a:pt x="663454" y="176837"/>
                      </a:lnTo>
                      <a:lnTo>
                        <a:pt x="664049" y="176765"/>
                      </a:lnTo>
                      <a:lnTo>
                        <a:pt x="665506" y="176060"/>
                      </a:lnTo>
                      <a:lnTo>
                        <a:pt x="669197" y="173717"/>
                      </a:lnTo>
                      <a:lnTo>
                        <a:pt x="671869" y="172369"/>
                      </a:lnTo>
                      <a:lnTo>
                        <a:pt x="676993" y="170985"/>
                      </a:lnTo>
                      <a:lnTo>
                        <a:pt x="680757" y="172393"/>
                      </a:lnTo>
                      <a:lnTo>
                        <a:pt x="682166" y="175939"/>
                      </a:lnTo>
                      <a:lnTo>
                        <a:pt x="681170" y="179303"/>
                      </a:lnTo>
                      <a:lnTo>
                        <a:pt x="675123" y="191312"/>
                      </a:lnTo>
                      <a:lnTo>
                        <a:pt x="673132" y="192283"/>
                      </a:lnTo>
                      <a:lnTo>
                        <a:pt x="663442" y="194554"/>
                      </a:lnTo>
                      <a:lnTo>
                        <a:pt x="662409" y="195271"/>
                      </a:lnTo>
                      <a:lnTo>
                        <a:pt x="662239" y="195525"/>
                      </a:lnTo>
                      <a:lnTo>
                        <a:pt x="661693" y="198877"/>
                      </a:lnTo>
                      <a:lnTo>
                        <a:pt x="659835" y="201451"/>
                      </a:lnTo>
                      <a:lnTo>
                        <a:pt x="656799" y="203795"/>
                      </a:lnTo>
                      <a:lnTo>
                        <a:pt x="653739" y="204378"/>
                      </a:lnTo>
                      <a:lnTo>
                        <a:pt x="651129" y="204584"/>
                      </a:lnTo>
                      <a:lnTo>
                        <a:pt x="649465" y="206576"/>
                      </a:lnTo>
                      <a:lnTo>
                        <a:pt x="648457" y="210097"/>
                      </a:lnTo>
                      <a:lnTo>
                        <a:pt x="646101" y="214699"/>
                      </a:lnTo>
                      <a:lnTo>
                        <a:pt x="622945" y="244534"/>
                      </a:lnTo>
                      <a:lnTo>
                        <a:pt x="621731" y="249088"/>
                      </a:lnTo>
                      <a:lnTo>
                        <a:pt x="622083" y="250521"/>
                      </a:lnTo>
                      <a:lnTo>
                        <a:pt x="622374" y="251225"/>
                      </a:lnTo>
                      <a:lnTo>
                        <a:pt x="623370" y="252197"/>
                      </a:lnTo>
                      <a:lnTo>
                        <a:pt x="627280" y="253193"/>
                      </a:lnTo>
                      <a:lnTo>
                        <a:pt x="629417" y="254030"/>
                      </a:lnTo>
                      <a:lnTo>
                        <a:pt x="632465" y="256143"/>
                      </a:lnTo>
                      <a:lnTo>
                        <a:pt x="633412" y="257989"/>
                      </a:lnTo>
                      <a:lnTo>
                        <a:pt x="634651" y="266586"/>
                      </a:lnTo>
                      <a:lnTo>
                        <a:pt x="635816" y="268626"/>
                      </a:lnTo>
                      <a:lnTo>
                        <a:pt x="640540" y="276361"/>
                      </a:lnTo>
                      <a:lnTo>
                        <a:pt x="641074" y="280235"/>
                      </a:lnTo>
                      <a:lnTo>
                        <a:pt x="640309" y="284145"/>
                      </a:lnTo>
                      <a:lnTo>
                        <a:pt x="637492" y="288723"/>
                      </a:lnTo>
                      <a:lnTo>
                        <a:pt x="635962" y="291843"/>
                      </a:lnTo>
                      <a:lnTo>
                        <a:pt x="634930" y="295219"/>
                      </a:lnTo>
                      <a:lnTo>
                        <a:pt x="634651" y="298522"/>
                      </a:lnTo>
                      <a:lnTo>
                        <a:pt x="634845" y="321739"/>
                      </a:lnTo>
                      <a:lnTo>
                        <a:pt x="634007" y="326147"/>
                      </a:lnTo>
                      <a:lnTo>
                        <a:pt x="631676" y="327641"/>
                      </a:lnTo>
                      <a:lnTo>
                        <a:pt x="631117" y="328333"/>
                      </a:lnTo>
                      <a:lnTo>
                        <a:pt x="630935" y="329304"/>
                      </a:lnTo>
                      <a:lnTo>
                        <a:pt x="630170" y="336566"/>
                      </a:lnTo>
                      <a:lnTo>
                        <a:pt x="630194" y="337695"/>
                      </a:lnTo>
                      <a:lnTo>
                        <a:pt x="633619" y="339832"/>
                      </a:lnTo>
                      <a:lnTo>
                        <a:pt x="636472" y="342880"/>
                      </a:lnTo>
                      <a:lnTo>
                        <a:pt x="636873" y="344896"/>
                      </a:lnTo>
                      <a:lnTo>
                        <a:pt x="636411" y="347057"/>
                      </a:lnTo>
                      <a:lnTo>
                        <a:pt x="635671" y="348199"/>
                      </a:lnTo>
                      <a:lnTo>
                        <a:pt x="633473" y="350093"/>
                      </a:lnTo>
                      <a:lnTo>
                        <a:pt x="633849" y="350154"/>
                      </a:lnTo>
                      <a:lnTo>
                        <a:pt x="636630" y="352267"/>
                      </a:lnTo>
                      <a:lnTo>
                        <a:pt x="636994" y="354088"/>
                      </a:lnTo>
                      <a:lnTo>
                        <a:pt x="636982" y="355691"/>
                      </a:lnTo>
                      <a:lnTo>
                        <a:pt x="636581" y="357185"/>
                      </a:lnTo>
                      <a:lnTo>
                        <a:pt x="635501" y="359735"/>
                      </a:lnTo>
                      <a:lnTo>
                        <a:pt x="635015" y="362442"/>
                      </a:lnTo>
                      <a:lnTo>
                        <a:pt x="634238" y="364920"/>
                      </a:lnTo>
                      <a:lnTo>
                        <a:pt x="632781" y="367640"/>
                      </a:lnTo>
                      <a:lnTo>
                        <a:pt x="630449" y="369194"/>
                      </a:lnTo>
                      <a:lnTo>
                        <a:pt x="625908" y="371052"/>
                      </a:lnTo>
                      <a:lnTo>
                        <a:pt x="625361" y="371598"/>
                      </a:lnTo>
                      <a:lnTo>
                        <a:pt x="625252" y="373930"/>
                      </a:lnTo>
                      <a:lnTo>
                        <a:pt x="624171" y="376990"/>
                      </a:lnTo>
                      <a:lnTo>
                        <a:pt x="622143" y="379431"/>
                      </a:lnTo>
                      <a:lnTo>
                        <a:pt x="616509" y="382697"/>
                      </a:lnTo>
                      <a:lnTo>
                        <a:pt x="610632" y="387238"/>
                      </a:lnTo>
                      <a:lnTo>
                        <a:pt x="603128" y="391391"/>
                      </a:lnTo>
                      <a:lnTo>
                        <a:pt x="602545" y="391889"/>
                      </a:lnTo>
                      <a:lnTo>
                        <a:pt x="606127" y="396504"/>
                      </a:lnTo>
                      <a:lnTo>
                        <a:pt x="606940" y="397293"/>
                      </a:lnTo>
                      <a:lnTo>
                        <a:pt x="624997" y="401992"/>
                      </a:lnTo>
                      <a:lnTo>
                        <a:pt x="627668" y="402271"/>
                      </a:lnTo>
                      <a:lnTo>
                        <a:pt x="639022" y="401907"/>
                      </a:lnTo>
                      <a:lnTo>
                        <a:pt x="643308" y="402514"/>
                      </a:lnTo>
                      <a:lnTo>
                        <a:pt x="652659" y="406473"/>
                      </a:lnTo>
                      <a:lnTo>
                        <a:pt x="653764" y="408950"/>
                      </a:lnTo>
                      <a:lnTo>
                        <a:pt x="655524" y="410334"/>
                      </a:lnTo>
                      <a:lnTo>
                        <a:pt x="657030" y="413771"/>
                      </a:lnTo>
                      <a:lnTo>
                        <a:pt x="656872" y="417948"/>
                      </a:lnTo>
                      <a:lnTo>
                        <a:pt x="655512" y="420510"/>
                      </a:lnTo>
                      <a:lnTo>
                        <a:pt x="653994" y="422526"/>
                      </a:lnTo>
                      <a:lnTo>
                        <a:pt x="651675" y="424408"/>
                      </a:lnTo>
                      <a:lnTo>
                        <a:pt x="645944" y="427868"/>
                      </a:lnTo>
                      <a:lnTo>
                        <a:pt x="645446" y="428439"/>
                      </a:lnTo>
                      <a:lnTo>
                        <a:pt x="645009" y="429447"/>
                      </a:lnTo>
                      <a:lnTo>
                        <a:pt x="644960" y="430649"/>
                      </a:lnTo>
                      <a:lnTo>
                        <a:pt x="645288" y="435264"/>
                      </a:lnTo>
                      <a:lnTo>
                        <a:pt x="644911" y="438239"/>
                      </a:lnTo>
                      <a:lnTo>
                        <a:pt x="643952" y="440971"/>
                      </a:lnTo>
                      <a:lnTo>
                        <a:pt x="643381" y="443594"/>
                      </a:lnTo>
                      <a:lnTo>
                        <a:pt x="643236" y="446836"/>
                      </a:lnTo>
                      <a:lnTo>
                        <a:pt x="644365" y="456623"/>
                      </a:lnTo>
                      <a:lnTo>
                        <a:pt x="644377" y="460375"/>
                      </a:lnTo>
                      <a:lnTo>
                        <a:pt x="643673" y="465524"/>
                      </a:lnTo>
                      <a:lnTo>
                        <a:pt x="643576" y="469543"/>
                      </a:lnTo>
                      <a:lnTo>
                        <a:pt x="644134" y="478444"/>
                      </a:lnTo>
                      <a:lnTo>
                        <a:pt x="643139" y="480678"/>
                      </a:lnTo>
                      <a:lnTo>
                        <a:pt x="641876" y="482937"/>
                      </a:lnTo>
                      <a:lnTo>
                        <a:pt x="638221" y="486798"/>
                      </a:lnTo>
                      <a:lnTo>
                        <a:pt x="635513" y="490526"/>
                      </a:lnTo>
                      <a:lnTo>
                        <a:pt x="630874" y="489968"/>
                      </a:lnTo>
                      <a:lnTo>
                        <a:pt x="629854" y="489652"/>
                      </a:lnTo>
                      <a:lnTo>
                        <a:pt x="607730" y="489567"/>
                      </a:lnTo>
                      <a:lnTo>
                        <a:pt x="599412" y="488571"/>
                      </a:lnTo>
                      <a:lnTo>
                        <a:pt x="596777" y="487745"/>
                      </a:lnTo>
                      <a:lnTo>
                        <a:pt x="593061" y="485827"/>
                      </a:lnTo>
                      <a:lnTo>
                        <a:pt x="592260" y="485827"/>
                      </a:lnTo>
                      <a:lnTo>
                        <a:pt x="581392" y="487612"/>
                      </a:lnTo>
                      <a:lnTo>
                        <a:pt x="578295" y="488717"/>
                      </a:lnTo>
                      <a:lnTo>
                        <a:pt x="565630" y="496112"/>
                      </a:lnTo>
                      <a:lnTo>
                        <a:pt x="559850" y="503471"/>
                      </a:lnTo>
                      <a:lnTo>
                        <a:pt x="560081" y="505741"/>
                      </a:lnTo>
                      <a:lnTo>
                        <a:pt x="559109" y="507927"/>
                      </a:lnTo>
                      <a:lnTo>
                        <a:pt x="559109" y="511971"/>
                      </a:lnTo>
                      <a:lnTo>
                        <a:pt x="558101" y="520689"/>
                      </a:lnTo>
                      <a:lnTo>
                        <a:pt x="558563" y="523871"/>
                      </a:lnTo>
                      <a:lnTo>
                        <a:pt x="558818" y="524745"/>
                      </a:lnTo>
                      <a:lnTo>
                        <a:pt x="559316" y="525024"/>
                      </a:lnTo>
                      <a:lnTo>
                        <a:pt x="561004" y="525729"/>
                      </a:lnTo>
                      <a:lnTo>
                        <a:pt x="561562" y="526166"/>
                      </a:lnTo>
                      <a:lnTo>
                        <a:pt x="562789" y="527538"/>
                      </a:lnTo>
                      <a:lnTo>
                        <a:pt x="564975" y="532225"/>
                      </a:lnTo>
                      <a:lnTo>
                        <a:pt x="567367" y="536305"/>
                      </a:lnTo>
                      <a:lnTo>
                        <a:pt x="569431" y="542000"/>
                      </a:lnTo>
                      <a:lnTo>
                        <a:pt x="568678" y="545946"/>
                      </a:lnTo>
                      <a:lnTo>
                        <a:pt x="565290" y="548059"/>
                      </a:lnTo>
                      <a:lnTo>
                        <a:pt x="562291" y="547379"/>
                      </a:lnTo>
                      <a:lnTo>
                        <a:pt x="559923" y="546505"/>
                      </a:lnTo>
                      <a:lnTo>
                        <a:pt x="558563" y="546165"/>
                      </a:lnTo>
                      <a:lnTo>
                        <a:pt x="557446" y="546189"/>
                      </a:lnTo>
                      <a:lnTo>
                        <a:pt x="556511" y="546578"/>
                      </a:lnTo>
                      <a:lnTo>
                        <a:pt x="555612" y="547355"/>
                      </a:lnTo>
                      <a:lnTo>
                        <a:pt x="554580" y="548642"/>
                      </a:lnTo>
                      <a:lnTo>
                        <a:pt x="553706" y="550488"/>
                      </a:lnTo>
                      <a:lnTo>
                        <a:pt x="553366" y="551557"/>
                      </a:lnTo>
                      <a:lnTo>
                        <a:pt x="555029" y="560445"/>
                      </a:lnTo>
                      <a:lnTo>
                        <a:pt x="555260" y="569613"/>
                      </a:lnTo>
                      <a:lnTo>
                        <a:pt x="554823" y="572576"/>
                      </a:lnTo>
                      <a:lnTo>
                        <a:pt x="554021" y="574652"/>
                      </a:lnTo>
                      <a:lnTo>
                        <a:pt x="553414" y="576061"/>
                      </a:lnTo>
                      <a:lnTo>
                        <a:pt x="550864" y="576644"/>
                      </a:lnTo>
                      <a:lnTo>
                        <a:pt x="549201" y="576340"/>
                      </a:lnTo>
                      <a:lnTo>
                        <a:pt x="549529" y="576947"/>
                      </a:lnTo>
                      <a:lnTo>
                        <a:pt x="550719" y="580821"/>
                      </a:lnTo>
                      <a:lnTo>
                        <a:pt x="551362" y="582072"/>
                      </a:lnTo>
                      <a:lnTo>
                        <a:pt x="551994" y="582728"/>
                      </a:lnTo>
                      <a:lnTo>
                        <a:pt x="552504" y="583067"/>
                      </a:lnTo>
                      <a:lnTo>
                        <a:pt x="553111" y="583614"/>
                      </a:lnTo>
                      <a:lnTo>
                        <a:pt x="554313" y="585484"/>
                      </a:lnTo>
                      <a:lnTo>
                        <a:pt x="555843" y="589127"/>
                      </a:lnTo>
                      <a:lnTo>
                        <a:pt x="557579" y="599849"/>
                      </a:lnTo>
                      <a:lnTo>
                        <a:pt x="557968" y="601403"/>
                      </a:lnTo>
                      <a:lnTo>
                        <a:pt x="558478" y="601950"/>
                      </a:lnTo>
                      <a:lnTo>
                        <a:pt x="559097" y="602047"/>
                      </a:lnTo>
                      <a:lnTo>
                        <a:pt x="564987" y="603358"/>
                      </a:lnTo>
                      <a:lnTo>
                        <a:pt x="567767" y="604730"/>
                      </a:lnTo>
                      <a:lnTo>
                        <a:pt x="569637" y="606018"/>
                      </a:lnTo>
                      <a:lnTo>
                        <a:pt x="572916" y="609988"/>
                      </a:lnTo>
                      <a:lnTo>
                        <a:pt x="574640" y="623455"/>
                      </a:lnTo>
                      <a:lnTo>
                        <a:pt x="577348" y="632149"/>
                      </a:lnTo>
                      <a:lnTo>
                        <a:pt x="578113" y="636229"/>
                      </a:lnTo>
                      <a:lnTo>
                        <a:pt x="578223" y="640674"/>
                      </a:lnTo>
                      <a:lnTo>
                        <a:pt x="577858" y="643563"/>
                      </a:lnTo>
                      <a:lnTo>
                        <a:pt x="577324" y="645713"/>
                      </a:lnTo>
                      <a:lnTo>
                        <a:pt x="576425" y="647911"/>
                      </a:lnTo>
                      <a:lnTo>
                        <a:pt x="575442" y="649720"/>
                      </a:lnTo>
                      <a:lnTo>
                        <a:pt x="574009" y="651602"/>
                      </a:lnTo>
                      <a:lnTo>
                        <a:pt x="573037" y="653181"/>
                      </a:lnTo>
                      <a:lnTo>
                        <a:pt x="571957" y="655439"/>
                      </a:lnTo>
                      <a:lnTo>
                        <a:pt x="570767" y="659859"/>
                      </a:lnTo>
                      <a:lnTo>
                        <a:pt x="569467" y="662786"/>
                      </a:lnTo>
                      <a:lnTo>
                        <a:pt x="567877" y="665057"/>
                      </a:lnTo>
                      <a:lnTo>
                        <a:pt x="563129" y="669756"/>
                      </a:lnTo>
                      <a:lnTo>
                        <a:pt x="561526" y="670910"/>
                      </a:lnTo>
                      <a:lnTo>
                        <a:pt x="559571" y="671845"/>
                      </a:lnTo>
                      <a:lnTo>
                        <a:pt x="556620" y="672452"/>
                      </a:lnTo>
                      <a:lnTo>
                        <a:pt x="553827" y="671699"/>
                      </a:lnTo>
                      <a:lnTo>
                        <a:pt x="552261" y="670059"/>
                      </a:lnTo>
                      <a:lnTo>
                        <a:pt x="551034" y="668226"/>
                      </a:lnTo>
                      <a:lnTo>
                        <a:pt x="550391" y="667461"/>
                      </a:lnTo>
                      <a:lnTo>
                        <a:pt x="549735" y="667012"/>
                      </a:lnTo>
                      <a:lnTo>
                        <a:pt x="549298" y="667012"/>
                      </a:lnTo>
                      <a:lnTo>
                        <a:pt x="548424" y="666830"/>
                      </a:lnTo>
                      <a:lnTo>
                        <a:pt x="547136" y="667036"/>
                      </a:lnTo>
                      <a:lnTo>
                        <a:pt x="545594" y="667400"/>
                      </a:lnTo>
                      <a:lnTo>
                        <a:pt x="543797" y="668457"/>
                      </a:lnTo>
                      <a:lnTo>
                        <a:pt x="540652" y="669270"/>
                      </a:lnTo>
                      <a:lnTo>
                        <a:pt x="538090" y="668821"/>
                      </a:lnTo>
                      <a:lnTo>
                        <a:pt x="533828" y="666951"/>
                      </a:lnTo>
                      <a:lnTo>
                        <a:pt x="531909" y="666429"/>
                      </a:lnTo>
                      <a:lnTo>
                        <a:pt x="527501" y="666089"/>
                      </a:lnTo>
                      <a:lnTo>
                        <a:pt x="524138" y="665457"/>
                      </a:lnTo>
                      <a:lnTo>
                        <a:pt x="507417" y="655986"/>
                      </a:lnTo>
                      <a:lnTo>
                        <a:pt x="505596" y="659009"/>
                      </a:lnTo>
                      <a:lnTo>
                        <a:pt x="505365" y="662834"/>
                      </a:lnTo>
                      <a:lnTo>
                        <a:pt x="505535" y="665215"/>
                      </a:lnTo>
                      <a:lnTo>
                        <a:pt x="505183" y="667424"/>
                      </a:lnTo>
                      <a:lnTo>
                        <a:pt x="503956" y="669841"/>
                      </a:lnTo>
                      <a:lnTo>
                        <a:pt x="502693" y="670922"/>
                      </a:lnTo>
                      <a:lnTo>
                        <a:pt x="502147" y="671529"/>
                      </a:lnTo>
                      <a:lnTo>
                        <a:pt x="505498" y="672306"/>
                      </a:lnTo>
                      <a:lnTo>
                        <a:pt x="507271" y="673010"/>
                      </a:lnTo>
                      <a:lnTo>
                        <a:pt x="511205" y="675609"/>
                      </a:lnTo>
                      <a:lnTo>
                        <a:pt x="512784" y="675949"/>
                      </a:lnTo>
                      <a:lnTo>
                        <a:pt x="514375" y="676495"/>
                      </a:lnTo>
                      <a:lnTo>
                        <a:pt x="516342" y="677649"/>
                      </a:lnTo>
                      <a:lnTo>
                        <a:pt x="518771" y="680296"/>
                      </a:lnTo>
                      <a:lnTo>
                        <a:pt x="519851" y="682931"/>
                      </a:lnTo>
                      <a:lnTo>
                        <a:pt x="519997" y="685469"/>
                      </a:lnTo>
                      <a:lnTo>
                        <a:pt x="519402" y="689913"/>
                      </a:lnTo>
                      <a:lnTo>
                        <a:pt x="519366" y="692876"/>
                      </a:lnTo>
                      <a:lnTo>
                        <a:pt x="518661" y="697952"/>
                      </a:lnTo>
                      <a:lnTo>
                        <a:pt x="515674" y="710581"/>
                      </a:lnTo>
                      <a:lnTo>
                        <a:pt x="515103" y="711928"/>
                      </a:lnTo>
                      <a:lnTo>
                        <a:pt x="514739" y="712438"/>
                      </a:lnTo>
                      <a:lnTo>
                        <a:pt x="513391" y="713993"/>
                      </a:lnTo>
                      <a:lnTo>
                        <a:pt x="512165" y="714636"/>
                      </a:lnTo>
                      <a:lnTo>
                        <a:pt x="508741" y="715899"/>
                      </a:lnTo>
                      <a:lnTo>
                        <a:pt x="509408" y="721363"/>
                      </a:lnTo>
                      <a:lnTo>
                        <a:pt x="509311" y="724314"/>
                      </a:lnTo>
                      <a:lnTo>
                        <a:pt x="508643" y="727192"/>
                      </a:lnTo>
                      <a:lnTo>
                        <a:pt x="506773" y="730847"/>
                      </a:lnTo>
                      <a:lnTo>
                        <a:pt x="505158" y="735061"/>
                      </a:lnTo>
                      <a:lnTo>
                        <a:pt x="504248" y="739311"/>
                      </a:lnTo>
                      <a:lnTo>
                        <a:pt x="504260" y="741436"/>
                      </a:lnTo>
                      <a:lnTo>
                        <a:pt x="504685" y="744058"/>
                      </a:lnTo>
                      <a:lnTo>
                        <a:pt x="506895" y="752692"/>
                      </a:lnTo>
                      <a:lnTo>
                        <a:pt x="507283" y="752935"/>
                      </a:lnTo>
                      <a:lnTo>
                        <a:pt x="509530" y="753627"/>
                      </a:lnTo>
                      <a:lnTo>
                        <a:pt x="511254" y="754477"/>
                      </a:lnTo>
                      <a:lnTo>
                        <a:pt x="512991" y="755667"/>
                      </a:lnTo>
                      <a:lnTo>
                        <a:pt x="514861" y="757938"/>
                      </a:lnTo>
                      <a:lnTo>
                        <a:pt x="516099" y="760051"/>
                      </a:lnTo>
                      <a:lnTo>
                        <a:pt x="518151" y="764932"/>
                      </a:lnTo>
                      <a:lnTo>
                        <a:pt x="519366" y="767094"/>
                      </a:lnTo>
                      <a:lnTo>
                        <a:pt x="519730" y="767033"/>
                      </a:lnTo>
                      <a:lnTo>
                        <a:pt x="522098" y="765721"/>
                      </a:lnTo>
                      <a:lnTo>
                        <a:pt x="523470" y="765321"/>
                      </a:lnTo>
                      <a:lnTo>
                        <a:pt x="525510" y="765102"/>
                      </a:lnTo>
                      <a:lnTo>
                        <a:pt x="530343" y="765661"/>
                      </a:lnTo>
                      <a:lnTo>
                        <a:pt x="534289" y="765637"/>
                      </a:lnTo>
                      <a:lnTo>
                        <a:pt x="536099" y="766474"/>
                      </a:lnTo>
                      <a:lnTo>
                        <a:pt x="538005" y="768102"/>
                      </a:lnTo>
                      <a:lnTo>
                        <a:pt x="539778" y="771052"/>
                      </a:lnTo>
                      <a:lnTo>
                        <a:pt x="540482" y="773542"/>
                      </a:lnTo>
                      <a:lnTo>
                        <a:pt x="540385" y="776699"/>
                      </a:lnTo>
                      <a:lnTo>
                        <a:pt x="539851" y="777658"/>
                      </a:lnTo>
                      <a:lnTo>
                        <a:pt x="538989" y="778958"/>
                      </a:lnTo>
                      <a:lnTo>
                        <a:pt x="537082" y="780852"/>
                      </a:lnTo>
                      <a:lnTo>
                        <a:pt x="536888" y="781398"/>
                      </a:lnTo>
                      <a:lnTo>
                        <a:pt x="536402" y="783474"/>
                      </a:lnTo>
                      <a:lnTo>
                        <a:pt x="535406" y="785393"/>
                      </a:lnTo>
                      <a:lnTo>
                        <a:pt x="534180" y="786158"/>
                      </a:lnTo>
                      <a:lnTo>
                        <a:pt x="532529" y="786899"/>
                      </a:lnTo>
                      <a:lnTo>
                        <a:pt x="531217" y="787093"/>
                      </a:lnTo>
                      <a:lnTo>
                        <a:pt x="528886" y="786874"/>
                      </a:lnTo>
                      <a:lnTo>
                        <a:pt x="527793" y="786607"/>
                      </a:lnTo>
                      <a:lnTo>
                        <a:pt x="527356" y="787166"/>
                      </a:lnTo>
                      <a:lnTo>
                        <a:pt x="526979" y="788223"/>
                      </a:lnTo>
                      <a:lnTo>
                        <a:pt x="526664" y="789473"/>
                      </a:lnTo>
                      <a:lnTo>
                        <a:pt x="526530" y="791610"/>
                      </a:lnTo>
                      <a:lnTo>
                        <a:pt x="526858" y="793019"/>
                      </a:lnTo>
                      <a:lnTo>
                        <a:pt x="527392" y="794318"/>
                      </a:lnTo>
                      <a:lnTo>
                        <a:pt x="528193" y="795581"/>
                      </a:lnTo>
                      <a:lnTo>
                        <a:pt x="529201" y="796613"/>
                      </a:lnTo>
                      <a:lnTo>
                        <a:pt x="530221" y="797318"/>
                      </a:lnTo>
                      <a:lnTo>
                        <a:pt x="536281" y="799697"/>
                      </a:lnTo>
                      <a:lnTo>
                        <a:pt x="538624" y="802162"/>
                      </a:lnTo>
                      <a:lnTo>
                        <a:pt x="538819" y="804470"/>
                      </a:lnTo>
                      <a:lnTo>
                        <a:pt x="538369" y="806741"/>
                      </a:lnTo>
                      <a:lnTo>
                        <a:pt x="536293" y="810019"/>
                      </a:lnTo>
                      <a:lnTo>
                        <a:pt x="544963" y="811768"/>
                      </a:lnTo>
                      <a:lnTo>
                        <a:pt x="550391" y="812035"/>
                      </a:lnTo>
                      <a:lnTo>
                        <a:pt x="555673" y="813237"/>
                      </a:lnTo>
                      <a:lnTo>
                        <a:pt x="559838" y="814597"/>
                      </a:lnTo>
                      <a:lnTo>
                        <a:pt x="562473" y="814585"/>
                      </a:lnTo>
                      <a:lnTo>
                        <a:pt x="562667" y="814075"/>
                      </a:lnTo>
                      <a:lnTo>
                        <a:pt x="562789" y="813128"/>
                      </a:lnTo>
                      <a:lnTo>
                        <a:pt x="562352" y="808781"/>
                      </a:lnTo>
                      <a:lnTo>
                        <a:pt x="562959" y="805793"/>
                      </a:lnTo>
                      <a:lnTo>
                        <a:pt x="563955" y="803753"/>
                      </a:lnTo>
                      <a:lnTo>
                        <a:pt x="566565" y="800366"/>
                      </a:lnTo>
                      <a:lnTo>
                        <a:pt x="568690" y="797074"/>
                      </a:lnTo>
                      <a:lnTo>
                        <a:pt x="571592" y="794306"/>
                      </a:lnTo>
                      <a:lnTo>
                        <a:pt x="574240" y="793116"/>
                      </a:lnTo>
                      <a:lnTo>
                        <a:pt x="576960" y="793019"/>
                      </a:lnTo>
                      <a:lnTo>
                        <a:pt x="577737" y="793067"/>
                      </a:lnTo>
                      <a:lnTo>
                        <a:pt x="581950" y="795654"/>
                      </a:lnTo>
                      <a:lnTo>
                        <a:pt x="583262" y="796079"/>
                      </a:lnTo>
                      <a:lnTo>
                        <a:pt x="585496" y="796322"/>
                      </a:lnTo>
                      <a:lnTo>
                        <a:pt x="589030" y="796213"/>
                      </a:lnTo>
                      <a:lnTo>
                        <a:pt x="593316" y="795120"/>
                      </a:lnTo>
                      <a:lnTo>
                        <a:pt x="596400" y="794767"/>
                      </a:lnTo>
                      <a:lnTo>
                        <a:pt x="599885" y="794950"/>
                      </a:lnTo>
                      <a:lnTo>
                        <a:pt x="601160" y="796297"/>
                      </a:lnTo>
                      <a:lnTo>
                        <a:pt x="602180" y="797767"/>
                      </a:lnTo>
                      <a:lnTo>
                        <a:pt x="602691" y="799794"/>
                      </a:lnTo>
                      <a:lnTo>
                        <a:pt x="602666" y="801798"/>
                      </a:lnTo>
                      <a:lnTo>
                        <a:pt x="604026" y="802624"/>
                      </a:lnTo>
                      <a:lnTo>
                        <a:pt x="608155" y="803377"/>
                      </a:lnTo>
                      <a:lnTo>
                        <a:pt x="610972" y="804251"/>
                      </a:lnTo>
                      <a:lnTo>
                        <a:pt x="613825" y="805720"/>
                      </a:lnTo>
                      <a:lnTo>
                        <a:pt x="617298" y="810942"/>
                      </a:lnTo>
                      <a:lnTo>
                        <a:pt x="618950" y="812703"/>
                      </a:lnTo>
                      <a:lnTo>
                        <a:pt x="619727" y="813091"/>
                      </a:lnTo>
                      <a:lnTo>
                        <a:pt x="619593" y="812727"/>
                      </a:lnTo>
                      <a:lnTo>
                        <a:pt x="616618" y="808574"/>
                      </a:lnTo>
                      <a:lnTo>
                        <a:pt x="615659" y="806680"/>
                      </a:lnTo>
                      <a:lnTo>
                        <a:pt x="614894" y="804640"/>
                      </a:lnTo>
                      <a:lnTo>
                        <a:pt x="614420" y="802490"/>
                      </a:lnTo>
                      <a:lnTo>
                        <a:pt x="614700" y="799722"/>
                      </a:lnTo>
                      <a:lnTo>
                        <a:pt x="615975" y="797293"/>
                      </a:lnTo>
                      <a:lnTo>
                        <a:pt x="616388" y="796638"/>
                      </a:lnTo>
                      <a:lnTo>
                        <a:pt x="619083" y="795156"/>
                      </a:lnTo>
                      <a:lnTo>
                        <a:pt x="621658" y="794598"/>
                      </a:lnTo>
                      <a:lnTo>
                        <a:pt x="624050" y="794925"/>
                      </a:lnTo>
                      <a:lnTo>
                        <a:pt x="627037" y="796492"/>
                      </a:lnTo>
                      <a:lnTo>
                        <a:pt x="628555" y="797657"/>
                      </a:lnTo>
                      <a:lnTo>
                        <a:pt x="629453" y="798544"/>
                      </a:lnTo>
                      <a:lnTo>
                        <a:pt x="630765" y="800523"/>
                      </a:lnTo>
                      <a:lnTo>
                        <a:pt x="631105" y="801713"/>
                      </a:lnTo>
                      <a:lnTo>
                        <a:pt x="631141" y="802272"/>
                      </a:lnTo>
                      <a:lnTo>
                        <a:pt x="635428" y="802588"/>
                      </a:lnTo>
                      <a:lnTo>
                        <a:pt x="638961" y="803875"/>
                      </a:lnTo>
                      <a:lnTo>
                        <a:pt x="639872" y="805599"/>
                      </a:lnTo>
                      <a:lnTo>
                        <a:pt x="640358" y="807396"/>
                      </a:lnTo>
                      <a:lnTo>
                        <a:pt x="640297" y="808853"/>
                      </a:lnTo>
                      <a:lnTo>
                        <a:pt x="638804" y="813468"/>
                      </a:lnTo>
                      <a:lnTo>
                        <a:pt x="638524" y="814925"/>
                      </a:lnTo>
                      <a:lnTo>
                        <a:pt x="638585" y="815981"/>
                      </a:lnTo>
                      <a:lnTo>
                        <a:pt x="638864" y="817183"/>
                      </a:lnTo>
                      <a:lnTo>
                        <a:pt x="640455" y="821300"/>
                      </a:lnTo>
                      <a:lnTo>
                        <a:pt x="640953" y="823303"/>
                      </a:lnTo>
                      <a:lnTo>
                        <a:pt x="641147" y="825307"/>
                      </a:lnTo>
                      <a:lnTo>
                        <a:pt x="640346" y="827796"/>
                      </a:lnTo>
                      <a:lnTo>
                        <a:pt x="638864" y="829314"/>
                      </a:lnTo>
                      <a:lnTo>
                        <a:pt x="636278" y="830759"/>
                      </a:lnTo>
                      <a:lnTo>
                        <a:pt x="633485" y="831451"/>
                      </a:lnTo>
                      <a:lnTo>
                        <a:pt x="624912" y="831803"/>
                      </a:lnTo>
                      <a:lnTo>
                        <a:pt x="622690" y="832168"/>
                      </a:lnTo>
                      <a:lnTo>
                        <a:pt x="621803" y="832568"/>
                      </a:lnTo>
                      <a:lnTo>
                        <a:pt x="621099" y="833103"/>
                      </a:lnTo>
                      <a:lnTo>
                        <a:pt x="618148" y="836454"/>
                      </a:lnTo>
                      <a:lnTo>
                        <a:pt x="617638" y="836867"/>
                      </a:lnTo>
                      <a:lnTo>
                        <a:pt x="619958" y="838349"/>
                      </a:lnTo>
                      <a:lnTo>
                        <a:pt x="620808" y="840218"/>
                      </a:lnTo>
                      <a:lnTo>
                        <a:pt x="620929" y="842319"/>
                      </a:lnTo>
                      <a:lnTo>
                        <a:pt x="620468" y="843801"/>
                      </a:lnTo>
                      <a:lnTo>
                        <a:pt x="619278" y="845913"/>
                      </a:lnTo>
                      <a:lnTo>
                        <a:pt x="615040" y="851524"/>
                      </a:lnTo>
                      <a:lnTo>
                        <a:pt x="614700" y="852301"/>
                      </a:lnTo>
                      <a:lnTo>
                        <a:pt x="615440" y="852422"/>
                      </a:lnTo>
                      <a:lnTo>
                        <a:pt x="617772" y="855045"/>
                      </a:lnTo>
                      <a:lnTo>
                        <a:pt x="618440" y="856223"/>
                      </a:lnTo>
                      <a:lnTo>
                        <a:pt x="619472" y="861372"/>
                      </a:lnTo>
                      <a:lnTo>
                        <a:pt x="620674" y="862659"/>
                      </a:lnTo>
                      <a:lnTo>
                        <a:pt x="623759" y="864079"/>
                      </a:lnTo>
                      <a:lnTo>
                        <a:pt x="625106" y="865779"/>
                      </a:lnTo>
                      <a:lnTo>
                        <a:pt x="626005" y="868038"/>
                      </a:lnTo>
                      <a:lnTo>
                        <a:pt x="626187" y="868718"/>
                      </a:lnTo>
                      <a:lnTo>
                        <a:pt x="625495" y="872640"/>
                      </a:lnTo>
                      <a:lnTo>
                        <a:pt x="625422" y="873660"/>
                      </a:lnTo>
                      <a:lnTo>
                        <a:pt x="627778" y="877327"/>
                      </a:lnTo>
                      <a:lnTo>
                        <a:pt x="628446" y="879586"/>
                      </a:lnTo>
                      <a:lnTo>
                        <a:pt x="628324" y="881942"/>
                      </a:lnTo>
                      <a:lnTo>
                        <a:pt x="628179" y="882974"/>
                      </a:lnTo>
                      <a:lnTo>
                        <a:pt x="625896" y="885172"/>
                      </a:lnTo>
                      <a:lnTo>
                        <a:pt x="622921" y="885839"/>
                      </a:lnTo>
                      <a:lnTo>
                        <a:pt x="620456" y="885390"/>
                      </a:lnTo>
                      <a:lnTo>
                        <a:pt x="616181" y="883533"/>
                      </a:lnTo>
                      <a:lnTo>
                        <a:pt x="613656" y="882925"/>
                      </a:lnTo>
                      <a:lnTo>
                        <a:pt x="610595" y="881820"/>
                      </a:lnTo>
                      <a:lnTo>
                        <a:pt x="608993" y="878979"/>
                      </a:lnTo>
                      <a:lnTo>
                        <a:pt x="609078" y="876623"/>
                      </a:lnTo>
                      <a:lnTo>
                        <a:pt x="609418" y="874632"/>
                      </a:lnTo>
                      <a:lnTo>
                        <a:pt x="609369" y="873441"/>
                      </a:lnTo>
                      <a:lnTo>
                        <a:pt x="608750" y="872567"/>
                      </a:lnTo>
                      <a:lnTo>
                        <a:pt x="606151" y="868499"/>
                      </a:lnTo>
                      <a:lnTo>
                        <a:pt x="603516" y="862962"/>
                      </a:lnTo>
                      <a:lnTo>
                        <a:pt x="602958" y="862319"/>
                      </a:lnTo>
                      <a:lnTo>
                        <a:pt x="601233" y="862076"/>
                      </a:lnTo>
                      <a:lnTo>
                        <a:pt x="599181" y="861481"/>
                      </a:lnTo>
                      <a:lnTo>
                        <a:pt x="597505" y="860679"/>
                      </a:lnTo>
                      <a:lnTo>
                        <a:pt x="596570" y="860437"/>
                      </a:lnTo>
                      <a:lnTo>
                        <a:pt x="584925" y="863424"/>
                      </a:lnTo>
                      <a:lnTo>
                        <a:pt x="582230" y="863751"/>
                      </a:lnTo>
                      <a:lnTo>
                        <a:pt x="576595" y="863606"/>
                      </a:lnTo>
                      <a:lnTo>
                        <a:pt x="573584" y="863958"/>
                      </a:lnTo>
                      <a:lnTo>
                        <a:pt x="570584" y="863824"/>
                      </a:lnTo>
                      <a:lnTo>
                        <a:pt x="568411" y="862707"/>
                      </a:lnTo>
                      <a:lnTo>
                        <a:pt x="566504" y="860995"/>
                      </a:lnTo>
                      <a:lnTo>
                        <a:pt x="564355" y="858142"/>
                      </a:lnTo>
                      <a:lnTo>
                        <a:pt x="563639" y="857546"/>
                      </a:lnTo>
                      <a:lnTo>
                        <a:pt x="562910" y="857279"/>
                      </a:lnTo>
                      <a:lnTo>
                        <a:pt x="561793" y="856988"/>
                      </a:lnTo>
                      <a:lnTo>
                        <a:pt x="556462" y="855944"/>
                      </a:lnTo>
                      <a:lnTo>
                        <a:pt x="553074" y="854802"/>
                      </a:lnTo>
                      <a:lnTo>
                        <a:pt x="549674" y="853236"/>
                      </a:lnTo>
                      <a:lnTo>
                        <a:pt x="548254" y="852131"/>
                      </a:lnTo>
                      <a:lnTo>
                        <a:pt x="546881" y="850686"/>
                      </a:lnTo>
                      <a:lnTo>
                        <a:pt x="545910" y="849095"/>
                      </a:lnTo>
                      <a:lnTo>
                        <a:pt x="544951" y="846654"/>
                      </a:lnTo>
                      <a:lnTo>
                        <a:pt x="543724" y="842101"/>
                      </a:lnTo>
                      <a:lnTo>
                        <a:pt x="542364" y="832338"/>
                      </a:lnTo>
                      <a:lnTo>
                        <a:pt x="539110" y="831791"/>
                      </a:lnTo>
                      <a:lnTo>
                        <a:pt x="537969" y="830990"/>
                      </a:lnTo>
                      <a:lnTo>
                        <a:pt x="535625" y="828950"/>
                      </a:lnTo>
                      <a:lnTo>
                        <a:pt x="535103" y="828998"/>
                      </a:lnTo>
                      <a:lnTo>
                        <a:pt x="535079" y="829351"/>
                      </a:lnTo>
                      <a:lnTo>
                        <a:pt x="533731" y="831476"/>
                      </a:lnTo>
                      <a:lnTo>
                        <a:pt x="532626" y="832071"/>
                      </a:lnTo>
                      <a:lnTo>
                        <a:pt x="531472" y="832520"/>
                      </a:lnTo>
                      <a:lnTo>
                        <a:pt x="528995" y="832981"/>
                      </a:lnTo>
                      <a:lnTo>
                        <a:pt x="528728" y="833309"/>
                      </a:lnTo>
                      <a:lnTo>
                        <a:pt x="529128" y="834001"/>
                      </a:lnTo>
                      <a:lnTo>
                        <a:pt x="539863" y="844311"/>
                      </a:lnTo>
                      <a:lnTo>
                        <a:pt x="541830" y="847334"/>
                      </a:lnTo>
                      <a:lnTo>
                        <a:pt x="542801" y="850212"/>
                      </a:lnTo>
                      <a:lnTo>
                        <a:pt x="541794" y="852665"/>
                      </a:lnTo>
                      <a:lnTo>
                        <a:pt x="541053" y="853806"/>
                      </a:lnTo>
                      <a:lnTo>
                        <a:pt x="540737" y="854948"/>
                      </a:lnTo>
                      <a:lnTo>
                        <a:pt x="540664" y="857850"/>
                      </a:lnTo>
                      <a:lnTo>
                        <a:pt x="541211" y="858736"/>
                      </a:lnTo>
                      <a:lnTo>
                        <a:pt x="541842" y="859319"/>
                      </a:lnTo>
                      <a:lnTo>
                        <a:pt x="542134" y="859307"/>
                      </a:lnTo>
                      <a:lnTo>
                        <a:pt x="543360" y="860388"/>
                      </a:lnTo>
                      <a:lnTo>
                        <a:pt x="545655" y="863424"/>
                      </a:lnTo>
                      <a:lnTo>
                        <a:pt x="548484" y="868354"/>
                      </a:lnTo>
                      <a:lnTo>
                        <a:pt x="549359" y="869556"/>
                      </a:lnTo>
                      <a:lnTo>
                        <a:pt x="552637" y="872956"/>
                      </a:lnTo>
                      <a:lnTo>
                        <a:pt x="553803" y="874583"/>
                      </a:lnTo>
                      <a:lnTo>
                        <a:pt x="555236" y="877473"/>
                      </a:lnTo>
                      <a:lnTo>
                        <a:pt x="555333" y="880740"/>
                      </a:lnTo>
                      <a:lnTo>
                        <a:pt x="553949" y="883095"/>
                      </a:lnTo>
                      <a:lnTo>
                        <a:pt x="552819" y="884224"/>
                      </a:lnTo>
                      <a:lnTo>
                        <a:pt x="551581" y="885329"/>
                      </a:lnTo>
                      <a:lnTo>
                        <a:pt x="550804" y="886860"/>
                      </a:lnTo>
                      <a:lnTo>
                        <a:pt x="550609" y="887734"/>
                      </a:lnTo>
                      <a:lnTo>
                        <a:pt x="549881" y="889422"/>
                      </a:lnTo>
                      <a:lnTo>
                        <a:pt x="548630" y="891231"/>
                      </a:lnTo>
                      <a:lnTo>
                        <a:pt x="545789" y="894340"/>
                      </a:lnTo>
                      <a:lnTo>
                        <a:pt x="545242" y="895032"/>
                      </a:lnTo>
                      <a:lnTo>
                        <a:pt x="544769" y="896878"/>
                      </a:lnTo>
                      <a:lnTo>
                        <a:pt x="544866" y="898614"/>
                      </a:lnTo>
                      <a:lnTo>
                        <a:pt x="545582" y="903070"/>
                      </a:lnTo>
                      <a:lnTo>
                        <a:pt x="545740" y="903568"/>
                      </a:lnTo>
                      <a:lnTo>
                        <a:pt x="546092" y="902876"/>
                      </a:lnTo>
                      <a:lnTo>
                        <a:pt x="547197" y="901528"/>
                      </a:lnTo>
                      <a:lnTo>
                        <a:pt x="548424" y="900739"/>
                      </a:lnTo>
                      <a:lnTo>
                        <a:pt x="550148" y="900969"/>
                      </a:lnTo>
                      <a:lnTo>
                        <a:pt x="551399" y="901443"/>
                      </a:lnTo>
                      <a:lnTo>
                        <a:pt x="553621" y="902973"/>
                      </a:lnTo>
                      <a:lnTo>
                        <a:pt x="554507" y="903835"/>
                      </a:lnTo>
                      <a:lnTo>
                        <a:pt x="556924" y="906604"/>
                      </a:lnTo>
                      <a:lnTo>
                        <a:pt x="557507" y="907138"/>
                      </a:lnTo>
                      <a:lnTo>
                        <a:pt x="557895" y="905718"/>
                      </a:lnTo>
                      <a:lnTo>
                        <a:pt x="559304" y="903520"/>
                      </a:lnTo>
                      <a:lnTo>
                        <a:pt x="561052" y="902998"/>
                      </a:lnTo>
                      <a:lnTo>
                        <a:pt x="562789" y="902815"/>
                      </a:lnTo>
                      <a:lnTo>
                        <a:pt x="564100" y="903034"/>
                      </a:lnTo>
                      <a:lnTo>
                        <a:pt x="567731" y="904017"/>
                      </a:lnTo>
                      <a:lnTo>
                        <a:pt x="569370" y="904309"/>
                      </a:lnTo>
                      <a:lnTo>
                        <a:pt x="571009" y="904333"/>
                      </a:lnTo>
                      <a:lnTo>
                        <a:pt x="571957" y="904115"/>
                      </a:lnTo>
                      <a:lnTo>
                        <a:pt x="572248" y="903653"/>
                      </a:lnTo>
                      <a:lnTo>
                        <a:pt x="572272" y="902815"/>
                      </a:lnTo>
                      <a:lnTo>
                        <a:pt x="571447" y="900872"/>
                      </a:lnTo>
                      <a:lnTo>
                        <a:pt x="571107" y="898881"/>
                      </a:lnTo>
                      <a:lnTo>
                        <a:pt x="571119" y="896562"/>
                      </a:lnTo>
                      <a:lnTo>
                        <a:pt x="570961" y="894947"/>
                      </a:lnTo>
                      <a:lnTo>
                        <a:pt x="570317" y="894449"/>
                      </a:lnTo>
                      <a:lnTo>
                        <a:pt x="569710" y="894291"/>
                      </a:lnTo>
                      <a:lnTo>
                        <a:pt x="567342" y="892652"/>
                      </a:lnTo>
                      <a:lnTo>
                        <a:pt x="565824" y="890393"/>
                      </a:lnTo>
                      <a:lnTo>
                        <a:pt x="566104" y="888341"/>
                      </a:lnTo>
                      <a:lnTo>
                        <a:pt x="566820" y="886799"/>
                      </a:lnTo>
                      <a:lnTo>
                        <a:pt x="567355" y="886192"/>
                      </a:lnTo>
                      <a:lnTo>
                        <a:pt x="568715" y="885257"/>
                      </a:lnTo>
                      <a:lnTo>
                        <a:pt x="571872" y="884188"/>
                      </a:lnTo>
                      <a:lnTo>
                        <a:pt x="572685" y="884880"/>
                      </a:lnTo>
                      <a:lnTo>
                        <a:pt x="574276" y="884346"/>
                      </a:lnTo>
                      <a:lnTo>
                        <a:pt x="571180" y="883605"/>
                      </a:lnTo>
                      <a:lnTo>
                        <a:pt x="571447" y="881735"/>
                      </a:lnTo>
                      <a:lnTo>
                        <a:pt x="571835" y="880460"/>
                      </a:lnTo>
                      <a:lnTo>
                        <a:pt x="572369" y="879246"/>
                      </a:lnTo>
                      <a:lnTo>
                        <a:pt x="572685" y="878712"/>
                      </a:lnTo>
                      <a:lnTo>
                        <a:pt x="573815" y="877327"/>
                      </a:lnTo>
                      <a:lnTo>
                        <a:pt x="575211" y="876416"/>
                      </a:lnTo>
                      <a:lnTo>
                        <a:pt x="576437" y="875931"/>
                      </a:lnTo>
                      <a:lnTo>
                        <a:pt x="578538" y="876113"/>
                      </a:lnTo>
                      <a:lnTo>
                        <a:pt x="579376" y="876502"/>
                      </a:lnTo>
                      <a:lnTo>
                        <a:pt x="580955" y="877801"/>
                      </a:lnTo>
                      <a:lnTo>
                        <a:pt x="581283" y="878359"/>
                      </a:lnTo>
                      <a:lnTo>
                        <a:pt x="581877" y="879841"/>
                      </a:lnTo>
                      <a:lnTo>
                        <a:pt x="582035" y="881092"/>
                      </a:lnTo>
                      <a:lnTo>
                        <a:pt x="582812" y="880569"/>
                      </a:lnTo>
                      <a:lnTo>
                        <a:pt x="585132" y="879464"/>
                      </a:lnTo>
                      <a:lnTo>
                        <a:pt x="588083" y="879416"/>
                      </a:lnTo>
                      <a:lnTo>
                        <a:pt x="590560" y="880934"/>
                      </a:lnTo>
                      <a:lnTo>
                        <a:pt x="593365" y="884224"/>
                      </a:lnTo>
                      <a:lnTo>
                        <a:pt x="594275" y="884431"/>
                      </a:lnTo>
                      <a:lnTo>
                        <a:pt x="596777" y="883897"/>
                      </a:lnTo>
                      <a:lnTo>
                        <a:pt x="599436" y="884285"/>
                      </a:lnTo>
                      <a:lnTo>
                        <a:pt x="602144" y="885609"/>
                      </a:lnTo>
                      <a:lnTo>
                        <a:pt x="604900" y="887515"/>
                      </a:lnTo>
                      <a:lnTo>
                        <a:pt x="606200" y="887916"/>
                      </a:lnTo>
                      <a:lnTo>
                        <a:pt x="607159" y="887807"/>
                      </a:lnTo>
                      <a:lnTo>
                        <a:pt x="607839" y="887552"/>
                      </a:lnTo>
                      <a:lnTo>
                        <a:pt x="609575" y="887382"/>
                      </a:lnTo>
                      <a:lnTo>
                        <a:pt x="613716" y="888001"/>
                      </a:lnTo>
                      <a:lnTo>
                        <a:pt x="616886" y="888827"/>
                      </a:lnTo>
                      <a:lnTo>
                        <a:pt x="623176" y="887928"/>
                      </a:lnTo>
                      <a:lnTo>
                        <a:pt x="624475" y="888851"/>
                      </a:lnTo>
                      <a:lnTo>
                        <a:pt x="625616" y="889786"/>
                      </a:lnTo>
                      <a:lnTo>
                        <a:pt x="627243" y="891693"/>
                      </a:lnTo>
                      <a:lnTo>
                        <a:pt x="627583" y="894194"/>
                      </a:lnTo>
                      <a:lnTo>
                        <a:pt x="627911" y="894777"/>
                      </a:lnTo>
                      <a:lnTo>
                        <a:pt x="628749" y="895518"/>
                      </a:lnTo>
                      <a:lnTo>
                        <a:pt x="630279" y="896198"/>
                      </a:lnTo>
                      <a:lnTo>
                        <a:pt x="632453" y="898675"/>
                      </a:lnTo>
                      <a:lnTo>
                        <a:pt x="633558" y="901577"/>
                      </a:lnTo>
                      <a:lnTo>
                        <a:pt x="634056" y="904017"/>
                      </a:lnTo>
                      <a:lnTo>
                        <a:pt x="635428" y="907830"/>
                      </a:lnTo>
                      <a:lnTo>
                        <a:pt x="635962" y="910028"/>
                      </a:lnTo>
                      <a:lnTo>
                        <a:pt x="635999" y="915529"/>
                      </a:lnTo>
                      <a:lnTo>
                        <a:pt x="637274" y="915322"/>
                      </a:lnTo>
                      <a:lnTo>
                        <a:pt x="642119" y="915699"/>
                      </a:lnTo>
                      <a:lnTo>
                        <a:pt x="646818" y="912044"/>
                      </a:lnTo>
                      <a:lnTo>
                        <a:pt x="652416" y="909336"/>
                      </a:lnTo>
                      <a:lnTo>
                        <a:pt x="655318" y="908559"/>
                      </a:lnTo>
                      <a:lnTo>
                        <a:pt x="658342" y="908741"/>
                      </a:lnTo>
                      <a:lnTo>
                        <a:pt x="658208" y="907053"/>
                      </a:lnTo>
                      <a:lnTo>
                        <a:pt x="658912" y="904783"/>
                      </a:lnTo>
                      <a:lnTo>
                        <a:pt x="660284" y="903253"/>
                      </a:lnTo>
                      <a:lnTo>
                        <a:pt x="662118" y="901953"/>
                      </a:lnTo>
                      <a:lnTo>
                        <a:pt x="664595" y="901067"/>
                      </a:lnTo>
                      <a:lnTo>
                        <a:pt x="667133" y="900520"/>
                      </a:lnTo>
                      <a:lnTo>
                        <a:pt x="671213" y="900460"/>
                      </a:lnTo>
                      <a:lnTo>
                        <a:pt x="673897" y="901868"/>
                      </a:lnTo>
                      <a:lnTo>
                        <a:pt x="674880" y="903192"/>
                      </a:lnTo>
                      <a:lnTo>
                        <a:pt x="675390" y="901273"/>
                      </a:lnTo>
                      <a:lnTo>
                        <a:pt x="676228" y="899002"/>
                      </a:lnTo>
                      <a:lnTo>
                        <a:pt x="678183" y="896525"/>
                      </a:lnTo>
                      <a:lnTo>
                        <a:pt x="680684" y="894947"/>
                      </a:lnTo>
                      <a:lnTo>
                        <a:pt x="684485" y="893842"/>
                      </a:lnTo>
                      <a:lnTo>
                        <a:pt x="685918" y="893234"/>
                      </a:lnTo>
                      <a:lnTo>
                        <a:pt x="686695" y="892761"/>
                      </a:lnTo>
                      <a:lnTo>
                        <a:pt x="688055" y="891000"/>
                      </a:lnTo>
                      <a:lnTo>
                        <a:pt x="689986" y="889300"/>
                      </a:lnTo>
                      <a:lnTo>
                        <a:pt x="694200" y="886568"/>
                      </a:lnTo>
                      <a:lnTo>
                        <a:pt x="695487" y="885500"/>
                      </a:lnTo>
                      <a:lnTo>
                        <a:pt x="695766" y="885050"/>
                      </a:lnTo>
                      <a:lnTo>
                        <a:pt x="695742" y="884759"/>
                      </a:lnTo>
                      <a:lnTo>
                        <a:pt x="695414" y="884164"/>
                      </a:lnTo>
                      <a:lnTo>
                        <a:pt x="694783" y="883702"/>
                      </a:lnTo>
                      <a:lnTo>
                        <a:pt x="693556" y="882221"/>
                      </a:lnTo>
                      <a:lnTo>
                        <a:pt x="692512" y="880205"/>
                      </a:lnTo>
                      <a:lnTo>
                        <a:pt x="692075" y="877886"/>
                      </a:lnTo>
                      <a:lnTo>
                        <a:pt x="692415" y="875567"/>
                      </a:lnTo>
                      <a:lnTo>
                        <a:pt x="693483" y="873454"/>
                      </a:lnTo>
                      <a:lnTo>
                        <a:pt x="694880" y="871826"/>
                      </a:lnTo>
                      <a:lnTo>
                        <a:pt x="698134" y="869872"/>
                      </a:lnTo>
                      <a:lnTo>
                        <a:pt x="700478" y="869993"/>
                      </a:lnTo>
                      <a:lnTo>
                        <a:pt x="704521" y="871292"/>
                      </a:lnTo>
                      <a:lnTo>
                        <a:pt x="707593" y="871171"/>
                      </a:lnTo>
                      <a:lnTo>
                        <a:pt x="709973" y="871535"/>
                      </a:lnTo>
                      <a:lnTo>
                        <a:pt x="711795" y="872822"/>
                      </a:lnTo>
                      <a:lnTo>
                        <a:pt x="712997" y="873939"/>
                      </a:lnTo>
                      <a:lnTo>
                        <a:pt x="713932" y="874437"/>
                      </a:lnTo>
                      <a:lnTo>
                        <a:pt x="714988" y="874607"/>
                      </a:lnTo>
                      <a:lnTo>
                        <a:pt x="715960" y="874328"/>
                      </a:lnTo>
                      <a:lnTo>
                        <a:pt x="716591" y="873029"/>
                      </a:lnTo>
                      <a:lnTo>
                        <a:pt x="716980" y="871924"/>
                      </a:lnTo>
                      <a:lnTo>
                        <a:pt x="718243" y="869884"/>
                      </a:lnTo>
                      <a:lnTo>
                        <a:pt x="719663" y="868402"/>
                      </a:lnTo>
                      <a:lnTo>
                        <a:pt x="722675" y="866399"/>
                      </a:lnTo>
                      <a:lnTo>
                        <a:pt x="724691" y="865646"/>
                      </a:lnTo>
                      <a:lnTo>
                        <a:pt x="726548" y="865804"/>
                      </a:lnTo>
                      <a:lnTo>
                        <a:pt x="728333" y="866751"/>
                      </a:lnTo>
                      <a:lnTo>
                        <a:pt x="728783" y="867249"/>
                      </a:lnTo>
                      <a:lnTo>
                        <a:pt x="729451" y="868390"/>
                      </a:lnTo>
                      <a:lnTo>
                        <a:pt x="729900" y="869944"/>
                      </a:lnTo>
                      <a:lnTo>
                        <a:pt x="730131" y="871487"/>
                      </a:lnTo>
                      <a:lnTo>
                        <a:pt x="729924" y="877473"/>
                      </a:lnTo>
                      <a:lnTo>
                        <a:pt x="729511" y="878748"/>
                      </a:lnTo>
                      <a:lnTo>
                        <a:pt x="728795" y="880254"/>
                      </a:lnTo>
                      <a:lnTo>
                        <a:pt x="727666" y="881638"/>
                      </a:lnTo>
                      <a:lnTo>
                        <a:pt x="723998" y="884771"/>
                      </a:lnTo>
                      <a:lnTo>
                        <a:pt x="723755" y="885536"/>
                      </a:lnTo>
                      <a:lnTo>
                        <a:pt x="724253" y="888632"/>
                      </a:lnTo>
                      <a:lnTo>
                        <a:pt x="725528" y="886872"/>
                      </a:lnTo>
                      <a:lnTo>
                        <a:pt x="729183" y="884018"/>
                      </a:lnTo>
                      <a:lnTo>
                        <a:pt x="731940" y="883423"/>
                      </a:lnTo>
                      <a:lnTo>
                        <a:pt x="734903" y="883569"/>
                      </a:lnTo>
                      <a:lnTo>
                        <a:pt x="737404" y="884346"/>
                      </a:lnTo>
                      <a:lnTo>
                        <a:pt x="744022" y="880302"/>
                      </a:lnTo>
                      <a:lnTo>
                        <a:pt x="755254" y="887054"/>
                      </a:lnTo>
                      <a:lnTo>
                        <a:pt x="757829" y="893064"/>
                      </a:lnTo>
                      <a:lnTo>
                        <a:pt x="759019" y="897545"/>
                      </a:lnTo>
                      <a:lnTo>
                        <a:pt x="759274" y="900569"/>
                      </a:lnTo>
                      <a:lnTo>
                        <a:pt x="758909" y="903544"/>
                      </a:lnTo>
                      <a:lnTo>
                        <a:pt x="756772" y="908122"/>
                      </a:lnTo>
                      <a:lnTo>
                        <a:pt x="756505" y="908899"/>
                      </a:lnTo>
                      <a:lnTo>
                        <a:pt x="756809" y="909907"/>
                      </a:lnTo>
                      <a:lnTo>
                        <a:pt x="757695" y="911413"/>
                      </a:lnTo>
                      <a:lnTo>
                        <a:pt x="759553" y="914084"/>
                      </a:lnTo>
                      <a:lnTo>
                        <a:pt x="760743" y="917035"/>
                      </a:lnTo>
                      <a:lnTo>
                        <a:pt x="760512" y="920447"/>
                      </a:lnTo>
                      <a:lnTo>
                        <a:pt x="758436" y="922110"/>
                      </a:lnTo>
                      <a:lnTo>
                        <a:pt x="756262" y="923033"/>
                      </a:lnTo>
                      <a:lnTo>
                        <a:pt x="753627" y="923130"/>
                      </a:lnTo>
                      <a:lnTo>
                        <a:pt x="751818" y="922730"/>
                      </a:lnTo>
                      <a:lnTo>
                        <a:pt x="752085" y="923556"/>
                      </a:lnTo>
                      <a:lnTo>
                        <a:pt x="752959" y="924928"/>
                      </a:lnTo>
                      <a:lnTo>
                        <a:pt x="753069" y="924940"/>
                      </a:lnTo>
                      <a:lnTo>
                        <a:pt x="755631" y="923847"/>
                      </a:lnTo>
                      <a:lnTo>
                        <a:pt x="757889" y="923325"/>
                      </a:lnTo>
                      <a:lnTo>
                        <a:pt x="760245" y="923385"/>
                      </a:lnTo>
                      <a:lnTo>
                        <a:pt x="762771" y="924223"/>
                      </a:lnTo>
                      <a:lnTo>
                        <a:pt x="764726" y="925474"/>
                      </a:lnTo>
                      <a:lnTo>
                        <a:pt x="771805" y="933488"/>
                      </a:lnTo>
                      <a:lnTo>
                        <a:pt x="773129" y="934788"/>
                      </a:lnTo>
                      <a:lnTo>
                        <a:pt x="774137" y="935407"/>
                      </a:lnTo>
                      <a:lnTo>
                        <a:pt x="776347" y="935492"/>
                      </a:lnTo>
                      <a:lnTo>
                        <a:pt x="778508" y="936002"/>
                      </a:lnTo>
                      <a:lnTo>
                        <a:pt x="782357" y="937362"/>
                      </a:lnTo>
                      <a:lnTo>
                        <a:pt x="785988" y="937945"/>
                      </a:lnTo>
                      <a:lnTo>
                        <a:pt x="787470" y="937993"/>
                      </a:lnTo>
                      <a:lnTo>
                        <a:pt x="788623" y="937848"/>
                      </a:lnTo>
                      <a:lnTo>
                        <a:pt x="789242" y="937556"/>
                      </a:lnTo>
                      <a:lnTo>
                        <a:pt x="791246" y="936136"/>
                      </a:lnTo>
                      <a:lnTo>
                        <a:pt x="793152" y="935286"/>
                      </a:lnTo>
                      <a:lnTo>
                        <a:pt x="794391" y="935286"/>
                      </a:lnTo>
                      <a:lnTo>
                        <a:pt x="796091" y="935516"/>
                      </a:lnTo>
                      <a:lnTo>
                        <a:pt x="797293" y="936002"/>
                      </a:lnTo>
                      <a:lnTo>
                        <a:pt x="800050" y="937678"/>
                      </a:lnTo>
                      <a:lnTo>
                        <a:pt x="802867" y="936864"/>
                      </a:lnTo>
                      <a:lnTo>
                        <a:pt x="804846" y="936621"/>
                      </a:lnTo>
                      <a:lnTo>
                        <a:pt x="808525" y="937107"/>
                      </a:lnTo>
                      <a:lnTo>
                        <a:pt x="810638" y="939378"/>
                      </a:lnTo>
                      <a:lnTo>
                        <a:pt x="811270" y="942134"/>
                      </a:lnTo>
                      <a:lnTo>
                        <a:pt x="810699" y="944417"/>
                      </a:lnTo>
                      <a:lnTo>
                        <a:pt x="809278" y="948424"/>
                      </a:lnTo>
                      <a:lnTo>
                        <a:pt x="809011" y="950076"/>
                      </a:lnTo>
                      <a:lnTo>
                        <a:pt x="808938" y="952031"/>
                      </a:lnTo>
                      <a:lnTo>
                        <a:pt x="809788" y="957277"/>
                      </a:lnTo>
                      <a:lnTo>
                        <a:pt x="809764" y="958187"/>
                      </a:lnTo>
                      <a:lnTo>
                        <a:pt x="809424" y="960227"/>
                      </a:lnTo>
                      <a:lnTo>
                        <a:pt x="808635" y="962462"/>
                      </a:lnTo>
                      <a:lnTo>
                        <a:pt x="808367" y="963894"/>
                      </a:lnTo>
                      <a:lnTo>
                        <a:pt x="808173" y="965789"/>
                      </a:lnTo>
                      <a:lnTo>
                        <a:pt x="808732" y="974033"/>
                      </a:lnTo>
                      <a:lnTo>
                        <a:pt x="808513" y="975369"/>
                      </a:lnTo>
                      <a:lnTo>
                        <a:pt x="807505" y="977604"/>
                      </a:lnTo>
                      <a:lnTo>
                        <a:pt x="806425" y="979207"/>
                      </a:lnTo>
                      <a:lnTo>
                        <a:pt x="806473" y="980020"/>
                      </a:lnTo>
                      <a:lnTo>
                        <a:pt x="806971" y="981040"/>
                      </a:lnTo>
                      <a:lnTo>
                        <a:pt x="808525" y="982449"/>
                      </a:lnTo>
                      <a:lnTo>
                        <a:pt x="810250" y="984598"/>
                      </a:lnTo>
                      <a:lnTo>
                        <a:pt x="811464" y="987172"/>
                      </a:lnTo>
                      <a:lnTo>
                        <a:pt x="811828" y="988593"/>
                      </a:lnTo>
                      <a:lnTo>
                        <a:pt x="813237" y="987792"/>
                      </a:lnTo>
                      <a:lnTo>
                        <a:pt x="815544" y="987233"/>
                      </a:lnTo>
                      <a:lnTo>
                        <a:pt x="816394" y="987124"/>
                      </a:lnTo>
                      <a:lnTo>
                        <a:pt x="817475" y="987585"/>
                      </a:lnTo>
                      <a:lnTo>
                        <a:pt x="818701" y="988205"/>
                      </a:lnTo>
                      <a:lnTo>
                        <a:pt x="820426" y="989431"/>
                      </a:lnTo>
                      <a:lnTo>
                        <a:pt x="820729" y="992673"/>
                      </a:lnTo>
                      <a:lnTo>
                        <a:pt x="821640" y="989637"/>
                      </a:lnTo>
                      <a:lnTo>
                        <a:pt x="823995" y="989467"/>
                      </a:lnTo>
                      <a:lnTo>
                        <a:pt x="826290" y="990135"/>
                      </a:lnTo>
                      <a:lnTo>
                        <a:pt x="834596" y="996486"/>
                      </a:lnTo>
                      <a:lnTo>
                        <a:pt x="834742" y="999534"/>
                      </a:lnTo>
                      <a:lnTo>
                        <a:pt x="835859" y="996462"/>
                      </a:lnTo>
                      <a:lnTo>
                        <a:pt x="836491" y="996219"/>
                      </a:lnTo>
                      <a:lnTo>
                        <a:pt x="837341" y="995478"/>
                      </a:lnTo>
                      <a:lnTo>
                        <a:pt x="841190" y="991277"/>
                      </a:lnTo>
                      <a:lnTo>
                        <a:pt x="843886" y="992892"/>
                      </a:lnTo>
                      <a:lnTo>
                        <a:pt x="845246" y="994045"/>
                      </a:lnTo>
                      <a:lnTo>
                        <a:pt x="846205" y="995599"/>
                      </a:lnTo>
                      <a:lnTo>
                        <a:pt x="846800" y="997032"/>
                      </a:lnTo>
                      <a:lnTo>
                        <a:pt x="847456" y="999582"/>
                      </a:lnTo>
                      <a:lnTo>
                        <a:pt x="847638" y="1001853"/>
                      </a:lnTo>
                      <a:lnTo>
                        <a:pt x="847541" y="1004015"/>
                      </a:lnTo>
                      <a:lnTo>
                        <a:pt x="846982" y="1007500"/>
                      </a:lnTo>
                      <a:lnTo>
                        <a:pt x="846849" y="1011531"/>
                      </a:lnTo>
                      <a:lnTo>
                        <a:pt x="846509" y="1013304"/>
                      </a:lnTo>
                      <a:lnTo>
                        <a:pt x="845270" y="1018161"/>
                      </a:lnTo>
                      <a:lnTo>
                        <a:pt x="844408" y="1020480"/>
                      </a:lnTo>
                      <a:lnTo>
                        <a:pt x="842866" y="1023043"/>
                      </a:lnTo>
                      <a:lnTo>
                        <a:pt x="839538" y="1026697"/>
                      </a:lnTo>
                      <a:lnTo>
                        <a:pt x="838567" y="1028057"/>
                      </a:lnTo>
                      <a:lnTo>
                        <a:pt x="838324" y="1029308"/>
                      </a:lnTo>
                      <a:lnTo>
                        <a:pt x="838227" y="1033121"/>
                      </a:lnTo>
                      <a:lnTo>
                        <a:pt x="837741" y="1036218"/>
                      </a:lnTo>
                      <a:lnTo>
                        <a:pt x="836636" y="1039144"/>
                      </a:lnTo>
                      <a:lnTo>
                        <a:pt x="834451" y="1041949"/>
                      </a:lnTo>
                      <a:lnTo>
                        <a:pt x="832872" y="1043285"/>
                      </a:lnTo>
                      <a:lnTo>
                        <a:pt x="828828" y="1045422"/>
                      </a:lnTo>
                      <a:lnTo>
                        <a:pt x="827966" y="1046041"/>
                      </a:lnTo>
                      <a:lnTo>
                        <a:pt x="826533" y="1051906"/>
                      </a:lnTo>
                      <a:lnTo>
                        <a:pt x="825950" y="1053776"/>
                      </a:lnTo>
                      <a:lnTo>
                        <a:pt x="825440" y="1054748"/>
                      </a:lnTo>
                      <a:lnTo>
                        <a:pt x="823303" y="1058172"/>
                      </a:lnTo>
                      <a:lnTo>
                        <a:pt x="818483" y="1064244"/>
                      </a:lnTo>
                      <a:lnTo>
                        <a:pt x="820972" y="1065397"/>
                      </a:lnTo>
                      <a:lnTo>
                        <a:pt x="823813" y="1067364"/>
                      </a:lnTo>
                      <a:lnTo>
                        <a:pt x="827286" y="1071966"/>
                      </a:lnTo>
                      <a:lnTo>
                        <a:pt x="828561" y="1075014"/>
                      </a:lnTo>
                      <a:lnTo>
                        <a:pt x="828707" y="1078026"/>
                      </a:lnTo>
                      <a:lnTo>
                        <a:pt x="828658" y="1079544"/>
                      </a:lnTo>
                      <a:lnTo>
                        <a:pt x="825598" y="1081717"/>
                      </a:lnTo>
                      <a:lnTo>
                        <a:pt x="822830" y="1081851"/>
                      </a:lnTo>
                      <a:lnTo>
                        <a:pt x="819418" y="1080867"/>
                      </a:lnTo>
                      <a:lnTo>
                        <a:pt x="807020" y="1072149"/>
                      </a:lnTo>
                      <a:lnTo>
                        <a:pt x="806085" y="1071760"/>
                      </a:lnTo>
                      <a:lnTo>
                        <a:pt x="805271" y="1068494"/>
                      </a:lnTo>
                      <a:lnTo>
                        <a:pt x="804798" y="1070813"/>
                      </a:lnTo>
                      <a:lnTo>
                        <a:pt x="805210" y="1071141"/>
                      </a:lnTo>
                      <a:lnTo>
                        <a:pt x="804810" y="1071663"/>
                      </a:lnTo>
                      <a:lnTo>
                        <a:pt x="804615" y="1072440"/>
                      </a:lnTo>
                      <a:lnTo>
                        <a:pt x="804749" y="1076277"/>
                      </a:lnTo>
                      <a:lnTo>
                        <a:pt x="804312" y="1079046"/>
                      </a:lnTo>
                      <a:lnTo>
                        <a:pt x="802393" y="1080758"/>
                      </a:lnTo>
                      <a:lnTo>
                        <a:pt x="800620" y="1081851"/>
                      </a:lnTo>
                      <a:lnTo>
                        <a:pt x="798435" y="1082713"/>
                      </a:lnTo>
                      <a:lnTo>
                        <a:pt x="796978" y="1082919"/>
                      </a:lnTo>
                      <a:lnTo>
                        <a:pt x="795897" y="1082932"/>
                      </a:lnTo>
                      <a:lnTo>
                        <a:pt x="794938" y="1084000"/>
                      </a:lnTo>
                      <a:lnTo>
                        <a:pt x="793869" y="1084789"/>
                      </a:lnTo>
                      <a:lnTo>
                        <a:pt x="792764" y="1085275"/>
                      </a:lnTo>
                      <a:lnTo>
                        <a:pt x="790469" y="1085457"/>
                      </a:lnTo>
                      <a:lnTo>
                        <a:pt x="789947" y="1085263"/>
                      </a:lnTo>
                      <a:lnTo>
                        <a:pt x="788878" y="1084656"/>
                      </a:lnTo>
                      <a:lnTo>
                        <a:pt x="787324" y="1083308"/>
                      </a:lnTo>
                      <a:lnTo>
                        <a:pt x="786547" y="1082932"/>
                      </a:lnTo>
                      <a:lnTo>
                        <a:pt x="786182" y="1082846"/>
                      </a:lnTo>
                      <a:lnTo>
                        <a:pt x="786000" y="1083442"/>
                      </a:lnTo>
                      <a:lnTo>
                        <a:pt x="786146" y="1085421"/>
                      </a:lnTo>
                      <a:lnTo>
                        <a:pt x="787384" y="1089756"/>
                      </a:lnTo>
                      <a:lnTo>
                        <a:pt x="787591" y="1092269"/>
                      </a:lnTo>
                      <a:lnTo>
                        <a:pt x="786875" y="1095245"/>
                      </a:lnTo>
                      <a:lnTo>
                        <a:pt x="785041" y="1098304"/>
                      </a:lnTo>
                      <a:lnTo>
                        <a:pt x="782054" y="1101899"/>
                      </a:lnTo>
                      <a:lnTo>
                        <a:pt x="767944" y="1098535"/>
                      </a:lnTo>
                      <a:lnTo>
                        <a:pt x="761532" y="1095378"/>
                      </a:lnTo>
                      <a:lnTo>
                        <a:pt x="752668" y="1088238"/>
                      </a:lnTo>
                      <a:lnTo>
                        <a:pt x="746839" y="1084692"/>
                      </a:lnTo>
                      <a:lnTo>
                        <a:pt x="745382" y="1084352"/>
                      </a:lnTo>
                      <a:lnTo>
                        <a:pt x="745127" y="1084389"/>
                      </a:lnTo>
                      <a:lnTo>
                        <a:pt x="742905" y="1087412"/>
                      </a:lnTo>
                      <a:lnTo>
                        <a:pt x="742310" y="1088347"/>
                      </a:lnTo>
                      <a:lnTo>
                        <a:pt x="742164" y="1089549"/>
                      </a:lnTo>
                      <a:lnTo>
                        <a:pt x="741897" y="1090485"/>
                      </a:lnTo>
                      <a:lnTo>
                        <a:pt x="739602" y="1092330"/>
                      </a:lnTo>
                      <a:lnTo>
                        <a:pt x="735218" y="1093192"/>
                      </a:lnTo>
                      <a:lnTo>
                        <a:pt x="732219" y="1092002"/>
                      </a:lnTo>
                      <a:lnTo>
                        <a:pt x="729536" y="1090144"/>
                      </a:lnTo>
                      <a:lnTo>
                        <a:pt x="725832" y="1086077"/>
                      </a:lnTo>
                      <a:lnTo>
                        <a:pt x="724363" y="1083891"/>
                      </a:lnTo>
                      <a:lnTo>
                        <a:pt x="723282" y="1082580"/>
                      </a:lnTo>
                      <a:lnTo>
                        <a:pt x="722031" y="1081462"/>
                      </a:lnTo>
                      <a:lnTo>
                        <a:pt x="720246" y="1080382"/>
                      </a:lnTo>
                      <a:lnTo>
                        <a:pt x="719129" y="1080126"/>
                      </a:lnTo>
                      <a:lnTo>
                        <a:pt x="717842" y="1080005"/>
                      </a:lnTo>
                      <a:lnTo>
                        <a:pt x="709063" y="1080272"/>
                      </a:lnTo>
                      <a:lnTo>
                        <a:pt x="703161" y="1082385"/>
                      </a:lnTo>
                      <a:lnTo>
                        <a:pt x="701412" y="1089513"/>
                      </a:lnTo>
                      <a:lnTo>
                        <a:pt x="699020" y="1094492"/>
                      </a:lnTo>
                      <a:lnTo>
                        <a:pt x="695378" y="1099701"/>
                      </a:lnTo>
                      <a:lnTo>
                        <a:pt x="695062" y="1100709"/>
                      </a:lnTo>
                      <a:lnTo>
                        <a:pt x="696762" y="1103744"/>
                      </a:lnTo>
                      <a:lnTo>
                        <a:pt x="697005" y="1107570"/>
                      </a:lnTo>
                      <a:lnTo>
                        <a:pt x="694989" y="1109476"/>
                      </a:lnTo>
                      <a:lnTo>
                        <a:pt x="693083" y="1110630"/>
                      </a:lnTo>
                      <a:lnTo>
                        <a:pt x="691006" y="1111443"/>
                      </a:lnTo>
                      <a:lnTo>
                        <a:pt x="683356" y="1115936"/>
                      </a:lnTo>
                      <a:lnTo>
                        <a:pt x="680794" y="1116956"/>
                      </a:lnTo>
                      <a:lnTo>
                        <a:pt x="678135" y="1117466"/>
                      </a:lnTo>
                      <a:lnTo>
                        <a:pt x="675512" y="1117284"/>
                      </a:lnTo>
                      <a:lnTo>
                        <a:pt x="671687" y="1116385"/>
                      </a:lnTo>
                      <a:lnTo>
                        <a:pt x="670229" y="1116349"/>
                      </a:lnTo>
                      <a:lnTo>
                        <a:pt x="669416" y="1116507"/>
                      </a:lnTo>
                      <a:lnTo>
                        <a:pt x="666878" y="1117491"/>
                      </a:lnTo>
                      <a:lnTo>
                        <a:pt x="662968" y="1125675"/>
                      </a:lnTo>
                      <a:lnTo>
                        <a:pt x="660479" y="1133385"/>
                      </a:lnTo>
                      <a:lnTo>
                        <a:pt x="660017" y="1137065"/>
                      </a:lnTo>
                      <a:lnTo>
                        <a:pt x="660236" y="1137951"/>
                      </a:lnTo>
                      <a:lnTo>
                        <a:pt x="660782" y="1138607"/>
                      </a:lnTo>
                      <a:lnTo>
                        <a:pt x="662167" y="1141752"/>
                      </a:lnTo>
                      <a:lnTo>
                        <a:pt x="662361" y="1144350"/>
                      </a:lnTo>
                      <a:lnTo>
                        <a:pt x="661814" y="1146208"/>
                      </a:lnTo>
                      <a:lnTo>
                        <a:pt x="662494" y="1146002"/>
                      </a:lnTo>
                      <a:lnTo>
                        <a:pt x="665688" y="1145844"/>
                      </a:lnTo>
                      <a:lnTo>
                        <a:pt x="667254" y="1146913"/>
                      </a:lnTo>
                      <a:lnTo>
                        <a:pt x="668566" y="1148443"/>
                      </a:lnTo>
                      <a:lnTo>
                        <a:pt x="669671" y="1151211"/>
                      </a:lnTo>
                      <a:lnTo>
                        <a:pt x="669477" y="1154551"/>
                      </a:lnTo>
                      <a:lnTo>
                        <a:pt x="666696" y="1166633"/>
                      </a:lnTo>
                      <a:lnTo>
                        <a:pt x="665372" y="1170094"/>
                      </a:lnTo>
                      <a:lnTo>
                        <a:pt x="663648" y="1172850"/>
                      </a:lnTo>
                      <a:lnTo>
                        <a:pt x="659920" y="1177088"/>
                      </a:lnTo>
                      <a:lnTo>
                        <a:pt x="658123" y="1180124"/>
                      </a:lnTo>
                      <a:lnTo>
                        <a:pt x="651699" y="1186656"/>
                      </a:lnTo>
                      <a:lnTo>
                        <a:pt x="643636" y="1190907"/>
                      </a:lnTo>
                      <a:lnTo>
                        <a:pt x="642009" y="1191975"/>
                      </a:lnTo>
                      <a:lnTo>
                        <a:pt x="640965" y="1193141"/>
                      </a:lnTo>
                      <a:lnTo>
                        <a:pt x="640528" y="1194088"/>
                      </a:lnTo>
                      <a:lnTo>
                        <a:pt x="642228" y="1195169"/>
                      </a:lnTo>
                      <a:lnTo>
                        <a:pt x="643588" y="1198775"/>
                      </a:lnTo>
                      <a:lnTo>
                        <a:pt x="643284" y="1201131"/>
                      </a:lnTo>
                      <a:lnTo>
                        <a:pt x="675645" y="1201349"/>
                      </a:lnTo>
                      <a:lnTo>
                        <a:pt x="681947" y="1202527"/>
                      </a:lnTo>
                      <a:lnTo>
                        <a:pt x="688250" y="1205624"/>
                      </a:lnTo>
                      <a:lnTo>
                        <a:pt x="689403" y="1207142"/>
                      </a:lnTo>
                      <a:lnTo>
                        <a:pt x="690290" y="1207591"/>
                      </a:lnTo>
                      <a:lnTo>
                        <a:pt x="690800" y="1207943"/>
                      </a:lnTo>
                      <a:lnTo>
                        <a:pt x="696410" y="1217026"/>
                      </a:lnTo>
                      <a:lnTo>
                        <a:pt x="697551" y="1219770"/>
                      </a:lnTo>
                      <a:lnTo>
                        <a:pt x="697539" y="1221483"/>
                      </a:lnTo>
                      <a:lnTo>
                        <a:pt x="697369" y="1222927"/>
                      </a:lnTo>
                      <a:lnTo>
                        <a:pt x="696895" y="1224955"/>
                      </a:lnTo>
                      <a:lnTo>
                        <a:pt x="696361" y="1226243"/>
                      </a:lnTo>
                      <a:lnTo>
                        <a:pt x="695669" y="1227505"/>
                      </a:lnTo>
                      <a:lnTo>
                        <a:pt x="694855" y="1228611"/>
                      </a:lnTo>
                      <a:lnTo>
                        <a:pt x="690569" y="1232824"/>
                      </a:lnTo>
                      <a:lnTo>
                        <a:pt x="688942" y="1234087"/>
                      </a:lnTo>
                      <a:lnTo>
                        <a:pt x="687642" y="1237001"/>
                      </a:lnTo>
                      <a:lnTo>
                        <a:pt x="680733" y="1245720"/>
                      </a:lnTo>
                      <a:lnTo>
                        <a:pt x="678584" y="1250577"/>
                      </a:lnTo>
                      <a:lnTo>
                        <a:pt x="675937" y="1252629"/>
                      </a:lnTo>
                      <a:lnTo>
                        <a:pt x="674006" y="1253807"/>
                      </a:lnTo>
                      <a:lnTo>
                        <a:pt x="672015" y="1254693"/>
                      </a:lnTo>
                      <a:lnTo>
                        <a:pt x="667862" y="1255701"/>
                      </a:lnTo>
                      <a:lnTo>
                        <a:pt x="647704" y="1257535"/>
                      </a:lnTo>
                      <a:lnTo>
                        <a:pt x="644559" y="1259405"/>
                      </a:lnTo>
                      <a:lnTo>
                        <a:pt x="644037" y="1260510"/>
                      </a:lnTo>
                      <a:lnTo>
                        <a:pt x="640722" y="1265051"/>
                      </a:lnTo>
                      <a:lnTo>
                        <a:pt x="639629" y="1267043"/>
                      </a:lnTo>
                      <a:lnTo>
                        <a:pt x="636229" y="1276794"/>
                      </a:lnTo>
                      <a:lnTo>
                        <a:pt x="634384" y="1280424"/>
                      </a:lnTo>
                      <a:lnTo>
                        <a:pt x="630704" y="1284602"/>
                      </a:lnTo>
                      <a:lnTo>
                        <a:pt x="627960" y="1285670"/>
                      </a:lnTo>
                      <a:lnTo>
                        <a:pt x="621488" y="1285998"/>
                      </a:lnTo>
                      <a:lnTo>
                        <a:pt x="617541" y="1287249"/>
                      </a:lnTo>
                      <a:lnTo>
                        <a:pt x="613886" y="1287406"/>
                      </a:lnTo>
                      <a:lnTo>
                        <a:pt x="610328" y="1286435"/>
                      </a:lnTo>
                      <a:lnTo>
                        <a:pt x="605945" y="1283108"/>
                      </a:lnTo>
                      <a:lnTo>
                        <a:pt x="604949" y="1282732"/>
                      </a:lnTo>
                      <a:lnTo>
                        <a:pt x="602132" y="1281869"/>
                      </a:lnTo>
                      <a:lnTo>
                        <a:pt x="600590" y="1281116"/>
                      </a:lnTo>
                      <a:lnTo>
                        <a:pt x="599473" y="1281056"/>
                      </a:lnTo>
                      <a:lnTo>
                        <a:pt x="597894" y="1281687"/>
                      </a:lnTo>
                      <a:lnTo>
                        <a:pt x="595757" y="1282792"/>
                      </a:lnTo>
                      <a:lnTo>
                        <a:pt x="592588" y="1283727"/>
                      </a:lnTo>
                      <a:lnTo>
                        <a:pt x="582630" y="1283448"/>
                      </a:lnTo>
                      <a:lnTo>
                        <a:pt x="577955" y="1284152"/>
                      </a:lnTo>
                      <a:lnTo>
                        <a:pt x="575624" y="1284783"/>
                      </a:lnTo>
                      <a:lnTo>
                        <a:pt x="575478" y="1284856"/>
                      </a:lnTo>
                      <a:lnTo>
                        <a:pt x="575357" y="1285124"/>
                      </a:lnTo>
                      <a:lnTo>
                        <a:pt x="574859" y="1288269"/>
                      </a:lnTo>
                      <a:lnTo>
                        <a:pt x="572442" y="1292907"/>
                      </a:lnTo>
                      <a:lnTo>
                        <a:pt x="567962" y="1293818"/>
                      </a:lnTo>
                      <a:lnTo>
                        <a:pt x="564525" y="1292166"/>
                      </a:lnTo>
                      <a:lnTo>
                        <a:pt x="553147" y="1280667"/>
                      </a:lnTo>
                      <a:lnTo>
                        <a:pt x="551192" y="1279635"/>
                      </a:lnTo>
                      <a:lnTo>
                        <a:pt x="550002" y="1279392"/>
                      </a:lnTo>
                      <a:lnTo>
                        <a:pt x="548824" y="1279744"/>
                      </a:lnTo>
                      <a:lnTo>
                        <a:pt x="545582" y="1281214"/>
                      </a:lnTo>
                      <a:lnTo>
                        <a:pt x="541915" y="1281784"/>
                      </a:lnTo>
                      <a:lnTo>
                        <a:pt x="537580" y="1281954"/>
                      </a:lnTo>
                      <a:lnTo>
                        <a:pt x="536038" y="1282671"/>
                      </a:lnTo>
                      <a:lnTo>
                        <a:pt x="534787" y="1283678"/>
                      </a:lnTo>
                      <a:lnTo>
                        <a:pt x="528096" y="1293320"/>
                      </a:lnTo>
                      <a:lnTo>
                        <a:pt x="523725" y="1300861"/>
                      </a:lnTo>
                      <a:lnTo>
                        <a:pt x="521904" y="1311826"/>
                      </a:lnTo>
                      <a:lnTo>
                        <a:pt x="520483" y="1314558"/>
                      </a:lnTo>
                      <a:lnTo>
                        <a:pt x="517823" y="1317837"/>
                      </a:lnTo>
                      <a:close/>
                    </a:path>
                  </a:pathLst>
                </a:custGeom>
                <a:solidFill>
                  <a:srgbClr val="D7D7D2"/>
                </a:solidFill>
                <a:ln w="12138" cap="flat">
                  <a:noFill/>
                  <a:prstDash val="solid"/>
                  <a:miter/>
                </a:ln>
              </p:spPr>
              <p:txBody>
                <a:bodyPr rtlCol="0" anchor="ctr"/>
                <a:lstStyle/>
                <a:p>
                  <a:endParaRPr lang="en-US"/>
                </a:p>
              </p:txBody>
            </p:sp>
            <p:sp>
              <p:nvSpPr>
                <p:cNvPr id="331" name="Freeform: Shape 330">
                  <a:extLst>
                    <a:ext uri="{FF2B5EF4-FFF2-40B4-BE49-F238E27FC236}">
                      <a16:creationId xmlns:a16="http://schemas.microsoft.com/office/drawing/2014/main" id="{4C5FD59D-B275-469D-95EC-8426552019D1}"/>
                    </a:ext>
                  </a:extLst>
                </p:cNvPr>
                <p:cNvSpPr/>
                <p:nvPr/>
              </p:nvSpPr>
              <p:spPr>
                <a:xfrm>
                  <a:off x="4464705" y="4433041"/>
                  <a:ext cx="855312" cy="1324114"/>
                </a:xfrm>
                <a:custGeom>
                  <a:avLst/>
                  <a:gdLst>
                    <a:gd name="connsiteX0" fmla="*/ 609612 w 855312"/>
                    <a:gd name="connsiteY0" fmla="*/ 6096 h 1324114"/>
                    <a:gd name="connsiteX1" fmla="*/ 611676 w 855312"/>
                    <a:gd name="connsiteY1" fmla="*/ 6217 h 1324114"/>
                    <a:gd name="connsiteX2" fmla="*/ 613862 w 855312"/>
                    <a:gd name="connsiteY2" fmla="*/ 6994 h 1324114"/>
                    <a:gd name="connsiteX3" fmla="*/ 615866 w 855312"/>
                    <a:gd name="connsiteY3" fmla="*/ 8366 h 1324114"/>
                    <a:gd name="connsiteX4" fmla="*/ 618221 w 855312"/>
                    <a:gd name="connsiteY4" fmla="*/ 10916 h 1324114"/>
                    <a:gd name="connsiteX5" fmla="*/ 619156 w 855312"/>
                    <a:gd name="connsiteY5" fmla="*/ 12774 h 1324114"/>
                    <a:gd name="connsiteX6" fmla="*/ 619545 w 855312"/>
                    <a:gd name="connsiteY6" fmla="*/ 14669 h 1324114"/>
                    <a:gd name="connsiteX7" fmla="*/ 619375 w 855312"/>
                    <a:gd name="connsiteY7" fmla="*/ 23460 h 1324114"/>
                    <a:gd name="connsiteX8" fmla="*/ 619545 w 855312"/>
                    <a:gd name="connsiteY8" fmla="*/ 25415 h 1324114"/>
                    <a:gd name="connsiteX9" fmla="*/ 620067 w 855312"/>
                    <a:gd name="connsiteY9" fmla="*/ 27273 h 1324114"/>
                    <a:gd name="connsiteX10" fmla="*/ 621840 w 855312"/>
                    <a:gd name="connsiteY10" fmla="*/ 28427 h 1324114"/>
                    <a:gd name="connsiteX11" fmla="*/ 624827 w 855312"/>
                    <a:gd name="connsiteY11" fmla="*/ 29774 h 1324114"/>
                    <a:gd name="connsiteX12" fmla="*/ 631323 w 855312"/>
                    <a:gd name="connsiteY12" fmla="*/ 31900 h 1324114"/>
                    <a:gd name="connsiteX13" fmla="*/ 633849 w 855312"/>
                    <a:gd name="connsiteY13" fmla="*/ 33114 h 1324114"/>
                    <a:gd name="connsiteX14" fmla="*/ 635221 w 855312"/>
                    <a:gd name="connsiteY14" fmla="*/ 34146 h 1324114"/>
                    <a:gd name="connsiteX15" fmla="*/ 635622 w 855312"/>
                    <a:gd name="connsiteY15" fmla="*/ 38105 h 1324114"/>
                    <a:gd name="connsiteX16" fmla="*/ 636084 w 855312"/>
                    <a:gd name="connsiteY16" fmla="*/ 39598 h 1324114"/>
                    <a:gd name="connsiteX17" fmla="*/ 637116 w 855312"/>
                    <a:gd name="connsiteY17" fmla="*/ 40776 h 1324114"/>
                    <a:gd name="connsiteX18" fmla="*/ 638901 w 855312"/>
                    <a:gd name="connsiteY18" fmla="*/ 41262 h 1324114"/>
                    <a:gd name="connsiteX19" fmla="*/ 641597 w 855312"/>
                    <a:gd name="connsiteY19" fmla="*/ 40776 h 1324114"/>
                    <a:gd name="connsiteX20" fmla="*/ 644523 w 855312"/>
                    <a:gd name="connsiteY20" fmla="*/ 38712 h 1324114"/>
                    <a:gd name="connsiteX21" fmla="*/ 647571 w 855312"/>
                    <a:gd name="connsiteY21" fmla="*/ 35542 h 1324114"/>
                    <a:gd name="connsiteX22" fmla="*/ 649356 w 855312"/>
                    <a:gd name="connsiteY22" fmla="*/ 34778 h 1324114"/>
                    <a:gd name="connsiteX23" fmla="*/ 650558 w 855312"/>
                    <a:gd name="connsiteY23" fmla="*/ 34474 h 1324114"/>
                    <a:gd name="connsiteX24" fmla="*/ 658427 w 855312"/>
                    <a:gd name="connsiteY24" fmla="*/ 35749 h 1324114"/>
                    <a:gd name="connsiteX25" fmla="*/ 664450 w 855312"/>
                    <a:gd name="connsiteY25" fmla="*/ 38918 h 1324114"/>
                    <a:gd name="connsiteX26" fmla="*/ 664510 w 855312"/>
                    <a:gd name="connsiteY26" fmla="*/ 40290 h 1324114"/>
                    <a:gd name="connsiteX27" fmla="*/ 664231 w 855312"/>
                    <a:gd name="connsiteY27" fmla="*/ 42306 h 1324114"/>
                    <a:gd name="connsiteX28" fmla="*/ 663017 w 855312"/>
                    <a:gd name="connsiteY28" fmla="*/ 44674 h 1324114"/>
                    <a:gd name="connsiteX29" fmla="*/ 662167 w 855312"/>
                    <a:gd name="connsiteY29" fmla="*/ 47054 h 1324114"/>
                    <a:gd name="connsiteX30" fmla="*/ 661705 w 855312"/>
                    <a:gd name="connsiteY30" fmla="*/ 50138 h 1324114"/>
                    <a:gd name="connsiteX31" fmla="*/ 661924 w 855312"/>
                    <a:gd name="connsiteY31" fmla="*/ 52081 h 1324114"/>
                    <a:gd name="connsiteX32" fmla="*/ 665882 w 855312"/>
                    <a:gd name="connsiteY32" fmla="*/ 61419 h 1324114"/>
                    <a:gd name="connsiteX33" fmla="*/ 667789 w 855312"/>
                    <a:gd name="connsiteY33" fmla="*/ 71182 h 1324114"/>
                    <a:gd name="connsiteX34" fmla="*/ 667607 w 855312"/>
                    <a:gd name="connsiteY34" fmla="*/ 73161 h 1324114"/>
                    <a:gd name="connsiteX35" fmla="*/ 666975 w 855312"/>
                    <a:gd name="connsiteY35" fmla="*/ 73926 h 1324114"/>
                    <a:gd name="connsiteX36" fmla="*/ 666065 w 855312"/>
                    <a:gd name="connsiteY36" fmla="*/ 74412 h 1324114"/>
                    <a:gd name="connsiteX37" fmla="*/ 664911 w 855312"/>
                    <a:gd name="connsiteY37" fmla="*/ 74788 h 1324114"/>
                    <a:gd name="connsiteX38" fmla="*/ 662446 w 855312"/>
                    <a:gd name="connsiteY38" fmla="*/ 75274 h 1324114"/>
                    <a:gd name="connsiteX39" fmla="*/ 661183 w 855312"/>
                    <a:gd name="connsiteY39" fmla="*/ 75857 h 1324114"/>
                    <a:gd name="connsiteX40" fmla="*/ 660321 w 855312"/>
                    <a:gd name="connsiteY40" fmla="*/ 76865 h 1324114"/>
                    <a:gd name="connsiteX41" fmla="*/ 659689 w 855312"/>
                    <a:gd name="connsiteY41" fmla="*/ 78723 h 1324114"/>
                    <a:gd name="connsiteX42" fmla="*/ 659920 w 855312"/>
                    <a:gd name="connsiteY42" fmla="*/ 80216 h 1324114"/>
                    <a:gd name="connsiteX43" fmla="*/ 660673 w 855312"/>
                    <a:gd name="connsiteY43" fmla="*/ 81674 h 1324114"/>
                    <a:gd name="connsiteX44" fmla="*/ 666635 w 855312"/>
                    <a:gd name="connsiteY44" fmla="*/ 86761 h 1324114"/>
                    <a:gd name="connsiteX45" fmla="*/ 668250 w 855312"/>
                    <a:gd name="connsiteY45" fmla="*/ 88862 h 1324114"/>
                    <a:gd name="connsiteX46" fmla="*/ 669744 w 855312"/>
                    <a:gd name="connsiteY46" fmla="*/ 92080 h 1324114"/>
                    <a:gd name="connsiteX47" fmla="*/ 671626 w 855312"/>
                    <a:gd name="connsiteY47" fmla="*/ 97957 h 1324114"/>
                    <a:gd name="connsiteX48" fmla="*/ 672427 w 855312"/>
                    <a:gd name="connsiteY48" fmla="*/ 103640 h 1324114"/>
                    <a:gd name="connsiteX49" fmla="*/ 672610 w 855312"/>
                    <a:gd name="connsiteY49" fmla="*/ 106603 h 1324114"/>
                    <a:gd name="connsiteX50" fmla="*/ 672148 w 855312"/>
                    <a:gd name="connsiteY50" fmla="*/ 108522 h 1324114"/>
                    <a:gd name="connsiteX51" fmla="*/ 671335 w 855312"/>
                    <a:gd name="connsiteY51" fmla="*/ 109784 h 1324114"/>
                    <a:gd name="connsiteX52" fmla="*/ 659969 w 855312"/>
                    <a:gd name="connsiteY52" fmla="*/ 120579 h 1324114"/>
                    <a:gd name="connsiteX53" fmla="*/ 658147 w 855312"/>
                    <a:gd name="connsiteY53" fmla="*/ 121867 h 1324114"/>
                    <a:gd name="connsiteX54" fmla="*/ 656289 w 855312"/>
                    <a:gd name="connsiteY54" fmla="*/ 122753 h 1324114"/>
                    <a:gd name="connsiteX55" fmla="*/ 654529 w 855312"/>
                    <a:gd name="connsiteY55" fmla="*/ 123385 h 1324114"/>
                    <a:gd name="connsiteX56" fmla="*/ 653254 w 855312"/>
                    <a:gd name="connsiteY56" fmla="*/ 124016 h 1324114"/>
                    <a:gd name="connsiteX57" fmla="*/ 651821 w 855312"/>
                    <a:gd name="connsiteY57" fmla="*/ 125279 h 1324114"/>
                    <a:gd name="connsiteX58" fmla="*/ 650327 w 855312"/>
                    <a:gd name="connsiteY58" fmla="*/ 127379 h 1324114"/>
                    <a:gd name="connsiteX59" fmla="*/ 649174 w 855312"/>
                    <a:gd name="connsiteY59" fmla="*/ 129869 h 1324114"/>
                    <a:gd name="connsiteX60" fmla="*/ 648894 w 855312"/>
                    <a:gd name="connsiteY60" fmla="*/ 131046 h 1324114"/>
                    <a:gd name="connsiteX61" fmla="*/ 648894 w 855312"/>
                    <a:gd name="connsiteY61" fmla="*/ 131715 h 1324114"/>
                    <a:gd name="connsiteX62" fmla="*/ 649295 w 855312"/>
                    <a:gd name="connsiteY62" fmla="*/ 132237 h 1324114"/>
                    <a:gd name="connsiteX63" fmla="*/ 650097 w 855312"/>
                    <a:gd name="connsiteY63" fmla="*/ 133123 h 1324114"/>
                    <a:gd name="connsiteX64" fmla="*/ 652513 w 855312"/>
                    <a:gd name="connsiteY64" fmla="*/ 135284 h 1324114"/>
                    <a:gd name="connsiteX65" fmla="*/ 653715 w 855312"/>
                    <a:gd name="connsiteY65" fmla="*/ 136741 h 1324114"/>
                    <a:gd name="connsiteX66" fmla="*/ 654638 w 855312"/>
                    <a:gd name="connsiteY66" fmla="*/ 138442 h 1324114"/>
                    <a:gd name="connsiteX67" fmla="*/ 655148 w 855312"/>
                    <a:gd name="connsiteY67" fmla="*/ 141222 h 1324114"/>
                    <a:gd name="connsiteX68" fmla="*/ 654747 w 855312"/>
                    <a:gd name="connsiteY68" fmla="*/ 142995 h 1324114"/>
                    <a:gd name="connsiteX69" fmla="*/ 653606 w 855312"/>
                    <a:gd name="connsiteY69" fmla="*/ 144489 h 1324114"/>
                    <a:gd name="connsiteX70" fmla="*/ 651869 w 855312"/>
                    <a:gd name="connsiteY70" fmla="*/ 145582 h 1324114"/>
                    <a:gd name="connsiteX71" fmla="*/ 645276 w 855312"/>
                    <a:gd name="connsiteY71" fmla="*/ 148302 h 1324114"/>
                    <a:gd name="connsiteX72" fmla="*/ 643321 w 855312"/>
                    <a:gd name="connsiteY72" fmla="*/ 149516 h 1324114"/>
                    <a:gd name="connsiteX73" fmla="*/ 642058 w 855312"/>
                    <a:gd name="connsiteY73" fmla="*/ 150864 h 1324114"/>
                    <a:gd name="connsiteX74" fmla="*/ 639933 w 855312"/>
                    <a:gd name="connsiteY74" fmla="*/ 155515 h 1324114"/>
                    <a:gd name="connsiteX75" fmla="*/ 634590 w 855312"/>
                    <a:gd name="connsiteY75" fmla="*/ 162606 h 1324114"/>
                    <a:gd name="connsiteX76" fmla="*/ 632246 w 855312"/>
                    <a:gd name="connsiteY76" fmla="*/ 166832 h 1324114"/>
                    <a:gd name="connsiteX77" fmla="*/ 634420 w 855312"/>
                    <a:gd name="connsiteY77" fmla="*/ 170365 h 1324114"/>
                    <a:gd name="connsiteX78" fmla="*/ 640734 w 855312"/>
                    <a:gd name="connsiteY78" fmla="*/ 172976 h 1324114"/>
                    <a:gd name="connsiteX79" fmla="*/ 643211 w 855312"/>
                    <a:gd name="connsiteY79" fmla="*/ 174324 h 1324114"/>
                    <a:gd name="connsiteX80" fmla="*/ 646029 w 855312"/>
                    <a:gd name="connsiteY80" fmla="*/ 176449 h 1324114"/>
                    <a:gd name="connsiteX81" fmla="*/ 647522 w 855312"/>
                    <a:gd name="connsiteY81" fmla="*/ 177141 h 1324114"/>
                    <a:gd name="connsiteX82" fmla="*/ 649526 w 855312"/>
                    <a:gd name="connsiteY82" fmla="*/ 177396 h 1324114"/>
                    <a:gd name="connsiteX83" fmla="*/ 651760 w 855312"/>
                    <a:gd name="connsiteY83" fmla="*/ 177372 h 1324114"/>
                    <a:gd name="connsiteX84" fmla="*/ 655609 w 855312"/>
                    <a:gd name="connsiteY84" fmla="*/ 177882 h 1324114"/>
                    <a:gd name="connsiteX85" fmla="*/ 658147 w 855312"/>
                    <a:gd name="connsiteY85" fmla="*/ 177797 h 1324114"/>
                    <a:gd name="connsiteX86" fmla="*/ 664340 w 855312"/>
                    <a:gd name="connsiteY86" fmla="*/ 176910 h 1324114"/>
                    <a:gd name="connsiteX87" fmla="*/ 665482 w 855312"/>
                    <a:gd name="connsiteY87" fmla="*/ 181658 h 1324114"/>
                    <a:gd name="connsiteX88" fmla="*/ 666234 w 855312"/>
                    <a:gd name="connsiteY88" fmla="*/ 182423 h 1324114"/>
                    <a:gd name="connsiteX89" fmla="*/ 667437 w 855312"/>
                    <a:gd name="connsiteY89" fmla="*/ 183091 h 1324114"/>
                    <a:gd name="connsiteX90" fmla="*/ 669222 w 855312"/>
                    <a:gd name="connsiteY90" fmla="*/ 182836 h 1324114"/>
                    <a:gd name="connsiteX91" fmla="*/ 671395 w 855312"/>
                    <a:gd name="connsiteY91" fmla="*/ 181950 h 1324114"/>
                    <a:gd name="connsiteX92" fmla="*/ 675536 w 855312"/>
                    <a:gd name="connsiteY92" fmla="*/ 179363 h 1324114"/>
                    <a:gd name="connsiteX93" fmla="*/ 677940 w 855312"/>
                    <a:gd name="connsiteY93" fmla="*/ 178173 h 1324114"/>
                    <a:gd name="connsiteX94" fmla="*/ 681559 w 855312"/>
                    <a:gd name="connsiteY94" fmla="*/ 177238 h 1324114"/>
                    <a:gd name="connsiteX95" fmla="*/ 683174 w 855312"/>
                    <a:gd name="connsiteY95" fmla="*/ 177845 h 1324114"/>
                    <a:gd name="connsiteX96" fmla="*/ 683696 w 855312"/>
                    <a:gd name="connsiteY96" fmla="*/ 179157 h 1324114"/>
                    <a:gd name="connsiteX97" fmla="*/ 682992 w 855312"/>
                    <a:gd name="connsiteY97" fmla="*/ 181500 h 1324114"/>
                    <a:gd name="connsiteX98" fmla="*/ 677600 w 855312"/>
                    <a:gd name="connsiteY98" fmla="*/ 192125 h 1324114"/>
                    <a:gd name="connsiteX99" fmla="*/ 677321 w 855312"/>
                    <a:gd name="connsiteY99" fmla="*/ 192271 h 1324114"/>
                    <a:gd name="connsiteX100" fmla="*/ 676617 w 855312"/>
                    <a:gd name="connsiteY100" fmla="*/ 192587 h 1324114"/>
                    <a:gd name="connsiteX101" fmla="*/ 667497 w 855312"/>
                    <a:gd name="connsiteY101" fmla="*/ 194664 h 1324114"/>
                    <a:gd name="connsiteX102" fmla="*/ 665664 w 855312"/>
                    <a:gd name="connsiteY102" fmla="*/ 195683 h 1324114"/>
                    <a:gd name="connsiteX103" fmla="*/ 664061 w 855312"/>
                    <a:gd name="connsiteY103" fmla="*/ 197590 h 1324114"/>
                    <a:gd name="connsiteX104" fmla="*/ 663539 w 855312"/>
                    <a:gd name="connsiteY104" fmla="*/ 200747 h 1324114"/>
                    <a:gd name="connsiteX105" fmla="*/ 662106 w 855312"/>
                    <a:gd name="connsiteY105" fmla="*/ 202751 h 1324114"/>
                    <a:gd name="connsiteX106" fmla="*/ 660321 w 855312"/>
                    <a:gd name="connsiteY106" fmla="*/ 204013 h 1324114"/>
                    <a:gd name="connsiteX107" fmla="*/ 657905 w 855312"/>
                    <a:gd name="connsiteY107" fmla="*/ 204475 h 1324114"/>
                    <a:gd name="connsiteX108" fmla="*/ 655609 w 855312"/>
                    <a:gd name="connsiteY108" fmla="*/ 204633 h 1324114"/>
                    <a:gd name="connsiteX109" fmla="*/ 653654 w 855312"/>
                    <a:gd name="connsiteY109" fmla="*/ 205568 h 1324114"/>
                    <a:gd name="connsiteX110" fmla="*/ 651869 w 855312"/>
                    <a:gd name="connsiteY110" fmla="*/ 207693 h 1324114"/>
                    <a:gd name="connsiteX111" fmla="*/ 650327 w 855312"/>
                    <a:gd name="connsiteY111" fmla="*/ 212173 h 1324114"/>
                    <a:gd name="connsiteX112" fmla="*/ 648142 w 855312"/>
                    <a:gd name="connsiteY112" fmla="*/ 216375 h 1324114"/>
                    <a:gd name="connsiteX113" fmla="*/ 625289 w 855312"/>
                    <a:gd name="connsiteY113" fmla="*/ 245749 h 1324114"/>
                    <a:gd name="connsiteX114" fmla="*/ 623564 w 855312"/>
                    <a:gd name="connsiteY114" fmla="*/ 251262 h 1324114"/>
                    <a:gd name="connsiteX115" fmla="*/ 623795 w 855312"/>
                    <a:gd name="connsiteY115" fmla="*/ 253873 h 1324114"/>
                    <a:gd name="connsiteX116" fmla="*/ 624548 w 855312"/>
                    <a:gd name="connsiteY116" fmla="*/ 256058 h 1324114"/>
                    <a:gd name="connsiteX117" fmla="*/ 625981 w 855312"/>
                    <a:gd name="connsiteY117" fmla="*/ 257455 h 1324114"/>
                    <a:gd name="connsiteX118" fmla="*/ 627705 w 855312"/>
                    <a:gd name="connsiteY118" fmla="*/ 258256 h 1324114"/>
                    <a:gd name="connsiteX119" fmla="*/ 631214 w 855312"/>
                    <a:gd name="connsiteY119" fmla="*/ 259203 h 1324114"/>
                    <a:gd name="connsiteX120" fmla="*/ 633036 w 855312"/>
                    <a:gd name="connsiteY120" fmla="*/ 259932 h 1324114"/>
                    <a:gd name="connsiteX121" fmla="*/ 634833 w 855312"/>
                    <a:gd name="connsiteY121" fmla="*/ 261243 h 1324114"/>
                    <a:gd name="connsiteX122" fmla="*/ 635452 w 855312"/>
                    <a:gd name="connsiteY122" fmla="*/ 262458 h 1324114"/>
                    <a:gd name="connsiteX123" fmla="*/ 636375 w 855312"/>
                    <a:gd name="connsiteY123" fmla="*/ 270035 h 1324114"/>
                    <a:gd name="connsiteX124" fmla="*/ 637808 w 855312"/>
                    <a:gd name="connsiteY124" fmla="*/ 273022 h 1324114"/>
                    <a:gd name="connsiteX125" fmla="*/ 642349 w 855312"/>
                    <a:gd name="connsiteY125" fmla="*/ 280477 h 1324114"/>
                    <a:gd name="connsiteX126" fmla="*/ 642799 w 855312"/>
                    <a:gd name="connsiteY126" fmla="*/ 283732 h 1324114"/>
                    <a:gd name="connsiteX127" fmla="*/ 642106 w 855312"/>
                    <a:gd name="connsiteY127" fmla="*/ 286488 h 1324114"/>
                    <a:gd name="connsiteX128" fmla="*/ 639702 w 855312"/>
                    <a:gd name="connsiteY128" fmla="*/ 290144 h 1324114"/>
                    <a:gd name="connsiteX129" fmla="*/ 637978 w 855312"/>
                    <a:gd name="connsiteY129" fmla="*/ 293580 h 1324114"/>
                    <a:gd name="connsiteX130" fmla="*/ 636776 w 855312"/>
                    <a:gd name="connsiteY130" fmla="*/ 297393 h 1324114"/>
                    <a:gd name="connsiteX131" fmla="*/ 636375 w 855312"/>
                    <a:gd name="connsiteY131" fmla="*/ 301291 h 1324114"/>
                    <a:gd name="connsiteX132" fmla="*/ 636545 w 855312"/>
                    <a:gd name="connsiteY132" fmla="*/ 324836 h 1324114"/>
                    <a:gd name="connsiteX133" fmla="*/ 636023 w 855312"/>
                    <a:gd name="connsiteY133" fmla="*/ 327362 h 1324114"/>
                    <a:gd name="connsiteX134" fmla="*/ 634772 w 855312"/>
                    <a:gd name="connsiteY134" fmla="*/ 328163 h 1324114"/>
                    <a:gd name="connsiteX135" fmla="*/ 633679 w 855312"/>
                    <a:gd name="connsiteY135" fmla="*/ 329280 h 1324114"/>
                    <a:gd name="connsiteX136" fmla="*/ 632878 w 855312"/>
                    <a:gd name="connsiteY136" fmla="*/ 331199 h 1324114"/>
                    <a:gd name="connsiteX137" fmla="*/ 631894 w 855312"/>
                    <a:gd name="connsiteY137" fmla="*/ 339261 h 1324114"/>
                    <a:gd name="connsiteX138" fmla="*/ 631894 w 855312"/>
                    <a:gd name="connsiteY138" fmla="*/ 341484 h 1324114"/>
                    <a:gd name="connsiteX139" fmla="*/ 632125 w 855312"/>
                    <a:gd name="connsiteY139" fmla="*/ 342601 h 1324114"/>
                    <a:gd name="connsiteX140" fmla="*/ 632987 w 855312"/>
                    <a:gd name="connsiteY140" fmla="*/ 343208 h 1324114"/>
                    <a:gd name="connsiteX141" fmla="*/ 636776 w 855312"/>
                    <a:gd name="connsiteY141" fmla="*/ 345503 h 1324114"/>
                    <a:gd name="connsiteX142" fmla="*/ 638391 w 855312"/>
                    <a:gd name="connsiteY142" fmla="*/ 347337 h 1324114"/>
                    <a:gd name="connsiteX143" fmla="*/ 638609 w 855312"/>
                    <a:gd name="connsiteY143" fmla="*/ 348466 h 1324114"/>
                    <a:gd name="connsiteX144" fmla="*/ 637869 w 855312"/>
                    <a:gd name="connsiteY144" fmla="*/ 349608 h 1324114"/>
                    <a:gd name="connsiteX145" fmla="*/ 634711 w 855312"/>
                    <a:gd name="connsiteY145" fmla="*/ 352170 h 1324114"/>
                    <a:gd name="connsiteX146" fmla="*/ 633279 w 855312"/>
                    <a:gd name="connsiteY146" fmla="*/ 353602 h 1324114"/>
                    <a:gd name="connsiteX147" fmla="*/ 632246 w 855312"/>
                    <a:gd name="connsiteY147" fmla="*/ 355679 h 1324114"/>
                    <a:gd name="connsiteX148" fmla="*/ 632186 w 855312"/>
                    <a:gd name="connsiteY148" fmla="*/ 356614 h 1324114"/>
                    <a:gd name="connsiteX149" fmla="*/ 632647 w 855312"/>
                    <a:gd name="connsiteY149" fmla="*/ 356796 h 1324114"/>
                    <a:gd name="connsiteX150" fmla="*/ 634772 w 855312"/>
                    <a:gd name="connsiteY150" fmla="*/ 356067 h 1324114"/>
                    <a:gd name="connsiteX151" fmla="*/ 636084 w 855312"/>
                    <a:gd name="connsiteY151" fmla="*/ 355897 h 1324114"/>
                    <a:gd name="connsiteX152" fmla="*/ 637359 w 855312"/>
                    <a:gd name="connsiteY152" fmla="*/ 356104 h 1324114"/>
                    <a:gd name="connsiteX153" fmla="*/ 638609 w 855312"/>
                    <a:gd name="connsiteY153" fmla="*/ 357051 h 1324114"/>
                    <a:gd name="connsiteX154" fmla="*/ 638791 w 855312"/>
                    <a:gd name="connsiteY154" fmla="*/ 357962 h 1324114"/>
                    <a:gd name="connsiteX155" fmla="*/ 638391 w 855312"/>
                    <a:gd name="connsiteY155" fmla="*/ 359455 h 1324114"/>
                    <a:gd name="connsiteX156" fmla="*/ 637456 w 855312"/>
                    <a:gd name="connsiteY156" fmla="*/ 361580 h 1324114"/>
                    <a:gd name="connsiteX157" fmla="*/ 636776 w 855312"/>
                    <a:gd name="connsiteY157" fmla="*/ 364883 h 1324114"/>
                    <a:gd name="connsiteX158" fmla="*/ 636084 w 855312"/>
                    <a:gd name="connsiteY158" fmla="*/ 367057 h 1324114"/>
                    <a:gd name="connsiteX159" fmla="*/ 635221 w 855312"/>
                    <a:gd name="connsiteY159" fmla="*/ 368587 h 1324114"/>
                    <a:gd name="connsiteX160" fmla="*/ 633497 w 855312"/>
                    <a:gd name="connsiteY160" fmla="*/ 369740 h 1324114"/>
                    <a:gd name="connsiteX161" fmla="*/ 629539 w 855312"/>
                    <a:gd name="connsiteY161" fmla="*/ 371282 h 1324114"/>
                    <a:gd name="connsiteX162" fmla="*/ 628106 w 855312"/>
                    <a:gd name="connsiteY162" fmla="*/ 372412 h 1324114"/>
                    <a:gd name="connsiteX163" fmla="*/ 627074 w 855312"/>
                    <a:gd name="connsiteY163" fmla="*/ 374270 h 1324114"/>
                    <a:gd name="connsiteX164" fmla="*/ 626952 w 855312"/>
                    <a:gd name="connsiteY164" fmla="*/ 376856 h 1324114"/>
                    <a:gd name="connsiteX165" fmla="*/ 626102 w 855312"/>
                    <a:gd name="connsiteY165" fmla="*/ 378896 h 1324114"/>
                    <a:gd name="connsiteX166" fmla="*/ 624669 w 855312"/>
                    <a:gd name="connsiteY166" fmla="*/ 380414 h 1324114"/>
                    <a:gd name="connsiteX167" fmla="*/ 619776 w 855312"/>
                    <a:gd name="connsiteY167" fmla="*/ 383122 h 1324114"/>
                    <a:gd name="connsiteX168" fmla="*/ 613522 w 855312"/>
                    <a:gd name="connsiteY168" fmla="*/ 387918 h 1324114"/>
                    <a:gd name="connsiteX169" fmla="*/ 606406 w 855312"/>
                    <a:gd name="connsiteY169" fmla="*/ 391816 h 1324114"/>
                    <a:gd name="connsiteX170" fmla="*/ 603929 w 855312"/>
                    <a:gd name="connsiteY170" fmla="*/ 393832 h 1324114"/>
                    <a:gd name="connsiteX171" fmla="*/ 603358 w 855312"/>
                    <a:gd name="connsiteY171" fmla="*/ 394864 h 1324114"/>
                    <a:gd name="connsiteX172" fmla="*/ 608471 w 855312"/>
                    <a:gd name="connsiteY172" fmla="*/ 401446 h 1324114"/>
                    <a:gd name="connsiteX173" fmla="*/ 610134 w 855312"/>
                    <a:gd name="connsiteY173" fmla="*/ 403109 h 1324114"/>
                    <a:gd name="connsiteX174" fmla="*/ 628968 w 855312"/>
                    <a:gd name="connsiteY174" fmla="*/ 408015 h 1324114"/>
                    <a:gd name="connsiteX175" fmla="*/ 632064 w 855312"/>
                    <a:gd name="connsiteY175" fmla="*/ 408355 h 1324114"/>
                    <a:gd name="connsiteX176" fmla="*/ 643843 w 855312"/>
                    <a:gd name="connsiteY176" fmla="*/ 408015 h 1324114"/>
                    <a:gd name="connsiteX177" fmla="*/ 647571 w 855312"/>
                    <a:gd name="connsiteY177" fmla="*/ 408598 h 1324114"/>
                    <a:gd name="connsiteX178" fmla="*/ 655099 w 855312"/>
                    <a:gd name="connsiteY178" fmla="*/ 411864 h 1324114"/>
                    <a:gd name="connsiteX179" fmla="*/ 656022 w 855312"/>
                    <a:gd name="connsiteY179" fmla="*/ 413953 h 1324114"/>
                    <a:gd name="connsiteX180" fmla="*/ 657783 w 855312"/>
                    <a:gd name="connsiteY180" fmla="*/ 415337 h 1324114"/>
                    <a:gd name="connsiteX181" fmla="*/ 658706 w 855312"/>
                    <a:gd name="connsiteY181" fmla="*/ 417438 h 1324114"/>
                    <a:gd name="connsiteX182" fmla="*/ 658597 w 855312"/>
                    <a:gd name="connsiteY182" fmla="*/ 420218 h 1324114"/>
                    <a:gd name="connsiteX183" fmla="*/ 657565 w 855312"/>
                    <a:gd name="connsiteY183" fmla="*/ 422174 h 1324114"/>
                    <a:gd name="connsiteX184" fmla="*/ 656350 w 855312"/>
                    <a:gd name="connsiteY184" fmla="*/ 423716 h 1324114"/>
                    <a:gd name="connsiteX185" fmla="*/ 654577 w 855312"/>
                    <a:gd name="connsiteY185" fmla="*/ 425064 h 1324114"/>
                    <a:gd name="connsiteX186" fmla="*/ 649113 w 855312"/>
                    <a:gd name="connsiteY186" fmla="*/ 428342 h 1324114"/>
                    <a:gd name="connsiteX187" fmla="*/ 648081 w 855312"/>
                    <a:gd name="connsiteY187" fmla="*/ 429326 h 1324114"/>
                    <a:gd name="connsiteX188" fmla="*/ 647109 w 855312"/>
                    <a:gd name="connsiteY188" fmla="*/ 431014 h 1324114"/>
                    <a:gd name="connsiteX189" fmla="*/ 646709 w 855312"/>
                    <a:gd name="connsiteY189" fmla="*/ 433175 h 1324114"/>
                    <a:gd name="connsiteX190" fmla="*/ 647000 w 855312"/>
                    <a:gd name="connsiteY190" fmla="*/ 438506 h 1324114"/>
                    <a:gd name="connsiteX191" fmla="*/ 646648 w 855312"/>
                    <a:gd name="connsiteY191" fmla="*/ 440862 h 1324114"/>
                    <a:gd name="connsiteX192" fmla="*/ 645846 w 855312"/>
                    <a:gd name="connsiteY192" fmla="*/ 442986 h 1324114"/>
                    <a:gd name="connsiteX193" fmla="*/ 645154 w 855312"/>
                    <a:gd name="connsiteY193" fmla="*/ 445998 h 1324114"/>
                    <a:gd name="connsiteX194" fmla="*/ 644936 w 855312"/>
                    <a:gd name="connsiteY194" fmla="*/ 449738 h 1324114"/>
                    <a:gd name="connsiteX195" fmla="*/ 646077 w 855312"/>
                    <a:gd name="connsiteY195" fmla="*/ 460047 h 1324114"/>
                    <a:gd name="connsiteX196" fmla="*/ 646077 w 855312"/>
                    <a:gd name="connsiteY196" fmla="*/ 463459 h 1324114"/>
                    <a:gd name="connsiteX197" fmla="*/ 645397 w 855312"/>
                    <a:gd name="connsiteY197" fmla="*/ 468171 h 1324114"/>
                    <a:gd name="connsiteX198" fmla="*/ 645276 w 855312"/>
                    <a:gd name="connsiteY198" fmla="*/ 472543 h 1324114"/>
                    <a:gd name="connsiteX199" fmla="*/ 645786 w 855312"/>
                    <a:gd name="connsiteY199" fmla="*/ 480970 h 1324114"/>
                    <a:gd name="connsiteX200" fmla="*/ 645094 w 855312"/>
                    <a:gd name="connsiteY200" fmla="*/ 482524 h 1324114"/>
                    <a:gd name="connsiteX201" fmla="*/ 643964 w 855312"/>
                    <a:gd name="connsiteY201" fmla="*/ 484540 h 1324114"/>
                    <a:gd name="connsiteX202" fmla="*/ 640795 w 855312"/>
                    <a:gd name="connsiteY202" fmla="*/ 487745 h 1324114"/>
                    <a:gd name="connsiteX203" fmla="*/ 638852 w 855312"/>
                    <a:gd name="connsiteY203" fmla="*/ 490393 h 1324114"/>
                    <a:gd name="connsiteX204" fmla="*/ 636254 w 855312"/>
                    <a:gd name="connsiteY204" fmla="*/ 490089 h 1324114"/>
                    <a:gd name="connsiteX205" fmla="*/ 635513 w 855312"/>
                    <a:gd name="connsiteY205" fmla="*/ 489846 h 1324114"/>
                    <a:gd name="connsiteX206" fmla="*/ 612490 w 855312"/>
                    <a:gd name="connsiteY206" fmla="*/ 489616 h 1324114"/>
                    <a:gd name="connsiteX207" fmla="*/ 604512 w 855312"/>
                    <a:gd name="connsiteY207" fmla="*/ 488644 h 1324114"/>
                    <a:gd name="connsiteX208" fmla="*/ 602496 w 855312"/>
                    <a:gd name="connsiteY208" fmla="*/ 487952 h 1324114"/>
                    <a:gd name="connsiteX209" fmla="*/ 599218 w 855312"/>
                    <a:gd name="connsiteY209" fmla="*/ 486216 h 1324114"/>
                    <a:gd name="connsiteX210" fmla="*/ 597554 w 855312"/>
                    <a:gd name="connsiteY210" fmla="*/ 485912 h 1324114"/>
                    <a:gd name="connsiteX211" fmla="*/ 585678 w 855312"/>
                    <a:gd name="connsiteY211" fmla="*/ 487685 h 1324114"/>
                    <a:gd name="connsiteX212" fmla="*/ 582047 w 855312"/>
                    <a:gd name="connsiteY212" fmla="*/ 488923 h 1324114"/>
                    <a:gd name="connsiteX213" fmla="*/ 568848 w 855312"/>
                    <a:gd name="connsiteY213" fmla="*/ 496561 h 1324114"/>
                    <a:gd name="connsiteX214" fmla="*/ 561441 w 855312"/>
                    <a:gd name="connsiteY214" fmla="*/ 505632 h 1324114"/>
                    <a:gd name="connsiteX215" fmla="*/ 561720 w 855312"/>
                    <a:gd name="connsiteY215" fmla="*/ 508328 h 1324114"/>
                    <a:gd name="connsiteX216" fmla="*/ 560810 w 855312"/>
                    <a:gd name="connsiteY216" fmla="*/ 510368 h 1324114"/>
                    <a:gd name="connsiteX217" fmla="*/ 560810 w 855312"/>
                    <a:gd name="connsiteY217" fmla="*/ 515055 h 1324114"/>
                    <a:gd name="connsiteX218" fmla="*/ 559826 w 855312"/>
                    <a:gd name="connsiteY218" fmla="*/ 523409 h 1324114"/>
                    <a:gd name="connsiteX219" fmla="*/ 560287 w 855312"/>
                    <a:gd name="connsiteY219" fmla="*/ 527307 h 1324114"/>
                    <a:gd name="connsiteX220" fmla="*/ 560931 w 855312"/>
                    <a:gd name="connsiteY220" fmla="*/ 529651 h 1324114"/>
                    <a:gd name="connsiteX221" fmla="*/ 561951 w 855312"/>
                    <a:gd name="connsiteY221" fmla="*/ 530403 h 1324114"/>
                    <a:gd name="connsiteX222" fmla="*/ 562935 w 855312"/>
                    <a:gd name="connsiteY222" fmla="*/ 530744 h 1324114"/>
                    <a:gd name="connsiteX223" fmla="*/ 563857 w 855312"/>
                    <a:gd name="connsiteY223" fmla="*/ 531181 h 1324114"/>
                    <a:gd name="connsiteX224" fmla="*/ 564768 w 855312"/>
                    <a:gd name="connsiteY224" fmla="*/ 531897 h 1324114"/>
                    <a:gd name="connsiteX225" fmla="*/ 566954 w 855312"/>
                    <a:gd name="connsiteY225" fmla="*/ 536584 h 1324114"/>
                    <a:gd name="connsiteX226" fmla="*/ 569480 w 855312"/>
                    <a:gd name="connsiteY226" fmla="*/ 540907 h 1324114"/>
                    <a:gd name="connsiteX227" fmla="*/ 571034 w 855312"/>
                    <a:gd name="connsiteY227" fmla="*/ 545303 h 1324114"/>
                    <a:gd name="connsiteX228" fmla="*/ 570682 w 855312"/>
                    <a:gd name="connsiteY228" fmla="*/ 547137 h 1324114"/>
                    <a:gd name="connsiteX229" fmla="*/ 569480 w 855312"/>
                    <a:gd name="connsiteY229" fmla="*/ 547889 h 1324114"/>
                    <a:gd name="connsiteX230" fmla="*/ 567695 w 855312"/>
                    <a:gd name="connsiteY230" fmla="*/ 547489 h 1324114"/>
                    <a:gd name="connsiteX231" fmla="*/ 565739 w 855312"/>
                    <a:gd name="connsiteY231" fmla="*/ 546736 h 1324114"/>
                    <a:gd name="connsiteX232" fmla="*/ 564076 w 855312"/>
                    <a:gd name="connsiteY232" fmla="*/ 546299 h 1324114"/>
                    <a:gd name="connsiteX233" fmla="*/ 562303 w 855312"/>
                    <a:gd name="connsiteY233" fmla="*/ 546226 h 1324114"/>
                    <a:gd name="connsiteX234" fmla="*/ 560470 w 855312"/>
                    <a:gd name="connsiteY234" fmla="*/ 546712 h 1324114"/>
                    <a:gd name="connsiteX235" fmla="*/ 558685 w 855312"/>
                    <a:gd name="connsiteY235" fmla="*/ 547889 h 1324114"/>
                    <a:gd name="connsiteX236" fmla="*/ 557070 w 855312"/>
                    <a:gd name="connsiteY236" fmla="*/ 549662 h 1324114"/>
                    <a:gd name="connsiteX237" fmla="*/ 555758 w 855312"/>
                    <a:gd name="connsiteY237" fmla="*/ 552127 h 1324114"/>
                    <a:gd name="connsiteX238" fmla="*/ 555236 w 855312"/>
                    <a:gd name="connsiteY238" fmla="*/ 553597 h 1324114"/>
                    <a:gd name="connsiteX239" fmla="*/ 555066 w 855312"/>
                    <a:gd name="connsiteY239" fmla="*/ 554483 h 1324114"/>
                    <a:gd name="connsiteX240" fmla="*/ 555005 w 855312"/>
                    <a:gd name="connsiteY240" fmla="*/ 555576 h 1324114"/>
                    <a:gd name="connsiteX241" fmla="*/ 556790 w 855312"/>
                    <a:gd name="connsiteY241" fmla="*/ 564124 h 1324114"/>
                    <a:gd name="connsiteX242" fmla="*/ 556960 w 855312"/>
                    <a:gd name="connsiteY242" fmla="*/ 572734 h 1324114"/>
                    <a:gd name="connsiteX243" fmla="*/ 556559 w 855312"/>
                    <a:gd name="connsiteY243" fmla="*/ 575150 h 1324114"/>
                    <a:gd name="connsiteX244" fmla="*/ 555977 w 855312"/>
                    <a:gd name="connsiteY244" fmla="*/ 576498 h 1324114"/>
                    <a:gd name="connsiteX245" fmla="*/ 555236 w 855312"/>
                    <a:gd name="connsiteY245" fmla="*/ 576668 h 1324114"/>
                    <a:gd name="connsiteX246" fmla="*/ 554483 w 855312"/>
                    <a:gd name="connsiteY246" fmla="*/ 576304 h 1324114"/>
                    <a:gd name="connsiteX247" fmla="*/ 551399 w 855312"/>
                    <a:gd name="connsiteY247" fmla="*/ 573742 h 1324114"/>
                    <a:gd name="connsiteX248" fmla="*/ 549893 w 855312"/>
                    <a:gd name="connsiteY248" fmla="*/ 573171 h 1324114"/>
                    <a:gd name="connsiteX249" fmla="*/ 548752 w 855312"/>
                    <a:gd name="connsiteY249" fmla="*/ 574750 h 1324114"/>
                    <a:gd name="connsiteX250" fmla="*/ 548970 w 855312"/>
                    <a:gd name="connsiteY250" fmla="*/ 576267 h 1324114"/>
                    <a:gd name="connsiteX251" fmla="*/ 549152 w 855312"/>
                    <a:gd name="connsiteY251" fmla="*/ 577130 h 1324114"/>
                    <a:gd name="connsiteX252" fmla="*/ 549784 w 855312"/>
                    <a:gd name="connsiteY252" fmla="*/ 577882 h 1324114"/>
                    <a:gd name="connsiteX253" fmla="*/ 551557 w 855312"/>
                    <a:gd name="connsiteY253" fmla="*/ 581379 h 1324114"/>
                    <a:gd name="connsiteX254" fmla="*/ 552540 w 855312"/>
                    <a:gd name="connsiteY254" fmla="*/ 584731 h 1324114"/>
                    <a:gd name="connsiteX255" fmla="*/ 553354 w 855312"/>
                    <a:gd name="connsiteY255" fmla="*/ 586443 h 1324114"/>
                    <a:gd name="connsiteX256" fmla="*/ 554374 w 855312"/>
                    <a:gd name="connsiteY256" fmla="*/ 587706 h 1324114"/>
                    <a:gd name="connsiteX257" fmla="*/ 555297 w 855312"/>
                    <a:gd name="connsiteY257" fmla="*/ 588337 h 1324114"/>
                    <a:gd name="connsiteX258" fmla="*/ 556499 w 855312"/>
                    <a:gd name="connsiteY258" fmla="*/ 590195 h 1324114"/>
                    <a:gd name="connsiteX259" fmla="*/ 557762 w 855312"/>
                    <a:gd name="connsiteY259" fmla="*/ 593328 h 1324114"/>
                    <a:gd name="connsiteX260" fmla="*/ 559316 w 855312"/>
                    <a:gd name="connsiteY260" fmla="*/ 603383 h 1324114"/>
                    <a:gd name="connsiteX261" fmla="*/ 559947 w 855312"/>
                    <a:gd name="connsiteY261" fmla="*/ 605969 h 1324114"/>
                    <a:gd name="connsiteX262" fmla="*/ 560979 w 855312"/>
                    <a:gd name="connsiteY262" fmla="*/ 607086 h 1324114"/>
                    <a:gd name="connsiteX263" fmla="*/ 562473 w 855312"/>
                    <a:gd name="connsiteY263" fmla="*/ 607839 h 1324114"/>
                    <a:gd name="connsiteX264" fmla="*/ 569018 w 855312"/>
                    <a:gd name="connsiteY264" fmla="*/ 609393 h 1324114"/>
                    <a:gd name="connsiteX265" fmla="*/ 571082 w 855312"/>
                    <a:gd name="connsiteY265" fmla="*/ 610486 h 1324114"/>
                    <a:gd name="connsiteX266" fmla="*/ 572637 w 855312"/>
                    <a:gd name="connsiteY266" fmla="*/ 611579 h 1324114"/>
                    <a:gd name="connsiteX267" fmla="*/ 574750 w 855312"/>
                    <a:gd name="connsiteY267" fmla="*/ 614287 h 1324114"/>
                    <a:gd name="connsiteX268" fmla="*/ 576365 w 855312"/>
                    <a:gd name="connsiteY268" fmla="*/ 626916 h 1324114"/>
                    <a:gd name="connsiteX269" fmla="*/ 579182 w 855312"/>
                    <a:gd name="connsiteY269" fmla="*/ 636132 h 1324114"/>
                    <a:gd name="connsiteX270" fmla="*/ 579862 w 855312"/>
                    <a:gd name="connsiteY270" fmla="*/ 639872 h 1324114"/>
                    <a:gd name="connsiteX271" fmla="*/ 579923 w 855312"/>
                    <a:gd name="connsiteY271" fmla="*/ 643807 h 1324114"/>
                    <a:gd name="connsiteX272" fmla="*/ 579583 w 855312"/>
                    <a:gd name="connsiteY272" fmla="*/ 646235 h 1324114"/>
                    <a:gd name="connsiteX273" fmla="*/ 579121 w 855312"/>
                    <a:gd name="connsiteY273" fmla="*/ 648044 h 1324114"/>
                    <a:gd name="connsiteX274" fmla="*/ 578368 w 855312"/>
                    <a:gd name="connsiteY274" fmla="*/ 649793 h 1324114"/>
                    <a:gd name="connsiteX275" fmla="*/ 577518 w 855312"/>
                    <a:gd name="connsiteY275" fmla="*/ 651347 h 1324114"/>
                    <a:gd name="connsiteX276" fmla="*/ 576365 w 855312"/>
                    <a:gd name="connsiteY276" fmla="*/ 652816 h 1324114"/>
                    <a:gd name="connsiteX277" fmla="*/ 575211 w 855312"/>
                    <a:gd name="connsiteY277" fmla="*/ 654638 h 1324114"/>
                    <a:gd name="connsiteX278" fmla="*/ 573960 w 855312"/>
                    <a:gd name="connsiteY278" fmla="*/ 657200 h 1324114"/>
                    <a:gd name="connsiteX279" fmla="*/ 572576 w 855312"/>
                    <a:gd name="connsiteY279" fmla="*/ 662106 h 1324114"/>
                    <a:gd name="connsiteX280" fmla="*/ 571435 w 855312"/>
                    <a:gd name="connsiteY280" fmla="*/ 664607 h 1324114"/>
                    <a:gd name="connsiteX281" fmla="*/ 570160 w 855312"/>
                    <a:gd name="connsiteY281" fmla="*/ 666356 h 1324114"/>
                    <a:gd name="connsiteX282" fmla="*/ 565739 w 855312"/>
                    <a:gd name="connsiteY282" fmla="*/ 670666 h 1324114"/>
                    <a:gd name="connsiteX283" fmla="*/ 564550 w 855312"/>
                    <a:gd name="connsiteY283" fmla="*/ 671480 h 1324114"/>
                    <a:gd name="connsiteX284" fmla="*/ 563056 w 855312"/>
                    <a:gd name="connsiteY284" fmla="*/ 672160 h 1324114"/>
                    <a:gd name="connsiteX285" fmla="*/ 561502 w 855312"/>
                    <a:gd name="connsiteY285" fmla="*/ 672415 h 1324114"/>
                    <a:gd name="connsiteX286" fmla="*/ 560178 w 855312"/>
                    <a:gd name="connsiteY286" fmla="*/ 672063 h 1324114"/>
                    <a:gd name="connsiteX287" fmla="*/ 559195 w 855312"/>
                    <a:gd name="connsiteY287" fmla="*/ 671031 h 1324114"/>
                    <a:gd name="connsiteX288" fmla="*/ 558332 w 855312"/>
                    <a:gd name="connsiteY288" fmla="*/ 669683 h 1324114"/>
                    <a:gd name="connsiteX289" fmla="*/ 557482 w 855312"/>
                    <a:gd name="connsiteY289" fmla="*/ 668626 h 1324114"/>
                    <a:gd name="connsiteX290" fmla="*/ 556390 w 855312"/>
                    <a:gd name="connsiteY290" fmla="*/ 667740 h 1324114"/>
                    <a:gd name="connsiteX291" fmla="*/ 555114 w 855312"/>
                    <a:gd name="connsiteY291" fmla="*/ 667255 h 1324114"/>
                    <a:gd name="connsiteX292" fmla="*/ 553864 w 855312"/>
                    <a:gd name="connsiteY292" fmla="*/ 666963 h 1324114"/>
                    <a:gd name="connsiteX293" fmla="*/ 551678 w 855312"/>
                    <a:gd name="connsiteY293" fmla="*/ 667109 h 1324114"/>
                    <a:gd name="connsiteX294" fmla="*/ 549723 w 855312"/>
                    <a:gd name="connsiteY294" fmla="*/ 667510 h 1324114"/>
                    <a:gd name="connsiteX295" fmla="*/ 547137 w 855312"/>
                    <a:gd name="connsiteY295" fmla="*/ 668833 h 1324114"/>
                    <a:gd name="connsiteX296" fmla="*/ 545303 w 855312"/>
                    <a:gd name="connsiteY296" fmla="*/ 669258 h 1324114"/>
                    <a:gd name="connsiteX297" fmla="*/ 543348 w 855312"/>
                    <a:gd name="connsiteY297" fmla="*/ 668918 h 1324114"/>
                    <a:gd name="connsiteX298" fmla="*/ 539851 w 855312"/>
                    <a:gd name="connsiteY298" fmla="*/ 667279 h 1324114"/>
                    <a:gd name="connsiteX299" fmla="*/ 537495 w 855312"/>
                    <a:gd name="connsiteY299" fmla="*/ 666586 h 1324114"/>
                    <a:gd name="connsiteX300" fmla="*/ 532504 w 855312"/>
                    <a:gd name="connsiteY300" fmla="*/ 666150 h 1324114"/>
                    <a:gd name="connsiteX301" fmla="*/ 529456 w 855312"/>
                    <a:gd name="connsiteY301" fmla="*/ 665554 h 1324114"/>
                    <a:gd name="connsiteX302" fmla="*/ 513088 w 855312"/>
                    <a:gd name="connsiteY302" fmla="*/ 656107 h 1324114"/>
                    <a:gd name="connsiteX303" fmla="*/ 510854 w 855312"/>
                    <a:gd name="connsiteY303" fmla="*/ 655354 h 1324114"/>
                    <a:gd name="connsiteX304" fmla="*/ 507344 w 855312"/>
                    <a:gd name="connsiteY304" fmla="*/ 661159 h 1324114"/>
                    <a:gd name="connsiteX305" fmla="*/ 507065 w 855312"/>
                    <a:gd name="connsiteY305" fmla="*/ 665725 h 1324114"/>
                    <a:gd name="connsiteX306" fmla="*/ 507235 w 855312"/>
                    <a:gd name="connsiteY306" fmla="*/ 668493 h 1324114"/>
                    <a:gd name="connsiteX307" fmla="*/ 506943 w 855312"/>
                    <a:gd name="connsiteY307" fmla="*/ 669889 h 1324114"/>
                    <a:gd name="connsiteX308" fmla="*/ 506324 w 855312"/>
                    <a:gd name="connsiteY308" fmla="*/ 670958 h 1324114"/>
                    <a:gd name="connsiteX309" fmla="*/ 505450 w 855312"/>
                    <a:gd name="connsiteY309" fmla="*/ 671711 h 1324114"/>
                    <a:gd name="connsiteX310" fmla="*/ 503847 w 855312"/>
                    <a:gd name="connsiteY310" fmla="*/ 673435 h 1324114"/>
                    <a:gd name="connsiteX311" fmla="*/ 502463 w 855312"/>
                    <a:gd name="connsiteY311" fmla="*/ 675390 h 1324114"/>
                    <a:gd name="connsiteX312" fmla="*/ 502463 w 855312"/>
                    <a:gd name="connsiteY312" fmla="*/ 676143 h 1324114"/>
                    <a:gd name="connsiteX313" fmla="*/ 502924 w 855312"/>
                    <a:gd name="connsiteY313" fmla="*/ 676799 h 1324114"/>
                    <a:gd name="connsiteX314" fmla="*/ 504017 w 855312"/>
                    <a:gd name="connsiteY314" fmla="*/ 677175 h 1324114"/>
                    <a:gd name="connsiteX315" fmla="*/ 509591 w 855312"/>
                    <a:gd name="connsiteY315" fmla="*/ 678377 h 1324114"/>
                    <a:gd name="connsiteX316" fmla="*/ 510793 w 855312"/>
                    <a:gd name="connsiteY316" fmla="*/ 678899 h 1324114"/>
                    <a:gd name="connsiteX317" fmla="*/ 514241 w 855312"/>
                    <a:gd name="connsiteY317" fmla="*/ 681219 h 1324114"/>
                    <a:gd name="connsiteX318" fmla="*/ 515553 w 855312"/>
                    <a:gd name="connsiteY318" fmla="*/ 681705 h 1324114"/>
                    <a:gd name="connsiteX319" fmla="*/ 516828 w 855312"/>
                    <a:gd name="connsiteY319" fmla="*/ 681996 h 1324114"/>
                    <a:gd name="connsiteX320" fmla="*/ 518079 w 855312"/>
                    <a:gd name="connsiteY320" fmla="*/ 682445 h 1324114"/>
                    <a:gd name="connsiteX321" fmla="*/ 519475 w 855312"/>
                    <a:gd name="connsiteY321" fmla="*/ 683307 h 1324114"/>
                    <a:gd name="connsiteX322" fmla="*/ 521187 w 855312"/>
                    <a:gd name="connsiteY322" fmla="*/ 685347 h 1324114"/>
                    <a:gd name="connsiteX323" fmla="*/ 521697 w 855312"/>
                    <a:gd name="connsiteY323" fmla="*/ 686950 h 1324114"/>
                    <a:gd name="connsiteX324" fmla="*/ 521697 w 855312"/>
                    <a:gd name="connsiteY324" fmla="*/ 688565 h 1324114"/>
                    <a:gd name="connsiteX325" fmla="*/ 521126 w 855312"/>
                    <a:gd name="connsiteY325" fmla="*/ 692585 h 1324114"/>
                    <a:gd name="connsiteX326" fmla="*/ 521066 w 855312"/>
                    <a:gd name="connsiteY326" fmla="*/ 695912 h 1324114"/>
                    <a:gd name="connsiteX327" fmla="*/ 520386 w 855312"/>
                    <a:gd name="connsiteY327" fmla="*/ 700623 h 1324114"/>
                    <a:gd name="connsiteX328" fmla="*/ 517520 w 855312"/>
                    <a:gd name="connsiteY328" fmla="*/ 712730 h 1324114"/>
                    <a:gd name="connsiteX329" fmla="*/ 517046 w 855312"/>
                    <a:gd name="connsiteY329" fmla="*/ 713835 h 1324114"/>
                    <a:gd name="connsiteX330" fmla="*/ 516585 w 855312"/>
                    <a:gd name="connsiteY330" fmla="*/ 714466 h 1324114"/>
                    <a:gd name="connsiteX331" fmla="*/ 515856 w 855312"/>
                    <a:gd name="connsiteY331" fmla="*/ 714891 h 1324114"/>
                    <a:gd name="connsiteX332" fmla="*/ 511764 w 855312"/>
                    <a:gd name="connsiteY332" fmla="*/ 716385 h 1324114"/>
                    <a:gd name="connsiteX333" fmla="*/ 510914 w 855312"/>
                    <a:gd name="connsiteY333" fmla="*/ 716931 h 1324114"/>
                    <a:gd name="connsiteX334" fmla="*/ 510392 w 855312"/>
                    <a:gd name="connsiteY334" fmla="*/ 718704 h 1324114"/>
                    <a:gd name="connsiteX335" fmla="*/ 511133 w 855312"/>
                    <a:gd name="connsiteY335" fmla="*/ 724824 h 1324114"/>
                    <a:gd name="connsiteX336" fmla="*/ 511011 w 855312"/>
                    <a:gd name="connsiteY336" fmla="*/ 727265 h 1324114"/>
                    <a:gd name="connsiteX337" fmla="*/ 510441 w 855312"/>
                    <a:gd name="connsiteY337" fmla="*/ 729536 h 1324114"/>
                    <a:gd name="connsiteX338" fmla="*/ 508838 w 855312"/>
                    <a:gd name="connsiteY338" fmla="*/ 732498 h 1324114"/>
                    <a:gd name="connsiteX339" fmla="*/ 507065 w 855312"/>
                    <a:gd name="connsiteY339" fmla="*/ 737052 h 1324114"/>
                    <a:gd name="connsiteX340" fmla="*/ 506020 w 855312"/>
                    <a:gd name="connsiteY340" fmla="*/ 741739 h 1324114"/>
                    <a:gd name="connsiteX341" fmla="*/ 505960 w 855312"/>
                    <a:gd name="connsiteY341" fmla="*/ 744471 h 1324114"/>
                    <a:gd name="connsiteX342" fmla="*/ 506421 w 855312"/>
                    <a:gd name="connsiteY342" fmla="*/ 747604 h 1324114"/>
                    <a:gd name="connsiteX343" fmla="*/ 508728 w 855312"/>
                    <a:gd name="connsiteY343" fmla="*/ 756675 h 1324114"/>
                    <a:gd name="connsiteX344" fmla="*/ 509360 w 855312"/>
                    <a:gd name="connsiteY344" fmla="*/ 757938 h 1324114"/>
                    <a:gd name="connsiteX345" fmla="*/ 510392 w 855312"/>
                    <a:gd name="connsiteY345" fmla="*/ 758594 h 1324114"/>
                    <a:gd name="connsiteX346" fmla="*/ 513258 w 855312"/>
                    <a:gd name="connsiteY346" fmla="*/ 759601 h 1324114"/>
                    <a:gd name="connsiteX347" fmla="*/ 514642 w 855312"/>
                    <a:gd name="connsiteY347" fmla="*/ 760294 h 1324114"/>
                    <a:gd name="connsiteX348" fmla="*/ 515966 w 855312"/>
                    <a:gd name="connsiteY348" fmla="*/ 761241 h 1324114"/>
                    <a:gd name="connsiteX349" fmla="*/ 517168 w 855312"/>
                    <a:gd name="connsiteY349" fmla="*/ 762856 h 1324114"/>
                    <a:gd name="connsiteX350" fmla="*/ 518200 w 855312"/>
                    <a:gd name="connsiteY350" fmla="*/ 764653 h 1324114"/>
                    <a:gd name="connsiteX351" fmla="*/ 520082 w 855312"/>
                    <a:gd name="connsiteY351" fmla="*/ 769194 h 1324114"/>
                    <a:gd name="connsiteX352" fmla="*/ 521576 w 855312"/>
                    <a:gd name="connsiteY352" fmla="*/ 771890 h 1324114"/>
                    <a:gd name="connsiteX353" fmla="*/ 522389 w 855312"/>
                    <a:gd name="connsiteY353" fmla="*/ 772813 h 1324114"/>
                    <a:gd name="connsiteX354" fmla="*/ 523191 w 855312"/>
                    <a:gd name="connsiteY354" fmla="*/ 773323 h 1324114"/>
                    <a:gd name="connsiteX355" fmla="*/ 524065 w 855312"/>
                    <a:gd name="connsiteY355" fmla="*/ 773384 h 1324114"/>
                    <a:gd name="connsiteX356" fmla="*/ 525255 w 855312"/>
                    <a:gd name="connsiteY356" fmla="*/ 773068 h 1324114"/>
                    <a:gd name="connsiteX357" fmla="*/ 527963 w 855312"/>
                    <a:gd name="connsiteY357" fmla="*/ 771672 h 1324114"/>
                    <a:gd name="connsiteX358" fmla="*/ 529056 w 855312"/>
                    <a:gd name="connsiteY358" fmla="*/ 771356 h 1324114"/>
                    <a:gd name="connsiteX359" fmla="*/ 530489 w 855312"/>
                    <a:gd name="connsiteY359" fmla="*/ 771234 h 1324114"/>
                    <a:gd name="connsiteX360" fmla="*/ 534690 w 855312"/>
                    <a:gd name="connsiteY360" fmla="*/ 771781 h 1324114"/>
                    <a:gd name="connsiteX361" fmla="*/ 538357 w 855312"/>
                    <a:gd name="connsiteY361" fmla="*/ 771781 h 1324114"/>
                    <a:gd name="connsiteX362" fmla="*/ 539559 w 855312"/>
                    <a:gd name="connsiteY362" fmla="*/ 772339 h 1324114"/>
                    <a:gd name="connsiteX363" fmla="*/ 540604 w 855312"/>
                    <a:gd name="connsiteY363" fmla="*/ 773372 h 1324114"/>
                    <a:gd name="connsiteX364" fmla="*/ 541854 w 855312"/>
                    <a:gd name="connsiteY364" fmla="*/ 775642 h 1324114"/>
                    <a:gd name="connsiteX365" fmla="*/ 542267 w 855312"/>
                    <a:gd name="connsiteY365" fmla="*/ 777367 h 1324114"/>
                    <a:gd name="connsiteX366" fmla="*/ 542146 w 855312"/>
                    <a:gd name="connsiteY366" fmla="*/ 778921 h 1324114"/>
                    <a:gd name="connsiteX367" fmla="*/ 541575 w 855312"/>
                    <a:gd name="connsiteY367" fmla="*/ 779929 h 1324114"/>
                    <a:gd name="connsiteX368" fmla="*/ 539681 w 855312"/>
                    <a:gd name="connsiteY368" fmla="*/ 781811 h 1324114"/>
                    <a:gd name="connsiteX369" fmla="*/ 538989 w 855312"/>
                    <a:gd name="connsiteY369" fmla="*/ 783025 h 1324114"/>
                    <a:gd name="connsiteX370" fmla="*/ 538296 w 855312"/>
                    <a:gd name="connsiteY370" fmla="*/ 785490 h 1324114"/>
                    <a:gd name="connsiteX371" fmla="*/ 537835 w 855312"/>
                    <a:gd name="connsiteY371" fmla="*/ 786377 h 1324114"/>
                    <a:gd name="connsiteX372" fmla="*/ 536803 w 855312"/>
                    <a:gd name="connsiteY372" fmla="*/ 787020 h 1324114"/>
                    <a:gd name="connsiteX373" fmla="*/ 535491 w 855312"/>
                    <a:gd name="connsiteY373" fmla="*/ 787227 h 1324114"/>
                    <a:gd name="connsiteX374" fmla="*/ 534216 w 855312"/>
                    <a:gd name="connsiteY374" fmla="*/ 787020 h 1324114"/>
                    <a:gd name="connsiteX375" fmla="*/ 533245 w 855312"/>
                    <a:gd name="connsiteY375" fmla="*/ 786777 h 1324114"/>
                    <a:gd name="connsiteX376" fmla="*/ 532262 w 855312"/>
                    <a:gd name="connsiteY376" fmla="*/ 786717 h 1324114"/>
                    <a:gd name="connsiteX377" fmla="*/ 531399 w 855312"/>
                    <a:gd name="connsiteY377" fmla="*/ 787069 h 1324114"/>
                    <a:gd name="connsiteX378" fmla="*/ 530367 w 855312"/>
                    <a:gd name="connsiteY378" fmla="*/ 787785 h 1324114"/>
                    <a:gd name="connsiteX379" fmla="*/ 529675 w 855312"/>
                    <a:gd name="connsiteY379" fmla="*/ 788623 h 1324114"/>
                    <a:gd name="connsiteX380" fmla="*/ 528995 w 855312"/>
                    <a:gd name="connsiteY380" fmla="*/ 789995 h 1324114"/>
                    <a:gd name="connsiteX381" fmla="*/ 528485 w 855312"/>
                    <a:gd name="connsiteY381" fmla="*/ 791720 h 1324114"/>
                    <a:gd name="connsiteX382" fmla="*/ 528242 w 855312"/>
                    <a:gd name="connsiteY382" fmla="*/ 794464 h 1324114"/>
                    <a:gd name="connsiteX383" fmla="*/ 528594 w 855312"/>
                    <a:gd name="connsiteY383" fmla="*/ 796638 h 1324114"/>
                    <a:gd name="connsiteX384" fmla="*/ 529286 w 855312"/>
                    <a:gd name="connsiteY384" fmla="*/ 798495 h 1324114"/>
                    <a:gd name="connsiteX385" fmla="*/ 530319 w 855312"/>
                    <a:gd name="connsiteY385" fmla="*/ 800256 h 1324114"/>
                    <a:gd name="connsiteX386" fmla="*/ 531691 w 855312"/>
                    <a:gd name="connsiteY386" fmla="*/ 801774 h 1324114"/>
                    <a:gd name="connsiteX387" fmla="*/ 533136 w 855312"/>
                    <a:gd name="connsiteY387" fmla="*/ 802867 h 1324114"/>
                    <a:gd name="connsiteX388" fmla="*/ 539268 w 855312"/>
                    <a:gd name="connsiteY388" fmla="*/ 805392 h 1324114"/>
                    <a:gd name="connsiteX389" fmla="*/ 540422 w 855312"/>
                    <a:gd name="connsiteY389" fmla="*/ 806619 h 1324114"/>
                    <a:gd name="connsiteX390" fmla="*/ 540531 w 855312"/>
                    <a:gd name="connsiteY390" fmla="*/ 807870 h 1324114"/>
                    <a:gd name="connsiteX391" fmla="*/ 540191 w 855312"/>
                    <a:gd name="connsiteY391" fmla="*/ 809060 h 1324114"/>
                    <a:gd name="connsiteX392" fmla="*/ 539219 w 855312"/>
                    <a:gd name="connsiteY392" fmla="*/ 810408 h 1324114"/>
                    <a:gd name="connsiteX393" fmla="*/ 538248 w 855312"/>
                    <a:gd name="connsiteY393" fmla="*/ 811865 h 1324114"/>
                    <a:gd name="connsiteX394" fmla="*/ 537434 w 855312"/>
                    <a:gd name="connsiteY394" fmla="*/ 813625 h 1324114"/>
                    <a:gd name="connsiteX395" fmla="*/ 537835 w 855312"/>
                    <a:gd name="connsiteY395" fmla="*/ 815605 h 1324114"/>
                    <a:gd name="connsiteX396" fmla="*/ 549092 w 855312"/>
                    <a:gd name="connsiteY396" fmla="*/ 817888 h 1324114"/>
                    <a:gd name="connsiteX397" fmla="*/ 554957 w 855312"/>
                    <a:gd name="connsiteY397" fmla="*/ 818203 h 1324114"/>
                    <a:gd name="connsiteX398" fmla="*/ 559717 w 855312"/>
                    <a:gd name="connsiteY398" fmla="*/ 819320 h 1324114"/>
                    <a:gd name="connsiteX399" fmla="*/ 563615 w 855312"/>
                    <a:gd name="connsiteY399" fmla="*/ 820608 h 1324114"/>
                    <a:gd name="connsiteX400" fmla="*/ 566893 w 855312"/>
                    <a:gd name="connsiteY400" fmla="*/ 820790 h 1324114"/>
                    <a:gd name="connsiteX401" fmla="*/ 568727 w 855312"/>
                    <a:gd name="connsiteY401" fmla="*/ 820450 h 1324114"/>
                    <a:gd name="connsiteX402" fmla="*/ 569759 w 855312"/>
                    <a:gd name="connsiteY402" fmla="*/ 819503 h 1324114"/>
                    <a:gd name="connsiteX403" fmla="*/ 570220 w 855312"/>
                    <a:gd name="connsiteY403" fmla="*/ 818349 h 1324114"/>
                    <a:gd name="connsiteX404" fmla="*/ 570512 w 855312"/>
                    <a:gd name="connsiteY404" fmla="*/ 816831 h 1324114"/>
                    <a:gd name="connsiteX405" fmla="*/ 570111 w 855312"/>
                    <a:gd name="connsiteY405" fmla="*/ 811682 h 1324114"/>
                    <a:gd name="connsiteX406" fmla="*/ 570633 w 855312"/>
                    <a:gd name="connsiteY406" fmla="*/ 809715 h 1324114"/>
                    <a:gd name="connsiteX407" fmla="*/ 571374 w 855312"/>
                    <a:gd name="connsiteY407" fmla="*/ 808307 h 1324114"/>
                    <a:gd name="connsiteX408" fmla="*/ 573681 w 855312"/>
                    <a:gd name="connsiteY408" fmla="*/ 805381 h 1324114"/>
                    <a:gd name="connsiteX409" fmla="*/ 575964 w 855312"/>
                    <a:gd name="connsiteY409" fmla="*/ 801883 h 1324114"/>
                    <a:gd name="connsiteX410" fmla="*/ 578368 w 855312"/>
                    <a:gd name="connsiteY410" fmla="*/ 799685 h 1324114"/>
                    <a:gd name="connsiteX411" fmla="*/ 579983 w 855312"/>
                    <a:gd name="connsiteY411" fmla="*/ 799114 h 1324114"/>
                    <a:gd name="connsiteX412" fmla="*/ 581538 w 855312"/>
                    <a:gd name="connsiteY412" fmla="*/ 799200 h 1324114"/>
                    <a:gd name="connsiteX413" fmla="*/ 585095 w 855312"/>
                    <a:gd name="connsiteY413" fmla="*/ 801385 h 1324114"/>
                    <a:gd name="connsiteX414" fmla="*/ 586929 w 855312"/>
                    <a:gd name="connsiteY414" fmla="*/ 802078 h 1324114"/>
                    <a:gd name="connsiteX415" fmla="*/ 589807 w 855312"/>
                    <a:gd name="connsiteY415" fmla="*/ 802478 h 1324114"/>
                    <a:gd name="connsiteX416" fmla="*/ 593826 w 855312"/>
                    <a:gd name="connsiteY416" fmla="*/ 802393 h 1324114"/>
                    <a:gd name="connsiteX417" fmla="*/ 598756 w 855312"/>
                    <a:gd name="connsiteY417" fmla="*/ 801215 h 1324114"/>
                    <a:gd name="connsiteX418" fmla="*/ 601464 w 855312"/>
                    <a:gd name="connsiteY418" fmla="*/ 800924 h 1324114"/>
                    <a:gd name="connsiteX419" fmla="*/ 603237 w 855312"/>
                    <a:gd name="connsiteY419" fmla="*/ 801045 h 1324114"/>
                    <a:gd name="connsiteX420" fmla="*/ 604038 w 855312"/>
                    <a:gd name="connsiteY420" fmla="*/ 801883 h 1324114"/>
                    <a:gd name="connsiteX421" fmla="*/ 604391 w 855312"/>
                    <a:gd name="connsiteY421" fmla="*/ 802940 h 1324114"/>
                    <a:gd name="connsiteX422" fmla="*/ 604391 w 855312"/>
                    <a:gd name="connsiteY422" fmla="*/ 804336 h 1324114"/>
                    <a:gd name="connsiteX423" fmla="*/ 604330 w 855312"/>
                    <a:gd name="connsiteY423" fmla="*/ 805806 h 1324114"/>
                    <a:gd name="connsiteX424" fmla="*/ 605313 w 855312"/>
                    <a:gd name="connsiteY424" fmla="*/ 807275 h 1324114"/>
                    <a:gd name="connsiteX425" fmla="*/ 607256 w 855312"/>
                    <a:gd name="connsiteY425" fmla="*/ 808392 h 1324114"/>
                    <a:gd name="connsiteX426" fmla="*/ 612247 w 855312"/>
                    <a:gd name="connsiteY426" fmla="*/ 809485 h 1324114"/>
                    <a:gd name="connsiteX427" fmla="*/ 614785 w 855312"/>
                    <a:gd name="connsiteY427" fmla="*/ 810286 h 1324114"/>
                    <a:gd name="connsiteX428" fmla="*/ 616449 w 855312"/>
                    <a:gd name="connsiteY428" fmla="*/ 811173 h 1324114"/>
                    <a:gd name="connsiteX429" fmla="*/ 619496 w 855312"/>
                    <a:gd name="connsiteY429" fmla="*/ 815762 h 1324114"/>
                    <a:gd name="connsiteX430" fmla="*/ 621439 w 855312"/>
                    <a:gd name="connsiteY430" fmla="*/ 817888 h 1324114"/>
                    <a:gd name="connsiteX431" fmla="*/ 623965 w 855312"/>
                    <a:gd name="connsiteY431" fmla="*/ 819357 h 1324114"/>
                    <a:gd name="connsiteX432" fmla="*/ 626151 w 855312"/>
                    <a:gd name="connsiteY432" fmla="*/ 819320 h 1324114"/>
                    <a:gd name="connsiteX433" fmla="*/ 627596 w 855312"/>
                    <a:gd name="connsiteY433" fmla="*/ 818179 h 1324114"/>
                    <a:gd name="connsiteX434" fmla="*/ 627814 w 855312"/>
                    <a:gd name="connsiteY434" fmla="*/ 816564 h 1324114"/>
                    <a:gd name="connsiteX435" fmla="*/ 627183 w 855312"/>
                    <a:gd name="connsiteY435" fmla="*/ 814815 h 1324114"/>
                    <a:gd name="connsiteX436" fmla="*/ 623856 w 855312"/>
                    <a:gd name="connsiteY436" fmla="*/ 809983 h 1324114"/>
                    <a:gd name="connsiteX437" fmla="*/ 623115 w 855312"/>
                    <a:gd name="connsiteY437" fmla="*/ 808477 h 1324114"/>
                    <a:gd name="connsiteX438" fmla="*/ 622471 w 855312"/>
                    <a:gd name="connsiteY438" fmla="*/ 806716 h 1324114"/>
                    <a:gd name="connsiteX439" fmla="*/ 622131 w 855312"/>
                    <a:gd name="connsiteY439" fmla="*/ 805016 h 1324114"/>
                    <a:gd name="connsiteX440" fmla="*/ 622423 w 855312"/>
                    <a:gd name="connsiteY440" fmla="*/ 803377 h 1324114"/>
                    <a:gd name="connsiteX441" fmla="*/ 623273 w 855312"/>
                    <a:gd name="connsiteY441" fmla="*/ 802053 h 1324114"/>
                    <a:gd name="connsiteX442" fmla="*/ 625289 w 855312"/>
                    <a:gd name="connsiteY442" fmla="*/ 800936 h 1324114"/>
                    <a:gd name="connsiteX443" fmla="*/ 626794 w 855312"/>
                    <a:gd name="connsiteY443" fmla="*/ 800729 h 1324114"/>
                    <a:gd name="connsiteX444" fmla="*/ 628166 w 855312"/>
                    <a:gd name="connsiteY444" fmla="*/ 801009 h 1324114"/>
                    <a:gd name="connsiteX445" fmla="*/ 630231 w 855312"/>
                    <a:gd name="connsiteY445" fmla="*/ 802223 h 1324114"/>
                    <a:gd name="connsiteX446" fmla="*/ 631275 w 855312"/>
                    <a:gd name="connsiteY446" fmla="*/ 803049 h 1324114"/>
                    <a:gd name="connsiteX447" fmla="*/ 632064 w 855312"/>
                    <a:gd name="connsiteY447" fmla="*/ 803814 h 1324114"/>
                    <a:gd name="connsiteX448" fmla="*/ 632696 w 855312"/>
                    <a:gd name="connsiteY448" fmla="*/ 804858 h 1324114"/>
                    <a:gd name="connsiteX449" fmla="*/ 632926 w 855312"/>
                    <a:gd name="connsiteY449" fmla="*/ 805660 h 1324114"/>
                    <a:gd name="connsiteX450" fmla="*/ 632926 w 855312"/>
                    <a:gd name="connsiteY450" fmla="*/ 806741 h 1324114"/>
                    <a:gd name="connsiteX451" fmla="*/ 633388 w 855312"/>
                    <a:gd name="connsiteY451" fmla="*/ 807518 h 1324114"/>
                    <a:gd name="connsiteX452" fmla="*/ 634529 w 855312"/>
                    <a:gd name="connsiteY452" fmla="*/ 808088 h 1324114"/>
                    <a:gd name="connsiteX453" fmla="*/ 639824 w 855312"/>
                    <a:gd name="connsiteY453" fmla="*/ 808695 h 1324114"/>
                    <a:gd name="connsiteX454" fmla="*/ 641536 w 855312"/>
                    <a:gd name="connsiteY454" fmla="*/ 809388 h 1324114"/>
                    <a:gd name="connsiteX455" fmla="*/ 642058 w 855312"/>
                    <a:gd name="connsiteY455" fmla="*/ 810371 h 1324114"/>
                    <a:gd name="connsiteX456" fmla="*/ 641997 w 855312"/>
                    <a:gd name="connsiteY456" fmla="*/ 811828 h 1324114"/>
                    <a:gd name="connsiteX457" fmla="*/ 640674 w 855312"/>
                    <a:gd name="connsiteY457" fmla="*/ 815568 h 1324114"/>
                    <a:gd name="connsiteX458" fmla="*/ 640285 w 855312"/>
                    <a:gd name="connsiteY458" fmla="*/ 817402 h 1324114"/>
                    <a:gd name="connsiteX459" fmla="*/ 640285 w 855312"/>
                    <a:gd name="connsiteY459" fmla="*/ 819090 h 1324114"/>
                    <a:gd name="connsiteX460" fmla="*/ 640613 w 855312"/>
                    <a:gd name="connsiteY460" fmla="*/ 820850 h 1324114"/>
                    <a:gd name="connsiteX461" fmla="*/ 642349 w 855312"/>
                    <a:gd name="connsiteY461" fmla="*/ 825477 h 1324114"/>
                    <a:gd name="connsiteX462" fmla="*/ 642689 w 855312"/>
                    <a:gd name="connsiteY462" fmla="*/ 826910 h 1324114"/>
                    <a:gd name="connsiteX463" fmla="*/ 642799 w 855312"/>
                    <a:gd name="connsiteY463" fmla="*/ 828088 h 1324114"/>
                    <a:gd name="connsiteX464" fmla="*/ 642410 w 855312"/>
                    <a:gd name="connsiteY464" fmla="*/ 829302 h 1324114"/>
                    <a:gd name="connsiteX465" fmla="*/ 641426 w 855312"/>
                    <a:gd name="connsiteY465" fmla="*/ 830310 h 1324114"/>
                    <a:gd name="connsiteX466" fmla="*/ 639702 w 855312"/>
                    <a:gd name="connsiteY466" fmla="*/ 831136 h 1324114"/>
                    <a:gd name="connsiteX467" fmla="*/ 637577 w 855312"/>
                    <a:gd name="connsiteY467" fmla="*/ 831597 h 1324114"/>
                    <a:gd name="connsiteX468" fmla="*/ 629539 w 855312"/>
                    <a:gd name="connsiteY468" fmla="*/ 831876 h 1324114"/>
                    <a:gd name="connsiteX469" fmla="*/ 626952 w 855312"/>
                    <a:gd name="connsiteY469" fmla="*/ 832277 h 1324114"/>
                    <a:gd name="connsiteX470" fmla="*/ 625459 w 855312"/>
                    <a:gd name="connsiteY470" fmla="*/ 832848 h 1324114"/>
                    <a:gd name="connsiteX471" fmla="*/ 624196 w 855312"/>
                    <a:gd name="connsiteY471" fmla="*/ 833649 h 1324114"/>
                    <a:gd name="connsiteX472" fmla="*/ 620650 w 855312"/>
                    <a:gd name="connsiteY472" fmla="*/ 837498 h 1324114"/>
                    <a:gd name="connsiteX473" fmla="*/ 617420 w 855312"/>
                    <a:gd name="connsiteY473" fmla="*/ 840048 h 1324114"/>
                    <a:gd name="connsiteX474" fmla="*/ 616789 w 855312"/>
                    <a:gd name="connsiteY474" fmla="*/ 840814 h 1324114"/>
                    <a:gd name="connsiteX475" fmla="*/ 616570 w 855312"/>
                    <a:gd name="connsiteY475" fmla="*/ 841421 h 1324114"/>
                    <a:gd name="connsiteX476" fmla="*/ 617189 w 855312"/>
                    <a:gd name="connsiteY476" fmla="*/ 842113 h 1324114"/>
                    <a:gd name="connsiteX477" fmla="*/ 618525 w 855312"/>
                    <a:gd name="connsiteY477" fmla="*/ 842429 h 1324114"/>
                    <a:gd name="connsiteX478" fmla="*/ 621038 w 855312"/>
                    <a:gd name="connsiteY478" fmla="*/ 842708 h 1324114"/>
                    <a:gd name="connsiteX479" fmla="*/ 622301 w 855312"/>
                    <a:gd name="connsiteY479" fmla="*/ 843509 h 1324114"/>
                    <a:gd name="connsiteX480" fmla="*/ 622763 w 855312"/>
                    <a:gd name="connsiteY480" fmla="*/ 844517 h 1324114"/>
                    <a:gd name="connsiteX481" fmla="*/ 622301 w 855312"/>
                    <a:gd name="connsiteY481" fmla="*/ 845999 h 1324114"/>
                    <a:gd name="connsiteX482" fmla="*/ 621439 w 855312"/>
                    <a:gd name="connsiteY482" fmla="*/ 847383 h 1324114"/>
                    <a:gd name="connsiteX483" fmla="*/ 617359 w 855312"/>
                    <a:gd name="connsiteY483" fmla="*/ 852774 h 1324114"/>
                    <a:gd name="connsiteX484" fmla="*/ 616728 w 855312"/>
                    <a:gd name="connsiteY484" fmla="*/ 854013 h 1324114"/>
                    <a:gd name="connsiteX485" fmla="*/ 616570 w 855312"/>
                    <a:gd name="connsiteY485" fmla="*/ 854899 h 1324114"/>
                    <a:gd name="connsiteX486" fmla="*/ 616849 w 855312"/>
                    <a:gd name="connsiteY486" fmla="*/ 856053 h 1324114"/>
                    <a:gd name="connsiteX487" fmla="*/ 617711 w 855312"/>
                    <a:gd name="connsiteY487" fmla="*/ 857267 h 1324114"/>
                    <a:gd name="connsiteX488" fmla="*/ 620018 w 855312"/>
                    <a:gd name="connsiteY488" fmla="*/ 859902 h 1324114"/>
                    <a:gd name="connsiteX489" fmla="*/ 620529 w 855312"/>
                    <a:gd name="connsiteY489" fmla="*/ 860801 h 1324114"/>
                    <a:gd name="connsiteX490" fmla="*/ 621221 w 855312"/>
                    <a:gd name="connsiteY490" fmla="*/ 864966 h 1324114"/>
                    <a:gd name="connsiteX491" fmla="*/ 621378 w 855312"/>
                    <a:gd name="connsiteY491" fmla="*/ 865354 h 1324114"/>
                    <a:gd name="connsiteX492" fmla="*/ 621779 w 855312"/>
                    <a:gd name="connsiteY492" fmla="*/ 866192 h 1324114"/>
                    <a:gd name="connsiteX493" fmla="*/ 623115 w 855312"/>
                    <a:gd name="connsiteY493" fmla="*/ 867734 h 1324114"/>
                    <a:gd name="connsiteX494" fmla="*/ 624609 w 855312"/>
                    <a:gd name="connsiteY494" fmla="*/ 868681 h 1324114"/>
                    <a:gd name="connsiteX495" fmla="*/ 626551 w 855312"/>
                    <a:gd name="connsiteY495" fmla="*/ 869605 h 1324114"/>
                    <a:gd name="connsiteX496" fmla="*/ 627474 w 855312"/>
                    <a:gd name="connsiteY496" fmla="*/ 870758 h 1324114"/>
                    <a:gd name="connsiteX497" fmla="*/ 627814 w 855312"/>
                    <a:gd name="connsiteY497" fmla="*/ 871960 h 1324114"/>
                    <a:gd name="connsiteX498" fmla="*/ 627243 w 855312"/>
                    <a:gd name="connsiteY498" fmla="*/ 875214 h 1324114"/>
                    <a:gd name="connsiteX499" fmla="*/ 627134 w 855312"/>
                    <a:gd name="connsiteY499" fmla="*/ 876502 h 1324114"/>
                    <a:gd name="connsiteX500" fmla="*/ 627353 w 855312"/>
                    <a:gd name="connsiteY500" fmla="*/ 877558 h 1324114"/>
                    <a:gd name="connsiteX501" fmla="*/ 629879 w 855312"/>
                    <a:gd name="connsiteY501" fmla="*/ 881929 h 1324114"/>
                    <a:gd name="connsiteX502" fmla="*/ 630231 w 855312"/>
                    <a:gd name="connsiteY502" fmla="*/ 883387 h 1324114"/>
                    <a:gd name="connsiteX503" fmla="*/ 630061 w 855312"/>
                    <a:gd name="connsiteY503" fmla="*/ 884601 h 1324114"/>
                    <a:gd name="connsiteX504" fmla="*/ 629138 w 855312"/>
                    <a:gd name="connsiteY504" fmla="*/ 885487 h 1324114"/>
                    <a:gd name="connsiteX505" fmla="*/ 627596 w 855312"/>
                    <a:gd name="connsiteY505" fmla="*/ 885827 h 1324114"/>
                    <a:gd name="connsiteX506" fmla="*/ 625750 w 855312"/>
                    <a:gd name="connsiteY506" fmla="*/ 885487 h 1324114"/>
                    <a:gd name="connsiteX507" fmla="*/ 622192 w 855312"/>
                    <a:gd name="connsiteY507" fmla="*/ 883848 h 1324114"/>
                    <a:gd name="connsiteX508" fmla="*/ 619156 w 855312"/>
                    <a:gd name="connsiteY508" fmla="*/ 883071 h 1324114"/>
                    <a:gd name="connsiteX509" fmla="*/ 617420 w 855312"/>
                    <a:gd name="connsiteY509" fmla="*/ 882439 h 1324114"/>
                    <a:gd name="connsiteX510" fmla="*/ 616789 w 855312"/>
                    <a:gd name="connsiteY510" fmla="*/ 881322 h 1324114"/>
                    <a:gd name="connsiteX511" fmla="*/ 616849 w 855312"/>
                    <a:gd name="connsiteY511" fmla="*/ 879829 h 1324114"/>
                    <a:gd name="connsiteX512" fmla="*/ 617141 w 855312"/>
                    <a:gd name="connsiteY512" fmla="*/ 878274 h 1324114"/>
                    <a:gd name="connsiteX513" fmla="*/ 617141 w 855312"/>
                    <a:gd name="connsiteY513" fmla="*/ 876514 h 1324114"/>
                    <a:gd name="connsiteX514" fmla="*/ 616278 w 855312"/>
                    <a:gd name="connsiteY514" fmla="*/ 874474 h 1324114"/>
                    <a:gd name="connsiteX515" fmla="*/ 613461 w 855312"/>
                    <a:gd name="connsiteY515" fmla="*/ 869969 h 1324114"/>
                    <a:gd name="connsiteX516" fmla="*/ 610996 w 855312"/>
                    <a:gd name="connsiteY516" fmla="*/ 864747 h 1324114"/>
                    <a:gd name="connsiteX517" fmla="*/ 610134 w 855312"/>
                    <a:gd name="connsiteY517" fmla="*/ 863582 h 1324114"/>
                    <a:gd name="connsiteX518" fmla="*/ 609321 w 855312"/>
                    <a:gd name="connsiteY518" fmla="*/ 862829 h 1324114"/>
                    <a:gd name="connsiteX519" fmla="*/ 608471 w 855312"/>
                    <a:gd name="connsiteY519" fmla="*/ 862355 h 1324114"/>
                    <a:gd name="connsiteX520" fmla="*/ 606285 w 855312"/>
                    <a:gd name="connsiteY520" fmla="*/ 862124 h 1324114"/>
                    <a:gd name="connsiteX521" fmla="*/ 604852 w 855312"/>
                    <a:gd name="connsiteY521" fmla="*/ 861663 h 1324114"/>
                    <a:gd name="connsiteX522" fmla="*/ 603589 w 855312"/>
                    <a:gd name="connsiteY522" fmla="*/ 861031 h 1324114"/>
                    <a:gd name="connsiteX523" fmla="*/ 602205 w 855312"/>
                    <a:gd name="connsiteY523" fmla="*/ 860606 h 1324114"/>
                    <a:gd name="connsiteX524" fmla="*/ 600833 w 855312"/>
                    <a:gd name="connsiteY524" fmla="*/ 860606 h 1324114"/>
                    <a:gd name="connsiteX525" fmla="*/ 588933 w 855312"/>
                    <a:gd name="connsiteY525" fmla="*/ 863557 h 1324114"/>
                    <a:gd name="connsiteX526" fmla="*/ 586650 w 855312"/>
                    <a:gd name="connsiteY526" fmla="*/ 863800 h 1324114"/>
                    <a:gd name="connsiteX527" fmla="*/ 581416 w 855312"/>
                    <a:gd name="connsiteY527" fmla="*/ 863642 h 1324114"/>
                    <a:gd name="connsiteX528" fmla="*/ 577980 w 855312"/>
                    <a:gd name="connsiteY528" fmla="*/ 864019 h 1324114"/>
                    <a:gd name="connsiteX529" fmla="*/ 576146 w 855312"/>
                    <a:gd name="connsiteY529" fmla="*/ 863897 h 1324114"/>
                    <a:gd name="connsiteX530" fmla="*/ 574531 w 855312"/>
                    <a:gd name="connsiteY530" fmla="*/ 863071 h 1324114"/>
                    <a:gd name="connsiteX531" fmla="*/ 573378 w 855312"/>
                    <a:gd name="connsiteY531" fmla="*/ 861918 h 1324114"/>
                    <a:gd name="connsiteX532" fmla="*/ 571544 w 855312"/>
                    <a:gd name="connsiteY532" fmla="*/ 859416 h 1324114"/>
                    <a:gd name="connsiteX533" fmla="*/ 570451 w 855312"/>
                    <a:gd name="connsiteY533" fmla="*/ 858397 h 1324114"/>
                    <a:gd name="connsiteX534" fmla="*/ 569079 w 855312"/>
                    <a:gd name="connsiteY534" fmla="*/ 857656 h 1324114"/>
                    <a:gd name="connsiteX535" fmla="*/ 567415 w 855312"/>
                    <a:gd name="connsiteY535" fmla="*/ 857146 h 1324114"/>
                    <a:gd name="connsiteX536" fmla="*/ 561781 w 855312"/>
                    <a:gd name="connsiteY536" fmla="*/ 856029 h 1324114"/>
                    <a:gd name="connsiteX537" fmla="*/ 558794 w 855312"/>
                    <a:gd name="connsiteY537" fmla="*/ 854997 h 1324114"/>
                    <a:gd name="connsiteX538" fmla="*/ 555977 w 855312"/>
                    <a:gd name="connsiteY538" fmla="*/ 853685 h 1324114"/>
                    <a:gd name="connsiteX539" fmla="*/ 555066 w 855312"/>
                    <a:gd name="connsiteY539" fmla="*/ 853005 h 1324114"/>
                    <a:gd name="connsiteX540" fmla="*/ 554204 w 855312"/>
                    <a:gd name="connsiteY540" fmla="*/ 852155 h 1324114"/>
                    <a:gd name="connsiteX541" fmla="*/ 553232 w 855312"/>
                    <a:gd name="connsiteY541" fmla="*/ 850564 h 1324114"/>
                    <a:gd name="connsiteX542" fmla="*/ 552540 w 855312"/>
                    <a:gd name="connsiteY542" fmla="*/ 848682 h 1324114"/>
                    <a:gd name="connsiteX543" fmla="*/ 551399 w 855312"/>
                    <a:gd name="connsiteY543" fmla="*/ 844383 h 1324114"/>
                    <a:gd name="connsiteX544" fmla="*/ 550124 w 855312"/>
                    <a:gd name="connsiteY544" fmla="*/ 835021 h 1324114"/>
                    <a:gd name="connsiteX545" fmla="*/ 549674 w 855312"/>
                    <a:gd name="connsiteY545" fmla="*/ 833370 h 1324114"/>
                    <a:gd name="connsiteX546" fmla="*/ 548970 w 855312"/>
                    <a:gd name="connsiteY546" fmla="*/ 832143 h 1324114"/>
                    <a:gd name="connsiteX547" fmla="*/ 548059 w 855312"/>
                    <a:gd name="connsiteY547" fmla="*/ 832022 h 1324114"/>
                    <a:gd name="connsiteX548" fmla="*/ 547319 w 855312"/>
                    <a:gd name="connsiteY548" fmla="*/ 832277 h 1324114"/>
                    <a:gd name="connsiteX549" fmla="*/ 546566 w 855312"/>
                    <a:gd name="connsiteY549" fmla="*/ 832483 h 1324114"/>
                    <a:gd name="connsiteX550" fmla="*/ 545582 w 855312"/>
                    <a:gd name="connsiteY550" fmla="*/ 832350 h 1324114"/>
                    <a:gd name="connsiteX551" fmla="*/ 544441 w 855312"/>
                    <a:gd name="connsiteY551" fmla="*/ 831560 h 1324114"/>
                    <a:gd name="connsiteX552" fmla="*/ 542364 w 855312"/>
                    <a:gd name="connsiteY552" fmla="*/ 829727 h 1324114"/>
                    <a:gd name="connsiteX553" fmla="*/ 541454 w 855312"/>
                    <a:gd name="connsiteY553" fmla="*/ 829120 h 1324114"/>
                    <a:gd name="connsiteX554" fmla="*/ 540422 w 855312"/>
                    <a:gd name="connsiteY554" fmla="*/ 828756 h 1324114"/>
                    <a:gd name="connsiteX555" fmla="*/ 539438 w 855312"/>
                    <a:gd name="connsiteY555" fmla="*/ 828816 h 1324114"/>
                    <a:gd name="connsiteX556" fmla="*/ 538357 w 855312"/>
                    <a:gd name="connsiteY556" fmla="*/ 829423 h 1324114"/>
                    <a:gd name="connsiteX557" fmla="*/ 537495 w 855312"/>
                    <a:gd name="connsiteY557" fmla="*/ 830456 h 1324114"/>
                    <a:gd name="connsiteX558" fmla="*/ 536342 w 855312"/>
                    <a:gd name="connsiteY558" fmla="*/ 832229 h 1324114"/>
                    <a:gd name="connsiteX559" fmla="*/ 535662 w 855312"/>
                    <a:gd name="connsiteY559" fmla="*/ 832593 h 1324114"/>
                    <a:gd name="connsiteX560" fmla="*/ 533136 w 855312"/>
                    <a:gd name="connsiteY560" fmla="*/ 833054 h 1324114"/>
                    <a:gd name="connsiteX561" fmla="*/ 531691 w 855312"/>
                    <a:gd name="connsiteY561" fmla="*/ 833722 h 1324114"/>
                    <a:gd name="connsiteX562" fmla="*/ 530319 w 855312"/>
                    <a:gd name="connsiteY562" fmla="*/ 835446 h 1324114"/>
                    <a:gd name="connsiteX563" fmla="*/ 530319 w 855312"/>
                    <a:gd name="connsiteY563" fmla="*/ 837000 h 1324114"/>
                    <a:gd name="connsiteX564" fmla="*/ 531229 w 855312"/>
                    <a:gd name="connsiteY564" fmla="*/ 838579 h 1324114"/>
                    <a:gd name="connsiteX565" fmla="*/ 542486 w 855312"/>
                    <a:gd name="connsiteY565" fmla="*/ 849544 h 1324114"/>
                    <a:gd name="connsiteX566" fmla="*/ 543979 w 855312"/>
                    <a:gd name="connsiteY566" fmla="*/ 851985 h 1324114"/>
                    <a:gd name="connsiteX567" fmla="*/ 544331 w 855312"/>
                    <a:gd name="connsiteY567" fmla="*/ 853163 h 1324114"/>
                    <a:gd name="connsiteX568" fmla="*/ 543979 w 855312"/>
                    <a:gd name="connsiteY568" fmla="*/ 854073 h 1324114"/>
                    <a:gd name="connsiteX569" fmla="*/ 543239 w 855312"/>
                    <a:gd name="connsiteY569" fmla="*/ 855227 h 1324114"/>
                    <a:gd name="connsiteX570" fmla="*/ 542607 w 855312"/>
                    <a:gd name="connsiteY570" fmla="*/ 857000 h 1324114"/>
                    <a:gd name="connsiteX571" fmla="*/ 542364 w 855312"/>
                    <a:gd name="connsiteY571" fmla="*/ 860716 h 1324114"/>
                    <a:gd name="connsiteX572" fmla="*/ 543069 w 855312"/>
                    <a:gd name="connsiteY572" fmla="*/ 862780 h 1324114"/>
                    <a:gd name="connsiteX573" fmla="*/ 544149 w 855312"/>
                    <a:gd name="connsiteY573" fmla="*/ 864213 h 1324114"/>
                    <a:gd name="connsiteX574" fmla="*/ 545194 w 855312"/>
                    <a:gd name="connsiteY574" fmla="*/ 864905 h 1324114"/>
                    <a:gd name="connsiteX575" fmla="*/ 546044 w 855312"/>
                    <a:gd name="connsiteY575" fmla="*/ 865682 h 1324114"/>
                    <a:gd name="connsiteX576" fmla="*/ 547938 w 855312"/>
                    <a:gd name="connsiteY576" fmla="*/ 868281 h 1324114"/>
                    <a:gd name="connsiteX577" fmla="*/ 550585 w 855312"/>
                    <a:gd name="connsiteY577" fmla="*/ 872919 h 1324114"/>
                    <a:gd name="connsiteX578" fmla="*/ 551617 w 855312"/>
                    <a:gd name="connsiteY578" fmla="*/ 874376 h 1324114"/>
                    <a:gd name="connsiteX579" fmla="*/ 555175 w 855312"/>
                    <a:gd name="connsiteY579" fmla="*/ 878117 h 1324114"/>
                    <a:gd name="connsiteX580" fmla="*/ 556037 w 855312"/>
                    <a:gd name="connsiteY580" fmla="*/ 879380 h 1324114"/>
                    <a:gd name="connsiteX581" fmla="*/ 556960 w 855312"/>
                    <a:gd name="connsiteY581" fmla="*/ 881274 h 1324114"/>
                    <a:gd name="connsiteX582" fmla="*/ 557009 w 855312"/>
                    <a:gd name="connsiteY582" fmla="*/ 883034 h 1324114"/>
                    <a:gd name="connsiteX583" fmla="*/ 556268 w 855312"/>
                    <a:gd name="connsiteY583" fmla="*/ 884297 h 1324114"/>
                    <a:gd name="connsiteX584" fmla="*/ 555467 w 855312"/>
                    <a:gd name="connsiteY584" fmla="*/ 885087 h 1324114"/>
                    <a:gd name="connsiteX585" fmla="*/ 554957 w 855312"/>
                    <a:gd name="connsiteY585" fmla="*/ 885524 h 1324114"/>
                    <a:gd name="connsiteX586" fmla="*/ 554264 w 855312"/>
                    <a:gd name="connsiteY586" fmla="*/ 886155 h 1324114"/>
                    <a:gd name="connsiteX587" fmla="*/ 553572 w 855312"/>
                    <a:gd name="connsiteY587" fmla="*/ 887090 h 1324114"/>
                    <a:gd name="connsiteX588" fmla="*/ 552832 w 855312"/>
                    <a:gd name="connsiteY588" fmla="*/ 888559 h 1324114"/>
                    <a:gd name="connsiteX589" fmla="*/ 552431 w 855312"/>
                    <a:gd name="connsiteY589" fmla="*/ 889968 h 1324114"/>
                    <a:gd name="connsiteX590" fmla="*/ 551860 w 855312"/>
                    <a:gd name="connsiteY590" fmla="*/ 891231 h 1324114"/>
                    <a:gd name="connsiteX591" fmla="*/ 550925 w 855312"/>
                    <a:gd name="connsiteY591" fmla="*/ 892494 h 1324114"/>
                    <a:gd name="connsiteX592" fmla="*/ 548290 w 855312"/>
                    <a:gd name="connsiteY592" fmla="*/ 895335 h 1324114"/>
                    <a:gd name="connsiteX593" fmla="*/ 547197 w 855312"/>
                    <a:gd name="connsiteY593" fmla="*/ 896708 h 1324114"/>
                    <a:gd name="connsiteX594" fmla="*/ 546566 w 855312"/>
                    <a:gd name="connsiteY594" fmla="*/ 899173 h 1324114"/>
                    <a:gd name="connsiteX595" fmla="*/ 546566 w 855312"/>
                    <a:gd name="connsiteY595" fmla="*/ 901662 h 1324114"/>
                    <a:gd name="connsiteX596" fmla="*/ 547319 w 855312"/>
                    <a:gd name="connsiteY596" fmla="*/ 906580 h 1324114"/>
                    <a:gd name="connsiteX597" fmla="*/ 548120 w 855312"/>
                    <a:gd name="connsiteY597" fmla="*/ 909336 h 1324114"/>
                    <a:gd name="connsiteX598" fmla="*/ 549262 w 855312"/>
                    <a:gd name="connsiteY598" fmla="*/ 911922 h 1324114"/>
                    <a:gd name="connsiteX599" fmla="*/ 550306 w 855312"/>
                    <a:gd name="connsiteY599" fmla="*/ 912529 h 1324114"/>
                    <a:gd name="connsiteX600" fmla="*/ 551338 w 855312"/>
                    <a:gd name="connsiteY600" fmla="*/ 912093 h 1324114"/>
                    <a:gd name="connsiteX601" fmla="*/ 552188 w 855312"/>
                    <a:gd name="connsiteY601" fmla="*/ 910720 h 1324114"/>
                    <a:gd name="connsiteX602" fmla="*/ 552771 w 855312"/>
                    <a:gd name="connsiteY602" fmla="*/ 909433 h 1324114"/>
                    <a:gd name="connsiteX603" fmla="*/ 553354 w 855312"/>
                    <a:gd name="connsiteY603" fmla="*/ 907575 h 1324114"/>
                    <a:gd name="connsiteX604" fmla="*/ 553572 w 855312"/>
                    <a:gd name="connsiteY604" fmla="*/ 907150 h 1324114"/>
                    <a:gd name="connsiteX605" fmla="*/ 553924 w 855312"/>
                    <a:gd name="connsiteY605" fmla="*/ 906920 h 1324114"/>
                    <a:gd name="connsiteX606" fmla="*/ 554665 w 855312"/>
                    <a:gd name="connsiteY606" fmla="*/ 907175 h 1324114"/>
                    <a:gd name="connsiteX607" fmla="*/ 555236 w 855312"/>
                    <a:gd name="connsiteY607" fmla="*/ 907490 h 1324114"/>
                    <a:gd name="connsiteX608" fmla="*/ 556159 w 855312"/>
                    <a:gd name="connsiteY608" fmla="*/ 908146 h 1324114"/>
                    <a:gd name="connsiteX609" fmla="*/ 556960 w 855312"/>
                    <a:gd name="connsiteY609" fmla="*/ 908911 h 1324114"/>
                    <a:gd name="connsiteX610" fmla="*/ 559377 w 855312"/>
                    <a:gd name="connsiteY610" fmla="*/ 911680 h 1324114"/>
                    <a:gd name="connsiteX611" fmla="*/ 561150 w 855312"/>
                    <a:gd name="connsiteY611" fmla="*/ 913343 h 1324114"/>
                    <a:gd name="connsiteX612" fmla="*/ 562752 w 855312"/>
                    <a:gd name="connsiteY612" fmla="*/ 913805 h 1324114"/>
                    <a:gd name="connsiteX613" fmla="*/ 564137 w 855312"/>
                    <a:gd name="connsiteY613" fmla="*/ 913088 h 1324114"/>
                    <a:gd name="connsiteX614" fmla="*/ 564890 w 855312"/>
                    <a:gd name="connsiteY614" fmla="*/ 911716 h 1324114"/>
                    <a:gd name="connsiteX615" fmla="*/ 565399 w 855312"/>
                    <a:gd name="connsiteY615" fmla="*/ 910077 h 1324114"/>
                    <a:gd name="connsiteX616" fmla="*/ 565982 w 855312"/>
                    <a:gd name="connsiteY616" fmla="*/ 909178 h 1324114"/>
                    <a:gd name="connsiteX617" fmla="*/ 567015 w 855312"/>
                    <a:gd name="connsiteY617" fmla="*/ 908875 h 1324114"/>
                    <a:gd name="connsiteX618" fmla="*/ 568326 w 855312"/>
                    <a:gd name="connsiteY618" fmla="*/ 909105 h 1324114"/>
                    <a:gd name="connsiteX619" fmla="*/ 571653 w 855312"/>
                    <a:gd name="connsiteY619" fmla="*/ 910028 h 1324114"/>
                    <a:gd name="connsiteX620" fmla="*/ 573560 w 855312"/>
                    <a:gd name="connsiteY620" fmla="*/ 910368 h 1324114"/>
                    <a:gd name="connsiteX621" fmla="*/ 575624 w 855312"/>
                    <a:gd name="connsiteY621" fmla="*/ 910453 h 1324114"/>
                    <a:gd name="connsiteX622" fmla="*/ 577518 w 855312"/>
                    <a:gd name="connsiteY622" fmla="*/ 910113 h 1324114"/>
                    <a:gd name="connsiteX623" fmla="*/ 579012 w 855312"/>
                    <a:gd name="connsiteY623" fmla="*/ 909227 h 1324114"/>
                    <a:gd name="connsiteX624" fmla="*/ 579983 w 855312"/>
                    <a:gd name="connsiteY624" fmla="*/ 907648 h 1324114"/>
                    <a:gd name="connsiteX625" fmla="*/ 580044 w 855312"/>
                    <a:gd name="connsiteY625" fmla="*/ 906009 h 1324114"/>
                    <a:gd name="connsiteX626" fmla="*/ 579073 w 855312"/>
                    <a:gd name="connsiteY626" fmla="*/ 903022 h 1324114"/>
                    <a:gd name="connsiteX627" fmla="*/ 578842 w 855312"/>
                    <a:gd name="connsiteY627" fmla="*/ 901504 h 1324114"/>
                    <a:gd name="connsiteX628" fmla="*/ 578890 w 855312"/>
                    <a:gd name="connsiteY628" fmla="*/ 899731 h 1324114"/>
                    <a:gd name="connsiteX629" fmla="*/ 578672 w 855312"/>
                    <a:gd name="connsiteY629" fmla="*/ 897193 h 1324114"/>
                    <a:gd name="connsiteX630" fmla="*/ 578040 w 855312"/>
                    <a:gd name="connsiteY630" fmla="*/ 895991 h 1324114"/>
                    <a:gd name="connsiteX631" fmla="*/ 576887 w 855312"/>
                    <a:gd name="connsiteY631" fmla="*/ 895117 h 1324114"/>
                    <a:gd name="connsiteX632" fmla="*/ 575624 w 855312"/>
                    <a:gd name="connsiteY632" fmla="*/ 894582 h 1324114"/>
                    <a:gd name="connsiteX633" fmla="*/ 574300 w 855312"/>
                    <a:gd name="connsiteY633" fmla="*/ 893599 h 1324114"/>
                    <a:gd name="connsiteX634" fmla="*/ 573718 w 855312"/>
                    <a:gd name="connsiteY634" fmla="*/ 892749 h 1324114"/>
                    <a:gd name="connsiteX635" fmla="*/ 573839 w 855312"/>
                    <a:gd name="connsiteY635" fmla="*/ 891899 h 1324114"/>
                    <a:gd name="connsiteX636" fmla="*/ 574422 w 855312"/>
                    <a:gd name="connsiteY636" fmla="*/ 891231 h 1324114"/>
                    <a:gd name="connsiteX637" fmla="*/ 577579 w 855312"/>
                    <a:gd name="connsiteY637" fmla="*/ 890162 h 1324114"/>
                    <a:gd name="connsiteX638" fmla="*/ 578320 w 855312"/>
                    <a:gd name="connsiteY638" fmla="*/ 889677 h 1324114"/>
                    <a:gd name="connsiteX639" fmla="*/ 578781 w 855312"/>
                    <a:gd name="connsiteY639" fmla="*/ 889130 h 1324114"/>
                    <a:gd name="connsiteX640" fmla="*/ 578951 w 855312"/>
                    <a:gd name="connsiteY640" fmla="*/ 888329 h 1324114"/>
                    <a:gd name="connsiteX641" fmla="*/ 579012 w 855312"/>
                    <a:gd name="connsiteY641" fmla="*/ 887442 h 1324114"/>
                    <a:gd name="connsiteX642" fmla="*/ 578951 w 855312"/>
                    <a:gd name="connsiteY642" fmla="*/ 886495 h 1324114"/>
                    <a:gd name="connsiteX643" fmla="*/ 579073 w 855312"/>
                    <a:gd name="connsiteY643" fmla="*/ 885779 h 1324114"/>
                    <a:gd name="connsiteX644" fmla="*/ 579291 w 855312"/>
                    <a:gd name="connsiteY644" fmla="*/ 884917 h 1324114"/>
                    <a:gd name="connsiteX645" fmla="*/ 579704 w 855312"/>
                    <a:gd name="connsiteY645" fmla="*/ 883909 h 1324114"/>
                    <a:gd name="connsiteX646" fmla="*/ 580323 w 855312"/>
                    <a:gd name="connsiteY646" fmla="*/ 882877 h 1324114"/>
                    <a:gd name="connsiteX647" fmla="*/ 581076 w 855312"/>
                    <a:gd name="connsiteY647" fmla="*/ 882330 h 1324114"/>
                    <a:gd name="connsiteX648" fmla="*/ 581999 w 855312"/>
                    <a:gd name="connsiteY648" fmla="*/ 881966 h 1324114"/>
                    <a:gd name="connsiteX649" fmla="*/ 583092 w 855312"/>
                    <a:gd name="connsiteY649" fmla="*/ 882476 h 1324114"/>
                    <a:gd name="connsiteX650" fmla="*/ 583602 w 855312"/>
                    <a:gd name="connsiteY650" fmla="*/ 883314 h 1324114"/>
                    <a:gd name="connsiteX651" fmla="*/ 583784 w 855312"/>
                    <a:gd name="connsiteY651" fmla="*/ 884710 h 1324114"/>
                    <a:gd name="connsiteX652" fmla="*/ 583723 w 855312"/>
                    <a:gd name="connsiteY652" fmla="*/ 886264 h 1324114"/>
                    <a:gd name="connsiteX653" fmla="*/ 583820 w 855312"/>
                    <a:gd name="connsiteY653" fmla="*/ 888159 h 1324114"/>
                    <a:gd name="connsiteX654" fmla="*/ 584343 w 855312"/>
                    <a:gd name="connsiteY654" fmla="*/ 888851 h 1324114"/>
                    <a:gd name="connsiteX655" fmla="*/ 585435 w 855312"/>
                    <a:gd name="connsiteY655" fmla="*/ 888875 h 1324114"/>
                    <a:gd name="connsiteX656" fmla="*/ 589297 w 855312"/>
                    <a:gd name="connsiteY656" fmla="*/ 886143 h 1324114"/>
                    <a:gd name="connsiteX657" fmla="*/ 590548 w 855312"/>
                    <a:gd name="connsiteY657" fmla="*/ 885572 h 1324114"/>
                    <a:gd name="connsiteX658" fmla="*/ 591980 w 855312"/>
                    <a:gd name="connsiteY658" fmla="*/ 885548 h 1324114"/>
                    <a:gd name="connsiteX659" fmla="*/ 593705 w 855312"/>
                    <a:gd name="connsiteY659" fmla="*/ 886605 h 1324114"/>
                    <a:gd name="connsiteX660" fmla="*/ 596461 w 855312"/>
                    <a:gd name="connsiteY660" fmla="*/ 890065 h 1324114"/>
                    <a:gd name="connsiteX661" fmla="*/ 598368 w 855312"/>
                    <a:gd name="connsiteY661" fmla="*/ 890478 h 1324114"/>
                    <a:gd name="connsiteX662" fmla="*/ 601926 w 855312"/>
                    <a:gd name="connsiteY662" fmla="*/ 889992 h 1324114"/>
                    <a:gd name="connsiteX663" fmla="*/ 603528 w 855312"/>
                    <a:gd name="connsiteY663" fmla="*/ 890333 h 1324114"/>
                    <a:gd name="connsiteX664" fmla="*/ 605423 w 855312"/>
                    <a:gd name="connsiteY664" fmla="*/ 891365 h 1324114"/>
                    <a:gd name="connsiteX665" fmla="*/ 607900 w 855312"/>
                    <a:gd name="connsiteY665" fmla="*/ 893089 h 1324114"/>
                    <a:gd name="connsiteX666" fmla="*/ 609843 w 855312"/>
                    <a:gd name="connsiteY666" fmla="*/ 893842 h 1324114"/>
                    <a:gd name="connsiteX667" fmla="*/ 611737 w 855312"/>
                    <a:gd name="connsiteY667" fmla="*/ 893939 h 1324114"/>
                    <a:gd name="connsiteX668" fmla="*/ 613231 w 855312"/>
                    <a:gd name="connsiteY668" fmla="*/ 893611 h 1324114"/>
                    <a:gd name="connsiteX669" fmla="*/ 614554 w 855312"/>
                    <a:gd name="connsiteY669" fmla="*/ 893502 h 1324114"/>
                    <a:gd name="connsiteX670" fmla="*/ 617942 w 855312"/>
                    <a:gd name="connsiteY670" fmla="*/ 894085 h 1324114"/>
                    <a:gd name="connsiteX671" fmla="*/ 621439 w 855312"/>
                    <a:gd name="connsiteY671" fmla="*/ 895020 h 1324114"/>
                    <a:gd name="connsiteX672" fmla="*/ 627134 w 855312"/>
                    <a:gd name="connsiteY672" fmla="*/ 894206 h 1324114"/>
                    <a:gd name="connsiteX673" fmla="*/ 628045 w 855312"/>
                    <a:gd name="connsiteY673" fmla="*/ 894862 h 1324114"/>
                    <a:gd name="connsiteX674" fmla="*/ 629089 w 855312"/>
                    <a:gd name="connsiteY674" fmla="*/ 896100 h 1324114"/>
                    <a:gd name="connsiteX675" fmla="*/ 629320 w 855312"/>
                    <a:gd name="connsiteY675" fmla="*/ 897715 h 1324114"/>
                    <a:gd name="connsiteX676" fmla="*/ 629830 w 855312"/>
                    <a:gd name="connsiteY676" fmla="*/ 899002 h 1324114"/>
                    <a:gd name="connsiteX677" fmla="*/ 631154 w 855312"/>
                    <a:gd name="connsiteY677" fmla="*/ 900581 h 1324114"/>
                    <a:gd name="connsiteX678" fmla="*/ 633497 w 855312"/>
                    <a:gd name="connsiteY678" fmla="*/ 901929 h 1324114"/>
                    <a:gd name="connsiteX679" fmla="*/ 634772 w 855312"/>
                    <a:gd name="connsiteY679" fmla="*/ 903617 h 1324114"/>
                    <a:gd name="connsiteX680" fmla="*/ 635404 w 855312"/>
                    <a:gd name="connsiteY680" fmla="*/ 905596 h 1324114"/>
                    <a:gd name="connsiteX681" fmla="*/ 635804 w 855312"/>
                    <a:gd name="connsiteY681" fmla="*/ 907697 h 1324114"/>
                    <a:gd name="connsiteX682" fmla="*/ 637298 w 855312"/>
                    <a:gd name="connsiteY682" fmla="*/ 911947 h 1324114"/>
                    <a:gd name="connsiteX683" fmla="*/ 637747 w 855312"/>
                    <a:gd name="connsiteY683" fmla="*/ 913841 h 1324114"/>
                    <a:gd name="connsiteX684" fmla="*/ 637699 w 855312"/>
                    <a:gd name="connsiteY684" fmla="*/ 918808 h 1324114"/>
                    <a:gd name="connsiteX685" fmla="*/ 638099 w 855312"/>
                    <a:gd name="connsiteY685" fmla="*/ 921855 h 1324114"/>
                    <a:gd name="connsiteX686" fmla="*/ 639241 w 855312"/>
                    <a:gd name="connsiteY686" fmla="*/ 922341 h 1324114"/>
                    <a:gd name="connsiteX687" fmla="*/ 640164 w 855312"/>
                    <a:gd name="connsiteY687" fmla="*/ 922377 h 1324114"/>
                    <a:gd name="connsiteX688" fmla="*/ 641475 w 855312"/>
                    <a:gd name="connsiteY688" fmla="*/ 921600 h 1324114"/>
                    <a:gd name="connsiteX689" fmla="*/ 642519 w 855312"/>
                    <a:gd name="connsiteY689" fmla="*/ 921418 h 1324114"/>
                    <a:gd name="connsiteX690" fmla="*/ 646539 w 855312"/>
                    <a:gd name="connsiteY690" fmla="*/ 921831 h 1324114"/>
                    <a:gd name="connsiteX691" fmla="*/ 647741 w 855312"/>
                    <a:gd name="connsiteY691" fmla="*/ 921758 h 1324114"/>
                    <a:gd name="connsiteX692" fmla="*/ 648773 w 855312"/>
                    <a:gd name="connsiteY692" fmla="*/ 921394 h 1324114"/>
                    <a:gd name="connsiteX693" fmla="*/ 653485 w 855312"/>
                    <a:gd name="connsiteY693" fmla="*/ 917496 h 1324114"/>
                    <a:gd name="connsiteX694" fmla="*/ 658427 w 855312"/>
                    <a:gd name="connsiteY694" fmla="*/ 915201 h 1324114"/>
                    <a:gd name="connsiteX695" fmla="*/ 660770 w 855312"/>
                    <a:gd name="connsiteY695" fmla="*/ 914630 h 1324114"/>
                    <a:gd name="connsiteX696" fmla="*/ 664571 w 855312"/>
                    <a:gd name="connsiteY696" fmla="*/ 914970 h 1324114"/>
                    <a:gd name="connsiteX697" fmla="*/ 666113 w 855312"/>
                    <a:gd name="connsiteY697" fmla="*/ 914716 h 1324114"/>
                    <a:gd name="connsiteX698" fmla="*/ 666757 w 855312"/>
                    <a:gd name="connsiteY698" fmla="*/ 914133 h 1324114"/>
                    <a:gd name="connsiteX699" fmla="*/ 666065 w 855312"/>
                    <a:gd name="connsiteY699" fmla="*/ 911922 h 1324114"/>
                    <a:gd name="connsiteX700" fmla="*/ 666004 w 855312"/>
                    <a:gd name="connsiteY700" fmla="*/ 910550 h 1324114"/>
                    <a:gd name="connsiteX701" fmla="*/ 666344 w 855312"/>
                    <a:gd name="connsiteY701" fmla="*/ 909421 h 1324114"/>
                    <a:gd name="connsiteX702" fmla="*/ 667279 w 855312"/>
                    <a:gd name="connsiteY702" fmla="*/ 908389 h 1324114"/>
                    <a:gd name="connsiteX703" fmla="*/ 668469 w 855312"/>
                    <a:gd name="connsiteY703" fmla="*/ 907636 h 1324114"/>
                    <a:gd name="connsiteX704" fmla="*/ 670254 w 855312"/>
                    <a:gd name="connsiteY704" fmla="*/ 907065 h 1324114"/>
                    <a:gd name="connsiteX705" fmla="*/ 672488 w 855312"/>
                    <a:gd name="connsiteY705" fmla="*/ 906604 h 1324114"/>
                    <a:gd name="connsiteX706" fmla="*/ 675196 w 855312"/>
                    <a:gd name="connsiteY706" fmla="*/ 906604 h 1324114"/>
                    <a:gd name="connsiteX707" fmla="*/ 676617 w 855312"/>
                    <a:gd name="connsiteY707" fmla="*/ 907357 h 1324114"/>
                    <a:gd name="connsiteX708" fmla="*/ 677540 w 855312"/>
                    <a:gd name="connsiteY708" fmla="*/ 908595 h 1324114"/>
                    <a:gd name="connsiteX709" fmla="*/ 678171 w 855312"/>
                    <a:gd name="connsiteY709" fmla="*/ 909664 h 1324114"/>
                    <a:gd name="connsiteX710" fmla="*/ 679434 w 855312"/>
                    <a:gd name="connsiteY710" fmla="*/ 910757 h 1324114"/>
                    <a:gd name="connsiteX711" fmla="*/ 680587 w 855312"/>
                    <a:gd name="connsiteY711" fmla="*/ 910611 h 1324114"/>
                    <a:gd name="connsiteX712" fmla="*/ 681680 w 855312"/>
                    <a:gd name="connsiteY712" fmla="*/ 909421 h 1324114"/>
                    <a:gd name="connsiteX713" fmla="*/ 682433 w 855312"/>
                    <a:gd name="connsiteY713" fmla="*/ 907478 h 1324114"/>
                    <a:gd name="connsiteX714" fmla="*/ 683053 w 855312"/>
                    <a:gd name="connsiteY714" fmla="*/ 905183 h 1324114"/>
                    <a:gd name="connsiteX715" fmla="*/ 683805 w 855312"/>
                    <a:gd name="connsiteY715" fmla="*/ 903204 h 1324114"/>
                    <a:gd name="connsiteX716" fmla="*/ 685178 w 855312"/>
                    <a:gd name="connsiteY716" fmla="*/ 901686 h 1324114"/>
                    <a:gd name="connsiteX717" fmla="*/ 686902 w 855312"/>
                    <a:gd name="connsiteY717" fmla="*/ 900727 h 1324114"/>
                    <a:gd name="connsiteX718" fmla="*/ 690010 w 855312"/>
                    <a:gd name="connsiteY718" fmla="*/ 899901 h 1324114"/>
                    <a:gd name="connsiteX719" fmla="*/ 691783 w 855312"/>
                    <a:gd name="connsiteY719" fmla="*/ 899184 h 1324114"/>
                    <a:gd name="connsiteX720" fmla="*/ 692937 w 855312"/>
                    <a:gd name="connsiteY720" fmla="*/ 898517 h 1324114"/>
                    <a:gd name="connsiteX721" fmla="*/ 695062 w 855312"/>
                    <a:gd name="connsiteY721" fmla="*/ 896149 h 1324114"/>
                    <a:gd name="connsiteX722" fmla="*/ 696713 w 855312"/>
                    <a:gd name="connsiteY722" fmla="*/ 894716 h 1324114"/>
                    <a:gd name="connsiteX723" fmla="*/ 700575 w 855312"/>
                    <a:gd name="connsiteY723" fmla="*/ 892239 h 1324114"/>
                    <a:gd name="connsiteX724" fmla="*/ 702129 w 855312"/>
                    <a:gd name="connsiteY724" fmla="*/ 890976 h 1324114"/>
                    <a:gd name="connsiteX725" fmla="*/ 703101 w 855312"/>
                    <a:gd name="connsiteY725" fmla="*/ 889713 h 1324114"/>
                    <a:gd name="connsiteX726" fmla="*/ 703562 w 855312"/>
                    <a:gd name="connsiteY726" fmla="*/ 888341 h 1324114"/>
                    <a:gd name="connsiteX727" fmla="*/ 703441 w 855312"/>
                    <a:gd name="connsiteY727" fmla="*/ 886993 h 1324114"/>
                    <a:gd name="connsiteX728" fmla="*/ 702809 w 855312"/>
                    <a:gd name="connsiteY728" fmla="*/ 885839 h 1324114"/>
                    <a:gd name="connsiteX729" fmla="*/ 701668 w 855312"/>
                    <a:gd name="connsiteY729" fmla="*/ 884686 h 1324114"/>
                    <a:gd name="connsiteX730" fmla="*/ 700635 w 855312"/>
                    <a:gd name="connsiteY730" fmla="*/ 883423 h 1324114"/>
                    <a:gd name="connsiteX731" fmla="*/ 699992 w 855312"/>
                    <a:gd name="connsiteY731" fmla="*/ 882051 h 1324114"/>
                    <a:gd name="connsiteX732" fmla="*/ 699822 w 855312"/>
                    <a:gd name="connsiteY732" fmla="*/ 880642 h 1324114"/>
                    <a:gd name="connsiteX733" fmla="*/ 700113 w 855312"/>
                    <a:gd name="connsiteY733" fmla="*/ 879380 h 1324114"/>
                    <a:gd name="connsiteX734" fmla="*/ 700854 w 855312"/>
                    <a:gd name="connsiteY734" fmla="*/ 878092 h 1324114"/>
                    <a:gd name="connsiteX735" fmla="*/ 701838 w 855312"/>
                    <a:gd name="connsiteY735" fmla="*/ 877036 h 1324114"/>
                    <a:gd name="connsiteX736" fmla="*/ 703562 w 855312"/>
                    <a:gd name="connsiteY736" fmla="*/ 876089 h 1324114"/>
                    <a:gd name="connsiteX737" fmla="*/ 705043 w 855312"/>
                    <a:gd name="connsiteY737" fmla="*/ 876174 h 1324114"/>
                    <a:gd name="connsiteX738" fmla="*/ 708261 w 855312"/>
                    <a:gd name="connsiteY738" fmla="*/ 877303 h 1324114"/>
                    <a:gd name="connsiteX739" fmla="*/ 712293 w 855312"/>
                    <a:gd name="connsiteY739" fmla="*/ 877352 h 1324114"/>
                    <a:gd name="connsiteX740" fmla="*/ 713543 w 855312"/>
                    <a:gd name="connsiteY740" fmla="*/ 877570 h 1324114"/>
                    <a:gd name="connsiteX741" fmla="*/ 714466 w 855312"/>
                    <a:gd name="connsiteY741" fmla="*/ 878201 h 1324114"/>
                    <a:gd name="connsiteX742" fmla="*/ 715668 w 855312"/>
                    <a:gd name="connsiteY742" fmla="*/ 879319 h 1324114"/>
                    <a:gd name="connsiteX743" fmla="*/ 717101 w 855312"/>
                    <a:gd name="connsiteY743" fmla="*/ 880181 h 1324114"/>
                    <a:gd name="connsiteX744" fmla="*/ 719918 w 855312"/>
                    <a:gd name="connsiteY744" fmla="*/ 880873 h 1324114"/>
                    <a:gd name="connsiteX745" fmla="*/ 721703 w 855312"/>
                    <a:gd name="connsiteY745" fmla="*/ 880351 h 1324114"/>
                    <a:gd name="connsiteX746" fmla="*/ 723258 w 855312"/>
                    <a:gd name="connsiteY746" fmla="*/ 879149 h 1324114"/>
                    <a:gd name="connsiteX747" fmla="*/ 724059 w 855312"/>
                    <a:gd name="connsiteY747" fmla="*/ 877510 h 1324114"/>
                    <a:gd name="connsiteX748" fmla="*/ 724569 w 855312"/>
                    <a:gd name="connsiteY748" fmla="*/ 876101 h 1324114"/>
                    <a:gd name="connsiteX749" fmla="*/ 725492 w 855312"/>
                    <a:gd name="connsiteY749" fmla="*/ 874729 h 1324114"/>
                    <a:gd name="connsiteX750" fmla="*/ 726524 w 855312"/>
                    <a:gd name="connsiteY750" fmla="*/ 873721 h 1324114"/>
                    <a:gd name="connsiteX751" fmla="*/ 728771 w 855312"/>
                    <a:gd name="connsiteY751" fmla="*/ 872288 h 1324114"/>
                    <a:gd name="connsiteX752" fmla="*/ 729851 w 855312"/>
                    <a:gd name="connsiteY752" fmla="*/ 871887 h 1324114"/>
                    <a:gd name="connsiteX753" fmla="*/ 730835 w 855312"/>
                    <a:gd name="connsiteY753" fmla="*/ 871972 h 1324114"/>
                    <a:gd name="connsiteX754" fmla="*/ 731284 w 855312"/>
                    <a:gd name="connsiteY754" fmla="*/ 872458 h 1324114"/>
                    <a:gd name="connsiteX755" fmla="*/ 731636 w 855312"/>
                    <a:gd name="connsiteY755" fmla="*/ 873563 h 1324114"/>
                    <a:gd name="connsiteX756" fmla="*/ 731867 w 855312"/>
                    <a:gd name="connsiteY756" fmla="*/ 875105 h 1324114"/>
                    <a:gd name="connsiteX757" fmla="*/ 731636 w 855312"/>
                    <a:gd name="connsiteY757" fmla="*/ 880157 h 1324114"/>
                    <a:gd name="connsiteX758" fmla="*/ 731466 w 855312"/>
                    <a:gd name="connsiteY758" fmla="*/ 880800 h 1324114"/>
                    <a:gd name="connsiteX759" fmla="*/ 731114 w 855312"/>
                    <a:gd name="connsiteY759" fmla="*/ 881590 h 1324114"/>
                    <a:gd name="connsiteX760" fmla="*/ 730434 w 855312"/>
                    <a:gd name="connsiteY760" fmla="*/ 882488 h 1324114"/>
                    <a:gd name="connsiteX761" fmla="*/ 726816 w 855312"/>
                    <a:gd name="connsiteY761" fmla="*/ 885560 h 1324114"/>
                    <a:gd name="connsiteX762" fmla="*/ 726002 w 855312"/>
                    <a:gd name="connsiteY762" fmla="*/ 886495 h 1324114"/>
                    <a:gd name="connsiteX763" fmla="*/ 725601 w 855312"/>
                    <a:gd name="connsiteY763" fmla="*/ 887758 h 1324114"/>
                    <a:gd name="connsiteX764" fmla="*/ 725601 w 855312"/>
                    <a:gd name="connsiteY764" fmla="*/ 889361 h 1324114"/>
                    <a:gd name="connsiteX765" fmla="*/ 726184 w 855312"/>
                    <a:gd name="connsiteY765" fmla="*/ 893526 h 1324114"/>
                    <a:gd name="connsiteX766" fmla="*/ 726585 w 855312"/>
                    <a:gd name="connsiteY766" fmla="*/ 895262 h 1324114"/>
                    <a:gd name="connsiteX767" fmla="*/ 727034 w 855312"/>
                    <a:gd name="connsiteY767" fmla="*/ 896574 h 1324114"/>
                    <a:gd name="connsiteX768" fmla="*/ 727738 w 855312"/>
                    <a:gd name="connsiteY768" fmla="*/ 897351 h 1324114"/>
                    <a:gd name="connsiteX769" fmla="*/ 728649 w 855312"/>
                    <a:gd name="connsiteY769" fmla="*/ 896950 h 1324114"/>
                    <a:gd name="connsiteX770" fmla="*/ 729851 w 855312"/>
                    <a:gd name="connsiteY770" fmla="*/ 895712 h 1324114"/>
                    <a:gd name="connsiteX771" fmla="*/ 732717 w 855312"/>
                    <a:gd name="connsiteY771" fmla="*/ 891814 h 1324114"/>
                    <a:gd name="connsiteX772" fmla="*/ 735194 w 855312"/>
                    <a:gd name="connsiteY772" fmla="*/ 890005 h 1324114"/>
                    <a:gd name="connsiteX773" fmla="*/ 737319 w 855312"/>
                    <a:gd name="connsiteY773" fmla="*/ 889543 h 1324114"/>
                    <a:gd name="connsiteX774" fmla="*/ 739335 w 855312"/>
                    <a:gd name="connsiteY774" fmla="*/ 889750 h 1324114"/>
                    <a:gd name="connsiteX775" fmla="*/ 741157 w 855312"/>
                    <a:gd name="connsiteY775" fmla="*/ 890381 h 1324114"/>
                    <a:gd name="connsiteX776" fmla="*/ 742261 w 855312"/>
                    <a:gd name="connsiteY776" fmla="*/ 890539 h 1324114"/>
                    <a:gd name="connsiteX777" fmla="*/ 743014 w 855312"/>
                    <a:gd name="connsiteY777" fmla="*/ 890357 h 1324114"/>
                    <a:gd name="connsiteX778" fmla="*/ 748746 w 855312"/>
                    <a:gd name="connsiteY778" fmla="*/ 887005 h 1324114"/>
                    <a:gd name="connsiteX779" fmla="*/ 757586 w 855312"/>
                    <a:gd name="connsiteY779" fmla="*/ 892324 h 1324114"/>
                    <a:gd name="connsiteX780" fmla="*/ 759772 w 855312"/>
                    <a:gd name="connsiteY780" fmla="*/ 897436 h 1324114"/>
                    <a:gd name="connsiteX781" fmla="*/ 760816 w 855312"/>
                    <a:gd name="connsiteY781" fmla="*/ 901480 h 1324114"/>
                    <a:gd name="connsiteX782" fmla="*/ 760974 w 855312"/>
                    <a:gd name="connsiteY782" fmla="*/ 903944 h 1324114"/>
                    <a:gd name="connsiteX783" fmla="*/ 760634 w 855312"/>
                    <a:gd name="connsiteY783" fmla="*/ 906288 h 1324114"/>
                    <a:gd name="connsiteX784" fmla="*/ 758800 w 855312"/>
                    <a:gd name="connsiteY784" fmla="*/ 909919 h 1324114"/>
                    <a:gd name="connsiteX785" fmla="*/ 758047 w 855312"/>
                    <a:gd name="connsiteY785" fmla="*/ 912007 h 1324114"/>
                    <a:gd name="connsiteX786" fmla="*/ 758630 w 855312"/>
                    <a:gd name="connsiteY786" fmla="*/ 913962 h 1324114"/>
                    <a:gd name="connsiteX787" fmla="*/ 759772 w 855312"/>
                    <a:gd name="connsiteY787" fmla="*/ 916039 h 1324114"/>
                    <a:gd name="connsiteX788" fmla="*/ 761787 w 855312"/>
                    <a:gd name="connsiteY788" fmla="*/ 918977 h 1324114"/>
                    <a:gd name="connsiteX789" fmla="*/ 762407 w 855312"/>
                    <a:gd name="connsiteY789" fmla="*/ 920653 h 1324114"/>
                    <a:gd name="connsiteX790" fmla="*/ 762309 w 855312"/>
                    <a:gd name="connsiteY790" fmla="*/ 922086 h 1324114"/>
                    <a:gd name="connsiteX791" fmla="*/ 761265 w 855312"/>
                    <a:gd name="connsiteY791" fmla="*/ 922924 h 1324114"/>
                    <a:gd name="connsiteX792" fmla="*/ 760063 w 855312"/>
                    <a:gd name="connsiteY792" fmla="*/ 923312 h 1324114"/>
                    <a:gd name="connsiteX793" fmla="*/ 758448 w 855312"/>
                    <a:gd name="connsiteY793" fmla="*/ 923264 h 1324114"/>
                    <a:gd name="connsiteX794" fmla="*/ 755400 w 855312"/>
                    <a:gd name="connsiteY794" fmla="*/ 922535 h 1324114"/>
                    <a:gd name="connsiteX795" fmla="*/ 754149 w 855312"/>
                    <a:gd name="connsiteY795" fmla="*/ 922657 h 1324114"/>
                    <a:gd name="connsiteX796" fmla="*/ 753166 w 855312"/>
                    <a:gd name="connsiteY796" fmla="*/ 923810 h 1324114"/>
                    <a:gd name="connsiteX797" fmla="*/ 753336 w 855312"/>
                    <a:gd name="connsiteY797" fmla="*/ 925583 h 1324114"/>
                    <a:gd name="connsiteX798" fmla="*/ 753906 w 855312"/>
                    <a:gd name="connsiteY798" fmla="*/ 927563 h 1324114"/>
                    <a:gd name="connsiteX799" fmla="*/ 755339 w 855312"/>
                    <a:gd name="connsiteY799" fmla="*/ 930052 h 1324114"/>
                    <a:gd name="connsiteX800" fmla="*/ 756614 w 855312"/>
                    <a:gd name="connsiteY800" fmla="*/ 931096 h 1324114"/>
                    <a:gd name="connsiteX801" fmla="*/ 758387 w 855312"/>
                    <a:gd name="connsiteY801" fmla="*/ 931145 h 1324114"/>
                    <a:gd name="connsiteX802" fmla="*/ 761557 w 855312"/>
                    <a:gd name="connsiteY802" fmla="*/ 929797 h 1324114"/>
                    <a:gd name="connsiteX803" fmla="*/ 763220 w 855312"/>
                    <a:gd name="connsiteY803" fmla="*/ 929469 h 1324114"/>
                    <a:gd name="connsiteX804" fmla="*/ 764774 w 855312"/>
                    <a:gd name="connsiteY804" fmla="*/ 929578 h 1324114"/>
                    <a:gd name="connsiteX805" fmla="*/ 766377 w 855312"/>
                    <a:gd name="connsiteY805" fmla="*/ 930222 h 1324114"/>
                    <a:gd name="connsiteX806" fmla="*/ 767749 w 855312"/>
                    <a:gd name="connsiteY806" fmla="*/ 931157 h 1324114"/>
                    <a:gd name="connsiteX807" fmla="*/ 774246 w 855312"/>
                    <a:gd name="connsiteY807" fmla="*/ 938649 h 1324114"/>
                    <a:gd name="connsiteX808" fmla="*/ 775740 w 855312"/>
                    <a:gd name="connsiteY808" fmla="*/ 940118 h 1324114"/>
                    <a:gd name="connsiteX809" fmla="*/ 777172 w 855312"/>
                    <a:gd name="connsiteY809" fmla="*/ 941090 h 1324114"/>
                    <a:gd name="connsiteX810" fmla="*/ 778083 w 855312"/>
                    <a:gd name="connsiteY810" fmla="*/ 941320 h 1324114"/>
                    <a:gd name="connsiteX811" fmla="*/ 780670 w 855312"/>
                    <a:gd name="connsiteY811" fmla="*/ 941673 h 1324114"/>
                    <a:gd name="connsiteX812" fmla="*/ 782515 w 855312"/>
                    <a:gd name="connsiteY812" fmla="*/ 942122 h 1324114"/>
                    <a:gd name="connsiteX813" fmla="*/ 786073 w 855312"/>
                    <a:gd name="connsiteY813" fmla="*/ 943385 h 1324114"/>
                    <a:gd name="connsiteX814" fmla="*/ 790214 w 855312"/>
                    <a:gd name="connsiteY814" fmla="*/ 944101 h 1324114"/>
                    <a:gd name="connsiteX815" fmla="*/ 792048 w 855312"/>
                    <a:gd name="connsiteY815" fmla="*/ 944198 h 1324114"/>
                    <a:gd name="connsiteX816" fmla="*/ 793650 w 855312"/>
                    <a:gd name="connsiteY816" fmla="*/ 944040 h 1324114"/>
                    <a:gd name="connsiteX817" fmla="*/ 794962 w 855312"/>
                    <a:gd name="connsiteY817" fmla="*/ 943591 h 1324114"/>
                    <a:gd name="connsiteX818" fmla="*/ 797439 w 855312"/>
                    <a:gd name="connsiteY818" fmla="*/ 941976 h 1324114"/>
                    <a:gd name="connsiteX819" fmla="*/ 798532 w 855312"/>
                    <a:gd name="connsiteY819" fmla="*/ 941491 h 1324114"/>
                    <a:gd name="connsiteX820" fmla="*/ 799685 w 855312"/>
                    <a:gd name="connsiteY820" fmla="*/ 941491 h 1324114"/>
                    <a:gd name="connsiteX821" fmla="*/ 800875 w 855312"/>
                    <a:gd name="connsiteY821" fmla="*/ 941976 h 1324114"/>
                    <a:gd name="connsiteX822" fmla="*/ 803182 w 855312"/>
                    <a:gd name="connsiteY822" fmla="*/ 943409 h 1324114"/>
                    <a:gd name="connsiteX823" fmla="*/ 804105 w 855312"/>
                    <a:gd name="connsiteY823" fmla="*/ 943725 h 1324114"/>
                    <a:gd name="connsiteX824" fmla="*/ 805016 w 855312"/>
                    <a:gd name="connsiteY824" fmla="*/ 943785 h 1324114"/>
                    <a:gd name="connsiteX825" fmla="*/ 805939 w 855312"/>
                    <a:gd name="connsiteY825" fmla="*/ 943640 h 1324114"/>
                    <a:gd name="connsiteX826" fmla="*/ 808416 w 855312"/>
                    <a:gd name="connsiteY826" fmla="*/ 942948 h 1324114"/>
                    <a:gd name="connsiteX827" fmla="*/ 809898 w 855312"/>
                    <a:gd name="connsiteY827" fmla="*/ 942790 h 1324114"/>
                    <a:gd name="connsiteX828" fmla="*/ 811743 w 855312"/>
                    <a:gd name="connsiteY828" fmla="*/ 943081 h 1324114"/>
                    <a:gd name="connsiteX829" fmla="*/ 812593 w 855312"/>
                    <a:gd name="connsiteY829" fmla="*/ 943992 h 1324114"/>
                    <a:gd name="connsiteX830" fmla="*/ 812885 w 855312"/>
                    <a:gd name="connsiteY830" fmla="*/ 945255 h 1324114"/>
                    <a:gd name="connsiteX831" fmla="*/ 812496 w 855312"/>
                    <a:gd name="connsiteY831" fmla="*/ 946846 h 1324114"/>
                    <a:gd name="connsiteX832" fmla="*/ 811161 w 855312"/>
                    <a:gd name="connsiteY832" fmla="*/ 950549 h 1324114"/>
                    <a:gd name="connsiteX833" fmla="*/ 810760 w 855312"/>
                    <a:gd name="connsiteY833" fmla="*/ 952674 h 1324114"/>
                    <a:gd name="connsiteX834" fmla="*/ 810638 w 855312"/>
                    <a:gd name="connsiteY834" fmla="*/ 955030 h 1324114"/>
                    <a:gd name="connsiteX835" fmla="*/ 811452 w 855312"/>
                    <a:gd name="connsiteY835" fmla="*/ 960397 h 1324114"/>
                    <a:gd name="connsiteX836" fmla="*/ 811501 w 855312"/>
                    <a:gd name="connsiteY836" fmla="*/ 960822 h 1324114"/>
                    <a:gd name="connsiteX837" fmla="*/ 811161 w 855312"/>
                    <a:gd name="connsiteY837" fmla="*/ 962862 h 1324114"/>
                    <a:gd name="connsiteX838" fmla="*/ 810529 w 855312"/>
                    <a:gd name="connsiteY838" fmla="*/ 964526 h 1324114"/>
                    <a:gd name="connsiteX839" fmla="*/ 810128 w 855312"/>
                    <a:gd name="connsiteY839" fmla="*/ 966396 h 1324114"/>
                    <a:gd name="connsiteX840" fmla="*/ 809898 w 855312"/>
                    <a:gd name="connsiteY840" fmla="*/ 968630 h 1324114"/>
                    <a:gd name="connsiteX841" fmla="*/ 810420 w 855312"/>
                    <a:gd name="connsiteY841" fmla="*/ 977021 h 1324114"/>
                    <a:gd name="connsiteX842" fmla="*/ 810250 w 855312"/>
                    <a:gd name="connsiteY842" fmla="*/ 978016 h 1324114"/>
                    <a:gd name="connsiteX843" fmla="*/ 809849 w 855312"/>
                    <a:gd name="connsiteY843" fmla="*/ 978879 h 1324114"/>
                    <a:gd name="connsiteX844" fmla="*/ 809266 w 855312"/>
                    <a:gd name="connsiteY844" fmla="*/ 979631 h 1324114"/>
                    <a:gd name="connsiteX845" fmla="*/ 808574 w 855312"/>
                    <a:gd name="connsiteY845" fmla="*/ 980773 h 1324114"/>
                    <a:gd name="connsiteX846" fmla="*/ 808234 w 855312"/>
                    <a:gd name="connsiteY846" fmla="*/ 981987 h 1324114"/>
                    <a:gd name="connsiteX847" fmla="*/ 808295 w 855312"/>
                    <a:gd name="connsiteY847" fmla="*/ 984125 h 1324114"/>
                    <a:gd name="connsiteX848" fmla="*/ 808975 w 855312"/>
                    <a:gd name="connsiteY848" fmla="*/ 985521 h 1324114"/>
                    <a:gd name="connsiteX849" fmla="*/ 810068 w 855312"/>
                    <a:gd name="connsiteY849" fmla="*/ 986759 h 1324114"/>
                    <a:gd name="connsiteX850" fmla="*/ 811161 w 855312"/>
                    <a:gd name="connsiteY850" fmla="*/ 987804 h 1324114"/>
                    <a:gd name="connsiteX851" fmla="*/ 812593 w 855312"/>
                    <a:gd name="connsiteY851" fmla="*/ 989625 h 1324114"/>
                    <a:gd name="connsiteX852" fmla="*/ 813407 w 855312"/>
                    <a:gd name="connsiteY852" fmla="*/ 991519 h 1324114"/>
                    <a:gd name="connsiteX853" fmla="*/ 814087 w 855312"/>
                    <a:gd name="connsiteY853" fmla="*/ 994300 h 1324114"/>
                    <a:gd name="connsiteX854" fmla="*/ 815241 w 855312"/>
                    <a:gd name="connsiteY854" fmla="*/ 995247 h 1324114"/>
                    <a:gd name="connsiteX855" fmla="*/ 816673 w 855312"/>
                    <a:gd name="connsiteY855" fmla="*/ 995187 h 1324114"/>
                    <a:gd name="connsiteX856" fmla="*/ 819490 w 855312"/>
                    <a:gd name="connsiteY856" fmla="*/ 993548 h 1324114"/>
                    <a:gd name="connsiteX857" fmla="*/ 820693 w 855312"/>
                    <a:gd name="connsiteY857" fmla="*/ 993377 h 1324114"/>
                    <a:gd name="connsiteX858" fmla="*/ 821664 w 855312"/>
                    <a:gd name="connsiteY858" fmla="*/ 993802 h 1324114"/>
                    <a:gd name="connsiteX859" fmla="*/ 823388 w 855312"/>
                    <a:gd name="connsiteY859" fmla="*/ 995041 h 1324114"/>
                    <a:gd name="connsiteX860" fmla="*/ 824433 w 855312"/>
                    <a:gd name="connsiteY860" fmla="*/ 995527 h 1324114"/>
                    <a:gd name="connsiteX861" fmla="*/ 825465 w 855312"/>
                    <a:gd name="connsiteY861" fmla="*/ 995806 h 1324114"/>
                    <a:gd name="connsiteX862" fmla="*/ 826376 w 855312"/>
                    <a:gd name="connsiteY862" fmla="*/ 995806 h 1324114"/>
                    <a:gd name="connsiteX863" fmla="*/ 827481 w 855312"/>
                    <a:gd name="connsiteY863" fmla="*/ 995636 h 1324114"/>
                    <a:gd name="connsiteX864" fmla="*/ 828731 w 855312"/>
                    <a:gd name="connsiteY864" fmla="*/ 995636 h 1324114"/>
                    <a:gd name="connsiteX865" fmla="*/ 829946 w 855312"/>
                    <a:gd name="connsiteY865" fmla="*/ 996097 h 1324114"/>
                    <a:gd name="connsiteX866" fmla="*/ 837462 w 855312"/>
                    <a:gd name="connsiteY866" fmla="*/ 1001999 h 1324114"/>
                    <a:gd name="connsiteX867" fmla="*/ 838312 w 855312"/>
                    <a:gd name="connsiteY867" fmla="*/ 1002424 h 1324114"/>
                    <a:gd name="connsiteX868" fmla="*/ 839478 w 855312"/>
                    <a:gd name="connsiteY868" fmla="*/ 1002667 h 1324114"/>
                    <a:gd name="connsiteX869" fmla="*/ 840680 w 855312"/>
                    <a:gd name="connsiteY869" fmla="*/ 1002630 h 1324114"/>
                    <a:gd name="connsiteX870" fmla="*/ 841991 w 855312"/>
                    <a:gd name="connsiteY870" fmla="*/ 1002290 h 1324114"/>
                    <a:gd name="connsiteX871" fmla="*/ 842975 w 855312"/>
                    <a:gd name="connsiteY871" fmla="*/ 1001805 h 1324114"/>
                    <a:gd name="connsiteX872" fmla="*/ 844007 w 855312"/>
                    <a:gd name="connsiteY872" fmla="*/ 1000955 h 1324114"/>
                    <a:gd name="connsiteX873" fmla="*/ 846472 w 855312"/>
                    <a:gd name="connsiteY873" fmla="*/ 998283 h 1324114"/>
                    <a:gd name="connsiteX874" fmla="*/ 847456 w 855312"/>
                    <a:gd name="connsiteY874" fmla="*/ 998878 h 1324114"/>
                    <a:gd name="connsiteX875" fmla="*/ 848136 w 855312"/>
                    <a:gd name="connsiteY875" fmla="*/ 999886 h 1324114"/>
                    <a:gd name="connsiteX876" fmla="*/ 848719 w 855312"/>
                    <a:gd name="connsiteY876" fmla="*/ 1001319 h 1324114"/>
                    <a:gd name="connsiteX877" fmla="*/ 849241 w 855312"/>
                    <a:gd name="connsiteY877" fmla="*/ 1003444 h 1324114"/>
                    <a:gd name="connsiteX878" fmla="*/ 849350 w 855312"/>
                    <a:gd name="connsiteY878" fmla="*/ 1005180 h 1324114"/>
                    <a:gd name="connsiteX879" fmla="*/ 849241 w 855312"/>
                    <a:gd name="connsiteY879" fmla="*/ 1006977 h 1324114"/>
                    <a:gd name="connsiteX880" fmla="*/ 848719 w 855312"/>
                    <a:gd name="connsiteY880" fmla="*/ 1010135 h 1324114"/>
                    <a:gd name="connsiteX881" fmla="*/ 848658 w 855312"/>
                    <a:gd name="connsiteY881" fmla="*/ 1011750 h 1324114"/>
                    <a:gd name="connsiteX882" fmla="*/ 848658 w 855312"/>
                    <a:gd name="connsiteY882" fmla="*/ 1013122 h 1324114"/>
                    <a:gd name="connsiteX883" fmla="*/ 848597 w 855312"/>
                    <a:gd name="connsiteY883" fmla="*/ 1014300 h 1324114"/>
                    <a:gd name="connsiteX884" fmla="*/ 848379 w 855312"/>
                    <a:gd name="connsiteY884" fmla="*/ 1015453 h 1324114"/>
                    <a:gd name="connsiteX885" fmla="*/ 848026 w 855312"/>
                    <a:gd name="connsiteY885" fmla="*/ 1016461 h 1324114"/>
                    <a:gd name="connsiteX886" fmla="*/ 847055 w 855312"/>
                    <a:gd name="connsiteY886" fmla="*/ 1020602 h 1324114"/>
                    <a:gd name="connsiteX887" fmla="*/ 846314 w 855312"/>
                    <a:gd name="connsiteY887" fmla="*/ 1022545 h 1324114"/>
                    <a:gd name="connsiteX888" fmla="*/ 845039 w 855312"/>
                    <a:gd name="connsiteY888" fmla="*/ 1024560 h 1324114"/>
                    <a:gd name="connsiteX889" fmla="*/ 842052 w 855312"/>
                    <a:gd name="connsiteY889" fmla="*/ 1027778 h 1324114"/>
                    <a:gd name="connsiteX890" fmla="*/ 840850 w 855312"/>
                    <a:gd name="connsiteY890" fmla="*/ 1029417 h 1324114"/>
                    <a:gd name="connsiteX891" fmla="*/ 840170 w 855312"/>
                    <a:gd name="connsiteY891" fmla="*/ 1031518 h 1324114"/>
                    <a:gd name="connsiteX892" fmla="*/ 839927 w 855312"/>
                    <a:gd name="connsiteY892" fmla="*/ 1036108 h 1324114"/>
                    <a:gd name="connsiteX893" fmla="*/ 839478 w 855312"/>
                    <a:gd name="connsiteY893" fmla="*/ 1038889 h 1324114"/>
                    <a:gd name="connsiteX894" fmla="*/ 838555 w 855312"/>
                    <a:gd name="connsiteY894" fmla="*/ 1041172 h 1324114"/>
                    <a:gd name="connsiteX895" fmla="*/ 836879 w 855312"/>
                    <a:gd name="connsiteY895" fmla="*/ 1043127 h 1324114"/>
                    <a:gd name="connsiteX896" fmla="*/ 835689 w 855312"/>
                    <a:gd name="connsiteY896" fmla="*/ 1044098 h 1324114"/>
                    <a:gd name="connsiteX897" fmla="*/ 832192 w 855312"/>
                    <a:gd name="connsiteY897" fmla="*/ 1045871 h 1324114"/>
                    <a:gd name="connsiteX898" fmla="*/ 830978 w 855312"/>
                    <a:gd name="connsiteY898" fmla="*/ 1046697 h 1324114"/>
                    <a:gd name="connsiteX899" fmla="*/ 830116 w 855312"/>
                    <a:gd name="connsiteY899" fmla="*/ 1047960 h 1324114"/>
                    <a:gd name="connsiteX900" fmla="*/ 829424 w 855312"/>
                    <a:gd name="connsiteY900" fmla="*/ 1050000 h 1324114"/>
                    <a:gd name="connsiteX901" fmla="*/ 828331 w 855312"/>
                    <a:gd name="connsiteY901" fmla="*/ 1054299 h 1324114"/>
                    <a:gd name="connsiteX902" fmla="*/ 827869 w 855312"/>
                    <a:gd name="connsiteY902" fmla="*/ 1055756 h 1324114"/>
                    <a:gd name="connsiteX903" fmla="*/ 827481 w 855312"/>
                    <a:gd name="connsiteY903" fmla="*/ 1056509 h 1324114"/>
                    <a:gd name="connsiteX904" fmla="*/ 825465 w 855312"/>
                    <a:gd name="connsiteY904" fmla="*/ 1059702 h 1324114"/>
                    <a:gd name="connsiteX905" fmla="*/ 820632 w 855312"/>
                    <a:gd name="connsiteY905" fmla="*/ 1065761 h 1324114"/>
                    <a:gd name="connsiteX906" fmla="*/ 819891 w 855312"/>
                    <a:gd name="connsiteY906" fmla="*/ 1067947 h 1324114"/>
                    <a:gd name="connsiteX907" fmla="*/ 820013 w 855312"/>
                    <a:gd name="connsiteY907" fmla="*/ 1069137 h 1324114"/>
                    <a:gd name="connsiteX908" fmla="*/ 820632 w 855312"/>
                    <a:gd name="connsiteY908" fmla="*/ 1069829 h 1324114"/>
                    <a:gd name="connsiteX909" fmla="*/ 822308 w 855312"/>
                    <a:gd name="connsiteY909" fmla="*/ 1070279 h 1324114"/>
                    <a:gd name="connsiteX910" fmla="*/ 824372 w 855312"/>
                    <a:gd name="connsiteY910" fmla="*/ 1071286 h 1324114"/>
                    <a:gd name="connsiteX911" fmla="*/ 826788 w 855312"/>
                    <a:gd name="connsiteY911" fmla="*/ 1073011 h 1324114"/>
                    <a:gd name="connsiteX912" fmla="*/ 829545 w 855312"/>
                    <a:gd name="connsiteY912" fmla="*/ 1076884 h 1324114"/>
                    <a:gd name="connsiteX913" fmla="*/ 830456 w 855312"/>
                    <a:gd name="connsiteY913" fmla="*/ 1079264 h 1324114"/>
                    <a:gd name="connsiteX914" fmla="*/ 830407 w 855312"/>
                    <a:gd name="connsiteY914" fmla="*/ 1081098 h 1324114"/>
                    <a:gd name="connsiteX915" fmla="*/ 829302 w 855312"/>
                    <a:gd name="connsiteY915" fmla="*/ 1081875 h 1324114"/>
                    <a:gd name="connsiteX916" fmla="*/ 827420 w 855312"/>
                    <a:gd name="connsiteY916" fmla="*/ 1081960 h 1324114"/>
                    <a:gd name="connsiteX917" fmla="*/ 825173 w 855312"/>
                    <a:gd name="connsiteY917" fmla="*/ 1081159 h 1324114"/>
                    <a:gd name="connsiteX918" fmla="*/ 813516 w 855312"/>
                    <a:gd name="connsiteY918" fmla="*/ 1072829 h 1324114"/>
                    <a:gd name="connsiteX919" fmla="*/ 812132 w 855312"/>
                    <a:gd name="connsiteY919" fmla="*/ 1072161 h 1324114"/>
                    <a:gd name="connsiteX920" fmla="*/ 811051 w 855312"/>
                    <a:gd name="connsiteY920" fmla="*/ 1071699 h 1324114"/>
                    <a:gd name="connsiteX921" fmla="*/ 810007 w 855312"/>
                    <a:gd name="connsiteY921" fmla="*/ 1071639 h 1324114"/>
                    <a:gd name="connsiteX922" fmla="*/ 808817 w 855312"/>
                    <a:gd name="connsiteY922" fmla="*/ 1071857 h 1324114"/>
                    <a:gd name="connsiteX923" fmla="*/ 807542 w 855312"/>
                    <a:gd name="connsiteY923" fmla="*/ 1072428 h 1324114"/>
                    <a:gd name="connsiteX924" fmla="*/ 806740 w 855312"/>
                    <a:gd name="connsiteY924" fmla="*/ 1073460 h 1324114"/>
                    <a:gd name="connsiteX925" fmla="*/ 806400 w 855312"/>
                    <a:gd name="connsiteY925" fmla="*/ 1074869 h 1324114"/>
                    <a:gd name="connsiteX926" fmla="*/ 806449 w 855312"/>
                    <a:gd name="connsiteY926" fmla="*/ 1079459 h 1324114"/>
                    <a:gd name="connsiteX927" fmla="*/ 806230 w 855312"/>
                    <a:gd name="connsiteY927" fmla="*/ 1080673 h 1324114"/>
                    <a:gd name="connsiteX928" fmla="*/ 805538 w 855312"/>
                    <a:gd name="connsiteY928" fmla="*/ 1081329 h 1324114"/>
                    <a:gd name="connsiteX929" fmla="*/ 803765 w 855312"/>
                    <a:gd name="connsiteY929" fmla="*/ 1082422 h 1324114"/>
                    <a:gd name="connsiteX930" fmla="*/ 802430 w 855312"/>
                    <a:gd name="connsiteY930" fmla="*/ 1082907 h 1324114"/>
                    <a:gd name="connsiteX931" fmla="*/ 801300 w 855312"/>
                    <a:gd name="connsiteY931" fmla="*/ 1083065 h 1324114"/>
                    <a:gd name="connsiteX932" fmla="*/ 799685 w 855312"/>
                    <a:gd name="connsiteY932" fmla="*/ 1083089 h 1324114"/>
                    <a:gd name="connsiteX933" fmla="*/ 799054 w 855312"/>
                    <a:gd name="connsiteY933" fmla="*/ 1083332 h 1324114"/>
                    <a:gd name="connsiteX934" fmla="*/ 797621 w 855312"/>
                    <a:gd name="connsiteY934" fmla="*/ 1084911 h 1324114"/>
                    <a:gd name="connsiteX935" fmla="*/ 796808 w 855312"/>
                    <a:gd name="connsiteY935" fmla="*/ 1085518 h 1324114"/>
                    <a:gd name="connsiteX936" fmla="*/ 796237 w 855312"/>
                    <a:gd name="connsiteY936" fmla="*/ 1085773 h 1324114"/>
                    <a:gd name="connsiteX937" fmla="*/ 795605 w 855312"/>
                    <a:gd name="connsiteY937" fmla="*/ 1085542 h 1324114"/>
                    <a:gd name="connsiteX938" fmla="*/ 794051 w 855312"/>
                    <a:gd name="connsiteY938" fmla="*/ 1084195 h 1324114"/>
                    <a:gd name="connsiteX939" fmla="*/ 792788 w 855312"/>
                    <a:gd name="connsiteY939" fmla="*/ 1083466 h 1324114"/>
                    <a:gd name="connsiteX940" fmla="*/ 791477 w 855312"/>
                    <a:gd name="connsiteY940" fmla="*/ 1083041 h 1324114"/>
                    <a:gd name="connsiteX941" fmla="*/ 789983 w 855312"/>
                    <a:gd name="connsiteY941" fmla="*/ 1083077 h 1324114"/>
                    <a:gd name="connsiteX942" fmla="*/ 789000 w 855312"/>
                    <a:gd name="connsiteY942" fmla="*/ 1083417 h 1324114"/>
                    <a:gd name="connsiteX943" fmla="*/ 788429 w 855312"/>
                    <a:gd name="connsiteY943" fmla="*/ 1083782 h 1324114"/>
                    <a:gd name="connsiteX944" fmla="*/ 788137 w 855312"/>
                    <a:gd name="connsiteY944" fmla="*/ 1084534 h 1324114"/>
                    <a:gd name="connsiteX945" fmla="*/ 787797 w 855312"/>
                    <a:gd name="connsiteY945" fmla="*/ 1085858 h 1324114"/>
                    <a:gd name="connsiteX946" fmla="*/ 787846 w 855312"/>
                    <a:gd name="connsiteY946" fmla="*/ 1088639 h 1324114"/>
                    <a:gd name="connsiteX947" fmla="*/ 789182 w 855312"/>
                    <a:gd name="connsiteY947" fmla="*/ 1093702 h 1324114"/>
                    <a:gd name="connsiteX948" fmla="*/ 789291 w 855312"/>
                    <a:gd name="connsiteY948" fmla="*/ 1095621 h 1324114"/>
                    <a:gd name="connsiteX949" fmla="*/ 788708 w 855312"/>
                    <a:gd name="connsiteY949" fmla="*/ 1097515 h 1324114"/>
                    <a:gd name="connsiteX950" fmla="*/ 787215 w 855312"/>
                    <a:gd name="connsiteY950" fmla="*/ 1099822 h 1324114"/>
                    <a:gd name="connsiteX951" fmla="*/ 785672 w 855312"/>
                    <a:gd name="connsiteY951" fmla="*/ 1101668 h 1324114"/>
                    <a:gd name="connsiteX952" fmla="*/ 773384 w 855312"/>
                    <a:gd name="connsiteY952" fmla="*/ 1098742 h 1324114"/>
                    <a:gd name="connsiteX953" fmla="*/ 767640 w 855312"/>
                    <a:gd name="connsiteY953" fmla="*/ 1095839 h 1324114"/>
                    <a:gd name="connsiteX954" fmla="*/ 759322 w 855312"/>
                    <a:gd name="connsiteY954" fmla="*/ 1089052 h 1324114"/>
                    <a:gd name="connsiteX955" fmla="*/ 753166 w 855312"/>
                    <a:gd name="connsiteY955" fmla="*/ 1085263 h 1324114"/>
                    <a:gd name="connsiteX956" fmla="*/ 750252 w 855312"/>
                    <a:gd name="connsiteY956" fmla="*/ 1084425 h 1324114"/>
                    <a:gd name="connsiteX957" fmla="*/ 748175 w 855312"/>
                    <a:gd name="connsiteY957" fmla="*/ 1084717 h 1324114"/>
                    <a:gd name="connsiteX958" fmla="*/ 745200 w 855312"/>
                    <a:gd name="connsiteY958" fmla="*/ 1088772 h 1324114"/>
                    <a:gd name="connsiteX959" fmla="*/ 744496 w 855312"/>
                    <a:gd name="connsiteY959" fmla="*/ 1089853 h 1324114"/>
                    <a:gd name="connsiteX960" fmla="*/ 744326 w 855312"/>
                    <a:gd name="connsiteY960" fmla="*/ 1090691 h 1324114"/>
                    <a:gd name="connsiteX961" fmla="*/ 743986 w 855312"/>
                    <a:gd name="connsiteY961" fmla="*/ 1091869 h 1324114"/>
                    <a:gd name="connsiteX962" fmla="*/ 743014 w 855312"/>
                    <a:gd name="connsiteY962" fmla="*/ 1092646 h 1324114"/>
                    <a:gd name="connsiteX963" fmla="*/ 740246 w 855312"/>
                    <a:gd name="connsiteY963" fmla="*/ 1093192 h 1324114"/>
                    <a:gd name="connsiteX964" fmla="*/ 738072 w 855312"/>
                    <a:gd name="connsiteY964" fmla="*/ 1092330 h 1324114"/>
                    <a:gd name="connsiteX965" fmla="*/ 736069 w 855312"/>
                    <a:gd name="connsiteY965" fmla="*/ 1090861 h 1324114"/>
                    <a:gd name="connsiteX966" fmla="*/ 732838 w 855312"/>
                    <a:gd name="connsiteY966" fmla="*/ 1087218 h 1324114"/>
                    <a:gd name="connsiteX967" fmla="*/ 731636 w 855312"/>
                    <a:gd name="connsiteY967" fmla="*/ 1085384 h 1324114"/>
                    <a:gd name="connsiteX968" fmla="*/ 730374 w 855312"/>
                    <a:gd name="connsiteY968" fmla="*/ 1083830 h 1324114"/>
                    <a:gd name="connsiteX969" fmla="*/ 728819 w 855312"/>
                    <a:gd name="connsiteY969" fmla="*/ 1082397 h 1324114"/>
                    <a:gd name="connsiteX970" fmla="*/ 726633 w 855312"/>
                    <a:gd name="connsiteY970" fmla="*/ 1080989 h 1324114"/>
                    <a:gd name="connsiteX971" fmla="*/ 724800 w 855312"/>
                    <a:gd name="connsiteY971" fmla="*/ 1080394 h 1324114"/>
                    <a:gd name="connsiteX972" fmla="*/ 722954 w 855312"/>
                    <a:gd name="connsiteY972" fmla="*/ 1080151 h 1324114"/>
                    <a:gd name="connsiteX973" fmla="*/ 713726 w 855312"/>
                    <a:gd name="connsiteY973" fmla="*/ 1080394 h 1324114"/>
                    <a:gd name="connsiteX974" fmla="*/ 705335 w 855312"/>
                    <a:gd name="connsiteY974" fmla="*/ 1083223 h 1324114"/>
                    <a:gd name="connsiteX975" fmla="*/ 703210 w 855312"/>
                    <a:gd name="connsiteY975" fmla="*/ 1091954 h 1324114"/>
                    <a:gd name="connsiteX976" fmla="*/ 701036 w 855312"/>
                    <a:gd name="connsiteY976" fmla="*/ 1096289 h 1324114"/>
                    <a:gd name="connsiteX977" fmla="*/ 697636 w 855312"/>
                    <a:gd name="connsiteY977" fmla="*/ 1101097 h 1324114"/>
                    <a:gd name="connsiteX978" fmla="*/ 696895 w 855312"/>
                    <a:gd name="connsiteY978" fmla="*/ 1102967 h 1324114"/>
                    <a:gd name="connsiteX979" fmla="*/ 696713 w 855312"/>
                    <a:gd name="connsiteY979" fmla="*/ 1104522 h 1324114"/>
                    <a:gd name="connsiteX980" fmla="*/ 697126 w 855312"/>
                    <a:gd name="connsiteY980" fmla="*/ 1105554 h 1324114"/>
                    <a:gd name="connsiteX981" fmla="*/ 697928 w 855312"/>
                    <a:gd name="connsiteY981" fmla="*/ 1106708 h 1324114"/>
                    <a:gd name="connsiteX982" fmla="*/ 698510 w 855312"/>
                    <a:gd name="connsiteY982" fmla="*/ 1107764 h 1324114"/>
                    <a:gd name="connsiteX983" fmla="*/ 698620 w 855312"/>
                    <a:gd name="connsiteY983" fmla="*/ 1109500 h 1324114"/>
                    <a:gd name="connsiteX984" fmla="*/ 697636 w 855312"/>
                    <a:gd name="connsiteY984" fmla="*/ 1110435 h 1324114"/>
                    <a:gd name="connsiteX985" fmla="*/ 696385 w 855312"/>
                    <a:gd name="connsiteY985" fmla="*/ 1111103 h 1324114"/>
                    <a:gd name="connsiteX986" fmla="*/ 694649 w 855312"/>
                    <a:gd name="connsiteY986" fmla="*/ 1111771 h 1324114"/>
                    <a:gd name="connsiteX987" fmla="*/ 686562 w 855312"/>
                    <a:gd name="connsiteY987" fmla="*/ 1116483 h 1324114"/>
                    <a:gd name="connsiteX988" fmla="*/ 684449 w 855312"/>
                    <a:gd name="connsiteY988" fmla="*/ 1117284 h 1324114"/>
                    <a:gd name="connsiteX989" fmla="*/ 682373 w 855312"/>
                    <a:gd name="connsiteY989" fmla="*/ 1117624 h 1324114"/>
                    <a:gd name="connsiteX990" fmla="*/ 680587 w 855312"/>
                    <a:gd name="connsiteY990" fmla="*/ 1117418 h 1324114"/>
                    <a:gd name="connsiteX991" fmla="*/ 677139 w 855312"/>
                    <a:gd name="connsiteY991" fmla="*/ 1116592 h 1324114"/>
                    <a:gd name="connsiteX992" fmla="*/ 675135 w 855312"/>
                    <a:gd name="connsiteY992" fmla="*/ 1116470 h 1324114"/>
                    <a:gd name="connsiteX993" fmla="*/ 673763 w 855312"/>
                    <a:gd name="connsiteY993" fmla="*/ 1116653 h 1324114"/>
                    <a:gd name="connsiteX994" fmla="*/ 669392 w 855312"/>
                    <a:gd name="connsiteY994" fmla="*/ 1118255 h 1324114"/>
                    <a:gd name="connsiteX995" fmla="*/ 664972 w 855312"/>
                    <a:gd name="connsiteY995" fmla="*/ 1127533 h 1324114"/>
                    <a:gd name="connsiteX996" fmla="*/ 662325 w 855312"/>
                    <a:gd name="connsiteY996" fmla="*/ 1135596 h 1324114"/>
                    <a:gd name="connsiteX997" fmla="*/ 661742 w 855312"/>
                    <a:gd name="connsiteY997" fmla="*/ 1139821 h 1324114"/>
                    <a:gd name="connsiteX998" fmla="*/ 662215 w 855312"/>
                    <a:gd name="connsiteY998" fmla="*/ 1142553 h 1324114"/>
                    <a:gd name="connsiteX999" fmla="*/ 663199 w 855312"/>
                    <a:gd name="connsiteY999" fmla="*/ 1143731 h 1324114"/>
                    <a:gd name="connsiteX1000" fmla="*/ 664061 w 855312"/>
                    <a:gd name="connsiteY1000" fmla="*/ 1146014 h 1324114"/>
                    <a:gd name="connsiteX1001" fmla="*/ 664061 w 855312"/>
                    <a:gd name="connsiteY1001" fmla="*/ 1147532 h 1324114"/>
                    <a:gd name="connsiteX1002" fmla="*/ 662847 w 855312"/>
                    <a:gd name="connsiteY1002" fmla="*/ 1151187 h 1324114"/>
                    <a:gd name="connsiteX1003" fmla="*/ 662847 w 855312"/>
                    <a:gd name="connsiteY1003" fmla="*/ 1151296 h 1324114"/>
                    <a:gd name="connsiteX1004" fmla="*/ 663235 w 855312"/>
                    <a:gd name="connsiteY1004" fmla="*/ 1152158 h 1324114"/>
                    <a:gd name="connsiteX1005" fmla="*/ 663879 w 855312"/>
                    <a:gd name="connsiteY1005" fmla="*/ 1152620 h 1324114"/>
                    <a:gd name="connsiteX1006" fmla="*/ 665032 w 855312"/>
                    <a:gd name="connsiteY1006" fmla="*/ 1152790 h 1324114"/>
                    <a:gd name="connsiteX1007" fmla="*/ 666465 w 855312"/>
                    <a:gd name="connsiteY1007" fmla="*/ 1152559 h 1324114"/>
                    <a:gd name="connsiteX1008" fmla="*/ 668068 w 855312"/>
                    <a:gd name="connsiteY1008" fmla="*/ 1152098 h 1324114"/>
                    <a:gd name="connsiteX1009" fmla="*/ 669513 w 855312"/>
                    <a:gd name="connsiteY1009" fmla="*/ 1152073 h 1324114"/>
                    <a:gd name="connsiteX1010" fmla="*/ 670485 w 855312"/>
                    <a:gd name="connsiteY1010" fmla="*/ 1152741 h 1324114"/>
                    <a:gd name="connsiteX1011" fmla="*/ 671335 w 855312"/>
                    <a:gd name="connsiteY1011" fmla="*/ 1154891 h 1324114"/>
                    <a:gd name="connsiteX1012" fmla="*/ 671177 w 855312"/>
                    <a:gd name="connsiteY1012" fmla="*/ 1157562 h 1324114"/>
                    <a:gd name="connsiteX1013" fmla="*/ 668469 w 855312"/>
                    <a:gd name="connsiteY1013" fmla="*/ 1169134 h 1324114"/>
                    <a:gd name="connsiteX1014" fmla="*/ 667279 w 855312"/>
                    <a:gd name="connsiteY1014" fmla="*/ 1172170 h 1324114"/>
                    <a:gd name="connsiteX1015" fmla="*/ 665834 w 855312"/>
                    <a:gd name="connsiteY1015" fmla="*/ 1174392 h 1324114"/>
                    <a:gd name="connsiteX1016" fmla="*/ 662385 w 855312"/>
                    <a:gd name="connsiteY1016" fmla="*/ 1178266 h 1324114"/>
                    <a:gd name="connsiteX1017" fmla="*/ 660260 w 855312"/>
                    <a:gd name="connsiteY1017" fmla="*/ 1181739 h 1324114"/>
                    <a:gd name="connsiteX1018" fmla="*/ 654286 w 855312"/>
                    <a:gd name="connsiteY1018" fmla="*/ 1187701 h 1324114"/>
                    <a:gd name="connsiteX1019" fmla="*/ 647000 w 855312"/>
                    <a:gd name="connsiteY1019" fmla="*/ 1191380 h 1324114"/>
                    <a:gd name="connsiteX1020" fmla="*/ 645094 w 855312"/>
                    <a:gd name="connsiteY1020" fmla="*/ 1192619 h 1324114"/>
                    <a:gd name="connsiteX1021" fmla="*/ 643539 w 855312"/>
                    <a:gd name="connsiteY1021" fmla="*/ 1194197 h 1324114"/>
                    <a:gd name="connsiteX1022" fmla="*/ 642519 w 855312"/>
                    <a:gd name="connsiteY1022" fmla="*/ 1196006 h 1324114"/>
                    <a:gd name="connsiteX1023" fmla="*/ 642228 w 855312"/>
                    <a:gd name="connsiteY1023" fmla="*/ 1196614 h 1324114"/>
                    <a:gd name="connsiteX1024" fmla="*/ 642228 w 855312"/>
                    <a:gd name="connsiteY1024" fmla="*/ 1198933 h 1324114"/>
                    <a:gd name="connsiteX1025" fmla="*/ 644474 w 855312"/>
                    <a:gd name="connsiteY1025" fmla="*/ 1200366 h 1324114"/>
                    <a:gd name="connsiteX1026" fmla="*/ 645215 w 855312"/>
                    <a:gd name="connsiteY1026" fmla="*/ 1202321 h 1324114"/>
                    <a:gd name="connsiteX1027" fmla="*/ 644814 w 855312"/>
                    <a:gd name="connsiteY1027" fmla="*/ 1205539 h 1324114"/>
                    <a:gd name="connsiteX1028" fmla="*/ 645737 w 855312"/>
                    <a:gd name="connsiteY1028" fmla="*/ 1206887 h 1324114"/>
                    <a:gd name="connsiteX1029" fmla="*/ 647401 w 855312"/>
                    <a:gd name="connsiteY1029" fmla="*/ 1207287 h 1324114"/>
                    <a:gd name="connsiteX1030" fmla="*/ 680357 w 855312"/>
                    <a:gd name="connsiteY1030" fmla="*/ 1207567 h 1324114"/>
                    <a:gd name="connsiteX1031" fmla="*/ 686100 w 855312"/>
                    <a:gd name="connsiteY1031" fmla="*/ 1208684 h 1324114"/>
                    <a:gd name="connsiteX1032" fmla="*/ 690982 w 855312"/>
                    <a:gd name="connsiteY1032" fmla="*/ 1211185 h 1324114"/>
                    <a:gd name="connsiteX1033" fmla="*/ 691722 w 855312"/>
                    <a:gd name="connsiteY1033" fmla="*/ 1212157 h 1324114"/>
                    <a:gd name="connsiteX1034" fmla="*/ 693277 w 855312"/>
                    <a:gd name="connsiteY1034" fmla="*/ 1213250 h 1324114"/>
                    <a:gd name="connsiteX1035" fmla="*/ 698571 w 855312"/>
                    <a:gd name="connsiteY1035" fmla="*/ 1221810 h 1324114"/>
                    <a:gd name="connsiteX1036" fmla="*/ 699251 w 855312"/>
                    <a:gd name="connsiteY1036" fmla="*/ 1223534 h 1324114"/>
                    <a:gd name="connsiteX1037" fmla="*/ 699251 w 855312"/>
                    <a:gd name="connsiteY1037" fmla="*/ 1224506 h 1324114"/>
                    <a:gd name="connsiteX1038" fmla="*/ 699142 w 855312"/>
                    <a:gd name="connsiteY1038" fmla="*/ 1225429 h 1324114"/>
                    <a:gd name="connsiteX1039" fmla="*/ 698729 w 855312"/>
                    <a:gd name="connsiteY1039" fmla="*/ 1227202 h 1324114"/>
                    <a:gd name="connsiteX1040" fmla="*/ 698389 w 855312"/>
                    <a:gd name="connsiteY1040" fmla="*/ 1228028 h 1324114"/>
                    <a:gd name="connsiteX1041" fmla="*/ 697988 w 855312"/>
                    <a:gd name="connsiteY1041" fmla="*/ 1228792 h 1324114"/>
                    <a:gd name="connsiteX1042" fmla="*/ 697527 w 855312"/>
                    <a:gd name="connsiteY1042" fmla="*/ 1229545 h 1324114"/>
                    <a:gd name="connsiteX1043" fmla="*/ 696835 w 855312"/>
                    <a:gd name="connsiteY1043" fmla="*/ 1230274 h 1324114"/>
                    <a:gd name="connsiteX1044" fmla="*/ 696203 w 855312"/>
                    <a:gd name="connsiteY1044" fmla="*/ 1230796 h 1324114"/>
                    <a:gd name="connsiteX1045" fmla="*/ 694892 w 855312"/>
                    <a:gd name="connsiteY1045" fmla="*/ 1232108 h 1324114"/>
                    <a:gd name="connsiteX1046" fmla="*/ 693155 w 855312"/>
                    <a:gd name="connsiteY1046" fmla="*/ 1233856 h 1324114"/>
                    <a:gd name="connsiteX1047" fmla="*/ 691213 w 855312"/>
                    <a:gd name="connsiteY1047" fmla="*/ 1235325 h 1324114"/>
                    <a:gd name="connsiteX1048" fmla="*/ 689598 w 855312"/>
                    <a:gd name="connsiteY1048" fmla="*/ 1238944 h 1324114"/>
                    <a:gd name="connsiteX1049" fmla="*/ 683113 w 855312"/>
                    <a:gd name="connsiteY1049" fmla="*/ 1246982 h 1324114"/>
                    <a:gd name="connsiteX1050" fmla="*/ 680879 w 855312"/>
                    <a:gd name="connsiteY1050" fmla="*/ 1251803 h 1324114"/>
                    <a:gd name="connsiteX1051" fmla="*/ 678815 w 855312"/>
                    <a:gd name="connsiteY1051" fmla="*/ 1253406 h 1324114"/>
                    <a:gd name="connsiteX1052" fmla="*/ 677200 w 855312"/>
                    <a:gd name="connsiteY1052" fmla="*/ 1254354 h 1324114"/>
                    <a:gd name="connsiteX1053" fmla="*/ 675536 w 855312"/>
                    <a:gd name="connsiteY1053" fmla="*/ 1255082 h 1324114"/>
                    <a:gd name="connsiteX1054" fmla="*/ 671917 w 855312"/>
                    <a:gd name="connsiteY1054" fmla="*/ 1255908 h 1324114"/>
                    <a:gd name="connsiteX1055" fmla="*/ 652161 w 855312"/>
                    <a:gd name="connsiteY1055" fmla="*/ 1257681 h 1324114"/>
                    <a:gd name="connsiteX1056" fmla="*/ 649987 w 855312"/>
                    <a:gd name="connsiteY1056" fmla="*/ 1258688 h 1324114"/>
                    <a:gd name="connsiteX1057" fmla="*/ 646951 w 855312"/>
                    <a:gd name="connsiteY1057" fmla="*/ 1260413 h 1324114"/>
                    <a:gd name="connsiteX1058" fmla="*/ 646029 w 855312"/>
                    <a:gd name="connsiteY1058" fmla="*/ 1262392 h 1324114"/>
                    <a:gd name="connsiteX1059" fmla="*/ 643029 w 855312"/>
                    <a:gd name="connsiteY1059" fmla="*/ 1266387 h 1324114"/>
                    <a:gd name="connsiteX1060" fmla="*/ 641718 w 855312"/>
                    <a:gd name="connsiteY1060" fmla="*/ 1268706 h 1324114"/>
                    <a:gd name="connsiteX1061" fmla="*/ 638099 w 855312"/>
                    <a:gd name="connsiteY1061" fmla="*/ 1278955 h 1324114"/>
                    <a:gd name="connsiteX1062" fmla="*/ 636424 w 855312"/>
                    <a:gd name="connsiteY1062" fmla="*/ 1282209 h 1324114"/>
                    <a:gd name="connsiteX1063" fmla="*/ 633679 w 855312"/>
                    <a:gd name="connsiteY1063" fmla="*/ 1285196 h 1324114"/>
                    <a:gd name="connsiteX1064" fmla="*/ 631603 w 855312"/>
                    <a:gd name="connsiteY1064" fmla="*/ 1285998 h 1324114"/>
                    <a:gd name="connsiteX1065" fmla="*/ 626151 w 855312"/>
                    <a:gd name="connsiteY1065" fmla="*/ 1286132 h 1324114"/>
                    <a:gd name="connsiteX1066" fmla="*/ 621439 w 855312"/>
                    <a:gd name="connsiteY1066" fmla="*/ 1287492 h 1324114"/>
                    <a:gd name="connsiteX1067" fmla="*/ 618574 w 855312"/>
                    <a:gd name="connsiteY1067" fmla="*/ 1287540 h 1324114"/>
                    <a:gd name="connsiteX1068" fmla="*/ 615987 w 855312"/>
                    <a:gd name="connsiteY1068" fmla="*/ 1286714 h 1324114"/>
                    <a:gd name="connsiteX1069" fmla="*/ 612611 w 855312"/>
                    <a:gd name="connsiteY1069" fmla="*/ 1283934 h 1324114"/>
                    <a:gd name="connsiteX1070" fmla="*/ 610996 w 855312"/>
                    <a:gd name="connsiteY1070" fmla="*/ 1283169 h 1324114"/>
                    <a:gd name="connsiteX1071" fmla="*/ 607778 w 855312"/>
                    <a:gd name="connsiteY1071" fmla="*/ 1282161 h 1324114"/>
                    <a:gd name="connsiteX1072" fmla="*/ 606103 w 855312"/>
                    <a:gd name="connsiteY1072" fmla="*/ 1281299 h 1324114"/>
                    <a:gd name="connsiteX1073" fmla="*/ 603698 w 855312"/>
                    <a:gd name="connsiteY1073" fmla="*/ 1281177 h 1324114"/>
                    <a:gd name="connsiteX1074" fmla="*/ 601513 w 855312"/>
                    <a:gd name="connsiteY1074" fmla="*/ 1282039 h 1324114"/>
                    <a:gd name="connsiteX1075" fmla="*/ 599108 w 855312"/>
                    <a:gd name="connsiteY1075" fmla="*/ 1283278 h 1324114"/>
                    <a:gd name="connsiteX1076" fmla="*/ 596522 w 855312"/>
                    <a:gd name="connsiteY1076" fmla="*/ 1283982 h 1324114"/>
                    <a:gd name="connsiteX1077" fmla="*/ 587500 w 855312"/>
                    <a:gd name="connsiteY1077" fmla="*/ 1283606 h 1324114"/>
                    <a:gd name="connsiteX1078" fmla="*/ 582278 w 855312"/>
                    <a:gd name="connsiteY1078" fmla="*/ 1284334 h 1324114"/>
                    <a:gd name="connsiteX1079" fmla="*/ 579583 w 855312"/>
                    <a:gd name="connsiteY1079" fmla="*/ 1285051 h 1324114"/>
                    <a:gd name="connsiteX1080" fmla="*/ 577919 w 855312"/>
                    <a:gd name="connsiteY1080" fmla="*/ 1285816 h 1324114"/>
                    <a:gd name="connsiteX1081" fmla="*/ 577348 w 855312"/>
                    <a:gd name="connsiteY1081" fmla="*/ 1287006 h 1324114"/>
                    <a:gd name="connsiteX1082" fmla="*/ 576607 w 855312"/>
                    <a:gd name="connsiteY1082" fmla="*/ 1290892 h 1324114"/>
                    <a:gd name="connsiteX1083" fmla="*/ 575211 w 855312"/>
                    <a:gd name="connsiteY1083" fmla="*/ 1293405 h 1324114"/>
                    <a:gd name="connsiteX1084" fmla="*/ 573098 w 855312"/>
                    <a:gd name="connsiteY1084" fmla="*/ 1293830 h 1324114"/>
                    <a:gd name="connsiteX1085" fmla="*/ 570572 w 855312"/>
                    <a:gd name="connsiteY1085" fmla="*/ 1292616 h 1324114"/>
                    <a:gd name="connsiteX1086" fmla="*/ 560057 w 855312"/>
                    <a:gd name="connsiteY1086" fmla="*/ 1281736 h 1324114"/>
                    <a:gd name="connsiteX1087" fmla="*/ 557482 w 855312"/>
                    <a:gd name="connsiteY1087" fmla="*/ 1280206 h 1324114"/>
                    <a:gd name="connsiteX1088" fmla="*/ 554604 w 855312"/>
                    <a:gd name="connsiteY1088" fmla="*/ 1279453 h 1324114"/>
                    <a:gd name="connsiteX1089" fmla="*/ 552710 w 855312"/>
                    <a:gd name="connsiteY1089" fmla="*/ 1279999 h 1324114"/>
                    <a:gd name="connsiteX1090" fmla="*/ 549092 w 855312"/>
                    <a:gd name="connsiteY1090" fmla="*/ 1281614 h 1324114"/>
                    <a:gd name="connsiteX1091" fmla="*/ 546287 w 855312"/>
                    <a:gd name="connsiteY1091" fmla="*/ 1281954 h 1324114"/>
                    <a:gd name="connsiteX1092" fmla="*/ 542207 w 855312"/>
                    <a:gd name="connsiteY1092" fmla="*/ 1282100 h 1324114"/>
                    <a:gd name="connsiteX1093" fmla="*/ 539742 w 855312"/>
                    <a:gd name="connsiteY1093" fmla="*/ 1282987 h 1324114"/>
                    <a:gd name="connsiteX1094" fmla="*/ 537774 w 855312"/>
                    <a:gd name="connsiteY1094" fmla="*/ 1284358 h 1324114"/>
                    <a:gd name="connsiteX1095" fmla="*/ 530367 w 855312"/>
                    <a:gd name="connsiteY1095" fmla="*/ 1294729 h 1324114"/>
                    <a:gd name="connsiteX1096" fmla="*/ 525838 w 855312"/>
                    <a:gd name="connsiteY1096" fmla="*/ 1302512 h 1324114"/>
                    <a:gd name="connsiteX1097" fmla="*/ 523652 w 855312"/>
                    <a:gd name="connsiteY1097" fmla="*/ 1314461 h 1324114"/>
                    <a:gd name="connsiteX1098" fmla="*/ 522620 w 855312"/>
                    <a:gd name="connsiteY1098" fmla="*/ 1316173 h 1324114"/>
                    <a:gd name="connsiteX1099" fmla="*/ 521479 w 855312"/>
                    <a:gd name="connsiteY1099" fmla="*/ 1317557 h 1324114"/>
                    <a:gd name="connsiteX1100" fmla="*/ 511376 w 855312"/>
                    <a:gd name="connsiteY1100" fmla="*/ 1314716 h 1324114"/>
                    <a:gd name="connsiteX1101" fmla="*/ 508328 w 855312"/>
                    <a:gd name="connsiteY1101" fmla="*/ 1314388 h 1324114"/>
                    <a:gd name="connsiteX1102" fmla="*/ 481055 w 855312"/>
                    <a:gd name="connsiteY1102" fmla="*/ 1316513 h 1324114"/>
                    <a:gd name="connsiteX1103" fmla="*/ 476914 w 855312"/>
                    <a:gd name="connsiteY1103" fmla="*/ 1316452 h 1324114"/>
                    <a:gd name="connsiteX1104" fmla="*/ 473878 w 855312"/>
                    <a:gd name="connsiteY1104" fmla="*/ 1316015 h 1324114"/>
                    <a:gd name="connsiteX1105" fmla="*/ 471984 w 855312"/>
                    <a:gd name="connsiteY1105" fmla="*/ 1315080 h 1324114"/>
                    <a:gd name="connsiteX1106" fmla="*/ 470709 w 855312"/>
                    <a:gd name="connsiteY1106" fmla="*/ 1313781 h 1324114"/>
                    <a:gd name="connsiteX1107" fmla="*/ 470199 w 855312"/>
                    <a:gd name="connsiteY1107" fmla="*/ 1312142 h 1324114"/>
                    <a:gd name="connsiteX1108" fmla="*/ 470138 w 855312"/>
                    <a:gd name="connsiteY1108" fmla="*/ 1310369 h 1324114"/>
                    <a:gd name="connsiteX1109" fmla="*/ 470539 w 855312"/>
                    <a:gd name="connsiteY1109" fmla="*/ 1306386 h 1324114"/>
                    <a:gd name="connsiteX1110" fmla="*/ 469567 w 855312"/>
                    <a:gd name="connsiteY1110" fmla="*/ 1303970 h 1324114"/>
                    <a:gd name="connsiteX1111" fmla="*/ 467333 w 855312"/>
                    <a:gd name="connsiteY1111" fmla="*/ 1301711 h 1324114"/>
                    <a:gd name="connsiteX1112" fmla="*/ 461978 w 855312"/>
                    <a:gd name="connsiteY1112" fmla="*/ 1299780 h 1324114"/>
                    <a:gd name="connsiteX1113" fmla="*/ 458262 w 855312"/>
                    <a:gd name="connsiteY1113" fmla="*/ 1299719 h 1324114"/>
                    <a:gd name="connsiteX1114" fmla="*/ 454802 w 855312"/>
                    <a:gd name="connsiteY1114" fmla="*/ 1300581 h 1324114"/>
                    <a:gd name="connsiteX1115" fmla="*/ 452167 w 855312"/>
                    <a:gd name="connsiteY1115" fmla="*/ 1302160 h 1324114"/>
                    <a:gd name="connsiteX1116" fmla="*/ 449932 w 855312"/>
                    <a:gd name="connsiteY1116" fmla="*/ 1303884 h 1324114"/>
                    <a:gd name="connsiteX1117" fmla="*/ 448317 w 855312"/>
                    <a:gd name="connsiteY1117" fmla="*/ 1305439 h 1324114"/>
                    <a:gd name="connsiteX1118" fmla="*/ 447224 w 855312"/>
                    <a:gd name="connsiteY1118" fmla="*/ 1306726 h 1324114"/>
                    <a:gd name="connsiteX1119" fmla="*/ 446544 w 855312"/>
                    <a:gd name="connsiteY1119" fmla="*/ 1307734 h 1324114"/>
                    <a:gd name="connsiteX1120" fmla="*/ 445512 w 855312"/>
                    <a:gd name="connsiteY1120" fmla="*/ 1309738 h 1324114"/>
                    <a:gd name="connsiteX1121" fmla="*/ 442683 w 855312"/>
                    <a:gd name="connsiteY1121" fmla="*/ 1306034 h 1324114"/>
                    <a:gd name="connsiteX1122" fmla="*/ 442064 w 855312"/>
                    <a:gd name="connsiteY1122" fmla="*/ 1302452 h 1324114"/>
                    <a:gd name="connsiteX1123" fmla="*/ 441894 w 855312"/>
                    <a:gd name="connsiteY1123" fmla="*/ 1298541 h 1324114"/>
                    <a:gd name="connsiteX1124" fmla="*/ 441432 w 855312"/>
                    <a:gd name="connsiteY1124" fmla="*/ 1296647 h 1324114"/>
                    <a:gd name="connsiteX1125" fmla="*/ 440509 w 855312"/>
                    <a:gd name="connsiteY1125" fmla="*/ 1295069 h 1324114"/>
                    <a:gd name="connsiteX1126" fmla="*/ 439186 w 855312"/>
                    <a:gd name="connsiteY1126" fmla="*/ 1294061 h 1324114"/>
                    <a:gd name="connsiteX1127" fmla="*/ 437109 w 855312"/>
                    <a:gd name="connsiteY1127" fmla="*/ 1293830 h 1324114"/>
                    <a:gd name="connsiteX1128" fmla="*/ 435737 w 855312"/>
                    <a:gd name="connsiteY1128" fmla="*/ 1294134 h 1324114"/>
                    <a:gd name="connsiteX1129" fmla="*/ 433212 w 855312"/>
                    <a:gd name="connsiteY1129" fmla="*/ 1295178 h 1324114"/>
                    <a:gd name="connsiteX1130" fmla="*/ 431839 w 855312"/>
                    <a:gd name="connsiteY1130" fmla="*/ 1295372 h 1324114"/>
                    <a:gd name="connsiteX1131" fmla="*/ 430406 w 855312"/>
                    <a:gd name="connsiteY1131" fmla="*/ 1295202 h 1324114"/>
                    <a:gd name="connsiteX1132" fmla="*/ 426909 w 855312"/>
                    <a:gd name="connsiteY1132" fmla="*/ 1294510 h 1324114"/>
                    <a:gd name="connsiteX1133" fmla="*/ 425513 w 855312"/>
                    <a:gd name="connsiteY1133" fmla="*/ 1293964 h 1324114"/>
                    <a:gd name="connsiteX1134" fmla="*/ 423971 w 855312"/>
                    <a:gd name="connsiteY1134" fmla="*/ 1292871 h 1324114"/>
                    <a:gd name="connsiteX1135" fmla="*/ 421566 w 855312"/>
                    <a:gd name="connsiteY1135" fmla="*/ 1290406 h 1324114"/>
                    <a:gd name="connsiteX1136" fmla="*/ 417365 w 855312"/>
                    <a:gd name="connsiteY1136" fmla="*/ 1284492 h 1324114"/>
                    <a:gd name="connsiteX1137" fmla="*/ 416041 w 855312"/>
                    <a:gd name="connsiteY1137" fmla="*/ 1283253 h 1324114"/>
                    <a:gd name="connsiteX1138" fmla="*/ 414548 w 855312"/>
                    <a:gd name="connsiteY1138" fmla="*/ 1282489 h 1324114"/>
                    <a:gd name="connsiteX1139" fmla="*/ 412666 w 855312"/>
                    <a:gd name="connsiteY1139" fmla="*/ 1282428 h 1324114"/>
                    <a:gd name="connsiteX1140" fmla="*/ 411451 w 855312"/>
                    <a:gd name="connsiteY1140" fmla="*/ 1282683 h 1324114"/>
                    <a:gd name="connsiteX1141" fmla="*/ 409618 w 855312"/>
                    <a:gd name="connsiteY1141" fmla="*/ 1283581 h 1324114"/>
                    <a:gd name="connsiteX1142" fmla="*/ 408586 w 855312"/>
                    <a:gd name="connsiteY1142" fmla="*/ 1283581 h 1324114"/>
                    <a:gd name="connsiteX1143" fmla="*/ 407323 w 855312"/>
                    <a:gd name="connsiteY1143" fmla="*/ 1283035 h 1324114"/>
                    <a:gd name="connsiteX1144" fmla="*/ 405938 w 855312"/>
                    <a:gd name="connsiteY1144" fmla="*/ 1281420 h 1324114"/>
                    <a:gd name="connsiteX1145" fmla="*/ 405088 w 855312"/>
                    <a:gd name="connsiteY1145" fmla="*/ 1280109 h 1324114"/>
                    <a:gd name="connsiteX1146" fmla="*/ 403182 w 855312"/>
                    <a:gd name="connsiteY1146" fmla="*/ 1276575 h 1324114"/>
                    <a:gd name="connsiteX1147" fmla="*/ 402211 w 855312"/>
                    <a:gd name="connsiteY1147" fmla="*/ 1275166 h 1324114"/>
                    <a:gd name="connsiteX1148" fmla="*/ 400656 w 855312"/>
                    <a:gd name="connsiteY1148" fmla="*/ 1273551 h 1324114"/>
                    <a:gd name="connsiteX1149" fmla="*/ 398811 w 855312"/>
                    <a:gd name="connsiteY1149" fmla="*/ 1272495 h 1324114"/>
                    <a:gd name="connsiteX1150" fmla="*/ 396588 w 855312"/>
                    <a:gd name="connsiteY1150" fmla="*/ 1271742 h 1324114"/>
                    <a:gd name="connsiteX1151" fmla="*/ 393589 w 855312"/>
                    <a:gd name="connsiteY1151" fmla="*/ 1271621 h 1324114"/>
                    <a:gd name="connsiteX1152" fmla="*/ 391877 w 855312"/>
                    <a:gd name="connsiteY1152" fmla="*/ 1272082 h 1324114"/>
                    <a:gd name="connsiteX1153" fmla="*/ 390493 w 855312"/>
                    <a:gd name="connsiteY1153" fmla="*/ 1272714 h 1324114"/>
                    <a:gd name="connsiteX1154" fmla="*/ 389169 w 855312"/>
                    <a:gd name="connsiteY1154" fmla="*/ 1273466 h 1324114"/>
                    <a:gd name="connsiteX1155" fmla="*/ 387554 w 855312"/>
                    <a:gd name="connsiteY1155" fmla="*/ 1273466 h 1324114"/>
                    <a:gd name="connsiteX1156" fmla="*/ 386012 w 855312"/>
                    <a:gd name="connsiteY1156" fmla="*/ 1272920 h 1324114"/>
                    <a:gd name="connsiteX1157" fmla="*/ 383717 w 855312"/>
                    <a:gd name="connsiteY1157" fmla="*/ 1270880 h 1324114"/>
                    <a:gd name="connsiteX1158" fmla="*/ 382867 w 855312"/>
                    <a:gd name="connsiteY1158" fmla="*/ 1269386 h 1324114"/>
                    <a:gd name="connsiteX1159" fmla="*/ 382563 w 855312"/>
                    <a:gd name="connsiteY1159" fmla="*/ 1267322 h 1324114"/>
                    <a:gd name="connsiteX1160" fmla="*/ 383316 w 855312"/>
                    <a:gd name="connsiteY1160" fmla="*/ 1260328 h 1324114"/>
                    <a:gd name="connsiteX1161" fmla="*/ 383207 w 855312"/>
                    <a:gd name="connsiteY1161" fmla="*/ 1255871 h 1324114"/>
                    <a:gd name="connsiteX1162" fmla="*/ 382563 w 855312"/>
                    <a:gd name="connsiteY1162" fmla="*/ 1254183 h 1324114"/>
                    <a:gd name="connsiteX1163" fmla="*/ 381082 w 855312"/>
                    <a:gd name="connsiteY1163" fmla="*/ 1253382 h 1324114"/>
                    <a:gd name="connsiteX1164" fmla="*/ 377973 w 855312"/>
                    <a:gd name="connsiteY1164" fmla="*/ 1253261 h 1324114"/>
                    <a:gd name="connsiteX1165" fmla="*/ 371367 w 855312"/>
                    <a:gd name="connsiteY1165" fmla="*/ 1255556 h 1324114"/>
                    <a:gd name="connsiteX1166" fmla="*/ 364300 w 855312"/>
                    <a:gd name="connsiteY1166" fmla="*/ 1259502 h 1324114"/>
                    <a:gd name="connsiteX1167" fmla="*/ 360123 w 855312"/>
                    <a:gd name="connsiteY1167" fmla="*/ 1259939 h 1324114"/>
                    <a:gd name="connsiteX1168" fmla="*/ 349668 w 855312"/>
                    <a:gd name="connsiteY1168" fmla="*/ 1257292 h 1324114"/>
                    <a:gd name="connsiteX1169" fmla="*/ 345527 w 855312"/>
                    <a:gd name="connsiteY1169" fmla="*/ 1257207 h 1324114"/>
                    <a:gd name="connsiteX1170" fmla="*/ 341921 w 855312"/>
                    <a:gd name="connsiteY1170" fmla="*/ 1256575 h 1324114"/>
                    <a:gd name="connsiteX1171" fmla="*/ 338642 w 855312"/>
                    <a:gd name="connsiteY1171" fmla="*/ 1255653 h 1324114"/>
                    <a:gd name="connsiteX1172" fmla="*/ 335777 w 855312"/>
                    <a:gd name="connsiteY1172" fmla="*/ 1254390 h 1324114"/>
                    <a:gd name="connsiteX1173" fmla="*/ 332850 w 855312"/>
                    <a:gd name="connsiteY1173" fmla="*/ 1252581 h 1324114"/>
                    <a:gd name="connsiteX1174" fmla="*/ 329511 w 855312"/>
                    <a:gd name="connsiteY1174" fmla="*/ 1249533 h 1324114"/>
                    <a:gd name="connsiteX1175" fmla="*/ 326754 w 855312"/>
                    <a:gd name="connsiteY1175" fmla="*/ 1246327 h 1324114"/>
                    <a:gd name="connsiteX1176" fmla="*/ 325552 w 855312"/>
                    <a:gd name="connsiteY1176" fmla="*/ 1244481 h 1324114"/>
                    <a:gd name="connsiteX1177" fmla="*/ 324180 w 855312"/>
                    <a:gd name="connsiteY1177" fmla="*/ 1241166 h 1324114"/>
                    <a:gd name="connsiteX1178" fmla="*/ 323427 w 855312"/>
                    <a:gd name="connsiteY1178" fmla="*/ 1235131 h 1324114"/>
                    <a:gd name="connsiteX1179" fmla="*/ 322687 w 855312"/>
                    <a:gd name="connsiteY1179" fmla="*/ 1233298 h 1324114"/>
                    <a:gd name="connsiteX1180" fmla="*/ 321751 w 855312"/>
                    <a:gd name="connsiteY1180" fmla="*/ 1232666 h 1324114"/>
                    <a:gd name="connsiteX1181" fmla="*/ 319578 w 855312"/>
                    <a:gd name="connsiteY1181" fmla="*/ 1232035 h 1324114"/>
                    <a:gd name="connsiteX1182" fmla="*/ 318036 w 855312"/>
                    <a:gd name="connsiteY1182" fmla="*/ 1231889 h 1324114"/>
                    <a:gd name="connsiteX1183" fmla="*/ 316991 w 855312"/>
                    <a:gd name="connsiteY1183" fmla="*/ 1231913 h 1324114"/>
                    <a:gd name="connsiteX1184" fmla="*/ 315389 w 855312"/>
                    <a:gd name="connsiteY1184" fmla="*/ 1232217 h 1324114"/>
                    <a:gd name="connsiteX1185" fmla="*/ 314356 w 855312"/>
                    <a:gd name="connsiteY1185" fmla="*/ 1232253 h 1324114"/>
                    <a:gd name="connsiteX1186" fmla="*/ 313045 w 855312"/>
                    <a:gd name="connsiteY1186" fmla="*/ 1232108 h 1324114"/>
                    <a:gd name="connsiteX1187" fmla="*/ 311551 w 855312"/>
                    <a:gd name="connsiteY1187" fmla="*/ 1231622 h 1324114"/>
                    <a:gd name="connsiteX1188" fmla="*/ 310094 w 855312"/>
                    <a:gd name="connsiteY1188" fmla="*/ 1230759 h 1324114"/>
                    <a:gd name="connsiteX1189" fmla="*/ 305917 w 855312"/>
                    <a:gd name="connsiteY1189" fmla="*/ 1227615 h 1324114"/>
                    <a:gd name="connsiteX1190" fmla="*/ 304302 w 855312"/>
                    <a:gd name="connsiteY1190" fmla="*/ 1226874 h 1324114"/>
                    <a:gd name="connsiteX1191" fmla="*/ 302639 w 855312"/>
                    <a:gd name="connsiteY1191" fmla="*/ 1226752 h 1324114"/>
                    <a:gd name="connsiteX1192" fmla="*/ 299943 w 855312"/>
                    <a:gd name="connsiteY1192" fmla="*/ 1227481 h 1324114"/>
                    <a:gd name="connsiteX1193" fmla="*/ 298959 w 855312"/>
                    <a:gd name="connsiteY1193" fmla="*/ 1227481 h 1324114"/>
                    <a:gd name="connsiteX1194" fmla="*/ 297988 w 855312"/>
                    <a:gd name="connsiteY1194" fmla="*/ 1226935 h 1324114"/>
                    <a:gd name="connsiteX1195" fmla="*/ 297065 w 855312"/>
                    <a:gd name="connsiteY1195" fmla="*/ 1225818 h 1324114"/>
                    <a:gd name="connsiteX1196" fmla="*/ 295972 w 855312"/>
                    <a:gd name="connsiteY1196" fmla="*/ 1223692 h 1324114"/>
                    <a:gd name="connsiteX1197" fmla="*/ 294891 w 855312"/>
                    <a:gd name="connsiteY1197" fmla="*/ 1222041 h 1324114"/>
                    <a:gd name="connsiteX1198" fmla="*/ 293628 w 855312"/>
                    <a:gd name="connsiteY1198" fmla="*/ 1220645 h 1324114"/>
                    <a:gd name="connsiteX1199" fmla="*/ 291273 w 855312"/>
                    <a:gd name="connsiteY1199" fmla="*/ 1219151 h 1324114"/>
                    <a:gd name="connsiteX1200" fmla="*/ 289208 w 855312"/>
                    <a:gd name="connsiteY1200" fmla="*/ 1218325 h 1324114"/>
                    <a:gd name="connsiteX1201" fmla="*/ 283635 w 855312"/>
                    <a:gd name="connsiteY1201" fmla="*/ 1216892 h 1324114"/>
                    <a:gd name="connsiteX1202" fmla="*/ 280587 w 855312"/>
                    <a:gd name="connsiteY1202" fmla="*/ 1214221 h 1324114"/>
                    <a:gd name="connsiteX1203" fmla="*/ 262798 w 855312"/>
                    <a:gd name="connsiteY1203" fmla="*/ 1193420 h 1324114"/>
                    <a:gd name="connsiteX1204" fmla="*/ 259920 w 855312"/>
                    <a:gd name="connsiteY1204" fmla="*/ 1190809 h 1324114"/>
                    <a:gd name="connsiteX1205" fmla="*/ 258596 w 855312"/>
                    <a:gd name="connsiteY1205" fmla="*/ 1190555 h 1324114"/>
                    <a:gd name="connsiteX1206" fmla="*/ 257503 w 855312"/>
                    <a:gd name="connsiteY1206" fmla="*/ 1190555 h 1324114"/>
                    <a:gd name="connsiteX1207" fmla="*/ 255670 w 855312"/>
                    <a:gd name="connsiteY1207" fmla="*/ 1190797 h 1324114"/>
                    <a:gd name="connsiteX1208" fmla="*/ 254637 w 855312"/>
                    <a:gd name="connsiteY1208" fmla="*/ 1190761 h 1324114"/>
                    <a:gd name="connsiteX1209" fmla="*/ 253775 w 855312"/>
                    <a:gd name="connsiteY1209" fmla="*/ 1190615 h 1324114"/>
                    <a:gd name="connsiteX1210" fmla="*/ 252962 w 855312"/>
                    <a:gd name="connsiteY1210" fmla="*/ 1190275 h 1324114"/>
                    <a:gd name="connsiteX1211" fmla="*/ 252282 w 855312"/>
                    <a:gd name="connsiteY1211" fmla="*/ 1188964 h 1324114"/>
                    <a:gd name="connsiteX1212" fmla="*/ 251541 w 855312"/>
                    <a:gd name="connsiteY1212" fmla="*/ 1186644 h 1324114"/>
                    <a:gd name="connsiteX1213" fmla="*/ 250327 w 855312"/>
                    <a:gd name="connsiteY1213" fmla="*/ 1181010 h 1324114"/>
                    <a:gd name="connsiteX1214" fmla="*/ 249125 w 855312"/>
                    <a:gd name="connsiteY1214" fmla="*/ 1177659 h 1324114"/>
                    <a:gd name="connsiteX1215" fmla="*/ 247060 w 855312"/>
                    <a:gd name="connsiteY1215" fmla="*/ 1174441 h 1324114"/>
                    <a:gd name="connsiteX1216" fmla="*/ 244765 w 855312"/>
                    <a:gd name="connsiteY1216" fmla="*/ 1172085 h 1324114"/>
                    <a:gd name="connsiteX1217" fmla="*/ 244012 w 855312"/>
                    <a:gd name="connsiteY1217" fmla="*/ 1170822 h 1324114"/>
                    <a:gd name="connsiteX1218" fmla="*/ 243672 w 855312"/>
                    <a:gd name="connsiteY1218" fmla="*/ 1169353 h 1324114"/>
                    <a:gd name="connsiteX1219" fmla="*/ 243551 w 855312"/>
                    <a:gd name="connsiteY1219" fmla="*/ 1166341 h 1324114"/>
                    <a:gd name="connsiteX1220" fmla="*/ 243830 w 855312"/>
                    <a:gd name="connsiteY1220" fmla="*/ 1164787 h 1324114"/>
                    <a:gd name="connsiteX1221" fmla="*/ 244413 w 855312"/>
                    <a:gd name="connsiteY1221" fmla="*/ 1163549 h 1324114"/>
                    <a:gd name="connsiteX1222" fmla="*/ 247121 w 855312"/>
                    <a:gd name="connsiteY1222" fmla="*/ 1161484 h 1324114"/>
                    <a:gd name="connsiteX1223" fmla="*/ 247910 w 855312"/>
                    <a:gd name="connsiteY1223" fmla="*/ 1160598 h 1324114"/>
                    <a:gd name="connsiteX1224" fmla="*/ 248602 w 855312"/>
                    <a:gd name="connsiteY1224" fmla="*/ 1159444 h 1324114"/>
                    <a:gd name="connsiteX1225" fmla="*/ 248942 w 855312"/>
                    <a:gd name="connsiteY1225" fmla="*/ 1158327 h 1324114"/>
                    <a:gd name="connsiteX1226" fmla="*/ 249064 w 855312"/>
                    <a:gd name="connsiteY1226" fmla="*/ 1157465 h 1324114"/>
                    <a:gd name="connsiteX1227" fmla="*/ 249003 w 855312"/>
                    <a:gd name="connsiteY1227" fmla="*/ 1156834 h 1324114"/>
                    <a:gd name="connsiteX1228" fmla="*/ 248785 w 855312"/>
                    <a:gd name="connsiteY1228" fmla="*/ 1156166 h 1324114"/>
                    <a:gd name="connsiteX1229" fmla="*/ 248262 w 855312"/>
                    <a:gd name="connsiteY1229" fmla="*/ 1155680 h 1324114"/>
                    <a:gd name="connsiteX1230" fmla="*/ 246599 w 855312"/>
                    <a:gd name="connsiteY1230" fmla="*/ 1155340 h 1324114"/>
                    <a:gd name="connsiteX1231" fmla="*/ 245324 w 855312"/>
                    <a:gd name="connsiteY1231" fmla="*/ 1155364 h 1324114"/>
                    <a:gd name="connsiteX1232" fmla="*/ 239993 w 855312"/>
                    <a:gd name="connsiteY1232" fmla="*/ 1156834 h 1324114"/>
                    <a:gd name="connsiteX1233" fmla="*/ 238840 w 855312"/>
                    <a:gd name="connsiteY1233" fmla="*/ 1157040 h 1324114"/>
                    <a:gd name="connsiteX1234" fmla="*/ 238500 w 855312"/>
                    <a:gd name="connsiteY1234" fmla="*/ 1157004 h 1324114"/>
                    <a:gd name="connsiteX1235" fmla="*/ 238050 w 855312"/>
                    <a:gd name="connsiteY1235" fmla="*/ 1156748 h 1324114"/>
                    <a:gd name="connsiteX1236" fmla="*/ 237577 w 855312"/>
                    <a:gd name="connsiteY1236" fmla="*/ 1156287 h 1324114"/>
                    <a:gd name="connsiteX1237" fmla="*/ 237006 w 855312"/>
                    <a:gd name="connsiteY1237" fmla="*/ 1155607 h 1324114"/>
                    <a:gd name="connsiteX1238" fmla="*/ 234942 w 855312"/>
                    <a:gd name="connsiteY1238" fmla="*/ 1152268 h 1324114"/>
                    <a:gd name="connsiteX1239" fmla="*/ 233630 w 855312"/>
                    <a:gd name="connsiteY1239" fmla="*/ 1151296 h 1324114"/>
                    <a:gd name="connsiteX1240" fmla="*/ 233205 w 855312"/>
                    <a:gd name="connsiteY1240" fmla="*/ 1151187 h 1324114"/>
                    <a:gd name="connsiteX1241" fmla="*/ 232926 w 855312"/>
                    <a:gd name="connsiteY1241" fmla="*/ 1151066 h 1324114"/>
                    <a:gd name="connsiteX1242" fmla="*/ 232416 w 855312"/>
                    <a:gd name="connsiteY1242" fmla="*/ 1150811 h 1324114"/>
                    <a:gd name="connsiteX1243" fmla="*/ 231663 w 855312"/>
                    <a:gd name="connsiteY1243" fmla="*/ 1150021 h 1324114"/>
                    <a:gd name="connsiteX1244" fmla="*/ 230740 w 855312"/>
                    <a:gd name="connsiteY1244" fmla="*/ 1148698 h 1324114"/>
                    <a:gd name="connsiteX1245" fmla="*/ 229599 w 855312"/>
                    <a:gd name="connsiteY1245" fmla="*/ 1146573 h 1324114"/>
                    <a:gd name="connsiteX1246" fmla="*/ 227122 w 855312"/>
                    <a:gd name="connsiteY1246" fmla="*/ 1144193 h 1324114"/>
                    <a:gd name="connsiteX1247" fmla="*/ 226381 w 855312"/>
                    <a:gd name="connsiteY1247" fmla="*/ 1143039 h 1324114"/>
                    <a:gd name="connsiteX1248" fmla="*/ 226272 w 855312"/>
                    <a:gd name="connsiteY1248" fmla="*/ 1141461 h 1324114"/>
                    <a:gd name="connsiteX1249" fmla="*/ 226964 w 855312"/>
                    <a:gd name="connsiteY1249" fmla="*/ 1139335 h 1324114"/>
                    <a:gd name="connsiteX1250" fmla="*/ 229599 w 855312"/>
                    <a:gd name="connsiteY1250" fmla="*/ 1136203 h 1324114"/>
                    <a:gd name="connsiteX1251" fmla="*/ 230740 w 855312"/>
                    <a:gd name="connsiteY1251" fmla="*/ 1132001 h 1324114"/>
                    <a:gd name="connsiteX1252" fmla="*/ 222192 w 855312"/>
                    <a:gd name="connsiteY1252" fmla="*/ 1129755 h 1324114"/>
                    <a:gd name="connsiteX1253" fmla="*/ 219836 w 855312"/>
                    <a:gd name="connsiteY1253" fmla="*/ 1129912 h 1324114"/>
                    <a:gd name="connsiteX1254" fmla="*/ 218743 w 855312"/>
                    <a:gd name="connsiteY1254" fmla="*/ 1131200 h 1324114"/>
                    <a:gd name="connsiteX1255" fmla="*/ 217954 w 855312"/>
                    <a:gd name="connsiteY1255" fmla="*/ 1131892 h 1324114"/>
                    <a:gd name="connsiteX1256" fmla="*/ 216800 w 855312"/>
                    <a:gd name="connsiteY1256" fmla="*/ 1132462 h 1324114"/>
                    <a:gd name="connsiteX1257" fmla="*/ 215525 w 855312"/>
                    <a:gd name="connsiteY1257" fmla="*/ 1132742 h 1324114"/>
                    <a:gd name="connsiteX1258" fmla="*/ 214274 w 855312"/>
                    <a:gd name="connsiteY1258" fmla="*/ 1132657 h 1324114"/>
                    <a:gd name="connsiteX1259" fmla="*/ 213060 w 855312"/>
                    <a:gd name="connsiteY1259" fmla="*/ 1132196 h 1324114"/>
                    <a:gd name="connsiteX1260" fmla="*/ 211749 w 855312"/>
                    <a:gd name="connsiteY1260" fmla="*/ 1130920 h 1324114"/>
                    <a:gd name="connsiteX1261" fmla="*/ 209041 w 855312"/>
                    <a:gd name="connsiteY1261" fmla="*/ 1126610 h 1324114"/>
                    <a:gd name="connsiteX1262" fmla="*/ 207887 w 855312"/>
                    <a:gd name="connsiteY1262" fmla="*/ 1125760 h 1324114"/>
                    <a:gd name="connsiteX1263" fmla="*/ 206175 w 855312"/>
                    <a:gd name="connsiteY1263" fmla="*/ 1125638 h 1324114"/>
                    <a:gd name="connsiteX1264" fmla="*/ 204621 w 855312"/>
                    <a:gd name="connsiteY1264" fmla="*/ 1126148 h 1324114"/>
                    <a:gd name="connsiteX1265" fmla="*/ 203309 w 855312"/>
                    <a:gd name="connsiteY1265" fmla="*/ 1126840 h 1324114"/>
                    <a:gd name="connsiteX1266" fmla="*/ 201974 w 855312"/>
                    <a:gd name="connsiteY1266" fmla="*/ 1126998 h 1324114"/>
                    <a:gd name="connsiteX1267" fmla="*/ 200662 w 855312"/>
                    <a:gd name="connsiteY1267" fmla="*/ 1126452 h 1324114"/>
                    <a:gd name="connsiteX1268" fmla="*/ 199168 w 855312"/>
                    <a:gd name="connsiteY1268" fmla="*/ 1124667 h 1324114"/>
                    <a:gd name="connsiteX1269" fmla="*/ 198476 w 855312"/>
                    <a:gd name="connsiteY1269" fmla="*/ 1123270 h 1324114"/>
                    <a:gd name="connsiteX1270" fmla="*/ 198136 w 855312"/>
                    <a:gd name="connsiteY1270" fmla="*/ 1121983 h 1324114"/>
                    <a:gd name="connsiteX1271" fmla="*/ 198197 w 855312"/>
                    <a:gd name="connsiteY1271" fmla="*/ 1120672 h 1324114"/>
                    <a:gd name="connsiteX1272" fmla="*/ 198416 w 855312"/>
                    <a:gd name="connsiteY1272" fmla="*/ 1119348 h 1324114"/>
                    <a:gd name="connsiteX1273" fmla="*/ 198938 w 855312"/>
                    <a:gd name="connsiteY1273" fmla="*/ 1117952 h 1324114"/>
                    <a:gd name="connsiteX1274" fmla="*/ 199108 w 855312"/>
                    <a:gd name="connsiteY1274" fmla="*/ 1117175 h 1324114"/>
                    <a:gd name="connsiteX1275" fmla="*/ 198768 w 855312"/>
                    <a:gd name="connsiteY1275" fmla="*/ 1116543 h 1324114"/>
                    <a:gd name="connsiteX1276" fmla="*/ 197736 w 855312"/>
                    <a:gd name="connsiteY1276" fmla="*/ 1115778 h 1324114"/>
                    <a:gd name="connsiteX1277" fmla="*/ 193486 w 855312"/>
                    <a:gd name="connsiteY1277" fmla="*/ 1113325 h 1324114"/>
                    <a:gd name="connsiteX1278" fmla="*/ 191409 w 855312"/>
                    <a:gd name="connsiteY1278" fmla="*/ 1112633 h 1324114"/>
                    <a:gd name="connsiteX1279" fmla="*/ 189005 w 855312"/>
                    <a:gd name="connsiteY1279" fmla="*/ 1112670 h 1324114"/>
                    <a:gd name="connsiteX1280" fmla="*/ 187511 w 855312"/>
                    <a:gd name="connsiteY1280" fmla="*/ 1113495 h 1324114"/>
                    <a:gd name="connsiteX1281" fmla="*/ 185326 w 855312"/>
                    <a:gd name="connsiteY1281" fmla="*/ 1115280 h 1324114"/>
                    <a:gd name="connsiteX1282" fmla="*/ 184633 w 855312"/>
                    <a:gd name="connsiteY1282" fmla="*/ 1115705 h 1324114"/>
                    <a:gd name="connsiteX1283" fmla="*/ 183832 w 855312"/>
                    <a:gd name="connsiteY1283" fmla="*/ 1115815 h 1324114"/>
                    <a:gd name="connsiteX1284" fmla="*/ 182739 w 855312"/>
                    <a:gd name="connsiteY1284" fmla="*/ 1115511 h 1324114"/>
                    <a:gd name="connsiteX1285" fmla="*/ 181428 w 855312"/>
                    <a:gd name="connsiteY1285" fmla="*/ 1114904 h 1324114"/>
                    <a:gd name="connsiteX1286" fmla="*/ 180505 w 855312"/>
                    <a:gd name="connsiteY1286" fmla="*/ 1113811 h 1324114"/>
                    <a:gd name="connsiteX1287" fmla="*/ 180213 w 855312"/>
                    <a:gd name="connsiteY1287" fmla="*/ 1112985 h 1324114"/>
                    <a:gd name="connsiteX1288" fmla="*/ 180274 w 855312"/>
                    <a:gd name="connsiteY1288" fmla="*/ 1112293 h 1324114"/>
                    <a:gd name="connsiteX1289" fmla="*/ 180675 w 855312"/>
                    <a:gd name="connsiteY1289" fmla="*/ 1110909 h 1324114"/>
                    <a:gd name="connsiteX1290" fmla="*/ 180675 w 855312"/>
                    <a:gd name="connsiteY1290" fmla="*/ 1110374 h 1324114"/>
                    <a:gd name="connsiteX1291" fmla="*/ 180553 w 855312"/>
                    <a:gd name="connsiteY1291" fmla="*/ 1109937 h 1324114"/>
                    <a:gd name="connsiteX1292" fmla="*/ 179752 w 855312"/>
                    <a:gd name="connsiteY1292" fmla="*/ 1109537 h 1324114"/>
                    <a:gd name="connsiteX1293" fmla="*/ 178781 w 855312"/>
                    <a:gd name="connsiteY1293" fmla="*/ 1109306 h 1324114"/>
                    <a:gd name="connsiteX1294" fmla="*/ 175223 w 855312"/>
                    <a:gd name="connsiteY1294" fmla="*/ 1108990 h 1324114"/>
                    <a:gd name="connsiteX1295" fmla="*/ 174190 w 855312"/>
                    <a:gd name="connsiteY1295" fmla="*/ 1108735 h 1324114"/>
                    <a:gd name="connsiteX1296" fmla="*/ 173328 w 855312"/>
                    <a:gd name="connsiteY1296" fmla="*/ 1108225 h 1324114"/>
                    <a:gd name="connsiteX1297" fmla="*/ 172175 w 855312"/>
                    <a:gd name="connsiteY1297" fmla="*/ 1107011 h 1324114"/>
                    <a:gd name="connsiteX1298" fmla="*/ 171543 w 855312"/>
                    <a:gd name="connsiteY1298" fmla="*/ 1105894 h 1324114"/>
                    <a:gd name="connsiteX1299" fmla="*/ 171143 w 855312"/>
                    <a:gd name="connsiteY1299" fmla="*/ 1104607 h 1324114"/>
                    <a:gd name="connsiteX1300" fmla="*/ 170693 w 855312"/>
                    <a:gd name="connsiteY1300" fmla="*/ 1101413 h 1324114"/>
                    <a:gd name="connsiteX1301" fmla="*/ 170450 w 855312"/>
                    <a:gd name="connsiteY1301" fmla="*/ 1100527 h 1324114"/>
                    <a:gd name="connsiteX1302" fmla="*/ 170110 w 855312"/>
                    <a:gd name="connsiteY1302" fmla="*/ 1099616 h 1324114"/>
                    <a:gd name="connsiteX1303" fmla="*/ 169710 w 855312"/>
                    <a:gd name="connsiteY1303" fmla="*/ 1099057 h 1324114"/>
                    <a:gd name="connsiteX1304" fmla="*/ 168848 w 855312"/>
                    <a:gd name="connsiteY1304" fmla="*/ 1098632 h 1324114"/>
                    <a:gd name="connsiteX1305" fmla="*/ 167463 w 855312"/>
                    <a:gd name="connsiteY1305" fmla="*/ 1098268 h 1324114"/>
                    <a:gd name="connsiteX1306" fmla="*/ 164998 w 855312"/>
                    <a:gd name="connsiteY1306" fmla="*/ 1097928 h 1324114"/>
                    <a:gd name="connsiteX1307" fmla="*/ 160809 w 855312"/>
                    <a:gd name="connsiteY1307" fmla="*/ 1098159 h 1324114"/>
                    <a:gd name="connsiteX1308" fmla="*/ 152600 w 855312"/>
                    <a:gd name="connsiteY1308" fmla="*/ 1100697 h 1324114"/>
                    <a:gd name="connsiteX1309" fmla="*/ 152722 w 855312"/>
                    <a:gd name="connsiteY1309" fmla="*/ 1096580 h 1324114"/>
                    <a:gd name="connsiteX1310" fmla="*/ 152248 w 855312"/>
                    <a:gd name="connsiteY1310" fmla="*/ 1094625 h 1324114"/>
                    <a:gd name="connsiteX1311" fmla="*/ 150694 w 855312"/>
                    <a:gd name="connsiteY1311" fmla="*/ 1092585 h 1324114"/>
                    <a:gd name="connsiteX1312" fmla="*/ 148982 w 855312"/>
                    <a:gd name="connsiteY1312" fmla="*/ 1091079 h 1324114"/>
                    <a:gd name="connsiteX1313" fmla="*/ 147658 w 855312"/>
                    <a:gd name="connsiteY1313" fmla="*/ 1089391 h 1324114"/>
                    <a:gd name="connsiteX1314" fmla="*/ 147148 w 855312"/>
                    <a:gd name="connsiteY1314" fmla="*/ 1086817 h 1324114"/>
                    <a:gd name="connsiteX1315" fmla="*/ 152078 w 855312"/>
                    <a:gd name="connsiteY1315" fmla="*/ 1089222 h 1324114"/>
                    <a:gd name="connsiteX1316" fmla="*/ 153523 w 855312"/>
                    <a:gd name="connsiteY1316" fmla="*/ 1089391 h 1324114"/>
                    <a:gd name="connsiteX1317" fmla="*/ 155017 w 855312"/>
                    <a:gd name="connsiteY1317" fmla="*/ 1088372 h 1324114"/>
                    <a:gd name="connsiteX1318" fmla="*/ 157652 w 855312"/>
                    <a:gd name="connsiteY1318" fmla="*/ 1084947 h 1324114"/>
                    <a:gd name="connsiteX1319" fmla="*/ 159315 w 855312"/>
                    <a:gd name="connsiteY1319" fmla="*/ 1084195 h 1324114"/>
                    <a:gd name="connsiteX1320" fmla="*/ 161440 w 855312"/>
                    <a:gd name="connsiteY1320" fmla="*/ 1083915 h 1324114"/>
                    <a:gd name="connsiteX1321" fmla="*/ 164476 w 855312"/>
                    <a:gd name="connsiteY1321" fmla="*/ 1083029 h 1324114"/>
                    <a:gd name="connsiteX1322" fmla="*/ 167354 w 855312"/>
                    <a:gd name="connsiteY1322" fmla="*/ 1081450 h 1324114"/>
                    <a:gd name="connsiteX1323" fmla="*/ 168908 w 855312"/>
                    <a:gd name="connsiteY1323" fmla="*/ 1079131 h 1324114"/>
                    <a:gd name="connsiteX1324" fmla="*/ 160238 w 855312"/>
                    <a:gd name="connsiteY1324" fmla="*/ 1080540 h 1324114"/>
                    <a:gd name="connsiteX1325" fmla="*/ 151908 w 855312"/>
                    <a:gd name="connsiteY1325" fmla="*/ 1083211 h 1324114"/>
                    <a:gd name="connsiteX1326" fmla="*/ 145764 w 855312"/>
                    <a:gd name="connsiteY1326" fmla="*/ 1082349 h 1324114"/>
                    <a:gd name="connsiteX1327" fmla="*/ 136863 w 855312"/>
                    <a:gd name="connsiteY1327" fmla="*/ 1045968 h 1324114"/>
                    <a:gd name="connsiteX1328" fmla="*/ 139328 w 855312"/>
                    <a:gd name="connsiteY1328" fmla="*/ 1039824 h 1324114"/>
                    <a:gd name="connsiteX1329" fmla="*/ 137604 w 855312"/>
                    <a:gd name="connsiteY1329" fmla="*/ 1038160 h 1324114"/>
                    <a:gd name="connsiteX1330" fmla="*/ 136693 w 855312"/>
                    <a:gd name="connsiteY1330" fmla="*/ 1036971 h 1324114"/>
                    <a:gd name="connsiteX1331" fmla="*/ 135491 w 855312"/>
                    <a:gd name="connsiteY1331" fmla="*/ 1033328 h 1324114"/>
                    <a:gd name="connsiteX1332" fmla="*/ 135309 w 855312"/>
                    <a:gd name="connsiteY1332" fmla="*/ 1028677 h 1324114"/>
                    <a:gd name="connsiteX1333" fmla="*/ 134920 w 855312"/>
                    <a:gd name="connsiteY1333" fmla="*/ 1026382 h 1324114"/>
                    <a:gd name="connsiteX1334" fmla="*/ 133645 w 855312"/>
                    <a:gd name="connsiteY1334" fmla="*/ 1025386 h 1324114"/>
                    <a:gd name="connsiteX1335" fmla="*/ 132844 w 855312"/>
                    <a:gd name="connsiteY1335" fmla="*/ 1023395 h 1324114"/>
                    <a:gd name="connsiteX1336" fmla="*/ 130779 w 855312"/>
                    <a:gd name="connsiteY1336" fmla="*/ 1013753 h 1324114"/>
                    <a:gd name="connsiteX1337" fmla="*/ 129966 w 855312"/>
                    <a:gd name="connsiteY1337" fmla="*/ 1005860 h 1324114"/>
                    <a:gd name="connsiteX1338" fmla="*/ 126529 w 855312"/>
                    <a:gd name="connsiteY1338" fmla="*/ 992831 h 1324114"/>
                    <a:gd name="connsiteX1339" fmla="*/ 125036 w 855312"/>
                    <a:gd name="connsiteY1339" fmla="*/ 989528 h 1324114"/>
                    <a:gd name="connsiteX1340" fmla="*/ 122959 w 855312"/>
                    <a:gd name="connsiteY1340" fmla="*/ 986176 h 1324114"/>
                    <a:gd name="connsiteX1341" fmla="*/ 121709 w 855312"/>
                    <a:gd name="connsiteY1341" fmla="*/ 983189 h 1324114"/>
                    <a:gd name="connsiteX1342" fmla="*/ 122680 w 855312"/>
                    <a:gd name="connsiteY1342" fmla="*/ 980980 h 1324114"/>
                    <a:gd name="connsiteX1343" fmla="*/ 121357 w 855312"/>
                    <a:gd name="connsiteY1343" fmla="*/ 977701 h 1324114"/>
                    <a:gd name="connsiteX1344" fmla="*/ 120555 w 855312"/>
                    <a:gd name="connsiteY1344" fmla="*/ 971496 h 1324114"/>
                    <a:gd name="connsiteX1345" fmla="*/ 120094 w 855312"/>
                    <a:gd name="connsiteY1345" fmla="*/ 966651 h 1324114"/>
                    <a:gd name="connsiteX1346" fmla="*/ 121927 w 855312"/>
                    <a:gd name="connsiteY1346" fmla="*/ 972224 h 1324114"/>
                    <a:gd name="connsiteX1347" fmla="*/ 122510 w 855312"/>
                    <a:gd name="connsiteY1347" fmla="*/ 976742 h 1324114"/>
                    <a:gd name="connsiteX1348" fmla="*/ 125267 w 855312"/>
                    <a:gd name="connsiteY1348" fmla="*/ 977179 h 1324114"/>
                    <a:gd name="connsiteX1349" fmla="*/ 124052 w 855312"/>
                    <a:gd name="connsiteY1349" fmla="*/ 975782 h 1324114"/>
                    <a:gd name="connsiteX1350" fmla="*/ 124113 w 855312"/>
                    <a:gd name="connsiteY1350" fmla="*/ 971532 h 1324114"/>
                    <a:gd name="connsiteX1351" fmla="*/ 123943 w 855312"/>
                    <a:gd name="connsiteY1351" fmla="*/ 967962 h 1324114"/>
                    <a:gd name="connsiteX1352" fmla="*/ 119402 w 855312"/>
                    <a:gd name="connsiteY1352" fmla="*/ 955479 h 1324114"/>
                    <a:gd name="connsiteX1353" fmla="*/ 119584 w 855312"/>
                    <a:gd name="connsiteY1353" fmla="*/ 951193 h 1324114"/>
                    <a:gd name="connsiteX1354" fmla="*/ 118321 w 855312"/>
                    <a:gd name="connsiteY1354" fmla="*/ 940713 h 1324114"/>
                    <a:gd name="connsiteX1355" fmla="*/ 118722 w 855312"/>
                    <a:gd name="connsiteY1355" fmla="*/ 937848 h 1324114"/>
                    <a:gd name="connsiteX1356" fmla="*/ 118029 w 855312"/>
                    <a:gd name="connsiteY1356" fmla="*/ 937277 h 1324114"/>
                    <a:gd name="connsiteX1357" fmla="*/ 117689 w 855312"/>
                    <a:gd name="connsiteY1357" fmla="*/ 936670 h 1324114"/>
                    <a:gd name="connsiteX1358" fmla="*/ 117519 w 855312"/>
                    <a:gd name="connsiteY1358" fmla="*/ 936014 h 1324114"/>
                    <a:gd name="connsiteX1359" fmla="*/ 117459 w 855312"/>
                    <a:gd name="connsiteY1359" fmla="*/ 935237 h 1324114"/>
                    <a:gd name="connsiteX1360" fmla="*/ 118600 w 855312"/>
                    <a:gd name="connsiteY1360" fmla="*/ 935966 h 1324114"/>
                    <a:gd name="connsiteX1361" fmla="*/ 119402 w 855312"/>
                    <a:gd name="connsiteY1361" fmla="*/ 935711 h 1324114"/>
                    <a:gd name="connsiteX1362" fmla="*/ 119863 w 855312"/>
                    <a:gd name="connsiteY1362" fmla="*/ 934533 h 1324114"/>
                    <a:gd name="connsiteX1363" fmla="*/ 120094 w 855312"/>
                    <a:gd name="connsiteY1363" fmla="*/ 932517 h 1324114"/>
                    <a:gd name="connsiteX1364" fmla="*/ 121308 w 855312"/>
                    <a:gd name="connsiteY1364" fmla="*/ 932517 h 1324114"/>
                    <a:gd name="connsiteX1365" fmla="*/ 123081 w 855312"/>
                    <a:gd name="connsiteY1365" fmla="*/ 933756 h 1324114"/>
                    <a:gd name="connsiteX1366" fmla="*/ 125546 w 855312"/>
                    <a:gd name="connsiteY1366" fmla="*/ 933756 h 1324114"/>
                    <a:gd name="connsiteX1367" fmla="*/ 128132 w 855312"/>
                    <a:gd name="connsiteY1367" fmla="*/ 932784 h 1324114"/>
                    <a:gd name="connsiteX1368" fmla="*/ 130379 w 855312"/>
                    <a:gd name="connsiteY1368" fmla="*/ 931217 h 1324114"/>
                    <a:gd name="connsiteX1369" fmla="*/ 127562 w 855312"/>
                    <a:gd name="connsiteY1369" fmla="*/ 931509 h 1324114"/>
                    <a:gd name="connsiteX1370" fmla="*/ 126117 w 855312"/>
                    <a:gd name="connsiteY1370" fmla="*/ 930756 h 1324114"/>
                    <a:gd name="connsiteX1371" fmla="*/ 123943 w 855312"/>
                    <a:gd name="connsiteY1371" fmla="*/ 927405 h 1324114"/>
                    <a:gd name="connsiteX1372" fmla="*/ 121466 w 855312"/>
                    <a:gd name="connsiteY1372" fmla="*/ 925086 h 1324114"/>
                    <a:gd name="connsiteX1373" fmla="*/ 121648 w 855312"/>
                    <a:gd name="connsiteY1373" fmla="*/ 924138 h 1324114"/>
                    <a:gd name="connsiteX1374" fmla="*/ 123943 w 855312"/>
                    <a:gd name="connsiteY1374" fmla="*/ 923385 h 1324114"/>
                    <a:gd name="connsiteX1375" fmla="*/ 121417 w 855312"/>
                    <a:gd name="connsiteY1375" fmla="*/ 920131 h 1324114"/>
                    <a:gd name="connsiteX1376" fmla="*/ 119183 w 855312"/>
                    <a:gd name="connsiteY1376" fmla="*/ 922171 h 1324114"/>
                    <a:gd name="connsiteX1377" fmla="*/ 116293 w 855312"/>
                    <a:gd name="connsiteY1377" fmla="*/ 930015 h 1324114"/>
                    <a:gd name="connsiteX1378" fmla="*/ 113731 w 855312"/>
                    <a:gd name="connsiteY1378" fmla="*/ 923908 h 1324114"/>
                    <a:gd name="connsiteX1379" fmla="*/ 109238 w 855312"/>
                    <a:gd name="connsiteY1379" fmla="*/ 908231 h 1324114"/>
                    <a:gd name="connsiteX1380" fmla="*/ 107696 w 855312"/>
                    <a:gd name="connsiteY1380" fmla="*/ 896489 h 1324114"/>
                    <a:gd name="connsiteX1381" fmla="*/ 104186 w 855312"/>
                    <a:gd name="connsiteY1381" fmla="*/ 889628 h 1324114"/>
                    <a:gd name="connsiteX1382" fmla="*/ 101952 w 855312"/>
                    <a:gd name="connsiteY1382" fmla="*/ 883423 h 1324114"/>
                    <a:gd name="connsiteX1383" fmla="*/ 95699 w 855312"/>
                    <a:gd name="connsiteY1383" fmla="*/ 875287 h 1324114"/>
                    <a:gd name="connsiteX1384" fmla="*/ 93003 w 855312"/>
                    <a:gd name="connsiteY1384" fmla="*/ 870637 h 1324114"/>
                    <a:gd name="connsiteX1385" fmla="*/ 87077 w 855312"/>
                    <a:gd name="connsiteY1385" fmla="*/ 862913 h 1324114"/>
                    <a:gd name="connsiteX1386" fmla="*/ 85304 w 855312"/>
                    <a:gd name="connsiteY1386" fmla="*/ 859040 h 1324114"/>
                    <a:gd name="connsiteX1387" fmla="*/ 85183 w 855312"/>
                    <a:gd name="connsiteY1387" fmla="*/ 857085 h 1324114"/>
                    <a:gd name="connsiteX1388" fmla="*/ 85462 w 855312"/>
                    <a:gd name="connsiteY1388" fmla="*/ 853126 h 1324114"/>
                    <a:gd name="connsiteX1389" fmla="*/ 85304 w 855312"/>
                    <a:gd name="connsiteY1389" fmla="*/ 851208 h 1324114"/>
                    <a:gd name="connsiteX1390" fmla="*/ 84551 w 855312"/>
                    <a:gd name="connsiteY1390" fmla="*/ 849447 h 1324114"/>
                    <a:gd name="connsiteX1391" fmla="*/ 82256 w 855312"/>
                    <a:gd name="connsiteY1391" fmla="*/ 846581 h 1324114"/>
                    <a:gd name="connsiteX1392" fmla="*/ 81455 w 855312"/>
                    <a:gd name="connsiteY1392" fmla="*/ 844663 h 1324114"/>
                    <a:gd name="connsiteX1393" fmla="*/ 81163 w 855312"/>
                    <a:gd name="connsiteY1393" fmla="*/ 833941 h 1324114"/>
                    <a:gd name="connsiteX1394" fmla="*/ 80071 w 855312"/>
                    <a:gd name="connsiteY1394" fmla="*/ 830189 h 1324114"/>
                    <a:gd name="connsiteX1395" fmla="*/ 74679 w 855312"/>
                    <a:gd name="connsiteY1395" fmla="*/ 822769 h 1324114"/>
                    <a:gd name="connsiteX1396" fmla="*/ 72894 w 855312"/>
                    <a:gd name="connsiteY1396" fmla="*/ 818908 h 1324114"/>
                    <a:gd name="connsiteX1397" fmla="*/ 73708 w 855312"/>
                    <a:gd name="connsiteY1397" fmla="*/ 814524 h 1324114"/>
                    <a:gd name="connsiteX1398" fmla="*/ 76233 w 855312"/>
                    <a:gd name="connsiteY1398" fmla="*/ 816297 h 1324114"/>
                    <a:gd name="connsiteX1399" fmla="*/ 80763 w 855312"/>
                    <a:gd name="connsiteY1399" fmla="*/ 817305 h 1324114"/>
                    <a:gd name="connsiteX1400" fmla="*/ 85243 w 855312"/>
                    <a:gd name="connsiteY1400" fmla="*/ 817560 h 1324114"/>
                    <a:gd name="connsiteX1401" fmla="*/ 87879 w 855312"/>
                    <a:gd name="connsiteY1401" fmla="*/ 817013 h 1324114"/>
                    <a:gd name="connsiteX1402" fmla="*/ 86166 w 855312"/>
                    <a:gd name="connsiteY1402" fmla="*/ 815556 h 1324114"/>
                    <a:gd name="connsiteX1403" fmla="*/ 74278 w 855312"/>
                    <a:gd name="connsiteY1403" fmla="*/ 811391 h 1324114"/>
                    <a:gd name="connsiteX1404" fmla="*/ 72615 w 855312"/>
                    <a:gd name="connsiteY1404" fmla="*/ 810590 h 1324114"/>
                    <a:gd name="connsiteX1405" fmla="*/ 70308 w 855312"/>
                    <a:gd name="connsiteY1405" fmla="*/ 807287 h 1324114"/>
                    <a:gd name="connsiteX1406" fmla="*/ 69785 w 855312"/>
                    <a:gd name="connsiteY1406" fmla="*/ 798933 h 1324114"/>
                    <a:gd name="connsiteX1407" fmla="*/ 68073 w 855312"/>
                    <a:gd name="connsiteY1407" fmla="*/ 795460 h 1324114"/>
                    <a:gd name="connsiteX1408" fmla="*/ 66859 w 855312"/>
                    <a:gd name="connsiteY1408" fmla="*/ 793590 h 1324114"/>
                    <a:gd name="connsiteX1409" fmla="*/ 66349 w 855312"/>
                    <a:gd name="connsiteY1409" fmla="*/ 791246 h 1324114"/>
                    <a:gd name="connsiteX1410" fmla="*/ 66349 w 855312"/>
                    <a:gd name="connsiteY1410" fmla="*/ 786316 h 1324114"/>
                    <a:gd name="connsiteX1411" fmla="*/ 65888 w 855312"/>
                    <a:gd name="connsiteY1411" fmla="*/ 784725 h 1324114"/>
                    <a:gd name="connsiteX1412" fmla="*/ 64916 w 855312"/>
                    <a:gd name="connsiteY1412" fmla="*/ 783718 h 1324114"/>
                    <a:gd name="connsiteX1413" fmla="*/ 63993 w 855312"/>
                    <a:gd name="connsiteY1413" fmla="*/ 782406 h 1324114"/>
                    <a:gd name="connsiteX1414" fmla="*/ 62621 w 855312"/>
                    <a:gd name="connsiteY1414" fmla="*/ 775497 h 1324114"/>
                    <a:gd name="connsiteX1415" fmla="*/ 58772 w 855312"/>
                    <a:gd name="connsiteY1415" fmla="*/ 768259 h 1324114"/>
                    <a:gd name="connsiteX1416" fmla="*/ 58432 w 855312"/>
                    <a:gd name="connsiteY1416" fmla="*/ 763451 h 1324114"/>
                    <a:gd name="connsiteX1417" fmla="*/ 61237 w 855312"/>
                    <a:gd name="connsiteY1417" fmla="*/ 766863 h 1324114"/>
                    <a:gd name="connsiteX1418" fmla="*/ 63180 w 855312"/>
                    <a:gd name="connsiteY1418" fmla="*/ 772182 h 1324114"/>
                    <a:gd name="connsiteX1419" fmla="*/ 65317 w 855312"/>
                    <a:gd name="connsiteY1419" fmla="*/ 776371 h 1324114"/>
                    <a:gd name="connsiteX1420" fmla="*/ 68765 w 855312"/>
                    <a:gd name="connsiteY1420" fmla="*/ 776517 h 1324114"/>
                    <a:gd name="connsiteX1421" fmla="*/ 66981 w 855312"/>
                    <a:gd name="connsiteY1421" fmla="*/ 773930 h 1324114"/>
                    <a:gd name="connsiteX1422" fmla="*/ 67612 w 855312"/>
                    <a:gd name="connsiteY1422" fmla="*/ 773104 h 1324114"/>
                    <a:gd name="connsiteX1423" fmla="*/ 72615 w 855312"/>
                    <a:gd name="connsiteY1423" fmla="*/ 773760 h 1324114"/>
                    <a:gd name="connsiteX1424" fmla="*/ 64685 w 855312"/>
                    <a:gd name="connsiteY1424" fmla="*/ 764605 h 1324114"/>
                    <a:gd name="connsiteX1425" fmla="*/ 62269 w 855312"/>
                    <a:gd name="connsiteY1425" fmla="*/ 763451 h 1324114"/>
                    <a:gd name="connsiteX1426" fmla="*/ 62670 w 855312"/>
                    <a:gd name="connsiteY1426" fmla="*/ 762759 h 1324114"/>
                    <a:gd name="connsiteX1427" fmla="*/ 63143 w 855312"/>
                    <a:gd name="connsiteY1427" fmla="*/ 761386 h 1324114"/>
                    <a:gd name="connsiteX1428" fmla="*/ 63544 w 855312"/>
                    <a:gd name="connsiteY1428" fmla="*/ 760694 h 1324114"/>
                    <a:gd name="connsiteX1429" fmla="*/ 61468 w 855312"/>
                    <a:gd name="connsiteY1429" fmla="*/ 759711 h 1324114"/>
                    <a:gd name="connsiteX1430" fmla="*/ 60666 w 855312"/>
                    <a:gd name="connsiteY1430" fmla="*/ 759808 h 1324114"/>
                    <a:gd name="connsiteX1431" fmla="*/ 59683 w 855312"/>
                    <a:gd name="connsiteY1431" fmla="*/ 760694 h 1324114"/>
                    <a:gd name="connsiteX1432" fmla="*/ 59063 w 855312"/>
                    <a:gd name="connsiteY1432" fmla="*/ 758278 h 1324114"/>
                    <a:gd name="connsiteX1433" fmla="*/ 59124 w 855312"/>
                    <a:gd name="connsiteY1433" fmla="*/ 757282 h 1324114"/>
                    <a:gd name="connsiteX1434" fmla="*/ 59683 w 855312"/>
                    <a:gd name="connsiteY1434" fmla="*/ 755582 h 1324114"/>
                    <a:gd name="connsiteX1435" fmla="*/ 56695 w 855312"/>
                    <a:gd name="connsiteY1435" fmla="*/ 757003 h 1324114"/>
                    <a:gd name="connsiteX1436" fmla="*/ 56355 w 855312"/>
                    <a:gd name="connsiteY1436" fmla="*/ 759432 h 1324114"/>
                    <a:gd name="connsiteX1437" fmla="*/ 56695 w 855312"/>
                    <a:gd name="connsiteY1437" fmla="*/ 762152 h 1324114"/>
                    <a:gd name="connsiteX1438" fmla="*/ 56015 w 855312"/>
                    <a:gd name="connsiteY1438" fmla="*/ 764616 h 1324114"/>
                    <a:gd name="connsiteX1439" fmla="*/ 53320 w 855312"/>
                    <a:gd name="connsiteY1439" fmla="*/ 765904 h 1324114"/>
                    <a:gd name="connsiteX1440" fmla="*/ 50503 w 855312"/>
                    <a:gd name="connsiteY1440" fmla="*/ 765515 h 1324114"/>
                    <a:gd name="connsiteX1441" fmla="*/ 48778 w 855312"/>
                    <a:gd name="connsiteY1441" fmla="*/ 763961 h 1324114"/>
                    <a:gd name="connsiteX1442" fmla="*/ 49361 w 855312"/>
                    <a:gd name="connsiteY1442" fmla="*/ 762006 h 1324114"/>
                    <a:gd name="connsiteX1443" fmla="*/ 47928 w 855312"/>
                    <a:gd name="connsiteY1443" fmla="*/ 756772 h 1324114"/>
                    <a:gd name="connsiteX1444" fmla="*/ 47746 w 855312"/>
                    <a:gd name="connsiteY1444" fmla="*/ 752498 h 1324114"/>
                    <a:gd name="connsiteX1445" fmla="*/ 50041 w 855312"/>
                    <a:gd name="connsiteY1445" fmla="*/ 749717 h 1324114"/>
                    <a:gd name="connsiteX1446" fmla="*/ 56015 w 855312"/>
                    <a:gd name="connsiteY1446" fmla="*/ 748904 h 1324114"/>
                    <a:gd name="connsiteX1447" fmla="*/ 56015 w 855312"/>
                    <a:gd name="connsiteY1447" fmla="*/ 747629 h 1324114"/>
                    <a:gd name="connsiteX1448" fmla="*/ 53138 w 855312"/>
                    <a:gd name="connsiteY1448" fmla="*/ 746511 h 1324114"/>
                    <a:gd name="connsiteX1449" fmla="*/ 50964 w 855312"/>
                    <a:gd name="connsiteY1449" fmla="*/ 747119 h 1324114"/>
                    <a:gd name="connsiteX1450" fmla="*/ 48900 w 855312"/>
                    <a:gd name="connsiteY1450" fmla="*/ 748296 h 1324114"/>
                    <a:gd name="connsiteX1451" fmla="*/ 46253 w 855312"/>
                    <a:gd name="connsiteY1451" fmla="*/ 748916 h 1324114"/>
                    <a:gd name="connsiteX1452" fmla="*/ 44127 w 855312"/>
                    <a:gd name="connsiteY1452" fmla="*/ 748138 h 1324114"/>
                    <a:gd name="connsiteX1453" fmla="*/ 42695 w 855312"/>
                    <a:gd name="connsiteY1453" fmla="*/ 746269 h 1324114"/>
                    <a:gd name="connsiteX1454" fmla="*/ 42452 w 855312"/>
                    <a:gd name="connsiteY1454" fmla="*/ 744083 h 1324114"/>
                    <a:gd name="connsiteX1455" fmla="*/ 44188 w 855312"/>
                    <a:gd name="connsiteY1455" fmla="*/ 742419 h 1324114"/>
                    <a:gd name="connsiteX1456" fmla="*/ 42925 w 855312"/>
                    <a:gd name="connsiteY1456" fmla="*/ 738801 h 1324114"/>
                    <a:gd name="connsiteX1457" fmla="*/ 41784 w 855312"/>
                    <a:gd name="connsiteY1457" fmla="*/ 730604 h 1324114"/>
                    <a:gd name="connsiteX1458" fmla="*/ 39829 w 855312"/>
                    <a:gd name="connsiteY1458" fmla="*/ 727313 h 1324114"/>
                    <a:gd name="connsiteX1459" fmla="*/ 36320 w 855312"/>
                    <a:gd name="connsiteY1459" fmla="*/ 724423 h 1324114"/>
                    <a:gd name="connsiteX1460" fmla="*/ 33745 w 855312"/>
                    <a:gd name="connsiteY1460" fmla="*/ 723634 h 1324114"/>
                    <a:gd name="connsiteX1461" fmla="*/ 31547 w 855312"/>
                    <a:gd name="connsiteY1461" fmla="*/ 724836 h 1324114"/>
                    <a:gd name="connsiteX1462" fmla="*/ 28852 w 855312"/>
                    <a:gd name="connsiteY1462" fmla="*/ 727933 h 1324114"/>
                    <a:gd name="connsiteX1463" fmla="*/ 26265 w 855312"/>
                    <a:gd name="connsiteY1463" fmla="*/ 722881 h 1324114"/>
                    <a:gd name="connsiteX1464" fmla="*/ 25002 w 855312"/>
                    <a:gd name="connsiteY1464" fmla="*/ 721388 h 1324114"/>
                    <a:gd name="connsiteX1465" fmla="*/ 24201 w 855312"/>
                    <a:gd name="connsiteY1465" fmla="*/ 721181 h 1324114"/>
                    <a:gd name="connsiteX1466" fmla="*/ 21967 w 855312"/>
                    <a:gd name="connsiteY1466" fmla="*/ 721545 h 1324114"/>
                    <a:gd name="connsiteX1467" fmla="*/ 21165 w 855312"/>
                    <a:gd name="connsiteY1467" fmla="*/ 721376 h 1324114"/>
                    <a:gd name="connsiteX1468" fmla="*/ 19890 w 855312"/>
                    <a:gd name="connsiteY1468" fmla="*/ 719080 h 1324114"/>
                    <a:gd name="connsiteX1469" fmla="*/ 19781 w 855312"/>
                    <a:gd name="connsiteY1469" fmla="*/ 718741 h 1324114"/>
                    <a:gd name="connsiteX1470" fmla="*/ 13297 w 855312"/>
                    <a:gd name="connsiteY1470" fmla="*/ 715547 h 1324114"/>
                    <a:gd name="connsiteX1471" fmla="*/ 10479 w 855312"/>
                    <a:gd name="connsiteY1471" fmla="*/ 713058 h 1324114"/>
                    <a:gd name="connsiteX1472" fmla="*/ 9508 w 855312"/>
                    <a:gd name="connsiteY1472" fmla="*/ 709585 h 1324114"/>
                    <a:gd name="connsiteX1473" fmla="*/ 12896 w 855312"/>
                    <a:gd name="connsiteY1473" fmla="*/ 711285 h 1324114"/>
                    <a:gd name="connsiteX1474" fmla="*/ 13807 w 855312"/>
                    <a:gd name="connsiteY1474" fmla="*/ 710155 h 1324114"/>
                    <a:gd name="connsiteX1475" fmla="*/ 13807 w 855312"/>
                    <a:gd name="connsiteY1475" fmla="*/ 707788 h 1324114"/>
                    <a:gd name="connsiteX1476" fmla="*/ 14669 w 855312"/>
                    <a:gd name="connsiteY1476" fmla="*/ 705687 h 1324114"/>
                    <a:gd name="connsiteX1477" fmla="*/ 16575 w 855312"/>
                    <a:gd name="connsiteY1477" fmla="*/ 704618 h 1324114"/>
                    <a:gd name="connsiteX1478" fmla="*/ 18749 w 855312"/>
                    <a:gd name="connsiteY1478" fmla="*/ 704363 h 1324114"/>
                    <a:gd name="connsiteX1479" fmla="*/ 20813 w 855312"/>
                    <a:gd name="connsiteY1479" fmla="*/ 705068 h 1324114"/>
                    <a:gd name="connsiteX1480" fmla="*/ 22307 w 855312"/>
                    <a:gd name="connsiteY1480" fmla="*/ 706865 h 1324114"/>
                    <a:gd name="connsiteX1481" fmla="*/ 24201 w 855312"/>
                    <a:gd name="connsiteY1481" fmla="*/ 703271 h 1324114"/>
                    <a:gd name="connsiteX1482" fmla="*/ 25986 w 855312"/>
                    <a:gd name="connsiteY1482" fmla="*/ 701000 h 1324114"/>
                    <a:gd name="connsiteX1483" fmla="*/ 28172 w 855312"/>
                    <a:gd name="connsiteY1483" fmla="*/ 699688 h 1324114"/>
                    <a:gd name="connsiteX1484" fmla="*/ 31438 w 855312"/>
                    <a:gd name="connsiteY1484" fmla="*/ 699020 h 1324114"/>
                    <a:gd name="connsiteX1485" fmla="*/ 33320 w 855312"/>
                    <a:gd name="connsiteY1485" fmla="*/ 699251 h 1324114"/>
                    <a:gd name="connsiteX1486" fmla="*/ 34935 w 855312"/>
                    <a:gd name="connsiteY1486" fmla="*/ 699773 h 1324114"/>
                    <a:gd name="connsiteX1487" fmla="*/ 36150 w 855312"/>
                    <a:gd name="connsiteY1487" fmla="*/ 699433 h 1324114"/>
                    <a:gd name="connsiteX1488" fmla="*/ 36490 w 855312"/>
                    <a:gd name="connsiteY1488" fmla="*/ 697138 h 1324114"/>
                    <a:gd name="connsiteX1489" fmla="*/ 35688 w 855312"/>
                    <a:gd name="connsiteY1489" fmla="*/ 696446 h 1324114"/>
                    <a:gd name="connsiteX1490" fmla="*/ 33842 w 855312"/>
                    <a:gd name="connsiteY1490" fmla="*/ 696070 h 1324114"/>
                    <a:gd name="connsiteX1491" fmla="*/ 32021 w 855312"/>
                    <a:gd name="connsiteY1491" fmla="*/ 695050 h 1324114"/>
                    <a:gd name="connsiteX1492" fmla="*/ 31438 w 855312"/>
                    <a:gd name="connsiteY1492" fmla="*/ 692451 h 1324114"/>
                    <a:gd name="connsiteX1493" fmla="*/ 29422 w 855312"/>
                    <a:gd name="connsiteY1493" fmla="*/ 694382 h 1324114"/>
                    <a:gd name="connsiteX1494" fmla="*/ 23569 w 855312"/>
                    <a:gd name="connsiteY1494" fmla="*/ 697138 h 1324114"/>
                    <a:gd name="connsiteX1495" fmla="*/ 22307 w 855312"/>
                    <a:gd name="connsiteY1495" fmla="*/ 698425 h 1324114"/>
                    <a:gd name="connsiteX1496" fmla="*/ 21262 w 855312"/>
                    <a:gd name="connsiteY1496" fmla="*/ 699895 h 1324114"/>
                    <a:gd name="connsiteX1497" fmla="*/ 18797 w 855312"/>
                    <a:gd name="connsiteY1497" fmla="*/ 701692 h 1324114"/>
                    <a:gd name="connsiteX1498" fmla="*/ 15822 w 855312"/>
                    <a:gd name="connsiteY1498" fmla="*/ 703003 h 1324114"/>
                    <a:gd name="connsiteX1499" fmla="*/ 13357 w 855312"/>
                    <a:gd name="connsiteY1499" fmla="*/ 702918 h 1324114"/>
                    <a:gd name="connsiteX1500" fmla="*/ 11742 w 855312"/>
                    <a:gd name="connsiteY1500" fmla="*/ 700866 h 1324114"/>
                    <a:gd name="connsiteX1501" fmla="*/ 9508 w 855312"/>
                    <a:gd name="connsiteY1501" fmla="*/ 695001 h 1324114"/>
                    <a:gd name="connsiteX1502" fmla="*/ 15932 w 855312"/>
                    <a:gd name="connsiteY1502" fmla="*/ 691698 h 1324114"/>
                    <a:gd name="connsiteX1503" fmla="*/ 20072 w 855312"/>
                    <a:gd name="connsiteY1503" fmla="*/ 688140 h 1324114"/>
                    <a:gd name="connsiteX1504" fmla="*/ 21384 w 855312"/>
                    <a:gd name="connsiteY1504" fmla="*/ 687375 h 1324114"/>
                    <a:gd name="connsiteX1505" fmla="*/ 22537 w 855312"/>
                    <a:gd name="connsiteY1505" fmla="*/ 687035 h 1324114"/>
                    <a:gd name="connsiteX1506" fmla="*/ 26787 w 855312"/>
                    <a:gd name="connsiteY1506" fmla="*/ 687485 h 1324114"/>
                    <a:gd name="connsiteX1507" fmla="*/ 29483 w 855312"/>
                    <a:gd name="connsiteY1507" fmla="*/ 687120 h 1324114"/>
                    <a:gd name="connsiteX1508" fmla="*/ 31790 w 855312"/>
                    <a:gd name="connsiteY1508" fmla="*/ 686209 h 1324114"/>
                    <a:gd name="connsiteX1509" fmla="*/ 34875 w 855312"/>
                    <a:gd name="connsiteY1509" fmla="*/ 684340 h 1324114"/>
                    <a:gd name="connsiteX1510" fmla="*/ 37643 w 855312"/>
                    <a:gd name="connsiteY1510" fmla="*/ 681899 h 1324114"/>
                    <a:gd name="connsiteX1511" fmla="*/ 38105 w 855312"/>
                    <a:gd name="connsiteY1511" fmla="*/ 680903 h 1324114"/>
                    <a:gd name="connsiteX1512" fmla="*/ 38384 w 855312"/>
                    <a:gd name="connsiteY1512" fmla="*/ 680041 h 1324114"/>
                    <a:gd name="connsiteX1513" fmla="*/ 38857 w 855312"/>
                    <a:gd name="connsiteY1513" fmla="*/ 677746 h 1324114"/>
                    <a:gd name="connsiteX1514" fmla="*/ 40230 w 855312"/>
                    <a:gd name="connsiteY1514" fmla="*/ 673447 h 1324114"/>
                    <a:gd name="connsiteX1515" fmla="*/ 41322 w 855312"/>
                    <a:gd name="connsiteY1515" fmla="*/ 670982 h 1324114"/>
                    <a:gd name="connsiteX1516" fmla="*/ 42002 w 855312"/>
                    <a:gd name="connsiteY1516" fmla="*/ 669222 h 1324114"/>
                    <a:gd name="connsiteX1517" fmla="*/ 42415 w 855312"/>
                    <a:gd name="connsiteY1517" fmla="*/ 667279 h 1324114"/>
                    <a:gd name="connsiteX1518" fmla="*/ 42573 w 855312"/>
                    <a:gd name="connsiteY1518" fmla="*/ 665542 h 1324114"/>
                    <a:gd name="connsiteX1519" fmla="*/ 42513 w 855312"/>
                    <a:gd name="connsiteY1519" fmla="*/ 663915 h 1324114"/>
                    <a:gd name="connsiteX1520" fmla="*/ 41201 w 855312"/>
                    <a:gd name="connsiteY1520" fmla="*/ 657540 h 1324114"/>
                    <a:gd name="connsiteX1521" fmla="*/ 41080 w 855312"/>
                    <a:gd name="connsiteY1521" fmla="*/ 656168 h 1324114"/>
                    <a:gd name="connsiteX1522" fmla="*/ 41080 w 855312"/>
                    <a:gd name="connsiteY1522" fmla="*/ 654759 h 1324114"/>
                    <a:gd name="connsiteX1523" fmla="*/ 41662 w 855312"/>
                    <a:gd name="connsiteY1523" fmla="*/ 651870 h 1324114"/>
                    <a:gd name="connsiteX1524" fmla="*/ 42063 w 855312"/>
                    <a:gd name="connsiteY1524" fmla="*/ 650327 h 1324114"/>
                    <a:gd name="connsiteX1525" fmla="*/ 46471 w 855312"/>
                    <a:gd name="connsiteY1525" fmla="*/ 641353 h 1324114"/>
                    <a:gd name="connsiteX1526" fmla="*/ 47115 w 855312"/>
                    <a:gd name="connsiteY1526" fmla="*/ 639192 h 1324114"/>
                    <a:gd name="connsiteX1527" fmla="*/ 47285 w 855312"/>
                    <a:gd name="connsiteY1527" fmla="*/ 637371 h 1324114"/>
                    <a:gd name="connsiteX1528" fmla="*/ 46993 w 855312"/>
                    <a:gd name="connsiteY1528" fmla="*/ 636108 h 1324114"/>
                    <a:gd name="connsiteX1529" fmla="*/ 46435 w 855312"/>
                    <a:gd name="connsiteY1529" fmla="*/ 635015 h 1324114"/>
                    <a:gd name="connsiteX1530" fmla="*/ 45560 w 855312"/>
                    <a:gd name="connsiteY1530" fmla="*/ 634165 h 1324114"/>
                    <a:gd name="connsiteX1531" fmla="*/ 44637 w 855312"/>
                    <a:gd name="connsiteY1531" fmla="*/ 633412 h 1324114"/>
                    <a:gd name="connsiteX1532" fmla="*/ 39125 w 855312"/>
                    <a:gd name="connsiteY1532" fmla="*/ 630243 h 1324114"/>
                    <a:gd name="connsiteX1533" fmla="*/ 38214 w 855312"/>
                    <a:gd name="connsiteY1533" fmla="*/ 629126 h 1324114"/>
                    <a:gd name="connsiteX1534" fmla="*/ 37643 w 855312"/>
                    <a:gd name="connsiteY1534" fmla="*/ 627863 h 1324114"/>
                    <a:gd name="connsiteX1535" fmla="*/ 37582 w 855312"/>
                    <a:gd name="connsiteY1535" fmla="*/ 626054 h 1324114"/>
                    <a:gd name="connsiteX1536" fmla="*/ 38044 w 855312"/>
                    <a:gd name="connsiteY1536" fmla="*/ 625058 h 1324114"/>
                    <a:gd name="connsiteX1537" fmla="*/ 38736 w 855312"/>
                    <a:gd name="connsiteY1537" fmla="*/ 624366 h 1324114"/>
                    <a:gd name="connsiteX1538" fmla="*/ 39537 w 855312"/>
                    <a:gd name="connsiteY1538" fmla="*/ 624111 h 1324114"/>
                    <a:gd name="connsiteX1539" fmla="*/ 45330 w 855312"/>
                    <a:gd name="connsiteY1539" fmla="*/ 622993 h 1324114"/>
                    <a:gd name="connsiteX1540" fmla="*/ 46714 w 855312"/>
                    <a:gd name="connsiteY1540" fmla="*/ 622350 h 1324114"/>
                    <a:gd name="connsiteX1541" fmla="*/ 48377 w 855312"/>
                    <a:gd name="connsiteY1541" fmla="*/ 621148 h 1324114"/>
                    <a:gd name="connsiteX1542" fmla="*/ 49057 w 855312"/>
                    <a:gd name="connsiteY1542" fmla="*/ 619739 h 1324114"/>
                    <a:gd name="connsiteX1543" fmla="*/ 49470 w 855312"/>
                    <a:gd name="connsiteY1543" fmla="*/ 618015 h 1324114"/>
                    <a:gd name="connsiteX1544" fmla="*/ 48717 w 855312"/>
                    <a:gd name="connsiteY1544" fmla="*/ 610377 h 1324114"/>
                    <a:gd name="connsiteX1545" fmla="*/ 48377 w 855312"/>
                    <a:gd name="connsiteY1545" fmla="*/ 608908 h 1324114"/>
                    <a:gd name="connsiteX1546" fmla="*/ 47928 w 855312"/>
                    <a:gd name="connsiteY1546" fmla="*/ 607851 h 1324114"/>
                    <a:gd name="connsiteX1547" fmla="*/ 47054 w 855312"/>
                    <a:gd name="connsiteY1547" fmla="*/ 606588 h 1324114"/>
                    <a:gd name="connsiteX1548" fmla="*/ 41832 w 855312"/>
                    <a:gd name="connsiteY1548" fmla="*/ 601063 h 1324114"/>
                    <a:gd name="connsiteX1549" fmla="*/ 40970 w 855312"/>
                    <a:gd name="connsiteY1549" fmla="*/ 599424 h 1324114"/>
                    <a:gd name="connsiteX1550" fmla="*/ 40618 w 855312"/>
                    <a:gd name="connsiteY1550" fmla="*/ 597846 h 1324114"/>
                    <a:gd name="connsiteX1551" fmla="*/ 40618 w 855312"/>
                    <a:gd name="connsiteY1551" fmla="*/ 596206 h 1324114"/>
                    <a:gd name="connsiteX1552" fmla="*/ 40970 w 855312"/>
                    <a:gd name="connsiteY1552" fmla="*/ 593802 h 1324114"/>
                    <a:gd name="connsiteX1553" fmla="*/ 40970 w 855312"/>
                    <a:gd name="connsiteY1553" fmla="*/ 592891 h 1324114"/>
                    <a:gd name="connsiteX1554" fmla="*/ 40800 w 855312"/>
                    <a:gd name="connsiteY1554" fmla="*/ 591337 h 1324114"/>
                    <a:gd name="connsiteX1555" fmla="*/ 40169 w 855312"/>
                    <a:gd name="connsiteY1555" fmla="*/ 589807 h 1324114"/>
                    <a:gd name="connsiteX1556" fmla="*/ 39477 w 855312"/>
                    <a:gd name="connsiteY1556" fmla="*/ 588544 h 1324114"/>
                    <a:gd name="connsiteX1557" fmla="*/ 37303 w 855312"/>
                    <a:gd name="connsiteY1557" fmla="*/ 586322 h 1324114"/>
                    <a:gd name="connsiteX1558" fmla="*/ 36781 w 855312"/>
                    <a:gd name="connsiteY1558" fmla="*/ 582825 h 1324114"/>
                    <a:gd name="connsiteX1559" fmla="*/ 38432 w 855312"/>
                    <a:gd name="connsiteY1559" fmla="*/ 579898 h 1324114"/>
                    <a:gd name="connsiteX1560" fmla="*/ 40169 w 855312"/>
                    <a:gd name="connsiteY1560" fmla="*/ 577445 h 1324114"/>
                    <a:gd name="connsiteX1561" fmla="*/ 40740 w 855312"/>
                    <a:gd name="connsiteY1561" fmla="*/ 573960 h 1324114"/>
                    <a:gd name="connsiteX1562" fmla="*/ 40047 w 855312"/>
                    <a:gd name="connsiteY1562" fmla="*/ 571228 h 1324114"/>
                    <a:gd name="connsiteX1563" fmla="*/ 38554 w 855312"/>
                    <a:gd name="connsiteY1563" fmla="*/ 560785 h 1324114"/>
                    <a:gd name="connsiteX1564" fmla="*/ 37060 w 855312"/>
                    <a:gd name="connsiteY1564" fmla="*/ 555236 h 1324114"/>
                    <a:gd name="connsiteX1565" fmla="*/ 36320 w 855312"/>
                    <a:gd name="connsiteY1565" fmla="*/ 553961 h 1324114"/>
                    <a:gd name="connsiteX1566" fmla="*/ 34935 w 855312"/>
                    <a:gd name="connsiteY1566" fmla="*/ 552613 h 1324114"/>
                    <a:gd name="connsiteX1567" fmla="*/ 29483 w 855312"/>
                    <a:gd name="connsiteY1567" fmla="*/ 549626 h 1324114"/>
                    <a:gd name="connsiteX1568" fmla="*/ 25986 w 855312"/>
                    <a:gd name="connsiteY1568" fmla="*/ 548339 h 1324114"/>
                    <a:gd name="connsiteX1569" fmla="*/ 24711 w 855312"/>
                    <a:gd name="connsiteY1569" fmla="*/ 548083 h 1324114"/>
                    <a:gd name="connsiteX1570" fmla="*/ 23739 w 855312"/>
                    <a:gd name="connsiteY1570" fmla="*/ 548290 h 1324114"/>
                    <a:gd name="connsiteX1571" fmla="*/ 21262 w 855312"/>
                    <a:gd name="connsiteY1571" fmla="*/ 550051 h 1324114"/>
                    <a:gd name="connsiteX1572" fmla="*/ 20133 w 855312"/>
                    <a:gd name="connsiteY1572" fmla="*/ 550646 h 1324114"/>
                    <a:gd name="connsiteX1573" fmla="*/ 18797 w 855312"/>
                    <a:gd name="connsiteY1573" fmla="*/ 551144 h 1324114"/>
                    <a:gd name="connsiteX1574" fmla="*/ 16332 w 855312"/>
                    <a:gd name="connsiteY1574" fmla="*/ 551593 h 1324114"/>
                    <a:gd name="connsiteX1575" fmla="*/ 14049 w 855312"/>
                    <a:gd name="connsiteY1575" fmla="*/ 551423 h 1324114"/>
                    <a:gd name="connsiteX1576" fmla="*/ 11281 w 855312"/>
                    <a:gd name="connsiteY1576" fmla="*/ 550622 h 1324114"/>
                    <a:gd name="connsiteX1577" fmla="*/ 11050 w 855312"/>
                    <a:gd name="connsiteY1577" fmla="*/ 547719 h 1324114"/>
                    <a:gd name="connsiteX1578" fmla="*/ 10067 w 855312"/>
                    <a:gd name="connsiteY1578" fmla="*/ 545922 h 1324114"/>
                    <a:gd name="connsiteX1579" fmla="*/ 9848 w 855312"/>
                    <a:gd name="connsiteY1579" fmla="*/ 545060 h 1324114"/>
                    <a:gd name="connsiteX1580" fmla="*/ 10188 w 855312"/>
                    <a:gd name="connsiteY1580" fmla="*/ 544368 h 1324114"/>
                    <a:gd name="connsiteX1581" fmla="*/ 12495 w 855312"/>
                    <a:gd name="connsiteY1581" fmla="*/ 543506 h 1324114"/>
                    <a:gd name="connsiteX1582" fmla="*/ 13467 w 855312"/>
                    <a:gd name="connsiteY1582" fmla="*/ 542571 h 1324114"/>
                    <a:gd name="connsiteX1583" fmla="*/ 14329 w 855312"/>
                    <a:gd name="connsiteY1583" fmla="*/ 541041 h 1324114"/>
                    <a:gd name="connsiteX1584" fmla="*/ 15822 w 855312"/>
                    <a:gd name="connsiteY1584" fmla="*/ 536523 h 1324114"/>
                    <a:gd name="connsiteX1585" fmla="*/ 18287 w 855312"/>
                    <a:gd name="connsiteY1585" fmla="*/ 533488 h 1324114"/>
                    <a:gd name="connsiteX1586" fmla="*/ 27297 w 855312"/>
                    <a:gd name="connsiteY1586" fmla="*/ 526530 h 1324114"/>
                    <a:gd name="connsiteX1587" fmla="*/ 28852 w 855312"/>
                    <a:gd name="connsiteY1587" fmla="*/ 525801 h 1324114"/>
                    <a:gd name="connsiteX1588" fmla="*/ 30406 w 855312"/>
                    <a:gd name="connsiteY1588" fmla="*/ 525522 h 1324114"/>
                    <a:gd name="connsiteX1589" fmla="*/ 31730 w 855312"/>
                    <a:gd name="connsiteY1589" fmla="*/ 525947 h 1324114"/>
                    <a:gd name="connsiteX1590" fmla="*/ 32470 w 855312"/>
                    <a:gd name="connsiteY1590" fmla="*/ 526773 h 1324114"/>
                    <a:gd name="connsiteX1591" fmla="*/ 32871 w 855312"/>
                    <a:gd name="connsiteY1591" fmla="*/ 528036 h 1324114"/>
                    <a:gd name="connsiteX1592" fmla="*/ 33041 w 855312"/>
                    <a:gd name="connsiteY1592" fmla="*/ 529311 h 1324114"/>
                    <a:gd name="connsiteX1593" fmla="*/ 32810 w 855312"/>
                    <a:gd name="connsiteY1593" fmla="*/ 531642 h 1324114"/>
                    <a:gd name="connsiteX1594" fmla="*/ 32580 w 855312"/>
                    <a:gd name="connsiteY1594" fmla="*/ 532492 h 1324114"/>
                    <a:gd name="connsiteX1595" fmla="*/ 32531 w 855312"/>
                    <a:gd name="connsiteY1595" fmla="*/ 533075 h 1324114"/>
                    <a:gd name="connsiteX1596" fmla="*/ 32640 w 855312"/>
                    <a:gd name="connsiteY1596" fmla="*/ 533536 h 1324114"/>
                    <a:gd name="connsiteX1597" fmla="*/ 33223 w 855312"/>
                    <a:gd name="connsiteY1597" fmla="*/ 533840 h 1324114"/>
                    <a:gd name="connsiteX1598" fmla="*/ 34316 w 855312"/>
                    <a:gd name="connsiteY1598" fmla="*/ 534131 h 1324114"/>
                    <a:gd name="connsiteX1599" fmla="*/ 40400 w 855312"/>
                    <a:gd name="connsiteY1599" fmla="*/ 534131 h 1324114"/>
                    <a:gd name="connsiteX1600" fmla="*/ 45220 w 855312"/>
                    <a:gd name="connsiteY1600" fmla="*/ 533378 h 1324114"/>
                    <a:gd name="connsiteX1601" fmla="*/ 47503 w 855312"/>
                    <a:gd name="connsiteY1601" fmla="*/ 532516 h 1324114"/>
                    <a:gd name="connsiteX1602" fmla="*/ 49470 w 855312"/>
                    <a:gd name="connsiteY1602" fmla="*/ 531509 h 1324114"/>
                    <a:gd name="connsiteX1603" fmla="*/ 52737 w 855312"/>
                    <a:gd name="connsiteY1603" fmla="*/ 528983 h 1324114"/>
                    <a:gd name="connsiteX1604" fmla="*/ 54534 w 855312"/>
                    <a:gd name="connsiteY1604" fmla="*/ 527222 h 1324114"/>
                    <a:gd name="connsiteX1605" fmla="*/ 57970 w 855312"/>
                    <a:gd name="connsiteY1605" fmla="*/ 521940 h 1324114"/>
                    <a:gd name="connsiteX1606" fmla="*/ 61686 w 855312"/>
                    <a:gd name="connsiteY1606" fmla="*/ 514933 h 1324114"/>
                    <a:gd name="connsiteX1607" fmla="*/ 62390 w 855312"/>
                    <a:gd name="connsiteY1607" fmla="*/ 513075 h 1324114"/>
                    <a:gd name="connsiteX1608" fmla="*/ 61929 w 855312"/>
                    <a:gd name="connsiteY1608" fmla="*/ 511303 h 1324114"/>
                    <a:gd name="connsiteX1609" fmla="*/ 61006 w 855312"/>
                    <a:gd name="connsiteY1609" fmla="*/ 510040 h 1324114"/>
                    <a:gd name="connsiteX1610" fmla="*/ 58541 w 855312"/>
                    <a:gd name="connsiteY1610" fmla="*/ 507793 h 1324114"/>
                    <a:gd name="connsiteX1611" fmla="*/ 58310 w 855312"/>
                    <a:gd name="connsiteY1611" fmla="*/ 506968 h 1324114"/>
                    <a:gd name="connsiteX1612" fmla="*/ 58893 w 855312"/>
                    <a:gd name="connsiteY1612" fmla="*/ 505972 h 1324114"/>
                    <a:gd name="connsiteX1613" fmla="*/ 64115 w 855312"/>
                    <a:gd name="connsiteY1613" fmla="*/ 499136 h 1324114"/>
                    <a:gd name="connsiteX1614" fmla="*/ 67612 w 855312"/>
                    <a:gd name="connsiteY1614" fmla="*/ 492068 h 1324114"/>
                    <a:gd name="connsiteX1615" fmla="*/ 69968 w 855312"/>
                    <a:gd name="connsiteY1615" fmla="*/ 488656 h 1324114"/>
                    <a:gd name="connsiteX1616" fmla="*/ 71510 w 855312"/>
                    <a:gd name="connsiteY1616" fmla="*/ 485960 h 1324114"/>
                    <a:gd name="connsiteX1617" fmla="*/ 72833 w 855312"/>
                    <a:gd name="connsiteY1617" fmla="*/ 482657 h 1324114"/>
                    <a:gd name="connsiteX1618" fmla="*/ 73586 w 855312"/>
                    <a:gd name="connsiteY1618" fmla="*/ 477885 h 1324114"/>
                    <a:gd name="connsiteX1619" fmla="*/ 73647 w 855312"/>
                    <a:gd name="connsiteY1619" fmla="*/ 475360 h 1324114"/>
                    <a:gd name="connsiteX1620" fmla="*/ 73295 w 855312"/>
                    <a:gd name="connsiteY1620" fmla="*/ 473611 h 1324114"/>
                    <a:gd name="connsiteX1621" fmla="*/ 72724 w 855312"/>
                    <a:gd name="connsiteY1621" fmla="*/ 472810 h 1324114"/>
                    <a:gd name="connsiteX1622" fmla="*/ 71923 w 855312"/>
                    <a:gd name="connsiteY1622" fmla="*/ 472288 h 1324114"/>
                    <a:gd name="connsiteX1623" fmla="*/ 71000 w 855312"/>
                    <a:gd name="connsiteY1623" fmla="*/ 471947 h 1324114"/>
                    <a:gd name="connsiteX1624" fmla="*/ 66750 w 855312"/>
                    <a:gd name="connsiteY1624" fmla="*/ 470891 h 1324114"/>
                    <a:gd name="connsiteX1625" fmla="*/ 65426 w 855312"/>
                    <a:gd name="connsiteY1625" fmla="*/ 470308 h 1324114"/>
                    <a:gd name="connsiteX1626" fmla="*/ 64515 w 855312"/>
                    <a:gd name="connsiteY1626" fmla="*/ 469507 h 1324114"/>
                    <a:gd name="connsiteX1627" fmla="*/ 64345 w 855312"/>
                    <a:gd name="connsiteY1627" fmla="*/ 468110 h 1324114"/>
                    <a:gd name="connsiteX1628" fmla="*/ 64977 w 855312"/>
                    <a:gd name="connsiteY1628" fmla="*/ 466690 h 1324114"/>
                    <a:gd name="connsiteX1629" fmla="*/ 67041 w 855312"/>
                    <a:gd name="connsiteY1629" fmla="*/ 464492 h 1324114"/>
                    <a:gd name="connsiteX1630" fmla="*/ 68595 w 855312"/>
                    <a:gd name="connsiteY1630" fmla="*/ 463545 h 1324114"/>
                    <a:gd name="connsiteX1631" fmla="*/ 70429 w 855312"/>
                    <a:gd name="connsiteY1631" fmla="*/ 462937 h 1324114"/>
                    <a:gd name="connsiteX1632" fmla="*/ 78176 w 855312"/>
                    <a:gd name="connsiteY1632" fmla="*/ 462731 h 1324114"/>
                    <a:gd name="connsiteX1633" fmla="*/ 79500 w 855312"/>
                    <a:gd name="connsiteY1633" fmla="*/ 461930 h 1324114"/>
                    <a:gd name="connsiteX1634" fmla="*/ 80471 w 855312"/>
                    <a:gd name="connsiteY1634" fmla="*/ 460351 h 1324114"/>
                    <a:gd name="connsiteX1635" fmla="*/ 80933 w 855312"/>
                    <a:gd name="connsiteY1635" fmla="*/ 456878 h 1324114"/>
                    <a:gd name="connsiteX1636" fmla="*/ 80653 w 855312"/>
                    <a:gd name="connsiteY1636" fmla="*/ 450455 h 1324114"/>
                    <a:gd name="connsiteX1637" fmla="*/ 81746 w 855312"/>
                    <a:gd name="connsiteY1637" fmla="*/ 442440 h 1324114"/>
                    <a:gd name="connsiteX1638" fmla="*/ 81686 w 855312"/>
                    <a:gd name="connsiteY1638" fmla="*/ 439659 h 1324114"/>
                    <a:gd name="connsiteX1639" fmla="*/ 81285 w 855312"/>
                    <a:gd name="connsiteY1639" fmla="*/ 437632 h 1324114"/>
                    <a:gd name="connsiteX1640" fmla="*/ 80714 w 855312"/>
                    <a:gd name="connsiteY1640" fmla="*/ 436138 h 1324114"/>
                    <a:gd name="connsiteX1641" fmla="*/ 79852 w 855312"/>
                    <a:gd name="connsiteY1641" fmla="*/ 434851 h 1324114"/>
                    <a:gd name="connsiteX1642" fmla="*/ 78468 w 855312"/>
                    <a:gd name="connsiteY1642" fmla="*/ 433503 h 1324114"/>
                    <a:gd name="connsiteX1643" fmla="*/ 77144 w 855312"/>
                    <a:gd name="connsiteY1643" fmla="*/ 432641 h 1324114"/>
                    <a:gd name="connsiteX1644" fmla="*/ 61067 w 855312"/>
                    <a:gd name="connsiteY1644" fmla="*/ 425161 h 1324114"/>
                    <a:gd name="connsiteX1645" fmla="*/ 59925 w 855312"/>
                    <a:gd name="connsiteY1645" fmla="*/ 424869 h 1324114"/>
                    <a:gd name="connsiteX1646" fmla="*/ 58942 w 855312"/>
                    <a:gd name="connsiteY1646" fmla="*/ 424991 h 1324114"/>
                    <a:gd name="connsiteX1647" fmla="*/ 58031 w 855312"/>
                    <a:gd name="connsiteY1647" fmla="*/ 425476 h 1324114"/>
                    <a:gd name="connsiteX1648" fmla="*/ 56355 w 855312"/>
                    <a:gd name="connsiteY1648" fmla="*/ 426715 h 1324114"/>
                    <a:gd name="connsiteX1649" fmla="*/ 55663 w 855312"/>
                    <a:gd name="connsiteY1649" fmla="*/ 427140 h 1324114"/>
                    <a:gd name="connsiteX1650" fmla="*/ 54753 w 855312"/>
                    <a:gd name="connsiteY1650" fmla="*/ 427516 h 1324114"/>
                    <a:gd name="connsiteX1651" fmla="*/ 53951 w 855312"/>
                    <a:gd name="connsiteY1651" fmla="*/ 427516 h 1324114"/>
                    <a:gd name="connsiteX1652" fmla="*/ 53138 w 855312"/>
                    <a:gd name="connsiteY1652" fmla="*/ 427055 h 1324114"/>
                    <a:gd name="connsiteX1653" fmla="*/ 52615 w 855312"/>
                    <a:gd name="connsiteY1653" fmla="*/ 425816 h 1324114"/>
                    <a:gd name="connsiteX1654" fmla="*/ 52336 w 855312"/>
                    <a:gd name="connsiteY1654" fmla="*/ 424262 h 1324114"/>
                    <a:gd name="connsiteX1655" fmla="*/ 52615 w 855312"/>
                    <a:gd name="connsiteY1655" fmla="*/ 420643 h 1324114"/>
                    <a:gd name="connsiteX1656" fmla="*/ 52615 w 855312"/>
                    <a:gd name="connsiteY1656" fmla="*/ 419696 h 1324114"/>
                    <a:gd name="connsiteX1657" fmla="*/ 52336 w 855312"/>
                    <a:gd name="connsiteY1657" fmla="*/ 418931 h 1324114"/>
                    <a:gd name="connsiteX1658" fmla="*/ 51025 w 855312"/>
                    <a:gd name="connsiteY1658" fmla="*/ 416855 h 1324114"/>
                    <a:gd name="connsiteX1659" fmla="*/ 50211 w 855312"/>
                    <a:gd name="connsiteY1659" fmla="*/ 415228 h 1324114"/>
                    <a:gd name="connsiteX1660" fmla="*/ 49750 w 855312"/>
                    <a:gd name="connsiteY1660" fmla="*/ 413613 h 1324114"/>
                    <a:gd name="connsiteX1661" fmla="*/ 49470 w 855312"/>
                    <a:gd name="connsiteY1661" fmla="*/ 410395 h 1324114"/>
                    <a:gd name="connsiteX1662" fmla="*/ 49810 w 855312"/>
                    <a:gd name="connsiteY1662" fmla="*/ 408926 h 1324114"/>
                    <a:gd name="connsiteX1663" fmla="*/ 50673 w 855312"/>
                    <a:gd name="connsiteY1663" fmla="*/ 407991 h 1324114"/>
                    <a:gd name="connsiteX1664" fmla="*/ 52798 w 855312"/>
                    <a:gd name="connsiteY1664" fmla="*/ 407384 h 1324114"/>
                    <a:gd name="connsiteX1665" fmla="*/ 56076 w 855312"/>
                    <a:gd name="connsiteY1665" fmla="*/ 407068 h 1324114"/>
                    <a:gd name="connsiteX1666" fmla="*/ 57448 w 855312"/>
                    <a:gd name="connsiteY1666" fmla="*/ 406813 h 1324114"/>
                    <a:gd name="connsiteX1667" fmla="*/ 58432 w 855312"/>
                    <a:gd name="connsiteY1667" fmla="*/ 406266 h 1324114"/>
                    <a:gd name="connsiteX1668" fmla="*/ 59282 w 855312"/>
                    <a:gd name="connsiteY1668" fmla="*/ 405441 h 1324114"/>
                    <a:gd name="connsiteX1669" fmla="*/ 59513 w 855312"/>
                    <a:gd name="connsiteY1669" fmla="*/ 404372 h 1324114"/>
                    <a:gd name="connsiteX1670" fmla="*/ 59173 w 855312"/>
                    <a:gd name="connsiteY1670" fmla="*/ 403656 h 1324114"/>
                    <a:gd name="connsiteX1671" fmla="*/ 58541 w 855312"/>
                    <a:gd name="connsiteY1671" fmla="*/ 403194 h 1324114"/>
                    <a:gd name="connsiteX1672" fmla="*/ 55906 w 855312"/>
                    <a:gd name="connsiteY1672" fmla="*/ 402077 h 1324114"/>
                    <a:gd name="connsiteX1673" fmla="*/ 54753 w 855312"/>
                    <a:gd name="connsiteY1673" fmla="*/ 401409 h 1324114"/>
                    <a:gd name="connsiteX1674" fmla="*/ 53599 w 855312"/>
                    <a:gd name="connsiteY1674" fmla="*/ 400656 h 1324114"/>
                    <a:gd name="connsiteX1675" fmla="*/ 52919 w 855312"/>
                    <a:gd name="connsiteY1675" fmla="*/ 399770 h 1324114"/>
                    <a:gd name="connsiteX1676" fmla="*/ 52457 w 855312"/>
                    <a:gd name="connsiteY1676" fmla="*/ 398677 h 1324114"/>
                    <a:gd name="connsiteX1677" fmla="*/ 52227 w 855312"/>
                    <a:gd name="connsiteY1677" fmla="*/ 397305 h 1324114"/>
                    <a:gd name="connsiteX1678" fmla="*/ 52166 w 855312"/>
                    <a:gd name="connsiteY1678" fmla="*/ 395896 h 1324114"/>
                    <a:gd name="connsiteX1679" fmla="*/ 51935 w 855312"/>
                    <a:gd name="connsiteY1679" fmla="*/ 394548 h 1324114"/>
                    <a:gd name="connsiteX1680" fmla="*/ 51425 w 855312"/>
                    <a:gd name="connsiteY1680" fmla="*/ 393698 h 1324114"/>
                    <a:gd name="connsiteX1681" fmla="*/ 50733 w 855312"/>
                    <a:gd name="connsiteY1681" fmla="*/ 393176 h 1324114"/>
                    <a:gd name="connsiteX1682" fmla="*/ 49932 w 855312"/>
                    <a:gd name="connsiteY1682" fmla="*/ 393152 h 1324114"/>
                    <a:gd name="connsiteX1683" fmla="*/ 47867 w 855312"/>
                    <a:gd name="connsiteY1683" fmla="*/ 393431 h 1324114"/>
                    <a:gd name="connsiteX1684" fmla="*/ 46823 w 855312"/>
                    <a:gd name="connsiteY1684" fmla="*/ 393395 h 1324114"/>
                    <a:gd name="connsiteX1685" fmla="*/ 45743 w 855312"/>
                    <a:gd name="connsiteY1685" fmla="*/ 393164 h 1324114"/>
                    <a:gd name="connsiteX1686" fmla="*/ 44820 w 855312"/>
                    <a:gd name="connsiteY1686" fmla="*/ 392678 h 1324114"/>
                    <a:gd name="connsiteX1687" fmla="*/ 44249 w 855312"/>
                    <a:gd name="connsiteY1687" fmla="*/ 391877 h 1324114"/>
                    <a:gd name="connsiteX1688" fmla="*/ 44067 w 855312"/>
                    <a:gd name="connsiteY1688" fmla="*/ 391245 h 1324114"/>
                    <a:gd name="connsiteX1689" fmla="*/ 43909 w 855312"/>
                    <a:gd name="connsiteY1689" fmla="*/ 390420 h 1324114"/>
                    <a:gd name="connsiteX1690" fmla="*/ 43836 w 855312"/>
                    <a:gd name="connsiteY1690" fmla="*/ 389533 h 1324114"/>
                    <a:gd name="connsiteX1691" fmla="*/ 43387 w 855312"/>
                    <a:gd name="connsiteY1691" fmla="*/ 387250 h 1324114"/>
                    <a:gd name="connsiteX1692" fmla="*/ 42925 w 855312"/>
                    <a:gd name="connsiteY1692" fmla="*/ 386449 h 1324114"/>
                    <a:gd name="connsiteX1693" fmla="*/ 42452 w 855312"/>
                    <a:gd name="connsiteY1693" fmla="*/ 386024 h 1324114"/>
                    <a:gd name="connsiteX1694" fmla="*/ 41893 w 855312"/>
                    <a:gd name="connsiteY1694" fmla="*/ 385963 h 1324114"/>
                    <a:gd name="connsiteX1695" fmla="*/ 41031 w 855312"/>
                    <a:gd name="connsiteY1695" fmla="*/ 386206 h 1324114"/>
                    <a:gd name="connsiteX1696" fmla="*/ 39537 w 855312"/>
                    <a:gd name="connsiteY1696" fmla="*/ 386838 h 1324114"/>
                    <a:gd name="connsiteX1697" fmla="*/ 37461 w 855312"/>
                    <a:gd name="connsiteY1697" fmla="*/ 388271 h 1324114"/>
                    <a:gd name="connsiteX1698" fmla="*/ 36939 w 855312"/>
                    <a:gd name="connsiteY1698" fmla="*/ 388501 h 1324114"/>
                    <a:gd name="connsiteX1699" fmla="*/ 36490 w 855312"/>
                    <a:gd name="connsiteY1699" fmla="*/ 388683 h 1324114"/>
                    <a:gd name="connsiteX1700" fmla="*/ 35967 w 855312"/>
                    <a:gd name="connsiteY1700" fmla="*/ 388623 h 1324114"/>
                    <a:gd name="connsiteX1701" fmla="*/ 35287 w 855312"/>
                    <a:gd name="connsiteY1701" fmla="*/ 388392 h 1324114"/>
                    <a:gd name="connsiteX1702" fmla="*/ 34765 w 855312"/>
                    <a:gd name="connsiteY1702" fmla="*/ 387930 h 1324114"/>
                    <a:gd name="connsiteX1703" fmla="*/ 34595 w 855312"/>
                    <a:gd name="connsiteY1703" fmla="*/ 387445 h 1324114"/>
                    <a:gd name="connsiteX1704" fmla="*/ 34717 w 855312"/>
                    <a:gd name="connsiteY1704" fmla="*/ 386692 h 1324114"/>
                    <a:gd name="connsiteX1705" fmla="*/ 37121 w 855312"/>
                    <a:gd name="connsiteY1705" fmla="*/ 381434 h 1324114"/>
                    <a:gd name="connsiteX1706" fmla="*/ 38105 w 855312"/>
                    <a:gd name="connsiteY1706" fmla="*/ 377645 h 1324114"/>
                    <a:gd name="connsiteX1707" fmla="*/ 38955 w 855312"/>
                    <a:gd name="connsiteY1707" fmla="*/ 376589 h 1324114"/>
                    <a:gd name="connsiteX1708" fmla="*/ 40800 w 855312"/>
                    <a:gd name="connsiteY1708" fmla="*/ 376795 h 1324114"/>
                    <a:gd name="connsiteX1709" fmla="*/ 42112 w 855312"/>
                    <a:gd name="connsiteY1709" fmla="*/ 377767 h 1324114"/>
                    <a:gd name="connsiteX1710" fmla="*/ 43387 w 855312"/>
                    <a:gd name="connsiteY1710" fmla="*/ 379090 h 1324114"/>
                    <a:gd name="connsiteX1711" fmla="*/ 44577 w 855312"/>
                    <a:gd name="connsiteY1711" fmla="*/ 379916 h 1324114"/>
                    <a:gd name="connsiteX1712" fmla="*/ 45913 w 855312"/>
                    <a:gd name="connsiteY1712" fmla="*/ 380171 h 1324114"/>
                    <a:gd name="connsiteX1713" fmla="*/ 47224 w 855312"/>
                    <a:gd name="connsiteY1713" fmla="*/ 379807 h 1324114"/>
                    <a:gd name="connsiteX1714" fmla="*/ 48317 w 855312"/>
                    <a:gd name="connsiteY1714" fmla="*/ 378738 h 1324114"/>
                    <a:gd name="connsiteX1715" fmla="*/ 48778 w 855312"/>
                    <a:gd name="connsiteY1715" fmla="*/ 377937 h 1324114"/>
                    <a:gd name="connsiteX1716" fmla="*/ 50041 w 855312"/>
                    <a:gd name="connsiteY1716" fmla="*/ 373930 h 1324114"/>
                    <a:gd name="connsiteX1717" fmla="*/ 50733 w 855312"/>
                    <a:gd name="connsiteY1717" fmla="*/ 373128 h 1324114"/>
                    <a:gd name="connsiteX1718" fmla="*/ 51425 w 855312"/>
                    <a:gd name="connsiteY1718" fmla="*/ 372837 h 1324114"/>
                    <a:gd name="connsiteX1719" fmla="*/ 52737 w 855312"/>
                    <a:gd name="connsiteY1719" fmla="*/ 373092 h 1324114"/>
                    <a:gd name="connsiteX1720" fmla="*/ 53720 w 855312"/>
                    <a:gd name="connsiteY1720" fmla="*/ 373784 h 1324114"/>
                    <a:gd name="connsiteX1721" fmla="*/ 54534 w 855312"/>
                    <a:gd name="connsiteY1721" fmla="*/ 374682 h 1324114"/>
                    <a:gd name="connsiteX1722" fmla="*/ 55384 w 855312"/>
                    <a:gd name="connsiteY1722" fmla="*/ 375800 h 1324114"/>
                    <a:gd name="connsiteX1723" fmla="*/ 56246 w 855312"/>
                    <a:gd name="connsiteY1723" fmla="*/ 376747 h 1324114"/>
                    <a:gd name="connsiteX1724" fmla="*/ 57448 w 855312"/>
                    <a:gd name="connsiteY1724" fmla="*/ 377233 h 1324114"/>
                    <a:gd name="connsiteX1725" fmla="*/ 58650 w 855312"/>
                    <a:gd name="connsiteY1725" fmla="*/ 376892 h 1324114"/>
                    <a:gd name="connsiteX1726" fmla="*/ 59974 w 855312"/>
                    <a:gd name="connsiteY1726" fmla="*/ 375605 h 1324114"/>
                    <a:gd name="connsiteX1727" fmla="*/ 63180 w 855312"/>
                    <a:gd name="connsiteY1727" fmla="*/ 371926 h 1324114"/>
                    <a:gd name="connsiteX1728" fmla="*/ 64115 w 855312"/>
                    <a:gd name="connsiteY1728" fmla="*/ 371100 h 1324114"/>
                    <a:gd name="connsiteX1729" fmla="*/ 65147 w 855312"/>
                    <a:gd name="connsiteY1729" fmla="*/ 370433 h 1324114"/>
                    <a:gd name="connsiteX1730" fmla="*/ 67503 w 855312"/>
                    <a:gd name="connsiteY1730" fmla="*/ 369145 h 1324114"/>
                    <a:gd name="connsiteX1731" fmla="*/ 68595 w 855312"/>
                    <a:gd name="connsiteY1731" fmla="*/ 368429 h 1324114"/>
                    <a:gd name="connsiteX1732" fmla="*/ 69567 w 855312"/>
                    <a:gd name="connsiteY1732" fmla="*/ 367421 h 1324114"/>
                    <a:gd name="connsiteX1733" fmla="*/ 70308 w 855312"/>
                    <a:gd name="connsiteY1733" fmla="*/ 366243 h 1324114"/>
                    <a:gd name="connsiteX1734" fmla="*/ 70939 w 855312"/>
                    <a:gd name="connsiteY1734" fmla="*/ 364956 h 1324114"/>
                    <a:gd name="connsiteX1735" fmla="*/ 72554 w 855312"/>
                    <a:gd name="connsiteY1735" fmla="*/ 358459 h 1324114"/>
                    <a:gd name="connsiteX1736" fmla="*/ 73064 w 855312"/>
                    <a:gd name="connsiteY1736" fmla="*/ 357488 h 1324114"/>
                    <a:gd name="connsiteX1737" fmla="*/ 73987 w 855312"/>
                    <a:gd name="connsiteY1737" fmla="*/ 357002 h 1324114"/>
                    <a:gd name="connsiteX1738" fmla="*/ 75189 w 855312"/>
                    <a:gd name="connsiteY1738" fmla="*/ 357063 h 1324114"/>
                    <a:gd name="connsiteX1739" fmla="*/ 77666 w 855312"/>
                    <a:gd name="connsiteY1739" fmla="*/ 357889 h 1324114"/>
                    <a:gd name="connsiteX1740" fmla="*/ 80532 w 855312"/>
                    <a:gd name="connsiteY1740" fmla="*/ 359589 h 1324114"/>
                    <a:gd name="connsiteX1741" fmla="*/ 82135 w 855312"/>
                    <a:gd name="connsiteY1741" fmla="*/ 360135 h 1324114"/>
                    <a:gd name="connsiteX1742" fmla="*/ 88352 w 855312"/>
                    <a:gd name="connsiteY1742" fmla="*/ 360682 h 1324114"/>
                    <a:gd name="connsiteX1743" fmla="*/ 89894 w 855312"/>
                    <a:gd name="connsiteY1743" fmla="*/ 361022 h 1324114"/>
                    <a:gd name="connsiteX1744" fmla="*/ 90817 w 855312"/>
                    <a:gd name="connsiteY1744" fmla="*/ 361423 h 1324114"/>
                    <a:gd name="connsiteX1745" fmla="*/ 91157 w 855312"/>
                    <a:gd name="connsiteY1745" fmla="*/ 363122 h 1324114"/>
                    <a:gd name="connsiteX1746" fmla="*/ 91546 w 855312"/>
                    <a:gd name="connsiteY1746" fmla="*/ 366255 h 1324114"/>
                    <a:gd name="connsiteX1747" fmla="*/ 91971 w 855312"/>
                    <a:gd name="connsiteY1747" fmla="*/ 367202 h 1324114"/>
                    <a:gd name="connsiteX1748" fmla="*/ 93853 w 855312"/>
                    <a:gd name="connsiteY1748" fmla="*/ 369595 h 1324114"/>
                    <a:gd name="connsiteX1749" fmla="*/ 94496 w 855312"/>
                    <a:gd name="connsiteY1749" fmla="*/ 370785 h 1324114"/>
                    <a:gd name="connsiteX1750" fmla="*/ 94836 w 855312"/>
                    <a:gd name="connsiteY1750" fmla="*/ 371707 h 1324114"/>
                    <a:gd name="connsiteX1751" fmla="*/ 94836 w 855312"/>
                    <a:gd name="connsiteY1751" fmla="*/ 372509 h 1324114"/>
                    <a:gd name="connsiteX1752" fmla="*/ 94715 w 855312"/>
                    <a:gd name="connsiteY1752" fmla="*/ 373201 h 1324114"/>
                    <a:gd name="connsiteX1753" fmla="*/ 94776 w 855312"/>
                    <a:gd name="connsiteY1753" fmla="*/ 374051 h 1324114"/>
                    <a:gd name="connsiteX1754" fmla="*/ 94958 w 855312"/>
                    <a:gd name="connsiteY1754" fmla="*/ 374597 h 1324114"/>
                    <a:gd name="connsiteX1755" fmla="*/ 95346 w 855312"/>
                    <a:gd name="connsiteY1755" fmla="*/ 374998 h 1324114"/>
                    <a:gd name="connsiteX1756" fmla="*/ 95978 w 855312"/>
                    <a:gd name="connsiteY1756" fmla="*/ 375277 h 1324114"/>
                    <a:gd name="connsiteX1757" fmla="*/ 96961 w 855312"/>
                    <a:gd name="connsiteY1757" fmla="*/ 375338 h 1324114"/>
                    <a:gd name="connsiteX1758" fmla="*/ 98103 w 855312"/>
                    <a:gd name="connsiteY1758" fmla="*/ 375059 h 1324114"/>
                    <a:gd name="connsiteX1759" fmla="*/ 99936 w 855312"/>
                    <a:gd name="connsiteY1759" fmla="*/ 374258 h 1324114"/>
                    <a:gd name="connsiteX1760" fmla="*/ 101430 w 855312"/>
                    <a:gd name="connsiteY1760" fmla="*/ 373347 h 1324114"/>
                    <a:gd name="connsiteX1761" fmla="*/ 107586 w 855312"/>
                    <a:gd name="connsiteY1761" fmla="*/ 367858 h 1324114"/>
                    <a:gd name="connsiteX1762" fmla="*/ 109019 w 855312"/>
                    <a:gd name="connsiteY1762" fmla="*/ 366863 h 1324114"/>
                    <a:gd name="connsiteX1763" fmla="*/ 110391 w 855312"/>
                    <a:gd name="connsiteY1763" fmla="*/ 366255 h 1324114"/>
                    <a:gd name="connsiteX1764" fmla="*/ 111715 w 855312"/>
                    <a:gd name="connsiteY1764" fmla="*/ 365939 h 1324114"/>
                    <a:gd name="connsiteX1765" fmla="*/ 115322 w 855312"/>
                    <a:gd name="connsiteY1765" fmla="*/ 365539 h 1324114"/>
                    <a:gd name="connsiteX1766" fmla="*/ 117289 w 855312"/>
                    <a:gd name="connsiteY1766" fmla="*/ 364823 h 1324114"/>
                    <a:gd name="connsiteX1767" fmla="*/ 117908 w 855312"/>
                    <a:gd name="connsiteY1767" fmla="*/ 363292 h 1324114"/>
                    <a:gd name="connsiteX1768" fmla="*/ 118430 w 855312"/>
                    <a:gd name="connsiteY1768" fmla="*/ 361143 h 1324114"/>
                    <a:gd name="connsiteX1769" fmla="*/ 113257 w 855312"/>
                    <a:gd name="connsiteY1769" fmla="*/ 356031 h 1324114"/>
                    <a:gd name="connsiteX1770" fmla="*/ 116135 w 855312"/>
                    <a:gd name="connsiteY1770" fmla="*/ 353809 h 1324114"/>
                    <a:gd name="connsiteX1771" fmla="*/ 117568 w 855312"/>
                    <a:gd name="connsiteY1771" fmla="*/ 352910 h 1324114"/>
                    <a:gd name="connsiteX1772" fmla="*/ 118491 w 855312"/>
                    <a:gd name="connsiteY1772" fmla="*/ 352012 h 1324114"/>
                    <a:gd name="connsiteX1773" fmla="*/ 119062 w 855312"/>
                    <a:gd name="connsiteY1773" fmla="*/ 351089 h 1324114"/>
                    <a:gd name="connsiteX1774" fmla="*/ 120847 w 855312"/>
                    <a:gd name="connsiteY1774" fmla="*/ 345127 h 1324114"/>
                    <a:gd name="connsiteX1775" fmla="*/ 121466 w 855312"/>
                    <a:gd name="connsiteY1775" fmla="*/ 344313 h 1324114"/>
                    <a:gd name="connsiteX1776" fmla="*/ 122632 w 855312"/>
                    <a:gd name="connsiteY1776" fmla="*/ 343840 h 1324114"/>
                    <a:gd name="connsiteX1777" fmla="*/ 124574 w 855312"/>
                    <a:gd name="connsiteY1777" fmla="*/ 343840 h 1324114"/>
                    <a:gd name="connsiteX1778" fmla="*/ 126177 w 855312"/>
                    <a:gd name="connsiteY1778" fmla="*/ 343609 h 1324114"/>
                    <a:gd name="connsiteX1779" fmla="*/ 127501 w 855312"/>
                    <a:gd name="connsiteY1779" fmla="*/ 343002 h 1324114"/>
                    <a:gd name="connsiteX1780" fmla="*/ 129043 w 855312"/>
                    <a:gd name="connsiteY1780" fmla="*/ 341629 h 1324114"/>
                    <a:gd name="connsiteX1781" fmla="*/ 130439 w 855312"/>
                    <a:gd name="connsiteY1781" fmla="*/ 339383 h 1324114"/>
                    <a:gd name="connsiteX1782" fmla="*/ 130998 w 855312"/>
                    <a:gd name="connsiteY1782" fmla="*/ 338970 h 1324114"/>
                    <a:gd name="connsiteX1783" fmla="*/ 132152 w 855312"/>
                    <a:gd name="connsiteY1783" fmla="*/ 338521 h 1324114"/>
                    <a:gd name="connsiteX1784" fmla="*/ 134568 w 855312"/>
                    <a:gd name="connsiteY1784" fmla="*/ 337999 h 1324114"/>
                    <a:gd name="connsiteX1785" fmla="*/ 138818 w 855312"/>
                    <a:gd name="connsiteY1785" fmla="*/ 335704 h 1324114"/>
                    <a:gd name="connsiteX1786" fmla="*/ 140190 w 855312"/>
                    <a:gd name="connsiteY1786" fmla="*/ 334672 h 1324114"/>
                    <a:gd name="connsiteX1787" fmla="*/ 141684 w 855312"/>
                    <a:gd name="connsiteY1787" fmla="*/ 333979 h 1324114"/>
                    <a:gd name="connsiteX1788" fmla="*/ 143809 w 855312"/>
                    <a:gd name="connsiteY1788" fmla="*/ 333724 h 1324114"/>
                    <a:gd name="connsiteX1789" fmla="*/ 146966 w 855312"/>
                    <a:gd name="connsiteY1789" fmla="*/ 334271 h 1324114"/>
                    <a:gd name="connsiteX1790" fmla="*/ 149783 w 855312"/>
                    <a:gd name="connsiteY1790" fmla="*/ 335352 h 1324114"/>
                    <a:gd name="connsiteX1791" fmla="*/ 151848 w 855312"/>
                    <a:gd name="connsiteY1791" fmla="*/ 335728 h 1324114"/>
                    <a:gd name="connsiteX1792" fmla="*/ 153232 w 855312"/>
                    <a:gd name="connsiteY1792" fmla="*/ 335582 h 1324114"/>
                    <a:gd name="connsiteX1793" fmla="*/ 154373 w 855312"/>
                    <a:gd name="connsiteY1793" fmla="*/ 334574 h 1324114"/>
                    <a:gd name="connsiteX1794" fmla="*/ 154774 w 855312"/>
                    <a:gd name="connsiteY1794" fmla="*/ 333882 h 1324114"/>
                    <a:gd name="connsiteX1795" fmla="*/ 154956 w 855312"/>
                    <a:gd name="connsiteY1795" fmla="*/ 332971 h 1324114"/>
                    <a:gd name="connsiteX1796" fmla="*/ 154956 w 855312"/>
                    <a:gd name="connsiteY1796" fmla="*/ 332049 h 1324114"/>
                    <a:gd name="connsiteX1797" fmla="*/ 153462 w 855312"/>
                    <a:gd name="connsiteY1797" fmla="*/ 323804 h 1324114"/>
                    <a:gd name="connsiteX1798" fmla="*/ 152819 w 855312"/>
                    <a:gd name="connsiteY1798" fmla="*/ 321557 h 1324114"/>
                    <a:gd name="connsiteX1799" fmla="*/ 152078 w 855312"/>
                    <a:gd name="connsiteY1799" fmla="*/ 319857 h 1324114"/>
                    <a:gd name="connsiteX1800" fmla="*/ 150815 w 855312"/>
                    <a:gd name="connsiteY1800" fmla="*/ 317428 h 1324114"/>
                    <a:gd name="connsiteX1801" fmla="*/ 150694 w 855312"/>
                    <a:gd name="connsiteY1801" fmla="*/ 316906 h 1324114"/>
                    <a:gd name="connsiteX1802" fmla="*/ 150815 w 855312"/>
                    <a:gd name="connsiteY1802" fmla="*/ 316178 h 1324114"/>
                    <a:gd name="connsiteX1803" fmla="*/ 151046 w 855312"/>
                    <a:gd name="connsiteY1803" fmla="*/ 315643 h 1324114"/>
                    <a:gd name="connsiteX1804" fmla="*/ 152600 w 855312"/>
                    <a:gd name="connsiteY1804" fmla="*/ 314806 h 1324114"/>
                    <a:gd name="connsiteX1805" fmla="*/ 161100 w 855312"/>
                    <a:gd name="connsiteY1805" fmla="*/ 312280 h 1324114"/>
                    <a:gd name="connsiteX1806" fmla="*/ 163675 w 855312"/>
                    <a:gd name="connsiteY1806" fmla="*/ 311187 h 1324114"/>
                    <a:gd name="connsiteX1807" fmla="*/ 165399 w 855312"/>
                    <a:gd name="connsiteY1807" fmla="*/ 310216 h 1324114"/>
                    <a:gd name="connsiteX1808" fmla="*/ 166613 w 855312"/>
                    <a:gd name="connsiteY1808" fmla="*/ 308552 h 1324114"/>
                    <a:gd name="connsiteX1809" fmla="*/ 167403 w 855312"/>
                    <a:gd name="connsiteY1809" fmla="*/ 307653 h 1324114"/>
                    <a:gd name="connsiteX1810" fmla="*/ 170220 w 855312"/>
                    <a:gd name="connsiteY1810" fmla="*/ 305334 h 1324114"/>
                    <a:gd name="connsiteX1811" fmla="*/ 170863 w 855312"/>
                    <a:gd name="connsiteY1811" fmla="*/ 304156 h 1324114"/>
                    <a:gd name="connsiteX1812" fmla="*/ 172454 w 855312"/>
                    <a:gd name="connsiteY1812" fmla="*/ 298304 h 1324114"/>
                    <a:gd name="connsiteX1813" fmla="*/ 173146 w 855312"/>
                    <a:gd name="connsiteY1813" fmla="*/ 297696 h 1324114"/>
                    <a:gd name="connsiteX1814" fmla="*/ 174421 w 855312"/>
                    <a:gd name="connsiteY1814" fmla="*/ 297502 h 1324114"/>
                    <a:gd name="connsiteX1815" fmla="*/ 179873 w 855312"/>
                    <a:gd name="connsiteY1815" fmla="*/ 299445 h 1324114"/>
                    <a:gd name="connsiteX1816" fmla="*/ 188094 w 855312"/>
                    <a:gd name="connsiteY1816" fmla="*/ 297988 h 1324114"/>
                    <a:gd name="connsiteX1817" fmla="*/ 189126 w 855312"/>
                    <a:gd name="connsiteY1817" fmla="*/ 297891 h 1324114"/>
                    <a:gd name="connsiteX1818" fmla="*/ 190037 w 855312"/>
                    <a:gd name="connsiteY1818" fmla="*/ 298388 h 1324114"/>
                    <a:gd name="connsiteX1819" fmla="*/ 190838 w 855312"/>
                    <a:gd name="connsiteY1819" fmla="*/ 299845 h 1324114"/>
                    <a:gd name="connsiteX1820" fmla="*/ 191409 w 855312"/>
                    <a:gd name="connsiteY1820" fmla="*/ 302031 h 1324114"/>
                    <a:gd name="connsiteX1821" fmla="*/ 192502 w 855312"/>
                    <a:gd name="connsiteY1821" fmla="*/ 303695 h 1324114"/>
                    <a:gd name="connsiteX1822" fmla="*/ 194117 w 855312"/>
                    <a:gd name="connsiteY1822" fmla="*/ 305043 h 1324114"/>
                    <a:gd name="connsiteX1823" fmla="*/ 197444 w 855312"/>
                    <a:gd name="connsiteY1823" fmla="*/ 306512 h 1324114"/>
                    <a:gd name="connsiteX1824" fmla="*/ 198367 w 855312"/>
                    <a:gd name="connsiteY1824" fmla="*/ 307265 h 1324114"/>
                    <a:gd name="connsiteX1825" fmla="*/ 198998 w 855312"/>
                    <a:gd name="connsiteY1825" fmla="*/ 308236 h 1324114"/>
                    <a:gd name="connsiteX1826" fmla="*/ 200261 w 855312"/>
                    <a:gd name="connsiteY1826" fmla="*/ 309876 h 1324114"/>
                    <a:gd name="connsiteX1827" fmla="*/ 202156 w 855312"/>
                    <a:gd name="connsiteY1827" fmla="*/ 311600 h 1324114"/>
                    <a:gd name="connsiteX1828" fmla="*/ 205082 w 855312"/>
                    <a:gd name="connsiteY1828" fmla="*/ 312693 h 1324114"/>
                    <a:gd name="connsiteX1829" fmla="*/ 207025 w 855312"/>
                    <a:gd name="connsiteY1829" fmla="*/ 313725 h 1324114"/>
                    <a:gd name="connsiteX1830" fmla="*/ 208980 w 855312"/>
                    <a:gd name="connsiteY1830" fmla="*/ 314247 h 1324114"/>
                    <a:gd name="connsiteX1831" fmla="*/ 211166 w 855312"/>
                    <a:gd name="connsiteY1831" fmla="*/ 314369 h 1324114"/>
                    <a:gd name="connsiteX1832" fmla="*/ 216909 w 855312"/>
                    <a:gd name="connsiteY1832" fmla="*/ 312608 h 1324114"/>
                    <a:gd name="connsiteX1833" fmla="*/ 225470 w 855312"/>
                    <a:gd name="connsiteY1833" fmla="*/ 307763 h 1324114"/>
                    <a:gd name="connsiteX1834" fmla="*/ 225689 w 855312"/>
                    <a:gd name="connsiteY1834" fmla="*/ 304691 h 1324114"/>
                    <a:gd name="connsiteX1835" fmla="*/ 225179 w 855312"/>
                    <a:gd name="connsiteY1835" fmla="*/ 300975 h 1324114"/>
                    <a:gd name="connsiteX1836" fmla="*/ 225239 w 855312"/>
                    <a:gd name="connsiteY1836" fmla="*/ 298947 h 1324114"/>
                    <a:gd name="connsiteX1837" fmla="*/ 226041 w 855312"/>
                    <a:gd name="connsiteY1837" fmla="*/ 297781 h 1324114"/>
                    <a:gd name="connsiteX1838" fmla="*/ 227996 w 855312"/>
                    <a:gd name="connsiteY1838" fmla="*/ 296761 h 1324114"/>
                    <a:gd name="connsiteX1839" fmla="*/ 237577 w 855312"/>
                    <a:gd name="connsiteY1839" fmla="*/ 296603 h 1324114"/>
                    <a:gd name="connsiteX1840" fmla="*/ 240964 w 855312"/>
                    <a:gd name="connsiteY1840" fmla="*/ 295887 h 1324114"/>
                    <a:gd name="connsiteX1841" fmla="*/ 243490 w 855312"/>
                    <a:gd name="connsiteY1841" fmla="*/ 294794 h 1324114"/>
                    <a:gd name="connsiteX1842" fmla="*/ 247570 w 855312"/>
                    <a:gd name="connsiteY1842" fmla="*/ 292353 h 1324114"/>
                    <a:gd name="connsiteX1843" fmla="*/ 249525 w 855312"/>
                    <a:gd name="connsiteY1843" fmla="*/ 291868 h 1324114"/>
                    <a:gd name="connsiteX1844" fmla="*/ 259871 w 855312"/>
                    <a:gd name="connsiteY1844" fmla="*/ 291783 h 1324114"/>
                    <a:gd name="connsiteX1845" fmla="*/ 261522 w 855312"/>
                    <a:gd name="connsiteY1845" fmla="*/ 292293 h 1324114"/>
                    <a:gd name="connsiteX1846" fmla="*/ 262798 w 855312"/>
                    <a:gd name="connsiteY1846" fmla="*/ 293240 h 1324114"/>
                    <a:gd name="connsiteX1847" fmla="*/ 263818 w 855312"/>
                    <a:gd name="connsiteY1847" fmla="*/ 294588 h 1324114"/>
                    <a:gd name="connsiteX1848" fmla="*/ 265032 w 855312"/>
                    <a:gd name="connsiteY1848" fmla="*/ 295802 h 1324114"/>
                    <a:gd name="connsiteX1849" fmla="*/ 266525 w 855312"/>
                    <a:gd name="connsiteY1849" fmla="*/ 296264 h 1324114"/>
                    <a:gd name="connsiteX1850" fmla="*/ 268420 w 855312"/>
                    <a:gd name="connsiteY1850" fmla="*/ 296009 h 1324114"/>
                    <a:gd name="connsiteX1851" fmla="*/ 275426 w 855312"/>
                    <a:gd name="connsiteY1851" fmla="*/ 293361 h 1324114"/>
                    <a:gd name="connsiteX1852" fmla="*/ 277090 w 855312"/>
                    <a:gd name="connsiteY1852" fmla="*/ 292329 h 1324114"/>
                    <a:gd name="connsiteX1853" fmla="*/ 278705 w 855312"/>
                    <a:gd name="connsiteY1853" fmla="*/ 290945 h 1324114"/>
                    <a:gd name="connsiteX1854" fmla="*/ 279895 w 855312"/>
                    <a:gd name="connsiteY1854" fmla="*/ 289488 h 1324114"/>
                    <a:gd name="connsiteX1855" fmla="*/ 281971 w 855312"/>
                    <a:gd name="connsiteY1855" fmla="*/ 286561 h 1324114"/>
                    <a:gd name="connsiteX1856" fmla="*/ 282882 w 855312"/>
                    <a:gd name="connsiteY1856" fmla="*/ 285930 h 1324114"/>
                    <a:gd name="connsiteX1857" fmla="*/ 283805 w 855312"/>
                    <a:gd name="connsiteY1857" fmla="*/ 285991 h 1324114"/>
                    <a:gd name="connsiteX1858" fmla="*/ 285590 w 855312"/>
                    <a:gd name="connsiteY1858" fmla="*/ 287071 h 1324114"/>
                    <a:gd name="connsiteX1859" fmla="*/ 290520 w 855312"/>
                    <a:gd name="connsiteY1859" fmla="*/ 291491 h 1324114"/>
                    <a:gd name="connsiteX1860" fmla="*/ 293046 w 855312"/>
                    <a:gd name="connsiteY1860" fmla="*/ 293082 h 1324114"/>
                    <a:gd name="connsiteX1861" fmla="*/ 295632 w 855312"/>
                    <a:gd name="connsiteY1861" fmla="*/ 293774 h 1324114"/>
                    <a:gd name="connsiteX1862" fmla="*/ 297636 w 855312"/>
                    <a:gd name="connsiteY1862" fmla="*/ 293313 h 1324114"/>
                    <a:gd name="connsiteX1863" fmla="*/ 298911 w 855312"/>
                    <a:gd name="connsiteY1863" fmla="*/ 292098 h 1324114"/>
                    <a:gd name="connsiteX1864" fmla="*/ 299651 w 855312"/>
                    <a:gd name="connsiteY1864" fmla="*/ 290690 h 1324114"/>
                    <a:gd name="connsiteX1865" fmla="*/ 300113 w 855312"/>
                    <a:gd name="connsiteY1865" fmla="*/ 289026 h 1324114"/>
                    <a:gd name="connsiteX1866" fmla="*/ 300295 w 855312"/>
                    <a:gd name="connsiteY1866" fmla="*/ 286901 h 1324114"/>
                    <a:gd name="connsiteX1867" fmla="*/ 300052 w 855312"/>
                    <a:gd name="connsiteY1867" fmla="*/ 285201 h 1324114"/>
                    <a:gd name="connsiteX1868" fmla="*/ 299542 w 855312"/>
                    <a:gd name="connsiteY1868" fmla="*/ 283283 h 1324114"/>
                    <a:gd name="connsiteX1869" fmla="*/ 296786 w 855312"/>
                    <a:gd name="connsiteY1869" fmla="*/ 279385 h 1324114"/>
                    <a:gd name="connsiteX1870" fmla="*/ 296664 w 855312"/>
                    <a:gd name="connsiteY1870" fmla="*/ 278559 h 1324114"/>
                    <a:gd name="connsiteX1871" fmla="*/ 297065 w 855312"/>
                    <a:gd name="connsiteY1871" fmla="*/ 277053 h 1324114"/>
                    <a:gd name="connsiteX1872" fmla="*/ 297939 w 855312"/>
                    <a:gd name="connsiteY1872" fmla="*/ 276082 h 1324114"/>
                    <a:gd name="connsiteX1873" fmla="*/ 300465 w 855312"/>
                    <a:gd name="connsiteY1873" fmla="*/ 274382 h 1324114"/>
                    <a:gd name="connsiteX1874" fmla="*/ 301145 w 855312"/>
                    <a:gd name="connsiteY1874" fmla="*/ 273265 h 1324114"/>
                    <a:gd name="connsiteX1875" fmla="*/ 301266 w 855312"/>
                    <a:gd name="connsiteY1875" fmla="*/ 271225 h 1324114"/>
                    <a:gd name="connsiteX1876" fmla="*/ 300623 w 855312"/>
                    <a:gd name="connsiteY1876" fmla="*/ 268869 h 1324114"/>
                    <a:gd name="connsiteX1877" fmla="*/ 298959 w 855312"/>
                    <a:gd name="connsiteY1877" fmla="*/ 265833 h 1324114"/>
                    <a:gd name="connsiteX1878" fmla="*/ 297247 w 855312"/>
                    <a:gd name="connsiteY1878" fmla="*/ 263915 h 1324114"/>
                    <a:gd name="connsiteX1879" fmla="*/ 295462 w 855312"/>
                    <a:gd name="connsiteY1879" fmla="*/ 262360 h 1324114"/>
                    <a:gd name="connsiteX1880" fmla="*/ 294260 w 855312"/>
                    <a:gd name="connsiteY1880" fmla="*/ 260697 h 1324114"/>
                    <a:gd name="connsiteX1881" fmla="*/ 293446 w 855312"/>
                    <a:gd name="connsiteY1881" fmla="*/ 258341 h 1324114"/>
                    <a:gd name="connsiteX1882" fmla="*/ 293446 w 855312"/>
                    <a:gd name="connsiteY1882" fmla="*/ 254297 h 1324114"/>
                    <a:gd name="connsiteX1883" fmla="*/ 294029 w 855312"/>
                    <a:gd name="connsiteY1883" fmla="*/ 251650 h 1324114"/>
                    <a:gd name="connsiteX1884" fmla="*/ 294940 w 855312"/>
                    <a:gd name="connsiteY1884" fmla="*/ 249671 h 1324114"/>
                    <a:gd name="connsiteX1885" fmla="*/ 295911 w 855312"/>
                    <a:gd name="connsiteY1885" fmla="*/ 248008 h 1324114"/>
                    <a:gd name="connsiteX1886" fmla="*/ 296616 w 855312"/>
                    <a:gd name="connsiteY1886" fmla="*/ 246222 h 1324114"/>
                    <a:gd name="connsiteX1887" fmla="*/ 296664 w 855312"/>
                    <a:gd name="connsiteY1887" fmla="*/ 244364 h 1324114"/>
                    <a:gd name="connsiteX1888" fmla="*/ 296433 w 855312"/>
                    <a:gd name="connsiteY1888" fmla="*/ 242069 h 1324114"/>
                    <a:gd name="connsiteX1889" fmla="*/ 295571 w 855312"/>
                    <a:gd name="connsiteY1889" fmla="*/ 238767 h 1324114"/>
                    <a:gd name="connsiteX1890" fmla="*/ 294600 w 855312"/>
                    <a:gd name="connsiteY1890" fmla="*/ 236605 h 1324114"/>
                    <a:gd name="connsiteX1891" fmla="*/ 292985 w 855312"/>
                    <a:gd name="connsiteY1891" fmla="*/ 235063 h 1324114"/>
                    <a:gd name="connsiteX1892" fmla="*/ 290119 w 855312"/>
                    <a:gd name="connsiteY1892" fmla="*/ 233667 h 1324114"/>
                    <a:gd name="connsiteX1893" fmla="*/ 289208 w 855312"/>
                    <a:gd name="connsiteY1893" fmla="*/ 232683 h 1324114"/>
                    <a:gd name="connsiteX1894" fmla="*/ 288516 w 855312"/>
                    <a:gd name="connsiteY1894" fmla="*/ 231007 h 1324114"/>
                    <a:gd name="connsiteX1895" fmla="*/ 287776 w 855312"/>
                    <a:gd name="connsiteY1895" fmla="*/ 227243 h 1324114"/>
                    <a:gd name="connsiteX1896" fmla="*/ 286841 w 855312"/>
                    <a:gd name="connsiteY1896" fmla="*/ 224147 h 1324114"/>
                    <a:gd name="connsiteX1897" fmla="*/ 283635 w 855312"/>
                    <a:gd name="connsiteY1897" fmla="*/ 218063 h 1324114"/>
                    <a:gd name="connsiteX1898" fmla="*/ 283392 w 855312"/>
                    <a:gd name="connsiteY1898" fmla="*/ 213522 h 1324114"/>
                    <a:gd name="connsiteX1899" fmla="*/ 285007 w 855312"/>
                    <a:gd name="connsiteY1899" fmla="*/ 211688 h 1324114"/>
                    <a:gd name="connsiteX1900" fmla="*/ 287545 w 855312"/>
                    <a:gd name="connsiteY1900" fmla="*/ 209854 h 1324114"/>
                    <a:gd name="connsiteX1901" fmla="*/ 288917 w 855312"/>
                    <a:gd name="connsiteY1901" fmla="*/ 208531 h 1324114"/>
                    <a:gd name="connsiteX1902" fmla="*/ 290301 w 855312"/>
                    <a:gd name="connsiteY1902" fmla="*/ 206588 h 1324114"/>
                    <a:gd name="connsiteX1903" fmla="*/ 292876 w 855312"/>
                    <a:gd name="connsiteY1903" fmla="*/ 200868 h 1324114"/>
                    <a:gd name="connsiteX1904" fmla="*/ 293908 w 855312"/>
                    <a:gd name="connsiteY1904" fmla="*/ 199011 h 1324114"/>
                    <a:gd name="connsiteX1905" fmla="*/ 294940 w 855312"/>
                    <a:gd name="connsiteY1905" fmla="*/ 197638 h 1324114"/>
                    <a:gd name="connsiteX1906" fmla="*/ 296555 w 855312"/>
                    <a:gd name="connsiteY1906" fmla="*/ 196716 h 1324114"/>
                    <a:gd name="connsiteX1907" fmla="*/ 298741 w 855312"/>
                    <a:gd name="connsiteY1907" fmla="*/ 195963 h 1324114"/>
                    <a:gd name="connsiteX1908" fmla="*/ 300623 w 855312"/>
                    <a:gd name="connsiteY1908" fmla="*/ 196691 h 1324114"/>
                    <a:gd name="connsiteX1909" fmla="*/ 303671 w 855312"/>
                    <a:gd name="connsiteY1909" fmla="*/ 198525 h 1324114"/>
                    <a:gd name="connsiteX1910" fmla="*/ 305043 w 855312"/>
                    <a:gd name="connsiteY1910" fmla="*/ 202544 h 1324114"/>
                    <a:gd name="connsiteX1911" fmla="*/ 307119 w 855312"/>
                    <a:gd name="connsiteY1911" fmla="*/ 206588 h 1324114"/>
                    <a:gd name="connsiteX1912" fmla="*/ 312110 w 855312"/>
                    <a:gd name="connsiteY1912" fmla="*/ 208421 h 1324114"/>
                    <a:gd name="connsiteX1913" fmla="*/ 316882 w 855312"/>
                    <a:gd name="connsiteY1913" fmla="*/ 207936 h 1324114"/>
                    <a:gd name="connsiteX1914" fmla="*/ 318886 w 855312"/>
                    <a:gd name="connsiteY1914" fmla="*/ 208446 h 1324114"/>
                    <a:gd name="connsiteX1915" fmla="*/ 321193 w 855312"/>
                    <a:gd name="connsiteY1915" fmla="*/ 210401 h 1324114"/>
                    <a:gd name="connsiteX1916" fmla="*/ 322225 w 855312"/>
                    <a:gd name="connsiteY1916" fmla="*/ 212331 h 1324114"/>
                    <a:gd name="connsiteX1917" fmla="*/ 323087 w 855312"/>
                    <a:gd name="connsiteY1917" fmla="*/ 214335 h 1324114"/>
                    <a:gd name="connsiteX1918" fmla="*/ 324338 w 855312"/>
                    <a:gd name="connsiteY1918" fmla="*/ 215889 h 1324114"/>
                    <a:gd name="connsiteX1919" fmla="*/ 326985 w 855312"/>
                    <a:gd name="connsiteY1919" fmla="*/ 216339 h 1324114"/>
                    <a:gd name="connsiteX1920" fmla="*/ 329851 w 855312"/>
                    <a:gd name="connsiteY1920" fmla="*/ 214189 h 1324114"/>
                    <a:gd name="connsiteX1921" fmla="*/ 332959 w 855312"/>
                    <a:gd name="connsiteY1921" fmla="*/ 210352 h 1324114"/>
                    <a:gd name="connsiteX1922" fmla="*/ 335934 w 855312"/>
                    <a:gd name="connsiteY1922" fmla="*/ 208191 h 1324114"/>
                    <a:gd name="connsiteX1923" fmla="*/ 338521 w 855312"/>
                    <a:gd name="connsiteY1923" fmla="*/ 211057 h 1324114"/>
                    <a:gd name="connsiteX1924" fmla="*/ 343123 w 855312"/>
                    <a:gd name="connsiteY1924" fmla="*/ 208348 h 1324114"/>
                    <a:gd name="connsiteX1925" fmla="*/ 344556 w 855312"/>
                    <a:gd name="connsiteY1925" fmla="*/ 209150 h 1324114"/>
                    <a:gd name="connsiteX1926" fmla="*/ 346341 w 855312"/>
                    <a:gd name="connsiteY1926" fmla="*/ 212477 h 1324114"/>
                    <a:gd name="connsiteX1927" fmla="*/ 347021 w 855312"/>
                    <a:gd name="connsiteY1927" fmla="*/ 215464 h 1324114"/>
                    <a:gd name="connsiteX1928" fmla="*/ 347373 w 855312"/>
                    <a:gd name="connsiteY1928" fmla="*/ 218415 h 1324114"/>
                    <a:gd name="connsiteX1929" fmla="*/ 348345 w 855312"/>
                    <a:gd name="connsiteY1929" fmla="*/ 220686 h 1324114"/>
                    <a:gd name="connsiteX1930" fmla="*/ 350810 w 855312"/>
                    <a:gd name="connsiteY1930" fmla="*/ 221609 h 1324114"/>
                    <a:gd name="connsiteX1931" fmla="*/ 352485 w 855312"/>
                    <a:gd name="connsiteY1931" fmla="*/ 222726 h 1324114"/>
                    <a:gd name="connsiteX1932" fmla="*/ 353797 w 855312"/>
                    <a:gd name="connsiteY1932" fmla="*/ 224802 h 1324114"/>
                    <a:gd name="connsiteX1933" fmla="*/ 355594 w 855312"/>
                    <a:gd name="connsiteY1933" fmla="*/ 225773 h 1324114"/>
                    <a:gd name="connsiteX1934" fmla="*/ 358569 w 855312"/>
                    <a:gd name="connsiteY1934" fmla="*/ 223697 h 1324114"/>
                    <a:gd name="connsiteX1935" fmla="*/ 360645 w 855312"/>
                    <a:gd name="connsiteY1935" fmla="*/ 222556 h 1324114"/>
                    <a:gd name="connsiteX1936" fmla="*/ 366899 w 855312"/>
                    <a:gd name="connsiteY1936" fmla="*/ 221269 h 1324114"/>
                    <a:gd name="connsiteX1937" fmla="*/ 369364 w 855312"/>
                    <a:gd name="connsiteY1937" fmla="*/ 220406 h 1324114"/>
                    <a:gd name="connsiteX1938" fmla="*/ 371489 w 855312"/>
                    <a:gd name="connsiteY1938" fmla="*/ 221815 h 1324114"/>
                    <a:gd name="connsiteX1939" fmla="*/ 372752 w 855312"/>
                    <a:gd name="connsiteY1939" fmla="*/ 221924 h 1324114"/>
                    <a:gd name="connsiteX1940" fmla="*/ 375108 w 855312"/>
                    <a:gd name="connsiteY1940" fmla="*/ 221232 h 1324114"/>
                    <a:gd name="connsiteX1941" fmla="*/ 379005 w 855312"/>
                    <a:gd name="connsiteY1941" fmla="*/ 219629 h 1324114"/>
                    <a:gd name="connsiteX1942" fmla="*/ 385271 w 855312"/>
                    <a:gd name="connsiteY1942" fmla="*/ 215756 h 1324114"/>
                    <a:gd name="connsiteX1943" fmla="*/ 388659 w 855312"/>
                    <a:gd name="connsiteY1943" fmla="*/ 214954 h 1324114"/>
                    <a:gd name="connsiteX1944" fmla="*/ 391355 w 855312"/>
                    <a:gd name="connsiteY1944" fmla="*/ 215076 h 1324114"/>
                    <a:gd name="connsiteX1945" fmla="*/ 394973 w 855312"/>
                    <a:gd name="connsiteY1945" fmla="*/ 217055 h 1324114"/>
                    <a:gd name="connsiteX1946" fmla="*/ 396868 w 855312"/>
                    <a:gd name="connsiteY1946" fmla="*/ 217079 h 1324114"/>
                    <a:gd name="connsiteX1947" fmla="*/ 398701 w 855312"/>
                    <a:gd name="connsiteY1947" fmla="*/ 216448 h 1324114"/>
                    <a:gd name="connsiteX1948" fmla="*/ 402041 w 855312"/>
                    <a:gd name="connsiteY1948" fmla="*/ 214468 h 1324114"/>
                    <a:gd name="connsiteX1949" fmla="*/ 404676 w 855312"/>
                    <a:gd name="connsiteY1949" fmla="*/ 213813 h 1324114"/>
                    <a:gd name="connsiteX1950" fmla="*/ 406971 w 855312"/>
                    <a:gd name="connsiteY1950" fmla="*/ 213594 h 1324114"/>
                    <a:gd name="connsiteX1951" fmla="*/ 408756 w 855312"/>
                    <a:gd name="connsiteY1951" fmla="*/ 213995 h 1324114"/>
                    <a:gd name="connsiteX1952" fmla="*/ 410359 w 855312"/>
                    <a:gd name="connsiteY1952" fmla="*/ 214821 h 1324114"/>
                    <a:gd name="connsiteX1953" fmla="*/ 413516 w 855312"/>
                    <a:gd name="connsiteY1953" fmla="*/ 217808 h 1324114"/>
                    <a:gd name="connsiteX1954" fmla="*/ 415349 w 855312"/>
                    <a:gd name="connsiteY1954" fmla="*/ 219095 h 1324114"/>
                    <a:gd name="connsiteX1955" fmla="*/ 417316 w 855312"/>
                    <a:gd name="connsiteY1955" fmla="*/ 219617 h 1324114"/>
                    <a:gd name="connsiteX1956" fmla="*/ 422137 w 855312"/>
                    <a:gd name="connsiteY1956" fmla="*/ 219532 h 1324114"/>
                    <a:gd name="connsiteX1957" fmla="*/ 424481 w 855312"/>
                    <a:gd name="connsiteY1957" fmla="*/ 219836 h 1324114"/>
                    <a:gd name="connsiteX1958" fmla="*/ 429593 w 855312"/>
                    <a:gd name="connsiteY1958" fmla="*/ 221050 h 1324114"/>
                    <a:gd name="connsiteX1959" fmla="*/ 432009 w 855312"/>
                    <a:gd name="connsiteY1959" fmla="*/ 220734 h 1324114"/>
                    <a:gd name="connsiteX1960" fmla="*/ 433843 w 855312"/>
                    <a:gd name="connsiteY1960" fmla="*/ 219726 h 1324114"/>
                    <a:gd name="connsiteX1961" fmla="*/ 437862 w 855312"/>
                    <a:gd name="connsiteY1961" fmla="*/ 216861 h 1324114"/>
                    <a:gd name="connsiteX1962" fmla="*/ 438846 w 855312"/>
                    <a:gd name="connsiteY1962" fmla="*/ 215549 h 1324114"/>
                    <a:gd name="connsiteX1963" fmla="*/ 438445 w 855312"/>
                    <a:gd name="connsiteY1963" fmla="*/ 213424 h 1324114"/>
                    <a:gd name="connsiteX1964" fmla="*/ 436891 w 855312"/>
                    <a:gd name="connsiteY1964" fmla="*/ 211748 h 1324114"/>
                    <a:gd name="connsiteX1965" fmla="*/ 432702 w 855312"/>
                    <a:gd name="connsiteY1965" fmla="*/ 208859 h 1324114"/>
                    <a:gd name="connsiteX1966" fmla="*/ 431499 w 855312"/>
                    <a:gd name="connsiteY1966" fmla="*/ 206843 h 1324114"/>
                    <a:gd name="connsiteX1967" fmla="*/ 430637 w 855312"/>
                    <a:gd name="connsiteY1967" fmla="*/ 202593 h 1324114"/>
                    <a:gd name="connsiteX1968" fmla="*/ 429945 w 855312"/>
                    <a:gd name="connsiteY1968" fmla="*/ 200917 h 1324114"/>
                    <a:gd name="connsiteX1969" fmla="*/ 427820 w 855312"/>
                    <a:gd name="connsiteY1969" fmla="*/ 199035 h 1324114"/>
                    <a:gd name="connsiteX1970" fmla="*/ 426849 w 855312"/>
                    <a:gd name="connsiteY1970" fmla="*/ 197165 h 1324114"/>
                    <a:gd name="connsiteX1971" fmla="*/ 427189 w 855312"/>
                    <a:gd name="connsiteY1971" fmla="*/ 194554 h 1324114"/>
                    <a:gd name="connsiteX1972" fmla="*/ 429022 w 855312"/>
                    <a:gd name="connsiteY1972" fmla="*/ 191944 h 1324114"/>
                    <a:gd name="connsiteX1973" fmla="*/ 430637 w 855312"/>
                    <a:gd name="connsiteY1973" fmla="*/ 190389 h 1324114"/>
                    <a:gd name="connsiteX1974" fmla="*/ 431329 w 855312"/>
                    <a:gd name="connsiteY1974" fmla="*/ 189102 h 1324114"/>
                    <a:gd name="connsiteX1975" fmla="*/ 431087 w 855312"/>
                    <a:gd name="connsiteY1975" fmla="*/ 187706 h 1324114"/>
                    <a:gd name="connsiteX1976" fmla="*/ 429836 w 855312"/>
                    <a:gd name="connsiteY1976" fmla="*/ 185520 h 1324114"/>
                    <a:gd name="connsiteX1977" fmla="*/ 429836 w 855312"/>
                    <a:gd name="connsiteY1977" fmla="*/ 184731 h 1324114"/>
                    <a:gd name="connsiteX1978" fmla="*/ 430576 w 855312"/>
                    <a:gd name="connsiteY1978" fmla="*/ 182156 h 1324114"/>
                    <a:gd name="connsiteX1979" fmla="*/ 430747 w 855312"/>
                    <a:gd name="connsiteY1979" fmla="*/ 180517 h 1324114"/>
                    <a:gd name="connsiteX1980" fmla="*/ 430637 w 855312"/>
                    <a:gd name="connsiteY1980" fmla="*/ 178914 h 1324114"/>
                    <a:gd name="connsiteX1981" fmla="*/ 429714 w 855312"/>
                    <a:gd name="connsiteY1981" fmla="*/ 177360 h 1324114"/>
                    <a:gd name="connsiteX1982" fmla="*/ 427067 w 855312"/>
                    <a:gd name="connsiteY1982" fmla="*/ 174203 h 1324114"/>
                    <a:gd name="connsiteX1983" fmla="*/ 425926 w 855312"/>
                    <a:gd name="connsiteY1983" fmla="*/ 172576 h 1324114"/>
                    <a:gd name="connsiteX1984" fmla="*/ 426266 w 855312"/>
                    <a:gd name="connsiteY1984" fmla="*/ 170888 h 1324114"/>
                    <a:gd name="connsiteX1985" fmla="*/ 427941 w 855312"/>
                    <a:gd name="connsiteY1985" fmla="*/ 169333 h 1324114"/>
                    <a:gd name="connsiteX1986" fmla="*/ 440789 w 855312"/>
                    <a:gd name="connsiteY1986" fmla="*/ 165666 h 1324114"/>
                    <a:gd name="connsiteX1987" fmla="*/ 444468 w 855312"/>
                    <a:gd name="connsiteY1987" fmla="*/ 162363 h 1324114"/>
                    <a:gd name="connsiteX1988" fmla="*/ 445051 w 855312"/>
                    <a:gd name="connsiteY1988" fmla="*/ 160238 h 1324114"/>
                    <a:gd name="connsiteX1989" fmla="*/ 445622 w 855312"/>
                    <a:gd name="connsiteY1989" fmla="*/ 158975 h 1324114"/>
                    <a:gd name="connsiteX1990" fmla="*/ 446593 w 855312"/>
                    <a:gd name="connsiteY1990" fmla="*/ 157664 h 1324114"/>
                    <a:gd name="connsiteX1991" fmla="*/ 448439 w 855312"/>
                    <a:gd name="connsiteY1991" fmla="*/ 156571 h 1324114"/>
                    <a:gd name="connsiteX1992" fmla="*/ 452689 w 855312"/>
                    <a:gd name="connsiteY1992" fmla="*/ 154907 h 1324114"/>
                    <a:gd name="connsiteX1993" fmla="*/ 454122 w 855312"/>
                    <a:gd name="connsiteY1993" fmla="*/ 153851 h 1324114"/>
                    <a:gd name="connsiteX1994" fmla="*/ 454972 w 855312"/>
                    <a:gd name="connsiteY1994" fmla="*/ 152528 h 1324114"/>
                    <a:gd name="connsiteX1995" fmla="*/ 455093 w 855312"/>
                    <a:gd name="connsiteY1995" fmla="*/ 151034 h 1324114"/>
                    <a:gd name="connsiteX1996" fmla="*/ 454911 w 855312"/>
                    <a:gd name="connsiteY1996" fmla="*/ 149771 h 1324114"/>
                    <a:gd name="connsiteX1997" fmla="*/ 454862 w 855312"/>
                    <a:gd name="connsiteY1997" fmla="*/ 148374 h 1324114"/>
                    <a:gd name="connsiteX1998" fmla="*/ 455555 w 855312"/>
                    <a:gd name="connsiteY1998" fmla="*/ 147221 h 1324114"/>
                    <a:gd name="connsiteX1999" fmla="*/ 456987 w 855312"/>
                    <a:gd name="connsiteY1999" fmla="*/ 146334 h 1324114"/>
                    <a:gd name="connsiteX2000" fmla="*/ 459331 w 855312"/>
                    <a:gd name="connsiteY2000" fmla="*/ 145642 h 1324114"/>
                    <a:gd name="connsiteX2001" fmla="*/ 460727 w 855312"/>
                    <a:gd name="connsiteY2001" fmla="*/ 144865 h 1324114"/>
                    <a:gd name="connsiteX2002" fmla="*/ 461577 w 855312"/>
                    <a:gd name="connsiteY2002" fmla="*/ 144003 h 1324114"/>
                    <a:gd name="connsiteX2003" fmla="*/ 462901 w 855312"/>
                    <a:gd name="connsiteY2003" fmla="*/ 140591 h 1324114"/>
                    <a:gd name="connsiteX2004" fmla="*/ 463715 w 855312"/>
                    <a:gd name="connsiteY2004" fmla="*/ 139353 h 1324114"/>
                    <a:gd name="connsiteX2005" fmla="*/ 465548 w 855312"/>
                    <a:gd name="connsiteY2005" fmla="*/ 138563 h 1324114"/>
                    <a:gd name="connsiteX2006" fmla="*/ 467783 w 855312"/>
                    <a:gd name="connsiteY2006" fmla="*/ 138794 h 1324114"/>
                    <a:gd name="connsiteX2007" fmla="*/ 471292 w 855312"/>
                    <a:gd name="connsiteY2007" fmla="*/ 140627 h 1324114"/>
                    <a:gd name="connsiteX2008" fmla="*/ 474558 w 855312"/>
                    <a:gd name="connsiteY2008" fmla="*/ 140482 h 1324114"/>
                    <a:gd name="connsiteX2009" fmla="*/ 476914 w 855312"/>
                    <a:gd name="connsiteY2009" fmla="*/ 139935 h 1324114"/>
                    <a:gd name="connsiteX2010" fmla="*/ 478687 w 855312"/>
                    <a:gd name="connsiteY2010" fmla="*/ 139789 h 1324114"/>
                    <a:gd name="connsiteX2011" fmla="*/ 480363 w 855312"/>
                    <a:gd name="connsiteY2011" fmla="*/ 140797 h 1324114"/>
                    <a:gd name="connsiteX2012" fmla="*/ 483168 w 855312"/>
                    <a:gd name="connsiteY2012" fmla="*/ 144744 h 1324114"/>
                    <a:gd name="connsiteX2013" fmla="*/ 484831 w 855312"/>
                    <a:gd name="connsiteY2013" fmla="*/ 146420 h 1324114"/>
                    <a:gd name="connsiteX2014" fmla="*/ 487248 w 855312"/>
                    <a:gd name="connsiteY2014" fmla="*/ 147889 h 1324114"/>
                    <a:gd name="connsiteX2015" fmla="*/ 491437 w 855312"/>
                    <a:gd name="connsiteY2015" fmla="*/ 151556 h 1324114"/>
                    <a:gd name="connsiteX2016" fmla="*/ 494315 w 855312"/>
                    <a:gd name="connsiteY2016" fmla="*/ 152139 h 1324114"/>
                    <a:gd name="connsiteX2017" fmla="*/ 496500 w 855312"/>
                    <a:gd name="connsiteY2017" fmla="*/ 142801 h 1324114"/>
                    <a:gd name="connsiteX2018" fmla="*/ 498103 w 855312"/>
                    <a:gd name="connsiteY2018" fmla="*/ 138600 h 1324114"/>
                    <a:gd name="connsiteX2019" fmla="*/ 499816 w 855312"/>
                    <a:gd name="connsiteY2019" fmla="*/ 135625 h 1324114"/>
                    <a:gd name="connsiteX2020" fmla="*/ 501613 w 855312"/>
                    <a:gd name="connsiteY2020" fmla="*/ 134179 h 1324114"/>
                    <a:gd name="connsiteX2021" fmla="*/ 505231 w 855312"/>
                    <a:gd name="connsiteY2021" fmla="*/ 132516 h 1324114"/>
                    <a:gd name="connsiteX2022" fmla="*/ 507065 w 855312"/>
                    <a:gd name="connsiteY2022" fmla="*/ 131459 h 1324114"/>
                    <a:gd name="connsiteX2023" fmla="*/ 508498 w 855312"/>
                    <a:gd name="connsiteY2023" fmla="*/ 130221 h 1324114"/>
                    <a:gd name="connsiteX2024" fmla="*/ 509251 w 855312"/>
                    <a:gd name="connsiteY2024" fmla="*/ 129092 h 1324114"/>
                    <a:gd name="connsiteX2025" fmla="*/ 509469 w 855312"/>
                    <a:gd name="connsiteY2025" fmla="*/ 127258 h 1324114"/>
                    <a:gd name="connsiteX2026" fmla="*/ 509068 w 855312"/>
                    <a:gd name="connsiteY2026" fmla="*/ 124587 h 1324114"/>
                    <a:gd name="connsiteX2027" fmla="*/ 506773 w 855312"/>
                    <a:gd name="connsiteY2027" fmla="*/ 119195 h 1324114"/>
                    <a:gd name="connsiteX2028" fmla="*/ 506482 w 855312"/>
                    <a:gd name="connsiteY2028" fmla="*/ 115054 h 1324114"/>
                    <a:gd name="connsiteX2029" fmla="*/ 508947 w 855312"/>
                    <a:gd name="connsiteY2029" fmla="*/ 114569 h 1324114"/>
                    <a:gd name="connsiteX2030" fmla="*/ 510441 w 855312"/>
                    <a:gd name="connsiteY2030" fmla="*/ 114629 h 1324114"/>
                    <a:gd name="connsiteX2031" fmla="*/ 512177 w 855312"/>
                    <a:gd name="connsiteY2031" fmla="*/ 114897 h 1324114"/>
                    <a:gd name="connsiteX2032" fmla="*/ 522328 w 855312"/>
                    <a:gd name="connsiteY2032" fmla="*/ 117750 h 1324114"/>
                    <a:gd name="connsiteX2033" fmla="*/ 524927 w 855312"/>
                    <a:gd name="connsiteY2033" fmla="*/ 117774 h 1324114"/>
                    <a:gd name="connsiteX2034" fmla="*/ 527210 w 855312"/>
                    <a:gd name="connsiteY2034" fmla="*/ 116536 h 1324114"/>
                    <a:gd name="connsiteX2035" fmla="*/ 529396 w 855312"/>
                    <a:gd name="connsiteY2035" fmla="*/ 114010 h 1324114"/>
                    <a:gd name="connsiteX2036" fmla="*/ 532104 w 855312"/>
                    <a:gd name="connsiteY2036" fmla="*/ 108230 h 1324114"/>
                    <a:gd name="connsiteX2037" fmla="*/ 533136 w 855312"/>
                    <a:gd name="connsiteY2037" fmla="*/ 104089 h 1324114"/>
                    <a:gd name="connsiteX2038" fmla="*/ 533536 w 855312"/>
                    <a:gd name="connsiteY2038" fmla="*/ 100301 h 1324114"/>
                    <a:gd name="connsiteX2039" fmla="*/ 532893 w 855312"/>
                    <a:gd name="connsiteY2039" fmla="*/ 94824 h 1324114"/>
                    <a:gd name="connsiteX2040" fmla="*/ 532893 w 855312"/>
                    <a:gd name="connsiteY2040" fmla="*/ 91776 h 1324114"/>
                    <a:gd name="connsiteX2041" fmla="*/ 533245 w 855312"/>
                    <a:gd name="connsiteY2041" fmla="*/ 89676 h 1324114"/>
                    <a:gd name="connsiteX2042" fmla="*/ 535601 w 855312"/>
                    <a:gd name="connsiteY2042" fmla="*/ 79949 h 1324114"/>
                    <a:gd name="connsiteX2043" fmla="*/ 535819 w 855312"/>
                    <a:gd name="connsiteY2043" fmla="*/ 77326 h 1324114"/>
                    <a:gd name="connsiteX2044" fmla="*/ 535819 w 855312"/>
                    <a:gd name="connsiteY2044" fmla="*/ 74910 h 1324114"/>
                    <a:gd name="connsiteX2045" fmla="*/ 534969 w 855312"/>
                    <a:gd name="connsiteY2045" fmla="*/ 67393 h 1324114"/>
                    <a:gd name="connsiteX2046" fmla="*/ 536342 w 855312"/>
                    <a:gd name="connsiteY2046" fmla="*/ 64965 h 1324114"/>
                    <a:gd name="connsiteX2047" fmla="*/ 539049 w 855312"/>
                    <a:gd name="connsiteY2047" fmla="*/ 62888 h 1324114"/>
                    <a:gd name="connsiteX2048" fmla="*/ 545582 w 855312"/>
                    <a:gd name="connsiteY2048" fmla="*/ 60508 h 1324114"/>
                    <a:gd name="connsiteX2049" fmla="*/ 549492 w 855312"/>
                    <a:gd name="connsiteY2049" fmla="*/ 60083 h 1324114"/>
                    <a:gd name="connsiteX2050" fmla="*/ 554604 w 855312"/>
                    <a:gd name="connsiteY2050" fmla="*/ 60909 h 1324114"/>
                    <a:gd name="connsiteX2051" fmla="*/ 556159 w 855312"/>
                    <a:gd name="connsiteY2051" fmla="*/ 60824 h 1324114"/>
                    <a:gd name="connsiteX2052" fmla="*/ 557992 w 855312"/>
                    <a:gd name="connsiteY2052" fmla="*/ 60071 h 1324114"/>
                    <a:gd name="connsiteX2053" fmla="*/ 560287 w 855312"/>
                    <a:gd name="connsiteY2053" fmla="*/ 58808 h 1324114"/>
                    <a:gd name="connsiteX2054" fmla="*/ 562473 w 855312"/>
                    <a:gd name="connsiteY2054" fmla="*/ 58177 h 1324114"/>
                    <a:gd name="connsiteX2055" fmla="*/ 564428 w 855312"/>
                    <a:gd name="connsiteY2055" fmla="*/ 58116 h 1324114"/>
                    <a:gd name="connsiteX2056" fmla="*/ 568107 w 855312"/>
                    <a:gd name="connsiteY2056" fmla="*/ 58711 h 1324114"/>
                    <a:gd name="connsiteX2057" fmla="*/ 570111 w 855312"/>
                    <a:gd name="connsiteY2057" fmla="*/ 58298 h 1324114"/>
                    <a:gd name="connsiteX2058" fmla="*/ 571544 w 855312"/>
                    <a:gd name="connsiteY2058" fmla="*/ 57181 h 1324114"/>
                    <a:gd name="connsiteX2059" fmla="*/ 572345 w 855312"/>
                    <a:gd name="connsiteY2059" fmla="*/ 54934 h 1324114"/>
                    <a:gd name="connsiteX2060" fmla="*/ 572685 w 855312"/>
                    <a:gd name="connsiteY2060" fmla="*/ 52894 h 1324114"/>
                    <a:gd name="connsiteX2061" fmla="*/ 573378 w 855312"/>
                    <a:gd name="connsiteY2061" fmla="*/ 50709 h 1324114"/>
                    <a:gd name="connsiteX2062" fmla="*/ 574689 w 855312"/>
                    <a:gd name="connsiteY2062" fmla="*/ 48669 h 1324114"/>
                    <a:gd name="connsiteX2063" fmla="*/ 577178 w 855312"/>
                    <a:gd name="connsiteY2063" fmla="*/ 46167 h 1324114"/>
                    <a:gd name="connsiteX2064" fmla="*/ 588253 w 855312"/>
                    <a:gd name="connsiteY2064" fmla="*/ 37789 h 1324114"/>
                    <a:gd name="connsiteX2065" fmla="*/ 593316 w 855312"/>
                    <a:gd name="connsiteY2065" fmla="*/ 35664 h 1324114"/>
                    <a:gd name="connsiteX2066" fmla="*/ 595150 w 855312"/>
                    <a:gd name="connsiteY2066" fmla="*/ 35263 h 1324114"/>
                    <a:gd name="connsiteX2067" fmla="*/ 596570 w 855312"/>
                    <a:gd name="connsiteY2067" fmla="*/ 34547 h 1324114"/>
                    <a:gd name="connsiteX2068" fmla="*/ 597724 w 855312"/>
                    <a:gd name="connsiteY2068" fmla="*/ 32932 h 1324114"/>
                    <a:gd name="connsiteX2069" fmla="*/ 598428 w 855312"/>
                    <a:gd name="connsiteY2069" fmla="*/ 30661 h 1324114"/>
                    <a:gd name="connsiteX2070" fmla="*/ 598526 w 855312"/>
                    <a:gd name="connsiteY2070" fmla="*/ 26350 h 1324114"/>
                    <a:gd name="connsiteX2071" fmla="*/ 597493 w 855312"/>
                    <a:gd name="connsiteY2071" fmla="*/ 20643 h 1324114"/>
                    <a:gd name="connsiteX2072" fmla="*/ 598003 w 855312"/>
                    <a:gd name="connsiteY2072" fmla="*/ 17935 h 1324114"/>
                    <a:gd name="connsiteX2073" fmla="*/ 598695 w 855312"/>
                    <a:gd name="connsiteY2073" fmla="*/ 15749 h 1324114"/>
                    <a:gd name="connsiteX2074" fmla="*/ 604731 w 855312"/>
                    <a:gd name="connsiteY2074" fmla="*/ 7541 h 1324114"/>
                    <a:gd name="connsiteX2075" fmla="*/ 607900 w 855312"/>
                    <a:gd name="connsiteY2075" fmla="*/ 6254 h 1324114"/>
                    <a:gd name="connsiteX2076" fmla="*/ 609612 w 855312"/>
                    <a:gd name="connsiteY2076" fmla="*/ 6096 h 1324114"/>
                    <a:gd name="connsiteX2077" fmla="*/ 609357 w 855312"/>
                    <a:gd name="connsiteY2077" fmla="*/ 0 h 1324114"/>
                    <a:gd name="connsiteX2078" fmla="*/ 608774 w 855312"/>
                    <a:gd name="connsiteY2078" fmla="*/ 85 h 1324114"/>
                    <a:gd name="connsiteX2079" fmla="*/ 607062 w 855312"/>
                    <a:gd name="connsiteY2079" fmla="*/ 328 h 1324114"/>
                    <a:gd name="connsiteX2080" fmla="*/ 606309 w 855312"/>
                    <a:gd name="connsiteY2080" fmla="*/ 437 h 1324114"/>
                    <a:gd name="connsiteX2081" fmla="*/ 605605 w 855312"/>
                    <a:gd name="connsiteY2081" fmla="*/ 716 h 1324114"/>
                    <a:gd name="connsiteX2082" fmla="*/ 602435 w 855312"/>
                    <a:gd name="connsiteY2082" fmla="*/ 2004 h 1324114"/>
                    <a:gd name="connsiteX2083" fmla="*/ 600845 w 855312"/>
                    <a:gd name="connsiteY2083" fmla="*/ 2647 h 1324114"/>
                    <a:gd name="connsiteX2084" fmla="*/ 599837 w 855312"/>
                    <a:gd name="connsiteY2084" fmla="*/ 4031 h 1324114"/>
                    <a:gd name="connsiteX2085" fmla="*/ 593802 w 855312"/>
                    <a:gd name="connsiteY2085" fmla="*/ 12240 h 1324114"/>
                    <a:gd name="connsiteX2086" fmla="*/ 593207 w 855312"/>
                    <a:gd name="connsiteY2086" fmla="*/ 13042 h 1324114"/>
                    <a:gd name="connsiteX2087" fmla="*/ 592903 w 855312"/>
                    <a:gd name="connsiteY2087" fmla="*/ 14001 h 1324114"/>
                    <a:gd name="connsiteX2088" fmla="*/ 592211 w 855312"/>
                    <a:gd name="connsiteY2088" fmla="*/ 16187 h 1324114"/>
                    <a:gd name="connsiteX2089" fmla="*/ 592102 w 855312"/>
                    <a:gd name="connsiteY2089" fmla="*/ 16526 h 1324114"/>
                    <a:gd name="connsiteX2090" fmla="*/ 592041 w 855312"/>
                    <a:gd name="connsiteY2090" fmla="*/ 16879 h 1324114"/>
                    <a:gd name="connsiteX2091" fmla="*/ 591531 w 855312"/>
                    <a:gd name="connsiteY2091" fmla="*/ 19587 h 1324114"/>
                    <a:gd name="connsiteX2092" fmla="*/ 591325 w 855312"/>
                    <a:gd name="connsiteY2092" fmla="*/ 20692 h 1324114"/>
                    <a:gd name="connsiteX2093" fmla="*/ 591519 w 855312"/>
                    <a:gd name="connsiteY2093" fmla="*/ 21797 h 1324114"/>
                    <a:gd name="connsiteX2094" fmla="*/ 592442 w 855312"/>
                    <a:gd name="connsiteY2094" fmla="*/ 26897 h 1324114"/>
                    <a:gd name="connsiteX2095" fmla="*/ 592381 w 855312"/>
                    <a:gd name="connsiteY2095" fmla="*/ 29714 h 1324114"/>
                    <a:gd name="connsiteX2096" fmla="*/ 592017 w 855312"/>
                    <a:gd name="connsiteY2096" fmla="*/ 29799 h 1324114"/>
                    <a:gd name="connsiteX2097" fmla="*/ 591483 w 855312"/>
                    <a:gd name="connsiteY2097" fmla="*/ 29920 h 1324114"/>
                    <a:gd name="connsiteX2098" fmla="*/ 590973 w 855312"/>
                    <a:gd name="connsiteY2098" fmla="*/ 30139 h 1324114"/>
                    <a:gd name="connsiteX2099" fmla="*/ 585909 w 855312"/>
                    <a:gd name="connsiteY2099" fmla="*/ 32264 h 1324114"/>
                    <a:gd name="connsiteX2100" fmla="*/ 585205 w 855312"/>
                    <a:gd name="connsiteY2100" fmla="*/ 32555 h 1324114"/>
                    <a:gd name="connsiteX2101" fmla="*/ 584598 w 855312"/>
                    <a:gd name="connsiteY2101" fmla="*/ 33017 h 1324114"/>
                    <a:gd name="connsiteX2102" fmla="*/ 573523 w 855312"/>
                    <a:gd name="connsiteY2102" fmla="*/ 41395 h 1324114"/>
                    <a:gd name="connsiteX2103" fmla="*/ 573183 w 855312"/>
                    <a:gd name="connsiteY2103" fmla="*/ 41650 h 1324114"/>
                    <a:gd name="connsiteX2104" fmla="*/ 572880 w 855312"/>
                    <a:gd name="connsiteY2104" fmla="*/ 41954 h 1324114"/>
                    <a:gd name="connsiteX2105" fmla="*/ 570390 w 855312"/>
                    <a:gd name="connsiteY2105" fmla="*/ 44455 h 1324114"/>
                    <a:gd name="connsiteX2106" fmla="*/ 569929 w 855312"/>
                    <a:gd name="connsiteY2106" fmla="*/ 44905 h 1324114"/>
                    <a:gd name="connsiteX2107" fmla="*/ 569577 w 855312"/>
                    <a:gd name="connsiteY2107" fmla="*/ 45451 h 1324114"/>
                    <a:gd name="connsiteX2108" fmla="*/ 568265 w 855312"/>
                    <a:gd name="connsiteY2108" fmla="*/ 47491 h 1324114"/>
                    <a:gd name="connsiteX2109" fmla="*/ 567828 w 855312"/>
                    <a:gd name="connsiteY2109" fmla="*/ 48183 h 1324114"/>
                    <a:gd name="connsiteX2110" fmla="*/ 567573 w 855312"/>
                    <a:gd name="connsiteY2110" fmla="*/ 48948 h 1324114"/>
                    <a:gd name="connsiteX2111" fmla="*/ 566881 w 855312"/>
                    <a:gd name="connsiteY2111" fmla="*/ 51134 h 1324114"/>
                    <a:gd name="connsiteX2112" fmla="*/ 566759 w 855312"/>
                    <a:gd name="connsiteY2112" fmla="*/ 51534 h 1324114"/>
                    <a:gd name="connsiteX2113" fmla="*/ 566687 w 855312"/>
                    <a:gd name="connsiteY2113" fmla="*/ 51948 h 1324114"/>
                    <a:gd name="connsiteX2114" fmla="*/ 566614 w 855312"/>
                    <a:gd name="connsiteY2114" fmla="*/ 52372 h 1324114"/>
                    <a:gd name="connsiteX2115" fmla="*/ 565375 w 855312"/>
                    <a:gd name="connsiteY2115" fmla="*/ 52178 h 1324114"/>
                    <a:gd name="connsiteX2116" fmla="*/ 564805 w 855312"/>
                    <a:gd name="connsiteY2116" fmla="*/ 52081 h 1324114"/>
                    <a:gd name="connsiteX2117" fmla="*/ 564222 w 855312"/>
                    <a:gd name="connsiteY2117" fmla="*/ 52093 h 1324114"/>
                    <a:gd name="connsiteX2118" fmla="*/ 562267 w 855312"/>
                    <a:gd name="connsiteY2118" fmla="*/ 52154 h 1324114"/>
                    <a:gd name="connsiteX2119" fmla="*/ 561502 w 855312"/>
                    <a:gd name="connsiteY2119" fmla="*/ 52178 h 1324114"/>
                    <a:gd name="connsiteX2120" fmla="*/ 560773 w 855312"/>
                    <a:gd name="connsiteY2120" fmla="*/ 52397 h 1324114"/>
                    <a:gd name="connsiteX2121" fmla="*/ 558587 w 855312"/>
                    <a:gd name="connsiteY2121" fmla="*/ 53028 h 1324114"/>
                    <a:gd name="connsiteX2122" fmla="*/ 557932 w 855312"/>
                    <a:gd name="connsiteY2122" fmla="*/ 53222 h 1324114"/>
                    <a:gd name="connsiteX2123" fmla="*/ 557337 w 855312"/>
                    <a:gd name="connsiteY2123" fmla="*/ 53550 h 1324114"/>
                    <a:gd name="connsiteX2124" fmla="*/ 555345 w 855312"/>
                    <a:gd name="connsiteY2124" fmla="*/ 54643 h 1324114"/>
                    <a:gd name="connsiteX2125" fmla="*/ 554835 w 855312"/>
                    <a:gd name="connsiteY2125" fmla="*/ 54862 h 1324114"/>
                    <a:gd name="connsiteX2126" fmla="*/ 550439 w 855312"/>
                    <a:gd name="connsiteY2126" fmla="*/ 54146 h 1324114"/>
                    <a:gd name="connsiteX2127" fmla="*/ 549626 w 855312"/>
                    <a:gd name="connsiteY2127" fmla="*/ 54000 h 1324114"/>
                    <a:gd name="connsiteX2128" fmla="*/ 548812 w 855312"/>
                    <a:gd name="connsiteY2128" fmla="*/ 54097 h 1324114"/>
                    <a:gd name="connsiteX2129" fmla="*/ 544902 w 855312"/>
                    <a:gd name="connsiteY2129" fmla="*/ 54522 h 1324114"/>
                    <a:gd name="connsiteX2130" fmla="*/ 544162 w 855312"/>
                    <a:gd name="connsiteY2130" fmla="*/ 54607 h 1324114"/>
                    <a:gd name="connsiteX2131" fmla="*/ 543469 w 855312"/>
                    <a:gd name="connsiteY2131" fmla="*/ 54862 h 1324114"/>
                    <a:gd name="connsiteX2132" fmla="*/ 536936 w 855312"/>
                    <a:gd name="connsiteY2132" fmla="*/ 57242 h 1324114"/>
                    <a:gd name="connsiteX2133" fmla="*/ 536062 w 855312"/>
                    <a:gd name="connsiteY2133" fmla="*/ 57557 h 1324114"/>
                    <a:gd name="connsiteX2134" fmla="*/ 535322 w 855312"/>
                    <a:gd name="connsiteY2134" fmla="*/ 58128 h 1324114"/>
                    <a:gd name="connsiteX2135" fmla="*/ 532614 w 855312"/>
                    <a:gd name="connsiteY2135" fmla="*/ 60205 h 1324114"/>
                    <a:gd name="connsiteX2136" fmla="*/ 531630 w 855312"/>
                    <a:gd name="connsiteY2136" fmla="*/ 60957 h 1324114"/>
                    <a:gd name="connsiteX2137" fmla="*/ 531023 w 855312"/>
                    <a:gd name="connsiteY2137" fmla="*/ 62038 h 1324114"/>
                    <a:gd name="connsiteX2138" fmla="*/ 529651 w 855312"/>
                    <a:gd name="connsiteY2138" fmla="*/ 64467 h 1324114"/>
                    <a:gd name="connsiteX2139" fmla="*/ 528679 w 855312"/>
                    <a:gd name="connsiteY2139" fmla="*/ 66191 h 1324114"/>
                    <a:gd name="connsiteX2140" fmla="*/ 528910 w 855312"/>
                    <a:gd name="connsiteY2140" fmla="*/ 68146 h 1324114"/>
                    <a:gd name="connsiteX2141" fmla="*/ 529724 w 855312"/>
                    <a:gd name="connsiteY2141" fmla="*/ 75323 h 1324114"/>
                    <a:gd name="connsiteX2142" fmla="*/ 529724 w 855312"/>
                    <a:gd name="connsiteY2142" fmla="*/ 77399 h 1324114"/>
                    <a:gd name="connsiteX2143" fmla="*/ 529566 w 855312"/>
                    <a:gd name="connsiteY2143" fmla="*/ 79014 h 1324114"/>
                    <a:gd name="connsiteX2144" fmla="*/ 527319 w 855312"/>
                    <a:gd name="connsiteY2144" fmla="*/ 88328 h 1324114"/>
                    <a:gd name="connsiteX2145" fmla="*/ 526870 w 855312"/>
                    <a:gd name="connsiteY2145" fmla="*/ 90829 h 1324114"/>
                    <a:gd name="connsiteX2146" fmla="*/ 526785 w 855312"/>
                    <a:gd name="connsiteY2146" fmla="*/ 91339 h 1324114"/>
                    <a:gd name="connsiteX2147" fmla="*/ 526785 w 855312"/>
                    <a:gd name="connsiteY2147" fmla="*/ 91849 h 1324114"/>
                    <a:gd name="connsiteX2148" fmla="*/ 526785 w 855312"/>
                    <a:gd name="connsiteY2148" fmla="*/ 94897 h 1324114"/>
                    <a:gd name="connsiteX2149" fmla="*/ 526785 w 855312"/>
                    <a:gd name="connsiteY2149" fmla="*/ 95249 h 1324114"/>
                    <a:gd name="connsiteX2150" fmla="*/ 526822 w 855312"/>
                    <a:gd name="connsiteY2150" fmla="*/ 95601 h 1324114"/>
                    <a:gd name="connsiteX2151" fmla="*/ 527392 w 855312"/>
                    <a:gd name="connsiteY2151" fmla="*/ 100410 h 1324114"/>
                    <a:gd name="connsiteX2152" fmla="*/ 527101 w 855312"/>
                    <a:gd name="connsiteY2152" fmla="*/ 103106 h 1324114"/>
                    <a:gd name="connsiteX2153" fmla="*/ 526324 w 855312"/>
                    <a:gd name="connsiteY2153" fmla="*/ 106263 h 1324114"/>
                    <a:gd name="connsiteX2154" fmla="*/ 524223 w 855312"/>
                    <a:gd name="connsiteY2154" fmla="*/ 110744 h 1324114"/>
                    <a:gd name="connsiteX2155" fmla="*/ 523348 w 855312"/>
                    <a:gd name="connsiteY2155" fmla="*/ 111751 h 1324114"/>
                    <a:gd name="connsiteX2156" fmla="*/ 523166 w 855312"/>
                    <a:gd name="connsiteY2156" fmla="*/ 111751 h 1324114"/>
                    <a:gd name="connsiteX2157" fmla="*/ 513792 w 855312"/>
                    <a:gd name="connsiteY2157" fmla="*/ 109104 h 1324114"/>
                    <a:gd name="connsiteX2158" fmla="*/ 513452 w 855312"/>
                    <a:gd name="connsiteY2158" fmla="*/ 109007 h 1324114"/>
                    <a:gd name="connsiteX2159" fmla="*/ 513100 w 855312"/>
                    <a:gd name="connsiteY2159" fmla="*/ 108947 h 1324114"/>
                    <a:gd name="connsiteX2160" fmla="*/ 511363 w 855312"/>
                    <a:gd name="connsiteY2160" fmla="*/ 108679 h 1324114"/>
                    <a:gd name="connsiteX2161" fmla="*/ 511011 w 855312"/>
                    <a:gd name="connsiteY2161" fmla="*/ 108631 h 1324114"/>
                    <a:gd name="connsiteX2162" fmla="*/ 510659 w 855312"/>
                    <a:gd name="connsiteY2162" fmla="*/ 108606 h 1324114"/>
                    <a:gd name="connsiteX2163" fmla="*/ 509166 w 855312"/>
                    <a:gd name="connsiteY2163" fmla="*/ 108546 h 1324114"/>
                    <a:gd name="connsiteX2164" fmla="*/ 508449 w 855312"/>
                    <a:gd name="connsiteY2164" fmla="*/ 108522 h 1324114"/>
                    <a:gd name="connsiteX2165" fmla="*/ 507745 w 855312"/>
                    <a:gd name="connsiteY2165" fmla="*/ 108667 h 1324114"/>
                    <a:gd name="connsiteX2166" fmla="*/ 505280 w 855312"/>
                    <a:gd name="connsiteY2166" fmla="*/ 109153 h 1324114"/>
                    <a:gd name="connsiteX2167" fmla="*/ 500022 w 855312"/>
                    <a:gd name="connsiteY2167" fmla="*/ 110185 h 1324114"/>
                    <a:gd name="connsiteX2168" fmla="*/ 500398 w 855312"/>
                    <a:gd name="connsiteY2168" fmla="*/ 115528 h 1324114"/>
                    <a:gd name="connsiteX2169" fmla="*/ 500678 w 855312"/>
                    <a:gd name="connsiteY2169" fmla="*/ 119669 h 1324114"/>
                    <a:gd name="connsiteX2170" fmla="*/ 500751 w 855312"/>
                    <a:gd name="connsiteY2170" fmla="*/ 120676 h 1324114"/>
                    <a:gd name="connsiteX2171" fmla="*/ 501151 w 855312"/>
                    <a:gd name="connsiteY2171" fmla="*/ 121612 h 1324114"/>
                    <a:gd name="connsiteX2172" fmla="*/ 503143 w 855312"/>
                    <a:gd name="connsiteY2172" fmla="*/ 126311 h 1324114"/>
                    <a:gd name="connsiteX2173" fmla="*/ 503203 w 855312"/>
                    <a:gd name="connsiteY2173" fmla="*/ 126699 h 1324114"/>
                    <a:gd name="connsiteX2174" fmla="*/ 502171 w 855312"/>
                    <a:gd name="connsiteY2174" fmla="*/ 127294 h 1324114"/>
                    <a:gd name="connsiteX2175" fmla="*/ 499051 w 855312"/>
                    <a:gd name="connsiteY2175" fmla="*/ 128703 h 1324114"/>
                    <a:gd name="connsiteX2176" fmla="*/ 498371 w 855312"/>
                    <a:gd name="connsiteY2176" fmla="*/ 129006 h 1324114"/>
                    <a:gd name="connsiteX2177" fmla="*/ 497788 w 855312"/>
                    <a:gd name="connsiteY2177" fmla="*/ 129480 h 1324114"/>
                    <a:gd name="connsiteX2178" fmla="*/ 495991 w 855312"/>
                    <a:gd name="connsiteY2178" fmla="*/ 130925 h 1324114"/>
                    <a:gd name="connsiteX2179" fmla="*/ 495092 w 855312"/>
                    <a:gd name="connsiteY2179" fmla="*/ 131642 h 1324114"/>
                    <a:gd name="connsiteX2180" fmla="*/ 494521 w 855312"/>
                    <a:gd name="connsiteY2180" fmla="*/ 132637 h 1324114"/>
                    <a:gd name="connsiteX2181" fmla="*/ 492809 w 855312"/>
                    <a:gd name="connsiteY2181" fmla="*/ 135612 h 1324114"/>
                    <a:gd name="connsiteX2182" fmla="*/ 492566 w 855312"/>
                    <a:gd name="connsiteY2182" fmla="*/ 136025 h 1324114"/>
                    <a:gd name="connsiteX2183" fmla="*/ 492396 w 855312"/>
                    <a:gd name="connsiteY2183" fmla="*/ 136462 h 1324114"/>
                    <a:gd name="connsiteX2184" fmla="*/ 490793 w 855312"/>
                    <a:gd name="connsiteY2184" fmla="*/ 140664 h 1324114"/>
                    <a:gd name="connsiteX2185" fmla="*/ 490648 w 855312"/>
                    <a:gd name="connsiteY2185" fmla="*/ 141052 h 1324114"/>
                    <a:gd name="connsiteX2186" fmla="*/ 490551 w 855312"/>
                    <a:gd name="connsiteY2186" fmla="*/ 141441 h 1324114"/>
                    <a:gd name="connsiteX2187" fmla="*/ 490271 w 855312"/>
                    <a:gd name="connsiteY2187" fmla="*/ 142667 h 1324114"/>
                    <a:gd name="connsiteX2188" fmla="*/ 488583 w 855312"/>
                    <a:gd name="connsiteY2188" fmla="*/ 141647 h 1324114"/>
                    <a:gd name="connsiteX2189" fmla="*/ 487794 w 855312"/>
                    <a:gd name="connsiteY2189" fmla="*/ 140858 h 1324114"/>
                    <a:gd name="connsiteX2190" fmla="*/ 485280 w 855312"/>
                    <a:gd name="connsiteY2190" fmla="*/ 137324 h 1324114"/>
                    <a:gd name="connsiteX2191" fmla="*/ 484540 w 855312"/>
                    <a:gd name="connsiteY2191" fmla="*/ 136280 h 1324114"/>
                    <a:gd name="connsiteX2192" fmla="*/ 483447 w 855312"/>
                    <a:gd name="connsiteY2192" fmla="*/ 135625 h 1324114"/>
                    <a:gd name="connsiteX2193" fmla="*/ 481771 w 855312"/>
                    <a:gd name="connsiteY2193" fmla="*/ 134617 h 1324114"/>
                    <a:gd name="connsiteX2194" fmla="*/ 480108 w 855312"/>
                    <a:gd name="connsiteY2194" fmla="*/ 133609 h 1324114"/>
                    <a:gd name="connsiteX2195" fmla="*/ 478165 w 855312"/>
                    <a:gd name="connsiteY2195" fmla="*/ 133779 h 1324114"/>
                    <a:gd name="connsiteX2196" fmla="*/ 476392 w 855312"/>
                    <a:gd name="connsiteY2196" fmla="*/ 133924 h 1324114"/>
                    <a:gd name="connsiteX2197" fmla="*/ 475943 w 855312"/>
                    <a:gd name="connsiteY2197" fmla="*/ 133961 h 1324114"/>
                    <a:gd name="connsiteX2198" fmla="*/ 475505 w 855312"/>
                    <a:gd name="connsiteY2198" fmla="*/ 134058 h 1324114"/>
                    <a:gd name="connsiteX2199" fmla="*/ 473696 w 855312"/>
                    <a:gd name="connsiteY2199" fmla="*/ 134483 h 1324114"/>
                    <a:gd name="connsiteX2200" fmla="*/ 472627 w 855312"/>
                    <a:gd name="connsiteY2200" fmla="*/ 134520 h 1324114"/>
                    <a:gd name="connsiteX2201" fmla="*/ 470563 w 855312"/>
                    <a:gd name="connsiteY2201" fmla="*/ 133439 h 1324114"/>
                    <a:gd name="connsiteX2202" fmla="*/ 469531 w 855312"/>
                    <a:gd name="connsiteY2202" fmla="*/ 132905 h 1324114"/>
                    <a:gd name="connsiteX2203" fmla="*/ 468365 w 855312"/>
                    <a:gd name="connsiteY2203" fmla="*/ 132783 h 1324114"/>
                    <a:gd name="connsiteX2204" fmla="*/ 466131 w 855312"/>
                    <a:gd name="connsiteY2204" fmla="*/ 132553 h 1324114"/>
                    <a:gd name="connsiteX2205" fmla="*/ 464552 w 855312"/>
                    <a:gd name="connsiteY2205" fmla="*/ 132382 h 1324114"/>
                    <a:gd name="connsiteX2206" fmla="*/ 463107 w 855312"/>
                    <a:gd name="connsiteY2206" fmla="*/ 133014 h 1324114"/>
                    <a:gd name="connsiteX2207" fmla="*/ 461274 w 855312"/>
                    <a:gd name="connsiteY2207" fmla="*/ 133803 h 1324114"/>
                    <a:gd name="connsiteX2208" fmla="*/ 459610 w 855312"/>
                    <a:gd name="connsiteY2208" fmla="*/ 134532 h 1324114"/>
                    <a:gd name="connsiteX2209" fmla="*/ 458615 w 855312"/>
                    <a:gd name="connsiteY2209" fmla="*/ 136037 h 1324114"/>
                    <a:gd name="connsiteX2210" fmla="*/ 457801 w 855312"/>
                    <a:gd name="connsiteY2210" fmla="*/ 137276 h 1324114"/>
                    <a:gd name="connsiteX2211" fmla="*/ 457449 w 855312"/>
                    <a:gd name="connsiteY2211" fmla="*/ 137822 h 1324114"/>
                    <a:gd name="connsiteX2212" fmla="*/ 457218 w 855312"/>
                    <a:gd name="connsiteY2212" fmla="*/ 138417 h 1324114"/>
                    <a:gd name="connsiteX2213" fmla="*/ 456538 w 855312"/>
                    <a:gd name="connsiteY2213" fmla="*/ 140178 h 1324114"/>
                    <a:gd name="connsiteX2214" fmla="*/ 455251 w 855312"/>
                    <a:gd name="connsiteY2214" fmla="*/ 140555 h 1324114"/>
                    <a:gd name="connsiteX2215" fmla="*/ 454462 w 855312"/>
                    <a:gd name="connsiteY2215" fmla="*/ 140785 h 1324114"/>
                    <a:gd name="connsiteX2216" fmla="*/ 453757 w 855312"/>
                    <a:gd name="connsiteY2216" fmla="*/ 141222 h 1324114"/>
                    <a:gd name="connsiteX2217" fmla="*/ 452324 w 855312"/>
                    <a:gd name="connsiteY2217" fmla="*/ 142109 h 1324114"/>
                    <a:gd name="connsiteX2218" fmla="*/ 451086 w 855312"/>
                    <a:gd name="connsiteY2218" fmla="*/ 142874 h 1324114"/>
                    <a:gd name="connsiteX2219" fmla="*/ 450333 w 855312"/>
                    <a:gd name="connsiteY2219" fmla="*/ 144137 h 1324114"/>
                    <a:gd name="connsiteX2220" fmla="*/ 449641 w 855312"/>
                    <a:gd name="connsiteY2220" fmla="*/ 145290 h 1324114"/>
                    <a:gd name="connsiteX2221" fmla="*/ 448706 w 855312"/>
                    <a:gd name="connsiteY2221" fmla="*/ 146833 h 1324114"/>
                    <a:gd name="connsiteX2222" fmla="*/ 448767 w 855312"/>
                    <a:gd name="connsiteY2222" fmla="*/ 148618 h 1324114"/>
                    <a:gd name="connsiteX2223" fmla="*/ 448803 w 855312"/>
                    <a:gd name="connsiteY2223" fmla="*/ 149941 h 1324114"/>
                    <a:gd name="connsiteX2224" fmla="*/ 446192 w 855312"/>
                    <a:gd name="connsiteY2224" fmla="*/ 150961 h 1324114"/>
                    <a:gd name="connsiteX2225" fmla="*/ 445731 w 855312"/>
                    <a:gd name="connsiteY2225" fmla="*/ 151143 h 1324114"/>
                    <a:gd name="connsiteX2226" fmla="*/ 445306 w 855312"/>
                    <a:gd name="connsiteY2226" fmla="*/ 151398 h 1324114"/>
                    <a:gd name="connsiteX2227" fmla="*/ 443460 w 855312"/>
                    <a:gd name="connsiteY2227" fmla="*/ 152491 h 1324114"/>
                    <a:gd name="connsiteX2228" fmla="*/ 442404 w 855312"/>
                    <a:gd name="connsiteY2228" fmla="*/ 153123 h 1324114"/>
                    <a:gd name="connsiteX2229" fmla="*/ 441663 w 855312"/>
                    <a:gd name="connsiteY2229" fmla="*/ 154118 h 1324114"/>
                    <a:gd name="connsiteX2230" fmla="*/ 440692 w 855312"/>
                    <a:gd name="connsiteY2230" fmla="*/ 155429 h 1324114"/>
                    <a:gd name="connsiteX2231" fmla="*/ 440303 w 855312"/>
                    <a:gd name="connsiteY2231" fmla="*/ 155952 h 1324114"/>
                    <a:gd name="connsiteX2232" fmla="*/ 440036 w 855312"/>
                    <a:gd name="connsiteY2232" fmla="*/ 156547 h 1324114"/>
                    <a:gd name="connsiteX2233" fmla="*/ 439465 w 855312"/>
                    <a:gd name="connsiteY2233" fmla="*/ 157810 h 1324114"/>
                    <a:gd name="connsiteX2234" fmla="*/ 439271 w 855312"/>
                    <a:gd name="connsiteY2234" fmla="*/ 158247 h 1324114"/>
                    <a:gd name="connsiteX2235" fmla="*/ 439149 w 855312"/>
                    <a:gd name="connsiteY2235" fmla="*/ 158696 h 1324114"/>
                    <a:gd name="connsiteX2236" fmla="*/ 439040 w 855312"/>
                    <a:gd name="connsiteY2236" fmla="*/ 159097 h 1324114"/>
                    <a:gd name="connsiteX2237" fmla="*/ 437729 w 855312"/>
                    <a:gd name="connsiteY2237" fmla="*/ 160275 h 1324114"/>
                    <a:gd name="connsiteX2238" fmla="*/ 426229 w 855312"/>
                    <a:gd name="connsiteY2238" fmla="*/ 163565 h 1324114"/>
                    <a:gd name="connsiteX2239" fmla="*/ 424833 w 855312"/>
                    <a:gd name="connsiteY2239" fmla="*/ 163954 h 1324114"/>
                    <a:gd name="connsiteX2240" fmla="*/ 423813 w 855312"/>
                    <a:gd name="connsiteY2240" fmla="*/ 164925 h 1324114"/>
                    <a:gd name="connsiteX2241" fmla="*/ 422137 w 855312"/>
                    <a:gd name="connsiteY2241" fmla="*/ 166480 h 1324114"/>
                    <a:gd name="connsiteX2242" fmla="*/ 420704 w 855312"/>
                    <a:gd name="connsiteY2242" fmla="*/ 167803 h 1324114"/>
                    <a:gd name="connsiteX2243" fmla="*/ 420316 w 855312"/>
                    <a:gd name="connsiteY2243" fmla="*/ 169710 h 1324114"/>
                    <a:gd name="connsiteX2244" fmla="*/ 419976 w 855312"/>
                    <a:gd name="connsiteY2244" fmla="*/ 171397 h 1324114"/>
                    <a:gd name="connsiteX2245" fmla="*/ 419454 w 855312"/>
                    <a:gd name="connsiteY2245" fmla="*/ 173960 h 1324114"/>
                    <a:gd name="connsiteX2246" fmla="*/ 420971 w 855312"/>
                    <a:gd name="connsiteY2246" fmla="*/ 176109 h 1324114"/>
                    <a:gd name="connsiteX2247" fmla="*/ 422113 w 855312"/>
                    <a:gd name="connsiteY2247" fmla="*/ 177736 h 1324114"/>
                    <a:gd name="connsiteX2248" fmla="*/ 424626 w 855312"/>
                    <a:gd name="connsiteY2248" fmla="*/ 180772 h 1324114"/>
                    <a:gd name="connsiteX2249" fmla="*/ 424602 w 855312"/>
                    <a:gd name="connsiteY2249" fmla="*/ 181027 h 1324114"/>
                    <a:gd name="connsiteX2250" fmla="*/ 424007 w 855312"/>
                    <a:gd name="connsiteY2250" fmla="*/ 183079 h 1324114"/>
                    <a:gd name="connsiteX2251" fmla="*/ 423764 w 855312"/>
                    <a:gd name="connsiteY2251" fmla="*/ 183905 h 1324114"/>
                    <a:gd name="connsiteX2252" fmla="*/ 423764 w 855312"/>
                    <a:gd name="connsiteY2252" fmla="*/ 184755 h 1324114"/>
                    <a:gd name="connsiteX2253" fmla="*/ 423764 w 855312"/>
                    <a:gd name="connsiteY2253" fmla="*/ 185544 h 1324114"/>
                    <a:gd name="connsiteX2254" fmla="*/ 423764 w 855312"/>
                    <a:gd name="connsiteY2254" fmla="*/ 187159 h 1324114"/>
                    <a:gd name="connsiteX2255" fmla="*/ 424311 w 855312"/>
                    <a:gd name="connsiteY2255" fmla="*/ 188118 h 1324114"/>
                    <a:gd name="connsiteX2256" fmla="*/ 424056 w 855312"/>
                    <a:gd name="connsiteY2256" fmla="*/ 188470 h 1324114"/>
                    <a:gd name="connsiteX2257" fmla="*/ 422222 w 855312"/>
                    <a:gd name="connsiteY2257" fmla="*/ 191081 h 1324114"/>
                    <a:gd name="connsiteX2258" fmla="*/ 421360 w 855312"/>
                    <a:gd name="connsiteY2258" fmla="*/ 192320 h 1324114"/>
                    <a:gd name="connsiteX2259" fmla="*/ 421166 w 855312"/>
                    <a:gd name="connsiteY2259" fmla="*/ 193801 h 1324114"/>
                    <a:gd name="connsiteX2260" fmla="*/ 420826 w 855312"/>
                    <a:gd name="connsiteY2260" fmla="*/ 196412 h 1324114"/>
                    <a:gd name="connsiteX2261" fmla="*/ 420583 w 855312"/>
                    <a:gd name="connsiteY2261" fmla="*/ 198294 h 1324114"/>
                    <a:gd name="connsiteX2262" fmla="*/ 421457 w 855312"/>
                    <a:gd name="connsiteY2262" fmla="*/ 199994 h 1324114"/>
                    <a:gd name="connsiteX2263" fmla="*/ 422429 w 855312"/>
                    <a:gd name="connsiteY2263" fmla="*/ 201864 h 1324114"/>
                    <a:gd name="connsiteX2264" fmla="*/ 422939 w 855312"/>
                    <a:gd name="connsiteY2264" fmla="*/ 202860 h 1324114"/>
                    <a:gd name="connsiteX2265" fmla="*/ 423776 w 855312"/>
                    <a:gd name="connsiteY2265" fmla="*/ 203613 h 1324114"/>
                    <a:gd name="connsiteX2266" fmla="*/ 424809 w 855312"/>
                    <a:gd name="connsiteY2266" fmla="*/ 204536 h 1324114"/>
                    <a:gd name="connsiteX2267" fmla="*/ 425525 w 855312"/>
                    <a:gd name="connsiteY2267" fmla="*/ 208081 h 1324114"/>
                    <a:gd name="connsiteX2268" fmla="*/ 425731 w 855312"/>
                    <a:gd name="connsiteY2268" fmla="*/ 209089 h 1324114"/>
                    <a:gd name="connsiteX2269" fmla="*/ 426266 w 855312"/>
                    <a:gd name="connsiteY2269" fmla="*/ 209976 h 1324114"/>
                    <a:gd name="connsiteX2270" fmla="*/ 427468 w 855312"/>
                    <a:gd name="connsiteY2270" fmla="*/ 211992 h 1324114"/>
                    <a:gd name="connsiteX2271" fmla="*/ 428148 w 855312"/>
                    <a:gd name="connsiteY2271" fmla="*/ 213133 h 1324114"/>
                    <a:gd name="connsiteX2272" fmla="*/ 429229 w 855312"/>
                    <a:gd name="connsiteY2272" fmla="*/ 213886 h 1324114"/>
                    <a:gd name="connsiteX2273" fmla="*/ 430419 w 855312"/>
                    <a:gd name="connsiteY2273" fmla="*/ 214712 h 1324114"/>
                    <a:gd name="connsiteX2274" fmla="*/ 430066 w 855312"/>
                    <a:gd name="connsiteY2274" fmla="*/ 214906 h 1324114"/>
                    <a:gd name="connsiteX2275" fmla="*/ 429884 w 855312"/>
                    <a:gd name="connsiteY2275" fmla="*/ 214930 h 1324114"/>
                    <a:gd name="connsiteX2276" fmla="*/ 425865 w 855312"/>
                    <a:gd name="connsiteY2276" fmla="*/ 213983 h 1324114"/>
                    <a:gd name="connsiteX2277" fmla="*/ 425561 w 855312"/>
                    <a:gd name="connsiteY2277" fmla="*/ 213910 h 1324114"/>
                    <a:gd name="connsiteX2278" fmla="*/ 425258 w 855312"/>
                    <a:gd name="connsiteY2278" fmla="*/ 213861 h 1324114"/>
                    <a:gd name="connsiteX2279" fmla="*/ 422914 w 855312"/>
                    <a:gd name="connsiteY2279" fmla="*/ 213558 h 1324114"/>
                    <a:gd name="connsiteX2280" fmla="*/ 422465 w 855312"/>
                    <a:gd name="connsiteY2280" fmla="*/ 213497 h 1324114"/>
                    <a:gd name="connsiteX2281" fmla="*/ 422028 w 855312"/>
                    <a:gd name="connsiteY2281" fmla="*/ 213497 h 1324114"/>
                    <a:gd name="connsiteX2282" fmla="*/ 418057 w 855312"/>
                    <a:gd name="connsiteY2282" fmla="*/ 213570 h 1324114"/>
                    <a:gd name="connsiteX2283" fmla="*/ 417960 w 855312"/>
                    <a:gd name="connsiteY2283" fmla="*/ 213546 h 1324114"/>
                    <a:gd name="connsiteX2284" fmla="*/ 417365 w 855312"/>
                    <a:gd name="connsiteY2284" fmla="*/ 213133 h 1324114"/>
                    <a:gd name="connsiteX2285" fmla="*/ 414536 w 855312"/>
                    <a:gd name="connsiteY2285" fmla="*/ 210437 h 1324114"/>
                    <a:gd name="connsiteX2286" fmla="*/ 413916 w 855312"/>
                    <a:gd name="connsiteY2286" fmla="*/ 209854 h 1324114"/>
                    <a:gd name="connsiteX2287" fmla="*/ 413164 w 855312"/>
                    <a:gd name="connsiteY2287" fmla="*/ 209466 h 1324114"/>
                    <a:gd name="connsiteX2288" fmla="*/ 411561 w 855312"/>
                    <a:gd name="connsiteY2288" fmla="*/ 208628 h 1324114"/>
                    <a:gd name="connsiteX2289" fmla="*/ 410869 w 855312"/>
                    <a:gd name="connsiteY2289" fmla="*/ 208276 h 1324114"/>
                    <a:gd name="connsiteX2290" fmla="*/ 410116 w 855312"/>
                    <a:gd name="connsiteY2290" fmla="*/ 208106 h 1324114"/>
                    <a:gd name="connsiteX2291" fmla="*/ 408331 w 855312"/>
                    <a:gd name="connsiteY2291" fmla="*/ 207705 h 1324114"/>
                    <a:gd name="connsiteX2292" fmla="*/ 407383 w 855312"/>
                    <a:gd name="connsiteY2292" fmla="*/ 207486 h 1324114"/>
                    <a:gd name="connsiteX2293" fmla="*/ 406424 w 855312"/>
                    <a:gd name="connsiteY2293" fmla="*/ 207571 h 1324114"/>
                    <a:gd name="connsiteX2294" fmla="*/ 404129 w 855312"/>
                    <a:gd name="connsiteY2294" fmla="*/ 207790 h 1324114"/>
                    <a:gd name="connsiteX2295" fmla="*/ 403680 w 855312"/>
                    <a:gd name="connsiteY2295" fmla="*/ 207838 h 1324114"/>
                    <a:gd name="connsiteX2296" fmla="*/ 403231 w 855312"/>
                    <a:gd name="connsiteY2296" fmla="*/ 207948 h 1324114"/>
                    <a:gd name="connsiteX2297" fmla="*/ 400596 w 855312"/>
                    <a:gd name="connsiteY2297" fmla="*/ 208603 h 1324114"/>
                    <a:gd name="connsiteX2298" fmla="*/ 399721 w 855312"/>
                    <a:gd name="connsiteY2298" fmla="*/ 208822 h 1324114"/>
                    <a:gd name="connsiteX2299" fmla="*/ 398956 w 855312"/>
                    <a:gd name="connsiteY2299" fmla="*/ 209284 h 1324114"/>
                    <a:gd name="connsiteX2300" fmla="*/ 396273 w 855312"/>
                    <a:gd name="connsiteY2300" fmla="*/ 210874 h 1324114"/>
                    <a:gd name="connsiteX2301" fmla="*/ 394281 w 855312"/>
                    <a:gd name="connsiteY2301" fmla="*/ 209781 h 1324114"/>
                    <a:gd name="connsiteX2302" fmla="*/ 393043 w 855312"/>
                    <a:gd name="connsiteY2302" fmla="*/ 209101 h 1324114"/>
                    <a:gd name="connsiteX2303" fmla="*/ 391634 w 855312"/>
                    <a:gd name="connsiteY2303" fmla="*/ 209028 h 1324114"/>
                    <a:gd name="connsiteX2304" fmla="*/ 388938 w 855312"/>
                    <a:gd name="connsiteY2304" fmla="*/ 208907 h 1324114"/>
                    <a:gd name="connsiteX2305" fmla="*/ 388088 w 855312"/>
                    <a:gd name="connsiteY2305" fmla="*/ 208871 h 1324114"/>
                    <a:gd name="connsiteX2306" fmla="*/ 387263 w 855312"/>
                    <a:gd name="connsiteY2306" fmla="*/ 209077 h 1324114"/>
                    <a:gd name="connsiteX2307" fmla="*/ 383875 w 855312"/>
                    <a:gd name="connsiteY2307" fmla="*/ 209879 h 1324114"/>
                    <a:gd name="connsiteX2308" fmla="*/ 382915 w 855312"/>
                    <a:gd name="connsiteY2308" fmla="*/ 210109 h 1324114"/>
                    <a:gd name="connsiteX2309" fmla="*/ 382078 w 855312"/>
                    <a:gd name="connsiteY2309" fmla="*/ 210632 h 1324114"/>
                    <a:gd name="connsiteX2310" fmla="*/ 376237 w 855312"/>
                    <a:gd name="connsiteY2310" fmla="*/ 214238 h 1324114"/>
                    <a:gd name="connsiteX2311" fmla="*/ 373104 w 855312"/>
                    <a:gd name="connsiteY2311" fmla="*/ 215525 h 1324114"/>
                    <a:gd name="connsiteX2312" fmla="*/ 372995 w 855312"/>
                    <a:gd name="connsiteY2312" fmla="*/ 215562 h 1324114"/>
                    <a:gd name="connsiteX2313" fmla="*/ 372727 w 855312"/>
                    <a:gd name="connsiteY2313" fmla="*/ 215379 h 1324114"/>
                    <a:gd name="connsiteX2314" fmla="*/ 370202 w 855312"/>
                    <a:gd name="connsiteY2314" fmla="*/ 213691 h 1324114"/>
                    <a:gd name="connsiteX2315" fmla="*/ 367348 w 855312"/>
                    <a:gd name="connsiteY2315" fmla="*/ 214699 h 1324114"/>
                    <a:gd name="connsiteX2316" fmla="*/ 365260 w 855312"/>
                    <a:gd name="connsiteY2316" fmla="*/ 215440 h 1324114"/>
                    <a:gd name="connsiteX2317" fmla="*/ 359407 w 855312"/>
                    <a:gd name="connsiteY2317" fmla="*/ 216654 h 1324114"/>
                    <a:gd name="connsiteX2318" fmla="*/ 358508 w 855312"/>
                    <a:gd name="connsiteY2318" fmla="*/ 216836 h 1324114"/>
                    <a:gd name="connsiteX2319" fmla="*/ 357719 w 855312"/>
                    <a:gd name="connsiteY2319" fmla="*/ 217274 h 1324114"/>
                    <a:gd name="connsiteX2320" fmla="*/ 356335 w 855312"/>
                    <a:gd name="connsiteY2320" fmla="*/ 218026 h 1324114"/>
                    <a:gd name="connsiteX2321" fmla="*/ 355849 w 855312"/>
                    <a:gd name="connsiteY2321" fmla="*/ 217711 h 1324114"/>
                    <a:gd name="connsiteX2322" fmla="*/ 354173 w 855312"/>
                    <a:gd name="connsiteY2322" fmla="*/ 216594 h 1324114"/>
                    <a:gd name="connsiteX2323" fmla="*/ 353590 w 855312"/>
                    <a:gd name="connsiteY2323" fmla="*/ 216205 h 1324114"/>
                    <a:gd name="connsiteX2324" fmla="*/ 353190 w 855312"/>
                    <a:gd name="connsiteY2324" fmla="*/ 216059 h 1324114"/>
                    <a:gd name="connsiteX2325" fmla="*/ 353032 w 855312"/>
                    <a:gd name="connsiteY2325" fmla="*/ 214784 h 1324114"/>
                    <a:gd name="connsiteX2326" fmla="*/ 352995 w 855312"/>
                    <a:gd name="connsiteY2326" fmla="*/ 214481 h 1324114"/>
                    <a:gd name="connsiteX2327" fmla="*/ 352935 w 855312"/>
                    <a:gd name="connsiteY2327" fmla="*/ 214177 h 1324114"/>
                    <a:gd name="connsiteX2328" fmla="*/ 352255 w 855312"/>
                    <a:gd name="connsiteY2328" fmla="*/ 211190 h 1324114"/>
                    <a:gd name="connsiteX2329" fmla="*/ 352072 w 855312"/>
                    <a:gd name="connsiteY2329" fmla="*/ 210388 h 1324114"/>
                    <a:gd name="connsiteX2330" fmla="*/ 351684 w 855312"/>
                    <a:gd name="connsiteY2330" fmla="*/ 209660 h 1324114"/>
                    <a:gd name="connsiteX2331" fmla="*/ 349899 w 855312"/>
                    <a:gd name="connsiteY2331" fmla="*/ 206333 h 1324114"/>
                    <a:gd name="connsiteX2332" fmla="*/ 349061 w 855312"/>
                    <a:gd name="connsiteY2332" fmla="*/ 204779 h 1324114"/>
                    <a:gd name="connsiteX2333" fmla="*/ 347519 w 855312"/>
                    <a:gd name="connsiteY2333" fmla="*/ 203916 h 1324114"/>
                    <a:gd name="connsiteX2334" fmla="*/ 346086 w 855312"/>
                    <a:gd name="connsiteY2334" fmla="*/ 203115 h 1324114"/>
                    <a:gd name="connsiteX2335" fmla="*/ 343050 w 855312"/>
                    <a:gd name="connsiteY2335" fmla="*/ 201391 h 1324114"/>
                    <a:gd name="connsiteX2336" fmla="*/ 340039 w 855312"/>
                    <a:gd name="connsiteY2336" fmla="*/ 203163 h 1324114"/>
                    <a:gd name="connsiteX2337" fmla="*/ 339711 w 855312"/>
                    <a:gd name="connsiteY2337" fmla="*/ 203358 h 1324114"/>
                    <a:gd name="connsiteX2338" fmla="*/ 336784 w 855312"/>
                    <a:gd name="connsiteY2338" fmla="*/ 200104 h 1324114"/>
                    <a:gd name="connsiteX2339" fmla="*/ 332364 w 855312"/>
                    <a:gd name="connsiteY2339" fmla="*/ 203309 h 1324114"/>
                    <a:gd name="connsiteX2340" fmla="*/ 329389 w 855312"/>
                    <a:gd name="connsiteY2340" fmla="*/ 205471 h 1324114"/>
                    <a:gd name="connsiteX2341" fmla="*/ 328734 w 855312"/>
                    <a:gd name="connsiteY2341" fmla="*/ 205944 h 1324114"/>
                    <a:gd name="connsiteX2342" fmla="*/ 328224 w 855312"/>
                    <a:gd name="connsiteY2342" fmla="*/ 206576 h 1324114"/>
                    <a:gd name="connsiteX2343" fmla="*/ 326876 w 855312"/>
                    <a:gd name="connsiteY2343" fmla="*/ 208251 h 1324114"/>
                    <a:gd name="connsiteX2344" fmla="*/ 326524 w 855312"/>
                    <a:gd name="connsiteY2344" fmla="*/ 207584 h 1324114"/>
                    <a:gd name="connsiteX2345" fmla="*/ 325977 w 855312"/>
                    <a:gd name="connsiteY2345" fmla="*/ 206563 h 1324114"/>
                    <a:gd name="connsiteX2346" fmla="*/ 325091 w 855312"/>
                    <a:gd name="connsiteY2346" fmla="*/ 205811 h 1324114"/>
                    <a:gd name="connsiteX2347" fmla="*/ 322796 w 855312"/>
                    <a:gd name="connsiteY2347" fmla="*/ 203856 h 1324114"/>
                    <a:gd name="connsiteX2348" fmla="*/ 321727 w 855312"/>
                    <a:gd name="connsiteY2348" fmla="*/ 202945 h 1324114"/>
                    <a:gd name="connsiteX2349" fmla="*/ 320367 w 855312"/>
                    <a:gd name="connsiteY2349" fmla="*/ 202605 h 1324114"/>
                    <a:gd name="connsiteX2350" fmla="*/ 318364 w 855312"/>
                    <a:gd name="connsiteY2350" fmla="*/ 202095 h 1324114"/>
                    <a:gd name="connsiteX2351" fmla="*/ 317331 w 855312"/>
                    <a:gd name="connsiteY2351" fmla="*/ 201828 h 1324114"/>
                    <a:gd name="connsiteX2352" fmla="*/ 316263 w 855312"/>
                    <a:gd name="connsiteY2352" fmla="*/ 201949 h 1324114"/>
                    <a:gd name="connsiteX2353" fmla="*/ 312887 w 855312"/>
                    <a:gd name="connsiteY2353" fmla="*/ 202289 h 1324114"/>
                    <a:gd name="connsiteX2354" fmla="*/ 311442 w 855312"/>
                    <a:gd name="connsiteY2354" fmla="*/ 201755 h 1324114"/>
                    <a:gd name="connsiteX2355" fmla="*/ 310653 w 855312"/>
                    <a:gd name="connsiteY2355" fmla="*/ 200201 h 1324114"/>
                    <a:gd name="connsiteX2356" fmla="*/ 309414 w 855312"/>
                    <a:gd name="connsiteY2356" fmla="*/ 196594 h 1324114"/>
                    <a:gd name="connsiteX2357" fmla="*/ 308698 w 855312"/>
                    <a:gd name="connsiteY2357" fmla="*/ 194506 h 1324114"/>
                    <a:gd name="connsiteX2358" fmla="*/ 306804 w 855312"/>
                    <a:gd name="connsiteY2358" fmla="*/ 193364 h 1324114"/>
                    <a:gd name="connsiteX2359" fmla="*/ 303756 w 855312"/>
                    <a:gd name="connsiteY2359" fmla="*/ 191531 h 1324114"/>
                    <a:gd name="connsiteX2360" fmla="*/ 303294 w 855312"/>
                    <a:gd name="connsiteY2360" fmla="*/ 191251 h 1324114"/>
                    <a:gd name="connsiteX2361" fmla="*/ 302796 w 855312"/>
                    <a:gd name="connsiteY2361" fmla="*/ 191057 h 1324114"/>
                    <a:gd name="connsiteX2362" fmla="*/ 300914 w 855312"/>
                    <a:gd name="connsiteY2362" fmla="*/ 190329 h 1324114"/>
                    <a:gd name="connsiteX2363" fmla="*/ 298862 w 855312"/>
                    <a:gd name="connsiteY2363" fmla="*/ 189539 h 1324114"/>
                    <a:gd name="connsiteX2364" fmla="*/ 296773 w 855312"/>
                    <a:gd name="connsiteY2364" fmla="*/ 190256 h 1324114"/>
                    <a:gd name="connsiteX2365" fmla="*/ 294588 w 855312"/>
                    <a:gd name="connsiteY2365" fmla="*/ 191009 h 1324114"/>
                    <a:gd name="connsiteX2366" fmla="*/ 294041 w 855312"/>
                    <a:gd name="connsiteY2366" fmla="*/ 191203 h 1324114"/>
                    <a:gd name="connsiteX2367" fmla="*/ 293531 w 855312"/>
                    <a:gd name="connsiteY2367" fmla="*/ 191494 h 1324114"/>
                    <a:gd name="connsiteX2368" fmla="*/ 291916 w 855312"/>
                    <a:gd name="connsiteY2368" fmla="*/ 192417 h 1324114"/>
                    <a:gd name="connsiteX2369" fmla="*/ 290823 w 855312"/>
                    <a:gd name="connsiteY2369" fmla="*/ 193036 h 1324114"/>
                    <a:gd name="connsiteX2370" fmla="*/ 290071 w 855312"/>
                    <a:gd name="connsiteY2370" fmla="*/ 194044 h 1324114"/>
                    <a:gd name="connsiteX2371" fmla="*/ 289038 w 855312"/>
                    <a:gd name="connsiteY2371" fmla="*/ 195416 h 1324114"/>
                    <a:gd name="connsiteX2372" fmla="*/ 288783 w 855312"/>
                    <a:gd name="connsiteY2372" fmla="*/ 195732 h 1324114"/>
                    <a:gd name="connsiteX2373" fmla="*/ 288577 w 855312"/>
                    <a:gd name="connsiteY2373" fmla="*/ 196096 h 1324114"/>
                    <a:gd name="connsiteX2374" fmla="*/ 287545 w 855312"/>
                    <a:gd name="connsiteY2374" fmla="*/ 197954 h 1324114"/>
                    <a:gd name="connsiteX2375" fmla="*/ 284983 w 855312"/>
                    <a:gd name="connsiteY2375" fmla="*/ 203588 h 1324114"/>
                    <a:gd name="connsiteX2376" fmla="*/ 284266 w 855312"/>
                    <a:gd name="connsiteY2376" fmla="*/ 204596 h 1324114"/>
                    <a:gd name="connsiteX2377" fmla="*/ 283611 w 855312"/>
                    <a:gd name="connsiteY2377" fmla="*/ 205240 h 1324114"/>
                    <a:gd name="connsiteX2378" fmla="*/ 281413 w 855312"/>
                    <a:gd name="connsiteY2378" fmla="*/ 206819 h 1324114"/>
                    <a:gd name="connsiteX2379" fmla="*/ 280866 w 855312"/>
                    <a:gd name="connsiteY2379" fmla="*/ 207219 h 1324114"/>
                    <a:gd name="connsiteX2380" fmla="*/ 280417 w 855312"/>
                    <a:gd name="connsiteY2380" fmla="*/ 207729 h 1324114"/>
                    <a:gd name="connsiteX2381" fmla="*/ 278802 w 855312"/>
                    <a:gd name="connsiteY2381" fmla="*/ 209563 h 1324114"/>
                    <a:gd name="connsiteX2382" fmla="*/ 277175 w 855312"/>
                    <a:gd name="connsiteY2382" fmla="*/ 211421 h 1324114"/>
                    <a:gd name="connsiteX2383" fmla="*/ 277308 w 855312"/>
                    <a:gd name="connsiteY2383" fmla="*/ 213886 h 1324114"/>
                    <a:gd name="connsiteX2384" fmla="*/ 277563 w 855312"/>
                    <a:gd name="connsiteY2384" fmla="*/ 218427 h 1324114"/>
                    <a:gd name="connsiteX2385" fmla="*/ 277624 w 855312"/>
                    <a:gd name="connsiteY2385" fmla="*/ 219751 h 1324114"/>
                    <a:gd name="connsiteX2386" fmla="*/ 278243 w 855312"/>
                    <a:gd name="connsiteY2386" fmla="*/ 220941 h 1324114"/>
                    <a:gd name="connsiteX2387" fmla="*/ 281182 w 855312"/>
                    <a:gd name="connsiteY2387" fmla="*/ 226502 h 1324114"/>
                    <a:gd name="connsiteX2388" fmla="*/ 281935 w 855312"/>
                    <a:gd name="connsiteY2388" fmla="*/ 229028 h 1324114"/>
                    <a:gd name="connsiteX2389" fmla="*/ 282530 w 855312"/>
                    <a:gd name="connsiteY2389" fmla="*/ 232221 h 1324114"/>
                    <a:gd name="connsiteX2390" fmla="*/ 282651 w 855312"/>
                    <a:gd name="connsiteY2390" fmla="*/ 232817 h 1324114"/>
                    <a:gd name="connsiteX2391" fmla="*/ 282882 w 855312"/>
                    <a:gd name="connsiteY2391" fmla="*/ 233375 h 1324114"/>
                    <a:gd name="connsiteX2392" fmla="*/ 283574 w 855312"/>
                    <a:gd name="connsiteY2392" fmla="*/ 235051 h 1324114"/>
                    <a:gd name="connsiteX2393" fmla="*/ 283987 w 855312"/>
                    <a:gd name="connsiteY2393" fmla="*/ 236059 h 1324114"/>
                    <a:gd name="connsiteX2394" fmla="*/ 284728 w 855312"/>
                    <a:gd name="connsiteY2394" fmla="*/ 236848 h 1324114"/>
                    <a:gd name="connsiteX2395" fmla="*/ 285638 w 855312"/>
                    <a:gd name="connsiteY2395" fmla="*/ 237832 h 1324114"/>
                    <a:gd name="connsiteX2396" fmla="*/ 286403 w 855312"/>
                    <a:gd name="connsiteY2396" fmla="*/ 238657 h 1324114"/>
                    <a:gd name="connsiteX2397" fmla="*/ 287411 w 855312"/>
                    <a:gd name="connsiteY2397" fmla="*/ 239155 h 1324114"/>
                    <a:gd name="connsiteX2398" fmla="*/ 289427 w 855312"/>
                    <a:gd name="connsiteY2398" fmla="*/ 240139 h 1324114"/>
                    <a:gd name="connsiteX2399" fmla="*/ 289500 w 855312"/>
                    <a:gd name="connsiteY2399" fmla="*/ 240212 h 1324114"/>
                    <a:gd name="connsiteX2400" fmla="*/ 289791 w 855312"/>
                    <a:gd name="connsiteY2400" fmla="*/ 240867 h 1324114"/>
                    <a:gd name="connsiteX2401" fmla="*/ 290386 w 855312"/>
                    <a:gd name="connsiteY2401" fmla="*/ 243053 h 1324114"/>
                    <a:gd name="connsiteX2402" fmla="*/ 290532 w 855312"/>
                    <a:gd name="connsiteY2402" fmla="*/ 244461 h 1324114"/>
                    <a:gd name="connsiteX2403" fmla="*/ 290520 w 855312"/>
                    <a:gd name="connsiteY2403" fmla="*/ 244875 h 1324114"/>
                    <a:gd name="connsiteX2404" fmla="*/ 290374 w 855312"/>
                    <a:gd name="connsiteY2404" fmla="*/ 245227 h 1324114"/>
                    <a:gd name="connsiteX2405" fmla="*/ 289633 w 855312"/>
                    <a:gd name="connsiteY2405" fmla="*/ 246490 h 1324114"/>
                    <a:gd name="connsiteX2406" fmla="*/ 288456 w 855312"/>
                    <a:gd name="connsiteY2406" fmla="*/ 248991 h 1324114"/>
                    <a:gd name="connsiteX2407" fmla="*/ 288188 w 855312"/>
                    <a:gd name="connsiteY2407" fmla="*/ 249586 h 1324114"/>
                    <a:gd name="connsiteX2408" fmla="*/ 288043 w 855312"/>
                    <a:gd name="connsiteY2408" fmla="*/ 250229 h 1324114"/>
                    <a:gd name="connsiteX2409" fmla="*/ 287460 w 855312"/>
                    <a:gd name="connsiteY2409" fmla="*/ 252877 h 1324114"/>
                    <a:gd name="connsiteX2410" fmla="*/ 287314 w 855312"/>
                    <a:gd name="connsiteY2410" fmla="*/ 253520 h 1324114"/>
                    <a:gd name="connsiteX2411" fmla="*/ 287314 w 855312"/>
                    <a:gd name="connsiteY2411" fmla="*/ 254188 h 1324114"/>
                    <a:gd name="connsiteX2412" fmla="*/ 287314 w 855312"/>
                    <a:gd name="connsiteY2412" fmla="*/ 258232 h 1324114"/>
                    <a:gd name="connsiteX2413" fmla="*/ 287314 w 855312"/>
                    <a:gd name="connsiteY2413" fmla="*/ 259252 h 1324114"/>
                    <a:gd name="connsiteX2414" fmla="*/ 287642 w 855312"/>
                    <a:gd name="connsiteY2414" fmla="*/ 260211 h 1324114"/>
                    <a:gd name="connsiteX2415" fmla="*/ 288456 w 855312"/>
                    <a:gd name="connsiteY2415" fmla="*/ 262567 h 1324114"/>
                    <a:gd name="connsiteX2416" fmla="*/ 288747 w 855312"/>
                    <a:gd name="connsiteY2416" fmla="*/ 263417 h 1324114"/>
                    <a:gd name="connsiteX2417" fmla="*/ 289281 w 855312"/>
                    <a:gd name="connsiteY2417" fmla="*/ 264157 h 1324114"/>
                    <a:gd name="connsiteX2418" fmla="*/ 290483 w 855312"/>
                    <a:gd name="connsiteY2418" fmla="*/ 265821 h 1324114"/>
                    <a:gd name="connsiteX2419" fmla="*/ 290884 w 855312"/>
                    <a:gd name="connsiteY2419" fmla="*/ 266380 h 1324114"/>
                    <a:gd name="connsiteX2420" fmla="*/ 291406 w 855312"/>
                    <a:gd name="connsiteY2420" fmla="*/ 266829 h 1324114"/>
                    <a:gd name="connsiteX2421" fmla="*/ 292900 w 855312"/>
                    <a:gd name="connsiteY2421" fmla="*/ 268128 h 1324114"/>
                    <a:gd name="connsiteX2422" fmla="*/ 293896 w 855312"/>
                    <a:gd name="connsiteY2422" fmla="*/ 269245 h 1324114"/>
                    <a:gd name="connsiteX2423" fmla="*/ 294721 w 855312"/>
                    <a:gd name="connsiteY2423" fmla="*/ 270763 h 1324114"/>
                    <a:gd name="connsiteX2424" fmla="*/ 294478 w 855312"/>
                    <a:gd name="connsiteY2424" fmla="*/ 270933 h 1324114"/>
                    <a:gd name="connsiteX2425" fmla="*/ 293847 w 855312"/>
                    <a:gd name="connsiteY2425" fmla="*/ 271358 h 1324114"/>
                    <a:gd name="connsiteX2426" fmla="*/ 293337 w 855312"/>
                    <a:gd name="connsiteY2426" fmla="*/ 271917 h 1324114"/>
                    <a:gd name="connsiteX2427" fmla="*/ 292463 w 855312"/>
                    <a:gd name="connsiteY2427" fmla="*/ 272888 h 1324114"/>
                    <a:gd name="connsiteX2428" fmla="*/ 291491 w 855312"/>
                    <a:gd name="connsiteY2428" fmla="*/ 273969 h 1324114"/>
                    <a:gd name="connsiteX2429" fmla="*/ 291115 w 855312"/>
                    <a:gd name="connsiteY2429" fmla="*/ 275378 h 1324114"/>
                    <a:gd name="connsiteX2430" fmla="*/ 290714 w 855312"/>
                    <a:gd name="connsiteY2430" fmla="*/ 276883 h 1324114"/>
                    <a:gd name="connsiteX2431" fmla="*/ 290386 w 855312"/>
                    <a:gd name="connsiteY2431" fmla="*/ 278110 h 1324114"/>
                    <a:gd name="connsiteX2432" fmla="*/ 290568 w 855312"/>
                    <a:gd name="connsiteY2432" fmla="*/ 279361 h 1324114"/>
                    <a:gd name="connsiteX2433" fmla="*/ 290690 w 855312"/>
                    <a:gd name="connsiteY2433" fmla="*/ 280186 h 1324114"/>
                    <a:gd name="connsiteX2434" fmla="*/ 290908 w 855312"/>
                    <a:gd name="connsiteY2434" fmla="*/ 281607 h 1324114"/>
                    <a:gd name="connsiteX2435" fmla="*/ 291746 w 855312"/>
                    <a:gd name="connsiteY2435" fmla="*/ 282785 h 1324114"/>
                    <a:gd name="connsiteX2436" fmla="*/ 293871 w 855312"/>
                    <a:gd name="connsiteY2436" fmla="*/ 285796 h 1324114"/>
                    <a:gd name="connsiteX2437" fmla="*/ 294017 w 855312"/>
                    <a:gd name="connsiteY2437" fmla="*/ 286318 h 1324114"/>
                    <a:gd name="connsiteX2438" fmla="*/ 294029 w 855312"/>
                    <a:gd name="connsiteY2438" fmla="*/ 286464 h 1324114"/>
                    <a:gd name="connsiteX2439" fmla="*/ 289561 w 855312"/>
                    <a:gd name="connsiteY2439" fmla="*/ 282457 h 1324114"/>
                    <a:gd name="connsiteX2440" fmla="*/ 289136 w 855312"/>
                    <a:gd name="connsiteY2440" fmla="*/ 282081 h 1324114"/>
                    <a:gd name="connsiteX2441" fmla="*/ 288650 w 855312"/>
                    <a:gd name="connsiteY2441" fmla="*/ 281789 h 1324114"/>
                    <a:gd name="connsiteX2442" fmla="*/ 286865 w 855312"/>
                    <a:gd name="connsiteY2442" fmla="*/ 280708 h 1324114"/>
                    <a:gd name="connsiteX2443" fmla="*/ 285590 w 855312"/>
                    <a:gd name="connsiteY2443" fmla="*/ 279943 h 1324114"/>
                    <a:gd name="connsiteX2444" fmla="*/ 284108 w 855312"/>
                    <a:gd name="connsiteY2444" fmla="*/ 279846 h 1324114"/>
                    <a:gd name="connsiteX2445" fmla="*/ 283186 w 855312"/>
                    <a:gd name="connsiteY2445" fmla="*/ 279786 h 1324114"/>
                    <a:gd name="connsiteX2446" fmla="*/ 281085 w 855312"/>
                    <a:gd name="connsiteY2446" fmla="*/ 279652 h 1324114"/>
                    <a:gd name="connsiteX2447" fmla="*/ 279348 w 855312"/>
                    <a:gd name="connsiteY2447" fmla="*/ 280842 h 1324114"/>
                    <a:gd name="connsiteX2448" fmla="*/ 278438 w 855312"/>
                    <a:gd name="connsiteY2448" fmla="*/ 281473 h 1324114"/>
                    <a:gd name="connsiteX2449" fmla="*/ 277551 w 855312"/>
                    <a:gd name="connsiteY2449" fmla="*/ 282092 h 1324114"/>
                    <a:gd name="connsiteX2450" fmla="*/ 276920 w 855312"/>
                    <a:gd name="connsiteY2450" fmla="*/ 282967 h 1324114"/>
                    <a:gd name="connsiteX2451" fmla="*/ 274843 w 855312"/>
                    <a:gd name="connsiteY2451" fmla="*/ 285893 h 1324114"/>
                    <a:gd name="connsiteX2452" fmla="*/ 274273 w 855312"/>
                    <a:gd name="connsiteY2452" fmla="*/ 286586 h 1324114"/>
                    <a:gd name="connsiteX2453" fmla="*/ 273398 w 855312"/>
                    <a:gd name="connsiteY2453" fmla="*/ 287338 h 1324114"/>
                    <a:gd name="connsiteX2454" fmla="*/ 272645 w 855312"/>
                    <a:gd name="connsiteY2454" fmla="*/ 287812 h 1324114"/>
                    <a:gd name="connsiteX2455" fmla="*/ 267691 w 855312"/>
                    <a:gd name="connsiteY2455" fmla="*/ 289670 h 1324114"/>
                    <a:gd name="connsiteX2456" fmla="*/ 267558 w 855312"/>
                    <a:gd name="connsiteY2456" fmla="*/ 289500 h 1324114"/>
                    <a:gd name="connsiteX2457" fmla="*/ 267035 w 855312"/>
                    <a:gd name="connsiteY2457" fmla="*/ 288795 h 1324114"/>
                    <a:gd name="connsiteX2458" fmla="*/ 266331 w 855312"/>
                    <a:gd name="connsiteY2458" fmla="*/ 288273 h 1324114"/>
                    <a:gd name="connsiteX2459" fmla="*/ 265056 w 855312"/>
                    <a:gd name="connsiteY2459" fmla="*/ 287326 h 1324114"/>
                    <a:gd name="connsiteX2460" fmla="*/ 264218 w 855312"/>
                    <a:gd name="connsiteY2460" fmla="*/ 286707 h 1324114"/>
                    <a:gd name="connsiteX2461" fmla="*/ 263223 w 855312"/>
                    <a:gd name="connsiteY2461" fmla="*/ 286403 h 1324114"/>
                    <a:gd name="connsiteX2462" fmla="*/ 261571 w 855312"/>
                    <a:gd name="connsiteY2462" fmla="*/ 285893 h 1324114"/>
                    <a:gd name="connsiteX2463" fmla="*/ 260672 w 855312"/>
                    <a:gd name="connsiteY2463" fmla="*/ 285614 h 1324114"/>
                    <a:gd name="connsiteX2464" fmla="*/ 259738 w 855312"/>
                    <a:gd name="connsiteY2464" fmla="*/ 285626 h 1324114"/>
                    <a:gd name="connsiteX2465" fmla="*/ 249392 w 855312"/>
                    <a:gd name="connsiteY2465" fmla="*/ 285711 h 1324114"/>
                    <a:gd name="connsiteX2466" fmla="*/ 248675 w 855312"/>
                    <a:gd name="connsiteY2466" fmla="*/ 285711 h 1324114"/>
                    <a:gd name="connsiteX2467" fmla="*/ 247971 w 855312"/>
                    <a:gd name="connsiteY2467" fmla="*/ 285893 h 1324114"/>
                    <a:gd name="connsiteX2468" fmla="*/ 246016 w 855312"/>
                    <a:gd name="connsiteY2468" fmla="*/ 286379 h 1324114"/>
                    <a:gd name="connsiteX2469" fmla="*/ 245142 w 855312"/>
                    <a:gd name="connsiteY2469" fmla="*/ 286610 h 1324114"/>
                    <a:gd name="connsiteX2470" fmla="*/ 244364 w 855312"/>
                    <a:gd name="connsiteY2470" fmla="*/ 287071 h 1324114"/>
                    <a:gd name="connsiteX2471" fmla="*/ 240624 w 855312"/>
                    <a:gd name="connsiteY2471" fmla="*/ 289306 h 1324114"/>
                    <a:gd name="connsiteX2472" fmla="*/ 239034 w 855312"/>
                    <a:gd name="connsiteY2472" fmla="*/ 290010 h 1324114"/>
                    <a:gd name="connsiteX2473" fmla="*/ 236812 w 855312"/>
                    <a:gd name="connsiteY2473" fmla="*/ 290471 h 1324114"/>
                    <a:gd name="connsiteX2474" fmla="*/ 227814 w 855312"/>
                    <a:gd name="connsiteY2474" fmla="*/ 290617 h 1324114"/>
                    <a:gd name="connsiteX2475" fmla="*/ 226369 w 855312"/>
                    <a:gd name="connsiteY2475" fmla="*/ 290641 h 1324114"/>
                    <a:gd name="connsiteX2476" fmla="*/ 225106 w 855312"/>
                    <a:gd name="connsiteY2476" fmla="*/ 291309 h 1324114"/>
                    <a:gd name="connsiteX2477" fmla="*/ 223151 w 855312"/>
                    <a:gd name="connsiteY2477" fmla="*/ 292329 h 1324114"/>
                    <a:gd name="connsiteX2478" fmla="*/ 221815 w 855312"/>
                    <a:gd name="connsiteY2478" fmla="*/ 293033 h 1324114"/>
                    <a:gd name="connsiteX2479" fmla="*/ 220965 w 855312"/>
                    <a:gd name="connsiteY2479" fmla="*/ 294284 h 1324114"/>
                    <a:gd name="connsiteX2480" fmla="*/ 220164 w 855312"/>
                    <a:gd name="connsiteY2480" fmla="*/ 295450 h 1324114"/>
                    <a:gd name="connsiteX2481" fmla="*/ 219144 w 855312"/>
                    <a:gd name="connsiteY2481" fmla="*/ 296919 h 1324114"/>
                    <a:gd name="connsiteX2482" fmla="*/ 219095 w 855312"/>
                    <a:gd name="connsiteY2482" fmla="*/ 298704 h 1324114"/>
                    <a:gd name="connsiteX2483" fmla="*/ 219034 w 855312"/>
                    <a:gd name="connsiteY2483" fmla="*/ 300732 h 1324114"/>
                    <a:gd name="connsiteX2484" fmla="*/ 219022 w 855312"/>
                    <a:gd name="connsiteY2484" fmla="*/ 301242 h 1324114"/>
                    <a:gd name="connsiteX2485" fmla="*/ 219095 w 855312"/>
                    <a:gd name="connsiteY2485" fmla="*/ 301740 h 1324114"/>
                    <a:gd name="connsiteX2486" fmla="*/ 219411 w 855312"/>
                    <a:gd name="connsiteY2486" fmla="*/ 304096 h 1324114"/>
                    <a:gd name="connsiteX2487" fmla="*/ 214420 w 855312"/>
                    <a:gd name="connsiteY2487" fmla="*/ 306925 h 1324114"/>
                    <a:gd name="connsiteX2488" fmla="*/ 210352 w 855312"/>
                    <a:gd name="connsiteY2488" fmla="*/ 308176 h 1324114"/>
                    <a:gd name="connsiteX2489" fmla="*/ 209866 w 855312"/>
                    <a:gd name="connsiteY2489" fmla="*/ 308152 h 1324114"/>
                    <a:gd name="connsiteX2490" fmla="*/ 209186 w 855312"/>
                    <a:gd name="connsiteY2490" fmla="*/ 307957 h 1324114"/>
                    <a:gd name="connsiteX2491" fmla="*/ 207851 w 855312"/>
                    <a:gd name="connsiteY2491" fmla="*/ 307253 h 1324114"/>
                    <a:gd name="connsiteX2492" fmla="*/ 207499 w 855312"/>
                    <a:gd name="connsiteY2492" fmla="*/ 307058 h 1324114"/>
                    <a:gd name="connsiteX2493" fmla="*/ 207122 w 855312"/>
                    <a:gd name="connsiteY2493" fmla="*/ 306913 h 1324114"/>
                    <a:gd name="connsiteX2494" fmla="*/ 205289 w 855312"/>
                    <a:gd name="connsiteY2494" fmla="*/ 306233 h 1324114"/>
                    <a:gd name="connsiteX2495" fmla="*/ 204657 w 855312"/>
                    <a:gd name="connsiteY2495" fmla="*/ 305650 h 1324114"/>
                    <a:gd name="connsiteX2496" fmla="*/ 203722 w 855312"/>
                    <a:gd name="connsiteY2496" fmla="*/ 304436 h 1324114"/>
                    <a:gd name="connsiteX2497" fmla="*/ 203382 w 855312"/>
                    <a:gd name="connsiteY2497" fmla="*/ 303877 h 1324114"/>
                    <a:gd name="connsiteX2498" fmla="*/ 202860 w 855312"/>
                    <a:gd name="connsiteY2498" fmla="*/ 303064 h 1324114"/>
                    <a:gd name="connsiteX2499" fmla="*/ 202107 w 855312"/>
                    <a:gd name="connsiteY2499" fmla="*/ 302456 h 1324114"/>
                    <a:gd name="connsiteX2500" fmla="*/ 201184 w 855312"/>
                    <a:gd name="connsiteY2500" fmla="*/ 301704 h 1324114"/>
                    <a:gd name="connsiteX2501" fmla="*/ 200565 w 855312"/>
                    <a:gd name="connsiteY2501" fmla="*/ 301193 h 1324114"/>
                    <a:gd name="connsiteX2502" fmla="*/ 199824 w 855312"/>
                    <a:gd name="connsiteY2502" fmla="*/ 300878 h 1324114"/>
                    <a:gd name="connsiteX2503" fmla="*/ 197286 w 855312"/>
                    <a:gd name="connsiteY2503" fmla="*/ 299748 h 1324114"/>
                    <a:gd name="connsiteX2504" fmla="*/ 197007 w 855312"/>
                    <a:gd name="connsiteY2504" fmla="*/ 299518 h 1324114"/>
                    <a:gd name="connsiteX2505" fmla="*/ 196958 w 855312"/>
                    <a:gd name="connsiteY2505" fmla="*/ 299433 h 1324114"/>
                    <a:gd name="connsiteX2506" fmla="*/ 196643 w 855312"/>
                    <a:gd name="connsiteY2506" fmla="*/ 298218 h 1324114"/>
                    <a:gd name="connsiteX2507" fmla="*/ 196448 w 855312"/>
                    <a:gd name="connsiteY2507" fmla="*/ 297478 h 1324114"/>
                    <a:gd name="connsiteX2508" fmla="*/ 196084 w 855312"/>
                    <a:gd name="connsiteY2508" fmla="*/ 296822 h 1324114"/>
                    <a:gd name="connsiteX2509" fmla="*/ 195283 w 855312"/>
                    <a:gd name="connsiteY2509" fmla="*/ 295365 h 1324114"/>
                    <a:gd name="connsiteX2510" fmla="*/ 194433 w 855312"/>
                    <a:gd name="connsiteY2510" fmla="*/ 293798 h 1324114"/>
                    <a:gd name="connsiteX2511" fmla="*/ 192866 w 855312"/>
                    <a:gd name="connsiteY2511" fmla="*/ 292961 h 1324114"/>
                    <a:gd name="connsiteX2512" fmla="*/ 191956 w 855312"/>
                    <a:gd name="connsiteY2512" fmla="*/ 292463 h 1324114"/>
                    <a:gd name="connsiteX2513" fmla="*/ 190341 w 855312"/>
                    <a:gd name="connsiteY2513" fmla="*/ 291576 h 1324114"/>
                    <a:gd name="connsiteX2514" fmla="*/ 188495 w 855312"/>
                    <a:gd name="connsiteY2514" fmla="*/ 291746 h 1324114"/>
                    <a:gd name="connsiteX2515" fmla="*/ 187463 w 855312"/>
                    <a:gd name="connsiteY2515" fmla="*/ 291843 h 1324114"/>
                    <a:gd name="connsiteX2516" fmla="*/ 180335 w 855312"/>
                    <a:gd name="connsiteY2516" fmla="*/ 293094 h 1324114"/>
                    <a:gd name="connsiteX2517" fmla="*/ 176388 w 855312"/>
                    <a:gd name="connsiteY2517" fmla="*/ 291698 h 1324114"/>
                    <a:gd name="connsiteX2518" fmla="*/ 174956 w 855312"/>
                    <a:gd name="connsiteY2518" fmla="*/ 291188 h 1324114"/>
                    <a:gd name="connsiteX2519" fmla="*/ 173450 w 855312"/>
                    <a:gd name="connsiteY2519" fmla="*/ 291418 h 1324114"/>
                    <a:gd name="connsiteX2520" fmla="*/ 172175 w 855312"/>
                    <a:gd name="connsiteY2520" fmla="*/ 291613 h 1324114"/>
                    <a:gd name="connsiteX2521" fmla="*/ 170414 w 855312"/>
                    <a:gd name="connsiteY2521" fmla="*/ 291868 h 1324114"/>
                    <a:gd name="connsiteX2522" fmla="*/ 169078 w 855312"/>
                    <a:gd name="connsiteY2522" fmla="*/ 293033 h 1324114"/>
                    <a:gd name="connsiteX2523" fmla="*/ 168386 w 855312"/>
                    <a:gd name="connsiteY2523" fmla="*/ 293641 h 1324114"/>
                    <a:gd name="connsiteX2524" fmla="*/ 167002 w 855312"/>
                    <a:gd name="connsiteY2524" fmla="*/ 294855 h 1324114"/>
                    <a:gd name="connsiteX2525" fmla="*/ 166516 w 855312"/>
                    <a:gd name="connsiteY2525" fmla="*/ 296628 h 1324114"/>
                    <a:gd name="connsiteX2526" fmla="*/ 165205 w 855312"/>
                    <a:gd name="connsiteY2526" fmla="*/ 301449 h 1324114"/>
                    <a:gd name="connsiteX2527" fmla="*/ 163456 w 855312"/>
                    <a:gd name="connsiteY2527" fmla="*/ 302881 h 1324114"/>
                    <a:gd name="connsiteX2528" fmla="*/ 163068 w 855312"/>
                    <a:gd name="connsiteY2528" fmla="*/ 303185 h 1324114"/>
                    <a:gd name="connsiteX2529" fmla="*/ 162740 w 855312"/>
                    <a:gd name="connsiteY2529" fmla="*/ 303561 h 1324114"/>
                    <a:gd name="connsiteX2530" fmla="*/ 161950 w 855312"/>
                    <a:gd name="connsiteY2530" fmla="*/ 304460 h 1324114"/>
                    <a:gd name="connsiteX2531" fmla="*/ 161210 w 855312"/>
                    <a:gd name="connsiteY2531" fmla="*/ 305456 h 1324114"/>
                    <a:gd name="connsiteX2532" fmla="*/ 160906 w 855312"/>
                    <a:gd name="connsiteY2532" fmla="*/ 305638 h 1324114"/>
                    <a:gd name="connsiteX2533" fmla="*/ 158963 w 855312"/>
                    <a:gd name="connsiteY2533" fmla="*/ 306451 h 1324114"/>
                    <a:gd name="connsiteX2534" fmla="*/ 150791 w 855312"/>
                    <a:gd name="connsiteY2534" fmla="*/ 308880 h 1324114"/>
                    <a:gd name="connsiteX2535" fmla="*/ 150184 w 855312"/>
                    <a:gd name="connsiteY2535" fmla="*/ 309062 h 1324114"/>
                    <a:gd name="connsiteX2536" fmla="*/ 149625 w 855312"/>
                    <a:gd name="connsiteY2536" fmla="*/ 309366 h 1324114"/>
                    <a:gd name="connsiteX2537" fmla="*/ 148071 w 855312"/>
                    <a:gd name="connsiteY2537" fmla="*/ 310203 h 1324114"/>
                    <a:gd name="connsiteX2538" fmla="*/ 146225 w 855312"/>
                    <a:gd name="connsiteY2538" fmla="*/ 311199 h 1324114"/>
                    <a:gd name="connsiteX2539" fmla="*/ 145387 w 855312"/>
                    <a:gd name="connsiteY2539" fmla="*/ 313118 h 1324114"/>
                    <a:gd name="connsiteX2540" fmla="*/ 145108 w 855312"/>
                    <a:gd name="connsiteY2540" fmla="*/ 313798 h 1324114"/>
                    <a:gd name="connsiteX2541" fmla="*/ 144756 w 855312"/>
                    <a:gd name="connsiteY2541" fmla="*/ 315049 h 1324114"/>
                    <a:gd name="connsiteX2542" fmla="*/ 144635 w 855312"/>
                    <a:gd name="connsiteY2542" fmla="*/ 315777 h 1324114"/>
                    <a:gd name="connsiteX2543" fmla="*/ 144416 w 855312"/>
                    <a:gd name="connsiteY2543" fmla="*/ 317016 h 1324114"/>
                    <a:gd name="connsiteX2544" fmla="*/ 144707 w 855312"/>
                    <a:gd name="connsiteY2544" fmla="*/ 318230 h 1324114"/>
                    <a:gd name="connsiteX2545" fmla="*/ 144877 w 855312"/>
                    <a:gd name="connsiteY2545" fmla="*/ 318959 h 1324114"/>
                    <a:gd name="connsiteX2546" fmla="*/ 145351 w 855312"/>
                    <a:gd name="connsiteY2546" fmla="*/ 320148 h 1324114"/>
                    <a:gd name="connsiteX2547" fmla="*/ 146614 w 855312"/>
                    <a:gd name="connsiteY2547" fmla="*/ 322577 h 1324114"/>
                    <a:gd name="connsiteX2548" fmla="*/ 147015 w 855312"/>
                    <a:gd name="connsiteY2548" fmla="*/ 323500 h 1324114"/>
                    <a:gd name="connsiteX2549" fmla="*/ 147549 w 855312"/>
                    <a:gd name="connsiteY2549" fmla="*/ 325382 h 1324114"/>
                    <a:gd name="connsiteX2550" fmla="*/ 148059 w 855312"/>
                    <a:gd name="connsiteY2550" fmla="*/ 328200 h 1324114"/>
                    <a:gd name="connsiteX2551" fmla="*/ 147937 w 855312"/>
                    <a:gd name="connsiteY2551" fmla="*/ 328175 h 1324114"/>
                    <a:gd name="connsiteX2552" fmla="*/ 144780 w 855312"/>
                    <a:gd name="connsiteY2552" fmla="*/ 327628 h 1324114"/>
                    <a:gd name="connsiteX2553" fmla="*/ 143918 w 855312"/>
                    <a:gd name="connsiteY2553" fmla="*/ 327483 h 1324114"/>
                    <a:gd name="connsiteX2554" fmla="*/ 143044 w 855312"/>
                    <a:gd name="connsiteY2554" fmla="*/ 327580 h 1324114"/>
                    <a:gd name="connsiteX2555" fmla="*/ 140919 w 855312"/>
                    <a:gd name="connsiteY2555" fmla="*/ 327835 h 1324114"/>
                    <a:gd name="connsiteX2556" fmla="*/ 139960 w 855312"/>
                    <a:gd name="connsiteY2556" fmla="*/ 327956 h 1324114"/>
                    <a:gd name="connsiteX2557" fmla="*/ 139085 w 855312"/>
                    <a:gd name="connsiteY2557" fmla="*/ 328357 h 1324114"/>
                    <a:gd name="connsiteX2558" fmla="*/ 137592 w 855312"/>
                    <a:gd name="connsiteY2558" fmla="*/ 329049 h 1324114"/>
                    <a:gd name="connsiteX2559" fmla="*/ 136997 w 855312"/>
                    <a:gd name="connsiteY2559" fmla="*/ 329316 h 1324114"/>
                    <a:gd name="connsiteX2560" fmla="*/ 136475 w 855312"/>
                    <a:gd name="connsiteY2560" fmla="*/ 329705 h 1324114"/>
                    <a:gd name="connsiteX2561" fmla="*/ 135467 w 855312"/>
                    <a:gd name="connsiteY2561" fmla="*/ 330458 h 1324114"/>
                    <a:gd name="connsiteX2562" fmla="*/ 132382 w 855312"/>
                    <a:gd name="connsiteY2562" fmla="*/ 332134 h 1324114"/>
                    <a:gd name="connsiteX2563" fmla="*/ 130816 w 855312"/>
                    <a:gd name="connsiteY2563" fmla="*/ 332474 h 1324114"/>
                    <a:gd name="connsiteX2564" fmla="*/ 130330 w 855312"/>
                    <a:gd name="connsiteY2564" fmla="*/ 332571 h 1324114"/>
                    <a:gd name="connsiteX2565" fmla="*/ 129869 w 855312"/>
                    <a:gd name="connsiteY2565" fmla="*/ 332753 h 1324114"/>
                    <a:gd name="connsiteX2566" fmla="*/ 128715 w 855312"/>
                    <a:gd name="connsiteY2566" fmla="*/ 333202 h 1324114"/>
                    <a:gd name="connsiteX2567" fmla="*/ 127974 w 855312"/>
                    <a:gd name="connsiteY2567" fmla="*/ 333494 h 1324114"/>
                    <a:gd name="connsiteX2568" fmla="*/ 127331 w 855312"/>
                    <a:gd name="connsiteY2568" fmla="*/ 333967 h 1324114"/>
                    <a:gd name="connsiteX2569" fmla="*/ 126772 w 855312"/>
                    <a:gd name="connsiteY2569" fmla="*/ 334380 h 1324114"/>
                    <a:gd name="connsiteX2570" fmla="*/ 125825 w 855312"/>
                    <a:gd name="connsiteY2570" fmla="*/ 335072 h 1324114"/>
                    <a:gd name="connsiteX2571" fmla="*/ 125206 w 855312"/>
                    <a:gd name="connsiteY2571" fmla="*/ 336068 h 1324114"/>
                    <a:gd name="connsiteX2572" fmla="*/ 124271 w 855312"/>
                    <a:gd name="connsiteY2572" fmla="*/ 337562 h 1324114"/>
                    <a:gd name="connsiteX2573" fmla="*/ 124198 w 855312"/>
                    <a:gd name="connsiteY2573" fmla="*/ 337622 h 1324114"/>
                    <a:gd name="connsiteX2574" fmla="*/ 124077 w 855312"/>
                    <a:gd name="connsiteY2574" fmla="*/ 337647 h 1324114"/>
                    <a:gd name="connsiteX2575" fmla="*/ 122559 w 855312"/>
                    <a:gd name="connsiteY2575" fmla="*/ 337647 h 1324114"/>
                    <a:gd name="connsiteX2576" fmla="*/ 121369 w 855312"/>
                    <a:gd name="connsiteY2576" fmla="*/ 337647 h 1324114"/>
                    <a:gd name="connsiteX2577" fmla="*/ 120276 w 855312"/>
                    <a:gd name="connsiteY2577" fmla="*/ 338096 h 1324114"/>
                    <a:gd name="connsiteX2578" fmla="*/ 119110 w 855312"/>
                    <a:gd name="connsiteY2578" fmla="*/ 338569 h 1324114"/>
                    <a:gd name="connsiteX2579" fmla="*/ 117568 w 855312"/>
                    <a:gd name="connsiteY2579" fmla="*/ 339189 h 1324114"/>
                    <a:gd name="connsiteX2580" fmla="*/ 116560 w 855312"/>
                    <a:gd name="connsiteY2580" fmla="*/ 340512 h 1324114"/>
                    <a:gd name="connsiteX2581" fmla="*/ 115941 w 855312"/>
                    <a:gd name="connsiteY2581" fmla="*/ 341326 h 1324114"/>
                    <a:gd name="connsiteX2582" fmla="*/ 115273 w 855312"/>
                    <a:gd name="connsiteY2582" fmla="*/ 342200 h 1324114"/>
                    <a:gd name="connsiteX2583" fmla="*/ 114957 w 855312"/>
                    <a:gd name="connsiteY2583" fmla="*/ 343257 h 1324114"/>
                    <a:gd name="connsiteX2584" fmla="*/ 113500 w 855312"/>
                    <a:gd name="connsiteY2584" fmla="*/ 348126 h 1324114"/>
                    <a:gd name="connsiteX2585" fmla="*/ 112832 w 855312"/>
                    <a:gd name="connsiteY2585" fmla="*/ 348539 h 1324114"/>
                    <a:gd name="connsiteX2586" fmla="*/ 109481 w 855312"/>
                    <a:gd name="connsiteY2586" fmla="*/ 351089 h 1324114"/>
                    <a:gd name="connsiteX2587" fmla="*/ 103968 w 855312"/>
                    <a:gd name="connsiteY2587" fmla="*/ 355339 h 1324114"/>
                    <a:gd name="connsiteX2588" fmla="*/ 108910 w 855312"/>
                    <a:gd name="connsiteY2588" fmla="*/ 360220 h 1324114"/>
                    <a:gd name="connsiteX2589" fmla="*/ 108886 w 855312"/>
                    <a:gd name="connsiteY2589" fmla="*/ 360220 h 1324114"/>
                    <a:gd name="connsiteX2590" fmla="*/ 108364 w 855312"/>
                    <a:gd name="connsiteY2590" fmla="*/ 360354 h 1324114"/>
                    <a:gd name="connsiteX2591" fmla="*/ 107866 w 855312"/>
                    <a:gd name="connsiteY2591" fmla="*/ 360585 h 1324114"/>
                    <a:gd name="connsiteX2592" fmla="*/ 106494 w 855312"/>
                    <a:gd name="connsiteY2592" fmla="*/ 361192 h 1324114"/>
                    <a:gd name="connsiteX2593" fmla="*/ 105971 w 855312"/>
                    <a:gd name="connsiteY2593" fmla="*/ 361423 h 1324114"/>
                    <a:gd name="connsiteX2594" fmla="*/ 105486 w 855312"/>
                    <a:gd name="connsiteY2594" fmla="*/ 361750 h 1324114"/>
                    <a:gd name="connsiteX2595" fmla="*/ 104053 w 855312"/>
                    <a:gd name="connsiteY2595" fmla="*/ 362746 h 1324114"/>
                    <a:gd name="connsiteX2596" fmla="*/ 103749 w 855312"/>
                    <a:gd name="connsiteY2596" fmla="*/ 362964 h 1324114"/>
                    <a:gd name="connsiteX2597" fmla="*/ 103470 w 855312"/>
                    <a:gd name="connsiteY2597" fmla="*/ 363219 h 1324114"/>
                    <a:gd name="connsiteX2598" fmla="*/ 99305 w 855312"/>
                    <a:gd name="connsiteY2598" fmla="*/ 366947 h 1324114"/>
                    <a:gd name="connsiteX2599" fmla="*/ 99123 w 855312"/>
                    <a:gd name="connsiteY2599" fmla="*/ 366619 h 1324114"/>
                    <a:gd name="connsiteX2600" fmla="*/ 98868 w 855312"/>
                    <a:gd name="connsiteY2600" fmla="*/ 366158 h 1324114"/>
                    <a:gd name="connsiteX2601" fmla="*/ 98552 w 855312"/>
                    <a:gd name="connsiteY2601" fmla="*/ 365745 h 1324114"/>
                    <a:gd name="connsiteX2602" fmla="*/ 97350 w 855312"/>
                    <a:gd name="connsiteY2602" fmla="*/ 364227 h 1324114"/>
                    <a:gd name="connsiteX2603" fmla="*/ 97107 w 855312"/>
                    <a:gd name="connsiteY2603" fmla="*/ 362284 h 1324114"/>
                    <a:gd name="connsiteX2604" fmla="*/ 96694 w 855312"/>
                    <a:gd name="connsiteY2604" fmla="*/ 360147 h 1324114"/>
                    <a:gd name="connsiteX2605" fmla="*/ 96075 w 855312"/>
                    <a:gd name="connsiteY2605" fmla="*/ 357039 h 1324114"/>
                    <a:gd name="connsiteX2606" fmla="*/ 93161 w 855312"/>
                    <a:gd name="connsiteY2606" fmla="*/ 355776 h 1324114"/>
                    <a:gd name="connsiteX2607" fmla="*/ 92238 w 855312"/>
                    <a:gd name="connsiteY2607" fmla="*/ 355375 h 1324114"/>
                    <a:gd name="connsiteX2608" fmla="*/ 91703 w 855312"/>
                    <a:gd name="connsiteY2608" fmla="*/ 355132 h 1324114"/>
                    <a:gd name="connsiteX2609" fmla="*/ 91133 w 855312"/>
                    <a:gd name="connsiteY2609" fmla="*/ 354999 h 1324114"/>
                    <a:gd name="connsiteX2610" fmla="*/ 89591 w 855312"/>
                    <a:gd name="connsiteY2610" fmla="*/ 354659 h 1324114"/>
                    <a:gd name="connsiteX2611" fmla="*/ 89202 w 855312"/>
                    <a:gd name="connsiteY2611" fmla="*/ 354574 h 1324114"/>
                    <a:gd name="connsiteX2612" fmla="*/ 88801 w 855312"/>
                    <a:gd name="connsiteY2612" fmla="*/ 354537 h 1324114"/>
                    <a:gd name="connsiteX2613" fmla="*/ 83313 w 855312"/>
                    <a:gd name="connsiteY2613" fmla="*/ 354052 h 1324114"/>
                    <a:gd name="connsiteX2614" fmla="*/ 83009 w 855312"/>
                    <a:gd name="connsiteY2614" fmla="*/ 353942 h 1324114"/>
                    <a:gd name="connsiteX2615" fmla="*/ 80690 w 855312"/>
                    <a:gd name="connsiteY2615" fmla="*/ 352570 h 1324114"/>
                    <a:gd name="connsiteX2616" fmla="*/ 80131 w 855312"/>
                    <a:gd name="connsiteY2616" fmla="*/ 352255 h 1324114"/>
                    <a:gd name="connsiteX2617" fmla="*/ 79524 w 855312"/>
                    <a:gd name="connsiteY2617" fmla="*/ 352036 h 1324114"/>
                    <a:gd name="connsiteX2618" fmla="*/ 77047 w 855312"/>
                    <a:gd name="connsiteY2618" fmla="*/ 351210 h 1324114"/>
                    <a:gd name="connsiteX2619" fmla="*/ 76258 w 855312"/>
                    <a:gd name="connsiteY2619" fmla="*/ 350955 h 1324114"/>
                    <a:gd name="connsiteX2620" fmla="*/ 75420 w 855312"/>
                    <a:gd name="connsiteY2620" fmla="*/ 350919 h 1324114"/>
                    <a:gd name="connsiteX2621" fmla="*/ 74218 w 855312"/>
                    <a:gd name="connsiteY2621" fmla="*/ 350858 h 1324114"/>
                    <a:gd name="connsiteX2622" fmla="*/ 72554 w 855312"/>
                    <a:gd name="connsiteY2622" fmla="*/ 350773 h 1324114"/>
                    <a:gd name="connsiteX2623" fmla="*/ 71073 w 855312"/>
                    <a:gd name="connsiteY2623" fmla="*/ 351538 h 1324114"/>
                    <a:gd name="connsiteX2624" fmla="*/ 70150 w 855312"/>
                    <a:gd name="connsiteY2624" fmla="*/ 352024 h 1324114"/>
                    <a:gd name="connsiteX2625" fmla="*/ 68486 w 855312"/>
                    <a:gd name="connsiteY2625" fmla="*/ 352910 h 1324114"/>
                    <a:gd name="connsiteX2626" fmla="*/ 67612 w 855312"/>
                    <a:gd name="connsiteY2626" fmla="*/ 354574 h 1324114"/>
                    <a:gd name="connsiteX2627" fmla="*/ 67102 w 855312"/>
                    <a:gd name="connsiteY2627" fmla="*/ 355545 h 1324114"/>
                    <a:gd name="connsiteX2628" fmla="*/ 66762 w 855312"/>
                    <a:gd name="connsiteY2628" fmla="*/ 356201 h 1324114"/>
                    <a:gd name="connsiteX2629" fmla="*/ 66580 w 855312"/>
                    <a:gd name="connsiteY2629" fmla="*/ 356905 h 1324114"/>
                    <a:gd name="connsiteX2630" fmla="*/ 65111 w 855312"/>
                    <a:gd name="connsiteY2630" fmla="*/ 362783 h 1324114"/>
                    <a:gd name="connsiteX2631" fmla="*/ 64904 w 855312"/>
                    <a:gd name="connsiteY2631" fmla="*/ 363208 h 1324114"/>
                    <a:gd name="connsiteX2632" fmla="*/ 64673 w 855312"/>
                    <a:gd name="connsiteY2632" fmla="*/ 363560 h 1324114"/>
                    <a:gd name="connsiteX2633" fmla="*/ 64613 w 855312"/>
                    <a:gd name="connsiteY2633" fmla="*/ 363633 h 1324114"/>
                    <a:gd name="connsiteX2634" fmla="*/ 64103 w 855312"/>
                    <a:gd name="connsiteY2634" fmla="*/ 363960 h 1324114"/>
                    <a:gd name="connsiteX2635" fmla="*/ 62135 w 855312"/>
                    <a:gd name="connsiteY2635" fmla="*/ 365017 h 1324114"/>
                    <a:gd name="connsiteX2636" fmla="*/ 60739 w 855312"/>
                    <a:gd name="connsiteY2636" fmla="*/ 365903 h 1324114"/>
                    <a:gd name="connsiteX2637" fmla="*/ 60350 w 855312"/>
                    <a:gd name="connsiteY2637" fmla="*/ 366158 h 1324114"/>
                    <a:gd name="connsiteX2638" fmla="*/ 59998 w 855312"/>
                    <a:gd name="connsiteY2638" fmla="*/ 366462 h 1324114"/>
                    <a:gd name="connsiteX2639" fmla="*/ 59063 w 855312"/>
                    <a:gd name="connsiteY2639" fmla="*/ 367288 h 1324114"/>
                    <a:gd name="connsiteX2640" fmla="*/ 58772 w 855312"/>
                    <a:gd name="connsiteY2640" fmla="*/ 367543 h 1324114"/>
                    <a:gd name="connsiteX2641" fmla="*/ 58517 w 855312"/>
                    <a:gd name="connsiteY2641" fmla="*/ 367834 h 1324114"/>
                    <a:gd name="connsiteX2642" fmla="*/ 57509 w 855312"/>
                    <a:gd name="connsiteY2642" fmla="*/ 368987 h 1324114"/>
                    <a:gd name="connsiteX2643" fmla="*/ 57108 w 855312"/>
                    <a:gd name="connsiteY2643" fmla="*/ 368708 h 1324114"/>
                    <a:gd name="connsiteX2644" fmla="*/ 56125 w 855312"/>
                    <a:gd name="connsiteY2644" fmla="*/ 368016 h 1324114"/>
                    <a:gd name="connsiteX2645" fmla="*/ 55080 w 855312"/>
                    <a:gd name="connsiteY2645" fmla="*/ 367288 h 1324114"/>
                    <a:gd name="connsiteX2646" fmla="*/ 53927 w 855312"/>
                    <a:gd name="connsiteY2646" fmla="*/ 366984 h 1324114"/>
                    <a:gd name="connsiteX2647" fmla="*/ 52615 w 855312"/>
                    <a:gd name="connsiteY2647" fmla="*/ 366729 h 1324114"/>
                    <a:gd name="connsiteX2648" fmla="*/ 50770 w 855312"/>
                    <a:gd name="connsiteY2648" fmla="*/ 366364 h 1324114"/>
                    <a:gd name="connsiteX2649" fmla="*/ 49045 w 855312"/>
                    <a:gd name="connsiteY2649" fmla="*/ 367105 h 1324114"/>
                    <a:gd name="connsiteX2650" fmla="*/ 48353 w 855312"/>
                    <a:gd name="connsiteY2650" fmla="*/ 367397 h 1324114"/>
                    <a:gd name="connsiteX2651" fmla="*/ 47042 w 855312"/>
                    <a:gd name="connsiteY2651" fmla="*/ 367955 h 1324114"/>
                    <a:gd name="connsiteX2652" fmla="*/ 46119 w 855312"/>
                    <a:gd name="connsiteY2652" fmla="*/ 369048 h 1324114"/>
                    <a:gd name="connsiteX2653" fmla="*/ 45427 w 855312"/>
                    <a:gd name="connsiteY2653" fmla="*/ 369850 h 1324114"/>
                    <a:gd name="connsiteX2654" fmla="*/ 44625 w 855312"/>
                    <a:gd name="connsiteY2654" fmla="*/ 370785 h 1324114"/>
                    <a:gd name="connsiteX2655" fmla="*/ 44334 w 855312"/>
                    <a:gd name="connsiteY2655" fmla="*/ 371707 h 1324114"/>
                    <a:gd name="connsiteX2656" fmla="*/ 43095 w 855312"/>
                    <a:gd name="connsiteY2656" fmla="*/ 370797 h 1324114"/>
                    <a:gd name="connsiteX2657" fmla="*/ 41456 w 855312"/>
                    <a:gd name="connsiteY2657" fmla="*/ 370615 h 1324114"/>
                    <a:gd name="connsiteX2658" fmla="*/ 39610 w 855312"/>
                    <a:gd name="connsiteY2658" fmla="*/ 370408 h 1324114"/>
                    <a:gd name="connsiteX2659" fmla="*/ 36320 w 855312"/>
                    <a:gd name="connsiteY2659" fmla="*/ 370056 h 1324114"/>
                    <a:gd name="connsiteX2660" fmla="*/ 34231 w 855312"/>
                    <a:gd name="connsiteY2660" fmla="*/ 372630 h 1324114"/>
                    <a:gd name="connsiteX2661" fmla="*/ 33381 w 855312"/>
                    <a:gd name="connsiteY2661" fmla="*/ 373687 h 1324114"/>
                    <a:gd name="connsiteX2662" fmla="*/ 32555 w 855312"/>
                    <a:gd name="connsiteY2662" fmla="*/ 374707 h 1324114"/>
                    <a:gd name="connsiteX2663" fmla="*/ 32227 w 855312"/>
                    <a:gd name="connsiteY2663" fmla="*/ 375982 h 1324114"/>
                    <a:gd name="connsiteX2664" fmla="*/ 31390 w 855312"/>
                    <a:gd name="connsiteY2664" fmla="*/ 379260 h 1324114"/>
                    <a:gd name="connsiteX2665" fmla="*/ 29204 w 855312"/>
                    <a:gd name="connsiteY2665" fmla="*/ 384033 h 1324114"/>
                    <a:gd name="connsiteX2666" fmla="*/ 28864 w 855312"/>
                    <a:gd name="connsiteY2666" fmla="*/ 384785 h 1324114"/>
                    <a:gd name="connsiteX2667" fmla="*/ 28730 w 855312"/>
                    <a:gd name="connsiteY2667" fmla="*/ 385611 h 1324114"/>
                    <a:gd name="connsiteX2668" fmla="*/ 28609 w 855312"/>
                    <a:gd name="connsiteY2668" fmla="*/ 386364 h 1324114"/>
                    <a:gd name="connsiteX2669" fmla="*/ 28366 w 855312"/>
                    <a:gd name="connsiteY2669" fmla="*/ 387845 h 1324114"/>
                    <a:gd name="connsiteX2670" fmla="*/ 28852 w 855312"/>
                    <a:gd name="connsiteY2670" fmla="*/ 389266 h 1324114"/>
                    <a:gd name="connsiteX2671" fmla="*/ 29362 w 855312"/>
                    <a:gd name="connsiteY2671" fmla="*/ 390784 h 1324114"/>
                    <a:gd name="connsiteX2672" fmla="*/ 30734 w 855312"/>
                    <a:gd name="connsiteY2672" fmla="*/ 392338 h 1324114"/>
                    <a:gd name="connsiteX2673" fmla="*/ 31256 w 855312"/>
                    <a:gd name="connsiteY2673" fmla="*/ 392800 h 1324114"/>
                    <a:gd name="connsiteX2674" fmla="*/ 32191 w 855312"/>
                    <a:gd name="connsiteY2674" fmla="*/ 393626 h 1324114"/>
                    <a:gd name="connsiteX2675" fmla="*/ 33381 w 855312"/>
                    <a:gd name="connsiteY2675" fmla="*/ 394014 h 1324114"/>
                    <a:gd name="connsiteX2676" fmla="*/ 34061 w 855312"/>
                    <a:gd name="connsiteY2676" fmla="*/ 394245 h 1324114"/>
                    <a:gd name="connsiteX2677" fmla="*/ 34656 w 855312"/>
                    <a:gd name="connsiteY2677" fmla="*/ 394451 h 1324114"/>
                    <a:gd name="connsiteX2678" fmla="*/ 35275 w 855312"/>
                    <a:gd name="connsiteY2678" fmla="*/ 394524 h 1324114"/>
                    <a:gd name="connsiteX2679" fmla="*/ 36781 w 855312"/>
                    <a:gd name="connsiteY2679" fmla="*/ 394694 h 1324114"/>
                    <a:gd name="connsiteX2680" fmla="*/ 38639 w 855312"/>
                    <a:gd name="connsiteY2680" fmla="*/ 394220 h 1324114"/>
                    <a:gd name="connsiteX2681" fmla="*/ 38700 w 855312"/>
                    <a:gd name="connsiteY2681" fmla="*/ 394451 h 1324114"/>
                    <a:gd name="connsiteX2682" fmla="*/ 39282 w 855312"/>
                    <a:gd name="connsiteY2682" fmla="*/ 395265 h 1324114"/>
                    <a:gd name="connsiteX2683" fmla="*/ 39853 w 855312"/>
                    <a:gd name="connsiteY2683" fmla="*/ 396066 h 1324114"/>
                    <a:gd name="connsiteX2684" fmla="*/ 40703 w 855312"/>
                    <a:gd name="connsiteY2684" fmla="*/ 397268 h 1324114"/>
                    <a:gd name="connsiteX2685" fmla="*/ 41990 w 855312"/>
                    <a:gd name="connsiteY2685" fmla="*/ 397948 h 1324114"/>
                    <a:gd name="connsiteX2686" fmla="*/ 42913 w 855312"/>
                    <a:gd name="connsiteY2686" fmla="*/ 398434 h 1324114"/>
                    <a:gd name="connsiteX2687" fmla="*/ 43666 w 855312"/>
                    <a:gd name="connsiteY2687" fmla="*/ 398835 h 1324114"/>
                    <a:gd name="connsiteX2688" fmla="*/ 44504 w 855312"/>
                    <a:gd name="connsiteY2688" fmla="*/ 399005 h 1324114"/>
                    <a:gd name="connsiteX2689" fmla="*/ 45585 w 855312"/>
                    <a:gd name="connsiteY2689" fmla="*/ 399235 h 1324114"/>
                    <a:gd name="connsiteX2690" fmla="*/ 46095 w 855312"/>
                    <a:gd name="connsiteY2690" fmla="*/ 399345 h 1324114"/>
                    <a:gd name="connsiteX2691" fmla="*/ 46435 w 855312"/>
                    <a:gd name="connsiteY2691" fmla="*/ 399357 h 1324114"/>
                    <a:gd name="connsiteX2692" fmla="*/ 46471 w 855312"/>
                    <a:gd name="connsiteY2692" fmla="*/ 399600 h 1324114"/>
                    <a:gd name="connsiteX2693" fmla="*/ 46593 w 855312"/>
                    <a:gd name="connsiteY2693" fmla="*/ 400304 h 1324114"/>
                    <a:gd name="connsiteX2694" fmla="*/ 46872 w 855312"/>
                    <a:gd name="connsiteY2694" fmla="*/ 400972 h 1324114"/>
                    <a:gd name="connsiteX2695" fmla="*/ 47333 w 855312"/>
                    <a:gd name="connsiteY2695" fmla="*/ 402065 h 1324114"/>
                    <a:gd name="connsiteX2696" fmla="*/ 47515 w 855312"/>
                    <a:gd name="connsiteY2696" fmla="*/ 402490 h 1324114"/>
                    <a:gd name="connsiteX2697" fmla="*/ 47357 w 855312"/>
                    <a:gd name="connsiteY2697" fmla="*/ 402538 h 1324114"/>
                    <a:gd name="connsiteX2698" fmla="*/ 46204 w 855312"/>
                    <a:gd name="connsiteY2698" fmla="*/ 403801 h 1324114"/>
                    <a:gd name="connsiteX2699" fmla="*/ 45342 w 855312"/>
                    <a:gd name="connsiteY2699" fmla="*/ 404736 h 1324114"/>
                    <a:gd name="connsiteX2700" fmla="*/ 44261 w 855312"/>
                    <a:gd name="connsiteY2700" fmla="*/ 405914 h 1324114"/>
                    <a:gd name="connsiteX2701" fmla="*/ 43897 w 855312"/>
                    <a:gd name="connsiteY2701" fmla="*/ 407456 h 1324114"/>
                    <a:gd name="connsiteX2702" fmla="*/ 43557 w 855312"/>
                    <a:gd name="connsiteY2702" fmla="*/ 408926 h 1324114"/>
                    <a:gd name="connsiteX2703" fmla="*/ 43338 w 855312"/>
                    <a:gd name="connsiteY2703" fmla="*/ 409873 h 1324114"/>
                    <a:gd name="connsiteX2704" fmla="*/ 43423 w 855312"/>
                    <a:gd name="connsiteY2704" fmla="*/ 410832 h 1324114"/>
                    <a:gd name="connsiteX2705" fmla="*/ 43703 w 855312"/>
                    <a:gd name="connsiteY2705" fmla="*/ 414050 h 1324114"/>
                    <a:gd name="connsiteX2706" fmla="*/ 43751 w 855312"/>
                    <a:gd name="connsiteY2706" fmla="*/ 414645 h 1324114"/>
                    <a:gd name="connsiteX2707" fmla="*/ 43921 w 855312"/>
                    <a:gd name="connsiteY2707" fmla="*/ 415203 h 1324114"/>
                    <a:gd name="connsiteX2708" fmla="*/ 44383 w 855312"/>
                    <a:gd name="connsiteY2708" fmla="*/ 416818 h 1324114"/>
                    <a:gd name="connsiteX2709" fmla="*/ 44540 w 855312"/>
                    <a:gd name="connsiteY2709" fmla="*/ 417365 h 1324114"/>
                    <a:gd name="connsiteX2710" fmla="*/ 44795 w 855312"/>
                    <a:gd name="connsiteY2710" fmla="*/ 417863 h 1324114"/>
                    <a:gd name="connsiteX2711" fmla="*/ 45609 w 855312"/>
                    <a:gd name="connsiteY2711" fmla="*/ 419490 h 1324114"/>
                    <a:gd name="connsiteX2712" fmla="*/ 45743 w 855312"/>
                    <a:gd name="connsiteY2712" fmla="*/ 419757 h 1324114"/>
                    <a:gd name="connsiteX2713" fmla="*/ 45913 w 855312"/>
                    <a:gd name="connsiteY2713" fmla="*/ 420012 h 1324114"/>
                    <a:gd name="connsiteX2714" fmla="*/ 46532 w 855312"/>
                    <a:gd name="connsiteY2714" fmla="*/ 420984 h 1324114"/>
                    <a:gd name="connsiteX2715" fmla="*/ 46301 w 855312"/>
                    <a:gd name="connsiteY2715" fmla="*/ 423716 h 1324114"/>
                    <a:gd name="connsiteX2716" fmla="*/ 46240 w 855312"/>
                    <a:gd name="connsiteY2716" fmla="*/ 424481 h 1324114"/>
                    <a:gd name="connsiteX2717" fmla="*/ 46374 w 855312"/>
                    <a:gd name="connsiteY2717" fmla="*/ 425234 h 1324114"/>
                    <a:gd name="connsiteX2718" fmla="*/ 46653 w 855312"/>
                    <a:gd name="connsiteY2718" fmla="*/ 426788 h 1324114"/>
                    <a:gd name="connsiteX2719" fmla="*/ 46775 w 855312"/>
                    <a:gd name="connsiteY2719" fmla="*/ 427468 h 1324114"/>
                    <a:gd name="connsiteX2720" fmla="*/ 47042 w 855312"/>
                    <a:gd name="connsiteY2720" fmla="*/ 428087 h 1324114"/>
                    <a:gd name="connsiteX2721" fmla="*/ 47564 w 855312"/>
                    <a:gd name="connsiteY2721" fmla="*/ 429326 h 1324114"/>
                    <a:gd name="connsiteX2722" fmla="*/ 48365 w 855312"/>
                    <a:gd name="connsiteY2722" fmla="*/ 431220 h 1324114"/>
                    <a:gd name="connsiteX2723" fmla="*/ 50150 w 855312"/>
                    <a:gd name="connsiteY2723" fmla="*/ 432240 h 1324114"/>
                    <a:gd name="connsiteX2724" fmla="*/ 50964 w 855312"/>
                    <a:gd name="connsiteY2724" fmla="*/ 432701 h 1324114"/>
                    <a:gd name="connsiteX2725" fmla="*/ 52360 w 855312"/>
                    <a:gd name="connsiteY2725" fmla="*/ 433491 h 1324114"/>
                    <a:gd name="connsiteX2726" fmla="*/ 53963 w 855312"/>
                    <a:gd name="connsiteY2726" fmla="*/ 433491 h 1324114"/>
                    <a:gd name="connsiteX2727" fmla="*/ 54765 w 855312"/>
                    <a:gd name="connsiteY2727" fmla="*/ 433491 h 1324114"/>
                    <a:gd name="connsiteX2728" fmla="*/ 55979 w 855312"/>
                    <a:gd name="connsiteY2728" fmla="*/ 433491 h 1324114"/>
                    <a:gd name="connsiteX2729" fmla="*/ 57096 w 855312"/>
                    <a:gd name="connsiteY2729" fmla="*/ 433029 h 1324114"/>
                    <a:gd name="connsiteX2730" fmla="*/ 58007 w 855312"/>
                    <a:gd name="connsiteY2730" fmla="*/ 432653 h 1324114"/>
                    <a:gd name="connsiteX2731" fmla="*/ 58456 w 855312"/>
                    <a:gd name="connsiteY2731" fmla="*/ 432459 h 1324114"/>
                    <a:gd name="connsiteX2732" fmla="*/ 58869 w 855312"/>
                    <a:gd name="connsiteY2732" fmla="*/ 432203 h 1324114"/>
                    <a:gd name="connsiteX2733" fmla="*/ 59561 w 855312"/>
                    <a:gd name="connsiteY2733" fmla="*/ 431779 h 1324114"/>
                    <a:gd name="connsiteX2734" fmla="*/ 60168 w 855312"/>
                    <a:gd name="connsiteY2734" fmla="*/ 431341 h 1324114"/>
                    <a:gd name="connsiteX2735" fmla="*/ 74205 w 855312"/>
                    <a:gd name="connsiteY2735" fmla="*/ 437874 h 1324114"/>
                    <a:gd name="connsiteX2736" fmla="*/ 74667 w 855312"/>
                    <a:gd name="connsiteY2736" fmla="*/ 438166 h 1324114"/>
                    <a:gd name="connsiteX2737" fmla="*/ 75177 w 855312"/>
                    <a:gd name="connsiteY2737" fmla="*/ 438664 h 1324114"/>
                    <a:gd name="connsiteX2738" fmla="*/ 75311 w 855312"/>
                    <a:gd name="connsiteY2738" fmla="*/ 438870 h 1324114"/>
                    <a:gd name="connsiteX2739" fmla="*/ 75456 w 855312"/>
                    <a:gd name="connsiteY2739" fmla="*/ 439234 h 1324114"/>
                    <a:gd name="connsiteX2740" fmla="*/ 75663 w 855312"/>
                    <a:gd name="connsiteY2740" fmla="*/ 440242 h 1324114"/>
                    <a:gd name="connsiteX2741" fmla="*/ 75699 w 855312"/>
                    <a:gd name="connsiteY2741" fmla="*/ 442015 h 1324114"/>
                    <a:gd name="connsiteX2742" fmla="*/ 74679 w 855312"/>
                    <a:gd name="connsiteY2742" fmla="*/ 449556 h 1324114"/>
                    <a:gd name="connsiteX2743" fmla="*/ 74606 w 855312"/>
                    <a:gd name="connsiteY2743" fmla="*/ 450090 h 1324114"/>
                    <a:gd name="connsiteX2744" fmla="*/ 74631 w 855312"/>
                    <a:gd name="connsiteY2744" fmla="*/ 450636 h 1324114"/>
                    <a:gd name="connsiteX2745" fmla="*/ 74886 w 855312"/>
                    <a:gd name="connsiteY2745" fmla="*/ 456526 h 1324114"/>
                    <a:gd name="connsiteX2746" fmla="*/ 74873 w 855312"/>
                    <a:gd name="connsiteY2746" fmla="*/ 456672 h 1324114"/>
                    <a:gd name="connsiteX2747" fmla="*/ 70320 w 855312"/>
                    <a:gd name="connsiteY2747" fmla="*/ 456793 h 1324114"/>
                    <a:gd name="connsiteX2748" fmla="*/ 69421 w 855312"/>
                    <a:gd name="connsiteY2748" fmla="*/ 456817 h 1324114"/>
                    <a:gd name="connsiteX2749" fmla="*/ 68571 w 855312"/>
                    <a:gd name="connsiteY2749" fmla="*/ 457097 h 1324114"/>
                    <a:gd name="connsiteX2750" fmla="*/ 66738 w 855312"/>
                    <a:gd name="connsiteY2750" fmla="*/ 457704 h 1324114"/>
                    <a:gd name="connsiteX2751" fmla="*/ 66070 w 855312"/>
                    <a:gd name="connsiteY2751" fmla="*/ 457922 h 1324114"/>
                    <a:gd name="connsiteX2752" fmla="*/ 65475 w 855312"/>
                    <a:gd name="connsiteY2752" fmla="*/ 458287 h 1324114"/>
                    <a:gd name="connsiteX2753" fmla="*/ 63920 w 855312"/>
                    <a:gd name="connsiteY2753" fmla="*/ 459234 h 1324114"/>
                    <a:gd name="connsiteX2754" fmla="*/ 63228 w 855312"/>
                    <a:gd name="connsiteY2754" fmla="*/ 459659 h 1324114"/>
                    <a:gd name="connsiteX2755" fmla="*/ 62670 w 855312"/>
                    <a:gd name="connsiteY2755" fmla="*/ 460254 h 1324114"/>
                    <a:gd name="connsiteX2756" fmla="*/ 60605 w 855312"/>
                    <a:gd name="connsiteY2756" fmla="*/ 462452 h 1324114"/>
                    <a:gd name="connsiteX2757" fmla="*/ 59901 w 855312"/>
                    <a:gd name="connsiteY2757" fmla="*/ 463204 h 1324114"/>
                    <a:gd name="connsiteX2758" fmla="*/ 59488 w 855312"/>
                    <a:gd name="connsiteY2758" fmla="*/ 464152 h 1324114"/>
                    <a:gd name="connsiteX2759" fmla="*/ 58857 w 855312"/>
                    <a:gd name="connsiteY2759" fmla="*/ 465572 h 1324114"/>
                    <a:gd name="connsiteX2760" fmla="*/ 58165 w 855312"/>
                    <a:gd name="connsiteY2760" fmla="*/ 467103 h 1324114"/>
                    <a:gd name="connsiteX2761" fmla="*/ 58371 w 855312"/>
                    <a:gd name="connsiteY2761" fmla="*/ 468778 h 1324114"/>
                    <a:gd name="connsiteX2762" fmla="*/ 58541 w 855312"/>
                    <a:gd name="connsiteY2762" fmla="*/ 470175 h 1324114"/>
                    <a:gd name="connsiteX2763" fmla="*/ 58820 w 855312"/>
                    <a:gd name="connsiteY2763" fmla="*/ 472457 h 1324114"/>
                    <a:gd name="connsiteX2764" fmla="*/ 60533 w 855312"/>
                    <a:gd name="connsiteY2764" fmla="*/ 473987 h 1324114"/>
                    <a:gd name="connsiteX2765" fmla="*/ 61443 w 855312"/>
                    <a:gd name="connsiteY2765" fmla="*/ 474789 h 1324114"/>
                    <a:gd name="connsiteX2766" fmla="*/ 62160 w 855312"/>
                    <a:gd name="connsiteY2766" fmla="*/ 475433 h 1324114"/>
                    <a:gd name="connsiteX2767" fmla="*/ 63046 w 855312"/>
                    <a:gd name="connsiteY2767" fmla="*/ 475809 h 1324114"/>
                    <a:gd name="connsiteX2768" fmla="*/ 64370 w 855312"/>
                    <a:gd name="connsiteY2768" fmla="*/ 476392 h 1324114"/>
                    <a:gd name="connsiteX2769" fmla="*/ 64843 w 855312"/>
                    <a:gd name="connsiteY2769" fmla="*/ 476598 h 1324114"/>
                    <a:gd name="connsiteX2770" fmla="*/ 65341 w 855312"/>
                    <a:gd name="connsiteY2770" fmla="*/ 476732 h 1324114"/>
                    <a:gd name="connsiteX2771" fmla="*/ 67588 w 855312"/>
                    <a:gd name="connsiteY2771" fmla="*/ 477290 h 1324114"/>
                    <a:gd name="connsiteX2772" fmla="*/ 67005 w 855312"/>
                    <a:gd name="connsiteY2772" fmla="*/ 480982 h 1324114"/>
                    <a:gd name="connsiteX2773" fmla="*/ 66082 w 855312"/>
                    <a:gd name="connsiteY2773" fmla="*/ 483265 h 1324114"/>
                    <a:gd name="connsiteX2774" fmla="*/ 64746 w 855312"/>
                    <a:gd name="connsiteY2774" fmla="*/ 485596 h 1324114"/>
                    <a:gd name="connsiteX2775" fmla="*/ 62670 w 855312"/>
                    <a:gd name="connsiteY2775" fmla="*/ 488571 h 1324114"/>
                    <a:gd name="connsiteX2776" fmla="*/ 62415 w 855312"/>
                    <a:gd name="connsiteY2776" fmla="*/ 488936 h 1324114"/>
                    <a:gd name="connsiteX2777" fmla="*/ 62220 w 855312"/>
                    <a:gd name="connsiteY2777" fmla="*/ 489324 h 1324114"/>
                    <a:gd name="connsiteX2778" fmla="*/ 58978 w 855312"/>
                    <a:gd name="connsiteY2778" fmla="*/ 495869 h 1324114"/>
                    <a:gd name="connsiteX2779" fmla="*/ 54121 w 855312"/>
                    <a:gd name="connsiteY2779" fmla="*/ 502244 h 1324114"/>
                    <a:gd name="connsiteX2780" fmla="*/ 53903 w 855312"/>
                    <a:gd name="connsiteY2780" fmla="*/ 502523 h 1324114"/>
                    <a:gd name="connsiteX2781" fmla="*/ 53720 w 855312"/>
                    <a:gd name="connsiteY2781" fmla="*/ 502827 h 1324114"/>
                    <a:gd name="connsiteX2782" fmla="*/ 53138 w 855312"/>
                    <a:gd name="connsiteY2782" fmla="*/ 503823 h 1324114"/>
                    <a:gd name="connsiteX2783" fmla="*/ 51826 w 855312"/>
                    <a:gd name="connsiteY2783" fmla="*/ 506057 h 1324114"/>
                    <a:gd name="connsiteX2784" fmla="*/ 52518 w 855312"/>
                    <a:gd name="connsiteY2784" fmla="*/ 508534 h 1324114"/>
                    <a:gd name="connsiteX2785" fmla="*/ 52749 w 855312"/>
                    <a:gd name="connsiteY2785" fmla="*/ 509360 h 1324114"/>
                    <a:gd name="connsiteX2786" fmla="*/ 53223 w 855312"/>
                    <a:gd name="connsiteY2786" fmla="*/ 511060 h 1324114"/>
                    <a:gd name="connsiteX2787" fmla="*/ 54510 w 855312"/>
                    <a:gd name="connsiteY2787" fmla="*/ 512238 h 1324114"/>
                    <a:gd name="connsiteX2788" fmla="*/ 55712 w 855312"/>
                    <a:gd name="connsiteY2788" fmla="*/ 513319 h 1324114"/>
                    <a:gd name="connsiteX2789" fmla="*/ 52664 w 855312"/>
                    <a:gd name="connsiteY2789" fmla="*/ 519062 h 1324114"/>
                    <a:gd name="connsiteX2790" fmla="*/ 49883 w 855312"/>
                    <a:gd name="connsiteY2790" fmla="*/ 523300 h 1324114"/>
                    <a:gd name="connsiteX2791" fmla="*/ 48815 w 855312"/>
                    <a:gd name="connsiteY2791" fmla="*/ 524356 h 1324114"/>
                    <a:gd name="connsiteX2792" fmla="*/ 46265 w 855312"/>
                    <a:gd name="connsiteY2792" fmla="*/ 526323 h 1324114"/>
                    <a:gd name="connsiteX2793" fmla="*/ 45099 w 855312"/>
                    <a:gd name="connsiteY2793" fmla="*/ 526919 h 1324114"/>
                    <a:gd name="connsiteX2794" fmla="*/ 43727 w 855312"/>
                    <a:gd name="connsiteY2794" fmla="*/ 527441 h 1324114"/>
                    <a:gd name="connsiteX2795" fmla="*/ 39987 w 855312"/>
                    <a:gd name="connsiteY2795" fmla="*/ 528024 h 1324114"/>
                    <a:gd name="connsiteX2796" fmla="*/ 39064 w 855312"/>
                    <a:gd name="connsiteY2796" fmla="*/ 528024 h 1324114"/>
                    <a:gd name="connsiteX2797" fmla="*/ 38955 w 855312"/>
                    <a:gd name="connsiteY2797" fmla="*/ 527198 h 1324114"/>
                    <a:gd name="connsiteX2798" fmla="*/ 38894 w 855312"/>
                    <a:gd name="connsiteY2798" fmla="*/ 526664 h 1324114"/>
                    <a:gd name="connsiteX2799" fmla="*/ 38724 w 855312"/>
                    <a:gd name="connsiteY2799" fmla="*/ 526141 h 1324114"/>
                    <a:gd name="connsiteX2800" fmla="*/ 38323 w 855312"/>
                    <a:gd name="connsiteY2800" fmla="*/ 524879 h 1324114"/>
                    <a:gd name="connsiteX2801" fmla="*/ 37935 w 855312"/>
                    <a:gd name="connsiteY2801" fmla="*/ 523640 h 1324114"/>
                    <a:gd name="connsiteX2802" fmla="*/ 37072 w 855312"/>
                    <a:gd name="connsiteY2802" fmla="*/ 522668 h 1324114"/>
                    <a:gd name="connsiteX2803" fmla="*/ 36332 w 855312"/>
                    <a:gd name="connsiteY2803" fmla="*/ 521843 h 1324114"/>
                    <a:gd name="connsiteX2804" fmla="*/ 35239 w 855312"/>
                    <a:gd name="connsiteY2804" fmla="*/ 520604 h 1324114"/>
                    <a:gd name="connsiteX2805" fmla="*/ 33672 w 855312"/>
                    <a:gd name="connsiteY2805" fmla="*/ 520106 h 1324114"/>
                    <a:gd name="connsiteX2806" fmla="*/ 32349 w 855312"/>
                    <a:gd name="connsiteY2806" fmla="*/ 519681 h 1324114"/>
                    <a:gd name="connsiteX2807" fmla="*/ 30892 w 855312"/>
                    <a:gd name="connsiteY2807" fmla="*/ 519208 h 1324114"/>
                    <a:gd name="connsiteX2808" fmla="*/ 29386 w 855312"/>
                    <a:gd name="connsiteY2808" fmla="*/ 519475 h 1324114"/>
                    <a:gd name="connsiteX2809" fmla="*/ 27832 w 855312"/>
                    <a:gd name="connsiteY2809" fmla="*/ 519754 h 1324114"/>
                    <a:gd name="connsiteX2810" fmla="*/ 27079 w 855312"/>
                    <a:gd name="connsiteY2810" fmla="*/ 519900 h 1324114"/>
                    <a:gd name="connsiteX2811" fmla="*/ 26375 w 855312"/>
                    <a:gd name="connsiteY2811" fmla="*/ 520228 h 1324114"/>
                    <a:gd name="connsiteX2812" fmla="*/ 24820 w 855312"/>
                    <a:gd name="connsiteY2812" fmla="*/ 520956 h 1324114"/>
                    <a:gd name="connsiteX2813" fmla="*/ 24201 w 855312"/>
                    <a:gd name="connsiteY2813" fmla="*/ 521235 h 1324114"/>
                    <a:gd name="connsiteX2814" fmla="*/ 23667 w 855312"/>
                    <a:gd name="connsiteY2814" fmla="*/ 521649 h 1324114"/>
                    <a:gd name="connsiteX2815" fmla="*/ 14657 w 855312"/>
                    <a:gd name="connsiteY2815" fmla="*/ 528607 h 1324114"/>
                    <a:gd name="connsiteX2816" fmla="*/ 14098 w 855312"/>
                    <a:gd name="connsiteY2816" fmla="*/ 529031 h 1324114"/>
                    <a:gd name="connsiteX2817" fmla="*/ 13649 w 855312"/>
                    <a:gd name="connsiteY2817" fmla="*/ 529578 h 1324114"/>
                    <a:gd name="connsiteX2818" fmla="*/ 11184 w 855312"/>
                    <a:gd name="connsiteY2818" fmla="*/ 532614 h 1324114"/>
                    <a:gd name="connsiteX2819" fmla="*/ 10479 w 855312"/>
                    <a:gd name="connsiteY2819" fmla="*/ 533476 h 1324114"/>
                    <a:gd name="connsiteX2820" fmla="*/ 10127 w 855312"/>
                    <a:gd name="connsiteY2820" fmla="*/ 534532 h 1324114"/>
                    <a:gd name="connsiteX2821" fmla="*/ 8864 w 855312"/>
                    <a:gd name="connsiteY2821" fmla="*/ 538321 h 1324114"/>
                    <a:gd name="connsiteX2822" fmla="*/ 8112 w 855312"/>
                    <a:gd name="connsiteY2822" fmla="*/ 538600 h 1324114"/>
                    <a:gd name="connsiteX2823" fmla="*/ 5853 w 855312"/>
                    <a:gd name="connsiteY2823" fmla="*/ 539438 h 1324114"/>
                    <a:gd name="connsiteX2824" fmla="*/ 4797 w 855312"/>
                    <a:gd name="connsiteY2824" fmla="*/ 541599 h 1324114"/>
                    <a:gd name="connsiteX2825" fmla="*/ 4457 w 855312"/>
                    <a:gd name="connsiteY2825" fmla="*/ 542291 h 1324114"/>
                    <a:gd name="connsiteX2826" fmla="*/ 3473 w 855312"/>
                    <a:gd name="connsiteY2826" fmla="*/ 544295 h 1324114"/>
                    <a:gd name="connsiteX2827" fmla="*/ 4019 w 855312"/>
                    <a:gd name="connsiteY2827" fmla="*/ 546469 h 1324114"/>
                    <a:gd name="connsiteX2828" fmla="*/ 4238 w 855312"/>
                    <a:gd name="connsiteY2828" fmla="*/ 547331 h 1324114"/>
                    <a:gd name="connsiteX2829" fmla="*/ 4432 w 855312"/>
                    <a:gd name="connsiteY2829" fmla="*/ 548072 h 1324114"/>
                    <a:gd name="connsiteX2830" fmla="*/ 4797 w 855312"/>
                    <a:gd name="connsiteY2830" fmla="*/ 548739 h 1324114"/>
                    <a:gd name="connsiteX2831" fmla="*/ 5161 w 855312"/>
                    <a:gd name="connsiteY2831" fmla="*/ 549419 h 1324114"/>
                    <a:gd name="connsiteX2832" fmla="*/ 5294 w 855312"/>
                    <a:gd name="connsiteY2832" fmla="*/ 551047 h 1324114"/>
                    <a:gd name="connsiteX2833" fmla="*/ 5622 w 855312"/>
                    <a:gd name="connsiteY2833" fmla="*/ 555224 h 1324114"/>
                    <a:gd name="connsiteX2834" fmla="*/ 9654 w 855312"/>
                    <a:gd name="connsiteY2834" fmla="*/ 556402 h 1324114"/>
                    <a:gd name="connsiteX2835" fmla="*/ 12422 w 855312"/>
                    <a:gd name="connsiteY2835" fmla="*/ 557203 h 1324114"/>
                    <a:gd name="connsiteX2836" fmla="*/ 13042 w 855312"/>
                    <a:gd name="connsiteY2836" fmla="*/ 557385 h 1324114"/>
                    <a:gd name="connsiteX2837" fmla="*/ 13685 w 855312"/>
                    <a:gd name="connsiteY2837" fmla="*/ 557434 h 1324114"/>
                    <a:gd name="connsiteX2838" fmla="*/ 15968 w 855312"/>
                    <a:gd name="connsiteY2838" fmla="*/ 557604 h 1324114"/>
                    <a:gd name="connsiteX2839" fmla="*/ 16733 w 855312"/>
                    <a:gd name="connsiteY2839" fmla="*/ 557652 h 1324114"/>
                    <a:gd name="connsiteX2840" fmla="*/ 17486 w 855312"/>
                    <a:gd name="connsiteY2840" fmla="*/ 557519 h 1324114"/>
                    <a:gd name="connsiteX2841" fmla="*/ 19951 w 855312"/>
                    <a:gd name="connsiteY2841" fmla="*/ 557070 h 1324114"/>
                    <a:gd name="connsiteX2842" fmla="*/ 20473 w 855312"/>
                    <a:gd name="connsiteY2842" fmla="*/ 556972 h 1324114"/>
                    <a:gd name="connsiteX2843" fmla="*/ 20983 w 855312"/>
                    <a:gd name="connsiteY2843" fmla="*/ 556778 h 1324114"/>
                    <a:gd name="connsiteX2844" fmla="*/ 22319 w 855312"/>
                    <a:gd name="connsiteY2844" fmla="*/ 556280 h 1324114"/>
                    <a:gd name="connsiteX2845" fmla="*/ 22671 w 855312"/>
                    <a:gd name="connsiteY2845" fmla="*/ 556135 h 1324114"/>
                    <a:gd name="connsiteX2846" fmla="*/ 23011 w 855312"/>
                    <a:gd name="connsiteY2846" fmla="*/ 555964 h 1324114"/>
                    <a:gd name="connsiteX2847" fmla="*/ 24140 w 855312"/>
                    <a:gd name="connsiteY2847" fmla="*/ 555369 h 1324114"/>
                    <a:gd name="connsiteX2848" fmla="*/ 24505 w 855312"/>
                    <a:gd name="connsiteY2848" fmla="*/ 555175 h 1324114"/>
                    <a:gd name="connsiteX2849" fmla="*/ 24832 w 855312"/>
                    <a:gd name="connsiteY2849" fmla="*/ 554932 h 1324114"/>
                    <a:gd name="connsiteX2850" fmla="*/ 25415 w 855312"/>
                    <a:gd name="connsiteY2850" fmla="*/ 554520 h 1324114"/>
                    <a:gd name="connsiteX2851" fmla="*/ 27018 w 855312"/>
                    <a:gd name="connsiteY2851" fmla="*/ 555114 h 1324114"/>
                    <a:gd name="connsiteX2852" fmla="*/ 31341 w 855312"/>
                    <a:gd name="connsiteY2852" fmla="*/ 557482 h 1324114"/>
                    <a:gd name="connsiteX2853" fmla="*/ 31487 w 855312"/>
                    <a:gd name="connsiteY2853" fmla="*/ 557628 h 1324114"/>
                    <a:gd name="connsiteX2854" fmla="*/ 32652 w 855312"/>
                    <a:gd name="connsiteY2854" fmla="*/ 561963 h 1324114"/>
                    <a:gd name="connsiteX2855" fmla="*/ 34097 w 855312"/>
                    <a:gd name="connsiteY2855" fmla="*/ 572054 h 1324114"/>
                    <a:gd name="connsiteX2856" fmla="*/ 34146 w 855312"/>
                    <a:gd name="connsiteY2856" fmla="*/ 572369 h 1324114"/>
                    <a:gd name="connsiteX2857" fmla="*/ 34231 w 855312"/>
                    <a:gd name="connsiteY2857" fmla="*/ 572673 h 1324114"/>
                    <a:gd name="connsiteX2858" fmla="*/ 34607 w 855312"/>
                    <a:gd name="connsiteY2858" fmla="*/ 574179 h 1324114"/>
                    <a:gd name="connsiteX2859" fmla="*/ 34474 w 855312"/>
                    <a:gd name="connsiteY2859" fmla="*/ 575029 h 1324114"/>
                    <a:gd name="connsiteX2860" fmla="*/ 33539 w 855312"/>
                    <a:gd name="connsiteY2860" fmla="*/ 576328 h 1324114"/>
                    <a:gd name="connsiteX2861" fmla="*/ 33357 w 855312"/>
                    <a:gd name="connsiteY2861" fmla="*/ 576583 h 1324114"/>
                    <a:gd name="connsiteX2862" fmla="*/ 33199 w 855312"/>
                    <a:gd name="connsiteY2862" fmla="*/ 576838 h 1324114"/>
                    <a:gd name="connsiteX2863" fmla="*/ 31547 w 855312"/>
                    <a:gd name="connsiteY2863" fmla="*/ 579765 h 1324114"/>
                    <a:gd name="connsiteX2864" fmla="*/ 30527 w 855312"/>
                    <a:gd name="connsiteY2864" fmla="*/ 581574 h 1324114"/>
                    <a:gd name="connsiteX2865" fmla="*/ 30831 w 855312"/>
                    <a:gd name="connsiteY2865" fmla="*/ 583650 h 1324114"/>
                    <a:gd name="connsiteX2866" fmla="*/ 31353 w 855312"/>
                    <a:gd name="connsiteY2866" fmla="*/ 587147 h 1324114"/>
                    <a:gd name="connsiteX2867" fmla="*/ 31645 w 855312"/>
                    <a:gd name="connsiteY2867" fmla="*/ 589090 h 1324114"/>
                    <a:gd name="connsiteX2868" fmla="*/ 33029 w 855312"/>
                    <a:gd name="connsiteY2868" fmla="*/ 590499 h 1324114"/>
                    <a:gd name="connsiteX2869" fmla="*/ 34620 w 855312"/>
                    <a:gd name="connsiteY2869" fmla="*/ 592126 h 1324114"/>
                    <a:gd name="connsiteX2870" fmla="*/ 34741 w 855312"/>
                    <a:gd name="connsiteY2870" fmla="*/ 592357 h 1324114"/>
                    <a:gd name="connsiteX2871" fmla="*/ 34911 w 855312"/>
                    <a:gd name="connsiteY2871" fmla="*/ 592770 h 1324114"/>
                    <a:gd name="connsiteX2872" fmla="*/ 34947 w 855312"/>
                    <a:gd name="connsiteY2872" fmla="*/ 593134 h 1324114"/>
                    <a:gd name="connsiteX2873" fmla="*/ 34947 w 855312"/>
                    <a:gd name="connsiteY2873" fmla="*/ 593267 h 1324114"/>
                    <a:gd name="connsiteX2874" fmla="*/ 34656 w 855312"/>
                    <a:gd name="connsiteY2874" fmla="*/ 595235 h 1324114"/>
                    <a:gd name="connsiteX2875" fmla="*/ 34595 w 855312"/>
                    <a:gd name="connsiteY2875" fmla="*/ 595672 h 1324114"/>
                    <a:gd name="connsiteX2876" fmla="*/ 34595 w 855312"/>
                    <a:gd name="connsiteY2876" fmla="*/ 596121 h 1324114"/>
                    <a:gd name="connsiteX2877" fmla="*/ 34595 w 855312"/>
                    <a:gd name="connsiteY2877" fmla="*/ 597760 h 1324114"/>
                    <a:gd name="connsiteX2878" fmla="*/ 34595 w 855312"/>
                    <a:gd name="connsiteY2878" fmla="*/ 598440 h 1324114"/>
                    <a:gd name="connsiteX2879" fmla="*/ 34741 w 855312"/>
                    <a:gd name="connsiteY2879" fmla="*/ 599108 h 1324114"/>
                    <a:gd name="connsiteX2880" fmla="*/ 35093 w 855312"/>
                    <a:gd name="connsiteY2880" fmla="*/ 600687 h 1324114"/>
                    <a:gd name="connsiteX2881" fmla="*/ 35275 w 855312"/>
                    <a:gd name="connsiteY2881" fmla="*/ 601452 h 1324114"/>
                    <a:gd name="connsiteX2882" fmla="*/ 35640 w 855312"/>
                    <a:gd name="connsiteY2882" fmla="*/ 602168 h 1324114"/>
                    <a:gd name="connsiteX2883" fmla="*/ 36502 w 855312"/>
                    <a:gd name="connsiteY2883" fmla="*/ 603808 h 1324114"/>
                    <a:gd name="connsiteX2884" fmla="*/ 36890 w 855312"/>
                    <a:gd name="connsiteY2884" fmla="*/ 604548 h 1324114"/>
                    <a:gd name="connsiteX2885" fmla="*/ 37461 w 855312"/>
                    <a:gd name="connsiteY2885" fmla="*/ 605168 h 1324114"/>
                    <a:gd name="connsiteX2886" fmla="*/ 42367 w 855312"/>
                    <a:gd name="connsiteY2886" fmla="*/ 610365 h 1324114"/>
                    <a:gd name="connsiteX2887" fmla="*/ 42622 w 855312"/>
                    <a:gd name="connsiteY2887" fmla="*/ 610729 h 1324114"/>
                    <a:gd name="connsiteX2888" fmla="*/ 42743 w 855312"/>
                    <a:gd name="connsiteY2888" fmla="*/ 611288 h 1324114"/>
                    <a:gd name="connsiteX2889" fmla="*/ 43314 w 855312"/>
                    <a:gd name="connsiteY2889" fmla="*/ 617116 h 1324114"/>
                    <a:gd name="connsiteX2890" fmla="*/ 38420 w 855312"/>
                    <a:gd name="connsiteY2890" fmla="*/ 618051 h 1324114"/>
                    <a:gd name="connsiteX2891" fmla="*/ 38044 w 855312"/>
                    <a:gd name="connsiteY2891" fmla="*/ 618124 h 1324114"/>
                    <a:gd name="connsiteX2892" fmla="*/ 37680 w 855312"/>
                    <a:gd name="connsiteY2892" fmla="*/ 618246 h 1324114"/>
                    <a:gd name="connsiteX2893" fmla="*/ 36878 w 855312"/>
                    <a:gd name="connsiteY2893" fmla="*/ 618501 h 1324114"/>
                    <a:gd name="connsiteX2894" fmla="*/ 35506 w 855312"/>
                    <a:gd name="connsiteY2894" fmla="*/ 618950 h 1324114"/>
                    <a:gd name="connsiteX2895" fmla="*/ 34486 w 855312"/>
                    <a:gd name="connsiteY2895" fmla="*/ 619958 h 1324114"/>
                    <a:gd name="connsiteX2896" fmla="*/ 33794 w 855312"/>
                    <a:gd name="connsiteY2896" fmla="*/ 620650 h 1324114"/>
                    <a:gd name="connsiteX2897" fmla="*/ 33029 w 855312"/>
                    <a:gd name="connsiteY2897" fmla="*/ 621415 h 1324114"/>
                    <a:gd name="connsiteX2898" fmla="*/ 32567 w 855312"/>
                    <a:gd name="connsiteY2898" fmla="*/ 622399 h 1324114"/>
                    <a:gd name="connsiteX2899" fmla="*/ 32106 w 855312"/>
                    <a:gd name="connsiteY2899" fmla="*/ 623394 h 1324114"/>
                    <a:gd name="connsiteX2900" fmla="*/ 31499 w 855312"/>
                    <a:gd name="connsiteY2900" fmla="*/ 624718 h 1324114"/>
                    <a:gd name="connsiteX2901" fmla="*/ 31547 w 855312"/>
                    <a:gd name="connsiteY2901" fmla="*/ 626163 h 1324114"/>
                    <a:gd name="connsiteX2902" fmla="*/ 31608 w 855312"/>
                    <a:gd name="connsiteY2902" fmla="*/ 627972 h 1324114"/>
                    <a:gd name="connsiteX2903" fmla="*/ 31645 w 855312"/>
                    <a:gd name="connsiteY2903" fmla="*/ 629162 h 1324114"/>
                    <a:gd name="connsiteX2904" fmla="*/ 32130 w 855312"/>
                    <a:gd name="connsiteY2904" fmla="*/ 630255 h 1324114"/>
                    <a:gd name="connsiteX2905" fmla="*/ 32701 w 855312"/>
                    <a:gd name="connsiteY2905" fmla="*/ 631518 h 1324114"/>
                    <a:gd name="connsiteX2906" fmla="*/ 33029 w 855312"/>
                    <a:gd name="connsiteY2906" fmla="*/ 632246 h 1324114"/>
                    <a:gd name="connsiteX2907" fmla="*/ 33539 w 855312"/>
                    <a:gd name="connsiteY2907" fmla="*/ 632866 h 1324114"/>
                    <a:gd name="connsiteX2908" fmla="*/ 34450 w 855312"/>
                    <a:gd name="connsiteY2908" fmla="*/ 633983 h 1324114"/>
                    <a:gd name="connsiteX2909" fmla="*/ 35166 w 855312"/>
                    <a:gd name="connsiteY2909" fmla="*/ 634857 h 1324114"/>
                    <a:gd name="connsiteX2910" fmla="*/ 36137 w 855312"/>
                    <a:gd name="connsiteY2910" fmla="*/ 635416 h 1324114"/>
                    <a:gd name="connsiteX2911" fmla="*/ 41067 w 855312"/>
                    <a:gd name="connsiteY2911" fmla="*/ 638245 h 1324114"/>
                    <a:gd name="connsiteX2912" fmla="*/ 40825 w 855312"/>
                    <a:gd name="connsiteY2912" fmla="*/ 639034 h 1324114"/>
                    <a:gd name="connsiteX2913" fmla="*/ 36647 w 855312"/>
                    <a:gd name="connsiteY2913" fmla="*/ 647546 h 1324114"/>
                    <a:gd name="connsiteX2914" fmla="*/ 36380 w 855312"/>
                    <a:gd name="connsiteY2914" fmla="*/ 648105 h 1324114"/>
                    <a:gd name="connsiteX2915" fmla="*/ 36222 w 855312"/>
                    <a:gd name="connsiteY2915" fmla="*/ 648688 h 1324114"/>
                    <a:gd name="connsiteX2916" fmla="*/ 35822 w 855312"/>
                    <a:gd name="connsiteY2916" fmla="*/ 650230 h 1324114"/>
                    <a:gd name="connsiteX2917" fmla="*/ 35166 w 855312"/>
                    <a:gd name="connsiteY2917" fmla="*/ 653472 h 1324114"/>
                    <a:gd name="connsiteX2918" fmla="*/ 35045 w 855312"/>
                    <a:gd name="connsiteY2918" fmla="*/ 654067 h 1324114"/>
                    <a:gd name="connsiteX2919" fmla="*/ 35045 w 855312"/>
                    <a:gd name="connsiteY2919" fmla="*/ 654674 h 1324114"/>
                    <a:gd name="connsiteX2920" fmla="*/ 35045 w 855312"/>
                    <a:gd name="connsiteY2920" fmla="*/ 656083 h 1324114"/>
                    <a:gd name="connsiteX2921" fmla="*/ 35190 w 855312"/>
                    <a:gd name="connsiteY2921" fmla="*/ 658001 h 1324114"/>
                    <a:gd name="connsiteX2922" fmla="*/ 35215 w 855312"/>
                    <a:gd name="connsiteY2922" fmla="*/ 658342 h 1324114"/>
                    <a:gd name="connsiteX2923" fmla="*/ 35287 w 855312"/>
                    <a:gd name="connsiteY2923" fmla="*/ 658670 h 1324114"/>
                    <a:gd name="connsiteX2924" fmla="*/ 36502 w 855312"/>
                    <a:gd name="connsiteY2924" fmla="*/ 664546 h 1324114"/>
                    <a:gd name="connsiteX2925" fmla="*/ 36526 w 855312"/>
                    <a:gd name="connsiteY2925" fmla="*/ 665287 h 1324114"/>
                    <a:gd name="connsiteX2926" fmla="*/ 36441 w 855312"/>
                    <a:gd name="connsiteY2926" fmla="*/ 666271 h 1324114"/>
                    <a:gd name="connsiteX2927" fmla="*/ 36198 w 855312"/>
                    <a:gd name="connsiteY2927" fmla="*/ 667400 h 1324114"/>
                    <a:gd name="connsiteX2928" fmla="*/ 35700 w 855312"/>
                    <a:gd name="connsiteY2928" fmla="*/ 668687 h 1324114"/>
                    <a:gd name="connsiteX2929" fmla="*/ 34717 w 855312"/>
                    <a:gd name="connsiteY2929" fmla="*/ 670897 h 1324114"/>
                    <a:gd name="connsiteX2930" fmla="*/ 34583 w 855312"/>
                    <a:gd name="connsiteY2930" fmla="*/ 671189 h 1324114"/>
                    <a:gd name="connsiteX2931" fmla="*/ 34486 w 855312"/>
                    <a:gd name="connsiteY2931" fmla="*/ 671492 h 1324114"/>
                    <a:gd name="connsiteX2932" fmla="*/ 33114 w 855312"/>
                    <a:gd name="connsiteY2932" fmla="*/ 675791 h 1324114"/>
                    <a:gd name="connsiteX2933" fmla="*/ 33017 w 855312"/>
                    <a:gd name="connsiteY2933" fmla="*/ 676095 h 1324114"/>
                    <a:gd name="connsiteX2934" fmla="*/ 32956 w 855312"/>
                    <a:gd name="connsiteY2934" fmla="*/ 676410 h 1324114"/>
                    <a:gd name="connsiteX2935" fmla="*/ 32592 w 855312"/>
                    <a:gd name="connsiteY2935" fmla="*/ 678195 h 1324114"/>
                    <a:gd name="connsiteX2936" fmla="*/ 31317 w 855312"/>
                    <a:gd name="connsiteY2936" fmla="*/ 679325 h 1324114"/>
                    <a:gd name="connsiteX2937" fmla="*/ 29131 w 855312"/>
                    <a:gd name="connsiteY2937" fmla="*/ 680648 h 1324114"/>
                    <a:gd name="connsiteX2938" fmla="*/ 27989 w 855312"/>
                    <a:gd name="connsiteY2938" fmla="*/ 681097 h 1324114"/>
                    <a:gd name="connsiteX2939" fmla="*/ 26751 w 855312"/>
                    <a:gd name="connsiteY2939" fmla="*/ 681267 h 1324114"/>
                    <a:gd name="connsiteX2940" fmla="*/ 23229 w 855312"/>
                    <a:gd name="connsiteY2940" fmla="*/ 680903 h 1324114"/>
                    <a:gd name="connsiteX2941" fmla="*/ 22015 w 855312"/>
                    <a:gd name="connsiteY2941" fmla="*/ 680769 h 1324114"/>
                    <a:gd name="connsiteX2942" fmla="*/ 20849 w 855312"/>
                    <a:gd name="connsiteY2942" fmla="*/ 681110 h 1324114"/>
                    <a:gd name="connsiteX2943" fmla="*/ 19696 w 855312"/>
                    <a:gd name="connsiteY2943" fmla="*/ 681449 h 1324114"/>
                    <a:gd name="connsiteX2944" fmla="*/ 18992 w 855312"/>
                    <a:gd name="connsiteY2944" fmla="*/ 681668 h 1324114"/>
                    <a:gd name="connsiteX2945" fmla="*/ 18348 w 855312"/>
                    <a:gd name="connsiteY2945" fmla="*/ 682045 h 1324114"/>
                    <a:gd name="connsiteX2946" fmla="*/ 17037 w 855312"/>
                    <a:gd name="connsiteY2946" fmla="*/ 682809 h 1324114"/>
                    <a:gd name="connsiteX2947" fmla="*/ 16563 w 855312"/>
                    <a:gd name="connsiteY2947" fmla="*/ 683077 h 1324114"/>
                    <a:gd name="connsiteX2948" fmla="*/ 16150 w 855312"/>
                    <a:gd name="connsiteY2948" fmla="*/ 683429 h 1324114"/>
                    <a:gd name="connsiteX2949" fmla="*/ 12556 w 855312"/>
                    <a:gd name="connsiteY2949" fmla="*/ 686513 h 1324114"/>
                    <a:gd name="connsiteX2950" fmla="*/ 6764 w 855312"/>
                    <a:gd name="connsiteY2950" fmla="*/ 689500 h 1324114"/>
                    <a:gd name="connsiteX2951" fmla="*/ 1943 w 855312"/>
                    <a:gd name="connsiteY2951" fmla="*/ 691977 h 1324114"/>
                    <a:gd name="connsiteX2952" fmla="*/ 3874 w 855312"/>
                    <a:gd name="connsiteY2952" fmla="*/ 697053 h 1324114"/>
                    <a:gd name="connsiteX2953" fmla="*/ 5185 w 855312"/>
                    <a:gd name="connsiteY2953" fmla="*/ 700514 h 1324114"/>
                    <a:gd name="connsiteX2954" fmla="*/ 0 w 855312"/>
                    <a:gd name="connsiteY2954" fmla="*/ 697915 h 1324114"/>
                    <a:gd name="connsiteX2955" fmla="*/ 3691 w 855312"/>
                    <a:gd name="connsiteY2955" fmla="*/ 711115 h 1324114"/>
                    <a:gd name="connsiteX2956" fmla="*/ 4663 w 855312"/>
                    <a:gd name="connsiteY2956" fmla="*/ 714588 h 1324114"/>
                    <a:gd name="connsiteX2957" fmla="*/ 5149 w 855312"/>
                    <a:gd name="connsiteY2957" fmla="*/ 716312 h 1324114"/>
                    <a:gd name="connsiteX2958" fmla="*/ 6497 w 855312"/>
                    <a:gd name="connsiteY2958" fmla="*/ 717514 h 1324114"/>
                    <a:gd name="connsiteX2959" fmla="*/ 9314 w 855312"/>
                    <a:gd name="connsiteY2959" fmla="*/ 720003 h 1324114"/>
                    <a:gd name="connsiteX2960" fmla="*/ 9921 w 855312"/>
                    <a:gd name="connsiteY2960" fmla="*/ 720538 h 1324114"/>
                    <a:gd name="connsiteX2961" fmla="*/ 10649 w 855312"/>
                    <a:gd name="connsiteY2961" fmla="*/ 720890 h 1324114"/>
                    <a:gd name="connsiteX2962" fmla="*/ 15312 w 855312"/>
                    <a:gd name="connsiteY2962" fmla="*/ 723185 h 1324114"/>
                    <a:gd name="connsiteX2963" fmla="*/ 15883 w 855312"/>
                    <a:gd name="connsiteY2963" fmla="*/ 724217 h 1324114"/>
                    <a:gd name="connsiteX2964" fmla="*/ 17231 w 855312"/>
                    <a:gd name="connsiteY2964" fmla="*/ 726658 h 1324114"/>
                    <a:gd name="connsiteX2965" fmla="*/ 19975 w 855312"/>
                    <a:gd name="connsiteY2965" fmla="*/ 727216 h 1324114"/>
                    <a:gd name="connsiteX2966" fmla="*/ 20777 w 855312"/>
                    <a:gd name="connsiteY2966" fmla="*/ 727386 h 1324114"/>
                    <a:gd name="connsiteX2967" fmla="*/ 21869 w 855312"/>
                    <a:gd name="connsiteY2967" fmla="*/ 727629 h 1324114"/>
                    <a:gd name="connsiteX2968" fmla="*/ 21942 w 855312"/>
                    <a:gd name="connsiteY2968" fmla="*/ 727617 h 1324114"/>
                    <a:gd name="connsiteX2969" fmla="*/ 23460 w 855312"/>
                    <a:gd name="connsiteY2969" fmla="*/ 730592 h 1324114"/>
                    <a:gd name="connsiteX2970" fmla="*/ 27552 w 855312"/>
                    <a:gd name="connsiteY2970" fmla="*/ 738582 h 1324114"/>
                    <a:gd name="connsiteX2971" fmla="*/ 33442 w 855312"/>
                    <a:gd name="connsiteY2971" fmla="*/ 731806 h 1324114"/>
                    <a:gd name="connsiteX2972" fmla="*/ 34450 w 855312"/>
                    <a:gd name="connsiteY2972" fmla="*/ 730641 h 1324114"/>
                    <a:gd name="connsiteX2973" fmla="*/ 35154 w 855312"/>
                    <a:gd name="connsiteY2973" fmla="*/ 731223 h 1324114"/>
                    <a:gd name="connsiteX2974" fmla="*/ 35943 w 855312"/>
                    <a:gd name="connsiteY2974" fmla="*/ 732559 h 1324114"/>
                    <a:gd name="connsiteX2975" fmla="*/ 36915 w 855312"/>
                    <a:gd name="connsiteY2975" fmla="*/ 739529 h 1324114"/>
                    <a:gd name="connsiteX2976" fmla="*/ 37000 w 855312"/>
                    <a:gd name="connsiteY2976" fmla="*/ 740136 h 1324114"/>
                    <a:gd name="connsiteX2977" fmla="*/ 37170 w 855312"/>
                    <a:gd name="connsiteY2977" fmla="*/ 740634 h 1324114"/>
                    <a:gd name="connsiteX2978" fmla="*/ 36089 w 855312"/>
                    <a:gd name="connsiteY2978" fmla="*/ 741666 h 1324114"/>
                    <a:gd name="connsiteX2979" fmla="*/ 36417 w 855312"/>
                    <a:gd name="connsiteY2979" fmla="*/ 744654 h 1324114"/>
                    <a:gd name="connsiteX2980" fmla="*/ 36660 w 855312"/>
                    <a:gd name="connsiteY2980" fmla="*/ 746839 h 1324114"/>
                    <a:gd name="connsiteX2981" fmla="*/ 36854 w 855312"/>
                    <a:gd name="connsiteY2981" fmla="*/ 748515 h 1324114"/>
                    <a:gd name="connsiteX2982" fmla="*/ 37874 w 855312"/>
                    <a:gd name="connsiteY2982" fmla="*/ 749839 h 1324114"/>
                    <a:gd name="connsiteX2983" fmla="*/ 39307 w 855312"/>
                    <a:gd name="connsiteY2983" fmla="*/ 751709 h 1324114"/>
                    <a:gd name="connsiteX2984" fmla="*/ 40375 w 855312"/>
                    <a:gd name="connsiteY2984" fmla="*/ 753117 h 1324114"/>
                    <a:gd name="connsiteX2985" fmla="*/ 41723 w 855312"/>
                    <a:gd name="connsiteY2985" fmla="*/ 753615 h 1324114"/>
                    <a:gd name="connsiteX2986" fmla="*/ 41857 w 855312"/>
                    <a:gd name="connsiteY2986" fmla="*/ 756930 h 1324114"/>
                    <a:gd name="connsiteX2987" fmla="*/ 41881 w 855312"/>
                    <a:gd name="connsiteY2987" fmla="*/ 757622 h 1324114"/>
                    <a:gd name="connsiteX2988" fmla="*/ 42063 w 855312"/>
                    <a:gd name="connsiteY2988" fmla="*/ 758290 h 1324114"/>
                    <a:gd name="connsiteX2989" fmla="*/ 43047 w 855312"/>
                    <a:gd name="connsiteY2989" fmla="*/ 761848 h 1324114"/>
                    <a:gd name="connsiteX2990" fmla="*/ 42962 w 855312"/>
                    <a:gd name="connsiteY2990" fmla="*/ 762139 h 1324114"/>
                    <a:gd name="connsiteX2991" fmla="*/ 41881 w 855312"/>
                    <a:gd name="connsiteY2991" fmla="*/ 765819 h 1324114"/>
                    <a:gd name="connsiteX2992" fmla="*/ 44723 w 855312"/>
                    <a:gd name="connsiteY2992" fmla="*/ 768381 h 1324114"/>
                    <a:gd name="connsiteX2993" fmla="*/ 46447 w 855312"/>
                    <a:gd name="connsiteY2993" fmla="*/ 769935 h 1324114"/>
                    <a:gd name="connsiteX2994" fmla="*/ 47831 w 855312"/>
                    <a:gd name="connsiteY2994" fmla="*/ 771198 h 1324114"/>
                    <a:gd name="connsiteX2995" fmla="*/ 49677 w 855312"/>
                    <a:gd name="connsiteY2995" fmla="*/ 771453 h 1324114"/>
                    <a:gd name="connsiteX2996" fmla="*/ 52494 w 855312"/>
                    <a:gd name="connsiteY2996" fmla="*/ 771841 h 1324114"/>
                    <a:gd name="connsiteX2997" fmla="*/ 53963 w 855312"/>
                    <a:gd name="connsiteY2997" fmla="*/ 772048 h 1324114"/>
                    <a:gd name="connsiteX2998" fmla="*/ 56841 w 855312"/>
                    <a:gd name="connsiteY2998" fmla="*/ 777464 h 1324114"/>
                    <a:gd name="connsiteX2999" fmla="*/ 58043 w 855312"/>
                    <a:gd name="connsiteY2999" fmla="*/ 783499 h 1324114"/>
                    <a:gd name="connsiteX3000" fmla="*/ 58298 w 855312"/>
                    <a:gd name="connsiteY3000" fmla="*/ 784750 h 1324114"/>
                    <a:gd name="connsiteX3001" fmla="*/ 59027 w 855312"/>
                    <a:gd name="connsiteY3001" fmla="*/ 785794 h 1324114"/>
                    <a:gd name="connsiteX3002" fmla="*/ 59950 w 855312"/>
                    <a:gd name="connsiteY3002" fmla="*/ 787105 h 1324114"/>
                    <a:gd name="connsiteX3003" fmla="*/ 60229 w 855312"/>
                    <a:gd name="connsiteY3003" fmla="*/ 787494 h 1324114"/>
                    <a:gd name="connsiteX3004" fmla="*/ 60290 w 855312"/>
                    <a:gd name="connsiteY3004" fmla="*/ 787567 h 1324114"/>
                    <a:gd name="connsiteX3005" fmla="*/ 60290 w 855312"/>
                    <a:gd name="connsiteY3005" fmla="*/ 791161 h 1324114"/>
                    <a:gd name="connsiteX3006" fmla="*/ 60290 w 855312"/>
                    <a:gd name="connsiteY3006" fmla="*/ 791817 h 1324114"/>
                    <a:gd name="connsiteX3007" fmla="*/ 60423 w 855312"/>
                    <a:gd name="connsiteY3007" fmla="*/ 792460 h 1324114"/>
                    <a:gd name="connsiteX3008" fmla="*/ 60933 w 855312"/>
                    <a:gd name="connsiteY3008" fmla="*/ 794804 h 1324114"/>
                    <a:gd name="connsiteX3009" fmla="*/ 61176 w 855312"/>
                    <a:gd name="connsiteY3009" fmla="*/ 795885 h 1324114"/>
                    <a:gd name="connsiteX3010" fmla="*/ 61783 w 855312"/>
                    <a:gd name="connsiteY3010" fmla="*/ 796820 h 1324114"/>
                    <a:gd name="connsiteX3011" fmla="*/ 62803 w 855312"/>
                    <a:gd name="connsiteY3011" fmla="*/ 798386 h 1324114"/>
                    <a:gd name="connsiteX3012" fmla="*/ 63823 w 855312"/>
                    <a:gd name="connsiteY3012" fmla="*/ 800450 h 1324114"/>
                    <a:gd name="connsiteX3013" fmla="*/ 64273 w 855312"/>
                    <a:gd name="connsiteY3013" fmla="*/ 807590 h 1324114"/>
                    <a:gd name="connsiteX3014" fmla="*/ 64382 w 855312"/>
                    <a:gd name="connsiteY3014" fmla="*/ 809290 h 1324114"/>
                    <a:gd name="connsiteX3015" fmla="*/ 65353 w 855312"/>
                    <a:gd name="connsiteY3015" fmla="*/ 810687 h 1324114"/>
                    <a:gd name="connsiteX3016" fmla="*/ 67648 w 855312"/>
                    <a:gd name="connsiteY3016" fmla="*/ 813977 h 1324114"/>
                    <a:gd name="connsiteX3017" fmla="*/ 66944 w 855312"/>
                    <a:gd name="connsiteY3017" fmla="*/ 817754 h 1324114"/>
                    <a:gd name="connsiteX3018" fmla="*/ 66592 w 855312"/>
                    <a:gd name="connsiteY3018" fmla="*/ 819648 h 1324114"/>
                    <a:gd name="connsiteX3019" fmla="*/ 67393 w 855312"/>
                    <a:gd name="connsiteY3019" fmla="*/ 821409 h 1324114"/>
                    <a:gd name="connsiteX3020" fmla="*/ 69178 w 855312"/>
                    <a:gd name="connsiteY3020" fmla="*/ 825271 h 1324114"/>
                    <a:gd name="connsiteX3021" fmla="*/ 69433 w 855312"/>
                    <a:gd name="connsiteY3021" fmla="*/ 825805 h 1324114"/>
                    <a:gd name="connsiteX3022" fmla="*/ 69785 w 855312"/>
                    <a:gd name="connsiteY3022" fmla="*/ 826290 h 1324114"/>
                    <a:gd name="connsiteX3023" fmla="*/ 74558 w 855312"/>
                    <a:gd name="connsiteY3023" fmla="*/ 832860 h 1324114"/>
                    <a:gd name="connsiteX3024" fmla="*/ 75141 w 855312"/>
                    <a:gd name="connsiteY3024" fmla="*/ 834839 h 1324114"/>
                    <a:gd name="connsiteX3025" fmla="*/ 75408 w 855312"/>
                    <a:gd name="connsiteY3025" fmla="*/ 844772 h 1324114"/>
                    <a:gd name="connsiteX3026" fmla="*/ 75444 w 855312"/>
                    <a:gd name="connsiteY3026" fmla="*/ 845901 h 1324114"/>
                    <a:gd name="connsiteX3027" fmla="*/ 75881 w 855312"/>
                    <a:gd name="connsiteY3027" fmla="*/ 846945 h 1324114"/>
                    <a:gd name="connsiteX3028" fmla="*/ 76683 w 855312"/>
                    <a:gd name="connsiteY3028" fmla="*/ 848864 h 1324114"/>
                    <a:gd name="connsiteX3029" fmla="*/ 77011 w 855312"/>
                    <a:gd name="connsiteY3029" fmla="*/ 849641 h 1324114"/>
                    <a:gd name="connsiteX3030" fmla="*/ 77545 w 855312"/>
                    <a:gd name="connsiteY3030" fmla="*/ 850321 h 1324114"/>
                    <a:gd name="connsiteX3031" fmla="*/ 79330 w 855312"/>
                    <a:gd name="connsiteY3031" fmla="*/ 852556 h 1324114"/>
                    <a:gd name="connsiteX3032" fmla="*/ 79366 w 855312"/>
                    <a:gd name="connsiteY3032" fmla="*/ 852641 h 1324114"/>
                    <a:gd name="connsiteX3033" fmla="*/ 79403 w 855312"/>
                    <a:gd name="connsiteY3033" fmla="*/ 853114 h 1324114"/>
                    <a:gd name="connsiteX3034" fmla="*/ 79148 w 855312"/>
                    <a:gd name="connsiteY3034" fmla="*/ 856612 h 1324114"/>
                    <a:gd name="connsiteX3035" fmla="*/ 79123 w 855312"/>
                    <a:gd name="connsiteY3035" fmla="*/ 857000 h 1324114"/>
                    <a:gd name="connsiteX3036" fmla="*/ 79148 w 855312"/>
                    <a:gd name="connsiteY3036" fmla="*/ 857401 h 1324114"/>
                    <a:gd name="connsiteX3037" fmla="*/ 79269 w 855312"/>
                    <a:gd name="connsiteY3037" fmla="*/ 859356 h 1324114"/>
                    <a:gd name="connsiteX3038" fmla="*/ 79330 w 855312"/>
                    <a:gd name="connsiteY3038" fmla="*/ 860485 h 1324114"/>
                    <a:gd name="connsiteX3039" fmla="*/ 79803 w 855312"/>
                    <a:gd name="connsiteY3039" fmla="*/ 861517 h 1324114"/>
                    <a:gd name="connsiteX3040" fmla="*/ 81576 w 855312"/>
                    <a:gd name="connsiteY3040" fmla="*/ 865391 h 1324114"/>
                    <a:gd name="connsiteX3041" fmla="*/ 81856 w 855312"/>
                    <a:gd name="connsiteY3041" fmla="*/ 866022 h 1324114"/>
                    <a:gd name="connsiteX3042" fmla="*/ 82281 w 855312"/>
                    <a:gd name="connsiteY3042" fmla="*/ 866569 h 1324114"/>
                    <a:gd name="connsiteX3043" fmla="*/ 87963 w 855312"/>
                    <a:gd name="connsiteY3043" fmla="*/ 873976 h 1324114"/>
                    <a:gd name="connsiteX3044" fmla="*/ 90465 w 855312"/>
                    <a:gd name="connsiteY3044" fmla="*/ 878274 h 1324114"/>
                    <a:gd name="connsiteX3045" fmla="*/ 90683 w 855312"/>
                    <a:gd name="connsiteY3045" fmla="*/ 878639 h 1324114"/>
                    <a:gd name="connsiteX3046" fmla="*/ 90939 w 855312"/>
                    <a:gd name="connsiteY3046" fmla="*/ 878967 h 1324114"/>
                    <a:gd name="connsiteX3047" fmla="*/ 96585 w 855312"/>
                    <a:gd name="connsiteY3047" fmla="*/ 886155 h 1324114"/>
                    <a:gd name="connsiteX3048" fmla="*/ 98491 w 855312"/>
                    <a:gd name="connsiteY3048" fmla="*/ 891449 h 1324114"/>
                    <a:gd name="connsiteX3049" fmla="*/ 98625 w 855312"/>
                    <a:gd name="connsiteY3049" fmla="*/ 891801 h 1324114"/>
                    <a:gd name="connsiteX3050" fmla="*/ 98795 w 855312"/>
                    <a:gd name="connsiteY3050" fmla="*/ 892142 h 1324114"/>
                    <a:gd name="connsiteX3051" fmla="*/ 101831 w 855312"/>
                    <a:gd name="connsiteY3051" fmla="*/ 898068 h 1324114"/>
                    <a:gd name="connsiteX3052" fmla="*/ 103239 w 855312"/>
                    <a:gd name="connsiteY3052" fmla="*/ 908777 h 1324114"/>
                    <a:gd name="connsiteX3053" fmla="*/ 103300 w 855312"/>
                    <a:gd name="connsiteY3053" fmla="*/ 909215 h 1324114"/>
                    <a:gd name="connsiteX3054" fmla="*/ 103421 w 855312"/>
                    <a:gd name="connsiteY3054" fmla="*/ 909652 h 1324114"/>
                    <a:gd name="connsiteX3055" fmla="*/ 107914 w 855312"/>
                    <a:gd name="connsiteY3055" fmla="*/ 925328 h 1324114"/>
                    <a:gd name="connsiteX3056" fmla="*/ 108011 w 855312"/>
                    <a:gd name="connsiteY3056" fmla="*/ 925668 h 1324114"/>
                    <a:gd name="connsiteX3057" fmla="*/ 108157 w 855312"/>
                    <a:gd name="connsiteY3057" fmla="*/ 925996 h 1324114"/>
                    <a:gd name="connsiteX3058" fmla="*/ 110719 w 855312"/>
                    <a:gd name="connsiteY3058" fmla="*/ 932104 h 1324114"/>
                    <a:gd name="connsiteX3059" fmla="*/ 110817 w 855312"/>
                    <a:gd name="connsiteY3059" fmla="*/ 932359 h 1324114"/>
                    <a:gd name="connsiteX3060" fmla="*/ 114071 w 855312"/>
                    <a:gd name="connsiteY3060" fmla="*/ 966979 h 1324114"/>
                    <a:gd name="connsiteX3061" fmla="*/ 114532 w 855312"/>
                    <a:gd name="connsiteY3061" fmla="*/ 971824 h 1324114"/>
                    <a:gd name="connsiteX3062" fmla="*/ 115346 w 855312"/>
                    <a:gd name="connsiteY3062" fmla="*/ 978235 h 1324114"/>
                    <a:gd name="connsiteX3063" fmla="*/ 115443 w 855312"/>
                    <a:gd name="connsiteY3063" fmla="*/ 979000 h 1324114"/>
                    <a:gd name="connsiteX3064" fmla="*/ 115734 w 855312"/>
                    <a:gd name="connsiteY3064" fmla="*/ 979741 h 1324114"/>
                    <a:gd name="connsiteX3065" fmla="*/ 116099 w 855312"/>
                    <a:gd name="connsiteY3065" fmla="*/ 980627 h 1324114"/>
                    <a:gd name="connsiteX3066" fmla="*/ 115115 w 855312"/>
                    <a:gd name="connsiteY3066" fmla="*/ 982874 h 1324114"/>
                    <a:gd name="connsiteX3067" fmla="*/ 116123 w 855312"/>
                    <a:gd name="connsiteY3067" fmla="*/ 985278 h 1324114"/>
                    <a:gd name="connsiteX3068" fmla="*/ 117374 w 855312"/>
                    <a:gd name="connsiteY3068" fmla="*/ 988265 h 1324114"/>
                    <a:gd name="connsiteX3069" fmla="*/ 117568 w 855312"/>
                    <a:gd name="connsiteY3069" fmla="*/ 988702 h 1324114"/>
                    <a:gd name="connsiteX3070" fmla="*/ 117823 w 855312"/>
                    <a:gd name="connsiteY3070" fmla="*/ 989103 h 1324114"/>
                    <a:gd name="connsiteX3071" fmla="*/ 119693 w 855312"/>
                    <a:gd name="connsiteY3071" fmla="*/ 992127 h 1324114"/>
                    <a:gd name="connsiteX3072" fmla="*/ 120822 w 855312"/>
                    <a:gd name="connsiteY3072" fmla="*/ 994616 h 1324114"/>
                    <a:gd name="connsiteX3073" fmla="*/ 124004 w 855312"/>
                    <a:gd name="connsiteY3073" fmla="*/ 1006698 h 1324114"/>
                    <a:gd name="connsiteX3074" fmla="*/ 124769 w 855312"/>
                    <a:gd name="connsiteY3074" fmla="*/ 1014130 h 1324114"/>
                    <a:gd name="connsiteX3075" fmla="*/ 124805 w 855312"/>
                    <a:gd name="connsiteY3075" fmla="*/ 1014445 h 1324114"/>
                    <a:gd name="connsiteX3076" fmla="*/ 124878 w 855312"/>
                    <a:gd name="connsiteY3076" fmla="*/ 1014761 h 1324114"/>
                    <a:gd name="connsiteX3077" fmla="*/ 126942 w 855312"/>
                    <a:gd name="connsiteY3077" fmla="*/ 1024403 h 1324114"/>
                    <a:gd name="connsiteX3078" fmla="*/ 127052 w 855312"/>
                    <a:gd name="connsiteY3078" fmla="*/ 1024912 h 1324114"/>
                    <a:gd name="connsiteX3079" fmla="*/ 127246 w 855312"/>
                    <a:gd name="connsiteY3079" fmla="*/ 1025398 h 1324114"/>
                    <a:gd name="connsiteX3080" fmla="*/ 128047 w 855312"/>
                    <a:gd name="connsiteY3080" fmla="*/ 1027390 h 1324114"/>
                    <a:gd name="connsiteX3081" fmla="*/ 128654 w 855312"/>
                    <a:gd name="connsiteY3081" fmla="*/ 1028908 h 1324114"/>
                    <a:gd name="connsiteX3082" fmla="*/ 129310 w 855312"/>
                    <a:gd name="connsiteY3082" fmla="*/ 1029417 h 1324114"/>
                    <a:gd name="connsiteX3083" fmla="*/ 129456 w 855312"/>
                    <a:gd name="connsiteY3083" fmla="*/ 1033303 h 1324114"/>
                    <a:gd name="connsiteX3084" fmla="*/ 129480 w 855312"/>
                    <a:gd name="connsiteY3084" fmla="*/ 1034153 h 1324114"/>
                    <a:gd name="connsiteX3085" fmla="*/ 129747 w 855312"/>
                    <a:gd name="connsiteY3085" fmla="*/ 1034967 h 1324114"/>
                    <a:gd name="connsiteX3086" fmla="*/ 130949 w 855312"/>
                    <a:gd name="connsiteY3086" fmla="*/ 1038610 h 1324114"/>
                    <a:gd name="connsiteX3087" fmla="*/ 131265 w 855312"/>
                    <a:gd name="connsiteY3087" fmla="*/ 1039581 h 1324114"/>
                    <a:gd name="connsiteX3088" fmla="*/ 131897 w 855312"/>
                    <a:gd name="connsiteY3088" fmla="*/ 1040395 h 1324114"/>
                    <a:gd name="connsiteX3089" fmla="*/ 132261 w 855312"/>
                    <a:gd name="connsiteY3089" fmla="*/ 1040880 h 1324114"/>
                    <a:gd name="connsiteX3090" fmla="*/ 131241 w 855312"/>
                    <a:gd name="connsiteY3090" fmla="*/ 1043418 h 1324114"/>
                    <a:gd name="connsiteX3091" fmla="*/ 130512 w 855312"/>
                    <a:gd name="connsiteY3091" fmla="*/ 1045228 h 1324114"/>
                    <a:gd name="connsiteX3092" fmla="*/ 130974 w 855312"/>
                    <a:gd name="connsiteY3092" fmla="*/ 1047122 h 1324114"/>
                    <a:gd name="connsiteX3093" fmla="*/ 139875 w 855312"/>
                    <a:gd name="connsiteY3093" fmla="*/ 1083502 h 1324114"/>
                    <a:gd name="connsiteX3094" fmla="*/ 140858 w 855312"/>
                    <a:gd name="connsiteY3094" fmla="*/ 1087497 h 1324114"/>
                    <a:gd name="connsiteX3095" fmla="*/ 141174 w 855312"/>
                    <a:gd name="connsiteY3095" fmla="*/ 1087534 h 1324114"/>
                    <a:gd name="connsiteX3096" fmla="*/ 141210 w 855312"/>
                    <a:gd name="connsiteY3096" fmla="*/ 1087728 h 1324114"/>
                    <a:gd name="connsiteX3097" fmla="*/ 141720 w 855312"/>
                    <a:gd name="connsiteY3097" fmla="*/ 1090302 h 1324114"/>
                    <a:gd name="connsiteX3098" fmla="*/ 142000 w 855312"/>
                    <a:gd name="connsiteY3098" fmla="*/ 1091723 h 1324114"/>
                    <a:gd name="connsiteX3099" fmla="*/ 142910 w 855312"/>
                    <a:gd name="connsiteY3099" fmla="*/ 1092877 h 1324114"/>
                    <a:gd name="connsiteX3100" fmla="*/ 144234 w 855312"/>
                    <a:gd name="connsiteY3100" fmla="*/ 1094565 h 1324114"/>
                    <a:gd name="connsiteX3101" fmla="*/ 144574 w 855312"/>
                    <a:gd name="connsiteY3101" fmla="*/ 1094989 h 1324114"/>
                    <a:gd name="connsiteX3102" fmla="*/ 144987 w 855312"/>
                    <a:gd name="connsiteY3102" fmla="*/ 1095354 h 1324114"/>
                    <a:gd name="connsiteX3103" fmla="*/ 146250 w 855312"/>
                    <a:gd name="connsiteY3103" fmla="*/ 1096471 h 1324114"/>
                    <a:gd name="connsiteX3104" fmla="*/ 146650 w 855312"/>
                    <a:gd name="connsiteY3104" fmla="*/ 1096993 h 1324114"/>
                    <a:gd name="connsiteX3105" fmla="*/ 146553 w 855312"/>
                    <a:gd name="connsiteY3105" fmla="*/ 1100247 h 1324114"/>
                    <a:gd name="connsiteX3106" fmla="*/ 146310 w 855312"/>
                    <a:gd name="connsiteY3106" fmla="*/ 1108735 h 1324114"/>
                    <a:gd name="connsiteX3107" fmla="*/ 154422 w 855312"/>
                    <a:gd name="connsiteY3107" fmla="*/ 1106222 h 1324114"/>
                    <a:gd name="connsiteX3108" fmla="*/ 161914 w 855312"/>
                    <a:gd name="connsiteY3108" fmla="*/ 1103915 h 1324114"/>
                    <a:gd name="connsiteX3109" fmla="*/ 164768 w 855312"/>
                    <a:gd name="connsiteY3109" fmla="*/ 1103757 h 1324114"/>
                    <a:gd name="connsiteX3110" fmla="*/ 164962 w 855312"/>
                    <a:gd name="connsiteY3110" fmla="*/ 1103781 h 1324114"/>
                    <a:gd name="connsiteX3111" fmla="*/ 165156 w 855312"/>
                    <a:gd name="connsiteY3111" fmla="*/ 1105190 h 1324114"/>
                    <a:gd name="connsiteX3112" fmla="*/ 165217 w 855312"/>
                    <a:gd name="connsiteY3112" fmla="*/ 1105675 h 1324114"/>
                    <a:gd name="connsiteX3113" fmla="*/ 165375 w 855312"/>
                    <a:gd name="connsiteY3113" fmla="*/ 1106161 h 1324114"/>
                    <a:gd name="connsiteX3114" fmla="*/ 165775 w 855312"/>
                    <a:gd name="connsiteY3114" fmla="*/ 1107448 h 1324114"/>
                    <a:gd name="connsiteX3115" fmla="*/ 165970 w 855312"/>
                    <a:gd name="connsiteY3115" fmla="*/ 1108055 h 1324114"/>
                    <a:gd name="connsiteX3116" fmla="*/ 166285 w 855312"/>
                    <a:gd name="connsiteY3116" fmla="*/ 1108614 h 1324114"/>
                    <a:gd name="connsiteX3117" fmla="*/ 166917 w 855312"/>
                    <a:gd name="connsiteY3117" fmla="*/ 1109731 h 1324114"/>
                    <a:gd name="connsiteX3118" fmla="*/ 167293 w 855312"/>
                    <a:gd name="connsiteY3118" fmla="*/ 1110399 h 1324114"/>
                    <a:gd name="connsiteX3119" fmla="*/ 167815 w 855312"/>
                    <a:gd name="connsiteY3119" fmla="*/ 1110957 h 1324114"/>
                    <a:gd name="connsiteX3120" fmla="*/ 168969 w 855312"/>
                    <a:gd name="connsiteY3120" fmla="*/ 1112172 h 1324114"/>
                    <a:gd name="connsiteX3121" fmla="*/ 169540 w 855312"/>
                    <a:gd name="connsiteY3121" fmla="*/ 1112779 h 1324114"/>
                    <a:gd name="connsiteX3122" fmla="*/ 170256 w 855312"/>
                    <a:gd name="connsiteY3122" fmla="*/ 1113192 h 1324114"/>
                    <a:gd name="connsiteX3123" fmla="*/ 171118 w 855312"/>
                    <a:gd name="connsiteY3123" fmla="*/ 1113702 h 1324114"/>
                    <a:gd name="connsiteX3124" fmla="*/ 171871 w 855312"/>
                    <a:gd name="connsiteY3124" fmla="*/ 1114151 h 1324114"/>
                    <a:gd name="connsiteX3125" fmla="*/ 172721 w 855312"/>
                    <a:gd name="connsiteY3125" fmla="*/ 1114370 h 1324114"/>
                    <a:gd name="connsiteX3126" fmla="*/ 173753 w 855312"/>
                    <a:gd name="connsiteY3126" fmla="*/ 1114624 h 1324114"/>
                    <a:gd name="connsiteX3127" fmla="*/ 174227 w 855312"/>
                    <a:gd name="connsiteY3127" fmla="*/ 1114746 h 1324114"/>
                    <a:gd name="connsiteX3128" fmla="*/ 174518 w 855312"/>
                    <a:gd name="connsiteY3128" fmla="*/ 1114782 h 1324114"/>
                    <a:gd name="connsiteX3129" fmla="*/ 174798 w 855312"/>
                    <a:gd name="connsiteY3129" fmla="*/ 1115572 h 1324114"/>
                    <a:gd name="connsiteX3130" fmla="*/ 175162 w 855312"/>
                    <a:gd name="connsiteY3130" fmla="*/ 1116640 h 1324114"/>
                    <a:gd name="connsiteX3131" fmla="*/ 175890 w 855312"/>
                    <a:gd name="connsiteY3131" fmla="*/ 1117491 h 1324114"/>
                    <a:gd name="connsiteX3132" fmla="*/ 176813 w 855312"/>
                    <a:gd name="connsiteY3132" fmla="*/ 1118583 h 1324114"/>
                    <a:gd name="connsiteX3133" fmla="*/ 177676 w 855312"/>
                    <a:gd name="connsiteY3133" fmla="*/ 1119603 h 1324114"/>
                    <a:gd name="connsiteX3134" fmla="*/ 178902 w 855312"/>
                    <a:gd name="connsiteY3134" fmla="*/ 1120174 h 1324114"/>
                    <a:gd name="connsiteX3135" fmla="*/ 180213 w 855312"/>
                    <a:gd name="connsiteY3135" fmla="*/ 1120781 h 1324114"/>
                    <a:gd name="connsiteX3136" fmla="*/ 180651 w 855312"/>
                    <a:gd name="connsiteY3136" fmla="*/ 1120988 h 1324114"/>
                    <a:gd name="connsiteX3137" fmla="*/ 181112 w 855312"/>
                    <a:gd name="connsiteY3137" fmla="*/ 1121121 h 1324114"/>
                    <a:gd name="connsiteX3138" fmla="*/ 182205 w 855312"/>
                    <a:gd name="connsiteY3138" fmla="*/ 1121425 h 1324114"/>
                    <a:gd name="connsiteX3139" fmla="*/ 183419 w 855312"/>
                    <a:gd name="connsiteY3139" fmla="*/ 1121752 h 1324114"/>
                    <a:gd name="connsiteX3140" fmla="*/ 184658 w 855312"/>
                    <a:gd name="connsiteY3140" fmla="*/ 1121595 h 1324114"/>
                    <a:gd name="connsiteX3141" fmla="*/ 185459 w 855312"/>
                    <a:gd name="connsiteY3141" fmla="*/ 1121485 h 1324114"/>
                    <a:gd name="connsiteX3142" fmla="*/ 186758 w 855312"/>
                    <a:gd name="connsiteY3142" fmla="*/ 1121303 h 1324114"/>
                    <a:gd name="connsiteX3143" fmla="*/ 187863 w 855312"/>
                    <a:gd name="connsiteY3143" fmla="*/ 1120611 h 1324114"/>
                    <a:gd name="connsiteX3144" fmla="*/ 188556 w 855312"/>
                    <a:gd name="connsiteY3144" fmla="*/ 1120186 h 1324114"/>
                    <a:gd name="connsiteX3145" fmla="*/ 188896 w 855312"/>
                    <a:gd name="connsiteY3145" fmla="*/ 1119967 h 1324114"/>
                    <a:gd name="connsiteX3146" fmla="*/ 189199 w 855312"/>
                    <a:gd name="connsiteY3146" fmla="*/ 1119712 h 1324114"/>
                    <a:gd name="connsiteX3147" fmla="*/ 190681 w 855312"/>
                    <a:gd name="connsiteY3147" fmla="*/ 1118498 h 1324114"/>
                    <a:gd name="connsiteX3148" fmla="*/ 191021 w 855312"/>
                    <a:gd name="connsiteY3148" fmla="*/ 1118620 h 1324114"/>
                    <a:gd name="connsiteX3149" fmla="*/ 192247 w 855312"/>
                    <a:gd name="connsiteY3149" fmla="*/ 1119336 h 1324114"/>
                    <a:gd name="connsiteX3150" fmla="*/ 192235 w 855312"/>
                    <a:gd name="connsiteY3150" fmla="*/ 1119433 h 1324114"/>
                    <a:gd name="connsiteX3151" fmla="*/ 192174 w 855312"/>
                    <a:gd name="connsiteY3151" fmla="*/ 1119785 h 1324114"/>
                    <a:gd name="connsiteX3152" fmla="*/ 192162 w 855312"/>
                    <a:gd name="connsiteY3152" fmla="*/ 1120138 h 1324114"/>
                    <a:gd name="connsiteX3153" fmla="*/ 192101 w 855312"/>
                    <a:gd name="connsiteY3153" fmla="*/ 1121449 h 1324114"/>
                    <a:gd name="connsiteX3154" fmla="*/ 192065 w 855312"/>
                    <a:gd name="connsiteY3154" fmla="*/ 1122359 h 1324114"/>
                    <a:gd name="connsiteX3155" fmla="*/ 192296 w 855312"/>
                    <a:gd name="connsiteY3155" fmla="*/ 1123258 h 1324114"/>
                    <a:gd name="connsiteX3156" fmla="*/ 192636 w 855312"/>
                    <a:gd name="connsiteY3156" fmla="*/ 1124545 h 1324114"/>
                    <a:gd name="connsiteX3157" fmla="*/ 192794 w 855312"/>
                    <a:gd name="connsiteY3157" fmla="*/ 1125140 h 1324114"/>
                    <a:gd name="connsiteX3158" fmla="*/ 193073 w 855312"/>
                    <a:gd name="connsiteY3158" fmla="*/ 1125699 h 1324114"/>
                    <a:gd name="connsiteX3159" fmla="*/ 193765 w 855312"/>
                    <a:gd name="connsiteY3159" fmla="*/ 1127095 h 1324114"/>
                    <a:gd name="connsiteX3160" fmla="*/ 194081 w 855312"/>
                    <a:gd name="connsiteY3160" fmla="*/ 1127751 h 1324114"/>
                    <a:gd name="connsiteX3161" fmla="*/ 194542 w 855312"/>
                    <a:gd name="connsiteY3161" fmla="*/ 1128298 h 1324114"/>
                    <a:gd name="connsiteX3162" fmla="*/ 196036 w 855312"/>
                    <a:gd name="connsiteY3162" fmla="*/ 1130083 h 1324114"/>
                    <a:gd name="connsiteX3163" fmla="*/ 196995 w 855312"/>
                    <a:gd name="connsiteY3163" fmla="*/ 1131224 h 1324114"/>
                    <a:gd name="connsiteX3164" fmla="*/ 198367 w 855312"/>
                    <a:gd name="connsiteY3164" fmla="*/ 1131807 h 1324114"/>
                    <a:gd name="connsiteX3165" fmla="*/ 199678 w 855312"/>
                    <a:gd name="connsiteY3165" fmla="*/ 1132353 h 1324114"/>
                    <a:gd name="connsiteX3166" fmla="*/ 201136 w 855312"/>
                    <a:gd name="connsiteY3166" fmla="*/ 1132960 h 1324114"/>
                    <a:gd name="connsiteX3167" fmla="*/ 202702 w 855312"/>
                    <a:gd name="connsiteY3167" fmla="*/ 1132778 h 1324114"/>
                    <a:gd name="connsiteX3168" fmla="*/ 204038 w 855312"/>
                    <a:gd name="connsiteY3168" fmla="*/ 1132620 h 1324114"/>
                    <a:gd name="connsiteX3169" fmla="*/ 205155 w 855312"/>
                    <a:gd name="connsiteY3169" fmla="*/ 1132487 h 1324114"/>
                    <a:gd name="connsiteX3170" fmla="*/ 205604 w 855312"/>
                    <a:gd name="connsiteY3170" fmla="*/ 1132244 h 1324114"/>
                    <a:gd name="connsiteX3171" fmla="*/ 206636 w 855312"/>
                    <a:gd name="connsiteY3171" fmla="*/ 1133895 h 1324114"/>
                    <a:gd name="connsiteX3172" fmla="*/ 207013 w 855312"/>
                    <a:gd name="connsiteY3172" fmla="*/ 1134515 h 1324114"/>
                    <a:gd name="connsiteX3173" fmla="*/ 207523 w 855312"/>
                    <a:gd name="connsiteY3173" fmla="*/ 1135013 h 1324114"/>
                    <a:gd name="connsiteX3174" fmla="*/ 208834 w 855312"/>
                    <a:gd name="connsiteY3174" fmla="*/ 1136287 h 1324114"/>
                    <a:gd name="connsiteX3175" fmla="*/ 209745 w 855312"/>
                    <a:gd name="connsiteY3175" fmla="*/ 1137174 h 1324114"/>
                    <a:gd name="connsiteX3176" fmla="*/ 210923 w 855312"/>
                    <a:gd name="connsiteY3176" fmla="*/ 1137623 h 1324114"/>
                    <a:gd name="connsiteX3177" fmla="*/ 212137 w 855312"/>
                    <a:gd name="connsiteY3177" fmla="*/ 1138085 h 1324114"/>
                    <a:gd name="connsiteX3178" fmla="*/ 212987 w 855312"/>
                    <a:gd name="connsiteY3178" fmla="*/ 1138400 h 1324114"/>
                    <a:gd name="connsiteX3179" fmla="*/ 213898 w 855312"/>
                    <a:gd name="connsiteY3179" fmla="*/ 1138461 h 1324114"/>
                    <a:gd name="connsiteX3180" fmla="*/ 215149 w 855312"/>
                    <a:gd name="connsiteY3180" fmla="*/ 1138546 h 1324114"/>
                    <a:gd name="connsiteX3181" fmla="*/ 216023 w 855312"/>
                    <a:gd name="connsiteY3181" fmla="*/ 1138607 h 1324114"/>
                    <a:gd name="connsiteX3182" fmla="*/ 216873 w 855312"/>
                    <a:gd name="connsiteY3182" fmla="*/ 1138413 h 1324114"/>
                    <a:gd name="connsiteX3183" fmla="*/ 218148 w 855312"/>
                    <a:gd name="connsiteY3183" fmla="*/ 1138133 h 1324114"/>
                    <a:gd name="connsiteX3184" fmla="*/ 218864 w 855312"/>
                    <a:gd name="connsiteY3184" fmla="*/ 1137963 h 1324114"/>
                    <a:gd name="connsiteX3185" fmla="*/ 219520 w 855312"/>
                    <a:gd name="connsiteY3185" fmla="*/ 1137647 h 1324114"/>
                    <a:gd name="connsiteX3186" fmla="*/ 220674 w 855312"/>
                    <a:gd name="connsiteY3186" fmla="*/ 1137077 h 1324114"/>
                    <a:gd name="connsiteX3187" fmla="*/ 221378 w 855312"/>
                    <a:gd name="connsiteY3187" fmla="*/ 1136737 h 1324114"/>
                    <a:gd name="connsiteX3188" fmla="*/ 221232 w 855312"/>
                    <a:gd name="connsiteY3188" fmla="*/ 1137186 h 1324114"/>
                    <a:gd name="connsiteX3189" fmla="*/ 220540 w 855312"/>
                    <a:gd name="connsiteY3189" fmla="*/ 1139311 h 1324114"/>
                    <a:gd name="connsiteX3190" fmla="*/ 220164 w 855312"/>
                    <a:gd name="connsiteY3190" fmla="*/ 1140440 h 1324114"/>
                    <a:gd name="connsiteX3191" fmla="*/ 220249 w 855312"/>
                    <a:gd name="connsiteY3191" fmla="*/ 1141643 h 1324114"/>
                    <a:gd name="connsiteX3192" fmla="*/ 220358 w 855312"/>
                    <a:gd name="connsiteY3192" fmla="*/ 1143221 h 1324114"/>
                    <a:gd name="connsiteX3193" fmla="*/ 220467 w 855312"/>
                    <a:gd name="connsiteY3193" fmla="*/ 1144763 h 1324114"/>
                    <a:gd name="connsiteX3194" fmla="*/ 221305 w 855312"/>
                    <a:gd name="connsiteY3194" fmla="*/ 1146063 h 1324114"/>
                    <a:gd name="connsiteX3195" fmla="*/ 222046 w 855312"/>
                    <a:gd name="connsiteY3195" fmla="*/ 1147216 h 1324114"/>
                    <a:gd name="connsiteX3196" fmla="*/ 222434 w 855312"/>
                    <a:gd name="connsiteY3196" fmla="*/ 1147811 h 1324114"/>
                    <a:gd name="connsiteX3197" fmla="*/ 222944 w 855312"/>
                    <a:gd name="connsiteY3197" fmla="*/ 1148309 h 1324114"/>
                    <a:gd name="connsiteX3198" fmla="*/ 224729 w 855312"/>
                    <a:gd name="connsiteY3198" fmla="*/ 1150033 h 1324114"/>
                    <a:gd name="connsiteX3199" fmla="*/ 225434 w 855312"/>
                    <a:gd name="connsiteY3199" fmla="*/ 1151320 h 1324114"/>
                    <a:gd name="connsiteX3200" fmla="*/ 225592 w 855312"/>
                    <a:gd name="connsiteY3200" fmla="*/ 1151612 h 1324114"/>
                    <a:gd name="connsiteX3201" fmla="*/ 225786 w 855312"/>
                    <a:gd name="connsiteY3201" fmla="*/ 1151879 h 1324114"/>
                    <a:gd name="connsiteX3202" fmla="*/ 226709 w 855312"/>
                    <a:gd name="connsiteY3202" fmla="*/ 1153203 h 1324114"/>
                    <a:gd name="connsiteX3203" fmla="*/ 226976 w 855312"/>
                    <a:gd name="connsiteY3203" fmla="*/ 1153604 h 1324114"/>
                    <a:gd name="connsiteX3204" fmla="*/ 227304 w 855312"/>
                    <a:gd name="connsiteY3204" fmla="*/ 1153943 h 1324114"/>
                    <a:gd name="connsiteX3205" fmla="*/ 228057 w 855312"/>
                    <a:gd name="connsiteY3205" fmla="*/ 1154733 h 1324114"/>
                    <a:gd name="connsiteX3206" fmla="*/ 228761 w 855312"/>
                    <a:gd name="connsiteY3206" fmla="*/ 1155474 h 1324114"/>
                    <a:gd name="connsiteX3207" fmla="*/ 229684 w 855312"/>
                    <a:gd name="connsiteY3207" fmla="*/ 1155947 h 1324114"/>
                    <a:gd name="connsiteX3208" fmla="*/ 229878 w 855312"/>
                    <a:gd name="connsiteY3208" fmla="*/ 1156044 h 1324114"/>
                    <a:gd name="connsiteX3209" fmla="*/ 230534 w 855312"/>
                    <a:gd name="connsiteY3209" fmla="*/ 1156360 h 1324114"/>
                    <a:gd name="connsiteX3210" fmla="*/ 231869 w 855312"/>
                    <a:gd name="connsiteY3210" fmla="*/ 1158533 h 1324114"/>
                    <a:gd name="connsiteX3211" fmla="*/ 232100 w 855312"/>
                    <a:gd name="connsiteY3211" fmla="*/ 1158910 h 1324114"/>
                    <a:gd name="connsiteX3212" fmla="*/ 232392 w 855312"/>
                    <a:gd name="connsiteY3212" fmla="*/ 1159250 h 1324114"/>
                    <a:gd name="connsiteX3213" fmla="*/ 232962 w 855312"/>
                    <a:gd name="connsiteY3213" fmla="*/ 1159930 h 1324114"/>
                    <a:gd name="connsiteX3214" fmla="*/ 233837 w 855312"/>
                    <a:gd name="connsiteY3214" fmla="*/ 1160829 h 1324114"/>
                    <a:gd name="connsiteX3215" fmla="*/ 234371 w 855312"/>
                    <a:gd name="connsiteY3215" fmla="*/ 1161351 h 1324114"/>
                    <a:gd name="connsiteX3216" fmla="*/ 235027 w 855312"/>
                    <a:gd name="connsiteY3216" fmla="*/ 1161727 h 1324114"/>
                    <a:gd name="connsiteX3217" fmla="*/ 236144 w 855312"/>
                    <a:gd name="connsiteY3217" fmla="*/ 1162383 h 1324114"/>
                    <a:gd name="connsiteX3218" fmla="*/ 237880 w 855312"/>
                    <a:gd name="connsiteY3218" fmla="*/ 1162771 h 1324114"/>
                    <a:gd name="connsiteX3219" fmla="*/ 237990 w 855312"/>
                    <a:gd name="connsiteY3219" fmla="*/ 1162783 h 1324114"/>
                    <a:gd name="connsiteX3220" fmla="*/ 237868 w 855312"/>
                    <a:gd name="connsiteY3220" fmla="*/ 1163451 h 1324114"/>
                    <a:gd name="connsiteX3221" fmla="*/ 237589 w 855312"/>
                    <a:gd name="connsiteY3221" fmla="*/ 1165006 h 1324114"/>
                    <a:gd name="connsiteX3222" fmla="*/ 237467 w 855312"/>
                    <a:gd name="connsiteY3222" fmla="*/ 1165649 h 1324114"/>
                    <a:gd name="connsiteX3223" fmla="*/ 237492 w 855312"/>
                    <a:gd name="connsiteY3223" fmla="*/ 1166317 h 1324114"/>
                    <a:gd name="connsiteX3224" fmla="*/ 237613 w 855312"/>
                    <a:gd name="connsiteY3224" fmla="*/ 1169328 h 1324114"/>
                    <a:gd name="connsiteX3225" fmla="*/ 237637 w 855312"/>
                    <a:gd name="connsiteY3225" fmla="*/ 1169899 h 1324114"/>
                    <a:gd name="connsiteX3226" fmla="*/ 237759 w 855312"/>
                    <a:gd name="connsiteY3226" fmla="*/ 1170458 h 1324114"/>
                    <a:gd name="connsiteX3227" fmla="*/ 238099 w 855312"/>
                    <a:gd name="connsiteY3227" fmla="*/ 1171927 h 1324114"/>
                    <a:gd name="connsiteX3228" fmla="*/ 238317 w 855312"/>
                    <a:gd name="connsiteY3228" fmla="*/ 1172862 h 1324114"/>
                    <a:gd name="connsiteX3229" fmla="*/ 238815 w 855312"/>
                    <a:gd name="connsiteY3229" fmla="*/ 1173676 h 1324114"/>
                    <a:gd name="connsiteX3230" fmla="*/ 239568 w 855312"/>
                    <a:gd name="connsiteY3230" fmla="*/ 1174939 h 1324114"/>
                    <a:gd name="connsiteX3231" fmla="*/ 239932 w 855312"/>
                    <a:gd name="connsiteY3231" fmla="*/ 1175546 h 1324114"/>
                    <a:gd name="connsiteX3232" fmla="*/ 240430 w 855312"/>
                    <a:gd name="connsiteY3232" fmla="*/ 1176056 h 1324114"/>
                    <a:gd name="connsiteX3233" fmla="*/ 242300 w 855312"/>
                    <a:gd name="connsiteY3233" fmla="*/ 1177974 h 1324114"/>
                    <a:gd name="connsiteX3234" fmla="*/ 243660 w 855312"/>
                    <a:gd name="connsiteY3234" fmla="*/ 1180099 h 1324114"/>
                    <a:gd name="connsiteX3235" fmla="*/ 244486 w 855312"/>
                    <a:gd name="connsiteY3235" fmla="*/ 1182419 h 1324114"/>
                    <a:gd name="connsiteX3236" fmla="*/ 245615 w 855312"/>
                    <a:gd name="connsiteY3236" fmla="*/ 1187664 h 1324114"/>
                    <a:gd name="connsiteX3237" fmla="*/ 246502 w 855312"/>
                    <a:gd name="connsiteY3237" fmla="*/ 1190555 h 1324114"/>
                    <a:gd name="connsiteX3238" fmla="*/ 246660 w 855312"/>
                    <a:gd name="connsiteY3238" fmla="*/ 1191040 h 1324114"/>
                    <a:gd name="connsiteX3239" fmla="*/ 246902 w 855312"/>
                    <a:gd name="connsiteY3239" fmla="*/ 1191501 h 1324114"/>
                    <a:gd name="connsiteX3240" fmla="*/ 247582 w 855312"/>
                    <a:gd name="connsiteY3240" fmla="*/ 1192813 h 1324114"/>
                    <a:gd name="connsiteX3241" fmla="*/ 248590 w 855312"/>
                    <a:gd name="connsiteY3241" fmla="*/ 1194756 h 1324114"/>
                    <a:gd name="connsiteX3242" fmla="*/ 250606 w 855312"/>
                    <a:gd name="connsiteY3242" fmla="*/ 1195606 h 1324114"/>
                    <a:gd name="connsiteX3243" fmla="*/ 251420 w 855312"/>
                    <a:gd name="connsiteY3243" fmla="*/ 1195946 h 1324114"/>
                    <a:gd name="connsiteX3244" fmla="*/ 252087 w 855312"/>
                    <a:gd name="connsiteY3244" fmla="*/ 1196213 h 1324114"/>
                    <a:gd name="connsiteX3245" fmla="*/ 252804 w 855312"/>
                    <a:gd name="connsiteY3245" fmla="*/ 1196334 h 1324114"/>
                    <a:gd name="connsiteX3246" fmla="*/ 253666 w 855312"/>
                    <a:gd name="connsiteY3246" fmla="*/ 1196480 h 1324114"/>
                    <a:gd name="connsiteX3247" fmla="*/ 254055 w 855312"/>
                    <a:gd name="connsiteY3247" fmla="*/ 1196553 h 1324114"/>
                    <a:gd name="connsiteX3248" fmla="*/ 254455 w 855312"/>
                    <a:gd name="connsiteY3248" fmla="*/ 1196565 h 1324114"/>
                    <a:gd name="connsiteX3249" fmla="*/ 255487 w 855312"/>
                    <a:gd name="connsiteY3249" fmla="*/ 1196602 h 1324114"/>
                    <a:gd name="connsiteX3250" fmla="*/ 255985 w 855312"/>
                    <a:gd name="connsiteY3250" fmla="*/ 1196614 h 1324114"/>
                    <a:gd name="connsiteX3251" fmla="*/ 256483 w 855312"/>
                    <a:gd name="connsiteY3251" fmla="*/ 1196553 h 1324114"/>
                    <a:gd name="connsiteX3252" fmla="*/ 257406 w 855312"/>
                    <a:gd name="connsiteY3252" fmla="*/ 1196431 h 1324114"/>
                    <a:gd name="connsiteX3253" fmla="*/ 258475 w 855312"/>
                    <a:gd name="connsiteY3253" fmla="*/ 1197403 h 1324114"/>
                    <a:gd name="connsiteX3254" fmla="*/ 276009 w 855312"/>
                    <a:gd name="connsiteY3254" fmla="*/ 1217900 h 1324114"/>
                    <a:gd name="connsiteX3255" fmla="*/ 276288 w 855312"/>
                    <a:gd name="connsiteY3255" fmla="*/ 1218228 h 1324114"/>
                    <a:gd name="connsiteX3256" fmla="*/ 276616 w 855312"/>
                    <a:gd name="connsiteY3256" fmla="*/ 1218508 h 1324114"/>
                    <a:gd name="connsiteX3257" fmla="*/ 279664 w 855312"/>
                    <a:gd name="connsiteY3257" fmla="*/ 1221179 h 1324114"/>
                    <a:gd name="connsiteX3258" fmla="*/ 280745 w 855312"/>
                    <a:gd name="connsiteY3258" fmla="*/ 1222126 h 1324114"/>
                    <a:gd name="connsiteX3259" fmla="*/ 282141 w 855312"/>
                    <a:gd name="connsiteY3259" fmla="*/ 1222490 h 1324114"/>
                    <a:gd name="connsiteX3260" fmla="*/ 287326 w 855312"/>
                    <a:gd name="connsiteY3260" fmla="*/ 1223814 h 1324114"/>
                    <a:gd name="connsiteX3261" fmla="*/ 288504 w 855312"/>
                    <a:gd name="connsiteY3261" fmla="*/ 1224287 h 1324114"/>
                    <a:gd name="connsiteX3262" fmla="*/ 289682 w 855312"/>
                    <a:gd name="connsiteY3262" fmla="*/ 1225040 h 1324114"/>
                    <a:gd name="connsiteX3263" fmla="*/ 290083 w 855312"/>
                    <a:gd name="connsiteY3263" fmla="*/ 1225477 h 1324114"/>
                    <a:gd name="connsiteX3264" fmla="*/ 290726 w 855312"/>
                    <a:gd name="connsiteY3264" fmla="*/ 1226461 h 1324114"/>
                    <a:gd name="connsiteX3265" fmla="*/ 291673 w 855312"/>
                    <a:gd name="connsiteY3265" fmla="*/ 1228295 h 1324114"/>
                    <a:gd name="connsiteX3266" fmla="*/ 291977 w 855312"/>
                    <a:gd name="connsiteY3266" fmla="*/ 1228890 h 1324114"/>
                    <a:gd name="connsiteX3267" fmla="*/ 292402 w 855312"/>
                    <a:gd name="connsiteY3267" fmla="*/ 1229399 h 1324114"/>
                    <a:gd name="connsiteX3268" fmla="*/ 293325 w 855312"/>
                    <a:gd name="connsiteY3268" fmla="*/ 1230517 h 1324114"/>
                    <a:gd name="connsiteX3269" fmla="*/ 294041 w 855312"/>
                    <a:gd name="connsiteY3269" fmla="*/ 1231379 h 1324114"/>
                    <a:gd name="connsiteX3270" fmla="*/ 295025 w 855312"/>
                    <a:gd name="connsiteY3270" fmla="*/ 1231925 h 1324114"/>
                    <a:gd name="connsiteX3271" fmla="*/ 295996 w 855312"/>
                    <a:gd name="connsiteY3271" fmla="*/ 1232472 h 1324114"/>
                    <a:gd name="connsiteX3272" fmla="*/ 297381 w 855312"/>
                    <a:gd name="connsiteY3272" fmla="*/ 1233249 h 1324114"/>
                    <a:gd name="connsiteX3273" fmla="*/ 298971 w 855312"/>
                    <a:gd name="connsiteY3273" fmla="*/ 1233249 h 1324114"/>
                    <a:gd name="connsiteX3274" fmla="*/ 299955 w 855312"/>
                    <a:gd name="connsiteY3274" fmla="*/ 1233249 h 1324114"/>
                    <a:gd name="connsiteX3275" fmla="*/ 300756 w 855312"/>
                    <a:gd name="connsiteY3275" fmla="*/ 1233249 h 1324114"/>
                    <a:gd name="connsiteX3276" fmla="*/ 301521 w 855312"/>
                    <a:gd name="connsiteY3276" fmla="*/ 1233043 h 1324114"/>
                    <a:gd name="connsiteX3277" fmla="*/ 302942 w 855312"/>
                    <a:gd name="connsiteY3277" fmla="*/ 1232654 h 1324114"/>
                    <a:gd name="connsiteX3278" fmla="*/ 306464 w 855312"/>
                    <a:gd name="connsiteY3278" fmla="*/ 1235301 h 1324114"/>
                    <a:gd name="connsiteX3279" fmla="*/ 306719 w 855312"/>
                    <a:gd name="connsiteY3279" fmla="*/ 1235508 h 1324114"/>
                    <a:gd name="connsiteX3280" fmla="*/ 306998 w 855312"/>
                    <a:gd name="connsiteY3280" fmla="*/ 1235677 h 1324114"/>
                    <a:gd name="connsiteX3281" fmla="*/ 308455 w 855312"/>
                    <a:gd name="connsiteY3281" fmla="*/ 1236540 h 1324114"/>
                    <a:gd name="connsiteX3282" fmla="*/ 309038 w 855312"/>
                    <a:gd name="connsiteY3282" fmla="*/ 1236880 h 1324114"/>
                    <a:gd name="connsiteX3283" fmla="*/ 309681 w 855312"/>
                    <a:gd name="connsiteY3283" fmla="*/ 1237098 h 1324114"/>
                    <a:gd name="connsiteX3284" fmla="*/ 311175 w 855312"/>
                    <a:gd name="connsiteY3284" fmla="*/ 1237584 h 1324114"/>
                    <a:gd name="connsiteX3285" fmla="*/ 311770 w 855312"/>
                    <a:gd name="connsiteY3285" fmla="*/ 1237778 h 1324114"/>
                    <a:gd name="connsiteX3286" fmla="*/ 312401 w 855312"/>
                    <a:gd name="connsiteY3286" fmla="*/ 1237851 h 1324114"/>
                    <a:gd name="connsiteX3287" fmla="*/ 313701 w 855312"/>
                    <a:gd name="connsiteY3287" fmla="*/ 1237997 h 1324114"/>
                    <a:gd name="connsiteX3288" fmla="*/ 314138 w 855312"/>
                    <a:gd name="connsiteY3288" fmla="*/ 1238045 h 1324114"/>
                    <a:gd name="connsiteX3289" fmla="*/ 314575 w 855312"/>
                    <a:gd name="connsiteY3289" fmla="*/ 1238033 h 1324114"/>
                    <a:gd name="connsiteX3290" fmla="*/ 315607 w 855312"/>
                    <a:gd name="connsiteY3290" fmla="*/ 1237997 h 1324114"/>
                    <a:gd name="connsiteX3291" fmla="*/ 316081 w 855312"/>
                    <a:gd name="connsiteY3291" fmla="*/ 1237973 h 1324114"/>
                    <a:gd name="connsiteX3292" fmla="*/ 316554 w 855312"/>
                    <a:gd name="connsiteY3292" fmla="*/ 1237887 h 1324114"/>
                    <a:gd name="connsiteX3293" fmla="*/ 317647 w 855312"/>
                    <a:gd name="connsiteY3293" fmla="*/ 1237669 h 1324114"/>
                    <a:gd name="connsiteX3294" fmla="*/ 317671 w 855312"/>
                    <a:gd name="connsiteY3294" fmla="*/ 1237669 h 1324114"/>
                    <a:gd name="connsiteX3295" fmla="*/ 318169 w 855312"/>
                    <a:gd name="connsiteY3295" fmla="*/ 1241603 h 1324114"/>
                    <a:gd name="connsiteX3296" fmla="*/ 318267 w 855312"/>
                    <a:gd name="connsiteY3296" fmla="*/ 1242417 h 1324114"/>
                    <a:gd name="connsiteX3297" fmla="*/ 318582 w 855312"/>
                    <a:gd name="connsiteY3297" fmla="*/ 1243170 h 1324114"/>
                    <a:gd name="connsiteX3298" fmla="*/ 319954 w 855312"/>
                    <a:gd name="connsiteY3298" fmla="*/ 1246485 h 1324114"/>
                    <a:gd name="connsiteX3299" fmla="*/ 320173 w 855312"/>
                    <a:gd name="connsiteY3299" fmla="*/ 1246995 h 1324114"/>
                    <a:gd name="connsiteX3300" fmla="*/ 320464 w 855312"/>
                    <a:gd name="connsiteY3300" fmla="*/ 1247456 h 1324114"/>
                    <a:gd name="connsiteX3301" fmla="*/ 321667 w 855312"/>
                    <a:gd name="connsiteY3301" fmla="*/ 1249302 h 1324114"/>
                    <a:gd name="connsiteX3302" fmla="*/ 321897 w 855312"/>
                    <a:gd name="connsiteY3302" fmla="*/ 1249654 h 1324114"/>
                    <a:gd name="connsiteX3303" fmla="*/ 322164 w 855312"/>
                    <a:gd name="connsiteY3303" fmla="*/ 1249958 h 1324114"/>
                    <a:gd name="connsiteX3304" fmla="*/ 324921 w 855312"/>
                    <a:gd name="connsiteY3304" fmla="*/ 1253163 h 1324114"/>
                    <a:gd name="connsiteX3305" fmla="*/ 325164 w 855312"/>
                    <a:gd name="connsiteY3305" fmla="*/ 1253430 h 1324114"/>
                    <a:gd name="connsiteX3306" fmla="*/ 325431 w 855312"/>
                    <a:gd name="connsiteY3306" fmla="*/ 1253685 h 1324114"/>
                    <a:gd name="connsiteX3307" fmla="*/ 328770 w 855312"/>
                    <a:gd name="connsiteY3307" fmla="*/ 1256733 h 1324114"/>
                    <a:gd name="connsiteX3308" fmla="*/ 329183 w 855312"/>
                    <a:gd name="connsiteY3308" fmla="*/ 1257110 h 1324114"/>
                    <a:gd name="connsiteX3309" fmla="*/ 329669 w 855312"/>
                    <a:gd name="connsiteY3309" fmla="*/ 1257401 h 1324114"/>
                    <a:gd name="connsiteX3310" fmla="*/ 332595 w 855312"/>
                    <a:gd name="connsiteY3310" fmla="*/ 1259211 h 1324114"/>
                    <a:gd name="connsiteX3311" fmla="*/ 332959 w 855312"/>
                    <a:gd name="connsiteY3311" fmla="*/ 1259441 h 1324114"/>
                    <a:gd name="connsiteX3312" fmla="*/ 333348 w 855312"/>
                    <a:gd name="connsiteY3312" fmla="*/ 1259623 h 1324114"/>
                    <a:gd name="connsiteX3313" fmla="*/ 336214 w 855312"/>
                    <a:gd name="connsiteY3313" fmla="*/ 1260886 h 1324114"/>
                    <a:gd name="connsiteX3314" fmla="*/ 336602 w 855312"/>
                    <a:gd name="connsiteY3314" fmla="*/ 1261056 h 1324114"/>
                    <a:gd name="connsiteX3315" fmla="*/ 337003 w 855312"/>
                    <a:gd name="connsiteY3315" fmla="*/ 1261178 h 1324114"/>
                    <a:gd name="connsiteX3316" fmla="*/ 340282 w 855312"/>
                    <a:gd name="connsiteY3316" fmla="*/ 1262101 h 1324114"/>
                    <a:gd name="connsiteX3317" fmla="*/ 340585 w 855312"/>
                    <a:gd name="connsiteY3317" fmla="*/ 1262186 h 1324114"/>
                    <a:gd name="connsiteX3318" fmla="*/ 340889 w 855312"/>
                    <a:gd name="connsiteY3318" fmla="*/ 1262234 h 1324114"/>
                    <a:gd name="connsiteX3319" fmla="*/ 344495 w 855312"/>
                    <a:gd name="connsiteY3319" fmla="*/ 1262866 h 1324114"/>
                    <a:gd name="connsiteX3320" fmla="*/ 344957 w 855312"/>
                    <a:gd name="connsiteY3320" fmla="*/ 1262950 h 1324114"/>
                    <a:gd name="connsiteX3321" fmla="*/ 345418 w 855312"/>
                    <a:gd name="connsiteY3321" fmla="*/ 1262963 h 1324114"/>
                    <a:gd name="connsiteX3322" fmla="*/ 348867 w 855312"/>
                    <a:gd name="connsiteY3322" fmla="*/ 1263036 h 1324114"/>
                    <a:gd name="connsiteX3323" fmla="*/ 358654 w 855312"/>
                    <a:gd name="connsiteY3323" fmla="*/ 1265501 h 1324114"/>
                    <a:gd name="connsiteX3324" fmla="*/ 359698 w 855312"/>
                    <a:gd name="connsiteY3324" fmla="*/ 1265768 h 1324114"/>
                    <a:gd name="connsiteX3325" fmla="*/ 360767 w 855312"/>
                    <a:gd name="connsiteY3325" fmla="*/ 1265646 h 1324114"/>
                    <a:gd name="connsiteX3326" fmla="*/ 364944 w 855312"/>
                    <a:gd name="connsiteY3326" fmla="*/ 1265209 h 1324114"/>
                    <a:gd name="connsiteX3327" fmla="*/ 366183 w 855312"/>
                    <a:gd name="connsiteY3327" fmla="*/ 1265076 h 1324114"/>
                    <a:gd name="connsiteX3328" fmla="*/ 367263 w 855312"/>
                    <a:gd name="connsiteY3328" fmla="*/ 1264468 h 1324114"/>
                    <a:gd name="connsiteX3329" fmla="*/ 373869 w 855312"/>
                    <a:gd name="connsiteY3329" fmla="*/ 1260777 h 1324114"/>
                    <a:gd name="connsiteX3330" fmla="*/ 377233 w 855312"/>
                    <a:gd name="connsiteY3330" fmla="*/ 1259599 h 1324114"/>
                    <a:gd name="connsiteX3331" fmla="*/ 377233 w 855312"/>
                    <a:gd name="connsiteY3331" fmla="*/ 1259733 h 1324114"/>
                    <a:gd name="connsiteX3332" fmla="*/ 376516 w 855312"/>
                    <a:gd name="connsiteY3332" fmla="*/ 1266326 h 1324114"/>
                    <a:gd name="connsiteX3333" fmla="*/ 376431 w 855312"/>
                    <a:gd name="connsiteY3333" fmla="*/ 1267091 h 1324114"/>
                    <a:gd name="connsiteX3334" fmla="*/ 376540 w 855312"/>
                    <a:gd name="connsiteY3334" fmla="*/ 1267844 h 1324114"/>
                    <a:gd name="connsiteX3335" fmla="*/ 376844 w 855312"/>
                    <a:gd name="connsiteY3335" fmla="*/ 1269908 h 1324114"/>
                    <a:gd name="connsiteX3336" fmla="*/ 377014 w 855312"/>
                    <a:gd name="connsiteY3336" fmla="*/ 1271050 h 1324114"/>
                    <a:gd name="connsiteX3337" fmla="*/ 377585 w 855312"/>
                    <a:gd name="connsiteY3337" fmla="*/ 1272046 h 1324114"/>
                    <a:gd name="connsiteX3338" fmla="*/ 378435 w 855312"/>
                    <a:gd name="connsiteY3338" fmla="*/ 1273539 h 1324114"/>
                    <a:gd name="connsiteX3339" fmla="*/ 378933 w 855312"/>
                    <a:gd name="connsiteY3339" fmla="*/ 1274402 h 1324114"/>
                    <a:gd name="connsiteX3340" fmla="*/ 379685 w 855312"/>
                    <a:gd name="connsiteY3340" fmla="*/ 1275069 h 1324114"/>
                    <a:gd name="connsiteX3341" fmla="*/ 381980 w 855312"/>
                    <a:gd name="connsiteY3341" fmla="*/ 1277109 h 1324114"/>
                    <a:gd name="connsiteX3342" fmla="*/ 382867 w 855312"/>
                    <a:gd name="connsiteY3342" fmla="*/ 1277886 h 1324114"/>
                    <a:gd name="connsiteX3343" fmla="*/ 383996 w 855312"/>
                    <a:gd name="connsiteY3343" fmla="*/ 1278287 h 1324114"/>
                    <a:gd name="connsiteX3344" fmla="*/ 385538 w 855312"/>
                    <a:gd name="connsiteY3344" fmla="*/ 1278834 h 1324114"/>
                    <a:gd name="connsiteX3345" fmla="*/ 386522 w 855312"/>
                    <a:gd name="connsiteY3345" fmla="*/ 1279173 h 1324114"/>
                    <a:gd name="connsiteX3346" fmla="*/ 387566 w 855312"/>
                    <a:gd name="connsiteY3346" fmla="*/ 1279173 h 1324114"/>
                    <a:gd name="connsiteX3347" fmla="*/ 389181 w 855312"/>
                    <a:gd name="connsiteY3347" fmla="*/ 1279173 h 1324114"/>
                    <a:gd name="connsiteX3348" fmla="*/ 390772 w 855312"/>
                    <a:gd name="connsiteY3348" fmla="*/ 1279173 h 1324114"/>
                    <a:gd name="connsiteX3349" fmla="*/ 392168 w 855312"/>
                    <a:gd name="connsiteY3349" fmla="*/ 1278396 h 1324114"/>
                    <a:gd name="connsiteX3350" fmla="*/ 393492 w 855312"/>
                    <a:gd name="connsiteY3350" fmla="*/ 1277644 h 1324114"/>
                    <a:gd name="connsiteX3351" fmla="*/ 393868 w 855312"/>
                    <a:gd name="connsiteY3351" fmla="*/ 1277474 h 1324114"/>
                    <a:gd name="connsiteX3352" fmla="*/ 394293 w 855312"/>
                    <a:gd name="connsiteY3352" fmla="*/ 1277364 h 1324114"/>
                    <a:gd name="connsiteX3353" fmla="*/ 395496 w 855312"/>
                    <a:gd name="connsiteY3353" fmla="*/ 1277413 h 1324114"/>
                    <a:gd name="connsiteX3354" fmla="*/ 396333 w 855312"/>
                    <a:gd name="connsiteY3354" fmla="*/ 1277680 h 1324114"/>
                    <a:gd name="connsiteX3355" fmla="*/ 396904 w 855312"/>
                    <a:gd name="connsiteY3355" fmla="*/ 1278008 h 1324114"/>
                    <a:gd name="connsiteX3356" fmla="*/ 397511 w 855312"/>
                    <a:gd name="connsiteY3356" fmla="*/ 1278639 h 1324114"/>
                    <a:gd name="connsiteX3357" fmla="*/ 398009 w 855312"/>
                    <a:gd name="connsiteY3357" fmla="*/ 1279368 h 1324114"/>
                    <a:gd name="connsiteX3358" fmla="*/ 399770 w 855312"/>
                    <a:gd name="connsiteY3358" fmla="*/ 1282622 h 1324114"/>
                    <a:gd name="connsiteX3359" fmla="*/ 400851 w 855312"/>
                    <a:gd name="connsiteY3359" fmla="*/ 1284347 h 1324114"/>
                    <a:gd name="connsiteX3360" fmla="*/ 401081 w 855312"/>
                    <a:gd name="connsiteY3360" fmla="*/ 1284699 h 1324114"/>
                    <a:gd name="connsiteX3361" fmla="*/ 401361 w 855312"/>
                    <a:gd name="connsiteY3361" fmla="*/ 1285014 h 1324114"/>
                    <a:gd name="connsiteX3362" fmla="*/ 402745 w 855312"/>
                    <a:gd name="connsiteY3362" fmla="*/ 1286629 h 1324114"/>
                    <a:gd name="connsiteX3363" fmla="*/ 403656 w 855312"/>
                    <a:gd name="connsiteY3363" fmla="*/ 1287686 h 1324114"/>
                    <a:gd name="connsiteX3364" fmla="*/ 404943 w 855312"/>
                    <a:gd name="connsiteY3364" fmla="*/ 1288244 h 1324114"/>
                    <a:gd name="connsiteX3365" fmla="*/ 406206 w 855312"/>
                    <a:gd name="connsiteY3365" fmla="*/ 1288791 h 1324114"/>
                    <a:gd name="connsiteX3366" fmla="*/ 407359 w 855312"/>
                    <a:gd name="connsiteY3366" fmla="*/ 1289289 h 1324114"/>
                    <a:gd name="connsiteX3367" fmla="*/ 408622 w 855312"/>
                    <a:gd name="connsiteY3367" fmla="*/ 1289289 h 1324114"/>
                    <a:gd name="connsiteX3368" fmla="*/ 409654 w 855312"/>
                    <a:gd name="connsiteY3368" fmla="*/ 1289289 h 1324114"/>
                    <a:gd name="connsiteX3369" fmla="*/ 411063 w 855312"/>
                    <a:gd name="connsiteY3369" fmla="*/ 1289289 h 1324114"/>
                    <a:gd name="connsiteX3370" fmla="*/ 412326 w 855312"/>
                    <a:gd name="connsiteY3370" fmla="*/ 1288657 h 1324114"/>
                    <a:gd name="connsiteX3371" fmla="*/ 412945 w 855312"/>
                    <a:gd name="connsiteY3371" fmla="*/ 1288366 h 1324114"/>
                    <a:gd name="connsiteX3372" fmla="*/ 416636 w 855312"/>
                    <a:gd name="connsiteY3372" fmla="*/ 1293563 h 1324114"/>
                    <a:gd name="connsiteX3373" fmla="*/ 416904 w 855312"/>
                    <a:gd name="connsiteY3373" fmla="*/ 1293951 h 1324114"/>
                    <a:gd name="connsiteX3374" fmla="*/ 417231 w 855312"/>
                    <a:gd name="connsiteY3374" fmla="*/ 1294292 h 1324114"/>
                    <a:gd name="connsiteX3375" fmla="*/ 419636 w 855312"/>
                    <a:gd name="connsiteY3375" fmla="*/ 1296757 h 1324114"/>
                    <a:gd name="connsiteX3376" fmla="*/ 420024 w 855312"/>
                    <a:gd name="connsiteY3376" fmla="*/ 1297145 h 1324114"/>
                    <a:gd name="connsiteX3377" fmla="*/ 420474 w 855312"/>
                    <a:gd name="connsiteY3377" fmla="*/ 1297461 h 1324114"/>
                    <a:gd name="connsiteX3378" fmla="*/ 422016 w 855312"/>
                    <a:gd name="connsiteY3378" fmla="*/ 1298554 h 1324114"/>
                    <a:gd name="connsiteX3379" fmla="*/ 422623 w 855312"/>
                    <a:gd name="connsiteY3379" fmla="*/ 1298979 h 1324114"/>
                    <a:gd name="connsiteX3380" fmla="*/ 423315 w 855312"/>
                    <a:gd name="connsiteY3380" fmla="*/ 1299246 h 1324114"/>
                    <a:gd name="connsiteX3381" fmla="*/ 424711 w 855312"/>
                    <a:gd name="connsiteY3381" fmla="*/ 1299792 h 1324114"/>
                    <a:gd name="connsiteX3382" fmla="*/ 425221 w 855312"/>
                    <a:gd name="connsiteY3382" fmla="*/ 1299999 h 1324114"/>
                    <a:gd name="connsiteX3383" fmla="*/ 425756 w 855312"/>
                    <a:gd name="connsiteY3383" fmla="*/ 1300096 h 1324114"/>
                    <a:gd name="connsiteX3384" fmla="*/ 429253 w 855312"/>
                    <a:gd name="connsiteY3384" fmla="*/ 1300788 h 1324114"/>
                    <a:gd name="connsiteX3385" fmla="*/ 431159 w 855312"/>
                    <a:gd name="connsiteY3385" fmla="*/ 1301043 h 1324114"/>
                    <a:gd name="connsiteX3386" fmla="*/ 431924 w 855312"/>
                    <a:gd name="connsiteY3386" fmla="*/ 1301128 h 1324114"/>
                    <a:gd name="connsiteX3387" fmla="*/ 432677 w 855312"/>
                    <a:gd name="connsiteY3387" fmla="*/ 1301019 h 1324114"/>
                    <a:gd name="connsiteX3388" fmla="*/ 434049 w 855312"/>
                    <a:gd name="connsiteY3388" fmla="*/ 1300824 h 1324114"/>
                    <a:gd name="connsiteX3389" fmla="*/ 434814 w 855312"/>
                    <a:gd name="connsiteY3389" fmla="*/ 1300715 h 1324114"/>
                    <a:gd name="connsiteX3390" fmla="*/ 435531 w 855312"/>
                    <a:gd name="connsiteY3390" fmla="*/ 1300424 h 1324114"/>
                    <a:gd name="connsiteX3391" fmla="*/ 435907 w 855312"/>
                    <a:gd name="connsiteY3391" fmla="*/ 1300266 h 1324114"/>
                    <a:gd name="connsiteX3392" fmla="*/ 435992 w 855312"/>
                    <a:gd name="connsiteY3392" fmla="*/ 1302342 h 1324114"/>
                    <a:gd name="connsiteX3393" fmla="*/ 436004 w 855312"/>
                    <a:gd name="connsiteY3393" fmla="*/ 1302731 h 1324114"/>
                    <a:gd name="connsiteX3394" fmla="*/ 436065 w 855312"/>
                    <a:gd name="connsiteY3394" fmla="*/ 1303119 h 1324114"/>
                    <a:gd name="connsiteX3395" fmla="*/ 436684 w 855312"/>
                    <a:gd name="connsiteY3395" fmla="*/ 1306702 h 1324114"/>
                    <a:gd name="connsiteX3396" fmla="*/ 436939 w 855312"/>
                    <a:gd name="connsiteY3396" fmla="*/ 1308159 h 1324114"/>
                    <a:gd name="connsiteX3397" fmla="*/ 437838 w 855312"/>
                    <a:gd name="connsiteY3397" fmla="*/ 1309349 h 1324114"/>
                    <a:gd name="connsiteX3398" fmla="*/ 440667 w 855312"/>
                    <a:gd name="connsiteY3398" fmla="*/ 1313052 h 1324114"/>
                    <a:gd name="connsiteX3399" fmla="*/ 446496 w 855312"/>
                    <a:gd name="connsiteY3399" fmla="*/ 1320678 h 1324114"/>
                    <a:gd name="connsiteX3400" fmla="*/ 450892 w 855312"/>
                    <a:gd name="connsiteY3400" fmla="*/ 1312142 h 1324114"/>
                    <a:gd name="connsiteX3401" fmla="*/ 451754 w 855312"/>
                    <a:gd name="connsiteY3401" fmla="*/ 1310466 h 1324114"/>
                    <a:gd name="connsiteX3402" fmla="*/ 452057 w 855312"/>
                    <a:gd name="connsiteY3402" fmla="*/ 1310017 h 1324114"/>
                    <a:gd name="connsiteX3403" fmla="*/ 452737 w 855312"/>
                    <a:gd name="connsiteY3403" fmla="*/ 1309215 h 1324114"/>
                    <a:gd name="connsiteX3404" fmla="*/ 453879 w 855312"/>
                    <a:gd name="connsiteY3404" fmla="*/ 1308110 h 1324114"/>
                    <a:gd name="connsiteX3405" fmla="*/ 455567 w 855312"/>
                    <a:gd name="connsiteY3405" fmla="*/ 1306823 h 1324114"/>
                    <a:gd name="connsiteX3406" fmla="*/ 457121 w 855312"/>
                    <a:gd name="connsiteY3406" fmla="*/ 1305888 h 1324114"/>
                    <a:gd name="connsiteX3407" fmla="*/ 458930 w 855312"/>
                    <a:gd name="connsiteY3407" fmla="*/ 1305439 h 1324114"/>
                    <a:gd name="connsiteX3408" fmla="*/ 460837 w 855312"/>
                    <a:gd name="connsiteY3408" fmla="*/ 1305475 h 1324114"/>
                    <a:gd name="connsiteX3409" fmla="*/ 463945 w 855312"/>
                    <a:gd name="connsiteY3409" fmla="*/ 1306592 h 1324114"/>
                    <a:gd name="connsiteX3410" fmla="*/ 464310 w 855312"/>
                    <a:gd name="connsiteY3410" fmla="*/ 1306957 h 1324114"/>
                    <a:gd name="connsiteX3411" fmla="*/ 464055 w 855312"/>
                    <a:gd name="connsiteY3411" fmla="*/ 1309385 h 1324114"/>
                    <a:gd name="connsiteX3412" fmla="*/ 464018 w 855312"/>
                    <a:gd name="connsiteY3412" fmla="*/ 1309798 h 1324114"/>
                    <a:gd name="connsiteX3413" fmla="*/ 464030 w 855312"/>
                    <a:gd name="connsiteY3413" fmla="*/ 1310199 h 1324114"/>
                    <a:gd name="connsiteX3414" fmla="*/ 464091 w 855312"/>
                    <a:gd name="connsiteY3414" fmla="*/ 1311972 h 1324114"/>
                    <a:gd name="connsiteX3415" fmla="*/ 464115 w 855312"/>
                    <a:gd name="connsiteY3415" fmla="*/ 1312785 h 1324114"/>
                    <a:gd name="connsiteX3416" fmla="*/ 464358 w 855312"/>
                    <a:gd name="connsiteY3416" fmla="*/ 1313562 h 1324114"/>
                    <a:gd name="connsiteX3417" fmla="*/ 464868 w 855312"/>
                    <a:gd name="connsiteY3417" fmla="*/ 1315202 h 1324114"/>
                    <a:gd name="connsiteX3418" fmla="*/ 465305 w 855312"/>
                    <a:gd name="connsiteY3418" fmla="*/ 1316598 h 1324114"/>
                    <a:gd name="connsiteX3419" fmla="*/ 466325 w 855312"/>
                    <a:gd name="connsiteY3419" fmla="*/ 1317642 h 1324114"/>
                    <a:gd name="connsiteX3420" fmla="*/ 467600 w 855312"/>
                    <a:gd name="connsiteY3420" fmla="*/ 1318942 h 1324114"/>
                    <a:gd name="connsiteX3421" fmla="*/ 468329 w 855312"/>
                    <a:gd name="connsiteY3421" fmla="*/ 1319682 h 1324114"/>
                    <a:gd name="connsiteX3422" fmla="*/ 469264 w 855312"/>
                    <a:gd name="connsiteY3422" fmla="*/ 1320144 h 1324114"/>
                    <a:gd name="connsiteX3423" fmla="*/ 471158 w 855312"/>
                    <a:gd name="connsiteY3423" fmla="*/ 1321079 h 1324114"/>
                    <a:gd name="connsiteX3424" fmla="*/ 472020 w 855312"/>
                    <a:gd name="connsiteY3424" fmla="*/ 1321504 h 1324114"/>
                    <a:gd name="connsiteX3425" fmla="*/ 472980 w 855312"/>
                    <a:gd name="connsiteY3425" fmla="*/ 1321650 h 1324114"/>
                    <a:gd name="connsiteX3426" fmla="*/ 476015 w 855312"/>
                    <a:gd name="connsiteY3426" fmla="*/ 1322087 h 1324114"/>
                    <a:gd name="connsiteX3427" fmla="*/ 476404 w 855312"/>
                    <a:gd name="connsiteY3427" fmla="*/ 1322135 h 1324114"/>
                    <a:gd name="connsiteX3428" fmla="*/ 476792 w 855312"/>
                    <a:gd name="connsiteY3428" fmla="*/ 1322147 h 1324114"/>
                    <a:gd name="connsiteX3429" fmla="*/ 480933 w 855312"/>
                    <a:gd name="connsiteY3429" fmla="*/ 1322208 h 1324114"/>
                    <a:gd name="connsiteX3430" fmla="*/ 508206 w 855312"/>
                    <a:gd name="connsiteY3430" fmla="*/ 1320107 h 1324114"/>
                    <a:gd name="connsiteX3431" fmla="*/ 510186 w 855312"/>
                    <a:gd name="connsiteY3431" fmla="*/ 1320326 h 1324114"/>
                    <a:gd name="connsiteX3432" fmla="*/ 519803 w 855312"/>
                    <a:gd name="connsiteY3432" fmla="*/ 1323046 h 1324114"/>
                    <a:gd name="connsiteX3433" fmla="*/ 523616 w 855312"/>
                    <a:gd name="connsiteY3433" fmla="*/ 1324115 h 1324114"/>
                    <a:gd name="connsiteX3434" fmla="*/ 526142 w 855312"/>
                    <a:gd name="connsiteY3434" fmla="*/ 1321067 h 1324114"/>
                    <a:gd name="connsiteX3435" fmla="*/ 527283 w 855312"/>
                    <a:gd name="connsiteY3435" fmla="*/ 1319682 h 1324114"/>
                    <a:gd name="connsiteX3436" fmla="*/ 527562 w 855312"/>
                    <a:gd name="connsiteY3436" fmla="*/ 1319342 h 1324114"/>
                    <a:gd name="connsiteX3437" fmla="*/ 527793 w 855312"/>
                    <a:gd name="connsiteY3437" fmla="*/ 1318966 h 1324114"/>
                    <a:gd name="connsiteX3438" fmla="*/ 528825 w 855312"/>
                    <a:gd name="connsiteY3438" fmla="*/ 1317254 h 1324114"/>
                    <a:gd name="connsiteX3439" fmla="*/ 529408 w 855312"/>
                    <a:gd name="connsiteY3439" fmla="*/ 1316294 h 1324114"/>
                    <a:gd name="connsiteX3440" fmla="*/ 529602 w 855312"/>
                    <a:gd name="connsiteY3440" fmla="*/ 1315202 h 1324114"/>
                    <a:gd name="connsiteX3441" fmla="*/ 531594 w 855312"/>
                    <a:gd name="connsiteY3441" fmla="*/ 1304297 h 1324114"/>
                    <a:gd name="connsiteX3442" fmla="*/ 535589 w 855312"/>
                    <a:gd name="connsiteY3442" fmla="*/ 1297449 h 1324114"/>
                    <a:gd name="connsiteX3443" fmla="*/ 542085 w 855312"/>
                    <a:gd name="connsiteY3443" fmla="*/ 1288402 h 1324114"/>
                    <a:gd name="connsiteX3444" fmla="*/ 542547 w 855312"/>
                    <a:gd name="connsiteY3444" fmla="*/ 1288086 h 1324114"/>
                    <a:gd name="connsiteX3445" fmla="*/ 543348 w 855312"/>
                    <a:gd name="connsiteY3445" fmla="*/ 1287807 h 1324114"/>
                    <a:gd name="connsiteX3446" fmla="*/ 546481 w 855312"/>
                    <a:gd name="connsiteY3446" fmla="*/ 1287698 h 1324114"/>
                    <a:gd name="connsiteX3447" fmla="*/ 549808 w 855312"/>
                    <a:gd name="connsiteY3447" fmla="*/ 1287309 h 1324114"/>
                    <a:gd name="connsiteX3448" fmla="*/ 550707 w 855312"/>
                    <a:gd name="connsiteY3448" fmla="*/ 1287200 h 1324114"/>
                    <a:gd name="connsiteX3449" fmla="*/ 551532 w 855312"/>
                    <a:gd name="connsiteY3449" fmla="*/ 1286836 h 1324114"/>
                    <a:gd name="connsiteX3450" fmla="*/ 554690 w 855312"/>
                    <a:gd name="connsiteY3450" fmla="*/ 1285427 h 1324114"/>
                    <a:gd name="connsiteX3451" fmla="*/ 555102 w 855312"/>
                    <a:gd name="connsiteY3451" fmla="*/ 1285536 h 1324114"/>
                    <a:gd name="connsiteX3452" fmla="*/ 556244 w 855312"/>
                    <a:gd name="connsiteY3452" fmla="*/ 1286216 h 1324114"/>
                    <a:gd name="connsiteX3453" fmla="*/ 566189 w 855312"/>
                    <a:gd name="connsiteY3453" fmla="*/ 1296514 h 1324114"/>
                    <a:gd name="connsiteX3454" fmla="*/ 566942 w 855312"/>
                    <a:gd name="connsiteY3454" fmla="*/ 1297291 h 1324114"/>
                    <a:gd name="connsiteX3455" fmla="*/ 567925 w 855312"/>
                    <a:gd name="connsiteY3455" fmla="*/ 1297764 h 1324114"/>
                    <a:gd name="connsiteX3456" fmla="*/ 570451 w 855312"/>
                    <a:gd name="connsiteY3456" fmla="*/ 1298979 h 1324114"/>
                    <a:gd name="connsiteX3457" fmla="*/ 572285 w 855312"/>
                    <a:gd name="connsiteY3457" fmla="*/ 1299853 h 1324114"/>
                    <a:gd name="connsiteX3458" fmla="*/ 574276 w 855312"/>
                    <a:gd name="connsiteY3458" fmla="*/ 1299452 h 1324114"/>
                    <a:gd name="connsiteX3459" fmla="*/ 576389 w 855312"/>
                    <a:gd name="connsiteY3459" fmla="*/ 1299027 h 1324114"/>
                    <a:gd name="connsiteX3460" fmla="*/ 579133 w 855312"/>
                    <a:gd name="connsiteY3460" fmla="*/ 1298469 h 1324114"/>
                    <a:gd name="connsiteX3461" fmla="*/ 580493 w 855312"/>
                    <a:gd name="connsiteY3461" fmla="*/ 1296028 h 1324114"/>
                    <a:gd name="connsiteX3462" fmla="*/ 581890 w 855312"/>
                    <a:gd name="connsiteY3462" fmla="*/ 1293514 h 1324114"/>
                    <a:gd name="connsiteX3463" fmla="*/ 582363 w 855312"/>
                    <a:gd name="connsiteY3463" fmla="*/ 1292664 h 1324114"/>
                    <a:gd name="connsiteX3464" fmla="*/ 582545 w 855312"/>
                    <a:gd name="connsiteY3464" fmla="*/ 1291705 h 1324114"/>
                    <a:gd name="connsiteX3465" fmla="*/ 582837 w 855312"/>
                    <a:gd name="connsiteY3465" fmla="*/ 1290126 h 1324114"/>
                    <a:gd name="connsiteX3466" fmla="*/ 583444 w 855312"/>
                    <a:gd name="connsiteY3466" fmla="*/ 1289969 h 1324114"/>
                    <a:gd name="connsiteX3467" fmla="*/ 587755 w 855312"/>
                    <a:gd name="connsiteY3467" fmla="*/ 1289362 h 1324114"/>
                    <a:gd name="connsiteX3468" fmla="*/ 596230 w 855312"/>
                    <a:gd name="connsiteY3468" fmla="*/ 1289726 h 1324114"/>
                    <a:gd name="connsiteX3469" fmla="*/ 597166 w 855312"/>
                    <a:gd name="connsiteY3469" fmla="*/ 1289762 h 1324114"/>
                    <a:gd name="connsiteX3470" fmla="*/ 598064 w 855312"/>
                    <a:gd name="connsiteY3470" fmla="*/ 1289507 h 1324114"/>
                    <a:gd name="connsiteX3471" fmla="*/ 600650 w 855312"/>
                    <a:gd name="connsiteY3471" fmla="*/ 1288803 h 1324114"/>
                    <a:gd name="connsiteX3472" fmla="*/ 601270 w 855312"/>
                    <a:gd name="connsiteY3472" fmla="*/ 1288633 h 1324114"/>
                    <a:gd name="connsiteX3473" fmla="*/ 601841 w 855312"/>
                    <a:gd name="connsiteY3473" fmla="*/ 1288341 h 1324114"/>
                    <a:gd name="connsiteX3474" fmla="*/ 604245 w 855312"/>
                    <a:gd name="connsiteY3474" fmla="*/ 1287103 h 1324114"/>
                    <a:gd name="connsiteX3475" fmla="*/ 604524 w 855312"/>
                    <a:gd name="connsiteY3475" fmla="*/ 1286994 h 1324114"/>
                    <a:gd name="connsiteX3476" fmla="*/ 604937 w 855312"/>
                    <a:gd name="connsiteY3476" fmla="*/ 1287224 h 1324114"/>
                    <a:gd name="connsiteX3477" fmla="*/ 605411 w 855312"/>
                    <a:gd name="connsiteY3477" fmla="*/ 1287467 h 1324114"/>
                    <a:gd name="connsiteX3478" fmla="*/ 605921 w 855312"/>
                    <a:gd name="connsiteY3478" fmla="*/ 1287637 h 1324114"/>
                    <a:gd name="connsiteX3479" fmla="*/ 608726 w 855312"/>
                    <a:gd name="connsiteY3479" fmla="*/ 1288511 h 1324114"/>
                    <a:gd name="connsiteX3480" fmla="*/ 609272 w 855312"/>
                    <a:gd name="connsiteY3480" fmla="*/ 1288766 h 1324114"/>
                    <a:gd name="connsiteX3481" fmla="*/ 612077 w 855312"/>
                    <a:gd name="connsiteY3481" fmla="*/ 1291074 h 1324114"/>
                    <a:gd name="connsiteX3482" fmla="*/ 612976 w 855312"/>
                    <a:gd name="connsiteY3482" fmla="*/ 1291814 h 1324114"/>
                    <a:gd name="connsiteX3483" fmla="*/ 614081 w 855312"/>
                    <a:gd name="connsiteY3483" fmla="*/ 1292166 h 1324114"/>
                    <a:gd name="connsiteX3484" fmla="*/ 616667 w 855312"/>
                    <a:gd name="connsiteY3484" fmla="*/ 1292992 h 1324114"/>
                    <a:gd name="connsiteX3485" fmla="*/ 617626 w 855312"/>
                    <a:gd name="connsiteY3485" fmla="*/ 1293296 h 1324114"/>
                    <a:gd name="connsiteX3486" fmla="*/ 618634 w 855312"/>
                    <a:gd name="connsiteY3486" fmla="*/ 1293284 h 1324114"/>
                    <a:gd name="connsiteX3487" fmla="*/ 621500 w 855312"/>
                    <a:gd name="connsiteY3487" fmla="*/ 1293235 h 1324114"/>
                    <a:gd name="connsiteX3488" fmla="*/ 622301 w 855312"/>
                    <a:gd name="connsiteY3488" fmla="*/ 1293223 h 1324114"/>
                    <a:gd name="connsiteX3489" fmla="*/ 623078 w 855312"/>
                    <a:gd name="connsiteY3489" fmla="*/ 1292992 h 1324114"/>
                    <a:gd name="connsiteX3490" fmla="*/ 627037 w 855312"/>
                    <a:gd name="connsiteY3490" fmla="*/ 1291838 h 1324114"/>
                    <a:gd name="connsiteX3491" fmla="*/ 631700 w 855312"/>
                    <a:gd name="connsiteY3491" fmla="*/ 1291730 h 1324114"/>
                    <a:gd name="connsiteX3492" fmla="*/ 632756 w 855312"/>
                    <a:gd name="connsiteY3492" fmla="*/ 1291705 h 1324114"/>
                    <a:gd name="connsiteX3493" fmla="*/ 633752 w 855312"/>
                    <a:gd name="connsiteY3493" fmla="*/ 1291316 h 1324114"/>
                    <a:gd name="connsiteX3494" fmla="*/ 635829 w 855312"/>
                    <a:gd name="connsiteY3494" fmla="*/ 1290515 h 1324114"/>
                    <a:gd name="connsiteX3495" fmla="*/ 637152 w 855312"/>
                    <a:gd name="connsiteY3495" fmla="*/ 1290005 h 1324114"/>
                    <a:gd name="connsiteX3496" fmla="*/ 638111 w 855312"/>
                    <a:gd name="connsiteY3496" fmla="*/ 1288961 h 1324114"/>
                    <a:gd name="connsiteX3497" fmla="*/ 640856 w 855312"/>
                    <a:gd name="connsiteY3497" fmla="*/ 1285974 h 1324114"/>
                    <a:gd name="connsiteX3498" fmla="*/ 641402 w 855312"/>
                    <a:gd name="connsiteY3498" fmla="*/ 1285379 h 1324114"/>
                    <a:gd name="connsiteX3499" fmla="*/ 641779 w 855312"/>
                    <a:gd name="connsiteY3499" fmla="*/ 1284650 h 1324114"/>
                    <a:gd name="connsiteX3500" fmla="*/ 643454 w 855312"/>
                    <a:gd name="connsiteY3500" fmla="*/ 1281396 h 1324114"/>
                    <a:gd name="connsiteX3501" fmla="*/ 643649 w 855312"/>
                    <a:gd name="connsiteY3501" fmla="*/ 1281031 h 1324114"/>
                    <a:gd name="connsiteX3502" fmla="*/ 643794 w 855312"/>
                    <a:gd name="connsiteY3502" fmla="*/ 1280631 h 1324114"/>
                    <a:gd name="connsiteX3503" fmla="*/ 647231 w 855312"/>
                    <a:gd name="connsiteY3503" fmla="*/ 1270892 h 1324114"/>
                    <a:gd name="connsiteX3504" fmla="*/ 648093 w 855312"/>
                    <a:gd name="connsiteY3504" fmla="*/ 1269374 h 1324114"/>
                    <a:gd name="connsiteX3505" fmla="*/ 650862 w 855312"/>
                    <a:gd name="connsiteY3505" fmla="*/ 1265683 h 1324114"/>
                    <a:gd name="connsiteX3506" fmla="*/ 651238 w 855312"/>
                    <a:gd name="connsiteY3506" fmla="*/ 1265185 h 1324114"/>
                    <a:gd name="connsiteX3507" fmla="*/ 651505 w 855312"/>
                    <a:gd name="connsiteY3507" fmla="*/ 1264614 h 1324114"/>
                    <a:gd name="connsiteX3508" fmla="*/ 651602 w 855312"/>
                    <a:gd name="connsiteY3508" fmla="*/ 1264383 h 1324114"/>
                    <a:gd name="connsiteX3509" fmla="*/ 652950 w 855312"/>
                    <a:gd name="connsiteY3509" fmla="*/ 1263619 h 1324114"/>
                    <a:gd name="connsiteX3510" fmla="*/ 653691 w 855312"/>
                    <a:gd name="connsiteY3510" fmla="*/ 1263291 h 1324114"/>
                    <a:gd name="connsiteX3511" fmla="*/ 672427 w 855312"/>
                    <a:gd name="connsiteY3511" fmla="*/ 1261603 h 1324114"/>
                    <a:gd name="connsiteX3512" fmla="*/ 672840 w 855312"/>
                    <a:gd name="connsiteY3512" fmla="*/ 1261566 h 1324114"/>
                    <a:gd name="connsiteX3513" fmla="*/ 673241 w 855312"/>
                    <a:gd name="connsiteY3513" fmla="*/ 1261469 h 1324114"/>
                    <a:gd name="connsiteX3514" fmla="*/ 676860 w 855312"/>
                    <a:gd name="connsiteY3514" fmla="*/ 1260643 h 1324114"/>
                    <a:gd name="connsiteX3515" fmla="*/ 677406 w 855312"/>
                    <a:gd name="connsiteY3515" fmla="*/ 1260510 h 1324114"/>
                    <a:gd name="connsiteX3516" fmla="*/ 677916 w 855312"/>
                    <a:gd name="connsiteY3516" fmla="*/ 1260291 h 1324114"/>
                    <a:gd name="connsiteX3517" fmla="*/ 679580 w 855312"/>
                    <a:gd name="connsiteY3517" fmla="*/ 1259563 h 1324114"/>
                    <a:gd name="connsiteX3518" fmla="*/ 679920 w 855312"/>
                    <a:gd name="connsiteY3518" fmla="*/ 1259405 h 1324114"/>
                    <a:gd name="connsiteX3519" fmla="*/ 680235 w 855312"/>
                    <a:gd name="connsiteY3519" fmla="*/ 1259211 h 1324114"/>
                    <a:gd name="connsiteX3520" fmla="*/ 681850 w 855312"/>
                    <a:gd name="connsiteY3520" fmla="*/ 1258263 h 1324114"/>
                    <a:gd name="connsiteX3521" fmla="*/ 682190 w 855312"/>
                    <a:gd name="connsiteY3521" fmla="*/ 1258069 h 1324114"/>
                    <a:gd name="connsiteX3522" fmla="*/ 682494 w 855312"/>
                    <a:gd name="connsiteY3522" fmla="*/ 1257826 h 1324114"/>
                    <a:gd name="connsiteX3523" fmla="*/ 684558 w 855312"/>
                    <a:gd name="connsiteY3523" fmla="*/ 1256223 h 1324114"/>
                    <a:gd name="connsiteX3524" fmla="*/ 685724 w 855312"/>
                    <a:gd name="connsiteY3524" fmla="*/ 1255313 h 1324114"/>
                    <a:gd name="connsiteX3525" fmla="*/ 686343 w 855312"/>
                    <a:gd name="connsiteY3525" fmla="*/ 1253977 h 1324114"/>
                    <a:gd name="connsiteX3526" fmla="*/ 688262 w 855312"/>
                    <a:gd name="connsiteY3526" fmla="*/ 1249824 h 1324114"/>
                    <a:gd name="connsiteX3527" fmla="*/ 694285 w 855312"/>
                    <a:gd name="connsiteY3527" fmla="*/ 1242368 h 1324114"/>
                    <a:gd name="connsiteX3528" fmla="*/ 694783 w 855312"/>
                    <a:gd name="connsiteY3528" fmla="*/ 1241761 h 1324114"/>
                    <a:gd name="connsiteX3529" fmla="*/ 695098 w 855312"/>
                    <a:gd name="connsiteY3529" fmla="*/ 1241033 h 1324114"/>
                    <a:gd name="connsiteX3530" fmla="*/ 696082 w 855312"/>
                    <a:gd name="connsiteY3530" fmla="*/ 1238835 h 1324114"/>
                    <a:gd name="connsiteX3531" fmla="*/ 696786 w 855312"/>
                    <a:gd name="connsiteY3531" fmla="*/ 1238300 h 1324114"/>
                    <a:gd name="connsiteX3532" fmla="*/ 697126 w 855312"/>
                    <a:gd name="connsiteY3532" fmla="*/ 1238045 h 1324114"/>
                    <a:gd name="connsiteX3533" fmla="*/ 697418 w 855312"/>
                    <a:gd name="connsiteY3533" fmla="*/ 1237742 h 1324114"/>
                    <a:gd name="connsiteX3534" fmla="*/ 699154 w 855312"/>
                    <a:gd name="connsiteY3534" fmla="*/ 1235993 h 1324114"/>
                    <a:gd name="connsiteX3535" fmla="*/ 700465 w 855312"/>
                    <a:gd name="connsiteY3535" fmla="*/ 1234682 h 1324114"/>
                    <a:gd name="connsiteX3536" fmla="*/ 700672 w 855312"/>
                    <a:gd name="connsiteY3536" fmla="*/ 1234548 h 1324114"/>
                    <a:gd name="connsiteX3537" fmla="*/ 700939 w 855312"/>
                    <a:gd name="connsiteY3537" fmla="*/ 1234317 h 1324114"/>
                    <a:gd name="connsiteX3538" fmla="*/ 701182 w 855312"/>
                    <a:gd name="connsiteY3538" fmla="*/ 1234062 h 1324114"/>
                    <a:gd name="connsiteX3539" fmla="*/ 701874 w 855312"/>
                    <a:gd name="connsiteY3539" fmla="*/ 1233334 h 1324114"/>
                    <a:gd name="connsiteX3540" fmla="*/ 702323 w 855312"/>
                    <a:gd name="connsiteY3540" fmla="*/ 1232873 h 1324114"/>
                    <a:gd name="connsiteX3541" fmla="*/ 702663 w 855312"/>
                    <a:gd name="connsiteY3541" fmla="*/ 1232326 h 1324114"/>
                    <a:gd name="connsiteX3542" fmla="*/ 703125 w 855312"/>
                    <a:gd name="connsiteY3542" fmla="*/ 1231573 h 1324114"/>
                    <a:gd name="connsiteX3543" fmla="*/ 703756 w 855312"/>
                    <a:gd name="connsiteY3543" fmla="*/ 1230395 h 1324114"/>
                    <a:gd name="connsiteX3544" fmla="*/ 704315 w 855312"/>
                    <a:gd name="connsiteY3544" fmla="*/ 1229108 h 1324114"/>
                    <a:gd name="connsiteX3545" fmla="*/ 704509 w 855312"/>
                    <a:gd name="connsiteY3545" fmla="*/ 1228635 h 1324114"/>
                    <a:gd name="connsiteX3546" fmla="*/ 704618 w 855312"/>
                    <a:gd name="connsiteY3546" fmla="*/ 1228149 h 1324114"/>
                    <a:gd name="connsiteX3547" fmla="*/ 705031 w 855312"/>
                    <a:gd name="connsiteY3547" fmla="*/ 1226376 h 1324114"/>
                    <a:gd name="connsiteX3548" fmla="*/ 705104 w 855312"/>
                    <a:gd name="connsiteY3548" fmla="*/ 1226072 h 1324114"/>
                    <a:gd name="connsiteX3549" fmla="*/ 705141 w 855312"/>
                    <a:gd name="connsiteY3549" fmla="*/ 1225757 h 1324114"/>
                    <a:gd name="connsiteX3550" fmla="*/ 705262 w 855312"/>
                    <a:gd name="connsiteY3550" fmla="*/ 1224834 h 1324114"/>
                    <a:gd name="connsiteX3551" fmla="*/ 705298 w 855312"/>
                    <a:gd name="connsiteY3551" fmla="*/ 1224470 h 1324114"/>
                    <a:gd name="connsiteX3552" fmla="*/ 705298 w 855312"/>
                    <a:gd name="connsiteY3552" fmla="*/ 1224105 h 1324114"/>
                    <a:gd name="connsiteX3553" fmla="*/ 705298 w 855312"/>
                    <a:gd name="connsiteY3553" fmla="*/ 1223134 h 1324114"/>
                    <a:gd name="connsiteX3554" fmla="*/ 705298 w 855312"/>
                    <a:gd name="connsiteY3554" fmla="*/ 1221968 h 1324114"/>
                    <a:gd name="connsiteX3555" fmla="*/ 704873 w 855312"/>
                    <a:gd name="connsiteY3555" fmla="*/ 1220887 h 1324114"/>
                    <a:gd name="connsiteX3556" fmla="*/ 704193 w 855312"/>
                    <a:gd name="connsiteY3556" fmla="*/ 1219163 h 1324114"/>
                    <a:gd name="connsiteX3557" fmla="*/ 703999 w 855312"/>
                    <a:gd name="connsiteY3557" fmla="*/ 1218665 h 1324114"/>
                    <a:gd name="connsiteX3558" fmla="*/ 703720 w 855312"/>
                    <a:gd name="connsiteY3558" fmla="*/ 1218216 h 1324114"/>
                    <a:gd name="connsiteX3559" fmla="*/ 698425 w 855312"/>
                    <a:gd name="connsiteY3559" fmla="*/ 1209655 h 1324114"/>
                    <a:gd name="connsiteX3560" fmla="*/ 697770 w 855312"/>
                    <a:gd name="connsiteY3560" fmla="*/ 1208587 h 1324114"/>
                    <a:gd name="connsiteX3561" fmla="*/ 696762 w 855312"/>
                    <a:gd name="connsiteY3561" fmla="*/ 1207870 h 1324114"/>
                    <a:gd name="connsiteX3562" fmla="*/ 695973 w 855312"/>
                    <a:gd name="connsiteY3562" fmla="*/ 1207324 h 1324114"/>
                    <a:gd name="connsiteX3563" fmla="*/ 695803 w 855312"/>
                    <a:gd name="connsiteY3563" fmla="*/ 1207093 h 1324114"/>
                    <a:gd name="connsiteX3564" fmla="*/ 694977 w 855312"/>
                    <a:gd name="connsiteY3564" fmla="*/ 1205988 h 1324114"/>
                    <a:gd name="connsiteX3565" fmla="*/ 693750 w 855312"/>
                    <a:gd name="connsiteY3565" fmla="*/ 1205357 h 1324114"/>
                    <a:gd name="connsiteX3566" fmla="*/ 688869 w 855312"/>
                    <a:gd name="connsiteY3566" fmla="*/ 1202855 h 1324114"/>
                    <a:gd name="connsiteX3567" fmla="*/ 688104 w 855312"/>
                    <a:gd name="connsiteY3567" fmla="*/ 1202467 h 1324114"/>
                    <a:gd name="connsiteX3568" fmla="*/ 687254 w 855312"/>
                    <a:gd name="connsiteY3568" fmla="*/ 1202297 h 1324114"/>
                    <a:gd name="connsiteX3569" fmla="*/ 681510 w 855312"/>
                    <a:gd name="connsiteY3569" fmla="*/ 1201180 h 1324114"/>
                    <a:gd name="connsiteX3570" fmla="*/ 680964 w 855312"/>
                    <a:gd name="connsiteY3570" fmla="*/ 1201070 h 1324114"/>
                    <a:gd name="connsiteX3571" fmla="*/ 680405 w 855312"/>
                    <a:gd name="connsiteY3571" fmla="*/ 1201070 h 1324114"/>
                    <a:gd name="connsiteX3572" fmla="*/ 651299 w 855312"/>
                    <a:gd name="connsiteY3572" fmla="*/ 1200815 h 1324114"/>
                    <a:gd name="connsiteX3573" fmla="*/ 650886 w 855312"/>
                    <a:gd name="connsiteY3573" fmla="*/ 1199734 h 1324114"/>
                    <a:gd name="connsiteX3574" fmla="*/ 650145 w 855312"/>
                    <a:gd name="connsiteY3574" fmla="*/ 1197780 h 1324114"/>
                    <a:gd name="connsiteX3575" fmla="*/ 649635 w 855312"/>
                    <a:gd name="connsiteY3575" fmla="*/ 1196456 h 1324114"/>
                    <a:gd name="connsiteX3576" fmla="*/ 650011 w 855312"/>
                    <a:gd name="connsiteY3576" fmla="*/ 1196213 h 1324114"/>
                    <a:gd name="connsiteX3577" fmla="*/ 657006 w 855312"/>
                    <a:gd name="connsiteY3577" fmla="*/ 1192679 h 1324114"/>
                    <a:gd name="connsiteX3578" fmla="*/ 657868 w 855312"/>
                    <a:gd name="connsiteY3578" fmla="*/ 1192242 h 1324114"/>
                    <a:gd name="connsiteX3579" fmla="*/ 658560 w 855312"/>
                    <a:gd name="connsiteY3579" fmla="*/ 1191550 h 1324114"/>
                    <a:gd name="connsiteX3580" fmla="*/ 664534 w 855312"/>
                    <a:gd name="connsiteY3580" fmla="*/ 1185588 h 1324114"/>
                    <a:gd name="connsiteX3581" fmla="*/ 665045 w 855312"/>
                    <a:gd name="connsiteY3581" fmla="*/ 1185078 h 1324114"/>
                    <a:gd name="connsiteX3582" fmla="*/ 665421 w 855312"/>
                    <a:gd name="connsiteY3582" fmla="*/ 1184459 h 1324114"/>
                    <a:gd name="connsiteX3583" fmla="*/ 667254 w 855312"/>
                    <a:gd name="connsiteY3583" fmla="*/ 1181447 h 1324114"/>
                    <a:gd name="connsiteX3584" fmla="*/ 670339 w 855312"/>
                    <a:gd name="connsiteY3584" fmla="*/ 1177974 h 1324114"/>
                    <a:gd name="connsiteX3585" fmla="*/ 670642 w 855312"/>
                    <a:gd name="connsiteY3585" fmla="*/ 1177634 h 1324114"/>
                    <a:gd name="connsiteX3586" fmla="*/ 670897 w 855312"/>
                    <a:gd name="connsiteY3586" fmla="*/ 1177258 h 1324114"/>
                    <a:gd name="connsiteX3587" fmla="*/ 672342 w 855312"/>
                    <a:gd name="connsiteY3587" fmla="*/ 1175036 h 1324114"/>
                    <a:gd name="connsiteX3588" fmla="*/ 672670 w 855312"/>
                    <a:gd name="connsiteY3588" fmla="*/ 1174514 h 1324114"/>
                    <a:gd name="connsiteX3589" fmla="*/ 672901 w 855312"/>
                    <a:gd name="connsiteY3589" fmla="*/ 1173943 h 1324114"/>
                    <a:gd name="connsiteX3590" fmla="*/ 674091 w 855312"/>
                    <a:gd name="connsiteY3590" fmla="*/ 1170907 h 1324114"/>
                    <a:gd name="connsiteX3591" fmla="*/ 674249 w 855312"/>
                    <a:gd name="connsiteY3591" fmla="*/ 1170507 h 1324114"/>
                    <a:gd name="connsiteX3592" fmla="*/ 674346 w 855312"/>
                    <a:gd name="connsiteY3592" fmla="*/ 1170081 h 1324114"/>
                    <a:gd name="connsiteX3593" fmla="*/ 677054 w 855312"/>
                    <a:gd name="connsiteY3593" fmla="*/ 1158509 h 1324114"/>
                    <a:gd name="connsiteX3594" fmla="*/ 677175 w 855312"/>
                    <a:gd name="connsiteY3594" fmla="*/ 1157999 h 1324114"/>
                    <a:gd name="connsiteX3595" fmla="*/ 677200 w 855312"/>
                    <a:gd name="connsiteY3595" fmla="*/ 1157477 h 1324114"/>
                    <a:gd name="connsiteX3596" fmla="*/ 677357 w 855312"/>
                    <a:gd name="connsiteY3596" fmla="*/ 1154806 h 1324114"/>
                    <a:gd name="connsiteX3597" fmla="*/ 677430 w 855312"/>
                    <a:gd name="connsiteY3597" fmla="*/ 1153470 h 1324114"/>
                    <a:gd name="connsiteX3598" fmla="*/ 676933 w 855312"/>
                    <a:gd name="connsiteY3598" fmla="*/ 1152219 h 1324114"/>
                    <a:gd name="connsiteX3599" fmla="*/ 676082 w 855312"/>
                    <a:gd name="connsiteY3599" fmla="*/ 1150070 h 1324114"/>
                    <a:gd name="connsiteX3600" fmla="*/ 675402 w 855312"/>
                    <a:gd name="connsiteY3600" fmla="*/ 1148333 h 1324114"/>
                    <a:gd name="connsiteX3601" fmla="*/ 673860 w 855312"/>
                    <a:gd name="connsiteY3601" fmla="*/ 1147277 h 1324114"/>
                    <a:gd name="connsiteX3602" fmla="*/ 672889 w 855312"/>
                    <a:gd name="connsiteY3602" fmla="*/ 1146609 h 1324114"/>
                    <a:gd name="connsiteX3603" fmla="*/ 671298 w 855312"/>
                    <a:gd name="connsiteY3603" fmla="*/ 1145516 h 1324114"/>
                    <a:gd name="connsiteX3604" fmla="*/ 670084 w 855312"/>
                    <a:gd name="connsiteY3604" fmla="*/ 1145541 h 1324114"/>
                    <a:gd name="connsiteX3605" fmla="*/ 670084 w 855312"/>
                    <a:gd name="connsiteY3605" fmla="*/ 1144447 h 1324114"/>
                    <a:gd name="connsiteX3606" fmla="*/ 669683 w 855312"/>
                    <a:gd name="connsiteY3606" fmla="*/ 1143403 h 1324114"/>
                    <a:gd name="connsiteX3607" fmla="*/ 668821 w 855312"/>
                    <a:gd name="connsiteY3607" fmla="*/ 1141120 h 1324114"/>
                    <a:gd name="connsiteX3608" fmla="*/ 668457 w 855312"/>
                    <a:gd name="connsiteY3608" fmla="*/ 1140161 h 1324114"/>
                    <a:gd name="connsiteX3609" fmla="*/ 667862 w 855312"/>
                    <a:gd name="connsiteY3609" fmla="*/ 1139457 h 1324114"/>
                    <a:gd name="connsiteX3610" fmla="*/ 667837 w 855312"/>
                    <a:gd name="connsiteY3610" fmla="*/ 1139263 h 1324114"/>
                    <a:gd name="connsiteX3611" fmla="*/ 668214 w 855312"/>
                    <a:gd name="connsiteY3611" fmla="*/ 1136518 h 1324114"/>
                    <a:gd name="connsiteX3612" fmla="*/ 670570 w 855312"/>
                    <a:gd name="connsiteY3612" fmla="*/ 1129342 h 1324114"/>
                    <a:gd name="connsiteX3613" fmla="*/ 673751 w 855312"/>
                    <a:gd name="connsiteY3613" fmla="*/ 1122651 h 1324114"/>
                    <a:gd name="connsiteX3614" fmla="*/ 675160 w 855312"/>
                    <a:gd name="connsiteY3614" fmla="*/ 1122129 h 1324114"/>
                    <a:gd name="connsiteX3615" fmla="*/ 675293 w 855312"/>
                    <a:gd name="connsiteY3615" fmla="*/ 1122117 h 1324114"/>
                    <a:gd name="connsiteX3616" fmla="*/ 676180 w 855312"/>
                    <a:gd name="connsiteY3616" fmla="*/ 1122165 h 1324114"/>
                    <a:gd name="connsiteX3617" fmla="*/ 679106 w 855312"/>
                    <a:gd name="connsiteY3617" fmla="*/ 1122882 h 1324114"/>
                    <a:gd name="connsiteX3618" fmla="*/ 679470 w 855312"/>
                    <a:gd name="connsiteY3618" fmla="*/ 1122967 h 1324114"/>
                    <a:gd name="connsiteX3619" fmla="*/ 679847 w 855312"/>
                    <a:gd name="connsiteY3619" fmla="*/ 1123015 h 1324114"/>
                    <a:gd name="connsiteX3620" fmla="*/ 681632 w 855312"/>
                    <a:gd name="connsiteY3620" fmla="*/ 1123222 h 1324114"/>
                    <a:gd name="connsiteX3621" fmla="*/ 682470 w 855312"/>
                    <a:gd name="connsiteY3621" fmla="*/ 1123319 h 1324114"/>
                    <a:gd name="connsiteX3622" fmla="*/ 683307 w 855312"/>
                    <a:gd name="connsiteY3622" fmla="*/ 1123173 h 1324114"/>
                    <a:gd name="connsiteX3623" fmla="*/ 685384 w 855312"/>
                    <a:gd name="connsiteY3623" fmla="*/ 1122833 h 1324114"/>
                    <a:gd name="connsiteX3624" fmla="*/ 685979 w 855312"/>
                    <a:gd name="connsiteY3624" fmla="*/ 1122736 h 1324114"/>
                    <a:gd name="connsiteX3625" fmla="*/ 686538 w 855312"/>
                    <a:gd name="connsiteY3625" fmla="*/ 1122505 h 1324114"/>
                    <a:gd name="connsiteX3626" fmla="*/ 688662 w 855312"/>
                    <a:gd name="connsiteY3626" fmla="*/ 1121704 h 1324114"/>
                    <a:gd name="connsiteX3627" fmla="*/ 689124 w 855312"/>
                    <a:gd name="connsiteY3627" fmla="*/ 1121534 h 1324114"/>
                    <a:gd name="connsiteX3628" fmla="*/ 689549 w 855312"/>
                    <a:gd name="connsiteY3628" fmla="*/ 1121279 h 1324114"/>
                    <a:gd name="connsiteX3629" fmla="*/ 697211 w 855312"/>
                    <a:gd name="connsiteY3629" fmla="*/ 1116822 h 1324114"/>
                    <a:gd name="connsiteX3630" fmla="*/ 698486 w 855312"/>
                    <a:gd name="connsiteY3630" fmla="*/ 1116337 h 1324114"/>
                    <a:gd name="connsiteX3631" fmla="*/ 698838 w 855312"/>
                    <a:gd name="connsiteY3631" fmla="*/ 1116203 h 1324114"/>
                    <a:gd name="connsiteX3632" fmla="*/ 699178 w 855312"/>
                    <a:gd name="connsiteY3632" fmla="*/ 1116021 h 1324114"/>
                    <a:gd name="connsiteX3633" fmla="*/ 700429 w 855312"/>
                    <a:gd name="connsiteY3633" fmla="*/ 1115353 h 1324114"/>
                    <a:gd name="connsiteX3634" fmla="*/ 701158 w 855312"/>
                    <a:gd name="connsiteY3634" fmla="*/ 1114965 h 1324114"/>
                    <a:gd name="connsiteX3635" fmla="*/ 701753 w 855312"/>
                    <a:gd name="connsiteY3635" fmla="*/ 1114394 h 1324114"/>
                    <a:gd name="connsiteX3636" fmla="*/ 702736 w 855312"/>
                    <a:gd name="connsiteY3636" fmla="*/ 1113459 h 1324114"/>
                    <a:gd name="connsiteX3637" fmla="*/ 704776 w 855312"/>
                    <a:gd name="connsiteY3637" fmla="*/ 1111504 h 1324114"/>
                    <a:gd name="connsiteX3638" fmla="*/ 704606 w 855312"/>
                    <a:gd name="connsiteY3638" fmla="*/ 1108699 h 1324114"/>
                    <a:gd name="connsiteX3639" fmla="*/ 704497 w 855312"/>
                    <a:gd name="connsiteY3639" fmla="*/ 1106963 h 1324114"/>
                    <a:gd name="connsiteX3640" fmla="*/ 704412 w 855312"/>
                    <a:gd name="connsiteY3640" fmla="*/ 1105603 h 1324114"/>
                    <a:gd name="connsiteX3641" fmla="*/ 703756 w 855312"/>
                    <a:gd name="connsiteY3641" fmla="*/ 1104400 h 1324114"/>
                    <a:gd name="connsiteX3642" fmla="*/ 703173 w 855312"/>
                    <a:gd name="connsiteY3642" fmla="*/ 1103344 h 1324114"/>
                    <a:gd name="connsiteX3643" fmla="*/ 703149 w 855312"/>
                    <a:gd name="connsiteY3643" fmla="*/ 1103283 h 1324114"/>
                    <a:gd name="connsiteX3644" fmla="*/ 705930 w 855312"/>
                    <a:gd name="connsiteY3644" fmla="*/ 1099361 h 1324114"/>
                    <a:gd name="connsiteX3645" fmla="*/ 706197 w 855312"/>
                    <a:gd name="connsiteY3645" fmla="*/ 1098984 h 1324114"/>
                    <a:gd name="connsiteX3646" fmla="*/ 706403 w 855312"/>
                    <a:gd name="connsiteY3646" fmla="*/ 1098572 h 1324114"/>
                    <a:gd name="connsiteX3647" fmla="*/ 708577 w 855312"/>
                    <a:gd name="connsiteY3647" fmla="*/ 1094237 h 1324114"/>
                    <a:gd name="connsiteX3648" fmla="*/ 708881 w 855312"/>
                    <a:gd name="connsiteY3648" fmla="*/ 1093617 h 1324114"/>
                    <a:gd name="connsiteX3649" fmla="*/ 709038 w 855312"/>
                    <a:gd name="connsiteY3649" fmla="*/ 1092949 h 1324114"/>
                    <a:gd name="connsiteX3650" fmla="*/ 710374 w 855312"/>
                    <a:gd name="connsiteY3650" fmla="*/ 1087473 h 1324114"/>
                    <a:gd name="connsiteX3651" fmla="*/ 714733 w 855312"/>
                    <a:gd name="connsiteY3651" fmla="*/ 1086004 h 1324114"/>
                    <a:gd name="connsiteX3652" fmla="*/ 722578 w 855312"/>
                    <a:gd name="connsiteY3652" fmla="*/ 1085797 h 1324114"/>
                    <a:gd name="connsiteX3653" fmla="*/ 723403 w 855312"/>
                    <a:gd name="connsiteY3653" fmla="*/ 1085907 h 1324114"/>
                    <a:gd name="connsiteX3654" fmla="*/ 723938 w 855312"/>
                    <a:gd name="connsiteY3654" fmla="*/ 1086089 h 1324114"/>
                    <a:gd name="connsiteX3655" fmla="*/ 725018 w 855312"/>
                    <a:gd name="connsiteY3655" fmla="*/ 1086781 h 1324114"/>
                    <a:gd name="connsiteX3656" fmla="*/ 725869 w 855312"/>
                    <a:gd name="connsiteY3656" fmla="*/ 1087558 h 1324114"/>
                    <a:gd name="connsiteX3657" fmla="*/ 726658 w 855312"/>
                    <a:gd name="connsiteY3657" fmla="*/ 1088542 h 1324114"/>
                    <a:gd name="connsiteX3658" fmla="*/ 727690 w 855312"/>
                    <a:gd name="connsiteY3658" fmla="*/ 1090108 h 1324114"/>
                    <a:gd name="connsiteX3659" fmla="*/ 727933 w 855312"/>
                    <a:gd name="connsiteY3659" fmla="*/ 1090484 h 1324114"/>
                    <a:gd name="connsiteX3660" fmla="*/ 728224 w 855312"/>
                    <a:gd name="connsiteY3660" fmla="*/ 1090812 h 1324114"/>
                    <a:gd name="connsiteX3661" fmla="*/ 731454 w 855312"/>
                    <a:gd name="connsiteY3661" fmla="*/ 1094455 h 1324114"/>
                    <a:gd name="connsiteX3662" fmla="*/ 731879 w 855312"/>
                    <a:gd name="connsiteY3662" fmla="*/ 1094929 h 1324114"/>
                    <a:gd name="connsiteX3663" fmla="*/ 732401 w 855312"/>
                    <a:gd name="connsiteY3663" fmla="*/ 1095317 h 1324114"/>
                    <a:gd name="connsiteX3664" fmla="*/ 734405 w 855312"/>
                    <a:gd name="connsiteY3664" fmla="*/ 1096787 h 1324114"/>
                    <a:gd name="connsiteX3665" fmla="*/ 735036 w 855312"/>
                    <a:gd name="connsiteY3665" fmla="*/ 1097248 h 1324114"/>
                    <a:gd name="connsiteX3666" fmla="*/ 735765 w 855312"/>
                    <a:gd name="connsiteY3666" fmla="*/ 1097527 h 1324114"/>
                    <a:gd name="connsiteX3667" fmla="*/ 737938 w 855312"/>
                    <a:gd name="connsiteY3667" fmla="*/ 1098389 h 1324114"/>
                    <a:gd name="connsiteX3668" fmla="*/ 739602 w 855312"/>
                    <a:gd name="connsiteY3668" fmla="*/ 1099045 h 1324114"/>
                    <a:gd name="connsiteX3669" fmla="*/ 741363 w 855312"/>
                    <a:gd name="connsiteY3669" fmla="*/ 1098705 h 1324114"/>
                    <a:gd name="connsiteX3670" fmla="*/ 744131 w 855312"/>
                    <a:gd name="connsiteY3670" fmla="*/ 1098159 h 1324114"/>
                    <a:gd name="connsiteX3671" fmla="*/ 745601 w 855312"/>
                    <a:gd name="connsiteY3671" fmla="*/ 1097879 h 1324114"/>
                    <a:gd name="connsiteX3672" fmla="*/ 746766 w 855312"/>
                    <a:gd name="connsiteY3672" fmla="*/ 1096944 h 1324114"/>
                    <a:gd name="connsiteX3673" fmla="*/ 747738 w 855312"/>
                    <a:gd name="connsiteY3673" fmla="*/ 1096167 h 1324114"/>
                    <a:gd name="connsiteX3674" fmla="*/ 749232 w 855312"/>
                    <a:gd name="connsiteY3674" fmla="*/ 1094953 h 1324114"/>
                    <a:gd name="connsiteX3675" fmla="*/ 749766 w 855312"/>
                    <a:gd name="connsiteY3675" fmla="*/ 1093119 h 1324114"/>
                    <a:gd name="connsiteX3676" fmla="*/ 750106 w 855312"/>
                    <a:gd name="connsiteY3676" fmla="*/ 1091942 h 1324114"/>
                    <a:gd name="connsiteX3677" fmla="*/ 750130 w 855312"/>
                    <a:gd name="connsiteY3677" fmla="*/ 1091796 h 1324114"/>
                    <a:gd name="connsiteX3678" fmla="*/ 750227 w 855312"/>
                    <a:gd name="connsiteY3678" fmla="*/ 1091638 h 1324114"/>
                    <a:gd name="connsiteX3679" fmla="*/ 750968 w 855312"/>
                    <a:gd name="connsiteY3679" fmla="*/ 1090630 h 1324114"/>
                    <a:gd name="connsiteX3680" fmla="*/ 755740 w 855312"/>
                    <a:gd name="connsiteY3680" fmla="*/ 1093557 h 1324114"/>
                    <a:gd name="connsiteX3681" fmla="*/ 763742 w 855312"/>
                    <a:gd name="connsiteY3681" fmla="*/ 1100090 h 1324114"/>
                    <a:gd name="connsiteX3682" fmla="*/ 764252 w 855312"/>
                    <a:gd name="connsiteY3682" fmla="*/ 1100502 h 1324114"/>
                    <a:gd name="connsiteX3683" fmla="*/ 764835 w 855312"/>
                    <a:gd name="connsiteY3683" fmla="*/ 1100794 h 1324114"/>
                    <a:gd name="connsiteX3684" fmla="*/ 770579 w 855312"/>
                    <a:gd name="connsiteY3684" fmla="*/ 1103696 h 1324114"/>
                    <a:gd name="connsiteX3685" fmla="*/ 771210 w 855312"/>
                    <a:gd name="connsiteY3685" fmla="*/ 1104012 h 1324114"/>
                    <a:gd name="connsiteX3686" fmla="*/ 771902 w 855312"/>
                    <a:gd name="connsiteY3686" fmla="*/ 1104182 h 1324114"/>
                    <a:gd name="connsiteX3687" fmla="*/ 784191 w 855312"/>
                    <a:gd name="connsiteY3687" fmla="*/ 1107108 h 1324114"/>
                    <a:gd name="connsiteX3688" fmla="*/ 787846 w 855312"/>
                    <a:gd name="connsiteY3688" fmla="*/ 1107982 h 1324114"/>
                    <a:gd name="connsiteX3689" fmla="*/ 790250 w 855312"/>
                    <a:gd name="connsiteY3689" fmla="*/ 1105104 h 1324114"/>
                    <a:gd name="connsiteX3690" fmla="*/ 791793 w 855312"/>
                    <a:gd name="connsiteY3690" fmla="*/ 1103259 h 1324114"/>
                    <a:gd name="connsiteX3691" fmla="*/ 792035 w 855312"/>
                    <a:gd name="connsiteY3691" fmla="*/ 1102967 h 1324114"/>
                    <a:gd name="connsiteX3692" fmla="*/ 792242 w 855312"/>
                    <a:gd name="connsiteY3692" fmla="*/ 1102652 h 1324114"/>
                    <a:gd name="connsiteX3693" fmla="*/ 793735 w 855312"/>
                    <a:gd name="connsiteY3693" fmla="*/ 1100344 h 1324114"/>
                    <a:gd name="connsiteX3694" fmla="*/ 794185 w 855312"/>
                    <a:gd name="connsiteY3694" fmla="*/ 1099640 h 1324114"/>
                    <a:gd name="connsiteX3695" fmla="*/ 794428 w 855312"/>
                    <a:gd name="connsiteY3695" fmla="*/ 1098851 h 1324114"/>
                    <a:gd name="connsiteX3696" fmla="*/ 795010 w 855312"/>
                    <a:gd name="connsiteY3696" fmla="*/ 1096957 h 1324114"/>
                    <a:gd name="connsiteX3697" fmla="*/ 795338 w 855312"/>
                    <a:gd name="connsiteY3697" fmla="*/ 1095912 h 1324114"/>
                    <a:gd name="connsiteX3698" fmla="*/ 795277 w 855312"/>
                    <a:gd name="connsiteY3698" fmla="*/ 1094807 h 1324114"/>
                    <a:gd name="connsiteX3699" fmla="*/ 795168 w 855312"/>
                    <a:gd name="connsiteY3699" fmla="*/ 1092889 h 1324114"/>
                    <a:gd name="connsiteX3700" fmla="*/ 795132 w 855312"/>
                    <a:gd name="connsiteY3700" fmla="*/ 1092282 h 1324114"/>
                    <a:gd name="connsiteX3701" fmla="*/ 794974 w 855312"/>
                    <a:gd name="connsiteY3701" fmla="*/ 1091699 h 1324114"/>
                    <a:gd name="connsiteX3702" fmla="*/ 794865 w 855312"/>
                    <a:gd name="connsiteY3702" fmla="*/ 1091298 h 1324114"/>
                    <a:gd name="connsiteX3703" fmla="*/ 796382 w 855312"/>
                    <a:gd name="connsiteY3703" fmla="*/ 1091845 h 1324114"/>
                    <a:gd name="connsiteX3704" fmla="*/ 798593 w 855312"/>
                    <a:gd name="connsiteY3704" fmla="*/ 1090873 h 1324114"/>
                    <a:gd name="connsiteX3705" fmla="*/ 799163 w 855312"/>
                    <a:gd name="connsiteY3705" fmla="*/ 1090618 h 1324114"/>
                    <a:gd name="connsiteX3706" fmla="*/ 799795 w 855312"/>
                    <a:gd name="connsiteY3706" fmla="*/ 1090351 h 1324114"/>
                    <a:gd name="connsiteX3707" fmla="*/ 800341 w 855312"/>
                    <a:gd name="connsiteY3707" fmla="*/ 1089950 h 1324114"/>
                    <a:gd name="connsiteX3708" fmla="*/ 801155 w 855312"/>
                    <a:gd name="connsiteY3708" fmla="*/ 1089343 h 1324114"/>
                    <a:gd name="connsiteX3709" fmla="*/ 801640 w 855312"/>
                    <a:gd name="connsiteY3709" fmla="*/ 1088979 h 1324114"/>
                    <a:gd name="connsiteX3710" fmla="*/ 801944 w 855312"/>
                    <a:gd name="connsiteY3710" fmla="*/ 1088651 h 1324114"/>
                    <a:gd name="connsiteX3711" fmla="*/ 802041 w 855312"/>
                    <a:gd name="connsiteY3711" fmla="*/ 1088639 h 1324114"/>
                    <a:gd name="connsiteX3712" fmla="*/ 803170 w 855312"/>
                    <a:gd name="connsiteY3712" fmla="*/ 1088481 h 1324114"/>
                    <a:gd name="connsiteX3713" fmla="*/ 803814 w 855312"/>
                    <a:gd name="connsiteY3713" fmla="*/ 1088396 h 1324114"/>
                    <a:gd name="connsiteX3714" fmla="*/ 804433 w 855312"/>
                    <a:gd name="connsiteY3714" fmla="*/ 1088165 h 1324114"/>
                    <a:gd name="connsiteX3715" fmla="*/ 805769 w 855312"/>
                    <a:gd name="connsiteY3715" fmla="*/ 1087679 h 1324114"/>
                    <a:gd name="connsiteX3716" fmla="*/ 806340 w 855312"/>
                    <a:gd name="connsiteY3716" fmla="*/ 1087461 h 1324114"/>
                    <a:gd name="connsiteX3717" fmla="*/ 806862 w 855312"/>
                    <a:gd name="connsiteY3717" fmla="*/ 1087145 h 1324114"/>
                    <a:gd name="connsiteX3718" fmla="*/ 808635 w 855312"/>
                    <a:gd name="connsiteY3718" fmla="*/ 1086052 h 1324114"/>
                    <a:gd name="connsiteX3719" fmla="*/ 809157 w 855312"/>
                    <a:gd name="connsiteY3719" fmla="*/ 1085736 h 1324114"/>
                    <a:gd name="connsiteX3720" fmla="*/ 809606 w 855312"/>
                    <a:gd name="connsiteY3720" fmla="*/ 1085311 h 1324114"/>
                    <a:gd name="connsiteX3721" fmla="*/ 810298 w 855312"/>
                    <a:gd name="connsiteY3721" fmla="*/ 1084656 h 1324114"/>
                    <a:gd name="connsiteX3722" fmla="*/ 811756 w 855312"/>
                    <a:gd name="connsiteY3722" fmla="*/ 1083284 h 1324114"/>
                    <a:gd name="connsiteX3723" fmla="*/ 812120 w 855312"/>
                    <a:gd name="connsiteY3723" fmla="*/ 1081317 h 1324114"/>
                    <a:gd name="connsiteX3724" fmla="*/ 812338 w 855312"/>
                    <a:gd name="connsiteY3724" fmla="*/ 1080102 h 1324114"/>
                    <a:gd name="connsiteX3725" fmla="*/ 812436 w 855312"/>
                    <a:gd name="connsiteY3725" fmla="*/ 1079532 h 1324114"/>
                    <a:gd name="connsiteX3726" fmla="*/ 812436 w 855312"/>
                    <a:gd name="connsiteY3726" fmla="*/ 1079155 h 1324114"/>
                    <a:gd name="connsiteX3727" fmla="*/ 821555 w 855312"/>
                    <a:gd name="connsiteY3727" fmla="*/ 1085664 h 1324114"/>
                    <a:gd name="connsiteX3728" fmla="*/ 822247 w 855312"/>
                    <a:gd name="connsiteY3728" fmla="*/ 1086149 h 1324114"/>
                    <a:gd name="connsiteX3729" fmla="*/ 823036 w 855312"/>
                    <a:gd name="connsiteY3729" fmla="*/ 1086429 h 1324114"/>
                    <a:gd name="connsiteX3730" fmla="*/ 825283 w 855312"/>
                    <a:gd name="connsiteY3730" fmla="*/ 1087230 h 1324114"/>
                    <a:gd name="connsiteX3731" fmla="*/ 826412 w 855312"/>
                    <a:gd name="connsiteY3731" fmla="*/ 1087631 h 1324114"/>
                    <a:gd name="connsiteX3732" fmla="*/ 827602 w 855312"/>
                    <a:gd name="connsiteY3732" fmla="*/ 1087570 h 1324114"/>
                    <a:gd name="connsiteX3733" fmla="*/ 829484 w 855312"/>
                    <a:gd name="connsiteY3733" fmla="*/ 1087497 h 1324114"/>
                    <a:gd name="connsiteX3734" fmla="*/ 831269 w 855312"/>
                    <a:gd name="connsiteY3734" fmla="*/ 1087412 h 1324114"/>
                    <a:gd name="connsiteX3735" fmla="*/ 832726 w 855312"/>
                    <a:gd name="connsiteY3735" fmla="*/ 1086380 h 1324114"/>
                    <a:gd name="connsiteX3736" fmla="*/ 833831 w 855312"/>
                    <a:gd name="connsiteY3736" fmla="*/ 1085603 h 1324114"/>
                    <a:gd name="connsiteX3737" fmla="*/ 836296 w 855312"/>
                    <a:gd name="connsiteY3737" fmla="*/ 1083842 h 1324114"/>
                    <a:gd name="connsiteX3738" fmla="*/ 836381 w 855312"/>
                    <a:gd name="connsiteY3738" fmla="*/ 1080819 h 1324114"/>
                    <a:gd name="connsiteX3739" fmla="*/ 836430 w 855312"/>
                    <a:gd name="connsiteY3739" fmla="*/ 1078985 h 1324114"/>
                    <a:gd name="connsiteX3740" fmla="*/ 836466 w 855312"/>
                    <a:gd name="connsiteY3740" fmla="*/ 1077759 h 1324114"/>
                    <a:gd name="connsiteX3741" fmla="*/ 836029 w 855312"/>
                    <a:gd name="connsiteY3741" fmla="*/ 1076629 h 1324114"/>
                    <a:gd name="connsiteX3742" fmla="*/ 835118 w 855312"/>
                    <a:gd name="connsiteY3742" fmla="*/ 1074249 h 1324114"/>
                    <a:gd name="connsiteX3743" fmla="*/ 834851 w 855312"/>
                    <a:gd name="connsiteY3743" fmla="*/ 1073521 h 1324114"/>
                    <a:gd name="connsiteX3744" fmla="*/ 834402 w 855312"/>
                    <a:gd name="connsiteY3744" fmla="*/ 1072889 h 1324114"/>
                    <a:gd name="connsiteX3745" fmla="*/ 831646 w 855312"/>
                    <a:gd name="connsiteY3745" fmla="*/ 1069016 h 1324114"/>
                    <a:gd name="connsiteX3746" fmla="*/ 831051 w 855312"/>
                    <a:gd name="connsiteY3746" fmla="*/ 1068190 h 1324114"/>
                    <a:gd name="connsiteX3747" fmla="*/ 830213 w 855312"/>
                    <a:gd name="connsiteY3747" fmla="*/ 1067595 h 1324114"/>
                    <a:gd name="connsiteX3748" fmla="*/ 827833 w 855312"/>
                    <a:gd name="connsiteY3748" fmla="*/ 1065895 h 1324114"/>
                    <a:gd name="connsiteX3749" fmla="*/ 830116 w 855312"/>
                    <a:gd name="connsiteY3749" fmla="*/ 1063029 h 1324114"/>
                    <a:gd name="connsiteX3750" fmla="*/ 830322 w 855312"/>
                    <a:gd name="connsiteY3750" fmla="*/ 1062774 h 1324114"/>
                    <a:gd name="connsiteX3751" fmla="*/ 830504 w 855312"/>
                    <a:gd name="connsiteY3751" fmla="*/ 1062507 h 1324114"/>
                    <a:gd name="connsiteX3752" fmla="*/ 832520 w 855312"/>
                    <a:gd name="connsiteY3752" fmla="*/ 1059314 h 1324114"/>
                    <a:gd name="connsiteX3753" fmla="*/ 833164 w 855312"/>
                    <a:gd name="connsiteY3753" fmla="*/ 1058099 h 1324114"/>
                    <a:gd name="connsiteX3754" fmla="*/ 833406 w 855312"/>
                    <a:gd name="connsiteY3754" fmla="*/ 1057638 h 1324114"/>
                    <a:gd name="connsiteX3755" fmla="*/ 833564 w 855312"/>
                    <a:gd name="connsiteY3755" fmla="*/ 1057152 h 1324114"/>
                    <a:gd name="connsiteX3756" fmla="*/ 834026 w 855312"/>
                    <a:gd name="connsiteY3756" fmla="*/ 1055695 h 1324114"/>
                    <a:gd name="connsiteX3757" fmla="*/ 835216 w 855312"/>
                    <a:gd name="connsiteY3757" fmla="*/ 1051044 h 1324114"/>
                    <a:gd name="connsiteX3758" fmla="*/ 835386 w 855312"/>
                    <a:gd name="connsiteY3758" fmla="*/ 1050546 h 1324114"/>
                    <a:gd name="connsiteX3759" fmla="*/ 838349 w 855312"/>
                    <a:gd name="connsiteY3759" fmla="*/ 1049040 h 1324114"/>
                    <a:gd name="connsiteX3760" fmla="*/ 838931 w 855312"/>
                    <a:gd name="connsiteY3760" fmla="*/ 1048749 h 1324114"/>
                    <a:gd name="connsiteX3761" fmla="*/ 839441 w 855312"/>
                    <a:gd name="connsiteY3761" fmla="*/ 1048349 h 1324114"/>
                    <a:gd name="connsiteX3762" fmla="*/ 840631 w 855312"/>
                    <a:gd name="connsiteY3762" fmla="*/ 1047377 h 1324114"/>
                    <a:gd name="connsiteX3763" fmla="*/ 841056 w 855312"/>
                    <a:gd name="connsiteY3763" fmla="*/ 1047037 h 1324114"/>
                    <a:gd name="connsiteX3764" fmla="*/ 841409 w 855312"/>
                    <a:gd name="connsiteY3764" fmla="*/ 1046624 h 1324114"/>
                    <a:gd name="connsiteX3765" fmla="*/ 843084 w 855312"/>
                    <a:gd name="connsiteY3765" fmla="*/ 1044669 h 1324114"/>
                    <a:gd name="connsiteX3766" fmla="*/ 843740 w 855312"/>
                    <a:gd name="connsiteY3766" fmla="*/ 1043916 h 1324114"/>
                    <a:gd name="connsiteX3767" fmla="*/ 844116 w 855312"/>
                    <a:gd name="connsiteY3767" fmla="*/ 1042993 h 1324114"/>
                    <a:gd name="connsiteX3768" fmla="*/ 845039 w 855312"/>
                    <a:gd name="connsiteY3768" fmla="*/ 1040710 h 1324114"/>
                    <a:gd name="connsiteX3769" fmla="*/ 845294 w 855312"/>
                    <a:gd name="connsiteY3769" fmla="*/ 1040079 h 1324114"/>
                    <a:gd name="connsiteX3770" fmla="*/ 845404 w 855312"/>
                    <a:gd name="connsiteY3770" fmla="*/ 1039399 h 1324114"/>
                    <a:gd name="connsiteX3771" fmla="*/ 845853 w 855312"/>
                    <a:gd name="connsiteY3771" fmla="*/ 1036618 h 1324114"/>
                    <a:gd name="connsiteX3772" fmla="*/ 845901 w 855312"/>
                    <a:gd name="connsiteY3772" fmla="*/ 1036303 h 1324114"/>
                    <a:gd name="connsiteX3773" fmla="*/ 845914 w 855312"/>
                    <a:gd name="connsiteY3773" fmla="*/ 1035975 h 1324114"/>
                    <a:gd name="connsiteX3774" fmla="*/ 846108 w 855312"/>
                    <a:gd name="connsiteY3774" fmla="*/ 1032186 h 1324114"/>
                    <a:gd name="connsiteX3775" fmla="*/ 846241 w 855312"/>
                    <a:gd name="connsiteY3775" fmla="*/ 1031773 h 1324114"/>
                    <a:gd name="connsiteX3776" fmla="*/ 846654 w 855312"/>
                    <a:gd name="connsiteY3776" fmla="*/ 1031215 h 1324114"/>
                    <a:gd name="connsiteX3777" fmla="*/ 849399 w 855312"/>
                    <a:gd name="connsiteY3777" fmla="*/ 1028264 h 1324114"/>
                    <a:gd name="connsiteX3778" fmla="*/ 849787 w 855312"/>
                    <a:gd name="connsiteY3778" fmla="*/ 1027851 h 1324114"/>
                    <a:gd name="connsiteX3779" fmla="*/ 850079 w 855312"/>
                    <a:gd name="connsiteY3779" fmla="*/ 1027377 h 1324114"/>
                    <a:gd name="connsiteX3780" fmla="*/ 851354 w 855312"/>
                    <a:gd name="connsiteY3780" fmla="*/ 1025362 h 1324114"/>
                    <a:gd name="connsiteX3781" fmla="*/ 851669 w 855312"/>
                    <a:gd name="connsiteY3781" fmla="*/ 1024840 h 1324114"/>
                    <a:gd name="connsiteX3782" fmla="*/ 851888 w 855312"/>
                    <a:gd name="connsiteY3782" fmla="*/ 1024269 h 1324114"/>
                    <a:gd name="connsiteX3783" fmla="*/ 852629 w 855312"/>
                    <a:gd name="connsiteY3783" fmla="*/ 1022326 h 1324114"/>
                    <a:gd name="connsiteX3784" fmla="*/ 852774 w 855312"/>
                    <a:gd name="connsiteY3784" fmla="*/ 1021950 h 1324114"/>
                    <a:gd name="connsiteX3785" fmla="*/ 852872 w 855312"/>
                    <a:gd name="connsiteY3785" fmla="*/ 1021561 h 1324114"/>
                    <a:gd name="connsiteX3786" fmla="*/ 853770 w 855312"/>
                    <a:gd name="connsiteY3786" fmla="*/ 1017736 h 1324114"/>
                    <a:gd name="connsiteX3787" fmla="*/ 854013 w 855312"/>
                    <a:gd name="connsiteY3787" fmla="*/ 1017020 h 1324114"/>
                    <a:gd name="connsiteX3788" fmla="*/ 854159 w 855312"/>
                    <a:gd name="connsiteY3788" fmla="*/ 1016607 h 1324114"/>
                    <a:gd name="connsiteX3789" fmla="*/ 854244 w 855312"/>
                    <a:gd name="connsiteY3789" fmla="*/ 1016170 h 1324114"/>
                    <a:gd name="connsiteX3790" fmla="*/ 854462 w 855312"/>
                    <a:gd name="connsiteY3790" fmla="*/ 1015016 h 1324114"/>
                    <a:gd name="connsiteX3791" fmla="*/ 854535 w 855312"/>
                    <a:gd name="connsiteY3791" fmla="*/ 1014603 h 1324114"/>
                    <a:gd name="connsiteX3792" fmla="*/ 854559 w 855312"/>
                    <a:gd name="connsiteY3792" fmla="*/ 1014190 h 1324114"/>
                    <a:gd name="connsiteX3793" fmla="*/ 854620 w 855312"/>
                    <a:gd name="connsiteY3793" fmla="*/ 1013013 h 1324114"/>
                    <a:gd name="connsiteX3794" fmla="*/ 854620 w 855312"/>
                    <a:gd name="connsiteY3794" fmla="*/ 1011325 h 1324114"/>
                    <a:gd name="connsiteX3795" fmla="*/ 854657 w 855312"/>
                    <a:gd name="connsiteY3795" fmla="*/ 1010341 h 1324114"/>
                    <a:gd name="connsiteX3796" fmla="*/ 855118 w 855312"/>
                    <a:gd name="connsiteY3796" fmla="*/ 1007560 h 1324114"/>
                    <a:gd name="connsiteX3797" fmla="*/ 855166 w 855312"/>
                    <a:gd name="connsiteY3797" fmla="*/ 1007245 h 1324114"/>
                    <a:gd name="connsiteX3798" fmla="*/ 855179 w 855312"/>
                    <a:gd name="connsiteY3798" fmla="*/ 1006929 h 1324114"/>
                    <a:gd name="connsiteX3799" fmla="*/ 855288 w 855312"/>
                    <a:gd name="connsiteY3799" fmla="*/ 1005132 h 1324114"/>
                    <a:gd name="connsiteX3800" fmla="*/ 855312 w 855312"/>
                    <a:gd name="connsiteY3800" fmla="*/ 1004767 h 1324114"/>
                    <a:gd name="connsiteX3801" fmla="*/ 855288 w 855312"/>
                    <a:gd name="connsiteY3801" fmla="*/ 1004415 h 1324114"/>
                    <a:gd name="connsiteX3802" fmla="*/ 855179 w 855312"/>
                    <a:gd name="connsiteY3802" fmla="*/ 1002679 h 1324114"/>
                    <a:gd name="connsiteX3803" fmla="*/ 855142 w 855312"/>
                    <a:gd name="connsiteY3803" fmla="*/ 1002133 h 1324114"/>
                    <a:gd name="connsiteX3804" fmla="*/ 855009 w 855312"/>
                    <a:gd name="connsiteY3804" fmla="*/ 1001598 h 1324114"/>
                    <a:gd name="connsiteX3805" fmla="*/ 854486 w 855312"/>
                    <a:gd name="connsiteY3805" fmla="*/ 999473 h 1324114"/>
                    <a:gd name="connsiteX3806" fmla="*/ 854377 w 855312"/>
                    <a:gd name="connsiteY3806" fmla="*/ 999036 h 1324114"/>
                    <a:gd name="connsiteX3807" fmla="*/ 854207 w 855312"/>
                    <a:gd name="connsiteY3807" fmla="*/ 998623 h 1324114"/>
                    <a:gd name="connsiteX3808" fmla="*/ 853624 w 855312"/>
                    <a:gd name="connsiteY3808" fmla="*/ 997190 h 1324114"/>
                    <a:gd name="connsiteX3809" fmla="*/ 853381 w 855312"/>
                    <a:gd name="connsiteY3809" fmla="*/ 996620 h 1324114"/>
                    <a:gd name="connsiteX3810" fmla="*/ 853041 w 855312"/>
                    <a:gd name="connsiteY3810" fmla="*/ 996110 h 1324114"/>
                    <a:gd name="connsiteX3811" fmla="*/ 852361 w 855312"/>
                    <a:gd name="connsiteY3811" fmla="*/ 995102 h 1324114"/>
                    <a:gd name="connsiteX3812" fmla="*/ 851609 w 855312"/>
                    <a:gd name="connsiteY3812" fmla="*/ 993972 h 1324114"/>
                    <a:gd name="connsiteX3813" fmla="*/ 850443 w 855312"/>
                    <a:gd name="connsiteY3813" fmla="*/ 993268 h 1324114"/>
                    <a:gd name="connsiteX3814" fmla="*/ 849459 w 855312"/>
                    <a:gd name="connsiteY3814" fmla="*/ 992673 h 1324114"/>
                    <a:gd name="connsiteX3815" fmla="*/ 845221 w 855312"/>
                    <a:gd name="connsiteY3815" fmla="*/ 990123 h 1324114"/>
                    <a:gd name="connsiteX3816" fmla="*/ 841870 w 855312"/>
                    <a:gd name="connsiteY3816" fmla="*/ 993754 h 1324114"/>
                    <a:gd name="connsiteX3817" fmla="*/ 839891 w 855312"/>
                    <a:gd name="connsiteY3817" fmla="*/ 995903 h 1324114"/>
                    <a:gd name="connsiteX3818" fmla="*/ 833564 w 855312"/>
                    <a:gd name="connsiteY3818" fmla="*/ 990925 h 1324114"/>
                    <a:gd name="connsiteX3819" fmla="*/ 832836 w 855312"/>
                    <a:gd name="connsiteY3819" fmla="*/ 990354 h 1324114"/>
                    <a:gd name="connsiteX3820" fmla="*/ 831973 w 855312"/>
                    <a:gd name="connsiteY3820" fmla="*/ 990026 h 1324114"/>
                    <a:gd name="connsiteX3821" fmla="*/ 830759 w 855312"/>
                    <a:gd name="connsiteY3821" fmla="*/ 989565 h 1324114"/>
                    <a:gd name="connsiteX3822" fmla="*/ 829715 w 855312"/>
                    <a:gd name="connsiteY3822" fmla="*/ 989176 h 1324114"/>
                    <a:gd name="connsiteX3823" fmla="*/ 828598 w 855312"/>
                    <a:gd name="connsiteY3823" fmla="*/ 989176 h 1324114"/>
                    <a:gd name="connsiteX3824" fmla="*/ 827347 w 855312"/>
                    <a:gd name="connsiteY3824" fmla="*/ 989176 h 1324114"/>
                    <a:gd name="connsiteX3825" fmla="*/ 826898 w 855312"/>
                    <a:gd name="connsiteY3825" fmla="*/ 989176 h 1324114"/>
                    <a:gd name="connsiteX3826" fmla="*/ 826448 w 855312"/>
                    <a:gd name="connsiteY3826" fmla="*/ 989249 h 1324114"/>
                    <a:gd name="connsiteX3827" fmla="*/ 826193 w 855312"/>
                    <a:gd name="connsiteY3827" fmla="*/ 989285 h 1324114"/>
                    <a:gd name="connsiteX3828" fmla="*/ 825052 w 855312"/>
                    <a:gd name="connsiteY3828" fmla="*/ 988472 h 1324114"/>
                    <a:gd name="connsiteX3829" fmla="*/ 824542 w 855312"/>
                    <a:gd name="connsiteY3829" fmla="*/ 988119 h 1324114"/>
                    <a:gd name="connsiteX3830" fmla="*/ 823971 w 855312"/>
                    <a:gd name="connsiteY3830" fmla="*/ 987864 h 1324114"/>
                    <a:gd name="connsiteX3831" fmla="*/ 823000 w 855312"/>
                    <a:gd name="connsiteY3831" fmla="*/ 987439 h 1324114"/>
                    <a:gd name="connsiteX3832" fmla="*/ 821433 w 855312"/>
                    <a:gd name="connsiteY3832" fmla="*/ 986747 h 1324114"/>
                    <a:gd name="connsiteX3833" fmla="*/ 819733 w 855312"/>
                    <a:gd name="connsiteY3833" fmla="*/ 986990 h 1324114"/>
                    <a:gd name="connsiteX3834" fmla="*/ 818531 w 855312"/>
                    <a:gd name="connsiteY3834" fmla="*/ 987160 h 1324114"/>
                    <a:gd name="connsiteX3835" fmla="*/ 818203 w 855312"/>
                    <a:gd name="connsiteY3835" fmla="*/ 987209 h 1324114"/>
                    <a:gd name="connsiteX3836" fmla="*/ 818045 w 855312"/>
                    <a:gd name="connsiteY3836" fmla="*/ 986845 h 1324114"/>
                    <a:gd name="connsiteX3837" fmla="*/ 817730 w 855312"/>
                    <a:gd name="connsiteY3837" fmla="*/ 986116 h 1324114"/>
                    <a:gd name="connsiteX3838" fmla="*/ 817232 w 855312"/>
                    <a:gd name="connsiteY3838" fmla="*/ 985485 h 1324114"/>
                    <a:gd name="connsiteX3839" fmla="*/ 815799 w 855312"/>
                    <a:gd name="connsiteY3839" fmla="*/ 983663 h 1324114"/>
                    <a:gd name="connsiteX3840" fmla="*/ 815532 w 855312"/>
                    <a:gd name="connsiteY3840" fmla="*/ 983323 h 1324114"/>
                    <a:gd name="connsiteX3841" fmla="*/ 815228 w 855312"/>
                    <a:gd name="connsiteY3841" fmla="*/ 983031 h 1324114"/>
                    <a:gd name="connsiteX3842" fmla="*/ 814463 w 855312"/>
                    <a:gd name="connsiteY3842" fmla="*/ 982291 h 1324114"/>
                    <a:gd name="connsiteX3843" fmla="*/ 814512 w 855312"/>
                    <a:gd name="connsiteY3843" fmla="*/ 982230 h 1324114"/>
                    <a:gd name="connsiteX3844" fmla="*/ 814937 w 855312"/>
                    <a:gd name="connsiteY3844" fmla="*/ 981696 h 1324114"/>
                    <a:gd name="connsiteX3845" fmla="*/ 815228 w 855312"/>
                    <a:gd name="connsiteY3845" fmla="*/ 981064 h 1324114"/>
                    <a:gd name="connsiteX3846" fmla="*/ 815629 w 855312"/>
                    <a:gd name="connsiteY3846" fmla="*/ 980202 h 1324114"/>
                    <a:gd name="connsiteX3847" fmla="*/ 815981 w 855312"/>
                    <a:gd name="connsiteY3847" fmla="*/ 979449 h 1324114"/>
                    <a:gd name="connsiteX3848" fmla="*/ 816115 w 855312"/>
                    <a:gd name="connsiteY3848" fmla="*/ 978636 h 1324114"/>
                    <a:gd name="connsiteX3849" fmla="*/ 816285 w 855312"/>
                    <a:gd name="connsiteY3849" fmla="*/ 977640 h 1324114"/>
                    <a:gd name="connsiteX3850" fmla="*/ 816394 w 855312"/>
                    <a:gd name="connsiteY3850" fmla="*/ 976960 h 1324114"/>
                    <a:gd name="connsiteX3851" fmla="*/ 816358 w 855312"/>
                    <a:gd name="connsiteY3851" fmla="*/ 976256 h 1324114"/>
                    <a:gd name="connsiteX3852" fmla="*/ 815860 w 855312"/>
                    <a:gd name="connsiteY3852" fmla="*/ 968375 h 1324114"/>
                    <a:gd name="connsiteX3853" fmla="*/ 816005 w 855312"/>
                    <a:gd name="connsiteY3853" fmla="*/ 966979 h 1324114"/>
                    <a:gd name="connsiteX3854" fmla="*/ 816248 w 855312"/>
                    <a:gd name="connsiteY3854" fmla="*/ 965862 h 1324114"/>
                    <a:gd name="connsiteX3855" fmla="*/ 816722 w 855312"/>
                    <a:gd name="connsiteY3855" fmla="*/ 964623 h 1324114"/>
                    <a:gd name="connsiteX3856" fmla="*/ 816928 w 855312"/>
                    <a:gd name="connsiteY3856" fmla="*/ 964064 h 1324114"/>
                    <a:gd name="connsiteX3857" fmla="*/ 817025 w 855312"/>
                    <a:gd name="connsiteY3857" fmla="*/ 963481 h 1324114"/>
                    <a:gd name="connsiteX3858" fmla="*/ 817365 w 855312"/>
                    <a:gd name="connsiteY3858" fmla="*/ 961441 h 1324114"/>
                    <a:gd name="connsiteX3859" fmla="*/ 817511 w 855312"/>
                    <a:gd name="connsiteY3859" fmla="*/ 960567 h 1324114"/>
                    <a:gd name="connsiteX3860" fmla="*/ 817402 w 855312"/>
                    <a:gd name="connsiteY3860" fmla="*/ 959681 h 1324114"/>
                    <a:gd name="connsiteX3861" fmla="*/ 816613 w 855312"/>
                    <a:gd name="connsiteY3861" fmla="*/ 954350 h 1324114"/>
                    <a:gd name="connsiteX3862" fmla="*/ 816685 w 855312"/>
                    <a:gd name="connsiteY3862" fmla="*/ 953014 h 1324114"/>
                    <a:gd name="connsiteX3863" fmla="*/ 816916 w 855312"/>
                    <a:gd name="connsiteY3863" fmla="*/ 951764 h 1324114"/>
                    <a:gd name="connsiteX3864" fmla="*/ 818082 w 855312"/>
                    <a:gd name="connsiteY3864" fmla="*/ 948521 h 1324114"/>
                    <a:gd name="connsiteX3865" fmla="*/ 818191 w 855312"/>
                    <a:gd name="connsiteY3865" fmla="*/ 948218 h 1324114"/>
                    <a:gd name="connsiteX3866" fmla="*/ 818264 w 855312"/>
                    <a:gd name="connsiteY3866" fmla="*/ 947914 h 1324114"/>
                    <a:gd name="connsiteX3867" fmla="*/ 818653 w 855312"/>
                    <a:gd name="connsiteY3867" fmla="*/ 946324 h 1324114"/>
                    <a:gd name="connsiteX3868" fmla="*/ 819005 w 855312"/>
                    <a:gd name="connsiteY3868" fmla="*/ 944927 h 1324114"/>
                    <a:gd name="connsiteX3869" fmla="*/ 818677 w 855312"/>
                    <a:gd name="connsiteY3869" fmla="*/ 943518 h 1324114"/>
                    <a:gd name="connsiteX3870" fmla="*/ 818385 w 855312"/>
                    <a:gd name="connsiteY3870" fmla="*/ 942256 h 1324114"/>
                    <a:gd name="connsiteX3871" fmla="*/ 818021 w 855312"/>
                    <a:gd name="connsiteY3871" fmla="*/ 940677 h 1324114"/>
                    <a:gd name="connsiteX3872" fmla="*/ 816916 w 855312"/>
                    <a:gd name="connsiteY3872" fmla="*/ 939487 h 1324114"/>
                    <a:gd name="connsiteX3873" fmla="*/ 816066 w 855312"/>
                    <a:gd name="connsiteY3873" fmla="*/ 938576 h 1324114"/>
                    <a:gd name="connsiteX3874" fmla="*/ 814645 w 855312"/>
                    <a:gd name="connsiteY3874" fmla="*/ 937034 h 1324114"/>
                    <a:gd name="connsiteX3875" fmla="*/ 812581 w 855312"/>
                    <a:gd name="connsiteY3875" fmla="*/ 936706 h 1324114"/>
                    <a:gd name="connsiteX3876" fmla="*/ 810736 w 855312"/>
                    <a:gd name="connsiteY3876" fmla="*/ 936415 h 1324114"/>
                    <a:gd name="connsiteX3877" fmla="*/ 809946 w 855312"/>
                    <a:gd name="connsiteY3877" fmla="*/ 936293 h 1324114"/>
                    <a:gd name="connsiteX3878" fmla="*/ 809157 w 855312"/>
                    <a:gd name="connsiteY3878" fmla="*/ 936378 h 1324114"/>
                    <a:gd name="connsiteX3879" fmla="*/ 807676 w 855312"/>
                    <a:gd name="connsiteY3879" fmla="*/ 936536 h 1324114"/>
                    <a:gd name="connsiteX3880" fmla="*/ 807165 w 855312"/>
                    <a:gd name="connsiteY3880" fmla="*/ 936585 h 1324114"/>
                    <a:gd name="connsiteX3881" fmla="*/ 806680 w 855312"/>
                    <a:gd name="connsiteY3881" fmla="*/ 936731 h 1324114"/>
                    <a:gd name="connsiteX3882" fmla="*/ 805138 w 855312"/>
                    <a:gd name="connsiteY3882" fmla="*/ 937156 h 1324114"/>
                    <a:gd name="connsiteX3883" fmla="*/ 803984 w 855312"/>
                    <a:gd name="connsiteY3883" fmla="*/ 936427 h 1324114"/>
                    <a:gd name="connsiteX3884" fmla="*/ 803547 w 855312"/>
                    <a:gd name="connsiteY3884" fmla="*/ 936160 h 1324114"/>
                    <a:gd name="connsiteX3885" fmla="*/ 803073 w 855312"/>
                    <a:gd name="connsiteY3885" fmla="*/ 935966 h 1324114"/>
                    <a:gd name="connsiteX3886" fmla="*/ 801883 w 855312"/>
                    <a:gd name="connsiteY3886" fmla="*/ 935480 h 1324114"/>
                    <a:gd name="connsiteX3887" fmla="*/ 800778 w 855312"/>
                    <a:gd name="connsiteY3887" fmla="*/ 935031 h 1324114"/>
                    <a:gd name="connsiteX3888" fmla="*/ 799588 w 855312"/>
                    <a:gd name="connsiteY3888" fmla="*/ 935031 h 1324114"/>
                    <a:gd name="connsiteX3889" fmla="*/ 798435 w 855312"/>
                    <a:gd name="connsiteY3889" fmla="*/ 935031 h 1324114"/>
                    <a:gd name="connsiteX3890" fmla="*/ 797148 w 855312"/>
                    <a:gd name="connsiteY3890" fmla="*/ 935031 h 1324114"/>
                    <a:gd name="connsiteX3891" fmla="*/ 795970 w 855312"/>
                    <a:gd name="connsiteY3891" fmla="*/ 935553 h 1324114"/>
                    <a:gd name="connsiteX3892" fmla="*/ 794877 w 855312"/>
                    <a:gd name="connsiteY3892" fmla="*/ 936038 h 1324114"/>
                    <a:gd name="connsiteX3893" fmla="*/ 794440 w 855312"/>
                    <a:gd name="connsiteY3893" fmla="*/ 936245 h 1324114"/>
                    <a:gd name="connsiteX3894" fmla="*/ 794039 w 855312"/>
                    <a:gd name="connsiteY3894" fmla="*/ 936500 h 1324114"/>
                    <a:gd name="connsiteX3895" fmla="*/ 792230 w 855312"/>
                    <a:gd name="connsiteY3895" fmla="*/ 937690 h 1324114"/>
                    <a:gd name="connsiteX3896" fmla="*/ 791829 w 855312"/>
                    <a:gd name="connsiteY3896" fmla="*/ 937726 h 1324114"/>
                    <a:gd name="connsiteX3897" fmla="*/ 790809 w 855312"/>
                    <a:gd name="connsiteY3897" fmla="*/ 937665 h 1324114"/>
                    <a:gd name="connsiteX3898" fmla="*/ 787542 w 855312"/>
                    <a:gd name="connsiteY3898" fmla="*/ 937107 h 1324114"/>
                    <a:gd name="connsiteX3899" fmla="*/ 784482 w 855312"/>
                    <a:gd name="connsiteY3899" fmla="*/ 936014 h 1324114"/>
                    <a:gd name="connsiteX3900" fmla="*/ 784191 w 855312"/>
                    <a:gd name="connsiteY3900" fmla="*/ 935905 h 1324114"/>
                    <a:gd name="connsiteX3901" fmla="*/ 783887 w 855312"/>
                    <a:gd name="connsiteY3901" fmla="*/ 935832 h 1324114"/>
                    <a:gd name="connsiteX3902" fmla="*/ 782042 w 855312"/>
                    <a:gd name="connsiteY3902" fmla="*/ 935383 h 1324114"/>
                    <a:gd name="connsiteX3903" fmla="*/ 781738 w 855312"/>
                    <a:gd name="connsiteY3903" fmla="*/ 935297 h 1324114"/>
                    <a:gd name="connsiteX3904" fmla="*/ 781422 w 855312"/>
                    <a:gd name="connsiteY3904" fmla="*/ 935261 h 1324114"/>
                    <a:gd name="connsiteX3905" fmla="*/ 779528 w 855312"/>
                    <a:gd name="connsiteY3905" fmla="*/ 935006 h 1324114"/>
                    <a:gd name="connsiteX3906" fmla="*/ 778435 w 855312"/>
                    <a:gd name="connsiteY3906" fmla="*/ 933926 h 1324114"/>
                    <a:gd name="connsiteX3907" fmla="*/ 772279 w 855312"/>
                    <a:gd name="connsiteY3907" fmla="*/ 926785 h 1324114"/>
                    <a:gd name="connsiteX3908" fmla="*/ 771769 w 855312"/>
                    <a:gd name="connsiteY3908" fmla="*/ 926178 h 1324114"/>
                    <a:gd name="connsiteX3909" fmla="*/ 771113 w 855312"/>
                    <a:gd name="connsiteY3909" fmla="*/ 925741 h 1324114"/>
                    <a:gd name="connsiteX3910" fmla="*/ 769741 w 855312"/>
                    <a:gd name="connsiteY3910" fmla="*/ 924806 h 1324114"/>
                    <a:gd name="connsiteX3911" fmla="*/ 769194 w 855312"/>
                    <a:gd name="connsiteY3911" fmla="*/ 924430 h 1324114"/>
                    <a:gd name="connsiteX3912" fmla="*/ 768575 w 855312"/>
                    <a:gd name="connsiteY3912" fmla="*/ 924187 h 1324114"/>
                    <a:gd name="connsiteX3913" fmla="*/ 768187 w 855312"/>
                    <a:gd name="connsiteY3913" fmla="*/ 924017 h 1324114"/>
                    <a:gd name="connsiteX3914" fmla="*/ 768320 w 855312"/>
                    <a:gd name="connsiteY3914" fmla="*/ 922086 h 1324114"/>
                    <a:gd name="connsiteX3915" fmla="*/ 768417 w 855312"/>
                    <a:gd name="connsiteY3915" fmla="*/ 920653 h 1324114"/>
                    <a:gd name="connsiteX3916" fmla="*/ 768502 w 855312"/>
                    <a:gd name="connsiteY3916" fmla="*/ 919366 h 1324114"/>
                    <a:gd name="connsiteX3917" fmla="*/ 768053 w 855312"/>
                    <a:gd name="connsiteY3917" fmla="*/ 918152 h 1324114"/>
                    <a:gd name="connsiteX3918" fmla="*/ 767434 w 855312"/>
                    <a:gd name="connsiteY3918" fmla="*/ 916476 h 1324114"/>
                    <a:gd name="connsiteX3919" fmla="*/ 767179 w 855312"/>
                    <a:gd name="connsiteY3919" fmla="*/ 915760 h 1324114"/>
                    <a:gd name="connsiteX3920" fmla="*/ 766754 w 855312"/>
                    <a:gd name="connsiteY3920" fmla="*/ 915141 h 1324114"/>
                    <a:gd name="connsiteX3921" fmla="*/ 764738 w 855312"/>
                    <a:gd name="connsiteY3921" fmla="*/ 912202 h 1324114"/>
                    <a:gd name="connsiteX3922" fmla="*/ 764471 w 855312"/>
                    <a:gd name="connsiteY3922" fmla="*/ 911680 h 1324114"/>
                    <a:gd name="connsiteX3923" fmla="*/ 766013 w 855312"/>
                    <a:gd name="connsiteY3923" fmla="*/ 908620 h 1324114"/>
                    <a:gd name="connsiteX3924" fmla="*/ 766462 w 855312"/>
                    <a:gd name="connsiteY3924" fmla="*/ 907733 h 1324114"/>
                    <a:gd name="connsiteX3925" fmla="*/ 766608 w 855312"/>
                    <a:gd name="connsiteY3925" fmla="*/ 906750 h 1324114"/>
                    <a:gd name="connsiteX3926" fmla="*/ 766948 w 855312"/>
                    <a:gd name="connsiteY3926" fmla="*/ 904406 h 1324114"/>
                    <a:gd name="connsiteX3927" fmla="*/ 767033 w 855312"/>
                    <a:gd name="connsiteY3927" fmla="*/ 903775 h 1324114"/>
                    <a:gd name="connsiteX3928" fmla="*/ 766997 w 855312"/>
                    <a:gd name="connsiteY3928" fmla="*/ 903143 h 1324114"/>
                    <a:gd name="connsiteX3929" fmla="*/ 766839 w 855312"/>
                    <a:gd name="connsiteY3929" fmla="*/ 900678 h 1324114"/>
                    <a:gd name="connsiteX3930" fmla="*/ 766802 w 855312"/>
                    <a:gd name="connsiteY3930" fmla="*/ 900108 h 1324114"/>
                    <a:gd name="connsiteX3931" fmla="*/ 766657 w 855312"/>
                    <a:gd name="connsiteY3931" fmla="*/ 899549 h 1324114"/>
                    <a:gd name="connsiteX3932" fmla="*/ 765612 w 855312"/>
                    <a:gd name="connsiteY3932" fmla="*/ 895505 h 1324114"/>
                    <a:gd name="connsiteX3933" fmla="*/ 765491 w 855312"/>
                    <a:gd name="connsiteY3933" fmla="*/ 895056 h 1324114"/>
                    <a:gd name="connsiteX3934" fmla="*/ 765309 w 855312"/>
                    <a:gd name="connsiteY3934" fmla="*/ 894643 h 1324114"/>
                    <a:gd name="connsiteX3935" fmla="*/ 763123 w 855312"/>
                    <a:gd name="connsiteY3935" fmla="*/ 889531 h 1324114"/>
                    <a:gd name="connsiteX3936" fmla="*/ 762358 w 855312"/>
                    <a:gd name="connsiteY3936" fmla="*/ 887721 h 1324114"/>
                    <a:gd name="connsiteX3937" fmla="*/ 760670 w 855312"/>
                    <a:gd name="connsiteY3937" fmla="*/ 886714 h 1324114"/>
                    <a:gd name="connsiteX3938" fmla="*/ 751830 w 855312"/>
                    <a:gd name="connsiteY3938" fmla="*/ 881395 h 1324114"/>
                    <a:gd name="connsiteX3939" fmla="*/ 748746 w 855312"/>
                    <a:gd name="connsiteY3939" fmla="*/ 879550 h 1324114"/>
                    <a:gd name="connsiteX3940" fmla="*/ 745637 w 855312"/>
                    <a:gd name="connsiteY3940" fmla="*/ 881359 h 1324114"/>
                    <a:gd name="connsiteX3941" fmla="*/ 741606 w 855312"/>
                    <a:gd name="connsiteY3941" fmla="*/ 883727 h 1324114"/>
                    <a:gd name="connsiteX3942" fmla="*/ 741278 w 855312"/>
                    <a:gd name="connsiteY3942" fmla="*/ 883605 h 1324114"/>
                    <a:gd name="connsiteX3943" fmla="*/ 740610 w 855312"/>
                    <a:gd name="connsiteY3943" fmla="*/ 883374 h 1324114"/>
                    <a:gd name="connsiteX3944" fmla="*/ 739906 w 855312"/>
                    <a:gd name="connsiteY3944" fmla="*/ 883302 h 1324114"/>
                    <a:gd name="connsiteX3945" fmla="*/ 737890 w 855312"/>
                    <a:gd name="connsiteY3945" fmla="*/ 883095 h 1324114"/>
                    <a:gd name="connsiteX3946" fmla="*/ 736931 w 855312"/>
                    <a:gd name="connsiteY3946" fmla="*/ 882986 h 1324114"/>
                    <a:gd name="connsiteX3947" fmla="*/ 736906 w 855312"/>
                    <a:gd name="connsiteY3947" fmla="*/ 882998 h 1324114"/>
                    <a:gd name="connsiteX3948" fmla="*/ 736979 w 855312"/>
                    <a:gd name="connsiteY3948" fmla="*/ 882816 h 1324114"/>
                    <a:gd name="connsiteX3949" fmla="*/ 737174 w 855312"/>
                    <a:gd name="connsiteY3949" fmla="*/ 882403 h 1324114"/>
                    <a:gd name="connsiteX3950" fmla="*/ 737295 w 855312"/>
                    <a:gd name="connsiteY3950" fmla="*/ 881954 h 1324114"/>
                    <a:gd name="connsiteX3951" fmla="*/ 737465 w 855312"/>
                    <a:gd name="connsiteY3951" fmla="*/ 881310 h 1324114"/>
                    <a:gd name="connsiteX3952" fmla="*/ 737635 w 855312"/>
                    <a:gd name="connsiteY3952" fmla="*/ 880667 h 1324114"/>
                    <a:gd name="connsiteX3953" fmla="*/ 737659 w 855312"/>
                    <a:gd name="connsiteY3953" fmla="*/ 879999 h 1324114"/>
                    <a:gd name="connsiteX3954" fmla="*/ 737890 w 855312"/>
                    <a:gd name="connsiteY3954" fmla="*/ 874947 h 1324114"/>
                    <a:gd name="connsiteX3955" fmla="*/ 737914 w 855312"/>
                    <a:gd name="connsiteY3955" fmla="*/ 874352 h 1324114"/>
                    <a:gd name="connsiteX3956" fmla="*/ 737829 w 855312"/>
                    <a:gd name="connsiteY3956" fmla="*/ 873769 h 1324114"/>
                    <a:gd name="connsiteX3957" fmla="*/ 737598 w 855312"/>
                    <a:gd name="connsiteY3957" fmla="*/ 872227 h 1324114"/>
                    <a:gd name="connsiteX3958" fmla="*/ 737526 w 855312"/>
                    <a:gd name="connsiteY3958" fmla="*/ 871754 h 1324114"/>
                    <a:gd name="connsiteX3959" fmla="*/ 737380 w 855312"/>
                    <a:gd name="connsiteY3959" fmla="*/ 871292 h 1324114"/>
                    <a:gd name="connsiteX3960" fmla="*/ 737028 w 855312"/>
                    <a:gd name="connsiteY3960" fmla="*/ 870187 h 1324114"/>
                    <a:gd name="connsiteX3961" fmla="*/ 736615 w 855312"/>
                    <a:gd name="connsiteY3961" fmla="*/ 868900 h 1324114"/>
                    <a:gd name="connsiteX3962" fmla="*/ 735692 w 855312"/>
                    <a:gd name="connsiteY3962" fmla="*/ 867904 h 1324114"/>
                    <a:gd name="connsiteX3963" fmla="*/ 735243 w 855312"/>
                    <a:gd name="connsiteY3963" fmla="*/ 867419 h 1324114"/>
                    <a:gd name="connsiteX3964" fmla="*/ 733640 w 855312"/>
                    <a:gd name="connsiteY3964" fmla="*/ 865682 h 1324114"/>
                    <a:gd name="connsiteX3965" fmla="*/ 731296 w 855312"/>
                    <a:gd name="connsiteY3965" fmla="*/ 865488 h 1324114"/>
                    <a:gd name="connsiteX3966" fmla="*/ 730313 w 855312"/>
                    <a:gd name="connsiteY3966" fmla="*/ 865403 h 1324114"/>
                    <a:gd name="connsiteX3967" fmla="*/ 728953 w 855312"/>
                    <a:gd name="connsiteY3967" fmla="*/ 865281 h 1324114"/>
                    <a:gd name="connsiteX3968" fmla="*/ 727678 w 855312"/>
                    <a:gd name="connsiteY3968" fmla="*/ 865755 h 1324114"/>
                    <a:gd name="connsiteX3969" fmla="*/ 726597 w 855312"/>
                    <a:gd name="connsiteY3969" fmla="*/ 866156 h 1324114"/>
                    <a:gd name="connsiteX3970" fmla="*/ 725990 w 855312"/>
                    <a:gd name="connsiteY3970" fmla="*/ 866386 h 1324114"/>
                    <a:gd name="connsiteX3971" fmla="*/ 725456 w 855312"/>
                    <a:gd name="connsiteY3971" fmla="*/ 866727 h 1324114"/>
                    <a:gd name="connsiteX3972" fmla="*/ 723209 w 855312"/>
                    <a:gd name="connsiteY3972" fmla="*/ 868159 h 1324114"/>
                    <a:gd name="connsiteX3973" fmla="*/ 722687 w 855312"/>
                    <a:gd name="connsiteY3973" fmla="*/ 868499 h 1324114"/>
                    <a:gd name="connsiteX3974" fmla="*/ 722238 w 855312"/>
                    <a:gd name="connsiteY3974" fmla="*/ 868936 h 1324114"/>
                    <a:gd name="connsiteX3975" fmla="*/ 721206 w 855312"/>
                    <a:gd name="connsiteY3975" fmla="*/ 869944 h 1324114"/>
                    <a:gd name="connsiteX3976" fmla="*/ 720756 w 855312"/>
                    <a:gd name="connsiteY3976" fmla="*/ 870382 h 1324114"/>
                    <a:gd name="connsiteX3977" fmla="*/ 720404 w 855312"/>
                    <a:gd name="connsiteY3977" fmla="*/ 870892 h 1324114"/>
                    <a:gd name="connsiteX3978" fmla="*/ 719481 w 855312"/>
                    <a:gd name="connsiteY3978" fmla="*/ 872264 h 1324114"/>
                    <a:gd name="connsiteX3979" fmla="*/ 719069 w 855312"/>
                    <a:gd name="connsiteY3979" fmla="*/ 872895 h 1324114"/>
                    <a:gd name="connsiteX3980" fmla="*/ 718826 w 855312"/>
                    <a:gd name="connsiteY3980" fmla="*/ 873563 h 1324114"/>
                    <a:gd name="connsiteX3981" fmla="*/ 718546 w 855312"/>
                    <a:gd name="connsiteY3981" fmla="*/ 873308 h 1324114"/>
                    <a:gd name="connsiteX3982" fmla="*/ 718206 w 855312"/>
                    <a:gd name="connsiteY3982" fmla="*/ 873005 h 1324114"/>
                    <a:gd name="connsiteX3983" fmla="*/ 717830 w 855312"/>
                    <a:gd name="connsiteY3983" fmla="*/ 872749 h 1324114"/>
                    <a:gd name="connsiteX3984" fmla="*/ 716907 w 855312"/>
                    <a:gd name="connsiteY3984" fmla="*/ 872118 h 1324114"/>
                    <a:gd name="connsiteX3985" fmla="*/ 715826 w 855312"/>
                    <a:gd name="connsiteY3985" fmla="*/ 871365 h 1324114"/>
                    <a:gd name="connsiteX3986" fmla="*/ 714527 w 855312"/>
                    <a:gd name="connsiteY3986" fmla="*/ 871134 h 1324114"/>
                    <a:gd name="connsiteX3987" fmla="*/ 713276 w 855312"/>
                    <a:gd name="connsiteY3987" fmla="*/ 870916 h 1324114"/>
                    <a:gd name="connsiteX3988" fmla="*/ 712803 w 855312"/>
                    <a:gd name="connsiteY3988" fmla="*/ 870843 h 1324114"/>
                    <a:gd name="connsiteX3989" fmla="*/ 712317 w 855312"/>
                    <a:gd name="connsiteY3989" fmla="*/ 870831 h 1324114"/>
                    <a:gd name="connsiteX3990" fmla="*/ 709281 w 855312"/>
                    <a:gd name="connsiteY3990" fmla="*/ 870794 h 1324114"/>
                    <a:gd name="connsiteX3991" fmla="*/ 707010 w 855312"/>
                    <a:gd name="connsiteY3991" fmla="*/ 870005 h 1324114"/>
                    <a:gd name="connsiteX3992" fmla="*/ 706197 w 855312"/>
                    <a:gd name="connsiteY3992" fmla="*/ 869726 h 1324114"/>
                    <a:gd name="connsiteX3993" fmla="*/ 705335 w 855312"/>
                    <a:gd name="connsiteY3993" fmla="*/ 869677 h 1324114"/>
                    <a:gd name="connsiteX3994" fmla="*/ 703853 w 855312"/>
                    <a:gd name="connsiteY3994" fmla="*/ 869592 h 1324114"/>
                    <a:gd name="connsiteX3995" fmla="*/ 702117 w 855312"/>
                    <a:gd name="connsiteY3995" fmla="*/ 869495 h 1324114"/>
                    <a:gd name="connsiteX3996" fmla="*/ 700599 w 855312"/>
                    <a:gd name="connsiteY3996" fmla="*/ 870321 h 1324114"/>
                    <a:gd name="connsiteX3997" fmla="*/ 698875 w 855312"/>
                    <a:gd name="connsiteY3997" fmla="*/ 871268 h 1324114"/>
                    <a:gd name="connsiteX3998" fmla="*/ 698025 w 855312"/>
                    <a:gd name="connsiteY3998" fmla="*/ 871742 h 1324114"/>
                    <a:gd name="connsiteX3999" fmla="*/ 697357 w 855312"/>
                    <a:gd name="connsiteY3999" fmla="*/ 872458 h 1324114"/>
                    <a:gd name="connsiteX4000" fmla="*/ 696373 w 855312"/>
                    <a:gd name="connsiteY4000" fmla="*/ 873514 h 1324114"/>
                    <a:gd name="connsiteX4001" fmla="*/ 695900 w 855312"/>
                    <a:gd name="connsiteY4001" fmla="*/ 874024 h 1324114"/>
                    <a:gd name="connsiteX4002" fmla="*/ 695548 w 855312"/>
                    <a:gd name="connsiteY4002" fmla="*/ 874632 h 1324114"/>
                    <a:gd name="connsiteX4003" fmla="*/ 694807 w 855312"/>
                    <a:gd name="connsiteY4003" fmla="*/ 875919 h 1324114"/>
                    <a:gd name="connsiteX4004" fmla="*/ 694358 w 855312"/>
                    <a:gd name="connsiteY4004" fmla="*/ 876696 h 1324114"/>
                    <a:gd name="connsiteX4005" fmla="*/ 694151 w 855312"/>
                    <a:gd name="connsiteY4005" fmla="*/ 877582 h 1324114"/>
                    <a:gd name="connsiteX4006" fmla="*/ 693860 w 855312"/>
                    <a:gd name="connsiteY4006" fmla="*/ 878845 h 1324114"/>
                    <a:gd name="connsiteX4007" fmla="*/ 693617 w 855312"/>
                    <a:gd name="connsiteY4007" fmla="*/ 879877 h 1324114"/>
                    <a:gd name="connsiteX4008" fmla="*/ 693738 w 855312"/>
                    <a:gd name="connsiteY4008" fmla="*/ 880934 h 1324114"/>
                    <a:gd name="connsiteX4009" fmla="*/ 693920 w 855312"/>
                    <a:gd name="connsiteY4009" fmla="*/ 882342 h 1324114"/>
                    <a:gd name="connsiteX4010" fmla="*/ 694030 w 855312"/>
                    <a:gd name="connsiteY4010" fmla="*/ 883302 h 1324114"/>
                    <a:gd name="connsiteX4011" fmla="*/ 694443 w 855312"/>
                    <a:gd name="connsiteY4011" fmla="*/ 884164 h 1324114"/>
                    <a:gd name="connsiteX4012" fmla="*/ 695086 w 855312"/>
                    <a:gd name="connsiteY4012" fmla="*/ 885536 h 1324114"/>
                    <a:gd name="connsiteX4013" fmla="*/ 695402 w 855312"/>
                    <a:gd name="connsiteY4013" fmla="*/ 886240 h 1324114"/>
                    <a:gd name="connsiteX4014" fmla="*/ 695888 w 855312"/>
                    <a:gd name="connsiteY4014" fmla="*/ 886835 h 1324114"/>
                    <a:gd name="connsiteX4015" fmla="*/ 696276 w 855312"/>
                    <a:gd name="connsiteY4015" fmla="*/ 887309 h 1324114"/>
                    <a:gd name="connsiteX4016" fmla="*/ 693386 w 855312"/>
                    <a:gd name="connsiteY4016" fmla="*/ 889154 h 1324114"/>
                    <a:gd name="connsiteX4017" fmla="*/ 693022 w 855312"/>
                    <a:gd name="connsiteY4017" fmla="*/ 889397 h 1324114"/>
                    <a:gd name="connsiteX4018" fmla="*/ 692694 w 855312"/>
                    <a:gd name="connsiteY4018" fmla="*/ 889677 h 1324114"/>
                    <a:gd name="connsiteX4019" fmla="*/ 691042 w 855312"/>
                    <a:gd name="connsiteY4019" fmla="*/ 891110 h 1324114"/>
                    <a:gd name="connsiteX4020" fmla="*/ 690751 w 855312"/>
                    <a:gd name="connsiteY4020" fmla="*/ 891365 h 1324114"/>
                    <a:gd name="connsiteX4021" fmla="*/ 690496 w 855312"/>
                    <a:gd name="connsiteY4021" fmla="*/ 891656 h 1324114"/>
                    <a:gd name="connsiteX4022" fmla="*/ 689039 w 855312"/>
                    <a:gd name="connsiteY4022" fmla="*/ 893283 h 1324114"/>
                    <a:gd name="connsiteX4023" fmla="*/ 688043 w 855312"/>
                    <a:gd name="connsiteY4023" fmla="*/ 893672 h 1324114"/>
                    <a:gd name="connsiteX4024" fmla="*/ 685287 w 855312"/>
                    <a:gd name="connsiteY4024" fmla="*/ 894413 h 1324114"/>
                    <a:gd name="connsiteX4025" fmla="*/ 684558 w 855312"/>
                    <a:gd name="connsiteY4025" fmla="*/ 894619 h 1324114"/>
                    <a:gd name="connsiteX4026" fmla="*/ 683902 w 855312"/>
                    <a:gd name="connsiteY4026" fmla="*/ 894983 h 1324114"/>
                    <a:gd name="connsiteX4027" fmla="*/ 682178 w 855312"/>
                    <a:gd name="connsiteY4027" fmla="*/ 895942 h 1324114"/>
                    <a:gd name="connsiteX4028" fmla="*/ 681304 w 855312"/>
                    <a:gd name="connsiteY4028" fmla="*/ 896428 h 1324114"/>
                    <a:gd name="connsiteX4029" fmla="*/ 680624 w 855312"/>
                    <a:gd name="connsiteY4029" fmla="*/ 897181 h 1324114"/>
                    <a:gd name="connsiteX4030" fmla="*/ 679252 w 855312"/>
                    <a:gd name="connsiteY4030" fmla="*/ 898699 h 1324114"/>
                    <a:gd name="connsiteX4031" fmla="*/ 678487 w 855312"/>
                    <a:gd name="connsiteY4031" fmla="*/ 899537 h 1324114"/>
                    <a:gd name="connsiteX4032" fmla="*/ 678086 w 855312"/>
                    <a:gd name="connsiteY4032" fmla="*/ 900605 h 1324114"/>
                    <a:gd name="connsiteX4033" fmla="*/ 678001 w 855312"/>
                    <a:gd name="connsiteY4033" fmla="*/ 900824 h 1324114"/>
                    <a:gd name="connsiteX4034" fmla="*/ 677989 w 855312"/>
                    <a:gd name="connsiteY4034" fmla="*/ 900812 h 1324114"/>
                    <a:gd name="connsiteX4035" fmla="*/ 676653 w 855312"/>
                    <a:gd name="connsiteY4035" fmla="*/ 900108 h 1324114"/>
                    <a:gd name="connsiteX4036" fmla="*/ 675147 w 855312"/>
                    <a:gd name="connsiteY4036" fmla="*/ 900108 h 1324114"/>
                    <a:gd name="connsiteX4037" fmla="*/ 672439 w 855312"/>
                    <a:gd name="connsiteY4037" fmla="*/ 900108 h 1324114"/>
                    <a:gd name="connsiteX4038" fmla="*/ 671820 w 855312"/>
                    <a:gd name="connsiteY4038" fmla="*/ 900108 h 1324114"/>
                    <a:gd name="connsiteX4039" fmla="*/ 671213 w 855312"/>
                    <a:gd name="connsiteY4039" fmla="*/ 900241 h 1324114"/>
                    <a:gd name="connsiteX4040" fmla="*/ 668967 w 855312"/>
                    <a:gd name="connsiteY4040" fmla="*/ 900702 h 1324114"/>
                    <a:gd name="connsiteX4041" fmla="*/ 668663 w 855312"/>
                    <a:gd name="connsiteY4041" fmla="*/ 900763 h 1324114"/>
                    <a:gd name="connsiteX4042" fmla="*/ 668359 w 855312"/>
                    <a:gd name="connsiteY4042" fmla="*/ 900860 h 1324114"/>
                    <a:gd name="connsiteX4043" fmla="*/ 666574 w 855312"/>
                    <a:gd name="connsiteY4043" fmla="*/ 901431 h 1324114"/>
                    <a:gd name="connsiteX4044" fmla="*/ 665846 w 855312"/>
                    <a:gd name="connsiteY4044" fmla="*/ 901674 h 1324114"/>
                    <a:gd name="connsiteX4045" fmla="*/ 665190 w 855312"/>
                    <a:gd name="connsiteY4045" fmla="*/ 902075 h 1324114"/>
                    <a:gd name="connsiteX4046" fmla="*/ 664000 w 855312"/>
                    <a:gd name="connsiteY4046" fmla="*/ 902828 h 1324114"/>
                    <a:gd name="connsiteX4047" fmla="*/ 663284 w 855312"/>
                    <a:gd name="connsiteY4047" fmla="*/ 903277 h 1324114"/>
                    <a:gd name="connsiteX4048" fmla="*/ 662725 w 855312"/>
                    <a:gd name="connsiteY4048" fmla="*/ 903908 h 1324114"/>
                    <a:gd name="connsiteX4049" fmla="*/ 661790 w 855312"/>
                    <a:gd name="connsiteY4049" fmla="*/ 904940 h 1324114"/>
                    <a:gd name="connsiteX4050" fmla="*/ 660879 w 855312"/>
                    <a:gd name="connsiteY4050" fmla="*/ 905948 h 1324114"/>
                    <a:gd name="connsiteX4051" fmla="*/ 660491 w 855312"/>
                    <a:gd name="connsiteY4051" fmla="*/ 907235 h 1324114"/>
                    <a:gd name="connsiteX4052" fmla="*/ 660236 w 855312"/>
                    <a:gd name="connsiteY4052" fmla="*/ 908073 h 1324114"/>
                    <a:gd name="connsiteX4053" fmla="*/ 659289 w 855312"/>
                    <a:gd name="connsiteY4053" fmla="*/ 908304 h 1324114"/>
                    <a:gd name="connsiteX4054" fmla="*/ 656945 w 855312"/>
                    <a:gd name="connsiteY4054" fmla="*/ 908875 h 1324114"/>
                    <a:gd name="connsiteX4055" fmla="*/ 656362 w 855312"/>
                    <a:gd name="connsiteY4055" fmla="*/ 909021 h 1324114"/>
                    <a:gd name="connsiteX4056" fmla="*/ 655816 w 855312"/>
                    <a:gd name="connsiteY4056" fmla="*/ 909275 h 1324114"/>
                    <a:gd name="connsiteX4057" fmla="*/ 650874 w 855312"/>
                    <a:gd name="connsiteY4057" fmla="*/ 911570 h 1324114"/>
                    <a:gd name="connsiteX4058" fmla="*/ 650169 w 855312"/>
                    <a:gd name="connsiteY4058" fmla="*/ 911898 h 1324114"/>
                    <a:gd name="connsiteX4059" fmla="*/ 649562 w 855312"/>
                    <a:gd name="connsiteY4059" fmla="*/ 912396 h 1324114"/>
                    <a:gd name="connsiteX4060" fmla="*/ 646089 w 855312"/>
                    <a:gd name="connsiteY4060" fmla="*/ 915262 h 1324114"/>
                    <a:gd name="connsiteX4061" fmla="*/ 643746 w 855312"/>
                    <a:gd name="connsiteY4061" fmla="*/ 915007 h 1324114"/>
                    <a:gd name="connsiteX4062" fmla="*/ 643758 w 855312"/>
                    <a:gd name="connsiteY4062" fmla="*/ 913465 h 1324114"/>
                    <a:gd name="connsiteX4063" fmla="*/ 643758 w 855312"/>
                    <a:gd name="connsiteY4063" fmla="*/ 912712 h 1324114"/>
                    <a:gd name="connsiteX4064" fmla="*/ 643588 w 855312"/>
                    <a:gd name="connsiteY4064" fmla="*/ 911995 h 1324114"/>
                    <a:gd name="connsiteX4065" fmla="*/ 643139 w 855312"/>
                    <a:gd name="connsiteY4065" fmla="*/ 910101 h 1324114"/>
                    <a:gd name="connsiteX4066" fmla="*/ 643066 w 855312"/>
                    <a:gd name="connsiteY4066" fmla="*/ 909785 h 1324114"/>
                    <a:gd name="connsiteX4067" fmla="*/ 642957 w 855312"/>
                    <a:gd name="connsiteY4067" fmla="*/ 909494 h 1324114"/>
                    <a:gd name="connsiteX4068" fmla="*/ 641609 w 855312"/>
                    <a:gd name="connsiteY4068" fmla="*/ 905681 h 1324114"/>
                    <a:gd name="connsiteX4069" fmla="*/ 641293 w 855312"/>
                    <a:gd name="connsiteY4069" fmla="*/ 904017 h 1324114"/>
                    <a:gd name="connsiteX4070" fmla="*/ 641220 w 855312"/>
                    <a:gd name="connsiteY4070" fmla="*/ 903678 h 1324114"/>
                    <a:gd name="connsiteX4071" fmla="*/ 641111 w 855312"/>
                    <a:gd name="connsiteY4071" fmla="*/ 903337 h 1324114"/>
                    <a:gd name="connsiteX4072" fmla="*/ 640479 w 855312"/>
                    <a:gd name="connsiteY4072" fmla="*/ 901358 h 1324114"/>
                    <a:gd name="connsiteX4073" fmla="*/ 640164 w 855312"/>
                    <a:gd name="connsiteY4073" fmla="*/ 900362 h 1324114"/>
                    <a:gd name="connsiteX4074" fmla="*/ 639532 w 855312"/>
                    <a:gd name="connsiteY4074" fmla="*/ 899537 h 1324114"/>
                    <a:gd name="connsiteX4075" fmla="*/ 638257 w 855312"/>
                    <a:gd name="connsiteY4075" fmla="*/ 897849 h 1324114"/>
                    <a:gd name="connsiteX4076" fmla="*/ 637517 w 855312"/>
                    <a:gd name="connsiteY4076" fmla="*/ 896865 h 1324114"/>
                    <a:gd name="connsiteX4077" fmla="*/ 636460 w 855312"/>
                    <a:gd name="connsiteY4077" fmla="*/ 896258 h 1324114"/>
                    <a:gd name="connsiteX4078" fmla="*/ 635124 w 855312"/>
                    <a:gd name="connsiteY4078" fmla="*/ 895481 h 1324114"/>
                    <a:gd name="connsiteX4079" fmla="*/ 635039 w 855312"/>
                    <a:gd name="connsiteY4079" fmla="*/ 894837 h 1324114"/>
                    <a:gd name="connsiteX4080" fmla="*/ 634797 w 855312"/>
                    <a:gd name="connsiteY4080" fmla="*/ 893089 h 1324114"/>
                    <a:gd name="connsiteX4081" fmla="*/ 633655 w 855312"/>
                    <a:gd name="connsiteY4081" fmla="*/ 891741 h 1324114"/>
                    <a:gd name="connsiteX4082" fmla="*/ 632611 w 855312"/>
                    <a:gd name="connsiteY4082" fmla="*/ 890502 h 1324114"/>
                    <a:gd name="connsiteX4083" fmla="*/ 632429 w 855312"/>
                    <a:gd name="connsiteY4083" fmla="*/ 890284 h 1324114"/>
                    <a:gd name="connsiteX4084" fmla="*/ 633303 w 855312"/>
                    <a:gd name="connsiteY4084" fmla="*/ 889446 h 1324114"/>
                    <a:gd name="connsiteX4085" fmla="*/ 634226 w 855312"/>
                    <a:gd name="connsiteY4085" fmla="*/ 888559 h 1324114"/>
                    <a:gd name="connsiteX4086" fmla="*/ 635719 w 855312"/>
                    <a:gd name="connsiteY4086" fmla="*/ 887114 h 1324114"/>
                    <a:gd name="connsiteX4087" fmla="*/ 636011 w 855312"/>
                    <a:gd name="connsiteY4087" fmla="*/ 885050 h 1324114"/>
                    <a:gd name="connsiteX4088" fmla="*/ 636181 w 855312"/>
                    <a:gd name="connsiteY4088" fmla="*/ 883836 h 1324114"/>
                    <a:gd name="connsiteX4089" fmla="*/ 636339 w 855312"/>
                    <a:gd name="connsiteY4089" fmla="*/ 882682 h 1324114"/>
                    <a:gd name="connsiteX4090" fmla="*/ 636071 w 855312"/>
                    <a:gd name="connsiteY4090" fmla="*/ 881565 h 1324114"/>
                    <a:gd name="connsiteX4091" fmla="*/ 635719 w 855312"/>
                    <a:gd name="connsiteY4091" fmla="*/ 880108 h 1324114"/>
                    <a:gd name="connsiteX4092" fmla="*/ 635574 w 855312"/>
                    <a:gd name="connsiteY4092" fmla="*/ 879647 h 1324114"/>
                    <a:gd name="connsiteX4093" fmla="*/ 635137 w 855312"/>
                    <a:gd name="connsiteY4093" fmla="*/ 878894 h 1324114"/>
                    <a:gd name="connsiteX4094" fmla="*/ 633291 w 855312"/>
                    <a:gd name="connsiteY4094" fmla="*/ 875700 h 1324114"/>
                    <a:gd name="connsiteX4095" fmla="*/ 633789 w 855312"/>
                    <a:gd name="connsiteY4095" fmla="*/ 872992 h 1324114"/>
                    <a:gd name="connsiteX4096" fmla="*/ 634031 w 855312"/>
                    <a:gd name="connsiteY4096" fmla="*/ 871632 h 1324114"/>
                    <a:gd name="connsiteX4097" fmla="*/ 633655 w 855312"/>
                    <a:gd name="connsiteY4097" fmla="*/ 870309 h 1324114"/>
                    <a:gd name="connsiteX4098" fmla="*/ 633315 w 855312"/>
                    <a:gd name="connsiteY4098" fmla="*/ 869106 h 1324114"/>
                    <a:gd name="connsiteX4099" fmla="*/ 632987 w 855312"/>
                    <a:gd name="connsiteY4099" fmla="*/ 867917 h 1324114"/>
                    <a:gd name="connsiteX4100" fmla="*/ 632222 w 855312"/>
                    <a:gd name="connsiteY4100" fmla="*/ 866957 h 1324114"/>
                    <a:gd name="connsiteX4101" fmla="*/ 631299 w 855312"/>
                    <a:gd name="connsiteY4101" fmla="*/ 865804 h 1324114"/>
                    <a:gd name="connsiteX4102" fmla="*/ 630425 w 855312"/>
                    <a:gd name="connsiteY4102" fmla="*/ 864711 h 1324114"/>
                    <a:gd name="connsiteX4103" fmla="*/ 629162 w 855312"/>
                    <a:gd name="connsiteY4103" fmla="*/ 864116 h 1324114"/>
                    <a:gd name="connsiteX4104" fmla="*/ 627547 w 855312"/>
                    <a:gd name="connsiteY4104" fmla="*/ 863351 h 1324114"/>
                    <a:gd name="connsiteX4105" fmla="*/ 627122 w 855312"/>
                    <a:gd name="connsiteY4105" fmla="*/ 863084 h 1324114"/>
                    <a:gd name="connsiteX4106" fmla="*/ 627049 w 855312"/>
                    <a:gd name="connsiteY4106" fmla="*/ 862999 h 1324114"/>
                    <a:gd name="connsiteX4107" fmla="*/ 626527 w 855312"/>
                    <a:gd name="connsiteY4107" fmla="*/ 859805 h 1324114"/>
                    <a:gd name="connsiteX4108" fmla="*/ 626357 w 855312"/>
                    <a:gd name="connsiteY4108" fmla="*/ 858736 h 1324114"/>
                    <a:gd name="connsiteX4109" fmla="*/ 625823 w 855312"/>
                    <a:gd name="connsiteY4109" fmla="*/ 857801 h 1324114"/>
                    <a:gd name="connsiteX4110" fmla="*/ 625313 w 855312"/>
                    <a:gd name="connsiteY4110" fmla="*/ 856903 h 1324114"/>
                    <a:gd name="connsiteX4111" fmla="*/ 625009 w 855312"/>
                    <a:gd name="connsiteY4111" fmla="*/ 856357 h 1324114"/>
                    <a:gd name="connsiteX4112" fmla="*/ 624596 w 855312"/>
                    <a:gd name="connsiteY4112" fmla="*/ 855883 h 1324114"/>
                    <a:gd name="connsiteX4113" fmla="*/ 623540 w 855312"/>
                    <a:gd name="connsiteY4113" fmla="*/ 854681 h 1324114"/>
                    <a:gd name="connsiteX4114" fmla="*/ 626296 w 855312"/>
                    <a:gd name="connsiteY4114" fmla="*/ 851038 h 1324114"/>
                    <a:gd name="connsiteX4115" fmla="*/ 627474 w 855312"/>
                    <a:gd name="connsiteY4115" fmla="*/ 849204 h 1324114"/>
                    <a:gd name="connsiteX4116" fmla="*/ 627887 w 855312"/>
                    <a:gd name="connsiteY4116" fmla="*/ 848524 h 1324114"/>
                    <a:gd name="connsiteX4117" fmla="*/ 628130 w 855312"/>
                    <a:gd name="connsiteY4117" fmla="*/ 847771 h 1324114"/>
                    <a:gd name="connsiteX4118" fmla="*/ 628591 w 855312"/>
                    <a:gd name="connsiteY4118" fmla="*/ 846290 h 1324114"/>
                    <a:gd name="connsiteX4119" fmla="*/ 629271 w 855312"/>
                    <a:gd name="connsiteY4119" fmla="*/ 844080 h 1324114"/>
                    <a:gd name="connsiteX4120" fmla="*/ 628324 w 855312"/>
                    <a:gd name="connsiteY4120" fmla="*/ 841991 h 1324114"/>
                    <a:gd name="connsiteX4121" fmla="*/ 627863 w 855312"/>
                    <a:gd name="connsiteY4121" fmla="*/ 840983 h 1324114"/>
                    <a:gd name="connsiteX4122" fmla="*/ 627146 w 855312"/>
                    <a:gd name="connsiteY4122" fmla="*/ 839393 h 1324114"/>
                    <a:gd name="connsiteX4123" fmla="*/ 628154 w 855312"/>
                    <a:gd name="connsiteY4123" fmla="*/ 838300 h 1324114"/>
                    <a:gd name="connsiteX4124" fmla="*/ 628227 w 855312"/>
                    <a:gd name="connsiteY4124" fmla="*/ 838251 h 1324114"/>
                    <a:gd name="connsiteX4125" fmla="*/ 628543 w 855312"/>
                    <a:gd name="connsiteY4125" fmla="*/ 838130 h 1324114"/>
                    <a:gd name="connsiteX4126" fmla="*/ 630134 w 855312"/>
                    <a:gd name="connsiteY4126" fmla="*/ 837875 h 1324114"/>
                    <a:gd name="connsiteX4127" fmla="*/ 637808 w 855312"/>
                    <a:gd name="connsiteY4127" fmla="*/ 837608 h 1324114"/>
                    <a:gd name="connsiteX4128" fmla="*/ 638354 w 855312"/>
                    <a:gd name="connsiteY4128" fmla="*/ 837583 h 1324114"/>
                    <a:gd name="connsiteX4129" fmla="*/ 638889 w 855312"/>
                    <a:gd name="connsiteY4129" fmla="*/ 837462 h 1324114"/>
                    <a:gd name="connsiteX4130" fmla="*/ 641014 w 855312"/>
                    <a:gd name="connsiteY4130" fmla="*/ 837000 h 1324114"/>
                    <a:gd name="connsiteX4131" fmla="*/ 641718 w 855312"/>
                    <a:gd name="connsiteY4131" fmla="*/ 836843 h 1324114"/>
                    <a:gd name="connsiteX4132" fmla="*/ 642362 w 855312"/>
                    <a:gd name="connsiteY4132" fmla="*/ 836539 h 1324114"/>
                    <a:gd name="connsiteX4133" fmla="*/ 644086 w 855312"/>
                    <a:gd name="connsiteY4133" fmla="*/ 835713 h 1324114"/>
                    <a:gd name="connsiteX4134" fmla="*/ 645057 w 855312"/>
                    <a:gd name="connsiteY4134" fmla="*/ 835252 h 1324114"/>
                    <a:gd name="connsiteX4135" fmla="*/ 645810 w 855312"/>
                    <a:gd name="connsiteY4135" fmla="*/ 834499 h 1324114"/>
                    <a:gd name="connsiteX4136" fmla="*/ 646794 w 855312"/>
                    <a:gd name="connsiteY4136" fmla="*/ 833491 h 1324114"/>
                    <a:gd name="connsiteX4137" fmla="*/ 647789 w 855312"/>
                    <a:gd name="connsiteY4137" fmla="*/ 832471 h 1324114"/>
                    <a:gd name="connsiteX4138" fmla="*/ 648227 w 855312"/>
                    <a:gd name="connsiteY4138" fmla="*/ 831123 h 1324114"/>
                    <a:gd name="connsiteX4139" fmla="*/ 648615 w 855312"/>
                    <a:gd name="connsiteY4139" fmla="*/ 829909 h 1324114"/>
                    <a:gd name="connsiteX4140" fmla="*/ 649004 w 855312"/>
                    <a:gd name="connsiteY4140" fmla="*/ 828707 h 1324114"/>
                    <a:gd name="connsiteX4141" fmla="*/ 648882 w 855312"/>
                    <a:gd name="connsiteY4141" fmla="*/ 827444 h 1324114"/>
                    <a:gd name="connsiteX4142" fmla="*/ 648773 w 855312"/>
                    <a:gd name="connsiteY4142" fmla="*/ 826266 h 1324114"/>
                    <a:gd name="connsiteX4143" fmla="*/ 648737 w 855312"/>
                    <a:gd name="connsiteY4143" fmla="*/ 825853 h 1324114"/>
                    <a:gd name="connsiteX4144" fmla="*/ 648639 w 855312"/>
                    <a:gd name="connsiteY4144" fmla="*/ 825465 h 1324114"/>
                    <a:gd name="connsiteX4145" fmla="*/ 648299 w 855312"/>
                    <a:gd name="connsiteY4145" fmla="*/ 824032 h 1324114"/>
                    <a:gd name="connsiteX4146" fmla="*/ 648214 w 855312"/>
                    <a:gd name="connsiteY4146" fmla="*/ 823655 h 1324114"/>
                    <a:gd name="connsiteX4147" fmla="*/ 648081 w 855312"/>
                    <a:gd name="connsiteY4147" fmla="*/ 823291 h 1324114"/>
                    <a:gd name="connsiteX4148" fmla="*/ 646526 w 855312"/>
                    <a:gd name="connsiteY4148" fmla="*/ 819162 h 1324114"/>
                    <a:gd name="connsiteX4149" fmla="*/ 646405 w 855312"/>
                    <a:gd name="connsiteY4149" fmla="*/ 818482 h 1324114"/>
                    <a:gd name="connsiteX4150" fmla="*/ 646405 w 855312"/>
                    <a:gd name="connsiteY4150" fmla="*/ 817985 h 1324114"/>
                    <a:gd name="connsiteX4151" fmla="*/ 646575 w 855312"/>
                    <a:gd name="connsiteY4151" fmla="*/ 817171 h 1324114"/>
                    <a:gd name="connsiteX4152" fmla="*/ 647765 w 855312"/>
                    <a:gd name="connsiteY4152" fmla="*/ 813820 h 1324114"/>
                    <a:gd name="connsiteX4153" fmla="*/ 648069 w 855312"/>
                    <a:gd name="connsiteY4153" fmla="*/ 812970 h 1324114"/>
                    <a:gd name="connsiteX4154" fmla="*/ 648105 w 855312"/>
                    <a:gd name="connsiteY4154" fmla="*/ 812071 h 1324114"/>
                    <a:gd name="connsiteX4155" fmla="*/ 648166 w 855312"/>
                    <a:gd name="connsiteY4155" fmla="*/ 810614 h 1324114"/>
                    <a:gd name="connsiteX4156" fmla="*/ 648239 w 855312"/>
                    <a:gd name="connsiteY4156" fmla="*/ 808950 h 1324114"/>
                    <a:gd name="connsiteX4157" fmla="*/ 647474 w 855312"/>
                    <a:gd name="connsiteY4157" fmla="*/ 807493 h 1324114"/>
                    <a:gd name="connsiteX4158" fmla="*/ 646951 w 855312"/>
                    <a:gd name="connsiteY4158" fmla="*/ 806510 h 1324114"/>
                    <a:gd name="connsiteX4159" fmla="*/ 645907 w 855312"/>
                    <a:gd name="connsiteY4159" fmla="*/ 804555 h 1324114"/>
                    <a:gd name="connsiteX4160" fmla="*/ 643843 w 855312"/>
                    <a:gd name="connsiteY4160" fmla="*/ 803729 h 1324114"/>
                    <a:gd name="connsiteX4161" fmla="*/ 642131 w 855312"/>
                    <a:gd name="connsiteY4161" fmla="*/ 803037 h 1324114"/>
                    <a:gd name="connsiteX4162" fmla="*/ 641378 w 855312"/>
                    <a:gd name="connsiteY4162" fmla="*/ 802733 h 1324114"/>
                    <a:gd name="connsiteX4163" fmla="*/ 640564 w 855312"/>
                    <a:gd name="connsiteY4163" fmla="*/ 802636 h 1324114"/>
                    <a:gd name="connsiteX4164" fmla="*/ 638366 w 855312"/>
                    <a:gd name="connsiteY4164" fmla="*/ 802381 h 1324114"/>
                    <a:gd name="connsiteX4165" fmla="*/ 638366 w 855312"/>
                    <a:gd name="connsiteY4165" fmla="*/ 802369 h 1324114"/>
                    <a:gd name="connsiteX4166" fmla="*/ 637942 w 855312"/>
                    <a:gd name="connsiteY4166" fmla="*/ 801665 h 1324114"/>
                    <a:gd name="connsiteX4167" fmla="*/ 637310 w 855312"/>
                    <a:gd name="connsiteY4167" fmla="*/ 800621 h 1324114"/>
                    <a:gd name="connsiteX4168" fmla="*/ 636909 w 855312"/>
                    <a:gd name="connsiteY4168" fmla="*/ 799965 h 1324114"/>
                    <a:gd name="connsiteX4169" fmla="*/ 636363 w 855312"/>
                    <a:gd name="connsiteY4169" fmla="*/ 799430 h 1324114"/>
                    <a:gd name="connsiteX4170" fmla="*/ 635574 w 855312"/>
                    <a:gd name="connsiteY4170" fmla="*/ 798665 h 1324114"/>
                    <a:gd name="connsiteX4171" fmla="*/ 635343 w 855312"/>
                    <a:gd name="connsiteY4171" fmla="*/ 798447 h 1324114"/>
                    <a:gd name="connsiteX4172" fmla="*/ 635100 w 855312"/>
                    <a:gd name="connsiteY4172" fmla="*/ 798240 h 1324114"/>
                    <a:gd name="connsiteX4173" fmla="*/ 634056 w 855312"/>
                    <a:gd name="connsiteY4173" fmla="*/ 797415 h 1324114"/>
                    <a:gd name="connsiteX4174" fmla="*/ 633716 w 855312"/>
                    <a:gd name="connsiteY4174" fmla="*/ 797160 h 1324114"/>
                    <a:gd name="connsiteX4175" fmla="*/ 633339 w 855312"/>
                    <a:gd name="connsiteY4175" fmla="*/ 796929 h 1324114"/>
                    <a:gd name="connsiteX4176" fmla="*/ 631275 w 855312"/>
                    <a:gd name="connsiteY4176" fmla="*/ 795714 h 1324114"/>
                    <a:gd name="connsiteX4177" fmla="*/ 630413 w 855312"/>
                    <a:gd name="connsiteY4177" fmla="*/ 795217 h 1324114"/>
                    <a:gd name="connsiteX4178" fmla="*/ 629441 w 855312"/>
                    <a:gd name="connsiteY4178" fmla="*/ 795010 h 1324114"/>
                    <a:gd name="connsiteX4179" fmla="*/ 628069 w 855312"/>
                    <a:gd name="connsiteY4179" fmla="*/ 794731 h 1324114"/>
                    <a:gd name="connsiteX4180" fmla="*/ 627061 w 855312"/>
                    <a:gd name="connsiteY4180" fmla="*/ 794512 h 1324114"/>
                    <a:gd name="connsiteX4181" fmla="*/ 626041 w 855312"/>
                    <a:gd name="connsiteY4181" fmla="*/ 794658 h 1324114"/>
                    <a:gd name="connsiteX4182" fmla="*/ 624536 w 855312"/>
                    <a:gd name="connsiteY4182" fmla="*/ 794865 h 1324114"/>
                    <a:gd name="connsiteX4183" fmla="*/ 623406 w 855312"/>
                    <a:gd name="connsiteY4183" fmla="*/ 795010 h 1324114"/>
                    <a:gd name="connsiteX4184" fmla="*/ 622398 w 855312"/>
                    <a:gd name="connsiteY4184" fmla="*/ 795569 h 1324114"/>
                    <a:gd name="connsiteX4185" fmla="*/ 620383 w 855312"/>
                    <a:gd name="connsiteY4185" fmla="*/ 796686 h 1324114"/>
                    <a:gd name="connsiteX4186" fmla="*/ 619035 w 855312"/>
                    <a:gd name="connsiteY4186" fmla="*/ 797439 h 1324114"/>
                    <a:gd name="connsiteX4187" fmla="*/ 618209 w 855312"/>
                    <a:gd name="connsiteY4187" fmla="*/ 798726 h 1324114"/>
                    <a:gd name="connsiteX4188" fmla="*/ 617359 w 855312"/>
                    <a:gd name="connsiteY4188" fmla="*/ 800049 h 1324114"/>
                    <a:gd name="connsiteX4189" fmla="*/ 616703 w 855312"/>
                    <a:gd name="connsiteY4189" fmla="*/ 801070 h 1324114"/>
                    <a:gd name="connsiteX4190" fmla="*/ 616497 w 855312"/>
                    <a:gd name="connsiteY4190" fmla="*/ 802260 h 1324114"/>
                    <a:gd name="connsiteX4191" fmla="*/ 616206 w 855312"/>
                    <a:gd name="connsiteY4191" fmla="*/ 803899 h 1324114"/>
                    <a:gd name="connsiteX4192" fmla="*/ 616145 w 855312"/>
                    <a:gd name="connsiteY4192" fmla="*/ 804263 h 1324114"/>
                    <a:gd name="connsiteX4193" fmla="*/ 614141 w 855312"/>
                    <a:gd name="connsiteY4193" fmla="*/ 803620 h 1324114"/>
                    <a:gd name="connsiteX4194" fmla="*/ 610523 w 855312"/>
                    <a:gd name="connsiteY4194" fmla="*/ 802818 h 1324114"/>
                    <a:gd name="connsiteX4195" fmla="*/ 610523 w 855312"/>
                    <a:gd name="connsiteY4195" fmla="*/ 801871 h 1324114"/>
                    <a:gd name="connsiteX4196" fmla="*/ 610207 w 855312"/>
                    <a:gd name="connsiteY4196" fmla="*/ 800936 h 1324114"/>
                    <a:gd name="connsiteX4197" fmla="*/ 609855 w 855312"/>
                    <a:gd name="connsiteY4197" fmla="*/ 799880 h 1324114"/>
                    <a:gd name="connsiteX4198" fmla="*/ 609430 w 855312"/>
                    <a:gd name="connsiteY4198" fmla="*/ 798605 h 1324114"/>
                    <a:gd name="connsiteX4199" fmla="*/ 608507 w 855312"/>
                    <a:gd name="connsiteY4199" fmla="*/ 797633 h 1324114"/>
                    <a:gd name="connsiteX4200" fmla="*/ 607706 w 855312"/>
                    <a:gd name="connsiteY4200" fmla="*/ 796795 h 1324114"/>
                    <a:gd name="connsiteX4201" fmla="*/ 606078 w 855312"/>
                    <a:gd name="connsiteY4201" fmla="*/ 795071 h 1324114"/>
                    <a:gd name="connsiteX4202" fmla="*/ 603711 w 855312"/>
                    <a:gd name="connsiteY4202" fmla="*/ 794913 h 1324114"/>
                    <a:gd name="connsiteX4203" fmla="*/ 601938 w 855312"/>
                    <a:gd name="connsiteY4203" fmla="*/ 794792 h 1324114"/>
                    <a:gd name="connsiteX4204" fmla="*/ 601403 w 855312"/>
                    <a:gd name="connsiteY4204" fmla="*/ 794755 h 1324114"/>
                    <a:gd name="connsiteX4205" fmla="*/ 600869 w 855312"/>
                    <a:gd name="connsiteY4205" fmla="*/ 794816 h 1324114"/>
                    <a:gd name="connsiteX4206" fmla="*/ 598161 w 855312"/>
                    <a:gd name="connsiteY4206" fmla="*/ 795107 h 1324114"/>
                    <a:gd name="connsiteX4207" fmla="*/ 597785 w 855312"/>
                    <a:gd name="connsiteY4207" fmla="*/ 795156 h 1324114"/>
                    <a:gd name="connsiteX4208" fmla="*/ 597421 w 855312"/>
                    <a:gd name="connsiteY4208" fmla="*/ 795241 h 1324114"/>
                    <a:gd name="connsiteX4209" fmla="*/ 593122 w 855312"/>
                    <a:gd name="connsiteY4209" fmla="*/ 796261 h 1324114"/>
                    <a:gd name="connsiteX4210" fmla="*/ 590232 w 855312"/>
                    <a:gd name="connsiteY4210" fmla="*/ 796322 h 1324114"/>
                    <a:gd name="connsiteX4211" fmla="*/ 588495 w 855312"/>
                    <a:gd name="connsiteY4211" fmla="*/ 796079 h 1324114"/>
                    <a:gd name="connsiteX4212" fmla="*/ 587840 w 855312"/>
                    <a:gd name="connsiteY4212" fmla="*/ 795824 h 1324114"/>
                    <a:gd name="connsiteX4213" fmla="*/ 584780 w 855312"/>
                    <a:gd name="connsiteY4213" fmla="*/ 793954 h 1324114"/>
                    <a:gd name="connsiteX4214" fmla="*/ 583468 w 855312"/>
                    <a:gd name="connsiteY4214" fmla="*/ 793152 h 1324114"/>
                    <a:gd name="connsiteX4215" fmla="*/ 581926 w 855312"/>
                    <a:gd name="connsiteY4215" fmla="*/ 793067 h 1324114"/>
                    <a:gd name="connsiteX4216" fmla="*/ 580372 w 855312"/>
                    <a:gd name="connsiteY4216" fmla="*/ 792982 h 1324114"/>
                    <a:gd name="connsiteX4217" fmla="*/ 579158 w 855312"/>
                    <a:gd name="connsiteY4217" fmla="*/ 792910 h 1324114"/>
                    <a:gd name="connsiteX4218" fmla="*/ 578016 w 855312"/>
                    <a:gd name="connsiteY4218" fmla="*/ 793310 h 1324114"/>
                    <a:gd name="connsiteX4219" fmla="*/ 576401 w 855312"/>
                    <a:gd name="connsiteY4219" fmla="*/ 793881 h 1324114"/>
                    <a:gd name="connsiteX4220" fmla="*/ 575235 w 855312"/>
                    <a:gd name="connsiteY4220" fmla="*/ 794294 h 1324114"/>
                    <a:gd name="connsiteX4221" fmla="*/ 574325 w 855312"/>
                    <a:gd name="connsiteY4221" fmla="*/ 795120 h 1324114"/>
                    <a:gd name="connsiteX4222" fmla="*/ 571920 w 855312"/>
                    <a:gd name="connsiteY4222" fmla="*/ 797318 h 1324114"/>
                    <a:gd name="connsiteX4223" fmla="*/ 571362 w 855312"/>
                    <a:gd name="connsiteY4223" fmla="*/ 797840 h 1324114"/>
                    <a:gd name="connsiteX4224" fmla="*/ 570937 w 855312"/>
                    <a:gd name="connsiteY4224" fmla="*/ 798483 h 1324114"/>
                    <a:gd name="connsiteX4225" fmla="*/ 568654 w 855312"/>
                    <a:gd name="connsiteY4225" fmla="*/ 801981 h 1324114"/>
                    <a:gd name="connsiteX4226" fmla="*/ 566650 w 855312"/>
                    <a:gd name="connsiteY4226" fmla="*/ 804470 h 1324114"/>
                    <a:gd name="connsiteX4227" fmla="*/ 566310 w 855312"/>
                    <a:gd name="connsiteY4227" fmla="*/ 804907 h 1324114"/>
                    <a:gd name="connsiteX4228" fmla="*/ 566055 w 855312"/>
                    <a:gd name="connsiteY4228" fmla="*/ 805405 h 1324114"/>
                    <a:gd name="connsiteX4229" fmla="*/ 565315 w 855312"/>
                    <a:gd name="connsiteY4229" fmla="*/ 806813 h 1324114"/>
                    <a:gd name="connsiteX4230" fmla="*/ 564999 w 855312"/>
                    <a:gd name="connsiteY4230" fmla="*/ 807421 h 1324114"/>
                    <a:gd name="connsiteX4231" fmla="*/ 564817 w 855312"/>
                    <a:gd name="connsiteY4231" fmla="*/ 808088 h 1324114"/>
                    <a:gd name="connsiteX4232" fmla="*/ 564295 w 855312"/>
                    <a:gd name="connsiteY4232" fmla="*/ 810055 h 1324114"/>
                    <a:gd name="connsiteX4233" fmla="*/ 564039 w 855312"/>
                    <a:gd name="connsiteY4233" fmla="*/ 811051 h 1324114"/>
                    <a:gd name="connsiteX4234" fmla="*/ 564112 w 855312"/>
                    <a:gd name="connsiteY4234" fmla="*/ 812083 h 1324114"/>
                    <a:gd name="connsiteX4235" fmla="*/ 564295 w 855312"/>
                    <a:gd name="connsiteY4235" fmla="*/ 814354 h 1324114"/>
                    <a:gd name="connsiteX4236" fmla="*/ 561684 w 855312"/>
                    <a:gd name="connsiteY4236" fmla="*/ 813492 h 1324114"/>
                    <a:gd name="connsiteX4237" fmla="*/ 556390 w 855312"/>
                    <a:gd name="connsiteY4237" fmla="*/ 812229 h 1324114"/>
                    <a:gd name="connsiteX4238" fmla="*/ 555879 w 855312"/>
                    <a:gd name="connsiteY4238" fmla="*/ 812108 h 1324114"/>
                    <a:gd name="connsiteX4239" fmla="*/ 555345 w 855312"/>
                    <a:gd name="connsiteY4239" fmla="*/ 812083 h 1324114"/>
                    <a:gd name="connsiteX4240" fmla="*/ 549930 w 855312"/>
                    <a:gd name="connsiteY4240" fmla="*/ 811792 h 1324114"/>
                    <a:gd name="connsiteX4241" fmla="*/ 545995 w 855312"/>
                    <a:gd name="connsiteY4241" fmla="*/ 810990 h 1324114"/>
                    <a:gd name="connsiteX4242" fmla="*/ 546092 w 855312"/>
                    <a:gd name="connsiteY4242" fmla="*/ 810663 h 1324114"/>
                    <a:gd name="connsiteX4243" fmla="*/ 546432 w 855312"/>
                    <a:gd name="connsiteY4243" fmla="*/ 809472 h 1324114"/>
                    <a:gd name="connsiteX4244" fmla="*/ 546736 w 855312"/>
                    <a:gd name="connsiteY4244" fmla="*/ 808404 h 1324114"/>
                    <a:gd name="connsiteX4245" fmla="*/ 546639 w 855312"/>
                    <a:gd name="connsiteY4245" fmla="*/ 807287 h 1324114"/>
                    <a:gd name="connsiteX4246" fmla="*/ 546530 w 855312"/>
                    <a:gd name="connsiteY4246" fmla="*/ 806036 h 1324114"/>
                    <a:gd name="connsiteX4247" fmla="*/ 546347 w 855312"/>
                    <a:gd name="connsiteY4247" fmla="*/ 803923 h 1324114"/>
                    <a:gd name="connsiteX4248" fmla="*/ 544890 w 855312"/>
                    <a:gd name="connsiteY4248" fmla="*/ 802381 h 1324114"/>
                    <a:gd name="connsiteX4249" fmla="*/ 543737 w 855312"/>
                    <a:gd name="connsiteY4249" fmla="*/ 801155 h 1324114"/>
                    <a:gd name="connsiteX4250" fmla="*/ 542838 w 855312"/>
                    <a:gd name="connsiteY4250" fmla="*/ 800207 h 1324114"/>
                    <a:gd name="connsiteX4251" fmla="*/ 541636 w 855312"/>
                    <a:gd name="connsiteY4251" fmla="*/ 799722 h 1324114"/>
                    <a:gd name="connsiteX4252" fmla="*/ 536232 w 855312"/>
                    <a:gd name="connsiteY4252" fmla="*/ 797487 h 1324114"/>
                    <a:gd name="connsiteX4253" fmla="*/ 535868 w 855312"/>
                    <a:gd name="connsiteY4253" fmla="*/ 797220 h 1324114"/>
                    <a:gd name="connsiteX4254" fmla="*/ 535297 w 855312"/>
                    <a:gd name="connsiteY4254" fmla="*/ 796589 h 1324114"/>
                    <a:gd name="connsiteX4255" fmla="*/ 534848 w 855312"/>
                    <a:gd name="connsiteY4255" fmla="*/ 795824 h 1324114"/>
                    <a:gd name="connsiteX4256" fmla="*/ 534556 w 855312"/>
                    <a:gd name="connsiteY4256" fmla="*/ 795034 h 1324114"/>
                    <a:gd name="connsiteX4257" fmla="*/ 534423 w 855312"/>
                    <a:gd name="connsiteY4257" fmla="*/ 794209 h 1324114"/>
                    <a:gd name="connsiteX4258" fmla="*/ 534520 w 855312"/>
                    <a:gd name="connsiteY4258" fmla="*/ 793152 h 1324114"/>
                    <a:gd name="connsiteX4259" fmla="*/ 534617 w 855312"/>
                    <a:gd name="connsiteY4259" fmla="*/ 793177 h 1324114"/>
                    <a:gd name="connsiteX4260" fmla="*/ 535552 w 855312"/>
                    <a:gd name="connsiteY4260" fmla="*/ 793322 h 1324114"/>
                    <a:gd name="connsiteX4261" fmla="*/ 536487 w 855312"/>
                    <a:gd name="connsiteY4261" fmla="*/ 793177 h 1324114"/>
                    <a:gd name="connsiteX4262" fmla="*/ 537799 w 855312"/>
                    <a:gd name="connsiteY4262" fmla="*/ 792970 h 1324114"/>
                    <a:gd name="connsiteX4263" fmla="*/ 539025 w 855312"/>
                    <a:gd name="connsiteY4263" fmla="*/ 792776 h 1324114"/>
                    <a:gd name="connsiteX4264" fmla="*/ 540082 w 855312"/>
                    <a:gd name="connsiteY4264" fmla="*/ 792120 h 1324114"/>
                    <a:gd name="connsiteX4265" fmla="*/ 541114 w 855312"/>
                    <a:gd name="connsiteY4265" fmla="*/ 791477 h 1324114"/>
                    <a:gd name="connsiteX4266" fmla="*/ 542534 w 855312"/>
                    <a:gd name="connsiteY4266" fmla="*/ 790602 h 1324114"/>
                    <a:gd name="connsiteX4267" fmla="*/ 543299 w 855312"/>
                    <a:gd name="connsiteY4267" fmla="*/ 789121 h 1324114"/>
                    <a:gd name="connsiteX4268" fmla="*/ 543761 w 855312"/>
                    <a:gd name="connsiteY4268" fmla="*/ 788234 h 1324114"/>
                    <a:gd name="connsiteX4269" fmla="*/ 544052 w 855312"/>
                    <a:gd name="connsiteY4269" fmla="*/ 787676 h 1324114"/>
                    <a:gd name="connsiteX4270" fmla="*/ 544222 w 855312"/>
                    <a:gd name="connsiteY4270" fmla="*/ 787069 h 1324114"/>
                    <a:gd name="connsiteX4271" fmla="*/ 544684 w 855312"/>
                    <a:gd name="connsiteY4271" fmla="*/ 785417 h 1324114"/>
                    <a:gd name="connsiteX4272" fmla="*/ 545934 w 855312"/>
                    <a:gd name="connsiteY4272" fmla="*/ 784167 h 1324114"/>
                    <a:gd name="connsiteX4273" fmla="*/ 546530 w 855312"/>
                    <a:gd name="connsiteY4273" fmla="*/ 783572 h 1324114"/>
                    <a:gd name="connsiteX4274" fmla="*/ 546942 w 855312"/>
                    <a:gd name="connsiteY4274" fmla="*/ 782843 h 1324114"/>
                    <a:gd name="connsiteX4275" fmla="*/ 547513 w 855312"/>
                    <a:gd name="connsiteY4275" fmla="*/ 781835 h 1324114"/>
                    <a:gd name="connsiteX4276" fmla="*/ 548181 w 855312"/>
                    <a:gd name="connsiteY4276" fmla="*/ 780657 h 1324114"/>
                    <a:gd name="connsiteX4277" fmla="*/ 548278 w 855312"/>
                    <a:gd name="connsiteY4277" fmla="*/ 779310 h 1324114"/>
                    <a:gd name="connsiteX4278" fmla="*/ 548399 w 855312"/>
                    <a:gd name="connsiteY4278" fmla="*/ 777755 h 1324114"/>
                    <a:gd name="connsiteX4279" fmla="*/ 548472 w 855312"/>
                    <a:gd name="connsiteY4279" fmla="*/ 776808 h 1324114"/>
                    <a:gd name="connsiteX4280" fmla="*/ 548254 w 855312"/>
                    <a:gd name="connsiteY4280" fmla="*/ 775885 h 1324114"/>
                    <a:gd name="connsiteX4281" fmla="*/ 547841 w 855312"/>
                    <a:gd name="connsiteY4281" fmla="*/ 774161 h 1324114"/>
                    <a:gd name="connsiteX4282" fmla="*/ 547647 w 855312"/>
                    <a:gd name="connsiteY4282" fmla="*/ 773372 h 1324114"/>
                    <a:gd name="connsiteX4283" fmla="*/ 547246 w 855312"/>
                    <a:gd name="connsiteY4283" fmla="*/ 772631 h 1324114"/>
                    <a:gd name="connsiteX4284" fmla="*/ 545995 w 855312"/>
                    <a:gd name="connsiteY4284" fmla="*/ 770360 h 1324114"/>
                    <a:gd name="connsiteX4285" fmla="*/ 545570 w 855312"/>
                    <a:gd name="connsiteY4285" fmla="*/ 769607 h 1324114"/>
                    <a:gd name="connsiteX4286" fmla="*/ 544951 w 855312"/>
                    <a:gd name="connsiteY4286" fmla="*/ 768988 h 1324114"/>
                    <a:gd name="connsiteX4287" fmla="*/ 543907 w 855312"/>
                    <a:gd name="connsiteY4287" fmla="*/ 767956 h 1324114"/>
                    <a:gd name="connsiteX4288" fmla="*/ 543154 w 855312"/>
                    <a:gd name="connsiteY4288" fmla="*/ 767203 h 1324114"/>
                    <a:gd name="connsiteX4289" fmla="*/ 542182 w 855312"/>
                    <a:gd name="connsiteY4289" fmla="*/ 766754 h 1324114"/>
                    <a:gd name="connsiteX4290" fmla="*/ 540980 w 855312"/>
                    <a:gd name="connsiteY4290" fmla="*/ 766195 h 1324114"/>
                    <a:gd name="connsiteX4291" fmla="*/ 539766 w 855312"/>
                    <a:gd name="connsiteY4291" fmla="*/ 765637 h 1324114"/>
                    <a:gd name="connsiteX4292" fmla="*/ 538430 w 855312"/>
                    <a:gd name="connsiteY4292" fmla="*/ 765637 h 1324114"/>
                    <a:gd name="connsiteX4293" fmla="*/ 535151 w 855312"/>
                    <a:gd name="connsiteY4293" fmla="*/ 765637 h 1324114"/>
                    <a:gd name="connsiteX4294" fmla="*/ 531351 w 855312"/>
                    <a:gd name="connsiteY4294" fmla="*/ 765139 h 1324114"/>
                    <a:gd name="connsiteX4295" fmla="*/ 530707 w 855312"/>
                    <a:gd name="connsiteY4295" fmla="*/ 765054 h 1324114"/>
                    <a:gd name="connsiteX4296" fmla="*/ 530064 w 855312"/>
                    <a:gd name="connsiteY4296" fmla="*/ 765114 h 1324114"/>
                    <a:gd name="connsiteX4297" fmla="*/ 528631 w 855312"/>
                    <a:gd name="connsiteY4297" fmla="*/ 765236 h 1324114"/>
                    <a:gd name="connsiteX4298" fmla="*/ 528011 w 855312"/>
                    <a:gd name="connsiteY4298" fmla="*/ 765285 h 1324114"/>
                    <a:gd name="connsiteX4299" fmla="*/ 527416 w 855312"/>
                    <a:gd name="connsiteY4299" fmla="*/ 765466 h 1324114"/>
                    <a:gd name="connsiteX4300" fmla="*/ 526324 w 855312"/>
                    <a:gd name="connsiteY4300" fmla="*/ 765782 h 1324114"/>
                    <a:gd name="connsiteX4301" fmla="*/ 525765 w 855312"/>
                    <a:gd name="connsiteY4301" fmla="*/ 765952 h 1324114"/>
                    <a:gd name="connsiteX4302" fmla="*/ 525474 w 855312"/>
                    <a:gd name="connsiteY4302" fmla="*/ 766110 h 1324114"/>
                    <a:gd name="connsiteX4303" fmla="*/ 523883 w 855312"/>
                    <a:gd name="connsiteY4303" fmla="*/ 762285 h 1324114"/>
                    <a:gd name="connsiteX4304" fmla="*/ 523737 w 855312"/>
                    <a:gd name="connsiteY4304" fmla="*/ 761933 h 1324114"/>
                    <a:gd name="connsiteX4305" fmla="*/ 523543 w 855312"/>
                    <a:gd name="connsiteY4305" fmla="*/ 761605 h 1324114"/>
                    <a:gd name="connsiteX4306" fmla="*/ 522511 w 855312"/>
                    <a:gd name="connsiteY4306" fmla="*/ 759808 h 1324114"/>
                    <a:gd name="connsiteX4307" fmla="*/ 522328 w 855312"/>
                    <a:gd name="connsiteY4307" fmla="*/ 759492 h 1324114"/>
                    <a:gd name="connsiteX4308" fmla="*/ 522110 w 855312"/>
                    <a:gd name="connsiteY4308" fmla="*/ 759201 h 1324114"/>
                    <a:gd name="connsiteX4309" fmla="*/ 520908 w 855312"/>
                    <a:gd name="connsiteY4309" fmla="*/ 757586 h 1324114"/>
                    <a:gd name="connsiteX4310" fmla="*/ 520349 w 855312"/>
                    <a:gd name="connsiteY4310" fmla="*/ 756833 h 1324114"/>
                    <a:gd name="connsiteX4311" fmla="*/ 519584 w 855312"/>
                    <a:gd name="connsiteY4311" fmla="*/ 756287 h 1324114"/>
                    <a:gd name="connsiteX4312" fmla="*/ 518261 w 855312"/>
                    <a:gd name="connsiteY4312" fmla="*/ 755339 h 1324114"/>
                    <a:gd name="connsiteX4313" fmla="*/ 517860 w 855312"/>
                    <a:gd name="connsiteY4313" fmla="*/ 755060 h 1324114"/>
                    <a:gd name="connsiteX4314" fmla="*/ 517423 w 855312"/>
                    <a:gd name="connsiteY4314" fmla="*/ 754841 h 1324114"/>
                    <a:gd name="connsiteX4315" fmla="*/ 516039 w 855312"/>
                    <a:gd name="connsiteY4315" fmla="*/ 754149 h 1324114"/>
                    <a:gd name="connsiteX4316" fmla="*/ 515699 w 855312"/>
                    <a:gd name="connsiteY4316" fmla="*/ 753967 h 1324114"/>
                    <a:gd name="connsiteX4317" fmla="*/ 515346 w 855312"/>
                    <a:gd name="connsiteY4317" fmla="*/ 753846 h 1324114"/>
                    <a:gd name="connsiteX4318" fmla="*/ 514266 w 855312"/>
                    <a:gd name="connsiteY4318" fmla="*/ 753469 h 1324114"/>
                    <a:gd name="connsiteX4319" fmla="*/ 512468 w 855312"/>
                    <a:gd name="connsiteY4319" fmla="*/ 746378 h 1324114"/>
                    <a:gd name="connsiteX4320" fmla="*/ 512128 w 855312"/>
                    <a:gd name="connsiteY4320" fmla="*/ 744071 h 1324114"/>
                    <a:gd name="connsiteX4321" fmla="*/ 512165 w 855312"/>
                    <a:gd name="connsiteY4321" fmla="*/ 742456 h 1324114"/>
                    <a:gd name="connsiteX4322" fmla="*/ 512979 w 855312"/>
                    <a:gd name="connsiteY4322" fmla="*/ 738801 h 1324114"/>
                    <a:gd name="connsiteX4323" fmla="*/ 514448 w 855312"/>
                    <a:gd name="connsiteY4323" fmla="*/ 735024 h 1324114"/>
                    <a:gd name="connsiteX4324" fmla="*/ 515868 w 855312"/>
                    <a:gd name="connsiteY4324" fmla="*/ 732389 h 1324114"/>
                    <a:gd name="connsiteX4325" fmla="*/ 516221 w 855312"/>
                    <a:gd name="connsiteY4325" fmla="*/ 731721 h 1324114"/>
                    <a:gd name="connsiteX4326" fmla="*/ 516403 w 855312"/>
                    <a:gd name="connsiteY4326" fmla="*/ 730993 h 1324114"/>
                    <a:gd name="connsiteX4327" fmla="*/ 516986 w 855312"/>
                    <a:gd name="connsiteY4327" fmla="*/ 728722 h 1324114"/>
                    <a:gd name="connsiteX4328" fmla="*/ 517131 w 855312"/>
                    <a:gd name="connsiteY4328" fmla="*/ 728127 h 1324114"/>
                    <a:gd name="connsiteX4329" fmla="*/ 517156 w 855312"/>
                    <a:gd name="connsiteY4329" fmla="*/ 727520 h 1324114"/>
                    <a:gd name="connsiteX4330" fmla="*/ 517277 w 855312"/>
                    <a:gd name="connsiteY4330" fmla="*/ 725079 h 1324114"/>
                    <a:gd name="connsiteX4331" fmla="*/ 517301 w 855312"/>
                    <a:gd name="connsiteY4331" fmla="*/ 724557 h 1324114"/>
                    <a:gd name="connsiteX4332" fmla="*/ 517241 w 855312"/>
                    <a:gd name="connsiteY4332" fmla="*/ 724047 h 1324114"/>
                    <a:gd name="connsiteX4333" fmla="*/ 516864 w 855312"/>
                    <a:gd name="connsiteY4333" fmla="*/ 720962 h 1324114"/>
                    <a:gd name="connsiteX4334" fmla="*/ 518018 w 855312"/>
                    <a:gd name="connsiteY4334" fmla="*/ 720550 h 1324114"/>
                    <a:gd name="connsiteX4335" fmla="*/ 518528 w 855312"/>
                    <a:gd name="connsiteY4335" fmla="*/ 720355 h 1324114"/>
                    <a:gd name="connsiteX4336" fmla="*/ 519001 w 855312"/>
                    <a:gd name="connsiteY4336" fmla="*/ 720088 h 1324114"/>
                    <a:gd name="connsiteX4337" fmla="*/ 519730 w 855312"/>
                    <a:gd name="connsiteY4337" fmla="*/ 719663 h 1324114"/>
                    <a:gd name="connsiteX4338" fmla="*/ 520811 w 855312"/>
                    <a:gd name="connsiteY4338" fmla="*/ 719032 h 1324114"/>
                    <a:gd name="connsiteX4339" fmla="*/ 521551 w 855312"/>
                    <a:gd name="connsiteY4339" fmla="*/ 718012 h 1324114"/>
                    <a:gd name="connsiteX4340" fmla="*/ 522013 w 855312"/>
                    <a:gd name="connsiteY4340" fmla="*/ 717381 h 1324114"/>
                    <a:gd name="connsiteX4341" fmla="*/ 522438 w 855312"/>
                    <a:gd name="connsiteY4341" fmla="*/ 716810 h 1324114"/>
                    <a:gd name="connsiteX4342" fmla="*/ 522705 w 855312"/>
                    <a:gd name="connsiteY4342" fmla="*/ 716154 h 1324114"/>
                    <a:gd name="connsiteX4343" fmla="*/ 523179 w 855312"/>
                    <a:gd name="connsiteY4343" fmla="*/ 715049 h 1324114"/>
                    <a:gd name="connsiteX4344" fmla="*/ 523385 w 855312"/>
                    <a:gd name="connsiteY4344" fmla="*/ 714576 h 1324114"/>
                    <a:gd name="connsiteX4345" fmla="*/ 523506 w 855312"/>
                    <a:gd name="connsiteY4345" fmla="*/ 714078 h 1324114"/>
                    <a:gd name="connsiteX4346" fmla="*/ 526287 w 855312"/>
                    <a:gd name="connsiteY4346" fmla="*/ 702008 h 1324114"/>
                    <a:gd name="connsiteX4347" fmla="*/ 527064 w 855312"/>
                    <a:gd name="connsiteY4347" fmla="*/ 696762 h 1324114"/>
                    <a:gd name="connsiteX4348" fmla="*/ 527113 w 855312"/>
                    <a:gd name="connsiteY4348" fmla="*/ 696398 h 1324114"/>
                    <a:gd name="connsiteX4349" fmla="*/ 527113 w 855312"/>
                    <a:gd name="connsiteY4349" fmla="*/ 696021 h 1324114"/>
                    <a:gd name="connsiteX4350" fmla="*/ 527174 w 855312"/>
                    <a:gd name="connsiteY4350" fmla="*/ 693058 h 1324114"/>
                    <a:gd name="connsiteX4351" fmla="*/ 527684 w 855312"/>
                    <a:gd name="connsiteY4351" fmla="*/ 689403 h 1324114"/>
                    <a:gd name="connsiteX4352" fmla="*/ 527744 w 855312"/>
                    <a:gd name="connsiteY4352" fmla="*/ 688978 h 1324114"/>
                    <a:gd name="connsiteX4353" fmla="*/ 527744 w 855312"/>
                    <a:gd name="connsiteY4353" fmla="*/ 688553 h 1324114"/>
                    <a:gd name="connsiteX4354" fmla="*/ 527744 w 855312"/>
                    <a:gd name="connsiteY4354" fmla="*/ 686938 h 1324114"/>
                    <a:gd name="connsiteX4355" fmla="*/ 527744 w 855312"/>
                    <a:gd name="connsiteY4355" fmla="*/ 685991 h 1324114"/>
                    <a:gd name="connsiteX4356" fmla="*/ 527465 w 855312"/>
                    <a:gd name="connsiteY4356" fmla="*/ 685105 h 1324114"/>
                    <a:gd name="connsiteX4357" fmla="*/ 526955 w 855312"/>
                    <a:gd name="connsiteY4357" fmla="*/ 683502 h 1324114"/>
                    <a:gd name="connsiteX4358" fmla="*/ 526591 w 855312"/>
                    <a:gd name="connsiteY4358" fmla="*/ 682348 h 1324114"/>
                    <a:gd name="connsiteX4359" fmla="*/ 525826 w 855312"/>
                    <a:gd name="connsiteY4359" fmla="*/ 681438 h 1324114"/>
                    <a:gd name="connsiteX4360" fmla="*/ 524114 w 855312"/>
                    <a:gd name="connsiteY4360" fmla="*/ 679398 h 1324114"/>
                    <a:gd name="connsiteX4361" fmla="*/ 523494 w 855312"/>
                    <a:gd name="connsiteY4361" fmla="*/ 678645 h 1324114"/>
                    <a:gd name="connsiteX4362" fmla="*/ 522668 w 855312"/>
                    <a:gd name="connsiteY4362" fmla="*/ 678135 h 1324114"/>
                    <a:gd name="connsiteX4363" fmla="*/ 521272 w 855312"/>
                    <a:gd name="connsiteY4363" fmla="*/ 677272 h 1324114"/>
                    <a:gd name="connsiteX4364" fmla="*/ 520738 w 855312"/>
                    <a:gd name="connsiteY4364" fmla="*/ 676944 h 1324114"/>
                    <a:gd name="connsiteX4365" fmla="*/ 520131 w 855312"/>
                    <a:gd name="connsiteY4365" fmla="*/ 676714 h 1324114"/>
                    <a:gd name="connsiteX4366" fmla="*/ 518880 w 855312"/>
                    <a:gd name="connsiteY4366" fmla="*/ 676264 h 1324114"/>
                    <a:gd name="connsiteX4367" fmla="*/ 518540 w 855312"/>
                    <a:gd name="connsiteY4367" fmla="*/ 676143 h 1324114"/>
                    <a:gd name="connsiteX4368" fmla="*/ 518200 w 855312"/>
                    <a:gd name="connsiteY4368" fmla="*/ 676058 h 1324114"/>
                    <a:gd name="connsiteX4369" fmla="*/ 517301 w 855312"/>
                    <a:gd name="connsiteY4369" fmla="*/ 675852 h 1324114"/>
                    <a:gd name="connsiteX4370" fmla="*/ 517034 w 855312"/>
                    <a:gd name="connsiteY4370" fmla="*/ 675742 h 1324114"/>
                    <a:gd name="connsiteX4371" fmla="*/ 514181 w 855312"/>
                    <a:gd name="connsiteY4371" fmla="*/ 673824 h 1324114"/>
                    <a:gd name="connsiteX4372" fmla="*/ 513719 w 855312"/>
                    <a:gd name="connsiteY4372" fmla="*/ 673520 h 1324114"/>
                    <a:gd name="connsiteX4373" fmla="*/ 513209 w 855312"/>
                    <a:gd name="connsiteY4373" fmla="*/ 673289 h 1324114"/>
                    <a:gd name="connsiteX4374" fmla="*/ 512226 w 855312"/>
                    <a:gd name="connsiteY4374" fmla="*/ 672864 h 1324114"/>
                    <a:gd name="connsiteX4375" fmla="*/ 512687 w 855312"/>
                    <a:gd name="connsiteY4375" fmla="*/ 672087 h 1324114"/>
                    <a:gd name="connsiteX4376" fmla="*/ 512894 w 855312"/>
                    <a:gd name="connsiteY4376" fmla="*/ 671116 h 1324114"/>
                    <a:gd name="connsiteX4377" fmla="*/ 513185 w 855312"/>
                    <a:gd name="connsiteY4377" fmla="*/ 669720 h 1324114"/>
                    <a:gd name="connsiteX4378" fmla="*/ 513355 w 855312"/>
                    <a:gd name="connsiteY4378" fmla="*/ 668930 h 1324114"/>
                    <a:gd name="connsiteX4379" fmla="*/ 513306 w 855312"/>
                    <a:gd name="connsiteY4379" fmla="*/ 668117 h 1324114"/>
                    <a:gd name="connsiteX4380" fmla="*/ 513161 w 855312"/>
                    <a:gd name="connsiteY4380" fmla="*/ 665737 h 1324114"/>
                    <a:gd name="connsiteX4381" fmla="*/ 513306 w 855312"/>
                    <a:gd name="connsiteY4381" fmla="*/ 663247 h 1324114"/>
                    <a:gd name="connsiteX4382" fmla="*/ 526433 w 855312"/>
                    <a:gd name="connsiteY4382" fmla="*/ 670824 h 1324114"/>
                    <a:gd name="connsiteX4383" fmla="*/ 527307 w 855312"/>
                    <a:gd name="connsiteY4383" fmla="*/ 671335 h 1324114"/>
                    <a:gd name="connsiteX4384" fmla="*/ 528303 w 855312"/>
                    <a:gd name="connsiteY4384" fmla="*/ 671541 h 1324114"/>
                    <a:gd name="connsiteX4385" fmla="*/ 531351 w 855312"/>
                    <a:gd name="connsiteY4385" fmla="*/ 672136 h 1324114"/>
                    <a:gd name="connsiteX4386" fmla="*/ 531666 w 855312"/>
                    <a:gd name="connsiteY4386" fmla="*/ 672197 h 1324114"/>
                    <a:gd name="connsiteX4387" fmla="*/ 531982 w 855312"/>
                    <a:gd name="connsiteY4387" fmla="*/ 672221 h 1324114"/>
                    <a:gd name="connsiteX4388" fmla="*/ 536378 w 855312"/>
                    <a:gd name="connsiteY4388" fmla="*/ 672609 h 1324114"/>
                    <a:gd name="connsiteX4389" fmla="*/ 537714 w 855312"/>
                    <a:gd name="connsiteY4389" fmla="*/ 672998 h 1324114"/>
                    <a:gd name="connsiteX4390" fmla="*/ 540786 w 855312"/>
                    <a:gd name="connsiteY4390" fmla="*/ 674431 h 1324114"/>
                    <a:gd name="connsiteX4391" fmla="*/ 541514 w 855312"/>
                    <a:gd name="connsiteY4391" fmla="*/ 674759 h 1324114"/>
                    <a:gd name="connsiteX4392" fmla="*/ 542304 w 855312"/>
                    <a:gd name="connsiteY4392" fmla="*/ 674904 h 1324114"/>
                    <a:gd name="connsiteX4393" fmla="*/ 544259 w 855312"/>
                    <a:gd name="connsiteY4393" fmla="*/ 675245 h 1324114"/>
                    <a:gd name="connsiteX4394" fmla="*/ 545485 w 855312"/>
                    <a:gd name="connsiteY4394" fmla="*/ 675463 h 1324114"/>
                    <a:gd name="connsiteX4395" fmla="*/ 546699 w 855312"/>
                    <a:gd name="connsiteY4395" fmla="*/ 675196 h 1324114"/>
                    <a:gd name="connsiteX4396" fmla="*/ 548533 w 855312"/>
                    <a:gd name="connsiteY4396" fmla="*/ 674771 h 1324114"/>
                    <a:gd name="connsiteX4397" fmla="*/ 549262 w 855312"/>
                    <a:gd name="connsiteY4397" fmla="*/ 674589 h 1324114"/>
                    <a:gd name="connsiteX4398" fmla="*/ 549930 w 855312"/>
                    <a:gd name="connsiteY4398" fmla="*/ 674249 h 1324114"/>
                    <a:gd name="connsiteX4399" fmla="*/ 551775 w 855312"/>
                    <a:gd name="connsiteY4399" fmla="*/ 673302 h 1324114"/>
                    <a:gd name="connsiteX4400" fmla="*/ 552504 w 855312"/>
                    <a:gd name="connsiteY4400" fmla="*/ 673156 h 1324114"/>
                    <a:gd name="connsiteX4401" fmla="*/ 553281 w 855312"/>
                    <a:gd name="connsiteY4401" fmla="*/ 673095 h 1324114"/>
                    <a:gd name="connsiteX4402" fmla="*/ 553402 w 855312"/>
                    <a:gd name="connsiteY4402" fmla="*/ 673253 h 1324114"/>
                    <a:gd name="connsiteX4403" fmla="*/ 554082 w 855312"/>
                    <a:gd name="connsiteY4403" fmla="*/ 674322 h 1324114"/>
                    <a:gd name="connsiteX4404" fmla="*/ 554398 w 855312"/>
                    <a:gd name="connsiteY4404" fmla="*/ 674819 h 1324114"/>
                    <a:gd name="connsiteX4405" fmla="*/ 554811 w 855312"/>
                    <a:gd name="connsiteY4405" fmla="*/ 675245 h 1324114"/>
                    <a:gd name="connsiteX4406" fmla="*/ 555794 w 855312"/>
                    <a:gd name="connsiteY4406" fmla="*/ 676277 h 1324114"/>
                    <a:gd name="connsiteX4407" fmla="*/ 556972 w 855312"/>
                    <a:gd name="connsiteY4407" fmla="*/ 677515 h 1324114"/>
                    <a:gd name="connsiteX4408" fmla="*/ 558612 w 855312"/>
                    <a:gd name="connsiteY4408" fmla="*/ 677952 h 1324114"/>
                    <a:gd name="connsiteX4409" fmla="*/ 559935 w 855312"/>
                    <a:gd name="connsiteY4409" fmla="*/ 678305 h 1324114"/>
                    <a:gd name="connsiteX4410" fmla="*/ 561210 w 855312"/>
                    <a:gd name="connsiteY4410" fmla="*/ 678645 h 1324114"/>
                    <a:gd name="connsiteX4411" fmla="*/ 562510 w 855312"/>
                    <a:gd name="connsiteY4411" fmla="*/ 678426 h 1324114"/>
                    <a:gd name="connsiteX4412" fmla="*/ 564064 w 855312"/>
                    <a:gd name="connsiteY4412" fmla="*/ 678171 h 1324114"/>
                    <a:gd name="connsiteX4413" fmla="*/ 564841 w 855312"/>
                    <a:gd name="connsiteY4413" fmla="*/ 678038 h 1324114"/>
                    <a:gd name="connsiteX4414" fmla="*/ 565557 w 855312"/>
                    <a:gd name="connsiteY4414" fmla="*/ 677710 h 1324114"/>
                    <a:gd name="connsiteX4415" fmla="*/ 567051 w 855312"/>
                    <a:gd name="connsiteY4415" fmla="*/ 677030 h 1324114"/>
                    <a:gd name="connsiteX4416" fmla="*/ 567549 w 855312"/>
                    <a:gd name="connsiteY4416" fmla="*/ 676811 h 1324114"/>
                    <a:gd name="connsiteX4417" fmla="*/ 567998 w 855312"/>
                    <a:gd name="connsiteY4417" fmla="*/ 676507 h 1324114"/>
                    <a:gd name="connsiteX4418" fmla="*/ 569188 w 855312"/>
                    <a:gd name="connsiteY4418" fmla="*/ 675694 h 1324114"/>
                    <a:gd name="connsiteX4419" fmla="*/ 569625 w 855312"/>
                    <a:gd name="connsiteY4419" fmla="*/ 675402 h 1324114"/>
                    <a:gd name="connsiteX4420" fmla="*/ 570002 w 855312"/>
                    <a:gd name="connsiteY4420" fmla="*/ 675038 h 1324114"/>
                    <a:gd name="connsiteX4421" fmla="*/ 574422 w 855312"/>
                    <a:gd name="connsiteY4421" fmla="*/ 670727 h 1324114"/>
                    <a:gd name="connsiteX4422" fmla="*/ 574786 w 855312"/>
                    <a:gd name="connsiteY4422" fmla="*/ 670387 h 1324114"/>
                    <a:gd name="connsiteX4423" fmla="*/ 575090 w 855312"/>
                    <a:gd name="connsiteY4423" fmla="*/ 669975 h 1324114"/>
                    <a:gd name="connsiteX4424" fmla="*/ 576365 w 855312"/>
                    <a:gd name="connsiteY4424" fmla="*/ 668226 h 1324114"/>
                    <a:gd name="connsiteX4425" fmla="*/ 576729 w 855312"/>
                    <a:gd name="connsiteY4425" fmla="*/ 667728 h 1324114"/>
                    <a:gd name="connsiteX4426" fmla="*/ 576984 w 855312"/>
                    <a:gd name="connsiteY4426" fmla="*/ 667157 h 1324114"/>
                    <a:gd name="connsiteX4427" fmla="*/ 578125 w 855312"/>
                    <a:gd name="connsiteY4427" fmla="*/ 664656 h 1324114"/>
                    <a:gd name="connsiteX4428" fmla="*/ 578320 w 855312"/>
                    <a:gd name="connsiteY4428" fmla="*/ 664243 h 1324114"/>
                    <a:gd name="connsiteX4429" fmla="*/ 578441 w 855312"/>
                    <a:gd name="connsiteY4429" fmla="*/ 663794 h 1324114"/>
                    <a:gd name="connsiteX4430" fmla="*/ 579692 w 855312"/>
                    <a:gd name="connsiteY4430" fmla="*/ 659410 h 1324114"/>
                    <a:gd name="connsiteX4431" fmla="*/ 580554 w 855312"/>
                    <a:gd name="connsiteY4431" fmla="*/ 657637 h 1324114"/>
                    <a:gd name="connsiteX4432" fmla="*/ 581355 w 855312"/>
                    <a:gd name="connsiteY4432" fmla="*/ 656362 h 1324114"/>
                    <a:gd name="connsiteX4433" fmla="*/ 582327 w 855312"/>
                    <a:gd name="connsiteY4433" fmla="*/ 655124 h 1324114"/>
                    <a:gd name="connsiteX4434" fmla="*/ 582643 w 855312"/>
                    <a:gd name="connsiteY4434" fmla="*/ 654735 h 1324114"/>
                    <a:gd name="connsiteX4435" fmla="*/ 582885 w 855312"/>
                    <a:gd name="connsiteY4435" fmla="*/ 654286 h 1324114"/>
                    <a:gd name="connsiteX4436" fmla="*/ 583735 w 855312"/>
                    <a:gd name="connsiteY4436" fmla="*/ 652731 h 1324114"/>
                    <a:gd name="connsiteX4437" fmla="*/ 584731 w 855312"/>
                    <a:gd name="connsiteY4437" fmla="*/ 650485 h 1324114"/>
                    <a:gd name="connsiteX4438" fmla="*/ 584925 w 855312"/>
                    <a:gd name="connsiteY4438" fmla="*/ 650048 h 1324114"/>
                    <a:gd name="connsiteX4439" fmla="*/ 585047 w 855312"/>
                    <a:gd name="connsiteY4439" fmla="*/ 649574 h 1324114"/>
                    <a:gd name="connsiteX4440" fmla="*/ 585508 w 855312"/>
                    <a:gd name="connsiteY4440" fmla="*/ 647765 h 1324114"/>
                    <a:gd name="connsiteX4441" fmla="*/ 585593 w 855312"/>
                    <a:gd name="connsiteY4441" fmla="*/ 647449 h 1324114"/>
                    <a:gd name="connsiteX4442" fmla="*/ 585642 w 855312"/>
                    <a:gd name="connsiteY4442" fmla="*/ 647110 h 1324114"/>
                    <a:gd name="connsiteX4443" fmla="*/ 585982 w 855312"/>
                    <a:gd name="connsiteY4443" fmla="*/ 644693 h 1324114"/>
                    <a:gd name="connsiteX4444" fmla="*/ 586043 w 855312"/>
                    <a:gd name="connsiteY4444" fmla="*/ 644231 h 1324114"/>
                    <a:gd name="connsiteX4445" fmla="*/ 586043 w 855312"/>
                    <a:gd name="connsiteY4445" fmla="*/ 643758 h 1324114"/>
                    <a:gd name="connsiteX4446" fmla="*/ 585982 w 855312"/>
                    <a:gd name="connsiteY4446" fmla="*/ 639824 h 1324114"/>
                    <a:gd name="connsiteX4447" fmla="*/ 585982 w 855312"/>
                    <a:gd name="connsiteY4447" fmla="*/ 639326 h 1324114"/>
                    <a:gd name="connsiteX4448" fmla="*/ 585885 w 855312"/>
                    <a:gd name="connsiteY4448" fmla="*/ 638828 h 1324114"/>
                    <a:gd name="connsiteX4449" fmla="*/ 585205 w 855312"/>
                    <a:gd name="connsiteY4449" fmla="*/ 635088 h 1324114"/>
                    <a:gd name="connsiteX4450" fmla="*/ 585144 w 855312"/>
                    <a:gd name="connsiteY4450" fmla="*/ 634748 h 1324114"/>
                    <a:gd name="connsiteX4451" fmla="*/ 585035 w 855312"/>
                    <a:gd name="connsiteY4451" fmla="*/ 634408 h 1324114"/>
                    <a:gd name="connsiteX4452" fmla="*/ 582375 w 855312"/>
                    <a:gd name="connsiteY4452" fmla="*/ 625689 h 1324114"/>
                    <a:gd name="connsiteX4453" fmla="*/ 580833 w 855312"/>
                    <a:gd name="connsiteY4453" fmla="*/ 613570 h 1324114"/>
                    <a:gd name="connsiteX4454" fmla="*/ 580615 w 855312"/>
                    <a:gd name="connsiteY4454" fmla="*/ 611907 h 1324114"/>
                    <a:gd name="connsiteX4455" fmla="*/ 579583 w 855312"/>
                    <a:gd name="connsiteY4455" fmla="*/ 610595 h 1324114"/>
                    <a:gd name="connsiteX4456" fmla="*/ 577470 w 855312"/>
                    <a:gd name="connsiteY4456" fmla="*/ 607888 h 1324114"/>
                    <a:gd name="connsiteX4457" fmla="*/ 576923 w 855312"/>
                    <a:gd name="connsiteY4457" fmla="*/ 607183 h 1324114"/>
                    <a:gd name="connsiteX4458" fmla="*/ 576182 w 855312"/>
                    <a:gd name="connsiteY4458" fmla="*/ 606661 h 1324114"/>
                    <a:gd name="connsiteX4459" fmla="*/ 574628 w 855312"/>
                    <a:gd name="connsiteY4459" fmla="*/ 605568 h 1324114"/>
                    <a:gd name="connsiteX4460" fmla="*/ 574325 w 855312"/>
                    <a:gd name="connsiteY4460" fmla="*/ 605338 h 1324114"/>
                    <a:gd name="connsiteX4461" fmla="*/ 573985 w 855312"/>
                    <a:gd name="connsiteY4461" fmla="*/ 605155 h 1324114"/>
                    <a:gd name="connsiteX4462" fmla="*/ 571920 w 855312"/>
                    <a:gd name="connsiteY4462" fmla="*/ 604063 h 1324114"/>
                    <a:gd name="connsiteX4463" fmla="*/ 571228 w 855312"/>
                    <a:gd name="connsiteY4463" fmla="*/ 603711 h 1324114"/>
                    <a:gd name="connsiteX4464" fmla="*/ 570475 w 855312"/>
                    <a:gd name="connsiteY4464" fmla="*/ 603528 h 1324114"/>
                    <a:gd name="connsiteX4465" fmla="*/ 565351 w 855312"/>
                    <a:gd name="connsiteY4465" fmla="*/ 602302 h 1324114"/>
                    <a:gd name="connsiteX4466" fmla="*/ 565278 w 855312"/>
                    <a:gd name="connsiteY4466" fmla="*/ 601998 h 1324114"/>
                    <a:gd name="connsiteX4467" fmla="*/ 563821 w 855312"/>
                    <a:gd name="connsiteY4467" fmla="*/ 592454 h 1324114"/>
                    <a:gd name="connsiteX4468" fmla="*/ 563712 w 855312"/>
                    <a:gd name="connsiteY4468" fmla="*/ 591750 h 1324114"/>
                    <a:gd name="connsiteX4469" fmla="*/ 563457 w 855312"/>
                    <a:gd name="connsiteY4469" fmla="*/ 591094 h 1324114"/>
                    <a:gd name="connsiteX4470" fmla="*/ 562194 w 855312"/>
                    <a:gd name="connsiteY4470" fmla="*/ 587961 h 1324114"/>
                    <a:gd name="connsiteX4471" fmla="*/ 561975 w 855312"/>
                    <a:gd name="connsiteY4471" fmla="*/ 587427 h 1324114"/>
                    <a:gd name="connsiteX4472" fmla="*/ 561659 w 855312"/>
                    <a:gd name="connsiteY4472" fmla="*/ 586941 h 1324114"/>
                    <a:gd name="connsiteX4473" fmla="*/ 560457 w 855312"/>
                    <a:gd name="connsiteY4473" fmla="*/ 585083 h 1324114"/>
                    <a:gd name="connsiteX4474" fmla="*/ 559790 w 855312"/>
                    <a:gd name="connsiteY4474" fmla="*/ 584051 h 1324114"/>
                    <a:gd name="connsiteX4475" fmla="*/ 558782 w 855312"/>
                    <a:gd name="connsiteY4475" fmla="*/ 583359 h 1324114"/>
                    <a:gd name="connsiteX4476" fmla="*/ 558587 w 855312"/>
                    <a:gd name="connsiteY4476" fmla="*/ 583225 h 1324114"/>
                    <a:gd name="connsiteX4477" fmla="*/ 558296 w 855312"/>
                    <a:gd name="connsiteY4477" fmla="*/ 582606 h 1324114"/>
                    <a:gd name="connsiteX4478" fmla="*/ 558199 w 855312"/>
                    <a:gd name="connsiteY4478" fmla="*/ 582290 h 1324114"/>
                    <a:gd name="connsiteX4479" fmla="*/ 560372 w 855312"/>
                    <a:gd name="connsiteY4479" fmla="*/ 581792 h 1324114"/>
                    <a:gd name="connsiteX4480" fmla="*/ 561599 w 855312"/>
                    <a:gd name="connsiteY4480" fmla="*/ 578975 h 1324114"/>
                    <a:gd name="connsiteX4481" fmla="*/ 562182 w 855312"/>
                    <a:gd name="connsiteY4481" fmla="*/ 577627 h 1324114"/>
                    <a:gd name="connsiteX4482" fmla="*/ 562485 w 855312"/>
                    <a:gd name="connsiteY4482" fmla="*/ 576935 h 1324114"/>
                    <a:gd name="connsiteX4483" fmla="*/ 562607 w 855312"/>
                    <a:gd name="connsiteY4483" fmla="*/ 576183 h 1324114"/>
                    <a:gd name="connsiteX4484" fmla="*/ 563007 w 855312"/>
                    <a:gd name="connsiteY4484" fmla="*/ 573766 h 1324114"/>
                    <a:gd name="connsiteX4485" fmla="*/ 563105 w 855312"/>
                    <a:gd name="connsiteY4485" fmla="*/ 573219 h 1324114"/>
                    <a:gd name="connsiteX4486" fmla="*/ 563092 w 855312"/>
                    <a:gd name="connsiteY4486" fmla="*/ 572661 h 1324114"/>
                    <a:gd name="connsiteX4487" fmla="*/ 562922 w 855312"/>
                    <a:gd name="connsiteY4487" fmla="*/ 564051 h 1324114"/>
                    <a:gd name="connsiteX4488" fmla="*/ 562910 w 855312"/>
                    <a:gd name="connsiteY4488" fmla="*/ 563481 h 1324114"/>
                    <a:gd name="connsiteX4489" fmla="*/ 562789 w 855312"/>
                    <a:gd name="connsiteY4489" fmla="*/ 562922 h 1324114"/>
                    <a:gd name="connsiteX4490" fmla="*/ 561186 w 855312"/>
                    <a:gd name="connsiteY4490" fmla="*/ 555200 h 1324114"/>
                    <a:gd name="connsiteX4491" fmla="*/ 561392 w 855312"/>
                    <a:gd name="connsiteY4491" fmla="*/ 554617 h 1324114"/>
                    <a:gd name="connsiteX4492" fmla="*/ 562133 w 855312"/>
                    <a:gd name="connsiteY4492" fmla="*/ 553220 h 1324114"/>
                    <a:gd name="connsiteX4493" fmla="*/ 562716 w 855312"/>
                    <a:gd name="connsiteY4493" fmla="*/ 552564 h 1324114"/>
                    <a:gd name="connsiteX4494" fmla="*/ 563032 w 855312"/>
                    <a:gd name="connsiteY4494" fmla="*/ 552358 h 1324114"/>
                    <a:gd name="connsiteX4495" fmla="*/ 563226 w 855312"/>
                    <a:gd name="connsiteY4495" fmla="*/ 552358 h 1324114"/>
                    <a:gd name="connsiteX4496" fmla="*/ 563942 w 855312"/>
                    <a:gd name="connsiteY4496" fmla="*/ 552552 h 1324114"/>
                    <a:gd name="connsiteX4497" fmla="*/ 565594 w 855312"/>
                    <a:gd name="connsiteY4497" fmla="*/ 553184 h 1324114"/>
                    <a:gd name="connsiteX4498" fmla="*/ 565995 w 855312"/>
                    <a:gd name="connsiteY4498" fmla="*/ 553342 h 1324114"/>
                    <a:gd name="connsiteX4499" fmla="*/ 566419 w 855312"/>
                    <a:gd name="connsiteY4499" fmla="*/ 553439 h 1324114"/>
                    <a:gd name="connsiteX4500" fmla="*/ 568205 w 855312"/>
                    <a:gd name="connsiteY4500" fmla="*/ 553840 h 1324114"/>
                    <a:gd name="connsiteX4501" fmla="*/ 570633 w 855312"/>
                    <a:gd name="connsiteY4501" fmla="*/ 554398 h 1324114"/>
                    <a:gd name="connsiteX4502" fmla="*/ 572746 w 855312"/>
                    <a:gd name="connsiteY4502" fmla="*/ 553087 h 1324114"/>
                    <a:gd name="connsiteX4503" fmla="*/ 573948 w 855312"/>
                    <a:gd name="connsiteY4503" fmla="*/ 552334 h 1324114"/>
                    <a:gd name="connsiteX4504" fmla="*/ 576219 w 855312"/>
                    <a:gd name="connsiteY4504" fmla="*/ 550925 h 1324114"/>
                    <a:gd name="connsiteX4505" fmla="*/ 576717 w 855312"/>
                    <a:gd name="connsiteY4505" fmla="*/ 548314 h 1324114"/>
                    <a:gd name="connsiteX4506" fmla="*/ 577069 w 855312"/>
                    <a:gd name="connsiteY4506" fmla="*/ 546481 h 1324114"/>
                    <a:gd name="connsiteX4507" fmla="*/ 577373 w 855312"/>
                    <a:gd name="connsiteY4507" fmla="*/ 544866 h 1324114"/>
                    <a:gd name="connsiteX4508" fmla="*/ 576826 w 855312"/>
                    <a:gd name="connsiteY4508" fmla="*/ 543323 h 1324114"/>
                    <a:gd name="connsiteX4509" fmla="*/ 575272 w 855312"/>
                    <a:gd name="connsiteY4509" fmla="*/ 538928 h 1324114"/>
                    <a:gd name="connsiteX4510" fmla="*/ 575078 w 855312"/>
                    <a:gd name="connsiteY4510" fmla="*/ 538382 h 1324114"/>
                    <a:gd name="connsiteX4511" fmla="*/ 574786 w 855312"/>
                    <a:gd name="connsiteY4511" fmla="*/ 537883 h 1324114"/>
                    <a:gd name="connsiteX4512" fmla="*/ 572260 w 855312"/>
                    <a:gd name="connsiteY4512" fmla="*/ 533561 h 1324114"/>
                    <a:gd name="connsiteX4513" fmla="*/ 570330 w 855312"/>
                    <a:gd name="connsiteY4513" fmla="*/ 529359 h 1324114"/>
                    <a:gd name="connsiteX4514" fmla="*/ 569710 w 855312"/>
                    <a:gd name="connsiteY4514" fmla="*/ 528060 h 1324114"/>
                    <a:gd name="connsiteX4515" fmla="*/ 568569 w 855312"/>
                    <a:gd name="connsiteY4515" fmla="*/ 527161 h 1324114"/>
                    <a:gd name="connsiteX4516" fmla="*/ 567658 w 855312"/>
                    <a:gd name="connsiteY4516" fmla="*/ 526445 h 1324114"/>
                    <a:gd name="connsiteX4517" fmla="*/ 567124 w 855312"/>
                    <a:gd name="connsiteY4517" fmla="*/ 526032 h 1324114"/>
                    <a:gd name="connsiteX4518" fmla="*/ 566517 w 855312"/>
                    <a:gd name="connsiteY4518" fmla="*/ 525741 h 1324114"/>
                    <a:gd name="connsiteX4519" fmla="*/ 566262 w 855312"/>
                    <a:gd name="connsiteY4519" fmla="*/ 525619 h 1324114"/>
                    <a:gd name="connsiteX4520" fmla="*/ 566007 w 855312"/>
                    <a:gd name="connsiteY4520" fmla="*/ 523446 h 1324114"/>
                    <a:gd name="connsiteX4521" fmla="*/ 566905 w 855312"/>
                    <a:gd name="connsiteY4521" fmla="*/ 515795 h 1324114"/>
                    <a:gd name="connsiteX4522" fmla="*/ 566942 w 855312"/>
                    <a:gd name="connsiteY4522" fmla="*/ 515443 h 1324114"/>
                    <a:gd name="connsiteX4523" fmla="*/ 566942 w 855312"/>
                    <a:gd name="connsiteY4523" fmla="*/ 515091 h 1324114"/>
                    <a:gd name="connsiteX4524" fmla="*/ 566942 w 855312"/>
                    <a:gd name="connsiteY4524" fmla="*/ 511704 h 1324114"/>
                    <a:gd name="connsiteX4525" fmla="*/ 567330 w 855312"/>
                    <a:gd name="connsiteY4525" fmla="*/ 510841 h 1324114"/>
                    <a:gd name="connsiteX4526" fmla="*/ 567986 w 855312"/>
                    <a:gd name="connsiteY4526" fmla="*/ 509360 h 1324114"/>
                    <a:gd name="connsiteX4527" fmla="*/ 567816 w 855312"/>
                    <a:gd name="connsiteY4527" fmla="*/ 507745 h 1324114"/>
                    <a:gd name="connsiteX4528" fmla="*/ 567792 w 855312"/>
                    <a:gd name="connsiteY4528" fmla="*/ 507563 h 1324114"/>
                    <a:gd name="connsiteX4529" fmla="*/ 572904 w 855312"/>
                    <a:gd name="connsiteY4529" fmla="*/ 501297 h 1324114"/>
                    <a:gd name="connsiteX4530" fmla="*/ 584622 w 855312"/>
                    <a:gd name="connsiteY4530" fmla="*/ 494521 h 1324114"/>
                    <a:gd name="connsiteX4531" fmla="*/ 587172 w 855312"/>
                    <a:gd name="connsiteY4531" fmla="*/ 493659 h 1324114"/>
                    <a:gd name="connsiteX4532" fmla="*/ 597372 w 855312"/>
                    <a:gd name="connsiteY4532" fmla="*/ 492129 h 1324114"/>
                    <a:gd name="connsiteX4533" fmla="*/ 599703 w 855312"/>
                    <a:gd name="connsiteY4533" fmla="*/ 493368 h 1324114"/>
                    <a:gd name="connsiteX4534" fmla="*/ 600128 w 855312"/>
                    <a:gd name="connsiteY4534" fmla="*/ 493598 h 1324114"/>
                    <a:gd name="connsiteX4535" fmla="*/ 600578 w 855312"/>
                    <a:gd name="connsiteY4535" fmla="*/ 493756 h 1324114"/>
                    <a:gd name="connsiteX4536" fmla="*/ 602593 w 855312"/>
                    <a:gd name="connsiteY4536" fmla="*/ 494448 h 1324114"/>
                    <a:gd name="connsiteX4537" fmla="*/ 603188 w 855312"/>
                    <a:gd name="connsiteY4537" fmla="*/ 494655 h 1324114"/>
                    <a:gd name="connsiteX4538" fmla="*/ 603820 w 855312"/>
                    <a:gd name="connsiteY4538" fmla="*/ 494728 h 1324114"/>
                    <a:gd name="connsiteX4539" fmla="*/ 611798 w 855312"/>
                    <a:gd name="connsiteY4539" fmla="*/ 495699 h 1324114"/>
                    <a:gd name="connsiteX4540" fmla="*/ 612138 w 855312"/>
                    <a:gd name="connsiteY4540" fmla="*/ 495747 h 1324114"/>
                    <a:gd name="connsiteX4541" fmla="*/ 612478 w 855312"/>
                    <a:gd name="connsiteY4541" fmla="*/ 495747 h 1324114"/>
                    <a:gd name="connsiteX4542" fmla="*/ 634578 w 855312"/>
                    <a:gd name="connsiteY4542" fmla="*/ 495966 h 1324114"/>
                    <a:gd name="connsiteX4543" fmla="*/ 635003 w 855312"/>
                    <a:gd name="connsiteY4543" fmla="*/ 496112 h 1324114"/>
                    <a:gd name="connsiteX4544" fmla="*/ 635574 w 855312"/>
                    <a:gd name="connsiteY4544" fmla="*/ 496172 h 1324114"/>
                    <a:gd name="connsiteX4545" fmla="*/ 638172 w 855312"/>
                    <a:gd name="connsiteY4545" fmla="*/ 496476 h 1324114"/>
                    <a:gd name="connsiteX4546" fmla="*/ 641694 w 855312"/>
                    <a:gd name="connsiteY4546" fmla="*/ 496901 h 1324114"/>
                    <a:gd name="connsiteX4547" fmla="*/ 643782 w 855312"/>
                    <a:gd name="connsiteY4547" fmla="*/ 494048 h 1324114"/>
                    <a:gd name="connsiteX4548" fmla="*/ 645470 w 855312"/>
                    <a:gd name="connsiteY4548" fmla="*/ 491765 h 1324114"/>
                    <a:gd name="connsiteX4549" fmla="*/ 648324 w 855312"/>
                    <a:gd name="connsiteY4549" fmla="*/ 488887 h 1324114"/>
                    <a:gd name="connsiteX4550" fmla="*/ 648894 w 855312"/>
                    <a:gd name="connsiteY4550" fmla="*/ 488304 h 1324114"/>
                    <a:gd name="connsiteX4551" fmla="*/ 649295 w 855312"/>
                    <a:gd name="connsiteY4551" fmla="*/ 487587 h 1324114"/>
                    <a:gd name="connsiteX4552" fmla="*/ 650424 w 855312"/>
                    <a:gd name="connsiteY4552" fmla="*/ 485572 h 1324114"/>
                    <a:gd name="connsiteX4553" fmla="*/ 651371 w 855312"/>
                    <a:gd name="connsiteY4553" fmla="*/ 483520 h 1324114"/>
                    <a:gd name="connsiteX4554" fmla="*/ 651979 w 855312"/>
                    <a:gd name="connsiteY4554" fmla="*/ 482160 h 1324114"/>
                    <a:gd name="connsiteX4555" fmla="*/ 651894 w 855312"/>
                    <a:gd name="connsiteY4555" fmla="*/ 480678 h 1324114"/>
                    <a:gd name="connsiteX4556" fmla="*/ 651384 w 855312"/>
                    <a:gd name="connsiteY4556" fmla="*/ 472251 h 1324114"/>
                    <a:gd name="connsiteX4557" fmla="*/ 651505 w 855312"/>
                    <a:gd name="connsiteY4557" fmla="*/ 468778 h 1324114"/>
                    <a:gd name="connsiteX4558" fmla="*/ 652137 w 855312"/>
                    <a:gd name="connsiteY4558" fmla="*/ 464407 h 1324114"/>
                    <a:gd name="connsiteX4559" fmla="*/ 652197 w 855312"/>
                    <a:gd name="connsiteY4559" fmla="*/ 463982 h 1324114"/>
                    <a:gd name="connsiteX4560" fmla="*/ 652197 w 855312"/>
                    <a:gd name="connsiteY4560" fmla="*/ 463545 h 1324114"/>
                    <a:gd name="connsiteX4561" fmla="*/ 652197 w 855312"/>
                    <a:gd name="connsiteY4561" fmla="*/ 460132 h 1324114"/>
                    <a:gd name="connsiteX4562" fmla="*/ 652197 w 855312"/>
                    <a:gd name="connsiteY4562" fmla="*/ 459804 h 1324114"/>
                    <a:gd name="connsiteX4563" fmla="*/ 652161 w 855312"/>
                    <a:gd name="connsiteY4563" fmla="*/ 459465 h 1324114"/>
                    <a:gd name="connsiteX4564" fmla="*/ 651068 w 855312"/>
                    <a:gd name="connsiteY4564" fmla="*/ 449677 h 1324114"/>
                    <a:gd name="connsiteX4565" fmla="*/ 651226 w 855312"/>
                    <a:gd name="connsiteY4565" fmla="*/ 446957 h 1324114"/>
                    <a:gd name="connsiteX4566" fmla="*/ 651711 w 855312"/>
                    <a:gd name="connsiteY4566" fmla="*/ 444832 h 1324114"/>
                    <a:gd name="connsiteX4567" fmla="*/ 652367 w 855312"/>
                    <a:gd name="connsiteY4567" fmla="*/ 443096 h 1324114"/>
                    <a:gd name="connsiteX4568" fmla="*/ 652598 w 855312"/>
                    <a:gd name="connsiteY4568" fmla="*/ 442476 h 1324114"/>
                    <a:gd name="connsiteX4569" fmla="*/ 652695 w 855312"/>
                    <a:gd name="connsiteY4569" fmla="*/ 441833 h 1324114"/>
                    <a:gd name="connsiteX4570" fmla="*/ 653047 w 855312"/>
                    <a:gd name="connsiteY4570" fmla="*/ 439477 h 1324114"/>
                    <a:gd name="connsiteX4571" fmla="*/ 653132 w 855312"/>
                    <a:gd name="connsiteY4571" fmla="*/ 438870 h 1324114"/>
                    <a:gd name="connsiteX4572" fmla="*/ 653096 w 855312"/>
                    <a:gd name="connsiteY4572" fmla="*/ 438251 h 1324114"/>
                    <a:gd name="connsiteX4573" fmla="*/ 652841 w 855312"/>
                    <a:gd name="connsiteY4573" fmla="*/ 433649 h 1324114"/>
                    <a:gd name="connsiteX4574" fmla="*/ 652914 w 855312"/>
                    <a:gd name="connsiteY4574" fmla="*/ 433236 h 1324114"/>
                    <a:gd name="connsiteX4575" fmla="*/ 657722 w 855312"/>
                    <a:gd name="connsiteY4575" fmla="*/ 430358 h 1324114"/>
                    <a:gd name="connsiteX4576" fmla="*/ 658014 w 855312"/>
                    <a:gd name="connsiteY4576" fmla="*/ 430176 h 1324114"/>
                    <a:gd name="connsiteX4577" fmla="*/ 658281 w 855312"/>
                    <a:gd name="connsiteY4577" fmla="*/ 429969 h 1324114"/>
                    <a:gd name="connsiteX4578" fmla="*/ 660054 w 855312"/>
                    <a:gd name="connsiteY4578" fmla="*/ 428621 h 1324114"/>
                    <a:gd name="connsiteX4579" fmla="*/ 660661 w 855312"/>
                    <a:gd name="connsiteY4579" fmla="*/ 428160 h 1324114"/>
                    <a:gd name="connsiteX4580" fmla="*/ 661134 w 855312"/>
                    <a:gd name="connsiteY4580" fmla="*/ 427553 h 1324114"/>
                    <a:gd name="connsiteX4581" fmla="*/ 662349 w 855312"/>
                    <a:gd name="connsiteY4581" fmla="*/ 426011 h 1324114"/>
                    <a:gd name="connsiteX4582" fmla="*/ 662689 w 855312"/>
                    <a:gd name="connsiteY4582" fmla="*/ 425574 h 1324114"/>
                    <a:gd name="connsiteX4583" fmla="*/ 662944 w 855312"/>
                    <a:gd name="connsiteY4583" fmla="*/ 425088 h 1324114"/>
                    <a:gd name="connsiteX4584" fmla="*/ 663976 w 855312"/>
                    <a:gd name="connsiteY4584" fmla="*/ 423133 h 1324114"/>
                    <a:gd name="connsiteX4585" fmla="*/ 664619 w 855312"/>
                    <a:gd name="connsiteY4585" fmla="*/ 421906 h 1324114"/>
                    <a:gd name="connsiteX4586" fmla="*/ 664668 w 855312"/>
                    <a:gd name="connsiteY4586" fmla="*/ 420546 h 1324114"/>
                    <a:gd name="connsiteX4587" fmla="*/ 664777 w 855312"/>
                    <a:gd name="connsiteY4587" fmla="*/ 417766 h 1324114"/>
                    <a:gd name="connsiteX4588" fmla="*/ 664838 w 855312"/>
                    <a:gd name="connsiteY4588" fmla="*/ 416357 h 1324114"/>
                    <a:gd name="connsiteX4589" fmla="*/ 664267 w 855312"/>
                    <a:gd name="connsiteY4589" fmla="*/ 415082 h 1324114"/>
                    <a:gd name="connsiteX4590" fmla="*/ 663345 w 855312"/>
                    <a:gd name="connsiteY4590" fmla="*/ 412969 h 1324114"/>
                    <a:gd name="connsiteX4591" fmla="*/ 662737 w 855312"/>
                    <a:gd name="connsiteY4591" fmla="*/ 411597 h 1324114"/>
                    <a:gd name="connsiteX4592" fmla="*/ 661547 w 855312"/>
                    <a:gd name="connsiteY4592" fmla="*/ 410662 h 1324114"/>
                    <a:gd name="connsiteX4593" fmla="*/ 660965 w 855312"/>
                    <a:gd name="connsiteY4593" fmla="*/ 410201 h 1324114"/>
                    <a:gd name="connsiteX4594" fmla="*/ 660649 w 855312"/>
                    <a:gd name="connsiteY4594" fmla="*/ 409496 h 1324114"/>
                    <a:gd name="connsiteX4595" fmla="*/ 659689 w 855312"/>
                    <a:gd name="connsiteY4595" fmla="*/ 407323 h 1324114"/>
                    <a:gd name="connsiteX4596" fmla="*/ 657516 w 855312"/>
                    <a:gd name="connsiteY4596" fmla="*/ 406376 h 1324114"/>
                    <a:gd name="connsiteX4597" fmla="*/ 649987 w 855312"/>
                    <a:gd name="connsiteY4597" fmla="*/ 403109 h 1324114"/>
                    <a:gd name="connsiteX4598" fmla="*/ 649271 w 855312"/>
                    <a:gd name="connsiteY4598" fmla="*/ 402806 h 1324114"/>
                    <a:gd name="connsiteX4599" fmla="*/ 648506 w 855312"/>
                    <a:gd name="connsiteY4599" fmla="*/ 402684 h 1324114"/>
                    <a:gd name="connsiteX4600" fmla="*/ 644778 w 855312"/>
                    <a:gd name="connsiteY4600" fmla="*/ 402101 h 1324114"/>
                    <a:gd name="connsiteX4601" fmla="*/ 644219 w 855312"/>
                    <a:gd name="connsiteY4601" fmla="*/ 402016 h 1324114"/>
                    <a:gd name="connsiteX4602" fmla="*/ 643661 w 855312"/>
                    <a:gd name="connsiteY4602" fmla="*/ 402028 h 1324114"/>
                    <a:gd name="connsiteX4603" fmla="*/ 632307 w 855312"/>
                    <a:gd name="connsiteY4603" fmla="*/ 402356 h 1324114"/>
                    <a:gd name="connsiteX4604" fmla="*/ 630073 w 855312"/>
                    <a:gd name="connsiteY4604" fmla="*/ 402101 h 1324114"/>
                    <a:gd name="connsiteX4605" fmla="*/ 613255 w 855312"/>
                    <a:gd name="connsiteY4605" fmla="*/ 397730 h 1324114"/>
                    <a:gd name="connsiteX4606" fmla="*/ 613024 w 855312"/>
                    <a:gd name="connsiteY4606" fmla="*/ 397487 h 1324114"/>
                    <a:gd name="connsiteX4607" fmla="*/ 611761 w 855312"/>
                    <a:gd name="connsiteY4607" fmla="*/ 395872 h 1324114"/>
                    <a:gd name="connsiteX4608" fmla="*/ 616424 w 855312"/>
                    <a:gd name="connsiteY4608" fmla="*/ 393310 h 1324114"/>
                    <a:gd name="connsiteX4609" fmla="*/ 616837 w 855312"/>
                    <a:gd name="connsiteY4609" fmla="*/ 393079 h 1324114"/>
                    <a:gd name="connsiteX4610" fmla="*/ 617201 w 855312"/>
                    <a:gd name="connsiteY4610" fmla="*/ 392800 h 1324114"/>
                    <a:gd name="connsiteX4611" fmla="*/ 623091 w 855312"/>
                    <a:gd name="connsiteY4611" fmla="*/ 388295 h 1324114"/>
                    <a:gd name="connsiteX4612" fmla="*/ 627583 w 855312"/>
                    <a:gd name="connsiteY4612" fmla="*/ 385805 h 1324114"/>
                    <a:gd name="connsiteX4613" fmla="*/ 628409 w 855312"/>
                    <a:gd name="connsiteY4613" fmla="*/ 385356 h 1324114"/>
                    <a:gd name="connsiteX4614" fmla="*/ 629053 w 855312"/>
                    <a:gd name="connsiteY4614" fmla="*/ 384664 h 1324114"/>
                    <a:gd name="connsiteX4615" fmla="*/ 630486 w 855312"/>
                    <a:gd name="connsiteY4615" fmla="*/ 383146 h 1324114"/>
                    <a:gd name="connsiteX4616" fmla="*/ 631251 w 855312"/>
                    <a:gd name="connsiteY4616" fmla="*/ 382332 h 1324114"/>
                    <a:gd name="connsiteX4617" fmla="*/ 631688 w 855312"/>
                    <a:gd name="connsiteY4617" fmla="*/ 381313 h 1324114"/>
                    <a:gd name="connsiteX4618" fmla="*/ 632526 w 855312"/>
                    <a:gd name="connsiteY4618" fmla="*/ 379273 h 1324114"/>
                    <a:gd name="connsiteX4619" fmla="*/ 632939 w 855312"/>
                    <a:gd name="connsiteY4619" fmla="*/ 378289 h 1324114"/>
                    <a:gd name="connsiteX4620" fmla="*/ 632987 w 855312"/>
                    <a:gd name="connsiteY4620" fmla="*/ 377233 h 1324114"/>
                    <a:gd name="connsiteX4621" fmla="*/ 633023 w 855312"/>
                    <a:gd name="connsiteY4621" fmla="*/ 376504 h 1324114"/>
                    <a:gd name="connsiteX4622" fmla="*/ 635671 w 855312"/>
                    <a:gd name="connsiteY4622" fmla="*/ 375472 h 1324114"/>
                    <a:gd name="connsiteX4623" fmla="*/ 636290 w 855312"/>
                    <a:gd name="connsiteY4623" fmla="*/ 375229 h 1324114"/>
                    <a:gd name="connsiteX4624" fmla="*/ 636837 w 855312"/>
                    <a:gd name="connsiteY4624" fmla="*/ 374865 h 1324114"/>
                    <a:gd name="connsiteX4625" fmla="*/ 638561 w 855312"/>
                    <a:gd name="connsiteY4625" fmla="*/ 373711 h 1324114"/>
                    <a:gd name="connsiteX4626" fmla="*/ 639775 w 855312"/>
                    <a:gd name="connsiteY4626" fmla="*/ 372910 h 1324114"/>
                    <a:gd name="connsiteX4627" fmla="*/ 640491 w 855312"/>
                    <a:gd name="connsiteY4627" fmla="*/ 371647 h 1324114"/>
                    <a:gd name="connsiteX4628" fmla="*/ 641354 w 855312"/>
                    <a:gd name="connsiteY4628" fmla="*/ 370117 h 1324114"/>
                    <a:gd name="connsiteX4629" fmla="*/ 641657 w 855312"/>
                    <a:gd name="connsiteY4629" fmla="*/ 369570 h 1324114"/>
                    <a:gd name="connsiteX4630" fmla="*/ 641839 w 855312"/>
                    <a:gd name="connsiteY4630" fmla="*/ 368987 h 1324114"/>
                    <a:gd name="connsiteX4631" fmla="*/ 642531 w 855312"/>
                    <a:gd name="connsiteY4631" fmla="*/ 366814 h 1324114"/>
                    <a:gd name="connsiteX4632" fmla="*/ 642629 w 855312"/>
                    <a:gd name="connsiteY4632" fmla="*/ 366510 h 1324114"/>
                    <a:gd name="connsiteX4633" fmla="*/ 642689 w 855312"/>
                    <a:gd name="connsiteY4633" fmla="*/ 366195 h 1324114"/>
                    <a:gd name="connsiteX4634" fmla="*/ 643236 w 855312"/>
                    <a:gd name="connsiteY4634" fmla="*/ 363511 h 1324114"/>
                    <a:gd name="connsiteX4635" fmla="*/ 643916 w 855312"/>
                    <a:gd name="connsiteY4635" fmla="*/ 361981 h 1324114"/>
                    <a:gd name="connsiteX4636" fmla="*/ 644098 w 855312"/>
                    <a:gd name="connsiteY4636" fmla="*/ 361556 h 1324114"/>
                    <a:gd name="connsiteX4637" fmla="*/ 644219 w 855312"/>
                    <a:gd name="connsiteY4637" fmla="*/ 361119 h 1324114"/>
                    <a:gd name="connsiteX4638" fmla="*/ 644620 w 855312"/>
                    <a:gd name="connsiteY4638" fmla="*/ 359625 h 1324114"/>
                    <a:gd name="connsiteX4639" fmla="*/ 644984 w 855312"/>
                    <a:gd name="connsiteY4639" fmla="*/ 358253 h 1324114"/>
                    <a:gd name="connsiteX4640" fmla="*/ 644705 w 855312"/>
                    <a:gd name="connsiteY4640" fmla="*/ 356857 h 1324114"/>
                    <a:gd name="connsiteX4641" fmla="*/ 644523 w 855312"/>
                    <a:gd name="connsiteY4641" fmla="*/ 355946 h 1324114"/>
                    <a:gd name="connsiteX4642" fmla="*/ 644062 w 855312"/>
                    <a:gd name="connsiteY4642" fmla="*/ 353688 h 1324114"/>
                    <a:gd name="connsiteX4643" fmla="*/ 642993 w 855312"/>
                    <a:gd name="connsiteY4643" fmla="*/ 352886 h 1324114"/>
                    <a:gd name="connsiteX4644" fmla="*/ 643649 w 855312"/>
                    <a:gd name="connsiteY4644" fmla="*/ 351866 h 1324114"/>
                    <a:gd name="connsiteX4645" fmla="*/ 644984 w 855312"/>
                    <a:gd name="connsiteY4645" fmla="*/ 349814 h 1324114"/>
                    <a:gd name="connsiteX4646" fmla="*/ 644511 w 855312"/>
                    <a:gd name="connsiteY4646" fmla="*/ 347397 h 1324114"/>
                    <a:gd name="connsiteX4647" fmla="*/ 644292 w 855312"/>
                    <a:gd name="connsiteY4647" fmla="*/ 346268 h 1324114"/>
                    <a:gd name="connsiteX4648" fmla="*/ 643977 w 855312"/>
                    <a:gd name="connsiteY4648" fmla="*/ 344653 h 1324114"/>
                    <a:gd name="connsiteX4649" fmla="*/ 642896 w 855312"/>
                    <a:gd name="connsiteY4649" fmla="*/ 343415 h 1324114"/>
                    <a:gd name="connsiteX4650" fmla="*/ 641281 w 855312"/>
                    <a:gd name="connsiteY4650" fmla="*/ 341581 h 1324114"/>
                    <a:gd name="connsiteX4651" fmla="*/ 640662 w 855312"/>
                    <a:gd name="connsiteY4651" fmla="*/ 340876 h 1324114"/>
                    <a:gd name="connsiteX4652" fmla="*/ 639860 w 855312"/>
                    <a:gd name="connsiteY4652" fmla="*/ 340391 h 1324114"/>
                    <a:gd name="connsiteX4653" fmla="*/ 637966 w 855312"/>
                    <a:gd name="connsiteY4653" fmla="*/ 339237 h 1324114"/>
                    <a:gd name="connsiteX4654" fmla="*/ 638731 w 855312"/>
                    <a:gd name="connsiteY4654" fmla="*/ 332874 h 1324114"/>
                    <a:gd name="connsiteX4655" fmla="*/ 639241 w 855312"/>
                    <a:gd name="connsiteY4655" fmla="*/ 332546 h 1324114"/>
                    <a:gd name="connsiteX4656" fmla="*/ 641378 w 855312"/>
                    <a:gd name="connsiteY4656" fmla="*/ 331174 h 1324114"/>
                    <a:gd name="connsiteX4657" fmla="*/ 641888 w 855312"/>
                    <a:gd name="connsiteY4657" fmla="*/ 328685 h 1324114"/>
                    <a:gd name="connsiteX4658" fmla="*/ 642410 w 855312"/>
                    <a:gd name="connsiteY4658" fmla="*/ 326160 h 1324114"/>
                    <a:gd name="connsiteX4659" fmla="*/ 642544 w 855312"/>
                    <a:gd name="connsiteY4659" fmla="*/ 325516 h 1324114"/>
                    <a:gd name="connsiteX4660" fmla="*/ 642544 w 855312"/>
                    <a:gd name="connsiteY4660" fmla="*/ 324872 h 1324114"/>
                    <a:gd name="connsiteX4661" fmla="*/ 642374 w 855312"/>
                    <a:gd name="connsiteY4661" fmla="*/ 301667 h 1324114"/>
                    <a:gd name="connsiteX4662" fmla="*/ 642677 w 855312"/>
                    <a:gd name="connsiteY4662" fmla="*/ 298704 h 1324114"/>
                    <a:gd name="connsiteX4663" fmla="*/ 643551 w 855312"/>
                    <a:gd name="connsiteY4663" fmla="*/ 295936 h 1324114"/>
                    <a:gd name="connsiteX4664" fmla="*/ 644899 w 855312"/>
                    <a:gd name="connsiteY4664" fmla="*/ 293240 h 1324114"/>
                    <a:gd name="connsiteX4665" fmla="*/ 647109 w 855312"/>
                    <a:gd name="connsiteY4665" fmla="*/ 289900 h 1324114"/>
                    <a:gd name="connsiteX4666" fmla="*/ 647680 w 855312"/>
                    <a:gd name="connsiteY4666" fmla="*/ 289038 h 1324114"/>
                    <a:gd name="connsiteX4667" fmla="*/ 647935 w 855312"/>
                    <a:gd name="connsiteY4667" fmla="*/ 288043 h 1324114"/>
                    <a:gd name="connsiteX4668" fmla="*/ 648627 w 855312"/>
                    <a:gd name="connsiteY4668" fmla="*/ 285286 h 1324114"/>
                    <a:gd name="connsiteX4669" fmla="*/ 648919 w 855312"/>
                    <a:gd name="connsiteY4669" fmla="*/ 284132 h 1324114"/>
                    <a:gd name="connsiteX4670" fmla="*/ 648749 w 855312"/>
                    <a:gd name="connsiteY4670" fmla="*/ 282967 h 1324114"/>
                    <a:gd name="connsiteX4671" fmla="*/ 648299 w 855312"/>
                    <a:gd name="connsiteY4671" fmla="*/ 279713 h 1324114"/>
                    <a:gd name="connsiteX4672" fmla="*/ 648129 w 855312"/>
                    <a:gd name="connsiteY4672" fmla="*/ 278450 h 1324114"/>
                    <a:gd name="connsiteX4673" fmla="*/ 647474 w 855312"/>
                    <a:gd name="connsiteY4673" fmla="*/ 277381 h 1324114"/>
                    <a:gd name="connsiteX4674" fmla="*/ 642932 w 855312"/>
                    <a:gd name="connsiteY4674" fmla="*/ 269925 h 1324114"/>
                    <a:gd name="connsiteX4675" fmla="*/ 642216 w 855312"/>
                    <a:gd name="connsiteY4675" fmla="*/ 268395 h 1324114"/>
                    <a:gd name="connsiteX4676" fmla="*/ 641414 w 855312"/>
                    <a:gd name="connsiteY4676" fmla="*/ 261778 h 1324114"/>
                    <a:gd name="connsiteX4677" fmla="*/ 641281 w 855312"/>
                    <a:gd name="connsiteY4677" fmla="*/ 260697 h 1324114"/>
                    <a:gd name="connsiteX4678" fmla="*/ 640783 w 855312"/>
                    <a:gd name="connsiteY4678" fmla="*/ 259738 h 1324114"/>
                    <a:gd name="connsiteX4679" fmla="*/ 640164 w 855312"/>
                    <a:gd name="connsiteY4679" fmla="*/ 258523 h 1324114"/>
                    <a:gd name="connsiteX4680" fmla="*/ 639508 w 855312"/>
                    <a:gd name="connsiteY4680" fmla="*/ 257248 h 1324114"/>
                    <a:gd name="connsiteX4681" fmla="*/ 638354 w 855312"/>
                    <a:gd name="connsiteY4681" fmla="*/ 256410 h 1324114"/>
                    <a:gd name="connsiteX4682" fmla="*/ 636557 w 855312"/>
                    <a:gd name="connsiteY4682" fmla="*/ 255099 h 1324114"/>
                    <a:gd name="connsiteX4683" fmla="*/ 635938 w 855312"/>
                    <a:gd name="connsiteY4683" fmla="*/ 254637 h 1324114"/>
                    <a:gd name="connsiteX4684" fmla="*/ 635209 w 855312"/>
                    <a:gd name="connsiteY4684" fmla="*/ 254358 h 1324114"/>
                    <a:gd name="connsiteX4685" fmla="*/ 633388 w 855312"/>
                    <a:gd name="connsiteY4685" fmla="*/ 253629 h 1324114"/>
                    <a:gd name="connsiteX4686" fmla="*/ 633072 w 855312"/>
                    <a:gd name="connsiteY4686" fmla="*/ 253496 h 1324114"/>
                    <a:gd name="connsiteX4687" fmla="*/ 632732 w 855312"/>
                    <a:gd name="connsiteY4687" fmla="*/ 253411 h 1324114"/>
                    <a:gd name="connsiteX4688" fmla="*/ 629733 w 855312"/>
                    <a:gd name="connsiteY4688" fmla="*/ 252597 h 1324114"/>
                    <a:gd name="connsiteX4689" fmla="*/ 629709 w 855312"/>
                    <a:gd name="connsiteY4689" fmla="*/ 252585 h 1324114"/>
                    <a:gd name="connsiteX4690" fmla="*/ 629660 w 855312"/>
                    <a:gd name="connsiteY4690" fmla="*/ 251990 h 1324114"/>
                    <a:gd name="connsiteX4691" fmla="*/ 630692 w 855312"/>
                    <a:gd name="connsiteY4691" fmla="*/ 248675 h 1324114"/>
                    <a:gd name="connsiteX4692" fmla="*/ 652877 w 855312"/>
                    <a:gd name="connsiteY4692" fmla="*/ 220164 h 1324114"/>
                    <a:gd name="connsiteX4693" fmla="*/ 653217 w 855312"/>
                    <a:gd name="connsiteY4693" fmla="*/ 219739 h 1324114"/>
                    <a:gd name="connsiteX4694" fmla="*/ 653472 w 855312"/>
                    <a:gd name="connsiteY4694" fmla="*/ 219241 h 1324114"/>
                    <a:gd name="connsiteX4695" fmla="*/ 655658 w 855312"/>
                    <a:gd name="connsiteY4695" fmla="*/ 215039 h 1324114"/>
                    <a:gd name="connsiteX4696" fmla="*/ 655865 w 855312"/>
                    <a:gd name="connsiteY4696" fmla="*/ 214651 h 1324114"/>
                    <a:gd name="connsiteX4697" fmla="*/ 656010 w 855312"/>
                    <a:gd name="connsiteY4697" fmla="*/ 214226 h 1324114"/>
                    <a:gd name="connsiteX4698" fmla="*/ 657188 w 855312"/>
                    <a:gd name="connsiteY4698" fmla="*/ 210813 h 1324114"/>
                    <a:gd name="connsiteX4699" fmla="*/ 657309 w 855312"/>
                    <a:gd name="connsiteY4699" fmla="*/ 210668 h 1324114"/>
                    <a:gd name="connsiteX4700" fmla="*/ 658257 w 855312"/>
                    <a:gd name="connsiteY4700" fmla="*/ 210607 h 1324114"/>
                    <a:gd name="connsiteX4701" fmla="*/ 658621 w 855312"/>
                    <a:gd name="connsiteY4701" fmla="*/ 210583 h 1324114"/>
                    <a:gd name="connsiteX4702" fmla="*/ 658985 w 855312"/>
                    <a:gd name="connsiteY4702" fmla="*/ 210510 h 1324114"/>
                    <a:gd name="connsiteX4703" fmla="*/ 661402 w 855312"/>
                    <a:gd name="connsiteY4703" fmla="*/ 210049 h 1324114"/>
                    <a:gd name="connsiteX4704" fmla="*/ 662689 w 855312"/>
                    <a:gd name="connsiteY4704" fmla="*/ 209794 h 1324114"/>
                    <a:gd name="connsiteX4705" fmla="*/ 663757 w 855312"/>
                    <a:gd name="connsiteY4705" fmla="*/ 209041 h 1324114"/>
                    <a:gd name="connsiteX4706" fmla="*/ 665542 w 855312"/>
                    <a:gd name="connsiteY4706" fmla="*/ 207778 h 1324114"/>
                    <a:gd name="connsiteX4707" fmla="*/ 666380 w 855312"/>
                    <a:gd name="connsiteY4707" fmla="*/ 207183 h 1324114"/>
                    <a:gd name="connsiteX4708" fmla="*/ 666975 w 855312"/>
                    <a:gd name="connsiteY4708" fmla="*/ 206345 h 1324114"/>
                    <a:gd name="connsiteX4709" fmla="*/ 668408 w 855312"/>
                    <a:gd name="connsiteY4709" fmla="*/ 204341 h 1324114"/>
                    <a:gd name="connsiteX4710" fmla="*/ 669222 w 855312"/>
                    <a:gd name="connsiteY4710" fmla="*/ 203188 h 1324114"/>
                    <a:gd name="connsiteX4711" fmla="*/ 669452 w 855312"/>
                    <a:gd name="connsiteY4711" fmla="*/ 201803 h 1324114"/>
                    <a:gd name="connsiteX4712" fmla="*/ 669683 w 855312"/>
                    <a:gd name="connsiteY4712" fmla="*/ 200443 h 1324114"/>
                    <a:gd name="connsiteX4713" fmla="*/ 677892 w 855312"/>
                    <a:gd name="connsiteY4713" fmla="*/ 198573 h 1324114"/>
                    <a:gd name="connsiteX4714" fmla="*/ 678487 w 855312"/>
                    <a:gd name="connsiteY4714" fmla="*/ 198440 h 1324114"/>
                    <a:gd name="connsiteX4715" fmla="*/ 679045 w 855312"/>
                    <a:gd name="connsiteY4715" fmla="*/ 198185 h 1324114"/>
                    <a:gd name="connsiteX4716" fmla="*/ 679750 w 855312"/>
                    <a:gd name="connsiteY4716" fmla="*/ 197869 h 1324114"/>
                    <a:gd name="connsiteX4717" fmla="*/ 681693 w 855312"/>
                    <a:gd name="connsiteY4717" fmla="*/ 196995 h 1324114"/>
                    <a:gd name="connsiteX4718" fmla="*/ 682943 w 855312"/>
                    <a:gd name="connsiteY4718" fmla="*/ 194955 h 1324114"/>
                    <a:gd name="connsiteX4719" fmla="*/ 688335 w 855312"/>
                    <a:gd name="connsiteY4719" fmla="*/ 184330 h 1324114"/>
                    <a:gd name="connsiteX4720" fmla="*/ 688590 w 855312"/>
                    <a:gd name="connsiteY4720" fmla="*/ 183844 h 1324114"/>
                    <a:gd name="connsiteX4721" fmla="*/ 688747 w 855312"/>
                    <a:gd name="connsiteY4721" fmla="*/ 183310 h 1324114"/>
                    <a:gd name="connsiteX4722" fmla="*/ 689452 w 855312"/>
                    <a:gd name="connsiteY4722" fmla="*/ 180966 h 1324114"/>
                    <a:gd name="connsiteX4723" fmla="*/ 690059 w 855312"/>
                    <a:gd name="connsiteY4723" fmla="*/ 178950 h 1324114"/>
                    <a:gd name="connsiteX4724" fmla="*/ 689282 w 855312"/>
                    <a:gd name="connsiteY4724" fmla="*/ 176995 h 1324114"/>
                    <a:gd name="connsiteX4725" fmla="*/ 688760 w 855312"/>
                    <a:gd name="connsiteY4725" fmla="*/ 175684 h 1324114"/>
                    <a:gd name="connsiteX4726" fmla="*/ 687764 w 855312"/>
                    <a:gd name="connsiteY4726" fmla="*/ 173183 h 1324114"/>
                    <a:gd name="connsiteX4727" fmla="*/ 685238 w 855312"/>
                    <a:gd name="connsiteY4727" fmla="*/ 172248 h 1324114"/>
                    <a:gd name="connsiteX4728" fmla="*/ 683623 w 855312"/>
                    <a:gd name="connsiteY4728" fmla="*/ 171641 h 1324114"/>
                    <a:gd name="connsiteX4729" fmla="*/ 681838 w 855312"/>
                    <a:gd name="connsiteY4729" fmla="*/ 170961 h 1324114"/>
                    <a:gd name="connsiteX4730" fmla="*/ 679980 w 855312"/>
                    <a:gd name="connsiteY4730" fmla="*/ 171434 h 1324114"/>
                    <a:gd name="connsiteX4731" fmla="*/ 676362 w 855312"/>
                    <a:gd name="connsiteY4731" fmla="*/ 172369 h 1324114"/>
                    <a:gd name="connsiteX4732" fmla="*/ 675767 w 855312"/>
                    <a:gd name="connsiteY4732" fmla="*/ 172539 h 1324114"/>
                    <a:gd name="connsiteX4733" fmla="*/ 675208 w 855312"/>
                    <a:gd name="connsiteY4733" fmla="*/ 172806 h 1324114"/>
                    <a:gd name="connsiteX4734" fmla="*/ 672804 w 855312"/>
                    <a:gd name="connsiteY4734" fmla="*/ 173996 h 1324114"/>
                    <a:gd name="connsiteX4735" fmla="*/ 672537 w 855312"/>
                    <a:gd name="connsiteY4735" fmla="*/ 174130 h 1324114"/>
                    <a:gd name="connsiteX4736" fmla="*/ 672282 w 855312"/>
                    <a:gd name="connsiteY4736" fmla="*/ 174300 h 1324114"/>
                    <a:gd name="connsiteX4737" fmla="*/ 670217 w 855312"/>
                    <a:gd name="connsiteY4737" fmla="*/ 175587 h 1324114"/>
                    <a:gd name="connsiteX4738" fmla="*/ 670217 w 855312"/>
                    <a:gd name="connsiteY4738" fmla="*/ 175575 h 1324114"/>
                    <a:gd name="connsiteX4739" fmla="*/ 668930 w 855312"/>
                    <a:gd name="connsiteY4739" fmla="*/ 170208 h 1324114"/>
                    <a:gd name="connsiteX4740" fmla="*/ 663454 w 855312"/>
                    <a:gd name="connsiteY4740" fmla="*/ 170985 h 1324114"/>
                    <a:gd name="connsiteX4741" fmla="*/ 657589 w 855312"/>
                    <a:gd name="connsiteY4741" fmla="*/ 171823 h 1324114"/>
                    <a:gd name="connsiteX4742" fmla="*/ 655889 w 855312"/>
                    <a:gd name="connsiteY4742" fmla="*/ 171883 h 1324114"/>
                    <a:gd name="connsiteX4743" fmla="*/ 652537 w 855312"/>
                    <a:gd name="connsiteY4743" fmla="*/ 171434 h 1324114"/>
                    <a:gd name="connsiteX4744" fmla="*/ 652100 w 855312"/>
                    <a:gd name="connsiteY4744" fmla="*/ 171386 h 1324114"/>
                    <a:gd name="connsiteX4745" fmla="*/ 651663 w 855312"/>
                    <a:gd name="connsiteY4745" fmla="*/ 171386 h 1324114"/>
                    <a:gd name="connsiteX4746" fmla="*/ 649854 w 855312"/>
                    <a:gd name="connsiteY4746" fmla="*/ 171410 h 1324114"/>
                    <a:gd name="connsiteX4747" fmla="*/ 649186 w 855312"/>
                    <a:gd name="connsiteY4747" fmla="*/ 171313 h 1324114"/>
                    <a:gd name="connsiteX4748" fmla="*/ 649125 w 855312"/>
                    <a:gd name="connsiteY4748" fmla="*/ 171288 h 1324114"/>
                    <a:gd name="connsiteX4749" fmla="*/ 646830 w 855312"/>
                    <a:gd name="connsiteY4749" fmla="*/ 169552 h 1324114"/>
                    <a:gd name="connsiteX4750" fmla="*/ 646478 w 855312"/>
                    <a:gd name="connsiteY4750" fmla="*/ 169297 h 1324114"/>
                    <a:gd name="connsiteX4751" fmla="*/ 646089 w 855312"/>
                    <a:gd name="connsiteY4751" fmla="*/ 169078 h 1324114"/>
                    <a:gd name="connsiteX4752" fmla="*/ 643612 w 855312"/>
                    <a:gd name="connsiteY4752" fmla="*/ 167730 h 1324114"/>
                    <a:gd name="connsiteX4753" fmla="*/ 643321 w 855312"/>
                    <a:gd name="connsiteY4753" fmla="*/ 167561 h 1324114"/>
                    <a:gd name="connsiteX4754" fmla="*/ 643017 w 855312"/>
                    <a:gd name="connsiteY4754" fmla="*/ 167439 h 1324114"/>
                    <a:gd name="connsiteX4755" fmla="*/ 639629 w 855312"/>
                    <a:gd name="connsiteY4755" fmla="*/ 166043 h 1324114"/>
                    <a:gd name="connsiteX4756" fmla="*/ 639654 w 855312"/>
                    <a:gd name="connsiteY4756" fmla="*/ 166006 h 1324114"/>
                    <a:gd name="connsiteX4757" fmla="*/ 644742 w 855312"/>
                    <a:gd name="connsiteY4757" fmla="*/ 159243 h 1324114"/>
                    <a:gd name="connsiteX4758" fmla="*/ 645142 w 855312"/>
                    <a:gd name="connsiteY4758" fmla="*/ 158721 h 1324114"/>
                    <a:gd name="connsiteX4759" fmla="*/ 645409 w 855312"/>
                    <a:gd name="connsiteY4759" fmla="*/ 158113 h 1324114"/>
                    <a:gd name="connsiteX4760" fmla="*/ 647134 w 855312"/>
                    <a:gd name="connsiteY4760" fmla="*/ 154361 h 1324114"/>
                    <a:gd name="connsiteX4761" fmla="*/ 647170 w 855312"/>
                    <a:gd name="connsiteY4761" fmla="*/ 154325 h 1324114"/>
                    <a:gd name="connsiteX4762" fmla="*/ 648008 w 855312"/>
                    <a:gd name="connsiteY4762" fmla="*/ 153803 h 1324114"/>
                    <a:gd name="connsiteX4763" fmla="*/ 654140 w 855312"/>
                    <a:gd name="connsiteY4763" fmla="*/ 151265 h 1324114"/>
                    <a:gd name="connsiteX4764" fmla="*/ 654626 w 855312"/>
                    <a:gd name="connsiteY4764" fmla="*/ 151070 h 1324114"/>
                    <a:gd name="connsiteX4765" fmla="*/ 655075 w 855312"/>
                    <a:gd name="connsiteY4765" fmla="*/ 150791 h 1324114"/>
                    <a:gd name="connsiteX4766" fmla="*/ 656812 w 855312"/>
                    <a:gd name="connsiteY4766" fmla="*/ 149698 h 1324114"/>
                    <a:gd name="connsiteX4767" fmla="*/ 657734 w 855312"/>
                    <a:gd name="connsiteY4767" fmla="*/ 149115 h 1324114"/>
                    <a:gd name="connsiteX4768" fmla="*/ 658402 w 855312"/>
                    <a:gd name="connsiteY4768" fmla="*/ 148253 h 1324114"/>
                    <a:gd name="connsiteX4769" fmla="*/ 659544 w 855312"/>
                    <a:gd name="connsiteY4769" fmla="*/ 146760 h 1324114"/>
                    <a:gd name="connsiteX4770" fmla="*/ 660357 w 855312"/>
                    <a:gd name="connsiteY4770" fmla="*/ 145703 h 1324114"/>
                    <a:gd name="connsiteX4771" fmla="*/ 660649 w 855312"/>
                    <a:gd name="connsiteY4771" fmla="*/ 144404 h 1324114"/>
                    <a:gd name="connsiteX4772" fmla="*/ 661050 w 855312"/>
                    <a:gd name="connsiteY4772" fmla="*/ 142631 h 1324114"/>
                    <a:gd name="connsiteX4773" fmla="*/ 661317 w 855312"/>
                    <a:gd name="connsiteY4773" fmla="*/ 141417 h 1324114"/>
                    <a:gd name="connsiteX4774" fmla="*/ 661086 w 855312"/>
                    <a:gd name="connsiteY4774" fmla="*/ 140202 h 1324114"/>
                    <a:gd name="connsiteX4775" fmla="*/ 660576 w 855312"/>
                    <a:gd name="connsiteY4775" fmla="*/ 137421 h 1324114"/>
                    <a:gd name="connsiteX4776" fmla="*/ 660406 w 855312"/>
                    <a:gd name="connsiteY4776" fmla="*/ 136475 h 1324114"/>
                    <a:gd name="connsiteX4777" fmla="*/ 659945 w 855312"/>
                    <a:gd name="connsiteY4777" fmla="*/ 135625 h 1324114"/>
                    <a:gd name="connsiteX4778" fmla="*/ 659022 w 855312"/>
                    <a:gd name="connsiteY4778" fmla="*/ 133924 h 1324114"/>
                    <a:gd name="connsiteX4779" fmla="*/ 658742 w 855312"/>
                    <a:gd name="connsiteY4779" fmla="*/ 133402 h 1324114"/>
                    <a:gd name="connsiteX4780" fmla="*/ 658366 w 855312"/>
                    <a:gd name="connsiteY4780" fmla="*/ 132953 h 1324114"/>
                    <a:gd name="connsiteX4781" fmla="*/ 657164 w 855312"/>
                    <a:gd name="connsiteY4781" fmla="*/ 131496 h 1324114"/>
                    <a:gd name="connsiteX4782" fmla="*/ 656872 w 855312"/>
                    <a:gd name="connsiteY4782" fmla="*/ 131144 h 1324114"/>
                    <a:gd name="connsiteX4783" fmla="*/ 656532 w 855312"/>
                    <a:gd name="connsiteY4783" fmla="*/ 130840 h 1324114"/>
                    <a:gd name="connsiteX4784" fmla="*/ 655804 w 855312"/>
                    <a:gd name="connsiteY4784" fmla="*/ 130197 h 1324114"/>
                    <a:gd name="connsiteX4785" fmla="*/ 656326 w 855312"/>
                    <a:gd name="connsiteY4785" fmla="*/ 129456 h 1324114"/>
                    <a:gd name="connsiteX4786" fmla="*/ 656629 w 855312"/>
                    <a:gd name="connsiteY4786" fmla="*/ 129189 h 1324114"/>
                    <a:gd name="connsiteX4787" fmla="*/ 656860 w 855312"/>
                    <a:gd name="connsiteY4787" fmla="*/ 129067 h 1324114"/>
                    <a:gd name="connsiteX4788" fmla="*/ 658293 w 855312"/>
                    <a:gd name="connsiteY4788" fmla="*/ 128557 h 1324114"/>
                    <a:gd name="connsiteX4789" fmla="*/ 658585 w 855312"/>
                    <a:gd name="connsiteY4789" fmla="*/ 128448 h 1324114"/>
                    <a:gd name="connsiteX4790" fmla="*/ 658876 w 855312"/>
                    <a:gd name="connsiteY4790" fmla="*/ 128314 h 1324114"/>
                    <a:gd name="connsiteX4791" fmla="*/ 660722 w 855312"/>
                    <a:gd name="connsiteY4791" fmla="*/ 127428 h 1324114"/>
                    <a:gd name="connsiteX4792" fmla="*/ 661195 w 855312"/>
                    <a:gd name="connsiteY4792" fmla="*/ 127197 h 1324114"/>
                    <a:gd name="connsiteX4793" fmla="*/ 661620 w 855312"/>
                    <a:gd name="connsiteY4793" fmla="*/ 126906 h 1324114"/>
                    <a:gd name="connsiteX4794" fmla="*/ 663442 w 855312"/>
                    <a:gd name="connsiteY4794" fmla="*/ 125619 h 1324114"/>
                    <a:gd name="connsiteX4795" fmla="*/ 663794 w 855312"/>
                    <a:gd name="connsiteY4795" fmla="*/ 125364 h 1324114"/>
                    <a:gd name="connsiteX4796" fmla="*/ 664110 w 855312"/>
                    <a:gd name="connsiteY4796" fmla="*/ 125060 h 1324114"/>
                    <a:gd name="connsiteX4797" fmla="*/ 675475 w 855312"/>
                    <a:gd name="connsiteY4797" fmla="*/ 114265 h 1324114"/>
                    <a:gd name="connsiteX4798" fmla="*/ 675997 w 855312"/>
                    <a:gd name="connsiteY4798" fmla="*/ 113767 h 1324114"/>
                    <a:gd name="connsiteX4799" fmla="*/ 676398 w 855312"/>
                    <a:gd name="connsiteY4799" fmla="*/ 113160 h 1324114"/>
                    <a:gd name="connsiteX4800" fmla="*/ 677212 w 855312"/>
                    <a:gd name="connsiteY4800" fmla="*/ 111897 h 1324114"/>
                    <a:gd name="connsiteX4801" fmla="*/ 677770 w 855312"/>
                    <a:gd name="connsiteY4801" fmla="*/ 111023 h 1324114"/>
                    <a:gd name="connsiteX4802" fmla="*/ 678013 w 855312"/>
                    <a:gd name="connsiteY4802" fmla="*/ 110027 h 1324114"/>
                    <a:gd name="connsiteX4803" fmla="*/ 678475 w 855312"/>
                    <a:gd name="connsiteY4803" fmla="*/ 108109 h 1324114"/>
                    <a:gd name="connsiteX4804" fmla="*/ 678693 w 855312"/>
                    <a:gd name="connsiteY4804" fmla="*/ 107222 h 1324114"/>
                    <a:gd name="connsiteX4805" fmla="*/ 678633 w 855312"/>
                    <a:gd name="connsiteY4805" fmla="*/ 106311 h 1324114"/>
                    <a:gd name="connsiteX4806" fmla="*/ 678450 w 855312"/>
                    <a:gd name="connsiteY4806" fmla="*/ 103348 h 1324114"/>
                    <a:gd name="connsiteX4807" fmla="*/ 677600 w 855312"/>
                    <a:gd name="connsiteY4807" fmla="*/ 97204 h 1324114"/>
                    <a:gd name="connsiteX4808" fmla="*/ 677527 w 855312"/>
                    <a:gd name="connsiteY4808" fmla="*/ 96682 h 1324114"/>
                    <a:gd name="connsiteX4809" fmla="*/ 677370 w 855312"/>
                    <a:gd name="connsiteY4809" fmla="*/ 96196 h 1324114"/>
                    <a:gd name="connsiteX4810" fmla="*/ 675487 w 855312"/>
                    <a:gd name="connsiteY4810" fmla="*/ 90319 h 1324114"/>
                    <a:gd name="connsiteX4811" fmla="*/ 675378 w 855312"/>
                    <a:gd name="connsiteY4811" fmla="*/ 89955 h 1324114"/>
                    <a:gd name="connsiteX4812" fmla="*/ 675220 w 855312"/>
                    <a:gd name="connsiteY4812" fmla="*/ 89615 h 1324114"/>
                    <a:gd name="connsiteX4813" fmla="*/ 673727 w 855312"/>
                    <a:gd name="connsiteY4813" fmla="*/ 86397 h 1324114"/>
                    <a:gd name="connsiteX4814" fmla="*/ 673447 w 855312"/>
                    <a:gd name="connsiteY4814" fmla="*/ 85790 h 1324114"/>
                    <a:gd name="connsiteX4815" fmla="*/ 673035 w 855312"/>
                    <a:gd name="connsiteY4815" fmla="*/ 85256 h 1324114"/>
                    <a:gd name="connsiteX4816" fmla="*/ 671419 w 855312"/>
                    <a:gd name="connsiteY4816" fmla="*/ 83155 h 1324114"/>
                    <a:gd name="connsiteX4817" fmla="*/ 671031 w 855312"/>
                    <a:gd name="connsiteY4817" fmla="*/ 82645 h 1324114"/>
                    <a:gd name="connsiteX4818" fmla="*/ 670545 w 855312"/>
                    <a:gd name="connsiteY4818" fmla="*/ 82232 h 1324114"/>
                    <a:gd name="connsiteX4819" fmla="*/ 668153 w 855312"/>
                    <a:gd name="connsiteY4819" fmla="*/ 80192 h 1324114"/>
                    <a:gd name="connsiteX4820" fmla="*/ 668432 w 855312"/>
                    <a:gd name="connsiteY4820" fmla="*/ 80095 h 1324114"/>
                    <a:gd name="connsiteX4821" fmla="*/ 668906 w 855312"/>
                    <a:gd name="connsiteY4821" fmla="*/ 79840 h 1324114"/>
                    <a:gd name="connsiteX4822" fmla="*/ 669817 w 855312"/>
                    <a:gd name="connsiteY4822" fmla="*/ 79354 h 1324114"/>
                    <a:gd name="connsiteX4823" fmla="*/ 670873 w 855312"/>
                    <a:gd name="connsiteY4823" fmla="*/ 78783 h 1324114"/>
                    <a:gd name="connsiteX4824" fmla="*/ 671638 w 855312"/>
                    <a:gd name="connsiteY4824" fmla="*/ 77860 h 1324114"/>
                    <a:gd name="connsiteX4825" fmla="*/ 672270 w 855312"/>
                    <a:gd name="connsiteY4825" fmla="*/ 77096 h 1324114"/>
                    <a:gd name="connsiteX4826" fmla="*/ 673460 w 855312"/>
                    <a:gd name="connsiteY4826" fmla="*/ 75651 h 1324114"/>
                    <a:gd name="connsiteX4827" fmla="*/ 673630 w 855312"/>
                    <a:gd name="connsiteY4827" fmla="*/ 73793 h 1324114"/>
                    <a:gd name="connsiteX4828" fmla="*/ 673812 w 855312"/>
                    <a:gd name="connsiteY4828" fmla="*/ 71813 h 1324114"/>
                    <a:gd name="connsiteX4829" fmla="*/ 673885 w 855312"/>
                    <a:gd name="connsiteY4829" fmla="*/ 70951 h 1324114"/>
                    <a:gd name="connsiteX4830" fmla="*/ 673715 w 855312"/>
                    <a:gd name="connsiteY4830" fmla="*/ 70113 h 1324114"/>
                    <a:gd name="connsiteX4831" fmla="*/ 671808 w 855312"/>
                    <a:gd name="connsiteY4831" fmla="*/ 60350 h 1324114"/>
                    <a:gd name="connsiteX4832" fmla="*/ 671687 w 855312"/>
                    <a:gd name="connsiteY4832" fmla="*/ 59719 h 1324114"/>
                    <a:gd name="connsiteX4833" fmla="*/ 671432 w 855312"/>
                    <a:gd name="connsiteY4833" fmla="*/ 59136 h 1324114"/>
                    <a:gd name="connsiteX4834" fmla="*/ 667813 w 855312"/>
                    <a:gd name="connsiteY4834" fmla="*/ 50624 h 1324114"/>
                    <a:gd name="connsiteX4835" fmla="*/ 667789 w 855312"/>
                    <a:gd name="connsiteY4835" fmla="*/ 50345 h 1324114"/>
                    <a:gd name="connsiteX4836" fmla="*/ 668044 w 855312"/>
                    <a:gd name="connsiteY4836" fmla="*/ 48633 h 1324114"/>
                    <a:gd name="connsiteX4837" fmla="*/ 668566 w 855312"/>
                    <a:gd name="connsiteY4837" fmla="*/ 47187 h 1324114"/>
                    <a:gd name="connsiteX4838" fmla="*/ 669598 w 855312"/>
                    <a:gd name="connsiteY4838" fmla="*/ 45160 h 1324114"/>
                    <a:gd name="connsiteX4839" fmla="*/ 670059 w 855312"/>
                    <a:gd name="connsiteY4839" fmla="*/ 44249 h 1324114"/>
                    <a:gd name="connsiteX4840" fmla="*/ 670205 w 855312"/>
                    <a:gd name="connsiteY4840" fmla="*/ 43253 h 1324114"/>
                    <a:gd name="connsiteX4841" fmla="*/ 670485 w 855312"/>
                    <a:gd name="connsiteY4841" fmla="*/ 41237 h 1324114"/>
                    <a:gd name="connsiteX4842" fmla="*/ 670557 w 855312"/>
                    <a:gd name="connsiteY4842" fmla="*/ 40667 h 1324114"/>
                    <a:gd name="connsiteX4843" fmla="*/ 670533 w 855312"/>
                    <a:gd name="connsiteY4843" fmla="*/ 40096 h 1324114"/>
                    <a:gd name="connsiteX4844" fmla="*/ 670472 w 855312"/>
                    <a:gd name="connsiteY4844" fmla="*/ 38724 h 1324114"/>
                    <a:gd name="connsiteX4845" fmla="*/ 670302 w 855312"/>
                    <a:gd name="connsiteY4845" fmla="*/ 35251 h 1324114"/>
                    <a:gd name="connsiteX4846" fmla="*/ 667230 w 855312"/>
                    <a:gd name="connsiteY4846" fmla="*/ 33636 h 1324114"/>
                    <a:gd name="connsiteX4847" fmla="*/ 661207 w 855312"/>
                    <a:gd name="connsiteY4847" fmla="*/ 30467 h 1324114"/>
                    <a:gd name="connsiteX4848" fmla="*/ 660333 w 855312"/>
                    <a:gd name="connsiteY4848" fmla="*/ 30005 h 1324114"/>
                    <a:gd name="connsiteX4849" fmla="*/ 659349 w 855312"/>
                    <a:gd name="connsiteY4849" fmla="*/ 29847 h 1324114"/>
                    <a:gd name="connsiteX4850" fmla="*/ 651481 w 855312"/>
                    <a:gd name="connsiteY4850" fmla="*/ 28572 h 1324114"/>
                    <a:gd name="connsiteX4851" fmla="*/ 650230 w 855312"/>
                    <a:gd name="connsiteY4851" fmla="*/ 28354 h 1324114"/>
                    <a:gd name="connsiteX4852" fmla="*/ 648991 w 855312"/>
                    <a:gd name="connsiteY4852" fmla="*/ 28669 h 1324114"/>
                    <a:gd name="connsiteX4853" fmla="*/ 647789 w 855312"/>
                    <a:gd name="connsiteY4853" fmla="*/ 28973 h 1324114"/>
                    <a:gd name="connsiteX4854" fmla="*/ 647328 w 855312"/>
                    <a:gd name="connsiteY4854" fmla="*/ 29094 h 1324114"/>
                    <a:gd name="connsiteX4855" fmla="*/ 646891 w 855312"/>
                    <a:gd name="connsiteY4855" fmla="*/ 29289 h 1324114"/>
                    <a:gd name="connsiteX4856" fmla="*/ 645106 w 855312"/>
                    <a:gd name="connsiteY4856" fmla="*/ 30054 h 1324114"/>
                    <a:gd name="connsiteX4857" fmla="*/ 643989 w 855312"/>
                    <a:gd name="connsiteY4857" fmla="*/ 30540 h 1324114"/>
                    <a:gd name="connsiteX4858" fmla="*/ 643151 w 855312"/>
                    <a:gd name="connsiteY4858" fmla="*/ 31414 h 1324114"/>
                    <a:gd name="connsiteX4859" fmla="*/ 641196 w 855312"/>
                    <a:gd name="connsiteY4859" fmla="*/ 33442 h 1324114"/>
                    <a:gd name="connsiteX4860" fmla="*/ 640941 w 855312"/>
                    <a:gd name="connsiteY4860" fmla="*/ 30964 h 1324114"/>
                    <a:gd name="connsiteX4861" fmla="*/ 638804 w 855312"/>
                    <a:gd name="connsiteY4861" fmla="*/ 29362 h 1324114"/>
                    <a:gd name="connsiteX4862" fmla="*/ 637431 w 855312"/>
                    <a:gd name="connsiteY4862" fmla="*/ 28330 h 1324114"/>
                    <a:gd name="connsiteX4863" fmla="*/ 636958 w 855312"/>
                    <a:gd name="connsiteY4863" fmla="*/ 27977 h 1324114"/>
                    <a:gd name="connsiteX4864" fmla="*/ 636411 w 855312"/>
                    <a:gd name="connsiteY4864" fmla="*/ 27722 h 1324114"/>
                    <a:gd name="connsiteX4865" fmla="*/ 633886 w 855312"/>
                    <a:gd name="connsiteY4865" fmla="*/ 26508 h 1324114"/>
                    <a:gd name="connsiteX4866" fmla="*/ 633534 w 855312"/>
                    <a:gd name="connsiteY4866" fmla="*/ 26338 h 1324114"/>
                    <a:gd name="connsiteX4867" fmla="*/ 633157 w 855312"/>
                    <a:gd name="connsiteY4867" fmla="*/ 26204 h 1324114"/>
                    <a:gd name="connsiteX4868" fmla="*/ 626976 w 855312"/>
                    <a:gd name="connsiteY4868" fmla="*/ 24189 h 1324114"/>
                    <a:gd name="connsiteX4869" fmla="*/ 625410 w 855312"/>
                    <a:gd name="connsiteY4869" fmla="*/ 23472 h 1324114"/>
                    <a:gd name="connsiteX4870" fmla="*/ 625398 w 855312"/>
                    <a:gd name="connsiteY4870" fmla="*/ 23326 h 1324114"/>
                    <a:gd name="connsiteX4871" fmla="*/ 625568 w 855312"/>
                    <a:gd name="connsiteY4871" fmla="*/ 14863 h 1324114"/>
                    <a:gd name="connsiteX4872" fmla="*/ 625580 w 855312"/>
                    <a:gd name="connsiteY4872" fmla="*/ 14183 h 1324114"/>
                    <a:gd name="connsiteX4873" fmla="*/ 625446 w 855312"/>
                    <a:gd name="connsiteY4873" fmla="*/ 13515 h 1324114"/>
                    <a:gd name="connsiteX4874" fmla="*/ 625058 w 855312"/>
                    <a:gd name="connsiteY4874" fmla="*/ 11621 h 1324114"/>
                    <a:gd name="connsiteX4875" fmla="*/ 624900 w 855312"/>
                    <a:gd name="connsiteY4875" fmla="*/ 10844 h 1324114"/>
                    <a:gd name="connsiteX4876" fmla="*/ 624548 w 855312"/>
                    <a:gd name="connsiteY4876" fmla="*/ 10127 h 1324114"/>
                    <a:gd name="connsiteX4877" fmla="*/ 623613 w 855312"/>
                    <a:gd name="connsiteY4877" fmla="*/ 8269 h 1324114"/>
                    <a:gd name="connsiteX4878" fmla="*/ 623224 w 855312"/>
                    <a:gd name="connsiteY4878" fmla="*/ 7504 h 1324114"/>
                    <a:gd name="connsiteX4879" fmla="*/ 622629 w 855312"/>
                    <a:gd name="connsiteY4879" fmla="*/ 6861 h 1324114"/>
                    <a:gd name="connsiteX4880" fmla="*/ 620274 w 855312"/>
                    <a:gd name="connsiteY4880" fmla="*/ 4311 h 1324114"/>
                    <a:gd name="connsiteX4881" fmla="*/ 619812 w 855312"/>
                    <a:gd name="connsiteY4881" fmla="*/ 3813 h 1324114"/>
                    <a:gd name="connsiteX4882" fmla="*/ 619254 w 855312"/>
                    <a:gd name="connsiteY4882" fmla="*/ 3436 h 1324114"/>
                    <a:gd name="connsiteX4883" fmla="*/ 617250 w 855312"/>
                    <a:gd name="connsiteY4883" fmla="*/ 2064 h 1324114"/>
                    <a:gd name="connsiteX4884" fmla="*/ 616606 w 855312"/>
                    <a:gd name="connsiteY4884" fmla="*/ 1615 h 1324114"/>
                    <a:gd name="connsiteX4885" fmla="*/ 615866 w 855312"/>
                    <a:gd name="connsiteY4885" fmla="*/ 1360 h 1324114"/>
                    <a:gd name="connsiteX4886" fmla="*/ 613680 w 855312"/>
                    <a:gd name="connsiteY4886" fmla="*/ 583 h 1324114"/>
                    <a:gd name="connsiteX4887" fmla="*/ 612854 w 855312"/>
                    <a:gd name="connsiteY4887" fmla="*/ 291 h 1324114"/>
                    <a:gd name="connsiteX4888" fmla="*/ 611980 w 855312"/>
                    <a:gd name="connsiteY4888" fmla="*/ 243 h 1324114"/>
                    <a:gd name="connsiteX4889" fmla="*/ 609915 w 855312"/>
                    <a:gd name="connsiteY4889" fmla="*/ 122 h 1324114"/>
                    <a:gd name="connsiteX4890" fmla="*/ 609357 w 855312"/>
                    <a:gd name="connsiteY4890" fmla="*/ 0 h 1324114"/>
                    <a:gd name="connsiteX4891" fmla="*/ 609357 w 855312"/>
                    <a:gd name="connsiteY4891" fmla="*/ 0 h 1324114"/>
                    <a:gd name="connsiteX4892" fmla="*/ 548727 w 855312"/>
                    <a:gd name="connsiteY4892" fmla="*/ 857935 h 1324114"/>
                    <a:gd name="connsiteX4893" fmla="*/ 549079 w 855312"/>
                    <a:gd name="connsiteY4893" fmla="*/ 857376 h 1324114"/>
                    <a:gd name="connsiteX4894" fmla="*/ 549419 w 855312"/>
                    <a:gd name="connsiteY4894" fmla="*/ 856854 h 1324114"/>
                    <a:gd name="connsiteX4895" fmla="*/ 549650 w 855312"/>
                    <a:gd name="connsiteY4895" fmla="*/ 856259 h 1324114"/>
                    <a:gd name="connsiteX4896" fmla="*/ 549662 w 855312"/>
                    <a:gd name="connsiteY4896" fmla="*/ 856211 h 1324114"/>
                    <a:gd name="connsiteX4897" fmla="*/ 549917 w 855312"/>
                    <a:gd name="connsiteY4897" fmla="*/ 856466 h 1324114"/>
                    <a:gd name="connsiteX4898" fmla="*/ 550779 w 855312"/>
                    <a:gd name="connsiteY4898" fmla="*/ 857316 h 1324114"/>
                    <a:gd name="connsiteX4899" fmla="*/ 551083 w 855312"/>
                    <a:gd name="connsiteY4899" fmla="*/ 857619 h 1324114"/>
                    <a:gd name="connsiteX4900" fmla="*/ 551423 w 855312"/>
                    <a:gd name="connsiteY4900" fmla="*/ 857874 h 1324114"/>
                    <a:gd name="connsiteX4901" fmla="*/ 552334 w 855312"/>
                    <a:gd name="connsiteY4901" fmla="*/ 858554 h 1324114"/>
                    <a:gd name="connsiteX4902" fmla="*/ 552832 w 855312"/>
                    <a:gd name="connsiteY4902" fmla="*/ 858919 h 1324114"/>
                    <a:gd name="connsiteX4903" fmla="*/ 553390 w 855312"/>
                    <a:gd name="connsiteY4903" fmla="*/ 859174 h 1324114"/>
                    <a:gd name="connsiteX4904" fmla="*/ 556207 w 855312"/>
                    <a:gd name="connsiteY4904" fmla="*/ 860485 h 1324114"/>
                    <a:gd name="connsiteX4905" fmla="*/ 556487 w 855312"/>
                    <a:gd name="connsiteY4905" fmla="*/ 860619 h 1324114"/>
                    <a:gd name="connsiteX4906" fmla="*/ 556778 w 855312"/>
                    <a:gd name="connsiteY4906" fmla="*/ 860728 h 1324114"/>
                    <a:gd name="connsiteX4907" fmla="*/ 559765 w 855312"/>
                    <a:gd name="connsiteY4907" fmla="*/ 861760 h 1324114"/>
                    <a:gd name="connsiteX4908" fmla="*/ 560166 w 855312"/>
                    <a:gd name="connsiteY4908" fmla="*/ 861894 h 1324114"/>
                    <a:gd name="connsiteX4909" fmla="*/ 560579 w 855312"/>
                    <a:gd name="connsiteY4909" fmla="*/ 861979 h 1324114"/>
                    <a:gd name="connsiteX4910" fmla="*/ 565910 w 855312"/>
                    <a:gd name="connsiteY4910" fmla="*/ 863035 h 1324114"/>
                    <a:gd name="connsiteX4911" fmla="*/ 566711 w 855312"/>
                    <a:gd name="connsiteY4911" fmla="*/ 863290 h 1324114"/>
                    <a:gd name="connsiteX4912" fmla="*/ 566869 w 855312"/>
                    <a:gd name="connsiteY4912" fmla="*/ 863375 h 1324114"/>
                    <a:gd name="connsiteX4913" fmla="*/ 566954 w 855312"/>
                    <a:gd name="connsiteY4913" fmla="*/ 863460 h 1324114"/>
                    <a:gd name="connsiteX4914" fmla="*/ 568460 w 855312"/>
                    <a:gd name="connsiteY4914" fmla="*/ 865500 h 1324114"/>
                    <a:gd name="connsiteX4915" fmla="*/ 568739 w 855312"/>
                    <a:gd name="connsiteY4915" fmla="*/ 865889 h 1324114"/>
                    <a:gd name="connsiteX4916" fmla="*/ 569079 w 855312"/>
                    <a:gd name="connsiteY4916" fmla="*/ 866216 h 1324114"/>
                    <a:gd name="connsiteX4917" fmla="*/ 570232 w 855312"/>
                    <a:gd name="connsiteY4917" fmla="*/ 867370 h 1324114"/>
                    <a:gd name="connsiteX4918" fmla="*/ 570900 w 855312"/>
                    <a:gd name="connsiteY4918" fmla="*/ 868038 h 1324114"/>
                    <a:gd name="connsiteX4919" fmla="*/ 571738 w 855312"/>
                    <a:gd name="connsiteY4919" fmla="*/ 868463 h 1324114"/>
                    <a:gd name="connsiteX4920" fmla="*/ 573353 w 855312"/>
                    <a:gd name="connsiteY4920" fmla="*/ 869289 h 1324114"/>
                    <a:gd name="connsiteX4921" fmla="*/ 574482 w 855312"/>
                    <a:gd name="connsiteY4921" fmla="*/ 869871 h 1324114"/>
                    <a:gd name="connsiteX4922" fmla="*/ 575745 w 855312"/>
                    <a:gd name="connsiteY4922" fmla="*/ 869957 h 1324114"/>
                    <a:gd name="connsiteX4923" fmla="*/ 577579 w 855312"/>
                    <a:gd name="connsiteY4923" fmla="*/ 870078 h 1324114"/>
                    <a:gd name="connsiteX4924" fmla="*/ 578113 w 855312"/>
                    <a:gd name="connsiteY4924" fmla="*/ 870114 h 1324114"/>
                    <a:gd name="connsiteX4925" fmla="*/ 578635 w 855312"/>
                    <a:gd name="connsiteY4925" fmla="*/ 870054 h 1324114"/>
                    <a:gd name="connsiteX4926" fmla="*/ 581647 w 855312"/>
                    <a:gd name="connsiteY4926" fmla="*/ 869726 h 1324114"/>
                    <a:gd name="connsiteX4927" fmla="*/ 586455 w 855312"/>
                    <a:gd name="connsiteY4927" fmla="*/ 869871 h 1324114"/>
                    <a:gd name="connsiteX4928" fmla="*/ 586856 w 855312"/>
                    <a:gd name="connsiteY4928" fmla="*/ 869884 h 1324114"/>
                    <a:gd name="connsiteX4929" fmla="*/ 587257 w 855312"/>
                    <a:gd name="connsiteY4929" fmla="*/ 869835 h 1324114"/>
                    <a:gd name="connsiteX4930" fmla="*/ 589540 w 855312"/>
                    <a:gd name="connsiteY4930" fmla="*/ 869592 h 1324114"/>
                    <a:gd name="connsiteX4931" fmla="*/ 589965 w 855312"/>
                    <a:gd name="connsiteY4931" fmla="*/ 869556 h 1324114"/>
                    <a:gd name="connsiteX4932" fmla="*/ 590378 w 855312"/>
                    <a:gd name="connsiteY4932" fmla="*/ 869447 h 1324114"/>
                    <a:gd name="connsiteX4933" fmla="*/ 601379 w 855312"/>
                    <a:gd name="connsiteY4933" fmla="*/ 866714 h 1324114"/>
                    <a:gd name="connsiteX4934" fmla="*/ 602132 w 855312"/>
                    <a:gd name="connsiteY4934" fmla="*/ 867079 h 1324114"/>
                    <a:gd name="connsiteX4935" fmla="*/ 602533 w 855312"/>
                    <a:gd name="connsiteY4935" fmla="*/ 867285 h 1324114"/>
                    <a:gd name="connsiteX4936" fmla="*/ 602970 w 855312"/>
                    <a:gd name="connsiteY4936" fmla="*/ 867431 h 1324114"/>
                    <a:gd name="connsiteX4937" fmla="*/ 604403 w 855312"/>
                    <a:gd name="connsiteY4937" fmla="*/ 867892 h 1324114"/>
                    <a:gd name="connsiteX4938" fmla="*/ 605010 w 855312"/>
                    <a:gd name="connsiteY4938" fmla="*/ 868099 h 1324114"/>
                    <a:gd name="connsiteX4939" fmla="*/ 605641 w 855312"/>
                    <a:gd name="connsiteY4939" fmla="*/ 868159 h 1324114"/>
                    <a:gd name="connsiteX4940" fmla="*/ 605896 w 855312"/>
                    <a:gd name="connsiteY4940" fmla="*/ 868184 h 1324114"/>
                    <a:gd name="connsiteX4941" fmla="*/ 607961 w 855312"/>
                    <a:gd name="connsiteY4941" fmla="*/ 872555 h 1324114"/>
                    <a:gd name="connsiteX4942" fmla="*/ 608118 w 855312"/>
                    <a:gd name="connsiteY4942" fmla="*/ 872871 h 1324114"/>
                    <a:gd name="connsiteX4943" fmla="*/ 608313 w 855312"/>
                    <a:gd name="connsiteY4943" fmla="*/ 873162 h 1324114"/>
                    <a:gd name="connsiteX4944" fmla="*/ 610863 w 855312"/>
                    <a:gd name="connsiteY4944" fmla="*/ 877267 h 1324114"/>
                    <a:gd name="connsiteX4945" fmla="*/ 611057 w 855312"/>
                    <a:gd name="connsiteY4945" fmla="*/ 877716 h 1324114"/>
                    <a:gd name="connsiteX4946" fmla="*/ 610875 w 855312"/>
                    <a:gd name="connsiteY4946" fmla="*/ 878687 h 1324114"/>
                    <a:gd name="connsiteX4947" fmla="*/ 610802 w 855312"/>
                    <a:gd name="connsiteY4947" fmla="*/ 879112 h 1324114"/>
                    <a:gd name="connsiteX4948" fmla="*/ 610790 w 855312"/>
                    <a:gd name="connsiteY4948" fmla="*/ 879561 h 1324114"/>
                    <a:gd name="connsiteX4949" fmla="*/ 610729 w 855312"/>
                    <a:gd name="connsiteY4949" fmla="*/ 881055 h 1324114"/>
                    <a:gd name="connsiteX4950" fmla="*/ 610656 w 855312"/>
                    <a:gd name="connsiteY4950" fmla="*/ 882780 h 1324114"/>
                    <a:gd name="connsiteX4951" fmla="*/ 611506 w 855312"/>
                    <a:gd name="connsiteY4951" fmla="*/ 884273 h 1324114"/>
                    <a:gd name="connsiteX4952" fmla="*/ 612138 w 855312"/>
                    <a:gd name="connsiteY4952" fmla="*/ 885390 h 1324114"/>
                    <a:gd name="connsiteX4953" fmla="*/ 613243 w 855312"/>
                    <a:gd name="connsiteY4953" fmla="*/ 887357 h 1324114"/>
                    <a:gd name="connsiteX4954" fmla="*/ 613522 w 855312"/>
                    <a:gd name="connsiteY4954" fmla="*/ 887455 h 1324114"/>
                    <a:gd name="connsiteX4955" fmla="*/ 612757 w 855312"/>
                    <a:gd name="connsiteY4955" fmla="*/ 887527 h 1324114"/>
                    <a:gd name="connsiteX4956" fmla="*/ 612332 w 855312"/>
                    <a:gd name="connsiteY4956" fmla="*/ 887552 h 1324114"/>
                    <a:gd name="connsiteX4957" fmla="*/ 611919 w 855312"/>
                    <a:gd name="connsiteY4957" fmla="*/ 887649 h 1324114"/>
                    <a:gd name="connsiteX4958" fmla="*/ 611227 w 855312"/>
                    <a:gd name="connsiteY4958" fmla="*/ 887807 h 1324114"/>
                    <a:gd name="connsiteX4959" fmla="*/ 611118 w 855312"/>
                    <a:gd name="connsiteY4959" fmla="*/ 887807 h 1324114"/>
                    <a:gd name="connsiteX4960" fmla="*/ 610766 w 855312"/>
                    <a:gd name="connsiteY4960" fmla="*/ 887661 h 1324114"/>
                    <a:gd name="connsiteX4961" fmla="*/ 608883 w 855312"/>
                    <a:gd name="connsiteY4961" fmla="*/ 886361 h 1324114"/>
                    <a:gd name="connsiteX4962" fmla="*/ 608616 w 855312"/>
                    <a:gd name="connsiteY4962" fmla="*/ 886167 h 1324114"/>
                    <a:gd name="connsiteX4963" fmla="*/ 608325 w 855312"/>
                    <a:gd name="connsiteY4963" fmla="*/ 886009 h 1324114"/>
                    <a:gd name="connsiteX4964" fmla="*/ 606431 w 855312"/>
                    <a:gd name="connsiteY4964" fmla="*/ 885001 h 1324114"/>
                    <a:gd name="connsiteX4965" fmla="*/ 605666 w 855312"/>
                    <a:gd name="connsiteY4965" fmla="*/ 884589 h 1324114"/>
                    <a:gd name="connsiteX4966" fmla="*/ 604815 w 855312"/>
                    <a:gd name="connsiteY4966" fmla="*/ 884394 h 1324114"/>
                    <a:gd name="connsiteX4967" fmla="*/ 603213 w 855312"/>
                    <a:gd name="connsiteY4967" fmla="*/ 884054 h 1324114"/>
                    <a:gd name="connsiteX4968" fmla="*/ 602168 w 855312"/>
                    <a:gd name="connsiteY4968" fmla="*/ 883836 h 1324114"/>
                    <a:gd name="connsiteX4969" fmla="*/ 601112 w 855312"/>
                    <a:gd name="connsiteY4969" fmla="*/ 883982 h 1324114"/>
                    <a:gd name="connsiteX4970" fmla="*/ 599558 w 855312"/>
                    <a:gd name="connsiteY4970" fmla="*/ 884200 h 1324114"/>
                    <a:gd name="connsiteX4971" fmla="*/ 598477 w 855312"/>
                    <a:gd name="connsiteY4971" fmla="*/ 882840 h 1324114"/>
                    <a:gd name="connsiteX4972" fmla="*/ 597809 w 855312"/>
                    <a:gd name="connsiteY4972" fmla="*/ 882002 h 1324114"/>
                    <a:gd name="connsiteX4973" fmla="*/ 596886 w 855312"/>
                    <a:gd name="connsiteY4973" fmla="*/ 881432 h 1324114"/>
                    <a:gd name="connsiteX4974" fmla="*/ 595162 w 855312"/>
                    <a:gd name="connsiteY4974" fmla="*/ 880375 h 1324114"/>
                    <a:gd name="connsiteX4975" fmla="*/ 593656 w 855312"/>
                    <a:gd name="connsiteY4975" fmla="*/ 879464 h 1324114"/>
                    <a:gd name="connsiteX4976" fmla="*/ 591883 w 855312"/>
                    <a:gd name="connsiteY4976" fmla="*/ 879489 h 1324114"/>
                    <a:gd name="connsiteX4977" fmla="*/ 590450 w 855312"/>
                    <a:gd name="connsiteY4977" fmla="*/ 879513 h 1324114"/>
                    <a:gd name="connsiteX4978" fmla="*/ 589187 w 855312"/>
                    <a:gd name="connsiteY4978" fmla="*/ 879537 h 1324114"/>
                    <a:gd name="connsiteX4979" fmla="*/ 588580 w 855312"/>
                    <a:gd name="connsiteY4979" fmla="*/ 879805 h 1324114"/>
                    <a:gd name="connsiteX4980" fmla="*/ 588289 w 855312"/>
                    <a:gd name="connsiteY4980" fmla="*/ 879331 h 1324114"/>
                    <a:gd name="connsiteX4981" fmla="*/ 587330 w 855312"/>
                    <a:gd name="connsiteY4981" fmla="*/ 877740 h 1324114"/>
                    <a:gd name="connsiteX4982" fmla="*/ 585654 w 855312"/>
                    <a:gd name="connsiteY4982" fmla="*/ 876975 h 1324114"/>
                    <a:gd name="connsiteX4983" fmla="*/ 584561 w 855312"/>
                    <a:gd name="connsiteY4983" fmla="*/ 876465 h 1324114"/>
                    <a:gd name="connsiteX4984" fmla="*/ 582181 w 855312"/>
                    <a:gd name="connsiteY4984" fmla="*/ 875348 h 1324114"/>
                    <a:gd name="connsiteX4985" fmla="*/ 579753 w 855312"/>
                    <a:gd name="connsiteY4985" fmla="*/ 876332 h 1324114"/>
                    <a:gd name="connsiteX4986" fmla="*/ 578830 w 855312"/>
                    <a:gd name="connsiteY4986" fmla="*/ 876696 h 1324114"/>
                    <a:gd name="connsiteX4987" fmla="*/ 578125 w 855312"/>
                    <a:gd name="connsiteY4987" fmla="*/ 876963 h 1324114"/>
                    <a:gd name="connsiteX4988" fmla="*/ 577518 w 855312"/>
                    <a:gd name="connsiteY4988" fmla="*/ 877400 h 1324114"/>
                    <a:gd name="connsiteX4989" fmla="*/ 576765 w 855312"/>
                    <a:gd name="connsiteY4989" fmla="*/ 877947 h 1324114"/>
                    <a:gd name="connsiteX4990" fmla="*/ 575770 w 855312"/>
                    <a:gd name="connsiteY4990" fmla="*/ 878675 h 1324114"/>
                    <a:gd name="connsiteX4991" fmla="*/ 575126 w 855312"/>
                    <a:gd name="connsiteY4991" fmla="*/ 879732 h 1324114"/>
                    <a:gd name="connsiteX4992" fmla="*/ 574507 w 855312"/>
                    <a:gd name="connsiteY4992" fmla="*/ 880764 h 1324114"/>
                    <a:gd name="connsiteX4993" fmla="*/ 574264 w 855312"/>
                    <a:gd name="connsiteY4993" fmla="*/ 881176 h 1324114"/>
                    <a:gd name="connsiteX4994" fmla="*/ 574082 w 855312"/>
                    <a:gd name="connsiteY4994" fmla="*/ 881614 h 1324114"/>
                    <a:gd name="connsiteX4995" fmla="*/ 573669 w 855312"/>
                    <a:gd name="connsiteY4995" fmla="*/ 882622 h 1324114"/>
                    <a:gd name="connsiteX4996" fmla="*/ 573511 w 855312"/>
                    <a:gd name="connsiteY4996" fmla="*/ 883010 h 1324114"/>
                    <a:gd name="connsiteX4997" fmla="*/ 573402 w 855312"/>
                    <a:gd name="connsiteY4997" fmla="*/ 883411 h 1324114"/>
                    <a:gd name="connsiteX4998" fmla="*/ 573183 w 855312"/>
                    <a:gd name="connsiteY4998" fmla="*/ 884273 h 1324114"/>
                    <a:gd name="connsiteX4999" fmla="*/ 572989 w 855312"/>
                    <a:gd name="connsiteY4999" fmla="*/ 885293 h 1324114"/>
                    <a:gd name="connsiteX5000" fmla="*/ 572467 w 855312"/>
                    <a:gd name="connsiteY5000" fmla="*/ 885475 h 1324114"/>
                    <a:gd name="connsiteX5001" fmla="*/ 570925 w 855312"/>
                    <a:gd name="connsiteY5001" fmla="*/ 885997 h 1324114"/>
                    <a:gd name="connsiteX5002" fmla="*/ 569844 w 855312"/>
                    <a:gd name="connsiteY5002" fmla="*/ 887236 h 1324114"/>
                    <a:gd name="connsiteX5003" fmla="*/ 569261 w 855312"/>
                    <a:gd name="connsiteY5003" fmla="*/ 887904 h 1324114"/>
                    <a:gd name="connsiteX5004" fmla="*/ 568071 w 855312"/>
                    <a:gd name="connsiteY5004" fmla="*/ 889264 h 1324114"/>
                    <a:gd name="connsiteX5005" fmla="*/ 567816 w 855312"/>
                    <a:gd name="connsiteY5005" fmla="*/ 891061 h 1324114"/>
                    <a:gd name="connsiteX5006" fmla="*/ 567695 w 855312"/>
                    <a:gd name="connsiteY5006" fmla="*/ 891911 h 1324114"/>
                    <a:gd name="connsiteX5007" fmla="*/ 567367 w 855312"/>
                    <a:gd name="connsiteY5007" fmla="*/ 894218 h 1324114"/>
                    <a:gd name="connsiteX5008" fmla="*/ 568678 w 855312"/>
                    <a:gd name="connsiteY5008" fmla="*/ 896149 h 1324114"/>
                    <a:gd name="connsiteX5009" fmla="*/ 569261 w 855312"/>
                    <a:gd name="connsiteY5009" fmla="*/ 896999 h 1324114"/>
                    <a:gd name="connsiteX5010" fmla="*/ 569832 w 855312"/>
                    <a:gd name="connsiteY5010" fmla="*/ 897837 h 1324114"/>
                    <a:gd name="connsiteX5011" fmla="*/ 570658 w 855312"/>
                    <a:gd name="connsiteY5011" fmla="*/ 898456 h 1324114"/>
                    <a:gd name="connsiteX5012" fmla="*/ 571981 w 855312"/>
                    <a:gd name="connsiteY5012" fmla="*/ 899440 h 1324114"/>
                    <a:gd name="connsiteX5013" fmla="*/ 572564 w 855312"/>
                    <a:gd name="connsiteY5013" fmla="*/ 899877 h 1324114"/>
                    <a:gd name="connsiteX5014" fmla="*/ 572795 w 855312"/>
                    <a:gd name="connsiteY5014" fmla="*/ 899974 h 1324114"/>
                    <a:gd name="connsiteX5015" fmla="*/ 572758 w 855312"/>
                    <a:gd name="connsiteY5015" fmla="*/ 901322 h 1324114"/>
                    <a:gd name="connsiteX5016" fmla="*/ 572746 w 855312"/>
                    <a:gd name="connsiteY5016" fmla="*/ 901868 h 1324114"/>
                    <a:gd name="connsiteX5017" fmla="*/ 572831 w 855312"/>
                    <a:gd name="connsiteY5017" fmla="*/ 902402 h 1324114"/>
                    <a:gd name="connsiteX5018" fmla="*/ 573062 w 855312"/>
                    <a:gd name="connsiteY5018" fmla="*/ 903920 h 1324114"/>
                    <a:gd name="connsiteX5019" fmla="*/ 573086 w 855312"/>
                    <a:gd name="connsiteY5019" fmla="*/ 904115 h 1324114"/>
                    <a:gd name="connsiteX5020" fmla="*/ 572722 w 855312"/>
                    <a:gd name="connsiteY5020" fmla="*/ 904042 h 1324114"/>
                    <a:gd name="connsiteX5021" fmla="*/ 569941 w 855312"/>
                    <a:gd name="connsiteY5021" fmla="*/ 903253 h 1324114"/>
                    <a:gd name="connsiteX5022" fmla="*/ 569650 w 855312"/>
                    <a:gd name="connsiteY5022" fmla="*/ 903167 h 1324114"/>
                    <a:gd name="connsiteX5023" fmla="*/ 569346 w 855312"/>
                    <a:gd name="connsiteY5023" fmla="*/ 903107 h 1324114"/>
                    <a:gd name="connsiteX5024" fmla="*/ 568035 w 855312"/>
                    <a:gd name="connsiteY5024" fmla="*/ 902876 h 1324114"/>
                    <a:gd name="connsiteX5025" fmla="*/ 566638 w 855312"/>
                    <a:gd name="connsiteY5025" fmla="*/ 902633 h 1324114"/>
                    <a:gd name="connsiteX5026" fmla="*/ 565278 w 855312"/>
                    <a:gd name="connsiteY5026" fmla="*/ 903034 h 1324114"/>
                    <a:gd name="connsiteX5027" fmla="*/ 564246 w 855312"/>
                    <a:gd name="connsiteY5027" fmla="*/ 903337 h 1324114"/>
                    <a:gd name="connsiteX5028" fmla="*/ 562097 w 855312"/>
                    <a:gd name="connsiteY5028" fmla="*/ 903993 h 1324114"/>
                    <a:gd name="connsiteX5029" fmla="*/ 561514 w 855312"/>
                    <a:gd name="connsiteY5029" fmla="*/ 904892 h 1324114"/>
                    <a:gd name="connsiteX5030" fmla="*/ 560372 w 855312"/>
                    <a:gd name="connsiteY5030" fmla="*/ 903750 h 1324114"/>
                    <a:gd name="connsiteX5031" fmla="*/ 560045 w 855312"/>
                    <a:gd name="connsiteY5031" fmla="*/ 903447 h 1324114"/>
                    <a:gd name="connsiteX5032" fmla="*/ 559680 w 855312"/>
                    <a:gd name="connsiteY5032" fmla="*/ 903180 h 1324114"/>
                    <a:gd name="connsiteX5033" fmla="*/ 558757 w 855312"/>
                    <a:gd name="connsiteY5033" fmla="*/ 902524 h 1324114"/>
                    <a:gd name="connsiteX5034" fmla="*/ 558490 w 855312"/>
                    <a:gd name="connsiteY5034" fmla="*/ 902329 h 1324114"/>
                    <a:gd name="connsiteX5035" fmla="*/ 558199 w 855312"/>
                    <a:gd name="connsiteY5035" fmla="*/ 902172 h 1324114"/>
                    <a:gd name="connsiteX5036" fmla="*/ 557628 w 855312"/>
                    <a:gd name="connsiteY5036" fmla="*/ 901856 h 1324114"/>
                    <a:gd name="connsiteX5037" fmla="*/ 557142 w 855312"/>
                    <a:gd name="connsiteY5037" fmla="*/ 901589 h 1324114"/>
                    <a:gd name="connsiteX5038" fmla="*/ 556608 w 855312"/>
                    <a:gd name="connsiteY5038" fmla="*/ 901407 h 1324114"/>
                    <a:gd name="connsiteX5039" fmla="*/ 555867 w 855312"/>
                    <a:gd name="connsiteY5039" fmla="*/ 901152 h 1324114"/>
                    <a:gd name="connsiteX5040" fmla="*/ 553099 w 855312"/>
                    <a:gd name="connsiteY5040" fmla="*/ 900217 h 1324114"/>
                    <a:gd name="connsiteX5041" fmla="*/ 552650 w 855312"/>
                    <a:gd name="connsiteY5041" fmla="*/ 900508 h 1324114"/>
                    <a:gd name="connsiteX5042" fmla="*/ 552650 w 855312"/>
                    <a:gd name="connsiteY5042" fmla="*/ 899937 h 1324114"/>
                    <a:gd name="connsiteX5043" fmla="*/ 552771 w 855312"/>
                    <a:gd name="connsiteY5043" fmla="*/ 899464 h 1324114"/>
                    <a:gd name="connsiteX5044" fmla="*/ 553050 w 855312"/>
                    <a:gd name="connsiteY5044" fmla="*/ 899100 h 1324114"/>
                    <a:gd name="connsiteX5045" fmla="*/ 555382 w 855312"/>
                    <a:gd name="connsiteY5045" fmla="*/ 896610 h 1324114"/>
                    <a:gd name="connsiteX5046" fmla="*/ 555612 w 855312"/>
                    <a:gd name="connsiteY5046" fmla="*/ 896355 h 1324114"/>
                    <a:gd name="connsiteX5047" fmla="*/ 555819 w 855312"/>
                    <a:gd name="connsiteY5047" fmla="*/ 896088 h 1324114"/>
                    <a:gd name="connsiteX5048" fmla="*/ 556754 w 855312"/>
                    <a:gd name="connsiteY5048" fmla="*/ 894825 h 1324114"/>
                    <a:gd name="connsiteX5049" fmla="*/ 557130 w 855312"/>
                    <a:gd name="connsiteY5049" fmla="*/ 894315 h 1324114"/>
                    <a:gd name="connsiteX5050" fmla="*/ 557397 w 855312"/>
                    <a:gd name="connsiteY5050" fmla="*/ 893720 h 1324114"/>
                    <a:gd name="connsiteX5051" fmla="*/ 557968 w 855312"/>
                    <a:gd name="connsiteY5051" fmla="*/ 892457 h 1324114"/>
                    <a:gd name="connsiteX5052" fmla="*/ 558150 w 855312"/>
                    <a:gd name="connsiteY5052" fmla="*/ 892057 h 1324114"/>
                    <a:gd name="connsiteX5053" fmla="*/ 558272 w 855312"/>
                    <a:gd name="connsiteY5053" fmla="*/ 891632 h 1324114"/>
                    <a:gd name="connsiteX5054" fmla="*/ 558515 w 855312"/>
                    <a:gd name="connsiteY5054" fmla="*/ 890769 h 1324114"/>
                    <a:gd name="connsiteX5055" fmla="*/ 558770 w 855312"/>
                    <a:gd name="connsiteY5055" fmla="*/ 890272 h 1324114"/>
                    <a:gd name="connsiteX5056" fmla="*/ 558806 w 855312"/>
                    <a:gd name="connsiteY5056" fmla="*/ 890223 h 1324114"/>
                    <a:gd name="connsiteX5057" fmla="*/ 559061 w 855312"/>
                    <a:gd name="connsiteY5057" fmla="*/ 889992 h 1324114"/>
                    <a:gd name="connsiteX5058" fmla="*/ 559437 w 855312"/>
                    <a:gd name="connsiteY5058" fmla="*/ 889677 h 1324114"/>
                    <a:gd name="connsiteX5059" fmla="*/ 560542 w 855312"/>
                    <a:gd name="connsiteY5059" fmla="*/ 888608 h 1324114"/>
                    <a:gd name="connsiteX5060" fmla="*/ 561113 w 855312"/>
                    <a:gd name="connsiteY5060" fmla="*/ 888037 h 1324114"/>
                    <a:gd name="connsiteX5061" fmla="*/ 561514 w 855312"/>
                    <a:gd name="connsiteY5061" fmla="*/ 887333 h 1324114"/>
                    <a:gd name="connsiteX5062" fmla="*/ 562255 w 855312"/>
                    <a:gd name="connsiteY5062" fmla="*/ 886070 h 1324114"/>
                    <a:gd name="connsiteX5063" fmla="*/ 563141 w 855312"/>
                    <a:gd name="connsiteY5063" fmla="*/ 884565 h 1324114"/>
                    <a:gd name="connsiteX5064" fmla="*/ 563092 w 855312"/>
                    <a:gd name="connsiteY5064" fmla="*/ 882816 h 1324114"/>
                    <a:gd name="connsiteX5065" fmla="*/ 563044 w 855312"/>
                    <a:gd name="connsiteY5065" fmla="*/ 881055 h 1324114"/>
                    <a:gd name="connsiteX5066" fmla="*/ 563007 w 855312"/>
                    <a:gd name="connsiteY5066" fmla="*/ 879768 h 1324114"/>
                    <a:gd name="connsiteX5067" fmla="*/ 562449 w 855312"/>
                    <a:gd name="connsiteY5067" fmla="*/ 878602 h 1324114"/>
                    <a:gd name="connsiteX5068" fmla="*/ 561526 w 855312"/>
                    <a:gd name="connsiteY5068" fmla="*/ 876708 h 1324114"/>
                    <a:gd name="connsiteX5069" fmla="*/ 561319 w 855312"/>
                    <a:gd name="connsiteY5069" fmla="*/ 876295 h 1324114"/>
                    <a:gd name="connsiteX5070" fmla="*/ 561052 w 855312"/>
                    <a:gd name="connsiteY5070" fmla="*/ 875919 h 1324114"/>
                    <a:gd name="connsiteX5071" fmla="*/ 560190 w 855312"/>
                    <a:gd name="connsiteY5071" fmla="*/ 874656 h 1324114"/>
                    <a:gd name="connsiteX5072" fmla="*/ 559923 w 855312"/>
                    <a:gd name="connsiteY5072" fmla="*/ 874255 h 1324114"/>
                    <a:gd name="connsiteX5073" fmla="*/ 559595 w 855312"/>
                    <a:gd name="connsiteY5073" fmla="*/ 873915 h 1324114"/>
                    <a:gd name="connsiteX5074" fmla="*/ 556341 w 855312"/>
                    <a:gd name="connsiteY5074" fmla="*/ 870503 h 1324114"/>
                    <a:gd name="connsiteX5075" fmla="*/ 555564 w 855312"/>
                    <a:gd name="connsiteY5075" fmla="*/ 869398 h 1324114"/>
                    <a:gd name="connsiteX5076" fmla="*/ 553232 w 855312"/>
                    <a:gd name="connsiteY5076" fmla="*/ 865257 h 1324114"/>
                    <a:gd name="connsiteX5077" fmla="*/ 553062 w 855312"/>
                    <a:gd name="connsiteY5077" fmla="*/ 864966 h 1324114"/>
                    <a:gd name="connsiteX5078" fmla="*/ 552856 w 855312"/>
                    <a:gd name="connsiteY5078" fmla="*/ 864699 h 1324114"/>
                    <a:gd name="connsiteX5079" fmla="*/ 550962 w 855312"/>
                    <a:gd name="connsiteY5079" fmla="*/ 862100 h 1324114"/>
                    <a:gd name="connsiteX5080" fmla="*/ 550610 w 855312"/>
                    <a:gd name="connsiteY5080" fmla="*/ 861626 h 1324114"/>
                    <a:gd name="connsiteX5081" fmla="*/ 550172 w 855312"/>
                    <a:gd name="connsiteY5081" fmla="*/ 861226 h 1324114"/>
                    <a:gd name="connsiteX5082" fmla="*/ 549322 w 855312"/>
                    <a:gd name="connsiteY5082" fmla="*/ 860449 h 1324114"/>
                    <a:gd name="connsiteX5083" fmla="*/ 548958 w 855312"/>
                    <a:gd name="connsiteY5083" fmla="*/ 860109 h 1324114"/>
                    <a:gd name="connsiteX5084" fmla="*/ 548545 w 855312"/>
                    <a:gd name="connsiteY5084" fmla="*/ 859841 h 1324114"/>
                    <a:gd name="connsiteX5085" fmla="*/ 548521 w 855312"/>
                    <a:gd name="connsiteY5085" fmla="*/ 859829 h 1324114"/>
                    <a:gd name="connsiteX5086" fmla="*/ 548630 w 855312"/>
                    <a:gd name="connsiteY5086" fmla="*/ 858251 h 1324114"/>
                    <a:gd name="connsiteX5087" fmla="*/ 548727 w 855312"/>
                    <a:gd name="connsiteY5087" fmla="*/ 857935 h 1324114"/>
                    <a:gd name="connsiteX5088" fmla="*/ 548727 w 855312"/>
                    <a:gd name="connsiteY5088" fmla="*/ 857935 h 132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Lst>
                  <a:rect l="l" t="t" r="r" b="b"/>
                  <a:pathLst>
                    <a:path w="855312" h="1324114">
                      <a:moveTo>
                        <a:pt x="609612" y="6096"/>
                      </a:moveTo>
                      <a:lnTo>
                        <a:pt x="611676" y="6217"/>
                      </a:lnTo>
                      <a:lnTo>
                        <a:pt x="613862" y="6994"/>
                      </a:lnTo>
                      <a:lnTo>
                        <a:pt x="615866" y="8366"/>
                      </a:lnTo>
                      <a:lnTo>
                        <a:pt x="618221" y="10916"/>
                      </a:lnTo>
                      <a:lnTo>
                        <a:pt x="619156" y="12774"/>
                      </a:lnTo>
                      <a:lnTo>
                        <a:pt x="619545" y="14669"/>
                      </a:lnTo>
                      <a:lnTo>
                        <a:pt x="619375" y="23460"/>
                      </a:lnTo>
                      <a:lnTo>
                        <a:pt x="619545" y="25415"/>
                      </a:lnTo>
                      <a:lnTo>
                        <a:pt x="620067" y="27273"/>
                      </a:lnTo>
                      <a:lnTo>
                        <a:pt x="621840" y="28427"/>
                      </a:lnTo>
                      <a:lnTo>
                        <a:pt x="624827" y="29774"/>
                      </a:lnTo>
                      <a:lnTo>
                        <a:pt x="631323" y="31900"/>
                      </a:lnTo>
                      <a:lnTo>
                        <a:pt x="633849" y="33114"/>
                      </a:lnTo>
                      <a:lnTo>
                        <a:pt x="635221" y="34146"/>
                      </a:lnTo>
                      <a:lnTo>
                        <a:pt x="635622" y="38105"/>
                      </a:lnTo>
                      <a:lnTo>
                        <a:pt x="636084" y="39598"/>
                      </a:lnTo>
                      <a:lnTo>
                        <a:pt x="637116" y="40776"/>
                      </a:lnTo>
                      <a:lnTo>
                        <a:pt x="638901" y="41262"/>
                      </a:lnTo>
                      <a:lnTo>
                        <a:pt x="641597" y="40776"/>
                      </a:lnTo>
                      <a:lnTo>
                        <a:pt x="644523" y="38712"/>
                      </a:lnTo>
                      <a:lnTo>
                        <a:pt x="647571" y="35542"/>
                      </a:lnTo>
                      <a:lnTo>
                        <a:pt x="649356" y="34778"/>
                      </a:lnTo>
                      <a:lnTo>
                        <a:pt x="650558" y="34474"/>
                      </a:lnTo>
                      <a:lnTo>
                        <a:pt x="658427" y="35749"/>
                      </a:lnTo>
                      <a:lnTo>
                        <a:pt x="664450" y="38918"/>
                      </a:lnTo>
                      <a:lnTo>
                        <a:pt x="664510" y="40290"/>
                      </a:lnTo>
                      <a:lnTo>
                        <a:pt x="664231" y="42306"/>
                      </a:lnTo>
                      <a:lnTo>
                        <a:pt x="663017" y="44674"/>
                      </a:lnTo>
                      <a:lnTo>
                        <a:pt x="662167" y="47054"/>
                      </a:lnTo>
                      <a:lnTo>
                        <a:pt x="661705" y="50138"/>
                      </a:lnTo>
                      <a:lnTo>
                        <a:pt x="661924" y="52081"/>
                      </a:lnTo>
                      <a:lnTo>
                        <a:pt x="665882" y="61419"/>
                      </a:lnTo>
                      <a:lnTo>
                        <a:pt x="667789" y="71182"/>
                      </a:lnTo>
                      <a:lnTo>
                        <a:pt x="667607" y="73161"/>
                      </a:lnTo>
                      <a:lnTo>
                        <a:pt x="666975" y="73926"/>
                      </a:lnTo>
                      <a:lnTo>
                        <a:pt x="666065" y="74412"/>
                      </a:lnTo>
                      <a:lnTo>
                        <a:pt x="664911" y="74788"/>
                      </a:lnTo>
                      <a:lnTo>
                        <a:pt x="662446" y="75274"/>
                      </a:lnTo>
                      <a:lnTo>
                        <a:pt x="661183" y="75857"/>
                      </a:lnTo>
                      <a:lnTo>
                        <a:pt x="660321" y="76865"/>
                      </a:lnTo>
                      <a:lnTo>
                        <a:pt x="659689" y="78723"/>
                      </a:lnTo>
                      <a:lnTo>
                        <a:pt x="659920" y="80216"/>
                      </a:lnTo>
                      <a:lnTo>
                        <a:pt x="660673" y="81674"/>
                      </a:lnTo>
                      <a:lnTo>
                        <a:pt x="666635" y="86761"/>
                      </a:lnTo>
                      <a:lnTo>
                        <a:pt x="668250" y="88862"/>
                      </a:lnTo>
                      <a:lnTo>
                        <a:pt x="669744" y="92080"/>
                      </a:lnTo>
                      <a:lnTo>
                        <a:pt x="671626" y="97957"/>
                      </a:lnTo>
                      <a:lnTo>
                        <a:pt x="672427" y="103640"/>
                      </a:lnTo>
                      <a:lnTo>
                        <a:pt x="672610" y="106603"/>
                      </a:lnTo>
                      <a:lnTo>
                        <a:pt x="672148" y="108522"/>
                      </a:lnTo>
                      <a:lnTo>
                        <a:pt x="671335" y="109784"/>
                      </a:lnTo>
                      <a:lnTo>
                        <a:pt x="659969" y="120579"/>
                      </a:lnTo>
                      <a:lnTo>
                        <a:pt x="658147" y="121867"/>
                      </a:lnTo>
                      <a:lnTo>
                        <a:pt x="656289" y="122753"/>
                      </a:lnTo>
                      <a:lnTo>
                        <a:pt x="654529" y="123385"/>
                      </a:lnTo>
                      <a:lnTo>
                        <a:pt x="653254" y="124016"/>
                      </a:lnTo>
                      <a:lnTo>
                        <a:pt x="651821" y="125279"/>
                      </a:lnTo>
                      <a:lnTo>
                        <a:pt x="650327" y="127379"/>
                      </a:lnTo>
                      <a:lnTo>
                        <a:pt x="649174" y="129869"/>
                      </a:lnTo>
                      <a:lnTo>
                        <a:pt x="648894" y="131046"/>
                      </a:lnTo>
                      <a:lnTo>
                        <a:pt x="648894" y="131715"/>
                      </a:lnTo>
                      <a:lnTo>
                        <a:pt x="649295" y="132237"/>
                      </a:lnTo>
                      <a:lnTo>
                        <a:pt x="650097" y="133123"/>
                      </a:lnTo>
                      <a:lnTo>
                        <a:pt x="652513" y="135284"/>
                      </a:lnTo>
                      <a:lnTo>
                        <a:pt x="653715" y="136741"/>
                      </a:lnTo>
                      <a:lnTo>
                        <a:pt x="654638" y="138442"/>
                      </a:lnTo>
                      <a:lnTo>
                        <a:pt x="655148" y="141222"/>
                      </a:lnTo>
                      <a:lnTo>
                        <a:pt x="654747" y="142995"/>
                      </a:lnTo>
                      <a:lnTo>
                        <a:pt x="653606" y="144489"/>
                      </a:lnTo>
                      <a:lnTo>
                        <a:pt x="651869" y="145582"/>
                      </a:lnTo>
                      <a:lnTo>
                        <a:pt x="645276" y="148302"/>
                      </a:lnTo>
                      <a:lnTo>
                        <a:pt x="643321" y="149516"/>
                      </a:lnTo>
                      <a:lnTo>
                        <a:pt x="642058" y="150864"/>
                      </a:lnTo>
                      <a:lnTo>
                        <a:pt x="639933" y="155515"/>
                      </a:lnTo>
                      <a:lnTo>
                        <a:pt x="634590" y="162606"/>
                      </a:lnTo>
                      <a:lnTo>
                        <a:pt x="632246" y="166832"/>
                      </a:lnTo>
                      <a:lnTo>
                        <a:pt x="634420" y="170365"/>
                      </a:lnTo>
                      <a:lnTo>
                        <a:pt x="640734" y="172976"/>
                      </a:lnTo>
                      <a:lnTo>
                        <a:pt x="643211" y="174324"/>
                      </a:lnTo>
                      <a:lnTo>
                        <a:pt x="646029" y="176449"/>
                      </a:lnTo>
                      <a:lnTo>
                        <a:pt x="647522" y="177141"/>
                      </a:lnTo>
                      <a:lnTo>
                        <a:pt x="649526" y="177396"/>
                      </a:lnTo>
                      <a:lnTo>
                        <a:pt x="651760" y="177372"/>
                      </a:lnTo>
                      <a:lnTo>
                        <a:pt x="655609" y="177882"/>
                      </a:lnTo>
                      <a:lnTo>
                        <a:pt x="658147" y="177797"/>
                      </a:lnTo>
                      <a:lnTo>
                        <a:pt x="664340" y="176910"/>
                      </a:lnTo>
                      <a:lnTo>
                        <a:pt x="665482" y="181658"/>
                      </a:lnTo>
                      <a:lnTo>
                        <a:pt x="666234" y="182423"/>
                      </a:lnTo>
                      <a:lnTo>
                        <a:pt x="667437" y="183091"/>
                      </a:lnTo>
                      <a:lnTo>
                        <a:pt x="669222" y="182836"/>
                      </a:lnTo>
                      <a:lnTo>
                        <a:pt x="671395" y="181950"/>
                      </a:lnTo>
                      <a:lnTo>
                        <a:pt x="675536" y="179363"/>
                      </a:lnTo>
                      <a:lnTo>
                        <a:pt x="677940" y="178173"/>
                      </a:lnTo>
                      <a:lnTo>
                        <a:pt x="681559" y="177238"/>
                      </a:lnTo>
                      <a:lnTo>
                        <a:pt x="683174" y="177845"/>
                      </a:lnTo>
                      <a:lnTo>
                        <a:pt x="683696" y="179157"/>
                      </a:lnTo>
                      <a:lnTo>
                        <a:pt x="682992" y="181500"/>
                      </a:lnTo>
                      <a:lnTo>
                        <a:pt x="677600" y="192125"/>
                      </a:lnTo>
                      <a:lnTo>
                        <a:pt x="677321" y="192271"/>
                      </a:lnTo>
                      <a:lnTo>
                        <a:pt x="676617" y="192587"/>
                      </a:lnTo>
                      <a:lnTo>
                        <a:pt x="667497" y="194664"/>
                      </a:lnTo>
                      <a:lnTo>
                        <a:pt x="665664" y="195683"/>
                      </a:lnTo>
                      <a:lnTo>
                        <a:pt x="664061" y="197590"/>
                      </a:lnTo>
                      <a:lnTo>
                        <a:pt x="663539" y="200747"/>
                      </a:lnTo>
                      <a:lnTo>
                        <a:pt x="662106" y="202751"/>
                      </a:lnTo>
                      <a:lnTo>
                        <a:pt x="660321" y="204013"/>
                      </a:lnTo>
                      <a:lnTo>
                        <a:pt x="657905" y="204475"/>
                      </a:lnTo>
                      <a:lnTo>
                        <a:pt x="655609" y="204633"/>
                      </a:lnTo>
                      <a:lnTo>
                        <a:pt x="653654" y="205568"/>
                      </a:lnTo>
                      <a:lnTo>
                        <a:pt x="651869" y="207693"/>
                      </a:lnTo>
                      <a:lnTo>
                        <a:pt x="650327" y="212173"/>
                      </a:lnTo>
                      <a:lnTo>
                        <a:pt x="648142" y="216375"/>
                      </a:lnTo>
                      <a:lnTo>
                        <a:pt x="625289" y="245749"/>
                      </a:lnTo>
                      <a:lnTo>
                        <a:pt x="623564" y="251262"/>
                      </a:lnTo>
                      <a:lnTo>
                        <a:pt x="623795" y="253873"/>
                      </a:lnTo>
                      <a:lnTo>
                        <a:pt x="624548" y="256058"/>
                      </a:lnTo>
                      <a:lnTo>
                        <a:pt x="625981" y="257455"/>
                      </a:lnTo>
                      <a:lnTo>
                        <a:pt x="627705" y="258256"/>
                      </a:lnTo>
                      <a:lnTo>
                        <a:pt x="631214" y="259203"/>
                      </a:lnTo>
                      <a:lnTo>
                        <a:pt x="633036" y="259932"/>
                      </a:lnTo>
                      <a:lnTo>
                        <a:pt x="634833" y="261243"/>
                      </a:lnTo>
                      <a:lnTo>
                        <a:pt x="635452" y="262458"/>
                      </a:lnTo>
                      <a:lnTo>
                        <a:pt x="636375" y="270035"/>
                      </a:lnTo>
                      <a:lnTo>
                        <a:pt x="637808" y="273022"/>
                      </a:lnTo>
                      <a:lnTo>
                        <a:pt x="642349" y="280477"/>
                      </a:lnTo>
                      <a:lnTo>
                        <a:pt x="642799" y="283732"/>
                      </a:lnTo>
                      <a:lnTo>
                        <a:pt x="642106" y="286488"/>
                      </a:lnTo>
                      <a:lnTo>
                        <a:pt x="639702" y="290144"/>
                      </a:lnTo>
                      <a:lnTo>
                        <a:pt x="637978" y="293580"/>
                      </a:lnTo>
                      <a:lnTo>
                        <a:pt x="636776" y="297393"/>
                      </a:lnTo>
                      <a:lnTo>
                        <a:pt x="636375" y="301291"/>
                      </a:lnTo>
                      <a:lnTo>
                        <a:pt x="636545" y="324836"/>
                      </a:lnTo>
                      <a:lnTo>
                        <a:pt x="636023" y="327362"/>
                      </a:lnTo>
                      <a:lnTo>
                        <a:pt x="634772" y="328163"/>
                      </a:lnTo>
                      <a:lnTo>
                        <a:pt x="633679" y="329280"/>
                      </a:lnTo>
                      <a:lnTo>
                        <a:pt x="632878" y="331199"/>
                      </a:lnTo>
                      <a:lnTo>
                        <a:pt x="631894" y="339261"/>
                      </a:lnTo>
                      <a:lnTo>
                        <a:pt x="631894" y="341484"/>
                      </a:lnTo>
                      <a:lnTo>
                        <a:pt x="632125" y="342601"/>
                      </a:lnTo>
                      <a:lnTo>
                        <a:pt x="632987" y="343208"/>
                      </a:lnTo>
                      <a:lnTo>
                        <a:pt x="636776" y="345503"/>
                      </a:lnTo>
                      <a:lnTo>
                        <a:pt x="638391" y="347337"/>
                      </a:lnTo>
                      <a:lnTo>
                        <a:pt x="638609" y="348466"/>
                      </a:lnTo>
                      <a:lnTo>
                        <a:pt x="637869" y="349608"/>
                      </a:lnTo>
                      <a:lnTo>
                        <a:pt x="634711" y="352170"/>
                      </a:lnTo>
                      <a:lnTo>
                        <a:pt x="633279" y="353602"/>
                      </a:lnTo>
                      <a:lnTo>
                        <a:pt x="632246" y="355679"/>
                      </a:lnTo>
                      <a:lnTo>
                        <a:pt x="632186" y="356614"/>
                      </a:lnTo>
                      <a:lnTo>
                        <a:pt x="632647" y="356796"/>
                      </a:lnTo>
                      <a:lnTo>
                        <a:pt x="634772" y="356067"/>
                      </a:lnTo>
                      <a:lnTo>
                        <a:pt x="636084" y="355897"/>
                      </a:lnTo>
                      <a:lnTo>
                        <a:pt x="637359" y="356104"/>
                      </a:lnTo>
                      <a:lnTo>
                        <a:pt x="638609" y="357051"/>
                      </a:lnTo>
                      <a:lnTo>
                        <a:pt x="638791" y="357962"/>
                      </a:lnTo>
                      <a:lnTo>
                        <a:pt x="638391" y="359455"/>
                      </a:lnTo>
                      <a:lnTo>
                        <a:pt x="637456" y="361580"/>
                      </a:lnTo>
                      <a:lnTo>
                        <a:pt x="636776" y="364883"/>
                      </a:lnTo>
                      <a:lnTo>
                        <a:pt x="636084" y="367057"/>
                      </a:lnTo>
                      <a:lnTo>
                        <a:pt x="635221" y="368587"/>
                      </a:lnTo>
                      <a:lnTo>
                        <a:pt x="633497" y="369740"/>
                      </a:lnTo>
                      <a:lnTo>
                        <a:pt x="629539" y="371282"/>
                      </a:lnTo>
                      <a:lnTo>
                        <a:pt x="628106" y="372412"/>
                      </a:lnTo>
                      <a:lnTo>
                        <a:pt x="627074" y="374270"/>
                      </a:lnTo>
                      <a:lnTo>
                        <a:pt x="626952" y="376856"/>
                      </a:lnTo>
                      <a:lnTo>
                        <a:pt x="626102" y="378896"/>
                      </a:lnTo>
                      <a:lnTo>
                        <a:pt x="624669" y="380414"/>
                      </a:lnTo>
                      <a:lnTo>
                        <a:pt x="619776" y="383122"/>
                      </a:lnTo>
                      <a:lnTo>
                        <a:pt x="613522" y="387918"/>
                      </a:lnTo>
                      <a:lnTo>
                        <a:pt x="606406" y="391816"/>
                      </a:lnTo>
                      <a:lnTo>
                        <a:pt x="603929" y="393832"/>
                      </a:lnTo>
                      <a:lnTo>
                        <a:pt x="603358" y="394864"/>
                      </a:lnTo>
                      <a:lnTo>
                        <a:pt x="608471" y="401446"/>
                      </a:lnTo>
                      <a:lnTo>
                        <a:pt x="610134" y="403109"/>
                      </a:lnTo>
                      <a:lnTo>
                        <a:pt x="628968" y="408015"/>
                      </a:lnTo>
                      <a:lnTo>
                        <a:pt x="632064" y="408355"/>
                      </a:lnTo>
                      <a:lnTo>
                        <a:pt x="643843" y="408015"/>
                      </a:lnTo>
                      <a:lnTo>
                        <a:pt x="647571" y="408598"/>
                      </a:lnTo>
                      <a:lnTo>
                        <a:pt x="655099" y="411864"/>
                      </a:lnTo>
                      <a:lnTo>
                        <a:pt x="656022" y="413953"/>
                      </a:lnTo>
                      <a:lnTo>
                        <a:pt x="657783" y="415337"/>
                      </a:lnTo>
                      <a:lnTo>
                        <a:pt x="658706" y="417438"/>
                      </a:lnTo>
                      <a:lnTo>
                        <a:pt x="658597" y="420218"/>
                      </a:lnTo>
                      <a:lnTo>
                        <a:pt x="657565" y="422174"/>
                      </a:lnTo>
                      <a:lnTo>
                        <a:pt x="656350" y="423716"/>
                      </a:lnTo>
                      <a:lnTo>
                        <a:pt x="654577" y="425064"/>
                      </a:lnTo>
                      <a:lnTo>
                        <a:pt x="649113" y="428342"/>
                      </a:lnTo>
                      <a:lnTo>
                        <a:pt x="648081" y="429326"/>
                      </a:lnTo>
                      <a:lnTo>
                        <a:pt x="647109" y="431014"/>
                      </a:lnTo>
                      <a:lnTo>
                        <a:pt x="646709" y="433175"/>
                      </a:lnTo>
                      <a:lnTo>
                        <a:pt x="647000" y="438506"/>
                      </a:lnTo>
                      <a:lnTo>
                        <a:pt x="646648" y="440862"/>
                      </a:lnTo>
                      <a:lnTo>
                        <a:pt x="645846" y="442986"/>
                      </a:lnTo>
                      <a:lnTo>
                        <a:pt x="645154" y="445998"/>
                      </a:lnTo>
                      <a:lnTo>
                        <a:pt x="644936" y="449738"/>
                      </a:lnTo>
                      <a:lnTo>
                        <a:pt x="646077" y="460047"/>
                      </a:lnTo>
                      <a:lnTo>
                        <a:pt x="646077" y="463459"/>
                      </a:lnTo>
                      <a:lnTo>
                        <a:pt x="645397" y="468171"/>
                      </a:lnTo>
                      <a:lnTo>
                        <a:pt x="645276" y="472543"/>
                      </a:lnTo>
                      <a:lnTo>
                        <a:pt x="645786" y="480970"/>
                      </a:lnTo>
                      <a:lnTo>
                        <a:pt x="645094" y="482524"/>
                      </a:lnTo>
                      <a:lnTo>
                        <a:pt x="643964" y="484540"/>
                      </a:lnTo>
                      <a:lnTo>
                        <a:pt x="640795" y="487745"/>
                      </a:lnTo>
                      <a:lnTo>
                        <a:pt x="638852" y="490393"/>
                      </a:lnTo>
                      <a:lnTo>
                        <a:pt x="636254" y="490089"/>
                      </a:lnTo>
                      <a:lnTo>
                        <a:pt x="635513" y="489846"/>
                      </a:lnTo>
                      <a:lnTo>
                        <a:pt x="612490" y="489616"/>
                      </a:lnTo>
                      <a:lnTo>
                        <a:pt x="604512" y="488644"/>
                      </a:lnTo>
                      <a:lnTo>
                        <a:pt x="602496" y="487952"/>
                      </a:lnTo>
                      <a:lnTo>
                        <a:pt x="599218" y="486216"/>
                      </a:lnTo>
                      <a:lnTo>
                        <a:pt x="597554" y="485912"/>
                      </a:lnTo>
                      <a:lnTo>
                        <a:pt x="585678" y="487685"/>
                      </a:lnTo>
                      <a:lnTo>
                        <a:pt x="582047" y="488923"/>
                      </a:lnTo>
                      <a:lnTo>
                        <a:pt x="568848" y="496561"/>
                      </a:lnTo>
                      <a:lnTo>
                        <a:pt x="561441" y="505632"/>
                      </a:lnTo>
                      <a:lnTo>
                        <a:pt x="561720" y="508328"/>
                      </a:lnTo>
                      <a:lnTo>
                        <a:pt x="560810" y="510368"/>
                      </a:lnTo>
                      <a:lnTo>
                        <a:pt x="560810" y="515055"/>
                      </a:lnTo>
                      <a:lnTo>
                        <a:pt x="559826" y="523409"/>
                      </a:lnTo>
                      <a:lnTo>
                        <a:pt x="560287" y="527307"/>
                      </a:lnTo>
                      <a:lnTo>
                        <a:pt x="560931" y="529651"/>
                      </a:lnTo>
                      <a:lnTo>
                        <a:pt x="561951" y="530403"/>
                      </a:lnTo>
                      <a:lnTo>
                        <a:pt x="562935" y="530744"/>
                      </a:lnTo>
                      <a:lnTo>
                        <a:pt x="563857" y="531181"/>
                      </a:lnTo>
                      <a:lnTo>
                        <a:pt x="564768" y="531897"/>
                      </a:lnTo>
                      <a:lnTo>
                        <a:pt x="566954" y="536584"/>
                      </a:lnTo>
                      <a:lnTo>
                        <a:pt x="569480" y="540907"/>
                      </a:lnTo>
                      <a:lnTo>
                        <a:pt x="571034" y="545303"/>
                      </a:lnTo>
                      <a:lnTo>
                        <a:pt x="570682" y="547137"/>
                      </a:lnTo>
                      <a:lnTo>
                        <a:pt x="569480" y="547889"/>
                      </a:lnTo>
                      <a:lnTo>
                        <a:pt x="567695" y="547489"/>
                      </a:lnTo>
                      <a:lnTo>
                        <a:pt x="565739" y="546736"/>
                      </a:lnTo>
                      <a:lnTo>
                        <a:pt x="564076" y="546299"/>
                      </a:lnTo>
                      <a:lnTo>
                        <a:pt x="562303" y="546226"/>
                      </a:lnTo>
                      <a:lnTo>
                        <a:pt x="560470" y="546712"/>
                      </a:lnTo>
                      <a:lnTo>
                        <a:pt x="558685" y="547889"/>
                      </a:lnTo>
                      <a:lnTo>
                        <a:pt x="557070" y="549662"/>
                      </a:lnTo>
                      <a:lnTo>
                        <a:pt x="555758" y="552127"/>
                      </a:lnTo>
                      <a:lnTo>
                        <a:pt x="555236" y="553597"/>
                      </a:lnTo>
                      <a:lnTo>
                        <a:pt x="555066" y="554483"/>
                      </a:lnTo>
                      <a:lnTo>
                        <a:pt x="555005" y="555576"/>
                      </a:lnTo>
                      <a:lnTo>
                        <a:pt x="556790" y="564124"/>
                      </a:lnTo>
                      <a:lnTo>
                        <a:pt x="556960" y="572734"/>
                      </a:lnTo>
                      <a:lnTo>
                        <a:pt x="556559" y="575150"/>
                      </a:lnTo>
                      <a:lnTo>
                        <a:pt x="555977" y="576498"/>
                      </a:lnTo>
                      <a:lnTo>
                        <a:pt x="555236" y="576668"/>
                      </a:lnTo>
                      <a:lnTo>
                        <a:pt x="554483" y="576304"/>
                      </a:lnTo>
                      <a:lnTo>
                        <a:pt x="551399" y="573742"/>
                      </a:lnTo>
                      <a:lnTo>
                        <a:pt x="549893" y="573171"/>
                      </a:lnTo>
                      <a:lnTo>
                        <a:pt x="548752" y="574750"/>
                      </a:lnTo>
                      <a:lnTo>
                        <a:pt x="548970" y="576267"/>
                      </a:lnTo>
                      <a:lnTo>
                        <a:pt x="549152" y="577130"/>
                      </a:lnTo>
                      <a:lnTo>
                        <a:pt x="549784" y="577882"/>
                      </a:lnTo>
                      <a:lnTo>
                        <a:pt x="551557" y="581379"/>
                      </a:lnTo>
                      <a:lnTo>
                        <a:pt x="552540" y="584731"/>
                      </a:lnTo>
                      <a:lnTo>
                        <a:pt x="553354" y="586443"/>
                      </a:lnTo>
                      <a:lnTo>
                        <a:pt x="554374" y="587706"/>
                      </a:lnTo>
                      <a:lnTo>
                        <a:pt x="555297" y="588337"/>
                      </a:lnTo>
                      <a:lnTo>
                        <a:pt x="556499" y="590195"/>
                      </a:lnTo>
                      <a:lnTo>
                        <a:pt x="557762" y="593328"/>
                      </a:lnTo>
                      <a:lnTo>
                        <a:pt x="559316" y="603383"/>
                      </a:lnTo>
                      <a:lnTo>
                        <a:pt x="559947" y="605969"/>
                      </a:lnTo>
                      <a:lnTo>
                        <a:pt x="560979" y="607086"/>
                      </a:lnTo>
                      <a:lnTo>
                        <a:pt x="562473" y="607839"/>
                      </a:lnTo>
                      <a:lnTo>
                        <a:pt x="569018" y="609393"/>
                      </a:lnTo>
                      <a:lnTo>
                        <a:pt x="571082" y="610486"/>
                      </a:lnTo>
                      <a:lnTo>
                        <a:pt x="572637" y="611579"/>
                      </a:lnTo>
                      <a:lnTo>
                        <a:pt x="574750" y="614287"/>
                      </a:lnTo>
                      <a:lnTo>
                        <a:pt x="576365" y="626916"/>
                      </a:lnTo>
                      <a:lnTo>
                        <a:pt x="579182" y="636132"/>
                      </a:lnTo>
                      <a:lnTo>
                        <a:pt x="579862" y="639872"/>
                      </a:lnTo>
                      <a:lnTo>
                        <a:pt x="579923" y="643807"/>
                      </a:lnTo>
                      <a:lnTo>
                        <a:pt x="579583" y="646235"/>
                      </a:lnTo>
                      <a:lnTo>
                        <a:pt x="579121" y="648044"/>
                      </a:lnTo>
                      <a:lnTo>
                        <a:pt x="578368" y="649793"/>
                      </a:lnTo>
                      <a:lnTo>
                        <a:pt x="577518" y="651347"/>
                      </a:lnTo>
                      <a:lnTo>
                        <a:pt x="576365" y="652816"/>
                      </a:lnTo>
                      <a:lnTo>
                        <a:pt x="575211" y="654638"/>
                      </a:lnTo>
                      <a:lnTo>
                        <a:pt x="573960" y="657200"/>
                      </a:lnTo>
                      <a:lnTo>
                        <a:pt x="572576" y="662106"/>
                      </a:lnTo>
                      <a:lnTo>
                        <a:pt x="571435" y="664607"/>
                      </a:lnTo>
                      <a:lnTo>
                        <a:pt x="570160" y="666356"/>
                      </a:lnTo>
                      <a:lnTo>
                        <a:pt x="565739" y="670666"/>
                      </a:lnTo>
                      <a:lnTo>
                        <a:pt x="564550" y="671480"/>
                      </a:lnTo>
                      <a:lnTo>
                        <a:pt x="563056" y="672160"/>
                      </a:lnTo>
                      <a:lnTo>
                        <a:pt x="561502" y="672415"/>
                      </a:lnTo>
                      <a:lnTo>
                        <a:pt x="560178" y="672063"/>
                      </a:lnTo>
                      <a:lnTo>
                        <a:pt x="559195" y="671031"/>
                      </a:lnTo>
                      <a:lnTo>
                        <a:pt x="558332" y="669683"/>
                      </a:lnTo>
                      <a:lnTo>
                        <a:pt x="557482" y="668626"/>
                      </a:lnTo>
                      <a:lnTo>
                        <a:pt x="556390" y="667740"/>
                      </a:lnTo>
                      <a:lnTo>
                        <a:pt x="555114" y="667255"/>
                      </a:lnTo>
                      <a:lnTo>
                        <a:pt x="553864" y="666963"/>
                      </a:lnTo>
                      <a:lnTo>
                        <a:pt x="551678" y="667109"/>
                      </a:lnTo>
                      <a:lnTo>
                        <a:pt x="549723" y="667510"/>
                      </a:lnTo>
                      <a:lnTo>
                        <a:pt x="547137" y="668833"/>
                      </a:lnTo>
                      <a:lnTo>
                        <a:pt x="545303" y="669258"/>
                      </a:lnTo>
                      <a:lnTo>
                        <a:pt x="543348" y="668918"/>
                      </a:lnTo>
                      <a:lnTo>
                        <a:pt x="539851" y="667279"/>
                      </a:lnTo>
                      <a:lnTo>
                        <a:pt x="537495" y="666586"/>
                      </a:lnTo>
                      <a:lnTo>
                        <a:pt x="532504" y="666150"/>
                      </a:lnTo>
                      <a:lnTo>
                        <a:pt x="529456" y="665554"/>
                      </a:lnTo>
                      <a:lnTo>
                        <a:pt x="513088" y="656107"/>
                      </a:lnTo>
                      <a:lnTo>
                        <a:pt x="510854" y="655354"/>
                      </a:lnTo>
                      <a:lnTo>
                        <a:pt x="507344" y="661159"/>
                      </a:lnTo>
                      <a:lnTo>
                        <a:pt x="507065" y="665725"/>
                      </a:lnTo>
                      <a:lnTo>
                        <a:pt x="507235" y="668493"/>
                      </a:lnTo>
                      <a:lnTo>
                        <a:pt x="506943" y="669889"/>
                      </a:lnTo>
                      <a:lnTo>
                        <a:pt x="506324" y="670958"/>
                      </a:lnTo>
                      <a:lnTo>
                        <a:pt x="505450" y="671711"/>
                      </a:lnTo>
                      <a:lnTo>
                        <a:pt x="503847" y="673435"/>
                      </a:lnTo>
                      <a:lnTo>
                        <a:pt x="502463" y="675390"/>
                      </a:lnTo>
                      <a:lnTo>
                        <a:pt x="502463" y="676143"/>
                      </a:lnTo>
                      <a:lnTo>
                        <a:pt x="502924" y="676799"/>
                      </a:lnTo>
                      <a:lnTo>
                        <a:pt x="504017" y="677175"/>
                      </a:lnTo>
                      <a:lnTo>
                        <a:pt x="509591" y="678377"/>
                      </a:lnTo>
                      <a:lnTo>
                        <a:pt x="510793" y="678899"/>
                      </a:lnTo>
                      <a:lnTo>
                        <a:pt x="514241" y="681219"/>
                      </a:lnTo>
                      <a:lnTo>
                        <a:pt x="515553" y="681705"/>
                      </a:lnTo>
                      <a:lnTo>
                        <a:pt x="516828" y="681996"/>
                      </a:lnTo>
                      <a:lnTo>
                        <a:pt x="518079" y="682445"/>
                      </a:lnTo>
                      <a:lnTo>
                        <a:pt x="519475" y="683307"/>
                      </a:lnTo>
                      <a:lnTo>
                        <a:pt x="521187" y="685347"/>
                      </a:lnTo>
                      <a:lnTo>
                        <a:pt x="521697" y="686950"/>
                      </a:lnTo>
                      <a:lnTo>
                        <a:pt x="521697" y="688565"/>
                      </a:lnTo>
                      <a:lnTo>
                        <a:pt x="521126" y="692585"/>
                      </a:lnTo>
                      <a:lnTo>
                        <a:pt x="521066" y="695912"/>
                      </a:lnTo>
                      <a:lnTo>
                        <a:pt x="520386" y="700623"/>
                      </a:lnTo>
                      <a:lnTo>
                        <a:pt x="517520" y="712730"/>
                      </a:lnTo>
                      <a:lnTo>
                        <a:pt x="517046" y="713835"/>
                      </a:lnTo>
                      <a:lnTo>
                        <a:pt x="516585" y="714466"/>
                      </a:lnTo>
                      <a:lnTo>
                        <a:pt x="515856" y="714891"/>
                      </a:lnTo>
                      <a:lnTo>
                        <a:pt x="511764" y="716385"/>
                      </a:lnTo>
                      <a:lnTo>
                        <a:pt x="510914" y="716931"/>
                      </a:lnTo>
                      <a:lnTo>
                        <a:pt x="510392" y="718704"/>
                      </a:lnTo>
                      <a:lnTo>
                        <a:pt x="511133" y="724824"/>
                      </a:lnTo>
                      <a:lnTo>
                        <a:pt x="511011" y="727265"/>
                      </a:lnTo>
                      <a:lnTo>
                        <a:pt x="510441" y="729536"/>
                      </a:lnTo>
                      <a:lnTo>
                        <a:pt x="508838" y="732498"/>
                      </a:lnTo>
                      <a:lnTo>
                        <a:pt x="507065" y="737052"/>
                      </a:lnTo>
                      <a:lnTo>
                        <a:pt x="506020" y="741739"/>
                      </a:lnTo>
                      <a:lnTo>
                        <a:pt x="505960" y="744471"/>
                      </a:lnTo>
                      <a:lnTo>
                        <a:pt x="506421" y="747604"/>
                      </a:lnTo>
                      <a:lnTo>
                        <a:pt x="508728" y="756675"/>
                      </a:lnTo>
                      <a:lnTo>
                        <a:pt x="509360" y="757938"/>
                      </a:lnTo>
                      <a:lnTo>
                        <a:pt x="510392" y="758594"/>
                      </a:lnTo>
                      <a:lnTo>
                        <a:pt x="513258" y="759601"/>
                      </a:lnTo>
                      <a:lnTo>
                        <a:pt x="514642" y="760294"/>
                      </a:lnTo>
                      <a:lnTo>
                        <a:pt x="515966" y="761241"/>
                      </a:lnTo>
                      <a:lnTo>
                        <a:pt x="517168" y="762856"/>
                      </a:lnTo>
                      <a:lnTo>
                        <a:pt x="518200" y="764653"/>
                      </a:lnTo>
                      <a:lnTo>
                        <a:pt x="520082" y="769194"/>
                      </a:lnTo>
                      <a:lnTo>
                        <a:pt x="521576" y="771890"/>
                      </a:lnTo>
                      <a:lnTo>
                        <a:pt x="522389" y="772813"/>
                      </a:lnTo>
                      <a:lnTo>
                        <a:pt x="523191" y="773323"/>
                      </a:lnTo>
                      <a:lnTo>
                        <a:pt x="524065" y="773384"/>
                      </a:lnTo>
                      <a:lnTo>
                        <a:pt x="525255" y="773068"/>
                      </a:lnTo>
                      <a:lnTo>
                        <a:pt x="527963" y="771672"/>
                      </a:lnTo>
                      <a:lnTo>
                        <a:pt x="529056" y="771356"/>
                      </a:lnTo>
                      <a:lnTo>
                        <a:pt x="530489" y="771234"/>
                      </a:lnTo>
                      <a:lnTo>
                        <a:pt x="534690" y="771781"/>
                      </a:lnTo>
                      <a:lnTo>
                        <a:pt x="538357" y="771781"/>
                      </a:lnTo>
                      <a:lnTo>
                        <a:pt x="539559" y="772339"/>
                      </a:lnTo>
                      <a:lnTo>
                        <a:pt x="540604" y="773372"/>
                      </a:lnTo>
                      <a:lnTo>
                        <a:pt x="541854" y="775642"/>
                      </a:lnTo>
                      <a:lnTo>
                        <a:pt x="542267" y="777367"/>
                      </a:lnTo>
                      <a:lnTo>
                        <a:pt x="542146" y="778921"/>
                      </a:lnTo>
                      <a:lnTo>
                        <a:pt x="541575" y="779929"/>
                      </a:lnTo>
                      <a:lnTo>
                        <a:pt x="539681" y="781811"/>
                      </a:lnTo>
                      <a:lnTo>
                        <a:pt x="538989" y="783025"/>
                      </a:lnTo>
                      <a:lnTo>
                        <a:pt x="538296" y="785490"/>
                      </a:lnTo>
                      <a:lnTo>
                        <a:pt x="537835" y="786377"/>
                      </a:lnTo>
                      <a:lnTo>
                        <a:pt x="536803" y="787020"/>
                      </a:lnTo>
                      <a:lnTo>
                        <a:pt x="535491" y="787227"/>
                      </a:lnTo>
                      <a:lnTo>
                        <a:pt x="534216" y="787020"/>
                      </a:lnTo>
                      <a:lnTo>
                        <a:pt x="533245" y="786777"/>
                      </a:lnTo>
                      <a:lnTo>
                        <a:pt x="532262" y="786717"/>
                      </a:lnTo>
                      <a:lnTo>
                        <a:pt x="531399" y="787069"/>
                      </a:lnTo>
                      <a:lnTo>
                        <a:pt x="530367" y="787785"/>
                      </a:lnTo>
                      <a:lnTo>
                        <a:pt x="529675" y="788623"/>
                      </a:lnTo>
                      <a:lnTo>
                        <a:pt x="528995" y="789995"/>
                      </a:lnTo>
                      <a:lnTo>
                        <a:pt x="528485" y="791720"/>
                      </a:lnTo>
                      <a:lnTo>
                        <a:pt x="528242" y="794464"/>
                      </a:lnTo>
                      <a:lnTo>
                        <a:pt x="528594" y="796638"/>
                      </a:lnTo>
                      <a:lnTo>
                        <a:pt x="529286" y="798495"/>
                      </a:lnTo>
                      <a:lnTo>
                        <a:pt x="530319" y="800256"/>
                      </a:lnTo>
                      <a:lnTo>
                        <a:pt x="531691" y="801774"/>
                      </a:lnTo>
                      <a:lnTo>
                        <a:pt x="533136" y="802867"/>
                      </a:lnTo>
                      <a:lnTo>
                        <a:pt x="539268" y="805392"/>
                      </a:lnTo>
                      <a:lnTo>
                        <a:pt x="540422" y="806619"/>
                      </a:lnTo>
                      <a:lnTo>
                        <a:pt x="540531" y="807870"/>
                      </a:lnTo>
                      <a:lnTo>
                        <a:pt x="540191" y="809060"/>
                      </a:lnTo>
                      <a:lnTo>
                        <a:pt x="539219" y="810408"/>
                      </a:lnTo>
                      <a:lnTo>
                        <a:pt x="538248" y="811865"/>
                      </a:lnTo>
                      <a:lnTo>
                        <a:pt x="537434" y="813625"/>
                      </a:lnTo>
                      <a:lnTo>
                        <a:pt x="537835" y="815605"/>
                      </a:lnTo>
                      <a:lnTo>
                        <a:pt x="549092" y="817888"/>
                      </a:lnTo>
                      <a:lnTo>
                        <a:pt x="554957" y="818203"/>
                      </a:lnTo>
                      <a:lnTo>
                        <a:pt x="559717" y="819320"/>
                      </a:lnTo>
                      <a:lnTo>
                        <a:pt x="563615" y="820608"/>
                      </a:lnTo>
                      <a:lnTo>
                        <a:pt x="566893" y="820790"/>
                      </a:lnTo>
                      <a:lnTo>
                        <a:pt x="568727" y="820450"/>
                      </a:lnTo>
                      <a:lnTo>
                        <a:pt x="569759" y="819503"/>
                      </a:lnTo>
                      <a:lnTo>
                        <a:pt x="570220" y="818349"/>
                      </a:lnTo>
                      <a:lnTo>
                        <a:pt x="570512" y="816831"/>
                      </a:lnTo>
                      <a:lnTo>
                        <a:pt x="570111" y="811682"/>
                      </a:lnTo>
                      <a:lnTo>
                        <a:pt x="570633" y="809715"/>
                      </a:lnTo>
                      <a:lnTo>
                        <a:pt x="571374" y="808307"/>
                      </a:lnTo>
                      <a:lnTo>
                        <a:pt x="573681" y="805381"/>
                      </a:lnTo>
                      <a:lnTo>
                        <a:pt x="575964" y="801883"/>
                      </a:lnTo>
                      <a:lnTo>
                        <a:pt x="578368" y="799685"/>
                      </a:lnTo>
                      <a:lnTo>
                        <a:pt x="579983" y="799114"/>
                      </a:lnTo>
                      <a:lnTo>
                        <a:pt x="581538" y="799200"/>
                      </a:lnTo>
                      <a:lnTo>
                        <a:pt x="585095" y="801385"/>
                      </a:lnTo>
                      <a:lnTo>
                        <a:pt x="586929" y="802078"/>
                      </a:lnTo>
                      <a:lnTo>
                        <a:pt x="589807" y="802478"/>
                      </a:lnTo>
                      <a:lnTo>
                        <a:pt x="593826" y="802393"/>
                      </a:lnTo>
                      <a:lnTo>
                        <a:pt x="598756" y="801215"/>
                      </a:lnTo>
                      <a:lnTo>
                        <a:pt x="601464" y="800924"/>
                      </a:lnTo>
                      <a:lnTo>
                        <a:pt x="603237" y="801045"/>
                      </a:lnTo>
                      <a:lnTo>
                        <a:pt x="604038" y="801883"/>
                      </a:lnTo>
                      <a:lnTo>
                        <a:pt x="604391" y="802940"/>
                      </a:lnTo>
                      <a:lnTo>
                        <a:pt x="604391" y="804336"/>
                      </a:lnTo>
                      <a:lnTo>
                        <a:pt x="604330" y="805806"/>
                      </a:lnTo>
                      <a:lnTo>
                        <a:pt x="605313" y="807275"/>
                      </a:lnTo>
                      <a:lnTo>
                        <a:pt x="607256" y="808392"/>
                      </a:lnTo>
                      <a:lnTo>
                        <a:pt x="612247" y="809485"/>
                      </a:lnTo>
                      <a:lnTo>
                        <a:pt x="614785" y="810286"/>
                      </a:lnTo>
                      <a:lnTo>
                        <a:pt x="616449" y="811173"/>
                      </a:lnTo>
                      <a:lnTo>
                        <a:pt x="619496" y="815762"/>
                      </a:lnTo>
                      <a:lnTo>
                        <a:pt x="621439" y="817888"/>
                      </a:lnTo>
                      <a:lnTo>
                        <a:pt x="623965" y="819357"/>
                      </a:lnTo>
                      <a:lnTo>
                        <a:pt x="626151" y="819320"/>
                      </a:lnTo>
                      <a:lnTo>
                        <a:pt x="627596" y="818179"/>
                      </a:lnTo>
                      <a:lnTo>
                        <a:pt x="627814" y="816564"/>
                      </a:lnTo>
                      <a:lnTo>
                        <a:pt x="627183" y="814815"/>
                      </a:lnTo>
                      <a:lnTo>
                        <a:pt x="623856" y="809983"/>
                      </a:lnTo>
                      <a:lnTo>
                        <a:pt x="623115" y="808477"/>
                      </a:lnTo>
                      <a:lnTo>
                        <a:pt x="622471" y="806716"/>
                      </a:lnTo>
                      <a:lnTo>
                        <a:pt x="622131" y="805016"/>
                      </a:lnTo>
                      <a:lnTo>
                        <a:pt x="622423" y="803377"/>
                      </a:lnTo>
                      <a:lnTo>
                        <a:pt x="623273" y="802053"/>
                      </a:lnTo>
                      <a:lnTo>
                        <a:pt x="625289" y="800936"/>
                      </a:lnTo>
                      <a:lnTo>
                        <a:pt x="626794" y="800729"/>
                      </a:lnTo>
                      <a:lnTo>
                        <a:pt x="628166" y="801009"/>
                      </a:lnTo>
                      <a:lnTo>
                        <a:pt x="630231" y="802223"/>
                      </a:lnTo>
                      <a:lnTo>
                        <a:pt x="631275" y="803049"/>
                      </a:lnTo>
                      <a:lnTo>
                        <a:pt x="632064" y="803814"/>
                      </a:lnTo>
                      <a:lnTo>
                        <a:pt x="632696" y="804858"/>
                      </a:lnTo>
                      <a:lnTo>
                        <a:pt x="632926" y="805660"/>
                      </a:lnTo>
                      <a:lnTo>
                        <a:pt x="632926" y="806741"/>
                      </a:lnTo>
                      <a:lnTo>
                        <a:pt x="633388" y="807518"/>
                      </a:lnTo>
                      <a:lnTo>
                        <a:pt x="634529" y="808088"/>
                      </a:lnTo>
                      <a:lnTo>
                        <a:pt x="639824" y="808695"/>
                      </a:lnTo>
                      <a:lnTo>
                        <a:pt x="641536" y="809388"/>
                      </a:lnTo>
                      <a:lnTo>
                        <a:pt x="642058" y="810371"/>
                      </a:lnTo>
                      <a:lnTo>
                        <a:pt x="641997" y="811828"/>
                      </a:lnTo>
                      <a:lnTo>
                        <a:pt x="640674" y="815568"/>
                      </a:lnTo>
                      <a:lnTo>
                        <a:pt x="640285" y="817402"/>
                      </a:lnTo>
                      <a:lnTo>
                        <a:pt x="640285" y="819090"/>
                      </a:lnTo>
                      <a:lnTo>
                        <a:pt x="640613" y="820850"/>
                      </a:lnTo>
                      <a:lnTo>
                        <a:pt x="642349" y="825477"/>
                      </a:lnTo>
                      <a:lnTo>
                        <a:pt x="642689" y="826910"/>
                      </a:lnTo>
                      <a:lnTo>
                        <a:pt x="642799" y="828088"/>
                      </a:lnTo>
                      <a:lnTo>
                        <a:pt x="642410" y="829302"/>
                      </a:lnTo>
                      <a:lnTo>
                        <a:pt x="641426" y="830310"/>
                      </a:lnTo>
                      <a:lnTo>
                        <a:pt x="639702" y="831136"/>
                      </a:lnTo>
                      <a:lnTo>
                        <a:pt x="637577" y="831597"/>
                      </a:lnTo>
                      <a:lnTo>
                        <a:pt x="629539" y="831876"/>
                      </a:lnTo>
                      <a:lnTo>
                        <a:pt x="626952" y="832277"/>
                      </a:lnTo>
                      <a:lnTo>
                        <a:pt x="625459" y="832848"/>
                      </a:lnTo>
                      <a:lnTo>
                        <a:pt x="624196" y="833649"/>
                      </a:lnTo>
                      <a:lnTo>
                        <a:pt x="620650" y="837498"/>
                      </a:lnTo>
                      <a:lnTo>
                        <a:pt x="617420" y="840048"/>
                      </a:lnTo>
                      <a:lnTo>
                        <a:pt x="616789" y="840814"/>
                      </a:lnTo>
                      <a:lnTo>
                        <a:pt x="616570" y="841421"/>
                      </a:lnTo>
                      <a:lnTo>
                        <a:pt x="617189" y="842113"/>
                      </a:lnTo>
                      <a:lnTo>
                        <a:pt x="618525" y="842429"/>
                      </a:lnTo>
                      <a:lnTo>
                        <a:pt x="621038" y="842708"/>
                      </a:lnTo>
                      <a:lnTo>
                        <a:pt x="622301" y="843509"/>
                      </a:lnTo>
                      <a:lnTo>
                        <a:pt x="622763" y="844517"/>
                      </a:lnTo>
                      <a:lnTo>
                        <a:pt x="622301" y="845999"/>
                      </a:lnTo>
                      <a:lnTo>
                        <a:pt x="621439" y="847383"/>
                      </a:lnTo>
                      <a:lnTo>
                        <a:pt x="617359" y="852774"/>
                      </a:lnTo>
                      <a:lnTo>
                        <a:pt x="616728" y="854013"/>
                      </a:lnTo>
                      <a:lnTo>
                        <a:pt x="616570" y="854899"/>
                      </a:lnTo>
                      <a:lnTo>
                        <a:pt x="616849" y="856053"/>
                      </a:lnTo>
                      <a:lnTo>
                        <a:pt x="617711" y="857267"/>
                      </a:lnTo>
                      <a:lnTo>
                        <a:pt x="620018" y="859902"/>
                      </a:lnTo>
                      <a:lnTo>
                        <a:pt x="620529" y="860801"/>
                      </a:lnTo>
                      <a:lnTo>
                        <a:pt x="621221" y="864966"/>
                      </a:lnTo>
                      <a:lnTo>
                        <a:pt x="621378" y="865354"/>
                      </a:lnTo>
                      <a:lnTo>
                        <a:pt x="621779" y="866192"/>
                      </a:lnTo>
                      <a:lnTo>
                        <a:pt x="623115" y="867734"/>
                      </a:lnTo>
                      <a:lnTo>
                        <a:pt x="624609" y="868681"/>
                      </a:lnTo>
                      <a:lnTo>
                        <a:pt x="626551" y="869605"/>
                      </a:lnTo>
                      <a:lnTo>
                        <a:pt x="627474" y="870758"/>
                      </a:lnTo>
                      <a:lnTo>
                        <a:pt x="627814" y="871960"/>
                      </a:lnTo>
                      <a:lnTo>
                        <a:pt x="627243" y="875214"/>
                      </a:lnTo>
                      <a:lnTo>
                        <a:pt x="627134" y="876502"/>
                      </a:lnTo>
                      <a:lnTo>
                        <a:pt x="627353" y="877558"/>
                      </a:lnTo>
                      <a:lnTo>
                        <a:pt x="629879" y="881929"/>
                      </a:lnTo>
                      <a:lnTo>
                        <a:pt x="630231" y="883387"/>
                      </a:lnTo>
                      <a:lnTo>
                        <a:pt x="630061" y="884601"/>
                      </a:lnTo>
                      <a:lnTo>
                        <a:pt x="629138" y="885487"/>
                      </a:lnTo>
                      <a:lnTo>
                        <a:pt x="627596" y="885827"/>
                      </a:lnTo>
                      <a:lnTo>
                        <a:pt x="625750" y="885487"/>
                      </a:lnTo>
                      <a:lnTo>
                        <a:pt x="622192" y="883848"/>
                      </a:lnTo>
                      <a:lnTo>
                        <a:pt x="619156" y="883071"/>
                      </a:lnTo>
                      <a:lnTo>
                        <a:pt x="617420" y="882439"/>
                      </a:lnTo>
                      <a:lnTo>
                        <a:pt x="616789" y="881322"/>
                      </a:lnTo>
                      <a:lnTo>
                        <a:pt x="616849" y="879829"/>
                      </a:lnTo>
                      <a:lnTo>
                        <a:pt x="617141" y="878274"/>
                      </a:lnTo>
                      <a:lnTo>
                        <a:pt x="617141" y="876514"/>
                      </a:lnTo>
                      <a:lnTo>
                        <a:pt x="616278" y="874474"/>
                      </a:lnTo>
                      <a:lnTo>
                        <a:pt x="613461" y="869969"/>
                      </a:lnTo>
                      <a:lnTo>
                        <a:pt x="610996" y="864747"/>
                      </a:lnTo>
                      <a:lnTo>
                        <a:pt x="610134" y="863582"/>
                      </a:lnTo>
                      <a:lnTo>
                        <a:pt x="609321" y="862829"/>
                      </a:lnTo>
                      <a:lnTo>
                        <a:pt x="608471" y="862355"/>
                      </a:lnTo>
                      <a:lnTo>
                        <a:pt x="606285" y="862124"/>
                      </a:lnTo>
                      <a:lnTo>
                        <a:pt x="604852" y="861663"/>
                      </a:lnTo>
                      <a:lnTo>
                        <a:pt x="603589" y="861031"/>
                      </a:lnTo>
                      <a:lnTo>
                        <a:pt x="602205" y="860606"/>
                      </a:lnTo>
                      <a:lnTo>
                        <a:pt x="600833" y="860606"/>
                      </a:lnTo>
                      <a:lnTo>
                        <a:pt x="588933" y="863557"/>
                      </a:lnTo>
                      <a:lnTo>
                        <a:pt x="586650" y="863800"/>
                      </a:lnTo>
                      <a:lnTo>
                        <a:pt x="581416" y="863642"/>
                      </a:lnTo>
                      <a:lnTo>
                        <a:pt x="577980" y="864019"/>
                      </a:lnTo>
                      <a:lnTo>
                        <a:pt x="576146" y="863897"/>
                      </a:lnTo>
                      <a:lnTo>
                        <a:pt x="574531" y="863071"/>
                      </a:lnTo>
                      <a:lnTo>
                        <a:pt x="573378" y="861918"/>
                      </a:lnTo>
                      <a:lnTo>
                        <a:pt x="571544" y="859416"/>
                      </a:lnTo>
                      <a:lnTo>
                        <a:pt x="570451" y="858397"/>
                      </a:lnTo>
                      <a:lnTo>
                        <a:pt x="569079" y="857656"/>
                      </a:lnTo>
                      <a:lnTo>
                        <a:pt x="567415" y="857146"/>
                      </a:lnTo>
                      <a:lnTo>
                        <a:pt x="561781" y="856029"/>
                      </a:lnTo>
                      <a:lnTo>
                        <a:pt x="558794" y="854997"/>
                      </a:lnTo>
                      <a:lnTo>
                        <a:pt x="555977" y="853685"/>
                      </a:lnTo>
                      <a:lnTo>
                        <a:pt x="555066" y="853005"/>
                      </a:lnTo>
                      <a:lnTo>
                        <a:pt x="554204" y="852155"/>
                      </a:lnTo>
                      <a:lnTo>
                        <a:pt x="553232" y="850564"/>
                      </a:lnTo>
                      <a:lnTo>
                        <a:pt x="552540" y="848682"/>
                      </a:lnTo>
                      <a:lnTo>
                        <a:pt x="551399" y="844383"/>
                      </a:lnTo>
                      <a:lnTo>
                        <a:pt x="550124" y="835021"/>
                      </a:lnTo>
                      <a:lnTo>
                        <a:pt x="549674" y="833370"/>
                      </a:lnTo>
                      <a:lnTo>
                        <a:pt x="548970" y="832143"/>
                      </a:lnTo>
                      <a:lnTo>
                        <a:pt x="548059" y="832022"/>
                      </a:lnTo>
                      <a:lnTo>
                        <a:pt x="547319" y="832277"/>
                      </a:lnTo>
                      <a:lnTo>
                        <a:pt x="546566" y="832483"/>
                      </a:lnTo>
                      <a:lnTo>
                        <a:pt x="545582" y="832350"/>
                      </a:lnTo>
                      <a:lnTo>
                        <a:pt x="544441" y="831560"/>
                      </a:lnTo>
                      <a:lnTo>
                        <a:pt x="542364" y="829727"/>
                      </a:lnTo>
                      <a:lnTo>
                        <a:pt x="541454" y="829120"/>
                      </a:lnTo>
                      <a:lnTo>
                        <a:pt x="540422" y="828756"/>
                      </a:lnTo>
                      <a:lnTo>
                        <a:pt x="539438" y="828816"/>
                      </a:lnTo>
                      <a:lnTo>
                        <a:pt x="538357" y="829423"/>
                      </a:lnTo>
                      <a:lnTo>
                        <a:pt x="537495" y="830456"/>
                      </a:lnTo>
                      <a:lnTo>
                        <a:pt x="536342" y="832229"/>
                      </a:lnTo>
                      <a:lnTo>
                        <a:pt x="535662" y="832593"/>
                      </a:lnTo>
                      <a:lnTo>
                        <a:pt x="533136" y="833054"/>
                      </a:lnTo>
                      <a:lnTo>
                        <a:pt x="531691" y="833722"/>
                      </a:lnTo>
                      <a:lnTo>
                        <a:pt x="530319" y="835446"/>
                      </a:lnTo>
                      <a:lnTo>
                        <a:pt x="530319" y="837000"/>
                      </a:lnTo>
                      <a:lnTo>
                        <a:pt x="531229" y="838579"/>
                      </a:lnTo>
                      <a:lnTo>
                        <a:pt x="542486" y="849544"/>
                      </a:lnTo>
                      <a:lnTo>
                        <a:pt x="543979" y="851985"/>
                      </a:lnTo>
                      <a:lnTo>
                        <a:pt x="544331" y="853163"/>
                      </a:lnTo>
                      <a:lnTo>
                        <a:pt x="543979" y="854073"/>
                      </a:lnTo>
                      <a:lnTo>
                        <a:pt x="543239" y="855227"/>
                      </a:lnTo>
                      <a:lnTo>
                        <a:pt x="542607" y="857000"/>
                      </a:lnTo>
                      <a:lnTo>
                        <a:pt x="542364" y="860716"/>
                      </a:lnTo>
                      <a:lnTo>
                        <a:pt x="543069" y="862780"/>
                      </a:lnTo>
                      <a:lnTo>
                        <a:pt x="544149" y="864213"/>
                      </a:lnTo>
                      <a:lnTo>
                        <a:pt x="545194" y="864905"/>
                      </a:lnTo>
                      <a:lnTo>
                        <a:pt x="546044" y="865682"/>
                      </a:lnTo>
                      <a:lnTo>
                        <a:pt x="547938" y="868281"/>
                      </a:lnTo>
                      <a:lnTo>
                        <a:pt x="550585" y="872919"/>
                      </a:lnTo>
                      <a:lnTo>
                        <a:pt x="551617" y="874376"/>
                      </a:lnTo>
                      <a:lnTo>
                        <a:pt x="555175" y="878117"/>
                      </a:lnTo>
                      <a:lnTo>
                        <a:pt x="556037" y="879380"/>
                      </a:lnTo>
                      <a:lnTo>
                        <a:pt x="556960" y="881274"/>
                      </a:lnTo>
                      <a:lnTo>
                        <a:pt x="557009" y="883034"/>
                      </a:lnTo>
                      <a:lnTo>
                        <a:pt x="556268" y="884297"/>
                      </a:lnTo>
                      <a:lnTo>
                        <a:pt x="555467" y="885087"/>
                      </a:lnTo>
                      <a:lnTo>
                        <a:pt x="554957" y="885524"/>
                      </a:lnTo>
                      <a:lnTo>
                        <a:pt x="554264" y="886155"/>
                      </a:lnTo>
                      <a:lnTo>
                        <a:pt x="553572" y="887090"/>
                      </a:lnTo>
                      <a:lnTo>
                        <a:pt x="552832" y="888559"/>
                      </a:lnTo>
                      <a:lnTo>
                        <a:pt x="552431" y="889968"/>
                      </a:lnTo>
                      <a:lnTo>
                        <a:pt x="551860" y="891231"/>
                      </a:lnTo>
                      <a:lnTo>
                        <a:pt x="550925" y="892494"/>
                      </a:lnTo>
                      <a:lnTo>
                        <a:pt x="548290" y="895335"/>
                      </a:lnTo>
                      <a:lnTo>
                        <a:pt x="547197" y="896708"/>
                      </a:lnTo>
                      <a:lnTo>
                        <a:pt x="546566" y="899173"/>
                      </a:lnTo>
                      <a:lnTo>
                        <a:pt x="546566" y="901662"/>
                      </a:lnTo>
                      <a:lnTo>
                        <a:pt x="547319" y="906580"/>
                      </a:lnTo>
                      <a:lnTo>
                        <a:pt x="548120" y="909336"/>
                      </a:lnTo>
                      <a:lnTo>
                        <a:pt x="549262" y="911922"/>
                      </a:lnTo>
                      <a:lnTo>
                        <a:pt x="550306" y="912529"/>
                      </a:lnTo>
                      <a:lnTo>
                        <a:pt x="551338" y="912093"/>
                      </a:lnTo>
                      <a:lnTo>
                        <a:pt x="552188" y="910720"/>
                      </a:lnTo>
                      <a:lnTo>
                        <a:pt x="552771" y="909433"/>
                      </a:lnTo>
                      <a:lnTo>
                        <a:pt x="553354" y="907575"/>
                      </a:lnTo>
                      <a:lnTo>
                        <a:pt x="553572" y="907150"/>
                      </a:lnTo>
                      <a:lnTo>
                        <a:pt x="553924" y="906920"/>
                      </a:lnTo>
                      <a:lnTo>
                        <a:pt x="554665" y="907175"/>
                      </a:lnTo>
                      <a:lnTo>
                        <a:pt x="555236" y="907490"/>
                      </a:lnTo>
                      <a:lnTo>
                        <a:pt x="556159" y="908146"/>
                      </a:lnTo>
                      <a:lnTo>
                        <a:pt x="556960" y="908911"/>
                      </a:lnTo>
                      <a:lnTo>
                        <a:pt x="559377" y="911680"/>
                      </a:lnTo>
                      <a:lnTo>
                        <a:pt x="561150" y="913343"/>
                      </a:lnTo>
                      <a:lnTo>
                        <a:pt x="562752" y="913805"/>
                      </a:lnTo>
                      <a:lnTo>
                        <a:pt x="564137" y="913088"/>
                      </a:lnTo>
                      <a:lnTo>
                        <a:pt x="564890" y="911716"/>
                      </a:lnTo>
                      <a:lnTo>
                        <a:pt x="565399" y="910077"/>
                      </a:lnTo>
                      <a:lnTo>
                        <a:pt x="565982" y="909178"/>
                      </a:lnTo>
                      <a:lnTo>
                        <a:pt x="567015" y="908875"/>
                      </a:lnTo>
                      <a:lnTo>
                        <a:pt x="568326" y="909105"/>
                      </a:lnTo>
                      <a:lnTo>
                        <a:pt x="571653" y="910028"/>
                      </a:lnTo>
                      <a:lnTo>
                        <a:pt x="573560" y="910368"/>
                      </a:lnTo>
                      <a:lnTo>
                        <a:pt x="575624" y="910453"/>
                      </a:lnTo>
                      <a:lnTo>
                        <a:pt x="577518" y="910113"/>
                      </a:lnTo>
                      <a:lnTo>
                        <a:pt x="579012" y="909227"/>
                      </a:lnTo>
                      <a:lnTo>
                        <a:pt x="579983" y="907648"/>
                      </a:lnTo>
                      <a:lnTo>
                        <a:pt x="580044" y="906009"/>
                      </a:lnTo>
                      <a:lnTo>
                        <a:pt x="579073" y="903022"/>
                      </a:lnTo>
                      <a:lnTo>
                        <a:pt x="578842" y="901504"/>
                      </a:lnTo>
                      <a:lnTo>
                        <a:pt x="578890" y="899731"/>
                      </a:lnTo>
                      <a:lnTo>
                        <a:pt x="578672" y="897193"/>
                      </a:lnTo>
                      <a:lnTo>
                        <a:pt x="578040" y="895991"/>
                      </a:lnTo>
                      <a:lnTo>
                        <a:pt x="576887" y="895117"/>
                      </a:lnTo>
                      <a:lnTo>
                        <a:pt x="575624" y="894582"/>
                      </a:lnTo>
                      <a:lnTo>
                        <a:pt x="574300" y="893599"/>
                      </a:lnTo>
                      <a:lnTo>
                        <a:pt x="573718" y="892749"/>
                      </a:lnTo>
                      <a:lnTo>
                        <a:pt x="573839" y="891899"/>
                      </a:lnTo>
                      <a:lnTo>
                        <a:pt x="574422" y="891231"/>
                      </a:lnTo>
                      <a:lnTo>
                        <a:pt x="577579" y="890162"/>
                      </a:lnTo>
                      <a:lnTo>
                        <a:pt x="578320" y="889677"/>
                      </a:lnTo>
                      <a:lnTo>
                        <a:pt x="578781" y="889130"/>
                      </a:lnTo>
                      <a:lnTo>
                        <a:pt x="578951" y="888329"/>
                      </a:lnTo>
                      <a:lnTo>
                        <a:pt x="579012" y="887442"/>
                      </a:lnTo>
                      <a:lnTo>
                        <a:pt x="578951" y="886495"/>
                      </a:lnTo>
                      <a:lnTo>
                        <a:pt x="579073" y="885779"/>
                      </a:lnTo>
                      <a:lnTo>
                        <a:pt x="579291" y="884917"/>
                      </a:lnTo>
                      <a:lnTo>
                        <a:pt x="579704" y="883909"/>
                      </a:lnTo>
                      <a:lnTo>
                        <a:pt x="580323" y="882877"/>
                      </a:lnTo>
                      <a:lnTo>
                        <a:pt x="581076" y="882330"/>
                      </a:lnTo>
                      <a:lnTo>
                        <a:pt x="581999" y="881966"/>
                      </a:lnTo>
                      <a:lnTo>
                        <a:pt x="583092" y="882476"/>
                      </a:lnTo>
                      <a:lnTo>
                        <a:pt x="583602" y="883314"/>
                      </a:lnTo>
                      <a:lnTo>
                        <a:pt x="583784" y="884710"/>
                      </a:lnTo>
                      <a:lnTo>
                        <a:pt x="583723" y="886264"/>
                      </a:lnTo>
                      <a:lnTo>
                        <a:pt x="583820" y="888159"/>
                      </a:lnTo>
                      <a:lnTo>
                        <a:pt x="584343" y="888851"/>
                      </a:lnTo>
                      <a:lnTo>
                        <a:pt x="585435" y="888875"/>
                      </a:lnTo>
                      <a:lnTo>
                        <a:pt x="589297" y="886143"/>
                      </a:lnTo>
                      <a:lnTo>
                        <a:pt x="590548" y="885572"/>
                      </a:lnTo>
                      <a:lnTo>
                        <a:pt x="591980" y="885548"/>
                      </a:lnTo>
                      <a:lnTo>
                        <a:pt x="593705" y="886605"/>
                      </a:lnTo>
                      <a:lnTo>
                        <a:pt x="596461" y="890065"/>
                      </a:lnTo>
                      <a:lnTo>
                        <a:pt x="598368" y="890478"/>
                      </a:lnTo>
                      <a:lnTo>
                        <a:pt x="601926" y="889992"/>
                      </a:lnTo>
                      <a:lnTo>
                        <a:pt x="603528" y="890333"/>
                      </a:lnTo>
                      <a:lnTo>
                        <a:pt x="605423" y="891365"/>
                      </a:lnTo>
                      <a:lnTo>
                        <a:pt x="607900" y="893089"/>
                      </a:lnTo>
                      <a:lnTo>
                        <a:pt x="609843" y="893842"/>
                      </a:lnTo>
                      <a:lnTo>
                        <a:pt x="611737" y="893939"/>
                      </a:lnTo>
                      <a:lnTo>
                        <a:pt x="613231" y="893611"/>
                      </a:lnTo>
                      <a:lnTo>
                        <a:pt x="614554" y="893502"/>
                      </a:lnTo>
                      <a:lnTo>
                        <a:pt x="617942" y="894085"/>
                      </a:lnTo>
                      <a:lnTo>
                        <a:pt x="621439" y="895020"/>
                      </a:lnTo>
                      <a:lnTo>
                        <a:pt x="627134" y="894206"/>
                      </a:lnTo>
                      <a:lnTo>
                        <a:pt x="628045" y="894862"/>
                      </a:lnTo>
                      <a:lnTo>
                        <a:pt x="629089" y="896100"/>
                      </a:lnTo>
                      <a:lnTo>
                        <a:pt x="629320" y="897715"/>
                      </a:lnTo>
                      <a:lnTo>
                        <a:pt x="629830" y="899002"/>
                      </a:lnTo>
                      <a:lnTo>
                        <a:pt x="631154" y="900581"/>
                      </a:lnTo>
                      <a:lnTo>
                        <a:pt x="633497" y="901929"/>
                      </a:lnTo>
                      <a:lnTo>
                        <a:pt x="634772" y="903617"/>
                      </a:lnTo>
                      <a:lnTo>
                        <a:pt x="635404" y="905596"/>
                      </a:lnTo>
                      <a:lnTo>
                        <a:pt x="635804" y="907697"/>
                      </a:lnTo>
                      <a:lnTo>
                        <a:pt x="637298" y="911947"/>
                      </a:lnTo>
                      <a:lnTo>
                        <a:pt x="637747" y="913841"/>
                      </a:lnTo>
                      <a:lnTo>
                        <a:pt x="637699" y="918808"/>
                      </a:lnTo>
                      <a:lnTo>
                        <a:pt x="638099" y="921855"/>
                      </a:lnTo>
                      <a:lnTo>
                        <a:pt x="639241" y="922341"/>
                      </a:lnTo>
                      <a:lnTo>
                        <a:pt x="640164" y="922377"/>
                      </a:lnTo>
                      <a:lnTo>
                        <a:pt x="641475" y="921600"/>
                      </a:lnTo>
                      <a:lnTo>
                        <a:pt x="642519" y="921418"/>
                      </a:lnTo>
                      <a:lnTo>
                        <a:pt x="646539" y="921831"/>
                      </a:lnTo>
                      <a:lnTo>
                        <a:pt x="647741" y="921758"/>
                      </a:lnTo>
                      <a:lnTo>
                        <a:pt x="648773" y="921394"/>
                      </a:lnTo>
                      <a:lnTo>
                        <a:pt x="653485" y="917496"/>
                      </a:lnTo>
                      <a:lnTo>
                        <a:pt x="658427" y="915201"/>
                      </a:lnTo>
                      <a:lnTo>
                        <a:pt x="660770" y="914630"/>
                      </a:lnTo>
                      <a:lnTo>
                        <a:pt x="664571" y="914970"/>
                      </a:lnTo>
                      <a:lnTo>
                        <a:pt x="666113" y="914716"/>
                      </a:lnTo>
                      <a:lnTo>
                        <a:pt x="666757" y="914133"/>
                      </a:lnTo>
                      <a:lnTo>
                        <a:pt x="666065" y="911922"/>
                      </a:lnTo>
                      <a:lnTo>
                        <a:pt x="666004" y="910550"/>
                      </a:lnTo>
                      <a:lnTo>
                        <a:pt x="666344" y="909421"/>
                      </a:lnTo>
                      <a:lnTo>
                        <a:pt x="667279" y="908389"/>
                      </a:lnTo>
                      <a:lnTo>
                        <a:pt x="668469" y="907636"/>
                      </a:lnTo>
                      <a:lnTo>
                        <a:pt x="670254" y="907065"/>
                      </a:lnTo>
                      <a:lnTo>
                        <a:pt x="672488" y="906604"/>
                      </a:lnTo>
                      <a:lnTo>
                        <a:pt x="675196" y="906604"/>
                      </a:lnTo>
                      <a:lnTo>
                        <a:pt x="676617" y="907357"/>
                      </a:lnTo>
                      <a:lnTo>
                        <a:pt x="677540" y="908595"/>
                      </a:lnTo>
                      <a:lnTo>
                        <a:pt x="678171" y="909664"/>
                      </a:lnTo>
                      <a:lnTo>
                        <a:pt x="679434" y="910757"/>
                      </a:lnTo>
                      <a:lnTo>
                        <a:pt x="680587" y="910611"/>
                      </a:lnTo>
                      <a:lnTo>
                        <a:pt x="681680" y="909421"/>
                      </a:lnTo>
                      <a:lnTo>
                        <a:pt x="682433" y="907478"/>
                      </a:lnTo>
                      <a:lnTo>
                        <a:pt x="683053" y="905183"/>
                      </a:lnTo>
                      <a:lnTo>
                        <a:pt x="683805" y="903204"/>
                      </a:lnTo>
                      <a:lnTo>
                        <a:pt x="685178" y="901686"/>
                      </a:lnTo>
                      <a:lnTo>
                        <a:pt x="686902" y="900727"/>
                      </a:lnTo>
                      <a:lnTo>
                        <a:pt x="690010" y="899901"/>
                      </a:lnTo>
                      <a:lnTo>
                        <a:pt x="691783" y="899184"/>
                      </a:lnTo>
                      <a:lnTo>
                        <a:pt x="692937" y="898517"/>
                      </a:lnTo>
                      <a:lnTo>
                        <a:pt x="695062" y="896149"/>
                      </a:lnTo>
                      <a:lnTo>
                        <a:pt x="696713" y="894716"/>
                      </a:lnTo>
                      <a:lnTo>
                        <a:pt x="700575" y="892239"/>
                      </a:lnTo>
                      <a:lnTo>
                        <a:pt x="702129" y="890976"/>
                      </a:lnTo>
                      <a:lnTo>
                        <a:pt x="703101" y="889713"/>
                      </a:lnTo>
                      <a:lnTo>
                        <a:pt x="703562" y="888341"/>
                      </a:lnTo>
                      <a:lnTo>
                        <a:pt x="703441" y="886993"/>
                      </a:lnTo>
                      <a:lnTo>
                        <a:pt x="702809" y="885839"/>
                      </a:lnTo>
                      <a:lnTo>
                        <a:pt x="701668" y="884686"/>
                      </a:lnTo>
                      <a:lnTo>
                        <a:pt x="700635" y="883423"/>
                      </a:lnTo>
                      <a:lnTo>
                        <a:pt x="699992" y="882051"/>
                      </a:lnTo>
                      <a:lnTo>
                        <a:pt x="699822" y="880642"/>
                      </a:lnTo>
                      <a:lnTo>
                        <a:pt x="700113" y="879380"/>
                      </a:lnTo>
                      <a:lnTo>
                        <a:pt x="700854" y="878092"/>
                      </a:lnTo>
                      <a:lnTo>
                        <a:pt x="701838" y="877036"/>
                      </a:lnTo>
                      <a:lnTo>
                        <a:pt x="703562" y="876089"/>
                      </a:lnTo>
                      <a:lnTo>
                        <a:pt x="705043" y="876174"/>
                      </a:lnTo>
                      <a:lnTo>
                        <a:pt x="708261" y="877303"/>
                      </a:lnTo>
                      <a:lnTo>
                        <a:pt x="712293" y="877352"/>
                      </a:lnTo>
                      <a:lnTo>
                        <a:pt x="713543" y="877570"/>
                      </a:lnTo>
                      <a:lnTo>
                        <a:pt x="714466" y="878201"/>
                      </a:lnTo>
                      <a:lnTo>
                        <a:pt x="715668" y="879319"/>
                      </a:lnTo>
                      <a:lnTo>
                        <a:pt x="717101" y="880181"/>
                      </a:lnTo>
                      <a:lnTo>
                        <a:pt x="719918" y="880873"/>
                      </a:lnTo>
                      <a:lnTo>
                        <a:pt x="721703" y="880351"/>
                      </a:lnTo>
                      <a:lnTo>
                        <a:pt x="723258" y="879149"/>
                      </a:lnTo>
                      <a:lnTo>
                        <a:pt x="724059" y="877510"/>
                      </a:lnTo>
                      <a:lnTo>
                        <a:pt x="724569" y="876101"/>
                      </a:lnTo>
                      <a:lnTo>
                        <a:pt x="725492" y="874729"/>
                      </a:lnTo>
                      <a:lnTo>
                        <a:pt x="726524" y="873721"/>
                      </a:lnTo>
                      <a:lnTo>
                        <a:pt x="728771" y="872288"/>
                      </a:lnTo>
                      <a:lnTo>
                        <a:pt x="729851" y="871887"/>
                      </a:lnTo>
                      <a:lnTo>
                        <a:pt x="730835" y="871972"/>
                      </a:lnTo>
                      <a:lnTo>
                        <a:pt x="731284" y="872458"/>
                      </a:lnTo>
                      <a:lnTo>
                        <a:pt x="731636" y="873563"/>
                      </a:lnTo>
                      <a:lnTo>
                        <a:pt x="731867" y="875105"/>
                      </a:lnTo>
                      <a:lnTo>
                        <a:pt x="731636" y="880157"/>
                      </a:lnTo>
                      <a:lnTo>
                        <a:pt x="731466" y="880800"/>
                      </a:lnTo>
                      <a:lnTo>
                        <a:pt x="731114" y="881590"/>
                      </a:lnTo>
                      <a:lnTo>
                        <a:pt x="730434" y="882488"/>
                      </a:lnTo>
                      <a:lnTo>
                        <a:pt x="726816" y="885560"/>
                      </a:lnTo>
                      <a:lnTo>
                        <a:pt x="726002" y="886495"/>
                      </a:lnTo>
                      <a:lnTo>
                        <a:pt x="725601" y="887758"/>
                      </a:lnTo>
                      <a:lnTo>
                        <a:pt x="725601" y="889361"/>
                      </a:lnTo>
                      <a:lnTo>
                        <a:pt x="726184" y="893526"/>
                      </a:lnTo>
                      <a:lnTo>
                        <a:pt x="726585" y="895262"/>
                      </a:lnTo>
                      <a:lnTo>
                        <a:pt x="727034" y="896574"/>
                      </a:lnTo>
                      <a:lnTo>
                        <a:pt x="727738" y="897351"/>
                      </a:lnTo>
                      <a:lnTo>
                        <a:pt x="728649" y="896950"/>
                      </a:lnTo>
                      <a:lnTo>
                        <a:pt x="729851" y="895712"/>
                      </a:lnTo>
                      <a:lnTo>
                        <a:pt x="732717" y="891814"/>
                      </a:lnTo>
                      <a:lnTo>
                        <a:pt x="735194" y="890005"/>
                      </a:lnTo>
                      <a:lnTo>
                        <a:pt x="737319" y="889543"/>
                      </a:lnTo>
                      <a:lnTo>
                        <a:pt x="739335" y="889750"/>
                      </a:lnTo>
                      <a:lnTo>
                        <a:pt x="741157" y="890381"/>
                      </a:lnTo>
                      <a:lnTo>
                        <a:pt x="742261" y="890539"/>
                      </a:lnTo>
                      <a:lnTo>
                        <a:pt x="743014" y="890357"/>
                      </a:lnTo>
                      <a:lnTo>
                        <a:pt x="748746" y="887005"/>
                      </a:lnTo>
                      <a:lnTo>
                        <a:pt x="757586" y="892324"/>
                      </a:lnTo>
                      <a:lnTo>
                        <a:pt x="759772" y="897436"/>
                      </a:lnTo>
                      <a:lnTo>
                        <a:pt x="760816" y="901480"/>
                      </a:lnTo>
                      <a:lnTo>
                        <a:pt x="760974" y="903944"/>
                      </a:lnTo>
                      <a:lnTo>
                        <a:pt x="760634" y="906288"/>
                      </a:lnTo>
                      <a:lnTo>
                        <a:pt x="758800" y="909919"/>
                      </a:lnTo>
                      <a:lnTo>
                        <a:pt x="758047" y="912007"/>
                      </a:lnTo>
                      <a:lnTo>
                        <a:pt x="758630" y="913962"/>
                      </a:lnTo>
                      <a:lnTo>
                        <a:pt x="759772" y="916039"/>
                      </a:lnTo>
                      <a:lnTo>
                        <a:pt x="761787" y="918977"/>
                      </a:lnTo>
                      <a:lnTo>
                        <a:pt x="762407" y="920653"/>
                      </a:lnTo>
                      <a:lnTo>
                        <a:pt x="762309" y="922086"/>
                      </a:lnTo>
                      <a:lnTo>
                        <a:pt x="761265" y="922924"/>
                      </a:lnTo>
                      <a:lnTo>
                        <a:pt x="760063" y="923312"/>
                      </a:lnTo>
                      <a:lnTo>
                        <a:pt x="758448" y="923264"/>
                      </a:lnTo>
                      <a:lnTo>
                        <a:pt x="755400" y="922535"/>
                      </a:lnTo>
                      <a:lnTo>
                        <a:pt x="754149" y="922657"/>
                      </a:lnTo>
                      <a:lnTo>
                        <a:pt x="753166" y="923810"/>
                      </a:lnTo>
                      <a:lnTo>
                        <a:pt x="753336" y="925583"/>
                      </a:lnTo>
                      <a:lnTo>
                        <a:pt x="753906" y="927563"/>
                      </a:lnTo>
                      <a:lnTo>
                        <a:pt x="755339" y="930052"/>
                      </a:lnTo>
                      <a:lnTo>
                        <a:pt x="756614" y="931096"/>
                      </a:lnTo>
                      <a:lnTo>
                        <a:pt x="758387" y="931145"/>
                      </a:lnTo>
                      <a:lnTo>
                        <a:pt x="761557" y="929797"/>
                      </a:lnTo>
                      <a:lnTo>
                        <a:pt x="763220" y="929469"/>
                      </a:lnTo>
                      <a:lnTo>
                        <a:pt x="764774" y="929578"/>
                      </a:lnTo>
                      <a:lnTo>
                        <a:pt x="766377" y="930222"/>
                      </a:lnTo>
                      <a:lnTo>
                        <a:pt x="767749" y="931157"/>
                      </a:lnTo>
                      <a:lnTo>
                        <a:pt x="774246" y="938649"/>
                      </a:lnTo>
                      <a:lnTo>
                        <a:pt x="775740" y="940118"/>
                      </a:lnTo>
                      <a:lnTo>
                        <a:pt x="777172" y="941090"/>
                      </a:lnTo>
                      <a:lnTo>
                        <a:pt x="778083" y="941320"/>
                      </a:lnTo>
                      <a:lnTo>
                        <a:pt x="780670" y="941673"/>
                      </a:lnTo>
                      <a:lnTo>
                        <a:pt x="782515" y="942122"/>
                      </a:lnTo>
                      <a:lnTo>
                        <a:pt x="786073" y="943385"/>
                      </a:lnTo>
                      <a:lnTo>
                        <a:pt x="790214" y="944101"/>
                      </a:lnTo>
                      <a:lnTo>
                        <a:pt x="792048" y="944198"/>
                      </a:lnTo>
                      <a:lnTo>
                        <a:pt x="793650" y="944040"/>
                      </a:lnTo>
                      <a:lnTo>
                        <a:pt x="794962" y="943591"/>
                      </a:lnTo>
                      <a:lnTo>
                        <a:pt x="797439" y="941976"/>
                      </a:lnTo>
                      <a:lnTo>
                        <a:pt x="798532" y="941491"/>
                      </a:lnTo>
                      <a:lnTo>
                        <a:pt x="799685" y="941491"/>
                      </a:lnTo>
                      <a:lnTo>
                        <a:pt x="800875" y="941976"/>
                      </a:lnTo>
                      <a:lnTo>
                        <a:pt x="803182" y="943409"/>
                      </a:lnTo>
                      <a:lnTo>
                        <a:pt x="804105" y="943725"/>
                      </a:lnTo>
                      <a:lnTo>
                        <a:pt x="805016" y="943785"/>
                      </a:lnTo>
                      <a:lnTo>
                        <a:pt x="805939" y="943640"/>
                      </a:lnTo>
                      <a:lnTo>
                        <a:pt x="808416" y="942948"/>
                      </a:lnTo>
                      <a:lnTo>
                        <a:pt x="809898" y="942790"/>
                      </a:lnTo>
                      <a:lnTo>
                        <a:pt x="811743" y="943081"/>
                      </a:lnTo>
                      <a:lnTo>
                        <a:pt x="812593" y="943992"/>
                      </a:lnTo>
                      <a:lnTo>
                        <a:pt x="812885" y="945255"/>
                      </a:lnTo>
                      <a:lnTo>
                        <a:pt x="812496" y="946846"/>
                      </a:lnTo>
                      <a:lnTo>
                        <a:pt x="811161" y="950549"/>
                      </a:lnTo>
                      <a:lnTo>
                        <a:pt x="810760" y="952674"/>
                      </a:lnTo>
                      <a:lnTo>
                        <a:pt x="810638" y="955030"/>
                      </a:lnTo>
                      <a:lnTo>
                        <a:pt x="811452" y="960397"/>
                      </a:lnTo>
                      <a:lnTo>
                        <a:pt x="811501" y="960822"/>
                      </a:lnTo>
                      <a:lnTo>
                        <a:pt x="811161" y="962862"/>
                      </a:lnTo>
                      <a:lnTo>
                        <a:pt x="810529" y="964526"/>
                      </a:lnTo>
                      <a:lnTo>
                        <a:pt x="810128" y="966396"/>
                      </a:lnTo>
                      <a:lnTo>
                        <a:pt x="809898" y="968630"/>
                      </a:lnTo>
                      <a:lnTo>
                        <a:pt x="810420" y="977021"/>
                      </a:lnTo>
                      <a:lnTo>
                        <a:pt x="810250" y="978016"/>
                      </a:lnTo>
                      <a:lnTo>
                        <a:pt x="809849" y="978879"/>
                      </a:lnTo>
                      <a:lnTo>
                        <a:pt x="809266" y="979631"/>
                      </a:lnTo>
                      <a:lnTo>
                        <a:pt x="808574" y="980773"/>
                      </a:lnTo>
                      <a:lnTo>
                        <a:pt x="808234" y="981987"/>
                      </a:lnTo>
                      <a:lnTo>
                        <a:pt x="808295" y="984125"/>
                      </a:lnTo>
                      <a:lnTo>
                        <a:pt x="808975" y="985521"/>
                      </a:lnTo>
                      <a:lnTo>
                        <a:pt x="810068" y="986759"/>
                      </a:lnTo>
                      <a:lnTo>
                        <a:pt x="811161" y="987804"/>
                      </a:lnTo>
                      <a:lnTo>
                        <a:pt x="812593" y="989625"/>
                      </a:lnTo>
                      <a:lnTo>
                        <a:pt x="813407" y="991519"/>
                      </a:lnTo>
                      <a:lnTo>
                        <a:pt x="814087" y="994300"/>
                      </a:lnTo>
                      <a:lnTo>
                        <a:pt x="815241" y="995247"/>
                      </a:lnTo>
                      <a:lnTo>
                        <a:pt x="816673" y="995187"/>
                      </a:lnTo>
                      <a:lnTo>
                        <a:pt x="819490" y="993548"/>
                      </a:lnTo>
                      <a:lnTo>
                        <a:pt x="820693" y="993377"/>
                      </a:lnTo>
                      <a:lnTo>
                        <a:pt x="821664" y="993802"/>
                      </a:lnTo>
                      <a:lnTo>
                        <a:pt x="823388" y="995041"/>
                      </a:lnTo>
                      <a:lnTo>
                        <a:pt x="824433" y="995527"/>
                      </a:lnTo>
                      <a:lnTo>
                        <a:pt x="825465" y="995806"/>
                      </a:lnTo>
                      <a:lnTo>
                        <a:pt x="826376" y="995806"/>
                      </a:lnTo>
                      <a:lnTo>
                        <a:pt x="827481" y="995636"/>
                      </a:lnTo>
                      <a:lnTo>
                        <a:pt x="828731" y="995636"/>
                      </a:lnTo>
                      <a:lnTo>
                        <a:pt x="829946" y="996097"/>
                      </a:lnTo>
                      <a:lnTo>
                        <a:pt x="837462" y="1001999"/>
                      </a:lnTo>
                      <a:lnTo>
                        <a:pt x="838312" y="1002424"/>
                      </a:lnTo>
                      <a:lnTo>
                        <a:pt x="839478" y="1002667"/>
                      </a:lnTo>
                      <a:lnTo>
                        <a:pt x="840680" y="1002630"/>
                      </a:lnTo>
                      <a:lnTo>
                        <a:pt x="841991" y="1002290"/>
                      </a:lnTo>
                      <a:lnTo>
                        <a:pt x="842975" y="1001805"/>
                      </a:lnTo>
                      <a:lnTo>
                        <a:pt x="844007" y="1000955"/>
                      </a:lnTo>
                      <a:lnTo>
                        <a:pt x="846472" y="998283"/>
                      </a:lnTo>
                      <a:lnTo>
                        <a:pt x="847456" y="998878"/>
                      </a:lnTo>
                      <a:lnTo>
                        <a:pt x="848136" y="999886"/>
                      </a:lnTo>
                      <a:lnTo>
                        <a:pt x="848719" y="1001319"/>
                      </a:lnTo>
                      <a:lnTo>
                        <a:pt x="849241" y="1003444"/>
                      </a:lnTo>
                      <a:lnTo>
                        <a:pt x="849350" y="1005180"/>
                      </a:lnTo>
                      <a:lnTo>
                        <a:pt x="849241" y="1006977"/>
                      </a:lnTo>
                      <a:lnTo>
                        <a:pt x="848719" y="1010135"/>
                      </a:lnTo>
                      <a:lnTo>
                        <a:pt x="848658" y="1011750"/>
                      </a:lnTo>
                      <a:lnTo>
                        <a:pt x="848658" y="1013122"/>
                      </a:lnTo>
                      <a:lnTo>
                        <a:pt x="848597" y="1014300"/>
                      </a:lnTo>
                      <a:lnTo>
                        <a:pt x="848379" y="1015453"/>
                      </a:lnTo>
                      <a:lnTo>
                        <a:pt x="848026" y="1016461"/>
                      </a:lnTo>
                      <a:lnTo>
                        <a:pt x="847055" y="1020602"/>
                      </a:lnTo>
                      <a:lnTo>
                        <a:pt x="846314" y="1022545"/>
                      </a:lnTo>
                      <a:lnTo>
                        <a:pt x="845039" y="1024560"/>
                      </a:lnTo>
                      <a:lnTo>
                        <a:pt x="842052" y="1027778"/>
                      </a:lnTo>
                      <a:lnTo>
                        <a:pt x="840850" y="1029417"/>
                      </a:lnTo>
                      <a:lnTo>
                        <a:pt x="840170" y="1031518"/>
                      </a:lnTo>
                      <a:lnTo>
                        <a:pt x="839927" y="1036108"/>
                      </a:lnTo>
                      <a:lnTo>
                        <a:pt x="839478" y="1038889"/>
                      </a:lnTo>
                      <a:lnTo>
                        <a:pt x="838555" y="1041172"/>
                      </a:lnTo>
                      <a:lnTo>
                        <a:pt x="836879" y="1043127"/>
                      </a:lnTo>
                      <a:lnTo>
                        <a:pt x="835689" y="1044098"/>
                      </a:lnTo>
                      <a:lnTo>
                        <a:pt x="832192" y="1045871"/>
                      </a:lnTo>
                      <a:lnTo>
                        <a:pt x="830978" y="1046697"/>
                      </a:lnTo>
                      <a:lnTo>
                        <a:pt x="830116" y="1047960"/>
                      </a:lnTo>
                      <a:lnTo>
                        <a:pt x="829424" y="1050000"/>
                      </a:lnTo>
                      <a:lnTo>
                        <a:pt x="828331" y="1054299"/>
                      </a:lnTo>
                      <a:lnTo>
                        <a:pt x="827869" y="1055756"/>
                      </a:lnTo>
                      <a:lnTo>
                        <a:pt x="827481" y="1056509"/>
                      </a:lnTo>
                      <a:lnTo>
                        <a:pt x="825465" y="1059702"/>
                      </a:lnTo>
                      <a:lnTo>
                        <a:pt x="820632" y="1065761"/>
                      </a:lnTo>
                      <a:lnTo>
                        <a:pt x="819891" y="1067947"/>
                      </a:lnTo>
                      <a:lnTo>
                        <a:pt x="820013" y="1069137"/>
                      </a:lnTo>
                      <a:lnTo>
                        <a:pt x="820632" y="1069829"/>
                      </a:lnTo>
                      <a:lnTo>
                        <a:pt x="822308" y="1070279"/>
                      </a:lnTo>
                      <a:lnTo>
                        <a:pt x="824372" y="1071286"/>
                      </a:lnTo>
                      <a:lnTo>
                        <a:pt x="826788" y="1073011"/>
                      </a:lnTo>
                      <a:lnTo>
                        <a:pt x="829545" y="1076884"/>
                      </a:lnTo>
                      <a:lnTo>
                        <a:pt x="830456" y="1079264"/>
                      </a:lnTo>
                      <a:lnTo>
                        <a:pt x="830407" y="1081098"/>
                      </a:lnTo>
                      <a:lnTo>
                        <a:pt x="829302" y="1081875"/>
                      </a:lnTo>
                      <a:lnTo>
                        <a:pt x="827420" y="1081960"/>
                      </a:lnTo>
                      <a:lnTo>
                        <a:pt x="825173" y="1081159"/>
                      </a:lnTo>
                      <a:lnTo>
                        <a:pt x="813516" y="1072829"/>
                      </a:lnTo>
                      <a:lnTo>
                        <a:pt x="812132" y="1072161"/>
                      </a:lnTo>
                      <a:lnTo>
                        <a:pt x="811051" y="1071699"/>
                      </a:lnTo>
                      <a:lnTo>
                        <a:pt x="810007" y="1071639"/>
                      </a:lnTo>
                      <a:lnTo>
                        <a:pt x="808817" y="1071857"/>
                      </a:lnTo>
                      <a:lnTo>
                        <a:pt x="807542" y="1072428"/>
                      </a:lnTo>
                      <a:lnTo>
                        <a:pt x="806740" y="1073460"/>
                      </a:lnTo>
                      <a:lnTo>
                        <a:pt x="806400" y="1074869"/>
                      </a:lnTo>
                      <a:lnTo>
                        <a:pt x="806449" y="1079459"/>
                      </a:lnTo>
                      <a:lnTo>
                        <a:pt x="806230" y="1080673"/>
                      </a:lnTo>
                      <a:lnTo>
                        <a:pt x="805538" y="1081329"/>
                      </a:lnTo>
                      <a:lnTo>
                        <a:pt x="803765" y="1082422"/>
                      </a:lnTo>
                      <a:lnTo>
                        <a:pt x="802430" y="1082907"/>
                      </a:lnTo>
                      <a:lnTo>
                        <a:pt x="801300" y="1083065"/>
                      </a:lnTo>
                      <a:lnTo>
                        <a:pt x="799685" y="1083089"/>
                      </a:lnTo>
                      <a:lnTo>
                        <a:pt x="799054" y="1083332"/>
                      </a:lnTo>
                      <a:lnTo>
                        <a:pt x="797621" y="1084911"/>
                      </a:lnTo>
                      <a:lnTo>
                        <a:pt x="796808" y="1085518"/>
                      </a:lnTo>
                      <a:lnTo>
                        <a:pt x="796237" y="1085773"/>
                      </a:lnTo>
                      <a:lnTo>
                        <a:pt x="795605" y="1085542"/>
                      </a:lnTo>
                      <a:lnTo>
                        <a:pt x="794051" y="1084195"/>
                      </a:lnTo>
                      <a:lnTo>
                        <a:pt x="792788" y="1083466"/>
                      </a:lnTo>
                      <a:lnTo>
                        <a:pt x="791477" y="1083041"/>
                      </a:lnTo>
                      <a:lnTo>
                        <a:pt x="789983" y="1083077"/>
                      </a:lnTo>
                      <a:lnTo>
                        <a:pt x="789000" y="1083417"/>
                      </a:lnTo>
                      <a:lnTo>
                        <a:pt x="788429" y="1083782"/>
                      </a:lnTo>
                      <a:lnTo>
                        <a:pt x="788137" y="1084534"/>
                      </a:lnTo>
                      <a:lnTo>
                        <a:pt x="787797" y="1085858"/>
                      </a:lnTo>
                      <a:lnTo>
                        <a:pt x="787846" y="1088639"/>
                      </a:lnTo>
                      <a:lnTo>
                        <a:pt x="789182" y="1093702"/>
                      </a:lnTo>
                      <a:lnTo>
                        <a:pt x="789291" y="1095621"/>
                      </a:lnTo>
                      <a:lnTo>
                        <a:pt x="788708" y="1097515"/>
                      </a:lnTo>
                      <a:lnTo>
                        <a:pt x="787215" y="1099822"/>
                      </a:lnTo>
                      <a:lnTo>
                        <a:pt x="785672" y="1101668"/>
                      </a:lnTo>
                      <a:lnTo>
                        <a:pt x="773384" y="1098742"/>
                      </a:lnTo>
                      <a:lnTo>
                        <a:pt x="767640" y="1095839"/>
                      </a:lnTo>
                      <a:lnTo>
                        <a:pt x="759322" y="1089052"/>
                      </a:lnTo>
                      <a:lnTo>
                        <a:pt x="753166" y="1085263"/>
                      </a:lnTo>
                      <a:lnTo>
                        <a:pt x="750252" y="1084425"/>
                      </a:lnTo>
                      <a:lnTo>
                        <a:pt x="748175" y="1084717"/>
                      </a:lnTo>
                      <a:lnTo>
                        <a:pt x="745200" y="1088772"/>
                      </a:lnTo>
                      <a:lnTo>
                        <a:pt x="744496" y="1089853"/>
                      </a:lnTo>
                      <a:lnTo>
                        <a:pt x="744326" y="1090691"/>
                      </a:lnTo>
                      <a:lnTo>
                        <a:pt x="743986" y="1091869"/>
                      </a:lnTo>
                      <a:lnTo>
                        <a:pt x="743014" y="1092646"/>
                      </a:lnTo>
                      <a:lnTo>
                        <a:pt x="740246" y="1093192"/>
                      </a:lnTo>
                      <a:lnTo>
                        <a:pt x="738072" y="1092330"/>
                      </a:lnTo>
                      <a:lnTo>
                        <a:pt x="736069" y="1090861"/>
                      </a:lnTo>
                      <a:lnTo>
                        <a:pt x="732838" y="1087218"/>
                      </a:lnTo>
                      <a:lnTo>
                        <a:pt x="731636" y="1085384"/>
                      </a:lnTo>
                      <a:lnTo>
                        <a:pt x="730374" y="1083830"/>
                      </a:lnTo>
                      <a:lnTo>
                        <a:pt x="728819" y="1082397"/>
                      </a:lnTo>
                      <a:lnTo>
                        <a:pt x="726633" y="1080989"/>
                      </a:lnTo>
                      <a:lnTo>
                        <a:pt x="724800" y="1080394"/>
                      </a:lnTo>
                      <a:lnTo>
                        <a:pt x="722954" y="1080151"/>
                      </a:lnTo>
                      <a:lnTo>
                        <a:pt x="713726" y="1080394"/>
                      </a:lnTo>
                      <a:lnTo>
                        <a:pt x="705335" y="1083223"/>
                      </a:lnTo>
                      <a:lnTo>
                        <a:pt x="703210" y="1091954"/>
                      </a:lnTo>
                      <a:lnTo>
                        <a:pt x="701036" y="1096289"/>
                      </a:lnTo>
                      <a:lnTo>
                        <a:pt x="697636" y="1101097"/>
                      </a:lnTo>
                      <a:lnTo>
                        <a:pt x="696895" y="1102967"/>
                      </a:lnTo>
                      <a:lnTo>
                        <a:pt x="696713" y="1104522"/>
                      </a:lnTo>
                      <a:lnTo>
                        <a:pt x="697126" y="1105554"/>
                      </a:lnTo>
                      <a:lnTo>
                        <a:pt x="697928" y="1106708"/>
                      </a:lnTo>
                      <a:lnTo>
                        <a:pt x="698510" y="1107764"/>
                      </a:lnTo>
                      <a:lnTo>
                        <a:pt x="698620" y="1109500"/>
                      </a:lnTo>
                      <a:lnTo>
                        <a:pt x="697636" y="1110435"/>
                      </a:lnTo>
                      <a:lnTo>
                        <a:pt x="696385" y="1111103"/>
                      </a:lnTo>
                      <a:lnTo>
                        <a:pt x="694649" y="1111771"/>
                      </a:lnTo>
                      <a:lnTo>
                        <a:pt x="686562" y="1116483"/>
                      </a:lnTo>
                      <a:lnTo>
                        <a:pt x="684449" y="1117284"/>
                      </a:lnTo>
                      <a:lnTo>
                        <a:pt x="682373" y="1117624"/>
                      </a:lnTo>
                      <a:lnTo>
                        <a:pt x="680587" y="1117418"/>
                      </a:lnTo>
                      <a:lnTo>
                        <a:pt x="677139" y="1116592"/>
                      </a:lnTo>
                      <a:lnTo>
                        <a:pt x="675135" y="1116470"/>
                      </a:lnTo>
                      <a:lnTo>
                        <a:pt x="673763" y="1116653"/>
                      </a:lnTo>
                      <a:lnTo>
                        <a:pt x="669392" y="1118255"/>
                      </a:lnTo>
                      <a:lnTo>
                        <a:pt x="664972" y="1127533"/>
                      </a:lnTo>
                      <a:lnTo>
                        <a:pt x="662325" y="1135596"/>
                      </a:lnTo>
                      <a:lnTo>
                        <a:pt x="661742" y="1139821"/>
                      </a:lnTo>
                      <a:lnTo>
                        <a:pt x="662215" y="1142553"/>
                      </a:lnTo>
                      <a:lnTo>
                        <a:pt x="663199" y="1143731"/>
                      </a:lnTo>
                      <a:lnTo>
                        <a:pt x="664061" y="1146014"/>
                      </a:lnTo>
                      <a:lnTo>
                        <a:pt x="664061" y="1147532"/>
                      </a:lnTo>
                      <a:lnTo>
                        <a:pt x="662847" y="1151187"/>
                      </a:lnTo>
                      <a:lnTo>
                        <a:pt x="662847" y="1151296"/>
                      </a:lnTo>
                      <a:lnTo>
                        <a:pt x="663235" y="1152158"/>
                      </a:lnTo>
                      <a:lnTo>
                        <a:pt x="663879" y="1152620"/>
                      </a:lnTo>
                      <a:lnTo>
                        <a:pt x="665032" y="1152790"/>
                      </a:lnTo>
                      <a:lnTo>
                        <a:pt x="666465" y="1152559"/>
                      </a:lnTo>
                      <a:lnTo>
                        <a:pt x="668068" y="1152098"/>
                      </a:lnTo>
                      <a:lnTo>
                        <a:pt x="669513" y="1152073"/>
                      </a:lnTo>
                      <a:lnTo>
                        <a:pt x="670485" y="1152741"/>
                      </a:lnTo>
                      <a:lnTo>
                        <a:pt x="671335" y="1154891"/>
                      </a:lnTo>
                      <a:lnTo>
                        <a:pt x="671177" y="1157562"/>
                      </a:lnTo>
                      <a:lnTo>
                        <a:pt x="668469" y="1169134"/>
                      </a:lnTo>
                      <a:lnTo>
                        <a:pt x="667279" y="1172170"/>
                      </a:lnTo>
                      <a:lnTo>
                        <a:pt x="665834" y="1174392"/>
                      </a:lnTo>
                      <a:lnTo>
                        <a:pt x="662385" y="1178266"/>
                      </a:lnTo>
                      <a:lnTo>
                        <a:pt x="660260" y="1181739"/>
                      </a:lnTo>
                      <a:lnTo>
                        <a:pt x="654286" y="1187701"/>
                      </a:lnTo>
                      <a:lnTo>
                        <a:pt x="647000" y="1191380"/>
                      </a:lnTo>
                      <a:lnTo>
                        <a:pt x="645094" y="1192619"/>
                      </a:lnTo>
                      <a:lnTo>
                        <a:pt x="643539" y="1194197"/>
                      </a:lnTo>
                      <a:lnTo>
                        <a:pt x="642519" y="1196006"/>
                      </a:lnTo>
                      <a:lnTo>
                        <a:pt x="642228" y="1196614"/>
                      </a:lnTo>
                      <a:lnTo>
                        <a:pt x="642228" y="1198933"/>
                      </a:lnTo>
                      <a:lnTo>
                        <a:pt x="644474" y="1200366"/>
                      </a:lnTo>
                      <a:lnTo>
                        <a:pt x="645215" y="1202321"/>
                      </a:lnTo>
                      <a:lnTo>
                        <a:pt x="644814" y="1205539"/>
                      </a:lnTo>
                      <a:lnTo>
                        <a:pt x="645737" y="1206887"/>
                      </a:lnTo>
                      <a:lnTo>
                        <a:pt x="647401" y="1207287"/>
                      </a:lnTo>
                      <a:lnTo>
                        <a:pt x="680357" y="1207567"/>
                      </a:lnTo>
                      <a:lnTo>
                        <a:pt x="686100" y="1208684"/>
                      </a:lnTo>
                      <a:lnTo>
                        <a:pt x="690982" y="1211185"/>
                      </a:lnTo>
                      <a:lnTo>
                        <a:pt x="691722" y="1212157"/>
                      </a:lnTo>
                      <a:lnTo>
                        <a:pt x="693277" y="1213250"/>
                      </a:lnTo>
                      <a:lnTo>
                        <a:pt x="698571" y="1221810"/>
                      </a:lnTo>
                      <a:lnTo>
                        <a:pt x="699251" y="1223534"/>
                      </a:lnTo>
                      <a:lnTo>
                        <a:pt x="699251" y="1224506"/>
                      </a:lnTo>
                      <a:lnTo>
                        <a:pt x="699142" y="1225429"/>
                      </a:lnTo>
                      <a:lnTo>
                        <a:pt x="698729" y="1227202"/>
                      </a:lnTo>
                      <a:lnTo>
                        <a:pt x="698389" y="1228028"/>
                      </a:lnTo>
                      <a:lnTo>
                        <a:pt x="697988" y="1228792"/>
                      </a:lnTo>
                      <a:lnTo>
                        <a:pt x="697527" y="1229545"/>
                      </a:lnTo>
                      <a:lnTo>
                        <a:pt x="696835" y="1230274"/>
                      </a:lnTo>
                      <a:lnTo>
                        <a:pt x="696203" y="1230796"/>
                      </a:lnTo>
                      <a:lnTo>
                        <a:pt x="694892" y="1232108"/>
                      </a:lnTo>
                      <a:lnTo>
                        <a:pt x="693155" y="1233856"/>
                      </a:lnTo>
                      <a:lnTo>
                        <a:pt x="691213" y="1235325"/>
                      </a:lnTo>
                      <a:lnTo>
                        <a:pt x="689598" y="1238944"/>
                      </a:lnTo>
                      <a:lnTo>
                        <a:pt x="683113" y="1246982"/>
                      </a:lnTo>
                      <a:lnTo>
                        <a:pt x="680879" y="1251803"/>
                      </a:lnTo>
                      <a:lnTo>
                        <a:pt x="678815" y="1253406"/>
                      </a:lnTo>
                      <a:lnTo>
                        <a:pt x="677200" y="1254354"/>
                      </a:lnTo>
                      <a:lnTo>
                        <a:pt x="675536" y="1255082"/>
                      </a:lnTo>
                      <a:lnTo>
                        <a:pt x="671917" y="1255908"/>
                      </a:lnTo>
                      <a:lnTo>
                        <a:pt x="652161" y="1257681"/>
                      </a:lnTo>
                      <a:lnTo>
                        <a:pt x="649987" y="1258688"/>
                      </a:lnTo>
                      <a:lnTo>
                        <a:pt x="646951" y="1260413"/>
                      </a:lnTo>
                      <a:lnTo>
                        <a:pt x="646029" y="1262392"/>
                      </a:lnTo>
                      <a:lnTo>
                        <a:pt x="643029" y="1266387"/>
                      </a:lnTo>
                      <a:lnTo>
                        <a:pt x="641718" y="1268706"/>
                      </a:lnTo>
                      <a:lnTo>
                        <a:pt x="638099" y="1278955"/>
                      </a:lnTo>
                      <a:lnTo>
                        <a:pt x="636424" y="1282209"/>
                      </a:lnTo>
                      <a:lnTo>
                        <a:pt x="633679" y="1285196"/>
                      </a:lnTo>
                      <a:lnTo>
                        <a:pt x="631603" y="1285998"/>
                      </a:lnTo>
                      <a:lnTo>
                        <a:pt x="626151" y="1286132"/>
                      </a:lnTo>
                      <a:lnTo>
                        <a:pt x="621439" y="1287492"/>
                      </a:lnTo>
                      <a:lnTo>
                        <a:pt x="618574" y="1287540"/>
                      </a:lnTo>
                      <a:lnTo>
                        <a:pt x="615987" y="1286714"/>
                      </a:lnTo>
                      <a:lnTo>
                        <a:pt x="612611" y="1283934"/>
                      </a:lnTo>
                      <a:lnTo>
                        <a:pt x="610996" y="1283169"/>
                      </a:lnTo>
                      <a:lnTo>
                        <a:pt x="607778" y="1282161"/>
                      </a:lnTo>
                      <a:lnTo>
                        <a:pt x="606103" y="1281299"/>
                      </a:lnTo>
                      <a:lnTo>
                        <a:pt x="603698" y="1281177"/>
                      </a:lnTo>
                      <a:lnTo>
                        <a:pt x="601513" y="1282039"/>
                      </a:lnTo>
                      <a:lnTo>
                        <a:pt x="599108" y="1283278"/>
                      </a:lnTo>
                      <a:lnTo>
                        <a:pt x="596522" y="1283982"/>
                      </a:lnTo>
                      <a:lnTo>
                        <a:pt x="587500" y="1283606"/>
                      </a:lnTo>
                      <a:lnTo>
                        <a:pt x="582278" y="1284334"/>
                      </a:lnTo>
                      <a:lnTo>
                        <a:pt x="579583" y="1285051"/>
                      </a:lnTo>
                      <a:lnTo>
                        <a:pt x="577919" y="1285816"/>
                      </a:lnTo>
                      <a:lnTo>
                        <a:pt x="577348" y="1287006"/>
                      </a:lnTo>
                      <a:lnTo>
                        <a:pt x="576607" y="1290892"/>
                      </a:lnTo>
                      <a:lnTo>
                        <a:pt x="575211" y="1293405"/>
                      </a:lnTo>
                      <a:lnTo>
                        <a:pt x="573098" y="1293830"/>
                      </a:lnTo>
                      <a:lnTo>
                        <a:pt x="570572" y="1292616"/>
                      </a:lnTo>
                      <a:lnTo>
                        <a:pt x="560057" y="1281736"/>
                      </a:lnTo>
                      <a:lnTo>
                        <a:pt x="557482" y="1280206"/>
                      </a:lnTo>
                      <a:lnTo>
                        <a:pt x="554604" y="1279453"/>
                      </a:lnTo>
                      <a:lnTo>
                        <a:pt x="552710" y="1279999"/>
                      </a:lnTo>
                      <a:lnTo>
                        <a:pt x="549092" y="1281614"/>
                      </a:lnTo>
                      <a:lnTo>
                        <a:pt x="546287" y="1281954"/>
                      </a:lnTo>
                      <a:lnTo>
                        <a:pt x="542207" y="1282100"/>
                      </a:lnTo>
                      <a:lnTo>
                        <a:pt x="539742" y="1282987"/>
                      </a:lnTo>
                      <a:lnTo>
                        <a:pt x="537774" y="1284358"/>
                      </a:lnTo>
                      <a:lnTo>
                        <a:pt x="530367" y="1294729"/>
                      </a:lnTo>
                      <a:lnTo>
                        <a:pt x="525838" y="1302512"/>
                      </a:lnTo>
                      <a:lnTo>
                        <a:pt x="523652" y="1314461"/>
                      </a:lnTo>
                      <a:lnTo>
                        <a:pt x="522620" y="1316173"/>
                      </a:lnTo>
                      <a:lnTo>
                        <a:pt x="521479" y="1317557"/>
                      </a:lnTo>
                      <a:lnTo>
                        <a:pt x="511376" y="1314716"/>
                      </a:lnTo>
                      <a:lnTo>
                        <a:pt x="508328" y="1314388"/>
                      </a:lnTo>
                      <a:lnTo>
                        <a:pt x="481055" y="1316513"/>
                      </a:lnTo>
                      <a:lnTo>
                        <a:pt x="476914" y="1316452"/>
                      </a:lnTo>
                      <a:lnTo>
                        <a:pt x="473878" y="1316015"/>
                      </a:lnTo>
                      <a:lnTo>
                        <a:pt x="471984" y="1315080"/>
                      </a:lnTo>
                      <a:lnTo>
                        <a:pt x="470709" y="1313781"/>
                      </a:lnTo>
                      <a:lnTo>
                        <a:pt x="470199" y="1312142"/>
                      </a:lnTo>
                      <a:lnTo>
                        <a:pt x="470138" y="1310369"/>
                      </a:lnTo>
                      <a:lnTo>
                        <a:pt x="470539" y="1306386"/>
                      </a:lnTo>
                      <a:lnTo>
                        <a:pt x="469567" y="1303970"/>
                      </a:lnTo>
                      <a:lnTo>
                        <a:pt x="467333" y="1301711"/>
                      </a:lnTo>
                      <a:lnTo>
                        <a:pt x="461978" y="1299780"/>
                      </a:lnTo>
                      <a:lnTo>
                        <a:pt x="458262" y="1299719"/>
                      </a:lnTo>
                      <a:lnTo>
                        <a:pt x="454802" y="1300581"/>
                      </a:lnTo>
                      <a:lnTo>
                        <a:pt x="452167" y="1302160"/>
                      </a:lnTo>
                      <a:lnTo>
                        <a:pt x="449932" y="1303884"/>
                      </a:lnTo>
                      <a:lnTo>
                        <a:pt x="448317" y="1305439"/>
                      </a:lnTo>
                      <a:lnTo>
                        <a:pt x="447224" y="1306726"/>
                      </a:lnTo>
                      <a:lnTo>
                        <a:pt x="446544" y="1307734"/>
                      </a:lnTo>
                      <a:lnTo>
                        <a:pt x="445512" y="1309738"/>
                      </a:lnTo>
                      <a:lnTo>
                        <a:pt x="442683" y="1306034"/>
                      </a:lnTo>
                      <a:lnTo>
                        <a:pt x="442064" y="1302452"/>
                      </a:lnTo>
                      <a:lnTo>
                        <a:pt x="441894" y="1298541"/>
                      </a:lnTo>
                      <a:lnTo>
                        <a:pt x="441432" y="1296647"/>
                      </a:lnTo>
                      <a:lnTo>
                        <a:pt x="440509" y="1295069"/>
                      </a:lnTo>
                      <a:lnTo>
                        <a:pt x="439186" y="1294061"/>
                      </a:lnTo>
                      <a:lnTo>
                        <a:pt x="437109" y="1293830"/>
                      </a:lnTo>
                      <a:lnTo>
                        <a:pt x="435737" y="1294134"/>
                      </a:lnTo>
                      <a:lnTo>
                        <a:pt x="433212" y="1295178"/>
                      </a:lnTo>
                      <a:lnTo>
                        <a:pt x="431839" y="1295372"/>
                      </a:lnTo>
                      <a:lnTo>
                        <a:pt x="430406" y="1295202"/>
                      </a:lnTo>
                      <a:lnTo>
                        <a:pt x="426909" y="1294510"/>
                      </a:lnTo>
                      <a:lnTo>
                        <a:pt x="425513" y="1293964"/>
                      </a:lnTo>
                      <a:lnTo>
                        <a:pt x="423971" y="1292871"/>
                      </a:lnTo>
                      <a:lnTo>
                        <a:pt x="421566" y="1290406"/>
                      </a:lnTo>
                      <a:lnTo>
                        <a:pt x="417365" y="1284492"/>
                      </a:lnTo>
                      <a:lnTo>
                        <a:pt x="416041" y="1283253"/>
                      </a:lnTo>
                      <a:lnTo>
                        <a:pt x="414548" y="1282489"/>
                      </a:lnTo>
                      <a:lnTo>
                        <a:pt x="412666" y="1282428"/>
                      </a:lnTo>
                      <a:lnTo>
                        <a:pt x="411451" y="1282683"/>
                      </a:lnTo>
                      <a:lnTo>
                        <a:pt x="409618" y="1283581"/>
                      </a:lnTo>
                      <a:lnTo>
                        <a:pt x="408586" y="1283581"/>
                      </a:lnTo>
                      <a:lnTo>
                        <a:pt x="407323" y="1283035"/>
                      </a:lnTo>
                      <a:lnTo>
                        <a:pt x="405938" y="1281420"/>
                      </a:lnTo>
                      <a:lnTo>
                        <a:pt x="405088" y="1280109"/>
                      </a:lnTo>
                      <a:lnTo>
                        <a:pt x="403182" y="1276575"/>
                      </a:lnTo>
                      <a:lnTo>
                        <a:pt x="402211" y="1275166"/>
                      </a:lnTo>
                      <a:lnTo>
                        <a:pt x="400656" y="1273551"/>
                      </a:lnTo>
                      <a:lnTo>
                        <a:pt x="398811" y="1272495"/>
                      </a:lnTo>
                      <a:lnTo>
                        <a:pt x="396588" y="1271742"/>
                      </a:lnTo>
                      <a:lnTo>
                        <a:pt x="393589" y="1271621"/>
                      </a:lnTo>
                      <a:lnTo>
                        <a:pt x="391877" y="1272082"/>
                      </a:lnTo>
                      <a:lnTo>
                        <a:pt x="390493" y="1272714"/>
                      </a:lnTo>
                      <a:lnTo>
                        <a:pt x="389169" y="1273466"/>
                      </a:lnTo>
                      <a:lnTo>
                        <a:pt x="387554" y="1273466"/>
                      </a:lnTo>
                      <a:lnTo>
                        <a:pt x="386012" y="1272920"/>
                      </a:lnTo>
                      <a:lnTo>
                        <a:pt x="383717" y="1270880"/>
                      </a:lnTo>
                      <a:lnTo>
                        <a:pt x="382867" y="1269386"/>
                      </a:lnTo>
                      <a:lnTo>
                        <a:pt x="382563" y="1267322"/>
                      </a:lnTo>
                      <a:lnTo>
                        <a:pt x="383316" y="1260328"/>
                      </a:lnTo>
                      <a:lnTo>
                        <a:pt x="383207" y="1255871"/>
                      </a:lnTo>
                      <a:lnTo>
                        <a:pt x="382563" y="1254183"/>
                      </a:lnTo>
                      <a:lnTo>
                        <a:pt x="381082" y="1253382"/>
                      </a:lnTo>
                      <a:lnTo>
                        <a:pt x="377973" y="1253261"/>
                      </a:lnTo>
                      <a:lnTo>
                        <a:pt x="371367" y="1255556"/>
                      </a:lnTo>
                      <a:lnTo>
                        <a:pt x="364300" y="1259502"/>
                      </a:lnTo>
                      <a:lnTo>
                        <a:pt x="360123" y="1259939"/>
                      </a:lnTo>
                      <a:lnTo>
                        <a:pt x="349668" y="1257292"/>
                      </a:lnTo>
                      <a:lnTo>
                        <a:pt x="345527" y="1257207"/>
                      </a:lnTo>
                      <a:lnTo>
                        <a:pt x="341921" y="1256575"/>
                      </a:lnTo>
                      <a:lnTo>
                        <a:pt x="338642" y="1255653"/>
                      </a:lnTo>
                      <a:lnTo>
                        <a:pt x="335777" y="1254390"/>
                      </a:lnTo>
                      <a:lnTo>
                        <a:pt x="332850" y="1252581"/>
                      </a:lnTo>
                      <a:lnTo>
                        <a:pt x="329511" y="1249533"/>
                      </a:lnTo>
                      <a:lnTo>
                        <a:pt x="326754" y="1246327"/>
                      </a:lnTo>
                      <a:lnTo>
                        <a:pt x="325552" y="1244481"/>
                      </a:lnTo>
                      <a:lnTo>
                        <a:pt x="324180" y="1241166"/>
                      </a:lnTo>
                      <a:lnTo>
                        <a:pt x="323427" y="1235131"/>
                      </a:lnTo>
                      <a:lnTo>
                        <a:pt x="322687" y="1233298"/>
                      </a:lnTo>
                      <a:lnTo>
                        <a:pt x="321751" y="1232666"/>
                      </a:lnTo>
                      <a:lnTo>
                        <a:pt x="319578" y="1232035"/>
                      </a:lnTo>
                      <a:lnTo>
                        <a:pt x="318036" y="1231889"/>
                      </a:lnTo>
                      <a:lnTo>
                        <a:pt x="316991" y="1231913"/>
                      </a:lnTo>
                      <a:lnTo>
                        <a:pt x="315389" y="1232217"/>
                      </a:lnTo>
                      <a:lnTo>
                        <a:pt x="314356" y="1232253"/>
                      </a:lnTo>
                      <a:lnTo>
                        <a:pt x="313045" y="1232108"/>
                      </a:lnTo>
                      <a:lnTo>
                        <a:pt x="311551" y="1231622"/>
                      </a:lnTo>
                      <a:lnTo>
                        <a:pt x="310094" y="1230759"/>
                      </a:lnTo>
                      <a:lnTo>
                        <a:pt x="305917" y="1227615"/>
                      </a:lnTo>
                      <a:lnTo>
                        <a:pt x="304302" y="1226874"/>
                      </a:lnTo>
                      <a:lnTo>
                        <a:pt x="302639" y="1226752"/>
                      </a:lnTo>
                      <a:lnTo>
                        <a:pt x="299943" y="1227481"/>
                      </a:lnTo>
                      <a:lnTo>
                        <a:pt x="298959" y="1227481"/>
                      </a:lnTo>
                      <a:lnTo>
                        <a:pt x="297988" y="1226935"/>
                      </a:lnTo>
                      <a:lnTo>
                        <a:pt x="297065" y="1225818"/>
                      </a:lnTo>
                      <a:lnTo>
                        <a:pt x="295972" y="1223692"/>
                      </a:lnTo>
                      <a:lnTo>
                        <a:pt x="294891" y="1222041"/>
                      </a:lnTo>
                      <a:lnTo>
                        <a:pt x="293628" y="1220645"/>
                      </a:lnTo>
                      <a:lnTo>
                        <a:pt x="291273" y="1219151"/>
                      </a:lnTo>
                      <a:lnTo>
                        <a:pt x="289208" y="1218325"/>
                      </a:lnTo>
                      <a:lnTo>
                        <a:pt x="283635" y="1216892"/>
                      </a:lnTo>
                      <a:lnTo>
                        <a:pt x="280587" y="1214221"/>
                      </a:lnTo>
                      <a:lnTo>
                        <a:pt x="262798" y="1193420"/>
                      </a:lnTo>
                      <a:lnTo>
                        <a:pt x="259920" y="1190809"/>
                      </a:lnTo>
                      <a:lnTo>
                        <a:pt x="258596" y="1190555"/>
                      </a:lnTo>
                      <a:lnTo>
                        <a:pt x="257503" y="1190555"/>
                      </a:lnTo>
                      <a:lnTo>
                        <a:pt x="255670" y="1190797"/>
                      </a:lnTo>
                      <a:lnTo>
                        <a:pt x="254637" y="1190761"/>
                      </a:lnTo>
                      <a:lnTo>
                        <a:pt x="253775" y="1190615"/>
                      </a:lnTo>
                      <a:lnTo>
                        <a:pt x="252962" y="1190275"/>
                      </a:lnTo>
                      <a:lnTo>
                        <a:pt x="252282" y="1188964"/>
                      </a:lnTo>
                      <a:lnTo>
                        <a:pt x="251541" y="1186644"/>
                      </a:lnTo>
                      <a:lnTo>
                        <a:pt x="250327" y="1181010"/>
                      </a:lnTo>
                      <a:lnTo>
                        <a:pt x="249125" y="1177659"/>
                      </a:lnTo>
                      <a:lnTo>
                        <a:pt x="247060" y="1174441"/>
                      </a:lnTo>
                      <a:lnTo>
                        <a:pt x="244765" y="1172085"/>
                      </a:lnTo>
                      <a:lnTo>
                        <a:pt x="244012" y="1170822"/>
                      </a:lnTo>
                      <a:lnTo>
                        <a:pt x="243672" y="1169353"/>
                      </a:lnTo>
                      <a:lnTo>
                        <a:pt x="243551" y="1166341"/>
                      </a:lnTo>
                      <a:lnTo>
                        <a:pt x="243830" y="1164787"/>
                      </a:lnTo>
                      <a:lnTo>
                        <a:pt x="244413" y="1163549"/>
                      </a:lnTo>
                      <a:lnTo>
                        <a:pt x="247121" y="1161484"/>
                      </a:lnTo>
                      <a:lnTo>
                        <a:pt x="247910" y="1160598"/>
                      </a:lnTo>
                      <a:lnTo>
                        <a:pt x="248602" y="1159444"/>
                      </a:lnTo>
                      <a:lnTo>
                        <a:pt x="248942" y="1158327"/>
                      </a:lnTo>
                      <a:lnTo>
                        <a:pt x="249064" y="1157465"/>
                      </a:lnTo>
                      <a:lnTo>
                        <a:pt x="249003" y="1156834"/>
                      </a:lnTo>
                      <a:lnTo>
                        <a:pt x="248785" y="1156166"/>
                      </a:lnTo>
                      <a:lnTo>
                        <a:pt x="248262" y="1155680"/>
                      </a:lnTo>
                      <a:lnTo>
                        <a:pt x="246599" y="1155340"/>
                      </a:lnTo>
                      <a:lnTo>
                        <a:pt x="245324" y="1155364"/>
                      </a:lnTo>
                      <a:lnTo>
                        <a:pt x="239993" y="1156834"/>
                      </a:lnTo>
                      <a:lnTo>
                        <a:pt x="238840" y="1157040"/>
                      </a:lnTo>
                      <a:lnTo>
                        <a:pt x="238500" y="1157004"/>
                      </a:lnTo>
                      <a:lnTo>
                        <a:pt x="238050" y="1156748"/>
                      </a:lnTo>
                      <a:lnTo>
                        <a:pt x="237577" y="1156287"/>
                      </a:lnTo>
                      <a:lnTo>
                        <a:pt x="237006" y="1155607"/>
                      </a:lnTo>
                      <a:lnTo>
                        <a:pt x="234942" y="1152268"/>
                      </a:lnTo>
                      <a:lnTo>
                        <a:pt x="233630" y="1151296"/>
                      </a:lnTo>
                      <a:lnTo>
                        <a:pt x="233205" y="1151187"/>
                      </a:lnTo>
                      <a:lnTo>
                        <a:pt x="232926" y="1151066"/>
                      </a:lnTo>
                      <a:lnTo>
                        <a:pt x="232416" y="1150811"/>
                      </a:lnTo>
                      <a:lnTo>
                        <a:pt x="231663" y="1150021"/>
                      </a:lnTo>
                      <a:lnTo>
                        <a:pt x="230740" y="1148698"/>
                      </a:lnTo>
                      <a:lnTo>
                        <a:pt x="229599" y="1146573"/>
                      </a:lnTo>
                      <a:lnTo>
                        <a:pt x="227122" y="1144193"/>
                      </a:lnTo>
                      <a:lnTo>
                        <a:pt x="226381" y="1143039"/>
                      </a:lnTo>
                      <a:lnTo>
                        <a:pt x="226272" y="1141461"/>
                      </a:lnTo>
                      <a:lnTo>
                        <a:pt x="226964" y="1139335"/>
                      </a:lnTo>
                      <a:lnTo>
                        <a:pt x="229599" y="1136203"/>
                      </a:lnTo>
                      <a:lnTo>
                        <a:pt x="230740" y="1132001"/>
                      </a:lnTo>
                      <a:lnTo>
                        <a:pt x="222192" y="1129755"/>
                      </a:lnTo>
                      <a:lnTo>
                        <a:pt x="219836" y="1129912"/>
                      </a:lnTo>
                      <a:lnTo>
                        <a:pt x="218743" y="1131200"/>
                      </a:lnTo>
                      <a:lnTo>
                        <a:pt x="217954" y="1131892"/>
                      </a:lnTo>
                      <a:lnTo>
                        <a:pt x="216800" y="1132462"/>
                      </a:lnTo>
                      <a:lnTo>
                        <a:pt x="215525" y="1132742"/>
                      </a:lnTo>
                      <a:lnTo>
                        <a:pt x="214274" y="1132657"/>
                      </a:lnTo>
                      <a:lnTo>
                        <a:pt x="213060" y="1132196"/>
                      </a:lnTo>
                      <a:lnTo>
                        <a:pt x="211749" y="1130920"/>
                      </a:lnTo>
                      <a:lnTo>
                        <a:pt x="209041" y="1126610"/>
                      </a:lnTo>
                      <a:lnTo>
                        <a:pt x="207887" y="1125760"/>
                      </a:lnTo>
                      <a:lnTo>
                        <a:pt x="206175" y="1125638"/>
                      </a:lnTo>
                      <a:lnTo>
                        <a:pt x="204621" y="1126148"/>
                      </a:lnTo>
                      <a:lnTo>
                        <a:pt x="203309" y="1126840"/>
                      </a:lnTo>
                      <a:lnTo>
                        <a:pt x="201974" y="1126998"/>
                      </a:lnTo>
                      <a:lnTo>
                        <a:pt x="200662" y="1126452"/>
                      </a:lnTo>
                      <a:lnTo>
                        <a:pt x="199168" y="1124667"/>
                      </a:lnTo>
                      <a:lnTo>
                        <a:pt x="198476" y="1123270"/>
                      </a:lnTo>
                      <a:lnTo>
                        <a:pt x="198136" y="1121983"/>
                      </a:lnTo>
                      <a:lnTo>
                        <a:pt x="198197" y="1120672"/>
                      </a:lnTo>
                      <a:lnTo>
                        <a:pt x="198416" y="1119348"/>
                      </a:lnTo>
                      <a:lnTo>
                        <a:pt x="198938" y="1117952"/>
                      </a:lnTo>
                      <a:lnTo>
                        <a:pt x="199108" y="1117175"/>
                      </a:lnTo>
                      <a:lnTo>
                        <a:pt x="198768" y="1116543"/>
                      </a:lnTo>
                      <a:lnTo>
                        <a:pt x="197736" y="1115778"/>
                      </a:lnTo>
                      <a:lnTo>
                        <a:pt x="193486" y="1113325"/>
                      </a:lnTo>
                      <a:lnTo>
                        <a:pt x="191409" y="1112633"/>
                      </a:lnTo>
                      <a:lnTo>
                        <a:pt x="189005" y="1112670"/>
                      </a:lnTo>
                      <a:lnTo>
                        <a:pt x="187511" y="1113495"/>
                      </a:lnTo>
                      <a:lnTo>
                        <a:pt x="185326" y="1115280"/>
                      </a:lnTo>
                      <a:lnTo>
                        <a:pt x="184633" y="1115705"/>
                      </a:lnTo>
                      <a:lnTo>
                        <a:pt x="183832" y="1115815"/>
                      </a:lnTo>
                      <a:lnTo>
                        <a:pt x="182739" y="1115511"/>
                      </a:lnTo>
                      <a:lnTo>
                        <a:pt x="181428" y="1114904"/>
                      </a:lnTo>
                      <a:lnTo>
                        <a:pt x="180505" y="1113811"/>
                      </a:lnTo>
                      <a:lnTo>
                        <a:pt x="180213" y="1112985"/>
                      </a:lnTo>
                      <a:lnTo>
                        <a:pt x="180274" y="1112293"/>
                      </a:lnTo>
                      <a:lnTo>
                        <a:pt x="180675" y="1110909"/>
                      </a:lnTo>
                      <a:lnTo>
                        <a:pt x="180675" y="1110374"/>
                      </a:lnTo>
                      <a:lnTo>
                        <a:pt x="180553" y="1109937"/>
                      </a:lnTo>
                      <a:lnTo>
                        <a:pt x="179752" y="1109537"/>
                      </a:lnTo>
                      <a:lnTo>
                        <a:pt x="178781" y="1109306"/>
                      </a:lnTo>
                      <a:lnTo>
                        <a:pt x="175223" y="1108990"/>
                      </a:lnTo>
                      <a:lnTo>
                        <a:pt x="174190" y="1108735"/>
                      </a:lnTo>
                      <a:lnTo>
                        <a:pt x="173328" y="1108225"/>
                      </a:lnTo>
                      <a:lnTo>
                        <a:pt x="172175" y="1107011"/>
                      </a:lnTo>
                      <a:lnTo>
                        <a:pt x="171543" y="1105894"/>
                      </a:lnTo>
                      <a:lnTo>
                        <a:pt x="171143" y="1104607"/>
                      </a:lnTo>
                      <a:lnTo>
                        <a:pt x="170693" y="1101413"/>
                      </a:lnTo>
                      <a:lnTo>
                        <a:pt x="170450" y="1100527"/>
                      </a:lnTo>
                      <a:lnTo>
                        <a:pt x="170110" y="1099616"/>
                      </a:lnTo>
                      <a:lnTo>
                        <a:pt x="169710" y="1099057"/>
                      </a:lnTo>
                      <a:lnTo>
                        <a:pt x="168848" y="1098632"/>
                      </a:lnTo>
                      <a:lnTo>
                        <a:pt x="167463" y="1098268"/>
                      </a:lnTo>
                      <a:lnTo>
                        <a:pt x="164998" y="1097928"/>
                      </a:lnTo>
                      <a:lnTo>
                        <a:pt x="160809" y="1098159"/>
                      </a:lnTo>
                      <a:lnTo>
                        <a:pt x="152600" y="1100697"/>
                      </a:lnTo>
                      <a:lnTo>
                        <a:pt x="152722" y="1096580"/>
                      </a:lnTo>
                      <a:lnTo>
                        <a:pt x="152248" y="1094625"/>
                      </a:lnTo>
                      <a:lnTo>
                        <a:pt x="150694" y="1092585"/>
                      </a:lnTo>
                      <a:lnTo>
                        <a:pt x="148982" y="1091079"/>
                      </a:lnTo>
                      <a:lnTo>
                        <a:pt x="147658" y="1089391"/>
                      </a:lnTo>
                      <a:lnTo>
                        <a:pt x="147148" y="1086817"/>
                      </a:lnTo>
                      <a:lnTo>
                        <a:pt x="152078" y="1089222"/>
                      </a:lnTo>
                      <a:lnTo>
                        <a:pt x="153523" y="1089391"/>
                      </a:lnTo>
                      <a:lnTo>
                        <a:pt x="155017" y="1088372"/>
                      </a:lnTo>
                      <a:lnTo>
                        <a:pt x="157652" y="1084947"/>
                      </a:lnTo>
                      <a:lnTo>
                        <a:pt x="159315" y="1084195"/>
                      </a:lnTo>
                      <a:lnTo>
                        <a:pt x="161440" y="1083915"/>
                      </a:lnTo>
                      <a:lnTo>
                        <a:pt x="164476" y="1083029"/>
                      </a:lnTo>
                      <a:lnTo>
                        <a:pt x="167354" y="1081450"/>
                      </a:lnTo>
                      <a:lnTo>
                        <a:pt x="168908" y="1079131"/>
                      </a:lnTo>
                      <a:lnTo>
                        <a:pt x="160238" y="1080540"/>
                      </a:lnTo>
                      <a:lnTo>
                        <a:pt x="151908" y="1083211"/>
                      </a:lnTo>
                      <a:lnTo>
                        <a:pt x="145764" y="1082349"/>
                      </a:lnTo>
                      <a:lnTo>
                        <a:pt x="136863" y="1045968"/>
                      </a:lnTo>
                      <a:lnTo>
                        <a:pt x="139328" y="1039824"/>
                      </a:lnTo>
                      <a:lnTo>
                        <a:pt x="137604" y="1038160"/>
                      </a:lnTo>
                      <a:lnTo>
                        <a:pt x="136693" y="1036971"/>
                      </a:lnTo>
                      <a:lnTo>
                        <a:pt x="135491" y="1033328"/>
                      </a:lnTo>
                      <a:lnTo>
                        <a:pt x="135309" y="1028677"/>
                      </a:lnTo>
                      <a:lnTo>
                        <a:pt x="134920" y="1026382"/>
                      </a:lnTo>
                      <a:lnTo>
                        <a:pt x="133645" y="1025386"/>
                      </a:lnTo>
                      <a:lnTo>
                        <a:pt x="132844" y="1023395"/>
                      </a:lnTo>
                      <a:lnTo>
                        <a:pt x="130779" y="1013753"/>
                      </a:lnTo>
                      <a:lnTo>
                        <a:pt x="129966" y="1005860"/>
                      </a:lnTo>
                      <a:lnTo>
                        <a:pt x="126529" y="992831"/>
                      </a:lnTo>
                      <a:lnTo>
                        <a:pt x="125036" y="989528"/>
                      </a:lnTo>
                      <a:lnTo>
                        <a:pt x="122959" y="986176"/>
                      </a:lnTo>
                      <a:lnTo>
                        <a:pt x="121709" y="983189"/>
                      </a:lnTo>
                      <a:lnTo>
                        <a:pt x="122680" y="980980"/>
                      </a:lnTo>
                      <a:lnTo>
                        <a:pt x="121357" y="977701"/>
                      </a:lnTo>
                      <a:lnTo>
                        <a:pt x="120555" y="971496"/>
                      </a:lnTo>
                      <a:lnTo>
                        <a:pt x="120094" y="966651"/>
                      </a:lnTo>
                      <a:lnTo>
                        <a:pt x="121927" y="972224"/>
                      </a:lnTo>
                      <a:lnTo>
                        <a:pt x="122510" y="976742"/>
                      </a:lnTo>
                      <a:lnTo>
                        <a:pt x="125267" y="977179"/>
                      </a:lnTo>
                      <a:lnTo>
                        <a:pt x="124052" y="975782"/>
                      </a:lnTo>
                      <a:lnTo>
                        <a:pt x="124113" y="971532"/>
                      </a:lnTo>
                      <a:lnTo>
                        <a:pt x="123943" y="967962"/>
                      </a:lnTo>
                      <a:lnTo>
                        <a:pt x="119402" y="955479"/>
                      </a:lnTo>
                      <a:lnTo>
                        <a:pt x="119584" y="951193"/>
                      </a:lnTo>
                      <a:lnTo>
                        <a:pt x="118321" y="940713"/>
                      </a:lnTo>
                      <a:lnTo>
                        <a:pt x="118722" y="937848"/>
                      </a:lnTo>
                      <a:lnTo>
                        <a:pt x="118029" y="937277"/>
                      </a:lnTo>
                      <a:lnTo>
                        <a:pt x="117689" y="936670"/>
                      </a:lnTo>
                      <a:lnTo>
                        <a:pt x="117519" y="936014"/>
                      </a:lnTo>
                      <a:lnTo>
                        <a:pt x="117459" y="935237"/>
                      </a:lnTo>
                      <a:lnTo>
                        <a:pt x="118600" y="935966"/>
                      </a:lnTo>
                      <a:lnTo>
                        <a:pt x="119402" y="935711"/>
                      </a:lnTo>
                      <a:lnTo>
                        <a:pt x="119863" y="934533"/>
                      </a:lnTo>
                      <a:lnTo>
                        <a:pt x="120094" y="932517"/>
                      </a:lnTo>
                      <a:lnTo>
                        <a:pt x="121308" y="932517"/>
                      </a:lnTo>
                      <a:lnTo>
                        <a:pt x="123081" y="933756"/>
                      </a:lnTo>
                      <a:lnTo>
                        <a:pt x="125546" y="933756"/>
                      </a:lnTo>
                      <a:lnTo>
                        <a:pt x="128132" y="932784"/>
                      </a:lnTo>
                      <a:lnTo>
                        <a:pt x="130379" y="931217"/>
                      </a:lnTo>
                      <a:lnTo>
                        <a:pt x="127562" y="931509"/>
                      </a:lnTo>
                      <a:lnTo>
                        <a:pt x="126117" y="930756"/>
                      </a:lnTo>
                      <a:lnTo>
                        <a:pt x="123943" y="927405"/>
                      </a:lnTo>
                      <a:lnTo>
                        <a:pt x="121466" y="925086"/>
                      </a:lnTo>
                      <a:lnTo>
                        <a:pt x="121648" y="924138"/>
                      </a:lnTo>
                      <a:lnTo>
                        <a:pt x="123943" y="923385"/>
                      </a:lnTo>
                      <a:lnTo>
                        <a:pt x="121417" y="920131"/>
                      </a:lnTo>
                      <a:lnTo>
                        <a:pt x="119183" y="922171"/>
                      </a:lnTo>
                      <a:lnTo>
                        <a:pt x="116293" y="930015"/>
                      </a:lnTo>
                      <a:lnTo>
                        <a:pt x="113731" y="923908"/>
                      </a:lnTo>
                      <a:lnTo>
                        <a:pt x="109238" y="908231"/>
                      </a:lnTo>
                      <a:lnTo>
                        <a:pt x="107696" y="896489"/>
                      </a:lnTo>
                      <a:lnTo>
                        <a:pt x="104186" y="889628"/>
                      </a:lnTo>
                      <a:lnTo>
                        <a:pt x="101952" y="883423"/>
                      </a:lnTo>
                      <a:lnTo>
                        <a:pt x="95699" y="875287"/>
                      </a:lnTo>
                      <a:lnTo>
                        <a:pt x="93003" y="870637"/>
                      </a:lnTo>
                      <a:lnTo>
                        <a:pt x="87077" y="862913"/>
                      </a:lnTo>
                      <a:lnTo>
                        <a:pt x="85304" y="859040"/>
                      </a:lnTo>
                      <a:lnTo>
                        <a:pt x="85183" y="857085"/>
                      </a:lnTo>
                      <a:lnTo>
                        <a:pt x="85462" y="853126"/>
                      </a:lnTo>
                      <a:lnTo>
                        <a:pt x="85304" y="851208"/>
                      </a:lnTo>
                      <a:lnTo>
                        <a:pt x="84551" y="849447"/>
                      </a:lnTo>
                      <a:lnTo>
                        <a:pt x="82256" y="846581"/>
                      </a:lnTo>
                      <a:lnTo>
                        <a:pt x="81455" y="844663"/>
                      </a:lnTo>
                      <a:lnTo>
                        <a:pt x="81163" y="833941"/>
                      </a:lnTo>
                      <a:lnTo>
                        <a:pt x="80071" y="830189"/>
                      </a:lnTo>
                      <a:lnTo>
                        <a:pt x="74679" y="822769"/>
                      </a:lnTo>
                      <a:lnTo>
                        <a:pt x="72894" y="818908"/>
                      </a:lnTo>
                      <a:lnTo>
                        <a:pt x="73708" y="814524"/>
                      </a:lnTo>
                      <a:lnTo>
                        <a:pt x="76233" y="816297"/>
                      </a:lnTo>
                      <a:lnTo>
                        <a:pt x="80763" y="817305"/>
                      </a:lnTo>
                      <a:lnTo>
                        <a:pt x="85243" y="817560"/>
                      </a:lnTo>
                      <a:lnTo>
                        <a:pt x="87879" y="817013"/>
                      </a:lnTo>
                      <a:lnTo>
                        <a:pt x="86166" y="815556"/>
                      </a:lnTo>
                      <a:lnTo>
                        <a:pt x="74278" y="811391"/>
                      </a:lnTo>
                      <a:lnTo>
                        <a:pt x="72615" y="810590"/>
                      </a:lnTo>
                      <a:lnTo>
                        <a:pt x="70308" y="807287"/>
                      </a:lnTo>
                      <a:lnTo>
                        <a:pt x="69785" y="798933"/>
                      </a:lnTo>
                      <a:lnTo>
                        <a:pt x="68073" y="795460"/>
                      </a:lnTo>
                      <a:lnTo>
                        <a:pt x="66859" y="793590"/>
                      </a:lnTo>
                      <a:lnTo>
                        <a:pt x="66349" y="791246"/>
                      </a:lnTo>
                      <a:lnTo>
                        <a:pt x="66349" y="786316"/>
                      </a:lnTo>
                      <a:lnTo>
                        <a:pt x="65888" y="784725"/>
                      </a:lnTo>
                      <a:lnTo>
                        <a:pt x="64916" y="783718"/>
                      </a:lnTo>
                      <a:lnTo>
                        <a:pt x="63993" y="782406"/>
                      </a:lnTo>
                      <a:lnTo>
                        <a:pt x="62621" y="775497"/>
                      </a:lnTo>
                      <a:lnTo>
                        <a:pt x="58772" y="768259"/>
                      </a:lnTo>
                      <a:lnTo>
                        <a:pt x="58432" y="763451"/>
                      </a:lnTo>
                      <a:lnTo>
                        <a:pt x="61237" y="766863"/>
                      </a:lnTo>
                      <a:lnTo>
                        <a:pt x="63180" y="772182"/>
                      </a:lnTo>
                      <a:lnTo>
                        <a:pt x="65317" y="776371"/>
                      </a:lnTo>
                      <a:lnTo>
                        <a:pt x="68765" y="776517"/>
                      </a:lnTo>
                      <a:lnTo>
                        <a:pt x="66981" y="773930"/>
                      </a:lnTo>
                      <a:lnTo>
                        <a:pt x="67612" y="773104"/>
                      </a:lnTo>
                      <a:lnTo>
                        <a:pt x="72615" y="773760"/>
                      </a:lnTo>
                      <a:lnTo>
                        <a:pt x="64685" y="764605"/>
                      </a:lnTo>
                      <a:lnTo>
                        <a:pt x="62269" y="763451"/>
                      </a:lnTo>
                      <a:lnTo>
                        <a:pt x="62670" y="762759"/>
                      </a:lnTo>
                      <a:lnTo>
                        <a:pt x="63143" y="761386"/>
                      </a:lnTo>
                      <a:lnTo>
                        <a:pt x="63544" y="760694"/>
                      </a:lnTo>
                      <a:lnTo>
                        <a:pt x="61468" y="759711"/>
                      </a:lnTo>
                      <a:lnTo>
                        <a:pt x="60666" y="759808"/>
                      </a:lnTo>
                      <a:lnTo>
                        <a:pt x="59683" y="760694"/>
                      </a:lnTo>
                      <a:lnTo>
                        <a:pt x="59063" y="758278"/>
                      </a:lnTo>
                      <a:lnTo>
                        <a:pt x="59124" y="757282"/>
                      </a:lnTo>
                      <a:lnTo>
                        <a:pt x="59683" y="755582"/>
                      </a:lnTo>
                      <a:lnTo>
                        <a:pt x="56695" y="757003"/>
                      </a:lnTo>
                      <a:lnTo>
                        <a:pt x="56355" y="759432"/>
                      </a:lnTo>
                      <a:lnTo>
                        <a:pt x="56695" y="762152"/>
                      </a:lnTo>
                      <a:lnTo>
                        <a:pt x="56015" y="764616"/>
                      </a:lnTo>
                      <a:lnTo>
                        <a:pt x="53320" y="765904"/>
                      </a:lnTo>
                      <a:lnTo>
                        <a:pt x="50503" y="765515"/>
                      </a:lnTo>
                      <a:lnTo>
                        <a:pt x="48778" y="763961"/>
                      </a:lnTo>
                      <a:lnTo>
                        <a:pt x="49361" y="762006"/>
                      </a:lnTo>
                      <a:lnTo>
                        <a:pt x="47928" y="756772"/>
                      </a:lnTo>
                      <a:lnTo>
                        <a:pt x="47746" y="752498"/>
                      </a:lnTo>
                      <a:lnTo>
                        <a:pt x="50041" y="749717"/>
                      </a:lnTo>
                      <a:lnTo>
                        <a:pt x="56015" y="748904"/>
                      </a:lnTo>
                      <a:lnTo>
                        <a:pt x="56015" y="747629"/>
                      </a:lnTo>
                      <a:lnTo>
                        <a:pt x="53138" y="746511"/>
                      </a:lnTo>
                      <a:lnTo>
                        <a:pt x="50964" y="747119"/>
                      </a:lnTo>
                      <a:lnTo>
                        <a:pt x="48900" y="748296"/>
                      </a:lnTo>
                      <a:lnTo>
                        <a:pt x="46253" y="748916"/>
                      </a:lnTo>
                      <a:lnTo>
                        <a:pt x="44127" y="748138"/>
                      </a:lnTo>
                      <a:lnTo>
                        <a:pt x="42695" y="746269"/>
                      </a:lnTo>
                      <a:lnTo>
                        <a:pt x="42452" y="744083"/>
                      </a:lnTo>
                      <a:lnTo>
                        <a:pt x="44188" y="742419"/>
                      </a:lnTo>
                      <a:lnTo>
                        <a:pt x="42925" y="738801"/>
                      </a:lnTo>
                      <a:lnTo>
                        <a:pt x="41784" y="730604"/>
                      </a:lnTo>
                      <a:lnTo>
                        <a:pt x="39829" y="727313"/>
                      </a:lnTo>
                      <a:lnTo>
                        <a:pt x="36320" y="724423"/>
                      </a:lnTo>
                      <a:lnTo>
                        <a:pt x="33745" y="723634"/>
                      </a:lnTo>
                      <a:lnTo>
                        <a:pt x="31547" y="724836"/>
                      </a:lnTo>
                      <a:lnTo>
                        <a:pt x="28852" y="727933"/>
                      </a:lnTo>
                      <a:lnTo>
                        <a:pt x="26265" y="722881"/>
                      </a:lnTo>
                      <a:lnTo>
                        <a:pt x="25002" y="721388"/>
                      </a:lnTo>
                      <a:lnTo>
                        <a:pt x="24201" y="721181"/>
                      </a:lnTo>
                      <a:lnTo>
                        <a:pt x="21967" y="721545"/>
                      </a:lnTo>
                      <a:lnTo>
                        <a:pt x="21165" y="721376"/>
                      </a:lnTo>
                      <a:lnTo>
                        <a:pt x="19890" y="719080"/>
                      </a:lnTo>
                      <a:lnTo>
                        <a:pt x="19781" y="718741"/>
                      </a:lnTo>
                      <a:lnTo>
                        <a:pt x="13297" y="715547"/>
                      </a:lnTo>
                      <a:lnTo>
                        <a:pt x="10479" y="713058"/>
                      </a:lnTo>
                      <a:lnTo>
                        <a:pt x="9508" y="709585"/>
                      </a:lnTo>
                      <a:lnTo>
                        <a:pt x="12896" y="711285"/>
                      </a:lnTo>
                      <a:lnTo>
                        <a:pt x="13807" y="710155"/>
                      </a:lnTo>
                      <a:lnTo>
                        <a:pt x="13807" y="707788"/>
                      </a:lnTo>
                      <a:lnTo>
                        <a:pt x="14669" y="705687"/>
                      </a:lnTo>
                      <a:lnTo>
                        <a:pt x="16575" y="704618"/>
                      </a:lnTo>
                      <a:lnTo>
                        <a:pt x="18749" y="704363"/>
                      </a:lnTo>
                      <a:lnTo>
                        <a:pt x="20813" y="705068"/>
                      </a:lnTo>
                      <a:lnTo>
                        <a:pt x="22307" y="706865"/>
                      </a:lnTo>
                      <a:lnTo>
                        <a:pt x="24201" y="703271"/>
                      </a:lnTo>
                      <a:lnTo>
                        <a:pt x="25986" y="701000"/>
                      </a:lnTo>
                      <a:lnTo>
                        <a:pt x="28172" y="699688"/>
                      </a:lnTo>
                      <a:lnTo>
                        <a:pt x="31438" y="699020"/>
                      </a:lnTo>
                      <a:lnTo>
                        <a:pt x="33320" y="699251"/>
                      </a:lnTo>
                      <a:lnTo>
                        <a:pt x="34935" y="699773"/>
                      </a:lnTo>
                      <a:lnTo>
                        <a:pt x="36150" y="699433"/>
                      </a:lnTo>
                      <a:lnTo>
                        <a:pt x="36490" y="697138"/>
                      </a:lnTo>
                      <a:lnTo>
                        <a:pt x="35688" y="696446"/>
                      </a:lnTo>
                      <a:lnTo>
                        <a:pt x="33842" y="696070"/>
                      </a:lnTo>
                      <a:lnTo>
                        <a:pt x="32021" y="695050"/>
                      </a:lnTo>
                      <a:lnTo>
                        <a:pt x="31438" y="692451"/>
                      </a:lnTo>
                      <a:lnTo>
                        <a:pt x="29422" y="694382"/>
                      </a:lnTo>
                      <a:lnTo>
                        <a:pt x="23569" y="697138"/>
                      </a:lnTo>
                      <a:lnTo>
                        <a:pt x="22307" y="698425"/>
                      </a:lnTo>
                      <a:lnTo>
                        <a:pt x="21262" y="699895"/>
                      </a:lnTo>
                      <a:lnTo>
                        <a:pt x="18797" y="701692"/>
                      </a:lnTo>
                      <a:lnTo>
                        <a:pt x="15822" y="703003"/>
                      </a:lnTo>
                      <a:lnTo>
                        <a:pt x="13357" y="702918"/>
                      </a:lnTo>
                      <a:lnTo>
                        <a:pt x="11742" y="700866"/>
                      </a:lnTo>
                      <a:lnTo>
                        <a:pt x="9508" y="695001"/>
                      </a:lnTo>
                      <a:lnTo>
                        <a:pt x="15932" y="691698"/>
                      </a:lnTo>
                      <a:lnTo>
                        <a:pt x="20072" y="688140"/>
                      </a:lnTo>
                      <a:lnTo>
                        <a:pt x="21384" y="687375"/>
                      </a:lnTo>
                      <a:lnTo>
                        <a:pt x="22537" y="687035"/>
                      </a:lnTo>
                      <a:lnTo>
                        <a:pt x="26787" y="687485"/>
                      </a:lnTo>
                      <a:lnTo>
                        <a:pt x="29483" y="687120"/>
                      </a:lnTo>
                      <a:lnTo>
                        <a:pt x="31790" y="686209"/>
                      </a:lnTo>
                      <a:lnTo>
                        <a:pt x="34875" y="684340"/>
                      </a:lnTo>
                      <a:lnTo>
                        <a:pt x="37643" y="681899"/>
                      </a:lnTo>
                      <a:lnTo>
                        <a:pt x="38105" y="680903"/>
                      </a:lnTo>
                      <a:lnTo>
                        <a:pt x="38384" y="680041"/>
                      </a:lnTo>
                      <a:lnTo>
                        <a:pt x="38857" y="677746"/>
                      </a:lnTo>
                      <a:lnTo>
                        <a:pt x="40230" y="673447"/>
                      </a:lnTo>
                      <a:lnTo>
                        <a:pt x="41322" y="670982"/>
                      </a:lnTo>
                      <a:lnTo>
                        <a:pt x="42002" y="669222"/>
                      </a:lnTo>
                      <a:lnTo>
                        <a:pt x="42415" y="667279"/>
                      </a:lnTo>
                      <a:lnTo>
                        <a:pt x="42573" y="665542"/>
                      </a:lnTo>
                      <a:lnTo>
                        <a:pt x="42513" y="663915"/>
                      </a:lnTo>
                      <a:lnTo>
                        <a:pt x="41201" y="657540"/>
                      </a:lnTo>
                      <a:lnTo>
                        <a:pt x="41080" y="656168"/>
                      </a:lnTo>
                      <a:lnTo>
                        <a:pt x="41080" y="654759"/>
                      </a:lnTo>
                      <a:lnTo>
                        <a:pt x="41662" y="651870"/>
                      </a:lnTo>
                      <a:lnTo>
                        <a:pt x="42063" y="650327"/>
                      </a:lnTo>
                      <a:lnTo>
                        <a:pt x="46471" y="641353"/>
                      </a:lnTo>
                      <a:lnTo>
                        <a:pt x="47115" y="639192"/>
                      </a:lnTo>
                      <a:lnTo>
                        <a:pt x="47285" y="637371"/>
                      </a:lnTo>
                      <a:lnTo>
                        <a:pt x="46993" y="636108"/>
                      </a:lnTo>
                      <a:lnTo>
                        <a:pt x="46435" y="635015"/>
                      </a:lnTo>
                      <a:lnTo>
                        <a:pt x="45560" y="634165"/>
                      </a:lnTo>
                      <a:lnTo>
                        <a:pt x="44637" y="633412"/>
                      </a:lnTo>
                      <a:lnTo>
                        <a:pt x="39125" y="630243"/>
                      </a:lnTo>
                      <a:lnTo>
                        <a:pt x="38214" y="629126"/>
                      </a:lnTo>
                      <a:lnTo>
                        <a:pt x="37643" y="627863"/>
                      </a:lnTo>
                      <a:lnTo>
                        <a:pt x="37582" y="626054"/>
                      </a:lnTo>
                      <a:lnTo>
                        <a:pt x="38044" y="625058"/>
                      </a:lnTo>
                      <a:lnTo>
                        <a:pt x="38736" y="624366"/>
                      </a:lnTo>
                      <a:lnTo>
                        <a:pt x="39537" y="624111"/>
                      </a:lnTo>
                      <a:lnTo>
                        <a:pt x="45330" y="622993"/>
                      </a:lnTo>
                      <a:lnTo>
                        <a:pt x="46714" y="622350"/>
                      </a:lnTo>
                      <a:lnTo>
                        <a:pt x="48377" y="621148"/>
                      </a:lnTo>
                      <a:lnTo>
                        <a:pt x="49057" y="619739"/>
                      </a:lnTo>
                      <a:lnTo>
                        <a:pt x="49470" y="618015"/>
                      </a:lnTo>
                      <a:lnTo>
                        <a:pt x="48717" y="610377"/>
                      </a:lnTo>
                      <a:lnTo>
                        <a:pt x="48377" y="608908"/>
                      </a:lnTo>
                      <a:lnTo>
                        <a:pt x="47928" y="607851"/>
                      </a:lnTo>
                      <a:lnTo>
                        <a:pt x="47054" y="606588"/>
                      </a:lnTo>
                      <a:lnTo>
                        <a:pt x="41832" y="601063"/>
                      </a:lnTo>
                      <a:lnTo>
                        <a:pt x="40970" y="599424"/>
                      </a:lnTo>
                      <a:lnTo>
                        <a:pt x="40618" y="597846"/>
                      </a:lnTo>
                      <a:lnTo>
                        <a:pt x="40618" y="596206"/>
                      </a:lnTo>
                      <a:lnTo>
                        <a:pt x="40970" y="593802"/>
                      </a:lnTo>
                      <a:lnTo>
                        <a:pt x="40970" y="592891"/>
                      </a:lnTo>
                      <a:lnTo>
                        <a:pt x="40800" y="591337"/>
                      </a:lnTo>
                      <a:lnTo>
                        <a:pt x="40169" y="589807"/>
                      </a:lnTo>
                      <a:lnTo>
                        <a:pt x="39477" y="588544"/>
                      </a:lnTo>
                      <a:lnTo>
                        <a:pt x="37303" y="586322"/>
                      </a:lnTo>
                      <a:lnTo>
                        <a:pt x="36781" y="582825"/>
                      </a:lnTo>
                      <a:lnTo>
                        <a:pt x="38432" y="579898"/>
                      </a:lnTo>
                      <a:lnTo>
                        <a:pt x="40169" y="577445"/>
                      </a:lnTo>
                      <a:lnTo>
                        <a:pt x="40740" y="573960"/>
                      </a:lnTo>
                      <a:lnTo>
                        <a:pt x="40047" y="571228"/>
                      </a:lnTo>
                      <a:lnTo>
                        <a:pt x="38554" y="560785"/>
                      </a:lnTo>
                      <a:lnTo>
                        <a:pt x="37060" y="555236"/>
                      </a:lnTo>
                      <a:lnTo>
                        <a:pt x="36320" y="553961"/>
                      </a:lnTo>
                      <a:lnTo>
                        <a:pt x="34935" y="552613"/>
                      </a:lnTo>
                      <a:lnTo>
                        <a:pt x="29483" y="549626"/>
                      </a:lnTo>
                      <a:lnTo>
                        <a:pt x="25986" y="548339"/>
                      </a:lnTo>
                      <a:lnTo>
                        <a:pt x="24711" y="548083"/>
                      </a:lnTo>
                      <a:lnTo>
                        <a:pt x="23739" y="548290"/>
                      </a:lnTo>
                      <a:lnTo>
                        <a:pt x="21262" y="550051"/>
                      </a:lnTo>
                      <a:lnTo>
                        <a:pt x="20133" y="550646"/>
                      </a:lnTo>
                      <a:lnTo>
                        <a:pt x="18797" y="551144"/>
                      </a:lnTo>
                      <a:lnTo>
                        <a:pt x="16332" y="551593"/>
                      </a:lnTo>
                      <a:lnTo>
                        <a:pt x="14049" y="551423"/>
                      </a:lnTo>
                      <a:lnTo>
                        <a:pt x="11281" y="550622"/>
                      </a:lnTo>
                      <a:lnTo>
                        <a:pt x="11050" y="547719"/>
                      </a:lnTo>
                      <a:lnTo>
                        <a:pt x="10067" y="545922"/>
                      </a:lnTo>
                      <a:lnTo>
                        <a:pt x="9848" y="545060"/>
                      </a:lnTo>
                      <a:lnTo>
                        <a:pt x="10188" y="544368"/>
                      </a:lnTo>
                      <a:lnTo>
                        <a:pt x="12495" y="543506"/>
                      </a:lnTo>
                      <a:lnTo>
                        <a:pt x="13467" y="542571"/>
                      </a:lnTo>
                      <a:lnTo>
                        <a:pt x="14329" y="541041"/>
                      </a:lnTo>
                      <a:lnTo>
                        <a:pt x="15822" y="536523"/>
                      </a:lnTo>
                      <a:lnTo>
                        <a:pt x="18287" y="533488"/>
                      </a:lnTo>
                      <a:lnTo>
                        <a:pt x="27297" y="526530"/>
                      </a:lnTo>
                      <a:lnTo>
                        <a:pt x="28852" y="525801"/>
                      </a:lnTo>
                      <a:lnTo>
                        <a:pt x="30406" y="525522"/>
                      </a:lnTo>
                      <a:lnTo>
                        <a:pt x="31730" y="525947"/>
                      </a:lnTo>
                      <a:lnTo>
                        <a:pt x="32470" y="526773"/>
                      </a:lnTo>
                      <a:lnTo>
                        <a:pt x="32871" y="528036"/>
                      </a:lnTo>
                      <a:lnTo>
                        <a:pt x="33041" y="529311"/>
                      </a:lnTo>
                      <a:lnTo>
                        <a:pt x="32810" y="531642"/>
                      </a:lnTo>
                      <a:lnTo>
                        <a:pt x="32580" y="532492"/>
                      </a:lnTo>
                      <a:lnTo>
                        <a:pt x="32531" y="533075"/>
                      </a:lnTo>
                      <a:lnTo>
                        <a:pt x="32640" y="533536"/>
                      </a:lnTo>
                      <a:lnTo>
                        <a:pt x="33223" y="533840"/>
                      </a:lnTo>
                      <a:lnTo>
                        <a:pt x="34316" y="534131"/>
                      </a:lnTo>
                      <a:lnTo>
                        <a:pt x="40400" y="534131"/>
                      </a:lnTo>
                      <a:lnTo>
                        <a:pt x="45220" y="533378"/>
                      </a:lnTo>
                      <a:lnTo>
                        <a:pt x="47503" y="532516"/>
                      </a:lnTo>
                      <a:lnTo>
                        <a:pt x="49470" y="531509"/>
                      </a:lnTo>
                      <a:lnTo>
                        <a:pt x="52737" y="528983"/>
                      </a:lnTo>
                      <a:lnTo>
                        <a:pt x="54534" y="527222"/>
                      </a:lnTo>
                      <a:lnTo>
                        <a:pt x="57970" y="521940"/>
                      </a:lnTo>
                      <a:lnTo>
                        <a:pt x="61686" y="514933"/>
                      </a:lnTo>
                      <a:lnTo>
                        <a:pt x="62390" y="513075"/>
                      </a:lnTo>
                      <a:lnTo>
                        <a:pt x="61929" y="511303"/>
                      </a:lnTo>
                      <a:lnTo>
                        <a:pt x="61006" y="510040"/>
                      </a:lnTo>
                      <a:lnTo>
                        <a:pt x="58541" y="507793"/>
                      </a:lnTo>
                      <a:lnTo>
                        <a:pt x="58310" y="506968"/>
                      </a:lnTo>
                      <a:lnTo>
                        <a:pt x="58893" y="505972"/>
                      </a:lnTo>
                      <a:lnTo>
                        <a:pt x="64115" y="499136"/>
                      </a:lnTo>
                      <a:lnTo>
                        <a:pt x="67612" y="492068"/>
                      </a:lnTo>
                      <a:lnTo>
                        <a:pt x="69968" y="488656"/>
                      </a:lnTo>
                      <a:lnTo>
                        <a:pt x="71510" y="485960"/>
                      </a:lnTo>
                      <a:lnTo>
                        <a:pt x="72833" y="482657"/>
                      </a:lnTo>
                      <a:lnTo>
                        <a:pt x="73586" y="477885"/>
                      </a:lnTo>
                      <a:lnTo>
                        <a:pt x="73647" y="475360"/>
                      </a:lnTo>
                      <a:lnTo>
                        <a:pt x="73295" y="473611"/>
                      </a:lnTo>
                      <a:lnTo>
                        <a:pt x="72724" y="472810"/>
                      </a:lnTo>
                      <a:lnTo>
                        <a:pt x="71923" y="472288"/>
                      </a:lnTo>
                      <a:lnTo>
                        <a:pt x="71000" y="471947"/>
                      </a:lnTo>
                      <a:lnTo>
                        <a:pt x="66750" y="470891"/>
                      </a:lnTo>
                      <a:lnTo>
                        <a:pt x="65426" y="470308"/>
                      </a:lnTo>
                      <a:lnTo>
                        <a:pt x="64515" y="469507"/>
                      </a:lnTo>
                      <a:lnTo>
                        <a:pt x="64345" y="468110"/>
                      </a:lnTo>
                      <a:lnTo>
                        <a:pt x="64977" y="466690"/>
                      </a:lnTo>
                      <a:lnTo>
                        <a:pt x="67041" y="464492"/>
                      </a:lnTo>
                      <a:lnTo>
                        <a:pt x="68595" y="463545"/>
                      </a:lnTo>
                      <a:lnTo>
                        <a:pt x="70429" y="462937"/>
                      </a:lnTo>
                      <a:lnTo>
                        <a:pt x="78176" y="462731"/>
                      </a:lnTo>
                      <a:lnTo>
                        <a:pt x="79500" y="461930"/>
                      </a:lnTo>
                      <a:lnTo>
                        <a:pt x="80471" y="460351"/>
                      </a:lnTo>
                      <a:lnTo>
                        <a:pt x="80933" y="456878"/>
                      </a:lnTo>
                      <a:lnTo>
                        <a:pt x="80653" y="450455"/>
                      </a:lnTo>
                      <a:lnTo>
                        <a:pt x="81746" y="442440"/>
                      </a:lnTo>
                      <a:lnTo>
                        <a:pt x="81686" y="439659"/>
                      </a:lnTo>
                      <a:lnTo>
                        <a:pt x="81285" y="437632"/>
                      </a:lnTo>
                      <a:lnTo>
                        <a:pt x="80714" y="436138"/>
                      </a:lnTo>
                      <a:lnTo>
                        <a:pt x="79852" y="434851"/>
                      </a:lnTo>
                      <a:lnTo>
                        <a:pt x="78468" y="433503"/>
                      </a:lnTo>
                      <a:lnTo>
                        <a:pt x="77144" y="432641"/>
                      </a:lnTo>
                      <a:lnTo>
                        <a:pt x="61067" y="425161"/>
                      </a:lnTo>
                      <a:lnTo>
                        <a:pt x="59925" y="424869"/>
                      </a:lnTo>
                      <a:lnTo>
                        <a:pt x="58942" y="424991"/>
                      </a:lnTo>
                      <a:lnTo>
                        <a:pt x="58031" y="425476"/>
                      </a:lnTo>
                      <a:lnTo>
                        <a:pt x="56355" y="426715"/>
                      </a:lnTo>
                      <a:lnTo>
                        <a:pt x="55663" y="427140"/>
                      </a:lnTo>
                      <a:lnTo>
                        <a:pt x="54753" y="427516"/>
                      </a:lnTo>
                      <a:lnTo>
                        <a:pt x="53951" y="427516"/>
                      </a:lnTo>
                      <a:lnTo>
                        <a:pt x="53138" y="427055"/>
                      </a:lnTo>
                      <a:lnTo>
                        <a:pt x="52615" y="425816"/>
                      </a:lnTo>
                      <a:lnTo>
                        <a:pt x="52336" y="424262"/>
                      </a:lnTo>
                      <a:lnTo>
                        <a:pt x="52615" y="420643"/>
                      </a:lnTo>
                      <a:lnTo>
                        <a:pt x="52615" y="419696"/>
                      </a:lnTo>
                      <a:lnTo>
                        <a:pt x="52336" y="418931"/>
                      </a:lnTo>
                      <a:lnTo>
                        <a:pt x="51025" y="416855"/>
                      </a:lnTo>
                      <a:lnTo>
                        <a:pt x="50211" y="415228"/>
                      </a:lnTo>
                      <a:lnTo>
                        <a:pt x="49750" y="413613"/>
                      </a:lnTo>
                      <a:lnTo>
                        <a:pt x="49470" y="410395"/>
                      </a:lnTo>
                      <a:lnTo>
                        <a:pt x="49810" y="408926"/>
                      </a:lnTo>
                      <a:lnTo>
                        <a:pt x="50673" y="407991"/>
                      </a:lnTo>
                      <a:lnTo>
                        <a:pt x="52798" y="407384"/>
                      </a:lnTo>
                      <a:lnTo>
                        <a:pt x="56076" y="407068"/>
                      </a:lnTo>
                      <a:lnTo>
                        <a:pt x="57448" y="406813"/>
                      </a:lnTo>
                      <a:lnTo>
                        <a:pt x="58432" y="406266"/>
                      </a:lnTo>
                      <a:lnTo>
                        <a:pt x="59282" y="405441"/>
                      </a:lnTo>
                      <a:lnTo>
                        <a:pt x="59513" y="404372"/>
                      </a:lnTo>
                      <a:lnTo>
                        <a:pt x="59173" y="403656"/>
                      </a:lnTo>
                      <a:lnTo>
                        <a:pt x="58541" y="403194"/>
                      </a:lnTo>
                      <a:lnTo>
                        <a:pt x="55906" y="402077"/>
                      </a:lnTo>
                      <a:lnTo>
                        <a:pt x="54753" y="401409"/>
                      </a:lnTo>
                      <a:lnTo>
                        <a:pt x="53599" y="400656"/>
                      </a:lnTo>
                      <a:lnTo>
                        <a:pt x="52919" y="399770"/>
                      </a:lnTo>
                      <a:lnTo>
                        <a:pt x="52457" y="398677"/>
                      </a:lnTo>
                      <a:lnTo>
                        <a:pt x="52227" y="397305"/>
                      </a:lnTo>
                      <a:lnTo>
                        <a:pt x="52166" y="395896"/>
                      </a:lnTo>
                      <a:lnTo>
                        <a:pt x="51935" y="394548"/>
                      </a:lnTo>
                      <a:lnTo>
                        <a:pt x="51425" y="393698"/>
                      </a:lnTo>
                      <a:lnTo>
                        <a:pt x="50733" y="393176"/>
                      </a:lnTo>
                      <a:lnTo>
                        <a:pt x="49932" y="393152"/>
                      </a:lnTo>
                      <a:lnTo>
                        <a:pt x="47867" y="393431"/>
                      </a:lnTo>
                      <a:lnTo>
                        <a:pt x="46823" y="393395"/>
                      </a:lnTo>
                      <a:lnTo>
                        <a:pt x="45743" y="393164"/>
                      </a:lnTo>
                      <a:lnTo>
                        <a:pt x="44820" y="392678"/>
                      </a:lnTo>
                      <a:lnTo>
                        <a:pt x="44249" y="391877"/>
                      </a:lnTo>
                      <a:lnTo>
                        <a:pt x="44067" y="391245"/>
                      </a:lnTo>
                      <a:lnTo>
                        <a:pt x="43909" y="390420"/>
                      </a:lnTo>
                      <a:lnTo>
                        <a:pt x="43836" y="389533"/>
                      </a:lnTo>
                      <a:lnTo>
                        <a:pt x="43387" y="387250"/>
                      </a:lnTo>
                      <a:lnTo>
                        <a:pt x="42925" y="386449"/>
                      </a:lnTo>
                      <a:lnTo>
                        <a:pt x="42452" y="386024"/>
                      </a:lnTo>
                      <a:lnTo>
                        <a:pt x="41893" y="385963"/>
                      </a:lnTo>
                      <a:lnTo>
                        <a:pt x="41031" y="386206"/>
                      </a:lnTo>
                      <a:lnTo>
                        <a:pt x="39537" y="386838"/>
                      </a:lnTo>
                      <a:lnTo>
                        <a:pt x="37461" y="388271"/>
                      </a:lnTo>
                      <a:lnTo>
                        <a:pt x="36939" y="388501"/>
                      </a:lnTo>
                      <a:lnTo>
                        <a:pt x="36490" y="388683"/>
                      </a:lnTo>
                      <a:lnTo>
                        <a:pt x="35967" y="388623"/>
                      </a:lnTo>
                      <a:lnTo>
                        <a:pt x="35287" y="388392"/>
                      </a:lnTo>
                      <a:lnTo>
                        <a:pt x="34765" y="387930"/>
                      </a:lnTo>
                      <a:lnTo>
                        <a:pt x="34595" y="387445"/>
                      </a:lnTo>
                      <a:lnTo>
                        <a:pt x="34717" y="386692"/>
                      </a:lnTo>
                      <a:lnTo>
                        <a:pt x="37121" y="381434"/>
                      </a:lnTo>
                      <a:lnTo>
                        <a:pt x="38105" y="377645"/>
                      </a:lnTo>
                      <a:lnTo>
                        <a:pt x="38955" y="376589"/>
                      </a:lnTo>
                      <a:lnTo>
                        <a:pt x="40800" y="376795"/>
                      </a:lnTo>
                      <a:lnTo>
                        <a:pt x="42112" y="377767"/>
                      </a:lnTo>
                      <a:lnTo>
                        <a:pt x="43387" y="379090"/>
                      </a:lnTo>
                      <a:lnTo>
                        <a:pt x="44577" y="379916"/>
                      </a:lnTo>
                      <a:lnTo>
                        <a:pt x="45913" y="380171"/>
                      </a:lnTo>
                      <a:lnTo>
                        <a:pt x="47224" y="379807"/>
                      </a:lnTo>
                      <a:lnTo>
                        <a:pt x="48317" y="378738"/>
                      </a:lnTo>
                      <a:lnTo>
                        <a:pt x="48778" y="377937"/>
                      </a:lnTo>
                      <a:lnTo>
                        <a:pt x="50041" y="373930"/>
                      </a:lnTo>
                      <a:lnTo>
                        <a:pt x="50733" y="373128"/>
                      </a:lnTo>
                      <a:lnTo>
                        <a:pt x="51425" y="372837"/>
                      </a:lnTo>
                      <a:lnTo>
                        <a:pt x="52737" y="373092"/>
                      </a:lnTo>
                      <a:lnTo>
                        <a:pt x="53720" y="373784"/>
                      </a:lnTo>
                      <a:lnTo>
                        <a:pt x="54534" y="374682"/>
                      </a:lnTo>
                      <a:lnTo>
                        <a:pt x="55384" y="375800"/>
                      </a:lnTo>
                      <a:lnTo>
                        <a:pt x="56246" y="376747"/>
                      </a:lnTo>
                      <a:lnTo>
                        <a:pt x="57448" y="377233"/>
                      </a:lnTo>
                      <a:lnTo>
                        <a:pt x="58650" y="376892"/>
                      </a:lnTo>
                      <a:lnTo>
                        <a:pt x="59974" y="375605"/>
                      </a:lnTo>
                      <a:lnTo>
                        <a:pt x="63180" y="371926"/>
                      </a:lnTo>
                      <a:lnTo>
                        <a:pt x="64115" y="371100"/>
                      </a:lnTo>
                      <a:lnTo>
                        <a:pt x="65147" y="370433"/>
                      </a:lnTo>
                      <a:lnTo>
                        <a:pt x="67503" y="369145"/>
                      </a:lnTo>
                      <a:lnTo>
                        <a:pt x="68595" y="368429"/>
                      </a:lnTo>
                      <a:lnTo>
                        <a:pt x="69567" y="367421"/>
                      </a:lnTo>
                      <a:lnTo>
                        <a:pt x="70308" y="366243"/>
                      </a:lnTo>
                      <a:lnTo>
                        <a:pt x="70939" y="364956"/>
                      </a:lnTo>
                      <a:lnTo>
                        <a:pt x="72554" y="358459"/>
                      </a:lnTo>
                      <a:lnTo>
                        <a:pt x="73064" y="357488"/>
                      </a:lnTo>
                      <a:lnTo>
                        <a:pt x="73987" y="357002"/>
                      </a:lnTo>
                      <a:lnTo>
                        <a:pt x="75189" y="357063"/>
                      </a:lnTo>
                      <a:lnTo>
                        <a:pt x="77666" y="357889"/>
                      </a:lnTo>
                      <a:lnTo>
                        <a:pt x="80532" y="359589"/>
                      </a:lnTo>
                      <a:lnTo>
                        <a:pt x="82135" y="360135"/>
                      </a:lnTo>
                      <a:lnTo>
                        <a:pt x="88352" y="360682"/>
                      </a:lnTo>
                      <a:lnTo>
                        <a:pt x="89894" y="361022"/>
                      </a:lnTo>
                      <a:lnTo>
                        <a:pt x="90817" y="361423"/>
                      </a:lnTo>
                      <a:lnTo>
                        <a:pt x="91157" y="363122"/>
                      </a:lnTo>
                      <a:lnTo>
                        <a:pt x="91546" y="366255"/>
                      </a:lnTo>
                      <a:lnTo>
                        <a:pt x="91971" y="367202"/>
                      </a:lnTo>
                      <a:lnTo>
                        <a:pt x="93853" y="369595"/>
                      </a:lnTo>
                      <a:lnTo>
                        <a:pt x="94496" y="370785"/>
                      </a:lnTo>
                      <a:lnTo>
                        <a:pt x="94836" y="371707"/>
                      </a:lnTo>
                      <a:lnTo>
                        <a:pt x="94836" y="372509"/>
                      </a:lnTo>
                      <a:lnTo>
                        <a:pt x="94715" y="373201"/>
                      </a:lnTo>
                      <a:lnTo>
                        <a:pt x="94776" y="374051"/>
                      </a:lnTo>
                      <a:lnTo>
                        <a:pt x="94958" y="374597"/>
                      </a:lnTo>
                      <a:lnTo>
                        <a:pt x="95346" y="374998"/>
                      </a:lnTo>
                      <a:lnTo>
                        <a:pt x="95978" y="375277"/>
                      </a:lnTo>
                      <a:lnTo>
                        <a:pt x="96961" y="375338"/>
                      </a:lnTo>
                      <a:lnTo>
                        <a:pt x="98103" y="375059"/>
                      </a:lnTo>
                      <a:lnTo>
                        <a:pt x="99936" y="374258"/>
                      </a:lnTo>
                      <a:lnTo>
                        <a:pt x="101430" y="373347"/>
                      </a:lnTo>
                      <a:lnTo>
                        <a:pt x="107586" y="367858"/>
                      </a:lnTo>
                      <a:lnTo>
                        <a:pt x="109019" y="366863"/>
                      </a:lnTo>
                      <a:lnTo>
                        <a:pt x="110391" y="366255"/>
                      </a:lnTo>
                      <a:lnTo>
                        <a:pt x="111715" y="365939"/>
                      </a:lnTo>
                      <a:lnTo>
                        <a:pt x="115322" y="365539"/>
                      </a:lnTo>
                      <a:lnTo>
                        <a:pt x="117289" y="364823"/>
                      </a:lnTo>
                      <a:lnTo>
                        <a:pt x="117908" y="363292"/>
                      </a:lnTo>
                      <a:lnTo>
                        <a:pt x="118430" y="361143"/>
                      </a:lnTo>
                      <a:lnTo>
                        <a:pt x="113257" y="356031"/>
                      </a:lnTo>
                      <a:lnTo>
                        <a:pt x="116135" y="353809"/>
                      </a:lnTo>
                      <a:lnTo>
                        <a:pt x="117568" y="352910"/>
                      </a:lnTo>
                      <a:lnTo>
                        <a:pt x="118491" y="352012"/>
                      </a:lnTo>
                      <a:lnTo>
                        <a:pt x="119062" y="351089"/>
                      </a:lnTo>
                      <a:lnTo>
                        <a:pt x="120847" y="345127"/>
                      </a:lnTo>
                      <a:lnTo>
                        <a:pt x="121466" y="344313"/>
                      </a:lnTo>
                      <a:lnTo>
                        <a:pt x="122632" y="343840"/>
                      </a:lnTo>
                      <a:lnTo>
                        <a:pt x="124574" y="343840"/>
                      </a:lnTo>
                      <a:lnTo>
                        <a:pt x="126177" y="343609"/>
                      </a:lnTo>
                      <a:lnTo>
                        <a:pt x="127501" y="343002"/>
                      </a:lnTo>
                      <a:lnTo>
                        <a:pt x="129043" y="341629"/>
                      </a:lnTo>
                      <a:lnTo>
                        <a:pt x="130439" y="339383"/>
                      </a:lnTo>
                      <a:lnTo>
                        <a:pt x="130998" y="338970"/>
                      </a:lnTo>
                      <a:lnTo>
                        <a:pt x="132152" y="338521"/>
                      </a:lnTo>
                      <a:lnTo>
                        <a:pt x="134568" y="337999"/>
                      </a:lnTo>
                      <a:lnTo>
                        <a:pt x="138818" y="335704"/>
                      </a:lnTo>
                      <a:lnTo>
                        <a:pt x="140190" y="334672"/>
                      </a:lnTo>
                      <a:lnTo>
                        <a:pt x="141684" y="333979"/>
                      </a:lnTo>
                      <a:lnTo>
                        <a:pt x="143809" y="333724"/>
                      </a:lnTo>
                      <a:lnTo>
                        <a:pt x="146966" y="334271"/>
                      </a:lnTo>
                      <a:lnTo>
                        <a:pt x="149783" y="335352"/>
                      </a:lnTo>
                      <a:lnTo>
                        <a:pt x="151848" y="335728"/>
                      </a:lnTo>
                      <a:lnTo>
                        <a:pt x="153232" y="335582"/>
                      </a:lnTo>
                      <a:lnTo>
                        <a:pt x="154373" y="334574"/>
                      </a:lnTo>
                      <a:lnTo>
                        <a:pt x="154774" y="333882"/>
                      </a:lnTo>
                      <a:lnTo>
                        <a:pt x="154956" y="332971"/>
                      </a:lnTo>
                      <a:lnTo>
                        <a:pt x="154956" y="332049"/>
                      </a:lnTo>
                      <a:lnTo>
                        <a:pt x="153462" y="323804"/>
                      </a:lnTo>
                      <a:lnTo>
                        <a:pt x="152819" y="321557"/>
                      </a:lnTo>
                      <a:lnTo>
                        <a:pt x="152078" y="319857"/>
                      </a:lnTo>
                      <a:lnTo>
                        <a:pt x="150815" y="317428"/>
                      </a:lnTo>
                      <a:lnTo>
                        <a:pt x="150694" y="316906"/>
                      </a:lnTo>
                      <a:lnTo>
                        <a:pt x="150815" y="316178"/>
                      </a:lnTo>
                      <a:lnTo>
                        <a:pt x="151046" y="315643"/>
                      </a:lnTo>
                      <a:lnTo>
                        <a:pt x="152600" y="314806"/>
                      </a:lnTo>
                      <a:lnTo>
                        <a:pt x="161100" y="312280"/>
                      </a:lnTo>
                      <a:lnTo>
                        <a:pt x="163675" y="311187"/>
                      </a:lnTo>
                      <a:lnTo>
                        <a:pt x="165399" y="310216"/>
                      </a:lnTo>
                      <a:lnTo>
                        <a:pt x="166613" y="308552"/>
                      </a:lnTo>
                      <a:lnTo>
                        <a:pt x="167403" y="307653"/>
                      </a:lnTo>
                      <a:lnTo>
                        <a:pt x="170220" y="305334"/>
                      </a:lnTo>
                      <a:lnTo>
                        <a:pt x="170863" y="304156"/>
                      </a:lnTo>
                      <a:lnTo>
                        <a:pt x="172454" y="298304"/>
                      </a:lnTo>
                      <a:lnTo>
                        <a:pt x="173146" y="297696"/>
                      </a:lnTo>
                      <a:lnTo>
                        <a:pt x="174421" y="297502"/>
                      </a:lnTo>
                      <a:lnTo>
                        <a:pt x="179873" y="299445"/>
                      </a:lnTo>
                      <a:lnTo>
                        <a:pt x="188094" y="297988"/>
                      </a:lnTo>
                      <a:lnTo>
                        <a:pt x="189126" y="297891"/>
                      </a:lnTo>
                      <a:lnTo>
                        <a:pt x="190037" y="298388"/>
                      </a:lnTo>
                      <a:lnTo>
                        <a:pt x="190838" y="299845"/>
                      </a:lnTo>
                      <a:lnTo>
                        <a:pt x="191409" y="302031"/>
                      </a:lnTo>
                      <a:lnTo>
                        <a:pt x="192502" y="303695"/>
                      </a:lnTo>
                      <a:lnTo>
                        <a:pt x="194117" y="305043"/>
                      </a:lnTo>
                      <a:lnTo>
                        <a:pt x="197444" y="306512"/>
                      </a:lnTo>
                      <a:lnTo>
                        <a:pt x="198367" y="307265"/>
                      </a:lnTo>
                      <a:lnTo>
                        <a:pt x="198998" y="308236"/>
                      </a:lnTo>
                      <a:lnTo>
                        <a:pt x="200261" y="309876"/>
                      </a:lnTo>
                      <a:lnTo>
                        <a:pt x="202156" y="311600"/>
                      </a:lnTo>
                      <a:lnTo>
                        <a:pt x="205082" y="312693"/>
                      </a:lnTo>
                      <a:lnTo>
                        <a:pt x="207025" y="313725"/>
                      </a:lnTo>
                      <a:lnTo>
                        <a:pt x="208980" y="314247"/>
                      </a:lnTo>
                      <a:lnTo>
                        <a:pt x="211166" y="314369"/>
                      </a:lnTo>
                      <a:lnTo>
                        <a:pt x="216909" y="312608"/>
                      </a:lnTo>
                      <a:lnTo>
                        <a:pt x="225470" y="307763"/>
                      </a:lnTo>
                      <a:lnTo>
                        <a:pt x="225689" y="304691"/>
                      </a:lnTo>
                      <a:lnTo>
                        <a:pt x="225179" y="300975"/>
                      </a:lnTo>
                      <a:lnTo>
                        <a:pt x="225239" y="298947"/>
                      </a:lnTo>
                      <a:lnTo>
                        <a:pt x="226041" y="297781"/>
                      </a:lnTo>
                      <a:lnTo>
                        <a:pt x="227996" y="296761"/>
                      </a:lnTo>
                      <a:lnTo>
                        <a:pt x="237577" y="296603"/>
                      </a:lnTo>
                      <a:lnTo>
                        <a:pt x="240964" y="295887"/>
                      </a:lnTo>
                      <a:lnTo>
                        <a:pt x="243490" y="294794"/>
                      </a:lnTo>
                      <a:lnTo>
                        <a:pt x="247570" y="292353"/>
                      </a:lnTo>
                      <a:lnTo>
                        <a:pt x="249525" y="291868"/>
                      </a:lnTo>
                      <a:lnTo>
                        <a:pt x="259871" y="291783"/>
                      </a:lnTo>
                      <a:lnTo>
                        <a:pt x="261522" y="292293"/>
                      </a:lnTo>
                      <a:lnTo>
                        <a:pt x="262798" y="293240"/>
                      </a:lnTo>
                      <a:lnTo>
                        <a:pt x="263818" y="294588"/>
                      </a:lnTo>
                      <a:lnTo>
                        <a:pt x="265032" y="295802"/>
                      </a:lnTo>
                      <a:lnTo>
                        <a:pt x="266525" y="296264"/>
                      </a:lnTo>
                      <a:lnTo>
                        <a:pt x="268420" y="296009"/>
                      </a:lnTo>
                      <a:lnTo>
                        <a:pt x="275426" y="293361"/>
                      </a:lnTo>
                      <a:lnTo>
                        <a:pt x="277090" y="292329"/>
                      </a:lnTo>
                      <a:lnTo>
                        <a:pt x="278705" y="290945"/>
                      </a:lnTo>
                      <a:lnTo>
                        <a:pt x="279895" y="289488"/>
                      </a:lnTo>
                      <a:lnTo>
                        <a:pt x="281971" y="286561"/>
                      </a:lnTo>
                      <a:lnTo>
                        <a:pt x="282882" y="285930"/>
                      </a:lnTo>
                      <a:lnTo>
                        <a:pt x="283805" y="285991"/>
                      </a:lnTo>
                      <a:lnTo>
                        <a:pt x="285590" y="287071"/>
                      </a:lnTo>
                      <a:lnTo>
                        <a:pt x="290520" y="291491"/>
                      </a:lnTo>
                      <a:lnTo>
                        <a:pt x="293046" y="293082"/>
                      </a:lnTo>
                      <a:lnTo>
                        <a:pt x="295632" y="293774"/>
                      </a:lnTo>
                      <a:lnTo>
                        <a:pt x="297636" y="293313"/>
                      </a:lnTo>
                      <a:lnTo>
                        <a:pt x="298911" y="292098"/>
                      </a:lnTo>
                      <a:lnTo>
                        <a:pt x="299651" y="290690"/>
                      </a:lnTo>
                      <a:lnTo>
                        <a:pt x="300113" y="289026"/>
                      </a:lnTo>
                      <a:lnTo>
                        <a:pt x="300295" y="286901"/>
                      </a:lnTo>
                      <a:lnTo>
                        <a:pt x="300052" y="285201"/>
                      </a:lnTo>
                      <a:lnTo>
                        <a:pt x="299542" y="283283"/>
                      </a:lnTo>
                      <a:lnTo>
                        <a:pt x="296786" y="279385"/>
                      </a:lnTo>
                      <a:lnTo>
                        <a:pt x="296664" y="278559"/>
                      </a:lnTo>
                      <a:lnTo>
                        <a:pt x="297065" y="277053"/>
                      </a:lnTo>
                      <a:lnTo>
                        <a:pt x="297939" y="276082"/>
                      </a:lnTo>
                      <a:lnTo>
                        <a:pt x="300465" y="274382"/>
                      </a:lnTo>
                      <a:lnTo>
                        <a:pt x="301145" y="273265"/>
                      </a:lnTo>
                      <a:lnTo>
                        <a:pt x="301266" y="271225"/>
                      </a:lnTo>
                      <a:lnTo>
                        <a:pt x="300623" y="268869"/>
                      </a:lnTo>
                      <a:lnTo>
                        <a:pt x="298959" y="265833"/>
                      </a:lnTo>
                      <a:lnTo>
                        <a:pt x="297247" y="263915"/>
                      </a:lnTo>
                      <a:lnTo>
                        <a:pt x="295462" y="262360"/>
                      </a:lnTo>
                      <a:lnTo>
                        <a:pt x="294260" y="260697"/>
                      </a:lnTo>
                      <a:lnTo>
                        <a:pt x="293446" y="258341"/>
                      </a:lnTo>
                      <a:lnTo>
                        <a:pt x="293446" y="254297"/>
                      </a:lnTo>
                      <a:lnTo>
                        <a:pt x="294029" y="251650"/>
                      </a:lnTo>
                      <a:lnTo>
                        <a:pt x="294940" y="249671"/>
                      </a:lnTo>
                      <a:lnTo>
                        <a:pt x="295911" y="248008"/>
                      </a:lnTo>
                      <a:lnTo>
                        <a:pt x="296616" y="246222"/>
                      </a:lnTo>
                      <a:lnTo>
                        <a:pt x="296664" y="244364"/>
                      </a:lnTo>
                      <a:lnTo>
                        <a:pt x="296433" y="242069"/>
                      </a:lnTo>
                      <a:lnTo>
                        <a:pt x="295571" y="238767"/>
                      </a:lnTo>
                      <a:lnTo>
                        <a:pt x="294600" y="236605"/>
                      </a:lnTo>
                      <a:lnTo>
                        <a:pt x="292985" y="235063"/>
                      </a:lnTo>
                      <a:lnTo>
                        <a:pt x="290119" y="233667"/>
                      </a:lnTo>
                      <a:lnTo>
                        <a:pt x="289208" y="232683"/>
                      </a:lnTo>
                      <a:lnTo>
                        <a:pt x="288516" y="231007"/>
                      </a:lnTo>
                      <a:lnTo>
                        <a:pt x="287776" y="227243"/>
                      </a:lnTo>
                      <a:lnTo>
                        <a:pt x="286841" y="224147"/>
                      </a:lnTo>
                      <a:lnTo>
                        <a:pt x="283635" y="218063"/>
                      </a:lnTo>
                      <a:lnTo>
                        <a:pt x="283392" y="213522"/>
                      </a:lnTo>
                      <a:lnTo>
                        <a:pt x="285007" y="211688"/>
                      </a:lnTo>
                      <a:lnTo>
                        <a:pt x="287545" y="209854"/>
                      </a:lnTo>
                      <a:lnTo>
                        <a:pt x="288917" y="208531"/>
                      </a:lnTo>
                      <a:lnTo>
                        <a:pt x="290301" y="206588"/>
                      </a:lnTo>
                      <a:lnTo>
                        <a:pt x="292876" y="200868"/>
                      </a:lnTo>
                      <a:lnTo>
                        <a:pt x="293908" y="199011"/>
                      </a:lnTo>
                      <a:lnTo>
                        <a:pt x="294940" y="197638"/>
                      </a:lnTo>
                      <a:lnTo>
                        <a:pt x="296555" y="196716"/>
                      </a:lnTo>
                      <a:lnTo>
                        <a:pt x="298741" y="195963"/>
                      </a:lnTo>
                      <a:lnTo>
                        <a:pt x="300623" y="196691"/>
                      </a:lnTo>
                      <a:lnTo>
                        <a:pt x="303671" y="198525"/>
                      </a:lnTo>
                      <a:lnTo>
                        <a:pt x="305043" y="202544"/>
                      </a:lnTo>
                      <a:lnTo>
                        <a:pt x="307119" y="206588"/>
                      </a:lnTo>
                      <a:lnTo>
                        <a:pt x="312110" y="208421"/>
                      </a:lnTo>
                      <a:lnTo>
                        <a:pt x="316882" y="207936"/>
                      </a:lnTo>
                      <a:lnTo>
                        <a:pt x="318886" y="208446"/>
                      </a:lnTo>
                      <a:lnTo>
                        <a:pt x="321193" y="210401"/>
                      </a:lnTo>
                      <a:lnTo>
                        <a:pt x="322225" y="212331"/>
                      </a:lnTo>
                      <a:lnTo>
                        <a:pt x="323087" y="214335"/>
                      </a:lnTo>
                      <a:lnTo>
                        <a:pt x="324338" y="215889"/>
                      </a:lnTo>
                      <a:lnTo>
                        <a:pt x="326985" y="216339"/>
                      </a:lnTo>
                      <a:lnTo>
                        <a:pt x="329851" y="214189"/>
                      </a:lnTo>
                      <a:lnTo>
                        <a:pt x="332959" y="210352"/>
                      </a:lnTo>
                      <a:lnTo>
                        <a:pt x="335934" y="208191"/>
                      </a:lnTo>
                      <a:lnTo>
                        <a:pt x="338521" y="211057"/>
                      </a:lnTo>
                      <a:lnTo>
                        <a:pt x="343123" y="208348"/>
                      </a:lnTo>
                      <a:lnTo>
                        <a:pt x="344556" y="209150"/>
                      </a:lnTo>
                      <a:lnTo>
                        <a:pt x="346341" y="212477"/>
                      </a:lnTo>
                      <a:lnTo>
                        <a:pt x="347021" y="215464"/>
                      </a:lnTo>
                      <a:lnTo>
                        <a:pt x="347373" y="218415"/>
                      </a:lnTo>
                      <a:lnTo>
                        <a:pt x="348345" y="220686"/>
                      </a:lnTo>
                      <a:lnTo>
                        <a:pt x="350810" y="221609"/>
                      </a:lnTo>
                      <a:lnTo>
                        <a:pt x="352485" y="222726"/>
                      </a:lnTo>
                      <a:lnTo>
                        <a:pt x="353797" y="224802"/>
                      </a:lnTo>
                      <a:lnTo>
                        <a:pt x="355594" y="225773"/>
                      </a:lnTo>
                      <a:lnTo>
                        <a:pt x="358569" y="223697"/>
                      </a:lnTo>
                      <a:lnTo>
                        <a:pt x="360645" y="222556"/>
                      </a:lnTo>
                      <a:lnTo>
                        <a:pt x="366899" y="221269"/>
                      </a:lnTo>
                      <a:lnTo>
                        <a:pt x="369364" y="220406"/>
                      </a:lnTo>
                      <a:lnTo>
                        <a:pt x="371489" y="221815"/>
                      </a:lnTo>
                      <a:lnTo>
                        <a:pt x="372752" y="221924"/>
                      </a:lnTo>
                      <a:lnTo>
                        <a:pt x="375108" y="221232"/>
                      </a:lnTo>
                      <a:lnTo>
                        <a:pt x="379005" y="219629"/>
                      </a:lnTo>
                      <a:lnTo>
                        <a:pt x="385271" y="215756"/>
                      </a:lnTo>
                      <a:lnTo>
                        <a:pt x="388659" y="214954"/>
                      </a:lnTo>
                      <a:lnTo>
                        <a:pt x="391355" y="215076"/>
                      </a:lnTo>
                      <a:lnTo>
                        <a:pt x="394973" y="217055"/>
                      </a:lnTo>
                      <a:lnTo>
                        <a:pt x="396868" y="217079"/>
                      </a:lnTo>
                      <a:lnTo>
                        <a:pt x="398701" y="216448"/>
                      </a:lnTo>
                      <a:lnTo>
                        <a:pt x="402041" y="214468"/>
                      </a:lnTo>
                      <a:lnTo>
                        <a:pt x="404676" y="213813"/>
                      </a:lnTo>
                      <a:lnTo>
                        <a:pt x="406971" y="213594"/>
                      </a:lnTo>
                      <a:lnTo>
                        <a:pt x="408756" y="213995"/>
                      </a:lnTo>
                      <a:lnTo>
                        <a:pt x="410359" y="214821"/>
                      </a:lnTo>
                      <a:lnTo>
                        <a:pt x="413516" y="217808"/>
                      </a:lnTo>
                      <a:lnTo>
                        <a:pt x="415349" y="219095"/>
                      </a:lnTo>
                      <a:lnTo>
                        <a:pt x="417316" y="219617"/>
                      </a:lnTo>
                      <a:lnTo>
                        <a:pt x="422137" y="219532"/>
                      </a:lnTo>
                      <a:lnTo>
                        <a:pt x="424481" y="219836"/>
                      </a:lnTo>
                      <a:lnTo>
                        <a:pt x="429593" y="221050"/>
                      </a:lnTo>
                      <a:lnTo>
                        <a:pt x="432009" y="220734"/>
                      </a:lnTo>
                      <a:lnTo>
                        <a:pt x="433843" y="219726"/>
                      </a:lnTo>
                      <a:lnTo>
                        <a:pt x="437862" y="216861"/>
                      </a:lnTo>
                      <a:lnTo>
                        <a:pt x="438846" y="215549"/>
                      </a:lnTo>
                      <a:lnTo>
                        <a:pt x="438445" y="213424"/>
                      </a:lnTo>
                      <a:lnTo>
                        <a:pt x="436891" y="211748"/>
                      </a:lnTo>
                      <a:lnTo>
                        <a:pt x="432702" y="208859"/>
                      </a:lnTo>
                      <a:lnTo>
                        <a:pt x="431499" y="206843"/>
                      </a:lnTo>
                      <a:lnTo>
                        <a:pt x="430637" y="202593"/>
                      </a:lnTo>
                      <a:lnTo>
                        <a:pt x="429945" y="200917"/>
                      </a:lnTo>
                      <a:lnTo>
                        <a:pt x="427820" y="199035"/>
                      </a:lnTo>
                      <a:lnTo>
                        <a:pt x="426849" y="197165"/>
                      </a:lnTo>
                      <a:lnTo>
                        <a:pt x="427189" y="194554"/>
                      </a:lnTo>
                      <a:lnTo>
                        <a:pt x="429022" y="191944"/>
                      </a:lnTo>
                      <a:lnTo>
                        <a:pt x="430637" y="190389"/>
                      </a:lnTo>
                      <a:lnTo>
                        <a:pt x="431329" y="189102"/>
                      </a:lnTo>
                      <a:lnTo>
                        <a:pt x="431087" y="187706"/>
                      </a:lnTo>
                      <a:lnTo>
                        <a:pt x="429836" y="185520"/>
                      </a:lnTo>
                      <a:lnTo>
                        <a:pt x="429836" y="184731"/>
                      </a:lnTo>
                      <a:lnTo>
                        <a:pt x="430576" y="182156"/>
                      </a:lnTo>
                      <a:lnTo>
                        <a:pt x="430747" y="180517"/>
                      </a:lnTo>
                      <a:lnTo>
                        <a:pt x="430637" y="178914"/>
                      </a:lnTo>
                      <a:lnTo>
                        <a:pt x="429714" y="177360"/>
                      </a:lnTo>
                      <a:lnTo>
                        <a:pt x="427067" y="174203"/>
                      </a:lnTo>
                      <a:lnTo>
                        <a:pt x="425926" y="172576"/>
                      </a:lnTo>
                      <a:lnTo>
                        <a:pt x="426266" y="170888"/>
                      </a:lnTo>
                      <a:lnTo>
                        <a:pt x="427941" y="169333"/>
                      </a:lnTo>
                      <a:lnTo>
                        <a:pt x="440789" y="165666"/>
                      </a:lnTo>
                      <a:lnTo>
                        <a:pt x="444468" y="162363"/>
                      </a:lnTo>
                      <a:lnTo>
                        <a:pt x="445051" y="160238"/>
                      </a:lnTo>
                      <a:lnTo>
                        <a:pt x="445622" y="158975"/>
                      </a:lnTo>
                      <a:lnTo>
                        <a:pt x="446593" y="157664"/>
                      </a:lnTo>
                      <a:lnTo>
                        <a:pt x="448439" y="156571"/>
                      </a:lnTo>
                      <a:lnTo>
                        <a:pt x="452689" y="154907"/>
                      </a:lnTo>
                      <a:lnTo>
                        <a:pt x="454122" y="153851"/>
                      </a:lnTo>
                      <a:lnTo>
                        <a:pt x="454972" y="152528"/>
                      </a:lnTo>
                      <a:lnTo>
                        <a:pt x="455093" y="151034"/>
                      </a:lnTo>
                      <a:lnTo>
                        <a:pt x="454911" y="149771"/>
                      </a:lnTo>
                      <a:lnTo>
                        <a:pt x="454862" y="148374"/>
                      </a:lnTo>
                      <a:lnTo>
                        <a:pt x="455555" y="147221"/>
                      </a:lnTo>
                      <a:lnTo>
                        <a:pt x="456987" y="146334"/>
                      </a:lnTo>
                      <a:lnTo>
                        <a:pt x="459331" y="145642"/>
                      </a:lnTo>
                      <a:lnTo>
                        <a:pt x="460727" y="144865"/>
                      </a:lnTo>
                      <a:lnTo>
                        <a:pt x="461577" y="144003"/>
                      </a:lnTo>
                      <a:lnTo>
                        <a:pt x="462901" y="140591"/>
                      </a:lnTo>
                      <a:lnTo>
                        <a:pt x="463715" y="139353"/>
                      </a:lnTo>
                      <a:lnTo>
                        <a:pt x="465548" y="138563"/>
                      </a:lnTo>
                      <a:lnTo>
                        <a:pt x="467783" y="138794"/>
                      </a:lnTo>
                      <a:lnTo>
                        <a:pt x="471292" y="140627"/>
                      </a:lnTo>
                      <a:lnTo>
                        <a:pt x="474558" y="140482"/>
                      </a:lnTo>
                      <a:lnTo>
                        <a:pt x="476914" y="139935"/>
                      </a:lnTo>
                      <a:lnTo>
                        <a:pt x="478687" y="139789"/>
                      </a:lnTo>
                      <a:lnTo>
                        <a:pt x="480363" y="140797"/>
                      </a:lnTo>
                      <a:lnTo>
                        <a:pt x="483168" y="144744"/>
                      </a:lnTo>
                      <a:lnTo>
                        <a:pt x="484831" y="146420"/>
                      </a:lnTo>
                      <a:lnTo>
                        <a:pt x="487248" y="147889"/>
                      </a:lnTo>
                      <a:lnTo>
                        <a:pt x="491437" y="151556"/>
                      </a:lnTo>
                      <a:lnTo>
                        <a:pt x="494315" y="152139"/>
                      </a:lnTo>
                      <a:lnTo>
                        <a:pt x="496500" y="142801"/>
                      </a:lnTo>
                      <a:lnTo>
                        <a:pt x="498103" y="138600"/>
                      </a:lnTo>
                      <a:lnTo>
                        <a:pt x="499816" y="135625"/>
                      </a:lnTo>
                      <a:lnTo>
                        <a:pt x="501613" y="134179"/>
                      </a:lnTo>
                      <a:lnTo>
                        <a:pt x="505231" y="132516"/>
                      </a:lnTo>
                      <a:lnTo>
                        <a:pt x="507065" y="131459"/>
                      </a:lnTo>
                      <a:lnTo>
                        <a:pt x="508498" y="130221"/>
                      </a:lnTo>
                      <a:lnTo>
                        <a:pt x="509251" y="129092"/>
                      </a:lnTo>
                      <a:lnTo>
                        <a:pt x="509469" y="127258"/>
                      </a:lnTo>
                      <a:lnTo>
                        <a:pt x="509068" y="124587"/>
                      </a:lnTo>
                      <a:lnTo>
                        <a:pt x="506773" y="119195"/>
                      </a:lnTo>
                      <a:lnTo>
                        <a:pt x="506482" y="115054"/>
                      </a:lnTo>
                      <a:lnTo>
                        <a:pt x="508947" y="114569"/>
                      </a:lnTo>
                      <a:lnTo>
                        <a:pt x="510441" y="114629"/>
                      </a:lnTo>
                      <a:lnTo>
                        <a:pt x="512177" y="114897"/>
                      </a:lnTo>
                      <a:lnTo>
                        <a:pt x="522328" y="117750"/>
                      </a:lnTo>
                      <a:lnTo>
                        <a:pt x="524927" y="117774"/>
                      </a:lnTo>
                      <a:lnTo>
                        <a:pt x="527210" y="116536"/>
                      </a:lnTo>
                      <a:lnTo>
                        <a:pt x="529396" y="114010"/>
                      </a:lnTo>
                      <a:lnTo>
                        <a:pt x="532104" y="108230"/>
                      </a:lnTo>
                      <a:lnTo>
                        <a:pt x="533136" y="104089"/>
                      </a:lnTo>
                      <a:lnTo>
                        <a:pt x="533536" y="100301"/>
                      </a:lnTo>
                      <a:lnTo>
                        <a:pt x="532893" y="94824"/>
                      </a:lnTo>
                      <a:lnTo>
                        <a:pt x="532893" y="91776"/>
                      </a:lnTo>
                      <a:lnTo>
                        <a:pt x="533245" y="89676"/>
                      </a:lnTo>
                      <a:lnTo>
                        <a:pt x="535601" y="79949"/>
                      </a:lnTo>
                      <a:lnTo>
                        <a:pt x="535819" y="77326"/>
                      </a:lnTo>
                      <a:lnTo>
                        <a:pt x="535819" y="74910"/>
                      </a:lnTo>
                      <a:lnTo>
                        <a:pt x="534969" y="67393"/>
                      </a:lnTo>
                      <a:lnTo>
                        <a:pt x="536342" y="64965"/>
                      </a:lnTo>
                      <a:lnTo>
                        <a:pt x="539049" y="62888"/>
                      </a:lnTo>
                      <a:lnTo>
                        <a:pt x="545582" y="60508"/>
                      </a:lnTo>
                      <a:lnTo>
                        <a:pt x="549492" y="60083"/>
                      </a:lnTo>
                      <a:lnTo>
                        <a:pt x="554604" y="60909"/>
                      </a:lnTo>
                      <a:lnTo>
                        <a:pt x="556159" y="60824"/>
                      </a:lnTo>
                      <a:lnTo>
                        <a:pt x="557992" y="60071"/>
                      </a:lnTo>
                      <a:lnTo>
                        <a:pt x="560287" y="58808"/>
                      </a:lnTo>
                      <a:lnTo>
                        <a:pt x="562473" y="58177"/>
                      </a:lnTo>
                      <a:lnTo>
                        <a:pt x="564428" y="58116"/>
                      </a:lnTo>
                      <a:lnTo>
                        <a:pt x="568107" y="58711"/>
                      </a:lnTo>
                      <a:lnTo>
                        <a:pt x="570111" y="58298"/>
                      </a:lnTo>
                      <a:lnTo>
                        <a:pt x="571544" y="57181"/>
                      </a:lnTo>
                      <a:lnTo>
                        <a:pt x="572345" y="54934"/>
                      </a:lnTo>
                      <a:lnTo>
                        <a:pt x="572685" y="52894"/>
                      </a:lnTo>
                      <a:lnTo>
                        <a:pt x="573378" y="50709"/>
                      </a:lnTo>
                      <a:lnTo>
                        <a:pt x="574689" y="48669"/>
                      </a:lnTo>
                      <a:lnTo>
                        <a:pt x="577178" y="46167"/>
                      </a:lnTo>
                      <a:lnTo>
                        <a:pt x="588253" y="37789"/>
                      </a:lnTo>
                      <a:lnTo>
                        <a:pt x="593316" y="35664"/>
                      </a:lnTo>
                      <a:lnTo>
                        <a:pt x="595150" y="35263"/>
                      </a:lnTo>
                      <a:lnTo>
                        <a:pt x="596570" y="34547"/>
                      </a:lnTo>
                      <a:lnTo>
                        <a:pt x="597724" y="32932"/>
                      </a:lnTo>
                      <a:lnTo>
                        <a:pt x="598428" y="30661"/>
                      </a:lnTo>
                      <a:lnTo>
                        <a:pt x="598526" y="26350"/>
                      </a:lnTo>
                      <a:lnTo>
                        <a:pt x="597493" y="20643"/>
                      </a:lnTo>
                      <a:lnTo>
                        <a:pt x="598003" y="17935"/>
                      </a:lnTo>
                      <a:lnTo>
                        <a:pt x="598695" y="15749"/>
                      </a:lnTo>
                      <a:lnTo>
                        <a:pt x="604731" y="7541"/>
                      </a:lnTo>
                      <a:lnTo>
                        <a:pt x="607900" y="6254"/>
                      </a:lnTo>
                      <a:lnTo>
                        <a:pt x="609612" y="6096"/>
                      </a:lnTo>
                      <a:moveTo>
                        <a:pt x="609357" y="0"/>
                      </a:moveTo>
                      <a:lnTo>
                        <a:pt x="608774" y="85"/>
                      </a:lnTo>
                      <a:lnTo>
                        <a:pt x="607062" y="328"/>
                      </a:lnTo>
                      <a:lnTo>
                        <a:pt x="606309" y="437"/>
                      </a:lnTo>
                      <a:lnTo>
                        <a:pt x="605605" y="716"/>
                      </a:lnTo>
                      <a:lnTo>
                        <a:pt x="602435" y="2004"/>
                      </a:lnTo>
                      <a:lnTo>
                        <a:pt x="600845" y="2647"/>
                      </a:lnTo>
                      <a:lnTo>
                        <a:pt x="599837" y="4031"/>
                      </a:lnTo>
                      <a:lnTo>
                        <a:pt x="593802" y="12240"/>
                      </a:lnTo>
                      <a:lnTo>
                        <a:pt x="593207" y="13042"/>
                      </a:lnTo>
                      <a:lnTo>
                        <a:pt x="592903" y="14001"/>
                      </a:lnTo>
                      <a:lnTo>
                        <a:pt x="592211" y="16187"/>
                      </a:lnTo>
                      <a:lnTo>
                        <a:pt x="592102" y="16526"/>
                      </a:lnTo>
                      <a:lnTo>
                        <a:pt x="592041" y="16879"/>
                      </a:lnTo>
                      <a:lnTo>
                        <a:pt x="591531" y="19587"/>
                      </a:lnTo>
                      <a:lnTo>
                        <a:pt x="591325" y="20692"/>
                      </a:lnTo>
                      <a:lnTo>
                        <a:pt x="591519" y="21797"/>
                      </a:lnTo>
                      <a:lnTo>
                        <a:pt x="592442" y="26897"/>
                      </a:lnTo>
                      <a:lnTo>
                        <a:pt x="592381" y="29714"/>
                      </a:lnTo>
                      <a:lnTo>
                        <a:pt x="592017" y="29799"/>
                      </a:lnTo>
                      <a:lnTo>
                        <a:pt x="591483" y="29920"/>
                      </a:lnTo>
                      <a:lnTo>
                        <a:pt x="590973" y="30139"/>
                      </a:lnTo>
                      <a:lnTo>
                        <a:pt x="585909" y="32264"/>
                      </a:lnTo>
                      <a:lnTo>
                        <a:pt x="585205" y="32555"/>
                      </a:lnTo>
                      <a:lnTo>
                        <a:pt x="584598" y="33017"/>
                      </a:lnTo>
                      <a:lnTo>
                        <a:pt x="573523" y="41395"/>
                      </a:lnTo>
                      <a:lnTo>
                        <a:pt x="573183" y="41650"/>
                      </a:lnTo>
                      <a:lnTo>
                        <a:pt x="572880" y="41954"/>
                      </a:lnTo>
                      <a:lnTo>
                        <a:pt x="570390" y="44455"/>
                      </a:lnTo>
                      <a:lnTo>
                        <a:pt x="569929" y="44905"/>
                      </a:lnTo>
                      <a:lnTo>
                        <a:pt x="569577" y="45451"/>
                      </a:lnTo>
                      <a:lnTo>
                        <a:pt x="568265" y="47491"/>
                      </a:lnTo>
                      <a:lnTo>
                        <a:pt x="567828" y="48183"/>
                      </a:lnTo>
                      <a:lnTo>
                        <a:pt x="567573" y="48948"/>
                      </a:lnTo>
                      <a:lnTo>
                        <a:pt x="566881" y="51134"/>
                      </a:lnTo>
                      <a:lnTo>
                        <a:pt x="566759" y="51534"/>
                      </a:lnTo>
                      <a:lnTo>
                        <a:pt x="566687" y="51948"/>
                      </a:lnTo>
                      <a:lnTo>
                        <a:pt x="566614" y="52372"/>
                      </a:lnTo>
                      <a:lnTo>
                        <a:pt x="565375" y="52178"/>
                      </a:lnTo>
                      <a:lnTo>
                        <a:pt x="564805" y="52081"/>
                      </a:lnTo>
                      <a:lnTo>
                        <a:pt x="564222" y="52093"/>
                      </a:lnTo>
                      <a:lnTo>
                        <a:pt x="562267" y="52154"/>
                      </a:lnTo>
                      <a:lnTo>
                        <a:pt x="561502" y="52178"/>
                      </a:lnTo>
                      <a:lnTo>
                        <a:pt x="560773" y="52397"/>
                      </a:lnTo>
                      <a:lnTo>
                        <a:pt x="558587" y="53028"/>
                      </a:lnTo>
                      <a:lnTo>
                        <a:pt x="557932" y="53222"/>
                      </a:lnTo>
                      <a:lnTo>
                        <a:pt x="557337" y="53550"/>
                      </a:lnTo>
                      <a:lnTo>
                        <a:pt x="555345" y="54643"/>
                      </a:lnTo>
                      <a:lnTo>
                        <a:pt x="554835" y="54862"/>
                      </a:lnTo>
                      <a:lnTo>
                        <a:pt x="550439" y="54146"/>
                      </a:lnTo>
                      <a:lnTo>
                        <a:pt x="549626" y="54000"/>
                      </a:lnTo>
                      <a:lnTo>
                        <a:pt x="548812" y="54097"/>
                      </a:lnTo>
                      <a:lnTo>
                        <a:pt x="544902" y="54522"/>
                      </a:lnTo>
                      <a:lnTo>
                        <a:pt x="544162" y="54607"/>
                      </a:lnTo>
                      <a:lnTo>
                        <a:pt x="543469" y="54862"/>
                      </a:lnTo>
                      <a:lnTo>
                        <a:pt x="536936" y="57242"/>
                      </a:lnTo>
                      <a:lnTo>
                        <a:pt x="536062" y="57557"/>
                      </a:lnTo>
                      <a:lnTo>
                        <a:pt x="535322" y="58128"/>
                      </a:lnTo>
                      <a:lnTo>
                        <a:pt x="532614" y="60205"/>
                      </a:lnTo>
                      <a:lnTo>
                        <a:pt x="531630" y="60957"/>
                      </a:lnTo>
                      <a:lnTo>
                        <a:pt x="531023" y="62038"/>
                      </a:lnTo>
                      <a:lnTo>
                        <a:pt x="529651" y="64467"/>
                      </a:lnTo>
                      <a:lnTo>
                        <a:pt x="528679" y="66191"/>
                      </a:lnTo>
                      <a:lnTo>
                        <a:pt x="528910" y="68146"/>
                      </a:lnTo>
                      <a:lnTo>
                        <a:pt x="529724" y="75323"/>
                      </a:lnTo>
                      <a:lnTo>
                        <a:pt x="529724" y="77399"/>
                      </a:lnTo>
                      <a:lnTo>
                        <a:pt x="529566" y="79014"/>
                      </a:lnTo>
                      <a:lnTo>
                        <a:pt x="527319" y="88328"/>
                      </a:lnTo>
                      <a:lnTo>
                        <a:pt x="526870" y="90829"/>
                      </a:lnTo>
                      <a:lnTo>
                        <a:pt x="526785" y="91339"/>
                      </a:lnTo>
                      <a:lnTo>
                        <a:pt x="526785" y="91849"/>
                      </a:lnTo>
                      <a:lnTo>
                        <a:pt x="526785" y="94897"/>
                      </a:lnTo>
                      <a:lnTo>
                        <a:pt x="526785" y="95249"/>
                      </a:lnTo>
                      <a:lnTo>
                        <a:pt x="526822" y="95601"/>
                      </a:lnTo>
                      <a:lnTo>
                        <a:pt x="527392" y="100410"/>
                      </a:lnTo>
                      <a:lnTo>
                        <a:pt x="527101" y="103106"/>
                      </a:lnTo>
                      <a:lnTo>
                        <a:pt x="526324" y="106263"/>
                      </a:lnTo>
                      <a:lnTo>
                        <a:pt x="524223" y="110744"/>
                      </a:lnTo>
                      <a:lnTo>
                        <a:pt x="523348" y="111751"/>
                      </a:lnTo>
                      <a:lnTo>
                        <a:pt x="523166" y="111751"/>
                      </a:lnTo>
                      <a:lnTo>
                        <a:pt x="513792" y="109104"/>
                      </a:lnTo>
                      <a:lnTo>
                        <a:pt x="513452" y="109007"/>
                      </a:lnTo>
                      <a:lnTo>
                        <a:pt x="513100" y="108947"/>
                      </a:lnTo>
                      <a:lnTo>
                        <a:pt x="511363" y="108679"/>
                      </a:lnTo>
                      <a:lnTo>
                        <a:pt x="511011" y="108631"/>
                      </a:lnTo>
                      <a:lnTo>
                        <a:pt x="510659" y="108606"/>
                      </a:lnTo>
                      <a:lnTo>
                        <a:pt x="509166" y="108546"/>
                      </a:lnTo>
                      <a:lnTo>
                        <a:pt x="508449" y="108522"/>
                      </a:lnTo>
                      <a:lnTo>
                        <a:pt x="507745" y="108667"/>
                      </a:lnTo>
                      <a:lnTo>
                        <a:pt x="505280" y="109153"/>
                      </a:lnTo>
                      <a:lnTo>
                        <a:pt x="500022" y="110185"/>
                      </a:lnTo>
                      <a:lnTo>
                        <a:pt x="500398" y="115528"/>
                      </a:lnTo>
                      <a:lnTo>
                        <a:pt x="500678" y="119669"/>
                      </a:lnTo>
                      <a:lnTo>
                        <a:pt x="500751" y="120676"/>
                      </a:lnTo>
                      <a:lnTo>
                        <a:pt x="501151" y="121612"/>
                      </a:lnTo>
                      <a:lnTo>
                        <a:pt x="503143" y="126311"/>
                      </a:lnTo>
                      <a:lnTo>
                        <a:pt x="503203" y="126699"/>
                      </a:lnTo>
                      <a:lnTo>
                        <a:pt x="502171" y="127294"/>
                      </a:lnTo>
                      <a:lnTo>
                        <a:pt x="499051" y="128703"/>
                      </a:lnTo>
                      <a:lnTo>
                        <a:pt x="498371" y="129006"/>
                      </a:lnTo>
                      <a:lnTo>
                        <a:pt x="497788" y="129480"/>
                      </a:lnTo>
                      <a:lnTo>
                        <a:pt x="495991" y="130925"/>
                      </a:lnTo>
                      <a:lnTo>
                        <a:pt x="495092" y="131642"/>
                      </a:lnTo>
                      <a:lnTo>
                        <a:pt x="494521" y="132637"/>
                      </a:lnTo>
                      <a:lnTo>
                        <a:pt x="492809" y="135612"/>
                      </a:lnTo>
                      <a:lnTo>
                        <a:pt x="492566" y="136025"/>
                      </a:lnTo>
                      <a:lnTo>
                        <a:pt x="492396" y="136462"/>
                      </a:lnTo>
                      <a:lnTo>
                        <a:pt x="490793" y="140664"/>
                      </a:lnTo>
                      <a:lnTo>
                        <a:pt x="490648" y="141052"/>
                      </a:lnTo>
                      <a:lnTo>
                        <a:pt x="490551" y="141441"/>
                      </a:lnTo>
                      <a:lnTo>
                        <a:pt x="490271" y="142667"/>
                      </a:lnTo>
                      <a:lnTo>
                        <a:pt x="488583" y="141647"/>
                      </a:lnTo>
                      <a:lnTo>
                        <a:pt x="487794" y="140858"/>
                      </a:lnTo>
                      <a:lnTo>
                        <a:pt x="485280" y="137324"/>
                      </a:lnTo>
                      <a:lnTo>
                        <a:pt x="484540" y="136280"/>
                      </a:lnTo>
                      <a:lnTo>
                        <a:pt x="483447" y="135625"/>
                      </a:lnTo>
                      <a:lnTo>
                        <a:pt x="481771" y="134617"/>
                      </a:lnTo>
                      <a:lnTo>
                        <a:pt x="480108" y="133609"/>
                      </a:lnTo>
                      <a:lnTo>
                        <a:pt x="478165" y="133779"/>
                      </a:lnTo>
                      <a:lnTo>
                        <a:pt x="476392" y="133924"/>
                      </a:lnTo>
                      <a:lnTo>
                        <a:pt x="475943" y="133961"/>
                      </a:lnTo>
                      <a:lnTo>
                        <a:pt x="475505" y="134058"/>
                      </a:lnTo>
                      <a:lnTo>
                        <a:pt x="473696" y="134483"/>
                      </a:lnTo>
                      <a:lnTo>
                        <a:pt x="472627" y="134520"/>
                      </a:lnTo>
                      <a:lnTo>
                        <a:pt x="470563" y="133439"/>
                      </a:lnTo>
                      <a:lnTo>
                        <a:pt x="469531" y="132905"/>
                      </a:lnTo>
                      <a:lnTo>
                        <a:pt x="468365" y="132783"/>
                      </a:lnTo>
                      <a:lnTo>
                        <a:pt x="466131" y="132553"/>
                      </a:lnTo>
                      <a:lnTo>
                        <a:pt x="464552" y="132382"/>
                      </a:lnTo>
                      <a:lnTo>
                        <a:pt x="463107" y="133014"/>
                      </a:lnTo>
                      <a:lnTo>
                        <a:pt x="461274" y="133803"/>
                      </a:lnTo>
                      <a:lnTo>
                        <a:pt x="459610" y="134532"/>
                      </a:lnTo>
                      <a:lnTo>
                        <a:pt x="458615" y="136037"/>
                      </a:lnTo>
                      <a:lnTo>
                        <a:pt x="457801" y="137276"/>
                      </a:lnTo>
                      <a:lnTo>
                        <a:pt x="457449" y="137822"/>
                      </a:lnTo>
                      <a:lnTo>
                        <a:pt x="457218" y="138417"/>
                      </a:lnTo>
                      <a:lnTo>
                        <a:pt x="456538" y="140178"/>
                      </a:lnTo>
                      <a:lnTo>
                        <a:pt x="455251" y="140555"/>
                      </a:lnTo>
                      <a:lnTo>
                        <a:pt x="454462" y="140785"/>
                      </a:lnTo>
                      <a:lnTo>
                        <a:pt x="453757" y="141222"/>
                      </a:lnTo>
                      <a:lnTo>
                        <a:pt x="452324" y="142109"/>
                      </a:lnTo>
                      <a:lnTo>
                        <a:pt x="451086" y="142874"/>
                      </a:lnTo>
                      <a:lnTo>
                        <a:pt x="450333" y="144137"/>
                      </a:lnTo>
                      <a:lnTo>
                        <a:pt x="449641" y="145290"/>
                      </a:lnTo>
                      <a:lnTo>
                        <a:pt x="448706" y="146833"/>
                      </a:lnTo>
                      <a:lnTo>
                        <a:pt x="448767" y="148618"/>
                      </a:lnTo>
                      <a:lnTo>
                        <a:pt x="448803" y="149941"/>
                      </a:lnTo>
                      <a:lnTo>
                        <a:pt x="446192" y="150961"/>
                      </a:lnTo>
                      <a:lnTo>
                        <a:pt x="445731" y="151143"/>
                      </a:lnTo>
                      <a:lnTo>
                        <a:pt x="445306" y="151398"/>
                      </a:lnTo>
                      <a:lnTo>
                        <a:pt x="443460" y="152491"/>
                      </a:lnTo>
                      <a:lnTo>
                        <a:pt x="442404" y="153123"/>
                      </a:lnTo>
                      <a:lnTo>
                        <a:pt x="441663" y="154118"/>
                      </a:lnTo>
                      <a:lnTo>
                        <a:pt x="440692" y="155429"/>
                      </a:lnTo>
                      <a:lnTo>
                        <a:pt x="440303" y="155952"/>
                      </a:lnTo>
                      <a:lnTo>
                        <a:pt x="440036" y="156547"/>
                      </a:lnTo>
                      <a:lnTo>
                        <a:pt x="439465" y="157810"/>
                      </a:lnTo>
                      <a:lnTo>
                        <a:pt x="439271" y="158247"/>
                      </a:lnTo>
                      <a:lnTo>
                        <a:pt x="439149" y="158696"/>
                      </a:lnTo>
                      <a:lnTo>
                        <a:pt x="439040" y="159097"/>
                      </a:lnTo>
                      <a:lnTo>
                        <a:pt x="437729" y="160275"/>
                      </a:lnTo>
                      <a:lnTo>
                        <a:pt x="426229" y="163565"/>
                      </a:lnTo>
                      <a:lnTo>
                        <a:pt x="424833" y="163954"/>
                      </a:lnTo>
                      <a:lnTo>
                        <a:pt x="423813" y="164925"/>
                      </a:lnTo>
                      <a:lnTo>
                        <a:pt x="422137" y="166480"/>
                      </a:lnTo>
                      <a:lnTo>
                        <a:pt x="420704" y="167803"/>
                      </a:lnTo>
                      <a:lnTo>
                        <a:pt x="420316" y="169710"/>
                      </a:lnTo>
                      <a:lnTo>
                        <a:pt x="419976" y="171397"/>
                      </a:lnTo>
                      <a:lnTo>
                        <a:pt x="419454" y="173960"/>
                      </a:lnTo>
                      <a:lnTo>
                        <a:pt x="420971" y="176109"/>
                      </a:lnTo>
                      <a:lnTo>
                        <a:pt x="422113" y="177736"/>
                      </a:lnTo>
                      <a:lnTo>
                        <a:pt x="424626" y="180772"/>
                      </a:lnTo>
                      <a:lnTo>
                        <a:pt x="424602" y="181027"/>
                      </a:lnTo>
                      <a:lnTo>
                        <a:pt x="424007" y="183079"/>
                      </a:lnTo>
                      <a:lnTo>
                        <a:pt x="423764" y="183905"/>
                      </a:lnTo>
                      <a:lnTo>
                        <a:pt x="423764" y="184755"/>
                      </a:lnTo>
                      <a:lnTo>
                        <a:pt x="423764" y="185544"/>
                      </a:lnTo>
                      <a:lnTo>
                        <a:pt x="423764" y="187159"/>
                      </a:lnTo>
                      <a:lnTo>
                        <a:pt x="424311" y="188118"/>
                      </a:lnTo>
                      <a:lnTo>
                        <a:pt x="424056" y="188470"/>
                      </a:lnTo>
                      <a:lnTo>
                        <a:pt x="422222" y="191081"/>
                      </a:lnTo>
                      <a:lnTo>
                        <a:pt x="421360" y="192320"/>
                      </a:lnTo>
                      <a:lnTo>
                        <a:pt x="421166" y="193801"/>
                      </a:lnTo>
                      <a:lnTo>
                        <a:pt x="420826" y="196412"/>
                      </a:lnTo>
                      <a:lnTo>
                        <a:pt x="420583" y="198294"/>
                      </a:lnTo>
                      <a:lnTo>
                        <a:pt x="421457" y="199994"/>
                      </a:lnTo>
                      <a:lnTo>
                        <a:pt x="422429" y="201864"/>
                      </a:lnTo>
                      <a:lnTo>
                        <a:pt x="422939" y="202860"/>
                      </a:lnTo>
                      <a:lnTo>
                        <a:pt x="423776" y="203613"/>
                      </a:lnTo>
                      <a:lnTo>
                        <a:pt x="424809" y="204536"/>
                      </a:lnTo>
                      <a:lnTo>
                        <a:pt x="425525" y="208081"/>
                      </a:lnTo>
                      <a:lnTo>
                        <a:pt x="425731" y="209089"/>
                      </a:lnTo>
                      <a:lnTo>
                        <a:pt x="426266" y="209976"/>
                      </a:lnTo>
                      <a:lnTo>
                        <a:pt x="427468" y="211992"/>
                      </a:lnTo>
                      <a:lnTo>
                        <a:pt x="428148" y="213133"/>
                      </a:lnTo>
                      <a:lnTo>
                        <a:pt x="429229" y="213886"/>
                      </a:lnTo>
                      <a:lnTo>
                        <a:pt x="430419" y="214712"/>
                      </a:lnTo>
                      <a:lnTo>
                        <a:pt x="430066" y="214906"/>
                      </a:lnTo>
                      <a:lnTo>
                        <a:pt x="429884" y="214930"/>
                      </a:lnTo>
                      <a:lnTo>
                        <a:pt x="425865" y="213983"/>
                      </a:lnTo>
                      <a:lnTo>
                        <a:pt x="425561" y="213910"/>
                      </a:lnTo>
                      <a:lnTo>
                        <a:pt x="425258" y="213861"/>
                      </a:lnTo>
                      <a:lnTo>
                        <a:pt x="422914" y="213558"/>
                      </a:lnTo>
                      <a:lnTo>
                        <a:pt x="422465" y="213497"/>
                      </a:lnTo>
                      <a:lnTo>
                        <a:pt x="422028" y="213497"/>
                      </a:lnTo>
                      <a:lnTo>
                        <a:pt x="418057" y="213570"/>
                      </a:lnTo>
                      <a:lnTo>
                        <a:pt x="417960" y="213546"/>
                      </a:lnTo>
                      <a:lnTo>
                        <a:pt x="417365" y="213133"/>
                      </a:lnTo>
                      <a:lnTo>
                        <a:pt x="414536" y="210437"/>
                      </a:lnTo>
                      <a:lnTo>
                        <a:pt x="413916" y="209854"/>
                      </a:lnTo>
                      <a:lnTo>
                        <a:pt x="413164" y="209466"/>
                      </a:lnTo>
                      <a:lnTo>
                        <a:pt x="411561" y="208628"/>
                      </a:lnTo>
                      <a:lnTo>
                        <a:pt x="410869" y="208276"/>
                      </a:lnTo>
                      <a:lnTo>
                        <a:pt x="410116" y="208106"/>
                      </a:lnTo>
                      <a:lnTo>
                        <a:pt x="408331" y="207705"/>
                      </a:lnTo>
                      <a:lnTo>
                        <a:pt x="407383" y="207486"/>
                      </a:lnTo>
                      <a:lnTo>
                        <a:pt x="406424" y="207571"/>
                      </a:lnTo>
                      <a:lnTo>
                        <a:pt x="404129" y="207790"/>
                      </a:lnTo>
                      <a:lnTo>
                        <a:pt x="403680" y="207838"/>
                      </a:lnTo>
                      <a:lnTo>
                        <a:pt x="403231" y="207948"/>
                      </a:lnTo>
                      <a:lnTo>
                        <a:pt x="400596" y="208603"/>
                      </a:lnTo>
                      <a:lnTo>
                        <a:pt x="399721" y="208822"/>
                      </a:lnTo>
                      <a:lnTo>
                        <a:pt x="398956" y="209284"/>
                      </a:lnTo>
                      <a:lnTo>
                        <a:pt x="396273" y="210874"/>
                      </a:lnTo>
                      <a:lnTo>
                        <a:pt x="394281" y="209781"/>
                      </a:lnTo>
                      <a:lnTo>
                        <a:pt x="393043" y="209101"/>
                      </a:lnTo>
                      <a:lnTo>
                        <a:pt x="391634" y="209028"/>
                      </a:lnTo>
                      <a:lnTo>
                        <a:pt x="388938" y="208907"/>
                      </a:lnTo>
                      <a:lnTo>
                        <a:pt x="388088" y="208871"/>
                      </a:lnTo>
                      <a:lnTo>
                        <a:pt x="387263" y="209077"/>
                      </a:lnTo>
                      <a:lnTo>
                        <a:pt x="383875" y="209879"/>
                      </a:lnTo>
                      <a:lnTo>
                        <a:pt x="382915" y="210109"/>
                      </a:lnTo>
                      <a:lnTo>
                        <a:pt x="382078" y="210632"/>
                      </a:lnTo>
                      <a:lnTo>
                        <a:pt x="376237" y="214238"/>
                      </a:lnTo>
                      <a:lnTo>
                        <a:pt x="373104" y="215525"/>
                      </a:lnTo>
                      <a:lnTo>
                        <a:pt x="372995" y="215562"/>
                      </a:lnTo>
                      <a:lnTo>
                        <a:pt x="372727" y="215379"/>
                      </a:lnTo>
                      <a:lnTo>
                        <a:pt x="370202" y="213691"/>
                      </a:lnTo>
                      <a:lnTo>
                        <a:pt x="367348" y="214699"/>
                      </a:lnTo>
                      <a:lnTo>
                        <a:pt x="365260" y="215440"/>
                      </a:lnTo>
                      <a:lnTo>
                        <a:pt x="359407" y="216654"/>
                      </a:lnTo>
                      <a:lnTo>
                        <a:pt x="358508" y="216836"/>
                      </a:lnTo>
                      <a:lnTo>
                        <a:pt x="357719" y="217274"/>
                      </a:lnTo>
                      <a:lnTo>
                        <a:pt x="356335" y="218026"/>
                      </a:lnTo>
                      <a:lnTo>
                        <a:pt x="355849" y="217711"/>
                      </a:lnTo>
                      <a:lnTo>
                        <a:pt x="354173" y="216594"/>
                      </a:lnTo>
                      <a:lnTo>
                        <a:pt x="353590" y="216205"/>
                      </a:lnTo>
                      <a:lnTo>
                        <a:pt x="353190" y="216059"/>
                      </a:lnTo>
                      <a:lnTo>
                        <a:pt x="353032" y="214784"/>
                      </a:lnTo>
                      <a:lnTo>
                        <a:pt x="352995" y="214481"/>
                      </a:lnTo>
                      <a:lnTo>
                        <a:pt x="352935" y="214177"/>
                      </a:lnTo>
                      <a:lnTo>
                        <a:pt x="352255" y="211190"/>
                      </a:lnTo>
                      <a:lnTo>
                        <a:pt x="352072" y="210388"/>
                      </a:lnTo>
                      <a:lnTo>
                        <a:pt x="351684" y="209660"/>
                      </a:lnTo>
                      <a:lnTo>
                        <a:pt x="349899" y="206333"/>
                      </a:lnTo>
                      <a:lnTo>
                        <a:pt x="349061" y="204779"/>
                      </a:lnTo>
                      <a:lnTo>
                        <a:pt x="347519" y="203916"/>
                      </a:lnTo>
                      <a:lnTo>
                        <a:pt x="346086" y="203115"/>
                      </a:lnTo>
                      <a:lnTo>
                        <a:pt x="343050" y="201391"/>
                      </a:lnTo>
                      <a:lnTo>
                        <a:pt x="340039" y="203163"/>
                      </a:lnTo>
                      <a:lnTo>
                        <a:pt x="339711" y="203358"/>
                      </a:lnTo>
                      <a:lnTo>
                        <a:pt x="336784" y="200104"/>
                      </a:lnTo>
                      <a:lnTo>
                        <a:pt x="332364" y="203309"/>
                      </a:lnTo>
                      <a:lnTo>
                        <a:pt x="329389" y="205471"/>
                      </a:lnTo>
                      <a:lnTo>
                        <a:pt x="328734" y="205944"/>
                      </a:lnTo>
                      <a:lnTo>
                        <a:pt x="328224" y="206576"/>
                      </a:lnTo>
                      <a:lnTo>
                        <a:pt x="326876" y="208251"/>
                      </a:lnTo>
                      <a:lnTo>
                        <a:pt x="326524" y="207584"/>
                      </a:lnTo>
                      <a:lnTo>
                        <a:pt x="325977" y="206563"/>
                      </a:lnTo>
                      <a:lnTo>
                        <a:pt x="325091" y="205811"/>
                      </a:lnTo>
                      <a:lnTo>
                        <a:pt x="322796" y="203856"/>
                      </a:lnTo>
                      <a:lnTo>
                        <a:pt x="321727" y="202945"/>
                      </a:lnTo>
                      <a:lnTo>
                        <a:pt x="320367" y="202605"/>
                      </a:lnTo>
                      <a:lnTo>
                        <a:pt x="318364" y="202095"/>
                      </a:lnTo>
                      <a:lnTo>
                        <a:pt x="317331" y="201828"/>
                      </a:lnTo>
                      <a:lnTo>
                        <a:pt x="316263" y="201949"/>
                      </a:lnTo>
                      <a:lnTo>
                        <a:pt x="312887" y="202289"/>
                      </a:lnTo>
                      <a:lnTo>
                        <a:pt x="311442" y="201755"/>
                      </a:lnTo>
                      <a:lnTo>
                        <a:pt x="310653" y="200201"/>
                      </a:lnTo>
                      <a:lnTo>
                        <a:pt x="309414" y="196594"/>
                      </a:lnTo>
                      <a:lnTo>
                        <a:pt x="308698" y="194506"/>
                      </a:lnTo>
                      <a:lnTo>
                        <a:pt x="306804" y="193364"/>
                      </a:lnTo>
                      <a:lnTo>
                        <a:pt x="303756" y="191531"/>
                      </a:lnTo>
                      <a:lnTo>
                        <a:pt x="303294" y="191251"/>
                      </a:lnTo>
                      <a:lnTo>
                        <a:pt x="302796" y="191057"/>
                      </a:lnTo>
                      <a:lnTo>
                        <a:pt x="300914" y="190329"/>
                      </a:lnTo>
                      <a:lnTo>
                        <a:pt x="298862" y="189539"/>
                      </a:lnTo>
                      <a:lnTo>
                        <a:pt x="296773" y="190256"/>
                      </a:lnTo>
                      <a:lnTo>
                        <a:pt x="294588" y="191009"/>
                      </a:lnTo>
                      <a:lnTo>
                        <a:pt x="294041" y="191203"/>
                      </a:lnTo>
                      <a:lnTo>
                        <a:pt x="293531" y="191494"/>
                      </a:lnTo>
                      <a:lnTo>
                        <a:pt x="291916" y="192417"/>
                      </a:lnTo>
                      <a:lnTo>
                        <a:pt x="290823" y="193036"/>
                      </a:lnTo>
                      <a:lnTo>
                        <a:pt x="290071" y="194044"/>
                      </a:lnTo>
                      <a:lnTo>
                        <a:pt x="289038" y="195416"/>
                      </a:lnTo>
                      <a:lnTo>
                        <a:pt x="288783" y="195732"/>
                      </a:lnTo>
                      <a:lnTo>
                        <a:pt x="288577" y="196096"/>
                      </a:lnTo>
                      <a:lnTo>
                        <a:pt x="287545" y="197954"/>
                      </a:lnTo>
                      <a:lnTo>
                        <a:pt x="284983" y="203588"/>
                      </a:lnTo>
                      <a:lnTo>
                        <a:pt x="284266" y="204596"/>
                      </a:lnTo>
                      <a:lnTo>
                        <a:pt x="283611" y="205240"/>
                      </a:lnTo>
                      <a:lnTo>
                        <a:pt x="281413" y="206819"/>
                      </a:lnTo>
                      <a:lnTo>
                        <a:pt x="280866" y="207219"/>
                      </a:lnTo>
                      <a:lnTo>
                        <a:pt x="280417" y="207729"/>
                      </a:lnTo>
                      <a:lnTo>
                        <a:pt x="278802" y="209563"/>
                      </a:lnTo>
                      <a:lnTo>
                        <a:pt x="277175" y="211421"/>
                      </a:lnTo>
                      <a:lnTo>
                        <a:pt x="277308" y="213886"/>
                      </a:lnTo>
                      <a:lnTo>
                        <a:pt x="277563" y="218427"/>
                      </a:lnTo>
                      <a:lnTo>
                        <a:pt x="277624" y="219751"/>
                      </a:lnTo>
                      <a:lnTo>
                        <a:pt x="278243" y="220941"/>
                      </a:lnTo>
                      <a:lnTo>
                        <a:pt x="281182" y="226502"/>
                      </a:lnTo>
                      <a:lnTo>
                        <a:pt x="281935" y="229028"/>
                      </a:lnTo>
                      <a:lnTo>
                        <a:pt x="282530" y="232221"/>
                      </a:lnTo>
                      <a:lnTo>
                        <a:pt x="282651" y="232817"/>
                      </a:lnTo>
                      <a:lnTo>
                        <a:pt x="282882" y="233375"/>
                      </a:lnTo>
                      <a:lnTo>
                        <a:pt x="283574" y="235051"/>
                      </a:lnTo>
                      <a:lnTo>
                        <a:pt x="283987" y="236059"/>
                      </a:lnTo>
                      <a:lnTo>
                        <a:pt x="284728" y="236848"/>
                      </a:lnTo>
                      <a:lnTo>
                        <a:pt x="285638" y="237832"/>
                      </a:lnTo>
                      <a:lnTo>
                        <a:pt x="286403" y="238657"/>
                      </a:lnTo>
                      <a:lnTo>
                        <a:pt x="287411" y="239155"/>
                      </a:lnTo>
                      <a:lnTo>
                        <a:pt x="289427" y="240139"/>
                      </a:lnTo>
                      <a:lnTo>
                        <a:pt x="289500" y="240212"/>
                      </a:lnTo>
                      <a:lnTo>
                        <a:pt x="289791" y="240867"/>
                      </a:lnTo>
                      <a:lnTo>
                        <a:pt x="290386" y="243053"/>
                      </a:lnTo>
                      <a:lnTo>
                        <a:pt x="290532" y="244461"/>
                      </a:lnTo>
                      <a:lnTo>
                        <a:pt x="290520" y="244875"/>
                      </a:lnTo>
                      <a:lnTo>
                        <a:pt x="290374" y="245227"/>
                      </a:lnTo>
                      <a:lnTo>
                        <a:pt x="289633" y="246490"/>
                      </a:lnTo>
                      <a:lnTo>
                        <a:pt x="288456" y="248991"/>
                      </a:lnTo>
                      <a:lnTo>
                        <a:pt x="288188" y="249586"/>
                      </a:lnTo>
                      <a:lnTo>
                        <a:pt x="288043" y="250229"/>
                      </a:lnTo>
                      <a:lnTo>
                        <a:pt x="287460" y="252877"/>
                      </a:lnTo>
                      <a:lnTo>
                        <a:pt x="287314" y="253520"/>
                      </a:lnTo>
                      <a:lnTo>
                        <a:pt x="287314" y="254188"/>
                      </a:lnTo>
                      <a:lnTo>
                        <a:pt x="287314" y="258232"/>
                      </a:lnTo>
                      <a:lnTo>
                        <a:pt x="287314" y="259252"/>
                      </a:lnTo>
                      <a:lnTo>
                        <a:pt x="287642" y="260211"/>
                      </a:lnTo>
                      <a:lnTo>
                        <a:pt x="288456" y="262567"/>
                      </a:lnTo>
                      <a:lnTo>
                        <a:pt x="288747" y="263417"/>
                      </a:lnTo>
                      <a:lnTo>
                        <a:pt x="289281" y="264157"/>
                      </a:lnTo>
                      <a:lnTo>
                        <a:pt x="290483" y="265821"/>
                      </a:lnTo>
                      <a:lnTo>
                        <a:pt x="290884" y="266380"/>
                      </a:lnTo>
                      <a:lnTo>
                        <a:pt x="291406" y="266829"/>
                      </a:lnTo>
                      <a:lnTo>
                        <a:pt x="292900" y="268128"/>
                      </a:lnTo>
                      <a:lnTo>
                        <a:pt x="293896" y="269245"/>
                      </a:lnTo>
                      <a:lnTo>
                        <a:pt x="294721" y="270763"/>
                      </a:lnTo>
                      <a:lnTo>
                        <a:pt x="294478" y="270933"/>
                      </a:lnTo>
                      <a:lnTo>
                        <a:pt x="293847" y="271358"/>
                      </a:lnTo>
                      <a:lnTo>
                        <a:pt x="293337" y="271917"/>
                      </a:lnTo>
                      <a:lnTo>
                        <a:pt x="292463" y="272888"/>
                      </a:lnTo>
                      <a:lnTo>
                        <a:pt x="291491" y="273969"/>
                      </a:lnTo>
                      <a:lnTo>
                        <a:pt x="291115" y="275378"/>
                      </a:lnTo>
                      <a:lnTo>
                        <a:pt x="290714" y="276883"/>
                      </a:lnTo>
                      <a:lnTo>
                        <a:pt x="290386" y="278110"/>
                      </a:lnTo>
                      <a:lnTo>
                        <a:pt x="290568" y="279361"/>
                      </a:lnTo>
                      <a:lnTo>
                        <a:pt x="290690" y="280186"/>
                      </a:lnTo>
                      <a:lnTo>
                        <a:pt x="290908" y="281607"/>
                      </a:lnTo>
                      <a:lnTo>
                        <a:pt x="291746" y="282785"/>
                      </a:lnTo>
                      <a:lnTo>
                        <a:pt x="293871" y="285796"/>
                      </a:lnTo>
                      <a:lnTo>
                        <a:pt x="294017" y="286318"/>
                      </a:lnTo>
                      <a:lnTo>
                        <a:pt x="294029" y="286464"/>
                      </a:lnTo>
                      <a:lnTo>
                        <a:pt x="289561" y="282457"/>
                      </a:lnTo>
                      <a:lnTo>
                        <a:pt x="289136" y="282081"/>
                      </a:lnTo>
                      <a:lnTo>
                        <a:pt x="288650" y="281789"/>
                      </a:lnTo>
                      <a:lnTo>
                        <a:pt x="286865" y="280708"/>
                      </a:lnTo>
                      <a:lnTo>
                        <a:pt x="285590" y="279943"/>
                      </a:lnTo>
                      <a:lnTo>
                        <a:pt x="284108" y="279846"/>
                      </a:lnTo>
                      <a:lnTo>
                        <a:pt x="283186" y="279786"/>
                      </a:lnTo>
                      <a:lnTo>
                        <a:pt x="281085" y="279652"/>
                      </a:lnTo>
                      <a:lnTo>
                        <a:pt x="279348" y="280842"/>
                      </a:lnTo>
                      <a:lnTo>
                        <a:pt x="278438" y="281473"/>
                      </a:lnTo>
                      <a:lnTo>
                        <a:pt x="277551" y="282092"/>
                      </a:lnTo>
                      <a:lnTo>
                        <a:pt x="276920" y="282967"/>
                      </a:lnTo>
                      <a:lnTo>
                        <a:pt x="274843" y="285893"/>
                      </a:lnTo>
                      <a:lnTo>
                        <a:pt x="274273" y="286586"/>
                      </a:lnTo>
                      <a:lnTo>
                        <a:pt x="273398" y="287338"/>
                      </a:lnTo>
                      <a:lnTo>
                        <a:pt x="272645" y="287812"/>
                      </a:lnTo>
                      <a:lnTo>
                        <a:pt x="267691" y="289670"/>
                      </a:lnTo>
                      <a:lnTo>
                        <a:pt x="267558" y="289500"/>
                      </a:lnTo>
                      <a:lnTo>
                        <a:pt x="267035" y="288795"/>
                      </a:lnTo>
                      <a:lnTo>
                        <a:pt x="266331" y="288273"/>
                      </a:lnTo>
                      <a:lnTo>
                        <a:pt x="265056" y="287326"/>
                      </a:lnTo>
                      <a:lnTo>
                        <a:pt x="264218" y="286707"/>
                      </a:lnTo>
                      <a:lnTo>
                        <a:pt x="263223" y="286403"/>
                      </a:lnTo>
                      <a:lnTo>
                        <a:pt x="261571" y="285893"/>
                      </a:lnTo>
                      <a:lnTo>
                        <a:pt x="260672" y="285614"/>
                      </a:lnTo>
                      <a:lnTo>
                        <a:pt x="259738" y="285626"/>
                      </a:lnTo>
                      <a:lnTo>
                        <a:pt x="249392" y="285711"/>
                      </a:lnTo>
                      <a:lnTo>
                        <a:pt x="248675" y="285711"/>
                      </a:lnTo>
                      <a:lnTo>
                        <a:pt x="247971" y="285893"/>
                      </a:lnTo>
                      <a:lnTo>
                        <a:pt x="246016" y="286379"/>
                      </a:lnTo>
                      <a:lnTo>
                        <a:pt x="245142" y="286610"/>
                      </a:lnTo>
                      <a:lnTo>
                        <a:pt x="244364" y="287071"/>
                      </a:lnTo>
                      <a:lnTo>
                        <a:pt x="240624" y="289306"/>
                      </a:lnTo>
                      <a:lnTo>
                        <a:pt x="239034" y="290010"/>
                      </a:lnTo>
                      <a:lnTo>
                        <a:pt x="236812" y="290471"/>
                      </a:lnTo>
                      <a:lnTo>
                        <a:pt x="227814" y="290617"/>
                      </a:lnTo>
                      <a:lnTo>
                        <a:pt x="226369" y="290641"/>
                      </a:lnTo>
                      <a:lnTo>
                        <a:pt x="225106" y="291309"/>
                      </a:lnTo>
                      <a:lnTo>
                        <a:pt x="223151" y="292329"/>
                      </a:lnTo>
                      <a:lnTo>
                        <a:pt x="221815" y="293033"/>
                      </a:lnTo>
                      <a:lnTo>
                        <a:pt x="220965" y="294284"/>
                      </a:lnTo>
                      <a:lnTo>
                        <a:pt x="220164" y="295450"/>
                      </a:lnTo>
                      <a:lnTo>
                        <a:pt x="219144" y="296919"/>
                      </a:lnTo>
                      <a:lnTo>
                        <a:pt x="219095" y="298704"/>
                      </a:lnTo>
                      <a:lnTo>
                        <a:pt x="219034" y="300732"/>
                      </a:lnTo>
                      <a:lnTo>
                        <a:pt x="219022" y="301242"/>
                      </a:lnTo>
                      <a:lnTo>
                        <a:pt x="219095" y="301740"/>
                      </a:lnTo>
                      <a:lnTo>
                        <a:pt x="219411" y="304096"/>
                      </a:lnTo>
                      <a:lnTo>
                        <a:pt x="214420" y="306925"/>
                      </a:lnTo>
                      <a:lnTo>
                        <a:pt x="210352" y="308176"/>
                      </a:lnTo>
                      <a:lnTo>
                        <a:pt x="209866" y="308152"/>
                      </a:lnTo>
                      <a:lnTo>
                        <a:pt x="209186" y="307957"/>
                      </a:lnTo>
                      <a:lnTo>
                        <a:pt x="207851" y="307253"/>
                      </a:lnTo>
                      <a:lnTo>
                        <a:pt x="207499" y="307058"/>
                      </a:lnTo>
                      <a:lnTo>
                        <a:pt x="207122" y="306913"/>
                      </a:lnTo>
                      <a:lnTo>
                        <a:pt x="205289" y="306233"/>
                      </a:lnTo>
                      <a:lnTo>
                        <a:pt x="204657" y="305650"/>
                      </a:lnTo>
                      <a:lnTo>
                        <a:pt x="203722" y="304436"/>
                      </a:lnTo>
                      <a:lnTo>
                        <a:pt x="203382" y="303877"/>
                      </a:lnTo>
                      <a:lnTo>
                        <a:pt x="202860" y="303064"/>
                      </a:lnTo>
                      <a:lnTo>
                        <a:pt x="202107" y="302456"/>
                      </a:lnTo>
                      <a:lnTo>
                        <a:pt x="201184" y="301704"/>
                      </a:lnTo>
                      <a:lnTo>
                        <a:pt x="200565" y="301193"/>
                      </a:lnTo>
                      <a:lnTo>
                        <a:pt x="199824" y="300878"/>
                      </a:lnTo>
                      <a:lnTo>
                        <a:pt x="197286" y="299748"/>
                      </a:lnTo>
                      <a:lnTo>
                        <a:pt x="197007" y="299518"/>
                      </a:lnTo>
                      <a:lnTo>
                        <a:pt x="196958" y="299433"/>
                      </a:lnTo>
                      <a:lnTo>
                        <a:pt x="196643" y="298218"/>
                      </a:lnTo>
                      <a:lnTo>
                        <a:pt x="196448" y="297478"/>
                      </a:lnTo>
                      <a:lnTo>
                        <a:pt x="196084" y="296822"/>
                      </a:lnTo>
                      <a:lnTo>
                        <a:pt x="195283" y="295365"/>
                      </a:lnTo>
                      <a:lnTo>
                        <a:pt x="194433" y="293798"/>
                      </a:lnTo>
                      <a:lnTo>
                        <a:pt x="192866" y="292961"/>
                      </a:lnTo>
                      <a:lnTo>
                        <a:pt x="191956" y="292463"/>
                      </a:lnTo>
                      <a:lnTo>
                        <a:pt x="190341" y="291576"/>
                      </a:lnTo>
                      <a:lnTo>
                        <a:pt x="188495" y="291746"/>
                      </a:lnTo>
                      <a:lnTo>
                        <a:pt x="187463" y="291843"/>
                      </a:lnTo>
                      <a:lnTo>
                        <a:pt x="180335" y="293094"/>
                      </a:lnTo>
                      <a:lnTo>
                        <a:pt x="176388" y="291698"/>
                      </a:lnTo>
                      <a:lnTo>
                        <a:pt x="174956" y="291188"/>
                      </a:lnTo>
                      <a:lnTo>
                        <a:pt x="173450" y="291418"/>
                      </a:lnTo>
                      <a:lnTo>
                        <a:pt x="172175" y="291613"/>
                      </a:lnTo>
                      <a:lnTo>
                        <a:pt x="170414" y="291868"/>
                      </a:lnTo>
                      <a:lnTo>
                        <a:pt x="169078" y="293033"/>
                      </a:lnTo>
                      <a:lnTo>
                        <a:pt x="168386" y="293641"/>
                      </a:lnTo>
                      <a:lnTo>
                        <a:pt x="167002" y="294855"/>
                      </a:lnTo>
                      <a:lnTo>
                        <a:pt x="166516" y="296628"/>
                      </a:lnTo>
                      <a:lnTo>
                        <a:pt x="165205" y="301449"/>
                      </a:lnTo>
                      <a:lnTo>
                        <a:pt x="163456" y="302881"/>
                      </a:lnTo>
                      <a:lnTo>
                        <a:pt x="163068" y="303185"/>
                      </a:lnTo>
                      <a:lnTo>
                        <a:pt x="162740" y="303561"/>
                      </a:lnTo>
                      <a:lnTo>
                        <a:pt x="161950" y="304460"/>
                      </a:lnTo>
                      <a:lnTo>
                        <a:pt x="161210" y="305456"/>
                      </a:lnTo>
                      <a:lnTo>
                        <a:pt x="160906" y="305638"/>
                      </a:lnTo>
                      <a:lnTo>
                        <a:pt x="158963" y="306451"/>
                      </a:lnTo>
                      <a:lnTo>
                        <a:pt x="150791" y="308880"/>
                      </a:lnTo>
                      <a:lnTo>
                        <a:pt x="150184" y="309062"/>
                      </a:lnTo>
                      <a:lnTo>
                        <a:pt x="149625" y="309366"/>
                      </a:lnTo>
                      <a:lnTo>
                        <a:pt x="148071" y="310203"/>
                      </a:lnTo>
                      <a:lnTo>
                        <a:pt x="146225" y="311199"/>
                      </a:lnTo>
                      <a:lnTo>
                        <a:pt x="145387" y="313118"/>
                      </a:lnTo>
                      <a:lnTo>
                        <a:pt x="145108" y="313798"/>
                      </a:lnTo>
                      <a:lnTo>
                        <a:pt x="144756" y="315049"/>
                      </a:lnTo>
                      <a:lnTo>
                        <a:pt x="144635" y="315777"/>
                      </a:lnTo>
                      <a:lnTo>
                        <a:pt x="144416" y="317016"/>
                      </a:lnTo>
                      <a:lnTo>
                        <a:pt x="144707" y="318230"/>
                      </a:lnTo>
                      <a:lnTo>
                        <a:pt x="144877" y="318959"/>
                      </a:lnTo>
                      <a:lnTo>
                        <a:pt x="145351" y="320148"/>
                      </a:lnTo>
                      <a:lnTo>
                        <a:pt x="146614" y="322577"/>
                      </a:lnTo>
                      <a:lnTo>
                        <a:pt x="147015" y="323500"/>
                      </a:lnTo>
                      <a:lnTo>
                        <a:pt x="147549" y="325382"/>
                      </a:lnTo>
                      <a:lnTo>
                        <a:pt x="148059" y="328200"/>
                      </a:lnTo>
                      <a:lnTo>
                        <a:pt x="147937" y="328175"/>
                      </a:lnTo>
                      <a:lnTo>
                        <a:pt x="144780" y="327628"/>
                      </a:lnTo>
                      <a:lnTo>
                        <a:pt x="143918" y="327483"/>
                      </a:lnTo>
                      <a:lnTo>
                        <a:pt x="143044" y="327580"/>
                      </a:lnTo>
                      <a:lnTo>
                        <a:pt x="140919" y="327835"/>
                      </a:lnTo>
                      <a:lnTo>
                        <a:pt x="139960" y="327956"/>
                      </a:lnTo>
                      <a:lnTo>
                        <a:pt x="139085" y="328357"/>
                      </a:lnTo>
                      <a:lnTo>
                        <a:pt x="137592" y="329049"/>
                      </a:lnTo>
                      <a:lnTo>
                        <a:pt x="136997" y="329316"/>
                      </a:lnTo>
                      <a:lnTo>
                        <a:pt x="136475" y="329705"/>
                      </a:lnTo>
                      <a:lnTo>
                        <a:pt x="135467" y="330458"/>
                      </a:lnTo>
                      <a:lnTo>
                        <a:pt x="132382" y="332134"/>
                      </a:lnTo>
                      <a:lnTo>
                        <a:pt x="130816" y="332474"/>
                      </a:lnTo>
                      <a:lnTo>
                        <a:pt x="130330" y="332571"/>
                      </a:lnTo>
                      <a:lnTo>
                        <a:pt x="129869" y="332753"/>
                      </a:lnTo>
                      <a:lnTo>
                        <a:pt x="128715" y="333202"/>
                      </a:lnTo>
                      <a:lnTo>
                        <a:pt x="127974" y="333494"/>
                      </a:lnTo>
                      <a:lnTo>
                        <a:pt x="127331" y="333967"/>
                      </a:lnTo>
                      <a:lnTo>
                        <a:pt x="126772" y="334380"/>
                      </a:lnTo>
                      <a:lnTo>
                        <a:pt x="125825" y="335072"/>
                      </a:lnTo>
                      <a:lnTo>
                        <a:pt x="125206" y="336068"/>
                      </a:lnTo>
                      <a:lnTo>
                        <a:pt x="124271" y="337562"/>
                      </a:lnTo>
                      <a:lnTo>
                        <a:pt x="124198" y="337622"/>
                      </a:lnTo>
                      <a:lnTo>
                        <a:pt x="124077" y="337647"/>
                      </a:lnTo>
                      <a:lnTo>
                        <a:pt x="122559" y="337647"/>
                      </a:lnTo>
                      <a:lnTo>
                        <a:pt x="121369" y="337647"/>
                      </a:lnTo>
                      <a:lnTo>
                        <a:pt x="120276" y="338096"/>
                      </a:lnTo>
                      <a:lnTo>
                        <a:pt x="119110" y="338569"/>
                      </a:lnTo>
                      <a:lnTo>
                        <a:pt x="117568" y="339189"/>
                      </a:lnTo>
                      <a:lnTo>
                        <a:pt x="116560" y="340512"/>
                      </a:lnTo>
                      <a:lnTo>
                        <a:pt x="115941" y="341326"/>
                      </a:lnTo>
                      <a:lnTo>
                        <a:pt x="115273" y="342200"/>
                      </a:lnTo>
                      <a:lnTo>
                        <a:pt x="114957" y="343257"/>
                      </a:lnTo>
                      <a:lnTo>
                        <a:pt x="113500" y="348126"/>
                      </a:lnTo>
                      <a:lnTo>
                        <a:pt x="112832" y="348539"/>
                      </a:lnTo>
                      <a:lnTo>
                        <a:pt x="109481" y="351089"/>
                      </a:lnTo>
                      <a:lnTo>
                        <a:pt x="103968" y="355339"/>
                      </a:lnTo>
                      <a:lnTo>
                        <a:pt x="108910" y="360220"/>
                      </a:lnTo>
                      <a:lnTo>
                        <a:pt x="108886" y="360220"/>
                      </a:lnTo>
                      <a:lnTo>
                        <a:pt x="108364" y="360354"/>
                      </a:lnTo>
                      <a:lnTo>
                        <a:pt x="107866" y="360585"/>
                      </a:lnTo>
                      <a:lnTo>
                        <a:pt x="106494" y="361192"/>
                      </a:lnTo>
                      <a:lnTo>
                        <a:pt x="105971" y="361423"/>
                      </a:lnTo>
                      <a:lnTo>
                        <a:pt x="105486" y="361750"/>
                      </a:lnTo>
                      <a:lnTo>
                        <a:pt x="104053" y="362746"/>
                      </a:lnTo>
                      <a:lnTo>
                        <a:pt x="103749" y="362964"/>
                      </a:lnTo>
                      <a:lnTo>
                        <a:pt x="103470" y="363219"/>
                      </a:lnTo>
                      <a:lnTo>
                        <a:pt x="99305" y="366947"/>
                      </a:lnTo>
                      <a:lnTo>
                        <a:pt x="99123" y="366619"/>
                      </a:lnTo>
                      <a:lnTo>
                        <a:pt x="98868" y="366158"/>
                      </a:lnTo>
                      <a:lnTo>
                        <a:pt x="98552" y="365745"/>
                      </a:lnTo>
                      <a:lnTo>
                        <a:pt x="97350" y="364227"/>
                      </a:lnTo>
                      <a:lnTo>
                        <a:pt x="97107" y="362284"/>
                      </a:lnTo>
                      <a:lnTo>
                        <a:pt x="96694" y="360147"/>
                      </a:lnTo>
                      <a:lnTo>
                        <a:pt x="96075" y="357039"/>
                      </a:lnTo>
                      <a:lnTo>
                        <a:pt x="93161" y="355776"/>
                      </a:lnTo>
                      <a:lnTo>
                        <a:pt x="92238" y="355375"/>
                      </a:lnTo>
                      <a:lnTo>
                        <a:pt x="91703" y="355132"/>
                      </a:lnTo>
                      <a:lnTo>
                        <a:pt x="91133" y="354999"/>
                      </a:lnTo>
                      <a:lnTo>
                        <a:pt x="89591" y="354659"/>
                      </a:lnTo>
                      <a:lnTo>
                        <a:pt x="89202" y="354574"/>
                      </a:lnTo>
                      <a:lnTo>
                        <a:pt x="88801" y="354537"/>
                      </a:lnTo>
                      <a:lnTo>
                        <a:pt x="83313" y="354052"/>
                      </a:lnTo>
                      <a:lnTo>
                        <a:pt x="83009" y="353942"/>
                      </a:lnTo>
                      <a:lnTo>
                        <a:pt x="80690" y="352570"/>
                      </a:lnTo>
                      <a:lnTo>
                        <a:pt x="80131" y="352255"/>
                      </a:lnTo>
                      <a:lnTo>
                        <a:pt x="79524" y="352036"/>
                      </a:lnTo>
                      <a:lnTo>
                        <a:pt x="77047" y="351210"/>
                      </a:lnTo>
                      <a:lnTo>
                        <a:pt x="76258" y="350955"/>
                      </a:lnTo>
                      <a:lnTo>
                        <a:pt x="75420" y="350919"/>
                      </a:lnTo>
                      <a:lnTo>
                        <a:pt x="74218" y="350858"/>
                      </a:lnTo>
                      <a:lnTo>
                        <a:pt x="72554" y="350773"/>
                      </a:lnTo>
                      <a:lnTo>
                        <a:pt x="71073" y="351538"/>
                      </a:lnTo>
                      <a:lnTo>
                        <a:pt x="70150" y="352024"/>
                      </a:lnTo>
                      <a:lnTo>
                        <a:pt x="68486" y="352910"/>
                      </a:lnTo>
                      <a:lnTo>
                        <a:pt x="67612" y="354574"/>
                      </a:lnTo>
                      <a:lnTo>
                        <a:pt x="67102" y="355545"/>
                      </a:lnTo>
                      <a:lnTo>
                        <a:pt x="66762" y="356201"/>
                      </a:lnTo>
                      <a:lnTo>
                        <a:pt x="66580" y="356905"/>
                      </a:lnTo>
                      <a:lnTo>
                        <a:pt x="65111" y="362783"/>
                      </a:lnTo>
                      <a:lnTo>
                        <a:pt x="64904" y="363208"/>
                      </a:lnTo>
                      <a:lnTo>
                        <a:pt x="64673" y="363560"/>
                      </a:lnTo>
                      <a:lnTo>
                        <a:pt x="64613" y="363633"/>
                      </a:lnTo>
                      <a:lnTo>
                        <a:pt x="64103" y="363960"/>
                      </a:lnTo>
                      <a:lnTo>
                        <a:pt x="62135" y="365017"/>
                      </a:lnTo>
                      <a:lnTo>
                        <a:pt x="60739" y="365903"/>
                      </a:lnTo>
                      <a:lnTo>
                        <a:pt x="60350" y="366158"/>
                      </a:lnTo>
                      <a:lnTo>
                        <a:pt x="59998" y="366462"/>
                      </a:lnTo>
                      <a:lnTo>
                        <a:pt x="59063" y="367288"/>
                      </a:lnTo>
                      <a:lnTo>
                        <a:pt x="58772" y="367543"/>
                      </a:lnTo>
                      <a:lnTo>
                        <a:pt x="58517" y="367834"/>
                      </a:lnTo>
                      <a:lnTo>
                        <a:pt x="57509" y="368987"/>
                      </a:lnTo>
                      <a:lnTo>
                        <a:pt x="57108" y="368708"/>
                      </a:lnTo>
                      <a:lnTo>
                        <a:pt x="56125" y="368016"/>
                      </a:lnTo>
                      <a:lnTo>
                        <a:pt x="55080" y="367288"/>
                      </a:lnTo>
                      <a:lnTo>
                        <a:pt x="53927" y="366984"/>
                      </a:lnTo>
                      <a:lnTo>
                        <a:pt x="52615" y="366729"/>
                      </a:lnTo>
                      <a:lnTo>
                        <a:pt x="50770" y="366364"/>
                      </a:lnTo>
                      <a:lnTo>
                        <a:pt x="49045" y="367105"/>
                      </a:lnTo>
                      <a:lnTo>
                        <a:pt x="48353" y="367397"/>
                      </a:lnTo>
                      <a:lnTo>
                        <a:pt x="47042" y="367955"/>
                      </a:lnTo>
                      <a:lnTo>
                        <a:pt x="46119" y="369048"/>
                      </a:lnTo>
                      <a:lnTo>
                        <a:pt x="45427" y="369850"/>
                      </a:lnTo>
                      <a:lnTo>
                        <a:pt x="44625" y="370785"/>
                      </a:lnTo>
                      <a:lnTo>
                        <a:pt x="44334" y="371707"/>
                      </a:lnTo>
                      <a:lnTo>
                        <a:pt x="43095" y="370797"/>
                      </a:lnTo>
                      <a:lnTo>
                        <a:pt x="41456" y="370615"/>
                      </a:lnTo>
                      <a:lnTo>
                        <a:pt x="39610" y="370408"/>
                      </a:lnTo>
                      <a:lnTo>
                        <a:pt x="36320" y="370056"/>
                      </a:lnTo>
                      <a:lnTo>
                        <a:pt x="34231" y="372630"/>
                      </a:lnTo>
                      <a:lnTo>
                        <a:pt x="33381" y="373687"/>
                      </a:lnTo>
                      <a:lnTo>
                        <a:pt x="32555" y="374707"/>
                      </a:lnTo>
                      <a:lnTo>
                        <a:pt x="32227" y="375982"/>
                      </a:lnTo>
                      <a:lnTo>
                        <a:pt x="31390" y="379260"/>
                      </a:lnTo>
                      <a:lnTo>
                        <a:pt x="29204" y="384033"/>
                      </a:lnTo>
                      <a:lnTo>
                        <a:pt x="28864" y="384785"/>
                      </a:lnTo>
                      <a:lnTo>
                        <a:pt x="28730" y="385611"/>
                      </a:lnTo>
                      <a:lnTo>
                        <a:pt x="28609" y="386364"/>
                      </a:lnTo>
                      <a:lnTo>
                        <a:pt x="28366" y="387845"/>
                      </a:lnTo>
                      <a:lnTo>
                        <a:pt x="28852" y="389266"/>
                      </a:lnTo>
                      <a:lnTo>
                        <a:pt x="29362" y="390784"/>
                      </a:lnTo>
                      <a:lnTo>
                        <a:pt x="30734" y="392338"/>
                      </a:lnTo>
                      <a:lnTo>
                        <a:pt x="31256" y="392800"/>
                      </a:lnTo>
                      <a:lnTo>
                        <a:pt x="32191" y="393626"/>
                      </a:lnTo>
                      <a:lnTo>
                        <a:pt x="33381" y="394014"/>
                      </a:lnTo>
                      <a:lnTo>
                        <a:pt x="34061" y="394245"/>
                      </a:lnTo>
                      <a:lnTo>
                        <a:pt x="34656" y="394451"/>
                      </a:lnTo>
                      <a:lnTo>
                        <a:pt x="35275" y="394524"/>
                      </a:lnTo>
                      <a:lnTo>
                        <a:pt x="36781" y="394694"/>
                      </a:lnTo>
                      <a:lnTo>
                        <a:pt x="38639" y="394220"/>
                      </a:lnTo>
                      <a:lnTo>
                        <a:pt x="38700" y="394451"/>
                      </a:lnTo>
                      <a:lnTo>
                        <a:pt x="39282" y="395265"/>
                      </a:lnTo>
                      <a:lnTo>
                        <a:pt x="39853" y="396066"/>
                      </a:lnTo>
                      <a:lnTo>
                        <a:pt x="40703" y="397268"/>
                      </a:lnTo>
                      <a:lnTo>
                        <a:pt x="41990" y="397948"/>
                      </a:lnTo>
                      <a:lnTo>
                        <a:pt x="42913" y="398434"/>
                      </a:lnTo>
                      <a:lnTo>
                        <a:pt x="43666" y="398835"/>
                      </a:lnTo>
                      <a:lnTo>
                        <a:pt x="44504" y="399005"/>
                      </a:lnTo>
                      <a:lnTo>
                        <a:pt x="45585" y="399235"/>
                      </a:lnTo>
                      <a:lnTo>
                        <a:pt x="46095" y="399345"/>
                      </a:lnTo>
                      <a:lnTo>
                        <a:pt x="46435" y="399357"/>
                      </a:lnTo>
                      <a:lnTo>
                        <a:pt x="46471" y="399600"/>
                      </a:lnTo>
                      <a:lnTo>
                        <a:pt x="46593" y="400304"/>
                      </a:lnTo>
                      <a:lnTo>
                        <a:pt x="46872" y="400972"/>
                      </a:lnTo>
                      <a:lnTo>
                        <a:pt x="47333" y="402065"/>
                      </a:lnTo>
                      <a:lnTo>
                        <a:pt x="47515" y="402490"/>
                      </a:lnTo>
                      <a:lnTo>
                        <a:pt x="47357" y="402538"/>
                      </a:lnTo>
                      <a:lnTo>
                        <a:pt x="46204" y="403801"/>
                      </a:lnTo>
                      <a:lnTo>
                        <a:pt x="45342" y="404736"/>
                      </a:lnTo>
                      <a:lnTo>
                        <a:pt x="44261" y="405914"/>
                      </a:lnTo>
                      <a:lnTo>
                        <a:pt x="43897" y="407456"/>
                      </a:lnTo>
                      <a:lnTo>
                        <a:pt x="43557" y="408926"/>
                      </a:lnTo>
                      <a:lnTo>
                        <a:pt x="43338" y="409873"/>
                      </a:lnTo>
                      <a:lnTo>
                        <a:pt x="43423" y="410832"/>
                      </a:lnTo>
                      <a:lnTo>
                        <a:pt x="43703" y="414050"/>
                      </a:lnTo>
                      <a:lnTo>
                        <a:pt x="43751" y="414645"/>
                      </a:lnTo>
                      <a:lnTo>
                        <a:pt x="43921" y="415203"/>
                      </a:lnTo>
                      <a:lnTo>
                        <a:pt x="44383" y="416818"/>
                      </a:lnTo>
                      <a:lnTo>
                        <a:pt x="44540" y="417365"/>
                      </a:lnTo>
                      <a:lnTo>
                        <a:pt x="44795" y="417863"/>
                      </a:lnTo>
                      <a:lnTo>
                        <a:pt x="45609" y="419490"/>
                      </a:lnTo>
                      <a:lnTo>
                        <a:pt x="45743" y="419757"/>
                      </a:lnTo>
                      <a:lnTo>
                        <a:pt x="45913" y="420012"/>
                      </a:lnTo>
                      <a:lnTo>
                        <a:pt x="46532" y="420984"/>
                      </a:lnTo>
                      <a:lnTo>
                        <a:pt x="46301" y="423716"/>
                      </a:lnTo>
                      <a:lnTo>
                        <a:pt x="46240" y="424481"/>
                      </a:lnTo>
                      <a:lnTo>
                        <a:pt x="46374" y="425234"/>
                      </a:lnTo>
                      <a:lnTo>
                        <a:pt x="46653" y="426788"/>
                      </a:lnTo>
                      <a:lnTo>
                        <a:pt x="46775" y="427468"/>
                      </a:lnTo>
                      <a:lnTo>
                        <a:pt x="47042" y="428087"/>
                      </a:lnTo>
                      <a:lnTo>
                        <a:pt x="47564" y="429326"/>
                      </a:lnTo>
                      <a:lnTo>
                        <a:pt x="48365" y="431220"/>
                      </a:lnTo>
                      <a:lnTo>
                        <a:pt x="50150" y="432240"/>
                      </a:lnTo>
                      <a:lnTo>
                        <a:pt x="50964" y="432701"/>
                      </a:lnTo>
                      <a:lnTo>
                        <a:pt x="52360" y="433491"/>
                      </a:lnTo>
                      <a:lnTo>
                        <a:pt x="53963" y="433491"/>
                      </a:lnTo>
                      <a:lnTo>
                        <a:pt x="54765" y="433491"/>
                      </a:lnTo>
                      <a:lnTo>
                        <a:pt x="55979" y="433491"/>
                      </a:lnTo>
                      <a:lnTo>
                        <a:pt x="57096" y="433029"/>
                      </a:lnTo>
                      <a:lnTo>
                        <a:pt x="58007" y="432653"/>
                      </a:lnTo>
                      <a:lnTo>
                        <a:pt x="58456" y="432459"/>
                      </a:lnTo>
                      <a:lnTo>
                        <a:pt x="58869" y="432203"/>
                      </a:lnTo>
                      <a:lnTo>
                        <a:pt x="59561" y="431779"/>
                      </a:lnTo>
                      <a:lnTo>
                        <a:pt x="60168" y="431341"/>
                      </a:lnTo>
                      <a:lnTo>
                        <a:pt x="74205" y="437874"/>
                      </a:lnTo>
                      <a:lnTo>
                        <a:pt x="74667" y="438166"/>
                      </a:lnTo>
                      <a:lnTo>
                        <a:pt x="75177" y="438664"/>
                      </a:lnTo>
                      <a:lnTo>
                        <a:pt x="75311" y="438870"/>
                      </a:lnTo>
                      <a:lnTo>
                        <a:pt x="75456" y="439234"/>
                      </a:lnTo>
                      <a:lnTo>
                        <a:pt x="75663" y="440242"/>
                      </a:lnTo>
                      <a:lnTo>
                        <a:pt x="75699" y="442015"/>
                      </a:lnTo>
                      <a:lnTo>
                        <a:pt x="74679" y="449556"/>
                      </a:lnTo>
                      <a:lnTo>
                        <a:pt x="74606" y="450090"/>
                      </a:lnTo>
                      <a:lnTo>
                        <a:pt x="74631" y="450636"/>
                      </a:lnTo>
                      <a:lnTo>
                        <a:pt x="74886" y="456526"/>
                      </a:lnTo>
                      <a:lnTo>
                        <a:pt x="74873" y="456672"/>
                      </a:lnTo>
                      <a:lnTo>
                        <a:pt x="70320" y="456793"/>
                      </a:lnTo>
                      <a:lnTo>
                        <a:pt x="69421" y="456817"/>
                      </a:lnTo>
                      <a:lnTo>
                        <a:pt x="68571" y="457097"/>
                      </a:lnTo>
                      <a:lnTo>
                        <a:pt x="66738" y="457704"/>
                      </a:lnTo>
                      <a:lnTo>
                        <a:pt x="66070" y="457922"/>
                      </a:lnTo>
                      <a:lnTo>
                        <a:pt x="65475" y="458287"/>
                      </a:lnTo>
                      <a:lnTo>
                        <a:pt x="63920" y="459234"/>
                      </a:lnTo>
                      <a:lnTo>
                        <a:pt x="63228" y="459659"/>
                      </a:lnTo>
                      <a:lnTo>
                        <a:pt x="62670" y="460254"/>
                      </a:lnTo>
                      <a:lnTo>
                        <a:pt x="60605" y="462452"/>
                      </a:lnTo>
                      <a:lnTo>
                        <a:pt x="59901" y="463204"/>
                      </a:lnTo>
                      <a:lnTo>
                        <a:pt x="59488" y="464152"/>
                      </a:lnTo>
                      <a:lnTo>
                        <a:pt x="58857" y="465572"/>
                      </a:lnTo>
                      <a:lnTo>
                        <a:pt x="58165" y="467103"/>
                      </a:lnTo>
                      <a:lnTo>
                        <a:pt x="58371" y="468778"/>
                      </a:lnTo>
                      <a:lnTo>
                        <a:pt x="58541" y="470175"/>
                      </a:lnTo>
                      <a:lnTo>
                        <a:pt x="58820" y="472457"/>
                      </a:lnTo>
                      <a:lnTo>
                        <a:pt x="60533" y="473987"/>
                      </a:lnTo>
                      <a:lnTo>
                        <a:pt x="61443" y="474789"/>
                      </a:lnTo>
                      <a:lnTo>
                        <a:pt x="62160" y="475433"/>
                      </a:lnTo>
                      <a:lnTo>
                        <a:pt x="63046" y="475809"/>
                      </a:lnTo>
                      <a:lnTo>
                        <a:pt x="64370" y="476392"/>
                      </a:lnTo>
                      <a:lnTo>
                        <a:pt x="64843" y="476598"/>
                      </a:lnTo>
                      <a:lnTo>
                        <a:pt x="65341" y="476732"/>
                      </a:lnTo>
                      <a:lnTo>
                        <a:pt x="67588" y="477290"/>
                      </a:lnTo>
                      <a:lnTo>
                        <a:pt x="67005" y="480982"/>
                      </a:lnTo>
                      <a:lnTo>
                        <a:pt x="66082" y="483265"/>
                      </a:lnTo>
                      <a:lnTo>
                        <a:pt x="64746" y="485596"/>
                      </a:lnTo>
                      <a:lnTo>
                        <a:pt x="62670" y="488571"/>
                      </a:lnTo>
                      <a:lnTo>
                        <a:pt x="62415" y="488936"/>
                      </a:lnTo>
                      <a:lnTo>
                        <a:pt x="62220" y="489324"/>
                      </a:lnTo>
                      <a:lnTo>
                        <a:pt x="58978" y="495869"/>
                      </a:lnTo>
                      <a:lnTo>
                        <a:pt x="54121" y="502244"/>
                      </a:lnTo>
                      <a:lnTo>
                        <a:pt x="53903" y="502523"/>
                      </a:lnTo>
                      <a:lnTo>
                        <a:pt x="53720" y="502827"/>
                      </a:lnTo>
                      <a:lnTo>
                        <a:pt x="53138" y="503823"/>
                      </a:lnTo>
                      <a:lnTo>
                        <a:pt x="51826" y="506057"/>
                      </a:lnTo>
                      <a:lnTo>
                        <a:pt x="52518" y="508534"/>
                      </a:lnTo>
                      <a:lnTo>
                        <a:pt x="52749" y="509360"/>
                      </a:lnTo>
                      <a:lnTo>
                        <a:pt x="53223" y="511060"/>
                      </a:lnTo>
                      <a:lnTo>
                        <a:pt x="54510" y="512238"/>
                      </a:lnTo>
                      <a:lnTo>
                        <a:pt x="55712" y="513319"/>
                      </a:lnTo>
                      <a:lnTo>
                        <a:pt x="52664" y="519062"/>
                      </a:lnTo>
                      <a:lnTo>
                        <a:pt x="49883" y="523300"/>
                      </a:lnTo>
                      <a:lnTo>
                        <a:pt x="48815" y="524356"/>
                      </a:lnTo>
                      <a:lnTo>
                        <a:pt x="46265" y="526323"/>
                      </a:lnTo>
                      <a:lnTo>
                        <a:pt x="45099" y="526919"/>
                      </a:lnTo>
                      <a:lnTo>
                        <a:pt x="43727" y="527441"/>
                      </a:lnTo>
                      <a:lnTo>
                        <a:pt x="39987" y="528024"/>
                      </a:lnTo>
                      <a:lnTo>
                        <a:pt x="39064" y="528024"/>
                      </a:lnTo>
                      <a:lnTo>
                        <a:pt x="38955" y="527198"/>
                      </a:lnTo>
                      <a:lnTo>
                        <a:pt x="38894" y="526664"/>
                      </a:lnTo>
                      <a:lnTo>
                        <a:pt x="38724" y="526141"/>
                      </a:lnTo>
                      <a:lnTo>
                        <a:pt x="38323" y="524879"/>
                      </a:lnTo>
                      <a:lnTo>
                        <a:pt x="37935" y="523640"/>
                      </a:lnTo>
                      <a:lnTo>
                        <a:pt x="37072" y="522668"/>
                      </a:lnTo>
                      <a:lnTo>
                        <a:pt x="36332" y="521843"/>
                      </a:lnTo>
                      <a:lnTo>
                        <a:pt x="35239" y="520604"/>
                      </a:lnTo>
                      <a:lnTo>
                        <a:pt x="33672" y="520106"/>
                      </a:lnTo>
                      <a:lnTo>
                        <a:pt x="32349" y="519681"/>
                      </a:lnTo>
                      <a:lnTo>
                        <a:pt x="30892" y="519208"/>
                      </a:lnTo>
                      <a:lnTo>
                        <a:pt x="29386" y="519475"/>
                      </a:lnTo>
                      <a:lnTo>
                        <a:pt x="27832" y="519754"/>
                      </a:lnTo>
                      <a:lnTo>
                        <a:pt x="27079" y="519900"/>
                      </a:lnTo>
                      <a:lnTo>
                        <a:pt x="26375" y="520228"/>
                      </a:lnTo>
                      <a:lnTo>
                        <a:pt x="24820" y="520956"/>
                      </a:lnTo>
                      <a:lnTo>
                        <a:pt x="24201" y="521235"/>
                      </a:lnTo>
                      <a:lnTo>
                        <a:pt x="23667" y="521649"/>
                      </a:lnTo>
                      <a:lnTo>
                        <a:pt x="14657" y="528607"/>
                      </a:lnTo>
                      <a:lnTo>
                        <a:pt x="14098" y="529031"/>
                      </a:lnTo>
                      <a:lnTo>
                        <a:pt x="13649" y="529578"/>
                      </a:lnTo>
                      <a:lnTo>
                        <a:pt x="11184" y="532614"/>
                      </a:lnTo>
                      <a:lnTo>
                        <a:pt x="10479" y="533476"/>
                      </a:lnTo>
                      <a:lnTo>
                        <a:pt x="10127" y="534532"/>
                      </a:lnTo>
                      <a:lnTo>
                        <a:pt x="8864" y="538321"/>
                      </a:lnTo>
                      <a:lnTo>
                        <a:pt x="8112" y="538600"/>
                      </a:lnTo>
                      <a:lnTo>
                        <a:pt x="5853" y="539438"/>
                      </a:lnTo>
                      <a:lnTo>
                        <a:pt x="4797" y="541599"/>
                      </a:lnTo>
                      <a:lnTo>
                        <a:pt x="4457" y="542291"/>
                      </a:lnTo>
                      <a:lnTo>
                        <a:pt x="3473" y="544295"/>
                      </a:lnTo>
                      <a:lnTo>
                        <a:pt x="4019" y="546469"/>
                      </a:lnTo>
                      <a:lnTo>
                        <a:pt x="4238" y="547331"/>
                      </a:lnTo>
                      <a:lnTo>
                        <a:pt x="4432" y="548072"/>
                      </a:lnTo>
                      <a:lnTo>
                        <a:pt x="4797" y="548739"/>
                      </a:lnTo>
                      <a:lnTo>
                        <a:pt x="5161" y="549419"/>
                      </a:lnTo>
                      <a:lnTo>
                        <a:pt x="5294" y="551047"/>
                      </a:lnTo>
                      <a:lnTo>
                        <a:pt x="5622" y="555224"/>
                      </a:lnTo>
                      <a:lnTo>
                        <a:pt x="9654" y="556402"/>
                      </a:lnTo>
                      <a:lnTo>
                        <a:pt x="12422" y="557203"/>
                      </a:lnTo>
                      <a:lnTo>
                        <a:pt x="13042" y="557385"/>
                      </a:lnTo>
                      <a:lnTo>
                        <a:pt x="13685" y="557434"/>
                      </a:lnTo>
                      <a:lnTo>
                        <a:pt x="15968" y="557604"/>
                      </a:lnTo>
                      <a:lnTo>
                        <a:pt x="16733" y="557652"/>
                      </a:lnTo>
                      <a:lnTo>
                        <a:pt x="17486" y="557519"/>
                      </a:lnTo>
                      <a:lnTo>
                        <a:pt x="19951" y="557070"/>
                      </a:lnTo>
                      <a:lnTo>
                        <a:pt x="20473" y="556972"/>
                      </a:lnTo>
                      <a:lnTo>
                        <a:pt x="20983" y="556778"/>
                      </a:lnTo>
                      <a:lnTo>
                        <a:pt x="22319" y="556280"/>
                      </a:lnTo>
                      <a:lnTo>
                        <a:pt x="22671" y="556135"/>
                      </a:lnTo>
                      <a:lnTo>
                        <a:pt x="23011" y="555964"/>
                      </a:lnTo>
                      <a:lnTo>
                        <a:pt x="24140" y="555369"/>
                      </a:lnTo>
                      <a:lnTo>
                        <a:pt x="24505" y="555175"/>
                      </a:lnTo>
                      <a:lnTo>
                        <a:pt x="24832" y="554932"/>
                      </a:lnTo>
                      <a:lnTo>
                        <a:pt x="25415" y="554520"/>
                      </a:lnTo>
                      <a:lnTo>
                        <a:pt x="27018" y="555114"/>
                      </a:lnTo>
                      <a:lnTo>
                        <a:pt x="31341" y="557482"/>
                      </a:lnTo>
                      <a:lnTo>
                        <a:pt x="31487" y="557628"/>
                      </a:lnTo>
                      <a:lnTo>
                        <a:pt x="32652" y="561963"/>
                      </a:lnTo>
                      <a:lnTo>
                        <a:pt x="34097" y="572054"/>
                      </a:lnTo>
                      <a:lnTo>
                        <a:pt x="34146" y="572369"/>
                      </a:lnTo>
                      <a:lnTo>
                        <a:pt x="34231" y="572673"/>
                      </a:lnTo>
                      <a:lnTo>
                        <a:pt x="34607" y="574179"/>
                      </a:lnTo>
                      <a:lnTo>
                        <a:pt x="34474" y="575029"/>
                      </a:lnTo>
                      <a:lnTo>
                        <a:pt x="33539" y="576328"/>
                      </a:lnTo>
                      <a:lnTo>
                        <a:pt x="33357" y="576583"/>
                      </a:lnTo>
                      <a:lnTo>
                        <a:pt x="33199" y="576838"/>
                      </a:lnTo>
                      <a:lnTo>
                        <a:pt x="31547" y="579765"/>
                      </a:lnTo>
                      <a:lnTo>
                        <a:pt x="30527" y="581574"/>
                      </a:lnTo>
                      <a:lnTo>
                        <a:pt x="30831" y="583650"/>
                      </a:lnTo>
                      <a:lnTo>
                        <a:pt x="31353" y="587147"/>
                      </a:lnTo>
                      <a:lnTo>
                        <a:pt x="31645" y="589090"/>
                      </a:lnTo>
                      <a:lnTo>
                        <a:pt x="33029" y="590499"/>
                      </a:lnTo>
                      <a:lnTo>
                        <a:pt x="34620" y="592126"/>
                      </a:lnTo>
                      <a:lnTo>
                        <a:pt x="34741" y="592357"/>
                      </a:lnTo>
                      <a:lnTo>
                        <a:pt x="34911" y="592770"/>
                      </a:lnTo>
                      <a:lnTo>
                        <a:pt x="34947" y="593134"/>
                      </a:lnTo>
                      <a:lnTo>
                        <a:pt x="34947" y="593267"/>
                      </a:lnTo>
                      <a:lnTo>
                        <a:pt x="34656" y="595235"/>
                      </a:lnTo>
                      <a:lnTo>
                        <a:pt x="34595" y="595672"/>
                      </a:lnTo>
                      <a:lnTo>
                        <a:pt x="34595" y="596121"/>
                      </a:lnTo>
                      <a:lnTo>
                        <a:pt x="34595" y="597760"/>
                      </a:lnTo>
                      <a:lnTo>
                        <a:pt x="34595" y="598440"/>
                      </a:lnTo>
                      <a:lnTo>
                        <a:pt x="34741" y="599108"/>
                      </a:lnTo>
                      <a:lnTo>
                        <a:pt x="35093" y="600687"/>
                      </a:lnTo>
                      <a:lnTo>
                        <a:pt x="35275" y="601452"/>
                      </a:lnTo>
                      <a:lnTo>
                        <a:pt x="35640" y="602168"/>
                      </a:lnTo>
                      <a:lnTo>
                        <a:pt x="36502" y="603808"/>
                      </a:lnTo>
                      <a:lnTo>
                        <a:pt x="36890" y="604548"/>
                      </a:lnTo>
                      <a:lnTo>
                        <a:pt x="37461" y="605168"/>
                      </a:lnTo>
                      <a:lnTo>
                        <a:pt x="42367" y="610365"/>
                      </a:lnTo>
                      <a:lnTo>
                        <a:pt x="42622" y="610729"/>
                      </a:lnTo>
                      <a:lnTo>
                        <a:pt x="42743" y="611288"/>
                      </a:lnTo>
                      <a:lnTo>
                        <a:pt x="43314" y="617116"/>
                      </a:lnTo>
                      <a:lnTo>
                        <a:pt x="38420" y="618051"/>
                      </a:lnTo>
                      <a:lnTo>
                        <a:pt x="38044" y="618124"/>
                      </a:lnTo>
                      <a:lnTo>
                        <a:pt x="37680" y="618246"/>
                      </a:lnTo>
                      <a:lnTo>
                        <a:pt x="36878" y="618501"/>
                      </a:lnTo>
                      <a:lnTo>
                        <a:pt x="35506" y="618950"/>
                      </a:lnTo>
                      <a:lnTo>
                        <a:pt x="34486" y="619958"/>
                      </a:lnTo>
                      <a:lnTo>
                        <a:pt x="33794" y="620650"/>
                      </a:lnTo>
                      <a:lnTo>
                        <a:pt x="33029" y="621415"/>
                      </a:lnTo>
                      <a:lnTo>
                        <a:pt x="32567" y="622399"/>
                      </a:lnTo>
                      <a:lnTo>
                        <a:pt x="32106" y="623394"/>
                      </a:lnTo>
                      <a:lnTo>
                        <a:pt x="31499" y="624718"/>
                      </a:lnTo>
                      <a:lnTo>
                        <a:pt x="31547" y="626163"/>
                      </a:lnTo>
                      <a:lnTo>
                        <a:pt x="31608" y="627972"/>
                      </a:lnTo>
                      <a:lnTo>
                        <a:pt x="31645" y="629162"/>
                      </a:lnTo>
                      <a:lnTo>
                        <a:pt x="32130" y="630255"/>
                      </a:lnTo>
                      <a:lnTo>
                        <a:pt x="32701" y="631518"/>
                      </a:lnTo>
                      <a:lnTo>
                        <a:pt x="33029" y="632246"/>
                      </a:lnTo>
                      <a:lnTo>
                        <a:pt x="33539" y="632866"/>
                      </a:lnTo>
                      <a:lnTo>
                        <a:pt x="34450" y="633983"/>
                      </a:lnTo>
                      <a:lnTo>
                        <a:pt x="35166" y="634857"/>
                      </a:lnTo>
                      <a:lnTo>
                        <a:pt x="36137" y="635416"/>
                      </a:lnTo>
                      <a:lnTo>
                        <a:pt x="41067" y="638245"/>
                      </a:lnTo>
                      <a:lnTo>
                        <a:pt x="40825" y="639034"/>
                      </a:lnTo>
                      <a:lnTo>
                        <a:pt x="36647" y="647546"/>
                      </a:lnTo>
                      <a:lnTo>
                        <a:pt x="36380" y="648105"/>
                      </a:lnTo>
                      <a:lnTo>
                        <a:pt x="36222" y="648688"/>
                      </a:lnTo>
                      <a:lnTo>
                        <a:pt x="35822" y="650230"/>
                      </a:lnTo>
                      <a:lnTo>
                        <a:pt x="35166" y="653472"/>
                      </a:lnTo>
                      <a:lnTo>
                        <a:pt x="35045" y="654067"/>
                      </a:lnTo>
                      <a:lnTo>
                        <a:pt x="35045" y="654674"/>
                      </a:lnTo>
                      <a:lnTo>
                        <a:pt x="35045" y="656083"/>
                      </a:lnTo>
                      <a:lnTo>
                        <a:pt x="35190" y="658001"/>
                      </a:lnTo>
                      <a:lnTo>
                        <a:pt x="35215" y="658342"/>
                      </a:lnTo>
                      <a:lnTo>
                        <a:pt x="35287" y="658670"/>
                      </a:lnTo>
                      <a:lnTo>
                        <a:pt x="36502" y="664546"/>
                      </a:lnTo>
                      <a:lnTo>
                        <a:pt x="36526" y="665287"/>
                      </a:lnTo>
                      <a:lnTo>
                        <a:pt x="36441" y="666271"/>
                      </a:lnTo>
                      <a:lnTo>
                        <a:pt x="36198" y="667400"/>
                      </a:lnTo>
                      <a:lnTo>
                        <a:pt x="35700" y="668687"/>
                      </a:lnTo>
                      <a:lnTo>
                        <a:pt x="34717" y="670897"/>
                      </a:lnTo>
                      <a:lnTo>
                        <a:pt x="34583" y="671189"/>
                      </a:lnTo>
                      <a:lnTo>
                        <a:pt x="34486" y="671492"/>
                      </a:lnTo>
                      <a:lnTo>
                        <a:pt x="33114" y="675791"/>
                      </a:lnTo>
                      <a:lnTo>
                        <a:pt x="33017" y="676095"/>
                      </a:lnTo>
                      <a:lnTo>
                        <a:pt x="32956" y="676410"/>
                      </a:lnTo>
                      <a:lnTo>
                        <a:pt x="32592" y="678195"/>
                      </a:lnTo>
                      <a:lnTo>
                        <a:pt x="31317" y="679325"/>
                      </a:lnTo>
                      <a:lnTo>
                        <a:pt x="29131" y="680648"/>
                      </a:lnTo>
                      <a:lnTo>
                        <a:pt x="27989" y="681097"/>
                      </a:lnTo>
                      <a:lnTo>
                        <a:pt x="26751" y="681267"/>
                      </a:lnTo>
                      <a:lnTo>
                        <a:pt x="23229" y="680903"/>
                      </a:lnTo>
                      <a:lnTo>
                        <a:pt x="22015" y="680769"/>
                      </a:lnTo>
                      <a:lnTo>
                        <a:pt x="20849" y="681110"/>
                      </a:lnTo>
                      <a:lnTo>
                        <a:pt x="19696" y="681449"/>
                      </a:lnTo>
                      <a:lnTo>
                        <a:pt x="18992" y="681668"/>
                      </a:lnTo>
                      <a:lnTo>
                        <a:pt x="18348" y="682045"/>
                      </a:lnTo>
                      <a:lnTo>
                        <a:pt x="17037" y="682809"/>
                      </a:lnTo>
                      <a:lnTo>
                        <a:pt x="16563" y="683077"/>
                      </a:lnTo>
                      <a:lnTo>
                        <a:pt x="16150" y="683429"/>
                      </a:lnTo>
                      <a:lnTo>
                        <a:pt x="12556" y="686513"/>
                      </a:lnTo>
                      <a:lnTo>
                        <a:pt x="6764" y="689500"/>
                      </a:lnTo>
                      <a:lnTo>
                        <a:pt x="1943" y="691977"/>
                      </a:lnTo>
                      <a:lnTo>
                        <a:pt x="3874" y="697053"/>
                      </a:lnTo>
                      <a:lnTo>
                        <a:pt x="5185" y="700514"/>
                      </a:lnTo>
                      <a:lnTo>
                        <a:pt x="0" y="697915"/>
                      </a:lnTo>
                      <a:lnTo>
                        <a:pt x="3691" y="711115"/>
                      </a:lnTo>
                      <a:lnTo>
                        <a:pt x="4663" y="714588"/>
                      </a:lnTo>
                      <a:lnTo>
                        <a:pt x="5149" y="716312"/>
                      </a:lnTo>
                      <a:lnTo>
                        <a:pt x="6497" y="717514"/>
                      </a:lnTo>
                      <a:lnTo>
                        <a:pt x="9314" y="720003"/>
                      </a:lnTo>
                      <a:lnTo>
                        <a:pt x="9921" y="720538"/>
                      </a:lnTo>
                      <a:lnTo>
                        <a:pt x="10649" y="720890"/>
                      </a:lnTo>
                      <a:lnTo>
                        <a:pt x="15312" y="723185"/>
                      </a:lnTo>
                      <a:lnTo>
                        <a:pt x="15883" y="724217"/>
                      </a:lnTo>
                      <a:lnTo>
                        <a:pt x="17231" y="726658"/>
                      </a:lnTo>
                      <a:lnTo>
                        <a:pt x="19975" y="727216"/>
                      </a:lnTo>
                      <a:lnTo>
                        <a:pt x="20777" y="727386"/>
                      </a:lnTo>
                      <a:lnTo>
                        <a:pt x="21869" y="727629"/>
                      </a:lnTo>
                      <a:lnTo>
                        <a:pt x="21942" y="727617"/>
                      </a:lnTo>
                      <a:lnTo>
                        <a:pt x="23460" y="730592"/>
                      </a:lnTo>
                      <a:lnTo>
                        <a:pt x="27552" y="738582"/>
                      </a:lnTo>
                      <a:lnTo>
                        <a:pt x="33442" y="731806"/>
                      </a:lnTo>
                      <a:lnTo>
                        <a:pt x="34450" y="730641"/>
                      </a:lnTo>
                      <a:lnTo>
                        <a:pt x="35154" y="731223"/>
                      </a:lnTo>
                      <a:lnTo>
                        <a:pt x="35943" y="732559"/>
                      </a:lnTo>
                      <a:lnTo>
                        <a:pt x="36915" y="739529"/>
                      </a:lnTo>
                      <a:lnTo>
                        <a:pt x="37000" y="740136"/>
                      </a:lnTo>
                      <a:lnTo>
                        <a:pt x="37170" y="740634"/>
                      </a:lnTo>
                      <a:lnTo>
                        <a:pt x="36089" y="741666"/>
                      </a:lnTo>
                      <a:lnTo>
                        <a:pt x="36417" y="744654"/>
                      </a:lnTo>
                      <a:lnTo>
                        <a:pt x="36660" y="746839"/>
                      </a:lnTo>
                      <a:lnTo>
                        <a:pt x="36854" y="748515"/>
                      </a:lnTo>
                      <a:lnTo>
                        <a:pt x="37874" y="749839"/>
                      </a:lnTo>
                      <a:lnTo>
                        <a:pt x="39307" y="751709"/>
                      </a:lnTo>
                      <a:lnTo>
                        <a:pt x="40375" y="753117"/>
                      </a:lnTo>
                      <a:lnTo>
                        <a:pt x="41723" y="753615"/>
                      </a:lnTo>
                      <a:lnTo>
                        <a:pt x="41857" y="756930"/>
                      </a:lnTo>
                      <a:lnTo>
                        <a:pt x="41881" y="757622"/>
                      </a:lnTo>
                      <a:lnTo>
                        <a:pt x="42063" y="758290"/>
                      </a:lnTo>
                      <a:lnTo>
                        <a:pt x="43047" y="761848"/>
                      </a:lnTo>
                      <a:lnTo>
                        <a:pt x="42962" y="762139"/>
                      </a:lnTo>
                      <a:lnTo>
                        <a:pt x="41881" y="765819"/>
                      </a:lnTo>
                      <a:lnTo>
                        <a:pt x="44723" y="768381"/>
                      </a:lnTo>
                      <a:lnTo>
                        <a:pt x="46447" y="769935"/>
                      </a:lnTo>
                      <a:lnTo>
                        <a:pt x="47831" y="771198"/>
                      </a:lnTo>
                      <a:lnTo>
                        <a:pt x="49677" y="771453"/>
                      </a:lnTo>
                      <a:lnTo>
                        <a:pt x="52494" y="771841"/>
                      </a:lnTo>
                      <a:lnTo>
                        <a:pt x="53963" y="772048"/>
                      </a:lnTo>
                      <a:lnTo>
                        <a:pt x="56841" y="777464"/>
                      </a:lnTo>
                      <a:lnTo>
                        <a:pt x="58043" y="783499"/>
                      </a:lnTo>
                      <a:lnTo>
                        <a:pt x="58298" y="784750"/>
                      </a:lnTo>
                      <a:lnTo>
                        <a:pt x="59027" y="785794"/>
                      </a:lnTo>
                      <a:lnTo>
                        <a:pt x="59950" y="787105"/>
                      </a:lnTo>
                      <a:lnTo>
                        <a:pt x="60229" y="787494"/>
                      </a:lnTo>
                      <a:lnTo>
                        <a:pt x="60290" y="787567"/>
                      </a:lnTo>
                      <a:lnTo>
                        <a:pt x="60290" y="791161"/>
                      </a:lnTo>
                      <a:lnTo>
                        <a:pt x="60290" y="791817"/>
                      </a:lnTo>
                      <a:lnTo>
                        <a:pt x="60423" y="792460"/>
                      </a:lnTo>
                      <a:lnTo>
                        <a:pt x="60933" y="794804"/>
                      </a:lnTo>
                      <a:lnTo>
                        <a:pt x="61176" y="795885"/>
                      </a:lnTo>
                      <a:lnTo>
                        <a:pt x="61783" y="796820"/>
                      </a:lnTo>
                      <a:lnTo>
                        <a:pt x="62803" y="798386"/>
                      </a:lnTo>
                      <a:lnTo>
                        <a:pt x="63823" y="800450"/>
                      </a:lnTo>
                      <a:lnTo>
                        <a:pt x="64273" y="807590"/>
                      </a:lnTo>
                      <a:lnTo>
                        <a:pt x="64382" y="809290"/>
                      </a:lnTo>
                      <a:lnTo>
                        <a:pt x="65353" y="810687"/>
                      </a:lnTo>
                      <a:lnTo>
                        <a:pt x="67648" y="813977"/>
                      </a:lnTo>
                      <a:lnTo>
                        <a:pt x="66944" y="817754"/>
                      </a:lnTo>
                      <a:lnTo>
                        <a:pt x="66592" y="819648"/>
                      </a:lnTo>
                      <a:lnTo>
                        <a:pt x="67393" y="821409"/>
                      </a:lnTo>
                      <a:lnTo>
                        <a:pt x="69178" y="825271"/>
                      </a:lnTo>
                      <a:lnTo>
                        <a:pt x="69433" y="825805"/>
                      </a:lnTo>
                      <a:lnTo>
                        <a:pt x="69785" y="826290"/>
                      </a:lnTo>
                      <a:lnTo>
                        <a:pt x="74558" y="832860"/>
                      </a:lnTo>
                      <a:lnTo>
                        <a:pt x="75141" y="834839"/>
                      </a:lnTo>
                      <a:lnTo>
                        <a:pt x="75408" y="844772"/>
                      </a:lnTo>
                      <a:lnTo>
                        <a:pt x="75444" y="845901"/>
                      </a:lnTo>
                      <a:lnTo>
                        <a:pt x="75881" y="846945"/>
                      </a:lnTo>
                      <a:lnTo>
                        <a:pt x="76683" y="848864"/>
                      </a:lnTo>
                      <a:lnTo>
                        <a:pt x="77011" y="849641"/>
                      </a:lnTo>
                      <a:lnTo>
                        <a:pt x="77545" y="850321"/>
                      </a:lnTo>
                      <a:lnTo>
                        <a:pt x="79330" y="852556"/>
                      </a:lnTo>
                      <a:lnTo>
                        <a:pt x="79366" y="852641"/>
                      </a:lnTo>
                      <a:lnTo>
                        <a:pt x="79403" y="853114"/>
                      </a:lnTo>
                      <a:lnTo>
                        <a:pt x="79148" y="856612"/>
                      </a:lnTo>
                      <a:lnTo>
                        <a:pt x="79123" y="857000"/>
                      </a:lnTo>
                      <a:lnTo>
                        <a:pt x="79148" y="857401"/>
                      </a:lnTo>
                      <a:lnTo>
                        <a:pt x="79269" y="859356"/>
                      </a:lnTo>
                      <a:lnTo>
                        <a:pt x="79330" y="860485"/>
                      </a:lnTo>
                      <a:lnTo>
                        <a:pt x="79803" y="861517"/>
                      </a:lnTo>
                      <a:lnTo>
                        <a:pt x="81576" y="865391"/>
                      </a:lnTo>
                      <a:lnTo>
                        <a:pt x="81856" y="866022"/>
                      </a:lnTo>
                      <a:lnTo>
                        <a:pt x="82281" y="866569"/>
                      </a:lnTo>
                      <a:lnTo>
                        <a:pt x="87963" y="873976"/>
                      </a:lnTo>
                      <a:lnTo>
                        <a:pt x="90465" y="878274"/>
                      </a:lnTo>
                      <a:lnTo>
                        <a:pt x="90683" y="878639"/>
                      </a:lnTo>
                      <a:lnTo>
                        <a:pt x="90939" y="878967"/>
                      </a:lnTo>
                      <a:lnTo>
                        <a:pt x="96585" y="886155"/>
                      </a:lnTo>
                      <a:lnTo>
                        <a:pt x="98491" y="891449"/>
                      </a:lnTo>
                      <a:lnTo>
                        <a:pt x="98625" y="891801"/>
                      </a:lnTo>
                      <a:lnTo>
                        <a:pt x="98795" y="892142"/>
                      </a:lnTo>
                      <a:lnTo>
                        <a:pt x="101831" y="898068"/>
                      </a:lnTo>
                      <a:lnTo>
                        <a:pt x="103239" y="908777"/>
                      </a:lnTo>
                      <a:lnTo>
                        <a:pt x="103300" y="909215"/>
                      </a:lnTo>
                      <a:lnTo>
                        <a:pt x="103421" y="909652"/>
                      </a:lnTo>
                      <a:lnTo>
                        <a:pt x="107914" y="925328"/>
                      </a:lnTo>
                      <a:lnTo>
                        <a:pt x="108011" y="925668"/>
                      </a:lnTo>
                      <a:lnTo>
                        <a:pt x="108157" y="925996"/>
                      </a:lnTo>
                      <a:lnTo>
                        <a:pt x="110719" y="932104"/>
                      </a:lnTo>
                      <a:lnTo>
                        <a:pt x="110817" y="932359"/>
                      </a:lnTo>
                      <a:lnTo>
                        <a:pt x="114071" y="966979"/>
                      </a:lnTo>
                      <a:lnTo>
                        <a:pt x="114532" y="971824"/>
                      </a:lnTo>
                      <a:lnTo>
                        <a:pt x="115346" y="978235"/>
                      </a:lnTo>
                      <a:lnTo>
                        <a:pt x="115443" y="979000"/>
                      </a:lnTo>
                      <a:lnTo>
                        <a:pt x="115734" y="979741"/>
                      </a:lnTo>
                      <a:lnTo>
                        <a:pt x="116099" y="980627"/>
                      </a:lnTo>
                      <a:lnTo>
                        <a:pt x="115115" y="982874"/>
                      </a:lnTo>
                      <a:lnTo>
                        <a:pt x="116123" y="985278"/>
                      </a:lnTo>
                      <a:lnTo>
                        <a:pt x="117374" y="988265"/>
                      </a:lnTo>
                      <a:lnTo>
                        <a:pt x="117568" y="988702"/>
                      </a:lnTo>
                      <a:lnTo>
                        <a:pt x="117823" y="989103"/>
                      </a:lnTo>
                      <a:lnTo>
                        <a:pt x="119693" y="992127"/>
                      </a:lnTo>
                      <a:lnTo>
                        <a:pt x="120822" y="994616"/>
                      </a:lnTo>
                      <a:lnTo>
                        <a:pt x="124004" y="1006698"/>
                      </a:lnTo>
                      <a:lnTo>
                        <a:pt x="124769" y="1014130"/>
                      </a:lnTo>
                      <a:lnTo>
                        <a:pt x="124805" y="1014445"/>
                      </a:lnTo>
                      <a:lnTo>
                        <a:pt x="124878" y="1014761"/>
                      </a:lnTo>
                      <a:lnTo>
                        <a:pt x="126942" y="1024403"/>
                      </a:lnTo>
                      <a:lnTo>
                        <a:pt x="127052" y="1024912"/>
                      </a:lnTo>
                      <a:lnTo>
                        <a:pt x="127246" y="1025398"/>
                      </a:lnTo>
                      <a:lnTo>
                        <a:pt x="128047" y="1027390"/>
                      </a:lnTo>
                      <a:lnTo>
                        <a:pt x="128654" y="1028908"/>
                      </a:lnTo>
                      <a:lnTo>
                        <a:pt x="129310" y="1029417"/>
                      </a:lnTo>
                      <a:lnTo>
                        <a:pt x="129456" y="1033303"/>
                      </a:lnTo>
                      <a:lnTo>
                        <a:pt x="129480" y="1034153"/>
                      </a:lnTo>
                      <a:lnTo>
                        <a:pt x="129747" y="1034967"/>
                      </a:lnTo>
                      <a:lnTo>
                        <a:pt x="130949" y="1038610"/>
                      </a:lnTo>
                      <a:lnTo>
                        <a:pt x="131265" y="1039581"/>
                      </a:lnTo>
                      <a:lnTo>
                        <a:pt x="131897" y="1040395"/>
                      </a:lnTo>
                      <a:lnTo>
                        <a:pt x="132261" y="1040880"/>
                      </a:lnTo>
                      <a:lnTo>
                        <a:pt x="131241" y="1043418"/>
                      </a:lnTo>
                      <a:lnTo>
                        <a:pt x="130512" y="1045228"/>
                      </a:lnTo>
                      <a:lnTo>
                        <a:pt x="130974" y="1047122"/>
                      </a:lnTo>
                      <a:lnTo>
                        <a:pt x="139875" y="1083502"/>
                      </a:lnTo>
                      <a:lnTo>
                        <a:pt x="140858" y="1087497"/>
                      </a:lnTo>
                      <a:lnTo>
                        <a:pt x="141174" y="1087534"/>
                      </a:lnTo>
                      <a:lnTo>
                        <a:pt x="141210" y="1087728"/>
                      </a:lnTo>
                      <a:lnTo>
                        <a:pt x="141720" y="1090302"/>
                      </a:lnTo>
                      <a:lnTo>
                        <a:pt x="142000" y="1091723"/>
                      </a:lnTo>
                      <a:lnTo>
                        <a:pt x="142910" y="1092877"/>
                      </a:lnTo>
                      <a:lnTo>
                        <a:pt x="144234" y="1094565"/>
                      </a:lnTo>
                      <a:lnTo>
                        <a:pt x="144574" y="1094989"/>
                      </a:lnTo>
                      <a:lnTo>
                        <a:pt x="144987" y="1095354"/>
                      </a:lnTo>
                      <a:lnTo>
                        <a:pt x="146250" y="1096471"/>
                      </a:lnTo>
                      <a:lnTo>
                        <a:pt x="146650" y="1096993"/>
                      </a:lnTo>
                      <a:lnTo>
                        <a:pt x="146553" y="1100247"/>
                      </a:lnTo>
                      <a:lnTo>
                        <a:pt x="146310" y="1108735"/>
                      </a:lnTo>
                      <a:lnTo>
                        <a:pt x="154422" y="1106222"/>
                      </a:lnTo>
                      <a:lnTo>
                        <a:pt x="161914" y="1103915"/>
                      </a:lnTo>
                      <a:lnTo>
                        <a:pt x="164768" y="1103757"/>
                      </a:lnTo>
                      <a:lnTo>
                        <a:pt x="164962" y="1103781"/>
                      </a:lnTo>
                      <a:lnTo>
                        <a:pt x="165156" y="1105190"/>
                      </a:lnTo>
                      <a:lnTo>
                        <a:pt x="165217" y="1105675"/>
                      </a:lnTo>
                      <a:lnTo>
                        <a:pt x="165375" y="1106161"/>
                      </a:lnTo>
                      <a:lnTo>
                        <a:pt x="165775" y="1107448"/>
                      </a:lnTo>
                      <a:lnTo>
                        <a:pt x="165970" y="1108055"/>
                      </a:lnTo>
                      <a:lnTo>
                        <a:pt x="166285" y="1108614"/>
                      </a:lnTo>
                      <a:lnTo>
                        <a:pt x="166917" y="1109731"/>
                      </a:lnTo>
                      <a:lnTo>
                        <a:pt x="167293" y="1110399"/>
                      </a:lnTo>
                      <a:lnTo>
                        <a:pt x="167815" y="1110957"/>
                      </a:lnTo>
                      <a:lnTo>
                        <a:pt x="168969" y="1112172"/>
                      </a:lnTo>
                      <a:lnTo>
                        <a:pt x="169540" y="1112779"/>
                      </a:lnTo>
                      <a:lnTo>
                        <a:pt x="170256" y="1113192"/>
                      </a:lnTo>
                      <a:lnTo>
                        <a:pt x="171118" y="1113702"/>
                      </a:lnTo>
                      <a:lnTo>
                        <a:pt x="171871" y="1114151"/>
                      </a:lnTo>
                      <a:lnTo>
                        <a:pt x="172721" y="1114370"/>
                      </a:lnTo>
                      <a:lnTo>
                        <a:pt x="173753" y="1114624"/>
                      </a:lnTo>
                      <a:lnTo>
                        <a:pt x="174227" y="1114746"/>
                      </a:lnTo>
                      <a:lnTo>
                        <a:pt x="174518" y="1114782"/>
                      </a:lnTo>
                      <a:lnTo>
                        <a:pt x="174798" y="1115572"/>
                      </a:lnTo>
                      <a:lnTo>
                        <a:pt x="175162" y="1116640"/>
                      </a:lnTo>
                      <a:lnTo>
                        <a:pt x="175890" y="1117491"/>
                      </a:lnTo>
                      <a:lnTo>
                        <a:pt x="176813" y="1118583"/>
                      </a:lnTo>
                      <a:lnTo>
                        <a:pt x="177676" y="1119603"/>
                      </a:lnTo>
                      <a:lnTo>
                        <a:pt x="178902" y="1120174"/>
                      </a:lnTo>
                      <a:lnTo>
                        <a:pt x="180213" y="1120781"/>
                      </a:lnTo>
                      <a:lnTo>
                        <a:pt x="180651" y="1120988"/>
                      </a:lnTo>
                      <a:lnTo>
                        <a:pt x="181112" y="1121121"/>
                      </a:lnTo>
                      <a:lnTo>
                        <a:pt x="182205" y="1121425"/>
                      </a:lnTo>
                      <a:lnTo>
                        <a:pt x="183419" y="1121752"/>
                      </a:lnTo>
                      <a:lnTo>
                        <a:pt x="184658" y="1121595"/>
                      </a:lnTo>
                      <a:lnTo>
                        <a:pt x="185459" y="1121485"/>
                      </a:lnTo>
                      <a:lnTo>
                        <a:pt x="186758" y="1121303"/>
                      </a:lnTo>
                      <a:lnTo>
                        <a:pt x="187863" y="1120611"/>
                      </a:lnTo>
                      <a:lnTo>
                        <a:pt x="188556" y="1120186"/>
                      </a:lnTo>
                      <a:lnTo>
                        <a:pt x="188896" y="1119967"/>
                      </a:lnTo>
                      <a:lnTo>
                        <a:pt x="189199" y="1119712"/>
                      </a:lnTo>
                      <a:lnTo>
                        <a:pt x="190681" y="1118498"/>
                      </a:lnTo>
                      <a:lnTo>
                        <a:pt x="191021" y="1118620"/>
                      </a:lnTo>
                      <a:lnTo>
                        <a:pt x="192247" y="1119336"/>
                      </a:lnTo>
                      <a:lnTo>
                        <a:pt x="192235" y="1119433"/>
                      </a:lnTo>
                      <a:lnTo>
                        <a:pt x="192174" y="1119785"/>
                      </a:lnTo>
                      <a:lnTo>
                        <a:pt x="192162" y="1120138"/>
                      </a:lnTo>
                      <a:lnTo>
                        <a:pt x="192101" y="1121449"/>
                      </a:lnTo>
                      <a:lnTo>
                        <a:pt x="192065" y="1122359"/>
                      </a:lnTo>
                      <a:lnTo>
                        <a:pt x="192296" y="1123258"/>
                      </a:lnTo>
                      <a:lnTo>
                        <a:pt x="192636" y="1124545"/>
                      </a:lnTo>
                      <a:lnTo>
                        <a:pt x="192794" y="1125140"/>
                      </a:lnTo>
                      <a:lnTo>
                        <a:pt x="193073" y="1125699"/>
                      </a:lnTo>
                      <a:lnTo>
                        <a:pt x="193765" y="1127095"/>
                      </a:lnTo>
                      <a:lnTo>
                        <a:pt x="194081" y="1127751"/>
                      </a:lnTo>
                      <a:lnTo>
                        <a:pt x="194542" y="1128298"/>
                      </a:lnTo>
                      <a:lnTo>
                        <a:pt x="196036" y="1130083"/>
                      </a:lnTo>
                      <a:lnTo>
                        <a:pt x="196995" y="1131224"/>
                      </a:lnTo>
                      <a:lnTo>
                        <a:pt x="198367" y="1131807"/>
                      </a:lnTo>
                      <a:lnTo>
                        <a:pt x="199678" y="1132353"/>
                      </a:lnTo>
                      <a:lnTo>
                        <a:pt x="201136" y="1132960"/>
                      </a:lnTo>
                      <a:lnTo>
                        <a:pt x="202702" y="1132778"/>
                      </a:lnTo>
                      <a:lnTo>
                        <a:pt x="204038" y="1132620"/>
                      </a:lnTo>
                      <a:lnTo>
                        <a:pt x="205155" y="1132487"/>
                      </a:lnTo>
                      <a:lnTo>
                        <a:pt x="205604" y="1132244"/>
                      </a:lnTo>
                      <a:lnTo>
                        <a:pt x="206636" y="1133895"/>
                      </a:lnTo>
                      <a:lnTo>
                        <a:pt x="207013" y="1134515"/>
                      </a:lnTo>
                      <a:lnTo>
                        <a:pt x="207523" y="1135013"/>
                      </a:lnTo>
                      <a:lnTo>
                        <a:pt x="208834" y="1136287"/>
                      </a:lnTo>
                      <a:lnTo>
                        <a:pt x="209745" y="1137174"/>
                      </a:lnTo>
                      <a:lnTo>
                        <a:pt x="210923" y="1137623"/>
                      </a:lnTo>
                      <a:lnTo>
                        <a:pt x="212137" y="1138085"/>
                      </a:lnTo>
                      <a:lnTo>
                        <a:pt x="212987" y="1138400"/>
                      </a:lnTo>
                      <a:lnTo>
                        <a:pt x="213898" y="1138461"/>
                      </a:lnTo>
                      <a:lnTo>
                        <a:pt x="215149" y="1138546"/>
                      </a:lnTo>
                      <a:lnTo>
                        <a:pt x="216023" y="1138607"/>
                      </a:lnTo>
                      <a:lnTo>
                        <a:pt x="216873" y="1138413"/>
                      </a:lnTo>
                      <a:lnTo>
                        <a:pt x="218148" y="1138133"/>
                      </a:lnTo>
                      <a:lnTo>
                        <a:pt x="218864" y="1137963"/>
                      </a:lnTo>
                      <a:lnTo>
                        <a:pt x="219520" y="1137647"/>
                      </a:lnTo>
                      <a:lnTo>
                        <a:pt x="220674" y="1137077"/>
                      </a:lnTo>
                      <a:lnTo>
                        <a:pt x="221378" y="1136737"/>
                      </a:lnTo>
                      <a:lnTo>
                        <a:pt x="221232" y="1137186"/>
                      </a:lnTo>
                      <a:lnTo>
                        <a:pt x="220540" y="1139311"/>
                      </a:lnTo>
                      <a:lnTo>
                        <a:pt x="220164" y="1140440"/>
                      </a:lnTo>
                      <a:lnTo>
                        <a:pt x="220249" y="1141643"/>
                      </a:lnTo>
                      <a:lnTo>
                        <a:pt x="220358" y="1143221"/>
                      </a:lnTo>
                      <a:lnTo>
                        <a:pt x="220467" y="1144763"/>
                      </a:lnTo>
                      <a:lnTo>
                        <a:pt x="221305" y="1146063"/>
                      </a:lnTo>
                      <a:lnTo>
                        <a:pt x="222046" y="1147216"/>
                      </a:lnTo>
                      <a:lnTo>
                        <a:pt x="222434" y="1147811"/>
                      </a:lnTo>
                      <a:lnTo>
                        <a:pt x="222944" y="1148309"/>
                      </a:lnTo>
                      <a:lnTo>
                        <a:pt x="224729" y="1150033"/>
                      </a:lnTo>
                      <a:lnTo>
                        <a:pt x="225434" y="1151320"/>
                      </a:lnTo>
                      <a:lnTo>
                        <a:pt x="225592" y="1151612"/>
                      </a:lnTo>
                      <a:lnTo>
                        <a:pt x="225786" y="1151879"/>
                      </a:lnTo>
                      <a:lnTo>
                        <a:pt x="226709" y="1153203"/>
                      </a:lnTo>
                      <a:lnTo>
                        <a:pt x="226976" y="1153604"/>
                      </a:lnTo>
                      <a:lnTo>
                        <a:pt x="227304" y="1153943"/>
                      </a:lnTo>
                      <a:lnTo>
                        <a:pt x="228057" y="1154733"/>
                      </a:lnTo>
                      <a:lnTo>
                        <a:pt x="228761" y="1155474"/>
                      </a:lnTo>
                      <a:lnTo>
                        <a:pt x="229684" y="1155947"/>
                      </a:lnTo>
                      <a:lnTo>
                        <a:pt x="229878" y="1156044"/>
                      </a:lnTo>
                      <a:lnTo>
                        <a:pt x="230534" y="1156360"/>
                      </a:lnTo>
                      <a:lnTo>
                        <a:pt x="231869" y="1158533"/>
                      </a:lnTo>
                      <a:lnTo>
                        <a:pt x="232100" y="1158910"/>
                      </a:lnTo>
                      <a:lnTo>
                        <a:pt x="232392" y="1159250"/>
                      </a:lnTo>
                      <a:lnTo>
                        <a:pt x="232962" y="1159930"/>
                      </a:lnTo>
                      <a:lnTo>
                        <a:pt x="233837" y="1160829"/>
                      </a:lnTo>
                      <a:lnTo>
                        <a:pt x="234371" y="1161351"/>
                      </a:lnTo>
                      <a:lnTo>
                        <a:pt x="235027" y="1161727"/>
                      </a:lnTo>
                      <a:lnTo>
                        <a:pt x="236144" y="1162383"/>
                      </a:lnTo>
                      <a:lnTo>
                        <a:pt x="237880" y="1162771"/>
                      </a:lnTo>
                      <a:lnTo>
                        <a:pt x="237990" y="1162783"/>
                      </a:lnTo>
                      <a:lnTo>
                        <a:pt x="237868" y="1163451"/>
                      </a:lnTo>
                      <a:lnTo>
                        <a:pt x="237589" y="1165006"/>
                      </a:lnTo>
                      <a:lnTo>
                        <a:pt x="237467" y="1165649"/>
                      </a:lnTo>
                      <a:lnTo>
                        <a:pt x="237492" y="1166317"/>
                      </a:lnTo>
                      <a:lnTo>
                        <a:pt x="237613" y="1169328"/>
                      </a:lnTo>
                      <a:lnTo>
                        <a:pt x="237637" y="1169899"/>
                      </a:lnTo>
                      <a:lnTo>
                        <a:pt x="237759" y="1170458"/>
                      </a:lnTo>
                      <a:lnTo>
                        <a:pt x="238099" y="1171927"/>
                      </a:lnTo>
                      <a:lnTo>
                        <a:pt x="238317" y="1172862"/>
                      </a:lnTo>
                      <a:lnTo>
                        <a:pt x="238815" y="1173676"/>
                      </a:lnTo>
                      <a:lnTo>
                        <a:pt x="239568" y="1174939"/>
                      </a:lnTo>
                      <a:lnTo>
                        <a:pt x="239932" y="1175546"/>
                      </a:lnTo>
                      <a:lnTo>
                        <a:pt x="240430" y="1176056"/>
                      </a:lnTo>
                      <a:lnTo>
                        <a:pt x="242300" y="1177974"/>
                      </a:lnTo>
                      <a:lnTo>
                        <a:pt x="243660" y="1180099"/>
                      </a:lnTo>
                      <a:lnTo>
                        <a:pt x="244486" y="1182419"/>
                      </a:lnTo>
                      <a:lnTo>
                        <a:pt x="245615" y="1187664"/>
                      </a:lnTo>
                      <a:lnTo>
                        <a:pt x="246502" y="1190555"/>
                      </a:lnTo>
                      <a:lnTo>
                        <a:pt x="246660" y="1191040"/>
                      </a:lnTo>
                      <a:lnTo>
                        <a:pt x="246902" y="1191501"/>
                      </a:lnTo>
                      <a:lnTo>
                        <a:pt x="247582" y="1192813"/>
                      </a:lnTo>
                      <a:lnTo>
                        <a:pt x="248590" y="1194756"/>
                      </a:lnTo>
                      <a:lnTo>
                        <a:pt x="250606" y="1195606"/>
                      </a:lnTo>
                      <a:lnTo>
                        <a:pt x="251420" y="1195946"/>
                      </a:lnTo>
                      <a:lnTo>
                        <a:pt x="252087" y="1196213"/>
                      </a:lnTo>
                      <a:lnTo>
                        <a:pt x="252804" y="1196334"/>
                      </a:lnTo>
                      <a:lnTo>
                        <a:pt x="253666" y="1196480"/>
                      </a:lnTo>
                      <a:lnTo>
                        <a:pt x="254055" y="1196553"/>
                      </a:lnTo>
                      <a:lnTo>
                        <a:pt x="254455" y="1196565"/>
                      </a:lnTo>
                      <a:lnTo>
                        <a:pt x="255487" y="1196602"/>
                      </a:lnTo>
                      <a:lnTo>
                        <a:pt x="255985" y="1196614"/>
                      </a:lnTo>
                      <a:lnTo>
                        <a:pt x="256483" y="1196553"/>
                      </a:lnTo>
                      <a:lnTo>
                        <a:pt x="257406" y="1196431"/>
                      </a:lnTo>
                      <a:lnTo>
                        <a:pt x="258475" y="1197403"/>
                      </a:lnTo>
                      <a:lnTo>
                        <a:pt x="276009" y="1217900"/>
                      </a:lnTo>
                      <a:lnTo>
                        <a:pt x="276288" y="1218228"/>
                      </a:lnTo>
                      <a:lnTo>
                        <a:pt x="276616" y="1218508"/>
                      </a:lnTo>
                      <a:lnTo>
                        <a:pt x="279664" y="1221179"/>
                      </a:lnTo>
                      <a:lnTo>
                        <a:pt x="280745" y="1222126"/>
                      </a:lnTo>
                      <a:lnTo>
                        <a:pt x="282141" y="1222490"/>
                      </a:lnTo>
                      <a:lnTo>
                        <a:pt x="287326" y="1223814"/>
                      </a:lnTo>
                      <a:lnTo>
                        <a:pt x="288504" y="1224287"/>
                      </a:lnTo>
                      <a:lnTo>
                        <a:pt x="289682" y="1225040"/>
                      </a:lnTo>
                      <a:lnTo>
                        <a:pt x="290083" y="1225477"/>
                      </a:lnTo>
                      <a:lnTo>
                        <a:pt x="290726" y="1226461"/>
                      </a:lnTo>
                      <a:lnTo>
                        <a:pt x="291673" y="1228295"/>
                      </a:lnTo>
                      <a:lnTo>
                        <a:pt x="291977" y="1228890"/>
                      </a:lnTo>
                      <a:lnTo>
                        <a:pt x="292402" y="1229399"/>
                      </a:lnTo>
                      <a:lnTo>
                        <a:pt x="293325" y="1230517"/>
                      </a:lnTo>
                      <a:lnTo>
                        <a:pt x="294041" y="1231379"/>
                      </a:lnTo>
                      <a:lnTo>
                        <a:pt x="295025" y="1231925"/>
                      </a:lnTo>
                      <a:lnTo>
                        <a:pt x="295996" y="1232472"/>
                      </a:lnTo>
                      <a:lnTo>
                        <a:pt x="297381" y="1233249"/>
                      </a:lnTo>
                      <a:lnTo>
                        <a:pt x="298971" y="1233249"/>
                      </a:lnTo>
                      <a:lnTo>
                        <a:pt x="299955" y="1233249"/>
                      </a:lnTo>
                      <a:lnTo>
                        <a:pt x="300756" y="1233249"/>
                      </a:lnTo>
                      <a:lnTo>
                        <a:pt x="301521" y="1233043"/>
                      </a:lnTo>
                      <a:lnTo>
                        <a:pt x="302942" y="1232654"/>
                      </a:lnTo>
                      <a:lnTo>
                        <a:pt x="306464" y="1235301"/>
                      </a:lnTo>
                      <a:lnTo>
                        <a:pt x="306719" y="1235508"/>
                      </a:lnTo>
                      <a:lnTo>
                        <a:pt x="306998" y="1235677"/>
                      </a:lnTo>
                      <a:lnTo>
                        <a:pt x="308455" y="1236540"/>
                      </a:lnTo>
                      <a:lnTo>
                        <a:pt x="309038" y="1236880"/>
                      </a:lnTo>
                      <a:lnTo>
                        <a:pt x="309681" y="1237098"/>
                      </a:lnTo>
                      <a:lnTo>
                        <a:pt x="311175" y="1237584"/>
                      </a:lnTo>
                      <a:lnTo>
                        <a:pt x="311770" y="1237778"/>
                      </a:lnTo>
                      <a:lnTo>
                        <a:pt x="312401" y="1237851"/>
                      </a:lnTo>
                      <a:lnTo>
                        <a:pt x="313701" y="1237997"/>
                      </a:lnTo>
                      <a:lnTo>
                        <a:pt x="314138" y="1238045"/>
                      </a:lnTo>
                      <a:lnTo>
                        <a:pt x="314575" y="1238033"/>
                      </a:lnTo>
                      <a:lnTo>
                        <a:pt x="315607" y="1237997"/>
                      </a:lnTo>
                      <a:lnTo>
                        <a:pt x="316081" y="1237973"/>
                      </a:lnTo>
                      <a:lnTo>
                        <a:pt x="316554" y="1237887"/>
                      </a:lnTo>
                      <a:lnTo>
                        <a:pt x="317647" y="1237669"/>
                      </a:lnTo>
                      <a:lnTo>
                        <a:pt x="317671" y="1237669"/>
                      </a:lnTo>
                      <a:lnTo>
                        <a:pt x="318169" y="1241603"/>
                      </a:lnTo>
                      <a:lnTo>
                        <a:pt x="318267" y="1242417"/>
                      </a:lnTo>
                      <a:lnTo>
                        <a:pt x="318582" y="1243170"/>
                      </a:lnTo>
                      <a:lnTo>
                        <a:pt x="319954" y="1246485"/>
                      </a:lnTo>
                      <a:lnTo>
                        <a:pt x="320173" y="1246995"/>
                      </a:lnTo>
                      <a:lnTo>
                        <a:pt x="320464" y="1247456"/>
                      </a:lnTo>
                      <a:lnTo>
                        <a:pt x="321667" y="1249302"/>
                      </a:lnTo>
                      <a:lnTo>
                        <a:pt x="321897" y="1249654"/>
                      </a:lnTo>
                      <a:lnTo>
                        <a:pt x="322164" y="1249958"/>
                      </a:lnTo>
                      <a:lnTo>
                        <a:pt x="324921" y="1253163"/>
                      </a:lnTo>
                      <a:lnTo>
                        <a:pt x="325164" y="1253430"/>
                      </a:lnTo>
                      <a:lnTo>
                        <a:pt x="325431" y="1253685"/>
                      </a:lnTo>
                      <a:lnTo>
                        <a:pt x="328770" y="1256733"/>
                      </a:lnTo>
                      <a:lnTo>
                        <a:pt x="329183" y="1257110"/>
                      </a:lnTo>
                      <a:lnTo>
                        <a:pt x="329669" y="1257401"/>
                      </a:lnTo>
                      <a:lnTo>
                        <a:pt x="332595" y="1259211"/>
                      </a:lnTo>
                      <a:lnTo>
                        <a:pt x="332959" y="1259441"/>
                      </a:lnTo>
                      <a:lnTo>
                        <a:pt x="333348" y="1259623"/>
                      </a:lnTo>
                      <a:lnTo>
                        <a:pt x="336214" y="1260886"/>
                      </a:lnTo>
                      <a:lnTo>
                        <a:pt x="336602" y="1261056"/>
                      </a:lnTo>
                      <a:lnTo>
                        <a:pt x="337003" y="1261178"/>
                      </a:lnTo>
                      <a:lnTo>
                        <a:pt x="340282" y="1262101"/>
                      </a:lnTo>
                      <a:lnTo>
                        <a:pt x="340585" y="1262186"/>
                      </a:lnTo>
                      <a:lnTo>
                        <a:pt x="340889" y="1262234"/>
                      </a:lnTo>
                      <a:lnTo>
                        <a:pt x="344495" y="1262866"/>
                      </a:lnTo>
                      <a:lnTo>
                        <a:pt x="344957" y="1262950"/>
                      </a:lnTo>
                      <a:lnTo>
                        <a:pt x="345418" y="1262963"/>
                      </a:lnTo>
                      <a:lnTo>
                        <a:pt x="348867" y="1263036"/>
                      </a:lnTo>
                      <a:lnTo>
                        <a:pt x="358654" y="1265501"/>
                      </a:lnTo>
                      <a:lnTo>
                        <a:pt x="359698" y="1265768"/>
                      </a:lnTo>
                      <a:lnTo>
                        <a:pt x="360767" y="1265646"/>
                      </a:lnTo>
                      <a:lnTo>
                        <a:pt x="364944" y="1265209"/>
                      </a:lnTo>
                      <a:lnTo>
                        <a:pt x="366183" y="1265076"/>
                      </a:lnTo>
                      <a:lnTo>
                        <a:pt x="367263" y="1264468"/>
                      </a:lnTo>
                      <a:lnTo>
                        <a:pt x="373869" y="1260777"/>
                      </a:lnTo>
                      <a:lnTo>
                        <a:pt x="377233" y="1259599"/>
                      </a:lnTo>
                      <a:lnTo>
                        <a:pt x="377233" y="1259733"/>
                      </a:lnTo>
                      <a:lnTo>
                        <a:pt x="376516" y="1266326"/>
                      </a:lnTo>
                      <a:lnTo>
                        <a:pt x="376431" y="1267091"/>
                      </a:lnTo>
                      <a:lnTo>
                        <a:pt x="376540" y="1267844"/>
                      </a:lnTo>
                      <a:lnTo>
                        <a:pt x="376844" y="1269908"/>
                      </a:lnTo>
                      <a:lnTo>
                        <a:pt x="377014" y="1271050"/>
                      </a:lnTo>
                      <a:lnTo>
                        <a:pt x="377585" y="1272046"/>
                      </a:lnTo>
                      <a:lnTo>
                        <a:pt x="378435" y="1273539"/>
                      </a:lnTo>
                      <a:lnTo>
                        <a:pt x="378933" y="1274402"/>
                      </a:lnTo>
                      <a:lnTo>
                        <a:pt x="379685" y="1275069"/>
                      </a:lnTo>
                      <a:lnTo>
                        <a:pt x="381980" y="1277109"/>
                      </a:lnTo>
                      <a:lnTo>
                        <a:pt x="382867" y="1277886"/>
                      </a:lnTo>
                      <a:lnTo>
                        <a:pt x="383996" y="1278287"/>
                      </a:lnTo>
                      <a:lnTo>
                        <a:pt x="385538" y="1278834"/>
                      </a:lnTo>
                      <a:lnTo>
                        <a:pt x="386522" y="1279173"/>
                      </a:lnTo>
                      <a:lnTo>
                        <a:pt x="387566" y="1279173"/>
                      </a:lnTo>
                      <a:lnTo>
                        <a:pt x="389181" y="1279173"/>
                      </a:lnTo>
                      <a:lnTo>
                        <a:pt x="390772" y="1279173"/>
                      </a:lnTo>
                      <a:lnTo>
                        <a:pt x="392168" y="1278396"/>
                      </a:lnTo>
                      <a:lnTo>
                        <a:pt x="393492" y="1277644"/>
                      </a:lnTo>
                      <a:lnTo>
                        <a:pt x="393868" y="1277474"/>
                      </a:lnTo>
                      <a:lnTo>
                        <a:pt x="394293" y="1277364"/>
                      </a:lnTo>
                      <a:lnTo>
                        <a:pt x="395496" y="1277413"/>
                      </a:lnTo>
                      <a:lnTo>
                        <a:pt x="396333" y="1277680"/>
                      </a:lnTo>
                      <a:lnTo>
                        <a:pt x="396904" y="1278008"/>
                      </a:lnTo>
                      <a:lnTo>
                        <a:pt x="397511" y="1278639"/>
                      </a:lnTo>
                      <a:lnTo>
                        <a:pt x="398009" y="1279368"/>
                      </a:lnTo>
                      <a:lnTo>
                        <a:pt x="399770" y="1282622"/>
                      </a:lnTo>
                      <a:lnTo>
                        <a:pt x="400851" y="1284347"/>
                      </a:lnTo>
                      <a:lnTo>
                        <a:pt x="401081" y="1284699"/>
                      </a:lnTo>
                      <a:lnTo>
                        <a:pt x="401361" y="1285014"/>
                      </a:lnTo>
                      <a:lnTo>
                        <a:pt x="402745" y="1286629"/>
                      </a:lnTo>
                      <a:lnTo>
                        <a:pt x="403656" y="1287686"/>
                      </a:lnTo>
                      <a:lnTo>
                        <a:pt x="404943" y="1288244"/>
                      </a:lnTo>
                      <a:lnTo>
                        <a:pt x="406206" y="1288791"/>
                      </a:lnTo>
                      <a:lnTo>
                        <a:pt x="407359" y="1289289"/>
                      </a:lnTo>
                      <a:lnTo>
                        <a:pt x="408622" y="1289289"/>
                      </a:lnTo>
                      <a:lnTo>
                        <a:pt x="409654" y="1289289"/>
                      </a:lnTo>
                      <a:lnTo>
                        <a:pt x="411063" y="1289289"/>
                      </a:lnTo>
                      <a:lnTo>
                        <a:pt x="412326" y="1288657"/>
                      </a:lnTo>
                      <a:lnTo>
                        <a:pt x="412945" y="1288366"/>
                      </a:lnTo>
                      <a:lnTo>
                        <a:pt x="416636" y="1293563"/>
                      </a:lnTo>
                      <a:lnTo>
                        <a:pt x="416904" y="1293951"/>
                      </a:lnTo>
                      <a:lnTo>
                        <a:pt x="417231" y="1294292"/>
                      </a:lnTo>
                      <a:lnTo>
                        <a:pt x="419636" y="1296757"/>
                      </a:lnTo>
                      <a:lnTo>
                        <a:pt x="420024" y="1297145"/>
                      </a:lnTo>
                      <a:lnTo>
                        <a:pt x="420474" y="1297461"/>
                      </a:lnTo>
                      <a:lnTo>
                        <a:pt x="422016" y="1298554"/>
                      </a:lnTo>
                      <a:lnTo>
                        <a:pt x="422623" y="1298979"/>
                      </a:lnTo>
                      <a:lnTo>
                        <a:pt x="423315" y="1299246"/>
                      </a:lnTo>
                      <a:lnTo>
                        <a:pt x="424711" y="1299792"/>
                      </a:lnTo>
                      <a:lnTo>
                        <a:pt x="425221" y="1299999"/>
                      </a:lnTo>
                      <a:lnTo>
                        <a:pt x="425756" y="1300096"/>
                      </a:lnTo>
                      <a:lnTo>
                        <a:pt x="429253" y="1300788"/>
                      </a:lnTo>
                      <a:lnTo>
                        <a:pt x="431159" y="1301043"/>
                      </a:lnTo>
                      <a:lnTo>
                        <a:pt x="431924" y="1301128"/>
                      </a:lnTo>
                      <a:lnTo>
                        <a:pt x="432677" y="1301019"/>
                      </a:lnTo>
                      <a:lnTo>
                        <a:pt x="434049" y="1300824"/>
                      </a:lnTo>
                      <a:lnTo>
                        <a:pt x="434814" y="1300715"/>
                      </a:lnTo>
                      <a:lnTo>
                        <a:pt x="435531" y="1300424"/>
                      </a:lnTo>
                      <a:lnTo>
                        <a:pt x="435907" y="1300266"/>
                      </a:lnTo>
                      <a:lnTo>
                        <a:pt x="435992" y="1302342"/>
                      </a:lnTo>
                      <a:lnTo>
                        <a:pt x="436004" y="1302731"/>
                      </a:lnTo>
                      <a:lnTo>
                        <a:pt x="436065" y="1303119"/>
                      </a:lnTo>
                      <a:lnTo>
                        <a:pt x="436684" y="1306702"/>
                      </a:lnTo>
                      <a:lnTo>
                        <a:pt x="436939" y="1308159"/>
                      </a:lnTo>
                      <a:lnTo>
                        <a:pt x="437838" y="1309349"/>
                      </a:lnTo>
                      <a:lnTo>
                        <a:pt x="440667" y="1313052"/>
                      </a:lnTo>
                      <a:lnTo>
                        <a:pt x="446496" y="1320678"/>
                      </a:lnTo>
                      <a:lnTo>
                        <a:pt x="450892" y="1312142"/>
                      </a:lnTo>
                      <a:lnTo>
                        <a:pt x="451754" y="1310466"/>
                      </a:lnTo>
                      <a:lnTo>
                        <a:pt x="452057" y="1310017"/>
                      </a:lnTo>
                      <a:lnTo>
                        <a:pt x="452737" y="1309215"/>
                      </a:lnTo>
                      <a:lnTo>
                        <a:pt x="453879" y="1308110"/>
                      </a:lnTo>
                      <a:lnTo>
                        <a:pt x="455567" y="1306823"/>
                      </a:lnTo>
                      <a:lnTo>
                        <a:pt x="457121" y="1305888"/>
                      </a:lnTo>
                      <a:lnTo>
                        <a:pt x="458930" y="1305439"/>
                      </a:lnTo>
                      <a:lnTo>
                        <a:pt x="460837" y="1305475"/>
                      </a:lnTo>
                      <a:lnTo>
                        <a:pt x="463945" y="1306592"/>
                      </a:lnTo>
                      <a:lnTo>
                        <a:pt x="464310" y="1306957"/>
                      </a:lnTo>
                      <a:lnTo>
                        <a:pt x="464055" y="1309385"/>
                      </a:lnTo>
                      <a:lnTo>
                        <a:pt x="464018" y="1309798"/>
                      </a:lnTo>
                      <a:lnTo>
                        <a:pt x="464030" y="1310199"/>
                      </a:lnTo>
                      <a:lnTo>
                        <a:pt x="464091" y="1311972"/>
                      </a:lnTo>
                      <a:lnTo>
                        <a:pt x="464115" y="1312785"/>
                      </a:lnTo>
                      <a:lnTo>
                        <a:pt x="464358" y="1313562"/>
                      </a:lnTo>
                      <a:lnTo>
                        <a:pt x="464868" y="1315202"/>
                      </a:lnTo>
                      <a:lnTo>
                        <a:pt x="465305" y="1316598"/>
                      </a:lnTo>
                      <a:lnTo>
                        <a:pt x="466325" y="1317642"/>
                      </a:lnTo>
                      <a:lnTo>
                        <a:pt x="467600" y="1318942"/>
                      </a:lnTo>
                      <a:lnTo>
                        <a:pt x="468329" y="1319682"/>
                      </a:lnTo>
                      <a:lnTo>
                        <a:pt x="469264" y="1320144"/>
                      </a:lnTo>
                      <a:lnTo>
                        <a:pt x="471158" y="1321079"/>
                      </a:lnTo>
                      <a:lnTo>
                        <a:pt x="472020" y="1321504"/>
                      </a:lnTo>
                      <a:lnTo>
                        <a:pt x="472980" y="1321650"/>
                      </a:lnTo>
                      <a:lnTo>
                        <a:pt x="476015" y="1322087"/>
                      </a:lnTo>
                      <a:lnTo>
                        <a:pt x="476404" y="1322135"/>
                      </a:lnTo>
                      <a:lnTo>
                        <a:pt x="476792" y="1322147"/>
                      </a:lnTo>
                      <a:lnTo>
                        <a:pt x="480933" y="1322208"/>
                      </a:lnTo>
                      <a:lnTo>
                        <a:pt x="508206" y="1320107"/>
                      </a:lnTo>
                      <a:lnTo>
                        <a:pt x="510186" y="1320326"/>
                      </a:lnTo>
                      <a:lnTo>
                        <a:pt x="519803" y="1323046"/>
                      </a:lnTo>
                      <a:lnTo>
                        <a:pt x="523616" y="1324115"/>
                      </a:lnTo>
                      <a:lnTo>
                        <a:pt x="526142" y="1321067"/>
                      </a:lnTo>
                      <a:lnTo>
                        <a:pt x="527283" y="1319682"/>
                      </a:lnTo>
                      <a:lnTo>
                        <a:pt x="527562" y="1319342"/>
                      </a:lnTo>
                      <a:lnTo>
                        <a:pt x="527793" y="1318966"/>
                      </a:lnTo>
                      <a:lnTo>
                        <a:pt x="528825" y="1317254"/>
                      </a:lnTo>
                      <a:lnTo>
                        <a:pt x="529408" y="1316294"/>
                      </a:lnTo>
                      <a:lnTo>
                        <a:pt x="529602" y="1315202"/>
                      </a:lnTo>
                      <a:lnTo>
                        <a:pt x="531594" y="1304297"/>
                      </a:lnTo>
                      <a:lnTo>
                        <a:pt x="535589" y="1297449"/>
                      </a:lnTo>
                      <a:lnTo>
                        <a:pt x="542085" y="1288402"/>
                      </a:lnTo>
                      <a:lnTo>
                        <a:pt x="542547" y="1288086"/>
                      </a:lnTo>
                      <a:lnTo>
                        <a:pt x="543348" y="1287807"/>
                      </a:lnTo>
                      <a:lnTo>
                        <a:pt x="546481" y="1287698"/>
                      </a:lnTo>
                      <a:lnTo>
                        <a:pt x="549808" y="1287309"/>
                      </a:lnTo>
                      <a:lnTo>
                        <a:pt x="550707" y="1287200"/>
                      </a:lnTo>
                      <a:lnTo>
                        <a:pt x="551532" y="1286836"/>
                      </a:lnTo>
                      <a:lnTo>
                        <a:pt x="554690" y="1285427"/>
                      </a:lnTo>
                      <a:lnTo>
                        <a:pt x="555102" y="1285536"/>
                      </a:lnTo>
                      <a:lnTo>
                        <a:pt x="556244" y="1286216"/>
                      </a:lnTo>
                      <a:lnTo>
                        <a:pt x="566189" y="1296514"/>
                      </a:lnTo>
                      <a:lnTo>
                        <a:pt x="566942" y="1297291"/>
                      </a:lnTo>
                      <a:lnTo>
                        <a:pt x="567925" y="1297764"/>
                      </a:lnTo>
                      <a:lnTo>
                        <a:pt x="570451" y="1298979"/>
                      </a:lnTo>
                      <a:lnTo>
                        <a:pt x="572285" y="1299853"/>
                      </a:lnTo>
                      <a:lnTo>
                        <a:pt x="574276" y="1299452"/>
                      </a:lnTo>
                      <a:lnTo>
                        <a:pt x="576389" y="1299027"/>
                      </a:lnTo>
                      <a:lnTo>
                        <a:pt x="579133" y="1298469"/>
                      </a:lnTo>
                      <a:lnTo>
                        <a:pt x="580493" y="1296028"/>
                      </a:lnTo>
                      <a:lnTo>
                        <a:pt x="581890" y="1293514"/>
                      </a:lnTo>
                      <a:lnTo>
                        <a:pt x="582363" y="1292664"/>
                      </a:lnTo>
                      <a:lnTo>
                        <a:pt x="582545" y="1291705"/>
                      </a:lnTo>
                      <a:lnTo>
                        <a:pt x="582837" y="1290126"/>
                      </a:lnTo>
                      <a:lnTo>
                        <a:pt x="583444" y="1289969"/>
                      </a:lnTo>
                      <a:lnTo>
                        <a:pt x="587755" y="1289362"/>
                      </a:lnTo>
                      <a:lnTo>
                        <a:pt x="596230" y="1289726"/>
                      </a:lnTo>
                      <a:lnTo>
                        <a:pt x="597166" y="1289762"/>
                      </a:lnTo>
                      <a:lnTo>
                        <a:pt x="598064" y="1289507"/>
                      </a:lnTo>
                      <a:lnTo>
                        <a:pt x="600650" y="1288803"/>
                      </a:lnTo>
                      <a:lnTo>
                        <a:pt x="601270" y="1288633"/>
                      </a:lnTo>
                      <a:lnTo>
                        <a:pt x="601841" y="1288341"/>
                      </a:lnTo>
                      <a:lnTo>
                        <a:pt x="604245" y="1287103"/>
                      </a:lnTo>
                      <a:lnTo>
                        <a:pt x="604524" y="1286994"/>
                      </a:lnTo>
                      <a:lnTo>
                        <a:pt x="604937" y="1287224"/>
                      </a:lnTo>
                      <a:lnTo>
                        <a:pt x="605411" y="1287467"/>
                      </a:lnTo>
                      <a:lnTo>
                        <a:pt x="605921" y="1287637"/>
                      </a:lnTo>
                      <a:lnTo>
                        <a:pt x="608726" y="1288511"/>
                      </a:lnTo>
                      <a:lnTo>
                        <a:pt x="609272" y="1288766"/>
                      </a:lnTo>
                      <a:lnTo>
                        <a:pt x="612077" y="1291074"/>
                      </a:lnTo>
                      <a:lnTo>
                        <a:pt x="612976" y="1291814"/>
                      </a:lnTo>
                      <a:lnTo>
                        <a:pt x="614081" y="1292166"/>
                      </a:lnTo>
                      <a:lnTo>
                        <a:pt x="616667" y="1292992"/>
                      </a:lnTo>
                      <a:lnTo>
                        <a:pt x="617626" y="1293296"/>
                      </a:lnTo>
                      <a:lnTo>
                        <a:pt x="618634" y="1293284"/>
                      </a:lnTo>
                      <a:lnTo>
                        <a:pt x="621500" y="1293235"/>
                      </a:lnTo>
                      <a:lnTo>
                        <a:pt x="622301" y="1293223"/>
                      </a:lnTo>
                      <a:lnTo>
                        <a:pt x="623078" y="1292992"/>
                      </a:lnTo>
                      <a:lnTo>
                        <a:pt x="627037" y="1291838"/>
                      </a:lnTo>
                      <a:lnTo>
                        <a:pt x="631700" y="1291730"/>
                      </a:lnTo>
                      <a:lnTo>
                        <a:pt x="632756" y="1291705"/>
                      </a:lnTo>
                      <a:lnTo>
                        <a:pt x="633752" y="1291316"/>
                      </a:lnTo>
                      <a:lnTo>
                        <a:pt x="635829" y="1290515"/>
                      </a:lnTo>
                      <a:lnTo>
                        <a:pt x="637152" y="1290005"/>
                      </a:lnTo>
                      <a:lnTo>
                        <a:pt x="638111" y="1288961"/>
                      </a:lnTo>
                      <a:lnTo>
                        <a:pt x="640856" y="1285974"/>
                      </a:lnTo>
                      <a:lnTo>
                        <a:pt x="641402" y="1285379"/>
                      </a:lnTo>
                      <a:lnTo>
                        <a:pt x="641779" y="1284650"/>
                      </a:lnTo>
                      <a:lnTo>
                        <a:pt x="643454" y="1281396"/>
                      </a:lnTo>
                      <a:lnTo>
                        <a:pt x="643649" y="1281031"/>
                      </a:lnTo>
                      <a:lnTo>
                        <a:pt x="643794" y="1280631"/>
                      </a:lnTo>
                      <a:lnTo>
                        <a:pt x="647231" y="1270892"/>
                      </a:lnTo>
                      <a:lnTo>
                        <a:pt x="648093" y="1269374"/>
                      </a:lnTo>
                      <a:lnTo>
                        <a:pt x="650862" y="1265683"/>
                      </a:lnTo>
                      <a:lnTo>
                        <a:pt x="651238" y="1265185"/>
                      </a:lnTo>
                      <a:lnTo>
                        <a:pt x="651505" y="1264614"/>
                      </a:lnTo>
                      <a:lnTo>
                        <a:pt x="651602" y="1264383"/>
                      </a:lnTo>
                      <a:lnTo>
                        <a:pt x="652950" y="1263619"/>
                      </a:lnTo>
                      <a:lnTo>
                        <a:pt x="653691" y="1263291"/>
                      </a:lnTo>
                      <a:lnTo>
                        <a:pt x="672427" y="1261603"/>
                      </a:lnTo>
                      <a:lnTo>
                        <a:pt x="672840" y="1261566"/>
                      </a:lnTo>
                      <a:lnTo>
                        <a:pt x="673241" y="1261469"/>
                      </a:lnTo>
                      <a:lnTo>
                        <a:pt x="676860" y="1260643"/>
                      </a:lnTo>
                      <a:lnTo>
                        <a:pt x="677406" y="1260510"/>
                      </a:lnTo>
                      <a:lnTo>
                        <a:pt x="677916" y="1260291"/>
                      </a:lnTo>
                      <a:lnTo>
                        <a:pt x="679580" y="1259563"/>
                      </a:lnTo>
                      <a:lnTo>
                        <a:pt x="679920" y="1259405"/>
                      </a:lnTo>
                      <a:lnTo>
                        <a:pt x="680235" y="1259211"/>
                      </a:lnTo>
                      <a:lnTo>
                        <a:pt x="681850" y="1258263"/>
                      </a:lnTo>
                      <a:lnTo>
                        <a:pt x="682190" y="1258069"/>
                      </a:lnTo>
                      <a:lnTo>
                        <a:pt x="682494" y="1257826"/>
                      </a:lnTo>
                      <a:lnTo>
                        <a:pt x="684558" y="1256223"/>
                      </a:lnTo>
                      <a:lnTo>
                        <a:pt x="685724" y="1255313"/>
                      </a:lnTo>
                      <a:lnTo>
                        <a:pt x="686343" y="1253977"/>
                      </a:lnTo>
                      <a:lnTo>
                        <a:pt x="688262" y="1249824"/>
                      </a:lnTo>
                      <a:lnTo>
                        <a:pt x="694285" y="1242368"/>
                      </a:lnTo>
                      <a:lnTo>
                        <a:pt x="694783" y="1241761"/>
                      </a:lnTo>
                      <a:lnTo>
                        <a:pt x="695098" y="1241033"/>
                      </a:lnTo>
                      <a:lnTo>
                        <a:pt x="696082" y="1238835"/>
                      </a:lnTo>
                      <a:lnTo>
                        <a:pt x="696786" y="1238300"/>
                      </a:lnTo>
                      <a:lnTo>
                        <a:pt x="697126" y="1238045"/>
                      </a:lnTo>
                      <a:lnTo>
                        <a:pt x="697418" y="1237742"/>
                      </a:lnTo>
                      <a:lnTo>
                        <a:pt x="699154" y="1235993"/>
                      </a:lnTo>
                      <a:lnTo>
                        <a:pt x="700465" y="1234682"/>
                      </a:lnTo>
                      <a:lnTo>
                        <a:pt x="700672" y="1234548"/>
                      </a:lnTo>
                      <a:lnTo>
                        <a:pt x="700939" y="1234317"/>
                      </a:lnTo>
                      <a:lnTo>
                        <a:pt x="701182" y="1234062"/>
                      </a:lnTo>
                      <a:lnTo>
                        <a:pt x="701874" y="1233334"/>
                      </a:lnTo>
                      <a:lnTo>
                        <a:pt x="702323" y="1232873"/>
                      </a:lnTo>
                      <a:lnTo>
                        <a:pt x="702663" y="1232326"/>
                      </a:lnTo>
                      <a:lnTo>
                        <a:pt x="703125" y="1231573"/>
                      </a:lnTo>
                      <a:lnTo>
                        <a:pt x="703756" y="1230395"/>
                      </a:lnTo>
                      <a:lnTo>
                        <a:pt x="704315" y="1229108"/>
                      </a:lnTo>
                      <a:lnTo>
                        <a:pt x="704509" y="1228635"/>
                      </a:lnTo>
                      <a:lnTo>
                        <a:pt x="704618" y="1228149"/>
                      </a:lnTo>
                      <a:lnTo>
                        <a:pt x="705031" y="1226376"/>
                      </a:lnTo>
                      <a:lnTo>
                        <a:pt x="705104" y="1226072"/>
                      </a:lnTo>
                      <a:lnTo>
                        <a:pt x="705141" y="1225757"/>
                      </a:lnTo>
                      <a:lnTo>
                        <a:pt x="705262" y="1224834"/>
                      </a:lnTo>
                      <a:lnTo>
                        <a:pt x="705298" y="1224470"/>
                      </a:lnTo>
                      <a:lnTo>
                        <a:pt x="705298" y="1224105"/>
                      </a:lnTo>
                      <a:lnTo>
                        <a:pt x="705298" y="1223134"/>
                      </a:lnTo>
                      <a:lnTo>
                        <a:pt x="705298" y="1221968"/>
                      </a:lnTo>
                      <a:lnTo>
                        <a:pt x="704873" y="1220887"/>
                      </a:lnTo>
                      <a:lnTo>
                        <a:pt x="704193" y="1219163"/>
                      </a:lnTo>
                      <a:lnTo>
                        <a:pt x="703999" y="1218665"/>
                      </a:lnTo>
                      <a:lnTo>
                        <a:pt x="703720" y="1218216"/>
                      </a:lnTo>
                      <a:lnTo>
                        <a:pt x="698425" y="1209655"/>
                      </a:lnTo>
                      <a:lnTo>
                        <a:pt x="697770" y="1208587"/>
                      </a:lnTo>
                      <a:lnTo>
                        <a:pt x="696762" y="1207870"/>
                      </a:lnTo>
                      <a:lnTo>
                        <a:pt x="695973" y="1207324"/>
                      </a:lnTo>
                      <a:lnTo>
                        <a:pt x="695803" y="1207093"/>
                      </a:lnTo>
                      <a:lnTo>
                        <a:pt x="694977" y="1205988"/>
                      </a:lnTo>
                      <a:lnTo>
                        <a:pt x="693750" y="1205357"/>
                      </a:lnTo>
                      <a:lnTo>
                        <a:pt x="688869" y="1202855"/>
                      </a:lnTo>
                      <a:lnTo>
                        <a:pt x="688104" y="1202467"/>
                      </a:lnTo>
                      <a:lnTo>
                        <a:pt x="687254" y="1202297"/>
                      </a:lnTo>
                      <a:lnTo>
                        <a:pt x="681510" y="1201180"/>
                      </a:lnTo>
                      <a:lnTo>
                        <a:pt x="680964" y="1201070"/>
                      </a:lnTo>
                      <a:lnTo>
                        <a:pt x="680405" y="1201070"/>
                      </a:lnTo>
                      <a:lnTo>
                        <a:pt x="651299" y="1200815"/>
                      </a:lnTo>
                      <a:lnTo>
                        <a:pt x="650886" y="1199734"/>
                      </a:lnTo>
                      <a:lnTo>
                        <a:pt x="650145" y="1197780"/>
                      </a:lnTo>
                      <a:lnTo>
                        <a:pt x="649635" y="1196456"/>
                      </a:lnTo>
                      <a:lnTo>
                        <a:pt x="650011" y="1196213"/>
                      </a:lnTo>
                      <a:lnTo>
                        <a:pt x="657006" y="1192679"/>
                      </a:lnTo>
                      <a:lnTo>
                        <a:pt x="657868" y="1192242"/>
                      </a:lnTo>
                      <a:lnTo>
                        <a:pt x="658560" y="1191550"/>
                      </a:lnTo>
                      <a:lnTo>
                        <a:pt x="664534" y="1185588"/>
                      </a:lnTo>
                      <a:lnTo>
                        <a:pt x="665045" y="1185078"/>
                      </a:lnTo>
                      <a:lnTo>
                        <a:pt x="665421" y="1184459"/>
                      </a:lnTo>
                      <a:lnTo>
                        <a:pt x="667254" y="1181447"/>
                      </a:lnTo>
                      <a:lnTo>
                        <a:pt x="670339" y="1177974"/>
                      </a:lnTo>
                      <a:lnTo>
                        <a:pt x="670642" y="1177634"/>
                      </a:lnTo>
                      <a:lnTo>
                        <a:pt x="670897" y="1177258"/>
                      </a:lnTo>
                      <a:lnTo>
                        <a:pt x="672342" y="1175036"/>
                      </a:lnTo>
                      <a:lnTo>
                        <a:pt x="672670" y="1174514"/>
                      </a:lnTo>
                      <a:lnTo>
                        <a:pt x="672901" y="1173943"/>
                      </a:lnTo>
                      <a:lnTo>
                        <a:pt x="674091" y="1170907"/>
                      </a:lnTo>
                      <a:lnTo>
                        <a:pt x="674249" y="1170507"/>
                      </a:lnTo>
                      <a:lnTo>
                        <a:pt x="674346" y="1170081"/>
                      </a:lnTo>
                      <a:lnTo>
                        <a:pt x="677054" y="1158509"/>
                      </a:lnTo>
                      <a:lnTo>
                        <a:pt x="677175" y="1157999"/>
                      </a:lnTo>
                      <a:lnTo>
                        <a:pt x="677200" y="1157477"/>
                      </a:lnTo>
                      <a:lnTo>
                        <a:pt x="677357" y="1154806"/>
                      </a:lnTo>
                      <a:lnTo>
                        <a:pt x="677430" y="1153470"/>
                      </a:lnTo>
                      <a:lnTo>
                        <a:pt x="676933" y="1152219"/>
                      </a:lnTo>
                      <a:lnTo>
                        <a:pt x="676082" y="1150070"/>
                      </a:lnTo>
                      <a:lnTo>
                        <a:pt x="675402" y="1148333"/>
                      </a:lnTo>
                      <a:lnTo>
                        <a:pt x="673860" y="1147277"/>
                      </a:lnTo>
                      <a:lnTo>
                        <a:pt x="672889" y="1146609"/>
                      </a:lnTo>
                      <a:lnTo>
                        <a:pt x="671298" y="1145516"/>
                      </a:lnTo>
                      <a:lnTo>
                        <a:pt x="670084" y="1145541"/>
                      </a:lnTo>
                      <a:lnTo>
                        <a:pt x="670084" y="1144447"/>
                      </a:lnTo>
                      <a:lnTo>
                        <a:pt x="669683" y="1143403"/>
                      </a:lnTo>
                      <a:lnTo>
                        <a:pt x="668821" y="1141120"/>
                      </a:lnTo>
                      <a:lnTo>
                        <a:pt x="668457" y="1140161"/>
                      </a:lnTo>
                      <a:lnTo>
                        <a:pt x="667862" y="1139457"/>
                      </a:lnTo>
                      <a:lnTo>
                        <a:pt x="667837" y="1139263"/>
                      </a:lnTo>
                      <a:lnTo>
                        <a:pt x="668214" y="1136518"/>
                      </a:lnTo>
                      <a:lnTo>
                        <a:pt x="670570" y="1129342"/>
                      </a:lnTo>
                      <a:lnTo>
                        <a:pt x="673751" y="1122651"/>
                      </a:lnTo>
                      <a:lnTo>
                        <a:pt x="675160" y="1122129"/>
                      </a:lnTo>
                      <a:lnTo>
                        <a:pt x="675293" y="1122117"/>
                      </a:lnTo>
                      <a:lnTo>
                        <a:pt x="676180" y="1122165"/>
                      </a:lnTo>
                      <a:lnTo>
                        <a:pt x="679106" y="1122882"/>
                      </a:lnTo>
                      <a:lnTo>
                        <a:pt x="679470" y="1122967"/>
                      </a:lnTo>
                      <a:lnTo>
                        <a:pt x="679847" y="1123015"/>
                      </a:lnTo>
                      <a:lnTo>
                        <a:pt x="681632" y="1123222"/>
                      </a:lnTo>
                      <a:lnTo>
                        <a:pt x="682470" y="1123319"/>
                      </a:lnTo>
                      <a:lnTo>
                        <a:pt x="683307" y="1123173"/>
                      </a:lnTo>
                      <a:lnTo>
                        <a:pt x="685384" y="1122833"/>
                      </a:lnTo>
                      <a:lnTo>
                        <a:pt x="685979" y="1122736"/>
                      </a:lnTo>
                      <a:lnTo>
                        <a:pt x="686538" y="1122505"/>
                      </a:lnTo>
                      <a:lnTo>
                        <a:pt x="688662" y="1121704"/>
                      </a:lnTo>
                      <a:lnTo>
                        <a:pt x="689124" y="1121534"/>
                      </a:lnTo>
                      <a:lnTo>
                        <a:pt x="689549" y="1121279"/>
                      </a:lnTo>
                      <a:lnTo>
                        <a:pt x="697211" y="1116822"/>
                      </a:lnTo>
                      <a:lnTo>
                        <a:pt x="698486" y="1116337"/>
                      </a:lnTo>
                      <a:lnTo>
                        <a:pt x="698838" y="1116203"/>
                      </a:lnTo>
                      <a:lnTo>
                        <a:pt x="699178" y="1116021"/>
                      </a:lnTo>
                      <a:lnTo>
                        <a:pt x="700429" y="1115353"/>
                      </a:lnTo>
                      <a:lnTo>
                        <a:pt x="701158" y="1114965"/>
                      </a:lnTo>
                      <a:lnTo>
                        <a:pt x="701753" y="1114394"/>
                      </a:lnTo>
                      <a:lnTo>
                        <a:pt x="702736" y="1113459"/>
                      </a:lnTo>
                      <a:lnTo>
                        <a:pt x="704776" y="1111504"/>
                      </a:lnTo>
                      <a:lnTo>
                        <a:pt x="704606" y="1108699"/>
                      </a:lnTo>
                      <a:lnTo>
                        <a:pt x="704497" y="1106963"/>
                      </a:lnTo>
                      <a:lnTo>
                        <a:pt x="704412" y="1105603"/>
                      </a:lnTo>
                      <a:lnTo>
                        <a:pt x="703756" y="1104400"/>
                      </a:lnTo>
                      <a:lnTo>
                        <a:pt x="703173" y="1103344"/>
                      </a:lnTo>
                      <a:lnTo>
                        <a:pt x="703149" y="1103283"/>
                      </a:lnTo>
                      <a:lnTo>
                        <a:pt x="705930" y="1099361"/>
                      </a:lnTo>
                      <a:lnTo>
                        <a:pt x="706197" y="1098984"/>
                      </a:lnTo>
                      <a:lnTo>
                        <a:pt x="706403" y="1098572"/>
                      </a:lnTo>
                      <a:lnTo>
                        <a:pt x="708577" y="1094237"/>
                      </a:lnTo>
                      <a:lnTo>
                        <a:pt x="708881" y="1093617"/>
                      </a:lnTo>
                      <a:lnTo>
                        <a:pt x="709038" y="1092949"/>
                      </a:lnTo>
                      <a:lnTo>
                        <a:pt x="710374" y="1087473"/>
                      </a:lnTo>
                      <a:lnTo>
                        <a:pt x="714733" y="1086004"/>
                      </a:lnTo>
                      <a:lnTo>
                        <a:pt x="722578" y="1085797"/>
                      </a:lnTo>
                      <a:lnTo>
                        <a:pt x="723403" y="1085907"/>
                      </a:lnTo>
                      <a:lnTo>
                        <a:pt x="723938" y="1086089"/>
                      </a:lnTo>
                      <a:lnTo>
                        <a:pt x="725018" y="1086781"/>
                      </a:lnTo>
                      <a:lnTo>
                        <a:pt x="725869" y="1087558"/>
                      </a:lnTo>
                      <a:lnTo>
                        <a:pt x="726658" y="1088542"/>
                      </a:lnTo>
                      <a:lnTo>
                        <a:pt x="727690" y="1090108"/>
                      </a:lnTo>
                      <a:lnTo>
                        <a:pt x="727933" y="1090484"/>
                      </a:lnTo>
                      <a:lnTo>
                        <a:pt x="728224" y="1090812"/>
                      </a:lnTo>
                      <a:lnTo>
                        <a:pt x="731454" y="1094455"/>
                      </a:lnTo>
                      <a:lnTo>
                        <a:pt x="731879" y="1094929"/>
                      </a:lnTo>
                      <a:lnTo>
                        <a:pt x="732401" y="1095317"/>
                      </a:lnTo>
                      <a:lnTo>
                        <a:pt x="734405" y="1096787"/>
                      </a:lnTo>
                      <a:lnTo>
                        <a:pt x="735036" y="1097248"/>
                      </a:lnTo>
                      <a:lnTo>
                        <a:pt x="735765" y="1097527"/>
                      </a:lnTo>
                      <a:lnTo>
                        <a:pt x="737938" y="1098389"/>
                      </a:lnTo>
                      <a:lnTo>
                        <a:pt x="739602" y="1099045"/>
                      </a:lnTo>
                      <a:lnTo>
                        <a:pt x="741363" y="1098705"/>
                      </a:lnTo>
                      <a:lnTo>
                        <a:pt x="744131" y="1098159"/>
                      </a:lnTo>
                      <a:lnTo>
                        <a:pt x="745601" y="1097879"/>
                      </a:lnTo>
                      <a:lnTo>
                        <a:pt x="746766" y="1096944"/>
                      </a:lnTo>
                      <a:lnTo>
                        <a:pt x="747738" y="1096167"/>
                      </a:lnTo>
                      <a:lnTo>
                        <a:pt x="749232" y="1094953"/>
                      </a:lnTo>
                      <a:lnTo>
                        <a:pt x="749766" y="1093119"/>
                      </a:lnTo>
                      <a:lnTo>
                        <a:pt x="750106" y="1091942"/>
                      </a:lnTo>
                      <a:lnTo>
                        <a:pt x="750130" y="1091796"/>
                      </a:lnTo>
                      <a:lnTo>
                        <a:pt x="750227" y="1091638"/>
                      </a:lnTo>
                      <a:lnTo>
                        <a:pt x="750968" y="1090630"/>
                      </a:lnTo>
                      <a:lnTo>
                        <a:pt x="755740" y="1093557"/>
                      </a:lnTo>
                      <a:lnTo>
                        <a:pt x="763742" y="1100090"/>
                      </a:lnTo>
                      <a:lnTo>
                        <a:pt x="764252" y="1100502"/>
                      </a:lnTo>
                      <a:lnTo>
                        <a:pt x="764835" y="1100794"/>
                      </a:lnTo>
                      <a:lnTo>
                        <a:pt x="770579" y="1103696"/>
                      </a:lnTo>
                      <a:lnTo>
                        <a:pt x="771210" y="1104012"/>
                      </a:lnTo>
                      <a:lnTo>
                        <a:pt x="771902" y="1104182"/>
                      </a:lnTo>
                      <a:lnTo>
                        <a:pt x="784191" y="1107108"/>
                      </a:lnTo>
                      <a:lnTo>
                        <a:pt x="787846" y="1107982"/>
                      </a:lnTo>
                      <a:lnTo>
                        <a:pt x="790250" y="1105104"/>
                      </a:lnTo>
                      <a:lnTo>
                        <a:pt x="791793" y="1103259"/>
                      </a:lnTo>
                      <a:lnTo>
                        <a:pt x="792035" y="1102967"/>
                      </a:lnTo>
                      <a:lnTo>
                        <a:pt x="792242" y="1102652"/>
                      </a:lnTo>
                      <a:lnTo>
                        <a:pt x="793735" y="1100344"/>
                      </a:lnTo>
                      <a:lnTo>
                        <a:pt x="794185" y="1099640"/>
                      </a:lnTo>
                      <a:lnTo>
                        <a:pt x="794428" y="1098851"/>
                      </a:lnTo>
                      <a:lnTo>
                        <a:pt x="795010" y="1096957"/>
                      </a:lnTo>
                      <a:lnTo>
                        <a:pt x="795338" y="1095912"/>
                      </a:lnTo>
                      <a:lnTo>
                        <a:pt x="795277" y="1094807"/>
                      </a:lnTo>
                      <a:lnTo>
                        <a:pt x="795168" y="1092889"/>
                      </a:lnTo>
                      <a:lnTo>
                        <a:pt x="795132" y="1092282"/>
                      </a:lnTo>
                      <a:lnTo>
                        <a:pt x="794974" y="1091699"/>
                      </a:lnTo>
                      <a:lnTo>
                        <a:pt x="794865" y="1091298"/>
                      </a:lnTo>
                      <a:lnTo>
                        <a:pt x="796382" y="1091845"/>
                      </a:lnTo>
                      <a:lnTo>
                        <a:pt x="798593" y="1090873"/>
                      </a:lnTo>
                      <a:lnTo>
                        <a:pt x="799163" y="1090618"/>
                      </a:lnTo>
                      <a:lnTo>
                        <a:pt x="799795" y="1090351"/>
                      </a:lnTo>
                      <a:lnTo>
                        <a:pt x="800341" y="1089950"/>
                      </a:lnTo>
                      <a:lnTo>
                        <a:pt x="801155" y="1089343"/>
                      </a:lnTo>
                      <a:lnTo>
                        <a:pt x="801640" y="1088979"/>
                      </a:lnTo>
                      <a:lnTo>
                        <a:pt x="801944" y="1088651"/>
                      </a:lnTo>
                      <a:lnTo>
                        <a:pt x="802041" y="1088639"/>
                      </a:lnTo>
                      <a:lnTo>
                        <a:pt x="803170" y="1088481"/>
                      </a:lnTo>
                      <a:lnTo>
                        <a:pt x="803814" y="1088396"/>
                      </a:lnTo>
                      <a:lnTo>
                        <a:pt x="804433" y="1088165"/>
                      </a:lnTo>
                      <a:lnTo>
                        <a:pt x="805769" y="1087679"/>
                      </a:lnTo>
                      <a:lnTo>
                        <a:pt x="806340" y="1087461"/>
                      </a:lnTo>
                      <a:lnTo>
                        <a:pt x="806862" y="1087145"/>
                      </a:lnTo>
                      <a:lnTo>
                        <a:pt x="808635" y="1086052"/>
                      </a:lnTo>
                      <a:lnTo>
                        <a:pt x="809157" y="1085736"/>
                      </a:lnTo>
                      <a:lnTo>
                        <a:pt x="809606" y="1085311"/>
                      </a:lnTo>
                      <a:lnTo>
                        <a:pt x="810298" y="1084656"/>
                      </a:lnTo>
                      <a:lnTo>
                        <a:pt x="811756" y="1083284"/>
                      </a:lnTo>
                      <a:lnTo>
                        <a:pt x="812120" y="1081317"/>
                      </a:lnTo>
                      <a:lnTo>
                        <a:pt x="812338" y="1080102"/>
                      </a:lnTo>
                      <a:lnTo>
                        <a:pt x="812436" y="1079532"/>
                      </a:lnTo>
                      <a:lnTo>
                        <a:pt x="812436" y="1079155"/>
                      </a:lnTo>
                      <a:lnTo>
                        <a:pt x="821555" y="1085664"/>
                      </a:lnTo>
                      <a:lnTo>
                        <a:pt x="822247" y="1086149"/>
                      </a:lnTo>
                      <a:lnTo>
                        <a:pt x="823036" y="1086429"/>
                      </a:lnTo>
                      <a:lnTo>
                        <a:pt x="825283" y="1087230"/>
                      </a:lnTo>
                      <a:lnTo>
                        <a:pt x="826412" y="1087631"/>
                      </a:lnTo>
                      <a:lnTo>
                        <a:pt x="827602" y="1087570"/>
                      </a:lnTo>
                      <a:lnTo>
                        <a:pt x="829484" y="1087497"/>
                      </a:lnTo>
                      <a:lnTo>
                        <a:pt x="831269" y="1087412"/>
                      </a:lnTo>
                      <a:lnTo>
                        <a:pt x="832726" y="1086380"/>
                      </a:lnTo>
                      <a:lnTo>
                        <a:pt x="833831" y="1085603"/>
                      </a:lnTo>
                      <a:lnTo>
                        <a:pt x="836296" y="1083842"/>
                      </a:lnTo>
                      <a:lnTo>
                        <a:pt x="836381" y="1080819"/>
                      </a:lnTo>
                      <a:lnTo>
                        <a:pt x="836430" y="1078985"/>
                      </a:lnTo>
                      <a:lnTo>
                        <a:pt x="836466" y="1077759"/>
                      </a:lnTo>
                      <a:lnTo>
                        <a:pt x="836029" y="1076629"/>
                      </a:lnTo>
                      <a:lnTo>
                        <a:pt x="835118" y="1074249"/>
                      </a:lnTo>
                      <a:lnTo>
                        <a:pt x="834851" y="1073521"/>
                      </a:lnTo>
                      <a:lnTo>
                        <a:pt x="834402" y="1072889"/>
                      </a:lnTo>
                      <a:lnTo>
                        <a:pt x="831646" y="1069016"/>
                      </a:lnTo>
                      <a:lnTo>
                        <a:pt x="831051" y="1068190"/>
                      </a:lnTo>
                      <a:lnTo>
                        <a:pt x="830213" y="1067595"/>
                      </a:lnTo>
                      <a:lnTo>
                        <a:pt x="827833" y="1065895"/>
                      </a:lnTo>
                      <a:lnTo>
                        <a:pt x="830116" y="1063029"/>
                      </a:lnTo>
                      <a:lnTo>
                        <a:pt x="830322" y="1062774"/>
                      </a:lnTo>
                      <a:lnTo>
                        <a:pt x="830504" y="1062507"/>
                      </a:lnTo>
                      <a:lnTo>
                        <a:pt x="832520" y="1059314"/>
                      </a:lnTo>
                      <a:lnTo>
                        <a:pt x="833164" y="1058099"/>
                      </a:lnTo>
                      <a:lnTo>
                        <a:pt x="833406" y="1057638"/>
                      </a:lnTo>
                      <a:lnTo>
                        <a:pt x="833564" y="1057152"/>
                      </a:lnTo>
                      <a:lnTo>
                        <a:pt x="834026" y="1055695"/>
                      </a:lnTo>
                      <a:lnTo>
                        <a:pt x="835216" y="1051044"/>
                      </a:lnTo>
                      <a:lnTo>
                        <a:pt x="835386" y="1050546"/>
                      </a:lnTo>
                      <a:lnTo>
                        <a:pt x="838349" y="1049040"/>
                      </a:lnTo>
                      <a:lnTo>
                        <a:pt x="838931" y="1048749"/>
                      </a:lnTo>
                      <a:lnTo>
                        <a:pt x="839441" y="1048349"/>
                      </a:lnTo>
                      <a:lnTo>
                        <a:pt x="840631" y="1047377"/>
                      </a:lnTo>
                      <a:lnTo>
                        <a:pt x="841056" y="1047037"/>
                      </a:lnTo>
                      <a:lnTo>
                        <a:pt x="841409" y="1046624"/>
                      </a:lnTo>
                      <a:lnTo>
                        <a:pt x="843084" y="1044669"/>
                      </a:lnTo>
                      <a:lnTo>
                        <a:pt x="843740" y="1043916"/>
                      </a:lnTo>
                      <a:lnTo>
                        <a:pt x="844116" y="1042993"/>
                      </a:lnTo>
                      <a:lnTo>
                        <a:pt x="845039" y="1040710"/>
                      </a:lnTo>
                      <a:lnTo>
                        <a:pt x="845294" y="1040079"/>
                      </a:lnTo>
                      <a:lnTo>
                        <a:pt x="845404" y="1039399"/>
                      </a:lnTo>
                      <a:lnTo>
                        <a:pt x="845853" y="1036618"/>
                      </a:lnTo>
                      <a:lnTo>
                        <a:pt x="845901" y="1036303"/>
                      </a:lnTo>
                      <a:lnTo>
                        <a:pt x="845914" y="1035975"/>
                      </a:lnTo>
                      <a:lnTo>
                        <a:pt x="846108" y="1032186"/>
                      </a:lnTo>
                      <a:lnTo>
                        <a:pt x="846241" y="1031773"/>
                      </a:lnTo>
                      <a:lnTo>
                        <a:pt x="846654" y="1031215"/>
                      </a:lnTo>
                      <a:lnTo>
                        <a:pt x="849399" y="1028264"/>
                      </a:lnTo>
                      <a:lnTo>
                        <a:pt x="849787" y="1027851"/>
                      </a:lnTo>
                      <a:lnTo>
                        <a:pt x="850079" y="1027377"/>
                      </a:lnTo>
                      <a:lnTo>
                        <a:pt x="851354" y="1025362"/>
                      </a:lnTo>
                      <a:lnTo>
                        <a:pt x="851669" y="1024840"/>
                      </a:lnTo>
                      <a:lnTo>
                        <a:pt x="851888" y="1024269"/>
                      </a:lnTo>
                      <a:lnTo>
                        <a:pt x="852629" y="1022326"/>
                      </a:lnTo>
                      <a:lnTo>
                        <a:pt x="852774" y="1021950"/>
                      </a:lnTo>
                      <a:lnTo>
                        <a:pt x="852872" y="1021561"/>
                      </a:lnTo>
                      <a:lnTo>
                        <a:pt x="853770" y="1017736"/>
                      </a:lnTo>
                      <a:lnTo>
                        <a:pt x="854013" y="1017020"/>
                      </a:lnTo>
                      <a:lnTo>
                        <a:pt x="854159" y="1016607"/>
                      </a:lnTo>
                      <a:lnTo>
                        <a:pt x="854244" y="1016170"/>
                      </a:lnTo>
                      <a:lnTo>
                        <a:pt x="854462" y="1015016"/>
                      </a:lnTo>
                      <a:lnTo>
                        <a:pt x="854535" y="1014603"/>
                      </a:lnTo>
                      <a:lnTo>
                        <a:pt x="854559" y="1014190"/>
                      </a:lnTo>
                      <a:lnTo>
                        <a:pt x="854620" y="1013013"/>
                      </a:lnTo>
                      <a:lnTo>
                        <a:pt x="854620" y="1011325"/>
                      </a:lnTo>
                      <a:lnTo>
                        <a:pt x="854657" y="1010341"/>
                      </a:lnTo>
                      <a:lnTo>
                        <a:pt x="855118" y="1007560"/>
                      </a:lnTo>
                      <a:lnTo>
                        <a:pt x="855166" y="1007245"/>
                      </a:lnTo>
                      <a:lnTo>
                        <a:pt x="855179" y="1006929"/>
                      </a:lnTo>
                      <a:lnTo>
                        <a:pt x="855288" y="1005132"/>
                      </a:lnTo>
                      <a:lnTo>
                        <a:pt x="855312" y="1004767"/>
                      </a:lnTo>
                      <a:lnTo>
                        <a:pt x="855288" y="1004415"/>
                      </a:lnTo>
                      <a:lnTo>
                        <a:pt x="855179" y="1002679"/>
                      </a:lnTo>
                      <a:lnTo>
                        <a:pt x="855142" y="1002133"/>
                      </a:lnTo>
                      <a:lnTo>
                        <a:pt x="855009" y="1001598"/>
                      </a:lnTo>
                      <a:lnTo>
                        <a:pt x="854486" y="999473"/>
                      </a:lnTo>
                      <a:lnTo>
                        <a:pt x="854377" y="999036"/>
                      </a:lnTo>
                      <a:lnTo>
                        <a:pt x="854207" y="998623"/>
                      </a:lnTo>
                      <a:lnTo>
                        <a:pt x="853624" y="997190"/>
                      </a:lnTo>
                      <a:lnTo>
                        <a:pt x="853381" y="996620"/>
                      </a:lnTo>
                      <a:lnTo>
                        <a:pt x="853041" y="996110"/>
                      </a:lnTo>
                      <a:lnTo>
                        <a:pt x="852361" y="995102"/>
                      </a:lnTo>
                      <a:lnTo>
                        <a:pt x="851609" y="993972"/>
                      </a:lnTo>
                      <a:lnTo>
                        <a:pt x="850443" y="993268"/>
                      </a:lnTo>
                      <a:lnTo>
                        <a:pt x="849459" y="992673"/>
                      </a:lnTo>
                      <a:lnTo>
                        <a:pt x="845221" y="990123"/>
                      </a:lnTo>
                      <a:lnTo>
                        <a:pt x="841870" y="993754"/>
                      </a:lnTo>
                      <a:lnTo>
                        <a:pt x="839891" y="995903"/>
                      </a:lnTo>
                      <a:lnTo>
                        <a:pt x="833564" y="990925"/>
                      </a:lnTo>
                      <a:lnTo>
                        <a:pt x="832836" y="990354"/>
                      </a:lnTo>
                      <a:lnTo>
                        <a:pt x="831973" y="990026"/>
                      </a:lnTo>
                      <a:lnTo>
                        <a:pt x="830759" y="989565"/>
                      </a:lnTo>
                      <a:lnTo>
                        <a:pt x="829715" y="989176"/>
                      </a:lnTo>
                      <a:lnTo>
                        <a:pt x="828598" y="989176"/>
                      </a:lnTo>
                      <a:lnTo>
                        <a:pt x="827347" y="989176"/>
                      </a:lnTo>
                      <a:lnTo>
                        <a:pt x="826898" y="989176"/>
                      </a:lnTo>
                      <a:lnTo>
                        <a:pt x="826448" y="989249"/>
                      </a:lnTo>
                      <a:lnTo>
                        <a:pt x="826193" y="989285"/>
                      </a:lnTo>
                      <a:lnTo>
                        <a:pt x="825052" y="988472"/>
                      </a:lnTo>
                      <a:lnTo>
                        <a:pt x="824542" y="988119"/>
                      </a:lnTo>
                      <a:lnTo>
                        <a:pt x="823971" y="987864"/>
                      </a:lnTo>
                      <a:lnTo>
                        <a:pt x="823000" y="987439"/>
                      </a:lnTo>
                      <a:lnTo>
                        <a:pt x="821433" y="986747"/>
                      </a:lnTo>
                      <a:lnTo>
                        <a:pt x="819733" y="986990"/>
                      </a:lnTo>
                      <a:lnTo>
                        <a:pt x="818531" y="987160"/>
                      </a:lnTo>
                      <a:lnTo>
                        <a:pt x="818203" y="987209"/>
                      </a:lnTo>
                      <a:lnTo>
                        <a:pt x="818045" y="986845"/>
                      </a:lnTo>
                      <a:lnTo>
                        <a:pt x="817730" y="986116"/>
                      </a:lnTo>
                      <a:lnTo>
                        <a:pt x="817232" y="985485"/>
                      </a:lnTo>
                      <a:lnTo>
                        <a:pt x="815799" y="983663"/>
                      </a:lnTo>
                      <a:lnTo>
                        <a:pt x="815532" y="983323"/>
                      </a:lnTo>
                      <a:lnTo>
                        <a:pt x="815228" y="983031"/>
                      </a:lnTo>
                      <a:lnTo>
                        <a:pt x="814463" y="982291"/>
                      </a:lnTo>
                      <a:lnTo>
                        <a:pt x="814512" y="982230"/>
                      </a:lnTo>
                      <a:lnTo>
                        <a:pt x="814937" y="981696"/>
                      </a:lnTo>
                      <a:lnTo>
                        <a:pt x="815228" y="981064"/>
                      </a:lnTo>
                      <a:lnTo>
                        <a:pt x="815629" y="980202"/>
                      </a:lnTo>
                      <a:lnTo>
                        <a:pt x="815981" y="979449"/>
                      </a:lnTo>
                      <a:lnTo>
                        <a:pt x="816115" y="978636"/>
                      </a:lnTo>
                      <a:lnTo>
                        <a:pt x="816285" y="977640"/>
                      </a:lnTo>
                      <a:lnTo>
                        <a:pt x="816394" y="976960"/>
                      </a:lnTo>
                      <a:lnTo>
                        <a:pt x="816358" y="976256"/>
                      </a:lnTo>
                      <a:lnTo>
                        <a:pt x="815860" y="968375"/>
                      </a:lnTo>
                      <a:lnTo>
                        <a:pt x="816005" y="966979"/>
                      </a:lnTo>
                      <a:lnTo>
                        <a:pt x="816248" y="965862"/>
                      </a:lnTo>
                      <a:lnTo>
                        <a:pt x="816722" y="964623"/>
                      </a:lnTo>
                      <a:lnTo>
                        <a:pt x="816928" y="964064"/>
                      </a:lnTo>
                      <a:lnTo>
                        <a:pt x="817025" y="963481"/>
                      </a:lnTo>
                      <a:lnTo>
                        <a:pt x="817365" y="961441"/>
                      </a:lnTo>
                      <a:lnTo>
                        <a:pt x="817511" y="960567"/>
                      </a:lnTo>
                      <a:lnTo>
                        <a:pt x="817402" y="959681"/>
                      </a:lnTo>
                      <a:lnTo>
                        <a:pt x="816613" y="954350"/>
                      </a:lnTo>
                      <a:lnTo>
                        <a:pt x="816685" y="953014"/>
                      </a:lnTo>
                      <a:lnTo>
                        <a:pt x="816916" y="951764"/>
                      </a:lnTo>
                      <a:lnTo>
                        <a:pt x="818082" y="948521"/>
                      </a:lnTo>
                      <a:lnTo>
                        <a:pt x="818191" y="948218"/>
                      </a:lnTo>
                      <a:lnTo>
                        <a:pt x="818264" y="947914"/>
                      </a:lnTo>
                      <a:lnTo>
                        <a:pt x="818653" y="946324"/>
                      </a:lnTo>
                      <a:lnTo>
                        <a:pt x="819005" y="944927"/>
                      </a:lnTo>
                      <a:lnTo>
                        <a:pt x="818677" y="943518"/>
                      </a:lnTo>
                      <a:lnTo>
                        <a:pt x="818385" y="942256"/>
                      </a:lnTo>
                      <a:lnTo>
                        <a:pt x="818021" y="940677"/>
                      </a:lnTo>
                      <a:lnTo>
                        <a:pt x="816916" y="939487"/>
                      </a:lnTo>
                      <a:lnTo>
                        <a:pt x="816066" y="938576"/>
                      </a:lnTo>
                      <a:lnTo>
                        <a:pt x="814645" y="937034"/>
                      </a:lnTo>
                      <a:lnTo>
                        <a:pt x="812581" y="936706"/>
                      </a:lnTo>
                      <a:lnTo>
                        <a:pt x="810736" y="936415"/>
                      </a:lnTo>
                      <a:lnTo>
                        <a:pt x="809946" y="936293"/>
                      </a:lnTo>
                      <a:lnTo>
                        <a:pt x="809157" y="936378"/>
                      </a:lnTo>
                      <a:lnTo>
                        <a:pt x="807676" y="936536"/>
                      </a:lnTo>
                      <a:lnTo>
                        <a:pt x="807165" y="936585"/>
                      </a:lnTo>
                      <a:lnTo>
                        <a:pt x="806680" y="936731"/>
                      </a:lnTo>
                      <a:lnTo>
                        <a:pt x="805138" y="937156"/>
                      </a:lnTo>
                      <a:lnTo>
                        <a:pt x="803984" y="936427"/>
                      </a:lnTo>
                      <a:lnTo>
                        <a:pt x="803547" y="936160"/>
                      </a:lnTo>
                      <a:lnTo>
                        <a:pt x="803073" y="935966"/>
                      </a:lnTo>
                      <a:lnTo>
                        <a:pt x="801883" y="935480"/>
                      </a:lnTo>
                      <a:lnTo>
                        <a:pt x="800778" y="935031"/>
                      </a:lnTo>
                      <a:lnTo>
                        <a:pt x="799588" y="935031"/>
                      </a:lnTo>
                      <a:lnTo>
                        <a:pt x="798435" y="935031"/>
                      </a:lnTo>
                      <a:lnTo>
                        <a:pt x="797148" y="935031"/>
                      </a:lnTo>
                      <a:lnTo>
                        <a:pt x="795970" y="935553"/>
                      </a:lnTo>
                      <a:lnTo>
                        <a:pt x="794877" y="936038"/>
                      </a:lnTo>
                      <a:lnTo>
                        <a:pt x="794440" y="936245"/>
                      </a:lnTo>
                      <a:lnTo>
                        <a:pt x="794039" y="936500"/>
                      </a:lnTo>
                      <a:lnTo>
                        <a:pt x="792230" y="937690"/>
                      </a:lnTo>
                      <a:lnTo>
                        <a:pt x="791829" y="937726"/>
                      </a:lnTo>
                      <a:lnTo>
                        <a:pt x="790809" y="937665"/>
                      </a:lnTo>
                      <a:lnTo>
                        <a:pt x="787542" y="937107"/>
                      </a:lnTo>
                      <a:lnTo>
                        <a:pt x="784482" y="936014"/>
                      </a:lnTo>
                      <a:lnTo>
                        <a:pt x="784191" y="935905"/>
                      </a:lnTo>
                      <a:lnTo>
                        <a:pt x="783887" y="935832"/>
                      </a:lnTo>
                      <a:lnTo>
                        <a:pt x="782042" y="935383"/>
                      </a:lnTo>
                      <a:lnTo>
                        <a:pt x="781738" y="935297"/>
                      </a:lnTo>
                      <a:lnTo>
                        <a:pt x="781422" y="935261"/>
                      </a:lnTo>
                      <a:lnTo>
                        <a:pt x="779528" y="935006"/>
                      </a:lnTo>
                      <a:lnTo>
                        <a:pt x="778435" y="933926"/>
                      </a:lnTo>
                      <a:lnTo>
                        <a:pt x="772279" y="926785"/>
                      </a:lnTo>
                      <a:lnTo>
                        <a:pt x="771769" y="926178"/>
                      </a:lnTo>
                      <a:lnTo>
                        <a:pt x="771113" y="925741"/>
                      </a:lnTo>
                      <a:lnTo>
                        <a:pt x="769741" y="924806"/>
                      </a:lnTo>
                      <a:lnTo>
                        <a:pt x="769194" y="924430"/>
                      </a:lnTo>
                      <a:lnTo>
                        <a:pt x="768575" y="924187"/>
                      </a:lnTo>
                      <a:lnTo>
                        <a:pt x="768187" y="924017"/>
                      </a:lnTo>
                      <a:lnTo>
                        <a:pt x="768320" y="922086"/>
                      </a:lnTo>
                      <a:lnTo>
                        <a:pt x="768417" y="920653"/>
                      </a:lnTo>
                      <a:lnTo>
                        <a:pt x="768502" y="919366"/>
                      </a:lnTo>
                      <a:lnTo>
                        <a:pt x="768053" y="918152"/>
                      </a:lnTo>
                      <a:lnTo>
                        <a:pt x="767434" y="916476"/>
                      </a:lnTo>
                      <a:lnTo>
                        <a:pt x="767179" y="915760"/>
                      </a:lnTo>
                      <a:lnTo>
                        <a:pt x="766754" y="915141"/>
                      </a:lnTo>
                      <a:lnTo>
                        <a:pt x="764738" y="912202"/>
                      </a:lnTo>
                      <a:lnTo>
                        <a:pt x="764471" y="911680"/>
                      </a:lnTo>
                      <a:lnTo>
                        <a:pt x="766013" y="908620"/>
                      </a:lnTo>
                      <a:lnTo>
                        <a:pt x="766462" y="907733"/>
                      </a:lnTo>
                      <a:lnTo>
                        <a:pt x="766608" y="906750"/>
                      </a:lnTo>
                      <a:lnTo>
                        <a:pt x="766948" y="904406"/>
                      </a:lnTo>
                      <a:lnTo>
                        <a:pt x="767033" y="903775"/>
                      </a:lnTo>
                      <a:lnTo>
                        <a:pt x="766997" y="903143"/>
                      </a:lnTo>
                      <a:lnTo>
                        <a:pt x="766839" y="900678"/>
                      </a:lnTo>
                      <a:lnTo>
                        <a:pt x="766802" y="900108"/>
                      </a:lnTo>
                      <a:lnTo>
                        <a:pt x="766657" y="899549"/>
                      </a:lnTo>
                      <a:lnTo>
                        <a:pt x="765612" y="895505"/>
                      </a:lnTo>
                      <a:lnTo>
                        <a:pt x="765491" y="895056"/>
                      </a:lnTo>
                      <a:lnTo>
                        <a:pt x="765309" y="894643"/>
                      </a:lnTo>
                      <a:lnTo>
                        <a:pt x="763123" y="889531"/>
                      </a:lnTo>
                      <a:lnTo>
                        <a:pt x="762358" y="887721"/>
                      </a:lnTo>
                      <a:lnTo>
                        <a:pt x="760670" y="886714"/>
                      </a:lnTo>
                      <a:lnTo>
                        <a:pt x="751830" y="881395"/>
                      </a:lnTo>
                      <a:lnTo>
                        <a:pt x="748746" y="879550"/>
                      </a:lnTo>
                      <a:lnTo>
                        <a:pt x="745637" y="881359"/>
                      </a:lnTo>
                      <a:lnTo>
                        <a:pt x="741606" y="883727"/>
                      </a:lnTo>
                      <a:lnTo>
                        <a:pt x="741278" y="883605"/>
                      </a:lnTo>
                      <a:lnTo>
                        <a:pt x="740610" y="883374"/>
                      </a:lnTo>
                      <a:lnTo>
                        <a:pt x="739906" y="883302"/>
                      </a:lnTo>
                      <a:lnTo>
                        <a:pt x="737890" y="883095"/>
                      </a:lnTo>
                      <a:lnTo>
                        <a:pt x="736931" y="882986"/>
                      </a:lnTo>
                      <a:lnTo>
                        <a:pt x="736906" y="882998"/>
                      </a:lnTo>
                      <a:lnTo>
                        <a:pt x="736979" y="882816"/>
                      </a:lnTo>
                      <a:lnTo>
                        <a:pt x="737174" y="882403"/>
                      </a:lnTo>
                      <a:lnTo>
                        <a:pt x="737295" y="881954"/>
                      </a:lnTo>
                      <a:lnTo>
                        <a:pt x="737465" y="881310"/>
                      </a:lnTo>
                      <a:lnTo>
                        <a:pt x="737635" y="880667"/>
                      </a:lnTo>
                      <a:lnTo>
                        <a:pt x="737659" y="879999"/>
                      </a:lnTo>
                      <a:lnTo>
                        <a:pt x="737890" y="874947"/>
                      </a:lnTo>
                      <a:lnTo>
                        <a:pt x="737914" y="874352"/>
                      </a:lnTo>
                      <a:lnTo>
                        <a:pt x="737829" y="873769"/>
                      </a:lnTo>
                      <a:lnTo>
                        <a:pt x="737598" y="872227"/>
                      </a:lnTo>
                      <a:lnTo>
                        <a:pt x="737526" y="871754"/>
                      </a:lnTo>
                      <a:lnTo>
                        <a:pt x="737380" y="871292"/>
                      </a:lnTo>
                      <a:lnTo>
                        <a:pt x="737028" y="870187"/>
                      </a:lnTo>
                      <a:lnTo>
                        <a:pt x="736615" y="868900"/>
                      </a:lnTo>
                      <a:lnTo>
                        <a:pt x="735692" y="867904"/>
                      </a:lnTo>
                      <a:lnTo>
                        <a:pt x="735243" y="867419"/>
                      </a:lnTo>
                      <a:lnTo>
                        <a:pt x="733640" y="865682"/>
                      </a:lnTo>
                      <a:lnTo>
                        <a:pt x="731296" y="865488"/>
                      </a:lnTo>
                      <a:lnTo>
                        <a:pt x="730313" y="865403"/>
                      </a:lnTo>
                      <a:lnTo>
                        <a:pt x="728953" y="865281"/>
                      </a:lnTo>
                      <a:lnTo>
                        <a:pt x="727678" y="865755"/>
                      </a:lnTo>
                      <a:lnTo>
                        <a:pt x="726597" y="866156"/>
                      </a:lnTo>
                      <a:lnTo>
                        <a:pt x="725990" y="866386"/>
                      </a:lnTo>
                      <a:lnTo>
                        <a:pt x="725456" y="866727"/>
                      </a:lnTo>
                      <a:lnTo>
                        <a:pt x="723209" y="868159"/>
                      </a:lnTo>
                      <a:lnTo>
                        <a:pt x="722687" y="868499"/>
                      </a:lnTo>
                      <a:lnTo>
                        <a:pt x="722238" y="868936"/>
                      </a:lnTo>
                      <a:lnTo>
                        <a:pt x="721206" y="869944"/>
                      </a:lnTo>
                      <a:lnTo>
                        <a:pt x="720756" y="870382"/>
                      </a:lnTo>
                      <a:lnTo>
                        <a:pt x="720404" y="870892"/>
                      </a:lnTo>
                      <a:lnTo>
                        <a:pt x="719481" y="872264"/>
                      </a:lnTo>
                      <a:lnTo>
                        <a:pt x="719069" y="872895"/>
                      </a:lnTo>
                      <a:lnTo>
                        <a:pt x="718826" y="873563"/>
                      </a:lnTo>
                      <a:lnTo>
                        <a:pt x="718546" y="873308"/>
                      </a:lnTo>
                      <a:lnTo>
                        <a:pt x="718206" y="873005"/>
                      </a:lnTo>
                      <a:lnTo>
                        <a:pt x="717830" y="872749"/>
                      </a:lnTo>
                      <a:lnTo>
                        <a:pt x="716907" y="872118"/>
                      </a:lnTo>
                      <a:lnTo>
                        <a:pt x="715826" y="871365"/>
                      </a:lnTo>
                      <a:lnTo>
                        <a:pt x="714527" y="871134"/>
                      </a:lnTo>
                      <a:lnTo>
                        <a:pt x="713276" y="870916"/>
                      </a:lnTo>
                      <a:lnTo>
                        <a:pt x="712803" y="870843"/>
                      </a:lnTo>
                      <a:lnTo>
                        <a:pt x="712317" y="870831"/>
                      </a:lnTo>
                      <a:lnTo>
                        <a:pt x="709281" y="870794"/>
                      </a:lnTo>
                      <a:lnTo>
                        <a:pt x="707010" y="870005"/>
                      </a:lnTo>
                      <a:lnTo>
                        <a:pt x="706197" y="869726"/>
                      </a:lnTo>
                      <a:lnTo>
                        <a:pt x="705335" y="869677"/>
                      </a:lnTo>
                      <a:lnTo>
                        <a:pt x="703853" y="869592"/>
                      </a:lnTo>
                      <a:lnTo>
                        <a:pt x="702117" y="869495"/>
                      </a:lnTo>
                      <a:lnTo>
                        <a:pt x="700599" y="870321"/>
                      </a:lnTo>
                      <a:lnTo>
                        <a:pt x="698875" y="871268"/>
                      </a:lnTo>
                      <a:lnTo>
                        <a:pt x="698025" y="871742"/>
                      </a:lnTo>
                      <a:lnTo>
                        <a:pt x="697357" y="872458"/>
                      </a:lnTo>
                      <a:lnTo>
                        <a:pt x="696373" y="873514"/>
                      </a:lnTo>
                      <a:lnTo>
                        <a:pt x="695900" y="874024"/>
                      </a:lnTo>
                      <a:lnTo>
                        <a:pt x="695548" y="874632"/>
                      </a:lnTo>
                      <a:lnTo>
                        <a:pt x="694807" y="875919"/>
                      </a:lnTo>
                      <a:lnTo>
                        <a:pt x="694358" y="876696"/>
                      </a:lnTo>
                      <a:lnTo>
                        <a:pt x="694151" y="877582"/>
                      </a:lnTo>
                      <a:lnTo>
                        <a:pt x="693860" y="878845"/>
                      </a:lnTo>
                      <a:lnTo>
                        <a:pt x="693617" y="879877"/>
                      </a:lnTo>
                      <a:lnTo>
                        <a:pt x="693738" y="880934"/>
                      </a:lnTo>
                      <a:lnTo>
                        <a:pt x="693920" y="882342"/>
                      </a:lnTo>
                      <a:lnTo>
                        <a:pt x="694030" y="883302"/>
                      </a:lnTo>
                      <a:lnTo>
                        <a:pt x="694443" y="884164"/>
                      </a:lnTo>
                      <a:lnTo>
                        <a:pt x="695086" y="885536"/>
                      </a:lnTo>
                      <a:lnTo>
                        <a:pt x="695402" y="886240"/>
                      </a:lnTo>
                      <a:lnTo>
                        <a:pt x="695888" y="886835"/>
                      </a:lnTo>
                      <a:lnTo>
                        <a:pt x="696276" y="887309"/>
                      </a:lnTo>
                      <a:lnTo>
                        <a:pt x="693386" y="889154"/>
                      </a:lnTo>
                      <a:lnTo>
                        <a:pt x="693022" y="889397"/>
                      </a:lnTo>
                      <a:lnTo>
                        <a:pt x="692694" y="889677"/>
                      </a:lnTo>
                      <a:lnTo>
                        <a:pt x="691042" y="891110"/>
                      </a:lnTo>
                      <a:lnTo>
                        <a:pt x="690751" y="891365"/>
                      </a:lnTo>
                      <a:lnTo>
                        <a:pt x="690496" y="891656"/>
                      </a:lnTo>
                      <a:lnTo>
                        <a:pt x="689039" y="893283"/>
                      </a:lnTo>
                      <a:lnTo>
                        <a:pt x="688043" y="893672"/>
                      </a:lnTo>
                      <a:lnTo>
                        <a:pt x="685287" y="894413"/>
                      </a:lnTo>
                      <a:lnTo>
                        <a:pt x="684558" y="894619"/>
                      </a:lnTo>
                      <a:lnTo>
                        <a:pt x="683902" y="894983"/>
                      </a:lnTo>
                      <a:lnTo>
                        <a:pt x="682178" y="895942"/>
                      </a:lnTo>
                      <a:lnTo>
                        <a:pt x="681304" y="896428"/>
                      </a:lnTo>
                      <a:lnTo>
                        <a:pt x="680624" y="897181"/>
                      </a:lnTo>
                      <a:lnTo>
                        <a:pt x="679252" y="898699"/>
                      </a:lnTo>
                      <a:lnTo>
                        <a:pt x="678487" y="899537"/>
                      </a:lnTo>
                      <a:lnTo>
                        <a:pt x="678086" y="900605"/>
                      </a:lnTo>
                      <a:lnTo>
                        <a:pt x="678001" y="900824"/>
                      </a:lnTo>
                      <a:lnTo>
                        <a:pt x="677989" y="900812"/>
                      </a:lnTo>
                      <a:lnTo>
                        <a:pt x="676653" y="900108"/>
                      </a:lnTo>
                      <a:lnTo>
                        <a:pt x="675147" y="900108"/>
                      </a:lnTo>
                      <a:lnTo>
                        <a:pt x="672439" y="900108"/>
                      </a:lnTo>
                      <a:lnTo>
                        <a:pt x="671820" y="900108"/>
                      </a:lnTo>
                      <a:lnTo>
                        <a:pt x="671213" y="900241"/>
                      </a:lnTo>
                      <a:lnTo>
                        <a:pt x="668967" y="900702"/>
                      </a:lnTo>
                      <a:lnTo>
                        <a:pt x="668663" y="900763"/>
                      </a:lnTo>
                      <a:lnTo>
                        <a:pt x="668359" y="900860"/>
                      </a:lnTo>
                      <a:lnTo>
                        <a:pt x="666574" y="901431"/>
                      </a:lnTo>
                      <a:lnTo>
                        <a:pt x="665846" y="901674"/>
                      </a:lnTo>
                      <a:lnTo>
                        <a:pt x="665190" y="902075"/>
                      </a:lnTo>
                      <a:lnTo>
                        <a:pt x="664000" y="902828"/>
                      </a:lnTo>
                      <a:lnTo>
                        <a:pt x="663284" y="903277"/>
                      </a:lnTo>
                      <a:lnTo>
                        <a:pt x="662725" y="903908"/>
                      </a:lnTo>
                      <a:lnTo>
                        <a:pt x="661790" y="904940"/>
                      </a:lnTo>
                      <a:lnTo>
                        <a:pt x="660879" y="905948"/>
                      </a:lnTo>
                      <a:lnTo>
                        <a:pt x="660491" y="907235"/>
                      </a:lnTo>
                      <a:lnTo>
                        <a:pt x="660236" y="908073"/>
                      </a:lnTo>
                      <a:lnTo>
                        <a:pt x="659289" y="908304"/>
                      </a:lnTo>
                      <a:lnTo>
                        <a:pt x="656945" y="908875"/>
                      </a:lnTo>
                      <a:lnTo>
                        <a:pt x="656362" y="909021"/>
                      </a:lnTo>
                      <a:lnTo>
                        <a:pt x="655816" y="909275"/>
                      </a:lnTo>
                      <a:lnTo>
                        <a:pt x="650874" y="911570"/>
                      </a:lnTo>
                      <a:lnTo>
                        <a:pt x="650169" y="911898"/>
                      </a:lnTo>
                      <a:lnTo>
                        <a:pt x="649562" y="912396"/>
                      </a:lnTo>
                      <a:lnTo>
                        <a:pt x="646089" y="915262"/>
                      </a:lnTo>
                      <a:lnTo>
                        <a:pt x="643746" y="915007"/>
                      </a:lnTo>
                      <a:lnTo>
                        <a:pt x="643758" y="913465"/>
                      </a:lnTo>
                      <a:lnTo>
                        <a:pt x="643758" y="912712"/>
                      </a:lnTo>
                      <a:lnTo>
                        <a:pt x="643588" y="911995"/>
                      </a:lnTo>
                      <a:lnTo>
                        <a:pt x="643139" y="910101"/>
                      </a:lnTo>
                      <a:lnTo>
                        <a:pt x="643066" y="909785"/>
                      </a:lnTo>
                      <a:lnTo>
                        <a:pt x="642957" y="909494"/>
                      </a:lnTo>
                      <a:lnTo>
                        <a:pt x="641609" y="905681"/>
                      </a:lnTo>
                      <a:lnTo>
                        <a:pt x="641293" y="904017"/>
                      </a:lnTo>
                      <a:lnTo>
                        <a:pt x="641220" y="903678"/>
                      </a:lnTo>
                      <a:lnTo>
                        <a:pt x="641111" y="903337"/>
                      </a:lnTo>
                      <a:lnTo>
                        <a:pt x="640479" y="901358"/>
                      </a:lnTo>
                      <a:lnTo>
                        <a:pt x="640164" y="900362"/>
                      </a:lnTo>
                      <a:lnTo>
                        <a:pt x="639532" y="899537"/>
                      </a:lnTo>
                      <a:lnTo>
                        <a:pt x="638257" y="897849"/>
                      </a:lnTo>
                      <a:lnTo>
                        <a:pt x="637517" y="896865"/>
                      </a:lnTo>
                      <a:lnTo>
                        <a:pt x="636460" y="896258"/>
                      </a:lnTo>
                      <a:lnTo>
                        <a:pt x="635124" y="895481"/>
                      </a:lnTo>
                      <a:lnTo>
                        <a:pt x="635039" y="894837"/>
                      </a:lnTo>
                      <a:lnTo>
                        <a:pt x="634797" y="893089"/>
                      </a:lnTo>
                      <a:lnTo>
                        <a:pt x="633655" y="891741"/>
                      </a:lnTo>
                      <a:lnTo>
                        <a:pt x="632611" y="890502"/>
                      </a:lnTo>
                      <a:lnTo>
                        <a:pt x="632429" y="890284"/>
                      </a:lnTo>
                      <a:lnTo>
                        <a:pt x="633303" y="889446"/>
                      </a:lnTo>
                      <a:lnTo>
                        <a:pt x="634226" y="888559"/>
                      </a:lnTo>
                      <a:lnTo>
                        <a:pt x="635719" y="887114"/>
                      </a:lnTo>
                      <a:lnTo>
                        <a:pt x="636011" y="885050"/>
                      </a:lnTo>
                      <a:lnTo>
                        <a:pt x="636181" y="883836"/>
                      </a:lnTo>
                      <a:lnTo>
                        <a:pt x="636339" y="882682"/>
                      </a:lnTo>
                      <a:lnTo>
                        <a:pt x="636071" y="881565"/>
                      </a:lnTo>
                      <a:lnTo>
                        <a:pt x="635719" y="880108"/>
                      </a:lnTo>
                      <a:lnTo>
                        <a:pt x="635574" y="879647"/>
                      </a:lnTo>
                      <a:lnTo>
                        <a:pt x="635137" y="878894"/>
                      </a:lnTo>
                      <a:lnTo>
                        <a:pt x="633291" y="875700"/>
                      </a:lnTo>
                      <a:lnTo>
                        <a:pt x="633789" y="872992"/>
                      </a:lnTo>
                      <a:lnTo>
                        <a:pt x="634031" y="871632"/>
                      </a:lnTo>
                      <a:lnTo>
                        <a:pt x="633655" y="870309"/>
                      </a:lnTo>
                      <a:lnTo>
                        <a:pt x="633315" y="869106"/>
                      </a:lnTo>
                      <a:lnTo>
                        <a:pt x="632987" y="867917"/>
                      </a:lnTo>
                      <a:lnTo>
                        <a:pt x="632222" y="866957"/>
                      </a:lnTo>
                      <a:lnTo>
                        <a:pt x="631299" y="865804"/>
                      </a:lnTo>
                      <a:lnTo>
                        <a:pt x="630425" y="864711"/>
                      </a:lnTo>
                      <a:lnTo>
                        <a:pt x="629162" y="864116"/>
                      </a:lnTo>
                      <a:lnTo>
                        <a:pt x="627547" y="863351"/>
                      </a:lnTo>
                      <a:lnTo>
                        <a:pt x="627122" y="863084"/>
                      </a:lnTo>
                      <a:lnTo>
                        <a:pt x="627049" y="862999"/>
                      </a:lnTo>
                      <a:lnTo>
                        <a:pt x="626527" y="859805"/>
                      </a:lnTo>
                      <a:lnTo>
                        <a:pt x="626357" y="858736"/>
                      </a:lnTo>
                      <a:lnTo>
                        <a:pt x="625823" y="857801"/>
                      </a:lnTo>
                      <a:lnTo>
                        <a:pt x="625313" y="856903"/>
                      </a:lnTo>
                      <a:lnTo>
                        <a:pt x="625009" y="856357"/>
                      </a:lnTo>
                      <a:lnTo>
                        <a:pt x="624596" y="855883"/>
                      </a:lnTo>
                      <a:lnTo>
                        <a:pt x="623540" y="854681"/>
                      </a:lnTo>
                      <a:lnTo>
                        <a:pt x="626296" y="851038"/>
                      </a:lnTo>
                      <a:lnTo>
                        <a:pt x="627474" y="849204"/>
                      </a:lnTo>
                      <a:lnTo>
                        <a:pt x="627887" y="848524"/>
                      </a:lnTo>
                      <a:lnTo>
                        <a:pt x="628130" y="847771"/>
                      </a:lnTo>
                      <a:lnTo>
                        <a:pt x="628591" y="846290"/>
                      </a:lnTo>
                      <a:lnTo>
                        <a:pt x="629271" y="844080"/>
                      </a:lnTo>
                      <a:lnTo>
                        <a:pt x="628324" y="841991"/>
                      </a:lnTo>
                      <a:lnTo>
                        <a:pt x="627863" y="840983"/>
                      </a:lnTo>
                      <a:lnTo>
                        <a:pt x="627146" y="839393"/>
                      </a:lnTo>
                      <a:lnTo>
                        <a:pt x="628154" y="838300"/>
                      </a:lnTo>
                      <a:lnTo>
                        <a:pt x="628227" y="838251"/>
                      </a:lnTo>
                      <a:lnTo>
                        <a:pt x="628543" y="838130"/>
                      </a:lnTo>
                      <a:lnTo>
                        <a:pt x="630134" y="837875"/>
                      </a:lnTo>
                      <a:lnTo>
                        <a:pt x="637808" y="837608"/>
                      </a:lnTo>
                      <a:lnTo>
                        <a:pt x="638354" y="837583"/>
                      </a:lnTo>
                      <a:lnTo>
                        <a:pt x="638889" y="837462"/>
                      </a:lnTo>
                      <a:lnTo>
                        <a:pt x="641014" y="837000"/>
                      </a:lnTo>
                      <a:lnTo>
                        <a:pt x="641718" y="836843"/>
                      </a:lnTo>
                      <a:lnTo>
                        <a:pt x="642362" y="836539"/>
                      </a:lnTo>
                      <a:lnTo>
                        <a:pt x="644086" y="835713"/>
                      </a:lnTo>
                      <a:lnTo>
                        <a:pt x="645057" y="835252"/>
                      </a:lnTo>
                      <a:lnTo>
                        <a:pt x="645810" y="834499"/>
                      </a:lnTo>
                      <a:lnTo>
                        <a:pt x="646794" y="833491"/>
                      </a:lnTo>
                      <a:lnTo>
                        <a:pt x="647789" y="832471"/>
                      </a:lnTo>
                      <a:lnTo>
                        <a:pt x="648227" y="831123"/>
                      </a:lnTo>
                      <a:lnTo>
                        <a:pt x="648615" y="829909"/>
                      </a:lnTo>
                      <a:lnTo>
                        <a:pt x="649004" y="828707"/>
                      </a:lnTo>
                      <a:lnTo>
                        <a:pt x="648882" y="827444"/>
                      </a:lnTo>
                      <a:lnTo>
                        <a:pt x="648773" y="826266"/>
                      </a:lnTo>
                      <a:lnTo>
                        <a:pt x="648737" y="825853"/>
                      </a:lnTo>
                      <a:lnTo>
                        <a:pt x="648639" y="825465"/>
                      </a:lnTo>
                      <a:lnTo>
                        <a:pt x="648299" y="824032"/>
                      </a:lnTo>
                      <a:lnTo>
                        <a:pt x="648214" y="823655"/>
                      </a:lnTo>
                      <a:lnTo>
                        <a:pt x="648081" y="823291"/>
                      </a:lnTo>
                      <a:lnTo>
                        <a:pt x="646526" y="819162"/>
                      </a:lnTo>
                      <a:lnTo>
                        <a:pt x="646405" y="818482"/>
                      </a:lnTo>
                      <a:lnTo>
                        <a:pt x="646405" y="817985"/>
                      </a:lnTo>
                      <a:lnTo>
                        <a:pt x="646575" y="817171"/>
                      </a:lnTo>
                      <a:lnTo>
                        <a:pt x="647765" y="813820"/>
                      </a:lnTo>
                      <a:lnTo>
                        <a:pt x="648069" y="812970"/>
                      </a:lnTo>
                      <a:lnTo>
                        <a:pt x="648105" y="812071"/>
                      </a:lnTo>
                      <a:lnTo>
                        <a:pt x="648166" y="810614"/>
                      </a:lnTo>
                      <a:lnTo>
                        <a:pt x="648239" y="808950"/>
                      </a:lnTo>
                      <a:lnTo>
                        <a:pt x="647474" y="807493"/>
                      </a:lnTo>
                      <a:lnTo>
                        <a:pt x="646951" y="806510"/>
                      </a:lnTo>
                      <a:lnTo>
                        <a:pt x="645907" y="804555"/>
                      </a:lnTo>
                      <a:lnTo>
                        <a:pt x="643843" y="803729"/>
                      </a:lnTo>
                      <a:lnTo>
                        <a:pt x="642131" y="803037"/>
                      </a:lnTo>
                      <a:lnTo>
                        <a:pt x="641378" y="802733"/>
                      </a:lnTo>
                      <a:lnTo>
                        <a:pt x="640564" y="802636"/>
                      </a:lnTo>
                      <a:lnTo>
                        <a:pt x="638366" y="802381"/>
                      </a:lnTo>
                      <a:lnTo>
                        <a:pt x="638366" y="802369"/>
                      </a:lnTo>
                      <a:lnTo>
                        <a:pt x="637942" y="801665"/>
                      </a:lnTo>
                      <a:lnTo>
                        <a:pt x="637310" y="800621"/>
                      </a:lnTo>
                      <a:lnTo>
                        <a:pt x="636909" y="799965"/>
                      </a:lnTo>
                      <a:lnTo>
                        <a:pt x="636363" y="799430"/>
                      </a:lnTo>
                      <a:lnTo>
                        <a:pt x="635574" y="798665"/>
                      </a:lnTo>
                      <a:lnTo>
                        <a:pt x="635343" y="798447"/>
                      </a:lnTo>
                      <a:lnTo>
                        <a:pt x="635100" y="798240"/>
                      </a:lnTo>
                      <a:lnTo>
                        <a:pt x="634056" y="797415"/>
                      </a:lnTo>
                      <a:lnTo>
                        <a:pt x="633716" y="797160"/>
                      </a:lnTo>
                      <a:lnTo>
                        <a:pt x="633339" y="796929"/>
                      </a:lnTo>
                      <a:lnTo>
                        <a:pt x="631275" y="795714"/>
                      </a:lnTo>
                      <a:lnTo>
                        <a:pt x="630413" y="795217"/>
                      </a:lnTo>
                      <a:lnTo>
                        <a:pt x="629441" y="795010"/>
                      </a:lnTo>
                      <a:lnTo>
                        <a:pt x="628069" y="794731"/>
                      </a:lnTo>
                      <a:lnTo>
                        <a:pt x="627061" y="794512"/>
                      </a:lnTo>
                      <a:lnTo>
                        <a:pt x="626041" y="794658"/>
                      </a:lnTo>
                      <a:lnTo>
                        <a:pt x="624536" y="794865"/>
                      </a:lnTo>
                      <a:lnTo>
                        <a:pt x="623406" y="795010"/>
                      </a:lnTo>
                      <a:lnTo>
                        <a:pt x="622398" y="795569"/>
                      </a:lnTo>
                      <a:lnTo>
                        <a:pt x="620383" y="796686"/>
                      </a:lnTo>
                      <a:lnTo>
                        <a:pt x="619035" y="797439"/>
                      </a:lnTo>
                      <a:lnTo>
                        <a:pt x="618209" y="798726"/>
                      </a:lnTo>
                      <a:lnTo>
                        <a:pt x="617359" y="800049"/>
                      </a:lnTo>
                      <a:lnTo>
                        <a:pt x="616703" y="801070"/>
                      </a:lnTo>
                      <a:lnTo>
                        <a:pt x="616497" y="802260"/>
                      </a:lnTo>
                      <a:lnTo>
                        <a:pt x="616206" y="803899"/>
                      </a:lnTo>
                      <a:lnTo>
                        <a:pt x="616145" y="804263"/>
                      </a:lnTo>
                      <a:lnTo>
                        <a:pt x="614141" y="803620"/>
                      </a:lnTo>
                      <a:lnTo>
                        <a:pt x="610523" y="802818"/>
                      </a:lnTo>
                      <a:lnTo>
                        <a:pt x="610523" y="801871"/>
                      </a:lnTo>
                      <a:lnTo>
                        <a:pt x="610207" y="800936"/>
                      </a:lnTo>
                      <a:lnTo>
                        <a:pt x="609855" y="799880"/>
                      </a:lnTo>
                      <a:lnTo>
                        <a:pt x="609430" y="798605"/>
                      </a:lnTo>
                      <a:lnTo>
                        <a:pt x="608507" y="797633"/>
                      </a:lnTo>
                      <a:lnTo>
                        <a:pt x="607706" y="796795"/>
                      </a:lnTo>
                      <a:lnTo>
                        <a:pt x="606078" y="795071"/>
                      </a:lnTo>
                      <a:lnTo>
                        <a:pt x="603711" y="794913"/>
                      </a:lnTo>
                      <a:lnTo>
                        <a:pt x="601938" y="794792"/>
                      </a:lnTo>
                      <a:lnTo>
                        <a:pt x="601403" y="794755"/>
                      </a:lnTo>
                      <a:lnTo>
                        <a:pt x="600869" y="794816"/>
                      </a:lnTo>
                      <a:lnTo>
                        <a:pt x="598161" y="795107"/>
                      </a:lnTo>
                      <a:lnTo>
                        <a:pt x="597785" y="795156"/>
                      </a:lnTo>
                      <a:lnTo>
                        <a:pt x="597421" y="795241"/>
                      </a:lnTo>
                      <a:lnTo>
                        <a:pt x="593122" y="796261"/>
                      </a:lnTo>
                      <a:lnTo>
                        <a:pt x="590232" y="796322"/>
                      </a:lnTo>
                      <a:lnTo>
                        <a:pt x="588495" y="796079"/>
                      </a:lnTo>
                      <a:lnTo>
                        <a:pt x="587840" y="795824"/>
                      </a:lnTo>
                      <a:lnTo>
                        <a:pt x="584780" y="793954"/>
                      </a:lnTo>
                      <a:lnTo>
                        <a:pt x="583468" y="793152"/>
                      </a:lnTo>
                      <a:lnTo>
                        <a:pt x="581926" y="793067"/>
                      </a:lnTo>
                      <a:lnTo>
                        <a:pt x="580372" y="792982"/>
                      </a:lnTo>
                      <a:lnTo>
                        <a:pt x="579158" y="792910"/>
                      </a:lnTo>
                      <a:lnTo>
                        <a:pt x="578016" y="793310"/>
                      </a:lnTo>
                      <a:lnTo>
                        <a:pt x="576401" y="793881"/>
                      </a:lnTo>
                      <a:lnTo>
                        <a:pt x="575235" y="794294"/>
                      </a:lnTo>
                      <a:lnTo>
                        <a:pt x="574325" y="795120"/>
                      </a:lnTo>
                      <a:lnTo>
                        <a:pt x="571920" y="797318"/>
                      </a:lnTo>
                      <a:lnTo>
                        <a:pt x="571362" y="797840"/>
                      </a:lnTo>
                      <a:lnTo>
                        <a:pt x="570937" y="798483"/>
                      </a:lnTo>
                      <a:lnTo>
                        <a:pt x="568654" y="801981"/>
                      </a:lnTo>
                      <a:lnTo>
                        <a:pt x="566650" y="804470"/>
                      </a:lnTo>
                      <a:lnTo>
                        <a:pt x="566310" y="804907"/>
                      </a:lnTo>
                      <a:lnTo>
                        <a:pt x="566055" y="805405"/>
                      </a:lnTo>
                      <a:lnTo>
                        <a:pt x="565315" y="806813"/>
                      </a:lnTo>
                      <a:lnTo>
                        <a:pt x="564999" y="807421"/>
                      </a:lnTo>
                      <a:lnTo>
                        <a:pt x="564817" y="808088"/>
                      </a:lnTo>
                      <a:lnTo>
                        <a:pt x="564295" y="810055"/>
                      </a:lnTo>
                      <a:lnTo>
                        <a:pt x="564039" y="811051"/>
                      </a:lnTo>
                      <a:lnTo>
                        <a:pt x="564112" y="812083"/>
                      </a:lnTo>
                      <a:lnTo>
                        <a:pt x="564295" y="814354"/>
                      </a:lnTo>
                      <a:lnTo>
                        <a:pt x="561684" y="813492"/>
                      </a:lnTo>
                      <a:lnTo>
                        <a:pt x="556390" y="812229"/>
                      </a:lnTo>
                      <a:lnTo>
                        <a:pt x="555879" y="812108"/>
                      </a:lnTo>
                      <a:lnTo>
                        <a:pt x="555345" y="812083"/>
                      </a:lnTo>
                      <a:lnTo>
                        <a:pt x="549930" y="811792"/>
                      </a:lnTo>
                      <a:lnTo>
                        <a:pt x="545995" y="810990"/>
                      </a:lnTo>
                      <a:lnTo>
                        <a:pt x="546092" y="810663"/>
                      </a:lnTo>
                      <a:lnTo>
                        <a:pt x="546432" y="809472"/>
                      </a:lnTo>
                      <a:lnTo>
                        <a:pt x="546736" y="808404"/>
                      </a:lnTo>
                      <a:lnTo>
                        <a:pt x="546639" y="807287"/>
                      </a:lnTo>
                      <a:lnTo>
                        <a:pt x="546530" y="806036"/>
                      </a:lnTo>
                      <a:lnTo>
                        <a:pt x="546347" y="803923"/>
                      </a:lnTo>
                      <a:lnTo>
                        <a:pt x="544890" y="802381"/>
                      </a:lnTo>
                      <a:lnTo>
                        <a:pt x="543737" y="801155"/>
                      </a:lnTo>
                      <a:lnTo>
                        <a:pt x="542838" y="800207"/>
                      </a:lnTo>
                      <a:lnTo>
                        <a:pt x="541636" y="799722"/>
                      </a:lnTo>
                      <a:lnTo>
                        <a:pt x="536232" y="797487"/>
                      </a:lnTo>
                      <a:lnTo>
                        <a:pt x="535868" y="797220"/>
                      </a:lnTo>
                      <a:lnTo>
                        <a:pt x="535297" y="796589"/>
                      </a:lnTo>
                      <a:lnTo>
                        <a:pt x="534848" y="795824"/>
                      </a:lnTo>
                      <a:lnTo>
                        <a:pt x="534556" y="795034"/>
                      </a:lnTo>
                      <a:lnTo>
                        <a:pt x="534423" y="794209"/>
                      </a:lnTo>
                      <a:lnTo>
                        <a:pt x="534520" y="793152"/>
                      </a:lnTo>
                      <a:lnTo>
                        <a:pt x="534617" y="793177"/>
                      </a:lnTo>
                      <a:lnTo>
                        <a:pt x="535552" y="793322"/>
                      </a:lnTo>
                      <a:lnTo>
                        <a:pt x="536487" y="793177"/>
                      </a:lnTo>
                      <a:lnTo>
                        <a:pt x="537799" y="792970"/>
                      </a:lnTo>
                      <a:lnTo>
                        <a:pt x="539025" y="792776"/>
                      </a:lnTo>
                      <a:lnTo>
                        <a:pt x="540082" y="792120"/>
                      </a:lnTo>
                      <a:lnTo>
                        <a:pt x="541114" y="791477"/>
                      </a:lnTo>
                      <a:lnTo>
                        <a:pt x="542534" y="790602"/>
                      </a:lnTo>
                      <a:lnTo>
                        <a:pt x="543299" y="789121"/>
                      </a:lnTo>
                      <a:lnTo>
                        <a:pt x="543761" y="788234"/>
                      </a:lnTo>
                      <a:lnTo>
                        <a:pt x="544052" y="787676"/>
                      </a:lnTo>
                      <a:lnTo>
                        <a:pt x="544222" y="787069"/>
                      </a:lnTo>
                      <a:lnTo>
                        <a:pt x="544684" y="785417"/>
                      </a:lnTo>
                      <a:lnTo>
                        <a:pt x="545934" y="784167"/>
                      </a:lnTo>
                      <a:lnTo>
                        <a:pt x="546530" y="783572"/>
                      </a:lnTo>
                      <a:lnTo>
                        <a:pt x="546942" y="782843"/>
                      </a:lnTo>
                      <a:lnTo>
                        <a:pt x="547513" y="781835"/>
                      </a:lnTo>
                      <a:lnTo>
                        <a:pt x="548181" y="780657"/>
                      </a:lnTo>
                      <a:lnTo>
                        <a:pt x="548278" y="779310"/>
                      </a:lnTo>
                      <a:lnTo>
                        <a:pt x="548399" y="777755"/>
                      </a:lnTo>
                      <a:lnTo>
                        <a:pt x="548472" y="776808"/>
                      </a:lnTo>
                      <a:lnTo>
                        <a:pt x="548254" y="775885"/>
                      </a:lnTo>
                      <a:lnTo>
                        <a:pt x="547841" y="774161"/>
                      </a:lnTo>
                      <a:lnTo>
                        <a:pt x="547647" y="773372"/>
                      </a:lnTo>
                      <a:lnTo>
                        <a:pt x="547246" y="772631"/>
                      </a:lnTo>
                      <a:lnTo>
                        <a:pt x="545995" y="770360"/>
                      </a:lnTo>
                      <a:lnTo>
                        <a:pt x="545570" y="769607"/>
                      </a:lnTo>
                      <a:lnTo>
                        <a:pt x="544951" y="768988"/>
                      </a:lnTo>
                      <a:lnTo>
                        <a:pt x="543907" y="767956"/>
                      </a:lnTo>
                      <a:lnTo>
                        <a:pt x="543154" y="767203"/>
                      </a:lnTo>
                      <a:lnTo>
                        <a:pt x="542182" y="766754"/>
                      </a:lnTo>
                      <a:lnTo>
                        <a:pt x="540980" y="766195"/>
                      </a:lnTo>
                      <a:lnTo>
                        <a:pt x="539766" y="765637"/>
                      </a:lnTo>
                      <a:lnTo>
                        <a:pt x="538430" y="765637"/>
                      </a:lnTo>
                      <a:lnTo>
                        <a:pt x="535151" y="765637"/>
                      </a:lnTo>
                      <a:lnTo>
                        <a:pt x="531351" y="765139"/>
                      </a:lnTo>
                      <a:lnTo>
                        <a:pt x="530707" y="765054"/>
                      </a:lnTo>
                      <a:lnTo>
                        <a:pt x="530064" y="765114"/>
                      </a:lnTo>
                      <a:lnTo>
                        <a:pt x="528631" y="765236"/>
                      </a:lnTo>
                      <a:lnTo>
                        <a:pt x="528011" y="765285"/>
                      </a:lnTo>
                      <a:lnTo>
                        <a:pt x="527416" y="765466"/>
                      </a:lnTo>
                      <a:lnTo>
                        <a:pt x="526324" y="765782"/>
                      </a:lnTo>
                      <a:lnTo>
                        <a:pt x="525765" y="765952"/>
                      </a:lnTo>
                      <a:lnTo>
                        <a:pt x="525474" y="766110"/>
                      </a:lnTo>
                      <a:lnTo>
                        <a:pt x="523883" y="762285"/>
                      </a:lnTo>
                      <a:lnTo>
                        <a:pt x="523737" y="761933"/>
                      </a:lnTo>
                      <a:lnTo>
                        <a:pt x="523543" y="761605"/>
                      </a:lnTo>
                      <a:lnTo>
                        <a:pt x="522511" y="759808"/>
                      </a:lnTo>
                      <a:lnTo>
                        <a:pt x="522328" y="759492"/>
                      </a:lnTo>
                      <a:lnTo>
                        <a:pt x="522110" y="759201"/>
                      </a:lnTo>
                      <a:lnTo>
                        <a:pt x="520908" y="757586"/>
                      </a:lnTo>
                      <a:lnTo>
                        <a:pt x="520349" y="756833"/>
                      </a:lnTo>
                      <a:lnTo>
                        <a:pt x="519584" y="756287"/>
                      </a:lnTo>
                      <a:lnTo>
                        <a:pt x="518261" y="755339"/>
                      </a:lnTo>
                      <a:lnTo>
                        <a:pt x="517860" y="755060"/>
                      </a:lnTo>
                      <a:lnTo>
                        <a:pt x="517423" y="754841"/>
                      </a:lnTo>
                      <a:lnTo>
                        <a:pt x="516039" y="754149"/>
                      </a:lnTo>
                      <a:lnTo>
                        <a:pt x="515699" y="753967"/>
                      </a:lnTo>
                      <a:lnTo>
                        <a:pt x="515346" y="753846"/>
                      </a:lnTo>
                      <a:lnTo>
                        <a:pt x="514266" y="753469"/>
                      </a:lnTo>
                      <a:lnTo>
                        <a:pt x="512468" y="746378"/>
                      </a:lnTo>
                      <a:lnTo>
                        <a:pt x="512128" y="744071"/>
                      </a:lnTo>
                      <a:lnTo>
                        <a:pt x="512165" y="742456"/>
                      </a:lnTo>
                      <a:lnTo>
                        <a:pt x="512979" y="738801"/>
                      </a:lnTo>
                      <a:lnTo>
                        <a:pt x="514448" y="735024"/>
                      </a:lnTo>
                      <a:lnTo>
                        <a:pt x="515868" y="732389"/>
                      </a:lnTo>
                      <a:lnTo>
                        <a:pt x="516221" y="731721"/>
                      </a:lnTo>
                      <a:lnTo>
                        <a:pt x="516403" y="730993"/>
                      </a:lnTo>
                      <a:lnTo>
                        <a:pt x="516986" y="728722"/>
                      </a:lnTo>
                      <a:lnTo>
                        <a:pt x="517131" y="728127"/>
                      </a:lnTo>
                      <a:lnTo>
                        <a:pt x="517156" y="727520"/>
                      </a:lnTo>
                      <a:lnTo>
                        <a:pt x="517277" y="725079"/>
                      </a:lnTo>
                      <a:lnTo>
                        <a:pt x="517301" y="724557"/>
                      </a:lnTo>
                      <a:lnTo>
                        <a:pt x="517241" y="724047"/>
                      </a:lnTo>
                      <a:lnTo>
                        <a:pt x="516864" y="720962"/>
                      </a:lnTo>
                      <a:lnTo>
                        <a:pt x="518018" y="720550"/>
                      </a:lnTo>
                      <a:lnTo>
                        <a:pt x="518528" y="720355"/>
                      </a:lnTo>
                      <a:lnTo>
                        <a:pt x="519001" y="720088"/>
                      </a:lnTo>
                      <a:lnTo>
                        <a:pt x="519730" y="719663"/>
                      </a:lnTo>
                      <a:lnTo>
                        <a:pt x="520811" y="719032"/>
                      </a:lnTo>
                      <a:lnTo>
                        <a:pt x="521551" y="718012"/>
                      </a:lnTo>
                      <a:lnTo>
                        <a:pt x="522013" y="717381"/>
                      </a:lnTo>
                      <a:lnTo>
                        <a:pt x="522438" y="716810"/>
                      </a:lnTo>
                      <a:lnTo>
                        <a:pt x="522705" y="716154"/>
                      </a:lnTo>
                      <a:lnTo>
                        <a:pt x="523179" y="715049"/>
                      </a:lnTo>
                      <a:lnTo>
                        <a:pt x="523385" y="714576"/>
                      </a:lnTo>
                      <a:lnTo>
                        <a:pt x="523506" y="714078"/>
                      </a:lnTo>
                      <a:lnTo>
                        <a:pt x="526287" y="702008"/>
                      </a:lnTo>
                      <a:lnTo>
                        <a:pt x="527064" y="696762"/>
                      </a:lnTo>
                      <a:lnTo>
                        <a:pt x="527113" y="696398"/>
                      </a:lnTo>
                      <a:lnTo>
                        <a:pt x="527113" y="696021"/>
                      </a:lnTo>
                      <a:lnTo>
                        <a:pt x="527174" y="693058"/>
                      </a:lnTo>
                      <a:lnTo>
                        <a:pt x="527684" y="689403"/>
                      </a:lnTo>
                      <a:lnTo>
                        <a:pt x="527744" y="688978"/>
                      </a:lnTo>
                      <a:lnTo>
                        <a:pt x="527744" y="688553"/>
                      </a:lnTo>
                      <a:lnTo>
                        <a:pt x="527744" y="686938"/>
                      </a:lnTo>
                      <a:lnTo>
                        <a:pt x="527744" y="685991"/>
                      </a:lnTo>
                      <a:lnTo>
                        <a:pt x="527465" y="685105"/>
                      </a:lnTo>
                      <a:lnTo>
                        <a:pt x="526955" y="683502"/>
                      </a:lnTo>
                      <a:lnTo>
                        <a:pt x="526591" y="682348"/>
                      </a:lnTo>
                      <a:lnTo>
                        <a:pt x="525826" y="681438"/>
                      </a:lnTo>
                      <a:lnTo>
                        <a:pt x="524114" y="679398"/>
                      </a:lnTo>
                      <a:lnTo>
                        <a:pt x="523494" y="678645"/>
                      </a:lnTo>
                      <a:lnTo>
                        <a:pt x="522668" y="678135"/>
                      </a:lnTo>
                      <a:lnTo>
                        <a:pt x="521272" y="677272"/>
                      </a:lnTo>
                      <a:lnTo>
                        <a:pt x="520738" y="676944"/>
                      </a:lnTo>
                      <a:lnTo>
                        <a:pt x="520131" y="676714"/>
                      </a:lnTo>
                      <a:lnTo>
                        <a:pt x="518880" y="676264"/>
                      </a:lnTo>
                      <a:lnTo>
                        <a:pt x="518540" y="676143"/>
                      </a:lnTo>
                      <a:lnTo>
                        <a:pt x="518200" y="676058"/>
                      </a:lnTo>
                      <a:lnTo>
                        <a:pt x="517301" y="675852"/>
                      </a:lnTo>
                      <a:lnTo>
                        <a:pt x="517034" y="675742"/>
                      </a:lnTo>
                      <a:lnTo>
                        <a:pt x="514181" y="673824"/>
                      </a:lnTo>
                      <a:lnTo>
                        <a:pt x="513719" y="673520"/>
                      </a:lnTo>
                      <a:lnTo>
                        <a:pt x="513209" y="673289"/>
                      </a:lnTo>
                      <a:lnTo>
                        <a:pt x="512226" y="672864"/>
                      </a:lnTo>
                      <a:lnTo>
                        <a:pt x="512687" y="672087"/>
                      </a:lnTo>
                      <a:lnTo>
                        <a:pt x="512894" y="671116"/>
                      </a:lnTo>
                      <a:lnTo>
                        <a:pt x="513185" y="669720"/>
                      </a:lnTo>
                      <a:lnTo>
                        <a:pt x="513355" y="668930"/>
                      </a:lnTo>
                      <a:lnTo>
                        <a:pt x="513306" y="668117"/>
                      </a:lnTo>
                      <a:lnTo>
                        <a:pt x="513161" y="665737"/>
                      </a:lnTo>
                      <a:lnTo>
                        <a:pt x="513306" y="663247"/>
                      </a:lnTo>
                      <a:lnTo>
                        <a:pt x="526433" y="670824"/>
                      </a:lnTo>
                      <a:lnTo>
                        <a:pt x="527307" y="671335"/>
                      </a:lnTo>
                      <a:lnTo>
                        <a:pt x="528303" y="671541"/>
                      </a:lnTo>
                      <a:lnTo>
                        <a:pt x="531351" y="672136"/>
                      </a:lnTo>
                      <a:lnTo>
                        <a:pt x="531666" y="672197"/>
                      </a:lnTo>
                      <a:lnTo>
                        <a:pt x="531982" y="672221"/>
                      </a:lnTo>
                      <a:lnTo>
                        <a:pt x="536378" y="672609"/>
                      </a:lnTo>
                      <a:lnTo>
                        <a:pt x="537714" y="672998"/>
                      </a:lnTo>
                      <a:lnTo>
                        <a:pt x="540786" y="674431"/>
                      </a:lnTo>
                      <a:lnTo>
                        <a:pt x="541514" y="674759"/>
                      </a:lnTo>
                      <a:lnTo>
                        <a:pt x="542304" y="674904"/>
                      </a:lnTo>
                      <a:lnTo>
                        <a:pt x="544259" y="675245"/>
                      </a:lnTo>
                      <a:lnTo>
                        <a:pt x="545485" y="675463"/>
                      </a:lnTo>
                      <a:lnTo>
                        <a:pt x="546699" y="675196"/>
                      </a:lnTo>
                      <a:lnTo>
                        <a:pt x="548533" y="674771"/>
                      </a:lnTo>
                      <a:lnTo>
                        <a:pt x="549262" y="674589"/>
                      </a:lnTo>
                      <a:lnTo>
                        <a:pt x="549930" y="674249"/>
                      </a:lnTo>
                      <a:lnTo>
                        <a:pt x="551775" y="673302"/>
                      </a:lnTo>
                      <a:lnTo>
                        <a:pt x="552504" y="673156"/>
                      </a:lnTo>
                      <a:lnTo>
                        <a:pt x="553281" y="673095"/>
                      </a:lnTo>
                      <a:lnTo>
                        <a:pt x="553402" y="673253"/>
                      </a:lnTo>
                      <a:lnTo>
                        <a:pt x="554082" y="674322"/>
                      </a:lnTo>
                      <a:lnTo>
                        <a:pt x="554398" y="674819"/>
                      </a:lnTo>
                      <a:lnTo>
                        <a:pt x="554811" y="675245"/>
                      </a:lnTo>
                      <a:lnTo>
                        <a:pt x="555794" y="676277"/>
                      </a:lnTo>
                      <a:lnTo>
                        <a:pt x="556972" y="677515"/>
                      </a:lnTo>
                      <a:lnTo>
                        <a:pt x="558612" y="677952"/>
                      </a:lnTo>
                      <a:lnTo>
                        <a:pt x="559935" y="678305"/>
                      </a:lnTo>
                      <a:lnTo>
                        <a:pt x="561210" y="678645"/>
                      </a:lnTo>
                      <a:lnTo>
                        <a:pt x="562510" y="678426"/>
                      </a:lnTo>
                      <a:lnTo>
                        <a:pt x="564064" y="678171"/>
                      </a:lnTo>
                      <a:lnTo>
                        <a:pt x="564841" y="678038"/>
                      </a:lnTo>
                      <a:lnTo>
                        <a:pt x="565557" y="677710"/>
                      </a:lnTo>
                      <a:lnTo>
                        <a:pt x="567051" y="677030"/>
                      </a:lnTo>
                      <a:lnTo>
                        <a:pt x="567549" y="676811"/>
                      </a:lnTo>
                      <a:lnTo>
                        <a:pt x="567998" y="676507"/>
                      </a:lnTo>
                      <a:lnTo>
                        <a:pt x="569188" y="675694"/>
                      </a:lnTo>
                      <a:lnTo>
                        <a:pt x="569625" y="675402"/>
                      </a:lnTo>
                      <a:lnTo>
                        <a:pt x="570002" y="675038"/>
                      </a:lnTo>
                      <a:lnTo>
                        <a:pt x="574422" y="670727"/>
                      </a:lnTo>
                      <a:lnTo>
                        <a:pt x="574786" y="670387"/>
                      </a:lnTo>
                      <a:lnTo>
                        <a:pt x="575090" y="669975"/>
                      </a:lnTo>
                      <a:lnTo>
                        <a:pt x="576365" y="668226"/>
                      </a:lnTo>
                      <a:lnTo>
                        <a:pt x="576729" y="667728"/>
                      </a:lnTo>
                      <a:lnTo>
                        <a:pt x="576984" y="667157"/>
                      </a:lnTo>
                      <a:lnTo>
                        <a:pt x="578125" y="664656"/>
                      </a:lnTo>
                      <a:lnTo>
                        <a:pt x="578320" y="664243"/>
                      </a:lnTo>
                      <a:lnTo>
                        <a:pt x="578441" y="663794"/>
                      </a:lnTo>
                      <a:lnTo>
                        <a:pt x="579692" y="659410"/>
                      </a:lnTo>
                      <a:lnTo>
                        <a:pt x="580554" y="657637"/>
                      </a:lnTo>
                      <a:lnTo>
                        <a:pt x="581355" y="656362"/>
                      </a:lnTo>
                      <a:lnTo>
                        <a:pt x="582327" y="655124"/>
                      </a:lnTo>
                      <a:lnTo>
                        <a:pt x="582643" y="654735"/>
                      </a:lnTo>
                      <a:lnTo>
                        <a:pt x="582885" y="654286"/>
                      </a:lnTo>
                      <a:lnTo>
                        <a:pt x="583735" y="652731"/>
                      </a:lnTo>
                      <a:lnTo>
                        <a:pt x="584731" y="650485"/>
                      </a:lnTo>
                      <a:lnTo>
                        <a:pt x="584925" y="650048"/>
                      </a:lnTo>
                      <a:lnTo>
                        <a:pt x="585047" y="649574"/>
                      </a:lnTo>
                      <a:lnTo>
                        <a:pt x="585508" y="647765"/>
                      </a:lnTo>
                      <a:lnTo>
                        <a:pt x="585593" y="647449"/>
                      </a:lnTo>
                      <a:lnTo>
                        <a:pt x="585642" y="647110"/>
                      </a:lnTo>
                      <a:lnTo>
                        <a:pt x="585982" y="644693"/>
                      </a:lnTo>
                      <a:lnTo>
                        <a:pt x="586043" y="644231"/>
                      </a:lnTo>
                      <a:lnTo>
                        <a:pt x="586043" y="643758"/>
                      </a:lnTo>
                      <a:lnTo>
                        <a:pt x="585982" y="639824"/>
                      </a:lnTo>
                      <a:lnTo>
                        <a:pt x="585982" y="639326"/>
                      </a:lnTo>
                      <a:lnTo>
                        <a:pt x="585885" y="638828"/>
                      </a:lnTo>
                      <a:lnTo>
                        <a:pt x="585205" y="635088"/>
                      </a:lnTo>
                      <a:lnTo>
                        <a:pt x="585144" y="634748"/>
                      </a:lnTo>
                      <a:lnTo>
                        <a:pt x="585035" y="634408"/>
                      </a:lnTo>
                      <a:lnTo>
                        <a:pt x="582375" y="625689"/>
                      </a:lnTo>
                      <a:lnTo>
                        <a:pt x="580833" y="613570"/>
                      </a:lnTo>
                      <a:lnTo>
                        <a:pt x="580615" y="611907"/>
                      </a:lnTo>
                      <a:lnTo>
                        <a:pt x="579583" y="610595"/>
                      </a:lnTo>
                      <a:lnTo>
                        <a:pt x="577470" y="607888"/>
                      </a:lnTo>
                      <a:lnTo>
                        <a:pt x="576923" y="607183"/>
                      </a:lnTo>
                      <a:lnTo>
                        <a:pt x="576182" y="606661"/>
                      </a:lnTo>
                      <a:lnTo>
                        <a:pt x="574628" y="605568"/>
                      </a:lnTo>
                      <a:lnTo>
                        <a:pt x="574325" y="605338"/>
                      </a:lnTo>
                      <a:lnTo>
                        <a:pt x="573985" y="605155"/>
                      </a:lnTo>
                      <a:lnTo>
                        <a:pt x="571920" y="604063"/>
                      </a:lnTo>
                      <a:lnTo>
                        <a:pt x="571228" y="603711"/>
                      </a:lnTo>
                      <a:lnTo>
                        <a:pt x="570475" y="603528"/>
                      </a:lnTo>
                      <a:lnTo>
                        <a:pt x="565351" y="602302"/>
                      </a:lnTo>
                      <a:lnTo>
                        <a:pt x="565278" y="601998"/>
                      </a:lnTo>
                      <a:lnTo>
                        <a:pt x="563821" y="592454"/>
                      </a:lnTo>
                      <a:lnTo>
                        <a:pt x="563712" y="591750"/>
                      </a:lnTo>
                      <a:lnTo>
                        <a:pt x="563457" y="591094"/>
                      </a:lnTo>
                      <a:lnTo>
                        <a:pt x="562194" y="587961"/>
                      </a:lnTo>
                      <a:lnTo>
                        <a:pt x="561975" y="587427"/>
                      </a:lnTo>
                      <a:lnTo>
                        <a:pt x="561659" y="586941"/>
                      </a:lnTo>
                      <a:lnTo>
                        <a:pt x="560457" y="585083"/>
                      </a:lnTo>
                      <a:lnTo>
                        <a:pt x="559790" y="584051"/>
                      </a:lnTo>
                      <a:lnTo>
                        <a:pt x="558782" y="583359"/>
                      </a:lnTo>
                      <a:lnTo>
                        <a:pt x="558587" y="583225"/>
                      </a:lnTo>
                      <a:lnTo>
                        <a:pt x="558296" y="582606"/>
                      </a:lnTo>
                      <a:lnTo>
                        <a:pt x="558199" y="582290"/>
                      </a:lnTo>
                      <a:lnTo>
                        <a:pt x="560372" y="581792"/>
                      </a:lnTo>
                      <a:lnTo>
                        <a:pt x="561599" y="578975"/>
                      </a:lnTo>
                      <a:lnTo>
                        <a:pt x="562182" y="577627"/>
                      </a:lnTo>
                      <a:lnTo>
                        <a:pt x="562485" y="576935"/>
                      </a:lnTo>
                      <a:lnTo>
                        <a:pt x="562607" y="576183"/>
                      </a:lnTo>
                      <a:lnTo>
                        <a:pt x="563007" y="573766"/>
                      </a:lnTo>
                      <a:lnTo>
                        <a:pt x="563105" y="573219"/>
                      </a:lnTo>
                      <a:lnTo>
                        <a:pt x="563092" y="572661"/>
                      </a:lnTo>
                      <a:lnTo>
                        <a:pt x="562922" y="564051"/>
                      </a:lnTo>
                      <a:lnTo>
                        <a:pt x="562910" y="563481"/>
                      </a:lnTo>
                      <a:lnTo>
                        <a:pt x="562789" y="562922"/>
                      </a:lnTo>
                      <a:lnTo>
                        <a:pt x="561186" y="555200"/>
                      </a:lnTo>
                      <a:lnTo>
                        <a:pt x="561392" y="554617"/>
                      </a:lnTo>
                      <a:lnTo>
                        <a:pt x="562133" y="553220"/>
                      </a:lnTo>
                      <a:lnTo>
                        <a:pt x="562716" y="552564"/>
                      </a:lnTo>
                      <a:lnTo>
                        <a:pt x="563032" y="552358"/>
                      </a:lnTo>
                      <a:lnTo>
                        <a:pt x="563226" y="552358"/>
                      </a:lnTo>
                      <a:lnTo>
                        <a:pt x="563942" y="552552"/>
                      </a:lnTo>
                      <a:lnTo>
                        <a:pt x="565594" y="553184"/>
                      </a:lnTo>
                      <a:lnTo>
                        <a:pt x="565995" y="553342"/>
                      </a:lnTo>
                      <a:lnTo>
                        <a:pt x="566419" y="553439"/>
                      </a:lnTo>
                      <a:lnTo>
                        <a:pt x="568205" y="553840"/>
                      </a:lnTo>
                      <a:lnTo>
                        <a:pt x="570633" y="554398"/>
                      </a:lnTo>
                      <a:lnTo>
                        <a:pt x="572746" y="553087"/>
                      </a:lnTo>
                      <a:lnTo>
                        <a:pt x="573948" y="552334"/>
                      </a:lnTo>
                      <a:lnTo>
                        <a:pt x="576219" y="550925"/>
                      </a:lnTo>
                      <a:lnTo>
                        <a:pt x="576717" y="548314"/>
                      </a:lnTo>
                      <a:lnTo>
                        <a:pt x="577069" y="546481"/>
                      </a:lnTo>
                      <a:lnTo>
                        <a:pt x="577373" y="544866"/>
                      </a:lnTo>
                      <a:lnTo>
                        <a:pt x="576826" y="543323"/>
                      </a:lnTo>
                      <a:lnTo>
                        <a:pt x="575272" y="538928"/>
                      </a:lnTo>
                      <a:lnTo>
                        <a:pt x="575078" y="538382"/>
                      </a:lnTo>
                      <a:lnTo>
                        <a:pt x="574786" y="537883"/>
                      </a:lnTo>
                      <a:lnTo>
                        <a:pt x="572260" y="533561"/>
                      </a:lnTo>
                      <a:lnTo>
                        <a:pt x="570330" y="529359"/>
                      </a:lnTo>
                      <a:lnTo>
                        <a:pt x="569710" y="528060"/>
                      </a:lnTo>
                      <a:lnTo>
                        <a:pt x="568569" y="527161"/>
                      </a:lnTo>
                      <a:lnTo>
                        <a:pt x="567658" y="526445"/>
                      </a:lnTo>
                      <a:lnTo>
                        <a:pt x="567124" y="526032"/>
                      </a:lnTo>
                      <a:lnTo>
                        <a:pt x="566517" y="525741"/>
                      </a:lnTo>
                      <a:lnTo>
                        <a:pt x="566262" y="525619"/>
                      </a:lnTo>
                      <a:lnTo>
                        <a:pt x="566007" y="523446"/>
                      </a:lnTo>
                      <a:lnTo>
                        <a:pt x="566905" y="515795"/>
                      </a:lnTo>
                      <a:lnTo>
                        <a:pt x="566942" y="515443"/>
                      </a:lnTo>
                      <a:lnTo>
                        <a:pt x="566942" y="515091"/>
                      </a:lnTo>
                      <a:lnTo>
                        <a:pt x="566942" y="511704"/>
                      </a:lnTo>
                      <a:lnTo>
                        <a:pt x="567330" y="510841"/>
                      </a:lnTo>
                      <a:lnTo>
                        <a:pt x="567986" y="509360"/>
                      </a:lnTo>
                      <a:lnTo>
                        <a:pt x="567816" y="507745"/>
                      </a:lnTo>
                      <a:lnTo>
                        <a:pt x="567792" y="507563"/>
                      </a:lnTo>
                      <a:lnTo>
                        <a:pt x="572904" y="501297"/>
                      </a:lnTo>
                      <a:lnTo>
                        <a:pt x="584622" y="494521"/>
                      </a:lnTo>
                      <a:lnTo>
                        <a:pt x="587172" y="493659"/>
                      </a:lnTo>
                      <a:lnTo>
                        <a:pt x="597372" y="492129"/>
                      </a:lnTo>
                      <a:lnTo>
                        <a:pt x="599703" y="493368"/>
                      </a:lnTo>
                      <a:lnTo>
                        <a:pt x="600128" y="493598"/>
                      </a:lnTo>
                      <a:lnTo>
                        <a:pt x="600578" y="493756"/>
                      </a:lnTo>
                      <a:lnTo>
                        <a:pt x="602593" y="494448"/>
                      </a:lnTo>
                      <a:lnTo>
                        <a:pt x="603188" y="494655"/>
                      </a:lnTo>
                      <a:lnTo>
                        <a:pt x="603820" y="494728"/>
                      </a:lnTo>
                      <a:lnTo>
                        <a:pt x="611798" y="495699"/>
                      </a:lnTo>
                      <a:lnTo>
                        <a:pt x="612138" y="495747"/>
                      </a:lnTo>
                      <a:lnTo>
                        <a:pt x="612478" y="495747"/>
                      </a:lnTo>
                      <a:lnTo>
                        <a:pt x="634578" y="495966"/>
                      </a:lnTo>
                      <a:lnTo>
                        <a:pt x="635003" y="496112"/>
                      </a:lnTo>
                      <a:lnTo>
                        <a:pt x="635574" y="496172"/>
                      </a:lnTo>
                      <a:lnTo>
                        <a:pt x="638172" y="496476"/>
                      </a:lnTo>
                      <a:lnTo>
                        <a:pt x="641694" y="496901"/>
                      </a:lnTo>
                      <a:lnTo>
                        <a:pt x="643782" y="494048"/>
                      </a:lnTo>
                      <a:lnTo>
                        <a:pt x="645470" y="491765"/>
                      </a:lnTo>
                      <a:lnTo>
                        <a:pt x="648324" y="488887"/>
                      </a:lnTo>
                      <a:lnTo>
                        <a:pt x="648894" y="488304"/>
                      </a:lnTo>
                      <a:lnTo>
                        <a:pt x="649295" y="487587"/>
                      </a:lnTo>
                      <a:lnTo>
                        <a:pt x="650424" y="485572"/>
                      </a:lnTo>
                      <a:lnTo>
                        <a:pt x="651371" y="483520"/>
                      </a:lnTo>
                      <a:lnTo>
                        <a:pt x="651979" y="482160"/>
                      </a:lnTo>
                      <a:lnTo>
                        <a:pt x="651894" y="480678"/>
                      </a:lnTo>
                      <a:lnTo>
                        <a:pt x="651384" y="472251"/>
                      </a:lnTo>
                      <a:lnTo>
                        <a:pt x="651505" y="468778"/>
                      </a:lnTo>
                      <a:lnTo>
                        <a:pt x="652137" y="464407"/>
                      </a:lnTo>
                      <a:lnTo>
                        <a:pt x="652197" y="463982"/>
                      </a:lnTo>
                      <a:lnTo>
                        <a:pt x="652197" y="463545"/>
                      </a:lnTo>
                      <a:lnTo>
                        <a:pt x="652197" y="460132"/>
                      </a:lnTo>
                      <a:lnTo>
                        <a:pt x="652197" y="459804"/>
                      </a:lnTo>
                      <a:lnTo>
                        <a:pt x="652161" y="459465"/>
                      </a:lnTo>
                      <a:lnTo>
                        <a:pt x="651068" y="449677"/>
                      </a:lnTo>
                      <a:lnTo>
                        <a:pt x="651226" y="446957"/>
                      </a:lnTo>
                      <a:lnTo>
                        <a:pt x="651711" y="444832"/>
                      </a:lnTo>
                      <a:lnTo>
                        <a:pt x="652367" y="443096"/>
                      </a:lnTo>
                      <a:lnTo>
                        <a:pt x="652598" y="442476"/>
                      </a:lnTo>
                      <a:lnTo>
                        <a:pt x="652695" y="441833"/>
                      </a:lnTo>
                      <a:lnTo>
                        <a:pt x="653047" y="439477"/>
                      </a:lnTo>
                      <a:lnTo>
                        <a:pt x="653132" y="438870"/>
                      </a:lnTo>
                      <a:lnTo>
                        <a:pt x="653096" y="438251"/>
                      </a:lnTo>
                      <a:lnTo>
                        <a:pt x="652841" y="433649"/>
                      </a:lnTo>
                      <a:lnTo>
                        <a:pt x="652914" y="433236"/>
                      </a:lnTo>
                      <a:lnTo>
                        <a:pt x="657722" y="430358"/>
                      </a:lnTo>
                      <a:lnTo>
                        <a:pt x="658014" y="430176"/>
                      </a:lnTo>
                      <a:lnTo>
                        <a:pt x="658281" y="429969"/>
                      </a:lnTo>
                      <a:lnTo>
                        <a:pt x="660054" y="428621"/>
                      </a:lnTo>
                      <a:lnTo>
                        <a:pt x="660661" y="428160"/>
                      </a:lnTo>
                      <a:lnTo>
                        <a:pt x="661134" y="427553"/>
                      </a:lnTo>
                      <a:lnTo>
                        <a:pt x="662349" y="426011"/>
                      </a:lnTo>
                      <a:lnTo>
                        <a:pt x="662689" y="425574"/>
                      </a:lnTo>
                      <a:lnTo>
                        <a:pt x="662944" y="425088"/>
                      </a:lnTo>
                      <a:lnTo>
                        <a:pt x="663976" y="423133"/>
                      </a:lnTo>
                      <a:lnTo>
                        <a:pt x="664619" y="421906"/>
                      </a:lnTo>
                      <a:lnTo>
                        <a:pt x="664668" y="420546"/>
                      </a:lnTo>
                      <a:lnTo>
                        <a:pt x="664777" y="417766"/>
                      </a:lnTo>
                      <a:lnTo>
                        <a:pt x="664838" y="416357"/>
                      </a:lnTo>
                      <a:lnTo>
                        <a:pt x="664267" y="415082"/>
                      </a:lnTo>
                      <a:lnTo>
                        <a:pt x="663345" y="412969"/>
                      </a:lnTo>
                      <a:lnTo>
                        <a:pt x="662737" y="411597"/>
                      </a:lnTo>
                      <a:lnTo>
                        <a:pt x="661547" y="410662"/>
                      </a:lnTo>
                      <a:lnTo>
                        <a:pt x="660965" y="410201"/>
                      </a:lnTo>
                      <a:lnTo>
                        <a:pt x="660649" y="409496"/>
                      </a:lnTo>
                      <a:lnTo>
                        <a:pt x="659689" y="407323"/>
                      </a:lnTo>
                      <a:lnTo>
                        <a:pt x="657516" y="406376"/>
                      </a:lnTo>
                      <a:lnTo>
                        <a:pt x="649987" y="403109"/>
                      </a:lnTo>
                      <a:lnTo>
                        <a:pt x="649271" y="402806"/>
                      </a:lnTo>
                      <a:lnTo>
                        <a:pt x="648506" y="402684"/>
                      </a:lnTo>
                      <a:lnTo>
                        <a:pt x="644778" y="402101"/>
                      </a:lnTo>
                      <a:lnTo>
                        <a:pt x="644219" y="402016"/>
                      </a:lnTo>
                      <a:lnTo>
                        <a:pt x="643661" y="402028"/>
                      </a:lnTo>
                      <a:lnTo>
                        <a:pt x="632307" y="402356"/>
                      </a:lnTo>
                      <a:lnTo>
                        <a:pt x="630073" y="402101"/>
                      </a:lnTo>
                      <a:lnTo>
                        <a:pt x="613255" y="397730"/>
                      </a:lnTo>
                      <a:lnTo>
                        <a:pt x="613024" y="397487"/>
                      </a:lnTo>
                      <a:lnTo>
                        <a:pt x="611761" y="395872"/>
                      </a:lnTo>
                      <a:lnTo>
                        <a:pt x="616424" y="393310"/>
                      </a:lnTo>
                      <a:lnTo>
                        <a:pt x="616837" y="393079"/>
                      </a:lnTo>
                      <a:lnTo>
                        <a:pt x="617201" y="392800"/>
                      </a:lnTo>
                      <a:lnTo>
                        <a:pt x="623091" y="388295"/>
                      </a:lnTo>
                      <a:lnTo>
                        <a:pt x="627583" y="385805"/>
                      </a:lnTo>
                      <a:lnTo>
                        <a:pt x="628409" y="385356"/>
                      </a:lnTo>
                      <a:lnTo>
                        <a:pt x="629053" y="384664"/>
                      </a:lnTo>
                      <a:lnTo>
                        <a:pt x="630486" y="383146"/>
                      </a:lnTo>
                      <a:lnTo>
                        <a:pt x="631251" y="382332"/>
                      </a:lnTo>
                      <a:lnTo>
                        <a:pt x="631688" y="381313"/>
                      </a:lnTo>
                      <a:lnTo>
                        <a:pt x="632526" y="379273"/>
                      </a:lnTo>
                      <a:lnTo>
                        <a:pt x="632939" y="378289"/>
                      </a:lnTo>
                      <a:lnTo>
                        <a:pt x="632987" y="377233"/>
                      </a:lnTo>
                      <a:lnTo>
                        <a:pt x="633023" y="376504"/>
                      </a:lnTo>
                      <a:lnTo>
                        <a:pt x="635671" y="375472"/>
                      </a:lnTo>
                      <a:lnTo>
                        <a:pt x="636290" y="375229"/>
                      </a:lnTo>
                      <a:lnTo>
                        <a:pt x="636837" y="374865"/>
                      </a:lnTo>
                      <a:lnTo>
                        <a:pt x="638561" y="373711"/>
                      </a:lnTo>
                      <a:lnTo>
                        <a:pt x="639775" y="372910"/>
                      </a:lnTo>
                      <a:lnTo>
                        <a:pt x="640491" y="371647"/>
                      </a:lnTo>
                      <a:lnTo>
                        <a:pt x="641354" y="370117"/>
                      </a:lnTo>
                      <a:lnTo>
                        <a:pt x="641657" y="369570"/>
                      </a:lnTo>
                      <a:lnTo>
                        <a:pt x="641839" y="368987"/>
                      </a:lnTo>
                      <a:lnTo>
                        <a:pt x="642531" y="366814"/>
                      </a:lnTo>
                      <a:lnTo>
                        <a:pt x="642629" y="366510"/>
                      </a:lnTo>
                      <a:lnTo>
                        <a:pt x="642689" y="366195"/>
                      </a:lnTo>
                      <a:lnTo>
                        <a:pt x="643236" y="363511"/>
                      </a:lnTo>
                      <a:lnTo>
                        <a:pt x="643916" y="361981"/>
                      </a:lnTo>
                      <a:lnTo>
                        <a:pt x="644098" y="361556"/>
                      </a:lnTo>
                      <a:lnTo>
                        <a:pt x="644219" y="361119"/>
                      </a:lnTo>
                      <a:lnTo>
                        <a:pt x="644620" y="359625"/>
                      </a:lnTo>
                      <a:lnTo>
                        <a:pt x="644984" y="358253"/>
                      </a:lnTo>
                      <a:lnTo>
                        <a:pt x="644705" y="356857"/>
                      </a:lnTo>
                      <a:lnTo>
                        <a:pt x="644523" y="355946"/>
                      </a:lnTo>
                      <a:lnTo>
                        <a:pt x="644062" y="353688"/>
                      </a:lnTo>
                      <a:lnTo>
                        <a:pt x="642993" y="352886"/>
                      </a:lnTo>
                      <a:lnTo>
                        <a:pt x="643649" y="351866"/>
                      </a:lnTo>
                      <a:lnTo>
                        <a:pt x="644984" y="349814"/>
                      </a:lnTo>
                      <a:lnTo>
                        <a:pt x="644511" y="347397"/>
                      </a:lnTo>
                      <a:lnTo>
                        <a:pt x="644292" y="346268"/>
                      </a:lnTo>
                      <a:lnTo>
                        <a:pt x="643977" y="344653"/>
                      </a:lnTo>
                      <a:lnTo>
                        <a:pt x="642896" y="343415"/>
                      </a:lnTo>
                      <a:lnTo>
                        <a:pt x="641281" y="341581"/>
                      </a:lnTo>
                      <a:lnTo>
                        <a:pt x="640662" y="340876"/>
                      </a:lnTo>
                      <a:lnTo>
                        <a:pt x="639860" y="340391"/>
                      </a:lnTo>
                      <a:lnTo>
                        <a:pt x="637966" y="339237"/>
                      </a:lnTo>
                      <a:lnTo>
                        <a:pt x="638731" y="332874"/>
                      </a:lnTo>
                      <a:lnTo>
                        <a:pt x="639241" y="332546"/>
                      </a:lnTo>
                      <a:lnTo>
                        <a:pt x="641378" y="331174"/>
                      </a:lnTo>
                      <a:lnTo>
                        <a:pt x="641888" y="328685"/>
                      </a:lnTo>
                      <a:lnTo>
                        <a:pt x="642410" y="326160"/>
                      </a:lnTo>
                      <a:lnTo>
                        <a:pt x="642544" y="325516"/>
                      </a:lnTo>
                      <a:lnTo>
                        <a:pt x="642544" y="324872"/>
                      </a:lnTo>
                      <a:lnTo>
                        <a:pt x="642374" y="301667"/>
                      </a:lnTo>
                      <a:lnTo>
                        <a:pt x="642677" y="298704"/>
                      </a:lnTo>
                      <a:lnTo>
                        <a:pt x="643551" y="295936"/>
                      </a:lnTo>
                      <a:lnTo>
                        <a:pt x="644899" y="293240"/>
                      </a:lnTo>
                      <a:lnTo>
                        <a:pt x="647109" y="289900"/>
                      </a:lnTo>
                      <a:lnTo>
                        <a:pt x="647680" y="289038"/>
                      </a:lnTo>
                      <a:lnTo>
                        <a:pt x="647935" y="288043"/>
                      </a:lnTo>
                      <a:lnTo>
                        <a:pt x="648627" y="285286"/>
                      </a:lnTo>
                      <a:lnTo>
                        <a:pt x="648919" y="284132"/>
                      </a:lnTo>
                      <a:lnTo>
                        <a:pt x="648749" y="282967"/>
                      </a:lnTo>
                      <a:lnTo>
                        <a:pt x="648299" y="279713"/>
                      </a:lnTo>
                      <a:lnTo>
                        <a:pt x="648129" y="278450"/>
                      </a:lnTo>
                      <a:lnTo>
                        <a:pt x="647474" y="277381"/>
                      </a:lnTo>
                      <a:lnTo>
                        <a:pt x="642932" y="269925"/>
                      </a:lnTo>
                      <a:lnTo>
                        <a:pt x="642216" y="268395"/>
                      </a:lnTo>
                      <a:lnTo>
                        <a:pt x="641414" y="261778"/>
                      </a:lnTo>
                      <a:lnTo>
                        <a:pt x="641281" y="260697"/>
                      </a:lnTo>
                      <a:lnTo>
                        <a:pt x="640783" y="259738"/>
                      </a:lnTo>
                      <a:lnTo>
                        <a:pt x="640164" y="258523"/>
                      </a:lnTo>
                      <a:lnTo>
                        <a:pt x="639508" y="257248"/>
                      </a:lnTo>
                      <a:lnTo>
                        <a:pt x="638354" y="256410"/>
                      </a:lnTo>
                      <a:lnTo>
                        <a:pt x="636557" y="255099"/>
                      </a:lnTo>
                      <a:lnTo>
                        <a:pt x="635938" y="254637"/>
                      </a:lnTo>
                      <a:lnTo>
                        <a:pt x="635209" y="254358"/>
                      </a:lnTo>
                      <a:lnTo>
                        <a:pt x="633388" y="253629"/>
                      </a:lnTo>
                      <a:lnTo>
                        <a:pt x="633072" y="253496"/>
                      </a:lnTo>
                      <a:lnTo>
                        <a:pt x="632732" y="253411"/>
                      </a:lnTo>
                      <a:lnTo>
                        <a:pt x="629733" y="252597"/>
                      </a:lnTo>
                      <a:lnTo>
                        <a:pt x="629709" y="252585"/>
                      </a:lnTo>
                      <a:lnTo>
                        <a:pt x="629660" y="251990"/>
                      </a:lnTo>
                      <a:lnTo>
                        <a:pt x="630692" y="248675"/>
                      </a:lnTo>
                      <a:lnTo>
                        <a:pt x="652877" y="220164"/>
                      </a:lnTo>
                      <a:lnTo>
                        <a:pt x="653217" y="219739"/>
                      </a:lnTo>
                      <a:lnTo>
                        <a:pt x="653472" y="219241"/>
                      </a:lnTo>
                      <a:lnTo>
                        <a:pt x="655658" y="215039"/>
                      </a:lnTo>
                      <a:lnTo>
                        <a:pt x="655865" y="214651"/>
                      </a:lnTo>
                      <a:lnTo>
                        <a:pt x="656010" y="214226"/>
                      </a:lnTo>
                      <a:lnTo>
                        <a:pt x="657188" y="210813"/>
                      </a:lnTo>
                      <a:lnTo>
                        <a:pt x="657309" y="210668"/>
                      </a:lnTo>
                      <a:lnTo>
                        <a:pt x="658257" y="210607"/>
                      </a:lnTo>
                      <a:lnTo>
                        <a:pt x="658621" y="210583"/>
                      </a:lnTo>
                      <a:lnTo>
                        <a:pt x="658985" y="210510"/>
                      </a:lnTo>
                      <a:lnTo>
                        <a:pt x="661402" y="210049"/>
                      </a:lnTo>
                      <a:lnTo>
                        <a:pt x="662689" y="209794"/>
                      </a:lnTo>
                      <a:lnTo>
                        <a:pt x="663757" y="209041"/>
                      </a:lnTo>
                      <a:lnTo>
                        <a:pt x="665542" y="207778"/>
                      </a:lnTo>
                      <a:lnTo>
                        <a:pt x="666380" y="207183"/>
                      </a:lnTo>
                      <a:lnTo>
                        <a:pt x="666975" y="206345"/>
                      </a:lnTo>
                      <a:lnTo>
                        <a:pt x="668408" y="204341"/>
                      </a:lnTo>
                      <a:lnTo>
                        <a:pt x="669222" y="203188"/>
                      </a:lnTo>
                      <a:lnTo>
                        <a:pt x="669452" y="201803"/>
                      </a:lnTo>
                      <a:lnTo>
                        <a:pt x="669683" y="200443"/>
                      </a:lnTo>
                      <a:lnTo>
                        <a:pt x="677892" y="198573"/>
                      </a:lnTo>
                      <a:lnTo>
                        <a:pt x="678487" y="198440"/>
                      </a:lnTo>
                      <a:lnTo>
                        <a:pt x="679045" y="198185"/>
                      </a:lnTo>
                      <a:lnTo>
                        <a:pt x="679750" y="197869"/>
                      </a:lnTo>
                      <a:lnTo>
                        <a:pt x="681693" y="196995"/>
                      </a:lnTo>
                      <a:lnTo>
                        <a:pt x="682943" y="194955"/>
                      </a:lnTo>
                      <a:lnTo>
                        <a:pt x="688335" y="184330"/>
                      </a:lnTo>
                      <a:lnTo>
                        <a:pt x="688590" y="183844"/>
                      </a:lnTo>
                      <a:lnTo>
                        <a:pt x="688747" y="183310"/>
                      </a:lnTo>
                      <a:lnTo>
                        <a:pt x="689452" y="180966"/>
                      </a:lnTo>
                      <a:lnTo>
                        <a:pt x="690059" y="178950"/>
                      </a:lnTo>
                      <a:lnTo>
                        <a:pt x="689282" y="176995"/>
                      </a:lnTo>
                      <a:lnTo>
                        <a:pt x="688760" y="175684"/>
                      </a:lnTo>
                      <a:lnTo>
                        <a:pt x="687764" y="173183"/>
                      </a:lnTo>
                      <a:lnTo>
                        <a:pt x="685238" y="172248"/>
                      </a:lnTo>
                      <a:lnTo>
                        <a:pt x="683623" y="171641"/>
                      </a:lnTo>
                      <a:lnTo>
                        <a:pt x="681838" y="170961"/>
                      </a:lnTo>
                      <a:lnTo>
                        <a:pt x="679980" y="171434"/>
                      </a:lnTo>
                      <a:lnTo>
                        <a:pt x="676362" y="172369"/>
                      </a:lnTo>
                      <a:lnTo>
                        <a:pt x="675767" y="172539"/>
                      </a:lnTo>
                      <a:lnTo>
                        <a:pt x="675208" y="172806"/>
                      </a:lnTo>
                      <a:lnTo>
                        <a:pt x="672804" y="173996"/>
                      </a:lnTo>
                      <a:lnTo>
                        <a:pt x="672537" y="174130"/>
                      </a:lnTo>
                      <a:lnTo>
                        <a:pt x="672282" y="174300"/>
                      </a:lnTo>
                      <a:lnTo>
                        <a:pt x="670217" y="175587"/>
                      </a:lnTo>
                      <a:lnTo>
                        <a:pt x="670217" y="175575"/>
                      </a:lnTo>
                      <a:lnTo>
                        <a:pt x="668930" y="170208"/>
                      </a:lnTo>
                      <a:lnTo>
                        <a:pt x="663454" y="170985"/>
                      </a:lnTo>
                      <a:lnTo>
                        <a:pt x="657589" y="171823"/>
                      </a:lnTo>
                      <a:lnTo>
                        <a:pt x="655889" y="171883"/>
                      </a:lnTo>
                      <a:lnTo>
                        <a:pt x="652537" y="171434"/>
                      </a:lnTo>
                      <a:lnTo>
                        <a:pt x="652100" y="171386"/>
                      </a:lnTo>
                      <a:lnTo>
                        <a:pt x="651663" y="171386"/>
                      </a:lnTo>
                      <a:lnTo>
                        <a:pt x="649854" y="171410"/>
                      </a:lnTo>
                      <a:lnTo>
                        <a:pt x="649186" y="171313"/>
                      </a:lnTo>
                      <a:lnTo>
                        <a:pt x="649125" y="171288"/>
                      </a:lnTo>
                      <a:lnTo>
                        <a:pt x="646830" y="169552"/>
                      </a:lnTo>
                      <a:lnTo>
                        <a:pt x="646478" y="169297"/>
                      </a:lnTo>
                      <a:lnTo>
                        <a:pt x="646089" y="169078"/>
                      </a:lnTo>
                      <a:lnTo>
                        <a:pt x="643612" y="167730"/>
                      </a:lnTo>
                      <a:lnTo>
                        <a:pt x="643321" y="167561"/>
                      </a:lnTo>
                      <a:lnTo>
                        <a:pt x="643017" y="167439"/>
                      </a:lnTo>
                      <a:lnTo>
                        <a:pt x="639629" y="166043"/>
                      </a:lnTo>
                      <a:lnTo>
                        <a:pt x="639654" y="166006"/>
                      </a:lnTo>
                      <a:lnTo>
                        <a:pt x="644742" y="159243"/>
                      </a:lnTo>
                      <a:lnTo>
                        <a:pt x="645142" y="158721"/>
                      </a:lnTo>
                      <a:lnTo>
                        <a:pt x="645409" y="158113"/>
                      </a:lnTo>
                      <a:lnTo>
                        <a:pt x="647134" y="154361"/>
                      </a:lnTo>
                      <a:lnTo>
                        <a:pt x="647170" y="154325"/>
                      </a:lnTo>
                      <a:lnTo>
                        <a:pt x="648008" y="153803"/>
                      </a:lnTo>
                      <a:lnTo>
                        <a:pt x="654140" y="151265"/>
                      </a:lnTo>
                      <a:lnTo>
                        <a:pt x="654626" y="151070"/>
                      </a:lnTo>
                      <a:lnTo>
                        <a:pt x="655075" y="150791"/>
                      </a:lnTo>
                      <a:lnTo>
                        <a:pt x="656812" y="149698"/>
                      </a:lnTo>
                      <a:lnTo>
                        <a:pt x="657734" y="149115"/>
                      </a:lnTo>
                      <a:lnTo>
                        <a:pt x="658402" y="148253"/>
                      </a:lnTo>
                      <a:lnTo>
                        <a:pt x="659544" y="146760"/>
                      </a:lnTo>
                      <a:lnTo>
                        <a:pt x="660357" y="145703"/>
                      </a:lnTo>
                      <a:lnTo>
                        <a:pt x="660649" y="144404"/>
                      </a:lnTo>
                      <a:lnTo>
                        <a:pt x="661050" y="142631"/>
                      </a:lnTo>
                      <a:lnTo>
                        <a:pt x="661317" y="141417"/>
                      </a:lnTo>
                      <a:lnTo>
                        <a:pt x="661086" y="140202"/>
                      </a:lnTo>
                      <a:lnTo>
                        <a:pt x="660576" y="137421"/>
                      </a:lnTo>
                      <a:lnTo>
                        <a:pt x="660406" y="136475"/>
                      </a:lnTo>
                      <a:lnTo>
                        <a:pt x="659945" y="135625"/>
                      </a:lnTo>
                      <a:lnTo>
                        <a:pt x="659022" y="133924"/>
                      </a:lnTo>
                      <a:lnTo>
                        <a:pt x="658742" y="133402"/>
                      </a:lnTo>
                      <a:lnTo>
                        <a:pt x="658366" y="132953"/>
                      </a:lnTo>
                      <a:lnTo>
                        <a:pt x="657164" y="131496"/>
                      </a:lnTo>
                      <a:lnTo>
                        <a:pt x="656872" y="131144"/>
                      </a:lnTo>
                      <a:lnTo>
                        <a:pt x="656532" y="130840"/>
                      </a:lnTo>
                      <a:lnTo>
                        <a:pt x="655804" y="130197"/>
                      </a:lnTo>
                      <a:lnTo>
                        <a:pt x="656326" y="129456"/>
                      </a:lnTo>
                      <a:lnTo>
                        <a:pt x="656629" y="129189"/>
                      </a:lnTo>
                      <a:lnTo>
                        <a:pt x="656860" y="129067"/>
                      </a:lnTo>
                      <a:lnTo>
                        <a:pt x="658293" y="128557"/>
                      </a:lnTo>
                      <a:lnTo>
                        <a:pt x="658585" y="128448"/>
                      </a:lnTo>
                      <a:lnTo>
                        <a:pt x="658876" y="128314"/>
                      </a:lnTo>
                      <a:lnTo>
                        <a:pt x="660722" y="127428"/>
                      </a:lnTo>
                      <a:lnTo>
                        <a:pt x="661195" y="127197"/>
                      </a:lnTo>
                      <a:lnTo>
                        <a:pt x="661620" y="126906"/>
                      </a:lnTo>
                      <a:lnTo>
                        <a:pt x="663442" y="125619"/>
                      </a:lnTo>
                      <a:lnTo>
                        <a:pt x="663794" y="125364"/>
                      </a:lnTo>
                      <a:lnTo>
                        <a:pt x="664110" y="125060"/>
                      </a:lnTo>
                      <a:lnTo>
                        <a:pt x="675475" y="114265"/>
                      </a:lnTo>
                      <a:lnTo>
                        <a:pt x="675997" y="113767"/>
                      </a:lnTo>
                      <a:lnTo>
                        <a:pt x="676398" y="113160"/>
                      </a:lnTo>
                      <a:lnTo>
                        <a:pt x="677212" y="111897"/>
                      </a:lnTo>
                      <a:lnTo>
                        <a:pt x="677770" y="111023"/>
                      </a:lnTo>
                      <a:lnTo>
                        <a:pt x="678013" y="110027"/>
                      </a:lnTo>
                      <a:lnTo>
                        <a:pt x="678475" y="108109"/>
                      </a:lnTo>
                      <a:lnTo>
                        <a:pt x="678693" y="107222"/>
                      </a:lnTo>
                      <a:lnTo>
                        <a:pt x="678633" y="106311"/>
                      </a:lnTo>
                      <a:lnTo>
                        <a:pt x="678450" y="103348"/>
                      </a:lnTo>
                      <a:lnTo>
                        <a:pt x="677600" y="97204"/>
                      </a:lnTo>
                      <a:lnTo>
                        <a:pt x="677527" y="96682"/>
                      </a:lnTo>
                      <a:lnTo>
                        <a:pt x="677370" y="96196"/>
                      </a:lnTo>
                      <a:lnTo>
                        <a:pt x="675487" y="90319"/>
                      </a:lnTo>
                      <a:lnTo>
                        <a:pt x="675378" y="89955"/>
                      </a:lnTo>
                      <a:lnTo>
                        <a:pt x="675220" y="89615"/>
                      </a:lnTo>
                      <a:lnTo>
                        <a:pt x="673727" y="86397"/>
                      </a:lnTo>
                      <a:lnTo>
                        <a:pt x="673447" y="85790"/>
                      </a:lnTo>
                      <a:lnTo>
                        <a:pt x="673035" y="85256"/>
                      </a:lnTo>
                      <a:lnTo>
                        <a:pt x="671419" y="83155"/>
                      </a:lnTo>
                      <a:lnTo>
                        <a:pt x="671031" y="82645"/>
                      </a:lnTo>
                      <a:lnTo>
                        <a:pt x="670545" y="82232"/>
                      </a:lnTo>
                      <a:lnTo>
                        <a:pt x="668153" y="80192"/>
                      </a:lnTo>
                      <a:lnTo>
                        <a:pt x="668432" y="80095"/>
                      </a:lnTo>
                      <a:lnTo>
                        <a:pt x="668906" y="79840"/>
                      </a:lnTo>
                      <a:lnTo>
                        <a:pt x="669817" y="79354"/>
                      </a:lnTo>
                      <a:lnTo>
                        <a:pt x="670873" y="78783"/>
                      </a:lnTo>
                      <a:lnTo>
                        <a:pt x="671638" y="77860"/>
                      </a:lnTo>
                      <a:lnTo>
                        <a:pt x="672270" y="77096"/>
                      </a:lnTo>
                      <a:lnTo>
                        <a:pt x="673460" y="75651"/>
                      </a:lnTo>
                      <a:lnTo>
                        <a:pt x="673630" y="73793"/>
                      </a:lnTo>
                      <a:lnTo>
                        <a:pt x="673812" y="71813"/>
                      </a:lnTo>
                      <a:lnTo>
                        <a:pt x="673885" y="70951"/>
                      </a:lnTo>
                      <a:lnTo>
                        <a:pt x="673715" y="70113"/>
                      </a:lnTo>
                      <a:lnTo>
                        <a:pt x="671808" y="60350"/>
                      </a:lnTo>
                      <a:lnTo>
                        <a:pt x="671687" y="59719"/>
                      </a:lnTo>
                      <a:lnTo>
                        <a:pt x="671432" y="59136"/>
                      </a:lnTo>
                      <a:lnTo>
                        <a:pt x="667813" y="50624"/>
                      </a:lnTo>
                      <a:lnTo>
                        <a:pt x="667789" y="50345"/>
                      </a:lnTo>
                      <a:lnTo>
                        <a:pt x="668044" y="48633"/>
                      </a:lnTo>
                      <a:lnTo>
                        <a:pt x="668566" y="47187"/>
                      </a:lnTo>
                      <a:lnTo>
                        <a:pt x="669598" y="45160"/>
                      </a:lnTo>
                      <a:lnTo>
                        <a:pt x="670059" y="44249"/>
                      </a:lnTo>
                      <a:lnTo>
                        <a:pt x="670205" y="43253"/>
                      </a:lnTo>
                      <a:lnTo>
                        <a:pt x="670485" y="41237"/>
                      </a:lnTo>
                      <a:lnTo>
                        <a:pt x="670557" y="40667"/>
                      </a:lnTo>
                      <a:lnTo>
                        <a:pt x="670533" y="40096"/>
                      </a:lnTo>
                      <a:lnTo>
                        <a:pt x="670472" y="38724"/>
                      </a:lnTo>
                      <a:lnTo>
                        <a:pt x="670302" y="35251"/>
                      </a:lnTo>
                      <a:lnTo>
                        <a:pt x="667230" y="33636"/>
                      </a:lnTo>
                      <a:lnTo>
                        <a:pt x="661207" y="30467"/>
                      </a:lnTo>
                      <a:lnTo>
                        <a:pt x="660333" y="30005"/>
                      </a:lnTo>
                      <a:lnTo>
                        <a:pt x="659349" y="29847"/>
                      </a:lnTo>
                      <a:lnTo>
                        <a:pt x="651481" y="28572"/>
                      </a:lnTo>
                      <a:lnTo>
                        <a:pt x="650230" y="28354"/>
                      </a:lnTo>
                      <a:lnTo>
                        <a:pt x="648991" y="28669"/>
                      </a:lnTo>
                      <a:lnTo>
                        <a:pt x="647789" y="28973"/>
                      </a:lnTo>
                      <a:lnTo>
                        <a:pt x="647328" y="29094"/>
                      </a:lnTo>
                      <a:lnTo>
                        <a:pt x="646891" y="29289"/>
                      </a:lnTo>
                      <a:lnTo>
                        <a:pt x="645106" y="30054"/>
                      </a:lnTo>
                      <a:lnTo>
                        <a:pt x="643989" y="30540"/>
                      </a:lnTo>
                      <a:lnTo>
                        <a:pt x="643151" y="31414"/>
                      </a:lnTo>
                      <a:lnTo>
                        <a:pt x="641196" y="33442"/>
                      </a:lnTo>
                      <a:lnTo>
                        <a:pt x="640941" y="30964"/>
                      </a:lnTo>
                      <a:lnTo>
                        <a:pt x="638804" y="29362"/>
                      </a:lnTo>
                      <a:lnTo>
                        <a:pt x="637431" y="28330"/>
                      </a:lnTo>
                      <a:lnTo>
                        <a:pt x="636958" y="27977"/>
                      </a:lnTo>
                      <a:lnTo>
                        <a:pt x="636411" y="27722"/>
                      </a:lnTo>
                      <a:lnTo>
                        <a:pt x="633886" y="26508"/>
                      </a:lnTo>
                      <a:lnTo>
                        <a:pt x="633534" y="26338"/>
                      </a:lnTo>
                      <a:lnTo>
                        <a:pt x="633157" y="26204"/>
                      </a:lnTo>
                      <a:lnTo>
                        <a:pt x="626976" y="24189"/>
                      </a:lnTo>
                      <a:lnTo>
                        <a:pt x="625410" y="23472"/>
                      </a:lnTo>
                      <a:lnTo>
                        <a:pt x="625398" y="23326"/>
                      </a:lnTo>
                      <a:lnTo>
                        <a:pt x="625568" y="14863"/>
                      </a:lnTo>
                      <a:lnTo>
                        <a:pt x="625580" y="14183"/>
                      </a:lnTo>
                      <a:lnTo>
                        <a:pt x="625446" y="13515"/>
                      </a:lnTo>
                      <a:lnTo>
                        <a:pt x="625058" y="11621"/>
                      </a:lnTo>
                      <a:lnTo>
                        <a:pt x="624900" y="10844"/>
                      </a:lnTo>
                      <a:lnTo>
                        <a:pt x="624548" y="10127"/>
                      </a:lnTo>
                      <a:lnTo>
                        <a:pt x="623613" y="8269"/>
                      </a:lnTo>
                      <a:lnTo>
                        <a:pt x="623224" y="7504"/>
                      </a:lnTo>
                      <a:lnTo>
                        <a:pt x="622629" y="6861"/>
                      </a:lnTo>
                      <a:lnTo>
                        <a:pt x="620274" y="4311"/>
                      </a:lnTo>
                      <a:lnTo>
                        <a:pt x="619812" y="3813"/>
                      </a:lnTo>
                      <a:lnTo>
                        <a:pt x="619254" y="3436"/>
                      </a:lnTo>
                      <a:lnTo>
                        <a:pt x="617250" y="2064"/>
                      </a:lnTo>
                      <a:lnTo>
                        <a:pt x="616606" y="1615"/>
                      </a:lnTo>
                      <a:lnTo>
                        <a:pt x="615866" y="1360"/>
                      </a:lnTo>
                      <a:lnTo>
                        <a:pt x="613680" y="583"/>
                      </a:lnTo>
                      <a:lnTo>
                        <a:pt x="612854" y="291"/>
                      </a:lnTo>
                      <a:lnTo>
                        <a:pt x="611980" y="243"/>
                      </a:lnTo>
                      <a:lnTo>
                        <a:pt x="609915" y="122"/>
                      </a:lnTo>
                      <a:lnTo>
                        <a:pt x="609357" y="0"/>
                      </a:lnTo>
                      <a:lnTo>
                        <a:pt x="609357" y="0"/>
                      </a:lnTo>
                      <a:close/>
                      <a:moveTo>
                        <a:pt x="548727" y="857935"/>
                      </a:moveTo>
                      <a:lnTo>
                        <a:pt x="549079" y="857376"/>
                      </a:lnTo>
                      <a:lnTo>
                        <a:pt x="549419" y="856854"/>
                      </a:lnTo>
                      <a:lnTo>
                        <a:pt x="549650" y="856259"/>
                      </a:lnTo>
                      <a:lnTo>
                        <a:pt x="549662" y="856211"/>
                      </a:lnTo>
                      <a:lnTo>
                        <a:pt x="549917" y="856466"/>
                      </a:lnTo>
                      <a:lnTo>
                        <a:pt x="550779" y="857316"/>
                      </a:lnTo>
                      <a:lnTo>
                        <a:pt x="551083" y="857619"/>
                      </a:lnTo>
                      <a:lnTo>
                        <a:pt x="551423" y="857874"/>
                      </a:lnTo>
                      <a:lnTo>
                        <a:pt x="552334" y="858554"/>
                      </a:lnTo>
                      <a:lnTo>
                        <a:pt x="552832" y="858919"/>
                      </a:lnTo>
                      <a:lnTo>
                        <a:pt x="553390" y="859174"/>
                      </a:lnTo>
                      <a:lnTo>
                        <a:pt x="556207" y="860485"/>
                      </a:lnTo>
                      <a:lnTo>
                        <a:pt x="556487" y="860619"/>
                      </a:lnTo>
                      <a:lnTo>
                        <a:pt x="556778" y="860728"/>
                      </a:lnTo>
                      <a:lnTo>
                        <a:pt x="559765" y="861760"/>
                      </a:lnTo>
                      <a:lnTo>
                        <a:pt x="560166" y="861894"/>
                      </a:lnTo>
                      <a:lnTo>
                        <a:pt x="560579" y="861979"/>
                      </a:lnTo>
                      <a:lnTo>
                        <a:pt x="565910" y="863035"/>
                      </a:lnTo>
                      <a:lnTo>
                        <a:pt x="566711" y="863290"/>
                      </a:lnTo>
                      <a:lnTo>
                        <a:pt x="566869" y="863375"/>
                      </a:lnTo>
                      <a:lnTo>
                        <a:pt x="566954" y="863460"/>
                      </a:lnTo>
                      <a:lnTo>
                        <a:pt x="568460" y="865500"/>
                      </a:lnTo>
                      <a:lnTo>
                        <a:pt x="568739" y="865889"/>
                      </a:lnTo>
                      <a:lnTo>
                        <a:pt x="569079" y="866216"/>
                      </a:lnTo>
                      <a:lnTo>
                        <a:pt x="570232" y="867370"/>
                      </a:lnTo>
                      <a:lnTo>
                        <a:pt x="570900" y="868038"/>
                      </a:lnTo>
                      <a:lnTo>
                        <a:pt x="571738" y="868463"/>
                      </a:lnTo>
                      <a:lnTo>
                        <a:pt x="573353" y="869289"/>
                      </a:lnTo>
                      <a:lnTo>
                        <a:pt x="574482" y="869871"/>
                      </a:lnTo>
                      <a:lnTo>
                        <a:pt x="575745" y="869957"/>
                      </a:lnTo>
                      <a:lnTo>
                        <a:pt x="577579" y="870078"/>
                      </a:lnTo>
                      <a:lnTo>
                        <a:pt x="578113" y="870114"/>
                      </a:lnTo>
                      <a:lnTo>
                        <a:pt x="578635" y="870054"/>
                      </a:lnTo>
                      <a:lnTo>
                        <a:pt x="581647" y="869726"/>
                      </a:lnTo>
                      <a:lnTo>
                        <a:pt x="586455" y="869871"/>
                      </a:lnTo>
                      <a:lnTo>
                        <a:pt x="586856" y="869884"/>
                      </a:lnTo>
                      <a:lnTo>
                        <a:pt x="587257" y="869835"/>
                      </a:lnTo>
                      <a:lnTo>
                        <a:pt x="589540" y="869592"/>
                      </a:lnTo>
                      <a:lnTo>
                        <a:pt x="589965" y="869556"/>
                      </a:lnTo>
                      <a:lnTo>
                        <a:pt x="590378" y="869447"/>
                      </a:lnTo>
                      <a:lnTo>
                        <a:pt x="601379" y="866714"/>
                      </a:lnTo>
                      <a:lnTo>
                        <a:pt x="602132" y="867079"/>
                      </a:lnTo>
                      <a:lnTo>
                        <a:pt x="602533" y="867285"/>
                      </a:lnTo>
                      <a:lnTo>
                        <a:pt x="602970" y="867431"/>
                      </a:lnTo>
                      <a:lnTo>
                        <a:pt x="604403" y="867892"/>
                      </a:lnTo>
                      <a:lnTo>
                        <a:pt x="605010" y="868099"/>
                      </a:lnTo>
                      <a:lnTo>
                        <a:pt x="605641" y="868159"/>
                      </a:lnTo>
                      <a:lnTo>
                        <a:pt x="605896" y="868184"/>
                      </a:lnTo>
                      <a:lnTo>
                        <a:pt x="607961" y="872555"/>
                      </a:lnTo>
                      <a:lnTo>
                        <a:pt x="608118" y="872871"/>
                      </a:lnTo>
                      <a:lnTo>
                        <a:pt x="608313" y="873162"/>
                      </a:lnTo>
                      <a:lnTo>
                        <a:pt x="610863" y="877267"/>
                      </a:lnTo>
                      <a:lnTo>
                        <a:pt x="611057" y="877716"/>
                      </a:lnTo>
                      <a:lnTo>
                        <a:pt x="610875" y="878687"/>
                      </a:lnTo>
                      <a:lnTo>
                        <a:pt x="610802" y="879112"/>
                      </a:lnTo>
                      <a:lnTo>
                        <a:pt x="610790" y="879561"/>
                      </a:lnTo>
                      <a:lnTo>
                        <a:pt x="610729" y="881055"/>
                      </a:lnTo>
                      <a:lnTo>
                        <a:pt x="610656" y="882780"/>
                      </a:lnTo>
                      <a:lnTo>
                        <a:pt x="611506" y="884273"/>
                      </a:lnTo>
                      <a:lnTo>
                        <a:pt x="612138" y="885390"/>
                      </a:lnTo>
                      <a:lnTo>
                        <a:pt x="613243" y="887357"/>
                      </a:lnTo>
                      <a:lnTo>
                        <a:pt x="613522" y="887455"/>
                      </a:lnTo>
                      <a:lnTo>
                        <a:pt x="612757" y="887527"/>
                      </a:lnTo>
                      <a:lnTo>
                        <a:pt x="612332" y="887552"/>
                      </a:lnTo>
                      <a:lnTo>
                        <a:pt x="611919" y="887649"/>
                      </a:lnTo>
                      <a:lnTo>
                        <a:pt x="611227" y="887807"/>
                      </a:lnTo>
                      <a:lnTo>
                        <a:pt x="611118" y="887807"/>
                      </a:lnTo>
                      <a:lnTo>
                        <a:pt x="610766" y="887661"/>
                      </a:lnTo>
                      <a:lnTo>
                        <a:pt x="608883" y="886361"/>
                      </a:lnTo>
                      <a:lnTo>
                        <a:pt x="608616" y="886167"/>
                      </a:lnTo>
                      <a:lnTo>
                        <a:pt x="608325" y="886009"/>
                      </a:lnTo>
                      <a:lnTo>
                        <a:pt x="606431" y="885001"/>
                      </a:lnTo>
                      <a:lnTo>
                        <a:pt x="605666" y="884589"/>
                      </a:lnTo>
                      <a:lnTo>
                        <a:pt x="604815" y="884394"/>
                      </a:lnTo>
                      <a:lnTo>
                        <a:pt x="603213" y="884054"/>
                      </a:lnTo>
                      <a:lnTo>
                        <a:pt x="602168" y="883836"/>
                      </a:lnTo>
                      <a:lnTo>
                        <a:pt x="601112" y="883982"/>
                      </a:lnTo>
                      <a:lnTo>
                        <a:pt x="599558" y="884200"/>
                      </a:lnTo>
                      <a:lnTo>
                        <a:pt x="598477" y="882840"/>
                      </a:lnTo>
                      <a:lnTo>
                        <a:pt x="597809" y="882002"/>
                      </a:lnTo>
                      <a:lnTo>
                        <a:pt x="596886" y="881432"/>
                      </a:lnTo>
                      <a:lnTo>
                        <a:pt x="595162" y="880375"/>
                      </a:lnTo>
                      <a:lnTo>
                        <a:pt x="593656" y="879464"/>
                      </a:lnTo>
                      <a:lnTo>
                        <a:pt x="591883" y="879489"/>
                      </a:lnTo>
                      <a:lnTo>
                        <a:pt x="590450" y="879513"/>
                      </a:lnTo>
                      <a:lnTo>
                        <a:pt x="589187" y="879537"/>
                      </a:lnTo>
                      <a:lnTo>
                        <a:pt x="588580" y="879805"/>
                      </a:lnTo>
                      <a:lnTo>
                        <a:pt x="588289" y="879331"/>
                      </a:lnTo>
                      <a:lnTo>
                        <a:pt x="587330" y="877740"/>
                      </a:lnTo>
                      <a:lnTo>
                        <a:pt x="585654" y="876975"/>
                      </a:lnTo>
                      <a:lnTo>
                        <a:pt x="584561" y="876465"/>
                      </a:lnTo>
                      <a:lnTo>
                        <a:pt x="582181" y="875348"/>
                      </a:lnTo>
                      <a:lnTo>
                        <a:pt x="579753" y="876332"/>
                      </a:lnTo>
                      <a:lnTo>
                        <a:pt x="578830" y="876696"/>
                      </a:lnTo>
                      <a:lnTo>
                        <a:pt x="578125" y="876963"/>
                      </a:lnTo>
                      <a:lnTo>
                        <a:pt x="577518" y="877400"/>
                      </a:lnTo>
                      <a:lnTo>
                        <a:pt x="576765" y="877947"/>
                      </a:lnTo>
                      <a:lnTo>
                        <a:pt x="575770" y="878675"/>
                      </a:lnTo>
                      <a:lnTo>
                        <a:pt x="575126" y="879732"/>
                      </a:lnTo>
                      <a:lnTo>
                        <a:pt x="574507" y="880764"/>
                      </a:lnTo>
                      <a:lnTo>
                        <a:pt x="574264" y="881176"/>
                      </a:lnTo>
                      <a:lnTo>
                        <a:pt x="574082" y="881614"/>
                      </a:lnTo>
                      <a:lnTo>
                        <a:pt x="573669" y="882622"/>
                      </a:lnTo>
                      <a:lnTo>
                        <a:pt x="573511" y="883010"/>
                      </a:lnTo>
                      <a:lnTo>
                        <a:pt x="573402" y="883411"/>
                      </a:lnTo>
                      <a:lnTo>
                        <a:pt x="573183" y="884273"/>
                      </a:lnTo>
                      <a:lnTo>
                        <a:pt x="572989" y="885293"/>
                      </a:lnTo>
                      <a:lnTo>
                        <a:pt x="572467" y="885475"/>
                      </a:lnTo>
                      <a:lnTo>
                        <a:pt x="570925" y="885997"/>
                      </a:lnTo>
                      <a:lnTo>
                        <a:pt x="569844" y="887236"/>
                      </a:lnTo>
                      <a:lnTo>
                        <a:pt x="569261" y="887904"/>
                      </a:lnTo>
                      <a:lnTo>
                        <a:pt x="568071" y="889264"/>
                      </a:lnTo>
                      <a:lnTo>
                        <a:pt x="567816" y="891061"/>
                      </a:lnTo>
                      <a:lnTo>
                        <a:pt x="567695" y="891911"/>
                      </a:lnTo>
                      <a:lnTo>
                        <a:pt x="567367" y="894218"/>
                      </a:lnTo>
                      <a:lnTo>
                        <a:pt x="568678" y="896149"/>
                      </a:lnTo>
                      <a:lnTo>
                        <a:pt x="569261" y="896999"/>
                      </a:lnTo>
                      <a:lnTo>
                        <a:pt x="569832" y="897837"/>
                      </a:lnTo>
                      <a:lnTo>
                        <a:pt x="570658" y="898456"/>
                      </a:lnTo>
                      <a:lnTo>
                        <a:pt x="571981" y="899440"/>
                      </a:lnTo>
                      <a:lnTo>
                        <a:pt x="572564" y="899877"/>
                      </a:lnTo>
                      <a:lnTo>
                        <a:pt x="572795" y="899974"/>
                      </a:lnTo>
                      <a:lnTo>
                        <a:pt x="572758" y="901322"/>
                      </a:lnTo>
                      <a:lnTo>
                        <a:pt x="572746" y="901868"/>
                      </a:lnTo>
                      <a:lnTo>
                        <a:pt x="572831" y="902402"/>
                      </a:lnTo>
                      <a:lnTo>
                        <a:pt x="573062" y="903920"/>
                      </a:lnTo>
                      <a:lnTo>
                        <a:pt x="573086" y="904115"/>
                      </a:lnTo>
                      <a:lnTo>
                        <a:pt x="572722" y="904042"/>
                      </a:lnTo>
                      <a:lnTo>
                        <a:pt x="569941" y="903253"/>
                      </a:lnTo>
                      <a:lnTo>
                        <a:pt x="569650" y="903167"/>
                      </a:lnTo>
                      <a:lnTo>
                        <a:pt x="569346" y="903107"/>
                      </a:lnTo>
                      <a:lnTo>
                        <a:pt x="568035" y="902876"/>
                      </a:lnTo>
                      <a:lnTo>
                        <a:pt x="566638" y="902633"/>
                      </a:lnTo>
                      <a:lnTo>
                        <a:pt x="565278" y="903034"/>
                      </a:lnTo>
                      <a:lnTo>
                        <a:pt x="564246" y="903337"/>
                      </a:lnTo>
                      <a:lnTo>
                        <a:pt x="562097" y="903993"/>
                      </a:lnTo>
                      <a:lnTo>
                        <a:pt x="561514" y="904892"/>
                      </a:lnTo>
                      <a:lnTo>
                        <a:pt x="560372" y="903750"/>
                      </a:lnTo>
                      <a:lnTo>
                        <a:pt x="560045" y="903447"/>
                      </a:lnTo>
                      <a:lnTo>
                        <a:pt x="559680" y="903180"/>
                      </a:lnTo>
                      <a:lnTo>
                        <a:pt x="558757" y="902524"/>
                      </a:lnTo>
                      <a:lnTo>
                        <a:pt x="558490" y="902329"/>
                      </a:lnTo>
                      <a:lnTo>
                        <a:pt x="558199" y="902172"/>
                      </a:lnTo>
                      <a:lnTo>
                        <a:pt x="557628" y="901856"/>
                      </a:lnTo>
                      <a:lnTo>
                        <a:pt x="557142" y="901589"/>
                      </a:lnTo>
                      <a:lnTo>
                        <a:pt x="556608" y="901407"/>
                      </a:lnTo>
                      <a:lnTo>
                        <a:pt x="555867" y="901152"/>
                      </a:lnTo>
                      <a:lnTo>
                        <a:pt x="553099" y="900217"/>
                      </a:lnTo>
                      <a:lnTo>
                        <a:pt x="552650" y="900508"/>
                      </a:lnTo>
                      <a:lnTo>
                        <a:pt x="552650" y="899937"/>
                      </a:lnTo>
                      <a:lnTo>
                        <a:pt x="552771" y="899464"/>
                      </a:lnTo>
                      <a:lnTo>
                        <a:pt x="553050" y="899100"/>
                      </a:lnTo>
                      <a:lnTo>
                        <a:pt x="555382" y="896610"/>
                      </a:lnTo>
                      <a:lnTo>
                        <a:pt x="555612" y="896355"/>
                      </a:lnTo>
                      <a:lnTo>
                        <a:pt x="555819" y="896088"/>
                      </a:lnTo>
                      <a:lnTo>
                        <a:pt x="556754" y="894825"/>
                      </a:lnTo>
                      <a:lnTo>
                        <a:pt x="557130" y="894315"/>
                      </a:lnTo>
                      <a:lnTo>
                        <a:pt x="557397" y="893720"/>
                      </a:lnTo>
                      <a:lnTo>
                        <a:pt x="557968" y="892457"/>
                      </a:lnTo>
                      <a:lnTo>
                        <a:pt x="558150" y="892057"/>
                      </a:lnTo>
                      <a:lnTo>
                        <a:pt x="558272" y="891632"/>
                      </a:lnTo>
                      <a:lnTo>
                        <a:pt x="558515" y="890769"/>
                      </a:lnTo>
                      <a:lnTo>
                        <a:pt x="558770" y="890272"/>
                      </a:lnTo>
                      <a:lnTo>
                        <a:pt x="558806" y="890223"/>
                      </a:lnTo>
                      <a:lnTo>
                        <a:pt x="559061" y="889992"/>
                      </a:lnTo>
                      <a:lnTo>
                        <a:pt x="559437" y="889677"/>
                      </a:lnTo>
                      <a:lnTo>
                        <a:pt x="560542" y="888608"/>
                      </a:lnTo>
                      <a:lnTo>
                        <a:pt x="561113" y="888037"/>
                      </a:lnTo>
                      <a:lnTo>
                        <a:pt x="561514" y="887333"/>
                      </a:lnTo>
                      <a:lnTo>
                        <a:pt x="562255" y="886070"/>
                      </a:lnTo>
                      <a:lnTo>
                        <a:pt x="563141" y="884565"/>
                      </a:lnTo>
                      <a:lnTo>
                        <a:pt x="563092" y="882816"/>
                      </a:lnTo>
                      <a:lnTo>
                        <a:pt x="563044" y="881055"/>
                      </a:lnTo>
                      <a:lnTo>
                        <a:pt x="563007" y="879768"/>
                      </a:lnTo>
                      <a:lnTo>
                        <a:pt x="562449" y="878602"/>
                      </a:lnTo>
                      <a:lnTo>
                        <a:pt x="561526" y="876708"/>
                      </a:lnTo>
                      <a:lnTo>
                        <a:pt x="561319" y="876295"/>
                      </a:lnTo>
                      <a:lnTo>
                        <a:pt x="561052" y="875919"/>
                      </a:lnTo>
                      <a:lnTo>
                        <a:pt x="560190" y="874656"/>
                      </a:lnTo>
                      <a:lnTo>
                        <a:pt x="559923" y="874255"/>
                      </a:lnTo>
                      <a:lnTo>
                        <a:pt x="559595" y="873915"/>
                      </a:lnTo>
                      <a:lnTo>
                        <a:pt x="556341" y="870503"/>
                      </a:lnTo>
                      <a:lnTo>
                        <a:pt x="555564" y="869398"/>
                      </a:lnTo>
                      <a:lnTo>
                        <a:pt x="553232" y="865257"/>
                      </a:lnTo>
                      <a:lnTo>
                        <a:pt x="553062" y="864966"/>
                      </a:lnTo>
                      <a:lnTo>
                        <a:pt x="552856" y="864699"/>
                      </a:lnTo>
                      <a:lnTo>
                        <a:pt x="550962" y="862100"/>
                      </a:lnTo>
                      <a:lnTo>
                        <a:pt x="550610" y="861626"/>
                      </a:lnTo>
                      <a:lnTo>
                        <a:pt x="550172" y="861226"/>
                      </a:lnTo>
                      <a:lnTo>
                        <a:pt x="549322" y="860449"/>
                      </a:lnTo>
                      <a:lnTo>
                        <a:pt x="548958" y="860109"/>
                      </a:lnTo>
                      <a:lnTo>
                        <a:pt x="548545" y="859841"/>
                      </a:lnTo>
                      <a:lnTo>
                        <a:pt x="548521" y="859829"/>
                      </a:lnTo>
                      <a:lnTo>
                        <a:pt x="548630" y="858251"/>
                      </a:lnTo>
                      <a:lnTo>
                        <a:pt x="548727" y="857935"/>
                      </a:lnTo>
                      <a:lnTo>
                        <a:pt x="548727" y="857935"/>
                      </a:lnTo>
                      <a:close/>
                    </a:path>
                  </a:pathLst>
                </a:custGeom>
                <a:solidFill>
                  <a:srgbClr val="FFFFFF"/>
                </a:solidFill>
                <a:ln w="12138" cap="flat">
                  <a:noFill/>
                  <a:prstDash val="solid"/>
                  <a:miter/>
                </a:ln>
              </p:spPr>
              <p:txBody>
                <a:bodyPr rtlCol="0" anchor="ctr"/>
                <a:lstStyle/>
                <a:p>
                  <a:endParaRPr lang="en-US"/>
                </a:p>
              </p:txBody>
            </p:sp>
          </p:grpSp>
          <p:grpSp>
            <p:nvGrpSpPr>
              <p:cNvPr id="255" name="Graphic 280">
                <a:extLst>
                  <a:ext uri="{FF2B5EF4-FFF2-40B4-BE49-F238E27FC236}">
                    <a16:creationId xmlns:a16="http://schemas.microsoft.com/office/drawing/2014/main" id="{4DA6AAF9-9901-47A3-A248-47C240A8E048}"/>
                  </a:ext>
                </a:extLst>
              </p:cNvPr>
              <p:cNvGrpSpPr/>
              <p:nvPr/>
            </p:nvGrpSpPr>
            <p:grpSpPr>
              <a:xfrm>
                <a:off x="5837319" y="3632020"/>
                <a:ext cx="1156578" cy="943688"/>
                <a:chOff x="5837319" y="3632020"/>
                <a:chExt cx="1156578" cy="943688"/>
              </a:xfrm>
            </p:grpSpPr>
            <p:sp>
              <p:nvSpPr>
                <p:cNvPr id="328" name="Freeform: Shape 327">
                  <a:extLst>
                    <a:ext uri="{FF2B5EF4-FFF2-40B4-BE49-F238E27FC236}">
                      <a16:creationId xmlns:a16="http://schemas.microsoft.com/office/drawing/2014/main" id="{58B4D0F3-0486-44AB-8D53-2D3EDA88E35D}"/>
                    </a:ext>
                  </a:extLst>
                </p:cNvPr>
                <p:cNvSpPr/>
                <p:nvPr/>
              </p:nvSpPr>
              <p:spPr>
                <a:xfrm>
                  <a:off x="5840269" y="3635189"/>
                  <a:ext cx="1149074" cy="937592"/>
                </a:xfrm>
                <a:custGeom>
                  <a:avLst/>
                  <a:gdLst>
                    <a:gd name="connsiteX0" fmla="*/ 15288 w 1149074"/>
                    <a:gd name="connsiteY0" fmla="*/ 936755 h 937592"/>
                    <a:gd name="connsiteX1" fmla="*/ 12944 w 1149074"/>
                    <a:gd name="connsiteY1" fmla="*/ 935808 h 937592"/>
                    <a:gd name="connsiteX2" fmla="*/ 1226 w 1149074"/>
                    <a:gd name="connsiteY2" fmla="*/ 933233 h 937592"/>
                    <a:gd name="connsiteX3" fmla="*/ 109 w 1149074"/>
                    <a:gd name="connsiteY3" fmla="*/ 929141 h 937592"/>
                    <a:gd name="connsiteX4" fmla="*/ 0 w 1149074"/>
                    <a:gd name="connsiteY4" fmla="*/ 924818 h 937592"/>
                    <a:gd name="connsiteX5" fmla="*/ 486 w 1149074"/>
                    <a:gd name="connsiteY5" fmla="*/ 921090 h 937592"/>
                    <a:gd name="connsiteX6" fmla="*/ 656 w 1149074"/>
                    <a:gd name="connsiteY6" fmla="*/ 917666 h 937592"/>
                    <a:gd name="connsiteX7" fmla="*/ 862 w 1149074"/>
                    <a:gd name="connsiteY7" fmla="*/ 916403 h 937592"/>
                    <a:gd name="connsiteX8" fmla="*/ 1154 w 1149074"/>
                    <a:gd name="connsiteY8" fmla="*/ 915638 h 937592"/>
                    <a:gd name="connsiteX9" fmla="*/ 2356 w 1149074"/>
                    <a:gd name="connsiteY9" fmla="*/ 913513 h 937592"/>
                    <a:gd name="connsiteX10" fmla="*/ 3886 w 1149074"/>
                    <a:gd name="connsiteY10" fmla="*/ 912287 h 937592"/>
                    <a:gd name="connsiteX11" fmla="*/ 5149 w 1149074"/>
                    <a:gd name="connsiteY11" fmla="*/ 911947 h 937592"/>
                    <a:gd name="connsiteX12" fmla="*/ 6861 w 1149074"/>
                    <a:gd name="connsiteY12" fmla="*/ 911777 h 937592"/>
                    <a:gd name="connsiteX13" fmla="*/ 7334 w 1149074"/>
                    <a:gd name="connsiteY13" fmla="*/ 911862 h 937592"/>
                    <a:gd name="connsiteX14" fmla="*/ 8670 w 1149074"/>
                    <a:gd name="connsiteY14" fmla="*/ 912262 h 937592"/>
                    <a:gd name="connsiteX15" fmla="*/ 9981 w 1149074"/>
                    <a:gd name="connsiteY15" fmla="*/ 913015 h 937592"/>
                    <a:gd name="connsiteX16" fmla="*/ 10868 w 1149074"/>
                    <a:gd name="connsiteY16" fmla="*/ 913732 h 937592"/>
                    <a:gd name="connsiteX17" fmla="*/ 11001 w 1149074"/>
                    <a:gd name="connsiteY17" fmla="*/ 913368 h 937592"/>
                    <a:gd name="connsiteX18" fmla="*/ 10965 w 1149074"/>
                    <a:gd name="connsiteY18" fmla="*/ 911461 h 937592"/>
                    <a:gd name="connsiteX19" fmla="*/ 11220 w 1149074"/>
                    <a:gd name="connsiteY19" fmla="*/ 909263 h 937592"/>
                    <a:gd name="connsiteX20" fmla="*/ 11815 w 1149074"/>
                    <a:gd name="connsiteY20" fmla="*/ 906980 h 937592"/>
                    <a:gd name="connsiteX21" fmla="*/ 13163 w 1149074"/>
                    <a:gd name="connsiteY21" fmla="*/ 904029 h 937592"/>
                    <a:gd name="connsiteX22" fmla="*/ 14110 w 1149074"/>
                    <a:gd name="connsiteY22" fmla="*/ 902463 h 937592"/>
                    <a:gd name="connsiteX23" fmla="*/ 15701 w 1149074"/>
                    <a:gd name="connsiteY23" fmla="*/ 900411 h 937592"/>
                    <a:gd name="connsiteX24" fmla="*/ 15968 w 1149074"/>
                    <a:gd name="connsiteY24" fmla="*/ 899670 h 937592"/>
                    <a:gd name="connsiteX25" fmla="*/ 16429 w 1149074"/>
                    <a:gd name="connsiteY25" fmla="*/ 897909 h 937592"/>
                    <a:gd name="connsiteX26" fmla="*/ 17231 w 1149074"/>
                    <a:gd name="connsiteY26" fmla="*/ 893793 h 937592"/>
                    <a:gd name="connsiteX27" fmla="*/ 17170 w 1149074"/>
                    <a:gd name="connsiteY27" fmla="*/ 887795 h 937592"/>
                    <a:gd name="connsiteX28" fmla="*/ 16927 w 1149074"/>
                    <a:gd name="connsiteY28" fmla="*/ 886714 h 937592"/>
                    <a:gd name="connsiteX29" fmla="*/ 16939 w 1149074"/>
                    <a:gd name="connsiteY29" fmla="*/ 884674 h 937592"/>
                    <a:gd name="connsiteX30" fmla="*/ 17352 w 1149074"/>
                    <a:gd name="connsiteY30" fmla="*/ 882621 h 937592"/>
                    <a:gd name="connsiteX31" fmla="*/ 18615 w 1149074"/>
                    <a:gd name="connsiteY31" fmla="*/ 879974 h 937592"/>
                    <a:gd name="connsiteX32" fmla="*/ 20424 w 1149074"/>
                    <a:gd name="connsiteY32" fmla="*/ 877327 h 937592"/>
                    <a:gd name="connsiteX33" fmla="*/ 21335 w 1149074"/>
                    <a:gd name="connsiteY33" fmla="*/ 876453 h 937592"/>
                    <a:gd name="connsiteX34" fmla="*/ 21966 w 1149074"/>
                    <a:gd name="connsiteY34" fmla="*/ 875287 h 937592"/>
                    <a:gd name="connsiteX35" fmla="*/ 23679 w 1149074"/>
                    <a:gd name="connsiteY35" fmla="*/ 869507 h 937592"/>
                    <a:gd name="connsiteX36" fmla="*/ 23970 w 1149074"/>
                    <a:gd name="connsiteY36" fmla="*/ 866642 h 937592"/>
                    <a:gd name="connsiteX37" fmla="*/ 24942 w 1149074"/>
                    <a:gd name="connsiteY37" fmla="*/ 863266 h 937592"/>
                    <a:gd name="connsiteX38" fmla="*/ 25197 w 1149074"/>
                    <a:gd name="connsiteY38" fmla="*/ 861651 h 937592"/>
                    <a:gd name="connsiteX39" fmla="*/ 24942 w 1149074"/>
                    <a:gd name="connsiteY39" fmla="*/ 860910 h 937592"/>
                    <a:gd name="connsiteX40" fmla="*/ 23630 w 1149074"/>
                    <a:gd name="connsiteY40" fmla="*/ 858870 h 937592"/>
                    <a:gd name="connsiteX41" fmla="*/ 23193 w 1149074"/>
                    <a:gd name="connsiteY41" fmla="*/ 857692 h 937592"/>
                    <a:gd name="connsiteX42" fmla="*/ 22926 w 1149074"/>
                    <a:gd name="connsiteY42" fmla="*/ 855179 h 937592"/>
                    <a:gd name="connsiteX43" fmla="*/ 23096 w 1149074"/>
                    <a:gd name="connsiteY43" fmla="*/ 853928 h 937592"/>
                    <a:gd name="connsiteX44" fmla="*/ 23691 w 1149074"/>
                    <a:gd name="connsiteY44" fmla="*/ 851973 h 937592"/>
                    <a:gd name="connsiteX45" fmla="*/ 24905 w 1149074"/>
                    <a:gd name="connsiteY45" fmla="*/ 849556 h 937592"/>
                    <a:gd name="connsiteX46" fmla="*/ 26411 w 1149074"/>
                    <a:gd name="connsiteY46" fmla="*/ 847152 h 937592"/>
                    <a:gd name="connsiteX47" fmla="*/ 28694 w 1149074"/>
                    <a:gd name="connsiteY47" fmla="*/ 841263 h 937592"/>
                    <a:gd name="connsiteX48" fmla="*/ 30369 w 1149074"/>
                    <a:gd name="connsiteY48" fmla="*/ 839138 h 937592"/>
                    <a:gd name="connsiteX49" fmla="*/ 31001 w 1149074"/>
                    <a:gd name="connsiteY49" fmla="*/ 838434 h 937592"/>
                    <a:gd name="connsiteX50" fmla="*/ 32895 w 1149074"/>
                    <a:gd name="connsiteY50" fmla="*/ 837996 h 937592"/>
                    <a:gd name="connsiteX51" fmla="*/ 34777 w 1149074"/>
                    <a:gd name="connsiteY51" fmla="*/ 838166 h 937592"/>
                    <a:gd name="connsiteX52" fmla="*/ 36368 w 1149074"/>
                    <a:gd name="connsiteY52" fmla="*/ 838603 h 937592"/>
                    <a:gd name="connsiteX53" fmla="*/ 37339 w 1149074"/>
                    <a:gd name="connsiteY53" fmla="*/ 838434 h 937592"/>
                    <a:gd name="connsiteX54" fmla="*/ 40217 w 1149074"/>
                    <a:gd name="connsiteY54" fmla="*/ 837559 h 937592"/>
                    <a:gd name="connsiteX55" fmla="*/ 49300 w 1149074"/>
                    <a:gd name="connsiteY55" fmla="*/ 833771 h 937592"/>
                    <a:gd name="connsiteX56" fmla="*/ 50478 w 1149074"/>
                    <a:gd name="connsiteY56" fmla="*/ 832969 h 937592"/>
                    <a:gd name="connsiteX57" fmla="*/ 51110 w 1149074"/>
                    <a:gd name="connsiteY57" fmla="*/ 832277 h 937592"/>
                    <a:gd name="connsiteX58" fmla="*/ 52858 w 1149074"/>
                    <a:gd name="connsiteY58" fmla="*/ 828828 h 937592"/>
                    <a:gd name="connsiteX59" fmla="*/ 54218 w 1149074"/>
                    <a:gd name="connsiteY59" fmla="*/ 827238 h 937592"/>
                    <a:gd name="connsiteX60" fmla="*/ 56258 w 1149074"/>
                    <a:gd name="connsiteY60" fmla="*/ 825926 h 937592"/>
                    <a:gd name="connsiteX61" fmla="*/ 58347 w 1149074"/>
                    <a:gd name="connsiteY61" fmla="*/ 825100 h 937592"/>
                    <a:gd name="connsiteX62" fmla="*/ 63738 w 1149074"/>
                    <a:gd name="connsiteY62" fmla="*/ 824165 h 937592"/>
                    <a:gd name="connsiteX63" fmla="*/ 64698 w 1149074"/>
                    <a:gd name="connsiteY63" fmla="*/ 823740 h 937592"/>
                    <a:gd name="connsiteX64" fmla="*/ 65402 w 1149074"/>
                    <a:gd name="connsiteY64" fmla="*/ 823073 h 937592"/>
                    <a:gd name="connsiteX65" fmla="*/ 66288 w 1149074"/>
                    <a:gd name="connsiteY65" fmla="*/ 821895 h 937592"/>
                    <a:gd name="connsiteX66" fmla="*/ 71923 w 1149074"/>
                    <a:gd name="connsiteY66" fmla="*/ 811670 h 937592"/>
                    <a:gd name="connsiteX67" fmla="*/ 75966 w 1149074"/>
                    <a:gd name="connsiteY67" fmla="*/ 806388 h 937592"/>
                    <a:gd name="connsiteX68" fmla="*/ 78601 w 1149074"/>
                    <a:gd name="connsiteY68" fmla="*/ 803899 h 937592"/>
                    <a:gd name="connsiteX69" fmla="*/ 86130 w 1149074"/>
                    <a:gd name="connsiteY69" fmla="*/ 798204 h 937592"/>
                    <a:gd name="connsiteX70" fmla="*/ 90428 w 1149074"/>
                    <a:gd name="connsiteY70" fmla="*/ 792800 h 937592"/>
                    <a:gd name="connsiteX71" fmla="*/ 94472 w 1149074"/>
                    <a:gd name="connsiteY71" fmla="*/ 788915 h 937592"/>
                    <a:gd name="connsiteX72" fmla="*/ 99171 w 1149074"/>
                    <a:gd name="connsiteY72" fmla="*/ 785211 h 937592"/>
                    <a:gd name="connsiteX73" fmla="*/ 101551 w 1149074"/>
                    <a:gd name="connsiteY73" fmla="*/ 783814 h 937592"/>
                    <a:gd name="connsiteX74" fmla="*/ 103506 w 1149074"/>
                    <a:gd name="connsiteY74" fmla="*/ 782977 h 937592"/>
                    <a:gd name="connsiteX75" fmla="*/ 104114 w 1149074"/>
                    <a:gd name="connsiteY75" fmla="*/ 782661 h 937592"/>
                    <a:gd name="connsiteX76" fmla="*/ 104429 w 1149074"/>
                    <a:gd name="connsiteY76" fmla="*/ 782175 h 937592"/>
                    <a:gd name="connsiteX77" fmla="*/ 104502 w 1149074"/>
                    <a:gd name="connsiteY77" fmla="*/ 781362 h 937592"/>
                    <a:gd name="connsiteX78" fmla="*/ 103871 w 1149074"/>
                    <a:gd name="connsiteY78" fmla="*/ 779880 h 937592"/>
                    <a:gd name="connsiteX79" fmla="*/ 102875 w 1149074"/>
                    <a:gd name="connsiteY79" fmla="*/ 778982 h 937592"/>
                    <a:gd name="connsiteX80" fmla="*/ 100058 w 1149074"/>
                    <a:gd name="connsiteY80" fmla="*/ 777524 h 937592"/>
                    <a:gd name="connsiteX81" fmla="*/ 98321 w 1149074"/>
                    <a:gd name="connsiteY81" fmla="*/ 776262 h 937592"/>
                    <a:gd name="connsiteX82" fmla="*/ 96415 w 1149074"/>
                    <a:gd name="connsiteY82" fmla="*/ 774027 h 937592"/>
                    <a:gd name="connsiteX83" fmla="*/ 96148 w 1149074"/>
                    <a:gd name="connsiteY83" fmla="*/ 772825 h 937592"/>
                    <a:gd name="connsiteX84" fmla="*/ 95978 w 1149074"/>
                    <a:gd name="connsiteY84" fmla="*/ 771283 h 937592"/>
                    <a:gd name="connsiteX85" fmla="*/ 96257 w 1149074"/>
                    <a:gd name="connsiteY85" fmla="*/ 769000 h 937592"/>
                    <a:gd name="connsiteX86" fmla="*/ 98540 w 1149074"/>
                    <a:gd name="connsiteY86" fmla="*/ 766329 h 937592"/>
                    <a:gd name="connsiteX87" fmla="*/ 100556 w 1149074"/>
                    <a:gd name="connsiteY87" fmla="*/ 765527 h 937592"/>
                    <a:gd name="connsiteX88" fmla="*/ 103081 w 1149074"/>
                    <a:gd name="connsiteY88" fmla="*/ 765163 h 937592"/>
                    <a:gd name="connsiteX89" fmla="*/ 104101 w 1149074"/>
                    <a:gd name="connsiteY89" fmla="*/ 764908 h 937592"/>
                    <a:gd name="connsiteX90" fmla="*/ 104684 w 1149074"/>
                    <a:gd name="connsiteY90" fmla="*/ 764398 h 937592"/>
                    <a:gd name="connsiteX91" fmla="*/ 107501 w 1149074"/>
                    <a:gd name="connsiteY91" fmla="*/ 760209 h 937592"/>
                    <a:gd name="connsiteX92" fmla="*/ 109274 w 1149074"/>
                    <a:gd name="connsiteY92" fmla="*/ 758217 h 937592"/>
                    <a:gd name="connsiteX93" fmla="*/ 111484 w 1149074"/>
                    <a:gd name="connsiteY93" fmla="*/ 756372 h 937592"/>
                    <a:gd name="connsiteX94" fmla="*/ 113706 w 1149074"/>
                    <a:gd name="connsiteY94" fmla="*/ 754914 h 937592"/>
                    <a:gd name="connsiteX95" fmla="*/ 115795 w 1149074"/>
                    <a:gd name="connsiteY95" fmla="*/ 753943 h 937592"/>
                    <a:gd name="connsiteX96" fmla="*/ 117568 w 1149074"/>
                    <a:gd name="connsiteY96" fmla="*/ 753433 h 937592"/>
                    <a:gd name="connsiteX97" fmla="*/ 125424 w 1149074"/>
                    <a:gd name="connsiteY97" fmla="*/ 752838 h 937592"/>
                    <a:gd name="connsiteX98" fmla="*/ 127598 w 1149074"/>
                    <a:gd name="connsiteY98" fmla="*/ 752182 h 937592"/>
                    <a:gd name="connsiteX99" fmla="*/ 128618 w 1149074"/>
                    <a:gd name="connsiteY99" fmla="*/ 751198 h 937592"/>
                    <a:gd name="connsiteX100" fmla="*/ 129177 w 1149074"/>
                    <a:gd name="connsiteY100" fmla="*/ 749972 h 937592"/>
                    <a:gd name="connsiteX101" fmla="*/ 131800 w 1149074"/>
                    <a:gd name="connsiteY101" fmla="*/ 743634 h 937592"/>
                    <a:gd name="connsiteX102" fmla="*/ 133099 w 1149074"/>
                    <a:gd name="connsiteY102" fmla="*/ 741788 h 937592"/>
                    <a:gd name="connsiteX103" fmla="*/ 134641 w 1149074"/>
                    <a:gd name="connsiteY103" fmla="*/ 740986 h 937592"/>
                    <a:gd name="connsiteX104" fmla="*/ 136268 w 1149074"/>
                    <a:gd name="connsiteY104" fmla="*/ 740804 h 937592"/>
                    <a:gd name="connsiteX105" fmla="*/ 136900 w 1149074"/>
                    <a:gd name="connsiteY105" fmla="*/ 740901 h 937592"/>
                    <a:gd name="connsiteX106" fmla="*/ 138126 w 1149074"/>
                    <a:gd name="connsiteY106" fmla="*/ 741363 h 937592"/>
                    <a:gd name="connsiteX107" fmla="*/ 139449 w 1149074"/>
                    <a:gd name="connsiteY107" fmla="*/ 742334 h 937592"/>
                    <a:gd name="connsiteX108" fmla="*/ 141174 w 1149074"/>
                    <a:gd name="connsiteY108" fmla="*/ 744180 h 937592"/>
                    <a:gd name="connsiteX109" fmla="*/ 142692 w 1149074"/>
                    <a:gd name="connsiteY109" fmla="*/ 740137 h 937592"/>
                    <a:gd name="connsiteX110" fmla="*/ 143238 w 1149074"/>
                    <a:gd name="connsiteY110" fmla="*/ 739153 h 937592"/>
                    <a:gd name="connsiteX111" fmla="*/ 145035 w 1149074"/>
                    <a:gd name="connsiteY111" fmla="*/ 730373 h 937592"/>
                    <a:gd name="connsiteX112" fmla="*/ 145145 w 1149074"/>
                    <a:gd name="connsiteY112" fmla="*/ 724958 h 937592"/>
                    <a:gd name="connsiteX113" fmla="*/ 145618 w 1149074"/>
                    <a:gd name="connsiteY113" fmla="*/ 722675 h 937592"/>
                    <a:gd name="connsiteX114" fmla="*/ 146310 w 1149074"/>
                    <a:gd name="connsiteY114" fmla="*/ 721375 h 937592"/>
                    <a:gd name="connsiteX115" fmla="*/ 148107 w 1149074"/>
                    <a:gd name="connsiteY115" fmla="*/ 719154 h 937592"/>
                    <a:gd name="connsiteX116" fmla="*/ 149164 w 1149074"/>
                    <a:gd name="connsiteY116" fmla="*/ 717648 h 937592"/>
                    <a:gd name="connsiteX117" fmla="*/ 150050 w 1149074"/>
                    <a:gd name="connsiteY117" fmla="*/ 716713 h 937592"/>
                    <a:gd name="connsiteX118" fmla="*/ 151313 w 1149074"/>
                    <a:gd name="connsiteY118" fmla="*/ 715790 h 937592"/>
                    <a:gd name="connsiteX119" fmla="*/ 156352 w 1149074"/>
                    <a:gd name="connsiteY119" fmla="*/ 713191 h 937592"/>
                    <a:gd name="connsiteX120" fmla="*/ 156583 w 1149074"/>
                    <a:gd name="connsiteY120" fmla="*/ 713131 h 937592"/>
                    <a:gd name="connsiteX121" fmla="*/ 156777 w 1149074"/>
                    <a:gd name="connsiteY121" fmla="*/ 712815 h 937592"/>
                    <a:gd name="connsiteX122" fmla="*/ 157069 w 1149074"/>
                    <a:gd name="connsiteY122" fmla="*/ 711273 h 937592"/>
                    <a:gd name="connsiteX123" fmla="*/ 156510 w 1149074"/>
                    <a:gd name="connsiteY123" fmla="*/ 700065 h 937592"/>
                    <a:gd name="connsiteX124" fmla="*/ 156571 w 1149074"/>
                    <a:gd name="connsiteY124" fmla="*/ 698122 h 937592"/>
                    <a:gd name="connsiteX125" fmla="*/ 156462 w 1149074"/>
                    <a:gd name="connsiteY125" fmla="*/ 696470 h 937592"/>
                    <a:gd name="connsiteX126" fmla="*/ 155964 w 1149074"/>
                    <a:gd name="connsiteY126" fmla="*/ 695584 h 937592"/>
                    <a:gd name="connsiteX127" fmla="*/ 153438 w 1149074"/>
                    <a:gd name="connsiteY127" fmla="*/ 691844 h 937592"/>
                    <a:gd name="connsiteX128" fmla="*/ 152151 w 1149074"/>
                    <a:gd name="connsiteY128" fmla="*/ 689258 h 937592"/>
                    <a:gd name="connsiteX129" fmla="*/ 151350 w 1149074"/>
                    <a:gd name="connsiteY129" fmla="*/ 683235 h 937592"/>
                    <a:gd name="connsiteX130" fmla="*/ 151192 w 1149074"/>
                    <a:gd name="connsiteY130" fmla="*/ 682785 h 937592"/>
                    <a:gd name="connsiteX131" fmla="*/ 150172 w 1149074"/>
                    <a:gd name="connsiteY131" fmla="*/ 681595 h 937592"/>
                    <a:gd name="connsiteX132" fmla="*/ 146456 w 1149074"/>
                    <a:gd name="connsiteY132" fmla="*/ 679203 h 937592"/>
                    <a:gd name="connsiteX133" fmla="*/ 144720 w 1149074"/>
                    <a:gd name="connsiteY133" fmla="*/ 677102 h 937592"/>
                    <a:gd name="connsiteX134" fmla="*/ 144064 w 1149074"/>
                    <a:gd name="connsiteY134" fmla="*/ 676192 h 937592"/>
                    <a:gd name="connsiteX135" fmla="*/ 144331 w 1149074"/>
                    <a:gd name="connsiteY135" fmla="*/ 673119 h 937592"/>
                    <a:gd name="connsiteX136" fmla="*/ 145776 w 1149074"/>
                    <a:gd name="connsiteY136" fmla="*/ 668214 h 937592"/>
                    <a:gd name="connsiteX137" fmla="*/ 145885 w 1149074"/>
                    <a:gd name="connsiteY137" fmla="*/ 666587 h 937592"/>
                    <a:gd name="connsiteX138" fmla="*/ 145424 w 1149074"/>
                    <a:gd name="connsiteY138" fmla="*/ 665057 h 937592"/>
                    <a:gd name="connsiteX139" fmla="*/ 143262 w 1149074"/>
                    <a:gd name="connsiteY139" fmla="*/ 661499 h 937592"/>
                    <a:gd name="connsiteX140" fmla="*/ 142254 w 1149074"/>
                    <a:gd name="connsiteY140" fmla="*/ 658888 h 937592"/>
                    <a:gd name="connsiteX141" fmla="*/ 141623 w 1149074"/>
                    <a:gd name="connsiteY141" fmla="*/ 656046 h 937592"/>
                    <a:gd name="connsiteX142" fmla="*/ 141502 w 1149074"/>
                    <a:gd name="connsiteY142" fmla="*/ 651784 h 937592"/>
                    <a:gd name="connsiteX143" fmla="*/ 142060 w 1149074"/>
                    <a:gd name="connsiteY143" fmla="*/ 648482 h 937592"/>
                    <a:gd name="connsiteX144" fmla="*/ 143117 w 1149074"/>
                    <a:gd name="connsiteY144" fmla="*/ 645434 h 937592"/>
                    <a:gd name="connsiteX145" fmla="*/ 146505 w 1149074"/>
                    <a:gd name="connsiteY145" fmla="*/ 638354 h 937592"/>
                    <a:gd name="connsiteX146" fmla="*/ 146237 w 1149074"/>
                    <a:gd name="connsiteY146" fmla="*/ 637602 h 937592"/>
                    <a:gd name="connsiteX147" fmla="*/ 144914 w 1149074"/>
                    <a:gd name="connsiteY147" fmla="*/ 636339 h 937592"/>
                    <a:gd name="connsiteX148" fmla="*/ 142242 w 1149074"/>
                    <a:gd name="connsiteY148" fmla="*/ 634736 h 937592"/>
                    <a:gd name="connsiteX149" fmla="*/ 140081 w 1149074"/>
                    <a:gd name="connsiteY149" fmla="*/ 632514 h 937592"/>
                    <a:gd name="connsiteX150" fmla="*/ 139680 w 1149074"/>
                    <a:gd name="connsiteY150" fmla="*/ 630729 h 937592"/>
                    <a:gd name="connsiteX151" fmla="*/ 139887 w 1149074"/>
                    <a:gd name="connsiteY151" fmla="*/ 628762 h 937592"/>
                    <a:gd name="connsiteX152" fmla="*/ 140700 w 1149074"/>
                    <a:gd name="connsiteY152" fmla="*/ 627001 h 937592"/>
                    <a:gd name="connsiteX153" fmla="*/ 142680 w 1149074"/>
                    <a:gd name="connsiteY153" fmla="*/ 624888 h 937592"/>
                    <a:gd name="connsiteX154" fmla="*/ 146031 w 1149074"/>
                    <a:gd name="connsiteY154" fmla="*/ 622726 h 937592"/>
                    <a:gd name="connsiteX155" fmla="*/ 146140 w 1149074"/>
                    <a:gd name="connsiteY155" fmla="*/ 621949 h 937592"/>
                    <a:gd name="connsiteX156" fmla="*/ 145727 w 1149074"/>
                    <a:gd name="connsiteY156" fmla="*/ 621124 h 937592"/>
                    <a:gd name="connsiteX157" fmla="*/ 144501 w 1149074"/>
                    <a:gd name="connsiteY157" fmla="*/ 619533 h 937592"/>
                    <a:gd name="connsiteX158" fmla="*/ 143578 w 1149074"/>
                    <a:gd name="connsiteY158" fmla="*/ 618901 h 937592"/>
                    <a:gd name="connsiteX159" fmla="*/ 142704 w 1149074"/>
                    <a:gd name="connsiteY159" fmla="*/ 618586 h 937592"/>
                    <a:gd name="connsiteX160" fmla="*/ 138600 w 1149074"/>
                    <a:gd name="connsiteY160" fmla="*/ 617663 h 937592"/>
                    <a:gd name="connsiteX161" fmla="*/ 136717 w 1149074"/>
                    <a:gd name="connsiteY161" fmla="*/ 616971 h 937592"/>
                    <a:gd name="connsiteX162" fmla="*/ 135430 w 1149074"/>
                    <a:gd name="connsiteY162" fmla="*/ 616060 h 937592"/>
                    <a:gd name="connsiteX163" fmla="*/ 133949 w 1149074"/>
                    <a:gd name="connsiteY163" fmla="*/ 614251 h 937592"/>
                    <a:gd name="connsiteX164" fmla="*/ 130634 w 1149074"/>
                    <a:gd name="connsiteY164" fmla="*/ 607001 h 937592"/>
                    <a:gd name="connsiteX165" fmla="*/ 129832 w 1149074"/>
                    <a:gd name="connsiteY165" fmla="*/ 605726 h 937592"/>
                    <a:gd name="connsiteX166" fmla="*/ 129249 w 1149074"/>
                    <a:gd name="connsiteY166" fmla="*/ 605362 h 937592"/>
                    <a:gd name="connsiteX167" fmla="*/ 128666 w 1149074"/>
                    <a:gd name="connsiteY167" fmla="*/ 605325 h 937592"/>
                    <a:gd name="connsiteX168" fmla="*/ 122923 w 1149074"/>
                    <a:gd name="connsiteY168" fmla="*/ 604293 h 937592"/>
                    <a:gd name="connsiteX169" fmla="*/ 120543 w 1149074"/>
                    <a:gd name="connsiteY169" fmla="*/ 601925 h 937592"/>
                    <a:gd name="connsiteX170" fmla="*/ 119814 w 1149074"/>
                    <a:gd name="connsiteY170" fmla="*/ 599302 h 937592"/>
                    <a:gd name="connsiteX171" fmla="*/ 120264 w 1149074"/>
                    <a:gd name="connsiteY171" fmla="*/ 583383 h 937592"/>
                    <a:gd name="connsiteX172" fmla="*/ 121612 w 1149074"/>
                    <a:gd name="connsiteY172" fmla="*/ 577081 h 937592"/>
                    <a:gd name="connsiteX173" fmla="*/ 121842 w 1149074"/>
                    <a:gd name="connsiteY173" fmla="*/ 574871 h 937592"/>
                    <a:gd name="connsiteX174" fmla="*/ 121502 w 1149074"/>
                    <a:gd name="connsiteY174" fmla="*/ 572722 h 937592"/>
                    <a:gd name="connsiteX175" fmla="*/ 120227 w 1149074"/>
                    <a:gd name="connsiteY175" fmla="*/ 568387 h 937592"/>
                    <a:gd name="connsiteX176" fmla="*/ 119414 w 1149074"/>
                    <a:gd name="connsiteY176" fmla="*/ 564464 h 937592"/>
                    <a:gd name="connsiteX177" fmla="*/ 119523 w 1149074"/>
                    <a:gd name="connsiteY177" fmla="*/ 559680 h 937592"/>
                    <a:gd name="connsiteX178" fmla="*/ 121357 w 1149074"/>
                    <a:gd name="connsiteY178" fmla="*/ 551350 h 937592"/>
                    <a:gd name="connsiteX179" fmla="*/ 120288 w 1149074"/>
                    <a:gd name="connsiteY179" fmla="*/ 549881 h 937592"/>
                    <a:gd name="connsiteX180" fmla="*/ 119401 w 1149074"/>
                    <a:gd name="connsiteY180" fmla="*/ 549541 h 937592"/>
                    <a:gd name="connsiteX181" fmla="*/ 118479 w 1149074"/>
                    <a:gd name="connsiteY181" fmla="*/ 549322 h 937592"/>
                    <a:gd name="connsiteX182" fmla="*/ 112820 w 1149074"/>
                    <a:gd name="connsiteY182" fmla="*/ 548812 h 937592"/>
                    <a:gd name="connsiteX183" fmla="*/ 110464 w 1149074"/>
                    <a:gd name="connsiteY183" fmla="*/ 548096 h 937592"/>
                    <a:gd name="connsiteX184" fmla="*/ 107623 w 1149074"/>
                    <a:gd name="connsiteY184" fmla="*/ 546469 h 937592"/>
                    <a:gd name="connsiteX185" fmla="*/ 106226 w 1149074"/>
                    <a:gd name="connsiteY185" fmla="*/ 544429 h 937592"/>
                    <a:gd name="connsiteX186" fmla="*/ 103810 w 1149074"/>
                    <a:gd name="connsiteY186" fmla="*/ 538309 h 937592"/>
                    <a:gd name="connsiteX187" fmla="*/ 102911 w 1149074"/>
                    <a:gd name="connsiteY187" fmla="*/ 536900 h 937592"/>
                    <a:gd name="connsiteX188" fmla="*/ 101904 w 1149074"/>
                    <a:gd name="connsiteY188" fmla="*/ 536099 h 937592"/>
                    <a:gd name="connsiteX189" fmla="*/ 86737 w 1149074"/>
                    <a:gd name="connsiteY189" fmla="*/ 527684 h 937592"/>
                    <a:gd name="connsiteX190" fmla="*/ 84090 w 1149074"/>
                    <a:gd name="connsiteY190" fmla="*/ 525644 h 937592"/>
                    <a:gd name="connsiteX191" fmla="*/ 82062 w 1149074"/>
                    <a:gd name="connsiteY191" fmla="*/ 523470 h 937592"/>
                    <a:gd name="connsiteX192" fmla="*/ 80386 w 1149074"/>
                    <a:gd name="connsiteY192" fmla="*/ 520798 h 937592"/>
                    <a:gd name="connsiteX193" fmla="*/ 79415 w 1149074"/>
                    <a:gd name="connsiteY193" fmla="*/ 518078 h 937592"/>
                    <a:gd name="connsiteX194" fmla="*/ 79160 w 1149074"/>
                    <a:gd name="connsiteY194" fmla="*/ 515286 h 937592"/>
                    <a:gd name="connsiteX195" fmla="*/ 79694 w 1149074"/>
                    <a:gd name="connsiteY195" fmla="*/ 512408 h 937592"/>
                    <a:gd name="connsiteX196" fmla="*/ 80556 w 1149074"/>
                    <a:gd name="connsiteY196" fmla="*/ 510064 h 937592"/>
                    <a:gd name="connsiteX197" fmla="*/ 88364 w 1149074"/>
                    <a:gd name="connsiteY197" fmla="*/ 495821 h 937592"/>
                    <a:gd name="connsiteX198" fmla="*/ 90538 w 1149074"/>
                    <a:gd name="connsiteY198" fmla="*/ 492894 h 937592"/>
                    <a:gd name="connsiteX199" fmla="*/ 93367 w 1149074"/>
                    <a:gd name="connsiteY199" fmla="*/ 491716 h 937592"/>
                    <a:gd name="connsiteX200" fmla="*/ 96476 w 1149074"/>
                    <a:gd name="connsiteY200" fmla="*/ 489810 h 937592"/>
                    <a:gd name="connsiteX201" fmla="*/ 101818 w 1149074"/>
                    <a:gd name="connsiteY201" fmla="*/ 483422 h 937592"/>
                    <a:gd name="connsiteX202" fmla="*/ 104733 w 1149074"/>
                    <a:gd name="connsiteY202" fmla="*/ 481213 h 937592"/>
                    <a:gd name="connsiteX203" fmla="*/ 106069 w 1149074"/>
                    <a:gd name="connsiteY203" fmla="*/ 480958 h 937592"/>
                    <a:gd name="connsiteX204" fmla="*/ 107696 w 1149074"/>
                    <a:gd name="connsiteY204" fmla="*/ 480945 h 937592"/>
                    <a:gd name="connsiteX205" fmla="*/ 109019 w 1149074"/>
                    <a:gd name="connsiteY205" fmla="*/ 481285 h 937592"/>
                    <a:gd name="connsiteX206" fmla="*/ 111691 w 1149074"/>
                    <a:gd name="connsiteY206" fmla="*/ 483010 h 937592"/>
                    <a:gd name="connsiteX207" fmla="*/ 121272 w 1149074"/>
                    <a:gd name="connsiteY207" fmla="*/ 493805 h 937592"/>
                    <a:gd name="connsiteX208" fmla="*/ 122595 w 1149074"/>
                    <a:gd name="connsiteY208" fmla="*/ 496087 h 937592"/>
                    <a:gd name="connsiteX209" fmla="*/ 123154 w 1149074"/>
                    <a:gd name="connsiteY209" fmla="*/ 498019 h 937592"/>
                    <a:gd name="connsiteX210" fmla="*/ 123129 w 1149074"/>
                    <a:gd name="connsiteY210" fmla="*/ 499148 h 937592"/>
                    <a:gd name="connsiteX211" fmla="*/ 123372 w 1149074"/>
                    <a:gd name="connsiteY211" fmla="*/ 499148 h 937592"/>
                    <a:gd name="connsiteX212" fmla="*/ 123858 w 1149074"/>
                    <a:gd name="connsiteY212" fmla="*/ 498856 h 937592"/>
                    <a:gd name="connsiteX213" fmla="*/ 124174 w 1149074"/>
                    <a:gd name="connsiteY213" fmla="*/ 498492 h 937592"/>
                    <a:gd name="connsiteX214" fmla="*/ 124040 w 1149074"/>
                    <a:gd name="connsiteY214" fmla="*/ 498273 h 937592"/>
                    <a:gd name="connsiteX215" fmla="*/ 125339 w 1149074"/>
                    <a:gd name="connsiteY215" fmla="*/ 495104 h 937592"/>
                    <a:gd name="connsiteX216" fmla="*/ 126141 w 1149074"/>
                    <a:gd name="connsiteY216" fmla="*/ 493659 h 937592"/>
                    <a:gd name="connsiteX217" fmla="*/ 127428 w 1149074"/>
                    <a:gd name="connsiteY217" fmla="*/ 491850 h 937592"/>
                    <a:gd name="connsiteX218" fmla="*/ 128715 w 1149074"/>
                    <a:gd name="connsiteY218" fmla="*/ 490878 h 937592"/>
                    <a:gd name="connsiteX219" fmla="*/ 131654 w 1149074"/>
                    <a:gd name="connsiteY219" fmla="*/ 490065 h 937592"/>
                    <a:gd name="connsiteX220" fmla="*/ 133439 w 1149074"/>
                    <a:gd name="connsiteY220" fmla="*/ 490320 h 937592"/>
                    <a:gd name="connsiteX221" fmla="*/ 134471 w 1149074"/>
                    <a:gd name="connsiteY221" fmla="*/ 490599 h 937592"/>
                    <a:gd name="connsiteX222" fmla="*/ 136074 w 1149074"/>
                    <a:gd name="connsiteY222" fmla="*/ 491400 h 937592"/>
                    <a:gd name="connsiteX223" fmla="*/ 137106 w 1149074"/>
                    <a:gd name="connsiteY223" fmla="*/ 492165 h 937592"/>
                    <a:gd name="connsiteX224" fmla="*/ 143129 w 1149074"/>
                    <a:gd name="connsiteY224" fmla="*/ 497824 h 937592"/>
                    <a:gd name="connsiteX225" fmla="*/ 145533 w 1149074"/>
                    <a:gd name="connsiteY225" fmla="*/ 499573 h 937592"/>
                    <a:gd name="connsiteX226" fmla="*/ 147269 w 1149074"/>
                    <a:gd name="connsiteY226" fmla="*/ 501200 h 937592"/>
                    <a:gd name="connsiteX227" fmla="*/ 148666 w 1149074"/>
                    <a:gd name="connsiteY227" fmla="*/ 502924 h 937592"/>
                    <a:gd name="connsiteX228" fmla="*/ 149176 w 1149074"/>
                    <a:gd name="connsiteY228" fmla="*/ 504126 h 937592"/>
                    <a:gd name="connsiteX229" fmla="*/ 146602 w 1149074"/>
                    <a:gd name="connsiteY229" fmla="*/ 506166 h 937592"/>
                    <a:gd name="connsiteX230" fmla="*/ 149820 w 1149074"/>
                    <a:gd name="connsiteY230" fmla="*/ 506033 h 937592"/>
                    <a:gd name="connsiteX231" fmla="*/ 150439 w 1149074"/>
                    <a:gd name="connsiteY231" fmla="*/ 506154 h 937592"/>
                    <a:gd name="connsiteX232" fmla="*/ 155575 w 1149074"/>
                    <a:gd name="connsiteY232" fmla="*/ 505255 h 937592"/>
                    <a:gd name="connsiteX233" fmla="*/ 158016 w 1149074"/>
                    <a:gd name="connsiteY233" fmla="*/ 505863 h 937592"/>
                    <a:gd name="connsiteX234" fmla="*/ 159983 w 1149074"/>
                    <a:gd name="connsiteY234" fmla="*/ 507405 h 937592"/>
                    <a:gd name="connsiteX235" fmla="*/ 162570 w 1149074"/>
                    <a:gd name="connsiteY235" fmla="*/ 510805 h 937592"/>
                    <a:gd name="connsiteX236" fmla="*/ 174445 w 1149074"/>
                    <a:gd name="connsiteY236" fmla="*/ 535151 h 937592"/>
                    <a:gd name="connsiteX237" fmla="*/ 174555 w 1149074"/>
                    <a:gd name="connsiteY237" fmla="*/ 535285 h 937592"/>
                    <a:gd name="connsiteX238" fmla="*/ 177105 w 1149074"/>
                    <a:gd name="connsiteY238" fmla="*/ 530331 h 937592"/>
                    <a:gd name="connsiteX239" fmla="*/ 178185 w 1149074"/>
                    <a:gd name="connsiteY239" fmla="*/ 528643 h 937592"/>
                    <a:gd name="connsiteX240" fmla="*/ 178890 w 1149074"/>
                    <a:gd name="connsiteY240" fmla="*/ 527732 h 937592"/>
                    <a:gd name="connsiteX241" fmla="*/ 180238 w 1149074"/>
                    <a:gd name="connsiteY241" fmla="*/ 526396 h 937592"/>
                    <a:gd name="connsiteX242" fmla="*/ 181901 w 1149074"/>
                    <a:gd name="connsiteY242" fmla="*/ 525255 h 937592"/>
                    <a:gd name="connsiteX243" fmla="*/ 183710 w 1149074"/>
                    <a:gd name="connsiteY243" fmla="*/ 524405 h 937592"/>
                    <a:gd name="connsiteX244" fmla="*/ 186273 w 1149074"/>
                    <a:gd name="connsiteY244" fmla="*/ 523871 h 937592"/>
                    <a:gd name="connsiteX245" fmla="*/ 188604 w 1149074"/>
                    <a:gd name="connsiteY245" fmla="*/ 523725 h 937592"/>
                    <a:gd name="connsiteX246" fmla="*/ 206952 w 1149074"/>
                    <a:gd name="connsiteY246" fmla="*/ 526396 h 937592"/>
                    <a:gd name="connsiteX247" fmla="*/ 209964 w 1149074"/>
                    <a:gd name="connsiteY247" fmla="*/ 527441 h 937592"/>
                    <a:gd name="connsiteX248" fmla="*/ 215136 w 1149074"/>
                    <a:gd name="connsiteY248" fmla="*/ 530246 h 937592"/>
                    <a:gd name="connsiteX249" fmla="*/ 216921 w 1149074"/>
                    <a:gd name="connsiteY249" fmla="*/ 530841 h 937592"/>
                    <a:gd name="connsiteX250" fmla="*/ 223236 w 1149074"/>
                    <a:gd name="connsiteY250" fmla="*/ 530877 h 937592"/>
                    <a:gd name="connsiteX251" fmla="*/ 226272 w 1149074"/>
                    <a:gd name="connsiteY251" fmla="*/ 531472 h 937592"/>
                    <a:gd name="connsiteX252" fmla="*/ 229076 w 1149074"/>
                    <a:gd name="connsiteY252" fmla="*/ 533864 h 937592"/>
                    <a:gd name="connsiteX253" fmla="*/ 228639 w 1149074"/>
                    <a:gd name="connsiteY253" fmla="*/ 537349 h 937592"/>
                    <a:gd name="connsiteX254" fmla="*/ 228008 w 1149074"/>
                    <a:gd name="connsiteY254" fmla="*/ 539572 h 937592"/>
                    <a:gd name="connsiteX255" fmla="*/ 227692 w 1149074"/>
                    <a:gd name="connsiteY255" fmla="*/ 541247 h 937592"/>
                    <a:gd name="connsiteX256" fmla="*/ 227692 w 1149074"/>
                    <a:gd name="connsiteY256" fmla="*/ 542656 h 937592"/>
                    <a:gd name="connsiteX257" fmla="*/ 228008 w 1149074"/>
                    <a:gd name="connsiteY257" fmla="*/ 544939 h 937592"/>
                    <a:gd name="connsiteX258" fmla="*/ 227996 w 1149074"/>
                    <a:gd name="connsiteY258" fmla="*/ 546177 h 937592"/>
                    <a:gd name="connsiteX259" fmla="*/ 235233 w 1149074"/>
                    <a:gd name="connsiteY259" fmla="*/ 540203 h 937592"/>
                    <a:gd name="connsiteX260" fmla="*/ 237747 w 1149074"/>
                    <a:gd name="connsiteY260" fmla="*/ 538722 h 937592"/>
                    <a:gd name="connsiteX261" fmla="*/ 239969 w 1149074"/>
                    <a:gd name="connsiteY261" fmla="*/ 537701 h 937592"/>
                    <a:gd name="connsiteX262" fmla="*/ 244328 w 1149074"/>
                    <a:gd name="connsiteY262" fmla="*/ 536244 h 937592"/>
                    <a:gd name="connsiteX263" fmla="*/ 245312 w 1149074"/>
                    <a:gd name="connsiteY263" fmla="*/ 535443 h 937592"/>
                    <a:gd name="connsiteX264" fmla="*/ 247777 w 1149074"/>
                    <a:gd name="connsiteY264" fmla="*/ 533124 h 937592"/>
                    <a:gd name="connsiteX265" fmla="*/ 247643 w 1149074"/>
                    <a:gd name="connsiteY265" fmla="*/ 532808 h 937592"/>
                    <a:gd name="connsiteX266" fmla="*/ 244559 w 1149074"/>
                    <a:gd name="connsiteY266" fmla="*/ 530209 h 937592"/>
                    <a:gd name="connsiteX267" fmla="*/ 243539 w 1149074"/>
                    <a:gd name="connsiteY267" fmla="*/ 528522 h 937592"/>
                    <a:gd name="connsiteX268" fmla="*/ 242847 w 1149074"/>
                    <a:gd name="connsiteY268" fmla="*/ 526809 h 937592"/>
                    <a:gd name="connsiteX269" fmla="*/ 242677 w 1149074"/>
                    <a:gd name="connsiteY269" fmla="*/ 525291 h 937592"/>
                    <a:gd name="connsiteX270" fmla="*/ 242847 w 1149074"/>
                    <a:gd name="connsiteY270" fmla="*/ 522632 h 937592"/>
                    <a:gd name="connsiteX271" fmla="*/ 245457 w 1149074"/>
                    <a:gd name="connsiteY271" fmla="*/ 512541 h 937592"/>
                    <a:gd name="connsiteX272" fmla="*/ 245724 w 1149074"/>
                    <a:gd name="connsiteY272" fmla="*/ 510234 h 937592"/>
                    <a:gd name="connsiteX273" fmla="*/ 245640 w 1149074"/>
                    <a:gd name="connsiteY273" fmla="*/ 508522 h 937592"/>
                    <a:gd name="connsiteX274" fmla="*/ 245287 w 1149074"/>
                    <a:gd name="connsiteY274" fmla="*/ 507113 h 937592"/>
                    <a:gd name="connsiteX275" fmla="*/ 241729 w 1149074"/>
                    <a:gd name="connsiteY275" fmla="*/ 506591 h 937592"/>
                    <a:gd name="connsiteX276" fmla="*/ 239811 w 1149074"/>
                    <a:gd name="connsiteY276" fmla="*/ 506591 h 937592"/>
                    <a:gd name="connsiteX277" fmla="*/ 237941 w 1149074"/>
                    <a:gd name="connsiteY277" fmla="*/ 503981 h 937592"/>
                    <a:gd name="connsiteX278" fmla="*/ 238584 w 1149074"/>
                    <a:gd name="connsiteY278" fmla="*/ 507101 h 937592"/>
                    <a:gd name="connsiteX279" fmla="*/ 236496 w 1149074"/>
                    <a:gd name="connsiteY279" fmla="*/ 508607 h 937592"/>
                    <a:gd name="connsiteX280" fmla="*/ 234310 w 1149074"/>
                    <a:gd name="connsiteY280" fmla="*/ 509530 h 937592"/>
                    <a:gd name="connsiteX281" fmla="*/ 231639 w 1149074"/>
                    <a:gd name="connsiteY281" fmla="*/ 509943 h 937592"/>
                    <a:gd name="connsiteX282" fmla="*/ 229404 w 1149074"/>
                    <a:gd name="connsiteY282" fmla="*/ 509238 h 937592"/>
                    <a:gd name="connsiteX283" fmla="*/ 228008 w 1149074"/>
                    <a:gd name="connsiteY283" fmla="*/ 508498 h 937592"/>
                    <a:gd name="connsiteX284" fmla="*/ 226454 w 1149074"/>
                    <a:gd name="connsiteY284" fmla="*/ 507308 h 937592"/>
                    <a:gd name="connsiteX285" fmla="*/ 225555 w 1149074"/>
                    <a:gd name="connsiteY285" fmla="*/ 506348 h 937592"/>
                    <a:gd name="connsiteX286" fmla="*/ 223369 w 1149074"/>
                    <a:gd name="connsiteY286" fmla="*/ 503531 h 937592"/>
                    <a:gd name="connsiteX287" fmla="*/ 222774 w 1149074"/>
                    <a:gd name="connsiteY287" fmla="*/ 503167 h 937592"/>
                    <a:gd name="connsiteX288" fmla="*/ 222082 w 1149074"/>
                    <a:gd name="connsiteY288" fmla="*/ 502912 h 937592"/>
                    <a:gd name="connsiteX289" fmla="*/ 220285 w 1149074"/>
                    <a:gd name="connsiteY289" fmla="*/ 502779 h 937592"/>
                    <a:gd name="connsiteX290" fmla="*/ 213121 w 1149074"/>
                    <a:gd name="connsiteY290" fmla="*/ 503301 h 937592"/>
                    <a:gd name="connsiteX291" fmla="*/ 209624 w 1149074"/>
                    <a:gd name="connsiteY291" fmla="*/ 503046 h 937592"/>
                    <a:gd name="connsiteX292" fmla="*/ 208349 w 1149074"/>
                    <a:gd name="connsiteY292" fmla="*/ 502608 h 937592"/>
                    <a:gd name="connsiteX293" fmla="*/ 206454 w 1149074"/>
                    <a:gd name="connsiteY293" fmla="*/ 501479 h 937592"/>
                    <a:gd name="connsiteX294" fmla="*/ 203479 w 1149074"/>
                    <a:gd name="connsiteY294" fmla="*/ 498674 h 937592"/>
                    <a:gd name="connsiteX295" fmla="*/ 202593 w 1149074"/>
                    <a:gd name="connsiteY295" fmla="*/ 498030 h 937592"/>
                    <a:gd name="connsiteX296" fmla="*/ 192721 w 1149074"/>
                    <a:gd name="connsiteY296" fmla="*/ 493683 h 937592"/>
                    <a:gd name="connsiteX297" fmla="*/ 191737 w 1149074"/>
                    <a:gd name="connsiteY297" fmla="*/ 490392 h 937592"/>
                    <a:gd name="connsiteX298" fmla="*/ 191798 w 1149074"/>
                    <a:gd name="connsiteY298" fmla="*/ 486142 h 937592"/>
                    <a:gd name="connsiteX299" fmla="*/ 195720 w 1149074"/>
                    <a:gd name="connsiteY299" fmla="*/ 472628 h 937592"/>
                    <a:gd name="connsiteX300" fmla="*/ 196011 w 1149074"/>
                    <a:gd name="connsiteY300" fmla="*/ 470211 h 937592"/>
                    <a:gd name="connsiteX301" fmla="*/ 195987 w 1149074"/>
                    <a:gd name="connsiteY301" fmla="*/ 465742 h 937592"/>
                    <a:gd name="connsiteX302" fmla="*/ 194591 w 1149074"/>
                    <a:gd name="connsiteY302" fmla="*/ 457923 h 937592"/>
                    <a:gd name="connsiteX303" fmla="*/ 194372 w 1149074"/>
                    <a:gd name="connsiteY303" fmla="*/ 447176 h 937592"/>
                    <a:gd name="connsiteX304" fmla="*/ 193765 w 1149074"/>
                    <a:gd name="connsiteY304" fmla="*/ 445670 h 937592"/>
                    <a:gd name="connsiteX305" fmla="*/ 193145 w 1149074"/>
                    <a:gd name="connsiteY305" fmla="*/ 444529 h 937592"/>
                    <a:gd name="connsiteX306" fmla="*/ 192551 w 1149074"/>
                    <a:gd name="connsiteY306" fmla="*/ 443776 h 937592"/>
                    <a:gd name="connsiteX307" fmla="*/ 191676 w 1149074"/>
                    <a:gd name="connsiteY307" fmla="*/ 441882 h 937592"/>
                    <a:gd name="connsiteX308" fmla="*/ 191445 w 1149074"/>
                    <a:gd name="connsiteY308" fmla="*/ 437085 h 937592"/>
                    <a:gd name="connsiteX309" fmla="*/ 193425 w 1149074"/>
                    <a:gd name="connsiteY309" fmla="*/ 420583 h 937592"/>
                    <a:gd name="connsiteX310" fmla="*/ 193291 w 1149074"/>
                    <a:gd name="connsiteY310" fmla="*/ 418846 h 937592"/>
                    <a:gd name="connsiteX311" fmla="*/ 192696 w 1149074"/>
                    <a:gd name="connsiteY311" fmla="*/ 419053 h 937592"/>
                    <a:gd name="connsiteX312" fmla="*/ 191470 w 1149074"/>
                    <a:gd name="connsiteY312" fmla="*/ 419053 h 937592"/>
                    <a:gd name="connsiteX313" fmla="*/ 189563 w 1149074"/>
                    <a:gd name="connsiteY313" fmla="*/ 418203 h 937592"/>
                    <a:gd name="connsiteX314" fmla="*/ 188580 w 1149074"/>
                    <a:gd name="connsiteY314" fmla="*/ 417256 h 937592"/>
                    <a:gd name="connsiteX315" fmla="*/ 187183 w 1149074"/>
                    <a:gd name="connsiteY315" fmla="*/ 414852 h 937592"/>
                    <a:gd name="connsiteX316" fmla="*/ 186090 w 1149074"/>
                    <a:gd name="connsiteY316" fmla="*/ 410759 h 937592"/>
                    <a:gd name="connsiteX317" fmla="*/ 186018 w 1149074"/>
                    <a:gd name="connsiteY317" fmla="*/ 409921 h 937592"/>
                    <a:gd name="connsiteX318" fmla="*/ 184816 w 1149074"/>
                    <a:gd name="connsiteY318" fmla="*/ 410067 h 937592"/>
                    <a:gd name="connsiteX319" fmla="*/ 183844 w 1149074"/>
                    <a:gd name="connsiteY319" fmla="*/ 409982 h 937592"/>
                    <a:gd name="connsiteX320" fmla="*/ 182812 w 1149074"/>
                    <a:gd name="connsiteY320" fmla="*/ 409339 h 937592"/>
                    <a:gd name="connsiteX321" fmla="*/ 182338 w 1149074"/>
                    <a:gd name="connsiteY321" fmla="*/ 408938 h 937592"/>
                    <a:gd name="connsiteX322" fmla="*/ 181938 w 1149074"/>
                    <a:gd name="connsiteY322" fmla="*/ 408294 h 937592"/>
                    <a:gd name="connsiteX323" fmla="*/ 179011 w 1149074"/>
                    <a:gd name="connsiteY323" fmla="*/ 402526 h 937592"/>
                    <a:gd name="connsiteX324" fmla="*/ 178137 w 1149074"/>
                    <a:gd name="connsiteY324" fmla="*/ 399320 h 937592"/>
                    <a:gd name="connsiteX325" fmla="*/ 178052 w 1149074"/>
                    <a:gd name="connsiteY325" fmla="*/ 395848 h 937592"/>
                    <a:gd name="connsiteX326" fmla="*/ 181355 w 1149074"/>
                    <a:gd name="connsiteY326" fmla="*/ 381811 h 937592"/>
                    <a:gd name="connsiteX327" fmla="*/ 182484 w 1149074"/>
                    <a:gd name="connsiteY327" fmla="*/ 378592 h 937592"/>
                    <a:gd name="connsiteX328" fmla="*/ 183043 w 1149074"/>
                    <a:gd name="connsiteY328" fmla="*/ 375581 h 937592"/>
                    <a:gd name="connsiteX329" fmla="*/ 183225 w 1149074"/>
                    <a:gd name="connsiteY329" fmla="*/ 373480 h 937592"/>
                    <a:gd name="connsiteX330" fmla="*/ 183103 w 1149074"/>
                    <a:gd name="connsiteY330" fmla="*/ 371356 h 937592"/>
                    <a:gd name="connsiteX331" fmla="*/ 182605 w 1149074"/>
                    <a:gd name="connsiteY331" fmla="*/ 369485 h 937592"/>
                    <a:gd name="connsiteX332" fmla="*/ 181986 w 1149074"/>
                    <a:gd name="connsiteY332" fmla="*/ 367542 h 937592"/>
                    <a:gd name="connsiteX333" fmla="*/ 180225 w 1149074"/>
                    <a:gd name="connsiteY333" fmla="*/ 363839 h 937592"/>
                    <a:gd name="connsiteX334" fmla="*/ 179400 w 1149074"/>
                    <a:gd name="connsiteY334" fmla="*/ 361410 h 937592"/>
                    <a:gd name="connsiteX335" fmla="*/ 178878 w 1149074"/>
                    <a:gd name="connsiteY335" fmla="*/ 359055 h 937592"/>
                    <a:gd name="connsiteX336" fmla="*/ 178392 w 1149074"/>
                    <a:gd name="connsiteY336" fmla="*/ 336031 h 937592"/>
                    <a:gd name="connsiteX337" fmla="*/ 178671 w 1149074"/>
                    <a:gd name="connsiteY337" fmla="*/ 334550 h 937592"/>
                    <a:gd name="connsiteX338" fmla="*/ 179655 w 1149074"/>
                    <a:gd name="connsiteY338" fmla="*/ 332328 h 937592"/>
                    <a:gd name="connsiteX339" fmla="*/ 180650 w 1149074"/>
                    <a:gd name="connsiteY339" fmla="*/ 330968 h 937592"/>
                    <a:gd name="connsiteX340" fmla="*/ 181185 w 1149074"/>
                    <a:gd name="connsiteY340" fmla="*/ 330458 h 937592"/>
                    <a:gd name="connsiteX341" fmla="*/ 182630 w 1149074"/>
                    <a:gd name="connsiteY341" fmla="*/ 329535 h 937592"/>
                    <a:gd name="connsiteX342" fmla="*/ 184330 w 1149074"/>
                    <a:gd name="connsiteY342" fmla="*/ 329025 h 937592"/>
                    <a:gd name="connsiteX343" fmla="*/ 185750 w 1149074"/>
                    <a:gd name="connsiteY343" fmla="*/ 329025 h 937592"/>
                    <a:gd name="connsiteX344" fmla="*/ 192113 w 1149074"/>
                    <a:gd name="connsiteY344" fmla="*/ 330531 h 937592"/>
                    <a:gd name="connsiteX345" fmla="*/ 194299 w 1149074"/>
                    <a:gd name="connsiteY345" fmla="*/ 331490 h 937592"/>
                    <a:gd name="connsiteX346" fmla="*/ 195331 w 1149074"/>
                    <a:gd name="connsiteY346" fmla="*/ 332522 h 937592"/>
                    <a:gd name="connsiteX347" fmla="*/ 195659 w 1149074"/>
                    <a:gd name="connsiteY347" fmla="*/ 333178 h 937592"/>
                    <a:gd name="connsiteX348" fmla="*/ 196594 w 1149074"/>
                    <a:gd name="connsiteY348" fmla="*/ 335400 h 937592"/>
                    <a:gd name="connsiteX349" fmla="*/ 196315 w 1149074"/>
                    <a:gd name="connsiteY349" fmla="*/ 338399 h 937592"/>
                    <a:gd name="connsiteX350" fmla="*/ 198476 w 1149074"/>
                    <a:gd name="connsiteY350" fmla="*/ 337586 h 937592"/>
                    <a:gd name="connsiteX351" fmla="*/ 200978 w 1149074"/>
                    <a:gd name="connsiteY351" fmla="*/ 336311 h 937592"/>
                    <a:gd name="connsiteX352" fmla="*/ 202034 w 1149074"/>
                    <a:gd name="connsiteY352" fmla="*/ 335145 h 937592"/>
                    <a:gd name="connsiteX353" fmla="*/ 203661 w 1149074"/>
                    <a:gd name="connsiteY353" fmla="*/ 333129 h 937592"/>
                    <a:gd name="connsiteX354" fmla="*/ 206102 w 1149074"/>
                    <a:gd name="connsiteY354" fmla="*/ 328673 h 937592"/>
                    <a:gd name="connsiteX355" fmla="*/ 208264 w 1149074"/>
                    <a:gd name="connsiteY355" fmla="*/ 325492 h 937592"/>
                    <a:gd name="connsiteX356" fmla="*/ 211615 w 1149074"/>
                    <a:gd name="connsiteY356" fmla="*/ 321897 h 937592"/>
                    <a:gd name="connsiteX357" fmla="*/ 213606 w 1149074"/>
                    <a:gd name="connsiteY357" fmla="*/ 320270 h 937592"/>
                    <a:gd name="connsiteX358" fmla="*/ 214918 w 1149074"/>
                    <a:gd name="connsiteY358" fmla="*/ 319602 h 937592"/>
                    <a:gd name="connsiteX359" fmla="*/ 217043 w 1149074"/>
                    <a:gd name="connsiteY359" fmla="*/ 319262 h 937592"/>
                    <a:gd name="connsiteX360" fmla="*/ 218391 w 1149074"/>
                    <a:gd name="connsiteY360" fmla="*/ 318376 h 937592"/>
                    <a:gd name="connsiteX361" fmla="*/ 220443 w 1149074"/>
                    <a:gd name="connsiteY361" fmla="*/ 315923 h 937592"/>
                    <a:gd name="connsiteX362" fmla="*/ 228506 w 1149074"/>
                    <a:gd name="connsiteY362" fmla="*/ 302724 h 937592"/>
                    <a:gd name="connsiteX363" fmla="*/ 232076 w 1149074"/>
                    <a:gd name="connsiteY363" fmla="*/ 292183 h 937592"/>
                    <a:gd name="connsiteX364" fmla="*/ 235184 w 1149074"/>
                    <a:gd name="connsiteY364" fmla="*/ 287496 h 937592"/>
                    <a:gd name="connsiteX365" fmla="*/ 235524 w 1149074"/>
                    <a:gd name="connsiteY365" fmla="*/ 285080 h 937592"/>
                    <a:gd name="connsiteX366" fmla="*/ 234869 w 1149074"/>
                    <a:gd name="connsiteY366" fmla="*/ 282906 h 937592"/>
                    <a:gd name="connsiteX367" fmla="*/ 234711 w 1149074"/>
                    <a:gd name="connsiteY367" fmla="*/ 280866 h 937592"/>
                    <a:gd name="connsiteX368" fmla="*/ 235294 w 1149074"/>
                    <a:gd name="connsiteY368" fmla="*/ 279761 h 937592"/>
                    <a:gd name="connsiteX369" fmla="*/ 235937 w 1149074"/>
                    <a:gd name="connsiteY369" fmla="*/ 278717 h 937592"/>
                    <a:gd name="connsiteX370" fmla="*/ 236751 w 1149074"/>
                    <a:gd name="connsiteY370" fmla="*/ 277806 h 937592"/>
                    <a:gd name="connsiteX371" fmla="*/ 239143 w 1149074"/>
                    <a:gd name="connsiteY371" fmla="*/ 276398 h 937592"/>
                    <a:gd name="connsiteX372" fmla="*/ 241778 w 1149074"/>
                    <a:gd name="connsiteY372" fmla="*/ 275632 h 937592"/>
                    <a:gd name="connsiteX373" fmla="*/ 258244 w 1149074"/>
                    <a:gd name="connsiteY373" fmla="*/ 274649 h 937592"/>
                    <a:gd name="connsiteX374" fmla="*/ 260769 w 1149074"/>
                    <a:gd name="connsiteY374" fmla="*/ 275123 h 937592"/>
                    <a:gd name="connsiteX375" fmla="*/ 262980 w 1149074"/>
                    <a:gd name="connsiteY375" fmla="*/ 276167 h 937592"/>
                    <a:gd name="connsiteX376" fmla="*/ 264558 w 1149074"/>
                    <a:gd name="connsiteY376" fmla="*/ 277600 h 937592"/>
                    <a:gd name="connsiteX377" fmla="*/ 265530 w 1149074"/>
                    <a:gd name="connsiteY377" fmla="*/ 277600 h 937592"/>
                    <a:gd name="connsiteX378" fmla="*/ 265845 w 1149074"/>
                    <a:gd name="connsiteY378" fmla="*/ 277308 h 937592"/>
                    <a:gd name="connsiteX379" fmla="*/ 267800 w 1149074"/>
                    <a:gd name="connsiteY379" fmla="*/ 276191 h 937592"/>
                    <a:gd name="connsiteX380" fmla="*/ 270520 w 1149074"/>
                    <a:gd name="connsiteY380" fmla="*/ 275232 h 937592"/>
                    <a:gd name="connsiteX381" fmla="*/ 274576 w 1149074"/>
                    <a:gd name="connsiteY381" fmla="*/ 274467 h 937592"/>
                    <a:gd name="connsiteX382" fmla="*/ 278729 w 1149074"/>
                    <a:gd name="connsiteY382" fmla="*/ 274272 h 937592"/>
                    <a:gd name="connsiteX383" fmla="*/ 297636 w 1149074"/>
                    <a:gd name="connsiteY383" fmla="*/ 271067 h 937592"/>
                    <a:gd name="connsiteX384" fmla="*/ 301084 w 1149074"/>
                    <a:gd name="connsiteY384" fmla="*/ 271541 h 937592"/>
                    <a:gd name="connsiteX385" fmla="*/ 304387 w 1149074"/>
                    <a:gd name="connsiteY385" fmla="*/ 273410 h 937592"/>
                    <a:gd name="connsiteX386" fmla="*/ 306391 w 1149074"/>
                    <a:gd name="connsiteY386" fmla="*/ 275584 h 937592"/>
                    <a:gd name="connsiteX387" fmla="*/ 307216 w 1149074"/>
                    <a:gd name="connsiteY387" fmla="*/ 276361 h 937592"/>
                    <a:gd name="connsiteX388" fmla="*/ 308151 w 1149074"/>
                    <a:gd name="connsiteY388" fmla="*/ 276908 h 937592"/>
                    <a:gd name="connsiteX389" fmla="*/ 309414 w 1149074"/>
                    <a:gd name="connsiteY389" fmla="*/ 277272 h 937592"/>
                    <a:gd name="connsiteX390" fmla="*/ 311224 w 1149074"/>
                    <a:gd name="connsiteY390" fmla="*/ 277697 h 937592"/>
                    <a:gd name="connsiteX391" fmla="*/ 313288 w 1149074"/>
                    <a:gd name="connsiteY391" fmla="*/ 278486 h 937592"/>
                    <a:gd name="connsiteX392" fmla="*/ 315522 w 1149074"/>
                    <a:gd name="connsiteY392" fmla="*/ 279895 h 937592"/>
                    <a:gd name="connsiteX393" fmla="*/ 318813 w 1149074"/>
                    <a:gd name="connsiteY393" fmla="*/ 283319 h 937592"/>
                    <a:gd name="connsiteX394" fmla="*/ 319396 w 1149074"/>
                    <a:gd name="connsiteY394" fmla="*/ 283513 h 937592"/>
                    <a:gd name="connsiteX395" fmla="*/ 320270 w 1149074"/>
                    <a:gd name="connsiteY395" fmla="*/ 283647 h 937592"/>
                    <a:gd name="connsiteX396" fmla="*/ 328855 w 1149074"/>
                    <a:gd name="connsiteY396" fmla="*/ 282906 h 937592"/>
                    <a:gd name="connsiteX397" fmla="*/ 331150 w 1149074"/>
                    <a:gd name="connsiteY397" fmla="*/ 282408 h 937592"/>
                    <a:gd name="connsiteX398" fmla="*/ 332971 w 1149074"/>
                    <a:gd name="connsiteY398" fmla="*/ 281558 h 937592"/>
                    <a:gd name="connsiteX399" fmla="*/ 335461 w 1149074"/>
                    <a:gd name="connsiteY399" fmla="*/ 279276 h 937592"/>
                    <a:gd name="connsiteX400" fmla="*/ 337440 w 1149074"/>
                    <a:gd name="connsiteY400" fmla="*/ 276956 h 937592"/>
                    <a:gd name="connsiteX401" fmla="*/ 339432 w 1149074"/>
                    <a:gd name="connsiteY401" fmla="*/ 273653 h 937592"/>
                    <a:gd name="connsiteX402" fmla="*/ 344568 w 1149074"/>
                    <a:gd name="connsiteY402" fmla="*/ 259082 h 937592"/>
                    <a:gd name="connsiteX403" fmla="*/ 346110 w 1149074"/>
                    <a:gd name="connsiteY403" fmla="*/ 256289 h 937592"/>
                    <a:gd name="connsiteX404" fmla="*/ 350251 w 1149074"/>
                    <a:gd name="connsiteY404" fmla="*/ 250800 h 937592"/>
                    <a:gd name="connsiteX405" fmla="*/ 350409 w 1149074"/>
                    <a:gd name="connsiteY405" fmla="*/ 250169 h 937592"/>
                    <a:gd name="connsiteX406" fmla="*/ 350008 w 1149074"/>
                    <a:gd name="connsiteY406" fmla="*/ 249489 h 937592"/>
                    <a:gd name="connsiteX407" fmla="*/ 349850 w 1149074"/>
                    <a:gd name="connsiteY407" fmla="*/ 249015 h 937592"/>
                    <a:gd name="connsiteX408" fmla="*/ 349668 w 1149074"/>
                    <a:gd name="connsiteY408" fmla="*/ 247971 h 937592"/>
                    <a:gd name="connsiteX409" fmla="*/ 349753 w 1149074"/>
                    <a:gd name="connsiteY409" fmla="*/ 246283 h 937592"/>
                    <a:gd name="connsiteX410" fmla="*/ 350093 w 1149074"/>
                    <a:gd name="connsiteY410" fmla="*/ 244826 h 937592"/>
                    <a:gd name="connsiteX411" fmla="*/ 350846 w 1149074"/>
                    <a:gd name="connsiteY411" fmla="*/ 242750 h 937592"/>
                    <a:gd name="connsiteX412" fmla="*/ 352024 w 1149074"/>
                    <a:gd name="connsiteY412" fmla="*/ 240406 h 937592"/>
                    <a:gd name="connsiteX413" fmla="*/ 353287 w 1149074"/>
                    <a:gd name="connsiteY413" fmla="*/ 238463 h 937592"/>
                    <a:gd name="connsiteX414" fmla="*/ 355885 w 1149074"/>
                    <a:gd name="connsiteY414" fmla="*/ 235755 h 937592"/>
                    <a:gd name="connsiteX415" fmla="*/ 358945 w 1149074"/>
                    <a:gd name="connsiteY415" fmla="*/ 235512 h 937592"/>
                    <a:gd name="connsiteX416" fmla="*/ 361568 w 1149074"/>
                    <a:gd name="connsiteY416" fmla="*/ 235694 h 937592"/>
                    <a:gd name="connsiteX417" fmla="*/ 370663 w 1149074"/>
                    <a:gd name="connsiteY417" fmla="*/ 239434 h 937592"/>
                    <a:gd name="connsiteX418" fmla="*/ 371926 w 1149074"/>
                    <a:gd name="connsiteY418" fmla="*/ 239811 h 937592"/>
                    <a:gd name="connsiteX419" fmla="*/ 373152 w 1149074"/>
                    <a:gd name="connsiteY419" fmla="*/ 240066 h 937592"/>
                    <a:gd name="connsiteX420" fmla="*/ 374160 w 1149074"/>
                    <a:gd name="connsiteY420" fmla="*/ 240030 h 937592"/>
                    <a:gd name="connsiteX421" fmla="*/ 374670 w 1149074"/>
                    <a:gd name="connsiteY421" fmla="*/ 239337 h 937592"/>
                    <a:gd name="connsiteX422" fmla="*/ 374755 w 1149074"/>
                    <a:gd name="connsiteY422" fmla="*/ 238123 h 937592"/>
                    <a:gd name="connsiteX423" fmla="*/ 374488 w 1149074"/>
                    <a:gd name="connsiteY423" fmla="*/ 235245 h 937592"/>
                    <a:gd name="connsiteX424" fmla="*/ 374039 w 1149074"/>
                    <a:gd name="connsiteY424" fmla="*/ 233314 h 937592"/>
                    <a:gd name="connsiteX425" fmla="*/ 373456 w 1149074"/>
                    <a:gd name="connsiteY425" fmla="*/ 231712 h 937592"/>
                    <a:gd name="connsiteX426" fmla="*/ 372849 w 1149074"/>
                    <a:gd name="connsiteY426" fmla="*/ 231226 h 937592"/>
                    <a:gd name="connsiteX427" fmla="*/ 366802 w 1149074"/>
                    <a:gd name="connsiteY427" fmla="*/ 225749 h 937592"/>
                    <a:gd name="connsiteX428" fmla="*/ 365211 w 1149074"/>
                    <a:gd name="connsiteY428" fmla="*/ 223807 h 937592"/>
                    <a:gd name="connsiteX429" fmla="*/ 363997 w 1149074"/>
                    <a:gd name="connsiteY429" fmla="*/ 221463 h 937592"/>
                    <a:gd name="connsiteX430" fmla="*/ 363268 w 1149074"/>
                    <a:gd name="connsiteY430" fmla="*/ 218877 h 937592"/>
                    <a:gd name="connsiteX431" fmla="*/ 363001 w 1149074"/>
                    <a:gd name="connsiteY431" fmla="*/ 213485 h 937592"/>
                    <a:gd name="connsiteX432" fmla="*/ 363256 w 1149074"/>
                    <a:gd name="connsiteY432" fmla="*/ 210838 h 937592"/>
                    <a:gd name="connsiteX433" fmla="*/ 364847 w 1149074"/>
                    <a:gd name="connsiteY433" fmla="*/ 206041 h 937592"/>
                    <a:gd name="connsiteX434" fmla="*/ 366134 w 1149074"/>
                    <a:gd name="connsiteY434" fmla="*/ 200565 h 937592"/>
                    <a:gd name="connsiteX435" fmla="*/ 366207 w 1149074"/>
                    <a:gd name="connsiteY435" fmla="*/ 198391 h 937592"/>
                    <a:gd name="connsiteX436" fmla="*/ 368162 w 1149074"/>
                    <a:gd name="connsiteY436" fmla="*/ 194481 h 937592"/>
                    <a:gd name="connsiteX437" fmla="*/ 385587 w 1149074"/>
                    <a:gd name="connsiteY437" fmla="*/ 166431 h 937592"/>
                    <a:gd name="connsiteX438" fmla="*/ 388185 w 1149074"/>
                    <a:gd name="connsiteY438" fmla="*/ 160955 h 937592"/>
                    <a:gd name="connsiteX439" fmla="*/ 388756 w 1149074"/>
                    <a:gd name="connsiteY439" fmla="*/ 158040 h 937592"/>
                    <a:gd name="connsiteX440" fmla="*/ 388805 w 1149074"/>
                    <a:gd name="connsiteY440" fmla="*/ 153839 h 937592"/>
                    <a:gd name="connsiteX441" fmla="*/ 389691 w 1149074"/>
                    <a:gd name="connsiteY441" fmla="*/ 150548 h 937592"/>
                    <a:gd name="connsiteX442" fmla="*/ 392095 w 1149074"/>
                    <a:gd name="connsiteY442" fmla="*/ 147755 h 937592"/>
                    <a:gd name="connsiteX443" fmla="*/ 396382 w 1149074"/>
                    <a:gd name="connsiteY443" fmla="*/ 147306 h 937592"/>
                    <a:gd name="connsiteX444" fmla="*/ 398471 w 1149074"/>
                    <a:gd name="connsiteY444" fmla="*/ 147950 h 937592"/>
                    <a:gd name="connsiteX445" fmla="*/ 399320 w 1149074"/>
                    <a:gd name="connsiteY445" fmla="*/ 148496 h 937592"/>
                    <a:gd name="connsiteX446" fmla="*/ 399345 w 1149074"/>
                    <a:gd name="connsiteY446" fmla="*/ 145897 h 937592"/>
                    <a:gd name="connsiteX447" fmla="*/ 400158 w 1149074"/>
                    <a:gd name="connsiteY447" fmla="*/ 144622 h 937592"/>
                    <a:gd name="connsiteX448" fmla="*/ 401227 w 1149074"/>
                    <a:gd name="connsiteY448" fmla="*/ 143518 h 937592"/>
                    <a:gd name="connsiteX449" fmla="*/ 402040 w 1149074"/>
                    <a:gd name="connsiteY449" fmla="*/ 143020 h 937592"/>
                    <a:gd name="connsiteX450" fmla="*/ 404032 w 1149074"/>
                    <a:gd name="connsiteY450" fmla="*/ 142461 h 937592"/>
                    <a:gd name="connsiteX451" fmla="*/ 407080 w 1149074"/>
                    <a:gd name="connsiteY451" fmla="*/ 142655 h 937592"/>
                    <a:gd name="connsiteX452" fmla="*/ 407590 w 1149074"/>
                    <a:gd name="connsiteY452" fmla="*/ 141332 h 937592"/>
                    <a:gd name="connsiteX453" fmla="*/ 406995 w 1149074"/>
                    <a:gd name="connsiteY453" fmla="*/ 138988 h 937592"/>
                    <a:gd name="connsiteX454" fmla="*/ 406800 w 1149074"/>
                    <a:gd name="connsiteY454" fmla="*/ 137798 h 937592"/>
                    <a:gd name="connsiteX455" fmla="*/ 407153 w 1149074"/>
                    <a:gd name="connsiteY455" fmla="*/ 135017 h 937592"/>
                    <a:gd name="connsiteX456" fmla="*/ 408865 w 1149074"/>
                    <a:gd name="connsiteY456" fmla="*/ 129917 h 937592"/>
                    <a:gd name="connsiteX457" fmla="*/ 408986 w 1149074"/>
                    <a:gd name="connsiteY457" fmla="*/ 129128 h 937592"/>
                    <a:gd name="connsiteX458" fmla="*/ 408695 w 1149074"/>
                    <a:gd name="connsiteY458" fmla="*/ 128764 h 937592"/>
                    <a:gd name="connsiteX459" fmla="*/ 407736 w 1149074"/>
                    <a:gd name="connsiteY459" fmla="*/ 128047 h 937592"/>
                    <a:gd name="connsiteX460" fmla="*/ 402781 w 1149074"/>
                    <a:gd name="connsiteY460" fmla="*/ 125303 h 937592"/>
                    <a:gd name="connsiteX461" fmla="*/ 400693 w 1149074"/>
                    <a:gd name="connsiteY461" fmla="*/ 123652 h 937592"/>
                    <a:gd name="connsiteX462" fmla="*/ 398689 w 1149074"/>
                    <a:gd name="connsiteY462" fmla="*/ 121211 h 937592"/>
                    <a:gd name="connsiteX463" fmla="*/ 398070 w 1149074"/>
                    <a:gd name="connsiteY463" fmla="*/ 118782 h 937592"/>
                    <a:gd name="connsiteX464" fmla="*/ 398033 w 1149074"/>
                    <a:gd name="connsiteY464" fmla="*/ 116026 h 937592"/>
                    <a:gd name="connsiteX465" fmla="*/ 398980 w 1149074"/>
                    <a:gd name="connsiteY465" fmla="*/ 108351 h 937592"/>
                    <a:gd name="connsiteX466" fmla="*/ 400073 w 1149074"/>
                    <a:gd name="connsiteY466" fmla="*/ 105765 h 937592"/>
                    <a:gd name="connsiteX467" fmla="*/ 401786 w 1149074"/>
                    <a:gd name="connsiteY467" fmla="*/ 103737 h 937592"/>
                    <a:gd name="connsiteX468" fmla="*/ 405732 w 1149074"/>
                    <a:gd name="connsiteY468" fmla="*/ 101369 h 937592"/>
                    <a:gd name="connsiteX469" fmla="*/ 408331 w 1149074"/>
                    <a:gd name="connsiteY469" fmla="*/ 100458 h 937592"/>
                    <a:gd name="connsiteX470" fmla="*/ 409023 w 1149074"/>
                    <a:gd name="connsiteY470" fmla="*/ 99997 h 937592"/>
                    <a:gd name="connsiteX471" fmla="*/ 409059 w 1149074"/>
                    <a:gd name="connsiteY471" fmla="*/ 99681 h 937592"/>
                    <a:gd name="connsiteX472" fmla="*/ 408853 w 1149074"/>
                    <a:gd name="connsiteY472" fmla="*/ 99050 h 937592"/>
                    <a:gd name="connsiteX473" fmla="*/ 408500 w 1149074"/>
                    <a:gd name="connsiteY473" fmla="*/ 98904 h 937592"/>
                    <a:gd name="connsiteX474" fmla="*/ 405829 w 1149074"/>
                    <a:gd name="connsiteY474" fmla="*/ 96111 h 937592"/>
                    <a:gd name="connsiteX475" fmla="*/ 404020 w 1149074"/>
                    <a:gd name="connsiteY475" fmla="*/ 93234 h 937592"/>
                    <a:gd name="connsiteX476" fmla="*/ 404821 w 1149074"/>
                    <a:gd name="connsiteY476" fmla="*/ 89821 h 937592"/>
                    <a:gd name="connsiteX477" fmla="*/ 406509 w 1149074"/>
                    <a:gd name="connsiteY477" fmla="*/ 85996 h 937592"/>
                    <a:gd name="connsiteX478" fmla="*/ 415847 w 1149074"/>
                    <a:gd name="connsiteY478" fmla="*/ 72421 h 937592"/>
                    <a:gd name="connsiteX479" fmla="*/ 419660 w 1149074"/>
                    <a:gd name="connsiteY479" fmla="*/ 68608 h 937592"/>
                    <a:gd name="connsiteX480" fmla="*/ 423254 w 1149074"/>
                    <a:gd name="connsiteY480" fmla="*/ 66240 h 937592"/>
                    <a:gd name="connsiteX481" fmla="*/ 428051 w 1149074"/>
                    <a:gd name="connsiteY481" fmla="*/ 63763 h 937592"/>
                    <a:gd name="connsiteX482" fmla="*/ 439125 w 1149074"/>
                    <a:gd name="connsiteY482" fmla="*/ 59695 h 937592"/>
                    <a:gd name="connsiteX483" fmla="*/ 440691 w 1149074"/>
                    <a:gd name="connsiteY483" fmla="*/ 58565 h 937592"/>
                    <a:gd name="connsiteX484" fmla="*/ 456028 w 1149074"/>
                    <a:gd name="connsiteY484" fmla="*/ 44978 h 937592"/>
                    <a:gd name="connsiteX485" fmla="*/ 460982 w 1149074"/>
                    <a:gd name="connsiteY485" fmla="*/ 41590 h 937592"/>
                    <a:gd name="connsiteX486" fmla="*/ 468462 w 1149074"/>
                    <a:gd name="connsiteY486" fmla="*/ 39137 h 937592"/>
                    <a:gd name="connsiteX487" fmla="*/ 476829 w 1149074"/>
                    <a:gd name="connsiteY487" fmla="*/ 38299 h 937592"/>
                    <a:gd name="connsiteX488" fmla="*/ 478990 w 1149074"/>
                    <a:gd name="connsiteY488" fmla="*/ 37813 h 937592"/>
                    <a:gd name="connsiteX489" fmla="*/ 480994 w 1149074"/>
                    <a:gd name="connsiteY489" fmla="*/ 36878 h 937592"/>
                    <a:gd name="connsiteX490" fmla="*/ 482245 w 1149074"/>
                    <a:gd name="connsiteY490" fmla="*/ 35785 h 937592"/>
                    <a:gd name="connsiteX491" fmla="*/ 487150 w 1149074"/>
                    <a:gd name="connsiteY491" fmla="*/ 29969 h 937592"/>
                    <a:gd name="connsiteX492" fmla="*/ 487879 w 1149074"/>
                    <a:gd name="connsiteY492" fmla="*/ 28900 h 937592"/>
                    <a:gd name="connsiteX493" fmla="*/ 488219 w 1149074"/>
                    <a:gd name="connsiteY493" fmla="*/ 27977 h 937592"/>
                    <a:gd name="connsiteX494" fmla="*/ 488498 w 1149074"/>
                    <a:gd name="connsiteY494" fmla="*/ 26921 h 937592"/>
                    <a:gd name="connsiteX495" fmla="*/ 488753 w 1149074"/>
                    <a:gd name="connsiteY495" fmla="*/ 25452 h 937592"/>
                    <a:gd name="connsiteX496" fmla="*/ 488826 w 1149074"/>
                    <a:gd name="connsiteY496" fmla="*/ 23630 h 937592"/>
                    <a:gd name="connsiteX497" fmla="*/ 488450 w 1149074"/>
                    <a:gd name="connsiteY497" fmla="*/ 20716 h 937592"/>
                    <a:gd name="connsiteX498" fmla="*/ 487733 w 1149074"/>
                    <a:gd name="connsiteY498" fmla="*/ 18409 h 937592"/>
                    <a:gd name="connsiteX499" fmla="*/ 484297 w 1149074"/>
                    <a:gd name="connsiteY499" fmla="*/ 12629 h 937592"/>
                    <a:gd name="connsiteX500" fmla="*/ 483289 w 1149074"/>
                    <a:gd name="connsiteY500" fmla="*/ 10273 h 937592"/>
                    <a:gd name="connsiteX501" fmla="*/ 484175 w 1149074"/>
                    <a:gd name="connsiteY501" fmla="*/ 2829 h 937592"/>
                    <a:gd name="connsiteX502" fmla="*/ 494460 w 1149074"/>
                    <a:gd name="connsiteY502" fmla="*/ 5112 h 937592"/>
                    <a:gd name="connsiteX503" fmla="*/ 500483 w 1149074"/>
                    <a:gd name="connsiteY503" fmla="*/ 7954 h 937592"/>
                    <a:gd name="connsiteX504" fmla="*/ 506567 w 1149074"/>
                    <a:gd name="connsiteY504" fmla="*/ 11803 h 937592"/>
                    <a:gd name="connsiteX505" fmla="*/ 518163 w 1149074"/>
                    <a:gd name="connsiteY505" fmla="*/ 26909 h 937592"/>
                    <a:gd name="connsiteX506" fmla="*/ 519718 w 1149074"/>
                    <a:gd name="connsiteY506" fmla="*/ 30479 h 937592"/>
                    <a:gd name="connsiteX507" fmla="*/ 520762 w 1149074"/>
                    <a:gd name="connsiteY507" fmla="*/ 32361 h 937592"/>
                    <a:gd name="connsiteX508" fmla="*/ 522571 w 1149074"/>
                    <a:gd name="connsiteY508" fmla="*/ 34826 h 937592"/>
                    <a:gd name="connsiteX509" fmla="*/ 527756 w 1149074"/>
                    <a:gd name="connsiteY509" fmla="*/ 38615 h 937592"/>
                    <a:gd name="connsiteX510" fmla="*/ 528910 w 1149074"/>
                    <a:gd name="connsiteY510" fmla="*/ 38942 h 937592"/>
                    <a:gd name="connsiteX511" fmla="*/ 533087 w 1149074"/>
                    <a:gd name="connsiteY511" fmla="*/ 38736 h 937592"/>
                    <a:gd name="connsiteX512" fmla="*/ 536463 w 1149074"/>
                    <a:gd name="connsiteY512" fmla="*/ 39453 h 937592"/>
                    <a:gd name="connsiteX513" fmla="*/ 548666 w 1149074"/>
                    <a:gd name="connsiteY513" fmla="*/ 45427 h 937592"/>
                    <a:gd name="connsiteX514" fmla="*/ 551447 w 1149074"/>
                    <a:gd name="connsiteY514" fmla="*/ 46034 h 937592"/>
                    <a:gd name="connsiteX515" fmla="*/ 568824 w 1149074"/>
                    <a:gd name="connsiteY515" fmla="*/ 45014 h 937592"/>
                    <a:gd name="connsiteX516" fmla="*/ 570779 w 1149074"/>
                    <a:gd name="connsiteY516" fmla="*/ 44625 h 937592"/>
                    <a:gd name="connsiteX517" fmla="*/ 581877 w 1149074"/>
                    <a:gd name="connsiteY517" fmla="*/ 38748 h 937592"/>
                    <a:gd name="connsiteX518" fmla="*/ 582776 w 1149074"/>
                    <a:gd name="connsiteY518" fmla="*/ 38105 h 937592"/>
                    <a:gd name="connsiteX519" fmla="*/ 583602 w 1149074"/>
                    <a:gd name="connsiteY519" fmla="*/ 37279 h 937592"/>
                    <a:gd name="connsiteX520" fmla="*/ 584002 w 1149074"/>
                    <a:gd name="connsiteY520" fmla="*/ 36077 h 937592"/>
                    <a:gd name="connsiteX521" fmla="*/ 584124 w 1149074"/>
                    <a:gd name="connsiteY521" fmla="*/ 35020 h 937592"/>
                    <a:gd name="connsiteX522" fmla="*/ 583990 w 1149074"/>
                    <a:gd name="connsiteY522" fmla="*/ 33672 h 937592"/>
                    <a:gd name="connsiteX523" fmla="*/ 584100 w 1149074"/>
                    <a:gd name="connsiteY523" fmla="*/ 31717 h 937592"/>
                    <a:gd name="connsiteX524" fmla="*/ 584937 w 1149074"/>
                    <a:gd name="connsiteY524" fmla="*/ 29386 h 937592"/>
                    <a:gd name="connsiteX525" fmla="*/ 585362 w 1149074"/>
                    <a:gd name="connsiteY525" fmla="*/ 28451 h 937592"/>
                    <a:gd name="connsiteX526" fmla="*/ 587876 w 1149074"/>
                    <a:gd name="connsiteY526" fmla="*/ 27103 h 937592"/>
                    <a:gd name="connsiteX527" fmla="*/ 591458 w 1149074"/>
                    <a:gd name="connsiteY527" fmla="*/ 26447 h 937592"/>
                    <a:gd name="connsiteX528" fmla="*/ 629963 w 1149074"/>
                    <a:gd name="connsiteY528" fmla="*/ 25585 h 937592"/>
                    <a:gd name="connsiteX529" fmla="*/ 632052 w 1149074"/>
                    <a:gd name="connsiteY529" fmla="*/ 24990 h 937592"/>
                    <a:gd name="connsiteX530" fmla="*/ 632392 w 1149074"/>
                    <a:gd name="connsiteY530" fmla="*/ 24772 h 937592"/>
                    <a:gd name="connsiteX531" fmla="*/ 632878 w 1149074"/>
                    <a:gd name="connsiteY531" fmla="*/ 24128 h 937592"/>
                    <a:gd name="connsiteX532" fmla="*/ 634894 w 1149074"/>
                    <a:gd name="connsiteY532" fmla="*/ 22525 h 937592"/>
                    <a:gd name="connsiteX533" fmla="*/ 637480 w 1149074"/>
                    <a:gd name="connsiteY533" fmla="*/ 21554 h 937592"/>
                    <a:gd name="connsiteX534" fmla="*/ 642349 w 1149074"/>
                    <a:gd name="connsiteY534" fmla="*/ 21080 h 937592"/>
                    <a:gd name="connsiteX535" fmla="*/ 646150 w 1149074"/>
                    <a:gd name="connsiteY535" fmla="*/ 21505 h 937592"/>
                    <a:gd name="connsiteX536" fmla="*/ 657892 w 1149074"/>
                    <a:gd name="connsiteY536" fmla="*/ 24347 h 937592"/>
                    <a:gd name="connsiteX537" fmla="*/ 663138 w 1149074"/>
                    <a:gd name="connsiteY537" fmla="*/ 26508 h 937592"/>
                    <a:gd name="connsiteX538" fmla="*/ 663806 w 1149074"/>
                    <a:gd name="connsiteY538" fmla="*/ 26411 h 937592"/>
                    <a:gd name="connsiteX539" fmla="*/ 666077 w 1149074"/>
                    <a:gd name="connsiteY539" fmla="*/ 23788 h 937592"/>
                    <a:gd name="connsiteX540" fmla="*/ 667777 w 1149074"/>
                    <a:gd name="connsiteY540" fmla="*/ 22550 h 937592"/>
                    <a:gd name="connsiteX541" fmla="*/ 670339 w 1149074"/>
                    <a:gd name="connsiteY541" fmla="*/ 21699 h 937592"/>
                    <a:gd name="connsiteX542" fmla="*/ 676592 w 1149074"/>
                    <a:gd name="connsiteY542" fmla="*/ 21044 h 937592"/>
                    <a:gd name="connsiteX543" fmla="*/ 685554 w 1149074"/>
                    <a:gd name="connsiteY543" fmla="*/ 15154 h 937592"/>
                    <a:gd name="connsiteX544" fmla="*/ 693678 w 1149074"/>
                    <a:gd name="connsiteY544" fmla="*/ 8622 h 937592"/>
                    <a:gd name="connsiteX545" fmla="*/ 699263 w 1149074"/>
                    <a:gd name="connsiteY545" fmla="*/ 23727 h 937592"/>
                    <a:gd name="connsiteX546" fmla="*/ 701789 w 1149074"/>
                    <a:gd name="connsiteY546" fmla="*/ 34486 h 937592"/>
                    <a:gd name="connsiteX547" fmla="*/ 702639 w 1149074"/>
                    <a:gd name="connsiteY547" fmla="*/ 42015 h 937592"/>
                    <a:gd name="connsiteX548" fmla="*/ 702663 w 1149074"/>
                    <a:gd name="connsiteY548" fmla="*/ 47600 h 937592"/>
                    <a:gd name="connsiteX549" fmla="*/ 701497 w 1149074"/>
                    <a:gd name="connsiteY549" fmla="*/ 53368 h 937592"/>
                    <a:gd name="connsiteX550" fmla="*/ 700368 w 1149074"/>
                    <a:gd name="connsiteY550" fmla="*/ 56635 h 937592"/>
                    <a:gd name="connsiteX551" fmla="*/ 699069 w 1149074"/>
                    <a:gd name="connsiteY551" fmla="*/ 59088 h 937592"/>
                    <a:gd name="connsiteX552" fmla="*/ 689913 w 1149074"/>
                    <a:gd name="connsiteY552" fmla="*/ 71923 h 937592"/>
                    <a:gd name="connsiteX553" fmla="*/ 684424 w 1149074"/>
                    <a:gd name="connsiteY553" fmla="*/ 84187 h 937592"/>
                    <a:gd name="connsiteX554" fmla="*/ 682470 w 1149074"/>
                    <a:gd name="connsiteY554" fmla="*/ 87466 h 937592"/>
                    <a:gd name="connsiteX555" fmla="*/ 681947 w 1149074"/>
                    <a:gd name="connsiteY555" fmla="*/ 88170 h 937592"/>
                    <a:gd name="connsiteX556" fmla="*/ 686938 w 1149074"/>
                    <a:gd name="connsiteY556" fmla="*/ 86349 h 937592"/>
                    <a:gd name="connsiteX557" fmla="*/ 688929 w 1149074"/>
                    <a:gd name="connsiteY557" fmla="*/ 85972 h 937592"/>
                    <a:gd name="connsiteX558" fmla="*/ 691504 w 1149074"/>
                    <a:gd name="connsiteY558" fmla="*/ 85875 h 937592"/>
                    <a:gd name="connsiteX559" fmla="*/ 695256 w 1149074"/>
                    <a:gd name="connsiteY559" fmla="*/ 86324 h 937592"/>
                    <a:gd name="connsiteX560" fmla="*/ 699288 w 1149074"/>
                    <a:gd name="connsiteY560" fmla="*/ 87551 h 937592"/>
                    <a:gd name="connsiteX561" fmla="*/ 701741 w 1149074"/>
                    <a:gd name="connsiteY561" fmla="*/ 88668 h 937592"/>
                    <a:gd name="connsiteX562" fmla="*/ 716749 w 1149074"/>
                    <a:gd name="connsiteY562" fmla="*/ 98504 h 937592"/>
                    <a:gd name="connsiteX563" fmla="*/ 721339 w 1149074"/>
                    <a:gd name="connsiteY563" fmla="*/ 103616 h 937592"/>
                    <a:gd name="connsiteX564" fmla="*/ 721691 w 1149074"/>
                    <a:gd name="connsiteY564" fmla="*/ 103409 h 937592"/>
                    <a:gd name="connsiteX565" fmla="*/ 729778 w 1149074"/>
                    <a:gd name="connsiteY565" fmla="*/ 93998 h 937592"/>
                    <a:gd name="connsiteX566" fmla="*/ 738667 w 1149074"/>
                    <a:gd name="connsiteY566" fmla="*/ 85620 h 937592"/>
                    <a:gd name="connsiteX567" fmla="*/ 741363 w 1149074"/>
                    <a:gd name="connsiteY567" fmla="*/ 84053 h 937592"/>
                    <a:gd name="connsiteX568" fmla="*/ 750081 w 1149074"/>
                    <a:gd name="connsiteY568" fmla="*/ 80981 h 937592"/>
                    <a:gd name="connsiteX569" fmla="*/ 752619 w 1149074"/>
                    <a:gd name="connsiteY569" fmla="*/ 79196 h 937592"/>
                    <a:gd name="connsiteX570" fmla="*/ 755910 w 1149074"/>
                    <a:gd name="connsiteY570" fmla="*/ 78006 h 937592"/>
                    <a:gd name="connsiteX571" fmla="*/ 759249 w 1149074"/>
                    <a:gd name="connsiteY571" fmla="*/ 77411 h 937592"/>
                    <a:gd name="connsiteX572" fmla="*/ 761945 w 1149074"/>
                    <a:gd name="connsiteY572" fmla="*/ 77423 h 937592"/>
                    <a:gd name="connsiteX573" fmla="*/ 764580 w 1149074"/>
                    <a:gd name="connsiteY573" fmla="*/ 77800 h 937592"/>
                    <a:gd name="connsiteX574" fmla="*/ 767506 w 1149074"/>
                    <a:gd name="connsiteY574" fmla="*/ 78820 h 937592"/>
                    <a:gd name="connsiteX575" fmla="*/ 784774 w 1149074"/>
                    <a:gd name="connsiteY575" fmla="*/ 88983 h 937592"/>
                    <a:gd name="connsiteX576" fmla="*/ 795120 w 1149074"/>
                    <a:gd name="connsiteY576" fmla="*/ 91716 h 937592"/>
                    <a:gd name="connsiteX577" fmla="*/ 803498 w 1149074"/>
                    <a:gd name="connsiteY577" fmla="*/ 93124 h 937592"/>
                    <a:gd name="connsiteX578" fmla="*/ 807335 w 1149074"/>
                    <a:gd name="connsiteY578" fmla="*/ 94606 h 937592"/>
                    <a:gd name="connsiteX579" fmla="*/ 810905 w 1149074"/>
                    <a:gd name="connsiteY579" fmla="*/ 92881 h 937592"/>
                    <a:gd name="connsiteX580" fmla="*/ 813492 w 1149074"/>
                    <a:gd name="connsiteY580" fmla="*/ 91861 h 937592"/>
                    <a:gd name="connsiteX581" fmla="*/ 816892 w 1149074"/>
                    <a:gd name="connsiteY581" fmla="*/ 90938 h 937592"/>
                    <a:gd name="connsiteX582" fmla="*/ 818774 w 1149074"/>
                    <a:gd name="connsiteY582" fmla="*/ 90101 h 937592"/>
                    <a:gd name="connsiteX583" fmla="*/ 820049 w 1149074"/>
                    <a:gd name="connsiteY583" fmla="*/ 89178 h 937592"/>
                    <a:gd name="connsiteX584" fmla="*/ 821701 w 1149074"/>
                    <a:gd name="connsiteY584" fmla="*/ 87599 h 937592"/>
                    <a:gd name="connsiteX585" fmla="*/ 824700 w 1149074"/>
                    <a:gd name="connsiteY585" fmla="*/ 85608 h 937592"/>
                    <a:gd name="connsiteX586" fmla="*/ 828768 w 1149074"/>
                    <a:gd name="connsiteY586" fmla="*/ 84078 h 937592"/>
                    <a:gd name="connsiteX587" fmla="*/ 832107 w 1149074"/>
                    <a:gd name="connsiteY587" fmla="*/ 85838 h 937592"/>
                    <a:gd name="connsiteX588" fmla="*/ 833382 w 1149074"/>
                    <a:gd name="connsiteY588" fmla="*/ 89372 h 937592"/>
                    <a:gd name="connsiteX589" fmla="*/ 833127 w 1149074"/>
                    <a:gd name="connsiteY589" fmla="*/ 92165 h 937592"/>
                    <a:gd name="connsiteX590" fmla="*/ 832192 w 1149074"/>
                    <a:gd name="connsiteY590" fmla="*/ 94861 h 937592"/>
                    <a:gd name="connsiteX591" fmla="*/ 829108 w 1149074"/>
                    <a:gd name="connsiteY591" fmla="*/ 98965 h 937592"/>
                    <a:gd name="connsiteX592" fmla="*/ 828889 w 1149074"/>
                    <a:gd name="connsiteY592" fmla="*/ 99803 h 937592"/>
                    <a:gd name="connsiteX593" fmla="*/ 828998 w 1149074"/>
                    <a:gd name="connsiteY593" fmla="*/ 100446 h 937592"/>
                    <a:gd name="connsiteX594" fmla="*/ 829071 w 1149074"/>
                    <a:gd name="connsiteY594" fmla="*/ 102171 h 937592"/>
                    <a:gd name="connsiteX595" fmla="*/ 828829 w 1149074"/>
                    <a:gd name="connsiteY595" fmla="*/ 105243 h 937592"/>
                    <a:gd name="connsiteX596" fmla="*/ 829375 w 1149074"/>
                    <a:gd name="connsiteY596" fmla="*/ 107926 h 937592"/>
                    <a:gd name="connsiteX597" fmla="*/ 829545 w 1149074"/>
                    <a:gd name="connsiteY597" fmla="*/ 108339 h 937592"/>
                    <a:gd name="connsiteX598" fmla="*/ 836867 w 1149074"/>
                    <a:gd name="connsiteY598" fmla="*/ 112298 h 937592"/>
                    <a:gd name="connsiteX599" fmla="*/ 843813 w 1149074"/>
                    <a:gd name="connsiteY599" fmla="*/ 110622 h 937592"/>
                    <a:gd name="connsiteX600" fmla="*/ 846678 w 1149074"/>
                    <a:gd name="connsiteY600" fmla="*/ 108716 h 937592"/>
                    <a:gd name="connsiteX601" fmla="*/ 849921 w 1149074"/>
                    <a:gd name="connsiteY601" fmla="*/ 106069 h 937592"/>
                    <a:gd name="connsiteX602" fmla="*/ 858251 w 1149074"/>
                    <a:gd name="connsiteY602" fmla="*/ 94181 h 937592"/>
                    <a:gd name="connsiteX603" fmla="*/ 859489 w 1149074"/>
                    <a:gd name="connsiteY603" fmla="*/ 92043 h 937592"/>
                    <a:gd name="connsiteX604" fmla="*/ 859878 w 1149074"/>
                    <a:gd name="connsiteY604" fmla="*/ 91036 h 937592"/>
                    <a:gd name="connsiteX605" fmla="*/ 859635 w 1149074"/>
                    <a:gd name="connsiteY605" fmla="*/ 90854 h 937592"/>
                    <a:gd name="connsiteX606" fmla="*/ 859441 w 1149074"/>
                    <a:gd name="connsiteY606" fmla="*/ 89858 h 937592"/>
                    <a:gd name="connsiteX607" fmla="*/ 859295 w 1149074"/>
                    <a:gd name="connsiteY607" fmla="*/ 86640 h 937592"/>
                    <a:gd name="connsiteX608" fmla="*/ 860193 w 1149074"/>
                    <a:gd name="connsiteY608" fmla="*/ 82572 h 937592"/>
                    <a:gd name="connsiteX609" fmla="*/ 861724 w 1149074"/>
                    <a:gd name="connsiteY609" fmla="*/ 77946 h 937592"/>
                    <a:gd name="connsiteX610" fmla="*/ 862367 w 1149074"/>
                    <a:gd name="connsiteY610" fmla="*/ 75177 h 937592"/>
                    <a:gd name="connsiteX611" fmla="*/ 862003 w 1149074"/>
                    <a:gd name="connsiteY611" fmla="*/ 73404 h 937592"/>
                    <a:gd name="connsiteX612" fmla="*/ 859441 w 1149074"/>
                    <a:gd name="connsiteY612" fmla="*/ 69263 h 937592"/>
                    <a:gd name="connsiteX613" fmla="*/ 857777 w 1149074"/>
                    <a:gd name="connsiteY613" fmla="*/ 65086 h 937592"/>
                    <a:gd name="connsiteX614" fmla="*/ 857996 w 1149074"/>
                    <a:gd name="connsiteY614" fmla="*/ 60181 h 937592"/>
                    <a:gd name="connsiteX615" fmla="*/ 859441 w 1149074"/>
                    <a:gd name="connsiteY615" fmla="*/ 57254 h 937592"/>
                    <a:gd name="connsiteX616" fmla="*/ 862719 w 1149074"/>
                    <a:gd name="connsiteY616" fmla="*/ 52373 h 937592"/>
                    <a:gd name="connsiteX617" fmla="*/ 863205 w 1149074"/>
                    <a:gd name="connsiteY617" fmla="*/ 49895 h 937592"/>
                    <a:gd name="connsiteX618" fmla="*/ 863205 w 1149074"/>
                    <a:gd name="connsiteY618" fmla="*/ 46726 h 937592"/>
                    <a:gd name="connsiteX619" fmla="*/ 861954 w 1149074"/>
                    <a:gd name="connsiteY619" fmla="*/ 35579 h 937592"/>
                    <a:gd name="connsiteX620" fmla="*/ 861250 w 1149074"/>
                    <a:gd name="connsiteY620" fmla="*/ 32531 h 937592"/>
                    <a:gd name="connsiteX621" fmla="*/ 860084 w 1149074"/>
                    <a:gd name="connsiteY621" fmla="*/ 30552 h 937592"/>
                    <a:gd name="connsiteX622" fmla="*/ 855834 w 1149074"/>
                    <a:gd name="connsiteY622" fmla="*/ 25488 h 937592"/>
                    <a:gd name="connsiteX623" fmla="*/ 853746 w 1149074"/>
                    <a:gd name="connsiteY623" fmla="*/ 22137 h 937592"/>
                    <a:gd name="connsiteX624" fmla="*/ 852677 w 1149074"/>
                    <a:gd name="connsiteY624" fmla="*/ 17595 h 937592"/>
                    <a:gd name="connsiteX625" fmla="*/ 852689 w 1149074"/>
                    <a:gd name="connsiteY625" fmla="*/ 14717 h 937592"/>
                    <a:gd name="connsiteX626" fmla="*/ 852932 w 1149074"/>
                    <a:gd name="connsiteY626" fmla="*/ 13515 h 937592"/>
                    <a:gd name="connsiteX627" fmla="*/ 853163 w 1149074"/>
                    <a:gd name="connsiteY627" fmla="*/ 12811 h 937592"/>
                    <a:gd name="connsiteX628" fmla="*/ 853734 w 1149074"/>
                    <a:gd name="connsiteY628" fmla="*/ 12143 h 937592"/>
                    <a:gd name="connsiteX629" fmla="*/ 855385 w 1149074"/>
                    <a:gd name="connsiteY629" fmla="*/ 10783 h 937592"/>
                    <a:gd name="connsiteX630" fmla="*/ 859939 w 1149074"/>
                    <a:gd name="connsiteY630" fmla="*/ 8840 h 937592"/>
                    <a:gd name="connsiteX631" fmla="*/ 861881 w 1149074"/>
                    <a:gd name="connsiteY631" fmla="*/ 8366 h 937592"/>
                    <a:gd name="connsiteX632" fmla="*/ 864954 w 1149074"/>
                    <a:gd name="connsiteY632" fmla="*/ 7966 h 937592"/>
                    <a:gd name="connsiteX633" fmla="*/ 866775 w 1149074"/>
                    <a:gd name="connsiteY633" fmla="*/ 6982 h 937592"/>
                    <a:gd name="connsiteX634" fmla="*/ 868815 w 1149074"/>
                    <a:gd name="connsiteY634" fmla="*/ 3206 h 937592"/>
                    <a:gd name="connsiteX635" fmla="*/ 869228 w 1149074"/>
                    <a:gd name="connsiteY635" fmla="*/ 2538 h 937592"/>
                    <a:gd name="connsiteX636" fmla="*/ 871681 w 1149074"/>
                    <a:gd name="connsiteY636" fmla="*/ 1178 h 937592"/>
                    <a:gd name="connsiteX637" fmla="*/ 874474 w 1149074"/>
                    <a:gd name="connsiteY637" fmla="*/ 0 h 937592"/>
                    <a:gd name="connsiteX638" fmla="*/ 877121 w 1149074"/>
                    <a:gd name="connsiteY638" fmla="*/ 243 h 937592"/>
                    <a:gd name="connsiteX639" fmla="*/ 879634 w 1149074"/>
                    <a:gd name="connsiteY639" fmla="*/ 1263 h 937592"/>
                    <a:gd name="connsiteX640" fmla="*/ 881687 w 1149074"/>
                    <a:gd name="connsiteY640" fmla="*/ 2951 h 937592"/>
                    <a:gd name="connsiteX641" fmla="*/ 888681 w 1149074"/>
                    <a:gd name="connsiteY641" fmla="*/ 11827 h 937592"/>
                    <a:gd name="connsiteX642" fmla="*/ 919123 w 1149074"/>
                    <a:gd name="connsiteY642" fmla="*/ 26836 h 937592"/>
                    <a:gd name="connsiteX643" fmla="*/ 923458 w 1149074"/>
                    <a:gd name="connsiteY643" fmla="*/ 29653 h 937592"/>
                    <a:gd name="connsiteX644" fmla="*/ 926591 w 1149074"/>
                    <a:gd name="connsiteY644" fmla="*/ 32191 h 937592"/>
                    <a:gd name="connsiteX645" fmla="*/ 930611 w 1149074"/>
                    <a:gd name="connsiteY645" fmla="*/ 38590 h 937592"/>
                    <a:gd name="connsiteX646" fmla="*/ 932274 w 1149074"/>
                    <a:gd name="connsiteY646" fmla="*/ 40630 h 937592"/>
                    <a:gd name="connsiteX647" fmla="*/ 934557 w 1149074"/>
                    <a:gd name="connsiteY647" fmla="*/ 42865 h 937592"/>
                    <a:gd name="connsiteX648" fmla="*/ 937945 w 1149074"/>
                    <a:gd name="connsiteY648" fmla="*/ 45305 h 937592"/>
                    <a:gd name="connsiteX649" fmla="*/ 940580 w 1149074"/>
                    <a:gd name="connsiteY649" fmla="*/ 46301 h 937592"/>
                    <a:gd name="connsiteX650" fmla="*/ 943360 w 1149074"/>
                    <a:gd name="connsiteY650" fmla="*/ 46750 h 937592"/>
                    <a:gd name="connsiteX651" fmla="*/ 945959 w 1149074"/>
                    <a:gd name="connsiteY651" fmla="*/ 46556 h 937592"/>
                    <a:gd name="connsiteX652" fmla="*/ 948339 w 1149074"/>
                    <a:gd name="connsiteY652" fmla="*/ 46131 h 937592"/>
                    <a:gd name="connsiteX653" fmla="*/ 955018 w 1149074"/>
                    <a:gd name="connsiteY653" fmla="*/ 43885 h 937592"/>
                    <a:gd name="connsiteX654" fmla="*/ 958406 w 1149074"/>
                    <a:gd name="connsiteY654" fmla="*/ 43411 h 937592"/>
                    <a:gd name="connsiteX655" fmla="*/ 961344 w 1149074"/>
                    <a:gd name="connsiteY655" fmla="*/ 43885 h 937592"/>
                    <a:gd name="connsiteX656" fmla="*/ 963627 w 1149074"/>
                    <a:gd name="connsiteY656" fmla="*/ 44832 h 937592"/>
                    <a:gd name="connsiteX657" fmla="*/ 982024 w 1149074"/>
                    <a:gd name="connsiteY657" fmla="*/ 56465 h 937592"/>
                    <a:gd name="connsiteX658" fmla="*/ 990779 w 1149074"/>
                    <a:gd name="connsiteY658" fmla="*/ 64224 h 937592"/>
                    <a:gd name="connsiteX659" fmla="*/ 998392 w 1149074"/>
                    <a:gd name="connsiteY659" fmla="*/ 67454 h 937592"/>
                    <a:gd name="connsiteX660" fmla="*/ 1001805 w 1149074"/>
                    <a:gd name="connsiteY660" fmla="*/ 73295 h 937592"/>
                    <a:gd name="connsiteX661" fmla="*/ 1003031 w 1149074"/>
                    <a:gd name="connsiteY661" fmla="*/ 73914 h 937592"/>
                    <a:gd name="connsiteX662" fmla="*/ 1005739 w 1149074"/>
                    <a:gd name="connsiteY662" fmla="*/ 74813 h 937592"/>
                    <a:gd name="connsiteX663" fmla="*/ 1008665 w 1149074"/>
                    <a:gd name="connsiteY663" fmla="*/ 75481 h 937592"/>
                    <a:gd name="connsiteX664" fmla="*/ 1012369 w 1149074"/>
                    <a:gd name="connsiteY664" fmla="*/ 76901 h 937592"/>
                    <a:gd name="connsiteX665" fmla="*/ 1016085 w 1149074"/>
                    <a:gd name="connsiteY665" fmla="*/ 79925 h 937592"/>
                    <a:gd name="connsiteX666" fmla="*/ 1025046 w 1149074"/>
                    <a:gd name="connsiteY666" fmla="*/ 85887 h 937592"/>
                    <a:gd name="connsiteX667" fmla="*/ 1027123 w 1149074"/>
                    <a:gd name="connsiteY667" fmla="*/ 86263 h 937592"/>
                    <a:gd name="connsiteX668" fmla="*/ 1028798 w 1149074"/>
                    <a:gd name="connsiteY668" fmla="*/ 86009 h 937592"/>
                    <a:gd name="connsiteX669" fmla="*/ 1032040 w 1149074"/>
                    <a:gd name="connsiteY669" fmla="*/ 86142 h 937592"/>
                    <a:gd name="connsiteX670" fmla="*/ 1035538 w 1149074"/>
                    <a:gd name="connsiteY670" fmla="*/ 86834 h 937592"/>
                    <a:gd name="connsiteX671" fmla="*/ 1045677 w 1149074"/>
                    <a:gd name="connsiteY671" fmla="*/ 90963 h 937592"/>
                    <a:gd name="connsiteX672" fmla="*/ 1051324 w 1149074"/>
                    <a:gd name="connsiteY672" fmla="*/ 94557 h 937592"/>
                    <a:gd name="connsiteX673" fmla="*/ 1054638 w 1149074"/>
                    <a:gd name="connsiteY673" fmla="*/ 97338 h 937592"/>
                    <a:gd name="connsiteX674" fmla="*/ 1056739 w 1149074"/>
                    <a:gd name="connsiteY674" fmla="*/ 100009 h 937592"/>
                    <a:gd name="connsiteX675" fmla="*/ 1057686 w 1149074"/>
                    <a:gd name="connsiteY675" fmla="*/ 101685 h 937592"/>
                    <a:gd name="connsiteX676" fmla="*/ 1058099 w 1149074"/>
                    <a:gd name="connsiteY676" fmla="*/ 102826 h 937592"/>
                    <a:gd name="connsiteX677" fmla="*/ 1058925 w 1149074"/>
                    <a:gd name="connsiteY677" fmla="*/ 107161 h 937592"/>
                    <a:gd name="connsiteX678" fmla="*/ 1059143 w 1149074"/>
                    <a:gd name="connsiteY678" fmla="*/ 109760 h 937592"/>
                    <a:gd name="connsiteX679" fmla="*/ 1059156 w 1149074"/>
                    <a:gd name="connsiteY679" fmla="*/ 112091 h 937592"/>
                    <a:gd name="connsiteX680" fmla="*/ 1058925 w 1149074"/>
                    <a:gd name="connsiteY680" fmla="*/ 113318 h 937592"/>
                    <a:gd name="connsiteX681" fmla="*/ 1056982 w 1149074"/>
                    <a:gd name="connsiteY681" fmla="*/ 118539 h 937592"/>
                    <a:gd name="connsiteX682" fmla="*/ 1057261 w 1149074"/>
                    <a:gd name="connsiteY682" fmla="*/ 120810 h 937592"/>
                    <a:gd name="connsiteX683" fmla="*/ 1058767 w 1149074"/>
                    <a:gd name="connsiteY683" fmla="*/ 123943 h 937592"/>
                    <a:gd name="connsiteX684" fmla="*/ 1062665 w 1149074"/>
                    <a:gd name="connsiteY684" fmla="*/ 128254 h 937592"/>
                    <a:gd name="connsiteX685" fmla="*/ 1063782 w 1149074"/>
                    <a:gd name="connsiteY685" fmla="*/ 128666 h 937592"/>
                    <a:gd name="connsiteX686" fmla="*/ 1064074 w 1149074"/>
                    <a:gd name="connsiteY686" fmla="*/ 127829 h 937592"/>
                    <a:gd name="connsiteX687" fmla="*/ 1065324 w 1149074"/>
                    <a:gd name="connsiteY687" fmla="*/ 125521 h 937592"/>
                    <a:gd name="connsiteX688" fmla="*/ 1067449 w 1149074"/>
                    <a:gd name="connsiteY688" fmla="*/ 123579 h 937592"/>
                    <a:gd name="connsiteX689" fmla="*/ 1069793 w 1149074"/>
                    <a:gd name="connsiteY689" fmla="*/ 122437 h 937592"/>
                    <a:gd name="connsiteX690" fmla="*/ 1071056 w 1149074"/>
                    <a:gd name="connsiteY690" fmla="*/ 121587 h 937592"/>
                    <a:gd name="connsiteX691" fmla="*/ 1071456 w 1149074"/>
                    <a:gd name="connsiteY691" fmla="*/ 120616 h 937592"/>
                    <a:gd name="connsiteX692" fmla="*/ 1072282 w 1149074"/>
                    <a:gd name="connsiteY692" fmla="*/ 118916 h 937592"/>
                    <a:gd name="connsiteX693" fmla="*/ 1073630 w 1149074"/>
                    <a:gd name="connsiteY693" fmla="*/ 116754 h 937592"/>
                    <a:gd name="connsiteX694" fmla="*/ 1075901 w 1149074"/>
                    <a:gd name="connsiteY694" fmla="*/ 114848 h 937592"/>
                    <a:gd name="connsiteX695" fmla="*/ 1076666 w 1149074"/>
                    <a:gd name="connsiteY695" fmla="*/ 114289 h 937592"/>
                    <a:gd name="connsiteX696" fmla="*/ 1080612 w 1149074"/>
                    <a:gd name="connsiteY696" fmla="*/ 114204 h 937592"/>
                    <a:gd name="connsiteX697" fmla="*/ 1084996 w 1149074"/>
                    <a:gd name="connsiteY697" fmla="*/ 115334 h 937592"/>
                    <a:gd name="connsiteX698" fmla="*/ 1092063 w 1149074"/>
                    <a:gd name="connsiteY698" fmla="*/ 118637 h 937592"/>
                    <a:gd name="connsiteX699" fmla="*/ 1095900 w 1149074"/>
                    <a:gd name="connsiteY699" fmla="*/ 122061 h 937592"/>
                    <a:gd name="connsiteX700" fmla="*/ 1098098 w 1149074"/>
                    <a:gd name="connsiteY700" fmla="*/ 126457 h 937592"/>
                    <a:gd name="connsiteX701" fmla="*/ 1099227 w 1149074"/>
                    <a:gd name="connsiteY701" fmla="*/ 135017 h 937592"/>
                    <a:gd name="connsiteX702" fmla="*/ 1100247 w 1149074"/>
                    <a:gd name="connsiteY702" fmla="*/ 138830 h 937592"/>
                    <a:gd name="connsiteX703" fmla="*/ 1101304 w 1149074"/>
                    <a:gd name="connsiteY703" fmla="*/ 141562 h 937592"/>
                    <a:gd name="connsiteX704" fmla="*/ 1102688 w 1149074"/>
                    <a:gd name="connsiteY704" fmla="*/ 144343 h 937592"/>
                    <a:gd name="connsiteX705" fmla="*/ 1104315 w 1149074"/>
                    <a:gd name="connsiteY705" fmla="*/ 145497 h 937592"/>
                    <a:gd name="connsiteX706" fmla="*/ 1107667 w 1149074"/>
                    <a:gd name="connsiteY706" fmla="*/ 146480 h 937592"/>
                    <a:gd name="connsiteX707" fmla="*/ 1132936 w 1149074"/>
                    <a:gd name="connsiteY707" fmla="*/ 151993 h 937592"/>
                    <a:gd name="connsiteX708" fmla="*/ 1137016 w 1149074"/>
                    <a:gd name="connsiteY708" fmla="*/ 155053 h 937592"/>
                    <a:gd name="connsiteX709" fmla="*/ 1139008 w 1149074"/>
                    <a:gd name="connsiteY709" fmla="*/ 158927 h 937592"/>
                    <a:gd name="connsiteX710" fmla="*/ 1138935 w 1149074"/>
                    <a:gd name="connsiteY710" fmla="*/ 162691 h 937592"/>
                    <a:gd name="connsiteX711" fmla="*/ 1138206 w 1149074"/>
                    <a:gd name="connsiteY711" fmla="*/ 168544 h 937592"/>
                    <a:gd name="connsiteX712" fmla="*/ 1138303 w 1149074"/>
                    <a:gd name="connsiteY712" fmla="*/ 170960 h 937592"/>
                    <a:gd name="connsiteX713" fmla="*/ 1138813 w 1149074"/>
                    <a:gd name="connsiteY713" fmla="*/ 173243 h 937592"/>
                    <a:gd name="connsiteX714" fmla="*/ 1139700 w 1149074"/>
                    <a:gd name="connsiteY714" fmla="*/ 175417 h 937592"/>
                    <a:gd name="connsiteX715" fmla="*/ 1145358 w 1149074"/>
                    <a:gd name="connsiteY715" fmla="*/ 183783 h 937592"/>
                    <a:gd name="connsiteX716" fmla="*/ 1149074 w 1149074"/>
                    <a:gd name="connsiteY716" fmla="*/ 190669 h 937592"/>
                    <a:gd name="connsiteX717" fmla="*/ 1143743 w 1149074"/>
                    <a:gd name="connsiteY717" fmla="*/ 192065 h 937592"/>
                    <a:gd name="connsiteX718" fmla="*/ 1120271 w 1149074"/>
                    <a:gd name="connsiteY718" fmla="*/ 201561 h 937592"/>
                    <a:gd name="connsiteX719" fmla="*/ 1109986 w 1149074"/>
                    <a:gd name="connsiteY719" fmla="*/ 203589 h 937592"/>
                    <a:gd name="connsiteX720" fmla="*/ 1103514 w 1149074"/>
                    <a:gd name="connsiteY720" fmla="*/ 202058 h 937592"/>
                    <a:gd name="connsiteX721" fmla="*/ 1102664 w 1149074"/>
                    <a:gd name="connsiteY721" fmla="*/ 202544 h 937592"/>
                    <a:gd name="connsiteX722" fmla="*/ 1099749 w 1149074"/>
                    <a:gd name="connsiteY722" fmla="*/ 203285 h 937592"/>
                    <a:gd name="connsiteX723" fmla="*/ 1094662 w 1149074"/>
                    <a:gd name="connsiteY723" fmla="*/ 203346 h 937592"/>
                    <a:gd name="connsiteX724" fmla="*/ 1093447 w 1149074"/>
                    <a:gd name="connsiteY724" fmla="*/ 203734 h 937592"/>
                    <a:gd name="connsiteX725" fmla="*/ 1077649 w 1149074"/>
                    <a:gd name="connsiteY725" fmla="*/ 212149 h 937592"/>
                    <a:gd name="connsiteX726" fmla="*/ 1068736 w 1149074"/>
                    <a:gd name="connsiteY726" fmla="*/ 218415 h 937592"/>
                    <a:gd name="connsiteX727" fmla="*/ 1041803 w 1149074"/>
                    <a:gd name="connsiteY727" fmla="*/ 246987 h 937592"/>
                    <a:gd name="connsiteX728" fmla="*/ 1032587 w 1149074"/>
                    <a:gd name="connsiteY728" fmla="*/ 260588 h 937592"/>
                    <a:gd name="connsiteX729" fmla="*/ 1027572 w 1149074"/>
                    <a:gd name="connsiteY729" fmla="*/ 275244 h 937592"/>
                    <a:gd name="connsiteX730" fmla="*/ 1028798 w 1149074"/>
                    <a:gd name="connsiteY730" fmla="*/ 292742 h 937592"/>
                    <a:gd name="connsiteX731" fmla="*/ 1048810 w 1149074"/>
                    <a:gd name="connsiteY731" fmla="*/ 337404 h 937592"/>
                    <a:gd name="connsiteX732" fmla="*/ 1051785 w 1149074"/>
                    <a:gd name="connsiteY732" fmla="*/ 347276 h 937592"/>
                    <a:gd name="connsiteX733" fmla="*/ 1048761 w 1149074"/>
                    <a:gd name="connsiteY733" fmla="*/ 354173 h 937592"/>
                    <a:gd name="connsiteX734" fmla="*/ 1051894 w 1149074"/>
                    <a:gd name="connsiteY734" fmla="*/ 353821 h 937592"/>
                    <a:gd name="connsiteX735" fmla="*/ 1054687 w 1149074"/>
                    <a:gd name="connsiteY735" fmla="*/ 355412 h 937592"/>
                    <a:gd name="connsiteX736" fmla="*/ 1056654 w 1149074"/>
                    <a:gd name="connsiteY736" fmla="*/ 358605 h 937592"/>
                    <a:gd name="connsiteX737" fmla="*/ 1057771 w 1149074"/>
                    <a:gd name="connsiteY737" fmla="*/ 361083 h 937592"/>
                    <a:gd name="connsiteX738" fmla="*/ 1058488 w 1149074"/>
                    <a:gd name="connsiteY738" fmla="*/ 364373 h 937592"/>
                    <a:gd name="connsiteX739" fmla="*/ 1057249 w 1149074"/>
                    <a:gd name="connsiteY739" fmla="*/ 367591 h 937592"/>
                    <a:gd name="connsiteX740" fmla="*/ 1055003 w 1149074"/>
                    <a:gd name="connsiteY740" fmla="*/ 369182 h 937592"/>
                    <a:gd name="connsiteX741" fmla="*/ 1055391 w 1149074"/>
                    <a:gd name="connsiteY741" fmla="*/ 369716 h 937592"/>
                    <a:gd name="connsiteX742" fmla="*/ 1057492 w 1149074"/>
                    <a:gd name="connsiteY742" fmla="*/ 368842 h 937592"/>
                    <a:gd name="connsiteX743" fmla="*/ 1061220 w 1149074"/>
                    <a:gd name="connsiteY743" fmla="*/ 365867 h 937592"/>
                    <a:gd name="connsiteX744" fmla="*/ 1065482 w 1149074"/>
                    <a:gd name="connsiteY744" fmla="*/ 370165 h 937592"/>
                    <a:gd name="connsiteX745" fmla="*/ 1062495 w 1149074"/>
                    <a:gd name="connsiteY745" fmla="*/ 373760 h 937592"/>
                    <a:gd name="connsiteX746" fmla="*/ 1057808 w 1149074"/>
                    <a:gd name="connsiteY746" fmla="*/ 378386 h 937592"/>
                    <a:gd name="connsiteX747" fmla="*/ 1052368 w 1149074"/>
                    <a:gd name="connsiteY747" fmla="*/ 382430 h 937592"/>
                    <a:gd name="connsiteX748" fmla="*/ 1041548 w 1149074"/>
                    <a:gd name="connsiteY748" fmla="*/ 386048 h 937592"/>
                    <a:gd name="connsiteX749" fmla="*/ 1014518 w 1149074"/>
                    <a:gd name="connsiteY749" fmla="*/ 407044 h 937592"/>
                    <a:gd name="connsiteX750" fmla="*/ 1010608 w 1149074"/>
                    <a:gd name="connsiteY750" fmla="*/ 411172 h 937592"/>
                    <a:gd name="connsiteX751" fmla="*/ 1007645 w 1149074"/>
                    <a:gd name="connsiteY751" fmla="*/ 415968 h 937592"/>
                    <a:gd name="connsiteX752" fmla="*/ 1006285 w 1149074"/>
                    <a:gd name="connsiteY752" fmla="*/ 421105 h 937592"/>
                    <a:gd name="connsiteX753" fmla="*/ 1005945 w 1149074"/>
                    <a:gd name="connsiteY753" fmla="*/ 426994 h 937592"/>
                    <a:gd name="connsiteX754" fmla="*/ 1007184 w 1149074"/>
                    <a:gd name="connsiteY754" fmla="*/ 425598 h 937592"/>
                    <a:gd name="connsiteX755" fmla="*/ 1010353 w 1149074"/>
                    <a:gd name="connsiteY755" fmla="*/ 423716 h 937592"/>
                    <a:gd name="connsiteX756" fmla="*/ 1011859 w 1149074"/>
                    <a:gd name="connsiteY756" fmla="*/ 422902 h 937592"/>
                    <a:gd name="connsiteX757" fmla="*/ 1012599 w 1149074"/>
                    <a:gd name="connsiteY757" fmla="*/ 423339 h 937592"/>
                    <a:gd name="connsiteX758" fmla="*/ 1015769 w 1149074"/>
                    <a:gd name="connsiteY758" fmla="*/ 411427 h 937592"/>
                    <a:gd name="connsiteX759" fmla="*/ 1022702 w 1149074"/>
                    <a:gd name="connsiteY759" fmla="*/ 423315 h 937592"/>
                    <a:gd name="connsiteX760" fmla="*/ 1019242 w 1149074"/>
                    <a:gd name="connsiteY760" fmla="*/ 431912 h 937592"/>
                    <a:gd name="connsiteX761" fmla="*/ 1014069 w 1149074"/>
                    <a:gd name="connsiteY761" fmla="*/ 439332 h 937592"/>
                    <a:gd name="connsiteX762" fmla="*/ 1010037 w 1149074"/>
                    <a:gd name="connsiteY762" fmla="*/ 443229 h 937592"/>
                    <a:gd name="connsiteX763" fmla="*/ 1009297 w 1149074"/>
                    <a:gd name="connsiteY763" fmla="*/ 443472 h 937592"/>
                    <a:gd name="connsiteX764" fmla="*/ 1010863 w 1149074"/>
                    <a:gd name="connsiteY764" fmla="*/ 445646 h 937592"/>
                    <a:gd name="connsiteX765" fmla="*/ 1003917 w 1149074"/>
                    <a:gd name="connsiteY765" fmla="*/ 451001 h 937592"/>
                    <a:gd name="connsiteX766" fmla="*/ 986869 w 1149074"/>
                    <a:gd name="connsiteY766" fmla="*/ 461310 h 937592"/>
                    <a:gd name="connsiteX767" fmla="*/ 978102 w 1149074"/>
                    <a:gd name="connsiteY767" fmla="*/ 464868 h 937592"/>
                    <a:gd name="connsiteX768" fmla="*/ 968412 w 1149074"/>
                    <a:gd name="connsiteY768" fmla="*/ 467333 h 937592"/>
                    <a:gd name="connsiteX769" fmla="*/ 964550 w 1149074"/>
                    <a:gd name="connsiteY769" fmla="*/ 468912 h 937592"/>
                    <a:gd name="connsiteX770" fmla="*/ 962850 w 1149074"/>
                    <a:gd name="connsiteY770" fmla="*/ 470490 h 937592"/>
                    <a:gd name="connsiteX771" fmla="*/ 962231 w 1149074"/>
                    <a:gd name="connsiteY771" fmla="*/ 471887 h 937592"/>
                    <a:gd name="connsiteX772" fmla="*/ 960215 w 1149074"/>
                    <a:gd name="connsiteY772" fmla="*/ 480120 h 937592"/>
                    <a:gd name="connsiteX773" fmla="*/ 958029 w 1149074"/>
                    <a:gd name="connsiteY773" fmla="*/ 484649 h 937592"/>
                    <a:gd name="connsiteX774" fmla="*/ 958102 w 1149074"/>
                    <a:gd name="connsiteY774" fmla="*/ 486410 h 937592"/>
                    <a:gd name="connsiteX775" fmla="*/ 958017 w 1149074"/>
                    <a:gd name="connsiteY775" fmla="*/ 487393 h 937592"/>
                    <a:gd name="connsiteX776" fmla="*/ 947635 w 1149074"/>
                    <a:gd name="connsiteY776" fmla="*/ 499512 h 937592"/>
                    <a:gd name="connsiteX777" fmla="*/ 944915 w 1149074"/>
                    <a:gd name="connsiteY777" fmla="*/ 501503 h 937592"/>
                    <a:gd name="connsiteX778" fmla="*/ 946263 w 1149074"/>
                    <a:gd name="connsiteY778" fmla="*/ 502038 h 937592"/>
                    <a:gd name="connsiteX779" fmla="*/ 947307 w 1149074"/>
                    <a:gd name="connsiteY779" fmla="*/ 501771 h 937592"/>
                    <a:gd name="connsiteX780" fmla="*/ 959037 w 1149074"/>
                    <a:gd name="connsiteY780" fmla="*/ 501467 h 937592"/>
                    <a:gd name="connsiteX781" fmla="*/ 943713 w 1149074"/>
                    <a:gd name="connsiteY781" fmla="*/ 510501 h 937592"/>
                    <a:gd name="connsiteX782" fmla="*/ 944757 w 1149074"/>
                    <a:gd name="connsiteY782" fmla="*/ 510866 h 937592"/>
                    <a:gd name="connsiteX783" fmla="*/ 919269 w 1149074"/>
                    <a:gd name="connsiteY783" fmla="*/ 524781 h 937592"/>
                    <a:gd name="connsiteX784" fmla="*/ 889446 w 1149074"/>
                    <a:gd name="connsiteY784" fmla="*/ 535661 h 937592"/>
                    <a:gd name="connsiteX785" fmla="*/ 884990 w 1149074"/>
                    <a:gd name="connsiteY785" fmla="*/ 538017 h 937592"/>
                    <a:gd name="connsiteX786" fmla="*/ 881213 w 1149074"/>
                    <a:gd name="connsiteY786" fmla="*/ 538248 h 937592"/>
                    <a:gd name="connsiteX787" fmla="*/ 878031 w 1149074"/>
                    <a:gd name="connsiteY787" fmla="*/ 535892 h 937592"/>
                    <a:gd name="connsiteX788" fmla="*/ 877376 w 1149074"/>
                    <a:gd name="connsiteY788" fmla="*/ 536172 h 937592"/>
                    <a:gd name="connsiteX789" fmla="*/ 876562 w 1149074"/>
                    <a:gd name="connsiteY789" fmla="*/ 537082 h 937592"/>
                    <a:gd name="connsiteX790" fmla="*/ 874620 w 1149074"/>
                    <a:gd name="connsiteY790" fmla="*/ 538454 h 937592"/>
                    <a:gd name="connsiteX791" fmla="*/ 870382 w 1149074"/>
                    <a:gd name="connsiteY791" fmla="*/ 539049 h 937592"/>
                    <a:gd name="connsiteX792" fmla="*/ 847480 w 1149074"/>
                    <a:gd name="connsiteY792" fmla="*/ 545971 h 937592"/>
                    <a:gd name="connsiteX793" fmla="*/ 839126 w 1149074"/>
                    <a:gd name="connsiteY793" fmla="*/ 547428 h 937592"/>
                    <a:gd name="connsiteX794" fmla="*/ 833151 w 1149074"/>
                    <a:gd name="connsiteY794" fmla="*/ 551411 h 937592"/>
                    <a:gd name="connsiteX795" fmla="*/ 828950 w 1149074"/>
                    <a:gd name="connsiteY795" fmla="*/ 553159 h 937592"/>
                    <a:gd name="connsiteX796" fmla="*/ 826108 w 1149074"/>
                    <a:gd name="connsiteY796" fmla="*/ 553548 h 937592"/>
                    <a:gd name="connsiteX797" fmla="*/ 819393 w 1149074"/>
                    <a:gd name="connsiteY797" fmla="*/ 553366 h 937592"/>
                    <a:gd name="connsiteX798" fmla="*/ 818301 w 1149074"/>
                    <a:gd name="connsiteY798" fmla="*/ 553682 h 937592"/>
                    <a:gd name="connsiteX799" fmla="*/ 815337 w 1149074"/>
                    <a:gd name="connsiteY799" fmla="*/ 555284 h 937592"/>
                    <a:gd name="connsiteX800" fmla="*/ 808950 w 1149074"/>
                    <a:gd name="connsiteY800" fmla="*/ 556790 h 937592"/>
                    <a:gd name="connsiteX801" fmla="*/ 798362 w 1149074"/>
                    <a:gd name="connsiteY801" fmla="*/ 562218 h 937592"/>
                    <a:gd name="connsiteX802" fmla="*/ 791829 w 1149074"/>
                    <a:gd name="connsiteY802" fmla="*/ 565497 h 937592"/>
                    <a:gd name="connsiteX803" fmla="*/ 792861 w 1149074"/>
                    <a:gd name="connsiteY803" fmla="*/ 562364 h 937592"/>
                    <a:gd name="connsiteX804" fmla="*/ 788332 w 1149074"/>
                    <a:gd name="connsiteY804" fmla="*/ 565181 h 937592"/>
                    <a:gd name="connsiteX805" fmla="*/ 789607 w 1149074"/>
                    <a:gd name="connsiteY805" fmla="*/ 567549 h 937592"/>
                    <a:gd name="connsiteX806" fmla="*/ 782819 w 1149074"/>
                    <a:gd name="connsiteY806" fmla="*/ 571629 h 937592"/>
                    <a:gd name="connsiteX807" fmla="*/ 768186 w 1149074"/>
                    <a:gd name="connsiteY807" fmla="*/ 579243 h 937592"/>
                    <a:gd name="connsiteX808" fmla="*/ 752498 w 1149074"/>
                    <a:gd name="connsiteY808" fmla="*/ 586577 h 937592"/>
                    <a:gd name="connsiteX809" fmla="*/ 744289 w 1149074"/>
                    <a:gd name="connsiteY809" fmla="*/ 590220 h 937592"/>
                    <a:gd name="connsiteX810" fmla="*/ 735291 w 1149074"/>
                    <a:gd name="connsiteY810" fmla="*/ 597420 h 937592"/>
                    <a:gd name="connsiteX811" fmla="*/ 726233 w 1149074"/>
                    <a:gd name="connsiteY811" fmla="*/ 601391 h 937592"/>
                    <a:gd name="connsiteX812" fmla="*/ 715523 w 1149074"/>
                    <a:gd name="connsiteY812" fmla="*/ 609369 h 937592"/>
                    <a:gd name="connsiteX813" fmla="*/ 695038 w 1149074"/>
                    <a:gd name="connsiteY813" fmla="*/ 629162 h 937592"/>
                    <a:gd name="connsiteX814" fmla="*/ 680818 w 1149074"/>
                    <a:gd name="connsiteY814" fmla="*/ 638986 h 937592"/>
                    <a:gd name="connsiteX815" fmla="*/ 657880 w 1149074"/>
                    <a:gd name="connsiteY815" fmla="*/ 658912 h 937592"/>
                    <a:gd name="connsiteX816" fmla="*/ 642495 w 1149074"/>
                    <a:gd name="connsiteY816" fmla="*/ 678499 h 937592"/>
                    <a:gd name="connsiteX817" fmla="*/ 635731 w 1149074"/>
                    <a:gd name="connsiteY817" fmla="*/ 680794 h 937592"/>
                    <a:gd name="connsiteX818" fmla="*/ 634505 w 1149074"/>
                    <a:gd name="connsiteY818" fmla="*/ 672597 h 937592"/>
                    <a:gd name="connsiteX819" fmla="*/ 633631 w 1149074"/>
                    <a:gd name="connsiteY819" fmla="*/ 671505 h 937592"/>
                    <a:gd name="connsiteX820" fmla="*/ 632708 w 1149074"/>
                    <a:gd name="connsiteY820" fmla="*/ 671140 h 937592"/>
                    <a:gd name="connsiteX821" fmla="*/ 631311 w 1149074"/>
                    <a:gd name="connsiteY821" fmla="*/ 670982 h 937592"/>
                    <a:gd name="connsiteX822" fmla="*/ 625119 w 1149074"/>
                    <a:gd name="connsiteY822" fmla="*/ 670958 h 937592"/>
                    <a:gd name="connsiteX823" fmla="*/ 623868 w 1149074"/>
                    <a:gd name="connsiteY823" fmla="*/ 671067 h 937592"/>
                    <a:gd name="connsiteX824" fmla="*/ 624281 w 1149074"/>
                    <a:gd name="connsiteY824" fmla="*/ 672330 h 937592"/>
                    <a:gd name="connsiteX825" fmla="*/ 624608 w 1149074"/>
                    <a:gd name="connsiteY825" fmla="*/ 674565 h 937592"/>
                    <a:gd name="connsiteX826" fmla="*/ 624196 w 1149074"/>
                    <a:gd name="connsiteY826" fmla="*/ 678050 h 937592"/>
                    <a:gd name="connsiteX827" fmla="*/ 622726 w 1149074"/>
                    <a:gd name="connsiteY827" fmla="*/ 681207 h 937592"/>
                    <a:gd name="connsiteX828" fmla="*/ 620031 w 1149074"/>
                    <a:gd name="connsiteY828" fmla="*/ 684024 h 937592"/>
                    <a:gd name="connsiteX829" fmla="*/ 619108 w 1149074"/>
                    <a:gd name="connsiteY829" fmla="*/ 684910 h 937592"/>
                    <a:gd name="connsiteX830" fmla="*/ 615331 w 1149074"/>
                    <a:gd name="connsiteY830" fmla="*/ 684789 h 937592"/>
                    <a:gd name="connsiteX831" fmla="*/ 613315 w 1149074"/>
                    <a:gd name="connsiteY831" fmla="*/ 683271 h 937592"/>
                    <a:gd name="connsiteX832" fmla="*/ 612988 w 1149074"/>
                    <a:gd name="connsiteY832" fmla="*/ 682992 h 937592"/>
                    <a:gd name="connsiteX833" fmla="*/ 599922 w 1149074"/>
                    <a:gd name="connsiteY833" fmla="*/ 689209 h 937592"/>
                    <a:gd name="connsiteX834" fmla="*/ 598319 w 1149074"/>
                    <a:gd name="connsiteY834" fmla="*/ 690350 h 937592"/>
                    <a:gd name="connsiteX835" fmla="*/ 592284 w 1149074"/>
                    <a:gd name="connsiteY835" fmla="*/ 695693 h 937592"/>
                    <a:gd name="connsiteX836" fmla="*/ 589442 w 1149074"/>
                    <a:gd name="connsiteY836" fmla="*/ 696483 h 937592"/>
                    <a:gd name="connsiteX837" fmla="*/ 586152 w 1149074"/>
                    <a:gd name="connsiteY837" fmla="*/ 696507 h 937592"/>
                    <a:gd name="connsiteX838" fmla="*/ 583650 w 1149074"/>
                    <a:gd name="connsiteY838" fmla="*/ 696033 h 937592"/>
                    <a:gd name="connsiteX839" fmla="*/ 584221 w 1149074"/>
                    <a:gd name="connsiteY839" fmla="*/ 697296 h 937592"/>
                    <a:gd name="connsiteX840" fmla="*/ 584330 w 1149074"/>
                    <a:gd name="connsiteY840" fmla="*/ 699907 h 937592"/>
                    <a:gd name="connsiteX841" fmla="*/ 583881 w 1149074"/>
                    <a:gd name="connsiteY841" fmla="*/ 700805 h 937592"/>
                    <a:gd name="connsiteX842" fmla="*/ 582339 w 1149074"/>
                    <a:gd name="connsiteY842" fmla="*/ 703441 h 937592"/>
                    <a:gd name="connsiteX843" fmla="*/ 582157 w 1149074"/>
                    <a:gd name="connsiteY843" fmla="*/ 703999 h 937592"/>
                    <a:gd name="connsiteX844" fmla="*/ 582727 w 1149074"/>
                    <a:gd name="connsiteY844" fmla="*/ 705237 h 937592"/>
                    <a:gd name="connsiteX845" fmla="*/ 583055 w 1149074"/>
                    <a:gd name="connsiteY845" fmla="*/ 706112 h 937592"/>
                    <a:gd name="connsiteX846" fmla="*/ 583177 w 1149074"/>
                    <a:gd name="connsiteY846" fmla="*/ 707897 h 937592"/>
                    <a:gd name="connsiteX847" fmla="*/ 583055 w 1149074"/>
                    <a:gd name="connsiteY847" fmla="*/ 708407 h 937592"/>
                    <a:gd name="connsiteX848" fmla="*/ 582497 w 1149074"/>
                    <a:gd name="connsiteY848" fmla="*/ 710022 h 937592"/>
                    <a:gd name="connsiteX849" fmla="*/ 581586 w 1149074"/>
                    <a:gd name="connsiteY849" fmla="*/ 711430 h 937592"/>
                    <a:gd name="connsiteX850" fmla="*/ 574227 w 1149074"/>
                    <a:gd name="connsiteY850" fmla="*/ 720538 h 937592"/>
                    <a:gd name="connsiteX851" fmla="*/ 571653 w 1149074"/>
                    <a:gd name="connsiteY851" fmla="*/ 721375 h 937592"/>
                    <a:gd name="connsiteX852" fmla="*/ 568933 w 1149074"/>
                    <a:gd name="connsiteY852" fmla="*/ 721461 h 937592"/>
                    <a:gd name="connsiteX853" fmla="*/ 567476 w 1149074"/>
                    <a:gd name="connsiteY853" fmla="*/ 721205 h 937592"/>
                    <a:gd name="connsiteX854" fmla="*/ 567002 w 1149074"/>
                    <a:gd name="connsiteY854" fmla="*/ 721764 h 937592"/>
                    <a:gd name="connsiteX855" fmla="*/ 565825 w 1149074"/>
                    <a:gd name="connsiteY855" fmla="*/ 726123 h 937592"/>
                    <a:gd name="connsiteX856" fmla="*/ 564246 w 1149074"/>
                    <a:gd name="connsiteY856" fmla="*/ 729815 h 937592"/>
                    <a:gd name="connsiteX857" fmla="*/ 560664 w 1149074"/>
                    <a:gd name="connsiteY857" fmla="*/ 734636 h 937592"/>
                    <a:gd name="connsiteX858" fmla="*/ 557154 w 1149074"/>
                    <a:gd name="connsiteY858" fmla="*/ 737416 h 937592"/>
                    <a:gd name="connsiteX859" fmla="*/ 553014 w 1149074"/>
                    <a:gd name="connsiteY859" fmla="*/ 739202 h 937592"/>
                    <a:gd name="connsiteX860" fmla="*/ 540069 w 1149074"/>
                    <a:gd name="connsiteY860" fmla="*/ 740173 h 937592"/>
                    <a:gd name="connsiteX861" fmla="*/ 527234 w 1149074"/>
                    <a:gd name="connsiteY861" fmla="*/ 743451 h 937592"/>
                    <a:gd name="connsiteX862" fmla="*/ 522474 w 1149074"/>
                    <a:gd name="connsiteY862" fmla="*/ 744156 h 937592"/>
                    <a:gd name="connsiteX863" fmla="*/ 520167 w 1149074"/>
                    <a:gd name="connsiteY863" fmla="*/ 743464 h 937592"/>
                    <a:gd name="connsiteX864" fmla="*/ 516573 w 1149074"/>
                    <a:gd name="connsiteY864" fmla="*/ 741011 h 937592"/>
                    <a:gd name="connsiteX865" fmla="*/ 515504 w 1149074"/>
                    <a:gd name="connsiteY865" fmla="*/ 740622 h 937592"/>
                    <a:gd name="connsiteX866" fmla="*/ 511631 w 1149074"/>
                    <a:gd name="connsiteY866" fmla="*/ 740707 h 937592"/>
                    <a:gd name="connsiteX867" fmla="*/ 508801 w 1149074"/>
                    <a:gd name="connsiteY867" fmla="*/ 739882 h 937592"/>
                    <a:gd name="connsiteX868" fmla="*/ 506093 w 1149074"/>
                    <a:gd name="connsiteY868" fmla="*/ 737926 h 937592"/>
                    <a:gd name="connsiteX869" fmla="*/ 504648 w 1149074"/>
                    <a:gd name="connsiteY869" fmla="*/ 737574 h 937592"/>
                    <a:gd name="connsiteX870" fmla="*/ 502475 w 1149074"/>
                    <a:gd name="connsiteY870" fmla="*/ 737684 h 937592"/>
                    <a:gd name="connsiteX871" fmla="*/ 492481 w 1149074"/>
                    <a:gd name="connsiteY871" fmla="*/ 739833 h 937592"/>
                    <a:gd name="connsiteX872" fmla="*/ 482755 w 1149074"/>
                    <a:gd name="connsiteY872" fmla="*/ 739602 h 937592"/>
                    <a:gd name="connsiteX873" fmla="*/ 473344 w 1149074"/>
                    <a:gd name="connsiteY873" fmla="*/ 740197 h 937592"/>
                    <a:gd name="connsiteX874" fmla="*/ 471061 w 1149074"/>
                    <a:gd name="connsiteY874" fmla="*/ 738910 h 937592"/>
                    <a:gd name="connsiteX875" fmla="*/ 467418 w 1149074"/>
                    <a:gd name="connsiteY875" fmla="*/ 735850 h 937592"/>
                    <a:gd name="connsiteX876" fmla="*/ 465755 w 1149074"/>
                    <a:gd name="connsiteY876" fmla="*/ 732887 h 937592"/>
                    <a:gd name="connsiteX877" fmla="*/ 464795 w 1149074"/>
                    <a:gd name="connsiteY877" fmla="*/ 731454 h 937592"/>
                    <a:gd name="connsiteX878" fmla="*/ 463654 w 1149074"/>
                    <a:gd name="connsiteY878" fmla="*/ 730228 h 937592"/>
                    <a:gd name="connsiteX879" fmla="*/ 462852 w 1149074"/>
                    <a:gd name="connsiteY879" fmla="*/ 729038 h 937592"/>
                    <a:gd name="connsiteX880" fmla="*/ 462075 w 1149074"/>
                    <a:gd name="connsiteY880" fmla="*/ 727544 h 937592"/>
                    <a:gd name="connsiteX881" fmla="*/ 459307 w 1149074"/>
                    <a:gd name="connsiteY881" fmla="*/ 719396 h 937592"/>
                    <a:gd name="connsiteX882" fmla="*/ 457679 w 1149074"/>
                    <a:gd name="connsiteY882" fmla="*/ 717526 h 937592"/>
                    <a:gd name="connsiteX883" fmla="*/ 456987 w 1149074"/>
                    <a:gd name="connsiteY883" fmla="*/ 716276 h 937592"/>
                    <a:gd name="connsiteX884" fmla="*/ 455166 w 1149074"/>
                    <a:gd name="connsiteY884" fmla="*/ 707278 h 937592"/>
                    <a:gd name="connsiteX885" fmla="*/ 452786 w 1149074"/>
                    <a:gd name="connsiteY885" fmla="*/ 701631 h 937592"/>
                    <a:gd name="connsiteX886" fmla="*/ 449847 w 1149074"/>
                    <a:gd name="connsiteY886" fmla="*/ 700308 h 937592"/>
                    <a:gd name="connsiteX887" fmla="*/ 449337 w 1149074"/>
                    <a:gd name="connsiteY887" fmla="*/ 700502 h 937592"/>
                    <a:gd name="connsiteX888" fmla="*/ 448159 w 1149074"/>
                    <a:gd name="connsiteY888" fmla="*/ 700587 h 937592"/>
                    <a:gd name="connsiteX889" fmla="*/ 447892 w 1149074"/>
                    <a:gd name="connsiteY889" fmla="*/ 700805 h 937592"/>
                    <a:gd name="connsiteX890" fmla="*/ 447443 w 1149074"/>
                    <a:gd name="connsiteY890" fmla="*/ 702275 h 937592"/>
                    <a:gd name="connsiteX891" fmla="*/ 447467 w 1149074"/>
                    <a:gd name="connsiteY891" fmla="*/ 703234 h 937592"/>
                    <a:gd name="connsiteX892" fmla="*/ 447747 w 1149074"/>
                    <a:gd name="connsiteY892" fmla="*/ 704254 h 937592"/>
                    <a:gd name="connsiteX893" fmla="*/ 448087 w 1149074"/>
                    <a:gd name="connsiteY893" fmla="*/ 705116 h 937592"/>
                    <a:gd name="connsiteX894" fmla="*/ 448524 w 1149074"/>
                    <a:gd name="connsiteY894" fmla="*/ 706962 h 937592"/>
                    <a:gd name="connsiteX895" fmla="*/ 448767 w 1149074"/>
                    <a:gd name="connsiteY895" fmla="*/ 709135 h 937592"/>
                    <a:gd name="connsiteX896" fmla="*/ 448038 w 1149074"/>
                    <a:gd name="connsiteY896" fmla="*/ 712681 h 937592"/>
                    <a:gd name="connsiteX897" fmla="*/ 446727 w 1149074"/>
                    <a:gd name="connsiteY897" fmla="*/ 714782 h 937592"/>
                    <a:gd name="connsiteX898" fmla="*/ 445974 w 1149074"/>
                    <a:gd name="connsiteY898" fmla="*/ 715765 h 937592"/>
                    <a:gd name="connsiteX899" fmla="*/ 443460 w 1149074"/>
                    <a:gd name="connsiteY899" fmla="*/ 716142 h 937592"/>
                    <a:gd name="connsiteX900" fmla="*/ 441250 w 1149074"/>
                    <a:gd name="connsiteY900" fmla="*/ 715498 h 937592"/>
                    <a:gd name="connsiteX901" fmla="*/ 440109 w 1149074"/>
                    <a:gd name="connsiteY901" fmla="*/ 714600 h 937592"/>
                    <a:gd name="connsiteX902" fmla="*/ 438227 w 1149074"/>
                    <a:gd name="connsiteY902" fmla="*/ 711758 h 937592"/>
                    <a:gd name="connsiteX903" fmla="*/ 434353 w 1149074"/>
                    <a:gd name="connsiteY903" fmla="*/ 700016 h 937592"/>
                    <a:gd name="connsiteX904" fmla="*/ 433527 w 1149074"/>
                    <a:gd name="connsiteY904" fmla="*/ 698353 h 937592"/>
                    <a:gd name="connsiteX905" fmla="*/ 431074 w 1149074"/>
                    <a:gd name="connsiteY905" fmla="*/ 694564 h 937592"/>
                    <a:gd name="connsiteX906" fmla="*/ 423691 w 1149074"/>
                    <a:gd name="connsiteY906" fmla="*/ 686622 h 937592"/>
                    <a:gd name="connsiteX907" fmla="*/ 421906 w 1149074"/>
                    <a:gd name="connsiteY907" fmla="*/ 684012 h 937592"/>
                    <a:gd name="connsiteX908" fmla="*/ 418980 w 1149074"/>
                    <a:gd name="connsiteY908" fmla="*/ 678378 h 937592"/>
                    <a:gd name="connsiteX909" fmla="*/ 418737 w 1149074"/>
                    <a:gd name="connsiteY909" fmla="*/ 678062 h 937592"/>
                    <a:gd name="connsiteX910" fmla="*/ 418203 w 1149074"/>
                    <a:gd name="connsiteY910" fmla="*/ 679871 h 937592"/>
                    <a:gd name="connsiteX911" fmla="*/ 417839 w 1149074"/>
                    <a:gd name="connsiteY911" fmla="*/ 682020 h 937592"/>
                    <a:gd name="connsiteX912" fmla="*/ 416479 w 1149074"/>
                    <a:gd name="connsiteY912" fmla="*/ 685056 h 937592"/>
                    <a:gd name="connsiteX913" fmla="*/ 413868 w 1149074"/>
                    <a:gd name="connsiteY913" fmla="*/ 688359 h 937592"/>
                    <a:gd name="connsiteX914" fmla="*/ 409496 w 1149074"/>
                    <a:gd name="connsiteY914" fmla="*/ 689743 h 937592"/>
                    <a:gd name="connsiteX915" fmla="*/ 408889 w 1149074"/>
                    <a:gd name="connsiteY915" fmla="*/ 690399 h 937592"/>
                    <a:gd name="connsiteX916" fmla="*/ 408282 w 1149074"/>
                    <a:gd name="connsiteY916" fmla="*/ 691249 h 937592"/>
                    <a:gd name="connsiteX917" fmla="*/ 407286 w 1149074"/>
                    <a:gd name="connsiteY917" fmla="*/ 694940 h 937592"/>
                    <a:gd name="connsiteX918" fmla="*/ 405853 w 1149074"/>
                    <a:gd name="connsiteY918" fmla="*/ 697673 h 937592"/>
                    <a:gd name="connsiteX919" fmla="*/ 403546 w 1149074"/>
                    <a:gd name="connsiteY919" fmla="*/ 700053 h 937592"/>
                    <a:gd name="connsiteX920" fmla="*/ 400110 w 1149074"/>
                    <a:gd name="connsiteY920" fmla="*/ 701267 h 937592"/>
                    <a:gd name="connsiteX921" fmla="*/ 398058 w 1149074"/>
                    <a:gd name="connsiteY921" fmla="*/ 700490 h 937592"/>
                    <a:gd name="connsiteX922" fmla="*/ 396491 w 1149074"/>
                    <a:gd name="connsiteY922" fmla="*/ 699142 h 937592"/>
                    <a:gd name="connsiteX923" fmla="*/ 395690 w 1149074"/>
                    <a:gd name="connsiteY923" fmla="*/ 697733 h 937592"/>
                    <a:gd name="connsiteX924" fmla="*/ 395095 w 1149074"/>
                    <a:gd name="connsiteY924" fmla="*/ 695147 h 937592"/>
                    <a:gd name="connsiteX925" fmla="*/ 395095 w 1149074"/>
                    <a:gd name="connsiteY925" fmla="*/ 695936 h 937592"/>
                    <a:gd name="connsiteX926" fmla="*/ 394051 w 1149074"/>
                    <a:gd name="connsiteY926" fmla="*/ 698984 h 937592"/>
                    <a:gd name="connsiteX927" fmla="*/ 392727 w 1149074"/>
                    <a:gd name="connsiteY927" fmla="*/ 699967 h 937592"/>
                    <a:gd name="connsiteX928" fmla="*/ 393261 w 1149074"/>
                    <a:gd name="connsiteY928" fmla="*/ 701546 h 937592"/>
                    <a:gd name="connsiteX929" fmla="*/ 392970 w 1149074"/>
                    <a:gd name="connsiteY929" fmla="*/ 704752 h 937592"/>
                    <a:gd name="connsiteX930" fmla="*/ 391270 w 1149074"/>
                    <a:gd name="connsiteY930" fmla="*/ 707800 h 937592"/>
                    <a:gd name="connsiteX931" fmla="*/ 386825 w 1149074"/>
                    <a:gd name="connsiteY931" fmla="*/ 709961 h 937592"/>
                    <a:gd name="connsiteX932" fmla="*/ 382940 w 1149074"/>
                    <a:gd name="connsiteY932" fmla="*/ 709123 h 937592"/>
                    <a:gd name="connsiteX933" fmla="*/ 378386 w 1149074"/>
                    <a:gd name="connsiteY933" fmla="*/ 705796 h 937592"/>
                    <a:gd name="connsiteX934" fmla="*/ 376613 w 1149074"/>
                    <a:gd name="connsiteY934" fmla="*/ 704728 h 937592"/>
                    <a:gd name="connsiteX935" fmla="*/ 372837 w 1149074"/>
                    <a:gd name="connsiteY935" fmla="*/ 703695 h 937592"/>
                    <a:gd name="connsiteX936" fmla="*/ 369983 w 1149074"/>
                    <a:gd name="connsiteY936" fmla="*/ 702178 h 937592"/>
                    <a:gd name="connsiteX937" fmla="*/ 367882 w 1149074"/>
                    <a:gd name="connsiteY937" fmla="*/ 701400 h 937592"/>
                    <a:gd name="connsiteX938" fmla="*/ 367130 w 1149074"/>
                    <a:gd name="connsiteY938" fmla="*/ 701643 h 937592"/>
                    <a:gd name="connsiteX939" fmla="*/ 365745 w 1149074"/>
                    <a:gd name="connsiteY939" fmla="*/ 701910 h 937592"/>
                    <a:gd name="connsiteX940" fmla="*/ 364507 w 1149074"/>
                    <a:gd name="connsiteY940" fmla="*/ 702323 h 937592"/>
                    <a:gd name="connsiteX941" fmla="*/ 363851 w 1149074"/>
                    <a:gd name="connsiteY941" fmla="*/ 702761 h 937592"/>
                    <a:gd name="connsiteX942" fmla="*/ 364227 w 1149074"/>
                    <a:gd name="connsiteY942" fmla="*/ 703295 h 937592"/>
                    <a:gd name="connsiteX943" fmla="*/ 364835 w 1149074"/>
                    <a:gd name="connsiteY943" fmla="*/ 703720 h 937592"/>
                    <a:gd name="connsiteX944" fmla="*/ 366024 w 1149074"/>
                    <a:gd name="connsiteY944" fmla="*/ 705128 h 937592"/>
                    <a:gd name="connsiteX945" fmla="*/ 367142 w 1149074"/>
                    <a:gd name="connsiteY945" fmla="*/ 707290 h 937592"/>
                    <a:gd name="connsiteX946" fmla="*/ 368380 w 1149074"/>
                    <a:gd name="connsiteY946" fmla="*/ 711018 h 937592"/>
                    <a:gd name="connsiteX947" fmla="*/ 368757 w 1149074"/>
                    <a:gd name="connsiteY947" fmla="*/ 711674 h 937592"/>
                    <a:gd name="connsiteX948" fmla="*/ 372290 w 1149074"/>
                    <a:gd name="connsiteY948" fmla="*/ 715996 h 937592"/>
                    <a:gd name="connsiteX949" fmla="*/ 374427 w 1149074"/>
                    <a:gd name="connsiteY949" fmla="*/ 715984 h 937592"/>
                    <a:gd name="connsiteX950" fmla="*/ 375302 w 1149074"/>
                    <a:gd name="connsiteY950" fmla="*/ 716239 h 937592"/>
                    <a:gd name="connsiteX951" fmla="*/ 376807 w 1149074"/>
                    <a:gd name="connsiteY951" fmla="*/ 717186 h 937592"/>
                    <a:gd name="connsiteX952" fmla="*/ 377245 w 1149074"/>
                    <a:gd name="connsiteY952" fmla="*/ 717696 h 937592"/>
                    <a:gd name="connsiteX953" fmla="*/ 377949 w 1149074"/>
                    <a:gd name="connsiteY953" fmla="*/ 718947 h 937592"/>
                    <a:gd name="connsiteX954" fmla="*/ 378580 w 1149074"/>
                    <a:gd name="connsiteY954" fmla="*/ 721157 h 937592"/>
                    <a:gd name="connsiteX955" fmla="*/ 379940 w 1149074"/>
                    <a:gd name="connsiteY955" fmla="*/ 721837 h 937592"/>
                    <a:gd name="connsiteX956" fmla="*/ 380815 w 1149074"/>
                    <a:gd name="connsiteY956" fmla="*/ 722590 h 937592"/>
                    <a:gd name="connsiteX957" fmla="*/ 381701 w 1149074"/>
                    <a:gd name="connsiteY957" fmla="*/ 724363 h 937592"/>
                    <a:gd name="connsiteX958" fmla="*/ 381956 w 1149074"/>
                    <a:gd name="connsiteY958" fmla="*/ 726281 h 937592"/>
                    <a:gd name="connsiteX959" fmla="*/ 380948 w 1149074"/>
                    <a:gd name="connsiteY959" fmla="*/ 729596 h 937592"/>
                    <a:gd name="connsiteX960" fmla="*/ 378083 w 1149074"/>
                    <a:gd name="connsiteY960" fmla="*/ 732146 h 937592"/>
                    <a:gd name="connsiteX961" fmla="*/ 374707 w 1149074"/>
                    <a:gd name="connsiteY961" fmla="*/ 733859 h 937592"/>
                    <a:gd name="connsiteX962" fmla="*/ 370177 w 1149074"/>
                    <a:gd name="connsiteY962" fmla="*/ 735170 h 937592"/>
                    <a:gd name="connsiteX963" fmla="*/ 367992 w 1149074"/>
                    <a:gd name="connsiteY963" fmla="*/ 736542 h 937592"/>
                    <a:gd name="connsiteX964" fmla="*/ 362394 w 1149074"/>
                    <a:gd name="connsiteY964" fmla="*/ 740817 h 937592"/>
                    <a:gd name="connsiteX965" fmla="*/ 357925 w 1149074"/>
                    <a:gd name="connsiteY965" fmla="*/ 744994 h 937592"/>
                    <a:gd name="connsiteX966" fmla="*/ 354756 w 1149074"/>
                    <a:gd name="connsiteY966" fmla="*/ 747398 h 937592"/>
                    <a:gd name="connsiteX967" fmla="*/ 343074 w 1149074"/>
                    <a:gd name="connsiteY967" fmla="*/ 752680 h 937592"/>
                    <a:gd name="connsiteX968" fmla="*/ 339407 w 1149074"/>
                    <a:gd name="connsiteY968" fmla="*/ 752279 h 937592"/>
                    <a:gd name="connsiteX969" fmla="*/ 337100 w 1149074"/>
                    <a:gd name="connsiteY969" fmla="*/ 750652 h 937592"/>
                    <a:gd name="connsiteX970" fmla="*/ 334890 w 1149074"/>
                    <a:gd name="connsiteY970" fmla="*/ 748357 h 937592"/>
                    <a:gd name="connsiteX971" fmla="*/ 333712 w 1149074"/>
                    <a:gd name="connsiteY971" fmla="*/ 747993 h 937592"/>
                    <a:gd name="connsiteX972" fmla="*/ 332243 w 1149074"/>
                    <a:gd name="connsiteY972" fmla="*/ 747738 h 937592"/>
                    <a:gd name="connsiteX973" fmla="*/ 330992 w 1149074"/>
                    <a:gd name="connsiteY973" fmla="*/ 748163 h 937592"/>
                    <a:gd name="connsiteX974" fmla="*/ 329984 w 1149074"/>
                    <a:gd name="connsiteY974" fmla="*/ 748989 h 937592"/>
                    <a:gd name="connsiteX975" fmla="*/ 327276 w 1149074"/>
                    <a:gd name="connsiteY975" fmla="*/ 751709 h 937592"/>
                    <a:gd name="connsiteX976" fmla="*/ 325467 w 1149074"/>
                    <a:gd name="connsiteY976" fmla="*/ 754149 h 937592"/>
                    <a:gd name="connsiteX977" fmla="*/ 321545 w 1149074"/>
                    <a:gd name="connsiteY977" fmla="*/ 760974 h 937592"/>
                    <a:gd name="connsiteX978" fmla="*/ 319432 w 1149074"/>
                    <a:gd name="connsiteY978" fmla="*/ 763997 h 937592"/>
                    <a:gd name="connsiteX979" fmla="*/ 317004 w 1149074"/>
                    <a:gd name="connsiteY979" fmla="*/ 766754 h 937592"/>
                    <a:gd name="connsiteX980" fmla="*/ 312098 w 1149074"/>
                    <a:gd name="connsiteY980" fmla="*/ 771380 h 937592"/>
                    <a:gd name="connsiteX981" fmla="*/ 312523 w 1149074"/>
                    <a:gd name="connsiteY981" fmla="*/ 771635 h 937592"/>
                    <a:gd name="connsiteX982" fmla="*/ 312596 w 1149074"/>
                    <a:gd name="connsiteY982" fmla="*/ 772789 h 937592"/>
                    <a:gd name="connsiteX983" fmla="*/ 312268 w 1149074"/>
                    <a:gd name="connsiteY983" fmla="*/ 775193 h 937592"/>
                    <a:gd name="connsiteX984" fmla="*/ 311588 w 1149074"/>
                    <a:gd name="connsiteY984" fmla="*/ 777391 h 937592"/>
                    <a:gd name="connsiteX985" fmla="*/ 311479 w 1149074"/>
                    <a:gd name="connsiteY985" fmla="*/ 778435 h 937592"/>
                    <a:gd name="connsiteX986" fmla="*/ 314150 w 1149074"/>
                    <a:gd name="connsiteY986" fmla="*/ 781993 h 937592"/>
                    <a:gd name="connsiteX987" fmla="*/ 315425 w 1149074"/>
                    <a:gd name="connsiteY987" fmla="*/ 785029 h 937592"/>
                    <a:gd name="connsiteX988" fmla="*/ 317829 w 1149074"/>
                    <a:gd name="connsiteY988" fmla="*/ 784859 h 937592"/>
                    <a:gd name="connsiteX989" fmla="*/ 320064 w 1149074"/>
                    <a:gd name="connsiteY989" fmla="*/ 784907 h 937592"/>
                    <a:gd name="connsiteX990" fmla="*/ 321144 w 1149074"/>
                    <a:gd name="connsiteY990" fmla="*/ 785697 h 937592"/>
                    <a:gd name="connsiteX991" fmla="*/ 322019 w 1149074"/>
                    <a:gd name="connsiteY991" fmla="*/ 786462 h 937592"/>
                    <a:gd name="connsiteX992" fmla="*/ 322577 w 1149074"/>
                    <a:gd name="connsiteY992" fmla="*/ 787154 h 937592"/>
                    <a:gd name="connsiteX993" fmla="*/ 323136 w 1149074"/>
                    <a:gd name="connsiteY993" fmla="*/ 788611 h 937592"/>
                    <a:gd name="connsiteX994" fmla="*/ 323573 w 1149074"/>
                    <a:gd name="connsiteY994" fmla="*/ 792497 h 937592"/>
                    <a:gd name="connsiteX995" fmla="*/ 313919 w 1149074"/>
                    <a:gd name="connsiteY995" fmla="*/ 804336 h 937592"/>
                    <a:gd name="connsiteX996" fmla="*/ 313604 w 1149074"/>
                    <a:gd name="connsiteY996" fmla="*/ 805538 h 937592"/>
                    <a:gd name="connsiteX997" fmla="*/ 314235 w 1149074"/>
                    <a:gd name="connsiteY997" fmla="*/ 806157 h 937592"/>
                    <a:gd name="connsiteX998" fmla="*/ 315583 w 1149074"/>
                    <a:gd name="connsiteY998" fmla="*/ 808902 h 937592"/>
                    <a:gd name="connsiteX999" fmla="*/ 315971 w 1149074"/>
                    <a:gd name="connsiteY999" fmla="*/ 812399 h 937592"/>
                    <a:gd name="connsiteX1000" fmla="*/ 314915 w 1149074"/>
                    <a:gd name="connsiteY1000" fmla="*/ 819260 h 937592"/>
                    <a:gd name="connsiteX1001" fmla="*/ 311916 w 1149074"/>
                    <a:gd name="connsiteY1001" fmla="*/ 822089 h 937592"/>
                    <a:gd name="connsiteX1002" fmla="*/ 309256 w 1149074"/>
                    <a:gd name="connsiteY1002" fmla="*/ 822866 h 937592"/>
                    <a:gd name="connsiteX1003" fmla="*/ 305735 w 1149074"/>
                    <a:gd name="connsiteY1003" fmla="*/ 822769 h 937592"/>
                    <a:gd name="connsiteX1004" fmla="*/ 304861 w 1149074"/>
                    <a:gd name="connsiteY1004" fmla="*/ 822939 h 937592"/>
                    <a:gd name="connsiteX1005" fmla="*/ 303659 w 1149074"/>
                    <a:gd name="connsiteY1005" fmla="*/ 823461 h 937592"/>
                    <a:gd name="connsiteX1006" fmla="*/ 297040 w 1149074"/>
                    <a:gd name="connsiteY1006" fmla="*/ 826740 h 937592"/>
                    <a:gd name="connsiteX1007" fmla="*/ 294576 w 1149074"/>
                    <a:gd name="connsiteY1007" fmla="*/ 827262 h 937592"/>
                    <a:gd name="connsiteX1008" fmla="*/ 286877 w 1149074"/>
                    <a:gd name="connsiteY1008" fmla="*/ 827590 h 937592"/>
                    <a:gd name="connsiteX1009" fmla="*/ 283598 w 1149074"/>
                    <a:gd name="connsiteY1009" fmla="*/ 826898 h 937592"/>
                    <a:gd name="connsiteX1010" fmla="*/ 281255 w 1149074"/>
                    <a:gd name="connsiteY1010" fmla="*/ 825028 h 937592"/>
                    <a:gd name="connsiteX1011" fmla="*/ 280332 w 1149074"/>
                    <a:gd name="connsiteY1011" fmla="*/ 822781 h 937592"/>
                    <a:gd name="connsiteX1012" fmla="*/ 280101 w 1149074"/>
                    <a:gd name="connsiteY1012" fmla="*/ 820001 h 937592"/>
                    <a:gd name="connsiteX1013" fmla="*/ 280526 w 1149074"/>
                    <a:gd name="connsiteY1013" fmla="*/ 817074 h 937592"/>
                    <a:gd name="connsiteX1014" fmla="*/ 278535 w 1149074"/>
                    <a:gd name="connsiteY1014" fmla="*/ 816940 h 937592"/>
                    <a:gd name="connsiteX1015" fmla="*/ 275426 w 1149074"/>
                    <a:gd name="connsiteY1015" fmla="*/ 815933 h 937592"/>
                    <a:gd name="connsiteX1016" fmla="*/ 272585 w 1149074"/>
                    <a:gd name="connsiteY1016" fmla="*/ 813881 h 937592"/>
                    <a:gd name="connsiteX1017" fmla="*/ 270933 w 1149074"/>
                    <a:gd name="connsiteY1017" fmla="*/ 812775 h 937592"/>
                    <a:gd name="connsiteX1018" fmla="*/ 269452 w 1149074"/>
                    <a:gd name="connsiteY1018" fmla="*/ 812569 h 937592"/>
                    <a:gd name="connsiteX1019" fmla="*/ 266780 w 1149074"/>
                    <a:gd name="connsiteY1019" fmla="*/ 813176 h 937592"/>
                    <a:gd name="connsiteX1020" fmla="*/ 266525 w 1149074"/>
                    <a:gd name="connsiteY1020" fmla="*/ 813468 h 937592"/>
                    <a:gd name="connsiteX1021" fmla="*/ 266586 w 1149074"/>
                    <a:gd name="connsiteY1021" fmla="*/ 814439 h 937592"/>
                    <a:gd name="connsiteX1022" fmla="*/ 267691 w 1149074"/>
                    <a:gd name="connsiteY1022" fmla="*/ 818483 h 937592"/>
                    <a:gd name="connsiteX1023" fmla="*/ 267618 w 1149074"/>
                    <a:gd name="connsiteY1023" fmla="*/ 821883 h 937592"/>
                    <a:gd name="connsiteX1024" fmla="*/ 266586 w 1149074"/>
                    <a:gd name="connsiteY1024" fmla="*/ 825076 h 937592"/>
                    <a:gd name="connsiteX1025" fmla="*/ 264340 w 1149074"/>
                    <a:gd name="connsiteY1025" fmla="*/ 828391 h 937592"/>
                    <a:gd name="connsiteX1026" fmla="*/ 261425 w 1149074"/>
                    <a:gd name="connsiteY1026" fmla="*/ 830540 h 937592"/>
                    <a:gd name="connsiteX1027" fmla="*/ 255135 w 1149074"/>
                    <a:gd name="connsiteY1027" fmla="*/ 832969 h 937592"/>
                    <a:gd name="connsiteX1028" fmla="*/ 249671 w 1149074"/>
                    <a:gd name="connsiteY1028" fmla="*/ 836697 h 937592"/>
                    <a:gd name="connsiteX1029" fmla="*/ 246149 w 1149074"/>
                    <a:gd name="connsiteY1029" fmla="*/ 838603 h 937592"/>
                    <a:gd name="connsiteX1030" fmla="*/ 244535 w 1149074"/>
                    <a:gd name="connsiteY1030" fmla="*/ 839805 h 937592"/>
                    <a:gd name="connsiteX1031" fmla="*/ 244292 w 1149074"/>
                    <a:gd name="connsiteY1031" fmla="*/ 840097 h 937592"/>
                    <a:gd name="connsiteX1032" fmla="*/ 243952 w 1149074"/>
                    <a:gd name="connsiteY1032" fmla="*/ 841214 h 937592"/>
                    <a:gd name="connsiteX1033" fmla="*/ 243162 w 1149074"/>
                    <a:gd name="connsiteY1033" fmla="*/ 845428 h 937592"/>
                    <a:gd name="connsiteX1034" fmla="*/ 242373 w 1149074"/>
                    <a:gd name="connsiteY1034" fmla="*/ 847820 h 937592"/>
                    <a:gd name="connsiteX1035" fmla="*/ 239920 w 1149074"/>
                    <a:gd name="connsiteY1035" fmla="*/ 850929 h 937592"/>
                    <a:gd name="connsiteX1036" fmla="*/ 239155 w 1149074"/>
                    <a:gd name="connsiteY1036" fmla="*/ 851779 h 937592"/>
                    <a:gd name="connsiteX1037" fmla="*/ 235767 w 1149074"/>
                    <a:gd name="connsiteY1037" fmla="*/ 852167 h 937592"/>
                    <a:gd name="connsiteX1038" fmla="*/ 232452 w 1149074"/>
                    <a:gd name="connsiteY1038" fmla="*/ 850322 h 937592"/>
                    <a:gd name="connsiteX1039" fmla="*/ 229902 w 1149074"/>
                    <a:gd name="connsiteY1039" fmla="*/ 850297 h 937592"/>
                    <a:gd name="connsiteX1040" fmla="*/ 227741 w 1149074"/>
                    <a:gd name="connsiteY1040" fmla="*/ 849787 h 937592"/>
                    <a:gd name="connsiteX1041" fmla="*/ 225021 w 1149074"/>
                    <a:gd name="connsiteY1041" fmla="*/ 848221 h 937592"/>
                    <a:gd name="connsiteX1042" fmla="*/ 223831 w 1149074"/>
                    <a:gd name="connsiteY1042" fmla="*/ 846363 h 937592"/>
                    <a:gd name="connsiteX1043" fmla="*/ 223005 w 1149074"/>
                    <a:gd name="connsiteY1043" fmla="*/ 843716 h 937592"/>
                    <a:gd name="connsiteX1044" fmla="*/ 222969 w 1149074"/>
                    <a:gd name="connsiteY1044" fmla="*/ 840886 h 937592"/>
                    <a:gd name="connsiteX1045" fmla="*/ 223418 w 1149074"/>
                    <a:gd name="connsiteY1045" fmla="*/ 838239 h 937592"/>
                    <a:gd name="connsiteX1046" fmla="*/ 226126 w 1149074"/>
                    <a:gd name="connsiteY1046" fmla="*/ 832107 h 937592"/>
                    <a:gd name="connsiteX1047" fmla="*/ 226296 w 1149074"/>
                    <a:gd name="connsiteY1047" fmla="*/ 831209 h 937592"/>
                    <a:gd name="connsiteX1048" fmla="*/ 226211 w 1149074"/>
                    <a:gd name="connsiteY1048" fmla="*/ 830358 h 937592"/>
                    <a:gd name="connsiteX1049" fmla="*/ 225239 w 1149074"/>
                    <a:gd name="connsiteY1049" fmla="*/ 828683 h 937592"/>
                    <a:gd name="connsiteX1050" fmla="*/ 224450 w 1149074"/>
                    <a:gd name="connsiteY1050" fmla="*/ 827687 h 937592"/>
                    <a:gd name="connsiteX1051" fmla="*/ 223491 w 1149074"/>
                    <a:gd name="connsiteY1051" fmla="*/ 826716 h 937592"/>
                    <a:gd name="connsiteX1052" fmla="*/ 214371 w 1149074"/>
                    <a:gd name="connsiteY1052" fmla="*/ 818738 h 937592"/>
                    <a:gd name="connsiteX1053" fmla="*/ 211894 w 1149074"/>
                    <a:gd name="connsiteY1053" fmla="*/ 815726 h 937592"/>
                    <a:gd name="connsiteX1054" fmla="*/ 210389 w 1149074"/>
                    <a:gd name="connsiteY1054" fmla="*/ 812933 h 937592"/>
                    <a:gd name="connsiteX1055" fmla="*/ 209842 w 1149074"/>
                    <a:gd name="connsiteY1055" fmla="*/ 809606 h 937592"/>
                    <a:gd name="connsiteX1056" fmla="*/ 210364 w 1149074"/>
                    <a:gd name="connsiteY1056" fmla="*/ 804992 h 937592"/>
                    <a:gd name="connsiteX1057" fmla="*/ 210279 w 1149074"/>
                    <a:gd name="connsiteY1057" fmla="*/ 803960 h 937592"/>
                    <a:gd name="connsiteX1058" fmla="*/ 209563 w 1149074"/>
                    <a:gd name="connsiteY1058" fmla="*/ 802551 h 937592"/>
                    <a:gd name="connsiteX1059" fmla="*/ 209247 w 1149074"/>
                    <a:gd name="connsiteY1059" fmla="*/ 801155 h 937592"/>
                    <a:gd name="connsiteX1060" fmla="*/ 209126 w 1149074"/>
                    <a:gd name="connsiteY1060" fmla="*/ 799054 h 937592"/>
                    <a:gd name="connsiteX1061" fmla="*/ 209223 w 1149074"/>
                    <a:gd name="connsiteY1061" fmla="*/ 797414 h 937592"/>
                    <a:gd name="connsiteX1062" fmla="*/ 206260 w 1149074"/>
                    <a:gd name="connsiteY1062" fmla="*/ 797099 h 937592"/>
                    <a:gd name="connsiteX1063" fmla="*/ 203382 w 1149074"/>
                    <a:gd name="connsiteY1063" fmla="*/ 795836 h 937592"/>
                    <a:gd name="connsiteX1064" fmla="*/ 201415 w 1149074"/>
                    <a:gd name="connsiteY1064" fmla="*/ 795326 h 937592"/>
                    <a:gd name="connsiteX1065" fmla="*/ 200929 w 1149074"/>
                    <a:gd name="connsiteY1065" fmla="*/ 795447 h 937592"/>
                    <a:gd name="connsiteX1066" fmla="*/ 199861 w 1149074"/>
                    <a:gd name="connsiteY1066" fmla="*/ 796565 h 937592"/>
                    <a:gd name="connsiteX1067" fmla="*/ 198197 w 1149074"/>
                    <a:gd name="connsiteY1067" fmla="*/ 801325 h 937592"/>
                    <a:gd name="connsiteX1068" fmla="*/ 196643 w 1149074"/>
                    <a:gd name="connsiteY1068" fmla="*/ 804372 h 937592"/>
                    <a:gd name="connsiteX1069" fmla="*/ 189673 w 1149074"/>
                    <a:gd name="connsiteY1069" fmla="*/ 812824 h 937592"/>
                    <a:gd name="connsiteX1070" fmla="*/ 189138 w 1149074"/>
                    <a:gd name="connsiteY1070" fmla="*/ 813771 h 937592"/>
                    <a:gd name="connsiteX1071" fmla="*/ 189576 w 1149074"/>
                    <a:gd name="connsiteY1071" fmla="*/ 816430 h 937592"/>
                    <a:gd name="connsiteX1072" fmla="*/ 189588 w 1149074"/>
                    <a:gd name="connsiteY1072" fmla="*/ 819381 h 937592"/>
                    <a:gd name="connsiteX1073" fmla="*/ 189017 w 1149074"/>
                    <a:gd name="connsiteY1073" fmla="*/ 822891 h 937592"/>
                    <a:gd name="connsiteX1074" fmla="*/ 186090 w 1149074"/>
                    <a:gd name="connsiteY1074" fmla="*/ 830480 h 937592"/>
                    <a:gd name="connsiteX1075" fmla="*/ 185957 w 1149074"/>
                    <a:gd name="connsiteY1075" fmla="*/ 831403 h 937592"/>
                    <a:gd name="connsiteX1076" fmla="*/ 187390 w 1149074"/>
                    <a:gd name="connsiteY1076" fmla="*/ 833674 h 937592"/>
                    <a:gd name="connsiteX1077" fmla="*/ 187851 w 1149074"/>
                    <a:gd name="connsiteY1077" fmla="*/ 836624 h 937592"/>
                    <a:gd name="connsiteX1078" fmla="*/ 186916 w 1149074"/>
                    <a:gd name="connsiteY1078" fmla="*/ 840449 h 937592"/>
                    <a:gd name="connsiteX1079" fmla="*/ 185520 w 1149074"/>
                    <a:gd name="connsiteY1079" fmla="*/ 843254 h 937592"/>
                    <a:gd name="connsiteX1080" fmla="*/ 179218 w 1149074"/>
                    <a:gd name="connsiteY1080" fmla="*/ 852932 h 937592"/>
                    <a:gd name="connsiteX1081" fmla="*/ 178307 w 1149074"/>
                    <a:gd name="connsiteY1081" fmla="*/ 854875 h 937592"/>
                    <a:gd name="connsiteX1082" fmla="*/ 178295 w 1149074"/>
                    <a:gd name="connsiteY1082" fmla="*/ 855142 h 937592"/>
                    <a:gd name="connsiteX1083" fmla="*/ 178647 w 1149074"/>
                    <a:gd name="connsiteY1083" fmla="*/ 856077 h 937592"/>
                    <a:gd name="connsiteX1084" fmla="*/ 179934 w 1149074"/>
                    <a:gd name="connsiteY1084" fmla="*/ 857146 h 937592"/>
                    <a:gd name="connsiteX1085" fmla="*/ 185107 w 1149074"/>
                    <a:gd name="connsiteY1085" fmla="*/ 860837 h 937592"/>
                    <a:gd name="connsiteX1086" fmla="*/ 187317 w 1149074"/>
                    <a:gd name="connsiteY1086" fmla="*/ 863630 h 937592"/>
                    <a:gd name="connsiteX1087" fmla="*/ 187948 w 1149074"/>
                    <a:gd name="connsiteY1087" fmla="*/ 866848 h 937592"/>
                    <a:gd name="connsiteX1088" fmla="*/ 186176 w 1149074"/>
                    <a:gd name="connsiteY1088" fmla="*/ 870114 h 937592"/>
                    <a:gd name="connsiteX1089" fmla="*/ 183808 w 1149074"/>
                    <a:gd name="connsiteY1089" fmla="*/ 871632 h 937592"/>
                    <a:gd name="connsiteX1090" fmla="*/ 182205 w 1149074"/>
                    <a:gd name="connsiteY1090" fmla="*/ 872385 h 937592"/>
                    <a:gd name="connsiteX1091" fmla="*/ 182278 w 1149074"/>
                    <a:gd name="connsiteY1091" fmla="*/ 874012 h 937592"/>
                    <a:gd name="connsiteX1092" fmla="*/ 183055 w 1149074"/>
                    <a:gd name="connsiteY1092" fmla="*/ 876854 h 937592"/>
                    <a:gd name="connsiteX1093" fmla="*/ 183565 w 1149074"/>
                    <a:gd name="connsiteY1093" fmla="*/ 880084 h 937592"/>
                    <a:gd name="connsiteX1094" fmla="*/ 183140 w 1149074"/>
                    <a:gd name="connsiteY1094" fmla="*/ 884322 h 937592"/>
                    <a:gd name="connsiteX1095" fmla="*/ 180845 w 1149074"/>
                    <a:gd name="connsiteY1095" fmla="*/ 887527 h 937592"/>
                    <a:gd name="connsiteX1096" fmla="*/ 177833 w 1149074"/>
                    <a:gd name="connsiteY1096" fmla="*/ 888317 h 937592"/>
                    <a:gd name="connsiteX1097" fmla="*/ 171920 w 1149074"/>
                    <a:gd name="connsiteY1097" fmla="*/ 887977 h 937592"/>
                    <a:gd name="connsiteX1098" fmla="*/ 170572 w 1149074"/>
                    <a:gd name="connsiteY1098" fmla="*/ 888317 h 937592"/>
                    <a:gd name="connsiteX1099" fmla="*/ 169819 w 1149074"/>
                    <a:gd name="connsiteY1099" fmla="*/ 888960 h 937592"/>
                    <a:gd name="connsiteX1100" fmla="*/ 168957 w 1149074"/>
                    <a:gd name="connsiteY1100" fmla="*/ 890757 h 937592"/>
                    <a:gd name="connsiteX1101" fmla="*/ 168398 w 1149074"/>
                    <a:gd name="connsiteY1101" fmla="*/ 892785 h 937592"/>
                    <a:gd name="connsiteX1102" fmla="*/ 166164 w 1149074"/>
                    <a:gd name="connsiteY1102" fmla="*/ 896307 h 937592"/>
                    <a:gd name="connsiteX1103" fmla="*/ 162618 w 1149074"/>
                    <a:gd name="connsiteY1103" fmla="*/ 897861 h 937592"/>
                    <a:gd name="connsiteX1104" fmla="*/ 159813 w 1149074"/>
                    <a:gd name="connsiteY1104" fmla="*/ 897448 h 937592"/>
                    <a:gd name="connsiteX1105" fmla="*/ 157530 w 1149074"/>
                    <a:gd name="connsiteY1105" fmla="*/ 896562 h 937592"/>
                    <a:gd name="connsiteX1106" fmla="*/ 156122 w 1149074"/>
                    <a:gd name="connsiteY1106" fmla="*/ 896513 h 937592"/>
                    <a:gd name="connsiteX1107" fmla="*/ 153596 w 1149074"/>
                    <a:gd name="connsiteY1107" fmla="*/ 896683 h 937592"/>
                    <a:gd name="connsiteX1108" fmla="*/ 150196 w 1149074"/>
                    <a:gd name="connsiteY1108" fmla="*/ 896355 h 937592"/>
                    <a:gd name="connsiteX1109" fmla="*/ 149492 w 1149074"/>
                    <a:gd name="connsiteY1109" fmla="*/ 895967 h 937592"/>
                    <a:gd name="connsiteX1110" fmla="*/ 145509 w 1149074"/>
                    <a:gd name="connsiteY1110" fmla="*/ 891899 h 937592"/>
                    <a:gd name="connsiteX1111" fmla="*/ 143274 w 1149074"/>
                    <a:gd name="connsiteY1111" fmla="*/ 890199 h 937592"/>
                    <a:gd name="connsiteX1112" fmla="*/ 140372 w 1149074"/>
                    <a:gd name="connsiteY1112" fmla="*/ 888462 h 937592"/>
                    <a:gd name="connsiteX1113" fmla="*/ 134277 w 1149074"/>
                    <a:gd name="connsiteY1113" fmla="*/ 886799 h 937592"/>
                    <a:gd name="connsiteX1114" fmla="*/ 126299 w 1149074"/>
                    <a:gd name="connsiteY1114" fmla="*/ 887916 h 937592"/>
                    <a:gd name="connsiteX1115" fmla="*/ 117580 w 1149074"/>
                    <a:gd name="connsiteY1115" fmla="*/ 894279 h 937592"/>
                    <a:gd name="connsiteX1116" fmla="*/ 109930 w 1149074"/>
                    <a:gd name="connsiteY1116" fmla="*/ 895785 h 937592"/>
                    <a:gd name="connsiteX1117" fmla="*/ 103858 w 1149074"/>
                    <a:gd name="connsiteY1117" fmla="*/ 896282 h 937592"/>
                    <a:gd name="connsiteX1118" fmla="*/ 86081 w 1149074"/>
                    <a:gd name="connsiteY1118" fmla="*/ 907928 h 937592"/>
                    <a:gd name="connsiteX1119" fmla="*/ 73270 w 1149074"/>
                    <a:gd name="connsiteY1119" fmla="*/ 913768 h 937592"/>
                    <a:gd name="connsiteX1120" fmla="*/ 69895 w 1149074"/>
                    <a:gd name="connsiteY1120" fmla="*/ 915796 h 937592"/>
                    <a:gd name="connsiteX1121" fmla="*/ 67624 w 1149074"/>
                    <a:gd name="connsiteY1121" fmla="*/ 917946 h 937592"/>
                    <a:gd name="connsiteX1122" fmla="*/ 66519 w 1149074"/>
                    <a:gd name="connsiteY1122" fmla="*/ 919645 h 937592"/>
                    <a:gd name="connsiteX1123" fmla="*/ 63933 w 1149074"/>
                    <a:gd name="connsiteY1123" fmla="*/ 922402 h 937592"/>
                    <a:gd name="connsiteX1124" fmla="*/ 60399 w 1149074"/>
                    <a:gd name="connsiteY1124" fmla="*/ 924211 h 937592"/>
                    <a:gd name="connsiteX1125" fmla="*/ 53040 w 1149074"/>
                    <a:gd name="connsiteY1125" fmla="*/ 925256 h 937592"/>
                    <a:gd name="connsiteX1126" fmla="*/ 51231 w 1149074"/>
                    <a:gd name="connsiteY1126" fmla="*/ 926543 h 937592"/>
                    <a:gd name="connsiteX1127" fmla="*/ 48390 w 1149074"/>
                    <a:gd name="connsiteY1127" fmla="*/ 928947 h 937592"/>
                    <a:gd name="connsiteX1128" fmla="*/ 45500 w 1149074"/>
                    <a:gd name="connsiteY1128" fmla="*/ 931995 h 937592"/>
                    <a:gd name="connsiteX1129" fmla="*/ 38432 w 1149074"/>
                    <a:gd name="connsiteY1129" fmla="*/ 935965 h 937592"/>
                    <a:gd name="connsiteX1130" fmla="*/ 33345 w 1149074"/>
                    <a:gd name="connsiteY1130" fmla="*/ 934302 h 937592"/>
                    <a:gd name="connsiteX1131" fmla="*/ 26387 w 1149074"/>
                    <a:gd name="connsiteY1131" fmla="*/ 930125 h 937592"/>
                    <a:gd name="connsiteX1132" fmla="*/ 25767 w 1149074"/>
                    <a:gd name="connsiteY1132" fmla="*/ 930064 h 937592"/>
                    <a:gd name="connsiteX1133" fmla="*/ 25537 w 1149074"/>
                    <a:gd name="connsiteY1133" fmla="*/ 930380 h 937592"/>
                    <a:gd name="connsiteX1134" fmla="*/ 24747 w 1149074"/>
                    <a:gd name="connsiteY1134" fmla="*/ 932966 h 937592"/>
                    <a:gd name="connsiteX1135" fmla="*/ 23582 w 1149074"/>
                    <a:gd name="connsiteY1135" fmla="*/ 935031 h 937592"/>
                    <a:gd name="connsiteX1136" fmla="*/ 21469 w 1149074"/>
                    <a:gd name="connsiteY1136" fmla="*/ 936900 h 937592"/>
                    <a:gd name="connsiteX1137" fmla="*/ 20716 w 1149074"/>
                    <a:gd name="connsiteY1137" fmla="*/ 937471 h 937592"/>
                    <a:gd name="connsiteX1138" fmla="*/ 17935 w 1149074"/>
                    <a:gd name="connsiteY1138" fmla="*/ 937593 h 937592"/>
                    <a:gd name="connsiteX1139" fmla="*/ 15288 w 1149074"/>
                    <a:gd name="connsiteY1139" fmla="*/ 936755 h 937592"/>
                    <a:gd name="connsiteX1140" fmla="*/ 706865 w 1149074"/>
                    <a:gd name="connsiteY1140" fmla="*/ 598878 h 937592"/>
                    <a:gd name="connsiteX1141" fmla="*/ 707010 w 1149074"/>
                    <a:gd name="connsiteY1141" fmla="*/ 599667 h 937592"/>
                    <a:gd name="connsiteX1142" fmla="*/ 709208 w 1149074"/>
                    <a:gd name="connsiteY1142" fmla="*/ 598525 h 937592"/>
                    <a:gd name="connsiteX1143" fmla="*/ 711770 w 1149074"/>
                    <a:gd name="connsiteY1143" fmla="*/ 598100 h 937592"/>
                    <a:gd name="connsiteX1144" fmla="*/ 713556 w 1149074"/>
                    <a:gd name="connsiteY1144" fmla="*/ 598125 h 937592"/>
                    <a:gd name="connsiteX1145" fmla="*/ 714126 w 1149074"/>
                    <a:gd name="connsiteY1145" fmla="*/ 597906 h 937592"/>
                    <a:gd name="connsiteX1146" fmla="*/ 714843 w 1149074"/>
                    <a:gd name="connsiteY1146" fmla="*/ 597335 h 937592"/>
                    <a:gd name="connsiteX1147" fmla="*/ 714806 w 1149074"/>
                    <a:gd name="connsiteY1147" fmla="*/ 596971 h 937592"/>
                    <a:gd name="connsiteX1148" fmla="*/ 714053 w 1149074"/>
                    <a:gd name="connsiteY1148" fmla="*/ 595769 h 937592"/>
                    <a:gd name="connsiteX1149" fmla="*/ 713640 w 1149074"/>
                    <a:gd name="connsiteY1149" fmla="*/ 594895 h 937592"/>
                    <a:gd name="connsiteX1150" fmla="*/ 714515 w 1149074"/>
                    <a:gd name="connsiteY1150" fmla="*/ 590220 h 937592"/>
                    <a:gd name="connsiteX1151" fmla="*/ 713143 w 1149074"/>
                    <a:gd name="connsiteY1151" fmla="*/ 589746 h 937592"/>
                    <a:gd name="connsiteX1152" fmla="*/ 713143 w 1149074"/>
                    <a:gd name="connsiteY1152" fmla="*/ 583262 h 937592"/>
                    <a:gd name="connsiteX1153" fmla="*/ 718728 w 1149074"/>
                    <a:gd name="connsiteY1153" fmla="*/ 583177 h 937592"/>
                    <a:gd name="connsiteX1154" fmla="*/ 719894 w 1149074"/>
                    <a:gd name="connsiteY1154" fmla="*/ 582145 h 937592"/>
                    <a:gd name="connsiteX1155" fmla="*/ 721728 w 1149074"/>
                    <a:gd name="connsiteY1155" fmla="*/ 579777 h 937592"/>
                    <a:gd name="connsiteX1156" fmla="*/ 720914 w 1149074"/>
                    <a:gd name="connsiteY1156" fmla="*/ 577858 h 937592"/>
                    <a:gd name="connsiteX1157" fmla="*/ 720586 w 1149074"/>
                    <a:gd name="connsiteY1157" fmla="*/ 575029 h 937592"/>
                    <a:gd name="connsiteX1158" fmla="*/ 721679 w 1149074"/>
                    <a:gd name="connsiteY1158" fmla="*/ 573985 h 937592"/>
                    <a:gd name="connsiteX1159" fmla="*/ 723367 w 1149074"/>
                    <a:gd name="connsiteY1159" fmla="*/ 571374 h 937592"/>
                    <a:gd name="connsiteX1160" fmla="*/ 723185 w 1149074"/>
                    <a:gd name="connsiteY1160" fmla="*/ 569018 h 937592"/>
                    <a:gd name="connsiteX1161" fmla="*/ 726500 w 1149074"/>
                    <a:gd name="connsiteY1161" fmla="*/ 568472 h 937592"/>
                    <a:gd name="connsiteX1162" fmla="*/ 729025 w 1149074"/>
                    <a:gd name="connsiteY1162" fmla="*/ 568557 h 937592"/>
                    <a:gd name="connsiteX1163" fmla="*/ 737198 w 1149074"/>
                    <a:gd name="connsiteY1163" fmla="*/ 570912 h 937592"/>
                    <a:gd name="connsiteX1164" fmla="*/ 744544 w 1149074"/>
                    <a:gd name="connsiteY1164" fmla="*/ 564416 h 937592"/>
                    <a:gd name="connsiteX1165" fmla="*/ 748090 w 1149074"/>
                    <a:gd name="connsiteY1165" fmla="*/ 564270 h 937592"/>
                    <a:gd name="connsiteX1166" fmla="*/ 749972 w 1149074"/>
                    <a:gd name="connsiteY1166" fmla="*/ 564768 h 937592"/>
                    <a:gd name="connsiteX1167" fmla="*/ 753153 w 1149074"/>
                    <a:gd name="connsiteY1167" fmla="*/ 559037 h 937592"/>
                    <a:gd name="connsiteX1168" fmla="*/ 757404 w 1149074"/>
                    <a:gd name="connsiteY1168" fmla="*/ 565387 h 937592"/>
                    <a:gd name="connsiteX1169" fmla="*/ 758363 w 1149074"/>
                    <a:gd name="connsiteY1169" fmla="*/ 567294 h 937592"/>
                    <a:gd name="connsiteX1170" fmla="*/ 758958 w 1149074"/>
                    <a:gd name="connsiteY1170" fmla="*/ 569856 h 937592"/>
                    <a:gd name="connsiteX1171" fmla="*/ 759116 w 1149074"/>
                    <a:gd name="connsiteY1171" fmla="*/ 575199 h 937592"/>
                    <a:gd name="connsiteX1172" fmla="*/ 757671 w 1149074"/>
                    <a:gd name="connsiteY1172" fmla="*/ 576110 h 937592"/>
                    <a:gd name="connsiteX1173" fmla="*/ 754708 w 1149074"/>
                    <a:gd name="connsiteY1173" fmla="*/ 577530 h 937592"/>
                    <a:gd name="connsiteX1174" fmla="*/ 754647 w 1149074"/>
                    <a:gd name="connsiteY1174" fmla="*/ 577797 h 937592"/>
                    <a:gd name="connsiteX1175" fmla="*/ 764519 w 1149074"/>
                    <a:gd name="connsiteY1175" fmla="*/ 572977 h 937592"/>
                    <a:gd name="connsiteX1176" fmla="*/ 761775 w 1149074"/>
                    <a:gd name="connsiteY1176" fmla="*/ 571605 h 937592"/>
                    <a:gd name="connsiteX1177" fmla="*/ 761022 w 1149074"/>
                    <a:gd name="connsiteY1177" fmla="*/ 568739 h 937592"/>
                    <a:gd name="connsiteX1178" fmla="*/ 760937 w 1149074"/>
                    <a:gd name="connsiteY1178" fmla="*/ 567683 h 937592"/>
                    <a:gd name="connsiteX1179" fmla="*/ 760330 w 1149074"/>
                    <a:gd name="connsiteY1179" fmla="*/ 567634 h 937592"/>
                    <a:gd name="connsiteX1180" fmla="*/ 758302 w 1149074"/>
                    <a:gd name="connsiteY1180" fmla="*/ 566407 h 937592"/>
                    <a:gd name="connsiteX1181" fmla="*/ 756748 w 1149074"/>
                    <a:gd name="connsiteY1181" fmla="*/ 564307 h 937592"/>
                    <a:gd name="connsiteX1182" fmla="*/ 757404 w 1149074"/>
                    <a:gd name="connsiteY1182" fmla="*/ 559571 h 937592"/>
                    <a:gd name="connsiteX1183" fmla="*/ 760549 w 1149074"/>
                    <a:gd name="connsiteY1183" fmla="*/ 559049 h 937592"/>
                    <a:gd name="connsiteX1184" fmla="*/ 762686 w 1149074"/>
                    <a:gd name="connsiteY1184" fmla="*/ 557410 h 937592"/>
                    <a:gd name="connsiteX1185" fmla="*/ 768757 w 1149074"/>
                    <a:gd name="connsiteY1185" fmla="*/ 555430 h 937592"/>
                    <a:gd name="connsiteX1186" fmla="*/ 779188 w 1149074"/>
                    <a:gd name="connsiteY1186" fmla="*/ 551715 h 937592"/>
                    <a:gd name="connsiteX1187" fmla="*/ 780912 w 1149074"/>
                    <a:gd name="connsiteY1187" fmla="*/ 554446 h 937592"/>
                    <a:gd name="connsiteX1188" fmla="*/ 782843 w 1149074"/>
                    <a:gd name="connsiteY1188" fmla="*/ 553196 h 937592"/>
                    <a:gd name="connsiteX1189" fmla="*/ 782540 w 1149074"/>
                    <a:gd name="connsiteY1189" fmla="*/ 552747 h 937592"/>
                    <a:gd name="connsiteX1190" fmla="*/ 782831 w 1149074"/>
                    <a:gd name="connsiteY1190" fmla="*/ 549371 h 937592"/>
                    <a:gd name="connsiteX1191" fmla="*/ 783778 w 1149074"/>
                    <a:gd name="connsiteY1191" fmla="*/ 548023 h 937592"/>
                    <a:gd name="connsiteX1192" fmla="*/ 783365 w 1149074"/>
                    <a:gd name="connsiteY1192" fmla="*/ 545692 h 937592"/>
                    <a:gd name="connsiteX1193" fmla="*/ 783887 w 1149074"/>
                    <a:gd name="connsiteY1193" fmla="*/ 530646 h 937592"/>
                    <a:gd name="connsiteX1194" fmla="*/ 783220 w 1149074"/>
                    <a:gd name="connsiteY1194" fmla="*/ 530331 h 937592"/>
                    <a:gd name="connsiteX1195" fmla="*/ 776019 w 1149074"/>
                    <a:gd name="connsiteY1195" fmla="*/ 529080 h 937592"/>
                    <a:gd name="connsiteX1196" fmla="*/ 768502 w 1149074"/>
                    <a:gd name="connsiteY1196" fmla="*/ 526724 h 937592"/>
                    <a:gd name="connsiteX1197" fmla="*/ 767179 w 1149074"/>
                    <a:gd name="connsiteY1197" fmla="*/ 526542 h 937592"/>
                    <a:gd name="connsiteX1198" fmla="*/ 763390 w 1149074"/>
                    <a:gd name="connsiteY1198" fmla="*/ 527659 h 937592"/>
                    <a:gd name="connsiteX1199" fmla="*/ 759893 w 1149074"/>
                    <a:gd name="connsiteY1199" fmla="*/ 530416 h 937592"/>
                    <a:gd name="connsiteX1200" fmla="*/ 752425 w 1149074"/>
                    <a:gd name="connsiteY1200" fmla="*/ 538260 h 937592"/>
                    <a:gd name="connsiteX1201" fmla="*/ 741157 w 1149074"/>
                    <a:gd name="connsiteY1201" fmla="*/ 547732 h 937592"/>
                    <a:gd name="connsiteX1202" fmla="*/ 737246 w 1149074"/>
                    <a:gd name="connsiteY1202" fmla="*/ 547987 h 937592"/>
                    <a:gd name="connsiteX1203" fmla="*/ 735061 w 1149074"/>
                    <a:gd name="connsiteY1203" fmla="*/ 548460 h 937592"/>
                    <a:gd name="connsiteX1204" fmla="*/ 733227 w 1149074"/>
                    <a:gd name="connsiteY1204" fmla="*/ 549201 h 937592"/>
                    <a:gd name="connsiteX1205" fmla="*/ 731782 w 1149074"/>
                    <a:gd name="connsiteY1205" fmla="*/ 550075 h 937592"/>
                    <a:gd name="connsiteX1206" fmla="*/ 728285 w 1149074"/>
                    <a:gd name="connsiteY1206" fmla="*/ 553135 h 937592"/>
                    <a:gd name="connsiteX1207" fmla="*/ 723695 w 1149074"/>
                    <a:gd name="connsiteY1207" fmla="*/ 558065 h 937592"/>
                    <a:gd name="connsiteX1208" fmla="*/ 721303 w 1149074"/>
                    <a:gd name="connsiteY1208" fmla="*/ 562254 h 937592"/>
                    <a:gd name="connsiteX1209" fmla="*/ 721958 w 1149074"/>
                    <a:gd name="connsiteY1209" fmla="*/ 567500 h 937592"/>
                    <a:gd name="connsiteX1210" fmla="*/ 718145 w 1149074"/>
                    <a:gd name="connsiteY1210" fmla="*/ 570572 h 937592"/>
                    <a:gd name="connsiteX1211" fmla="*/ 715669 w 1149074"/>
                    <a:gd name="connsiteY1211" fmla="*/ 576498 h 937592"/>
                    <a:gd name="connsiteX1212" fmla="*/ 713385 w 1149074"/>
                    <a:gd name="connsiteY1212" fmla="*/ 579425 h 937592"/>
                    <a:gd name="connsiteX1213" fmla="*/ 710131 w 1149074"/>
                    <a:gd name="connsiteY1213" fmla="*/ 582205 h 937592"/>
                    <a:gd name="connsiteX1214" fmla="*/ 709330 w 1149074"/>
                    <a:gd name="connsiteY1214" fmla="*/ 583905 h 937592"/>
                    <a:gd name="connsiteX1215" fmla="*/ 709269 w 1149074"/>
                    <a:gd name="connsiteY1215" fmla="*/ 585302 h 937592"/>
                    <a:gd name="connsiteX1216" fmla="*/ 711442 w 1149074"/>
                    <a:gd name="connsiteY1216" fmla="*/ 587573 h 937592"/>
                    <a:gd name="connsiteX1217" fmla="*/ 711442 w 1149074"/>
                    <a:gd name="connsiteY1217" fmla="*/ 592563 h 937592"/>
                    <a:gd name="connsiteX1218" fmla="*/ 706926 w 1149074"/>
                    <a:gd name="connsiteY1218" fmla="*/ 593814 h 937592"/>
                    <a:gd name="connsiteX1219" fmla="*/ 705019 w 1149074"/>
                    <a:gd name="connsiteY1219" fmla="*/ 594810 h 937592"/>
                    <a:gd name="connsiteX1220" fmla="*/ 706865 w 1149074"/>
                    <a:gd name="connsiteY1220" fmla="*/ 598878 h 937592"/>
                    <a:gd name="connsiteX1221" fmla="*/ 929311 w 1149074"/>
                    <a:gd name="connsiteY1221" fmla="*/ 504491 h 937592"/>
                    <a:gd name="connsiteX1222" fmla="*/ 930829 w 1149074"/>
                    <a:gd name="connsiteY1222" fmla="*/ 505000 h 937592"/>
                    <a:gd name="connsiteX1223" fmla="*/ 925632 w 1149074"/>
                    <a:gd name="connsiteY1223" fmla="*/ 500690 h 937592"/>
                    <a:gd name="connsiteX1224" fmla="*/ 925741 w 1149074"/>
                    <a:gd name="connsiteY1224" fmla="*/ 501491 h 937592"/>
                    <a:gd name="connsiteX1225" fmla="*/ 927720 w 1149074"/>
                    <a:gd name="connsiteY1225" fmla="*/ 504211 h 937592"/>
                    <a:gd name="connsiteX1226" fmla="*/ 929311 w 1149074"/>
                    <a:gd name="connsiteY1226" fmla="*/ 504491 h 937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Lst>
                  <a:rect l="l" t="t" r="r" b="b"/>
                  <a:pathLst>
                    <a:path w="1149074" h="937592">
                      <a:moveTo>
                        <a:pt x="15288" y="936755"/>
                      </a:moveTo>
                      <a:lnTo>
                        <a:pt x="12944" y="935808"/>
                      </a:lnTo>
                      <a:lnTo>
                        <a:pt x="1226" y="933233"/>
                      </a:lnTo>
                      <a:lnTo>
                        <a:pt x="109" y="929141"/>
                      </a:lnTo>
                      <a:lnTo>
                        <a:pt x="0" y="924818"/>
                      </a:lnTo>
                      <a:lnTo>
                        <a:pt x="486" y="921090"/>
                      </a:lnTo>
                      <a:lnTo>
                        <a:pt x="656" y="917666"/>
                      </a:lnTo>
                      <a:lnTo>
                        <a:pt x="862" y="916403"/>
                      </a:lnTo>
                      <a:lnTo>
                        <a:pt x="1154" y="915638"/>
                      </a:lnTo>
                      <a:lnTo>
                        <a:pt x="2356" y="913513"/>
                      </a:lnTo>
                      <a:lnTo>
                        <a:pt x="3886" y="912287"/>
                      </a:lnTo>
                      <a:lnTo>
                        <a:pt x="5149" y="911947"/>
                      </a:lnTo>
                      <a:lnTo>
                        <a:pt x="6861" y="911777"/>
                      </a:lnTo>
                      <a:lnTo>
                        <a:pt x="7334" y="911862"/>
                      </a:lnTo>
                      <a:lnTo>
                        <a:pt x="8670" y="912262"/>
                      </a:lnTo>
                      <a:lnTo>
                        <a:pt x="9981" y="913015"/>
                      </a:lnTo>
                      <a:lnTo>
                        <a:pt x="10868" y="913732"/>
                      </a:lnTo>
                      <a:lnTo>
                        <a:pt x="11001" y="913368"/>
                      </a:lnTo>
                      <a:lnTo>
                        <a:pt x="10965" y="911461"/>
                      </a:lnTo>
                      <a:lnTo>
                        <a:pt x="11220" y="909263"/>
                      </a:lnTo>
                      <a:lnTo>
                        <a:pt x="11815" y="906980"/>
                      </a:lnTo>
                      <a:lnTo>
                        <a:pt x="13163" y="904029"/>
                      </a:lnTo>
                      <a:lnTo>
                        <a:pt x="14110" y="902463"/>
                      </a:lnTo>
                      <a:lnTo>
                        <a:pt x="15701" y="900411"/>
                      </a:lnTo>
                      <a:lnTo>
                        <a:pt x="15968" y="899670"/>
                      </a:lnTo>
                      <a:lnTo>
                        <a:pt x="16429" y="897909"/>
                      </a:lnTo>
                      <a:lnTo>
                        <a:pt x="17231" y="893793"/>
                      </a:lnTo>
                      <a:lnTo>
                        <a:pt x="17170" y="887795"/>
                      </a:lnTo>
                      <a:lnTo>
                        <a:pt x="16927" y="886714"/>
                      </a:lnTo>
                      <a:lnTo>
                        <a:pt x="16939" y="884674"/>
                      </a:lnTo>
                      <a:lnTo>
                        <a:pt x="17352" y="882621"/>
                      </a:lnTo>
                      <a:lnTo>
                        <a:pt x="18615" y="879974"/>
                      </a:lnTo>
                      <a:lnTo>
                        <a:pt x="20424" y="877327"/>
                      </a:lnTo>
                      <a:lnTo>
                        <a:pt x="21335" y="876453"/>
                      </a:lnTo>
                      <a:lnTo>
                        <a:pt x="21966" y="875287"/>
                      </a:lnTo>
                      <a:lnTo>
                        <a:pt x="23679" y="869507"/>
                      </a:lnTo>
                      <a:lnTo>
                        <a:pt x="23970" y="866642"/>
                      </a:lnTo>
                      <a:lnTo>
                        <a:pt x="24942" y="863266"/>
                      </a:lnTo>
                      <a:lnTo>
                        <a:pt x="25197" y="861651"/>
                      </a:lnTo>
                      <a:lnTo>
                        <a:pt x="24942" y="860910"/>
                      </a:lnTo>
                      <a:lnTo>
                        <a:pt x="23630" y="858870"/>
                      </a:lnTo>
                      <a:lnTo>
                        <a:pt x="23193" y="857692"/>
                      </a:lnTo>
                      <a:lnTo>
                        <a:pt x="22926" y="855179"/>
                      </a:lnTo>
                      <a:lnTo>
                        <a:pt x="23096" y="853928"/>
                      </a:lnTo>
                      <a:lnTo>
                        <a:pt x="23691" y="851973"/>
                      </a:lnTo>
                      <a:lnTo>
                        <a:pt x="24905" y="849556"/>
                      </a:lnTo>
                      <a:lnTo>
                        <a:pt x="26411" y="847152"/>
                      </a:lnTo>
                      <a:lnTo>
                        <a:pt x="28694" y="841263"/>
                      </a:lnTo>
                      <a:lnTo>
                        <a:pt x="30369" y="839138"/>
                      </a:lnTo>
                      <a:lnTo>
                        <a:pt x="31001" y="838434"/>
                      </a:lnTo>
                      <a:lnTo>
                        <a:pt x="32895" y="837996"/>
                      </a:lnTo>
                      <a:lnTo>
                        <a:pt x="34777" y="838166"/>
                      </a:lnTo>
                      <a:lnTo>
                        <a:pt x="36368" y="838603"/>
                      </a:lnTo>
                      <a:lnTo>
                        <a:pt x="37339" y="838434"/>
                      </a:lnTo>
                      <a:lnTo>
                        <a:pt x="40217" y="837559"/>
                      </a:lnTo>
                      <a:lnTo>
                        <a:pt x="49300" y="833771"/>
                      </a:lnTo>
                      <a:lnTo>
                        <a:pt x="50478" y="832969"/>
                      </a:lnTo>
                      <a:lnTo>
                        <a:pt x="51110" y="832277"/>
                      </a:lnTo>
                      <a:lnTo>
                        <a:pt x="52858" y="828828"/>
                      </a:lnTo>
                      <a:lnTo>
                        <a:pt x="54218" y="827238"/>
                      </a:lnTo>
                      <a:lnTo>
                        <a:pt x="56258" y="825926"/>
                      </a:lnTo>
                      <a:lnTo>
                        <a:pt x="58347" y="825100"/>
                      </a:lnTo>
                      <a:lnTo>
                        <a:pt x="63738" y="824165"/>
                      </a:lnTo>
                      <a:lnTo>
                        <a:pt x="64698" y="823740"/>
                      </a:lnTo>
                      <a:lnTo>
                        <a:pt x="65402" y="823073"/>
                      </a:lnTo>
                      <a:lnTo>
                        <a:pt x="66288" y="821895"/>
                      </a:lnTo>
                      <a:lnTo>
                        <a:pt x="71923" y="811670"/>
                      </a:lnTo>
                      <a:lnTo>
                        <a:pt x="75966" y="806388"/>
                      </a:lnTo>
                      <a:lnTo>
                        <a:pt x="78601" y="803899"/>
                      </a:lnTo>
                      <a:lnTo>
                        <a:pt x="86130" y="798204"/>
                      </a:lnTo>
                      <a:lnTo>
                        <a:pt x="90428" y="792800"/>
                      </a:lnTo>
                      <a:lnTo>
                        <a:pt x="94472" y="788915"/>
                      </a:lnTo>
                      <a:lnTo>
                        <a:pt x="99171" y="785211"/>
                      </a:lnTo>
                      <a:lnTo>
                        <a:pt x="101551" y="783814"/>
                      </a:lnTo>
                      <a:lnTo>
                        <a:pt x="103506" y="782977"/>
                      </a:lnTo>
                      <a:lnTo>
                        <a:pt x="104114" y="782661"/>
                      </a:lnTo>
                      <a:lnTo>
                        <a:pt x="104429" y="782175"/>
                      </a:lnTo>
                      <a:lnTo>
                        <a:pt x="104502" y="781362"/>
                      </a:lnTo>
                      <a:lnTo>
                        <a:pt x="103871" y="779880"/>
                      </a:lnTo>
                      <a:lnTo>
                        <a:pt x="102875" y="778982"/>
                      </a:lnTo>
                      <a:lnTo>
                        <a:pt x="100058" y="777524"/>
                      </a:lnTo>
                      <a:lnTo>
                        <a:pt x="98321" y="776262"/>
                      </a:lnTo>
                      <a:lnTo>
                        <a:pt x="96415" y="774027"/>
                      </a:lnTo>
                      <a:lnTo>
                        <a:pt x="96148" y="772825"/>
                      </a:lnTo>
                      <a:lnTo>
                        <a:pt x="95978" y="771283"/>
                      </a:lnTo>
                      <a:lnTo>
                        <a:pt x="96257" y="769000"/>
                      </a:lnTo>
                      <a:lnTo>
                        <a:pt x="98540" y="766329"/>
                      </a:lnTo>
                      <a:lnTo>
                        <a:pt x="100556" y="765527"/>
                      </a:lnTo>
                      <a:lnTo>
                        <a:pt x="103081" y="765163"/>
                      </a:lnTo>
                      <a:lnTo>
                        <a:pt x="104101" y="764908"/>
                      </a:lnTo>
                      <a:lnTo>
                        <a:pt x="104684" y="764398"/>
                      </a:lnTo>
                      <a:lnTo>
                        <a:pt x="107501" y="760209"/>
                      </a:lnTo>
                      <a:lnTo>
                        <a:pt x="109274" y="758217"/>
                      </a:lnTo>
                      <a:lnTo>
                        <a:pt x="111484" y="756372"/>
                      </a:lnTo>
                      <a:lnTo>
                        <a:pt x="113706" y="754914"/>
                      </a:lnTo>
                      <a:lnTo>
                        <a:pt x="115795" y="753943"/>
                      </a:lnTo>
                      <a:lnTo>
                        <a:pt x="117568" y="753433"/>
                      </a:lnTo>
                      <a:lnTo>
                        <a:pt x="125424" y="752838"/>
                      </a:lnTo>
                      <a:lnTo>
                        <a:pt x="127598" y="752182"/>
                      </a:lnTo>
                      <a:lnTo>
                        <a:pt x="128618" y="751198"/>
                      </a:lnTo>
                      <a:lnTo>
                        <a:pt x="129177" y="749972"/>
                      </a:lnTo>
                      <a:lnTo>
                        <a:pt x="131800" y="743634"/>
                      </a:lnTo>
                      <a:lnTo>
                        <a:pt x="133099" y="741788"/>
                      </a:lnTo>
                      <a:lnTo>
                        <a:pt x="134641" y="740986"/>
                      </a:lnTo>
                      <a:lnTo>
                        <a:pt x="136268" y="740804"/>
                      </a:lnTo>
                      <a:lnTo>
                        <a:pt x="136900" y="740901"/>
                      </a:lnTo>
                      <a:lnTo>
                        <a:pt x="138126" y="741363"/>
                      </a:lnTo>
                      <a:lnTo>
                        <a:pt x="139449" y="742334"/>
                      </a:lnTo>
                      <a:lnTo>
                        <a:pt x="141174" y="744180"/>
                      </a:lnTo>
                      <a:lnTo>
                        <a:pt x="142692" y="740137"/>
                      </a:lnTo>
                      <a:lnTo>
                        <a:pt x="143238" y="739153"/>
                      </a:lnTo>
                      <a:lnTo>
                        <a:pt x="145035" y="730373"/>
                      </a:lnTo>
                      <a:lnTo>
                        <a:pt x="145145" y="724958"/>
                      </a:lnTo>
                      <a:lnTo>
                        <a:pt x="145618" y="722675"/>
                      </a:lnTo>
                      <a:lnTo>
                        <a:pt x="146310" y="721375"/>
                      </a:lnTo>
                      <a:lnTo>
                        <a:pt x="148107" y="719154"/>
                      </a:lnTo>
                      <a:lnTo>
                        <a:pt x="149164" y="717648"/>
                      </a:lnTo>
                      <a:lnTo>
                        <a:pt x="150050" y="716713"/>
                      </a:lnTo>
                      <a:lnTo>
                        <a:pt x="151313" y="715790"/>
                      </a:lnTo>
                      <a:lnTo>
                        <a:pt x="156352" y="713191"/>
                      </a:lnTo>
                      <a:lnTo>
                        <a:pt x="156583" y="713131"/>
                      </a:lnTo>
                      <a:lnTo>
                        <a:pt x="156777" y="712815"/>
                      </a:lnTo>
                      <a:lnTo>
                        <a:pt x="157069" y="711273"/>
                      </a:lnTo>
                      <a:lnTo>
                        <a:pt x="156510" y="700065"/>
                      </a:lnTo>
                      <a:lnTo>
                        <a:pt x="156571" y="698122"/>
                      </a:lnTo>
                      <a:lnTo>
                        <a:pt x="156462" y="696470"/>
                      </a:lnTo>
                      <a:lnTo>
                        <a:pt x="155964" y="695584"/>
                      </a:lnTo>
                      <a:lnTo>
                        <a:pt x="153438" y="691844"/>
                      </a:lnTo>
                      <a:lnTo>
                        <a:pt x="152151" y="689258"/>
                      </a:lnTo>
                      <a:lnTo>
                        <a:pt x="151350" y="683235"/>
                      </a:lnTo>
                      <a:lnTo>
                        <a:pt x="151192" y="682785"/>
                      </a:lnTo>
                      <a:lnTo>
                        <a:pt x="150172" y="681595"/>
                      </a:lnTo>
                      <a:lnTo>
                        <a:pt x="146456" y="679203"/>
                      </a:lnTo>
                      <a:lnTo>
                        <a:pt x="144720" y="677102"/>
                      </a:lnTo>
                      <a:lnTo>
                        <a:pt x="144064" y="676192"/>
                      </a:lnTo>
                      <a:lnTo>
                        <a:pt x="144331" y="673119"/>
                      </a:lnTo>
                      <a:lnTo>
                        <a:pt x="145776" y="668214"/>
                      </a:lnTo>
                      <a:lnTo>
                        <a:pt x="145885" y="666587"/>
                      </a:lnTo>
                      <a:lnTo>
                        <a:pt x="145424" y="665057"/>
                      </a:lnTo>
                      <a:lnTo>
                        <a:pt x="143262" y="661499"/>
                      </a:lnTo>
                      <a:lnTo>
                        <a:pt x="142254" y="658888"/>
                      </a:lnTo>
                      <a:lnTo>
                        <a:pt x="141623" y="656046"/>
                      </a:lnTo>
                      <a:lnTo>
                        <a:pt x="141502" y="651784"/>
                      </a:lnTo>
                      <a:lnTo>
                        <a:pt x="142060" y="648482"/>
                      </a:lnTo>
                      <a:lnTo>
                        <a:pt x="143117" y="645434"/>
                      </a:lnTo>
                      <a:lnTo>
                        <a:pt x="146505" y="638354"/>
                      </a:lnTo>
                      <a:lnTo>
                        <a:pt x="146237" y="637602"/>
                      </a:lnTo>
                      <a:lnTo>
                        <a:pt x="144914" y="636339"/>
                      </a:lnTo>
                      <a:lnTo>
                        <a:pt x="142242" y="634736"/>
                      </a:lnTo>
                      <a:lnTo>
                        <a:pt x="140081" y="632514"/>
                      </a:lnTo>
                      <a:lnTo>
                        <a:pt x="139680" y="630729"/>
                      </a:lnTo>
                      <a:lnTo>
                        <a:pt x="139887" y="628762"/>
                      </a:lnTo>
                      <a:lnTo>
                        <a:pt x="140700" y="627001"/>
                      </a:lnTo>
                      <a:lnTo>
                        <a:pt x="142680" y="624888"/>
                      </a:lnTo>
                      <a:lnTo>
                        <a:pt x="146031" y="622726"/>
                      </a:lnTo>
                      <a:lnTo>
                        <a:pt x="146140" y="621949"/>
                      </a:lnTo>
                      <a:lnTo>
                        <a:pt x="145727" y="621124"/>
                      </a:lnTo>
                      <a:lnTo>
                        <a:pt x="144501" y="619533"/>
                      </a:lnTo>
                      <a:lnTo>
                        <a:pt x="143578" y="618901"/>
                      </a:lnTo>
                      <a:lnTo>
                        <a:pt x="142704" y="618586"/>
                      </a:lnTo>
                      <a:lnTo>
                        <a:pt x="138600" y="617663"/>
                      </a:lnTo>
                      <a:lnTo>
                        <a:pt x="136717" y="616971"/>
                      </a:lnTo>
                      <a:lnTo>
                        <a:pt x="135430" y="616060"/>
                      </a:lnTo>
                      <a:lnTo>
                        <a:pt x="133949" y="614251"/>
                      </a:lnTo>
                      <a:lnTo>
                        <a:pt x="130634" y="607001"/>
                      </a:lnTo>
                      <a:lnTo>
                        <a:pt x="129832" y="605726"/>
                      </a:lnTo>
                      <a:lnTo>
                        <a:pt x="129249" y="605362"/>
                      </a:lnTo>
                      <a:lnTo>
                        <a:pt x="128666" y="605325"/>
                      </a:lnTo>
                      <a:lnTo>
                        <a:pt x="122923" y="604293"/>
                      </a:lnTo>
                      <a:lnTo>
                        <a:pt x="120543" y="601925"/>
                      </a:lnTo>
                      <a:lnTo>
                        <a:pt x="119814" y="599302"/>
                      </a:lnTo>
                      <a:lnTo>
                        <a:pt x="120264" y="583383"/>
                      </a:lnTo>
                      <a:lnTo>
                        <a:pt x="121612" y="577081"/>
                      </a:lnTo>
                      <a:lnTo>
                        <a:pt x="121842" y="574871"/>
                      </a:lnTo>
                      <a:lnTo>
                        <a:pt x="121502" y="572722"/>
                      </a:lnTo>
                      <a:lnTo>
                        <a:pt x="120227" y="568387"/>
                      </a:lnTo>
                      <a:lnTo>
                        <a:pt x="119414" y="564464"/>
                      </a:lnTo>
                      <a:lnTo>
                        <a:pt x="119523" y="559680"/>
                      </a:lnTo>
                      <a:lnTo>
                        <a:pt x="121357" y="551350"/>
                      </a:lnTo>
                      <a:lnTo>
                        <a:pt x="120288" y="549881"/>
                      </a:lnTo>
                      <a:lnTo>
                        <a:pt x="119401" y="549541"/>
                      </a:lnTo>
                      <a:lnTo>
                        <a:pt x="118479" y="549322"/>
                      </a:lnTo>
                      <a:lnTo>
                        <a:pt x="112820" y="548812"/>
                      </a:lnTo>
                      <a:lnTo>
                        <a:pt x="110464" y="548096"/>
                      </a:lnTo>
                      <a:lnTo>
                        <a:pt x="107623" y="546469"/>
                      </a:lnTo>
                      <a:lnTo>
                        <a:pt x="106226" y="544429"/>
                      </a:lnTo>
                      <a:lnTo>
                        <a:pt x="103810" y="538309"/>
                      </a:lnTo>
                      <a:lnTo>
                        <a:pt x="102911" y="536900"/>
                      </a:lnTo>
                      <a:lnTo>
                        <a:pt x="101904" y="536099"/>
                      </a:lnTo>
                      <a:lnTo>
                        <a:pt x="86737" y="527684"/>
                      </a:lnTo>
                      <a:lnTo>
                        <a:pt x="84090" y="525644"/>
                      </a:lnTo>
                      <a:lnTo>
                        <a:pt x="82062" y="523470"/>
                      </a:lnTo>
                      <a:lnTo>
                        <a:pt x="80386" y="520798"/>
                      </a:lnTo>
                      <a:lnTo>
                        <a:pt x="79415" y="518078"/>
                      </a:lnTo>
                      <a:lnTo>
                        <a:pt x="79160" y="515286"/>
                      </a:lnTo>
                      <a:lnTo>
                        <a:pt x="79694" y="512408"/>
                      </a:lnTo>
                      <a:lnTo>
                        <a:pt x="80556" y="510064"/>
                      </a:lnTo>
                      <a:lnTo>
                        <a:pt x="88364" y="495821"/>
                      </a:lnTo>
                      <a:lnTo>
                        <a:pt x="90538" y="492894"/>
                      </a:lnTo>
                      <a:lnTo>
                        <a:pt x="93367" y="491716"/>
                      </a:lnTo>
                      <a:lnTo>
                        <a:pt x="96476" y="489810"/>
                      </a:lnTo>
                      <a:lnTo>
                        <a:pt x="101818" y="483422"/>
                      </a:lnTo>
                      <a:lnTo>
                        <a:pt x="104733" y="481213"/>
                      </a:lnTo>
                      <a:lnTo>
                        <a:pt x="106069" y="480958"/>
                      </a:lnTo>
                      <a:lnTo>
                        <a:pt x="107696" y="480945"/>
                      </a:lnTo>
                      <a:lnTo>
                        <a:pt x="109019" y="481285"/>
                      </a:lnTo>
                      <a:lnTo>
                        <a:pt x="111691" y="483010"/>
                      </a:lnTo>
                      <a:lnTo>
                        <a:pt x="121272" y="493805"/>
                      </a:lnTo>
                      <a:lnTo>
                        <a:pt x="122595" y="496087"/>
                      </a:lnTo>
                      <a:lnTo>
                        <a:pt x="123154" y="498019"/>
                      </a:lnTo>
                      <a:lnTo>
                        <a:pt x="123129" y="499148"/>
                      </a:lnTo>
                      <a:lnTo>
                        <a:pt x="123372" y="499148"/>
                      </a:lnTo>
                      <a:lnTo>
                        <a:pt x="123858" y="498856"/>
                      </a:lnTo>
                      <a:lnTo>
                        <a:pt x="124174" y="498492"/>
                      </a:lnTo>
                      <a:lnTo>
                        <a:pt x="124040" y="498273"/>
                      </a:lnTo>
                      <a:lnTo>
                        <a:pt x="125339" y="495104"/>
                      </a:lnTo>
                      <a:lnTo>
                        <a:pt x="126141" y="493659"/>
                      </a:lnTo>
                      <a:lnTo>
                        <a:pt x="127428" y="491850"/>
                      </a:lnTo>
                      <a:lnTo>
                        <a:pt x="128715" y="490878"/>
                      </a:lnTo>
                      <a:lnTo>
                        <a:pt x="131654" y="490065"/>
                      </a:lnTo>
                      <a:lnTo>
                        <a:pt x="133439" y="490320"/>
                      </a:lnTo>
                      <a:lnTo>
                        <a:pt x="134471" y="490599"/>
                      </a:lnTo>
                      <a:lnTo>
                        <a:pt x="136074" y="491400"/>
                      </a:lnTo>
                      <a:lnTo>
                        <a:pt x="137106" y="492165"/>
                      </a:lnTo>
                      <a:lnTo>
                        <a:pt x="143129" y="497824"/>
                      </a:lnTo>
                      <a:lnTo>
                        <a:pt x="145533" y="499573"/>
                      </a:lnTo>
                      <a:lnTo>
                        <a:pt x="147269" y="501200"/>
                      </a:lnTo>
                      <a:lnTo>
                        <a:pt x="148666" y="502924"/>
                      </a:lnTo>
                      <a:lnTo>
                        <a:pt x="149176" y="504126"/>
                      </a:lnTo>
                      <a:lnTo>
                        <a:pt x="146602" y="506166"/>
                      </a:lnTo>
                      <a:lnTo>
                        <a:pt x="149820" y="506033"/>
                      </a:lnTo>
                      <a:lnTo>
                        <a:pt x="150439" y="506154"/>
                      </a:lnTo>
                      <a:lnTo>
                        <a:pt x="155575" y="505255"/>
                      </a:lnTo>
                      <a:lnTo>
                        <a:pt x="158016" y="505863"/>
                      </a:lnTo>
                      <a:lnTo>
                        <a:pt x="159983" y="507405"/>
                      </a:lnTo>
                      <a:lnTo>
                        <a:pt x="162570" y="510805"/>
                      </a:lnTo>
                      <a:lnTo>
                        <a:pt x="174445" y="535151"/>
                      </a:lnTo>
                      <a:lnTo>
                        <a:pt x="174555" y="535285"/>
                      </a:lnTo>
                      <a:lnTo>
                        <a:pt x="177105" y="530331"/>
                      </a:lnTo>
                      <a:lnTo>
                        <a:pt x="178185" y="528643"/>
                      </a:lnTo>
                      <a:lnTo>
                        <a:pt x="178890" y="527732"/>
                      </a:lnTo>
                      <a:lnTo>
                        <a:pt x="180238" y="526396"/>
                      </a:lnTo>
                      <a:lnTo>
                        <a:pt x="181901" y="525255"/>
                      </a:lnTo>
                      <a:lnTo>
                        <a:pt x="183710" y="524405"/>
                      </a:lnTo>
                      <a:lnTo>
                        <a:pt x="186273" y="523871"/>
                      </a:lnTo>
                      <a:lnTo>
                        <a:pt x="188604" y="523725"/>
                      </a:lnTo>
                      <a:lnTo>
                        <a:pt x="206952" y="526396"/>
                      </a:lnTo>
                      <a:lnTo>
                        <a:pt x="209964" y="527441"/>
                      </a:lnTo>
                      <a:lnTo>
                        <a:pt x="215136" y="530246"/>
                      </a:lnTo>
                      <a:lnTo>
                        <a:pt x="216921" y="530841"/>
                      </a:lnTo>
                      <a:lnTo>
                        <a:pt x="223236" y="530877"/>
                      </a:lnTo>
                      <a:lnTo>
                        <a:pt x="226272" y="531472"/>
                      </a:lnTo>
                      <a:lnTo>
                        <a:pt x="229076" y="533864"/>
                      </a:lnTo>
                      <a:lnTo>
                        <a:pt x="228639" y="537349"/>
                      </a:lnTo>
                      <a:lnTo>
                        <a:pt x="228008" y="539572"/>
                      </a:lnTo>
                      <a:lnTo>
                        <a:pt x="227692" y="541247"/>
                      </a:lnTo>
                      <a:lnTo>
                        <a:pt x="227692" y="542656"/>
                      </a:lnTo>
                      <a:lnTo>
                        <a:pt x="228008" y="544939"/>
                      </a:lnTo>
                      <a:lnTo>
                        <a:pt x="227996" y="546177"/>
                      </a:lnTo>
                      <a:lnTo>
                        <a:pt x="235233" y="540203"/>
                      </a:lnTo>
                      <a:lnTo>
                        <a:pt x="237747" y="538722"/>
                      </a:lnTo>
                      <a:lnTo>
                        <a:pt x="239969" y="537701"/>
                      </a:lnTo>
                      <a:lnTo>
                        <a:pt x="244328" y="536244"/>
                      </a:lnTo>
                      <a:lnTo>
                        <a:pt x="245312" y="535443"/>
                      </a:lnTo>
                      <a:lnTo>
                        <a:pt x="247777" y="533124"/>
                      </a:lnTo>
                      <a:lnTo>
                        <a:pt x="247643" y="532808"/>
                      </a:lnTo>
                      <a:lnTo>
                        <a:pt x="244559" y="530209"/>
                      </a:lnTo>
                      <a:lnTo>
                        <a:pt x="243539" y="528522"/>
                      </a:lnTo>
                      <a:lnTo>
                        <a:pt x="242847" y="526809"/>
                      </a:lnTo>
                      <a:lnTo>
                        <a:pt x="242677" y="525291"/>
                      </a:lnTo>
                      <a:lnTo>
                        <a:pt x="242847" y="522632"/>
                      </a:lnTo>
                      <a:lnTo>
                        <a:pt x="245457" y="512541"/>
                      </a:lnTo>
                      <a:lnTo>
                        <a:pt x="245724" y="510234"/>
                      </a:lnTo>
                      <a:lnTo>
                        <a:pt x="245640" y="508522"/>
                      </a:lnTo>
                      <a:lnTo>
                        <a:pt x="245287" y="507113"/>
                      </a:lnTo>
                      <a:lnTo>
                        <a:pt x="241729" y="506591"/>
                      </a:lnTo>
                      <a:lnTo>
                        <a:pt x="239811" y="506591"/>
                      </a:lnTo>
                      <a:lnTo>
                        <a:pt x="237941" y="503981"/>
                      </a:lnTo>
                      <a:lnTo>
                        <a:pt x="238584" y="507101"/>
                      </a:lnTo>
                      <a:lnTo>
                        <a:pt x="236496" y="508607"/>
                      </a:lnTo>
                      <a:lnTo>
                        <a:pt x="234310" y="509530"/>
                      </a:lnTo>
                      <a:lnTo>
                        <a:pt x="231639" y="509943"/>
                      </a:lnTo>
                      <a:lnTo>
                        <a:pt x="229404" y="509238"/>
                      </a:lnTo>
                      <a:lnTo>
                        <a:pt x="228008" y="508498"/>
                      </a:lnTo>
                      <a:lnTo>
                        <a:pt x="226454" y="507308"/>
                      </a:lnTo>
                      <a:lnTo>
                        <a:pt x="225555" y="506348"/>
                      </a:lnTo>
                      <a:lnTo>
                        <a:pt x="223369" y="503531"/>
                      </a:lnTo>
                      <a:lnTo>
                        <a:pt x="222774" y="503167"/>
                      </a:lnTo>
                      <a:lnTo>
                        <a:pt x="222082" y="502912"/>
                      </a:lnTo>
                      <a:lnTo>
                        <a:pt x="220285" y="502779"/>
                      </a:lnTo>
                      <a:lnTo>
                        <a:pt x="213121" y="503301"/>
                      </a:lnTo>
                      <a:lnTo>
                        <a:pt x="209624" y="503046"/>
                      </a:lnTo>
                      <a:lnTo>
                        <a:pt x="208349" y="502608"/>
                      </a:lnTo>
                      <a:lnTo>
                        <a:pt x="206454" y="501479"/>
                      </a:lnTo>
                      <a:lnTo>
                        <a:pt x="203479" y="498674"/>
                      </a:lnTo>
                      <a:lnTo>
                        <a:pt x="202593" y="498030"/>
                      </a:lnTo>
                      <a:lnTo>
                        <a:pt x="192721" y="493683"/>
                      </a:lnTo>
                      <a:lnTo>
                        <a:pt x="191737" y="490392"/>
                      </a:lnTo>
                      <a:lnTo>
                        <a:pt x="191798" y="486142"/>
                      </a:lnTo>
                      <a:lnTo>
                        <a:pt x="195720" y="472628"/>
                      </a:lnTo>
                      <a:lnTo>
                        <a:pt x="196011" y="470211"/>
                      </a:lnTo>
                      <a:lnTo>
                        <a:pt x="195987" y="465742"/>
                      </a:lnTo>
                      <a:lnTo>
                        <a:pt x="194591" y="457923"/>
                      </a:lnTo>
                      <a:lnTo>
                        <a:pt x="194372" y="447176"/>
                      </a:lnTo>
                      <a:lnTo>
                        <a:pt x="193765" y="445670"/>
                      </a:lnTo>
                      <a:lnTo>
                        <a:pt x="193145" y="444529"/>
                      </a:lnTo>
                      <a:lnTo>
                        <a:pt x="192551" y="443776"/>
                      </a:lnTo>
                      <a:lnTo>
                        <a:pt x="191676" y="441882"/>
                      </a:lnTo>
                      <a:lnTo>
                        <a:pt x="191445" y="437085"/>
                      </a:lnTo>
                      <a:lnTo>
                        <a:pt x="193425" y="420583"/>
                      </a:lnTo>
                      <a:lnTo>
                        <a:pt x="193291" y="418846"/>
                      </a:lnTo>
                      <a:lnTo>
                        <a:pt x="192696" y="419053"/>
                      </a:lnTo>
                      <a:lnTo>
                        <a:pt x="191470" y="419053"/>
                      </a:lnTo>
                      <a:lnTo>
                        <a:pt x="189563" y="418203"/>
                      </a:lnTo>
                      <a:lnTo>
                        <a:pt x="188580" y="417256"/>
                      </a:lnTo>
                      <a:lnTo>
                        <a:pt x="187183" y="414852"/>
                      </a:lnTo>
                      <a:lnTo>
                        <a:pt x="186090" y="410759"/>
                      </a:lnTo>
                      <a:lnTo>
                        <a:pt x="186018" y="409921"/>
                      </a:lnTo>
                      <a:lnTo>
                        <a:pt x="184816" y="410067"/>
                      </a:lnTo>
                      <a:lnTo>
                        <a:pt x="183844" y="409982"/>
                      </a:lnTo>
                      <a:lnTo>
                        <a:pt x="182812" y="409339"/>
                      </a:lnTo>
                      <a:lnTo>
                        <a:pt x="182338" y="408938"/>
                      </a:lnTo>
                      <a:lnTo>
                        <a:pt x="181938" y="408294"/>
                      </a:lnTo>
                      <a:lnTo>
                        <a:pt x="179011" y="402526"/>
                      </a:lnTo>
                      <a:lnTo>
                        <a:pt x="178137" y="399320"/>
                      </a:lnTo>
                      <a:lnTo>
                        <a:pt x="178052" y="395848"/>
                      </a:lnTo>
                      <a:lnTo>
                        <a:pt x="181355" y="381811"/>
                      </a:lnTo>
                      <a:lnTo>
                        <a:pt x="182484" y="378592"/>
                      </a:lnTo>
                      <a:lnTo>
                        <a:pt x="183043" y="375581"/>
                      </a:lnTo>
                      <a:lnTo>
                        <a:pt x="183225" y="373480"/>
                      </a:lnTo>
                      <a:lnTo>
                        <a:pt x="183103" y="371356"/>
                      </a:lnTo>
                      <a:lnTo>
                        <a:pt x="182605" y="369485"/>
                      </a:lnTo>
                      <a:lnTo>
                        <a:pt x="181986" y="367542"/>
                      </a:lnTo>
                      <a:lnTo>
                        <a:pt x="180225" y="363839"/>
                      </a:lnTo>
                      <a:lnTo>
                        <a:pt x="179400" y="361410"/>
                      </a:lnTo>
                      <a:lnTo>
                        <a:pt x="178878" y="359055"/>
                      </a:lnTo>
                      <a:lnTo>
                        <a:pt x="178392" y="336031"/>
                      </a:lnTo>
                      <a:lnTo>
                        <a:pt x="178671" y="334550"/>
                      </a:lnTo>
                      <a:lnTo>
                        <a:pt x="179655" y="332328"/>
                      </a:lnTo>
                      <a:lnTo>
                        <a:pt x="180650" y="330968"/>
                      </a:lnTo>
                      <a:lnTo>
                        <a:pt x="181185" y="330458"/>
                      </a:lnTo>
                      <a:lnTo>
                        <a:pt x="182630" y="329535"/>
                      </a:lnTo>
                      <a:lnTo>
                        <a:pt x="184330" y="329025"/>
                      </a:lnTo>
                      <a:lnTo>
                        <a:pt x="185750" y="329025"/>
                      </a:lnTo>
                      <a:lnTo>
                        <a:pt x="192113" y="330531"/>
                      </a:lnTo>
                      <a:lnTo>
                        <a:pt x="194299" y="331490"/>
                      </a:lnTo>
                      <a:lnTo>
                        <a:pt x="195331" y="332522"/>
                      </a:lnTo>
                      <a:lnTo>
                        <a:pt x="195659" y="333178"/>
                      </a:lnTo>
                      <a:lnTo>
                        <a:pt x="196594" y="335400"/>
                      </a:lnTo>
                      <a:lnTo>
                        <a:pt x="196315" y="338399"/>
                      </a:lnTo>
                      <a:lnTo>
                        <a:pt x="198476" y="337586"/>
                      </a:lnTo>
                      <a:lnTo>
                        <a:pt x="200978" y="336311"/>
                      </a:lnTo>
                      <a:lnTo>
                        <a:pt x="202034" y="335145"/>
                      </a:lnTo>
                      <a:lnTo>
                        <a:pt x="203661" y="333129"/>
                      </a:lnTo>
                      <a:lnTo>
                        <a:pt x="206102" y="328673"/>
                      </a:lnTo>
                      <a:lnTo>
                        <a:pt x="208264" y="325492"/>
                      </a:lnTo>
                      <a:lnTo>
                        <a:pt x="211615" y="321897"/>
                      </a:lnTo>
                      <a:lnTo>
                        <a:pt x="213606" y="320270"/>
                      </a:lnTo>
                      <a:lnTo>
                        <a:pt x="214918" y="319602"/>
                      </a:lnTo>
                      <a:lnTo>
                        <a:pt x="217043" y="319262"/>
                      </a:lnTo>
                      <a:lnTo>
                        <a:pt x="218391" y="318376"/>
                      </a:lnTo>
                      <a:lnTo>
                        <a:pt x="220443" y="315923"/>
                      </a:lnTo>
                      <a:lnTo>
                        <a:pt x="228506" y="302724"/>
                      </a:lnTo>
                      <a:lnTo>
                        <a:pt x="232076" y="292183"/>
                      </a:lnTo>
                      <a:lnTo>
                        <a:pt x="235184" y="287496"/>
                      </a:lnTo>
                      <a:lnTo>
                        <a:pt x="235524" y="285080"/>
                      </a:lnTo>
                      <a:lnTo>
                        <a:pt x="234869" y="282906"/>
                      </a:lnTo>
                      <a:lnTo>
                        <a:pt x="234711" y="280866"/>
                      </a:lnTo>
                      <a:lnTo>
                        <a:pt x="235294" y="279761"/>
                      </a:lnTo>
                      <a:lnTo>
                        <a:pt x="235937" y="278717"/>
                      </a:lnTo>
                      <a:lnTo>
                        <a:pt x="236751" y="277806"/>
                      </a:lnTo>
                      <a:lnTo>
                        <a:pt x="239143" y="276398"/>
                      </a:lnTo>
                      <a:lnTo>
                        <a:pt x="241778" y="275632"/>
                      </a:lnTo>
                      <a:lnTo>
                        <a:pt x="258244" y="274649"/>
                      </a:lnTo>
                      <a:lnTo>
                        <a:pt x="260769" y="275123"/>
                      </a:lnTo>
                      <a:lnTo>
                        <a:pt x="262980" y="276167"/>
                      </a:lnTo>
                      <a:lnTo>
                        <a:pt x="264558" y="277600"/>
                      </a:lnTo>
                      <a:lnTo>
                        <a:pt x="265530" y="277600"/>
                      </a:lnTo>
                      <a:lnTo>
                        <a:pt x="265845" y="277308"/>
                      </a:lnTo>
                      <a:lnTo>
                        <a:pt x="267800" y="276191"/>
                      </a:lnTo>
                      <a:lnTo>
                        <a:pt x="270520" y="275232"/>
                      </a:lnTo>
                      <a:lnTo>
                        <a:pt x="274576" y="274467"/>
                      </a:lnTo>
                      <a:lnTo>
                        <a:pt x="278729" y="274272"/>
                      </a:lnTo>
                      <a:lnTo>
                        <a:pt x="297636" y="271067"/>
                      </a:lnTo>
                      <a:lnTo>
                        <a:pt x="301084" y="271541"/>
                      </a:lnTo>
                      <a:lnTo>
                        <a:pt x="304387" y="273410"/>
                      </a:lnTo>
                      <a:lnTo>
                        <a:pt x="306391" y="275584"/>
                      </a:lnTo>
                      <a:lnTo>
                        <a:pt x="307216" y="276361"/>
                      </a:lnTo>
                      <a:lnTo>
                        <a:pt x="308151" y="276908"/>
                      </a:lnTo>
                      <a:lnTo>
                        <a:pt x="309414" y="277272"/>
                      </a:lnTo>
                      <a:lnTo>
                        <a:pt x="311224" y="277697"/>
                      </a:lnTo>
                      <a:lnTo>
                        <a:pt x="313288" y="278486"/>
                      </a:lnTo>
                      <a:lnTo>
                        <a:pt x="315522" y="279895"/>
                      </a:lnTo>
                      <a:lnTo>
                        <a:pt x="318813" y="283319"/>
                      </a:lnTo>
                      <a:lnTo>
                        <a:pt x="319396" y="283513"/>
                      </a:lnTo>
                      <a:lnTo>
                        <a:pt x="320270" y="283647"/>
                      </a:lnTo>
                      <a:lnTo>
                        <a:pt x="328855" y="282906"/>
                      </a:lnTo>
                      <a:lnTo>
                        <a:pt x="331150" y="282408"/>
                      </a:lnTo>
                      <a:lnTo>
                        <a:pt x="332971" y="281558"/>
                      </a:lnTo>
                      <a:lnTo>
                        <a:pt x="335461" y="279276"/>
                      </a:lnTo>
                      <a:lnTo>
                        <a:pt x="337440" y="276956"/>
                      </a:lnTo>
                      <a:lnTo>
                        <a:pt x="339432" y="273653"/>
                      </a:lnTo>
                      <a:lnTo>
                        <a:pt x="344568" y="259082"/>
                      </a:lnTo>
                      <a:lnTo>
                        <a:pt x="346110" y="256289"/>
                      </a:lnTo>
                      <a:lnTo>
                        <a:pt x="350251" y="250800"/>
                      </a:lnTo>
                      <a:lnTo>
                        <a:pt x="350409" y="250169"/>
                      </a:lnTo>
                      <a:lnTo>
                        <a:pt x="350008" y="249489"/>
                      </a:lnTo>
                      <a:lnTo>
                        <a:pt x="349850" y="249015"/>
                      </a:lnTo>
                      <a:lnTo>
                        <a:pt x="349668" y="247971"/>
                      </a:lnTo>
                      <a:lnTo>
                        <a:pt x="349753" y="246283"/>
                      </a:lnTo>
                      <a:lnTo>
                        <a:pt x="350093" y="244826"/>
                      </a:lnTo>
                      <a:lnTo>
                        <a:pt x="350846" y="242750"/>
                      </a:lnTo>
                      <a:lnTo>
                        <a:pt x="352024" y="240406"/>
                      </a:lnTo>
                      <a:lnTo>
                        <a:pt x="353287" y="238463"/>
                      </a:lnTo>
                      <a:lnTo>
                        <a:pt x="355885" y="235755"/>
                      </a:lnTo>
                      <a:lnTo>
                        <a:pt x="358945" y="235512"/>
                      </a:lnTo>
                      <a:lnTo>
                        <a:pt x="361568" y="235694"/>
                      </a:lnTo>
                      <a:lnTo>
                        <a:pt x="370663" y="239434"/>
                      </a:lnTo>
                      <a:lnTo>
                        <a:pt x="371926" y="239811"/>
                      </a:lnTo>
                      <a:lnTo>
                        <a:pt x="373152" y="240066"/>
                      </a:lnTo>
                      <a:lnTo>
                        <a:pt x="374160" y="240030"/>
                      </a:lnTo>
                      <a:lnTo>
                        <a:pt x="374670" y="239337"/>
                      </a:lnTo>
                      <a:lnTo>
                        <a:pt x="374755" y="238123"/>
                      </a:lnTo>
                      <a:lnTo>
                        <a:pt x="374488" y="235245"/>
                      </a:lnTo>
                      <a:lnTo>
                        <a:pt x="374039" y="233314"/>
                      </a:lnTo>
                      <a:lnTo>
                        <a:pt x="373456" y="231712"/>
                      </a:lnTo>
                      <a:lnTo>
                        <a:pt x="372849" y="231226"/>
                      </a:lnTo>
                      <a:lnTo>
                        <a:pt x="366802" y="225749"/>
                      </a:lnTo>
                      <a:lnTo>
                        <a:pt x="365211" y="223807"/>
                      </a:lnTo>
                      <a:lnTo>
                        <a:pt x="363997" y="221463"/>
                      </a:lnTo>
                      <a:lnTo>
                        <a:pt x="363268" y="218877"/>
                      </a:lnTo>
                      <a:lnTo>
                        <a:pt x="363001" y="213485"/>
                      </a:lnTo>
                      <a:lnTo>
                        <a:pt x="363256" y="210838"/>
                      </a:lnTo>
                      <a:lnTo>
                        <a:pt x="364847" y="206041"/>
                      </a:lnTo>
                      <a:lnTo>
                        <a:pt x="366134" y="200565"/>
                      </a:lnTo>
                      <a:lnTo>
                        <a:pt x="366207" y="198391"/>
                      </a:lnTo>
                      <a:lnTo>
                        <a:pt x="368162" y="194481"/>
                      </a:lnTo>
                      <a:lnTo>
                        <a:pt x="385587" y="166431"/>
                      </a:lnTo>
                      <a:lnTo>
                        <a:pt x="388185" y="160955"/>
                      </a:lnTo>
                      <a:lnTo>
                        <a:pt x="388756" y="158040"/>
                      </a:lnTo>
                      <a:lnTo>
                        <a:pt x="388805" y="153839"/>
                      </a:lnTo>
                      <a:lnTo>
                        <a:pt x="389691" y="150548"/>
                      </a:lnTo>
                      <a:lnTo>
                        <a:pt x="392095" y="147755"/>
                      </a:lnTo>
                      <a:lnTo>
                        <a:pt x="396382" y="147306"/>
                      </a:lnTo>
                      <a:lnTo>
                        <a:pt x="398471" y="147950"/>
                      </a:lnTo>
                      <a:lnTo>
                        <a:pt x="399320" y="148496"/>
                      </a:lnTo>
                      <a:lnTo>
                        <a:pt x="399345" y="145897"/>
                      </a:lnTo>
                      <a:lnTo>
                        <a:pt x="400158" y="144622"/>
                      </a:lnTo>
                      <a:lnTo>
                        <a:pt x="401227" y="143518"/>
                      </a:lnTo>
                      <a:lnTo>
                        <a:pt x="402040" y="143020"/>
                      </a:lnTo>
                      <a:lnTo>
                        <a:pt x="404032" y="142461"/>
                      </a:lnTo>
                      <a:lnTo>
                        <a:pt x="407080" y="142655"/>
                      </a:lnTo>
                      <a:lnTo>
                        <a:pt x="407590" y="141332"/>
                      </a:lnTo>
                      <a:lnTo>
                        <a:pt x="406995" y="138988"/>
                      </a:lnTo>
                      <a:lnTo>
                        <a:pt x="406800" y="137798"/>
                      </a:lnTo>
                      <a:lnTo>
                        <a:pt x="407153" y="135017"/>
                      </a:lnTo>
                      <a:lnTo>
                        <a:pt x="408865" y="129917"/>
                      </a:lnTo>
                      <a:lnTo>
                        <a:pt x="408986" y="129128"/>
                      </a:lnTo>
                      <a:lnTo>
                        <a:pt x="408695" y="128764"/>
                      </a:lnTo>
                      <a:lnTo>
                        <a:pt x="407736" y="128047"/>
                      </a:lnTo>
                      <a:lnTo>
                        <a:pt x="402781" y="125303"/>
                      </a:lnTo>
                      <a:lnTo>
                        <a:pt x="400693" y="123652"/>
                      </a:lnTo>
                      <a:lnTo>
                        <a:pt x="398689" y="121211"/>
                      </a:lnTo>
                      <a:lnTo>
                        <a:pt x="398070" y="118782"/>
                      </a:lnTo>
                      <a:lnTo>
                        <a:pt x="398033" y="116026"/>
                      </a:lnTo>
                      <a:lnTo>
                        <a:pt x="398980" y="108351"/>
                      </a:lnTo>
                      <a:lnTo>
                        <a:pt x="400073" y="105765"/>
                      </a:lnTo>
                      <a:lnTo>
                        <a:pt x="401786" y="103737"/>
                      </a:lnTo>
                      <a:lnTo>
                        <a:pt x="405732" y="101369"/>
                      </a:lnTo>
                      <a:lnTo>
                        <a:pt x="408331" y="100458"/>
                      </a:lnTo>
                      <a:lnTo>
                        <a:pt x="409023" y="99997"/>
                      </a:lnTo>
                      <a:lnTo>
                        <a:pt x="409059" y="99681"/>
                      </a:lnTo>
                      <a:lnTo>
                        <a:pt x="408853" y="99050"/>
                      </a:lnTo>
                      <a:lnTo>
                        <a:pt x="408500" y="98904"/>
                      </a:lnTo>
                      <a:lnTo>
                        <a:pt x="405829" y="96111"/>
                      </a:lnTo>
                      <a:lnTo>
                        <a:pt x="404020" y="93234"/>
                      </a:lnTo>
                      <a:lnTo>
                        <a:pt x="404821" y="89821"/>
                      </a:lnTo>
                      <a:lnTo>
                        <a:pt x="406509" y="85996"/>
                      </a:lnTo>
                      <a:lnTo>
                        <a:pt x="415847" y="72421"/>
                      </a:lnTo>
                      <a:lnTo>
                        <a:pt x="419660" y="68608"/>
                      </a:lnTo>
                      <a:lnTo>
                        <a:pt x="423254" y="66240"/>
                      </a:lnTo>
                      <a:lnTo>
                        <a:pt x="428051" y="63763"/>
                      </a:lnTo>
                      <a:lnTo>
                        <a:pt x="439125" y="59695"/>
                      </a:lnTo>
                      <a:lnTo>
                        <a:pt x="440691" y="58565"/>
                      </a:lnTo>
                      <a:lnTo>
                        <a:pt x="456028" y="44978"/>
                      </a:lnTo>
                      <a:lnTo>
                        <a:pt x="460982" y="41590"/>
                      </a:lnTo>
                      <a:lnTo>
                        <a:pt x="468462" y="39137"/>
                      </a:lnTo>
                      <a:lnTo>
                        <a:pt x="476829" y="38299"/>
                      </a:lnTo>
                      <a:lnTo>
                        <a:pt x="478990" y="37813"/>
                      </a:lnTo>
                      <a:lnTo>
                        <a:pt x="480994" y="36878"/>
                      </a:lnTo>
                      <a:lnTo>
                        <a:pt x="482245" y="35785"/>
                      </a:lnTo>
                      <a:lnTo>
                        <a:pt x="487150" y="29969"/>
                      </a:lnTo>
                      <a:lnTo>
                        <a:pt x="487879" y="28900"/>
                      </a:lnTo>
                      <a:lnTo>
                        <a:pt x="488219" y="27977"/>
                      </a:lnTo>
                      <a:lnTo>
                        <a:pt x="488498" y="26921"/>
                      </a:lnTo>
                      <a:lnTo>
                        <a:pt x="488753" y="25452"/>
                      </a:lnTo>
                      <a:lnTo>
                        <a:pt x="488826" y="23630"/>
                      </a:lnTo>
                      <a:lnTo>
                        <a:pt x="488450" y="20716"/>
                      </a:lnTo>
                      <a:lnTo>
                        <a:pt x="487733" y="18409"/>
                      </a:lnTo>
                      <a:lnTo>
                        <a:pt x="484297" y="12629"/>
                      </a:lnTo>
                      <a:lnTo>
                        <a:pt x="483289" y="10273"/>
                      </a:lnTo>
                      <a:lnTo>
                        <a:pt x="484175" y="2829"/>
                      </a:lnTo>
                      <a:lnTo>
                        <a:pt x="494460" y="5112"/>
                      </a:lnTo>
                      <a:lnTo>
                        <a:pt x="500483" y="7954"/>
                      </a:lnTo>
                      <a:lnTo>
                        <a:pt x="506567" y="11803"/>
                      </a:lnTo>
                      <a:lnTo>
                        <a:pt x="518163" y="26909"/>
                      </a:lnTo>
                      <a:lnTo>
                        <a:pt x="519718" y="30479"/>
                      </a:lnTo>
                      <a:lnTo>
                        <a:pt x="520762" y="32361"/>
                      </a:lnTo>
                      <a:lnTo>
                        <a:pt x="522571" y="34826"/>
                      </a:lnTo>
                      <a:lnTo>
                        <a:pt x="527756" y="38615"/>
                      </a:lnTo>
                      <a:lnTo>
                        <a:pt x="528910" y="38942"/>
                      </a:lnTo>
                      <a:lnTo>
                        <a:pt x="533087" y="38736"/>
                      </a:lnTo>
                      <a:lnTo>
                        <a:pt x="536463" y="39453"/>
                      </a:lnTo>
                      <a:lnTo>
                        <a:pt x="548666" y="45427"/>
                      </a:lnTo>
                      <a:lnTo>
                        <a:pt x="551447" y="46034"/>
                      </a:lnTo>
                      <a:lnTo>
                        <a:pt x="568824" y="45014"/>
                      </a:lnTo>
                      <a:lnTo>
                        <a:pt x="570779" y="44625"/>
                      </a:lnTo>
                      <a:lnTo>
                        <a:pt x="581877" y="38748"/>
                      </a:lnTo>
                      <a:lnTo>
                        <a:pt x="582776" y="38105"/>
                      </a:lnTo>
                      <a:lnTo>
                        <a:pt x="583602" y="37279"/>
                      </a:lnTo>
                      <a:lnTo>
                        <a:pt x="584002" y="36077"/>
                      </a:lnTo>
                      <a:lnTo>
                        <a:pt x="584124" y="35020"/>
                      </a:lnTo>
                      <a:lnTo>
                        <a:pt x="583990" y="33672"/>
                      </a:lnTo>
                      <a:lnTo>
                        <a:pt x="584100" y="31717"/>
                      </a:lnTo>
                      <a:lnTo>
                        <a:pt x="584937" y="29386"/>
                      </a:lnTo>
                      <a:lnTo>
                        <a:pt x="585362" y="28451"/>
                      </a:lnTo>
                      <a:lnTo>
                        <a:pt x="587876" y="27103"/>
                      </a:lnTo>
                      <a:lnTo>
                        <a:pt x="591458" y="26447"/>
                      </a:lnTo>
                      <a:lnTo>
                        <a:pt x="629963" y="25585"/>
                      </a:lnTo>
                      <a:lnTo>
                        <a:pt x="632052" y="24990"/>
                      </a:lnTo>
                      <a:lnTo>
                        <a:pt x="632392" y="24772"/>
                      </a:lnTo>
                      <a:lnTo>
                        <a:pt x="632878" y="24128"/>
                      </a:lnTo>
                      <a:lnTo>
                        <a:pt x="634894" y="22525"/>
                      </a:lnTo>
                      <a:lnTo>
                        <a:pt x="637480" y="21554"/>
                      </a:lnTo>
                      <a:lnTo>
                        <a:pt x="642349" y="21080"/>
                      </a:lnTo>
                      <a:lnTo>
                        <a:pt x="646150" y="21505"/>
                      </a:lnTo>
                      <a:lnTo>
                        <a:pt x="657892" y="24347"/>
                      </a:lnTo>
                      <a:lnTo>
                        <a:pt x="663138" y="26508"/>
                      </a:lnTo>
                      <a:lnTo>
                        <a:pt x="663806" y="26411"/>
                      </a:lnTo>
                      <a:lnTo>
                        <a:pt x="666077" y="23788"/>
                      </a:lnTo>
                      <a:lnTo>
                        <a:pt x="667777" y="22550"/>
                      </a:lnTo>
                      <a:lnTo>
                        <a:pt x="670339" y="21699"/>
                      </a:lnTo>
                      <a:lnTo>
                        <a:pt x="676592" y="21044"/>
                      </a:lnTo>
                      <a:lnTo>
                        <a:pt x="685554" y="15154"/>
                      </a:lnTo>
                      <a:lnTo>
                        <a:pt x="693678" y="8622"/>
                      </a:lnTo>
                      <a:lnTo>
                        <a:pt x="699263" y="23727"/>
                      </a:lnTo>
                      <a:lnTo>
                        <a:pt x="701789" y="34486"/>
                      </a:lnTo>
                      <a:lnTo>
                        <a:pt x="702639" y="42015"/>
                      </a:lnTo>
                      <a:lnTo>
                        <a:pt x="702663" y="47600"/>
                      </a:lnTo>
                      <a:lnTo>
                        <a:pt x="701497" y="53368"/>
                      </a:lnTo>
                      <a:lnTo>
                        <a:pt x="700368" y="56635"/>
                      </a:lnTo>
                      <a:lnTo>
                        <a:pt x="699069" y="59088"/>
                      </a:lnTo>
                      <a:lnTo>
                        <a:pt x="689913" y="71923"/>
                      </a:lnTo>
                      <a:lnTo>
                        <a:pt x="684424" y="84187"/>
                      </a:lnTo>
                      <a:lnTo>
                        <a:pt x="682470" y="87466"/>
                      </a:lnTo>
                      <a:lnTo>
                        <a:pt x="681947" y="88170"/>
                      </a:lnTo>
                      <a:lnTo>
                        <a:pt x="686938" y="86349"/>
                      </a:lnTo>
                      <a:lnTo>
                        <a:pt x="688929" y="85972"/>
                      </a:lnTo>
                      <a:lnTo>
                        <a:pt x="691504" y="85875"/>
                      </a:lnTo>
                      <a:lnTo>
                        <a:pt x="695256" y="86324"/>
                      </a:lnTo>
                      <a:lnTo>
                        <a:pt x="699288" y="87551"/>
                      </a:lnTo>
                      <a:lnTo>
                        <a:pt x="701741" y="88668"/>
                      </a:lnTo>
                      <a:lnTo>
                        <a:pt x="716749" y="98504"/>
                      </a:lnTo>
                      <a:lnTo>
                        <a:pt x="721339" y="103616"/>
                      </a:lnTo>
                      <a:lnTo>
                        <a:pt x="721691" y="103409"/>
                      </a:lnTo>
                      <a:lnTo>
                        <a:pt x="729778" y="93998"/>
                      </a:lnTo>
                      <a:lnTo>
                        <a:pt x="738667" y="85620"/>
                      </a:lnTo>
                      <a:lnTo>
                        <a:pt x="741363" y="84053"/>
                      </a:lnTo>
                      <a:lnTo>
                        <a:pt x="750081" y="80981"/>
                      </a:lnTo>
                      <a:lnTo>
                        <a:pt x="752619" y="79196"/>
                      </a:lnTo>
                      <a:lnTo>
                        <a:pt x="755910" y="78006"/>
                      </a:lnTo>
                      <a:lnTo>
                        <a:pt x="759249" y="77411"/>
                      </a:lnTo>
                      <a:lnTo>
                        <a:pt x="761945" y="77423"/>
                      </a:lnTo>
                      <a:lnTo>
                        <a:pt x="764580" y="77800"/>
                      </a:lnTo>
                      <a:lnTo>
                        <a:pt x="767506" y="78820"/>
                      </a:lnTo>
                      <a:lnTo>
                        <a:pt x="784774" y="88983"/>
                      </a:lnTo>
                      <a:lnTo>
                        <a:pt x="795120" y="91716"/>
                      </a:lnTo>
                      <a:lnTo>
                        <a:pt x="803498" y="93124"/>
                      </a:lnTo>
                      <a:lnTo>
                        <a:pt x="807335" y="94606"/>
                      </a:lnTo>
                      <a:lnTo>
                        <a:pt x="810905" y="92881"/>
                      </a:lnTo>
                      <a:lnTo>
                        <a:pt x="813492" y="91861"/>
                      </a:lnTo>
                      <a:lnTo>
                        <a:pt x="816892" y="90938"/>
                      </a:lnTo>
                      <a:lnTo>
                        <a:pt x="818774" y="90101"/>
                      </a:lnTo>
                      <a:lnTo>
                        <a:pt x="820049" y="89178"/>
                      </a:lnTo>
                      <a:lnTo>
                        <a:pt x="821701" y="87599"/>
                      </a:lnTo>
                      <a:lnTo>
                        <a:pt x="824700" y="85608"/>
                      </a:lnTo>
                      <a:lnTo>
                        <a:pt x="828768" y="84078"/>
                      </a:lnTo>
                      <a:lnTo>
                        <a:pt x="832107" y="85838"/>
                      </a:lnTo>
                      <a:lnTo>
                        <a:pt x="833382" y="89372"/>
                      </a:lnTo>
                      <a:lnTo>
                        <a:pt x="833127" y="92165"/>
                      </a:lnTo>
                      <a:lnTo>
                        <a:pt x="832192" y="94861"/>
                      </a:lnTo>
                      <a:lnTo>
                        <a:pt x="829108" y="98965"/>
                      </a:lnTo>
                      <a:lnTo>
                        <a:pt x="828889" y="99803"/>
                      </a:lnTo>
                      <a:lnTo>
                        <a:pt x="828998" y="100446"/>
                      </a:lnTo>
                      <a:lnTo>
                        <a:pt x="829071" y="102171"/>
                      </a:lnTo>
                      <a:lnTo>
                        <a:pt x="828829" y="105243"/>
                      </a:lnTo>
                      <a:lnTo>
                        <a:pt x="829375" y="107926"/>
                      </a:lnTo>
                      <a:lnTo>
                        <a:pt x="829545" y="108339"/>
                      </a:lnTo>
                      <a:lnTo>
                        <a:pt x="836867" y="112298"/>
                      </a:lnTo>
                      <a:lnTo>
                        <a:pt x="843813" y="110622"/>
                      </a:lnTo>
                      <a:lnTo>
                        <a:pt x="846678" y="108716"/>
                      </a:lnTo>
                      <a:lnTo>
                        <a:pt x="849921" y="106069"/>
                      </a:lnTo>
                      <a:lnTo>
                        <a:pt x="858251" y="94181"/>
                      </a:lnTo>
                      <a:lnTo>
                        <a:pt x="859489" y="92043"/>
                      </a:lnTo>
                      <a:lnTo>
                        <a:pt x="859878" y="91036"/>
                      </a:lnTo>
                      <a:lnTo>
                        <a:pt x="859635" y="90854"/>
                      </a:lnTo>
                      <a:lnTo>
                        <a:pt x="859441" y="89858"/>
                      </a:lnTo>
                      <a:lnTo>
                        <a:pt x="859295" y="86640"/>
                      </a:lnTo>
                      <a:lnTo>
                        <a:pt x="860193" y="82572"/>
                      </a:lnTo>
                      <a:lnTo>
                        <a:pt x="861724" y="77946"/>
                      </a:lnTo>
                      <a:lnTo>
                        <a:pt x="862367" y="75177"/>
                      </a:lnTo>
                      <a:lnTo>
                        <a:pt x="862003" y="73404"/>
                      </a:lnTo>
                      <a:lnTo>
                        <a:pt x="859441" y="69263"/>
                      </a:lnTo>
                      <a:lnTo>
                        <a:pt x="857777" y="65086"/>
                      </a:lnTo>
                      <a:lnTo>
                        <a:pt x="857996" y="60181"/>
                      </a:lnTo>
                      <a:lnTo>
                        <a:pt x="859441" y="57254"/>
                      </a:lnTo>
                      <a:lnTo>
                        <a:pt x="862719" y="52373"/>
                      </a:lnTo>
                      <a:lnTo>
                        <a:pt x="863205" y="49895"/>
                      </a:lnTo>
                      <a:lnTo>
                        <a:pt x="863205" y="46726"/>
                      </a:lnTo>
                      <a:lnTo>
                        <a:pt x="861954" y="35579"/>
                      </a:lnTo>
                      <a:lnTo>
                        <a:pt x="861250" y="32531"/>
                      </a:lnTo>
                      <a:lnTo>
                        <a:pt x="860084" y="30552"/>
                      </a:lnTo>
                      <a:lnTo>
                        <a:pt x="855834" y="25488"/>
                      </a:lnTo>
                      <a:lnTo>
                        <a:pt x="853746" y="22137"/>
                      </a:lnTo>
                      <a:lnTo>
                        <a:pt x="852677" y="17595"/>
                      </a:lnTo>
                      <a:lnTo>
                        <a:pt x="852689" y="14717"/>
                      </a:lnTo>
                      <a:lnTo>
                        <a:pt x="852932" y="13515"/>
                      </a:lnTo>
                      <a:lnTo>
                        <a:pt x="853163" y="12811"/>
                      </a:lnTo>
                      <a:lnTo>
                        <a:pt x="853734" y="12143"/>
                      </a:lnTo>
                      <a:lnTo>
                        <a:pt x="855385" y="10783"/>
                      </a:lnTo>
                      <a:lnTo>
                        <a:pt x="859939" y="8840"/>
                      </a:lnTo>
                      <a:lnTo>
                        <a:pt x="861881" y="8366"/>
                      </a:lnTo>
                      <a:lnTo>
                        <a:pt x="864954" y="7966"/>
                      </a:lnTo>
                      <a:lnTo>
                        <a:pt x="866775" y="6982"/>
                      </a:lnTo>
                      <a:lnTo>
                        <a:pt x="868815" y="3206"/>
                      </a:lnTo>
                      <a:lnTo>
                        <a:pt x="869228" y="2538"/>
                      </a:lnTo>
                      <a:lnTo>
                        <a:pt x="871681" y="1178"/>
                      </a:lnTo>
                      <a:lnTo>
                        <a:pt x="874474" y="0"/>
                      </a:lnTo>
                      <a:lnTo>
                        <a:pt x="877121" y="243"/>
                      </a:lnTo>
                      <a:lnTo>
                        <a:pt x="879634" y="1263"/>
                      </a:lnTo>
                      <a:lnTo>
                        <a:pt x="881687" y="2951"/>
                      </a:lnTo>
                      <a:lnTo>
                        <a:pt x="888681" y="11827"/>
                      </a:lnTo>
                      <a:lnTo>
                        <a:pt x="919123" y="26836"/>
                      </a:lnTo>
                      <a:lnTo>
                        <a:pt x="923458" y="29653"/>
                      </a:lnTo>
                      <a:lnTo>
                        <a:pt x="926591" y="32191"/>
                      </a:lnTo>
                      <a:lnTo>
                        <a:pt x="930611" y="38590"/>
                      </a:lnTo>
                      <a:lnTo>
                        <a:pt x="932274" y="40630"/>
                      </a:lnTo>
                      <a:lnTo>
                        <a:pt x="934557" y="42865"/>
                      </a:lnTo>
                      <a:lnTo>
                        <a:pt x="937945" y="45305"/>
                      </a:lnTo>
                      <a:lnTo>
                        <a:pt x="940580" y="46301"/>
                      </a:lnTo>
                      <a:lnTo>
                        <a:pt x="943360" y="46750"/>
                      </a:lnTo>
                      <a:lnTo>
                        <a:pt x="945959" y="46556"/>
                      </a:lnTo>
                      <a:lnTo>
                        <a:pt x="948339" y="46131"/>
                      </a:lnTo>
                      <a:lnTo>
                        <a:pt x="955018" y="43885"/>
                      </a:lnTo>
                      <a:lnTo>
                        <a:pt x="958406" y="43411"/>
                      </a:lnTo>
                      <a:lnTo>
                        <a:pt x="961344" y="43885"/>
                      </a:lnTo>
                      <a:lnTo>
                        <a:pt x="963627" y="44832"/>
                      </a:lnTo>
                      <a:lnTo>
                        <a:pt x="982024" y="56465"/>
                      </a:lnTo>
                      <a:lnTo>
                        <a:pt x="990779" y="64224"/>
                      </a:lnTo>
                      <a:lnTo>
                        <a:pt x="998392" y="67454"/>
                      </a:lnTo>
                      <a:lnTo>
                        <a:pt x="1001805" y="73295"/>
                      </a:lnTo>
                      <a:lnTo>
                        <a:pt x="1003031" y="73914"/>
                      </a:lnTo>
                      <a:lnTo>
                        <a:pt x="1005739" y="74813"/>
                      </a:lnTo>
                      <a:lnTo>
                        <a:pt x="1008665" y="75481"/>
                      </a:lnTo>
                      <a:lnTo>
                        <a:pt x="1012369" y="76901"/>
                      </a:lnTo>
                      <a:lnTo>
                        <a:pt x="1016085" y="79925"/>
                      </a:lnTo>
                      <a:lnTo>
                        <a:pt x="1025046" y="85887"/>
                      </a:lnTo>
                      <a:lnTo>
                        <a:pt x="1027123" y="86263"/>
                      </a:lnTo>
                      <a:lnTo>
                        <a:pt x="1028798" y="86009"/>
                      </a:lnTo>
                      <a:lnTo>
                        <a:pt x="1032040" y="86142"/>
                      </a:lnTo>
                      <a:lnTo>
                        <a:pt x="1035538" y="86834"/>
                      </a:lnTo>
                      <a:lnTo>
                        <a:pt x="1045677" y="90963"/>
                      </a:lnTo>
                      <a:lnTo>
                        <a:pt x="1051324" y="94557"/>
                      </a:lnTo>
                      <a:lnTo>
                        <a:pt x="1054638" y="97338"/>
                      </a:lnTo>
                      <a:lnTo>
                        <a:pt x="1056739" y="100009"/>
                      </a:lnTo>
                      <a:lnTo>
                        <a:pt x="1057686" y="101685"/>
                      </a:lnTo>
                      <a:lnTo>
                        <a:pt x="1058099" y="102826"/>
                      </a:lnTo>
                      <a:lnTo>
                        <a:pt x="1058925" y="107161"/>
                      </a:lnTo>
                      <a:lnTo>
                        <a:pt x="1059143" y="109760"/>
                      </a:lnTo>
                      <a:lnTo>
                        <a:pt x="1059156" y="112091"/>
                      </a:lnTo>
                      <a:lnTo>
                        <a:pt x="1058925" y="113318"/>
                      </a:lnTo>
                      <a:lnTo>
                        <a:pt x="1056982" y="118539"/>
                      </a:lnTo>
                      <a:lnTo>
                        <a:pt x="1057261" y="120810"/>
                      </a:lnTo>
                      <a:lnTo>
                        <a:pt x="1058767" y="123943"/>
                      </a:lnTo>
                      <a:lnTo>
                        <a:pt x="1062665" y="128254"/>
                      </a:lnTo>
                      <a:lnTo>
                        <a:pt x="1063782" y="128666"/>
                      </a:lnTo>
                      <a:lnTo>
                        <a:pt x="1064074" y="127829"/>
                      </a:lnTo>
                      <a:lnTo>
                        <a:pt x="1065324" y="125521"/>
                      </a:lnTo>
                      <a:lnTo>
                        <a:pt x="1067449" y="123579"/>
                      </a:lnTo>
                      <a:lnTo>
                        <a:pt x="1069793" y="122437"/>
                      </a:lnTo>
                      <a:lnTo>
                        <a:pt x="1071056" y="121587"/>
                      </a:lnTo>
                      <a:lnTo>
                        <a:pt x="1071456" y="120616"/>
                      </a:lnTo>
                      <a:lnTo>
                        <a:pt x="1072282" y="118916"/>
                      </a:lnTo>
                      <a:lnTo>
                        <a:pt x="1073630" y="116754"/>
                      </a:lnTo>
                      <a:lnTo>
                        <a:pt x="1075901" y="114848"/>
                      </a:lnTo>
                      <a:lnTo>
                        <a:pt x="1076666" y="114289"/>
                      </a:lnTo>
                      <a:lnTo>
                        <a:pt x="1080612" y="114204"/>
                      </a:lnTo>
                      <a:lnTo>
                        <a:pt x="1084996" y="115334"/>
                      </a:lnTo>
                      <a:lnTo>
                        <a:pt x="1092063" y="118637"/>
                      </a:lnTo>
                      <a:lnTo>
                        <a:pt x="1095900" y="122061"/>
                      </a:lnTo>
                      <a:lnTo>
                        <a:pt x="1098098" y="126457"/>
                      </a:lnTo>
                      <a:lnTo>
                        <a:pt x="1099227" y="135017"/>
                      </a:lnTo>
                      <a:lnTo>
                        <a:pt x="1100247" y="138830"/>
                      </a:lnTo>
                      <a:lnTo>
                        <a:pt x="1101304" y="141562"/>
                      </a:lnTo>
                      <a:lnTo>
                        <a:pt x="1102688" y="144343"/>
                      </a:lnTo>
                      <a:lnTo>
                        <a:pt x="1104315" y="145497"/>
                      </a:lnTo>
                      <a:lnTo>
                        <a:pt x="1107667" y="146480"/>
                      </a:lnTo>
                      <a:lnTo>
                        <a:pt x="1132936" y="151993"/>
                      </a:lnTo>
                      <a:lnTo>
                        <a:pt x="1137016" y="155053"/>
                      </a:lnTo>
                      <a:lnTo>
                        <a:pt x="1139008" y="158927"/>
                      </a:lnTo>
                      <a:lnTo>
                        <a:pt x="1138935" y="162691"/>
                      </a:lnTo>
                      <a:lnTo>
                        <a:pt x="1138206" y="168544"/>
                      </a:lnTo>
                      <a:lnTo>
                        <a:pt x="1138303" y="170960"/>
                      </a:lnTo>
                      <a:lnTo>
                        <a:pt x="1138813" y="173243"/>
                      </a:lnTo>
                      <a:lnTo>
                        <a:pt x="1139700" y="175417"/>
                      </a:lnTo>
                      <a:lnTo>
                        <a:pt x="1145358" y="183783"/>
                      </a:lnTo>
                      <a:lnTo>
                        <a:pt x="1149074" y="190669"/>
                      </a:lnTo>
                      <a:lnTo>
                        <a:pt x="1143743" y="192065"/>
                      </a:lnTo>
                      <a:lnTo>
                        <a:pt x="1120271" y="201561"/>
                      </a:lnTo>
                      <a:lnTo>
                        <a:pt x="1109986" y="203589"/>
                      </a:lnTo>
                      <a:lnTo>
                        <a:pt x="1103514" y="202058"/>
                      </a:lnTo>
                      <a:lnTo>
                        <a:pt x="1102664" y="202544"/>
                      </a:lnTo>
                      <a:lnTo>
                        <a:pt x="1099749" y="203285"/>
                      </a:lnTo>
                      <a:lnTo>
                        <a:pt x="1094662" y="203346"/>
                      </a:lnTo>
                      <a:lnTo>
                        <a:pt x="1093447" y="203734"/>
                      </a:lnTo>
                      <a:lnTo>
                        <a:pt x="1077649" y="212149"/>
                      </a:lnTo>
                      <a:lnTo>
                        <a:pt x="1068736" y="218415"/>
                      </a:lnTo>
                      <a:lnTo>
                        <a:pt x="1041803" y="246987"/>
                      </a:lnTo>
                      <a:lnTo>
                        <a:pt x="1032587" y="260588"/>
                      </a:lnTo>
                      <a:lnTo>
                        <a:pt x="1027572" y="275244"/>
                      </a:lnTo>
                      <a:lnTo>
                        <a:pt x="1028798" y="292742"/>
                      </a:lnTo>
                      <a:lnTo>
                        <a:pt x="1048810" y="337404"/>
                      </a:lnTo>
                      <a:lnTo>
                        <a:pt x="1051785" y="347276"/>
                      </a:lnTo>
                      <a:lnTo>
                        <a:pt x="1048761" y="354173"/>
                      </a:lnTo>
                      <a:lnTo>
                        <a:pt x="1051894" y="353821"/>
                      </a:lnTo>
                      <a:lnTo>
                        <a:pt x="1054687" y="355412"/>
                      </a:lnTo>
                      <a:lnTo>
                        <a:pt x="1056654" y="358605"/>
                      </a:lnTo>
                      <a:lnTo>
                        <a:pt x="1057771" y="361083"/>
                      </a:lnTo>
                      <a:lnTo>
                        <a:pt x="1058488" y="364373"/>
                      </a:lnTo>
                      <a:lnTo>
                        <a:pt x="1057249" y="367591"/>
                      </a:lnTo>
                      <a:lnTo>
                        <a:pt x="1055003" y="369182"/>
                      </a:lnTo>
                      <a:lnTo>
                        <a:pt x="1055391" y="369716"/>
                      </a:lnTo>
                      <a:lnTo>
                        <a:pt x="1057492" y="368842"/>
                      </a:lnTo>
                      <a:lnTo>
                        <a:pt x="1061220" y="365867"/>
                      </a:lnTo>
                      <a:lnTo>
                        <a:pt x="1065482" y="370165"/>
                      </a:lnTo>
                      <a:lnTo>
                        <a:pt x="1062495" y="373760"/>
                      </a:lnTo>
                      <a:lnTo>
                        <a:pt x="1057808" y="378386"/>
                      </a:lnTo>
                      <a:lnTo>
                        <a:pt x="1052368" y="382430"/>
                      </a:lnTo>
                      <a:lnTo>
                        <a:pt x="1041548" y="386048"/>
                      </a:lnTo>
                      <a:lnTo>
                        <a:pt x="1014518" y="407044"/>
                      </a:lnTo>
                      <a:lnTo>
                        <a:pt x="1010608" y="411172"/>
                      </a:lnTo>
                      <a:lnTo>
                        <a:pt x="1007645" y="415968"/>
                      </a:lnTo>
                      <a:lnTo>
                        <a:pt x="1006285" y="421105"/>
                      </a:lnTo>
                      <a:lnTo>
                        <a:pt x="1005945" y="426994"/>
                      </a:lnTo>
                      <a:lnTo>
                        <a:pt x="1007184" y="425598"/>
                      </a:lnTo>
                      <a:lnTo>
                        <a:pt x="1010353" y="423716"/>
                      </a:lnTo>
                      <a:lnTo>
                        <a:pt x="1011859" y="422902"/>
                      </a:lnTo>
                      <a:lnTo>
                        <a:pt x="1012599" y="423339"/>
                      </a:lnTo>
                      <a:lnTo>
                        <a:pt x="1015769" y="411427"/>
                      </a:lnTo>
                      <a:lnTo>
                        <a:pt x="1022702" y="423315"/>
                      </a:lnTo>
                      <a:lnTo>
                        <a:pt x="1019242" y="431912"/>
                      </a:lnTo>
                      <a:lnTo>
                        <a:pt x="1014069" y="439332"/>
                      </a:lnTo>
                      <a:lnTo>
                        <a:pt x="1010037" y="443229"/>
                      </a:lnTo>
                      <a:lnTo>
                        <a:pt x="1009297" y="443472"/>
                      </a:lnTo>
                      <a:lnTo>
                        <a:pt x="1010863" y="445646"/>
                      </a:lnTo>
                      <a:lnTo>
                        <a:pt x="1003917" y="451001"/>
                      </a:lnTo>
                      <a:lnTo>
                        <a:pt x="986869" y="461310"/>
                      </a:lnTo>
                      <a:lnTo>
                        <a:pt x="978102" y="464868"/>
                      </a:lnTo>
                      <a:lnTo>
                        <a:pt x="968412" y="467333"/>
                      </a:lnTo>
                      <a:lnTo>
                        <a:pt x="964550" y="468912"/>
                      </a:lnTo>
                      <a:lnTo>
                        <a:pt x="962850" y="470490"/>
                      </a:lnTo>
                      <a:lnTo>
                        <a:pt x="962231" y="471887"/>
                      </a:lnTo>
                      <a:lnTo>
                        <a:pt x="960215" y="480120"/>
                      </a:lnTo>
                      <a:lnTo>
                        <a:pt x="958029" y="484649"/>
                      </a:lnTo>
                      <a:lnTo>
                        <a:pt x="958102" y="486410"/>
                      </a:lnTo>
                      <a:lnTo>
                        <a:pt x="958017" y="487393"/>
                      </a:lnTo>
                      <a:lnTo>
                        <a:pt x="947635" y="499512"/>
                      </a:lnTo>
                      <a:lnTo>
                        <a:pt x="944915" y="501503"/>
                      </a:lnTo>
                      <a:lnTo>
                        <a:pt x="946263" y="502038"/>
                      </a:lnTo>
                      <a:lnTo>
                        <a:pt x="947307" y="501771"/>
                      </a:lnTo>
                      <a:lnTo>
                        <a:pt x="959037" y="501467"/>
                      </a:lnTo>
                      <a:lnTo>
                        <a:pt x="943713" y="510501"/>
                      </a:lnTo>
                      <a:lnTo>
                        <a:pt x="944757" y="510866"/>
                      </a:lnTo>
                      <a:lnTo>
                        <a:pt x="919269" y="524781"/>
                      </a:lnTo>
                      <a:lnTo>
                        <a:pt x="889446" y="535661"/>
                      </a:lnTo>
                      <a:lnTo>
                        <a:pt x="884990" y="538017"/>
                      </a:lnTo>
                      <a:lnTo>
                        <a:pt x="881213" y="538248"/>
                      </a:lnTo>
                      <a:lnTo>
                        <a:pt x="878031" y="535892"/>
                      </a:lnTo>
                      <a:lnTo>
                        <a:pt x="877376" y="536172"/>
                      </a:lnTo>
                      <a:lnTo>
                        <a:pt x="876562" y="537082"/>
                      </a:lnTo>
                      <a:lnTo>
                        <a:pt x="874620" y="538454"/>
                      </a:lnTo>
                      <a:lnTo>
                        <a:pt x="870382" y="539049"/>
                      </a:lnTo>
                      <a:lnTo>
                        <a:pt x="847480" y="545971"/>
                      </a:lnTo>
                      <a:lnTo>
                        <a:pt x="839126" y="547428"/>
                      </a:lnTo>
                      <a:lnTo>
                        <a:pt x="833151" y="551411"/>
                      </a:lnTo>
                      <a:lnTo>
                        <a:pt x="828950" y="553159"/>
                      </a:lnTo>
                      <a:lnTo>
                        <a:pt x="826108" y="553548"/>
                      </a:lnTo>
                      <a:lnTo>
                        <a:pt x="819393" y="553366"/>
                      </a:lnTo>
                      <a:lnTo>
                        <a:pt x="818301" y="553682"/>
                      </a:lnTo>
                      <a:lnTo>
                        <a:pt x="815337" y="555284"/>
                      </a:lnTo>
                      <a:lnTo>
                        <a:pt x="808950" y="556790"/>
                      </a:lnTo>
                      <a:lnTo>
                        <a:pt x="798362" y="562218"/>
                      </a:lnTo>
                      <a:lnTo>
                        <a:pt x="791829" y="565497"/>
                      </a:lnTo>
                      <a:lnTo>
                        <a:pt x="792861" y="562364"/>
                      </a:lnTo>
                      <a:lnTo>
                        <a:pt x="788332" y="565181"/>
                      </a:lnTo>
                      <a:lnTo>
                        <a:pt x="789607" y="567549"/>
                      </a:lnTo>
                      <a:lnTo>
                        <a:pt x="782819" y="571629"/>
                      </a:lnTo>
                      <a:lnTo>
                        <a:pt x="768186" y="579243"/>
                      </a:lnTo>
                      <a:lnTo>
                        <a:pt x="752498" y="586577"/>
                      </a:lnTo>
                      <a:lnTo>
                        <a:pt x="744289" y="590220"/>
                      </a:lnTo>
                      <a:lnTo>
                        <a:pt x="735291" y="597420"/>
                      </a:lnTo>
                      <a:lnTo>
                        <a:pt x="726233" y="601391"/>
                      </a:lnTo>
                      <a:lnTo>
                        <a:pt x="715523" y="609369"/>
                      </a:lnTo>
                      <a:lnTo>
                        <a:pt x="695038" y="629162"/>
                      </a:lnTo>
                      <a:lnTo>
                        <a:pt x="680818" y="638986"/>
                      </a:lnTo>
                      <a:lnTo>
                        <a:pt x="657880" y="658912"/>
                      </a:lnTo>
                      <a:lnTo>
                        <a:pt x="642495" y="678499"/>
                      </a:lnTo>
                      <a:lnTo>
                        <a:pt x="635731" y="680794"/>
                      </a:lnTo>
                      <a:lnTo>
                        <a:pt x="634505" y="672597"/>
                      </a:lnTo>
                      <a:lnTo>
                        <a:pt x="633631" y="671505"/>
                      </a:lnTo>
                      <a:lnTo>
                        <a:pt x="632708" y="671140"/>
                      </a:lnTo>
                      <a:lnTo>
                        <a:pt x="631311" y="670982"/>
                      </a:lnTo>
                      <a:lnTo>
                        <a:pt x="625119" y="670958"/>
                      </a:lnTo>
                      <a:lnTo>
                        <a:pt x="623868" y="671067"/>
                      </a:lnTo>
                      <a:lnTo>
                        <a:pt x="624281" y="672330"/>
                      </a:lnTo>
                      <a:lnTo>
                        <a:pt x="624608" y="674565"/>
                      </a:lnTo>
                      <a:lnTo>
                        <a:pt x="624196" y="678050"/>
                      </a:lnTo>
                      <a:lnTo>
                        <a:pt x="622726" y="681207"/>
                      </a:lnTo>
                      <a:lnTo>
                        <a:pt x="620031" y="684024"/>
                      </a:lnTo>
                      <a:lnTo>
                        <a:pt x="619108" y="684910"/>
                      </a:lnTo>
                      <a:lnTo>
                        <a:pt x="615331" y="684789"/>
                      </a:lnTo>
                      <a:lnTo>
                        <a:pt x="613315" y="683271"/>
                      </a:lnTo>
                      <a:lnTo>
                        <a:pt x="612988" y="682992"/>
                      </a:lnTo>
                      <a:lnTo>
                        <a:pt x="599922" y="689209"/>
                      </a:lnTo>
                      <a:lnTo>
                        <a:pt x="598319" y="690350"/>
                      </a:lnTo>
                      <a:lnTo>
                        <a:pt x="592284" y="695693"/>
                      </a:lnTo>
                      <a:lnTo>
                        <a:pt x="589442" y="696483"/>
                      </a:lnTo>
                      <a:lnTo>
                        <a:pt x="586152" y="696507"/>
                      </a:lnTo>
                      <a:lnTo>
                        <a:pt x="583650" y="696033"/>
                      </a:lnTo>
                      <a:lnTo>
                        <a:pt x="584221" y="697296"/>
                      </a:lnTo>
                      <a:lnTo>
                        <a:pt x="584330" y="699907"/>
                      </a:lnTo>
                      <a:lnTo>
                        <a:pt x="583881" y="700805"/>
                      </a:lnTo>
                      <a:lnTo>
                        <a:pt x="582339" y="703441"/>
                      </a:lnTo>
                      <a:lnTo>
                        <a:pt x="582157" y="703999"/>
                      </a:lnTo>
                      <a:lnTo>
                        <a:pt x="582727" y="705237"/>
                      </a:lnTo>
                      <a:lnTo>
                        <a:pt x="583055" y="706112"/>
                      </a:lnTo>
                      <a:lnTo>
                        <a:pt x="583177" y="707897"/>
                      </a:lnTo>
                      <a:lnTo>
                        <a:pt x="583055" y="708407"/>
                      </a:lnTo>
                      <a:lnTo>
                        <a:pt x="582497" y="710022"/>
                      </a:lnTo>
                      <a:lnTo>
                        <a:pt x="581586" y="711430"/>
                      </a:lnTo>
                      <a:lnTo>
                        <a:pt x="574227" y="720538"/>
                      </a:lnTo>
                      <a:lnTo>
                        <a:pt x="571653" y="721375"/>
                      </a:lnTo>
                      <a:lnTo>
                        <a:pt x="568933" y="721461"/>
                      </a:lnTo>
                      <a:lnTo>
                        <a:pt x="567476" y="721205"/>
                      </a:lnTo>
                      <a:lnTo>
                        <a:pt x="567002" y="721764"/>
                      </a:lnTo>
                      <a:lnTo>
                        <a:pt x="565825" y="726123"/>
                      </a:lnTo>
                      <a:lnTo>
                        <a:pt x="564246" y="729815"/>
                      </a:lnTo>
                      <a:lnTo>
                        <a:pt x="560664" y="734636"/>
                      </a:lnTo>
                      <a:lnTo>
                        <a:pt x="557154" y="737416"/>
                      </a:lnTo>
                      <a:lnTo>
                        <a:pt x="553014" y="739202"/>
                      </a:lnTo>
                      <a:lnTo>
                        <a:pt x="540069" y="740173"/>
                      </a:lnTo>
                      <a:lnTo>
                        <a:pt x="527234" y="743451"/>
                      </a:lnTo>
                      <a:lnTo>
                        <a:pt x="522474" y="744156"/>
                      </a:lnTo>
                      <a:lnTo>
                        <a:pt x="520167" y="743464"/>
                      </a:lnTo>
                      <a:lnTo>
                        <a:pt x="516573" y="741011"/>
                      </a:lnTo>
                      <a:lnTo>
                        <a:pt x="515504" y="740622"/>
                      </a:lnTo>
                      <a:lnTo>
                        <a:pt x="511631" y="740707"/>
                      </a:lnTo>
                      <a:lnTo>
                        <a:pt x="508801" y="739882"/>
                      </a:lnTo>
                      <a:lnTo>
                        <a:pt x="506093" y="737926"/>
                      </a:lnTo>
                      <a:lnTo>
                        <a:pt x="504648" y="737574"/>
                      </a:lnTo>
                      <a:lnTo>
                        <a:pt x="502475" y="737684"/>
                      </a:lnTo>
                      <a:lnTo>
                        <a:pt x="492481" y="739833"/>
                      </a:lnTo>
                      <a:lnTo>
                        <a:pt x="482755" y="739602"/>
                      </a:lnTo>
                      <a:lnTo>
                        <a:pt x="473344" y="740197"/>
                      </a:lnTo>
                      <a:lnTo>
                        <a:pt x="471061" y="738910"/>
                      </a:lnTo>
                      <a:lnTo>
                        <a:pt x="467418" y="735850"/>
                      </a:lnTo>
                      <a:lnTo>
                        <a:pt x="465755" y="732887"/>
                      </a:lnTo>
                      <a:lnTo>
                        <a:pt x="464795" y="731454"/>
                      </a:lnTo>
                      <a:lnTo>
                        <a:pt x="463654" y="730228"/>
                      </a:lnTo>
                      <a:lnTo>
                        <a:pt x="462852" y="729038"/>
                      </a:lnTo>
                      <a:lnTo>
                        <a:pt x="462075" y="727544"/>
                      </a:lnTo>
                      <a:lnTo>
                        <a:pt x="459307" y="719396"/>
                      </a:lnTo>
                      <a:lnTo>
                        <a:pt x="457679" y="717526"/>
                      </a:lnTo>
                      <a:lnTo>
                        <a:pt x="456987" y="716276"/>
                      </a:lnTo>
                      <a:lnTo>
                        <a:pt x="455166" y="707278"/>
                      </a:lnTo>
                      <a:lnTo>
                        <a:pt x="452786" y="701631"/>
                      </a:lnTo>
                      <a:lnTo>
                        <a:pt x="449847" y="700308"/>
                      </a:lnTo>
                      <a:lnTo>
                        <a:pt x="449337" y="700502"/>
                      </a:lnTo>
                      <a:lnTo>
                        <a:pt x="448159" y="700587"/>
                      </a:lnTo>
                      <a:lnTo>
                        <a:pt x="447892" y="700805"/>
                      </a:lnTo>
                      <a:lnTo>
                        <a:pt x="447443" y="702275"/>
                      </a:lnTo>
                      <a:lnTo>
                        <a:pt x="447467" y="703234"/>
                      </a:lnTo>
                      <a:lnTo>
                        <a:pt x="447747" y="704254"/>
                      </a:lnTo>
                      <a:lnTo>
                        <a:pt x="448087" y="705116"/>
                      </a:lnTo>
                      <a:lnTo>
                        <a:pt x="448524" y="706962"/>
                      </a:lnTo>
                      <a:lnTo>
                        <a:pt x="448767" y="709135"/>
                      </a:lnTo>
                      <a:lnTo>
                        <a:pt x="448038" y="712681"/>
                      </a:lnTo>
                      <a:lnTo>
                        <a:pt x="446727" y="714782"/>
                      </a:lnTo>
                      <a:lnTo>
                        <a:pt x="445974" y="715765"/>
                      </a:lnTo>
                      <a:lnTo>
                        <a:pt x="443460" y="716142"/>
                      </a:lnTo>
                      <a:lnTo>
                        <a:pt x="441250" y="715498"/>
                      </a:lnTo>
                      <a:lnTo>
                        <a:pt x="440109" y="714600"/>
                      </a:lnTo>
                      <a:lnTo>
                        <a:pt x="438227" y="711758"/>
                      </a:lnTo>
                      <a:lnTo>
                        <a:pt x="434353" y="700016"/>
                      </a:lnTo>
                      <a:lnTo>
                        <a:pt x="433527" y="698353"/>
                      </a:lnTo>
                      <a:lnTo>
                        <a:pt x="431074" y="694564"/>
                      </a:lnTo>
                      <a:lnTo>
                        <a:pt x="423691" y="686622"/>
                      </a:lnTo>
                      <a:lnTo>
                        <a:pt x="421906" y="684012"/>
                      </a:lnTo>
                      <a:lnTo>
                        <a:pt x="418980" y="678378"/>
                      </a:lnTo>
                      <a:lnTo>
                        <a:pt x="418737" y="678062"/>
                      </a:lnTo>
                      <a:lnTo>
                        <a:pt x="418203" y="679871"/>
                      </a:lnTo>
                      <a:lnTo>
                        <a:pt x="417839" y="682020"/>
                      </a:lnTo>
                      <a:lnTo>
                        <a:pt x="416479" y="685056"/>
                      </a:lnTo>
                      <a:lnTo>
                        <a:pt x="413868" y="688359"/>
                      </a:lnTo>
                      <a:lnTo>
                        <a:pt x="409496" y="689743"/>
                      </a:lnTo>
                      <a:lnTo>
                        <a:pt x="408889" y="690399"/>
                      </a:lnTo>
                      <a:lnTo>
                        <a:pt x="408282" y="691249"/>
                      </a:lnTo>
                      <a:lnTo>
                        <a:pt x="407286" y="694940"/>
                      </a:lnTo>
                      <a:lnTo>
                        <a:pt x="405853" y="697673"/>
                      </a:lnTo>
                      <a:lnTo>
                        <a:pt x="403546" y="700053"/>
                      </a:lnTo>
                      <a:lnTo>
                        <a:pt x="400110" y="701267"/>
                      </a:lnTo>
                      <a:lnTo>
                        <a:pt x="398058" y="700490"/>
                      </a:lnTo>
                      <a:lnTo>
                        <a:pt x="396491" y="699142"/>
                      </a:lnTo>
                      <a:lnTo>
                        <a:pt x="395690" y="697733"/>
                      </a:lnTo>
                      <a:lnTo>
                        <a:pt x="395095" y="695147"/>
                      </a:lnTo>
                      <a:lnTo>
                        <a:pt x="395095" y="695936"/>
                      </a:lnTo>
                      <a:lnTo>
                        <a:pt x="394051" y="698984"/>
                      </a:lnTo>
                      <a:lnTo>
                        <a:pt x="392727" y="699967"/>
                      </a:lnTo>
                      <a:lnTo>
                        <a:pt x="393261" y="701546"/>
                      </a:lnTo>
                      <a:lnTo>
                        <a:pt x="392970" y="704752"/>
                      </a:lnTo>
                      <a:lnTo>
                        <a:pt x="391270" y="707800"/>
                      </a:lnTo>
                      <a:lnTo>
                        <a:pt x="386825" y="709961"/>
                      </a:lnTo>
                      <a:lnTo>
                        <a:pt x="382940" y="709123"/>
                      </a:lnTo>
                      <a:lnTo>
                        <a:pt x="378386" y="705796"/>
                      </a:lnTo>
                      <a:lnTo>
                        <a:pt x="376613" y="704728"/>
                      </a:lnTo>
                      <a:lnTo>
                        <a:pt x="372837" y="703695"/>
                      </a:lnTo>
                      <a:lnTo>
                        <a:pt x="369983" y="702178"/>
                      </a:lnTo>
                      <a:lnTo>
                        <a:pt x="367882" y="701400"/>
                      </a:lnTo>
                      <a:lnTo>
                        <a:pt x="367130" y="701643"/>
                      </a:lnTo>
                      <a:lnTo>
                        <a:pt x="365745" y="701910"/>
                      </a:lnTo>
                      <a:lnTo>
                        <a:pt x="364507" y="702323"/>
                      </a:lnTo>
                      <a:lnTo>
                        <a:pt x="363851" y="702761"/>
                      </a:lnTo>
                      <a:lnTo>
                        <a:pt x="364227" y="703295"/>
                      </a:lnTo>
                      <a:lnTo>
                        <a:pt x="364835" y="703720"/>
                      </a:lnTo>
                      <a:lnTo>
                        <a:pt x="366024" y="705128"/>
                      </a:lnTo>
                      <a:lnTo>
                        <a:pt x="367142" y="707290"/>
                      </a:lnTo>
                      <a:lnTo>
                        <a:pt x="368380" y="711018"/>
                      </a:lnTo>
                      <a:lnTo>
                        <a:pt x="368757" y="711674"/>
                      </a:lnTo>
                      <a:lnTo>
                        <a:pt x="372290" y="715996"/>
                      </a:lnTo>
                      <a:lnTo>
                        <a:pt x="374427" y="715984"/>
                      </a:lnTo>
                      <a:lnTo>
                        <a:pt x="375302" y="716239"/>
                      </a:lnTo>
                      <a:lnTo>
                        <a:pt x="376807" y="717186"/>
                      </a:lnTo>
                      <a:lnTo>
                        <a:pt x="377245" y="717696"/>
                      </a:lnTo>
                      <a:lnTo>
                        <a:pt x="377949" y="718947"/>
                      </a:lnTo>
                      <a:lnTo>
                        <a:pt x="378580" y="721157"/>
                      </a:lnTo>
                      <a:lnTo>
                        <a:pt x="379940" y="721837"/>
                      </a:lnTo>
                      <a:lnTo>
                        <a:pt x="380815" y="722590"/>
                      </a:lnTo>
                      <a:lnTo>
                        <a:pt x="381701" y="724363"/>
                      </a:lnTo>
                      <a:lnTo>
                        <a:pt x="381956" y="726281"/>
                      </a:lnTo>
                      <a:lnTo>
                        <a:pt x="380948" y="729596"/>
                      </a:lnTo>
                      <a:lnTo>
                        <a:pt x="378083" y="732146"/>
                      </a:lnTo>
                      <a:lnTo>
                        <a:pt x="374707" y="733859"/>
                      </a:lnTo>
                      <a:lnTo>
                        <a:pt x="370177" y="735170"/>
                      </a:lnTo>
                      <a:lnTo>
                        <a:pt x="367992" y="736542"/>
                      </a:lnTo>
                      <a:lnTo>
                        <a:pt x="362394" y="740817"/>
                      </a:lnTo>
                      <a:lnTo>
                        <a:pt x="357925" y="744994"/>
                      </a:lnTo>
                      <a:lnTo>
                        <a:pt x="354756" y="747398"/>
                      </a:lnTo>
                      <a:lnTo>
                        <a:pt x="343074" y="752680"/>
                      </a:lnTo>
                      <a:lnTo>
                        <a:pt x="339407" y="752279"/>
                      </a:lnTo>
                      <a:lnTo>
                        <a:pt x="337100" y="750652"/>
                      </a:lnTo>
                      <a:lnTo>
                        <a:pt x="334890" y="748357"/>
                      </a:lnTo>
                      <a:lnTo>
                        <a:pt x="333712" y="747993"/>
                      </a:lnTo>
                      <a:lnTo>
                        <a:pt x="332243" y="747738"/>
                      </a:lnTo>
                      <a:lnTo>
                        <a:pt x="330992" y="748163"/>
                      </a:lnTo>
                      <a:lnTo>
                        <a:pt x="329984" y="748989"/>
                      </a:lnTo>
                      <a:lnTo>
                        <a:pt x="327276" y="751709"/>
                      </a:lnTo>
                      <a:lnTo>
                        <a:pt x="325467" y="754149"/>
                      </a:lnTo>
                      <a:lnTo>
                        <a:pt x="321545" y="760974"/>
                      </a:lnTo>
                      <a:lnTo>
                        <a:pt x="319432" y="763997"/>
                      </a:lnTo>
                      <a:lnTo>
                        <a:pt x="317004" y="766754"/>
                      </a:lnTo>
                      <a:lnTo>
                        <a:pt x="312098" y="771380"/>
                      </a:lnTo>
                      <a:lnTo>
                        <a:pt x="312523" y="771635"/>
                      </a:lnTo>
                      <a:lnTo>
                        <a:pt x="312596" y="772789"/>
                      </a:lnTo>
                      <a:lnTo>
                        <a:pt x="312268" y="775193"/>
                      </a:lnTo>
                      <a:lnTo>
                        <a:pt x="311588" y="777391"/>
                      </a:lnTo>
                      <a:lnTo>
                        <a:pt x="311479" y="778435"/>
                      </a:lnTo>
                      <a:lnTo>
                        <a:pt x="314150" y="781993"/>
                      </a:lnTo>
                      <a:lnTo>
                        <a:pt x="315425" y="785029"/>
                      </a:lnTo>
                      <a:lnTo>
                        <a:pt x="317829" y="784859"/>
                      </a:lnTo>
                      <a:lnTo>
                        <a:pt x="320064" y="784907"/>
                      </a:lnTo>
                      <a:lnTo>
                        <a:pt x="321144" y="785697"/>
                      </a:lnTo>
                      <a:lnTo>
                        <a:pt x="322019" y="786462"/>
                      </a:lnTo>
                      <a:lnTo>
                        <a:pt x="322577" y="787154"/>
                      </a:lnTo>
                      <a:lnTo>
                        <a:pt x="323136" y="788611"/>
                      </a:lnTo>
                      <a:lnTo>
                        <a:pt x="323573" y="792497"/>
                      </a:lnTo>
                      <a:lnTo>
                        <a:pt x="313919" y="804336"/>
                      </a:lnTo>
                      <a:lnTo>
                        <a:pt x="313604" y="805538"/>
                      </a:lnTo>
                      <a:lnTo>
                        <a:pt x="314235" y="806157"/>
                      </a:lnTo>
                      <a:lnTo>
                        <a:pt x="315583" y="808902"/>
                      </a:lnTo>
                      <a:lnTo>
                        <a:pt x="315971" y="812399"/>
                      </a:lnTo>
                      <a:lnTo>
                        <a:pt x="314915" y="819260"/>
                      </a:lnTo>
                      <a:lnTo>
                        <a:pt x="311916" y="822089"/>
                      </a:lnTo>
                      <a:lnTo>
                        <a:pt x="309256" y="822866"/>
                      </a:lnTo>
                      <a:lnTo>
                        <a:pt x="305735" y="822769"/>
                      </a:lnTo>
                      <a:lnTo>
                        <a:pt x="304861" y="822939"/>
                      </a:lnTo>
                      <a:lnTo>
                        <a:pt x="303659" y="823461"/>
                      </a:lnTo>
                      <a:lnTo>
                        <a:pt x="297040" y="826740"/>
                      </a:lnTo>
                      <a:lnTo>
                        <a:pt x="294576" y="827262"/>
                      </a:lnTo>
                      <a:lnTo>
                        <a:pt x="286877" y="827590"/>
                      </a:lnTo>
                      <a:lnTo>
                        <a:pt x="283598" y="826898"/>
                      </a:lnTo>
                      <a:lnTo>
                        <a:pt x="281255" y="825028"/>
                      </a:lnTo>
                      <a:lnTo>
                        <a:pt x="280332" y="822781"/>
                      </a:lnTo>
                      <a:lnTo>
                        <a:pt x="280101" y="820001"/>
                      </a:lnTo>
                      <a:lnTo>
                        <a:pt x="280526" y="817074"/>
                      </a:lnTo>
                      <a:lnTo>
                        <a:pt x="278535" y="816940"/>
                      </a:lnTo>
                      <a:lnTo>
                        <a:pt x="275426" y="815933"/>
                      </a:lnTo>
                      <a:lnTo>
                        <a:pt x="272585" y="813881"/>
                      </a:lnTo>
                      <a:lnTo>
                        <a:pt x="270933" y="812775"/>
                      </a:lnTo>
                      <a:lnTo>
                        <a:pt x="269452" y="812569"/>
                      </a:lnTo>
                      <a:lnTo>
                        <a:pt x="266780" y="813176"/>
                      </a:lnTo>
                      <a:lnTo>
                        <a:pt x="266525" y="813468"/>
                      </a:lnTo>
                      <a:lnTo>
                        <a:pt x="266586" y="814439"/>
                      </a:lnTo>
                      <a:lnTo>
                        <a:pt x="267691" y="818483"/>
                      </a:lnTo>
                      <a:lnTo>
                        <a:pt x="267618" y="821883"/>
                      </a:lnTo>
                      <a:lnTo>
                        <a:pt x="266586" y="825076"/>
                      </a:lnTo>
                      <a:lnTo>
                        <a:pt x="264340" y="828391"/>
                      </a:lnTo>
                      <a:lnTo>
                        <a:pt x="261425" y="830540"/>
                      </a:lnTo>
                      <a:lnTo>
                        <a:pt x="255135" y="832969"/>
                      </a:lnTo>
                      <a:lnTo>
                        <a:pt x="249671" y="836697"/>
                      </a:lnTo>
                      <a:lnTo>
                        <a:pt x="246149" y="838603"/>
                      </a:lnTo>
                      <a:lnTo>
                        <a:pt x="244535" y="839805"/>
                      </a:lnTo>
                      <a:lnTo>
                        <a:pt x="244292" y="840097"/>
                      </a:lnTo>
                      <a:lnTo>
                        <a:pt x="243952" y="841214"/>
                      </a:lnTo>
                      <a:lnTo>
                        <a:pt x="243162" y="845428"/>
                      </a:lnTo>
                      <a:lnTo>
                        <a:pt x="242373" y="847820"/>
                      </a:lnTo>
                      <a:lnTo>
                        <a:pt x="239920" y="850929"/>
                      </a:lnTo>
                      <a:lnTo>
                        <a:pt x="239155" y="851779"/>
                      </a:lnTo>
                      <a:lnTo>
                        <a:pt x="235767" y="852167"/>
                      </a:lnTo>
                      <a:lnTo>
                        <a:pt x="232452" y="850322"/>
                      </a:lnTo>
                      <a:lnTo>
                        <a:pt x="229902" y="850297"/>
                      </a:lnTo>
                      <a:lnTo>
                        <a:pt x="227741" y="849787"/>
                      </a:lnTo>
                      <a:lnTo>
                        <a:pt x="225021" y="848221"/>
                      </a:lnTo>
                      <a:lnTo>
                        <a:pt x="223831" y="846363"/>
                      </a:lnTo>
                      <a:lnTo>
                        <a:pt x="223005" y="843716"/>
                      </a:lnTo>
                      <a:lnTo>
                        <a:pt x="222969" y="840886"/>
                      </a:lnTo>
                      <a:lnTo>
                        <a:pt x="223418" y="838239"/>
                      </a:lnTo>
                      <a:lnTo>
                        <a:pt x="226126" y="832107"/>
                      </a:lnTo>
                      <a:lnTo>
                        <a:pt x="226296" y="831209"/>
                      </a:lnTo>
                      <a:lnTo>
                        <a:pt x="226211" y="830358"/>
                      </a:lnTo>
                      <a:lnTo>
                        <a:pt x="225239" y="828683"/>
                      </a:lnTo>
                      <a:lnTo>
                        <a:pt x="224450" y="827687"/>
                      </a:lnTo>
                      <a:lnTo>
                        <a:pt x="223491" y="826716"/>
                      </a:lnTo>
                      <a:lnTo>
                        <a:pt x="214371" y="818738"/>
                      </a:lnTo>
                      <a:lnTo>
                        <a:pt x="211894" y="815726"/>
                      </a:lnTo>
                      <a:lnTo>
                        <a:pt x="210389" y="812933"/>
                      </a:lnTo>
                      <a:lnTo>
                        <a:pt x="209842" y="809606"/>
                      </a:lnTo>
                      <a:lnTo>
                        <a:pt x="210364" y="804992"/>
                      </a:lnTo>
                      <a:lnTo>
                        <a:pt x="210279" y="803960"/>
                      </a:lnTo>
                      <a:lnTo>
                        <a:pt x="209563" y="802551"/>
                      </a:lnTo>
                      <a:lnTo>
                        <a:pt x="209247" y="801155"/>
                      </a:lnTo>
                      <a:lnTo>
                        <a:pt x="209126" y="799054"/>
                      </a:lnTo>
                      <a:lnTo>
                        <a:pt x="209223" y="797414"/>
                      </a:lnTo>
                      <a:lnTo>
                        <a:pt x="206260" y="797099"/>
                      </a:lnTo>
                      <a:lnTo>
                        <a:pt x="203382" y="795836"/>
                      </a:lnTo>
                      <a:lnTo>
                        <a:pt x="201415" y="795326"/>
                      </a:lnTo>
                      <a:lnTo>
                        <a:pt x="200929" y="795447"/>
                      </a:lnTo>
                      <a:lnTo>
                        <a:pt x="199861" y="796565"/>
                      </a:lnTo>
                      <a:lnTo>
                        <a:pt x="198197" y="801325"/>
                      </a:lnTo>
                      <a:lnTo>
                        <a:pt x="196643" y="804372"/>
                      </a:lnTo>
                      <a:lnTo>
                        <a:pt x="189673" y="812824"/>
                      </a:lnTo>
                      <a:lnTo>
                        <a:pt x="189138" y="813771"/>
                      </a:lnTo>
                      <a:lnTo>
                        <a:pt x="189576" y="816430"/>
                      </a:lnTo>
                      <a:lnTo>
                        <a:pt x="189588" y="819381"/>
                      </a:lnTo>
                      <a:lnTo>
                        <a:pt x="189017" y="822891"/>
                      </a:lnTo>
                      <a:lnTo>
                        <a:pt x="186090" y="830480"/>
                      </a:lnTo>
                      <a:lnTo>
                        <a:pt x="185957" y="831403"/>
                      </a:lnTo>
                      <a:lnTo>
                        <a:pt x="187390" y="833674"/>
                      </a:lnTo>
                      <a:lnTo>
                        <a:pt x="187851" y="836624"/>
                      </a:lnTo>
                      <a:lnTo>
                        <a:pt x="186916" y="840449"/>
                      </a:lnTo>
                      <a:lnTo>
                        <a:pt x="185520" y="843254"/>
                      </a:lnTo>
                      <a:lnTo>
                        <a:pt x="179218" y="852932"/>
                      </a:lnTo>
                      <a:lnTo>
                        <a:pt x="178307" y="854875"/>
                      </a:lnTo>
                      <a:lnTo>
                        <a:pt x="178295" y="855142"/>
                      </a:lnTo>
                      <a:lnTo>
                        <a:pt x="178647" y="856077"/>
                      </a:lnTo>
                      <a:lnTo>
                        <a:pt x="179934" y="857146"/>
                      </a:lnTo>
                      <a:lnTo>
                        <a:pt x="185107" y="860837"/>
                      </a:lnTo>
                      <a:lnTo>
                        <a:pt x="187317" y="863630"/>
                      </a:lnTo>
                      <a:lnTo>
                        <a:pt x="187948" y="866848"/>
                      </a:lnTo>
                      <a:lnTo>
                        <a:pt x="186176" y="870114"/>
                      </a:lnTo>
                      <a:lnTo>
                        <a:pt x="183808" y="871632"/>
                      </a:lnTo>
                      <a:lnTo>
                        <a:pt x="182205" y="872385"/>
                      </a:lnTo>
                      <a:lnTo>
                        <a:pt x="182278" y="874012"/>
                      </a:lnTo>
                      <a:lnTo>
                        <a:pt x="183055" y="876854"/>
                      </a:lnTo>
                      <a:lnTo>
                        <a:pt x="183565" y="880084"/>
                      </a:lnTo>
                      <a:lnTo>
                        <a:pt x="183140" y="884322"/>
                      </a:lnTo>
                      <a:lnTo>
                        <a:pt x="180845" y="887527"/>
                      </a:lnTo>
                      <a:lnTo>
                        <a:pt x="177833" y="888317"/>
                      </a:lnTo>
                      <a:lnTo>
                        <a:pt x="171920" y="887977"/>
                      </a:lnTo>
                      <a:lnTo>
                        <a:pt x="170572" y="888317"/>
                      </a:lnTo>
                      <a:lnTo>
                        <a:pt x="169819" y="888960"/>
                      </a:lnTo>
                      <a:lnTo>
                        <a:pt x="168957" y="890757"/>
                      </a:lnTo>
                      <a:lnTo>
                        <a:pt x="168398" y="892785"/>
                      </a:lnTo>
                      <a:lnTo>
                        <a:pt x="166164" y="896307"/>
                      </a:lnTo>
                      <a:lnTo>
                        <a:pt x="162618" y="897861"/>
                      </a:lnTo>
                      <a:lnTo>
                        <a:pt x="159813" y="897448"/>
                      </a:lnTo>
                      <a:lnTo>
                        <a:pt x="157530" y="896562"/>
                      </a:lnTo>
                      <a:lnTo>
                        <a:pt x="156122" y="896513"/>
                      </a:lnTo>
                      <a:lnTo>
                        <a:pt x="153596" y="896683"/>
                      </a:lnTo>
                      <a:lnTo>
                        <a:pt x="150196" y="896355"/>
                      </a:lnTo>
                      <a:lnTo>
                        <a:pt x="149492" y="895967"/>
                      </a:lnTo>
                      <a:lnTo>
                        <a:pt x="145509" y="891899"/>
                      </a:lnTo>
                      <a:lnTo>
                        <a:pt x="143274" y="890199"/>
                      </a:lnTo>
                      <a:lnTo>
                        <a:pt x="140372" y="888462"/>
                      </a:lnTo>
                      <a:lnTo>
                        <a:pt x="134277" y="886799"/>
                      </a:lnTo>
                      <a:lnTo>
                        <a:pt x="126299" y="887916"/>
                      </a:lnTo>
                      <a:lnTo>
                        <a:pt x="117580" y="894279"/>
                      </a:lnTo>
                      <a:lnTo>
                        <a:pt x="109930" y="895785"/>
                      </a:lnTo>
                      <a:lnTo>
                        <a:pt x="103858" y="896282"/>
                      </a:lnTo>
                      <a:lnTo>
                        <a:pt x="86081" y="907928"/>
                      </a:lnTo>
                      <a:lnTo>
                        <a:pt x="73270" y="913768"/>
                      </a:lnTo>
                      <a:lnTo>
                        <a:pt x="69895" y="915796"/>
                      </a:lnTo>
                      <a:lnTo>
                        <a:pt x="67624" y="917946"/>
                      </a:lnTo>
                      <a:lnTo>
                        <a:pt x="66519" y="919645"/>
                      </a:lnTo>
                      <a:lnTo>
                        <a:pt x="63933" y="922402"/>
                      </a:lnTo>
                      <a:lnTo>
                        <a:pt x="60399" y="924211"/>
                      </a:lnTo>
                      <a:lnTo>
                        <a:pt x="53040" y="925256"/>
                      </a:lnTo>
                      <a:lnTo>
                        <a:pt x="51231" y="926543"/>
                      </a:lnTo>
                      <a:lnTo>
                        <a:pt x="48390" y="928947"/>
                      </a:lnTo>
                      <a:lnTo>
                        <a:pt x="45500" y="931995"/>
                      </a:lnTo>
                      <a:lnTo>
                        <a:pt x="38432" y="935965"/>
                      </a:lnTo>
                      <a:lnTo>
                        <a:pt x="33345" y="934302"/>
                      </a:lnTo>
                      <a:lnTo>
                        <a:pt x="26387" y="930125"/>
                      </a:lnTo>
                      <a:lnTo>
                        <a:pt x="25767" y="930064"/>
                      </a:lnTo>
                      <a:lnTo>
                        <a:pt x="25537" y="930380"/>
                      </a:lnTo>
                      <a:lnTo>
                        <a:pt x="24747" y="932966"/>
                      </a:lnTo>
                      <a:lnTo>
                        <a:pt x="23582" y="935031"/>
                      </a:lnTo>
                      <a:lnTo>
                        <a:pt x="21469" y="936900"/>
                      </a:lnTo>
                      <a:lnTo>
                        <a:pt x="20716" y="937471"/>
                      </a:lnTo>
                      <a:lnTo>
                        <a:pt x="17935" y="937593"/>
                      </a:lnTo>
                      <a:lnTo>
                        <a:pt x="15288" y="936755"/>
                      </a:lnTo>
                      <a:close/>
                      <a:moveTo>
                        <a:pt x="706865" y="598878"/>
                      </a:moveTo>
                      <a:lnTo>
                        <a:pt x="707010" y="599667"/>
                      </a:lnTo>
                      <a:lnTo>
                        <a:pt x="709208" y="598525"/>
                      </a:lnTo>
                      <a:lnTo>
                        <a:pt x="711770" y="598100"/>
                      </a:lnTo>
                      <a:lnTo>
                        <a:pt x="713556" y="598125"/>
                      </a:lnTo>
                      <a:lnTo>
                        <a:pt x="714126" y="597906"/>
                      </a:lnTo>
                      <a:lnTo>
                        <a:pt x="714843" y="597335"/>
                      </a:lnTo>
                      <a:lnTo>
                        <a:pt x="714806" y="596971"/>
                      </a:lnTo>
                      <a:lnTo>
                        <a:pt x="714053" y="595769"/>
                      </a:lnTo>
                      <a:lnTo>
                        <a:pt x="713640" y="594895"/>
                      </a:lnTo>
                      <a:lnTo>
                        <a:pt x="714515" y="590220"/>
                      </a:lnTo>
                      <a:lnTo>
                        <a:pt x="713143" y="589746"/>
                      </a:lnTo>
                      <a:lnTo>
                        <a:pt x="713143" y="583262"/>
                      </a:lnTo>
                      <a:lnTo>
                        <a:pt x="718728" y="583177"/>
                      </a:lnTo>
                      <a:lnTo>
                        <a:pt x="719894" y="582145"/>
                      </a:lnTo>
                      <a:lnTo>
                        <a:pt x="721728" y="579777"/>
                      </a:lnTo>
                      <a:lnTo>
                        <a:pt x="720914" y="577858"/>
                      </a:lnTo>
                      <a:lnTo>
                        <a:pt x="720586" y="575029"/>
                      </a:lnTo>
                      <a:lnTo>
                        <a:pt x="721679" y="573985"/>
                      </a:lnTo>
                      <a:lnTo>
                        <a:pt x="723367" y="571374"/>
                      </a:lnTo>
                      <a:lnTo>
                        <a:pt x="723185" y="569018"/>
                      </a:lnTo>
                      <a:lnTo>
                        <a:pt x="726500" y="568472"/>
                      </a:lnTo>
                      <a:lnTo>
                        <a:pt x="729025" y="568557"/>
                      </a:lnTo>
                      <a:lnTo>
                        <a:pt x="737198" y="570912"/>
                      </a:lnTo>
                      <a:lnTo>
                        <a:pt x="744544" y="564416"/>
                      </a:lnTo>
                      <a:lnTo>
                        <a:pt x="748090" y="564270"/>
                      </a:lnTo>
                      <a:lnTo>
                        <a:pt x="749972" y="564768"/>
                      </a:lnTo>
                      <a:lnTo>
                        <a:pt x="753153" y="559037"/>
                      </a:lnTo>
                      <a:lnTo>
                        <a:pt x="757404" y="565387"/>
                      </a:lnTo>
                      <a:lnTo>
                        <a:pt x="758363" y="567294"/>
                      </a:lnTo>
                      <a:lnTo>
                        <a:pt x="758958" y="569856"/>
                      </a:lnTo>
                      <a:lnTo>
                        <a:pt x="759116" y="575199"/>
                      </a:lnTo>
                      <a:lnTo>
                        <a:pt x="757671" y="576110"/>
                      </a:lnTo>
                      <a:lnTo>
                        <a:pt x="754708" y="577530"/>
                      </a:lnTo>
                      <a:lnTo>
                        <a:pt x="754647" y="577797"/>
                      </a:lnTo>
                      <a:lnTo>
                        <a:pt x="764519" y="572977"/>
                      </a:lnTo>
                      <a:lnTo>
                        <a:pt x="761775" y="571605"/>
                      </a:lnTo>
                      <a:lnTo>
                        <a:pt x="761022" y="568739"/>
                      </a:lnTo>
                      <a:lnTo>
                        <a:pt x="760937" y="567683"/>
                      </a:lnTo>
                      <a:lnTo>
                        <a:pt x="760330" y="567634"/>
                      </a:lnTo>
                      <a:lnTo>
                        <a:pt x="758302" y="566407"/>
                      </a:lnTo>
                      <a:lnTo>
                        <a:pt x="756748" y="564307"/>
                      </a:lnTo>
                      <a:lnTo>
                        <a:pt x="757404" y="559571"/>
                      </a:lnTo>
                      <a:lnTo>
                        <a:pt x="760549" y="559049"/>
                      </a:lnTo>
                      <a:lnTo>
                        <a:pt x="762686" y="557410"/>
                      </a:lnTo>
                      <a:lnTo>
                        <a:pt x="768757" y="555430"/>
                      </a:lnTo>
                      <a:lnTo>
                        <a:pt x="779188" y="551715"/>
                      </a:lnTo>
                      <a:lnTo>
                        <a:pt x="780912" y="554446"/>
                      </a:lnTo>
                      <a:lnTo>
                        <a:pt x="782843" y="553196"/>
                      </a:lnTo>
                      <a:lnTo>
                        <a:pt x="782540" y="552747"/>
                      </a:lnTo>
                      <a:lnTo>
                        <a:pt x="782831" y="549371"/>
                      </a:lnTo>
                      <a:lnTo>
                        <a:pt x="783778" y="548023"/>
                      </a:lnTo>
                      <a:lnTo>
                        <a:pt x="783365" y="545692"/>
                      </a:lnTo>
                      <a:lnTo>
                        <a:pt x="783887" y="530646"/>
                      </a:lnTo>
                      <a:lnTo>
                        <a:pt x="783220" y="530331"/>
                      </a:lnTo>
                      <a:lnTo>
                        <a:pt x="776019" y="529080"/>
                      </a:lnTo>
                      <a:lnTo>
                        <a:pt x="768502" y="526724"/>
                      </a:lnTo>
                      <a:lnTo>
                        <a:pt x="767179" y="526542"/>
                      </a:lnTo>
                      <a:lnTo>
                        <a:pt x="763390" y="527659"/>
                      </a:lnTo>
                      <a:lnTo>
                        <a:pt x="759893" y="530416"/>
                      </a:lnTo>
                      <a:lnTo>
                        <a:pt x="752425" y="538260"/>
                      </a:lnTo>
                      <a:lnTo>
                        <a:pt x="741157" y="547732"/>
                      </a:lnTo>
                      <a:lnTo>
                        <a:pt x="737246" y="547987"/>
                      </a:lnTo>
                      <a:lnTo>
                        <a:pt x="735061" y="548460"/>
                      </a:lnTo>
                      <a:lnTo>
                        <a:pt x="733227" y="549201"/>
                      </a:lnTo>
                      <a:lnTo>
                        <a:pt x="731782" y="550075"/>
                      </a:lnTo>
                      <a:lnTo>
                        <a:pt x="728285" y="553135"/>
                      </a:lnTo>
                      <a:lnTo>
                        <a:pt x="723695" y="558065"/>
                      </a:lnTo>
                      <a:lnTo>
                        <a:pt x="721303" y="562254"/>
                      </a:lnTo>
                      <a:lnTo>
                        <a:pt x="721958" y="567500"/>
                      </a:lnTo>
                      <a:lnTo>
                        <a:pt x="718145" y="570572"/>
                      </a:lnTo>
                      <a:lnTo>
                        <a:pt x="715669" y="576498"/>
                      </a:lnTo>
                      <a:lnTo>
                        <a:pt x="713385" y="579425"/>
                      </a:lnTo>
                      <a:lnTo>
                        <a:pt x="710131" y="582205"/>
                      </a:lnTo>
                      <a:lnTo>
                        <a:pt x="709330" y="583905"/>
                      </a:lnTo>
                      <a:lnTo>
                        <a:pt x="709269" y="585302"/>
                      </a:lnTo>
                      <a:lnTo>
                        <a:pt x="711442" y="587573"/>
                      </a:lnTo>
                      <a:lnTo>
                        <a:pt x="711442" y="592563"/>
                      </a:lnTo>
                      <a:lnTo>
                        <a:pt x="706926" y="593814"/>
                      </a:lnTo>
                      <a:lnTo>
                        <a:pt x="705019" y="594810"/>
                      </a:lnTo>
                      <a:lnTo>
                        <a:pt x="706865" y="598878"/>
                      </a:lnTo>
                      <a:close/>
                      <a:moveTo>
                        <a:pt x="929311" y="504491"/>
                      </a:moveTo>
                      <a:lnTo>
                        <a:pt x="930829" y="505000"/>
                      </a:lnTo>
                      <a:lnTo>
                        <a:pt x="925632" y="500690"/>
                      </a:lnTo>
                      <a:lnTo>
                        <a:pt x="925741" y="501491"/>
                      </a:lnTo>
                      <a:lnTo>
                        <a:pt x="927720" y="504211"/>
                      </a:lnTo>
                      <a:lnTo>
                        <a:pt x="929311" y="504491"/>
                      </a:lnTo>
                      <a:close/>
                    </a:path>
                  </a:pathLst>
                </a:custGeom>
                <a:solidFill>
                  <a:srgbClr val="D7D7D2"/>
                </a:solidFill>
                <a:ln w="12138" cap="flat">
                  <a:noFill/>
                  <a:prstDash val="solid"/>
                  <a:miter/>
                </a:ln>
              </p:spPr>
              <p:txBody>
                <a:bodyPr rtlCol="0" anchor="ctr"/>
                <a:lstStyle/>
                <a:p>
                  <a:endParaRPr lang="en-US"/>
                </a:p>
              </p:txBody>
            </p:sp>
            <p:sp>
              <p:nvSpPr>
                <p:cNvPr id="329" name="Freeform: Shape 328">
                  <a:extLst>
                    <a:ext uri="{FF2B5EF4-FFF2-40B4-BE49-F238E27FC236}">
                      <a16:creationId xmlns:a16="http://schemas.microsoft.com/office/drawing/2014/main" id="{B7F12B06-B018-4F1D-83C8-29A8FDC4B3B6}"/>
                    </a:ext>
                  </a:extLst>
                </p:cNvPr>
                <p:cNvSpPr/>
                <p:nvPr/>
              </p:nvSpPr>
              <p:spPr>
                <a:xfrm>
                  <a:off x="5837319" y="3632020"/>
                  <a:ext cx="1156578" cy="943688"/>
                </a:xfrm>
                <a:custGeom>
                  <a:avLst/>
                  <a:gdLst>
                    <a:gd name="connsiteX0" fmla="*/ 877946 w 1156578"/>
                    <a:gd name="connsiteY0" fmla="*/ 6181 h 943688"/>
                    <a:gd name="connsiteX1" fmla="*/ 879841 w 1156578"/>
                    <a:gd name="connsiteY1" fmla="*/ 6351 h 943688"/>
                    <a:gd name="connsiteX2" fmla="*/ 881274 w 1156578"/>
                    <a:gd name="connsiteY2" fmla="*/ 7067 h 943688"/>
                    <a:gd name="connsiteX3" fmla="*/ 882646 w 1156578"/>
                    <a:gd name="connsiteY3" fmla="*/ 8306 h 943688"/>
                    <a:gd name="connsiteX4" fmla="*/ 889713 w 1156578"/>
                    <a:gd name="connsiteY4" fmla="*/ 17340 h 943688"/>
                    <a:gd name="connsiteX5" fmla="*/ 920775 w 1156578"/>
                    <a:gd name="connsiteY5" fmla="*/ 32652 h 943688"/>
                    <a:gd name="connsiteX6" fmla="*/ 924794 w 1156578"/>
                    <a:gd name="connsiteY6" fmla="*/ 35287 h 943688"/>
                    <a:gd name="connsiteX7" fmla="*/ 927660 w 1156578"/>
                    <a:gd name="connsiteY7" fmla="*/ 37643 h 943688"/>
                    <a:gd name="connsiteX8" fmla="*/ 930987 w 1156578"/>
                    <a:gd name="connsiteY8" fmla="*/ 43241 h 943688"/>
                    <a:gd name="connsiteX9" fmla="*/ 932881 w 1156578"/>
                    <a:gd name="connsiteY9" fmla="*/ 45621 h 943688"/>
                    <a:gd name="connsiteX10" fmla="*/ 935407 w 1156578"/>
                    <a:gd name="connsiteY10" fmla="*/ 48122 h 943688"/>
                    <a:gd name="connsiteX11" fmla="*/ 939147 w 1156578"/>
                    <a:gd name="connsiteY11" fmla="*/ 50855 h 943688"/>
                    <a:gd name="connsiteX12" fmla="*/ 942413 w 1156578"/>
                    <a:gd name="connsiteY12" fmla="*/ 52203 h 943688"/>
                    <a:gd name="connsiteX13" fmla="*/ 945801 w 1156578"/>
                    <a:gd name="connsiteY13" fmla="*/ 52834 h 943688"/>
                    <a:gd name="connsiteX14" fmla="*/ 949092 w 1156578"/>
                    <a:gd name="connsiteY14" fmla="*/ 52688 h 943688"/>
                    <a:gd name="connsiteX15" fmla="*/ 951849 w 1156578"/>
                    <a:gd name="connsiteY15" fmla="*/ 52227 h 943688"/>
                    <a:gd name="connsiteX16" fmla="*/ 958976 w 1156578"/>
                    <a:gd name="connsiteY16" fmla="*/ 49871 h 943688"/>
                    <a:gd name="connsiteX17" fmla="*/ 961781 w 1156578"/>
                    <a:gd name="connsiteY17" fmla="*/ 49531 h 943688"/>
                    <a:gd name="connsiteX18" fmla="*/ 963712 w 1156578"/>
                    <a:gd name="connsiteY18" fmla="*/ 49956 h 943688"/>
                    <a:gd name="connsiteX19" fmla="*/ 965400 w 1156578"/>
                    <a:gd name="connsiteY19" fmla="*/ 50709 h 943688"/>
                    <a:gd name="connsiteX20" fmla="*/ 983408 w 1156578"/>
                    <a:gd name="connsiteY20" fmla="*/ 62135 h 943688"/>
                    <a:gd name="connsiteX21" fmla="*/ 991762 w 1156578"/>
                    <a:gd name="connsiteY21" fmla="*/ 69591 h 943688"/>
                    <a:gd name="connsiteX22" fmla="*/ 999279 w 1156578"/>
                    <a:gd name="connsiteY22" fmla="*/ 72918 h 943688"/>
                    <a:gd name="connsiteX23" fmla="*/ 1002642 w 1156578"/>
                    <a:gd name="connsiteY23" fmla="*/ 78698 h 943688"/>
                    <a:gd name="connsiteX24" fmla="*/ 1004658 w 1156578"/>
                    <a:gd name="connsiteY24" fmla="*/ 79718 h 943688"/>
                    <a:gd name="connsiteX25" fmla="*/ 1007754 w 1156578"/>
                    <a:gd name="connsiteY25" fmla="*/ 80787 h 943688"/>
                    <a:gd name="connsiteX26" fmla="*/ 1010985 w 1156578"/>
                    <a:gd name="connsiteY26" fmla="*/ 81540 h 943688"/>
                    <a:gd name="connsiteX27" fmla="*/ 1014263 w 1156578"/>
                    <a:gd name="connsiteY27" fmla="*/ 82827 h 943688"/>
                    <a:gd name="connsiteX28" fmla="*/ 1017080 w 1156578"/>
                    <a:gd name="connsiteY28" fmla="*/ 85304 h 943688"/>
                    <a:gd name="connsiteX29" fmla="*/ 1026892 w 1156578"/>
                    <a:gd name="connsiteY29" fmla="*/ 91874 h 943688"/>
                    <a:gd name="connsiteX30" fmla="*/ 1029600 w 1156578"/>
                    <a:gd name="connsiteY30" fmla="*/ 92359 h 943688"/>
                    <a:gd name="connsiteX31" fmla="*/ 1032077 w 1156578"/>
                    <a:gd name="connsiteY31" fmla="*/ 92129 h 943688"/>
                    <a:gd name="connsiteX32" fmla="*/ 1034882 w 1156578"/>
                    <a:gd name="connsiteY32" fmla="*/ 92274 h 943688"/>
                    <a:gd name="connsiteX33" fmla="*/ 1037918 w 1156578"/>
                    <a:gd name="connsiteY33" fmla="*/ 92906 h 943688"/>
                    <a:gd name="connsiteX34" fmla="*/ 1047511 w 1156578"/>
                    <a:gd name="connsiteY34" fmla="*/ 96864 h 943688"/>
                    <a:gd name="connsiteX35" fmla="*/ 1052671 w 1156578"/>
                    <a:gd name="connsiteY35" fmla="*/ 100191 h 943688"/>
                    <a:gd name="connsiteX36" fmla="*/ 1055671 w 1156578"/>
                    <a:gd name="connsiteY36" fmla="*/ 102741 h 943688"/>
                    <a:gd name="connsiteX37" fmla="*/ 1057322 w 1156578"/>
                    <a:gd name="connsiteY37" fmla="*/ 104927 h 943688"/>
                    <a:gd name="connsiteX38" fmla="*/ 1057917 w 1156578"/>
                    <a:gd name="connsiteY38" fmla="*/ 106020 h 943688"/>
                    <a:gd name="connsiteX39" fmla="*/ 1058245 w 1156578"/>
                    <a:gd name="connsiteY39" fmla="*/ 106943 h 943688"/>
                    <a:gd name="connsiteX40" fmla="*/ 1058949 w 1156578"/>
                    <a:gd name="connsiteY40" fmla="*/ 110792 h 943688"/>
                    <a:gd name="connsiteX41" fmla="*/ 1059131 w 1156578"/>
                    <a:gd name="connsiteY41" fmla="*/ 113075 h 943688"/>
                    <a:gd name="connsiteX42" fmla="*/ 1059131 w 1156578"/>
                    <a:gd name="connsiteY42" fmla="*/ 114884 h 943688"/>
                    <a:gd name="connsiteX43" fmla="*/ 1058949 w 1156578"/>
                    <a:gd name="connsiteY43" fmla="*/ 115832 h 943688"/>
                    <a:gd name="connsiteX44" fmla="*/ 1056885 w 1156578"/>
                    <a:gd name="connsiteY44" fmla="*/ 121247 h 943688"/>
                    <a:gd name="connsiteX45" fmla="*/ 1057261 w 1156578"/>
                    <a:gd name="connsiteY45" fmla="*/ 124247 h 943688"/>
                    <a:gd name="connsiteX46" fmla="*/ 1059010 w 1156578"/>
                    <a:gd name="connsiteY46" fmla="*/ 128217 h 943688"/>
                    <a:gd name="connsiteX47" fmla="*/ 1063928 w 1156578"/>
                    <a:gd name="connsiteY47" fmla="*/ 133913 h 943688"/>
                    <a:gd name="connsiteX48" fmla="*/ 1067036 w 1156578"/>
                    <a:gd name="connsiteY48" fmla="*/ 135054 h 943688"/>
                    <a:gd name="connsiteX49" fmla="*/ 1069174 w 1156578"/>
                    <a:gd name="connsiteY49" fmla="*/ 134082 h 943688"/>
                    <a:gd name="connsiteX50" fmla="*/ 1069951 w 1156578"/>
                    <a:gd name="connsiteY50" fmla="*/ 131933 h 943688"/>
                    <a:gd name="connsiteX51" fmla="*/ 1070995 w 1156578"/>
                    <a:gd name="connsiteY51" fmla="*/ 130063 h 943688"/>
                    <a:gd name="connsiteX52" fmla="*/ 1072319 w 1156578"/>
                    <a:gd name="connsiteY52" fmla="*/ 129031 h 943688"/>
                    <a:gd name="connsiteX53" fmla="*/ 1074031 w 1156578"/>
                    <a:gd name="connsiteY53" fmla="*/ 128278 h 943688"/>
                    <a:gd name="connsiteX54" fmla="*/ 1075719 w 1156578"/>
                    <a:gd name="connsiteY54" fmla="*/ 127185 h 943688"/>
                    <a:gd name="connsiteX55" fmla="*/ 1076969 w 1156578"/>
                    <a:gd name="connsiteY55" fmla="*/ 125412 h 943688"/>
                    <a:gd name="connsiteX56" fmla="*/ 1078014 w 1156578"/>
                    <a:gd name="connsiteY56" fmla="*/ 123348 h 943688"/>
                    <a:gd name="connsiteX57" fmla="*/ 1079228 w 1156578"/>
                    <a:gd name="connsiteY57" fmla="*/ 121454 h 943688"/>
                    <a:gd name="connsiteX58" fmla="*/ 1080721 w 1156578"/>
                    <a:gd name="connsiteY58" fmla="*/ 120361 h 943688"/>
                    <a:gd name="connsiteX59" fmla="*/ 1083709 w 1156578"/>
                    <a:gd name="connsiteY59" fmla="*/ 120300 h 943688"/>
                    <a:gd name="connsiteX60" fmla="*/ 1087194 w 1156578"/>
                    <a:gd name="connsiteY60" fmla="*/ 121308 h 943688"/>
                    <a:gd name="connsiteX61" fmla="*/ 1093799 w 1156578"/>
                    <a:gd name="connsiteY61" fmla="*/ 124441 h 943688"/>
                    <a:gd name="connsiteX62" fmla="*/ 1096859 w 1156578"/>
                    <a:gd name="connsiteY62" fmla="*/ 127331 h 943688"/>
                    <a:gd name="connsiteX63" fmla="*/ 1098353 w 1156578"/>
                    <a:gd name="connsiteY63" fmla="*/ 130743 h 943688"/>
                    <a:gd name="connsiteX64" fmla="*/ 1099251 w 1156578"/>
                    <a:gd name="connsiteY64" fmla="*/ 138442 h 943688"/>
                    <a:gd name="connsiteX65" fmla="*/ 1100344 w 1156578"/>
                    <a:gd name="connsiteY65" fmla="*/ 142667 h 943688"/>
                    <a:gd name="connsiteX66" fmla="*/ 1101510 w 1156578"/>
                    <a:gd name="connsiteY66" fmla="*/ 145715 h 943688"/>
                    <a:gd name="connsiteX67" fmla="*/ 1103004 w 1156578"/>
                    <a:gd name="connsiteY67" fmla="*/ 148751 h 943688"/>
                    <a:gd name="connsiteX68" fmla="*/ 1105335 w 1156578"/>
                    <a:gd name="connsiteY68" fmla="*/ 150827 h 943688"/>
                    <a:gd name="connsiteX69" fmla="*/ 1109658 w 1156578"/>
                    <a:gd name="connsiteY69" fmla="*/ 152406 h 943688"/>
                    <a:gd name="connsiteX70" fmla="*/ 1134685 w 1156578"/>
                    <a:gd name="connsiteY70" fmla="*/ 157883 h 943688"/>
                    <a:gd name="connsiteX71" fmla="*/ 1137672 w 1156578"/>
                    <a:gd name="connsiteY71" fmla="*/ 160129 h 943688"/>
                    <a:gd name="connsiteX72" fmla="*/ 1138995 w 1156578"/>
                    <a:gd name="connsiteY72" fmla="*/ 162715 h 943688"/>
                    <a:gd name="connsiteX73" fmla="*/ 1138935 w 1156578"/>
                    <a:gd name="connsiteY73" fmla="*/ 165702 h 943688"/>
                    <a:gd name="connsiteX74" fmla="*/ 1138231 w 1156578"/>
                    <a:gd name="connsiteY74" fmla="*/ 171240 h 943688"/>
                    <a:gd name="connsiteX75" fmla="*/ 1138303 w 1156578"/>
                    <a:gd name="connsiteY75" fmla="*/ 174106 h 943688"/>
                    <a:gd name="connsiteX76" fmla="*/ 1138874 w 1156578"/>
                    <a:gd name="connsiteY76" fmla="*/ 176923 h 943688"/>
                    <a:gd name="connsiteX77" fmla="*/ 1139918 w 1156578"/>
                    <a:gd name="connsiteY77" fmla="*/ 179594 h 943688"/>
                    <a:gd name="connsiteX78" fmla="*/ 1145868 w 1156578"/>
                    <a:gd name="connsiteY78" fmla="*/ 188543 h 943688"/>
                    <a:gd name="connsiteX79" fmla="*/ 1147617 w 1156578"/>
                    <a:gd name="connsiteY79" fmla="*/ 191798 h 943688"/>
                    <a:gd name="connsiteX80" fmla="*/ 1146002 w 1156578"/>
                    <a:gd name="connsiteY80" fmla="*/ 192223 h 943688"/>
                    <a:gd name="connsiteX81" fmla="*/ 1134005 w 1156578"/>
                    <a:gd name="connsiteY81" fmla="*/ 197068 h 943688"/>
                    <a:gd name="connsiteX82" fmla="*/ 1122165 w 1156578"/>
                    <a:gd name="connsiteY82" fmla="*/ 201840 h 943688"/>
                    <a:gd name="connsiteX83" fmla="*/ 1113095 w 1156578"/>
                    <a:gd name="connsiteY83" fmla="*/ 203577 h 943688"/>
                    <a:gd name="connsiteX84" fmla="*/ 1106088 w 1156578"/>
                    <a:gd name="connsiteY84" fmla="*/ 201925 h 943688"/>
                    <a:gd name="connsiteX85" fmla="*/ 1104206 w 1156578"/>
                    <a:gd name="connsiteY85" fmla="*/ 202994 h 943688"/>
                    <a:gd name="connsiteX86" fmla="*/ 1102190 w 1156578"/>
                    <a:gd name="connsiteY86" fmla="*/ 203394 h 943688"/>
                    <a:gd name="connsiteX87" fmla="*/ 1097697 w 1156578"/>
                    <a:gd name="connsiteY87" fmla="*/ 203394 h 943688"/>
                    <a:gd name="connsiteX88" fmla="*/ 1095754 w 1156578"/>
                    <a:gd name="connsiteY88" fmla="*/ 203880 h 943688"/>
                    <a:gd name="connsiteX89" fmla="*/ 1079289 w 1156578"/>
                    <a:gd name="connsiteY89" fmla="*/ 212550 h 943688"/>
                    <a:gd name="connsiteX90" fmla="*/ 1070036 w 1156578"/>
                    <a:gd name="connsiteY90" fmla="*/ 219010 h 943688"/>
                    <a:gd name="connsiteX91" fmla="*/ 1042641 w 1156578"/>
                    <a:gd name="connsiteY91" fmla="*/ 247983 h 943688"/>
                    <a:gd name="connsiteX92" fmla="*/ 1033121 w 1156578"/>
                    <a:gd name="connsiteY92" fmla="*/ 261960 h 943688"/>
                    <a:gd name="connsiteX93" fmla="*/ 1027547 w 1156578"/>
                    <a:gd name="connsiteY93" fmla="*/ 277915 h 943688"/>
                    <a:gd name="connsiteX94" fmla="*/ 1028810 w 1156578"/>
                    <a:gd name="connsiteY94" fmla="*/ 296033 h 943688"/>
                    <a:gd name="connsiteX95" fmla="*/ 1049077 w 1156578"/>
                    <a:gd name="connsiteY95" fmla="*/ 341714 h 943688"/>
                    <a:gd name="connsiteX96" fmla="*/ 1051603 w 1156578"/>
                    <a:gd name="connsiteY96" fmla="*/ 350154 h 943688"/>
                    <a:gd name="connsiteX97" fmla="*/ 1049417 w 1156578"/>
                    <a:gd name="connsiteY97" fmla="*/ 355120 h 943688"/>
                    <a:gd name="connsiteX98" fmla="*/ 1046090 w 1156578"/>
                    <a:gd name="connsiteY98" fmla="*/ 353772 h 943688"/>
                    <a:gd name="connsiteX99" fmla="*/ 1042410 w 1156578"/>
                    <a:gd name="connsiteY99" fmla="*/ 353651 h 943688"/>
                    <a:gd name="connsiteX100" fmla="*/ 1035295 w 1156578"/>
                    <a:gd name="connsiteY100" fmla="*/ 355120 h 943688"/>
                    <a:gd name="connsiteX101" fmla="*/ 1037298 w 1156578"/>
                    <a:gd name="connsiteY101" fmla="*/ 358277 h 943688"/>
                    <a:gd name="connsiteX102" fmla="*/ 1041318 w 1156578"/>
                    <a:gd name="connsiteY102" fmla="*/ 359856 h 943688"/>
                    <a:gd name="connsiteX103" fmla="*/ 1050048 w 1156578"/>
                    <a:gd name="connsiteY103" fmla="*/ 360463 h 943688"/>
                    <a:gd name="connsiteX104" fmla="*/ 1054286 w 1156578"/>
                    <a:gd name="connsiteY104" fmla="*/ 360026 h 943688"/>
                    <a:gd name="connsiteX105" fmla="*/ 1055561 w 1156578"/>
                    <a:gd name="connsiteY105" fmla="*/ 360755 h 943688"/>
                    <a:gd name="connsiteX106" fmla="*/ 1057115 w 1156578"/>
                    <a:gd name="connsiteY106" fmla="*/ 363280 h 943688"/>
                    <a:gd name="connsiteX107" fmla="*/ 1058026 w 1156578"/>
                    <a:gd name="connsiteY107" fmla="*/ 365381 h 943688"/>
                    <a:gd name="connsiteX108" fmla="*/ 1058378 w 1156578"/>
                    <a:gd name="connsiteY108" fmla="*/ 367190 h 943688"/>
                    <a:gd name="connsiteX109" fmla="*/ 1057784 w 1156578"/>
                    <a:gd name="connsiteY109" fmla="*/ 368732 h 943688"/>
                    <a:gd name="connsiteX110" fmla="*/ 1055901 w 1156578"/>
                    <a:gd name="connsiteY110" fmla="*/ 370056 h 943688"/>
                    <a:gd name="connsiteX111" fmla="*/ 1053497 w 1156578"/>
                    <a:gd name="connsiteY111" fmla="*/ 368805 h 943688"/>
                    <a:gd name="connsiteX112" fmla="*/ 1050789 w 1156578"/>
                    <a:gd name="connsiteY112" fmla="*/ 368380 h 943688"/>
                    <a:gd name="connsiteX113" fmla="*/ 1048324 w 1156578"/>
                    <a:gd name="connsiteY113" fmla="*/ 369133 h 943688"/>
                    <a:gd name="connsiteX114" fmla="*/ 1046831 w 1156578"/>
                    <a:gd name="connsiteY114" fmla="*/ 371295 h 943688"/>
                    <a:gd name="connsiteX115" fmla="*/ 1049016 w 1156578"/>
                    <a:gd name="connsiteY115" fmla="*/ 371501 h 943688"/>
                    <a:gd name="connsiteX116" fmla="*/ 1050789 w 1156578"/>
                    <a:gd name="connsiteY116" fmla="*/ 371865 h 943688"/>
                    <a:gd name="connsiteX117" fmla="*/ 1052149 w 1156578"/>
                    <a:gd name="connsiteY117" fmla="*/ 372643 h 943688"/>
                    <a:gd name="connsiteX118" fmla="*/ 1053193 w 1156578"/>
                    <a:gd name="connsiteY118" fmla="*/ 373954 h 943688"/>
                    <a:gd name="connsiteX119" fmla="*/ 1054639 w 1156578"/>
                    <a:gd name="connsiteY119" fmla="*/ 373747 h 943688"/>
                    <a:gd name="connsiteX120" fmla="*/ 1055501 w 1156578"/>
                    <a:gd name="connsiteY120" fmla="*/ 373954 h 943688"/>
                    <a:gd name="connsiteX121" fmla="*/ 1056229 w 1156578"/>
                    <a:gd name="connsiteY121" fmla="*/ 374816 h 943688"/>
                    <a:gd name="connsiteX122" fmla="*/ 1057104 w 1156578"/>
                    <a:gd name="connsiteY122" fmla="*/ 376613 h 943688"/>
                    <a:gd name="connsiteX123" fmla="*/ 1061694 w 1156578"/>
                    <a:gd name="connsiteY123" fmla="*/ 374719 h 943688"/>
                    <a:gd name="connsiteX124" fmla="*/ 1064328 w 1156578"/>
                    <a:gd name="connsiteY124" fmla="*/ 372801 h 943688"/>
                    <a:gd name="connsiteX125" fmla="*/ 1066174 w 1156578"/>
                    <a:gd name="connsiteY125" fmla="*/ 371283 h 943688"/>
                    <a:gd name="connsiteX126" fmla="*/ 1063187 w 1156578"/>
                    <a:gd name="connsiteY126" fmla="*/ 374877 h 943688"/>
                    <a:gd name="connsiteX127" fmla="*/ 1058706 w 1156578"/>
                    <a:gd name="connsiteY127" fmla="*/ 379285 h 943688"/>
                    <a:gd name="connsiteX128" fmla="*/ 1053594 w 1156578"/>
                    <a:gd name="connsiteY128" fmla="*/ 383049 h 943688"/>
                    <a:gd name="connsiteX129" fmla="*/ 1043661 w 1156578"/>
                    <a:gd name="connsiteY129" fmla="*/ 386218 h 943688"/>
                    <a:gd name="connsiteX130" fmla="*/ 1015708 w 1156578"/>
                    <a:gd name="connsiteY130" fmla="*/ 407699 h 943688"/>
                    <a:gd name="connsiteX131" fmla="*/ 1011446 w 1156578"/>
                    <a:gd name="connsiteY131" fmla="*/ 412131 h 943688"/>
                    <a:gd name="connsiteX132" fmla="*/ 1008119 w 1156578"/>
                    <a:gd name="connsiteY132" fmla="*/ 417401 h 943688"/>
                    <a:gd name="connsiteX133" fmla="*/ 1006394 w 1156578"/>
                    <a:gd name="connsiteY133" fmla="*/ 423315 h 943688"/>
                    <a:gd name="connsiteX134" fmla="*/ 1005593 w 1156578"/>
                    <a:gd name="connsiteY134" fmla="*/ 435713 h 943688"/>
                    <a:gd name="connsiteX135" fmla="*/ 1009661 w 1156578"/>
                    <a:gd name="connsiteY135" fmla="*/ 433552 h 943688"/>
                    <a:gd name="connsiteX136" fmla="*/ 1012381 w 1156578"/>
                    <a:gd name="connsiteY136" fmla="*/ 430771 h 943688"/>
                    <a:gd name="connsiteX137" fmla="*/ 1014834 w 1156578"/>
                    <a:gd name="connsiteY137" fmla="*/ 429435 h 943688"/>
                    <a:gd name="connsiteX138" fmla="*/ 1018392 w 1156578"/>
                    <a:gd name="connsiteY138" fmla="*/ 431499 h 943688"/>
                    <a:gd name="connsiteX139" fmla="*/ 1018331 w 1156578"/>
                    <a:gd name="connsiteY139" fmla="*/ 429034 h 943688"/>
                    <a:gd name="connsiteX140" fmla="*/ 1018635 w 1156578"/>
                    <a:gd name="connsiteY140" fmla="*/ 426715 h 943688"/>
                    <a:gd name="connsiteX141" fmla="*/ 1019825 w 1156578"/>
                    <a:gd name="connsiteY141" fmla="*/ 422295 h 943688"/>
                    <a:gd name="connsiteX142" fmla="*/ 1022351 w 1156578"/>
                    <a:gd name="connsiteY142" fmla="*/ 426618 h 943688"/>
                    <a:gd name="connsiteX143" fmla="*/ 1019448 w 1156578"/>
                    <a:gd name="connsiteY143" fmla="*/ 433831 h 943688"/>
                    <a:gd name="connsiteX144" fmla="*/ 1014615 w 1156578"/>
                    <a:gd name="connsiteY144" fmla="*/ 440643 h 943688"/>
                    <a:gd name="connsiteX145" fmla="*/ 1011458 w 1156578"/>
                    <a:gd name="connsiteY145" fmla="*/ 443630 h 943688"/>
                    <a:gd name="connsiteX146" fmla="*/ 1009163 w 1156578"/>
                    <a:gd name="connsiteY146" fmla="*/ 444395 h 943688"/>
                    <a:gd name="connsiteX147" fmla="*/ 1005496 w 1156578"/>
                    <a:gd name="connsiteY147" fmla="*/ 446168 h 943688"/>
                    <a:gd name="connsiteX148" fmla="*/ 1002096 w 1156578"/>
                    <a:gd name="connsiteY148" fmla="*/ 448390 h 943688"/>
                    <a:gd name="connsiteX149" fmla="*/ 1000602 w 1156578"/>
                    <a:gd name="connsiteY149" fmla="*/ 450309 h 943688"/>
                    <a:gd name="connsiteX150" fmla="*/ 1002096 w 1156578"/>
                    <a:gd name="connsiteY150" fmla="*/ 452106 h 943688"/>
                    <a:gd name="connsiteX151" fmla="*/ 1005496 w 1156578"/>
                    <a:gd name="connsiteY151" fmla="*/ 450734 h 943688"/>
                    <a:gd name="connsiteX152" fmla="*/ 1012041 w 1156578"/>
                    <a:gd name="connsiteY152" fmla="*/ 446289 h 943688"/>
                    <a:gd name="connsiteX153" fmla="*/ 1005095 w 1156578"/>
                    <a:gd name="connsiteY153" fmla="*/ 451644 h 943688"/>
                    <a:gd name="connsiteX154" fmla="*/ 988326 w 1156578"/>
                    <a:gd name="connsiteY154" fmla="*/ 461760 h 943688"/>
                    <a:gd name="connsiteX155" fmla="*/ 979996 w 1156578"/>
                    <a:gd name="connsiteY155" fmla="*/ 465087 h 943688"/>
                    <a:gd name="connsiteX156" fmla="*/ 970682 w 1156578"/>
                    <a:gd name="connsiteY156" fmla="*/ 467430 h 943688"/>
                    <a:gd name="connsiteX157" fmla="*/ 966432 w 1156578"/>
                    <a:gd name="connsiteY157" fmla="*/ 469130 h 943688"/>
                    <a:gd name="connsiteX158" fmla="*/ 963336 w 1156578"/>
                    <a:gd name="connsiteY158" fmla="*/ 471741 h 943688"/>
                    <a:gd name="connsiteX159" fmla="*/ 962474 w 1156578"/>
                    <a:gd name="connsiteY159" fmla="*/ 473696 h 943688"/>
                    <a:gd name="connsiteX160" fmla="*/ 960288 w 1156578"/>
                    <a:gd name="connsiteY160" fmla="*/ 482427 h 943688"/>
                    <a:gd name="connsiteX161" fmla="*/ 958333 w 1156578"/>
                    <a:gd name="connsiteY161" fmla="*/ 486337 h 943688"/>
                    <a:gd name="connsiteX162" fmla="*/ 958090 w 1156578"/>
                    <a:gd name="connsiteY162" fmla="*/ 489191 h 943688"/>
                    <a:gd name="connsiteX163" fmla="*/ 948339 w 1156578"/>
                    <a:gd name="connsiteY163" fmla="*/ 500568 h 943688"/>
                    <a:gd name="connsiteX164" fmla="*/ 943907 w 1156578"/>
                    <a:gd name="connsiteY164" fmla="*/ 503726 h 943688"/>
                    <a:gd name="connsiteX165" fmla="*/ 944879 w 1156578"/>
                    <a:gd name="connsiteY165" fmla="*/ 505741 h 943688"/>
                    <a:gd name="connsiteX166" fmla="*/ 946263 w 1156578"/>
                    <a:gd name="connsiteY166" fmla="*/ 507150 h 943688"/>
                    <a:gd name="connsiteX167" fmla="*/ 948157 w 1156578"/>
                    <a:gd name="connsiteY167" fmla="*/ 507903 h 943688"/>
                    <a:gd name="connsiteX168" fmla="*/ 950403 w 1156578"/>
                    <a:gd name="connsiteY168" fmla="*/ 507842 h 943688"/>
                    <a:gd name="connsiteX169" fmla="*/ 945000 w 1156578"/>
                    <a:gd name="connsiteY169" fmla="*/ 511035 h 943688"/>
                    <a:gd name="connsiteX170" fmla="*/ 935808 w 1156578"/>
                    <a:gd name="connsiteY170" fmla="*/ 505948 h 943688"/>
                    <a:gd name="connsiteX171" fmla="*/ 922147 w 1156578"/>
                    <a:gd name="connsiteY171" fmla="*/ 494521 h 943688"/>
                    <a:gd name="connsiteX172" fmla="*/ 913890 w 1156578"/>
                    <a:gd name="connsiteY172" fmla="*/ 495007 h 943688"/>
                    <a:gd name="connsiteX173" fmla="*/ 909688 w 1156578"/>
                    <a:gd name="connsiteY173" fmla="*/ 494679 h 943688"/>
                    <a:gd name="connsiteX174" fmla="*/ 907915 w 1156578"/>
                    <a:gd name="connsiteY174" fmla="*/ 492493 h 943688"/>
                    <a:gd name="connsiteX175" fmla="*/ 907223 w 1156578"/>
                    <a:gd name="connsiteY175" fmla="*/ 491995 h 943688"/>
                    <a:gd name="connsiteX176" fmla="*/ 902900 w 1156578"/>
                    <a:gd name="connsiteY176" fmla="*/ 487745 h 943688"/>
                    <a:gd name="connsiteX177" fmla="*/ 902063 w 1156578"/>
                    <a:gd name="connsiteY177" fmla="*/ 485596 h 943688"/>
                    <a:gd name="connsiteX178" fmla="*/ 901091 w 1156578"/>
                    <a:gd name="connsiteY178" fmla="*/ 481358 h 943688"/>
                    <a:gd name="connsiteX179" fmla="*/ 900229 w 1156578"/>
                    <a:gd name="connsiteY179" fmla="*/ 479731 h 943688"/>
                    <a:gd name="connsiteX180" fmla="*/ 899075 w 1156578"/>
                    <a:gd name="connsiteY180" fmla="*/ 479731 h 943688"/>
                    <a:gd name="connsiteX181" fmla="*/ 897703 w 1156578"/>
                    <a:gd name="connsiteY181" fmla="*/ 483860 h 943688"/>
                    <a:gd name="connsiteX182" fmla="*/ 899415 w 1156578"/>
                    <a:gd name="connsiteY182" fmla="*/ 490125 h 943688"/>
                    <a:gd name="connsiteX183" fmla="*/ 900229 w 1156578"/>
                    <a:gd name="connsiteY183" fmla="*/ 491850 h 943688"/>
                    <a:gd name="connsiteX184" fmla="*/ 901941 w 1156578"/>
                    <a:gd name="connsiteY184" fmla="*/ 493465 h 943688"/>
                    <a:gd name="connsiteX185" fmla="*/ 905693 w 1156578"/>
                    <a:gd name="connsiteY185" fmla="*/ 495262 h 943688"/>
                    <a:gd name="connsiteX186" fmla="*/ 910550 w 1156578"/>
                    <a:gd name="connsiteY186" fmla="*/ 499403 h 943688"/>
                    <a:gd name="connsiteX187" fmla="*/ 913659 w 1156578"/>
                    <a:gd name="connsiteY187" fmla="*/ 500775 h 943688"/>
                    <a:gd name="connsiteX188" fmla="*/ 920848 w 1156578"/>
                    <a:gd name="connsiteY188" fmla="*/ 502536 h 943688"/>
                    <a:gd name="connsiteX189" fmla="*/ 921746 w 1156578"/>
                    <a:gd name="connsiteY189" fmla="*/ 502560 h 943688"/>
                    <a:gd name="connsiteX190" fmla="*/ 923896 w 1156578"/>
                    <a:gd name="connsiteY190" fmla="*/ 502305 h 943688"/>
                    <a:gd name="connsiteX191" fmla="*/ 924673 w 1156578"/>
                    <a:gd name="connsiteY191" fmla="*/ 502548 h 943688"/>
                    <a:gd name="connsiteX192" fmla="*/ 925486 w 1156578"/>
                    <a:gd name="connsiteY192" fmla="*/ 503519 h 943688"/>
                    <a:gd name="connsiteX193" fmla="*/ 925668 w 1156578"/>
                    <a:gd name="connsiteY193" fmla="*/ 504648 h 943688"/>
                    <a:gd name="connsiteX194" fmla="*/ 925668 w 1156578"/>
                    <a:gd name="connsiteY194" fmla="*/ 505681 h 943688"/>
                    <a:gd name="connsiteX195" fmla="*/ 926008 w 1156578"/>
                    <a:gd name="connsiteY195" fmla="*/ 506433 h 943688"/>
                    <a:gd name="connsiteX196" fmla="*/ 927307 w 1156578"/>
                    <a:gd name="connsiteY196" fmla="*/ 507891 h 943688"/>
                    <a:gd name="connsiteX197" fmla="*/ 928291 w 1156578"/>
                    <a:gd name="connsiteY197" fmla="*/ 509239 h 943688"/>
                    <a:gd name="connsiteX198" fmla="*/ 929554 w 1156578"/>
                    <a:gd name="connsiteY198" fmla="*/ 510246 h 943688"/>
                    <a:gd name="connsiteX199" fmla="*/ 931728 w 1156578"/>
                    <a:gd name="connsiteY199" fmla="*/ 510635 h 943688"/>
                    <a:gd name="connsiteX200" fmla="*/ 934545 w 1156578"/>
                    <a:gd name="connsiteY200" fmla="*/ 511618 h 943688"/>
                    <a:gd name="connsiteX201" fmla="*/ 937301 w 1156578"/>
                    <a:gd name="connsiteY201" fmla="*/ 513452 h 943688"/>
                    <a:gd name="connsiteX202" fmla="*/ 940337 w 1156578"/>
                    <a:gd name="connsiteY202" fmla="*/ 514521 h 943688"/>
                    <a:gd name="connsiteX203" fmla="*/ 920835 w 1156578"/>
                    <a:gd name="connsiteY203" fmla="*/ 525170 h 943688"/>
                    <a:gd name="connsiteX204" fmla="*/ 891437 w 1156578"/>
                    <a:gd name="connsiteY204" fmla="*/ 535856 h 943688"/>
                    <a:gd name="connsiteX205" fmla="*/ 887175 w 1156578"/>
                    <a:gd name="connsiteY205" fmla="*/ 538090 h 943688"/>
                    <a:gd name="connsiteX206" fmla="*/ 885171 w 1156578"/>
                    <a:gd name="connsiteY206" fmla="*/ 538211 h 943688"/>
                    <a:gd name="connsiteX207" fmla="*/ 882986 w 1156578"/>
                    <a:gd name="connsiteY207" fmla="*/ 536572 h 943688"/>
                    <a:gd name="connsiteX208" fmla="*/ 881091 w 1156578"/>
                    <a:gd name="connsiteY208" fmla="*/ 535613 h 943688"/>
                    <a:gd name="connsiteX209" fmla="*/ 879185 w 1156578"/>
                    <a:gd name="connsiteY209" fmla="*/ 536451 h 943688"/>
                    <a:gd name="connsiteX210" fmla="*/ 877582 w 1156578"/>
                    <a:gd name="connsiteY210" fmla="*/ 537859 h 943688"/>
                    <a:gd name="connsiteX211" fmla="*/ 876501 w 1156578"/>
                    <a:gd name="connsiteY211" fmla="*/ 538612 h 943688"/>
                    <a:gd name="connsiteX212" fmla="*/ 872992 w 1156578"/>
                    <a:gd name="connsiteY212" fmla="*/ 539098 h 943688"/>
                    <a:gd name="connsiteX213" fmla="*/ 849629 w 1156578"/>
                    <a:gd name="connsiteY213" fmla="*/ 546129 h 943688"/>
                    <a:gd name="connsiteX214" fmla="*/ 841639 w 1156578"/>
                    <a:gd name="connsiteY214" fmla="*/ 547501 h 943688"/>
                    <a:gd name="connsiteX215" fmla="*/ 834572 w 1156578"/>
                    <a:gd name="connsiteY215" fmla="*/ 551897 h 943688"/>
                    <a:gd name="connsiteX216" fmla="*/ 830844 w 1156578"/>
                    <a:gd name="connsiteY216" fmla="*/ 553390 h 943688"/>
                    <a:gd name="connsiteX217" fmla="*/ 828841 w 1156578"/>
                    <a:gd name="connsiteY217" fmla="*/ 553584 h 943688"/>
                    <a:gd name="connsiteX218" fmla="*/ 822514 w 1156578"/>
                    <a:gd name="connsiteY218" fmla="*/ 553390 h 943688"/>
                    <a:gd name="connsiteX219" fmla="*/ 820692 w 1156578"/>
                    <a:gd name="connsiteY219" fmla="*/ 553779 h 943688"/>
                    <a:gd name="connsiteX220" fmla="*/ 817001 w 1156578"/>
                    <a:gd name="connsiteY220" fmla="*/ 555625 h 943688"/>
                    <a:gd name="connsiteX221" fmla="*/ 811318 w 1156578"/>
                    <a:gd name="connsiteY221" fmla="*/ 556887 h 943688"/>
                    <a:gd name="connsiteX222" fmla="*/ 800013 w 1156578"/>
                    <a:gd name="connsiteY222" fmla="*/ 562570 h 943688"/>
                    <a:gd name="connsiteX223" fmla="*/ 800280 w 1156578"/>
                    <a:gd name="connsiteY223" fmla="*/ 561745 h 943688"/>
                    <a:gd name="connsiteX224" fmla="*/ 802187 w 1156578"/>
                    <a:gd name="connsiteY224" fmla="*/ 560992 h 943688"/>
                    <a:gd name="connsiteX225" fmla="*/ 802587 w 1156578"/>
                    <a:gd name="connsiteY225" fmla="*/ 560020 h 943688"/>
                    <a:gd name="connsiteX226" fmla="*/ 798107 w 1156578"/>
                    <a:gd name="connsiteY226" fmla="*/ 560749 h 943688"/>
                    <a:gd name="connsiteX227" fmla="*/ 785939 w 1156578"/>
                    <a:gd name="connsiteY227" fmla="*/ 568034 h 943688"/>
                    <a:gd name="connsiteX228" fmla="*/ 773019 w 1156578"/>
                    <a:gd name="connsiteY228" fmla="*/ 572758 h 943688"/>
                    <a:gd name="connsiteX229" fmla="*/ 768600 w 1156578"/>
                    <a:gd name="connsiteY229" fmla="*/ 573365 h 943688"/>
                    <a:gd name="connsiteX230" fmla="*/ 767288 w 1156578"/>
                    <a:gd name="connsiteY230" fmla="*/ 572697 h 943688"/>
                    <a:gd name="connsiteX231" fmla="*/ 766875 w 1156578"/>
                    <a:gd name="connsiteY231" fmla="*/ 571143 h 943688"/>
                    <a:gd name="connsiteX232" fmla="*/ 766705 w 1156578"/>
                    <a:gd name="connsiteY232" fmla="*/ 568034 h 943688"/>
                    <a:gd name="connsiteX233" fmla="*/ 766013 w 1156578"/>
                    <a:gd name="connsiteY233" fmla="*/ 567670 h 943688"/>
                    <a:gd name="connsiteX234" fmla="*/ 764859 w 1156578"/>
                    <a:gd name="connsiteY234" fmla="*/ 567901 h 943688"/>
                    <a:gd name="connsiteX235" fmla="*/ 763657 w 1156578"/>
                    <a:gd name="connsiteY235" fmla="*/ 567816 h 943688"/>
                    <a:gd name="connsiteX236" fmla="*/ 762844 w 1156578"/>
                    <a:gd name="connsiteY236" fmla="*/ 566699 h 943688"/>
                    <a:gd name="connsiteX237" fmla="*/ 763026 w 1156578"/>
                    <a:gd name="connsiteY237" fmla="*/ 565412 h 943688"/>
                    <a:gd name="connsiteX238" fmla="*/ 763888 w 1156578"/>
                    <a:gd name="connsiteY238" fmla="*/ 565266 h 943688"/>
                    <a:gd name="connsiteX239" fmla="*/ 764859 w 1156578"/>
                    <a:gd name="connsiteY239" fmla="*/ 565290 h 943688"/>
                    <a:gd name="connsiteX240" fmla="*/ 765308 w 1156578"/>
                    <a:gd name="connsiteY240" fmla="*/ 564659 h 943688"/>
                    <a:gd name="connsiteX241" fmla="*/ 767446 w 1156578"/>
                    <a:gd name="connsiteY241" fmla="*/ 563019 h 943688"/>
                    <a:gd name="connsiteX242" fmla="*/ 772509 w 1156578"/>
                    <a:gd name="connsiteY242" fmla="*/ 561550 h 943688"/>
                    <a:gd name="connsiteX243" fmla="*/ 780840 w 1156578"/>
                    <a:gd name="connsiteY243" fmla="*/ 558600 h 943688"/>
                    <a:gd name="connsiteX244" fmla="*/ 781459 w 1156578"/>
                    <a:gd name="connsiteY244" fmla="*/ 559571 h 943688"/>
                    <a:gd name="connsiteX245" fmla="*/ 781131 w 1156578"/>
                    <a:gd name="connsiteY245" fmla="*/ 560615 h 943688"/>
                    <a:gd name="connsiteX246" fmla="*/ 780269 w 1156578"/>
                    <a:gd name="connsiteY246" fmla="*/ 561987 h 943688"/>
                    <a:gd name="connsiteX247" fmla="*/ 779516 w 1156578"/>
                    <a:gd name="connsiteY247" fmla="*/ 564027 h 943688"/>
                    <a:gd name="connsiteX248" fmla="*/ 787737 w 1156578"/>
                    <a:gd name="connsiteY248" fmla="*/ 558757 h 943688"/>
                    <a:gd name="connsiteX249" fmla="*/ 791076 w 1156578"/>
                    <a:gd name="connsiteY249" fmla="*/ 557264 h 943688"/>
                    <a:gd name="connsiteX250" fmla="*/ 789400 w 1156578"/>
                    <a:gd name="connsiteY250" fmla="*/ 556292 h 943688"/>
                    <a:gd name="connsiteX251" fmla="*/ 788587 w 1156578"/>
                    <a:gd name="connsiteY251" fmla="*/ 555114 h 943688"/>
                    <a:gd name="connsiteX252" fmla="*/ 788720 w 1156578"/>
                    <a:gd name="connsiteY252" fmla="*/ 553645 h 943688"/>
                    <a:gd name="connsiteX253" fmla="*/ 789935 w 1156578"/>
                    <a:gd name="connsiteY253" fmla="*/ 551921 h 943688"/>
                    <a:gd name="connsiteX254" fmla="*/ 789291 w 1156578"/>
                    <a:gd name="connsiteY254" fmla="*/ 548339 h 943688"/>
                    <a:gd name="connsiteX255" fmla="*/ 789935 w 1156578"/>
                    <a:gd name="connsiteY255" fmla="*/ 531934 h 943688"/>
                    <a:gd name="connsiteX256" fmla="*/ 787469 w 1156578"/>
                    <a:gd name="connsiteY256" fmla="*/ 530756 h 943688"/>
                    <a:gd name="connsiteX257" fmla="*/ 779528 w 1156578"/>
                    <a:gd name="connsiteY257" fmla="*/ 529262 h 943688"/>
                    <a:gd name="connsiteX258" fmla="*/ 772364 w 1156578"/>
                    <a:gd name="connsiteY258" fmla="*/ 526992 h 943688"/>
                    <a:gd name="connsiteX259" fmla="*/ 769887 w 1156578"/>
                    <a:gd name="connsiteY259" fmla="*/ 526615 h 943688"/>
                    <a:gd name="connsiteX260" fmla="*/ 765479 w 1156578"/>
                    <a:gd name="connsiteY260" fmla="*/ 527902 h 943688"/>
                    <a:gd name="connsiteX261" fmla="*/ 761059 w 1156578"/>
                    <a:gd name="connsiteY261" fmla="*/ 531120 h 943688"/>
                    <a:gd name="connsiteX262" fmla="*/ 753190 w 1156578"/>
                    <a:gd name="connsiteY262" fmla="*/ 539304 h 943688"/>
                    <a:gd name="connsiteX263" fmla="*/ 742917 w 1156578"/>
                    <a:gd name="connsiteY263" fmla="*/ 547926 h 943688"/>
                    <a:gd name="connsiteX264" fmla="*/ 739991 w 1156578"/>
                    <a:gd name="connsiteY264" fmla="*/ 548120 h 943688"/>
                    <a:gd name="connsiteX265" fmla="*/ 737404 w 1156578"/>
                    <a:gd name="connsiteY265" fmla="*/ 548642 h 943688"/>
                    <a:gd name="connsiteX266" fmla="*/ 735109 w 1156578"/>
                    <a:gd name="connsiteY266" fmla="*/ 549504 h 943688"/>
                    <a:gd name="connsiteX267" fmla="*/ 733215 w 1156578"/>
                    <a:gd name="connsiteY267" fmla="*/ 550597 h 943688"/>
                    <a:gd name="connsiteX268" fmla="*/ 729256 w 1156578"/>
                    <a:gd name="connsiteY268" fmla="*/ 553985 h 943688"/>
                    <a:gd name="connsiteX269" fmla="*/ 724435 w 1156578"/>
                    <a:gd name="connsiteY269" fmla="*/ 559146 h 943688"/>
                    <a:gd name="connsiteX270" fmla="*/ 721121 w 1156578"/>
                    <a:gd name="connsiteY270" fmla="*/ 564780 h 943688"/>
                    <a:gd name="connsiteX271" fmla="*/ 721691 w 1156578"/>
                    <a:gd name="connsiteY271" fmla="*/ 569346 h 943688"/>
                    <a:gd name="connsiteX272" fmla="*/ 718595 w 1156578"/>
                    <a:gd name="connsiteY272" fmla="*/ 571848 h 943688"/>
                    <a:gd name="connsiteX273" fmla="*/ 715814 w 1156578"/>
                    <a:gd name="connsiteY273" fmla="*/ 578478 h 943688"/>
                    <a:gd name="connsiteX274" fmla="*/ 714005 w 1156578"/>
                    <a:gd name="connsiteY274" fmla="*/ 580627 h 943688"/>
                    <a:gd name="connsiteX275" fmla="*/ 711127 w 1156578"/>
                    <a:gd name="connsiteY275" fmla="*/ 583043 h 943688"/>
                    <a:gd name="connsiteX276" fmla="*/ 709281 w 1156578"/>
                    <a:gd name="connsiteY276" fmla="*/ 586334 h 943688"/>
                    <a:gd name="connsiteX277" fmla="*/ 709123 w 1156578"/>
                    <a:gd name="connsiteY277" fmla="*/ 589613 h 943688"/>
                    <a:gd name="connsiteX278" fmla="*/ 711357 w 1156578"/>
                    <a:gd name="connsiteY278" fmla="*/ 591944 h 943688"/>
                    <a:gd name="connsiteX279" fmla="*/ 711357 w 1156578"/>
                    <a:gd name="connsiteY279" fmla="*/ 593401 h 943688"/>
                    <a:gd name="connsiteX280" fmla="*/ 709075 w 1156578"/>
                    <a:gd name="connsiteY280" fmla="*/ 594033 h 943688"/>
                    <a:gd name="connsiteX281" fmla="*/ 706027 w 1156578"/>
                    <a:gd name="connsiteY281" fmla="*/ 595587 h 943688"/>
                    <a:gd name="connsiteX282" fmla="*/ 703452 w 1156578"/>
                    <a:gd name="connsiteY282" fmla="*/ 597566 h 943688"/>
                    <a:gd name="connsiteX283" fmla="*/ 702287 w 1156578"/>
                    <a:gd name="connsiteY283" fmla="*/ 599351 h 943688"/>
                    <a:gd name="connsiteX284" fmla="*/ 702578 w 1156578"/>
                    <a:gd name="connsiteY284" fmla="*/ 602241 h 943688"/>
                    <a:gd name="connsiteX285" fmla="*/ 703380 w 1156578"/>
                    <a:gd name="connsiteY285" fmla="*/ 603820 h 943688"/>
                    <a:gd name="connsiteX286" fmla="*/ 704630 w 1156578"/>
                    <a:gd name="connsiteY286" fmla="*/ 603674 h 943688"/>
                    <a:gd name="connsiteX287" fmla="*/ 706245 w 1156578"/>
                    <a:gd name="connsiteY287" fmla="*/ 601367 h 943688"/>
                    <a:gd name="connsiteX288" fmla="*/ 707107 w 1156578"/>
                    <a:gd name="connsiteY288" fmla="*/ 603273 h 943688"/>
                    <a:gd name="connsiteX289" fmla="*/ 707399 w 1156578"/>
                    <a:gd name="connsiteY289" fmla="*/ 605399 h 943688"/>
                    <a:gd name="connsiteX290" fmla="*/ 707107 w 1156578"/>
                    <a:gd name="connsiteY290" fmla="*/ 607463 h 943688"/>
                    <a:gd name="connsiteX291" fmla="*/ 706245 w 1156578"/>
                    <a:gd name="connsiteY291" fmla="*/ 609357 h 943688"/>
                    <a:gd name="connsiteX292" fmla="*/ 708443 w 1156578"/>
                    <a:gd name="connsiteY292" fmla="*/ 608726 h 943688"/>
                    <a:gd name="connsiteX293" fmla="*/ 709597 w 1156578"/>
                    <a:gd name="connsiteY293" fmla="*/ 607621 h 943688"/>
                    <a:gd name="connsiteX294" fmla="*/ 710350 w 1156578"/>
                    <a:gd name="connsiteY294" fmla="*/ 606394 h 943688"/>
                    <a:gd name="connsiteX295" fmla="*/ 711370 w 1156578"/>
                    <a:gd name="connsiteY295" fmla="*/ 605350 h 943688"/>
                    <a:gd name="connsiteX296" fmla="*/ 713446 w 1156578"/>
                    <a:gd name="connsiteY296" fmla="*/ 604439 h 943688"/>
                    <a:gd name="connsiteX297" fmla="*/ 715110 w 1156578"/>
                    <a:gd name="connsiteY297" fmla="*/ 604257 h 943688"/>
                    <a:gd name="connsiteX298" fmla="*/ 716494 w 1156578"/>
                    <a:gd name="connsiteY298" fmla="*/ 604294 h 943688"/>
                    <a:gd name="connsiteX299" fmla="*/ 717793 w 1156578"/>
                    <a:gd name="connsiteY299" fmla="*/ 604014 h 943688"/>
                    <a:gd name="connsiteX300" fmla="*/ 721023 w 1156578"/>
                    <a:gd name="connsiteY300" fmla="*/ 601792 h 943688"/>
                    <a:gd name="connsiteX301" fmla="*/ 720841 w 1156578"/>
                    <a:gd name="connsiteY301" fmla="*/ 599837 h 943688"/>
                    <a:gd name="connsiteX302" fmla="*/ 719809 w 1156578"/>
                    <a:gd name="connsiteY302" fmla="*/ 597627 h 943688"/>
                    <a:gd name="connsiteX303" fmla="*/ 720380 w 1156578"/>
                    <a:gd name="connsiteY303" fmla="*/ 594591 h 943688"/>
                    <a:gd name="connsiteX304" fmla="*/ 721703 w 1156578"/>
                    <a:gd name="connsiteY304" fmla="*/ 595769 h 943688"/>
                    <a:gd name="connsiteX305" fmla="*/ 723258 w 1156578"/>
                    <a:gd name="connsiteY305" fmla="*/ 595915 h 943688"/>
                    <a:gd name="connsiteX306" fmla="*/ 724909 w 1156578"/>
                    <a:gd name="connsiteY306" fmla="*/ 595393 h 943688"/>
                    <a:gd name="connsiteX307" fmla="*/ 726767 w 1156578"/>
                    <a:gd name="connsiteY307" fmla="*/ 594603 h 943688"/>
                    <a:gd name="connsiteX308" fmla="*/ 721193 w 1156578"/>
                    <a:gd name="connsiteY308" fmla="*/ 591410 h 943688"/>
                    <a:gd name="connsiteX309" fmla="*/ 719178 w 1156578"/>
                    <a:gd name="connsiteY309" fmla="*/ 590718 h 943688"/>
                    <a:gd name="connsiteX310" fmla="*/ 719178 w 1156578"/>
                    <a:gd name="connsiteY310" fmla="*/ 589394 h 943688"/>
                    <a:gd name="connsiteX311" fmla="*/ 722906 w 1156578"/>
                    <a:gd name="connsiteY311" fmla="*/ 589333 h 943688"/>
                    <a:gd name="connsiteX312" fmla="*/ 724909 w 1156578"/>
                    <a:gd name="connsiteY312" fmla="*/ 587560 h 943688"/>
                    <a:gd name="connsiteX313" fmla="*/ 726658 w 1156578"/>
                    <a:gd name="connsiteY313" fmla="*/ 585351 h 943688"/>
                    <a:gd name="connsiteX314" fmla="*/ 729414 w 1156578"/>
                    <a:gd name="connsiteY314" fmla="*/ 583942 h 943688"/>
                    <a:gd name="connsiteX315" fmla="*/ 729414 w 1156578"/>
                    <a:gd name="connsiteY315" fmla="*/ 582728 h 943688"/>
                    <a:gd name="connsiteX316" fmla="*/ 728382 w 1156578"/>
                    <a:gd name="connsiteY316" fmla="*/ 582339 h 943688"/>
                    <a:gd name="connsiteX317" fmla="*/ 727520 w 1156578"/>
                    <a:gd name="connsiteY317" fmla="*/ 581647 h 943688"/>
                    <a:gd name="connsiteX318" fmla="*/ 726937 w 1156578"/>
                    <a:gd name="connsiteY318" fmla="*/ 580639 h 943688"/>
                    <a:gd name="connsiteX319" fmla="*/ 726779 w 1156578"/>
                    <a:gd name="connsiteY319" fmla="*/ 579315 h 943688"/>
                    <a:gd name="connsiteX320" fmla="*/ 727350 w 1156578"/>
                    <a:gd name="connsiteY320" fmla="*/ 578769 h 943688"/>
                    <a:gd name="connsiteX321" fmla="*/ 729463 w 1156578"/>
                    <a:gd name="connsiteY321" fmla="*/ 575296 h 943688"/>
                    <a:gd name="connsiteX322" fmla="*/ 729414 w 1156578"/>
                    <a:gd name="connsiteY322" fmla="*/ 574640 h 943688"/>
                    <a:gd name="connsiteX323" fmla="*/ 731940 w 1156578"/>
                    <a:gd name="connsiteY323" fmla="*/ 574725 h 943688"/>
                    <a:gd name="connsiteX324" fmla="*/ 740962 w 1156578"/>
                    <a:gd name="connsiteY324" fmla="*/ 577433 h 943688"/>
                    <a:gd name="connsiteX325" fmla="*/ 748758 w 1156578"/>
                    <a:gd name="connsiteY325" fmla="*/ 570548 h 943688"/>
                    <a:gd name="connsiteX326" fmla="*/ 751223 w 1156578"/>
                    <a:gd name="connsiteY326" fmla="*/ 570451 h 943688"/>
                    <a:gd name="connsiteX327" fmla="*/ 753239 w 1156578"/>
                    <a:gd name="connsiteY327" fmla="*/ 571119 h 943688"/>
                    <a:gd name="connsiteX328" fmla="*/ 754841 w 1156578"/>
                    <a:gd name="connsiteY328" fmla="*/ 570840 h 943688"/>
                    <a:gd name="connsiteX329" fmla="*/ 756408 w 1156578"/>
                    <a:gd name="connsiteY329" fmla="*/ 568023 h 943688"/>
                    <a:gd name="connsiteX330" fmla="*/ 757889 w 1156578"/>
                    <a:gd name="connsiteY330" fmla="*/ 570245 h 943688"/>
                    <a:gd name="connsiteX331" fmla="*/ 758642 w 1156578"/>
                    <a:gd name="connsiteY331" fmla="*/ 571799 h 943688"/>
                    <a:gd name="connsiteX332" fmla="*/ 758982 w 1156578"/>
                    <a:gd name="connsiteY332" fmla="*/ 573596 h 943688"/>
                    <a:gd name="connsiteX333" fmla="*/ 759043 w 1156578"/>
                    <a:gd name="connsiteY333" fmla="*/ 576729 h 943688"/>
                    <a:gd name="connsiteX334" fmla="*/ 758460 w 1156578"/>
                    <a:gd name="connsiteY334" fmla="*/ 577093 h 943688"/>
                    <a:gd name="connsiteX335" fmla="*/ 755886 w 1156578"/>
                    <a:gd name="connsiteY335" fmla="*/ 578223 h 943688"/>
                    <a:gd name="connsiteX336" fmla="*/ 755133 w 1156578"/>
                    <a:gd name="connsiteY336" fmla="*/ 578648 h 943688"/>
                    <a:gd name="connsiteX337" fmla="*/ 754672 w 1156578"/>
                    <a:gd name="connsiteY337" fmla="*/ 579619 h 943688"/>
                    <a:gd name="connsiteX338" fmla="*/ 754319 w 1156578"/>
                    <a:gd name="connsiteY338" fmla="*/ 581841 h 943688"/>
                    <a:gd name="connsiteX339" fmla="*/ 753870 w 1156578"/>
                    <a:gd name="connsiteY339" fmla="*/ 582752 h 943688"/>
                    <a:gd name="connsiteX340" fmla="*/ 752097 w 1156578"/>
                    <a:gd name="connsiteY340" fmla="*/ 584112 h 943688"/>
                    <a:gd name="connsiteX341" fmla="*/ 749110 w 1156578"/>
                    <a:gd name="connsiteY341" fmla="*/ 585775 h 943688"/>
                    <a:gd name="connsiteX342" fmla="*/ 746171 w 1156578"/>
                    <a:gd name="connsiteY342" fmla="*/ 586431 h 943688"/>
                    <a:gd name="connsiteX343" fmla="*/ 744921 w 1156578"/>
                    <a:gd name="connsiteY343" fmla="*/ 584707 h 943688"/>
                    <a:gd name="connsiteX344" fmla="*/ 744204 w 1156578"/>
                    <a:gd name="connsiteY344" fmla="*/ 581999 h 943688"/>
                    <a:gd name="connsiteX345" fmla="*/ 742723 w 1156578"/>
                    <a:gd name="connsiteY345" fmla="*/ 581853 h 943688"/>
                    <a:gd name="connsiteX346" fmla="*/ 741351 w 1156578"/>
                    <a:gd name="connsiteY346" fmla="*/ 583614 h 943688"/>
                    <a:gd name="connsiteX347" fmla="*/ 740962 w 1156578"/>
                    <a:gd name="connsiteY347" fmla="*/ 586625 h 943688"/>
                    <a:gd name="connsiteX348" fmla="*/ 739918 w 1156578"/>
                    <a:gd name="connsiteY348" fmla="*/ 586176 h 943688"/>
                    <a:gd name="connsiteX349" fmla="*/ 738072 w 1156578"/>
                    <a:gd name="connsiteY349" fmla="*/ 585775 h 943688"/>
                    <a:gd name="connsiteX350" fmla="*/ 737100 w 1156578"/>
                    <a:gd name="connsiteY350" fmla="*/ 585435 h 943688"/>
                    <a:gd name="connsiteX351" fmla="*/ 739760 w 1156578"/>
                    <a:gd name="connsiteY351" fmla="*/ 588277 h 943688"/>
                    <a:gd name="connsiteX352" fmla="*/ 740391 w 1156578"/>
                    <a:gd name="connsiteY352" fmla="*/ 589540 h 943688"/>
                    <a:gd name="connsiteX353" fmla="*/ 739809 w 1156578"/>
                    <a:gd name="connsiteY353" fmla="*/ 590754 h 943688"/>
                    <a:gd name="connsiteX354" fmla="*/ 745042 w 1156578"/>
                    <a:gd name="connsiteY354" fmla="*/ 590293 h 943688"/>
                    <a:gd name="connsiteX355" fmla="*/ 791161 w 1156578"/>
                    <a:gd name="connsiteY355" fmla="*/ 568034 h 943688"/>
                    <a:gd name="connsiteX356" fmla="*/ 784373 w 1156578"/>
                    <a:gd name="connsiteY356" fmla="*/ 572114 h 943688"/>
                    <a:gd name="connsiteX357" fmla="*/ 769911 w 1156578"/>
                    <a:gd name="connsiteY357" fmla="*/ 579631 h 943688"/>
                    <a:gd name="connsiteX358" fmla="*/ 754344 w 1156578"/>
                    <a:gd name="connsiteY358" fmla="*/ 586905 h 943688"/>
                    <a:gd name="connsiteX359" fmla="*/ 746184 w 1156578"/>
                    <a:gd name="connsiteY359" fmla="*/ 590523 h 943688"/>
                    <a:gd name="connsiteX360" fmla="*/ 736542 w 1156578"/>
                    <a:gd name="connsiteY360" fmla="*/ 598113 h 943688"/>
                    <a:gd name="connsiteX361" fmla="*/ 728176 w 1156578"/>
                    <a:gd name="connsiteY361" fmla="*/ 601671 h 943688"/>
                    <a:gd name="connsiteX362" fmla="*/ 716846 w 1156578"/>
                    <a:gd name="connsiteY362" fmla="*/ 610013 h 943688"/>
                    <a:gd name="connsiteX363" fmla="*/ 696058 w 1156578"/>
                    <a:gd name="connsiteY363" fmla="*/ 630061 h 943688"/>
                    <a:gd name="connsiteX364" fmla="*/ 682227 w 1156578"/>
                    <a:gd name="connsiteY364" fmla="*/ 639556 h 943688"/>
                    <a:gd name="connsiteX365" fmla="*/ 659021 w 1156578"/>
                    <a:gd name="connsiteY365" fmla="*/ 659689 h 943688"/>
                    <a:gd name="connsiteX366" fmla="*/ 643806 w 1156578"/>
                    <a:gd name="connsiteY366" fmla="*/ 678985 h 943688"/>
                    <a:gd name="connsiteX367" fmla="*/ 641341 w 1156578"/>
                    <a:gd name="connsiteY367" fmla="*/ 679823 h 943688"/>
                    <a:gd name="connsiteX368" fmla="*/ 640649 w 1156578"/>
                    <a:gd name="connsiteY368" fmla="*/ 675220 h 943688"/>
                    <a:gd name="connsiteX369" fmla="*/ 640018 w 1156578"/>
                    <a:gd name="connsiteY369" fmla="*/ 673872 h 943688"/>
                    <a:gd name="connsiteX370" fmla="*/ 638585 w 1156578"/>
                    <a:gd name="connsiteY370" fmla="*/ 672039 h 943688"/>
                    <a:gd name="connsiteX371" fmla="*/ 636970 w 1156578"/>
                    <a:gd name="connsiteY371" fmla="*/ 671395 h 943688"/>
                    <a:gd name="connsiteX372" fmla="*/ 634954 w 1156578"/>
                    <a:gd name="connsiteY372" fmla="*/ 671067 h 943688"/>
                    <a:gd name="connsiteX373" fmla="*/ 628300 w 1156578"/>
                    <a:gd name="connsiteY373" fmla="*/ 671007 h 943688"/>
                    <a:gd name="connsiteX374" fmla="*/ 625714 w 1156578"/>
                    <a:gd name="connsiteY374" fmla="*/ 671213 h 943688"/>
                    <a:gd name="connsiteX375" fmla="*/ 624062 w 1156578"/>
                    <a:gd name="connsiteY375" fmla="*/ 671820 h 943688"/>
                    <a:gd name="connsiteX376" fmla="*/ 623249 w 1156578"/>
                    <a:gd name="connsiteY376" fmla="*/ 672646 h 943688"/>
                    <a:gd name="connsiteX377" fmla="*/ 623540 w 1156578"/>
                    <a:gd name="connsiteY377" fmla="*/ 673848 h 943688"/>
                    <a:gd name="connsiteX378" fmla="*/ 624171 w 1156578"/>
                    <a:gd name="connsiteY378" fmla="*/ 675087 h 943688"/>
                    <a:gd name="connsiteX379" fmla="*/ 624511 w 1156578"/>
                    <a:gd name="connsiteY379" fmla="*/ 676277 h 943688"/>
                    <a:gd name="connsiteX380" fmla="*/ 624742 w 1156578"/>
                    <a:gd name="connsiteY380" fmla="*/ 678049 h 943688"/>
                    <a:gd name="connsiteX381" fmla="*/ 624341 w 1156578"/>
                    <a:gd name="connsiteY381" fmla="*/ 680685 h 943688"/>
                    <a:gd name="connsiteX382" fmla="*/ 623188 w 1156578"/>
                    <a:gd name="connsiteY382" fmla="*/ 682907 h 943688"/>
                    <a:gd name="connsiteX383" fmla="*/ 621075 w 1156578"/>
                    <a:gd name="connsiteY383" fmla="*/ 684947 h 943688"/>
                    <a:gd name="connsiteX384" fmla="*/ 619521 w 1156578"/>
                    <a:gd name="connsiteY384" fmla="*/ 684898 h 943688"/>
                    <a:gd name="connsiteX385" fmla="*/ 618646 w 1156578"/>
                    <a:gd name="connsiteY385" fmla="*/ 684255 h 943688"/>
                    <a:gd name="connsiteX386" fmla="*/ 617736 w 1156578"/>
                    <a:gd name="connsiteY386" fmla="*/ 683332 h 943688"/>
                    <a:gd name="connsiteX387" fmla="*/ 615781 w 1156578"/>
                    <a:gd name="connsiteY387" fmla="*/ 682907 h 943688"/>
                    <a:gd name="connsiteX388" fmla="*/ 601780 w 1156578"/>
                    <a:gd name="connsiteY388" fmla="*/ 689573 h 943688"/>
                    <a:gd name="connsiteX389" fmla="*/ 599764 w 1156578"/>
                    <a:gd name="connsiteY389" fmla="*/ 690945 h 943688"/>
                    <a:gd name="connsiteX390" fmla="*/ 593960 w 1156578"/>
                    <a:gd name="connsiteY390" fmla="*/ 696057 h 943688"/>
                    <a:gd name="connsiteX391" fmla="*/ 591786 w 1156578"/>
                    <a:gd name="connsiteY391" fmla="*/ 696665 h 943688"/>
                    <a:gd name="connsiteX392" fmla="*/ 589418 w 1156578"/>
                    <a:gd name="connsiteY392" fmla="*/ 696580 h 943688"/>
                    <a:gd name="connsiteX393" fmla="*/ 587257 w 1156578"/>
                    <a:gd name="connsiteY393" fmla="*/ 696143 h 943688"/>
                    <a:gd name="connsiteX394" fmla="*/ 584670 w 1156578"/>
                    <a:gd name="connsiteY394" fmla="*/ 695973 h 943688"/>
                    <a:gd name="connsiteX395" fmla="*/ 583577 w 1156578"/>
                    <a:gd name="connsiteY395" fmla="*/ 696482 h 943688"/>
                    <a:gd name="connsiteX396" fmla="*/ 583116 w 1156578"/>
                    <a:gd name="connsiteY396" fmla="*/ 697430 h 943688"/>
                    <a:gd name="connsiteX397" fmla="*/ 583395 w 1156578"/>
                    <a:gd name="connsiteY397" fmla="*/ 698814 h 943688"/>
                    <a:gd name="connsiteX398" fmla="*/ 584379 w 1156578"/>
                    <a:gd name="connsiteY398" fmla="*/ 701085 h 943688"/>
                    <a:gd name="connsiteX399" fmla="*/ 584427 w 1156578"/>
                    <a:gd name="connsiteY399" fmla="*/ 702238 h 943688"/>
                    <a:gd name="connsiteX400" fmla="*/ 584427 w 1156578"/>
                    <a:gd name="connsiteY400" fmla="*/ 702384 h 943688"/>
                    <a:gd name="connsiteX401" fmla="*/ 582885 w 1156578"/>
                    <a:gd name="connsiteY401" fmla="*/ 705019 h 943688"/>
                    <a:gd name="connsiteX402" fmla="*/ 582363 w 1156578"/>
                    <a:gd name="connsiteY402" fmla="*/ 706428 h 943688"/>
                    <a:gd name="connsiteX403" fmla="*/ 582205 w 1156578"/>
                    <a:gd name="connsiteY403" fmla="*/ 707678 h 943688"/>
                    <a:gd name="connsiteX404" fmla="*/ 582533 w 1156578"/>
                    <a:gd name="connsiteY404" fmla="*/ 708638 h 943688"/>
                    <a:gd name="connsiteX405" fmla="*/ 583055 w 1156578"/>
                    <a:gd name="connsiteY405" fmla="*/ 709415 h 943688"/>
                    <a:gd name="connsiteX406" fmla="*/ 583395 w 1156578"/>
                    <a:gd name="connsiteY406" fmla="*/ 710301 h 943688"/>
                    <a:gd name="connsiteX407" fmla="*/ 583116 w 1156578"/>
                    <a:gd name="connsiteY407" fmla="*/ 711479 h 943688"/>
                    <a:gd name="connsiteX408" fmla="*/ 582205 w 1156578"/>
                    <a:gd name="connsiteY408" fmla="*/ 712888 h 943688"/>
                    <a:gd name="connsiteX409" fmla="*/ 575599 w 1156578"/>
                    <a:gd name="connsiteY409" fmla="*/ 721035 h 943688"/>
                    <a:gd name="connsiteX410" fmla="*/ 573875 w 1156578"/>
                    <a:gd name="connsiteY410" fmla="*/ 721594 h 943688"/>
                    <a:gd name="connsiteX411" fmla="*/ 572199 w 1156578"/>
                    <a:gd name="connsiteY411" fmla="*/ 721534 h 943688"/>
                    <a:gd name="connsiteX412" fmla="*/ 570135 w 1156578"/>
                    <a:gd name="connsiteY412" fmla="*/ 721157 h 943688"/>
                    <a:gd name="connsiteX413" fmla="*/ 568872 w 1156578"/>
                    <a:gd name="connsiteY413" fmla="*/ 721703 h 943688"/>
                    <a:gd name="connsiteX414" fmla="*/ 567840 w 1156578"/>
                    <a:gd name="connsiteY414" fmla="*/ 722942 h 943688"/>
                    <a:gd name="connsiteX415" fmla="*/ 566104 w 1156578"/>
                    <a:gd name="connsiteY415" fmla="*/ 728309 h 943688"/>
                    <a:gd name="connsiteX416" fmla="*/ 564622 w 1156578"/>
                    <a:gd name="connsiteY416" fmla="*/ 731721 h 943688"/>
                    <a:gd name="connsiteX417" fmla="*/ 561417 w 1156578"/>
                    <a:gd name="connsiteY417" fmla="*/ 735911 h 943688"/>
                    <a:gd name="connsiteX418" fmla="*/ 558478 w 1156578"/>
                    <a:gd name="connsiteY418" fmla="*/ 738133 h 943688"/>
                    <a:gd name="connsiteX419" fmla="*/ 555029 w 1156578"/>
                    <a:gd name="connsiteY419" fmla="*/ 739529 h 943688"/>
                    <a:gd name="connsiteX420" fmla="*/ 543032 w 1156578"/>
                    <a:gd name="connsiteY420" fmla="*/ 740282 h 943688"/>
                    <a:gd name="connsiteX421" fmla="*/ 529651 w 1156578"/>
                    <a:gd name="connsiteY421" fmla="*/ 743646 h 943688"/>
                    <a:gd name="connsiteX422" fmla="*/ 525862 w 1156578"/>
                    <a:gd name="connsiteY422" fmla="*/ 744192 h 943688"/>
                    <a:gd name="connsiteX423" fmla="*/ 524198 w 1156578"/>
                    <a:gd name="connsiteY423" fmla="*/ 743694 h 943688"/>
                    <a:gd name="connsiteX424" fmla="*/ 521551 w 1156578"/>
                    <a:gd name="connsiteY424" fmla="*/ 741715 h 943688"/>
                    <a:gd name="connsiteX425" fmla="*/ 519900 w 1156578"/>
                    <a:gd name="connsiteY425" fmla="*/ 740974 h 943688"/>
                    <a:gd name="connsiteX426" fmla="*/ 514897 w 1156578"/>
                    <a:gd name="connsiteY426" fmla="*/ 740792 h 943688"/>
                    <a:gd name="connsiteX427" fmla="*/ 512930 w 1156578"/>
                    <a:gd name="connsiteY427" fmla="*/ 740124 h 943688"/>
                    <a:gd name="connsiteX428" fmla="*/ 511169 w 1156578"/>
                    <a:gd name="connsiteY428" fmla="*/ 738691 h 943688"/>
                    <a:gd name="connsiteX429" fmla="*/ 508862 w 1156578"/>
                    <a:gd name="connsiteY429" fmla="*/ 737841 h 943688"/>
                    <a:gd name="connsiteX430" fmla="*/ 505717 w 1156578"/>
                    <a:gd name="connsiteY430" fmla="*/ 737756 h 943688"/>
                    <a:gd name="connsiteX431" fmla="*/ 495031 w 1156578"/>
                    <a:gd name="connsiteY431" fmla="*/ 739967 h 943688"/>
                    <a:gd name="connsiteX432" fmla="*/ 486009 w 1156578"/>
                    <a:gd name="connsiteY432" fmla="*/ 739687 h 943688"/>
                    <a:gd name="connsiteX433" fmla="*/ 477169 w 1156578"/>
                    <a:gd name="connsiteY433" fmla="*/ 740233 h 943688"/>
                    <a:gd name="connsiteX434" fmla="*/ 476185 w 1156578"/>
                    <a:gd name="connsiteY434" fmla="*/ 739711 h 943688"/>
                    <a:gd name="connsiteX435" fmla="*/ 474704 w 1156578"/>
                    <a:gd name="connsiteY435" fmla="*/ 738449 h 943688"/>
                    <a:gd name="connsiteX436" fmla="*/ 473902 w 1156578"/>
                    <a:gd name="connsiteY436" fmla="*/ 737987 h 943688"/>
                    <a:gd name="connsiteX437" fmla="*/ 473150 w 1156578"/>
                    <a:gd name="connsiteY437" fmla="*/ 737344 h 943688"/>
                    <a:gd name="connsiteX438" fmla="*/ 472627 w 1156578"/>
                    <a:gd name="connsiteY438" fmla="*/ 736518 h 943688"/>
                    <a:gd name="connsiteX439" fmla="*/ 471595 w 1156578"/>
                    <a:gd name="connsiteY439" fmla="*/ 734575 h 943688"/>
                    <a:gd name="connsiteX440" fmla="*/ 470502 w 1156578"/>
                    <a:gd name="connsiteY440" fmla="*/ 732899 h 943688"/>
                    <a:gd name="connsiteX441" fmla="*/ 469191 w 1156578"/>
                    <a:gd name="connsiteY441" fmla="*/ 731442 h 943688"/>
                    <a:gd name="connsiteX442" fmla="*/ 468608 w 1156578"/>
                    <a:gd name="connsiteY442" fmla="*/ 730616 h 943688"/>
                    <a:gd name="connsiteX443" fmla="*/ 468098 w 1156578"/>
                    <a:gd name="connsiteY443" fmla="*/ 729669 h 943688"/>
                    <a:gd name="connsiteX444" fmla="*/ 467345 w 1156578"/>
                    <a:gd name="connsiteY444" fmla="*/ 727483 h 943688"/>
                    <a:gd name="connsiteX445" fmla="*/ 465342 w 1156578"/>
                    <a:gd name="connsiteY445" fmla="*/ 721545 h 943688"/>
                    <a:gd name="connsiteX446" fmla="*/ 463387 w 1156578"/>
                    <a:gd name="connsiteY446" fmla="*/ 718983 h 943688"/>
                    <a:gd name="connsiteX447" fmla="*/ 462804 w 1156578"/>
                    <a:gd name="connsiteY447" fmla="*/ 717927 h 943688"/>
                    <a:gd name="connsiteX448" fmla="*/ 461310 w 1156578"/>
                    <a:gd name="connsiteY448" fmla="*/ 709852 h 943688"/>
                    <a:gd name="connsiteX449" fmla="*/ 458274 w 1156578"/>
                    <a:gd name="connsiteY449" fmla="*/ 702481 h 943688"/>
                    <a:gd name="connsiteX450" fmla="*/ 454255 w 1156578"/>
                    <a:gd name="connsiteY450" fmla="*/ 700672 h 943688"/>
                    <a:gd name="connsiteX451" fmla="*/ 452652 w 1156578"/>
                    <a:gd name="connsiteY451" fmla="*/ 700587 h 943688"/>
                    <a:gd name="connsiteX452" fmla="*/ 451159 w 1156578"/>
                    <a:gd name="connsiteY452" fmla="*/ 700672 h 943688"/>
                    <a:gd name="connsiteX453" fmla="*/ 449714 w 1156578"/>
                    <a:gd name="connsiteY453" fmla="*/ 701255 h 943688"/>
                    <a:gd name="connsiteX454" fmla="*/ 448463 w 1156578"/>
                    <a:gd name="connsiteY454" fmla="*/ 702263 h 943688"/>
                    <a:gd name="connsiteX455" fmla="*/ 448342 w 1156578"/>
                    <a:gd name="connsiteY455" fmla="*/ 702408 h 943688"/>
                    <a:gd name="connsiteX456" fmla="*/ 447941 w 1156578"/>
                    <a:gd name="connsiteY456" fmla="*/ 703465 h 943688"/>
                    <a:gd name="connsiteX457" fmla="*/ 447649 w 1156578"/>
                    <a:gd name="connsiteY457" fmla="*/ 704703 h 943688"/>
                    <a:gd name="connsiteX458" fmla="*/ 447601 w 1156578"/>
                    <a:gd name="connsiteY458" fmla="*/ 706258 h 943688"/>
                    <a:gd name="connsiteX459" fmla="*/ 447941 w 1156578"/>
                    <a:gd name="connsiteY459" fmla="*/ 707982 h 943688"/>
                    <a:gd name="connsiteX460" fmla="*/ 448402 w 1156578"/>
                    <a:gd name="connsiteY460" fmla="*/ 709269 h 943688"/>
                    <a:gd name="connsiteX461" fmla="*/ 448742 w 1156578"/>
                    <a:gd name="connsiteY461" fmla="*/ 710762 h 943688"/>
                    <a:gd name="connsiteX462" fmla="*/ 448924 w 1156578"/>
                    <a:gd name="connsiteY462" fmla="*/ 712572 h 943688"/>
                    <a:gd name="connsiteX463" fmla="*/ 448281 w 1156578"/>
                    <a:gd name="connsiteY463" fmla="*/ 715037 h 943688"/>
                    <a:gd name="connsiteX464" fmla="*/ 447491 w 1156578"/>
                    <a:gd name="connsiteY464" fmla="*/ 716069 h 943688"/>
                    <a:gd name="connsiteX465" fmla="*/ 446326 w 1156578"/>
                    <a:gd name="connsiteY465" fmla="*/ 716251 h 943688"/>
                    <a:gd name="connsiteX466" fmla="*/ 445184 w 1156578"/>
                    <a:gd name="connsiteY466" fmla="*/ 715353 h 943688"/>
                    <a:gd name="connsiteX467" fmla="*/ 444043 w 1156578"/>
                    <a:gd name="connsiteY467" fmla="*/ 713374 h 943688"/>
                    <a:gd name="connsiteX468" fmla="*/ 440424 w 1156578"/>
                    <a:gd name="connsiteY468" fmla="*/ 702214 h 943688"/>
                    <a:gd name="connsiteX469" fmla="*/ 439441 w 1156578"/>
                    <a:gd name="connsiteY469" fmla="*/ 700174 h 943688"/>
                    <a:gd name="connsiteX470" fmla="*/ 436806 w 1156578"/>
                    <a:gd name="connsiteY470" fmla="*/ 696070 h 943688"/>
                    <a:gd name="connsiteX471" fmla="*/ 429107 w 1156578"/>
                    <a:gd name="connsiteY471" fmla="*/ 687715 h 943688"/>
                    <a:gd name="connsiteX472" fmla="*/ 427614 w 1156578"/>
                    <a:gd name="connsiteY472" fmla="*/ 685469 h 943688"/>
                    <a:gd name="connsiteX473" fmla="*/ 424857 w 1156578"/>
                    <a:gd name="connsiteY473" fmla="*/ 680138 h 943688"/>
                    <a:gd name="connsiteX474" fmla="*/ 422841 w 1156578"/>
                    <a:gd name="connsiteY474" fmla="*/ 677272 h 943688"/>
                    <a:gd name="connsiteX475" fmla="*/ 421299 w 1156578"/>
                    <a:gd name="connsiteY475" fmla="*/ 676993 h 943688"/>
                    <a:gd name="connsiteX476" fmla="*/ 420146 w 1156578"/>
                    <a:gd name="connsiteY476" fmla="*/ 677794 h 943688"/>
                    <a:gd name="connsiteX477" fmla="*/ 419235 w 1156578"/>
                    <a:gd name="connsiteY477" fmla="*/ 679713 h 943688"/>
                    <a:gd name="connsiteX478" fmla="*/ 418482 w 1156578"/>
                    <a:gd name="connsiteY478" fmla="*/ 682118 h 943688"/>
                    <a:gd name="connsiteX479" fmla="*/ 418021 w 1156578"/>
                    <a:gd name="connsiteY479" fmla="*/ 684619 h 943688"/>
                    <a:gd name="connsiteX480" fmla="*/ 416928 w 1156578"/>
                    <a:gd name="connsiteY480" fmla="*/ 686865 h 943688"/>
                    <a:gd name="connsiteX481" fmla="*/ 415264 w 1156578"/>
                    <a:gd name="connsiteY481" fmla="*/ 688893 h 943688"/>
                    <a:gd name="connsiteX482" fmla="*/ 411755 w 1156578"/>
                    <a:gd name="connsiteY482" fmla="*/ 690010 h 943688"/>
                    <a:gd name="connsiteX483" fmla="*/ 410261 w 1156578"/>
                    <a:gd name="connsiteY483" fmla="*/ 691115 h 943688"/>
                    <a:gd name="connsiteX484" fmla="*/ 409132 w 1156578"/>
                    <a:gd name="connsiteY484" fmla="*/ 692463 h 943688"/>
                    <a:gd name="connsiteX485" fmla="*/ 407578 w 1156578"/>
                    <a:gd name="connsiteY485" fmla="*/ 697138 h 943688"/>
                    <a:gd name="connsiteX486" fmla="*/ 406363 w 1156578"/>
                    <a:gd name="connsiteY486" fmla="*/ 699385 h 943688"/>
                    <a:gd name="connsiteX487" fmla="*/ 405113 w 1156578"/>
                    <a:gd name="connsiteY487" fmla="*/ 700562 h 943688"/>
                    <a:gd name="connsiteX488" fmla="*/ 403328 w 1156578"/>
                    <a:gd name="connsiteY488" fmla="*/ 701194 h 943688"/>
                    <a:gd name="connsiteX489" fmla="*/ 402295 w 1156578"/>
                    <a:gd name="connsiteY489" fmla="*/ 700806 h 943688"/>
                    <a:gd name="connsiteX490" fmla="*/ 401494 w 1156578"/>
                    <a:gd name="connsiteY490" fmla="*/ 699397 h 943688"/>
                    <a:gd name="connsiteX491" fmla="*/ 400559 w 1156578"/>
                    <a:gd name="connsiteY491" fmla="*/ 694770 h 943688"/>
                    <a:gd name="connsiteX492" fmla="*/ 399818 w 1156578"/>
                    <a:gd name="connsiteY492" fmla="*/ 692500 h 943688"/>
                    <a:gd name="connsiteX493" fmla="*/ 398738 w 1156578"/>
                    <a:gd name="connsiteY493" fmla="*/ 690666 h 943688"/>
                    <a:gd name="connsiteX494" fmla="*/ 397123 w 1156578"/>
                    <a:gd name="connsiteY494" fmla="*/ 689112 h 943688"/>
                    <a:gd name="connsiteX495" fmla="*/ 394949 w 1156578"/>
                    <a:gd name="connsiteY495" fmla="*/ 688262 h 943688"/>
                    <a:gd name="connsiteX496" fmla="*/ 393795 w 1156578"/>
                    <a:gd name="connsiteY496" fmla="*/ 689015 h 943688"/>
                    <a:gd name="connsiteX497" fmla="*/ 393455 w 1156578"/>
                    <a:gd name="connsiteY497" fmla="*/ 690630 h 943688"/>
                    <a:gd name="connsiteX498" fmla="*/ 395338 w 1156578"/>
                    <a:gd name="connsiteY498" fmla="*/ 697272 h 943688"/>
                    <a:gd name="connsiteX499" fmla="*/ 395131 w 1156578"/>
                    <a:gd name="connsiteY499" fmla="*/ 698802 h 943688"/>
                    <a:gd name="connsiteX500" fmla="*/ 394609 w 1156578"/>
                    <a:gd name="connsiteY500" fmla="*/ 700137 h 943688"/>
                    <a:gd name="connsiteX501" fmla="*/ 392265 w 1156578"/>
                    <a:gd name="connsiteY501" fmla="*/ 701862 h 943688"/>
                    <a:gd name="connsiteX502" fmla="*/ 392083 w 1156578"/>
                    <a:gd name="connsiteY502" fmla="*/ 702153 h 943688"/>
                    <a:gd name="connsiteX503" fmla="*/ 392035 w 1156578"/>
                    <a:gd name="connsiteY503" fmla="*/ 702263 h 943688"/>
                    <a:gd name="connsiteX504" fmla="*/ 392035 w 1156578"/>
                    <a:gd name="connsiteY504" fmla="*/ 702360 h 943688"/>
                    <a:gd name="connsiteX505" fmla="*/ 392885 w 1156578"/>
                    <a:gd name="connsiteY505" fmla="*/ 703938 h 943688"/>
                    <a:gd name="connsiteX506" fmla="*/ 393237 w 1156578"/>
                    <a:gd name="connsiteY506" fmla="*/ 704995 h 943688"/>
                    <a:gd name="connsiteX507" fmla="*/ 393067 w 1156578"/>
                    <a:gd name="connsiteY507" fmla="*/ 706913 h 943688"/>
                    <a:gd name="connsiteX508" fmla="*/ 392144 w 1156578"/>
                    <a:gd name="connsiteY508" fmla="*/ 708565 h 943688"/>
                    <a:gd name="connsiteX509" fmla="*/ 389509 w 1156578"/>
                    <a:gd name="connsiteY509" fmla="*/ 709840 h 943688"/>
                    <a:gd name="connsiteX510" fmla="*/ 387275 w 1156578"/>
                    <a:gd name="connsiteY510" fmla="*/ 709354 h 943688"/>
                    <a:gd name="connsiteX511" fmla="*/ 383243 w 1156578"/>
                    <a:gd name="connsiteY511" fmla="*/ 706403 h 943688"/>
                    <a:gd name="connsiteX512" fmla="*/ 381240 w 1156578"/>
                    <a:gd name="connsiteY512" fmla="*/ 705189 h 943688"/>
                    <a:gd name="connsiteX513" fmla="*/ 376759 w 1156578"/>
                    <a:gd name="connsiteY513" fmla="*/ 703853 h 943688"/>
                    <a:gd name="connsiteX514" fmla="*/ 374524 w 1156578"/>
                    <a:gd name="connsiteY514" fmla="*/ 702591 h 943688"/>
                    <a:gd name="connsiteX515" fmla="*/ 374002 w 1156578"/>
                    <a:gd name="connsiteY515" fmla="*/ 702214 h 943688"/>
                    <a:gd name="connsiteX516" fmla="*/ 371817 w 1156578"/>
                    <a:gd name="connsiteY516" fmla="*/ 701546 h 943688"/>
                    <a:gd name="connsiteX517" fmla="*/ 369983 w 1156578"/>
                    <a:gd name="connsiteY517" fmla="*/ 701667 h 943688"/>
                    <a:gd name="connsiteX518" fmla="*/ 368259 w 1156578"/>
                    <a:gd name="connsiteY518" fmla="*/ 701971 h 943688"/>
                    <a:gd name="connsiteX519" fmla="*/ 366644 w 1156578"/>
                    <a:gd name="connsiteY519" fmla="*/ 702481 h 943688"/>
                    <a:gd name="connsiteX520" fmla="*/ 364057 w 1156578"/>
                    <a:gd name="connsiteY520" fmla="*/ 704072 h 943688"/>
                    <a:gd name="connsiteX521" fmla="*/ 363778 w 1156578"/>
                    <a:gd name="connsiteY521" fmla="*/ 705772 h 943688"/>
                    <a:gd name="connsiteX522" fmla="*/ 364021 w 1156578"/>
                    <a:gd name="connsiteY522" fmla="*/ 707010 h 943688"/>
                    <a:gd name="connsiteX523" fmla="*/ 364810 w 1156578"/>
                    <a:gd name="connsiteY523" fmla="*/ 708128 h 943688"/>
                    <a:gd name="connsiteX524" fmla="*/ 365903 w 1156578"/>
                    <a:gd name="connsiteY524" fmla="*/ 709075 h 943688"/>
                    <a:gd name="connsiteX525" fmla="*/ 366704 w 1156578"/>
                    <a:gd name="connsiteY525" fmla="*/ 710082 h 943688"/>
                    <a:gd name="connsiteX526" fmla="*/ 367457 w 1156578"/>
                    <a:gd name="connsiteY526" fmla="*/ 711661 h 943688"/>
                    <a:gd name="connsiteX527" fmla="*/ 368550 w 1156578"/>
                    <a:gd name="connsiteY527" fmla="*/ 715013 h 943688"/>
                    <a:gd name="connsiteX528" fmla="*/ 369109 w 1156578"/>
                    <a:gd name="connsiteY528" fmla="*/ 716105 h 943688"/>
                    <a:gd name="connsiteX529" fmla="*/ 372970 w 1156578"/>
                    <a:gd name="connsiteY529" fmla="*/ 720951 h 943688"/>
                    <a:gd name="connsiteX530" fmla="*/ 373893 w 1156578"/>
                    <a:gd name="connsiteY530" fmla="*/ 721570 h 943688"/>
                    <a:gd name="connsiteX531" fmla="*/ 374646 w 1156578"/>
                    <a:gd name="connsiteY531" fmla="*/ 721825 h 943688"/>
                    <a:gd name="connsiteX532" fmla="*/ 375557 w 1156578"/>
                    <a:gd name="connsiteY532" fmla="*/ 721825 h 943688"/>
                    <a:gd name="connsiteX533" fmla="*/ 376650 w 1156578"/>
                    <a:gd name="connsiteY533" fmla="*/ 721970 h 943688"/>
                    <a:gd name="connsiteX534" fmla="*/ 377560 w 1156578"/>
                    <a:gd name="connsiteY534" fmla="*/ 722225 h 943688"/>
                    <a:gd name="connsiteX535" fmla="*/ 378082 w 1156578"/>
                    <a:gd name="connsiteY535" fmla="*/ 722833 h 943688"/>
                    <a:gd name="connsiteX536" fmla="*/ 378714 w 1156578"/>
                    <a:gd name="connsiteY536" fmla="*/ 725043 h 943688"/>
                    <a:gd name="connsiteX537" fmla="*/ 379175 w 1156578"/>
                    <a:gd name="connsiteY537" fmla="*/ 726014 h 943688"/>
                    <a:gd name="connsiteX538" fmla="*/ 379977 w 1156578"/>
                    <a:gd name="connsiteY538" fmla="*/ 726767 h 943688"/>
                    <a:gd name="connsiteX539" fmla="*/ 381009 w 1156578"/>
                    <a:gd name="connsiteY539" fmla="*/ 727204 h 943688"/>
                    <a:gd name="connsiteX540" fmla="*/ 381750 w 1156578"/>
                    <a:gd name="connsiteY540" fmla="*/ 727836 h 943688"/>
                    <a:gd name="connsiteX541" fmla="*/ 381920 w 1156578"/>
                    <a:gd name="connsiteY541" fmla="*/ 729098 h 943688"/>
                    <a:gd name="connsiteX542" fmla="*/ 381349 w 1156578"/>
                    <a:gd name="connsiteY542" fmla="*/ 730956 h 943688"/>
                    <a:gd name="connsiteX543" fmla="*/ 379115 w 1156578"/>
                    <a:gd name="connsiteY543" fmla="*/ 732936 h 943688"/>
                    <a:gd name="connsiteX544" fmla="*/ 376467 w 1156578"/>
                    <a:gd name="connsiteY544" fmla="*/ 734174 h 943688"/>
                    <a:gd name="connsiteX545" fmla="*/ 372400 w 1156578"/>
                    <a:gd name="connsiteY545" fmla="*/ 735328 h 943688"/>
                    <a:gd name="connsiteX546" fmla="*/ 369522 w 1156578"/>
                    <a:gd name="connsiteY546" fmla="*/ 737003 h 943688"/>
                    <a:gd name="connsiteX547" fmla="*/ 363608 w 1156578"/>
                    <a:gd name="connsiteY547" fmla="*/ 741472 h 943688"/>
                    <a:gd name="connsiteX548" fmla="*/ 358909 w 1156578"/>
                    <a:gd name="connsiteY548" fmla="*/ 745831 h 943688"/>
                    <a:gd name="connsiteX549" fmla="*/ 355970 w 1156578"/>
                    <a:gd name="connsiteY549" fmla="*/ 748054 h 943688"/>
                    <a:gd name="connsiteX550" fmla="*/ 345636 w 1156578"/>
                    <a:gd name="connsiteY550" fmla="*/ 752644 h 943688"/>
                    <a:gd name="connsiteX551" fmla="*/ 343560 w 1156578"/>
                    <a:gd name="connsiteY551" fmla="*/ 752413 h 943688"/>
                    <a:gd name="connsiteX552" fmla="*/ 341896 w 1156578"/>
                    <a:gd name="connsiteY552" fmla="*/ 751235 h 943688"/>
                    <a:gd name="connsiteX553" fmla="*/ 340184 w 1156578"/>
                    <a:gd name="connsiteY553" fmla="*/ 749365 h 943688"/>
                    <a:gd name="connsiteX554" fmla="*/ 338120 w 1156578"/>
                    <a:gd name="connsiteY554" fmla="*/ 748333 h 943688"/>
                    <a:gd name="connsiteX555" fmla="*/ 335983 w 1156578"/>
                    <a:gd name="connsiteY555" fmla="*/ 747835 h 943688"/>
                    <a:gd name="connsiteX556" fmla="*/ 333579 w 1156578"/>
                    <a:gd name="connsiteY556" fmla="*/ 748211 h 943688"/>
                    <a:gd name="connsiteX557" fmla="*/ 331514 w 1156578"/>
                    <a:gd name="connsiteY557" fmla="*/ 749426 h 943688"/>
                    <a:gd name="connsiteX558" fmla="*/ 328236 w 1156578"/>
                    <a:gd name="connsiteY558" fmla="*/ 752583 h 943688"/>
                    <a:gd name="connsiteX559" fmla="*/ 326111 w 1156578"/>
                    <a:gd name="connsiteY559" fmla="*/ 755364 h 943688"/>
                    <a:gd name="connsiteX560" fmla="*/ 321982 w 1156578"/>
                    <a:gd name="connsiteY560" fmla="*/ 762516 h 943688"/>
                    <a:gd name="connsiteX561" fmla="*/ 320015 w 1156578"/>
                    <a:gd name="connsiteY561" fmla="*/ 765297 h 943688"/>
                    <a:gd name="connsiteX562" fmla="*/ 317793 w 1156578"/>
                    <a:gd name="connsiteY562" fmla="*/ 767786 h 943688"/>
                    <a:gd name="connsiteX563" fmla="*/ 313081 w 1156578"/>
                    <a:gd name="connsiteY563" fmla="*/ 772206 h 943688"/>
                    <a:gd name="connsiteX564" fmla="*/ 312668 w 1156578"/>
                    <a:gd name="connsiteY564" fmla="*/ 773092 h 943688"/>
                    <a:gd name="connsiteX565" fmla="*/ 312559 w 1156578"/>
                    <a:gd name="connsiteY565" fmla="*/ 774416 h 943688"/>
                    <a:gd name="connsiteX566" fmla="*/ 312620 w 1156578"/>
                    <a:gd name="connsiteY566" fmla="*/ 775934 h 943688"/>
                    <a:gd name="connsiteX567" fmla="*/ 312328 w 1156578"/>
                    <a:gd name="connsiteY567" fmla="*/ 777731 h 943688"/>
                    <a:gd name="connsiteX568" fmla="*/ 311758 w 1156578"/>
                    <a:gd name="connsiteY568" fmla="*/ 779467 h 943688"/>
                    <a:gd name="connsiteX569" fmla="*/ 311527 w 1156578"/>
                    <a:gd name="connsiteY569" fmla="*/ 781009 h 943688"/>
                    <a:gd name="connsiteX570" fmla="*/ 311879 w 1156578"/>
                    <a:gd name="connsiteY570" fmla="*/ 782515 h 943688"/>
                    <a:gd name="connsiteX571" fmla="*/ 314684 w 1156578"/>
                    <a:gd name="connsiteY571" fmla="*/ 786705 h 943688"/>
                    <a:gd name="connsiteX572" fmla="*/ 316117 w 1156578"/>
                    <a:gd name="connsiteY572" fmla="*/ 790263 h 943688"/>
                    <a:gd name="connsiteX573" fmla="*/ 316748 w 1156578"/>
                    <a:gd name="connsiteY573" fmla="*/ 791125 h 943688"/>
                    <a:gd name="connsiteX574" fmla="*/ 317902 w 1156578"/>
                    <a:gd name="connsiteY574" fmla="*/ 791331 h 943688"/>
                    <a:gd name="connsiteX575" fmla="*/ 321047 w 1156578"/>
                    <a:gd name="connsiteY575" fmla="*/ 790930 h 943688"/>
                    <a:gd name="connsiteX576" fmla="*/ 322091 w 1156578"/>
                    <a:gd name="connsiteY576" fmla="*/ 790954 h 943688"/>
                    <a:gd name="connsiteX577" fmla="*/ 322723 w 1156578"/>
                    <a:gd name="connsiteY577" fmla="*/ 791416 h 943688"/>
                    <a:gd name="connsiteX578" fmla="*/ 323184 w 1156578"/>
                    <a:gd name="connsiteY578" fmla="*/ 791987 h 943688"/>
                    <a:gd name="connsiteX579" fmla="*/ 323476 w 1156578"/>
                    <a:gd name="connsiteY579" fmla="*/ 794610 h 943688"/>
                    <a:gd name="connsiteX580" fmla="*/ 314623 w 1156578"/>
                    <a:gd name="connsiteY580" fmla="*/ 805465 h 943688"/>
                    <a:gd name="connsiteX581" fmla="*/ 313992 w 1156578"/>
                    <a:gd name="connsiteY581" fmla="*/ 806922 h 943688"/>
                    <a:gd name="connsiteX582" fmla="*/ 313373 w 1156578"/>
                    <a:gd name="connsiteY582" fmla="*/ 809169 h 943688"/>
                    <a:gd name="connsiteX583" fmla="*/ 314113 w 1156578"/>
                    <a:gd name="connsiteY583" fmla="*/ 810262 h 943688"/>
                    <a:gd name="connsiteX584" fmla="*/ 315085 w 1156578"/>
                    <a:gd name="connsiteY584" fmla="*/ 811294 h 943688"/>
                    <a:gd name="connsiteX585" fmla="*/ 315838 w 1156578"/>
                    <a:gd name="connsiteY585" fmla="*/ 813103 h 943688"/>
                    <a:gd name="connsiteX586" fmla="*/ 315996 w 1156578"/>
                    <a:gd name="connsiteY586" fmla="*/ 815629 h 943688"/>
                    <a:gd name="connsiteX587" fmla="*/ 315146 w 1156578"/>
                    <a:gd name="connsiteY587" fmla="*/ 820802 h 943688"/>
                    <a:gd name="connsiteX588" fmla="*/ 313421 w 1156578"/>
                    <a:gd name="connsiteY588" fmla="*/ 822441 h 943688"/>
                    <a:gd name="connsiteX589" fmla="*/ 311466 w 1156578"/>
                    <a:gd name="connsiteY589" fmla="*/ 823012 h 943688"/>
                    <a:gd name="connsiteX590" fmla="*/ 309050 w 1156578"/>
                    <a:gd name="connsiteY590" fmla="*/ 822806 h 943688"/>
                    <a:gd name="connsiteX591" fmla="*/ 307556 w 1156578"/>
                    <a:gd name="connsiteY591" fmla="*/ 822988 h 943688"/>
                    <a:gd name="connsiteX592" fmla="*/ 305674 w 1156578"/>
                    <a:gd name="connsiteY592" fmla="*/ 823680 h 943688"/>
                    <a:gd name="connsiteX593" fmla="*/ 298765 w 1156578"/>
                    <a:gd name="connsiteY593" fmla="*/ 827068 h 943688"/>
                    <a:gd name="connsiteX594" fmla="*/ 297174 w 1156578"/>
                    <a:gd name="connsiteY594" fmla="*/ 827323 h 943688"/>
                    <a:gd name="connsiteX595" fmla="*/ 289815 w 1156578"/>
                    <a:gd name="connsiteY595" fmla="*/ 827614 h 943688"/>
                    <a:gd name="connsiteX596" fmla="*/ 288043 w 1156578"/>
                    <a:gd name="connsiteY596" fmla="*/ 827177 h 943688"/>
                    <a:gd name="connsiteX597" fmla="*/ 286828 w 1156578"/>
                    <a:gd name="connsiteY597" fmla="*/ 826206 h 943688"/>
                    <a:gd name="connsiteX598" fmla="*/ 286197 w 1156578"/>
                    <a:gd name="connsiteY598" fmla="*/ 824688 h 943688"/>
                    <a:gd name="connsiteX599" fmla="*/ 286197 w 1156578"/>
                    <a:gd name="connsiteY599" fmla="*/ 823073 h 943688"/>
                    <a:gd name="connsiteX600" fmla="*/ 286719 w 1156578"/>
                    <a:gd name="connsiteY600" fmla="*/ 819721 h 943688"/>
                    <a:gd name="connsiteX601" fmla="*/ 286318 w 1156578"/>
                    <a:gd name="connsiteY601" fmla="*/ 818191 h 943688"/>
                    <a:gd name="connsiteX602" fmla="*/ 284995 w 1156578"/>
                    <a:gd name="connsiteY602" fmla="*/ 817195 h 943688"/>
                    <a:gd name="connsiteX603" fmla="*/ 281789 w 1156578"/>
                    <a:gd name="connsiteY603" fmla="*/ 816989 h 943688"/>
                    <a:gd name="connsiteX604" fmla="*/ 279543 w 1156578"/>
                    <a:gd name="connsiteY604" fmla="*/ 816163 h 943688"/>
                    <a:gd name="connsiteX605" fmla="*/ 277527 w 1156578"/>
                    <a:gd name="connsiteY605" fmla="*/ 814573 h 943688"/>
                    <a:gd name="connsiteX606" fmla="*/ 275693 w 1156578"/>
                    <a:gd name="connsiteY606" fmla="*/ 813334 h 943688"/>
                    <a:gd name="connsiteX607" fmla="*/ 273289 w 1156578"/>
                    <a:gd name="connsiteY607" fmla="*/ 812703 h 943688"/>
                    <a:gd name="connsiteX608" fmla="*/ 269427 w 1156578"/>
                    <a:gd name="connsiteY608" fmla="*/ 813249 h 943688"/>
                    <a:gd name="connsiteX609" fmla="*/ 267485 w 1156578"/>
                    <a:gd name="connsiteY609" fmla="*/ 814257 h 943688"/>
                    <a:gd name="connsiteX610" fmla="*/ 266501 w 1156578"/>
                    <a:gd name="connsiteY610" fmla="*/ 815690 h 943688"/>
                    <a:gd name="connsiteX611" fmla="*/ 266623 w 1156578"/>
                    <a:gd name="connsiteY611" fmla="*/ 817693 h 943688"/>
                    <a:gd name="connsiteX612" fmla="*/ 267825 w 1156578"/>
                    <a:gd name="connsiteY612" fmla="*/ 822320 h 943688"/>
                    <a:gd name="connsiteX613" fmla="*/ 267655 w 1156578"/>
                    <a:gd name="connsiteY613" fmla="*/ 824760 h 943688"/>
                    <a:gd name="connsiteX614" fmla="*/ 266805 w 1156578"/>
                    <a:gd name="connsiteY614" fmla="*/ 827116 h 943688"/>
                    <a:gd name="connsiteX615" fmla="*/ 264947 w 1156578"/>
                    <a:gd name="connsiteY615" fmla="*/ 829690 h 943688"/>
                    <a:gd name="connsiteX616" fmla="*/ 262834 w 1156578"/>
                    <a:gd name="connsiteY616" fmla="*/ 831075 h 943688"/>
                    <a:gd name="connsiteX617" fmla="*/ 257151 w 1156578"/>
                    <a:gd name="connsiteY617" fmla="*/ 833200 h 943688"/>
                    <a:gd name="connsiteX618" fmla="*/ 251067 w 1156578"/>
                    <a:gd name="connsiteY618" fmla="*/ 837243 h 943688"/>
                    <a:gd name="connsiteX619" fmla="*/ 247789 w 1156578"/>
                    <a:gd name="connsiteY619" fmla="*/ 839004 h 943688"/>
                    <a:gd name="connsiteX620" fmla="*/ 245834 w 1156578"/>
                    <a:gd name="connsiteY620" fmla="*/ 840413 h 943688"/>
                    <a:gd name="connsiteX621" fmla="*/ 244632 w 1156578"/>
                    <a:gd name="connsiteY621" fmla="*/ 841736 h 943688"/>
                    <a:gd name="connsiteX622" fmla="*/ 244121 w 1156578"/>
                    <a:gd name="connsiteY622" fmla="*/ 843388 h 943688"/>
                    <a:gd name="connsiteX623" fmla="*/ 243247 w 1156578"/>
                    <a:gd name="connsiteY623" fmla="*/ 847929 h 943688"/>
                    <a:gd name="connsiteX624" fmla="*/ 242567 w 1156578"/>
                    <a:gd name="connsiteY624" fmla="*/ 849909 h 943688"/>
                    <a:gd name="connsiteX625" fmla="*/ 240721 w 1156578"/>
                    <a:gd name="connsiteY625" fmla="*/ 851973 h 943688"/>
                    <a:gd name="connsiteX626" fmla="*/ 239459 w 1156578"/>
                    <a:gd name="connsiteY626" fmla="*/ 852119 h 943688"/>
                    <a:gd name="connsiteX627" fmla="*/ 236994 w 1156578"/>
                    <a:gd name="connsiteY627" fmla="*/ 850746 h 943688"/>
                    <a:gd name="connsiteX628" fmla="*/ 235391 w 1156578"/>
                    <a:gd name="connsiteY628" fmla="*/ 850443 h 943688"/>
                    <a:gd name="connsiteX629" fmla="*/ 233084 w 1156578"/>
                    <a:gd name="connsiteY629" fmla="*/ 850346 h 943688"/>
                    <a:gd name="connsiteX630" fmla="*/ 231590 w 1156578"/>
                    <a:gd name="connsiteY630" fmla="*/ 849945 h 943688"/>
                    <a:gd name="connsiteX631" fmla="*/ 230279 w 1156578"/>
                    <a:gd name="connsiteY631" fmla="*/ 849119 h 943688"/>
                    <a:gd name="connsiteX632" fmla="*/ 229465 w 1156578"/>
                    <a:gd name="connsiteY632" fmla="*/ 847832 h 943688"/>
                    <a:gd name="connsiteX633" fmla="*/ 229004 w 1156578"/>
                    <a:gd name="connsiteY633" fmla="*/ 846059 h 943688"/>
                    <a:gd name="connsiteX634" fmla="*/ 229064 w 1156578"/>
                    <a:gd name="connsiteY634" fmla="*/ 844080 h 943688"/>
                    <a:gd name="connsiteX635" fmla="*/ 229465 w 1156578"/>
                    <a:gd name="connsiteY635" fmla="*/ 841870 h 943688"/>
                    <a:gd name="connsiteX636" fmla="*/ 231942 w 1156578"/>
                    <a:gd name="connsiteY636" fmla="*/ 836479 h 943688"/>
                    <a:gd name="connsiteX637" fmla="*/ 232294 w 1156578"/>
                    <a:gd name="connsiteY637" fmla="*/ 835033 h 943688"/>
                    <a:gd name="connsiteX638" fmla="*/ 232294 w 1156578"/>
                    <a:gd name="connsiteY638" fmla="*/ 833455 h 943688"/>
                    <a:gd name="connsiteX639" fmla="*/ 231821 w 1156578"/>
                    <a:gd name="connsiteY639" fmla="*/ 831961 h 943688"/>
                    <a:gd name="connsiteX640" fmla="*/ 230971 w 1156578"/>
                    <a:gd name="connsiteY640" fmla="*/ 830359 h 943688"/>
                    <a:gd name="connsiteX641" fmla="*/ 229939 w 1156578"/>
                    <a:gd name="connsiteY641" fmla="*/ 828974 h 943688"/>
                    <a:gd name="connsiteX642" fmla="*/ 228724 w 1156578"/>
                    <a:gd name="connsiteY642" fmla="*/ 827711 h 943688"/>
                    <a:gd name="connsiteX643" fmla="*/ 219423 w 1156578"/>
                    <a:gd name="connsiteY643" fmla="*/ 819551 h 943688"/>
                    <a:gd name="connsiteX644" fmla="*/ 217310 w 1156578"/>
                    <a:gd name="connsiteY644" fmla="*/ 816916 h 943688"/>
                    <a:gd name="connsiteX645" fmla="*/ 216144 w 1156578"/>
                    <a:gd name="connsiteY645" fmla="*/ 814633 h 943688"/>
                    <a:gd name="connsiteX646" fmla="*/ 215913 w 1156578"/>
                    <a:gd name="connsiteY646" fmla="*/ 812362 h 943688"/>
                    <a:gd name="connsiteX647" fmla="*/ 216436 w 1156578"/>
                    <a:gd name="connsiteY647" fmla="*/ 808465 h 943688"/>
                    <a:gd name="connsiteX648" fmla="*/ 216375 w 1156578"/>
                    <a:gd name="connsiteY648" fmla="*/ 806911 h 943688"/>
                    <a:gd name="connsiteX649" fmla="*/ 216096 w 1156578"/>
                    <a:gd name="connsiteY649" fmla="*/ 805757 h 943688"/>
                    <a:gd name="connsiteX650" fmla="*/ 215513 w 1156578"/>
                    <a:gd name="connsiteY650" fmla="*/ 804579 h 943688"/>
                    <a:gd name="connsiteX651" fmla="*/ 215282 w 1156578"/>
                    <a:gd name="connsiteY651" fmla="*/ 803547 h 943688"/>
                    <a:gd name="connsiteX652" fmla="*/ 215233 w 1156578"/>
                    <a:gd name="connsiteY652" fmla="*/ 802017 h 943688"/>
                    <a:gd name="connsiteX653" fmla="*/ 215343 w 1156578"/>
                    <a:gd name="connsiteY653" fmla="*/ 800377 h 943688"/>
                    <a:gd name="connsiteX654" fmla="*/ 215282 w 1156578"/>
                    <a:gd name="connsiteY654" fmla="*/ 799139 h 943688"/>
                    <a:gd name="connsiteX655" fmla="*/ 214541 w 1156578"/>
                    <a:gd name="connsiteY655" fmla="*/ 797475 h 943688"/>
                    <a:gd name="connsiteX656" fmla="*/ 213570 w 1156578"/>
                    <a:gd name="connsiteY656" fmla="*/ 797196 h 943688"/>
                    <a:gd name="connsiteX657" fmla="*/ 211615 w 1156578"/>
                    <a:gd name="connsiteY657" fmla="*/ 797475 h 943688"/>
                    <a:gd name="connsiteX658" fmla="*/ 209891 w 1156578"/>
                    <a:gd name="connsiteY658" fmla="*/ 797160 h 943688"/>
                    <a:gd name="connsiteX659" fmla="*/ 207766 w 1156578"/>
                    <a:gd name="connsiteY659" fmla="*/ 796152 h 943688"/>
                    <a:gd name="connsiteX660" fmla="*/ 204499 w 1156578"/>
                    <a:gd name="connsiteY660" fmla="*/ 795241 h 943688"/>
                    <a:gd name="connsiteX661" fmla="*/ 202423 w 1156578"/>
                    <a:gd name="connsiteY661" fmla="*/ 795787 h 943688"/>
                    <a:gd name="connsiteX662" fmla="*/ 200759 w 1156578"/>
                    <a:gd name="connsiteY662" fmla="*/ 797512 h 943688"/>
                    <a:gd name="connsiteX663" fmla="*/ 198464 w 1156578"/>
                    <a:gd name="connsiteY663" fmla="*/ 803255 h 943688"/>
                    <a:gd name="connsiteX664" fmla="*/ 197031 w 1156578"/>
                    <a:gd name="connsiteY664" fmla="*/ 806036 h 943688"/>
                    <a:gd name="connsiteX665" fmla="*/ 190425 w 1156578"/>
                    <a:gd name="connsiteY665" fmla="*/ 813929 h 943688"/>
                    <a:gd name="connsiteX666" fmla="*/ 189624 w 1156578"/>
                    <a:gd name="connsiteY666" fmla="*/ 815240 h 943688"/>
                    <a:gd name="connsiteX667" fmla="*/ 189333 w 1156578"/>
                    <a:gd name="connsiteY667" fmla="*/ 816188 h 943688"/>
                    <a:gd name="connsiteX668" fmla="*/ 189624 w 1156578"/>
                    <a:gd name="connsiteY668" fmla="*/ 819721 h 943688"/>
                    <a:gd name="connsiteX669" fmla="*/ 189624 w 1156578"/>
                    <a:gd name="connsiteY669" fmla="*/ 822429 h 943688"/>
                    <a:gd name="connsiteX670" fmla="*/ 189102 w 1156578"/>
                    <a:gd name="connsiteY670" fmla="*/ 825416 h 943688"/>
                    <a:gd name="connsiteX671" fmla="*/ 186345 w 1156578"/>
                    <a:gd name="connsiteY671" fmla="*/ 832410 h 943688"/>
                    <a:gd name="connsiteX672" fmla="*/ 186054 w 1156578"/>
                    <a:gd name="connsiteY672" fmla="*/ 833843 h 943688"/>
                    <a:gd name="connsiteX673" fmla="*/ 186236 w 1156578"/>
                    <a:gd name="connsiteY673" fmla="*/ 834851 h 943688"/>
                    <a:gd name="connsiteX674" fmla="*/ 187718 w 1156578"/>
                    <a:gd name="connsiteY674" fmla="*/ 838008 h 943688"/>
                    <a:gd name="connsiteX675" fmla="*/ 187900 w 1156578"/>
                    <a:gd name="connsiteY675" fmla="*/ 839939 h 943688"/>
                    <a:gd name="connsiteX676" fmla="*/ 187086 w 1156578"/>
                    <a:gd name="connsiteY676" fmla="*/ 842611 h 943688"/>
                    <a:gd name="connsiteX677" fmla="*/ 185896 w 1156578"/>
                    <a:gd name="connsiteY677" fmla="*/ 844906 h 943688"/>
                    <a:gd name="connsiteX678" fmla="*/ 179752 w 1156578"/>
                    <a:gd name="connsiteY678" fmla="*/ 854317 h 943688"/>
                    <a:gd name="connsiteX679" fmla="*/ 178647 w 1156578"/>
                    <a:gd name="connsiteY679" fmla="*/ 856599 h 943688"/>
                    <a:gd name="connsiteX680" fmla="*/ 178319 w 1156578"/>
                    <a:gd name="connsiteY680" fmla="*/ 858700 h 943688"/>
                    <a:gd name="connsiteX681" fmla="*/ 178877 w 1156578"/>
                    <a:gd name="connsiteY681" fmla="*/ 860193 h 943688"/>
                    <a:gd name="connsiteX682" fmla="*/ 180784 w 1156578"/>
                    <a:gd name="connsiteY682" fmla="*/ 862258 h 943688"/>
                    <a:gd name="connsiteX683" fmla="*/ 186406 w 1156578"/>
                    <a:gd name="connsiteY683" fmla="*/ 866338 h 943688"/>
                    <a:gd name="connsiteX684" fmla="*/ 187548 w 1156578"/>
                    <a:gd name="connsiteY684" fmla="*/ 867917 h 943688"/>
                    <a:gd name="connsiteX685" fmla="*/ 187839 w 1156578"/>
                    <a:gd name="connsiteY685" fmla="*/ 869410 h 943688"/>
                    <a:gd name="connsiteX686" fmla="*/ 186965 w 1156578"/>
                    <a:gd name="connsiteY686" fmla="*/ 871025 h 943688"/>
                    <a:gd name="connsiteX687" fmla="*/ 185253 w 1156578"/>
                    <a:gd name="connsiteY687" fmla="*/ 872118 h 943688"/>
                    <a:gd name="connsiteX688" fmla="*/ 183018 w 1156578"/>
                    <a:gd name="connsiteY688" fmla="*/ 873150 h 943688"/>
                    <a:gd name="connsiteX689" fmla="*/ 182217 w 1156578"/>
                    <a:gd name="connsiteY689" fmla="*/ 874729 h 943688"/>
                    <a:gd name="connsiteX690" fmla="*/ 182326 w 1156578"/>
                    <a:gd name="connsiteY690" fmla="*/ 877194 h 943688"/>
                    <a:gd name="connsiteX691" fmla="*/ 183188 w 1156578"/>
                    <a:gd name="connsiteY691" fmla="*/ 880642 h 943688"/>
                    <a:gd name="connsiteX692" fmla="*/ 183650 w 1156578"/>
                    <a:gd name="connsiteY692" fmla="*/ 883593 h 943688"/>
                    <a:gd name="connsiteX693" fmla="*/ 183310 w 1156578"/>
                    <a:gd name="connsiteY693" fmla="*/ 886216 h 943688"/>
                    <a:gd name="connsiteX694" fmla="*/ 182095 w 1156578"/>
                    <a:gd name="connsiteY694" fmla="*/ 887916 h 943688"/>
                    <a:gd name="connsiteX695" fmla="*/ 180140 w 1156578"/>
                    <a:gd name="connsiteY695" fmla="*/ 888426 h 943688"/>
                    <a:gd name="connsiteX696" fmla="*/ 175271 w 1156578"/>
                    <a:gd name="connsiteY696" fmla="*/ 888001 h 943688"/>
                    <a:gd name="connsiteX697" fmla="*/ 172223 w 1156578"/>
                    <a:gd name="connsiteY697" fmla="*/ 888608 h 943688"/>
                    <a:gd name="connsiteX698" fmla="*/ 170438 w 1156578"/>
                    <a:gd name="connsiteY698" fmla="*/ 890102 h 943688"/>
                    <a:gd name="connsiteX699" fmla="*/ 169285 w 1156578"/>
                    <a:gd name="connsiteY699" fmla="*/ 892506 h 943688"/>
                    <a:gd name="connsiteX700" fmla="*/ 168556 w 1156578"/>
                    <a:gd name="connsiteY700" fmla="*/ 894971 h 943688"/>
                    <a:gd name="connsiteX701" fmla="*/ 167220 w 1156578"/>
                    <a:gd name="connsiteY701" fmla="*/ 896926 h 943688"/>
                    <a:gd name="connsiteX702" fmla="*/ 165265 w 1156578"/>
                    <a:gd name="connsiteY702" fmla="*/ 897776 h 943688"/>
                    <a:gd name="connsiteX703" fmla="*/ 163322 w 1156578"/>
                    <a:gd name="connsiteY703" fmla="*/ 897497 h 943688"/>
                    <a:gd name="connsiteX704" fmla="*/ 161829 w 1156578"/>
                    <a:gd name="connsiteY704" fmla="*/ 896829 h 943688"/>
                    <a:gd name="connsiteX705" fmla="*/ 160675 w 1156578"/>
                    <a:gd name="connsiteY705" fmla="*/ 896574 h 943688"/>
                    <a:gd name="connsiteX706" fmla="*/ 159291 w 1156578"/>
                    <a:gd name="connsiteY706" fmla="*/ 896525 h 943688"/>
                    <a:gd name="connsiteX707" fmla="*/ 156486 w 1156578"/>
                    <a:gd name="connsiteY707" fmla="*/ 896695 h 943688"/>
                    <a:gd name="connsiteX708" fmla="*/ 154191 w 1156578"/>
                    <a:gd name="connsiteY708" fmla="*/ 896440 h 943688"/>
                    <a:gd name="connsiteX709" fmla="*/ 154021 w 1156578"/>
                    <a:gd name="connsiteY709" fmla="*/ 896343 h 943688"/>
                    <a:gd name="connsiteX710" fmla="*/ 150803 w 1156578"/>
                    <a:gd name="connsiteY710" fmla="*/ 892870 h 943688"/>
                    <a:gd name="connsiteX711" fmla="*/ 148217 w 1156578"/>
                    <a:gd name="connsiteY711" fmla="*/ 890842 h 943688"/>
                    <a:gd name="connsiteX712" fmla="*/ 144999 w 1156578"/>
                    <a:gd name="connsiteY712" fmla="*/ 888912 h 943688"/>
                    <a:gd name="connsiteX713" fmla="*/ 137531 w 1156578"/>
                    <a:gd name="connsiteY713" fmla="*/ 886750 h 943688"/>
                    <a:gd name="connsiteX714" fmla="*/ 128181 w 1156578"/>
                    <a:gd name="connsiteY714" fmla="*/ 888049 h 943688"/>
                    <a:gd name="connsiteX715" fmla="*/ 119389 w 1156578"/>
                    <a:gd name="connsiteY715" fmla="*/ 894473 h 943688"/>
                    <a:gd name="connsiteX716" fmla="*/ 112395 w 1156578"/>
                    <a:gd name="connsiteY716" fmla="*/ 895845 h 943688"/>
                    <a:gd name="connsiteX717" fmla="*/ 105898 w 1156578"/>
                    <a:gd name="connsiteY717" fmla="*/ 896355 h 943688"/>
                    <a:gd name="connsiteX718" fmla="*/ 87465 w 1156578"/>
                    <a:gd name="connsiteY718" fmla="*/ 908425 h 943688"/>
                    <a:gd name="connsiteX719" fmla="*/ 75068 w 1156578"/>
                    <a:gd name="connsiteY719" fmla="*/ 914048 h 943688"/>
                    <a:gd name="connsiteX720" fmla="*/ 71388 w 1156578"/>
                    <a:gd name="connsiteY720" fmla="*/ 916233 h 943688"/>
                    <a:gd name="connsiteX721" fmla="*/ 68632 w 1156578"/>
                    <a:gd name="connsiteY721" fmla="*/ 918735 h 943688"/>
                    <a:gd name="connsiteX722" fmla="*/ 67077 w 1156578"/>
                    <a:gd name="connsiteY722" fmla="*/ 920945 h 943688"/>
                    <a:gd name="connsiteX723" fmla="*/ 64782 w 1156578"/>
                    <a:gd name="connsiteY723" fmla="*/ 923325 h 943688"/>
                    <a:gd name="connsiteX724" fmla="*/ 62208 w 1156578"/>
                    <a:gd name="connsiteY724" fmla="*/ 924478 h 943688"/>
                    <a:gd name="connsiteX725" fmla="*/ 55712 w 1156578"/>
                    <a:gd name="connsiteY725" fmla="*/ 925280 h 943688"/>
                    <a:gd name="connsiteX726" fmla="*/ 52785 w 1156578"/>
                    <a:gd name="connsiteY726" fmla="*/ 926943 h 943688"/>
                    <a:gd name="connsiteX727" fmla="*/ 49507 w 1156578"/>
                    <a:gd name="connsiteY727" fmla="*/ 929651 h 943688"/>
                    <a:gd name="connsiteX728" fmla="*/ 46350 w 1156578"/>
                    <a:gd name="connsiteY728" fmla="*/ 932942 h 943688"/>
                    <a:gd name="connsiteX729" fmla="*/ 41189 w 1156578"/>
                    <a:gd name="connsiteY729" fmla="*/ 935723 h 943688"/>
                    <a:gd name="connsiteX730" fmla="*/ 37339 w 1156578"/>
                    <a:gd name="connsiteY730" fmla="*/ 934460 h 943688"/>
                    <a:gd name="connsiteX731" fmla="*/ 31025 w 1156578"/>
                    <a:gd name="connsiteY731" fmla="*/ 930586 h 943688"/>
                    <a:gd name="connsiteX732" fmla="*/ 28560 w 1156578"/>
                    <a:gd name="connsiteY732" fmla="*/ 930040 h 943688"/>
                    <a:gd name="connsiteX733" fmla="*/ 27006 w 1156578"/>
                    <a:gd name="connsiteY733" fmla="*/ 930440 h 943688"/>
                    <a:gd name="connsiteX734" fmla="*/ 26132 w 1156578"/>
                    <a:gd name="connsiteY734" fmla="*/ 931643 h 943688"/>
                    <a:gd name="connsiteX735" fmla="*/ 24942 w 1156578"/>
                    <a:gd name="connsiteY735" fmla="*/ 934994 h 943688"/>
                    <a:gd name="connsiteX736" fmla="*/ 24031 w 1156578"/>
                    <a:gd name="connsiteY736" fmla="*/ 936524 h 943688"/>
                    <a:gd name="connsiteX737" fmla="*/ 22695 w 1156578"/>
                    <a:gd name="connsiteY737" fmla="*/ 937532 h 943688"/>
                    <a:gd name="connsiteX738" fmla="*/ 21323 w 1156578"/>
                    <a:gd name="connsiteY738" fmla="*/ 937593 h 943688"/>
                    <a:gd name="connsiteX739" fmla="*/ 19016 w 1156578"/>
                    <a:gd name="connsiteY739" fmla="*/ 936974 h 943688"/>
                    <a:gd name="connsiteX740" fmla="*/ 17061 w 1156578"/>
                    <a:gd name="connsiteY740" fmla="*/ 936160 h 943688"/>
                    <a:gd name="connsiteX741" fmla="*/ 6618 w 1156578"/>
                    <a:gd name="connsiteY741" fmla="*/ 933829 h 943688"/>
                    <a:gd name="connsiteX742" fmla="*/ 5986 w 1156578"/>
                    <a:gd name="connsiteY742" fmla="*/ 931509 h 943688"/>
                    <a:gd name="connsiteX743" fmla="*/ 5986 w 1156578"/>
                    <a:gd name="connsiteY743" fmla="*/ 927975 h 943688"/>
                    <a:gd name="connsiteX744" fmla="*/ 6436 w 1156578"/>
                    <a:gd name="connsiteY744" fmla="*/ 924661 h 943688"/>
                    <a:gd name="connsiteX745" fmla="*/ 6618 w 1156578"/>
                    <a:gd name="connsiteY745" fmla="*/ 921151 h 943688"/>
                    <a:gd name="connsiteX746" fmla="*/ 6800 w 1156578"/>
                    <a:gd name="connsiteY746" fmla="*/ 920058 h 943688"/>
                    <a:gd name="connsiteX747" fmla="*/ 7189 w 1156578"/>
                    <a:gd name="connsiteY747" fmla="*/ 919050 h 943688"/>
                    <a:gd name="connsiteX748" fmla="*/ 8233 w 1156578"/>
                    <a:gd name="connsiteY748" fmla="*/ 918225 h 943688"/>
                    <a:gd name="connsiteX749" fmla="*/ 9265 w 1156578"/>
                    <a:gd name="connsiteY749" fmla="*/ 917945 h 943688"/>
                    <a:gd name="connsiteX750" fmla="*/ 10176 w 1156578"/>
                    <a:gd name="connsiteY750" fmla="*/ 918116 h 943688"/>
                    <a:gd name="connsiteX751" fmla="*/ 11038 w 1156578"/>
                    <a:gd name="connsiteY751" fmla="*/ 918577 h 943688"/>
                    <a:gd name="connsiteX752" fmla="*/ 12471 w 1156578"/>
                    <a:gd name="connsiteY752" fmla="*/ 919730 h 943688"/>
                    <a:gd name="connsiteX753" fmla="*/ 13284 w 1156578"/>
                    <a:gd name="connsiteY753" fmla="*/ 920192 h 943688"/>
                    <a:gd name="connsiteX754" fmla="*/ 14195 w 1156578"/>
                    <a:gd name="connsiteY754" fmla="*/ 920362 h 943688"/>
                    <a:gd name="connsiteX755" fmla="*/ 15118 w 1156578"/>
                    <a:gd name="connsiteY755" fmla="*/ 920192 h 943688"/>
                    <a:gd name="connsiteX756" fmla="*/ 15968 w 1156578"/>
                    <a:gd name="connsiteY756" fmla="*/ 919730 h 943688"/>
                    <a:gd name="connsiteX757" fmla="*/ 16551 w 1156578"/>
                    <a:gd name="connsiteY757" fmla="*/ 918698 h 943688"/>
                    <a:gd name="connsiteX758" fmla="*/ 16903 w 1156578"/>
                    <a:gd name="connsiteY758" fmla="*/ 917290 h 943688"/>
                    <a:gd name="connsiteX759" fmla="*/ 16951 w 1156578"/>
                    <a:gd name="connsiteY759" fmla="*/ 914703 h 943688"/>
                    <a:gd name="connsiteX760" fmla="*/ 17182 w 1156578"/>
                    <a:gd name="connsiteY760" fmla="*/ 912821 h 943688"/>
                    <a:gd name="connsiteX761" fmla="*/ 17692 w 1156578"/>
                    <a:gd name="connsiteY761" fmla="*/ 910988 h 943688"/>
                    <a:gd name="connsiteX762" fmla="*/ 18858 w 1156578"/>
                    <a:gd name="connsiteY762" fmla="*/ 908535 h 943688"/>
                    <a:gd name="connsiteX763" fmla="*/ 19647 w 1156578"/>
                    <a:gd name="connsiteY763" fmla="*/ 907260 h 943688"/>
                    <a:gd name="connsiteX764" fmla="*/ 21032 w 1156578"/>
                    <a:gd name="connsiteY764" fmla="*/ 905499 h 943688"/>
                    <a:gd name="connsiteX765" fmla="*/ 21663 w 1156578"/>
                    <a:gd name="connsiteY765" fmla="*/ 904188 h 943688"/>
                    <a:gd name="connsiteX766" fmla="*/ 22294 w 1156578"/>
                    <a:gd name="connsiteY766" fmla="*/ 901953 h 943688"/>
                    <a:gd name="connsiteX767" fmla="*/ 23157 w 1156578"/>
                    <a:gd name="connsiteY767" fmla="*/ 897606 h 943688"/>
                    <a:gd name="connsiteX768" fmla="*/ 23157 w 1156578"/>
                    <a:gd name="connsiteY768" fmla="*/ 891013 h 943688"/>
                    <a:gd name="connsiteX769" fmla="*/ 22865 w 1156578"/>
                    <a:gd name="connsiteY769" fmla="*/ 889398 h 943688"/>
                    <a:gd name="connsiteX770" fmla="*/ 22926 w 1156578"/>
                    <a:gd name="connsiteY770" fmla="*/ 888025 h 943688"/>
                    <a:gd name="connsiteX771" fmla="*/ 23266 w 1156578"/>
                    <a:gd name="connsiteY771" fmla="*/ 886495 h 943688"/>
                    <a:gd name="connsiteX772" fmla="*/ 24249 w 1156578"/>
                    <a:gd name="connsiteY772" fmla="*/ 884601 h 943688"/>
                    <a:gd name="connsiteX773" fmla="*/ 25682 w 1156578"/>
                    <a:gd name="connsiteY773" fmla="*/ 882537 h 943688"/>
                    <a:gd name="connsiteX774" fmla="*/ 26374 w 1156578"/>
                    <a:gd name="connsiteY774" fmla="*/ 881869 h 943688"/>
                    <a:gd name="connsiteX775" fmla="*/ 27066 w 1156578"/>
                    <a:gd name="connsiteY775" fmla="*/ 880994 h 943688"/>
                    <a:gd name="connsiteX776" fmla="*/ 27625 w 1156578"/>
                    <a:gd name="connsiteY776" fmla="*/ 879865 h 943688"/>
                    <a:gd name="connsiteX777" fmla="*/ 29532 w 1156578"/>
                    <a:gd name="connsiteY777" fmla="*/ 873624 h 943688"/>
                    <a:gd name="connsiteX778" fmla="*/ 29932 w 1156578"/>
                    <a:gd name="connsiteY778" fmla="*/ 870224 h 943688"/>
                    <a:gd name="connsiteX779" fmla="*/ 30794 w 1156578"/>
                    <a:gd name="connsiteY779" fmla="*/ 867358 h 943688"/>
                    <a:gd name="connsiteX780" fmla="*/ 31134 w 1156578"/>
                    <a:gd name="connsiteY780" fmla="*/ 865403 h 943688"/>
                    <a:gd name="connsiteX781" fmla="*/ 30904 w 1156578"/>
                    <a:gd name="connsiteY781" fmla="*/ 863727 h 943688"/>
                    <a:gd name="connsiteX782" fmla="*/ 29362 w 1156578"/>
                    <a:gd name="connsiteY782" fmla="*/ 860862 h 943688"/>
                    <a:gd name="connsiteX783" fmla="*/ 29009 w 1156578"/>
                    <a:gd name="connsiteY783" fmla="*/ 859890 h 943688"/>
                    <a:gd name="connsiteX784" fmla="*/ 28900 w 1156578"/>
                    <a:gd name="connsiteY784" fmla="*/ 858822 h 943688"/>
                    <a:gd name="connsiteX785" fmla="*/ 29070 w 1156578"/>
                    <a:gd name="connsiteY785" fmla="*/ 857559 h 943688"/>
                    <a:gd name="connsiteX786" fmla="*/ 29532 w 1156578"/>
                    <a:gd name="connsiteY786" fmla="*/ 856186 h 943688"/>
                    <a:gd name="connsiteX787" fmla="*/ 30564 w 1156578"/>
                    <a:gd name="connsiteY787" fmla="*/ 854195 h 943688"/>
                    <a:gd name="connsiteX788" fmla="*/ 31936 w 1156578"/>
                    <a:gd name="connsiteY788" fmla="*/ 852009 h 943688"/>
                    <a:gd name="connsiteX789" fmla="*/ 34474 w 1156578"/>
                    <a:gd name="connsiteY789" fmla="*/ 845610 h 943688"/>
                    <a:gd name="connsiteX790" fmla="*/ 35567 w 1156578"/>
                    <a:gd name="connsiteY790" fmla="*/ 844408 h 943688"/>
                    <a:gd name="connsiteX791" fmla="*/ 36538 w 1156578"/>
                    <a:gd name="connsiteY791" fmla="*/ 844177 h 943688"/>
                    <a:gd name="connsiteX792" fmla="*/ 37339 w 1156578"/>
                    <a:gd name="connsiteY792" fmla="*/ 844517 h 943688"/>
                    <a:gd name="connsiteX793" fmla="*/ 38712 w 1156578"/>
                    <a:gd name="connsiteY793" fmla="*/ 844797 h 943688"/>
                    <a:gd name="connsiteX794" fmla="*/ 40497 w 1156578"/>
                    <a:gd name="connsiteY794" fmla="*/ 844675 h 943688"/>
                    <a:gd name="connsiteX795" fmla="*/ 43994 w 1156578"/>
                    <a:gd name="connsiteY795" fmla="*/ 843704 h 943688"/>
                    <a:gd name="connsiteX796" fmla="*/ 53417 w 1156578"/>
                    <a:gd name="connsiteY796" fmla="*/ 839806 h 943688"/>
                    <a:gd name="connsiteX797" fmla="*/ 55080 w 1156578"/>
                    <a:gd name="connsiteY797" fmla="*/ 838737 h 943688"/>
                    <a:gd name="connsiteX798" fmla="*/ 56173 w 1156578"/>
                    <a:gd name="connsiteY798" fmla="*/ 837681 h 943688"/>
                    <a:gd name="connsiteX799" fmla="*/ 58468 w 1156578"/>
                    <a:gd name="connsiteY799" fmla="*/ 833516 h 943688"/>
                    <a:gd name="connsiteX800" fmla="*/ 59391 w 1156578"/>
                    <a:gd name="connsiteY800" fmla="*/ 832532 h 943688"/>
                    <a:gd name="connsiteX801" fmla="*/ 60715 w 1156578"/>
                    <a:gd name="connsiteY801" fmla="*/ 831779 h 943688"/>
                    <a:gd name="connsiteX802" fmla="*/ 62378 w 1156578"/>
                    <a:gd name="connsiteY802" fmla="*/ 831148 h 943688"/>
                    <a:gd name="connsiteX803" fmla="*/ 67187 w 1156578"/>
                    <a:gd name="connsiteY803" fmla="*/ 830370 h 943688"/>
                    <a:gd name="connsiteX804" fmla="*/ 68741 w 1156578"/>
                    <a:gd name="connsiteY804" fmla="*/ 829776 h 943688"/>
                    <a:gd name="connsiteX805" fmla="*/ 70174 w 1156578"/>
                    <a:gd name="connsiteY805" fmla="*/ 828707 h 943688"/>
                    <a:gd name="connsiteX806" fmla="*/ 71570 w 1156578"/>
                    <a:gd name="connsiteY806" fmla="*/ 827056 h 943688"/>
                    <a:gd name="connsiteX807" fmla="*/ 77533 w 1156578"/>
                    <a:gd name="connsiteY807" fmla="*/ 816358 h 943688"/>
                    <a:gd name="connsiteX808" fmla="*/ 81321 w 1156578"/>
                    <a:gd name="connsiteY808" fmla="*/ 811452 h 943688"/>
                    <a:gd name="connsiteX809" fmla="*/ 83616 w 1156578"/>
                    <a:gd name="connsiteY809" fmla="*/ 809339 h 943688"/>
                    <a:gd name="connsiteX810" fmla="*/ 90914 w 1156578"/>
                    <a:gd name="connsiteY810" fmla="*/ 803838 h 943688"/>
                    <a:gd name="connsiteX811" fmla="*/ 95735 w 1156578"/>
                    <a:gd name="connsiteY811" fmla="*/ 797937 h 943688"/>
                    <a:gd name="connsiteX812" fmla="*/ 99524 w 1156578"/>
                    <a:gd name="connsiteY812" fmla="*/ 794318 h 943688"/>
                    <a:gd name="connsiteX813" fmla="*/ 103992 w 1156578"/>
                    <a:gd name="connsiteY813" fmla="*/ 790809 h 943688"/>
                    <a:gd name="connsiteX814" fmla="*/ 106008 w 1156578"/>
                    <a:gd name="connsiteY814" fmla="*/ 789655 h 943688"/>
                    <a:gd name="connsiteX815" fmla="*/ 107611 w 1156578"/>
                    <a:gd name="connsiteY815" fmla="*/ 788987 h 943688"/>
                    <a:gd name="connsiteX816" fmla="*/ 109165 w 1156578"/>
                    <a:gd name="connsiteY816" fmla="*/ 788174 h 943688"/>
                    <a:gd name="connsiteX817" fmla="*/ 110318 w 1156578"/>
                    <a:gd name="connsiteY817" fmla="*/ 786413 h 943688"/>
                    <a:gd name="connsiteX818" fmla="*/ 110549 w 1156578"/>
                    <a:gd name="connsiteY818" fmla="*/ 784082 h 943688"/>
                    <a:gd name="connsiteX819" fmla="*/ 109347 w 1156578"/>
                    <a:gd name="connsiteY819" fmla="*/ 781277 h 943688"/>
                    <a:gd name="connsiteX820" fmla="*/ 107853 w 1156578"/>
                    <a:gd name="connsiteY820" fmla="*/ 779929 h 943688"/>
                    <a:gd name="connsiteX821" fmla="*/ 104466 w 1156578"/>
                    <a:gd name="connsiteY821" fmla="*/ 778071 h 943688"/>
                    <a:gd name="connsiteX822" fmla="*/ 103081 w 1156578"/>
                    <a:gd name="connsiteY822" fmla="*/ 777039 h 943688"/>
                    <a:gd name="connsiteX823" fmla="*/ 102171 w 1156578"/>
                    <a:gd name="connsiteY823" fmla="*/ 775885 h 943688"/>
                    <a:gd name="connsiteX824" fmla="*/ 101940 w 1156578"/>
                    <a:gd name="connsiteY824" fmla="*/ 774878 h 943688"/>
                    <a:gd name="connsiteX825" fmla="*/ 102110 w 1156578"/>
                    <a:gd name="connsiteY825" fmla="*/ 773505 h 943688"/>
                    <a:gd name="connsiteX826" fmla="*/ 103312 w 1156578"/>
                    <a:gd name="connsiteY826" fmla="*/ 772097 h 943688"/>
                    <a:gd name="connsiteX827" fmla="*/ 104636 w 1156578"/>
                    <a:gd name="connsiteY827" fmla="*/ 771562 h 943688"/>
                    <a:gd name="connsiteX828" fmla="*/ 106299 w 1156578"/>
                    <a:gd name="connsiteY828" fmla="*/ 771405 h 943688"/>
                    <a:gd name="connsiteX829" fmla="*/ 107732 w 1156578"/>
                    <a:gd name="connsiteY829" fmla="*/ 771077 h 943688"/>
                    <a:gd name="connsiteX830" fmla="*/ 109165 w 1156578"/>
                    <a:gd name="connsiteY830" fmla="*/ 770239 h 943688"/>
                    <a:gd name="connsiteX831" fmla="*/ 110440 w 1156578"/>
                    <a:gd name="connsiteY831" fmla="*/ 768866 h 943688"/>
                    <a:gd name="connsiteX832" fmla="*/ 112966 w 1156578"/>
                    <a:gd name="connsiteY832" fmla="*/ 765127 h 943688"/>
                    <a:gd name="connsiteX833" fmla="*/ 114459 w 1156578"/>
                    <a:gd name="connsiteY833" fmla="*/ 763487 h 943688"/>
                    <a:gd name="connsiteX834" fmla="*/ 116354 w 1156578"/>
                    <a:gd name="connsiteY834" fmla="*/ 761933 h 943688"/>
                    <a:gd name="connsiteX835" fmla="*/ 118296 w 1156578"/>
                    <a:gd name="connsiteY835" fmla="*/ 760670 h 943688"/>
                    <a:gd name="connsiteX836" fmla="*/ 119972 w 1156578"/>
                    <a:gd name="connsiteY836" fmla="*/ 759917 h 943688"/>
                    <a:gd name="connsiteX837" fmla="*/ 121284 w 1156578"/>
                    <a:gd name="connsiteY837" fmla="*/ 759577 h 943688"/>
                    <a:gd name="connsiteX838" fmla="*/ 128581 w 1156578"/>
                    <a:gd name="connsiteY838" fmla="*/ 759067 h 943688"/>
                    <a:gd name="connsiteX839" fmla="*/ 131338 w 1156578"/>
                    <a:gd name="connsiteY839" fmla="*/ 758314 h 943688"/>
                    <a:gd name="connsiteX840" fmla="*/ 133341 w 1156578"/>
                    <a:gd name="connsiteY840" fmla="*/ 756870 h 943688"/>
                    <a:gd name="connsiteX841" fmla="*/ 134665 w 1156578"/>
                    <a:gd name="connsiteY841" fmla="*/ 754841 h 943688"/>
                    <a:gd name="connsiteX842" fmla="*/ 137422 w 1156578"/>
                    <a:gd name="connsiteY842" fmla="*/ 748321 h 943688"/>
                    <a:gd name="connsiteX843" fmla="*/ 138114 w 1156578"/>
                    <a:gd name="connsiteY843" fmla="*/ 747337 h 943688"/>
                    <a:gd name="connsiteX844" fmla="*/ 138745 w 1156578"/>
                    <a:gd name="connsiteY844" fmla="*/ 747009 h 943688"/>
                    <a:gd name="connsiteX845" fmla="*/ 139425 w 1156578"/>
                    <a:gd name="connsiteY845" fmla="*/ 747119 h 943688"/>
                    <a:gd name="connsiteX846" fmla="*/ 140178 w 1156578"/>
                    <a:gd name="connsiteY846" fmla="*/ 747604 h 943688"/>
                    <a:gd name="connsiteX847" fmla="*/ 142424 w 1156578"/>
                    <a:gd name="connsiteY847" fmla="*/ 750009 h 943688"/>
                    <a:gd name="connsiteX848" fmla="*/ 144137 w 1156578"/>
                    <a:gd name="connsiteY848" fmla="*/ 751162 h 943688"/>
                    <a:gd name="connsiteX849" fmla="*/ 146274 w 1156578"/>
                    <a:gd name="connsiteY849" fmla="*/ 751538 h 943688"/>
                    <a:gd name="connsiteX850" fmla="*/ 147124 w 1156578"/>
                    <a:gd name="connsiteY850" fmla="*/ 747884 h 943688"/>
                    <a:gd name="connsiteX851" fmla="*/ 148399 w 1156578"/>
                    <a:gd name="connsiteY851" fmla="*/ 744641 h 943688"/>
                    <a:gd name="connsiteX852" fmla="*/ 148848 w 1156578"/>
                    <a:gd name="connsiteY852" fmla="*/ 743840 h 943688"/>
                    <a:gd name="connsiteX853" fmla="*/ 149249 w 1156578"/>
                    <a:gd name="connsiteY853" fmla="*/ 742953 h 943688"/>
                    <a:gd name="connsiteX854" fmla="*/ 150973 w 1156578"/>
                    <a:gd name="connsiteY854" fmla="*/ 734162 h 943688"/>
                    <a:gd name="connsiteX855" fmla="*/ 151143 w 1156578"/>
                    <a:gd name="connsiteY855" fmla="*/ 728248 h 943688"/>
                    <a:gd name="connsiteX856" fmla="*/ 151447 w 1156578"/>
                    <a:gd name="connsiteY856" fmla="*/ 726974 h 943688"/>
                    <a:gd name="connsiteX857" fmla="*/ 151957 w 1156578"/>
                    <a:gd name="connsiteY857" fmla="*/ 726014 h 943688"/>
                    <a:gd name="connsiteX858" fmla="*/ 153207 w 1156578"/>
                    <a:gd name="connsiteY858" fmla="*/ 724618 h 943688"/>
                    <a:gd name="connsiteX859" fmla="*/ 153790 w 1156578"/>
                    <a:gd name="connsiteY859" fmla="*/ 723865 h 943688"/>
                    <a:gd name="connsiteX860" fmla="*/ 154252 w 1156578"/>
                    <a:gd name="connsiteY860" fmla="*/ 723088 h 943688"/>
                    <a:gd name="connsiteX861" fmla="*/ 154883 w 1156578"/>
                    <a:gd name="connsiteY861" fmla="*/ 722335 h 943688"/>
                    <a:gd name="connsiteX862" fmla="*/ 155672 w 1156578"/>
                    <a:gd name="connsiteY862" fmla="*/ 721715 h 943688"/>
                    <a:gd name="connsiteX863" fmla="*/ 160457 w 1156578"/>
                    <a:gd name="connsiteY863" fmla="*/ 719250 h 943688"/>
                    <a:gd name="connsiteX864" fmla="*/ 161537 w 1156578"/>
                    <a:gd name="connsiteY864" fmla="*/ 718935 h 943688"/>
                    <a:gd name="connsiteX865" fmla="*/ 162339 w 1156578"/>
                    <a:gd name="connsiteY865" fmla="*/ 717623 h 943688"/>
                    <a:gd name="connsiteX866" fmla="*/ 162970 w 1156578"/>
                    <a:gd name="connsiteY866" fmla="*/ 715304 h 943688"/>
                    <a:gd name="connsiteX867" fmla="*/ 162521 w 1156578"/>
                    <a:gd name="connsiteY867" fmla="*/ 703185 h 943688"/>
                    <a:gd name="connsiteX868" fmla="*/ 162582 w 1156578"/>
                    <a:gd name="connsiteY868" fmla="*/ 701461 h 943688"/>
                    <a:gd name="connsiteX869" fmla="*/ 162460 w 1156578"/>
                    <a:gd name="connsiteY869" fmla="*/ 699518 h 943688"/>
                    <a:gd name="connsiteX870" fmla="*/ 161768 w 1156578"/>
                    <a:gd name="connsiteY870" fmla="*/ 697733 h 943688"/>
                    <a:gd name="connsiteX871" fmla="*/ 158963 w 1156578"/>
                    <a:gd name="connsiteY871" fmla="*/ 693435 h 943688"/>
                    <a:gd name="connsiteX872" fmla="*/ 157858 w 1156578"/>
                    <a:gd name="connsiteY872" fmla="*/ 691164 h 943688"/>
                    <a:gd name="connsiteX873" fmla="*/ 157348 w 1156578"/>
                    <a:gd name="connsiteY873" fmla="*/ 686173 h 943688"/>
                    <a:gd name="connsiteX874" fmla="*/ 156838 w 1156578"/>
                    <a:gd name="connsiteY874" fmla="*/ 684473 h 943688"/>
                    <a:gd name="connsiteX875" fmla="*/ 155454 w 1156578"/>
                    <a:gd name="connsiteY875" fmla="*/ 682858 h 943688"/>
                    <a:gd name="connsiteX876" fmla="*/ 151143 w 1156578"/>
                    <a:gd name="connsiteY876" fmla="*/ 679932 h 943688"/>
                    <a:gd name="connsiteX877" fmla="*/ 150172 w 1156578"/>
                    <a:gd name="connsiteY877" fmla="*/ 678584 h 943688"/>
                    <a:gd name="connsiteX878" fmla="*/ 150342 w 1156578"/>
                    <a:gd name="connsiteY878" fmla="*/ 676641 h 943688"/>
                    <a:gd name="connsiteX879" fmla="*/ 151665 w 1156578"/>
                    <a:gd name="connsiteY879" fmla="*/ 672354 h 943688"/>
                    <a:gd name="connsiteX880" fmla="*/ 151896 w 1156578"/>
                    <a:gd name="connsiteY880" fmla="*/ 670145 h 943688"/>
                    <a:gd name="connsiteX881" fmla="*/ 151386 w 1156578"/>
                    <a:gd name="connsiteY881" fmla="*/ 667680 h 943688"/>
                    <a:gd name="connsiteX882" fmla="*/ 148909 w 1156578"/>
                    <a:gd name="connsiteY882" fmla="*/ 663259 h 943688"/>
                    <a:gd name="connsiteX883" fmla="*/ 148095 w 1156578"/>
                    <a:gd name="connsiteY883" fmla="*/ 661074 h 943688"/>
                    <a:gd name="connsiteX884" fmla="*/ 147585 w 1156578"/>
                    <a:gd name="connsiteY884" fmla="*/ 658657 h 943688"/>
                    <a:gd name="connsiteX885" fmla="*/ 147524 w 1156578"/>
                    <a:gd name="connsiteY885" fmla="*/ 654978 h 943688"/>
                    <a:gd name="connsiteX886" fmla="*/ 148034 w 1156578"/>
                    <a:gd name="connsiteY886" fmla="*/ 652270 h 943688"/>
                    <a:gd name="connsiteX887" fmla="*/ 148969 w 1156578"/>
                    <a:gd name="connsiteY887" fmla="*/ 649696 h 943688"/>
                    <a:gd name="connsiteX888" fmla="*/ 152297 w 1156578"/>
                    <a:gd name="connsiteY888" fmla="*/ 642774 h 943688"/>
                    <a:gd name="connsiteX889" fmla="*/ 152467 w 1156578"/>
                    <a:gd name="connsiteY889" fmla="*/ 640856 h 943688"/>
                    <a:gd name="connsiteX890" fmla="*/ 151835 w 1156578"/>
                    <a:gd name="connsiteY890" fmla="*/ 639131 h 943688"/>
                    <a:gd name="connsiteX891" fmla="*/ 150002 w 1156578"/>
                    <a:gd name="connsiteY891" fmla="*/ 637371 h 943688"/>
                    <a:gd name="connsiteX892" fmla="*/ 146844 w 1156578"/>
                    <a:gd name="connsiteY892" fmla="*/ 635392 h 943688"/>
                    <a:gd name="connsiteX893" fmla="*/ 145861 w 1156578"/>
                    <a:gd name="connsiteY893" fmla="*/ 634298 h 943688"/>
                    <a:gd name="connsiteX894" fmla="*/ 145630 w 1156578"/>
                    <a:gd name="connsiteY894" fmla="*/ 633266 h 943688"/>
                    <a:gd name="connsiteX895" fmla="*/ 146444 w 1156578"/>
                    <a:gd name="connsiteY895" fmla="*/ 631506 h 943688"/>
                    <a:gd name="connsiteX896" fmla="*/ 147707 w 1156578"/>
                    <a:gd name="connsiteY896" fmla="*/ 630352 h 943688"/>
                    <a:gd name="connsiteX897" fmla="*/ 150864 w 1156578"/>
                    <a:gd name="connsiteY897" fmla="*/ 628373 h 943688"/>
                    <a:gd name="connsiteX898" fmla="*/ 151896 w 1156578"/>
                    <a:gd name="connsiteY898" fmla="*/ 627256 h 943688"/>
                    <a:gd name="connsiteX899" fmla="*/ 152127 w 1156578"/>
                    <a:gd name="connsiteY899" fmla="*/ 625580 h 943688"/>
                    <a:gd name="connsiteX900" fmla="*/ 151665 w 1156578"/>
                    <a:gd name="connsiteY900" fmla="*/ 623637 h 943688"/>
                    <a:gd name="connsiteX901" fmla="*/ 150050 w 1156578"/>
                    <a:gd name="connsiteY901" fmla="*/ 621111 h 943688"/>
                    <a:gd name="connsiteX902" fmla="*/ 148557 w 1156578"/>
                    <a:gd name="connsiteY902" fmla="*/ 619824 h 943688"/>
                    <a:gd name="connsiteX903" fmla="*/ 147014 w 1156578"/>
                    <a:gd name="connsiteY903" fmla="*/ 619071 h 943688"/>
                    <a:gd name="connsiteX904" fmla="*/ 142303 w 1156578"/>
                    <a:gd name="connsiteY904" fmla="*/ 617918 h 943688"/>
                    <a:gd name="connsiteX905" fmla="*/ 141149 w 1156578"/>
                    <a:gd name="connsiteY905" fmla="*/ 617481 h 943688"/>
                    <a:gd name="connsiteX906" fmla="*/ 140178 w 1156578"/>
                    <a:gd name="connsiteY906" fmla="*/ 616788 h 943688"/>
                    <a:gd name="connsiteX907" fmla="*/ 139425 w 1156578"/>
                    <a:gd name="connsiteY907" fmla="*/ 615708 h 943688"/>
                    <a:gd name="connsiteX908" fmla="*/ 136389 w 1156578"/>
                    <a:gd name="connsiteY908" fmla="*/ 608956 h 943688"/>
                    <a:gd name="connsiteX909" fmla="*/ 135406 w 1156578"/>
                    <a:gd name="connsiteY909" fmla="*/ 607341 h 943688"/>
                    <a:gd name="connsiteX910" fmla="*/ 134277 w 1156578"/>
                    <a:gd name="connsiteY910" fmla="*/ 606309 h 943688"/>
                    <a:gd name="connsiteX911" fmla="*/ 132783 w 1156578"/>
                    <a:gd name="connsiteY911" fmla="*/ 605702 h 943688"/>
                    <a:gd name="connsiteX912" fmla="*/ 127379 w 1156578"/>
                    <a:gd name="connsiteY912" fmla="*/ 604670 h 943688"/>
                    <a:gd name="connsiteX913" fmla="*/ 126226 w 1156578"/>
                    <a:gd name="connsiteY913" fmla="*/ 603516 h 943688"/>
                    <a:gd name="connsiteX914" fmla="*/ 125716 w 1156578"/>
                    <a:gd name="connsiteY914" fmla="*/ 601683 h 943688"/>
                    <a:gd name="connsiteX915" fmla="*/ 126274 w 1156578"/>
                    <a:gd name="connsiteY915" fmla="*/ 586698 h 943688"/>
                    <a:gd name="connsiteX916" fmla="*/ 127549 w 1156578"/>
                    <a:gd name="connsiteY916" fmla="*/ 580930 h 943688"/>
                    <a:gd name="connsiteX917" fmla="*/ 127829 w 1156578"/>
                    <a:gd name="connsiteY917" fmla="*/ 578405 h 943688"/>
                    <a:gd name="connsiteX918" fmla="*/ 127489 w 1156578"/>
                    <a:gd name="connsiteY918" fmla="*/ 575563 h 943688"/>
                    <a:gd name="connsiteX919" fmla="*/ 126116 w 1156578"/>
                    <a:gd name="connsiteY919" fmla="*/ 570754 h 943688"/>
                    <a:gd name="connsiteX920" fmla="*/ 125364 w 1156578"/>
                    <a:gd name="connsiteY920" fmla="*/ 567051 h 943688"/>
                    <a:gd name="connsiteX921" fmla="*/ 125534 w 1156578"/>
                    <a:gd name="connsiteY921" fmla="*/ 563007 h 943688"/>
                    <a:gd name="connsiteX922" fmla="*/ 127319 w 1156578"/>
                    <a:gd name="connsiteY922" fmla="*/ 555139 h 943688"/>
                    <a:gd name="connsiteX923" fmla="*/ 127027 w 1156578"/>
                    <a:gd name="connsiteY923" fmla="*/ 553099 h 943688"/>
                    <a:gd name="connsiteX924" fmla="*/ 125716 w 1156578"/>
                    <a:gd name="connsiteY924" fmla="*/ 551302 h 943688"/>
                    <a:gd name="connsiteX925" fmla="*/ 124040 w 1156578"/>
                    <a:gd name="connsiteY925" fmla="*/ 550209 h 943688"/>
                    <a:gd name="connsiteX926" fmla="*/ 122437 w 1156578"/>
                    <a:gd name="connsiteY926" fmla="*/ 549662 h 943688"/>
                    <a:gd name="connsiteX927" fmla="*/ 116123 w 1156578"/>
                    <a:gd name="connsiteY927" fmla="*/ 548994 h 943688"/>
                    <a:gd name="connsiteX928" fmla="*/ 114399 w 1156578"/>
                    <a:gd name="connsiteY928" fmla="*/ 548424 h 943688"/>
                    <a:gd name="connsiteX929" fmla="*/ 112735 w 1156578"/>
                    <a:gd name="connsiteY929" fmla="*/ 547416 h 943688"/>
                    <a:gd name="connsiteX930" fmla="*/ 111703 w 1156578"/>
                    <a:gd name="connsiteY930" fmla="*/ 545922 h 943688"/>
                    <a:gd name="connsiteX931" fmla="*/ 109626 w 1156578"/>
                    <a:gd name="connsiteY931" fmla="*/ 540446 h 943688"/>
                    <a:gd name="connsiteX932" fmla="*/ 108485 w 1156578"/>
                    <a:gd name="connsiteY932" fmla="*/ 538552 h 943688"/>
                    <a:gd name="connsiteX933" fmla="*/ 106991 w 1156578"/>
                    <a:gd name="connsiteY933" fmla="*/ 537119 h 943688"/>
                    <a:gd name="connsiteX934" fmla="*/ 91205 w 1156578"/>
                    <a:gd name="connsiteY934" fmla="*/ 528254 h 943688"/>
                    <a:gd name="connsiteX935" fmla="*/ 88959 w 1156578"/>
                    <a:gd name="connsiteY935" fmla="*/ 526481 h 943688"/>
                    <a:gd name="connsiteX936" fmla="*/ 87283 w 1156578"/>
                    <a:gd name="connsiteY936" fmla="*/ 524648 h 943688"/>
                    <a:gd name="connsiteX937" fmla="*/ 85972 w 1156578"/>
                    <a:gd name="connsiteY937" fmla="*/ 522462 h 943688"/>
                    <a:gd name="connsiteX938" fmla="*/ 85280 w 1156578"/>
                    <a:gd name="connsiteY938" fmla="*/ 520361 h 943688"/>
                    <a:gd name="connsiteX939" fmla="*/ 85170 w 1156578"/>
                    <a:gd name="connsiteY939" fmla="*/ 518346 h 943688"/>
                    <a:gd name="connsiteX940" fmla="*/ 85632 w 1156578"/>
                    <a:gd name="connsiteY940" fmla="*/ 516306 h 943688"/>
                    <a:gd name="connsiteX941" fmla="*/ 86373 w 1156578"/>
                    <a:gd name="connsiteY941" fmla="*/ 514375 h 943688"/>
                    <a:gd name="connsiteX942" fmla="*/ 94010 w 1156578"/>
                    <a:gd name="connsiteY942" fmla="*/ 500496 h 943688"/>
                    <a:gd name="connsiteX943" fmla="*/ 95444 w 1156578"/>
                    <a:gd name="connsiteY943" fmla="*/ 498601 h 943688"/>
                    <a:gd name="connsiteX944" fmla="*/ 97520 w 1156578"/>
                    <a:gd name="connsiteY944" fmla="*/ 497739 h 943688"/>
                    <a:gd name="connsiteX945" fmla="*/ 101017 w 1156578"/>
                    <a:gd name="connsiteY945" fmla="*/ 495639 h 943688"/>
                    <a:gd name="connsiteX946" fmla="*/ 107101 w 1156578"/>
                    <a:gd name="connsiteY946" fmla="*/ 488632 h 943688"/>
                    <a:gd name="connsiteX947" fmla="*/ 108946 w 1156578"/>
                    <a:gd name="connsiteY947" fmla="*/ 487296 h 943688"/>
                    <a:gd name="connsiteX948" fmla="*/ 109918 w 1156578"/>
                    <a:gd name="connsiteY948" fmla="*/ 487114 h 943688"/>
                    <a:gd name="connsiteX949" fmla="*/ 111241 w 1156578"/>
                    <a:gd name="connsiteY949" fmla="*/ 487454 h 943688"/>
                    <a:gd name="connsiteX950" fmla="*/ 112844 w 1156578"/>
                    <a:gd name="connsiteY950" fmla="*/ 488668 h 943688"/>
                    <a:gd name="connsiteX951" fmla="*/ 121976 w 1156578"/>
                    <a:gd name="connsiteY951" fmla="*/ 499039 h 943688"/>
                    <a:gd name="connsiteX952" fmla="*/ 122899 w 1156578"/>
                    <a:gd name="connsiteY952" fmla="*/ 500763 h 943688"/>
                    <a:gd name="connsiteX953" fmla="*/ 123190 w 1156578"/>
                    <a:gd name="connsiteY953" fmla="*/ 501977 h 943688"/>
                    <a:gd name="connsiteX954" fmla="*/ 123069 w 1156578"/>
                    <a:gd name="connsiteY954" fmla="*/ 503216 h 943688"/>
                    <a:gd name="connsiteX955" fmla="*/ 123287 w 1156578"/>
                    <a:gd name="connsiteY955" fmla="*/ 504454 h 943688"/>
                    <a:gd name="connsiteX956" fmla="*/ 124332 w 1156578"/>
                    <a:gd name="connsiteY956" fmla="*/ 505462 h 943688"/>
                    <a:gd name="connsiteX957" fmla="*/ 126396 w 1156578"/>
                    <a:gd name="connsiteY957" fmla="*/ 505438 h 943688"/>
                    <a:gd name="connsiteX958" fmla="*/ 127768 w 1156578"/>
                    <a:gd name="connsiteY958" fmla="*/ 505001 h 943688"/>
                    <a:gd name="connsiteX959" fmla="*/ 128861 w 1156578"/>
                    <a:gd name="connsiteY959" fmla="*/ 504248 h 943688"/>
                    <a:gd name="connsiteX960" fmla="*/ 129553 w 1156578"/>
                    <a:gd name="connsiteY960" fmla="*/ 503191 h 943688"/>
                    <a:gd name="connsiteX961" fmla="*/ 131107 w 1156578"/>
                    <a:gd name="connsiteY961" fmla="*/ 499536 h 943688"/>
                    <a:gd name="connsiteX962" fmla="*/ 131751 w 1156578"/>
                    <a:gd name="connsiteY962" fmla="*/ 498419 h 943688"/>
                    <a:gd name="connsiteX963" fmla="*/ 132601 w 1156578"/>
                    <a:gd name="connsiteY963" fmla="*/ 497229 h 943688"/>
                    <a:gd name="connsiteX964" fmla="*/ 133524 w 1156578"/>
                    <a:gd name="connsiteY964" fmla="*/ 496537 h 943688"/>
                    <a:gd name="connsiteX965" fmla="*/ 134325 w 1156578"/>
                    <a:gd name="connsiteY965" fmla="*/ 496306 h 943688"/>
                    <a:gd name="connsiteX966" fmla="*/ 135467 w 1156578"/>
                    <a:gd name="connsiteY966" fmla="*/ 496428 h 943688"/>
                    <a:gd name="connsiteX967" fmla="*/ 136219 w 1156578"/>
                    <a:gd name="connsiteY967" fmla="*/ 496598 h 943688"/>
                    <a:gd name="connsiteX968" fmla="*/ 137252 w 1156578"/>
                    <a:gd name="connsiteY968" fmla="*/ 497059 h 943688"/>
                    <a:gd name="connsiteX969" fmla="*/ 138284 w 1156578"/>
                    <a:gd name="connsiteY969" fmla="*/ 497824 h 943688"/>
                    <a:gd name="connsiteX970" fmla="*/ 144027 w 1156578"/>
                    <a:gd name="connsiteY970" fmla="*/ 503252 h 943688"/>
                    <a:gd name="connsiteX971" fmla="*/ 146723 w 1156578"/>
                    <a:gd name="connsiteY971" fmla="*/ 505231 h 943688"/>
                    <a:gd name="connsiteX972" fmla="*/ 148156 w 1156578"/>
                    <a:gd name="connsiteY972" fmla="*/ 506603 h 943688"/>
                    <a:gd name="connsiteX973" fmla="*/ 149018 w 1156578"/>
                    <a:gd name="connsiteY973" fmla="*/ 507696 h 943688"/>
                    <a:gd name="connsiteX974" fmla="*/ 149370 w 1156578"/>
                    <a:gd name="connsiteY974" fmla="*/ 508522 h 943688"/>
                    <a:gd name="connsiteX975" fmla="*/ 149589 w 1156578"/>
                    <a:gd name="connsiteY975" fmla="*/ 509360 h 943688"/>
                    <a:gd name="connsiteX976" fmla="*/ 150002 w 1156578"/>
                    <a:gd name="connsiteY976" fmla="*/ 510368 h 943688"/>
                    <a:gd name="connsiteX977" fmla="*/ 150342 w 1156578"/>
                    <a:gd name="connsiteY977" fmla="*/ 511060 h 943688"/>
                    <a:gd name="connsiteX978" fmla="*/ 151143 w 1156578"/>
                    <a:gd name="connsiteY978" fmla="*/ 511715 h 943688"/>
                    <a:gd name="connsiteX979" fmla="*/ 152297 w 1156578"/>
                    <a:gd name="connsiteY979" fmla="*/ 512177 h 943688"/>
                    <a:gd name="connsiteX980" fmla="*/ 154191 w 1156578"/>
                    <a:gd name="connsiteY980" fmla="*/ 512238 h 943688"/>
                    <a:gd name="connsiteX981" fmla="*/ 158441 w 1156578"/>
                    <a:gd name="connsiteY981" fmla="*/ 511546 h 943688"/>
                    <a:gd name="connsiteX982" fmla="*/ 159643 w 1156578"/>
                    <a:gd name="connsiteY982" fmla="*/ 511837 h 943688"/>
                    <a:gd name="connsiteX983" fmla="*/ 161088 w 1156578"/>
                    <a:gd name="connsiteY983" fmla="*/ 512978 h 943688"/>
                    <a:gd name="connsiteX984" fmla="*/ 163092 w 1156578"/>
                    <a:gd name="connsiteY984" fmla="*/ 515759 h 943688"/>
                    <a:gd name="connsiteX985" fmla="*/ 174700 w 1156578"/>
                    <a:gd name="connsiteY985" fmla="*/ 539669 h 943688"/>
                    <a:gd name="connsiteX986" fmla="*/ 176133 w 1156578"/>
                    <a:gd name="connsiteY986" fmla="*/ 541563 h 943688"/>
                    <a:gd name="connsiteX987" fmla="*/ 177445 w 1156578"/>
                    <a:gd name="connsiteY987" fmla="*/ 542170 h 943688"/>
                    <a:gd name="connsiteX988" fmla="*/ 179060 w 1156578"/>
                    <a:gd name="connsiteY988" fmla="*/ 541599 h 943688"/>
                    <a:gd name="connsiteX989" fmla="*/ 180140 w 1156578"/>
                    <a:gd name="connsiteY989" fmla="*/ 540045 h 943688"/>
                    <a:gd name="connsiteX990" fmla="*/ 182788 w 1156578"/>
                    <a:gd name="connsiteY990" fmla="*/ 534897 h 943688"/>
                    <a:gd name="connsiteX991" fmla="*/ 183650 w 1156578"/>
                    <a:gd name="connsiteY991" fmla="*/ 533585 h 943688"/>
                    <a:gd name="connsiteX992" fmla="*/ 184281 w 1156578"/>
                    <a:gd name="connsiteY992" fmla="*/ 532759 h 943688"/>
                    <a:gd name="connsiteX993" fmla="*/ 185313 w 1156578"/>
                    <a:gd name="connsiteY993" fmla="*/ 531776 h 943688"/>
                    <a:gd name="connsiteX994" fmla="*/ 186516 w 1156578"/>
                    <a:gd name="connsiteY994" fmla="*/ 531011 h 943688"/>
                    <a:gd name="connsiteX995" fmla="*/ 187960 w 1156578"/>
                    <a:gd name="connsiteY995" fmla="*/ 530343 h 943688"/>
                    <a:gd name="connsiteX996" fmla="*/ 189733 w 1156578"/>
                    <a:gd name="connsiteY996" fmla="*/ 530064 h 943688"/>
                    <a:gd name="connsiteX997" fmla="*/ 191749 w 1156578"/>
                    <a:gd name="connsiteY997" fmla="*/ 529954 h 943688"/>
                    <a:gd name="connsiteX998" fmla="*/ 209490 w 1156578"/>
                    <a:gd name="connsiteY998" fmla="*/ 532589 h 943688"/>
                    <a:gd name="connsiteX999" fmla="*/ 211894 w 1156578"/>
                    <a:gd name="connsiteY999" fmla="*/ 533476 h 943688"/>
                    <a:gd name="connsiteX1000" fmla="*/ 216666 w 1156578"/>
                    <a:gd name="connsiteY1000" fmla="*/ 536099 h 943688"/>
                    <a:gd name="connsiteX1001" fmla="*/ 218901 w 1156578"/>
                    <a:gd name="connsiteY1001" fmla="*/ 536888 h 943688"/>
                    <a:gd name="connsiteX1002" fmla="*/ 226138 w 1156578"/>
                    <a:gd name="connsiteY1002" fmla="*/ 537106 h 943688"/>
                    <a:gd name="connsiteX1003" fmla="*/ 227874 w 1156578"/>
                    <a:gd name="connsiteY1003" fmla="*/ 537471 h 943688"/>
                    <a:gd name="connsiteX1004" fmla="*/ 228846 w 1156578"/>
                    <a:gd name="connsiteY1004" fmla="*/ 538297 h 943688"/>
                    <a:gd name="connsiteX1005" fmla="*/ 228615 w 1156578"/>
                    <a:gd name="connsiteY1005" fmla="*/ 540167 h 943688"/>
                    <a:gd name="connsiteX1006" fmla="*/ 228093 w 1156578"/>
                    <a:gd name="connsiteY1006" fmla="*/ 541855 h 943688"/>
                    <a:gd name="connsiteX1007" fmla="*/ 227692 w 1156578"/>
                    <a:gd name="connsiteY1007" fmla="*/ 543834 h 943688"/>
                    <a:gd name="connsiteX1008" fmla="*/ 227631 w 1156578"/>
                    <a:gd name="connsiteY1008" fmla="*/ 545728 h 943688"/>
                    <a:gd name="connsiteX1009" fmla="*/ 227971 w 1156578"/>
                    <a:gd name="connsiteY1009" fmla="*/ 548497 h 943688"/>
                    <a:gd name="connsiteX1010" fmla="*/ 227923 w 1156578"/>
                    <a:gd name="connsiteY1010" fmla="*/ 550221 h 943688"/>
                    <a:gd name="connsiteX1011" fmla="*/ 227753 w 1156578"/>
                    <a:gd name="connsiteY1011" fmla="*/ 551593 h 943688"/>
                    <a:gd name="connsiteX1012" fmla="*/ 227923 w 1156578"/>
                    <a:gd name="connsiteY1012" fmla="*/ 552358 h 943688"/>
                    <a:gd name="connsiteX1013" fmla="*/ 228141 w 1156578"/>
                    <a:gd name="connsiteY1013" fmla="*/ 552941 h 943688"/>
                    <a:gd name="connsiteX1014" fmla="*/ 231432 w 1156578"/>
                    <a:gd name="connsiteY1014" fmla="*/ 552735 h 943688"/>
                    <a:gd name="connsiteX1015" fmla="*/ 232974 w 1156578"/>
                    <a:gd name="connsiteY1015" fmla="*/ 551642 h 943688"/>
                    <a:gd name="connsiteX1016" fmla="*/ 240139 w 1156578"/>
                    <a:gd name="connsiteY1016" fmla="*/ 545704 h 943688"/>
                    <a:gd name="connsiteX1017" fmla="*/ 242215 w 1156578"/>
                    <a:gd name="connsiteY1017" fmla="*/ 544514 h 943688"/>
                    <a:gd name="connsiteX1018" fmla="*/ 244170 w 1156578"/>
                    <a:gd name="connsiteY1018" fmla="*/ 543639 h 943688"/>
                    <a:gd name="connsiteX1019" fmla="*/ 248238 w 1156578"/>
                    <a:gd name="connsiteY1019" fmla="*/ 542291 h 943688"/>
                    <a:gd name="connsiteX1020" fmla="*/ 249975 w 1156578"/>
                    <a:gd name="connsiteY1020" fmla="*/ 541102 h 943688"/>
                    <a:gd name="connsiteX1021" fmla="*/ 253010 w 1156578"/>
                    <a:gd name="connsiteY1021" fmla="*/ 538297 h 943688"/>
                    <a:gd name="connsiteX1022" fmla="*/ 253933 w 1156578"/>
                    <a:gd name="connsiteY1022" fmla="*/ 537034 h 943688"/>
                    <a:gd name="connsiteX1023" fmla="*/ 254055 w 1156578"/>
                    <a:gd name="connsiteY1023" fmla="*/ 535880 h 943688"/>
                    <a:gd name="connsiteX1024" fmla="*/ 253241 w 1156578"/>
                    <a:gd name="connsiteY1024" fmla="*/ 534447 h 943688"/>
                    <a:gd name="connsiteX1025" fmla="*/ 249853 w 1156578"/>
                    <a:gd name="connsiteY1025" fmla="*/ 531375 h 943688"/>
                    <a:gd name="connsiteX1026" fmla="*/ 249331 w 1156578"/>
                    <a:gd name="connsiteY1026" fmla="*/ 530561 h 943688"/>
                    <a:gd name="connsiteX1027" fmla="*/ 248821 w 1156578"/>
                    <a:gd name="connsiteY1027" fmla="*/ 529626 h 943688"/>
                    <a:gd name="connsiteX1028" fmla="*/ 248651 w 1156578"/>
                    <a:gd name="connsiteY1028" fmla="*/ 528108 h 943688"/>
                    <a:gd name="connsiteX1029" fmla="*/ 248821 w 1156578"/>
                    <a:gd name="connsiteY1029" fmla="*/ 526044 h 943688"/>
                    <a:gd name="connsiteX1030" fmla="*/ 251347 w 1156578"/>
                    <a:gd name="connsiteY1030" fmla="*/ 516475 h 943688"/>
                    <a:gd name="connsiteX1031" fmla="*/ 251699 w 1156578"/>
                    <a:gd name="connsiteY1031" fmla="*/ 513780 h 943688"/>
                    <a:gd name="connsiteX1032" fmla="*/ 251638 w 1156578"/>
                    <a:gd name="connsiteY1032" fmla="*/ 511594 h 943688"/>
                    <a:gd name="connsiteX1033" fmla="*/ 250824 w 1156578"/>
                    <a:gd name="connsiteY1033" fmla="*/ 508060 h 943688"/>
                    <a:gd name="connsiteX1034" fmla="*/ 250606 w 1156578"/>
                    <a:gd name="connsiteY1034" fmla="*/ 507599 h 943688"/>
                    <a:gd name="connsiteX1035" fmla="*/ 250144 w 1156578"/>
                    <a:gd name="connsiteY1035" fmla="*/ 507429 h 943688"/>
                    <a:gd name="connsiteX1036" fmla="*/ 249331 w 1156578"/>
                    <a:gd name="connsiteY1036" fmla="*/ 507210 h 943688"/>
                    <a:gd name="connsiteX1037" fmla="*/ 245032 w 1156578"/>
                    <a:gd name="connsiteY1037" fmla="*/ 506725 h 943688"/>
                    <a:gd name="connsiteX1038" fmla="*/ 242798 w 1156578"/>
                    <a:gd name="connsiteY1038" fmla="*/ 506700 h 943688"/>
                    <a:gd name="connsiteX1039" fmla="*/ 241693 w 1156578"/>
                    <a:gd name="connsiteY1039" fmla="*/ 506871 h 943688"/>
                    <a:gd name="connsiteX1040" fmla="*/ 240892 w 1156578"/>
                    <a:gd name="connsiteY1040" fmla="*/ 507126 h 943688"/>
                    <a:gd name="connsiteX1041" fmla="*/ 240041 w 1156578"/>
                    <a:gd name="connsiteY1041" fmla="*/ 507611 h 943688"/>
                    <a:gd name="connsiteX1042" fmla="*/ 239750 w 1156578"/>
                    <a:gd name="connsiteY1042" fmla="*/ 507866 h 943688"/>
                    <a:gd name="connsiteX1043" fmla="*/ 237734 w 1156578"/>
                    <a:gd name="connsiteY1043" fmla="*/ 509239 h 943688"/>
                    <a:gd name="connsiteX1044" fmla="*/ 236192 w 1156578"/>
                    <a:gd name="connsiteY1044" fmla="*/ 509821 h 943688"/>
                    <a:gd name="connsiteX1045" fmla="*/ 234869 w 1156578"/>
                    <a:gd name="connsiteY1045" fmla="*/ 509991 h 943688"/>
                    <a:gd name="connsiteX1046" fmla="*/ 233496 w 1156578"/>
                    <a:gd name="connsiteY1046" fmla="*/ 509566 h 943688"/>
                    <a:gd name="connsiteX1047" fmla="*/ 232513 w 1156578"/>
                    <a:gd name="connsiteY1047" fmla="*/ 509081 h 943688"/>
                    <a:gd name="connsiteX1048" fmla="*/ 231712 w 1156578"/>
                    <a:gd name="connsiteY1048" fmla="*/ 508473 h 943688"/>
                    <a:gd name="connsiteX1049" fmla="*/ 230910 w 1156578"/>
                    <a:gd name="connsiteY1049" fmla="*/ 507648 h 943688"/>
                    <a:gd name="connsiteX1050" fmla="*/ 228724 w 1156578"/>
                    <a:gd name="connsiteY1050" fmla="*/ 504831 h 943688"/>
                    <a:gd name="connsiteX1051" fmla="*/ 227631 w 1156578"/>
                    <a:gd name="connsiteY1051" fmla="*/ 503956 h 943688"/>
                    <a:gd name="connsiteX1052" fmla="*/ 226381 w 1156578"/>
                    <a:gd name="connsiteY1052" fmla="*/ 503337 h 943688"/>
                    <a:gd name="connsiteX1053" fmla="*/ 224887 w 1156578"/>
                    <a:gd name="connsiteY1053" fmla="*/ 503009 h 943688"/>
                    <a:gd name="connsiteX1054" fmla="*/ 223442 w 1156578"/>
                    <a:gd name="connsiteY1054" fmla="*/ 502912 h 943688"/>
                    <a:gd name="connsiteX1055" fmla="*/ 215865 w 1156578"/>
                    <a:gd name="connsiteY1055" fmla="*/ 503434 h 943688"/>
                    <a:gd name="connsiteX1056" fmla="*/ 213218 w 1156578"/>
                    <a:gd name="connsiteY1056" fmla="*/ 503203 h 943688"/>
                    <a:gd name="connsiteX1057" fmla="*/ 212295 w 1156578"/>
                    <a:gd name="connsiteY1057" fmla="*/ 502888 h 943688"/>
                    <a:gd name="connsiteX1058" fmla="*/ 211493 w 1156578"/>
                    <a:gd name="connsiteY1058" fmla="*/ 502426 h 943688"/>
                    <a:gd name="connsiteX1059" fmla="*/ 208519 w 1156578"/>
                    <a:gd name="connsiteY1059" fmla="*/ 499621 h 943688"/>
                    <a:gd name="connsiteX1060" fmla="*/ 207365 w 1156578"/>
                    <a:gd name="connsiteY1060" fmla="*/ 498759 h 943688"/>
                    <a:gd name="connsiteX1061" fmla="*/ 198173 w 1156578"/>
                    <a:gd name="connsiteY1061" fmla="*/ 494631 h 943688"/>
                    <a:gd name="connsiteX1062" fmla="*/ 197590 w 1156578"/>
                    <a:gd name="connsiteY1062" fmla="*/ 492675 h 943688"/>
                    <a:gd name="connsiteX1063" fmla="*/ 197772 w 1156578"/>
                    <a:gd name="connsiteY1063" fmla="*/ 489482 h 943688"/>
                    <a:gd name="connsiteX1064" fmla="*/ 201573 w 1156578"/>
                    <a:gd name="connsiteY1064" fmla="*/ 476647 h 943688"/>
                    <a:gd name="connsiteX1065" fmla="*/ 201961 w 1156578"/>
                    <a:gd name="connsiteY1065" fmla="*/ 473781 h 943688"/>
                    <a:gd name="connsiteX1066" fmla="*/ 201961 w 1156578"/>
                    <a:gd name="connsiteY1066" fmla="*/ 468899 h 943688"/>
                    <a:gd name="connsiteX1067" fmla="*/ 200528 w 1156578"/>
                    <a:gd name="connsiteY1067" fmla="*/ 460570 h 943688"/>
                    <a:gd name="connsiteX1068" fmla="*/ 200358 w 1156578"/>
                    <a:gd name="connsiteY1068" fmla="*/ 450284 h 943688"/>
                    <a:gd name="connsiteX1069" fmla="*/ 199605 w 1156578"/>
                    <a:gd name="connsiteY1069" fmla="*/ 447916 h 943688"/>
                    <a:gd name="connsiteX1070" fmla="*/ 198804 w 1156578"/>
                    <a:gd name="connsiteY1070" fmla="*/ 446326 h 943688"/>
                    <a:gd name="connsiteX1071" fmla="*/ 197954 w 1156578"/>
                    <a:gd name="connsiteY1071" fmla="*/ 445148 h 943688"/>
                    <a:gd name="connsiteX1072" fmla="*/ 197432 w 1156578"/>
                    <a:gd name="connsiteY1072" fmla="*/ 443885 h 943688"/>
                    <a:gd name="connsiteX1073" fmla="*/ 197432 w 1156578"/>
                    <a:gd name="connsiteY1073" fmla="*/ 440242 h 943688"/>
                    <a:gd name="connsiteX1074" fmla="*/ 199387 w 1156578"/>
                    <a:gd name="connsiteY1074" fmla="*/ 424104 h 943688"/>
                    <a:gd name="connsiteX1075" fmla="*/ 199096 w 1156578"/>
                    <a:gd name="connsiteY1075" fmla="*/ 419490 h 943688"/>
                    <a:gd name="connsiteX1076" fmla="*/ 198585 w 1156578"/>
                    <a:gd name="connsiteY1076" fmla="*/ 417353 h 943688"/>
                    <a:gd name="connsiteX1077" fmla="*/ 197493 w 1156578"/>
                    <a:gd name="connsiteY1077" fmla="*/ 417814 h 943688"/>
                    <a:gd name="connsiteX1078" fmla="*/ 196618 w 1156578"/>
                    <a:gd name="connsiteY1078" fmla="*/ 418531 h 943688"/>
                    <a:gd name="connsiteX1079" fmla="*/ 195647 w 1156578"/>
                    <a:gd name="connsiteY1079" fmla="*/ 419174 h 943688"/>
                    <a:gd name="connsiteX1080" fmla="*/ 194615 w 1156578"/>
                    <a:gd name="connsiteY1080" fmla="*/ 419174 h 943688"/>
                    <a:gd name="connsiteX1081" fmla="*/ 193631 w 1156578"/>
                    <a:gd name="connsiteY1081" fmla="*/ 418227 h 943688"/>
                    <a:gd name="connsiteX1082" fmla="*/ 192842 w 1156578"/>
                    <a:gd name="connsiteY1082" fmla="*/ 416649 h 943688"/>
                    <a:gd name="connsiteX1083" fmla="*/ 191980 w 1156578"/>
                    <a:gd name="connsiteY1083" fmla="*/ 413176 h 943688"/>
                    <a:gd name="connsiteX1084" fmla="*/ 191749 w 1156578"/>
                    <a:gd name="connsiteY1084" fmla="*/ 410164 h 943688"/>
                    <a:gd name="connsiteX1085" fmla="*/ 191688 w 1156578"/>
                    <a:gd name="connsiteY1085" fmla="*/ 409849 h 943688"/>
                    <a:gd name="connsiteX1086" fmla="*/ 190826 w 1156578"/>
                    <a:gd name="connsiteY1086" fmla="*/ 408780 h 943688"/>
                    <a:gd name="connsiteX1087" fmla="*/ 190134 w 1156578"/>
                    <a:gd name="connsiteY1087" fmla="*/ 408695 h 943688"/>
                    <a:gd name="connsiteX1088" fmla="*/ 189454 w 1156578"/>
                    <a:gd name="connsiteY1088" fmla="*/ 409072 h 943688"/>
                    <a:gd name="connsiteX1089" fmla="*/ 188980 w 1156578"/>
                    <a:gd name="connsiteY1089" fmla="*/ 409581 h 943688"/>
                    <a:gd name="connsiteX1090" fmla="*/ 188471 w 1156578"/>
                    <a:gd name="connsiteY1090" fmla="*/ 410043 h 943688"/>
                    <a:gd name="connsiteX1091" fmla="*/ 188009 w 1156578"/>
                    <a:gd name="connsiteY1091" fmla="*/ 410188 h 943688"/>
                    <a:gd name="connsiteX1092" fmla="*/ 187718 w 1156578"/>
                    <a:gd name="connsiteY1092" fmla="*/ 410164 h 943688"/>
                    <a:gd name="connsiteX1093" fmla="*/ 187608 w 1156578"/>
                    <a:gd name="connsiteY1093" fmla="*/ 410067 h 943688"/>
                    <a:gd name="connsiteX1094" fmla="*/ 184682 w 1156578"/>
                    <a:gd name="connsiteY1094" fmla="*/ 404299 h 943688"/>
                    <a:gd name="connsiteX1095" fmla="*/ 184050 w 1156578"/>
                    <a:gd name="connsiteY1095" fmla="*/ 401737 h 943688"/>
                    <a:gd name="connsiteX1096" fmla="*/ 184050 w 1156578"/>
                    <a:gd name="connsiteY1096" fmla="*/ 398993 h 943688"/>
                    <a:gd name="connsiteX1097" fmla="*/ 187268 w 1156578"/>
                    <a:gd name="connsiteY1097" fmla="*/ 385660 h 943688"/>
                    <a:gd name="connsiteX1098" fmla="*/ 188300 w 1156578"/>
                    <a:gd name="connsiteY1098" fmla="*/ 382758 h 943688"/>
                    <a:gd name="connsiteX1099" fmla="*/ 188980 w 1156578"/>
                    <a:gd name="connsiteY1099" fmla="*/ 379309 h 943688"/>
                    <a:gd name="connsiteX1100" fmla="*/ 189211 w 1156578"/>
                    <a:gd name="connsiteY1100" fmla="*/ 376929 h 943688"/>
                    <a:gd name="connsiteX1101" fmla="*/ 189102 w 1156578"/>
                    <a:gd name="connsiteY1101" fmla="*/ 374379 h 943688"/>
                    <a:gd name="connsiteX1102" fmla="*/ 188519 w 1156578"/>
                    <a:gd name="connsiteY1102" fmla="*/ 371938 h 943688"/>
                    <a:gd name="connsiteX1103" fmla="*/ 187839 w 1156578"/>
                    <a:gd name="connsiteY1103" fmla="*/ 369777 h 943688"/>
                    <a:gd name="connsiteX1104" fmla="*/ 185945 w 1156578"/>
                    <a:gd name="connsiteY1104" fmla="*/ 365709 h 943688"/>
                    <a:gd name="connsiteX1105" fmla="*/ 185253 w 1156578"/>
                    <a:gd name="connsiteY1105" fmla="*/ 363608 h 943688"/>
                    <a:gd name="connsiteX1106" fmla="*/ 184803 w 1156578"/>
                    <a:gd name="connsiteY1106" fmla="*/ 361544 h 943688"/>
                    <a:gd name="connsiteX1107" fmla="*/ 184403 w 1156578"/>
                    <a:gd name="connsiteY1107" fmla="*/ 339432 h 943688"/>
                    <a:gd name="connsiteX1108" fmla="*/ 184621 w 1156578"/>
                    <a:gd name="connsiteY1108" fmla="*/ 338254 h 943688"/>
                    <a:gd name="connsiteX1109" fmla="*/ 185143 w 1156578"/>
                    <a:gd name="connsiteY1109" fmla="*/ 337161 h 943688"/>
                    <a:gd name="connsiteX1110" fmla="*/ 185714 w 1156578"/>
                    <a:gd name="connsiteY1110" fmla="*/ 336299 h 943688"/>
                    <a:gd name="connsiteX1111" fmla="*/ 186455 w 1156578"/>
                    <a:gd name="connsiteY1111" fmla="*/ 335582 h 943688"/>
                    <a:gd name="connsiteX1112" fmla="*/ 187718 w 1156578"/>
                    <a:gd name="connsiteY1112" fmla="*/ 335206 h 943688"/>
                    <a:gd name="connsiteX1113" fmla="*/ 188701 w 1156578"/>
                    <a:gd name="connsiteY1113" fmla="*/ 335206 h 943688"/>
                    <a:gd name="connsiteX1114" fmla="*/ 194323 w 1156578"/>
                    <a:gd name="connsiteY1114" fmla="*/ 336614 h 943688"/>
                    <a:gd name="connsiteX1115" fmla="*/ 195489 w 1156578"/>
                    <a:gd name="connsiteY1115" fmla="*/ 337161 h 943688"/>
                    <a:gd name="connsiteX1116" fmla="*/ 196157 w 1156578"/>
                    <a:gd name="connsiteY1116" fmla="*/ 337829 h 943688"/>
                    <a:gd name="connsiteX1117" fmla="*/ 196521 w 1156578"/>
                    <a:gd name="connsiteY1117" fmla="*/ 338545 h 943688"/>
                    <a:gd name="connsiteX1118" fmla="*/ 196521 w 1156578"/>
                    <a:gd name="connsiteY1118" fmla="*/ 339322 h 943688"/>
                    <a:gd name="connsiteX1119" fmla="*/ 196218 w 1156578"/>
                    <a:gd name="connsiteY1119" fmla="*/ 341666 h 943688"/>
                    <a:gd name="connsiteX1120" fmla="*/ 196218 w 1156578"/>
                    <a:gd name="connsiteY1120" fmla="*/ 342698 h 943688"/>
                    <a:gd name="connsiteX1121" fmla="*/ 196679 w 1156578"/>
                    <a:gd name="connsiteY1121" fmla="*/ 343767 h 943688"/>
                    <a:gd name="connsiteX1122" fmla="*/ 197311 w 1156578"/>
                    <a:gd name="connsiteY1122" fmla="*/ 344434 h 943688"/>
                    <a:gd name="connsiteX1123" fmla="*/ 198233 w 1156578"/>
                    <a:gd name="connsiteY1123" fmla="*/ 344714 h 943688"/>
                    <a:gd name="connsiteX1124" fmla="*/ 199557 w 1156578"/>
                    <a:gd name="connsiteY1124" fmla="*/ 344568 h 943688"/>
                    <a:gd name="connsiteX1125" fmla="*/ 202423 w 1156578"/>
                    <a:gd name="connsiteY1125" fmla="*/ 343585 h 943688"/>
                    <a:gd name="connsiteX1126" fmla="*/ 205301 w 1156578"/>
                    <a:gd name="connsiteY1126" fmla="*/ 342152 h 943688"/>
                    <a:gd name="connsiteX1127" fmla="*/ 207073 w 1156578"/>
                    <a:gd name="connsiteY1127" fmla="*/ 340488 h 943688"/>
                    <a:gd name="connsiteX1128" fmla="*/ 208968 w 1156578"/>
                    <a:gd name="connsiteY1128" fmla="*/ 338193 h 943688"/>
                    <a:gd name="connsiteX1129" fmla="*/ 211724 w 1156578"/>
                    <a:gd name="connsiteY1129" fmla="*/ 333287 h 943688"/>
                    <a:gd name="connsiteX1130" fmla="*/ 213740 w 1156578"/>
                    <a:gd name="connsiteY1130" fmla="*/ 330337 h 943688"/>
                    <a:gd name="connsiteX1131" fmla="*/ 216788 w 1156578"/>
                    <a:gd name="connsiteY1131" fmla="*/ 327119 h 943688"/>
                    <a:gd name="connsiteX1132" fmla="*/ 218221 w 1156578"/>
                    <a:gd name="connsiteY1132" fmla="*/ 325965 h 943688"/>
                    <a:gd name="connsiteX1133" fmla="*/ 219253 w 1156578"/>
                    <a:gd name="connsiteY1133" fmla="*/ 325443 h 943688"/>
                    <a:gd name="connsiteX1134" fmla="*/ 221147 w 1156578"/>
                    <a:gd name="connsiteY1134" fmla="*/ 325273 h 943688"/>
                    <a:gd name="connsiteX1135" fmla="*/ 223029 w 1156578"/>
                    <a:gd name="connsiteY1135" fmla="*/ 324034 h 943688"/>
                    <a:gd name="connsiteX1136" fmla="*/ 225676 w 1156578"/>
                    <a:gd name="connsiteY1136" fmla="*/ 321059 h 943688"/>
                    <a:gd name="connsiteX1137" fmla="*/ 234055 w 1156578"/>
                    <a:gd name="connsiteY1137" fmla="*/ 307435 h 943688"/>
                    <a:gd name="connsiteX1138" fmla="*/ 237916 w 1156578"/>
                    <a:gd name="connsiteY1138" fmla="*/ 296300 h 943688"/>
                    <a:gd name="connsiteX1139" fmla="*/ 241074 w 1156578"/>
                    <a:gd name="connsiteY1139" fmla="*/ 291722 h 943688"/>
                    <a:gd name="connsiteX1140" fmla="*/ 241596 w 1156578"/>
                    <a:gd name="connsiteY1140" fmla="*/ 287958 h 943688"/>
                    <a:gd name="connsiteX1141" fmla="*/ 240843 w 1156578"/>
                    <a:gd name="connsiteY1141" fmla="*/ 285468 h 943688"/>
                    <a:gd name="connsiteX1142" fmla="*/ 240782 w 1156578"/>
                    <a:gd name="connsiteY1142" fmla="*/ 284631 h 943688"/>
                    <a:gd name="connsiteX1143" fmla="*/ 241183 w 1156578"/>
                    <a:gd name="connsiteY1143" fmla="*/ 283866 h 943688"/>
                    <a:gd name="connsiteX1144" fmla="*/ 241997 w 1156578"/>
                    <a:gd name="connsiteY1144" fmla="*/ 282955 h 943688"/>
                    <a:gd name="connsiteX1145" fmla="*/ 243429 w 1156578"/>
                    <a:gd name="connsiteY1145" fmla="*/ 282263 h 943688"/>
                    <a:gd name="connsiteX1146" fmla="*/ 245555 w 1156578"/>
                    <a:gd name="connsiteY1146" fmla="*/ 281680 h 943688"/>
                    <a:gd name="connsiteX1147" fmla="*/ 261389 w 1156578"/>
                    <a:gd name="connsiteY1147" fmla="*/ 280805 h 943688"/>
                    <a:gd name="connsiteX1148" fmla="*/ 263064 w 1156578"/>
                    <a:gd name="connsiteY1148" fmla="*/ 281194 h 943688"/>
                    <a:gd name="connsiteX1149" fmla="*/ 264558 w 1156578"/>
                    <a:gd name="connsiteY1149" fmla="*/ 281971 h 943688"/>
                    <a:gd name="connsiteX1150" fmla="*/ 265590 w 1156578"/>
                    <a:gd name="connsiteY1150" fmla="*/ 283028 h 943688"/>
                    <a:gd name="connsiteX1151" fmla="*/ 266963 w 1156578"/>
                    <a:gd name="connsiteY1151" fmla="*/ 283756 h 943688"/>
                    <a:gd name="connsiteX1152" fmla="*/ 268517 w 1156578"/>
                    <a:gd name="connsiteY1152" fmla="*/ 283756 h 943688"/>
                    <a:gd name="connsiteX1153" fmla="*/ 269840 w 1156578"/>
                    <a:gd name="connsiteY1153" fmla="*/ 283295 h 943688"/>
                    <a:gd name="connsiteX1154" fmla="*/ 272245 w 1156578"/>
                    <a:gd name="connsiteY1154" fmla="*/ 281983 h 943688"/>
                    <a:gd name="connsiteX1155" fmla="*/ 274479 w 1156578"/>
                    <a:gd name="connsiteY1155" fmla="*/ 281230 h 943688"/>
                    <a:gd name="connsiteX1156" fmla="*/ 278110 w 1156578"/>
                    <a:gd name="connsiteY1156" fmla="*/ 280563 h 943688"/>
                    <a:gd name="connsiteX1157" fmla="*/ 281838 w 1156578"/>
                    <a:gd name="connsiteY1157" fmla="*/ 280417 h 943688"/>
                    <a:gd name="connsiteX1158" fmla="*/ 301133 w 1156578"/>
                    <a:gd name="connsiteY1158" fmla="*/ 277163 h 943688"/>
                    <a:gd name="connsiteX1159" fmla="*/ 303488 w 1156578"/>
                    <a:gd name="connsiteY1159" fmla="*/ 277624 h 943688"/>
                    <a:gd name="connsiteX1160" fmla="*/ 305735 w 1156578"/>
                    <a:gd name="connsiteY1160" fmla="*/ 279069 h 943688"/>
                    <a:gd name="connsiteX1161" fmla="*/ 307046 w 1156578"/>
                    <a:gd name="connsiteY1161" fmla="*/ 280635 h 943688"/>
                    <a:gd name="connsiteX1162" fmla="*/ 308078 w 1156578"/>
                    <a:gd name="connsiteY1162" fmla="*/ 281643 h 943688"/>
                    <a:gd name="connsiteX1163" fmla="*/ 309463 w 1156578"/>
                    <a:gd name="connsiteY1163" fmla="*/ 282554 h 943688"/>
                    <a:gd name="connsiteX1164" fmla="*/ 311357 w 1156578"/>
                    <a:gd name="connsiteY1164" fmla="*/ 283246 h 943688"/>
                    <a:gd name="connsiteX1165" fmla="*/ 313470 w 1156578"/>
                    <a:gd name="connsiteY1165" fmla="*/ 283769 h 943688"/>
                    <a:gd name="connsiteX1166" fmla="*/ 315146 w 1156578"/>
                    <a:gd name="connsiteY1166" fmla="*/ 284436 h 943688"/>
                    <a:gd name="connsiteX1167" fmla="*/ 316809 w 1156578"/>
                    <a:gd name="connsiteY1167" fmla="*/ 285553 h 943688"/>
                    <a:gd name="connsiteX1168" fmla="*/ 319554 w 1156578"/>
                    <a:gd name="connsiteY1168" fmla="*/ 288516 h 943688"/>
                    <a:gd name="connsiteX1169" fmla="*/ 320828 w 1156578"/>
                    <a:gd name="connsiteY1169" fmla="*/ 289269 h 943688"/>
                    <a:gd name="connsiteX1170" fmla="*/ 322444 w 1156578"/>
                    <a:gd name="connsiteY1170" fmla="*/ 289706 h 943688"/>
                    <a:gd name="connsiteX1171" fmla="*/ 332024 w 1156578"/>
                    <a:gd name="connsiteY1171" fmla="*/ 289063 h 943688"/>
                    <a:gd name="connsiteX1172" fmla="*/ 334720 w 1156578"/>
                    <a:gd name="connsiteY1172" fmla="*/ 288516 h 943688"/>
                    <a:gd name="connsiteX1173" fmla="*/ 337149 w 1156578"/>
                    <a:gd name="connsiteY1173" fmla="*/ 287472 h 943688"/>
                    <a:gd name="connsiteX1174" fmla="*/ 340403 w 1156578"/>
                    <a:gd name="connsiteY1174" fmla="*/ 284715 h 943688"/>
                    <a:gd name="connsiteX1175" fmla="*/ 342710 w 1156578"/>
                    <a:gd name="connsiteY1175" fmla="*/ 282044 h 943688"/>
                    <a:gd name="connsiteX1176" fmla="*/ 344993 w 1156578"/>
                    <a:gd name="connsiteY1176" fmla="*/ 278340 h 943688"/>
                    <a:gd name="connsiteX1177" fmla="*/ 350396 w 1156578"/>
                    <a:gd name="connsiteY1177" fmla="*/ 263198 h 943688"/>
                    <a:gd name="connsiteX1178" fmla="*/ 351720 w 1156578"/>
                    <a:gd name="connsiteY1178" fmla="*/ 260891 h 943688"/>
                    <a:gd name="connsiteX1179" fmla="*/ 356019 w 1156578"/>
                    <a:gd name="connsiteY1179" fmla="*/ 255233 h 943688"/>
                    <a:gd name="connsiteX1180" fmla="*/ 356480 w 1156578"/>
                    <a:gd name="connsiteY1180" fmla="*/ 253387 h 943688"/>
                    <a:gd name="connsiteX1181" fmla="*/ 356371 w 1156578"/>
                    <a:gd name="connsiteY1181" fmla="*/ 252269 h 943688"/>
                    <a:gd name="connsiteX1182" fmla="*/ 355861 w 1156578"/>
                    <a:gd name="connsiteY1182" fmla="*/ 251614 h 943688"/>
                    <a:gd name="connsiteX1183" fmla="*/ 355679 w 1156578"/>
                    <a:gd name="connsiteY1183" fmla="*/ 251067 h 943688"/>
                    <a:gd name="connsiteX1184" fmla="*/ 355679 w 1156578"/>
                    <a:gd name="connsiteY1184" fmla="*/ 250084 h 943688"/>
                    <a:gd name="connsiteX1185" fmla="*/ 356019 w 1156578"/>
                    <a:gd name="connsiteY1185" fmla="*/ 248627 h 943688"/>
                    <a:gd name="connsiteX1186" fmla="*/ 356662 w 1156578"/>
                    <a:gd name="connsiteY1186" fmla="*/ 246902 h 943688"/>
                    <a:gd name="connsiteX1187" fmla="*/ 357695 w 1156578"/>
                    <a:gd name="connsiteY1187" fmla="*/ 244887 h 943688"/>
                    <a:gd name="connsiteX1188" fmla="*/ 358787 w 1156578"/>
                    <a:gd name="connsiteY1188" fmla="*/ 243223 h 943688"/>
                    <a:gd name="connsiteX1189" fmla="*/ 360220 w 1156578"/>
                    <a:gd name="connsiteY1189" fmla="*/ 241790 h 943688"/>
                    <a:gd name="connsiteX1190" fmla="*/ 362163 w 1156578"/>
                    <a:gd name="connsiteY1190" fmla="*/ 241633 h 943688"/>
                    <a:gd name="connsiteX1191" fmla="*/ 364300 w 1156578"/>
                    <a:gd name="connsiteY1191" fmla="*/ 241814 h 943688"/>
                    <a:gd name="connsiteX1192" fmla="*/ 372448 w 1156578"/>
                    <a:gd name="connsiteY1192" fmla="*/ 245312 h 943688"/>
                    <a:gd name="connsiteX1193" fmla="*/ 374002 w 1156578"/>
                    <a:gd name="connsiteY1193" fmla="*/ 245797 h 943688"/>
                    <a:gd name="connsiteX1194" fmla="*/ 375496 w 1156578"/>
                    <a:gd name="connsiteY1194" fmla="*/ 246113 h 943688"/>
                    <a:gd name="connsiteX1195" fmla="*/ 377330 w 1156578"/>
                    <a:gd name="connsiteY1195" fmla="*/ 246137 h 943688"/>
                    <a:gd name="connsiteX1196" fmla="*/ 379054 w 1156578"/>
                    <a:gd name="connsiteY1196" fmla="*/ 245627 h 943688"/>
                    <a:gd name="connsiteX1197" fmla="*/ 380086 w 1156578"/>
                    <a:gd name="connsiteY1197" fmla="*/ 244219 h 943688"/>
                    <a:gd name="connsiteX1198" fmla="*/ 380669 w 1156578"/>
                    <a:gd name="connsiteY1198" fmla="*/ 241972 h 943688"/>
                    <a:gd name="connsiteX1199" fmla="*/ 380487 w 1156578"/>
                    <a:gd name="connsiteY1199" fmla="*/ 238184 h 943688"/>
                    <a:gd name="connsiteX1200" fmla="*/ 379977 w 1156578"/>
                    <a:gd name="connsiteY1200" fmla="*/ 235767 h 943688"/>
                    <a:gd name="connsiteX1201" fmla="*/ 379285 w 1156578"/>
                    <a:gd name="connsiteY1201" fmla="*/ 233788 h 943688"/>
                    <a:gd name="connsiteX1202" fmla="*/ 378192 w 1156578"/>
                    <a:gd name="connsiteY1202" fmla="*/ 232416 h 943688"/>
                    <a:gd name="connsiteX1203" fmla="*/ 371817 w 1156578"/>
                    <a:gd name="connsiteY1203" fmla="*/ 226599 h 943688"/>
                    <a:gd name="connsiteX1204" fmla="*/ 370554 w 1156578"/>
                    <a:gd name="connsiteY1204" fmla="*/ 225009 h 943688"/>
                    <a:gd name="connsiteX1205" fmla="*/ 369692 w 1156578"/>
                    <a:gd name="connsiteY1205" fmla="*/ 223236 h 943688"/>
                    <a:gd name="connsiteX1206" fmla="*/ 369170 w 1156578"/>
                    <a:gd name="connsiteY1206" fmla="*/ 221208 h 943688"/>
                    <a:gd name="connsiteX1207" fmla="*/ 369000 w 1156578"/>
                    <a:gd name="connsiteY1207" fmla="*/ 216460 h 943688"/>
                    <a:gd name="connsiteX1208" fmla="*/ 369230 w 1156578"/>
                    <a:gd name="connsiteY1208" fmla="*/ 214238 h 943688"/>
                    <a:gd name="connsiteX1209" fmla="*/ 370663 w 1156578"/>
                    <a:gd name="connsiteY1209" fmla="*/ 210133 h 943688"/>
                    <a:gd name="connsiteX1210" fmla="*/ 372047 w 1156578"/>
                    <a:gd name="connsiteY1210" fmla="*/ 204341 h 943688"/>
                    <a:gd name="connsiteX1211" fmla="*/ 372157 w 1156578"/>
                    <a:gd name="connsiteY1211" fmla="*/ 202265 h 943688"/>
                    <a:gd name="connsiteX1212" fmla="*/ 373832 w 1156578"/>
                    <a:gd name="connsiteY1212" fmla="*/ 198914 h 943688"/>
                    <a:gd name="connsiteX1213" fmla="*/ 391112 w 1156578"/>
                    <a:gd name="connsiteY1213" fmla="*/ 171118 h 943688"/>
                    <a:gd name="connsiteX1214" fmla="*/ 393880 w 1156578"/>
                    <a:gd name="connsiteY1214" fmla="*/ 165338 h 943688"/>
                    <a:gd name="connsiteX1215" fmla="*/ 394670 w 1156578"/>
                    <a:gd name="connsiteY1215" fmla="*/ 161780 h 943688"/>
                    <a:gd name="connsiteX1216" fmla="*/ 394791 w 1156578"/>
                    <a:gd name="connsiteY1216" fmla="*/ 156984 h 943688"/>
                    <a:gd name="connsiteX1217" fmla="*/ 395362 w 1156578"/>
                    <a:gd name="connsiteY1217" fmla="*/ 155114 h 943688"/>
                    <a:gd name="connsiteX1218" fmla="*/ 396564 w 1156578"/>
                    <a:gd name="connsiteY1218" fmla="*/ 153717 h 943688"/>
                    <a:gd name="connsiteX1219" fmla="*/ 399029 w 1156578"/>
                    <a:gd name="connsiteY1219" fmla="*/ 153462 h 943688"/>
                    <a:gd name="connsiteX1220" fmla="*/ 400523 w 1156578"/>
                    <a:gd name="connsiteY1220" fmla="*/ 153924 h 943688"/>
                    <a:gd name="connsiteX1221" fmla="*/ 401676 w 1156578"/>
                    <a:gd name="connsiteY1221" fmla="*/ 154774 h 943688"/>
                    <a:gd name="connsiteX1222" fmla="*/ 402769 w 1156578"/>
                    <a:gd name="connsiteY1222" fmla="*/ 155782 h 943688"/>
                    <a:gd name="connsiteX1223" fmla="*/ 403692 w 1156578"/>
                    <a:gd name="connsiteY1223" fmla="*/ 155867 h 943688"/>
                    <a:gd name="connsiteX1224" fmla="*/ 404493 w 1156578"/>
                    <a:gd name="connsiteY1224" fmla="*/ 155175 h 943688"/>
                    <a:gd name="connsiteX1225" fmla="*/ 405173 w 1156578"/>
                    <a:gd name="connsiteY1225" fmla="*/ 153025 h 943688"/>
                    <a:gd name="connsiteX1226" fmla="*/ 405295 w 1156578"/>
                    <a:gd name="connsiteY1226" fmla="*/ 149892 h 943688"/>
                    <a:gd name="connsiteX1227" fmla="*/ 405756 w 1156578"/>
                    <a:gd name="connsiteY1227" fmla="*/ 149164 h 943688"/>
                    <a:gd name="connsiteX1228" fmla="*/ 406788 w 1156578"/>
                    <a:gd name="connsiteY1228" fmla="*/ 148532 h 943688"/>
                    <a:gd name="connsiteX1229" fmla="*/ 410286 w 1156578"/>
                    <a:gd name="connsiteY1229" fmla="*/ 148763 h 943688"/>
                    <a:gd name="connsiteX1230" fmla="*/ 411500 w 1156578"/>
                    <a:gd name="connsiteY1230" fmla="*/ 148557 h 943688"/>
                    <a:gd name="connsiteX1231" fmla="*/ 412301 w 1156578"/>
                    <a:gd name="connsiteY1231" fmla="*/ 148253 h 943688"/>
                    <a:gd name="connsiteX1232" fmla="*/ 413734 w 1156578"/>
                    <a:gd name="connsiteY1232" fmla="*/ 144574 h 943688"/>
                    <a:gd name="connsiteX1233" fmla="*/ 412933 w 1156578"/>
                    <a:gd name="connsiteY1233" fmla="*/ 141404 h 943688"/>
                    <a:gd name="connsiteX1234" fmla="*/ 412763 w 1156578"/>
                    <a:gd name="connsiteY1234" fmla="*/ 140348 h 943688"/>
                    <a:gd name="connsiteX1235" fmla="*/ 413103 w 1156578"/>
                    <a:gd name="connsiteY1235" fmla="*/ 138648 h 943688"/>
                    <a:gd name="connsiteX1236" fmla="*/ 414706 w 1156578"/>
                    <a:gd name="connsiteY1236" fmla="*/ 133937 h 943688"/>
                    <a:gd name="connsiteX1237" fmla="*/ 415009 w 1156578"/>
                    <a:gd name="connsiteY1237" fmla="*/ 132212 h 943688"/>
                    <a:gd name="connsiteX1238" fmla="*/ 414827 w 1156578"/>
                    <a:gd name="connsiteY1238" fmla="*/ 130889 h 943688"/>
                    <a:gd name="connsiteX1239" fmla="*/ 414026 w 1156578"/>
                    <a:gd name="connsiteY1239" fmla="*/ 129893 h 943688"/>
                    <a:gd name="connsiteX1240" fmla="*/ 412641 w 1156578"/>
                    <a:gd name="connsiteY1240" fmla="*/ 128739 h 943688"/>
                    <a:gd name="connsiteX1241" fmla="*/ 407238 w 1156578"/>
                    <a:gd name="connsiteY1241" fmla="*/ 125692 h 943688"/>
                    <a:gd name="connsiteX1242" fmla="*/ 405574 w 1156578"/>
                    <a:gd name="connsiteY1242" fmla="*/ 124344 h 943688"/>
                    <a:gd name="connsiteX1243" fmla="*/ 404445 w 1156578"/>
                    <a:gd name="connsiteY1243" fmla="*/ 122887 h 943688"/>
                    <a:gd name="connsiteX1244" fmla="*/ 403983 w 1156578"/>
                    <a:gd name="connsiteY1244" fmla="*/ 121077 h 943688"/>
                    <a:gd name="connsiteX1245" fmla="*/ 404032 w 1156578"/>
                    <a:gd name="connsiteY1245" fmla="*/ 119159 h 943688"/>
                    <a:gd name="connsiteX1246" fmla="*/ 404955 w 1156578"/>
                    <a:gd name="connsiteY1246" fmla="*/ 111788 h 943688"/>
                    <a:gd name="connsiteX1247" fmla="*/ 405756 w 1156578"/>
                    <a:gd name="connsiteY1247" fmla="*/ 110173 h 943688"/>
                    <a:gd name="connsiteX1248" fmla="*/ 406971 w 1156578"/>
                    <a:gd name="connsiteY1248" fmla="*/ 108862 h 943688"/>
                    <a:gd name="connsiteX1249" fmla="*/ 410164 w 1156578"/>
                    <a:gd name="connsiteY1249" fmla="*/ 107089 h 943688"/>
                    <a:gd name="connsiteX1250" fmla="*/ 412240 w 1156578"/>
                    <a:gd name="connsiteY1250" fmla="*/ 106397 h 943688"/>
                    <a:gd name="connsiteX1251" fmla="*/ 413734 w 1156578"/>
                    <a:gd name="connsiteY1251" fmla="*/ 105534 h 943688"/>
                    <a:gd name="connsiteX1252" fmla="*/ 414888 w 1156578"/>
                    <a:gd name="connsiteY1252" fmla="*/ 104296 h 943688"/>
                    <a:gd name="connsiteX1253" fmla="*/ 415118 w 1156578"/>
                    <a:gd name="connsiteY1253" fmla="*/ 102426 h 943688"/>
                    <a:gd name="connsiteX1254" fmla="*/ 414706 w 1156578"/>
                    <a:gd name="connsiteY1254" fmla="*/ 101163 h 943688"/>
                    <a:gd name="connsiteX1255" fmla="*/ 413843 w 1156578"/>
                    <a:gd name="connsiteY1255" fmla="*/ 100070 h 943688"/>
                    <a:gd name="connsiteX1256" fmla="*/ 412993 w 1156578"/>
                    <a:gd name="connsiteY1256" fmla="*/ 99269 h 943688"/>
                    <a:gd name="connsiteX1257" fmla="*/ 411038 w 1156578"/>
                    <a:gd name="connsiteY1257" fmla="*/ 97119 h 943688"/>
                    <a:gd name="connsiteX1258" fmla="*/ 410225 w 1156578"/>
                    <a:gd name="connsiteY1258" fmla="*/ 95771 h 943688"/>
                    <a:gd name="connsiteX1259" fmla="*/ 410747 w 1156578"/>
                    <a:gd name="connsiteY1259" fmla="*/ 93561 h 943688"/>
                    <a:gd name="connsiteX1260" fmla="*/ 412240 w 1156578"/>
                    <a:gd name="connsiteY1260" fmla="*/ 90295 h 943688"/>
                    <a:gd name="connsiteX1261" fmla="*/ 421311 w 1156578"/>
                    <a:gd name="connsiteY1261" fmla="*/ 77181 h 943688"/>
                    <a:gd name="connsiteX1262" fmla="*/ 424760 w 1156578"/>
                    <a:gd name="connsiteY1262" fmla="*/ 73805 h 943688"/>
                    <a:gd name="connsiteX1263" fmla="*/ 427856 w 1156578"/>
                    <a:gd name="connsiteY1263" fmla="*/ 71826 h 943688"/>
                    <a:gd name="connsiteX1264" fmla="*/ 432398 w 1156578"/>
                    <a:gd name="connsiteY1264" fmla="*/ 69494 h 943688"/>
                    <a:gd name="connsiteX1265" fmla="*/ 443132 w 1156578"/>
                    <a:gd name="connsiteY1265" fmla="*/ 65572 h 943688"/>
                    <a:gd name="connsiteX1266" fmla="*/ 445318 w 1156578"/>
                    <a:gd name="connsiteY1266" fmla="*/ 64139 h 943688"/>
                    <a:gd name="connsiteX1267" fmla="*/ 460994 w 1156578"/>
                    <a:gd name="connsiteY1267" fmla="*/ 50296 h 943688"/>
                    <a:gd name="connsiteX1268" fmla="*/ 465645 w 1156578"/>
                    <a:gd name="connsiteY1268" fmla="*/ 47139 h 943688"/>
                    <a:gd name="connsiteX1269" fmla="*/ 472312 w 1156578"/>
                    <a:gd name="connsiteY1269" fmla="*/ 45075 h 943688"/>
                    <a:gd name="connsiteX1270" fmla="*/ 480059 w 1156578"/>
                    <a:gd name="connsiteY1270" fmla="*/ 44358 h 943688"/>
                    <a:gd name="connsiteX1271" fmla="*/ 482585 w 1156578"/>
                    <a:gd name="connsiteY1271" fmla="*/ 43812 h 943688"/>
                    <a:gd name="connsiteX1272" fmla="*/ 485159 w 1156578"/>
                    <a:gd name="connsiteY1272" fmla="*/ 42695 h 943688"/>
                    <a:gd name="connsiteX1273" fmla="*/ 487065 w 1156578"/>
                    <a:gd name="connsiteY1273" fmla="*/ 41201 h 943688"/>
                    <a:gd name="connsiteX1274" fmla="*/ 492408 w 1156578"/>
                    <a:gd name="connsiteY1274" fmla="*/ 34972 h 943688"/>
                    <a:gd name="connsiteX1275" fmla="*/ 493319 w 1156578"/>
                    <a:gd name="connsiteY1275" fmla="*/ 33648 h 943688"/>
                    <a:gd name="connsiteX1276" fmla="*/ 493950 w 1156578"/>
                    <a:gd name="connsiteY1276" fmla="*/ 32215 h 943688"/>
                    <a:gd name="connsiteX1277" fmla="*/ 494363 w 1156578"/>
                    <a:gd name="connsiteY1277" fmla="*/ 30782 h 943688"/>
                    <a:gd name="connsiteX1278" fmla="*/ 494691 w 1156578"/>
                    <a:gd name="connsiteY1278" fmla="*/ 29022 h 943688"/>
                    <a:gd name="connsiteX1279" fmla="*/ 494813 w 1156578"/>
                    <a:gd name="connsiteY1279" fmla="*/ 26812 h 943688"/>
                    <a:gd name="connsiteX1280" fmla="*/ 494424 w 1156578"/>
                    <a:gd name="connsiteY1280" fmla="*/ 23399 h 943688"/>
                    <a:gd name="connsiteX1281" fmla="*/ 493610 w 1156578"/>
                    <a:gd name="connsiteY1281" fmla="*/ 20582 h 943688"/>
                    <a:gd name="connsiteX1282" fmla="*/ 489882 w 1156578"/>
                    <a:gd name="connsiteY1282" fmla="*/ 14122 h 943688"/>
                    <a:gd name="connsiteX1283" fmla="*/ 489360 w 1156578"/>
                    <a:gd name="connsiteY1283" fmla="*/ 12859 h 943688"/>
                    <a:gd name="connsiteX1284" fmla="*/ 489761 w 1156578"/>
                    <a:gd name="connsiteY1284" fmla="*/ 9532 h 943688"/>
                    <a:gd name="connsiteX1285" fmla="*/ 496767 w 1156578"/>
                    <a:gd name="connsiteY1285" fmla="*/ 11087 h 943688"/>
                    <a:gd name="connsiteX1286" fmla="*/ 502110 w 1156578"/>
                    <a:gd name="connsiteY1286" fmla="*/ 13697 h 943688"/>
                    <a:gd name="connsiteX1287" fmla="*/ 507903 w 1156578"/>
                    <a:gd name="connsiteY1287" fmla="*/ 17377 h 943688"/>
                    <a:gd name="connsiteX1288" fmla="*/ 518698 w 1156578"/>
                    <a:gd name="connsiteY1288" fmla="*/ 31754 h 943688"/>
                    <a:gd name="connsiteX1289" fmla="*/ 519863 w 1156578"/>
                    <a:gd name="connsiteY1289" fmla="*/ 34632 h 943688"/>
                    <a:gd name="connsiteX1290" fmla="*/ 521053 w 1156578"/>
                    <a:gd name="connsiteY1290" fmla="*/ 36830 h 943688"/>
                    <a:gd name="connsiteX1291" fmla="*/ 523069 w 1156578"/>
                    <a:gd name="connsiteY1291" fmla="*/ 39622 h 943688"/>
                    <a:gd name="connsiteX1292" fmla="*/ 528874 w 1156578"/>
                    <a:gd name="connsiteY1292" fmla="*/ 44042 h 943688"/>
                    <a:gd name="connsiteX1293" fmla="*/ 530756 w 1156578"/>
                    <a:gd name="connsiteY1293" fmla="*/ 44783 h 943688"/>
                    <a:gd name="connsiteX1294" fmla="*/ 532079 w 1156578"/>
                    <a:gd name="connsiteY1294" fmla="*/ 44929 h 943688"/>
                    <a:gd name="connsiteX1295" fmla="*/ 536159 w 1156578"/>
                    <a:gd name="connsiteY1295" fmla="*/ 44783 h 943688"/>
                    <a:gd name="connsiteX1296" fmla="*/ 538685 w 1156578"/>
                    <a:gd name="connsiteY1296" fmla="*/ 45415 h 943688"/>
                    <a:gd name="connsiteX1297" fmla="*/ 550282 w 1156578"/>
                    <a:gd name="connsiteY1297" fmla="*/ 51158 h 943688"/>
                    <a:gd name="connsiteX1298" fmla="*/ 553682 w 1156578"/>
                    <a:gd name="connsiteY1298" fmla="*/ 51996 h 943688"/>
                    <a:gd name="connsiteX1299" fmla="*/ 571932 w 1156578"/>
                    <a:gd name="connsiteY1299" fmla="*/ 51049 h 943688"/>
                    <a:gd name="connsiteX1300" fmla="*/ 574288 w 1156578"/>
                    <a:gd name="connsiteY1300" fmla="*/ 50612 h 943688"/>
                    <a:gd name="connsiteX1301" fmla="*/ 586225 w 1156578"/>
                    <a:gd name="connsiteY1301" fmla="*/ 44443 h 943688"/>
                    <a:gd name="connsiteX1302" fmla="*/ 587439 w 1156578"/>
                    <a:gd name="connsiteY1302" fmla="*/ 43618 h 943688"/>
                    <a:gd name="connsiteX1303" fmla="*/ 588641 w 1156578"/>
                    <a:gd name="connsiteY1303" fmla="*/ 42488 h 943688"/>
                    <a:gd name="connsiteX1304" fmla="*/ 589321 w 1156578"/>
                    <a:gd name="connsiteY1304" fmla="*/ 41626 h 943688"/>
                    <a:gd name="connsiteX1305" fmla="*/ 589843 w 1156578"/>
                    <a:gd name="connsiteY1305" fmla="*/ 40023 h 943688"/>
                    <a:gd name="connsiteX1306" fmla="*/ 590074 w 1156578"/>
                    <a:gd name="connsiteY1306" fmla="*/ 38469 h 943688"/>
                    <a:gd name="connsiteX1307" fmla="*/ 589965 w 1156578"/>
                    <a:gd name="connsiteY1307" fmla="*/ 36514 h 943688"/>
                    <a:gd name="connsiteX1308" fmla="*/ 590074 w 1156578"/>
                    <a:gd name="connsiteY1308" fmla="*/ 34935 h 943688"/>
                    <a:gd name="connsiteX1309" fmla="*/ 590657 w 1156578"/>
                    <a:gd name="connsiteY1309" fmla="*/ 33648 h 943688"/>
                    <a:gd name="connsiteX1310" fmla="*/ 592260 w 1156578"/>
                    <a:gd name="connsiteY1310" fmla="*/ 32786 h 943688"/>
                    <a:gd name="connsiteX1311" fmla="*/ 594785 w 1156578"/>
                    <a:gd name="connsiteY1311" fmla="*/ 32470 h 943688"/>
                    <a:gd name="connsiteX1312" fmla="*/ 632975 w 1156578"/>
                    <a:gd name="connsiteY1312" fmla="*/ 31632 h 943688"/>
                    <a:gd name="connsiteX1313" fmla="*/ 635731 w 1156578"/>
                    <a:gd name="connsiteY1313" fmla="*/ 30952 h 943688"/>
                    <a:gd name="connsiteX1314" fmla="*/ 637456 w 1156578"/>
                    <a:gd name="connsiteY1314" fmla="*/ 30030 h 943688"/>
                    <a:gd name="connsiteX1315" fmla="*/ 638257 w 1156578"/>
                    <a:gd name="connsiteY1315" fmla="*/ 28961 h 943688"/>
                    <a:gd name="connsiteX1316" fmla="*/ 639581 w 1156578"/>
                    <a:gd name="connsiteY1316" fmla="*/ 28026 h 943688"/>
                    <a:gd name="connsiteX1317" fmla="*/ 641354 w 1156578"/>
                    <a:gd name="connsiteY1317" fmla="*/ 27467 h 943688"/>
                    <a:gd name="connsiteX1318" fmla="*/ 645555 w 1156578"/>
                    <a:gd name="connsiteY1318" fmla="*/ 27127 h 943688"/>
                    <a:gd name="connsiteX1319" fmla="*/ 648724 w 1156578"/>
                    <a:gd name="connsiteY1319" fmla="*/ 27540 h 943688"/>
                    <a:gd name="connsiteX1320" fmla="*/ 660126 w 1156578"/>
                    <a:gd name="connsiteY1320" fmla="*/ 30321 h 943688"/>
                    <a:gd name="connsiteX1321" fmla="*/ 665700 w 1156578"/>
                    <a:gd name="connsiteY1321" fmla="*/ 32665 h 943688"/>
                    <a:gd name="connsiteX1322" fmla="*/ 667194 w 1156578"/>
                    <a:gd name="connsiteY1322" fmla="*/ 32446 h 943688"/>
                    <a:gd name="connsiteX1323" fmla="*/ 668165 w 1156578"/>
                    <a:gd name="connsiteY1323" fmla="*/ 32106 h 943688"/>
                    <a:gd name="connsiteX1324" fmla="*/ 671213 w 1156578"/>
                    <a:gd name="connsiteY1324" fmla="*/ 28912 h 943688"/>
                    <a:gd name="connsiteX1325" fmla="*/ 672427 w 1156578"/>
                    <a:gd name="connsiteY1325" fmla="*/ 28087 h 943688"/>
                    <a:gd name="connsiteX1326" fmla="*/ 674042 w 1156578"/>
                    <a:gd name="connsiteY1326" fmla="*/ 27674 h 943688"/>
                    <a:gd name="connsiteX1327" fmla="*/ 679835 w 1156578"/>
                    <a:gd name="connsiteY1327" fmla="*/ 27103 h 943688"/>
                    <a:gd name="connsiteX1328" fmla="*/ 680709 w 1156578"/>
                    <a:gd name="connsiteY1328" fmla="*/ 26727 h 943688"/>
                    <a:gd name="connsiteX1329" fmla="*/ 690120 w 1156578"/>
                    <a:gd name="connsiteY1329" fmla="*/ 20752 h 943688"/>
                    <a:gd name="connsiteX1330" fmla="*/ 695232 w 1156578"/>
                    <a:gd name="connsiteY1330" fmla="*/ 16660 h 943688"/>
                    <a:gd name="connsiteX1331" fmla="*/ 699360 w 1156578"/>
                    <a:gd name="connsiteY1331" fmla="*/ 27819 h 943688"/>
                    <a:gd name="connsiteX1332" fmla="*/ 701777 w 1156578"/>
                    <a:gd name="connsiteY1332" fmla="*/ 38214 h 943688"/>
                    <a:gd name="connsiteX1333" fmla="*/ 702566 w 1156578"/>
                    <a:gd name="connsiteY1333" fmla="*/ 45390 h 943688"/>
                    <a:gd name="connsiteX1334" fmla="*/ 702566 w 1156578"/>
                    <a:gd name="connsiteY1334" fmla="*/ 50648 h 943688"/>
                    <a:gd name="connsiteX1335" fmla="*/ 701473 w 1156578"/>
                    <a:gd name="connsiteY1335" fmla="*/ 55785 h 943688"/>
                    <a:gd name="connsiteX1336" fmla="*/ 700453 w 1156578"/>
                    <a:gd name="connsiteY1336" fmla="*/ 58663 h 943688"/>
                    <a:gd name="connsiteX1337" fmla="*/ 699348 w 1156578"/>
                    <a:gd name="connsiteY1337" fmla="*/ 60642 h 943688"/>
                    <a:gd name="connsiteX1338" fmla="*/ 690387 w 1156578"/>
                    <a:gd name="connsiteY1338" fmla="*/ 73186 h 943688"/>
                    <a:gd name="connsiteX1339" fmla="*/ 684595 w 1156578"/>
                    <a:gd name="connsiteY1339" fmla="*/ 85960 h 943688"/>
                    <a:gd name="connsiteX1340" fmla="*/ 682810 w 1156578"/>
                    <a:gd name="connsiteY1340" fmla="*/ 88911 h 943688"/>
                    <a:gd name="connsiteX1341" fmla="*/ 681510 w 1156578"/>
                    <a:gd name="connsiteY1341" fmla="*/ 90671 h 943688"/>
                    <a:gd name="connsiteX1342" fmla="*/ 680187 w 1156578"/>
                    <a:gd name="connsiteY1342" fmla="*/ 93598 h 943688"/>
                    <a:gd name="connsiteX1343" fmla="*/ 680357 w 1156578"/>
                    <a:gd name="connsiteY1343" fmla="*/ 94812 h 943688"/>
                    <a:gd name="connsiteX1344" fmla="*/ 681280 w 1156578"/>
                    <a:gd name="connsiteY1344" fmla="*/ 95322 h 943688"/>
                    <a:gd name="connsiteX1345" fmla="*/ 683526 w 1156578"/>
                    <a:gd name="connsiteY1345" fmla="*/ 94897 h 943688"/>
                    <a:gd name="connsiteX1346" fmla="*/ 690921 w 1156578"/>
                    <a:gd name="connsiteY1346" fmla="*/ 92226 h 943688"/>
                    <a:gd name="connsiteX1347" fmla="*/ 692366 w 1156578"/>
                    <a:gd name="connsiteY1347" fmla="*/ 91983 h 943688"/>
                    <a:gd name="connsiteX1348" fmla="*/ 694540 w 1156578"/>
                    <a:gd name="connsiteY1348" fmla="*/ 91922 h 943688"/>
                    <a:gd name="connsiteX1349" fmla="*/ 697818 w 1156578"/>
                    <a:gd name="connsiteY1349" fmla="*/ 92347 h 943688"/>
                    <a:gd name="connsiteX1350" fmla="*/ 701328 w 1156578"/>
                    <a:gd name="connsiteY1350" fmla="*/ 93452 h 943688"/>
                    <a:gd name="connsiteX1351" fmla="*/ 703404 w 1156578"/>
                    <a:gd name="connsiteY1351" fmla="*/ 94423 h 943688"/>
                    <a:gd name="connsiteX1352" fmla="*/ 718036 w 1156578"/>
                    <a:gd name="connsiteY1352" fmla="*/ 104041 h 943688"/>
                    <a:gd name="connsiteX1353" fmla="*/ 721934 w 1156578"/>
                    <a:gd name="connsiteY1353" fmla="*/ 108546 h 943688"/>
                    <a:gd name="connsiteX1354" fmla="*/ 723258 w 1156578"/>
                    <a:gd name="connsiteY1354" fmla="*/ 109675 h 943688"/>
                    <a:gd name="connsiteX1355" fmla="*/ 724229 w 1156578"/>
                    <a:gd name="connsiteY1355" fmla="*/ 110039 h 943688"/>
                    <a:gd name="connsiteX1356" fmla="*/ 725213 w 1156578"/>
                    <a:gd name="connsiteY1356" fmla="*/ 109784 h 943688"/>
                    <a:gd name="connsiteX1357" fmla="*/ 726475 w 1156578"/>
                    <a:gd name="connsiteY1357" fmla="*/ 108837 h 943688"/>
                    <a:gd name="connsiteX1358" fmla="*/ 735024 w 1156578"/>
                    <a:gd name="connsiteY1358" fmla="*/ 98989 h 943688"/>
                    <a:gd name="connsiteX1359" fmla="*/ 743706 w 1156578"/>
                    <a:gd name="connsiteY1359" fmla="*/ 90829 h 943688"/>
                    <a:gd name="connsiteX1360" fmla="*/ 745771 w 1156578"/>
                    <a:gd name="connsiteY1360" fmla="*/ 89712 h 943688"/>
                    <a:gd name="connsiteX1361" fmla="*/ 754040 w 1156578"/>
                    <a:gd name="connsiteY1361" fmla="*/ 86846 h 943688"/>
                    <a:gd name="connsiteX1362" fmla="*/ 757258 w 1156578"/>
                    <a:gd name="connsiteY1362" fmla="*/ 84721 h 943688"/>
                    <a:gd name="connsiteX1363" fmla="*/ 759832 w 1156578"/>
                    <a:gd name="connsiteY1363" fmla="*/ 83883 h 943688"/>
                    <a:gd name="connsiteX1364" fmla="*/ 762722 w 1156578"/>
                    <a:gd name="connsiteY1364" fmla="*/ 83398 h 943688"/>
                    <a:gd name="connsiteX1365" fmla="*/ 764835 w 1156578"/>
                    <a:gd name="connsiteY1365" fmla="*/ 83458 h 943688"/>
                    <a:gd name="connsiteX1366" fmla="*/ 767093 w 1156578"/>
                    <a:gd name="connsiteY1366" fmla="*/ 83798 h 943688"/>
                    <a:gd name="connsiteX1367" fmla="*/ 769425 w 1156578"/>
                    <a:gd name="connsiteY1367" fmla="*/ 84661 h 943688"/>
                    <a:gd name="connsiteX1368" fmla="*/ 786207 w 1156578"/>
                    <a:gd name="connsiteY1368" fmla="*/ 94581 h 943688"/>
                    <a:gd name="connsiteX1369" fmla="*/ 797281 w 1156578"/>
                    <a:gd name="connsiteY1369" fmla="*/ 97629 h 943688"/>
                    <a:gd name="connsiteX1370" fmla="*/ 805963 w 1156578"/>
                    <a:gd name="connsiteY1370" fmla="*/ 99099 h 943688"/>
                    <a:gd name="connsiteX1371" fmla="*/ 810310 w 1156578"/>
                    <a:gd name="connsiteY1371" fmla="*/ 100847 h 943688"/>
                    <a:gd name="connsiteX1372" fmla="*/ 811476 w 1156578"/>
                    <a:gd name="connsiteY1372" fmla="*/ 100617 h 943688"/>
                    <a:gd name="connsiteX1373" fmla="*/ 815313 w 1156578"/>
                    <a:gd name="connsiteY1373" fmla="*/ 98552 h 943688"/>
                    <a:gd name="connsiteX1374" fmla="*/ 817560 w 1156578"/>
                    <a:gd name="connsiteY1374" fmla="*/ 97690 h 943688"/>
                    <a:gd name="connsiteX1375" fmla="*/ 820656 w 1156578"/>
                    <a:gd name="connsiteY1375" fmla="*/ 96864 h 943688"/>
                    <a:gd name="connsiteX1376" fmla="*/ 822951 w 1156578"/>
                    <a:gd name="connsiteY1376" fmla="*/ 95881 h 943688"/>
                    <a:gd name="connsiteX1377" fmla="*/ 824724 w 1156578"/>
                    <a:gd name="connsiteY1377" fmla="*/ 94678 h 943688"/>
                    <a:gd name="connsiteX1378" fmla="*/ 826740 w 1156578"/>
                    <a:gd name="connsiteY1378" fmla="*/ 92821 h 943688"/>
                    <a:gd name="connsiteX1379" fmla="*/ 829326 w 1156578"/>
                    <a:gd name="connsiteY1379" fmla="*/ 91145 h 943688"/>
                    <a:gd name="connsiteX1380" fmla="*/ 831512 w 1156578"/>
                    <a:gd name="connsiteY1380" fmla="*/ 90380 h 943688"/>
                    <a:gd name="connsiteX1381" fmla="*/ 832641 w 1156578"/>
                    <a:gd name="connsiteY1381" fmla="*/ 90975 h 943688"/>
                    <a:gd name="connsiteX1382" fmla="*/ 833297 w 1156578"/>
                    <a:gd name="connsiteY1382" fmla="*/ 92760 h 943688"/>
                    <a:gd name="connsiteX1383" fmla="*/ 833103 w 1156578"/>
                    <a:gd name="connsiteY1383" fmla="*/ 94885 h 943688"/>
                    <a:gd name="connsiteX1384" fmla="*/ 832362 w 1156578"/>
                    <a:gd name="connsiteY1384" fmla="*/ 96719 h 943688"/>
                    <a:gd name="connsiteX1385" fmla="*/ 829715 w 1156578"/>
                    <a:gd name="connsiteY1385" fmla="*/ 100070 h 943688"/>
                    <a:gd name="connsiteX1386" fmla="*/ 829071 w 1156578"/>
                    <a:gd name="connsiteY1386" fmla="*/ 101624 h 943688"/>
                    <a:gd name="connsiteX1387" fmla="*/ 828962 w 1156578"/>
                    <a:gd name="connsiteY1387" fmla="*/ 103227 h 943688"/>
                    <a:gd name="connsiteX1388" fmla="*/ 829023 w 1156578"/>
                    <a:gd name="connsiteY1388" fmla="*/ 105243 h 943688"/>
                    <a:gd name="connsiteX1389" fmla="*/ 828792 w 1156578"/>
                    <a:gd name="connsiteY1389" fmla="*/ 107975 h 943688"/>
                    <a:gd name="connsiteX1390" fmla="*/ 829375 w 1156578"/>
                    <a:gd name="connsiteY1390" fmla="*/ 111411 h 943688"/>
                    <a:gd name="connsiteX1391" fmla="*/ 830104 w 1156578"/>
                    <a:gd name="connsiteY1391" fmla="*/ 113451 h 943688"/>
                    <a:gd name="connsiteX1392" fmla="*/ 839429 w 1156578"/>
                    <a:gd name="connsiteY1392" fmla="*/ 118503 h 943688"/>
                    <a:gd name="connsiteX1393" fmla="*/ 847516 w 1156578"/>
                    <a:gd name="connsiteY1393" fmla="*/ 116560 h 943688"/>
                    <a:gd name="connsiteX1394" fmla="*/ 851256 w 1156578"/>
                    <a:gd name="connsiteY1394" fmla="*/ 114289 h 943688"/>
                    <a:gd name="connsiteX1395" fmla="*/ 854826 w 1156578"/>
                    <a:gd name="connsiteY1395" fmla="*/ 111411 h 943688"/>
                    <a:gd name="connsiteX1396" fmla="*/ 863715 w 1156578"/>
                    <a:gd name="connsiteY1396" fmla="*/ 98917 h 943688"/>
                    <a:gd name="connsiteX1397" fmla="*/ 865087 w 1156578"/>
                    <a:gd name="connsiteY1397" fmla="*/ 96549 h 943688"/>
                    <a:gd name="connsiteX1398" fmla="*/ 865658 w 1156578"/>
                    <a:gd name="connsiteY1398" fmla="*/ 95213 h 943688"/>
                    <a:gd name="connsiteX1399" fmla="*/ 865658 w 1156578"/>
                    <a:gd name="connsiteY1399" fmla="*/ 93853 h 943688"/>
                    <a:gd name="connsiteX1400" fmla="*/ 865427 w 1156578"/>
                    <a:gd name="connsiteY1400" fmla="*/ 92396 h 943688"/>
                    <a:gd name="connsiteX1401" fmla="*/ 865318 w 1156578"/>
                    <a:gd name="connsiteY1401" fmla="*/ 89530 h 943688"/>
                    <a:gd name="connsiteX1402" fmla="*/ 866119 w 1156578"/>
                    <a:gd name="connsiteY1402" fmla="*/ 86312 h 943688"/>
                    <a:gd name="connsiteX1403" fmla="*/ 867588 w 1156578"/>
                    <a:gd name="connsiteY1403" fmla="*/ 81916 h 943688"/>
                    <a:gd name="connsiteX1404" fmla="*/ 868305 w 1156578"/>
                    <a:gd name="connsiteY1404" fmla="*/ 78881 h 943688"/>
                    <a:gd name="connsiteX1405" fmla="*/ 868001 w 1156578"/>
                    <a:gd name="connsiteY1405" fmla="*/ 76100 h 943688"/>
                    <a:gd name="connsiteX1406" fmla="*/ 865087 w 1156578"/>
                    <a:gd name="connsiteY1406" fmla="*/ 70818 h 943688"/>
                    <a:gd name="connsiteX1407" fmla="*/ 863824 w 1156578"/>
                    <a:gd name="connsiteY1407" fmla="*/ 67600 h 943688"/>
                    <a:gd name="connsiteX1408" fmla="*/ 863982 w 1156578"/>
                    <a:gd name="connsiteY1408" fmla="*/ 63969 h 943688"/>
                    <a:gd name="connsiteX1409" fmla="*/ 865148 w 1156578"/>
                    <a:gd name="connsiteY1409" fmla="*/ 61625 h 943688"/>
                    <a:gd name="connsiteX1410" fmla="*/ 868572 w 1156578"/>
                    <a:gd name="connsiteY1410" fmla="*/ 56574 h 943688"/>
                    <a:gd name="connsiteX1411" fmla="*/ 869167 w 1156578"/>
                    <a:gd name="connsiteY1411" fmla="*/ 53502 h 943688"/>
                    <a:gd name="connsiteX1412" fmla="*/ 869228 w 1156578"/>
                    <a:gd name="connsiteY1412" fmla="*/ 49798 h 943688"/>
                    <a:gd name="connsiteX1413" fmla="*/ 867965 w 1156578"/>
                    <a:gd name="connsiteY1413" fmla="*/ 38275 h 943688"/>
                    <a:gd name="connsiteX1414" fmla="*/ 867212 w 1156578"/>
                    <a:gd name="connsiteY1414" fmla="*/ 34899 h 943688"/>
                    <a:gd name="connsiteX1415" fmla="*/ 865779 w 1156578"/>
                    <a:gd name="connsiteY1415" fmla="*/ 32167 h 943688"/>
                    <a:gd name="connsiteX1416" fmla="*/ 861189 w 1156578"/>
                    <a:gd name="connsiteY1416" fmla="*/ 26593 h 943688"/>
                    <a:gd name="connsiteX1417" fmla="*/ 859356 w 1156578"/>
                    <a:gd name="connsiteY1417" fmla="*/ 23582 h 943688"/>
                    <a:gd name="connsiteX1418" fmla="*/ 858664 w 1156578"/>
                    <a:gd name="connsiteY1418" fmla="*/ 20048 h 943688"/>
                    <a:gd name="connsiteX1419" fmla="*/ 858724 w 1156578"/>
                    <a:gd name="connsiteY1419" fmla="*/ 18275 h 943688"/>
                    <a:gd name="connsiteX1420" fmla="*/ 858834 w 1156578"/>
                    <a:gd name="connsiteY1420" fmla="*/ 17474 h 943688"/>
                    <a:gd name="connsiteX1421" fmla="*/ 858882 w 1156578"/>
                    <a:gd name="connsiteY1421" fmla="*/ 17328 h 943688"/>
                    <a:gd name="connsiteX1422" fmla="*/ 859003 w 1156578"/>
                    <a:gd name="connsiteY1422" fmla="*/ 17207 h 943688"/>
                    <a:gd name="connsiteX1423" fmla="*/ 860266 w 1156578"/>
                    <a:gd name="connsiteY1423" fmla="*/ 16199 h 943688"/>
                    <a:gd name="connsiteX1424" fmla="*/ 864055 w 1156578"/>
                    <a:gd name="connsiteY1424" fmla="*/ 14705 h 943688"/>
                    <a:gd name="connsiteX1425" fmla="*/ 865548 w 1156578"/>
                    <a:gd name="connsiteY1425" fmla="*/ 14365 h 943688"/>
                    <a:gd name="connsiteX1426" fmla="*/ 868329 w 1156578"/>
                    <a:gd name="connsiteY1426" fmla="*/ 14025 h 943688"/>
                    <a:gd name="connsiteX1427" fmla="*/ 869410 w 1156578"/>
                    <a:gd name="connsiteY1427" fmla="*/ 13758 h 943688"/>
                    <a:gd name="connsiteX1428" fmla="*/ 870090 w 1156578"/>
                    <a:gd name="connsiteY1428" fmla="*/ 13527 h 943688"/>
                    <a:gd name="connsiteX1429" fmla="*/ 871535 w 1156578"/>
                    <a:gd name="connsiteY1429" fmla="*/ 12507 h 943688"/>
                    <a:gd name="connsiteX1430" fmla="*/ 874413 w 1156578"/>
                    <a:gd name="connsiteY1430" fmla="*/ 7857 h 943688"/>
                    <a:gd name="connsiteX1431" fmla="*/ 876186 w 1156578"/>
                    <a:gd name="connsiteY1431" fmla="*/ 6873 h 943688"/>
                    <a:gd name="connsiteX1432" fmla="*/ 877946 w 1156578"/>
                    <a:gd name="connsiteY1432" fmla="*/ 6181 h 943688"/>
                    <a:gd name="connsiteX1433" fmla="*/ 877000 w 1156578"/>
                    <a:gd name="connsiteY1433" fmla="*/ 0 h 943688"/>
                    <a:gd name="connsiteX1434" fmla="*/ 875615 w 1156578"/>
                    <a:gd name="connsiteY1434" fmla="*/ 571 h 943688"/>
                    <a:gd name="connsiteX1435" fmla="*/ 873830 w 1156578"/>
                    <a:gd name="connsiteY1435" fmla="*/ 1311 h 943688"/>
                    <a:gd name="connsiteX1436" fmla="*/ 873514 w 1156578"/>
                    <a:gd name="connsiteY1436" fmla="*/ 1445 h 943688"/>
                    <a:gd name="connsiteX1437" fmla="*/ 873211 w 1156578"/>
                    <a:gd name="connsiteY1437" fmla="*/ 1615 h 943688"/>
                    <a:gd name="connsiteX1438" fmla="*/ 871438 w 1156578"/>
                    <a:gd name="connsiteY1438" fmla="*/ 2599 h 943688"/>
                    <a:gd name="connsiteX1439" fmla="*/ 870066 w 1156578"/>
                    <a:gd name="connsiteY1439" fmla="*/ 3364 h 943688"/>
                    <a:gd name="connsiteX1440" fmla="*/ 869240 w 1156578"/>
                    <a:gd name="connsiteY1440" fmla="*/ 4699 h 943688"/>
                    <a:gd name="connsiteX1441" fmla="*/ 867127 w 1156578"/>
                    <a:gd name="connsiteY1441" fmla="*/ 8087 h 943688"/>
                    <a:gd name="connsiteX1442" fmla="*/ 864796 w 1156578"/>
                    <a:gd name="connsiteY1442" fmla="*/ 8379 h 943688"/>
                    <a:gd name="connsiteX1443" fmla="*/ 862707 w 1156578"/>
                    <a:gd name="connsiteY1443" fmla="*/ 8816 h 943688"/>
                    <a:gd name="connsiteX1444" fmla="*/ 862258 w 1156578"/>
                    <a:gd name="connsiteY1444" fmla="*/ 8925 h 943688"/>
                    <a:gd name="connsiteX1445" fmla="*/ 861821 w 1156578"/>
                    <a:gd name="connsiteY1445" fmla="*/ 9095 h 943688"/>
                    <a:gd name="connsiteX1446" fmla="*/ 858032 w 1156578"/>
                    <a:gd name="connsiteY1446" fmla="*/ 10589 h 943688"/>
                    <a:gd name="connsiteX1447" fmla="*/ 857194 w 1156578"/>
                    <a:gd name="connsiteY1447" fmla="*/ 10917 h 943688"/>
                    <a:gd name="connsiteX1448" fmla="*/ 856490 w 1156578"/>
                    <a:gd name="connsiteY1448" fmla="*/ 11475 h 943688"/>
                    <a:gd name="connsiteX1449" fmla="*/ 855227 w 1156578"/>
                    <a:gd name="connsiteY1449" fmla="*/ 12483 h 943688"/>
                    <a:gd name="connsiteX1450" fmla="*/ 854948 w 1156578"/>
                    <a:gd name="connsiteY1450" fmla="*/ 12702 h 943688"/>
                    <a:gd name="connsiteX1451" fmla="*/ 854705 w 1156578"/>
                    <a:gd name="connsiteY1451" fmla="*/ 12944 h 943688"/>
                    <a:gd name="connsiteX1452" fmla="*/ 853660 w 1156578"/>
                    <a:gd name="connsiteY1452" fmla="*/ 13989 h 943688"/>
                    <a:gd name="connsiteX1453" fmla="*/ 853090 w 1156578"/>
                    <a:gd name="connsiteY1453" fmla="*/ 15507 h 943688"/>
                    <a:gd name="connsiteX1454" fmla="*/ 852920 w 1156578"/>
                    <a:gd name="connsiteY1454" fmla="*/ 16017 h 943688"/>
                    <a:gd name="connsiteX1455" fmla="*/ 852799 w 1156578"/>
                    <a:gd name="connsiteY1455" fmla="*/ 16709 h 943688"/>
                    <a:gd name="connsiteX1456" fmla="*/ 852701 w 1156578"/>
                    <a:gd name="connsiteY1456" fmla="*/ 17510 h 943688"/>
                    <a:gd name="connsiteX1457" fmla="*/ 852580 w 1156578"/>
                    <a:gd name="connsiteY1457" fmla="*/ 19878 h 943688"/>
                    <a:gd name="connsiteX1458" fmla="*/ 852556 w 1156578"/>
                    <a:gd name="connsiteY1458" fmla="*/ 20570 h 943688"/>
                    <a:gd name="connsiteX1459" fmla="*/ 852689 w 1156578"/>
                    <a:gd name="connsiteY1459" fmla="*/ 21250 h 943688"/>
                    <a:gd name="connsiteX1460" fmla="*/ 853381 w 1156578"/>
                    <a:gd name="connsiteY1460" fmla="*/ 24784 h 943688"/>
                    <a:gd name="connsiteX1461" fmla="*/ 853600 w 1156578"/>
                    <a:gd name="connsiteY1461" fmla="*/ 25852 h 943688"/>
                    <a:gd name="connsiteX1462" fmla="*/ 854171 w 1156578"/>
                    <a:gd name="connsiteY1462" fmla="*/ 26787 h 943688"/>
                    <a:gd name="connsiteX1463" fmla="*/ 856004 w 1156578"/>
                    <a:gd name="connsiteY1463" fmla="*/ 29799 h 943688"/>
                    <a:gd name="connsiteX1464" fmla="*/ 856235 w 1156578"/>
                    <a:gd name="connsiteY1464" fmla="*/ 30163 h 943688"/>
                    <a:gd name="connsiteX1465" fmla="*/ 856502 w 1156578"/>
                    <a:gd name="connsiteY1465" fmla="*/ 30491 h 943688"/>
                    <a:gd name="connsiteX1466" fmla="*/ 860691 w 1156578"/>
                    <a:gd name="connsiteY1466" fmla="*/ 35579 h 943688"/>
                    <a:gd name="connsiteX1467" fmla="*/ 861457 w 1156578"/>
                    <a:gd name="connsiteY1467" fmla="*/ 37048 h 943688"/>
                    <a:gd name="connsiteX1468" fmla="*/ 861954 w 1156578"/>
                    <a:gd name="connsiteY1468" fmla="*/ 39307 h 943688"/>
                    <a:gd name="connsiteX1469" fmla="*/ 863156 w 1156578"/>
                    <a:gd name="connsiteY1469" fmla="*/ 50126 h 943688"/>
                    <a:gd name="connsiteX1470" fmla="*/ 863108 w 1156578"/>
                    <a:gd name="connsiteY1470" fmla="*/ 52907 h 943688"/>
                    <a:gd name="connsiteX1471" fmla="*/ 862853 w 1156578"/>
                    <a:gd name="connsiteY1471" fmla="*/ 54230 h 943688"/>
                    <a:gd name="connsiteX1472" fmla="*/ 860121 w 1156578"/>
                    <a:gd name="connsiteY1472" fmla="*/ 58250 h 943688"/>
                    <a:gd name="connsiteX1473" fmla="*/ 859890 w 1156578"/>
                    <a:gd name="connsiteY1473" fmla="*/ 58590 h 943688"/>
                    <a:gd name="connsiteX1474" fmla="*/ 859696 w 1156578"/>
                    <a:gd name="connsiteY1474" fmla="*/ 58966 h 943688"/>
                    <a:gd name="connsiteX1475" fmla="*/ 858530 w 1156578"/>
                    <a:gd name="connsiteY1475" fmla="*/ 61310 h 943688"/>
                    <a:gd name="connsiteX1476" fmla="*/ 857959 w 1156578"/>
                    <a:gd name="connsiteY1476" fmla="*/ 62463 h 943688"/>
                    <a:gd name="connsiteX1477" fmla="*/ 857898 w 1156578"/>
                    <a:gd name="connsiteY1477" fmla="*/ 63738 h 943688"/>
                    <a:gd name="connsiteX1478" fmla="*/ 857741 w 1156578"/>
                    <a:gd name="connsiteY1478" fmla="*/ 67369 h 943688"/>
                    <a:gd name="connsiteX1479" fmla="*/ 857692 w 1156578"/>
                    <a:gd name="connsiteY1479" fmla="*/ 68644 h 943688"/>
                    <a:gd name="connsiteX1480" fmla="*/ 858154 w 1156578"/>
                    <a:gd name="connsiteY1480" fmla="*/ 69834 h 943688"/>
                    <a:gd name="connsiteX1481" fmla="*/ 859416 w 1156578"/>
                    <a:gd name="connsiteY1481" fmla="*/ 73064 h 943688"/>
                    <a:gd name="connsiteX1482" fmla="*/ 859574 w 1156578"/>
                    <a:gd name="connsiteY1482" fmla="*/ 73428 h 943688"/>
                    <a:gd name="connsiteX1483" fmla="*/ 859769 w 1156578"/>
                    <a:gd name="connsiteY1483" fmla="*/ 73781 h 943688"/>
                    <a:gd name="connsiteX1484" fmla="*/ 862088 w 1156578"/>
                    <a:gd name="connsiteY1484" fmla="*/ 77994 h 943688"/>
                    <a:gd name="connsiteX1485" fmla="*/ 862148 w 1156578"/>
                    <a:gd name="connsiteY1485" fmla="*/ 78541 h 943688"/>
                    <a:gd name="connsiteX1486" fmla="*/ 861687 w 1156578"/>
                    <a:gd name="connsiteY1486" fmla="*/ 80556 h 943688"/>
                    <a:gd name="connsiteX1487" fmla="*/ 860363 w 1156578"/>
                    <a:gd name="connsiteY1487" fmla="*/ 84418 h 943688"/>
                    <a:gd name="connsiteX1488" fmla="*/ 859428 w 1156578"/>
                    <a:gd name="connsiteY1488" fmla="*/ 88073 h 943688"/>
                    <a:gd name="connsiteX1489" fmla="*/ 859222 w 1156578"/>
                    <a:gd name="connsiteY1489" fmla="*/ 88911 h 943688"/>
                    <a:gd name="connsiteX1490" fmla="*/ 859246 w 1156578"/>
                    <a:gd name="connsiteY1490" fmla="*/ 89773 h 943688"/>
                    <a:gd name="connsiteX1491" fmla="*/ 859356 w 1156578"/>
                    <a:gd name="connsiteY1491" fmla="*/ 92638 h 943688"/>
                    <a:gd name="connsiteX1492" fmla="*/ 859368 w 1156578"/>
                    <a:gd name="connsiteY1492" fmla="*/ 92991 h 943688"/>
                    <a:gd name="connsiteX1493" fmla="*/ 859428 w 1156578"/>
                    <a:gd name="connsiteY1493" fmla="*/ 93331 h 943688"/>
                    <a:gd name="connsiteX1494" fmla="*/ 859538 w 1156578"/>
                    <a:gd name="connsiteY1494" fmla="*/ 94035 h 943688"/>
                    <a:gd name="connsiteX1495" fmla="*/ 858457 w 1156578"/>
                    <a:gd name="connsiteY1495" fmla="*/ 95893 h 943688"/>
                    <a:gd name="connsiteX1496" fmla="*/ 850358 w 1156578"/>
                    <a:gd name="connsiteY1496" fmla="*/ 107246 h 943688"/>
                    <a:gd name="connsiteX1497" fmla="*/ 847747 w 1156578"/>
                    <a:gd name="connsiteY1497" fmla="*/ 109347 h 943688"/>
                    <a:gd name="connsiteX1498" fmla="*/ 845173 w 1156578"/>
                    <a:gd name="connsiteY1498" fmla="*/ 110914 h 943688"/>
                    <a:gd name="connsiteX1499" fmla="*/ 840267 w 1156578"/>
                    <a:gd name="connsiteY1499" fmla="*/ 112091 h 943688"/>
                    <a:gd name="connsiteX1500" fmla="*/ 835179 w 1156578"/>
                    <a:gd name="connsiteY1500" fmla="*/ 109335 h 943688"/>
                    <a:gd name="connsiteX1501" fmla="*/ 834924 w 1156578"/>
                    <a:gd name="connsiteY1501" fmla="*/ 107744 h 943688"/>
                    <a:gd name="connsiteX1502" fmla="*/ 835082 w 1156578"/>
                    <a:gd name="connsiteY1502" fmla="*/ 105777 h 943688"/>
                    <a:gd name="connsiteX1503" fmla="*/ 835118 w 1156578"/>
                    <a:gd name="connsiteY1503" fmla="*/ 105449 h 943688"/>
                    <a:gd name="connsiteX1504" fmla="*/ 835106 w 1156578"/>
                    <a:gd name="connsiteY1504" fmla="*/ 105109 h 943688"/>
                    <a:gd name="connsiteX1505" fmla="*/ 835045 w 1156578"/>
                    <a:gd name="connsiteY1505" fmla="*/ 103166 h 943688"/>
                    <a:gd name="connsiteX1506" fmla="*/ 837134 w 1156578"/>
                    <a:gd name="connsiteY1506" fmla="*/ 100519 h 943688"/>
                    <a:gd name="connsiteX1507" fmla="*/ 837681 w 1156578"/>
                    <a:gd name="connsiteY1507" fmla="*/ 99827 h 943688"/>
                    <a:gd name="connsiteX1508" fmla="*/ 837996 w 1156578"/>
                    <a:gd name="connsiteY1508" fmla="*/ 99014 h 943688"/>
                    <a:gd name="connsiteX1509" fmla="*/ 838737 w 1156578"/>
                    <a:gd name="connsiteY1509" fmla="*/ 97180 h 943688"/>
                    <a:gd name="connsiteX1510" fmla="*/ 839065 w 1156578"/>
                    <a:gd name="connsiteY1510" fmla="*/ 96354 h 943688"/>
                    <a:gd name="connsiteX1511" fmla="*/ 839150 w 1156578"/>
                    <a:gd name="connsiteY1511" fmla="*/ 95480 h 943688"/>
                    <a:gd name="connsiteX1512" fmla="*/ 839344 w 1156578"/>
                    <a:gd name="connsiteY1512" fmla="*/ 93355 h 943688"/>
                    <a:gd name="connsiteX1513" fmla="*/ 839466 w 1156578"/>
                    <a:gd name="connsiteY1513" fmla="*/ 92007 h 943688"/>
                    <a:gd name="connsiteX1514" fmla="*/ 839004 w 1156578"/>
                    <a:gd name="connsiteY1514" fmla="*/ 90744 h 943688"/>
                    <a:gd name="connsiteX1515" fmla="*/ 838348 w 1156578"/>
                    <a:gd name="connsiteY1515" fmla="*/ 88959 h 943688"/>
                    <a:gd name="connsiteX1516" fmla="*/ 837547 w 1156578"/>
                    <a:gd name="connsiteY1516" fmla="*/ 86749 h 943688"/>
                    <a:gd name="connsiteX1517" fmla="*/ 835471 w 1156578"/>
                    <a:gd name="connsiteY1517" fmla="*/ 85656 h 943688"/>
                    <a:gd name="connsiteX1518" fmla="*/ 834341 w 1156578"/>
                    <a:gd name="connsiteY1518" fmla="*/ 85061 h 943688"/>
                    <a:gd name="connsiteX1519" fmla="*/ 831998 w 1156578"/>
                    <a:gd name="connsiteY1519" fmla="*/ 83823 h 943688"/>
                    <a:gd name="connsiteX1520" fmla="*/ 829496 w 1156578"/>
                    <a:gd name="connsiteY1520" fmla="*/ 84697 h 943688"/>
                    <a:gd name="connsiteX1521" fmla="*/ 827311 w 1156578"/>
                    <a:gd name="connsiteY1521" fmla="*/ 85462 h 943688"/>
                    <a:gd name="connsiteX1522" fmla="*/ 826643 w 1156578"/>
                    <a:gd name="connsiteY1522" fmla="*/ 85705 h 943688"/>
                    <a:gd name="connsiteX1523" fmla="*/ 826035 w 1156578"/>
                    <a:gd name="connsiteY1523" fmla="*/ 86094 h 943688"/>
                    <a:gd name="connsiteX1524" fmla="*/ 823449 w 1156578"/>
                    <a:gd name="connsiteY1524" fmla="*/ 87769 h 943688"/>
                    <a:gd name="connsiteX1525" fmla="*/ 823012 w 1156578"/>
                    <a:gd name="connsiteY1525" fmla="*/ 88049 h 943688"/>
                    <a:gd name="connsiteX1526" fmla="*/ 822635 w 1156578"/>
                    <a:gd name="connsiteY1526" fmla="*/ 88401 h 943688"/>
                    <a:gd name="connsiteX1527" fmla="*/ 820947 w 1156578"/>
                    <a:gd name="connsiteY1527" fmla="*/ 89943 h 943688"/>
                    <a:gd name="connsiteX1528" fmla="*/ 820037 w 1156578"/>
                    <a:gd name="connsiteY1528" fmla="*/ 90562 h 943688"/>
                    <a:gd name="connsiteX1529" fmla="*/ 818665 w 1156578"/>
                    <a:gd name="connsiteY1529" fmla="*/ 91157 h 943688"/>
                    <a:gd name="connsiteX1530" fmla="*/ 815981 w 1156578"/>
                    <a:gd name="connsiteY1530" fmla="*/ 91874 h 943688"/>
                    <a:gd name="connsiteX1531" fmla="*/ 815677 w 1156578"/>
                    <a:gd name="connsiteY1531" fmla="*/ 91971 h 943688"/>
                    <a:gd name="connsiteX1532" fmla="*/ 815386 w 1156578"/>
                    <a:gd name="connsiteY1532" fmla="*/ 92080 h 943688"/>
                    <a:gd name="connsiteX1533" fmla="*/ 813140 w 1156578"/>
                    <a:gd name="connsiteY1533" fmla="*/ 92942 h 943688"/>
                    <a:gd name="connsiteX1534" fmla="*/ 812787 w 1156578"/>
                    <a:gd name="connsiteY1534" fmla="*/ 93088 h 943688"/>
                    <a:gd name="connsiteX1535" fmla="*/ 812460 w 1156578"/>
                    <a:gd name="connsiteY1535" fmla="*/ 93270 h 943688"/>
                    <a:gd name="connsiteX1536" fmla="*/ 810371 w 1156578"/>
                    <a:gd name="connsiteY1536" fmla="*/ 94387 h 943688"/>
                    <a:gd name="connsiteX1537" fmla="*/ 808222 w 1156578"/>
                    <a:gd name="connsiteY1537" fmla="*/ 93537 h 943688"/>
                    <a:gd name="connsiteX1538" fmla="*/ 807627 w 1156578"/>
                    <a:gd name="connsiteY1538" fmla="*/ 93282 h 943688"/>
                    <a:gd name="connsiteX1539" fmla="*/ 806971 w 1156578"/>
                    <a:gd name="connsiteY1539" fmla="*/ 93173 h 943688"/>
                    <a:gd name="connsiteX1540" fmla="*/ 798604 w 1156578"/>
                    <a:gd name="connsiteY1540" fmla="*/ 91764 h 943688"/>
                    <a:gd name="connsiteX1541" fmla="*/ 788611 w 1156578"/>
                    <a:gd name="connsiteY1541" fmla="*/ 89008 h 943688"/>
                    <a:gd name="connsiteX1542" fmla="*/ 772534 w 1156578"/>
                    <a:gd name="connsiteY1542" fmla="*/ 79488 h 943688"/>
                    <a:gd name="connsiteX1543" fmla="*/ 772060 w 1156578"/>
                    <a:gd name="connsiteY1543" fmla="*/ 79221 h 943688"/>
                    <a:gd name="connsiteX1544" fmla="*/ 771550 w 1156578"/>
                    <a:gd name="connsiteY1544" fmla="*/ 79026 h 943688"/>
                    <a:gd name="connsiteX1545" fmla="*/ 769219 w 1156578"/>
                    <a:gd name="connsiteY1545" fmla="*/ 78164 h 943688"/>
                    <a:gd name="connsiteX1546" fmla="*/ 768636 w 1156578"/>
                    <a:gd name="connsiteY1546" fmla="*/ 77946 h 943688"/>
                    <a:gd name="connsiteX1547" fmla="*/ 768017 w 1156578"/>
                    <a:gd name="connsiteY1547" fmla="*/ 77849 h 943688"/>
                    <a:gd name="connsiteX1548" fmla="*/ 765758 w 1156578"/>
                    <a:gd name="connsiteY1548" fmla="*/ 77509 h 943688"/>
                    <a:gd name="connsiteX1549" fmla="*/ 765394 w 1156578"/>
                    <a:gd name="connsiteY1549" fmla="*/ 77448 h 943688"/>
                    <a:gd name="connsiteX1550" fmla="*/ 765017 w 1156578"/>
                    <a:gd name="connsiteY1550" fmla="*/ 77436 h 943688"/>
                    <a:gd name="connsiteX1551" fmla="*/ 762904 w 1156578"/>
                    <a:gd name="connsiteY1551" fmla="*/ 77375 h 943688"/>
                    <a:gd name="connsiteX1552" fmla="*/ 762309 w 1156578"/>
                    <a:gd name="connsiteY1552" fmla="*/ 77363 h 943688"/>
                    <a:gd name="connsiteX1553" fmla="*/ 761726 w 1156578"/>
                    <a:gd name="connsiteY1553" fmla="*/ 77460 h 943688"/>
                    <a:gd name="connsiteX1554" fmla="*/ 758836 w 1156578"/>
                    <a:gd name="connsiteY1554" fmla="*/ 77946 h 943688"/>
                    <a:gd name="connsiteX1555" fmla="*/ 758387 w 1156578"/>
                    <a:gd name="connsiteY1555" fmla="*/ 78018 h 943688"/>
                    <a:gd name="connsiteX1556" fmla="*/ 757962 w 1156578"/>
                    <a:gd name="connsiteY1556" fmla="*/ 78164 h 943688"/>
                    <a:gd name="connsiteX1557" fmla="*/ 755388 w 1156578"/>
                    <a:gd name="connsiteY1557" fmla="*/ 79002 h 943688"/>
                    <a:gd name="connsiteX1558" fmla="*/ 754611 w 1156578"/>
                    <a:gd name="connsiteY1558" fmla="*/ 79257 h 943688"/>
                    <a:gd name="connsiteX1559" fmla="*/ 753931 w 1156578"/>
                    <a:gd name="connsiteY1559" fmla="*/ 79706 h 943688"/>
                    <a:gd name="connsiteX1560" fmla="*/ 751344 w 1156578"/>
                    <a:gd name="connsiteY1560" fmla="*/ 81406 h 943688"/>
                    <a:gd name="connsiteX1561" fmla="*/ 743803 w 1156578"/>
                    <a:gd name="connsiteY1561" fmla="*/ 84029 h 943688"/>
                    <a:gd name="connsiteX1562" fmla="*/ 743342 w 1156578"/>
                    <a:gd name="connsiteY1562" fmla="*/ 84199 h 943688"/>
                    <a:gd name="connsiteX1563" fmla="*/ 742917 w 1156578"/>
                    <a:gd name="connsiteY1563" fmla="*/ 84442 h 943688"/>
                    <a:gd name="connsiteX1564" fmla="*/ 740853 w 1156578"/>
                    <a:gd name="connsiteY1564" fmla="*/ 85559 h 943688"/>
                    <a:gd name="connsiteX1565" fmla="*/ 740148 w 1156578"/>
                    <a:gd name="connsiteY1565" fmla="*/ 85923 h 943688"/>
                    <a:gd name="connsiteX1566" fmla="*/ 739565 w 1156578"/>
                    <a:gd name="connsiteY1566" fmla="*/ 86470 h 943688"/>
                    <a:gd name="connsiteX1567" fmla="*/ 730883 w 1156578"/>
                    <a:gd name="connsiteY1567" fmla="*/ 94630 h 943688"/>
                    <a:gd name="connsiteX1568" fmla="*/ 730653 w 1156578"/>
                    <a:gd name="connsiteY1568" fmla="*/ 94849 h 943688"/>
                    <a:gd name="connsiteX1569" fmla="*/ 730446 w 1156578"/>
                    <a:gd name="connsiteY1569" fmla="*/ 95079 h 943688"/>
                    <a:gd name="connsiteX1570" fmla="*/ 724338 w 1156578"/>
                    <a:gd name="connsiteY1570" fmla="*/ 102110 h 943688"/>
                    <a:gd name="connsiteX1571" fmla="*/ 722626 w 1156578"/>
                    <a:gd name="connsiteY1571" fmla="*/ 100143 h 943688"/>
                    <a:gd name="connsiteX1572" fmla="*/ 722080 w 1156578"/>
                    <a:gd name="connsiteY1572" fmla="*/ 99499 h 943688"/>
                    <a:gd name="connsiteX1573" fmla="*/ 721363 w 1156578"/>
                    <a:gd name="connsiteY1573" fmla="*/ 99038 h 943688"/>
                    <a:gd name="connsiteX1574" fmla="*/ 706731 w 1156578"/>
                    <a:gd name="connsiteY1574" fmla="*/ 89421 h 943688"/>
                    <a:gd name="connsiteX1575" fmla="*/ 706379 w 1156578"/>
                    <a:gd name="connsiteY1575" fmla="*/ 89178 h 943688"/>
                    <a:gd name="connsiteX1576" fmla="*/ 705978 w 1156578"/>
                    <a:gd name="connsiteY1576" fmla="*/ 88983 h 943688"/>
                    <a:gd name="connsiteX1577" fmla="*/ 703902 w 1156578"/>
                    <a:gd name="connsiteY1577" fmla="*/ 88012 h 943688"/>
                    <a:gd name="connsiteX1578" fmla="*/ 703538 w 1156578"/>
                    <a:gd name="connsiteY1578" fmla="*/ 87842 h 943688"/>
                    <a:gd name="connsiteX1579" fmla="*/ 703149 w 1156578"/>
                    <a:gd name="connsiteY1579" fmla="*/ 87721 h 943688"/>
                    <a:gd name="connsiteX1580" fmla="*/ 699640 w 1156578"/>
                    <a:gd name="connsiteY1580" fmla="*/ 86616 h 943688"/>
                    <a:gd name="connsiteX1581" fmla="*/ 699142 w 1156578"/>
                    <a:gd name="connsiteY1581" fmla="*/ 86446 h 943688"/>
                    <a:gd name="connsiteX1582" fmla="*/ 698608 w 1156578"/>
                    <a:gd name="connsiteY1582" fmla="*/ 86373 h 943688"/>
                    <a:gd name="connsiteX1583" fmla="*/ 695329 w 1156578"/>
                    <a:gd name="connsiteY1583" fmla="*/ 85948 h 943688"/>
                    <a:gd name="connsiteX1584" fmla="*/ 694855 w 1156578"/>
                    <a:gd name="connsiteY1584" fmla="*/ 85887 h 943688"/>
                    <a:gd name="connsiteX1585" fmla="*/ 694382 w 1156578"/>
                    <a:gd name="connsiteY1585" fmla="*/ 85899 h 943688"/>
                    <a:gd name="connsiteX1586" fmla="*/ 692208 w 1156578"/>
                    <a:gd name="connsiteY1586" fmla="*/ 85960 h 943688"/>
                    <a:gd name="connsiteX1587" fmla="*/ 691795 w 1156578"/>
                    <a:gd name="connsiteY1587" fmla="*/ 85972 h 943688"/>
                    <a:gd name="connsiteX1588" fmla="*/ 691395 w 1156578"/>
                    <a:gd name="connsiteY1588" fmla="*/ 86045 h 943688"/>
                    <a:gd name="connsiteX1589" fmla="*/ 691261 w 1156578"/>
                    <a:gd name="connsiteY1589" fmla="*/ 86069 h 943688"/>
                    <a:gd name="connsiteX1590" fmla="*/ 695693 w 1156578"/>
                    <a:gd name="connsiteY1590" fmla="*/ 76282 h 943688"/>
                    <a:gd name="connsiteX1591" fmla="*/ 704315 w 1156578"/>
                    <a:gd name="connsiteY1591" fmla="*/ 64224 h 943688"/>
                    <a:gd name="connsiteX1592" fmla="*/ 704509 w 1156578"/>
                    <a:gd name="connsiteY1592" fmla="*/ 63945 h 943688"/>
                    <a:gd name="connsiteX1593" fmla="*/ 704679 w 1156578"/>
                    <a:gd name="connsiteY1593" fmla="*/ 63653 h 943688"/>
                    <a:gd name="connsiteX1594" fmla="*/ 705784 w 1156578"/>
                    <a:gd name="connsiteY1594" fmla="*/ 61674 h 943688"/>
                    <a:gd name="connsiteX1595" fmla="*/ 706039 w 1156578"/>
                    <a:gd name="connsiteY1595" fmla="*/ 61225 h 943688"/>
                    <a:gd name="connsiteX1596" fmla="*/ 706221 w 1156578"/>
                    <a:gd name="connsiteY1596" fmla="*/ 60739 h 943688"/>
                    <a:gd name="connsiteX1597" fmla="*/ 707241 w 1156578"/>
                    <a:gd name="connsiteY1597" fmla="*/ 57861 h 943688"/>
                    <a:gd name="connsiteX1598" fmla="*/ 707375 w 1156578"/>
                    <a:gd name="connsiteY1598" fmla="*/ 57485 h 943688"/>
                    <a:gd name="connsiteX1599" fmla="*/ 707460 w 1156578"/>
                    <a:gd name="connsiteY1599" fmla="*/ 57096 h 943688"/>
                    <a:gd name="connsiteX1600" fmla="*/ 708553 w 1156578"/>
                    <a:gd name="connsiteY1600" fmla="*/ 51960 h 943688"/>
                    <a:gd name="connsiteX1601" fmla="*/ 708686 w 1156578"/>
                    <a:gd name="connsiteY1601" fmla="*/ 51340 h 943688"/>
                    <a:gd name="connsiteX1602" fmla="*/ 708686 w 1156578"/>
                    <a:gd name="connsiteY1602" fmla="*/ 50697 h 943688"/>
                    <a:gd name="connsiteX1603" fmla="*/ 708686 w 1156578"/>
                    <a:gd name="connsiteY1603" fmla="*/ 45439 h 943688"/>
                    <a:gd name="connsiteX1604" fmla="*/ 708686 w 1156578"/>
                    <a:gd name="connsiteY1604" fmla="*/ 45099 h 943688"/>
                    <a:gd name="connsiteX1605" fmla="*/ 708650 w 1156578"/>
                    <a:gd name="connsiteY1605" fmla="*/ 44771 h 943688"/>
                    <a:gd name="connsiteX1606" fmla="*/ 707860 w 1156578"/>
                    <a:gd name="connsiteY1606" fmla="*/ 37595 h 943688"/>
                    <a:gd name="connsiteX1607" fmla="*/ 707824 w 1156578"/>
                    <a:gd name="connsiteY1607" fmla="*/ 37242 h 943688"/>
                    <a:gd name="connsiteX1608" fmla="*/ 707739 w 1156578"/>
                    <a:gd name="connsiteY1608" fmla="*/ 36890 h 943688"/>
                    <a:gd name="connsiteX1609" fmla="*/ 705323 w 1156578"/>
                    <a:gd name="connsiteY1609" fmla="*/ 26496 h 943688"/>
                    <a:gd name="connsiteX1610" fmla="*/ 705225 w 1156578"/>
                    <a:gd name="connsiteY1610" fmla="*/ 26119 h 943688"/>
                    <a:gd name="connsiteX1611" fmla="*/ 705092 w 1156578"/>
                    <a:gd name="connsiteY1611" fmla="*/ 25767 h 943688"/>
                    <a:gd name="connsiteX1612" fmla="*/ 700963 w 1156578"/>
                    <a:gd name="connsiteY1612" fmla="*/ 14608 h 943688"/>
                    <a:gd name="connsiteX1613" fmla="*/ 698049 w 1156578"/>
                    <a:gd name="connsiteY1613" fmla="*/ 6715 h 943688"/>
                    <a:gd name="connsiteX1614" fmla="*/ 691480 w 1156578"/>
                    <a:gd name="connsiteY1614" fmla="*/ 11973 h 943688"/>
                    <a:gd name="connsiteX1615" fmla="*/ 686635 w 1156578"/>
                    <a:gd name="connsiteY1615" fmla="*/ 15859 h 943688"/>
                    <a:gd name="connsiteX1616" fmla="*/ 678183 w 1156578"/>
                    <a:gd name="connsiteY1616" fmla="*/ 21214 h 943688"/>
                    <a:gd name="connsiteX1617" fmla="*/ 673496 w 1156578"/>
                    <a:gd name="connsiteY1617" fmla="*/ 21675 h 943688"/>
                    <a:gd name="connsiteX1618" fmla="*/ 673034 w 1156578"/>
                    <a:gd name="connsiteY1618" fmla="*/ 21724 h 943688"/>
                    <a:gd name="connsiteX1619" fmla="*/ 672573 w 1156578"/>
                    <a:gd name="connsiteY1619" fmla="*/ 21833 h 943688"/>
                    <a:gd name="connsiteX1620" fmla="*/ 670958 w 1156578"/>
                    <a:gd name="connsiteY1620" fmla="*/ 22246 h 943688"/>
                    <a:gd name="connsiteX1621" fmla="*/ 669938 w 1156578"/>
                    <a:gd name="connsiteY1621" fmla="*/ 22513 h 943688"/>
                    <a:gd name="connsiteX1622" fmla="*/ 669064 w 1156578"/>
                    <a:gd name="connsiteY1622" fmla="*/ 23108 h 943688"/>
                    <a:gd name="connsiteX1623" fmla="*/ 667850 w 1156578"/>
                    <a:gd name="connsiteY1623" fmla="*/ 23934 h 943688"/>
                    <a:gd name="connsiteX1624" fmla="*/ 667315 w 1156578"/>
                    <a:gd name="connsiteY1624" fmla="*/ 24298 h 943688"/>
                    <a:gd name="connsiteX1625" fmla="*/ 666866 w 1156578"/>
                    <a:gd name="connsiteY1625" fmla="*/ 24759 h 943688"/>
                    <a:gd name="connsiteX1626" fmla="*/ 665615 w 1156578"/>
                    <a:gd name="connsiteY1626" fmla="*/ 26059 h 943688"/>
                    <a:gd name="connsiteX1627" fmla="*/ 662519 w 1156578"/>
                    <a:gd name="connsiteY1627" fmla="*/ 24759 h 943688"/>
                    <a:gd name="connsiteX1628" fmla="*/ 662082 w 1156578"/>
                    <a:gd name="connsiteY1628" fmla="*/ 24565 h 943688"/>
                    <a:gd name="connsiteX1629" fmla="*/ 661608 w 1156578"/>
                    <a:gd name="connsiteY1629" fmla="*/ 24456 h 943688"/>
                    <a:gd name="connsiteX1630" fmla="*/ 650206 w 1156578"/>
                    <a:gd name="connsiteY1630" fmla="*/ 21675 h 943688"/>
                    <a:gd name="connsiteX1631" fmla="*/ 649890 w 1156578"/>
                    <a:gd name="connsiteY1631" fmla="*/ 21602 h 943688"/>
                    <a:gd name="connsiteX1632" fmla="*/ 649574 w 1156578"/>
                    <a:gd name="connsiteY1632" fmla="*/ 21566 h 943688"/>
                    <a:gd name="connsiteX1633" fmla="*/ 646405 w 1156578"/>
                    <a:gd name="connsiteY1633" fmla="*/ 21153 h 943688"/>
                    <a:gd name="connsiteX1634" fmla="*/ 645762 w 1156578"/>
                    <a:gd name="connsiteY1634" fmla="*/ 21068 h 943688"/>
                    <a:gd name="connsiteX1635" fmla="*/ 645118 w 1156578"/>
                    <a:gd name="connsiteY1635" fmla="*/ 21117 h 943688"/>
                    <a:gd name="connsiteX1636" fmla="*/ 640916 w 1156578"/>
                    <a:gd name="connsiteY1636" fmla="*/ 21457 h 943688"/>
                    <a:gd name="connsiteX1637" fmla="*/ 640212 w 1156578"/>
                    <a:gd name="connsiteY1637" fmla="*/ 21517 h 943688"/>
                    <a:gd name="connsiteX1638" fmla="*/ 639544 w 1156578"/>
                    <a:gd name="connsiteY1638" fmla="*/ 21724 h 943688"/>
                    <a:gd name="connsiteX1639" fmla="*/ 637784 w 1156578"/>
                    <a:gd name="connsiteY1639" fmla="*/ 22282 h 943688"/>
                    <a:gd name="connsiteX1640" fmla="*/ 636897 w 1156578"/>
                    <a:gd name="connsiteY1640" fmla="*/ 22562 h 943688"/>
                    <a:gd name="connsiteX1641" fmla="*/ 636144 w 1156578"/>
                    <a:gd name="connsiteY1641" fmla="*/ 23084 h 943688"/>
                    <a:gd name="connsiteX1642" fmla="*/ 634821 w 1156578"/>
                    <a:gd name="connsiteY1642" fmla="*/ 24019 h 943688"/>
                    <a:gd name="connsiteX1643" fmla="*/ 634031 w 1156578"/>
                    <a:gd name="connsiteY1643" fmla="*/ 24577 h 943688"/>
                    <a:gd name="connsiteX1644" fmla="*/ 633497 w 1156578"/>
                    <a:gd name="connsiteY1644" fmla="*/ 25294 h 943688"/>
                    <a:gd name="connsiteX1645" fmla="*/ 632234 w 1156578"/>
                    <a:gd name="connsiteY1645" fmla="*/ 25610 h 943688"/>
                    <a:gd name="connsiteX1646" fmla="*/ 594725 w 1156578"/>
                    <a:gd name="connsiteY1646" fmla="*/ 26423 h 943688"/>
                    <a:gd name="connsiteX1647" fmla="*/ 594409 w 1156578"/>
                    <a:gd name="connsiteY1647" fmla="*/ 26423 h 943688"/>
                    <a:gd name="connsiteX1648" fmla="*/ 594093 w 1156578"/>
                    <a:gd name="connsiteY1648" fmla="*/ 26459 h 943688"/>
                    <a:gd name="connsiteX1649" fmla="*/ 591567 w 1156578"/>
                    <a:gd name="connsiteY1649" fmla="*/ 26775 h 943688"/>
                    <a:gd name="connsiteX1650" fmla="*/ 590462 w 1156578"/>
                    <a:gd name="connsiteY1650" fmla="*/ 26921 h 943688"/>
                    <a:gd name="connsiteX1651" fmla="*/ 589467 w 1156578"/>
                    <a:gd name="connsiteY1651" fmla="*/ 27443 h 943688"/>
                    <a:gd name="connsiteX1652" fmla="*/ 587864 w 1156578"/>
                    <a:gd name="connsiteY1652" fmla="*/ 28305 h 943688"/>
                    <a:gd name="connsiteX1653" fmla="*/ 586042 w 1156578"/>
                    <a:gd name="connsiteY1653" fmla="*/ 29277 h 943688"/>
                    <a:gd name="connsiteX1654" fmla="*/ 585193 w 1156578"/>
                    <a:gd name="connsiteY1654" fmla="*/ 31159 h 943688"/>
                    <a:gd name="connsiteX1655" fmla="*/ 584610 w 1156578"/>
                    <a:gd name="connsiteY1655" fmla="*/ 32446 h 943688"/>
                    <a:gd name="connsiteX1656" fmla="*/ 584160 w 1156578"/>
                    <a:gd name="connsiteY1656" fmla="*/ 33442 h 943688"/>
                    <a:gd name="connsiteX1657" fmla="*/ 584087 w 1156578"/>
                    <a:gd name="connsiteY1657" fmla="*/ 34535 h 943688"/>
                    <a:gd name="connsiteX1658" fmla="*/ 583978 w 1156578"/>
                    <a:gd name="connsiteY1658" fmla="*/ 36113 h 943688"/>
                    <a:gd name="connsiteX1659" fmla="*/ 583954 w 1156578"/>
                    <a:gd name="connsiteY1659" fmla="*/ 36477 h 943688"/>
                    <a:gd name="connsiteX1660" fmla="*/ 583978 w 1156578"/>
                    <a:gd name="connsiteY1660" fmla="*/ 36854 h 943688"/>
                    <a:gd name="connsiteX1661" fmla="*/ 584051 w 1156578"/>
                    <a:gd name="connsiteY1661" fmla="*/ 38190 h 943688"/>
                    <a:gd name="connsiteX1662" fmla="*/ 583990 w 1156578"/>
                    <a:gd name="connsiteY1662" fmla="*/ 38602 h 943688"/>
                    <a:gd name="connsiteX1663" fmla="*/ 583699 w 1156578"/>
                    <a:gd name="connsiteY1663" fmla="*/ 38882 h 943688"/>
                    <a:gd name="connsiteX1664" fmla="*/ 583189 w 1156578"/>
                    <a:gd name="connsiteY1664" fmla="*/ 39234 h 943688"/>
                    <a:gd name="connsiteX1665" fmla="*/ 572382 w 1156578"/>
                    <a:gd name="connsiteY1665" fmla="*/ 44820 h 943688"/>
                    <a:gd name="connsiteX1666" fmla="*/ 571301 w 1156578"/>
                    <a:gd name="connsiteY1666" fmla="*/ 45026 h 943688"/>
                    <a:gd name="connsiteX1667" fmla="*/ 554349 w 1156578"/>
                    <a:gd name="connsiteY1667" fmla="*/ 45900 h 943688"/>
                    <a:gd name="connsiteX1668" fmla="*/ 552467 w 1156578"/>
                    <a:gd name="connsiteY1668" fmla="*/ 45439 h 943688"/>
                    <a:gd name="connsiteX1669" fmla="*/ 541466 w 1156578"/>
                    <a:gd name="connsiteY1669" fmla="*/ 39987 h 943688"/>
                    <a:gd name="connsiteX1670" fmla="*/ 540871 w 1156578"/>
                    <a:gd name="connsiteY1670" fmla="*/ 39695 h 943688"/>
                    <a:gd name="connsiteX1671" fmla="*/ 540227 w 1156578"/>
                    <a:gd name="connsiteY1671" fmla="*/ 39537 h 943688"/>
                    <a:gd name="connsiteX1672" fmla="*/ 537701 w 1156578"/>
                    <a:gd name="connsiteY1672" fmla="*/ 38906 h 943688"/>
                    <a:gd name="connsiteX1673" fmla="*/ 536876 w 1156578"/>
                    <a:gd name="connsiteY1673" fmla="*/ 38700 h 943688"/>
                    <a:gd name="connsiteX1674" fmla="*/ 536026 w 1156578"/>
                    <a:gd name="connsiteY1674" fmla="*/ 38736 h 943688"/>
                    <a:gd name="connsiteX1675" fmla="*/ 532395 w 1156578"/>
                    <a:gd name="connsiteY1675" fmla="*/ 38870 h 943688"/>
                    <a:gd name="connsiteX1676" fmla="*/ 532322 w 1156578"/>
                    <a:gd name="connsiteY1676" fmla="*/ 38857 h 943688"/>
                    <a:gd name="connsiteX1677" fmla="*/ 531970 w 1156578"/>
                    <a:gd name="connsiteY1677" fmla="*/ 38724 h 943688"/>
                    <a:gd name="connsiteX1678" fmla="*/ 527550 w 1156578"/>
                    <a:gd name="connsiteY1678" fmla="*/ 35360 h 943688"/>
                    <a:gd name="connsiteX1679" fmla="*/ 526287 w 1156578"/>
                    <a:gd name="connsiteY1679" fmla="*/ 33612 h 943688"/>
                    <a:gd name="connsiteX1680" fmla="*/ 525449 w 1156578"/>
                    <a:gd name="connsiteY1680" fmla="*/ 32057 h 943688"/>
                    <a:gd name="connsiteX1681" fmla="*/ 524417 w 1156578"/>
                    <a:gd name="connsiteY1681" fmla="*/ 29495 h 943688"/>
                    <a:gd name="connsiteX1682" fmla="*/ 524113 w 1156578"/>
                    <a:gd name="connsiteY1682" fmla="*/ 28755 h 943688"/>
                    <a:gd name="connsiteX1683" fmla="*/ 523640 w 1156578"/>
                    <a:gd name="connsiteY1683" fmla="*/ 28123 h 943688"/>
                    <a:gd name="connsiteX1684" fmla="*/ 512845 w 1156578"/>
                    <a:gd name="connsiteY1684" fmla="*/ 13746 h 943688"/>
                    <a:gd name="connsiteX1685" fmla="*/ 512177 w 1156578"/>
                    <a:gd name="connsiteY1685" fmla="*/ 12859 h 943688"/>
                    <a:gd name="connsiteX1686" fmla="*/ 511242 w 1156578"/>
                    <a:gd name="connsiteY1686" fmla="*/ 12264 h 943688"/>
                    <a:gd name="connsiteX1687" fmla="*/ 505450 w 1156578"/>
                    <a:gd name="connsiteY1687" fmla="*/ 8585 h 943688"/>
                    <a:gd name="connsiteX1688" fmla="*/ 505170 w 1156578"/>
                    <a:gd name="connsiteY1688" fmla="*/ 8403 h 943688"/>
                    <a:gd name="connsiteX1689" fmla="*/ 504867 w 1156578"/>
                    <a:gd name="connsiteY1689" fmla="*/ 8257 h 943688"/>
                    <a:gd name="connsiteX1690" fmla="*/ 499524 w 1156578"/>
                    <a:gd name="connsiteY1690" fmla="*/ 5647 h 943688"/>
                    <a:gd name="connsiteX1691" fmla="*/ 498880 w 1156578"/>
                    <a:gd name="connsiteY1691" fmla="*/ 5331 h 943688"/>
                    <a:gd name="connsiteX1692" fmla="*/ 498176 w 1156578"/>
                    <a:gd name="connsiteY1692" fmla="*/ 5173 h 943688"/>
                    <a:gd name="connsiteX1693" fmla="*/ 491170 w 1156578"/>
                    <a:gd name="connsiteY1693" fmla="*/ 3619 h 943688"/>
                    <a:gd name="connsiteX1694" fmla="*/ 484612 w 1156578"/>
                    <a:gd name="connsiteY1694" fmla="*/ 2174 h 943688"/>
                    <a:gd name="connsiteX1695" fmla="*/ 483823 w 1156578"/>
                    <a:gd name="connsiteY1695" fmla="*/ 8828 h 943688"/>
                    <a:gd name="connsiteX1696" fmla="*/ 483422 w 1156578"/>
                    <a:gd name="connsiteY1696" fmla="*/ 12155 h 943688"/>
                    <a:gd name="connsiteX1697" fmla="*/ 483240 w 1156578"/>
                    <a:gd name="connsiteY1697" fmla="*/ 13722 h 943688"/>
                    <a:gd name="connsiteX1698" fmla="*/ 483847 w 1156578"/>
                    <a:gd name="connsiteY1698" fmla="*/ 15191 h 943688"/>
                    <a:gd name="connsiteX1699" fmla="*/ 484370 w 1156578"/>
                    <a:gd name="connsiteY1699" fmla="*/ 16454 h 943688"/>
                    <a:gd name="connsiteX1700" fmla="*/ 484515 w 1156578"/>
                    <a:gd name="connsiteY1700" fmla="*/ 16830 h 943688"/>
                    <a:gd name="connsiteX1701" fmla="*/ 484722 w 1156578"/>
                    <a:gd name="connsiteY1701" fmla="*/ 17170 h 943688"/>
                    <a:gd name="connsiteX1702" fmla="*/ 488085 w 1156578"/>
                    <a:gd name="connsiteY1702" fmla="*/ 22987 h 943688"/>
                    <a:gd name="connsiteX1703" fmla="*/ 488547 w 1156578"/>
                    <a:gd name="connsiteY1703" fmla="*/ 24602 h 943688"/>
                    <a:gd name="connsiteX1704" fmla="*/ 488814 w 1156578"/>
                    <a:gd name="connsiteY1704" fmla="*/ 27006 h 943688"/>
                    <a:gd name="connsiteX1705" fmla="*/ 488741 w 1156578"/>
                    <a:gd name="connsiteY1705" fmla="*/ 28317 h 943688"/>
                    <a:gd name="connsiteX1706" fmla="*/ 488486 w 1156578"/>
                    <a:gd name="connsiteY1706" fmla="*/ 29690 h 943688"/>
                    <a:gd name="connsiteX1707" fmla="*/ 488377 w 1156578"/>
                    <a:gd name="connsiteY1707" fmla="*/ 30017 h 943688"/>
                    <a:gd name="connsiteX1708" fmla="*/ 488085 w 1156578"/>
                    <a:gd name="connsiteY1708" fmla="*/ 30685 h 943688"/>
                    <a:gd name="connsiteX1709" fmla="*/ 487685 w 1156578"/>
                    <a:gd name="connsiteY1709" fmla="*/ 31268 h 943688"/>
                    <a:gd name="connsiteX1710" fmla="*/ 482937 w 1156578"/>
                    <a:gd name="connsiteY1710" fmla="*/ 36805 h 943688"/>
                    <a:gd name="connsiteX1711" fmla="*/ 482111 w 1156578"/>
                    <a:gd name="connsiteY1711" fmla="*/ 37449 h 943688"/>
                    <a:gd name="connsiteX1712" fmla="*/ 480800 w 1156578"/>
                    <a:gd name="connsiteY1712" fmla="*/ 38007 h 943688"/>
                    <a:gd name="connsiteX1713" fmla="*/ 479221 w 1156578"/>
                    <a:gd name="connsiteY1713" fmla="*/ 38347 h 943688"/>
                    <a:gd name="connsiteX1714" fmla="*/ 471838 w 1156578"/>
                    <a:gd name="connsiteY1714" fmla="*/ 39027 h 943688"/>
                    <a:gd name="connsiteX1715" fmla="*/ 471207 w 1156578"/>
                    <a:gd name="connsiteY1715" fmla="*/ 39088 h 943688"/>
                    <a:gd name="connsiteX1716" fmla="*/ 470599 w 1156578"/>
                    <a:gd name="connsiteY1716" fmla="*/ 39282 h 943688"/>
                    <a:gd name="connsiteX1717" fmla="*/ 463933 w 1156578"/>
                    <a:gd name="connsiteY1717" fmla="*/ 41347 h 943688"/>
                    <a:gd name="connsiteX1718" fmla="*/ 463071 w 1156578"/>
                    <a:gd name="connsiteY1718" fmla="*/ 41614 h 943688"/>
                    <a:gd name="connsiteX1719" fmla="*/ 462318 w 1156578"/>
                    <a:gd name="connsiteY1719" fmla="*/ 42124 h 943688"/>
                    <a:gd name="connsiteX1720" fmla="*/ 457667 w 1156578"/>
                    <a:gd name="connsiteY1720" fmla="*/ 45281 h 943688"/>
                    <a:gd name="connsiteX1721" fmla="*/ 457351 w 1156578"/>
                    <a:gd name="connsiteY1721" fmla="*/ 45500 h 943688"/>
                    <a:gd name="connsiteX1722" fmla="*/ 457060 w 1156578"/>
                    <a:gd name="connsiteY1722" fmla="*/ 45755 h 943688"/>
                    <a:gd name="connsiteX1723" fmla="*/ 441711 w 1156578"/>
                    <a:gd name="connsiteY1723" fmla="*/ 59306 h 943688"/>
                    <a:gd name="connsiteX1724" fmla="*/ 440473 w 1156578"/>
                    <a:gd name="connsiteY1724" fmla="*/ 60120 h 943688"/>
                    <a:gd name="connsiteX1725" fmla="*/ 430394 w 1156578"/>
                    <a:gd name="connsiteY1725" fmla="*/ 63799 h 943688"/>
                    <a:gd name="connsiteX1726" fmla="*/ 430042 w 1156578"/>
                    <a:gd name="connsiteY1726" fmla="*/ 63933 h 943688"/>
                    <a:gd name="connsiteX1727" fmla="*/ 429714 w 1156578"/>
                    <a:gd name="connsiteY1727" fmla="*/ 64115 h 943688"/>
                    <a:gd name="connsiteX1728" fmla="*/ 425173 w 1156578"/>
                    <a:gd name="connsiteY1728" fmla="*/ 66446 h 943688"/>
                    <a:gd name="connsiteX1729" fmla="*/ 421578 w 1156578"/>
                    <a:gd name="connsiteY1729" fmla="*/ 68717 h 943688"/>
                    <a:gd name="connsiteX1730" fmla="*/ 421044 w 1156578"/>
                    <a:gd name="connsiteY1730" fmla="*/ 69045 h 943688"/>
                    <a:gd name="connsiteX1731" fmla="*/ 420595 w 1156578"/>
                    <a:gd name="connsiteY1731" fmla="*/ 69494 h 943688"/>
                    <a:gd name="connsiteX1732" fmla="*/ 417146 w 1156578"/>
                    <a:gd name="connsiteY1732" fmla="*/ 72870 h 943688"/>
                    <a:gd name="connsiteX1733" fmla="*/ 416734 w 1156578"/>
                    <a:gd name="connsiteY1733" fmla="*/ 73270 h 943688"/>
                    <a:gd name="connsiteX1734" fmla="*/ 416406 w 1156578"/>
                    <a:gd name="connsiteY1734" fmla="*/ 73744 h 943688"/>
                    <a:gd name="connsiteX1735" fmla="*/ 407335 w 1156578"/>
                    <a:gd name="connsiteY1735" fmla="*/ 86858 h 943688"/>
                    <a:gd name="connsiteX1736" fmla="*/ 407031 w 1156578"/>
                    <a:gd name="connsiteY1736" fmla="*/ 87296 h 943688"/>
                    <a:gd name="connsiteX1737" fmla="*/ 406800 w 1156578"/>
                    <a:gd name="connsiteY1737" fmla="*/ 87781 h 943688"/>
                    <a:gd name="connsiteX1738" fmla="*/ 405307 w 1156578"/>
                    <a:gd name="connsiteY1738" fmla="*/ 91048 h 943688"/>
                    <a:gd name="connsiteX1739" fmla="*/ 404979 w 1156578"/>
                    <a:gd name="connsiteY1739" fmla="*/ 91655 h 943688"/>
                    <a:gd name="connsiteX1740" fmla="*/ 404833 w 1156578"/>
                    <a:gd name="connsiteY1740" fmla="*/ 92238 h 943688"/>
                    <a:gd name="connsiteX1741" fmla="*/ 404311 w 1156578"/>
                    <a:gd name="connsiteY1741" fmla="*/ 94448 h 943688"/>
                    <a:gd name="connsiteX1742" fmla="*/ 403740 w 1156578"/>
                    <a:gd name="connsiteY1742" fmla="*/ 96852 h 943688"/>
                    <a:gd name="connsiteX1743" fmla="*/ 405015 w 1156578"/>
                    <a:gd name="connsiteY1743" fmla="*/ 98977 h 943688"/>
                    <a:gd name="connsiteX1744" fmla="*/ 405829 w 1156578"/>
                    <a:gd name="connsiteY1744" fmla="*/ 100325 h 943688"/>
                    <a:gd name="connsiteX1745" fmla="*/ 406145 w 1156578"/>
                    <a:gd name="connsiteY1745" fmla="*/ 100835 h 943688"/>
                    <a:gd name="connsiteX1746" fmla="*/ 406546 w 1156578"/>
                    <a:gd name="connsiteY1746" fmla="*/ 101284 h 943688"/>
                    <a:gd name="connsiteX1747" fmla="*/ 407116 w 1156578"/>
                    <a:gd name="connsiteY1747" fmla="*/ 101904 h 943688"/>
                    <a:gd name="connsiteX1748" fmla="*/ 404020 w 1156578"/>
                    <a:gd name="connsiteY1748" fmla="*/ 103640 h 943688"/>
                    <a:gd name="connsiteX1749" fmla="*/ 403170 w 1156578"/>
                    <a:gd name="connsiteY1749" fmla="*/ 104101 h 943688"/>
                    <a:gd name="connsiteX1750" fmla="*/ 402514 w 1156578"/>
                    <a:gd name="connsiteY1750" fmla="*/ 104830 h 943688"/>
                    <a:gd name="connsiteX1751" fmla="*/ 401300 w 1156578"/>
                    <a:gd name="connsiteY1751" fmla="*/ 106141 h 943688"/>
                    <a:gd name="connsiteX1752" fmla="*/ 400705 w 1156578"/>
                    <a:gd name="connsiteY1752" fmla="*/ 106785 h 943688"/>
                    <a:gd name="connsiteX1753" fmla="*/ 400316 w 1156578"/>
                    <a:gd name="connsiteY1753" fmla="*/ 107550 h 943688"/>
                    <a:gd name="connsiteX1754" fmla="*/ 399515 w 1156578"/>
                    <a:gd name="connsiteY1754" fmla="*/ 109165 h 943688"/>
                    <a:gd name="connsiteX1755" fmla="*/ 399053 w 1156578"/>
                    <a:gd name="connsiteY1755" fmla="*/ 110088 h 943688"/>
                    <a:gd name="connsiteX1756" fmla="*/ 398932 w 1156578"/>
                    <a:gd name="connsiteY1756" fmla="*/ 111120 h 943688"/>
                    <a:gd name="connsiteX1757" fmla="*/ 398009 w 1156578"/>
                    <a:gd name="connsiteY1757" fmla="*/ 118491 h 943688"/>
                    <a:gd name="connsiteX1758" fmla="*/ 397912 w 1156578"/>
                    <a:gd name="connsiteY1758" fmla="*/ 120992 h 943688"/>
                    <a:gd name="connsiteX1759" fmla="*/ 397888 w 1156578"/>
                    <a:gd name="connsiteY1759" fmla="*/ 121830 h 943688"/>
                    <a:gd name="connsiteX1760" fmla="*/ 398106 w 1156578"/>
                    <a:gd name="connsiteY1760" fmla="*/ 122644 h 943688"/>
                    <a:gd name="connsiteX1761" fmla="*/ 398568 w 1156578"/>
                    <a:gd name="connsiteY1761" fmla="*/ 124453 h 943688"/>
                    <a:gd name="connsiteX1762" fmla="*/ 398871 w 1156578"/>
                    <a:gd name="connsiteY1762" fmla="*/ 125692 h 943688"/>
                    <a:gd name="connsiteX1763" fmla="*/ 399648 w 1156578"/>
                    <a:gd name="connsiteY1763" fmla="*/ 126687 h 943688"/>
                    <a:gd name="connsiteX1764" fmla="*/ 400778 w 1156578"/>
                    <a:gd name="connsiteY1764" fmla="*/ 128145 h 943688"/>
                    <a:gd name="connsiteX1765" fmla="*/ 401203 w 1156578"/>
                    <a:gd name="connsiteY1765" fmla="*/ 128691 h 943688"/>
                    <a:gd name="connsiteX1766" fmla="*/ 401737 w 1156578"/>
                    <a:gd name="connsiteY1766" fmla="*/ 129128 h 943688"/>
                    <a:gd name="connsiteX1767" fmla="*/ 403400 w 1156578"/>
                    <a:gd name="connsiteY1767" fmla="*/ 130476 h 943688"/>
                    <a:gd name="connsiteX1768" fmla="*/ 403801 w 1156578"/>
                    <a:gd name="connsiteY1768" fmla="*/ 130804 h 943688"/>
                    <a:gd name="connsiteX1769" fmla="*/ 404251 w 1156578"/>
                    <a:gd name="connsiteY1769" fmla="*/ 131059 h 943688"/>
                    <a:gd name="connsiteX1770" fmla="*/ 408488 w 1156578"/>
                    <a:gd name="connsiteY1770" fmla="*/ 133439 h 943688"/>
                    <a:gd name="connsiteX1771" fmla="*/ 407359 w 1156578"/>
                    <a:gd name="connsiteY1771" fmla="*/ 136754 h 943688"/>
                    <a:gd name="connsiteX1772" fmla="*/ 407226 w 1156578"/>
                    <a:gd name="connsiteY1772" fmla="*/ 137130 h 943688"/>
                    <a:gd name="connsiteX1773" fmla="*/ 407153 w 1156578"/>
                    <a:gd name="connsiteY1773" fmla="*/ 137519 h 943688"/>
                    <a:gd name="connsiteX1774" fmla="*/ 406813 w 1156578"/>
                    <a:gd name="connsiteY1774" fmla="*/ 139219 h 943688"/>
                    <a:gd name="connsiteX1775" fmla="*/ 406594 w 1156578"/>
                    <a:gd name="connsiteY1775" fmla="*/ 140300 h 943688"/>
                    <a:gd name="connsiteX1776" fmla="*/ 406776 w 1156578"/>
                    <a:gd name="connsiteY1776" fmla="*/ 141380 h 943688"/>
                    <a:gd name="connsiteX1777" fmla="*/ 406946 w 1156578"/>
                    <a:gd name="connsiteY1777" fmla="*/ 142437 h 943688"/>
                    <a:gd name="connsiteX1778" fmla="*/ 406971 w 1156578"/>
                    <a:gd name="connsiteY1778" fmla="*/ 142522 h 943688"/>
                    <a:gd name="connsiteX1779" fmla="*/ 405271 w 1156578"/>
                    <a:gd name="connsiteY1779" fmla="*/ 142412 h 943688"/>
                    <a:gd name="connsiteX1780" fmla="*/ 403631 w 1156578"/>
                    <a:gd name="connsiteY1780" fmla="*/ 143408 h 943688"/>
                    <a:gd name="connsiteX1781" fmla="*/ 402599 w 1156578"/>
                    <a:gd name="connsiteY1781" fmla="*/ 144040 h 943688"/>
                    <a:gd name="connsiteX1782" fmla="*/ 401385 w 1156578"/>
                    <a:gd name="connsiteY1782" fmla="*/ 144780 h 943688"/>
                    <a:gd name="connsiteX1783" fmla="*/ 400632 w 1156578"/>
                    <a:gd name="connsiteY1783" fmla="*/ 145995 h 943688"/>
                    <a:gd name="connsiteX1784" fmla="*/ 400170 w 1156578"/>
                    <a:gd name="connsiteY1784" fmla="*/ 146723 h 943688"/>
                    <a:gd name="connsiteX1785" fmla="*/ 399746 w 1156578"/>
                    <a:gd name="connsiteY1785" fmla="*/ 147391 h 943688"/>
                    <a:gd name="connsiteX1786" fmla="*/ 399636 w 1156578"/>
                    <a:gd name="connsiteY1786" fmla="*/ 147355 h 943688"/>
                    <a:gd name="connsiteX1787" fmla="*/ 398386 w 1156578"/>
                    <a:gd name="connsiteY1787" fmla="*/ 147488 h 943688"/>
                    <a:gd name="connsiteX1788" fmla="*/ 395920 w 1156578"/>
                    <a:gd name="connsiteY1788" fmla="*/ 147743 h 943688"/>
                    <a:gd name="connsiteX1789" fmla="*/ 393528 w 1156578"/>
                    <a:gd name="connsiteY1789" fmla="*/ 147998 h 943688"/>
                    <a:gd name="connsiteX1790" fmla="*/ 391962 w 1156578"/>
                    <a:gd name="connsiteY1790" fmla="*/ 149820 h 943688"/>
                    <a:gd name="connsiteX1791" fmla="*/ 390760 w 1156578"/>
                    <a:gd name="connsiteY1791" fmla="*/ 151216 h 943688"/>
                    <a:gd name="connsiteX1792" fmla="*/ 389922 w 1156578"/>
                    <a:gd name="connsiteY1792" fmla="*/ 152187 h 943688"/>
                    <a:gd name="connsiteX1793" fmla="*/ 389545 w 1156578"/>
                    <a:gd name="connsiteY1793" fmla="*/ 153414 h 943688"/>
                    <a:gd name="connsiteX1794" fmla="*/ 388975 w 1156578"/>
                    <a:gd name="connsiteY1794" fmla="*/ 155284 h 943688"/>
                    <a:gd name="connsiteX1795" fmla="*/ 388732 w 1156578"/>
                    <a:gd name="connsiteY1795" fmla="*/ 156073 h 943688"/>
                    <a:gd name="connsiteX1796" fmla="*/ 388707 w 1156578"/>
                    <a:gd name="connsiteY1796" fmla="*/ 156887 h 943688"/>
                    <a:gd name="connsiteX1797" fmla="*/ 388610 w 1156578"/>
                    <a:gd name="connsiteY1797" fmla="*/ 161088 h 943688"/>
                    <a:gd name="connsiteX1798" fmla="*/ 388100 w 1156578"/>
                    <a:gd name="connsiteY1798" fmla="*/ 163395 h 943688"/>
                    <a:gd name="connsiteX1799" fmla="*/ 385781 w 1156578"/>
                    <a:gd name="connsiteY1799" fmla="*/ 168241 h 943688"/>
                    <a:gd name="connsiteX1800" fmla="*/ 368672 w 1156578"/>
                    <a:gd name="connsiteY1800" fmla="*/ 195756 h 943688"/>
                    <a:gd name="connsiteX1801" fmla="*/ 366717 w 1156578"/>
                    <a:gd name="connsiteY1801" fmla="*/ 199606 h 943688"/>
                    <a:gd name="connsiteX1802" fmla="*/ 366158 w 1156578"/>
                    <a:gd name="connsiteY1802" fmla="*/ 200735 h 943688"/>
                    <a:gd name="connsiteX1803" fmla="*/ 366085 w 1156578"/>
                    <a:gd name="connsiteY1803" fmla="*/ 201986 h 943688"/>
                    <a:gd name="connsiteX1804" fmla="*/ 366000 w 1156578"/>
                    <a:gd name="connsiteY1804" fmla="*/ 203516 h 943688"/>
                    <a:gd name="connsiteX1805" fmla="*/ 364822 w 1156578"/>
                    <a:gd name="connsiteY1805" fmla="*/ 208470 h 943688"/>
                    <a:gd name="connsiteX1806" fmla="*/ 363487 w 1156578"/>
                    <a:gd name="connsiteY1806" fmla="*/ 212271 h 943688"/>
                    <a:gd name="connsiteX1807" fmla="*/ 363256 w 1156578"/>
                    <a:gd name="connsiteY1807" fmla="*/ 212939 h 943688"/>
                    <a:gd name="connsiteX1808" fmla="*/ 363183 w 1156578"/>
                    <a:gd name="connsiteY1808" fmla="*/ 213655 h 943688"/>
                    <a:gd name="connsiteX1809" fmla="*/ 362952 w 1156578"/>
                    <a:gd name="connsiteY1809" fmla="*/ 215877 h 943688"/>
                    <a:gd name="connsiteX1810" fmla="*/ 362904 w 1156578"/>
                    <a:gd name="connsiteY1810" fmla="*/ 216302 h 943688"/>
                    <a:gd name="connsiteX1811" fmla="*/ 362916 w 1156578"/>
                    <a:gd name="connsiteY1811" fmla="*/ 216727 h 943688"/>
                    <a:gd name="connsiteX1812" fmla="*/ 363086 w 1156578"/>
                    <a:gd name="connsiteY1812" fmla="*/ 221475 h 943688"/>
                    <a:gd name="connsiteX1813" fmla="*/ 363110 w 1156578"/>
                    <a:gd name="connsiteY1813" fmla="*/ 222131 h 943688"/>
                    <a:gd name="connsiteX1814" fmla="*/ 363268 w 1156578"/>
                    <a:gd name="connsiteY1814" fmla="*/ 222774 h 943688"/>
                    <a:gd name="connsiteX1815" fmla="*/ 363790 w 1156578"/>
                    <a:gd name="connsiteY1815" fmla="*/ 224802 h 943688"/>
                    <a:gd name="connsiteX1816" fmla="*/ 363948 w 1156578"/>
                    <a:gd name="connsiteY1816" fmla="*/ 225385 h 943688"/>
                    <a:gd name="connsiteX1817" fmla="*/ 364203 w 1156578"/>
                    <a:gd name="connsiteY1817" fmla="*/ 225932 h 943688"/>
                    <a:gd name="connsiteX1818" fmla="*/ 365065 w 1156578"/>
                    <a:gd name="connsiteY1818" fmla="*/ 227705 h 943688"/>
                    <a:gd name="connsiteX1819" fmla="*/ 365357 w 1156578"/>
                    <a:gd name="connsiteY1819" fmla="*/ 228312 h 943688"/>
                    <a:gd name="connsiteX1820" fmla="*/ 365770 w 1156578"/>
                    <a:gd name="connsiteY1820" fmla="*/ 228846 h 943688"/>
                    <a:gd name="connsiteX1821" fmla="*/ 367032 w 1156578"/>
                    <a:gd name="connsiteY1821" fmla="*/ 230436 h 943688"/>
                    <a:gd name="connsiteX1822" fmla="*/ 367336 w 1156578"/>
                    <a:gd name="connsiteY1822" fmla="*/ 230801 h 943688"/>
                    <a:gd name="connsiteX1823" fmla="*/ 367688 w 1156578"/>
                    <a:gd name="connsiteY1823" fmla="*/ 231129 h 943688"/>
                    <a:gd name="connsiteX1824" fmla="*/ 373711 w 1156578"/>
                    <a:gd name="connsiteY1824" fmla="*/ 236629 h 943688"/>
                    <a:gd name="connsiteX1825" fmla="*/ 373869 w 1156578"/>
                    <a:gd name="connsiteY1825" fmla="*/ 236824 h 943688"/>
                    <a:gd name="connsiteX1826" fmla="*/ 374100 w 1156578"/>
                    <a:gd name="connsiteY1826" fmla="*/ 237467 h 943688"/>
                    <a:gd name="connsiteX1827" fmla="*/ 374427 w 1156578"/>
                    <a:gd name="connsiteY1827" fmla="*/ 239021 h 943688"/>
                    <a:gd name="connsiteX1828" fmla="*/ 374452 w 1156578"/>
                    <a:gd name="connsiteY1828" fmla="*/ 239629 h 943688"/>
                    <a:gd name="connsiteX1829" fmla="*/ 366668 w 1156578"/>
                    <a:gd name="connsiteY1829" fmla="*/ 236301 h 943688"/>
                    <a:gd name="connsiteX1830" fmla="*/ 365757 w 1156578"/>
                    <a:gd name="connsiteY1830" fmla="*/ 235913 h 943688"/>
                    <a:gd name="connsiteX1831" fmla="*/ 364774 w 1156578"/>
                    <a:gd name="connsiteY1831" fmla="*/ 235828 h 943688"/>
                    <a:gd name="connsiteX1832" fmla="*/ 362637 w 1156578"/>
                    <a:gd name="connsiteY1832" fmla="*/ 235646 h 943688"/>
                    <a:gd name="connsiteX1833" fmla="*/ 362139 w 1156578"/>
                    <a:gd name="connsiteY1833" fmla="*/ 235597 h 943688"/>
                    <a:gd name="connsiteX1834" fmla="*/ 361641 w 1156578"/>
                    <a:gd name="connsiteY1834" fmla="*/ 235646 h 943688"/>
                    <a:gd name="connsiteX1835" fmla="*/ 359698 w 1156578"/>
                    <a:gd name="connsiteY1835" fmla="*/ 235804 h 943688"/>
                    <a:gd name="connsiteX1836" fmla="*/ 357464 w 1156578"/>
                    <a:gd name="connsiteY1836" fmla="*/ 235986 h 943688"/>
                    <a:gd name="connsiteX1837" fmla="*/ 355885 w 1156578"/>
                    <a:gd name="connsiteY1837" fmla="*/ 237577 h 943688"/>
                    <a:gd name="connsiteX1838" fmla="*/ 354452 w 1156578"/>
                    <a:gd name="connsiteY1838" fmla="*/ 239010 h 943688"/>
                    <a:gd name="connsiteX1839" fmla="*/ 354027 w 1156578"/>
                    <a:gd name="connsiteY1839" fmla="*/ 239435 h 943688"/>
                    <a:gd name="connsiteX1840" fmla="*/ 353699 w 1156578"/>
                    <a:gd name="connsiteY1840" fmla="*/ 239945 h 943688"/>
                    <a:gd name="connsiteX1841" fmla="*/ 352607 w 1156578"/>
                    <a:gd name="connsiteY1841" fmla="*/ 241608 h 943688"/>
                    <a:gd name="connsiteX1842" fmla="*/ 352412 w 1156578"/>
                    <a:gd name="connsiteY1842" fmla="*/ 241875 h 943688"/>
                    <a:gd name="connsiteX1843" fmla="*/ 352254 w 1156578"/>
                    <a:gd name="connsiteY1843" fmla="*/ 242179 h 943688"/>
                    <a:gd name="connsiteX1844" fmla="*/ 351222 w 1156578"/>
                    <a:gd name="connsiteY1844" fmla="*/ 244195 h 943688"/>
                    <a:gd name="connsiteX1845" fmla="*/ 351064 w 1156578"/>
                    <a:gd name="connsiteY1845" fmla="*/ 244498 h 943688"/>
                    <a:gd name="connsiteX1846" fmla="*/ 350943 w 1156578"/>
                    <a:gd name="connsiteY1846" fmla="*/ 244826 h 943688"/>
                    <a:gd name="connsiteX1847" fmla="*/ 350299 w 1156578"/>
                    <a:gd name="connsiteY1847" fmla="*/ 246550 h 943688"/>
                    <a:gd name="connsiteX1848" fmla="*/ 350166 w 1156578"/>
                    <a:gd name="connsiteY1848" fmla="*/ 246902 h 943688"/>
                    <a:gd name="connsiteX1849" fmla="*/ 350081 w 1156578"/>
                    <a:gd name="connsiteY1849" fmla="*/ 247279 h 943688"/>
                    <a:gd name="connsiteX1850" fmla="*/ 349741 w 1156578"/>
                    <a:gd name="connsiteY1850" fmla="*/ 248736 h 943688"/>
                    <a:gd name="connsiteX1851" fmla="*/ 349583 w 1156578"/>
                    <a:gd name="connsiteY1851" fmla="*/ 249416 h 943688"/>
                    <a:gd name="connsiteX1852" fmla="*/ 349583 w 1156578"/>
                    <a:gd name="connsiteY1852" fmla="*/ 250132 h 943688"/>
                    <a:gd name="connsiteX1853" fmla="*/ 349583 w 1156578"/>
                    <a:gd name="connsiteY1853" fmla="*/ 251116 h 943688"/>
                    <a:gd name="connsiteX1854" fmla="*/ 349583 w 1156578"/>
                    <a:gd name="connsiteY1854" fmla="*/ 252112 h 943688"/>
                    <a:gd name="connsiteX1855" fmla="*/ 349899 w 1156578"/>
                    <a:gd name="connsiteY1855" fmla="*/ 253047 h 943688"/>
                    <a:gd name="connsiteX1856" fmla="*/ 349947 w 1156578"/>
                    <a:gd name="connsiteY1856" fmla="*/ 253204 h 943688"/>
                    <a:gd name="connsiteX1857" fmla="*/ 346863 w 1156578"/>
                    <a:gd name="connsiteY1857" fmla="*/ 257260 h 943688"/>
                    <a:gd name="connsiteX1858" fmla="*/ 346620 w 1156578"/>
                    <a:gd name="connsiteY1858" fmla="*/ 257576 h 943688"/>
                    <a:gd name="connsiteX1859" fmla="*/ 346426 w 1156578"/>
                    <a:gd name="connsiteY1859" fmla="*/ 257916 h 943688"/>
                    <a:gd name="connsiteX1860" fmla="*/ 345102 w 1156578"/>
                    <a:gd name="connsiteY1860" fmla="*/ 260223 h 943688"/>
                    <a:gd name="connsiteX1861" fmla="*/ 344835 w 1156578"/>
                    <a:gd name="connsiteY1861" fmla="*/ 260685 h 943688"/>
                    <a:gd name="connsiteX1862" fmla="*/ 344653 w 1156578"/>
                    <a:gd name="connsiteY1862" fmla="*/ 261195 h 943688"/>
                    <a:gd name="connsiteX1863" fmla="*/ 339456 w 1156578"/>
                    <a:gd name="connsiteY1863" fmla="*/ 275730 h 943688"/>
                    <a:gd name="connsiteX1864" fmla="*/ 337768 w 1156578"/>
                    <a:gd name="connsiteY1864" fmla="*/ 278474 h 943688"/>
                    <a:gd name="connsiteX1865" fmla="*/ 336092 w 1156578"/>
                    <a:gd name="connsiteY1865" fmla="*/ 280417 h 943688"/>
                    <a:gd name="connsiteX1866" fmla="*/ 333882 w 1156578"/>
                    <a:gd name="connsiteY1866" fmla="*/ 282275 h 943688"/>
                    <a:gd name="connsiteX1867" fmla="*/ 332874 w 1156578"/>
                    <a:gd name="connsiteY1867" fmla="*/ 282712 h 943688"/>
                    <a:gd name="connsiteX1868" fmla="*/ 331186 w 1156578"/>
                    <a:gd name="connsiteY1868" fmla="*/ 283040 h 943688"/>
                    <a:gd name="connsiteX1869" fmla="*/ 323208 w 1156578"/>
                    <a:gd name="connsiteY1869" fmla="*/ 283574 h 943688"/>
                    <a:gd name="connsiteX1870" fmla="*/ 321229 w 1156578"/>
                    <a:gd name="connsiteY1870" fmla="*/ 281437 h 943688"/>
                    <a:gd name="connsiteX1871" fmla="*/ 320743 w 1156578"/>
                    <a:gd name="connsiteY1871" fmla="*/ 280915 h 943688"/>
                    <a:gd name="connsiteX1872" fmla="*/ 320148 w 1156578"/>
                    <a:gd name="connsiteY1872" fmla="*/ 280514 h 943688"/>
                    <a:gd name="connsiteX1873" fmla="*/ 318485 w 1156578"/>
                    <a:gd name="connsiteY1873" fmla="*/ 279397 h 943688"/>
                    <a:gd name="connsiteX1874" fmla="*/ 317951 w 1156578"/>
                    <a:gd name="connsiteY1874" fmla="*/ 279045 h 943688"/>
                    <a:gd name="connsiteX1875" fmla="*/ 317356 w 1156578"/>
                    <a:gd name="connsiteY1875" fmla="*/ 278802 h 943688"/>
                    <a:gd name="connsiteX1876" fmla="*/ 315680 w 1156578"/>
                    <a:gd name="connsiteY1876" fmla="*/ 278134 h 943688"/>
                    <a:gd name="connsiteX1877" fmla="*/ 315291 w 1156578"/>
                    <a:gd name="connsiteY1877" fmla="*/ 277976 h 943688"/>
                    <a:gd name="connsiteX1878" fmla="*/ 314891 w 1156578"/>
                    <a:gd name="connsiteY1878" fmla="*/ 277879 h 943688"/>
                    <a:gd name="connsiteX1879" fmla="*/ 313093 w 1156578"/>
                    <a:gd name="connsiteY1879" fmla="*/ 277430 h 943688"/>
                    <a:gd name="connsiteX1880" fmla="*/ 312183 w 1156578"/>
                    <a:gd name="connsiteY1880" fmla="*/ 277102 h 943688"/>
                    <a:gd name="connsiteX1881" fmla="*/ 311879 w 1156578"/>
                    <a:gd name="connsiteY1881" fmla="*/ 276896 h 943688"/>
                    <a:gd name="connsiteX1882" fmla="*/ 311272 w 1156578"/>
                    <a:gd name="connsiteY1882" fmla="*/ 276300 h 943688"/>
                    <a:gd name="connsiteX1883" fmla="*/ 310373 w 1156578"/>
                    <a:gd name="connsiteY1883" fmla="*/ 275171 h 943688"/>
                    <a:gd name="connsiteX1884" fmla="*/ 309778 w 1156578"/>
                    <a:gd name="connsiteY1884" fmla="*/ 274467 h 943688"/>
                    <a:gd name="connsiteX1885" fmla="*/ 309001 w 1156578"/>
                    <a:gd name="connsiteY1885" fmla="*/ 273969 h 943688"/>
                    <a:gd name="connsiteX1886" fmla="*/ 306755 w 1156578"/>
                    <a:gd name="connsiteY1886" fmla="*/ 272524 h 943688"/>
                    <a:gd name="connsiteX1887" fmla="*/ 305783 w 1156578"/>
                    <a:gd name="connsiteY1887" fmla="*/ 271881 h 943688"/>
                    <a:gd name="connsiteX1888" fmla="*/ 304642 w 1156578"/>
                    <a:gd name="connsiteY1888" fmla="*/ 271662 h 943688"/>
                    <a:gd name="connsiteX1889" fmla="*/ 302286 w 1156578"/>
                    <a:gd name="connsiteY1889" fmla="*/ 271201 h 943688"/>
                    <a:gd name="connsiteX1890" fmla="*/ 301206 w 1156578"/>
                    <a:gd name="connsiteY1890" fmla="*/ 270982 h 943688"/>
                    <a:gd name="connsiteX1891" fmla="*/ 300113 w 1156578"/>
                    <a:gd name="connsiteY1891" fmla="*/ 271164 h 943688"/>
                    <a:gd name="connsiteX1892" fmla="*/ 281206 w 1156578"/>
                    <a:gd name="connsiteY1892" fmla="*/ 274357 h 943688"/>
                    <a:gd name="connsiteX1893" fmla="*/ 277867 w 1156578"/>
                    <a:gd name="connsiteY1893" fmla="*/ 274479 h 943688"/>
                    <a:gd name="connsiteX1894" fmla="*/ 277430 w 1156578"/>
                    <a:gd name="connsiteY1894" fmla="*/ 274503 h 943688"/>
                    <a:gd name="connsiteX1895" fmla="*/ 277005 w 1156578"/>
                    <a:gd name="connsiteY1895" fmla="*/ 274576 h 943688"/>
                    <a:gd name="connsiteX1896" fmla="*/ 273374 w 1156578"/>
                    <a:gd name="connsiteY1896" fmla="*/ 275244 h 943688"/>
                    <a:gd name="connsiteX1897" fmla="*/ 272949 w 1156578"/>
                    <a:gd name="connsiteY1897" fmla="*/ 275329 h 943688"/>
                    <a:gd name="connsiteX1898" fmla="*/ 272536 w 1156578"/>
                    <a:gd name="connsiteY1898" fmla="*/ 275475 h 943688"/>
                    <a:gd name="connsiteX1899" fmla="*/ 270302 w 1156578"/>
                    <a:gd name="connsiteY1899" fmla="*/ 276228 h 943688"/>
                    <a:gd name="connsiteX1900" fmla="*/ 269792 w 1156578"/>
                    <a:gd name="connsiteY1900" fmla="*/ 276397 h 943688"/>
                    <a:gd name="connsiteX1901" fmla="*/ 269318 w 1156578"/>
                    <a:gd name="connsiteY1901" fmla="*/ 276652 h 943688"/>
                    <a:gd name="connsiteX1902" fmla="*/ 268335 w 1156578"/>
                    <a:gd name="connsiteY1902" fmla="*/ 277187 h 943688"/>
                    <a:gd name="connsiteX1903" fmla="*/ 268201 w 1156578"/>
                    <a:gd name="connsiteY1903" fmla="*/ 277041 h 943688"/>
                    <a:gd name="connsiteX1904" fmla="*/ 267351 w 1156578"/>
                    <a:gd name="connsiteY1904" fmla="*/ 276592 h 943688"/>
                    <a:gd name="connsiteX1905" fmla="*/ 265857 w 1156578"/>
                    <a:gd name="connsiteY1905" fmla="*/ 275815 h 943688"/>
                    <a:gd name="connsiteX1906" fmla="*/ 265177 w 1156578"/>
                    <a:gd name="connsiteY1906" fmla="*/ 275463 h 943688"/>
                    <a:gd name="connsiteX1907" fmla="*/ 264425 w 1156578"/>
                    <a:gd name="connsiteY1907" fmla="*/ 275281 h 943688"/>
                    <a:gd name="connsiteX1908" fmla="*/ 262749 w 1156578"/>
                    <a:gd name="connsiteY1908" fmla="*/ 274892 h 943688"/>
                    <a:gd name="connsiteX1909" fmla="*/ 261899 w 1156578"/>
                    <a:gd name="connsiteY1909" fmla="*/ 274698 h 943688"/>
                    <a:gd name="connsiteX1910" fmla="*/ 261024 w 1156578"/>
                    <a:gd name="connsiteY1910" fmla="*/ 274746 h 943688"/>
                    <a:gd name="connsiteX1911" fmla="*/ 245190 w 1156578"/>
                    <a:gd name="connsiteY1911" fmla="*/ 275620 h 943688"/>
                    <a:gd name="connsiteX1912" fmla="*/ 244547 w 1156578"/>
                    <a:gd name="connsiteY1912" fmla="*/ 275657 h 943688"/>
                    <a:gd name="connsiteX1913" fmla="*/ 243927 w 1156578"/>
                    <a:gd name="connsiteY1913" fmla="*/ 275827 h 943688"/>
                    <a:gd name="connsiteX1914" fmla="*/ 241802 w 1156578"/>
                    <a:gd name="connsiteY1914" fmla="*/ 276410 h 943688"/>
                    <a:gd name="connsiteX1915" fmla="*/ 241280 w 1156578"/>
                    <a:gd name="connsiteY1915" fmla="*/ 276555 h 943688"/>
                    <a:gd name="connsiteX1916" fmla="*/ 240782 w 1156578"/>
                    <a:gd name="connsiteY1916" fmla="*/ 276798 h 943688"/>
                    <a:gd name="connsiteX1917" fmla="*/ 239349 w 1156578"/>
                    <a:gd name="connsiteY1917" fmla="*/ 277490 h 943688"/>
                    <a:gd name="connsiteX1918" fmla="*/ 238256 w 1156578"/>
                    <a:gd name="connsiteY1918" fmla="*/ 278025 h 943688"/>
                    <a:gd name="connsiteX1919" fmla="*/ 237443 w 1156578"/>
                    <a:gd name="connsiteY1919" fmla="*/ 278936 h 943688"/>
                    <a:gd name="connsiteX1920" fmla="*/ 236629 w 1156578"/>
                    <a:gd name="connsiteY1920" fmla="*/ 279846 h 943688"/>
                    <a:gd name="connsiteX1921" fmla="*/ 236132 w 1156578"/>
                    <a:gd name="connsiteY1921" fmla="*/ 280405 h 943688"/>
                    <a:gd name="connsiteX1922" fmla="*/ 235792 w 1156578"/>
                    <a:gd name="connsiteY1922" fmla="*/ 281073 h 943688"/>
                    <a:gd name="connsiteX1923" fmla="*/ 235391 w 1156578"/>
                    <a:gd name="connsiteY1923" fmla="*/ 281837 h 943688"/>
                    <a:gd name="connsiteX1924" fmla="*/ 234577 w 1156578"/>
                    <a:gd name="connsiteY1924" fmla="*/ 283380 h 943688"/>
                    <a:gd name="connsiteX1925" fmla="*/ 234711 w 1156578"/>
                    <a:gd name="connsiteY1925" fmla="*/ 285129 h 943688"/>
                    <a:gd name="connsiteX1926" fmla="*/ 234772 w 1156578"/>
                    <a:gd name="connsiteY1926" fmla="*/ 285966 h 943688"/>
                    <a:gd name="connsiteX1927" fmla="*/ 234820 w 1156578"/>
                    <a:gd name="connsiteY1927" fmla="*/ 286610 h 943688"/>
                    <a:gd name="connsiteX1928" fmla="*/ 235002 w 1156578"/>
                    <a:gd name="connsiteY1928" fmla="*/ 287241 h 943688"/>
                    <a:gd name="connsiteX1929" fmla="*/ 235367 w 1156578"/>
                    <a:gd name="connsiteY1929" fmla="*/ 288468 h 943688"/>
                    <a:gd name="connsiteX1930" fmla="*/ 235221 w 1156578"/>
                    <a:gd name="connsiteY1930" fmla="*/ 289488 h 943688"/>
                    <a:gd name="connsiteX1931" fmla="*/ 232889 w 1156578"/>
                    <a:gd name="connsiteY1931" fmla="*/ 292876 h 943688"/>
                    <a:gd name="connsiteX1932" fmla="*/ 232416 w 1156578"/>
                    <a:gd name="connsiteY1932" fmla="*/ 293568 h 943688"/>
                    <a:gd name="connsiteX1933" fmla="*/ 232149 w 1156578"/>
                    <a:gd name="connsiteY1933" fmla="*/ 294333 h 943688"/>
                    <a:gd name="connsiteX1934" fmla="*/ 228506 w 1156578"/>
                    <a:gd name="connsiteY1934" fmla="*/ 304836 h 943688"/>
                    <a:gd name="connsiteX1935" fmla="*/ 220759 w 1156578"/>
                    <a:gd name="connsiteY1935" fmla="*/ 317441 h 943688"/>
                    <a:gd name="connsiteX1936" fmla="*/ 219034 w 1156578"/>
                    <a:gd name="connsiteY1936" fmla="*/ 319371 h 943688"/>
                    <a:gd name="connsiteX1937" fmla="*/ 218694 w 1156578"/>
                    <a:gd name="connsiteY1937" fmla="*/ 319408 h 943688"/>
                    <a:gd name="connsiteX1938" fmla="*/ 217528 w 1156578"/>
                    <a:gd name="connsiteY1938" fmla="*/ 319517 h 943688"/>
                    <a:gd name="connsiteX1939" fmla="*/ 216484 w 1156578"/>
                    <a:gd name="connsiteY1939" fmla="*/ 320039 h 943688"/>
                    <a:gd name="connsiteX1940" fmla="*/ 215452 w 1156578"/>
                    <a:gd name="connsiteY1940" fmla="*/ 320562 h 943688"/>
                    <a:gd name="connsiteX1941" fmla="*/ 214893 w 1156578"/>
                    <a:gd name="connsiteY1941" fmla="*/ 320841 h 943688"/>
                    <a:gd name="connsiteX1942" fmla="*/ 214396 w 1156578"/>
                    <a:gd name="connsiteY1942" fmla="*/ 321242 h 943688"/>
                    <a:gd name="connsiteX1943" fmla="*/ 212963 w 1156578"/>
                    <a:gd name="connsiteY1943" fmla="*/ 322395 h 943688"/>
                    <a:gd name="connsiteX1944" fmla="*/ 212635 w 1156578"/>
                    <a:gd name="connsiteY1944" fmla="*/ 322650 h 943688"/>
                    <a:gd name="connsiteX1945" fmla="*/ 212356 w 1156578"/>
                    <a:gd name="connsiteY1945" fmla="*/ 322954 h 943688"/>
                    <a:gd name="connsiteX1946" fmla="*/ 209308 w 1156578"/>
                    <a:gd name="connsiteY1946" fmla="*/ 326171 h 943688"/>
                    <a:gd name="connsiteX1947" fmla="*/ 208968 w 1156578"/>
                    <a:gd name="connsiteY1947" fmla="*/ 326512 h 943688"/>
                    <a:gd name="connsiteX1948" fmla="*/ 208701 w 1156578"/>
                    <a:gd name="connsiteY1948" fmla="*/ 326912 h 943688"/>
                    <a:gd name="connsiteX1949" fmla="*/ 206685 w 1156578"/>
                    <a:gd name="connsiteY1949" fmla="*/ 329863 h 943688"/>
                    <a:gd name="connsiteX1950" fmla="*/ 203928 w 1156578"/>
                    <a:gd name="connsiteY1950" fmla="*/ 334745 h 943688"/>
                    <a:gd name="connsiteX1951" fmla="*/ 202617 w 1156578"/>
                    <a:gd name="connsiteY1951" fmla="*/ 336335 h 943688"/>
                    <a:gd name="connsiteX1952" fmla="*/ 202325 w 1156578"/>
                    <a:gd name="connsiteY1952" fmla="*/ 336602 h 943688"/>
                    <a:gd name="connsiteX1953" fmla="*/ 201913 w 1156578"/>
                    <a:gd name="connsiteY1953" fmla="*/ 335789 h 943688"/>
                    <a:gd name="connsiteX1954" fmla="*/ 201548 w 1156578"/>
                    <a:gd name="connsiteY1954" fmla="*/ 335072 h 943688"/>
                    <a:gd name="connsiteX1955" fmla="*/ 201099 w 1156578"/>
                    <a:gd name="connsiteY1955" fmla="*/ 334198 h 943688"/>
                    <a:gd name="connsiteX1956" fmla="*/ 200407 w 1156578"/>
                    <a:gd name="connsiteY1956" fmla="*/ 333506 h 943688"/>
                    <a:gd name="connsiteX1957" fmla="*/ 199739 w 1156578"/>
                    <a:gd name="connsiteY1957" fmla="*/ 332838 h 943688"/>
                    <a:gd name="connsiteX1958" fmla="*/ 198986 w 1156578"/>
                    <a:gd name="connsiteY1958" fmla="*/ 332097 h 943688"/>
                    <a:gd name="connsiteX1959" fmla="*/ 198039 w 1156578"/>
                    <a:gd name="connsiteY1959" fmla="*/ 331660 h 943688"/>
                    <a:gd name="connsiteX1960" fmla="*/ 196873 w 1156578"/>
                    <a:gd name="connsiteY1960" fmla="*/ 331114 h 943688"/>
                    <a:gd name="connsiteX1961" fmla="*/ 196339 w 1156578"/>
                    <a:gd name="connsiteY1961" fmla="*/ 330859 h 943688"/>
                    <a:gd name="connsiteX1962" fmla="*/ 195768 w 1156578"/>
                    <a:gd name="connsiteY1962" fmla="*/ 330713 h 943688"/>
                    <a:gd name="connsiteX1963" fmla="*/ 190146 w 1156578"/>
                    <a:gd name="connsiteY1963" fmla="*/ 329305 h 943688"/>
                    <a:gd name="connsiteX1964" fmla="*/ 189418 w 1156578"/>
                    <a:gd name="connsiteY1964" fmla="*/ 329122 h 943688"/>
                    <a:gd name="connsiteX1965" fmla="*/ 188665 w 1156578"/>
                    <a:gd name="connsiteY1965" fmla="*/ 329122 h 943688"/>
                    <a:gd name="connsiteX1966" fmla="*/ 187681 w 1156578"/>
                    <a:gd name="connsiteY1966" fmla="*/ 329122 h 943688"/>
                    <a:gd name="connsiteX1967" fmla="*/ 186795 w 1156578"/>
                    <a:gd name="connsiteY1967" fmla="*/ 329122 h 943688"/>
                    <a:gd name="connsiteX1968" fmla="*/ 185945 w 1156578"/>
                    <a:gd name="connsiteY1968" fmla="*/ 329377 h 943688"/>
                    <a:gd name="connsiteX1969" fmla="*/ 184682 w 1156578"/>
                    <a:gd name="connsiteY1969" fmla="*/ 329754 h 943688"/>
                    <a:gd name="connsiteX1970" fmla="*/ 183261 w 1156578"/>
                    <a:gd name="connsiteY1970" fmla="*/ 330179 h 943688"/>
                    <a:gd name="connsiteX1971" fmla="*/ 182205 w 1156578"/>
                    <a:gd name="connsiteY1971" fmla="*/ 331211 h 943688"/>
                    <a:gd name="connsiteX1972" fmla="*/ 181464 w 1156578"/>
                    <a:gd name="connsiteY1972" fmla="*/ 331927 h 943688"/>
                    <a:gd name="connsiteX1973" fmla="*/ 180990 w 1156578"/>
                    <a:gd name="connsiteY1973" fmla="*/ 332389 h 943688"/>
                    <a:gd name="connsiteX1974" fmla="*/ 180626 w 1156578"/>
                    <a:gd name="connsiteY1974" fmla="*/ 332935 h 943688"/>
                    <a:gd name="connsiteX1975" fmla="*/ 180055 w 1156578"/>
                    <a:gd name="connsiteY1975" fmla="*/ 333797 h 943688"/>
                    <a:gd name="connsiteX1976" fmla="*/ 179813 w 1156578"/>
                    <a:gd name="connsiteY1976" fmla="*/ 334149 h 943688"/>
                    <a:gd name="connsiteX1977" fmla="*/ 179630 w 1156578"/>
                    <a:gd name="connsiteY1977" fmla="*/ 334526 h 943688"/>
                    <a:gd name="connsiteX1978" fmla="*/ 179108 w 1156578"/>
                    <a:gd name="connsiteY1978" fmla="*/ 335619 h 943688"/>
                    <a:gd name="connsiteX1979" fmla="*/ 178768 w 1156578"/>
                    <a:gd name="connsiteY1979" fmla="*/ 336347 h 943688"/>
                    <a:gd name="connsiteX1980" fmla="*/ 178623 w 1156578"/>
                    <a:gd name="connsiteY1980" fmla="*/ 337124 h 943688"/>
                    <a:gd name="connsiteX1981" fmla="*/ 178404 w 1156578"/>
                    <a:gd name="connsiteY1981" fmla="*/ 338302 h 943688"/>
                    <a:gd name="connsiteX1982" fmla="*/ 178295 w 1156578"/>
                    <a:gd name="connsiteY1982" fmla="*/ 338909 h 943688"/>
                    <a:gd name="connsiteX1983" fmla="*/ 178307 w 1156578"/>
                    <a:gd name="connsiteY1983" fmla="*/ 339529 h 943688"/>
                    <a:gd name="connsiteX1984" fmla="*/ 178708 w 1156578"/>
                    <a:gd name="connsiteY1984" fmla="*/ 361641 h 943688"/>
                    <a:gd name="connsiteX1985" fmla="*/ 178720 w 1156578"/>
                    <a:gd name="connsiteY1985" fmla="*/ 362248 h 943688"/>
                    <a:gd name="connsiteX1986" fmla="*/ 178853 w 1156578"/>
                    <a:gd name="connsiteY1986" fmla="*/ 362831 h 943688"/>
                    <a:gd name="connsiteX1987" fmla="*/ 179303 w 1156578"/>
                    <a:gd name="connsiteY1987" fmla="*/ 364896 h 943688"/>
                    <a:gd name="connsiteX1988" fmla="*/ 179363 w 1156578"/>
                    <a:gd name="connsiteY1988" fmla="*/ 365199 h 943688"/>
                    <a:gd name="connsiteX1989" fmla="*/ 179460 w 1156578"/>
                    <a:gd name="connsiteY1989" fmla="*/ 365478 h 943688"/>
                    <a:gd name="connsiteX1990" fmla="*/ 180153 w 1156578"/>
                    <a:gd name="connsiteY1990" fmla="*/ 367579 h 943688"/>
                    <a:gd name="connsiteX1991" fmla="*/ 180262 w 1156578"/>
                    <a:gd name="connsiteY1991" fmla="*/ 367931 h 943688"/>
                    <a:gd name="connsiteX1992" fmla="*/ 180420 w 1156578"/>
                    <a:gd name="connsiteY1992" fmla="*/ 368247 h 943688"/>
                    <a:gd name="connsiteX1993" fmla="*/ 182156 w 1156578"/>
                    <a:gd name="connsiteY1993" fmla="*/ 371963 h 943688"/>
                    <a:gd name="connsiteX1994" fmla="*/ 182715 w 1156578"/>
                    <a:gd name="connsiteY1994" fmla="*/ 373736 h 943688"/>
                    <a:gd name="connsiteX1995" fmla="*/ 183043 w 1156578"/>
                    <a:gd name="connsiteY1995" fmla="*/ 375168 h 943688"/>
                    <a:gd name="connsiteX1996" fmla="*/ 183103 w 1156578"/>
                    <a:gd name="connsiteY1996" fmla="*/ 376735 h 943688"/>
                    <a:gd name="connsiteX1997" fmla="*/ 182909 w 1156578"/>
                    <a:gd name="connsiteY1997" fmla="*/ 378702 h 943688"/>
                    <a:gd name="connsiteX1998" fmla="*/ 182411 w 1156578"/>
                    <a:gd name="connsiteY1998" fmla="*/ 381094 h 943688"/>
                    <a:gd name="connsiteX1999" fmla="*/ 181525 w 1156578"/>
                    <a:gd name="connsiteY1999" fmla="*/ 383608 h 943688"/>
                    <a:gd name="connsiteX2000" fmla="*/ 181415 w 1156578"/>
                    <a:gd name="connsiteY2000" fmla="*/ 383899 h 943688"/>
                    <a:gd name="connsiteX2001" fmla="*/ 181343 w 1156578"/>
                    <a:gd name="connsiteY2001" fmla="*/ 384203 h 943688"/>
                    <a:gd name="connsiteX2002" fmla="*/ 178125 w 1156578"/>
                    <a:gd name="connsiteY2002" fmla="*/ 397536 h 943688"/>
                    <a:gd name="connsiteX2003" fmla="*/ 177955 w 1156578"/>
                    <a:gd name="connsiteY2003" fmla="*/ 398240 h 943688"/>
                    <a:gd name="connsiteX2004" fmla="*/ 177955 w 1156578"/>
                    <a:gd name="connsiteY2004" fmla="*/ 398969 h 943688"/>
                    <a:gd name="connsiteX2005" fmla="*/ 177955 w 1156578"/>
                    <a:gd name="connsiteY2005" fmla="*/ 401713 h 943688"/>
                    <a:gd name="connsiteX2006" fmla="*/ 177955 w 1156578"/>
                    <a:gd name="connsiteY2006" fmla="*/ 402453 h 943688"/>
                    <a:gd name="connsiteX2007" fmla="*/ 178137 w 1156578"/>
                    <a:gd name="connsiteY2007" fmla="*/ 403182 h 943688"/>
                    <a:gd name="connsiteX2008" fmla="*/ 178768 w 1156578"/>
                    <a:gd name="connsiteY2008" fmla="*/ 405744 h 943688"/>
                    <a:gd name="connsiteX2009" fmla="*/ 178938 w 1156578"/>
                    <a:gd name="connsiteY2009" fmla="*/ 406424 h 943688"/>
                    <a:gd name="connsiteX2010" fmla="*/ 179254 w 1156578"/>
                    <a:gd name="connsiteY2010" fmla="*/ 407043 h 943688"/>
                    <a:gd name="connsiteX2011" fmla="*/ 182180 w 1156578"/>
                    <a:gd name="connsiteY2011" fmla="*/ 412811 h 943688"/>
                    <a:gd name="connsiteX2012" fmla="*/ 182739 w 1156578"/>
                    <a:gd name="connsiteY2012" fmla="*/ 413916 h 943688"/>
                    <a:gd name="connsiteX2013" fmla="*/ 183686 w 1156578"/>
                    <a:gd name="connsiteY2013" fmla="*/ 414706 h 943688"/>
                    <a:gd name="connsiteX2014" fmla="*/ 185180 w 1156578"/>
                    <a:gd name="connsiteY2014" fmla="*/ 415956 h 943688"/>
                    <a:gd name="connsiteX2015" fmla="*/ 186443 w 1156578"/>
                    <a:gd name="connsiteY2015" fmla="*/ 416114 h 943688"/>
                    <a:gd name="connsiteX2016" fmla="*/ 186940 w 1156578"/>
                    <a:gd name="connsiteY2016" fmla="*/ 418118 h 943688"/>
                    <a:gd name="connsiteX2017" fmla="*/ 187110 w 1156578"/>
                    <a:gd name="connsiteY2017" fmla="*/ 418773 h 943688"/>
                    <a:gd name="connsiteX2018" fmla="*/ 187402 w 1156578"/>
                    <a:gd name="connsiteY2018" fmla="*/ 419369 h 943688"/>
                    <a:gd name="connsiteX2019" fmla="*/ 188191 w 1156578"/>
                    <a:gd name="connsiteY2019" fmla="*/ 420947 h 943688"/>
                    <a:gd name="connsiteX2020" fmla="*/ 188665 w 1156578"/>
                    <a:gd name="connsiteY2020" fmla="*/ 421882 h 943688"/>
                    <a:gd name="connsiteX2021" fmla="*/ 189418 w 1156578"/>
                    <a:gd name="connsiteY2021" fmla="*/ 422611 h 943688"/>
                    <a:gd name="connsiteX2022" fmla="*/ 190401 w 1156578"/>
                    <a:gd name="connsiteY2022" fmla="*/ 423558 h 943688"/>
                    <a:gd name="connsiteX2023" fmla="*/ 192174 w 1156578"/>
                    <a:gd name="connsiteY2023" fmla="*/ 425258 h 943688"/>
                    <a:gd name="connsiteX2024" fmla="*/ 193145 w 1156578"/>
                    <a:gd name="connsiteY2024" fmla="*/ 425258 h 943688"/>
                    <a:gd name="connsiteX2025" fmla="*/ 191409 w 1156578"/>
                    <a:gd name="connsiteY2025" fmla="*/ 439526 h 943688"/>
                    <a:gd name="connsiteX2026" fmla="*/ 191373 w 1156578"/>
                    <a:gd name="connsiteY2026" fmla="*/ 439890 h 943688"/>
                    <a:gd name="connsiteX2027" fmla="*/ 191373 w 1156578"/>
                    <a:gd name="connsiteY2027" fmla="*/ 440255 h 943688"/>
                    <a:gd name="connsiteX2028" fmla="*/ 191373 w 1156578"/>
                    <a:gd name="connsiteY2028" fmla="*/ 443897 h 943688"/>
                    <a:gd name="connsiteX2029" fmla="*/ 191373 w 1156578"/>
                    <a:gd name="connsiteY2029" fmla="*/ 445099 h 943688"/>
                    <a:gd name="connsiteX2030" fmla="*/ 191834 w 1156578"/>
                    <a:gd name="connsiteY2030" fmla="*/ 446217 h 943688"/>
                    <a:gd name="connsiteX2031" fmla="*/ 192356 w 1156578"/>
                    <a:gd name="connsiteY2031" fmla="*/ 447480 h 943688"/>
                    <a:gd name="connsiteX2032" fmla="*/ 192623 w 1156578"/>
                    <a:gd name="connsiteY2032" fmla="*/ 448147 h 943688"/>
                    <a:gd name="connsiteX2033" fmla="*/ 193048 w 1156578"/>
                    <a:gd name="connsiteY2033" fmla="*/ 448730 h 943688"/>
                    <a:gd name="connsiteX2034" fmla="*/ 193607 w 1156578"/>
                    <a:gd name="connsiteY2034" fmla="*/ 449507 h 943688"/>
                    <a:gd name="connsiteX2035" fmla="*/ 193971 w 1156578"/>
                    <a:gd name="connsiteY2035" fmla="*/ 450236 h 943688"/>
                    <a:gd name="connsiteX2036" fmla="*/ 194311 w 1156578"/>
                    <a:gd name="connsiteY2036" fmla="*/ 451305 h 943688"/>
                    <a:gd name="connsiteX2037" fmla="*/ 194469 w 1156578"/>
                    <a:gd name="connsiteY2037" fmla="*/ 460691 h 943688"/>
                    <a:gd name="connsiteX2038" fmla="*/ 194481 w 1156578"/>
                    <a:gd name="connsiteY2038" fmla="*/ 461152 h 943688"/>
                    <a:gd name="connsiteX2039" fmla="*/ 194554 w 1156578"/>
                    <a:gd name="connsiteY2039" fmla="*/ 461614 h 943688"/>
                    <a:gd name="connsiteX2040" fmla="*/ 195902 w 1156578"/>
                    <a:gd name="connsiteY2040" fmla="*/ 469434 h 943688"/>
                    <a:gd name="connsiteX2041" fmla="*/ 195902 w 1156578"/>
                    <a:gd name="connsiteY2041" fmla="*/ 473380 h 943688"/>
                    <a:gd name="connsiteX2042" fmla="*/ 195635 w 1156578"/>
                    <a:gd name="connsiteY2042" fmla="*/ 475384 h 943688"/>
                    <a:gd name="connsiteX2043" fmla="*/ 191968 w 1156578"/>
                    <a:gd name="connsiteY2043" fmla="*/ 487782 h 943688"/>
                    <a:gd name="connsiteX2044" fmla="*/ 191773 w 1156578"/>
                    <a:gd name="connsiteY2044" fmla="*/ 488450 h 943688"/>
                    <a:gd name="connsiteX2045" fmla="*/ 191737 w 1156578"/>
                    <a:gd name="connsiteY2045" fmla="*/ 489166 h 943688"/>
                    <a:gd name="connsiteX2046" fmla="*/ 191555 w 1156578"/>
                    <a:gd name="connsiteY2046" fmla="*/ 492360 h 943688"/>
                    <a:gd name="connsiteX2047" fmla="*/ 191494 w 1156578"/>
                    <a:gd name="connsiteY2047" fmla="*/ 493428 h 943688"/>
                    <a:gd name="connsiteX2048" fmla="*/ 191798 w 1156578"/>
                    <a:gd name="connsiteY2048" fmla="*/ 494448 h 943688"/>
                    <a:gd name="connsiteX2049" fmla="*/ 192380 w 1156578"/>
                    <a:gd name="connsiteY2049" fmla="*/ 496403 h 943688"/>
                    <a:gd name="connsiteX2050" fmla="*/ 193182 w 1156578"/>
                    <a:gd name="connsiteY2050" fmla="*/ 499063 h 943688"/>
                    <a:gd name="connsiteX2051" fmla="*/ 195708 w 1156578"/>
                    <a:gd name="connsiteY2051" fmla="*/ 500204 h 943688"/>
                    <a:gd name="connsiteX2052" fmla="*/ 204281 w 1156578"/>
                    <a:gd name="connsiteY2052" fmla="*/ 504053 h 943688"/>
                    <a:gd name="connsiteX2053" fmla="*/ 204621 w 1156578"/>
                    <a:gd name="connsiteY2053" fmla="*/ 504308 h 943688"/>
                    <a:gd name="connsiteX2054" fmla="*/ 207341 w 1156578"/>
                    <a:gd name="connsiteY2054" fmla="*/ 506883 h 943688"/>
                    <a:gd name="connsiteX2055" fmla="*/ 207851 w 1156578"/>
                    <a:gd name="connsiteY2055" fmla="*/ 507368 h 943688"/>
                    <a:gd name="connsiteX2056" fmla="*/ 208470 w 1156578"/>
                    <a:gd name="connsiteY2056" fmla="*/ 507721 h 943688"/>
                    <a:gd name="connsiteX2057" fmla="*/ 209271 w 1156578"/>
                    <a:gd name="connsiteY2057" fmla="*/ 508182 h 943688"/>
                    <a:gd name="connsiteX2058" fmla="*/ 209769 w 1156578"/>
                    <a:gd name="connsiteY2058" fmla="*/ 508473 h 943688"/>
                    <a:gd name="connsiteX2059" fmla="*/ 210304 w 1156578"/>
                    <a:gd name="connsiteY2059" fmla="*/ 508668 h 943688"/>
                    <a:gd name="connsiteX2060" fmla="*/ 211226 w 1156578"/>
                    <a:gd name="connsiteY2060" fmla="*/ 508971 h 943688"/>
                    <a:gd name="connsiteX2061" fmla="*/ 211955 w 1156578"/>
                    <a:gd name="connsiteY2061" fmla="*/ 509226 h 943688"/>
                    <a:gd name="connsiteX2062" fmla="*/ 212708 w 1156578"/>
                    <a:gd name="connsiteY2062" fmla="*/ 509287 h 943688"/>
                    <a:gd name="connsiteX2063" fmla="*/ 215355 w 1156578"/>
                    <a:gd name="connsiteY2063" fmla="*/ 509518 h 943688"/>
                    <a:gd name="connsiteX2064" fmla="*/ 215828 w 1156578"/>
                    <a:gd name="connsiteY2064" fmla="*/ 509566 h 943688"/>
                    <a:gd name="connsiteX2065" fmla="*/ 216290 w 1156578"/>
                    <a:gd name="connsiteY2065" fmla="*/ 509530 h 943688"/>
                    <a:gd name="connsiteX2066" fmla="*/ 223454 w 1156578"/>
                    <a:gd name="connsiteY2066" fmla="*/ 509032 h 943688"/>
                    <a:gd name="connsiteX2067" fmla="*/ 224025 w 1156578"/>
                    <a:gd name="connsiteY2067" fmla="*/ 509068 h 943688"/>
                    <a:gd name="connsiteX2068" fmla="*/ 224353 w 1156578"/>
                    <a:gd name="connsiteY2068" fmla="*/ 509141 h 943688"/>
                    <a:gd name="connsiteX2069" fmla="*/ 224353 w 1156578"/>
                    <a:gd name="connsiteY2069" fmla="*/ 509153 h 943688"/>
                    <a:gd name="connsiteX2070" fmla="*/ 224365 w 1156578"/>
                    <a:gd name="connsiteY2070" fmla="*/ 509166 h 943688"/>
                    <a:gd name="connsiteX2071" fmla="*/ 226101 w 1156578"/>
                    <a:gd name="connsiteY2071" fmla="*/ 511412 h 943688"/>
                    <a:gd name="connsiteX2072" fmla="*/ 226308 w 1156578"/>
                    <a:gd name="connsiteY2072" fmla="*/ 511667 h 943688"/>
                    <a:gd name="connsiteX2073" fmla="*/ 226539 w 1156578"/>
                    <a:gd name="connsiteY2073" fmla="*/ 511910 h 943688"/>
                    <a:gd name="connsiteX2074" fmla="*/ 227340 w 1156578"/>
                    <a:gd name="connsiteY2074" fmla="*/ 512736 h 943688"/>
                    <a:gd name="connsiteX2075" fmla="*/ 227680 w 1156578"/>
                    <a:gd name="connsiteY2075" fmla="*/ 513088 h 943688"/>
                    <a:gd name="connsiteX2076" fmla="*/ 228069 w 1156578"/>
                    <a:gd name="connsiteY2076" fmla="*/ 513379 h 943688"/>
                    <a:gd name="connsiteX2077" fmla="*/ 228870 w 1156578"/>
                    <a:gd name="connsiteY2077" fmla="*/ 513986 h 943688"/>
                    <a:gd name="connsiteX2078" fmla="*/ 229319 w 1156578"/>
                    <a:gd name="connsiteY2078" fmla="*/ 514314 h 943688"/>
                    <a:gd name="connsiteX2079" fmla="*/ 229817 w 1156578"/>
                    <a:gd name="connsiteY2079" fmla="*/ 514557 h 943688"/>
                    <a:gd name="connsiteX2080" fmla="*/ 230801 w 1156578"/>
                    <a:gd name="connsiteY2080" fmla="*/ 515043 h 943688"/>
                    <a:gd name="connsiteX2081" fmla="*/ 231238 w 1156578"/>
                    <a:gd name="connsiteY2081" fmla="*/ 515273 h 943688"/>
                    <a:gd name="connsiteX2082" fmla="*/ 231699 w 1156578"/>
                    <a:gd name="connsiteY2082" fmla="*/ 515419 h 943688"/>
                    <a:gd name="connsiteX2083" fmla="*/ 233072 w 1156578"/>
                    <a:gd name="connsiteY2083" fmla="*/ 515844 h 943688"/>
                    <a:gd name="connsiteX2084" fmla="*/ 234334 w 1156578"/>
                    <a:gd name="connsiteY2084" fmla="*/ 516233 h 943688"/>
                    <a:gd name="connsiteX2085" fmla="*/ 235634 w 1156578"/>
                    <a:gd name="connsiteY2085" fmla="*/ 516063 h 943688"/>
                    <a:gd name="connsiteX2086" fmla="*/ 236957 w 1156578"/>
                    <a:gd name="connsiteY2086" fmla="*/ 515893 h 943688"/>
                    <a:gd name="connsiteX2087" fmla="*/ 237674 w 1156578"/>
                    <a:gd name="connsiteY2087" fmla="*/ 515795 h 943688"/>
                    <a:gd name="connsiteX2088" fmla="*/ 238341 w 1156578"/>
                    <a:gd name="connsiteY2088" fmla="*/ 515540 h 943688"/>
                    <a:gd name="connsiteX2089" fmla="*/ 239884 w 1156578"/>
                    <a:gd name="connsiteY2089" fmla="*/ 514958 h 943688"/>
                    <a:gd name="connsiteX2090" fmla="*/ 240564 w 1156578"/>
                    <a:gd name="connsiteY2090" fmla="*/ 514703 h 943688"/>
                    <a:gd name="connsiteX2091" fmla="*/ 241159 w 1156578"/>
                    <a:gd name="connsiteY2091" fmla="*/ 514302 h 943688"/>
                    <a:gd name="connsiteX2092" fmla="*/ 243174 w 1156578"/>
                    <a:gd name="connsiteY2092" fmla="*/ 512930 h 943688"/>
                    <a:gd name="connsiteX2093" fmla="*/ 243344 w 1156578"/>
                    <a:gd name="connsiteY2093" fmla="*/ 512820 h 943688"/>
                    <a:gd name="connsiteX2094" fmla="*/ 244668 w 1156578"/>
                    <a:gd name="connsiteY2094" fmla="*/ 512833 h 943688"/>
                    <a:gd name="connsiteX2095" fmla="*/ 245615 w 1156578"/>
                    <a:gd name="connsiteY2095" fmla="*/ 512942 h 943688"/>
                    <a:gd name="connsiteX2096" fmla="*/ 245627 w 1156578"/>
                    <a:gd name="connsiteY2096" fmla="*/ 513500 h 943688"/>
                    <a:gd name="connsiteX2097" fmla="*/ 245384 w 1156578"/>
                    <a:gd name="connsiteY2097" fmla="*/ 515322 h 943688"/>
                    <a:gd name="connsiteX2098" fmla="*/ 242956 w 1156578"/>
                    <a:gd name="connsiteY2098" fmla="*/ 524514 h 943688"/>
                    <a:gd name="connsiteX2099" fmla="*/ 242822 w 1156578"/>
                    <a:gd name="connsiteY2099" fmla="*/ 525036 h 943688"/>
                    <a:gd name="connsiteX2100" fmla="*/ 242786 w 1156578"/>
                    <a:gd name="connsiteY2100" fmla="*/ 525559 h 943688"/>
                    <a:gd name="connsiteX2101" fmla="*/ 242616 w 1156578"/>
                    <a:gd name="connsiteY2101" fmla="*/ 527623 h 943688"/>
                    <a:gd name="connsiteX2102" fmla="*/ 242567 w 1156578"/>
                    <a:gd name="connsiteY2102" fmla="*/ 528230 h 943688"/>
                    <a:gd name="connsiteX2103" fmla="*/ 242628 w 1156578"/>
                    <a:gd name="connsiteY2103" fmla="*/ 528825 h 943688"/>
                    <a:gd name="connsiteX2104" fmla="*/ 242810 w 1156578"/>
                    <a:gd name="connsiteY2104" fmla="*/ 530343 h 943688"/>
                    <a:gd name="connsiteX2105" fmla="*/ 242944 w 1156578"/>
                    <a:gd name="connsiteY2105" fmla="*/ 531521 h 943688"/>
                    <a:gd name="connsiteX2106" fmla="*/ 243514 w 1156578"/>
                    <a:gd name="connsiteY2106" fmla="*/ 532565 h 943688"/>
                    <a:gd name="connsiteX2107" fmla="*/ 244024 w 1156578"/>
                    <a:gd name="connsiteY2107" fmla="*/ 533500 h 943688"/>
                    <a:gd name="connsiteX2108" fmla="*/ 244765 w 1156578"/>
                    <a:gd name="connsiteY2108" fmla="*/ 534678 h 943688"/>
                    <a:gd name="connsiteX2109" fmla="*/ 245202 w 1156578"/>
                    <a:gd name="connsiteY2109" fmla="*/ 535370 h 943688"/>
                    <a:gd name="connsiteX2110" fmla="*/ 245809 w 1156578"/>
                    <a:gd name="connsiteY2110" fmla="*/ 535916 h 943688"/>
                    <a:gd name="connsiteX2111" fmla="*/ 246271 w 1156578"/>
                    <a:gd name="connsiteY2111" fmla="*/ 536329 h 943688"/>
                    <a:gd name="connsiteX2112" fmla="*/ 246222 w 1156578"/>
                    <a:gd name="connsiteY2112" fmla="*/ 536378 h 943688"/>
                    <a:gd name="connsiteX2113" fmla="*/ 245555 w 1156578"/>
                    <a:gd name="connsiteY2113" fmla="*/ 536839 h 943688"/>
                    <a:gd name="connsiteX2114" fmla="*/ 242288 w 1156578"/>
                    <a:gd name="connsiteY2114" fmla="*/ 537920 h 943688"/>
                    <a:gd name="connsiteX2115" fmla="*/ 241997 w 1156578"/>
                    <a:gd name="connsiteY2115" fmla="*/ 538017 h 943688"/>
                    <a:gd name="connsiteX2116" fmla="*/ 241717 w 1156578"/>
                    <a:gd name="connsiteY2116" fmla="*/ 538151 h 943688"/>
                    <a:gd name="connsiteX2117" fmla="*/ 239762 w 1156578"/>
                    <a:gd name="connsiteY2117" fmla="*/ 539025 h 943688"/>
                    <a:gd name="connsiteX2118" fmla="*/ 237164 w 1156578"/>
                    <a:gd name="connsiteY2118" fmla="*/ 540470 h 943688"/>
                    <a:gd name="connsiteX2119" fmla="*/ 236702 w 1156578"/>
                    <a:gd name="connsiteY2119" fmla="*/ 540725 h 943688"/>
                    <a:gd name="connsiteX2120" fmla="*/ 236301 w 1156578"/>
                    <a:gd name="connsiteY2120" fmla="*/ 541065 h 943688"/>
                    <a:gd name="connsiteX2121" fmla="*/ 234201 w 1156578"/>
                    <a:gd name="connsiteY2121" fmla="*/ 542814 h 943688"/>
                    <a:gd name="connsiteX2122" fmla="*/ 234456 w 1156578"/>
                    <a:gd name="connsiteY2122" fmla="*/ 542012 h 943688"/>
                    <a:gd name="connsiteX2123" fmla="*/ 234614 w 1156578"/>
                    <a:gd name="connsiteY2123" fmla="*/ 541490 h 943688"/>
                    <a:gd name="connsiteX2124" fmla="*/ 234674 w 1156578"/>
                    <a:gd name="connsiteY2124" fmla="*/ 540956 h 943688"/>
                    <a:gd name="connsiteX2125" fmla="*/ 234905 w 1156578"/>
                    <a:gd name="connsiteY2125" fmla="*/ 539086 h 943688"/>
                    <a:gd name="connsiteX2126" fmla="*/ 235306 w 1156578"/>
                    <a:gd name="connsiteY2126" fmla="*/ 535832 h 943688"/>
                    <a:gd name="connsiteX2127" fmla="*/ 232816 w 1156578"/>
                    <a:gd name="connsiteY2127" fmla="*/ 533719 h 943688"/>
                    <a:gd name="connsiteX2128" fmla="*/ 231845 w 1156578"/>
                    <a:gd name="connsiteY2128" fmla="*/ 532893 h 943688"/>
                    <a:gd name="connsiteX2129" fmla="*/ 230667 w 1156578"/>
                    <a:gd name="connsiteY2129" fmla="*/ 531885 h 943688"/>
                    <a:gd name="connsiteX2130" fmla="*/ 229149 w 1156578"/>
                    <a:gd name="connsiteY2130" fmla="*/ 531569 h 943688"/>
                    <a:gd name="connsiteX2131" fmla="*/ 227413 w 1156578"/>
                    <a:gd name="connsiteY2131" fmla="*/ 531205 h 943688"/>
                    <a:gd name="connsiteX2132" fmla="*/ 226879 w 1156578"/>
                    <a:gd name="connsiteY2132" fmla="*/ 531096 h 943688"/>
                    <a:gd name="connsiteX2133" fmla="*/ 226332 w 1156578"/>
                    <a:gd name="connsiteY2133" fmla="*/ 531072 h 943688"/>
                    <a:gd name="connsiteX2134" fmla="*/ 220054 w 1156578"/>
                    <a:gd name="connsiteY2134" fmla="*/ 530889 h 943688"/>
                    <a:gd name="connsiteX2135" fmla="*/ 219180 w 1156578"/>
                    <a:gd name="connsiteY2135" fmla="*/ 530574 h 943688"/>
                    <a:gd name="connsiteX2136" fmla="*/ 214833 w 1156578"/>
                    <a:gd name="connsiteY2136" fmla="*/ 528194 h 943688"/>
                    <a:gd name="connsiteX2137" fmla="*/ 214444 w 1156578"/>
                    <a:gd name="connsiteY2137" fmla="*/ 527975 h 943688"/>
                    <a:gd name="connsiteX2138" fmla="*/ 214019 w 1156578"/>
                    <a:gd name="connsiteY2138" fmla="*/ 527817 h 943688"/>
                    <a:gd name="connsiteX2139" fmla="*/ 211615 w 1156578"/>
                    <a:gd name="connsiteY2139" fmla="*/ 526931 h 943688"/>
                    <a:gd name="connsiteX2140" fmla="*/ 211020 w 1156578"/>
                    <a:gd name="connsiteY2140" fmla="*/ 526700 h 943688"/>
                    <a:gd name="connsiteX2141" fmla="*/ 210388 w 1156578"/>
                    <a:gd name="connsiteY2141" fmla="*/ 526615 h 943688"/>
                    <a:gd name="connsiteX2142" fmla="*/ 192648 w 1156578"/>
                    <a:gd name="connsiteY2142" fmla="*/ 523980 h 943688"/>
                    <a:gd name="connsiteX2143" fmla="*/ 192053 w 1156578"/>
                    <a:gd name="connsiteY2143" fmla="*/ 523883 h 943688"/>
                    <a:gd name="connsiteX2144" fmla="*/ 191445 w 1156578"/>
                    <a:gd name="connsiteY2144" fmla="*/ 523919 h 943688"/>
                    <a:gd name="connsiteX2145" fmla="*/ 189430 w 1156578"/>
                    <a:gd name="connsiteY2145" fmla="*/ 524028 h 943688"/>
                    <a:gd name="connsiteX2146" fmla="*/ 189102 w 1156578"/>
                    <a:gd name="connsiteY2146" fmla="*/ 524041 h 943688"/>
                    <a:gd name="connsiteX2147" fmla="*/ 188786 w 1156578"/>
                    <a:gd name="connsiteY2147" fmla="*/ 524089 h 943688"/>
                    <a:gd name="connsiteX2148" fmla="*/ 187013 w 1156578"/>
                    <a:gd name="connsiteY2148" fmla="*/ 524369 h 943688"/>
                    <a:gd name="connsiteX2149" fmla="*/ 186188 w 1156578"/>
                    <a:gd name="connsiteY2149" fmla="*/ 524514 h 943688"/>
                    <a:gd name="connsiteX2150" fmla="*/ 185435 w 1156578"/>
                    <a:gd name="connsiteY2150" fmla="*/ 524854 h 943688"/>
                    <a:gd name="connsiteX2151" fmla="*/ 183990 w 1156578"/>
                    <a:gd name="connsiteY2151" fmla="*/ 525522 h 943688"/>
                    <a:gd name="connsiteX2152" fmla="*/ 183613 w 1156578"/>
                    <a:gd name="connsiteY2152" fmla="*/ 525704 h 943688"/>
                    <a:gd name="connsiteX2153" fmla="*/ 183261 w 1156578"/>
                    <a:gd name="connsiteY2153" fmla="*/ 525935 h 943688"/>
                    <a:gd name="connsiteX2154" fmla="*/ 182059 w 1156578"/>
                    <a:gd name="connsiteY2154" fmla="*/ 526700 h 943688"/>
                    <a:gd name="connsiteX2155" fmla="*/ 181561 w 1156578"/>
                    <a:gd name="connsiteY2155" fmla="*/ 527003 h 943688"/>
                    <a:gd name="connsiteX2156" fmla="*/ 181136 w 1156578"/>
                    <a:gd name="connsiteY2156" fmla="*/ 527416 h 943688"/>
                    <a:gd name="connsiteX2157" fmla="*/ 180104 w 1156578"/>
                    <a:gd name="connsiteY2157" fmla="*/ 528400 h 943688"/>
                    <a:gd name="connsiteX2158" fmla="*/ 179764 w 1156578"/>
                    <a:gd name="connsiteY2158" fmla="*/ 528716 h 943688"/>
                    <a:gd name="connsiteX2159" fmla="*/ 179473 w 1156578"/>
                    <a:gd name="connsiteY2159" fmla="*/ 529092 h 943688"/>
                    <a:gd name="connsiteX2160" fmla="*/ 178841 w 1156578"/>
                    <a:gd name="connsiteY2160" fmla="*/ 529918 h 943688"/>
                    <a:gd name="connsiteX2161" fmla="*/ 177724 w 1156578"/>
                    <a:gd name="connsiteY2161" fmla="*/ 531606 h 943688"/>
                    <a:gd name="connsiteX2162" fmla="*/ 177615 w 1156578"/>
                    <a:gd name="connsiteY2162" fmla="*/ 531763 h 943688"/>
                    <a:gd name="connsiteX2163" fmla="*/ 168568 w 1156578"/>
                    <a:gd name="connsiteY2163" fmla="*/ 513136 h 943688"/>
                    <a:gd name="connsiteX2164" fmla="*/ 168337 w 1156578"/>
                    <a:gd name="connsiteY2164" fmla="*/ 512675 h 943688"/>
                    <a:gd name="connsiteX2165" fmla="*/ 168034 w 1156578"/>
                    <a:gd name="connsiteY2165" fmla="*/ 512250 h 943688"/>
                    <a:gd name="connsiteX2166" fmla="*/ 166030 w 1156578"/>
                    <a:gd name="connsiteY2166" fmla="*/ 509469 h 943688"/>
                    <a:gd name="connsiteX2167" fmla="*/ 165532 w 1156578"/>
                    <a:gd name="connsiteY2167" fmla="*/ 508765 h 943688"/>
                    <a:gd name="connsiteX2168" fmla="*/ 164852 w 1156578"/>
                    <a:gd name="connsiteY2168" fmla="*/ 508243 h 943688"/>
                    <a:gd name="connsiteX2169" fmla="*/ 163408 w 1156578"/>
                    <a:gd name="connsiteY2169" fmla="*/ 507101 h 943688"/>
                    <a:gd name="connsiteX2170" fmla="*/ 162388 w 1156578"/>
                    <a:gd name="connsiteY2170" fmla="*/ 506288 h 943688"/>
                    <a:gd name="connsiteX2171" fmla="*/ 161125 w 1156578"/>
                    <a:gd name="connsiteY2171" fmla="*/ 505984 h 943688"/>
                    <a:gd name="connsiteX2172" fmla="*/ 159922 w 1156578"/>
                    <a:gd name="connsiteY2172" fmla="*/ 505693 h 943688"/>
                    <a:gd name="connsiteX2173" fmla="*/ 158720 w 1156578"/>
                    <a:gd name="connsiteY2173" fmla="*/ 505401 h 943688"/>
                    <a:gd name="connsiteX2174" fmla="*/ 157494 w 1156578"/>
                    <a:gd name="connsiteY2174" fmla="*/ 505608 h 943688"/>
                    <a:gd name="connsiteX2175" fmla="*/ 154907 w 1156578"/>
                    <a:gd name="connsiteY2175" fmla="*/ 506020 h 943688"/>
                    <a:gd name="connsiteX2176" fmla="*/ 154616 w 1156578"/>
                    <a:gd name="connsiteY2176" fmla="*/ 505340 h 943688"/>
                    <a:gd name="connsiteX2177" fmla="*/ 154300 w 1156578"/>
                    <a:gd name="connsiteY2177" fmla="*/ 504600 h 943688"/>
                    <a:gd name="connsiteX2178" fmla="*/ 153802 w 1156578"/>
                    <a:gd name="connsiteY2178" fmla="*/ 503968 h 943688"/>
                    <a:gd name="connsiteX2179" fmla="*/ 152940 w 1156578"/>
                    <a:gd name="connsiteY2179" fmla="*/ 502875 h 943688"/>
                    <a:gd name="connsiteX2180" fmla="*/ 152685 w 1156578"/>
                    <a:gd name="connsiteY2180" fmla="*/ 502548 h 943688"/>
                    <a:gd name="connsiteX2181" fmla="*/ 152382 w 1156578"/>
                    <a:gd name="connsiteY2181" fmla="*/ 502256 h 943688"/>
                    <a:gd name="connsiteX2182" fmla="*/ 150949 w 1156578"/>
                    <a:gd name="connsiteY2182" fmla="*/ 500884 h 943688"/>
                    <a:gd name="connsiteX2183" fmla="*/ 150669 w 1156578"/>
                    <a:gd name="connsiteY2183" fmla="*/ 500617 h 943688"/>
                    <a:gd name="connsiteX2184" fmla="*/ 150354 w 1156578"/>
                    <a:gd name="connsiteY2184" fmla="*/ 500386 h 943688"/>
                    <a:gd name="connsiteX2185" fmla="*/ 147962 w 1156578"/>
                    <a:gd name="connsiteY2185" fmla="*/ 498613 h 943688"/>
                    <a:gd name="connsiteX2186" fmla="*/ 142485 w 1156578"/>
                    <a:gd name="connsiteY2186" fmla="*/ 493441 h 943688"/>
                    <a:gd name="connsiteX2187" fmla="*/ 142230 w 1156578"/>
                    <a:gd name="connsiteY2187" fmla="*/ 493198 h 943688"/>
                    <a:gd name="connsiteX2188" fmla="*/ 141951 w 1156578"/>
                    <a:gd name="connsiteY2188" fmla="*/ 492979 h 943688"/>
                    <a:gd name="connsiteX2189" fmla="*/ 140919 w 1156578"/>
                    <a:gd name="connsiteY2189" fmla="*/ 492214 h 943688"/>
                    <a:gd name="connsiteX2190" fmla="*/ 140384 w 1156578"/>
                    <a:gd name="connsiteY2190" fmla="*/ 491813 h 943688"/>
                    <a:gd name="connsiteX2191" fmla="*/ 139777 w 1156578"/>
                    <a:gd name="connsiteY2191" fmla="*/ 491546 h 943688"/>
                    <a:gd name="connsiteX2192" fmla="*/ 138745 w 1156578"/>
                    <a:gd name="connsiteY2192" fmla="*/ 491085 h 943688"/>
                    <a:gd name="connsiteX2193" fmla="*/ 138174 w 1156578"/>
                    <a:gd name="connsiteY2193" fmla="*/ 490830 h 943688"/>
                    <a:gd name="connsiteX2194" fmla="*/ 137567 w 1156578"/>
                    <a:gd name="connsiteY2194" fmla="*/ 490696 h 943688"/>
                    <a:gd name="connsiteX2195" fmla="*/ 136814 w 1156578"/>
                    <a:gd name="connsiteY2195" fmla="*/ 490526 h 943688"/>
                    <a:gd name="connsiteX2196" fmla="*/ 136474 w 1156578"/>
                    <a:gd name="connsiteY2196" fmla="*/ 490453 h 943688"/>
                    <a:gd name="connsiteX2197" fmla="*/ 136122 w 1156578"/>
                    <a:gd name="connsiteY2197" fmla="*/ 490417 h 943688"/>
                    <a:gd name="connsiteX2198" fmla="*/ 134981 w 1156578"/>
                    <a:gd name="connsiteY2198" fmla="*/ 490296 h 943688"/>
                    <a:gd name="connsiteX2199" fmla="*/ 133827 w 1156578"/>
                    <a:gd name="connsiteY2199" fmla="*/ 490174 h 943688"/>
                    <a:gd name="connsiteX2200" fmla="*/ 132710 w 1156578"/>
                    <a:gd name="connsiteY2200" fmla="*/ 490478 h 943688"/>
                    <a:gd name="connsiteX2201" fmla="*/ 131909 w 1156578"/>
                    <a:gd name="connsiteY2201" fmla="*/ 490708 h 943688"/>
                    <a:gd name="connsiteX2202" fmla="*/ 130816 w 1156578"/>
                    <a:gd name="connsiteY2202" fmla="*/ 491012 h 943688"/>
                    <a:gd name="connsiteX2203" fmla="*/ 129917 w 1156578"/>
                    <a:gd name="connsiteY2203" fmla="*/ 491692 h 943688"/>
                    <a:gd name="connsiteX2204" fmla="*/ 128994 w 1156578"/>
                    <a:gd name="connsiteY2204" fmla="*/ 492384 h 943688"/>
                    <a:gd name="connsiteX2205" fmla="*/ 128254 w 1156578"/>
                    <a:gd name="connsiteY2205" fmla="*/ 492943 h 943688"/>
                    <a:gd name="connsiteX2206" fmla="*/ 127707 w 1156578"/>
                    <a:gd name="connsiteY2206" fmla="*/ 493696 h 943688"/>
                    <a:gd name="connsiteX2207" fmla="*/ 126857 w 1156578"/>
                    <a:gd name="connsiteY2207" fmla="*/ 494885 h 943688"/>
                    <a:gd name="connsiteX2208" fmla="*/ 126675 w 1156578"/>
                    <a:gd name="connsiteY2208" fmla="*/ 495140 h 943688"/>
                    <a:gd name="connsiteX2209" fmla="*/ 126663 w 1156578"/>
                    <a:gd name="connsiteY2209" fmla="*/ 495165 h 943688"/>
                    <a:gd name="connsiteX2210" fmla="*/ 126566 w 1156578"/>
                    <a:gd name="connsiteY2210" fmla="*/ 495056 h 943688"/>
                    <a:gd name="connsiteX2211" fmla="*/ 117434 w 1156578"/>
                    <a:gd name="connsiteY2211" fmla="*/ 484685 h 943688"/>
                    <a:gd name="connsiteX2212" fmla="*/ 117021 w 1156578"/>
                    <a:gd name="connsiteY2212" fmla="*/ 484212 h 943688"/>
                    <a:gd name="connsiteX2213" fmla="*/ 116524 w 1156578"/>
                    <a:gd name="connsiteY2213" fmla="*/ 483848 h 943688"/>
                    <a:gd name="connsiteX2214" fmla="*/ 114921 w 1156578"/>
                    <a:gd name="connsiteY2214" fmla="*/ 482633 h 943688"/>
                    <a:gd name="connsiteX2215" fmla="*/ 113961 w 1156578"/>
                    <a:gd name="connsiteY2215" fmla="*/ 481905 h 943688"/>
                    <a:gd name="connsiteX2216" fmla="*/ 112796 w 1156578"/>
                    <a:gd name="connsiteY2216" fmla="*/ 481601 h 943688"/>
                    <a:gd name="connsiteX2217" fmla="*/ 111472 w 1156578"/>
                    <a:gd name="connsiteY2217" fmla="*/ 481261 h 943688"/>
                    <a:gd name="connsiteX2218" fmla="*/ 110173 w 1156578"/>
                    <a:gd name="connsiteY2218" fmla="*/ 480933 h 943688"/>
                    <a:gd name="connsiteX2219" fmla="*/ 108861 w 1156578"/>
                    <a:gd name="connsiteY2219" fmla="*/ 481176 h 943688"/>
                    <a:gd name="connsiteX2220" fmla="*/ 107890 w 1156578"/>
                    <a:gd name="connsiteY2220" fmla="*/ 481358 h 943688"/>
                    <a:gd name="connsiteX2221" fmla="*/ 106530 w 1156578"/>
                    <a:gd name="connsiteY2221" fmla="*/ 481613 h 943688"/>
                    <a:gd name="connsiteX2222" fmla="*/ 105413 w 1156578"/>
                    <a:gd name="connsiteY2222" fmla="*/ 482427 h 943688"/>
                    <a:gd name="connsiteX2223" fmla="*/ 103567 w 1156578"/>
                    <a:gd name="connsiteY2223" fmla="*/ 483762 h 943688"/>
                    <a:gd name="connsiteX2224" fmla="*/ 103008 w 1156578"/>
                    <a:gd name="connsiteY2224" fmla="*/ 484163 h 943688"/>
                    <a:gd name="connsiteX2225" fmla="*/ 102559 w 1156578"/>
                    <a:gd name="connsiteY2225" fmla="*/ 484685 h 943688"/>
                    <a:gd name="connsiteX2226" fmla="*/ 97107 w 1156578"/>
                    <a:gd name="connsiteY2226" fmla="*/ 490976 h 943688"/>
                    <a:gd name="connsiteX2227" fmla="*/ 94824 w 1156578"/>
                    <a:gd name="connsiteY2227" fmla="*/ 492347 h 943688"/>
                    <a:gd name="connsiteX2228" fmla="*/ 93161 w 1156578"/>
                    <a:gd name="connsiteY2228" fmla="*/ 493040 h 943688"/>
                    <a:gd name="connsiteX2229" fmla="*/ 91643 w 1156578"/>
                    <a:gd name="connsiteY2229" fmla="*/ 493683 h 943688"/>
                    <a:gd name="connsiteX2230" fmla="*/ 90647 w 1156578"/>
                    <a:gd name="connsiteY2230" fmla="*/ 494983 h 943688"/>
                    <a:gd name="connsiteX2231" fmla="*/ 89214 w 1156578"/>
                    <a:gd name="connsiteY2231" fmla="*/ 496877 h 943688"/>
                    <a:gd name="connsiteX2232" fmla="*/ 88959 w 1156578"/>
                    <a:gd name="connsiteY2232" fmla="*/ 497229 h 943688"/>
                    <a:gd name="connsiteX2233" fmla="*/ 88741 w 1156578"/>
                    <a:gd name="connsiteY2233" fmla="*/ 497606 h 943688"/>
                    <a:gd name="connsiteX2234" fmla="*/ 81103 w 1156578"/>
                    <a:gd name="connsiteY2234" fmla="*/ 511485 h 943688"/>
                    <a:gd name="connsiteX2235" fmla="*/ 80896 w 1156578"/>
                    <a:gd name="connsiteY2235" fmla="*/ 511849 h 943688"/>
                    <a:gd name="connsiteX2236" fmla="*/ 80750 w 1156578"/>
                    <a:gd name="connsiteY2236" fmla="*/ 512238 h 943688"/>
                    <a:gd name="connsiteX2237" fmla="*/ 80010 w 1156578"/>
                    <a:gd name="connsiteY2237" fmla="*/ 514169 h 943688"/>
                    <a:gd name="connsiteX2238" fmla="*/ 79852 w 1156578"/>
                    <a:gd name="connsiteY2238" fmla="*/ 514569 h 943688"/>
                    <a:gd name="connsiteX2239" fmla="*/ 79755 w 1156578"/>
                    <a:gd name="connsiteY2239" fmla="*/ 514994 h 943688"/>
                    <a:gd name="connsiteX2240" fmla="*/ 79293 w 1156578"/>
                    <a:gd name="connsiteY2240" fmla="*/ 517034 h 943688"/>
                    <a:gd name="connsiteX2241" fmla="*/ 79111 w 1156578"/>
                    <a:gd name="connsiteY2241" fmla="*/ 517860 h 943688"/>
                    <a:gd name="connsiteX2242" fmla="*/ 79160 w 1156578"/>
                    <a:gd name="connsiteY2242" fmla="*/ 518710 h 943688"/>
                    <a:gd name="connsiteX2243" fmla="*/ 79269 w 1156578"/>
                    <a:gd name="connsiteY2243" fmla="*/ 520726 h 943688"/>
                    <a:gd name="connsiteX2244" fmla="*/ 79305 w 1156578"/>
                    <a:gd name="connsiteY2244" fmla="*/ 521515 h 943688"/>
                    <a:gd name="connsiteX2245" fmla="*/ 79560 w 1156578"/>
                    <a:gd name="connsiteY2245" fmla="*/ 522268 h 943688"/>
                    <a:gd name="connsiteX2246" fmla="*/ 80253 w 1156578"/>
                    <a:gd name="connsiteY2246" fmla="*/ 524369 h 943688"/>
                    <a:gd name="connsiteX2247" fmla="*/ 80471 w 1156578"/>
                    <a:gd name="connsiteY2247" fmla="*/ 525024 h 943688"/>
                    <a:gd name="connsiteX2248" fmla="*/ 80823 w 1156578"/>
                    <a:gd name="connsiteY2248" fmla="*/ 525619 h 943688"/>
                    <a:gd name="connsiteX2249" fmla="*/ 82135 w 1156578"/>
                    <a:gd name="connsiteY2249" fmla="*/ 527805 h 943688"/>
                    <a:gd name="connsiteX2250" fmla="*/ 82450 w 1156578"/>
                    <a:gd name="connsiteY2250" fmla="*/ 528315 h 943688"/>
                    <a:gd name="connsiteX2251" fmla="*/ 82863 w 1156578"/>
                    <a:gd name="connsiteY2251" fmla="*/ 528764 h 943688"/>
                    <a:gd name="connsiteX2252" fmla="*/ 84539 w 1156578"/>
                    <a:gd name="connsiteY2252" fmla="*/ 530598 h 943688"/>
                    <a:gd name="connsiteX2253" fmla="*/ 84867 w 1156578"/>
                    <a:gd name="connsiteY2253" fmla="*/ 530962 h 943688"/>
                    <a:gd name="connsiteX2254" fmla="*/ 85256 w 1156578"/>
                    <a:gd name="connsiteY2254" fmla="*/ 531254 h 943688"/>
                    <a:gd name="connsiteX2255" fmla="*/ 87502 w 1156578"/>
                    <a:gd name="connsiteY2255" fmla="*/ 533026 h 943688"/>
                    <a:gd name="connsiteX2256" fmla="*/ 87878 w 1156578"/>
                    <a:gd name="connsiteY2256" fmla="*/ 533330 h 943688"/>
                    <a:gd name="connsiteX2257" fmla="*/ 88291 w 1156578"/>
                    <a:gd name="connsiteY2257" fmla="*/ 533561 h 943688"/>
                    <a:gd name="connsiteX2258" fmla="*/ 103409 w 1156578"/>
                    <a:gd name="connsiteY2258" fmla="*/ 542049 h 943688"/>
                    <a:gd name="connsiteX2259" fmla="*/ 103761 w 1156578"/>
                    <a:gd name="connsiteY2259" fmla="*/ 542389 h 943688"/>
                    <a:gd name="connsiteX2260" fmla="*/ 104211 w 1156578"/>
                    <a:gd name="connsiteY2260" fmla="*/ 543142 h 943688"/>
                    <a:gd name="connsiteX2261" fmla="*/ 106093 w 1156578"/>
                    <a:gd name="connsiteY2261" fmla="*/ 548096 h 943688"/>
                    <a:gd name="connsiteX2262" fmla="*/ 106360 w 1156578"/>
                    <a:gd name="connsiteY2262" fmla="*/ 548800 h 943688"/>
                    <a:gd name="connsiteX2263" fmla="*/ 106773 w 1156578"/>
                    <a:gd name="connsiteY2263" fmla="*/ 549407 h 943688"/>
                    <a:gd name="connsiteX2264" fmla="*/ 107805 w 1156578"/>
                    <a:gd name="connsiteY2264" fmla="*/ 550901 h 943688"/>
                    <a:gd name="connsiteX2265" fmla="*/ 108546 w 1156578"/>
                    <a:gd name="connsiteY2265" fmla="*/ 551969 h 943688"/>
                    <a:gd name="connsiteX2266" fmla="*/ 109663 w 1156578"/>
                    <a:gd name="connsiteY2266" fmla="*/ 552649 h 943688"/>
                    <a:gd name="connsiteX2267" fmla="*/ 111326 w 1156578"/>
                    <a:gd name="connsiteY2267" fmla="*/ 553657 h 943688"/>
                    <a:gd name="connsiteX2268" fmla="*/ 111909 w 1156578"/>
                    <a:gd name="connsiteY2268" fmla="*/ 554009 h 943688"/>
                    <a:gd name="connsiteX2269" fmla="*/ 112553 w 1156578"/>
                    <a:gd name="connsiteY2269" fmla="*/ 554228 h 943688"/>
                    <a:gd name="connsiteX2270" fmla="*/ 114277 w 1156578"/>
                    <a:gd name="connsiteY2270" fmla="*/ 554799 h 943688"/>
                    <a:gd name="connsiteX2271" fmla="*/ 114896 w 1156578"/>
                    <a:gd name="connsiteY2271" fmla="*/ 555005 h 943688"/>
                    <a:gd name="connsiteX2272" fmla="*/ 115552 w 1156578"/>
                    <a:gd name="connsiteY2272" fmla="*/ 555078 h 943688"/>
                    <a:gd name="connsiteX2273" fmla="*/ 121053 w 1156578"/>
                    <a:gd name="connsiteY2273" fmla="*/ 555661 h 943688"/>
                    <a:gd name="connsiteX2274" fmla="*/ 119681 w 1156578"/>
                    <a:gd name="connsiteY2274" fmla="*/ 561720 h 943688"/>
                    <a:gd name="connsiteX2275" fmla="*/ 119559 w 1156578"/>
                    <a:gd name="connsiteY2275" fmla="*/ 562255 h 943688"/>
                    <a:gd name="connsiteX2276" fmla="*/ 119535 w 1156578"/>
                    <a:gd name="connsiteY2276" fmla="*/ 562801 h 943688"/>
                    <a:gd name="connsiteX2277" fmla="*/ 119365 w 1156578"/>
                    <a:gd name="connsiteY2277" fmla="*/ 566844 h 943688"/>
                    <a:gd name="connsiteX2278" fmla="*/ 119341 w 1156578"/>
                    <a:gd name="connsiteY2278" fmla="*/ 567598 h 943688"/>
                    <a:gd name="connsiteX2279" fmla="*/ 119486 w 1156578"/>
                    <a:gd name="connsiteY2279" fmla="*/ 568326 h 943688"/>
                    <a:gd name="connsiteX2280" fmla="*/ 120239 w 1156578"/>
                    <a:gd name="connsiteY2280" fmla="*/ 572030 h 943688"/>
                    <a:gd name="connsiteX2281" fmla="*/ 121587 w 1156578"/>
                    <a:gd name="connsiteY2281" fmla="*/ 576826 h 943688"/>
                    <a:gd name="connsiteX2282" fmla="*/ 121794 w 1156578"/>
                    <a:gd name="connsiteY2282" fmla="*/ 578514 h 943688"/>
                    <a:gd name="connsiteX2283" fmla="*/ 121624 w 1156578"/>
                    <a:gd name="connsiteY2283" fmla="*/ 580008 h 943688"/>
                    <a:gd name="connsiteX2284" fmla="*/ 120421 w 1156578"/>
                    <a:gd name="connsiteY2284" fmla="*/ 585448 h 943688"/>
                    <a:gd name="connsiteX2285" fmla="*/ 120300 w 1156578"/>
                    <a:gd name="connsiteY2285" fmla="*/ 585994 h 943688"/>
                    <a:gd name="connsiteX2286" fmla="*/ 120288 w 1156578"/>
                    <a:gd name="connsiteY2286" fmla="*/ 586540 h 943688"/>
                    <a:gd name="connsiteX2287" fmla="*/ 119729 w 1156578"/>
                    <a:gd name="connsiteY2287" fmla="*/ 601525 h 943688"/>
                    <a:gd name="connsiteX2288" fmla="*/ 119693 w 1156578"/>
                    <a:gd name="connsiteY2288" fmla="*/ 602460 h 943688"/>
                    <a:gd name="connsiteX2289" fmla="*/ 119948 w 1156578"/>
                    <a:gd name="connsiteY2289" fmla="*/ 603370 h 943688"/>
                    <a:gd name="connsiteX2290" fmla="*/ 120458 w 1156578"/>
                    <a:gd name="connsiteY2290" fmla="*/ 605204 h 943688"/>
                    <a:gd name="connsiteX2291" fmla="*/ 120895 w 1156578"/>
                    <a:gd name="connsiteY2291" fmla="*/ 606746 h 943688"/>
                    <a:gd name="connsiteX2292" fmla="*/ 122036 w 1156578"/>
                    <a:gd name="connsiteY2292" fmla="*/ 607888 h 943688"/>
                    <a:gd name="connsiteX2293" fmla="*/ 123190 w 1156578"/>
                    <a:gd name="connsiteY2293" fmla="*/ 609041 h 943688"/>
                    <a:gd name="connsiteX2294" fmla="*/ 124501 w 1156578"/>
                    <a:gd name="connsiteY2294" fmla="*/ 610341 h 943688"/>
                    <a:gd name="connsiteX2295" fmla="*/ 126323 w 1156578"/>
                    <a:gd name="connsiteY2295" fmla="*/ 610693 h 943688"/>
                    <a:gd name="connsiteX2296" fmla="*/ 130925 w 1156578"/>
                    <a:gd name="connsiteY2296" fmla="*/ 611567 h 943688"/>
                    <a:gd name="connsiteX2297" fmla="*/ 131095 w 1156578"/>
                    <a:gd name="connsiteY2297" fmla="*/ 611834 h 943688"/>
                    <a:gd name="connsiteX2298" fmla="*/ 133973 w 1156578"/>
                    <a:gd name="connsiteY2298" fmla="*/ 618233 h 943688"/>
                    <a:gd name="connsiteX2299" fmla="*/ 134204 w 1156578"/>
                    <a:gd name="connsiteY2299" fmla="*/ 618755 h 943688"/>
                    <a:gd name="connsiteX2300" fmla="*/ 134532 w 1156578"/>
                    <a:gd name="connsiteY2300" fmla="*/ 619217 h 943688"/>
                    <a:gd name="connsiteX2301" fmla="*/ 135284 w 1156578"/>
                    <a:gd name="connsiteY2301" fmla="*/ 620298 h 943688"/>
                    <a:gd name="connsiteX2302" fmla="*/ 135892 w 1156578"/>
                    <a:gd name="connsiteY2302" fmla="*/ 621160 h 943688"/>
                    <a:gd name="connsiteX2303" fmla="*/ 136741 w 1156578"/>
                    <a:gd name="connsiteY2303" fmla="*/ 621767 h 943688"/>
                    <a:gd name="connsiteX2304" fmla="*/ 137713 w 1156578"/>
                    <a:gd name="connsiteY2304" fmla="*/ 622459 h 943688"/>
                    <a:gd name="connsiteX2305" fmla="*/ 138357 w 1156578"/>
                    <a:gd name="connsiteY2305" fmla="*/ 622908 h 943688"/>
                    <a:gd name="connsiteX2306" fmla="*/ 139085 w 1156578"/>
                    <a:gd name="connsiteY2306" fmla="*/ 623188 h 943688"/>
                    <a:gd name="connsiteX2307" fmla="*/ 140239 w 1156578"/>
                    <a:gd name="connsiteY2307" fmla="*/ 623625 h 943688"/>
                    <a:gd name="connsiteX2308" fmla="*/ 140591 w 1156578"/>
                    <a:gd name="connsiteY2308" fmla="*/ 623759 h 943688"/>
                    <a:gd name="connsiteX2309" fmla="*/ 140955 w 1156578"/>
                    <a:gd name="connsiteY2309" fmla="*/ 623843 h 943688"/>
                    <a:gd name="connsiteX2310" fmla="*/ 145035 w 1156578"/>
                    <a:gd name="connsiteY2310" fmla="*/ 624839 h 943688"/>
                    <a:gd name="connsiteX2311" fmla="*/ 145120 w 1156578"/>
                    <a:gd name="connsiteY2311" fmla="*/ 624888 h 943688"/>
                    <a:gd name="connsiteX2312" fmla="*/ 144562 w 1156578"/>
                    <a:gd name="connsiteY2312" fmla="*/ 625228 h 943688"/>
                    <a:gd name="connsiteX2313" fmla="*/ 144100 w 1156578"/>
                    <a:gd name="connsiteY2313" fmla="*/ 625519 h 943688"/>
                    <a:gd name="connsiteX2314" fmla="*/ 143700 w 1156578"/>
                    <a:gd name="connsiteY2314" fmla="*/ 625871 h 943688"/>
                    <a:gd name="connsiteX2315" fmla="*/ 142437 w 1156578"/>
                    <a:gd name="connsiteY2315" fmla="*/ 627025 h 943688"/>
                    <a:gd name="connsiteX2316" fmla="*/ 141538 w 1156578"/>
                    <a:gd name="connsiteY2316" fmla="*/ 627851 h 943688"/>
                    <a:gd name="connsiteX2317" fmla="*/ 141028 w 1156578"/>
                    <a:gd name="connsiteY2317" fmla="*/ 628968 h 943688"/>
                    <a:gd name="connsiteX2318" fmla="*/ 140214 w 1156578"/>
                    <a:gd name="connsiteY2318" fmla="*/ 630729 h 943688"/>
                    <a:gd name="connsiteX2319" fmla="*/ 139352 w 1156578"/>
                    <a:gd name="connsiteY2319" fmla="*/ 632599 h 943688"/>
                    <a:gd name="connsiteX2320" fmla="*/ 139802 w 1156578"/>
                    <a:gd name="connsiteY2320" fmla="*/ 634602 h 943688"/>
                    <a:gd name="connsiteX2321" fmla="*/ 140032 w 1156578"/>
                    <a:gd name="connsiteY2321" fmla="*/ 635634 h 943688"/>
                    <a:gd name="connsiteX2322" fmla="*/ 140384 w 1156578"/>
                    <a:gd name="connsiteY2322" fmla="*/ 637189 h 943688"/>
                    <a:gd name="connsiteX2323" fmla="*/ 141453 w 1156578"/>
                    <a:gd name="connsiteY2323" fmla="*/ 638378 h 943688"/>
                    <a:gd name="connsiteX2324" fmla="*/ 142437 w 1156578"/>
                    <a:gd name="connsiteY2324" fmla="*/ 639472 h 943688"/>
                    <a:gd name="connsiteX2325" fmla="*/ 142995 w 1156578"/>
                    <a:gd name="connsiteY2325" fmla="*/ 640103 h 943688"/>
                    <a:gd name="connsiteX2326" fmla="*/ 143712 w 1156578"/>
                    <a:gd name="connsiteY2326" fmla="*/ 640552 h 943688"/>
                    <a:gd name="connsiteX2327" fmla="*/ 146031 w 1156578"/>
                    <a:gd name="connsiteY2327" fmla="*/ 641997 h 943688"/>
                    <a:gd name="connsiteX2328" fmla="*/ 143590 w 1156578"/>
                    <a:gd name="connsiteY2328" fmla="*/ 647073 h 943688"/>
                    <a:gd name="connsiteX2329" fmla="*/ 143457 w 1156578"/>
                    <a:gd name="connsiteY2329" fmla="*/ 647340 h 943688"/>
                    <a:gd name="connsiteX2330" fmla="*/ 143347 w 1156578"/>
                    <a:gd name="connsiteY2330" fmla="*/ 647632 h 943688"/>
                    <a:gd name="connsiteX2331" fmla="*/ 142412 w 1156578"/>
                    <a:gd name="connsiteY2331" fmla="*/ 650206 h 943688"/>
                    <a:gd name="connsiteX2332" fmla="*/ 142242 w 1156578"/>
                    <a:gd name="connsiteY2332" fmla="*/ 650667 h 943688"/>
                    <a:gd name="connsiteX2333" fmla="*/ 142157 w 1156578"/>
                    <a:gd name="connsiteY2333" fmla="*/ 651141 h 943688"/>
                    <a:gd name="connsiteX2334" fmla="*/ 141647 w 1156578"/>
                    <a:gd name="connsiteY2334" fmla="*/ 653849 h 943688"/>
                    <a:gd name="connsiteX2335" fmla="*/ 141526 w 1156578"/>
                    <a:gd name="connsiteY2335" fmla="*/ 654456 h 943688"/>
                    <a:gd name="connsiteX2336" fmla="*/ 141538 w 1156578"/>
                    <a:gd name="connsiteY2336" fmla="*/ 655075 h 943688"/>
                    <a:gd name="connsiteX2337" fmla="*/ 141599 w 1156578"/>
                    <a:gd name="connsiteY2337" fmla="*/ 658754 h 943688"/>
                    <a:gd name="connsiteX2338" fmla="*/ 141611 w 1156578"/>
                    <a:gd name="connsiteY2338" fmla="*/ 659337 h 943688"/>
                    <a:gd name="connsiteX2339" fmla="*/ 141732 w 1156578"/>
                    <a:gd name="connsiteY2339" fmla="*/ 659920 h 943688"/>
                    <a:gd name="connsiteX2340" fmla="*/ 142242 w 1156578"/>
                    <a:gd name="connsiteY2340" fmla="*/ 662337 h 943688"/>
                    <a:gd name="connsiteX2341" fmla="*/ 142340 w 1156578"/>
                    <a:gd name="connsiteY2341" fmla="*/ 662774 h 943688"/>
                    <a:gd name="connsiteX2342" fmla="*/ 142497 w 1156578"/>
                    <a:gd name="connsiteY2342" fmla="*/ 663199 h 943688"/>
                    <a:gd name="connsiteX2343" fmla="*/ 143311 w 1156578"/>
                    <a:gd name="connsiteY2343" fmla="*/ 665384 h 943688"/>
                    <a:gd name="connsiteX2344" fmla="*/ 143481 w 1156578"/>
                    <a:gd name="connsiteY2344" fmla="*/ 665822 h 943688"/>
                    <a:gd name="connsiteX2345" fmla="*/ 143712 w 1156578"/>
                    <a:gd name="connsiteY2345" fmla="*/ 666222 h 943688"/>
                    <a:gd name="connsiteX2346" fmla="*/ 145727 w 1156578"/>
                    <a:gd name="connsiteY2346" fmla="*/ 669829 h 943688"/>
                    <a:gd name="connsiteX2347" fmla="*/ 145861 w 1156578"/>
                    <a:gd name="connsiteY2347" fmla="*/ 670460 h 943688"/>
                    <a:gd name="connsiteX2348" fmla="*/ 145788 w 1156578"/>
                    <a:gd name="connsiteY2348" fmla="*/ 671140 h 943688"/>
                    <a:gd name="connsiteX2349" fmla="*/ 144647 w 1156578"/>
                    <a:gd name="connsiteY2349" fmla="*/ 674856 h 943688"/>
                    <a:gd name="connsiteX2350" fmla="*/ 144452 w 1156578"/>
                    <a:gd name="connsiteY2350" fmla="*/ 675475 h 943688"/>
                    <a:gd name="connsiteX2351" fmla="*/ 144392 w 1156578"/>
                    <a:gd name="connsiteY2351" fmla="*/ 676119 h 943688"/>
                    <a:gd name="connsiteX2352" fmla="*/ 144222 w 1156578"/>
                    <a:gd name="connsiteY2352" fmla="*/ 678062 h 943688"/>
                    <a:gd name="connsiteX2353" fmla="*/ 144015 w 1156578"/>
                    <a:gd name="connsiteY2353" fmla="*/ 680308 h 943688"/>
                    <a:gd name="connsiteX2354" fmla="*/ 145339 w 1156578"/>
                    <a:gd name="connsiteY2354" fmla="*/ 682142 h 943688"/>
                    <a:gd name="connsiteX2355" fmla="*/ 146310 w 1156578"/>
                    <a:gd name="connsiteY2355" fmla="*/ 683490 h 943688"/>
                    <a:gd name="connsiteX2356" fmla="*/ 146942 w 1156578"/>
                    <a:gd name="connsiteY2356" fmla="*/ 684364 h 943688"/>
                    <a:gd name="connsiteX2357" fmla="*/ 147828 w 1156578"/>
                    <a:gd name="connsiteY2357" fmla="*/ 684959 h 943688"/>
                    <a:gd name="connsiteX2358" fmla="*/ 151459 w 1156578"/>
                    <a:gd name="connsiteY2358" fmla="*/ 687436 h 943688"/>
                    <a:gd name="connsiteX2359" fmla="*/ 151908 w 1156578"/>
                    <a:gd name="connsiteY2359" fmla="*/ 691783 h 943688"/>
                    <a:gd name="connsiteX2360" fmla="*/ 152017 w 1156578"/>
                    <a:gd name="connsiteY2360" fmla="*/ 692864 h 943688"/>
                    <a:gd name="connsiteX2361" fmla="*/ 152491 w 1156578"/>
                    <a:gd name="connsiteY2361" fmla="*/ 693835 h 943688"/>
                    <a:gd name="connsiteX2362" fmla="*/ 153596 w 1156578"/>
                    <a:gd name="connsiteY2362" fmla="*/ 696106 h 943688"/>
                    <a:gd name="connsiteX2363" fmla="*/ 153766 w 1156578"/>
                    <a:gd name="connsiteY2363" fmla="*/ 696434 h 943688"/>
                    <a:gd name="connsiteX2364" fmla="*/ 153972 w 1156578"/>
                    <a:gd name="connsiteY2364" fmla="*/ 696750 h 943688"/>
                    <a:gd name="connsiteX2365" fmla="*/ 156437 w 1156578"/>
                    <a:gd name="connsiteY2365" fmla="*/ 700526 h 943688"/>
                    <a:gd name="connsiteX2366" fmla="*/ 156559 w 1156578"/>
                    <a:gd name="connsiteY2366" fmla="*/ 700842 h 943688"/>
                    <a:gd name="connsiteX2367" fmla="*/ 156620 w 1156578"/>
                    <a:gd name="connsiteY2367" fmla="*/ 701838 h 943688"/>
                    <a:gd name="connsiteX2368" fmla="*/ 156559 w 1156578"/>
                    <a:gd name="connsiteY2368" fmla="*/ 702979 h 943688"/>
                    <a:gd name="connsiteX2369" fmla="*/ 156960 w 1156578"/>
                    <a:gd name="connsiteY2369" fmla="*/ 714296 h 943688"/>
                    <a:gd name="connsiteX2370" fmla="*/ 152989 w 1156578"/>
                    <a:gd name="connsiteY2370" fmla="*/ 716348 h 943688"/>
                    <a:gd name="connsiteX2371" fmla="*/ 152479 w 1156578"/>
                    <a:gd name="connsiteY2371" fmla="*/ 716603 h 943688"/>
                    <a:gd name="connsiteX2372" fmla="*/ 152029 w 1156578"/>
                    <a:gd name="connsiteY2372" fmla="*/ 716955 h 943688"/>
                    <a:gd name="connsiteX2373" fmla="*/ 151240 w 1156578"/>
                    <a:gd name="connsiteY2373" fmla="*/ 717575 h 943688"/>
                    <a:gd name="connsiteX2374" fmla="*/ 150755 w 1156578"/>
                    <a:gd name="connsiteY2374" fmla="*/ 717951 h 943688"/>
                    <a:gd name="connsiteX2375" fmla="*/ 150354 w 1156578"/>
                    <a:gd name="connsiteY2375" fmla="*/ 718425 h 943688"/>
                    <a:gd name="connsiteX2376" fmla="*/ 149710 w 1156578"/>
                    <a:gd name="connsiteY2376" fmla="*/ 719178 h 943688"/>
                    <a:gd name="connsiteX2377" fmla="*/ 149382 w 1156578"/>
                    <a:gd name="connsiteY2377" fmla="*/ 719566 h 943688"/>
                    <a:gd name="connsiteX2378" fmla="*/ 149115 w 1156578"/>
                    <a:gd name="connsiteY2378" fmla="*/ 720016 h 943688"/>
                    <a:gd name="connsiteX2379" fmla="*/ 148848 w 1156578"/>
                    <a:gd name="connsiteY2379" fmla="*/ 720477 h 943688"/>
                    <a:gd name="connsiteX2380" fmla="*/ 148484 w 1156578"/>
                    <a:gd name="connsiteY2380" fmla="*/ 720951 h 943688"/>
                    <a:gd name="connsiteX2381" fmla="*/ 147524 w 1156578"/>
                    <a:gd name="connsiteY2381" fmla="*/ 721995 h 943688"/>
                    <a:gd name="connsiteX2382" fmla="*/ 147027 w 1156578"/>
                    <a:gd name="connsiteY2382" fmla="*/ 722541 h 943688"/>
                    <a:gd name="connsiteX2383" fmla="*/ 146687 w 1156578"/>
                    <a:gd name="connsiteY2383" fmla="*/ 723197 h 943688"/>
                    <a:gd name="connsiteX2384" fmla="*/ 146177 w 1156578"/>
                    <a:gd name="connsiteY2384" fmla="*/ 724156 h 943688"/>
                    <a:gd name="connsiteX2385" fmla="*/ 145812 w 1156578"/>
                    <a:gd name="connsiteY2385" fmla="*/ 724848 h 943688"/>
                    <a:gd name="connsiteX2386" fmla="*/ 145630 w 1156578"/>
                    <a:gd name="connsiteY2386" fmla="*/ 725601 h 943688"/>
                    <a:gd name="connsiteX2387" fmla="*/ 145327 w 1156578"/>
                    <a:gd name="connsiteY2387" fmla="*/ 726876 h 943688"/>
                    <a:gd name="connsiteX2388" fmla="*/ 145181 w 1156578"/>
                    <a:gd name="connsiteY2388" fmla="*/ 727483 h 943688"/>
                    <a:gd name="connsiteX2389" fmla="*/ 145169 w 1156578"/>
                    <a:gd name="connsiteY2389" fmla="*/ 728103 h 943688"/>
                    <a:gd name="connsiteX2390" fmla="*/ 145011 w 1156578"/>
                    <a:gd name="connsiteY2390" fmla="*/ 733519 h 943688"/>
                    <a:gd name="connsiteX2391" fmla="*/ 143517 w 1156578"/>
                    <a:gd name="connsiteY2391" fmla="*/ 741132 h 943688"/>
                    <a:gd name="connsiteX2392" fmla="*/ 143396 w 1156578"/>
                    <a:gd name="connsiteY2392" fmla="*/ 741387 h 943688"/>
                    <a:gd name="connsiteX2393" fmla="*/ 143189 w 1156578"/>
                    <a:gd name="connsiteY2393" fmla="*/ 741703 h 943688"/>
                    <a:gd name="connsiteX2394" fmla="*/ 142983 w 1156578"/>
                    <a:gd name="connsiteY2394" fmla="*/ 742055 h 943688"/>
                    <a:gd name="connsiteX2395" fmla="*/ 142959 w 1156578"/>
                    <a:gd name="connsiteY2395" fmla="*/ 742128 h 943688"/>
                    <a:gd name="connsiteX2396" fmla="*/ 142801 w 1156578"/>
                    <a:gd name="connsiteY2396" fmla="*/ 742031 h 943688"/>
                    <a:gd name="connsiteX2397" fmla="*/ 141720 w 1156578"/>
                    <a:gd name="connsiteY2397" fmla="*/ 741327 h 943688"/>
                    <a:gd name="connsiteX2398" fmla="*/ 140445 w 1156578"/>
                    <a:gd name="connsiteY2398" fmla="*/ 741120 h 943688"/>
                    <a:gd name="connsiteX2399" fmla="*/ 139765 w 1156578"/>
                    <a:gd name="connsiteY2399" fmla="*/ 741011 h 943688"/>
                    <a:gd name="connsiteX2400" fmla="*/ 137786 w 1156578"/>
                    <a:gd name="connsiteY2400" fmla="*/ 740707 h 943688"/>
                    <a:gd name="connsiteX2401" fmla="*/ 136013 w 1156578"/>
                    <a:gd name="connsiteY2401" fmla="*/ 741630 h 943688"/>
                    <a:gd name="connsiteX2402" fmla="*/ 135381 w 1156578"/>
                    <a:gd name="connsiteY2402" fmla="*/ 741958 h 943688"/>
                    <a:gd name="connsiteX2403" fmla="*/ 134070 w 1156578"/>
                    <a:gd name="connsiteY2403" fmla="*/ 742650 h 943688"/>
                    <a:gd name="connsiteX2404" fmla="*/ 133220 w 1156578"/>
                    <a:gd name="connsiteY2404" fmla="*/ 743877 h 943688"/>
                    <a:gd name="connsiteX2405" fmla="*/ 132528 w 1156578"/>
                    <a:gd name="connsiteY2405" fmla="*/ 744860 h 943688"/>
                    <a:gd name="connsiteX2406" fmla="*/ 132164 w 1156578"/>
                    <a:gd name="connsiteY2406" fmla="*/ 745382 h 943688"/>
                    <a:gd name="connsiteX2407" fmla="*/ 131909 w 1156578"/>
                    <a:gd name="connsiteY2407" fmla="*/ 745977 h 943688"/>
                    <a:gd name="connsiteX2408" fmla="*/ 129359 w 1156578"/>
                    <a:gd name="connsiteY2408" fmla="*/ 752000 h 943688"/>
                    <a:gd name="connsiteX2409" fmla="*/ 128946 w 1156578"/>
                    <a:gd name="connsiteY2409" fmla="*/ 752632 h 943688"/>
                    <a:gd name="connsiteX2410" fmla="*/ 128752 w 1156578"/>
                    <a:gd name="connsiteY2410" fmla="*/ 752765 h 943688"/>
                    <a:gd name="connsiteX2411" fmla="*/ 127634 w 1156578"/>
                    <a:gd name="connsiteY2411" fmla="*/ 753069 h 943688"/>
                    <a:gd name="connsiteX2412" fmla="*/ 120932 w 1156578"/>
                    <a:gd name="connsiteY2412" fmla="*/ 753530 h 943688"/>
                    <a:gd name="connsiteX2413" fmla="*/ 120361 w 1156578"/>
                    <a:gd name="connsiteY2413" fmla="*/ 753578 h 943688"/>
                    <a:gd name="connsiteX2414" fmla="*/ 119814 w 1156578"/>
                    <a:gd name="connsiteY2414" fmla="*/ 753724 h 943688"/>
                    <a:gd name="connsiteX2415" fmla="*/ 118503 w 1156578"/>
                    <a:gd name="connsiteY2415" fmla="*/ 754064 h 943688"/>
                    <a:gd name="connsiteX2416" fmla="*/ 118029 w 1156578"/>
                    <a:gd name="connsiteY2416" fmla="*/ 754186 h 943688"/>
                    <a:gd name="connsiteX2417" fmla="*/ 117580 w 1156578"/>
                    <a:gd name="connsiteY2417" fmla="*/ 754392 h 943688"/>
                    <a:gd name="connsiteX2418" fmla="*/ 115892 w 1156578"/>
                    <a:gd name="connsiteY2418" fmla="*/ 755145 h 943688"/>
                    <a:gd name="connsiteX2419" fmla="*/ 115467 w 1156578"/>
                    <a:gd name="connsiteY2419" fmla="*/ 755339 h 943688"/>
                    <a:gd name="connsiteX2420" fmla="*/ 115066 w 1156578"/>
                    <a:gd name="connsiteY2420" fmla="*/ 755594 h 943688"/>
                    <a:gd name="connsiteX2421" fmla="*/ 113124 w 1156578"/>
                    <a:gd name="connsiteY2421" fmla="*/ 756857 h 943688"/>
                    <a:gd name="connsiteX2422" fmla="*/ 112832 w 1156578"/>
                    <a:gd name="connsiteY2422" fmla="*/ 757051 h 943688"/>
                    <a:gd name="connsiteX2423" fmla="*/ 112565 w 1156578"/>
                    <a:gd name="connsiteY2423" fmla="*/ 757270 h 943688"/>
                    <a:gd name="connsiteX2424" fmla="*/ 110671 w 1156578"/>
                    <a:gd name="connsiteY2424" fmla="*/ 758824 h 943688"/>
                    <a:gd name="connsiteX2425" fmla="*/ 110331 w 1156578"/>
                    <a:gd name="connsiteY2425" fmla="*/ 759104 h 943688"/>
                    <a:gd name="connsiteX2426" fmla="*/ 110039 w 1156578"/>
                    <a:gd name="connsiteY2426" fmla="*/ 759419 h 943688"/>
                    <a:gd name="connsiteX2427" fmla="*/ 108546 w 1156578"/>
                    <a:gd name="connsiteY2427" fmla="*/ 761059 h 943688"/>
                    <a:gd name="connsiteX2428" fmla="*/ 108254 w 1156578"/>
                    <a:gd name="connsiteY2428" fmla="*/ 761375 h 943688"/>
                    <a:gd name="connsiteX2429" fmla="*/ 107999 w 1156578"/>
                    <a:gd name="connsiteY2429" fmla="*/ 761739 h 943688"/>
                    <a:gd name="connsiteX2430" fmla="*/ 105729 w 1156578"/>
                    <a:gd name="connsiteY2430" fmla="*/ 765090 h 943688"/>
                    <a:gd name="connsiteX2431" fmla="*/ 105437 w 1156578"/>
                    <a:gd name="connsiteY2431" fmla="*/ 765394 h 943688"/>
                    <a:gd name="connsiteX2432" fmla="*/ 105389 w 1156578"/>
                    <a:gd name="connsiteY2432" fmla="*/ 765406 h 943688"/>
                    <a:gd name="connsiteX2433" fmla="*/ 104138 w 1156578"/>
                    <a:gd name="connsiteY2433" fmla="*/ 765527 h 943688"/>
                    <a:gd name="connsiteX2434" fmla="*/ 103251 w 1156578"/>
                    <a:gd name="connsiteY2434" fmla="*/ 765612 h 943688"/>
                    <a:gd name="connsiteX2435" fmla="*/ 102426 w 1156578"/>
                    <a:gd name="connsiteY2435" fmla="*/ 765940 h 943688"/>
                    <a:gd name="connsiteX2436" fmla="*/ 101102 w 1156578"/>
                    <a:gd name="connsiteY2436" fmla="*/ 766474 h 943688"/>
                    <a:gd name="connsiteX2437" fmla="*/ 99718 w 1156578"/>
                    <a:gd name="connsiteY2437" fmla="*/ 767033 h 943688"/>
                    <a:gd name="connsiteX2438" fmla="*/ 98746 w 1156578"/>
                    <a:gd name="connsiteY2438" fmla="*/ 768175 h 943688"/>
                    <a:gd name="connsiteX2439" fmla="*/ 97544 w 1156578"/>
                    <a:gd name="connsiteY2439" fmla="*/ 769583 h 943688"/>
                    <a:gd name="connsiteX2440" fmla="*/ 96366 w 1156578"/>
                    <a:gd name="connsiteY2440" fmla="*/ 770955 h 943688"/>
                    <a:gd name="connsiteX2441" fmla="*/ 96136 w 1156578"/>
                    <a:gd name="connsiteY2441" fmla="*/ 772765 h 943688"/>
                    <a:gd name="connsiteX2442" fmla="*/ 95966 w 1156578"/>
                    <a:gd name="connsiteY2442" fmla="*/ 774137 h 943688"/>
                    <a:gd name="connsiteX2443" fmla="*/ 95832 w 1156578"/>
                    <a:gd name="connsiteY2443" fmla="*/ 775193 h 943688"/>
                    <a:gd name="connsiteX2444" fmla="*/ 96075 w 1156578"/>
                    <a:gd name="connsiteY2444" fmla="*/ 776238 h 943688"/>
                    <a:gd name="connsiteX2445" fmla="*/ 96306 w 1156578"/>
                    <a:gd name="connsiteY2445" fmla="*/ 777245 h 943688"/>
                    <a:gd name="connsiteX2446" fmla="*/ 96609 w 1156578"/>
                    <a:gd name="connsiteY2446" fmla="*/ 778593 h 943688"/>
                    <a:gd name="connsiteX2447" fmla="*/ 97459 w 1156578"/>
                    <a:gd name="connsiteY2447" fmla="*/ 779662 h 943688"/>
                    <a:gd name="connsiteX2448" fmla="*/ 98370 w 1156578"/>
                    <a:gd name="connsiteY2448" fmla="*/ 780815 h 943688"/>
                    <a:gd name="connsiteX2449" fmla="*/ 98868 w 1156578"/>
                    <a:gd name="connsiteY2449" fmla="*/ 781434 h 943688"/>
                    <a:gd name="connsiteX2450" fmla="*/ 99499 w 1156578"/>
                    <a:gd name="connsiteY2450" fmla="*/ 781908 h 943688"/>
                    <a:gd name="connsiteX2451" fmla="*/ 100884 w 1156578"/>
                    <a:gd name="connsiteY2451" fmla="*/ 782940 h 943688"/>
                    <a:gd name="connsiteX2452" fmla="*/ 101224 w 1156578"/>
                    <a:gd name="connsiteY2452" fmla="*/ 783195 h 943688"/>
                    <a:gd name="connsiteX2453" fmla="*/ 101588 w 1156578"/>
                    <a:gd name="connsiteY2453" fmla="*/ 783402 h 943688"/>
                    <a:gd name="connsiteX2454" fmla="*/ 103227 w 1156578"/>
                    <a:gd name="connsiteY2454" fmla="*/ 784300 h 943688"/>
                    <a:gd name="connsiteX2455" fmla="*/ 103033 w 1156578"/>
                    <a:gd name="connsiteY2455" fmla="*/ 784409 h 943688"/>
                    <a:gd name="connsiteX2456" fmla="*/ 101017 w 1156578"/>
                    <a:gd name="connsiteY2456" fmla="*/ 785563 h 943688"/>
                    <a:gd name="connsiteX2457" fmla="*/ 100628 w 1156578"/>
                    <a:gd name="connsiteY2457" fmla="*/ 785782 h 943688"/>
                    <a:gd name="connsiteX2458" fmla="*/ 100288 w 1156578"/>
                    <a:gd name="connsiteY2458" fmla="*/ 786049 h 943688"/>
                    <a:gd name="connsiteX2459" fmla="*/ 95820 w 1156578"/>
                    <a:gd name="connsiteY2459" fmla="*/ 789558 h 943688"/>
                    <a:gd name="connsiteX2460" fmla="*/ 91582 w 1156578"/>
                    <a:gd name="connsiteY2460" fmla="*/ 793565 h 943688"/>
                    <a:gd name="connsiteX2461" fmla="*/ 91315 w 1156578"/>
                    <a:gd name="connsiteY2461" fmla="*/ 793820 h 943688"/>
                    <a:gd name="connsiteX2462" fmla="*/ 91072 w 1156578"/>
                    <a:gd name="connsiteY2462" fmla="*/ 794100 h 943688"/>
                    <a:gd name="connsiteX2463" fmla="*/ 86713 w 1156578"/>
                    <a:gd name="connsiteY2463" fmla="*/ 799430 h 943688"/>
                    <a:gd name="connsiteX2464" fmla="*/ 79998 w 1156578"/>
                    <a:gd name="connsiteY2464" fmla="*/ 804494 h 943688"/>
                    <a:gd name="connsiteX2465" fmla="*/ 77241 w 1156578"/>
                    <a:gd name="connsiteY2465" fmla="*/ 806983 h 943688"/>
                    <a:gd name="connsiteX2466" fmla="*/ 76865 w 1156578"/>
                    <a:gd name="connsiteY2466" fmla="*/ 807335 h 943688"/>
                    <a:gd name="connsiteX2467" fmla="*/ 76549 w 1156578"/>
                    <a:gd name="connsiteY2467" fmla="*/ 807736 h 943688"/>
                    <a:gd name="connsiteX2468" fmla="*/ 72760 w 1156578"/>
                    <a:gd name="connsiteY2468" fmla="*/ 812642 h 943688"/>
                    <a:gd name="connsiteX2469" fmla="*/ 72493 w 1156578"/>
                    <a:gd name="connsiteY2469" fmla="*/ 812994 h 943688"/>
                    <a:gd name="connsiteX2470" fmla="*/ 72275 w 1156578"/>
                    <a:gd name="connsiteY2470" fmla="*/ 813395 h 943688"/>
                    <a:gd name="connsiteX2471" fmla="*/ 66592 w 1156578"/>
                    <a:gd name="connsiteY2471" fmla="*/ 823570 h 943688"/>
                    <a:gd name="connsiteX2472" fmla="*/ 66033 w 1156578"/>
                    <a:gd name="connsiteY2472" fmla="*/ 824238 h 943688"/>
                    <a:gd name="connsiteX2473" fmla="*/ 65839 w 1156578"/>
                    <a:gd name="connsiteY2473" fmla="*/ 824396 h 943688"/>
                    <a:gd name="connsiteX2474" fmla="*/ 65645 w 1156578"/>
                    <a:gd name="connsiteY2474" fmla="*/ 824469 h 943688"/>
                    <a:gd name="connsiteX2475" fmla="*/ 61455 w 1156578"/>
                    <a:gd name="connsiteY2475" fmla="*/ 825161 h 943688"/>
                    <a:gd name="connsiteX2476" fmla="*/ 60848 w 1156578"/>
                    <a:gd name="connsiteY2476" fmla="*/ 825258 h 943688"/>
                    <a:gd name="connsiteX2477" fmla="*/ 60290 w 1156578"/>
                    <a:gd name="connsiteY2477" fmla="*/ 825477 h 943688"/>
                    <a:gd name="connsiteX2478" fmla="*/ 58626 w 1156578"/>
                    <a:gd name="connsiteY2478" fmla="*/ 826109 h 943688"/>
                    <a:gd name="connsiteX2479" fmla="*/ 58189 w 1156578"/>
                    <a:gd name="connsiteY2479" fmla="*/ 826278 h 943688"/>
                    <a:gd name="connsiteX2480" fmla="*/ 57776 w 1156578"/>
                    <a:gd name="connsiteY2480" fmla="*/ 826509 h 943688"/>
                    <a:gd name="connsiteX2481" fmla="*/ 56452 w 1156578"/>
                    <a:gd name="connsiteY2481" fmla="*/ 827262 h 943688"/>
                    <a:gd name="connsiteX2482" fmla="*/ 55639 w 1156578"/>
                    <a:gd name="connsiteY2482" fmla="*/ 827723 h 943688"/>
                    <a:gd name="connsiteX2483" fmla="*/ 55007 w 1156578"/>
                    <a:gd name="connsiteY2483" fmla="*/ 828416 h 943688"/>
                    <a:gd name="connsiteX2484" fmla="*/ 54085 w 1156578"/>
                    <a:gd name="connsiteY2484" fmla="*/ 829399 h 943688"/>
                    <a:gd name="connsiteX2485" fmla="*/ 53574 w 1156578"/>
                    <a:gd name="connsiteY2485" fmla="*/ 829945 h 943688"/>
                    <a:gd name="connsiteX2486" fmla="*/ 53210 w 1156578"/>
                    <a:gd name="connsiteY2486" fmla="*/ 830614 h 943688"/>
                    <a:gd name="connsiteX2487" fmla="*/ 51365 w 1156578"/>
                    <a:gd name="connsiteY2487" fmla="*/ 833965 h 943688"/>
                    <a:gd name="connsiteX2488" fmla="*/ 51365 w 1156578"/>
                    <a:gd name="connsiteY2488" fmla="*/ 833965 h 943688"/>
                    <a:gd name="connsiteX2489" fmla="*/ 50660 w 1156578"/>
                    <a:gd name="connsiteY2489" fmla="*/ 834414 h 943688"/>
                    <a:gd name="connsiteX2490" fmla="*/ 42075 w 1156578"/>
                    <a:gd name="connsiteY2490" fmla="*/ 837972 h 943688"/>
                    <a:gd name="connsiteX2491" fmla="*/ 39537 w 1156578"/>
                    <a:gd name="connsiteY2491" fmla="*/ 838688 h 943688"/>
                    <a:gd name="connsiteX2492" fmla="*/ 39222 w 1156578"/>
                    <a:gd name="connsiteY2492" fmla="*/ 838701 h 943688"/>
                    <a:gd name="connsiteX2493" fmla="*/ 39003 w 1156578"/>
                    <a:gd name="connsiteY2493" fmla="*/ 838616 h 943688"/>
                    <a:gd name="connsiteX2494" fmla="*/ 37182 w 1156578"/>
                    <a:gd name="connsiteY2494" fmla="*/ 837826 h 943688"/>
                    <a:gd name="connsiteX2495" fmla="*/ 35239 w 1156578"/>
                    <a:gd name="connsiteY2495" fmla="*/ 838276 h 943688"/>
                    <a:gd name="connsiteX2496" fmla="*/ 34267 w 1156578"/>
                    <a:gd name="connsiteY2496" fmla="*/ 838506 h 943688"/>
                    <a:gd name="connsiteX2497" fmla="*/ 32422 w 1156578"/>
                    <a:gd name="connsiteY2497" fmla="*/ 838931 h 943688"/>
                    <a:gd name="connsiteX2498" fmla="*/ 31146 w 1156578"/>
                    <a:gd name="connsiteY2498" fmla="*/ 840328 h 943688"/>
                    <a:gd name="connsiteX2499" fmla="*/ 30054 w 1156578"/>
                    <a:gd name="connsiteY2499" fmla="*/ 841530 h 943688"/>
                    <a:gd name="connsiteX2500" fmla="*/ 29301 w 1156578"/>
                    <a:gd name="connsiteY2500" fmla="*/ 842344 h 943688"/>
                    <a:gd name="connsiteX2501" fmla="*/ 28888 w 1156578"/>
                    <a:gd name="connsiteY2501" fmla="*/ 843376 h 943688"/>
                    <a:gd name="connsiteX2502" fmla="*/ 26557 w 1156578"/>
                    <a:gd name="connsiteY2502" fmla="*/ 849253 h 943688"/>
                    <a:gd name="connsiteX2503" fmla="*/ 25488 w 1156578"/>
                    <a:gd name="connsiteY2503" fmla="*/ 850965 h 943688"/>
                    <a:gd name="connsiteX2504" fmla="*/ 24201 w 1156578"/>
                    <a:gd name="connsiteY2504" fmla="*/ 853406 h 943688"/>
                    <a:gd name="connsiteX2505" fmla="*/ 23982 w 1156578"/>
                    <a:gd name="connsiteY2505" fmla="*/ 853818 h 943688"/>
                    <a:gd name="connsiteX2506" fmla="*/ 23837 w 1156578"/>
                    <a:gd name="connsiteY2506" fmla="*/ 854256 h 943688"/>
                    <a:gd name="connsiteX2507" fmla="*/ 23375 w 1156578"/>
                    <a:gd name="connsiteY2507" fmla="*/ 855628 h 943688"/>
                    <a:gd name="connsiteX2508" fmla="*/ 23193 w 1156578"/>
                    <a:gd name="connsiteY2508" fmla="*/ 856186 h 943688"/>
                    <a:gd name="connsiteX2509" fmla="*/ 23120 w 1156578"/>
                    <a:gd name="connsiteY2509" fmla="*/ 856769 h 943688"/>
                    <a:gd name="connsiteX2510" fmla="*/ 22950 w 1156578"/>
                    <a:gd name="connsiteY2510" fmla="*/ 858032 h 943688"/>
                    <a:gd name="connsiteX2511" fmla="*/ 22853 w 1156578"/>
                    <a:gd name="connsiteY2511" fmla="*/ 858736 h 943688"/>
                    <a:gd name="connsiteX2512" fmla="*/ 22926 w 1156578"/>
                    <a:gd name="connsiteY2512" fmla="*/ 859441 h 943688"/>
                    <a:gd name="connsiteX2513" fmla="*/ 23035 w 1156578"/>
                    <a:gd name="connsiteY2513" fmla="*/ 860509 h 943688"/>
                    <a:gd name="connsiteX2514" fmla="*/ 23108 w 1156578"/>
                    <a:gd name="connsiteY2514" fmla="*/ 861262 h 943688"/>
                    <a:gd name="connsiteX2515" fmla="*/ 23363 w 1156578"/>
                    <a:gd name="connsiteY2515" fmla="*/ 861991 h 943688"/>
                    <a:gd name="connsiteX2516" fmla="*/ 23715 w 1156578"/>
                    <a:gd name="connsiteY2516" fmla="*/ 862962 h 943688"/>
                    <a:gd name="connsiteX2517" fmla="*/ 23861 w 1156578"/>
                    <a:gd name="connsiteY2517" fmla="*/ 863363 h 943688"/>
                    <a:gd name="connsiteX2518" fmla="*/ 24067 w 1156578"/>
                    <a:gd name="connsiteY2518" fmla="*/ 863739 h 943688"/>
                    <a:gd name="connsiteX2519" fmla="*/ 25014 w 1156578"/>
                    <a:gd name="connsiteY2519" fmla="*/ 865500 h 943688"/>
                    <a:gd name="connsiteX2520" fmla="*/ 24929 w 1156578"/>
                    <a:gd name="connsiteY2520" fmla="*/ 865974 h 943688"/>
                    <a:gd name="connsiteX2521" fmla="*/ 24177 w 1156578"/>
                    <a:gd name="connsiteY2521" fmla="*/ 868499 h 943688"/>
                    <a:gd name="connsiteX2522" fmla="*/ 24031 w 1156578"/>
                    <a:gd name="connsiteY2522" fmla="*/ 869009 h 943688"/>
                    <a:gd name="connsiteX2523" fmla="*/ 23970 w 1156578"/>
                    <a:gd name="connsiteY2523" fmla="*/ 869532 h 943688"/>
                    <a:gd name="connsiteX2524" fmla="*/ 23630 w 1156578"/>
                    <a:gd name="connsiteY2524" fmla="*/ 872385 h 943688"/>
                    <a:gd name="connsiteX2525" fmla="*/ 22039 w 1156578"/>
                    <a:gd name="connsiteY2525" fmla="*/ 877619 h 943688"/>
                    <a:gd name="connsiteX2526" fmla="*/ 21979 w 1156578"/>
                    <a:gd name="connsiteY2526" fmla="*/ 877752 h 943688"/>
                    <a:gd name="connsiteX2527" fmla="*/ 21942 w 1156578"/>
                    <a:gd name="connsiteY2527" fmla="*/ 877801 h 943688"/>
                    <a:gd name="connsiteX2528" fmla="*/ 21566 w 1156578"/>
                    <a:gd name="connsiteY2528" fmla="*/ 878165 h 943688"/>
                    <a:gd name="connsiteX2529" fmla="*/ 21129 w 1156578"/>
                    <a:gd name="connsiteY2529" fmla="*/ 878590 h 943688"/>
                    <a:gd name="connsiteX2530" fmla="*/ 20777 w 1156578"/>
                    <a:gd name="connsiteY2530" fmla="*/ 879088 h 943688"/>
                    <a:gd name="connsiteX2531" fmla="*/ 19344 w 1156578"/>
                    <a:gd name="connsiteY2531" fmla="*/ 881152 h 943688"/>
                    <a:gd name="connsiteX2532" fmla="*/ 19113 w 1156578"/>
                    <a:gd name="connsiteY2532" fmla="*/ 881468 h 943688"/>
                    <a:gd name="connsiteX2533" fmla="*/ 18931 w 1156578"/>
                    <a:gd name="connsiteY2533" fmla="*/ 881808 h 943688"/>
                    <a:gd name="connsiteX2534" fmla="*/ 17947 w 1156578"/>
                    <a:gd name="connsiteY2534" fmla="*/ 883702 h 943688"/>
                    <a:gd name="connsiteX2535" fmla="*/ 17583 w 1156578"/>
                    <a:gd name="connsiteY2535" fmla="*/ 884419 h 943688"/>
                    <a:gd name="connsiteX2536" fmla="*/ 17413 w 1156578"/>
                    <a:gd name="connsiteY2536" fmla="*/ 885196 h 943688"/>
                    <a:gd name="connsiteX2537" fmla="*/ 17073 w 1156578"/>
                    <a:gd name="connsiteY2537" fmla="*/ 886726 h 943688"/>
                    <a:gd name="connsiteX2538" fmla="*/ 16964 w 1156578"/>
                    <a:gd name="connsiteY2538" fmla="*/ 887236 h 943688"/>
                    <a:gd name="connsiteX2539" fmla="*/ 16939 w 1156578"/>
                    <a:gd name="connsiteY2539" fmla="*/ 887770 h 943688"/>
                    <a:gd name="connsiteX2540" fmla="*/ 16879 w 1156578"/>
                    <a:gd name="connsiteY2540" fmla="*/ 889142 h 943688"/>
                    <a:gd name="connsiteX2541" fmla="*/ 16854 w 1156578"/>
                    <a:gd name="connsiteY2541" fmla="*/ 889822 h 943688"/>
                    <a:gd name="connsiteX2542" fmla="*/ 16976 w 1156578"/>
                    <a:gd name="connsiteY2542" fmla="*/ 890490 h 943688"/>
                    <a:gd name="connsiteX2543" fmla="*/ 17170 w 1156578"/>
                    <a:gd name="connsiteY2543" fmla="*/ 891571 h 943688"/>
                    <a:gd name="connsiteX2544" fmla="*/ 17170 w 1156578"/>
                    <a:gd name="connsiteY2544" fmla="*/ 897023 h 943688"/>
                    <a:gd name="connsiteX2545" fmla="*/ 16417 w 1156578"/>
                    <a:gd name="connsiteY2545" fmla="*/ 900800 h 943688"/>
                    <a:gd name="connsiteX2546" fmla="*/ 16053 w 1156578"/>
                    <a:gd name="connsiteY2546" fmla="*/ 902026 h 943688"/>
                    <a:gd name="connsiteX2547" fmla="*/ 15919 w 1156578"/>
                    <a:gd name="connsiteY2547" fmla="*/ 902293 h 943688"/>
                    <a:gd name="connsiteX2548" fmla="*/ 14960 w 1156578"/>
                    <a:gd name="connsiteY2548" fmla="*/ 903520 h 943688"/>
                    <a:gd name="connsiteX2549" fmla="*/ 14729 w 1156578"/>
                    <a:gd name="connsiteY2549" fmla="*/ 903787 h 943688"/>
                    <a:gd name="connsiteX2550" fmla="*/ 14547 w 1156578"/>
                    <a:gd name="connsiteY2550" fmla="*/ 904090 h 943688"/>
                    <a:gd name="connsiteX2551" fmla="*/ 13758 w 1156578"/>
                    <a:gd name="connsiteY2551" fmla="*/ 905365 h 943688"/>
                    <a:gd name="connsiteX2552" fmla="*/ 13588 w 1156578"/>
                    <a:gd name="connsiteY2552" fmla="*/ 905632 h 943688"/>
                    <a:gd name="connsiteX2553" fmla="*/ 13442 w 1156578"/>
                    <a:gd name="connsiteY2553" fmla="*/ 905924 h 943688"/>
                    <a:gd name="connsiteX2554" fmla="*/ 12276 w 1156578"/>
                    <a:gd name="connsiteY2554" fmla="*/ 908377 h 943688"/>
                    <a:gd name="connsiteX2555" fmla="*/ 12046 w 1156578"/>
                    <a:gd name="connsiteY2555" fmla="*/ 908850 h 943688"/>
                    <a:gd name="connsiteX2556" fmla="*/ 11900 w 1156578"/>
                    <a:gd name="connsiteY2556" fmla="*/ 909360 h 943688"/>
                    <a:gd name="connsiteX2557" fmla="*/ 11390 w 1156578"/>
                    <a:gd name="connsiteY2557" fmla="*/ 911194 h 943688"/>
                    <a:gd name="connsiteX2558" fmla="*/ 11269 w 1156578"/>
                    <a:gd name="connsiteY2558" fmla="*/ 911631 h 943688"/>
                    <a:gd name="connsiteX2559" fmla="*/ 11220 w 1156578"/>
                    <a:gd name="connsiteY2559" fmla="*/ 912080 h 943688"/>
                    <a:gd name="connsiteX2560" fmla="*/ 11220 w 1156578"/>
                    <a:gd name="connsiteY2560" fmla="*/ 912117 h 943688"/>
                    <a:gd name="connsiteX2561" fmla="*/ 10418 w 1156578"/>
                    <a:gd name="connsiteY2561" fmla="*/ 911971 h 943688"/>
                    <a:gd name="connsiteX2562" fmla="*/ 9058 w 1156578"/>
                    <a:gd name="connsiteY2562" fmla="*/ 911716 h 943688"/>
                    <a:gd name="connsiteX2563" fmla="*/ 7723 w 1156578"/>
                    <a:gd name="connsiteY2563" fmla="*/ 912080 h 943688"/>
                    <a:gd name="connsiteX2564" fmla="*/ 6691 w 1156578"/>
                    <a:gd name="connsiteY2564" fmla="*/ 912360 h 943688"/>
                    <a:gd name="connsiteX2565" fmla="*/ 5489 w 1156578"/>
                    <a:gd name="connsiteY2565" fmla="*/ 912688 h 943688"/>
                    <a:gd name="connsiteX2566" fmla="*/ 4517 w 1156578"/>
                    <a:gd name="connsiteY2566" fmla="*/ 913453 h 943688"/>
                    <a:gd name="connsiteX2567" fmla="*/ 3473 w 1156578"/>
                    <a:gd name="connsiteY2567" fmla="*/ 914278 h 943688"/>
                    <a:gd name="connsiteX2568" fmla="*/ 2198 w 1156578"/>
                    <a:gd name="connsiteY2568" fmla="*/ 915310 h 943688"/>
                    <a:gd name="connsiteX2569" fmla="*/ 1603 w 1156578"/>
                    <a:gd name="connsiteY2569" fmla="*/ 916840 h 943688"/>
                    <a:gd name="connsiteX2570" fmla="*/ 1214 w 1156578"/>
                    <a:gd name="connsiteY2570" fmla="*/ 917848 h 943688"/>
                    <a:gd name="connsiteX2571" fmla="*/ 984 w 1156578"/>
                    <a:gd name="connsiteY2571" fmla="*/ 918443 h 943688"/>
                    <a:gd name="connsiteX2572" fmla="*/ 874 w 1156578"/>
                    <a:gd name="connsiteY2572" fmla="*/ 919075 h 943688"/>
                    <a:gd name="connsiteX2573" fmla="*/ 692 w 1156578"/>
                    <a:gd name="connsiteY2573" fmla="*/ 920168 h 943688"/>
                    <a:gd name="connsiteX2574" fmla="*/ 644 w 1156578"/>
                    <a:gd name="connsiteY2574" fmla="*/ 920483 h 943688"/>
                    <a:gd name="connsiteX2575" fmla="*/ 631 w 1156578"/>
                    <a:gd name="connsiteY2575" fmla="*/ 920811 h 943688"/>
                    <a:gd name="connsiteX2576" fmla="*/ 449 w 1156578"/>
                    <a:gd name="connsiteY2576" fmla="*/ 924320 h 943688"/>
                    <a:gd name="connsiteX2577" fmla="*/ 49 w 1156578"/>
                    <a:gd name="connsiteY2577" fmla="*/ 927137 h 943688"/>
                    <a:gd name="connsiteX2578" fmla="*/ 0 w 1156578"/>
                    <a:gd name="connsiteY2578" fmla="*/ 927538 h 943688"/>
                    <a:gd name="connsiteX2579" fmla="*/ 0 w 1156578"/>
                    <a:gd name="connsiteY2579" fmla="*/ 927951 h 943688"/>
                    <a:gd name="connsiteX2580" fmla="*/ 0 w 1156578"/>
                    <a:gd name="connsiteY2580" fmla="*/ 931485 h 943688"/>
                    <a:gd name="connsiteX2581" fmla="*/ 0 w 1156578"/>
                    <a:gd name="connsiteY2581" fmla="*/ 932298 h 943688"/>
                    <a:gd name="connsiteX2582" fmla="*/ 218 w 1156578"/>
                    <a:gd name="connsiteY2582" fmla="*/ 933076 h 943688"/>
                    <a:gd name="connsiteX2583" fmla="*/ 850 w 1156578"/>
                    <a:gd name="connsiteY2583" fmla="*/ 935395 h 943688"/>
                    <a:gd name="connsiteX2584" fmla="*/ 1809 w 1156578"/>
                    <a:gd name="connsiteY2584" fmla="*/ 938916 h 943688"/>
                    <a:gd name="connsiteX2585" fmla="*/ 5379 w 1156578"/>
                    <a:gd name="connsiteY2585" fmla="*/ 939718 h 943688"/>
                    <a:gd name="connsiteX2586" fmla="*/ 15300 w 1156578"/>
                    <a:gd name="connsiteY2586" fmla="*/ 941940 h 943688"/>
                    <a:gd name="connsiteX2587" fmla="*/ 16769 w 1156578"/>
                    <a:gd name="connsiteY2587" fmla="*/ 942547 h 943688"/>
                    <a:gd name="connsiteX2588" fmla="*/ 17146 w 1156578"/>
                    <a:gd name="connsiteY2588" fmla="*/ 942717 h 943688"/>
                    <a:gd name="connsiteX2589" fmla="*/ 17534 w 1156578"/>
                    <a:gd name="connsiteY2589" fmla="*/ 942826 h 943688"/>
                    <a:gd name="connsiteX2590" fmla="*/ 19841 w 1156578"/>
                    <a:gd name="connsiteY2590" fmla="*/ 943446 h 943688"/>
                    <a:gd name="connsiteX2591" fmla="*/ 20740 w 1156578"/>
                    <a:gd name="connsiteY2591" fmla="*/ 943688 h 943688"/>
                    <a:gd name="connsiteX2592" fmla="*/ 21675 w 1156578"/>
                    <a:gd name="connsiteY2592" fmla="*/ 943652 h 943688"/>
                    <a:gd name="connsiteX2593" fmla="*/ 23047 w 1156578"/>
                    <a:gd name="connsiteY2593" fmla="*/ 943591 h 943688"/>
                    <a:gd name="connsiteX2594" fmla="*/ 24942 w 1156578"/>
                    <a:gd name="connsiteY2594" fmla="*/ 943506 h 943688"/>
                    <a:gd name="connsiteX2595" fmla="*/ 26447 w 1156578"/>
                    <a:gd name="connsiteY2595" fmla="*/ 942365 h 943688"/>
                    <a:gd name="connsiteX2596" fmla="*/ 27783 w 1156578"/>
                    <a:gd name="connsiteY2596" fmla="*/ 941357 h 943688"/>
                    <a:gd name="connsiteX2597" fmla="*/ 28730 w 1156578"/>
                    <a:gd name="connsiteY2597" fmla="*/ 940629 h 943688"/>
                    <a:gd name="connsiteX2598" fmla="*/ 29337 w 1156578"/>
                    <a:gd name="connsiteY2598" fmla="*/ 939608 h 943688"/>
                    <a:gd name="connsiteX2599" fmla="*/ 30248 w 1156578"/>
                    <a:gd name="connsiteY2599" fmla="*/ 938078 h 943688"/>
                    <a:gd name="connsiteX2600" fmla="*/ 30552 w 1156578"/>
                    <a:gd name="connsiteY2600" fmla="*/ 937568 h 943688"/>
                    <a:gd name="connsiteX2601" fmla="*/ 30612 w 1156578"/>
                    <a:gd name="connsiteY2601" fmla="*/ 937374 h 943688"/>
                    <a:gd name="connsiteX2602" fmla="*/ 34243 w 1156578"/>
                    <a:gd name="connsiteY2602" fmla="*/ 939608 h 943688"/>
                    <a:gd name="connsiteX2603" fmla="*/ 34850 w 1156578"/>
                    <a:gd name="connsiteY2603" fmla="*/ 939985 h 943688"/>
                    <a:gd name="connsiteX2604" fmla="*/ 35530 w 1156578"/>
                    <a:gd name="connsiteY2604" fmla="*/ 940216 h 943688"/>
                    <a:gd name="connsiteX2605" fmla="*/ 39380 w 1156578"/>
                    <a:gd name="connsiteY2605" fmla="*/ 941478 h 943688"/>
                    <a:gd name="connsiteX2606" fmla="*/ 41857 w 1156578"/>
                    <a:gd name="connsiteY2606" fmla="*/ 942280 h 943688"/>
                    <a:gd name="connsiteX2607" fmla="*/ 44140 w 1156578"/>
                    <a:gd name="connsiteY2607" fmla="*/ 941041 h 943688"/>
                    <a:gd name="connsiteX2608" fmla="*/ 49300 w 1156578"/>
                    <a:gd name="connsiteY2608" fmla="*/ 938261 h 943688"/>
                    <a:gd name="connsiteX2609" fmla="*/ 50138 w 1156578"/>
                    <a:gd name="connsiteY2609" fmla="*/ 937799 h 943688"/>
                    <a:gd name="connsiteX2610" fmla="*/ 50806 w 1156578"/>
                    <a:gd name="connsiteY2610" fmla="*/ 937107 h 943688"/>
                    <a:gd name="connsiteX2611" fmla="*/ 53708 w 1156578"/>
                    <a:gd name="connsiteY2611" fmla="*/ 934071 h 943688"/>
                    <a:gd name="connsiteX2612" fmla="*/ 56307 w 1156578"/>
                    <a:gd name="connsiteY2612" fmla="*/ 931922 h 943688"/>
                    <a:gd name="connsiteX2613" fmla="*/ 57728 w 1156578"/>
                    <a:gd name="connsiteY2613" fmla="*/ 931133 h 943688"/>
                    <a:gd name="connsiteX2614" fmla="*/ 63022 w 1156578"/>
                    <a:gd name="connsiteY2614" fmla="*/ 930465 h 943688"/>
                    <a:gd name="connsiteX2615" fmla="*/ 63920 w 1156578"/>
                    <a:gd name="connsiteY2615" fmla="*/ 930356 h 943688"/>
                    <a:gd name="connsiteX2616" fmla="*/ 64746 w 1156578"/>
                    <a:gd name="connsiteY2616" fmla="*/ 929991 h 943688"/>
                    <a:gd name="connsiteX2617" fmla="*/ 67320 w 1156578"/>
                    <a:gd name="connsiteY2617" fmla="*/ 928838 h 943688"/>
                    <a:gd name="connsiteX2618" fmla="*/ 68401 w 1156578"/>
                    <a:gd name="connsiteY2618" fmla="*/ 928352 h 943688"/>
                    <a:gd name="connsiteX2619" fmla="*/ 69227 w 1156578"/>
                    <a:gd name="connsiteY2619" fmla="*/ 927502 h 943688"/>
                    <a:gd name="connsiteX2620" fmla="*/ 71522 w 1156578"/>
                    <a:gd name="connsiteY2620" fmla="*/ 925122 h 943688"/>
                    <a:gd name="connsiteX2621" fmla="*/ 71838 w 1156578"/>
                    <a:gd name="connsiteY2621" fmla="*/ 924794 h 943688"/>
                    <a:gd name="connsiteX2622" fmla="*/ 72105 w 1156578"/>
                    <a:gd name="connsiteY2622" fmla="*/ 924417 h 943688"/>
                    <a:gd name="connsiteX2623" fmla="*/ 73270 w 1156578"/>
                    <a:gd name="connsiteY2623" fmla="*/ 922754 h 943688"/>
                    <a:gd name="connsiteX2624" fmla="*/ 75080 w 1156578"/>
                    <a:gd name="connsiteY2624" fmla="*/ 921115 h 943688"/>
                    <a:gd name="connsiteX2625" fmla="*/ 77933 w 1156578"/>
                    <a:gd name="connsiteY2625" fmla="*/ 919415 h 943688"/>
                    <a:gd name="connsiteX2626" fmla="*/ 90028 w 1156578"/>
                    <a:gd name="connsiteY2626" fmla="*/ 913926 h 943688"/>
                    <a:gd name="connsiteX2627" fmla="*/ 90453 w 1156578"/>
                    <a:gd name="connsiteY2627" fmla="*/ 913732 h 943688"/>
                    <a:gd name="connsiteX2628" fmla="*/ 90841 w 1156578"/>
                    <a:gd name="connsiteY2628" fmla="*/ 913477 h 943688"/>
                    <a:gd name="connsiteX2629" fmla="*/ 107975 w 1156578"/>
                    <a:gd name="connsiteY2629" fmla="*/ 902257 h 943688"/>
                    <a:gd name="connsiteX2630" fmla="*/ 112917 w 1156578"/>
                    <a:gd name="connsiteY2630" fmla="*/ 901868 h 943688"/>
                    <a:gd name="connsiteX2631" fmla="*/ 113269 w 1156578"/>
                    <a:gd name="connsiteY2631" fmla="*/ 901844 h 943688"/>
                    <a:gd name="connsiteX2632" fmla="*/ 113621 w 1156578"/>
                    <a:gd name="connsiteY2632" fmla="*/ 901771 h 943688"/>
                    <a:gd name="connsiteX2633" fmla="*/ 120616 w 1156578"/>
                    <a:gd name="connsiteY2633" fmla="*/ 900399 h 943688"/>
                    <a:gd name="connsiteX2634" fmla="*/ 121939 w 1156578"/>
                    <a:gd name="connsiteY2634" fmla="*/ 900144 h 943688"/>
                    <a:gd name="connsiteX2635" fmla="*/ 123020 w 1156578"/>
                    <a:gd name="connsiteY2635" fmla="*/ 899355 h 943688"/>
                    <a:gd name="connsiteX2636" fmla="*/ 130585 w 1156578"/>
                    <a:gd name="connsiteY2636" fmla="*/ 893830 h 943688"/>
                    <a:gd name="connsiteX2637" fmla="*/ 137142 w 1156578"/>
                    <a:gd name="connsiteY2637" fmla="*/ 892919 h 943688"/>
                    <a:gd name="connsiteX2638" fmla="*/ 142607 w 1156578"/>
                    <a:gd name="connsiteY2638" fmla="*/ 894497 h 943688"/>
                    <a:gd name="connsiteX2639" fmla="*/ 144817 w 1156578"/>
                    <a:gd name="connsiteY2639" fmla="*/ 895833 h 943688"/>
                    <a:gd name="connsiteX2640" fmla="*/ 146735 w 1156578"/>
                    <a:gd name="connsiteY2640" fmla="*/ 897327 h 943688"/>
                    <a:gd name="connsiteX2641" fmla="*/ 149613 w 1156578"/>
                    <a:gd name="connsiteY2641" fmla="*/ 900447 h 943688"/>
                    <a:gd name="connsiteX2642" fmla="*/ 150281 w 1156578"/>
                    <a:gd name="connsiteY2642" fmla="*/ 901164 h 943688"/>
                    <a:gd name="connsiteX2643" fmla="*/ 151131 w 1156578"/>
                    <a:gd name="connsiteY2643" fmla="*/ 901638 h 943688"/>
                    <a:gd name="connsiteX2644" fmla="*/ 152200 w 1156578"/>
                    <a:gd name="connsiteY2644" fmla="*/ 902232 h 943688"/>
                    <a:gd name="connsiteX2645" fmla="*/ 153584 w 1156578"/>
                    <a:gd name="connsiteY2645" fmla="*/ 902463 h 943688"/>
                    <a:gd name="connsiteX2646" fmla="*/ 155879 w 1156578"/>
                    <a:gd name="connsiteY2646" fmla="*/ 902718 h 943688"/>
                    <a:gd name="connsiteX2647" fmla="*/ 156389 w 1156578"/>
                    <a:gd name="connsiteY2647" fmla="*/ 902779 h 943688"/>
                    <a:gd name="connsiteX2648" fmla="*/ 156899 w 1156578"/>
                    <a:gd name="connsiteY2648" fmla="*/ 902743 h 943688"/>
                    <a:gd name="connsiteX2649" fmla="*/ 159704 w 1156578"/>
                    <a:gd name="connsiteY2649" fmla="*/ 902573 h 943688"/>
                    <a:gd name="connsiteX2650" fmla="*/ 159837 w 1156578"/>
                    <a:gd name="connsiteY2650" fmla="*/ 902585 h 943688"/>
                    <a:gd name="connsiteX2651" fmla="*/ 159959 w 1156578"/>
                    <a:gd name="connsiteY2651" fmla="*/ 902609 h 943688"/>
                    <a:gd name="connsiteX2652" fmla="*/ 160906 w 1156578"/>
                    <a:gd name="connsiteY2652" fmla="*/ 903034 h 943688"/>
                    <a:gd name="connsiteX2653" fmla="*/ 161671 w 1156578"/>
                    <a:gd name="connsiteY2653" fmla="*/ 903362 h 943688"/>
                    <a:gd name="connsiteX2654" fmla="*/ 162497 w 1156578"/>
                    <a:gd name="connsiteY2654" fmla="*/ 903495 h 943688"/>
                    <a:gd name="connsiteX2655" fmla="*/ 164440 w 1156578"/>
                    <a:gd name="connsiteY2655" fmla="*/ 903775 h 943688"/>
                    <a:gd name="connsiteX2656" fmla="*/ 166164 w 1156578"/>
                    <a:gd name="connsiteY2656" fmla="*/ 904030 h 943688"/>
                    <a:gd name="connsiteX2657" fmla="*/ 167755 w 1156578"/>
                    <a:gd name="connsiteY2657" fmla="*/ 903325 h 943688"/>
                    <a:gd name="connsiteX2658" fmla="*/ 169710 w 1156578"/>
                    <a:gd name="connsiteY2658" fmla="*/ 902475 h 943688"/>
                    <a:gd name="connsiteX2659" fmla="*/ 171300 w 1156578"/>
                    <a:gd name="connsiteY2659" fmla="*/ 901771 h 943688"/>
                    <a:gd name="connsiteX2660" fmla="*/ 172284 w 1156578"/>
                    <a:gd name="connsiteY2660" fmla="*/ 900338 h 943688"/>
                    <a:gd name="connsiteX2661" fmla="*/ 173620 w 1156578"/>
                    <a:gd name="connsiteY2661" fmla="*/ 898383 h 943688"/>
                    <a:gd name="connsiteX2662" fmla="*/ 174154 w 1156578"/>
                    <a:gd name="connsiteY2662" fmla="*/ 897606 h 943688"/>
                    <a:gd name="connsiteX2663" fmla="*/ 174421 w 1156578"/>
                    <a:gd name="connsiteY2663" fmla="*/ 896683 h 943688"/>
                    <a:gd name="connsiteX2664" fmla="*/ 175016 w 1156578"/>
                    <a:gd name="connsiteY2664" fmla="*/ 894680 h 943688"/>
                    <a:gd name="connsiteX2665" fmla="*/ 175247 w 1156578"/>
                    <a:gd name="connsiteY2665" fmla="*/ 894194 h 943688"/>
                    <a:gd name="connsiteX2666" fmla="*/ 175648 w 1156578"/>
                    <a:gd name="connsiteY2666" fmla="*/ 894109 h 943688"/>
                    <a:gd name="connsiteX2667" fmla="*/ 179667 w 1156578"/>
                    <a:gd name="connsiteY2667" fmla="*/ 894461 h 943688"/>
                    <a:gd name="connsiteX2668" fmla="*/ 180711 w 1156578"/>
                    <a:gd name="connsiteY2668" fmla="*/ 894558 h 943688"/>
                    <a:gd name="connsiteX2669" fmla="*/ 181731 w 1156578"/>
                    <a:gd name="connsiteY2669" fmla="*/ 894291 h 943688"/>
                    <a:gd name="connsiteX2670" fmla="*/ 183686 w 1156578"/>
                    <a:gd name="connsiteY2670" fmla="*/ 893781 h 943688"/>
                    <a:gd name="connsiteX2671" fmla="*/ 185811 w 1156578"/>
                    <a:gd name="connsiteY2671" fmla="*/ 893234 h 943688"/>
                    <a:gd name="connsiteX2672" fmla="*/ 187086 w 1156578"/>
                    <a:gd name="connsiteY2672" fmla="*/ 891449 h 943688"/>
                    <a:gd name="connsiteX2673" fmla="*/ 188300 w 1156578"/>
                    <a:gd name="connsiteY2673" fmla="*/ 889750 h 943688"/>
                    <a:gd name="connsiteX2674" fmla="*/ 189199 w 1156578"/>
                    <a:gd name="connsiteY2674" fmla="*/ 888499 h 943688"/>
                    <a:gd name="connsiteX2675" fmla="*/ 189393 w 1156578"/>
                    <a:gd name="connsiteY2675" fmla="*/ 886981 h 943688"/>
                    <a:gd name="connsiteX2676" fmla="*/ 189733 w 1156578"/>
                    <a:gd name="connsiteY2676" fmla="*/ 884358 h 943688"/>
                    <a:gd name="connsiteX2677" fmla="*/ 189843 w 1156578"/>
                    <a:gd name="connsiteY2677" fmla="*/ 883520 h 943688"/>
                    <a:gd name="connsiteX2678" fmla="*/ 189709 w 1156578"/>
                    <a:gd name="connsiteY2678" fmla="*/ 882670 h 943688"/>
                    <a:gd name="connsiteX2679" fmla="*/ 189248 w 1156578"/>
                    <a:gd name="connsiteY2679" fmla="*/ 879719 h 943688"/>
                    <a:gd name="connsiteX2680" fmla="*/ 188628 w 1156578"/>
                    <a:gd name="connsiteY2680" fmla="*/ 877206 h 943688"/>
                    <a:gd name="connsiteX2681" fmla="*/ 190280 w 1156578"/>
                    <a:gd name="connsiteY2681" fmla="*/ 876137 h 943688"/>
                    <a:gd name="connsiteX2682" fmla="*/ 191603 w 1156578"/>
                    <a:gd name="connsiteY2682" fmla="*/ 875299 h 943688"/>
                    <a:gd name="connsiteX2683" fmla="*/ 192356 w 1156578"/>
                    <a:gd name="connsiteY2683" fmla="*/ 873939 h 943688"/>
                    <a:gd name="connsiteX2684" fmla="*/ 193231 w 1156578"/>
                    <a:gd name="connsiteY2684" fmla="*/ 872325 h 943688"/>
                    <a:gd name="connsiteX2685" fmla="*/ 194275 w 1156578"/>
                    <a:gd name="connsiteY2685" fmla="*/ 870406 h 943688"/>
                    <a:gd name="connsiteX2686" fmla="*/ 193850 w 1156578"/>
                    <a:gd name="connsiteY2686" fmla="*/ 868256 h 943688"/>
                    <a:gd name="connsiteX2687" fmla="*/ 193558 w 1156578"/>
                    <a:gd name="connsiteY2687" fmla="*/ 866763 h 943688"/>
                    <a:gd name="connsiteX2688" fmla="*/ 193303 w 1156578"/>
                    <a:gd name="connsiteY2688" fmla="*/ 865452 h 943688"/>
                    <a:gd name="connsiteX2689" fmla="*/ 192514 w 1156578"/>
                    <a:gd name="connsiteY2689" fmla="*/ 864359 h 943688"/>
                    <a:gd name="connsiteX2690" fmla="*/ 191373 w 1156578"/>
                    <a:gd name="connsiteY2690" fmla="*/ 862780 h 943688"/>
                    <a:gd name="connsiteX2691" fmla="*/ 190802 w 1156578"/>
                    <a:gd name="connsiteY2691" fmla="*/ 862003 h 943688"/>
                    <a:gd name="connsiteX2692" fmla="*/ 190025 w 1156578"/>
                    <a:gd name="connsiteY2692" fmla="*/ 861445 h 943688"/>
                    <a:gd name="connsiteX2693" fmla="*/ 184913 w 1156578"/>
                    <a:gd name="connsiteY2693" fmla="*/ 857729 h 943688"/>
                    <a:gd name="connsiteX2694" fmla="*/ 185107 w 1156578"/>
                    <a:gd name="connsiteY2694" fmla="*/ 857316 h 943688"/>
                    <a:gd name="connsiteX2695" fmla="*/ 191033 w 1156578"/>
                    <a:gd name="connsiteY2695" fmla="*/ 848233 h 943688"/>
                    <a:gd name="connsiteX2696" fmla="*/ 191203 w 1156578"/>
                    <a:gd name="connsiteY2696" fmla="*/ 847978 h 943688"/>
                    <a:gd name="connsiteX2697" fmla="*/ 191336 w 1156578"/>
                    <a:gd name="connsiteY2697" fmla="*/ 847723 h 943688"/>
                    <a:gd name="connsiteX2698" fmla="*/ 192526 w 1156578"/>
                    <a:gd name="connsiteY2698" fmla="*/ 845428 h 943688"/>
                    <a:gd name="connsiteX2699" fmla="*/ 192781 w 1156578"/>
                    <a:gd name="connsiteY2699" fmla="*/ 844930 h 943688"/>
                    <a:gd name="connsiteX2700" fmla="*/ 192951 w 1156578"/>
                    <a:gd name="connsiteY2700" fmla="*/ 844396 h 943688"/>
                    <a:gd name="connsiteX2701" fmla="*/ 193765 w 1156578"/>
                    <a:gd name="connsiteY2701" fmla="*/ 841724 h 943688"/>
                    <a:gd name="connsiteX2702" fmla="*/ 194105 w 1156578"/>
                    <a:gd name="connsiteY2702" fmla="*/ 840583 h 943688"/>
                    <a:gd name="connsiteX2703" fmla="*/ 193996 w 1156578"/>
                    <a:gd name="connsiteY2703" fmla="*/ 839393 h 943688"/>
                    <a:gd name="connsiteX2704" fmla="*/ 193813 w 1156578"/>
                    <a:gd name="connsiteY2704" fmla="*/ 837462 h 943688"/>
                    <a:gd name="connsiteX2705" fmla="*/ 193716 w 1156578"/>
                    <a:gd name="connsiteY2705" fmla="*/ 836406 h 943688"/>
                    <a:gd name="connsiteX2706" fmla="*/ 193267 w 1156578"/>
                    <a:gd name="connsiteY2706" fmla="*/ 835434 h 943688"/>
                    <a:gd name="connsiteX2707" fmla="*/ 192429 w 1156578"/>
                    <a:gd name="connsiteY2707" fmla="*/ 833661 h 943688"/>
                    <a:gd name="connsiteX2708" fmla="*/ 194797 w 1156578"/>
                    <a:gd name="connsiteY2708" fmla="*/ 827650 h 943688"/>
                    <a:gd name="connsiteX2709" fmla="*/ 195028 w 1156578"/>
                    <a:gd name="connsiteY2709" fmla="*/ 827068 h 943688"/>
                    <a:gd name="connsiteX2710" fmla="*/ 195137 w 1156578"/>
                    <a:gd name="connsiteY2710" fmla="*/ 826461 h 943688"/>
                    <a:gd name="connsiteX2711" fmla="*/ 195659 w 1156578"/>
                    <a:gd name="connsiteY2711" fmla="*/ 823473 h 943688"/>
                    <a:gd name="connsiteX2712" fmla="*/ 195744 w 1156578"/>
                    <a:gd name="connsiteY2712" fmla="*/ 822951 h 943688"/>
                    <a:gd name="connsiteX2713" fmla="*/ 195744 w 1156578"/>
                    <a:gd name="connsiteY2713" fmla="*/ 822429 h 943688"/>
                    <a:gd name="connsiteX2714" fmla="*/ 195744 w 1156578"/>
                    <a:gd name="connsiteY2714" fmla="*/ 819721 h 943688"/>
                    <a:gd name="connsiteX2715" fmla="*/ 195562 w 1156578"/>
                    <a:gd name="connsiteY2715" fmla="*/ 817305 h 943688"/>
                    <a:gd name="connsiteX2716" fmla="*/ 201743 w 1156578"/>
                    <a:gd name="connsiteY2716" fmla="*/ 809922 h 943688"/>
                    <a:gd name="connsiteX2717" fmla="*/ 202168 w 1156578"/>
                    <a:gd name="connsiteY2717" fmla="*/ 809412 h 943688"/>
                    <a:gd name="connsiteX2718" fmla="*/ 202471 w 1156578"/>
                    <a:gd name="connsiteY2718" fmla="*/ 808805 h 943688"/>
                    <a:gd name="connsiteX2719" fmla="*/ 203904 w 1156578"/>
                    <a:gd name="connsiteY2719" fmla="*/ 806024 h 943688"/>
                    <a:gd name="connsiteX2720" fmla="*/ 205604 w 1156578"/>
                    <a:gd name="connsiteY2720" fmla="*/ 801835 h 943688"/>
                    <a:gd name="connsiteX2721" fmla="*/ 205677 w 1156578"/>
                    <a:gd name="connsiteY2721" fmla="*/ 801859 h 943688"/>
                    <a:gd name="connsiteX2722" fmla="*/ 207328 w 1156578"/>
                    <a:gd name="connsiteY2722" fmla="*/ 802636 h 943688"/>
                    <a:gd name="connsiteX2723" fmla="*/ 208045 w 1156578"/>
                    <a:gd name="connsiteY2723" fmla="*/ 802976 h 943688"/>
                    <a:gd name="connsiteX2724" fmla="*/ 208822 w 1156578"/>
                    <a:gd name="connsiteY2724" fmla="*/ 803122 h 943688"/>
                    <a:gd name="connsiteX2725" fmla="*/ 209247 w 1156578"/>
                    <a:gd name="connsiteY2725" fmla="*/ 803207 h 943688"/>
                    <a:gd name="connsiteX2726" fmla="*/ 209247 w 1156578"/>
                    <a:gd name="connsiteY2726" fmla="*/ 803729 h 943688"/>
                    <a:gd name="connsiteX2727" fmla="*/ 209271 w 1156578"/>
                    <a:gd name="connsiteY2727" fmla="*/ 804300 h 943688"/>
                    <a:gd name="connsiteX2728" fmla="*/ 209393 w 1156578"/>
                    <a:gd name="connsiteY2728" fmla="*/ 804870 h 943688"/>
                    <a:gd name="connsiteX2729" fmla="*/ 209624 w 1156578"/>
                    <a:gd name="connsiteY2729" fmla="*/ 805903 h 943688"/>
                    <a:gd name="connsiteX2730" fmla="*/ 209781 w 1156578"/>
                    <a:gd name="connsiteY2730" fmla="*/ 806631 h 943688"/>
                    <a:gd name="connsiteX2731" fmla="*/ 210109 w 1156578"/>
                    <a:gd name="connsiteY2731" fmla="*/ 807299 h 943688"/>
                    <a:gd name="connsiteX2732" fmla="*/ 210364 w 1156578"/>
                    <a:gd name="connsiteY2732" fmla="*/ 807809 h 943688"/>
                    <a:gd name="connsiteX2733" fmla="*/ 210376 w 1156578"/>
                    <a:gd name="connsiteY2733" fmla="*/ 808173 h 943688"/>
                    <a:gd name="connsiteX2734" fmla="*/ 209927 w 1156578"/>
                    <a:gd name="connsiteY2734" fmla="*/ 811549 h 943688"/>
                    <a:gd name="connsiteX2735" fmla="*/ 209830 w 1156578"/>
                    <a:gd name="connsiteY2735" fmla="*/ 812265 h 943688"/>
                    <a:gd name="connsiteX2736" fmla="*/ 209903 w 1156578"/>
                    <a:gd name="connsiteY2736" fmla="*/ 812982 h 943688"/>
                    <a:gd name="connsiteX2737" fmla="*/ 210133 w 1156578"/>
                    <a:gd name="connsiteY2737" fmla="*/ 815253 h 943688"/>
                    <a:gd name="connsiteX2738" fmla="*/ 210255 w 1156578"/>
                    <a:gd name="connsiteY2738" fmla="*/ 816382 h 943688"/>
                    <a:gd name="connsiteX2739" fmla="*/ 210765 w 1156578"/>
                    <a:gd name="connsiteY2739" fmla="*/ 817402 h 943688"/>
                    <a:gd name="connsiteX2740" fmla="*/ 211931 w 1156578"/>
                    <a:gd name="connsiteY2740" fmla="*/ 819685 h 943688"/>
                    <a:gd name="connsiteX2741" fmla="*/ 212210 w 1156578"/>
                    <a:gd name="connsiteY2741" fmla="*/ 820243 h 943688"/>
                    <a:gd name="connsiteX2742" fmla="*/ 212599 w 1156578"/>
                    <a:gd name="connsiteY2742" fmla="*/ 820729 h 943688"/>
                    <a:gd name="connsiteX2743" fmla="*/ 214711 w 1156578"/>
                    <a:gd name="connsiteY2743" fmla="*/ 823364 h 943688"/>
                    <a:gd name="connsiteX2744" fmla="*/ 215039 w 1156578"/>
                    <a:gd name="connsiteY2744" fmla="*/ 823777 h 943688"/>
                    <a:gd name="connsiteX2745" fmla="*/ 215440 w 1156578"/>
                    <a:gd name="connsiteY2745" fmla="*/ 824117 h 943688"/>
                    <a:gd name="connsiteX2746" fmla="*/ 224741 w 1156578"/>
                    <a:gd name="connsiteY2746" fmla="*/ 832277 h 943688"/>
                    <a:gd name="connsiteX2747" fmla="*/ 225276 w 1156578"/>
                    <a:gd name="connsiteY2747" fmla="*/ 832848 h 943688"/>
                    <a:gd name="connsiteX2748" fmla="*/ 225847 w 1156578"/>
                    <a:gd name="connsiteY2748" fmla="*/ 833613 h 943688"/>
                    <a:gd name="connsiteX2749" fmla="*/ 226223 w 1156578"/>
                    <a:gd name="connsiteY2749" fmla="*/ 834329 h 943688"/>
                    <a:gd name="connsiteX2750" fmla="*/ 226235 w 1156578"/>
                    <a:gd name="connsiteY2750" fmla="*/ 834353 h 943688"/>
                    <a:gd name="connsiteX2751" fmla="*/ 226211 w 1156578"/>
                    <a:gd name="connsiteY2751" fmla="*/ 834475 h 943688"/>
                    <a:gd name="connsiteX2752" fmla="*/ 223976 w 1156578"/>
                    <a:gd name="connsiteY2752" fmla="*/ 839332 h 943688"/>
                    <a:gd name="connsiteX2753" fmla="*/ 223649 w 1156578"/>
                    <a:gd name="connsiteY2753" fmla="*/ 840037 h 943688"/>
                    <a:gd name="connsiteX2754" fmla="*/ 223515 w 1156578"/>
                    <a:gd name="connsiteY2754" fmla="*/ 840789 h 943688"/>
                    <a:gd name="connsiteX2755" fmla="*/ 223114 w 1156578"/>
                    <a:gd name="connsiteY2755" fmla="*/ 842999 h 943688"/>
                    <a:gd name="connsiteX2756" fmla="*/ 223041 w 1156578"/>
                    <a:gd name="connsiteY2756" fmla="*/ 843448 h 943688"/>
                    <a:gd name="connsiteX2757" fmla="*/ 223029 w 1156578"/>
                    <a:gd name="connsiteY2757" fmla="*/ 843898 h 943688"/>
                    <a:gd name="connsiteX2758" fmla="*/ 222981 w 1156578"/>
                    <a:gd name="connsiteY2758" fmla="*/ 845877 h 943688"/>
                    <a:gd name="connsiteX2759" fmla="*/ 222956 w 1156578"/>
                    <a:gd name="connsiteY2759" fmla="*/ 846727 h 943688"/>
                    <a:gd name="connsiteX2760" fmla="*/ 223175 w 1156578"/>
                    <a:gd name="connsiteY2760" fmla="*/ 847553 h 943688"/>
                    <a:gd name="connsiteX2761" fmla="*/ 223636 w 1156578"/>
                    <a:gd name="connsiteY2761" fmla="*/ 849326 h 943688"/>
                    <a:gd name="connsiteX2762" fmla="*/ 223879 w 1156578"/>
                    <a:gd name="connsiteY2762" fmla="*/ 850261 h 943688"/>
                    <a:gd name="connsiteX2763" fmla="*/ 224389 w 1156578"/>
                    <a:gd name="connsiteY2763" fmla="*/ 851062 h 943688"/>
                    <a:gd name="connsiteX2764" fmla="*/ 225203 w 1156578"/>
                    <a:gd name="connsiteY2764" fmla="*/ 852349 h 943688"/>
                    <a:gd name="connsiteX2765" fmla="*/ 225931 w 1156578"/>
                    <a:gd name="connsiteY2765" fmla="*/ 853503 h 943688"/>
                    <a:gd name="connsiteX2766" fmla="*/ 227085 w 1156578"/>
                    <a:gd name="connsiteY2766" fmla="*/ 854244 h 943688"/>
                    <a:gd name="connsiteX2767" fmla="*/ 228396 w 1156578"/>
                    <a:gd name="connsiteY2767" fmla="*/ 855069 h 943688"/>
                    <a:gd name="connsiteX2768" fmla="*/ 229174 w 1156578"/>
                    <a:gd name="connsiteY2768" fmla="*/ 855555 h 943688"/>
                    <a:gd name="connsiteX2769" fmla="*/ 230060 w 1156578"/>
                    <a:gd name="connsiteY2769" fmla="*/ 855798 h 943688"/>
                    <a:gd name="connsiteX2770" fmla="*/ 231554 w 1156578"/>
                    <a:gd name="connsiteY2770" fmla="*/ 856199 h 943688"/>
                    <a:gd name="connsiteX2771" fmla="*/ 232209 w 1156578"/>
                    <a:gd name="connsiteY2771" fmla="*/ 856381 h 943688"/>
                    <a:gd name="connsiteX2772" fmla="*/ 232889 w 1156578"/>
                    <a:gd name="connsiteY2772" fmla="*/ 856417 h 943688"/>
                    <a:gd name="connsiteX2773" fmla="*/ 234735 w 1156578"/>
                    <a:gd name="connsiteY2773" fmla="*/ 856490 h 943688"/>
                    <a:gd name="connsiteX2774" fmla="*/ 234941 w 1156578"/>
                    <a:gd name="connsiteY2774" fmla="*/ 856527 h 943688"/>
                    <a:gd name="connsiteX2775" fmla="*/ 236556 w 1156578"/>
                    <a:gd name="connsiteY2775" fmla="*/ 857425 h 943688"/>
                    <a:gd name="connsiteX2776" fmla="*/ 238256 w 1156578"/>
                    <a:gd name="connsiteY2776" fmla="*/ 858372 h 943688"/>
                    <a:gd name="connsiteX2777" fmla="*/ 240199 w 1156578"/>
                    <a:gd name="connsiteY2777" fmla="*/ 858153 h 943688"/>
                    <a:gd name="connsiteX2778" fmla="*/ 241462 w 1156578"/>
                    <a:gd name="connsiteY2778" fmla="*/ 858008 h 943688"/>
                    <a:gd name="connsiteX2779" fmla="*/ 243757 w 1156578"/>
                    <a:gd name="connsiteY2779" fmla="*/ 857753 h 943688"/>
                    <a:gd name="connsiteX2780" fmla="*/ 245299 w 1156578"/>
                    <a:gd name="connsiteY2780" fmla="*/ 856016 h 943688"/>
                    <a:gd name="connsiteX2781" fmla="*/ 247145 w 1156578"/>
                    <a:gd name="connsiteY2781" fmla="*/ 853952 h 943688"/>
                    <a:gd name="connsiteX2782" fmla="*/ 247959 w 1156578"/>
                    <a:gd name="connsiteY2782" fmla="*/ 853041 h 943688"/>
                    <a:gd name="connsiteX2783" fmla="*/ 248359 w 1156578"/>
                    <a:gd name="connsiteY2783" fmla="*/ 851888 h 943688"/>
                    <a:gd name="connsiteX2784" fmla="*/ 249039 w 1156578"/>
                    <a:gd name="connsiteY2784" fmla="*/ 849909 h 943688"/>
                    <a:gd name="connsiteX2785" fmla="*/ 249185 w 1156578"/>
                    <a:gd name="connsiteY2785" fmla="*/ 849496 h 943688"/>
                    <a:gd name="connsiteX2786" fmla="*/ 249270 w 1156578"/>
                    <a:gd name="connsiteY2786" fmla="*/ 849071 h 943688"/>
                    <a:gd name="connsiteX2787" fmla="*/ 250072 w 1156578"/>
                    <a:gd name="connsiteY2787" fmla="*/ 844881 h 943688"/>
                    <a:gd name="connsiteX2788" fmla="*/ 251067 w 1156578"/>
                    <a:gd name="connsiteY2788" fmla="*/ 844153 h 943688"/>
                    <a:gd name="connsiteX2789" fmla="*/ 253994 w 1156578"/>
                    <a:gd name="connsiteY2789" fmla="*/ 842586 h 943688"/>
                    <a:gd name="connsiteX2790" fmla="*/ 259980 w 1156578"/>
                    <a:gd name="connsiteY2790" fmla="*/ 838640 h 943688"/>
                    <a:gd name="connsiteX2791" fmla="*/ 265020 w 1156578"/>
                    <a:gd name="connsiteY2791" fmla="*/ 836770 h 943688"/>
                    <a:gd name="connsiteX2792" fmla="*/ 265663 w 1156578"/>
                    <a:gd name="connsiteY2792" fmla="*/ 836527 h 943688"/>
                    <a:gd name="connsiteX2793" fmla="*/ 266222 w 1156578"/>
                    <a:gd name="connsiteY2793" fmla="*/ 836151 h 943688"/>
                    <a:gd name="connsiteX2794" fmla="*/ 268335 w 1156578"/>
                    <a:gd name="connsiteY2794" fmla="*/ 834766 h 943688"/>
                    <a:gd name="connsiteX2795" fmla="*/ 269282 w 1156578"/>
                    <a:gd name="connsiteY2795" fmla="*/ 834147 h 943688"/>
                    <a:gd name="connsiteX2796" fmla="*/ 269937 w 1156578"/>
                    <a:gd name="connsiteY2796" fmla="*/ 833236 h 943688"/>
                    <a:gd name="connsiteX2797" fmla="*/ 271795 w 1156578"/>
                    <a:gd name="connsiteY2797" fmla="*/ 830662 h 943688"/>
                    <a:gd name="connsiteX2798" fmla="*/ 272293 w 1156578"/>
                    <a:gd name="connsiteY2798" fmla="*/ 829970 h 943688"/>
                    <a:gd name="connsiteX2799" fmla="*/ 272585 w 1156578"/>
                    <a:gd name="connsiteY2799" fmla="*/ 829181 h 943688"/>
                    <a:gd name="connsiteX2800" fmla="*/ 273435 w 1156578"/>
                    <a:gd name="connsiteY2800" fmla="*/ 826825 h 943688"/>
                    <a:gd name="connsiteX2801" fmla="*/ 273726 w 1156578"/>
                    <a:gd name="connsiteY2801" fmla="*/ 826036 h 943688"/>
                    <a:gd name="connsiteX2802" fmla="*/ 273787 w 1156578"/>
                    <a:gd name="connsiteY2802" fmla="*/ 825185 h 943688"/>
                    <a:gd name="connsiteX2803" fmla="*/ 273957 w 1156578"/>
                    <a:gd name="connsiteY2803" fmla="*/ 822745 h 943688"/>
                    <a:gd name="connsiteX2804" fmla="*/ 274017 w 1156578"/>
                    <a:gd name="connsiteY2804" fmla="*/ 821761 h 943688"/>
                    <a:gd name="connsiteX2805" fmla="*/ 273763 w 1156578"/>
                    <a:gd name="connsiteY2805" fmla="*/ 820802 h 943688"/>
                    <a:gd name="connsiteX2806" fmla="*/ 273289 w 1156578"/>
                    <a:gd name="connsiteY2806" fmla="*/ 819017 h 943688"/>
                    <a:gd name="connsiteX2807" fmla="*/ 274187 w 1156578"/>
                    <a:gd name="connsiteY2807" fmla="*/ 819624 h 943688"/>
                    <a:gd name="connsiteX2808" fmla="*/ 275839 w 1156578"/>
                    <a:gd name="connsiteY2808" fmla="*/ 820936 h 943688"/>
                    <a:gd name="connsiteX2809" fmla="*/ 276592 w 1156578"/>
                    <a:gd name="connsiteY2809" fmla="*/ 821530 h 943688"/>
                    <a:gd name="connsiteX2810" fmla="*/ 277490 w 1156578"/>
                    <a:gd name="connsiteY2810" fmla="*/ 821858 h 943688"/>
                    <a:gd name="connsiteX2811" fmla="*/ 279737 w 1156578"/>
                    <a:gd name="connsiteY2811" fmla="*/ 822684 h 943688"/>
                    <a:gd name="connsiteX2812" fmla="*/ 280186 w 1156578"/>
                    <a:gd name="connsiteY2812" fmla="*/ 822854 h 943688"/>
                    <a:gd name="connsiteX2813" fmla="*/ 280186 w 1156578"/>
                    <a:gd name="connsiteY2813" fmla="*/ 823085 h 943688"/>
                    <a:gd name="connsiteX2814" fmla="*/ 280186 w 1156578"/>
                    <a:gd name="connsiteY2814" fmla="*/ 824700 h 943688"/>
                    <a:gd name="connsiteX2815" fmla="*/ 280186 w 1156578"/>
                    <a:gd name="connsiteY2815" fmla="*/ 825914 h 943688"/>
                    <a:gd name="connsiteX2816" fmla="*/ 280648 w 1156578"/>
                    <a:gd name="connsiteY2816" fmla="*/ 827031 h 943688"/>
                    <a:gd name="connsiteX2817" fmla="*/ 281279 w 1156578"/>
                    <a:gd name="connsiteY2817" fmla="*/ 828549 h 943688"/>
                    <a:gd name="connsiteX2818" fmla="*/ 281874 w 1156578"/>
                    <a:gd name="connsiteY2818" fmla="*/ 829994 h 943688"/>
                    <a:gd name="connsiteX2819" fmla="*/ 283088 w 1156578"/>
                    <a:gd name="connsiteY2819" fmla="*/ 830966 h 943688"/>
                    <a:gd name="connsiteX2820" fmla="*/ 284303 w 1156578"/>
                    <a:gd name="connsiteY2820" fmla="*/ 831937 h 943688"/>
                    <a:gd name="connsiteX2821" fmla="*/ 285347 w 1156578"/>
                    <a:gd name="connsiteY2821" fmla="*/ 832763 h 943688"/>
                    <a:gd name="connsiteX2822" fmla="*/ 286634 w 1156578"/>
                    <a:gd name="connsiteY2822" fmla="*/ 833079 h 943688"/>
                    <a:gd name="connsiteX2823" fmla="*/ 288407 w 1156578"/>
                    <a:gd name="connsiteY2823" fmla="*/ 833516 h 943688"/>
                    <a:gd name="connsiteX2824" fmla="*/ 289245 w 1156578"/>
                    <a:gd name="connsiteY2824" fmla="*/ 833734 h 943688"/>
                    <a:gd name="connsiteX2825" fmla="*/ 290107 w 1156578"/>
                    <a:gd name="connsiteY2825" fmla="*/ 833698 h 943688"/>
                    <a:gd name="connsiteX2826" fmla="*/ 297465 w 1156578"/>
                    <a:gd name="connsiteY2826" fmla="*/ 833406 h 943688"/>
                    <a:gd name="connsiteX2827" fmla="*/ 297818 w 1156578"/>
                    <a:gd name="connsiteY2827" fmla="*/ 833382 h 943688"/>
                    <a:gd name="connsiteX2828" fmla="*/ 298170 w 1156578"/>
                    <a:gd name="connsiteY2828" fmla="*/ 833334 h 943688"/>
                    <a:gd name="connsiteX2829" fmla="*/ 299760 w 1156578"/>
                    <a:gd name="connsiteY2829" fmla="*/ 833079 h 943688"/>
                    <a:gd name="connsiteX2830" fmla="*/ 300671 w 1156578"/>
                    <a:gd name="connsiteY2830" fmla="*/ 832933 h 943688"/>
                    <a:gd name="connsiteX2831" fmla="*/ 301497 w 1156578"/>
                    <a:gd name="connsiteY2831" fmla="*/ 832532 h 943688"/>
                    <a:gd name="connsiteX2832" fmla="*/ 308127 w 1156578"/>
                    <a:gd name="connsiteY2832" fmla="*/ 829278 h 943688"/>
                    <a:gd name="connsiteX2833" fmla="*/ 309038 w 1156578"/>
                    <a:gd name="connsiteY2833" fmla="*/ 828938 h 943688"/>
                    <a:gd name="connsiteX2834" fmla="*/ 309220 w 1156578"/>
                    <a:gd name="connsiteY2834" fmla="*/ 828926 h 943688"/>
                    <a:gd name="connsiteX2835" fmla="*/ 311029 w 1156578"/>
                    <a:gd name="connsiteY2835" fmla="*/ 829071 h 943688"/>
                    <a:gd name="connsiteX2836" fmla="*/ 312146 w 1156578"/>
                    <a:gd name="connsiteY2836" fmla="*/ 829168 h 943688"/>
                    <a:gd name="connsiteX2837" fmla="*/ 313227 w 1156578"/>
                    <a:gd name="connsiteY2837" fmla="*/ 828853 h 943688"/>
                    <a:gd name="connsiteX2838" fmla="*/ 315182 w 1156578"/>
                    <a:gd name="connsiteY2838" fmla="*/ 828282 h 943688"/>
                    <a:gd name="connsiteX2839" fmla="*/ 316591 w 1156578"/>
                    <a:gd name="connsiteY2839" fmla="*/ 827881 h 943688"/>
                    <a:gd name="connsiteX2840" fmla="*/ 317659 w 1156578"/>
                    <a:gd name="connsiteY2840" fmla="*/ 826861 h 943688"/>
                    <a:gd name="connsiteX2841" fmla="*/ 319383 w 1156578"/>
                    <a:gd name="connsiteY2841" fmla="*/ 825222 h 943688"/>
                    <a:gd name="connsiteX2842" fmla="*/ 320865 w 1156578"/>
                    <a:gd name="connsiteY2842" fmla="*/ 823825 h 943688"/>
                    <a:gd name="connsiteX2843" fmla="*/ 321193 w 1156578"/>
                    <a:gd name="connsiteY2843" fmla="*/ 821810 h 943688"/>
                    <a:gd name="connsiteX2844" fmla="*/ 322043 w 1156578"/>
                    <a:gd name="connsiteY2844" fmla="*/ 816637 h 943688"/>
                    <a:gd name="connsiteX2845" fmla="*/ 322152 w 1156578"/>
                    <a:gd name="connsiteY2845" fmla="*/ 815957 h 943688"/>
                    <a:gd name="connsiteX2846" fmla="*/ 322116 w 1156578"/>
                    <a:gd name="connsiteY2846" fmla="*/ 815265 h 943688"/>
                    <a:gd name="connsiteX2847" fmla="*/ 321958 w 1156578"/>
                    <a:gd name="connsiteY2847" fmla="*/ 812739 h 943688"/>
                    <a:gd name="connsiteX2848" fmla="*/ 321897 w 1156578"/>
                    <a:gd name="connsiteY2848" fmla="*/ 811719 h 943688"/>
                    <a:gd name="connsiteX2849" fmla="*/ 321508 w 1156578"/>
                    <a:gd name="connsiteY2849" fmla="*/ 810796 h 943688"/>
                    <a:gd name="connsiteX2850" fmla="*/ 320756 w 1156578"/>
                    <a:gd name="connsiteY2850" fmla="*/ 808987 h 943688"/>
                    <a:gd name="connsiteX2851" fmla="*/ 320391 w 1156578"/>
                    <a:gd name="connsiteY2851" fmla="*/ 808101 h 943688"/>
                    <a:gd name="connsiteX2852" fmla="*/ 328236 w 1156578"/>
                    <a:gd name="connsiteY2852" fmla="*/ 798483 h 943688"/>
                    <a:gd name="connsiteX2853" fmla="*/ 329851 w 1156578"/>
                    <a:gd name="connsiteY2853" fmla="*/ 796504 h 943688"/>
                    <a:gd name="connsiteX2854" fmla="*/ 329571 w 1156578"/>
                    <a:gd name="connsiteY2854" fmla="*/ 793978 h 943688"/>
                    <a:gd name="connsiteX2855" fmla="*/ 329280 w 1156578"/>
                    <a:gd name="connsiteY2855" fmla="*/ 791355 h 943688"/>
                    <a:gd name="connsiteX2856" fmla="*/ 329086 w 1156578"/>
                    <a:gd name="connsiteY2856" fmla="*/ 789583 h 943688"/>
                    <a:gd name="connsiteX2857" fmla="*/ 327956 w 1156578"/>
                    <a:gd name="connsiteY2857" fmla="*/ 788198 h 943688"/>
                    <a:gd name="connsiteX2858" fmla="*/ 327495 w 1156578"/>
                    <a:gd name="connsiteY2858" fmla="*/ 787627 h 943688"/>
                    <a:gd name="connsiteX2859" fmla="*/ 326997 w 1156578"/>
                    <a:gd name="connsiteY2859" fmla="*/ 787020 h 943688"/>
                    <a:gd name="connsiteX2860" fmla="*/ 326378 w 1156578"/>
                    <a:gd name="connsiteY2860" fmla="*/ 786571 h 943688"/>
                    <a:gd name="connsiteX2861" fmla="*/ 325746 w 1156578"/>
                    <a:gd name="connsiteY2861" fmla="*/ 786110 h 943688"/>
                    <a:gd name="connsiteX2862" fmla="*/ 324204 w 1156578"/>
                    <a:gd name="connsiteY2862" fmla="*/ 784968 h 943688"/>
                    <a:gd name="connsiteX2863" fmla="*/ 322286 w 1156578"/>
                    <a:gd name="connsiteY2863" fmla="*/ 784920 h 943688"/>
                    <a:gd name="connsiteX2864" fmla="*/ 321241 w 1156578"/>
                    <a:gd name="connsiteY2864" fmla="*/ 784895 h 943688"/>
                    <a:gd name="connsiteX2865" fmla="*/ 320780 w 1156578"/>
                    <a:gd name="connsiteY2865" fmla="*/ 784883 h 943688"/>
                    <a:gd name="connsiteX2866" fmla="*/ 320549 w 1156578"/>
                    <a:gd name="connsiteY2866" fmla="*/ 784920 h 943688"/>
                    <a:gd name="connsiteX2867" fmla="*/ 320367 w 1156578"/>
                    <a:gd name="connsiteY2867" fmla="*/ 784482 h 943688"/>
                    <a:gd name="connsiteX2868" fmla="*/ 320124 w 1156578"/>
                    <a:gd name="connsiteY2868" fmla="*/ 783887 h 943688"/>
                    <a:gd name="connsiteX2869" fmla="*/ 319772 w 1156578"/>
                    <a:gd name="connsiteY2869" fmla="*/ 783365 h 943688"/>
                    <a:gd name="connsiteX2870" fmla="*/ 317866 w 1156578"/>
                    <a:gd name="connsiteY2870" fmla="*/ 780524 h 943688"/>
                    <a:gd name="connsiteX2871" fmla="*/ 318145 w 1156578"/>
                    <a:gd name="connsiteY2871" fmla="*/ 779686 h 943688"/>
                    <a:gd name="connsiteX2872" fmla="*/ 318291 w 1156578"/>
                    <a:gd name="connsiteY2872" fmla="*/ 779224 h 943688"/>
                    <a:gd name="connsiteX2873" fmla="*/ 318363 w 1156578"/>
                    <a:gd name="connsiteY2873" fmla="*/ 778751 h 943688"/>
                    <a:gd name="connsiteX2874" fmla="*/ 318655 w 1156578"/>
                    <a:gd name="connsiteY2874" fmla="*/ 776954 h 943688"/>
                    <a:gd name="connsiteX2875" fmla="*/ 318752 w 1156578"/>
                    <a:gd name="connsiteY2875" fmla="*/ 776359 h 943688"/>
                    <a:gd name="connsiteX2876" fmla="*/ 318728 w 1156578"/>
                    <a:gd name="connsiteY2876" fmla="*/ 775752 h 943688"/>
                    <a:gd name="connsiteX2877" fmla="*/ 318716 w 1156578"/>
                    <a:gd name="connsiteY2877" fmla="*/ 775339 h 943688"/>
                    <a:gd name="connsiteX2878" fmla="*/ 322006 w 1156578"/>
                    <a:gd name="connsiteY2878" fmla="*/ 772255 h 943688"/>
                    <a:gd name="connsiteX2879" fmla="*/ 324605 w 1156578"/>
                    <a:gd name="connsiteY2879" fmla="*/ 769389 h 943688"/>
                    <a:gd name="connsiteX2880" fmla="*/ 324836 w 1156578"/>
                    <a:gd name="connsiteY2880" fmla="*/ 769134 h 943688"/>
                    <a:gd name="connsiteX2881" fmla="*/ 325030 w 1156578"/>
                    <a:gd name="connsiteY2881" fmla="*/ 768855 h 943688"/>
                    <a:gd name="connsiteX2882" fmla="*/ 326997 w 1156578"/>
                    <a:gd name="connsiteY2882" fmla="*/ 766074 h 943688"/>
                    <a:gd name="connsiteX2883" fmla="*/ 331235 w 1156578"/>
                    <a:gd name="connsiteY2883" fmla="*/ 758800 h 943688"/>
                    <a:gd name="connsiteX2884" fmla="*/ 332850 w 1156578"/>
                    <a:gd name="connsiteY2884" fmla="*/ 756687 h 943688"/>
                    <a:gd name="connsiteX2885" fmla="*/ 335267 w 1156578"/>
                    <a:gd name="connsiteY2885" fmla="*/ 754356 h 943688"/>
                    <a:gd name="connsiteX2886" fmla="*/ 335728 w 1156578"/>
                    <a:gd name="connsiteY2886" fmla="*/ 754101 h 943688"/>
                    <a:gd name="connsiteX2887" fmla="*/ 335825 w 1156578"/>
                    <a:gd name="connsiteY2887" fmla="*/ 754077 h 943688"/>
                    <a:gd name="connsiteX2888" fmla="*/ 336104 w 1156578"/>
                    <a:gd name="connsiteY2888" fmla="*/ 754150 h 943688"/>
                    <a:gd name="connsiteX2889" fmla="*/ 336517 w 1156578"/>
                    <a:gd name="connsiteY2889" fmla="*/ 754368 h 943688"/>
                    <a:gd name="connsiteX2890" fmla="*/ 337476 w 1156578"/>
                    <a:gd name="connsiteY2890" fmla="*/ 755412 h 943688"/>
                    <a:gd name="connsiteX2891" fmla="*/ 337926 w 1156578"/>
                    <a:gd name="connsiteY2891" fmla="*/ 755898 h 943688"/>
                    <a:gd name="connsiteX2892" fmla="*/ 338460 w 1156578"/>
                    <a:gd name="connsiteY2892" fmla="*/ 756274 h 943688"/>
                    <a:gd name="connsiteX2893" fmla="*/ 340124 w 1156578"/>
                    <a:gd name="connsiteY2893" fmla="*/ 757452 h 943688"/>
                    <a:gd name="connsiteX2894" fmla="*/ 341399 w 1156578"/>
                    <a:gd name="connsiteY2894" fmla="*/ 758351 h 943688"/>
                    <a:gd name="connsiteX2895" fmla="*/ 342953 w 1156578"/>
                    <a:gd name="connsiteY2895" fmla="*/ 758521 h 943688"/>
                    <a:gd name="connsiteX2896" fmla="*/ 345029 w 1156578"/>
                    <a:gd name="connsiteY2896" fmla="*/ 758752 h 943688"/>
                    <a:gd name="connsiteX2897" fmla="*/ 346656 w 1156578"/>
                    <a:gd name="connsiteY2897" fmla="*/ 758934 h 943688"/>
                    <a:gd name="connsiteX2898" fmla="*/ 348150 w 1156578"/>
                    <a:gd name="connsiteY2898" fmla="*/ 758266 h 943688"/>
                    <a:gd name="connsiteX2899" fmla="*/ 358484 w 1156578"/>
                    <a:gd name="connsiteY2899" fmla="*/ 753676 h 943688"/>
                    <a:gd name="connsiteX2900" fmla="*/ 359115 w 1156578"/>
                    <a:gd name="connsiteY2900" fmla="*/ 753397 h 943688"/>
                    <a:gd name="connsiteX2901" fmla="*/ 359674 w 1156578"/>
                    <a:gd name="connsiteY2901" fmla="*/ 752971 h 943688"/>
                    <a:gd name="connsiteX2902" fmla="*/ 362612 w 1156578"/>
                    <a:gd name="connsiteY2902" fmla="*/ 750761 h 943688"/>
                    <a:gd name="connsiteX2903" fmla="*/ 362867 w 1156578"/>
                    <a:gd name="connsiteY2903" fmla="*/ 750567 h 943688"/>
                    <a:gd name="connsiteX2904" fmla="*/ 363098 w 1156578"/>
                    <a:gd name="connsiteY2904" fmla="*/ 750349 h 943688"/>
                    <a:gd name="connsiteX2905" fmla="*/ 367579 w 1156578"/>
                    <a:gd name="connsiteY2905" fmla="*/ 746196 h 943688"/>
                    <a:gd name="connsiteX2906" fmla="*/ 372946 w 1156578"/>
                    <a:gd name="connsiteY2906" fmla="*/ 742128 h 943688"/>
                    <a:gd name="connsiteX2907" fmla="*/ 374840 w 1156578"/>
                    <a:gd name="connsiteY2907" fmla="*/ 741023 h 943688"/>
                    <a:gd name="connsiteX2908" fmla="*/ 378180 w 1156578"/>
                    <a:gd name="connsiteY2908" fmla="*/ 740088 h 943688"/>
                    <a:gd name="connsiteX2909" fmla="*/ 378653 w 1156578"/>
                    <a:gd name="connsiteY2909" fmla="*/ 739942 h 943688"/>
                    <a:gd name="connsiteX2910" fmla="*/ 379103 w 1156578"/>
                    <a:gd name="connsiteY2910" fmla="*/ 739736 h 943688"/>
                    <a:gd name="connsiteX2911" fmla="*/ 381750 w 1156578"/>
                    <a:gd name="connsiteY2911" fmla="*/ 738497 h 943688"/>
                    <a:gd name="connsiteX2912" fmla="*/ 382551 w 1156578"/>
                    <a:gd name="connsiteY2912" fmla="*/ 738133 h 943688"/>
                    <a:gd name="connsiteX2913" fmla="*/ 383207 w 1156578"/>
                    <a:gd name="connsiteY2913" fmla="*/ 737538 h 943688"/>
                    <a:gd name="connsiteX2914" fmla="*/ 385441 w 1156578"/>
                    <a:gd name="connsiteY2914" fmla="*/ 735559 h 943688"/>
                    <a:gd name="connsiteX2915" fmla="*/ 386716 w 1156578"/>
                    <a:gd name="connsiteY2915" fmla="*/ 734429 h 943688"/>
                    <a:gd name="connsiteX2916" fmla="*/ 387214 w 1156578"/>
                    <a:gd name="connsiteY2916" fmla="*/ 732790 h 943688"/>
                    <a:gd name="connsiteX2917" fmla="*/ 387785 w 1156578"/>
                    <a:gd name="connsiteY2917" fmla="*/ 730932 h 943688"/>
                    <a:gd name="connsiteX2918" fmla="*/ 388173 w 1156578"/>
                    <a:gd name="connsiteY2918" fmla="*/ 729657 h 943688"/>
                    <a:gd name="connsiteX2919" fmla="*/ 387991 w 1156578"/>
                    <a:gd name="connsiteY2919" fmla="*/ 728346 h 943688"/>
                    <a:gd name="connsiteX2920" fmla="*/ 387821 w 1156578"/>
                    <a:gd name="connsiteY2920" fmla="*/ 727083 h 943688"/>
                    <a:gd name="connsiteX2921" fmla="*/ 387505 w 1156578"/>
                    <a:gd name="connsiteY2921" fmla="*/ 724800 h 943688"/>
                    <a:gd name="connsiteX2922" fmla="*/ 385745 w 1156578"/>
                    <a:gd name="connsiteY2922" fmla="*/ 723294 h 943688"/>
                    <a:gd name="connsiteX2923" fmla="*/ 385004 w 1156578"/>
                    <a:gd name="connsiteY2923" fmla="*/ 722663 h 943688"/>
                    <a:gd name="connsiteX2924" fmla="*/ 384300 w 1156578"/>
                    <a:gd name="connsiteY2924" fmla="*/ 722056 h 943688"/>
                    <a:gd name="connsiteX2925" fmla="*/ 384190 w 1156578"/>
                    <a:gd name="connsiteY2925" fmla="*/ 722007 h 943688"/>
                    <a:gd name="connsiteX2926" fmla="*/ 383972 w 1156578"/>
                    <a:gd name="connsiteY2926" fmla="*/ 721254 h 943688"/>
                    <a:gd name="connsiteX2927" fmla="*/ 383607 w 1156578"/>
                    <a:gd name="connsiteY2927" fmla="*/ 719967 h 943688"/>
                    <a:gd name="connsiteX2928" fmla="*/ 382733 w 1156578"/>
                    <a:gd name="connsiteY2928" fmla="*/ 718959 h 943688"/>
                    <a:gd name="connsiteX2929" fmla="*/ 382211 w 1156578"/>
                    <a:gd name="connsiteY2929" fmla="*/ 718340 h 943688"/>
                    <a:gd name="connsiteX2930" fmla="*/ 381021 w 1156578"/>
                    <a:gd name="connsiteY2930" fmla="*/ 716980 h 943688"/>
                    <a:gd name="connsiteX2931" fmla="*/ 379272 w 1156578"/>
                    <a:gd name="connsiteY2931" fmla="*/ 716482 h 943688"/>
                    <a:gd name="connsiteX2932" fmla="*/ 378362 w 1156578"/>
                    <a:gd name="connsiteY2932" fmla="*/ 716227 h 943688"/>
                    <a:gd name="connsiteX2933" fmla="*/ 377925 w 1156578"/>
                    <a:gd name="connsiteY2933" fmla="*/ 716094 h 943688"/>
                    <a:gd name="connsiteX2934" fmla="*/ 377475 w 1156578"/>
                    <a:gd name="connsiteY2934" fmla="*/ 716033 h 943688"/>
                    <a:gd name="connsiteX2935" fmla="*/ 376710 w 1156578"/>
                    <a:gd name="connsiteY2935" fmla="*/ 715936 h 943688"/>
                    <a:gd name="connsiteX2936" fmla="*/ 374282 w 1156578"/>
                    <a:gd name="connsiteY2936" fmla="*/ 712888 h 943688"/>
                    <a:gd name="connsiteX2937" fmla="*/ 374221 w 1156578"/>
                    <a:gd name="connsiteY2937" fmla="*/ 712766 h 943688"/>
                    <a:gd name="connsiteX2938" fmla="*/ 373274 w 1156578"/>
                    <a:gd name="connsiteY2938" fmla="*/ 709876 h 943688"/>
                    <a:gd name="connsiteX2939" fmla="*/ 373152 w 1156578"/>
                    <a:gd name="connsiteY2939" fmla="*/ 709500 h 943688"/>
                    <a:gd name="connsiteX2940" fmla="*/ 372982 w 1156578"/>
                    <a:gd name="connsiteY2940" fmla="*/ 709136 h 943688"/>
                    <a:gd name="connsiteX2941" fmla="*/ 372740 w 1156578"/>
                    <a:gd name="connsiteY2941" fmla="*/ 708638 h 943688"/>
                    <a:gd name="connsiteX2942" fmla="*/ 373832 w 1156578"/>
                    <a:gd name="connsiteY2942" fmla="*/ 709245 h 943688"/>
                    <a:gd name="connsiteX2943" fmla="*/ 374415 w 1156578"/>
                    <a:gd name="connsiteY2943" fmla="*/ 709573 h 943688"/>
                    <a:gd name="connsiteX2944" fmla="*/ 375059 w 1156578"/>
                    <a:gd name="connsiteY2944" fmla="*/ 709767 h 943688"/>
                    <a:gd name="connsiteX2945" fmla="*/ 378799 w 1156578"/>
                    <a:gd name="connsiteY2945" fmla="*/ 710896 h 943688"/>
                    <a:gd name="connsiteX2946" fmla="*/ 380147 w 1156578"/>
                    <a:gd name="connsiteY2946" fmla="*/ 711698 h 943688"/>
                    <a:gd name="connsiteX2947" fmla="*/ 383729 w 1156578"/>
                    <a:gd name="connsiteY2947" fmla="*/ 714357 h 943688"/>
                    <a:gd name="connsiteX2948" fmla="*/ 384761 w 1156578"/>
                    <a:gd name="connsiteY2948" fmla="*/ 715110 h 943688"/>
                    <a:gd name="connsiteX2949" fmla="*/ 386024 w 1156578"/>
                    <a:gd name="connsiteY2949" fmla="*/ 715377 h 943688"/>
                    <a:gd name="connsiteX2950" fmla="*/ 388258 w 1156578"/>
                    <a:gd name="connsiteY2950" fmla="*/ 715863 h 943688"/>
                    <a:gd name="connsiteX2951" fmla="*/ 390310 w 1156578"/>
                    <a:gd name="connsiteY2951" fmla="*/ 716312 h 943688"/>
                    <a:gd name="connsiteX2952" fmla="*/ 392192 w 1156578"/>
                    <a:gd name="connsiteY2952" fmla="*/ 715401 h 943688"/>
                    <a:gd name="connsiteX2953" fmla="*/ 394828 w 1156578"/>
                    <a:gd name="connsiteY2953" fmla="*/ 714126 h 943688"/>
                    <a:gd name="connsiteX2954" fmla="*/ 396552 w 1156578"/>
                    <a:gd name="connsiteY2954" fmla="*/ 713288 h 943688"/>
                    <a:gd name="connsiteX2955" fmla="*/ 397487 w 1156578"/>
                    <a:gd name="connsiteY2955" fmla="*/ 711613 h 943688"/>
                    <a:gd name="connsiteX2956" fmla="*/ 398410 w 1156578"/>
                    <a:gd name="connsiteY2956" fmla="*/ 709961 h 943688"/>
                    <a:gd name="connsiteX2957" fmla="*/ 399041 w 1156578"/>
                    <a:gd name="connsiteY2957" fmla="*/ 708832 h 943688"/>
                    <a:gd name="connsiteX2958" fmla="*/ 399150 w 1156578"/>
                    <a:gd name="connsiteY2958" fmla="*/ 707557 h 943688"/>
                    <a:gd name="connsiteX2959" fmla="*/ 399272 w 1156578"/>
                    <a:gd name="connsiteY2959" fmla="*/ 706197 h 943688"/>
                    <a:gd name="connsiteX2960" fmla="*/ 400086 w 1156578"/>
                    <a:gd name="connsiteY2960" fmla="*/ 706501 h 943688"/>
                    <a:gd name="connsiteX2961" fmla="*/ 401118 w 1156578"/>
                    <a:gd name="connsiteY2961" fmla="*/ 706889 h 943688"/>
                    <a:gd name="connsiteX2962" fmla="*/ 403194 w 1156578"/>
                    <a:gd name="connsiteY2962" fmla="*/ 707666 h 943688"/>
                    <a:gd name="connsiteX2963" fmla="*/ 405283 w 1156578"/>
                    <a:gd name="connsiteY2963" fmla="*/ 706926 h 943688"/>
                    <a:gd name="connsiteX2964" fmla="*/ 407068 w 1156578"/>
                    <a:gd name="connsiteY2964" fmla="*/ 706294 h 943688"/>
                    <a:gd name="connsiteX2965" fmla="*/ 408282 w 1156578"/>
                    <a:gd name="connsiteY2965" fmla="*/ 705869 h 943688"/>
                    <a:gd name="connsiteX2966" fmla="*/ 409217 w 1156578"/>
                    <a:gd name="connsiteY2966" fmla="*/ 704995 h 943688"/>
                    <a:gd name="connsiteX2967" fmla="*/ 410468 w 1156578"/>
                    <a:gd name="connsiteY2967" fmla="*/ 703817 h 943688"/>
                    <a:gd name="connsiteX2968" fmla="*/ 411184 w 1156578"/>
                    <a:gd name="connsiteY2968" fmla="*/ 703149 h 943688"/>
                    <a:gd name="connsiteX2969" fmla="*/ 411658 w 1156578"/>
                    <a:gd name="connsiteY2969" fmla="*/ 702287 h 943688"/>
                    <a:gd name="connsiteX2970" fmla="*/ 412872 w 1156578"/>
                    <a:gd name="connsiteY2970" fmla="*/ 700040 h 943688"/>
                    <a:gd name="connsiteX2971" fmla="*/ 413127 w 1156578"/>
                    <a:gd name="connsiteY2971" fmla="*/ 699567 h 943688"/>
                    <a:gd name="connsiteX2972" fmla="*/ 413297 w 1156578"/>
                    <a:gd name="connsiteY2972" fmla="*/ 699069 h 943688"/>
                    <a:gd name="connsiteX2973" fmla="*/ 414475 w 1156578"/>
                    <a:gd name="connsiteY2973" fmla="*/ 695535 h 943688"/>
                    <a:gd name="connsiteX2974" fmla="*/ 414511 w 1156578"/>
                    <a:gd name="connsiteY2974" fmla="*/ 695499 h 943688"/>
                    <a:gd name="connsiteX2975" fmla="*/ 417061 w 1156578"/>
                    <a:gd name="connsiteY2975" fmla="*/ 694697 h 943688"/>
                    <a:gd name="connsiteX2976" fmla="*/ 418786 w 1156578"/>
                    <a:gd name="connsiteY2976" fmla="*/ 694151 h 943688"/>
                    <a:gd name="connsiteX2977" fmla="*/ 419927 w 1156578"/>
                    <a:gd name="connsiteY2977" fmla="*/ 692755 h 943688"/>
                    <a:gd name="connsiteX2978" fmla="*/ 421591 w 1156578"/>
                    <a:gd name="connsiteY2978" fmla="*/ 690727 h 943688"/>
                    <a:gd name="connsiteX2979" fmla="*/ 422040 w 1156578"/>
                    <a:gd name="connsiteY2979" fmla="*/ 690180 h 943688"/>
                    <a:gd name="connsiteX2980" fmla="*/ 422343 w 1156578"/>
                    <a:gd name="connsiteY2980" fmla="*/ 689549 h 943688"/>
                    <a:gd name="connsiteX2981" fmla="*/ 422611 w 1156578"/>
                    <a:gd name="connsiteY2981" fmla="*/ 689002 h 943688"/>
                    <a:gd name="connsiteX2982" fmla="*/ 424019 w 1156578"/>
                    <a:gd name="connsiteY2982" fmla="*/ 691103 h 943688"/>
                    <a:gd name="connsiteX2983" fmla="*/ 424286 w 1156578"/>
                    <a:gd name="connsiteY2983" fmla="*/ 691492 h 943688"/>
                    <a:gd name="connsiteX2984" fmla="*/ 424602 w 1156578"/>
                    <a:gd name="connsiteY2984" fmla="*/ 691844 h 943688"/>
                    <a:gd name="connsiteX2985" fmla="*/ 431936 w 1156578"/>
                    <a:gd name="connsiteY2985" fmla="*/ 699810 h 943688"/>
                    <a:gd name="connsiteX2986" fmla="*/ 434086 w 1156578"/>
                    <a:gd name="connsiteY2986" fmla="*/ 703149 h 943688"/>
                    <a:gd name="connsiteX2987" fmla="*/ 434729 w 1156578"/>
                    <a:gd name="connsiteY2987" fmla="*/ 704485 h 943688"/>
                    <a:gd name="connsiteX2988" fmla="*/ 438226 w 1156578"/>
                    <a:gd name="connsiteY2988" fmla="*/ 715256 h 943688"/>
                    <a:gd name="connsiteX2989" fmla="*/ 438421 w 1156578"/>
                    <a:gd name="connsiteY2989" fmla="*/ 715863 h 943688"/>
                    <a:gd name="connsiteX2990" fmla="*/ 438736 w 1156578"/>
                    <a:gd name="connsiteY2990" fmla="*/ 716421 h 943688"/>
                    <a:gd name="connsiteX2991" fmla="*/ 439878 w 1156578"/>
                    <a:gd name="connsiteY2991" fmla="*/ 718401 h 943688"/>
                    <a:gd name="connsiteX2992" fmla="*/ 440461 w 1156578"/>
                    <a:gd name="connsiteY2992" fmla="*/ 719408 h 943688"/>
                    <a:gd name="connsiteX2993" fmla="*/ 441371 w 1156578"/>
                    <a:gd name="connsiteY2993" fmla="*/ 720125 h 943688"/>
                    <a:gd name="connsiteX2994" fmla="*/ 442513 w 1156578"/>
                    <a:gd name="connsiteY2994" fmla="*/ 721023 h 943688"/>
                    <a:gd name="connsiteX2995" fmla="*/ 444589 w 1156578"/>
                    <a:gd name="connsiteY2995" fmla="*/ 722675 h 943688"/>
                    <a:gd name="connsiteX2996" fmla="*/ 447200 w 1156578"/>
                    <a:gd name="connsiteY2996" fmla="*/ 722274 h 943688"/>
                    <a:gd name="connsiteX2997" fmla="*/ 448366 w 1156578"/>
                    <a:gd name="connsiteY2997" fmla="*/ 722092 h 943688"/>
                    <a:gd name="connsiteX2998" fmla="*/ 450794 w 1156578"/>
                    <a:gd name="connsiteY2998" fmla="*/ 721728 h 943688"/>
                    <a:gd name="connsiteX2999" fmla="*/ 452288 w 1156578"/>
                    <a:gd name="connsiteY2999" fmla="*/ 719785 h 943688"/>
                    <a:gd name="connsiteX3000" fmla="*/ 453077 w 1156578"/>
                    <a:gd name="connsiteY3000" fmla="*/ 718753 h 943688"/>
                    <a:gd name="connsiteX3001" fmla="*/ 453818 w 1156578"/>
                    <a:gd name="connsiteY3001" fmla="*/ 717781 h 943688"/>
                    <a:gd name="connsiteX3002" fmla="*/ 454134 w 1156578"/>
                    <a:gd name="connsiteY3002" fmla="*/ 716603 h 943688"/>
                    <a:gd name="connsiteX3003" fmla="*/ 454777 w 1156578"/>
                    <a:gd name="connsiteY3003" fmla="*/ 714138 h 943688"/>
                    <a:gd name="connsiteX3004" fmla="*/ 455044 w 1156578"/>
                    <a:gd name="connsiteY3004" fmla="*/ 713070 h 943688"/>
                    <a:gd name="connsiteX3005" fmla="*/ 454935 w 1156578"/>
                    <a:gd name="connsiteY3005" fmla="*/ 711977 h 943688"/>
                    <a:gd name="connsiteX3006" fmla="*/ 454753 w 1156578"/>
                    <a:gd name="connsiteY3006" fmla="*/ 710168 h 943688"/>
                    <a:gd name="connsiteX3007" fmla="*/ 454729 w 1156578"/>
                    <a:gd name="connsiteY3007" fmla="*/ 709913 h 943688"/>
                    <a:gd name="connsiteX3008" fmla="*/ 455421 w 1156578"/>
                    <a:gd name="connsiteY3008" fmla="*/ 711613 h 943688"/>
                    <a:gd name="connsiteX3009" fmla="*/ 456793 w 1156578"/>
                    <a:gd name="connsiteY3009" fmla="*/ 719068 h 943688"/>
                    <a:gd name="connsiteX3010" fmla="*/ 456975 w 1156578"/>
                    <a:gd name="connsiteY3010" fmla="*/ 720040 h 943688"/>
                    <a:gd name="connsiteX3011" fmla="*/ 457461 w 1156578"/>
                    <a:gd name="connsiteY3011" fmla="*/ 720914 h 943688"/>
                    <a:gd name="connsiteX3012" fmla="*/ 458044 w 1156578"/>
                    <a:gd name="connsiteY3012" fmla="*/ 721970 h 943688"/>
                    <a:gd name="connsiteX3013" fmla="*/ 458262 w 1156578"/>
                    <a:gd name="connsiteY3013" fmla="*/ 722347 h 943688"/>
                    <a:gd name="connsiteX3014" fmla="*/ 458517 w 1156578"/>
                    <a:gd name="connsiteY3014" fmla="*/ 722687 h 943688"/>
                    <a:gd name="connsiteX3015" fmla="*/ 459865 w 1156578"/>
                    <a:gd name="connsiteY3015" fmla="*/ 724460 h 943688"/>
                    <a:gd name="connsiteX3016" fmla="*/ 461553 w 1156578"/>
                    <a:gd name="connsiteY3016" fmla="*/ 729463 h 943688"/>
                    <a:gd name="connsiteX3017" fmla="*/ 462318 w 1156578"/>
                    <a:gd name="connsiteY3017" fmla="*/ 731685 h 943688"/>
                    <a:gd name="connsiteX3018" fmla="*/ 462476 w 1156578"/>
                    <a:gd name="connsiteY3018" fmla="*/ 732146 h 943688"/>
                    <a:gd name="connsiteX3019" fmla="*/ 462707 w 1156578"/>
                    <a:gd name="connsiteY3019" fmla="*/ 732571 h 943688"/>
                    <a:gd name="connsiteX3020" fmla="*/ 463217 w 1156578"/>
                    <a:gd name="connsiteY3020" fmla="*/ 733519 h 943688"/>
                    <a:gd name="connsiteX3021" fmla="*/ 463399 w 1156578"/>
                    <a:gd name="connsiteY3021" fmla="*/ 733846 h 943688"/>
                    <a:gd name="connsiteX3022" fmla="*/ 463617 w 1156578"/>
                    <a:gd name="connsiteY3022" fmla="*/ 734150 h 943688"/>
                    <a:gd name="connsiteX3023" fmla="*/ 464200 w 1156578"/>
                    <a:gd name="connsiteY3023" fmla="*/ 734976 h 943688"/>
                    <a:gd name="connsiteX3024" fmla="*/ 464407 w 1156578"/>
                    <a:gd name="connsiteY3024" fmla="*/ 735255 h 943688"/>
                    <a:gd name="connsiteX3025" fmla="*/ 464650 w 1156578"/>
                    <a:gd name="connsiteY3025" fmla="*/ 735510 h 943688"/>
                    <a:gd name="connsiteX3026" fmla="*/ 465645 w 1156578"/>
                    <a:gd name="connsiteY3026" fmla="*/ 736627 h 943688"/>
                    <a:gd name="connsiteX3027" fmla="*/ 466483 w 1156578"/>
                    <a:gd name="connsiteY3027" fmla="*/ 737902 h 943688"/>
                    <a:gd name="connsiteX3028" fmla="*/ 467236 w 1156578"/>
                    <a:gd name="connsiteY3028" fmla="*/ 739371 h 943688"/>
                    <a:gd name="connsiteX3029" fmla="*/ 467989 w 1156578"/>
                    <a:gd name="connsiteY3029" fmla="*/ 740586 h 943688"/>
                    <a:gd name="connsiteX3030" fmla="*/ 468487 w 1156578"/>
                    <a:gd name="connsiteY3030" fmla="*/ 741375 h 943688"/>
                    <a:gd name="connsiteX3031" fmla="*/ 469203 w 1156578"/>
                    <a:gd name="connsiteY3031" fmla="*/ 741982 h 943688"/>
                    <a:gd name="connsiteX3032" fmla="*/ 469956 w 1156578"/>
                    <a:gd name="connsiteY3032" fmla="*/ 742626 h 943688"/>
                    <a:gd name="connsiteX3033" fmla="*/ 470381 w 1156578"/>
                    <a:gd name="connsiteY3033" fmla="*/ 742990 h 943688"/>
                    <a:gd name="connsiteX3034" fmla="*/ 470867 w 1156578"/>
                    <a:gd name="connsiteY3034" fmla="*/ 743257 h 943688"/>
                    <a:gd name="connsiteX3035" fmla="*/ 471182 w 1156578"/>
                    <a:gd name="connsiteY3035" fmla="*/ 743451 h 943688"/>
                    <a:gd name="connsiteX3036" fmla="*/ 472227 w 1156578"/>
                    <a:gd name="connsiteY3036" fmla="*/ 744338 h 943688"/>
                    <a:gd name="connsiteX3037" fmla="*/ 472737 w 1156578"/>
                    <a:gd name="connsiteY3037" fmla="*/ 744763 h 943688"/>
                    <a:gd name="connsiteX3038" fmla="*/ 473319 w 1156578"/>
                    <a:gd name="connsiteY3038" fmla="*/ 745066 h 943688"/>
                    <a:gd name="connsiteX3039" fmla="*/ 474303 w 1156578"/>
                    <a:gd name="connsiteY3039" fmla="*/ 745589 h 943688"/>
                    <a:gd name="connsiteX3040" fmla="*/ 475821 w 1156578"/>
                    <a:gd name="connsiteY3040" fmla="*/ 746390 h 943688"/>
                    <a:gd name="connsiteX3041" fmla="*/ 477533 w 1156578"/>
                    <a:gd name="connsiteY3041" fmla="*/ 746281 h 943688"/>
                    <a:gd name="connsiteX3042" fmla="*/ 486373 w 1156578"/>
                    <a:gd name="connsiteY3042" fmla="*/ 745734 h 943688"/>
                    <a:gd name="connsiteX3043" fmla="*/ 494837 w 1156578"/>
                    <a:gd name="connsiteY3043" fmla="*/ 746026 h 943688"/>
                    <a:gd name="connsiteX3044" fmla="*/ 495553 w 1156578"/>
                    <a:gd name="connsiteY3044" fmla="*/ 746050 h 943688"/>
                    <a:gd name="connsiteX3045" fmla="*/ 496258 w 1156578"/>
                    <a:gd name="connsiteY3045" fmla="*/ 745892 h 943688"/>
                    <a:gd name="connsiteX3046" fmla="*/ 506251 w 1156578"/>
                    <a:gd name="connsiteY3046" fmla="*/ 743828 h 943688"/>
                    <a:gd name="connsiteX3047" fmla="*/ 507696 w 1156578"/>
                    <a:gd name="connsiteY3047" fmla="*/ 743877 h 943688"/>
                    <a:gd name="connsiteX3048" fmla="*/ 508109 w 1156578"/>
                    <a:gd name="connsiteY3048" fmla="*/ 744034 h 943688"/>
                    <a:gd name="connsiteX3049" fmla="*/ 509093 w 1156578"/>
                    <a:gd name="connsiteY3049" fmla="*/ 744824 h 943688"/>
                    <a:gd name="connsiteX3050" fmla="*/ 509943 w 1156578"/>
                    <a:gd name="connsiteY3050" fmla="*/ 745516 h 943688"/>
                    <a:gd name="connsiteX3051" fmla="*/ 510975 w 1156578"/>
                    <a:gd name="connsiteY3051" fmla="*/ 745868 h 943688"/>
                    <a:gd name="connsiteX3052" fmla="*/ 512942 w 1156578"/>
                    <a:gd name="connsiteY3052" fmla="*/ 746536 h 943688"/>
                    <a:gd name="connsiteX3053" fmla="*/ 513780 w 1156578"/>
                    <a:gd name="connsiteY3053" fmla="*/ 746815 h 943688"/>
                    <a:gd name="connsiteX3054" fmla="*/ 514666 w 1156578"/>
                    <a:gd name="connsiteY3054" fmla="*/ 746851 h 943688"/>
                    <a:gd name="connsiteX3055" fmla="*/ 518467 w 1156578"/>
                    <a:gd name="connsiteY3055" fmla="*/ 746985 h 943688"/>
                    <a:gd name="connsiteX3056" fmla="*/ 520531 w 1156578"/>
                    <a:gd name="connsiteY3056" fmla="*/ 748539 h 943688"/>
                    <a:gd name="connsiteX3057" fmla="*/ 521393 w 1156578"/>
                    <a:gd name="connsiteY3057" fmla="*/ 749183 h 943688"/>
                    <a:gd name="connsiteX3058" fmla="*/ 522426 w 1156578"/>
                    <a:gd name="connsiteY3058" fmla="*/ 749498 h 943688"/>
                    <a:gd name="connsiteX3059" fmla="*/ 524089 w 1156578"/>
                    <a:gd name="connsiteY3059" fmla="*/ 749997 h 943688"/>
                    <a:gd name="connsiteX3060" fmla="*/ 525364 w 1156578"/>
                    <a:gd name="connsiteY3060" fmla="*/ 750373 h 943688"/>
                    <a:gd name="connsiteX3061" fmla="*/ 526688 w 1156578"/>
                    <a:gd name="connsiteY3061" fmla="*/ 750178 h 943688"/>
                    <a:gd name="connsiteX3062" fmla="*/ 530476 w 1156578"/>
                    <a:gd name="connsiteY3062" fmla="*/ 749632 h 943688"/>
                    <a:gd name="connsiteX3063" fmla="*/ 530780 w 1156578"/>
                    <a:gd name="connsiteY3063" fmla="*/ 749584 h 943688"/>
                    <a:gd name="connsiteX3064" fmla="*/ 531083 w 1156578"/>
                    <a:gd name="connsiteY3064" fmla="*/ 749511 h 943688"/>
                    <a:gd name="connsiteX3065" fmla="*/ 543919 w 1156578"/>
                    <a:gd name="connsiteY3065" fmla="*/ 746269 h 943688"/>
                    <a:gd name="connsiteX3066" fmla="*/ 555357 w 1156578"/>
                    <a:gd name="connsiteY3066" fmla="*/ 745552 h 943688"/>
                    <a:gd name="connsiteX3067" fmla="*/ 556341 w 1156578"/>
                    <a:gd name="connsiteY3067" fmla="*/ 745491 h 943688"/>
                    <a:gd name="connsiteX3068" fmla="*/ 557264 w 1156578"/>
                    <a:gd name="connsiteY3068" fmla="*/ 745115 h 943688"/>
                    <a:gd name="connsiteX3069" fmla="*/ 560712 w 1156578"/>
                    <a:gd name="connsiteY3069" fmla="*/ 743719 h 943688"/>
                    <a:gd name="connsiteX3070" fmla="*/ 561453 w 1156578"/>
                    <a:gd name="connsiteY3070" fmla="*/ 743427 h 943688"/>
                    <a:gd name="connsiteX3071" fmla="*/ 562084 w 1156578"/>
                    <a:gd name="connsiteY3071" fmla="*/ 742942 h 943688"/>
                    <a:gd name="connsiteX3072" fmla="*/ 565023 w 1156578"/>
                    <a:gd name="connsiteY3072" fmla="*/ 740731 h 943688"/>
                    <a:gd name="connsiteX3073" fmla="*/ 565679 w 1156578"/>
                    <a:gd name="connsiteY3073" fmla="*/ 740233 h 943688"/>
                    <a:gd name="connsiteX3074" fmla="*/ 566189 w 1156578"/>
                    <a:gd name="connsiteY3074" fmla="*/ 739566 h 943688"/>
                    <a:gd name="connsiteX3075" fmla="*/ 569394 w 1156578"/>
                    <a:gd name="connsiteY3075" fmla="*/ 735376 h 943688"/>
                    <a:gd name="connsiteX3076" fmla="*/ 569844 w 1156578"/>
                    <a:gd name="connsiteY3076" fmla="*/ 734793 h 943688"/>
                    <a:gd name="connsiteX3077" fmla="*/ 570135 w 1156578"/>
                    <a:gd name="connsiteY3077" fmla="*/ 734102 h 943688"/>
                    <a:gd name="connsiteX3078" fmla="*/ 571617 w 1156578"/>
                    <a:gd name="connsiteY3078" fmla="*/ 730689 h 943688"/>
                    <a:gd name="connsiteX3079" fmla="*/ 572637 w 1156578"/>
                    <a:gd name="connsiteY3079" fmla="*/ 727593 h 943688"/>
                    <a:gd name="connsiteX3080" fmla="*/ 573608 w 1156578"/>
                    <a:gd name="connsiteY3080" fmla="*/ 727629 h 943688"/>
                    <a:gd name="connsiteX3081" fmla="*/ 574677 w 1156578"/>
                    <a:gd name="connsiteY3081" fmla="*/ 727666 h 943688"/>
                    <a:gd name="connsiteX3082" fmla="*/ 575697 w 1156578"/>
                    <a:gd name="connsiteY3082" fmla="*/ 727338 h 943688"/>
                    <a:gd name="connsiteX3083" fmla="*/ 577421 w 1156578"/>
                    <a:gd name="connsiteY3083" fmla="*/ 726779 h 943688"/>
                    <a:gd name="connsiteX3084" fmla="*/ 579133 w 1156578"/>
                    <a:gd name="connsiteY3084" fmla="*/ 726221 h 943688"/>
                    <a:gd name="connsiteX3085" fmla="*/ 580262 w 1156578"/>
                    <a:gd name="connsiteY3085" fmla="*/ 724824 h 943688"/>
                    <a:gd name="connsiteX3086" fmla="*/ 586868 w 1156578"/>
                    <a:gd name="connsiteY3086" fmla="*/ 716676 h 943688"/>
                    <a:gd name="connsiteX3087" fmla="*/ 587075 w 1156578"/>
                    <a:gd name="connsiteY3087" fmla="*/ 716421 h 943688"/>
                    <a:gd name="connsiteX3088" fmla="*/ 587257 w 1156578"/>
                    <a:gd name="connsiteY3088" fmla="*/ 716154 h 943688"/>
                    <a:gd name="connsiteX3089" fmla="*/ 588167 w 1156578"/>
                    <a:gd name="connsiteY3089" fmla="*/ 714745 h 943688"/>
                    <a:gd name="connsiteX3090" fmla="*/ 588738 w 1156578"/>
                    <a:gd name="connsiteY3090" fmla="*/ 713871 h 943688"/>
                    <a:gd name="connsiteX3091" fmla="*/ 588981 w 1156578"/>
                    <a:gd name="connsiteY3091" fmla="*/ 712851 h 943688"/>
                    <a:gd name="connsiteX3092" fmla="*/ 589260 w 1156578"/>
                    <a:gd name="connsiteY3092" fmla="*/ 711673 h 943688"/>
                    <a:gd name="connsiteX3093" fmla="*/ 589697 w 1156578"/>
                    <a:gd name="connsiteY3093" fmla="*/ 709864 h 943688"/>
                    <a:gd name="connsiteX3094" fmla="*/ 589030 w 1156578"/>
                    <a:gd name="connsiteY3094" fmla="*/ 708115 h 943688"/>
                    <a:gd name="connsiteX3095" fmla="*/ 588690 w 1156578"/>
                    <a:gd name="connsiteY3095" fmla="*/ 707229 h 943688"/>
                    <a:gd name="connsiteX3096" fmla="*/ 588641 w 1156578"/>
                    <a:gd name="connsiteY3096" fmla="*/ 707096 h 943688"/>
                    <a:gd name="connsiteX3097" fmla="*/ 589625 w 1156578"/>
                    <a:gd name="connsiteY3097" fmla="*/ 705420 h 943688"/>
                    <a:gd name="connsiteX3098" fmla="*/ 590450 w 1156578"/>
                    <a:gd name="connsiteY3098" fmla="*/ 703999 h 943688"/>
                    <a:gd name="connsiteX3099" fmla="*/ 590450 w 1156578"/>
                    <a:gd name="connsiteY3099" fmla="*/ 702675 h 943688"/>
                    <a:gd name="connsiteX3100" fmla="*/ 591519 w 1156578"/>
                    <a:gd name="connsiteY3100" fmla="*/ 702712 h 943688"/>
                    <a:gd name="connsiteX3101" fmla="*/ 592454 w 1156578"/>
                    <a:gd name="connsiteY3101" fmla="*/ 702736 h 943688"/>
                    <a:gd name="connsiteX3102" fmla="*/ 593353 w 1156578"/>
                    <a:gd name="connsiteY3102" fmla="*/ 702481 h 943688"/>
                    <a:gd name="connsiteX3103" fmla="*/ 595526 w 1156578"/>
                    <a:gd name="connsiteY3103" fmla="*/ 701874 h 943688"/>
                    <a:gd name="connsiteX3104" fmla="*/ 596862 w 1156578"/>
                    <a:gd name="connsiteY3104" fmla="*/ 701510 h 943688"/>
                    <a:gd name="connsiteX3105" fmla="*/ 597906 w 1156578"/>
                    <a:gd name="connsiteY3105" fmla="*/ 700587 h 943688"/>
                    <a:gd name="connsiteX3106" fmla="*/ 603431 w 1156578"/>
                    <a:gd name="connsiteY3106" fmla="*/ 695730 h 943688"/>
                    <a:gd name="connsiteX3107" fmla="*/ 604755 w 1156578"/>
                    <a:gd name="connsiteY3107" fmla="*/ 694831 h 943688"/>
                    <a:gd name="connsiteX3108" fmla="*/ 615671 w 1156578"/>
                    <a:gd name="connsiteY3108" fmla="*/ 689634 h 943688"/>
                    <a:gd name="connsiteX3109" fmla="*/ 615878 w 1156578"/>
                    <a:gd name="connsiteY3109" fmla="*/ 689792 h 943688"/>
                    <a:gd name="connsiteX3110" fmla="*/ 617396 w 1156578"/>
                    <a:gd name="connsiteY3110" fmla="*/ 690897 h 943688"/>
                    <a:gd name="connsiteX3111" fmla="*/ 619278 w 1156578"/>
                    <a:gd name="connsiteY3111" fmla="*/ 690958 h 943688"/>
                    <a:gd name="connsiteX3112" fmla="*/ 620832 w 1156578"/>
                    <a:gd name="connsiteY3112" fmla="*/ 691006 h 943688"/>
                    <a:gd name="connsiteX3113" fmla="*/ 623394 w 1156578"/>
                    <a:gd name="connsiteY3113" fmla="*/ 691079 h 943688"/>
                    <a:gd name="connsiteX3114" fmla="*/ 625240 w 1156578"/>
                    <a:gd name="connsiteY3114" fmla="*/ 689306 h 943688"/>
                    <a:gd name="connsiteX3115" fmla="*/ 627353 w 1156578"/>
                    <a:gd name="connsiteY3115" fmla="*/ 687266 h 943688"/>
                    <a:gd name="connsiteX3116" fmla="*/ 628057 w 1156578"/>
                    <a:gd name="connsiteY3116" fmla="*/ 686574 h 943688"/>
                    <a:gd name="connsiteX3117" fmla="*/ 628518 w 1156578"/>
                    <a:gd name="connsiteY3117" fmla="*/ 685712 h 943688"/>
                    <a:gd name="connsiteX3118" fmla="*/ 629672 w 1156578"/>
                    <a:gd name="connsiteY3118" fmla="*/ 683490 h 943688"/>
                    <a:gd name="connsiteX3119" fmla="*/ 630146 w 1156578"/>
                    <a:gd name="connsiteY3119" fmla="*/ 682591 h 943688"/>
                    <a:gd name="connsiteX3120" fmla="*/ 630291 w 1156578"/>
                    <a:gd name="connsiteY3120" fmla="*/ 681595 h 943688"/>
                    <a:gd name="connsiteX3121" fmla="*/ 630692 w 1156578"/>
                    <a:gd name="connsiteY3121" fmla="*/ 678972 h 943688"/>
                    <a:gd name="connsiteX3122" fmla="*/ 630826 w 1156578"/>
                    <a:gd name="connsiteY3122" fmla="*/ 678122 h 943688"/>
                    <a:gd name="connsiteX3123" fmla="*/ 630716 w 1156578"/>
                    <a:gd name="connsiteY3123" fmla="*/ 677272 h 943688"/>
                    <a:gd name="connsiteX3124" fmla="*/ 630704 w 1156578"/>
                    <a:gd name="connsiteY3124" fmla="*/ 677103 h 943688"/>
                    <a:gd name="connsiteX3125" fmla="*/ 634383 w 1156578"/>
                    <a:gd name="connsiteY3125" fmla="*/ 677139 h 943688"/>
                    <a:gd name="connsiteX3126" fmla="*/ 634772 w 1156578"/>
                    <a:gd name="connsiteY3126" fmla="*/ 677212 h 943688"/>
                    <a:gd name="connsiteX3127" fmla="*/ 635294 w 1156578"/>
                    <a:gd name="connsiteY3127" fmla="*/ 680745 h 943688"/>
                    <a:gd name="connsiteX3128" fmla="*/ 636375 w 1156578"/>
                    <a:gd name="connsiteY3128" fmla="*/ 687946 h 943688"/>
                    <a:gd name="connsiteX3129" fmla="*/ 643260 w 1156578"/>
                    <a:gd name="connsiteY3129" fmla="*/ 685602 h 943688"/>
                    <a:gd name="connsiteX3130" fmla="*/ 645725 w 1156578"/>
                    <a:gd name="connsiteY3130" fmla="*/ 684765 h 943688"/>
                    <a:gd name="connsiteX3131" fmla="*/ 647425 w 1156578"/>
                    <a:gd name="connsiteY3131" fmla="*/ 684182 h 943688"/>
                    <a:gd name="connsiteX3132" fmla="*/ 648542 w 1156578"/>
                    <a:gd name="connsiteY3132" fmla="*/ 682773 h 943688"/>
                    <a:gd name="connsiteX3133" fmla="*/ 663405 w 1156578"/>
                    <a:gd name="connsiteY3133" fmla="*/ 663927 h 943688"/>
                    <a:gd name="connsiteX3134" fmla="*/ 685918 w 1156578"/>
                    <a:gd name="connsiteY3134" fmla="*/ 644401 h 943688"/>
                    <a:gd name="connsiteX3135" fmla="*/ 699458 w 1156578"/>
                    <a:gd name="connsiteY3135" fmla="*/ 635088 h 943688"/>
                    <a:gd name="connsiteX3136" fmla="*/ 699870 w 1156578"/>
                    <a:gd name="connsiteY3136" fmla="*/ 634809 h 943688"/>
                    <a:gd name="connsiteX3137" fmla="*/ 700222 w 1156578"/>
                    <a:gd name="connsiteY3137" fmla="*/ 634469 h 943688"/>
                    <a:gd name="connsiteX3138" fmla="*/ 720720 w 1156578"/>
                    <a:gd name="connsiteY3138" fmla="*/ 614688 h 943688"/>
                    <a:gd name="connsiteX3139" fmla="*/ 731138 w 1156578"/>
                    <a:gd name="connsiteY3139" fmla="*/ 607014 h 943688"/>
                    <a:gd name="connsiteX3140" fmla="*/ 738861 w 1156578"/>
                    <a:gd name="connsiteY3140" fmla="*/ 603723 h 943688"/>
                    <a:gd name="connsiteX3141" fmla="*/ 739614 w 1156578"/>
                    <a:gd name="connsiteY3141" fmla="*/ 603419 h 943688"/>
                    <a:gd name="connsiteX3142" fmla="*/ 740258 w 1156578"/>
                    <a:gd name="connsiteY3142" fmla="*/ 602909 h 943688"/>
                    <a:gd name="connsiteX3143" fmla="*/ 749292 w 1156578"/>
                    <a:gd name="connsiteY3143" fmla="*/ 595793 h 943688"/>
                    <a:gd name="connsiteX3144" fmla="*/ 756760 w 1156578"/>
                    <a:gd name="connsiteY3144" fmla="*/ 592490 h 943688"/>
                    <a:gd name="connsiteX3145" fmla="*/ 772436 w 1156578"/>
                    <a:gd name="connsiteY3145" fmla="*/ 585168 h 943688"/>
                    <a:gd name="connsiteX3146" fmla="*/ 787130 w 1156578"/>
                    <a:gd name="connsiteY3146" fmla="*/ 577530 h 943688"/>
                    <a:gd name="connsiteX3147" fmla="*/ 794245 w 1156578"/>
                    <a:gd name="connsiteY3147" fmla="*/ 573268 h 943688"/>
                    <a:gd name="connsiteX3148" fmla="*/ 793844 w 1156578"/>
                    <a:gd name="connsiteY3148" fmla="*/ 572528 h 943688"/>
                    <a:gd name="connsiteX3149" fmla="*/ 802794 w 1156578"/>
                    <a:gd name="connsiteY3149" fmla="*/ 568023 h 943688"/>
                    <a:gd name="connsiteX3150" fmla="*/ 813419 w 1156578"/>
                    <a:gd name="connsiteY3150" fmla="*/ 562691 h 943688"/>
                    <a:gd name="connsiteX3151" fmla="*/ 818361 w 1156578"/>
                    <a:gd name="connsiteY3151" fmla="*/ 561599 h 943688"/>
                    <a:gd name="connsiteX3152" fmla="*/ 819102 w 1156578"/>
                    <a:gd name="connsiteY3152" fmla="*/ 561429 h 943688"/>
                    <a:gd name="connsiteX3153" fmla="*/ 819782 w 1156578"/>
                    <a:gd name="connsiteY3153" fmla="*/ 561101 h 943688"/>
                    <a:gd name="connsiteX3154" fmla="*/ 822769 w 1156578"/>
                    <a:gd name="connsiteY3154" fmla="*/ 559595 h 943688"/>
                    <a:gd name="connsiteX3155" fmla="*/ 823121 w 1156578"/>
                    <a:gd name="connsiteY3155" fmla="*/ 559522 h 943688"/>
                    <a:gd name="connsiteX3156" fmla="*/ 828719 w 1156578"/>
                    <a:gd name="connsiteY3156" fmla="*/ 559692 h 943688"/>
                    <a:gd name="connsiteX3157" fmla="*/ 829096 w 1156578"/>
                    <a:gd name="connsiteY3157" fmla="*/ 559705 h 943688"/>
                    <a:gd name="connsiteX3158" fmla="*/ 829460 w 1156578"/>
                    <a:gd name="connsiteY3158" fmla="*/ 559668 h 943688"/>
                    <a:gd name="connsiteX3159" fmla="*/ 831464 w 1156578"/>
                    <a:gd name="connsiteY3159" fmla="*/ 559474 h 943688"/>
                    <a:gd name="connsiteX3160" fmla="*/ 832338 w 1156578"/>
                    <a:gd name="connsiteY3160" fmla="*/ 559389 h 943688"/>
                    <a:gd name="connsiteX3161" fmla="*/ 833151 w 1156578"/>
                    <a:gd name="connsiteY3161" fmla="*/ 559061 h 943688"/>
                    <a:gd name="connsiteX3162" fmla="*/ 836879 w 1156578"/>
                    <a:gd name="connsiteY3162" fmla="*/ 557567 h 943688"/>
                    <a:gd name="connsiteX3163" fmla="*/ 837365 w 1156578"/>
                    <a:gd name="connsiteY3163" fmla="*/ 557361 h 943688"/>
                    <a:gd name="connsiteX3164" fmla="*/ 837826 w 1156578"/>
                    <a:gd name="connsiteY3164" fmla="*/ 557094 h 943688"/>
                    <a:gd name="connsiteX3165" fmla="*/ 843885 w 1156578"/>
                    <a:gd name="connsiteY3165" fmla="*/ 553317 h 943688"/>
                    <a:gd name="connsiteX3166" fmla="*/ 850710 w 1156578"/>
                    <a:gd name="connsiteY3166" fmla="*/ 552139 h 943688"/>
                    <a:gd name="connsiteX3167" fmla="*/ 851074 w 1156578"/>
                    <a:gd name="connsiteY3167" fmla="*/ 552066 h 943688"/>
                    <a:gd name="connsiteX3168" fmla="*/ 851426 w 1156578"/>
                    <a:gd name="connsiteY3168" fmla="*/ 551957 h 943688"/>
                    <a:gd name="connsiteX3169" fmla="*/ 874340 w 1156578"/>
                    <a:gd name="connsiteY3169" fmla="*/ 545072 h 943688"/>
                    <a:gd name="connsiteX3170" fmla="*/ 877376 w 1156578"/>
                    <a:gd name="connsiteY3170" fmla="*/ 544647 h 943688"/>
                    <a:gd name="connsiteX3171" fmla="*/ 878809 w 1156578"/>
                    <a:gd name="connsiteY3171" fmla="*/ 544441 h 943688"/>
                    <a:gd name="connsiteX3172" fmla="*/ 879999 w 1156578"/>
                    <a:gd name="connsiteY3172" fmla="*/ 543627 h 943688"/>
                    <a:gd name="connsiteX3173" fmla="*/ 881080 w 1156578"/>
                    <a:gd name="connsiteY3173" fmla="*/ 542874 h 943688"/>
                    <a:gd name="connsiteX3174" fmla="*/ 881201 w 1156578"/>
                    <a:gd name="connsiteY3174" fmla="*/ 542802 h 943688"/>
                    <a:gd name="connsiteX3175" fmla="*/ 881577 w 1156578"/>
                    <a:gd name="connsiteY3175" fmla="*/ 543081 h 943688"/>
                    <a:gd name="connsiteX3176" fmla="*/ 883350 w 1156578"/>
                    <a:gd name="connsiteY3176" fmla="*/ 544404 h 943688"/>
                    <a:gd name="connsiteX3177" fmla="*/ 885572 w 1156578"/>
                    <a:gd name="connsiteY3177" fmla="*/ 544271 h 943688"/>
                    <a:gd name="connsiteX3178" fmla="*/ 887576 w 1156578"/>
                    <a:gd name="connsiteY3178" fmla="*/ 544149 h 943688"/>
                    <a:gd name="connsiteX3179" fmla="*/ 888875 w 1156578"/>
                    <a:gd name="connsiteY3179" fmla="*/ 544076 h 943688"/>
                    <a:gd name="connsiteX3180" fmla="*/ 890041 w 1156578"/>
                    <a:gd name="connsiteY3180" fmla="*/ 543469 h 943688"/>
                    <a:gd name="connsiteX3181" fmla="*/ 893927 w 1156578"/>
                    <a:gd name="connsiteY3181" fmla="*/ 541417 h 943688"/>
                    <a:gd name="connsiteX3182" fmla="*/ 922948 w 1156578"/>
                    <a:gd name="connsiteY3182" fmla="*/ 530877 h 943688"/>
                    <a:gd name="connsiteX3183" fmla="*/ 923373 w 1156578"/>
                    <a:gd name="connsiteY3183" fmla="*/ 530719 h 943688"/>
                    <a:gd name="connsiteX3184" fmla="*/ 923774 w 1156578"/>
                    <a:gd name="connsiteY3184" fmla="*/ 530489 h 943688"/>
                    <a:gd name="connsiteX3185" fmla="*/ 943275 w 1156578"/>
                    <a:gd name="connsiteY3185" fmla="*/ 519839 h 943688"/>
                    <a:gd name="connsiteX3186" fmla="*/ 955249 w 1156578"/>
                    <a:gd name="connsiteY3186" fmla="*/ 513306 h 943688"/>
                    <a:gd name="connsiteX3187" fmla="*/ 953925 w 1156578"/>
                    <a:gd name="connsiteY3187" fmla="*/ 512845 h 943688"/>
                    <a:gd name="connsiteX3188" fmla="*/ 973730 w 1156578"/>
                    <a:gd name="connsiteY3188" fmla="*/ 501163 h 943688"/>
                    <a:gd name="connsiteX3189" fmla="*/ 955467 w 1156578"/>
                    <a:gd name="connsiteY3189" fmla="*/ 501649 h 943688"/>
                    <a:gd name="connsiteX3190" fmla="*/ 962741 w 1156578"/>
                    <a:gd name="connsiteY3190" fmla="*/ 493161 h 943688"/>
                    <a:gd name="connsiteX3191" fmla="*/ 964016 w 1156578"/>
                    <a:gd name="connsiteY3191" fmla="*/ 491667 h 943688"/>
                    <a:gd name="connsiteX3192" fmla="*/ 964174 w 1156578"/>
                    <a:gd name="connsiteY3192" fmla="*/ 489713 h 943688"/>
                    <a:gd name="connsiteX3193" fmla="*/ 964319 w 1156578"/>
                    <a:gd name="connsiteY3193" fmla="*/ 488025 h 943688"/>
                    <a:gd name="connsiteX3194" fmla="*/ 965752 w 1156578"/>
                    <a:gd name="connsiteY3194" fmla="*/ 485159 h 943688"/>
                    <a:gd name="connsiteX3195" fmla="*/ 966043 w 1156578"/>
                    <a:gd name="connsiteY3195" fmla="*/ 484564 h 943688"/>
                    <a:gd name="connsiteX3196" fmla="*/ 966214 w 1156578"/>
                    <a:gd name="connsiteY3196" fmla="*/ 483908 h 943688"/>
                    <a:gd name="connsiteX3197" fmla="*/ 968266 w 1156578"/>
                    <a:gd name="connsiteY3197" fmla="*/ 475688 h 943688"/>
                    <a:gd name="connsiteX3198" fmla="*/ 968351 w 1156578"/>
                    <a:gd name="connsiteY3198" fmla="*/ 475481 h 943688"/>
                    <a:gd name="connsiteX3199" fmla="*/ 969626 w 1156578"/>
                    <a:gd name="connsiteY3199" fmla="*/ 474412 h 943688"/>
                    <a:gd name="connsiteX3200" fmla="*/ 972576 w 1156578"/>
                    <a:gd name="connsiteY3200" fmla="*/ 473223 h 943688"/>
                    <a:gd name="connsiteX3201" fmla="*/ 981489 w 1156578"/>
                    <a:gd name="connsiteY3201" fmla="*/ 470964 h 943688"/>
                    <a:gd name="connsiteX3202" fmla="*/ 981878 w 1156578"/>
                    <a:gd name="connsiteY3202" fmla="*/ 470867 h 943688"/>
                    <a:gd name="connsiteX3203" fmla="*/ 982255 w 1156578"/>
                    <a:gd name="connsiteY3203" fmla="*/ 470709 h 943688"/>
                    <a:gd name="connsiteX3204" fmla="*/ 990584 w 1156578"/>
                    <a:gd name="connsiteY3204" fmla="*/ 467382 h 943688"/>
                    <a:gd name="connsiteX3205" fmla="*/ 991046 w 1156578"/>
                    <a:gd name="connsiteY3205" fmla="*/ 467200 h 943688"/>
                    <a:gd name="connsiteX3206" fmla="*/ 991459 w 1156578"/>
                    <a:gd name="connsiteY3206" fmla="*/ 466945 h 943688"/>
                    <a:gd name="connsiteX3207" fmla="*/ 1008228 w 1156578"/>
                    <a:gd name="connsiteY3207" fmla="*/ 456829 h 943688"/>
                    <a:gd name="connsiteX3208" fmla="*/ 1008532 w 1156578"/>
                    <a:gd name="connsiteY3208" fmla="*/ 456648 h 943688"/>
                    <a:gd name="connsiteX3209" fmla="*/ 1008799 w 1156578"/>
                    <a:gd name="connsiteY3209" fmla="*/ 456429 h 943688"/>
                    <a:gd name="connsiteX3210" fmla="*/ 1015745 w 1156578"/>
                    <a:gd name="connsiteY3210" fmla="*/ 451074 h 943688"/>
                    <a:gd name="connsiteX3211" fmla="*/ 1014275 w 1156578"/>
                    <a:gd name="connsiteY3211" fmla="*/ 449058 h 943688"/>
                    <a:gd name="connsiteX3212" fmla="*/ 1014652 w 1156578"/>
                    <a:gd name="connsiteY3212" fmla="*/ 448937 h 943688"/>
                    <a:gd name="connsiteX3213" fmla="*/ 1015623 w 1156578"/>
                    <a:gd name="connsiteY3213" fmla="*/ 448014 h 943688"/>
                    <a:gd name="connsiteX3214" fmla="*/ 1018780 w 1156578"/>
                    <a:gd name="connsiteY3214" fmla="*/ 445027 h 943688"/>
                    <a:gd name="connsiteX3215" fmla="*/ 1019205 w 1156578"/>
                    <a:gd name="connsiteY3215" fmla="*/ 444614 h 943688"/>
                    <a:gd name="connsiteX3216" fmla="*/ 1019545 w 1156578"/>
                    <a:gd name="connsiteY3216" fmla="*/ 444140 h 943688"/>
                    <a:gd name="connsiteX3217" fmla="*/ 1024378 w 1156578"/>
                    <a:gd name="connsiteY3217" fmla="*/ 437328 h 943688"/>
                    <a:gd name="connsiteX3218" fmla="*/ 1024791 w 1156578"/>
                    <a:gd name="connsiteY3218" fmla="*/ 436733 h 943688"/>
                    <a:gd name="connsiteX3219" fmla="*/ 1025058 w 1156578"/>
                    <a:gd name="connsiteY3219" fmla="*/ 436065 h 943688"/>
                    <a:gd name="connsiteX3220" fmla="*/ 1027960 w 1156578"/>
                    <a:gd name="connsiteY3220" fmla="*/ 428852 h 943688"/>
                    <a:gd name="connsiteX3221" fmla="*/ 1029078 w 1156578"/>
                    <a:gd name="connsiteY3221" fmla="*/ 426096 h 943688"/>
                    <a:gd name="connsiteX3222" fmla="*/ 1027572 w 1156578"/>
                    <a:gd name="connsiteY3222" fmla="*/ 423521 h 943688"/>
                    <a:gd name="connsiteX3223" fmla="*/ 1025046 w 1156578"/>
                    <a:gd name="connsiteY3223" fmla="*/ 419199 h 943688"/>
                    <a:gd name="connsiteX3224" fmla="*/ 1020590 w 1156578"/>
                    <a:gd name="connsiteY3224" fmla="*/ 411561 h 943688"/>
                    <a:gd name="connsiteX3225" fmla="*/ 1046503 w 1156578"/>
                    <a:gd name="connsiteY3225" fmla="*/ 391658 h 943688"/>
                    <a:gd name="connsiteX3226" fmla="*/ 1055416 w 1156578"/>
                    <a:gd name="connsiteY3226" fmla="*/ 388817 h 943688"/>
                    <a:gd name="connsiteX3227" fmla="*/ 1056375 w 1156578"/>
                    <a:gd name="connsiteY3227" fmla="*/ 388513 h 943688"/>
                    <a:gd name="connsiteX3228" fmla="*/ 1057164 w 1156578"/>
                    <a:gd name="connsiteY3228" fmla="*/ 387918 h 943688"/>
                    <a:gd name="connsiteX3229" fmla="*/ 1062276 w 1156578"/>
                    <a:gd name="connsiteY3229" fmla="*/ 384154 h 943688"/>
                    <a:gd name="connsiteX3230" fmla="*/ 1062629 w 1156578"/>
                    <a:gd name="connsiteY3230" fmla="*/ 383899 h 943688"/>
                    <a:gd name="connsiteX3231" fmla="*/ 1062932 w 1156578"/>
                    <a:gd name="connsiteY3231" fmla="*/ 383595 h 943688"/>
                    <a:gd name="connsiteX3232" fmla="*/ 1067413 w 1156578"/>
                    <a:gd name="connsiteY3232" fmla="*/ 379187 h 943688"/>
                    <a:gd name="connsiteX3233" fmla="*/ 1070813 w 1156578"/>
                    <a:gd name="connsiteY3233" fmla="*/ 375144 h 943688"/>
                    <a:gd name="connsiteX3234" fmla="*/ 1064292 w 1156578"/>
                    <a:gd name="connsiteY3234" fmla="*/ 368587 h 943688"/>
                    <a:gd name="connsiteX3235" fmla="*/ 1064632 w 1156578"/>
                    <a:gd name="connsiteY3235" fmla="*/ 367713 h 943688"/>
                    <a:gd name="connsiteX3236" fmla="*/ 1064292 w 1156578"/>
                    <a:gd name="connsiteY3236" fmla="*/ 365988 h 943688"/>
                    <a:gd name="connsiteX3237" fmla="*/ 1063940 w 1156578"/>
                    <a:gd name="connsiteY3237" fmla="*/ 364179 h 943688"/>
                    <a:gd name="connsiteX3238" fmla="*/ 1063818 w 1156578"/>
                    <a:gd name="connsiteY3238" fmla="*/ 363536 h 943688"/>
                    <a:gd name="connsiteX3239" fmla="*/ 1063563 w 1156578"/>
                    <a:gd name="connsiteY3239" fmla="*/ 362928 h 943688"/>
                    <a:gd name="connsiteX3240" fmla="*/ 1062641 w 1156578"/>
                    <a:gd name="connsiteY3240" fmla="*/ 360827 h 943688"/>
                    <a:gd name="connsiteX3241" fmla="*/ 1062471 w 1156578"/>
                    <a:gd name="connsiteY3241" fmla="*/ 360439 h 943688"/>
                    <a:gd name="connsiteX3242" fmla="*/ 1062240 w 1156578"/>
                    <a:gd name="connsiteY3242" fmla="*/ 360075 h 943688"/>
                    <a:gd name="connsiteX3243" fmla="*/ 1060686 w 1156578"/>
                    <a:gd name="connsiteY3243" fmla="*/ 357549 h 943688"/>
                    <a:gd name="connsiteX3244" fmla="*/ 1059872 w 1156578"/>
                    <a:gd name="connsiteY3244" fmla="*/ 356213 h 943688"/>
                    <a:gd name="connsiteX3245" fmla="*/ 1058512 w 1156578"/>
                    <a:gd name="connsiteY3245" fmla="*/ 355448 h 943688"/>
                    <a:gd name="connsiteX3246" fmla="*/ 1057237 w 1156578"/>
                    <a:gd name="connsiteY3246" fmla="*/ 354720 h 943688"/>
                    <a:gd name="connsiteX3247" fmla="*/ 1056399 w 1156578"/>
                    <a:gd name="connsiteY3247" fmla="*/ 354246 h 943688"/>
                    <a:gd name="connsiteX3248" fmla="*/ 1057140 w 1156578"/>
                    <a:gd name="connsiteY3248" fmla="*/ 352582 h 943688"/>
                    <a:gd name="connsiteX3249" fmla="*/ 1058026 w 1156578"/>
                    <a:gd name="connsiteY3249" fmla="*/ 350542 h 943688"/>
                    <a:gd name="connsiteX3250" fmla="*/ 1057383 w 1156578"/>
                    <a:gd name="connsiteY3250" fmla="*/ 348393 h 943688"/>
                    <a:gd name="connsiteX3251" fmla="*/ 1054869 w 1156578"/>
                    <a:gd name="connsiteY3251" fmla="*/ 339954 h 943688"/>
                    <a:gd name="connsiteX3252" fmla="*/ 1054748 w 1156578"/>
                    <a:gd name="connsiteY3252" fmla="*/ 339589 h 943688"/>
                    <a:gd name="connsiteX3253" fmla="*/ 1054590 w 1156578"/>
                    <a:gd name="connsiteY3253" fmla="*/ 339237 h 943688"/>
                    <a:gd name="connsiteX3254" fmla="*/ 1034748 w 1156578"/>
                    <a:gd name="connsiteY3254" fmla="*/ 294539 h 943688"/>
                    <a:gd name="connsiteX3255" fmla="*/ 1033643 w 1156578"/>
                    <a:gd name="connsiteY3255" fmla="*/ 278717 h 943688"/>
                    <a:gd name="connsiteX3256" fmla="*/ 1038537 w 1156578"/>
                    <a:gd name="connsiteY3256" fmla="*/ 264692 h 943688"/>
                    <a:gd name="connsiteX3257" fmla="*/ 1047340 w 1156578"/>
                    <a:gd name="connsiteY3257" fmla="*/ 251784 h 943688"/>
                    <a:gd name="connsiteX3258" fmla="*/ 1073970 w 1156578"/>
                    <a:gd name="connsiteY3258" fmla="*/ 223625 h 943688"/>
                    <a:gd name="connsiteX3259" fmla="*/ 1082397 w 1156578"/>
                    <a:gd name="connsiteY3259" fmla="*/ 217735 h 943688"/>
                    <a:gd name="connsiteX3260" fmla="*/ 1097879 w 1156578"/>
                    <a:gd name="connsiteY3260" fmla="*/ 209587 h 943688"/>
                    <a:gd name="connsiteX3261" fmla="*/ 1098390 w 1156578"/>
                    <a:gd name="connsiteY3261" fmla="*/ 209453 h 943688"/>
                    <a:gd name="connsiteX3262" fmla="*/ 1102142 w 1156578"/>
                    <a:gd name="connsiteY3262" fmla="*/ 209453 h 943688"/>
                    <a:gd name="connsiteX3263" fmla="*/ 1102749 w 1156578"/>
                    <a:gd name="connsiteY3263" fmla="*/ 209453 h 943688"/>
                    <a:gd name="connsiteX3264" fmla="*/ 1103332 w 1156578"/>
                    <a:gd name="connsiteY3264" fmla="*/ 209332 h 943688"/>
                    <a:gd name="connsiteX3265" fmla="*/ 1105347 w 1156578"/>
                    <a:gd name="connsiteY3265" fmla="*/ 208931 h 943688"/>
                    <a:gd name="connsiteX3266" fmla="*/ 1106306 w 1156578"/>
                    <a:gd name="connsiteY3266" fmla="*/ 208737 h 943688"/>
                    <a:gd name="connsiteX3267" fmla="*/ 1106975 w 1156578"/>
                    <a:gd name="connsiteY3267" fmla="*/ 208361 h 943688"/>
                    <a:gd name="connsiteX3268" fmla="*/ 1111674 w 1156578"/>
                    <a:gd name="connsiteY3268" fmla="*/ 209466 h 943688"/>
                    <a:gd name="connsiteX3269" fmla="*/ 1112937 w 1156578"/>
                    <a:gd name="connsiteY3269" fmla="*/ 209757 h 943688"/>
                    <a:gd name="connsiteX3270" fmla="*/ 1114200 w 1156578"/>
                    <a:gd name="connsiteY3270" fmla="*/ 209514 h 943688"/>
                    <a:gd name="connsiteX3271" fmla="*/ 1123270 w 1156578"/>
                    <a:gd name="connsiteY3271" fmla="*/ 207778 h 943688"/>
                    <a:gd name="connsiteX3272" fmla="*/ 1123853 w 1156578"/>
                    <a:gd name="connsiteY3272" fmla="*/ 207668 h 943688"/>
                    <a:gd name="connsiteX3273" fmla="*/ 1124400 w 1156578"/>
                    <a:gd name="connsiteY3273" fmla="*/ 207438 h 943688"/>
                    <a:gd name="connsiteX3274" fmla="*/ 1136239 w 1156578"/>
                    <a:gd name="connsiteY3274" fmla="*/ 202666 h 943688"/>
                    <a:gd name="connsiteX3275" fmla="*/ 1147896 w 1156578"/>
                    <a:gd name="connsiteY3275" fmla="*/ 197954 h 943688"/>
                    <a:gd name="connsiteX3276" fmla="*/ 1149147 w 1156578"/>
                    <a:gd name="connsiteY3276" fmla="*/ 197626 h 943688"/>
                    <a:gd name="connsiteX3277" fmla="*/ 1156578 w 1156578"/>
                    <a:gd name="connsiteY3277" fmla="*/ 195659 h 943688"/>
                    <a:gd name="connsiteX3278" fmla="*/ 1152936 w 1156578"/>
                    <a:gd name="connsiteY3278" fmla="*/ 188883 h 943688"/>
                    <a:gd name="connsiteX3279" fmla="*/ 1151187 w 1156578"/>
                    <a:gd name="connsiteY3279" fmla="*/ 185629 h 943688"/>
                    <a:gd name="connsiteX3280" fmla="*/ 1145310 w 1156578"/>
                    <a:gd name="connsiteY3280" fmla="*/ 176740 h 943688"/>
                    <a:gd name="connsiteX3281" fmla="*/ 1144690 w 1156578"/>
                    <a:gd name="connsiteY3281" fmla="*/ 175162 h 943688"/>
                    <a:gd name="connsiteX3282" fmla="*/ 1144338 w 1156578"/>
                    <a:gd name="connsiteY3282" fmla="*/ 173389 h 943688"/>
                    <a:gd name="connsiteX3283" fmla="*/ 1144290 w 1156578"/>
                    <a:gd name="connsiteY3283" fmla="*/ 171507 h 943688"/>
                    <a:gd name="connsiteX3284" fmla="*/ 1144933 w 1156578"/>
                    <a:gd name="connsiteY3284" fmla="*/ 166419 h 943688"/>
                    <a:gd name="connsiteX3285" fmla="*/ 1144970 w 1156578"/>
                    <a:gd name="connsiteY3285" fmla="*/ 166103 h 943688"/>
                    <a:gd name="connsiteX3286" fmla="*/ 1144982 w 1156578"/>
                    <a:gd name="connsiteY3286" fmla="*/ 165788 h 943688"/>
                    <a:gd name="connsiteX3287" fmla="*/ 1145042 w 1156578"/>
                    <a:gd name="connsiteY3287" fmla="*/ 162801 h 943688"/>
                    <a:gd name="connsiteX3288" fmla="*/ 1145067 w 1156578"/>
                    <a:gd name="connsiteY3288" fmla="*/ 161270 h 943688"/>
                    <a:gd name="connsiteX3289" fmla="*/ 1144362 w 1156578"/>
                    <a:gd name="connsiteY3289" fmla="*/ 159910 h 943688"/>
                    <a:gd name="connsiteX3290" fmla="*/ 1143039 w 1156578"/>
                    <a:gd name="connsiteY3290" fmla="*/ 157324 h 943688"/>
                    <a:gd name="connsiteX3291" fmla="*/ 1142408 w 1156578"/>
                    <a:gd name="connsiteY3291" fmla="*/ 156073 h 943688"/>
                    <a:gd name="connsiteX3292" fmla="*/ 1141278 w 1156578"/>
                    <a:gd name="connsiteY3292" fmla="*/ 155235 h 943688"/>
                    <a:gd name="connsiteX3293" fmla="*/ 1138291 w 1156578"/>
                    <a:gd name="connsiteY3293" fmla="*/ 152989 h 943688"/>
                    <a:gd name="connsiteX3294" fmla="*/ 1137235 w 1156578"/>
                    <a:gd name="connsiteY3294" fmla="*/ 152212 h 943688"/>
                    <a:gd name="connsiteX3295" fmla="*/ 1135960 w 1156578"/>
                    <a:gd name="connsiteY3295" fmla="*/ 151932 h 943688"/>
                    <a:gd name="connsiteX3296" fmla="*/ 1111334 w 1156578"/>
                    <a:gd name="connsiteY3296" fmla="*/ 146541 h 943688"/>
                    <a:gd name="connsiteX3297" fmla="*/ 1108480 w 1156578"/>
                    <a:gd name="connsiteY3297" fmla="*/ 145497 h 943688"/>
                    <a:gd name="connsiteX3298" fmla="*/ 1107897 w 1156578"/>
                    <a:gd name="connsiteY3298" fmla="*/ 144987 h 943688"/>
                    <a:gd name="connsiteX3299" fmla="*/ 1106926 w 1156578"/>
                    <a:gd name="connsiteY3299" fmla="*/ 143020 h 943688"/>
                    <a:gd name="connsiteX3300" fmla="*/ 1106125 w 1156578"/>
                    <a:gd name="connsiteY3300" fmla="*/ 140834 h 943688"/>
                    <a:gd name="connsiteX3301" fmla="*/ 1105214 w 1156578"/>
                    <a:gd name="connsiteY3301" fmla="*/ 137313 h 943688"/>
                    <a:gd name="connsiteX3302" fmla="*/ 1104376 w 1156578"/>
                    <a:gd name="connsiteY3302" fmla="*/ 130014 h 943688"/>
                    <a:gd name="connsiteX3303" fmla="*/ 1104266 w 1156578"/>
                    <a:gd name="connsiteY3303" fmla="*/ 129128 h 943688"/>
                    <a:gd name="connsiteX3304" fmla="*/ 1103902 w 1156578"/>
                    <a:gd name="connsiteY3304" fmla="*/ 128302 h 943688"/>
                    <a:gd name="connsiteX3305" fmla="*/ 1102409 w 1156578"/>
                    <a:gd name="connsiteY3305" fmla="*/ 124890 h 943688"/>
                    <a:gd name="connsiteX3306" fmla="*/ 1101911 w 1156578"/>
                    <a:gd name="connsiteY3306" fmla="*/ 123749 h 943688"/>
                    <a:gd name="connsiteX3307" fmla="*/ 1101024 w 1156578"/>
                    <a:gd name="connsiteY3307" fmla="*/ 122911 h 943688"/>
                    <a:gd name="connsiteX3308" fmla="*/ 1097964 w 1156578"/>
                    <a:gd name="connsiteY3308" fmla="*/ 120021 h 943688"/>
                    <a:gd name="connsiteX3309" fmla="*/ 1097260 w 1156578"/>
                    <a:gd name="connsiteY3309" fmla="*/ 119353 h 943688"/>
                    <a:gd name="connsiteX3310" fmla="*/ 1096386 w 1156578"/>
                    <a:gd name="connsiteY3310" fmla="*/ 118940 h 943688"/>
                    <a:gd name="connsiteX3311" fmla="*/ 1089780 w 1156578"/>
                    <a:gd name="connsiteY3311" fmla="*/ 115807 h 943688"/>
                    <a:gd name="connsiteX3312" fmla="*/ 1089343 w 1156578"/>
                    <a:gd name="connsiteY3312" fmla="*/ 115601 h 943688"/>
                    <a:gd name="connsiteX3313" fmla="*/ 1088870 w 1156578"/>
                    <a:gd name="connsiteY3313" fmla="*/ 115455 h 943688"/>
                    <a:gd name="connsiteX3314" fmla="*/ 1085384 w 1156578"/>
                    <a:gd name="connsiteY3314" fmla="*/ 114447 h 943688"/>
                    <a:gd name="connsiteX3315" fmla="*/ 1084510 w 1156578"/>
                    <a:gd name="connsiteY3315" fmla="*/ 114192 h 943688"/>
                    <a:gd name="connsiteX3316" fmla="*/ 1083587 w 1156578"/>
                    <a:gd name="connsiteY3316" fmla="*/ 114204 h 943688"/>
                    <a:gd name="connsiteX3317" fmla="*/ 1080600 w 1156578"/>
                    <a:gd name="connsiteY3317" fmla="*/ 114265 h 943688"/>
                    <a:gd name="connsiteX3318" fmla="*/ 1078681 w 1156578"/>
                    <a:gd name="connsiteY3318" fmla="*/ 114302 h 943688"/>
                    <a:gd name="connsiteX3319" fmla="*/ 1077139 w 1156578"/>
                    <a:gd name="connsiteY3319" fmla="*/ 115443 h 943688"/>
                    <a:gd name="connsiteX3320" fmla="*/ 1075646 w 1156578"/>
                    <a:gd name="connsiteY3320" fmla="*/ 116536 h 943688"/>
                    <a:gd name="connsiteX3321" fmla="*/ 1074723 w 1156578"/>
                    <a:gd name="connsiteY3321" fmla="*/ 117204 h 943688"/>
                    <a:gd name="connsiteX3322" fmla="*/ 1074104 w 1156578"/>
                    <a:gd name="connsiteY3322" fmla="*/ 118175 h 943688"/>
                    <a:gd name="connsiteX3323" fmla="*/ 1072889 w 1156578"/>
                    <a:gd name="connsiteY3323" fmla="*/ 120069 h 943688"/>
                    <a:gd name="connsiteX3324" fmla="*/ 1071760 w 1156578"/>
                    <a:gd name="connsiteY3324" fmla="*/ 122243 h 943688"/>
                    <a:gd name="connsiteX3325" fmla="*/ 1071432 w 1156578"/>
                    <a:gd name="connsiteY3325" fmla="*/ 122729 h 943688"/>
                    <a:gd name="connsiteX3326" fmla="*/ 1071165 w 1156578"/>
                    <a:gd name="connsiteY3326" fmla="*/ 122911 h 943688"/>
                    <a:gd name="connsiteX3327" fmla="*/ 1069902 w 1156578"/>
                    <a:gd name="connsiteY3327" fmla="*/ 123457 h 943688"/>
                    <a:gd name="connsiteX3328" fmla="*/ 1069198 w 1156578"/>
                    <a:gd name="connsiteY3328" fmla="*/ 123749 h 943688"/>
                    <a:gd name="connsiteX3329" fmla="*/ 1068603 w 1156578"/>
                    <a:gd name="connsiteY3329" fmla="*/ 124222 h 943688"/>
                    <a:gd name="connsiteX3330" fmla="*/ 1067279 w 1156578"/>
                    <a:gd name="connsiteY3330" fmla="*/ 125254 h 943688"/>
                    <a:gd name="connsiteX3331" fmla="*/ 1066296 w 1156578"/>
                    <a:gd name="connsiteY3331" fmla="*/ 126007 h 943688"/>
                    <a:gd name="connsiteX3332" fmla="*/ 1065846 w 1156578"/>
                    <a:gd name="connsiteY3332" fmla="*/ 126821 h 943688"/>
                    <a:gd name="connsiteX3333" fmla="*/ 1064207 w 1156578"/>
                    <a:gd name="connsiteY3333" fmla="*/ 124927 h 943688"/>
                    <a:gd name="connsiteX3334" fmla="*/ 1063187 w 1156578"/>
                    <a:gd name="connsiteY3334" fmla="*/ 122595 h 943688"/>
                    <a:gd name="connsiteX3335" fmla="*/ 1063102 w 1156578"/>
                    <a:gd name="connsiteY3335" fmla="*/ 121976 h 943688"/>
                    <a:gd name="connsiteX3336" fmla="*/ 1064620 w 1156578"/>
                    <a:gd name="connsiteY3336" fmla="*/ 117969 h 943688"/>
                    <a:gd name="connsiteX3337" fmla="*/ 1064826 w 1156578"/>
                    <a:gd name="connsiteY3337" fmla="*/ 117459 h 943688"/>
                    <a:gd name="connsiteX3338" fmla="*/ 1064923 w 1156578"/>
                    <a:gd name="connsiteY3338" fmla="*/ 116924 h 943688"/>
                    <a:gd name="connsiteX3339" fmla="*/ 1065106 w 1156578"/>
                    <a:gd name="connsiteY3339" fmla="*/ 115977 h 943688"/>
                    <a:gd name="connsiteX3340" fmla="*/ 1065215 w 1156578"/>
                    <a:gd name="connsiteY3340" fmla="*/ 115431 h 943688"/>
                    <a:gd name="connsiteX3341" fmla="*/ 1065215 w 1156578"/>
                    <a:gd name="connsiteY3341" fmla="*/ 114860 h 943688"/>
                    <a:gd name="connsiteX3342" fmla="*/ 1065215 w 1156578"/>
                    <a:gd name="connsiteY3342" fmla="*/ 113051 h 943688"/>
                    <a:gd name="connsiteX3343" fmla="*/ 1065009 w 1156578"/>
                    <a:gd name="connsiteY3343" fmla="*/ 110282 h 943688"/>
                    <a:gd name="connsiteX3344" fmla="*/ 1064984 w 1156578"/>
                    <a:gd name="connsiteY3344" fmla="*/ 109979 h 943688"/>
                    <a:gd name="connsiteX3345" fmla="*/ 1064936 w 1156578"/>
                    <a:gd name="connsiteY3345" fmla="*/ 109687 h 943688"/>
                    <a:gd name="connsiteX3346" fmla="*/ 1064231 w 1156578"/>
                    <a:gd name="connsiteY3346" fmla="*/ 105838 h 943688"/>
                    <a:gd name="connsiteX3347" fmla="*/ 1064134 w 1156578"/>
                    <a:gd name="connsiteY3347" fmla="*/ 105340 h 943688"/>
                    <a:gd name="connsiteX3348" fmla="*/ 1063964 w 1156578"/>
                    <a:gd name="connsiteY3348" fmla="*/ 104866 h 943688"/>
                    <a:gd name="connsiteX3349" fmla="*/ 1063636 w 1156578"/>
                    <a:gd name="connsiteY3349" fmla="*/ 103944 h 943688"/>
                    <a:gd name="connsiteX3350" fmla="*/ 1063479 w 1156578"/>
                    <a:gd name="connsiteY3350" fmla="*/ 103506 h 943688"/>
                    <a:gd name="connsiteX3351" fmla="*/ 1063248 w 1156578"/>
                    <a:gd name="connsiteY3351" fmla="*/ 103106 h 943688"/>
                    <a:gd name="connsiteX3352" fmla="*/ 1062653 w 1156578"/>
                    <a:gd name="connsiteY3352" fmla="*/ 102013 h 943688"/>
                    <a:gd name="connsiteX3353" fmla="*/ 1062434 w 1156578"/>
                    <a:gd name="connsiteY3353" fmla="*/ 101612 h 943688"/>
                    <a:gd name="connsiteX3354" fmla="*/ 1062167 w 1156578"/>
                    <a:gd name="connsiteY3354" fmla="*/ 101248 h 943688"/>
                    <a:gd name="connsiteX3355" fmla="*/ 1060504 w 1156578"/>
                    <a:gd name="connsiteY3355" fmla="*/ 99062 h 943688"/>
                    <a:gd name="connsiteX3356" fmla="*/ 1060115 w 1156578"/>
                    <a:gd name="connsiteY3356" fmla="*/ 98552 h 943688"/>
                    <a:gd name="connsiteX3357" fmla="*/ 1059605 w 1156578"/>
                    <a:gd name="connsiteY3357" fmla="*/ 98127 h 943688"/>
                    <a:gd name="connsiteX3358" fmla="*/ 1056606 w 1156578"/>
                    <a:gd name="connsiteY3358" fmla="*/ 95577 h 943688"/>
                    <a:gd name="connsiteX3359" fmla="*/ 1056302 w 1156578"/>
                    <a:gd name="connsiteY3359" fmla="*/ 95322 h 943688"/>
                    <a:gd name="connsiteX3360" fmla="*/ 1055974 w 1156578"/>
                    <a:gd name="connsiteY3360" fmla="*/ 95104 h 943688"/>
                    <a:gd name="connsiteX3361" fmla="*/ 1050814 w 1156578"/>
                    <a:gd name="connsiteY3361" fmla="*/ 91776 h 943688"/>
                    <a:gd name="connsiteX3362" fmla="*/ 1050352 w 1156578"/>
                    <a:gd name="connsiteY3362" fmla="*/ 91485 h 943688"/>
                    <a:gd name="connsiteX3363" fmla="*/ 1049830 w 1156578"/>
                    <a:gd name="connsiteY3363" fmla="*/ 91266 h 943688"/>
                    <a:gd name="connsiteX3364" fmla="*/ 1040237 w 1156578"/>
                    <a:gd name="connsiteY3364" fmla="*/ 87308 h 943688"/>
                    <a:gd name="connsiteX3365" fmla="*/ 1039715 w 1156578"/>
                    <a:gd name="connsiteY3365" fmla="*/ 87077 h 943688"/>
                    <a:gd name="connsiteX3366" fmla="*/ 1039156 w 1156578"/>
                    <a:gd name="connsiteY3366" fmla="*/ 86968 h 943688"/>
                    <a:gd name="connsiteX3367" fmla="*/ 1036120 w 1156578"/>
                    <a:gd name="connsiteY3367" fmla="*/ 86336 h 943688"/>
                    <a:gd name="connsiteX3368" fmla="*/ 1035659 w 1156578"/>
                    <a:gd name="connsiteY3368" fmla="*/ 86239 h 943688"/>
                    <a:gd name="connsiteX3369" fmla="*/ 1035198 w 1156578"/>
                    <a:gd name="connsiteY3369" fmla="*/ 86215 h 943688"/>
                    <a:gd name="connsiteX3370" fmla="*/ 1032393 w 1156578"/>
                    <a:gd name="connsiteY3370" fmla="*/ 86069 h 943688"/>
                    <a:gd name="connsiteX3371" fmla="*/ 1031968 w 1156578"/>
                    <a:gd name="connsiteY3371" fmla="*/ 86045 h 943688"/>
                    <a:gd name="connsiteX3372" fmla="*/ 1031543 w 1156578"/>
                    <a:gd name="connsiteY3372" fmla="*/ 86081 h 943688"/>
                    <a:gd name="connsiteX3373" fmla="*/ 1029879 w 1156578"/>
                    <a:gd name="connsiteY3373" fmla="*/ 86239 h 943688"/>
                    <a:gd name="connsiteX3374" fmla="*/ 1029223 w 1156578"/>
                    <a:gd name="connsiteY3374" fmla="*/ 86118 h 943688"/>
                    <a:gd name="connsiteX3375" fmla="*/ 1020808 w 1156578"/>
                    <a:gd name="connsiteY3375" fmla="*/ 80471 h 943688"/>
                    <a:gd name="connsiteX3376" fmla="*/ 1018282 w 1156578"/>
                    <a:gd name="connsiteY3376" fmla="*/ 78249 h 943688"/>
                    <a:gd name="connsiteX3377" fmla="*/ 1017493 w 1156578"/>
                    <a:gd name="connsiteY3377" fmla="*/ 77545 h 943688"/>
                    <a:gd name="connsiteX3378" fmla="*/ 1016510 w 1156578"/>
                    <a:gd name="connsiteY3378" fmla="*/ 77169 h 943688"/>
                    <a:gd name="connsiteX3379" fmla="*/ 1013231 w 1156578"/>
                    <a:gd name="connsiteY3379" fmla="*/ 75881 h 943688"/>
                    <a:gd name="connsiteX3380" fmla="*/ 1012818 w 1156578"/>
                    <a:gd name="connsiteY3380" fmla="*/ 75711 h 943688"/>
                    <a:gd name="connsiteX3381" fmla="*/ 1012381 w 1156578"/>
                    <a:gd name="connsiteY3381" fmla="*/ 75602 h 943688"/>
                    <a:gd name="connsiteX3382" fmla="*/ 1009467 w 1156578"/>
                    <a:gd name="connsiteY3382" fmla="*/ 74922 h 943688"/>
                    <a:gd name="connsiteX3383" fmla="*/ 1007063 w 1156578"/>
                    <a:gd name="connsiteY3383" fmla="*/ 74096 h 943688"/>
                    <a:gd name="connsiteX3384" fmla="*/ 1007014 w 1156578"/>
                    <a:gd name="connsiteY3384" fmla="*/ 74072 h 943688"/>
                    <a:gd name="connsiteX3385" fmla="*/ 1004549 w 1156578"/>
                    <a:gd name="connsiteY3385" fmla="*/ 69846 h 943688"/>
                    <a:gd name="connsiteX3386" fmla="*/ 1003565 w 1156578"/>
                    <a:gd name="connsiteY3386" fmla="*/ 68146 h 943688"/>
                    <a:gd name="connsiteX3387" fmla="*/ 1001768 w 1156578"/>
                    <a:gd name="connsiteY3387" fmla="*/ 67357 h 943688"/>
                    <a:gd name="connsiteX3388" fmla="*/ 995126 w 1156578"/>
                    <a:gd name="connsiteY3388" fmla="*/ 64418 h 943688"/>
                    <a:gd name="connsiteX3389" fmla="*/ 987488 w 1156578"/>
                    <a:gd name="connsiteY3389" fmla="*/ 57594 h 943688"/>
                    <a:gd name="connsiteX3390" fmla="*/ 987124 w 1156578"/>
                    <a:gd name="connsiteY3390" fmla="*/ 57266 h 943688"/>
                    <a:gd name="connsiteX3391" fmla="*/ 986699 w 1156578"/>
                    <a:gd name="connsiteY3391" fmla="*/ 56999 h 943688"/>
                    <a:gd name="connsiteX3392" fmla="*/ 968691 w 1156578"/>
                    <a:gd name="connsiteY3392" fmla="*/ 45573 h 943688"/>
                    <a:gd name="connsiteX3393" fmla="*/ 968327 w 1156578"/>
                    <a:gd name="connsiteY3393" fmla="*/ 45342 h 943688"/>
                    <a:gd name="connsiteX3394" fmla="*/ 967926 w 1156578"/>
                    <a:gd name="connsiteY3394" fmla="*/ 45160 h 943688"/>
                    <a:gd name="connsiteX3395" fmla="*/ 966238 w 1156578"/>
                    <a:gd name="connsiteY3395" fmla="*/ 44407 h 943688"/>
                    <a:gd name="connsiteX3396" fmla="*/ 965667 w 1156578"/>
                    <a:gd name="connsiteY3396" fmla="*/ 44152 h 943688"/>
                    <a:gd name="connsiteX3397" fmla="*/ 965048 w 1156578"/>
                    <a:gd name="connsiteY3397" fmla="*/ 44018 h 943688"/>
                    <a:gd name="connsiteX3398" fmla="*/ 963117 w 1156578"/>
                    <a:gd name="connsiteY3398" fmla="*/ 43593 h 943688"/>
                    <a:gd name="connsiteX3399" fmla="*/ 962121 w 1156578"/>
                    <a:gd name="connsiteY3399" fmla="*/ 43375 h 943688"/>
                    <a:gd name="connsiteX3400" fmla="*/ 961101 w 1156578"/>
                    <a:gd name="connsiteY3400" fmla="*/ 43496 h 943688"/>
                    <a:gd name="connsiteX3401" fmla="*/ 958296 w 1156578"/>
                    <a:gd name="connsiteY3401" fmla="*/ 43836 h 943688"/>
                    <a:gd name="connsiteX3402" fmla="*/ 957689 w 1156578"/>
                    <a:gd name="connsiteY3402" fmla="*/ 43909 h 943688"/>
                    <a:gd name="connsiteX3403" fmla="*/ 957106 w 1156578"/>
                    <a:gd name="connsiteY3403" fmla="*/ 44103 h 943688"/>
                    <a:gd name="connsiteX3404" fmla="*/ 950428 w 1156578"/>
                    <a:gd name="connsiteY3404" fmla="*/ 46313 h 943688"/>
                    <a:gd name="connsiteX3405" fmla="*/ 948497 w 1156578"/>
                    <a:gd name="connsiteY3405" fmla="*/ 46641 h 943688"/>
                    <a:gd name="connsiteX3406" fmla="*/ 946275 w 1156578"/>
                    <a:gd name="connsiteY3406" fmla="*/ 46738 h 943688"/>
                    <a:gd name="connsiteX3407" fmla="*/ 944186 w 1156578"/>
                    <a:gd name="connsiteY3407" fmla="*/ 46350 h 943688"/>
                    <a:gd name="connsiteX3408" fmla="*/ 942183 w 1156578"/>
                    <a:gd name="connsiteY3408" fmla="*/ 45524 h 943688"/>
                    <a:gd name="connsiteX3409" fmla="*/ 939402 w 1156578"/>
                    <a:gd name="connsiteY3409" fmla="*/ 43496 h 943688"/>
                    <a:gd name="connsiteX3410" fmla="*/ 937459 w 1156578"/>
                    <a:gd name="connsiteY3410" fmla="*/ 41565 h 943688"/>
                    <a:gd name="connsiteX3411" fmla="*/ 936038 w 1156578"/>
                    <a:gd name="connsiteY3411" fmla="*/ 39793 h 943688"/>
                    <a:gd name="connsiteX3412" fmla="*/ 932918 w 1156578"/>
                    <a:gd name="connsiteY3412" fmla="*/ 34547 h 943688"/>
                    <a:gd name="connsiteX3413" fmla="*/ 932371 w 1156578"/>
                    <a:gd name="connsiteY3413" fmla="*/ 33624 h 943688"/>
                    <a:gd name="connsiteX3414" fmla="*/ 931558 w 1156578"/>
                    <a:gd name="connsiteY3414" fmla="*/ 32944 h 943688"/>
                    <a:gd name="connsiteX3415" fmla="*/ 928692 w 1156578"/>
                    <a:gd name="connsiteY3415" fmla="*/ 30588 h 943688"/>
                    <a:gd name="connsiteX3416" fmla="*/ 928437 w 1156578"/>
                    <a:gd name="connsiteY3416" fmla="*/ 30382 h 943688"/>
                    <a:gd name="connsiteX3417" fmla="*/ 928170 w 1156578"/>
                    <a:gd name="connsiteY3417" fmla="*/ 30199 h 943688"/>
                    <a:gd name="connsiteX3418" fmla="*/ 924162 w 1156578"/>
                    <a:gd name="connsiteY3418" fmla="*/ 27565 h 943688"/>
                    <a:gd name="connsiteX3419" fmla="*/ 923847 w 1156578"/>
                    <a:gd name="connsiteY3419" fmla="*/ 27358 h 943688"/>
                    <a:gd name="connsiteX3420" fmla="*/ 923519 w 1156578"/>
                    <a:gd name="connsiteY3420" fmla="*/ 27200 h 943688"/>
                    <a:gd name="connsiteX3421" fmla="*/ 893708 w 1156578"/>
                    <a:gd name="connsiteY3421" fmla="*/ 12495 h 943688"/>
                    <a:gd name="connsiteX3422" fmla="*/ 887491 w 1156578"/>
                    <a:gd name="connsiteY3422" fmla="*/ 4554 h 943688"/>
                    <a:gd name="connsiteX3423" fmla="*/ 887163 w 1156578"/>
                    <a:gd name="connsiteY3423" fmla="*/ 4129 h 943688"/>
                    <a:gd name="connsiteX3424" fmla="*/ 886775 w 1156578"/>
                    <a:gd name="connsiteY3424" fmla="*/ 3777 h 943688"/>
                    <a:gd name="connsiteX3425" fmla="*/ 885402 w 1156578"/>
                    <a:gd name="connsiteY3425" fmla="*/ 2538 h 943688"/>
                    <a:gd name="connsiteX3426" fmla="*/ 884795 w 1156578"/>
                    <a:gd name="connsiteY3426" fmla="*/ 1991 h 943688"/>
                    <a:gd name="connsiteX3427" fmla="*/ 884055 w 1156578"/>
                    <a:gd name="connsiteY3427" fmla="*/ 1627 h 943688"/>
                    <a:gd name="connsiteX3428" fmla="*/ 882621 w 1156578"/>
                    <a:gd name="connsiteY3428" fmla="*/ 911 h 943688"/>
                    <a:gd name="connsiteX3429" fmla="*/ 881589 w 1156578"/>
                    <a:gd name="connsiteY3429" fmla="*/ 401 h 943688"/>
                    <a:gd name="connsiteX3430" fmla="*/ 880448 w 1156578"/>
                    <a:gd name="connsiteY3430" fmla="*/ 291 h 943688"/>
                    <a:gd name="connsiteX3431" fmla="*/ 878554 w 1156578"/>
                    <a:gd name="connsiteY3431" fmla="*/ 122 h 943688"/>
                    <a:gd name="connsiteX3432" fmla="*/ 877000 w 1156578"/>
                    <a:gd name="connsiteY3432" fmla="*/ 0 h 943688"/>
                    <a:gd name="connsiteX3433" fmla="*/ 877000 w 1156578"/>
                    <a:gd name="connsiteY3433" fmla="*/ 0 h 943688"/>
                    <a:gd name="connsiteX3434" fmla="*/ 768174 w 1156578"/>
                    <a:gd name="connsiteY3434" fmla="*/ 533464 h 943688"/>
                    <a:gd name="connsiteX3435" fmla="*/ 770287 w 1156578"/>
                    <a:gd name="connsiteY3435" fmla="*/ 532844 h 943688"/>
                    <a:gd name="connsiteX3436" fmla="*/ 770967 w 1156578"/>
                    <a:gd name="connsiteY3436" fmla="*/ 532954 h 943688"/>
                    <a:gd name="connsiteX3437" fmla="*/ 777694 w 1156578"/>
                    <a:gd name="connsiteY3437" fmla="*/ 535079 h 943688"/>
                    <a:gd name="connsiteX3438" fmla="*/ 778034 w 1156578"/>
                    <a:gd name="connsiteY3438" fmla="*/ 535188 h 943688"/>
                    <a:gd name="connsiteX3439" fmla="*/ 778387 w 1156578"/>
                    <a:gd name="connsiteY3439" fmla="*/ 535261 h 943688"/>
                    <a:gd name="connsiteX3440" fmla="*/ 783681 w 1156578"/>
                    <a:gd name="connsiteY3440" fmla="*/ 536257 h 943688"/>
                    <a:gd name="connsiteX3441" fmla="*/ 783219 w 1156578"/>
                    <a:gd name="connsiteY3441" fmla="*/ 548132 h 943688"/>
                    <a:gd name="connsiteX3442" fmla="*/ 783195 w 1156578"/>
                    <a:gd name="connsiteY3442" fmla="*/ 548788 h 943688"/>
                    <a:gd name="connsiteX3443" fmla="*/ 783316 w 1156578"/>
                    <a:gd name="connsiteY3443" fmla="*/ 549444 h 943688"/>
                    <a:gd name="connsiteX3444" fmla="*/ 783511 w 1156578"/>
                    <a:gd name="connsiteY3444" fmla="*/ 550537 h 943688"/>
                    <a:gd name="connsiteX3445" fmla="*/ 782855 w 1156578"/>
                    <a:gd name="connsiteY3445" fmla="*/ 551472 h 943688"/>
                    <a:gd name="connsiteX3446" fmla="*/ 778836 w 1156578"/>
                    <a:gd name="connsiteY3446" fmla="*/ 552892 h 943688"/>
                    <a:gd name="connsiteX3447" fmla="*/ 770506 w 1156578"/>
                    <a:gd name="connsiteY3447" fmla="*/ 555843 h 943688"/>
                    <a:gd name="connsiteX3448" fmla="*/ 765770 w 1156578"/>
                    <a:gd name="connsiteY3448" fmla="*/ 557203 h 943688"/>
                    <a:gd name="connsiteX3449" fmla="*/ 764677 w 1156578"/>
                    <a:gd name="connsiteY3449" fmla="*/ 557519 h 943688"/>
                    <a:gd name="connsiteX3450" fmla="*/ 763766 w 1156578"/>
                    <a:gd name="connsiteY3450" fmla="*/ 558223 h 943688"/>
                    <a:gd name="connsiteX3451" fmla="*/ 762224 w 1156578"/>
                    <a:gd name="connsiteY3451" fmla="*/ 559401 h 943688"/>
                    <a:gd name="connsiteX3452" fmla="*/ 762054 w 1156578"/>
                    <a:gd name="connsiteY3452" fmla="*/ 559437 h 943688"/>
                    <a:gd name="connsiteX3453" fmla="*/ 758278 w 1156578"/>
                    <a:gd name="connsiteY3453" fmla="*/ 560057 h 943688"/>
                    <a:gd name="connsiteX3454" fmla="*/ 755837 w 1156578"/>
                    <a:gd name="connsiteY3454" fmla="*/ 556414 h 943688"/>
                    <a:gd name="connsiteX3455" fmla="*/ 751405 w 1156578"/>
                    <a:gd name="connsiteY3455" fmla="*/ 564416 h 943688"/>
                    <a:gd name="connsiteX3456" fmla="*/ 750907 w 1156578"/>
                    <a:gd name="connsiteY3456" fmla="*/ 564428 h 943688"/>
                    <a:gd name="connsiteX3457" fmla="*/ 748442 w 1156578"/>
                    <a:gd name="connsiteY3457" fmla="*/ 564525 h 943688"/>
                    <a:gd name="connsiteX3458" fmla="*/ 746281 w 1156578"/>
                    <a:gd name="connsiteY3458" fmla="*/ 564610 h 943688"/>
                    <a:gd name="connsiteX3459" fmla="*/ 744653 w 1156578"/>
                    <a:gd name="connsiteY3459" fmla="*/ 566043 h 943688"/>
                    <a:gd name="connsiteX3460" fmla="*/ 739384 w 1156578"/>
                    <a:gd name="connsiteY3460" fmla="*/ 570706 h 943688"/>
                    <a:gd name="connsiteX3461" fmla="*/ 733591 w 1156578"/>
                    <a:gd name="connsiteY3461" fmla="*/ 568970 h 943688"/>
                    <a:gd name="connsiteX3462" fmla="*/ 732838 w 1156578"/>
                    <a:gd name="connsiteY3462" fmla="*/ 568727 h 943688"/>
                    <a:gd name="connsiteX3463" fmla="*/ 732061 w 1156578"/>
                    <a:gd name="connsiteY3463" fmla="*/ 568703 h 943688"/>
                    <a:gd name="connsiteX3464" fmla="*/ 729536 w 1156578"/>
                    <a:gd name="connsiteY3464" fmla="*/ 568617 h 943688"/>
                    <a:gd name="connsiteX3465" fmla="*/ 727653 w 1156578"/>
                    <a:gd name="connsiteY3465" fmla="*/ 568557 h 943688"/>
                    <a:gd name="connsiteX3466" fmla="*/ 727362 w 1156578"/>
                    <a:gd name="connsiteY3466" fmla="*/ 566116 h 943688"/>
                    <a:gd name="connsiteX3467" fmla="*/ 729281 w 1156578"/>
                    <a:gd name="connsiteY3467" fmla="*/ 562837 h 943688"/>
                    <a:gd name="connsiteX3468" fmla="*/ 733421 w 1156578"/>
                    <a:gd name="connsiteY3468" fmla="*/ 558417 h 943688"/>
                    <a:gd name="connsiteX3469" fmla="*/ 736712 w 1156578"/>
                    <a:gd name="connsiteY3469" fmla="*/ 555612 h 943688"/>
                    <a:gd name="connsiteX3470" fmla="*/ 737683 w 1156578"/>
                    <a:gd name="connsiteY3470" fmla="*/ 555054 h 943688"/>
                    <a:gd name="connsiteX3471" fmla="*/ 739068 w 1156578"/>
                    <a:gd name="connsiteY3471" fmla="*/ 554531 h 943688"/>
                    <a:gd name="connsiteX3472" fmla="*/ 740768 w 1156578"/>
                    <a:gd name="connsiteY3472" fmla="*/ 554192 h 943688"/>
                    <a:gd name="connsiteX3473" fmla="*/ 743293 w 1156578"/>
                    <a:gd name="connsiteY3473" fmla="*/ 554022 h 943688"/>
                    <a:gd name="connsiteX3474" fmla="*/ 745285 w 1156578"/>
                    <a:gd name="connsiteY3474" fmla="*/ 553888 h 943688"/>
                    <a:gd name="connsiteX3475" fmla="*/ 746803 w 1156578"/>
                    <a:gd name="connsiteY3475" fmla="*/ 552613 h 943688"/>
                    <a:gd name="connsiteX3476" fmla="*/ 757076 w 1156578"/>
                    <a:gd name="connsiteY3476" fmla="*/ 543992 h 943688"/>
                    <a:gd name="connsiteX3477" fmla="*/ 757331 w 1156578"/>
                    <a:gd name="connsiteY3477" fmla="*/ 543785 h 943688"/>
                    <a:gd name="connsiteX3478" fmla="*/ 757562 w 1156578"/>
                    <a:gd name="connsiteY3478" fmla="*/ 543542 h 943688"/>
                    <a:gd name="connsiteX3479" fmla="*/ 765066 w 1156578"/>
                    <a:gd name="connsiteY3479" fmla="*/ 535746 h 943688"/>
                    <a:gd name="connsiteX3480" fmla="*/ 768174 w 1156578"/>
                    <a:gd name="connsiteY3480" fmla="*/ 533464 h 943688"/>
                    <a:gd name="connsiteX3481" fmla="*/ 768174 w 1156578"/>
                    <a:gd name="connsiteY3481" fmla="*/ 533464 h 943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Lst>
                  <a:rect l="l" t="t" r="r" b="b"/>
                  <a:pathLst>
                    <a:path w="1156578" h="943688">
                      <a:moveTo>
                        <a:pt x="877946" y="6181"/>
                      </a:moveTo>
                      <a:lnTo>
                        <a:pt x="879841" y="6351"/>
                      </a:lnTo>
                      <a:lnTo>
                        <a:pt x="881274" y="7067"/>
                      </a:lnTo>
                      <a:lnTo>
                        <a:pt x="882646" y="8306"/>
                      </a:lnTo>
                      <a:lnTo>
                        <a:pt x="889713" y="17340"/>
                      </a:lnTo>
                      <a:lnTo>
                        <a:pt x="920775" y="32652"/>
                      </a:lnTo>
                      <a:lnTo>
                        <a:pt x="924794" y="35287"/>
                      </a:lnTo>
                      <a:lnTo>
                        <a:pt x="927660" y="37643"/>
                      </a:lnTo>
                      <a:lnTo>
                        <a:pt x="930987" y="43241"/>
                      </a:lnTo>
                      <a:lnTo>
                        <a:pt x="932881" y="45621"/>
                      </a:lnTo>
                      <a:lnTo>
                        <a:pt x="935407" y="48122"/>
                      </a:lnTo>
                      <a:lnTo>
                        <a:pt x="939147" y="50855"/>
                      </a:lnTo>
                      <a:lnTo>
                        <a:pt x="942413" y="52203"/>
                      </a:lnTo>
                      <a:lnTo>
                        <a:pt x="945801" y="52834"/>
                      </a:lnTo>
                      <a:lnTo>
                        <a:pt x="949092" y="52688"/>
                      </a:lnTo>
                      <a:lnTo>
                        <a:pt x="951849" y="52227"/>
                      </a:lnTo>
                      <a:lnTo>
                        <a:pt x="958976" y="49871"/>
                      </a:lnTo>
                      <a:lnTo>
                        <a:pt x="961781" y="49531"/>
                      </a:lnTo>
                      <a:lnTo>
                        <a:pt x="963712" y="49956"/>
                      </a:lnTo>
                      <a:lnTo>
                        <a:pt x="965400" y="50709"/>
                      </a:lnTo>
                      <a:lnTo>
                        <a:pt x="983408" y="62135"/>
                      </a:lnTo>
                      <a:lnTo>
                        <a:pt x="991762" y="69591"/>
                      </a:lnTo>
                      <a:lnTo>
                        <a:pt x="999279" y="72918"/>
                      </a:lnTo>
                      <a:lnTo>
                        <a:pt x="1002642" y="78698"/>
                      </a:lnTo>
                      <a:lnTo>
                        <a:pt x="1004658" y="79718"/>
                      </a:lnTo>
                      <a:lnTo>
                        <a:pt x="1007754" y="80787"/>
                      </a:lnTo>
                      <a:lnTo>
                        <a:pt x="1010985" y="81540"/>
                      </a:lnTo>
                      <a:lnTo>
                        <a:pt x="1014263" y="82827"/>
                      </a:lnTo>
                      <a:lnTo>
                        <a:pt x="1017080" y="85304"/>
                      </a:lnTo>
                      <a:lnTo>
                        <a:pt x="1026892" y="91874"/>
                      </a:lnTo>
                      <a:lnTo>
                        <a:pt x="1029600" y="92359"/>
                      </a:lnTo>
                      <a:lnTo>
                        <a:pt x="1032077" y="92129"/>
                      </a:lnTo>
                      <a:lnTo>
                        <a:pt x="1034882" y="92274"/>
                      </a:lnTo>
                      <a:lnTo>
                        <a:pt x="1037918" y="92906"/>
                      </a:lnTo>
                      <a:lnTo>
                        <a:pt x="1047511" y="96864"/>
                      </a:lnTo>
                      <a:lnTo>
                        <a:pt x="1052671" y="100191"/>
                      </a:lnTo>
                      <a:lnTo>
                        <a:pt x="1055671" y="102741"/>
                      </a:lnTo>
                      <a:lnTo>
                        <a:pt x="1057322" y="104927"/>
                      </a:lnTo>
                      <a:lnTo>
                        <a:pt x="1057917" y="106020"/>
                      </a:lnTo>
                      <a:lnTo>
                        <a:pt x="1058245" y="106943"/>
                      </a:lnTo>
                      <a:lnTo>
                        <a:pt x="1058949" y="110792"/>
                      </a:lnTo>
                      <a:lnTo>
                        <a:pt x="1059131" y="113075"/>
                      </a:lnTo>
                      <a:lnTo>
                        <a:pt x="1059131" y="114884"/>
                      </a:lnTo>
                      <a:lnTo>
                        <a:pt x="1058949" y="115832"/>
                      </a:lnTo>
                      <a:lnTo>
                        <a:pt x="1056885" y="121247"/>
                      </a:lnTo>
                      <a:lnTo>
                        <a:pt x="1057261" y="124247"/>
                      </a:lnTo>
                      <a:lnTo>
                        <a:pt x="1059010" y="128217"/>
                      </a:lnTo>
                      <a:lnTo>
                        <a:pt x="1063928" y="133913"/>
                      </a:lnTo>
                      <a:lnTo>
                        <a:pt x="1067036" y="135054"/>
                      </a:lnTo>
                      <a:lnTo>
                        <a:pt x="1069174" y="134082"/>
                      </a:lnTo>
                      <a:lnTo>
                        <a:pt x="1069951" y="131933"/>
                      </a:lnTo>
                      <a:lnTo>
                        <a:pt x="1070995" y="130063"/>
                      </a:lnTo>
                      <a:lnTo>
                        <a:pt x="1072319" y="129031"/>
                      </a:lnTo>
                      <a:lnTo>
                        <a:pt x="1074031" y="128278"/>
                      </a:lnTo>
                      <a:lnTo>
                        <a:pt x="1075719" y="127185"/>
                      </a:lnTo>
                      <a:lnTo>
                        <a:pt x="1076969" y="125412"/>
                      </a:lnTo>
                      <a:lnTo>
                        <a:pt x="1078014" y="123348"/>
                      </a:lnTo>
                      <a:lnTo>
                        <a:pt x="1079228" y="121454"/>
                      </a:lnTo>
                      <a:lnTo>
                        <a:pt x="1080721" y="120361"/>
                      </a:lnTo>
                      <a:lnTo>
                        <a:pt x="1083709" y="120300"/>
                      </a:lnTo>
                      <a:lnTo>
                        <a:pt x="1087194" y="121308"/>
                      </a:lnTo>
                      <a:lnTo>
                        <a:pt x="1093799" y="124441"/>
                      </a:lnTo>
                      <a:lnTo>
                        <a:pt x="1096859" y="127331"/>
                      </a:lnTo>
                      <a:lnTo>
                        <a:pt x="1098353" y="130743"/>
                      </a:lnTo>
                      <a:lnTo>
                        <a:pt x="1099251" y="138442"/>
                      </a:lnTo>
                      <a:lnTo>
                        <a:pt x="1100344" y="142667"/>
                      </a:lnTo>
                      <a:lnTo>
                        <a:pt x="1101510" y="145715"/>
                      </a:lnTo>
                      <a:lnTo>
                        <a:pt x="1103004" y="148751"/>
                      </a:lnTo>
                      <a:lnTo>
                        <a:pt x="1105335" y="150827"/>
                      </a:lnTo>
                      <a:lnTo>
                        <a:pt x="1109658" y="152406"/>
                      </a:lnTo>
                      <a:lnTo>
                        <a:pt x="1134685" y="157883"/>
                      </a:lnTo>
                      <a:lnTo>
                        <a:pt x="1137672" y="160129"/>
                      </a:lnTo>
                      <a:lnTo>
                        <a:pt x="1138995" y="162715"/>
                      </a:lnTo>
                      <a:lnTo>
                        <a:pt x="1138935" y="165702"/>
                      </a:lnTo>
                      <a:lnTo>
                        <a:pt x="1138231" y="171240"/>
                      </a:lnTo>
                      <a:lnTo>
                        <a:pt x="1138303" y="174106"/>
                      </a:lnTo>
                      <a:lnTo>
                        <a:pt x="1138874" y="176923"/>
                      </a:lnTo>
                      <a:lnTo>
                        <a:pt x="1139918" y="179594"/>
                      </a:lnTo>
                      <a:lnTo>
                        <a:pt x="1145868" y="188543"/>
                      </a:lnTo>
                      <a:lnTo>
                        <a:pt x="1147617" y="191798"/>
                      </a:lnTo>
                      <a:lnTo>
                        <a:pt x="1146002" y="192223"/>
                      </a:lnTo>
                      <a:lnTo>
                        <a:pt x="1134005" y="197068"/>
                      </a:lnTo>
                      <a:lnTo>
                        <a:pt x="1122165" y="201840"/>
                      </a:lnTo>
                      <a:lnTo>
                        <a:pt x="1113095" y="203577"/>
                      </a:lnTo>
                      <a:lnTo>
                        <a:pt x="1106088" y="201925"/>
                      </a:lnTo>
                      <a:lnTo>
                        <a:pt x="1104206" y="202994"/>
                      </a:lnTo>
                      <a:lnTo>
                        <a:pt x="1102190" y="203394"/>
                      </a:lnTo>
                      <a:lnTo>
                        <a:pt x="1097697" y="203394"/>
                      </a:lnTo>
                      <a:lnTo>
                        <a:pt x="1095754" y="203880"/>
                      </a:lnTo>
                      <a:lnTo>
                        <a:pt x="1079289" y="212550"/>
                      </a:lnTo>
                      <a:lnTo>
                        <a:pt x="1070036" y="219010"/>
                      </a:lnTo>
                      <a:lnTo>
                        <a:pt x="1042641" y="247983"/>
                      </a:lnTo>
                      <a:lnTo>
                        <a:pt x="1033121" y="261960"/>
                      </a:lnTo>
                      <a:lnTo>
                        <a:pt x="1027547" y="277915"/>
                      </a:lnTo>
                      <a:lnTo>
                        <a:pt x="1028810" y="296033"/>
                      </a:lnTo>
                      <a:lnTo>
                        <a:pt x="1049077" y="341714"/>
                      </a:lnTo>
                      <a:lnTo>
                        <a:pt x="1051603" y="350154"/>
                      </a:lnTo>
                      <a:lnTo>
                        <a:pt x="1049417" y="355120"/>
                      </a:lnTo>
                      <a:lnTo>
                        <a:pt x="1046090" y="353772"/>
                      </a:lnTo>
                      <a:lnTo>
                        <a:pt x="1042410" y="353651"/>
                      </a:lnTo>
                      <a:lnTo>
                        <a:pt x="1035295" y="355120"/>
                      </a:lnTo>
                      <a:lnTo>
                        <a:pt x="1037298" y="358277"/>
                      </a:lnTo>
                      <a:lnTo>
                        <a:pt x="1041318" y="359856"/>
                      </a:lnTo>
                      <a:lnTo>
                        <a:pt x="1050048" y="360463"/>
                      </a:lnTo>
                      <a:lnTo>
                        <a:pt x="1054286" y="360026"/>
                      </a:lnTo>
                      <a:lnTo>
                        <a:pt x="1055561" y="360755"/>
                      </a:lnTo>
                      <a:lnTo>
                        <a:pt x="1057115" y="363280"/>
                      </a:lnTo>
                      <a:lnTo>
                        <a:pt x="1058026" y="365381"/>
                      </a:lnTo>
                      <a:lnTo>
                        <a:pt x="1058378" y="367190"/>
                      </a:lnTo>
                      <a:lnTo>
                        <a:pt x="1057784" y="368732"/>
                      </a:lnTo>
                      <a:lnTo>
                        <a:pt x="1055901" y="370056"/>
                      </a:lnTo>
                      <a:lnTo>
                        <a:pt x="1053497" y="368805"/>
                      </a:lnTo>
                      <a:lnTo>
                        <a:pt x="1050789" y="368380"/>
                      </a:lnTo>
                      <a:lnTo>
                        <a:pt x="1048324" y="369133"/>
                      </a:lnTo>
                      <a:lnTo>
                        <a:pt x="1046831" y="371295"/>
                      </a:lnTo>
                      <a:lnTo>
                        <a:pt x="1049016" y="371501"/>
                      </a:lnTo>
                      <a:lnTo>
                        <a:pt x="1050789" y="371865"/>
                      </a:lnTo>
                      <a:lnTo>
                        <a:pt x="1052149" y="372643"/>
                      </a:lnTo>
                      <a:lnTo>
                        <a:pt x="1053193" y="373954"/>
                      </a:lnTo>
                      <a:lnTo>
                        <a:pt x="1054639" y="373747"/>
                      </a:lnTo>
                      <a:lnTo>
                        <a:pt x="1055501" y="373954"/>
                      </a:lnTo>
                      <a:lnTo>
                        <a:pt x="1056229" y="374816"/>
                      </a:lnTo>
                      <a:lnTo>
                        <a:pt x="1057104" y="376613"/>
                      </a:lnTo>
                      <a:lnTo>
                        <a:pt x="1061694" y="374719"/>
                      </a:lnTo>
                      <a:lnTo>
                        <a:pt x="1064328" y="372801"/>
                      </a:lnTo>
                      <a:lnTo>
                        <a:pt x="1066174" y="371283"/>
                      </a:lnTo>
                      <a:lnTo>
                        <a:pt x="1063187" y="374877"/>
                      </a:lnTo>
                      <a:lnTo>
                        <a:pt x="1058706" y="379285"/>
                      </a:lnTo>
                      <a:lnTo>
                        <a:pt x="1053594" y="383049"/>
                      </a:lnTo>
                      <a:lnTo>
                        <a:pt x="1043661" y="386218"/>
                      </a:lnTo>
                      <a:lnTo>
                        <a:pt x="1015708" y="407699"/>
                      </a:lnTo>
                      <a:lnTo>
                        <a:pt x="1011446" y="412131"/>
                      </a:lnTo>
                      <a:lnTo>
                        <a:pt x="1008119" y="417401"/>
                      </a:lnTo>
                      <a:lnTo>
                        <a:pt x="1006394" y="423315"/>
                      </a:lnTo>
                      <a:lnTo>
                        <a:pt x="1005593" y="435713"/>
                      </a:lnTo>
                      <a:lnTo>
                        <a:pt x="1009661" y="433552"/>
                      </a:lnTo>
                      <a:lnTo>
                        <a:pt x="1012381" y="430771"/>
                      </a:lnTo>
                      <a:lnTo>
                        <a:pt x="1014834" y="429435"/>
                      </a:lnTo>
                      <a:lnTo>
                        <a:pt x="1018392" y="431499"/>
                      </a:lnTo>
                      <a:lnTo>
                        <a:pt x="1018331" y="429034"/>
                      </a:lnTo>
                      <a:lnTo>
                        <a:pt x="1018635" y="426715"/>
                      </a:lnTo>
                      <a:lnTo>
                        <a:pt x="1019825" y="422295"/>
                      </a:lnTo>
                      <a:lnTo>
                        <a:pt x="1022351" y="426618"/>
                      </a:lnTo>
                      <a:lnTo>
                        <a:pt x="1019448" y="433831"/>
                      </a:lnTo>
                      <a:lnTo>
                        <a:pt x="1014615" y="440643"/>
                      </a:lnTo>
                      <a:lnTo>
                        <a:pt x="1011458" y="443630"/>
                      </a:lnTo>
                      <a:lnTo>
                        <a:pt x="1009163" y="444395"/>
                      </a:lnTo>
                      <a:lnTo>
                        <a:pt x="1005496" y="446168"/>
                      </a:lnTo>
                      <a:lnTo>
                        <a:pt x="1002096" y="448390"/>
                      </a:lnTo>
                      <a:lnTo>
                        <a:pt x="1000602" y="450309"/>
                      </a:lnTo>
                      <a:lnTo>
                        <a:pt x="1002096" y="452106"/>
                      </a:lnTo>
                      <a:lnTo>
                        <a:pt x="1005496" y="450734"/>
                      </a:lnTo>
                      <a:lnTo>
                        <a:pt x="1012041" y="446289"/>
                      </a:lnTo>
                      <a:lnTo>
                        <a:pt x="1005095" y="451644"/>
                      </a:lnTo>
                      <a:lnTo>
                        <a:pt x="988326" y="461760"/>
                      </a:lnTo>
                      <a:lnTo>
                        <a:pt x="979996" y="465087"/>
                      </a:lnTo>
                      <a:lnTo>
                        <a:pt x="970682" y="467430"/>
                      </a:lnTo>
                      <a:lnTo>
                        <a:pt x="966432" y="469130"/>
                      </a:lnTo>
                      <a:lnTo>
                        <a:pt x="963336" y="471741"/>
                      </a:lnTo>
                      <a:lnTo>
                        <a:pt x="962474" y="473696"/>
                      </a:lnTo>
                      <a:lnTo>
                        <a:pt x="960288" y="482427"/>
                      </a:lnTo>
                      <a:lnTo>
                        <a:pt x="958333" y="486337"/>
                      </a:lnTo>
                      <a:lnTo>
                        <a:pt x="958090" y="489191"/>
                      </a:lnTo>
                      <a:lnTo>
                        <a:pt x="948339" y="500568"/>
                      </a:lnTo>
                      <a:lnTo>
                        <a:pt x="943907" y="503726"/>
                      </a:lnTo>
                      <a:lnTo>
                        <a:pt x="944879" y="505741"/>
                      </a:lnTo>
                      <a:lnTo>
                        <a:pt x="946263" y="507150"/>
                      </a:lnTo>
                      <a:lnTo>
                        <a:pt x="948157" y="507903"/>
                      </a:lnTo>
                      <a:lnTo>
                        <a:pt x="950403" y="507842"/>
                      </a:lnTo>
                      <a:lnTo>
                        <a:pt x="945000" y="511035"/>
                      </a:lnTo>
                      <a:lnTo>
                        <a:pt x="935808" y="505948"/>
                      </a:lnTo>
                      <a:lnTo>
                        <a:pt x="922147" y="494521"/>
                      </a:lnTo>
                      <a:lnTo>
                        <a:pt x="913890" y="495007"/>
                      </a:lnTo>
                      <a:lnTo>
                        <a:pt x="909688" y="494679"/>
                      </a:lnTo>
                      <a:lnTo>
                        <a:pt x="907915" y="492493"/>
                      </a:lnTo>
                      <a:lnTo>
                        <a:pt x="907223" y="491995"/>
                      </a:lnTo>
                      <a:lnTo>
                        <a:pt x="902900" y="487745"/>
                      </a:lnTo>
                      <a:lnTo>
                        <a:pt x="902063" y="485596"/>
                      </a:lnTo>
                      <a:lnTo>
                        <a:pt x="901091" y="481358"/>
                      </a:lnTo>
                      <a:lnTo>
                        <a:pt x="900229" y="479731"/>
                      </a:lnTo>
                      <a:lnTo>
                        <a:pt x="899075" y="479731"/>
                      </a:lnTo>
                      <a:lnTo>
                        <a:pt x="897703" y="483860"/>
                      </a:lnTo>
                      <a:lnTo>
                        <a:pt x="899415" y="490125"/>
                      </a:lnTo>
                      <a:lnTo>
                        <a:pt x="900229" y="491850"/>
                      </a:lnTo>
                      <a:lnTo>
                        <a:pt x="901941" y="493465"/>
                      </a:lnTo>
                      <a:lnTo>
                        <a:pt x="905693" y="495262"/>
                      </a:lnTo>
                      <a:lnTo>
                        <a:pt x="910550" y="499403"/>
                      </a:lnTo>
                      <a:lnTo>
                        <a:pt x="913659" y="500775"/>
                      </a:lnTo>
                      <a:lnTo>
                        <a:pt x="920848" y="502536"/>
                      </a:lnTo>
                      <a:lnTo>
                        <a:pt x="921746" y="502560"/>
                      </a:lnTo>
                      <a:lnTo>
                        <a:pt x="923896" y="502305"/>
                      </a:lnTo>
                      <a:lnTo>
                        <a:pt x="924673" y="502548"/>
                      </a:lnTo>
                      <a:lnTo>
                        <a:pt x="925486" y="503519"/>
                      </a:lnTo>
                      <a:lnTo>
                        <a:pt x="925668" y="504648"/>
                      </a:lnTo>
                      <a:lnTo>
                        <a:pt x="925668" y="505681"/>
                      </a:lnTo>
                      <a:lnTo>
                        <a:pt x="926008" y="506433"/>
                      </a:lnTo>
                      <a:lnTo>
                        <a:pt x="927307" y="507891"/>
                      </a:lnTo>
                      <a:lnTo>
                        <a:pt x="928291" y="509239"/>
                      </a:lnTo>
                      <a:lnTo>
                        <a:pt x="929554" y="510246"/>
                      </a:lnTo>
                      <a:lnTo>
                        <a:pt x="931728" y="510635"/>
                      </a:lnTo>
                      <a:lnTo>
                        <a:pt x="934545" y="511618"/>
                      </a:lnTo>
                      <a:lnTo>
                        <a:pt x="937301" y="513452"/>
                      </a:lnTo>
                      <a:lnTo>
                        <a:pt x="940337" y="514521"/>
                      </a:lnTo>
                      <a:lnTo>
                        <a:pt x="920835" y="525170"/>
                      </a:lnTo>
                      <a:lnTo>
                        <a:pt x="891437" y="535856"/>
                      </a:lnTo>
                      <a:lnTo>
                        <a:pt x="887175" y="538090"/>
                      </a:lnTo>
                      <a:lnTo>
                        <a:pt x="885171" y="538211"/>
                      </a:lnTo>
                      <a:lnTo>
                        <a:pt x="882986" y="536572"/>
                      </a:lnTo>
                      <a:lnTo>
                        <a:pt x="881091" y="535613"/>
                      </a:lnTo>
                      <a:lnTo>
                        <a:pt x="879185" y="536451"/>
                      </a:lnTo>
                      <a:lnTo>
                        <a:pt x="877582" y="537859"/>
                      </a:lnTo>
                      <a:lnTo>
                        <a:pt x="876501" y="538612"/>
                      </a:lnTo>
                      <a:lnTo>
                        <a:pt x="872992" y="539098"/>
                      </a:lnTo>
                      <a:lnTo>
                        <a:pt x="849629" y="546129"/>
                      </a:lnTo>
                      <a:lnTo>
                        <a:pt x="841639" y="547501"/>
                      </a:lnTo>
                      <a:lnTo>
                        <a:pt x="834572" y="551897"/>
                      </a:lnTo>
                      <a:lnTo>
                        <a:pt x="830844" y="553390"/>
                      </a:lnTo>
                      <a:lnTo>
                        <a:pt x="828841" y="553584"/>
                      </a:lnTo>
                      <a:lnTo>
                        <a:pt x="822514" y="553390"/>
                      </a:lnTo>
                      <a:lnTo>
                        <a:pt x="820692" y="553779"/>
                      </a:lnTo>
                      <a:lnTo>
                        <a:pt x="817001" y="555625"/>
                      </a:lnTo>
                      <a:lnTo>
                        <a:pt x="811318" y="556887"/>
                      </a:lnTo>
                      <a:lnTo>
                        <a:pt x="800013" y="562570"/>
                      </a:lnTo>
                      <a:lnTo>
                        <a:pt x="800280" y="561745"/>
                      </a:lnTo>
                      <a:lnTo>
                        <a:pt x="802187" y="560992"/>
                      </a:lnTo>
                      <a:lnTo>
                        <a:pt x="802587" y="560020"/>
                      </a:lnTo>
                      <a:lnTo>
                        <a:pt x="798107" y="560749"/>
                      </a:lnTo>
                      <a:lnTo>
                        <a:pt x="785939" y="568034"/>
                      </a:lnTo>
                      <a:lnTo>
                        <a:pt x="773019" y="572758"/>
                      </a:lnTo>
                      <a:lnTo>
                        <a:pt x="768600" y="573365"/>
                      </a:lnTo>
                      <a:lnTo>
                        <a:pt x="767288" y="572697"/>
                      </a:lnTo>
                      <a:lnTo>
                        <a:pt x="766875" y="571143"/>
                      </a:lnTo>
                      <a:lnTo>
                        <a:pt x="766705" y="568034"/>
                      </a:lnTo>
                      <a:lnTo>
                        <a:pt x="766013" y="567670"/>
                      </a:lnTo>
                      <a:lnTo>
                        <a:pt x="764859" y="567901"/>
                      </a:lnTo>
                      <a:lnTo>
                        <a:pt x="763657" y="567816"/>
                      </a:lnTo>
                      <a:lnTo>
                        <a:pt x="762844" y="566699"/>
                      </a:lnTo>
                      <a:lnTo>
                        <a:pt x="763026" y="565412"/>
                      </a:lnTo>
                      <a:lnTo>
                        <a:pt x="763888" y="565266"/>
                      </a:lnTo>
                      <a:lnTo>
                        <a:pt x="764859" y="565290"/>
                      </a:lnTo>
                      <a:lnTo>
                        <a:pt x="765308" y="564659"/>
                      </a:lnTo>
                      <a:lnTo>
                        <a:pt x="767446" y="563019"/>
                      </a:lnTo>
                      <a:lnTo>
                        <a:pt x="772509" y="561550"/>
                      </a:lnTo>
                      <a:lnTo>
                        <a:pt x="780840" y="558600"/>
                      </a:lnTo>
                      <a:lnTo>
                        <a:pt x="781459" y="559571"/>
                      </a:lnTo>
                      <a:lnTo>
                        <a:pt x="781131" y="560615"/>
                      </a:lnTo>
                      <a:lnTo>
                        <a:pt x="780269" y="561987"/>
                      </a:lnTo>
                      <a:lnTo>
                        <a:pt x="779516" y="564027"/>
                      </a:lnTo>
                      <a:lnTo>
                        <a:pt x="787737" y="558757"/>
                      </a:lnTo>
                      <a:lnTo>
                        <a:pt x="791076" y="557264"/>
                      </a:lnTo>
                      <a:lnTo>
                        <a:pt x="789400" y="556292"/>
                      </a:lnTo>
                      <a:lnTo>
                        <a:pt x="788587" y="555114"/>
                      </a:lnTo>
                      <a:lnTo>
                        <a:pt x="788720" y="553645"/>
                      </a:lnTo>
                      <a:lnTo>
                        <a:pt x="789935" y="551921"/>
                      </a:lnTo>
                      <a:lnTo>
                        <a:pt x="789291" y="548339"/>
                      </a:lnTo>
                      <a:lnTo>
                        <a:pt x="789935" y="531934"/>
                      </a:lnTo>
                      <a:lnTo>
                        <a:pt x="787469" y="530756"/>
                      </a:lnTo>
                      <a:lnTo>
                        <a:pt x="779528" y="529262"/>
                      </a:lnTo>
                      <a:lnTo>
                        <a:pt x="772364" y="526992"/>
                      </a:lnTo>
                      <a:lnTo>
                        <a:pt x="769887" y="526615"/>
                      </a:lnTo>
                      <a:lnTo>
                        <a:pt x="765479" y="527902"/>
                      </a:lnTo>
                      <a:lnTo>
                        <a:pt x="761059" y="531120"/>
                      </a:lnTo>
                      <a:lnTo>
                        <a:pt x="753190" y="539304"/>
                      </a:lnTo>
                      <a:lnTo>
                        <a:pt x="742917" y="547926"/>
                      </a:lnTo>
                      <a:lnTo>
                        <a:pt x="739991" y="548120"/>
                      </a:lnTo>
                      <a:lnTo>
                        <a:pt x="737404" y="548642"/>
                      </a:lnTo>
                      <a:lnTo>
                        <a:pt x="735109" y="549504"/>
                      </a:lnTo>
                      <a:lnTo>
                        <a:pt x="733215" y="550597"/>
                      </a:lnTo>
                      <a:lnTo>
                        <a:pt x="729256" y="553985"/>
                      </a:lnTo>
                      <a:lnTo>
                        <a:pt x="724435" y="559146"/>
                      </a:lnTo>
                      <a:lnTo>
                        <a:pt x="721121" y="564780"/>
                      </a:lnTo>
                      <a:lnTo>
                        <a:pt x="721691" y="569346"/>
                      </a:lnTo>
                      <a:lnTo>
                        <a:pt x="718595" y="571848"/>
                      </a:lnTo>
                      <a:lnTo>
                        <a:pt x="715814" y="578478"/>
                      </a:lnTo>
                      <a:lnTo>
                        <a:pt x="714005" y="580627"/>
                      </a:lnTo>
                      <a:lnTo>
                        <a:pt x="711127" y="583043"/>
                      </a:lnTo>
                      <a:lnTo>
                        <a:pt x="709281" y="586334"/>
                      </a:lnTo>
                      <a:lnTo>
                        <a:pt x="709123" y="589613"/>
                      </a:lnTo>
                      <a:lnTo>
                        <a:pt x="711357" y="591944"/>
                      </a:lnTo>
                      <a:lnTo>
                        <a:pt x="711357" y="593401"/>
                      </a:lnTo>
                      <a:lnTo>
                        <a:pt x="709075" y="594033"/>
                      </a:lnTo>
                      <a:lnTo>
                        <a:pt x="706027" y="595587"/>
                      </a:lnTo>
                      <a:lnTo>
                        <a:pt x="703452" y="597566"/>
                      </a:lnTo>
                      <a:lnTo>
                        <a:pt x="702287" y="599351"/>
                      </a:lnTo>
                      <a:lnTo>
                        <a:pt x="702578" y="602241"/>
                      </a:lnTo>
                      <a:lnTo>
                        <a:pt x="703380" y="603820"/>
                      </a:lnTo>
                      <a:lnTo>
                        <a:pt x="704630" y="603674"/>
                      </a:lnTo>
                      <a:lnTo>
                        <a:pt x="706245" y="601367"/>
                      </a:lnTo>
                      <a:lnTo>
                        <a:pt x="707107" y="603273"/>
                      </a:lnTo>
                      <a:lnTo>
                        <a:pt x="707399" y="605399"/>
                      </a:lnTo>
                      <a:lnTo>
                        <a:pt x="707107" y="607463"/>
                      </a:lnTo>
                      <a:lnTo>
                        <a:pt x="706245" y="609357"/>
                      </a:lnTo>
                      <a:lnTo>
                        <a:pt x="708443" y="608726"/>
                      </a:lnTo>
                      <a:lnTo>
                        <a:pt x="709597" y="607621"/>
                      </a:lnTo>
                      <a:lnTo>
                        <a:pt x="710350" y="606394"/>
                      </a:lnTo>
                      <a:lnTo>
                        <a:pt x="711370" y="605350"/>
                      </a:lnTo>
                      <a:lnTo>
                        <a:pt x="713446" y="604439"/>
                      </a:lnTo>
                      <a:lnTo>
                        <a:pt x="715110" y="604257"/>
                      </a:lnTo>
                      <a:lnTo>
                        <a:pt x="716494" y="604294"/>
                      </a:lnTo>
                      <a:lnTo>
                        <a:pt x="717793" y="604014"/>
                      </a:lnTo>
                      <a:lnTo>
                        <a:pt x="721023" y="601792"/>
                      </a:lnTo>
                      <a:lnTo>
                        <a:pt x="720841" y="599837"/>
                      </a:lnTo>
                      <a:lnTo>
                        <a:pt x="719809" y="597627"/>
                      </a:lnTo>
                      <a:lnTo>
                        <a:pt x="720380" y="594591"/>
                      </a:lnTo>
                      <a:lnTo>
                        <a:pt x="721703" y="595769"/>
                      </a:lnTo>
                      <a:lnTo>
                        <a:pt x="723258" y="595915"/>
                      </a:lnTo>
                      <a:lnTo>
                        <a:pt x="724909" y="595393"/>
                      </a:lnTo>
                      <a:lnTo>
                        <a:pt x="726767" y="594603"/>
                      </a:lnTo>
                      <a:lnTo>
                        <a:pt x="721193" y="591410"/>
                      </a:lnTo>
                      <a:lnTo>
                        <a:pt x="719178" y="590718"/>
                      </a:lnTo>
                      <a:lnTo>
                        <a:pt x="719178" y="589394"/>
                      </a:lnTo>
                      <a:lnTo>
                        <a:pt x="722906" y="589333"/>
                      </a:lnTo>
                      <a:lnTo>
                        <a:pt x="724909" y="587560"/>
                      </a:lnTo>
                      <a:lnTo>
                        <a:pt x="726658" y="585351"/>
                      </a:lnTo>
                      <a:lnTo>
                        <a:pt x="729414" y="583942"/>
                      </a:lnTo>
                      <a:lnTo>
                        <a:pt x="729414" y="582728"/>
                      </a:lnTo>
                      <a:lnTo>
                        <a:pt x="728382" y="582339"/>
                      </a:lnTo>
                      <a:lnTo>
                        <a:pt x="727520" y="581647"/>
                      </a:lnTo>
                      <a:lnTo>
                        <a:pt x="726937" y="580639"/>
                      </a:lnTo>
                      <a:lnTo>
                        <a:pt x="726779" y="579315"/>
                      </a:lnTo>
                      <a:lnTo>
                        <a:pt x="727350" y="578769"/>
                      </a:lnTo>
                      <a:lnTo>
                        <a:pt x="729463" y="575296"/>
                      </a:lnTo>
                      <a:lnTo>
                        <a:pt x="729414" y="574640"/>
                      </a:lnTo>
                      <a:lnTo>
                        <a:pt x="731940" y="574725"/>
                      </a:lnTo>
                      <a:lnTo>
                        <a:pt x="740962" y="577433"/>
                      </a:lnTo>
                      <a:lnTo>
                        <a:pt x="748758" y="570548"/>
                      </a:lnTo>
                      <a:lnTo>
                        <a:pt x="751223" y="570451"/>
                      </a:lnTo>
                      <a:lnTo>
                        <a:pt x="753239" y="571119"/>
                      </a:lnTo>
                      <a:lnTo>
                        <a:pt x="754841" y="570840"/>
                      </a:lnTo>
                      <a:lnTo>
                        <a:pt x="756408" y="568023"/>
                      </a:lnTo>
                      <a:lnTo>
                        <a:pt x="757889" y="570245"/>
                      </a:lnTo>
                      <a:lnTo>
                        <a:pt x="758642" y="571799"/>
                      </a:lnTo>
                      <a:lnTo>
                        <a:pt x="758982" y="573596"/>
                      </a:lnTo>
                      <a:lnTo>
                        <a:pt x="759043" y="576729"/>
                      </a:lnTo>
                      <a:lnTo>
                        <a:pt x="758460" y="577093"/>
                      </a:lnTo>
                      <a:lnTo>
                        <a:pt x="755886" y="578223"/>
                      </a:lnTo>
                      <a:lnTo>
                        <a:pt x="755133" y="578648"/>
                      </a:lnTo>
                      <a:lnTo>
                        <a:pt x="754672" y="579619"/>
                      </a:lnTo>
                      <a:lnTo>
                        <a:pt x="754319" y="581841"/>
                      </a:lnTo>
                      <a:lnTo>
                        <a:pt x="753870" y="582752"/>
                      </a:lnTo>
                      <a:lnTo>
                        <a:pt x="752097" y="584112"/>
                      </a:lnTo>
                      <a:lnTo>
                        <a:pt x="749110" y="585775"/>
                      </a:lnTo>
                      <a:lnTo>
                        <a:pt x="746171" y="586431"/>
                      </a:lnTo>
                      <a:lnTo>
                        <a:pt x="744921" y="584707"/>
                      </a:lnTo>
                      <a:lnTo>
                        <a:pt x="744204" y="581999"/>
                      </a:lnTo>
                      <a:lnTo>
                        <a:pt x="742723" y="581853"/>
                      </a:lnTo>
                      <a:lnTo>
                        <a:pt x="741351" y="583614"/>
                      </a:lnTo>
                      <a:lnTo>
                        <a:pt x="740962" y="586625"/>
                      </a:lnTo>
                      <a:lnTo>
                        <a:pt x="739918" y="586176"/>
                      </a:lnTo>
                      <a:lnTo>
                        <a:pt x="738072" y="585775"/>
                      </a:lnTo>
                      <a:lnTo>
                        <a:pt x="737100" y="585435"/>
                      </a:lnTo>
                      <a:lnTo>
                        <a:pt x="739760" y="588277"/>
                      </a:lnTo>
                      <a:lnTo>
                        <a:pt x="740391" y="589540"/>
                      </a:lnTo>
                      <a:lnTo>
                        <a:pt x="739809" y="590754"/>
                      </a:lnTo>
                      <a:lnTo>
                        <a:pt x="745042" y="590293"/>
                      </a:lnTo>
                      <a:lnTo>
                        <a:pt x="791161" y="568034"/>
                      </a:lnTo>
                      <a:lnTo>
                        <a:pt x="784373" y="572114"/>
                      </a:lnTo>
                      <a:lnTo>
                        <a:pt x="769911" y="579631"/>
                      </a:lnTo>
                      <a:lnTo>
                        <a:pt x="754344" y="586905"/>
                      </a:lnTo>
                      <a:lnTo>
                        <a:pt x="746184" y="590523"/>
                      </a:lnTo>
                      <a:lnTo>
                        <a:pt x="736542" y="598113"/>
                      </a:lnTo>
                      <a:lnTo>
                        <a:pt x="728176" y="601671"/>
                      </a:lnTo>
                      <a:lnTo>
                        <a:pt x="716846" y="610013"/>
                      </a:lnTo>
                      <a:lnTo>
                        <a:pt x="696058" y="630061"/>
                      </a:lnTo>
                      <a:lnTo>
                        <a:pt x="682227" y="639556"/>
                      </a:lnTo>
                      <a:lnTo>
                        <a:pt x="659021" y="659689"/>
                      </a:lnTo>
                      <a:lnTo>
                        <a:pt x="643806" y="678985"/>
                      </a:lnTo>
                      <a:lnTo>
                        <a:pt x="641341" y="679823"/>
                      </a:lnTo>
                      <a:lnTo>
                        <a:pt x="640649" y="675220"/>
                      </a:lnTo>
                      <a:lnTo>
                        <a:pt x="640018" y="673872"/>
                      </a:lnTo>
                      <a:lnTo>
                        <a:pt x="638585" y="672039"/>
                      </a:lnTo>
                      <a:lnTo>
                        <a:pt x="636970" y="671395"/>
                      </a:lnTo>
                      <a:lnTo>
                        <a:pt x="634954" y="671067"/>
                      </a:lnTo>
                      <a:lnTo>
                        <a:pt x="628300" y="671007"/>
                      </a:lnTo>
                      <a:lnTo>
                        <a:pt x="625714" y="671213"/>
                      </a:lnTo>
                      <a:lnTo>
                        <a:pt x="624062" y="671820"/>
                      </a:lnTo>
                      <a:lnTo>
                        <a:pt x="623249" y="672646"/>
                      </a:lnTo>
                      <a:lnTo>
                        <a:pt x="623540" y="673848"/>
                      </a:lnTo>
                      <a:lnTo>
                        <a:pt x="624171" y="675087"/>
                      </a:lnTo>
                      <a:lnTo>
                        <a:pt x="624511" y="676277"/>
                      </a:lnTo>
                      <a:lnTo>
                        <a:pt x="624742" y="678049"/>
                      </a:lnTo>
                      <a:lnTo>
                        <a:pt x="624341" y="680685"/>
                      </a:lnTo>
                      <a:lnTo>
                        <a:pt x="623188" y="682907"/>
                      </a:lnTo>
                      <a:lnTo>
                        <a:pt x="621075" y="684947"/>
                      </a:lnTo>
                      <a:lnTo>
                        <a:pt x="619521" y="684898"/>
                      </a:lnTo>
                      <a:lnTo>
                        <a:pt x="618646" y="684255"/>
                      </a:lnTo>
                      <a:lnTo>
                        <a:pt x="617736" y="683332"/>
                      </a:lnTo>
                      <a:lnTo>
                        <a:pt x="615781" y="682907"/>
                      </a:lnTo>
                      <a:lnTo>
                        <a:pt x="601780" y="689573"/>
                      </a:lnTo>
                      <a:lnTo>
                        <a:pt x="599764" y="690945"/>
                      </a:lnTo>
                      <a:lnTo>
                        <a:pt x="593960" y="696057"/>
                      </a:lnTo>
                      <a:lnTo>
                        <a:pt x="591786" y="696665"/>
                      </a:lnTo>
                      <a:lnTo>
                        <a:pt x="589418" y="696580"/>
                      </a:lnTo>
                      <a:lnTo>
                        <a:pt x="587257" y="696143"/>
                      </a:lnTo>
                      <a:lnTo>
                        <a:pt x="584670" y="695973"/>
                      </a:lnTo>
                      <a:lnTo>
                        <a:pt x="583577" y="696482"/>
                      </a:lnTo>
                      <a:lnTo>
                        <a:pt x="583116" y="697430"/>
                      </a:lnTo>
                      <a:lnTo>
                        <a:pt x="583395" y="698814"/>
                      </a:lnTo>
                      <a:lnTo>
                        <a:pt x="584379" y="701085"/>
                      </a:lnTo>
                      <a:lnTo>
                        <a:pt x="584427" y="702238"/>
                      </a:lnTo>
                      <a:lnTo>
                        <a:pt x="584427" y="702384"/>
                      </a:lnTo>
                      <a:lnTo>
                        <a:pt x="582885" y="705019"/>
                      </a:lnTo>
                      <a:lnTo>
                        <a:pt x="582363" y="706428"/>
                      </a:lnTo>
                      <a:lnTo>
                        <a:pt x="582205" y="707678"/>
                      </a:lnTo>
                      <a:lnTo>
                        <a:pt x="582533" y="708638"/>
                      </a:lnTo>
                      <a:lnTo>
                        <a:pt x="583055" y="709415"/>
                      </a:lnTo>
                      <a:lnTo>
                        <a:pt x="583395" y="710301"/>
                      </a:lnTo>
                      <a:lnTo>
                        <a:pt x="583116" y="711479"/>
                      </a:lnTo>
                      <a:lnTo>
                        <a:pt x="582205" y="712888"/>
                      </a:lnTo>
                      <a:lnTo>
                        <a:pt x="575599" y="721035"/>
                      </a:lnTo>
                      <a:lnTo>
                        <a:pt x="573875" y="721594"/>
                      </a:lnTo>
                      <a:lnTo>
                        <a:pt x="572199" y="721534"/>
                      </a:lnTo>
                      <a:lnTo>
                        <a:pt x="570135" y="721157"/>
                      </a:lnTo>
                      <a:lnTo>
                        <a:pt x="568872" y="721703"/>
                      </a:lnTo>
                      <a:lnTo>
                        <a:pt x="567840" y="722942"/>
                      </a:lnTo>
                      <a:lnTo>
                        <a:pt x="566104" y="728309"/>
                      </a:lnTo>
                      <a:lnTo>
                        <a:pt x="564622" y="731721"/>
                      </a:lnTo>
                      <a:lnTo>
                        <a:pt x="561417" y="735911"/>
                      </a:lnTo>
                      <a:lnTo>
                        <a:pt x="558478" y="738133"/>
                      </a:lnTo>
                      <a:lnTo>
                        <a:pt x="555029" y="739529"/>
                      </a:lnTo>
                      <a:lnTo>
                        <a:pt x="543032" y="740282"/>
                      </a:lnTo>
                      <a:lnTo>
                        <a:pt x="529651" y="743646"/>
                      </a:lnTo>
                      <a:lnTo>
                        <a:pt x="525862" y="744192"/>
                      </a:lnTo>
                      <a:lnTo>
                        <a:pt x="524198" y="743694"/>
                      </a:lnTo>
                      <a:lnTo>
                        <a:pt x="521551" y="741715"/>
                      </a:lnTo>
                      <a:lnTo>
                        <a:pt x="519900" y="740974"/>
                      </a:lnTo>
                      <a:lnTo>
                        <a:pt x="514897" y="740792"/>
                      </a:lnTo>
                      <a:lnTo>
                        <a:pt x="512930" y="740124"/>
                      </a:lnTo>
                      <a:lnTo>
                        <a:pt x="511169" y="738691"/>
                      </a:lnTo>
                      <a:lnTo>
                        <a:pt x="508862" y="737841"/>
                      </a:lnTo>
                      <a:lnTo>
                        <a:pt x="505717" y="737756"/>
                      </a:lnTo>
                      <a:lnTo>
                        <a:pt x="495031" y="739967"/>
                      </a:lnTo>
                      <a:lnTo>
                        <a:pt x="486009" y="739687"/>
                      </a:lnTo>
                      <a:lnTo>
                        <a:pt x="477169" y="740233"/>
                      </a:lnTo>
                      <a:lnTo>
                        <a:pt x="476185" y="739711"/>
                      </a:lnTo>
                      <a:lnTo>
                        <a:pt x="474704" y="738449"/>
                      </a:lnTo>
                      <a:lnTo>
                        <a:pt x="473902" y="737987"/>
                      </a:lnTo>
                      <a:lnTo>
                        <a:pt x="473150" y="737344"/>
                      </a:lnTo>
                      <a:lnTo>
                        <a:pt x="472627" y="736518"/>
                      </a:lnTo>
                      <a:lnTo>
                        <a:pt x="471595" y="734575"/>
                      </a:lnTo>
                      <a:lnTo>
                        <a:pt x="470502" y="732899"/>
                      </a:lnTo>
                      <a:lnTo>
                        <a:pt x="469191" y="731442"/>
                      </a:lnTo>
                      <a:lnTo>
                        <a:pt x="468608" y="730616"/>
                      </a:lnTo>
                      <a:lnTo>
                        <a:pt x="468098" y="729669"/>
                      </a:lnTo>
                      <a:lnTo>
                        <a:pt x="467345" y="727483"/>
                      </a:lnTo>
                      <a:lnTo>
                        <a:pt x="465342" y="721545"/>
                      </a:lnTo>
                      <a:lnTo>
                        <a:pt x="463387" y="718983"/>
                      </a:lnTo>
                      <a:lnTo>
                        <a:pt x="462804" y="717927"/>
                      </a:lnTo>
                      <a:lnTo>
                        <a:pt x="461310" y="709852"/>
                      </a:lnTo>
                      <a:lnTo>
                        <a:pt x="458274" y="702481"/>
                      </a:lnTo>
                      <a:lnTo>
                        <a:pt x="454255" y="700672"/>
                      </a:lnTo>
                      <a:lnTo>
                        <a:pt x="452652" y="700587"/>
                      </a:lnTo>
                      <a:lnTo>
                        <a:pt x="451159" y="700672"/>
                      </a:lnTo>
                      <a:lnTo>
                        <a:pt x="449714" y="701255"/>
                      </a:lnTo>
                      <a:lnTo>
                        <a:pt x="448463" y="702263"/>
                      </a:lnTo>
                      <a:lnTo>
                        <a:pt x="448342" y="702408"/>
                      </a:lnTo>
                      <a:lnTo>
                        <a:pt x="447941" y="703465"/>
                      </a:lnTo>
                      <a:lnTo>
                        <a:pt x="447649" y="704703"/>
                      </a:lnTo>
                      <a:lnTo>
                        <a:pt x="447601" y="706258"/>
                      </a:lnTo>
                      <a:lnTo>
                        <a:pt x="447941" y="707982"/>
                      </a:lnTo>
                      <a:lnTo>
                        <a:pt x="448402" y="709269"/>
                      </a:lnTo>
                      <a:lnTo>
                        <a:pt x="448742" y="710762"/>
                      </a:lnTo>
                      <a:lnTo>
                        <a:pt x="448924" y="712572"/>
                      </a:lnTo>
                      <a:lnTo>
                        <a:pt x="448281" y="715037"/>
                      </a:lnTo>
                      <a:lnTo>
                        <a:pt x="447491" y="716069"/>
                      </a:lnTo>
                      <a:lnTo>
                        <a:pt x="446326" y="716251"/>
                      </a:lnTo>
                      <a:lnTo>
                        <a:pt x="445184" y="715353"/>
                      </a:lnTo>
                      <a:lnTo>
                        <a:pt x="444043" y="713374"/>
                      </a:lnTo>
                      <a:lnTo>
                        <a:pt x="440424" y="702214"/>
                      </a:lnTo>
                      <a:lnTo>
                        <a:pt x="439441" y="700174"/>
                      </a:lnTo>
                      <a:lnTo>
                        <a:pt x="436806" y="696070"/>
                      </a:lnTo>
                      <a:lnTo>
                        <a:pt x="429107" y="687715"/>
                      </a:lnTo>
                      <a:lnTo>
                        <a:pt x="427614" y="685469"/>
                      </a:lnTo>
                      <a:lnTo>
                        <a:pt x="424857" y="680138"/>
                      </a:lnTo>
                      <a:lnTo>
                        <a:pt x="422841" y="677272"/>
                      </a:lnTo>
                      <a:lnTo>
                        <a:pt x="421299" y="676993"/>
                      </a:lnTo>
                      <a:lnTo>
                        <a:pt x="420146" y="677794"/>
                      </a:lnTo>
                      <a:lnTo>
                        <a:pt x="419235" y="679713"/>
                      </a:lnTo>
                      <a:lnTo>
                        <a:pt x="418482" y="682118"/>
                      </a:lnTo>
                      <a:lnTo>
                        <a:pt x="418021" y="684619"/>
                      </a:lnTo>
                      <a:lnTo>
                        <a:pt x="416928" y="686865"/>
                      </a:lnTo>
                      <a:lnTo>
                        <a:pt x="415264" y="688893"/>
                      </a:lnTo>
                      <a:lnTo>
                        <a:pt x="411755" y="690010"/>
                      </a:lnTo>
                      <a:lnTo>
                        <a:pt x="410261" y="691115"/>
                      </a:lnTo>
                      <a:lnTo>
                        <a:pt x="409132" y="692463"/>
                      </a:lnTo>
                      <a:lnTo>
                        <a:pt x="407578" y="697138"/>
                      </a:lnTo>
                      <a:lnTo>
                        <a:pt x="406363" y="699385"/>
                      </a:lnTo>
                      <a:lnTo>
                        <a:pt x="405113" y="700562"/>
                      </a:lnTo>
                      <a:lnTo>
                        <a:pt x="403328" y="701194"/>
                      </a:lnTo>
                      <a:lnTo>
                        <a:pt x="402295" y="700806"/>
                      </a:lnTo>
                      <a:lnTo>
                        <a:pt x="401494" y="699397"/>
                      </a:lnTo>
                      <a:lnTo>
                        <a:pt x="400559" y="694770"/>
                      </a:lnTo>
                      <a:lnTo>
                        <a:pt x="399818" y="692500"/>
                      </a:lnTo>
                      <a:lnTo>
                        <a:pt x="398738" y="690666"/>
                      </a:lnTo>
                      <a:lnTo>
                        <a:pt x="397123" y="689112"/>
                      </a:lnTo>
                      <a:lnTo>
                        <a:pt x="394949" y="688262"/>
                      </a:lnTo>
                      <a:lnTo>
                        <a:pt x="393795" y="689015"/>
                      </a:lnTo>
                      <a:lnTo>
                        <a:pt x="393455" y="690630"/>
                      </a:lnTo>
                      <a:lnTo>
                        <a:pt x="395338" y="697272"/>
                      </a:lnTo>
                      <a:lnTo>
                        <a:pt x="395131" y="698802"/>
                      </a:lnTo>
                      <a:lnTo>
                        <a:pt x="394609" y="700137"/>
                      </a:lnTo>
                      <a:lnTo>
                        <a:pt x="392265" y="701862"/>
                      </a:lnTo>
                      <a:lnTo>
                        <a:pt x="392083" y="702153"/>
                      </a:lnTo>
                      <a:lnTo>
                        <a:pt x="392035" y="702263"/>
                      </a:lnTo>
                      <a:lnTo>
                        <a:pt x="392035" y="702360"/>
                      </a:lnTo>
                      <a:lnTo>
                        <a:pt x="392885" y="703938"/>
                      </a:lnTo>
                      <a:lnTo>
                        <a:pt x="393237" y="704995"/>
                      </a:lnTo>
                      <a:lnTo>
                        <a:pt x="393067" y="706913"/>
                      </a:lnTo>
                      <a:lnTo>
                        <a:pt x="392144" y="708565"/>
                      </a:lnTo>
                      <a:lnTo>
                        <a:pt x="389509" y="709840"/>
                      </a:lnTo>
                      <a:lnTo>
                        <a:pt x="387275" y="709354"/>
                      </a:lnTo>
                      <a:lnTo>
                        <a:pt x="383243" y="706403"/>
                      </a:lnTo>
                      <a:lnTo>
                        <a:pt x="381240" y="705189"/>
                      </a:lnTo>
                      <a:lnTo>
                        <a:pt x="376759" y="703853"/>
                      </a:lnTo>
                      <a:lnTo>
                        <a:pt x="374524" y="702591"/>
                      </a:lnTo>
                      <a:lnTo>
                        <a:pt x="374002" y="702214"/>
                      </a:lnTo>
                      <a:lnTo>
                        <a:pt x="371817" y="701546"/>
                      </a:lnTo>
                      <a:lnTo>
                        <a:pt x="369983" y="701667"/>
                      </a:lnTo>
                      <a:lnTo>
                        <a:pt x="368259" y="701971"/>
                      </a:lnTo>
                      <a:lnTo>
                        <a:pt x="366644" y="702481"/>
                      </a:lnTo>
                      <a:lnTo>
                        <a:pt x="364057" y="704072"/>
                      </a:lnTo>
                      <a:lnTo>
                        <a:pt x="363778" y="705772"/>
                      </a:lnTo>
                      <a:lnTo>
                        <a:pt x="364021" y="707010"/>
                      </a:lnTo>
                      <a:lnTo>
                        <a:pt x="364810" y="708128"/>
                      </a:lnTo>
                      <a:lnTo>
                        <a:pt x="365903" y="709075"/>
                      </a:lnTo>
                      <a:lnTo>
                        <a:pt x="366704" y="710082"/>
                      </a:lnTo>
                      <a:lnTo>
                        <a:pt x="367457" y="711661"/>
                      </a:lnTo>
                      <a:lnTo>
                        <a:pt x="368550" y="715013"/>
                      </a:lnTo>
                      <a:lnTo>
                        <a:pt x="369109" y="716105"/>
                      </a:lnTo>
                      <a:lnTo>
                        <a:pt x="372970" y="720951"/>
                      </a:lnTo>
                      <a:lnTo>
                        <a:pt x="373893" y="721570"/>
                      </a:lnTo>
                      <a:lnTo>
                        <a:pt x="374646" y="721825"/>
                      </a:lnTo>
                      <a:lnTo>
                        <a:pt x="375557" y="721825"/>
                      </a:lnTo>
                      <a:lnTo>
                        <a:pt x="376650" y="721970"/>
                      </a:lnTo>
                      <a:lnTo>
                        <a:pt x="377560" y="722225"/>
                      </a:lnTo>
                      <a:lnTo>
                        <a:pt x="378082" y="722833"/>
                      </a:lnTo>
                      <a:lnTo>
                        <a:pt x="378714" y="725043"/>
                      </a:lnTo>
                      <a:lnTo>
                        <a:pt x="379175" y="726014"/>
                      </a:lnTo>
                      <a:lnTo>
                        <a:pt x="379977" y="726767"/>
                      </a:lnTo>
                      <a:lnTo>
                        <a:pt x="381009" y="727204"/>
                      </a:lnTo>
                      <a:lnTo>
                        <a:pt x="381750" y="727836"/>
                      </a:lnTo>
                      <a:lnTo>
                        <a:pt x="381920" y="729098"/>
                      </a:lnTo>
                      <a:lnTo>
                        <a:pt x="381349" y="730956"/>
                      </a:lnTo>
                      <a:lnTo>
                        <a:pt x="379115" y="732936"/>
                      </a:lnTo>
                      <a:lnTo>
                        <a:pt x="376467" y="734174"/>
                      </a:lnTo>
                      <a:lnTo>
                        <a:pt x="372400" y="735328"/>
                      </a:lnTo>
                      <a:lnTo>
                        <a:pt x="369522" y="737003"/>
                      </a:lnTo>
                      <a:lnTo>
                        <a:pt x="363608" y="741472"/>
                      </a:lnTo>
                      <a:lnTo>
                        <a:pt x="358909" y="745831"/>
                      </a:lnTo>
                      <a:lnTo>
                        <a:pt x="355970" y="748054"/>
                      </a:lnTo>
                      <a:lnTo>
                        <a:pt x="345636" y="752644"/>
                      </a:lnTo>
                      <a:lnTo>
                        <a:pt x="343560" y="752413"/>
                      </a:lnTo>
                      <a:lnTo>
                        <a:pt x="341896" y="751235"/>
                      </a:lnTo>
                      <a:lnTo>
                        <a:pt x="340184" y="749365"/>
                      </a:lnTo>
                      <a:lnTo>
                        <a:pt x="338120" y="748333"/>
                      </a:lnTo>
                      <a:lnTo>
                        <a:pt x="335983" y="747835"/>
                      </a:lnTo>
                      <a:lnTo>
                        <a:pt x="333579" y="748211"/>
                      </a:lnTo>
                      <a:lnTo>
                        <a:pt x="331514" y="749426"/>
                      </a:lnTo>
                      <a:lnTo>
                        <a:pt x="328236" y="752583"/>
                      </a:lnTo>
                      <a:lnTo>
                        <a:pt x="326111" y="755364"/>
                      </a:lnTo>
                      <a:lnTo>
                        <a:pt x="321982" y="762516"/>
                      </a:lnTo>
                      <a:lnTo>
                        <a:pt x="320015" y="765297"/>
                      </a:lnTo>
                      <a:lnTo>
                        <a:pt x="317793" y="767786"/>
                      </a:lnTo>
                      <a:lnTo>
                        <a:pt x="313081" y="772206"/>
                      </a:lnTo>
                      <a:lnTo>
                        <a:pt x="312668" y="773092"/>
                      </a:lnTo>
                      <a:lnTo>
                        <a:pt x="312559" y="774416"/>
                      </a:lnTo>
                      <a:lnTo>
                        <a:pt x="312620" y="775934"/>
                      </a:lnTo>
                      <a:lnTo>
                        <a:pt x="312328" y="777731"/>
                      </a:lnTo>
                      <a:lnTo>
                        <a:pt x="311758" y="779467"/>
                      </a:lnTo>
                      <a:lnTo>
                        <a:pt x="311527" y="781009"/>
                      </a:lnTo>
                      <a:lnTo>
                        <a:pt x="311879" y="782515"/>
                      </a:lnTo>
                      <a:lnTo>
                        <a:pt x="314684" y="786705"/>
                      </a:lnTo>
                      <a:lnTo>
                        <a:pt x="316117" y="790263"/>
                      </a:lnTo>
                      <a:lnTo>
                        <a:pt x="316748" y="791125"/>
                      </a:lnTo>
                      <a:lnTo>
                        <a:pt x="317902" y="791331"/>
                      </a:lnTo>
                      <a:lnTo>
                        <a:pt x="321047" y="790930"/>
                      </a:lnTo>
                      <a:lnTo>
                        <a:pt x="322091" y="790954"/>
                      </a:lnTo>
                      <a:lnTo>
                        <a:pt x="322723" y="791416"/>
                      </a:lnTo>
                      <a:lnTo>
                        <a:pt x="323184" y="791987"/>
                      </a:lnTo>
                      <a:lnTo>
                        <a:pt x="323476" y="794610"/>
                      </a:lnTo>
                      <a:lnTo>
                        <a:pt x="314623" y="805465"/>
                      </a:lnTo>
                      <a:lnTo>
                        <a:pt x="313992" y="806922"/>
                      </a:lnTo>
                      <a:lnTo>
                        <a:pt x="313373" y="809169"/>
                      </a:lnTo>
                      <a:lnTo>
                        <a:pt x="314113" y="810262"/>
                      </a:lnTo>
                      <a:lnTo>
                        <a:pt x="315085" y="811294"/>
                      </a:lnTo>
                      <a:lnTo>
                        <a:pt x="315838" y="813103"/>
                      </a:lnTo>
                      <a:lnTo>
                        <a:pt x="315996" y="815629"/>
                      </a:lnTo>
                      <a:lnTo>
                        <a:pt x="315146" y="820802"/>
                      </a:lnTo>
                      <a:lnTo>
                        <a:pt x="313421" y="822441"/>
                      </a:lnTo>
                      <a:lnTo>
                        <a:pt x="311466" y="823012"/>
                      </a:lnTo>
                      <a:lnTo>
                        <a:pt x="309050" y="822806"/>
                      </a:lnTo>
                      <a:lnTo>
                        <a:pt x="307556" y="822988"/>
                      </a:lnTo>
                      <a:lnTo>
                        <a:pt x="305674" y="823680"/>
                      </a:lnTo>
                      <a:lnTo>
                        <a:pt x="298765" y="827068"/>
                      </a:lnTo>
                      <a:lnTo>
                        <a:pt x="297174" y="827323"/>
                      </a:lnTo>
                      <a:lnTo>
                        <a:pt x="289815" y="827614"/>
                      </a:lnTo>
                      <a:lnTo>
                        <a:pt x="288043" y="827177"/>
                      </a:lnTo>
                      <a:lnTo>
                        <a:pt x="286828" y="826206"/>
                      </a:lnTo>
                      <a:lnTo>
                        <a:pt x="286197" y="824688"/>
                      </a:lnTo>
                      <a:lnTo>
                        <a:pt x="286197" y="823073"/>
                      </a:lnTo>
                      <a:lnTo>
                        <a:pt x="286719" y="819721"/>
                      </a:lnTo>
                      <a:lnTo>
                        <a:pt x="286318" y="818191"/>
                      </a:lnTo>
                      <a:lnTo>
                        <a:pt x="284995" y="817195"/>
                      </a:lnTo>
                      <a:lnTo>
                        <a:pt x="281789" y="816989"/>
                      </a:lnTo>
                      <a:lnTo>
                        <a:pt x="279543" y="816163"/>
                      </a:lnTo>
                      <a:lnTo>
                        <a:pt x="277527" y="814573"/>
                      </a:lnTo>
                      <a:lnTo>
                        <a:pt x="275693" y="813334"/>
                      </a:lnTo>
                      <a:lnTo>
                        <a:pt x="273289" y="812703"/>
                      </a:lnTo>
                      <a:lnTo>
                        <a:pt x="269427" y="813249"/>
                      </a:lnTo>
                      <a:lnTo>
                        <a:pt x="267485" y="814257"/>
                      </a:lnTo>
                      <a:lnTo>
                        <a:pt x="266501" y="815690"/>
                      </a:lnTo>
                      <a:lnTo>
                        <a:pt x="266623" y="817693"/>
                      </a:lnTo>
                      <a:lnTo>
                        <a:pt x="267825" y="822320"/>
                      </a:lnTo>
                      <a:lnTo>
                        <a:pt x="267655" y="824760"/>
                      </a:lnTo>
                      <a:lnTo>
                        <a:pt x="266805" y="827116"/>
                      </a:lnTo>
                      <a:lnTo>
                        <a:pt x="264947" y="829690"/>
                      </a:lnTo>
                      <a:lnTo>
                        <a:pt x="262834" y="831075"/>
                      </a:lnTo>
                      <a:lnTo>
                        <a:pt x="257151" y="833200"/>
                      </a:lnTo>
                      <a:lnTo>
                        <a:pt x="251067" y="837243"/>
                      </a:lnTo>
                      <a:lnTo>
                        <a:pt x="247789" y="839004"/>
                      </a:lnTo>
                      <a:lnTo>
                        <a:pt x="245834" y="840413"/>
                      </a:lnTo>
                      <a:lnTo>
                        <a:pt x="244632" y="841736"/>
                      </a:lnTo>
                      <a:lnTo>
                        <a:pt x="244121" y="843388"/>
                      </a:lnTo>
                      <a:lnTo>
                        <a:pt x="243247" y="847929"/>
                      </a:lnTo>
                      <a:lnTo>
                        <a:pt x="242567" y="849909"/>
                      </a:lnTo>
                      <a:lnTo>
                        <a:pt x="240721" y="851973"/>
                      </a:lnTo>
                      <a:lnTo>
                        <a:pt x="239459" y="852119"/>
                      </a:lnTo>
                      <a:lnTo>
                        <a:pt x="236994" y="850746"/>
                      </a:lnTo>
                      <a:lnTo>
                        <a:pt x="235391" y="850443"/>
                      </a:lnTo>
                      <a:lnTo>
                        <a:pt x="233084" y="850346"/>
                      </a:lnTo>
                      <a:lnTo>
                        <a:pt x="231590" y="849945"/>
                      </a:lnTo>
                      <a:lnTo>
                        <a:pt x="230279" y="849119"/>
                      </a:lnTo>
                      <a:lnTo>
                        <a:pt x="229465" y="847832"/>
                      </a:lnTo>
                      <a:lnTo>
                        <a:pt x="229004" y="846059"/>
                      </a:lnTo>
                      <a:lnTo>
                        <a:pt x="229064" y="844080"/>
                      </a:lnTo>
                      <a:lnTo>
                        <a:pt x="229465" y="841870"/>
                      </a:lnTo>
                      <a:lnTo>
                        <a:pt x="231942" y="836479"/>
                      </a:lnTo>
                      <a:lnTo>
                        <a:pt x="232294" y="835033"/>
                      </a:lnTo>
                      <a:lnTo>
                        <a:pt x="232294" y="833455"/>
                      </a:lnTo>
                      <a:lnTo>
                        <a:pt x="231821" y="831961"/>
                      </a:lnTo>
                      <a:lnTo>
                        <a:pt x="230971" y="830359"/>
                      </a:lnTo>
                      <a:lnTo>
                        <a:pt x="229939" y="828974"/>
                      </a:lnTo>
                      <a:lnTo>
                        <a:pt x="228724" y="827711"/>
                      </a:lnTo>
                      <a:lnTo>
                        <a:pt x="219423" y="819551"/>
                      </a:lnTo>
                      <a:lnTo>
                        <a:pt x="217310" y="816916"/>
                      </a:lnTo>
                      <a:lnTo>
                        <a:pt x="216144" y="814633"/>
                      </a:lnTo>
                      <a:lnTo>
                        <a:pt x="215913" y="812362"/>
                      </a:lnTo>
                      <a:lnTo>
                        <a:pt x="216436" y="808465"/>
                      </a:lnTo>
                      <a:lnTo>
                        <a:pt x="216375" y="806911"/>
                      </a:lnTo>
                      <a:lnTo>
                        <a:pt x="216096" y="805757"/>
                      </a:lnTo>
                      <a:lnTo>
                        <a:pt x="215513" y="804579"/>
                      </a:lnTo>
                      <a:lnTo>
                        <a:pt x="215282" y="803547"/>
                      </a:lnTo>
                      <a:lnTo>
                        <a:pt x="215233" y="802017"/>
                      </a:lnTo>
                      <a:lnTo>
                        <a:pt x="215343" y="800377"/>
                      </a:lnTo>
                      <a:lnTo>
                        <a:pt x="215282" y="799139"/>
                      </a:lnTo>
                      <a:lnTo>
                        <a:pt x="214541" y="797475"/>
                      </a:lnTo>
                      <a:lnTo>
                        <a:pt x="213570" y="797196"/>
                      </a:lnTo>
                      <a:lnTo>
                        <a:pt x="211615" y="797475"/>
                      </a:lnTo>
                      <a:lnTo>
                        <a:pt x="209891" y="797160"/>
                      </a:lnTo>
                      <a:lnTo>
                        <a:pt x="207766" y="796152"/>
                      </a:lnTo>
                      <a:lnTo>
                        <a:pt x="204499" y="795241"/>
                      </a:lnTo>
                      <a:lnTo>
                        <a:pt x="202423" y="795787"/>
                      </a:lnTo>
                      <a:lnTo>
                        <a:pt x="200759" y="797512"/>
                      </a:lnTo>
                      <a:lnTo>
                        <a:pt x="198464" y="803255"/>
                      </a:lnTo>
                      <a:lnTo>
                        <a:pt x="197031" y="806036"/>
                      </a:lnTo>
                      <a:lnTo>
                        <a:pt x="190425" y="813929"/>
                      </a:lnTo>
                      <a:lnTo>
                        <a:pt x="189624" y="815240"/>
                      </a:lnTo>
                      <a:lnTo>
                        <a:pt x="189333" y="816188"/>
                      </a:lnTo>
                      <a:lnTo>
                        <a:pt x="189624" y="819721"/>
                      </a:lnTo>
                      <a:lnTo>
                        <a:pt x="189624" y="822429"/>
                      </a:lnTo>
                      <a:lnTo>
                        <a:pt x="189102" y="825416"/>
                      </a:lnTo>
                      <a:lnTo>
                        <a:pt x="186345" y="832410"/>
                      </a:lnTo>
                      <a:lnTo>
                        <a:pt x="186054" y="833843"/>
                      </a:lnTo>
                      <a:lnTo>
                        <a:pt x="186236" y="834851"/>
                      </a:lnTo>
                      <a:lnTo>
                        <a:pt x="187718" y="838008"/>
                      </a:lnTo>
                      <a:lnTo>
                        <a:pt x="187900" y="839939"/>
                      </a:lnTo>
                      <a:lnTo>
                        <a:pt x="187086" y="842611"/>
                      </a:lnTo>
                      <a:lnTo>
                        <a:pt x="185896" y="844906"/>
                      </a:lnTo>
                      <a:lnTo>
                        <a:pt x="179752" y="854317"/>
                      </a:lnTo>
                      <a:lnTo>
                        <a:pt x="178647" y="856599"/>
                      </a:lnTo>
                      <a:lnTo>
                        <a:pt x="178319" y="858700"/>
                      </a:lnTo>
                      <a:lnTo>
                        <a:pt x="178877" y="860193"/>
                      </a:lnTo>
                      <a:lnTo>
                        <a:pt x="180784" y="862258"/>
                      </a:lnTo>
                      <a:lnTo>
                        <a:pt x="186406" y="866338"/>
                      </a:lnTo>
                      <a:lnTo>
                        <a:pt x="187548" y="867917"/>
                      </a:lnTo>
                      <a:lnTo>
                        <a:pt x="187839" y="869410"/>
                      </a:lnTo>
                      <a:lnTo>
                        <a:pt x="186965" y="871025"/>
                      </a:lnTo>
                      <a:lnTo>
                        <a:pt x="185253" y="872118"/>
                      </a:lnTo>
                      <a:lnTo>
                        <a:pt x="183018" y="873150"/>
                      </a:lnTo>
                      <a:lnTo>
                        <a:pt x="182217" y="874729"/>
                      </a:lnTo>
                      <a:lnTo>
                        <a:pt x="182326" y="877194"/>
                      </a:lnTo>
                      <a:lnTo>
                        <a:pt x="183188" y="880642"/>
                      </a:lnTo>
                      <a:lnTo>
                        <a:pt x="183650" y="883593"/>
                      </a:lnTo>
                      <a:lnTo>
                        <a:pt x="183310" y="886216"/>
                      </a:lnTo>
                      <a:lnTo>
                        <a:pt x="182095" y="887916"/>
                      </a:lnTo>
                      <a:lnTo>
                        <a:pt x="180140" y="888426"/>
                      </a:lnTo>
                      <a:lnTo>
                        <a:pt x="175271" y="888001"/>
                      </a:lnTo>
                      <a:lnTo>
                        <a:pt x="172223" y="888608"/>
                      </a:lnTo>
                      <a:lnTo>
                        <a:pt x="170438" y="890102"/>
                      </a:lnTo>
                      <a:lnTo>
                        <a:pt x="169285" y="892506"/>
                      </a:lnTo>
                      <a:lnTo>
                        <a:pt x="168556" y="894971"/>
                      </a:lnTo>
                      <a:lnTo>
                        <a:pt x="167220" y="896926"/>
                      </a:lnTo>
                      <a:lnTo>
                        <a:pt x="165265" y="897776"/>
                      </a:lnTo>
                      <a:lnTo>
                        <a:pt x="163322" y="897497"/>
                      </a:lnTo>
                      <a:lnTo>
                        <a:pt x="161829" y="896829"/>
                      </a:lnTo>
                      <a:lnTo>
                        <a:pt x="160675" y="896574"/>
                      </a:lnTo>
                      <a:lnTo>
                        <a:pt x="159291" y="896525"/>
                      </a:lnTo>
                      <a:lnTo>
                        <a:pt x="156486" y="896695"/>
                      </a:lnTo>
                      <a:lnTo>
                        <a:pt x="154191" y="896440"/>
                      </a:lnTo>
                      <a:lnTo>
                        <a:pt x="154021" y="896343"/>
                      </a:lnTo>
                      <a:lnTo>
                        <a:pt x="150803" y="892870"/>
                      </a:lnTo>
                      <a:lnTo>
                        <a:pt x="148217" y="890842"/>
                      </a:lnTo>
                      <a:lnTo>
                        <a:pt x="144999" y="888912"/>
                      </a:lnTo>
                      <a:lnTo>
                        <a:pt x="137531" y="886750"/>
                      </a:lnTo>
                      <a:lnTo>
                        <a:pt x="128181" y="888049"/>
                      </a:lnTo>
                      <a:lnTo>
                        <a:pt x="119389" y="894473"/>
                      </a:lnTo>
                      <a:lnTo>
                        <a:pt x="112395" y="895845"/>
                      </a:lnTo>
                      <a:lnTo>
                        <a:pt x="105898" y="896355"/>
                      </a:lnTo>
                      <a:lnTo>
                        <a:pt x="87465" y="908425"/>
                      </a:lnTo>
                      <a:lnTo>
                        <a:pt x="75068" y="914048"/>
                      </a:lnTo>
                      <a:lnTo>
                        <a:pt x="71388" y="916233"/>
                      </a:lnTo>
                      <a:lnTo>
                        <a:pt x="68632" y="918735"/>
                      </a:lnTo>
                      <a:lnTo>
                        <a:pt x="67077" y="920945"/>
                      </a:lnTo>
                      <a:lnTo>
                        <a:pt x="64782" y="923325"/>
                      </a:lnTo>
                      <a:lnTo>
                        <a:pt x="62208" y="924478"/>
                      </a:lnTo>
                      <a:lnTo>
                        <a:pt x="55712" y="925280"/>
                      </a:lnTo>
                      <a:lnTo>
                        <a:pt x="52785" y="926943"/>
                      </a:lnTo>
                      <a:lnTo>
                        <a:pt x="49507" y="929651"/>
                      </a:lnTo>
                      <a:lnTo>
                        <a:pt x="46350" y="932942"/>
                      </a:lnTo>
                      <a:lnTo>
                        <a:pt x="41189" y="935723"/>
                      </a:lnTo>
                      <a:lnTo>
                        <a:pt x="37339" y="934460"/>
                      </a:lnTo>
                      <a:lnTo>
                        <a:pt x="31025" y="930586"/>
                      </a:lnTo>
                      <a:lnTo>
                        <a:pt x="28560" y="930040"/>
                      </a:lnTo>
                      <a:lnTo>
                        <a:pt x="27006" y="930440"/>
                      </a:lnTo>
                      <a:lnTo>
                        <a:pt x="26132" y="931643"/>
                      </a:lnTo>
                      <a:lnTo>
                        <a:pt x="24942" y="934994"/>
                      </a:lnTo>
                      <a:lnTo>
                        <a:pt x="24031" y="936524"/>
                      </a:lnTo>
                      <a:lnTo>
                        <a:pt x="22695" y="937532"/>
                      </a:lnTo>
                      <a:lnTo>
                        <a:pt x="21323" y="937593"/>
                      </a:lnTo>
                      <a:lnTo>
                        <a:pt x="19016" y="936974"/>
                      </a:lnTo>
                      <a:lnTo>
                        <a:pt x="17061" y="936160"/>
                      </a:lnTo>
                      <a:lnTo>
                        <a:pt x="6618" y="933829"/>
                      </a:lnTo>
                      <a:lnTo>
                        <a:pt x="5986" y="931509"/>
                      </a:lnTo>
                      <a:lnTo>
                        <a:pt x="5986" y="927975"/>
                      </a:lnTo>
                      <a:lnTo>
                        <a:pt x="6436" y="924661"/>
                      </a:lnTo>
                      <a:lnTo>
                        <a:pt x="6618" y="921151"/>
                      </a:lnTo>
                      <a:lnTo>
                        <a:pt x="6800" y="920058"/>
                      </a:lnTo>
                      <a:lnTo>
                        <a:pt x="7189" y="919050"/>
                      </a:lnTo>
                      <a:lnTo>
                        <a:pt x="8233" y="918225"/>
                      </a:lnTo>
                      <a:lnTo>
                        <a:pt x="9265" y="917945"/>
                      </a:lnTo>
                      <a:lnTo>
                        <a:pt x="10176" y="918116"/>
                      </a:lnTo>
                      <a:lnTo>
                        <a:pt x="11038" y="918577"/>
                      </a:lnTo>
                      <a:lnTo>
                        <a:pt x="12471" y="919730"/>
                      </a:lnTo>
                      <a:lnTo>
                        <a:pt x="13284" y="920192"/>
                      </a:lnTo>
                      <a:lnTo>
                        <a:pt x="14195" y="920362"/>
                      </a:lnTo>
                      <a:lnTo>
                        <a:pt x="15118" y="920192"/>
                      </a:lnTo>
                      <a:lnTo>
                        <a:pt x="15968" y="919730"/>
                      </a:lnTo>
                      <a:lnTo>
                        <a:pt x="16551" y="918698"/>
                      </a:lnTo>
                      <a:lnTo>
                        <a:pt x="16903" y="917290"/>
                      </a:lnTo>
                      <a:lnTo>
                        <a:pt x="16951" y="914703"/>
                      </a:lnTo>
                      <a:lnTo>
                        <a:pt x="17182" y="912821"/>
                      </a:lnTo>
                      <a:lnTo>
                        <a:pt x="17692" y="910988"/>
                      </a:lnTo>
                      <a:lnTo>
                        <a:pt x="18858" y="908535"/>
                      </a:lnTo>
                      <a:lnTo>
                        <a:pt x="19647" y="907260"/>
                      </a:lnTo>
                      <a:lnTo>
                        <a:pt x="21032" y="905499"/>
                      </a:lnTo>
                      <a:lnTo>
                        <a:pt x="21663" y="904188"/>
                      </a:lnTo>
                      <a:lnTo>
                        <a:pt x="22294" y="901953"/>
                      </a:lnTo>
                      <a:lnTo>
                        <a:pt x="23157" y="897606"/>
                      </a:lnTo>
                      <a:lnTo>
                        <a:pt x="23157" y="891013"/>
                      </a:lnTo>
                      <a:lnTo>
                        <a:pt x="22865" y="889398"/>
                      </a:lnTo>
                      <a:lnTo>
                        <a:pt x="22926" y="888025"/>
                      </a:lnTo>
                      <a:lnTo>
                        <a:pt x="23266" y="886495"/>
                      </a:lnTo>
                      <a:lnTo>
                        <a:pt x="24249" y="884601"/>
                      </a:lnTo>
                      <a:lnTo>
                        <a:pt x="25682" y="882537"/>
                      </a:lnTo>
                      <a:lnTo>
                        <a:pt x="26374" y="881869"/>
                      </a:lnTo>
                      <a:lnTo>
                        <a:pt x="27066" y="880994"/>
                      </a:lnTo>
                      <a:lnTo>
                        <a:pt x="27625" y="879865"/>
                      </a:lnTo>
                      <a:lnTo>
                        <a:pt x="29532" y="873624"/>
                      </a:lnTo>
                      <a:lnTo>
                        <a:pt x="29932" y="870224"/>
                      </a:lnTo>
                      <a:lnTo>
                        <a:pt x="30794" y="867358"/>
                      </a:lnTo>
                      <a:lnTo>
                        <a:pt x="31134" y="865403"/>
                      </a:lnTo>
                      <a:lnTo>
                        <a:pt x="30904" y="863727"/>
                      </a:lnTo>
                      <a:lnTo>
                        <a:pt x="29362" y="860862"/>
                      </a:lnTo>
                      <a:lnTo>
                        <a:pt x="29009" y="859890"/>
                      </a:lnTo>
                      <a:lnTo>
                        <a:pt x="28900" y="858822"/>
                      </a:lnTo>
                      <a:lnTo>
                        <a:pt x="29070" y="857559"/>
                      </a:lnTo>
                      <a:lnTo>
                        <a:pt x="29532" y="856186"/>
                      </a:lnTo>
                      <a:lnTo>
                        <a:pt x="30564" y="854195"/>
                      </a:lnTo>
                      <a:lnTo>
                        <a:pt x="31936" y="852009"/>
                      </a:lnTo>
                      <a:lnTo>
                        <a:pt x="34474" y="845610"/>
                      </a:lnTo>
                      <a:lnTo>
                        <a:pt x="35567" y="844408"/>
                      </a:lnTo>
                      <a:lnTo>
                        <a:pt x="36538" y="844177"/>
                      </a:lnTo>
                      <a:lnTo>
                        <a:pt x="37339" y="844517"/>
                      </a:lnTo>
                      <a:lnTo>
                        <a:pt x="38712" y="844797"/>
                      </a:lnTo>
                      <a:lnTo>
                        <a:pt x="40497" y="844675"/>
                      </a:lnTo>
                      <a:lnTo>
                        <a:pt x="43994" y="843704"/>
                      </a:lnTo>
                      <a:lnTo>
                        <a:pt x="53417" y="839806"/>
                      </a:lnTo>
                      <a:lnTo>
                        <a:pt x="55080" y="838737"/>
                      </a:lnTo>
                      <a:lnTo>
                        <a:pt x="56173" y="837681"/>
                      </a:lnTo>
                      <a:lnTo>
                        <a:pt x="58468" y="833516"/>
                      </a:lnTo>
                      <a:lnTo>
                        <a:pt x="59391" y="832532"/>
                      </a:lnTo>
                      <a:lnTo>
                        <a:pt x="60715" y="831779"/>
                      </a:lnTo>
                      <a:lnTo>
                        <a:pt x="62378" y="831148"/>
                      </a:lnTo>
                      <a:lnTo>
                        <a:pt x="67187" y="830370"/>
                      </a:lnTo>
                      <a:lnTo>
                        <a:pt x="68741" y="829776"/>
                      </a:lnTo>
                      <a:lnTo>
                        <a:pt x="70174" y="828707"/>
                      </a:lnTo>
                      <a:lnTo>
                        <a:pt x="71570" y="827056"/>
                      </a:lnTo>
                      <a:lnTo>
                        <a:pt x="77533" y="816358"/>
                      </a:lnTo>
                      <a:lnTo>
                        <a:pt x="81321" y="811452"/>
                      </a:lnTo>
                      <a:lnTo>
                        <a:pt x="83616" y="809339"/>
                      </a:lnTo>
                      <a:lnTo>
                        <a:pt x="90914" y="803838"/>
                      </a:lnTo>
                      <a:lnTo>
                        <a:pt x="95735" y="797937"/>
                      </a:lnTo>
                      <a:lnTo>
                        <a:pt x="99524" y="794318"/>
                      </a:lnTo>
                      <a:lnTo>
                        <a:pt x="103992" y="790809"/>
                      </a:lnTo>
                      <a:lnTo>
                        <a:pt x="106008" y="789655"/>
                      </a:lnTo>
                      <a:lnTo>
                        <a:pt x="107611" y="788987"/>
                      </a:lnTo>
                      <a:lnTo>
                        <a:pt x="109165" y="788174"/>
                      </a:lnTo>
                      <a:lnTo>
                        <a:pt x="110318" y="786413"/>
                      </a:lnTo>
                      <a:lnTo>
                        <a:pt x="110549" y="784082"/>
                      </a:lnTo>
                      <a:lnTo>
                        <a:pt x="109347" y="781277"/>
                      </a:lnTo>
                      <a:lnTo>
                        <a:pt x="107853" y="779929"/>
                      </a:lnTo>
                      <a:lnTo>
                        <a:pt x="104466" y="778071"/>
                      </a:lnTo>
                      <a:lnTo>
                        <a:pt x="103081" y="777039"/>
                      </a:lnTo>
                      <a:lnTo>
                        <a:pt x="102171" y="775885"/>
                      </a:lnTo>
                      <a:lnTo>
                        <a:pt x="101940" y="774878"/>
                      </a:lnTo>
                      <a:lnTo>
                        <a:pt x="102110" y="773505"/>
                      </a:lnTo>
                      <a:lnTo>
                        <a:pt x="103312" y="772097"/>
                      </a:lnTo>
                      <a:lnTo>
                        <a:pt x="104636" y="771562"/>
                      </a:lnTo>
                      <a:lnTo>
                        <a:pt x="106299" y="771405"/>
                      </a:lnTo>
                      <a:lnTo>
                        <a:pt x="107732" y="771077"/>
                      </a:lnTo>
                      <a:lnTo>
                        <a:pt x="109165" y="770239"/>
                      </a:lnTo>
                      <a:lnTo>
                        <a:pt x="110440" y="768866"/>
                      </a:lnTo>
                      <a:lnTo>
                        <a:pt x="112966" y="765127"/>
                      </a:lnTo>
                      <a:lnTo>
                        <a:pt x="114459" y="763487"/>
                      </a:lnTo>
                      <a:lnTo>
                        <a:pt x="116354" y="761933"/>
                      </a:lnTo>
                      <a:lnTo>
                        <a:pt x="118296" y="760670"/>
                      </a:lnTo>
                      <a:lnTo>
                        <a:pt x="119972" y="759917"/>
                      </a:lnTo>
                      <a:lnTo>
                        <a:pt x="121284" y="759577"/>
                      </a:lnTo>
                      <a:lnTo>
                        <a:pt x="128581" y="759067"/>
                      </a:lnTo>
                      <a:lnTo>
                        <a:pt x="131338" y="758314"/>
                      </a:lnTo>
                      <a:lnTo>
                        <a:pt x="133341" y="756870"/>
                      </a:lnTo>
                      <a:lnTo>
                        <a:pt x="134665" y="754841"/>
                      </a:lnTo>
                      <a:lnTo>
                        <a:pt x="137422" y="748321"/>
                      </a:lnTo>
                      <a:lnTo>
                        <a:pt x="138114" y="747337"/>
                      </a:lnTo>
                      <a:lnTo>
                        <a:pt x="138745" y="747009"/>
                      </a:lnTo>
                      <a:lnTo>
                        <a:pt x="139425" y="747119"/>
                      </a:lnTo>
                      <a:lnTo>
                        <a:pt x="140178" y="747604"/>
                      </a:lnTo>
                      <a:lnTo>
                        <a:pt x="142424" y="750009"/>
                      </a:lnTo>
                      <a:lnTo>
                        <a:pt x="144137" y="751162"/>
                      </a:lnTo>
                      <a:lnTo>
                        <a:pt x="146274" y="751538"/>
                      </a:lnTo>
                      <a:lnTo>
                        <a:pt x="147124" y="747884"/>
                      </a:lnTo>
                      <a:lnTo>
                        <a:pt x="148399" y="744641"/>
                      </a:lnTo>
                      <a:lnTo>
                        <a:pt x="148848" y="743840"/>
                      </a:lnTo>
                      <a:lnTo>
                        <a:pt x="149249" y="742953"/>
                      </a:lnTo>
                      <a:lnTo>
                        <a:pt x="150973" y="734162"/>
                      </a:lnTo>
                      <a:lnTo>
                        <a:pt x="151143" y="728248"/>
                      </a:lnTo>
                      <a:lnTo>
                        <a:pt x="151447" y="726974"/>
                      </a:lnTo>
                      <a:lnTo>
                        <a:pt x="151957" y="726014"/>
                      </a:lnTo>
                      <a:lnTo>
                        <a:pt x="153207" y="724618"/>
                      </a:lnTo>
                      <a:lnTo>
                        <a:pt x="153790" y="723865"/>
                      </a:lnTo>
                      <a:lnTo>
                        <a:pt x="154252" y="723088"/>
                      </a:lnTo>
                      <a:lnTo>
                        <a:pt x="154883" y="722335"/>
                      </a:lnTo>
                      <a:lnTo>
                        <a:pt x="155672" y="721715"/>
                      </a:lnTo>
                      <a:lnTo>
                        <a:pt x="160457" y="719250"/>
                      </a:lnTo>
                      <a:lnTo>
                        <a:pt x="161537" y="718935"/>
                      </a:lnTo>
                      <a:lnTo>
                        <a:pt x="162339" y="717623"/>
                      </a:lnTo>
                      <a:lnTo>
                        <a:pt x="162970" y="715304"/>
                      </a:lnTo>
                      <a:lnTo>
                        <a:pt x="162521" y="703185"/>
                      </a:lnTo>
                      <a:lnTo>
                        <a:pt x="162582" y="701461"/>
                      </a:lnTo>
                      <a:lnTo>
                        <a:pt x="162460" y="699518"/>
                      </a:lnTo>
                      <a:lnTo>
                        <a:pt x="161768" y="697733"/>
                      </a:lnTo>
                      <a:lnTo>
                        <a:pt x="158963" y="693435"/>
                      </a:lnTo>
                      <a:lnTo>
                        <a:pt x="157858" y="691164"/>
                      </a:lnTo>
                      <a:lnTo>
                        <a:pt x="157348" y="686173"/>
                      </a:lnTo>
                      <a:lnTo>
                        <a:pt x="156838" y="684473"/>
                      </a:lnTo>
                      <a:lnTo>
                        <a:pt x="155454" y="682858"/>
                      </a:lnTo>
                      <a:lnTo>
                        <a:pt x="151143" y="679932"/>
                      </a:lnTo>
                      <a:lnTo>
                        <a:pt x="150172" y="678584"/>
                      </a:lnTo>
                      <a:lnTo>
                        <a:pt x="150342" y="676641"/>
                      </a:lnTo>
                      <a:lnTo>
                        <a:pt x="151665" y="672354"/>
                      </a:lnTo>
                      <a:lnTo>
                        <a:pt x="151896" y="670145"/>
                      </a:lnTo>
                      <a:lnTo>
                        <a:pt x="151386" y="667680"/>
                      </a:lnTo>
                      <a:lnTo>
                        <a:pt x="148909" y="663259"/>
                      </a:lnTo>
                      <a:lnTo>
                        <a:pt x="148095" y="661074"/>
                      </a:lnTo>
                      <a:lnTo>
                        <a:pt x="147585" y="658657"/>
                      </a:lnTo>
                      <a:lnTo>
                        <a:pt x="147524" y="654978"/>
                      </a:lnTo>
                      <a:lnTo>
                        <a:pt x="148034" y="652270"/>
                      </a:lnTo>
                      <a:lnTo>
                        <a:pt x="148969" y="649696"/>
                      </a:lnTo>
                      <a:lnTo>
                        <a:pt x="152297" y="642774"/>
                      </a:lnTo>
                      <a:lnTo>
                        <a:pt x="152467" y="640856"/>
                      </a:lnTo>
                      <a:lnTo>
                        <a:pt x="151835" y="639131"/>
                      </a:lnTo>
                      <a:lnTo>
                        <a:pt x="150002" y="637371"/>
                      </a:lnTo>
                      <a:lnTo>
                        <a:pt x="146844" y="635392"/>
                      </a:lnTo>
                      <a:lnTo>
                        <a:pt x="145861" y="634298"/>
                      </a:lnTo>
                      <a:lnTo>
                        <a:pt x="145630" y="633266"/>
                      </a:lnTo>
                      <a:lnTo>
                        <a:pt x="146444" y="631506"/>
                      </a:lnTo>
                      <a:lnTo>
                        <a:pt x="147707" y="630352"/>
                      </a:lnTo>
                      <a:lnTo>
                        <a:pt x="150864" y="628373"/>
                      </a:lnTo>
                      <a:lnTo>
                        <a:pt x="151896" y="627256"/>
                      </a:lnTo>
                      <a:lnTo>
                        <a:pt x="152127" y="625580"/>
                      </a:lnTo>
                      <a:lnTo>
                        <a:pt x="151665" y="623637"/>
                      </a:lnTo>
                      <a:lnTo>
                        <a:pt x="150050" y="621111"/>
                      </a:lnTo>
                      <a:lnTo>
                        <a:pt x="148557" y="619824"/>
                      </a:lnTo>
                      <a:lnTo>
                        <a:pt x="147014" y="619071"/>
                      </a:lnTo>
                      <a:lnTo>
                        <a:pt x="142303" y="617918"/>
                      </a:lnTo>
                      <a:lnTo>
                        <a:pt x="141149" y="617481"/>
                      </a:lnTo>
                      <a:lnTo>
                        <a:pt x="140178" y="616788"/>
                      </a:lnTo>
                      <a:lnTo>
                        <a:pt x="139425" y="615708"/>
                      </a:lnTo>
                      <a:lnTo>
                        <a:pt x="136389" y="608956"/>
                      </a:lnTo>
                      <a:lnTo>
                        <a:pt x="135406" y="607341"/>
                      </a:lnTo>
                      <a:lnTo>
                        <a:pt x="134277" y="606309"/>
                      </a:lnTo>
                      <a:lnTo>
                        <a:pt x="132783" y="605702"/>
                      </a:lnTo>
                      <a:lnTo>
                        <a:pt x="127379" y="604670"/>
                      </a:lnTo>
                      <a:lnTo>
                        <a:pt x="126226" y="603516"/>
                      </a:lnTo>
                      <a:lnTo>
                        <a:pt x="125716" y="601683"/>
                      </a:lnTo>
                      <a:lnTo>
                        <a:pt x="126274" y="586698"/>
                      </a:lnTo>
                      <a:lnTo>
                        <a:pt x="127549" y="580930"/>
                      </a:lnTo>
                      <a:lnTo>
                        <a:pt x="127829" y="578405"/>
                      </a:lnTo>
                      <a:lnTo>
                        <a:pt x="127489" y="575563"/>
                      </a:lnTo>
                      <a:lnTo>
                        <a:pt x="126116" y="570754"/>
                      </a:lnTo>
                      <a:lnTo>
                        <a:pt x="125364" y="567051"/>
                      </a:lnTo>
                      <a:lnTo>
                        <a:pt x="125534" y="563007"/>
                      </a:lnTo>
                      <a:lnTo>
                        <a:pt x="127319" y="555139"/>
                      </a:lnTo>
                      <a:lnTo>
                        <a:pt x="127027" y="553099"/>
                      </a:lnTo>
                      <a:lnTo>
                        <a:pt x="125716" y="551302"/>
                      </a:lnTo>
                      <a:lnTo>
                        <a:pt x="124040" y="550209"/>
                      </a:lnTo>
                      <a:lnTo>
                        <a:pt x="122437" y="549662"/>
                      </a:lnTo>
                      <a:lnTo>
                        <a:pt x="116123" y="548994"/>
                      </a:lnTo>
                      <a:lnTo>
                        <a:pt x="114399" y="548424"/>
                      </a:lnTo>
                      <a:lnTo>
                        <a:pt x="112735" y="547416"/>
                      </a:lnTo>
                      <a:lnTo>
                        <a:pt x="111703" y="545922"/>
                      </a:lnTo>
                      <a:lnTo>
                        <a:pt x="109626" y="540446"/>
                      </a:lnTo>
                      <a:lnTo>
                        <a:pt x="108485" y="538552"/>
                      </a:lnTo>
                      <a:lnTo>
                        <a:pt x="106991" y="537119"/>
                      </a:lnTo>
                      <a:lnTo>
                        <a:pt x="91205" y="528254"/>
                      </a:lnTo>
                      <a:lnTo>
                        <a:pt x="88959" y="526481"/>
                      </a:lnTo>
                      <a:lnTo>
                        <a:pt x="87283" y="524648"/>
                      </a:lnTo>
                      <a:lnTo>
                        <a:pt x="85972" y="522462"/>
                      </a:lnTo>
                      <a:lnTo>
                        <a:pt x="85280" y="520361"/>
                      </a:lnTo>
                      <a:lnTo>
                        <a:pt x="85170" y="518346"/>
                      </a:lnTo>
                      <a:lnTo>
                        <a:pt x="85632" y="516306"/>
                      </a:lnTo>
                      <a:lnTo>
                        <a:pt x="86373" y="514375"/>
                      </a:lnTo>
                      <a:lnTo>
                        <a:pt x="94010" y="500496"/>
                      </a:lnTo>
                      <a:lnTo>
                        <a:pt x="95444" y="498601"/>
                      </a:lnTo>
                      <a:lnTo>
                        <a:pt x="97520" y="497739"/>
                      </a:lnTo>
                      <a:lnTo>
                        <a:pt x="101017" y="495639"/>
                      </a:lnTo>
                      <a:lnTo>
                        <a:pt x="107101" y="488632"/>
                      </a:lnTo>
                      <a:lnTo>
                        <a:pt x="108946" y="487296"/>
                      </a:lnTo>
                      <a:lnTo>
                        <a:pt x="109918" y="487114"/>
                      </a:lnTo>
                      <a:lnTo>
                        <a:pt x="111241" y="487454"/>
                      </a:lnTo>
                      <a:lnTo>
                        <a:pt x="112844" y="488668"/>
                      </a:lnTo>
                      <a:lnTo>
                        <a:pt x="121976" y="499039"/>
                      </a:lnTo>
                      <a:lnTo>
                        <a:pt x="122899" y="500763"/>
                      </a:lnTo>
                      <a:lnTo>
                        <a:pt x="123190" y="501977"/>
                      </a:lnTo>
                      <a:lnTo>
                        <a:pt x="123069" y="503216"/>
                      </a:lnTo>
                      <a:lnTo>
                        <a:pt x="123287" y="504454"/>
                      </a:lnTo>
                      <a:lnTo>
                        <a:pt x="124332" y="505462"/>
                      </a:lnTo>
                      <a:lnTo>
                        <a:pt x="126396" y="505438"/>
                      </a:lnTo>
                      <a:lnTo>
                        <a:pt x="127768" y="505001"/>
                      </a:lnTo>
                      <a:lnTo>
                        <a:pt x="128861" y="504248"/>
                      </a:lnTo>
                      <a:lnTo>
                        <a:pt x="129553" y="503191"/>
                      </a:lnTo>
                      <a:lnTo>
                        <a:pt x="131107" y="499536"/>
                      </a:lnTo>
                      <a:lnTo>
                        <a:pt x="131751" y="498419"/>
                      </a:lnTo>
                      <a:lnTo>
                        <a:pt x="132601" y="497229"/>
                      </a:lnTo>
                      <a:lnTo>
                        <a:pt x="133524" y="496537"/>
                      </a:lnTo>
                      <a:lnTo>
                        <a:pt x="134325" y="496306"/>
                      </a:lnTo>
                      <a:lnTo>
                        <a:pt x="135467" y="496428"/>
                      </a:lnTo>
                      <a:lnTo>
                        <a:pt x="136219" y="496598"/>
                      </a:lnTo>
                      <a:lnTo>
                        <a:pt x="137252" y="497059"/>
                      </a:lnTo>
                      <a:lnTo>
                        <a:pt x="138284" y="497824"/>
                      </a:lnTo>
                      <a:lnTo>
                        <a:pt x="144027" y="503252"/>
                      </a:lnTo>
                      <a:lnTo>
                        <a:pt x="146723" y="505231"/>
                      </a:lnTo>
                      <a:lnTo>
                        <a:pt x="148156" y="506603"/>
                      </a:lnTo>
                      <a:lnTo>
                        <a:pt x="149018" y="507696"/>
                      </a:lnTo>
                      <a:lnTo>
                        <a:pt x="149370" y="508522"/>
                      </a:lnTo>
                      <a:lnTo>
                        <a:pt x="149589" y="509360"/>
                      </a:lnTo>
                      <a:lnTo>
                        <a:pt x="150002" y="510368"/>
                      </a:lnTo>
                      <a:lnTo>
                        <a:pt x="150342" y="511060"/>
                      </a:lnTo>
                      <a:lnTo>
                        <a:pt x="151143" y="511715"/>
                      </a:lnTo>
                      <a:lnTo>
                        <a:pt x="152297" y="512177"/>
                      </a:lnTo>
                      <a:lnTo>
                        <a:pt x="154191" y="512238"/>
                      </a:lnTo>
                      <a:lnTo>
                        <a:pt x="158441" y="511546"/>
                      </a:lnTo>
                      <a:lnTo>
                        <a:pt x="159643" y="511837"/>
                      </a:lnTo>
                      <a:lnTo>
                        <a:pt x="161088" y="512978"/>
                      </a:lnTo>
                      <a:lnTo>
                        <a:pt x="163092" y="515759"/>
                      </a:lnTo>
                      <a:lnTo>
                        <a:pt x="174700" y="539669"/>
                      </a:lnTo>
                      <a:lnTo>
                        <a:pt x="176133" y="541563"/>
                      </a:lnTo>
                      <a:lnTo>
                        <a:pt x="177445" y="542170"/>
                      </a:lnTo>
                      <a:lnTo>
                        <a:pt x="179060" y="541599"/>
                      </a:lnTo>
                      <a:lnTo>
                        <a:pt x="180140" y="540045"/>
                      </a:lnTo>
                      <a:lnTo>
                        <a:pt x="182788" y="534897"/>
                      </a:lnTo>
                      <a:lnTo>
                        <a:pt x="183650" y="533585"/>
                      </a:lnTo>
                      <a:lnTo>
                        <a:pt x="184281" y="532759"/>
                      </a:lnTo>
                      <a:lnTo>
                        <a:pt x="185313" y="531776"/>
                      </a:lnTo>
                      <a:lnTo>
                        <a:pt x="186516" y="531011"/>
                      </a:lnTo>
                      <a:lnTo>
                        <a:pt x="187960" y="530343"/>
                      </a:lnTo>
                      <a:lnTo>
                        <a:pt x="189733" y="530064"/>
                      </a:lnTo>
                      <a:lnTo>
                        <a:pt x="191749" y="529954"/>
                      </a:lnTo>
                      <a:lnTo>
                        <a:pt x="209490" y="532589"/>
                      </a:lnTo>
                      <a:lnTo>
                        <a:pt x="211894" y="533476"/>
                      </a:lnTo>
                      <a:lnTo>
                        <a:pt x="216666" y="536099"/>
                      </a:lnTo>
                      <a:lnTo>
                        <a:pt x="218901" y="536888"/>
                      </a:lnTo>
                      <a:lnTo>
                        <a:pt x="226138" y="537106"/>
                      </a:lnTo>
                      <a:lnTo>
                        <a:pt x="227874" y="537471"/>
                      </a:lnTo>
                      <a:lnTo>
                        <a:pt x="228846" y="538297"/>
                      </a:lnTo>
                      <a:lnTo>
                        <a:pt x="228615" y="540167"/>
                      </a:lnTo>
                      <a:lnTo>
                        <a:pt x="228093" y="541855"/>
                      </a:lnTo>
                      <a:lnTo>
                        <a:pt x="227692" y="543834"/>
                      </a:lnTo>
                      <a:lnTo>
                        <a:pt x="227631" y="545728"/>
                      </a:lnTo>
                      <a:lnTo>
                        <a:pt x="227971" y="548497"/>
                      </a:lnTo>
                      <a:lnTo>
                        <a:pt x="227923" y="550221"/>
                      </a:lnTo>
                      <a:lnTo>
                        <a:pt x="227753" y="551593"/>
                      </a:lnTo>
                      <a:lnTo>
                        <a:pt x="227923" y="552358"/>
                      </a:lnTo>
                      <a:lnTo>
                        <a:pt x="228141" y="552941"/>
                      </a:lnTo>
                      <a:lnTo>
                        <a:pt x="231432" y="552735"/>
                      </a:lnTo>
                      <a:lnTo>
                        <a:pt x="232974" y="551642"/>
                      </a:lnTo>
                      <a:lnTo>
                        <a:pt x="240139" y="545704"/>
                      </a:lnTo>
                      <a:lnTo>
                        <a:pt x="242215" y="544514"/>
                      </a:lnTo>
                      <a:lnTo>
                        <a:pt x="244170" y="543639"/>
                      </a:lnTo>
                      <a:lnTo>
                        <a:pt x="248238" y="542291"/>
                      </a:lnTo>
                      <a:lnTo>
                        <a:pt x="249975" y="541102"/>
                      </a:lnTo>
                      <a:lnTo>
                        <a:pt x="253010" y="538297"/>
                      </a:lnTo>
                      <a:lnTo>
                        <a:pt x="253933" y="537034"/>
                      </a:lnTo>
                      <a:lnTo>
                        <a:pt x="254055" y="535880"/>
                      </a:lnTo>
                      <a:lnTo>
                        <a:pt x="253241" y="534447"/>
                      </a:lnTo>
                      <a:lnTo>
                        <a:pt x="249853" y="531375"/>
                      </a:lnTo>
                      <a:lnTo>
                        <a:pt x="249331" y="530561"/>
                      </a:lnTo>
                      <a:lnTo>
                        <a:pt x="248821" y="529626"/>
                      </a:lnTo>
                      <a:lnTo>
                        <a:pt x="248651" y="528108"/>
                      </a:lnTo>
                      <a:lnTo>
                        <a:pt x="248821" y="526044"/>
                      </a:lnTo>
                      <a:lnTo>
                        <a:pt x="251347" y="516475"/>
                      </a:lnTo>
                      <a:lnTo>
                        <a:pt x="251699" y="513780"/>
                      </a:lnTo>
                      <a:lnTo>
                        <a:pt x="251638" y="511594"/>
                      </a:lnTo>
                      <a:lnTo>
                        <a:pt x="250824" y="508060"/>
                      </a:lnTo>
                      <a:lnTo>
                        <a:pt x="250606" y="507599"/>
                      </a:lnTo>
                      <a:lnTo>
                        <a:pt x="250144" y="507429"/>
                      </a:lnTo>
                      <a:lnTo>
                        <a:pt x="249331" y="507210"/>
                      </a:lnTo>
                      <a:lnTo>
                        <a:pt x="245032" y="506725"/>
                      </a:lnTo>
                      <a:lnTo>
                        <a:pt x="242798" y="506700"/>
                      </a:lnTo>
                      <a:lnTo>
                        <a:pt x="241693" y="506871"/>
                      </a:lnTo>
                      <a:lnTo>
                        <a:pt x="240892" y="507126"/>
                      </a:lnTo>
                      <a:lnTo>
                        <a:pt x="240041" y="507611"/>
                      </a:lnTo>
                      <a:lnTo>
                        <a:pt x="239750" y="507866"/>
                      </a:lnTo>
                      <a:lnTo>
                        <a:pt x="237734" y="509239"/>
                      </a:lnTo>
                      <a:lnTo>
                        <a:pt x="236192" y="509821"/>
                      </a:lnTo>
                      <a:lnTo>
                        <a:pt x="234869" y="509991"/>
                      </a:lnTo>
                      <a:lnTo>
                        <a:pt x="233496" y="509566"/>
                      </a:lnTo>
                      <a:lnTo>
                        <a:pt x="232513" y="509081"/>
                      </a:lnTo>
                      <a:lnTo>
                        <a:pt x="231712" y="508473"/>
                      </a:lnTo>
                      <a:lnTo>
                        <a:pt x="230910" y="507648"/>
                      </a:lnTo>
                      <a:lnTo>
                        <a:pt x="228724" y="504831"/>
                      </a:lnTo>
                      <a:lnTo>
                        <a:pt x="227631" y="503956"/>
                      </a:lnTo>
                      <a:lnTo>
                        <a:pt x="226381" y="503337"/>
                      </a:lnTo>
                      <a:lnTo>
                        <a:pt x="224887" y="503009"/>
                      </a:lnTo>
                      <a:lnTo>
                        <a:pt x="223442" y="502912"/>
                      </a:lnTo>
                      <a:lnTo>
                        <a:pt x="215865" y="503434"/>
                      </a:lnTo>
                      <a:lnTo>
                        <a:pt x="213218" y="503203"/>
                      </a:lnTo>
                      <a:lnTo>
                        <a:pt x="212295" y="502888"/>
                      </a:lnTo>
                      <a:lnTo>
                        <a:pt x="211493" y="502426"/>
                      </a:lnTo>
                      <a:lnTo>
                        <a:pt x="208519" y="499621"/>
                      </a:lnTo>
                      <a:lnTo>
                        <a:pt x="207365" y="498759"/>
                      </a:lnTo>
                      <a:lnTo>
                        <a:pt x="198173" y="494631"/>
                      </a:lnTo>
                      <a:lnTo>
                        <a:pt x="197590" y="492675"/>
                      </a:lnTo>
                      <a:lnTo>
                        <a:pt x="197772" y="489482"/>
                      </a:lnTo>
                      <a:lnTo>
                        <a:pt x="201573" y="476647"/>
                      </a:lnTo>
                      <a:lnTo>
                        <a:pt x="201961" y="473781"/>
                      </a:lnTo>
                      <a:lnTo>
                        <a:pt x="201961" y="468899"/>
                      </a:lnTo>
                      <a:lnTo>
                        <a:pt x="200528" y="460570"/>
                      </a:lnTo>
                      <a:lnTo>
                        <a:pt x="200358" y="450284"/>
                      </a:lnTo>
                      <a:lnTo>
                        <a:pt x="199605" y="447916"/>
                      </a:lnTo>
                      <a:lnTo>
                        <a:pt x="198804" y="446326"/>
                      </a:lnTo>
                      <a:lnTo>
                        <a:pt x="197954" y="445148"/>
                      </a:lnTo>
                      <a:lnTo>
                        <a:pt x="197432" y="443885"/>
                      </a:lnTo>
                      <a:lnTo>
                        <a:pt x="197432" y="440242"/>
                      </a:lnTo>
                      <a:lnTo>
                        <a:pt x="199387" y="424104"/>
                      </a:lnTo>
                      <a:lnTo>
                        <a:pt x="199096" y="419490"/>
                      </a:lnTo>
                      <a:lnTo>
                        <a:pt x="198585" y="417353"/>
                      </a:lnTo>
                      <a:lnTo>
                        <a:pt x="197493" y="417814"/>
                      </a:lnTo>
                      <a:lnTo>
                        <a:pt x="196618" y="418531"/>
                      </a:lnTo>
                      <a:lnTo>
                        <a:pt x="195647" y="419174"/>
                      </a:lnTo>
                      <a:lnTo>
                        <a:pt x="194615" y="419174"/>
                      </a:lnTo>
                      <a:lnTo>
                        <a:pt x="193631" y="418227"/>
                      </a:lnTo>
                      <a:lnTo>
                        <a:pt x="192842" y="416649"/>
                      </a:lnTo>
                      <a:lnTo>
                        <a:pt x="191980" y="413176"/>
                      </a:lnTo>
                      <a:lnTo>
                        <a:pt x="191749" y="410164"/>
                      </a:lnTo>
                      <a:lnTo>
                        <a:pt x="191688" y="409849"/>
                      </a:lnTo>
                      <a:lnTo>
                        <a:pt x="190826" y="408780"/>
                      </a:lnTo>
                      <a:lnTo>
                        <a:pt x="190134" y="408695"/>
                      </a:lnTo>
                      <a:lnTo>
                        <a:pt x="189454" y="409072"/>
                      </a:lnTo>
                      <a:lnTo>
                        <a:pt x="188980" y="409581"/>
                      </a:lnTo>
                      <a:lnTo>
                        <a:pt x="188471" y="410043"/>
                      </a:lnTo>
                      <a:lnTo>
                        <a:pt x="188009" y="410188"/>
                      </a:lnTo>
                      <a:lnTo>
                        <a:pt x="187718" y="410164"/>
                      </a:lnTo>
                      <a:lnTo>
                        <a:pt x="187608" y="410067"/>
                      </a:lnTo>
                      <a:lnTo>
                        <a:pt x="184682" y="404299"/>
                      </a:lnTo>
                      <a:lnTo>
                        <a:pt x="184050" y="401737"/>
                      </a:lnTo>
                      <a:lnTo>
                        <a:pt x="184050" y="398993"/>
                      </a:lnTo>
                      <a:lnTo>
                        <a:pt x="187268" y="385660"/>
                      </a:lnTo>
                      <a:lnTo>
                        <a:pt x="188300" y="382758"/>
                      </a:lnTo>
                      <a:lnTo>
                        <a:pt x="188980" y="379309"/>
                      </a:lnTo>
                      <a:lnTo>
                        <a:pt x="189211" y="376929"/>
                      </a:lnTo>
                      <a:lnTo>
                        <a:pt x="189102" y="374379"/>
                      </a:lnTo>
                      <a:lnTo>
                        <a:pt x="188519" y="371938"/>
                      </a:lnTo>
                      <a:lnTo>
                        <a:pt x="187839" y="369777"/>
                      </a:lnTo>
                      <a:lnTo>
                        <a:pt x="185945" y="365709"/>
                      </a:lnTo>
                      <a:lnTo>
                        <a:pt x="185253" y="363608"/>
                      </a:lnTo>
                      <a:lnTo>
                        <a:pt x="184803" y="361544"/>
                      </a:lnTo>
                      <a:lnTo>
                        <a:pt x="184403" y="339432"/>
                      </a:lnTo>
                      <a:lnTo>
                        <a:pt x="184621" y="338254"/>
                      </a:lnTo>
                      <a:lnTo>
                        <a:pt x="185143" y="337161"/>
                      </a:lnTo>
                      <a:lnTo>
                        <a:pt x="185714" y="336299"/>
                      </a:lnTo>
                      <a:lnTo>
                        <a:pt x="186455" y="335582"/>
                      </a:lnTo>
                      <a:lnTo>
                        <a:pt x="187718" y="335206"/>
                      </a:lnTo>
                      <a:lnTo>
                        <a:pt x="188701" y="335206"/>
                      </a:lnTo>
                      <a:lnTo>
                        <a:pt x="194323" y="336614"/>
                      </a:lnTo>
                      <a:lnTo>
                        <a:pt x="195489" y="337161"/>
                      </a:lnTo>
                      <a:lnTo>
                        <a:pt x="196157" y="337829"/>
                      </a:lnTo>
                      <a:lnTo>
                        <a:pt x="196521" y="338545"/>
                      </a:lnTo>
                      <a:lnTo>
                        <a:pt x="196521" y="339322"/>
                      </a:lnTo>
                      <a:lnTo>
                        <a:pt x="196218" y="341666"/>
                      </a:lnTo>
                      <a:lnTo>
                        <a:pt x="196218" y="342698"/>
                      </a:lnTo>
                      <a:lnTo>
                        <a:pt x="196679" y="343767"/>
                      </a:lnTo>
                      <a:lnTo>
                        <a:pt x="197311" y="344434"/>
                      </a:lnTo>
                      <a:lnTo>
                        <a:pt x="198233" y="344714"/>
                      </a:lnTo>
                      <a:lnTo>
                        <a:pt x="199557" y="344568"/>
                      </a:lnTo>
                      <a:lnTo>
                        <a:pt x="202423" y="343585"/>
                      </a:lnTo>
                      <a:lnTo>
                        <a:pt x="205301" y="342152"/>
                      </a:lnTo>
                      <a:lnTo>
                        <a:pt x="207073" y="340488"/>
                      </a:lnTo>
                      <a:lnTo>
                        <a:pt x="208968" y="338193"/>
                      </a:lnTo>
                      <a:lnTo>
                        <a:pt x="211724" y="333287"/>
                      </a:lnTo>
                      <a:lnTo>
                        <a:pt x="213740" y="330337"/>
                      </a:lnTo>
                      <a:lnTo>
                        <a:pt x="216788" y="327119"/>
                      </a:lnTo>
                      <a:lnTo>
                        <a:pt x="218221" y="325965"/>
                      </a:lnTo>
                      <a:lnTo>
                        <a:pt x="219253" y="325443"/>
                      </a:lnTo>
                      <a:lnTo>
                        <a:pt x="221147" y="325273"/>
                      </a:lnTo>
                      <a:lnTo>
                        <a:pt x="223029" y="324034"/>
                      </a:lnTo>
                      <a:lnTo>
                        <a:pt x="225676" y="321059"/>
                      </a:lnTo>
                      <a:lnTo>
                        <a:pt x="234055" y="307435"/>
                      </a:lnTo>
                      <a:lnTo>
                        <a:pt x="237916" y="296300"/>
                      </a:lnTo>
                      <a:lnTo>
                        <a:pt x="241074" y="291722"/>
                      </a:lnTo>
                      <a:lnTo>
                        <a:pt x="241596" y="287958"/>
                      </a:lnTo>
                      <a:lnTo>
                        <a:pt x="240843" y="285468"/>
                      </a:lnTo>
                      <a:lnTo>
                        <a:pt x="240782" y="284631"/>
                      </a:lnTo>
                      <a:lnTo>
                        <a:pt x="241183" y="283866"/>
                      </a:lnTo>
                      <a:lnTo>
                        <a:pt x="241997" y="282955"/>
                      </a:lnTo>
                      <a:lnTo>
                        <a:pt x="243429" y="282263"/>
                      </a:lnTo>
                      <a:lnTo>
                        <a:pt x="245555" y="281680"/>
                      </a:lnTo>
                      <a:lnTo>
                        <a:pt x="261389" y="280805"/>
                      </a:lnTo>
                      <a:lnTo>
                        <a:pt x="263064" y="281194"/>
                      </a:lnTo>
                      <a:lnTo>
                        <a:pt x="264558" y="281971"/>
                      </a:lnTo>
                      <a:lnTo>
                        <a:pt x="265590" y="283028"/>
                      </a:lnTo>
                      <a:lnTo>
                        <a:pt x="266963" y="283756"/>
                      </a:lnTo>
                      <a:lnTo>
                        <a:pt x="268517" y="283756"/>
                      </a:lnTo>
                      <a:lnTo>
                        <a:pt x="269840" y="283295"/>
                      </a:lnTo>
                      <a:lnTo>
                        <a:pt x="272245" y="281983"/>
                      </a:lnTo>
                      <a:lnTo>
                        <a:pt x="274479" y="281230"/>
                      </a:lnTo>
                      <a:lnTo>
                        <a:pt x="278110" y="280563"/>
                      </a:lnTo>
                      <a:lnTo>
                        <a:pt x="281838" y="280417"/>
                      </a:lnTo>
                      <a:lnTo>
                        <a:pt x="301133" y="277163"/>
                      </a:lnTo>
                      <a:lnTo>
                        <a:pt x="303488" y="277624"/>
                      </a:lnTo>
                      <a:lnTo>
                        <a:pt x="305735" y="279069"/>
                      </a:lnTo>
                      <a:lnTo>
                        <a:pt x="307046" y="280635"/>
                      </a:lnTo>
                      <a:lnTo>
                        <a:pt x="308078" y="281643"/>
                      </a:lnTo>
                      <a:lnTo>
                        <a:pt x="309463" y="282554"/>
                      </a:lnTo>
                      <a:lnTo>
                        <a:pt x="311357" y="283246"/>
                      </a:lnTo>
                      <a:lnTo>
                        <a:pt x="313470" y="283769"/>
                      </a:lnTo>
                      <a:lnTo>
                        <a:pt x="315146" y="284436"/>
                      </a:lnTo>
                      <a:lnTo>
                        <a:pt x="316809" y="285553"/>
                      </a:lnTo>
                      <a:lnTo>
                        <a:pt x="319554" y="288516"/>
                      </a:lnTo>
                      <a:lnTo>
                        <a:pt x="320828" y="289269"/>
                      </a:lnTo>
                      <a:lnTo>
                        <a:pt x="322444" y="289706"/>
                      </a:lnTo>
                      <a:lnTo>
                        <a:pt x="332024" y="289063"/>
                      </a:lnTo>
                      <a:lnTo>
                        <a:pt x="334720" y="288516"/>
                      </a:lnTo>
                      <a:lnTo>
                        <a:pt x="337149" y="287472"/>
                      </a:lnTo>
                      <a:lnTo>
                        <a:pt x="340403" y="284715"/>
                      </a:lnTo>
                      <a:lnTo>
                        <a:pt x="342710" y="282044"/>
                      </a:lnTo>
                      <a:lnTo>
                        <a:pt x="344993" y="278340"/>
                      </a:lnTo>
                      <a:lnTo>
                        <a:pt x="350396" y="263198"/>
                      </a:lnTo>
                      <a:lnTo>
                        <a:pt x="351720" y="260891"/>
                      </a:lnTo>
                      <a:lnTo>
                        <a:pt x="356019" y="255233"/>
                      </a:lnTo>
                      <a:lnTo>
                        <a:pt x="356480" y="253387"/>
                      </a:lnTo>
                      <a:lnTo>
                        <a:pt x="356371" y="252269"/>
                      </a:lnTo>
                      <a:lnTo>
                        <a:pt x="355861" y="251614"/>
                      </a:lnTo>
                      <a:lnTo>
                        <a:pt x="355679" y="251067"/>
                      </a:lnTo>
                      <a:lnTo>
                        <a:pt x="355679" y="250084"/>
                      </a:lnTo>
                      <a:lnTo>
                        <a:pt x="356019" y="248627"/>
                      </a:lnTo>
                      <a:lnTo>
                        <a:pt x="356662" y="246902"/>
                      </a:lnTo>
                      <a:lnTo>
                        <a:pt x="357695" y="244887"/>
                      </a:lnTo>
                      <a:lnTo>
                        <a:pt x="358787" y="243223"/>
                      </a:lnTo>
                      <a:lnTo>
                        <a:pt x="360220" y="241790"/>
                      </a:lnTo>
                      <a:lnTo>
                        <a:pt x="362163" y="241633"/>
                      </a:lnTo>
                      <a:lnTo>
                        <a:pt x="364300" y="241814"/>
                      </a:lnTo>
                      <a:lnTo>
                        <a:pt x="372448" y="245312"/>
                      </a:lnTo>
                      <a:lnTo>
                        <a:pt x="374002" y="245797"/>
                      </a:lnTo>
                      <a:lnTo>
                        <a:pt x="375496" y="246113"/>
                      </a:lnTo>
                      <a:lnTo>
                        <a:pt x="377330" y="246137"/>
                      </a:lnTo>
                      <a:lnTo>
                        <a:pt x="379054" y="245627"/>
                      </a:lnTo>
                      <a:lnTo>
                        <a:pt x="380086" y="244219"/>
                      </a:lnTo>
                      <a:lnTo>
                        <a:pt x="380669" y="241972"/>
                      </a:lnTo>
                      <a:lnTo>
                        <a:pt x="380487" y="238184"/>
                      </a:lnTo>
                      <a:lnTo>
                        <a:pt x="379977" y="235767"/>
                      </a:lnTo>
                      <a:lnTo>
                        <a:pt x="379285" y="233788"/>
                      </a:lnTo>
                      <a:lnTo>
                        <a:pt x="378192" y="232416"/>
                      </a:lnTo>
                      <a:lnTo>
                        <a:pt x="371817" y="226599"/>
                      </a:lnTo>
                      <a:lnTo>
                        <a:pt x="370554" y="225009"/>
                      </a:lnTo>
                      <a:lnTo>
                        <a:pt x="369692" y="223236"/>
                      </a:lnTo>
                      <a:lnTo>
                        <a:pt x="369170" y="221208"/>
                      </a:lnTo>
                      <a:lnTo>
                        <a:pt x="369000" y="216460"/>
                      </a:lnTo>
                      <a:lnTo>
                        <a:pt x="369230" y="214238"/>
                      </a:lnTo>
                      <a:lnTo>
                        <a:pt x="370663" y="210133"/>
                      </a:lnTo>
                      <a:lnTo>
                        <a:pt x="372047" y="204341"/>
                      </a:lnTo>
                      <a:lnTo>
                        <a:pt x="372157" y="202265"/>
                      </a:lnTo>
                      <a:lnTo>
                        <a:pt x="373832" y="198914"/>
                      </a:lnTo>
                      <a:lnTo>
                        <a:pt x="391112" y="171118"/>
                      </a:lnTo>
                      <a:lnTo>
                        <a:pt x="393880" y="165338"/>
                      </a:lnTo>
                      <a:lnTo>
                        <a:pt x="394670" y="161780"/>
                      </a:lnTo>
                      <a:lnTo>
                        <a:pt x="394791" y="156984"/>
                      </a:lnTo>
                      <a:lnTo>
                        <a:pt x="395362" y="155114"/>
                      </a:lnTo>
                      <a:lnTo>
                        <a:pt x="396564" y="153717"/>
                      </a:lnTo>
                      <a:lnTo>
                        <a:pt x="399029" y="153462"/>
                      </a:lnTo>
                      <a:lnTo>
                        <a:pt x="400523" y="153924"/>
                      </a:lnTo>
                      <a:lnTo>
                        <a:pt x="401676" y="154774"/>
                      </a:lnTo>
                      <a:lnTo>
                        <a:pt x="402769" y="155782"/>
                      </a:lnTo>
                      <a:lnTo>
                        <a:pt x="403692" y="155867"/>
                      </a:lnTo>
                      <a:lnTo>
                        <a:pt x="404493" y="155175"/>
                      </a:lnTo>
                      <a:lnTo>
                        <a:pt x="405173" y="153025"/>
                      </a:lnTo>
                      <a:lnTo>
                        <a:pt x="405295" y="149892"/>
                      </a:lnTo>
                      <a:lnTo>
                        <a:pt x="405756" y="149164"/>
                      </a:lnTo>
                      <a:lnTo>
                        <a:pt x="406788" y="148532"/>
                      </a:lnTo>
                      <a:lnTo>
                        <a:pt x="410286" y="148763"/>
                      </a:lnTo>
                      <a:lnTo>
                        <a:pt x="411500" y="148557"/>
                      </a:lnTo>
                      <a:lnTo>
                        <a:pt x="412301" y="148253"/>
                      </a:lnTo>
                      <a:lnTo>
                        <a:pt x="413734" y="144574"/>
                      </a:lnTo>
                      <a:lnTo>
                        <a:pt x="412933" y="141404"/>
                      </a:lnTo>
                      <a:lnTo>
                        <a:pt x="412763" y="140348"/>
                      </a:lnTo>
                      <a:lnTo>
                        <a:pt x="413103" y="138648"/>
                      </a:lnTo>
                      <a:lnTo>
                        <a:pt x="414706" y="133937"/>
                      </a:lnTo>
                      <a:lnTo>
                        <a:pt x="415009" y="132212"/>
                      </a:lnTo>
                      <a:lnTo>
                        <a:pt x="414827" y="130889"/>
                      </a:lnTo>
                      <a:lnTo>
                        <a:pt x="414026" y="129893"/>
                      </a:lnTo>
                      <a:lnTo>
                        <a:pt x="412641" y="128739"/>
                      </a:lnTo>
                      <a:lnTo>
                        <a:pt x="407238" y="125692"/>
                      </a:lnTo>
                      <a:lnTo>
                        <a:pt x="405574" y="124344"/>
                      </a:lnTo>
                      <a:lnTo>
                        <a:pt x="404445" y="122887"/>
                      </a:lnTo>
                      <a:lnTo>
                        <a:pt x="403983" y="121077"/>
                      </a:lnTo>
                      <a:lnTo>
                        <a:pt x="404032" y="119159"/>
                      </a:lnTo>
                      <a:lnTo>
                        <a:pt x="404955" y="111788"/>
                      </a:lnTo>
                      <a:lnTo>
                        <a:pt x="405756" y="110173"/>
                      </a:lnTo>
                      <a:lnTo>
                        <a:pt x="406971" y="108862"/>
                      </a:lnTo>
                      <a:lnTo>
                        <a:pt x="410164" y="107089"/>
                      </a:lnTo>
                      <a:lnTo>
                        <a:pt x="412240" y="106397"/>
                      </a:lnTo>
                      <a:lnTo>
                        <a:pt x="413734" y="105534"/>
                      </a:lnTo>
                      <a:lnTo>
                        <a:pt x="414888" y="104296"/>
                      </a:lnTo>
                      <a:lnTo>
                        <a:pt x="415118" y="102426"/>
                      </a:lnTo>
                      <a:lnTo>
                        <a:pt x="414706" y="101163"/>
                      </a:lnTo>
                      <a:lnTo>
                        <a:pt x="413843" y="100070"/>
                      </a:lnTo>
                      <a:lnTo>
                        <a:pt x="412993" y="99269"/>
                      </a:lnTo>
                      <a:lnTo>
                        <a:pt x="411038" y="97119"/>
                      </a:lnTo>
                      <a:lnTo>
                        <a:pt x="410225" y="95771"/>
                      </a:lnTo>
                      <a:lnTo>
                        <a:pt x="410747" y="93561"/>
                      </a:lnTo>
                      <a:lnTo>
                        <a:pt x="412240" y="90295"/>
                      </a:lnTo>
                      <a:lnTo>
                        <a:pt x="421311" y="77181"/>
                      </a:lnTo>
                      <a:lnTo>
                        <a:pt x="424760" y="73805"/>
                      </a:lnTo>
                      <a:lnTo>
                        <a:pt x="427856" y="71826"/>
                      </a:lnTo>
                      <a:lnTo>
                        <a:pt x="432398" y="69494"/>
                      </a:lnTo>
                      <a:lnTo>
                        <a:pt x="443132" y="65572"/>
                      </a:lnTo>
                      <a:lnTo>
                        <a:pt x="445318" y="64139"/>
                      </a:lnTo>
                      <a:lnTo>
                        <a:pt x="460994" y="50296"/>
                      </a:lnTo>
                      <a:lnTo>
                        <a:pt x="465645" y="47139"/>
                      </a:lnTo>
                      <a:lnTo>
                        <a:pt x="472312" y="45075"/>
                      </a:lnTo>
                      <a:lnTo>
                        <a:pt x="480059" y="44358"/>
                      </a:lnTo>
                      <a:lnTo>
                        <a:pt x="482585" y="43812"/>
                      </a:lnTo>
                      <a:lnTo>
                        <a:pt x="485159" y="42695"/>
                      </a:lnTo>
                      <a:lnTo>
                        <a:pt x="487065" y="41201"/>
                      </a:lnTo>
                      <a:lnTo>
                        <a:pt x="492408" y="34972"/>
                      </a:lnTo>
                      <a:lnTo>
                        <a:pt x="493319" y="33648"/>
                      </a:lnTo>
                      <a:lnTo>
                        <a:pt x="493950" y="32215"/>
                      </a:lnTo>
                      <a:lnTo>
                        <a:pt x="494363" y="30782"/>
                      </a:lnTo>
                      <a:lnTo>
                        <a:pt x="494691" y="29022"/>
                      </a:lnTo>
                      <a:lnTo>
                        <a:pt x="494813" y="26812"/>
                      </a:lnTo>
                      <a:lnTo>
                        <a:pt x="494424" y="23399"/>
                      </a:lnTo>
                      <a:lnTo>
                        <a:pt x="493610" y="20582"/>
                      </a:lnTo>
                      <a:lnTo>
                        <a:pt x="489882" y="14122"/>
                      </a:lnTo>
                      <a:lnTo>
                        <a:pt x="489360" y="12859"/>
                      </a:lnTo>
                      <a:lnTo>
                        <a:pt x="489761" y="9532"/>
                      </a:lnTo>
                      <a:lnTo>
                        <a:pt x="496767" y="11087"/>
                      </a:lnTo>
                      <a:lnTo>
                        <a:pt x="502110" y="13697"/>
                      </a:lnTo>
                      <a:lnTo>
                        <a:pt x="507903" y="17377"/>
                      </a:lnTo>
                      <a:lnTo>
                        <a:pt x="518698" y="31754"/>
                      </a:lnTo>
                      <a:lnTo>
                        <a:pt x="519863" y="34632"/>
                      </a:lnTo>
                      <a:lnTo>
                        <a:pt x="521053" y="36830"/>
                      </a:lnTo>
                      <a:lnTo>
                        <a:pt x="523069" y="39622"/>
                      </a:lnTo>
                      <a:lnTo>
                        <a:pt x="528874" y="44042"/>
                      </a:lnTo>
                      <a:lnTo>
                        <a:pt x="530756" y="44783"/>
                      </a:lnTo>
                      <a:lnTo>
                        <a:pt x="532079" y="44929"/>
                      </a:lnTo>
                      <a:lnTo>
                        <a:pt x="536159" y="44783"/>
                      </a:lnTo>
                      <a:lnTo>
                        <a:pt x="538685" y="45415"/>
                      </a:lnTo>
                      <a:lnTo>
                        <a:pt x="550282" y="51158"/>
                      </a:lnTo>
                      <a:lnTo>
                        <a:pt x="553682" y="51996"/>
                      </a:lnTo>
                      <a:lnTo>
                        <a:pt x="571932" y="51049"/>
                      </a:lnTo>
                      <a:lnTo>
                        <a:pt x="574288" y="50612"/>
                      </a:lnTo>
                      <a:lnTo>
                        <a:pt x="586225" y="44443"/>
                      </a:lnTo>
                      <a:lnTo>
                        <a:pt x="587439" y="43618"/>
                      </a:lnTo>
                      <a:lnTo>
                        <a:pt x="588641" y="42488"/>
                      </a:lnTo>
                      <a:lnTo>
                        <a:pt x="589321" y="41626"/>
                      </a:lnTo>
                      <a:lnTo>
                        <a:pt x="589843" y="40023"/>
                      </a:lnTo>
                      <a:lnTo>
                        <a:pt x="590074" y="38469"/>
                      </a:lnTo>
                      <a:lnTo>
                        <a:pt x="589965" y="36514"/>
                      </a:lnTo>
                      <a:lnTo>
                        <a:pt x="590074" y="34935"/>
                      </a:lnTo>
                      <a:lnTo>
                        <a:pt x="590657" y="33648"/>
                      </a:lnTo>
                      <a:lnTo>
                        <a:pt x="592260" y="32786"/>
                      </a:lnTo>
                      <a:lnTo>
                        <a:pt x="594785" y="32470"/>
                      </a:lnTo>
                      <a:lnTo>
                        <a:pt x="632975" y="31632"/>
                      </a:lnTo>
                      <a:lnTo>
                        <a:pt x="635731" y="30952"/>
                      </a:lnTo>
                      <a:lnTo>
                        <a:pt x="637456" y="30030"/>
                      </a:lnTo>
                      <a:lnTo>
                        <a:pt x="638257" y="28961"/>
                      </a:lnTo>
                      <a:lnTo>
                        <a:pt x="639581" y="28026"/>
                      </a:lnTo>
                      <a:lnTo>
                        <a:pt x="641354" y="27467"/>
                      </a:lnTo>
                      <a:lnTo>
                        <a:pt x="645555" y="27127"/>
                      </a:lnTo>
                      <a:lnTo>
                        <a:pt x="648724" y="27540"/>
                      </a:lnTo>
                      <a:lnTo>
                        <a:pt x="660126" y="30321"/>
                      </a:lnTo>
                      <a:lnTo>
                        <a:pt x="665700" y="32665"/>
                      </a:lnTo>
                      <a:lnTo>
                        <a:pt x="667194" y="32446"/>
                      </a:lnTo>
                      <a:lnTo>
                        <a:pt x="668165" y="32106"/>
                      </a:lnTo>
                      <a:lnTo>
                        <a:pt x="671213" y="28912"/>
                      </a:lnTo>
                      <a:lnTo>
                        <a:pt x="672427" y="28087"/>
                      </a:lnTo>
                      <a:lnTo>
                        <a:pt x="674042" y="27674"/>
                      </a:lnTo>
                      <a:lnTo>
                        <a:pt x="679835" y="27103"/>
                      </a:lnTo>
                      <a:lnTo>
                        <a:pt x="680709" y="26727"/>
                      </a:lnTo>
                      <a:lnTo>
                        <a:pt x="690120" y="20752"/>
                      </a:lnTo>
                      <a:lnTo>
                        <a:pt x="695232" y="16660"/>
                      </a:lnTo>
                      <a:lnTo>
                        <a:pt x="699360" y="27819"/>
                      </a:lnTo>
                      <a:lnTo>
                        <a:pt x="701777" y="38214"/>
                      </a:lnTo>
                      <a:lnTo>
                        <a:pt x="702566" y="45390"/>
                      </a:lnTo>
                      <a:lnTo>
                        <a:pt x="702566" y="50648"/>
                      </a:lnTo>
                      <a:lnTo>
                        <a:pt x="701473" y="55785"/>
                      </a:lnTo>
                      <a:lnTo>
                        <a:pt x="700453" y="58663"/>
                      </a:lnTo>
                      <a:lnTo>
                        <a:pt x="699348" y="60642"/>
                      </a:lnTo>
                      <a:lnTo>
                        <a:pt x="690387" y="73186"/>
                      </a:lnTo>
                      <a:lnTo>
                        <a:pt x="684595" y="85960"/>
                      </a:lnTo>
                      <a:lnTo>
                        <a:pt x="682810" y="88911"/>
                      </a:lnTo>
                      <a:lnTo>
                        <a:pt x="681510" y="90671"/>
                      </a:lnTo>
                      <a:lnTo>
                        <a:pt x="680187" y="93598"/>
                      </a:lnTo>
                      <a:lnTo>
                        <a:pt x="680357" y="94812"/>
                      </a:lnTo>
                      <a:lnTo>
                        <a:pt x="681280" y="95322"/>
                      </a:lnTo>
                      <a:lnTo>
                        <a:pt x="683526" y="94897"/>
                      </a:lnTo>
                      <a:lnTo>
                        <a:pt x="690921" y="92226"/>
                      </a:lnTo>
                      <a:lnTo>
                        <a:pt x="692366" y="91983"/>
                      </a:lnTo>
                      <a:lnTo>
                        <a:pt x="694540" y="91922"/>
                      </a:lnTo>
                      <a:lnTo>
                        <a:pt x="697818" y="92347"/>
                      </a:lnTo>
                      <a:lnTo>
                        <a:pt x="701328" y="93452"/>
                      </a:lnTo>
                      <a:lnTo>
                        <a:pt x="703404" y="94423"/>
                      </a:lnTo>
                      <a:lnTo>
                        <a:pt x="718036" y="104041"/>
                      </a:lnTo>
                      <a:lnTo>
                        <a:pt x="721934" y="108546"/>
                      </a:lnTo>
                      <a:lnTo>
                        <a:pt x="723258" y="109675"/>
                      </a:lnTo>
                      <a:lnTo>
                        <a:pt x="724229" y="110039"/>
                      </a:lnTo>
                      <a:lnTo>
                        <a:pt x="725213" y="109784"/>
                      </a:lnTo>
                      <a:lnTo>
                        <a:pt x="726475" y="108837"/>
                      </a:lnTo>
                      <a:lnTo>
                        <a:pt x="735024" y="98989"/>
                      </a:lnTo>
                      <a:lnTo>
                        <a:pt x="743706" y="90829"/>
                      </a:lnTo>
                      <a:lnTo>
                        <a:pt x="745771" y="89712"/>
                      </a:lnTo>
                      <a:lnTo>
                        <a:pt x="754040" y="86846"/>
                      </a:lnTo>
                      <a:lnTo>
                        <a:pt x="757258" y="84721"/>
                      </a:lnTo>
                      <a:lnTo>
                        <a:pt x="759832" y="83883"/>
                      </a:lnTo>
                      <a:lnTo>
                        <a:pt x="762722" y="83398"/>
                      </a:lnTo>
                      <a:lnTo>
                        <a:pt x="764835" y="83458"/>
                      </a:lnTo>
                      <a:lnTo>
                        <a:pt x="767093" y="83798"/>
                      </a:lnTo>
                      <a:lnTo>
                        <a:pt x="769425" y="84661"/>
                      </a:lnTo>
                      <a:lnTo>
                        <a:pt x="786207" y="94581"/>
                      </a:lnTo>
                      <a:lnTo>
                        <a:pt x="797281" y="97629"/>
                      </a:lnTo>
                      <a:lnTo>
                        <a:pt x="805963" y="99099"/>
                      </a:lnTo>
                      <a:lnTo>
                        <a:pt x="810310" y="100847"/>
                      </a:lnTo>
                      <a:lnTo>
                        <a:pt x="811476" y="100617"/>
                      </a:lnTo>
                      <a:lnTo>
                        <a:pt x="815313" y="98552"/>
                      </a:lnTo>
                      <a:lnTo>
                        <a:pt x="817560" y="97690"/>
                      </a:lnTo>
                      <a:lnTo>
                        <a:pt x="820656" y="96864"/>
                      </a:lnTo>
                      <a:lnTo>
                        <a:pt x="822951" y="95881"/>
                      </a:lnTo>
                      <a:lnTo>
                        <a:pt x="824724" y="94678"/>
                      </a:lnTo>
                      <a:lnTo>
                        <a:pt x="826740" y="92821"/>
                      </a:lnTo>
                      <a:lnTo>
                        <a:pt x="829326" y="91145"/>
                      </a:lnTo>
                      <a:lnTo>
                        <a:pt x="831512" y="90380"/>
                      </a:lnTo>
                      <a:lnTo>
                        <a:pt x="832641" y="90975"/>
                      </a:lnTo>
                      <a:lnTo>
                        <a:pt x="833297" y="92760"/>
                      </a:lnTo>
                      <a:lnTo>
                        <a:pt x="833103" y="94885"/>
                      </a:lnTo>
                      <a:lnTo>
                        <a:pt x="832362" y="96719"/>
                      </a:lnTo>
                      <a:lnTo>
                        <a:pt x="829715" y="100070"/>
                      </a:lnTo>
                      <a:lnTo>
                        <a:pt x="829071" y="101624"/>
                      </a:lnTo>
                      <a:lnTo>
                        <a:pt x="828962" y="103227"/>
                      </a:lnTo>
                      <a:lnTo>
                        <a:pt x="829023" y="105243"/>
                      </a:lnTo>
                      <a:lnTo>
                        <a:pt x="828792" y="107975"/>
                      </a:lnTo>
                      <a:lnTo>
                        <a:pt x="829375" y="111411"/>
                      </a:lnTo>
                      <a:lnTo>
                        <a:pt x="830104" y="113451"/>
                      </a:lnTo>
                      <a:lnTo>
                        <a:pt x="839429" y="118503"/>
                      </a:lnTo>
                      <a:lnTo>
                        <a:pt x="847516" y="116560"/>
                      </a:lnTo>
                      <a:lnTo>
                        <a:pt x="851256" y="114289"/>
                      </a:lnTo>
                      <a:lnTo>
                        <a:pt x="854826" y="111411"/>
                      </a:lnTo>
                      <a:lnTo>
                        <a:pt x="863715" y="98917"/>
                      </a:lnTo>
                      <a:lnTo>
                        <a:pt x="865087" y="96549"/>
                      </a:lnTo>
                      <a:lnTo>
                        <a:pt x="865658" y="95213"/>
                      </a:lnTo>
                      <a:lnTo>
                        <a:pt x="865658" y="93853"/>
                      </a:lnTo>
                      <a:lnTo>
                        <a:pt x="865427" y="92396"/>
                      </a:lnTo>
                      <a:lnTo>
                        <a:pt x="865318" y="89530"/>
                      </a:lnTo>
                      <a:lnTo>
                        <a:pt x="866119" y="86312"/>
                      </a:lnTo>
                      <a:lnTo>
                        <a:pt x="867588" y="81916"/>
                      </a:lnTo>
                      <a:lnTo>
                        <a:pt x="868305" y="78881"/>
                      </a:lnTo>
                      <a:lnTo>
                        <a:pt x="868001" y="76100"/>
                      </a:lnTo>
                      <a:lnTo>
                        <a:pt x="865087" y="70818"/>
                      </a:lnTo>
                      <a:lnTo>
                        <a:pt x="863824" y="67600"/>
                      </a:lnTo>
                      <a:lnTo>
                        <a:pt x="863982" y="63969"/>
                      </a:lnTo>
                      <a:lnTo>
                        <a:pt x="865148" y="61625"/>
                      </a:lnTo>
                      <a:lnTo>
                        <a:pt x="868572" y="56574"/>
                      </a:lnTo>
                      <a:lnTo>
                        <a:pt x="869167" y="53502"/>
                      </a:lnTo>
                      <a:lnTo>
                        <a:pt x="869228" y="49798"/>
                      </a:lnTo>
                      <a:lnTo>
                        <a:pt x="867965" y="38275"/>
                      </a:lnTo>
                      <a:lnTo>
                        <a:pt x="867212" y="34899"/>
                      </a:lnTo>
                      <a:lnTo>
                        <a:pt x="865779" y="32167"/>
                      </a:lnTo>
                      <a:lnTo>
                        <a:pt x="861189" y="26593"/>
                      </a:lnTo>
                      <a:lnTo>
                        <a:pt x="859356" y="23582"/>
                      </a:lnTo>
                      <a:lnTo>
                        <a:pt x="858664" y="20048"/>
                      </a:lnTo>
                      <a:lnTo>
                        <a:pt x="858724" y="18275"/>
                      </a:lnTo>
                      <a:lnTo>
                        <a:pt x="858834" y="17474"/>
                      </a:lnTo>
                      <a:lnTo>
                        <a:pt x="858882" y="17328"/>
                      </a:lnTo>
                      <a:lnTo>
                        <a:pt x="859003" y="17207"/>
                      </a:lnTo>
                      <a:lnTo>
                        <a:pt x="860266" y="16199"/>
                      </a:lnTo>
                      <a:lnTo>
                        <a:pt x="864055" y="14705"/>
                      </a:lnTo>
                      <a:lnTo>
                        <a:pt x="865548" y="14365"/>
                      </a:lnTo>
                      <a:lnTo>
                        <a:pt x="868329" y="14025"/>
                      </a:lnTo>
                      <a:lnTo>
                        <a:pt x="869410" y="13758"/>
                      </a:lnTo>
                      <a:lnTo>
                        <a:pt x="870090" y="13527"/>
                      </a:lnTo>
                      <a:lnTo>
                        <a:pt x="871535" y="12507"/>
                      </a:lnTo>
                      <a:lnTo>
                        <a:pt x="874413" y="7857"/>
                      </a:lnTo>
                      <a:lnTo>
                        <a:pt x="876186" y="6873"/>
                      </a:lnTo>
                      <a:lnTo>
                        <a:pt x="877946" y="6181"/>
                      </a:lnTo>
                      <a:moveTo>
                        <a:pt x="877000" y="0"/>
                      </a:moveTo>
                      <a:lnTo>
                        <a:pt x="875615" y="571"/>
                      </a:lnTo>
                      <a:lnTo>
                        <a:pt x="873830" y="1311"/>
                      </a:lnTo>
                      <a:lnTo>
                        <a:pt x="873514" y="1445"/>
                      </a:lnTo>
                      <a:lnTo>
                        <a:pt x="873211" y="1615"/>
                      </a:lnTo>
                      <a:lnTo>
                        <a:pt x="871438" y="2599"/>
                      </a:lnTo>
                      <a:lnTo>
                        <a:pt x="870066" y="3364"/>
                      </a:lnTo>
                      <a:lnTo>
                        <a:pt x="869240" y="4699"/>
                      </a:lnTo>
                      <a:lnTo>
                        <a:pt x="867127" y="8087"/>
                      </a:lnTo>
                      <a:lnTo>
                        <a:pt x="864796" y="8379"/>
                      </a:lnTo>
                      <a:lnTo>
                        <a:pt x="862707" y="8816"/>
                      </a:lnTo>
                      <a:lnTo>
                        <a:pt x="862258" y="8925"/>
                      </a:lnTo>
                      <a:lnTo>
                        <a:pt x="861821" y="9095"/>
                      </a:lnTo>
                      <a:lnTo>
                        <a:pt x="858032" y="10589"/>
                      </a:lnTo>
                      <a:lnTo>
                        <a:pt x="857194" y="10917"/>
                      </a:lnTo>
                      <a:lnTo>
                        <a:pt x="856490" y="11475"/>
                      </a:lnTo>
                      <a:lnTo>
                        <a:pt x="855227" y="12483"/>
                      </a:lnTo>
                      <a:lnTo>
                        <a:pt x="854948" y="12702"/>
                      </a:lnTo>
                      <a:lnTo>
                        <a:pt x="854705" y="12944"/>
                      </a:lnTo>
                      <a:lnTo>
                        <a:pt x="853660" y="13989"/>
                      </a:lnTo>
                      <a:lnTo>
                        <a:pt x="853090" y="15507"/>
                      </a:lnTo>
                      <a:lnTo>
                        <a:pt x="852920" y="16017"/>
                      </a:lnTo>
                      <a:lnTo>
                        <a:pt x="852799" y="16709"/>
                      </a:lnTo>
                      <a:lnTo>
                        <a:pt x="852701" y="17510"/>
                      </a:lnTo>
                      <a:lnTo>
                        <a:pt x="852580" y="19878"/>
                      </a:lnTo>
                      <a:lnTo>
                        <a:pt x="852556" y="20570"/>
                      </a:lnTo>
                      <a:lnTo>
                        <a:pt x="852689" y="21250"/>
                      </a:lnTo>
                      <a:lnTo>
                        <a:pt x="853381" y="24784"/>
                      </a:lnTo>
                      <a:lnTo>
                        <a:pt x="853600" y="25852"/>
                      </a:lnTo>
                      <a:lnTo>
                        <a:pt x="854171" y="26787"/>
                      </a:lnTo>
                      <a:lnTo>
                        <a:pt x="856004" y="29799"/>
                      </a:lnTo>
                      <a:lnTo>
                        <a:pt x="856235" y="30163"/>
                      </a:lnTo>
                      <a:lnTo>
                        <a:pt x="856502" y="30491"/>
                      </a:lnTo>
                      <a:lnTo>
                        <a:pt x="860691" y="35579"/>
                      </a:lnTo>
                      <a:lnTo>
                        <a:pt x="861457" y="37048"/>
                      </a:lnTo>
                      <a:lnTo>
                        <a:pt x="861954" y="39307"/>
                      </a:lnTo>
                      <a:lnTo>
                        <a:pt x="863156" y="50126"/>
                      </a:lnTo>
                      <a:lnTo>
                        <a:pt x="863108" y="52907"/>
                      </a:lnTo>
                      <a:lnTo>
                        <a:pt x="862853" y="54230"/>
                      </a:lnTo>
                      <a:lnTo>
                        <a:pt x="860121" y="58250"/>
                      </a:lnTo>
                      <a:lnTo>
                        <a:pt x="859890" y="58590"/>
                      </a:lnTo>
                      <a:lnTo>
                        <a:pt x="859696" y="58966"/>
                      </a:lnTo>
                      <a:lnTo>
                        <a:pt x="858530" y="61310"/>
                      </a:lnTo>
                      <a:lnTo>
                        <a:pt x="857959" y="62463"/>
                      </a:lnTo>
                      <a:lnTo>
                        <a:pt x="857898" y="63738"/>
                      </a:lnTo>
                      <a:lnTo>
                        <a:pt x="857741" y="67369"/>
                      </a:lnTo>
                      <a:lnTo>
                        <a:pt x="857692" y="68644"/>
                      </a:lnTo>
                      <a:lnTo>
                        <a:pt x="858154" y="69834"/>
                      </a:lnTo>
                      <a:lnTo>
                        <a:pt x="859416" y="73064"/>
                      </a:lnTo>
                      <a:lnTo>
                        <a:pt x="859574" y="73428"/>
                      </a:lnTo>
                      <a:lnTo>
                        <a:pt x="859769" y="73781"/>
                      </a:lnTo>
                      <a:lnTo>
                        <a:pt x="862088" y="77994"/>
                      </a:lnTo>
                      <a:lnTo>
                        <a:pt x="862148" y="78541"/>
                      </a:lnTo>
                      <a:lnTo>
                        <a:pt x="861687" y="80556"/>
                      </a:lnTo>
                      <a:lnTo>
                        <a:pt x="860363" y="84418"/>
                      </a:lnTo>
                      <a:lnTo>
                        <a:pt x="859428" y="88073"/>
                      </a:lnTo>
                      <a:lnTo>
                        <a:pt x="859222" y="88911"/>
                      </a:lnTo>
                      <a:lnTo>
                        <a:pt x="859246" y="89773"/>
                      </a:lnTo>
                      <a:lnTo>
                        <a:pt x="859356" y="92638"/>
                      </a:lnTo>
                      <a:lnTo>
                        <a:pt x="859368" y="92991"/>
                      </a:lnTo>
                      <a:lnTo>
                        <a:pt x="859428" y="93331"/>
                      </a:lnTo>
                      <a:lnTo>
                        <a:pt x="859538" y="94035"/>
                      </a:lnTo>
                      <a:lnTo>
                        <a:pt x="858457" y="95893"/>
                      </a:lnTo>
                      <a:lnTo>
                        <a:pt x="850358" y="107246"/>
                      </a:lnTo>
                      <a:lnTo>
                        <a:pt x="847747" y="109347"/>
                      </a:lnTo>
                      <a:lnTo>
                        <a:pt x="845173" y="110914"/>
                      </a:lnTo>
                      <a:lnTo>
                        <a:pt x="840267" y="112091"/>
                      </a:lnTo>
                      <a:lnTo>
                        <a:pt x="835179" y="109335"/>
                      </a:lnTo>
                      <a:lnTo>
                        <a:pt x="834924" y="107744"/>
                      </a:lnTo>
                      <a:lnTo>
                        <a:pt x="835082" y="105777"/>
                      </a:lnTo>
                      <a:lnTo>
                        <a:pt x="835118" y="105449"/>
                      </a:lnTo>
                      <a:lnTo>
                        <a:pt x="835106" y="105109"/>
                      </a:lnTo>
                      <a:lnTo>
                        <a:pt x="835045" y="103166"/>
                      </a:lnTo>
                      <a:lnTo>
                        <a:pt x="837134" y="100519"/>
                      </a:lnTo>
                      <a:lnTo>
                        <a:pt x="837681" y="99827"/>
                      </a:lnTo>
                      <a:lnTo>
                        <a:pt x="837996" y="99014"/>
                      </a:lnTo>
                      <a:lnTo>
                        <a:pt x="838737" y="97180"/>
                      </a:lnTo>
                      <a:lnTo>
                        <a:pt x="839065" y="96354"/>
                      </a:lnTo>
                      <a:lnTo>
                        <a:pt x="839150" y="95480"/>
                      </a:lnTo>
                      <a:lnTo>
                        <a:pt x="839344" y="93355"/>
                      </a:lnTo>
                      <a:lnTo>
                        <a:pt x="839466" y="92007"/>
                      </a:lnTo>
                      <a:lnTo>
                        <a:pt x="839004" y="90744"/>
                      </a:lnTo>
                      <a:lnTo>
                        <a:pt x="838348" y="88959"/>
                      </a:lnTo>
                      <a:lnTo>
                        <a:pt x="837547" y="86749"/>
                      </a:lnTo>
                      <a:lnTo>
                        <a:pt x="835471" y="85656"/>
                      </a:lnTo>
                      <a:lnTo>
                        <a:pt x="834341" y="85061"/>
                      </a:lnTo>
                      <a:lnTo>
                        <a:pt x="831998" y="83823"/>
                      </a:lnTo>
                      <a:lnTo>
                        <a:pt x="829496" y="84697"/>
                      </a:lnTo>
                      <a:lnTo>
                        <a:pt x="827311" y="85462"/>
                      </a:lnTo>
                      <a:lnTo>
                        <a:pt x="826643" y="85705"/>
                      </a:lnTo>
                      <a:lnTo>
                        <a:pt x="826035" y="86094"/>
                      </a:lnTo>
                      <a:lnTo>
                        <a:pt x="823449" y="87769"/>
                      </a:lnTo>
                      <a:lnTo>
                        <a:pt x="823012" y="88049"/>
                      </a:lnTo>
                      <a:lnTo>
                        <a:pt x="822635" y="88401"/>
                      </a:lnTo>
                      <a:lnTo>
                        <a:pt x="820947" y="89943"/>
                      </a:lnTo>
                      <a:lnTo>
                        <a:pt x="820037" y="90562"/>
                      </a:lnTo>
                      <a:lnTo>
                        <a:pt x="818665" y="91157"/>
                      </a:lnTo>
                      <a:lnTo>
                        <a:pt x="815981" y="91874"/>
                      </a:lnTo>
                      <a:lnTo>
                        <a:pt x="815677" y="91971"/>
                      </a:lnTo>
                      <a:lnTo>
                        <a:pt x="815386" y="92080"/>
                      </a:lnTo>
                      <a:lnTo>
                        <a:pt x="813140" y="92942"/>
                      </a:lnTo>
                      <a:lnTo>
                        <a:pt x="812787" y="93088"/>
                      </a:lnTo>
                      <a:lnTo>
                        <a:pt x="812460" y="93270"/>
                      </a:lnTo>
                      <a:lnTo>
                        <a:pt x="810371" y="94387"/>
                      </a:lnTo>
                      <a:lnTo>
                        <a:pt x="808222" y="93537"/>
                      </a:lnTo>
                      <a:lnTo>
                        <a:pt x="807627" y="93282"/>
                      </a:lnTo>
                      <a:lnTo>
                        <a:pt x="806971" y="93173"/>
                      </a:lnTo>
                      <a:lnTo>
                        <a:pt x="798604" y="91764"/>
                      </a:lnTo>
                      <a:lnTo>
                        <a:pt x="788611" y="89008"/>
                      </a:lnTo>
                      <a:lnTo>
                        <a:pt x="772534" y="79488"/>
                      </a:lnTo>
                      <a:lnTo>
                        <a:pt x="772060" y="79221"/>
                      </a:lnTo>
                      <a:lnTo>
                        <a:pt x="771550" y="79026"/>
                      </a:lnTo>
                      <a:lnTo>
                        <a:pt x="769219" y="78164"/>
                      </a:lnTo>
                      <a:lnTo>
                        <a:pt x="768636" y="77946"/>
                      </a:lnTo>
                      <a:lnTo>
                        <a:pt x="768017" y="77849"/>
                      </a:lnTo>
                      <a:lnTo>
                        <a:pt x="765758" y="77509"/>
                      </a:lnTo>
                      <a:lnTo>
                        <a:pt x="765394" y="77448"/>
                      </a:lnTo>
                      <a:lnTo>
                        <a:pt x="765017" y="77436"/>
                      </a:lnTo>
                      <a:lnTo>
                        <a:pt x="762904" y="77375"/>
                      </a:lnTo>
                      <a:lnTo>
                        <a:pt x="762309" y="77363"/>
                      </a:lnTo>
                      <a:lnTo>
                        <a:pt x="761726" y="77460"/>
                      </a:lnTo>
                      <a:lnTo>
                        <a:pt x="758836" y="77946"/>
                      </a:lnTo>
                      <a:lnTo>
                        <a:pt x="758387" y="78018"/>
                      </a:lnTo>
                      <a:lnTo>
                        <a:pt x="757962" y="78164"/>
                      </a:lnTo>
                      <a:lnTo>
                        <a:pt x="755388" y="79002"/>
                      </a:lnTo>
                      <a:lnTo>
                        <a:pt x="754611" y="79257"/>
                      </a:lnTo>
                      <a:lnTo>
                        <a:pt x="753931" y="79706"/>
                      </a:lnTo>
                      <a:lnTo>
                        <a:pt x="751344" y="81406"/>
                      </a:lnTo>
                      <a:lnTo>
                        <a:pt x="743803" y="84029"/>
                      </a:lnTo>
                      <a:lnTo>
                        <a:pt x="743342" y="84199"/>
                      </a:lnTo>
                      <a:lnTo>
                        <a:pt x="742917" y="84442"/>
                      </a:lnTo>
                      <a:lnTo>
                        <a:pt x="740853" y="85559"/>
                      </a:lnTo>
                      <a:lnTo>
                        <a:pt x="740148" y="85923"/>
                      </a:lnTo>
                      <a:lnTo>
                        <a:pt x="739565" y="86470"/>
                      </a:lnTo>
                      <a:lnTo>
                        <a:pt x="730883" y="94630"/>
                      </a:lnTo>
                      <a:lnTo>
                        <a:pt x="730653" y="94849"/>
                      </a:lnTo>
                      <a:lnTo>
                        <a:pt x="730446" y="95079"/>
                      </a:lnTo>
                      <a:lnTo>
                        <a:pt x="724338" y="102110"/>
                      </a:lnTo>
                      <a:lnTo>
                        <a:pt x="722626" y="100143"/>
                      </a:lnTo>
                      <a:lnTo>
                        <a:pt x="722080" y="99499"/>
                      </a:lnTo>
                      <a:lnTo>
                        <a:pt x="721363" y="99038"/>
                      </a:lnTo>
                      <a:lnTo>
                        <a:pt x="706731" y="89421"/>
                      </a:lnTo>
                      <a:lnTo>
                        <a:pt x="706379" y="89178"/>
                      </a:lnTo>
                      <a:lnTo>
                        <a:pt x="705978" y="88983"/>
                      </a:lnTo>
                      <a:lnTo>
                        <a:pt x="703902" y="88012"/>
                      </a:lnTo>
                      <a:lnTo>
                        <a:pt x="703538" y="87842"/>
                      </a:lnTo>
                      <a:lnTo>
                        <a:pt x="703149" y="87721"/>
                      </a:lnTo>
                      <a:lnTo>
                        <a:pt x="699640" y="86616"/>
                      </a:lnTo>
                      <a:lnTo>
                        <a:pt x="699142" y="86446"/>
                      </a:lnTo>
                      <a:lnTo>
                        <a:pt x="698608" y="86373"/>
                      </a:lnTo>
                      <a:lnTo>
                        <a:pt x="695329" y="85948"/>
                      </a:lnTo>
                      <a:lnTo>
                        <a:pt x="694855" y="85887"/>
                      </a:lnTo>
                      <a:lnTo>
                        <a:pt x="694382" y="85899"/>
                      </a:lnTo>
                      <a:lnTo>
                        <a:pt x="692208" y="85960"/>
                      </a:lnTo>
                      <a:lnTo>
                        <a:pt x="691795" y="85972"/>
                      </a:lnTo>
                      <a:lnTo>
                        <a:pt x="691395" y="86045"/>
                      </a:lnTo>
                      <a:lnTo>
                        <a:pt x="691261" y="86069"/>
                      </a:lnTo>
                      <a:lnTo>
                        <a:pt x="695693" y="76282"/>
                      </a:lnTo>
                      <a:lnTo>
                        <a:pt x="704315" y="64224"/>
                      </a:lnTo>
                      <a:lnTo>
                        <a:pt x="704509" y="63945"/>
                      </a:lnTo>
                      <a:lnTo>
                        <a:pt x="704679" y="63653"/>
                      </a:lnTo>
                      <a:lnTo>
                        <a:pt x="705784" y="61674"/>
                      </a:lnTo>
                      <a:lnTo>
                        <a:pt x="706039" y="61225"/>
                      </a:lnTo>
                      <a:lnTo>
                        <a:pt x="706221" y="60739"/>
                      </a:lnTo>
                      <a:lnTo>
                        <a:pt x="707241" y="57861"/>
                      </a:lnTo>
                      <a:lnTo>
                        <a:pt x="707375" y="57485"/>
                      </a:lnTo>
                      <a:lnTo>
                        <a:pt x="707460" y="57096"/>
                      </a:lnTo>
                      <a:lnTo>
                        <a:pt x="708553" y="51960"/>
                      </a:lnTo>
                      <a:lnTo>
                        <a:pt x="708686" y="51340"/>
                      </a:lnTo>
                      <a:lnTo>
                        <a:pt x="708686" y="50697"/>
                      </a:lnTo>
                      <a:lnTo>
                        <a:pt x="708686" y="45439"/>
                      </a:lnTo>
                      <a:lnTo>
                        <a:pt x="708686" y="45099"/>
                      </a:lnTo>
                      <a:lnTo>
                        <a:pt x="708650" y="44771"/>
                      </a:lnTo>
                      <a:lnTo>
                        <a:pt x="707860" y="37595"/>
                      </a:lnTo>
                      <a:lnTo>
                        <a:pt x="707824" y="37242"/>
                      </a:lnTo>
                      <a:lnTo>
                        <a:pt x="707739" y="36890"/>
                      </a:lnTo>
                      <a:lnTo>
                        <a:pt x="705323" y="26496"/>
                      </a:lnTo>
                      <a:lnTo>
                        <a:pt x="705225" y="26119"/>
                      </a:lnTo>
                      <a:lnTo>
                        <a:pt x="705092" y="25767"/>
                      </a:lnTo>
                      <a:lnTo>
                        <a:pt x="700963" y="14608"/>
                      </a:lnTo>
                      <a:lnTo>
                        <a:pt x="698049" y="6715"/>
                      </a:lnTo>
                      <a:lnTo>
                        <a:pt x="691480" y="11973"/>
                      </a:lnTo>
                      <a:lnTo>
                        <a:pt x="686635" y="15859"/>
                      </a:lnTo>
                      <a:lnTo>
                        <a:pt x="678183" y="21214"/>
                      </a:lnTo>
                      <a:lnTo>
                        <a:pt x="673496" y="21675"/>
                      </a:lnTo>
                      <a:lnTo>
                        <a:pt x="673034" y="21724"/>
                      </a:lnTo>
                      <a:lnTo>
                        <a:pt x="672573" y="21833"/>
                      </a:lnTo>
                      <a:lnTo>
                        <a:pt x="670958" y="22246"/>
                      </a:lnTo>
                      <a:lnTo>
                        <a:pt x="669938" y="22513"/>
                      </a:lnTo>
                      <a:lnTo>
                        <a:pt x="669064" y="23108"/>
                      </a:lnTo>
                      <a:lnTo>
                        <a:pt x="667850" y="23934"/>
                      </a:lnTo>
                      <a:lnTo>
                        <a:pt x="667315" y="24298"/>
                      </a:lnTo>
                      <a:lnTo>
                        <a:pt x="666866" y="24759"/>
                      </a:lnTo>
                      <a:lnTo>
                        <a:pt x="665615" y="26059"/>
                      </a:lnTo>
                      <a:lnTo>
                        <a:pt x="662519" y="24759"/>
                      </a:lnTo>
                      <a:lnTo>
                        <a:pt x="662082" y="24565"/>
                      </a:lnTo>
                      <a:lnTo>
                        <a:pt x="661608" y="24456"/>
                      </a:lnTo>
                      <a:lnTo>
                        <a:pt x="650206" y="21675"/>
                      </a:lnTo>
                      <a:lnTo>
                        <a:pt x="649890" y="21602"/>
                      </a:lnTo>
                      <a:lnTo>
                        <a:pt x="649574" y="21566"/>
                      </a:lnTo>
                      <a:lnTo>
                        <a:pt x="646405" y="21153"/>
                      </a:lnTo>
                      <a:lnTo>
                        <a:pt x="645762" y="21068"/>
                      </a:lnTo>
                      <a:lnTo>
                        <a:pt x="645118" y="21117"/>
                      </a:lnTo>
                      <a:lnTo>
                        <a:pt x="640916" y="21457"/>
                      </a:lnTo>
                      <a:lnTo>
                        <a:pt x="640212" y="21517"/>
                      </a:lnTo>
                      <a:lnTo>
                        <a:pt x="639544" y="21724"/>
                      </a:lnTo>
                      <a:lnTo>
                        <a:pt x="637784" y="22282"/>
                      </a:lnTo>
                      <a:lnTo>
                        <a:pt x="636897" y="22562"/>
                      </a:lnTo>
                      <a:lnTo>
                        <a:pt x="636144" y="23084"/>
                      </a:lnTo>
                      <a:lnTo>
                        <a:pt x="634821" y="24019"/>
                      </a:lnTo>
                      <a:lnTo>
                        <a:pt x="634031" y="24577"/>
                      </a:lnTo>
                      <a:lnTo>
                        <a:pt x="633497" y="25294"/>
                      </a:lnTo>
                      <a:lnTo>
                        <a:pt x="632234" y="25610"/>
                      </a:lnTo>
                      <a:lnTo>
                        <a:pt x="594725" y="26423"/>
                      </a:lnTo>
                      <a:lnTo>
                        <a:pt x="594409" y="26423"/>
                      </a:lnTo>
                      <a:lnTo>
                        <a:pt x="594093" y="26459"/>
                      </a:lnTo>
                      <a:lnTo>
                        <a:pt x="591567" y="26775"/>
                      </a:lnTo>
                      <a:lnTo>
                        <a:pt x="590462" y="26921"/>
                      </a:lnTo>
                      <a:lnTo>
                        <a:pt x="589467" y="27443"/>
                      </a:lnTo>
                      <a:lnTo>
                        <a:pt x="587864" y="28305"/>
                      </a:lnTo>
                      <a:lnTo>
                        <a:pt x="586042" y="29277"/>
                      </a:lnTo>
                      <a:lnTo>
                        <a:pt x="585193" y="31159"/>
                      </a:lnTo>
                      <a:lnTo>
                        <a:pt x="584610" y="32446"/>
                      </a:lnTo>
                      <a:lnTo>
                        <a:pt x="584160" y="33442"/>
                      </a:lnTo>
                      <a:lnTo>
                        <a:pt x="584087" y="34535"/>
                      </a:lnTo>
                      <a:lnTo>
                        <a:pt x="583978" y="36113"/>
                      </a:lnTo>
                      <a:lnTo>
                        <a:pt x="583954" y="36477"/>
                      </a:lnTo>
                      <a:lnTo>
                        <a:pt x="583978" y="36854"/>
                      </a:lnTo>
                      <a:lnTo>
                        <a:pt x="584051" y="38190"/>
                      </a:lnTo>
                      <a:lnTo>
                        <a:pt x="583990" y="38602"/>
                      </a:lnTo>
                      <a:lnTo>
                        <a:pt x="583699" y="38882"/>
                      </a:lnTo>
                      <a:lnTo>
                        <a:pt x="583189" y="39234"/>
                      </a:lnTo>
                      <a:lnTo>
                        <a:pt x="572382" y="44820"/>
                      </a:lnTo>
                      <a:lnTo>
                        <a:pt x="571301" y="45026"/>
                      </a:lnTo>
                      <a:lnTo>
                        <a:pt x="554349" y="45900"/>
                      </a:lnTo>
                      <a:lnTo>
                        <a:pt x="552467" y="45439"/>
                      </a:lnTo>
                      <a:lnTo>
                        <a:pt x="541466" y="39987"/>
                      </a:lnTo>
                      <a:lnTo>
                        <a:pt x="540871" y="39695"/>
                      </a:lnTo>
                      <a:lnTo>
                        <a:pt x="540227" y="39537"/>
                      </a:lnTo>
                      <a:lnTo>
                        <a:pt x="537701" y="38906"/>
                      </a:lnTo>
                      <a:lnTo>
                        <a:pt x="536876" y="38700"/>
                      </a:lnTo>
                      <a:lnTo>
                        <a:pt x="536026" y="38736"/>
                      </a:lnTo>
                      <a:lnTo>
                        <a:pt x="532395" y="38870"/>
                      </a:lnTo>
                      <a:lnTo>
                        <a:pt x="532322" y="38857"/>
                      </a:lnTo>
                      <a:lnTo>
                        <a:pt x="531970" y="38724"/>
                      </a:lnTo>
                      <a:lnTo>
                        <a:pt x="527550" y="35360"/>
                      </a:lnTo>
                      <a:lnTo>
                        <a:pt x="526287" y="33612"/>
                      </a:lnTo>
                      <a:lnTo>
                        <a:pt x="525449" y="32057"/>
                      </a:lnTo>
                      <a:lnTo>
                        <a:pt x="524417" y="29495"/>
                      </a:lnTo>
                      <a:lnTo>
                        <a:pt x="524113" y="28755"/>
                      </a:lnTo>
                      <a:lnTo>
                        <a:pt x="523640" y="28123"/>
                      </a:lnTo>
                      <a:lnTo>
                        <a:pt x="512845" y="13746"/>
                      </a:lnTo>
                      <a:lnTo>
                        <a:pt x="512177" y="12859"/>
                      </a:lnTo>
                      <a:lnTo>
                        <a:pt x="511242" y="12264"/>
                      </a:lnTo>
                      <a:lnTo>
                        <a:pt x="505450" y="8585"/>
                      </a:lnTo>
                      <a:lnTo>
                        <a:pt x="505170" y="8403"/>
                      </a:lnTo>
                      <a:lnTo>
                        <a:pt x="504867" y="8257"/>
                      </a:lnTo>
                      <a:lnTo>
                        <a:pt x="499524" y="5647"/>
                      </a:lnTo>
                      <a:lnTo>
                        <a:pt x="498880" y="5331"/>
                      </a:lnTo>
                      <a:lnTo>
                        <a:pt x="498176" y="5173"/>
                      </a:lnTo>
                      <a:lnTo>
                        <a:pt x="491170" y="3619"/>
                      </a:lnTo>
                      <a:lnTo>
                        <a:pt x="484612" y="2174"/>
                      </a:lnTo>
                      <a:lnTo>
                        <a:pt x="483823" y="8828"/>
                      </a:lnTo>
                      <a:lnTo>
                        <a:pt x="483422" y="12155"/>
                      </a:lnTo>
                      <a:lnTo>
                        <a:pt x="483240" y="13722"/>
                      </a:lnTo>
                      <a:lnTo>
                        <a:pt x="483847" y="15191"/>
                      </a:lnTo>
                      <a:lnTo>
                        <a:pt x="484370" y="16454"/>
                      </a:lnTo>
                      <a:lnTo>
                        <a:pt x="484515" y="16830"/>
                      </a:lnTo>
                      <a:lnTo>
                        <a:pt x="484722" y="17170"/>
                      </a:lnTo>
                      <a:lnTo>
                        <a:pt x="488085" y="22987"/>
                      </a:lnTo>
                      <a:lnTo>
                        <a:pt x="488547" y="24602"/>
                      </a:lnTo>
                      <a:lnTo>
                        <a:pt x="488814" y="27006"/>
                      </a:lnTo>
                      <a:lnTo>
                        <a:pt x="488741" y="28317"/>
                      </a:lnTo>
                      <a:lnTo>
                        <a:pt x="488486" y="29690"/>
                      </a:lnTo>
                      <a:lnTo>
                        <a:pt x="488377" y="30017"/>
                      </a:lnTo>
                      <a:lnTo>
                        <a:pt x="488085" y="30685"/>
                      </a:lnTo>
                      <a:lnTo>
                        <a:pt x="487685" y="31268"/>
                      </a:lnTo>
                      <a:lnTo>
                        <a:pt x="482937" y="36805"/>
                      </a:lnTo>
                      <a:lnTo>
                        <a:pt x="482111" y="37449"/>
                      </a:lnTo>
                      <a:lnTo>
                        <a:pt x="480800" y="38007"/>
                      </a:lnTo>
                      <a:lnTo>
                        <a:pt x="479221" y="38347"/>
                      </a:lnTo>
                      <a:lnTo>
                        <a:pt x="471838" y="39027"/>
                      </a:lnTo>
                      <a:lnTo>
                        <a:pt x="471207" y="39088"/>
                      </a:lnTo>
                      <a:lnTo>
                        <a:pt x="470599" y="39282"/>
                      </a:lnTo>
                      <a:lnTo>
                        <a:pt x="463933" y="41347"/>
                      </a:lnTo>
                      <a:lnTo>
                        <a:pt x="463071" y="41614"/>
                      </a:lnTo>
                      <a:lnTo>
                        <a:pt x="462318" y="42124"/>
                      </a:lnTo>
                      <a:lnTo>
                        <a:pt x="457667" y="45281"/>
                      </a:lnTo>
                      <a:lnTo>
                        <a:pt x="457351" y="45500"/>
                      </a:lnTo>
                      <a:lnTo>
                        <a:pt x="457060" y="45755"/>
                      </a:lnTo>
                      <a:lnTo>
                        <a:pt x="441711" y="59306"/>
                      </a:lnTo>
                      <a:lnTo>
                        <a:pt x="440473" y="60120"/>
                      </a:lnTo>
                      <a:lnTo>
                        <a:pt x="430394" y="63799"/>
                      </a:lnTo>
                      <a:lnTo>
                        <a:pt x="430042" y="63933"/>
                      </a:lnTo>
                      <a:lnTo>
                        <a:pt x="429714" y="64115"/>
                      </a:lnTo>
                      <a:lnTo>
                        <a:pt x="425173" y="66446"/>
                      </a:lnTo>
                      <a:lnTo>
                        <a:pt x="421578" y="68717"/>
                      </a:lnTo>
                      <a:lnTo>
                        <a:pt x="421044" y="69045"/>
                      </a:lnTo>
                      <a:lnTo>
                        <a:pt x="420595" y="69494"/>
                      </a:lnTo>
                      <a:lnTo>
                        <a:pt x="417146" y="72870"/>
                      </a:lnTo>
                      <a:lnTo>
                        <a:pt x="416734" y="73270"/>
                      </a:lnTo>
                      <a:lnTo>
                        <a:pt x="416406" y="73744"/>
                      </a:lnTo>
                      <a:lnTo>
                        <a:pt x="407335" y="86858"/>
                      </a:lnTo>
                      <a:lnTo>
                        <a:pt x="407031" y="87296"/>
                      </a:lnTo>
                      <a:lnTo>
                        <a:pt x="406800" y="87781"/>
                      </a:lnTo>
                      <a:lnTo>
                        <a:pt x="405307" y="91048"/>
                      </a:lnTo>
                      <a:lnTo>
                        <a:pt x="404979" y="91655"/>
                      </a:lnTo>
                      <a:lnTo>
                        <a:pt x="404833" y="92238"/>
                      </a:lnTo>
                      <a:lnTo>
                        <a:pt x="404311" y="94448"/>
                      </a:lnTo>
                      <a:lnTo>
                        <a:pt x="403740" y="96852"/>
                      </a:lnTo>
                      <a:lnTo>
                        <a:pt x="405015" y="98977"/>
                      </a:lnTo>
                      <a:lnTo>
                        <a:pt x="405829" y="100325"/>
                      </a:lnTo>
                      <a:lnTo>
                        <a:pt x="406145" y="100835"/>
                      </a:lnTo>
                      <a:lnTo>
                        <a:pt x="406546" y="101284"/>
                      </a:lnTo>
                      <a:lnTo>
                        <a:pt x="407116" y="101904"/>
                      </a:lnTo>
                      <a:lnTo>
                        <a:pt x="404020" y="103640"/>
                      </a:lnTo>
                      <a:lnTo>
                        <a:pt x="403170" y="104101"/>
                      </a:lnTo>
                      <a:lnTo>
                        <a:pt x="402514" y="104830"/>
                      </a:lnTo>
                      <a:lnTo>
                        <a:pt x="401300" y="106141"/>
                      </a:lnTo>
                      <a:lnTo>
                        <a:pt x="400705" y="106785"/>
                      </a:lnTo>
                      <a:lnTo>
                        <a:pt x="400316" y="107550"/>
                      </a:lnTo>
                      <a:lnTo>
                        <a:pt x="399515" y="109165"/>
                      </a:lnTo>
                      <a:lnTo>
                        <a:pt x="399053" y="110088"/>
                      </a:lnTo>
                      <a:lnTo>
                        <a:pt x="398932" y="111120"/>
                      </a:lnTo>
                      <a:lnTo>
                        <a:pt x="398009" y="118491"/>
                      </a:lnTo>
                      <a:lnTo>
                        <a:pt x="397912" y="120992"/>
                      </a:lnTo>
                      <a:lnTo>
                        <a:pt x="397888" y="121830"/>
                      </a:lnTo>
                      <a:lnTo>
                        <a:pt x="398106" y="122644"/>
                      </a:lnTo>
                      <a:lnTo>
                        <a:pt x="398568" y="124453"/>
                      </a:lnTo>
                      <a:lnTo>
                        <a:pt x="398871" y="125692"/>
                      </a:lnTo>
                      <a:lnTo>
                        <a:pt x="399648" y="126687"/>
                      </a:lnTo>
                      <a:lnTo>
                        <a:pt x="400778" y="128145"/>
                      </a:lnTo>
                      <a:lnTo>
                        <a:pt x="401203" y="128691"/>
                      </a:lnTo>
                      <a:lnTo>
                        <a:pt x="401737" y="129128"/>
                      </a:lnTo>
                      <a:lnTo>
                        <a:pt x="403400" y="130476"/>
                      </a:lnTo>
                      <a:lnTo>
                        <a:pt x="403801" y="130804"/>
                      </a:lnTo>
                      <a:lnTo>
                        <a:pt x="404251" y="131059"/>
                      </a:lnTo>
                      <a:lnTo>
                        <a:pt x="408488" y="133439"/>
                      </a:lnTo>
                      <a:lnTo>
                        <a:pt x="407359" y="136754"/>
                      </a:lnTo>
                      <a:lnTo>
                        <a:pt x="407226" y="137130"/>
                      </a:lnTo>
                      <a:lnTo>
                        <a:pt x="407153" y="137519"/>
                      </a:lnTo>
                      <a:lnTo>
                        <a:pt x="406813" y="139219"/>
                      </a:lnTo>
                      <a:lnTo>
                        <a:pt x="406594" y="140300"/>
                      </a:lnTo>
                      <a:lnTo>
                        <a:pt x="406776" y="141380"/>
                      </a:lnTo>
                      <a:lnTo>
                        <a:pt x="406946" y="142437"/>
                      </a:lnTo>
                      <a:lnTo>
                        <a:pt x="406971" y="142522"/>
                      </a:lnTo>
                      <a:lnTo>
                        <a:pt x="405271" y="142412"/>
                      </a:lnTo>
                      <a:lnTo>
                        <a:pt x="403631" y="143408"/>
                      </a:lnTo>
                      <a:lnTo>
                        <a:pt x="402599" y="144040"/>
                      </a:lnTo>
                      <a:lnTo>
                        <a:pt x="401385" y="144780"/>
                      </a:lnTo>
                      <a:lnTo>
                        <a:pt x="400632" y="145995"/>
                      </a:lnTo>
                      <a:lnTo>
                        <a:pt x="400170" y="146723"/>
                      </a:lnTo>
                      <a:lnTo>
                        <a:pt x="399746" y="147391"/>
                      </a:lnTo>
                      <a:lnTo>
                        <a:pt x="399636" y="147355"/>
                      </a:lnTo>
                      <a:lnTo>
                        <a:pt x="398386" y="147488"/>
                      </a:lnTo>
                      <a:lnTo>
                        <a:pt x="395920" y="147743"/>
                      </a:lnTo>
                      <a:lnTo>
                        <a:pt x="393528" y="147998"/>
                      </a:lnTo>
                      <a:lnTo>
                        <a:pt x="391962" y="149820"/>
                      </a:lnTo>
                      <a:lnTo>
                        <a:pt x="390760" y="151216"/>
                      </a:lnTo>
                      <a:lnTo>
                        <a:pt x="389922" y="152187"/>
                      </a:lnTo>
                      <a:lnTo>
                        <a:pt x="389545" y="153414"/>
                      </a:lnTo>
                      <a:lnTo>
                        <a:pt x="388975" y="155284"/>
                      </a:lnTo>
                      <a:lnTo>
                        <a:pt x="388732" y="156073"/>
                      </a:lnTo>
                      <a:lnTo>
                        <a:pt x="388707" y="156887"/>
                      </a:lnTo>
                      <a:lnTo>
                        <a:pt x="388610" y="161088"/>
                      </a:lnTo>
                      <a:lnTo>
                        <a:pt x="388100" y="163395"/>
                      </a:lnTo>
                      <a:lnTo>
                        <a:pt x="385781" y="168241"/>
                      </a:lnTo>
                      <a:lnTo>
                        <a:pt x="368672" y="195756"/>
                      </a:lnTo>
                      <a:lnTo>
                        <a:pt x="366717" y="199606"/>
                      </a:lnTo>
                      <a:lnTo>
                        <a:pt x="366158" y="200735"/>
                      </a:lnTo>
                      <a:lnTo>
                        <a:pt x="366085" y="201986"/>
                      </a:lnTo>
                      <a:lnTo>
                        <a:pt x="366000" y="203516"/>
                      </a:lnTo>
                      <a:lnTo>
                        <a:pt x="364822" y="208470"/>
                      </a:lnTo>
                      <a:lnTo>
                        <a:pt x="363487" y="212271"/>
                      </a:lnTo>
                      <a:lnTo>
                        <a:pt x="363256" y="212939"/>
                      </a:lnTo>
                      <a:lnTo>
                        <a:pt x="363183" y="213655"/>
                      </a:lnTo>
                      <a:lnTo>
                        <a:pt x="362952" y="215877"/>
                      </a:lnTo>
                      <a:lnTo>
                        <a:pt x="362904" y="216302"/>
                      </a:lnTo>
                      <a:lnTo>
                        <a:pt x="362916" y="216727"/>
                      </a:lnTo>
                      <a:lnTo>
                        <a:pt x="363086" y="221475"/>
                      </a:lnTo>
                      <a:lnTo>
                        <a:pt x="363110" y="222131"/>
                      </a:lnTo>
                      <a:lnTo>
                        <a:pt x="363268" y="222774"/>
                      </a:lnTo>
                      <a:lnTo>
                        <a:pt x="363790" y="224802"/>
                      </a:lnTo>
                      <a:lnTo>
                        <a:pt x="363948" y="225385"/>
                      </a:lnTo>
                      <a:lnTo>
                        <a:pt x="364203" y="225932"/>
                      </a:lnTo>
                      <a:lnTo>
                        <a:pt x="365065" y="227705"/>
                      </a:lnTo>
                      <a:lnTo>
                        <a:pt x="365357" y="228312"/>
                      </a:lnTo>
                      <a:lnTo>
                        <a:pt x="365770" y="228846"/>
                      </a:lnTo>
                      <a:lnTo>
                        <a:pt x="367032" y="230436"/>
                      </a:lnTo>
                      <a:lnTo>
                        <a:pt x="367336" y="230801"/>
                      </a:lnTo>
                      <a:lnTo>
                        <a:pt x="367688" y="231129"/>
                      </a:lnTo>
                      <a:lnTo>
                        <a:pt x="373711" y="236629"/>
                      </a:lnTo>
                      <a:lnTo>
                        <a:pt x="373869" y="236824"/>
                      </a:lnTo>
                      <a:lnTo>
                        <a:pt x="374100" y="237467"/>
                      </a:lnTo>
                      <a:lnTo>
                        <a:pt x="374427" y="239021"/>
                      </a:lnTo>
                      <a:lnTo>
                        <a:pt x="374452" y="239629"/>
                      </a:lnTo>
                      <a:lnTo>
                        <a:pt x="366668" y="236301"/>
                      </a:lnTo>
                      <a:lnTo>
                        <a:pt x="365757" y="235913"/>
                      </a:lnTo>
                      <a:lnTo>
                        <a:pt x="364774" y="235828"/>
                      </a:lnTo>
                      <a:lnTo>
                        <a:pt x="362637" y="235646"/>
                      </a:lnTo>
                      <a:lnTo>
                        <a:pt x="362139" y="235597"/>
                      </a:lnTo>
                      <a:lnTo>
                        <a:pt x="361641" y="235646"/>
                      </a:lnTo>
                      <a:lnTo>
                        <a:pt x="359698" y="235804"/>
                      </a:lnTo>
                      <a:lnTo>
                        <a:pt x="357464" y="235986"/>
                      </a:lnTo>
                      <a:lnTo>
                        <a:pt x="355885" y="237577"/>
                      </a:lnTo>
                      <a:lnTo>
                        <a:pt x="354452" y="239010"/>
                      </a:lnTo>
                      <a:lnTo>
                        <a:pt x="354027" y="239435"/>
                      </a:lnTo>
                      <a:lnTo>
                        <a:pt x="353699" y="239945"/>
                      </a:lnTo>
                      <a:lnTo>
                        <a:pt x="352607" y="241608"/>
                      </a:lnTo>
                      <a:lnTo>
                        <a:pt x="352412" y="241875"/>
                      </a:lnTo>
                      <a:lnTo>
                        <a:pt x="352254" y="242179"/>
                      </a:lnTo>
                      <a:lnTo>
                        <a:pt x="351222" y="244195"/>
                      </a:lnTo>
                      <a:lnTo>
                        <a:pt x="351064" y="244498"/>
                      </a:lnTo>
                      <a:lnTo>
                        <a:pt x="350943" y="244826"/>
                      </a:lnTo>
                      <a:lnTo>
                        <a:pt x="350299" y="246550"/>
                      </a:lnTo>
                      <a:lnTo>
                        <a:pt x="350166" y="246902"/>
                      </a:lnTo>
                      <a:lnTo>
                        <a:pt x="350081" y="247279"/>
                      </a:lnTo>
                      <a:lnTo>
                        <a:pt x="349741" y="248736"/>
                      </a:lnTo>
                      <a:lnTo>
                        <a:pt x="349583" y="249416"/>
                      </a:lnTo>
                      <a:lnTo>
                        <a:pt x="349583" y="250132"/>
                      </a:lnTo>
                      <a:lnTo>
                        <a:pt x="349583" y="251116"/>
                      </a:lnTo>
                      <a:lnTo>
                        <a:pt x="349583" y="252112"/>
                      </a:lnTo>
                      <a:lnTo>
                        <a:pt x="349899" y="253047"/>
                      </a:lnTo>
                      <a:lnTo>
                        <a:pt x="349947" y="253204"/>
                      </a:lnTo>
                      <a:lnTo>
                        <a:pt x="346863" y="257260"/>
                      </a:lnTo>
                      <a:lnTo>
                        <a:pt x="346620" y="257576"/>
                      </a:lnTo>
                      <a:lnTo>
                        <a:pt x="346426" y="257916"/>
                      </a:lnTo>
                      <a:lnTo>
                        <a:pt x="345102" y="260223"/>
                      </a:lnTo>
                      <a:lnTo>
                        <a:pt x="344835" y="260685"/>
                      </a:lnTo>
                      <a:lnTo>
                        <a:pt x="344653" y="261195"/>
                      </a:lnTo>
                      <a:lnTo>
                        <a:pt x="339456" y="275730"/>
                      </a:lnTo>
                      <a:lnTo>
                        <a:pt x="337768" y="278474"/>
                      </a:lnTo>
                      <a:lnTo>
                        <a:pt x="336092" y="280417"/>
                      </a:lnTo>
                      <a:lnTo>
                        <a:pt x="333882" y="282275"/>
                      </a:lnTo>
                      <a:lnTo>
                        <a:pt x="332874" y="282712"/>
                      </a:lnTo>
                      <a:lnTo>
                        <a:pt x="331186" y="283040"/>
                      </a:lnTo>
                      <a:lnTo>
                        <a:pt x="323208" y="283574"/>
                      </a:lnTo>
                      <a:lnTo>
                        <a:pt x="321229" y="281437"/>
                      </a:lnTo>
                      <a:lnTo>
                        <a:pt x="320743" y="280915"/>
                      </a:lnTo>
                      <a:lnTo>
                        <a:pt x="320148" y="280514"/>
                      </a:lnTo>
                      <a:lnTo>
                        <a:pt x="318485" y="279397"/>
                      </a:lnTo>
                      <a:lnTo>
                        <a:pt x="317951" y="279045"/>
                      </a:lnTo>
                      <a:lnTo>
                        <a:pt x="317356" y="278802"/>
                      </a:lnTo>
                      <a:lnTo>
                        <a:pt x="315680" y="278134"/>
                      </a:lnTo>
                      <a:lnTo>
                        <a:pt x="315291" y="277976"/>
                      </a:lnTo>
                      <a:lnTo>
                        <a:pt x="314891" y="277879"/>
                      </a:lnTo>
                      <a:lnTo>
                        <a:pt x="313093" y="277430"/>
                      </a:lnTo>
                      <a:lnTo>
                        <a:pt x="312183" y="277102"/>
                      </a:lnTo>
                      <a:lnTo>
                        <a:pt x="311879" y="276896"/>
                      </a:lnTo>
                      <a:lnTo>
                        <a:pt x="311272" y="276300"/>
                      </a:lnTo>
                      <a:lnTo>
                        <a:pt x="310373" y="275171"/>
                      </a:lnTo>
                      <a:lnTo>
                        <a:pt x="309778" y="274467"/>
                      </a:lnTo>
                      <a:lnTo>
                        <a:pt x="309001" y="273969"/>
                      </a:lnTo>
                      <a:lnTo>
                        <a:pt x="306755" y="272524"/>
                      </a:lnTo>
                      <a:lnTo>
                        <a:pt x="305783" y="271881"/>
                      </a:lnTo>
                      <a:lnTo>
                        <a:pt x="304642" y="271662"/>
                      </a:lnTo>
                      <a:lnTo>
                        <a:pt x="302286" y="271201"/>
                      </a:lnTo>
                      <a:lnTo>
                        <a:pt x="301206" y="270982"/>
                      </a:lnTo>
                      <a:lnTo>
                        <a:pt x="300113" y="271164"/>
                      </a:lnTo>
                      <a:lnTo>
                        <a:pt x="281206" y="274357"/>
                      </a:lnTo>
                      <a:lnTo>
                        <a:pt x="277867" y="274479"/>
                      </a:lnTo>
                      <a:lnTo>
                        <a:pt x="277430" y="274503"/>
                      </a:lnTo>
                      <a:lnTo>
                        <a:pt x="277005" y="274576"/>
                      </a:lnTo>
                      <a:lnTo>
                        <a:pt x="273374" y="275244"/>
                      </a:lnTo>
                      <a:lnTo>
                        <a:pt x="272949" y="275329"/>
                      </a:lnTo>
                      <a:lnTo>
                        <a:pt x="272536" y="275475"/>
                      </a:lnTo>
                      <a:lnTo>
                        <a:pt x="270302" y="276228"/>
                      </a:lnTo>
                      <a:lnTo>
                        <a:pt x="269792" y="276397"/>
                      </a:lnTo>
                      <a:lnTo>
                        <a:pt x="269318" y="276652"/>
                      </a:lnTo>
                      <a:lnTo>
                        <a:pt x="268335" y="277187"/>
                      </a:lnTo>
                      <a:lnTo>
                        <a:pt x="268201" y="277041"/>
                      </a:lnTo>
                      <a:lnTo>
                        <a:pt x="267351" y="276592"/>
                      </a:lnTo>
                      <a:lnTo>
                        <a:pt x="265857" y="275815"/>
                      </a:lnTo>
                      <a:lnTo>
                        <a:pt x="265177" y="275463"/>
                      </a:lnTo>
                      <a:lnTo>
                        <a:pt x="264425" y="275281"/>
                      </a:lnTo>
                      <a:lnTo>
                        <a:pt x="262749" y="274892"/>
                      </a:lnTo>
                      <a:lnTo>
                        <a:pt x="261899" y="274698"/>
                      </a:lnTo>
                      <a:lnTo>
                        <a:pt x="261024" y="274746"/>
                      </a:lnTo>
                      <a:lnTo>
                        <a:pt x="245190" y="275620"/>
                      </a:lnTo>
                      <a:lnTo>
                        <a:pt x="244547" y="275657"/>
                      </a:lnTo>
                      <a:lnTo>
                        <a:pt x="243927" y="275827"/>
                      </a:lnTo>
                      <a:lnTo>
                        <a:pt x="241802" y="276410"/>
                      </a:lnTo>
                      <a:lnTo>
                        <a:pt x="241280" y="276555"/>
                      </a:lnTo>
                      <a:lnTo>
                        <a:pt x="240782" y="276798"/>
                      </a:lnTo>
                      <a:lnTo>
                        <a:pt x="239349" y="277490"/>
                      </a:lnTo>
                      <a:lnTo>
                        <a:pt x="238256" y="278025"/>
                      </a:lnTo>
                      <a:lnTo>
                        <a:pt x="237443" y="278936"/>
                      </a:lnTo>
                      <a:lnTo>
                        <a:pt x="236629" y="279846"/>
                      </a:lnTo>
                      <a:lnTo>
                        <a:pt x="236132" y="280405"/>
                      </a:lnTo>
                      <a:lnTo>
                        <a:pt x="235792" y="281073"/>
                      </a:lnTo>
                      <a:lnTo>
                        <a:pt x="235391" y="281837"/>
                      </a:lnTo>
                      <a:lnTo>
                        <a:pt x="234577" y="283380"/>
                      </a:lnTo>
                      <a:lnTo>
                        <a:pt x="234711" y="285129"/>
                      </a:lnTo>
                      <a:lnTo>
                        <a:pt x="234772" y="285966"/>
                      </a:lnTo>
                      <a:lnTo>
                        <a:pt x="234820" y="286610"/>
                      </a:lnTo>
                      <a:lnTo>
                        <a:pt x="235002" y="287241"/>
                      </a:lnTo>
                      <a:lnTo>
                        <a:pt x="235367" y="288468"/>
                      </a:lnTo>
                      <a:lnTo>
                        <a:pt x="235221" y="289488"/>
                      </a:lnTo>
                      <a:lnTo>
                        <a:pt x="232889" y="292876"/>
                      </a:lnTo>
                      <a:lnTo>
                        <a:pt x="232416" y="293568"/>
                      </a:lnTo>
                      <a:lnTo>
                        <a:pt x="232149" y="294333"/>
                      </a:lnTo>
                      <a:lnTo>
                        <a:pt x="228506" y="304836"/>
                      </a:lnTo>
                      <a:lnTo>
                        <a:pt x="220759" y="317441"/>
                      </a:lnTo>
                      <a:lnTo>
                        <a:pt x="219034" y="319371"/>
                      </a:lnTo>
                      <a:lnTo>
                        <a:pt x="218694" y="319408"/>
                      </a:lnTo>
                      <a:lnTo>
                        <a:pt x="217528" y="319517"/>
                      </a:lnTo>
                      <a:lnTo>
                        <a:pt x="216484" y="320039"/>
                      </a:lnTo>
                      <a:lnTo>
                        <a:pt x="215452" y="320562"/>
                      </a:lnTo>
                      <a:lnTo>
                        <a:pt x="214893" y="320841"/>
                      </a:lnTo>
                      <a:lnTo>
                        <a:pt x="214396" y="321242"/>
                      </a:lnTo>
                      <a:lnTo>
                        <a:pt x="212963" y="322395"/>
                      </a:lnTo>
                      <a:lnTo>
                        <a:pt x="212635" y="322650"/>
                      </a:lnTo>
                      <a:lnTo>
                        <a:pt x="212356" y="322954"/>
                      </a:lnTo>
                      <a:lnTo>
                        <a:pt x="209308" y="326171"/>
                      </a:lnTo>
                      <a:lnTo>
                        <a:pt x="208968" y="326512"/>
                      </a:lnTo>
                      <a:lnTo>
                        <a:pt x="208701" y="326912"/>
                      </a:lnTo>
                      <a:lnTo>
                        <a:pt x="206685" y="329863"/>
                      </a:lnTo>
                      <a:lnTo>
                        <a:pt x="203928" y="334745"/>
                      </a:lnTo>
                      <a:lnTo>
                        <a:pt x="202617" y="336335"/>
                      </a:lnTo>
                      <a:lnTo>
                        <a:pt x="202325" y="336602"/>
                      </a:lnTo>
                      <a:lnTo>
                        <a:pt x="201913" y="335789"/>
                      </a:lnTo>
                      <a:lnTo>
                        <a:pt x="201548" y="335072"/>
                      </a:lnTo>
                      <a:lnTo>
                        <a:pt x="201099" y="334198"/>
                      </a:lnTo>
                      <a:lnTo>
                        <a:pt x="200407" y="333506"/>
                      </a:lnTo>
                      <a:lnTo>
                        <a:pt x="199739" y="332838"/>
                      </a:lnTo>
                      <a:lnTo>
                        <a:pt x="198986" y="332097"/>
                      </a:lnTo>
                      <a:lnTo>
                        <a:pt x="198039" y="331660"/>
                      </a:lnTo>
                      <a:lnTo>
                        <a:pt x="196873" y="331114"/>
                      </a:lnTo>
                      <a:lnTo>
                        <a:pt x="196339" y="330859"/>
                      </a:lnTo>
                      <a:lnTo>
                        <a:pt x="195768" y="330713"/>
                      </a:lnTo>
                      <a:lnTo>
                        <a:pt x="190146" y="329305"/>
                      </a:lnTo>
                      <a:lnTo>
                        <a:pt x="189418" y="329122"/>
                      </a:lnTo>
                      <a:lnTo>
                        <a:pt x="188665" y="329122"/>
                      </a:lnTo>
                      <a:lnTo>
                        <a:pt x="187681" y="329122"/>
                      </a:lnTo>
                      <a:lnTo>
                        <a:pt x="186795" y="329122"/>
                      </a:lnTo>
                      <a:lnTo>
                        <a:pt x="185945" y="329377"/>
                      </a:lnTo>
                      <a:lnTo>
                        <a:pt x="184682" y="329754"/>
                      </a:lnTo>
                      <a:lnTo>
                        <a:pt x="183261" y="330179"/>
                      </a:lnTo>
                      <a:lnTo>
                        <a:pt x="182205" y="331211"/>
                      </a:lnTo>
                      <a:lnTo>
                        <a:pt x="181464" y="331927"/>
                      </a:lnTo>
                      <a:lnTo>
                        <a:pt x="180990" y="332389"/>
                      </a:lnTo>
                      <a:lnTo>
                        <a:pt x="180626" y="332935"/>
                      </a:lnTo>
                      <a:lnTo>
                        <a:pt x="180055" y="333797"/>
                      </a:lnTo>
                      <a:lnTo>
                        <a:pt x="179813" y="334149"/>
                      </a:lnTo>
                      <a:lnTo>
                        <a:pt x="179630" y="334526"/>
                      </a:lnTo>
                      <a:lnTo>
                        <a:pt x="179108" y="335619"/>
                      </a:lnTo>
                      <a:lnTo>
                        <a:pt x="178768" y="336347"/>
                      </a:lnTo>
                      <a:lnTo>
                        <a:pt x="178623" y="337124"/>
                      </a:lnTo>
                      <a:lnTo>
                        <a:pt x="178404" y="338302"/>
                      </a:lnTo>
                      <a:lnTo>
                        <a:pt x="178295" y="338909"/>
                      </a:lnTo>
                      <a:lnTo>
                        <a:pt x="178307" y="339529"/>
                      </a:lnTo>
                      <a:lnTo>
                        <a:pt x="178708" y="361641"/>
                      </a:lnTo>
                      <a:lnTo>
                        <a:pt x="178720" y="362248"/>
                      </a:lnTo>
                      <a:lnTo>
                        <a:pt x="178853" y="362831"/>
                      </a:lnTo>
                      <a:lnTo>
                        <a:pt x="179303" y="364896"/>
                      </a:lnTo>
                      <a:lnTo>
                        <a:pt x="179363" y="365199"/>
                      </a:lnTo>
                      <a:lnTo>
                        <a:pt x="179460" y="365478"/>
                      </a:lnTo>
                      <a:lnTo>
                        <a:pt x="180153" y="367579"/>
                      </a:lnTo>
                      <a:lnTo>
                        <a:pt x="180262" y="367931"/>
                      </a:lnTo>
                      <a:lnTo>
                        <a:pt x="180420" y="368247"/>
                      </a:lnTo>
                      <a:lnTo>
                        <a:pt x="182156" y="371963"/>
                      </a:lnTo>
                      <a:lnTo>
                        <a:pt x="182715" y="373736"/>
                      </a:lnTo>
                      <a:lnTo>
                        <a:pt x="183043" y="375168"/>
                      </a:lnTo>
                      <a:lnTo>
                        <a:pt x="183103" y="376735"/>
                      </a:lnTo>
                      <a:lnTo>
                        <a:pt x="182909" y="378702"/>
                      </a:lnTo>
                      <a:lnTo>
                        <a:pt x="182411" y="381094"/>
                      </a:lnTo>
                      <a:lnTo>
                        <a:pt x="181525" y="383608"/>
                      </a:lnTo>
                      <a:lnTo>
                        <a:pt x="181415" y="383899"/>
                      </a:lnTo>
                      <a:lnTo>
                        <a:pt x="181343" y="384203"/>
                      </a:lnTo>
                      <a:lnTo>
                        <a:pt x="178125" y="397536"/>
                      </a:lnTo>
                      <a:lnTo>
                        <a:pt x="177955" y="398240"/>
                      </a:lnTo>
                      <a:lnTo>
                        <a:pt x="177955" y="398969"/>
                      </a:lnTo>
                      <a:lnTo>
                        <a:pt x="177955" y="401713"/>
                      </a:lnTo>
                      <a:lnTo>
                        <a:pt x="177955" y="402453"/>
                      </a:lnTo>
                      <a:lnTo>
                        <a:pt x="178137" y="403182"/>
                      </a:lnTo>
                      <a:lnTo>
                        <a:pt x="178768" y="405744"/>
                      </a:lnTo>
                      <a:lnTo>
                        <a:pt x="178938" y="406424"/>
                      </a:lnTo>
                      <a:lnTo>
                        <a:pt x="179254" y="407043"/>
                      </a:lnTo>
                      <a:lnTo>
                        <a:pt x="182180" y="412811"/>
                      </a:lnTo>
                      <a:lnTo>
                        <a:pt x="182739" y="413916"/>
                      </a:lnTo>
                      <a:lnTo>
                        <a:pt x="183686" y="414706"/>
                      </a:lnTo>
                      <a:lnTo>
                        <a:pt x="185180" y="415956"/>
                      </a:lnTo>
                      <a:lnTo>
                        <a:pt x="186443" y="416114"/>
                      </a:lnTo>
                      <a:lnTo>
                        <a:pt x="186940" y="418118"/>
                      </a:lnTo>
                      <a:lnTo>
                        <a:pt x="187110" y="418773"/>
                      </a:lnTo>
                      <a:lnTo>
                        <a:pt x="187402" y="419369"/>
                      </a:lnTo>
                      <a:lnTo>
                        <a:pt x="188191" y="420947"/>
                      </a:lnTo>
                      <a:lnTo>
                        <a:pt x="188665" y="421882"/>
                      </a:lnTo>
                      <a:lnTo>
                        <a:pt x="189418" y="422611"/>
                      </a:lnTo>
                      <a:lnTo>
                        <a:pt x="190401" y="423558"/>
                      </a:lnTo>
                      <a:lnTo>
                        <a:pt x="192174" y="425258"/>
                      </a:lnTo>
                      <a:lnTo>
                        <a:pt x="193145" y="425258"/>
                      </a:lnTo>
                      <a:lnTo>
                        <a:pt x="191409" y="439526"/>
                      </a:lnTo>
                      <a:lnTo>
                        <a:pt x="191373" y="439890"/>
                      </a:lnTo>
                      <a:lnTo>
                        <a:pt x="191373" y="440255"/>
                      </a:lnTo>
                      <a:lnTo>
                        <a:pt x="191373" y="443897"/>
                      </a:lnTo>
                      <a:lnTo>
                        <a:pt x="191373" y="445099"/>
                      </a:lnTo>
                      <a:lnTo>
                        <a:pt x="191834" y="446217"/>
                      </a:lnTo>
                      <a:lnTo>
                        <a:pt x="192356" y="447480"/>
                      </a:lnTo>
                      <a:lnTo>
                        <a:pt x="192623" y="448147"/>
                      </a:lnTo>
                      <a:lnTo>
                        <a:pt x="193048" y="448730"/>
                      </a:lnTo>
                      <a:lnTo>
                        <a:pt x="193607" y="449507"/>
                      </a:lnTo>
                      <a:lnTo>
                        <a:pt x="193971" y="450236"/>
                      </a:lnTo>
                      <a:lnTo>
                        <a:pt x="194311" y="451305"/>
                      </a:lnTo>
                      <a:lnTo>
                        <a:pt x="194469" y="460691"/>
                      </a:lnTo>
                      <a:lnTo>
                        <a:pt x="194481" y="461152"/>
                      </a:lnTo>
                      <a:lnTo>
                        <a:pt x="194554" y="461614"/>
                      </a:lnTo>
                      <a:lnTo>
                        <a:pt x="195902" y="469434"/>
                      </a:lnTo>
                      <a:lnTo>
                        <a:pt x="195902" y="473380"/>
                      </a:lnTo>
                      <a:lnTo>
                        <a:pt x="195635" y="475384"/>
                      </a:lnTo>
                      <a:lnTo>
                        <a:pt x="191968" y="487782"/>
                      </a:lnTo>
                      <a:lnTo>
                        <a:pt x="191773" y="488450"/>
                      </a:lnTo>
                      <a:lnTo>
                        <a:pt x="191737" y="489166"/>
                      </a:lnTo>
                      <a:lnTo>
                        <a:pt x="191555" y="492360"/>
                      </a:lnTo>
                      <a:lnTo>
                        <a:pt x="191494" y="493428"/>
                      </a:lnTo>
                      <a:lnTo>
                        <a:pt x="191798" y="494448"/>
                      </a:lnTo>
                      <a:lnTo>
                        <a:pt x="192380" y="496403"/>
                      </a:lnTo>
                      <a:lnTo>
                        <a:pt x="193182" y="499063"/>
                      </a:lnTo>
                      <a:lnTo>
                        <a:pt x="195708" y="500204"/>
                      </a:lnTo>
                      <a:lnTo>
                        <a:pt x="204281" y="504053"/>
                      </a:lnTo>
                      <a:lnTo>
                        <a:pt x="204621" y="504308"/>
                      </a:lnTo>
                      <a:lnTo>
                        <a:pt x="207341" y="506883"/>
                      </a:lnTo>
                      <a:lnTo>
                        <a:pt x="207851" y="507368"/>
                      </a:lnTo>
                      <a:lnTo>
                        <a:pt x="208470" y="507721"/>
                      </a:lnTo>
                      <a:lnTo>
                        <a:pt x="209271" y="508182"/>
                      </a:lnTo>
                      <a:lnTo>
                        <a:pt x="209769" y="508473"/>
                      </a:lnTo>
                      <a:lnTo>
                        <a:pt x="210304" y="508668"/>
                      </a:lnTo>
                      <a:lnTo>
                        <a:pt x="211226" y="508971"/>
                      </a:lnTo>
                      <a:lnTo>
                        <a:pt x="211955" y="509226"/>
                      </a:lnTo>
                      <a:lnTo>
                        <a:pt x="212708" y="509287"/>
                      </a:lnTo>
                      <a:lnTo>
                        <a:pt x="215355" y="509518"/>
                      </a:lnTo>
                      <a:lnTo>
                        <a:pt x="215828" y="509566"/>
                      </a:lnTo>
                      <a:lnTo>
                        <a:pt x="216290" y="509530"/>
                      </a:lnTo>
                      <a:lnTo>
                        <a:pt x="223454" y="509032"/>
                      </a:lnTo>
                      <a:lnTo>
                        <a:pt x="224025" y="509068"/>
                      </a:lnTo>
                      <a:lnTo>
                        <a:pt x="224353" y="509141"/>
                      </a:lnTo>
                      <a:lnTo>
                        <a:pt x="224353" y="509153"/>
                      </a:lnTo>
                      <a:lnTo>
                        <a:pt x="224365" y="509166"/>
                      </a:lnTo>
                      <a:lnTo>
                        <a:pt x="226101" y="511412"/>
                      </a:lnTo>
                      <a:lnTo>
                        <a:pt x="226308" y="511667"/>
                      </a:lnTo>
                      <a:lnTo>
                        <a:pt x="226539" y="511910"/>
                      </a:lnTo>
                      <a:lnTo>
                        <a:pt x="227340" y="512736"/>
                      </a:lnTo>
                      <a:lnTo>
                        <a:pt x="227680" y="513088"/>
                      </a:lnTo>
                      <a:lnTo>
                        <a:pt x="228069" y="513379"/>
                      </a:lnTo>
                      <a:lnTo>
                        <a:pt x="228870" y="513986"/>
                      </a:lnTo>
                      <a:lnTo>
                        <a:pt x="229319" y="514314"/>
                      </a:lnTo>
                      <a:lnTo>
                        <a:pt x="229817" y="514557"/>
                      </a:lnTo>
                      <a:lnTo>
                        <a:pt x="230801" y="515043"/>
                      </a:lnTo>
                      <a:lnTo>
                        <a:pt x="231238" y="515273"/>
                      </a:lnTo>
                      <a:lnTo>
                        <a:pt x="231699" y="515419"/>
                      </a:lnTo>
                      <a:lnTo>
                        <a:pt x="233072" y="515844"/>
                      </a:lnTo>
                      <a:lnTo>
                        <a:pt x="234334" y="516233"/>
                      </a:lnTo>
                      <a:lnTo>
                        <a:pt x="235634" y="516063"/>
                      </a:lnTo>
                      <a:lnTo>
                        <a:pt x="236957" y="515893"/>
                      </a:lnTo>
                      <a:lnTo>
                        <a:pt x="237674" y="515795"/>
                      </a:lnTo>
                      <a:lnTo>
                        <a:pt x="238341" y="515540"/>
                      </a:lnTo>
                      <a:lnTo>
                        <a:pt x="239884" y="514958"/>
                      </a:lnTo>
                      <a:lnTo>
                        <a:pt x="240564" y="514703"/>
                      </a:lnTo>
                      <a:lnTo>
                        <a:pt x="241159" y="514302"/>
                      </a:lnTo>
                      <a:lnTo>
                        <a:pt x="243174" y="512930"/>
                      </a:lnTo>
                      <a:lnTo>
                        <a:pt x="243344" y="512820"/>
                      </a:lnTo>
                      <a:lnTo>
                        <a:pt x="244668" y="512833"/>
                      </a:lnTo>
                      <a:lnTo>
                        <a:pt x="245615" y="512942"/>
                      </a:lnTo>
                      <a:lnTo>
                        <a:pt x="245627" y="513500"/>
                      </a:lnTo>
                      <a:lnTo>
                        <a:pt x="245384" y="515322"/>
                      </a:lnTo>
                      <a:lnTo>
                        <a:pt x="242956" y="524514"/>
                      </a:lnTo>
                      <a:lnTo>
                        <a:pt x="242822" y="525036"/>
                      </a:lnTo>
                      <a:lnTo>
                        <a:pt x="242786" y="525559"/>
                      </a:lnTo>
                      <a:lnTo>
                        <a:pt x="242616" y="527623"/>
                      </a:lnTo>
                      <a:lnTo>
                        <a:pt x="242567" y="528230"/>
                      </a:lnTo>
                      <a:lnTo>
                        <a:pt x="242628" y="528825"/>
                      </a:lnTo>
                      <a:lnTo>
                        <a:pt x="242810" y="530343"/>
                      </a:lnTo>
                      <a:lnTo>
                        <a:pt x="242944" y="531521"/>
                      </a:lnTo>
                      <a:lnTo>
                        <a:pt x="243514" y="532565"/>
                      </a:lnTo>
                      <a:lnTo>
                        <a:pt x="244024" y="533500"/>
                      </a:lnTo>
                      <a:lnTo>
                        <a:pt x="244765" y="534678"/>
                      </a:lnTo>
                      <a:lnTo>
                        <a:pt x="245202" y="535370"/>
                      </a:lnTo>
                      <a:lnTo>
                        <a:pt x="245809" y="535916"/>
                      </a:lnTo>
                      <a:lnTo>
                        <a:pt x="246271" y="536329"/>
                      </a:lnTo>
                      <a:lnTo>
                        <a:pt x="246222" y="536378"/>
                      </a:lnTo>
                      <a:lnTo>
                        <a:pt x="245555" y="536839"/>
                      </a:lnTo>
                      <a:lnTo>
                        <a:pt x="242288" y="537920"/>
                      </a:lnTo>
                      <a:lnTo>
                        <a:pt x="241997" y="538017"/>
                      </a:lnTo>
                      <a:lnTo>
                        <a:pt x="241717" y="538151"/>
                      </a:lnTo>
                      <a:lnTo>
                        <a:pt x="239762" y="539025"/>
                      </a:lnTo>
                      <a:lnTo>
                        <a:pt x="237164" y="540470"/>
                      </a:lnTo>
                      <a:lnTo>
                        <a:pt x="236702" y="540725"/>
                      </a:lnTo>
                      <a:lnTo>
                        <a:pt x="236301" y="541065"/>
                      </a:lnTo>
                      <a:lnTo>
                        <a:pt x="234201" y="542814"/>
                      </a:lnTo>
                      <a:lnTo>
                        <a:pt x="234456" y="542012"/>
                      </a:lnTo>
                      <a:lnTo>
                        <a:pt x="234614" y="541490"/>
                      </a:lnTo>
                      <a:lnTo>
                        <a:pt x="234674" y="540956"/>
                      </a:lnTo>
                      <a:lnTo>
                        <a:pt x="234905" y="539086"/>
                      </a:lnTo>
                      <a:lnTo>
                        <a:pt x="235306" y="535832"/>
                      </a:lnTo>
                      <a:lnTo>
                        <a:pt x="232816" y="533719"/>
                      </a:lnTo>
                      <a:lnTo>
                        <a:pt x="231845" y="532893"/>
                      </a:lnTo>
                      <a:lnTo>
                        <a:pt x="230667" y="531885"/>
                      </a:lnTo>
                      <a:lnTo>
                        <a:pt x="229149" y="531569"/>
                      </a:lnTo>
                      <a:lnTo>
                        <a:pt x="227413" y="531205"/>
                      </a:lnTo>
                      <a:lnTo>
                        <a:pt x="226879" y="531096"/>
                      </a:lnTo>
                      <a:lnTo>
                        <a:pt x="226332" y="531072"/>
                      </a:lnTo>
                      <a:lnTo>
                        <a:pt x="220054" y="530889"/>
                      </a:lnTo>
                      <a:lnTo>
                        <a:pt x="219180" y="530574"/>
                      </a:lnTo>
                      <a:lnTo>
                        <a:pt x="214833" y="528194"/>
                      </a:lnTo>
                      <a:lnTo>
                        <a:pt x="214444" y="527975"/>
                      </a:lnTo>
                      <a:lnTo>
                        <a:pt x="214019" y="527817"/>
                      </a:lnTo>
                      <a:lnTo>
                        <a:pt x="211615" y="526931"/>
                      </a:lnTo>
                      <a:lnTo>
                        <a:pt x="211020" y="526700"/>
                      </a:lnTo>
                      <a:lnTo>
                        <a:pt x="210388" y="526615"/>
                      </a:lnTo>
                      <a:lnTo>
                        <a:pt x="192648" y="523980"/>
                      </a:lnTo>
                      <a:lnTo>
                        <a:pt x="192053" y="523883"/>
                      </a:lnTo>
                      <a:lnTo>
                        <a:pt x="191445" y="523919"/>
                      </a:lnTo>
                      <a:lnTo>
                        <a:pt x="189430" y="524028"/>
                      </a:lnTo>
                      <a:lnTo>
                        <a:pt x="189102" y="524041"/>
                      </a:lnTo>
                      <a:lnTo>
                        <a:pt x="188786" y="524089"/>
                      </a:lnTo>
                      <a:lnTo>
                        <a:pt x="187013" y="524369"/>
                      </a:lnTo>
                      <a:lnTo>
                        <a:pt x="186188" y="524514"/>
                      </a:lnTo>
                      <a:lnTo>
                        <a:pt x="185435" y="524854"/>
                      </a:lnTo>
                      <a:lnTo>
                        <a:pt x="183990" y="525522"/>
                      </a:lnTo>
                      <a:lnTo>
                        <a:pt x="183613" y="525704"/>
                      </a:lnTo>
                      <a:lnTo>
                        <a:pt x="183261" y="525935"/>
                      </a:lnTo>
                      <a:lnTo>
                        <a:pt x="182059" y="526700"/>
                      </a:lnTo>
                      <a:lnTo>
                        <a:pt x="181561" y="527003"/>
                      </a:lnTo>
                      <a:lnTo>
                        <a:pt x="181136" y="527416"/>
                      </a:lnTo>
                      <a:lnTo>
                        <a:pt x="180104" y="528400"/>
                      </a:lnTo>
                      <a:lnTo>
                        <a:pt x="179764" y="528716"/>
                      </a:lnTo>
                      <a:lnTo>
                        <a:pt x="179473" y="529092"/>
                      </a:lnTo>
                      <a:lnTo>
                        <a:pt x="178841" y="529918"/>
                      </a:lnTo>
                      <a:lnTo>
                        <a:pt x="177724" y="531606"/>
                      </a:lnTo>
                      <a:lnTo>
                        <a:pt x="177615" y="531763"/>
                      </a:lnTo>
                      <a:lnTo>
                        <a:pt x="168568" y="513136"/>
                      </a:lnTo>
                      <a:lnTo>
                        <a:pt x="168337" y="512675"/>
                      </a:lnTo>
                      <a:lnTo>
                        <a:pt x="168034" y="512250"/>
                      </a:lnTo>
                      <a:lnTo>
                        <a:pt x="166030" y="509469"/>
                      </a:lnTo>
                      <a:lnTo>
                        <a:pt x="165532" y="508765"/>
                      </a:lnTo>
                      <a:lnTo>
                        <a:pt x="164852" y="508243"/>
                      </a:lnTo>
                      <a:lnTo>
                        <a:pt x="163408" y="507101"/>
                      </a:lnTo>
                      <a:lnTo>
                        <a:pt x="162388" y="506288"/>
                      </a:lnTo>
                      <a:lnTo>
                        <a:pt x="161125" y="505984"/>
                      </a:lnTo>
                      <a:lnTo>
                        <a:pt x="159922" y="505693"/>
                      </a:lnTo>
                      <a:lnTo>
                        <a:pt x="158720" y="505401"/>
                      </a:lnTo>
                      <a:lnTo>
                        <a:pt x="157494" y="505608"/>
                      </a:lnTo>
                      <a:lnTo>
                        <a:pt x="154907" y="506020"/>
                      </a:lnTo>
                      <a:lnTo>
                        <a:pt x="154616" y="505340"/>
                      </a:lnTo>
                      <a:lnTo>
                        <a:pt x="154300" y="504600"/>
                      </a:lnTo>
                      <a:lnTo>
                        <a:pt x="153802" y="503968"/>
                      </a:lnTo>
                      <a:lnTo>
                        <a:pt x="152940" y="502875"/>
                      </a:lnTo>
                      <a:lnTo>
                        <a:pt x="152685" y="502548"/>
                      </a:lnTo>
                      <a:lnTo>
                        <a:pt x="152382" y="502256"/>
                      </a:lnTo>
                      <a:lnTo>
                        <a:pt x="150949" y="500884"/>
                      </a:lnTo>
                      <a:lnTo>
                        <a:pt x="150669" y="500617"/>
                      </a:lnTo>
                      <a:lnTo>
                        <a:pt x="150354" y="500386"/>
                      </a:lnTo>
                      <a:lnTo>
                        <a:pt x="147962" y="498613"/>
                      </a:lnTo>
                      <a:lnTo>
                        <a:pt x="142485" y="493441"/>
                      </a:lnTo>
                      <a:lnTo>
                        <a:pt x="142230" y="493198"/>
                      </a:lnTo>
                      <a:lnTo>
                        <a:pt x="141951" y="492979"/>
                      </a:lnTo>
                      <a:lnTo>
                        <a:pt x="140919" y="492214"/>
                      </a:lnTo>
                      <a:lnTo>
                        <a:pt x="140384" y="491813"/>
                      </a:lnTo>
                      <a:lnTo>
                        <a:pt x="139777" y="491546"/>
                      </a:lnTo>
                      <a:lnTo>
                        <a:pt x="138745" y="491085"/>
                      </a:lnTo>
                      <a:lnTo>
                        <a:pt x="138174" y="490830"/>
                      </a:lnTo>
                      <a:lnTo>
                        <a:pt x="137567" y="490696"/>
                      </a:lnTo>
                      <a:lnTo>
                        <a:pt x="136814" y="490526"/>
                      </a:lnTo>
                      <a:lnTo>
                        <a:pt x="136474" y="490453"/>
                      </a:lnTo>
                      <a:lnTo>
                        <a:pt x="136122" y="490417"/>
                      </a:lnTo>
                      <a:lnTo>
                        <a:pt x="134981" y="490296"/>
                      </a:lnTo>
                      <a:lnTo>
                        <a:pt x="133827" y="490174"/>
                      </a:lnTo>
                      <a:lnTo>
                        <a:pt x="132710" y="490478"/>
                      </a:lnTo>
                      <a:lnTo>
                        <a:pt x="131909" y="490708"/>
                      </a:lnTo>
                      <a:lnTo>
                        <a:pt x="130816" y="491012"/>
                      </a:lnTo>
                      <a:lnTo>
                        <a:pt x="129917" y="491692"/>
                      </a:lnTo>
                      <a:lnTo>
                        <a:pt x="128994" y="492384"/>
                      </a:lnTo>
                      <a:lnTo>
                        <a:pt x="128254" y="492943"/>
                      </a:lnTo>
                      <a:lnTo>
                        <a:pt x="127707" y="493696"/>
                      </a:lnTo>
                      <a:lnTo>
                        <a:pt x="126857" y="494885"/>
                      </a:lnTo>
                      <a:lnTo>
                        <a:pt x="126675" y="495140"/>
                      </a:lnTo>
                      <a:lnTo>
                        <a:pt x="126663" y="495165"/>
                      </a:lnTo>
                      <a:lnTo>
                        <a:pt x="126566" y="495056"/>
                      </a:lnTo>
                      <a:lnTo>
                        <a:pt x="117434" y="484685"/>
                      </a:lnTo>
                      <a:lnTo>
                        <a:pt x="117021" y="484212"/>
                      </a:lnTo>
                      <a:lnTo>
                        <a:pt x="116524" y="483848"/>
                      </a:lnTo>
                      <a:lnTo>
                        <a:pt x="114921" y="482633"/>
                      </a:lnTo>
                      <a:lnTo>
                        <a:pt x="113961" y="481905"/>
                      </a:lnTo>
                      <a:lnTo>
                        <a:pt x="112796" y="481601"/>
                      </a:lnTo>
                      <a:lnTo>
                        <a:pt x="111472" y="481261"/>
                      </a:lnTo>
                      <a:lnTo>
                        <a:pt x="110173" y="480933"/>
                      </a:lnTo>
                      <a:lnTo>
                        <a:pt x="108861" y="481176"/>
                      </a:lnTo>
                      <a:lnTo>
                        <a:pt x="107890" y="481358"/>
                      </a:lnTo>
                      <a:lnTo>
                        <a:pt x="106530" y="481613"/>
                      </a:lnTo>
                      <a:lnTo>
                        <a:pt x="105413" y="482427"/>
                      </a:lnTo>
                      <a:lnTo>
                        <a:pt x="103567" y="483762"/>
                      </a:lnTo>
                      <a:lnTo>
                        <a:pt x="103008" y="484163"/>
                      </a:lnTo>
                      <a:lnTo>
                        <a:pt x="102559" y="484685"/>
                      </a:lnTo>
                      <a:lnTo>
                        <a:pt x="97107" y="490976"/>
                      </a:lnTo>
                      <a:lnTo>
                        <a:pt x="94824" y="492347"/>
                      </a:lnTo>
                      <a:lnTo>
                        <a:pt x="93161" y="493040"/>
                      </a:lnTo>
                      <a:lnTo>
                        <a:pt x="91643" y="493683"/>
                      </a:lnTo>
                      <a:lnTo>
                        <a:pt x="90647" y="494983"/>
                      </a:lnTo>
                      <a:lnTo>
                        <a:pt x="89214" y="496877"/>
                      </a:lnTo>
                      <a:lnTo>
                        <a:pt x="88959" y="497229"/>
                      </a:lnTo>
                      <a:lnTo>
                        <a:pt x="88741" y="497606"/>
                      </a:lnTo>
                      <a:lnTo>
                        <a:pt x="81103" y="511485"/>
                      </a:lnTo>
                      <a:lnTo>
                        <a:pt x="80896" y="511849"/>
                      </a:lnTo>
                      <a:lnTo>
                        <a:pt x="80750" y="512238"/>
                      </a:lnTo>
                      <a:lnTo>
                        <a:pt x="80010" y="514169"/>
                      </a:lnTo>
                      <a:lnTo>
                        <a:pt x="79852" y="514569"/>
                      </a:lnTo>
                      <a:lnTo>
                        <a:pt x="79755" y="514994"/>
                      </a:lnTo>
                      <a:lnTo>
                        <a:pt x="79293" y="517034"/>
                      </a:lnTo>
                      <a:lnTo>
                        <a:pt x="79111" y="517860"/>
                      </a:lnTo>
                      <a:lnTo>
                        <a:pt x="79160" y="518710"/>
                      </a:lnTo>
                      <a:lnTo>
                        <a:pt x="79269" y="520726"/>
                      </a:lnTo>
                      <a:lnTo>
                        <a:pt x="79305" y="521515"/>
                      </a:lnTo>
                      <a:lnTo>
                        <a:pt x="79560" y="522268"/>
                      </a:lnTo>
                      <a:lnTo>
                        <a:pt x="80253" y="524369"/>
                      </a:lnTo>
                      <a:lnTo>
                        <a:pt x="80471" y="525024"/>
                      </a:lnTo>
                      <a:lnTo>
                        <a:pt x="80823" y="525619"/>
                      </a:lnTo>
                      <a:lnTo>
                        <a:pt x="82135" y="527805"/>
                      </a:lnTo>
                      <a:lnTo>
                        <a:pt x="82450" y="528315"/>
                      </a:lnTo>
                      <a:lnTo>
                        <a:pt x="82863" y="528764"/>
                      </a:lnTo>
                      <a:lnTo>
                        <a:pt x="84539" y="530598"/>
                      </a:lnTo>
                      <a:lnTo>
                        <a:pt x="84867" y="530962"/>
                      </a:lnTo>
                      <a:lnTo>
                        <a:pt x="85256" y="531254"/>
                      </a:lnTo>
                      <a:lnTo>
                        <a:pt x="87502" y="533026"/>
                      </a:lnTo>
                      <a:lnTo>
                        <a:pt x="87878" y="533330"/>
                      </a:lnTo>
                      <a:lnTo>
                        <a:pt x="88291" y="533561"/>
                      </a:lnTo>
                      <a:lnTo>
                        <a:pt x="103409" y="542049"/>
                      </a:lnTo>
                      <a:lnTo>
                        <a:pt x="103761" y="542389"/>
                      </a:lnTo>
                      <a:lnTo>
                        <a:pt x="104211" y="543142"/>
                      </a:lnTo>
                      <a:lnTo>
                        <a:pt x="106093" y="548096"/>
                      </a:lnTo>
                      <a:lnTo>
                        <a:pt x="106360" y="548800"/>
                      </a:lnTo>
                      <a:lnTo>
                        <a:pt x="106773" y="549407"/>
                      </a:lnTo>
                      <a:lnTo>
                        <a:pt x="107805" y="550901"/>
                      </a:lnTo>
                      <a:lnTo>
                        <a:pt x="108546" y="551969"/>
                      </a:lnTo>
                      <a:lnTo>
                        <a:pt x="109663" y="552649"/>
                      </a:lnTo>
                      <a:lnTo>
                        <a:pt x="111326" y="553657"/>
                      </a:lnTo>
                      <a:lnTo>
                        <a:pt x="111909" y="554009"/>
                      </a:lnTo>
                      <a:lnTo>
                        <a:pt x="112553" y="554228"/>
                      </a:lnTo>
                      <a:lnTo>
                        <a:pt x="114277" y="554799"/>
                      </a:lnTo>
                      <a:lnTo>
                        <a:pt x="114896" y="555005"/>
                      </a:lnTo>
                      <a:lnTo>
                        <a:pt x="115552" y="555078"/>
                      </a:lnTo>
                      <a:lnTo>
                        <a:pt x="121053" y="555661"/>
                      </a:lnTo>
                      <a:lnTo>
                        <a:pt x="119681" y="561720"/>
                      </a:lnTo>
                      <a:lnTo>
                        <a:pt x="119559" y="562255"/>
                      </a:lnTo>
                      <a:lnTo>
                        <a:pt x="119535" y="562801"/>
                      </a:lnTo>
                      <a:lnTo>
                        <a:pt x="119365" y="566844"/>
                      </a:lnTo>
                      <a:lnTo>
                        <a:pt x="119341" y="567598"/>
                      </a:lnTo>
                      <a:lnTo>
                        <a:pt x="119486" y="568326"/>
                      </a:lnTo>
                      <a:lnTo>
                        <a:pt x="120239" y="572030"/>
                      </a:lnTo>
                      <a:lnTo>
                        <a:pt x="121587" y="576826"/>
                      </a:lnTo>
                      <a:lnTo>
                        <a:pt x="121794" y="578514"/>
                      </a:lnTo>
                      <a:lnTo>
                        <a:pt x="121624" y="580008"/>
                      </a:lnTo>
                      <a:lnTo>
                        <a:pt x="120421" y="585448"/>
                      </a:lnTo>
                      <a:lnTo>
                        <a:pt x="120300" y="585994"/>
                      </a:lnTo>
                      <a:lnTo>
                        <a:pt x="120288" y="586540"/>
                      </a:lnTo>
                      <a:lnTo>
                        <a:pt x="119729" y="601525"/>
                      </a:lnTo>
                      <a:lnTo>
                        <a:pt x="119693" y="602460"/>
                      </a:lnTo>
                      <a:lnTo>
                        <a:pt x="119948" y="603370"/>
                      </a:lnTo>
                      <a:lnTo>
                        <a:pt x="120458" y="605204"/>
                      </a:lnTo>
                      <a:lnTo>
                        <a:pt x="120895" y="606746"/>
                      </a:lnTo>
                      <a:lnTo>
                        <a:pt x="122036" y="607888"/>
                      </a:lnTo>
                      <a:lnTo>
                        <a:pt x="123190" y="609041"/>
                      </a:lnTo>
                      <a:lnTo>
                        <a:pt x="124501" y="610341"/>
                      </a:lnTo>
                      <a:lnTo>
                        <a:pt x="126323" y="610693"/>
                      </a:lnTo>
                      <a:lnTo>
                        <a:pt x="130925" y="611567"/>
                      </a:lnTo>
                      <a:lnTo>
                        <a:pt x="131095" y="611834"/>
                      </a:lnTo>
                      <a:lnTo>
                        <a:pt x="133973" y="618233"/>
                      </a:lnTo>
                      <a:lnTo>
                        <a:pt x="134204" y="618755"/>
                      </a:lnTo>
                      <a:lnTo>
                        <a:pt x="134532" y="619217"/>
                      </a:lnTo>
                      <a:lnTo>
                        <a:pt x="135284" y="620298"/>
                      </a:lnTo>
                      <a:lnTo>
                        <a:pt x="135892" y="621160"/>
                      </a:lnTo>
                      <a:lnTo>
                        <a:pt x="136741" y="621767"/>
                      </a:lnTo>
                      <a:lnTo>
                        <a:pt x="137713" y="622459"/>
                      </a:lnTo>
                      <a:lnTo>
                        <a:pt x="138357" y="622908"/>
                      </a:lnTo>
                      <a:lnTo>
                        <a:pt x="139085" y="623188"/>
                      </a:lnTo>
                      <a:lnTo>
                        <a:pt x="140239" y="623625"/>
                      </a:lnTo>
                      <a:lnTo>
                        <a:pt x="140591" y="623759"/>
                      </a:lnTo>
                      <a:lnTo>
                        <a:pt x="140955" y="623843"/>
                      </a:lnTo>
                      <a:lnTo>
                        <a:pt x="145035" y="624839"/>
                      </a:lnTo>
                      <a:lnTo>
                        <a:pt x="145120" y="624888"/>
                      </a:lnTo>
                      <a:lnTo>
                        <a:pt x="144562" y="625228"/>
                      </a:lnTo>
                      <a:lnTo>
                        <a:pt x="144100" y="625519"/>
                      </a:lnTo>
                      <a:lnTo>
                        <a:pt x="143700" y="625871"/>
                      </a:lnTo>
                      <a:lnTo>
                        <a:pt x="142437" y="627025"/>
                      </a:lnTo>
                      <a:lnTo>
                        <a:pt x="141538" y="627851"/>
                      </a:lnTo>
                      <a:lnTo>
                        <a:pt x="141028" y="628968"/>
                      </a:lnTo>
                      <a:lnTo>
                        <a:pt x="140214" y="630729"/>
                      </a:lnTo>
                      <a:lnTo>
                        <a:pt x="139352" y="632599"/>
                      </a:lnTo>
                      <a:lnTo>
                        <a:pt x="139802" y="634602"/>
                      </a:lnTo>
                      <a:lnTo>
                        <a:pt x="140032" y="635634"/>
                      </a:lnTo>
                      <a:lnTo>
                        <a:pt x="140384" y="637189"/>
                      </a:lnTo>
                      <a:lnTo>
                        <a:pt x="141453" y="638378"/>
                      </a:lnTo>
                      <a:lnTo>
                        <a:pt x="142437" y="639472"/>
                      </a:lnTo>
                      <a:lnTo>
                        <a:pt x="142995" y="640103"/>
                      </a:lnTo>
                      <a:lnTo>
                        <a:pt x="143712" y="640552"/>
                      </a:lnTo>
                      <a:lnTo>
                        <a:pt x="146031" y="641997"/>
                      </a:lnTo>
                      <a:lnTo>
                        <a:pt x="143590" y="647073"/>
                      </a:lnTo>
                      <a:lnTo>
                        <a:pt x="143457" y="647340"/>
                      </a:lnTo>
                      <a:lnTo>
                        <a:pt x="143347" y="647632"/>
                      </a:lnTo>
                      <a:lnTo>
                        <a:pt x="142412" y="650206"/>
                      </a:lnTo>
                      <a:lnTo>
                        <a:pt x="142242" y="650667"/>
                      </a:lnTo>
                      <a:lnTo>
                        <a:pt x="142157" y="651141"/>
                      </a:lnTo>
                      <a:lnTo>
                        <a:pt x="141647" y="653849"/>
                      </a:lnTo>
                      <a:lnTo>
                        <a:pt x="141526" y="654456"/>
                      </a:lnTo>
                      <a:lnTo>
                        <a:pt x="141538" y="655075"/>
                      </a:lnTo>
                      <a:lnTo>
                        <a:pt x="141599" y="658754"/>
                      </a:lnTo>
                      <a:lnTo>
                        <a:pt x="141611" y="659337"/>
                      </a:lnTo>
                      <a:lnTo>
                        <a:pt x="141732" y="659920"/>
                      </a:lnTo>
                      <a:lnTo>
                        <a:pt x="142242" y="662337"/>
                      </a:lnTo>
                      <a:lnTo>
                        <a:pt x="142340" y="662774"/>
                      </a:lnTo>
                      <a:lnTo>
                        <a:pt x="142497" y="663199"/>
                      </a:lnTo>
                      <a:lnTo>
                        <a:pt x="143311" y="665384"/>
                      </a:lnTo>
                      <a:lnTo>
                        <a:pt x="143481" y="665822"/>
                      </a:lnTo>
                      <a:lnTo>
                        <a:pt x="143712" y="666222"/>
                      </a:lnTo>
                      <a:lnTo>
                        <a:pt x="145727" y="669829"/>
                      </a:lnTo>
                      <a:lnTo>
                        <a:pt x="145861" y="670460"/>
                      </a:lnTo>
                      <a:lnTo>
                        <a:pt x="145788" y="671140"/>
                      </a:lnTo>
                      <a:lnTo>
                        <a:pt x="144647" y="674856"/>
                      </a:lnTo>
                      <a:lnTo>
                        <a:pt x="144452" y="675475"/>
                      </a:lnTo>
                      <a:lnTo>
                        <a:pt x="144392" y="676119"/>
                      </a:lnTo>
                      <a:lnTo>
                        <a:pt x="144222" y="678062"/>
                      </a:lnTo>
                      <a:lnTo>
                        <a:pt x="144015" y="680308"/>
                      </a:lnTo>
                      <a:lnTo>
                        <a:pt x="145339" y="682142"/>
                      </a:lnTo>
                      <a:lnTo>
                        <a:pt x="146310" y="683490"/>
                      </a:lnTo>
                      <a:lnTo>
                        <a:pt x="146942" y="684364"/>
                      </a:lnTo>
                      <a:lnTo>
                        <a:pt x="147828" y="684959"/>
                      </a:lnTo>
                      <a:lnTo>
                        <a:pt x="151459" y="687436"/>
                      </a:lnTo>
                      <a:lnTo>
                        <a:pt x="151908" y="691783"/>
                      </a:lnTo>
                      <a:lnTo>
                        <a:pt x="152017" y="692864"/>
                      </a:lnTo>
                      <a:lnTo>
                        <a:pt x="152491" y="693835"/>
                      </a:lnTo>
                      <a:lnTo>
                        <a:pt x="153596" y="696106"/>
                      </a:lnTo>
                      <a:lnTo>
                        <a:pt x="153766" y="696434"/>
                      </a:lnTo>
                      <a:lnTo>
                        <a:pt x="153972" y="696750"/>
                      </a:lnTo>
                      <a:lnTo>
                        <a:pt x="156437" y="700526"/>
                      </a:lnTo>
                      <a:lnTo>
                        <a:pt x="156559" y="700842"/>
                      </a:lnTo>
                      <a:lnTo>
                        <a:pt x="156620" y="701838"/>
                      </a:lnTo>
                      <a:lnTo>
                        <a:pt x="156559" y="702979"/>
                      </a:lnTo>
                      <a:lnTo>
                        <a:pt x="156960" y="714296"/>
                      </a:lnTo>
                      <a:lnTo>
                        <a:pt x="152989" y="716348"/>
                      </a:lnTo>
                      <a:lnTo>
                        <a:pt x="152479" y="716603"/>
                      </a:lnTo>
                      <a:lnTo>
                        <a:pt x="152029" y="716955"/>
                      </a:lnTo>
                      <a:lnTo>
                        <a:pt x="151240" y="717575"/>
                      </a:lnTo>
                      <a:lnTo>
                        <a:pt x="150755" y="717951"/>
                      </a:lnTo>
                      <a:lnTo>
                        <a:pt x="150354" y="718425"/>
                      </a:lnTo>
                      <a:lnTo>
                        <a:pt x="149710" y="719178"/>
                      </a:lnTo>
                      <a:lnTo>
                        <a:pt x="149382" y="719566"/>
                      </a:lnTo>
                      <a:lnTo>
                        <a:pt x="149115" y="720016"/>
                      </a:lnTo>
                      <a:lnTo>
                        <a:pt x="148848" y="720477"/>
                      </a:lnTo>
                      <a:lnTo>
                        <a:pt x="148484" y="720951"/>
                      </a:lnTo>
                      <a:lnTo>
                        <a:pt x="147524" y="721995"/>
                      </a:lnTo>
                      <a:lnTo>
                        <a:pt x="147027" y="722541"/>
                      </a:lnTo>
                      <a:lnTo>
                        <a:pt x="146687" y="723197"/>
                      </a:lnTo>
                      <a:lnTo>
                        <a:pt x="146177" y="724156"/>
                      </a:lnTo>
                      <a:lnTo>
                        <a:pt x="145812" y="724848"/>
                      </a:lnTo>
                      <a:lnTo>
                        <a:pt x="145630" y="725601"/>
                      </a:lnTo>
                      <a:lnTo>
                        <a:pt x="145327" y="726876"/>
                      </a:lnTo>
                      <a:lnTo>
                        <a:pt x="145181" y="727483"/>
                      </a:lnTo>
                      <a:lnTo>
                        <a:pt x="145169" y="728103"/>
                      </a:lnTo>
                      <a:lnTo>
                        <a:pt x="145011" y="733519"/>
                      </a:lnTo>
                      <a:lnTo>
                        <a:pt x="143517" y="741132"/>
                      </a:lnTo>
                      <a:lnTo>
                        <a:pt x="143396" y="741387"/>
                      </a:lnTo>
                      <a:lnTo>
                        <a:pt x="143189" y="741703"/>
                      </a:lnTo>
                      <a:lnTo>
                        <a:pt x="142983" y="742055"/>
                      </a:lnTo>
                      <a:lnTo>
                        <a:pt x="142959" y="742128"/>
                      </a:lnTo>
                      <a:lnTo>
                        <a:pt x="142801" y="742031"/>
                      </a:lnTo>
                      <a:lnTo>
                        <a:pt x="141720" y="741327"/>
                      </a:lnTo>
                      <a:lnTo>
                        <a:pt x="140445" y="741120"/>
                      </a:lnTo>
                      <a:lnTo>
                        <a:pt x="139765" y="741011"/>
                      </a:lnTo>
                      <a:lnTo>
                        <a:pt x="137786" y="740707"/>
                      </a:lnTo>
                      <a:lnTo>
                        <a:pt x="136013" y="741630"/>
                      </a:lnTo>
                      <a:lnTo>
                        <a:pt x="135381" y="741958"/>
                      </a:lnTo>
                      <a:lnTo>
                        <a:pt x="134070" y="742650"/>
                      </a:lnTo>
                      <a:lnTo>
                        <a:pt x="133220" y="743877"/>
                      </a:lnTo>
                      <a:lnTo>
                        <a:pt x="132528" y="744860"/>
                      </a:lnTo>
                      <a:lnTo>
                        <a:pt x="132164" y="745382"/>
                      </a:lnTo>
                      <a:lnTo>
                        <a:pt x="131909" y="745977"/>
                      </a:lnTo>
                      <a:lnTo>
                        <a:pt x="129359" y="752000"/>
                      </a:lnTo>
                      <a:lnTo>
                        <a:pt x="128946" y="752632"/>
                      </a:lnTo>
                      <a:lnTo>
                        <a:pt x="128752" y="752765"/>
                      </a:lnTo>
                      <a:lnTo>
                        <a:pt x="127634" y="753069"/>
                      </a:lnTo>
                      <a:lnTo>
                        <a:pt x="120932" y="753530"/>
                      </a:lnTo>
                      <a:lnTo>
                        <a:pt x="120361" y="753578"/>
                      </a:lnTo>
                      <a:lnTo>
                        <a:pt x="119814" y="753724"/>
                      </a:lnTo>
                      <a:lnTo>
                        <a:pt x="118503" y="754064"/>
                      </a:lnTo>
                      <a:lnTo>
                        <a:pt x="118029" y="754186"/>
                      </a:lnTo>
                      <a:lnTo>
                        <a:pt x="117580" y="754392"/>
                      </a:lnTo>
                      <a:lnTo>
                        <a:pt x="115892" y="755145"/>
                      </a:lnTo>
                      <a:lnTo>
                        <a:pt x="115467" y="755339"/>
                      </a:lnTo>
                      <a:lnTo>
                        <a:pt x="115066" y="755594"/>
                      </a:lnTo>
                      <a:lnTo>
                        <a:pt x="113124" y="756857"/>
                      </a:lnTo>
                      <a:lnTo>
                        <a:pt x="112832" y="757051"/>
                      </a:lnTo>
                      <a:lnTo>
                        <a:pt x="112565" y="757270"/>
                      </a:lnTo>
                      <a:lnTo>
                        <a:pt x="110671" y="758824"/>
                      </a:lnTo>
                      <a:lnTo>
                        <a:pt x="110331" y="759104"/>
                      </a:lnTo>
                      <a:lnTo>
                        <a:pt x="110039" y="759419"/>
                      </a:lnTo>
                      <a:lnTo>
                        <a:pt x="108546" y="761059"/>
                      </a:lnTo>
                      <a:lnTo>
                        <a:pt x="108254" y="761375"/>
                      </a:lnTo>
                      <a:lnTo>
                        <a:pt x="107999" y="761739"/>
                      </a:lnTo>
                      <a:lnTo>
                        <a:pt x="105729" y="765090"/>
                      </a:lnTo>
                      <a:lnTo>
                        <a:pt x="105437" y="765394"/>
                      </a:lnTo>
                      <a:lnTo>
                        <a:pt x="105389" y="765406"/>
                      </a:lnTo>
                      <a:lnTo>
                        <a:pt x="104138" y="765527"/>
                      </a:lnTo>
                      <a:lnTo>
                        <a:pt x="103251" y="765612"/>
                      </a:lnTo>
                      <a:lnTo>
                        <a:pt x="102426" y="765940"/>
                      </a:lnTo>
                      <a:lnTo>
                        <a:pt x="101102" y="766474"/>
                      </a:lnTo>
                      <a:lnTo>
                        <a:pt x="99718" y="767033"/>
                      </a:lnTo>
                      <a:lnTo>
                        <a:pt x="98746" y="768175"/>
                      </a:lnTo>
                      <a:lnTo>
                        <a:pt x="97544" y="769583"/>
                      </a:lnTo>
                      <a:lnTo>
                        <a:pt x="96366" y="770955"/>
                      </a:lnTo>
                      <a:lnTo>
                        <a:pt x="96136" y="772765"/>
                      </a:lnTo>
                      <a:lnTo>
                        <a:pt x="95966" y="774137"/>
                      </a:lnTo>
                      <a:lnTo>
                        <a:pt x="95832" y="775193"/>
                      </a:lnTo>
                      <a:lnTo>
                        <a:pt x="96075" y="776238"/>
                      </a:lnTo>
                      <a:lnTo>
                        <a:pt x="96306" y="777245"/>
                      </a:lnTo>
                      <a:lnTo>
                        <a:pt x="96609" y="778593"/>
                      </a:lnTo>
                      <a:lnTo>
                        <a:pt x="97459" y="779662"/>
                      </a:lnTo>
                      <a:lnTo>
                        <a:pt x="98370" y="780815"/>
                      </a:lnTo>
                      <a:lnTo>
                        <a:pt x="98868" y="781434"/>
                      </a:lnTo>
                      <a:lnTo>
                        <a:pt x="99499" y="781908"/>
                      </a:lnTo>
                      <a:lnTo>
                        <a:pt x="100884" y="782940"/>
                      </a:lnTo>
                      <a:lnTo>
                        <a:pt x="101224" y="783195"/>
                      </a:lnTo>
                      <a:lnTo>
                        <a:pt x="101588" y="783402"/>
                      </a:lnTo>
                      <a:lnTo>
                        <a:pt x="103227" y="784300"/>
                      </a:lnTo>
                      <a:lnTo>
                        <a:pt x="103033" y="784409"/>
                      </a:lnTo>
                      <a:lnTo>
                        <a:pt x="101017" y="785563"/>
                      </a:lnTo>
                      <a:lnTo>
                        <a:pt x="100628" y="785782"/>
                      </a:lnTo>
                      <a:lnTo>
                        <a:pt x="100288" y="786049"/>
                      </a:lnTo>
                      <a:lnTo>
                        <a:pt x="95820" y="789558"/>
                      </a:lnTo>
                      <a:lnTo>
                        <a:pt x="91582" y="793565"/>
                      </a:lnTo>
                      <a:lnTo>
                        <a:pt x="91315" y="793820"/>
                      </a:lnTo>
                      <a:lnTo>
                        <a:pt x="91072" y="794100"/>
                      </a:lnTo>
                      <a:lnTo>
                        <a:pt x="86713" y="799430"/>
                      </a:lnTo>
                      <a:lnTo>
                        <a:pt x="79998" y="804494"/>
                      </a:lnTo>
                      <a:lnTo>
                        <a:pt x="77241" y="806983"/>
                      </a:lnTo>
                      <a:lnTo>
                        <a:pt x="76865" y="807335"/>
                      </a:lnTo>
                      <a:lnTo>
                        <a:pt x="76549" y="807736"/>
                      </a:lnTo>
                      <a:lnTo>
                        <a:pt x="72760" y="812642"/>
                      </a:lnTo>
                      <a:lnTo>
                        <a:pt x="72493" y="812994"/>
                      </a:lnTo>
                      <a:lnTo>
                        <a:pt x="72275" y="813395"/>
                      </a:lnTo>
                      <a:lnTo>
                        <a:pt x="66592" y="823570"/>
                      </a:lnTo>
                      <a:lnTo>
                        <a:pt x="66033" y="824238"/>
                      </a:lnTo>
                      <a:lnTo>
                        <a:pt x="65839" y="824396"/>
                      </a:lnTo>
                      <a:lnTo>
                        <a:pt x="65645" y="824469"/>
                      </a:lnTo>
                      <a:lnTo>
                        <a:pt x="61455" y="825161"/>
                      </a:lnTo>
                      <a:lnTo>
                        <a:pt x="60848" y="825258"/>
                      </a:lnTo>
                      <a:lnTo>
                        <a:pt x="60290" y="825477"/>
                      </a:lnTo>
                      <a:lnTo>
                        <a:pt x="58626" y="826109"/>
                      </a:lnTo>
                      <a:lnTo>
                        <a:pt x="58189" y="826278"/>
                      </a:lnTo>
                      <a:lnTo>
                        <a:pt x="57776" y="826509"/>
                      </a:lnTo>
                      <a:lnTo>
                        <a:pt x="56452" y="827262"/>
                      </a:lnTo>
                      <a:lnTo>
                        <a:pt x="55639" y="827723"/>
                      </a:lnTo>
                      <a:lnTo>
                        <a:pt x="55007" y="828416"/>
                      </a:lnTo>
                      <a:lnTo>
                        <a:pt x="54085" y="829399"/>
                      </a:lnTo>
                      <a:lnTo>
                        <a:pt x="53574" y="829945"/>
                      </a:lnTo>
                      <a:lnTo>
                        <a:pt x="53210" y="830614"/>
                      </a:lnTo>
                      <a:lnTo>
                        <a:pt x="51365" y="833965"/>
                      </a:lnTo>
                      <a:lnTo>
                        <a:pt x="51365" y="833965"/>
                      </a:lnTo>
                      <a:lnTo>
                        <a:pt x="50660" y="834414"/>
                      </a:lnTo>
                      <a:lnTo>
                        <a:pt x="42075" y="837972"/>
                      </a:lnTo>
                      <a:lnTo>
                        <a:pt x="39537" y="838688"/>
                      </a:lnTo>
                      <a:lnTo>
                        <a:pt x="39222" y="838701"/>
                      </a:lnTo>
                      <a:lnTo>
                        <a:pt x="39003" y="838616"/>
                      </a:lnTo>
                      <a:lnTo>
                        <a:pt x="37182" y="837826"/>
                      </a:lnTo>
                      <a:lnTo>
                        <a:pt x="35239" y="838276"/>
                      </a:lnTo>
                      <a:lnTo>
                        <a:pt x="34267" y="838506"/>
                      </a:lnTo>
                      <a:lnTo>
                        <a:pt x="32422" y="838931"/>
                      </a:lnTo>
                      <a:lnTo>
                        <a:pt x="31146" y="840328"/>
                      </a:lnTo>
                      <a:lnTo>
                        <a:pt x="30054" y="841530"/>
                      </a:lnTo>
                      <a:lnTo>
                        <a:pt x="29301" y="842344"/>
                      </a:lnTo>
                      <a:lnTo>
                        <a:pt x="28888" y="843376"/>
                      </a:lnTo>
                      <a:lnTo>
                        <a:pt x="26557" y="849253"/>
                      </a:lnTo>
                      <a:lnTo>
                        <a:pt x="25488" y="850965"/>
                      </a:lnTo>
                      <a:lnTo>
                        <a:pt x="24201" y="853406"/>
                      </a:lnTo>
                      <a:lnTo>
                        <a:pt x="23982" y="853818"/>
                      </a:lnTo>
                      <a:lnTo>
                        <a:pt x="23837" y="854256"/>
                      </a:lnTo>
                      <a:lnTo>
                        <a:pt x="23375" y="855628"/>
                      </a:lnTo>
                      <a:lnTo>
                        <a:pt x="23193" y="856186"/>
                      </a:lnTo>
                      <a:lnTo>
                        <a:pt x="23120" y="856769"/>
                      </a:lnTo>
                      <a:lnTo>
                        <a:pt x="22950" y="858032"/>
                      </a:lnTo>
                      <a:lnTo>
                        <a:pt x="22853" y="858736"/>
                      </a:lnTo>
                      <a:lnTo>
                        <a:pt x="22926" y="859441"/>
                      </a:lnTo>
                      <a:lnTo>
                        <a:pt x="23035" y="860509"/>
                      </a:lnTo>
                      <a:lnTo>
                        <a:pt x="23108" y="861262"/>
                      </a:lnTo>
                      <a:lnTo>
                        <a:pt x="23363" y="861991"/>
                      </a:lnTo>
                      <a:lnTo>
                        <a:pt x="23715" y="862962"/>
                      </a:lnTo>
                      <a:lnTo>
                        <a:pt x="23861" y="863363"/>
                      </a:lnTo>
                      <a:lnTo>
                        <a:pt x="24067" y="863739"/>
                      </a:lnTo>
                      <a:lnTo>
                        <a:pt x="25014" y="865500"/>
                      </a:lnTo>
                      <a:lnTo>
                        <a:pt x="24929" y="865974"/>
                      </a:lnTo>
                      <a:lnTo>
                        <a:pt x="24177" y="868499"/>
                      </a:lnTo>
                      <a:lnTo>
                        <a:pt x="24031" y="869009"/>
                      </a:lnTo>
                      <a:lnTo>
                        <a:pt x="23970" y="869532"/>
                      </a:lnTo>
                      <a:lnTo>
                        <a:pt x="23630" y="872385"/>
                      </a:lnTo>
                      <a:lnTo>
                        <a:pt x="22039" y="877619"/>
                      </a:lnTo>
                      <a:lnTo>
                        <a:pt x="21979" y="877752"/>
                      </a:lnTo>
                      <a:lnTo>
                        <a:pt x="21942" y="877801"/>
                      </a:lnTo>
                      <a:lnTo>
                        <a:pt x="21566" y="878165"/>
                      </a:lnTo>
                      <a:lnTo>
                        <a:pt x="21129" y="878590"/>
                      </a:lnTo>
                      <a:lnTo>
                        <a:pt x="20777" y="879088"/>
                      </a:lnTo>
                      <a:lnTo>
                        <a:pt x="19344" y="881152"/>
                      </a:lnTo>
                      <a:lnTo>
                        <a:pt x="19113" y="881468"/>
                      </a:lnTo>
                      <a:lnTo>
                        <a:pt x="18931" y="881808"/>
                      </a:lnTo>
                      <a:lnTo>
                        <a:pt x="17947" y="883702"/>
                      </a:lnTo>
                      <a:lnTo>
                        <a:pt x="17583" y="884419"/>
                      </a:lnTo>
                      <a:lnTo>
                        <a:pt x="17413" y="885196"/>
                      </a:lnTo>
                      <a:lnTo>
                        <a:pt x="17073" y="886726"/>
                      </a:lnTo>
                      <a:lnTo>
                        <a:pt x="16964" y="887236"/>
                      </a:lnTo>
                      <a:lnTo>
                        <a:pt x="16939" y="887770"/>
                      </a:lnTo>
                      <a:lnTo>
                        <a:pt x="16879" y="889142"/>
                      </a:lnTo>
                      <a:lnTo>
                        <a:pt x="16854" y="889822"/>
                      </a:lnTo>
                      <a:lnTo>
                        <a:pt x="16976" y="890490"/>
                      </a:lnTo>
                      <a:lnTo>
                        <a:pt x="17170" y="891571"/>
                      </a:lnTo>
                      <a:lnTo>
                        <a:pt x="17170" y="897023"/>
                      </a:lnTo>
                      <a:lnTo>
                        <a:pt x="16417" y="900800"/>
                      </a:lnTo>
                      <a:lnTo>
                        <a:pt x="16053" y="902026"/>
                      </a:lnTo>
                      <a:lnTo>
                        <a:pt x="15919" y="902293"/>
                      </a:lnTo>
                      <a:lnTo>
                        <a:pt x="14960" y="903520"/>
                      </a:lnTo>
                      <a:lnTo>
                        <a:pt x="14729" y="903787"/>
                      </a:lnTo>
                      <a:lnTo>
                        <a:pt x="14547" y="904090"/>
                      </a:lnTo>
                      <a:lnTo>
                        <a:pt x="13758" y="905365"/>
                      </a:lnTo>
                      <a:lnTo>
                        <a:pt x="13588" y="905632"/>
                      </a:lnTo>
                      <a:lnTo>
                        <a:pt x="13442" y="905924"/>
                      </a:lnTo>
                      <a:lnTo>
                        <a:pt x="12276" y="908377"/>
                      </a:lnTo>
                      <a:lnTo>
                        <a:pt x="12046" y="908850"/>
                      </a:lnTo>
                      <a:lnTo>
                        <a:pt x="11900" y="909360"/>
                      </a:lnTo>
                      <a:lnTo>
                        <a:pt x="11390" y="911194"/>
                      </a:lnTo>
                      <a:lnTo>
                        <a:pt x="11269" y="911631"/>
                      </a:lnTo>
                      <a:lnTo>
                        <a:pt x="11220" y="912080"/>
                      </a:lnTo>
                      <a:lnTo>
                        <a:pt x="11220" y="912117"/>
                      </a:lnTo>
                      <a:lnTo>
                        <a:pt x="10418" y="911971"/>
                      </a:lnTo>
                      <a:lnTo>
                        <a:pt x="9058" y="911716"/>
                      </a:lnTo>
                      <a:lnTo>
                        <a:pt x="7723" y="912080"/>
                      </a:lnTo>
                      <a:lnTo>
                        <a:pt x="6691" y="912360"/>
                      </a:lnTo>
                      <a:lnTo>
                        <a:pt x="5489" y="912688"/>
                      </a:lnTo>
                      <a:lnTo>
                        <a:pt x="4517" y="913453"/>
                      </a:lnTo>
                      <a:lnTo>
                        <a:pt x="3473" y="914278"/>
                      </a:lnTo>
                      <a:lnTo>
                        <a:pt x="2198" y="915310"/>
                      </a:lnTo>
                      <a:lnTo>
                        <a:pt x="1603" y="916840"/>
                      </a:lnTo>
                      <a:lnTo>
                        <a:pt x="1214" y="917848"/>
                      </a:lnTo>
                      <a:lnTo>
                        <a:pt x="984" y="918443"/>
                      </a:lnTo>
                      <a:lnTo>
                        <a:pt x="874" y="919075"/>
                      </a:lnTo>
                      <a:lnTo>
                        <a:pt x="692" y="920168"/>
                      </a:lnTo>
                      <a:lnTo>
                        <a:pt x="644" y="920483"/>
                      </a:lnTo>
                      <a:lnTo>
                        <a:pt x="631" y="920811"/>
                      </a:lnTo>
                      <a:lnTo>
                        <a:pt x="449" y="924320"/>
                      </a:lnTo>
                      <a:lnTo>
                        <a:pt x="49" y="927137"/>
                      </a:lnTo>
                      <a:lnTo>
                        <a:pt x="0" y="927538"/>
                      </a:lnTo>
                      <a:lnTo>
                        <a:pt x="0" y="927951"/>
                      </a:lnTo>
                      <a:lnTo>
                        <a:pt x="0" y="931485"/>
                      </a:lnTo>
                      <a:lnTo>
                        <a:pt x="0" y="932298"/>
                      </a:lnTo>
                      <a:lnTo>
                        <a:pt x="218" y="933076"/>
                      </a:lnTo>
                      <a:lnTo>
                        <a:pt x="850" y="935395"/>
                      </a:lnTo>
                      <a:lnTo>
                        <a:pt x="1809" y="938916"/>
                      </a:lnTo>
                      <a:lnTo>
                        <a:pt x="5379" y="939718"/>
                      </a:lnTo>
                      <a:lnTo>
                        <a:pt x="15300" y="941940"/>
                      </a:lnTo>
                      <a:lnTo>
                        <a:pt x="16769" y="942547"/>
                      </a:lnTo>
                      <a:lnTo>
                        <a:pt x="17146" y="942717"/>
                      </a:lnTo>
                      <a:lnTo>
                        <a:pt x="17534" y="942826"/>
                      </a:lnTo>
                      <a:lnTo>
                        <a:pt x="19841" y="943446"/>
                      </a:lnTo>
                      <a:lnTo>
                        <a:pt x="20740" y="943688"/>
                      </a:lnTo>
                      <a:lnTo>
                        <a:pt x="21675" y="943652"/>
                      </a:lnTo>
                      <a:lnTo>
                        <a:pt x="23047" y="943591"/>
                      </a:lnTo>
                      <a:lnTo>
                        <a:pt x="24942" y="943506"/>
                      </a:lnTo>
                      <a:lnTo>
                        <a:pt x="26447" y="942365"/>
                      </a:lnTo>
                      <a:lnTo>
                        <a:pt x="27783" y="941357"/>
                      </a:lnTo>
                      <a:lnTo>
                        <a:pt x="28730" y="940629"/>
                      </a:lnTo>
                      <a:lnTo>
                        <a:pt x="29337" y="939608"/>
                      </a:lnTo>
                      <a:lnTo>
                        <a:pt x="30248" y="938078"/>
                      </a:lnTo>
                      <a:lnTo>
                        <a:pt x="30552" y="937568"/>
                      </a:lnTo>
                      <a:lnTo>
                        <a:pt x="30612" y="937374"/>
                      </a:lnTo>
                      <a:lnTo>
                        <a:pt x="34243" y="939608"/>
                      </a:lnTo>
                      <a:lnTo>
                        <a:pt x="34850" y="939985"/>
                      </a:lnTo>
                      <a:lnTo>
                        <a:pt x="35530" y="940216"/>
                      </a:lnTo>
                      <a:lnTo>
                        <a:pt x="39380" y="941478"/>
                      </a:lnTo>
                      <a:lnTo>
                        <a:pt x="41857" y="942280"/>
                      </a:lnTo>
                      <a:lnTo>
                        <a:pt x="44140" y="941041"/>
                      </a:lnTo>
                      <a:lnTo>
                        <a:pt x="49300" y="938261"/>
                      </a:lnTo>
                      <a:lnTo>
                        <a:pt x="50138" y="937799"/>
                      </a:lnTo>
                      <a:lnTo>
                        <a:pt x="50806" y="937107"/>
                      </a:lnTo>
                      <a:lnTo>
                        <a:pt x="53708" y="934071"/>
                      </a:lnTo>
                      <a:lnTo>
                        <a:pt x="56307" y="931922"/>
                      </a:lnTo>
                      <a:lnTo>
                        <a:pt x="57728" y="931133"/>
                      </a:lnTo>
                      <a:lnTo>
                        <a:pt x="63022" y="930465"/>
                      </a:lnTo>
                      <a:lnTo>
                        <a:pt x="63920" y="930356"/>
                      </a:lnTo>
                      <a:lnTo>
                        <a:pt x="64746" y="929991"/>
                      </a:lnTo>
                      <a:lnTo>
                        <a:pt x="67320" y="928838"/>
                      </a:lnTo>
                      <a:lnTo>
                        <a:pt x="68401" y="928352"/>
                      </a:lnTo>
                      <a:lnTo>
                        <a:pt x="69227" y="927502"/>
                      </a:lnTo>
                      <a:lnTo>
                        <a:pt x="71522" y="925122"/>
                      </a:lnTo>
                      <a:lnTo>
                        <a:pt x="71838" y="924794"/>
                      </a:lnTo>
                      <a:lnTo>
                        <a:pt x="72105" y="924417"/>
                      </a:lnTo>
                      <a:lnTo>
                        <a:pt x="73270" y="922754"/>
                      </a:lnTo>
                      <a:lnTo>
                        <a:pt x="75080" y="921115"/>
                      </a:lnTo>
                      <a:lnTo>
                        <a:pt x="77933" y="919415"/>
                      </a:lnTo>
                      <a:lnTo>
                        <a:pt x="90028" y="913926"/>
                      </a:lnTo>
                      <a:lnTo>
                        <a:pt x="90453" y="913732"/>
                      </a:lnTo>
                      <a:lnTo>
                        <a:pt x="90841" y="913477"/>
                      </a:lnTo>
                      <a:lnTo>
                        <a:pt x="107975" y="902257"/>
                      </a:lnTo>
                      <a:lnTo>
                        <a:pt x="112917" y="901868"/>
                      </a:lnTo>
                      <a:lnTo>
                        <a:pt x="113269" y="901844"/>
                      </a:lnTo>
                      <a:lnTo>
                        <a:pt x="113621" y="901771"/>
                      </a:lnTo>
                      <a:lnTo>
                        <a:pt x="120616" y="900399"/>
                      </a:lnTo>
                      <a:lnTo>
                        <a:pt x="121939" y="900144"/>
                      </a:lnTo>
                      <a:lnTo>
                        <a:pt x="123020" y="899355"/>
                      </a:lnTo>
                      <a:lnTo>
                        <a:pt x="130585" y="893830"/>
                      </a:lnTo>
                      <a:lnTo>
                        <a:pt x="137142" y="892919"/>
                      </a:lnTo>
                      <a:lnTo>
                        <a:pt x="142607" y="894497"/>
                      </a:lnTo>
                      <a:lnTo>
                        <a:pt x="144817" y="895833"/>
                      </a:lnTo>
                      <a:lnTo>
                        <a:pt x="146735" y="897327"/>
                      </a:lnTo>
                      <a:lnTo>
                        <a:pt x="149613" y="900447"/>
                      </a:lnTo>
                      <a:lnTo>
                        <a:pt x="150281" y="901164"/>
                      </a:lnTo>
                      <a:lnTo>
                        <a:pt x="151131" y="901638"/>
                      </a:lnTo>
                      <a:lnTo>
                        <a:pt x="152200" y="902232"/>
                      </a:lnTo>
                      <a:lnTo>
                        <a:pt x="153584" y="902463"/>
                      </a:lnTo>
                      <a:lnTo>
                        <a:pt x="155879" y="902718"/>
                      </a:lnTo>
                      <a:lnTo>
                        <a:pt x="156389" y="902779"/>
                      </a:lnTo>
                      <a:lnTo>
                        <a:pt x="156899" y="902743"/>
                      </a:lnTo>
                      <a:lnTo>
                        <a:pt x="159704" y="902573"/>
                      </a:lnTo>
                      <a:lnTo>
                        <a:pt x="159837" y="902585"/>
                      </a:lnTo>
                      <a:lnTo>
                        <a:pt x="159959" y="902609"/>
                      </a:lnTo>
                      <a:lnTo>
                        <a:pt x="160906" y="903034"/>
                      </a:lnTo>
                      <a:lnTo>
                        <a:pt x="161671" y="903362"/>
                      </a:lnTo>
                      <a:lnTo>
                        <a:pt x="162497" y="903495"/>
                      </a:lnTo>
                      <a:lnTo>
                        <a:pt x="164440" y="903775"/>
                      </a:lnTo>
                      <a:lnTo>
                        <a:pt x="166164" y="904030"/>
                      </a:lnTo>
                      <a:lnTo>
                        <a:pt x="167755" y="903325"/>
                      </a:lnTo>
                      <a:lnTo>
                        <a:pt x="169710" y="902475"/>
                      </a:lnTo>
                      <a:lnTo>
                        <a:pt x="171300" y="901771"/>
                      </a:lnTo>
                      <a:lnTo>
                        <a:pt x="172284" y="900338"/>
                      </a:lnTo>
                      <a:lnTo>
                        <a:pt x="173620" y="898383"/>
                      </a:lnTo>
                      <a:lnTo>
                        <a:pt x="174154" y="897606"/>
                      </a:lnTo>
                      <a:lnTo>
                        <a:pt x="174421" y="896683"/>
                      </a:lnTo>
                      <a:lnTo>
                        <a:pt x="175016" y="894680"/>
                      </a:lnTo>
                      <a:lnTo>
                        <a:pt x="175247" y="894194"/>
                      </a:lnTo>
                      <a:lnTo>
                        <a:pt x="175648" y="894109"/>
                      </a:lnTo>
                      <a:lnTo>
                        <a:pt x="179667" y="894461"/>
                      </a:lnTo>
                      <a:lnTo>
                        <a:pt x="180711" y="894558"/>
                      </a:lnTo>
                      <a:lnTo>
                        <a:pt x="181731" y="894291"/>
                      </a:lnTo>
                      <a:lnTo>
                        <a:pt x="183686" y="893781"/>
                      </a:lnTo>
                      <a:lnTo>
                        <a:pt x="185811" y="893234"/>
                      </a:lnTo>
                      <a:lnTo>
                        <a:pt x="187086" y="891449"/>
                      </a:lnTo>
                      <a:lnTo>
                        <a:pt x="188300" y="889750"/>
                      </a:lnTo>
                      <a:lnTo>
                        <a:pt x="189199" y="888499"/>
                      </a:lnTo>
                      <a:lnTo>
                        <a:pt x="189393" y="886981"/>
                      </a:lnTo>
                      <a:lnTo>
                        <a:pt x="189733" y="884358"/>
                      </a:lnTo>
                      <a:lnTo>
                        <a:pt x="189843" y="883520"/>
                      </a:lnTo>
                      <a:lnTo>
                        <a:pt x="189709" y="882670"/>
                      </a:lnTo>
                      <a:lnTo>
                        <a:pt x="189248" y="879719"/>
                      </a:lnTo>
                      <a:lnTo>
                        <a:pt x="188628" y="877206"/>
                      </a:lnTo>
                      <a:lnTo>
                        <a:pt x="190280" y="876137"/>
                      </a:lnTo>
                      <a:lnTo>
                        <a:pt x="191603" y="875299"/>
                      </a:lnTo>
                      <a:lnTo>
                        <a:pt x="192356" y="873939"/>
                      </a:lnTo>
                      <a:lnTo>
                        <a:pt x="193231" y="872325"/>
                      </a:lnTo>
                      <a:lnTo>
                        <a:pt x="194275" y="870406"/>
                      </a:lnTo>
                      <a:lnTo>
                        <a:pt x="193850" y="868256"/>
                      </a:lnTo>
                      <a:lnTo>
                        <a:pt x="193558" y="866763"/>
                      </a:lnTo>
                      <a:lnTo>
                        <a:pt x="193303" y="865452"/>
                      </a:lnTo>
                      <a:lnTo>
                        <a:pt x="192514" y="864359"/>
                      </a:lnTo>
                      <a:lnTo>
                        <a:pt x="191373" y="862780"/>
                      </a:lnTo>
                      <a:lnTo>
                        <a:pt x="190802" y="862003"/>
                      </a:lnTo>
                      <a:lnTo>
                        <a:pt x="190025" y="861445"/>
                      </a:lnTo>
                      <a:lnTo>
                        <a:pt x="184913" y="857729"/>
                      </a:lnTo>
                      <a:lnTo>
                        <a:pt x="185107" y="857316"/>
                      </a:lnTo>
                      <a:lnTo>
                        <a:pt x="191033" y="848233"/>
                      </a:lnTo>
                      <a:lnTo>
                        <a:pt x="191203" y="847978"/>
                      </a:lnTo>
                      <a:lnTo>
                        <a:pt x="191336" y="847723"/>
                      </a:lnTo>
                      <a:lnTo>
                        <a:pt x="192526" y="845428"/>
                      </a:lnTo>
                      <a:lnTo>
                        <a:pt x="192781" y="844930"/>
                      </a:lnTo>
                      <a:lnTo>
                        <a:pt x="192951" y="844396"/>
                      </a:lnTo>
                      <a:lnTo>
                        <a:pt x="193765" y="841724"/>
                      </a:lnTo>
                      <a:lnTo>
                        <a:pt x="194105" y="840583"/>
                      </a:lnTo>
                      <a:lnTo>
                        <a:pt x="193996" y="839393"/>
                      </a:lnTo>
                      <a:lnTo>
                        <a:pt x="193813" y="837462"/>
                      </a:lnTo>
                      <a:lnTo>
                        <a:pt x="193716" y="836406"/>
                      </a:lnTo>
                      <a:lnTo>
                        <a:pt x="193267" y="835434"/>
                      </a:lnTo>
                      <a:lnTo>
                        <a:pt x="192429" y="833661"/>
                      </a:lnTo>
                      <a:lnTo>
                        <a:pt x="194797" y="827650"/>
                      </a:lnTo>
                      <a:lnTo>
                        <a:pt x="195028" y="827068"/>
                      </a:lnTo>
                      <a:lnTo>
                        <a:pt x="195137" y="826461"/>
                      </a:lnTo>
                      <a:lnTo>
                        <a:pt x="195659" y="823473"/>
                      </a:lnTo>
                      <a:lnTo>
                        <a:pt x="195744" y="822951"/>
                      </a:lnTo>
                      <a:lnTo>
                        <a:pt x="195744" y="822429"/>
                      </a:lnTo>
                      <a:lnTo>
                        <a:pt x="195744" y="819721"/>
                      </a:lnTo>
                      <a:lnTo>
                        <a:pt x="195562" y="817305"/>
                      </a:lnTo>
                      <a:lnTo>
                        <a:pt x="201743" y="809922"/>
                      </a:lnTo>
                      <a:lnTo>
                        <a:pt x="202168" y="809412"/>
                      </a:lnTo>
                      <a:lnTo>
                        <a:pt x="202471" y="808805"/>
                      </a:lnTo>
                      <a:lnTo>
                        <a:pt x="203904" y="806024"/>
                      </a:lnTo>
                      <a:lnTo>
                        <a:pt x="205604" y="801835"/>
                      </a:lnTo>
                      <a:lnTo>
                        <a:pt x="205677" y="801859"/>
                      </a:lnTo>
                      <a:lnTo>
                        <a:pt x="207328" y="802636"/>
                      </a:lnTo>
                      <a:lnTo>
                        <a:pt x="208045" y="802976"/>
                      </a:lnTo>
                      <a:lnTo>
                        <a:pt x="208822" y="803122"/>
                      </a:lnTo>
                      <a:lnTo>
                        <a:pt x="209247" y="803207"/>
                      </a:lnTo>
                      <a:lnTo>
                        <a:pt x="209247" y="803729"/>
                      </a:lnTo>
                      <a:lnTo>
                        <a:pt x="209271" y="804300"/>
                      </a:lnTo>
                      <a:lnTo>
                        <a:pt x="209393" y="804870"/>
                      </a:lnTo>
                      <a:lnTo>
                        <a:pt x="209624" y="805903"/>
                      </a:lnTo>
                      <a:lnTo>
                        <a:pt x="209781" y="806631"/>
                      </a:lnTo>
                      <a:lnTo>
                        <a:pt x="210109" y="807299"/>
                      </a:lnTo>
                      <a:lnTo>
                        <a:pt x="210364" y="807809"/>
                      </a:lnTo>
                      <a:lnTo>
                        <a:pt x="210376" y="808173"/>
                      </a:lnTo>
                      <a:lnTo>
                        <a:pt x="209927" y="811549"/>
                      </a:lnTo>
                      <a:lnTo>
                        <a:pt x="209830" y="812265"/>
                      </a:lnTo>
                      <a:lnTo>
                        <a:pt x="209903" y="812982"/>
                      </a:lnTo>
                      <a:lnTo>
                        <a:pt x="210133" y="815253"/>
                      </a:lnTo>
                      <a:lnTo>
                        <a:pt x="210255" y="816382"/>
                      </a:lnTo>
                      <a:lnTo>
                        <a:pt x="210765" y="817402"/>
                      </a:lnTo>
                      <a:lnTo>
                        <a:pt x="211931" y="819685"/>
                      </a:lnTo>
                      <a:lnTo>
                        <a:pt x="212210" y="820243"/>
                      </a:lnTo>
                      <a:lnTo>
                        <a:pt x="212599" y="820729"/>
                      </a:lnTo>
                      <a:lnTo>
                        <a:pt x="214711" y="823364"/>
                      </a:lnTo>
                      <a:lnTo>
                        <a:pt x="215039" y="823777"/>
                      </a:lnTo>
                      <a:lnTo>
                        <a:pt x="215440" y="824117"/>
                      </a:lnTo>
                      <a:lnTo>
                        <a:pt x="224741" y="832277"/>
                      </a:lnTo>
                      <a:lnTo>
                        <a:pt x="225276" y="832848"/>
                      </a:lnTo>
                      <a:lnTo>
                        <a:pt x="225847" y="833613"/>
                      </a:lnTo>
                      <a:lnTo>
                        <a:pt x="226223" y="834329"/>
                      </a:lnTo>
                      <a:lnTo>
                        <a:pt x="226235" y="834353"/>
                      </a:lnTo>
                      <a:lnTo>
                        <a:pt x="226211" y="834475"/>
                      </a:lnTo>
                      <a:lnTo>
                        <a:pt x="223976" y="839332"/>
                      </a:lnTo>
                      <a:lnTo>
                        <a:pt x="223649" y="840037"/>
                      </a:lnTo>
                      <a:lnTo>
                        <a:pt x="223515" y="840789"/>
                      </a:lnTo>
                      <a:lnTo>
                        <a:pt x="223114" y="842999"/>
                      </a:lnTo>
                      <a:lnTo>
                        <a:pt x="223041" y="843448"/>
                      </a:lnTo>
                      <a:lnTo>
                        <a:pt x="223029" y="843898"/>
                      </a:lnTo>
                      <a:lnTo>
                        <a:pt x="222981" y="845877"/>
                      </a:lnTo>
                      <a:lnTo>
                        <a:pt x="222956" y="846727"/>
                      </a:lnTo>
                      <a:lnTo>
                        <a:pt x="223175" y="847553"/>
                      </a:lnTo>
                      <a:lnTo>
                        <a:pt x="223636" y="849326"/>
                      </a:lnTo>
                      <a:lnTo>
                        <a:pt x="223879" y="850261"/>
                      </a:lnTo>
                      <a:lnTo>
                        <a:pt x="224389" y="851062"/>
                      </a:lnTo>
                      <a:lnTo>
                        <a:pt x="225203" y="852349"/>
                      </a:lnTo>
                      <a:lnTo>
                        <a:pt x="225931" y="853503"/>
                      </a:lnTo>
                      <a:lnTo>
                        <a:pt x="227085" y="854244"/>
                      </a:lnTo>
                      <a:lnTo>
                        <a:pt x="228396" y="855069"/>
                      </a:lnTo>
                      <a:lnTo>
                        <a:pt x="229174" y="855555"/>
                      </a:lnTo>
                      <a:lnTo>
                        <a:pt x="230060" y="855798"/>
                      </a:lnTo>
                      <a:lnTo>
                        <a:pt x="231554" y="856199"/>
                      </a:lnTo>
                      <a:lnTo>
                        <a:pt x="232209" y="856381"/>
                      </a:lnTo>
                      <a:lnTo>
                        <a:pt x="232889" y="856417"/>
                      </a:lnTo>
                      <a:lnTo>
                        <a:pt x="234735" y="856490"/>
                      </a:lnTo>
                      <a:lnTo>
                        <a:pt x="234941" y="856527"/>
                      </a:lnTo>
                      <a:lnTo>
                        <a:pt x="236556" y="857425"/>
                      </a:lnTo>
                      <a:lnTo>
                        <a:pt x="238256" y="858372"/>
                      </a:lnTo>
                      <a:lnTo>
                        <a:pt x="240199" y="858153"/>
                      </a:lnTo>
                      <a:lnTo>
                        <a:pt x="241462" y="858008"/>
                      </a:lnTo>
                      <a:lnTo>
                        <a:pt x="243757" y="857753"/>
                      </a:lnTo>
                      <a:lnTo>
                        <a:pt x="245299" y="856016"/>
                      </a:lnTo>
                      <a:lnTo>
                        <a:pt x="247145" y="853952"/>
                      </a:lnTo>
                      <a:lnTo>
                        <a:pt x="247959" y="853041"/>
                      </a:lnTo>
                      <a:lnTo>
                        <a:pt x="248359" y="851888"/>
                      </a:lnTo>
                      <a:lnTo>
                        <a:pt x="249039" y="849909"/>
                      </a:lnTo>
                      <a:lnTo>
                        <a:pt x="249185" y="849496"/>
                      </a:lnTo>
                      <a:lnTo>
                        <a:pt x="249270" y="849071"/>
                      </a:lnTo>
                      <a:lnTo>
                        <a:pt x="250072" y="844881"/>
                      </a:lnTo>
                      <a:lnTo>
                        <a:pt x="251067" y="844153"/>
                      </a:lnTo>
                      <a:lnTo>
                        <a:pt x="253994" y="842586"/>
                      </a:lnTo>
                      <a:lnTo>
                        <a:pt x="259980" y="838640"/>
                      </a:lnTo>
                      <a:lnTo>
                        <a:pt x="265020" y="836770"/>
                      </a:lnTo>
                      <a:lnTo>
                        <a:pt x="265663" y="836527"/>
                      </a:lnTo>
                      <a:lnTo>
                        <a:pt x="266222" y="836151"/>
                      </a:lnTo>
                      <a:lnTo>
                        <a:pt x="268335" y="834766"/>
                      </a:lnTo>
                      <a:lnTo>
                        <a:pt x="269282" y="834147"/>
                      </a:lnTo>
                      <a:lnTo>
                        <a:pt x="269937" y="833236"/>
                      </a:lnTo>
                      <a:lnTo>
                        <a:pt x="271795" y="830662"/>
                      </a:lnTo>
                      <a:lnTo>
                        <a:pt x="272293" y="829970"/>
                      </a:lnTo>
                      <a:lnTo>
                        <a:pt x="272585" y="829181"/>
                      </a:lnTo>
                      <a:lnTo>
                        <a:pt x="273435" y="826825"/>
                      </a:lnTo>
                      <a:lnTo>
                        <a:pt x="273726" y="826036"/>
                      </a:lnTo>
                      <a:lnTo>
                        <a:pt x="273787" y="825185"/>
                      </a:lnTo>
                      <a:lnTo>
                        <a:pt x="273957" y="822745"/>
                      </a:lnTo>
                      <a:lnTo>
                        <a:pt x="274017" y="821761"/>
                      </a:lnTo>
                      <a:lnTo>
                        <a:pt x="273763" y="820802"/>
                      </a:lnTo>
                      <a:lnTo>
                        <a:pt x="273289" y="819017"/>
                      </a:lnTo>
                      <a:lnTo>
                        <a:pt x="274187" y="819624"/>
                      </a:lnTo>
                      <a:lnTo>
                        <a:pt x="275839" y="820936"/>
                      </a:lnTo>
                      <a:lnTo>
                        <a:pt x="276592" y="821530"/>
                      </a:lnTo>
                      <a:lnTo>
                        <a:pt x="277490" y="821858"/>
                      </a:lnTo>
                      <a:lnTo>
                        <a:pt x="279737" y="822684"/>
                      </a:lnTo>
                      <a:lnTo>
                        <a:pt x="280186" y="822854"/>
                      </a:lnTo>
                      <a:lnTo>
                        <a:pt x="280186" y="823085"/>
                      </a:lnTo>
                      <a:lnTo>
                        <a:pt x="280186" y="824700"/>
                      </a:lnTo>
                      <a:lnTo>
                        <a:pt x="280186" y="825914"/>
                      </a:lnTo>
                      <a:lnTo>
                        <a:pt x="280648" y="827031"/>
                      </a:lnTo>
                      <a:lnTo>
                        <a:pt x="281279" y="828549"/>
                      </a:lnTo>
                      <a:lnTo>
                        <a:pt x="281874" y="829994"/>
                      </a:lnTo>
                      <a:lnTo>
                        <a:pt x="283088" y="830966"/>
                      </a:lnTo>
                      <a:lnTo>
                        <a:pt x="284303" y="831937"/>
                      </a:lnTo>
                      <a:lnTo>
                        <a:pt x="285347" y="832763"/>
                      </a:lnTo>
                      <a:lnTo>
                        <a:pt x="286634" y="833079"/>
                      </a:lnTo>
                      <a:lnTo>
                        <a:pt x="288407" y="833516"/>
                      </a:lnTo>
                      <a:lnTo>
                        <a:pt x="289245" y="833734"/>
                      </a:lnTo>
                      <a:lnTo>
                        <a:pt x="290107" y="833698"/>
                      </a:lnTo>
                      <a:lnTo>
                        <a:pt x="297465" y="833406"/>
                      </a:lnTo>
                      <a:lnTo>
                        <a:pt x="297818" y="833382"/>
                      </a:lnTo>
                      <a:lnTo>
                        <a:pt x="298170" y="833334"/>
                      </a:lnTo>
                      <a:lnTo>
                        <a:pt x="299760" y="833079"/>
                      </a:lnTo>
                      <a:lnTo>
                        <a:pt x="300671" y="832933"/>
                      </a:lnTo>
                      <a:lnTo>
                        <a:pt x="301497" y="832532"/>
                      </a:lnTo>
                      <a:lnTo>
                        <a:pt x="308127" y="829278"/>
                      </a:lnTo>
                      <a:lnTo>
                        <a:pt x="309038" y="828938"/>
                      </a:lnTo>
                      <a:lnTo>
                        <a:pt x="309220" y="828926"/>
                      </a:lnTo>
                      <a:lnTo>
                        <a:pt x="311029" y="829071"/>
                      </a:lnTo>
                      <a:lnTo>
                        <a:pt x="312146" y="829168"/>
                      </a:lnTo>
                      <a:lnTo>
                        <a:pt x="313227" y="828853"/>
                      </a:lnTo>
                      <a:lnTo>
                        <a:pt x="315182" y="828282"/>
                      </a:lnTo>
                      <a:lnTo>
                        <a:pt x="316591" y="827881"/>
                      </a:lnTo>
                      <a:lnTo>
                        <a:pt x="317659" y="826861"/>
                      </a:lnTo>
                      <a:lnTo>
                        <a:pt x="319383" y="825222"/>
                      </a:lnTo>
                      <a:lnTo>
                        <a:pt x="320865" y="823825"/>
                      </a:lnTo>
                      <a:lnTo>
                        <a:pt x="321193" y="821810"/>
                      </a:lnTo>
                      <a:lnTo>
                        <a:pt x="322043" y="816637"/>
                      </a:lnTo>
                      <a:lnTo>
                        <a:pt x="322152" y="815957"/>
                      </a:lnTo>
                      <a:lnTo>
                        <a:pt x="322116" y="815265"/>
                      </a:lnTo>
                      <a:lnTo>
                        <a:pt x="321958" y="812739"/>
                      </a:lnTo>
                      <a:lnTo>
                        <a:pt x="321897" y="811719"/>
                      </a:lnTo>
                      <a:lnTo>
                        <a:pt x="321508" y="810796"/>
                      </a:lnTo>
                      <a:lnTo>
                        <a:pt x="320756" y="808987"/>
                      </a:lnTo>
                      <a:lnTo>
                        <a:pt x="320391" y="808101"/>
                      </a:lnTo>
                      <a:lnTo>
                        <a:pt x="328236" y="798483"/>
                      </a:lnTo>
                      <a:lnTo>
                        <a:pt x="329851" y="796504"/>
                      </a:lnTo>
                      <a:lnTo>
                        <a:pt x="329571" y="793978"/>
                      </a:lnTo>
                      <a:lnTo>
                        <a:pt x="329280" y="791355"/>
                      </a:lnTo>
                      <a:lnTo>
                        <a:pt x="329086" y="789583"/>
                      </a:lnTo>
                      <a:lnTo>
                        <a:pt x="327956" y="788198"/>
                      </a:lnTo>
                      <a:lnTo>
                        <a:pt x="327495" y="787627"/>
                      </a:lnTo>
                      <a:lnTo>
                        <a:pt x="326997" y="787020"/>
                      </a:lnTo>
                      <a:lnTo>
                        <a:pt x="326378" y="786571"/>
                      </a:lnTo>
                      <a:lnTo>
                        <a:pt x="325746" y="786110"/>
                      </a:lnTo>
                      <a:lnTo>
                        <a:pt x="324204" y="784968"/>
                      </a:lnTo>
                      <a:lnTo>
                        <a:pt x="322286" y="784920"/>
                      </a:lnTo>
                      <a:lnTo>
                        <a:pt x="321241" y="784895"/>
                      </a:lnTo>
                      <a:lnTo>
                        <a:pt x="320780" y="784883"/>
                      </a:lnTo>
                      <a:lnTo>
                        <a:pt x="320549" y="784920"/>
                      </a:lnTo>
                      <a:lnTo>
                        <a:pt x="320367" y="784482"/>
                      </a:lnTo>
                      <a:lnTo>
                        <a:pt x="320124" y="783887"/>
                      </a:lnTo>
                      <a:lnTo>
                        <a:pt x="319772" y="783365"/>
                      </a:lnTo>
                      <a:lnTo>
                        <a:pt x="317866" y="780524"/>
                      </a:lnTo>
                      <a:lnTo>
                        <a:pt x="318145" y="779686"/>
                      </a:lnTo>
                      <a:lnTo>
                        <a:pt x="318291" y="779224"/>
                      </a:lnTo>
                      <a:lnTo>
                        <a:pt x="318363" y="778751"/>
                      </a:lnTo>
                      <a:lnTo>
                        <a:pt x="318655" y="776954"/>
                      </a:lnTo>
                      <a:lnTo>
                        <a:pt x="318752" y="776359"/>
                      </a:lnTo>
                      <a:lnTo>
                        <a:pt x="318728" y="775752"/>
                      </a:lnTo>
                      <a:lnTo>
                        <a:pt x="318716" y="775339"/>
                      </a:lnTo>
                      <a:lnTo>
                        <a:pt x="322006" y="772255"/>
                      </a:lnTo>
                      <a:lnTo>
                        <a:pt x="324605" y="769389"/>
                      </a:lnTo>
                      <a:lnTo>
                        <a:pt x="324836" y="769134"/>
                      </a:lnTo>
                      <a:lnTo>
                        <a:pt x="325030" y="768855"/>
                      </a:lnTo>
                      <a:lnTo>
                        <a:pt x="326997" y="766074"/>
                      </a:lnTo>
                      <a:lnTo>
                        <a:pt x="331235" y="758800"/>
                      </a:lnTo>
                      <a:lnTo>
                        <a:pt x="332850" y="756687"/>
                      </a:lnTo>
                      <a:lnTo>
                        <a:pt x="335267" y="754356"/>
                      </a:lnTo>
                      <a:lnTo>
                        <a:pt x="335728" y="754101"/>
                      </a:lnTo>
                      <a:lnTo>
                        <a:pt x="335825" y="754077"/>
                      </a:lnTo>
                      <a:lnTo>
                        <a:pt x="336104" y="754150"/>
                      </a:lnTo>
                      <a:lnTo>
                        <a:pt x="336517" y="754368"/>
                      </a:lnTo>
                      <a:lnTo>
                        <a:pt x="337476" y="755412"/>
                      </a:lnTo>
                      <a:lnTo>
                        <a:pt x="337926" y="755898"/>
                      </a:lnTo>
                      <a:lnTo>
                        <a:pt x="338460" y="756274"/>
                      </a:lnTo>
                      <a:lnTo>
                        <a:pt x="340124" y="757452"/>
                      </a:lnTo>
                      <a:lnTo>
                        <a:pt x="341399" y="758351"/>
                      </a:lnTo>
                      <a:lnTo>
                        <a:pt x="342953" y="758521"/>
                      </a:lnTo>
                      <a:lnTo>
                        <a:pt x="345029" y="758752"/>
                      </a:lnTo>
                      <a:lnTo>
                        <a:pt x="346656" y="758934"/>
                      </a:lnTo>
                      <a:lnTo>
                        <a:pt x="348150" y="758266"/>
                      </a:lnTo>
                      <a:lnTo>
                        <a:pt x="358484" y="753676"/>
                      </a:lnTo>
                      <a:lnTo>
                        <a:pt x="359115" y="753397"/>
                      </a:lnTo>
                      <a:lnTo>
                        <a:pt x="359674" y="752971"/>
                      </a:lnTo>
                      <a:lnTo>
                        <a:pt x="362612" y="750761"/>
                      </a:lnTo>
                      <a:lnTo>
                        <a:pt x="362867" y="750567"/>
                      </a:lnTo>
                      <a:lnTo>
                        <a:pt x="363098" y="750349"/>
                      </a:lnTo>
                      <a:lnTo>
                        <a:pt x="367579" y="746196"/>
                      </a:lnTo>
                      <a:lnTo>
                        <a:pt x="372946" y="742128"/>
                      </a:lnTo>
                      <a:lnTo>
                        <a:pt x="374840" y="741023"/>
                      </a:lnTo>
                      <a:lnTo>
                        <a:pt x="378180" y="740088"/>
                      </a:lnTo>
                      <a:lnTo>
                        <a:pt x="378653" y="739942"/>
                      </a:lnTo>
                      <a:lnTo>
                        <a:pt x="379103" y="739736"/>
                      </a:lnTo>
                      <a:lnTo>
                        <a:pt x="381750" y="738497"/>
                      </a:lnTo>
                      <a:lnTo>
                        <a:pt x="382551" y="738133"/>
                      </a:lnTo>
                      <a:lnTo>
                        <a:pt x="383207" y="737538"/>
                      </a:lnTo>
                      <a:lnTo>
                        <a:pt x="385441" y="735559"/>
                      </a:lnTo>
                      <a:lnTo>
                        <a:pt x="386716" y="734429"/>
                      </a:lnTo>
                      <a:lnTo>
                        <a:pt x="387214" y="732790"/>
                      </a:lnTo>
                      <a:lnTo>
                        <a:pt x="387785" y="730932"/>
                      </a:lnTo>
                      <a:lnTo>
                        <a:pt x="388173" y="729657"/>
                      </a:lnTo>
                      <a:lnTo>
                        <a:pt x="387991" y="728346"/>
                      </a:lnTo>
                      <a:lnTo>
                        <a:pt x="387821" y="727083"/>
                      </a:lnTo>
                      <a:lnTo>
                        <a:pt x="387505" y="724800"/>
                      </a:lnTo>
                      <a:lnTo>
                        <a:pt x="385745" y="723294"/>
                      </a:lnTo>
                      <a:lnTo>
                        <a:pt x="385004" y="722663"/>
                      </a:lnTo>
                      <a:lnTo>
                        <a:pt x="384300" y="722056"/>
                      </a:lnTo>
                      <a:lnTo>
                        <a:pt x="384190" y="722007"/>
                      </a:lnTo>
                      <a:lnTo>
                        <a:pt x="383972" y="721254"/>
                      </a:lnTo>
                      <a:lnTo>
                        <a:pt x="383607" y="719967"/>
                      </a:lnTo>
                      <a:lnTo>
                        <a:pt x="382733" y="718959"/>
                      </a:lnTo>
                      <a:lnTo>
                        <a:pt x="382211" y="718340"/>
                      </a:lnTo>
                      <a:lnTo>
                        <a:pt x="381021" y="716980"/>
                      </a:lnTo>
                      <a:lnTo>
                        <a:pt x="379272" y="716482"/>
                      </a:lnTo>
                      <a:lnTo>
                        <a:pt x="378362" y="716227"/>
                      </a:lnTo>
                      <a:lnTo>
                        <a:pt x="377925" y="716094"/>
                      </a:lnTo>
                      <a:lnTo>
                        <a:pt x="377475" y="716033"/>
                      </a:lnTo>
                      <a:lnTo>
                        <a:pt x="376710" y="715936"/>
                      </a:lnTo>
                      <a:lnTo>
                        <a:pt x="374282" y="712888"/>
                      </a:lnTo>
                      <a:lnTo>
                        <a:pt x="374221" y="712766"/>
                      </a:lnTo>
                      <a:lnTo>
                        <a:pt x="373274" y="709876"/>
                      </a:lnTo>
                      <a:lnTo>
                        <a:pt x="373152" y="709500"/>
                      </a:lnTo>
                      <a:lnTo>
                        <a:pt x="372982" y="709136"/>
                      </a:lnTo>
                      <a:lnTo>
                        <a:pt x="372740" y="708638"/>
                      </a:lnTo>
                      <a:lnTo>
                        <a:pt x="373832" y="709245"/>
                      </a:lnTo>
                      <a:lnTo>
                        <a:pt x="374415" y="709573"/>
                      </a:lnTo>
                      <a:lnTo>
                        <a:pt x="375059" y="709767"/>
                      </a:lnTo>
                      <a:lnTo>
                        <a:pt x="378799" y="710896"/>
                      </a:lnTo>
                      <a:lnTo>
                        <a:pt x="380147" y="711698"/>
                      </a:lnTo>
                      <a:lnTo>
                        <a:pt x="383729" y="714357"/>
                      </a:lnTo>
                      <a:lnTo>
                        <a:pt x="384761" y="715110"/>
                      </a:lnTo>
                      <a:lnTo>
                        <a:pt x="386024" y="715377"/>
                      </a:lnTo>
                      <a:lnTo>
                        <a:pt x="388258" y="715863"/>
                      </a:lnTo>
                      <a:lnTo>
                        <a:pt x="390310" y="716312"/>
                      </a:lnTo>
                      <a:lnTo>
                        <a:pt x="392192" y="715401"/>
                      </a:lnTo>
                      <a:lnTo>
                        <a:pt x="394828" y="714126"/>
                      </a:lnTo>
                      <a:lnTo>
                        <a:pt x="396552" y="713288"/>
                      </a:lnTo>
                      <a:lnTo>
                        <a:pt x="397487" y="711613"/>
                      </a:lnTo>
                      <a:lnTo>
                        <a:pt x="398410" y="709961"/>
                      </a:lnTo>
                      <a:lnTo>
                        <a:pt x="399041" y="708832"/>
                      </a:lnTo>
                      <a:lnTo>
                        <a:pt x="399150" y="707557"/>
                      </a:lnTo>
                      <a:lnTo>
                        <a:pt x="399272" y="706197"/>
                      </a:lnTo>
                      <a:lnTo>
                        <a:pt x="400086" y="706501"/>
                      </a:lnTo>
                      <a:lnTo>
                        <a:pt x="401118" y="706889"/>
                      </a:lnTo>
                      <a:lnTo>
                        <a:pt x="403194" y="707666"/>
                      </a:lnTo>
                      <a:lnTo>
                        <a:pt x="405283" y="706926"/>
                      </a:lnTo>
                      <a:lnTo>
                        <a:pt x="407068" y="706294"/>
                      </a:lnTo>
                      <a:lnTo>
                        <a:pt x="408282" y="705869"/>
                      </a:lnTo>
                      <a:lnTo>
                        <a:pt x="409217" y="704995"/>
                      </a:lnTo>
                      <a:lnTo>
                        <a:pt x="410468" y="703817"/>
                      </a:lnTo>
                      <a:lnTo>
                        <a:pt x="411184" y="703149"/>
                      </a:lnTo>
                      <a:lnTo>
                        <a:pt x="411658" y="702287"/>
                      </a:lnTo>
                      <a:lnTo>
                        <a:pt x="412872" y="700040"/>
                      </a:lnTo>
                      <a:lnTo>
                        <a:pt x="413127" y="699567"/>
                      </a:lnTo>
                      <a:lnTo>
                        <a:pt x="413297" y="699069"/>
                      </a:lnTo>
                      <a:lnTo>
                        <a:pt x="414475" y="695535"/>
                      </a:lnTo>
                      <a:lnTo>
                        <a:pt x="414511" y="695499"/>
                      </a:lnTo>
                      <a:lnTo>
                        <a:pt x="417061" y="694697"/>
                      </a:lnTo>
                      <a:lnTo>
                        <a:pt x="418786" y="694151"/>
                      </a:lnTo>
                      <a:lnTo>
                        <a:pt x="419927" y="692755"/>
                      </a:lnTo>
                      <a:lnTo>
                        <a:pt x="421591" y="690727"/>
                      </a:lnTo>
                      <a:lnTo>
                        <a:pt x="422040" y="690180"/>
                      </a:lnTo>
                      <a:lnTo>
                        <a:pt x="422343" y="689549"/>
                      </a:lnTo>
                      <a:lnTo>
                        <a:pt x="422611" y="689002"/>
                      </a:lnTo>
                      <a:lnTo>
                        <a:pt x="424019" y="691103"/>
                      </a:lnTo>
                      <a:lnTo>
                        <a:pt x="424286" y="691492"/>
                      </a:lnTo>
                      <a:lnTo>
                        <a:pt x="424602" y="691844"/>
                      </a:lnTo>
                      <a:lnTo>
                        <a:pt x="431936" y="699810"/>
                      </a:lnTo>
                      <a:lnTo>
                        <a:pt x="434086" y="703149"/>
                      </a:lnTo>
                      <a:lnTo>
                        <a:pt x="434729" y="704485"/>
                      </a:lnTo>
                      <a:lnTo>
                        <a:pt x="438226" y="715256"/>
                      </a:lnTo>
                      <a:lnTo>
                        <a:pt x="438421" y="715863"/>
                      </a:lnTo>
                      <a:lnTo>
                        <a:pt x="438736" y="716421"/>
                      </a:lnTo>
                      <a:lnTo>
                        <a:pt x="439878" y="718401"/>
                      </a:lnTo>
                      <a:lnTo>
                        <a:pt x="440461" y="719408"/>
                      </a:lnTo>
                      <a:lnTo>
                        <a:pt x="441371" y="720125"/>
                      </a:lnTo>
                      <a:lnTo>
                        <a:pt x="442513" y="721023"/>
                      </a:lnTo>
                      <a:lnTo>
                        <a:pt x="444589" y="722675"/>
                      </a:lnTo>
                      <a:lnTo>
                        <a:pt x="447200" y="722274"/>
                      </a:lnTo>
                      <a:lnTo>
                        <a:pt x="448366" y="722092"/>
                      </a:lnTo>
                      <a:lnTo>
                        <a:pt x="450794" y="721728"/>
                      </a:lnTo>
                      <a:lnTo>
                        <a:pt x="452288" y="719785"/>
                      </a:lnTo>
                      <a:lnTo>
                        <a:pt x="453077" y="718753"/>
                      </a:lnTo>
                      <a:lnTo>
                        <a:pt x="453818" y="717781"/>
                      </a:lnTo>
                      <a:lnTo>
                        <a:pt x="454134" y="716603"/>
                      </a:lnTo>
                      <a:lnTo>
                        <a:pt x="454777" y="714138"/>
                      </a:lnTo>
                      <a:lnTo>
                        <a:pt x="455044" y="713070"/>
                      </a:lnTo>
                      <a:lnTo>
                        <a:pt x="454935" y="711977"/>
                      </a:lnTo>
                      <a:lnTo>
                        <a:pt x="454753" y="710168"/>
                      </a:lnTo>
                      <a:lnTo>
                        <a:pt x="454729" y="709913"/>
                      </a:lnTo>
                      <a:lnTo>
                        <a:pt x="455421" y="711613"/>
                      </a:lnTo>
                      <a:lnTo>
                        <a:pt x="456793" y="719068"/>
                      </a:lnTo>
                      <a:lnTo>
                        <a:pt x="456975" y="720040"/>
                      </a:lnTo>
                      <a:lnTo>
                        <a:pt x="457461" y="720914"/>
                      </a:lnTo>
                      <a:lnTo>
                        <a:pt x="458044" y="721970"/>
                      </a:lnTo>
                      <a:lnTo>
                        <a:pt x="458262" y="722347"/>
                      </a:lnTo>
                      <a:lnTo>
                        <a:pt x="458517" y="722687"/>
                      </a:lnTo>
                      <a:lnTo>
                        <a:pt x="459865" y="724460"/>
                      </a:lnTo>
                      <a:lnTo>
                        <a:pt x="461553" y="729463"/>
                      </a:lnTo>
                      <a:lnTo>
                        <a:pt x="462318" y="731685"/>
                      </a:lnTo>
                      <a:lnTo>
                        <a:pt x="462476" y="732146"/>
                      </a:lnTo>
                      <a:lnTo>
                        <a:pt x="462707" y="732571"/>
                      </a:lnTo>
                      <a:lnTo>
                        <a:pt x="463217" y="733519"/>
                      </a:lnTo>
                      <a:lnTo>
                        <a:pt x="463399" y="733846"/>
                      </a:lnTo>
                      <a:lnTo>
                        <a:pt x="463617" y="734150"/>
                      </a:lnTo>
                      <a:lnTo>
                        <a:pt x="464200" y="734976"/>
                      </a:lnTo>
                      <a:lnTo>
                        <a:pt x="464407" y="735255"/>
                      </a:lnTo>
                      <a:lnTo>
                        <a:pt x="464650" y="735510"/>
                      </a:lnTo>
                      <a:lnTo>
                        <a:pt x="465645" y="736627"/>
                      </a:lnTo>
                      <a:lnTo>
                        <a:pt x="466483" y="737902"/>
                      </a:lnTo>
                      <a:lnTo>
                        <a:pt x="467236" y="739371"/>
                      </a:lnTo>
                      <a:lnTo>
                        <a:pt x="467989" y="740586"/>
                      </a:lnTo>
                      <a:lnTo>
                        <a:pt x="468487" y="741375"/>
                      </a:lnTo>
                      <a:lnTo>
                        <a:pt x="469203" y="741982"/>
                      </a:lnTo>
                      <a:lnTo>
                        <a:pt x="469956" y="742626"/>
                      </a:lnTo>
                      <a:lnTo>
                        <a:pt x="470381" y="742990"/>
                      </a:lnTo>
                      <a:lnTo>
                        <a:pt x="470867" y="743257"/>
                      </a:lnTo>
                      <a:lnTo>
                        <a:pt x="471182" y="743451"/>
                      </a:lnTo>
                      <a:lnTo>
                        <a:pt x="472227" y="744338"/>
                      </a:lnTo>
                      <a:lnTo>
                        <a:pt x="472737" y="744763"/>
                      </a:lnTo>
                      <a:lnTo>
                        <a:pt x="473319" y="745066"/>
                      </a:lnTo>
                      <a:lnTo>
                        <a:pt x="474303" y="745589"/>
                      </a:lnTo>
                      <a:lnTo>
                        <a:pt x="475821" y="746390"/>
                      </a:lnTo>
                      <a:lnTo>
                        <a:pt x="477533" y="746281"/>
                      </a:lnTo>
                      <a:lnTo>
                        <a:pt x="486373" y="745734"/>
                      </a:lnTo>
                      <a:lnTo>
                        <a:pt x="494837" y="746026"/>
                      </a:lnTo>
                      <a:lnTo>
                        <a:pt x="495553" y="746050"/>
                      </a:lnTo>
                      <a:lnTo>
                        <a:pt x="496258" y="745892"/>
                      </a:lnTo>
                      <a:lnTo>
                        <a:pt x="506251" y="743828"/>
                      </a:lnTo>
                      <a:lnTo>
                        <a:pt x="507696" y="743877"/>
                      </a:lnTo>
                      <a:lnTo>
                        <a:pt x="508109" y="744034"/>
                      </a:lnTo>
                      <a:lnTo>
                        <a:pt x="509093" y="744824"/>
                      </a:lnTo>
                      <a:lnTo>
                        <a:pt x="509943" y="745516"/>
                      </a:lnTo>
                      <a:lnTo>
                        <a:pt x="510975" y="745868"/>
                      </a:lnTo>
                      <a:lnTo>
                        <a:pt x="512942" y="746536"/>
                      </a:lnTo>
                      <a:lnTo>
                        <a:pt x="513780" y="746815"/>
                      </a:lnTo>
                      <a:lnTo>
                        <a:pt x="514666" y="746851"/>
                      </a:lnTo>
                      <a:lnTo>
                        <a:pt x="518467" y="746985"/>
                      </a:lnTo>
                      <a:lnTo>
                        <a:pt x="520531" y="748539"/>
                      </a:lnTo>
                      <a:lnTo>
                        <a:pt x="521393" y="749183"/>
                      </a:lnTo>
                      <a:lnTo>
                        <a:pt x="522426" y="749498"/>
                      </a:lnTo>
                      <a:lnTo>
                        <a:pt x="524089" y="749997"/>
                      </a:lnTo>
                      <a:lnTo>
                        <a:pt x="525364" y="750373"/>
                      </a:lnTo>
                      <a:lnTo>
                        <a:pt x="526688" y="750178"/>
                      </a:lnTo>
                      <a:lnTo>
                        <a:pt x="530476" y="749632"/>
                      </a:lnTo>
                      <a:lnTo>
                        <a:pt x="530780" y="749584"/>
                      </a:lnTo>
                      <a:lnTo>
                        <a:pt x="531083" y="749511"/>
                      </a:lnTo>
                      <a:lnTo>
                        <a:pt x="543919" y="746269"/>
                      </a:lnTo>
                      <a:lnTo>
                        <a:pt x="555357" y="745552"/>
                      </a:lnTo>
                      <a:lnTo>
                        <a:pt x="556341" y="745491"/>
                      </a:lnTo>
                      <a:lnTo>
                        <a:pt x="557264" y="745115"/>
                      </a:lnTo>
                      <a:lnTo>
                        <a:pt x="560712" y="743719"/>
                      </a:lnTo>
                      <a:lnTo>
                        <a:pt x="561453" y="743427"/>
                      </a:lnTo>
                      <a:lnTo>
                        <a:pt x="562084" y="742942"/>
                      </a:lnTo>
                      <a:lnTo>
                        <a:pt x="565023" y="740731"/>
                      </a:lnTo>
                      <a:lnTo>
                        <a:pt x="565679" y="740233"/>
                      </a:lnTo>
                      <a:lnTo>
                        <a:pt x="566189" y="739566"/>
                      </a:lnTo>
                      <a:lnTo>
                        <a:pt x="569394" y="735376"/>
                      </a:lnTo>
                      <a:lnTo>
                        <a:pt x="569844" y="734793"/>
                      </a:lnTo>
                      <a:lnTo>
                        <a:pt x="570135" y="734102"/>
                      </a:lnTo>
                      <a:lnTo>
                        <a:pt x="571617" y="730689"/>
                      </a:lnTo>
                      <a:lnTo>
                        <a:pt x="572637" y="727593"/>
                      </a:lnTo>
                      <a:lnTo>
                        <a:pt x="573608" y="727629"/>
                      </a:lnTo>
                      <a:lnTo>
                        <a:pt x="574677" y="727666"/>
                      </a:lnTo>
                      <a:lnTo>
                        <a:pt x="575697" y="727338"/>
                      </a:lnTo>
                      <a:lnTo>
                        <a:pt x="577421" y="726779"/>
                      </a:lnTo>
                      <a:lnTo>
                        <a:pt x="579133" y="726221"/>
                      </a:lnTo>
                      <a:lnTo>
                        <a:pt x="580262" y="724824"/>
                      </a:lnTo>
                      <a:lnTo>
                        <a:pt x="586868" y="716676"/>
                      </a:lnTo>
                      <a:lnTo>
                        <a:pt x="587075" y="716421"/>
                      </a:lnTo>
                      <a:lnTo>
                        <a:pt x="587257" y="716154"/>
                      </a:lnTo>
                      <a:lnTo>
                        <a:pt x="588167" y="714745"/>
                      </a:lnTo>
                      <a:lnTo>
                        <a:pt x="588738" y="713871"/>
                      </a:lnTo>
                      <a:lnTo>
                        <a:pt x="588981" y="712851"/>
                      </a:lnTo>
                      <a:lnTo>
                        <a:pt x="589260" y="711673"/>
                      </a:lnTo>
                      <a:lnTo>
                        <a:pt x="589697" y="709864"/>
                      </a:lnTo>
                      <a:lnTo>
                        <a:pt x="589030" y="708115"/>
                      </a:lnTo>
                      <a:lnTo>
                        <a:pt x="588690" y="707229"/>
                      </a:lnTo>
                      <a:lnTo>
                        <a:pt x="588641" y="707096"/>
                      </a:lnTo>
                      <a:lnTo>
                        <a:pt x="589625" y="705420"/>
                      </a:lnTo>
                      <a:lnTo>
                        <a:pt x="590450" y="703999"/>
                      </a:lnTo>
                      <a:lnTo>
                        <a:pt x="590450" y="702675"/>
                      </a:lnTo>
                      <a:lnTo>
                        <a:pt x="591519" y="702712"/>
                      </a:lnTo>
                      <a:lnTo>
                        <a:pt x="592454" y="702736"/>
                      </a:lnTo>
                      <a:lnTo>
                        <a:pt x="593353" y="702481"/>
                      </a:lnTo>
                      <a:lnTo>
                        <a:pt x="595526" y="701874"/>
                      </a:lnTo>
                      <a:lnTo>
                        <a:pt x="596862" y="701510"/>
                      </a:lnTo>
                      <a:lnTo>
                        <a:pt x="597906" y="700587"/>
                      </a:lnTo>
                      <a:lnTo>
                        <a:pt x="603431" y="695730"/>
                      </a:lnTo>
                      <a:lnTo>
                        <a:pt x="604755" y="694831"/>
                      </a:lnTo>
                      <a:lnTo>
                        <a:pt x="615671" y="689634"/>
                      </a:lnTo>
                      <a:lnTo>
                        <a:pt x="615878" y="689792"/>
                      </a:lnTo>
                      <a:lnTo>
                        <a:pt x="617396" y="690897"/>
                      </a:lnTo>
                      <a:lnTo>
                        <a:pt x="619278" y="690958"/>
                      </a:lnTo>
                      <a:lnTo>
                        <a:pt x="620832" y="691006"/>
                      </a:lnTo>
                      <a:lnTo>
                        <a:pt x="623394" y="691079"/>
                      </a:lnTo>
                      <a:lnTo>
                        <a:pt x="625240" y="689306"/>
                      </a:lnTo>
                      <a:lnTo>
                        <a:pt x="627353" y="687266"/>
                      </a:lnTo>
                      <a:lnTo>
                        <a:pt x="628057" y="686574"/>
                      </a:lnTo>
                      <a:lnTo>
                        <a:pt x="628518" y="685712"/>
                      </a:lnTo>
                      <a:lnTo>
                        <a:pt x="629672" y="683490"/>
                      </a:lnTo>
                      <a:lnTo>
                        <a:pt x="630146" y="682591"/>
                      </a:lnTo>
                      <a:lnTo>
                        <a:pt x="630291" y="681595"/>
                      </a:lnTo>
                      <a:lnTo>
                        <a:pt x="630692" y="678972"/>
                      </a:lnTo>
                      <a:lnTo>
                        <a:pt x="630826" y="678122"/>
                      </a:lnTo>
                      <a:lnTo>
                        <a:pt x="630716" y="677272"/>
                      </a:lnTo>
                      <a:lnTo>
                        <a:pt x="630704" y="677103"/>
                      </a:lnTo>
                      <a:lnTo>
                        <a:pt x="634383" y="677139"/>
                      </a:lnTo>
                      <a:lnTo>
                        <a:pt x="634772" y="677212"/>
                      </a:lnTo>
                      <a:lnTo>
                        <a:pt x="635294" y="680745"/>
                      </a:lnTo>
                      <a:lnTo>
                        <a:pt x="636375" y="687946"/>
                      </a:lnTo>
                      <a:lnTo>
                        <a:pt x="643260" y="685602"/>
                      </a:lnTo>
                      <a:lnTo>
                        <a:pt x="645725" y="684765"/>
                      </a:lnTo>
                      <a:lnTo>
                        <a:pt x="647425" y="684182"/>
                      </a:lnTo>
                      <a:lnTo>
                        <a:pt x="648542" y="682773"/>
                      </a:lnTo>
                      <a:lnTo>
                        <a:pt x="663405" y="663927"/>
                      </a:lnTo>
                      <a:lnTo>
                        <a:pt x="685918" y="644401"/>
                      </a:lnTo>
                      <a:lnTo>
                        <a:pt x="699458" y="635088"/>
                      </a:lnTo>
                      <a:lnTo>
                        <a:pt x="699870" y="634809"/>
                      </a:lnTo>
                      <a:lnTo>
                        <a:pt x="700222" y="634469"/>
                      </a:lnTo>
                      <a:lnTo>
                        <a:pt x="720720" y="614688"/>
                      </a:lnTo>
                      <a:lnTo>
                        <a:pt x="731138" y="607014"/>
                      </a:lnTo>
                      <a:lnTo>
                        <a:pt x="738861" y="603723"/>
                      </a:lnTo>
                      <a:lnTo>
                        <a:pt x="739614" y="603419"/>
                      </a:lnTo>
                      <a:lnTo>
                        <a:pt x="740258" y="602909"/>
                      </a:lnTo>
                      <a:lnTo>
                        <a:pt x="749292" y="595793"/>
                      </a:lnTo>
                      <a:lnTo>
                        <a:pt x="756760" y="592490"/>
                      </a:lnTo>
                      <a:lnTo>
                        <a:pt x="772436" y="585168"/>
                      </a:lnTo>
                      <a:lnTo>
                        <a:pt x="787130" y="577530"/>
                      </a:lnTo>
                      <a:lnTo>
                        <a:pt x="794245" y="573268"/>
                      </a:lnTo>
                      <a:lnTo>
                        <a:pt x="793844" y="572528"/>
                      </a:lnTo>
                      <a:lnTo>
                        <a:pt x="802794" y="568023"/>
                      </a:lnTo>
                      <a:lnTo>
                        <a:pt x="813419" y="562691"/>
                      </a:lnTo>
                      <a:lnTo>
                        <a:pt x="818361" y="561599"/>
                      </a:lnTo>
                      <a:lnTo>
                        <a:pt x="819102" y="561429"/>
                      </a:lnTo>
                      <a:lnTo>
                        <a:pt x="819782" y="561101"/>
                      </a:lnTo>
                      <a:lnTo>
                        <a:pt x="822769" y="559595"/>
                      </a:lnTo>
                      <a:lnTo>
                        <a:pt x="823121" y="559522"/>
                      </a:lnTo>
                      <a:lnTo>
                        <a:pt x="828719" y="559692"/>
                      </a:lnTo>
                      <a:lnTo>
                        <a:pt x="829096" y="559705"/>
                      </a:lnTo>
                      <a:lnTo>
                        <a:pt x="829460" y="559668"/>
                      </a:lnTo>
                      <a:lnTo>
                        <a:pt x="831464" y="559474"/>
                      </a:lnTo>
                      <a:lnTo>
                        <a:pt x="832338" y="559389"/>
                      </a:lnTo>
                      <a:lnTo>
                        <a:pt x="833151" y="559061"/>
                      </a:lnTo>
                      <a:lnTo>
                        <a:pt x="836879" y="557567"/>
                      </a:lnTo>
                      <a:lnTo>
                        <a:pt x="837365" y="557361"/>
                      </a:lnTo>
                      <a:lnTo>
                        <a:pt x="837826" y="557094"/>
                      </a:lnTo>
                      <a:lnTo>
                        <a:pt x="843885" y="553317"/>
                      </a:lnTo>
                      <a:lnTo>
                        <a:pt x="850710" y="552139"/>
                      </a:lnTo>
                      <a:lnTo>
                        <a:pt x="851074" y="552066"/>
                      </a:lnTo>
                      <a:lnTo>
                        <a:pt x="851426" y="551957"/>
                      </a:lnTo>
                      <a:lnTo>
                        <a:pt x="874340" y="545072"/>
                      </a:lnTo>
                      <a:lnTo>
                        <a:pt x="877376" y="544647"/>
                      </a:lnTo>
                      <a:lnTo>
                        <a:pt x="878809" y="544441"/>
                      </a:lnTo>
                      <a:lnTo>
                        <a:pt x="879999" y="543627"/>
                      </a:lnTo>
                      <a:lnTo>
                        <a:pt x="881080" y="542874"/>
                      </a:lnTo>
                      <a:lnTo>
                        <a:pt x="881201" y="542802"/>
                      </a:lnTo>
                      <a:lnTo>
                        <a:pt x="881577" y="543081"/>
                      </a:lnTo>
                      <a:lnTo>
                        <a:pt x="883350" y="544404"/>
                      </a:lnTo>
                      <a:lnTo>
                        <a:pt x="885572" y="544271"/>
                      </a:lnTo>
                      <a:lnTo>
                        <a:pt x="887576" y="544149"/>
                      </a:lnTo>
                      <a:lnTo>
                        <a:pt x="888875" y="544076"/>
                      </a:lnTo>
                      <a:lnTo>
                        <a:pt x="890041" y="543469"/>
                      </a:lnTo>
                      <a:lnTo>
                        <a:pt x="893927" y="541417"/>
                      </a:lnTo>
                      <a:lnTo>
                        <a:pt x="922948" y="530877"/>
                      </a:lnTo>
                      <a:lnTo>
                        <a:pt x="923373" y="530719"/>
                      </a:lnTo>
                      <a:lnTo>
                        <a:pt x="923774" y="530489"/>
                      </a:lnTo>
                      <a:lnTo>
                        <a:pt x="943275" y="519839"/>
                      </a:lnTo>
                      <a:lnTo>
                        <a:pt x="955249" y="513306"/>
                      </a:lnTo>
                      <a:lnTo>
                        <a:pt x="953925" y="512845"/>
                      </a:lnTo>
                      <a:lnTo>
                        <a:pt x="973730" y="501163"/>
                      </a:lnTo>
                      <a:lnTo>
                        <a:pt x="955467" y="501649"/>
                      </a:lnTo>
                      <a:lnTo>
                        <a:pt x="962741" y="493161"/>
                      </a:lnTo>
                      <a:lnTo>
                        <a:pt x="964016" y="491667"/>
                      </a:lnTo>
                      <a:lnTo>
                        <a:pt x="964174" y="489713"/>
                      </a:lnTo>
                      <a:lnTo>
                        <a:pt x="964319" y="488025"/>
                      </a:lnTo>
                      <a:lnTo>
                        <a:pt x="965752" y="485159"/>
                      </a:lnTo>
                      <a:lnTo>
                        <a:pt x="966043" y="484564"/>
                      </a:lnTo>
                      <a:lnTo>
                        <a:pt x="966214" y="483908"/>
                      </a:lnTo>
                      <a:lnTo>
                        <a:pt x="968266" y="475688"/>
                      </a:lnTo>
                      <a:lnTo>
                        <a:pt x="968351" y="475481"/>
                      </a:lnTo>
                      <a:lnTo>
                        <a:pt x="969626" y="474412"/>
                      </a:lnTo>
                      <a:lnTo>
                        <a:pt x="972576" y="473223"/>
                      </a:lnTo>
                      <a:lnTo>
                        <a:pt x="981489" y="470964"/>
                      </a:lnTo>
                      <a:lnTo>
                        <a:pt x="981878" y="470867"/>
                      </a:lnTo>
                      <a:lnTo>
                        <a:pt x="982255" y="470709"/>
                      </a:lnTo>
                      <a:lnTo>
                        <a:pt x="990584" y="467382"/>
                      </a:lnTo>
                      <a:lnTo>
                        <a:pt x="991046" y="467200"/>
                      </a:lnTo>
                      <a:lnTo>
                        <a:pt x="991459" y="466945"/>
                      </a:lnTo>
                      <a:lnTo>
                        <a:pt x="1008228" y="456829"/>
                      </a:lnTo>
                      <a:lnTo>
                        <a:pt x="1008532" y="456648"/>
                      </a:lnTo>
                      <a:lnTo>
                        <a:pt x="1008799" y="456429"/>
                      </a:lnTo>
                      <a:lnTo>
                        <a:pt x="1015745" y="451074"/>
                      </a:lnTo>
                      <a:lnTo>
                        <a:pt x="1014275" y="449058"/>
                      </a:lnTo>
                      <a:lnTo>
                        <a:pt x="1014652" y="448937"/>
                      </a:lnTo>
                      <a:lnTo>
                        <a:pt x="1015623" y="448014"/>
                      </a:lnTo>
                      <a:lnTo>
                        <a:pt x="1018780" y="445027"/>
                      </a:lnTo>
                      <a:lnTo>
                        <a:pt x="1019205" y="444614"/>
                      </a:lnTo>
                      <a:lnTo>
                        <a:pt x="1019545" y="444140"/>
                      </a:lnTo>
                      <a:lnTo>
                        <a:pt x="1024378" y="437328"/>
                      </a:lnTo>
                      <a:lnTo>
                        <a:pt x="1024791" y="436733"/>
                      </a:lnTo>
                      <a:lnTo>
                        <a:pt x="1025058" y="436065"/>
                      </a:lnTo>
                      <a:lnTo>
                        <a:pt x="1027960" y="428852"/>
                      </a:lnTo>
                      <a:lnTo>
                        <a:pt x="1029078" y="426096"/>
                      </a:lnTo>
                      <a:lnTo>
                        <a:pt x="1027572" y="423521"/>
                      </a:lnTo>
                      <a:lnTo>
                        <a:pt x="1025046" y="419199"/>
                      </a:lnTo>
                      <a:lnTo>
                        <a:pt x="1020590" y="411561"/>
                      </a:lnTo>
                      <a:lnTo>
                        <a:pt x="1046503" y="391658"/>
                      </a:lnTo>
                      <a:lnTo>
                        <a:pt x="1055416" y="388817"/>
                      </a:lnTo>
                      <a:lnTo>
                        <a:pt x="1056375" y="388513"/>
                      </a:lnTo>
                      <a:lnTo>
                        <a:pt x="1057164" y="387918"/>
                      </a:lnTo>
                      <a:lnTo>
                        <a:pt x="1062276" y="384154"/>
                      </a:lnTo>
                      <a:lnTo>
                        <a:pt x="1062629" y="383899"/>
                      </a:lnTo>
                      <a:lnTo>
                        <a:pt x="1062932" y="383595"/>
                      </a:lnTo>
                      <a:lnTo>
                        <a:pt x="1067413" y="379187"/>
                      </a:lnTo>
                      <a:lnTo>
                        <a:pt x="1070813" y="375144"/>
                      </a:lnTo>
                      <a:lnTo>
                        <a:pt x="1064292" y="368587"/>
                      </a:lnTo>
                      <a:lnTo>
                        <a:pt x="1064632" y="367713"/>
                      </a:lnTo>
                      <a:lnTo>
                        <a:pt x="1064292" y="365988"/>
                      </a:lnTo>
                      <a:lnTo>
                        <a:pt x="1063940" y="364179"/>
                      </a:lnTo>
                      <a:lnTo>
                        <a:pt x="1063818" y="363536"/>
                      </a:lnTo>
                      <a:lnTo>
                        <a:pt x="1063563" y="362928"/>
                      </a:lnTo>
                      <a:lnTo>
                        <a:pt x="1062641" y="360827"/>
                      </a:lnTo>
                      <a:lnTo>
                        <a:pt x="1062471" y="360439"/>
                      </a:lnTo>
                      <a:lnTo>
                        <a:pt x="1062240" y="360075"/>
                      </a:lnTo>
                      <a:lnTo>
                        <a:pt x="1060686" y="357549"/>
                      </a:lnTo>
                      <a:lnTo>
                        <a:pt x="1059872" y="356213"/>
                      </a:lnTo>
                      <a:lnTo>
                        <a:pt x="1058512" y="355448"/>
                      </a:lnTo>
                      <a:lnTo>
                        <a:pt x="1057237" y="354720"/>
                      </a:lnTo>
                      <a:lnTo>
                        <a:pt x="1056399" y="354246"/>
                      </a:lnTo>
                      <a:lnTo>
                        <a:pt x="1057140" y="352582"/>
                      </a:lnTo>
                      <a:lnTo>
                        <a:pt x="1058026" y="350542"/>
                      </a:lnTo>
                      <a:lnTo>
                        <a:pt x="1057383" y="348393"/>
                      </a:lnTo>
                      <a:lnTo>
                        <a:pt x="1054869" y="339954"/>
                      </a:lnTo>
                      <a:lnTo>
                        <a:pt x="1054748" y="339589"/>
                      </a:lnTo>
                      <a:lnTo>
                        <a:pt x="1054590" y="339237"/>
                      </a:lnTo>
                      <a:lnTo>
                        <a:pt x="1034748" y="294539"/>
                      </a:lnTo>
                      <a:lnTo>
                        <a:pt x="1033643" y="278717"/>
                      </a:lnTo>
                      <a:lnTo>
                        <a:pt x="1038537" y="264692"/>
                      </a:lnTo>
                      <a:lnTo>
                        <a:pt x="1047340" y="251784"/>
                      </a:lnTo>
                      <a:lnTo>
                        <a:pt x="1073970" y="223625"/>
                      </a:lnTo>
                      <a:lnTo>
                        <a:pt x="1082397" y="217735"/>
                      </a:lnTo>
                      <a:lnTo>
                        <a:pt x="1097879" y="209587"/>
                      </a:lnTo>
                      <a:lnTo>
                        <a:pt x="1098390" y="209453"/>
                      </a:lnTo>
                      <a:lnTo>
                        <a:pt x="1102142" y="209453"/>
                      </a:lnTo>
                      <a:lnTo>
                        <a:pt x="1102749" y="209453"/>
                      </a:lnTo>
                      <a:lnTo>
                        <a:pt x="1103332" y="209332"/>
                      </a:lnTo>
                      <a:lnTo>
                        <a:pt x="1105347" y="208931"/>
                      </a:lnTo>
                      <a:lnTo>
                        <a:pt x="1106306" y="208737"/>
                      </a:lnTo>
                      <a:lnTo>
                        <a:pt x="1106975" y="208361"/>
                      </a:lnTo>
                      <a:lnTo>
                        <a:pt x="1111674" y="209466"/>
                      </a:lnTo>
                      <a:lnTo>
                        <a:pt x="1112937" y="209757"/>
                      </a:lnTo>
                      <a:lnTo>
                        <a:pt x="1114200" y="209514"/>
                      </a:lnTo>
                      <a:lnTo>
                        <a:pt x="1123270" y="207778"/>
                      </a:lnTo>
                      <a:lnTo>
                        <a:pt x="1123853" y="207668"/>
                      </a:lnTo>
                      <a:lnTo>
                        <a:pt x="1124400" y="207438"/>
                      </a:lnTo>
                      <a:lnTo>
                        <a:pt x="1136239" y="202666"/>
                      </a:lnTo>
                      <a:lnTo>
                        <a:pt x="1147896" y="197954"/>
                      </a:lnTo>
                      <a:lnTo>
                        <a:pt x="1149147" y="197626"/>
                      </a:lnTo>
                      <a:lnTo>
                        <a:pt x="1156578" y="195659"/>
                      </a:lnTo>
                      <a:lnTo>
                        <a:pt x="1152936" y="188883"/>
                      </a:lnTo>
                      <a:lnTo>
                        <a:pt x="1151187" y="185629"/>
                      </a:lnTo>
                      <a:lnTo>
                        <a:pt x="1145310" y="176740"/>
                      </a:lnTo>
                      <a:lnTo>
                        <a:pt x="1144690" y="175162"/>
                      </a:lnTo>
                      <a:lnTo>
                        <a:pt x="1144338" y="173389"/>
                      </a:lnTo>
                      <a:lnTo>
                        <a:pt x="1144290" y="171507"/>
                      </a:lnTo>
                      <a:lnTo>
                        <a:pt x="1144933" y="166419"/>
                      </a:lnTo>
                      <a:lnTo>
                        <a:pt x="1144970" y="166103"/>
                      </a:lnTo>
                      <a:lnTo>
                        <a:pt x="1144982" y="165788"/>
                      </a:lnTo>
                      <a:lnTo>
                        <a:pt x="1145042" y="162801"/>
                      </a:lnTo>
                      <a:lnTo>
                        <a:pt x="1145067" y="161270"/>
                      </a:lnTo>
                      <a:lnTo>
                        <a:pt x="1144362" y="159910"/>
                      </a:lnTo>
                      <a:lnTo>
                        <a:pt x="1143039" y="157324"/>
                      </a:lnTo>
                      <a:lnTo>
                        <a:pt x="1142408" y="156073"/>
                      </a:lnTo>
                      <a:lnTo>
                        <a:pt x="1141278" y="155235"/>
                      </a:lnTo>
                      <a:lnTo>
                        <a:pt x="1138291" y="152989"/>
                      </a:lnTo>
                      <a:lnTo>
                        <a:pt x="1137235" y="152212"/>
                      </a:lnTo>
                      <a:lnTo>
                        <a:pt x="1135960" y="151932"/>
                      </a:lnTo>
                      <a:lnTo>
                        <a:pt x="1111334" y="146541"/>
                      </a:lnTo>
                      <a:lnTo>
                        <a:pt x="1108480" y="145497"/>
                      </a:lnTo>
                      <a:lnTo>
                        <a:pt x="1107897" y="144987"/>
                      </a:lnTo>
                      <a:lnTo>
                        <a:pt x="1106926" y="143020"/>
                      </a:lnTo>
                      <a:lnTo>
                        <a:pt x="1106125" y="140834"/>
                      </a:lnTo>
                      <a:lnTo>
                        <a:pt x="1105214" y="137313"/>
                      </a:lnTo>
                      <a:lnTo>
                        <a:pt x="1104376" y="130014"/>
                      </a:lnTo>
                      <a:lnTo>
                        <a:pt x="1104266" y="129128"/>
                      </a:lnTo>
                      <a:lnTo>
                        <a:pt x="1103902" y="128302"/>
                      </a:lnTo>
                      <a:lnTo>
                        <a:pt x="1102409" y="124890"/>
                      </a:lnTo>
                      <a:lnTo>
                        <a:pt x="1101911" y="123749"/>
                      </a:lnTo>
                      <a:lnTo>
                        <a:pt x="1101024" y="122911"/>
                      </a:lnTo>
                      <a:lnTo>
                        <a:pt x="1097964" y="120021"/>
                      </a:lnTo>
                      <a:lnTo>
                        <a:pt x="1097260" y="119353"/>
                      </a:lnTo>
                      <a:lnTo>
                        <a:pt x="1096386" y="118940"/>
                      </a:lnTo>
                      <a:lnTo>
                        <a:pt x="1089780" y="115807"/>
                      </a:lnTo>
                      <a:lnTo>
                        <a:pt x="1089343" y="115601"/>
                      </a:lnTo>
                      <a:lnTo>
                        <a:pt x="1088870" y="115455"/>
                      </a:lnTo>
                      <a:lnTo>
                        <a:pt x="1085384" y="114447"/>
                      </a:lnTo>
                      <a:lnTo>
                        <a:pt x="1084510" y="114192"/>
                      </a:lnTo>
                      <a:lnTo>
                        <a:pt x="1083587" y="114204"/>
                      </a:lnTo>
                      <a:lnTo>
                        <a:pt x="1080600" y="114265"/>
                      </a:lnTo>
                      <a:lnTo>
                        <a:pt x="1078681" y="114302"/>
                      </a:lnTo>
                      <a:lnTo>
                        <a:pt x="1077139" y="115443"/>
                      </a:lnTo>
                      <a:lnTo>
                        <a:pt x="1075646" y="116536"/>
                      </a:lnTo>
                      <a:lnTo>
                        <a:pt x="1074723" y="117204"/>
                      </a:lnTo>
                      <a:lnTo>
                        <a:pt x="1074104" y="118175"/>
                      </a:lnTo>
                      <a:lnTo>
                        <a:pt x="1072889" y="120069"/>
                      </a:lnTo>
                      <a:lnTo>
                        <a:pt x="1071760" y="122243"/>
                      </a:lnTo>
                      <a:lnTo>
                        <a:pt x="1071432" y="122729"/>
                      </a:lnTo>
                      <a:lnTo>
                        <a:pt x="1071165" y="122911"/>
                      </a:lnTo>
                      <a:lnTo>
                        <a:pt x="1069902" y="123457"/>
                      </a:lnTo>
                      <a:lnTo>
                        <a:pt x="1069198" y="123749"/>
                      </a:lnTo>
                      <a:lnTo>
                        <a:pt x="1068603" y="124222"/>
                      </a:lnTo>
                      <a:lnTo>
                        <a:pt x="1067279" y="125254"/>
                      </a:lnTo>
                      <a:lnTo>
                        <a:pt x="1066296" y="126007"/>
                      </a:lnTo>
                      <a:lnTo>
                        <a:pt x="1065846" y="126821"/>
                      </a:lnTo>
                      <a:lnTo>
                        <a:pt x="1064207" y="124927"/>
                      </a:lnTo>
                      <a:lnTo>
                        <a:pt x="1063187" y="122595"/>
                      </a:lnTo>
                      <a:lnTo>
                        <a:pt x="1063102" y="121976"/>
                      </a:lnTo>
                      <a:lnTo>
                        <a:pt x="1064620" y="117969"/>
                      </a:lnTo>
                      <a:lnTo>
                        <a:pt x="1064826" y="117459"/>
                      </a:lnTo>
                      <a:lnTo>
                        <a:pt x="1064923" y="116924"/>
                      </a:lnTo>
                      <a:lnTo>
                        <a:pt x="1065106" y="115977"/>
                      </a:lnTo>
                      <a:lnTo>
                        <a:pt x="1065215" y="115431"/>
                      </a:lnTo>
                      <a:lnTo>
                        <a:pt x="1065215" y="114860"/>
                      </a:lnTo>
                      <a:lnTo>
                        <a:pt x="1065215" y="113051"/>
                      </a:lnTo>
                      <a:lnTo>
                        <a:pt x="1065009" y="110282"/>
                      </a:lnTo>
                      <a:lnTo>
                        <a:pt x="1064984" y="109979"/>
                      </a:lnTo>
                      <a:lnTo>
                        <a:pt x="1064936" y="109687"/>
                      </a:lnTo>
                      <a:lnTo>
                        <a:pt x="1064231" y="105838"/>
                      </a:lnTo>
                      <a:lnTo>
                        <a:pt x="1064134" y="105340"/>
                      </a:lnTo>
                      <a:lnTo>
                        <a:pt x="1063964" y="104866"/>
                      </a:lnTo>
                      <a:lnTo>
                        <a:pt x="1063636" y="103944"/>
                      </a:lnTo>
                      <a:lnTo>
                        <a:pt x="1063479" y="103506"/>
                      </a:lnTo>
                      <a:lnTo>
                        <a:pt x="1063248" y="103106"/>
                      </a:lnTo>
                      <a:lnTo>
                        <a:pt x="1062653" y="102013"/>
                      </a:lnTo>
                      <a:lnTo>
                        <a:pt x="1062434" y="101612"/>
                      </a:lnTo>
                      <a:lnTo>
                        <a:pt x="1062167" y="101248"/>
                      </a:lnTo>
                      <a:lnTo>
                        <a:pt x="1060504" y="99062"/>
                      </a:lnTo>
                      <a:lnTo>
                        <a:pt x="1060115" y="98552"/>
                      </a:lnTo>
                      <a:lnTo>
                        <a:pt x="1059605" y="98127"/>
                      </a:lnTo>
                      <a:lnTo>
                        <a:pt x="1056606" y="95577"/>
                      </a:lnTo>
                      <a:lnTo>
                        <a:pt x="1056302" y="95322"/>
                      </a:lnTo>
                      <a:lnTo>
                        <a:pt x="1055974" y="95104"/>
                      </a:lnTo>
                      <a:lnTo>
                        <a:pt x="1050814" y="91776"/>
                      </a:lnTo>
                      <a:lnTo>
                        <a:pt x="1050352" y="91485"/>
                      </a:lnTo>
                      <a:lnTo>
                        <a:pt x="1049830" y="91266"/>
                      </a:lnTo>
                      <a:lnTo>
                        <a:pt x="1040237" y="87308"/>
                      </a:lnTo>
                      <a:lnTo>
                        <a:pt x="1039715" y="87077"/>
                      </a:lnTo>
                      <a:lnTo>
                        <a:pt x="1039156" y="86968"/>
                      </a:lnTo>
                      <a:lnTo>
                        <a:pt x="1036120" y="86336"/>
                      </a:lnTo>
                      <a:lnTo>
                        <a:pt x="1035659" y="86239"/>
                      </a:lnTo>
                      <a:lnTo>
                        <a:pt x="1035198" y="86215"/>
                      </a:lnTo>
                      <a:lnTo>
                        <a:pt x="1032393" y="86069"/>
                      </a:lnTo>
                      <a:lnTo>
                        <a:pt x="1031968" y="86045"/>
                      </a:lnTo>
                      <a:lnTo>
                        <a:pt x="1031543" y="86081"/>
                      </a:lnTo>
                      <a:lnTo>
                        <a:pt x="1029879" y="86239"/>
                      </a:lnTo>
                      <a:lnTo>
                        <a:pt x="1029223" y="86118"/>
                      </a:lnTo>
                      <a:lnTo>
                        <a:pt x="1020808" y="80471"/>
                      </a:lnTo>
                      <a:lnTo>
                        <a:pt x="1018282" y="78249"/>
                      </a:lnTo>
                      <a:lnTo>
                        <a:pt x="1017493" y="77545"/>
                      </a:lnTo>
                      <a:lnTo>
                        <a:pt x="1016510" y="77169"/>
                      </a:lnTo>
                      <a:lnTo>
                        <a:pt x="1013231" y="75881"/>
                      </a:lnTo>
                      <a:lnTo>
                        <a:pt x="1012818" y="75711"/>
                      </a:lnTo>
                      <a:lnTo>
                        <a:pt x="1012381" y="75602"/>
                      </a:lnTo>
                      <a:lnTo>
                        <a:pt x="1009467" y="74922"/>
                      </a:lnTo>
                      <a:lnTo>
                        <a:pt x="1007063" y="74096"/>
                      </a:lnTo>
                      <a:lnTo>
                        <a:pt x="1007014" y="74072"/>
                      </a:lnTo>
                      <a:lnTo>
                        <a:pt x="1004549" y="69846"/>
                      </a:lnTo>
                      <a:lnTo>
                        <a:pt x="1003565" y="68146"/>
                      </a:lnTo>
                      <a:lnTo>
                        <a:pt x="1001768" y="67357"/>
                      </a:lnTo>
                      <a:lnTo>
                        <a:pt x="995126" y="64418"/>
                      </a:lnTo>
                      <a:lnTo>
                        <a:pt x="987488" y="57594"/>
                      </a:lnTo>
                      <a:lnTo>
                        <a:pt x="987124" y="57266"/>
                      </a:lnTo>
                      <a:lnTo>
                        <a:pt x="986699" y="56999"/>
                      </a:lnTo>
                      <a:lnTo>
                        <a:pt x="968691" y="45573"/>
                      </a:lnTo>
                      <a:lnTo>
                        <a:pt x="968327" y="45342"/>
                      </a:lnTo>
                      <a:lnTo>
                        <a:pt x="967926" y="45160"/>
                      </a:lnTo>
                      <a:lnTo>
                        <a:pt x="966238" y="44407"/>
                      </a:lnTo>
                      <a:lnTo>
                        <a:pt x="965667" y="44152"/>
                      </a:lnTo>
                      <a:lnTo>
                        <a:pt x="965048" y="44018"/>
                      </a:lnTo>
                      <a:lnTo>
                        <a:pt x="963117" y="43593"/>
                      </a:lnTo>
                      <a:lnTo>
                        <a:pt x="962121" y="43375"/>
                      </a:lnTo>
                      <a:lnTo>
                        <a:pt x="961101" y="43496"/>
                      </a:lnTo>
                      <a:lnTo>
                        <a:pt x="958296" y="43836"/>
                      </a:lnTo>
                      <a:lnTo>
                        <a:pt x="957689" y="43909"/>
                      </a:lnTo>
                      <a:lnTo>
                        <a:pt x="957106" y="44103"/>
                      </a:lnTo>
                      <a:lnTo>
                        <a:pt x="950428" y="46313"/>
                      </a:lnTo>
                      <a:lnTo>
                        <a:pt x="948497" y="46641"/>
                      </a:lnTo>
                      <a:lnTo>
                        <a:pt x="946275" y="46738"/>
                      </a:lnTo>
                      <a:lnTo>
                        <a:pt x="944186" y="46350"/>
                      </a:lnTo>
                      <a:lnTo>
                        <a:pt x="942183" y="45524"/>
                      </a:lnTo>
                      <a:lnTo>
                        <a:pt x="939402" y="43496"/>
                      </a:lnTo>
                      <a:lnTo>
                        <a:pt x="937459" y="41565"/>
                      </a:lnTo>
                      <a:lnTo>
                        <a:pt x="936038" y="39793"/>
                      </a:lnTo>
                      <a:lnTo>
                        <a:pt x="932918" y="34547"/>
                      </a:lnTo>
                      <a:lnTo>
                        <a:pt x="932371" y="33624"/>
                      </a:lnTo>
                      <a:lnTo>
                        <a:pt x="931558" y="32944"/>
                      </a:lnTo>
                      <a:lnTo>
                        <a:pt x="928692" y="30588"/>
                      </a:lnTo>
                      <a:lnTo>
                        <a:pt x="928437" y="30382"/>
                      </a:lnTo>
                      <a:lnTo>
                        <a:pt x="928170" y="30199"/>
                      </a:lnTo>
                      <a:lnTo>
                        <a:pt x="924162" y="27565"/>
                      </a:lnTo>
                      <a:lnTo>
                        <a:pt x="923847" y="27358"/>
                      </a:lnTo>
                      <a:lnTo>
                        <a:pt x="923519" y="27200"/>
                      </a:lnTo>
                      <a:lnTo>
                        <a:pt x="893708" y="12495"/>
                      </a:lnTo>
                      <a:lnTo>
                        <a:pt x="887491" y="4554"/>
                      </a:lnTo>
                      <a:lnTo>
                        <a:pt x="887163" y="4129"/>
                      </a:lnTo>
                      <a:lnTo>
                        <a:pt x="886775" y="3777"/>
                      </a:lnTo>
                      <a:lnTo>
                        <a:pt x="885402" y="2538"/>
                      </a:lnTo>
                      <a:lnTo>
                        <a:pt x="884795" y="1991"/>
                      </a:lnTo>
                      <a:lnTo>
                        <a:pt x="884055" y="1627"/>
                      </a:lnTo>
                      <a:lnTo>
                        <a:pt x="882621" y="911"/>
                      </a:lnTo>
                      <a:lnTo>
                        <a:pt x="881589" y="401"/>
                      </a:lnTo>
                      <a:lnTo>
                        <a:pt x="880448" y="291"/>
                      </a:lnTo>
                      <a:lnTo>
                        <a:pt x="878554" y="122"/>
                      </a:lnTo>
                      <a:lnTo>
                        <a:pt x="877000" y="0"/>
                      </a:lnTo>
                      <a:lnTo>
                        <a:pt x="877000" y="0"/>
                      </a:lnTo>
                      <a:close/>
                      <a:moveTo>
                        <a:pt x="768174" y="533464"/>
                      </a:moveTo>
                      <a:lnTo>
                        <a:pt x="770287" y="532844"/>
                      </a:lnTo>
                      <a:lnTo>
                        <a:pt x="770967" y="532954"/>
                      </a:lnTo>
                      <a:lnTo>
                        <a:pt x="777694" y="535079"/>
                      </a:lnTo>
                      <a:lnTo>
                        <a:pt x="778034" y="535188"/>
                      </a:lnTo>
                      <a:lnTo>
                        <a:pt x="778387" y="535261"/>
                      </a:lnTo>
                      <a:lnTo>
                        <a:pt x="783681" y="536257"/>
                      </a:lnTo>
                      <a:lnTo>
                        <a:pt x="783219" y="548132"/>
                      </a:lnTo>
                      <a:lnTo>
                        <a:pt x="783195" y="548788"/>
                      </a:lnTo>
                      <a:lnTo>
                        <a:pt x="783316" y="549444"/>
                      </a:lnTo>
                      <a:lnTo>
                        <a:pt x="783511" y="550537"/>
                      </a:lnTo>
                      <a:lnTo>
                        <a:pt x="782855" y="551472"/>
                      </a:lnTo>
                      <a:lnTo>
                        <a:pt x="778836" y="552892"/>
                      </a:lnTo>
                      <a:lnTo>
                        <a:pt x="770506" y="555843"/>
                      </a:lnTo>
                      <a:lnTo>
                        <a:pt x="765770" y="557203"/>
                      </a:lnTo>
                      <a:lnTo>
                        <a:pt x="764677" y="557519"/>
                      </a:lnTo>
                      <a:lnTo>
                        <a:pt x="763766" y="558223"/>
                      </a:lnTo>
                      <a:lnTo>
                        <a:pt x="762224" y="559401"/>
                      </a:lnTo>
                      <a:lnTo>
                        <a:pt x="762054" y="559437"/>
                      </a:lnTo>
                      <a:lnTo>
                        <a:pt x="758278" y="560057"/>
                      </a:lnTo>
                      <a:lnTo>
                        <a:pt x="755837" y="556414"/>
                      </a:lnTo>
                      <a:lnTo>
                        <a:pt x="751405" y="564416"/>
                      </a:lnTo>
                      <a:lnTo>
                        <a:pt x="750907" y="564428"/>
                      </a:lnTo>
                      <a:lnTo>
                        <a:pt x="748442" y="564525"/>
                      </a:lnTo>
                      <a:lnTo>
                        <a:pt x="746281" y="564610"/>
                      </a:lnTo>
                      <a:lnTo>
                        <a:pt x="744653" y="566043"/>
                      </a:lnTo>
                      <a:lnTo>
                        <a:pt x="739384" y="570706"/>
                      </a:lnTo>
                      <a:lnTo>
                        <a:pt x="733591" y="568970"/>
                      </a:lnTo>
                      <a:lnTo>
                        <a:pt x="732838" y="568727"/>
                      </a:lnTo>
                      <a:lnTo>
                        <a:pt x="732061" y="568703"/>
                      </a:lnTo>
                      <a:lnTo>
                        <a:pt x="729536" y="568617"/>
                      </a:lnTo>
                      <a:lnTo>
                        <a:pt x="727653" y="568557"/>
                      </a:lnTo>
                      <a:lnTo>
                        <a:pt x="727362" y="566116"/>
                      </a:lnTo>
                      <a:lnTo>
                        <a:pt x="729281" y="562837"/>
                      </a:lnTo>
                      <a:lnTo>
                        <a:pt x="733421" y="558417"/>
                      </a:lnTo>
                      <a:lnTo>
                        <a:pt x="736712" y="555612"/>
                      </a:lnTo>
                      <a:lnTo>
                        <a:pt x="737683" y="555054"/>
                      </a:lnTo>
                      <a:lnTo>
                        <a:pt x="739068" y="554531"/>
                      </a:lnTo>
                      <a:lnTo>
                        <a:pt x="740768" y="554192"/>
                      </a:lnTo>
                      <a:lnTo>
                        <a:pt x="743293" y="554022"/>
                      </a:lnTo>
                      <a:lnTo>
                        <a:pt x="745285" y="553888"/>
                      </a:lnTo>
                      <a:lnTo>
                        <a:pt x="746803" y="552613"/>
                      </a:lnTo>
                      <a:lnTo>
                        <a:pt x="757076" y="543992"/>
                      </a:lnTo>
                      <a:lnTo>
                        <a:pt x="757331" y="543785"/>
                      </a:lnTo>
                      <a:lnTo>
                        <a:pt x="757562" y="543542"/>
                      </a:lnTo>
                      <a:lnTo>
                        <a:pt x="765066" y="535746"/>
                      </a:lnTo>
                      <a:lnTo>
                        <a:pt x="768174" y="533464"/>
                      </a:lnTo>
                      <a:lnTo>
                        <a:pt x="768174" y="533464"/>
                      </a:lnTo>
                      <a:close/>
                    </a:path>
                  </a:pathLst>
                </a:custGeom>
                <a:solidFill>
                  <a:srgbClr val="FFFFFF"/>
                </a:solidFill>
                <a:ln w="12138" cap="flat">
                  <a:noFill/>
                  <a:prstDash val="solid"/>
                  <a:miter/>
                </a:ln>
              </p:spPr>
              <p:txBody>
                <a:bodyPr rtlCol="0" anchor="ctr"/>
                <a:lstStyle/>
                <a:p>
                  <a:endParaRPr lang="en-US"/>
                </a:p>
              </p:txBody>
            </p:sp>
          </p:grpSp>
          <p:grpSp>
            <p:nvGrpSpPr>
              <p:cNvPr id="256" name="Graphic 280">
                <a:extLst>
                  <a:ext uri="{FF2B5EF4-FFF2-40B4-BE49-F238E27FC236}">
                    <a16:creationId xmlns:a16="http://schemas.microsoft.com/office/drawing/2014/main" id="{FFE9AC11-60CB-4776-BC38-478E9753B88E}"/>
                  </a:ext>
                </a:extLst>
              </p:cNvPr>
              <p:cNvGrpSpPr/>
              <p:nvPr/>
            </p:nvGrpSpPr>
            <p:grpSpPr>
              <a:xfrm>
                <a:off x="4610032" y="5524715"/>
                <a:ext cx="491582" cy="866556"/>
                <a:chOff x="4610032" y="5524715"/>
                <a:chExt cx="491582" cy="866556"/>
              </a:xfrm>
            </p:grpSpPr>
            <p:sp>
              <p:nvSpPr>
                <p:cNvPr id="326" name="Freeform: Shape 325">
                  <a:extLst>
                    <a:ext uri="{FF2B5EF4-FFF2-40B4-BE49-F238E27FC236}">
                      <a16:creationId xmlns:a16="http://schemas.microsoft.com/office/drawing/2014/main" id="{5EB3FDC6-034D-4B82-9BB7-4C28B1B931A0}"/>
                    </a:ext>
                  </a:extLst>
                </p:cNvPr>
                <p:cNvSpPr/>
                <p:nvPr/>
              </p:nvSpPr>
              <p:spPr>
                <a:xfrm>
                  <a:off x="4613917" y="5527763"/>
                  <a:ext cx="484709" cy="859307"/>
                </a:xfrm>
                <a:custGeom>
                  <a:avLst/>
                  <a:gdLst>
                    <a:gd name="connsiteX0" fmla="*/ 403328 w 484709"/>
                    <a:gd name="connsiteY0" fmla="*/ 842222 h 859307"/>
                    <a:gd name="connsiteX1" fmla="*/ 396601 w 484709"/>
                    <a:gd name="connsiteY1" fmla="*/ 834887 h 859307"/>
                    <a:gd name="connsiteX2" fmla="*/ 380924 w 484709"/>
                    <a:gd name="connsiteY2" fmla="*/ 812678 h 859307"/>
                    <a:gd name="connsiteX3" fmla="*/ 370736 w 484709"/>
                    <a:gd name="connsiteY3" fmla="*/ 803425 h 859307"/>
                    <a:gd name="connsiteX4" fmla="*/ 368113 w 484709"/>
                    <a:gd name="connsiteY4" fmla="*/ 796844 h 859307"/>
                    <a:gd name="connsiteX5" fmla="*/ 355132 w 484709"/>
                    <a:gd name="connsiteY5" fmla="*/ 781957 h 859307"/>
                    <a:gd name="connsiteX6" fmla="*/ 353007 w 484709"/>
                    <a:gd name="connsiteY6" fmla="*/ 777403 h 859307"/>
                    <a:gd name="connsiteX7" fmla="*/ 346754 w 484709"/>
                    <a:gd name="connsiteY7" fmla="*/ 771793 h 859307"/>
                    <a:gd name="connsiteX8" fmla="*/ 339553 w 484709"/>
                    <a:gd name="connsiteY8" fmla="*/ 759747 h 859307"/>
                    <a:gd name="connsiteX9" fmla="*/ 336833 w 484709"/>
                    <a:gd name="connsiteY9" fmla="*/ 756480 h 859307"/>
                    <a:gd name="connsiteX10" fmla="*/ 321096 w 484709"/>
                    <a:gd name="connsiteY10" fmla="*/ 743342 h 859307"/>
                    <a:gd name="connsiteX11" fmla="*/ 317003 w 484709"/>
                    <a:gd name="connsiteY11" fmla="*/ 737295 h 859307"/>
                    <a:gd name="connsiteX12" fmla="*/ 317890 w 484709"/>
                    <a:gd name="connsiteY12" fmla="*/ 734696 h 859307"/>
                    <a:gd name="connsiteX13" fmla="*/ 314903 w 484709"/>
                    <a:gd name="connsiteY13" fmla="*/ 732292 h 859307"/>
                    <a:gd name="connsiteX14" fmla="*/ 313349 w 484709"/>
                    <a:gd name="connsiteY14" fmla="*/ 728977 h 859307"/>
                    <a:gd name="connsiteX15" fmla="*/ 312450 w 484709"/>
                    <a:gd name="connsiteY15" fmla="*/ 725297 h 859307"/>
                    <a:gd name="connsiteX16" fmla="*/ 312207 w 484709"/>
                    <a:gd name="connsiteY16" fmla="*/ 722335 h 859307"/>
                    <a:gd name="connsiteX17" fmla="*/ 311734 w 484709"/>
                    <a:gd name="connsiteY17" fmla="*/ 720708 h 859307"/>
                    <a:gd name="connsiteX18" fmla="*/ 309609 w 484709"/>
                    <a:gd name="connsiteY18" fmla="*/ 717817 h 859307"/>
                    <a:gd name="connsiteX19" fmla="*/ 307192 w 484709"/>
                    <a:gd name="connsiteY19" fmla="*/ 710787 h 859307"/>
                    <a:gd name="connsiteX20" fmla="*/ 301594 w 484709"/>
                    <a:gd name="connsiteY20" fmla="*/ 699190 h 859307"/>
                    <a:gd name="connsiteX21" fmla="*/ 301849 w 484709"/>
                    <a:gd name="connsiteY21" fmla="*/ 695936 h 859307"/>
                    <a:gd name="connsiteX22" fmla="*/ 300514 w 484709"/>
                    <a:gd name="connsiteY22" fmla="*/ 695936 h 859307"/>
                    <a:gd name="connsiteX23" fmla="*/ 298510 w 484709"/>
                    <a:gd name="connsiteY23" fmla="*/ 694127 h 859307"/>
                    <a:gd name="connsiteX24" fmla="*/ 283586 w 484709"/>
                    <a:gd name="connsiteY24" fmla="*/ 660090 h 859307"/>
                    <a:gd name="connsiteX25" fmla="*/ 273872 w 484709"/>
                    <a:gd name="connsiteY25" fmla="*/ 627996 h 859307"/>
                    <a:gd name="connsiteX26" fmla="*/ 269865 w 484709"/>
                    <a:gd name="connsiteY26" fmla="*/ 601002 h 859307"/>
                    <a:gd name="connsiteX27" fmla="*/ 271067 w 484709"/>
                    <a:gd name="connsiteY27" fmla="*/ 595089 h 859307"/>
                    <a:gd name="connsiteX28" fmla="*/ 267327 w 484709"/>
                    <a:gd name="connsiteY28" fmla="*/ 567646 h 859307"/>
                    <a:gd name="connsiteX29" fmla="*/ 262907 w 484709"/>
                    <a:gd name="connsiteY29" fmla="*/ 554082 h 859307"/>
                    <a:gd name="connsiteX30" fmla="*/ 261668 w 484709"/>
                    <a:gd name="connsiteY30" fmla="*/ 552321 h 859307"/>
                    <a:gd name="connsiteX31" fmla="*/ 260381 w 484709"/>
                    <a:gd name="connsiteY31" fmla="*/ 542996 h 859307"/>
                    <a:gd name="connsiteX32" fmla="*/ 259118 w 484709"/>
                    <a:gd name="connsiteY32" fmla="*/ 538843 h 859307"/>
                    <a:gd name="connsiteX33" fmla="*/ 262591 w 484709"/>
                    <a:gd name="connsiteY33" fmla="*/ 536414 h 859307"/>
                    <a:gd name="connsiteX34" fmla="*/ 259118 w 484709"/>
                    <a:gd name="connsiteY34" fmla="*/ 533427 h 859307"/>
                    <a:gd name="connsiteX35" fmla="*/ 255900 w 484709"/>
                    <a:gd name="connsiteY35" fmla="*/ 527926 h 859307"/>
                    <a:gd name="connsiteX36" fmla="*/ 249707 w 484709"/>
                    <a:gd name="connsiteY36" fmla="*/ 512238 h 859307"/>
                    <a:gd name="connsiteX37" fmla="*/ 249270 w 484709"/>
                    <a:gd name="connsiteY37" fmla="*/ 508388 h 859307"/>
                    <a:gd name="connsiteX38" fmla="*/ 250035 w 484709"/>
                    <a:gd name="connsiteY38" fmla="*/ 504782 h 859307"/>
                    <a:gd name="connsiteX39" fmla="*/ 248566 w 484709"/>
                    <a:gd name="connsiteY39" fmla="*/ 502632 h 859307"/>
                    <a:gd name="connsiteX40" fmla="*/ 248566 w 484709"/>
                    <a:gd name="connsiteY40" fmla="*/ 497059 h 859307"/>
                    <a:gd name="connsiteX41" fmla="*/ 248493 w 484709"/>
                    <a:gd name="connsiteY41" fmla="*/ 497034 h 859307"/>
                    <a:gd name="connsiteX42" fmla="*/ 246028 w 484709"/>
                    <a:gd name="connsiteY42" fmla="*/ 493950 h 859307"/>
                    <a:gd name="connsiteX43" fmla="*/ 244328 w 484709"/>
                    <a:gd name="connsiteY43" fmla="*/ 490817 h 859307"/>
                    <a:gd name="connsiteX44" fmla="*/ 241353 w 484709"/>
                    <a:gd name="connsiteY44" fmla="*/ 482706 h 859307"/>
                    <a:gd name="connsiteX45" fmla="*/ 237965 w 484709"/>
                    <a:gd name="connsiteY45" fmla="*/ 466629 h 859307"/>
                    <a:gd name="connsiteX46" fmla="*/ 235367 w 484709"/>
                    <a:gd name="connsiteY46" fmla="*/ 459234 h 859307"/>
                    <a:gd name="connsiteX47" fmla="*/ 229016 w 484709"/>
                    <a:gd name="connsiteY47" fmla="*/ 450916 h 859307"/>
                    <a:gd name="connsiteX48" fmla="*/ 227619 w 484709"/>
                    <a:gd name="connsiteY48" fmla="*/ 446714 h 859307"/>
                    <a:gd name="connsiteX49" fmla="*/ 227170 w 484709"/>
                    <a:gd name="connsiteY49" fmla="*/ 442319 h 859307"/>
                    <a:gd name="connsiteX50" fmla="*/ 225179 w 484709"/>
                    <a:gd name="connsiteY50" fmla="*/ 434450 h 859307"/>
                    <a:gd name="connsiteX51" fmla="*/ 223964 w 484709"/>
                    <a:gd name="connsiteY51" fmla="*/ 432155 h 859307"/>
                    <a:gd name="connsiteX52" fmla="*/ 219726 w 484709"/>
                    <a:gd name="connsiteY52" fmla="*/ 428475 h 859307"/>
                    <a:gd name="connsiteX53" fmla="*/ 216970 w 484709"/>
                    <a:gd name="connsiteY53" fmla="*/ 424991 h 859307"/>
                    <a:gd name="connsiteX54" fmla="*/ 215270 w 484709"/>
                    <a:gd name="connsiteY54" fmla="*/ 417013 h 859307"/>
                    <a:gd name="connsiteX55" fmla="*/ 204147 w 484709"/>
                    <a:gd name="connsiteY55" fmla="*/ 394852 h 859307"/>
                    <a:gd name="connsiteX56" fmla="*/ 203103 w 484709"/>
                    <a:gd name="connsiteY56" fmla="*/ 390760 h 859307"/>
                    <a:gd name="connsiteX57" fmla="*/ 202726 w 484709"/>
                    <a:gd name="connsiteY57" fmla="*/ 389922 h 859307"/>
                    <a:gd name="connsiteX58" fmla="*/ 202144 w 484709"/>
                    <a:gd name="connsiteY58" fmla="*/ 389339 h 859307"/>
                    <a:gd name="connsiteX59" fmla="*/ 200674 w 484709"/>
                    <a:gd name="connsiteY59" fmla="*/ 386983 h 859307"/>
                    <a:gd name="connsiteX60" fmla="*/ 200371 w 484709"/>
                    <a:gd name="connsiteY60" fmla="*/ 383365 h 859307"/>
                    <a:gd name="connsiteX61" fmla="*/ 201148 w 484709"/>
                    <a:gd name="connsiteY61" fmla="*/ 382065 h 859307"/>
                    <a:gd name="connsiteX62" fmla="*/ 201852 w 484709"/>
                    <a:gd name="connsiteY62" fmla="*/ 381154 h 859307"/>
                    <a:gd name="connsiteX63" fmla="*/ 199290 w 484709"/>
                    <a:gd name="connsiteY63" fmla="*/ 380049 h 859307"/>
                    <a:gd name="connsiteX64" fmla="*/ 195671 w 484709"/>
                    <a:gd name="connsiteY64" fmla="*/ 371197 h 859307"/>
                    <a:gd name="connsiteX65" fmla="*/ 192793 w 484709"/>
                    <a:gd name="connsiteY65" fmla="*/ 354816 h 859307"/>
                    <a:gd name="connsiteX66" fmla="*/ 184026 w 484709"/>
                    <a:gd name="connsiteY66" fmla="*/ 323779 h 859307"/>
                    <a:gd name="connsiteX67" fmla="*/ 167257 w 484709"/>
                    <a:gd name="connsiteY67" fmla="*/ 283817 h 859307"/>
                    <a:gd name="connsiteX68" fmla="*/ 166419 w 484709"/>
                    <a:gd name="connsiteY68" fmla="*/ 282311 h 859307"/>
                    <a:gd name="connsiteX69" fmla="*/ 165860 w 484709"/>
                    <a:gd name="connsiteY69" fmla="*/ 281558 h 859307"/>
                    <a:gd name="connsiteX70" fmla="*/ 165010 w 484709"/>
                    <a:gd name="connsiteY70" fmla="*/ 279700 h 859307"/>
                    <a:gd name="connsiteX71" fmla="*/ 164209 w 484709"/>
                    <a:gd name="connsiteY71" fmla="*/ 274855 h 859307"/>
                    <a:gd name="connsiteX72" fmla="*/ 164500 w 484709"/>
                    <a:gd name="connsiteY72" fmla="*/ 274649 h 859307"/>
                    <a:gd name="connsiteX73" fmla="*/ 161695 w 484709"/>
                    <a:gd name="connsiteY73" fmla="*/ 270860 h 859307"/>
                    <a:gd name="connsiteX74" fmla="*/ 158308 w 484709"/>
                    <a:gd name="connsiteY74" fmla="*/ 262967 h 859307"/>
                    <a:gd name="connsiteX75" fmla="*/ 155102 w 484709"/>
                    <a:gd name="connsiteY75" fmla="*/ 257624 h 859307"/>
                    <a:gd name="connsiteX76" fmla="*/ 153778 w 484709"/>
                    <a:gd name="connsiteY76" fmla="*/ 256349 h 859307"/>
                    <a:gd name="connsiteX77" fmla="*/ 151653 w 484709"/>
                    <a:gd name="connsiteY77" fmla="*/ 255596 h 859307"/>
                    <a:gd name="connsiteX78" fmla="*/ 148787 w 484709"/>
                    <a:gd name="connsiteY78" fmla="*/ 255596 h 859307"/>
                    <a:gd name="connsiteX79" fmla="*/ 144367 w 484709"/>
                    <a:gd name="connsiteY79" fmla="*/ 254176 h 859307"/>
                    <a:gd name="connsiteX80" fmla="*/ 141987 w 484709"/>
                    <a:gd name="connsiteY80" fmla="*/ 250569 h 859307"/>
                    <a:gd name="connsiteX81" fmla="*/ 141429 w 484709"/>
                    <a:gd name="connsiteY81" fmla="*/ 245992 h 859307"/>
                    <a:gd name="connsiteX82" fmla="*/ 140494 w 484709"/>
                    <a:gd name="connsiteY82" fmla="*/ 243041 h 859307"/>
                    <a:gd name="connsiteX83" fmla="*/ 136560 w 484709"/>
                    <a:gd name="connsiteY83" fmla="*/ 237759 h 859307"/>
                    <a:gd name="connsiteX84" fmla="*/ 137300 w 484709"/>
                    <a:gd name="connsiteY84" fmla="*/ 234820 h 859307"/>
                    <a:gd name="connsiteX85" fmla="*/ 127440 w 484709"/>
                    <a:gd name="connsiteY85" fmla="*/ 210971 h 859307"/>
                    <a:gd name="connsiteX86" fmla="*/ 123190 w 484709"/>
                    <a:gd name="connsiteY86" fmla="*/ 205216 h 859307"/>
                    <a:gd name="connsiteX87" fmla="*/ 100616 w 484709"/>
                    <a:gd name="connsiteY87" fmla="*/ 180310 h 859307"/>
                    <a:gd name="connsiteX88" fmla="*/ 98674 w 484709"/>
                    <a:gd name="connsiteY88" fmla="*/ 181415 h 859307"/>
                    <a:gd name="connsiteX89" fmla="*/ 96609 w 484709"/>
                    <a:gd name="connsiteY89" fmla="*/ 182314 h 859307"/>
                    <a:gd name="connsiteX90" fmla="*/ 94727 w 484709"/>
                    <a:gd name="connsiteY90" fmla="*/ 180092 h 859307"/>
                    <a:gd name="connsiteX91" fmla="*/ 93914 w 484709"/>
                    <a:gd name="connsiteY91" fmla="*/ 178720 h 859307"/>
                    <a:gd name="connsiteX92" fmla="*/ 93537 w 484709"/>
                    <a:gd name="connsiteY92" fmla="*/ 177420 h 859307"/>
                    <a:gd name="connsiteX93" fmla="*/ 89348 w 484709"/>
                    <a:gd name="connsiteY93" fmla="*/ 172794 h 859307"/>
                    <a:gd name="connsiteX94" fmla="*/ 83847 w 484709"/>
                    <a:gd name="connsiteY94" fmla="*/ 162229 h 859307"/>
                    <a:gd name="connsiteX95" fmla="*/ 87174 w 484709"/>
                    <a:gd name="connsiteY95" fmla="*/ 161586 h 859307"/>
                    <a:gd name="connsiteX96" fmla="*/ 85559 w 484709"/>
                    <a:gd name="connsiteY96" fmla="*/ 160408 h 859307"/>
                    <a:gd name="connsiteX97" fmla="*/ 82778 w 484709"/>
                    <a:gd name="connsiteY97" fmla="*/ 157008 h 859307"/>
                    <a:gd name="connsiteX98" fmla="*/ 79706 w 484709"/>
                    <a:gd name="connsiteY98" fmla="*/ 151216 h 859307"/>
                    <a:gd name="connsiteX99" fmla="*/ 81309 w 484709"/>
                    <a:gd name="connsiteY99" fmla="*/ 146346 h 859307"/>
                    <a:gd name="connsiteX100" fmla="*/ 86980 w 484709"/>
                    <a:gd name="connsiteY100" fmla="*/ 146735 h 859307"/>
                    <a:gd name="connsiteX101" fmla="*/ 84879 w 484709"/>
                    <a:gd name="connsiteY101" fmla="*/ 144695 h 859307"/>
                    <a:gd name="connsiteX102" fmla="*/ 84733 w 484709"/>
                    <a:gd name="connsiteY102" fmla="*/ 142995 h 859307"/>
                    <a:gd name="connsiteX103" fmla="*/ 84964 w 484709"/>
                    <a:gd name="connsiteY103" fmla="*/ 140894 h 859307"/>
                    <a:gd name="connsiteX104" fmla="*/ 84114 w 484709"/>
                    <a:gd name="connsiteY104" fmla="*/ 138272 h 859307"/>
                    <a:gd name="connsiteX105" fmla="*/ 85972 w 484709"/>
                    <a:gd name="connsiteY105" fmla="*/ 132540 h 859307"/>
                    <a:gd name="connsiteX106" fmla="*/ 83908 w 484709"/>
                    <a:gd name="connsiteY106" fmla="*/ 135709 h 859307"/>
                    <a:gd name="connsiteX107" fmla="*/ 78480 w 484709"/>
                    <a:gd name="connsiteY107" fmla="*/ 134617 h 859307"/>
                    <a:gd name="connsiteX108" fmla="*/ 76173 w 484709"/>
                    <a:gd name="connsiteY108" fmla="*/ 134009 h 859307"/>
                    <a:gd name="connsiteX109" fmla="*/ 75529 w 484709"/>
                    <a:gd name="connsiteY109" fmla="*/ 134337 h 859307"/>
                    <a:gd name="connsiteX110" fmla="*/ 75347 w 484709"/>
                    <a:gd name="connsiteY110" fmla="*/ 144234 h 859307"/>
                    <a:gd name="connsiteX111" fmla="*/ 75456 w 484709"/>
                    <a:gd name="connsiteY111" fmla="*/ 149904 h 859307"/>
                    <a:gd name="connsiteX112" fmla="*/ 73271 w 484709"/>
                    <a:gd name="connsiteY112" fmla="*/ 150281 h 859307"/>
                    <a:gd name="connsiteX113" fmla="*/ 77921 w 484709"/>
                    <a:gd name="connsiteY113" fmla="*/ 161282 h 859307"/>
                    <a:gd name="connsiteX114" fmla="*/ 67758 w 484709"/>
                    <a:gd name="connsiteY114" fmla="*/ 152163 h 859307"/>
                    <a:gd name="connsiteX115" fmla="*/ 64418 w 484709"/>
                    <a:gd name="connsiteY115" fmla="*/ 149030 h 859307"/>
                    <a:gd name="connsiteX116" fmla="*/ 62803 w 484709"/>
                    <a:gd name="connsiteY116" fmla="*/ 144683 h 859307"/>
                    <a:gd name="connsiteX117" fmla="*/ 61553 w 484709"/>
                    <a:gd name="connsiteY117" fmla="*/ 137312 h 859307"/>
                    <a:gd name="connsiteX118" fmla="*/ 54874 w 484709"/>
                    <a:gd name="connsiteY118" fmla="*/ 122036 h 859307"/>
                    <a:gd name="connsiteX119" fmla="*/ 52117 w 484709"/>
                    <a:gd name="connsiteY119" fmla="*/ 112128 h 859307"/>
                    <a:gd name="connsiteX120" fmla="*/ 47078 w 484709"/>
                    <a:gd name="connsiteY120" fmla="*/ 117446 h 859307"/>
                    <a:gd name="connsiteX121" fmla="*/ 47552 w 484709"/>
                    <a:gd name="connsiteY121" fmla="*/ 106918 h 859307"/>
                    <a:gd name="connsiteX122" fmla="*/ 47333 w 484709"/>
                    <a:gd name="connsiteY122" fmla="*/ 104988 h 859307"/>
                    <a:gd name="connsiteX123" fmla="*/ 46265 w 484709"/>
                    <a:gd name="connsiteY123" fmla="*/ 101126 h 859307"/>
                    <a:gd name="connsiteX124" fmla="*/ 43423 w 484709"/>
                    <a:gd name="connsiteY124" fmla="*/ 94521 h 859307"/>
                    <a:gd name="connsiteX125" fmla="*/ 31535 w 484709"/>
                    <a:gd name="connsiteY125" fmla="*/ 74132 h 859307"/>
                    <a:gd name="connsiteX126" fmla="*/ 29872 w 484709"/>
                    <a:gd name="connsiteY126" fmla="*/ 69603 h 859307"/>
                    <a:gd name="connsiteX127" fmla="*/ 29641 w 484709"/>
                    <a:gd name="connsiteY127" fmla="*/ 68097 h 859307"/>
                    <a:gd name="connsiteX128" fmla="*/ 29313 w 484709"/>
                    <a:gd name="connsiteY128" fmla="*/ 67539 h 859307"/>
                    <a:gd name="connsiteX129" fmla="*/ 28730 w 484709"/>
                    <a:gd name="connsiteY129" fmla="*/ 67393 h 859307"/>
                    <a:gd name="connsiteX130" fmla="*/ 26520 w 484709"/>
                    <a:gd name="connsiteY130" fmla="*/ 65305 h 859307"/>
                    <a:gd name="connsiteX131" fmla="*/ 25695 w 484709"/>
                    <a:gd name="connsiteY131" fmla="*/ 62730 h 859307"/>
                    <a:gd name="connsiteX132" fmla="*/ 24966 w 484709"/>
                    <a:gd name="connsiteY132" fmla="*/ 58505 h 859307"/>
                    <a:gd name="connsiteX133" fmla="*/ 23654 w 484709"/>
                    <a:gd name="connsiteY133" fmla="*/ 56489 h 859307"/>
                    <a:gd name="connsiteX134" fmla="*/ 19793 w 484709"/>
                    <a:gd name="connsiteY134" fmla="*/ 51000 h 859307"/>
                    <a:gd name="connsiteX135" fmla="*/ 5294 w 484709"/>
                    <a:gd name="connsiteY135" fmla="*/ 14499 h 859307"/>
                    <a:gd name="connsiteX136" fmla="*/ 3667 w 484709"/>
                    <a:gd name="connsiteY136" fmla="*/ 11536 h 859307"/>
                    <a:gd name="connsiteX137" fmla="*/ 862 w 484709"/>
                    <a:gd name="connsiteY137" fmla="*/ 8354 h 859307"/>
                    <a:gd name="connsiteX138" fmla="*/ 0 w 484709"/>
                    <a:gd name="connsiteY138" fmla="*/ 4881 h 859307"/>
                    <a:gd name="connsiteX139" fmla="*/ 2453 w 484709"/>
                    <a:gd name="connsiteY139" fmla="*/ 2914 h 859307"/>
                    <a:gd name="connsiteX140" fmla="*/ 10661 w 484709"/>
                    <a:gd name="connsiteY140" fmla="*/ 364 h 859307"/>
                    <a:gd name="connsiteX141" fmla="*/ 15592 w 484709"/>
                    <a:gd name="connsiteY141" fmla="*/ 0 h 859307"/>
                    <a:gd name="connsiteX142" fmla="*/ 18639 w 484709"/>
                    <a:gd name="connsiteY142" fmla="*/ 364 h 859307"/>
                    <a:gd name="connsiteX143" fmla="*/ 20667 w 484709"/>
                    <a:gd name="connsiteY143" fmla="*/ 886 h 859307"/>
                    <a:gd name="connsiteX144" fmla="*/ 22464 w 484709"/>
                    <a:gd name="connsiteY144" fmla="*/ 1785 h 859307"/>
                    <a:gd name="connsiteX145" fmla="*/ 23132 w 484709"/>
                    <a:gd name="connsiteY145" fmla="*/ 2708 h 859307"/>
                    <a:gd name="connsiteX146" fmla="*/ 23739 w 484709"/>
                    <a:gd name="connsiteY146" fmla="*/ 3801 h 859307"/>
                    <a:gd name="connsiteX147" fmla="*/ 24177 w 484709"/>
                    <a:gd name="connsiteY147" fmla="*/ 5051 h 859307"/>
                    <a:gd name="connsiteX148" fmla="*/ 24432 w 484709"/>
                    <a:gd name="connsiteY148" fmla="*/ 6108 h 859307"/>
                    <a:gd name="connsiteX149" fmla="*/ 24881 w 484709"/>
                    <a:gd name="connsiteY149" fmla="*/ 9301 h 859307"/>
                    <a:gd name="connsiteX150" fmla="*/ 25172 w 484709"/>
                    <a:gd name="connsiteY150" fmla="*/ 10127 h 859307"/>
                    <a:gd name="connsiteX151" fmla="*/ 25549 w 484709"/>
                    <a:gd name="connsiteY151" fmla="*/ 10625 h 859307"/>
                    <a:gd name="connsiteX152" fmla="*/ 26265 w 484709"/>
                    <a:gd name="connsiteY152" fmla="*/ 11244 h 859307"/>
                    <a:gd name="connsiteX153" fmla="*/ 30005 w 484709"/>
                    <a:gd name="connsiteY153" fmla="*/ 11438 h 859307"/>
                    <a:gd name="connsiteX154" fmla="*/ 31183 w 484709"/>
                    <a:gd name="connsiteY154" fmla="*/ 11706 h 859307"/>
                    <a:gd name="connsiteX155" fmla="*/ 32434 w 484709"/>
                    <a:gd name="connsiteY155" fmla="*/ 12325 h 859307"/>
                    <a:gd name="connsiteX156" fmla="*/ 34255 w 484709"/>
                    <a:gd name="connsiteY156" fmla="*/ 14304 h 859307"/>
                    <a:gd name="connsiteX157" fmla="*/ 34352 w 484709"/>
                    <a:gd name="connsiteY157" fmla="*/ 14681 h 859307"/>
                    <a:gd name="connsiteX158" fmla="*/ 34462 w 484709"/>
                    <a:gd name="connsiteY158" fmla="*/ 16028 h 859307"/>
                    <a:gd name="connsiteX159" fmla="*/ 34097 w 484709"/>
                    <a:gd name="connsiteY159" fmla="*/ 17571 h 859307"/>
                    <a:gd name="connsiteX160" fmla="*/ 34765 w 484709"/>
                    <a:gd name="connsiteY160" fmla="*/ 17874 h 859307"/>
                    <a:gd name="connsiteX161" fmla="*/ 36344 w 484709"/>
                    <a:gd name="connsiteY161" fmla="*/ 16259 h 859307"/>
                    <a:gd name="connsiteX162" fmla="*/ 38955 w 484709"/>
                    <a:gd name="connsiteY162" fmla="*/ 14754 h 859307"/>
                    <a:gd name="connsiteX163" fmla="*/ 42112 w 484709"/>
                    <a:gd name="connsiteY163" fmla="*/ 14705 h 859307"/>
                    <a:gd name="connsiteX164" fmla="*/ 45208 w 484709"/>
                    <a:gd name="connsiteY164" fmla="*/ 15555 h 859307"/>
                    <a:gd name="connsiteX165" fmla="*/ 50005 w 484709"/>
                    <a:gd name="connsiteY165" fmla="*/ 18251 h 859307"/>
                    <a:gd name="connsiteX166" fmla="*/ 51875 w 484709"/>
                    <a:gd name="connsiteY166" fmla="*/ 19623 h 859307"/>
                    <a:gd name="connsiteX167" fmla="*/ 52725 w 484709"/>
                    <a:gd name="connsiteY167" fmla="*/ 21189 h 859307"/>
                    <a:gd name="connsiteX168" fmla="*/ 52834 w 484709"/>
                    <a:gd name="connsiteY168" fmla="*/ 22914 h 859307"/>
                    <a:gd name="connsiteX169" fmla="*/ 52543 w 484709"/>
                    <a:gd name="connsiteY169" fmla="*/ 24128 h 859307"/>
                    <a:gd name="connsiteX170" fmla="*/ 52020 w 484709"/>
                    <a:gd name="connsiteY170" fmla="*/ 25524 h 859307"/>
                    <a:gd name="connsiteX171" fmla="*/ 51923 w 484709"/>
                    <a:gd name="connsiteY171" fmla="*/ 27261 h 859307"/>
                    <a:gd name="connsiteX172" fmla="*/ 52652 w 484709"/>
                    <a:gd name="connsiteY172" fmla="*/ 28463 h 859307"/>
                    <a:gd name="connsiteX173" fmla="*/ 53186 w 484709"/>
                    <a:gd name="connsiteY173" fmla="*/ 29046 h 859307"/>
                    <a:gd name="connsiteX174" fmla="*/ 53720 w 484709"/>
                    <a:gd name="connsiteY174" fmla="*/ 28985 h 859307"/>
                    <a:gd name="connsiteX175" fmla="*/ 53975 w 484709"/>
                    <a:gd name="connsiteY175" fmla="*/ 28621 h 859307"/>
                    <a:gd name="connsiteX176" fmla="*/ 55991 w 484709"/>
                    <a:gd name="connsiteY176" fmla="*/ 27916 h 859307"/>
                    <a:gd name="connsiteX177" fmla="*/ 58869 w 484709"/>
                    <a:gd name="connsiteY177" fmla="*/ 27892 h 859307"/>
                    <a:gd name="connsiteX178" fmla="*/ 59755 w 484709"/>
                    <a:gd name="connsiteY178" fmla="*/ 27953 h 859307"/>
                    <a:gd name="connsiteX179" fmla="*/ 61613 w 484709"/>
                    <a:gd name="connsiteY179" fmla="*/ 29337 h 859307"/>
                    <a:gd name="connsiteX180" fmla="*/ 65074 w 484709"/>
                    <a:gd name="connsiteY180" fmla="*/ 34474 h 859307"/>
                    <a:gd name="connsiteX181" fmla="*/ 65341 w 484709"/>
                    <a:gd name="connsiteY181" fmla="*/ 34704 h 859307"/>
                    <a:gd name="connsiteX182" fmla="*/ 66106 w 484709"/>
                    <a:gd name="connsiteY182" fmla="*/ 34996 h 859307"/>
                    <a:gd name="connsiteX183" fmla="*/ 66483 w 484709"/>
                    <a:gd name="connsiteY183" fmla="*/ 34886 h 859307"/>
                    <a:gd name="connsiteX184" fmla="*/ 67357 w 484709"/>
                    <a:gd name="connsiteY184" fmla="*/ 34328 h 859307"/>
                    <a:gd name="connsiteX185" fmla="*/ 68255 w 484709"/>
                    <a:gd name="connsiteY185" fmla="*/ 33114 h 859307"/>
                    <a:gd name="connsiteX186" fmla="*/ 69081 w 484709"/>
                    <a:gd name="connsiteY186" fmla="*/ 32130 h 859307"/>
                    <a:gd name="connsiteX187" fmla="*/ 72736 w 484709"/>
                    <a:gd name="connsiteY187" fmla="*/ 31887 h 859307"/>
                    <a:gd name="connsiteX188" fmla="*/ 82244 w 484709"/>
                    <a:gd name="connsiteY188" fmla="*/ 34206 h 859307"/>
                    <a:gd name="connsiteX189" fmla="*/ 85207 w 484709"/>
                    <a:gd name="connsiteY189" fmla="*/ 34984 h 859307"/>
                    <a:gd name="connsiteX190" fmla="*/ 83094 w 484709"/>
                    <a:gd name="connsiteY190" fmla="*/ 42792 h 859307"/>
                    <a:gd name="connsiteX191" fmla="*/ 80034 w 484709"/>
                    <a:gd name="connsiteY191" fmla="*/ 46434 h 859307"/>
                    <a:gd name="connsiteX192" fmla="*/ 79973 w 484709"/>
                    <a:gd name="connsiteY192" fmla="*/ 46981 h 859307"/>
                    <a:gd name="connsiteX193" fmla="*/ 80423 w 484709"/>
                    <a:gd name="connsiteY193" fmla="*/ 47673 h 859307"/>
                    <a:gd name="connsiteX194" fmla="*/ 82463 w 484709"/>
                    <a:gd name="connsiteY194" fmla="*/ 49531 h 859307"/>
                    <a:gd name="connsiteX195" fmla="*/ 84163 w 484709"/>
                    <a:gd name="connsiteY195" fmla="*/ 52396 h 859307"/>
                    <a:gd name="connsiteX196" fmla="*/ 84903 w 484709"/>
                    <a:gd name="connsiteY196" fmla="*/ 53404 h 859307"/>
                    <a:gd name="connsiteX197" fmla="*/ 85474 w 484709"/>
                    <a:gd name="connsiteY197" fmla="*/ 53562 h 859307"/>
                    <a:gd name="connsiteX198" fmla="*/ 86191 w 484709"/>
                    <a:gd name="connsiteY198" fmla="*/ 54000 h 859307"/>
                    <a:gd name="connsiteX199" fmla="*/ 87502 w 484709"/>
                    <a:gd name="connsiteY199" fmla="*/ 54971 h 859307"/>
                    <a:gd name="connsiteX200" fmla="*/ 90173 w 484709"/>
                    <a:gd name="connsiteY200" fmla="*/ 58917 h 859307"/>
                    <a:gd name="connsiteX201" fmla="*/ 95286 w 484709"/>
                    <a:gd name="connsiteY201" fmla="*/ 57594 h 859307"/>
                    <a:gd name="connsiteX202" fmla="*/ 97301 w 484709"/>
                    <a:gd name="connsiteY202" fmla="*/ 57460 h 859307"/>
                    <a:gd name="connsiteX203" fmla="*/ 100471 w 484709"/>
                    <a:gd name="connsiteY203" fmla="*/ 58043 h 859307"/>
                    <a:gd name="connsiteX204" fmla="*/ 101661 w 484709"/>
                    <a:gd name="connsiteY204" fmla="*/ 59148 h 859307"/>
                    <a:gd name="connsiteX205" fmla="*/ 102426 w 484709"/>
                    <a:gd name="connsiteY205" fmla="*/ 60387 h 859307"/>
                    <a:gd name="connsiteX206" fmla="*/ 102790 w 484709"/>
                    <a:gd name="connsiteY206" fmla="*/ 61710 h 859307"/>
                    <a:gd name="connsiteX207" fmla="*/ 102802 w 484709"/>
                    <a:gd name="connsiteY207" fmla="*/ 63277 h 859307"/>
                    <a:gd name="connsiteX208" fmla="*/ 102608 w 484709"/>
                    <a:gd name="connsiteY208" fmla="*/ 64406 h 859307"/>
                    <a:gd name="connsiteX209" fmla="*/ 101964 w 484709"/>
                    <a:gd name="connsiteY209" fmla="*/ 66167 h 859307"/>
                    <a:gd name="connsiteX210" fmla="*/ 101139 w 484709"/>
                    <a:gd name="connsiteY210" fmla="*/ 67563 h 859307"/>
                    <a:gd name="connsiteX211" fmla="*/ 100131 w 484709"/>
                    <a:gd name="connsiteY211" fmla="*/ 68680 h 859307"/>
                    <a:gd name="connsiteX212" fmla="*/ 97605 w 484709"/>
                    <a:gd name="connsiteY212" fmla="*/ 70660 h 859307"/>
                    <a:gd name="connsiteX213" fmla="*/ 97338 w 484709"/>
                    <a:gd name="connsiteY213" fmla="*/ 71230 h 859307"/>
                    <a:gd name="connsiteX214" fmla="*/ 97277 w 484709"/>
                    <a:gd name="connsiteY214" fmla="*/ 72056 h 859307"/>
                    <a:gd name="connsiteX215" fmla="*/ 97459 w 484709"/>
                    <a:gd name="connsiteY215" fmla="*/ 74375 h 859307"/>
                    <a:gd name="connsiteX216" fmla="*/ 97714 w 484709"/>
                    <a:gd name="connsiteY216" fmla="*/ 75310 h 859307"/>
                    <a:gd name="connsiteX217" fmla="*/ 99985 w 484709"/>
                    <a:gd name="connsiteY217" fmla="*/ 77484 h 859307"/>
                    <a:gd name="connsiteX218" fmla="*/ 102426 w 484709"/>
                    <a:gd name="connsiteY218" fmla="*/ 81176 h 859307"/>
                    <a:gd name="connsiteX219" fmla="*/ 103931 w 484709"/>
                    <a:gd name="connsiteY219" fmla="*/ 85146 h 859307"/>
                    <a:gd name="connsiteX220" fmla="*/ 105255 w 484709"/>
                    <a:gd name="connsiteY220" fmla="*/ 91157 h 859307"/>
                    <a:gd name="connsiteX221" fmla="*/ 105923 w 484709"/>
                    <a:gd name="connsiteY221" fmla="*/ 93197 h 859307"/>
                    <a:gd name="connsiteX222" fmla="*/ 106214 w 484709"/>
                    <a:gd name="connsiteY222" fmla="*/ 93719 h 859307"/>
                    <a:gd name="connsiteX223" fmla="*/ 106518 w 484709"/>
                    <a:gd name="connsiteY223" fmla="*/ 92930 h 859307"/>
                    <a:gd name="connsiteX224" fmla="*/ 108060 w 484709"/>
                    <a:gd name="connsiteY224" fmla="*/ 92687 h 859307"/>
                    <a:gd name="connsiteX225" fmla="*/ 109335 w 484709"/>
                    <a:gd name="connsiteY225" fmla="*/ 92687 h 859307"/>
                    <a:gd name="connsiteX226" fmla="*/ 112079 w 484709"/>
                    <a:gd name="connsiteY226" fmla="*/ 93172 h 859307"/>
                    <a:gd name="connsiteX227" fmla="*/ 115576 w 484709"/>
                    <a:gd name="connsiteY227" fmla="*/ 96342 h 859307"/>
                    <a:gd name="connsiteX228" fmla="*/ 133633 w 484709"/>
                    <a:gd name="connsiteY228" fmla="*/ 117422 h 859307"/>
                    <a:gd name="connsiteX229" fmla="*/ 135819 w 484709"/>
                    <a:gd name="connsiteY229" fmla="*/ 119292 h 859307"/>
                    <a:gd name="connsiteX230" fmla="*/ 140712 w 484709"/>
                    <a:gd name="connsiteY230" fmla="*/ 120555 h 859307"/>
                    <a:gd name="connsiteX231" fmla="*/ 143153 w 484709"/>
                    <a:gd name="connsiteY231" fmla="*/ 121514 h 859307"/>
                    <a:gd name="connsiteX232" fmla="*/ 145995 w 484709"/>
                    <a:gd name="connsiteY232" fmla="*/ 123263 h 859307"/>
                    <a:gd name="connsiteX233" fmla="*/ 147901 w 484709"/>
                    <a:gd name="connsiteY233" fmla="*/ 125206 h 859307"/>
                    <a:gd name="connsiteX234" fmla="*/ 149249 w 484709"/>
                    <a:gd name="connsiteY234" fmla="*/ 127185 h 859307"/>
                    <a:gd name="connsiteX235" fmla="*/ 150439 w 484709"/>
                    <a:gd name="connsiteY235" fmla="*/ 129468 h 859307"/>
                    <a:gd name="connsiteX236" fmla="*/ 152576 w 484709"/>
                    <a:gd name="connsiteY236" fmla="*/ 128994 h 859307"/>
                    <a:gd name="connsiteX237" fmla="*/ 155248 w 484709"/>
                    <a:gd name="connsiteY237" fmla="*/ 129019 h 859307"/>
                    <a:gd name="connsiteX238" fmla="*/ 157931 w 484709"/>
                    <a:gd name="connsiteY238" fmla="*/ 130039 h 859307"/>
                    <a:gd name="connsiteX239" fmla="*/ 162667 w 484709"/>
                    <a:gd name="connsiteY239" fmla="*/ 133487 h 859307"/>
                    <a:gd name="connsiteX240" fmla="*/ 163857 w 484709"/>
                    <a:gd name="connsiteY240" fmla="*/ 134179 h 859307"/>
                    <a:gd name="connsiteX241" fmla="*/ 164731 w 484709"/>
                    <a:gd name="connsiteY241" fmla="*/ 134398 h 859307"/>
                    <a:gd name="connsiteX242" fmla="*/ 165435 w 484709"/>
                    <a:gd name="connsiteY242" fmla="*/ 134398 h 859307"/>
                    <a:gd name="connsiteX243" fmla="*/ 167415 w 484709"/>
                    <a:gd name="connsiteY243" fmla="*/ 134058 h 859307"/>
                    <a:gd name="connsiteX244" fmla="*/ 168714 w 484709"/>
                    <a:gd name="connsiteY244" fmla="*/ 134021 h 859307"/>
                    <a:gd name="connsiteX245" fmla="*/ 170608 w 484709"/>
                    <a:gd name="connsiteY245" fmla="*/ 134179 h 859307"/>
                    <a:gd name="connsiteX246" fmla="*/ 173814 w 484709"/>
                    <a:gd name="connsiteY246" fmla="*/ 135041 h 859307"/>
                    <a:gd name="connsiteX247" fmla="*/ 175903 w 484709"/>
                    <a:gd name="connsiteY247" fmla="*/ 136462 h 859307"/>
                    <a:gd name="connsiteX248" fmla="*/ 176983 w 484709"/>
                    <a:gd name="connsiteY248" fmla="*/ 139158 h 859307"/>
                    <a:gd name="connsiteX249" fmla="*/ 177930 w 484709"/>
                    <a:gd name="connsiteY249" fmla="*/ 145958 h 859307"/>
                    <a:gd name="connsiteX250" fmla="*/ 179096 w 484709"/>
                    <a:gd name="connsiteY250" fmla="*/ 148496 h 859307"/>
                    <a:gd name="connsiteX251" fmla="*/ 180043 w 484709"/>
                    <a:gd name="connsiteY251" fmla="*/ 149844 h 859307"/>
                    <a:gd name="connsiteX252" fmla="*/ 182557 w 484709"/>
                    <a:gd name="connsiteY252" fmla="*/ 152722 h 859307"/>
                    <a:gd name="connsiteX253" fmla="*/ 185641 w 484709"/>
                    <a:gd name="connsiteY253" fmla="*/ 155502 h 859307"/>
                    <a:gd name="connsiteX254" fmla="*/ 188131 w 484709"/>
                    <a:gd name="connsiteY254" fmla="*/ 156971 h 859307"/>
                    <a:gd name="connsiteX255" fmla="*/ 190620 w 484709"/>
                    <a:gd name="connsiteY255" fmla="*/ 158040 h 859307"/>
                    <a:gd name="connsiteX256" fmla="*/ 193498 w 484709"/>
                    <a:gd name="connsiteY256" fmla="*/ 158817 h 859307"/>
                    <a:gd name="connsiteX257" fmla="*/ 196813 w 484709"/>
                    <a:gd name="connsiteY257" fmla="*/ 159376 h 859307"/>
                    <a:gd name="connsiteX258" fmla="*/ 200480 w 484709"/>
                    <a:gd name="connsiteY258" fmla="*/ 159412 h 859307"/>
                    <a:gd name="connsiteX259" fmla="*/ 211615 w 484709"/>
                    <a:gd name="connsiteY259" fmla="*/ 162156 h 859307"/>
                    <a:gd name="connsiteX260" fmla="*/ 214031 w 484709"/>
                    <a:gd name="connsiteY260" fmla="*/ 161768 h 859307"/>
                    <a:gd name="connsiteX261" fmla="*/ 220637 w 484709"/>
                    <a:gd name="connsiteY261" fmla="*/ 158065 h 859307"/>
                    <a:gd name="connsiteX262" fmla="*/ 227717 w 484709"/>
                    <a:gd name="connsiteY262" fmla="*/ 155539 h 859307"/>
                    <a:gd name="connsiteX263" fmla="*/ 232659 w 484709"/>
                    <a:gd name="connsiteY263" fmla="*/ 155514 h 859307"/>
                    <a:gd name="connsiteX264" fmla="*/ 235755 w 484709"/>
                    <a:gd name="connsiteY264" fmla="*/ 157202 h 859307"/>
                    <a:gd name="connsiteX265" fmla="*/ 236799 w 484709"/>
                    <a:gd name="connsiteY265" fmla="*/ 159947 h 859307"/>
                    <a:gd name="connsiteX266" fmla="*/ 237103 w 484709"/>
                    <a:gd name="connsiteY266" fmla="*/ 165411 h 859307"/>
                    <a:gd name="connsiteX267" fmla="*/ 236338 w 484709"/>
                    <a:gd name="connsiteY267" fmla="*/ 172794 h 859307"/>
                    <a:gd name="connsiteX268" fmla="*/ 236629 w 484709"/>
                    <a:gd name="connsiteY268" fmla="*/ 174093 h 859307"/>
                    <a:gd name="connsiteX269" fmla="*/ 237115 w 484709"/>
                    <a:gd name="connsiteY269" fmla="*/ 174530 h 859307"/>
                    <a:gd name="connsiteX270" fmla="*/ 238779 w 484709"/>
                    <a:gd name="connsiteY270" fmla="*/ 175781 h 859307"/>
                    <a:gd name="connsiteX271" fmla="*/ 239762 w 484709"/>
                    <a:gd name="connsiteY271" fmla="*/ 175223 h 859307"/>
                    <a:gd name="connsiteX272" fmla="*/ 241377 w 484709"/>
                    <a:gd name="connsiteY272" fmla="*/ 174470 h 859307"/>
                    <a:gd name="connsiteX273" fmla="*/ 243575 w 484709"/>
                    <a:gd name="connsiteY273" fmla="*/ 173838 h 859307"/>
                    <a:gd name="connsiteX274" fmla="*/ 247473 w 484709"/>
                    <a:gd name="connsiteY274" fmla="*/ 173850 h 859307"/>
                    <a:gd name="connsiteX275" fmla="*/ 250545 w 484709"/>
                    <a:gd name="connsiteY275" fmla="*/ 174749 h 859307"/>
                    <a:gd name="connsiteX276" fmla="*/ 252950 w 484709"/>
                    <a:gd name="connsiteY276" fmla="*/ 176060 h 859307"/>
                    <a:gd name="connsiteX277" fmla="*/ 255172 w 484709"/>
                    <a:gd name="connsiteY277" fmla="*/ 178185 h 859307"/>
                    <a:gd name="connsiteX278" fmla="*/ 256471 w 484709"/>
                    <a:gd name="connsiteY278" fmla="*/ 180007 h 859307"/>
                    <a:gd name="connsiteX279" fmla="*/ 258535 w 484709"/>
                    <a:gd name="connsiteY279" fmla="*/ 183795 h 859307"/>
                    <a:gd name="connsiteX280" fmla="*/ 259264 w 484709"/>
                    <a:gd name="connsiteY280" fmla="*/ 184900 h 859307"/>
                    <a:gd name="connsiteX281" fmla="*/ 259798 w 484709"/>
                    <a:gd name="connsiteY281" fmla="*/ 185507 h 859307"/>
                    <a:gd name="connsiteX282" fmla="*/ 260891 w 484709"/>
                    <a:gd name="connsiteY282" fmla="*/ 185082 h 859307"/>
                    <a:gd name="connsiteX283" fmla="*/ 262834 w 484709"/>
                    <a:gd name="connsiteY283" fmla="*/ 184585 h 859307"/>
                    <a:gd name="connsiteX284" fmla="*/ 266113 w 484709"/>
                    <a:gd name="connsiteY284" fmla="*/ 184609 h 859307"/>
                    <a:gd name="connsiteX285" fmla="*/ 268213 w 484709"/>
                    <a:gd name="connsiteY285" fmla="*/ 185690 h 859307"/>
                    <a:gd name="connsiteX286" fmla="*/ 270217 w 484709"/>
                    <a:gd name="connsiteY286" fmla="*/ 187402 h 859307"/>
                    <a:gd name="connsiteX287" fmla="*/ 274819 w 484709"/>
                    <a:gd name="connsiteY287" fmla="*/ 193789 h 859307"/>
                    <a:gd name="connsiteX288" fmla="*/ 276920 w 484709"/>
                    <a:gd name="connsiteY288" fmla="*/ 195890 h 859307"/>
                    <a:gd name="connsiteX289" fmla="*/ 278049 w 484709"/>
                    <a:gd name="connsiteY289" fmla="*/ 196631 h 859307"/>
                    <a:gd name="connsiteX290" fmla="*/ 278790 w 484709"/>
                    <a:gd name="connsiteY290" fmla="*/ 196837 h 859307"/>
                    <a:gd name="connsiteX291" fmla="*/ 281765 w 484709"/>
                    <a:gd name="connsiteY291" fmla="*/ 197371 h 859307"/>
                    <a:gd name="connsiteX292" fmla="*/ 282955 w 484709"/>
                    <a:gd name="connsiteY292" fmla="*/ 197505 h 859307"/>
                    <a:gd name="connsiteX293" fmla="*/ 283562 w 484709"/>
                    <a:gd name="connsiteY293" fmla="*/ 197311 h 859307"/>
                    <a:gd name="connsiteX294" fmla="*/ 285335 w 484709"/>
                    <a:gd name="connsiteY294" fmla="*/ 196473 h 859307"/>
                    <a:gd name="connsiteX295" fmla="*/ 287217 w 484709"/>
                    <a:gd name="connsiteY295" fmla="*/ 196011 h 859307"/>
                    <a:gd name="connsiteX296" fmla="*/ 291115 w 484709"/>
                    <a:gd name="connsiteY296" fmla="*/ 196266 h 859307"/>
                    <a:gd name="connsiteX297" fmla="*/ 293118 w 484709"/>
                    <a:gd name="connsiteY297" fmla="*/ 197784 h 859307"/>
                    <a:gd name="connsiteX298" fmla="*/ 294818 w 484709"/>
                    <a:gd name="connsiteY298" fmla="*/ 200249 h 859307"/>
                    <a:gd name="connsiteX299" fmla="*/ 295608 w 484709"/>
                    <a:gd name="connsiteY299" fmla="*/ 202957 h 859307"/>
                    <a:gd name="connsiteX300" fmla="*/ 295863 w 484709"/>
                    <a:gd name="connsiteY300" fmla="*/ 207462 h 859307"/>
                    <a:gd name="connsiteX301" fmla="*/ 296312 w 484709"/>
                    <a:gd name="connsiteY301" fmla="*/ 209903 h 859307"/>
                    <a:gd name="connsiteX302" fmla="*/ 298692 w 484709"/>
                    <a:gd name="connsiteY302" fmla="*/ 213035 h 859307"/>
                    <a:gd name="connsiteX303" fmla="*/ 300089 w 484709"/>
                    <a:gd name="connsiteY303" fmla="*/ 215695 h 859307"/>
                    <a:gd name="connsiteX304" fmla="*/ 299991 w 484709"/>
                    <a:gd name="connsiteY304" fmla="*/ 216593 h 859307"/>
                    <a:gd name="connsiteX305" fmla="*/ 299032 w 484709"/>
                    <a:gd name="connsiteY305" fmla="*/ 219569 h 859307"/>
                    <a:gd name="connsiteX306" fmla="*/ 298704 w 484709"/>
                    <a:gd name="connsiteY306" fmla="*/ 219981 h 859307"/>
                    <a:gd name="connsiteX307" fmla="*/ 297745 w 484709"/>
                    <a:gd name="connsiteY307" fmla="*/ 220880 h 859307"/>
                    <a:gd name="connsiteX308" fmla="*/ 296348 w 484709"/>
                    <a:gd name="connsiteY308" fmla="*/ 221645 h 859307"/>
                    <a:gd name="connsiteX309" fmla="*/ 294855 w 484709"/>
                    <a:gd name="connsiteY309" fmla="*/ 222191 h 859307"/>
                    <a:gd name="connsiteX310" fmla="*/ 291346 w 484709"/>
                    <a:gd name="connsiteY310" fmla="*/ 222969 h 859307"/>
                    <a:gd name="connsiteX311" fmla="*/ 290204 w 484709"/>
                    <a:gd name="connsiteY311" fmla="*/ 224049 h 859307"/>
                    <a:gd name="connsiteX312" fmla="*/ 289221 w 484709"/>
                    <a:gd name="connsiteY312" fmla="*/ 225336 h 859307"/>
                    <a:gd name="connsiteX313" fmla="*/ 288565 w 484709"/>
                    <a:gd name="connsiteY313" fmla="*/ 226708 h 859307"/>
                    <a:gd name="connsiteX314" fmla="*/ 286658 w 484709"/>
                    <a:gd name="connsiteY314" fmla="*/ 229307 h 859307"/>
                    <a:gd name="connsiteX315" fmla="*/ 283173 w 484709"/>
                    <a:gd name="connsiteY315" fmla="*/ 232003 h 859307"/>
                    <a:gd name="connsiteX316" fmla="*/ 278110 w 484709"/>
                    <a:gd name="connsiteY316" fmla="*/ 233023 h 859307"/>
                    <a:gd name="connsiteX317" fmla="*/ 274345 w 484709"/>
                    <a:gd name="connsiteY317" fmla="*/ 232962 h 859307"/>
                    <a:gd name="connsiteX318" fmla="*/ 269258 w 484709"/>
                    <a:gd name="connsiteY318" fmla="*/ 231287 h 859307"/>
                    <a:gd name="connsiteX319" fmla="*/ 266853 w 484709"/>
                    <a:gd name="connsiteY319" fmla="*/ 230108 h 859307"/>
                    <a:gd name="connsiteX320" fmla="*/ 264995 w 484709"/>
                    <a:gd name="connsiteY320" fmla="*/ 229951 h 859307"/>
                    <a:gd name="connsiteX321" fmla="*/ 264765 w 484709"/>
                    <a:gd name="connsiteY321" fmla="*/ 230303 h 859307"/>
                    <a:gd name="connsiteX322" fmla="*/ 264692 w 484709"/>
                    <a:gd name="connsiteY322" fmla="*/ 231092 h 859307"/>
                    <a:gd name="connsiteX323" fmla="*/ 265712 w 484709"/>
                    <a:gd name="connsiteY323" fmla="*/ 234237 h 859307"/>
                    <a:gd name="connsiteX324" fmla="*/ 265712 w 484709"/>
                    <a:gd name="connsiteY324" fmla="*/ 236775 h 859307"/>
                    <a:gd name="connsiteX325" fmla="*/ 264558 w 484709"/>
                    <a:gd name="connsiteY325" fmla="*/ 240442 h 859307"/>
                    <a:gd name="connsiteX326" fmla="*/ 264862 w 484709"/>
                    <a:gd name="connsiteY326" fmla="*/ 241304 h 859307"/>
                    <a:gd name="connsiteX327" fmla="*/ 265469 w 484709"/>
                    <a:gd name="connsiteY327" fmla="*/ 242324 h 859307"/>
                    <a:gd name="connsiteX328" fmla="*/ 265943 w 484709"/>
                    <a:gd name="connsiteY328" fmla="*/ 243454 h 859307"/>
                    <a:gd name="connsiteX329" fmla="*/ 266465 w 484709"/>
                    <a:gd name="connsiteY329" fmla="*/ 245372 h 859307"/>
                    <a:gd name="connsiteX330" fmla="*/ 266635 w 484709"/>
                    <a:gd name="connsiteY330" fmla="*/ 246477 h 859307"/>
                    <a:gd name="connsiteX331" fmla="*/ 267254 w 484709"/>
                    <a:gd name="connsiteY331" fmla="*/ 247582 h 859307"/>
                    <a:gd name="connsiteX332" fmla="*/ 267533 w 484709"/>
                    <a:gd name="connsiteY332" fmla="*/ 247788 h 859307"/>
                    <a:gd name="connsiteX333" fmla="*/ 275220 w 484709"/>
                    <a:gd name="connsiteY333" fmla="*/ 249173 h 859307"/>
                    <a:gd name="connsiteX334" fmla="*/ 295911 w 484709"/>
                    <a:gd name="connsiteY334" fmla="*/ 255645 h 859307"/>
                    <a:gd name="connsiteX335" fmla="*/ 298255 w 484709"/>
                    <a:gd name="connsiteY335" fmla="*/ 256835 h 859307"/>
                    <a:gd name="connsiteX336" fmla="*/ 302772 w 484709"/>
                    <a:gd name="connsiteY336" fmla="*/ 260939 h 859307"/>
                    <a:gd name="connsiteX337" fmla="*/ 304132 w 484709"/>
                    <a:gd name="connsiteY337" fmla="*/ 261874 h 859307"/>
                    <a:gd name="connsiteX338" fmla="*/ 305905 w 484709"/>
                    <a:gd name="connsiteY338" fmla="*/ 262457 h 859307"/>
                    <a:gd name="connsiteX339" fmla="*/ 307775 w 484709"/>
                    <a:gd name="connsiteY339" fmla="*/ 262979 h 859307"/>
                    <a:gd name="connsiteX340" fmla="*/ 310556 w 484709"/>
                    <a:gd name="connsiteY340" fmla="*/ 264206 h 859307"/>
                    <a:gd name="connsiteX341" fmla="*/ 313069 w 484709"/>
                    <a:gd name="connsiteY341" fmla="*/ 266064 h 859307"/>
                    <a:gd name="connsiteX342" fmla="*/ 317319 w 484709"/>
                    <a:gd name="connsiteY342" fmla="*/ 272354 h 859307"/>
                    <a:gd name="connsiteX343" fmla="*/ 323852 w 484709"/>
                    <a:gd name="connsiteY343" fmla="*/ 275948 h 859307"/>
                    <a:gd name="connsiteX344" fmla="*/ 320901 w 484709"/>
                    <a:gd name="connsiteY344" fmla="*/ 283962 h 859307"/>
                    <a:gd name="connsiteX345" fmla="*/ 308892 w 484709"/>
                    <a:gd name="connsiteY345" fmla="*/ 292572 h 859307"/>
                    <a:gd name="connsiteX346" fmla="*/ 307556 w 484709"/>
                    <a:gd name="connsiteY346" fmla="*/ 293895 h 859307"/>
                    <a:gd name="connsiteX347" fmla="*/ 304071 w 484709"/>
                    <a:gd name="connsiteY347" fmla="*/ 298838 h 859307"/>
                    <a:gd name="connsiteX348" fmla="*/ 303926 w 484709"/>
                    <a:gd name="connsiteY348" fmla="*/ 299360 h 859307"/>
                    <a:gd name="connsiteX349" fmla="*/ 303938 w 484709"/>
                    <a:gd name="connsiteY349" fmla="*/ 299505 h 859307"/>
                    <a:gd name="connsiteX350" fmla="*/ 304715 w 484709"/>
                    <a:gd name="connsiteY350" fmla="*/ 299724 h 859307"/>
                    <a:gd name="connsiteX351" fmla="*/ 305529 w 484709"/>
                    <a:gd name="connsiteY351" fmla="*/ 299505 h 859307"/>
                    <a:gd name="connsiteX352" fmla="*/ 309390 w 484709"/>
                    <a:gd name="connsiteY352" fmla="*/ 297987 h 859307"/>
                    <a:gd name="connsiteX353" fmla="*/ 310519 w 484709"/>
                    <a:gd name="connsiteY353" fmla="*/ 297720 h 859307"/>
                    <a:gd name="connsiteX354" fmla="*/ 313021 w 484709"/>
                    <a:gd name="connsiteY354" fmla="*/ 297769 h 859307"/>
                    <a:gd name="connsiteX355" fmla="*/ 314539 w 484709"/>
                    <a:gd name="connsiteY355" fmla="*/ 298206 h 859307"/>
                    <a:gd name="connsiteX356" fmla="*/ 319129 w 484709"/>
                    <a:gd name="connsiteY356" fmla="*/ 300210 h 859307"/>
                    <a:gd name="connsiteX357" fmla="*/ 320452 w 484709"/>
                    <a:gd name="connsiteY357" fmla="*/ 300513 h 859307"/>
                    <a:gd name="connsiteX358" fmla="*/ 321460 w 484709"/>
                    <a:gd name="connsiteY358" fmla="*/ 300416 h 859307"/>
                    <a:gd name="connsiteX359" fmla="*/ 325224 w 484709"/>
                    <a:gd name="connsiteY359" fmla="*/ 299591 h 859307"/>
                    <a:gd name="connsiteX360" fmla="*/ 338351 w 484709"/>
                    <a:gd name="connsiteY360" fmla="*/ 298862 h 859307"/>
                    <a:gd name="connsiteX361" fmla="*/ 340609 w 484709"/>
                    <a:gd name="connsiteY361" fmla="*/ 298303 h 859307"/>
                    <a:gd name="connsiteX362" fmla="*/ 346086 w 484709"/>
                    <a:gd name="connsiteY362" fmla="*/ 294175 h 859307"/>
                    <a:gd name="connsiteX363" fmla="*/ 349194 w 484709"/>
                    <a:gd name="connsiteY363" fmla="*/ 292560 h 859307"/>
                    <a:gd name="connsiteX364" fmla="*/ 351999 w 484709"/>
                    <a:gd name="connsiteY364" fmla="*/ 293835 h 859307"/>
                    <a:gd name="connsiteX365" fmla="*/ 353068 w 484709"/>
                    <a:gd name="connsiteY365" fmla="*/ 295814 h 859307"/>
                    <a:gd name="connsiteX366" fmla="*/ 353287 w 484709"/>
                    <a:gd name="connsiteY366" fmla="*/ 297186 h 859307"/>
                    <a:gd name="connsiteX367" fmla="*/ 352825 w 484709"/>
                    <a:gd name="connsiteY367" fmla="*/ 301509 h 859307"/>
                    <a:gd name="connsiteX368" fmla="*/ 351647 w 484709"/>
                    <a:gd name="connsiteY368" fmla="*/ 304606 h 859307"/>
                    <a:gd name="connsiteX369" fmla="*/ 350275 w 484709"/>
                    <a:gd name="connsiteY369" fmla="*/ 307058 h 859307"/>
                    <a:gd name="connsiteX370" fmla="*/ 350251 w 484709"/>
                    <a:gd name="connsiteY370" fmla="*/ 307301 h 859307"/>
                    <a:gd name="connsiteX371" fmla="*/ 351344 w 484709"/>
                    <a:gd name="connsiteY371" fmla="*/ 309086 h 859307"/>
                    <a:gd name="connsiteX372" fmla="*/ 352097 w 484709"/>
                    <a:gd name="connsiteY372" fmla="*/ 309730 h 859307"/>
                    <a:gd name="connsiteX373" fmla="*/ 353274 w 484709"/>
                    <a:gd name="connsiteY373" fmla="*/ 310519 h 859307"/>
                    <a:gd name="connsiteX374" fmla="*/ 355570 w 484709"/>
                    <a:gd name="connsiteY374" fmla="*/ 313275 h 859307"/>
                    <a:gd name="connsiteX375" fmla="*/ 357306 w 484709"/>
                    <a:gd name="connsiteY375" fmla="*/ 317210 h 859307"/>
                    <a:gd name="connsiteX376" fmla="*/ 359455 w 484709"/>
                    <a:gd name="connsiteY376" fmla="*/ 324083 h 859307"/>
                    <a:gd name="connsiteX377" fmla="*/ 360815 w 484709"/>
                    <a:gd name="connsiteY377" fmla="*/ 326694 h 859307"/>
                    <a:gd name="connsiteX378" fmla="*/ 361580 w 484709"/>
                    <a:gd name="connsiteY378" fmla="*/ 327568 h 859307"/>
                    <a:gd name="connsiteX379" fmla="*/ 362406 w 484709"/>
                    <a:gd name="connsiteY379" fmla="*/ 327956 h 859307"/>
                    <a:gd name="connsiteX380" fmla="*/ 364070 w 484709"/>
                    <a:gd name="connsiteY380" fmla="*/ 329316 h 859307"/>
                    <a:gd name="connsiteX381" fmla="*/ 364786 w 484709"/>
                    <a:gd name="connsiteY381" fmla="*/ 329984 h 859307"/>
                    <a:gd name="connsiteX382" fmla="*/ 365199 w 484709"/>
                    <a:gd name="connsiteY382" fmla="*/ 331988 h 859307"/>
                    <a:gd name="connsiteX383" fmla="*/ 364944 w 484709"/>
                    <a:gd name="connsiteY383" fmla="*/ 334101 h 859307"/>
                    <a:gd name="connsiteX384" fmla="*/ 363693 w 484709"/>
                    <a:gd name="connsiteY384" fmla="*/ 336529 h 859307"/>
                    <a:gd name="connsiteX385" fmla="*/ 361823 w 484709"/>
                    <a:gd name="connsiteY385" fmla="*/ 337926 h 859307"/>
                    <a:gd name="connsiteX386" fmla="*/ 359067 w 484709"/>
                    <a:gd name="connsiteY386" fmla="*/ 338897 h 859307"/>
                    <a:gd name="connsiteX387" fmla="*/ 358435 w 484709"/>
                    <a:gd name="connsiteY387" fmla="*/ 339067 h 859307"/>
                    <a:gd name="connsiteX388" fmla="*/ 356140 w 484709"/>
                    <a:gd name="connsiteY388" fmla="*/ 338715 h 859307"/>
                    <a:gd name="connsiteX389" fmla="*/ 351672 w 484709"/>
                    <a:gd name="connsiteY389" fmla="*/ 336796 h 859307"/>
                    <a:gd name="connsiteX390" fmla="*/ 350421 w 484709"/>
                    <a:gd name="connsiteY390" fmla="*/ 336505 h 859307"/>
                    <a:gd name="connsiteX391" fmla="*/ 349717 w 484709"/>
                    <a:gd name="connsiteY391" fmla="*/ 336675 h 859307"/>
                    <a:gd name="connsiteX392" fmla="*/ 349401 w 484709"/>
                    <a:gd name="connsiteY392" fmla="*/ 337015 h 859307"/>
                    <a:gd name="connsiteX393" fmla="*/ 349328 w 484709"/>
                    <a:gd name="connsiteY393" fmla="*/ 337343 h 859307"/>
                    <a:gd name="connsiteX394" fmla="*/ 348782 w 484709"/>
                    <a:gd name="connsiteY394" fmla="*/ 338278 h 859307"/>
                    <a:gd name="connsiteX395" fmla="*/ 348284 w 484709"/>
                    <a:gd name="connsiteY395" fmla="*/ 339468 h 859307"/>
                    <a:gd name="connsiteX396" fmla="*/ 347701 w 484709"/>
                    <a:gd name="connsiteY396" fmla="*/ 341738 h 859307"/>
                    <a:gd name="connsiteX397" fmla="*/ 347373 w 484709"/>
                    <a:gd name="connsiteY397" fmla="*/ 343985 h 859307"/>
                    <a:gd name="connsiteX398" fmla="*/ 347579 w 484709"/>
                    <a:gd name="connsiteY398" fmla="*/ 346049 h 859307"/>
                    <a:gd name="connsiteX399" fmla="*/ 348320 w 484709"/>
                    <a:gd name="connsiteY399" fmla="*/ 349109 h 859307"/>
                    <a:gd name="connsiteX400" fmla="*/ 350421 w 484709"/>
                    <a:gd name="connsiteY400" fmla="*/ 352691 h 859307"/>
                    <a:gd name="connsiteX401" fmla="*/ 352254 w 484709"/>
                    <a:gd name="connsiteY401" fmla="*/ 353978 h 859307"/>
                    <a:gd name="connsiteX402" fmla="*/ 354598 w 484709"/>
                    <a:gd name="connsiteY402" fmla="*/ 355083 h 859307"/>
                    <a:gd name="connsiteX403" fmla="*/ 363390 w 484709"/>
                    <a:gd name="connsiteY403" fmla="*/ 357695 h 859307"/>
                    <a:gd name="connsiteX404" fmla="*/ 373322 w 484709"/>
                    <a:gd name="connsiteY404" fmla="*/ 362272 h 859307"/>
                    <a:gd name="connsiteX405" fmla="*/ 375496 w 484709"/>
                    <a:gd name="connsiteY405" fmla="*/ 363766 h 859307"/>
                    <a:gd name="connsiteX406" fmla="*/ 377293 w 484709"/>
                    <a:gd name="connsiteY406" fmla="*/ 366146 h 859307"/>
                    <a:gd name="connsiteX407" fmla="*/ 378410 w 484709"/>
                    <a:gd name="connsiteY407" fmla="*/ 368611 h 859307"/>
                    <a:gd name="connsiteX408" fmla="*/ 379430 w 484709"/>
                    <a:gd name="connsiteY408" fmla="*/ 371902 h 859307"/>
                    <a:gd name="connsiteX409" fmla="*/ 380086 w 484709"/>
                    <a:gd name="connsiteY409" fmla="*/ 373444 h 859307"/>
                    <a:gd name="connsiteX410" fmla="*/ 381082 w 484709"/>
                    <a:gd name="connsiteY410" fmla="*/ 375022 h 859307"/>
                    <a:gd name="connsiteX411" fmla="*/ 382029 w 484709"/>
                    <a:gd name="connsiteY411" fmla="*/ 375654 h 859307"/>
                    <a:gd name="connsiteX412" fmla="*/ 382976 w 484709"/>
                    <a:gd name="connsiteY412" fmla="*/ 376079 h 859307"/>
                    <a:gd name="connsiteX413" fmla="*/ 383935 w 484709"/>
                    <a:gd name="connsiteY413" fmla="*/ 376346 h 859307"/>
                    <a:gd name="connsiteX414" fmla="*/ 386279 w 484709"/>
                    <a:gd name="connsiteY414" fmla="*/ 377767 h 859307"/>
                    <a:gd name="connsiteX415" fmla="*/ 387263 w 484709"/>
                    <a:gd name="connsiteY415" fmla="*/ 379455 h 859307"/>
                    <a:gd name="connsiteX416" fmla="*/ 388113 w 484709"/>
                    <a:gd name="connsiteY416" fmla="*/ 382551 h 859307"/>
                    <a:gd name="connsiteX417" fmla="*/ 388125 w 484709"/>
                    <a:gd name="connsiteY417" fmla="*/ 385295 h 859307"/>
                    <a:gd name="connsiteX418" fmla="*/ 387675 w 484709"/>
                    <a:gd name="connsiteY418" fmla="*/ 387797 h 859307"/>
                    <a:gd name="connsiteX419" fmla="*/ 386437 w 484709"/>
                    <a:gd name="connsiteY419" fmla="*/ 391294 h 859307"/>
                    <a:gd name="connsiteX420" fmla="*/ 386048 w 484709"/>
                    <a:gd name="connsiteY420" fmla="*/ 393273 h 859307"/>
                    <a:gd name="connsiteX421" fmla="*/ 386061 w 484709"/>
                    <a:gd name="connsiteY421" fmla="*/ 399721 h 859307"/>
                    <a:gd name="connsiteX422" fmla="*/ 385356 w 484709"/>
                    <a:gd name="connsiteY422" fmla="*/ 403777 h 859307"/>
                    <a:gd name="connsiteX423" fmla="*/ 382235 w 484709"/>
                    <a:gd name="connsiteY423" fmla="*/ 407687 h 859307"/>
                    <a:gd name="connsiteX424" fmla="*/ 379358 w 484709"/>
                    <a:gd name="connsiteY424" fmla="*/ 409180 h 859307"/>
                    <a:gd name="connsiteX425" fmla="*/ 376431 w 484709"/>
                    <a:gd name="connsiteY425" fmla="*/ 410006 h 859307"/>
                    <a:gd name="connsiteX426" fmla="*/ 375435 w 484709"/>
                    <a:gd name="connsiteY426" fmla="*/ 410140 h 859307"/>
                    <a:gd name="connsiteX427" fmla="*/ 375278 w 484709"/>
                    <a:gd name="connsiteY427" fmla="*/ 411427 h 859307"/>
                    <a:gd name="connsiteX428" fmla="*/ 376334 w 484709"/>
                    <a:gd name="connsiteY428" fmla="*/ 426338 h 859307"/>
                    <a:gd name="connsiteX429" fmla="*/ 375618 w 484709"/>
                    <a:gd name="connsiteY429" fmla="*/ 436939 h 859307"/>
                    <a:gd name="connsiteX430" fmla="*/ 375108 w 484709"/>
                    <a:gd name="connsiteY430" fmla="*/ 439222 h 859307"/>
                    <a:gd name="connsiteX431" fmla="*/ 373274 w 484709"/>
                    <a:gd name="connsiteY431" fmla="*/ 443424 h 859307"/>
                    <a:gd name="connsiteX432" fmla="*/ 372934 w 484709"/>
                    <a:gd name="connsiteY432" fmla="*/ 448536 h 859307"/>
                    <a:gd name="connsiteX433" fmla="*/ 373213 w 484709"/>
                    <a:gd name="connsiteY433" fmla="*/ 450078 h 859307"/>
                    <a:gd name="connsiteX434" fmla="*/ 373650 w 484709"/>
                    <a:gd name="connsiteY434" fmla="*/ 451596 h 859307"/>
                    <a:gd name="connsiteX435" fmla="*/ 374342 w 484709"/>
                    <a:gd name="connsiteY435" fmla="*/ 453077 h 859307"/>
                    <a:gd name="connsiteX436" fmla="*/ 376771 w 484709"/>
                    <a:gd name="connsiteY436" fmla="*/ 456429 h 859307"/>
                    <a:gd name="connsiteX437" fmla="*/ 378131 w 484709"/>
                    <a:gd name="connsiteY437" fmla="*/ 459027 h 859307"/>
                    <a:gd name="connsiteX438" fmla="*/ 378872 w 484709"/>
                    <a:gd name="connsiteY438" fmla="*/ 462148 h 859307"/>
                    <a:gd name="connsiteX439" fmla="*/ 378386 w 484709"/>
                    <a:gd name="connsiteY439" fmla="*/ 468122 h 859307"/>
                    <a:gd name="connsiteX440" fmla="*/ 378459 w 484709"/>
                    <a:gd name="connsiteY440" fmla="*/ 470162 h 859307"/>
                    <a:gd name="connsiteX441" fmla="*/ 378568 w 484709"/>
                    <a:gd name="connsiteY441" fmla="*/ 470405 h 859307"/>
                    <a:gd name="connsiteX442" fmla="*/ 379649 w 484709"/>
                    <a:gd name="connsiteY442" fmla="*/ 471510 h 859307"/>
                    <a:gd name="connsiteX443" fmla="*/ 382903 w 484709"/>
                    <a:gd name="connsiteY443" fmla="*/ 473477 h 859307"/>
                    <a:gd name="connsiteX444" fmla="*/ 385320 w 484709"/>
                    <a:gd name="connsiteY444" fmla="*/ 475335 h 859307"/>
                    <a:gd name="connsiteX445" fmla="*/ 387797 w 484709"/>
                    <a:gd name="connsiteY445" fmla="*/ 477679 h 859307"/>
                    <a:gd name="connsiteX446" fmla="*/ 391768 w 484709"/>
                    <a:gd name="connsiteY446" fmla="*/ 482220 h 859307"/>
                    <a:gd name="connsiteX447" fmla="*/ 393213 w 484709"/>
                    <a:gd name="connsiteY447" fmla="*/ 483544 h 859307"/>
                    <a:gd name="connsiteX448" fmla="*/ 393796 w 484709"/>
                    <a:gd name="connsiteY448" fmla="*/ 483775 h 859307"/>
                    <a:gd name="connsiteX449" fmla="*/ 394755 w 484709"/>
                    <a:gd name="connsiteY449" fmla="*/ 483908 h 859307"/>
                    <a:gd name="connsiteX450" fmla="*/ 395896 w 484709"/>
                    <a:gd name="connsiteY450" fmla="*/ 484285 h 859307"/>
                    <a:gd name="connsiteX451" fmla="*/ 398373 w 484709"/>
                    <a:gd name="connsiteY451" fmla="*/ 485608 h 859307"/>
                    <a:gd name="connsiteX452" fmla="*/ 399891 w 484709"/>
                    <a:gd name="connsiteY452" fmla="*/ 485462 h 859307"/>
                    <a:gd name="connsiteX453" fmla="*/ 402126 w 484709"/>
                    <a:gd name="connsiteY453" fmla="*/ 484406 h 859307"/>
                    <a:gd name="connsiteX454" fmla="*/ 407906 w 484709"/>
                    <a:gd name="connsiteY454" fmla="*/ 480253 h 859307"/>
                    <a:gd name="connsiteX455" fmla="*/ 415835 w 484709"/>
                    <a:gd name="connsiteY455" fmla="*/ 472688 h 859307"/>
                    <a:gd name="connsiteX456" fmla="*/ 418178 w 484709"/>
                    <a:gd name="connsiteY456" fmla="*/ 471061 h 859307"/>
                    <a:gd name="connsiteX457" fmla="*/ 420886 w 484709"/>
                    <a:gd name="connsiteY457" fmla="*/ 469689 h 859307"/>
                    <a:gd name="connsiteX458" fmla="*/ 429544 w 484709"/>
                    <a:gd name="connsiteY458" fmla="*/ 466592 h 859307"/>
                    <a:gd name="connsiteX459" fmla="*/ 435871 w 484709"/>
                    <a:gd name="connsiteY459" fmla="*/ 463083 h 859307"/>
                    <a:gd name="connsiteX460" fmla="*/ 442428 w 484709"/>
                    <a:gd name="connsiteY460" fmla="*/ 461152 h 859307"/>
                    <a:gd name="connsiteX461" fmla="*/ 446957 w 484709"/>
                    <a:gd name="connsiteY461" fmla="*/ 464759 h 859307"/>
                    <a:gd name="connsiteX462" fmla="*/ 447868 w 484709"/>
                    <a:gd name="connsiteY462" fmla="*/ 465936 h 859307"/>
                    <a:gd name="connsiteX463" fmla="*/ 452482 w 484709"/>
                    <a:gd name="connsiteY463" fmla="*/ 473866 h 859307"/>
                    <a:gd name="connsiteX464" fmla="*/ 453587 w 484709"/>
                    <a:gd name="connsiteY464" fmla="*/ 475420 h 859307"/>
                    <a:gd name="connsiteX465" fmla="*/ 455069 w 484709"/>
                    <a:gd name="connsiteY465" fmla="*/ 479986 h 859307"/>
                    <a:gd name="connsiteX466" fmla="*/ 455457 w 484709"/>
                    <a:gd name="connsiteY466" fmla="*/ 484479 h 859307"/>
                    <a:gd name="connsiteX467" fmla="*/ 456368 w 484709"/>
                    <a:gd name="connsiteY467" fmla="*/ 486154 h 859307"/>
                    <a:gd name="connsiteX468" fmla="*/ 457169 w 484709"/>
                    <a:gd name="connsiteY468" fmla="*/ 487223 h 859307"/>
                    <a:gd name="connsiteX469" fmla="*/ 458675 w 484709"/>
                    <a:gd name="connsiteY469" fmla="*/ 487927 h 859307"/>
                    <a:gd name="connsiteX470" fmla="*/ 458954 w 484709"/>
                    <a:gd name="connsiteY470" fmla="*/ 488122 h 859307"/>
                    <a:gd name="connsiteX471" fmla="*/ 460472 w 484709"/>
                    <a:gd name="connsiteY471" fmla="*/ 489676 h 859307"/>
                    <a:gd name="connsiteX472" fmla="*/ 461092 w 484709"/>
                    <a:gd name="connsiteY472" fmla="*/ 491777 h 859307"/>
                    <a:gd name="connsiteX473" fmla="*/ 461213 w 484709"/>
                    <a:gd name="connsiteY473" fmla="*/ 494727 h 859307"/>
                    <a:gd name="connsiteX474" fmla="*/ 460327 w 484709"/>
                    <a:gd name="connsiteY474" fmla="*/ 498856 h 859307"/>
                    <a:gd name="connsiteX475" fmla="*/ 451256 w 484709"/>
                    <a:gd name="connsiteY475" fmla="*/ 517993 h 859307"/>
                    <a:gd name="connsiteX476" fmla="*/ 450867 w 484709"/>
                    <a:gd name="connsiteY476" fmla="*/ 519293 h 859307"/>
                    <a:gd name="connsiteX477" fmla="*/ 453514 w 484709"/>
                    <a:gd name="connsiteY477" fmla="*/ 525000 h 859307"/>
                    <a:gd name="connsiteX478" fmla="*/ 457485 w 484709"/>
                    <a:gd name="connsiteY478" fmla="*/ 537301 h 859307"/>
                    <a:gd name="connsiteX479" fmla="*/ 457631 w 484709"/>
                    <a:gd name="connsiteY479" fmla="*/ 540081 h 859307"/>
                    <a:gd name="connsiteX480" fmla="*/ 456939 w 484709"/>
                    <a:gd name="connsiteY480" fmla="*/ 543700 h 859307"/>
                    <a:gd name="connsiteX481" fmla="*/ 451487 w 484709"/>
                    <a:gd name="connsiteY481" fmla="*/ 554544 h 859307"/>
                    <a:gd name="connsiteX482" fmla="*/ 451317 w 484709"/>
                    <a:gd name="connsiteY482" fmla="*/ 555940 h 859307"/>
                    <a:gd name="connsiteX483" fmla="*/ 451195 w 484709"/>
                    <a:gd name="connsiteY483" fmla="*/ 557992 h 859307"/>
                    <a:gd name="connsiteX484" fmla="*/ 452203 w 484709"/>
                    <a:gd name="connsiteY484" fmla="*/ 565011 h 859307"/>
                    <a:gd name="connsiteX485" fmla="*/ 453320 w 484709"/>
                    <a:gd name="connsiteY485" fmla="*/ 568738 h 859307"/>
                    <a:gd name="connsiteX486" fmla="*/ 453381 w 484709"/>
                    <a:gd name="connsiteY486" fmla="*/ 573025 h 859307"/>
                    <a:gd name="connsiteX487" fmla="*/ 452944 w 484709"/>
                    <a:gd name="connsiteY487" fmla="*/ 576097 h 859307"/>
                    <a:gd name="connsiteX488" fmla="*/ 443897 w 484709"/>
                    <a:gd name="connsiteY488" fmla="*/ 605277 h 859307"/>
                    <a:gd name="connsiteX489" fmla="*/ 443812 w 484709"/>
                    <a:gd name="connsiteY489" fmla="*/ 606175 h 859307"/>
                    <a:gd name="connsiteX490" fmla="*/ 445184 w 484709"/>
                    <a:gd name="connsiteY490" fmla="*/ 607110 h 859307"/>
                    <a:gd name="connsiteX491" fmla="*/ 446411 w 484709"/>
                    <a:gd name="connsiteY491" fmla="*/ 607402 h 859307"/>
                    <a:gd name="connsiteX492" fmla="*/ 447953 w 484709"/>
                    <a:gd name="connsiteY492" fmla="*/ 607960 h 859307"/>
                    <a:gd name="connsiteX493" fmla="*/ 449738 w 484709"/>
                    <a:gd name="connsiteY493" fmla="*/ 608823 h 859307"/>
                    <a:gd name="connsiteX494" fmla="*/ 450831 w 484709"/>
                    <a:gd name="connsiteY494" fmla="*/ 609758 h 859307"/>
                    <a:gd name="connsiteX495" fmla="*/ 452810 w 484709"/>
                    <a:gd name="connsiteY495" fmla="*/ 611749 h 859307"/>
                    <a:gd name="connsiteX496" fmla="*/ 453879 w 484709"/>
                    <a:gd name="connsiteY496" fmla="*/ 611858 h 859307"/>
                    <a:gd name="connsiteX497" fmla="*/ 454449 w 484709"/>
                    <a:gd name="connsiteY497" fmla="*/ 611834 h 859307"/>
                    <a:gd name="connsiteX498" fmla="*/ 462440 w 484709"/>
                    <a:gd name="connsiteY498" fmla="*/ 608070 h 859307"/>
                    <a:gd name="connsiteX499" fmla="*/ 464431 w 484709"/>
                    <a:gd name="connsiteY499" fmla="*/ 607548 h 859307"/>
                    <a:gd name="connsiteX500" fmla="*/ 468377 w 484709"/>
                    <a:gd name="connsiteY500" fmla="*/ 607377 h 859307"/>
                    <a:gd name="connsiteX501" fmla="*/ 470782 w 484709"/>
                    <a:gd name="connsiteY501" fmla="*/ 607632 h 859307"/>
                    <a:gd name="connsiteX502" fmla="*/ 472579 w 484709"/>
                    <a:gd name="connsiteY502" fmla="*/ 608823 h 859307"/>
                    <a:gd name="connsiteX503" fmla="*/ 474364 w 484709"/>
                    <a:gd name="connsiteY503" fmla="*/ 610875 h 859307"/>
                    <a:gd name="connsiteX504" fmla="*/ 476197 w 484709"/>
                    <a:gd name="connsiteY504" fmla="*/ 615161 h 859307"/>
                    <a:gd name="connsiteX505" fmla="*/ 477424 w 484709"/>
                    <a:gd name="connsiteY505" fmla="*/ 617371 h 859307"/>
                    <a:gd name="connsiteX506" fmla="*/ 482888 w 484709"/>
                    <a:gd name="connsiteY506" fmla="*/ 623770 h 859307"/>
                    <a:gd name="connsiteX507" fmla="*/ 484710 w 484709"/>
                    <a:gd name="connsiteY507" fmla="*/ 627693 h 859307"/>
                    <a:gd name="connsiteX508" fmla="*/ 484540 w 484709"/>
                    <a:gd name="connsiteY508" fmla="*/ 634505 h 859307"/>
                    <a:gd name="connsiteX509" fmla="*/ 478298 w 484709"/>
                    <a:gd name="connsiteY509" fmla="*/ 639884 h 859307"/>
                    <a:gd name="connsiteX510" fmla="*/ 477594 w 484709"/>
                    <a:gd name="connsiteY510" fmla="*/ 640941 h 859307"/>
                    <a:gd name="connsiteX511" fmla="*/ 476683 w 484709"/>
                    <a:gd name="connsiteY511" fmla="*/ 642920 h 859307"/>
                    <a:gd name="connsiteX512" fmla="*/ 472239 w 484709"/>
                    <a:gd name="connsiteY512" fmla="*/ 656180 h 859307"/>
                    <a:gd name="connsiteX513" fmla="*/ 466957 w 484709"/>
                    <a:gd name="connsiteY513" fmla="*/ 664972 h 859307"/>
                    <a:gd name="connsiteX514" fmla="*/ 456465 w 484709"/>
                    <a:gd name="connsiteY514" fmla="*/ 698110 h 859307"/>
                    <a:gd name="connsiteX515" fmla="*/ 451705 w 484709"/>
                    <a:gd name="connsiteY515" fmla="*/ 709342 h 859307"/>
                    <a:gd name="connsiteX516" fmla="*/ 447686 w 484709"/>
                    <a:gd name="connsiteY516" fmla="*/ 715316 h 859307"/>
                    <a:gd name="connsiteX517" fmla="*/ 439975 w 484709"/>
                    <a:gd name="connsiteY517" fmla="*/ 720987 h 859307"/>
                    <a:gd name="connsiteX518" fmla="*/ 440291 w 484709"/>
                    <a:gd name="connsiteY518" fmla="*/ 722723 h 859307"/>
                    <a:gd name="connsiteX519" fmla="*/ 444529 w 484709"/>
                    <a:gd name="connsiteY519" fmla="*/ 734126 h 859307"/>
                    <a:gd name="connsiteX520" fmla="*/ 446314 w 484709"/>
                    <a:gd name="connsiteY520" fmla="*/ 738448 h 859307"/>
                    <a:gd name="connsiteX521" fmla="*/ 448597 w 484709"/>
                    <a:gd name="connsiteY521" fmla="*/ 740415 h 859307"/>
                    <a:gd name="connsiteX522" fmla="*/ 451511 w 484709"/>
                    <a:gd name="connsiteY522" fmla="*/ 741945 h 859307"/>
                    <a:gd name="connsiteX523" fmla="*/ 453490 w 484709"/>
                    <a:gd name="connsiteY523" fmla="*/ 743524 h 859307"/>
                    <a:gd name="connsiteX524" fmla="*/ 454923 w 484709"/>
                    <a:gd name="connsiteY524" fmla="*/ 745042 h 859307"/>
                    <a:gd name="connsiteX525" fmla="*/ 455640 w 484709"/>
                    <a:gd name="connsiteY525" fmla="*/ 746147 h 859307"/>
                    <a:gd name="connsiteX526" fmla="*/ 456356 w 484709"/>
                    <a:gd name="connsiteY526" fmla="*/ 748758 h 859307"/>
                    <a:gd name="connsiteX527" fmla="*/ 456174 w 484709"/>
                    <a:gd name="connsiteY527" fmla="*/ 750785 h 859307"/>
                    <a:gd name="connsiteX528" fmla="*/ 452834 w 484709"/>
                    <a:gd name="connsiteY528" fmla="*/ 761957 h 859307"/>
                    <a:gd name="connsiteX529" fmla="*/ 444371 w 484709"/>
                    <a:gd name="connsiteY529" fmla="*/ 775132 h 859307"/>
                    <a:gd name="connsiteX530" fmla="*/ 442501 w 484709"/>
                    <a:gd name="connsiteY530" fmla="*/ 777609 h 859307"/>
                    <a:gd name="connsiteX531" fmla="*/ 442258 w 484709"/>
                    <a:gd name="connsiteY531" fmla="*/ 778593 h 859307"/>
                    <a:gd name="connsiteX532" fmla="*/ 442659 w 484709"/>
                    <a:gd name="connsiteY532" fmla="*/ 779856 h 859307"/>
                    <a:gd name="connsiteX533" fmla="*/ 443096 w 484709"/>
                    <a:gd name="connsiteY533" fmla="*/ 780900 h 859307"/>
                    <a:gd name="connsiteX534" fmla="*/ 443509 w 484709"/>
                    <a:gd name="connsiteY534" fmla="*/ 782904 h 859307"/>
                    <a:gd name="connsiteX535" fmla="*/ 443679 w 484709"/>
                    <a:gd name="connsiteY535" fmla="*/ 786462 h 859307"/>
                    <a:gd name="connsiteX536" fmla="*/ 443970 w 484709"/>
                    <a:gd name="connsiteY536" fmla="*/ 787870 h 859307"/>
                    <a:gd name="connsiteX537" fmla="*/ 444504 w 484709"/>
                    <a:gd name="connsiteY537" fmla="*/ 789145 h 859307"/>
                    <a:gd name="connsiteX538" fmla="*/ 445245 w 484709"/>
                    <a:gd name="connsiteY538" fmla="*/ 790420 h 859307"/>
                    <a:gd name="connsiteX539" fmla="*/ 446338 w 484709"/>
                    <a:gd name="connsiteY539" fmla="*/ 791610 h 859307"/>
                    <a:gd name="connsiteX540" fmla="*/ 454729 w 484709"/>
                    <a:gd name="connsiteY540" fmla="*/ 798143 h 859307"/>
                    <a:gd name="connsiteX541" fmla="*/ 458493 w 484709"/>
                    <a:gd name="connsiteY541" fmla="*/ 802223 h 859307"/>
                    <a:gd name="connsiteX542" fmla="*/ 459877 w 484709"/>
                    <a:gd name="connsiteY542" fmla="*/ 804251 h 859307"/>
                    <a:gd name="connsiteX543" fmla="*/ 460885 w 484709"/>
                    <a:gd name="connsiteY543" fmla="*/ 806825 h 859307"/>
                    <a:gd name="connsiteX544" fmla="*/ 461128 w 484709"/>
                    <a:gd name="connsiteY544" fmla="*/ 809642 h 859307"/>
                    <a:gd name="connsiteX545" fmla="*/ 459780 w 484709"/>
                    <a:gd name="connsiteY545" fmla="*/ 813832 h 859307"/>
                    <a:gd name="connsiteX546" fmla="*/ 457643 w 484709"/>
                    <a:gd name="connsiteY546" fmla="*/ 817183 h 859307"/>
                    <a:gd name="connsiteX547" fmla="*/ 453733 w 484709"/>
                    <a:gd name="connsiteY547" fmla="*/ 821300 h 859307"/>
                    <a:gd name="connsiteX548" fmla="*/ 451013 w 484709"/>
                    <a:gd name="connsiteY548" fmla="*/ 823085 h 859307"/>
                    <a:gd name="connsiteX549" fmla="*/ 447844 w 484709"/>
                    <a:gd name="connsiteY549" fmla="*/ 823983 h 859307"/>
                    <a:gd name="connsiteX550" fmla="*/ 448900 w 484709"/>
                    <a:gd name="connsiteY550" fmla="*/ 827577 h 859307"/>
                    <a:gd name="connsiteX551" fmla="*/ 449386 w 484709"/>
                    <a:gd name="connsiteY551" fmla="*/ 830297 h 859307"/>
                    <a:gd name="connsiteX552" fmla="*/ 448475 w 484709"/>
                    <a:gd name="connsiteY552" fmla="*/ 833090 h 859307"/>
                    <a:gd name="connsiteX553" fmla="*/ 446593 w 484709"/>
                    <a:gd name="connsiteY553" fmla="*/ 836381 h 859307"/>
                    <a:gd name="connsiteX554" fmla="*/ 442282 w 484709"/>
                    <a:gd name="connsiteY554" fmla="*/ 841542 h 859307"/>
                    <a:gd name="connsiteX555" fmla="*/ 440497 w 484709"/>
                    <a:gd name="connsiteY555" fmla="*/ 844905 h 859307"/>
                    <a:gd name="connsiteX556" fmla="*/ 439781 w 484709"/>
                    <a:gd name="connsiteY556" fmla="*/ 846678 h 859307"/>
                    <a:gd name="connsiteX557" fmla="*/ 440242 w 484709"/>
                    <a:gd name="connsiteY557" fmla="*/ 848427 h 859307"/>
                    <a:gd name="connsiteX558" fmla="*/ 440182 w 484709"/>
                    <a:gd name="connsiteY558" fmla="*/ 849908 h 859307"/>
                    <a:gd name="connsiteX559" fmla="*/ 439817 w 484709"/>
                    <a:gd name="connsiteY559" fmla="*/ 851742 h 859307"/>
                    <a:gd name="connsiteX560" fmla="*/ 438834 w 484709"/>
                    <a:gd name="connsiteY560" fmla="*/ 853697 h 859307"/>
                    <a:gd name="connsiteX561" fmla="*/ 436648 w 484709"/>
                    <a:gd name="connsiteY561" fmla="*/ 855664 h 859307"/>
                    <a:gd name="connsiteX562" fmla="*/ 434110 w 484709"/>
                    <a:gd name="connsiteY562" fmla="*/ 856684 h 859307"/>
                    <a:gd name="connsiteX563" fmla="*/ 433491 w 484709"/>
                    <a:gd name="connsiteY563" fmla="*/ 856878 h 859307"/>
                    <a:gd name="connsiteX564" fmla="*/ 429350 w 484709"/>
                    <a:gd name="connsiteY564" fmla="*/ 856441 h 859307"/>
                    <a:gd name="connsiteX565" fmla="*/ 428719 w 484709"/>
                    <a:gd name="connsiteY565" fmla="*/ 857376 h 859307"/>
                    <a:gd name="connsiteX566" fmla="*/ 426885 w 484709"/>
                    <a:gd name="connsiteY566" fmla="*/ 859307 h 859307"/>
                    <a:gd name="connsiteX567" fmla="*/ 403328 w 484709"/>
                    <a:gd name="connsiteY567" fmla="*/ 842222 h 859307"/>
                    <a:gd name="connsiteX568" fmla="*/ 304496 w 484709"/>
                    <a:gd name="connsiteY568" fmla="*/ 623042 h 859307"/>
                    <a:gd name="connsiteX569" fmla="*/ 305978 w 484709"/>
                    <a:gd name="connsiteY569" fmla="*/ 622508 h 859307"/>
                    <a:gd name="connsiteX570" fmla="*/ 307860 w 484709"/>
                    <a:gd name="connsiteY570" fmla="*/ 620249 h 859307"/>
                    <a:gd name="connsiteX571" fmla="*/ 304047 w 484709"/>
                    <a:gd name="connsiteY571" fmla="*/ 617590 h 859307"/>
                    <a:gd name="connsiteX572" fmla="*/ 302493 w 484709"/>
                    <a:gd name="connsiteY572" fmla="*/ 617019 h 859307"/>
                    <a:gd name="connsiteX573" fmla="*/ 298449 w 484709"/>
                    <a:gd name="connsiteY573" fmla="*/ 618658 h 859307"/>
                    <a:gd name="connsiteX574" fmla="*/ 295134 w 484709"/>
                    <a:gd name="connsiteY574" fmla="*/ 616849 h 859307"/>
                    <a:gd name="connsiteX575" fmla="*/ 290763 w 484709"/>
                    <a:gd name="connsiteY575" fmla="*/ 613619 h 859307"/>
                    <a:gd name="connsiteX576" fmla="*/ 294017 w 484709"/>
                    <a:gd name="connsiteY576" fmla="*/ 607268 h 859307"/>
                    <a:gd name="connsiteX577" fmla="*/ 293968 w 484709"/>
                    <a:gd name="connsiteY577" fmla="*/ 604184 h 859307"/>
                    <a:gd name="connsiteX578" fmla="*/ 293167 w 484709"/>
                    <a:gd name="connsiteY578" fmla="*/ 600662 h 859307"/>
                    <a:gd name="connsiteX579" fmla="*/ 293155 w 484709"/>
                    <a:gd name="connsiteY579" fmla="*/ 599448 h 859307"/>
                    <a:gd name="connsiteX580" fmla="*/ 292013 w 484709"/>
                    <a:gd name="connsiteY580" fmla="*/ 601318 h 859307"/>
                    <a:gd name="connsiteX581" fmla="*/ 291054 w 484709"/>
                    <a:gd name="connsiteY581" fmla="*/ 603504 h 859307"/>
                    <a:gd name="connsiteX582" fmla="*/ 287727 w 484709"/>
                    <a:gd name="connsiteY582" fmla="*/ 618998 h 859307"/>
                    <a:gd name="connsiteX583" fmla="*/ 287861 w 484709"/>
                    <a:gd name="connsiteY583" fmla="*/ 619484 h 859307"/>
                    <a:gd name="connsiteX584" fmla="*/ 289913 w 484709"/>
                    <a:gd name="connsiteY584" fmla="*/ 620164 h 859307"/>
                    <a:gd name="connsiteX585" fmla="*/ 298085 w 484709"/>
                    <a:gd name="connsiteY585" fmla="*/ 621694 h 859307"/>
                    <a:gd name="connsiteX586" fmla="*/ 300186 w 484709"/>
                    <a:gd name="connsiteY586" fmla="*/ 621135 h 859307"/>
                    <a:gd name="connsiteX587" fmla="*/ 304496 w 484709"/>
                    <a:gd name="connsiteY587" fmla="*/ 623042 h 859307"/>
                    <a:gd name="connsiteX588" fmla="*/ 284485 w 484709"/>
                    <a:gd name="connsiteY588" fmla="*/ 557458 h 859307"/>
                    <a:gd name="connsiteX589" fmla="*/ 287132 w 484709"/>
                    <a:gd name="connsiteY589" fmla="*/ 561829 h 859307"/>
                    <a:gd name="connsiteX590" fmla="*/ 288443 w 484709"/>
                    <a:gd name="connsiteY590" fmla="*/ 564731 h 859307"/>
                    <a:gd name="connsiteX591" fmla="*/ 288626 w 484709"/>
                    <a:gd name="connsiteY591" fmla="*/ 565703 h 859307"/>
                    <a:gd name="connsiteX592" fmla="*/ 289269 w 484709"/>
                    <a:gd name="connsiteY592" fmla="*/ 564853 h 859307"/>
                    <a:gd name="connsiteX593" fmla="*/ 289548 w 484709"/>
                    <a:gd name="connsiteY593" fmla="*/ 564222 h 859307"/>
                    <a:gd name="connsiteX594" fmla="*/ 289196 w 484709"/>
                    <a:gd name="connsiteY594" fmla="*/ 561258 h 859307"/>
                    <a:gd name="connsiteX595" fmla="*/ 287836 w 484709"/>
                    <a:gd name="connsiteY595" fmla="*/ 558611 h 859307"/>
                    <a:gd name="connsiteX596" fmla="*/ 283878 w 484709"/>
                    <a:gd name="connsiteY596" fmla="*/ 551714 h 859307"/>
                    <a:gd name="connsiteX597" fmla="*/ 282979 w 484709"/>
                    <a:gd name="connsiteY597" fmla="*/ 548751 h 859307"/>
                    <a:gd name="connsiteX598" fmla="*/ 276337 w 484709"/>
                    <a:gd name="connsiteY598" fmla="*/ 542145 h 859307"/>
                    <a:gd name="connsiteX599" fmla="*/ 276215 w 484709"/>
                    <a:gd name="connsiteY599" fmla="*/ 541963 h 859307"/>
                    <a:gd name="connsiteX600" fmla="*/ 274443 w 484709"/>
                    <a:gd name="connsiteY600" fmla="*/ 543603 h 859307"/>
                    <a:gd name="connsiteX601" fmla="*/ 275766 w 484709"/>
                    <a:gd name="connsiteY601" fmla="*/ 547574 h 859307"/>
                    <a:gd name="connsiteX602" fmla="*/ 276361 w 484709"/>
                    <a:gd name="connsiteY602" fmla="*/ 549565 h 859307"/>
                    <a:gd name="connsiteX603" fmla="*/ 274552 w 484709"/>
                    <a:gd name="connsiteY603" fmla="*/ 550974 h 859307"/>
                    <a:gd name="connsiteX604" fmla="*/ 274661 w 484709"/>
                    <a:gd name="connsiteY604" fmla="*/ 551289 h 859307"/>
                    <a:gd name="connsiteX605" fmla="*/ 277903 w 484709"/>
                    <a:gd name="connsiteY605" fmla="*/ 548824 h 859307"/>
                    <a:gd name="connsiteX606" fmla="*/ 279093 w 484709"/>
                    <a:gd name="connsiteY606" fmla="*/ 553038 h 859307"/>
                    <a:gd name="connsiteX607" fmla="*/ 282372 w 484709"/>
                    <a:gd name="connsiteY607" fmla="*/ 550694 h 859307"/>
                    <a:gd name="connsiteX608" fmla="*/ 284485 w 484709"/>
                    <a:gd name="connsiteY608" fmla="*/ 557458 h 859307"/>
                    <a:gd name="connsiteX609" fmla="*/ 264643 w 484709"/>
                    <a:gd name="connsiteY609" fmla="*/ 526093 h 859307"/>
                    <a:gd name="connsiteX610" fmla="*/ 265396 w 484709"/>
                    <a:gd name="connsiteY610" fmla="*/ 529566 h 859307"/>
                    <a:gd name="connsiteX611" fmla="*/ 266829 w 484709"/>
                    <a:gd name="connsiteY611" fmla="*/ 532783 h 859307"/>
                    <a:gd name="connsiteX612" fmla="*/ 265663 w 484709"/>
                    <a:gd name="connsiteY612" fmla="*/ 528023 h 859307"/>
                    <a:gd name="connsiteX613" fmla="*/ 266222 w 484709"/>
                    <a:gd name="connsiteY613" fmla="*/ 525741 h 859307"/>
                    <a:gd name="connsiteX614" fmla="*/ 264558 w 484709"/>
                    <a:gd name="connsiteY614" fmla="*/ 524708 h 859307"/>
                    <a:gd name="connsiteX615" fmla="*/ 264643 w 484709"/>
                    <a:gd name="connsiteY615" fmla="*/ 526093 h 859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Lst>
                  <a:rect l="l" t="t" r="r" b="b"/>
                  <a:pathLst>
                    <a:path w="484709" h="859307">
                      <a:moveTo>
                        <a:pt x="403328" y="842222"/>
                      </a:moveTo>
                      <a:lnTo>
                        <a:pt x="396601" y="834887"/>
                      </a:lnTo>
                      <a:lnTo>
                        <a:pt x="380924" y="812678"/>
                      </a:lnTo>
                      <a:lnTo>
                        <a:pt x="370736" y="803425"/>
                      </a:lnTo>
                      <a:lnTo>
                        <a:pt x="368113" y="796844"/>
                      </a:lnTo>
                      <a:lnTo>
                        <a:pt x="355132" y="781957"/>
                      </a:lnTo>
                      <a:lnTo>
                        <a:pt x="353007" y="777403"/>
                      </a:lnTo>
                      <a:lnTo>
                        <a:pt x="346754" y="771793"/>
                      </a:lnTo>
                      <a:lnTo>
                        <a:pt x="339553" y="759747"/>
                      </a:lnTo>
                      <a:lnTo>
                        <a:pt x="336833" y="756480"/>
                      </a:lnTo>
                      <a:lnTo>
                        <a:pt x="321096" y="743342"/>
                      </a:lnTo>
                      <a:lnTo>
                        <a:pt x="317003" y="737295"/>
                      </a:lnTo>
                      <a:lnTo>
                        <a:pt x="317890" y="734696"/>
                      </a:lnTo>
                      <a:lnTo>
                        <a:pt x="314903" y="732292"/>
                      </a:lnTo>
                      <a:lnTo>
                        <a:pt x="313349" y="728977"/>
                      </a:lnTo>
                      <a:lnTo>
                        <a:pt x="312450" y="725297"/>
                      </a:lnTo>
                      <a:lnTo>
                        <a:pt x="312207" y="722335"/>
                      </a:lnTo>
                      <a:lnTo>
                        <a:pt x="311734" y="720708"/>
                      </a:lnTo>
                      <a:lnTo>
                        <a:pt x="309609" y="717817"/>
                      </a:lnTo>
                      <a:lnTo>
                        <a:pt x="307192" y="710787"/>
                      </a:lnTo>
                      <a:lnTo>
                        <a:pt x="301594" y="699190"/>
                      </a:lnTo>
                      <a:lnTo>
                        <a:pt x="301849" y="695936"/>
                      </a:lnTo>
                      <a:lnTo>
                        <a:pt x="300514" y="695936"/>
                      </a:lnTo>
                      <a:lnTo>
                        <a:pt x="298510" y="694127"/>
                      </a:lnTo>
                      <a:lnTo>
                        <a:pt x="283586" y="660090"/>
                      </a:lnTo>
                      <a:lnTo>
                        <a:pt x="273872" y="627996"/>
                      </a:lnTo>
                      <a:lnTo>
                        <a:pt x="269865" y="601002"/>
                      </a:lnTo>
                      <a:lnTo>
                        <a:pt x="271067" y="595089"/>
                      </a:lnTo>
                      <a:lnTo>
                        <a:pt x="267327" y="567646"/>
                      </a:lnTo>
                      <a:lnTo>
                        <a:pt x="262907" y="554082"/>
                      </a:lnTo>
                      <a:lnTo>
                        <a:pt x="261668" y="552321"/>
                      </a:lnTo>
                      <a:lnTo>
                        <a:pt x="260381" y="542996"/>
                      </a:lnTo>
                      <a:lnTo>
                        <a:pt x="259118" y="538843"/>
                      </a:lnTo>
                      <a:lnTo>
                        <a:pt x="262591" y="536414"/>
                      </a:lnTo>
                      <a:lnTo>
                        <a:pt x="259118" y="533427"/>
                      </a:lnTo>
                      <a:lnTo>
                        <a:pt x="255900" y="527926"/>
                      </a:lnTo>
                      <a:lnTo>
                        <a:pt x="249707" y="512238"/>
                      </a:lnTo>
                      <a:lnTo>
                        <a:pt x="249270" y="508388"/>
                      </a:lnTo>
                      <a:lnTo>
                        <a:pt x="250035" y="504782"/>
                      </a:lnTo>
                      <a:lnTo>
                        <a:pt x="248566" y="502632"/>
                      </a:lnTo>
                      <a:lnTo>
                        <a:pt x="248566" y="497059"/>
                      </a:lnTo>
                      <a:lnTo>
                        <a:pt x="248493" y="497034"/>
                      </a:lnTo>
                      <a:lnTo>
                        <a:pt x="246028" y="493950"/>
                      </a:lnTo>
                      <a:lnTo>
                        <a:pt x="244328" y="490817"/>
                      </a:lnTo>
                      <a:lnTo>
                        <a:pt x="241353" y="482706"/>
                      </a:lnTo>
                      <a:lnTo>
                        <a:pt x="237965" y="466629"/>
                      </a:lnTo>
                      <a:lnTo>
                        <a:pt x="235367" y="459234"/>
                      </a:lnTo>
                      <a:lnTo>
                        <a:pt x="229016" y="450916"/>
                      </a:lnTo>
                      <a:lnTo>
                        <a:pt x="227619" y="446714"/>
                      </a:lnTo>
                      <a:lnTo>
                        <a:pt x="227170" y="442319"/>
                      </a:lnTo>
                      <a:lnTo>
                        <a:pt x="225179" y="434450"/>
                      </a:lnTo>
                      <a:lnTo>
                        <a:pt x="223964" y="432155"/>
                      </a:lnTo>
                      <a:lnTo>
                        <a:pt x="219726" y="428475"/>
                      </a:lnTo>
                      <a:lnTo>
                        <a:pt x="216970" y="424991"/>
                      </a:lnTo>
                      <a:lnTo>
                        <a:pt x="215270" y="417013"/>
                      </a:lnTo>
                      <a:lnTo>
                        <a:pt x="204147" y="394852"/>
                      </a:lnTo>
                      <a:lnTo>
                        <a:pt x="203103" y="390760"/>
                      </a:lnTo>
                      <a:lnTo>
                        <a:pt x="202726" y="389922"/>
                      </a:lnTo>
                      <a:lnTo>
                        <a:pt x="202144" y="389339"/>
                      </a:lnTo>
                      <a:lnTo>
                        <a:pt x="200674" y="386983"/>
                      </a:lnTo>
                      <a:lnTo>
                        <a:pt x="200371" y="383365"/>
                      </a:lnTo>
                      <a:lnTo>
                        <a:pt x="201148" y="382065"/>
                      </a:lnTo>
                      <a:lnTo>
                        <a:pt x="201852" y="381154"/>
                      </a:lnTo>
                      <a:lnTo>
                        <a:pt x="199290" y="380049"/>
                      </a:lnTo>
                      <a:lnTo>
                        <a:pt x="195671" y="371197"/>
                      </a:lnTo>
                      <a:lnTo>
                        <a:pt x="192793" y="354816"/>
                      </a:lnTo>
                      <a:lnTo>
                        <a:pt x="184026" y="323779"/>
                      </a:lnTo>
                      <a:lnTo>
                        <a:pt x="167257" y="283817"/>
                      </a:lnTo>
                      <a:lnTo>
                        <a:pt x="166419" y="282311"/>
                      </a:lnTo>
                      <a:lnTo>
                        <a:pt x="165860" y="281558"/>
                      </a:lnTo>
                      <a:lnTo>
                        <a:pt x="165010" y="279700"/>
                      </a:lnTo>
                      <a:lnTo>
                        <a:pt x="164209" y="274855"/>
                      </a:lnTo>
                      <a:lnTo>
                        <a:pt x="164500" y="274649"/>
                      </a:lnTo>
                      <a:lnTo>
                        <a:pt x="161695" y="270860"/>
                      </a:lnTo>
                      <a:lnTo>
                        <a:pt x="158308" y="262967"/>
                      </a:lnTo>
                      <a:lnTo>
                        <a:pt x="155102" y="257624"/>
                      </a:lnTo>
                      <a:lnTo>
                        <a:pt x="153778" y="256349"/>
                      </a:lnTo>
                      <a:lnTo>
                        <a:pt x="151653" y="255596"/>
                      </a:lnTo>
                      <a:lnTo>
                        <a:pt x="148787" y="255596"/>
                      </a:lnTo>
                      <a:lnTo>
                        <a:pt x="144367" y="254176"/>
                      </a:lnTo>
                      <a:lnTo>
                        <a:pt x="141987" y="250569"/>
                      </a:lnTo>
                      <a:lnTo>
                        <a:pt x="141429" y="245992"/>
                      </a:lnTo>
                      <a:lnTo>
                        <a:pt x="140494" y="243041"/>
                      </a:lnTo>
                      <a:lnTo>
                        <a:pt x="136560" y="237759"/>
                      </a:lnTo>
                      <a:lnTo>
                        <a:pt x="137300" y="234820"/>
                      </a:lnTo>
                      <a:lnTo>
                        <a:pt x="127440" y="210971"/>
                      </a:lnTo>
                      <a:lnTo>
                        <a:pt x="123190" y="205216"/>
                      </a:lnTo>
                      <a:lnTo>
                        <a:pt x="100616" y="180310"/>
                      </a:lnTo>
                      <a:lnTo>
                        <a:pt x="98674" y="181415"/>
                      </a:lnTo>
                      <a:lnTo>
                        <a:pt x="96609" y="182314"/>
                      </a:lnTo>
                      <a:lnTo>
                        <a:pt x="94727" y="180092"/>
                      </a:lnTo>
                      <a:lnTo>
                        <a:pt x="93914" y="178720"/>
                      </a:lnTo>
                      <a:lnTo>
                        <a:pt x="93537" y="177420"/>
                      </a:lnTo>
                      <a:lnTo>
                        <a:pt x="89348" y="172794"/>
                      </a:lnTo>
                      <a:lnTo>
                        <a:pt x="83847" y="162229"/>
                      </a:lnTo>
                      <a:lnTo>
                        <a:pt x="87174" y="161586"/>
                      </a:lnTo>
                      <a:lnTo>
                        <a:pt x="85559" y="160408"/>
                      </a:lnTo>
                      <a:lnTo>
                        <a:pt x="82778" y="157008"/>
                      </a:lnTo>
                      <a:lnTo>
                        <a:pt x="79706" y="151216"/>
                      </a:lnTo>
                      <a:lnTo>
                        <a:pt x="81309" y="146346"/>
                      </a:lnTo>
                      <a:lnTo>
                        <a:pt x="86980" y="146735"/>
                      </a:lnTo>
                      <a:lnTo>
                        <a:pt x="84879" y="144695"/>
                      </a:lnTo>
                      <a:lnTo>
                        <a:pt x="84733" y="142995"/>
                      </a:lnTo>
                      <a:lnTo>
                        <a:pt x="84964" y="140894"/>
                      </a:lnTo>
                      <a:lnTo>
                        <a:pt x="84114" y="138272"/>
                      </a:lnTo>
                      <a:lnTo>
                        <a:pt x="85972" y="132540"/>
                      </a:lnTo>
                      <a:lnTo>
                        <a:pt x="83908" y="135709"/>
                      </a:lnTo>
                      <a:lnTo>
                        <a:pt x="78480" y="134617"/>
                      </a:lnTo>
                      <a:lnTo>
                        <a:pt x="76173" y="134009"/>
                      </a:lnTo>
                      <a:lnTo>
                        <a:pt x="75529" y="134337"/>
                      </a:lnTo>
                      <a:lnTo>
                        <a:pt x="75347" y="144234"/>
                      </a:lnTo>
                      <a:lnTo>
                        <a:pt x="75456" y="149904"/>
                      </a:lnTo>
                      <a:lnTo>
                        <a:pt x="73271" y="150281"/>
                      </a:lnTo>
                      <a:lnTo>
                        <a:pt x="77921" y="161282"/>
                      </a:lnTo>
                      <a:lnTo>
                        <a:pt x="67758" y="152163"/>
                      </a:lnTo>
                      <a:lnTo>
                        <a:pt x="64418" y="149030"/>
                      </a:lnTo>
                      <a:lnTo>
                        <a:pt x="62803" y="144683"/>
                      </a:lnTo>
                      <a:lnTo>
                        <a:pt x="61553" y="137312"/>
                      </a:lnTo>
                      <a:lnTo>
                        <a:pt x="54874" y="122036"/>
                      </a:lnTo>
                      <a:lnTo>
                        <a:pt x="52117" y="112128"/>
                      </a:lnTo>
                      <a:lnTo>
                        <a:pt x="47078" y="117446"/>
                      </a:lnTo>
                      <a:lnTo>
                        <a:pt x="47552" y="106918"/>
                      </a:lnTo>
                      <a:lnTo>
                        <a:pt x="47333" y="104988"/>
                      </a:lnTo>
                      <a:lnTo>
                        <a:pt x="46265" y="101126"/>
                      </a:lnTo>
                      <a:lnTo>
                        <a:pt x="43423" y="94521"/>
                      </a:lnTo>
                      <a:lnTo>
                        <a:pt x="31535" y="74132"/>
                      </a:lnTo>
                      <a:lnTo>
                        <a:pt x="29872" y="69603"/>
                      </a:lnTo>
                      <a:lnTo>
                        <a:pt x="29641" y="68097"/>
                      </a:lnTo>
                      <a:lnTo>
                        <a:pt x="29313" y="67539"/>
                      </a:lnTo>
                      <a:lnTo>
                        <a:pt x="28730" y="67393"/>
                      </a:lnTo>
                      <a:lnTo>
                        <a:pt x="26520" y="65305"/>
                      </a:lnTo>
                      <a:lnTo>
                        <a:pt x="25695" y="62730"/>
                      </a:lnTo>
                      <a:lnTo>
                        <a:pt x="24966" y="58505"/>
                      </a:lnTo>
                      <a:lnTo>
                        <a:pt x="23654" y="56489"/>
                      </a:lnTo>
                      <a:lnTo>
                        <a:pt x="19793" y="51000"/>
                      </a:lnTo>
                      <a:lnTo>
                        <a:pt x="5294" y="14499"/>
                      </a:lnTo>
                      <a:lnTo>
                        <a:pt x="3667" y="11536"/>
                      </a:lnTo>
                      <a:lnTo>
                        <a:pt x="862" y="8354"/>
                      </a:lnTo>
                      <a:lnTo>
                        <a:pt x="0" y="4881"/>
                      </a:lnTo>
                      <a:lnTo>
                        <a:pt x="2453" y="2914"/>
                      </a:lnTo>
                      <a:lnTo>
                        <a:pt x="10661" y="364"/>
                      </a:lnTo>
                      <a:lnTo>
                        <a:pt x="15592" y="0"/>
                      </a:lnTo>
                      <a:lnTo>
                        <a:pt x="18639" y="364"/>
                      </a:lnTo>
                      <a:lnTo>
                        <a:pt x="20667" y="886"/>
                      </a:lnTo>
                      <a:lnTo>
                        <a:pt x="22464" y="1785"/>
                      </a:lnTo>
                      <a:lnTo>
                        <a:pt x="23132" y="2708"/>
                      </a:lnTo>
                      <a:lnTo>
                        <a:pt x="23739" y="3801"/>
                      </a:lnTo>
                      <a:lnTo>
                        <a:pt x="24177" y="5051"/>
                      </a:lnTo>
                      <a:lnTo>
                        <a:pt x="24432" y="6108"/>
                      </a:lnTo>
                      <a:lnTo>
                        <a:pt x="24881" y="9301"/>
                      </a:lnTo>
                      <a:lnTo>
                        <a:pt x="25172" y="10127"/>
                      </a:lnTo>
                      <a:lnTo>
                        <a:pt x="25549" y="10625"/>
                      </a:lnTo>
                      <a:lnTo>
                        <a:pt x="26265" y="11244"/>
                      </a:lnTo>
                      <a:lnTo>
                        <a:pt x="30005" y="11438"/>
                      </a:lnTo>
                      <a:lnTo>
                        <a:pt x="31183" y="11706"/>
                      </a:lnTo>
                      <a:lnTo>
                        <a:pt x="32434" y="12325"/>
                      </a:lnTo>
                      <a:lnTo>
                        <a:pt x="34255" y="14304"/>
                      </a:lnTo>
                      <a:lnTo>
                        <a:pt x="34352" y="14681"/>
                      </a:lnTo>
                      <a:lnTo>
                        <a:pt x="34462" y="16028"/>
                      </a:lnTo>
                      <a:lnTo>
                        <a:pt x="34097" y="17571"/>
                      </a:lnTo>
                      <a:lnTo>
                        <a:pt x="34765" y="17874"/>
                      </a:lnTo>
                      <a:lnTo>
                        <a:pt x="36344" y="16259"/>
                      </a:lnTo>
                      <a:lnTo>
                        <a:pt x="38955" y="14754"/>
                      </a:lnTo>
                      <a:lnTo>
                        <a:pt x="42112" y="14705"/>
                      </a:lnTo>
                      <a:lnTo>
                        <a:pt x="45208" y="15555"/>
                      </a:lnTo>
                      <a:lnTo>
                        <a:pt x="50005" y="18251"/>
                      </a:lnTo>
                      <a:lnTo>
                        <a:pt x="51875" y="19623"/>
                      </a:lnTo>
                      <a:lnTo>
                        <a:pt x="52725" y="21189"/>
                      </a:lnTo>
                      <a:lnTo>
                        <a:pt x="52834" y="22914"/>
                      </a:lnTo>
                      <a:lnTo>
                        <a:pt x="52543" y="24128"/>
                      </a:lnTo>
                      <a:lnTo>
                        <a:pt x="52020" y="25524"/>
                      </a:lnTo>
                      <a:lnTo>
                        <a:pt x="51923" y="27261"/>
                      </a:lnTo>
                      <a:lnTo>
                        <a:pt x="52652" y="28463"/>
                      </a:lnTo>
                      <a:lnTo>
                        <a:pt x="53186" y="29046"/>
                      </a:lnTo>
                      <a:lnTo>
                        <a:pt x="53720" y="28985"/>
                      </a:lnTo>
                      <a:lnTo>
                        <a:pt x="53975" y="28621"/>
                      </a:lnTo>
                      <a:lnTo>
                        <a:pt x="55991" y="27916"/>
                      </a:lnTo>
                      <a:lnTo>
                        <a:pt x="58869" y="27892"/>
                      </a:lnTo>
                      <a:lnTo>
                        <a:pt x="59755" y="27953"/>
                      </a:lnTo>
                      <a:lnTo>
                        <a:pt x="61613" y="29337"/>
                      </a:lnTo>
                      <a:lnTo>
                        <a:pt x="65074" y="34474"/>
                      </a:lnTo>
                      <a:lnTo>
                        <a:pt x="65341" y="34704"/>
                      </a:lnTo>
                      <a:lnTo>
                        <a:pt x="66106" y="34996"/>
                      </a:lnTo>
                      <a:lnTo>
                        <a:pt x="66483" y="34886"/>
                      </a:lnTo>
                      <a:lnTo>
                        <a:pt x="67357" y="34328"/>
                      </a:lnTo>
                      <a:lnTo>
                        <a:pt x="68255" y="33114"/>
                      </a:lnTo>
                      <a:lnTo>
                        <a:pt x="69081" y="32130"/>
                      </a:lnTo>
                      <a:lnTo>
                        <a:pt x="72736" y="31887"/>
                      </a:lnTo>
                      <a:lnTo>
                        <a:pt x="82244" y="34206"/>
                      </a:lnTo>
                      <a:lnTo>
                        <a:pt x="85207" y="34984"/>
                      </a:lnTo>
                      <a:lnTo>
                        <a:pt x="83094" y="42792"/>
                      </a:lnTo>
                      <a:lnTo>
                        <a:pt x="80034" y="46434"/>
                      </a:lnTo>
                      <a:lnTo>
                        <a:pt x="79973" y="46981"/>
                      </a:lnTo>
                      <a:lnTo>
                        <a:pt x="80423" y="47673"/>
                      </a:lnTo>
                      <a:lnTo>
                        <a:pt x="82463" y="49531"/>
                      </a:lnTo>
                      <a:lnTo>
                        <a:pt x="84163" y="52396"/>
                      </a:lnTo>
                      <a:lnTo>
                        <a:pt x="84903" y="53404"/>
                      </a:lnTo>
                      <a:lnTo>
                        <a:pt x="85474" y="53562"/>
                      </a:lnTo>
                      <a:lnTo>
                        <a:pt x="86191" y="54000"/>
                      </a:lnTo>
                      <a:lnTo>
                        <a:pt x="87502" y="54971"/>
                      </a:lnTo>
                      <a:lnTo>
                        <a:pt x="90173" y="58917"/>
                      </a:lnTo>
                      <a:lnTo>
                        <a:pt x="95286" y="57594"/>
                      </a:lnTo>
                      <a:lnTo>
                        <a:pt x="97301" y="57460"/>
                      </a:lnTo>
                      <a:lnTo>
                        <a:pt x="100471" y="58043"/>
                      </a:lnTo>
                      <a:lnTo>
                        <a:pt x="101661" y="59148"/>
                      </a:lnTo>
                      <a:lnTo>
                        <a:pt x="102426" y="60387"/>
                      </a:lnTo>
                      <a:lnTo>
                        <a:pt x="102790" y="61710"/>
                      </a:lnTo>
                      <a:lnTo>
                        <a:pt x="102802" y="63277"/>
                      </a:lnTo>
                      <a:lnTo>
                        <a:pt x="102608" y="64406"/>
                      </a:lnTo>
                      <a:lnTo>
                        <a:pt x="101964" y="66167"/>
                      </a:lnTo>
                      <a:lnTo>
                        <a:pt x="101139" y="67563"/>
                      </a:lnTo>
                      <a:lnTo>
                        <a:pt x="100131" y="68680"/>
                      </a:lnTo>
                      <a:lnTo>
                        <a:pt x="97605" y="70660"/>
                      </a:lnTo>
                      <a:lnTo>
                        <a:pt x="97338" y="71230"/>
                      </a:lnTo>
                      <a:lnTo>
                        <a:pt x="97277" y="72056"/>
                      </a:lnTo>
                      <a:lnTo>
                        <a:pt x="97459" y="74375"/>
                      </a:lnTo>
                      <a:lnTo>
                        <a:pt x="97714" y="75310"/>
                      </a:lnTo>
                      <a:lnTo>
                        <a:pt x="99985" y="77484"/>
                      </a:lnTo>
                      <a:lnTo>
                        <a:pt x="102426" y="81176"/>
                      </a:lnTo>
                      <a:lnTo>
                        <a:pt x="103931" y="85146"/>
                      </a:lnTo>
                      <a:lnTo>
                        <a:pt x="105255" y="91157"/>
                      </a:lnTo>
                      <a:lnTo>
                        <a:pt x="105923" y="93197"/>
                      </a:lnTo>
                      <a:lnTo>
                        <a:pt x="106214" y="93719"/>
                      </a:lnTo>
                      <a:lnTo>
                        <a:pt x="106518" y="92930"/>
                      </a:lnTo>
                      <a:lnTo>
                        <a:pt x="108060" y="92687"/>
                      </a:lnTo>
                      <a:lnTo>
                        <a:pt x="109335" y="92687"/>
                      </a:lnTo>
                      <a:lnTo>
                        <a:pt x="112079" y="93172"/>
                      </a:lnTo>
                      <a:lnTo>
                        <a:pt x="115576" y="96342"/>
                      </a:lnTo>
                      <a:lnTo>
                        <a:pt x="133633" y="117422"/>
                      </a:lnTo>
                      <a:lnTo>
                        <a:pt x="135819" y="119292"/>
                      </a:lnTo>
                      <a:lnTo>
                        <a:pt x="140712" y="120555"/>
                      </a:lnTo>
                      <a:lnTo>
                        <a:pt x="143153" y="121514"/>
                      </a:lnTo>
                      <a:lnTo>
                        <a:pt x="145995" y="123263"/>
                      </a:lnTo>
                      <a:lnTo>
                        <a:pt x="147901" y="125206"/>
                      </a:lnTo>
                      <a:lnTo>
                        <a:pt x="149249" y="127185"/>
                      </a:lnTo>
                      <a:lnTo>
                        <a:pt x="150439" y="129468"/>
                      </a:lnTo>
                      <a:lnTo>
                        <a:pt x="152576" y="128994"/>
                      </a:lnTo>
                      <a:lnTo>
                        <a:pt x="155248" y="129019"/>
                      </a:lnTo>
                      <a:lnTo>
                        <a:pt x="157931" y="130039"/>
                      </a:lnTo>
                      <a:lnTo>
                        <a:pt x="162667" y="133487"/>
                      </a:lnTo>
                      <a:lnTo>
                        <a:pt x="163857" y="134179"/>
                      </a:lnTo>
                      <a:lnTo>
                        <a:pt x="164731" y="134398"/>
                      </a:lnTo>
                      <a:lnTo>
                        <a:pt x="165435" y="134398"/>
                      </a:lnTo>
                      <a:lnTo>
                        <a:pt x="167415" y="134058"/>
                      </a:lnTo>
                      <a:lnTo>
                        <a:pt x="168714" y="134021"/>
                      </a:lnTo>
                      <a:lnTo>
                        <a:pt x="170608" y="134179"/>
                      </a:lnTo>
                      <a:lnTo>
                        <a:pt x="173814" y="135041"/>
                      </a:lnTo>
                      <a:lnTo>
                        <a:pt x="175903" y="136462"/>
                      </a:lnTo>
                      <a:lnTo>
                        <a:pt x="176983" y="139158"/>
                      </a:lnTo>
                      <a:lnTo>
                        <a:pt x="177930" y="145958"/>
                      </a:lnTo>
                      <a:lnTo>
                        <a:pt x="179096" y="148496"/>
                      </a:lnTo>
                      <a:lnTo>
                        <a:pt x="180043" y="149844"/>
                      </a:lnTo>
                      <a:lnTo>
                        <a:pt x="182557" y="152722"/>
                      </a:lnTo>
                      <a:lnTo>
                        <a:pt x="185641" y="155502"/>
                      </a:lnTo>
                      <a:lnTo>
                        <a:pt x="188131" y="156971"/>
                      </a:lnTo>
                      <a:lnTo>
                        <a:pt x="190620" y="158040"/>
                      </a:lnTo>
                      <a:lnTo>
                        <a:pt x="193498" y="158817"/>
                      </a:lnTo>
                      <a:lnTo>
                        <a:pt x="196813" y="159376"/>
                      </a:lnTo>
                      <a:lnTo>
                        <a:pt x="200480" y="159412"/>
                      </a:lnTo>
                      <a:lnTo>
                        <a:pt x="211615" y="162156"/>
                      </a:lnTo>
                      <a:lnTo>
                        <a:pt x="214031" y="161768"/>
                      </a:lnTo>
                      <a:lnTo>
                        <a:pt x="220637" y="158065"/>
                      </a:lnTo>
                      <a:lnTo>
                        <a:pt x="227717" y="155539"/>
                      </a:lnTo>
                      <a:lnTo>
                        <a:pt x="232659" y="155514"/>
                      </a:lnTo>
                      <a:lnTo>
                        <a:pt x="235755" y="157202"/>
                      </a:lnTo>
                      <a:lnTo>
                        <a:pt x="236799" y="159947"/>
                      </a:lnTo>
                      <a:lnTo>
                        <a:pt x="237103" y="165411"/>
                      </a:lnTo>
                      <a:lnTo>
                        <a:pt x="236338" y="172794"/>
                      </a:lnTo>
                      <a:lnTo>
                        <a:pt x="236629" y="174093"/>
                      </a:lnTo>
                      <a:lnTo>
                        <a:pt x="237115" y="174530"/>
                      </a:lnTo>
                      <a:lnTo>
                        <a:pt x="238779" y="175781"/>
                      </a:lnTo>
                      <a:lnTo>
                        <a:pt x="239762" y="175223"/>
                      </a:lnTo>
                      <a:lnTo>
                        <a:pt x="241377" y="174470"/>
                      </a:lnTo>
                      <a:lnTo>
                        <a:pt x="243575" y="173838"/>
                      </a:lnTo>
                      <a:lnTo>
                        <a:pt x="247473" y="173850"/>
                      </a:lnTo>
                      <a:lnTo>
                        <a:pt x="250545" y="174749"/>
                      </a:lnTo>
                      <a:lnTo>
                        <a:pt x="252950" y="176060"/>
                      </a:lnTo>
                      <a:lnTo>
                        <a:pt x="255172" y="178185"/>
                      </a:lnTo>
                      <a:lnTo>
                        <a:pt x="256471" y="180007"/>
                      </a:lnTo>
                      <a:lnTo>
                        <a:pt x="258535" y="183795"/>
                      </a:lnTo>
                      <a:lnTo>
                        <a:pt x="259264" y="184900"/>
                      </a:lnTo>
                      <a:lnTo>
                        <a:pt x="259798" y="185507"/>
                      </a:lnTo>
                      <a:lnTo>
                        <a:pt x="260891" y="185082"/>
                      </a:lnTo>
                      <a:lnTo>
                        <a:pt x="262834" y="184585"/>
                      </a:lnTo>
                      <a:lnTo>
                        <a:pt x="266113" y="184609"/>
                      </a:lnTo>
                      <a:lnTo>
                        <a:pt x="268213" y="185690"/>
                      </a:lnTo>
                      <a:lnTo>
                        <a:pt x="270217" y="187402"/>
                      </a:lnTo>
                      <a:lnTo>
                        <a:pt x="274819" y="193789"/>
                      </a:lnTo>
                      <a:lnTo>
                        <a:pt x="276920" y="195890"/>
                      </a:lnTo>
                      <a:lnTo>
                        <a:pt x="278049" y="196631"/>
                      </a:lnTo>
                      <a:lnTo>
                        <a:pt x="278790" y="196837"/>
                      </a:lnTo>
                      <a:lnTo>
                        <a:pt x="281765" y="197371"/>
                      </a:lnTo>
                      <a:lnTo>
                        <a:pt x="282955" y="197505"/>
                      </a:lnTo>
                      <a:lnTo>
                        <a:pt x="283562" y="197311"/>
                      </a:lnTo>
                      <a:lnTo>
                        <a:pt x="285335" y="196473"/>
                      </a:lnTo>
                      <a:lnTo>
                        <a:pt x="287217" y="196011"/>
                      </a:lnTo>
                      <a:lnTo>
                        <a:pt x="291115" y="196266"/>
                      </a:lnTo>
                      <a:lnTo>
                        <a:pt x="293118" y="197784"/>
                      </a:lnTo>
                      <a:lnTo>
                        <a:pt x="294818" y="200249"/>
                      </a:lnTo>
                      <a:lnTo>
                        <a:pt x="295608" y="202957"/>
                      </a:lnTo>
                      <a:lnTo>
                        <a:pt x="295863" y="207462"/>
                      </a:lnTo>
                      <a:lnTo>
                        <a:pt x="296312" y="209903"/>
                      </a:lnTo>
                      <a:lnTo>
                        <a:pt x="298692" y="213035"/>
                      </a:lnTo>
                      <a:lnTo>
                        <a:pt x="300089" y="215695"/>
                      </a:lnTo>
                      <a:lnTo>
                        <a:pt x="299991" y="216593"/>
                      </a:lnTo>
                      <a:lnTo>
                        <a:pt x="299032" y="219569"/>
                      </a:lnTo>
                      <a:lnTo>
                        <a:pt x="298704" y="219981"/>
                      </a:lnTo>
                      <a:lnTo>
                        <a:pt x="297745" y="220880"/>
                      </a:lnTo>
                      <a:lnTo>
                        <a:pt x="296348" y="221645"/>
                      </a:lnTo>
                      <a:lnTo>
                        <a:pt x="294855" y="222191"/>
                      </a:lnTo>
                      <a:lnTo>
                        <a:pt x="291346" y="222969"/>
                      </a:lnTo>
                      <a:lnTo>
                        <a:pt x="290204" y="224049"/>
                      </a:lnTo>
                      <a:lnTo>
                        <a:pt x="289221" y="225336"/>
                      </a:lnTo>
                      <a:lnTo>
                        <a:pt x="288565" y="226708"/>
                      </a:lnTo>
                      <a:lnTo>
                        <a:pt x="286658" y="229307"/>
                      </a:lnTo>
                      <a:lnTo>
                        <a:pt x="283173" y="232003"/>
                      </a:lnTo>
                      <a:lnTo>
                        <a:pt x="278110" y="233023"/>
                      </a:lnTo>
                      <a:lnTo>
                        <a:pt x="274345" y="232962"/>
                      </a:lnTo>
                      <a:lnTo>
                        <a:pt x="269258" y="231287"/>
                      </a:lnTo>
                      <a:lnTo>
                        <a:pt x="266853" y="230108"/>
                      </a:lnTo>
                      <a:lnTo>
                        <a:pt x="264995" y="229951"/>
                      </a:lnTo>
                      <a:lnTo>
                        <a:pt x="264765" y="230303"/>
                      </a:lnTo>
                      <a:lnTo>
                        <a:pt x="264692" y="231092"/>
                      </a:lnTo>
                      <a:lnTo>
                        <a:pt x="265712" y="234237"/>
                      </a:lnTo>
                      <a:lnTo>
                        <a:pt x="265712" y="236775"/>
                      </a:lnTo>
                      <a:lnTo>
                        <a:pt x="264558" y="240442"/>
                      </a:lnTo>
                      <a:lnTo>
                        <a:pt x="264862" y="241304"/>
                      </a:lnTo>
                      <a:lnTo>
                        <a:pt x="265469" y="242324"/>
                      </a:lnTo>
                      <a:lnTo>
                        <a:pt x="265943" y="243454"/>
                      </a:lnTo>
                      <a:lnTo>
                        <a:pt x="266465" y="245372"/>
                      </a:lnTo>
                      <a:lnTo>
                        <a:pt x="266635" y="246477"/>
                      </a:lnTo>
                      <a:lnTo>
                        <a:pt x="267254" y="247582"/>
                      </a:lnTo>
                      <a:lnTo>
                        <a:pt x="267533" y="247788"/>
                      </a:lnTo>
                      <a:lnTo>
                        <a:pt x="275220" y="249173"/>
                      </a:lnTo>
                      <a:lnTo>
                        <a:pt x="295911" y="255645"/>
                      </a:lnTo>
                      <a:lnTo>
                        <a:pt x="298255" y="256835"/>
                      </a:lnTo>
                      <a:lnTo>
                        <a:pt x="302772" y="260939"/>
                      </a:lnTo>
                      <a:lnTo>
                        <a:pt x="304132" y="261874"/>
                      </a:lnTo>
                      <a:lnTo>
                        <a:pt x="305905" y="262457"/>
                      </a:lnTo>
                      <a:lnTo>
                        <a:pt x="307775" y="262979"/>
                      </a:lnTo>
                      <a:lnTo>
                        <a:pt x="310556" y="264206"/>
                      </a:lnTo>
                      <a:lnTo>
                        <a:pt x="313069" y="266064"/>
                      </a:lnTo>
                      <a:lnTo>
                        <a:pt x="317319" y="272354"/>
                      </a:lnTo>
                      <a:lnTo>
                        <a:pt x="323852" y="275948"/>
                      </a:lnTo>
                      <a:lnTo>
                        <a:pt x="320901" y="283962"/>
                      </a:lnTo>
                      <a:lnTo>
                        <a:pt x="308892" y="292572"/>
                      </a:lnTo>
                      <a:lnTo>
                        <a:pt x="307556" y="293895"/>
                      </a:lnTo>
                      <a:lnTo>
                        <a:pt x="304071" y="298838"/>
                      </a:lnTo>
                      <a:lnTo>
                        <a:pt x="303926" y="299360"/>
                      </a:lnTo>
                      <a:lnTo>
                        <a:pt x="303938" y="299505"/>
                      </a:lnTo>
                      <a:lnTo>
                        <a:pt x="304715" y="299724"/>
                      </a:lnTo>
                      <a:lnTo>
                        <a:pt x="305529" y="299505"/>
                      </a:lnTo>
                      <a:lnTo>
                        <a:pt x="309390" y="297987"/>
                      </a:lnTo>
                      <a:lnTo>
                        <a:pt x="310519" y="297720"/>
                      </a:lnTo>
                      <a:lnTo>
                        <a:pt x="313021" y="297769"/>
                      </a:lnTo>
                      <a:lnTo>
                        <a:pt x="314539" y="298206"/>
                      </a:lnTo>
                      <a:lnTo>
                        <a:pt x="319129" y="300210"/>
                      </a:lnTo>
                      <a:lnTo>
                        <a:pt x="320452" y="300513"/>
                      </a:lnTo>
                      <a:lnTo>
                        <a:pt x="321460" y="300416"/>
                      </a:lnTo>
                      <a:lnTo>
                        <a:pt x="325224" y="299591"/>
                      </a:lnTo>
                      <a:lnTo>
                        <a:pt x="338351" y="298862"/>
                      </a:lnTo>
                      <a:lnTo>
                        <a:pt x="340609" y="298303"/>
                      </a:lnTo>
                      <a:lnTo>
                        <a:pt x="346086" y="294175"/>
                      </a:lnTo>
                      <a:lnTo>
                        <a:pt x="349194" y="292560"/>
                      </a:lnTo>
                      <a:lnTo>
                        <a:pt x="351999" y="293835"/>
                      </a:lnTo>
                      <a:lnTo>
                        <a:pt x="353068" y="295814"/>
                      </a:lnTo>
                      <a:lnTo>
                        <a:pt x="353287" y="297186"/>
                      </a:lnTo>
                      <a:lnTo>
                        <a:pt x="352825" y="301509"/>
                      </a:lnTo>
                      <a:lnTo>
                        <a:pt x="351647" y="304606"/>
                      </a:lnTo>
                      <a:lnTo>
                        <a:pt x="350275" y="307058"/>
                      </a:lnTo>
                      <a:lnTo>
                        <a:pt x="350251" y="307301"/>
                      </a:lnTo>
                      <a:lnTo>
                        <a:pt x="351344" y="309086"/>
                      </a:lnTo>
                      <a:lnTo>
                        <a:pt x="352097" y="309730"/>
                      </a:lnTo>
                      <a:lnTo>
                        <a:pt x="353274" y="310519"/>
                      </a:lnTo>
                      <a:lnTo>
                        <a:pt x="355570" y="313275"/>
                      </a:lnTo>
                      <a:lnTo>
                        <a:pt x="357306" y="317210"/>
                      </a:lnTo>
                      <a:lnTo>
                        <a:pt x="359455" y="324083"/>
                      </a:lnTo>
                      <a:lnTo>
                        <a:pt x="360815" y="326694"/>
                      </a:lnTo>
                      <a:lnTo>
                        <a:pt x="361580" y="327568"/>
                      </a:lnTo>
                      <a:lnTo>
                        <a:pt x="362406" y="327956"/>
                      </a:lnTo>
                      <a:lnTo>
                        <a:pt x="364070" y="329316"/>
                      </a:lnTo>
                      <a:lnTo>
                        <a:pt x="364786" y="329984"/>
                      </a:lnTo>
                      <a:lnTo>
                        <a:pt x="365199" y="331988"/>
                      </a:lnTo>
                      <a:lnTo>
                        <a:pt x="364944" y="334101"/>
                      </a:lnTo>
                      <a:lnTo>
                        <a:pt x="363693" y="336529"/>
                      </a:lnTo>
                      <a:lnTo>
                        <a:pt x="361823" y="337926"/>
                      </a:lnTo>
                      <a:lnTo>
                        <a:pt x="359067" y="338897"/>
                      </a:lnTo>
                      <a:lnTo>
                        <a:pt x="358435" y="339067"/>
                      </a:lnTo>
                      <a:lnTo>
                        <a:pt x="356140" y="338715"/>
                      </a:lnTo>
                      <a:lnTo>
                        <a:pt x="351672" y="336796"/>
                      </a:lnTo>
                      <a:lnTo>
                        <a:pt x="350421" y="336505"/>
                      </a:lnTo>
                      <a:lnTo>
                        <a:pt x="349717" y="336675"/>
                      </a:lnTo>
                      <a:lnTo>
                        <a:pt x="349401" y="337015"/>
                      </a:lnTo>
                      <a:lnTo>
                        <a:pt x="349328" y="337343"/>
                      </a:lnTo>
                      <a:lnTo>
                        <a:pt x="348782" y="338278"/>
                      </a:lnTo>
                      <a:lnTo>
                        <a:pt x="348284" y="339468"/>
                      </a:lnTo>
                      <a:lnTo>
                        <a:pt x="347701" y="341738"/>
                      </a:lnTo>
                      <a:lnTo>
                        <a:pt x="347373" y="343985"/>
                      </a:lnTo>
                      <a:lnTo>
                        <a:pt x="347579" y="346049"/>
                      </a:lnTo>
                      <a:lnTo>
                        <a:pt x="348320" y="349109"/>
                      </a:lnTo>
                      <a:lnTo>
                        <a:pt x="350421" y="352691"/>
                      </a:lnTo>
                      <a:lnTo>
                        <a:pt x="352254" y="353978"/>
                      </a:lnTo>
                      <a:lnTo>
                        <a:pt x="354598" y="355083"/>
                      </a:lnTo>
                      <a:lnTo>
                        <a:pt x="363390" y="357695"/>
                      </a:lnTo>
                      <a:lnTo>
                        <a:pt x="373322" y="362272"/>
                      </a:lnTo>
                      <a:lnTo>
                        <a:pt x="375496" y="363766"/>
                      </a:lnTo>
                      <a:lnTo>
                        <a:pt x="377293" y="366146"/>
                      </a:lnTo>
                      <a:lnTo>
                        <a:pt x="378410" y="368611"/>
                      </a:lnTo>
                      <a:lnTo>
                        <a:pt x="379430" y="371902"/>
                      </a:lnTo>
                      <a:lnTo>
                        <a:pt x="380086" y="373444"/>
                      </a:lnTo>
                      <a:lnTo>
                        <a:pt x="381082" y="375022"/>
                      </a:lnTo>
                      <a:lnTo>
                        <a:pt x="382029" y="375654"/>
                      </a:lnTo>
                      <a:lnTo>
                        <a:pt x="382976" y="376079"/>
                      </a:lnTo>
                      <a:lnTo>
                        <a:pt x="383935" y="376346"/>
                      </a:lnTo>
                      <a:lnTo>
                        <a:pt x="386279" y="377767"/>
                      </a:lnTo>
                      <a:lnTo>
                        <a:pt x="387263" y="379455"/>
                      </a:lnTo>
                      <a:lnTo>
                        <a:pt x="388113" y="382551"/>
                      </a:lnTo>
                      <a:lnTo>
                        <a:pt x="388125" y="385295"/>
                      </a:lnTo>
                      <a:lnTo>
                        <a:pt x="387675" y="387797"/>
                      </a:lnTo>
                      <a:lnTo>
                        <a:pt x="386437" y="391294"/>
                      </a:lnTo>
                      <a:lnTo>
                        <a:pt x="386048" y="393273"/>
                      </a:lnTo>
                      <a:lnTo>
                        <a:pt x="386061" y="399721"/>
                      </a:lnTo>
                      <a:lnTo>
                        <a:pt x="385356" y="403777"/>
                      </a:lnTo>
                      <a:lnTo>
                        <a:pt x="382235" y="407687"/>
                      </a:lnTo>
                      <a:lnTo>
                        <a:pt x="379358" y="409180"/>
                      </a:lnTo>
                      <a:lnTo>
                        <a:pt x="376431" y="410006"/>
                      </a:lnTo>
                      <a:lnTo>
                        <a:pt x="375435" y="410140"/>
                      </a:lnTo>
                      <a:lnTo>
                        <a:pt x="375278" y="411427"/>
                      </a:lnTo>
                      <a:lnTo>
                        <a:pt x="376334" y="426338"/>
                      </a:lnTo>
                      <a:lnTo>
                        <a:pt x="375618" y="436939"/>
                      </a:lnTo>
                      <a:lnTo>
                        <a:pt x="375108" y="439222"/>
                      </a:lnTo>
                      <a:lnTo>
                        <a:pt x="373274" y="443424"/>
                      </a:lnTo>
                      <a:lnTo>
                        <a:pt x="372934" y="448536"/>
                      </a:lnTo>
                      <a:lnTo>
                        <a:pt x="373213" y="450078"/>
                      </a:lnTo>
                      <a:lnTo>
                        <a:pt x="373650" y="451596"/>
                      </a:lnTo>
                      <a:lnTo>
                        <a:pt x="374342" y="453077"/>
                      </a:lnTo>
                      <a:lnTo>
                        <a:pt x="376771" y="456429"/>
                      </a:lnTo>
                      <a:lnTo>
                        <a:pt x="378131" y="459027"/>
                      </a:lnTo>
                      <a:lnTo>
                        <a:pt x="378872" y="462148"/>
                      </a:lnTo>
                      <a:lnTo>
                        <a:pt x="378386" y="468122"/>
                      </a:lnTo>
                      <a:lnTo>
                        <a:pt x="378459" y="470162"/>
                      </a:lnTo>
                      <a:lnTo>
                        <a:pt x="378568" y="470405"/>
                      </a:lnTo>
                      <a:lnTo>
                        <a:pt x="379649" y="471510"/>
                      </a:lnTo>
                      <a:lnTo>
                        <a:pt x="382903" y="473477"/>
                      </a:lnTo>
                      <a:lnTo>
                        <a:pt x="385320" y="475335"/>
                      </a:lnTo>
                      <a:lnTo>
                        <a:pt x="387797" y="477679"/>
                      </a:lnTo>
                      <a:lnTo>
                        <a:pt x="391768" y="482220"/>
                      </a:lnTo>
                      <a:lnTo>
                        <a:pt x="393213" y="483544"/>
                      </a:lnTo>
                      <a:lnTo>
                        <a:pt x="393796" y="483775"/>
                      </a:lnTo>
                      <a:lnTo>
                        <a:pt x="394755" y="483908"/>
                      </a:lnTo>
                      <a:lnTo>
                        <a:pt x="395896" y="484285"/>
                      </a:lnTo>
                      <a:lnTo>
                        <a:pt x="398373" y="485608"/>
                      </a:lnTo>
                      <a:lnTo>
                        <a:pt x="399891" y="485462"/>
                      </a:lnTo>
                      <a:lnTo>
                        <a:pt x="402126" y="484406"/>
                      </a:lnTo>
                      <a:lnTo>
                        <a:pt x="407906" y="480253"/>
                      </a:lnTo>
                      <a:lnTo>
                        <a:pt x="415835" y="472688"/>
                      </a:lnTo>
                      <a:lnTo>
                        <a:pt x="418178" y="471061"/>
                      </a:lnTo>
                      <a:lnTo>
                        <a:pt x="420886" y="469689"/>
                      </a:lnTo>
                      <a:lnTo>
                        <a:pt x="429544" y="466592"/>
                      </a:lnTo>
                      <a:lnTo>
                        <a:pt x="435871" y="463083"/>
                      </a:lnTo>
                      <a:lnTo>
                        <a:pt x="442428" y="461152"/>
                      </a:lnTo>
                      <a:lnTo>
                        <a:pt x="446957" y="464759"/>
                      </a:lnTo>
                      <a:lnTo>
                        <a:pt x="447868" y="465936"/>
                      </a:lnTo>
                      <a:lnTo>
                        <a:pt x="452482" y="473866"/>
                      </a:lnTo>
                      <a:lnTo>
                        <a:pt x="453587" y="475420"/>
                      </a:lnTo>
                      <a:lnTo>
                        <a:pt x="455069" y="479986"/>
                      </a:lnTo>
                      <a:lnTo>
                        <a:pt x="455457" y="484479"/>
                      </a:lnTo>
                      <a:lnTo>
                        <a:pt x="456368" y="486154"/>
                      </a:lnTo>
                      <a:lnTo>
                        <a:pt x="457169" y="487223"/>
                      </a:lnTo>
                      <a:lnTo>
                        <a:pt x="458675" y="487927"/>
                      </a:lnTo>
                      <a:lnTo>
                        <a:pt x="458954" y="488122"/>
                      </a:lnTo>
                      <a:lnTo>
                        <a:pt x="460472" y="489676"/>
                      </a:lnTo>
                      <a:lnTo>
                        <a:pt x="461092" y="491777"/>
                      </a:lnTo>
                      <a:lnTo>
                        <a:pt x="461213" y="494727"/>
                      </a:lnTo>
                      <a:lnTo>
                        <a:pt x="460327" y="498856"/>
                      </a:lnTo>
                      <a:lnTo>
                        <a:pt x="451256" y="517993"/>
                      </a:lnTo>
                      <a:lnTo>
                        <a:pt x="450867" y="519293"/>
                      </a:lnTo>
                      <a:lnTo>
                        <a:pt x="453514" y="525000"/>
                      </a:lnTo>
                      <a:lnTo>
                        <a:pt x="457485" y="537301"/>
                      </a:lnTo>
                      <a:lnTo>
                        <a:pt x="457631" y="540081"/>
                      </a:lnTo>
                      <a:lnTo>
                        <a:pt x="456939" y="543700"/>
                      </a:lnTo>
                      <a:lnTo>
                        <a:pt x="451487" y="554544"/>
                      </a:lnTo>
                      <a:lnTo>
                        <a:pt x="451317" y="555940"/>
                      </a:lnTo>
                      <a:lnTo>
                        <a:pt x="451195" y="557992"/>
                      </a:lnTo>
                      <a:lnTo>
                        <a:pt x="452203" y="565011"/>
                      </a:lnTo>
                      <a:lnTo>
                        <a:pt x="453320" y="568738"/>
                      </a:lnTo>
                      <a:lnTo>
                        <a:pt x="453381" y="573025"/>
                      </a:lnTo>
                      <a:lnTo>
                        <a:pt x="452944" y="576097"/>
                      </a:lnTo>
                      <a:lnTo>
                        <a:pt x="443897" y="605277"/>
                      </a:lnTo>
                      <a:lnTo>
                        <a:pt x="443812" y="606175"/>
                      </a:lnTo>
                      <a:lnTo>
                        <a:pt x="445184" y="607110"/>
                      </a:lnTo>
                      <a:lnTo>
                        <a:pt x="446411" y="607402"/>
                      </a:lnTo>
                      <a:lnTo>
                        <a:pt x="447953" y="607960"/>
                      </a:lnTo>
                      <a:lnTo>
                        <a:pt x="449738" y="608823"/>
                      </a:lnTo>
                      <a:lnTo>
                        <a:pt x="450831" y="609758"/>
                      </a:lnTo>
                      <a:lnTo>
                        <a:pt x="452810" y="611749"/>
                      </a:lnTo>
                      <a:lnTo>
                        <a:pt x="453879" y="611858"/>
                      </a:lnTo>
                      <a:lnTo>
                        <a:pt x="454449" y="611834"/>
                      </a:lnTo>
                      <a:lnTo>
                        <a:pt x="462440" y="608070"/>
                      </a:lnTo>
                      <a:lnTo>
                        <a:pt x="464431" y="607548"/>
                      </a:lnTo>
                      <a:lnTo>
                        <a:pt x="468377" y="607377"/>
                      </a:lnTo>
                      <a:lnTo>
                        <a:pt x="470782" y="607632"/>
                      </a:lnTo>
                      <a:lnTo>
                        <a:pt x="472579" y="608823"/>
                      </a:lnTo>
                      <a:lnTo>
                        <a:pt x="474364" y="610875"/>
                      </a:lnTo>
                      <a:lnTo>
                        <a:pt x="476197" y="615161"/>
                      </a:lnTo>
                      <a:lnTo>
                        <a:pt x="477424" y="617371"/>
                      </a:lnTo>
                      <a:lnTo>
                        <a:pt x="482888" y="623770"/>
                      </a:lnTo>
                      <a:lnTo>
                        <a:pt x="484710" y="627693"/>
                      </a:lnTo>
                      <a:lnTo>
                        <a:pt x="484540" y="634505"/>
                      </a:lnTo>
                      <a:lnTo>
                        <a:pt x="478298" y="639884"/>
                      </a:lnTo>
                      <a:lnTo>
                        <a:pt x="477594" y="640941"/>
                      </a:lnTo>
                      <a:lnTo>
                        <a:pt x="476683" y="642920"/>
                      </a:lnTo>
                      <a:lnTo>
                        <a:pt x="472239" y="656180"/>
                      </a:lnTo>
                      <a:lnTo>
                        <a:pt x="466957" y="664972"/>
                      </a:lnTo>
                      <a:lnTo>
                        <a:pt x="456465" y="698110"/>
                      </a:lnTo>
                      <a:lnTo>
                        <a:pt x="451705" y="709342"/>
                      </a:lnTo>
                      <a:lnTo>
                        <a:pt x="447686" y="715316"/>
                      </a:lnTo>
                      <a:lnTo>
                        <a:pt x="439975" y="720987"/>
                      </a:lnTo>
                      <a:lnTo>
                        <a:pt x="440291" y="722723"/>
                      </a:lnTo>
                      <a:lnTo>
                        <a:pt x="444529" y="734126"/>
                      </a:lnTo>
                      <a:lnTo>
                        <a:pt x="446314" y="738448"/>
                      </a:lnTo>
                      <a:lnTo>
                        <a:pt x="448597" y="740415"/>
                      </a:lnTo>
                      <a:lnTo>
                        <a:pt x="451511" y="741945"/>
                      </a:lnTo>
                      <a:lnTo>
                        <a:pt x="453490" y="743524"/>
                      </a:lnTo>
                      <a:lnTo>
                        <a:pt x="454923" y="745042"/>
                      </a:lnTo>
                      <a:lnTo>
                        <a:pt x="455640" y="746147"/>
                      </a:lnTo>
                      <a:lnTo>
                        <a:pt x="456356" y="748758"/>
                      </a:lnTo>
                      <a:lnTo>
                        <a:pt x="456174" y="750785"/>
                      </a:lnTo>
                      <a:lnTo>
                        <a:pt x="452834" y="761957"/>
                      </a:lnTo>
                      <a:lnTo>
                        <a:pt x="444371" y="775132"/>
                      </a:lnTo>
                      <a:lnTo>
                        <a:pt x="442501" y="777609"/>
                      </a:lnTo>
                      <a:lnTo>
                        <a:pt x="442258" y="778593"/>
                      </a:lnTo>
                      <a:lnTo>
                        <a:pt x="442659" y="779856"/>
                      </a:lnTo>
                      <a:lnTo>
                        <a:pt x="443096" y="780900"/>
                      </a:lnTo>
                      <a:lnTo>
                        <a:pt x="443509" y="782904"/>
                      </a:lnTo>
                      <a:lnTo>
                        <a:pt x="443679" y="786462"/>
                      </a:lnTo>
                      <a:lnTo>
                        <a:pt x="443970" y="787870"/>
                      </a:lnTo>
                      <a:lnTo>
                        <a:pt x="444504" y="789145"/>
                      </a:lnTo>
                      <a:lnTo>
                        <a:pt x="445245" y="790420"/>
                      </a:lnTo>
                      <a:lnTo>
                        <a:pt x="446338" y="791610"/>
                      </a:lnTo>
                      <a:lnTo>
                        <a:pt x="454729" y="798143"/>
                      </a:lnTo>
                      <a:lnTo>
                        <a:pt x="458493" y="802223"/>
                      </a:lnTo>
                      <a:lnTo>
                        <a:pt x="459877" y="804251"/>
                      </a:lnTo>
                      <a:lnTo>
                        <a:pt x="460885" y="806825"/>
                      </a:lnTo>
                      <a:lnTo>
                        <a:pt x="461128" y="809642"/>
                      </a:lnTo>
                      <a:lnTo>
                        <a:pt x="459780" y="813832"/>
                      </a:lnTo>
                      <a:lnTo>
                        <a:pt x="457643" y="817183"/>
                      </a:lnTo>
                      <a:lnTo>
                        <a:pt x="453733" y="821300"/>
                      </a:lnTo>
                      <a:lnTo>
                        <a:pt x="451013" y="823085"/>
                      </a:lnTo>
                      <a:lnTo>
                        <a:pt x="447844" y="823983"/>
                      </a:lnTo>
                      <a:lnTo>
                        <a:pt x="448900" y="827577"/>
                      </a:lnTo>
                      <a:lnTo>
                        <a:pt x="449386" y="830297"/>
                      </a:lnTo>
                      <a:lnTo>
                        <a:pt x="448475" y="833090"/>
                      </a:lnTo>
                      <a:lnTo>
                        <a:pt x="446593" y="836381"/>
                      </a:lnTo>
                      <a:lnTo>
                        <a:pt x="442282" y="841542"/>
                      </a:lnTo>
                      <a:lnTo>
                        <a:pt x="440497" y="844905"/>
                      </a:lnTo>
                      <a:lnTo>
                        <a:pt x="439781" y="846678"/>
                      </a:lnTo>
                      <a:lnTo>
                        <a:pt x="440242" y="848427"/>
                      </a:lnTo>
                      <a:lnTo>
                        <a:pt x="440182" y="849908"/>
                      </a:lnTo>
                      <a:lnTo>
                        <a:pt x="439817" y="851742"/>
                      </a:lnTo>
                      <a:lnTo>
                        <a:pt x="438834" y="853697"/>
                      </a:lnTo>
                      <a:lnTo>
                        <a:pt x="436648" y="855664"/>
                      </a:lnTo>
                      <a:lnTo>
                        <a:pt x="434110" y="856684"/>
                      </a:lnTo>
                      <a:lnTo>
                        <a:pt x="433491" y="856878"/>
                      </a:lnTo>
                      <a:lnTo>
                        <a:pt x="429350" y="856441"/>
                      </a:lnTo>
                      <a:lnTo>
                        <a:pt x="428719" y="857376"/>
                      </a:lnTo>
                      <a:lnTo>
                        <a:pt x="426885" y="859307"/>
                      </a:lnTo>
                      <a:lnTo>
                        <a:pt x="403328" y="842222"/>
                      </a:lnTo>
                      <a:close/>
                      <a:moveTo>
                        <a:pt x="304496" y="623042"/>
                      </a:moveTo>
                      <a:lnTo>
                        <a:pt x="305978" y="622508"/>
                      </a:lnTo>
                      <a:lnTo>
                        <a:pt x="307860" y="620249"/>
                      </a:lnTo>
                      <a:lnTo>
                        <a:pt x="304047" y="617590"/>
                      </a:lnTo>
                      <a:lnTo>
                        <a:pt x="302493" y="617019"/>
                      </a:lnTo>
                      <a:lnTo>
                        <a:pt x="298449" y="618658"/>
                      </a:lnTo>
                      <a:lnTo>
                        <a:pt x="295134" y="616849"/>
                      </a:lnTo>
                      <a:lnTo>
                        <a:pt x="290763" y="613619"/>
                      </a:lnTo>
                      <a:lnTo>
                        <a:pt x="294017" y="607268"/>
                      </a:lnTo>
                      <a:lnTo>
                        <a:pt x="293968" y="604184"/>
                      </a:lnTo>
                      <a:lnTo>
                        <a:pt x="293167" y="600662"/>
                      </a:lnTo>
                      <a:lnTo>
                        <a:pt x="293155" y="599448"/>
                      </a:lnTo>
                      <a:lnTo>
                        <a:pt x="292013" y="601318"/>
                      </a:lnTo>
                      <a:lnTo>
                        <a:pt x="291054" y="603504"/>
                      </a:lnTo>
                      <a:lnTo>
                        <a:pt x="287727" y="618998"/>
                      </a:lnTo>
                      <a:lnTo>
                        <a:pt x="287861" y="619484"/>
                      </a:lnTo>
                      <a:lnTo>
                        <a:pt x="289913" y="620164"/>
                      </a:lnTo>
                      <a:lnTo>
                        <a:pt x="298085" y="621694"/>
                      </a:lnTo>
                      <a:lnTo>
                        <a:pt x="300186" y="621135"/>
                      </a:lnTo>
                      <a:lnTo>
                        <a:pt x="304496" y="623042"/>
                      </a:lnTo>
                      <a:close/>
                      <a:moveTo>
                        <a:pt x="284485" y="557458"/>
                      </a:moveTo>
                      <a:lnTo>
                        <a:pt x="287132" y="561829"/>
                      </a:lnTo>
                      <a:lnTo>
                        <a:pt x="288443" y="564731"/>
                      </a:lnTo>
                      <a:lnTo>
                        <a:pt x="288626" y="565703"/>
                      </a:lnTo>
                      <a:lnTo>
                        <a:pt x="289269" y="564853"/>
                      </a:lnTo>
                      <a:lnTo>
                        <a:pt x="289548" y="564222"/>
                      </a:lnTo>
                      <a:lnTo>
                        <a:pt x="289196" y="561258"/>
                      </a:lnTo>
                      <a:lnTo>
                        <a:pt x="287836" y="558611"/>
                      </a:lnTo>
                      <a:lnTo>
                        <a:pt x="283878" y="551714"/>
                      </a:lnTo>
                      <a:lnTo>
                        <a:pt x="282979" y="548751"/>
                      </a:lnTo>
                      <a:lnTo>
                        <a:pt x="276337" y="542145"/>
                      </a:lnTo>
                      <a:lnTo>
                        <a:pt x="276215" y="541963"/>
                      </a:lnTo>
                      <a:lnTo>
                        <a:pt x="274443" y="543603"/>
                      </a:lnTo>
                      <a:lnTo>
                        <a:pt x="275766" y="547574"/>
                      </a:lnTo>
                      <a:lnTo>
                        <a:pt x="276361" y="549565"/>
                      </a:lnTo>
                      <a:lnTo>
                        <a:pt x="274552" y="550974"/>
                      </a:lnTo>
                      <a:lnTo>
                        <a:pt x="274661" y="551289"/>
                      </a:lnTo>
                      <a:lnTo>
                        <a:pt x="277903" y="548824"/>
                      </a:lnTo>
                      <a:lnTo>
                        <a:pt x="279093" y="553038"/>
                      </a:lnTo>
                      <a:lnTo>
                        <a:pt x="282372" y="550694"/>
                      </a:lnTo>
                      <a:lnTo>
                        <a:pt x="284485" y="557458"/>
                      </a:lnTo>
                      <a:close/>
                      <a:moveTo>
                        <a:pt x="264643" y="526093"/>
                      </a:moveTo>
                      <a:lnTo>
                        <a:pt x="265396" y="529566"/>
                      </a:lnTo>
                      <a:lnTo>
                        <a:pt x="266829" y="532783"/>
                      </a:lnTo>
                      <a:lnTo>
                        <a:pt x="265663" y="528023"/>
                      </a:lnTo>
                      <a:lnTo>
                        <a:pt x="266222" y="525741"/>
                      </a:lnTo>
                      <a:lnTo>
                        <a:pt x="264558" y="524708"/>
                      </a:lnTo>
                      <a:lnTo>
                        <a:pt x="264643" y="526093"/>
                      </a:lnTo>
                      <a:close/>
                    </a:path>
                  </a:pathLst>
                </a:custGeom>
                <a:solidFill>
                  <a:srgbClr val="D7D7D2"/>
                </a:solidFill>
                <a:ln w="12138" cap="flat">
                  <a:noFill/>
                  <a:prstDash val="solid"/>
                  <a:miter/>
                </a:ln>
              </p:spPr>
              <p:txBody>
                <a:bodyPr rtlCol="0" anchor="ctr"/>
                <a:lstStyle/>
                <a:p>
                  <a:endParaRPr lang="en-US"/>
                </a:p>
              </p:txBody>
            </p:sp>
            <p:sp>
              <p:nvSpPr>
                <p:cNvPr id="327" name="Freeform: Shape 326">
                  <a:extLst>
                    <a:ext uri="{FF2B5EF4-FFF2-40B4-BE49-F238E27FC236}">
                      <a16:creationId xmlns:a16="http://schemas.microsoft.com/office/drawing/2014/main" id="{EA31700F-D48C-413C-A77E-79A2B511DA36}"/>
                    </a:ext>
                  </a:extLst>
                </p:cNvPr>
                <p:cNvSpPr/>
                <p:nvPr/>
              </p:nvSpPr>
              <p:spPr>
                <a:xfrm>
                  <a:off x="4610032" y="5524715"/>
                  <a:ext cx="491582" cy="866556"/>
                </a:xfrm>
                <a:custGeom>
                  <a:avLst/>
                  <a:gdLst>
                    <a:gd name="connsiteX0" fmla="*/ 19672 w 491582"/>
                    <a:gd name="connsiteY0" fmla="*/ 6096 h 866556"/>
                    <a:gd name="connsiteX1" fmla="*/ 22149 w 491582"/>
                    <a:gd name="connsiteY1" fmla="*/ 6436 h 866556"/>
                    <a:gd name="connsiteX2" fmla="*/ 23521 w 491582"/>
                    <a:gd name="connsiteY2" fmla="*/ 6800 h 866556"/>
                    <a:gd name="connsiteX3" fmla="*/ 24383 w 491582"/>
                    <a:gd name="connsiteY3" fmla="*/ 7225 h 866556"/>
                    <a:gd name="connsiteX4" fmla="*/ 24784 w 491582"/>
                    <a:gd name="connsiteY4" fmla="*/ 7784 h 866556"/>
                    <a:gd name="connsiteX5" fmla="*/ 25136 w 491582"/>
                    <a:gd name="connsiteY5" fmla="*/ 8694 h 866556"/>
                    <a:gd name="connsiteX6" fmla="*/ 25367 w 491582"/>
                    <a:gd name="connsiteY6" fmla="*/ 9581 h 866556"/>
                    <a:gd name="connsiteX7" fmla="*/ 25816 w 491582"/>
                    <a:gd name="connsiteY7" fmla="*/ 12774 h 866556"/>
                    <a:gd name="connsiteX8" fmla="*/ 26217 w 491582"/>
                    <a:gd name="connsiteY8" fmla="*/ 14061 h 866556"/>
                    <a:gd name="connsiteX9" fmla="*/ 26848 w 491582"/>
                    <a:gd name="connsiteY9" fmla="*/ 15179 h 866556"/>
                    <a:gd name="connsiteX10" fmla="*/ 28002 w 491582"/>
                    <a:gd name="connsiteY10" fmla="*/ 16393 h 866556"/>
                    <a:gd name="connsiteX11" fmla="*/ 28864 w 491582"/>
                    <a:gd name="connsiteY11" fmla="*/ 16903 h 866556"/>
                    <a:gd name="connsiteX12" fmla="*/ 29896 w 491582"/>
                    <a:gd name="connsiteY12" fmla="*/ 17158 h 866556"/>
                    <a:gd name="connsiteX13" fmla="*/ 33454 w 491582"/>
                    <a:gd name="connsiteY13" fmla="*/ 17474 h 866556"/>
                    <a:gd name="connsiteX14" fmla="*/ 34425 w 491582"/>
                    <a:gd name="connsiteY14" fmla="*/ 17704 h 866556"/>
                    <a:gd name="connsiteX15" fmla="*/ 35239 w 491582"/>
                    <a:gd name="connsiteY15" fmla="*/ 18105 h 866556"/>
                    <a:gd name="connsiteX16" fmla="*/ 35348 w 491582"/>
                    <a:gd name="connsiteY16" fmla="*/ 18542 h 866556"/>
                    <a:gd name="connsiteX17" fmla="*/ 35348 w 491582"/>
                    <a:gd name="connsiteY17" fmla="*/ 19076 h 866556"/>
                    <a:gd name="connsiteX18" fmla="*/ 34947 w 491582"/>
                    <a:gd name="connsiteY18" fmla="*/ 20461 h 866556"/>
                    <a:gd name="connsiteX19" fmla="*/ 34887 w 491582"/>
                    <a:gd name="connsiteY19" fmla="*/ 21153 h 866556"/>
                    <a:gd name="connsiteX20" fmla="*/ 35178 w 491582"/>
                    <a:gd name="connsiteY20" fmla="*/ 21979 h 866556"/>
                    <a:gd name="connsiteX21" fmla="*/ 36101 w 491582"/>
                    <a:gd name="connsiteY21" fmla="*/ 23072 h 866556"/>
                    <a:gd name="connsiteX22" fmla="*/ 37412 w 491582"/>
                    <a:gd name="connsiteY22" fmla="*/ 23679 h 866556"/>
                    <a:gd name="connsiteX23" fmla="*/ 38505 w 491582"/>
                    <a:gd name="connsiteY23" fmla="*/ 23982 h 866556"/>
                    <a:gd name="connsiteX24" fmla="*/ 39319 w 491582"/>
                    <a:gd name="connsiteY24" fmla="*/ 23885 h 866556"/>
                    <a:gd name="connsiteX25" fmla="*/ 39999 w 491582"/>
                    <a:gd name="connsiteY25" fmla="*/ 23448 h 866556"/>
                    <a:gd name="connsiteX26" fmla="*/ 42185 w 491582"/>
                    <a:gd name="connsiteY26" fmla="*/ 21663 h 866556"/>
                    <a:gd name="connsiteX27" fmla="*/ 43678 w 491582"/>
                    <a:gd name="connsiteY27" fmla="*/ 20837 h 866556"/>
                    <a:gd name="connsiteX28" fmla="*/ 46082 w 491582"/>
                    <a:gd name="connsiteY28" fmla="*/ 20801 h 866556"/>
                    <a:gd name="connsiteX29" fmla="*/ 48159 w 491582"/>
                    <a:gd name="connsiteY29" fmla="*/ 21505 h 866556"/>
                    <a:gd name="connsiteX30" fmla="*/ 52409 w 491582"/>
                    <a:gd name="connsiteY30" fmla="*/ 23946 h 866556"/>
                    <a:gd name="connsiteX31" fmla="*/ 53441 w 491582"/>
                    <a:gd name="connsiteY31" fmla="*/ 24711 h 866556"/>
                    <a:gd name="connsiteX32" fmla="*/ 53781 w 491582"/>
                    <a:gd name="connsiteY32" fmla="*/ 25342 h 866556"/>
                    <a:gd name="connsiteX33" fmla="*/ 53611 w 491582"/>
                    <a:gd name="connsiteY33" fmla="*/ 26119 h 866556"/>
                    <a:gd name="connsiteX34" fmla="*/ 53089 w 491582"/>
                    <a:gd name="connsiteY34" fmla="*/ 27516 h 866556"/>
                    <a:gd name="connsiteX35" fmla="*/ 52870 w 491582"/>
                    <a:gd name="connsiteY35" fmla="*/ 28839 h 866556"/>
                    <a:gd name="connsiteX36" fmla="*/ 52810 w 491582"/>
                    <a:gd name="connsiteY36" fmla="*/ 30151 h 866556"/>
                    <a:gd name="connsiteX37" fmla="*/ 53150 w 491582"/>
                    <a:gd name="connsiteY37" fmla="*/ 31438 h 866556"/>
                    <a:gd name="connsiteX38" fmla="*/ 53842 w 491582"/>
                    <a:gd name="connsiteY38" fmla="*/ 32834 h 866556"/>
                    <a:gd name="connsiteX39" fmla="*/ 55335 w 491582"/>
                    <a:gd name="connsiteY39" fmla="*/ 34619 h 866556"/>
                    <a:gd name="connsiteX40" fmla="*/ 56647 w 491582"/>
                    <a:gd name="connsiteY40" fmla="*/ 35166 h 866556"/>
                    <a:gd name="connsiteX41" fmla="*/ 57983 w 491582"/>
                    <a:gd name="connsiteY41" fmla="*/ 35008 h 866556"/>
                    <a:gd name="connsiteX42" fmla="*/ 59294 w 491582"/>
                    <a:gd name="connsiteY42" fmla="*/ 34316 h 866556"/>
                    <a:gd name="connsiteX43" fmla="*/ 60848 w 491582"/>
                    <a:gd name="connsiteY43" fmla="*/ 33806 h 866556"/>
                    <a:gd name="connsiteX44" fmla="*/ 62573 w 491582"/>
                    <a:gd name="connsiteY44" fmla="*/ 33927 h 866556"/>
                    <a:gd name="connsiteX45" fmla="*/ 63714 w 491582"/>
                    <a:gd name="connsiteY45" fmla="*/ 34777 h 866556"/>
                    <a:gd name="connsiteX46" fmla="*/ 66422 w 491582"/>
                    <a:gd name="connsiteY46" fmla="*/ 39088 h 866556"/>
                    <a:gd name="connsiteX47" fmla="*/ 67733 w 491582"/>
                    <a:gd name="connsiteY47" fmla="*/ 40363 h 866556"/>
                    <a:gd name="connsiteX48" fmla="*/ 68948 w 491582"/>
                    <a:gd name="connsiteY48" fmla="*/ 40825 h 866556"/>
                    <a:gd name="connsiteX49" fmla="*/ 70210 w 491582"/>
                    <a:gd name="connsiteY49" fmla="*/ 40909 h 866556"/>
                    <a:gd name="connsiteX50" fmla="*/ 71473 w 491582"/>
                    <a:gd name="connsiteY50" fmla="*/ 40630 h 866556"/>
                    <a:gd name="connsiteX51" fmla="*/ 72627 w 491582"/>
                    <a:gd name="connsiteY51" fmla="*/ 40059 h 866556"/>
                    <a:gd name="connsiteX52" fmla="*/ 73416 w 491582"/>
                    <a:gd name="connsiteY52" fmla="*/ 39367 h 866556"/>
                    <a:gd name="connsiteX53" fmla="*/ 74509 w 491582"/>
                    <a:gd name="connsiteY53" fmla="*/ 38080 h 866556"/>
                    <a:gd name="connsiteX54" fmla="*/ 76865 w 491582"/>
                    <a:gd name="connsiteY54" fmla="*/ 37922 h 866556"/>
                    <a:gd name="connsiteX55" fmla="*/ 85413 w 491582"/>
                    <a:gd name="connsiteY55" fmla="*/ 40169 h 866556"/>
                    <a:gd name="connsiteX56" fmla="*/ 84272 w 491582"/>
                    <a:gd name="connsiteY56" fmla="*/ 44370 h 866556"/>
                    <a:gd name="connsiteX57" fmla="*/ 81637 w 491582"/>
                    <a:gd name="connsiteY57" fmla="*/ 47503 h 866556"/>
                    <a:gd name="connsiteX58" fmla="*/ 80945 w 491582"/>
                    <a:gd name="connsiteY58" fmla="*/ 49628 h 866556"/>
                    <a:gd name="connsiteX59" fmla="*/ 81054 w 491582"/>
                    <a:gd name="connsiteY59" fmla="*/ 51207 h 866556"/>
                    <a:gd name="connsiteX60" fmla="*/ 81807 w 491582"/>
                    <a:gd name="connsiteY60" fmla="*/ 52360 h 866556"/>
                    <a:gd name="connsiteX61" fmla="*/ 84272 w 491582"/>
                    <a:gd name="connsiteY61" fmla="*/ 54740 h 866556"/>
                    <a:gd name="connsiteX62" fmla="*/ 85413 w 491582"/>
                    <a:gd name="connsiteY62" fmla="*/ 56865 h 866556"/>
                    <a:gd name="connsiteX63" fmla="*/ 86348 w 491582"/>
                    <a:gd name="connsiteY63" fmla="*/ 58189 h 866556"/>
                    <a:gd name="connsiteX64" fmla="*/ 87089 w 491582"/>
                    <a:gd name="connsiteY64" fmla="*/ 58978 h 866556"/>
                    <a:gd name="connsiteX65" fmla="*/ 87599 w 491582"/>
                    <a:gd name="connsiteY65" fmla="*/ 59233 h 866556"/>
                    <a:gd name="connsiteX66" fmla="*/ 87891 w 491582"/>
                    <a:gd name="connsiteY66" fmla="*/ 59355 h 866556"/>
                    <a:gd name="connsiteX67" fmla="*/ 88303 w 491582"/>
                    <a:gd name="connsiteY67" fmla="*/ 59464 h 866556"/>
                    <a:gd name="connsiteX68" fmla="*/ 89615 w 491582"/>
                    <a:gd name="connsiteY68" fmla="*/ 60435 h 866556"/>
                    <a:gd name="connsiteX69" fmla="*/ 91679 w 491582"/>
                    <a:gd name="connsiteY69" fmla="*/ 63775 h 866556"/>
                    <a:gd name="connsiteX70" fmla="*/ 92250 w 491582"/>
                    <a:gd name="connsiteY70" fmla="*/ 64467 h 866556"/>
                    <a:gd name="connsiteX71" fmla="*/ 92723 w 491582"/>
                    <a:gd name="connsiteY71" fmla="*/ 64916 h 866556"/>
                    <a:gd name="connsiteX72" fmla="*/ 93173 w 491582"/>
                    <a:gd name="connsiteY72" fmla="*/ 65171 h 866556"/>
                    <a:gd name="connsiteX73" fmla="*/ 93513 w 491582"/>
                    <a:gd name="connsiteY73" fmla="*/ 65208 h 866556"/>
                    <a:gd name="connsiteX74" fmla="*/ 94666 w 491582"/>
                    <a:gd name="connsiteY74" fmla="*/ 65001 h 866556"/>
                    <a:gd name="connsiteX75" fmla="*/ 100009 w 491582"/>
                    <a:gd name="connsiteY75" fmla="*/ 63532 h 866556"/>
                    <a:gd name="connsiteX76" fmla="*/ 101272 w 491582"/>
                    <a:gd name="connsiteY76" fmla="*/ 63507 h 866556"/>
                    <a:gd name="connsiteX77" fmla="*/ 102936 w 491582"/>
                    <a:gd name="connsiteY77" fmla="*/ 63848 h 866556"/>
                    <a:gd name="connsiteX78" fmla="*/ 103458 w 491582"/>
                    <a:gd name="connsiteY78" fmla="*/ 64333 h 866556"/>
                    <a:gd name="connsiteX79" fmla="*/ 103676 w 491582"/>
                    <a:gd name="connsiteY79" fmla="*/ 65001 h 866556"/>
                    <a:gd name="connsiteX80" fmla="*/ 103737 w 491582"/>
                    <a:gd name="connsiteY80" fmla="*/ 65633 h 866556"/>
                    <a:gd name="connsiteX81" fmla="*/ 103628 w 491582"/>
                    <a:gd name="connsiteY81" fmla="*/ 66495 h 866556"/>
                    <a:gd name="connsiteX82" fmla="*/ 103276 w 491582"/>
                    <a:gd name="connsiteY82" fmla="*/ 67612 h 866556"/>
                    <a:gd name="connsiteX83" fmla="*/ 102596 w 491582"/>
                    <a:gd name="connsiteY83" fmla="*/ 68765 h 866556"/>
                    <a:gd name="connsiteX84" fmla="*/ 101794 w 491582"/>
                    <a:gd name="connsiteY84" fmla="*/ 69652 h 866556"/>
                    <a:gd name="connsiteX85" fmla="*/ 99086 w 491582"/>
                    <a:gd name="connsiteY85" fmla="*/ 71716 h 866556"/>
                    <a:gd name="connsiteX86" fmla="*/ 98516 w 491582"/>
                    <a:gd name="connsiteY86" fmla="*/ 72955 h 866556"/>
                    <a:gd name="connsiteX87" fmla="*/ 98224 w 491582"/>
                    <a:gd name="connsiteY87" fmla="*/ 74509 h 866556"/>
                    <a:gd name="connsiteX88" fmla="*/ 98346 w 491582"/>
                    <a:gd name="connsiteY88" fmla="*/ 77521 h 866556"/>
                    <a:gd name="connsiteX89" fmla="*/ 98686 w 491582"/>
                    <a:gd name="connsiteY89" fmla="*/ 79002 h 866556"/>
                    <a:gd name="connsiteX90" fmla="*/ 99439 w 491582"/>
                    <a:gd name="connsiteY90" fmla="*/ 80252 h 866556"/>
                    <a:gd name="connsiteX91" fmla="*/ 101734 w 491582"/>
                    <a:gd name="connsiteY91" fmla="*/ 82608 h 866556"/>
                    <a:gd name="connsiteX92" fmla="*/ 103798 w 491582"/>
                    <a:gd name="connsiteY92" fmla="*/ 85826 h 866556"/>
                    <a:gd name="connsiteX93" fmla="*/ 105000 w 491582"/>
                    <a:gd name="connsiteY93" fmla="*/ 89178 h 866556"/>
                    <a:gd name="connsiteX94" fmla="*/ 106214 w 491582"/>
                    <a:gd name="connsiteY94" fmla="*/ 94812 h 866556"/>
                    <a:gd name="connsiteX95" fmla="*/ 106955 w 491582"/>
                    <a:gd name="connsiteY95" fmla="*/ 97131 h 866556"/>
                    <a:gd name="connsiteX96" fmla="*/ 107647 w 491582"/>
                    <a:gd name="connsiteY96" fmla="*/ 98443 h 866556"/>
                    <a:gd name="connsiteX97" fmla="*/ 108449 w 491582"/>
                    <a:gd name="connsiteY97" fmla="*/ 98783 h 866556"/>
                    <a:gd name="connsiteX98" fmla="*/ 109311 w 491582"/>
                    <a:gd name="connsiteY98" fmla="*/ 98929 h 866556"/>
                    <a:gd name="connsiteX99" fmla="*/ 110343 w 491582"/>
                    <a:gd name="connsiteY99" fmla="*/ 98965 h 866556"/>
                    <a:gd name="connsiteX100" fmla="*/ 112189 w 491582"/>
                    <a:gd name="connsiteY100" fmla="*/ 98722 h 866556"/>
                    <a:gd name="connsiteX101" fmla="*/ 113269 w 491582"/>
                    <a:gd name="connsiteY101" fmla="*/ 98722 h 866556"/>
                    <a:gd name="connsiteX102" fmla="*/ 114593 w 491582"/>
                    <a:gd name="connsiteY102" fmla="*/ 98977 h 866556"/>
                    <a:gd name="connsiteX103" fmla="*/ 117471 w 491582"/>
                    <a:gd name="connsiteY103" fmla="*/ 101588 h 866556"/>
                    <a:gd name="connsiteX104" fmla="*/ 135260 w 491582"/>
                    <a:gd name="connsiteY104" fmla="*/ 122388 h 866556"/>
                    <a:gd name="connsiteX105" fmla="*/ 138308 w 491582"/>
                    <a:gd name="connsiteY105" fmla="*/ 125060 h 866556"/>
                    <a:gd name="connsiteX106" fmla="*/ 143882 w 491582"/>
                    <a:gd name="connsiteY106" fmla="*/ 126493 h 866556"/>
                    <a:gd name="connsiteX107" fmla="*/ 145946 w 491582"/>
                    <a:gd name="connsiteY107" fmla="*/ 127319 h 866556"/>
                    <a:gd name="connsiteX108" fmla="*/ 148302 w 491582"/>
                    <a:gd name="connsiteY108" fmla="*/ 128812 h 866556"/>
                    <a:gd name="connsiteX109" fmla="*/ 149565 w 491582"/>
                    <a:gd name="connsiteY109" fmla="*/ 130221 h 866556"/>
                    <a:gd name="connsiteX110" fmla="*/ 150657 w 491582"/>
                    <a:gd name="connsiteY110" fmla="*/ 131860 h 866556"/>
                    <a:gd name="connsiteX111" fmla="*/ 151738 w 491582"/>
                    <a:gd name="connsiteY111" fmla="*/ 133985 h 866556"/>
                    <a:gd name="connsiteX112" fmla="*/ 152673 w 491582"/>
                    <a:gd name="connsiteY112" fmla="*/ 135102 h 866556"/>
                    <a:gd name="connsiteX113" fmla="*/ 153645 w 491582"/>
                    <a:gd name="connsiteY113" fmla="*/ 135661 h 866556"/>
                    <a:gd name="connsiteX114" fmla="*/ 154616 w 491582"/>
                    <a:gd name="connsiteY114" fmla="*/ 135661 h 866556"/>
                    <a:gd name="connsiteX115" fmla="*/ 157312 w 491582"/>
                    <a:gd name="connsiteY115" fmla="*/ 134920 h 866556"/>
                    <a:gd name="connsiteX116" fmla="*/ 158975 w 491582"/>
                    <a:gd name="connsiteY116" fmla="*/ 135042 h 866556"/>
                    <a:gd name="connsiteX117" fmla="*/ 160590 w 491582"/>
                    <a:gd name="connsiteY117" fmla="*/ 135794 h 866556"/>
                    <a:gd name="connsiteX118" fmla="*/ 164780 w 491582"/>
                    <a:gd name="connsiteY118" fmla="*/ 138927 h 866556"/>
                    <a:gd name="connsiteX119" fmla="*/ 166225 w 491582"/>
                    <a:gd name="connsiteY119" fmla="*/ 139789 h 866556"/>
                    <a:gd name="connsiteX120" fmla="*/ 167718 w 491582"/>
                    <a:gd name="connsiteY120" fmla="*/ 140275 h 866556"/>
                    <a:gd name="connsiteX121" fmla="*/ 169030 w 491582"/>
                    <a:gd name="connsiteY121" fmla="*/ 140421 h 866556"/>
                    <a:gd name="connsiteX122" fmla="*/ 170062 w 491582"/>
                    <a:gd name="connsiteY122" fmla="*/ 140385 h 866556"/>
                    <a:gd name="connsiteX123" fmla="*/ 171665 w 491582"/>
                    <a:gd name="connsiteY123" fmla="*/ 140081 h 866556"/>
                    <a:gd name="connsiteX124" fmla="*/ 172709 w 491582"/>
                    <a:gd name="connsiteY124" fmla="*/ 140057 h 866556"/>
                    <a:gd name="connsiteX125" fmla="*/ 174251 w 491582"/>
                    <a:gd name="connsiteY125" fmla="*/ 140202 h 866556"/>
                    <a:gd name="connsiteX126" fmla="*/ 176437 w 491582"/>
                    <a:gd name="connsiteY126" fmla="*/ 140834 h 866556"/>
                    <a:gd name="connsiteX127" fmla="*/ 177360 w 491582"/>
                    <a:gd name="connsiteY127" fmla="*/ 141465 h 866556"/>
                    <a:gd name="connsiteX128" fmla="*/ 178100 w 491582"/>
                    <a:gd name="connsiteY128" fmla="*/ 143299 h 866556"/>
                    <a:gd name="connsiteX129" fmla="*/ 178853 w 491582"/>
                    <a:gd name="connsiteY129" fmla="*/ 149334 h 866556"/>
                    <a:gd name="connsiteX130" fmla="*/ 180226 w 491582"/>
                    <a:gd name="connsiteY130" fmla="*/ 152649 h 866556"/>
                    <a:gd name="connsiteX131" fmla="*/ 181428 w 491582"/>
                    <a:gd name="connsiteY131" fmla="*/ 154495 h 866556"/>
                    <a:gd name="connsiteX132" fmla="*/ 184184 w 491582"/>
                    <a:gd name="connsiteY132" fmla="*/ 157700 h 866556"/>
                    <a:gd name="connsiteX133" fmla="*/ 187523 w 491582"/>
                    <a:gd name="connsiteY133" fmla="*/ 160748 h 866556"/>
                    <a:gd name="connsiteX134" fmla="*/ 190450 w 491582"/>
                    <a:gd name="connsiteY134" fmla="*/ 162557 h 866556"/>
                    <a:gd name="connsiteX135" fmla="*/ 193316 w 491582"/>
                    <a:gd name="connsiteY135" fmla="*/ 163820 h 866556"/>
                    <a:gd name="connsiteX136" fmla="*/ 196594 w 491582"/>
                    <a:gd name="connsiteY136" fmla="*/ 164743 h 866556"/>
                    <a:gd name="connsiteX137" fmla="*/ 200213 w 491582"/>
                    <a:gd name="connsiteY137" fmla="*/ 165375 h 866556"/>
                    <a:gd name="connsiteX138" fmla="*/ 204341 w 491582"/>
                    <a:gd name="connsiteY138" fmla="*/ 165460 h 866556"/>
                    <a:gd name="connsiteX139" fmla="*/ 214796 w 491582"/>
                    <a:gd name="connsiteY139" fmla="*/ 168107 h 866556"/>
                    <a:gd name="connsiteX140" fmla="*/ 218986 w 491582"/>
                    <a:gd name="connsiteY140" fmla="*/ 167682 h 866556"/>
                    <a:gd name="connsiteX141" fmla="*/ 226053 w 491582"/>
                    <a:gd name="connsiteY141" fmla="*/ 163723 h 866556"/>
                    <a:gd name="connsiteX142" fmla="*/ 232647 w 491582"/>
                    <a:gd name="connsiteY142" fmla="*/ 161428 h 866556"/>
                    <a:gd name="connsiteX143" fmla="*/ 235755 w 491582"/>
                    <a:gd name="connsiteY143" fmla="*/ 161549 h 866556"/>
                    <a:gd name="connsiteX144" fmla="*/ 237237 w 491582"/>
                    <a:gd name="connsiteY144" fmla="*/ 162351 h 866556"/>
                    <a:gd name="connsiteX145" fmla="*/ 237880 w 491582"/>
                    <a:gd name="connsiteY145" fmla="*/ 164039 h 866556"/>
                    <a:gd name="connsiteX146" fmla="*/ 237989 w 491582"/>
                    <a:gd name="connsiteY146" fmla="*/ 168495 h 866556"/>
                    <a:gd name="connsiteX147" fmla="*/ 237237 w 491582"/>
                    <a:gd name="connsiteY147" fmla="*/ 175490 h 866556"/>
                    <a:gd name="connsiteX148" fmla="*/ 237540 w 491582"/>
                    <a:gd name="connsiteY148" fmla="*/ 177554 h 866556"/>
                    <a:gd name="connsiteX149" fmla="*/ 238390 w 491582"/>
                    <a:gd name="connsiteY149" fmla="*/ 179048 h 866556"/>
                    <a:gd name="connsiteX150" fmla="*/ 240697 w 491582"/>
                    <a:gd name="connsiteY150" fmla="*/ 181088 h 866556"/>
                    <a:gd name="connsiteX151" fmla="*/ 242239 w 491582"/>
                    <a:gd name="connsiteY151" fmla="*/ 181634 h 866556"/>
                    <a:gd name="connsiteX152" fmla="*/ 243842 w 491582"/>
                    <a:gd name="connsiteY152" fmla="*/ 181634 h 866556"/>
                    <a:gd name="connsiteX153" fmla="*/ 245166 w 491582"/>
                    <a:gd name="connsiteY153" fmla="*/ 180881 h 866556"/>
                    <a:gd name="connsiteX154" fmla="*/ 246550 w 491582"/>
                    <a:gd name="connsiteY154" fmla="*/ 180250 h 866556"/>
                    <a:gd name="connsiteX155" fmla="*/ 248275 w 491582"/>
                    <a:gd name="connsiteY155" fmla="*/ 179788 h 866556"/>
                    <a:gd name="connsiteX156" fmla="*/ 251262 w 491582"/>
                    <a:gd name="connsiteY156" fmla="*/ 179910 h 866556"/>
                    <a:gd name="connsiteX157" fmla="*/ 253484 w 491582"/>
                    <a:gd name="connsiteY157" fmla="*/ 180663 h 866556"/>
                    <a:gd name="connsiteX158" fmla="*/ 255342 w 491582"/>
                    <a:gd name="connsiteY158" fmla="*/ 181731 h 866556"/>
                    <a:gd name="connsiteX159" fmla="*/ 256896 w 491582"/>
                    <a:gd name="connsiteY159" fmla="*/ 183334 h 866556"/>
                    <a:gd name="connsiteX160" fmla="*/ 257867 w 491582"/>
                    <a:gd name="connsiteY160" fmla="*/ 184755 h 866556"/>
                    <a:gd name="connsiteX161" fmla="*/ 259762 w 491582"/>
                    <a:gd name="connsiteY161" fmla="*/ 188276 h 866556"/>
                    <a:gd name="connsiteX162" fmla="*/ 260612 w 491582"/>
                    <a:gd name="connsiteY162" fmla="*/ 189588 h 866556"/>
                    <a:gd name="connsiteX163" fmla="*/ 261996 w 491582"/>
                    <a:gd name="connsiteY163" fmla="*/ 191203 h 866556"/>
                    <a:gd name="connsiteX164" fmla="*/ 263259 w 491582"/>
                    <a:gd name="connsiteY164" fmla="*/ 191749 h 866556"/>
                    <a:gd name="connsiteX165" fmla="*/ 264291 w 491582"/>
                    <a:gd name="connsiteY165" fmla="*/ 191749 h 866556"/>
                    <a:gd name="connsiteX166" fmla="*/ 266125 w 491582"/>
                    <a:gd name="connsiteY166" fmla="*/ 190850 h 866556"/>
                    <a:gd name="connsiteX167" fmla="*/ 267339 w 491582"/>
                    <a:gd name="connsiteY167" fmla="*/ 190595 h 866556"/>
                    <a:gd name="connsiteX168" fmla="*/ 269221 w 491582"/>
                    <a:gd name="connsiteY168" fmla="*/ 190656 h 866556"/>
                    <a:gd name="connsiteX169" fmla="*/ 270715 w 491582"/>
                    <a:gd name="connsiteY169" fmla="*/ 191421 h 866556"/>
                    <a:gd name="connsiteX170" fmla="*/ 272050 w 491582"/>
                    <a:gd name="connsiteY170" fmla="*/ 192660 h 866556"/>
                    <a:gd name="connsiteX171" fmla="*/ 276240 w 491582"/>
                    <a:gd name="connsiteY171" fmla="*/ 198573 h 866556"/>
                    <a:gd name="connsiteX172" fmla="*/ 278656 w 491582"/>
                    <a:gd name="connsiteY172" fmla="*/ 201038 h 866556"/>
                    <a:gd name="connsiteX173" fmla="*/ 280198 w 491582"/>
                    <a:gd name="connsiteY173" fmla="*/ 202131 h 866556"/>
                    <a:gd name="connsiteX174" fmla="*/ 281583 w 491582"/>
                    <a:gd name="connsiteY174" fmla="*/ 202678 h 866556"/>
                    <a:gd name="connsiteX175" fmla="*/ 285080 w 491582"/>
                    <a:gd name="connsiteY175" fmla="*/ 203370 h 866556"/>
                    <a:gd name="connsiteX176" fmla="*/ 286513 w 491582"/>
                    <a:gd name="connsiteY176" fmla="*/ 203540 h 866556"/>
                    <a:gd name="connsiteX177" fmla="*/ 287885 w 491582"/>
                    <a:gd name="connsiteY177" fmla="*/ 203346 h 866556"/>
                    <a:gd name="connsiteX178" fmla="*/ 290411 w 491582"/>
                    <a:gd name="connsiteY178" fmla="*/ 202301 h 866556"/>
                    <a:gd name="connsiteX179" fmla="*/ 291795 w 491582"/>
                    <a:gd name="connsiteY179" fmla="*/ 201998 h 866556"/>
                    <a:gd name="connsiteX180" fmla="*/ 293859 w 491582"/>
                    <a:gd name="connsiteY180" fmla="*/ 202228 h 866556"/>
                    <a:gd name="connsiteX181" fmla="*/ 295183 w 491582"/>
                    <a:gd name="connsiteY181" fmla="*/ 203236 h 866556"/>
                    <a:gd name="connsiteX182" fmla="*/ 296105 w 491582"/>
                    <a:gd name="connsiteY182" fmla="*/ 204815 h 866556"/>
                    <a:gd name="connsiteX183" fmla="*/ 296567 w 491582"/>
                    <a:gd name="connsiteY183" fmla="*/ 206709 h 866556"/>
                    <a:gd name="connsiteX184" fmla="*/ 296737 w 491582"/>
                    <a:gd name="connsiteY184" fmla="*/ 210619 h 866556"/>
                    <a:gd name="connsiteX185" fmla="*/ 297368 w 491582"/>
                    <a:gd name="connsiteY185" fmla="*/ 214201 h 866556"/>
                    <a:gd name="connsiteX186" fmla="*/ 300186 w 491582"/>
                    <a:gd name="connsiteY186" fmla="*/ 217905 h 866556"/>
                    <a:gd name="connsiteX187" fmla="*/ 300878 w 491582"/>
                    <a:gd name="connsiteY187" fmla="*/ 219277 h 866556"/>
                    <a:gd name="connsiteX188" fmla="*/ 300817 w 491582"/>
                    <a:gd name="connsiteY188" fmla="*/ 219799 h 866556"/>
                    <a:gd name="connsiteX189" fmla="*/ 300574 w 491582"/>
                    <a:gd name="connsiteY189" fmla="*/ 220686 h 866556"/>
                    <a:gd name="connsiteX190" fmla="*/ 300064 w 491582"/>
                    <a:gd name="connsiteY190" fmla="*/ 221317 h 866556"/>
                    <a:gd name="connsiteX191" fmla="*/ 299202 w 491582"/>
                    <a:gd name="connsiteY191" fmla="*/ 221839 h 866556"/>
                    <a:gd name="connsiteX192" fmla="*/ 297708 w 491582"/>
                    <a:gd name="connsiteY192" fmla="*/ 222386 h 866556"/>
                    <a:gd name="connsiteX193" fmla="*/ 294612 w 491582"/>
                    <a:gd name="connsiteY193" fmla="*/ 223053 h 866556"/>
                    <a:gd name="connsiteX194" fmla="*/ 292366 w 491582"/>
                    <a:gd name="connsiteY194" fmla="*/ 224608 h 866556"/>
                    <a:gd name="connsiteX195" fmla="*/ 290823 w 491582"/>
                    <a:gd name="connsiteY195" fmla="*/ 226405 h 866556"/>
                    <a:gd name="connsiteX196" fmla="*/ 289791 w 491582"/>
                    <a:gd name="connsiteY196" fmla="*/ 228323 h 866556"/>
                    <a:gd name="connsiteX197" fmla="*/ 288128 w 491582"/>
                    <a:gd name="connsiteY197" fmla="*/ 230534 h 866556"/>
                    <a:gd name="connsiteX198" fmla="*/ 285821 w 491582"/>
                    <a:gd name="connsiteY198" fmla="*/ 232209 h 866556"/>
                    <a:gd name="connsiteX199" fmla="*/ 281401 w 491582"/>
                    <a:gd name="connsiteY199" fmla="*/ 233096 h 866556"/>
                    <a:gd name="connsiteX200" fmla="*/ 278353 w 491582"/>
                    <a:gd name="connsiteY200" fmla="*/ 232974 h 866556"/>
                    <a:gd name="connsiteX201" fmla="*/ 274163 w 491582"/>
                    <a:gd name="connsiteY201" fmla="*/ 231481 h 866556"/>
                    <a:gd name="connsiteX202" fmla="*/ 272099 w 491582"/>
                    <a:gd name="connsiteY202" fmla="*/ 230449 h 866556"/>
                    <a:gd name="connsiteX203" fmla="*/ 267339 w 491582"/>
                    <a:gd name="connsiteY203" fmla="*/ 229841 h 866556"/>
                    <a:gd name="connsiteX204" fmla="*/ 266125 w 491582"/>
                    <a:gd name="connsiteY204" fmla="*/ 231687 h 866556"/>
                    <a:gd name="connsiteX205" fmla="*/ 265663 w 491582"/>
                    <a:gd name="connsiteY205" fmla="*/ 233327 h 866556"/>
                    <a:gd name="connsiteX206" fmla="*/ 265785 w 491582"/>
                    <a:gd name="connsiteY206" fmla="*/ 234990 h 866556"/>
                    <a:gd name="connsiteX207" fmla="*/ 266695 w 491582"/>
                    <a:gd name="connsiteY207" fmla="*/ 238147 h 866556"/>
                    <a:gd name="connsiteX208" fmla="*/ 266586 w 491582"/>
                    <a:gd name="connsiteY208" fmla="*/ 239617 h 866556"/>
                    <a:gd name="connsiteX209" fmla="*/ 265554 w 491582"/>
                    <a:gd name="connsiteY209" fmla="*/ 242628 h 866556"/>
                    <a:gd name="connsiteX210" fmla="*/ 265445 w 491582"/>
                    <a:gd name="connsiteY210" fmla="*/ 244061 h 866556"/>
                    <a:gd name="connsiteX211" fmla="*/ 265906 w 491582"/>
                    <a:gd name="connsiteY211" fmla="*/ 245372 h 866556"/>
                    <a:gd name="connsiteX212" fmla="*/ 266647 w 491582"/>
                    <a:gd name="connsiteY212" fmla="*/ 246720 h 866556"/>
                    <a:gd name="connsiteX213" fmla="*/ 267048 w 491582"/>
                    <a:gd name="connsiteY213" fmla="*/ 247631 h 866556"/>
                    <a:gd name="connsiteX214" fmla="*/ 267339 w 491582"/>
                    <a:gd name="connsiteY214" fmla="*/ 248736 h 866556"/>
                    <a:gd name="connsiteX215" fmla="*/ 267509 w 491582"/>
                    <a:gd name="connsiteY215" fmla="*/ 249525 h 866556"/>
                    <a:gd name="connsiteX216" fmla="*/ 267509 w 491582"/>
                    <a:gd name="connsiteY216" fmla="*/ 249817 h 866556"/>
                    <a:gd name="connsiteX217" fmla="*/ 267679 w 491582"/>
                    <a:gd name="connsiteY217" fmla="*/ 250521 h 866556"/>
                    <a:gd name="connsiteX218" fmla="*/ 268480 w 491582"/>
                    <a:gd name="connsiteY218" fmla="*/ 252039 h 866556"/>
                    <a:gd name="connsiteX219" fmla="*/ 270265 w 491582"/>
                    <a:gd name="connsiteY219" fmla="*/ 253702 h 866556"/>
                    <a:gd name="connsiteX220" fmla="*/ 278595 w 491582"/>
                    <a:gd name="connsiteY220" fmla="*/ 255208 h 866556"/>
                    <a:gd name="connsiteX221" fmla="*/ 298923 w 491582"/>
                    <a:gd name="connsiteY221" fmla="*/ 261583 h 866556"/>
                    <a:gd name="connsiteX222" fmla="*/ 300756 w 491582"/>
                    <a:gd name="connsiteY222" fmla="*/ 262554 h 866556"/>
                    <a:gd name="connsiteX223" fmla="*/ 304606 w 491582"/>
                    <a:gd name="connsiteY223" fmla="*/ 266185 h 866556"/>
                    <a:gd name="connsiteX224" fmla="*/ 306269 w 491582"/>
                    <a:gd name="connsiteY224" fmla="*/ 267387 h 866556"/>
                    <a:gd name="connsiteX225" fmla="*/ 308734 w 491582"/>
                    <a:gd name="connsiteY225" fmla="*/ 268335 h 866556"/>
                    <a:gd name="connsiteX226" fmla="*/ 310859 w 491582"/>
                    <a:gd name="connsiteY226" fmla="*/ 268942 h 866556"/>
                    <a:gd name="connsiteX227" fmla="*/ 313215 w 491582"/>
                    <a:gd name="connsiteY227" fmla="*/ 270010 h 866556"/>
                    <a:gd name="connsiteX228" fmla="*/ 315109 w 491582"/>
                    <a:gd name="connsiteY228" fmla="*/ 271492 h 866556"/>
                    <a:gd name="connsiteX229" fmla="*/ 319129 w 491582"/>
                    <a:gd name="connsiteY229" fmla="*/ 277709 h 866556"/>
                    <a:gd name="connsiteX230" fmla="*/ 324010 w 491582"/>
                    <a:gd name="connsiteY230" fmla="*/ 280393 h 866556"/>
                    <a:gd name="connsiteX231" fmla="*/ 322286 w 491582"/>
                    <a:gd name="connsiteY231" fmla="*/ 285092 h 866556"/>
                    <a:gd name="connsiteX232" fmla="*/ 311041 w 491582"/>
                    <a:gd name="connsiteY232" fmla="*/ 293155 h 866556"/>
                    <a:gd name="connsiteX233" fmla="*/ 309366 w 491582"/>
                    <a:gd name="connsiteY233" fmla="*/ 294770 h 866556"/>
                    <a:gd name="connsiteX234" fmla="*/ 305516 w 491582"/>
                    <a:gd name="connsiteY234" fmla="*/ 300113 h 866556"/>
                    <a:gd name="connsiteX235" fmla="*/ 304776 w 491582"/>
                    <a:gd name="connsiteY235" fmla="*/ 302140 h 866556"/>
                    <a:gd name="connsiteX236" fmla="*/ 304897 w 491582"/>
                    <a:gd name="connsiteY236" fmla="*/ 303913 h 866556"/>
                    <a:gd name="connsiteX237" fmla="*/ 306269 w 491582"/>
                    <a:gd name="connsiteY237" fmla="*/ 305261 h 866556"/>
                    <a:gd name="connsiteX238" fmla="*/ 307824 w 491582"/>
                    <a:gd name="connsiteY238" fmla="*/ 305686 h 866556"/>
                    <a:gd name="connsiteX239" fmla="*/ 309645 w 491582"/>
                    <a:gd name="connsiteY239" fmla="*/ 305565 h 866556"/>
                    <a:gd name="connsiteX240" fmla="*/ 314186 w 491582"/>
                    <a:gd name="connsiteY240" fmla="*/ 303938 h 866556"/>
                    <a:gd name="connsiteX241" fmla="*/ 315158 w 491582"/>
                    <a:gd name="connsiteY241" fmla="*/ 303695 h 866556"/>
                    <a:gd name="connsiteX242" fmla="*/ 316141 w 491582"/>
                    <a:gd name="connsiteY242" fmla="*/ 303719 h 866556"/>
                    <a:gd name="connsiteX243" fmla="*/ 317234 w 491582"/>
                    <a:gd name="connsiteY243" fmla="*/ 304010 h 866556"/>
                    <a:gd name="connsiteX244" fmla="*/ 321824 w 491582"/>
                    <a:gd name="connsiteY244" fmla="*/ 306014 h 866556"/>
                    <a:gd name="connsiteX245" fmla="*/ 323609 w 491582"/>
                    <a:gd name="connsiteY245" fmla="*/ 306475 h 866556"/>
                    <a:gd name="connsiteX246" fmla="*/ 325382 w 491582"/>
                    <a:gd name="connsiteY246" fmla="*/ 306475 h 866556"/>
                    <a:gd name="connsiteX247" fmla="*/ 329754 w 491582"/>
                    <a:gd name="connsiteY247" fmla="*/ 305589 h 866556"/>
                    <a:gd name="connsiteX248" fmla="*/ 342431 w 491582"/>
                    <a:gd name="connsiteY248" fmla="*/ 304921 h 866556"/>
                    <a:gd name="connsiteX249" fmla="*/ 345199 w 491582"/>
                    <a:gd name="connsiteY249" fmla="*/ 304290 h 866556"/>
                    <a:gd name="connsiteX250" fmla="*/ 346462 w 491582"/>
                    <a:gd name="connsiteY250" fmla="*/ 303598 h 866556"/>
                    <a:gd name="connsiteX251" fmla="*/ 351805 w 491582"/>
                    <a:gd name="connsiteY251" fmla="*/ 299639 h 866556"/>
                    <a:gd name="connsiteX252" fmla="*/ 353177 w 491582"/>
                    <a:gd name="connsiteY252" fmla="*/ 298947 h 866556"/>
                    <a:gd name="connsiteX253" fmla="*/ 353991 w 491582"/>
                    <a:gd name="connsiteY253" fmla="*/ 299311 h 866556"/>
                    <a:gd name="connsiteX254" fmla="*/ 354209 w 491582"/>
                    <a:gd name="connsiteY254" fmla="*/ 300683 h 866556"/>
                    <a:gd name="connsiteX255" fmla="*/ 353748 w 491582"/>
                    <a:gd name="connsiteY255" fmla="*/ 304132 h 866556"/>
                    <a:gd name="connsiteX256" fmla="*/ 352777 w 491582"/>
                    <a:gd name="connsiteY256" fmla="*/ 306451 h 866556"/>
                    <a:gd name="connsiteX257" fmla="*/ 351562 w 491582"/>
                    <a:gd name="connsiteY257" fmla="*/ 308576 h 866556"/>
                    <a:gd name="connsiteX258" fmla="*/ 351174 w 491582"/>
                    <a:gd name="connsiteY258" fmla="*/ 310070 h 866556"/>
                    <a:gd name="connsiteX259" fmla="*/ 351344 w 491582"/>
                    <a:gd name="connsiteY259" fmla="*/ 311503 h 866556"/>
                    <a:gd name="connsiteX260" fmla="*/ 352667 w 491582"/>
                    <a:gd name="connsiteY260" fmla="*/ 313689 h 866556"/>
                    <a:gd name="connsiteX261" fmla="*/ 353869 w 491582"/>
                    <a:gd name="connsiteY261" fmla="*/ 314903 h 866556"/>
                    <a:gd name="connsiteX262" fmla="*/ 355424 w 491582"/>
                    <a:gd name="connsiteY262" fmla="*/ 316020 h 866556"/>
                    <a:gd name="connsiteX263" fmla="*/ 357100 w 491582"/>
                    <a:gd name="connsiteY263" fmla="*/ 318169 h 866556"/>
                    <a:gd name="connsiteX264" fmla="*/ 358411 w 491582"/>
                    <a:gd name="connsiteY264" fmla="*/ 321399 h 866556"/>
                    <a:gd name="connsiteX265" fmla="*/ 360475 w 491582"/>
                    <a:gd name="connsiteY265" fmla="*/ 328029 h 866556"/>
                    <a:gd name="connsiteX266" fmla="*/ 362017 w 491582"/>
                    <a:gd name="connsiteY266" fmla="*/ 331101 h 866556"/>
                    <a:gd name="connsiteX267" fmla="*/ 363632 w 491582"/>
                    <a:gd name="connsiteY267" fmla="*/ 333081 h 866556"/>
                    <a:gd name="connsiteX268" fmla="*/ 365005 w 491582"/>
                    <a:gd name="connsiteY268" fmla="*/ 333748 h 866556"/>
                    <a:gd name="connsiteX269" fmla="*/ 365927 w 491582"/>
                    <a:gd name="connsiteY269" fmla="*/ 334599 h 866556"/>
                    <a:gd name="connsiteX270" fmla="*/ 366170 w 491582"/>
                    <a:gd name="connsiteY270" fmla="*/ 335764 h 866556"/>
                    <a:gd name="connsiteX271" fmla="*/ 365235 w 491582"/>
                    <a:gd name="connsiteY271" fmla="*/ 337561 h 866556"/>
                    <a:gd name="connsiteX272" fmla="*/ 363924 w 491582"/>
                    <a:gd name="connsiteY272" fmla="*/ 338545 h 866556"/>
                    <a:gd name="connsiteX273" fmla="*/ 362187 w 491582"/>
                    <a:gd name="connsiteY273" fmla="*/ 339019 h 866556"/>
                    <a:gd name="connsiteX274" fmla="*/ 360536 w 491582"/>
                    <a:gd name="connsiteY274" fmla="*/ 338763 h 866556"/>
                    <a:gd name="connsiteX275" fmla="*/ 356857 w 491582"/>
                    <a:gd name="connsiteY275" fmla="*/ 337076 h 866556"/>
                    <a:gd name="connsiteX276" fmla="*/ 355132 w 491582"/>
                    <a:gd name="connsiteY276" fmla="*/ 336614 h 866556"/>
                    <a:gd name="connsiteX277" fmla="*/ 353529 w 491582"/>
                    <a:gd name="connsiteY277" fmla="*/ 336675 h 866556"/>
                    <a:gd name="connsiteX278" fmla="*/ 352145 w 491582"/>
                    <a:gd name="connsiteY278" fmla="*/ 337258 h 866556"/>
                    <a:gd name="connsiteX279" fmla="*/ 351174 w 491582"/>
                    <a:gd name="connsiteY279" fmla="*/ 338169 h 866556"/>
                    <a:gd name="connsiteX280" fmla="*/ 350190 w 491582"/>
                    <a:gd name="connsiteY280" fmla="*/ 339626 h 866556"/>
                    <a:gd name="connsiteX281" fmla="*/ 349449 w 491582"/>
                    <a:gd name="connsiteY281" fmla="*/ 341241 h 866556"/>
                    <a:gd name="connsiteX282" fmla="*/ 348697 w 491582"/>
                    <a:gd name="connsiteY282" fmla="*/ 343973 h 866556"/>
                    <a:gd name="connsiteX283" fmla="*/ 348296 w 491582"/>
                    <a:gd name="connsiteY283" fmla="*/ 346559 h 866556"/>
                    <a:gd name="connsiteX284" fmla="*/ 348478 w 491582"/>
                    <a:gd name="connsiteY284" fmla="*/ 349291 h 866556"/>
                    <a:gd name="connsiteX285" fmla="*/ 349280 w 491582"/>
                    <a:gd name="connsiteY285" fmla="*/ 352825 h 866556"/>
                    <a:gd name="connsiteX286" fmla="*/ 351684 w 491582"/>
                    <a:gd name="connsiteY286" fmla="*/ 357184 h 866556"/>
                    <a:gd name="connsiteX287" fmla="*/ 354209 w 491582"/>
                    <a:gd name="connsiteY287" fmla="*/ 359334 h 866556"/>
                    <a:gd name="connsiteX288" fmla="*/ 357136 w 491582"/>
                    <a:gd name="connsiteY288" fmla="*/ 360827 h 866556"/>
                    <a:gd name="connsiteX289" fmla="*/ 366437 w 491582"/>
                    <a:gd name="connsiteY289" fmla="*/ 363632 h 866556"/>
                    <a:gd name="connsiteX290" fmla="*/ 375970 w 491582"/>
                    <a:gd name="connsiteY290" fmla="*/ 368052 h 866556"/>
                    <a:gd name="connsiteX291" fmla="*/ 377645 w 491582"/>
                    <a:gd name="connsiteY291" fmla="*/ 369267 h 866556"/>
                    <a:gd name="connsiteX292" fmla="*/ 378678 w 491582"/>
                    <a:gd name="connsiteY292" fmla="*/ 370845 h 866556"/>
                    <a:gd name="connsiteX293" fmla="*/ 379540 w 491582"/>
                    <a:gd name="connsiteY293" fmla="*/ 372849 h 866556"/>
                    <a:gd name="connsiteX294" fmla="*/ 380450 w 491582"/>
                    <a:gd name="connsiteY294" fmla="*/ 375836 h 866556"/>
                    <a:gd name="connsiteX295" fmla="*/ 381203 w 491582"/>
                    <a:gd name="connsiteY295" fmla="*/ 377645 h 866556"/>
                    <a:gd name="connsiteX296" fmla="*/ 382405 w 491582"/>
                    <a:gd name="connsiteY296" fmla="*/ 379625 h 866556"/>
                    <a:gd name="connsiteX297" fmla="*/ 383960 w 491582"/>
                    <a:gd name="connsiteY297" fmla="*/ 380972 h 866556"/>
                    <a:gd name="connsiteX298" fmla="*/ 385441 w 491582"/>
                    <a:gd name="connsiteY298" fmla="*/ 381774 h 866556"/>
                    <a:gd name="connsiteX299" fmla="*/ 386886 w 491582"/>
                    <a:gd name="connsiteY299" fmla="*/ 382259 h 866556"/>
                    <a:gd name="connsiteX300" fmla="*/ 387931 w 491582"/>
                    <a:gd name="connsiteY300" fmla="*/ 382952 h 866556"/>
                    <a:gd name="connsiteX301" fmla="*/ 388550 w 491582"/>
                    <a:gd name="connsiteY301" fmla="*/ 384020 h 866556"/>
                    <a:gd name="connsiteX302" fmla="*/ 389060 w 491582"/>
                    <a:gd name="connsiteY302" fmla="*/ 386267 h 866556"/>
                    <a:gd name="connsiteX303" fmla="*/ 388999 w 491582"/>
                    <a:gd name="connsiteY303" fmla="*/ 388234 h 866556"/>
                    <a:gd name="connsiteX304" fmla="*/ 388611 w 491582"/>
                    <a:gd name="connsiteY304" fmla="*/ 390250 h 866556"/>
                    <a:gd name="connsiteX305" fmla="*/ 387505 w 491582"/>
                    <a:gd name="connsiteY305" fmla="*/ 393298 h 866556"/>
                    <a:gd name="connsiteX306" fmla="*/ 386995 w 491582"/>
                    <a:gd name="connsiteY306" fmla="*/ 395665 h 866556"/>
                    <a:gd name="connsiteX307" fmla="*/ 386947 w 491582"/>
                    <a:gd name="connsiteY307" fmla="*/ 402733 h 866556"/>
                    <a:gd name="connsiteX308" fmla="*/ 386437 w 491582"/>
                    <a:gd name="connsiteY308" fmla="*/ 405513 h 866556"/>
                    <a:gd name="connsiteX309" fmla="*/ 384191 w 491582"/>
                    <a:gd name="connsiteY309" fmla="*/ 408319 h 866556"/>
                    <a:gd name="connsiteX310" fmla="*/ 381895 w 491582"/>
                    <a:gd name="connsiteY310" fmla="*/ 409508 h 866556"/>
                    <a:gd name="connsiteX311" fmla="*/ 379600 w 491582"/>
                    <a:gd name="connsiteY311" fmla="*/ 410103 h 866556"/>
                    <a:gd name="connsiteX312" fmla="*/ 377755 w 491582"/>
                    <a:gd name="connsiteY312" fmla="*/ 410346 h 866556"/>
                    <a:gd name="connsiteX313" fmla="*/ 376492 w 491582"/>
                    <a:gd name="connsiteY313" fmla="*/ 411694 h 866556"/>
                    <a:gd name="connsiteX314" fmla="*/ 376200 w 491582"/>
                    <a:gd name="connsiteY314" fmla="*/ 414098 h 866556"/>
                    <a:gd name="connsiteX315" fmla="*/ 377245 w 491582"/>
                    <a:gd name="connsiteY315" fmla="*/ 429569 h 866556"/>
                    <a:gd name="connsiteX316" fmla="*/ 376552 w 491582"/>
                    <a:gd name="connsiteY316" fmla="*/ 439465 h 866556"/>
                    <a:gd name="connsiteX317" fmla="*/ 376370 w 491582"/>
                    <a:gd name="connsiteY317" fmla="*/ 440133 h 866556"/>
                    <a:gd name="connsiteX318" fmla="*/ 376261 w 491582"/>
                    <a:gd name="connsiteY318" fmla="*/ 441043 h 866556"/>
                    <a:gd name="connsiteX319" fmla="*/ 374428 w 491582"/>
                    <a:gd name="connsiteY319" fmla="*/ 445245 h 866556"/>
                    <a:gd name="connsiteX320" fmla="*/ 373845 w 491582"/>
                    <a:gd name="connsiteY320" fmla="*/ 451268 h 866556"/>
                    <a:gd name="connsiteX321" fmla="*/ 374148 w 491582"/>
                    <a:gd name="connsiteY321" fmla="*/ 453514 h 866556"/>
                    <a:gd name="connsiteX322" fmla="*/ 374658 w 491582"/>
                    <a:gd name="connsiteY322" fmla="*/ 455409 h 866556"/>
                    <a:gd name="connsiteX323" fmla="*/ 375508 w 491582"/>
                    <a:gd name="connsiteY323" fmla="*/ 457327 h 866556"/>
                    <a:gd name="connsiteX324" fmla="*/ 378216 w 491582"/>
                    <a:gd name="connsiteY324" fmla="*/ 461201 h 866556"/>
                    <a:gd name="connsiteX325" fmla="*/ 379370 w 491582"/>
                    <a:gd name="connsiteY325" fmla="*/ 463447 h 866556"/>
                    <a:gd name="connsiteX326" fmla="*/ 379831 w 491582"/>
                    <a:gd name="connsiteY326" fmla="*/ 465767 h 866556"/>
                    <a:gd name="connsiteX327" fmla="*/ 379309 w 491582"/>
                    <a:gd name="connsiteY327" fmla="*/ 470842 h 866556"/>
                    <a:gd name="connsiteX328" fmla="*/ 379370 w 491582"/>
                    <a:gd name="connsiteY328" fmla="*/ 473259 h 866556"/>
                    <a:gd name="connsiteX329" fmla="*/ 380050 w 491582"/>
                    <a:gd name="connsiteY329" fmla="*/ 475238 h 866556"/>
                    <a:gd name="connsiteX330" fmla="*/ 381422 w 491582"/>
                    <a:gd name="connsiteY330" fmla="*/ 476647 h 866556"/>
                    <a:gd name="connsiteX331" fmla="*/ 385223 w 491582"/>
                    <a:gd name="connsiteY331" fmla="*/ 479051 h 866556"/>
                    <a:gd name="connsiteX332" fmla="*/ 387408 w 491582"/>
                    <a:gd name="connsiteY332" fmla="*/ 480751 h 866556"/>
                    <a:gd name="connsiteX333" fmla="*/ 389643 w 491582"/>
                    <a:gd name="connsiteY333" fmla="*/ 482900 h 866556"/>
                    <a:gd name="connsiteX334" fmla="*/ 393431 w 491582"/>
                    <a:gd name="connsiteY334" fmla="*/ 487235 h 866556"/>
                    <a:gd name="connsiteX335" fmla="*/ 395095 w 491582"/>
                    <a:gd name="connsiteY335" fmla="*/ 488790 h 866556"/>
                    <a:gd name="connsiteX336" fmla="*/ 396248 w 491582"/>
                    <a:gd name="connsiteY336" fmla="*/ 489445 h 866556"/>
                    <a:gd name="connsiteX337" fmla="*/ 397851 w 491582"/>
                    <a:gd name="connsiteY337" fmla="*/ 489846 h 866556"/>
                    <a:gd name="connsiteX338" fmla="*/ 398883 w 491582"/>
                    <a:gd name="connsiteY338" fmla="*/ 490186 h 866556"/>
                    <a:gd name="connsiteX339" fmla="*/ 401688 w 491582"/>
                    <a:gd name="connsiteY339" fmla="*/ 491740 h 866556"/>
                    <a:gd name="connsiteX340" fmla="*/ 404117 w 491582"/>
                    <a:gd name="connsiteY340" fmla="*/ 491510 h 866556"/>
                    <a:gd name="connsiteX341" fmla="*/ 407213 w 491582"/>
                    <a:gd name="connsiteY341" fmla="*/ 490247 h 866556"/>
                    <a:gd name="connsiteX342" fmla="*/ 413588 w 491582"/>
                    <a:gd name="connsiteY342" fmla="*/ 485766 h 866556"/>
                    <a:gd name="connsiteX343" fmla="*/ 421858 w 491582"/>
                    <a:gd name="connsiteY343" fmla="*/ 477922 h 866556"/>
                    <a:gd name="connsiteX344" fmla="*/ 423813 w 491582"/>
                    <a:gd name="connsiteY344" fmla="*/ 476610 h 866556"/>
                    <a:gd name="connsiteX345" fmla="*/ 426169 w 491582"/>
                    <a:gd name="connsiteY345" fmla="*/ 475432 h 866556"/>
                    <a:gd name="connsiteX346" fmla="*/ 434499 w 491582"/>
                    <a:gd name="connsiteY346" fmla="*/ 472482 h 866556"/>
                    <a:gd name="connsiteX347" fmla="*/ 441262 w 491582"/>
                    <a:gd name="connsiteY347" fmla="*/ 468766 h 866556"/>
                    <a:gd name="connsiteX348" fmla="*/ 445682 w 491582"/>
                    <a:gd name="connsiteY348" fmla="*/ 467515 h 866556"/>
                    <a:gd name="connsiteX349" fmla="*/ 448718 w 491582"/>
                    <a:gd name="connsiteY349" fmla="*/ 469931 h 866556"/>
                    <a:gd name="connsiteX350" fmla="*/ 449422 w 491582"/>
                    <a:gd name="connsiteY350" fmla="*/ 470818 h 866556"/>
                    <a:gd name="connsiteX351" fmla="*/ 453782 w 491582"/>
                    <a:gd name="connsiteY351" fmla="*/ 478395 h 866556"/>
                    <a:gd name="connsiteX352" fmla="*/ 455044 w 491582"/>
                    <a:gd name="connsiteY352" fmla="*/ 480180 h 866556"/>
                    <a:gd name="connsiteX353" fmla="*/ 456077 w 491582"/>
                    <a:gd name="connsiteY353" fmla="*/ 483823 h 866556"/>
                    <a:gd name="connsiteX354" fmla="*/ 456356 w 491582"/>
                    <a:gd name="connsiteY354" fmla="*/ 487697 h 866556"/>
                    <a:gd name="connsiteX355" fmla="*/ 457522 w 491582"/>
                    <a:gd name="connsiteY355" fmla="*/ 490368 h 866556"/>
                    <a:gd name="connsiteX356" fmla="*/ 458602 w 491582"/>
                    <a:gd name="connsiteY356" fmla="*/ 491947 h 866556"/>
                    <a:gd name="connsiteX357" fmla="*/ 460958 w 491582"/>
                    <a:gd name="connsiteY357" fmla="*/ 493477 h 866556"/>
                    <a:gd name="connsiteX358" fmla="*/ 461711 w 491582"/>
                    <a:gd name="connsiteY358" fmla="*/ 494242 h 866556"/>
                    <a:gd name="connsiteX359" fmla="*/ 462112 w 491582"/>
                    <a:gd name="connsiteY359" fmla="*/ 495614 h 866556"/>
                    <a:gd name="connsiteX360" fmla="*/ 462112 w 491582"/>
                    <a:gd name="connsiteY360" fmla="*/ 497715 h 866556"/>
                    <a:gd name="connsiteX361" fmla="*/ 461310 w 491582"/>
                    <a:gd name="connsiteY361" fmla="*/ 501151 h 866556"/>
                    <a:gd name="connsiteX362" fmla="*/ 452458 w 491582"/>
                    <a:gd name="connsiteY362" fmla="*/ 519669 h 866556"/>
                    <a:gd name="connsiteX363" fmla="*/ 451827 w 491582"/>
                    <a:gd name="connsiteY363" fmla="*/ 521636 h 866556"/>
                    <a:gd name="connsiteX364" fmla="*/ 451827 w 491582"/>
                    <a:gd name="connsiteY364" fmla="*/ 523081 h 866556"/>
                    <a:gd name="connsiteX365" fmla="*/ 454704 w 491582"/>
                    <a:gd name="connsiteY365" fmla="*/ 529262 h 866556"/>
                    <a:gd name="connsiteX366" fmla="*/ 458542 w 491582"/>
                    <a:gd name="connsiteY366" fmla="*/ 541199 h 866556"/>
                    <a:gd name="connsiteX367" fmla="*/ 458542 w 491582"/>
                    <a:gd name="connsiteY367" fmla="*/ 543056 h 866556"/>
                    <a:gd name="connsiteX368" fmla="*/ 457910 w 491582"/>
                    <a:gd name="connsiteY368" fmla="*/ 546043 h 866556"/>
                    <a:gd name="connsiteX369" fmla="*/ 452737 w 491582"/>
                    <a:gd name="connsiteY369" fmla="*/ 556122 h 866556"/>
                    <a:gd name="connsiteX370" fmla="*/ 452288 w 491582"/>
                    <a:gd name="connsiteY370" fmla="*/ 558308 h 866556"/>
                    <a:gd name="connsiteX371" fmla="*/ 452118 w 491582"/>
                    <a:gd name="connsiteY371" fmla="*/ 560749 h 866556"/>
                    <a:gd name="connsiteX372" fmla="*/ 453150 w 491582"/>
                    <a:gd name="connsiteY372" fmla="*/ 568386 h 866556"/>
                    <a:gd name="connsiteX373" fmla="*/ 454352 w 491582"/>
                    <a:gd name="connsiteY373" fmla="*/ 572552 h 866556"/>
                    <a:gd name="connsiteX374" fmla="*/ 454292 w 491582"/>
                    <a:gd name="connsiteY374" fmla="*/ 575939 h 866556"/>
                    <a:gd name="connsiteX375" fmla="*/ 453891 w 491582"/>
                    <a:gd name="connsiteY375" fmla="*/ 578611 h 866556"/>
                    <a:gd name="connsiteX376" fmla="*/ 444942 w 491582"/>
                    <a:gd name="connsiteY376" fmla="*/ 607341 h 866556"/>
                    <a:gd name="connsiteX377" fmla="*/ 444711 w 491582"/>
                    <a:gd name="connsiteY377" fmla="*/ 609041 h 866556"/>
                    <a:gd name="connsiteX378" fmla="*/ 444772 w 491582"/>
                    <a:gd name="connsiteY378" fmla="*/ 610389 h 866556"/>
                    <a:gd name="connsiteX379" fmla="*/ 445342 w 491582"/>
                    <a:gd name="connsiteY379" fmla="*/ 611421 h 866556"/>
                    <a:gd name="connsiteX380" fmla="*/ 445913 w 491582"/>
                    <a:gd name="connsiteY380" fmla="*/ 612028 h 866556"/>
                    <a:gd name="connsiteX381" fmla="*/ 446836 w 491582"/>
                    <a:gd name="connsiteY381" fmla="*/ 612453 h 866556"/>
                    <a:gd name="connsiteX382" fmla="*/ 448038 w 491582"/>
                    <a:gd name="connsiteY382" fmla="*/ 612915 h 866556"/>
                    <a:gd name="connsiteX383" fmla="*/ 449592 w 491582"/>
                    <a:gd name="connsiteY383" fmla="*/ 613315 h 866556"/>
                    <a:gd name="connsiteX384" fmla="*/ 450855 w 491582"/>
                    <a:gd name="connsiteY384" fmla="*/ 613777 h 866556"/>
                    <a:gd name="connsiteX385" fmla="*/ 451997 w 491582"/>
                    <a:gd name="connsiteY385" fmla="*/ 614348 h 866556"/>
                    <a:gd name="connsiteX386" fmla="*/ 452798 w 491582"/>
                    <a:gd name="connsiteY386" fmla="*/ 615040 h 866556"/>
                    <a:gd name="connsiteX387" fmla="*/ 454474 w 491582"/>
                    <a:gd name="connsiteY387" fmla="*/ 616764 h 866556"/>
                    <a:gd name="connsiteX388" fmla="*/ 455506 w 491582"/>
                    <a:gd name="connsiteY388" fmla="*/ 617663 h 866556"/>
                    <a:gd name="connsiteX389" fmla="*/ 457522 w 491582"/>
                    <a:gd name="connsiteY389" fmla="*/ 617869 h 866556"/>
                    <a:gd name="connsiteX390" fmla="*/ 459124 w 491582"/>
                    <a:gd name="connsiteY390" fmla="*/ 617833 h 866556"/>
                    <a:gd name="connsiteX391" fmla="*/ 467673 w 491582"/>
                    <a:gd name="connsiteY391" fmla="*/ 613813 h 866556"/>
                    <a:gd name="connsiteX392" fmla="*/ 469057 w 491582"/>
                    <a:gd name="connsiteY392" fmla="*/ 613497 h 866556"/>
                    <a:gd name="connsiteX393" fmla="*/ 472397 w 491582"/>
                    <a:gd name="connsiteY393" fmla="*/ 613413 h 866556"/>
                    <a:gd name="connsiteX394" fmla="*/ 473647 w 491582"/>
                    <a:gd name="connsiteY394" fmla="*/ 613570 h 866556"/>
                    <a:gd name="connsiteX395" fmla="*/ 474862 w 491582"/>
                    <a:gd name="connsiteY395" fmla="*/ 614360 h 866556"/>
                    <a:gd name="connsiteX396" fmla="*/ 475894 w 491582"/>
                    <a:gd name="connsiteY396" fmla="*/ 615708 h 866556"/>
                    <a:gd name="connsiteX397" fmla="*/ 477327 w 491582"/>
                    <a:gd name="connsiteY397" fmla="*/ 619278 h 866556"/>
                    <a:gd name="connsiteX398" fmla="*/ 478699 w 491582"/>
                    <a:gd name="connsiteY398" fmla="*/ 621803 h 866556"/>
                    <a:gd name="connsiteX399" fmla="*/ 484503 w 491582"/>
                    <a:gd name="connsiteY399" fmla="*/ 628713 h 866556"/>
                    <a:gd name="connsiteX400" fmla="*/ 485596 w 491582"/>
                    <a:gd name="connsiteY400" fmla="*/ 631263 h 866556"/>
                    <a:gd name="connsiteX401" fmla="*/ 485475 w 491582"/>
                    <a:gd name="connsiteY401" fmla="*/ 636071 h 866556"/>
                    <a:gd name="connsiteX402" fmla="*/ 480253 w 491582"/>
                    <a:gd name="connsiteY402" fmla="*/ 640576 h 866556"/>
                    <a:gd name="connsiteX403" fmla="*/ 479100 w 491582"/>
                    <a:gd name="connsiteY403" fmla="*/ 642119 h 866556"/>
                    <a:gd name="connsiteX404" fmla="*/ 477898 w 491582"/>
                    <a:gd name="connsiteY404" fmla="*/ 644571 h 866556"/>
                    <a:gd name="connsiteX405" fmla="*/ 473307 w 491582"/>
                    <a:gd name="connsiteY405" fmla="*/ 658196 h 866556"/>
                    <a:gd name="connsiteX406" fmla="*/ 468317 w 491582"/>
                    <a:gd name="connsiteY406" fmla="*/ 666380 h 866556"/>
                    <a:gd name="connsiteX407" fmla="*/ 457522 w 491582"/>
                    <a:gd name="connsiteY407" fmla="*/ 700174 h 866556"/>
                    <a:gd name="connsiteX408" fmla="*/ 452859 w 491582"/>
                    <a:gd name="connsiteY408" fmla="*/ 711139 h 866556"/>
                    <a:gd name="connsiteX409" fmla="*/ 449131 w 491582"/>
                    <a:gd name="connsiteY409" fmla="*/ 716591 h 866556"/>
                    <a:gd name="connsiteX410" fmla="*/ 442294 w 491582"/>
                    <a:gd name="connsiteY410" fmla="*/ 721388 h 866556"/>
                    <a:gd name="connsiteX411" fmla="*/ 441044 w 491582"/>
                    <a:gd name="connsiteY411" fmla="*/ 722517 h 866556"/>
                    <a:gd name="connsiteX412" fmla="*/ 440679 w 491582"/>
                    <a:gd name="connsiteY412" fmla="*/ 723088 h 866556"/>
                    <a:gd name="connsiteX413" fmla="*/ 441262 w 491582"/>
                    <a:gd name="connsiteY413" fmla="*/ 726257 h 866556"/>
                    <a:gd name="connsiteX414" fmla="*/ 445634 w 491582"/>
                    <a:gd name="connsiteY414" fmla="*/ 738157 h 866556"/>
                    <a:gd name="connsiteX415" fmla="*/ 447747 w 491582"/>
                    <a:gd name="connsiteY415" fmla="*/ 743269 h 866556"/>
                    <a:gd name="connsiteX416" fmla="*/ 450576 w 491582"/>
                    <a:gd name="connsiteY416" fmla="*/ 745710 h 866556"/>
                    <a:gd name="connsiteX417" fmla="*/ 454012 w 491582"/>
                    <a:gd name="connsiteY417" fmla="*/ 747592 h 866556"/>
                    <a:gd name="connsiteX418" fmla="*/ 455506 w 491582"/>
                    <a:gd name="connsiteY418" fmla="*/ 748843 h 866556"/>
                    <a:gd name="connsiteX419" fmla="*/ 456477 w 491582"/>
                    <a:gd name="connsiteY419" fmla="*/ 749899 h 866556"/>
                    <a:gd name="connsiteX420" fmla="*/ 457048 w 491582"/>
                    <a:gd name="connsiteY420" fmla="*/ 750785 h 866556"/>
                    <a:gd name="connsiteX421" fmla="*/ 457291 w 491582"/>
                    <a:gd name="connsiteY421" fmla="*/ 751490 h 866556"/>
                    <a:gd name="connsiteX422" fmla="*/ 457109 w 491582"/>
                    <a:gd name="connsiteY422" fmla="*/ 753518 h 866556"/>
                    <a:gd name="connsiteX423" fmla="*/ 453891 w 491582"/>
                    <a:gd name="connsiteY423" fmla="*/ 764058 h 866556"/>
                    <a:gd name="connsiteX424" fmla="*/ 445792 w 491582"/>
                    <a:gd name="connsiteY424" fmla="*/ 776456 h 866556"/>
                    <a:gd name="connsiteX425" fmla="*/ 443667 w 491582"/>
                    <a:gd name="connsiteY425" fmla="*/ 779261 h 866556"/>
                    <a:gd name="connsiteX426" fmla="*/ 443278 w 491582"/>
                    <a:gd name="connsiteY426" fmla="*/ 780839 h 866556"/>
                    <a:gd name="connsiteX427" fmla="*/ 443618 w 491582"/>
                    <a:gd name="connsiteY427" fmla="*/ 783256 h 866556"/>
                    <a:gd name="connsiteX428" fmla="*/ 444189 w 491582"/>
                    <a:gd name="connsiteY428" fmla="*/ 784895 h 866556"/>
                    <a:gd name="connsiteX429" fmla="*/ 444480 w 491582"/>
                    <a:gd name="connsiteY429" fmla="*/ 786449 h 866556"/>
                    <a:gd name="connsiteX430" fmla="*/ 444602 w 491582"/>
                    <a:gd name="connsiteY430" fmla="*/ 789570 h 866556"/>
                    <a:gd name="connsiteX431" fmla="*/ 444942 w 491582"/>
                    <a:gd name="connsiteY431" fmla="*/ 791416 h 866556"/>
                    <a:gd name="connsiteX432" fmla="*/ 445634 w 491582"/>
                    <a:gd name="connsiteY432" fmla="*/ 793213 h 866556"/>
                    <a:gd name="connsiteX433" fmla="*/ 446544 w 491582"/>
                    <a:gd name="connsiteY433" fmla="*/ 794877 h 866556"/>
                    <a:gd name="connsiteX434" fmla="*/ 447989 w 491582"/>
                    <a:gd name="connsiteY434" fmla="*/ 796577 h 866556"/>
                    <a:gd name="connsiteX435" fmla="*/ 456817 w 491582"/>
                    <a:gd name="connsiteY435" fmla="*/ 803522 h 866556"/>
                    <a:gd name="connsiteX436" fmla="*/ 460217 w 491582"/>
                    <a:gd name="connsiteY436" fmla="*/ 807262 h 866556"/>
                    <a:gd name="connsiteX437" fmla="*/ 461310 w 491582"/>
                    <a:gd name="connsiteY437" fmla="*/ 808926 h 866556"/>
                    <a:gd name="connsiteX438" fmla="*/ 461990 w 491582"/>
                    <a:gd name="connsiteY438" fmla="*/ 810845 h 866556"/>
                    <a:gd name="connsiteX439" fmla="*/ 462051 w 491582"/>
                    <a:gd name="connsiteY439" fmla="*/ 812739 h 866556"/>
                    <a:gd name="connsiteX440" fmla="*/ 460897 w 491582"/>
                    <a:gd name="connsiteY440" fmla="*/ 815750 h 866556"/>
                    <a:gd name="connsiteX441" fmla="*/ 459064 w 491582"/>
                    <a:gd name="connsiteY441" fmla="*/ 818519 h 866556"/>
                    <a:gd name="connsiteX442" fmla="*/ 455506 w 491582"/>
                    <a:gd name="connsiteY442" fmla="*/ 822198 h 866556"/>
                    <a:gd name="connsiteX443" fmla="*/ 453369 w 491582"/>
                    <a:gd name="connsiteY443" fmla="*/ 823510 h 866556"/>
                    <a:gd name="connsiteX444" fmla="*/ 451887 w 491582"/>
                    <a:gd name="connsiteY444" fmla="*/ 823850 h 866556"/>
                    <a:gd name="connsiteX445" fmla="*/ 450916 w 491582"/>
                    <a:gd name="connsiteY445" fmla="*/ 823170 h 866556"/>
                    <a:gd name="connsiteX446" fmla="*/ 449592 w 491582"/>
                    <a:gd name="connsiteY446" fmla="*/ 821846 h 866556"/>
                    <a:gd name="connsiteX447" fmla="*/ 449131 w 491582"/>
                    <a:gd name="connsiteY447" fmla="*/ 821530 h 866556"/>
                    <a:gd name="connsiteX448" fmla="*/ 448718 w 491582"/>
                    <a:gd name="connsiteY448" fmla="*/ 821385 h 866556"/>
                    <a:gd name="connsiteX449" fmla="*/ 448378 w 491582"/>
                    <a:gd name="connsiteY449" fmla="*/ 821725 h 866556"/>
                    <a:gd name="connsiteX450" fmla="*/ 448208 w 491582"/>
                    <a:gd name="connsiteY450" fmla="*/ 822502 h 866556"/>
                    <a:gd name="connsiteX451" fmla="*/ 448159 w 491582"/>
                    <a:gd name="connsiteY451" fmla="*/ 824275 h 866556"/>
                    <a:gd name="connsiteX452" fmla="*/ 448378 w 491582"/>
                    <a:gd name="connsiteY452" fmla="*/ 826011 h 866556"/>
                    <a:gd name="connsiteX453" fmla="*/ 449932 w 491582"/>
                    <a:gd name="connsiteY453" fmla="*/ 831427 h 866556"/>
                    <a:gd name="connsiteX454" fmla="*/ 450212 w 491582"/>
                    <a:gd name="connsiteY454" fmla="*/ 833078 h 866556"/>
                    <a:gd name="connsiteX455" fmla="*/ 449532 w 491582"/>
                    <a:gd name="connsiteY455" fmla="*/ 835167 h 866556"/>
                    <a:gd name="connsiteX456" fmla="*/ 447929 w 491582"/>
                    <a:gd name="connsiteY456" fmla="*/ 837850 h 866556"/>
                    <a:gd name="connsiteX457" fmla="*/ 443909 w 491582"/>
                    <a:gd name="connsiteY457" fmla="*/ 842611 h 866556"/>
                    <a:gd name="connsiteX458" fmla="*/ 441784 w 491582"/>
                    <a:gd name="connsiteY458" fmla="*/ 846460 h 866556"/>
                    <a:gd name="connsiteX459" fmla="*/ 440922 w 491582"/>
                    <a:gd name="connsiteY459" fmla="*/ 848549 h 866556"/>
                    <a:gd name="connsiteX460" fmla="*/ 440862 w 491582"/>
                    <a:gd name="connsiteY460" fmla="*/ 849556 h 866556"/>
                    <a:gd name="connsiteX461" fmla="*/ 441141 w 491582"/>
                    <a:gd name="connsiteY461" fmla="*/ 851596 h 866556"/>
                    <a:gd name="connsiteX462" fmla="*/ 441092 w 491582"/>
                    <a:gd name="connsiteY462" fmla="*/ 852811 h 866556"/>
                    <a:gd name="connsiteX463" fmla="*/ 440801 w 491582"/>
                    <a:gd name="connsiteY463" fmla="*/ 854122 h 866556"/>
                    <a:gd name="connsiteX464" fmla="*/ 440169 w 491582"/>
                    <a:gd name="connsiteY464" fmla="*/ 855191 h 866556"/>
                    <a:gd name="connsiteX465" fmla="*/ 438736 w 491582"/>
                    <a:gd name="connsiteY465" fmla="*/ 856308 h 866556"/>
                    <a:gd name="connsiteX466" fmla="*/ 437122 w 491582"/>
                    <a:gd name="connsiteY466" fmla="*/ 856830 h 866556"/>
                    <a:gd name="connsiteX467" fmla="*/ 433624 w 491582"/>
                    <a:gd name="connsiteY467" fmla="*/ 856454 h 866556"/>
                    <a:gd name="connsiteX468" fmla="*/ 432483 w 491582"/>
                    <a:gd name="connsiteY468" fmla="*/ 856551 h 866556"/>
                    <a:gd name="connsiteX469" fmla="*/ 431973 w 491582"/>
                    <a:gd name="connsiteY469" fmla="*/ 856745 h 866556"/>
                    <a:gd name="connsiteX470" fmla="*/ 430467 w 491582"/>
                    <a:gd name="connsiteY470" fmla="*/ 858336 h 866556"/>
                    <a:gd name="connsiteX471" fmla="*/ 408999 w 491582"/>
                    <a:gd name="connsiteY471" fmla="*/ 842684 h 866556"/>
                    <a:gd name="connsiteX472" fmla="*/ 402733 w 491582"/>
                    <a:gd name="connsiteY472" fmla="*/ 835774 h 866556"/>
                    <a:gd name="connsiteX473" fmla="*/ 387287 w 491582"/>
                    <a:gd name="connsiteY473" fmla="*/ 813856 h 866556"/>
                    <a:gd name="connsiteX474" fmla="*/ 377184 w 491582"/>
                    <a:gd name="connsiteY474" fmla="*/ 804579 h 866556"/>
                    <a:gd name="connsiteX475" fmla="*/ 374816 w 491582"/>
                    <a:gd name="connsiteY475" fmla="*/ 798641 h 866556"/>
                    <a:gd name="connsiteX476" fmla="*/ 361325 w 491582"/>
                    <a:gd name="connsiteY476" fmla="*/ 782904 h 866556"/>
                    <a:gd name="connsiteX477" fmla="*/ 359383 w 491582"/>
                    <a:gd name="connsiteY477" fmla="*/ 778484 h 866556"/>
                    <a:gd name="connsiteX478" fmla="*/ 352667 w 491582"/>
                    <a:gd name="connsiteY478" fmla="*/ 772461 h 866556"/>
                    <a:gd name="connsiteX479" fmla="*/ 346062 w 491582"/>
                    <a:gd name="connsiteY479" fmla="*/ 761144 h 866556"/>
                    <a:gd name="connsiteX480" fmla="*/ 343075 w 491582"/>
                    <a:gd name="connsiteY480" fmla="*/ 757488 h 866556"/>
                    <a:gd name="connsiteX481" fmla="*/ 326936 w 491582"/>
                    <a:gd name="connsiteY481" fmla="*/ 743949 h 866556"/>
                    <a:gd name="connsiteX482" fmla="*/ 324241 w 491582"/>
                    <a:gd name="connsiteY482" fmla="*/ 739808 h 866556"/>
                    <a:gd name="connsiteX483" fmla="*/ 324994 w 491582"/>
                    <a:gd name="connsiteY483" fmla="*/ 737598 h 866556"/>
                    <a:gd name="connsiteX484" fmla="*/ 327058 w 491582"/>
                    <a:gd name="connsiteY484" fmla="*/ 737416 h 866556"/>
                    <a:gd name="connsiteX485" fmla="*/ 329693 w 491582"/>
                    <a:gd name="connsiteY485" fmla="*/ 741314 h 866556"/>
                    <a:gd name="connsiteX486" fmla="*/ 333081 w 491582"/>
                    <a:gd name="connsiteY486" fmla="*/ 740622 h 866556"/>
                    <a:gd name="connsiteX487" fmla="*/ 336578 w 491582"/>
                    <a:gd name="connsiteY487" fmla="*/ 738764 h 866556"/>
                    <a:gd name="connsiteX488" fmla="*/ 338594 w 491582"/>
                    <a:gd name="connsiteY488" fmla="*/ 737356 h 866556"/>
                    <a:gd name="connsiteX489" fmla="*/ 336068 w 491582"/>
                    <a:gd name="connsiteY489" fmla="*/ 737295 h 866556"/>
                    <a:gd name="connsiteX490" fmla="*/ 333542 w 491582"/>
                    <a:gd name="connsiteY490" fmla="*/ 738193 h 866556"/>
                    <a:gd name="connsiteX491" fmla="*/ 331247 w 491582"/>
                    <a:gd name="connsiteY491" fmla="*/ 738424 h 866556"/>
                    <a:gd name="connsiteX492" fmla="*/ 329523 w 491582"/>
                    <a:gd name="connsiteY492" fmla="*/ 736178 h 866556"/>
                    <a:gd name="connsiteX493" fmla="*/ 329863 w 491582"/>
                    <a:gd name="connsiteY493" fmla="*/ 734101 h 866556"/>
                    <a:gd name="connsiteX494" fmla="*/ 331417 w 491582"/>
                    <a:gd name="connsiteY494" fmla="*/ 731490 h 866556"/>
                    <a:gd name="connsiteX495" fmla="*/ 333481 w 491582"/>
                    <a:gd name="connsiteY495" fmla="*/ 729280 h 866556"/>
                    <a:gd name="connsiteX496" fmla="*/ 335327 w 491582"/>
                    <a:gd name="connsiteY496" fmla="*/ 728333 h 866556"/>
                    <a:gd name="connsiteX497" fmla="*/ 345539 w 491582"/>
                    <a:gd name="connsiteY497" fmla="*/ 729621 h 866556"/>
                    <a:gd name="connsiteX498" fmla="*/ 346110 w 491582"/>
                    <a:gd name="connsiteY498" fmla="*/ 728953 h 866556"/>
                    <a:gd name="connsiteX499" fmla="*/ 344507 w 491582"/>
                    <a:gd name="connsiteY499" fmla="*/ 727556 h 866556"/>
                    <a:gd name="connsiteX500" fmla="*/ 342334 w 491582"/>
                    <a:gd name="connsiteY500" fmla="*/ 726208 h 866556"/>
                    <a:gd name="connsiteX501" fmla="*/ 341180 w 491582"/>
                    <a:gd name="connsiteY501" fmla="*/ 725747 h 866556"/>
                    <a:gd name="connsiteX502" fmla="*/ 342613 w 491582"/>
                    <a:gd name="connsiteY502" fmla="*/ 724885 h 866556"/>
                    <a:gd name="connsiteX503" fmla="*/ 345321 w 491582"/>
                    <a:gd name="connsiteY503" fmla="*/ 724205 h 866556"/>
                    <a:gd name="connsiteX504" fmla="*/ 347543 w 491582"/>
                    <a:gd name="connsiteY504" fmla="*/ 723282 h 866556"/>
                    <a:gd name="connsiteX505" fmla="*/ 347543 w 491582"/>
                    <a:gd name="connsiteY505" fmla="*/ 721873 h 866556"/>
                    <a:gd name="connsiteX506" fmla="*/ 345600 w 491582"/>
                    <a:gd name="connsiteY506" fmla="*/ 721242 h 866556"/>
                    <a:gd name="connsiteX507" fmla="*/ 342953 w 491582"/>
                    <a:gd name="connsiteY507" fmla="*/ 721764 h 866556"/>
                    <a:gd name="connsiteX508" fmla="*/ 340719 w 491582"/>
                    <a:gd name="connsiteY508" fmla="*/ 722821 h 866556"/>
                    <a:gd name="connsiteX509" fmla="*/ 339747 w 491582"/>
                    <a:gd name="connsiteY509" fmla="*/ 723743 h 866556"/>
                    <a:gd name="connsiteX510" fmla="*/ 338594 w 491582"/>
                    <a:gd name="connsiteY510" fmla="*/ 725686 h 866556"/>
                    <a:gd name="connsiteX511" fmla="*/ 335947 w 491582"/>
                    <a:gd name="connsiteY511" fmla="*/ 725261 h 866556"/>
                    <a:gd name="connsiteX512" fmla="*/ 331478 w 491582"/>
                    <a:gd name="connsiteY512" fmla="*/ 723160 h 866556"/>
                    <a:gd name="connsiteX513" fmla="*/ 330385 w 491582"/>
                    <a:gd name="connsiteY513" fmla="*/ 724375 h 866556"/>
                    <a:gd name="connsiteX514" fmla="*/ 328309 w 491582"/>
                    <a:gd name="connsiteY514" fmla="*/ 730191 h 866556"/>
                    <a:gd name="connsiteX515" fmla="*/ 326936 w 491582"/>
                    <a:gd name="connsiteY515" fmla="*/ 732328 h 866556"/>
                    <a:gd name="connsiteX516" fmla="*/ 325564 w 491582"/>
                    <a:gd name="connsiteY516" fmla="*/ 729621 h 866556"/>
                    <a:gd name="connsiteX517" fmla="*/ 326876 w 491582"/>
                    <a:gd name="connsiteY517" fmla="*/ 728358 h 866556"/>
                    <a:gd name="connsiteX518" fmla="*/ 327507 w 491582"/>
                    <a:gd name="connsiteY518" fmla="*/ 727229 h 866556"/>
                    <a:gd name="connsiteX519" fmla="*/ 328260 w 491582"/>
                    <a:gd name="connsiteY519" fmla="*/ 724326 h 866556"/>
                    <a:gd name="connsiteX520" fmla="*/ 325261 w 491582"/>
                    <a:gd name="connsiteY520" fmla="*/ 726196 h 866556"/>
                    <a:gd name="connsiteX521" fmla="*/ 323257 w 491582"/>
                    <a:gd name="connsiteY521" fmla="*/ 728443 h 866556"/>
                    <a:gd name="connsiteX522" fmla="*/ 322395 w 491582"/>
                    <a:gd name="connsiteY522" fmla="*/ 731223 h 866556"/>
                    <a:gd name="connsiteX523" fmla="*/ 323087 w 491582"/>
                    <a:gd name="connsiteY523" fmla="*/ 734745 h 866556"/>
                    <a:gd name="connsiteX524" fmla="*/ 321254 w 491582"/>
                    <a:gd name="connsiteY524" fmla="*/ 733263 h 866556"/>
                    <a:gd name="connsiteX525" fmla="*/ 319991 w 491582"/>
                    <a:gd name="connsiteY525" fmla="*/ 730568 h 866556"/>
                    <a:gd name="connsiteX526" fmla="*/ 319299 w 491582"/>
                    <a:gd name="connsiteY526" fmla="*/ 727508 h 866556"/>
                    <a:gd name="connsiteX527" fmla="*/ 319129 w 491582"/>
                    <a:gd name="connsiteY527" fmla="*/ 725006 h 866556"/>
                    <a:gd name="connsiteX528" fmla="*/ 318558 w 491582"/>
                    <a:gd name="connsiteY528" fmla="*/ 722821 h 866556"/>
                    <a:gd name="connsiteX529" fmla="*/ 316032 w 491582"/>
                    <a:gd name="connsiteY529" fmla="*/ 719020 h 866556"/>
                    <a:gd name="connsiteX530" fmla="*/ 313968 w 491582"/>
                    <a:gd name="connsiteY530" fmla="*/ 712718 h 866556"/>
                    <a:gd name="connsiteX531" fmla="*/ 308564 w 491582"/>
                    <a:gd name="connsiteY531" fmla="*/ 701485 h 866556"/>
                    <a:gd name="connsiteX532" fmla="*/ 308904 w 491582"/>
                    <a:gd name="connsiteY532" fmla="*/ 697078 h 866556"/>
                    <a:gd name="connsiteX533" fmla="*/ 309317 w 491582"/>
                    <a:gd name="connsiteY533" fmla="*/ 698194 h 866556"/>
                    <a:gd name="connsiteX534" fmla="*/ 309706 w 491582"/>
                    <a:gd name="connsiteY534" fmla="*/ 698862 h 866556"/>
                    <a:gd name="connsiteX535" fmla="*/ 310009 w 491582"/>
                    <a:gd name="connsiteY535" fmla="*/ 699700 h 866556"/>
                    <a:gd name="connsiteX536" fmla="*/ 310167 w 491582"/>
                    <a:gd name="connsiteY536" fmla="*/ 701182 h 866556"/>
                    <a:gd name="connsiteX537" fmla="*/ 311600 w 491582"/>
                    <a:gd name="connsiteY537" fmla="*/ 701182 h 866556"/>
                    <a:gd name="connsiteX538" fmla="*/ 311503 w 491582"/>
                    <a:gd name="connsiteY538" fmla="*/ 698425 h 866556"/>
                    <a:gd name="connsiteX539" fmla="*/ 312753 w 491582"/>
                    <a:gd name="connsiteY539" fmla="*/ 690751 h 866556"/>
                    <a:gd name="connsiteX540" fmla="*/ 310981 w 491582"/>
                    <a:gd name="connsiteY540" fmla="*/ 692184 h 866556"/>
                    <a:gd name="connsiteX541" fmla="*/ 310519 w 491582"/>
                    <a:gd name="connsiteY541" fmla="*/ 692949 h 866556"/>
                    <a:gd name="connsiteX542" fmla="*/ 310167 w 491582"/>
                    <a:gd name="connsiteY542" fmla="*/ 694600 h 866556"/>
                    <a:gd name="connsiteX543" fmla="*/ 308904 w 491582"/>
                    <a:gd name="connsiteY543" fmla="*/ 694600 h 866556"/>
                    <a:gd name="connsiteX544" fmla="*/ 305346 w 491582"/>
                    <a:gd name="connsiteY544" fmla="*/ 683113 h 866556"/>
                    <a:gd name="connsiteX545" fmla="*/ 302529 w 491582"/>
                    <a:gd name="connsiteY545" fmla="*/ 676823 h 866556"/>
                    <a:gd name="connsiteX546" fmla="*/ 299943 w 491582"/>
                    <a:gd name="connsiteY546" fmla="*/ 676544 h 866556"/>
                    <a:gd name="connsiteX547" fmla="*/ 300246 w 491582"/>
                    <a:gd name="connsiteY547" fmla="*/ 678547 h 866556"/>
                    <a:gd name="connsiteX548" fmla="*/ 305990 w 491582"/>
                    <a:gd name="connsiteY548" fmla="*/ 693046 h 866556"/>
                    <a:gd name="connsiteX549" fmla="*/ 306379 w 491582"/>
                    <a:gd name="connsiteY549" fmla="*/ 695778 h 866556"/>
                    <a:gd name="connsiteX550" fmla="*/ 305176 w 491582"/>
                    <a:gd name="connsiteY550" fmla="*/ 695778 h 866556"/>
                    <a:gd name="connsiteX551" fmla="*/ 290253 w 491582"/>
                    <a:gd name="connsiteY551" fmla="*/ 661742 h 866556"/>
                    <a:gd name="connsiteX552" fmla="*/ 280660 w 491582"/>
                    <a:gd name="connsiteY552" fmla="*/ 630000 h 866556"/>
                    <a:gd name="connsiteX553" fmla="*/ 276750 w 491582"/>
                    <a:gd name="connsiteY553" fmla="*/ 603443 h 866556"/>
                    <a:gd name="connsiteX554" fmla="*/ 277903 w 491582"/>
                    <a:gd name="connsiteY554" fmla="*/ 598671 h 866556"/>
                    <a:gd name="connsiteX555" fmla="*/ 274224 w 491582"/>
                    <a:gd name="connsiteY555" fmla="*/ 570123 h 866556"/>
                    <a:gd name="connsiteX556" fmla="*/ 269683 w 491582"/>
                    <a:gd name="connsiteY556" fmla="*/ 556025 h 866556"/>
                    <a:gd name="connsiteX557" fmla="*/ 268480 w 491582"/>
                    <a:gd name="connsiteY557" fmla="*/ 554131 h 866556"/>
                    <a:gd name="connsiteX558" fmla="*/ 267278 w 491582"/>
                    <a:gd name="connsiteY558" fmla="*/ 545461 h 866556"/>
                    <a:gd name="connsiteX559" fmla="*/ 266538 w 491582"/>
                    <a:gd name="connsiteY559" fmla="*/ 542959 h 866556"/>
                    <a:gd name="connsiteX560" fmla="*/ 269343 w 491582"/>
                    <a:gd name="connsiteY560" fmla="*/ 540992 h 866556"/>
                    <a:gd name="connsiteX561" fmla="*/ 272730 w 491582"/>
                    <a:gd name="connsiteY561" fmla="*/ 543275 h 866556"/>
                    <a:gd name="connsiteX562" fmla="*/ 275608 w 491582"/>
                    <a:gd name="connsiteY562" fmla="*/ 547537 h 866556"/>
                    <a:gd name="connsiteX563" fmla="*/ 276750 w 491582"/>
                    <a:gd name="connsiteY563" fmla="*/ 551326 h 866556"/>
                    <a:gd name="connsiteX564" fmla="*/ 275766 w 491582"/>
                    <a:gd name="connsiteY564" fmla="*/ 552091 h 866556"/>
                    <a:gd name="connsiteX565" fmla="*/ 271346 w 491582"/>
                    <a:gd name="connsiteY565" fmla="*/ 550755 h 866556"/>
                    <a:gd name="connsiteX566" fmla="*/ 270375 w 491582"/>
                    <a:gd name="connsiteY566" fmla="*/ 551326 h 866556"/>
                    <a:gd name="connsiteX567" fmla="*/ 270496 w 491582"/>
                    <a:gd name="connsiteY567" fmla="*/ 553742 h 866556"/>
                    <a:gd name="connsiteX568" fmla="*/ 271079 w 491582"/>
                    <a:gd name="connsiteY568" fmla="*/ 555831 h 866556"/>
                    <a:gd name="connsiteX569" fmla="*/ 272208 w 491582"/>
                    <a:gd name="connsiteY569" fmla="*/ 557470 h 866556"/>
                    <a:gd name="connsiteX570" fmla="*/ 274224 w 491582"/>
                    <a:gd name="connsiteY570" fmla="*/ 558478 h 866556"/>
                    <a:gd name="connsiteX571" fmla="*/ 274455 w 491582"/>
                    <a:gd name="connsiteY571" fmla="*/ 557324 h 866556"/>
                    <a:gd name="connsiteX572" fmla="*/ 275487 w 491582"/>
                    <a:gd name="connsiteY572" fmla="*/ 554592 h 866556"/>
                    <a:gd name="connsiteX573" fmla="*/ 276410 w 491582"/>
                    <a:gd name="connsiteY573" fmla="*/ 557264 h 866556"/>
                    <a:gd name="connsiteX574" fmla="*/ 276240 w 491582"/>
                    <a:gd name="connsiteY574" fmla="*/ 560287 h 866556"/>
                    <a:gd name="connsiteX575" fmla="*/ 275548 w 491582"/>
                    <a:gd name="connsiteY575" fmla="*/ 562752 h 866556"/>
                    <a:gd name="connsiteX576" fmla="*/ 274855 w 491582"/>
                    <a:gd name="connsiteY576" fmla="*/ 563760 h 866556"/>
                    <a:gd name="connsiteX577" fmla="*/ 276519 w 491582"/>
                    <a:gd name="connsiteY577" fmla="*/ 563578 h 866556"/>
                    <a:gd name="connsiteX578" fmla="*/ 278474 w 491582"/>
                    <a:gd name="connsiteY578" fmla="*/ 562801 h 866556"/>
                    <a:gd name="connsiteX579" fmla="*/ 279336 w 491582"/>
                    <a:gd name="connsiteY579" fmla="*/ 561222 h 866556"/>
                    <a:gd name="connsiteX580" fmla="*/ 277903 w 491582"/>
                    <a:gd name="connsiteY580" fmla="*/ 558466 h 866556"/>
                    <a:gd name="connsiteX581" fmla="*/ 280089 w 491582"/>
                    <a:gd name="connsiteY581" fmla="*/ 556802 h 866556"/>
                    <a:gd name="connsiteX582" fmla="*/ 281061 w 491582"/>
                    <a:gd name="connsiteY582" fmla="*/ 560239 h 866556"/>
                    <a:gd name="connsiteX583" fmla="*/ 285772 w 491582"/>
                    <a:gd name="connsiteY583" fmla="*/ 590900 h 866556"/>
                    <a:gd name="connsiteX584" fmla="*/ 287144 w 491582"/>
                    <a:gd name="connsiteY584" fmla="*/ 590900 h 866556"/>
                    <a:gd name="connsiteX585" fmla="*/ 287314 w 491582"/>
                    <a:gd name="connsiteY585" fmla="*/ 585702 h 866556"/>
                    <a:gd name="connsiteX586" fmla="*/ 285481 w 491582"/>
                    <a:gd name="connsiteY586" fmla="*/ 573887 h 866556"/>
                    <a:gd name="connsiteX587" fmla="*/ 287144 w 491582"/>
                    <a:gd name="connsiteY587" fmla="*/ 568812 h 866556"/>
                    <a:gd name="connsiteX588" fmla="*/ 282955 w 491582"/>
                    <a:gd name="connsiteY588" fmla="*/ 563092 h 866556"/>
                    <a:gd name="connsiteX589" fmla="*/ 282214 w 491582"/>
                    <a:gd name="connsiteY589" fmla="*/ 560166 h 866556"/>
                    <a:gd name="connsiteX590" fmla="*/ 284618 w 491582"/>
                    <a:gd name="connsiteY590" fmla="*/ 558441 h 866556"/>
                    <a:gd name="connsiteX591" fmla="*/ 285481 w 491582"/>
                    <a:gd name="connsiteY591" fmla="*/ 561198 h 866556"/>
                    <a:gd name="connsiteX592" fmla="*/ 288407 w 491582"/>
                    <a:gd name="connsiteY592" fmla="*/ 566201 h 866556"/>
                    <a:gd name="connsiteX593" fmla="*/ 289561 w 491582"/>
                    <a:gd name="connsiteY593" fmla="*/ 568812 h 866556"/>
                    <a:gd name="connsiteX594" fmla="*/ 289901 w 491582"/>
                    <a:gd name="connsiteY594" fmla="*/ 571095 h 866556"/>
                    <a:gd name="connsiteX595" fmla="*/ 289439 w 491582"/>
                    <a:gd name="connsiteY595" fmla="*/ 575296 h 866556"/>
                    <a:gd name="connsiteX596" fmla="*/ 289561 w 491582"/>
                    <a:gd name="connsiteY596" fmla="*/ 577858 h 866556"/>
                    <a:gd name="connsiteX597" fmla="*/ 291224 w 491582"/>
                    <a:gd name="connsiteY597" fmla="*/ 587815 h 866556"/>
                    <a:gd name="connsiteX598" fmla="*/ 292936 w 491582"/>
                    <a:gd name="connsiteY598" fmla="*/ 591628 h 866556"/>
                    <a:gd name="connsiteX599" fmla="*/ 296105 w 491582"/>
                    <a:gd name="connsiteY599" fmla="*/ 594761 h 866556"/>
                    <a:gd name="connsiteX600" fmla="*/ 295826 w 491582"/>
                    <a:gd name="connsiteY600" fmla="*/ 597809 h 866556"/>
                    <a:gd name="connsiteX601" fmla="*/ 294721 w 491582"/>
                    <a:gd name="connsiteY601" fmla="*/ 600262 h 866556"/>
                    <a:gd name="connsiteX602" fmla="*/ 293301 w 491582"/>
                    <a:gd name="connsiteY602" fmla="*/ 602545 h 866556"/>
                    <a:gd name="connsiteX603" fmla="*/ 292147 w 491582"/>
                    <a:gd name="connsiteY603" fmla="*/ 605095 h 866556"/>
                    <a:gd name="connsiteX604" fmla="*/ 288468 w 491582"/>
                    <a:gd name="connsiteY604" fmla="*/ 621925 h 866556"/>
                    <a:gd name="connsiteX605" fmla="*/ 289221 w 491582"/>
                    <a:gd name="connsiteY605" fmla="*/ 624705 h 866556"/>
                    <a:gd name="connsiteX606" fmla="*/ 292839 w 491582"/>
                    <a:gd name="connsiteY606" fmla="*/ 625883 h 866556"/>
                    <a:gd name="connsiteX607" fmla="*/ 302068 w 491582"/>
                    <a:gd name="connsiteY607" fmla="*/ 627644 h 866556"/>
                    <a:gd name="connsiteX608" fmla="*/ 303804 w 491582"/>
                    <a:gd name="connsiteY608" fmla="*/ 627183 h 866556"/>
                    <a:gd name="connsiteX609" fmla="*/ 308273 w 491582"/>
                    <a:gd name="connsiteY609" fmla="*/ 629138 h 866556"/>
                    <a:gd name="connsiteX610" fmla="*/ 311661 w 491582"/>
                    <a:gd name="connsiteY610" fmla="*/ 627923 h 866556"/>
                    <a:gd name="connsiteX611" fmla="*/ 316615 w 491582"/>
                    <a:gd name="connsiteY611" fmla="*/ 622010 h 866556"/>
                    <a:gd name="connsiteX612" fmla="*/ 313045 w 491582"/>
                    <a:gd name="connsiteY612" fmla="*/ 620346 h 866556"/>
                    <a:gd name="connsiteX613" fmla="*/ 309706 w 491582"/>
                    <a:gd name="connsiteY613" fmla="*/ 617966 h 866556"/>
                    <a:gd name="connsiteX614" fmla="*/ 306330 w 491582"/>
                    <a:gd name="connsiteY614" fmla="*/ 616618 h 866556"/>
                    <a:gd name="connsiteX615" fmla="*/ 302529 w 491582"/>
                    <a:gd name="connsiteY615" fmla="*/ 618148 h 866556"/>
                    <a:gd name="connsiteX616" fmla="*/ 300465 w 491582"/>
                    <a:gd name="connsiteY616" fmla="*/ 617019 h 866556"/>
                    <a:gd name="connsiteX617" fmla="*/ 298510 w 491582"/>
                    <a:gd name="connsiteY617" fmla="*/ 615562 h 866556"/>
                    <a:gd name="connsiteX618" fmla="*/ 300939 w 491582"/>
                    <a:gd name="connsiteY618" fmla="*/ 610814 h 866556"/>
                    <a:gd name="connsiteX619" fmla="*/ 300878 w 491582"/>
                    <a:gd name="connsiteY619" fmla="*/ 606977 h 866556"/>
                    <a:gd name="connsiteX620" fmla="*/ 300003 w 491582"/>
                    <a:gd name="connsiteY620" fmla="*/ 602872 h 866556"/>
                    <a:gd name="connsiteX621" fmla="*/ 299943 w 491582"/>
                    <a:gd name="connsiteY621" fmla="*/ 594045 h 866556"/>
                    <a:gd name="connsiteX622" fmla="*/ 299081 w 491582"/>
                    <a:gd name="connsiteY622" fmla="*/ 590718 h 866556"/>
                    <a:gd name="connsiteX623" fmla="*/ 297708 w 491582"/>
                    <a:gd name="connsiteY623" fmla="*/ 588775 h 866556"/>
                    <a:gd name="connsiteX624" fmla="*/ 296105 w 491582"/>
                    <a:gd name="connsiteY624" fmla="*/ 589600 h 866556"/>
                    <a:gd name="connsiteX625" fmla="*/ 295766 w 491582"/>
                    <a:gd name="connsiteY625" fmla="*/ 587560 h 866556"/>
                    <a:gd name="connsiteX626" fmla="*/ 296215 w 491582"/>
                    <a:gd name="connsiteY626" fmla="*/ 584112 h 866556"/>
                    <a:gd name="connsiteX627" fmla="*/ 296105 w 491582"/>
                    <a:gd name="connsiteY627" fmla="*/ 581841 h 866556"/>
                    <a:gd name="connsiteX628" fmla="*/ 295462 w 491582"/>
                    <a:gd name="connsiteY628" fmla="*/ 579983 h 866556"/>
                    <a:gd name="connsiteX629" fmla="*/ 293859 w 491582"/>
                    <a:gd name="connsiteY629" fmla="*/ 576632 h 866556"/>
                    <a:gd name="connsiteX630" fmla="*/ 293519 w 491582"/>
                    <a:gd name="connsiteY630" fmla="*/ 574689 h 866556"/>
                    <a:gd name="connsiteX631" fmla="*/ 294211 w 491582"/>
                    <a:gd name="connsiteY631" fmla="*/ 571350 h 866556"/>
                    <a:gd name="connsiteX632" fmla="*/ 295583 w 491582"/>
                    <a:gd name="connsiteY632" fmla="*/ 569552 h 866556"/>
                    <a:gd name="connsiteX633" fmla="*/ 296567 w 491582"/>
                    <a:gd name="connsiteY633" fmla="*/ 567573 h 866556"/>
                    <a:gd name="connsiteX634" fmla="*/ 296105 w 491582"/>
                    <a:gd name="connsiteY634" fmla="*/ 563760 h 866556"/>
                    <a:gd name="connsiteX635" fmla="*/ 294491 w 491582"/>
                    <a:gd name="connsiteY635" fmla="*/ 560226 h 866556"/>
                    <a:gd name="connsiteX636" fmla="*/ 290411 w 491582"/>
                    <a:gd name="connsiteY636" fmla="*/ 553074 h 866556"/>
                    <a:gd name="connsiteX637" fmla="*/ 289561 w 491582"/>
                    <a:gd name="connsiteY637" fmla="*/ 550002 h 866556"/>
                    <a:gd name="connsiteX638" fmla="*/ 282372 w 491582"/>
                    <a:gd name="connsiteY638" fmla="*/ 542850 h 866556"/>
                    <a:gd name="connsiteX639" fmla="*/ 280599 w 491582"/>
                    <a:gd name="connsiteY639" fmla="*/ 540264 h 866556"/>
                    <a:gd name="connsiteX640" fmla="*/ 277381 w 491582"/>
                    <a:gd name="connsiteY640" fmla="*/ 543214 h 866556"/>
                    <a:gd name="connsiteX641" fmla="*/ 274333 w 491582"/>
                    <a:gd name="connsiteY641" fmla="*/ 538163 h 866556"/>
                    <a:gd name="connsiteX642" fmla="*/ 272670 w 491582"/>
                    <a:gd name="connsiteY642" fmla="*/ 530901 h 866556"/>
                    <a:gd name="connsiteX643" fmla="*/ 273593 w 491582"/>
                    <a:gd name="connsiteY643" fmla="*/ 527185 h 866556"/>
                    <a:gd name="connsiteX644" fmla="*/ 270035 w 491582"/>
                    <a:gd name="connsiteY644" fmla="*/ 524951 h 866556"/>
                    <a:gd name="connsiteX645" fmla="*/ 268189 w 491582"/>
                    <a:gd name="connsiteY645" fmla="*/ 514606 h 866556"/>
                    <a:gd name="connsiteX646" fmla="*/ 266538 w 491582"/>
                    <a:gd name="connsiteY646" fmla="*/ 514375 h 866556"/>
                    <a:gd name="connsiteX647" fmla="*/ 264923 w 491582"/>
                    <a:gd name="connsiteY647" fmla="*/ 513221 h 866556"/>
                    <a:gd name="connsiteX648" fmla="*/ 264012 w 491582"/>
                    <a:gd name="connsiteY648" fmla="*/ 511691 h 866556"/>
                    <a:gd name="connsiteX649" fmla="*/ 262567 w 491582"/>
                    <a:gd name="connsiteY649" fmla="*/ 507769 h 866556"/>
                    <a:gd name="connsiteX650" fmla="*/ 261134 w 491582"/>
                    <a:gd name="connsiteY650" fmla="*/ 511788 h 866556"/>
                    <a:gd name="connsiteX651" fmla="*/ 262227 w 491582"/>
                    <a:gd name="connsiteY651" fmla="*/ 515249 h 866556"/>
                    <a:gd name="connsiteX652" fmla="*/ 264109 w 491582"/>
                    <a:gd name="connsiteY652" fmla="*/ 518418 h 866556"/>
                    <a:gd name="connsiteX653" fmla="*/ 265153 w 491582"/>
                    <a:gd name="connsiteY653" fmla="*/ 521490 h 866556"/>
                    <a:gd name="connsiteX654" fmla="*/ 265505 w 491582"/>
                    <a:gd name="connsiteY654" fmla="*/ 529068 h 866556"/>
                    <a:gd name="connsiteX655" fmla="*/ 266307 w 491582"/>
                    <a:gd name="connsiteY655" fmla="*/ 533002 h 866556"/>
                    <a:gd name="connsiteX656" fmla="*/ 267728 w 491582"/>
                    <a:gd name="connsiteY656" fmla="*/ 536329 h 866556"/>
                    <a:gd name="connsiteX657" fmla="*/ 264983 w 491582"/>
                    <a:gd name="connsiteY657" fmla="*/ 533974 h 866556"/>
                    <a:gd name="connsiteX658" fmla="*/ 262457 w 491582"/>
                    <a:gd name="connsiteY658" fmla="*/ 529323 h 866556"/>
                    <a:gd name="connsiteX659" fmla="*/ 256422 w 491582"/>
                    <a:gd name="connsiteY659" fmla="*/ 513962 h 866556"/>
                    <a:gd name="connsiteX660" fmla="*/ 256192 w 491582"/>
                    <a:gd name="connsiteY660" fmla="*/ 510999 h 866556"/>
                    <a:gd name="connsiteX661" fmla="*/ 256896 w 491582"/>
                    <a:gd name="connsiteY661" fmla="*/ 508242 h 866556"/>
                    <a:gd name="connsiteX662" fmla="*/ 256835 w 491582"/>
                    <a:gd name="connsiteY662" fmla="*/ 506482 h 866556"/>
                    <a:gd name="connsiteX663" fmla="*/ 255500 w 491582"/>
                    <a:gd name="connsiteY663" fmla="*/ 504527 h 866556"/>
                    <a:gd name="connsiteX664" fmla="*/ 255500 w 491582"/>
                    <a:gd name="connsiteY664" fmla="*/ 501637 h 866556"/>
                    <a:gd name="connsiteX665" fmla="*/ 264230 w 491582"/>
                    <a:gd name="connsiteY665" fmla="*/ 496646 h 866556"/>
                    <a:gd name="connsiteX666" fmla="*/ 266538 w 491582"/>
                    <a:gd name="connsiteY666" fmla="*/ 494120 h 866556"/>
                    <a:gd name="connsiteX667" fmla="*/ 266695 w 491582"/>
                    <a:gd name="connsiteY667" fmla="*/ 492857 h 866556"/>
                    <a:gd name="connsiteX668" fmla="*/ 267509 w 491582"/>
                    <a:gd name="connsiteY668" fmla="*/ 491546 h 866556"/>
                    <a:gd name="connsiteX669" fmla="*/ 267728 w 491582"/>
                    <a:gd name="connsiteY669" fmla="*/ 490198 h 866556"/>
                    <a:gd name="connsiteX670" fmla="*/ 267278 w 491582"/>
                    <a:gd name="connsiteY670" fmla="*/ 488705 h 866556"/>
                    <a:gd name="connsiteX671" fmla="*/ 266125 w 491582"/>
                    <a:gd name="connsiteY671" fmla="*/ 488911 h 866556"/>
                    <a:gd name="connsiteX672" fmla="*/ 264923 w 491582"/>
                    <a:gd name="connsiteY672" fmla="*/ 489603 h 866556"/>
                    <a:gd name="connsiteX673" fmla="*/ 264012 w 491582"/>
                    <a:gd name="connsiteY673" fmla="*/ 489567 h 866556"/>
                    <a:gd name="connsiteX674" fmla="*/ 262227 w 491582"/>
                    <a:gd name="connsiteY674" fmla="*/ 486009 h 866556"/>
                    <a:gd name="connsiteX675" fmla="*/ 260903 w 491582"/>
                    <a:gd name="connsiteY675" fmla="*/ 484175 h 866556"/>
                    <a:gd name="connsiteX676" fmla="*/ 258717 w 491582"/>
                    <a:gd name="connsiteY676" fmla="*/ 483095 h 866556"/>
                    <a:gd name="connsiteX677" fmla="*/ 261195 w 491582"/>
                    <a:gd name="connsiteY677" fmla="*/ 489543 h 866556"/>
                    <a:gd name="connsiteX678" fmla="*/ 261474 w 491582"/>
                    <a:gd name="connsiteY678" fmla="*/ 493052 h 866556"/>
                    <a:gd name="connsiteX679" fmla="*/ 260041 w 491582"/>
                    <a:gd name="connsiteY679" fmla="*/ 496148 h 866556"/>
                    <a:gd name="connsiteX680" fmla="*/ 256714 w 491582"/>
                    <a:gd name="connsiteY680" fmla="*/ 498103 h 866556"/>
                    <a:gd name="connsiteX681" fmla="*/ 254188 w 491582"/>
                    <a:gd name="connsiteY681" fmla="*/ 497290 h 866556"/>
                    <a:gd name="connsiteX682" fmla="*/ 252294 w 491582"/>
                    <a:gd name="connsiteY682" fmla="*/ 494922 h 866556"/>
                    <a:gd name="connsiteX683" fmla="*/ 250910 w 491582"/>
                    <a:gd name="connsiteY683" fmla="*/ 492274 h 866556"/>
                    <a:gd name="connsiteX684" fmla="*/ 248092 w 491582"/>
                    <a:gd name="connsiteY684" fmla="*/ 484527 h 866556"/>
                    <a:gd name="connsiteX685" fmla="*/ 244826 w 491582"/>
                    <a:gd name="connsiteY685" fmla="*/ 468875 h 866556"/>
                    <a:gd name="connsiteX686" fmla="*/ 242130 w 491582"/>
                    <a:gd name="connsiteY686" fmla="*/ 461091 h 866556"/>
                    <a:gd name="connsiteX687" fmla="*/ 235342 w 491582"/>
                    <a:gd name="connsiteY687" fmla="*/ 451960 h 866556"/>
                    <a:gd name="connsiteX688" fmla="*/ 234432 w 491582"/>
                    <a:gd name="connsiteY688" fmla="*/ 448742 h 866556"/>
                    <a:gd name="connsiteX689" fmla="*/ 234092 w 491582"/>
                    <a:gd name="connsiteY689" fmla="*/ 444905 h 866556"/>
                    <a:gd name="connsiteX690" fmla="*/ 232027 w 491582"/>
                    <a:gd name="connsiteY690" fmla="*/ 436563 h 866556"/>
                    <a:gd name="connsiteX691" fmla="*/ 230594 w 491582"/>
                    <a:gd name="connsiteY691" fmla="*/ 433661 h 866556"/>
                    <a:gd name="connsiteX692" fmla="*/ 225701 w 491582"/>
                    <a:gd name="connsiteY692" fmla="*/ 429107 h 866556"/>
                    <a:gd name="connsiteX693" fmla="*/ 223697 w 491582"/>
                    <a:gd name="connsiteY693" fmla="*/ 426521 h 866556"/>
                    <a:gd name="connsiteX694" fmla="*/ 222143 w 491582"/>
                    <a:gd name="connsiteY694" fmla="*/ 419223 h 866556"/>
                    <a:gd name="connsiteX695" fmla="*/ 210777 w 491582"/>
                    <a:gd name="connsiteY695" fmla="*/ 396333 h 866556"/>
                    <a:gd name="connsiteX696" fmla="*/ 209964 w 491582"/>
                    <a:gd name="connsiteY696" fmla="*/ 392897 h 866556"/>
                    <a:gd name="connsiteX697" fmla="*/ 209454 w 491582"/>
                    <a:gd name="connsiteY697" fmla="*/ 391634 h 866556"/>
                    <a:gd name="connsiteX698" fmla="*/ 208470 w 491582"/>
                    <a:gd name="connsiteY698" fmla="*/ 390347 h 866556"/>
                    <a:gd name="connsiteX699" fmla="*/ 207559 w 491582"/>
                    <a:gd name="connsiteY699" fmla="*/ 388853 h 866556"/>
                    <a:gd name="connsiteX700" fmla="*/ 207389 w 491582"/>
                    <a:gd name="connsiteY700" fmla="*/ 386935 h 866556"/>
                    <a:gd name="connsiteX701" fmla="*/ 207960 w 491582"/>
                    <a:gd name="connsiteY701" fmla="*/ 385987 h 866556"/>
                    <a:gd name="connsiteX702" fmla="*/ 210316 w 491582"/>
                    <a:gd name="connsiteY702" fmla="*/ 384093 h 866556"/>
                    <a:gd name="connsiteX703" fmla="*/ 211239 w 491582"/>
                    <a:gd name="connsiteY703" fmla="*/ 383061 h 866556"/>
                    <a:gd name="connsiteX704" fmla="*/ 205544 w 491582"/>
                    <a:gd name="connsiteY704" fmla="*/ 380596 h 866556"/>
                    <a:gd name="connsiteX705" fmla="*/ 202386 w 491582"/>
                    <a:gd name="connsiteY705" fmla="*/ 372897 h 866556"/>
                    <a:gd name="connsiteX706" fmla="*/ 199691 w 491582"/>
                    <a:gd name="connsiteY706" fmla="*/ 357160 h 866556"/>
                    <a:gd name="connsiteX707" fmla="*/ 190851 w 491582"/>
                    <a:gd name="connsiteY707" fmla="*/ 325819 h 866556"/>
                    <a:gd name="connsiteX708" fmla="*/ 173960 w 491582"/>
                    <a:gd name="connsiteY708" fmla="*/ 285505 h 866556"/>
                    <a:gd name="connsiteX709" fmla="*/ 172988 w 491582"/>
                    <a:gd name="connsiteY709" fmla="*/ 283732 h 866556"/>
                    <a:gd name="connsiteX710" fmla="*/ 172248 w 491582"/>
                    <a:gd name="connsiteY710" fmla="*/ 282675 h 866556"/>
                    <a:gd name="connsiteX711" fmla="*/ 171725 w 491582"/>
                    <a:gd name="connsiteY711" fmla="*/ 281412 h 866556"/>
                    <a:gd name="connsiteX712" fmla="*/ 171398 w 491582"/>
                    <a:gd name="connsiteY712" fmla="*/ 279142 h 866556"/>
                    <a:gd name="connsiteX713" fmla="*/ 173340 w 491582"/>
                    <a:gd name="connsiteY713" fmla="*/ 277818 h 866556"/>
                    <a:gd name="connsiteX714" fmla="*/ 173911 w 491582"/>
                    <a:gd name="connsiteY714" fmla="*/ 276300 h 866556"/>
                    <a:gd name="connsiteX715" fmla="*/ 172588 w 491582"/>
                    <a:gd name="connsiteY715" fmla="*/ 273859 h 866556"/>
                    <a:gd name="connsiteX716" fmla="*/ 170062 w 491582"/>
                    <a:gd name="connsiteY716" fmla="*/ 274637 h 866556"/>
                    <a:gd name="connsiteX717" fmla="*/ 168046 w 491582"/>
                    <a:gd name="connsiteY717" fmla="*/ 271905 h 866556"/>
                    <a:gd name="connsiteX718" fmla="*/ 165010 w 491582"/>
                    <a:gd name="connsiteY718" fmla="*/ 264631 h 866556"/>
                    <a:gd name="connsiteX719" fmla="*/ 161622 w 491582"/>
                    <a:gd name="connsiteY719" fmla="*/ 258912 h 866556"/>
                    <a:gd name="connsiteX720" fmla="*/ 159315 w 491582"/>
                    <a:gd name="connsiteY720" fmla="*/ 256532 h 866556"/>
                    <a:gd name="connsiteX721" fmla="*/ 156571 w 491582"/>
                    <a:gd name="connsiteY721" fmla="*/ 255560 h 866556"/>
                    <a:gd name="connsiteX722" fmla="*/ 152831 w 491582"/>
                    <a:gd name="connsiteY722" fmla="*/ 255378 h 866556"/>
                    <a:gd name="connsiteX723" fmla="*/ 150245 w 491582"/>
                    <a:gd name="connsiteY723" fmla="*/ 254674 h 866556"/>
                    <a:gd name="connsiteX724" fmla="*/ 148824 w 491582"/>
                    <a:gd name="connsiteY724" fmla="*/ 252512 h 866556"/>
                    <a:gd name="connsiteX725" fmla="*/ 148350 w 491582"/>
                    <a:gd name="connsiteY725" fmla="*/ 248651 h 866556"/>
                    <a:gd name="connsiteX726" fmla="*/ 147318 w 491582"/>
                    <a:gd name="connsiteY726" fmla="*/ 245202 h 866556"/>
                    <a:gd name="connsiteX727" fmla="*/ 143760 w 491582"/>
                    <a:gd name="connsiteY727" fmla="*/ 240175 h 866556"/>
                    <a:gd name="connsiteX728" fmla="*/ 144404 w 491582"/>
                    <a:gd name="connsiteY728" fmla="*/ 237625 h 866556"/>
                    <a:gd name="connsiteX729" fmla="*/ 134167 w 491582"/>
                    <a:gd name="connsiteY729" fmla="*/ 212841 h 866556"/>
                    <a:gd name="connsiteX730" fmla="*/ 129577 w 491582"/>
                    <a:gd name="connsiteY730" fmla="*/ 206478 h 866556"/>
                    <a:gd name="connsiteX731" fmla="*/ 105862 w 491582"/>
                    <a:gd name="connsiteY731" fmla="*/ 180298 h 866556"/>
                    <a:gd name="connsiteX732" fmla="*/ 104490 w 491582"/>
                    <a:gd name="connsiteY732" fmla="*/ 180323 h 866556"/>
                    <a:gd name="connsiteX733" fmla="*/ 101381 w 491582"/>
                    <a:gd name="connsiteY733" fmla="*/ 181670 h 866556"/>
                    <a:gd name="connsiteX734" fmla="*/ 100750 w 491582"/>
                    <a:gd name="connsiteY734" fmla="*/ 180917 h 866556"/>
                    <a:gd name="connsiteX735" fmla="*/ 100179 w 491582"/>
                    <a:gd name="connsiteY735" fmla="*/ 178938 h 866556"/>
                    <a:gd name="connsiteX736" fmla="*/ 95529 w 491582"/>
                    <a:gd name="connsiteY736" fmla="*/ 173790 h 866556"/>
                    <a:gd name="connsiteX737" fmla="*/ 92311 w 491582"/>
                    <a:gd name="connsiteY737" fmla="*/ 167475 h 866556"/>
                    <a:gd name="connsiteX738" fmla="*/ 95881 w 491582"/>
                    <a:gd name="connsiteY738" fmla="*/ 166783 h 866556"/>
                    <a:gd name="connsiteX739" fmla="*/ 109711 w 491582"/>
                    <a:gd name="connsiteY739" fmla="*/ 169758 h 866556"/>
                    <a:gd name="connsiteX740" fmla="*/ 109711 w 491582"/>
                    <a:gd name="connsiteY740" fmla="*/ 168556 h 866556"/>
                    <a:gd name="connsiteX741" fmla="*/ 107137 w 491582"/>
                    <a:gd name="connsiteY741" fmla="*/ 166917 h 866556"/>
                    <a:gd name="connsiteX742" fmla="*/ 106445 w 491582"/>
                    <a:gd name="connsiteY742" fmla="*/ 164938 h 866556"/>
                    <a:gd name="connsiteX743" fmla="*/ 107016 w 491582"/>
                    <a:gd name="connsiteY743" fmla="*/ 162497 h 866556"/>
                    <a:gd name="connsiteX744" fmla="*/ 108449 w 491582"/>
                    <a:gd name="connsiteY744" fmla="*/ 159364 h 866556"/>
                    <a:gd name="connsiteX745" fmla="*/ 105923 w 491582"/>
                    <a:gd name="connsiteY745" fmla="*/ 160542 h 866556"/>
                    <a:gd name="connsiteX746" fmla="*/ 102426 w 491582"/>
                    <a:gd name="connsiteY746" fmla="*/ 163844 h 866556"/>
                    <a:gd name="connsiteX747" fmla="*/ 100119 w 491582"/>
                    <a:gd name="connsiteY747" fmla="*/ 164537 h 866556"/>
                    <a:gd name="connsiteX748" fmla="*/ 96852 w 491582"/>
                    <a:gd name="connsiteY748" fmla="*/ 164197 h 866556"/>
                    <a:gd name="connsiteX749" fmla="*/ 93926 w 491582"/>
                    <a:gd name="connsiteY749" fmla="*/ 163019 h 866556"/>
                    <a:gd name="connsiteX750" fmla="*/ 91339 w 491582"/>
                    <a:gd name="connsiteY750" fmla="*/ 161027 h 866556"/>
                    <a:gd name="connsiteX751" fmla="*/ 89093 w 491582"/>
                    <a:gd name="connsiteY751" fmla="*/ 158162 h 866556"/>
                    <a:gd name="connsiteX752" fmla="*/ 86919 w 491582"/>
                    <a:gd name="connsiteY752" fmla="*/ 153972 h 866556"/>
                    <a:gd name="connsiteX753" fmla="*/ 87381 w 491582"/>
                    <a:gd name="connsiteY753" fmla="*/ 152564 h 866556"/>
                    <a:gd name="connsiteX754" fmla="*/ 93634 w 491582"/>
                    <a:gd name="connsiteY754" fmla="*/ 153001 h 866556"/>
                    <a:gd name="connsiteX755" fmla="*/ 96512 w 491582"/>
                    <a:gd name="connsiteY755" fmla="*/ 152163 h 866556"/>
                    <a:gd name="connsiteX756" fmla="*/ 95589 w 491582"/>
                    <a:gd name="connsiteY756" fmla="*/ 150281 h 866556"/>
                    <a:gd name="connsiteX757" fmla="*/ 91983 w 491582"/>
                    <a:gd name="connsiteY757" fmla="*/ 146626 h 866556"/>
                    <a:gd name="connsiteX758" fmla="*/ 91679 w 491582"/>
                    <a:gd name="connsiteY758" fmla="*/ 146371 h 866556"/>
                    <a:gd name="connsiteX759" fmla="*/ 91983 w 491582"/>
                    <a:gd name="connsiteY759" fmla="*/ 143614 h 866556"/>
                    <a:gd name="connsiteX760" fmla="*/ 91230 w 491582"/>
                    <a:gd name="connsiteY760" fmla="*/ 141320 h 866556"/>
                    <a:gd name="connsiteX761" fmla="*/ 92723 w 491582"/>
                    <a:gd name="connsiteY761" fmla="*/ 136754 h 866556"/>
                    <a:gd name="connsiteX762" fmla="*/ 95359 w 491582"/>
                    <a:gd name="connsiteY762" fmla="*/ 134252 h 866556"/>
                    <a:gd name="connsiteX763" fmla="*/ 96621 w 491582"/>
                    <a:gd name="connsiteY763" fmla="*/ 134981 h 866556"/>
                    <a:gd name="connsiteX764" fmla="*/ 98006 w 491582"/>
                    <a:gd name="connsiteY764" fmla="*/ 135867 h 866556"/>
                    <a:gd name="connsiteX765" fmla="*/ 99949 w 491582"/>
                    <a:gd name="connsiteY765" fmla="*/ 134750 h 866556"/>
                    <a:gd name="connsiteX766" fmla="*/ 101794 w 491582"/>
                    <a:gd name="connsiteY766" fmla="*/ 133111 h 866556"/>
                    <a:gd name="connsiteX767" fmla="*/ 104369 w 491582"/>
                    <a:gd name="connsiteY767" fmla="*/ 131690 h 866556"/>
                    <a:gd name="connsiteX768" fmla="*/ 106324 w 491582"/>
                    <a:gd name="connsiteY768" fmla="*/ 130039 h 866556"/>
                    <a:gd name="connsiteX769" fmla="*/ 109080 w 491582"/>
                    <a:gd name="connsiteY769" fmla="*/ 130087 h 866556"/>
                    <a:gd name="connsiteX770" fmla="*/ 109080 w 491582"/>
                    <a:gd name="connsiteY770" fmla="*/ 127392 h 866556"/>
                    <a:gd name="connsiteX771" fmla="*/ 106214 w 491582"/>
                    <a:gd name="connsiteY771" fmla="*/ 126505 h 866556"/>
                    <a:gd name="connsiteX772" fmla="*/ 104029 w 491582"/>
                    <a:gd name="connsiteY772" fmla="*/ 127707 h 866556"/>
                    <a:gd name="connsiteX773" fmla="*/ 101054 w 491582"/>
                    <a:gd name="connsiteY773" fmla="*/ 128861 h 866556"/>
                    <a:gd name="connsiteX774" fmla="*/ 98115 w 491582"/>
                    <a:gd name="connsiteY774" fmla="*/ 127865 h 866556"/>
                    <a:gd name="connsiteX775" fmla="*/ 95128 w 491582"/>
                    <a:gd name="connsiteY775" fmla="*/ 127319 h 866556"/>
                    <a:gd name="connsiteX776" fmla="*/ 92772 w 491582"/>
                    <a:gd name="connsiteY776" fmla="*/ 129468 h 866556"/>
                    <a:gd name="connsiteX777" fmla="*/ 91400 w 491582"/>
                    <a:gd name="connsiteY777" fmla="*/ 131204 h 866556"/>
                    <a:gd name="connsiteX778" fmla="*/ 88692 w 491582"/>
                    <a:gd name="connsiteY778" fmla="*/ 132637 h 866556"/>
                    <a:gd name="connsiteX779" fmla="*/ 87490 w 491582"/>
                    <a:gd name="connsiteY779" fmla="*/ 133840 h 866556"/>
                    <a:gd name="connsiteX780" fmla="*/ 86446 w 491582"/>
                    <a:gd name="connsiteY780" fmla="*/ 135394 h 866556"/>
                    <a:gd name="connsiteX781" fmla="*/ 83009 w 491582"/>
                    <a:gd name="connsiteY781" fmla="*/ 134701 h 866556"/>
                    <a:gd name="connsiteX782" fmla="*/ 79743 w 491582"/>
                    <a:gd name="connsiteY782" fmla="*/ 133840 h 866556"/>
                    <a:gd name="connsiteX783" fmla="*/ 76464 w 491582"/>
                    <a:gd name="connsiteY783" fmla="*/ 135564 h 866556"/>
                    <a:gd name="connsiteX784" fmla="*/ 76246 w 491582"/>
                    <a:gd name="connsiteY784" fmla="*/ 147257 h 866556"/>
                    <a:gd name="connsiteX785" fmla="*/ 76306 w 491582"/>
                    <a:gd name="connsiteY785" fmla="*/ 150439 h 866556"/>
                    <a:gd name="connsiteX786" fmla="*/ 75262 w 491582"/>
                    <a:gd name="connsiteY786" fmla="*/ 150621 h 866556"/>
                    <a:gd name="connsiteX787" fmla="*/ 74121 w 491582"/>
                    <a:gd name="connsiteY787" fmla="*/ 151398 h 866556"/>
                    <a:gd name="connsiteX788" fmla="*/ 73477 w 491582"/>
                    <a:gd name="connsiteY788" fmla="*/ 152345 h 866556"/>
                    <a:gd name="connsiteX789" fmla="*/ 73768 w 491582"/>
                    <a:gd name="connsiteY789" fmla="*/ 153037 h 866556"/>
                    <a:gd name="connsiteX790" fmla="*/ 70951 w 491582"/>
                    <a:gd name="connsiteY790" fmla="*/ 150390 h 866556"/>
                    <a:gd name="connsiteX791" fmla="*/ 69579 w 491582"/>
                    <a:gd name="connsiteY791" fmla="*/ 146711 h 866556"/>
                    <a:gd name="connsiteX792" fmla="*/ 68486 w 491582"/>
                    <a:gd name="connsiteY792" fmla="*/ 139899 h 866556"/>
                    <a:gd name="connsiteX793" fmla="*/ 61601 w 491582"/>
                    <a:gd name="connsiteY793" fmla="*/ 123919 h 866556"/>
                    <a:gd name="connsiteX794" fmla="*/ 59173 w 491582"/>
                    <a:gd name="connsiteY794" fmla="*/ 115066 h 866556"/>
                    <a:gd name="connsiteX795" fmla="*/ 60848 w 491582"/>
                    <a:gd name="connsiteY795" fmla="*/ 108606 h 866556"/>
                    <a:gd name="connsiteX796" fmla="*/ 60848 w 491582"/>
                    <a:gd name="connsiteY796" fmla="*/ 107319 h 866556"/>
                    <a:gd name="connsiteX797" fmla="*/ 58383 w 491582"/>
                    <a:gd name="connsiteY797" fmla="*/ 107841 h 866556"/>
                    <a:gd name="connsiteX798" fmla="*/ 57060 w 491582"/>
                    <a:gd name="connsiteY798" fmla="*/ 109129 h 866556"/>
                    <a:gd name="connsiteX799" fmla="*/ 56027 w 491582"/>
                    <a:gd name="connsiteY799" fmla="*/ 110817 h 866556"/>
                    <a:gd name="connsiteX800" fmla="*/ 54425 w 491582"/>
                    <a:gd name="connsiteY800" fmla="*/ 112516 h 866556"/>
                    <a:gd name="connsiteX801" fmla="*/ 54534 w 491582"/>
                    <a:gd name="connsiteY801" fmla="*/ 110137 h 866556"/>
                    <a:gd name="connsiteX802" fmla="*/ 54303 w 491582"/>
                    <a:gd name="connsiteY802" fmla="*/ 107793 h 866556"/>
                    <a:gd name="connsiteX803" fmla="*/ 53150 w 491582"/>
                    <a:gd name="connsiteY803" fmla="*/ 103434 h 866556"/>
                    <a:gd name="connsiteX804" fmla="*/ 50163 w 491582"/>
                    <a:gd name="connsiteY804" fmla="*/ 96427 h 866556"/>
                    <a:gd name="connsiteX805" fmla="*/ 38105 w 491582"/>
                    <a:gd name="connsiteY805" fmla="*/ 75699 h 866556"/>
                    <a:gd name="connsiteX806" fmla="*/ 36672 w 491582"/>
                    <a:gd name="connsiteY806" fmla="*/ 71680 h 866556"/>
                    <a:gd name="connsiteX807" fmla="*/ 36502 w 491582"/>
                    <a:gd name="connsiteY807" fmla="*/ 70162 h 866556"/>
                    <a:gd name="connsiteX808" fmla="*/ 35870 w 491582"/>
                    <a:gd name="connsiteY808" fmla="*/ 69093 h 866556"/>
                    <a:gd name="connsiteX809" fmla="*/ 34486 w 491582"/>
                    <a:gd name="connsiteY809" fmla="*/ 68061 h 866556"/>
                    <a:gd name="connsiteX810" fmla="*/ 33114 w 491582"/>
                    <a:gd name="connsiteY810" fmla="*/ 66749 h 866556"/>
                    <a:gd name="connsiteX811" fmla="*/ 32531 w 491582"/>
                    <a:gd name="connsiteY811" fmla="*/ 64916 h 866556"/>
                    <a:gd name="connsiteX812" fmla="*/ 31899 w 491582"/>
                    <a:gd name="connsiteY812" fmla="*/ 61128 h 866556"/>
                    <a:gd name="connsiteX813" fmla="*/ 30248 w 491582"/>
                    <a:gd name="connsiteY813" fmla="*/ 58140 h 866556"/>
                    <a:gd name="connsiteX814" fmla="*/ 26217 w 491582"/>
                    <a:gd name="connsiteY814" fmla="*/ 52372 h 866556"/>
                    <a:gd name="connsiteX815" fmla="*/ 12046 w 491582"/>
                    <a:gd name="connsiteY815" fmla="*/ 16502 h 866556"/>
                    <a:gd name="connsiteX816" fmla="*/ 10261 w 491582"/>
                    <a:gd name="connsiteY816" fmla="*/ 13211 h 866556"/>
                    <a:gd name="connsiteX817" fmla="*/ 7553 w 491582"/>
                    <a:gd name="connsiteY817" fmla="*/ 10054 h 866556"/>
                    <a:gd name="connsiteX818" fmla="*/ 7274 w 491582"/>
                    <a:gd name="connsiteY818" fmla="*/ 8925 h 866556"/>
                    <a:gd name="connsiteX819" fmla="*/ 15482 w 491582"/>
                    <a:gd name="connsiteY819" fmla="*/ 6375 h 866556"/>
                    <a:gd name="connsiteX820" fmla="*/ 19672 w 491582"/>
                    <a:gd name="connsiteY820" fmla="*/ 6096 h 866556"/>
                    <a:gd name="connsiteX821" fmla="*/ 19927 w 491582"/>
                    <a:gd name="connsiteY821" fmla="*/ 0 h 866556"/>
                    <a:gd name="connsiteX822" fmla="*/ 19344 w 491582"/>
                    <a:gd name="connsiteY822" fmla="*/ 36 h 866556"/>
                    <a:gd name="connsiteX823" fmla="*/ 15154 w 491582"/>
                    <a:gd name="connsiteY823" fmla="*/ 267 h 866556"/>
                    <a:gd name="connsiteX824" fmla="*/ 14402 w 491582"/>
                    <a:gd name="connsiteY824" fmla="*/ 303 h 866556"/>
                    <a:gd name="connsiteX825" fmla="*/ 13673 w 491582"/>
                    <a:gd name="connsiteY825" fmla="*/ 534 h 866556"/>
                    <a:gd name="connsiteX826" fmla="*/ 5464 w 491582"/>
                    <a:gd name="connsiteY826" fmla="*/ 3084 h 866556"/>
                    <a:gd name="connsiteX827" fmla="*/ 0 w 491582"/>
                    <a:gd name="connsiteY827" fmla="*/ 4784 h 866556"/>
                    <a:gd name="connsiteX828" fmla="*/ 1372 w 491582"/>
                    <a:gd name="connsiteY828" fmla="*/ 10346 h 866556"/>
                    <a:gd name="connsiteX829" fmla="*/ 1651 w 491582"/>
                    <a:gd name="connsiteY829" fmla="*/ 11475 h 866556"/>
                    <a:gd name="connsiteX830" fmla="*/ 1991 w 491582"/>
                    <a:gd name="connsiteY830" fmla="*/ 12871 h 866556"/>
                    <a:gd name="connsiteX831" fmla="*/ 2939 w 491582"/>
                    <a:gd name="connsiteY831" fmla="*/ 13964 h 866556"/>
                    <a:gd name="connsiteX832" fmla="*/ 5221 w 491582"/>
                    <a:gd name="connsiteY832" fmla="*/ 16636 h 866556"/>
                    <a:gd name="connsiteX833" fmla="*/ 6521 w 491582"/>
                    <a:gd name="connsiteY833" fmla="*/ 19040 h 866556"/>
                    <a:gd name="connsiteX834" fmla="*/ 20558 w 491582"/>
                    <a:gd name="connsiteY834" fmla="*/ 54570 h 866556"/>
                    <a:gd name="connsiteX835" fmla="*/ 20813 w 491582"/>
                    <a:gd name="connsiteY835" fmla="*/ 55238 h 866556"/>
                    <a:gd name="connsiteX836" fmla="*/ 21226 w 491582"/>
                    <a:gd name="connsiteY836" fmla="*/ 55833 h 866556"/>
                    <a:gd name="connsiteX837" fmla="*/ 25075 w 491582"/>
                    <a:gd name="connsiteY837" fmla="*/ 61334 h 866556"/>
                    <a:gd name="connsiteX838" fmla="*/ 26071 w 491582"/>
                    <a:gd name="connsiteY838" fmla="*/ 63119 h 866556"/>
                    <a:gd name="connsiteX839" fmla="*/ 26532 w 491582"/>
                    <a:gd name="connsiteY839" fmla="*/ 65888 h 866556"/>
                    <a:gd name="connsiteX840" fmla="*/ 26605 w 491582"/>
                    <a:gd name="connsiteY840" fmla="*/ 66313 h 866556"/>
                    <a:gd name="connsiteX841" fmla="*/ 26739 w 491582"/>
                    <a:gd name="connsiteY841" fmla="*/ 66738 h 866556"/>
                    <a:gd name="connsiteX842" fmla="*/ 27322 w 491582"/>
                    <a:gd name="connsiteY842" fmla="*/ 68571 h 866556"/>
                    <a:gd name="connsiteX843" fmla="*/ 27783 w 491582"/>
                    <a:gd name="connsiteY843" fmla="*/ 70028 h 866556"/>
                    <a:gd name="connsiteX844" fmla="*/ 28888 w 491582"/>
                    <a:gd name="connsiteY844" fmla="*/ 71097 h 866556"/>
                    <a:gd name="connsiteX845" fmla="*/ 30260 w 491582"/>
                    <a:gd name="connsiteY845" fmla="*/ 72408 h 866556"/>
                    <a:gd name="connsiteX846" fmla="*/ 30539 w 491582"/>
                    <a:gd name="connsiteY846" fmla="*/ 72675 h 866556"/>
                    <a:gd name="connsiteX847" fmla="*/ 30673 w 491582"/>
                    <a:gd name="connsiteY847" fmla="*/ 72772 h 866556"/>
                    <a:gd name="connsiteX848" fmla="*/ 30697 w 491582"/>
                    <a:gd name="connsiteY848" fmla="*/ 73028 h 866556"/>
                    <a:gd name="connsiteX849" fmla="*/ 30940 w 491582"/>
                    <a:gd name="connsiteY849" fmla="*/ 73695 h 866556"/>
                    <a:gd name="connsiteX850" fmla="*/ 32373 w 491582"/>
                    <a:gd name="connsiteY850" fmla="*/ 77715 h 866556"/>
                    <a:gd name="connsiteX851" fmla="*/ 32555 w 491582"/>
                    <a:gd name="connsiteY851" fmla="*/ 78249 h 866556"/>
                    <a:gd name="connsiteX852" fmla="*/ 32835 w 491582"/>
                    <a:gd name="connsiteY852" fmla="*/ 78723 h 866556"/>
                    <a:gd name="connsiteX853" fmla="*/ 44698 w 491582"/>
                    <a:gd name="connsiteY853" fmla="*/ 99135 h 866556"/>
                    <a:gd name="connsiteX854" fmla="*/ 47370 w 491582"/>
                    <a:gd name="connsiteY854" fmla="*/ 105401 h 866556"/>
                    <a:gd name="connsiteX855" fmla="*/ 48292 w 491582"/>
                    <a:gd name="connsiteY855" fmla="*/ 108861 h 866556"/>
                    <a:gd name="connsiteX856" fmla="*/ 48426 w 491582"/>
                    <a:gd name="connsiteY856" fmla="*/ 110282 h 866556"/>
                    <a:gd name="connsiteX857" fmla="*/ 48341 w 491582"/>
                    <a:gd name="connsiteY857" fmla="*/ 112237 h 866556"/>
                    <a:gd name="connsiteX858" fmla="*/ 47612 w 491582"/>
                    <a:gd name="connsiteY858" fmla="*/ 128557 h 866556"/>
                    <a:gd name="connsiteX859" fmla="*/ 54546 w 491582"/>
                    <a:gd name="connsiteY859" fmla="*/ 121223 h 866556"/>
                    <a:gd name="connsiteX860" fmla="*/ 55724 w 491582"/>
                    <a:gd name="connsiteY860" fmla="*/ 125522 h 866556"/>
                    <a:gd name="connsiteX861" fmla="*/ 55833 w 491582"/>
                    <a:gd name="connsiteY861" fmla="*/ 125934 h 866556"/>
                    <a:gd name="connsiteX862" fmla="*/ 56003 w 491582"/>
                    <a:gd name="connsiteY862" fmla="*/ 126323 h 866556"/>
                    <a:gd name="connsiteX863" fmla="*/ 62585 w 491582"/>
                    <a:gd name="connsiteY863" fmla="*/ 141611 h 866556"/>
                    <a:gd name="connsiteX864" fmla="*/ 63556 w 491582"/>
                    <a:gd name="connsiteY864" fmla="*/ 147670 h 866556"/>
                    <a:gd name="connsiteX865" fmla="*/ 63653 w 491582"/>
                    <a:gd name="connsiteY865" fmla="*/ 148265 h 866556"/>
                    <a:gd name="connsiteX866" fmla="*/ 63860 w 491582"/>
                    <a:gd name="connsiteY866" fmla="*/ 148836 h 866556"/>
                    <a:gd name="connsiteX867" fmla="*/ 65232 w 491582"/>
                    <a:gd name="connsiteY867" fmla="*/ 152515 h 866556"/>
                    <a:gd name="connsiteX868" fmla="*/ 65730 w 491582"/>
                    <a:gd name="connsiteY868" fmla="*/ 153839 h 866556"/>
                    <a:gd name="connsiteX869" fmla="*/ 66762 w 491582"/>
                    <a:gd name="connsiteY869" fmla="*/ 154810 h 866556"/>
                    <a:gd name="connsiteX870" fmla="*/ 69579 w 491582"/>
                    <a:gd name="connsiteY870" fmla="*/ 157457 h 866556"/>
                    <a:gd name="connsiteX871" fmla="*/ 90234 w 491582"/>
                    <a:gd name="connsiteY871" fmla="*/ 176850 h 866556"/>
                    <a:gd name="connsiteX872" fmla="*/ 90453 w 491582"/>
                    <a:gd name="connsiteY872" fmla="*/ 177287 h 866556"/>
                    <a:gd name="connsiteX873" fmla="*/ 90987 w 491582"/>
                    <a:gd name="connsiteY873" fmla="*/ 177882 h 866556"/>
                    <a:gd name="connsiteX874" fmla="*/ 94703 w 491582"/>
                    <a:gd name="connsiteY874" fmla="*/ 181986 h 866556"/>
                    <a:gd name="connsiteX875" fmla="*/ 94885 w 491582"/>
                    <a:gd name="connsiteY875" fmla="*/ 182618 h 866556"/>
                    <a:gd name="connsiteX876" fmla="*/ 95249 w 491582"/>
                    <a:gd name="connsiteY876" fmla="*/ 183881 h 866556"/>
                    <a:gd name="connsiteX877" fmla="*/ 96087 w 491582"/>
                    <a:gd name="connsiteY877" fmla="*/ 184876 h 866556"/>
                    <a:gd name="connsiteX878" fmla="*/ 96731 w 491582"/>
                    <a:gd name="connsiteY878" fmla="*/ 185629 h 866556"/>
                    <a:gd name="connsiteX879" fmla="*/ 99645 w 491582"/>
                    <a:gd name="connsiteY879" fmla="*/ 189066 h 866556"/>
                    <a:gd name="connsiteX880" fmla="*/ 103774 w 491582"/>
                    <a:gd name="connsiteY880" fmla="*/ 187268 h 866556"/>
                    <a:gd name="connsiteX881" fmla="*/ 103883 w 491582"/>
                    <a:gd name="connsiteY881" fmla="*/ 187232 h 866556"/>
                    <a:gd name="connsiteX882" fmla="*/ 124817 w 491582"/>
                    <a:gd name="connsiteY882" fmla="*/ 210340 h 866556"/>
                    <a:gd name="connsiteX883" fmla="*/ 128788 w 491582"/>
                    <a:gd name="connsiteY883" fmla="*/ 215853 h 866556"/>
                    <a:gd name="connsiteX884" fmla="*/ 137992 w 491582"/>
                    <a:gd name="connsiteY884" fmla="*/ 238123 h 866556"/>
                    <a:gd name="connsiteX885" fmla="*/ 137834 w 491582"/>
                    <a:gd name="connsiteY885" fmla="*/ 238718 h 866556"/>
                    <a:gd name="connsiteX886" fmla="*/ 137142 w 491582"/>
                    <a:gd name="connsiteY886" fmla="*/ 241438 h 866556"/>
                    <a:gd name="connsiteX887" fmla="*/ 138757 w 491582"/>
                    <a:gd name="connsiteY887" fmla="*/ 243721 h 866556"/>
                    <a:gd name="connsiteX888" fmla="*/ 141745 w 491582"/>
                    <a:gd name="connsiteY888" fmla="*/ 247934 h 866556"/>
                    <a:gd name="connsiteX889" fmla="*/ 142340 w 491582"/>
                    <a:gd name="connsiteY889" fmla="*/ 249938 h 866556"/>
                    <a:gd name="connsiteX890" fmla="*/ 142752 w 491582"/>
                    <a:gd name="connsiteY890" fmla="*/ 253289 h 866556"/>
                    <a:gd name="connsiteX891" fmla="*/ 142922 w 491582"/>
                    <a:gd name="connsiteY891" fmla="*/ 254710 h 866556"/>
                    <a:gd name="connsiteX892" fmla="*/ 143700 w 491582"/>
                    <a:gd name="connsiteY892" fmla="*/ 255900 h 866556"/>
                    <a:gd name="connsiteX893" fmla="*/ 145120 w 491582"/>
                    <a:gd name="connsiteY893" fmla="*/ 258062 h 866556"/>
                    <a:gd name="connsiteX894" fmla="*/ 146250 w 491582"/>
                    <a:gd name="connsiteY894" fmla="*/ 259762 h 866556"/>
                    <a:gd name="connsiteX895" fmla="*/ 148168 w 491582"/>
                    <a:gd name="connsiteY895" fmla="*/ 260454 h 866556"/>
                    <a:gd name="connsiteX896" fmla="*/ 150755 w 491582"/>
                    <a:gd name="connsiteY896" fmla="*/ 261364 h 866556"/>
                    <a:gd name="connsiteX897" fmla="*/ 151592 w 491582"/>
                    <a:gd name="connsiteY897" fmla="*/ 261656 h 866556"/>
                    <a:gd name="connsiteX898" fmla="*/ 152479 w 491582"/>
                    <a:gd name="connsiteY898" fmla="*/ 261692 h 866556"/>
                    <a:gd name="connsiteX899" fmla="*/ 155332 w 491582"/>
                    <a:gd name="connsiteY899" fmla="*/ 261838 h 866556"/>
                    <a:gd name="connsiteX900" fmla="*/ 155879 w 491582"/>
                    <a:gd name="connsiteY900" fmla="*/ 262032 h 866556"/>
                    <a:gd name="connsiteX901" fmla="*/ 156692 w 491582"/>
                    <a:gd name="connsiteY901" fmla="*/ 262882 h 866556"/>
                    <a:gd name="connsiteX902" fmla="*/ 159498 w 491582"/>
                    <a:gd name="connsiteY902" fmla="*/ 267618 h 866556"/>
                    <a:gd name="connsiteX903" fmla="*/ 162363 w 491582"/>
                    <a:gd name="connsiteY903" fmla="*/ 274491 h 866556"/>
                    <a:gd name="connsiteX904" fmla="*/ 162643 w 491582"/>
                    <a:gd name="connsiteY904" fmla="*/ 275171 h 866556"/>
                    <a:gd name="connsiteX905" fmla="*/ 163080 w 491582"/>
                    <a:gd name="connsiteY905" fmla="*/ 275766 h 866556"/>
                    <a:gd name="connsiteX906" fmla="*/ 165035 w 491582"/>
                    <a:gd name="connsiteY906" fmla="*/ 278413 h 866556"/>
                    <a:gd name="connsiteX907" fmla="*/ 165302 w 491582"/>
                    <a:gd name="connsiteY907" fmla="*/ 280271 h 866556"/>
                    <a:gd name="connsiteX908" fmla="*/ 165630 w 491582"/>
                    <a:gd name="connsiteY908" fmla="*/ 282542 h 866556"/>
                    <a:gd name="connsiteX909" fmla="*/ 165739 w 491582"/>
                    <a:gd name="connsiteY909" fmla="*/ 283295 h 866556"/>
                    <a:gd name="connsiteX910" fmla="*/ 166018 w 491582"/>
                    <a:gd name="connsiteY910" fmla="*/ 283987 h 866556"/>
                    <a:gd name="connsiteX911" fmla="*/ 166540 w 491582"/>
                    <a:gd name="connsiteY911" fmla="*/ 285250 h 866556"/>
                    <a:gd name="connsiteX912" fmla="*/ 166795 w 491582"/>
                    <a:gd name="connsiteY912" fmla="*/ 285881 h 866556"/>
                    <a:gd name="connsiteX913" fmla="*/ 167184 w 491582"/>
                    <a:gd name="connsiteY913" fmla="*/ 286427 h 866556"/>
                    <a:gd name="connsiteX914" fmla="*/ 167718 w 491582"/>
                    <a:gd name="connsiteY914" fmla="*/ 287193 h 866556"/>
                    <a:gd name="connsiteX915" fmla="*/ 168374 w 491582"/>
                    <a:gd name="connsiteY915" fmla="*/ 288407 h 866556"/>
                    <a:gd name="connsiteX916" fmla="*/ 184998 w 491582"/>
                    <a:gd name="connsiteY916" fmla="*/ 328102 h 866556"/>
                    <a:gd name="connsiteX917" fmla="*/ 193656 w 491582"/>
                    <a:gd name="connsiteY917" fmla="*/ 358775 h 866556"/>
                    <a:gd name="connsiteX918" fmla="*/ 196303 w 491582"/>
                    <a:gd name="connsiteY918" fmla="*/ 374209 h 866556"/>
                    <a:gd name="connsiteX919" fmla="*/ 196412 w 491582"/>
                    <a:gd name="connsiteY919" fmla="*/ 374865 h 866556"/>
                    <a:gd name="connsiteX920" fmla="*/ 196667 w 491582"/>
                    <a:gd name="connsiteY920" fmla="*/ 375484 h 866556"/>
                    <a:gd name="connsiteX921" fmla="*/ 199824 w 491582"/>
                    <a:gd name="connsiteY921" fmla="*/ 383183 h 866556"/>
                    <a:gd name="connsiteX922" fmla="*/ 200759 w 491582"/>
                    <a:gd name="connsiteY922" fmla="*/ 385465 h 866556"/>
                    <a:gd name="connsiteX923" fmla="*/ 201160 w 491582"/>
                    <a:gd name="connsiteY923" fmla="*/ 385648 h 866556"/>
                    <a:gd name="connsiteX924" fmla="*/ 201075 w 491582"/>
                    <a:gd name="connsiteY924" fmla="*/ 385793 h 866556"/>
                    <a:gd name="connsiteX925" fmla="*/ 201245 w 491582"/>
                    <a:gd name="connsiteY925" fmla="*/ 387748 h 866556"/>
                    <a:gd name="connsiteX926" fmla="*/ 201415 w 491582"/>
                    <a:gd name="connsiteY926" fmla="*/ 389667 h 866556"/>
                    <a:gd name="connsiteX927" fmla="*/ 201536 w 491582"/>
                    <a:gd name="connsiteY927" fmla="*/ 391088 h 866556"/>
                    <a:gd name="connsiteX928" fmla="*/ 202277 w 491582"/>
                    <a:gd name="connsiteY928" fmla="*/ 392314 h 866556"/>
                    <a:gd name="connsiteX929" fmla="*/ 203188 w 491582"/>
                    <a:gd name="connsiteY929" fmla="*/ 393808 h 866556"/>
                    <a:gd name="connsiteX930" fmla="*/ 203358 w 491582"/>
                    <a:gd name="connsiteY930" fmla="*/ 394063 h 866556"/>
                    <a:gd name="connsiteX931" fmla="*/ 203540 w 491582"/>
                    <a:gd name="connsiteY931" fmla="*/ 394318 h 866556"/>
                    <a:gd name="connsiteX932" fmla="*/ 204026 w 491582"/>
                    <a:gd name="connsiteY932" fmla="*/ 394961 h 866556"/>
                    <a:gd name="connsiteX933" fmla="*/ 204062 w 491582"/>
                    <a:gd name="connsiteY933" fmla="*/ 395046 h 866556"/>
                    <a:gd name="connsiteX934" fmla="*/ 204766 w 491582"/>
                    <a:gd name="connsiteY934" fmla="*/ 398045 h 866556"/>
                    <a:gd name="connsiteX935" fmla="*/ 204924 w 491582"/>
                    <a:gd name="connsiteY935" fmla="*/ 398725 h 866556"/>
                    <a:gd name="connsiteX936" fmla="*/ 205240 w 491582"/>
                    <a:gd name="connsiteY936" fmla="*/ 399357 h 866556"/>
                    <a:gd name="connsiteX937" fmla="*/ 216266 w 491582"/>
                    <a:gd name="connsiteY937" fmla="*/ 421554 h 866556"/>
                    <a:gd name="connsiteX938" fmla="*/ 217662 w 491582"/>
                    <a:gd name="connsiteY938" fmla="*/ 428099 h 866556"/>
                    <a:gd name="connsiteX939" fmla="*/ 217954 w 491582"/>
                    <a:gd name="connsiteY939" fmla="*/ 429447 h 866556"/>
                    <a:gd name="connsiteX940" fmla="*/ 218804 w 491582"/>
                    <a:gd name="connsiteY940" fmla="*/ 430552 h 866556"/>
                    <a:gd name="connsiteX941" fmla="*/ 220807 w 491582"/>
                    <a:gd name="connsiteY941" fmla="*/ 433138 h 866556"/>
                    <a:gd name="connsiteX942" fmla="*/ 221111 w 491582"/>
                    <a:gd name="connsiteY942" fmla="*/ 433515 h 866556"/>
                    <a:gd name="connsiteX943" fmla="*/ 221463 w 491582"/>
                    <a:gd name="connsiteY943" fmla="*/ 433855 h 866556"/>
                    <a:gd name="connsiteX944" fmla="*/ 225543 w 491582"/>
                    <a:gd name="connsiteY944" fmla="*/ 437643 h 866556"/>
                    <a:gd name="connsiteX945" fmla="*/ 226199 w 491582"/>
                    <a:gd name="connsiteY945" fmla="*/ 438955 h 866556"/>
                    <a:gd name="connsiteX946" fmla="*/ 227984 w 491582"/>
                    <a:gd name="connsiteY946" fmla="*/ 446204 h 866556"/>
                    <a:gd name="connsiteX947" fmla="*/ 228287 w 491582"/>
                    <a:gd name="connsiteY947" fmla="*/ 449580 h 866556"/>
                    <a:gd name="connsiteX948" fmla="*/ 228336 w 491582"/>
                    <a:gd name="connsiteY948" fmla="*/ 450139 h 866556"/>
                    <a:gd name="connsiteX949" fmla="*/ 228482 w 491582"/>
                    <a:gd name="connsiteY949" fmla="*/ 450685 h 866556"/>
                    <a:gd name="connsiteX950" fmla="*/ 229392 w 491582"/>
                    <a:gd name="connsiteY950" fmla="*/ 453903 h 866556"/>
                    <a:gd name="connsiteX951" fmla="*/ 229696 w 491582"/>
                    <a:gd name="connsiteY951" fmla="*/ 454984 h 866556"/>
                    <a:gd name="connsiteX952" fmla="*/ 230364 w 491582"/>
                    <a:gd name="connsiteY952" fmla="*/ 455870 h 866556"/>
                    <a:gd name="connsiteX953" fmla="*/ 236593 w 491582"/>
                    <a:gd name="connsiteY953" fmla="*/ 464249 h 866556"/>
                    <a:gd name="connsiteX954" fmla="*/ 238864 w 491582"/>
                    <a:gd name="connsiteY954" fmla="*/ 470782 h 866556"/>
                    <a:gd name="connsiteX955" fmla="*/ 242057 w 491582"/>
                    <a:gd name="connsiteY955" fmla="*/ 486057 h 866556"/>
                    <a:gd name="connsiteX956" fmla="*/ 242142 w 491582"/>
                    <a:gd name="connsiteY956" fmla="*/ 486482 h 866556"/>
                    <a:gd name="connsiteX957" fmla="*/ 242288 w 491582"/>
                    <a:gd name="connsiteY957" fmla="*/ 486883 h 866556"/>
                    <a:gd name="connsiteX958" fmla="*/ 245105 w 491582"/>
                    <a:gd name="connsiteY958" fmla="*/ 494630 h 866556"/>
                    <a:gd name="connsiteX959" fmla="*/ 245239 w 491582"/>
                    <a:gd name="connsiteY959" fmla="*/ 495007 h 866556"/>
                    <a:gd name="connsiteX960" fmla="*/ 245421 w 491582"/>
                    <a:gd name="connsiteY960" fmla="*/ 495359 h 866556"/>
                    <a:gd name="connsiteX961" fmla="*/ 246805 w 491582"/>
                    <a:gd name="connsiteY961" fmla="*/ 498006 h 866556"/>
                    <a:gd name="connsiteX962" fmla="*/ 247072 w 491582"/>
                    <a:gd name="connsiteY962" fmla="*/ 498528 h 866556"/>
                    <a:gd name="connsiteX963" fmla="*/ 247437 w 491582"/>
                    <a:gd name="connsiteY963" fmla="*/ 498990 h 866556"/>
                    <a:gd name="connsiteX964" fmla="*/ 249319 w 491582"/>
                    <a:gd name="connsiteY964" fmla="*/ 501333 h 866556"/>
                    <a:gd name="connsiteX965" fmla="*/ 249319 w 491582"/>
                    <a:gd name="connsiteY965" fmla="*/ 501940 h 866556"/>
                    <a:gd name="connsiteX966" fmla="*/ 249319 w 491582"/>
                    <a:gd name="connsiteY966" fmla="*/ 504831 h 866556"/>
                    <a:gd name="connsiteX967" fmla="*/ 249319 w 491582"/>
                    <a:gd name="connsiteY967" fmla="*/ 506700 h 866556"/>
                    <a:gd name="connsiteX968" fmla="*/ 250375 w 491582"/>
                    <a:gd name="connsiteY968" fmla="*/ 508242 h 866556"/>
                    <a:gd name="connsiteX969" fmla="*/ 250533 w 491582"/>
                    <a:gd name="connsiteY969" fmla="*/ 508486 h 866556"/>
                    <a:gd name="connsiteX970" fmla="*/ 250205 w 491582"/>
                    <a:gd name="connsiteY970" fmla="*/ 509797 h 866556"/>
                    <a:gd name="connsiteX971" fmla="*/ 249950 w 491582"/>
                    <a:gd name="connsiteY971" fmla="*/ 510756 h 866556"/>
                    <a:gd name="connsiteX972" fmla="*/ 250023 w 491582"/>
                    <a:gd name="connsiteY972" fmla="*/ 511752 h 866556"/>
                    <a:gd name="connsiteX973" fmla="*/ 250254 w 491582"/>
                    <a:gd name="connsiteY973" fmla="*/ 514715 h 866556"/>
                    <a:gd name="connsiteX974" fmla="*/ 250327 w 491582"/>
                    <a:gd name="connsiteY974" fmla="*/ 515625 h 866556"/>
                    <a:gd name="connsiteX975" fmla="*/ 250655 w 491582"/>
                    <a:gd name="connsiteY975" fmla="*/ 516463 h 866556"/>
                    <a:gd name="connsiteX976" fmla="*/ 256690 w 491582"/>
                    <a:gd name="connsiteY976" fmla="*/ 531824 h 866556"/>
                    <a:gd name="connsiteX977" fmla="*/ 256823 w 491582"/>
                    <a:gd name="connsiteY977" fmla="*/ 532176 h 866556"/>
                    <a:gd name="connsiteX978" fmla="*/ 257005 w 491582"/>
                    <a:gd name="connsiteY978" fmla="*/ 532492 h 866556"/>
                    <a:gd name="connsiteX979" fmla="*/ 259531 w 491582"/>
                    <a:gd name="connsiteY979" fmla="*/ 537143 h 866556"/>
                    <a:gd name="connsiteX980" fmla="*/ 260065 w 491582"/>
                    <a:gd name="connsiteY980" fmla="*/ 538126 h 866556"/>
                    <a:gd name="connsiteX981" fmla="*/ 260903 w 491582"/>
                    <a:gd name="connsiteY981" fmla="*/ 538855 h 866556"/>
                    <a:gd name="connsiteX982" fmla="*/ 261413 w 491582"/>
                    <a:gd name="connsiteY982" fmla="*/ 539292 h 866556"/>
                    <a:gd name="connsiteX983" fmla="*/ 259349 w 491582"/>
                    <a:gd name="connsiteY983" fmla="*/ 540737 h 866556"/>
                    <a:gd name="connsiteX984" fmla="*/ 260587 w 491582"/>
                    <a:gd name="connsiteY984" fmla="*/ 544927 h 866556"/>
                    <a:gd name="connsiteX985" fmla="*/ 261195 w 491582"/>
                    <a:gd name="connsiteY985" fmla="*/ 547003 h 866556"/>
                    <a:gd name="connsiteX986" fmla="*/ 262336 w 491582"/>
                    <a:gd name="connsiteY986" fmla="*/ 555211 h 866556"/>
                    <a:gd name="connsiteX987" fmla="*/ 262518 w 491582"/>
                    <a:gd name="connsiteY987" fmla="*/ 556511 h 866556"/>
                    <a:gd name="connsiteX988" fmla="*/ 263223 w 491582"/>
                    <a:gd name="connsiteY988" fmla="*/ 557628 h 866556"/>
                    <a:gd name="connsiteX989" fmla="*/ 264012 w 491582"/>
                    <a:gd name="connsiteY989" fmla="*/ 558879 h 866556"/>
                    <a:gd name="connsiteX990" fmla="*/ 268140 w 491582"/>
                    <a:gd name="connsiteY990" fmla="*/ 571714 h 866556"/>
                    <a:gd name="connsiteX991" fmla="*/ 271601 w 491582"/>
                    <a:gd name="connsiteY991" fmla="*/ 598598 h 866556"/>
                    <a:gd name="connsiteX992" fmla="*/ 270715 w 491582"/>
                    <a:gd name="connsiteY992" fmla="*/ 602278 h 866556"/>
                    <a:gd name="connsiteX993" fmla="*/ 270435 w 491582"/>
                    <a:gd name="connsiteY993" fmla="*/ 603419 h 866556"/>
                    <a:gd name="connsiteX994" fmla="*/ 270605 w 491582"/>
                    <a:gd name="connsiteY994" fmla="*/ 604597 h 866556"/>
                    <a:gd name="connsiteX995" fmla="*/ 274515 w 491582"/>
                    <a:gd name="connsiteY995" fmla="*/ 631153 h 866556"/>
                    <a:gd name="connsiteX996" fmla="*/ 274576 w 491582"/>
                    <a:gd name="connsiteY996" fmla="*/ 631591 h 866556"/>
                    <a:gd name="connsiteX997" fmla="*/ 274710 w 491582"/>
                    <a:gd name="connsiteY997" fmla="*/ 632016 h 866556"/>
                    <a:gd name="connsiteX998" fmla="*/ 284303 w 491582"/>
                    <a:gd name="connsiteY998" fmla="*/ 663757 h 866556"/>
                    <a:gd name="connsiteX999" fmla="*/ 284412 w 491582"/>
                    <a:gd name="connsiteY999" fmla="*/ 664097 h 866556"/>
                    <a:gd name="connsiteX1000" fmla="*/ 284558 w 491582"/>
                    <a:gd name="connsiteY1000" fmla="*/ 664437 h 866556"/>
                    <a:gd name="connsiteX1001" fmla="*/ 299481 w 491582"/>
                    <a:gd name="connsiteY1001" fmla="*/ 698474 h 866556"/>
                    <a:gd name="connsiteX1002" fmla="*/ 301072 w 491582"/>
                    <a:gd name="connsiteY1002" fmla="*/ 702105 h 866556"/>
                    <a:gd name="connsiteX1003" fmla="*/ 302311 w 491582"/>
                    <a:gd name="connsiteY1003" fmla="*/ 702105 h 866556"/>
                    <a:gd name="connsiteX1004" fmla="*/ 302250 w 491582"/>
                    <a:gd name="connsiteY1004" fmla="*/ 702894 h 866556"/>
                    <a:gd name="connsiteX1005" fmla="*/ 302954 w 491582"/>
                    <a:gd name="connsiteY1005" fmla="*/ 704363 h 866556"/>
                    <a:gd name="connsiteX1006" fmla="*/ 308188 w 491582"/>
                    <a:gd name="connsiteY1006" fmla="*/ 715243 h 866556"/>
                    <a:gd name="connsiteX1007" fmla="*/ 310131 w 491582"/>
                    <a:gd name="connsiteY1007" fmla="*/ 721145 h 866556"/>
                    <a:gd name="connsiteX1008" fmla="*/ 310386 w 491582"/>
                    <a:gd name="connsiteY1008" fmla="*/ 721922 h 866556"/>
                    <a:gd name="connsiteX1009" fmla="*/ 310847 w 491582"/>
                    <a:gd name="connsiteY1009" fmla="*/ 722614 h 866556"/>
                    <a:gd name="connsiteX1010" fmla="*/ 312814 w 491582"/>
                    <a:gd name="connsiteY1010" fmla="*/ 725577 h 866556"/>
                    <a:gd name="connsiteX1011" fmla="*/ 312984 w 491582"/>
                    <a:gd name="connsiteY1011" fmla="*/ 726233 h 866556"/>
                    <a:gd name="connsiteX1012" fmla="*/ 313118 w 491582"/>
                    <a:gd name="connsiteY1012" fmla="*/ 728163 h 866556"/>
                    <a:gd name="connsiteX1013" fmla="*/ 313154 w 491582"/>
                    <a:gd name="connsiteY1013" fmla="*/ 728637 h 866556"/>
                    <a:gd name="connsiteX1014" fmla="*/ 313251 w 491582"/>
                    <a:gd name="connsiteY1014" fmla="*/ 729086 h 866556"/>
                    <a:gd name="connsiteX1015" fmla="*/ 313944 w 491582"/>
                    <a:gd name="connsiteY1015" fmla="*/ 732146 h 866556"/>
                    <a:gd name="connsiteX1016" fmla="*/ 314089 w 491582"/>
                    <a:gd name="connsiteY1016" fmla="*/ 732790 h 866556"/>
                    <a:gd name="connsiteX1017" fmla="*/ 314369 w 491582"/>
                    <a:gd name="connsiteY1017" fmla="*/ 733385 h 866556"/>
                    <a:gd name="connsiteX1018" fmla="*/ 315631 w 491582"/>
                    <a:gd name="connsiteY1018" fmla="*/ 736080 h 866556"/>
                    <a:gd name="connsiteX1019" fmla="*/ 316226 w 491582"/>
                    <a:gd name="connsiteY1019" fmla="*/ 737343 h 866556"/>
                    <a:gd name="connsiteX1020" fmla="*/ 317307 w 491582"/>
                    <a:gd name="connsiteY1020" fmla="*/ 738218 h 866556"/>
                    <a:gd name="connsiteX1021" fmla="*/ 318084 w 491582"/>
                    <a:gd name="connsiteY1021" fmla="*/ 738861 h 866556"/>
                    <a:gd name="connsiteX1022" fmla="*/ 317404 w 491582"/>
                    <a:gd name="connsiteY1022" fmla="*/ 740840 h 866556"/>
                    <a:gd name="connsiteX1023" fmla="*/ 319019 w 491582"/>
                    <a:gd name="connsiteY1023" fmla="*/ 743318 h 866556"/>
                    <a:gd name="connsiteX1024" fmla="*/ 321715 w 491582"/>
                    <a:gd name="connsiteY1024" fmla="*/ 747458 h 866556"/>
                    <a:gd name="connsiteX1025" fmla="*/ 322213 w 491582"/>
                    <a:gd name="connsiteY1025" fmla="*/ 748211 h 866556"/>
                    <a:gd name="connsiteX1026" fmla="*/ 322905 w 491582"/>
                    <a:gd name="connsiteY1026" fmla="*/ 748794 h 866556"/>
                    <a:gd name="connsiteX1027" fmla="*/ 338606 w 491582"/>
                    <a:gd name="connsiteY1027" fmla="*/ 761969 h 866556"/>
                    <a:gd name="connsiteX1028" fmla="*/ 340925 w 491582"/>
                    <a:gd name="connsiteY1028" fmla="*/ 764811 h 866556"/>
                    <a:gd name="connsiteX1029" fmla="*/ 347288 w 491582"/>
                    <a:gd name="connsiteY1029" fmla="*/ 775703 h 866556"/>
                    <a:gd name="connsiteX1030" fmla="*/ 347774 w 491582"/>
                    <a:gd name="connsiteY1030" fmla="*/ 776529 h 866556"/>
                    <a:gd name="connsiteX1031" fmla="*/ 348478 w 491582"/>
                    <a:gd name="connsiteY1031" fmla="*/ 777160 h 866556"/>
                    <a:gd name="connsiteX1032" fmla="*/ 354222 w 491582"/>
                    <a:gd name="connsiteY1032" fmla="*/ 782309 h 866556"/>
                    <a:gd name="connsiteX1033" fmla="*/ 355630 w 491582"/>
                    <a:gd name="connsiteY1033" fmla="*/ 785539 h 866556"/>
                    <a:gd name="connsiteX1034" fmla="*/ 355995 w 491582"/>
                    <a:gd name="connsiteY1034" fmla="*/ 786352 h 866556"/>
                    <a:gd name="connsiteX1035" fmla="*/ 356590 w 491582"/>
                    <a:gd name="connsiteY1035" fmla="*/ 787045 h 866556"/>
                    <a:gd name="connsiteX1036" fmla="*/ 369425 w 491582"/>
                    <a:gd name="connsiteY1036" fmla="*/ 802017 h 866556"/>
                    <a:gd name="connsiteX1037" fmla="*/ 371428 w 491582"/>
                    <a:gd name="connsiteY1037" fmla="*/ 807020 h 866556"/>
                    <a:gd name="connsiteX1038" fmla="*/ 371938 w 491582"/>
                    <a:gd name="connsiteY1038" fmla="*/ 808295 h 866556"/>
                    <a:gd name="connsiteX1039" fmla="*/ 372958 w 491582"/>
                    <a:gd name="connsiteY1039" fmla="*/ 809230 h 866556"/>
                    <a:gd name="connsiteX1040" fmla="*/ 382575 w 491582"/>
                    <a:gd name="connsiteY1040" fmla="*/ 818070 h 866556"/>
                    <a:gd name="connsiteX1041" fmla="*/ 397645 w 491582"/>
                    <a:gd name="connsiteY1041" fmla="*/ 839453 h 866556"/>
                    <a:gd name="connsiteX1042" fmla="*/ 397863 w 491582"/>
                    <a:gd name="connsiteY1042" fmla="*/ 839757 h 866556"/>
                    <a:gd name="connsiteX1043" fmla="*/ 398118 w 491582"/>
                    <a:gd name="connsiteY1043" fmla="*/ 840024 h 866556"/>
                    <a:gd name="connsiteX1044" fmla="*/ 404384 w 491582"/>
                    <a:gd name="connsiteY1044" fmla="*/ 846933 h 866556"/>
                    <a:gd name="connsiteX1045" fmla="*/ 404809 w 491582"/>
                    <a:gd name="connsiteY1045" fmla="*/ 847395 h 866556"/>
                    <a:gd name="connsiteX1046" fmla="*/ 405319 w 491582"/>
                    <a:gd name="connsiteY1046" fmla="*/ 847759 h 866556"/>
                    <a:gd name="connsiteX1047" fmla="*/ 426788 w 491582"/>
                    <a:gd name="connsiteY1047" fmla="*/ 863412 h 866556"/>
                    <a:gd name="connsiteX1048" fmla="*/ 431099 w 491582"/>
                    <a:gd name="connsiteY1048" fmla="*/ 866557 h 866556"/>
                    <a:gd name="connsiteX1049" fmla="*/ 434608 w 491582"/>
                    <a:gd name="connsiteY1049" fmla="*/ 862853 h 866556"/>
                    <a:gd name="connsiteX1050" fmla="*/ 436381 w 491582"/>
                    <a:gd name="connsiteY1050" fmla="*/ 863047 h 866556"/>
                    <a:gd name="connsiteX1051" fmla="*/ 437668 w 491582"/>
                    <a:gd name="connsiteY1051" fmla="*/ 863193 h 866556"/>
                    <a:gd name="connsiteX1052" fmla="*/ 438907 w 491582"/>
                    <a:gd name="connsiteY1052" fmla="*/ 862792 h 866556"/>
                    <a:gd name="connsiteX1053" fmla="*/ 440522 w 491582"/>
                    <a:gd name="connsiteY1053" fmla="*/ 862270 h 866556"/>
                    <a:gd name="connsiteX1054" fmla="*/ 441529 w 491582"/>
                    <a:gd name="connsiteY1054" fmla="*/ 861942 h 866556"/>
                    <a:gd name="connsiteX1055" fmla="*/ 442367 w 491582"/>
                    <a:gd name="connsiteY1055" fmla="*/ 861286 h 866556"/>
                    <a:gd name="connsiteX1056" fmla="*/ 443800 w 491582"/>
                    <a:gd name="connsiteY1056" fmla="*/ 860169 h 866556"/>
                    <a:gd name="connsiteX1057" fmla="*/ 444723 w 491582"/>
                    <a:gd name="connsiteY1057" fmla="*/ 859453 h 866556"/>
                    <a:gd name="connsiteX1058" fmla="*/ 445306 w 491582"/>
                    <a:gd name="connsiteY1058" fmla="*/ 858457 h 866556"/>
                    <a:gd name="connsiteX1059" fmla="*/ 445937 w 491582"/>
                    <a:gd name="connsiteY1059" fmla="*/ 857389 h 866556"/>
                    <a:gd name="connsiteX1060" fmla="*/ 446435 w 491582"/>
                    <a:gd name="connsiteY1060" fmla="*/ 856563 h 866556"/>
                    <a:gd name="connsiteX1061" fmla="*/ 446642 w 491582"/>
                    <a:gd name="connsiteY1061" fmla="*/ 855616 h 866556"/>
                    <a:gd name="connsiteX1062" fmla="*/ 446933 w 491582"/>
                    <a:gd name="connsiteY1062" fmla="*/ 854304 h 866556"/>
                    <a:gd name="connsiteX1063" fmla="*/ 447042 w 491582"/>
                    <a:gd name="connsiteY1063" fmla="*/ 853794 h 866556"/>
                    <a:gd name="connsiteX1064" fmla="*/ 447067 w 491582"/>
                    <a:gd name="connsiteY1064" fmla="*/ 853272 h 866556"/>
                    <a:gd name="connsiteX1065" fmla="*/ 447115 w 491582"/>
                    <a:gd name="connsiteY1065" fmla="*/ 852058 h 866556"/>
                    <a:gd name="connsiteX1066" fmla="*/ 447139 w 491582"/>
                    <a:gd name="connsiteY1066" fmla="*/ 851499 h 866556"/>
                    <a:gd name="connsiteX1067" fmla="*/ 447067 w 491582"/>
                    <a:gd name="connsiteY1067" fmla="*/ 850965 h 866556"/>
                    <a:gd name="connsiteX1068" fmla="*/ 446921 w 491582"/>
                    <a:gd name="connsiteY1068" fmla="*/ 849896 h 866556"/>
                    <a:gd name="connsiteX1069" fmla="*/ 447176 w 491582"/>
                    <a:gd name="connsiteY1069" fmla="*/ 849277 h 866556"/>
                    <a:gd name="connsiteX1070" fmla="*/ 448839 w 491582"/>
                    <a:gd name="connsiteY1070" fmla="*/ 846253 h 866556"/>
                    <a:gd name="connsiteX1071" fmla="*/ 452470 w 491582"/>
                    <a:gd name="connsiteY1071" fmla="*/ 841955 h 866556"/>
                    <a:gd name="connsiteX1072" fmla="*/ 452786 w 491582"/>
                    <a:gd name="connsiteY1072" fmla="*/ 841578 h 866556"/>
                    <a:gd name="connsiteX1073" fmla="*/ 453041 w 491582"/>
                    <a:gd name="connsiteY1073" fmla="*/ 841153 h 866556"/>
                    <a:gd name="connsiteX1074" fmla="*/ 454644 w 491582"/>
                    <a:gd name="connsiteY1074" fmla="*/ 838470 h 866556"/>
                    <a:gd name="connsiteX1075" fmla="*/ 454996 w 491582"/>
                    <a:gd name="connsiteY1075" fmla="*/ 837875 h 866556"/>
                    <a:gd name="connsiteX1076" fmla="*/ 455215 w 491582"/>
                    <a:gd name="connsiteY1076" fmla="*/ 837219 h 866556"/>
                    <a:gd name="connsiteX1077" fmla="*/ 455895 w 491582"/>
                    <a:gd name="connsiteY1077" fmla="*/ 835130 h 866556"/>
                    <a:gd name="connsiteX1078" fmla="*/ 456356 w 491582"/>
                    <a:gd name="connsiteY1078" fmla="*/ 833710 h 866556"/>
                    <a:gd name="connsiteX1079" fmla="*/ 456101 w 491582"/>
                    <a:gd name="connsiteY1079" fmla="*/ 832253 h 866556"/>
                    <a:gd name="connsiteX1080" fmla="*/ 455822 w 491582"/>
                    <a:gd name="connsiteY1080" fmla="*/ 830601 h 866556"/>
                    <a:gd name="connsiteX1081" fmla="*/ 455761 w 491582"/>
                    <a:gd name="connsiteY1081" fmla="*/ 830261 h 866556"/>
                    <a:gd name="connsiteX1082" fmla="*/ 455664 w 491582"/>
                    <a:gd name="connsiteY1082" fmla="*/ 829945 h 866556"/>
                    <a:gd name="connsiteX1083" fmla="*/ 455506 w 491582"/>
                    <a:gd name="connsiteY1083" fmla="*/ 829411 h 866556"/>
                    <a:gd name="connsiteX1084" fmla="*/ 455603 w 491582"/>
                    <a:gd name="connsiteY1084" fmla="*/ 829387 h 866556"/>
                    <a:gd name="connsiteX1085" fmla="*/ 456441 w 491582"/>
                    <a:gd name="connsiteY1085" fmla="*/ 828865 h 866556"/>
                    <a:gd name="connsiteX1086" fmla="*/ 458578 w 491582"/>
                    <a:gd name="connsiteY1086" fmla="*/ 827553 h 866556"/>
                    <a:gd name="connsiteX1087" fmla="*/ 459222 w 491582"/>
                    <a:gd name="connsiteY1087" fmla="*/ 827152 h 866556"/>
                    <a:gd name="connsiteX1088" fmla="*/ 459744 w 491582"/>
                    <a:gd name="connsiteY1088" fmla="*/ 826606 h 866556"/>
                    <a:gd name="connsiteX1089" fmla="*/ 463302 w 491582"/>
                    <a:gd name="connsiteY1089" fmla="*/ 822927 h 866556"/>
                    <a:gd name="connsiteX1090" fmla="*/ 463690 w 491582"/>
                    <a:gd name="connsiteY1090" fmla="*/ 822526 h 866556"/>
                    <a:gd name="connsiteX1091" fmla="*/ 463994 w 491582"/>
                    <a:gd name="connsiteY1091" fmla="*/ 822065 h 866556"/>
                    <a:gd name="connsiteX1092" fmla="*/ 465827 w 491582"/>
                    <a:gd name="connsiteY1092" fmla="*/ 819296 h 866556"/>
                    <a:gd name="connsiteX1093" fmla="*/ 466204 w 491582"/>
                    <a:gd name="connsiteY1093" fmla="*/ 818737 h 866556"/>
                    <a:gd name="connsiteX1094" fmla="*/ 466447 w 491582"/>
                    <a:gd name="connsiteY1094" fmla="*/ 818106 h 866556"/>
                    <a:gd name="connsiteX1095" fmla="*/ 467600 w 491582"/>
                    <a:gd name="connsiteY1095" fmla="*/ 815095 h 866556"/>
                    <a:gd name="connsiteX1096" fmla="*/ 468037 w 491582"/>
                    <a:gd name="connsiteY1096" fmla="*/ 813953 h 866556"/>
                    <a:gd name="connsiteX1097" fmla="*/ 468001 w 491582"/>
                    <a:gd name="connsiteY1097" fmla="*/ 812727 h 866556"/>
                    <a:gd name="connsiteX1098" fmla="*/ 467940 w 491582"/>
                    <a:gd name="connsiteY1098" fmla="*/ 810832 h 866556"/>
                    <a:gd name="connsiteX1099" fmla="*/ 467916 w 491582"/>
                    <a:gd name="connsiteY1099" fmla="*/ 809885 h 866556"/>
                    <a:gd name="connsiteX1100" fmla="*/ 467600 w 491582"/>
                    <a:gd name="connsiteY1100" fmla="*/ 808999 h 866556"/>
                    <a:gd name="connsiteX1101" fmla="*/ 466920 w 491582"/>
                    <a:gd name="connsiteY1101" fmla="*/ 807080 h 866556"/>
                    <a:gd name="connsiteX1102" fmla="*/ 466677 w 491582"/>
                    <a:gd name="connsiteY1102" fmla="*/ 806376 h 866556"/>
                    <a:gd name="connsiteX1103" fmla="*/ 466277 w 491582"/>
                    <a:gd name="connsiteY1103" fmla="*/ 805769 h 866556"/>
                    <a:gd name="connsiteX1104" fmla="*/ 465184 w 491582"/>
                    <a:gd name="connsiteY1104" fmla="*/ 804105 h 866556"/>
                    <a:gd name="connsiteX1105" fmla="*/ 464929 w 491582"/>
                    <a:gd name="connsiteY1105" fmla="*/ 803704 h 866556"/>
                    <a:gd name="connsiteX1106" fmla="*/ 464613 w 491582"/>
                    <a:gd name="connsiteY1106" fmla="*/ 803365 h 866556"/>
                    <a:gd name="connsiteX1107" fmla="*/ 461213 w 491582"/>
                    <a:gd name="connsiteY1107" fmla="*/ 799613 h 866556"/>
                    <a:gd name="connsiteX1108" fmla="*/ 460873 w 491582"/>
                    <a:gd name="connsiteY1108" fmla="*/ 799248 h 866556"/>
                    <a:gd name="connsiteX1109" fmla="*/ 460472 w 491582"/>
                    <a:gd name="connsiteY1109" fmla="*/ 798944 h 866556"/>
                    <a:gd name="connsiteX1110" fmla="*/ 452118 w 491582"/>
                    <a:gd name="connsiteY1110" fmla="*/ 792363 h 866556"/>
                    <a:gd name="connsiteX1111" fmla="*/ 451462 w 491582"/>
                    <a:gd name="connsiteY1111" fmla="*/ 791598 h 866556"/>
                    <a:gd name="connsiteX1112" fmla="*/ 451050 w 491582"/>
                    <a:gd name="connsiteY1112" fmla="*/ 790845 h 866556"/>
                    <a:gd name="connsiteX1113" fmla="*/ 450710 w 491582"/>
                    <a:gd name="connsiteY1113" fmla="*/ 789959 h 866556"/>
                    <a:gd name="connsiteX1114" fmla="*/ 450539 w 491582"/>
                    <a:gd name="connsiteY1114" fmla="*/ 789085 h 866556"/>
                    <a:gd name="connsiteX1115" fmla="*/ 450442 w 491582"/>
                    <a:gd name="connsiteY1115" fmla="*/ 786413 h 866556"/>
                    <a:gd name="connsiteX1116" fmla="*/ 450430 w 491582"/>
                    <a:gd name="connsiteY1116" fmla="*/ 785964 h 866556"/>
                    <a:gd name="connsiteX1117" fmla="*/ 450357 w 491582"/>
                    <a:gd name="connsiteY1117" fmla="*/ 785527 h 866556"/>
                    <a:gd name="connsiteX1118" fmla="*/ 450066 w 491582"/>
                    <a:gd name="connsiteY1118" fmla="*/ 783972 h 866556"/>
                    <a:gd name="connsiteX1119" fmla="*/ 449981 w 491582"/>
                    <a:gd name="connsiteY1119" fmla="*/ 783511 h 866556"/>
                    <a:gd name="connsiteX1120" fmla="*/ 449823 w 491582"/>
                    <a:gd name="connsiteY1120" fmla="*/ 783074 h 866556"/>
                    <a:gd name="connsiteX1121" fmla="*/ 449447 w 491582"/>
                    <a:gd name="connsiteY1121" fmla="*/ 782005 h 866556"/>
                    <a:gd name="connsiteX1122" fmla="*/ 449422 w 491582"/>
                    <a:gd name="connsiteY1122" fmla="*/ 781787 h 866556"/>
                    <a:gd name="connsiteX1123" fmla="*/ 450539 w 491582"/>
                    <a:gd name="connsiteY1123" fmla="*/ 780305 h 866556"/>
                    <a:gd name="connsiteX1124" fmla="*/ 458882 w 491582"/>
                    <a:gd name="connsiteY1124" fmla="*/ 767555 h 866556"/>
                    <a:gd name="connsiteX1125" fmla="*/ 459355 w 491582"/>
                    <a:gd name="connsiteY1125" fmla="*/ 766826 h 866556"/>
                    <a:gd name="connsiteX1126" fmla="*/ 459610 w 491582"/>
                    <a:gd name="connsiteY1126" fmla="*/ 766013 h 866556"/>
                    <a:gd name="connsiteX1127" fmla="*/ 462828 w 491582"/>
                    <a:gd name="connsiteY1127" fmla="*/ 755473 h 866556"/>
                    <a:gd name="connsiteX1128" fmla="*/ 463022 w 491582"/>
                    <a:gd name="connsiteY1128" fmla="*/ 754854 h 866556"/>
                    <a:gd name="connsiteX1129" fmla="*/ 463071 w 491582"/>
                    <a:gd name="connsiteY1129" fmla="*/ 754222 h 866556"/>
                    <a:gd name="connsiteX1130" fmla="*/ 463253 w 491582"/>
                    <a:gd name="connsiteY1130" fmla="*/ 752194 h 866556"/>
                    <a:gd name="connsiteX1131" fmla="*/ 463362 w 491582"/>
                    <a:gd name="connsiteY1131" fmla="*/ 750931 h 866556"/>
                    <a:gd name="connsiteX1132" fmla="*/ 462950 w 491582"/>
                    <a:gd name="connsiteY1132" fmla="*/ 749717 h 866556"/>
                    <a:gd name="connsiteX1133" fmla="*/ 462707 w 491582"/>
                    <a:gd name="connsiteY1133" fmla="*/ 749013 h 866556"/>
                    <a:gd name="connsiteX1134" fmla="*/ 462464 w 491582"/>
                    <a:gd name="connsiteY1134" fmla="*/ 748284 h 866556"/>
                    <a:gd name="connsiteX1135" fmla="*/ 462051 w 491582"/>
                    <a:gd name="connsiteY1135" fmla="*/ 747653 h 866556"/>
                    <a:gd name="connsiteX1136" fmla="*/ 461480 w 491582"/>
                    <a:gd name="connsiteY1136" fmla="*/ 746766 h 866556"/>
                    <a:gd name="connsiteX1137" fmla="*/ 461201 w 491582"/>
                    <a:gd name="connsiteY1137" fmla="*/ 746329 h 866556"/>
                    <a:gd name="connsiteX1138" fmla="*/ 460849 w 491582"/>
                    <a:gd name="connsiteY1138" fmla="*/ 745953 h 866556"/>
                    <a:gd name="connsiteX1139" fmla="*/ 459877 w 491582"/>
                    <a:gd name="connsiteY1139" fmla="*/ 744896 h 866556"/>
                    <a:gd name="connsiteX1140" fmla="*/ 459610 w 491582"/>
                    <a:gd name="connsiteY1140" fmla="*/ 744617 h 866556"/>
                    <a:gd name="connsiteX1141" fmla="*/ 459307 w 491582"/>
                    <a:gd name="connsiteY1141" fmla="*/ 744362 h 866556"/>
                    <a:gd name="connsiteX1142" fmla="*/ 457813 w 491582"/>
                    <a:gd name="connsiteY1142" fmla="*/ 743111 h 866556"/>
                    <a:gd name="connsiteX1143" fmla="*/ 457352 w 491582"/>
                    <a:gd name="connsiteY1143" fmla="*/ 742735 h 866556"/>
                    <a:gd name="connsiteX1144" fmla="*/ 456830 w 491582"/>
                    <a:gd name="connsiteY1144" fmla="*/ 742456 h 866556"/>
                    <a:gd name="connsiteX1145" fmla="*/ 453952 w 491582"/>
                    <a:gd name="connsiteY1145" fmla="*/ 740877 h 866556"/>
                    <a:gd name="connsiteX1146" fmla="*/ 452701 w 491582"/>
                    <a:gd name="connsiteY1146" fmla="*/ 739796 h 866556"/>
                    <a:gd name="connsiteX1147" fmla="*/ 451135 w 491582"/>
                    <a:gd name="connsiteY1147" fmla="*/ 736008 h 866556"/>
                    <a:gd name="connsiteX1148" fmla="*/ 447261 w 491582"/>
                    <a:gd name="connsiteY1148" fmla="*/ 725431 h 866556"/>
                    <a:gd name="connsiteX1149" fmla="*/ 452519 w 491582"/>
                    <a:gd name="connsiteY1149" fmla="*/ 721740 h 866556"/>
                    <a:gd name="connsiteX1150" fmla="*/ 453417 w 491582"/>
                    <a:gd name="connsiteY1150" fmla="*/ 721108 h 866556"/>
                    <a:gd name="connsiteX1151" fmla="*/ 454037 w 491582"/>
                    <a:gd name="connsiteY1151" fmla="*/ 720198 h 866556"/>
                    <a:gd name="connsiteX1152" fmla="*/ 457764 w 491582"/>
                    <a:gd name="connsiteY1152" fmla="*/ 714745 h 866556"/>
                    <a:gd name="connsiteX1153" fmla="*/ 458104 w 491582"/>
                    <a:gd name="connsiteY1153" fmla="*/ 714248 h 866556"/>
                    <a:gd name="connsiteX1154" fmla="*/ 458335 w 491582"/>
                    <a:gd name="connsiteY1154" fmla="*/ 713689 h 866556"/>
                    <a:gd name="connsiteX1155" fmla="*/ 462998 w 491582"/>
                    <a:gd name="connsiteY1155" fmla="*/ 702724 h 866556"/>
                    <a:gd name="connsiteX1156" fmla="*/ 473769 w 491582"/>
                    <a:gd name="connsiteY1156" fmla="*/ 669088 h 866556"/>
                    <a:gd name="connsiteX1157" fmla="*/ 478383 w 491582"/>
                    <a:gd name="connsiteY1157" fmla="*/ 661535 h 866556"/>
                    <a:gd name="connsiteX1158" fmla="*/ 478735 w 491582"/>
                    <a:gd name="connsiteY1158" fmla="*/ 660952 h 866556"/>
                    <a:gd name="connsiteX1159" fmla="*/ 478954 w 491582"/>
                    <a:gd name="connsiteY1159" fmla="*/ 660296 h 866556"/>
                    <a:gd name="connsiteX1160" fmla="*/ 483423 w 491582"/>
                    <a:gd name="connsiteY1160" fmla="*/ 647048 h 866556"/>
                    <a:gd name="connsiteX1161" fmla="*/ 484200 w 491582"/>
                    <a:gd name="connsiteY1161" fmla="*/ 645458 h 866556"/>
                    <a:gd name="connsiteX1162" fmla="*/ 484612 w 491582"/>
                    <a:gd name="connsiteY1162" fmla="*/ 644899 h 866556"/>
                    <a:gd name="connsiteX1163" fmla="*/ 489336 w 491582"/>
                    <a:gd name="connsiteY1163" fmla="*/ 640831 h 866556"/>
                    <a:gd name="connsiteX1164" fmla="*/ 491364 w 491582"/>
                    <a:gd name="connsiteY1164" fmla="*/ 639058 h 866556"/>
                    <a:gd name="connsiteX1165" fmla="*/ 491437 w 491582"/>
                    <a:gd name="connsiteY1165" fmla="*/ 636375 h 866556"/>
                    <a:gd name="connsiteX1166" fmla="*/ 491558 w 491582"/>
                    <a:gd name="connsiteY1166" fmla="*/ 631566 h 866556"/>
                    <a:gd name="connsiteX1167" fmla="*/ 491583 w 491582"/>
                    <a:gd name="connsiteY1167" fmla="*/ 630243 h 866556"/>
                    <a:gd name="connsiteX1168" fmla="*/ 491060 w 491582"/>
                    <a:gd name="connsiteY1168" fmla="*/ 629029 h 866556"/>
                    <a:gd name="connsiteX1169" fmla="*/ 489968 w 491582"/>
                    <a:gd name="connsiteY1169" fmla="*/ 626478 h 866556"/>
                    <a:gd name="connsiteX1170" fmla="*/ 489615 w 491582"/>
                    <a:gd name="connsiteY1170" fmla="*/ 625653 h 866556"/>
                    <a:gd name="connsiteX1171" fmla="*/ 489032 w 491582"/>
                    <a:gd name="connsiteY1171" fmla="*/ 624960 h 866556"/>
                    <a:gd name="connsiteX1172" fmla="*/ 483629 w 491582"/>
                    <a:gd name="connsiteY1172" fmla="*/ 618513 h 866556"/>
                    <a:gd name="connsiteX1173" fmla="*/ 482718 w 491582"/>
                    <a:gd name="connsiteY1173" fmla="*/ 616837 h 866556"/>
                    <a:gd name="connsiteX1174" fmla="*/ 481419 w 491582"/>
                    <a:gd name="connsiteY1174" fmla="*/ 613583 h 866556"/>
                    <a:gd name="connsiteX1175" fmla="*/ 481115 w 491582"/>
                    <a:gd name="connsiteY1175" fmla="*/ 612830 h 866556"/>
                    <a:gd name="connsiteX1176" fmla="*/ 480618 w 491582"/>
                    <a:gd name="connsiteY1176" fmla="*/ 612162 h 866556"/>
                    <a:gd name="connsiteX1177" fmla="*/ 479585 w 491582"/>
                    <a:gd name="connsiteY1177" fmla="*/ 610814 h 866556"/>
                    <a:gd name="connsiteX1178" fmla="*/ 478954 w 491582"/>
                    <a:gd name="connsiteY1178" fmla="*/ 610000 h 866556"/>
                    <a:gd name="connsiteX1179" fmla="*/ 478080 w 491582"/>
                    <a:gd name="connsiteY1179" fmla="*/ 609417 h 866556"/>
                    <a:gd name="connsiteX1180" fmla="*/ 476865 w 491582"/>
                    <a:gd name="connsiteY1180" fmla="*/ 608628 h 866556"/>
                    <a:gd name="connsiteX1181" fmla="*/ 475687 w 491582"/>
                    <a:gd name="connsiteY1181" fmla="*/ 607863 h 866556"/>
                    <a:gd name="connsiteX1182" fmla="*/ 474291 w 491582"/>
                    <a:gd name="connsiteY1182" fmla="*/ 607693 h 866556"/>
                    <a:gd name="connsiteX1183" fmla="*/ 473040 w 491582"/>
                    <a:gd name="connsiteY1183" fmla="*/ 607535 h 866556"/>
                    <a:gd name="connsiteX1184" fmla="*/ 472591 w 491582"/>
                    <a:gd name="connsiteY1184" fmla="*/ 607474 h 866556"/>
                    <a:gd name="connsiteX1185" fmla="*/ 472142 w 491582"/>
                    <a:gd name="connsiteY1185" fmla="*/ 607487 h 866556"/>
                    <a:gd name="connsiteX1186" fmla="*/ 468815 w 491582"/>
                    <a:gd name="connsiteY1186" fmla="*/ 607572 h 866556"/>
                    <a:gd name="connsiteX1187" fmla="*/ 468195 w 491582"/>
                    <a:gd name="connsiteY1187" fmla="*/ 607584 h 866556"/>
                    <a:gd name="connsiteX1188" fmla="*/ 467600 w 491582"/>
                    <a:gd name="connsiteY1188" fmla="*/ 607730 h 866556"/>
                    <a:gd name="connsiteX1189" fmla="*/ 466216 w 491582"/>
                    <a:gd name="connsiteY1189" fmla="*/ 608046 h 866556"/>
                    <a:gd name="connsiteX1190" fmla="*/ 465584 w 491582"/>
                    <a:gd name="connsiteY1190" fmla="*/ 608203 h 866556"/>
                    <a:gd name="connsiteX1191" fmla="*/ 465002 w 491582"/>
                    <a:gd name="connsiteY1191" fmla="*/ 608470 h 866556"/>
                    <a:gd name="connsiteX1192" fmla="*/ 457874 w 491582"/>
                    <a:gd name="connsiteY1192" fmla="*/ 611810 h 866556"/>
                    <a:gd name="connsiteX1193" fmla="*/ 457060 w 491582"/>
                    <a:gd name="connsiteY1193" fmla="*/ 610960 h 866556"/>
                    <a:gd name="connsiteX1194" fmla="*/ 455858 w 491582"/>
                    <a:gd name="connsiteY1194" fmla="*/ 609903 h 866556"/>
                    <a:gd name="connsiteX1195" fmla="*/ 455287 w 491582"/>
                    <a:gd name="connsiteY1195" fmla="*/ 609406 h 866556"/>
                    <a:gd name="connsiteX1196" fmla="*/ 454607 w 491582"/>
                    <a:gd name="connsiteY1196" fmla="*/ 609078 h 866556"/>
                    <a:gd name="connsiteX1197" fmla="*/ 453466 w 491582"/>
                    <a:gd name="connsiteY1197" fmla="*/ 608507 h 866556"/>
                    <a:gd name="connsiteX1198" fmla="*/ 453162 w 491582"/>
                    <a:gd name="connsiteY1198" fmla="*/ 608349 h 866556"/>
                    <a:gd name="connsiteX1199" fmla="*/ 452847 w 491582"/>
                    <a:gd name="connsiteY1199" fmla="*/ 608228 h 866556"/>
                    <a:gd name="connsiteX1200" fmla="*/ 451584 w 491582"/>
                    <a:gd name="connsiteY1200" fmla="*/ 607766 h 866556"/>
                    <a:gd name="connsiteX1201" fmla="*/ 451159 w 491582"/>
                    <a:gd name="connsiteY1201" fmla="*/ 607645 h 866556"/>
                    <a:gd name="connsiteX1202" fmla="*/ 459598 w 491582"/>
                    <a:gd name="connsiteY1202" fmla="*/ 580566 h 866556"/>
                    <a:gd name="connsiteX1203" fmla="*/ 459732 w 491582"/>
                    <a:gd name="connsiteY1203" fmla="*/ 580129 h 866556"/>
                    <a:gd name="connsiteX1204" fmla="*/ 459804 w 491582"/>
                    <a:gd name="connsiteY1204" fmla="*/ 579680 h 866556"/>
                    <a:gd name="connsiteX1205" fmla="*/ 460205 w 491582"/>
                    <a:gd name="connsiteY1205" fmla="*/ 577008 h 866556"/>
                    <a:gd name="connsiteX1206" fmla="*/ 460266 w 491582"/>
                    <a:gd name="connsiteY1206" fmla="*/ 576607 h 866556"/>
                    <a:gd name="connsiteX1207" fmla="*/ 460266 w 491582"/>
                    <a:gd name="connsiteY1207" fmla="*/ 576207 h 866556"/>
                    <a:gd name="connsiteX1208" fmla="*/ 460327 w 491582"/>
                    <a:gd name="connsiteY1208" fmla="*/ 572819 h 866556"/>
                    <a:gd name="connsiteX1209" fmla="*/ 460339 w 491582"/>
                    <a:gd name="connsiteY1209" fmla="*/ 571908 h 866556"/>
                    <a:gd name="connsiteX1210" fmla="*/ 460084 w 491582"/>
                    <a:gd name="connsiteY1210" fmla="*/ 571034 h 866556"/>
                    <a:gd name="connsiteX1211" fmla="*/ 459003 w 491582"/>
                    <a:gd name="connsiteY1211" fmla="*/ 567294 h 866556"/>
                    <a:gd name="connsiteX1212" fmla="*/ 458117 w 491582"/>
                    <a:gd name="connsiteY1212" fmla="*/ 560724 h 866556"/>
                    <a:gd name="connsiteX1213" fmla="*/ 458214 w 491582"/>
                    <a:gd name="connsiteY1213" fmla="*/ 559291 h 866556"/>
                    <a:gd name="connsiteX1214" fmla="*/ 458408 w 491582"/>
                    <a:gd name="connsiteY1214" fmla="*/ 558320 h 866556"/>
                    <a:gd name="connsiteX1215" fmla="*/ 463204 w 491582"/>
                    <a:gd name="connsiteY1215" fmla="*/ 548982 h 866556"/>
                    <a:gd name="connsiteX1216" fmla="*/ 463581 w 491582"/>
                    <a:gd name="connsiteY1216" fmla="*/ 548254 h 866556"/>
                    <a:gd name="connsiteX1217" fmla="*/ 463751 w 491582"/>
                    <a:gd name="connsiteY1217" fmla="*/ 547452 h 866556"/>
                    <a:gd name="connsiteX1218" fmla="*/ 464382 w 491582"/>
                    <a:gd name="connsiteY1218" fmla="*/ 544465 h 866556"/>
                    <a:gd name="connsiteX1219" fmla="*/ 464516 w 491582"/>
                    <a:gd name="connsiteY1219" fmla="*/ 543846 h 866556"/>
                    <a:gd name="connsiteX1220" fmla="*/ 464516 w 491582"/>
                    <a:gd name="connsiteY1220" fmla="*/ 543214 h 866556"/>
                    <a:gd name="connsiteX1221" fmla="*/ 464516 w 491582"/>
                    <a:gd name="connsiteY1221" fmla="*/ 541356 h 866556"/>
                    <a:gd name="connsiteX1222" fmla="*/ 464516 w 491582"/>
                    <a:gd name="connsiteY1222" fmla="*/ 540409 h 866556"/>
                    <a:gd name="connsiteX1223" fmla="*/ 464224 w 491582"/>
                    <a:gd name="connsiteY1223" fmla="*/ 539498 h 866556"/>
                    <a:gd name="connsiteX1224" fmla="*/ 460387 w 491582"/>
                    <a:gd name="connsiteY1224" fmla="*/ 527562 h 866556"/>
                    <a:gd name="connsiteX1225" fmla="*/ 460266 w 491582"/>
                    <a:gd name="connsiteY1225" fmla="*/ 527210 h 866556"/>
                    <a:gd name="connsiteX1226" fmla="*/ 460108 w 491582"/>
                    <a:gd name="connsiteY1226" fmla="*/ 526870 h 866556"/>
                    <a:gd name="connsiteX1227" fmla="*/ 457959 w 491582"/>
                    <a:gd name="connsiteY1227" fmla="*/ 522256 h 866556"/>
                    <a:gd name="connsiteX1228" fmla="*/ 458007 w 491582"/>
                    <a:gd name="connsiteY1228" fmla="*/ 522073 h 866556"/>
                    <a:gd name="connsiteX1229" fmla="*/ 466677 w 491582"/>
                    <a:gd name="connsiteY1229" fmla="*/ 503932 h 866556"/>
                    <a:gd name="connsiteX1230" fmla="*/ 466957 w 491582"/>
                    <a:gd name="connsiteY1230" fmla="*/ 503337 h 866556"/>
                    <a:gd name="connsiteX1231" fmla="*/ 467102 w 491582"/>
                    <a:gd name="connsiteY1231" fmla="*/ 502693 h 866556"/>
                    <a:gd name="connsiteX1232" fmla="*/ 467904 w 491582"/>
                    <a:gd name="connsiteY1232" fmla="*/ 499257 h 866556"/>
                    <a:gd name="connsiteX1233" fmla="*/ 468062 w 491582"/>
                    <a:gd name="connsiteY1233" fmla="*/ 498565 h 866556"/>
                    <a:gd name="connsiteX1234" fmla="*/ 468062 w 491582"/>
                    <a:gd name="connsiteY1234" fmla="*/ 497860 h 866556"/>
                    <a:gd name="connsiteX1235" fmla="*/ 468062 w 491582"/>
                    <a:gd name="connsiteY1235" fmla="*/ 495760 h 866556"/>
                    <a:gd name="connsiteX1236" fmla="*/ 468062 w 491582"/>
                    <a:gd name="connsiteY1236" fmla="*/ 494897 h 866556"/>
                    <a:gd name="connsiteX1237" fmla="*/ 467819 w 491582"/>
                    <a:gd name="connsiteY1237" fmla="*/ 494059 h 866556"/>
                    <a:gd name="connsiteX1238" fmla="*/ 467418 w 491582"/>
                    <a:gd name="connsiteY1238" fmla="*/ 492688 h 866556"/>
                    <a:gd name="connsiteX1239" fmla="*/ 466993 w 491582"/>
                    <a:gd name="connsiteY1239" fmla="*/ 491242 h 866556"/>
                    <a:gd name="connsiteX1240" fmla="*/ 465937 w 491582"/>
                    <a:gd name="connsiteY1240" fmla="*/ 490150 h 866556"/>
                    <a:gd name="connsiteX1241" fmla="*/ 465184 w 491582"/>
                    <a:gd name="connsiteY1241" fmla="*/ 489385 h 866556"/>
                    <a:gd name="connsiteX1242" fmla="*/ 464710 w 491582"/>
                    <a:gd name="connsiteY1242" fmla="*/ 488911 h 866556"/>
                    <a:gd name="connsiteX1243" fmla="*/ 464152 w 491582"/>
                    <a:gd name="connsiteY1243" fmla="*/ 488547 h 866556"/>
                    <a:gd name="connsiteX1244" fmla="*/ 462804 w 491582"/>
                    <a:gd name="connsiteY1244" fmla="*/ 487672 h 866556"/>
                    <a:gd name="connsiteX1245" fmla="*/ 462731 w 491582"/>
                    <a:gd name="connsiteY1245" fmla="*/ 487563 h 866556"/>
                    <a:gd name="connsiteX1246" fmla="*/ 462221 w 491582"/>
                    <a:gd name="connsiteY1246" fmla="*/ 486385 h 866556"/>
                    <a:gd name="connsiteX1247" fmla="*/ 462015 w 491582"/>
                    <a:gd name="connsiteY1247" fmla="*/ 483544 h 866556"/>
                    <a:gd name="connsiteX1248" fmla="*/ 461978 w 491582"/>
                    <a:gd name="connsiteY1248" fmla="*/ 482925 h 866556"/>
                    <a:gd name="connsiteX1249" fmla="*/ 461808 w 491582"/>
                    <a:gd name="connsiteY1249" fmla="*/ 482318 h 866556"/>
                    <a:gd name="connsiteX1250" fmla="*/ 460776 w 491582"/>
                    <a:gd name="connsiteY1250" fmla="*/ 478674 h 866556"/>
                    <a:gd name="connsiteX1251" fmla="*/ 460497 w 491582"/>
                    <a:gd name="connsiteY1251" fmla="*/ 477679 h 866556"/>
                    <a:gd name="connsiteX1252" fmla="*/ 459902 w 491582"/>
                    <a:gd name="connsiteY1252" fmla="*/ 476841 h 866556"/>
                    <a:gd name="connsiteX1253" fmla="*/ 458639 w 491582"/>
                    <a:gd name="connsiteY1253" fmla="*/ 475056 h 866556"/>
                    <a:gd name="connsiteX1254" fmla="*/ 454571 w 491582"/>
                    <a:gd name="connsiteY1254" fmla="*/ 467940 h 866556"/>
                    <a:gd name="connsiteX1255" fmla="*/ 454352 w 491582"/>
                    <a:gd name="connsiteY1255" fmla="*/ 467564 h 866556"/>
                    <a:gd name="connsiteX1256" fmla="*/ 454085 w 491582"/>
                    <a:gd name="connsiteY1256" fmla="*/ 467224 h 866556"/>
                    <a:gd name="connsiteX1257" fmla="*/ 453381 w 491582"/>
                    <a:gd name="connsiteY1257" fmla="*/ 466337 h 866556"/>
                    <a:gd name="connsiteX1258" fmla="*/ 452944 w 491582"/>
                    <a:gd name="connsiteY1258" fmla="*/ 465791 h 866556"/>
                    <a:gd name="connsiteX1259" fmla="*/ 452397 w 491582"/>
                    <a:gd name="connsiteY1259" fmla="*/ 465354 h 866556"/>
                    <a:gd name="connsiteX1260" fmla="*/ 449362 w 491582"/>
                    <a:gd name="connsiteY1260" fmla="*/ 462937 h 866556"/>
                    <a:gd name="connsiteX1261" fmla="*/ 446933 w 491582"/>
                    <a:gd name="connsiteY1261" fmla="*/ 460994 h 866556"/>
                    <a:gd name="connsiteX1262" fmla="*/ 443934 w 491582"/>
                    <a:gd name="connsiteY1262" fmla="*/ 461832 h 866556"/>
                    <a:gd name="connsiteX1263" fmla="*/ 439514 w 491582"/>
                    <a:gd name="connsiteY1263" fmla="*/ 463083 h 866556"/>
                    <a:gd name="connsiteX1264" fmla="*/ 438846 w 491582"/>
                    <a:gd name="connsiteY1264" fmla="*/ 463277 h 866556"/>
                    <a:gd name="connsiteX1265" fmla="*/ 438239 w 491582"/>
                    <a:gd name="connsiteY1265" fmla="*/ 463605 h 866556"/>
                    <a:gd name="connsiteX1266" fmla="*/ 431912 w 491582"/>
                    <a:gd name="connsiteY1266" fmla="*/ 467078 h 866556"/>
                    <a:gd name="connsiteX1267" fmla="*/ 424056 w 491582"/>
                    <a:gd name="connsiteY1267" fmla="*/ 469859 h 866556"/>
                    <a:gd name="connsiteX1268" fmla="*/ 423704 w 491582"/>
                    <a:gd name="connsiteY1268" fmla="*/ 469992 h 866556"/>
                    <a:gd name="connsiteX1269" fmla="*/ 423376 w 491582"/>
                    <a:gd name="connsiteY1269" fmla="*/ 470162 h 866556"/>
                    <a:gd name="connsiteX1270" fmla="*/ 421020 w 491582"/>
                    <a:gd name="connsiteY1270" fmla="*/ 471340 h 866556"/>
                    <a:gd name="connsiteX1271" fmla="*/ 420668 w 491582"/>
                    <a:gd name="connsiteY1271" fmla="*/ 471522 h 866556"/>
                    <a:gd name="connsiteX1272" fmla="*/ 420340 w 491582"/>
                    <a:gd name="connsiteY1272" fmla="*/ 471741 h 866556"/>
                    <a:gd name="connsiteX1273" fmla="*/ 418385 w 491582"/>
                    <a:gd name="connsiteY1273" fmla="*/ 473052 h 866556"/>
                    <a:gd name="connsiteX1274" fmla="*/ 417960 w 491582"/>
                    <a:gd name="connsiteY1274" fmla="*/ 473331 h 866556"/>
                    <a:gd name="connsiteX1275" fmla="*/ 417596 w 491582"/>
                    <a:gd name="connsiteY1275" fmla="*/ 473672 h 866556"/>
                    <a:gd name="connsiteX1276" fmla="*/ 409654 w 491582"/>
                    <a:gd name="connsiteY1276" fmla="*/ 481212 h 866556"/>
                    <a:gd name="connsiteX1277" fmla="*/ 404202 w 491582"/>
                    <a:gd name="connsiteY1277" fmla="*/ 485038 h 866556"/>
                    <a:gd name="connsiteX1278" fmla="*/ 402806 w 491582"/>
                    <a:gd name="connsiteY1278" fmla="*/ 485608 h 866556"/>
                    <a:gd name="connsiteX1279" fmla="*/ 401749 w 491582"/>
                    <a:gd name="connsiteY1279" fmla="*/ 485025 h 866556"/>
                    <a:gd name="connsiteX1280" fmla="*/ 401263 w 491582"/>
                    <a:gd name="connsiteY1280" fmla="*/ 484758 h 866556"/>
                    <a:gd name="connsiteX1281" fmla="*/ 400729 w 491582"/>
                    <a:gd name="connsiteY1281" fmla="*/ 484576 h 866556"/>
                    <a:gd name="connsiteX1282" fmla="*/ 399697 w 491582"/>
                    <a:gd name="connsiteY1282" fmla="*/ 484236 h 866556"/>
                    <a:gd name="connsiteX1283" fmla="*/ 398556 w 491582"/>
                    <a:gd name="connsiteY1283" fmla="*/ 483945 h 866556"/>
                    <a:gd name="connsiteX1284" fmla="*/ 397718 w 491582"/>
                    <a:gd name="connsiteY1284" fmla="*/ 483167 h 866556"/>
                    <a:gd name="connsiteX1285" fmla="*/ 394136 w 491582"/>
                    <a:gd name="connsiteY1285" fmla="*/ 479063 h 866556"/>
                    <a:gd name="connsiteX1286" fmla="*/ 391537 w 491582"/>
                    <a:gd name="connsiteY1286" fmla="*/ 476537 h 866556"/>
                    <a:gd name="connsiteX1287" fmla="*/ 391306 w 491582"/>
                    <a:gd name="connsiteY1287" fmla="*/ 476307 h 866556"/>
                    <a:gd name="connsiteX1288" fmla="*/ 391051 w 491582"/>
                    <a:gd name="connsiteY1288" fmla="*/ 476112 h 866556"/>
                    <a:gd name="connsiteX1289" fmla="*/ 388865 w 491582"/>
                    <a:gd name="connsiteY1289" fmla="*/ 474412 h 866556"/>
                    <a:gd name="connsiteX1290" fmla="*/ 385320 w 491582"/>
                    <a:gd name="connsiteY1290" fmla="*/ 472129 h 866556"/>
                    <a:gd name="connsiteX1291" fmla="*/ 385295 w 491582"/>
                    <a:gd name="connsiteY1291" fmla="*/ 471219 h 866556"/>
                    <a:gd name="connsiteX1292" fmla="*/ 385781 w 491582"/>
                    <a:gd name="connsiteY1292" fmla="*/ 466520 h 866556"/>
                    <a:gd name="connsiteX1293" fmla="*/ 385866 w 491582"/>
                    <a:gd name="connsiteY1293" fmla="*/ 465621 h 866556"/>
                    <a:gd name="connsiteX1294" fmla="*/ 385684 w 491582"/>
                    <a:gd name="connsiteY1294" fmla="*/ 464722 h 866556"/>
                    <a:gd name="connsiteX1295" fmla="*/ 385223 w 491582"/>
                    <a:gd name="connsiteY1295" fmla="*/ 462403 h 866556"/>
                    <a:gd name="connsiteX1296" fmla="*/ 385053 w 491582"/>
                    <a:gd name="connsiteY1296" fmla="*/ 461577 h 866556"/>
                    <a:gd name="connsiteX1297" fmla="*/ 384664 w 491582"/>
                    <a:gd name="connsiteY1297" fmla="*/ 460824 h 866556"/>
                    <a:gd name="connsiteX1298" fmla="*/ 383511 w 491582"/>
                    <a:gd name="connsiteY1298" fmla="*/ 458578 h 866556"/>
                    <a:gd name="connsiteX1299" fmla="*/ 383316 w 491582"/>
                    <a:gd name="connsiteY1299" fmla="*/ 458214 h 866556"/>
                    <a:gd name="connsiteX1300" fmla="*/ 383073 w 491582"/>
                    <a:gd name="connsiteY1300" fmla="*/ 457886 h 866556"/>
                    <a:gd name="connsiteX1301" fmla="*/ 380705 w 491582"/>
                    <a:gd name="connsiteY1301" fmla="*/ 454498 h 866556"/>
                    <a:gd name="connsiteX1302" fmla="*/ 380280 w 491582"/>
                    <a:gd name="connsiteY1302" fmla="*/ 453539 h 866556"/>
                    <a:gd name="connsiteX1303" fmla="*/ 379989 w 491582"/>
                    <a:gd name="connsiteY1303" fmla="*/ 452470 h 866556"/>
                    <a:gd name="connsiteX1304" fmla="*/ 379831 w 491582"/>
                    <a:gd name="connsiteY1304" fmla="*/ 451304 h 866556"/>
                    <a:gd name="connsiteX1305" fmla="*/ 380256 w 491582"/>
                    <a:gd name="connsiteY1305" fmla="*/ 446945 h 866556"/>
                    <a:gd name="connsiteX1306" fmla="*/ 381701 w 491582"/>
                    <a:gd name="connsiteY1306" fmla="*/ 443642 h 866556"/>
                    <a:gd name="connsiteX1307" fmla="*/ 382053 w 491582"/>
                    <a:gd name="connsiteY1307" fmla="*/ 442841 h 866556"/>
                    <a:gd name="connsiteX1308" fmla="*/ 382163 w 491582"/>
                    <a:gd name="connsiteY1308" fmla="*/ 441967 h 866556"/>
                    <a:gd name="connsiteX1309" fmla="*/ 382223 w 491582"/>
                    <a:gd name="connsiteY1309" fmla="*/ 441469 h 866556"/>
                    <a:gd name="connsiteX1310" fmla="*/ 382284 w 491582"/>
                    <a:gd name="connsiteY1310" fmla="*/ 441214 h 866556"/>
                    <a:gd name="connsiteX1311" fmla="*/ 382442 w 491582"/>
                    <a:gd name="connsiteY1311" fmla="*/ 440655 h 866556"/>
                    <a:gd name="connsiteX1312" fmla="*/ 382478 w 491582"/>
                    <a:gd name="connsiteY1312" fmla="*/ 440072 h 866556"/>
                    <a:gd name="connsiteX1313" fmla="*/ 383183 w 491582"/>
                    <a:gd name="connsiteY1313" fmla="*/ 430176 h 866556"/>
                    <a:gd name="connsiteX1314" fmla="*/ 383207 w 491582"/>
                    <a:gd name="connsiteY1314" fmla="*/ 429763 h 866556"/>
                    <a:gd name="connsiteX1315" fmla="*/ 383183 w 491582"/>
                    <a:gd name="connsiteY1315" fmla="*/ 429350 h 866556"/>
                    <a:gd name="connsiteX1316" fmla="*/ 382272 w 491582"/>
                    <a:gd name="connsiteY1316" fmla="*/ 415835 h 866556"/>
                    <a:gd name="connsiteX1317" fmla="*/ 383292 w 491582"/>
                    <a:gd name="connsiteY1317" fmla="*/ 415580 h 866556"/>
                    <a:gd name="connsiteX1318" fmla="*/ 383948 w 491582"/>
                    <a:gd name="connsiteY1318" fmla="*/ 415398 h 866556"/>
                    <a:gd name="connsiteX1319" fmla="*/ 384555 w 491582"/>
                    <a:gd name="connsiteY1319" fmla="*/ 415094 h 866556"/>
                    <a:gd name="connsiteX1320" fmla="*/ 386850 w 491582"/>
                    <a:gd name="connsiteY1320" fmla="*/ 413904 h 866556"/>
                    <a:gd name="connsiteX1321" fmla="*/ 388003 w 491582"/>
                    <a:gd name="connsiteY1321" fmla="*/ 413309 h 866556"/>
                    <a:gd name="connsiteX1322" fmla="*/ 388817 w 491582"/>
                    <a:gd name="connsiteY1322" fmla="*/ 412289 h 866556"/>
                    <a:gd name="connsiteX1323" fmla="*/ 391063 w 491582"/>
                    <a:gd name="connsiteY1323" fmla="*/ 409484 h 866556"/>
                    <a:gd name="connsiteX1324" fmla="*/ 392011 w 491582"/>
                    <a:gd name="connsiteY1324" fmla="*/ 408294 h 866556"/>
                    <a:gd name="connsiteX1325" fmla="*/ 392278 w 491582"/>
                    <a:gd name="connsiteY1325" fmla="*/ 406788 h 866556"/>
                    <a:gd name="connsiteX1326" fmla="*/ 392788 w 491582"/>
                    <a:gd name="connsiteY1326" fmla="*/ 404008 h 866556"/>
                    <a:gd name="connsiteX1327" fmla="*/ 392885 w 491582"/>
                    <a:gd name="connsiteY1327" fmla="*/ 403486 h 866556"/>
                    <a:gd name="connsiteX1328" fmla="*/ 392885 w 491582"/>
                    <a:gd name="connsiteY1328" fmla="*/ 402963 h 866556"/>
                    <a:gd name="connsiteX1329" fmla="*/ 392933 w 491582"/>
                    <a:gd name="connsiteY1329" fmla="*/ 396515 h 866556"/>
                    <a:gd name="connsiteX1330" fmla="*/ 393225 w 491582"/>
                    <a:gd name="connsiteY1330" fmla="*/ 395168 h 866556"/>
                    <a:gd name="connsiteX1331" fmla="*/ 394184 w 491582"/>
                    <a:gd name="connsiteY1331" fmla="*/ 392496 h 866556"/>
                    <a:gd name="connsiteX1332" fmla="*/ 394342 w 491582"/>
                    <a:gd name="connsiteY1332" fmla="*/ 392059 h 866556"/>
                    <a:gd name="connsiteX1333" fmla="*/ 394427 w 491582"/>
                    <a:gd name="connsiteY1333" fmla="*/ 391598 h 866556"/>
                    <a:gd name="connsiteX1334" fmla="*/ 394816 w 491582"/>
                    <a:gd name="connsiteY1334" fmla="*/ 389582 h 866556"/>
                    <a:gd name="connsiteX1335" fmla="*/ 394913 w 491582"/>
                    <a:gd name="connsiteY1335" fmla="*/ 389096 h 866556"/>
                    <a:gd name="connsiteX1336" fmla="*/ 394925 w 491582"/>
                    <a:gd name="connsiteY1336" fmla="*/ 388598 h 866556"/>
                    <a:gd name="connsiteX1337" fmla="*/ 394986 w 491582"/>
                    <a:gd name="connsiteY1337" fmla="*/ 386631 h 866556"/>
                    <a:gd name="connsiteX1338" fmla="*/ 394998 w 491582"/>
                    <a:gd name="connsiteY1338" fmla="*/ 385866 h 866556"/>
                    <a:gd name="connsiteX1339" fmla="*/ 394828 w 491582"/>
                    <a:gd name="connsiteY1339" fmla="*/ 385113 h 866556"/>
                    <a:gd name="connsiteX1340" fmla="*/ 394318 w 491582"/>
                    <a:gd name="connsiteY1340" fmla="*/ 382867 h 866556"/>
                    <a:gd name="connsiteX1341" fmla="*/ 394111 w 491582"/>
                    <a:gd name="connsiteY1341" fmla="*/ 381968 h 866556"/>
                    <a:gd name="connsiteX1342" fmla="*/ 393638 w 491582"/>
                    <a:gd name="connsiteY1342" fmla="*/ 381167 h 866556"/>
                    <a:gd name="connsiteX1343" fmla="*/ 393006 w 491582"/>
                    <a:gd name="connsiteY1343" fmla="*/ 380098 h 866556"/>
                    <a:gd name="connsiteX1344" fmla="*/ 392290 w 491582"/>
                    <a:gd name="connsiteY1344" fmla="*/ 378859 h 866556"/>
                    <a:gd name="connsiteX1345" fmla="*/ 391100 w 491582"/>
                    <a:gd name="connsiteY1345" fmla="*/ 378095 h 866556"/>
                    <a:gd name="connsiteX1346" fmla="*/ 390055 w 491582"/>
                    <a:gd name="connsiteY1346" fmla="*/ 377402 h 866556"/>
                    <a:gd name="connsiteX1347" fmla="*/ 389388 w 491582"/>
                    <a:gd name="connsiteY1347" fmla="*/ 376965 h 866556"/>
                    <a:gd name="connsiteX1348" fmla="*/ 388635 w 491582"/>
                    <a:gd name="connsiteY1348" fmla="*/ 376710 h 866556"/>
                    <a:gd name="connsiteX1349" fmla="*/ 387700 w 491582"/>
                    <a:gd name="connsiteY1349" fmla="*/ 376394 h 866556"/>
                    <a:gd name="connsiteX1350" fmla="*/ 387263 w 491582"/>
                    <a:gd name="connsiteY1350" fmla="*/ 376152 h 866556"/>
                    <a:gd name="connsiteX1351" fmla="*/ 386923 w 491582"/>
                    <a:gd name="connsiteY1351" fmla="*/ 375860 h 866556"/>
                    <a:gd name="connsiteX1352" fmla="*/ 386449 w 491582"/>
                    <a:gd name="connsiteY1352" fmla="*/ 375095 h 866556"/>
                    <a:gd name="connsiteX1353" fmla="*/ 385878 w 491582"/>
                    <a:gd name="connsiteY1353" fmla="*/ 373711 h 866556"/>
                    <a:gd name="connsiteX1354" fmla="*/ 385162 w 491582"/>
                    <a:gd name="connsiteY1354" fmla="*/ 371270 h 866556"/>
                    <a:gd name="connsiteX1355" fmla="*/ 385065 w 491582"/>
                    <a:gd name="connsiteY1355" fmla="*/ 370967 h 866556"/>
                    <a:gd name="connsiteX1356" fmla="*/ 384931 w 491582"/>
                    <a:gd name="connsiteY1356" fmla="*/ 370663 h 866556"/>
                    <a:gd name="connsiteX1357" fmla="*/ 384069 w 491582"/>
                    <a:gd name="connsiteY1357" fmla="*/ 368659 h 866556"/>
                    <a:gd name="connsiteX1358" fmla="*/ 383863 w 491582"/>
                    <a:gd name="connsiteY1358" fmla="*/ 368174 h 866556"/>
                    <a:gd name="connsiteX1359" fmla="*/ 383571 w 491582"/>
                    <a:gd name="connsiteY1359" fmla="*/ 367737 h 866556"/>
                    <a:gd name="connsiteX1360" fmla="*/ 382539 w 491582"/>
                    <a:gd name="connsiteY1360" fmla="*/ 366158 h 866556"/>
                    <a:gd name="connsiteX1361" fmla="*/ 381920 w 491582"/>
                    <a:gd name="connsiteY1361" fmla="*/ 365211 h 866556"/>
                    <a:gd name="connsiteX1362" fmla="*/ 381009 w 491582"/>
                    <a:gd name="connsiteY1362" fmla="*/ 364555 h 866556"/>
                    <a:gd name="connsiteX1363" fmla="*/ 379333 w 491582"/>
                    <a:gd name="connsiteY1363" fmla="*/ 363341 h 866556"/>
                    <a:gd name="connsiteX1364" fmla="*/ 378860 w 491582"/>
                    <a:gd name="connsiteY1364" fmla="*/ 363001 h 866556"/>
                    <a:gd name="connsiteX1365" fmla="*/ 378338 w 491582"/>
                    <a:gd name="connsiteY1365" fmla="*/ 362758 h 866556"/>
                    <a:gd name="connsiteX1366" fmla="*/ 368805 w 491582"/>
                    <a:gd name="connsiteY1366" fmla="*/ 358338 h 866556"/>
                    <a:gd name="connsiteX1367" fmla="*/ 368417 w 491582"/>
                    <a:gd name="connsiteY1367" fmla="*/ 358144 h 866556"/>
                    <a:gd name="connsiteX1368" fmla="*/ 368004 w 491582"/>
                    <a:gd name="connsiteY1368" fmla="*/ 358022 h 866556"/>
                    <a:gd name="connsiteX1369" fmla="*/ 359225 w 491582"/>
                    <a:gd name="connsiteY1369" fmla="*/ 355363 h 866556"/>
                    <a:gd name="connsiteX1370" fmla="*/ 357415 w 491582"/>
                    <a:gd name="connsiteY1370" fmla="*/ 354440 h 866556"/>
                    <a:gd name="connsiteX1371" fmla="*/ 356274 w 491582"/>
                    <a:gd name="connsiteY1371" fmla="*/ 353481 h 866556"/>
                    <a:gd name="connsiteX1372" fmla="*/ 354817 w 491582"/>
                    <a:gd name="connsiteY1372" fmla="*/ 350834 h 866556"/>
                    <a:gd name="connsiteX1373" fmla="*/ 354307 w 491582"/>
                    <a:gd name="connsiteY1373" fmla="*/ 348600 h 866556"/>
                    <a:gd name="connsiteX1374" fmla="*/ 354209 w 491582"/>
                    <a:gd name="connsiteY1374" fmla="*/ 347021 h 866556"/>
                    <a:gd name="connsiteX1375" fmla="*/ 354452 w 491582"/>
                    <a:gd name="connsiteY1375" fmla="*/ 345430 h 866556"/>
                    <a:gd name="connsiteX1376" fmla="*/ 354975 w 491582"/>
                    <a:gd name="connsiteY1376" fmla="*/ 343523 h 866556"/>
                    <a:gd name="connsiteX1377" fmla="*/ 355108 w 491582"/>
                    <a:gd name="connsiteY1377" fmla="*/ 343244 h 866556"/>
                    <a:gd name="connsiteX1378" fmla="*/ 357816 w 491582"/>
                    <a:gd name="connsiteY1378" fmla="*/ 344483 h 866556"/>
                    <a:gd name="connsiteX1379" fmla="*/ 358569 w 491582"/>
                    <a:gd name="connsiteY1379" fmla="*/ 344835 h 866556"/>
                    <a:gd name="connsiteX1380" fmla="*/ 359383 w 491582"/>
                    <a:gd name="connsiteY1380" fmla="*/ 344969 h 866556"/>
                    <a:gd name="connsiteX1381" fmla="*/ 361046 w 491582"/>
                    <a:gd name="connsiteY1381" fmla="*/ 345224 h 866556"/>
                    <a:gd name="connsiteX1382" fmla="*/ 362333 w 491582"/>
                    <a:gd name="connsiteY1382" fmla="*/ 345430 h 866556"/>
                    <a:gd name="connsiteX1383" fmla="*/ 363596 w 491582"/>
                    <a:gd name="connsiteY1383" fmla="*/ 345090 h 866556"/>
                    <a:gd name="connsiteX1384" fmla="*/ 365332 w 491582"/>
                    <a:gd name="connsiteY1384" fmla="*/ 344617 h 866556"/>
                    <a:gd name="connsiteX1385" fmla="*/ 366437 w 491582"/>
                    <a:gd name="connsiteY1385" fmla="*/ 344313 h 866556"/>
                    <a:gd name="connsiteX1386" fmla="*/ 367360 w 491582"/>
                    <a:gd name="connsiteY1386" fmla="*/ 343621 h 866556"/>
                    <a:gd name="connsiteX1387" fmla="*/ 368672 w 491582"/>
                    <a:gd name="connsiteY1387" fmla="*/ 342637 h 866556"/>
                    <a:gd name="connsiteX1388" fmla="*/ 369789 w 491582"/>
                    <a:gd name="connsiteY1388" fmla="*/ 341811 h 866556"/>
                    <a:gd name="connsiteX1389" fmla="*/ 370432 w 491582"/>
                    <a:gd name="connsiteY1389" fmla="*/ 340561 h 866556"/>
                    <a:gd name="connsiteX1390" fmla="*/ 371368 w 491582"/>
                    <a:gd name="connsiteY1390" fmla="*/ 338763 h 866556"/>
                    <a:gd name="connsiteX1391" fmla="*/ 372363 w 491582"/>
                    <a:gd name="connsiteY1391" fmla="*/ 336845 h 866556"/>
                    <a:gd name="connsiteX1392" fmla="*/ 371914 w 491582"/>
                    <a:gd name="connsiteY1392" fmla="*/ 334732 h 866556"/>
                    <a:gd name="connsiteX1393" fmla="*/ 371671 w 491582"/>
                    <a:gd name="connsiteY1393" fmla="*/ 333567 h 866556"/>
                    <a:gd name="connsiteX1394" fmla="*/ 371283 w 491582"/>
                    <a:gd name="connsiteY1394" fmla="*/ 331684 h 866556"/>
                    <a:gd name="connsiteX1395" fmla="*/ 369862 w 491582"/>
                    <a:gd name="connsiteY1395" fmla="*/ 330373 h 866556"/>
                    <a:gd name="connsiteX1396" fmla="*/ 368939 w 491582"/>
                    <a:gd name="connsiteY1396" fmla="*/ 329523 h 866556"/>
                    <a:gd name="connsiteX1397" fmla="*/ 368271 w 491582"/>
                    <a:gd name="connsiteY1397" fmla="*/ 328891 h 866556"/>
                    <a:gd name="connsiteX1398" fmla="*/ 367445 w 491582"/>
                    <a:gd name="connsiteY1398" fmla="*/ 328503 h 866556"/>
                    <a:gd name="connsiteX1399" fmla="*/ 367287 w 491582"/>
                    <a:gd name="connsiteY1399" fmla="*/ 328418 h 866556"/>
                    <a:gd name="connsiteX1400" fmla="*/ 366947 w 491582"/>
                    <a:gd name="connsiteY1400" fmla="*/ 328005 h 866556"/>
                    <a:gd name="connsiteX1401" fmla="*/ 365927 w 491582"/>
                    <a:gd name="connsiteY1401" fmla="*/ 325977 h 866556"/>
                    <a:gd name="connsiteX1402" fmla="*/ 364009 w 491582"/>
                    <a:gd name="connsiteY1402" fmla="*/ 319820 h 866556"/>
                    <a:gd name="connsiteX1403" fmla="*/ 362515 w 491582"/>
                    <a:gd name="connsiteY1403" fmla="*/ 316105 h 866556"/>
                    <a:gd name="connsiteX1404" fmla="*/ 362200 w 491582"/>
                    <a:gd name="connsiteY1404" fmla="*/ 315328 h 866556"/>
                    <a:gd name="connsiteX1405" fmla="*/ 361690 w 491582"/>
                    <a:gd name="connsiteY1405" fmla="*/ 314660 h 866556"/>
                    <a:gd name="connsiteX1406" fmla="*/ 360014 w 491582"/>
                    <a:gd name="connsiteY1406" fmla="*/ 312511 h 866556"/>
                    <a:gd name="connsiteX1407" fmla="*/ 359480 w 491582"/>
                    <a:gd name="connsiteY1407" fmla="*/ 311818 h 866556"/>
                    <a:gd name="connsiteX1408" fmla="*/ 358763 w 491582"/>
                    <a:gd name="connsiteY1408" fmla="*/ 311308 h 866556"/>
                    <a:gd name="connsiteX1409" fmla="*/ 357622 w 491582"/>
                    <a:gd name="connsiteY1409" fmla="*/ 310495 h 866556"/>
                    <a:gd name="connsiteX1410" fmla="*/ 357476 w 491582"/>
                    <a:gd name="connsiteY1410" fmla="*/ 310349 h 866556"/>
                    <a:gd name="connsiteX1411" fmla="*/ 357852 w 491582"/>
                    <a:gd name="connsiteY1411" fmla="*/ 309681 h 866556"/>
                    <a:gd name="connsiteX1412" fmla="*/ 358035 w 491582"/>
                    <a:gd name="connsiteY1412" fmla="*/ 309366 h 866556"/>
                    <a:gd name="connsiteX1413" fmla="*/ 358180 w 491582"/>
                    <a:gd name="connsiteY1413" fmla="*/ 309038 h 866556"/>
                    <a:gd name="connsiteX1414" fmla="*/ 359152 w 491582"/>
                    <a:gd name="connsiteY1414" fmla="*/ 306719 h 866556"/>
                    <a:gd name="connsiteX1415" fmla="*/ 359455 w 491582"/>
                    <a:gd name="connsiteY1415" fmla="*/ 305966 h 866556"/>
                    <a:gd name="connsiteX1416" fmla="*/ 359565 w 491582"/>
                    <a:gd name="connsiteY1416" fmla="*/ 305176 h 866556"/>
                    <a:gd name="connsiteX1417" fmla="*/ 360026 w 491582"/>
                    <a:gd name="connsiteY1417" fmla="*/ 301728 h 866556"/>
                    <a:gd name="connsiteX1418" fmla="*/ 360147 w 491582"/>
                    <a:gd name="connsiteY1418" fmla="*/ 300853 h 866556"/>
                    <a:gd name="connsiteX1419" fmla="*/ 360002 w 491582"/>
                    <a:gd name="connsiteY1419" fmla="*/ 299967 h 866556"/>
                    <a:gd name="connsiteX1420" fmla="*/ 359783 w 491582"/>
                    <a:gd name="connsiteY1420" fmla="*/ 298595 h 866556"/>
                    <a:gd name="connsiteX1421" fmla="*/ 359273 w 491582"/>
                    <a:gd name="connsiteY1421" fmla="*/ 295365 h 866556"/>
                    <a:gd name="connsiteX1422" fmla="*/ 356298 w 491582"/>
                    <a:gd name="connsiteY1422" fmla="*/ 294029 h 866556"/>
                    <a:gd name="connsiteX1423" fmla="*/ 355484 w 491582"/>
                    <a:gd name="connsiteY1423" fmla="*/ 293665 h 866556"/>
                    <a:gd name="connsiteX1424" fmla="*/ 352849 w 491582"/>
                    <a:gd name="connsiteY1424" fmla="*/ 292463 h 866556"/>
                    <a:gd name="connsiteX1425" fmla="*/ 350263 w 491582"/>
                    <a:gd name="connsiteY1425" fmla="*/ 293750 h 866556"/>
                    <a:gd name="connsiteX1426" fmla="*/ 348891 w 491582"/>
                    <a:gd name="connsiteY1426" fmla="*/ 294442 h 866556"/>
                    <a:gd name="connsiteX1427" fmla="*/ 348429 w 491582"/>
                    <a:gd name="connsiteY1427" fmla="*/ 294685 h 866556"/>
                    <a:gd name="connsiteX1428" fmla="*/ 348004 w 491582"/>
                    <a:gd name="connsiteY1428" fmla="*/ 295001 h 866556"/>
                    <a:gd name="connsiteX1429" fmla="*/ 342989 w 491582"/>
                    <a:gd name="connsiteY1429" fmla="*/ 298704 h 866556"/>
                    <a:gd name="connsiteX1430" fmla="*/ 342832 w 491582"/>
                    <a:gd name="connsiteY1430" fmla="*/ 298789 h 866556"/>
                    <a:gd name="connsiteX1431" fmla="*/ 341387 w 491582"/>
                    <a:gd name="connsiteY1431" fmla="*/ 299117 h 866556"/>
                    <a:gd name="connsiteX1432" fmla="*/ 329232 w 491582"/>
                    <a:gd name="connsiteY1432" fmla="*/ 299761 h 866556"/>
                    <a:gd name="connsiteX1433" fmla="*/ 328782 w 491582"/>
                    <a:gd name="connsiteY1433" fmla="*/ 299785 h 866556"/>
                    <a:gd name="connsiteX1434" fmla="*/ 328345 w 491582"/>
                    <a:gd name="connsiteY1434" fmla="*/ 299870 h 866556"/>
                    <a:gd name="connsiteX1435" fmla="*/ 324569 w 491582"/>
                    <a:gd name="connsiteY1435" fmla="*/ 300635 h 866556"/>
                    <a:gd name="connsiteX1436" fmla="*/ 324180 w 491582"/>
                    <a:gd name="connsiteY1436" fmla="*/ 300635 h 866556"/>
                    <a:gd name="connsiteX1437" fmla="*/ 323609 w 491582"/>
                    <a:gd name="connsiteY1437" fmla="*/ 300489 h 866556"/>
                    <a:gd name="connsiteX1438" fmla="*/ 319469 w 491582"/>
                    <a:gd name="connsiteY1438" fmla="*/ 298680 h 866556"/>
                    <a:gd name="connsiteX1439" fmla="*/ 319056 w 491582"/>
                    <a:gd name="connsiteY1439" fmla="*/ 298498 h 866556"/>
                    <a:gd name="connsiteX1440" fmla="*/ 318631 w 491582"/>
                    <a:gd name="connsiteY1440" fmla="*/ 298376 h 866556"/>
                    <a:gd name="connsiteX1441" fmla="*/ 317538 w 491582"/>
                    <a:gd name="connsiteY1441" fmla="*/ 298085 h 866556"/>
                    <a:gd name="connsiteX1442" fmla="*/ 316833 w 491582"/>
                    <a:gd name="connsiteY1442" fmla="*/ 297890 h 866556"/>
                    <a:gd name="connsiteX1443" fmla="*/ 316093 w 491582"/>
                    <a:gd name="connsiteY1443" fmla="*/ 297866 h 866556"/>
                    <a:gd name="connsiteX1444" fmla="*/ 315109 w 491582"/>
                    <a:gd name="connsiteY1444" fmla="*/ 297842 h 866556"/>
                    <a:gd name="connsiteX1445" fmla="*/ 314988 w 491582"/>
                    <a:gd name="connsiteY1445" fmla="*/ 297842 h 866556"/>
                    <a:gd name="connsiteX1446" fmla="*/ 325625 w 491582"/>
                    <a:gd name="connsiteY1446" fmla="*/ 290216 h 866556"/>
                    <a:gd name="connsiteX1447" fmla="*/ 327143 w 491582"/>
                    <a:gd name="connsiteY1447" fmla="*/ 289123 h 866556"/>
                    <a:gd name="connsiteX1448" fmla="*/ 327787 w 491582"/>
                    <a:gd name="connsiteY1448" fmla="*/ 287375 h 866556"/>
                    <a:gd name="connsiteX1449" fmla="*/ 329511 w 491582"/>
                    <a:gd name="connsiteY1449" fmla="*/ 282675 h 866556"/>
                    <a:gd name="connsiteX1450" fmla="*/ 331308 w 491582"/>
                    <a:gd name="connsiteY1450" fmla="*/ 277770 h 866556"/>
                    <a:gd name="connsiteX1451" fmla="*/ 326730 w 491582"/>
                    <a:gd name="connsiteY1451" fmla="*/ 275256 h 866556"/>
                    <a:gd name="connsiteX1452" fmla="*/ 323184 w 491582"/>
                    <a:gd name="connsiteY1452" fmla="*/ 273313 h 866556"/>
                    <a:gd name="connsiteX1453" fmla="*/ 320003 w 491582"/>
                    <a:gd name="connsiteY1453" fmla="*/ 268395 h 866556"/>
                    <a:gd name="connsiteX1454" fmla="*/ 319456 w 491582"/>
                    <a:gd name="connsiteY1454" fmla="*/ 267545 h 866556"/>
                    <a:gd name="connsiteX1455" fmla="*/ 318655 w 491582"/>
                    <a:gd name="connsiteY1455" fmla="*/ 266914 h 866556"/>
                    <a:gd name="connsiteX1456" fmla="*/ 316761 w 491582"/>
                    <a:gd name="connsiteY1456" fmla="*/ 265432 h 866556"/>
                    <a:gd name="connsiteX1457" fmla="*/ 316190 w 491582"/>
                    <a:gd name="connsiteY1457" fmla="*/ 264983 h 866556"/>
                    <a:gd name="connsiteX1458" fmla="*/ 315522 w 491582"/>
                    <a:gd name="connsiteY1458" fmla="*/ 264692 h 866556"/>
                    <a:gd name="connsiteX1459" fmla="*/ 313166 w 491582"/>
                    <a:gd name="connsiteY1459" fmla="*/ 263623 h 866556"/>
                    <a:gd name="connsiteX1460" fmla="*/ 312753 w 491582"/>
                    <a:gd name="connsiteY1460" fmla="*/ 263429 h 866556"/>
                    <a:gd name="connsiteX1461" fmla="*/ 312316 w 491582"/>
                    <a:gd name="connsiteY1461" fmla="*/ 263295 h 866556"/>
                    <a:gd name="connsiteX1462" fmla="*/ 310191 w 491582"/>
                    <a:gd name="connsiteY1462" fmla="*/ 262688 h 866556"/>
                    <a:gd name="connsiteX1463" fmla="*/ 309013 w 491582"/>
                    <a:gd name="connsiteY1463" fmla="*/ 262227 h 866556"/>
                    <a:gd name="connsiteX1464" fmla="*/ 308273 w 491582"/>
                    <a:gd name="connsiteY1464" fmla="*/ 261692 h 866556"/>
                    <a:gd name="connsiteX1465" fmla="*/ 304715 w 491582"/>
                    <a:gd name="connsiteY1465" fmla="*/ 258353 h 866556"/>
                    <a:gd name="connsiteX1466" fmla="*/ 304120 w 491582"/>
                    <a:gd name="connsiteY1466" fmla="*/ 257782 h 866556"/>
                    <a:gd name="connsiteX1467" fmla="*/ 303391 w 491582"/>
                    <a:gd name="connsiteY1467" fmla="*/ 257394 h 866556"/>
                    <a:gd name="connsiteX1468" fmla="*/ 301558 w 491582"/>
                    <a:gd name="connsiteY1468" fmla="*/ 256422 h 866556"/>
                    <a:gd name="connsiteX1469" fmla="*/ 301060 w 491582"/>
                    <a:gd name="connsiteY1469" fmla="*/ 256167 h 866556"/>
                    <a:gd name="connsiteX1470" fmla="*/ 300538 w 491582"/>
                    <a:gd name="connsiteY1470" fmla="*/ 255997 h 866556"/>
                    <a:gd name="connsiteX1471" fmla="*/ 280211 w 491582"/>
                    <a:gd name="connsiteY1471" fmla="*/ 249622 h 866556"/>
                    <a:gd name="connsiteX1472" fmla="*/ 279846 w 491582"/>
                    <a:gd name="connsiteY1472" fmla="*/ 249501 h 866556"/>
                    <a:gd name="connsiteX1473" fmla="*/ 279470 w 491582"/>
                    <a:gd name="connsiteY1473" fmla="*/ 249428 h 866556"/>
                    <a:gd name="connsiteX1474" fmla="*/ 273204 w 491582"/>
                    <a:gd name="connsiteY1474" fmla="*/ 248299 h 866556"/>
                    <a:gd name="connsiteX1475" fmla="*/ 273070 w 491582"/>
                    <a:gd name="connsiteY1475" fmla="*/ 247680 h 866556"/>
                    <a:gd name="connsiteX1476" fmla="*/ 272694 w 491582"/>
                    <a:gd name="connsiteY1476" fmla="*/ 246247 h 866556"/>
                    <a:gd name="connsiteX1477" fmla="*/ 272573 w 491582"/>
                    <a:gd name="connsiteY1477" fmla="*/ 245809 h 866556"/>
                    <a:gd name="connsiteX1478" fmla="*/ 272390 w 491582"/>
                    <a:gd name="connsiteY1478" fmla="*/ 245409 h 866556"/>
                    <a:gd name="connsiteX1479" fmla="*/ 271990 w 491582"/>
                    <a:gd name="connsiteY1479" fmla="*/ 244498 h 866556"/>
                    <a:gd name="connsiteX1480" fmla="*/ 271492 w 491582"/>
                    <a:gd name="connsiteY1480" fmla="*/ 243563 h 866556"/>
                    <a:gd name="connsiteX1481" fmla="*/ 272111 w 491582"/>
                    <a:gd name="connsiteY1481" fmla="*/ 241778 h 866556"/>
                    <a:gd name="connsiteX1482" fmla="*/ 272366 w 491582"/>
                    <a:gd name="connsiteY1482" fmla="*/ 241025 h 866556"/>
                    <a:gd name="connsiteX1483" fmla="*/ 272415 w 491582"/>
                    <a:gd name="connsiteY1483" fmla="*/ 240248 h 866556"/>
                    <a:gd name="connsiteX1484" fmla="*/ 272524 w 491582"/>
                    <a:gd name="connsiteY1484" fmla="*/ 238779 h 866556"/>
                    <a:gd name="connsiteX1485" fmla="*/ 272609 w 491582"/>
                    <a:gd name="connsiteY1485" fmla="*/ 237698 h 866556"/>
                    <a:gd name="connsiteX1486" fmla="*/ 272585 w 491582"/>
                    <a:gd name="connsiteY1486" fmla="*/ 237637 h 866556"/>
                    <a:gd name="connsiteX1487" fmla="*/ 276094 w 491582"/>
                    <a:gd name="connsiteY1487" fmla="*/ 238888 h 866556"/>
                    <a:gd name="connsiteX1488" fmla="*/ 276968 w 491582"/>
                    <a:gd name="connsiteY1488" fmla="*/ 239204 h 866556"/>
                    <a:gd name="connsiteX1489" fmla="*/ 277903 w 491582"/>
                    <a:gd name="connsiteY1489" fmla="*/ 239240 h 866556"/>
                    <a:gd name="connsiteX1490" fmla="*/ 280951 w 491582"/>
                    <a:gd name="connsiteY1490" fmla="*/ 239362 h 866556"/>
                    <a:gd name="connsiteX1491" fmla="*/ 281680 w 491582"/>
                    <a:gd name="connsiteY1491" fmla="*/ 239386 h 866556"/>
                    <a:gd name="connsiteX1492" fmla="*/ 282396 w 491582"/>
                    <a:gd name="connsiteY1492" fmla="*/ 239240 h 866556"/>
                    <a:gd name="connsiteX1493" fmla="*/ 286816 w 491582"/>
                    <a:gd name="connsiteY1493" fmla="*/ 238354 h 866556"/>
                    <a:gd name="connsiteX1494" fmla="*/ 288115 w 491582"/>
                    <a:gd name="connsiteY1494" fmla="*/ 238099 h 866556"/>
                    <a:gd name="connsiteX1495" fmla="*/ 289184 w 491582"/>
                    <a:gd name="connsiteY1495" fmla="*/ 237334 h 866556"/>
                    <a:gd name="connsiteX1496" fmla="*/ 291491 w 491582"/>
                    <a:gd name="connsiteY1496" fmla="*/ 235658 h 866556"/>
                    <a:gd name="connsiteX1497" fmla="*/ 292232 w 491582"/>
                    <a:gd name="connsiteY1497" fmla="*/ 235112 h 866556"/>
                    <a:gd name="connsiteX1498" fmla="*/ 292778 w 491582"/>
                    <a:gd name="connsiteY1498" fmla="*/ 234383 h 866556"/>
                    <a:gd name="connsiteX1499" fmla="*/ 294442 w 491582"/>
                    <a:gd name="connsiteY1499" fmla="*/ 232173 h 866556"/>
                    <a:gd name="connsiteX1500" fmla="*/ 294721 w 491582"/>
                    <a:gd name="connsiteY1500" fmla="*/ 231809 h 866556"/>
                    <a:gd name="connsiteX1501" fmla="*/ 294940 w 491582"/>
                    <a:gd name="connsiteY1501" fmla="*/ 231396 h 866556"/>
                    <a:gd name="connsiteX1502" fmla="*/ 295656 w 491582"/>
                    <a:gd name="connsiteY1502" fmla="*/ 230060 h 866556"/>
                    <a:gd name="connsiteX1503" fmla="*/ 296263 w 491582"/>
                    <a:gd name="connsiteY1503" fmla="*/ 229344 h 866556"/>
                    <a:gd name="connsiteX1504" fmla="*/ 296871 w 491582"/>
                    <a:gd name="connsiteY1504" fmla="*/ 228931 h 866556"/>
                    <a:gd name="connsiteX1505" fmla="*/ 298777 w 491582"/>
                    <a:gd name="connsiteY1505" fmla="*/ 228530 h 866556"/>
                    <a:gd name="connsiteX1506" fmla="*/ 299190 w 491582"/>
                    <a:gd name="connsiteY1506" fmla="*/ 228433 h 866556"/>
                    <a:gd name="connsiteX1507" fmla="*/ 299591 w 491582"/>
                    <a:gd name="connsiteY1507" fmla="*/ 228287 h 866556"/>
                    <a:gd name="connsiteX1508" fmla="*/ 301084 w 491582"/>
                    <a:gd name="connsiteY1508" fmla="*/ 227741 h 866556"/>
                    <a:gd name="connsiteX1509" fmla="*/ 301643 w 491582"/>
                    <a:gd name="connsiteY1509" fmla="*/ 227534 h 866556"/>
                    <a:gd name="connsiteX1510" fmla="*/ 302153 w 491582"/>
                    <a:gd name="connsiteY1510" fmla="*/ 227231 h 866556"/>
                    <a:gd name="connsiteX1511" fmla="*/ 303015 w 491582"/>
                    <a:gd name="connsiteY1511" fmla="*/ 226708 h 866556"/>
                    <a:gd name="connsiteX1512" fmla="*/ 303913 w 491582"/>
                    <a:gd name="connsiteY1512" fmla="*/ 226162 h 866556"/>
                    <a:gd name="connsiteX1513" fmla="*/ 304581 w 491582"/>
                    <a:gd name="connsiteY1513" fmla="*/ 225348 h 866556"/>
                    <a:gd name="connsiteX1514" fmla="*/ 305091 w 491582"/>
                    <a:gd name="connsiteY1514" fmla="*/ 224717 h 866556"/>
                    <a:gd name="connsiteX1515" fmla="*/ 305893 w 491582"/>
                    <a:gd name="connsiteY1515" fmla="*/ 223721 h 866556"/>
                    <a:gd name="connsiteX1516" fmla="*/ 306233 w 491582"/>
                    <a:gd name="connsiteY1516" fmla="*/ 222483 h 866556"/>
                    <a:gd name="connsiteX1517" fmla="*/ 306476 w 491582"/>
                    <a:gd name="connsiteY1517" fmla="*/ 221596 h 866556"/>
                    <a:gd name="connsiteX1518" fmla="*/ 306597 w 491582"/>
                    <a:gd name="connsiteY1518" fmla="*/ 221147 h 866556"/>
                    <a:gd name="connsiteX1519" fmla="*/ 306646 w 491582"/>
                    <a:gd name="connsiteY1519" fmla="*/ 220686 h 866556"/>
                    <a:gd name="connsiteX1520" fmla="*/ 306852 w 491582"/>
                    <a:gd name="connsiteY1520" fmla="*/ 218900 h 866556"/>
                    <a:gd name="connsiteX1521" fmla="*/ 306099 w 491582"/>
                    <a:gd name="connsiteY1521" fmla="*/ 216763 h 866556"/>
                    <a:gd name="connsiteX1522" fmla="*/ 305407 w 491582"/>
                    <a:gd name="connsiteY1522" fmla="*/ 215392 h 866556"/>
                    <a:gd name="connsiteX1523" fmla="*/ 305152 w 491582"/>
                    <a:gd name="connsiteY1523" fmla="*/ 214881 h 866556"/>
                    <a:gd name="connsiteX1524" fmla="*/ 304800 w 491582"/>
                    <a:gd name="connsiteY1524" fmla="*/ 214420 h 866556"/>
                    <a:gd name="connsiteX1525" fmla="*/ 302869 w 491582"/>
                    <a:gd name="connsiteY1525" fmla="*/ 211906 h 866556"/>
                    <a:gd name="connsiteX1526" fmla="*/ 302566 w 491582"/>
                    <a:gd name="connsiteY1526" fmla="*/ 210158 h 866556"/>
                    <a:gd name="connsiteX1527" fmla="*/ 302408 w 491582"/>
                    <a:gd name="connsiteY1527" fmla="*/ 206649 h 866556"/>
                    <a:gd name="connsiteX1528" fmla="*/ 302384 w 491582"/>
                    <a:gd name="connsiteY1528" fmla="*/ 206041 h 866556"/>
                    <a:gd name="connsiteX1529" fmla="*/ 302238 w 491582"/>
                    <a:gd name="connsiteY1529" fmla="*/ 205471 h 866556"/>
                    <a:gd name="connsiteX1530" fmla="*/ 301776 w 491582"/>
                    <a:gd name="connsiteY1530" fmla="*/ 203576 h 866556"/>
                    <a:gd name="connsiteX1531" fmla="*/ 301570 w 491582"/>
                    <a:gd name="connsiteY1531" fmla="*/ 202726 h 866556"/>
                    <a:gd name="connsiteX1532" fmla="*/ 301121 w 491582"/>
                    <a:gd name="connsiteY1532" fmla="*/ 201961 h 866556"/>
                    <a:gd name="connsiteX1533" fmla="*/ 300198 w 491582"/>
                    <a:gd name="connsiteY1533" fmla="*/ 200383 h 866556"/>
                    <a:gd name="connsiteX1534" fmla="*/ 299591 w 491582"/>
                    <a:gd name="connsiteY1534" fmla="*/ 199338 h 866556"/>
                    <a:gd name="connsiteX1535" fmla="*/ 298619 w 491582"/>
                    <a:gd name="connsiteY1535" fmla="*/ 198598 h 866556"/>
                    <a:gd name="connsiteX1536" fmla="*/ 297296 w 491582"/>
                    <a:gd name="connsiteY1536" fmla="*/ 197590 h 866556"/>
                    <a:gd name="connsiteX1537" fmla="*/ 295960 w 491582"/>
                    <a:gd name="connsiteY1537" fmla="*/ 196570 h 866556"/>
                    <a:gd name="connsiteX1538" fmla="*/ 294284 w 491582"/>
                    <a:gd name="connsiteY1538" fmla="*/ 196388 h 866556"/>
                    <a:gd name="connsiteX1539" fmla="*/ 292220 w 491582"/>
                    <a:gd name="connsiteY1539" fmla="*/ 196157 h 866556"/>
                    <a:gd name="connsiteX1540" fmla="*/ 291212 w 491582"/>
                    <a:gd name="connsiteY1540" fmla="*/ 196048 h 866556"/>
                    <a:gd name="connsiteX1541" fmla="*/ 290228 w 491582"/>
                    <a:gd name="connsiteY1541" fmla="*/ 196266 h 866556"/>
                    <a:gd name="connsiteX1542" fmla="*/ 288844 w 491582"/>
                    <a:gd name="connsiteY1542" fmla="*/ 196570 h 866556"/>
                    <a:gd name="connsiteX1543" fmla="*/ 288334 w 491582"/>
                    <a:gd name="connsiteY1543" fmla="*/ 196691 h 866556"/>
                    <a:gd name="connsiteX1544" fmla="*/ 287848 w 491582"/>
                    <a:gd name="connsiteY1544" fmla="*/ 196898 h 866556"/>
                    <a:gd name="connsiteX1545" fmla="*/ 286112 w 491582"/>
                    <a:gd name="connsiteY1545" fmla="*/ 197614 h 866556"/>
                    <a:gd name="connsiteX1546" fmla="*/ 285529 w 491582"/>
                    <a:gd name="connsiteY1546" fmla="*/ 197541 h 866556"/>
                    <a:gd name="connsiteX1547" fmla="*/ 283052 w 491582"/>
                    <a:gd name="connsiteY1547" fmla="*/ 197043 h 866556"/>
                    <a:gd name="connsiteX1548" fmla="*/ 282845 w 491582"/>
                    <a:gd name="connsiteY1548" fmla="*/ 196958 h 866556"/>
                    <a:gd name="connsiteX1549" fmla="*/ 282348 w 491582"/>
                    <a:gd name="connsiteY1549" fmla="*/ 196618 h 866556"/>
                    <a:gd name="connsiteX1550" fmla="*/ 280660 w 491582"/>
                    <a:gd name="connsiteY1550" fmla="*/ 194882 h 866556"/>
                    <a:gd name="connsiteX1551" fmla="*/ 276750 w 491582"/>
                    <a:gd name="connsiteY1551" fmla="*/ 189357 h 866556"/>
                    <a:gd name="connsiteX1552" fmla="*/ 276385 w 491582"/>
                    <a:gd name="connsiteY1552" fmla="*/ 188835 h 866556"/>
                    <a:gd name="connsiteX1553" fmla="*/ 275912 w 491582"/>
                    <a:gd name="connsiteY1553" fmla="*/ 188410 h 866556"/>
                    <a:gd name="connsiteX1554" fmla="*/ 274576 w 491582"/>
                    <a:gd name="connsiteY1554" fmla="*/ 187171 h 866556"/>
                    <a:gd name="connsiteX1555" fmla="*/ 273969 w 491582"/>
                    <a:gd name="connsiteY1555" fmla="*/ 186612 h 866556"/>
                    <a:gd name="connsiteX1556" fmla="*/ 273228 w 491582"/>
                    <a:gd name="connsiteY1556" fmla="*/ 186236 h 866556"/>
                    <a:gd name="connsiteX1557" fmla="*/ 271735 w 491582"/>
                    <a:gd name="connsiteY1557" fmla="*/ 185471 h 866556"/>
                    <a:gd name="connsiteX1558" fmla="*/ 270520 w 491582"/>
                    <a:gd name="connsiteY1558" fmla="*/ 184840 h 866556"/>
                    <a:gd name="connsiteX1559" fmla="*/ 269148 w 491582"/>
                    <a:gd name="connsiteY1559" fmla="*/ 184791 h 866556"/>
                    <a:gd name="connsiteX1560" fmla="*/ 267266 w 491582"/>
                    <a:gd name="connsiteY1560" fmla="*/ 184730 h 866556"/>
                    <a:gd name="connsiteX1561" fmla="*/ 266550 w 491582"/>
                    <a:gd name="connsiteY1561" fmla="*/ 184706 h 866556"/>
                    <a:gd name="connsiteX1562" fmla="*/ 265845 w 491582"/>
                    <a:gd name="connsiteY1562" fmla="*/ 184852 h 866556"/>
                    <a:gd name="connsiteX1563" fmla="*/ 264631 w 491582"/>
                    <a:gd name="connsiteY1563" fmla="*/ 185107 h 866556"/>
                    <a:gd name="connsiteX1564" fmla="*/ 264558 w 491582"/>
                    <a:gd name="connsiteY1564" fmla="*/ 185131 h 866556"/>
                    <a:gd name="connsiteX1565" fmla="*/ 262943 w 491582"/>
                    <a:gd name="connsiteY1565" fmla="*/ 182083 h 866556"/>
                    <a:gd name="connsiteX1566" fmla="*/ 262785 w 491582"/>
                    <a:gd name="connsiteY1566" fmla="*/ 181804 h 866556"/>
                    <a:gd name="connsiteX1567" fmla="*/ 262603 w 491582"/>
                    <a:gd name="connsiteY1567" fmla="*/ 181549 h 866556"/>
                    <a:gd name="connsiteX1568" fmla="*/ 261632 w 491582"/>
                    <a:gd name="connsiteY1568" fmla="*/ 180128 h 866556"/>
                    <a:gd name="connsiteX1569" fmla="*/ 261340 w 491582"/>
                    <a:gd name="connsiteY1569" fmla="*/ 179703 h 866556"/>
                    <a:gd name="connsiteX1570" fmla="*/ 260976 w 491582"/>
                    <a:gd name="connsiteY1570" fmla="*/ 179327 h 866556"/>
                    <a:gd name="connsiteX1571" fmla="*/ 259422 w 491582"/>
                    <a:gd name="connsiteY1571" fmla="*/ 177724 h 866556"/>
                    <a:gd name="connsiteX1572" fmla="*/ 258827 w 491582"/>
                    <a:gd name="connsiteY1572" fmla="*/ 177117 h 866556"/>
                    <a:gd name="connsiteX1573" fmla="*/ 258086 w 491582"/>
                    <a:gd name="connsiteY1573" fmla="*/ 176692 h 866556"/>
                    <a:gd name="connsiteX1574" fmla="*/ 256240 w 491582"/>
                    <a:gd name="connsiteY1574" fmla="*/ 175623 h 866556"/>
                    <a:gd name="connsiteX1575" fmla="*/ 255718 w 491582"/>
                    <a:gd name="connsiteY1575" fmla="*/ 175332 h 866556"/>
                    <a:gd name="connsiteX1576" fmla="*/ 255147 w 491582"/>
                    <a:gd name="connsiteY1576" fmla="*/ 175138 h 866556"/>
                    <a:gd name="connsiteX1577" fmla="*/ 252925 w 491582"/>
                    <a:gd name="connsiteY1577" fmla="*/ 174385 h 866556"/>
                    <a:gd name="connsiteX1578" fmla="*/ 252100 w 491582"/>
                    <a:gd name="connsiteY1578" fmla="*/ 174105 h 866556"/>
                    <a:gd name="connsiteX1579" fmla="*/ 251237 w 491582"/>
                    <a:gd name="connsiteY1579" fmla="*/ 174069 h 866556"/>
                    <a:gd name="connsiteX1580" fmla="*/ 248250 w 491582"/>
                    <a:gd name="connsiteY1580" fmla="*/ 173947 h 866556"/>
                    <a:gd name="connsiteX1581" fmla="*/ 247327 w 491582"/>
                    <a:gd name="connsiteY1581" fmla="*/ 173911 h 866556"/>
                    <a:gd name="connsiteX1582" fmla="*/ 246441 w 491582"/>
                    <a:gd name="connsiteY1582" fmla="*/ 174154 h 866556"/>
                    <a:gd name="connsiteX1583" fmla="*/ 244717 w 491582"/>
                    <a:gd name="connsiteY1583" fmla="*/ 174616 h 866556"/>
                    <a:gd name="connsiteX1584" fmla="*/ 244231 w 491582"/>
                    <a:gd name="connsiteY1584" fmla="*/ 174749 h 866556"/>
                    <a:gd name="connsiteX1585" fmla="*/ 243770 w 491582"/>
                    <a:gd name="connsiteY1585" fmla="*/ 174968 h 866556"/>
                    <a:gd name="connsiteX1586" fmla="*/ 243126 w 491582"/>
                    <a:gd name="connsiteY1586" fmla="*/ 175247 h 866556"/>
                    <a:gd name="connsiteX1587" fmla="*/ 243757 w 491582"/>
                    <a:gd name="connsiteY1587" fmla="*/ 169382 h 866556"/>
                    <a:gd name="connsiteX1588" fmla="*/ 243794 w 491582"/>
                    <a:gd name="connsiteY1588" fmla="*/ 168981 h 866556"/>
                    <a:gd name="connsiteX1589" fmla="*/ 243794 w 491582"/>
                    <a:gd name="connsiteY1589" fmla="*/ 168580 h 866556"/>
                    <a:gd name="connsiteX1590" fmla="*/ 243684 w 491582"/>
                    <a:gd name="connsiteY1590" fmla="*/ 164124 h 866556"/>
                    <a:gd name="connsiteX1591" fmla="*/ 243660 w 491582"/>
                    <a:gd name="connsiteY1591" fmla="*/ 163092 h 866556"/>
                    <a:gd name="connsiteX1592" fmla="*/ 243296 w 491582"/>
                    <a:gd name="connsiteY1592" fmla="*/ 162120 h 866556"/>
                    <a:gd name="connsiteX1593" fmla="*/ 242652 w 491582"/>
                    <a:gd name="connsiteY1593" fmla="*/ 160433 h 866556"/>
                    <a:gd name="connsiteX1594" fmla="*/ 241851 w 491582"/>
                    <a:gd name="connsiteY1594" fmla="*/ 158332 h 866556"/>
                    <a:gd name="connsiteX1595" fmla="*/ 239872 w 491582"/>
                    <a:gd name="connsiteY1595" fmla="*/ 157251 h 866556"/>
                    <a:gd name="connsiteX1596" fmla="*/ 238390 w 491582"/>
                    <a:gd name="connsiteY1596" fmla="*/ 156450 h 866556"/>
                    <a:gd name="connsiteX1597" fmla="*/ 237139 w 491582"/>
                    <a:gd name="connsiteY1597" fmla="*/ 155770 h 866556"/>
                    <a:gd name="connsiteX1598" fmla="*/ 235719 w 491582"/>
                    <a:gd name="connsiteY1598" fmla="*/ 155709 h 866556"/>
                    <a:gd name="connsiteX1599" fmla="*/ 232610 w 491582"/>
                    <a:gd name="connsiteY1599" fmla="*/ 155587 h 866556"/>
                    <a:gd name="connsiteX1600" fmla="*/ 231469 w 491582"/>
                    <a:gd name="connsiteY1600" fmla="*/ 155551 h 866556"/>
                    <a:gd name="connsiteX1601" fmla="*/ 230388 w 491582"/>
                    <a:gd name="connsiteY1601" fmla="*/ 155928 h 866556"/>
                    <a:gd name="connsiteX1602" fmla="*/ 223794 w 491582"/>
                    <a:gd name="connsiteY1602" fmla="*/ 158222 h 866556"/>
                    <a:gd name="connsiteX1603" fmla="*/ 223284 w 491582"/>
                    <a:gd name="connsiteY1603" fmla="*/ 158393 h 866556"/>
                    <a:gd name="connsiteX1604" fmla="*/ 222811 w 491582"/>
                    <a:gd name="connsiteY1604" fmla="*/ 158648 h 866556"/>
                    <a:gd name="connsiteX1605" fmla="*/ 216849 w 491582"/>
                    <a:gd name="connsiteY1605" fmla="*/ 161987 h 866556"/>
                    <a:gd name="connsiteX1606" fmla="*/ 214979 w 491582"/>
                    <a:gd name="connsiteY1606" fmla="*/ 162181 h 866556"/>
                    <a:gd name="connsiteX1607" fmla="*/ 205568 w 491582"/>
                    <a:gd name="connsiteY1607" fmla="*/ 159813 h 866556"/>
                    <a:gd name="connsiteX1608" fmla="*/ 204900 w 491582"/>
                    <a:gd name="connsiteY1608" fmla="*/ 159631 h 866556"/>
                    <a:gd name="connsiteX1609" fmla="*/ 204208 w 491582"/>
                    <a:gd name="connsiteY1609" fmla="*/ 159619 h 866556"/>
                    <a:gd name="connsiteX1610" fmla="*/ 200541 w 491582"/>
                    <a:gd name="connsiteY1610" fmla="*/ 159546 h 866556"/>
                    <a:gd name="connsiteX1611" fmla="*/ 197687 w 491582"/>
                    <a:gd name="connsiteY1611" fmla="*/ 159048 h 866556"/>
                    <a:gd name="connsiteX1612" fmla="*/ 195113 w 491582"/>
                    <a:gd name="connsiteY1612" fmla="*/ 158320 h 866556"/>
                    <a:gd name="connsiteX1613" fmla="*/ 193036 w 491582"/>
                    <a:gd name="connsiteY1613" fmla="*/ 157409 h 866556"/>
                    <a:gd name="connsiteX1614" fmla="*/ 190948 w 491582"/>
                    <a:gd name="connsiteY1614" fmla="*/ 156122 h 866556"/>
                    <a:gd name="connsiteX1615" fmla="*/ 188301 w 491582"/>
                    <a:gd name="connsiteY1615" fmla="*/ 153705 h 866556"/>
                    <a:gd name="connsiteX1616" fmla="*/ 186042 w 491582"/>
                    <a:gd name="connsiteY1616" fmla="*/ 151082 h 866556"/>
                    <a:gd name="connsiteX1617" fmla="*/ 185362 w 491582"/>
                    <a:gd name="connsiteY1617" fmla="*/ 150050 h 866556"/>
                    <a:gd name="connsiteX1618" fmla="*/ 184524 w 491582"/>
                    <a:gd name="connsiteY1618" fmla="*/ 147998 h 866556"/>
                    <a:gd name="connsiteX1619" fmla="*/ 183868 w 491582"/>
                    <a:gd name="connsiteY1619" fmla="*/ 142777 h 866556"/>
                    <a:gd name="connsiteX1620" fmla="*/ 183771 w 491582"/>
                    <a:gd name="connsiteY1620" fmla="*/ 141987 h 866556"/>
                    <a:gd name="connsiteX1621" fmla="*/ 183480 w 491582"/>
                    <a:gd name="connsiteY1621" fmla="*/ 141259 h 866556"/>
                    <a:gd name="connsiteX1622" fmla="*/ 182739 w 491582"/>
                    <a:gd name="connsiteY1622" fmla="*/ 139425 h 866556"/>
                    <a:gd name="connsiteX1623" fmla="*/ 182047 w 491582"/>
                    <a:gd name="connsiteY1623" fmla="*/ 137701 h 866556"/>
                    <a:gd name="connsiteX1624" fmla="*/ 180529 w 491582"/>
                    <a:gd name="connsiteY1624" fmla="*/ 136669 h 866556"/>
                    <a:gd name="connsiteX1625" fmla="*/ 179606 w 491582"/>
                    <a:gd name="connsiteY1625" fmla="*/ 136037 h 866556"/>
                    <a:gd name="connsiteX1626" fmla="*/ 178805 w 491582"/>
                    <a:gd name="connsiteY1626" fmla="*/ 135491 h 866556"/>
                    <a:gd name="connsiteX1627" fmla="*/ 177870 w 491582"/>
                    <a:gd name="connsiteY1627" fmla="*/ 135224 h 866556"/>
                    <a:gd name="connsiteX1628" fmla="*/ 175684 w 491582"/>
                    <a:gd name="connsiteY1628" fmla="*/ 134592 h 866556"/>
                    <a:gd name="connsiteX1629" fmla="*/ 175138 w 491582"/>
                    <a:gd name="connsiteY1629" fmla="*/ 134434 h 866556"/>
                    <a:gd name="connsiteX1630" fmla="*/ 174567 w 491582"/>
                    <a:gd name="connsiteY1630" fmla="*/ 134374 h 866556"/>
                    <a:gd name="connsiteX1631" fmla="*/ 173025 w 491582"/>
                    <a:gd name="connsiteY1631" fmla="*/ 134228 h 866556"/>
                    <a:gd name="connsiteX1632" fmla="*/ 172685 w 491582"/>
                    <a:gd name="connsiteY1632" fmla="*/ 134192 h 866556"/>
                    <a:gd name="connsiteX1633" fmla="*/ 172333 w 491582"/>
                    <a:gd name="connsiteY1633" fmla="*/ 134204 h 866556"/>
                    <a:gd name="connsiteX1634" fmla="*/ 171288 w 491582"/>
                    <a:gd name="connsiteY1634" fmla="*/ 134228 h 866556"/>
                    <a:gd name="connsiteX1635" fmla="*/ 170778 w 491582"/>
                    <a:gd name="connsiteY1635" fmla="*/ 134240 h 866556"/>
                    <a:gd name="connsiteX1636" fmla="*/ 170268 w 491582"/>
                    <a:gd name="connsiteY1636" fmla="*/ 134337 h 866556"/>
                    <a:gd name="connsiteX1637" fmla="*/ 169139 w 491582"/>
                    <a:gd name="connsiteY1637" fmla="*/ 134568 h 866556"/>
                    <a:gd name="connsiteX1638" fmla="*/ 169018 w 491582"/>
                    <a:gd name="connsiteY1638" fmla="*/ 134568 h 866556"/>
                    <a:gd name="connsiteX1639" fmla="*/ 168763 w 491582"/>
                    <a:gd name="connsiteY1639" fmla="*/ 134544 h 866556"/>
                    <a:gd name="connsiteX1640" fmla="*/ 168520 w 491582"/>
                    <a:gd name="connsiteY1640" fmla="*/ 134459 h 866556"/>
                    <a:gd name="connsiteX1641" fmla="*/ 167925 w 491582"/>
                    <a:gd name="connsiteY1641" fmla="*/ 134107 h 866556"/>
                    <a:gd name="connsiteX1642" fmla="*/ 163990 w 491582"/>
                    <a:gd name="connsiteY1642" fmla="*/ 131168 h 866556"/>
                    <a:gd name="connsiteX1643" fmla="*/ 163480 w 491582"/>
                    <a:gd name="connsiteY1643" fmla="*/ 130792 h 866556"/>
                    <a:gd name="connsiteX1644" fmla="*/ 162898 w 491582"/>
                    <a:gd name="connsiteY1644" fmla="*/ 130524 h 866556"/>
                    <a:gd name="connsiteX1645" fmla="*/ 161282 w 491582"/>
                    <a:gd name="connsiteY1645" fmla="*/ 129771 h 866556"/>
                    <a:gd name="connsiteX1646" fmla="*/ 160275 w 491582"/>
                    <a:gd name="connsiteY1646" fmla="*/ 129310 h 866556"/>
                    <a:gd name="connsiteX1647" fmla="*/ 159170 w 491582"/>
                    <a:gd name="connsiteY1647" fmla="*/ 129225 h 866556"/>
                    <a:gd name="connsiteX1648" fmla="*/ 157506 w 491582"/>
                    <a:gd name="connsiteY1648" fmla="*/ 129104 h 866556"/>
                    <a:gd name="connsiteX1649" fmla="*/ 156474 w 491582"/>
                    <a:gd name="connsiteY1649" fmla="*/ 129031 h 866556"/>
                    <a:gd name="connsiteX1650" fmla="*/ 155758 w 491582"/>
                    <a:gd name="connsiteY1650" fmla="*/ 129225 h 866556"/>
                    <a:gd name="connsiteX1651" fmla="*/ 155660 w 491582"/>
                    <a:gd name="connsiteY1651" fmla="*/ 129031 h 866556"/>
                    <a:gd name="connsiteX1652" fmla="*/ 155466 w 491582"/>
                    <a:gd name="connsiteY1652" fmla="*/ 128739 h 866556"/>
                    <a:gd name="connsiteX1653" fmla="*/ 154373 w 491582"/>
                    <a:gd name="connsiteY1653" fmla="*/ 127100 h 866556"/>
                    <a:gd name="connsiteX1654" fmla="*/ 154130 w 491582"/>
                    <a:gd name="connsiteY1654" fmla="*/ 126748 h 866556"/>
                    <a:gd name="connsiteX1655" fmla="*/ 153839 w 491582"/>
                    <a:gd name="connsiteY1655" fmla="*/ 126432 h 866556"/>
                    <a:gd name="connsiteX1656" fmla="*/ 152576 w 491582"/>
                    <a:gd name="connsiteY1656" fmla="*/ 125024 h 866556"/>
                    <a:gd name="connsiteX1657" fmla="*/ 152018 w 491582"/>
                    <a:gd name="connsiteY1657" fmla="*/ 124392 h 866556"/>
                    <a:gd name="connsiteX1658" fmla="*/ 151301 w 491582"/>
                    <a:gd name="connsiteY1658" fmla="*/ 123943 h 866556"/>
                    <a:gd name="connsiteX1659" fmla="*/ 148945 w 491582"/>
                    <a:gd name="connsiteY1659" fmla="*/ 122449 h 866556"/>
                    <a:gd name="connsiteX1660" fmla="*/ 148472 w 491582"/>
                    <a:gd name="connsiteY1660" fmla="*/ 122158 h 866556"/>
                    <a:gd name="connsiteX1661" fmla="*/ 147962 w 491582"/>
                    <a:gd name="connsiteY1661" fmla="*/ 121939 h 866556"/>
                    <a:gd name="connsiteX1662" fmla="*/ 145897 w 491582"/>
                    <a:gd name="connsiteY1662" fmla="*/ 121114 h 866556"/>
                    <a:gd name="connsiteX1663" fmla="*/ 145533 w 491582"/>
                    <a:gd name="connsiteY1663" fmla="*/ 120968 h 866556"/>
                    <a:gd name="connsiteX1664" fmla="*/ 145145 w 491582"/>
                    <a:gd name="connsiteY1664" fmla="*/ 120859 h 866556"/>
                    <a:gd name="connsiteX1665" fmla="*/ 140967 w 491582"/>
                    <a:gd name="connsiteY1665" fmla="*/ 119790 h 866556"/>
                    <a:gd name="connsiteX1666" fmla="*/ 139340 w 491582"/>
                    <a:gd name="connsiteY1666" fmla="*/ 118357 h 866556"/>
                    <a:gd name="connsiteX1667" fmla="*/ 121830 w 491582"/>
                    <a:gd name="connsiteY1667" fmla="*/ 97884 h 866556"/>
                    <a:gd name="connsiteX1668" fmla="*/ 121575 w 491582"/>
                    <a:gd name="connsiteY1668" fmla="*/ 97605 h 866556"/>
                    <a:gd name="connsiteX1669" fmla="*/ 121296 w 491582"/>
                    <a:gd name="connsiteY1669" fmla="*/ 97350 h 866556"/>
                    <a:gd name="connsiteX1670" fmla="*/ 118418 w 491582"/>
                    <a:gd name="connsiteY1670" fmla="*/ 94739 h 866556"/>
                    <a:gd name="connsiteX1671" fmla="*/ 117167 w 491582"/>
                    <a:gd name="connsiteY1671" fmla="*/ 93598 h 866556"/>
                    <a:gd name="connsiteX1672" fmla="*/ 115516 w 491582"/>
                    <a:gd name="connsiteY1672" fmla="*/ 93282 h 866556"/>
                    <a:gd name="connsiteX1673" fmla="*/ 114192 w 491582"/>
                    <a:gd name="connsiteY1673" fmla="*/ 93027 h 866556"/>
                    <a:gd name="connsiteX1674" fmla="*/ 113609 w 491582"/>
                    <a:gd name="connsiteY1674" fmla="*/ 92906 h 866556"/>
                    <a:gd name="connsiteX1675" fmla="*/ 113014 w 491582"/>
                    <a:gd name="connsiteY1675" fmla="*/ 92906 h 866556"/>
                    <a:gd name="connsiteX1676" fmla="*/ 111934 w 491582"/>
                    <a:gd name="connsiteY1676" fmla="*/ 92906 h 866556"/>
                    <a:gd name="connsiteX1677" fmla="*/ 111679 w 491582"/>
                    <a:gd name="connsiteY1677" fmla="*/ 92906 h 866556"/>
                    <a:gd name="connsiteX1678" fmla="*/ 110671 w 491582"/>
                    <a:gd name="connsiteY1678" fmla="*/ 88133 h 866556"/>
                    <a:gd name="connsiteX1679" fmla="*/ 110586 w 491582"/>
                    <a:gd name="connsiteY1679" fmla="*/ 87745 h 866556"/>
                    <a:gd name="connsiteX1680" fmla="*/ 110452 w 491582"/>
                    <a:gd name="connsiteY1680" fmla="*/ 87369 h 866556"/>
                    <a:gd name="connsiteX1681" fmla="*/ 109250 w 491582"/>
                    <a:gd name="connsiteY1681" fmla="*/ 84017 h 866556"/>
                    <a:gd name="connsiteX1682" fmla="*/ 109019 w 491582"/>
                    <a:gd name="connsiteY1682" fmla="*/ 83361 h 866556"/>
                    <a:gd name="connsiteX1683" fmla="*/ 108643 w 491582"/>
                    <a:gd name="connsiteY1683" fmla="*/ 82778 h 866556"/>
                    <a:gd name="connsiteX1684" fmla="*/ 106579 w 491582"/>
                    <a:gd name="connsiteY1684" fmla="*/ 79561 h 866556"/>
                    <a:gd name="connsiteX1685" fmla="*/ 106251 w 491582"/>
                    <a:gd name="connsiteY1685" fmla="*/ 79050 h 866556"/>
                    <a:gd name="connsiteX1686" fmla="*/ 105826 w 491582"/>
                    <a:gd name="connsiteY1686" fmla="*/ 78613 h 866556"/>
                    <a:gd name="connsiteX1687" fmla="*/ 104126 w 491582"/>
                    <a:gd name="connsiteY1687" fmla="*/ 76865 h 866556"/>
                    <a:gd name="connsiteX1688" fmla="*/ 104077 w 491582"/>
                    <a:gd name="connsiteY1688" fmla="*/ 75590 h 866556"/>
                    <a:gd name="connsiteX1689" fmla="*/ 105219 w 491582"/>
                    <a:gd name="connsiteY1689" fmla="*/ 74728 h 866556"/>
                    <a:gd name="connsiteX1690" fmla="*/ 105668 w 491582"/>
                    <a:gd name="connsiteY1690" fmla="*/ 74388 h 866556"/>
                    <a:gd name="connsiteX1691" fmla="*/ 106044 w 491582"/>
                    <a:gd name="connsiteY1691" fmla="*/ 73975 h 866556"/>
                    <a:gd name="connsiteX1692" fmla="*/ 106846 w 491582"/>
                    <a:gd name="connsiteY1692" fmla="*/ 73088 h 866556"/>
                    <a:gd name="connsiteX1693" fmla="*/ 107246 w 491582"/>
                    <a:gd name="connsiteY1693" fmla="*/ 72639 h 866556"/>
                    <a:gd name="connsiteX1694" fmla="*/ 107550 w 491582"/>
                    <a:gd name="connsiteY1694" fmla="*/ 72117 h 866556"/>
                    <a:gd name="connsiteX1695" fmla="*/ 108230 w 491582"/>
                    <a:gd name="connsiteY1695" fmla="*/ 70963 h 866556"/>
                    <a:gd name="connsiteX1696" fmla="*/ 108582 w 491582"/>
                    <a:gd name="connsiteY1696" fmla="*/ 70356 h 866556"/>
                    <a:gd name="connsiteX1697" fmla="*/ 108801 w 491582"/>
                    <a:gd name="connsiteY1697" fmla="*/ 69676 h 866556"/>
                    <a:gd name="connsiteX1698" fmla="*/ 109153 w 491582"/>
                    <a:gd name="connsiteY1698" fmla="*/ 68559 h 866556"/>
                    <a:gd name="connsiteX1699" fmla="*/ 109311 w 491582"/>
                    <a:gd name="connsiteY1699" fmla="*/ 68061 h 866556"/>
                    <a:gd name="connsiteX1700" fmla="*/ 109371 w 491582"/>
                    <a:gd name="connsiteY1700" fmla="*/ 67527 h 866556"/>
                    <a:gd name="connsiteX1701" fmla="*/ 109481 w 491582"/>
                    <a:gd name="connsiteY1701" fmla="*/ 66665 h 866556"/>
                    <a:gd name="connsiteX1702" fmla="*/ 109566 w 491582"/>
                    <a:gd name="connsiteY1702" fmla="*/ 65985 h 866556"/>
                    <a:gd name="connsiteX1703" fmla="*/ 109505 w 491582"/>
                    <a:gd name="connsiteY1703" fmla="*/ 65305 h 866556"/>
                    <a:gd name="connsiteX1704" fmla="*/ 109444 w 491582"/>
                    <a:gd name="connsiteY1704" fmla="*/ 64673 h 866556"/>
                    <a:gd name="connsiteX1705" fmla="*/ 109384 w 491582"/>
                    <a:gd name="connsiteY1705" fmla="*/ 63981 h 866556"/>
                    <a:gd name="connsiteX1706" fmla="*/ 109165 w 491582"/>
                    <a:gd name="connsiteY1706" fmla="*/ 63325 h 866556"/>
                    <a:gd name="connsiteX1707" fmla="*/ 108946 w 491582"/>
                    <a:gd name="connsiteY1707" fmla="*/ 62658 h 866556"/>
                    <a:gd name="connsiteX1708" fmla="*/ 108461 w 491582"/>
                    <a:gd name="connsiteY1708" fmla="*/ 61188 h 866556"/>
                    <a:gd name="connsiteX1709" fmla="*/ 107319 w 491582"/>
                    <a:gd name="connsiteY1709" fmla="*/ 60120 h 866556"/>
                    <a:gd name="connsiteX1710" fmla="*/ 106797 w 491582"/>
                    <a:gd name="connsiteY1710" fmla="*/ 59634 h 866556"/>
                    <a:gd name="connsiteX1711" fmla="*/ 105546 w 491582"/>
                    <a:gd name="connsiteY1711" fmla="*/ 58480 h 866556"/>
                    <a:gd name="connsiteX1712" fmla="*/ 103883 w 491582"/>
                    <a:gd name="connsiteY1712" fmla="*/ 58140 h 866556"/>
                    <a:gd name="connsiteX1713" fmla="*/ 102219 w 491582"/>
                    <a:gd name="connsiteY1713" fmla="*/ 57800 h 866556"/>
                    <a:gd name="connsiteX1714" fmla="*/ 101551 w 491582"/>
                    <a:gd name="connsiteY1714" fmla="*/ 57654 h 866556"/>
                    <a:gd name="connsiteX1715" fmla="*/ 100871 w 491582"/>
                    <a:gd name="connsiteY1715" fmla="*/ 57667 h 866556"/>
                    <a:gd name="connsiteX1716" fmla="*/ 99609 w 491582"/>
                    <a:gd name="connsiteY1716" fmla="*/ 57691 h 866556"/>
                    <a:gd name="connsiteX1717" fmla="*/ 98844 w 491582"/>
                    <a:gd name="connsiteY1717" fmla="*/ 57703 h 866556"/>
                    <a:gd name="connsiteX1718" fmla="*/ 98103 w 491582"/>
                    <a:gd name="connsiteY1718" fmla="*/ 57909 h 866556"/>
                    <a:gd name="connsiteX1719" fmla="*/ 95249 w 491582"/>
                    <a:gd name="connsiteY1719" fmla="*/ 58699 h 866556"/>
                    <a:gd name="connsiteX1720" fmla="*/ 94496 w 491582"/>
                    <a:gd name="connsiteY1720" fmla="*/ 57460 h 866556"/>
                    <a:gd name="connsiteX1721" fmla="*/ 93889 w 491582"/>
                    <a:gd name="connsiteY1721" fmla="*/ 56465 h 866556"/>
                    <a:gd name="connsiteX1722" fmla="*/ 92954 w 491582"/>
                    <a:gd name="connsiteY1722" fmla="*/ 55772 h 866556"/>
                    <a:gd name="connsiteX1723" fmla="*/ 91643 w 491582"/>
                    <a:gd name="connsiteY1723" fmla="*/ 54801 h 866556"/>
                    <a:gd name="connsiteX1724" fmla="*/ 90683 w 491582"/>
                    <a:gd name="connsiteY1724" fmla="*/ 54084 h 866556"/>
                    <a:gd name="connsiteX1725" fmla="*/ 90416 w 491582"/>
                    <a:gd name="connsiteY1725" fmla="*/ 54012 h 866556"/>
                    <a:gd name="connsiteX1726" fmla="*/ 90307 w 491582"/>
                    <a:gd name="connsiteY1726" fmla="*/ 53854 h 866556"/>
                    <a:gd name="connsiteX1727" fmla="*/ 89336 w 491582"/>
                    <a:gd name="connsiteY1727" fmla="*/ 52069 h 866556"/>
                    <a:gd name="connsiteX1728" fmla="*/ 88886 w 491582"/>
                    <a:gd name="connsiteY1728" fmla="*/ 51231 h 866556"/>
                    <a:gd name="connsiteX1729" fmla="*/ 88206 w 491582"/>
                    <a:gd name="connsiteY1729" fmla="*/ 50575 h 866556"/>
                    <a:gd name="connsiteX1730" fmla="*/ 87466 w 491582"/>
                    <a:gd name="connsiteY1730" fmla="*/ 49859 h 866556"/>
                    <a:gd name="connsiteX1731" fmla="*/ 88631 w 491582"/>
                    <a:gd name="connsiteY1731" fmla="*/ 48487 h 866556"/>
                    <a:gd name="connsiteX1732" fmla="*/ 89493 w 491582"/>
                    <a:gd name="connsiteY1732" fmla="*/ 47454 h 866556"/>
                    <a:gd name="connsiteX1733" fmla="*/ 89846 w 491582"/>
                    <a:gd name="connsiteY1733" fmla="*/ 46167 h 866556"/>
                    <a:gd name="connsiteX1734" fmla="*/ 90987 w 491582"/>
                    <a:gd name="connsiteY1734" fmla="*/ 41966 h 866556"/>
                    <a:gd name="connsiteX1735" fmla="*/ 92590 w 491582"/>
                    <a:gd name="connsiteY1735" fmla="*/ 36065 h 866556"/>
                    <a:gd name="connsiteX1736" fmla="*/ 86664 w 491582"/>
                    <a:gd name="connsiteY1736" fmla="*/ 34510 h 866556"/>
                    <a:gd name="connsiteX1737" fmla="*/ 78116 w 491582"/>
                    <a:gd name="connsiteY1737" fmla="*/ 32264 h 866556"/>
                    <a:gd name="connsiteX1738" fmla="*/ 77156 w 491582"/>
                    <a:gd name="connsiteY1738" fmla="*/ 32009 h 866556"/>
                    <a:gd name="connsiteX1739" fmla="*/ 76173 w 491582"/>
                    <a:gd name="connsiteY1739" fmla="*/ 32069 h 866556"/>
                    <a:gd name="connsiteX1740" fmla="*/ 73817 w 491582"/>
                    <a:gd name="connsiteY1740" fmla="*/ 32227 h 866556"/>
                    <a:gd name="connsiteX1741" fmla="*/ 71243 w 491582"/>
                    <a:gd name="connsiteY1741" fmla="*/ 32397 h 866556"/>
                    <a:gd name="connsiteX1742" fmla="*/ 69943 w 491582"/>
                    <a:gd name="connsiteY1742" fmla="*/ 33952 h 866556"/>
                    <a:gd name="connsiteX1743" fmla="*/ 68571 w 491582"/>
                    <a:gd name="connsiteY1743" fmla="*/ 31754 h 866556"/>
                    <a:gd name="connsiteX1744" fmla="*/ 67964 w 491582"/>
                    <a:gd name="connsiteY1744" fmla="*/ 30794 h 866556"/>
                    <a:gd name="connsiteX1745" fmla="*/ 67053 w 491582"/>
                    <a:gd name="connsiteY1745" fmla="*/ 30114 h 866556"/>
                    <a:gd name="connsiteX1746" fmla="*/ 65912 w 491582"/>
                    <a:gd name="connsiteY1746" fmla="*/ 29265 h 866556"/>
                    <a:gd name="connsiteX1747" fmla="*/ 64479 w 491582"/>
                    <a:gd name="connsiteY1747" fmla="*/ 28196 h 866556"/>
                    <a:gd name="connsiteX1748" fmla="*/ 62694 w 491582"/>
                    <a:gd name="connsiteY1748" fmla="*/ 28062 h 866556"/>
                    <a:gd name="connsiteX1749" fmla="*/ 60970 w 491582"/>
                    <a:gd name="connsiteY1749" fmla="*/ 27941 h 866556"/>
                    <a:gd name="connsiteX1750" fmla="*/ 59792 w 491582"/>
                    <a:gd name="connsiteY1750" fmla="*/ 27856 h 866556"/>
                    <a:gd name="connsiteX1751" fmla="*/ 59136 w 491582"/>
                    <a:gd name="connsiteY1751" fmla="*/ 28086 h 866556"/>
                    <a:gd name="connsiteX1752" fmla="*/ 59173 w 491582"/>
                    <a:gd name="connsiteY1752" fmla="*/ 27977 h 866556"/>
                    <a:gd name="connsiteX1753" fmla="*/ 59270 w 491582"/>
                    <a:gd name="connsiteY1753" fmla="*/ 27540 h 866556"/>
                    <a:gd name="connsiteX1754" fmla="*/ 59440 w 491582"/>
                    <a:gd name="connsiteY1754" fmla="*/ 26763 h 866556"/>
                    <a:gd name="connsiteX1755" fmla="*/ 59901 w 491582"/>
                    <a:gd name="connsiteY1755" fmla="*/ 24589 h 866556"/>
                    <a:gd name="connsiteX1756" fmla="*/ 58845 w 491582"/>
                    <a:gd name="connsiteY1756" fmla="*/ 22634 h 866556"/>
                    <a:gd name="connsiteX1757" fmla="*/ 58505 w 491582"/>
                    <a:gd name="connsiteY1757" fmla="*/ 22003 h 866556"/>
                    <a:gd name="connsiteX1758" fmla="*/ 57861 w 491582"/>
                    <a:gd name="connsiteY1758" fmla="*/ 20813 h 866556"/>
                    <a:gd name="connsiteX1759" fmla="*/ 56793 w 491582"/>
                    <a:gd name="connsiteY1759" fmla="*/ 20011 h 866556"/>
                    <a:gd name="connsiteX1760" fmla="*/ 55760 w 491582"/>
                    <a:gd name="connsiteY1760" fmla="*/ 19246 h 866556"/>
                    <a:gd name="connsiteX1761" fmla="*/ 55469 w 491582"/>
                    <a:gd name="connsiteY1761" fmla="*/ 19016 h 866556"/>
                    <a:gd name="connsiteX1762" fmla="*/ 55153 w 491582"/>
                    <a:gd name="connsiteY1762" fmla="*/ 18834 h 866556"/>
                    <a:gd name="connsiteX1763" fmla="*/ 50903 w 491582"/>
                    <a:gd name="connsiteY1763" fmla="*/ 16393 h 866556"/>
                    <a:gd name="connsiteX1764" fmla="*/ 50393 w 491582"/>
                    <a:gd name="connsiteY1764" fmla="*/ 16101 h 866556"/>
                    <a:gd name="connsiteX1765" fmla="*/ 49823 w 491582"/>
                    <a:gd name="connsiteY1765" fmla="*/ 15907 h 866556"/>
                    <a:gd name="connsiteX1766" fmla="*/ 47746 w 491582"/>
                    <a:gd name="connsiteY1766" fmla="*/ 15203 h 866556"/>
                    <a:gd name="connsiteX1767" fmla="*/ 46762 w 491582"/>
                    <a:gd name="connsiteY1767" fmla="*/ 14875 h 866556"/>
                    <a:gd name="connsiteX1768" fmla="*/ 45718 w 491582"/>
                    <a:gd name="connsiteY1768" fmla="*/ 14887 h 866556"/>
                    <a:gd name="connsiteX1769" fmla="*/ 43314 w 491582"/>
                    <a:gd name="connsiteY1769" fmla="*/ 14924 h 866556"/>
                    <a:gd name="connsiteX1770" fmla="*/ 41796 w 491582"/>
                    <a:gd name="connsiteY1770" fmla="*/ 14948 h 866556"/>
                    <a:gd name="connsiteX1771" fmla="*/ 40557 w 491582"/>
                    <a:gd name="connsiteY1771" fmla="*/ 15640 h 866556"/>
                    <a:gd name="connsiteX1772" fmla="*/ 40266 w 491582"/>
                    <a:gd name="connsiteY1772" fmla="*/ 14511 h 866556"/>
                    <a:gd name="connsiteX1773" fmla="*/ 37667 w 491582"/>
                    <a:gd name="connsiteY1773" fmla="*/ 12823 h 866556"/>
                    <a:gd name="connsiteX1774" fmla="*/ 36854 w 491582"/>
                    <a:gd name="connsiteY1774" fmla="*/ 12422 h 866556"/>
                    <a:gd name="connsiteX1775" fmla="*/ 36222 w 491582"/>
                    <a:gd name="connsiteY1775" fmla="*/ 12118 h 866556"/>
                    <a:gd name="connsiteX1776" fmla="*/ 35530 w 491582"/>
                    <a:gd name="connsiteY1776" fmla="*/ 11948 h 866556"/>
                    <a:gd name="connsiteX1777" fmla="*/ 34559 w 491582"/>
                    <a:gd name="connsiteY1777" fmla="*/ 11718 h 866556"/>
                    <a:gd name="connsiteX1778" fmla="*/ 34146 w 491582"/>
                    <a:gd name="connsiteY1778" fmla="*/ 11621 h 866556"/>
                    <a:gd name="connsiteX1779" fmla="*/ 33733 w 491582"/>
                    <a:gd name="connsiteY1779" fmla="*/ 11584 h 866556"/>
                    <a:gd name="connsiteX1780" fmla="*/ 31462 w 491582"/>
                    <a:gd name="connsiteY1780" fmla="*/ 11378 h 866556"/>
                    <a:gd name="connsiteX1781" fmla="*/ 31110 w 491582"/>
                    <a:gd name="connsiteY1781" fmla="*/ 8876 h 866556"/>
                    <a:gd name="connsiteX1782" fmla="*/ 31062 w 491582"/>
                    <a:gd name="connsiteY1782" fmla="*/ 8537 h 866556"/>
                    <a:gd name="connsiteX1783" fmla="*/ 30977 w 491582"/>
                    <a:gd name="connsiteY1783" fmla="*/ 8209 h 866556"/>
                    <a:gd name="connsiteX1784" fmla="*/ 30746 w 491582"/>
                    <a:gd name="connsiteY1784" fmla="*/ 7322 h 866556"/>
                    <a:gd name="connsiteX1785" fmla="*/ 30661 w 491582"/>
                    <a:gd name="connsiteY1785" fmla="*/ 7006 h 866556"/>
                    <a:gd name="connsiteX1786" fmla="*/ 30539 w 491582"/>
                    <a:gd name="connsiteY1786" fmla="*/ 6691 h 866556"/>
                    <a:gd name="connsiteX1787" fmla="*/ 30187 w 491582"/>
                    <a:gd name="connsiteY1787" fmla="*/ 5780 h 866556"/>
                    <a:gd name="connsiteX1788" fmla="*/ 29908 w 491582"/>
                    <a:gd name="connsiteY1788" fmla="*/ 5027 h 866556"/>
                    <a:gd name="connsiteX1789" fmla="*/ 29447 w 491582"/>
                    <a:gd name="connsiteY1789" fmla="*/ 4384 h 866556"/>
                    <a:gd name="connsiteX1790" fmla="*/ 29046 w 491582"/>
                    <a:gd name="connsiteY1790" fmla="*/ 3825 h 866556"/>
                    <a:gd name="connsiteX1791" fmla="*/ 28172 w 491582"/>
                    <a:gd name="connsiteY1791" fmla="*/ 2611 h 866556"/>
                    <a:gd name="connsiteX1792" fmla="*/ 26824 w 491582"/>
                    <a:gd name="connsiteY1792" fmla="*/ 1931 h 866556"/>
                    <a:gd name="connsiteX1793" fmla="*/ 25962 w 491582"/>
                    <a:gd name="connsiteY1793" fmla="*/ 1506 h 866556"/>
                    <a:gd name="connsiteX1794" fmla="*/ 25427 w 491582"/>
                    <a:gd name="connsiteY1794" fmla="*/ 1251 h 866556"/>
                    <a:gd name="connsiteX1795" fmla="*/ 24832 w 491582"/>
                    <a:gd name="connsiteY1795" fmla="*/ 1081 h 866556"/>
                    <a:gd name="connsiteX1796" fmla="*/ 23460 w 491582"/>
                    <a:gd name="connsiteY1796" fmla="*/ 716 h 866556"/>
                    <a:gd name="connsiteX1797" fmla="*/ 23108 w 491582"/>
                    <a:gd name="connsiteY1797" fmla="*/ 619 h 866556"/>
                    <a:gd name="connsiteX1798" fmla="*/ 22732 w 491582"/>
                    <a:gd name="connsiteY1798" fmla="*/ 571 h 866556"/>
                    <a:gd name="connsiteX1799" fmla="*/ 20254 w 491582"/>
                    <a:gd name="connsiteY1799" fmla="*/ 230 h 866556"/>
                    <a:gd name="connsiteX1800" fmla="*/ 19927 w 491582"/>
                    <a:gd name="connsiteY1800" fmla="*/ 0 h 866556"/>
                    <a:gd name="connsiteX1801" fmla="*/ 19927 w 491582"/>
                    <a:gd name="connsiteY1801" fmla="*/ 0 h 866556"/>
                    <a:gd name="connsiteX1802" fmla="*/ 82341 w 491582"/>
                    <a:gd name="connsiteY1802" fmla="*/ 148459 h 866556"/>
                    <a:gd name="connsiteX1803" fmla="*/ 82317 w 491582"/>
                    <a:gd name="connsiteY1803" fmla="*/ 147124 h 866556"/>
                    <a:gd name="connsiteX1804" fmla="*/ 82438 w 491582"/>
                    <a:gd name="connsiteY1804" fmla="*/ 140773 h 866556"/>
                    <a:gd name="connsiteX1805" fmla="*/ 84879 w 491582"/>
                    <a:gd name="connsiteY1805" fmla="*/ 141259 h 866556"/>
                    <a:gd name="connsiteX1806" fmla="*/ 84855 w 491582"/>
                    <a:gd name="connsiteY1806" fmla="*/ 141332 h 866556"/>
                    <a:gd name="connsiteX1807" fmla="*/ 85462 w 491582"/>
                    <a:gd name="connsiteY1807" fmla="*/ 143202 h 866556"/>
                    <a:gd name="connsiteX1808" fmla="*/ 85802 w 491582"/>
                    <a:gd name="connsiteY1808" fmla="*/ 144258 h 866556"/>
                    <a:gd name="connsiteX1809" fmla="*/ 85644 w 491582"/>
                    <a:gd name="connsiteY1809" fmla="*/ 145715 h 866556"/>
                    <a:gd name="connsiteX1810" fmla="*/ 85571 w 491582"/>
                    <a:gd name="connsiteY1810" fmla="*/ 146371 h 866556"/>
                    <a:gd name="connsiteX1811" fmla="*/ 83082 w 491582"/>
                    <a:gd name="connsiteY1811" fmla="*/ 146189 h 866556"/>
                    <a:gd name="connsiteX1812" fmla="*/ 82341 w 491582"/>
                    <a:gd name="connsiteY1812" fmla="*/ 148459 h 866556"/>
                    <a:gd name="connsiteX1813" fmla="*/ 82341 w 491582"/>
                    <a:gd name="connsiteY1813" fmla="*/ 148459 h 866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Lst>
                  <a:rect l="l" t="t" r="r" b="b"/>
                  <a:pathLst>
                    <a:path w="491582" h="866556">
                      <a:moveTo>
                        <a:pt x="19672" y="6096"/>
                      </a:moveTo>
                      <a:lnTo>
                        <a:pt x="22149" y="6436"/>
                      </a:lnTo>
                      <a:lnTo>
                        <a:pt x="23521" y="6800"/>
                      </a:lnTo>
                      <a:lnTo>
                        <a:pt x="24383" y="7225"/>
                      </a:lnTo>
                      <a:lnTo>
                        <a:pt x="24784" y="7784"/>
                      </a:lnTo>
                      <a:lnTo>
                        <a:pt x="25136" y="8694"/>
                      </a:lnTo>
                      <a:lnTo>
                        <a:pt x="25367" y="9581"/>
                      </a:lnTo>
                      <a:lnTo>
                        <a:pt x="25816" y="12774"/>
                      </a:lnTo>
                      <a:lnTo>
                        <a:pt x="26217" y="14061"/>
                      </a:lnTo>
                      <a:lnTo>
                        <a:pt x="26848" y="15179"/>
                      </a:lnTo>
                      <a:lnTo>
                        <a:pt x="28002" y="16393"/>
                      </a:lnTo>
                      <a:lnTo>
                        <a:pt x="28864" y="16903"/>
                      </a:lnTo>
                      <a:lnTo>
                        <a:pt x="29896" y="17158"/>
                      </a:lnTo>
                      <a:lnTo>
                        <a:pt x="33454" y="17474"/>
                      </a:lnTo>
                      <a:lnTo>
                        <a:pt x="34425" y="17704"/>
                      </a:lnTo>
                      <a:lnTo>
                        <a:pt x="35239" y="18105"/>
                      </a:lnTo>
                      <a:lnTo>
                        <a:pt x="35348" y="18542"/>
                      </a:lnTo>
                      <a:lnTo>
                        <a:pt x="35348" y="19076"/>
                      </a:lnTo>
                      <a:lnTo>
                        <a:pt x="34947" y="20461"/>
                      </a:lnTo>
                      <a:lnTo>
                        <a:pt x="34887" y="21153"/>
                      </a:lnTo>
                      <a:lnTo>
                        <a:pt x="35178" y="21979"/>
                      </a:lnTo>
                      <a:lnTo>
                        <a:pt x="36101" y="23072"/>
                      </a:lnTo>
                      <a:lnTo>
                        <a:pt x="37412" y="23679"/>
                      </a:lnTo>
                      <a:lnTo>
                        <a:pt x="38505" y="23982"/>
                      </a:lnTo>
                      <a:lnTo>
                        <a:pt x="39319" y="23885"/>
                      </a:lnTo>
                      <a:lnTo>
                        <a:pt x="39999" y="23448"/>
                      </a:lnTo>
                      <a:lnTo>
                        <a:pt x="42185" y="21663"/>
                      </a:lnTo>
                      <a:lnTo>
                        <a:pt x="43678" y="20837"/>
                      </a:lnTo>
                      <a:lnTo>
                        <a:pt x="46082" y="20801"/>
                      </a:lnTo>
                      <a:lnTo>
                        <a:pt x="48159" y="21505"/>
                      </a:lnTo>
                      <a:lnTo>
                        <a:pt x="52409" y="23946"/>
                      </a:lnTo>
                      <a:lnTo>
                        <a:pt x="53441" y="24711"/>
                      </a:lnTo>
                      <a:lnTo>
                        <a:pt x="53781" y="25342"/>
                      </a:lnTo>
                      <a:lnTo>
                        <a:pt x="53611" y="26119"/>
                      </a:lnTo>
                      <a:lnTo>
                        <a:pt x="53089" y="27516"/>
                      </a:lnTo>
                      <a:lnTo>
                        <a:pt x="52870" y="28839"/>
                      </a:lnTo>
                      <a:lnTo>
                        <a:pt x="52810" y="30151"/>
                      </a:lnTo>
                      <a:lnTo>
                        <a:pt x="53150" y="31438"/>
                      </a:lnTo>
                      <a:lnTo>
                        <a:pt x="53842" y="32834"/>
                      </a:lnTo>
                      <a:lnTo>
                        <a:pt x="55335" y="34619"/>
                      </a:lnTo>
                      <a:lnTo>
                        <a:pt x="56647" y="35166"/>
                      </a:lnTo>
                      <a:lnTo>
                        <a:pt x="57983" y="35008"/>
                      </a:lnTo>
                      <a:lnTo>
                        <a:pt x="59294" y="34316"/>
                      </a:lnTo>
                      <a:lnTo>
                        <a:pt x="60848" y="33806"/>
                      </a:lnTo>
                      <a:lnTo>
                        <a:pt x="62573" y="33927"/>
                      </a:lnTo>
                      <a:lnTo>
                        <a:pt x="63714" y="34777"/>
                      </a:lnTo>
                      <a:lnTo>
                        <a:pt x="66422" y="39088"/>
                      </a:lnTo>
                      <a:lnTo>
                        <a:pt x="67733" y="40363"/>
                      </a:lnTo>
                      <a:lnTo>
                        <a:pt x="68948" y="40825"/>
                      </a:lnTo>
                      <a:lnTo>
                        <a:pt x="70210" y="40909"/>
                      </a:lnTo>
                      <a:lnTo>
                        <a:pt x="71473" y="40630"/>
                      </a:lnTo>
                      <a:lnTo>
                        <a:pt x="72627" y="40059"/>
                      </a:lnTo>
                      <a:lnTo>
                        <a:pt x="73416" y="39367"/>
                      </a:lnTo>
                      <a:lnTo>
                        <a:pt x="74509" y="38080"/>
                      </a:lnTo>
                      <a:lnTo>
                        <a:pt x="76865" y="37922"/>
                      </a:lnTo>
                      <a:lnTo>
                        <a:pt x="85413" y="40169"/>
                      </a:lnTo>
                      <a:lnTo>
                        <a:pt x="84272" y="44370"/>
                      </a:lnTo>
                      <a:lnTo>
                        <a:pt x="81637" y="47503"/>
                      </a:lnTo>
                      <a:lnTo>
                        <a:pt x="80945" y="49628"/>
                      </a:lnTo>
                      <a:lnTo>
                        <a:pt x="81054" y="51207"/>
                      </a:lnTo>
                      <a:lnTo>
                        <a:pt x="81807" y="52360"/>
                      </a:lnTo>
                      <a:lnTo>
                        <a:pt x="84272" y="54740"/>
                      </a:lnTo>
                      <a:lnTo>
                        <a:pt x="85413" y="56865"/>
                      </a:lnTo>
                      <a:lnTo>
                        <a:pt x="86348" y="58189"/>
                      </a:lnTo>
                      <a:lnTo>
                        <a:pt x="87089" y="58978"/>
                      </a:lnTo>
                      <a:lnTo>
                        <a:pt x="87599" y="59233"/>
                      </a:lnTo>
                      <a:lnTo>
                        <a:pt x="87891" y="59355"/>
                      </a:lnTo>
                      <a:lnTo>
                        <a:pt x="88303" y="59464"/>
                      </a:lnTo>
                      <a:lnTo>
                        <a:pt x="89615" y="60435"/>
                      </a:lnTo>
                      <a:lnTo>
                        <a:pt x="91679" y="63775"/>
                      </a:lnTo>
                      <a:lnTo>
                        <a:pt x="92250" y="64467"/>
                      </a:lnTo>
                      <a:lnTo>
                        <a:pt x="92723" y="64916"/>
                      </a:lnTo>
                      <a:lnTo>
                        <a:pt x="93173" y="65171"/>
                      </a:lnTo>
                      <a:lnTo>
                        <a:pt x="93513" y="65208"/>
                      </a:lnTo>
                      <a:lnTo>
                        <a:pt x="94666" y="65001"/>
                      </a:lnTo>
                      <a:lnTo>
                        <a:pt x="100009" y="63532"/>
                      </a:lnTo>
                      <a:lnTo>
                        <a:pt x="101272" y="63507"/>
                      </a:lnTo>
                      <a:lnTo>
                        <a:pt x="102936" y="63848"/>
                      </a:lnTo>
                      <a:lnTo>
                        <a:pt x="103458" y="64333"/>
                      </a:lnTo>
                      <a:lnTo>
                        <a:pt x="103676" y="65001"/>
                      </a:lnTo>
                      <a:lnTo>
                        <a:pt x="103737" y="65633"/>
                      </a:lnTo>
                      <a:lnTo>
                        <a:pt x="103628" y="66495"/>
                      </a:lnTo>
                      <a:lnTo>
                        <a:pt x="103276" y="67612"/>
                      </a:lnTo>
                      <a:lnTo>
                        <a:pt x="102596" y="68765"/>
                      </a:lnTo>
                      <a:lnTo>
                        <a:pt x="101794" y="69652"/>
                      </a:lnTo>
                      <a:lnTo>
                        <a:pt x="99086" y="71716"/>
                      </a:lnTo>
                      <a:lnTo>
                        <a:pt x="98516" y="72955"/>
                      </a:lnTo>
                      <a:lnTo>
                        <a:pt x="98224" y="74509"/>
                      </a:lnTo>
                      <a:lnTo>
                        <a:pt x="98346" y="77521"/>
                      </a:lnTo>
                      <a:lnTo>
                        <a:pt x="98686" y="79002"/>
                      </a:lnTo>
                      <a:lnTo>
                        <a:pt x="99439" y="80252"/>
                      </a:lnTo>
                      <a:lnTo>
                        <a:pt x="101734" y="82608"/>
                      </a:lnTo>
                      <a:lnTo>
                        <a:pt x="103798" y="85826"/>
                      </a:lnTo>
                      <a:lnTo>
                        <a:pt x="105000" y="89178"/>
                      </a:lnTo>
                      <a:lnTo>
                        <a:pt x="106214" y="94812"/>
                      </a:lnTo>
                      <a:lnTo>
                        <a:pt x="106955" y="97131"/>
                      </a:lnTo>
                      <a:lnTo>
                        <a:pt x="107647" y="98443"/>
                      </a:lnTo>
                      <a:lnTo>
                        <a:pt x="108449" y="98783"/>
                      </a:lnTo>
                      <a:lnTo>
                        <a:pt x="109311" y="98929"/>
                      </a:lnTo>
                      <a:lnTo>
                        <a:pt x="110343" y="98965"/>
                      </a:lnTo>
                      <a:lnTo>
                        <a:pt x="112189" y="98722"/>
                      </a:lnTo>
                      <a:lnTo>
                        <a:pt x="113269" y="98722"/>
                      </a:lnTo>
                      <a:lnTo>
                        <a:pt x="114593" y="98977"/>
                      </a:lnTo>
                      <a:lnTo>
                        <a:pt x="117471" y="101588"/>
                      </a:lnTo>
                      <a:lnTo>
                        <a:pt x="135260" y="122388"/>
                      </a:lnTo>
                      <a:lnTo>
                        <a:pt x="138308" y="125060"/>
                      </a:lnTo>
                      <a:lnTo>
                        <a:pt x="143882" y="126493"/>
                      </a:lnTo>
                      <a:lnTo>
                        <a:pt x="145946" y="127319"/>
                      </a:lnTo>
                      <a:lnTo>
                        <a:pt x="148302" y="128812"/>
                      </a:lnTo>
                      <a:lnTo>
                        <a:pt x="149565" y="130221"/>
                      </a:lnTo>
                      <a:lnTo>
                        <a:pt x="150657" y="131860"/>
                      </a:lnTo>
                      <a:lnTo>
                        <a:pt x="151738" y="133985"/>
                      </a:lnTo>
                      <a:lnTo>
                        <a:pt x="152673" y="135102"/>
                      </a:lnTo>
                      <a:lnTo>
                        <a:pt x="153645" y="135661"/>
                      </a:lnTo>
                      <a:lnTo>
                        <a:pt x="154616" y="135661"/>
                      </a:lnTo>
                      <a:lnTo>
                        <a:pt x="157312" y="134920"/>
                      </a:lnTo>
                      <a:lnTo>
                        <a:pt x="158975" y="135042"/>
                      </a:lnTo>
                      <a:lnTo>
                        <a:pt x="160590" y="135794"/>
                      </a:lnTo>
                      <a:lnTo>
                        <a:pt x="164780" y="138927"/>
                      </a:lnTo>
                      <a:lnTo>
                        <a:pt x="166225" y="139789"/>
                      </a:lnTo>
                      <a:lnTo>
                        <a:pt x="167718" y="140275"/>
                      </a:lnTo>
                      <a:lnTo>
                        <a:pt x="169030" y="140421"/>
                      </a:lnTo>
                      <a:lnTo>
                        <a:pt x="170062" y="140385"/>
                      </a:lnTo>
                      <a:lnTo>
                        <a:pt x="171665" y="140081"/>
                      </a:lnTo>
                      <a:lnTo>
                        <a:pt x="172709" y="140057"/>
                      </a:lnTo>
                      <a:lnTo>
                        <a:pt x="174251" y="140202"/>
                      </a:lnTo>
                      <a:lnTo>
                        <a:pt x="176437" y="140834"/>
                      </a:lnTo>
                      <a:lnTo>
                        <a:pt x="177360" y="141465"/>
                      </a:lnTo>
                      <a:lnTo>
                        <a:pt x="178100" y="143299"/>
                      </a:lnTo>
                      <a:lnTo>
                        <a:pt x="178853" y="149334"/>
                      </a:lnTo>
                      <a:lnTo>
                        <a:pt x="180226" y="152649"/>
                      </a:lnTo>
                      <a:lnTo>
                        <a:pt x="181428" y="154495"/>
                      </a:lnTo>
                      <a:lnTo>
                        <a:pt x="184184" y="157700"/>
                      </a:lnTo>
                      <a:lnTo>
                        <a:pt x="187523" y="160748"/>
                      </a:lnTo>
                      <a:lnTo>
                        <a:pt x="190450" y="162557"/>
                      </a:lnTo>
                      <a:lnTo>
                        <a:pt x="193316" y="163820"/>
                      </a:lnTo>
                      <a:lnTo>
                        <a:pt x="196594" y="164743"/>
                      </a:lnTo>
                      <a:lnTo>
                        <a:pt x="200213" y="165375"/>
                      </a:lnTo>
                      <a:lnTo>
                        <a:pt x="204341" y="165460"/>
                      </a:lnTo>
                      <a:lnTo>
                        <a:pt x="214796" y="168107"/>
                      </a:lnTo>
                      <a:lnTo>
                        <a:pt x="218986" y="167682"/>
                      </a:lnTo>
                      <a:lnTo>
                        <a:pt x="226053" y="163723"/>
                      </a:lnTo>
                      <a:lnTo>
                        <a:pt x="232647" y="161428"/>
                      </a:lnTo>
                      <a:lnTo>
                        <a:pt x="235755" y="161549"/>
                      </a:lnTo>
                      <a:lnTo>
                        <a:pt x="237237" y="162351"/>
                      </a:lnTo>
                      <a:lnTo>
                        <a:pt x="237880" y="164039"/>
                      </a:lnTo>
                      <a:lnTo>
                        <a:pt x="237989" y="168495"/>
                      </a:lnTo>
                      <a:lnTo>
                        <a:pt x="237237" y="175490"/>
                      </a:lnTo>
                      <a:lnTo>
                        <a:pt x="237540" y="177554"/>
                      </a:lnTo>
                      <a:lnTo>
                        <a:pt x="238390" y="179048"/>
                      </a:lnTo>
                      <a:lnTo>
                        <a:pt x="240697" y="181088"/>
                      </a:lnTo>
                      <a:lnTo>
                        <a:pt x="242239" y="181634"/>
                      </a:lnTo>
                      <a:lnTo>
                        <a:pt x="243842" y="181634"/>
                      </a:lnTo>
                      <a:lnTo>
                        <a:pt x="245166" y="180881"/>
                      </a:lnTo>
                      <a:lnTo>
                        <a:pt x="246550" y="180250"/>
                      </a:lnTo>
                      <a:lnTo>
                        <a:pt x="248275" y="179788"/>
                      </a:lnTo>
                      <a:lnTo>
                        <a:pt x="251262" y="179910"/>
                      </a:lnTo>
                      <a:lnTo>
                        <a:pt x="253484" y="180663"/>
                      </a:lnTo>
                      <a:lnTo>
                        <a:pt x="255342" y="181731"/>
                      </a:lnTo>
                      <a:lnTo>
                        <a:pt x="256896" y="183334"/>
                      </a:lnTo>
                      <a:lnTo>
                        <a:pt x="257867" y="184755"/>
                      </a:lnTo>
                      <a:lnTo>
                        <a:pt x="259762" y="188276"/>
                      </a:lnTo>
                      <a:lnTo>
                        <a:pt x="260612" y="189588"/>
                      </a:lnTo>
                      <a:lnTo>
                        <a:pt x="261996" y="191203"/>
                      </a:lnTo>
                      <a:lnTo>
                        <a:pt x="263259" y="191749"/>
                      </a:lnTo>
                      <a:lnTo>
                        <a:pt x="264291" y="191749"/>
                      </a:lnTo>
                      <a:lnTo>
                        <a:pt x="266125" y="190850"/>
                      </a:lnTo>
                      <a:lnTo>
                        <a:pt x="267339" y="190595"/>
                      </a:lnTo>
                      <a:lnTo>
                        <a:pt x="269221" y="190656"/>
                      </a:lnTo>
                      <a:lnTo>
                        <a:pt x="270715" y="191421"/>
                      </a:lnTo>
                      <a:lnTo>
                        <a:pt x="272050" y="192660"/>
                      </a:lnTo>
                      <a:lnTo>
                        <a:pt x="276240" y="198573"/>
                      </a:lnTo>
                      <a:lnTo>
                        <a:pt x="278656" y="201038"/>
                      </a:lnTo>
                      <a:lnTo>
                        <a:pt x="280198" y="202131"/>
                      </a:lnTo>
                      <a:lnTo>
                        <a:pt x="281583" y="202678"/>
                      </a:lnTo>
                      <a:lnTo>
                        <a:pt x="285080" y="203370"/>
                      </a:lnTo>
                      <a:lnTo>
                        <a:pt x="286513" y="203540"/>
                      </a:lnTo>
                      <a:lnTo>
                        <a:pt x="287885" y="203346"/>
                      </a:lnTo>
                      <a:lnTo>
                        <a:pt x="290411" y="202301"/>
                      </a:lnTo>
                      <a:lnTo>
                        <a:pt x="291795" y="201998"/>
                      </a:lnTo>
                      <a:lnTo>
                        <a:pt x="293859" y="202228"/>
                      </a:lnTo>
                      <a:lnTo>
                        <a:pt x="295183" y="203236"/>
                      </a:lnTo>
                      <a:lnTo>
                        <a:pt x="296105" y="204815"/>
                      </a:lnTo>
                      <a:lnTo>
                        <a:pt x="296567" y="206709"/>
                      </a:lnTo>
                      <a:lnTo>
                        <a:pt x="296737" y="210619"/>
                      </a:lnTo>
                      <a:lnTo>
                        <a:pt x="297368" y="214201"/>
                      </a:lnTo>
                      <a:lnTo>
                        <a:pt x="300186" y="217905"/>
                      </a:lnTo>
                      <a:lnTo>
                        <a:pt x="300878" y="219277"/>
                      </a:lnTo>
                      <a:lnTo>
                        <a:pt x="300817" y="219799"/>
                      </a:lnTo>
                      <a:lnTo>
                        <a:pt x="300574" y="220686"/>
                      </a:lnTo>
                      <a:lnTo>
                        <a:pt x="300064" y="221317"/>
                      </a:lnTo>
                      <a:lnTo>
                        <a:pt x="299202" y="221839"/>
                      </a:lnTo>
                      <a:lnTo>
                        <a:pt x="297708" y="222386"/>
                      </a:lnTo>
                      <a:lnTo>
                        <a:pt x="294612" y="223053"/>
                      </a:lnTo>
                      <a:lnTo>
                        <a:pt x="292366" y="224608"/>
                      </a:lnTo>
                      <a:lnTo>
                        <a:pt x="290823" y="226405"/>
                      </a:lnTo>
                      <a:lnTo>
                        <a:pt x="289791" y="228323"/>
                      </a:lnTo>
                      <a:lnTo>
                        <a:pt x="288128" y="230534"/>
                      </a:lnTo>
                      <a:lnTo>
                        <a:pt x="285821" y="232209"/>
                      </a:lnTo>
                      <a:lnTo>
                        <a:pt x="281401" y="233096"/>
                      </a:lnTo>
                      <a:lnTo>
                        <a:pt x="278353" y="232974"/>
                      </a:lnTo>
                      <a:lnTo>
                        <a:pt x="274163" y="231481"/>
                      </a:lnTo>
                      <a:lnTo>
                        <a:pt x="272099" y="230449"/>
                      </a:lnTo>
                      <a:lnTo>
                        <a:pt x="267339" y="229841"/>
                      </a:lnTo>
                      <a:lnTo>
                        <a:pt x="266125" y="231687"/>
                      </a:lnTo>
                      <a:lnTo>
                        <a:pt x="265663" y="233327"/>
                      </a:lnTo>
                      <a:lnTo>
                        <a:pt x="265785" y="234990"/>
                      </a:lnTo>
                      <a:lnTo>
                        <a:pt x="266695" y="238147"/>
                      </a:lnTo>
                      <a:lnTo>
                        <a:pt x="266586" y="239617"/>
                      </a:lnTo>
                      <a:lnTo>
                        <a:pt x="265554" y="242628"/>
                      </a:lnTo>
                      <a:lnTo>
                        <a:pt x="265445" y="244061"/>
                      </a:lnTo>
                      <a:lnTo>
                        <a:pt x="265906" y="245372"/>
                      </a:lnTo>
                      <a:lnTo>
                        <a:pt x="266647" y="246720"/>
                      </a:lnTo>
                      <a:lnTo>
                        <a:pt x="267048" y="247631"/>
                      </a:lnTo>
                      <a:lnTo>
                        <a:pt x="267339" y="248736"/>
                      </a:lnTo>
                      <a:lnTo>
                        <a:pt x="267509" y="249525"/>
                      </a:lnTo>
                      <a:lnTo>
                        <a:pt x="267509" y="249817"/>
                      </a:lnTo>
                      <a:lnTo>
                        <a:pt x="267679" y="250521"/>
                      </a:lnTo>
                      <a:lnTo>
                        <a:pt x="268480" y="252039"/>
                      </a:lnTo>
                      <a:lnTo>
                        <a:pt x="270265" y="253702"/>
                      </a:lnTo>
                      <a:lnTo>
                        <a:pt x="278595" y="255208"/>
                      </a:lnTo>
                      <a:lnTo>
                        <a:pt x="298923" y="261583"/>
                      </a:lnTo>
                      <a:lnTo>
                        <a:pt x="300756" y="262554"/>
                      </a:lnTo>
                      <a:lnTo>
                        <a:pt x="304606" y="266185"/>
                      </a:lnTo>
                      <a:lnTo>
                        <a:pt x="306269" y="267387"/>
                      </a:lnTo>
                      <a:lnTo>
                        <a:pt x="308734" y="268335"/>
                      </a:lnTo>
                      <a:lnTo>
                        <a:pt x="310859" y="268942"/>
                      </a:lnTo>
                      <a:lnTo>
                        <a:pt x="313215" y="270010"/>
                      </a:lnTo>
                      <a:lnTo>
                        <a:pt x="315109" y="271492"/>
                      </a:lnTo>
                      <a:lnTo>
                        <a:pt x="319129" y="277709"/>
                      </a:lnTo>
                      <a:lnTo>
                        <a:pt x="324010" y="280393"/>
                      </a:lnTo>
                      <a:lnTo>
                        <a:pt x="322286" y="285092"/>
                      </a:lnTo>
                      <a:lnTo>
                        <a:pt x="311041" y="293155"/>
                      </a:lnTo>
                      <a:lnTo>
                        <a:pt x="309366" y="294770"/>
                      </a:lnTo>
                      <a:lnTo>
                        <a:pt x="305516" y="300113"/>
                      </a:lnTo>
                      <a:lnTo>
                        <a:pt x="304776" y="302140"/>
                      </a:lnTo>
                      <a:lnTo>
                        <a:pt x="304897" y="303913"/>
                      </a:lnTo>
                      <a:lnTo>
                        <a:pt x="306269" y="305261"/>
                      </a:lnTo>
                      <a:lnTo>
                        <a:pt x="307824" y="305686"/>
                      </a:lnTo>
                      <a:lnTo>
                        <a:pt x="309645" y="305565"/>
                      </a:lnTo>
                      <a:lnTo>
                        <a:pt x="314186" y="303938"/>
                      </a:lnTo>
                      <a:lnTo>
                        <a:pt x="315158" y="303695"/>
                      </a:lnTo>
                      <a:lnTo>
                        <a:pt x="316141" y="303719"/>
                      </a:lnTo>
                      <a:lnTo>
                        <a:pt x="317234" y="304010"/>
                      </a:lnTo>
                      <a:lnTo>
                        <a:pt x="321824" y="306014"/>
                      </a:lnTo>
                      <a:lnTo>
                        <a:pt x="323609" y="306475"/>
                      </a:lnTo>
                      <a:lnTo>
                        <a:pt x="325382" y="306475"/>
                      </a:lnTo>
                      <a:lnTo>
                        <a:pt x="329754" y="305589"/>
                      </a:lnTo>
                      <a:lnTo>
                        <a:pt x="342431" y="304921"/>
                      </a:lnTo>
                      <a:lnTo>
                        <a:pt x="345199" y="304290"/>
                      </a:lnTo>
                      <a:lnTo>
                        <a:pt x="346462" y="303598"/>
                      </a:lnTo>
                      <a:lnTo>
                        <a:pt x="351805" y="299639"/>
                      </a:lnTo>
                      <a:lnTo>
                        <a:pt x="353177" y="298947"/>
                      </a:lnTo>
                      <a:lnTo>
                        <a:pt x="353991" y="299311"/>
                      </a:lnTo>
                      <a:lnTo>
                        <a:pt x="354209" y="300683"/>
                      </a:lnTo>
                      <a:lnTo>
                        <a:pt x="353748" y="304132"/>
                      </a:lnTo>
                      <a:lnTo>
                        <a:pt x="352777" y="306451"/>
                      </a:lnTo>
                      <a:lnTo>
                        <a:pt x="351562" y="308576"/>
                      </a:lnTo>
                      <a:lnTo>
                        <a:pt x="351174" y="310070"/>
                      </a:lnTo>
                      <a:lnTo>
                        <a:pt x="351344" y="311503"/>
                      </a:lnTo>
                      <a:lnTo>
                        <a:pt x="352667" y="313689"/>
                      </a:lnTo>
                      <a:lnTo>
                        <a:pt x="353869" y="314903"/>
                      </a:lnTo>
                      <a:lnTo>
                        <a:pt x="355424" y="316020"/>
                      </a:lnTo>
                      <a:lnTo>
                        <a:pt x="357100" y="318169"/>
                      </a:lnTo>
                      <a:lnTo>
                        <a:pt x="358411" y="321399"/>
                      </a:lnTo>
                      <a:lnTo>
                        <a:pt x="360475" y="328029"/>
                      </a:lnTo>
                      <a:lnTo>
                        <a:pt x="362017" y="331101"/>
                      </a:lnTo>
                      <a:lnTo>
                        <a:pt x="363632" y="333081"/>
                      </a:lnTo>
                      <a:lnTo>
                        <a:pt x="365005" y="333748"/>
                      </a:lnTo>
                      <a:lnTo>
                        <a:pt x="365927" y="334599"/>
                      </a:lnTo>
                      <a:lnTo>
                        <a:pt x="366170" y="335764"/>
                      </a:lnTo>
                      <a:lnTo>
                        <a:pt x="365235" y="337561"/>
                      </a:lnTo>
                      <a:lnTo>
                        <a:pt x="363924" y="338545"/>
                      </a:lnTo>
                      <a:lnTo>
                        <a:pt x="362187" y="339019"/>
                      </a:lnTo>
                      <a:lnTo>
                        <a:pt x="360536" y="338763"/>
                      </a:lnTo>
                      <a:lnTo>
                        <a:pt x="356857" y="337076"/>
                      </a:lnTo>
                      <a:lnTo>
                        <a:pt x="355132" y="336614"/>
                      </a:lnTo>
                      <a:lnTo>
                        <a:pt x="353529" y="336675"/>
                      </a:lnTo>
                      <a:lnTo>
                        <a:pt x="352145" y="337258"/>
                      </a:lnTo>
                      <a:lnTo>
                        <a:pt x="351174" y="338169"/>
                      </a:lnTo>
                      <a:lnTo>
                        <a:pt x="350190" y="339626"/>
                      </a:lnTo>
                      <a:lnTo>
                        <a:pt x="349449" y="341241"/>
                      </a:lnTo>
                      <a:lnTo>
                        <a:pt x="348697" y="343973"/>
                      </a:lnTo>
                      <a:lnTo>
                        <a:pt x="348296" y="346559"/>
                      </a:lnTo>
                      <a:lnTo>
                        <a:pt x="348478" y="349291"/>
                      </a:lnTo>
                      <a:lnTo>
                        <a:pt x="349280" y="352825"/>
                      </a:lnTo>
                      <a:lnTo>
                        <a:pt x="351684" y="357184"/>
                      </a:lnTo>
                      <a:lnTo>
                        <a:pt x="354209" y="359334"/>
                      </a:lnTo>
                      <a:lnTo>
                        <a:pt x="357136" y="360827"/>
                      </a:lnTo>
                      <a:lnTo>
                        <a:pt x="366437" y="363632"/>
                      </a:lnTo>
                      <a:lnTo>
                        <a:pt x="375970" y="368052"/>
                      </a:lnTo>
                      <a:lnTo>
                        <a:pt x="377645" y="369267"/>
                      </a:lnTo>
                      <a:lnTo>
                        <a:pt x="378678" y="370845"/>
                      </a:lnTo>
                      <a:lnTo>
                        <a:pt x="379540" y="372849"/>
                      </a:lnTo>
                      <a:lnTo>
                        <a:pt x="380450" y="375836"/>
                      </a:lnTo>
                      <a:lnTo>
                        <a:pt x="381203" y="377645"/>
                      </a:lnTo>
                      <a:lnTo>
                        <a:pt x="382405" y="379625"/>
                      </a:lnTo>
                      <a:lnTo>
                        <a:pt x="383960" y="380972"/>
                      </a:lnTo>
                      <a:lnTo>
                        <a:pt x="385441" y="381774"/>
                      </a:lnTo>
                      <a:lnTo>
                        <a:pt x="386886" y="382259"/>
                      </a:lnTo>
                      <a:lnTo>
                        <a:pt x="387931" y="382952"/>
                      </a:lnTo>
                      <a:lnTo>
                        <a:pt x="388550" y="384020"/>
                      </a:lnTo>
                      <a:lnTo>
                        <a:pt x="389060" y="386267"/>
                      </a:lnTo>
                      <a:lnTo>
                        <a:pt x="388999" y="388234"/>
                      </a:lnTo>
                      <a:lnTo>
                        <a:pt x="388611" y="390250"/>
                      </a:lnTo>
                      <a:lnTo>
                        <a:pt x="387505" y="393298"/>
                      </a:lnTo>
                      <a:lnTo>
                        <a:pt x="386995" y="395665"/>
                      </a:lnTo>
                      <a:lnTo>
                        <a:pt x="386947" y="402733"/>
                      </a:lnTo>
                      <a:lnTo>
                        <a:pt x="386437" y="405513"/>
                      </a:lnTo>
                      <a:lnTo>
                        <a:pt x="384191" y="408319"/>
                      </a:lnTo>
                      <a:lnTo>
                        <a:pt x="381895" y="409508"/>
                      </a:lnTo>
                      <a:lnTo>
                        <a:pt x="379600" y="410103"/>
                      </a:lnTo>
                      <a:lnTo>
                        <a:pt x="377755" y="410346"/>
                      </a:lnTo>
                      <a:lnTo>
                        <a:pt x="376492" y="411694"/>
                      </a:lnTo>
                      <a:lnTo>
                        <a:pt x="376200" y="414098"/>
                      </a:lnTo>
                      <a:lnTo>
                        <a:pt x="377245" y="429569"/>
                      </a:lnTo>
                      <a:lnTo>
                        <a:pt x="376552" y="439465"/>
                      </a:lnTo>
                      <a:lnTo>
                        <a:pt x="376370" y="440133"/>
                      </a:lnTo>
                      <a:lnTo>
                        <a:pt x="376261" y="441043"/>
                      </a:lnTo>
                      <a:lnTo>
                        <a:pt x="374428" y="445245"/>
                      </a:lnTo>
                      <a:lnTo>
                        <a:pt x="373845" y="451268"/>
                      </a:lnTo>
                      <a:lnTo>
                        <a:pt x="374148" y="453514"/>
                      </a:lnTo>
                      <a:lnTo>
                        <a:pt x="374658" y="455409"/>
                      </a:lnTo>
                      <a:lnTo>
                        <a:pt x="375508" y="457327"/>
                      </a:lnTo>
                      <a:lnTo>
                        <a:pt x="378216" y="461201"/>
                      </a:lnTo>
                      <a:lnTo>
                        <a:pt x="379370" y="463447"/>
                      </a:lnTo>
                      <a:lnTo>
                        <a:pt x="379831" y="465767"/>
                      </a:lnTo>
                      <a:lnTo>
                        <a:pt x="379309" y="470842"/>
                      </a:lnTo>
                      <a:lnTo>
                        <a:pt x="379370" y="473259"/>
                      </a:lnTo>
                      <a:lnTo>
                        <a:pt x="380050" y="475238"/>
                      </a:lnTo>
                      <a:lnTo>
                        <a:pt x="381422" y="476647"/>
                      </a:lnTo>
                      <a:lnTo>
                        <a:pt x="385223" y="479051"/>
                      </a:lnTo>
                      <a:lnTo>
                        <a:pt x="387408" y="480751"/>
                      </a:lnTo>
                      <a:lnTo>
                        <a:pt x="389643" y="482900"/>
                      </a:lnTo>
                      <a:lnTo>
                        <a:pt x="393431" y="487235"/>
                      </a:lnTo>
                      <a:lnTo>
                        <a:pt x="395095" y="488790"/>
                      </a:lnTo>
                      <a:lnTo>
                        <a:pt x="396248" y="489445"/>
                      </a:lnTo>
                      <a:lnTo>
                        <a:pt x="397851" y="489846"/>
                      </a:lnTo>
                      <a:lnTo>
                        <a:pt x="398883" y="490186"/>
                      </a:lnTo>
                      <a:lnTo>
                        <a:pt x="401688" y="491740"/>
                      </a:lnTo>
                      <a:lnTo>
                        <a:pt x="404117" y="491510"/>
                      </a:lnTo>
                      <a:lnTo>
                        <a:pt x="407213" y="490247"/>
                      </a:lnTo>
                      <a:lnTo>
                        <a:pt x="413588" y="485766"/>
                      </a:lnTo>
                      <a:lnTo>
                        <a:pt x="421858" y="477922"/>
                      </a:lnTo>
                      <a:lnTo>
                        <a:pt x="423813" y="476610"/>
                      </a:lnTo>
                      <a:lnTo>
                        <a:pt x="426169" y="475432"/>
                      </a:lnTo>
                      <a:lnTo>
                        <a:pt x="434499" y="472482"/>
                      </a:lnTo>
                      <a:lnTo>
                        <a:pt x="441262" y="468766"/>
                      </a:lnTo>
                      <a:lnTo>
                        <a:pt x="445682" y="467515"/>
                      </a:lnTo>
                      <a:lnTo>
                        <a:pt x="448718" y="469931"/>
                      </a:lnTo>
                      <a:lnTo>
                        <a:pt x="449422" y="470818"/>
                      </a:lnTo>
                      <a:lnTo>
                        <a:pt x="453782" y="478395"/>
                      </a:lnTo>
                      <a:lnTo>
                        <a:pt x="455044" y="480180"/>
                      </a:lnTo>
                      <a:lnTo>
                        <a:pt x="456077" y="483823"/>
                      </a:lnTo>
                      <a:lnTo>
                        <a:pt x="456356" y="487697"/>
                      </a:lnTo>
                      <a:lnTo>
                        <a:pt x="457522" y="490368"/>
                      </a:lnTo>
                      <a:lnTo>
                        <a:pt x="458602" y="491947"/>
                      </a:lnTo>
                      <a:lnTo>
                        <a:pt x="460958" y="493477"/>
                      </a:lnTo>
                      <a:lnTo>
                        <a:pt x="461711" y="494242"/>
                      </a:lnTo>
                      <a:lnTo>
                        <a:pt x="462112" y="495614"/>
                      </a:lnTo>
                      <a:lnTo>
                        <a:pt x="462112" y="497715"/>
                      </a:lnTo>
                      <a:lnTo>
                        <a:pt x="461310" y="501151"/>
                      </a:lnTo>
                      <a:lnTo>
                        <a:pt x="452458" y="519669"/>
                      </a:lnTo>
                      <a:lnTo>
                        <a:pt x="451827" y="521636"/>
                      </a:lnTo>
                      <a:lnTo>
                        <a:pt x="451827" y="523081"/>
                      </a:lnTo>
                      <a:lnTo>
                        <a:pt x="454704" y="529262"/>
                      </a:lnTo>
                      <a:lnTo>
                        <a:pt x="458542" y="541199"/>
                      </a:lnTo>
                      <a:lnTo>
                        <a:pt x="458542" y="543056"/>
                      </a:lnTo>
                      <a:lnTo>
                        <a:pt x="457910" y="546043"/>
                      </a:lnTo>
                      <a:lnTo>
                        <a:pt x="452737" y="556122"/>
                      </a:lnTo>
                      <a:lnTo>
                        <a:pt x="452288" y="558308"/>
                      </a:lnTo>
                      <a:lnTo>
                        <a:pt x="452118" y="560749"/>
                      </a:lnTo>
                      <a:lnTo>
                        <a:pt x="453150" y="568386"/>
                      </a:lnTo>
                      <a:lnTo>
                        <a:pt x="454352" y="572552"/>
                      </a:lnTo>
                      <a:lnTo>
                        <a:pt x="454292" y="575939"/>
                      </a:lnTo>
                      <a:lnTo>
                        <a:pt x="453891" y="578611"/>
                      </a:lnTo>
                      <a:lnTo>
                        <a:pt x="444942" y="607341"/>
                      </a:lnTo>
                      <a:lnTo>
                        <a:pt x="444711" y="609041"/>
                      </a:lnTo>
                      <a:lnTo>
                        <a:pt x="444772" y="610389"/>
                      </a:lnTo>
                      <a:lnTo>
                        <a:pt x="445342" y="611421"/>
                      </a:lnTo>
                      <a:lnTo>
                        <a:pt x="445913" y="612028"/>
                      </a:lnTo>
                      <a:lnTo>
                        <a:pt x="446836" y="612453"/>
                      </a:lnTo>
                      <a:lnTo>
                        <a:pt x="448038" y="612915"/>
                      </a:lnTo>
                      <a:lnTo>
                        <a:pt x="449592" y="613315"/>
                      </a:lnTo>
                      <a:lnTo>
                        <a:pt x="450855" y="613777"/>
                      </a:lnTo>
                      <a:lnTo>
                        <a:pt x="451997" y="614348"/>
                      </a:lnTo>
                      <a:lnTo>
                        <a:pt x="452798" y="615040"/>
                      </a:lnTo>
                      <a:lnTo>
                        <a:pt x="454474" y="616764"/>
                      </a:lnTo>
                      <a:lnTo>
                        <a:pt x="455506" y="617663"/>
                      </a:lnTo>
                      <a:lnTo>
                        <a:pt x="457522" y="617869"/>
                      </a:lnTo>
                      <a:lnTo>
                        <a:pt x="459124" y="617833"/>
                      </a:lnTo>
                      <a:lnTo>
                        <a:pt x="467673" y="613813"/>
                      </a:lnTo>
                      <a:lnTo>
                        <a:pt x="469057" y="613497"/>
                      </a:lnTo>
                      <a:lnTo>
                        <a:pt x="472397" y="613413"/>
                      </a:lnTo>
                      <a:lnTo>
                        <a:pt x="473647" y="613570"/>
                      </a:lnTo>
                      <a:lnTo>
                        <a:pt x="474862" y="614360"/>
                      </a:lnTo>
                      <a:lnTo>
                        <a:pt x="475894" y="615708"/>
                      </a:lnTo>
                      <a:lnTo>
                        <a:pt x="477327" y="619278"/>
                      </a:lnTo>
                      <a:lnTo>
                        <a:pt x="478699" y="621803"/>
                      </a:lnTo>
                      <a:lnTo>
                        <a:pt x="484503" y="628713"/>
                      </a:lnTo>
                      <a:lnTo>
                        <a:pt x="485596" y="631263"/>
                      </a:lnTo>
                      <a:lnTo>
                        <a:pt x="485475" y="636071"/>
                      </a:lnTo>
                      <a:lnTo>
                        <a:pt x="480253" y="640576"/>
                      </a:lnTo>
                      <a:lnTo>
                        <a:pt x="479100" y="642119"/>
                      </a:lnTo>
                      <a:lnTo>
                        <a:pt x="477898" y="644571"/>
                      </a:lnTo>
                      <a:lnTo>
                        <a:pt x="473307" y="658196"/>
                      </a:lnTo>
                      <a:lnTo>
                        <a:pt x="468317" y="666380"/>
                      </a:lnTo>
                      <a:lnTo>
                        <a:pt x="457522" y="700174"/>
                      </a:lnTo>
                      <a:lnTo>
                        <a:pt x="452859" y="711139"/>
                      </a:lnTo>
                      <a:lnTo>
                        <a:pt x="449131" y="716591"/>
                      </a:lnTo>
                      <a:lnTo>
                        <a:pt x="442294" y="721388"/>
                      </a:lnTo>
                      <a:lnTo>
                        <a:pt x="441044" y="722517"/>
                      </a:lnTo>
                      <a:lnTo>
                        <a:pt x="440679" y="723088"/>
                      </a:lnTo>
                      <a:lnTo>
                        <a:pt x="441262" y="726257"/>
                      </a:lnTo>
                      <a:lnTo>
                        <a:pt x="445634" y="738157"/>
                      </a:lnTo>
                      <a:lnTo>
                        <a:pt x="447747" y="743269"/>
                      </a:lnTo>
                      <a:lnTo>
                        <a:pt x="450576" y="745710"/>
                      </a:lnTo>
                      <a:lnTo>
                        <a:pt x="454012" y="747592"/>
                      </a:lnTo>
                      <a:lnTo>
                        <a:pt x="455506" y="748843"/>
                      </a:lnTo>
                      <a:lnTo>
                        <a:pt x="456477" y="749899"/>
                      </a:lnTo>
                      <a:lnTo>
                        <a:pt x="457048" y="750785"/>
                      </a:lnTo>
                      <a:lnTo>
                        <a:pt x="457291" y="751490"/>
                      </a:lnTo>
                      <a:lnTo>
                        <a:pt x="457109" y="753518"/>
                      </a:lnTo>
                      <a:lnTo>
                        <a:pt x="453891" y="764058"/>
                      </a:lnTo>
                      <a:lnTo>
                        <a:pt x="445792" y="776456"/>
                      </a:lnTo>
                      <a:lnTo>
                        <a:pt x="443667" y="779261"/>
                      </a:lnTo>
                      <a:lnTo>
                        <a:pt x="443278" y="780839"/>
                      </a:lnTo>
                      <a:lnTo>
                        <a:pt x="443618" y="783256"/>
                      </a:lnTo>
                      <a:lnTo>
                        <a:pt x="444189" y="784895"/>
                      </a:lnTo>
                      <a:lnTo>
                        <a:pt x="444480" y="786449"/>
                      </a:lnTo>
                      <a:lnTo>
                        <a:pt x="444602" y="789570"/>
                      </a:lnTo>
                      <a:lnTo>
                        <a:pt x="444942" y="791416"/>
                      </a:lnTo>
                      <a:lnTo>
                        <a:pt x="445634" y="793213"/>
                      </a:lnTo>
                      <a:lnTo>
                        <a:pt x="446544" y="794877"/>
                      </a:lnTo>
                      <a:lnTo>
                        <a:pt x="447989" y="796577"/>
                      </a:lnTo>
                      <a:lnTo>
                        <a:pt x="456817" y="803522"/>
                      </a:lnTo>
                      <a:lnTo>
                        <a:pt x="460217" y="807262"/>
                      </a:lnTo>
                      <a:lnTo>
                        <a:pt x="461310" y="808926"/>
                      </a:lnTo>
                      <a:lnTo>
                        <a:pt x="461990" y="810845"/>
                      </a:lnTo>
                      <a:lnTo>
                        <a:pt x="462051" y="812739"/>
                      </a:lnTo>
                      <a:lnTo>
                        <a:pt x="460897" y="815750"/>
                      </a:lnTo>
                      <a:lnTo>
                        <a:pt x="459064" y="818519"/>
                      </a:lnTo>
                      <a:lnTo>
                        <a:pt x="455506" y="822198"/>
                      </a:lnTo>
                      <a:lnTo>
                        <a:pt x="453369" y="823510"/>
                      </a:lnTo>
                      <a:lnTo>
                        <a:pt x="451887" y="823850"/>
                      </a:lnTo>
                      <a:lnTo>
                        <a:pt x="450916" y="823170"/>
                      </a:lnTo>
                      <a:lnTo>
                        <a:pt x="449592" y="821846"/>
                      </a:lnTo>
                      <a:lnTo>
                        <a:pt x="449131" y="821530"/>
                      </a:lnTo>
                      <a:lnTo>
                        <a:pt x="448718" y="821385"/>
                      </a:lnTo>
                      <a:lnTo>
                        <a:pt x="448378" y="821725"/>
                      </a:lnTo>
                      <a:lnTo>
                        <a:pt x="448208" y="822502"/>
                      </a:lnTo>
                      <a:lnTo>
                        <a:pt x="448159" y="824275"/>
                      </a:lnTo>
                      <a:lnTo>
                        <a:pt x="448378" y="826011"/>
                      </a:lnTo>
                      <a:lnTo>
                        <a:pt x="449932" y="831427"/>
                      </a:lnTo>
                      <a:lnTo>
                        <a:pt x="450212" y="833078"/>
                      </a:lnTo>
                      <a:lnTo>
                        <a:pt x="449532" y="835167"/>
                      </a:lnTo>
                      <a:lnTo>
                        <a:pt x="447929" y="837850"/>
                      </a:lnTo>
                      <a:lnTo>
                        <a:pt x="443909" y="842611"/>
                      </a:lnTo>
                      <a:lnTo>
                        <a:pt x="441784" y="846460"/>
                      </a:lnTo>
                      <a:lnTo>
                        <a:pt x="440922" y="848549"/>
                      </a:lnTo>
                      <a:lnTo>
                        <a:pt x="440862" y="849556"/>
                      </a:lnTo>
                      <a:lnTo>
                        <a:pt x="441141" y="851596"/>
                      </a:lnTo>
                      <a:lnTo>
                        <a:pt x="441092" y="852811"/>
                      </a:lnTo>
                      <a:lnTo>
                        <a:pt x="440801" y="854122"/>
                      </a:lnTo>
                      <a:lnTo>
                        <a:pt x="440169" y="855191"/>
                      </a:lnTo>
                      <a:lnTo>
                        <a:pt x="438736" y="856308"/>
                      </a:lnTo>
                      <a:lnTo>
                        <a:pt x="437122" y="856830"/>
                      </a:lnTo>
                      <a:lnTo>
                        <a:pt x="433624" y="856454"/>
                      </a:lnTo>
                      <a:lnTo>
                        <a:pt x="432483" y="856551"/>
                      </a:lnTo>
                      <a:lnTo>
                        <a:pt x="431973" y="856745"/>
                      </a:lnTo>
                      <a:lnTo>
                        <a:pt x="430467" y="858336"/>
                      </a:lnTo>
                      <a:lnTo>
                        <a:pt x="408999" y="842684"/>
                      </a:lnTo>
                      <a:lnTo>
                        <a:pt x="402733" y="835774"/>
                      </a:lnTo>
                      <a:lnTo>
                        <a:pt x="387287" y="813856"/>
                      </a:lnTo>
                      <a:lnTo>
                        <a:pt x="377184" y="804579"/>
                      </a:lnTo>
                      <a:lnTo>
                        <a:pt x="374816" y="798641"/>
                      </a:lnTo>
                      <a:lnTo>
                        <a:pt x="361325" y="782904"/>
                      </a:lnTo>
                      <a:lnTo>
                        <a:pt x="359383" y="778484"/>
                      </a:lnTo>
                      <a:lnTo>
                        <a:pt x="352667" y="772461"/>
                      </a:lnTo>
                      <a:lnTo>
                        <a:pt x="346062" y="761144"/>
                      </a:lnTo>
                      <a:lnTo>
                        <a:pt x="343075" y="757488"/>
                      </a:lnTo>
                      <a:lnTo>
                        <a:pt x="326936" y="743949"/>
                      </a:lnTo>
                      <a:lnTo>
                        <a:pt x="324241" y="739808"/>
                      </a:lnTo>
                      <a:lnTo>
                        <a:pt x="324994" y="737598"/>
                      </a:lnTo>
                      <a:lnTo>
                        <a:pt x="327058" y="737416"/>
                      </a:lnTo>
                      <a:lnTo>
                        <a:pt x="329693" y="741314"/>
                      </a:lnTo>
                      <a:lnTo>
                        <a:pt x="333081" y="740622"/>
                      </a:lnTo>
                      <a:lnTo>
                        <a:pt x="336578" y="738764"/>
                      </a:lnTo>
                      <a:lnTo>
                        <a:pt x="338594" y="737356"/>
                      </a:lnTo>
                      <a:lnTo>
                        <a:pt x="336068" y="737295"/>
                      </a:lnTo>
                      <a:lnTo>
                        <a:pt x="333542" y="738193"/>
                      </a:lnTo>
                      <a:lnTo>
                        <a:pt x="331247" y="738424"/>
                      </a:lnTo>
                      <a:lnTo>
                        <a:pt x="329523" y="736178"/>
                      </a:lnTo>
                      <a:lnTo>
                        <a:pt x="329863" y="734101"/>
                      </a:lnTo>
                      <a:lnTo>
                        <a:pt x="331417" y="731490"/>
                      </a:lnTo>
                      <a:lnTo>
                        <a:pt x="333481" y="729280"/>
                      </a:lnTo>
                      <a:lnTo>
                        <a:pt x="335327" y="728333"/>
                      </a:lnTo>
                      <a:lnTo>
                        <a:pt x="345539" y="729621"/>
                      </a:lnTo>
                      <a:lnTo>
                        <a:pt x="346110" y="728953"/>
                      </a:lnTo>
                      <a:lnTo>
                        <a:pt x="344507" y="727556"/>
                      </a:lnTo>
                      <a:lnTo>
                        <a:pt x="342334" y="726208"/>
                      </a:lnTo>
                      <a:lnTo>
                        <a:pt x="341180" y="725747"/>
                      </a:lnTo>
                      <a:lnTo>
                        <a:pt x="342613" y="724885"/>
                      </a:lnTo>
                      <a:lnTo>
                        <a:pt x="345321" y="724205"/>
                      </a:lnTo>
                      <a:lnTo>
                        <a:pt x="347543" y="723282"/>
                      </a:lnTo>
                      <a:lnTo>
                        <a:pt x="347543" y="721873"/>
                      </a:lnTo>
                      <a:lnTo>
                        <a:pt x="345600" y="721242"/>
                      </a:lnTo>
                      <a:lnTo>
                        <a:pt x="342953" y="721764"/>
                      </a:lnTo>
                      <a:lnTo>
                        <a:pt x="340719" y="722821"/>
                      </a:lnTo>
                      <a:lnTo>
                        <a:pt x="339747" y="723743"/>
                      </a:lnTo>
                      <a:lnTo>
                        <a:pt x="338594" y="725686"/>
                      </a:lnTo>
                      <a:lnTo>
                        <a:pt x="335947" y="725261"/>
                      </a:lnTo>
                      <a:lnTo>
                        <a:pt x="331478" y="723160"/>
                      </a:lnTo>
                      <a:lnTo>
                        <a:pt x="330385" y="724375"/>
                      </a:lnTo>
                      <a:lnTo>
                        <a:pt x="328309" y="730191"/>
                      </a:lnTo>
                      <a:lnTo>
                        <a:pt x="326936" y="732328"/>
                      </a:lnTo>
                      <a:lnTo>
                        <a:pt x="325564" y="729621"/>
                      </a:lnTo>
                      <a:lnTo>
                        <a:pt x="326876" y="728358"/>
                      </a:lnTo>
                      <a:lnTo>
                        <a:pt x="327507" y="727229"/>
                      </a:lnTo>
                      <a:lnTo>
                        <a:pt x="328260" y="724326"/>
                      </a:lnTo>
                      <a:lnTo>
                        <a:pt x="325261" y="726196"/>
                      </a:lnTo>
                      <a:lnTo>
                        <a:pt x="323257" y="728443"/>
                      </a:lnTo>
                      <a:lnTo>
                        <a:pt x="322395" y="731223"/>
                      </a:lnTo>
                      <a:lnTo>
                        <a:pt x="323087" y="734745"/>
                      </a:lnTo>
                      <a:lnTo>
                        <a:pt x="321254" y="733263"/>
                      </a:lnTo>
                      <a:lnTo>
                        <a:pt x="319991" y="730568"/>
                      </a:lnTo>
                      <a:lnTo>
                        <a:pt x="319299" y="727508"/>
                      </a:lnTo>
                      <a:lnTo>
                        <a:pt x="319129" y="725006"/>
                      </a:lnTo>
                      <a:lnTo>
                        <a:pt x="318558" y="722821"/>
                      </a:lnTo>
                      <a:lnTo>
                        <a:pt x="316032" y="719020"/>
                      </a:lnTo>
                      <a:lnTo>
                        <a:pt x="313968" y="712718"/>
                      </a:lnTo>
                      <a:lnTo>
                        <a:pt x="308564" y="701485"/>
                      </a:lnTo>
                      <a:lnTo>
                        <a:pt x="308904" y="697078"/>
                      </a:lnTo>
                      <a:lnTo>
                        <a:pt x="309317" y="698194"/>
                      </a:lnTo>
                      <a:lnTo>
                        <a:pt x="309706" y="698862"/>
                      </a:lnTo>
                      <a:lnTo>
                        <a:pt x="310009" y="699700"/>
                      </a:lnTo>
                      <a:lnTo>
                        <a:pt x="310167" y="701182"/>
                      </a:lnTo>
                      <a:lnTo>
                        <a:pt x="311600" y="701182"/>
                      </a:lnTo>
                      <a:lnTo>
                        <a:pt x="311503" y="698425"/>
                      </a:lnTo>
                      <a:lnTo>
                        <a:pt x="312753" y="690751"/>
                      </a:lnTo>
                      <a:lnTo>
                        <a:pt x="310981" y="692184"/>
                      </a:lnTo>
                      <a:lnTo>
                        <a:pt x="310519" y="692949"/>
                      </a:lnTo>
                      <a:lnTo>
                        <a:pt x="310167" y="694600"/>
                      </a:lnTo>
                      <a:lnTo>
                        <a:pt x="308904" y="694600"/>
                      </a:lnTo>
                      <a:lnTo>
                        <a:pt x="305346" y="683113"/>
                      </a:lnTo>
                      <a:lnTo>
                        <a:pt x="302529" y="676823"/>
                      </a:lnTo>
                      <a:lnTo>
                        <a:pt x="299943" y="676544"/>
                      </a:lnTo>
                      <a:lnTo>
                        <a:pt x="300246" y="678547"/>
                      </a:lnTo>
                      <a:lnTo>
                        <a:pt x="305990" y="693046"/>
                      </a:lnTo>
                      <a:lnTo>
                        <a:pt x="306379" y="695778"/>
                      </a:lnTo>
                      <a:lnTo>
                        <a:pt x="305176" y="695778"/>
                      </a:lnTo>
                      <a:lnTo>
                        <a:pt x="290253" y="661742"/>
                      </a:lnTo>
                      <a:lnTo>
                        <a:pt x="280660" y="630000"/>
                      </a:lnTo>
                      <a:lnTo>
                        <a:pt x="276750" y="603443"/>
                      </a:lnTo>
                      <a:lnTo>
                        <a:pt x="277903" y="598671"/>
                      </a:lnTo>
                      <a:lnTo>
                        <a:pt x="274224" y="570123"/>
                      </a:lnTo>
                      <a:lnTo>
                        <a:pt x="269683" y="556025"/>
                      </a:lnTo>
                      <a:lnTo>
                        <a:pt x="268480" y="554131"/>
                      </a:lnTo>
                      <a:lnTo>
                        <a:pt x="267278" y="545461"/>
                      </a:lnTo>
                      <a:lnTo>
                        <a:pt x="266538" y="542959"/>
                      </a:lnTo>
                      <a:lnTo>
                        <a:pt x="269343" y="540992"/>
                      </a:lnTo>
                      <a:lnTo>
                        <a:pt x="272730" y="543275"/>
                      </a:lnTo>
                      <a:lnTo>
                        <a:pt x="275608" y="547537"/>
                      </a:lnTo>
                      <a:lnTo>
                        <a:pt x="276750" y="551326"/>
                      </a:lnTo>
                      <a:lnTo>
                        <a:pt x="275766" y="552091"/>
                      </a:lnTo>
                      <a:lnTo>
                        <a:pt x="271346" y="550755"/>
                      </a:lnTo>
                      <a:lnTo>
                        <a:pt x="270375" y="551326"/>
                      </a:lnTo>
                      <a:lnTo>
                        <a:pt x="270496" y="553742"/>
                      </a:lnTo>
                      <a:lnTo>
                        <a:pt x="271079" y="555831"/>
                      </a:lnTo>
                      <a:lnTo>
                        <a:pt x="272208" y="557470"/>
                      </a:lnTo>
                      <a:lnTo>
                        <a:pt x="274224" y="558478"/>
                      </a:lnTo>
                      <a:lnTo>
                        <a:pt x="274455" y="557324"/>
                      </a:lnTo>
                      <a:lnTo>
                        <a:pt x="275487" y="554592"/>
                      </a:lnTo>
                      <a:lnTo>
                        <a:pt x="276410" y="557264"/>
                      </a:lnTo>
                      <a:lnTo>
                        <a:pt x="276240" y="560287"/>
                      </a:lnTo>
                      <a:lnTo>
                        <a:pt x="275548" y="562752"/>
                      </a:lnTo>
                      <a:lnTo>
                        <a:pt x="274855" y="563760"/>
                      </a:lnTo>
                      <a:lnTo>
                        <a:pt x="276519" y="563578"/>
                      </a:lnTo>
                      <a:lnTo>
                        <a:pt x="278474" y="562801"/>
                      </a:lnTo>
                      <a:lnTo>
                        <a:pt x="279336" y="561222"/>
                      </a:lnTo>
                      <a:lnTo>
                        <a:pt x="277903" y="558466"/>
                      </a:lnTo>
                      <a:lnTo>
                        <a:pt x="280089" y="556802"/>
                      </a:lnTo>
                      <a:lnTo>
                        <a:pt x="281061" y="560239"/>
                      </a:lnTo>
                      <a:lnTo>
                        <a:pt x="285772" y="590900"/>
                      </a:lnTo>
                      <a:lnTo>
                        <a:pt x="287144" y="590900"/>
                      </a:lnTo>
                      <a:lnTo>
                        <a:pt x="287314" y="585702"/>
                      </a:lnTo>
                      <a:lnTo>
                        <a:pt x="285481" y="573887"/>
                      </a:lnTo>
                      <a:lnTo>
                        <a:pt x="287144" y="568812"/>
                      </a:lnTo>
                      <a:lnTo>
                        <a:pt x="282955" y="563092"/>
                      </a:lnTo>
                      <a:lnTo>
                        <a:pt x="282214" y="560166"/>
                      </a:lnTo>
                      <a:lnTo>
                        <a:pt x="284618" y="558441"/>
                      </a:lnTo>
                      <a:lnTo>
                        <a:pt x="285481" y="561198"/>
                      </a:lnTo>
                      <a:lnTo>
                        <a:pt x="288407" y="566201"/>
                      </a:lnTo>
                      <a:lnTo>
                        <a:pt x="289561" y="568812"/>
                      </a:lnTo>
                      <a:lnTo>
                        <a:pt x="289901" y="571095"/>
                      </a:lnTo>
                      <a:lnTo>
                        <a:pt x="289439" y="575296"/>
                      </a:lnTo>
                      <a:lnTo>
                        <a:pt x="289561" y="577858"/>
                      </a:lnTo>
                      <a:lnTo>
                        <a:pt x="291224" y="587815"/>
                      </a:lnTo>
                      <a:lnTo>
                        <a:pt x="292936" y="591628"/>
                      </a:lnTo>
                      <a:lnTo>
                        <a:pt x="296105" y="594761"/>
                      </a:lnTo>
                      <a:lnTo>
                        <a:pt x="295826" y="597809"/>
                      </a:lnTo>
                      <a:lnTo>
                        <a:pt x="294721" y="600262"/>
                      </a:lnTo>
                      <a:lnTo>
                        <a:pt x="293301" y="602545"/>
                      </a:lnTo>
                      <a:lnTo>
                        <a:pt x="292147" y="605095"/>
                      </a:lnTo>
                      <a:lnTo>
                        <a:pt x="288468" y="621925"/>
                      </a:lnTo>
                      <a:lnTo>
                        <a:pt x="289221" y="624705"/>
                      </a:lnTo>
                      <a:lnTo>
                        <a:pt x="292839" y="625883"/>
                      </a:lnTo>
                      <a:lnTo>
                        <a:pt x="302068" y="627644"/>
                      </a:lnTo>
                      <a:lnTo>
                        <a:pt x="303804" y="627183"/>
                      </a:lnTo>
                      <a:lnTo>
                        <a:pt x="308273" y="629138"/>
                      </a:lnTo>
                      <a:lnTo>
                        <a:pt x="311661" y="627923"/>
                      </a:lnTo>
                      <a:lnTo>
                        <a:pt x="316615" y="622010"/>
                      </a:lnTo>
                      <a:lnTo>
                        <a:pt x="313045" y="620346"/>
                      </a:lnTo>
                      <a:lnTo>
                        <a:pt x="309706" y="617966"/>
                      </a:lnTo>
                      <a:lnTo>
                        <a:pt x="306330" y="616618"/>
                      </a:lnTo>
                      <a:lnTo>
                        <a:pt x="302529" y="618148"/>
                      </a:lnTo>
                      <a:lnTo>
                        <a:pt x="300465" y="617019"/>
                      </a:lnTo>
                      <a:lnTo>
                        <a:pt x="298510" y="615562"/>
                      </a:lnTo>
                      <a:lnTo>
                        <a:pt x="300939" y="610814"/>
                      </a:lnTo>
                      <a:lnTo>
                        <a:pt x="300878" y="606977"/>
                      </a:lnTo>
                      <a:lnTo>
                        <a:pt x="300003" y="602872"/>
                      </a:lnTo>
                      <a:lnTo>
                        <a:pt x="299943" y="594045"/>
                      </a:lnTo>
                      <a:lnTo>
                        <a:pt x="299081" y="590718"/>
                      </a:lnTo>
                      <a:lnTo>
                        <a:pt x="297708" y="588775"/>
                      </a:lnTo>
                      <a:lnTo>
                        <a:pt x="296105" y="589600"/>
                      </a:lnTo>
                      <a:lnTo>
                        <a:pt x="295766" y="587560"/>
                      </a:lnTo>
                      <a:lnTo>
                        <a:pt x="296215" y="584112"/>
                      </a:lnTo>
                      <a:lnTo>
                        <a:pt x="296105" y="581841"/>
                      </a:lnTo>
                      <a:lnTo>
                        <a:pt x="295462" y="579983"/>
                      </a:lnTo>
                      <a:lnTo>
                        <a:pt x="293859" y="576632"/>
                      </a:lnTo>
                      <a:lnTo>
                        <a:pt x="293519" y="574689"/>
                      </a:lnTo>
                      <a:lnTo>
                        <a:pt x="294211" y="571350"/>
                      </a:lnTo>
                      <a:lnTo>
                        <a:pt x="295583" y="569552"/>
                      </a:lnTo>
                      <a:lnTo>
                        <a:pt x="296567" y="567573"/>
                      </a:lnTo>
                      <a:lnTo>
                        <a:pt x="296105" y="563760"/>
                      </a:lnTo>
                      <a:lnTo>
                        <a:pt x="294491" y="560226"/>
                      </a:lnTo>
                      <a:lnTo>
                        <a:pt x="290411" y="553074"/>
                      </a:lnTo>
                      <a:lnTo>
                        <a:pt x="289561" y="550002"/>
                      </a:lnTo>
                      <a:lnTo>
                        <a:pt x="282372" y="542850"/>
                      </a:lnTo>
                      <a:lnTo>
                        <a:pt x="280599" y="540264"/>
                      </a:lnTo>
                      <a:lnTo>
                        <a:pt x="277381" y="543214"/>
                      </a:lnTo>
                      <a:lnTo>
                        <a:pt x="274333" y="538163"/>
                      </a:lnTo>
                      <a:lnTo>
                        <a:pt x="272670" y="530901"/>
                      </a:lnTo>
                      <a:lnTo>
                        <a:pt x="273593" y="527185"/>
                      </a:lnTo>
                      <a:lnTo>
                        <a:pt x="270035" y="524951"/>
                      </a:lnTo>
                      <a:lnTo>
                        <a:pt x="268189" y="514606"/>
                      </a:lnTo>
                      <a:lnTo>
                        <a:pt x="266538" y="514375"/>
                      </a:lnTo>
                      <a:lnTo>
                        <a:pt x="264923" y="513221"/>
                      </a:lnTo>
                      <a:lnTo>
                        <a:pt x="264012" y="511691"/>
                      </a:lnTo>
                      <a:lnTo>
                        <a:pt x="262567" y="507769"/>
                      </a:lnTo>
                      <a:lnTo>
                        <a:pt x="261134" y="511788"/>
                      </a:lnTo>
                      <a:lnTo>
                        <a:pt x="262227" y="515249"/>
                      </a:lnTo>
                      <a:lnTo>
                        <a:pt x="264109" y="518418"/>
                      </a:lnTo>
                      <a:lnTo>
                        <a:pt x="265153" y="521490"/>
                      </a:lnTo>
                      <a:lnTo>
                        <a:pt x="265505" y="529068"/>
                      </a:lnTo>
                      <a:lnTo>
                        <a:pt x="266307" y="533002"/>
                      </a:lnTo>
                      <a:lnTo>
                        <a:pt x="267728" y="536329"/>
                      </a:lnTo>
                      <a:lnTo>
                        <a:pt x="264983" y="533974"/>
                      </a:lnTo>
                      <a:lnTo>
                        <a:pt x="262457" y="529323"/>
                      </a:lnTo>
                      <a:lnTo>
                        <a:pt x="256422" y="513962"/>
                      </a:lnTo>
                      <a:lnTo>
                        <a:pt x="256192" y="510999"/>
                      </a:lnTo>
                      <a:lnTo>
                        <a:pt x="256896" y="508242"/>
                      </a:lnTo>
                      <a:lnTo>
                        <a:pt x="256835" y="506482"/>
                      </a:lnTo>
                      <a:lnTo>
                        <a:pt x="255500" y="504527"/>
                      </a:lnTo>
                      <a:lnTo>
                        <a:pt x="255500" y="501637"/>
                      </a:lnTo>
                      <a:lnTo>
                        <a:pt x="264230" y="496646"/>
                      </a:lnTo>
                      <a:lnTo>
                        <a:pt x="266538" y="494120"/>
                      </a:lnTo>
                      <a:lnTo>
                        <a:pt x="266695" y="492857"/>
                      </a:lnTo>
                      <a:lnTo>
                        <a:pt x="267509" y="491546"/>
                      </a:lnTo>
                      <a:lnTo>
                        <a:pt x="267728" y="490198"/>
                      </a:lnTo>
                      <a:lnTo>
                        <a:pt x="267278" y="488705"/>
                      </a:lnTo>
                      <a:lnTo>
                        <a:pt x="266125" y="488911"/>
                      </a:lnTo>
                      <a:lnTo>
                        <a:pt x="264923" y="489603"/>
                      </a:lnTo>
                      <a:lnTo>
                        <a:pt x="264012" y="489567"/>
                      </a:lnTo>
                      <a:lnTo>
                        <a:pt x="262227" y="486009"/>
                      </a:lnTo>
                      <a:lnTo>
                        <a:pt x="260903" y="484175"/>
                      </a:lnTo>
                      <a:lnTo>
                        <a:pt x="258717" y="483095"/>
                      </a:lnTo>
                      <a:lnTo>
                        <a:pt x="261195" y="489543"/>
                      </a:lnTo>
                      <a:lnTo>
                        <a:pt x="261474" y="493052"/>
                      </a:lnTo>
                      <a:lnTo>
                        <a:pt x="260041" y="496148"/>
                      </a:lnTo>
                      <a:lnTo>
                        <a:pt x="256714" y="498103"/>
                      </a:lnTo>
                      <a:lnTo>
                        <a:pt x="254188" y="497290"/>
                      </a:lnTo>
                      <a:lnTo>
                        <a:pt x="252294" y="494922"/>
                      </a:lnTo>
                      <a:lnTo>
                        <a:pt x="250910" y="492274"/>
                      </a:lnTo>
                      <a:lnTo>
                        <a:pt x="248092" y="484527"/>
                      </a:lnTo>
                      <a:lnTo>
                        <a:pt x="244826" y="468875"/>
                      </a:lnTo>
                      <a:lnTo>
                        <a:pt x="242130" y="461091"/>
                      </a:lnTo>
                      <a:lnTo>
                        <a:pt x="235342" y="451960"/>
                      </a:lnTo>
                      <a:lnTo>
                        <a:pt x="234432" y="448742"/>
                      </a:lnTo>
                      <a:lnTo>
                        <a:pt x="234092" y="444905"/>
                      </a:lnTo>
                      <a:lnTo>
                        <a:pt x="232027" y="436563"/>
                      </a:lnTo>
                      <a:lnTo>
                        <a:pt x="230594" y="433661"/>
                      </a:lnTo>
                      <a:lnTo>
                        <a:pt x="225701" y="429107"/>
                      </a:lnTo>
                      <a:lnTo>
                        <a:pt x="223697" y="426521"/>
                      </a:lnTo>
                      <a:lnTo>
                        <a:pt x="222143" y="419223"/>
                      </a:lnTo>
                      <a:lnTo>
                        <a:pt x="210777" y="396333"/>
                      </a:lnTo>
                      <a:lnTo>
                        <a:pt x="209964" y="392897"/>
                      </a:lnTo>
                      <a:lnTo>
                        <a:pt x="209454" y="391634"/>
                      </a:lnTo>
                      <a:lnTo>
                        <a:pt x="208470" y="390347"/>
                      </a:lnTo>
                      <a:lnTo>
                        <a:pt x="207559" y="388853"/>
                      </a:lnTo>
                      <a:lnTo>
                        <a:pt x="207389" y="386935"/>
                      </a:lnTo>
                      <a:lnTo>
                        <a:pt x="207960" y="385987"/>
                      </a:lnTo>
                      <a:lnTo>
                        <a:pt x="210316" y="384093"/>
                      </a:lnTo>
                      <a:lnTo>
                        <a:pt x="211239" y="383061"/>
                      </a:lnTo>
                      <a:lnTo>
                        <a:pt x="205544" y="380596"/>
                      </a:lnTo>
                      <a:lnTo>
                        <a:pt x="202386" y="372897"/>
                      </a:lnTo>
                      <a:lnTo>
                        <a:pt x="199691" y="357160"/>
                      </a:lnTo>
                      <a:lnTo>
                        <a:pt x="190851" y="325819"/>
                      </a:lnTo>
                      <a:lnTo>
                        <a:pt x="173960" y="285505"/>
                      </a:lnTo>
                      <a:lnTo>
                        <a:pt x="172988" y="283732"/>
                      </a:lnTo>
                      <a:lnTo>
                        <a:pt x="172248" y="282675"/>
                      </a:lnTo>
                      <a:lnTo>
                        <a:pt x="171725" y="281412"/>
                      </a:lnTo>
                      <a:lnTo>
                        <a:pt x="171398" y="279142"/>
                      </a:lnTo>
                      <a:lnTo>
                        <a:pt x="173340" y="277818"/>
                      </a:lnTo>
                      <a:lnTo>
                        <a:pt x="173911" y="276300"/>
                      </a:lnTo>
                      <a:lnTo>
                        <a:pt x="172588" y="273859"/>
                      </a:lnTo>
                      <a:lnTo>
                        <a:pt x="170062" y="274637"/>
                      </a:lnTo>
                      <a:lnTo>
                        <a:pt x="168046" y="271905"/>
                      </a:lnTo>
                      <a:lnTo>
                        <a:pt x="165010" y="264631"/>
                      </a:lnTo>
                      <a:lnTo>
                        <a:pt x="161622" y="258912"/>
                      </a:lnTo>
                      <a:lnTo>
                        <a:pt x="159315" y="256532"/>
                      </a:lnTo>
                      <a:lnTo>
                        <a:pt x="156571" y="255560"/>
                      </a:lnTo>
                      <a:lnTo>
                        <a:pt x="152831" y="255378"/>
                      </a:lnTo>
                      <a:lnTo>
                        <a:pt x="150245" y="254674"/>
                      </a:lnTo>
                      <a:lnTo>
                        <a:pt x="148824" y="252512"/>
                      </a:lnTo>
                      <a:lnTo>
                        <a:pt x="148350" y="248651"/>
                      </a:lnTo>
                      <a:lnTo>
                        <a:pt x="147318" y="245202"/>
                      </a:lnTo>
                      <a:lnTo>
                        <a:pt x="143760" y="240175"/>
                      </a:lnTo>
                      <a:lnTo>
                        <a:pt x="144404" y="237625"/>
                      </a:lnTo>
                      <a:lnTo>
                        <a:pt x="134167" y="212841"/>
                      </a:lnTo>
                      <a:lnTo>
                        <a:pt x="129577" y="206478"/>
                      </a:lnTo>
                      <a:lnTo>
                        <a:pt x="105862" y="180298"/>
                      </a:lnTo>
                      <a:lnTo>
                        <a:pt x="104490" y="180323"/>
                      </a:lnTo>
                      <a:lnTo>
                        <a:pt x="101381" y="181670"/>
                      </a:lnTo>
                      <a:lnTo>
                        <a:pt x="100750" y="180917"/>
                      </a:lnTo>
                      <a:lnTo>
                        <a:pt x="100179" y="178938"/>
                      </a:lnTo>
                      <a:lnTo>
                        <a:pt x="95529" y="173790"/>
                      </a:lnTo>
                      <a:lnTo>
                        <a:pt x="92311" y="167475"/>
                      </a:lnTo>
                      <a:lnTo>
                        <a:pt x="95881" y="166783"/>
                      </a:lnTo>
                      <a:lnTo>
                        <a:pt x="109711" y="169758"/>
                      </a:lnTo>
                      <a:lnTo>
                        <a:pt x="109711" y="168556"/>
                      </a:lnTo>
                      <a:lnTo>
                        <a:pt x="107137" y="166917"/>
                      </a:lnTo>
                      <a:lnTo>
                        <a:pt x="106445" y="164938"/>
                      </a:lnTo>
                      <a:lnTo>
                        <a:pt x="107016" y="162497"/>
                      </a:lnTo>
                      <a:lnTo>
                        <a:pt x="108449" y="159364"/>
                      </a:lnTo>
                      <a:lnTo>
                        <a:pt x="105923" y="160542"/>
                      </a:lnTo>
                      <a:lnTo>
                        <a:pt x="102426" y="163844"/>
                      </a:lnTo>
                      <a:lnTo>
                        <a:pt x="100119" y="164537"/>
                      </a:lnTo>
                      <a:lnTo>
                        <a:pt x="96852" y="164197"/>
                      </a:lnTo>
                      <a:lnTo>
                        <a:pt x="93926" y="163019"/>
                      </a:lnTo>
                      <a:lnTo>
                        <a:pt x="91339" y="161027"/>
                      </a:lnTo>
                      <a:lnTo>
                        <a:pt x="89093" y="158162"/>
                      </a:lnTo>
                      <a:lnTo>
                        <a:pt x="86919" y="153972"/>
                      </a:lnTo>
                      <a:lnTo>
                        <a:pt x="87381" y="152564"/>
                      </a:lnTo>
                      <a:lnTo>
                        <a:pt x="93634" y="153001"/>
                      </a:lnTo>
                      <a:lnTo>
                        <a:pt x="96512" y="152163"/>
                      </a:lnTo>
                      <a:lnTo>
                        <a:pt x="95589" y="150281"/>
                      </a:lnTo>
                      <a:lnTo>
                        <a:pt x="91983" y="146626"/>
                      </a:lnTo>
                      <a:lnTo>
                        <a:pt x="91679" y="146371"/>
                      </a:lnTo>
                      <a:lnTo>
                        <a:pt x="91983" y="143614"/>
                      </a:lnTo>
                      <a:lnTo>
                        <a:pt x="91230" y="141320"/>
                      </a:lnTo>
                      <a:lnTo>
                        <a:pt x="92723" y="136754"/>
                      </a:lnTo>
                      <a:lnTo>
                        <a:pt x="95359" y="134252"/>
                      </a:lnTo>
                      <a:lnTo>
                        <a:pt x="96621" y="134981"/>
                      </a:lnTo>
                      <a:lnTo>
                        <a:pt x="98006" y="135867"/>
                      </a:lnTo>
                      <a:lnTo>
                        <a:pt x="99949" y="134750"/>
                      </a:lnTo>
                      <a:lnTo>
                        <a:pt x="101794" y="133111"/>
                      </a:lnTo>
                      <a:lnTo>
                        <a:pt x="104369" y="131690"/>
                      </a:lnTo>
                      <a:lnTo>
                        <a:pt x="106324" y="130039"/>
                      </a:lnTo>
                      <a:lnTo>
                        <a:pt x="109080" y="130087"/>
                      </a:lnTo>
                      <a:lnTo>
                        <a:pt x="109080" y="127392"/>
                      </a:lnTo>
                      <a:lnTo>
                        <a:pt x="106214" y="126505"/>
                      </a:lnTo>
                      <a:lnTo>
                        <a:pt x="104029" y="127707"/>
                      </a:lnTo>
                      <a:lnTo>
                        <a:pt x="101054" y="128861"/>
                      </a:lnTo>
                      <a:lnTo>
                        <a:pt x="98115" y="127865"/>
                      </a:lnTo>
                      <a:lnTo>
                        <a:pt x="95128" y="127319"/>
                      </a:lnTo>
                      <a:lnTo>
                        <a:pt x="92772" y="129468"/>
                      </a:lnTo>
                      <a:lnTo>
                        <a:pt x="91400" y="131204"/>
                      </a:lnTo>
                      <a:lnTo>
                        <a:pt x="88692" y="132637"/>
                      </a:lnTo>
                      <a:lnTo>
                        <a:pt x="87490" y="133840"/>
                      </a:lnTo>
                      <a:lnTo>
                        <a:pt x="86446" y="135394"/>
                      </a:lnTo>
                      <a:lnTo>
                        <a:pt x="83009" y="134701"/>
                      </a:lnTo>
                      <a:lnTo>
                        <a:pt x="79743" y="133840"/>
                      </a:lnTo>
                      <a:lnTo>
                        <a:pt x="76464" y="135564"/>
                      </a:lnTo>
                      <a:lnTo>
                        <a:pt x="76246" y="147257"/>
                      </a:lnTo>
                      <a:lnTo>
                        <a:pt x="76306" y="150439"/>
                      </a:lnTo>
                      <a:lnTo>
                        <a:pt x="75262" y="150621"/>
                      </a:lnTo>
                      <a:lnTo>
                        <a:pt x="74121" y="151398"/>
                      </a:lnTo>
                      <a:lnTo>
                        <a:pt x="73477" y="152345"/>
                      </a:lnTo>
                      <a:lnTo>
                        <a:pt x="73768" y="153037"/>
                      </a:lnTo>
                      <a:lnTo>
                        <a:pt x="70951" y="150390"/>
                      </a:lnTo>
                      <a:lnTo>
                        <a:pt x="69579" y="146711"/>
                      </a:lnTo>
                      <a:lnTo>
                        <a:pt x="68486" y="139899"/>
                      </a:lnTo>
                      <a:lnTo>
                        <a:pt x="61601" y="123919"/>
                      </a:lnTo>
                      <a:lnTo>
                        <a:pt x="59173" y="115066"/>
                      </a:lnTo>
                      <a:lnTo>
                        <a:pt x="60848" y="108606"/>
                      </a:lnTo>
                      <a:lnTo>
                        <a:pt x="60848" y="107319"/>
                      </a:lnTo>
                      <a:lnTo>
                        <a:pt x="58383" y="107841"/>
                      </a:lnTo>
                      <a:lnTo>
                        <a:pt x="57060" y="109129"/>
                      </a:lnTo>
                      <a:lnTo>
                        <a:pt x="56027" y="110817"/>
                      </a:lnTo>
                      <a:lnTo>
                        <a:pt x="54425" y="112516"/>
                      </a:lnTo>
                      <a:lnTo>
                        <a:pt x="54534" y="110137"/>
                      </a:lnTo>
                      <a:lnTo>
                        <a:pt x="54303" y="107793"/>
                      </a:lnTo>
                      <a:lnTo>
                        <a:pt x="53150" y="103434"/>
                      </a:lnTo>
                      <a:lnTo>
                        <a:pt x="50163" y="96427"/>
                      </a:lnTo>
                      <a:lnTo>
                        <a:pt x="38105" y="75699"/>
                      </a:lnTo>
                      <a:lnTo>
                        <a:pt x="36672" y="71680"/>
                      </a:lnTo>
                      <a:lnTo>
                        <a:pt x="36502" y="70162"/>
                      </a:lnTo>
                      <a:lnTo>
                        <a:pt x="35870" y="69093"/>
                      </a:lnTo>
                      <a:lnTo>
                        <a:pt x="34486" y="68061"/>
                      </a:lnTo>
                      <a:lnTo>
                        <a:pt x="33114" y="66749"/>
                      </a:lnTo>
                      <a:lnTo>
                        <a:pt x="32531" y="64916"/>
                      </a:lnTo>
                      <a:lnTo>
                        <a:pt x="31899" y="61128"/>
                      </a:lnTo>
                      <a:lnTo>
                        <a:pt x="30248" y="58140"/>
                      </a:lnTo>
                      <a:lnTo>
                        <a:pt x="26217" y="52372"/>
                      </a:lnTo>
                      <a:lnTo>
                        <a:pt x="12046" y="16502"/>
                      </a:lnTo>
                      <a:lnTo>
                        <a:pt x="10261" y="13211"/>
                      </a:lnTo>
                      <a:lnTo>
                        <a:pt x="7553" y="10054"/>
                      </a:lnTo>
                      <a:lnTo>
                        <a:pt x="7274" y="8925"/>
                      </a:lnTo>
                      <a:lnTo>
                        <a:pt x="15482" y="6375"/>
                      </a:lnTo>
                      <a:lnTo>
                        <a:pt x="19672" y="6096"/>
                      </a:lnTo>
                      <a:moveTo>
                        <a:pt x="19927" y="0"/>
                      </a:moveTo>
                      <a:lnTo>
                        <a:pt x="19344" y="36"/>
                      </a:lnTo>
                      <a:lnTo>
                        <a:pt x="15154" y="267"/>
                      </a:lnTo>
                      <a:lnTo>
                        <a:pt x="14402" y="303"/>
                      </a:lnTo>
                      <a:lnTo>
                        <a:pt x="13673" y="534"/>
                      </a:lnTo>
                      <a:lnTo>
                        <a:pt x="5464" y="3084"/>
                      </a:lnTo>
                      <a:lnTo>
                        <a:pt x="0" y="4784"/>
                      </a:lnTo>
                      <a:lnTo>
                        <a:pt x="1372" y="10346"/>
                      </a:lnTo>
                      <a:lnTo>
                        <a:pt x="1651" y="11475"/>
                      </a:lnTo>
                      <a:lnTo>
                        <a:pt x="1991" y="12871"/>
                      </a:lnTo>
                      <a:lnTo>
                        <a:pt x="2939" y="13964"/>
                      </a:lnTo>
                      <a:lnTo>
                        <a:pt x="5221" y="16636"/>
                      </a:lnTo>
                      <a:lnTo>
                        <a:pt x="6521" y="19040"/>
                      </a:lnTo>
                      <a:lnTo>
                        <a:pt x="20558" y="54570"/>
                      </a:lnTo>
                      <a:lnTo>
                        <a:pt x="20813" y="55238"/>
                      </a:lnTo>
                      <a:lnTo>
                        <a:pt x="21226" y="55833"/>
                      </a:lnTo>
                      <a:lnTo>
                        <a:pt x="25075" y="61334"/>
                      </a:lnTo>
                      <a:lnTo>
                        <a:pt x="26071" y="63119"/>
                      </a:lnTo>
                      <a:lnTo>
                        <a:pt x="26532" y="65888"/>
                      </a:lnTo>
                      <a:lnTo>
                        <a:pt x="26605" y="66313"/>
                      </a:lnTo>
                      <a:lnTo>
                        <a:pt x="26739" y="66738"/>
                      </a:lnTo>
                      <a:lnTo>
                        <a:pt x="27322" y="68571"/>
                      </a:lnTo>
                      <a:lnTo>
                        <a:pt x="27783" y="70028"/>
                      </a:lnTo>
                      <a:lnTo>
                        <a:pt x="28888" y="71097"/>
                      </a:lnTo>
                      <a:lnTo>
                        <a:pt x="30260" y="72408"/>
                      </a:lnTo>
                      <a:lnTo>
                        <a:pt x="30539" y="72675"/>
                      </a:lnTo>
                      <a:lnTo>
                        <a:pt x="30673" y="72772"/>
                      </a:lnTo>
                      <a:lnTo>
                        <a:pt x="30697" y="73028"/>
                      </a:lnTo>
                      <a:lnTo>
                        <a:pt x="30940" y="73695"/>
                      </a:lnTo>
                      <a:lnTo>
                        <a:pt x="32373" y="77715"/>
                      </a:lnTo>
                      <a:lnTo>
                        <a:pt x="32555" y="78249"/>
                      </a:lnTo>
                      <a:lnTo>
                        <a:pt x="32835" y="78723"/>
                      </a:lnTo>
                      <a:lnTo>
                        <a:pt x="44698" y="99135"/>
                      </a:lnTo>
                      <a:lnTo>
                        <a:pt x="47370" y="105401"/>
                      </a:lnTo>
                      <a:lnTo>
                        <a:pt x="48292" y="108861"/>
                      </a:lnTo>
                      <a:lnTo>
                        <a:pt x="48426" y="110282"/>
                      </a:lnTo>
                      <a:lnTo>
                        <a:pt x="48341" y="112237"/>
                      </a:lnTo>
                      <a:lnTo>
                        <a:pt x="47612" y="128557"/>
                      </a:lnTo>
                      <a:lnTo>
                        <a:pt x="54546" y="121223"/>
                      </a:lnTo>
                      <a:lnTo>
                        <a:pt x="55724" y="125522"/>
                      </a:lnTo>
                      <a:lnTo>
                        <a:pt x="55833" y="125934"/>
                      </a:lnTo>
                      <a:lnTo>
                        <a:pt x="56003" y="126323"/>
                      </a:lnTo>
                      <a:lnTo>
                        <a:pt x="62585" y="141611"/>
                      </a:lnTo>
                      <a:lnTo>
                        <a:pt x="63556" y="147670"/>
                      </a:lnTo>
                      <a:lnTo>
                        <a:pt x="63653" y="148265"/>
                      </a:lnTo>
                      <a:lnTo>
                        <a:pt x="63860" y="148836"/>
                      </a:lnTo>
                      <a:lnTo>
                        <a:pt x="65232" y="152515"/>
                      </a:lnTo>
                      <a:lnTo>
                        <a:pt x="65730" y="153839"/>
                      </a:lnTo>
                      <a:lnTo>
                        <a:pt x="66762" y="154810"/>
                      </a:lnTo>
                      <a:lnTo>
                        <a:pt x="69579" y="157457"/>
                      </a:lnTo>
                      <a:lnTo>
                        <a:pt x="90234" y="176850"/>
                      </a:lnTo>
                      <a:lnTo>
                        <a:pt x="90453" y="177287"/>
                      </a:lnTo>
                      <a:lnTo>
                        <a:pt x="90987" y="177882"/>
                      </a:lnTo>
                      <a:lnTo>
                        <a:pt x="94703" y="181986"/>
                      </a:lnTo>
                      <a:lnTo>
                        <a:pt x="94885" y="182618"/>
                      </a:lnTo>
                      <a:lnTo>
                        <a:pt x="95249" y="183881"/>
                      </a:lnTo>
                      <a:lnTo>
                        <a:pt x="96087" y="184876"/>
                      </a:lnTo>
                      <a:lnTo>
                        <a:pt x="96731" y="185629"/>
                      </a:lnTo>
                      <a:lnTo>
                        <a:pt x="99645" y="189066"/>
                      </a:lnTo>
                      <a:lnTo>
                        <a:pt x="103774" y="187268"/>
                      </a:lnTo>
                      <a:lnTo>
                        <a:pt x="103883" y="187232"/>
                      </a:lnTo>
                      <a:lnTo>
                        <a:pt x="124817" y="210340"/>
                      </a:lnTo>
                      <a:lnTo>
                        <a:pt x="128788" y="215853"/>
                      </a:lnTo>
                      <a:lnTo>
                        <a:pt x="137992" y="238123"/>
                      </a:lnTo>
                      <a:lnTo>
                        <a:pt x="137834" y="238718"/>
                      </a:lnTo>
                      <a:lnTo>
                        <a:pt x="137142" y="241438"/>
                      </a:lnTo>
                      <a:lnTo>
                        <a:pt x="138757" y="243721"/>
                      </a:lnTo>
                      <a:lnTo>
                        <a:pt x="141745" y="247934"/>
                      </a:lnTo>
                      <a:lnTo>
                        <a:pt x="142340" y="249938"/>
                      </a:lnTo>
                      <a:lnTo>
                        <a:pt x="142752" y="253289"/>
                      </a:lnTo>
                      <a:lnTo>
                        <a:pt x="142922" y="254710"/>
                      </a:lnTo>
                      <a:lnTo>
                        <a:pt x="143700" y="255900"/>
                      </a:lnTo>
                      <a:lnTo>
                        <a:pt x="145120" y="258062"/>
                      </a:lnTo>
                      <a:lnTo>
                        <a:pt x="146250" y="259762"/>
                      </a:lnTo>
                      <a:lnTo>
                        <a:pt x="148168" y="260454"/>
                      </a:lnTo>
                      <a:lnTo>
                        <a:pt x="150755" y="261364"/>
                      </a:lnTo>
                      <a:lnTo>
                        <a:pt x="151592" y="261656"/>
                      </a:lnTo>
                      <a:lnTo>
                        <a:pt x="152479" y="261692"/>
                      </a:lnTo>
                      <a:lnTo>
                        <a:pt x="155332" y="261838"/>
                      </a:lnTo>
                      <a:lnTo>
                        <a:pt x="155879" y="262032"/>
                      </a:lnTo>
                      <a:lnTo>
                        <a:pt x="156692" y="262882"/>
                      </a:lnTo>
                      <a:lnTo>
                        <a:pt x="159498" y="267618"/>
                      </a:lnTo>
                      <a:lnTo>
                        <a:pt x="162363" y="274491"/>
                      </a:lnTo>
                      <a:lnTo>
                        <a:pt x="162643" y="275171"/>
                      </a:lnTo>
                      <a:lnTo>
                        <a:pt x="163080" y="275766"/>
                      </a:lnTo>
                      <a:lnTo>
                        <a:pt x="165035" y="278413"/>
                      </a:lnTo>
                      <a:lnTo>
                        <a:pt x="165302" y="280271"/>
                      </a:lnTo>
                      <a:lnTo>
                        <a:pt x="165630" y="282542"/>
                      </a:lnTo>
                      <a:lnTo>
                        <a:pt x="165739" y="283295"/>
                      </a:lnTo>
                      <a:lnTo>
                        <a:pt x="166018" y="283987"/>
                      </a:lnTo>
                      <a:lnTo>
                        <a:pt x="166540" y="285250"/>
                      </a:lnTo>
                      <a:lnTo>
                        <a:pt x="166795" y="285881"/>
                      </a:lnTo>
                      <a:lnTo>
                        <a:pt x="167184" y="286427"/>
                      </a:lnTo>
                      <a:lnTo>
                        <a:pt x="167718" y="287193"/>
                      </a:lnTo>
                      <a:lnTo>
                        <a:pt x="168374" y="288407"/>
                      </a:lnTo>
                      <a:lnTo>
                        <a:pt x="184998" y="328102"/>
                      </a:lnTo>
                      <a:lnTo>
                        <a:pt x="193656" y="358775"/>
                      </a:lnTo>
                      <a:lnTo>
                        <a:pt x="196303" y="374209"/>
                      </a:lnTo>
                      <a:lnTo>
                        <a:pt x="196412" y="374865"/>
                      </a:lnTo>
                      <a:lnTo>
                        <a:pt x="196667" y="375484"/>
                      </a:lnTo>
                      <a:lnTo>
                        <a:pt x="199824" y="383183"/>
                      </a:lnTo>
                      <a:lnTo>
                        <a:pt x="200759" y="385465"/>
                      </a:lnTo>
                      <a:lnTo>
                        <a:pt x="201160" y="385648"/>
                      </a:lnTo>
                      <a:lnTo>
                        <a:pt x="201075" y="385793"/>
                      </a:lnTo>
                      <a:lnTo>
                        <a:pt x="201245" y="387748"/>
                      </a:lnTo>
                      <a:lnTo>
                        <a:pt x="201415" y="389667"/>
                      </a:lnTo>
                      <a:lnTo>
                        <a:pt x="201536" y="391088"/>
                      </a:lnTo>
                      <a:lnTo>
                        <a:pt x="202277" y="392314"/>
                      </a:lnTo>
                      <a:lnTo>
                        <a:pt x="203188" y="393808"/>
                      </a:lnTo>
                      <a:lnTo>
                        <a:pt x="203358" y="394063"/>
                      </a:lnTo>
                      <a:lnTo>
                        <a:pt x="203540" y="394318"/>
                      </a:lnTo>
                      <a:lnTo>
                        <a:pt x="204026" y="394961"/>
                      </a:lnTo>
                      <a:lnTo>
                        <a:pt x="204062" y="395046"/>
                      </a:lnTo>
                      <a:lnTo>
                        <a:pt x="204766" y="398045"/>
                      </a:lnTo>
                      <a:lnTo>
                        <a:pt x="204924" y="398725"/>
                      </a:lnTo>
                      <a:lnTo>
                        <a:pt x="205240" y="399357"/>
                      </a:lnTo>
                      <a:lnTo>
                        <a:pt x="216266" y="421554"/>
                      </a:lnTo>
                      <a:lnTo>
                        <a:pt x="217662" y="428099"/>
                      </a:lnTo>
                      <a:lnTo>
                        <a:pt x="217954" y="429447"/>
                      </a:lnTo>
                      <a:lnTo>
                        <a:pt x="218804" y="430552"/>
                      </a:lnTo>
                      <a:lnTo>
                        <a:pt x="220807" y="433138"/>
                      </a:lnTo>
                      <a:lnTo>
                        <a:pt x="221111" y="433515"/>
                      </a:lnTo>
                      <a:lnTo>
                        <a:pt x="221463" y="433855"/>
                      </a:lnTo>
                      <a:lnTo>
                        <a:pt x="225543" y="437643"/>
                      </a:lnTo>
                      <a:lnTo>
                        <a:pt x="226199" y="438955"/>
                      </a:lnTo>
                      <a:lnTo>
                        <a:pt x="227984" y="446204"/>
                      </a:lnTo>
                      <a:lnTo>
                        <a:pt x="228287" y="449580"/>
                      </a:lnTo>
                      <a:lnTo>
                        <a:pt x="228336" y="450139"/>
                      </a:lnTo>
                      <a:lnTo>
                        <a:pt x="228482" y="450685"/>
                      </a:lnTo>
                      <a:lnTo>
                        <a:pt x="229392" y="453903"/>
                      </a:lnTo>
                      <a:lnTo>
                        <a:pt x="229696" y="454984"/>
                      </a:lnTo>
                      <a:lnTo>
                        <a:pt x="230364" y="455870"/>
                      </a:lnTo>
                      <a:lnTo>
                        <a:pt x="236593" y="464249"/>
                      </a:lnTo>
                      <a:lnTo>
                        <a:pt x="238864" y="470782"/>
                      </a:lnTo>
                      <a:lnTo>
                        <a:pt x="242057" y="486057"/>
                      </a:lnTo>
                      <a:lnTo>
                        <a:pt x="242142" y="486482"/>
                      </a:lnTo>
                      <a:lnTo>
                        <a:pt x="242288" y="486883"/>
                      </a:lnTo>
                      <a:lnTo>
                        <a:pt x="245105" y="494630"/>
                      </a:lnTo>
                      <a:lnTo>
                        <a:pt x="245239" y="495007"/>
                      </a:lnTo>
                      <a:lnTo>
                        <a:pt x="245421" y="495359"/>
                      </a:lnTo>
                      <a:lnTo>
                        <a:pt x="246805" y="498006"/>
                      </a:lnTo>
                      <a:lnTo>
                        <a:pt x="247072" y="498528"/>
                      </a:lnTo>
                      <a:lnTo>
                        <a:pt x="247437" y="498990"/>
                      </a:lnTo>
                      <a:lnTo>
                        <a:pt x="249319" y="501333"/>
                      </a:lnTo>
                      <a:lnTo>
                        <a:pt x="249319" y="501940"/>
                      </a:lnTo>
                      <a:lnTo>
                        <a:pt x="249319" y="504831"/>
                      </a:lnTo>
                      <a:lnTo>
                        <a:pt x="249319" y="506700"/>
                      </a:lnTo>
                      <a:lnTo>
                        <a:pt x="250375" y="508242"/>
                      </a:lnTo>
                      <a:lnTo>
                        <a:pt x="250533" y="508486"/>
                      </a:lnTo>
                      <a:lnTo>
                        <a:pt x="250205" y="509797"/>
                      </a:lnTo>
                      <a:lnTo>
                        <a:pt x="249950" y="510756"/>
                      </a:lnTo>
                      <a:lnTo>
                        <a:pt x="250023" y="511752"/>
                      </a:lnTo>
                      <a:lnTo>
                        <a:pt x="250254" y="514715"/>
                      </a:lnTo>
                      <a:lnTo>
                        <a:pt x="250327" y="515625"/>
                      </a:lnTo>
                      <a:lnTo>
                        <a:pt x="250655" y="516463"/>
                      </a:lnTo>
                      <a:lnTo>
                        <a:pt x="256690" y="531824"/>
                      </a:lnTo>
                      <a:lnTo>
                        <a:pt x="256823" y="532176"/>
                      </a:lnTo>
                      <a:lnTo>
                        <a:pt x="257005" y="532492"/>
                      </a:lnTo>
                      <a:lnTo>
                        <a:pt x="259531" y="537143"/>
                      </a:lnTo>
                      <a:lnTo>
                        <a:pt x="260065" y="538126"/>
                      </a:lnTo>
                      <a:lnTo>
                        <a:pt x="260903" y="538855"/>
                      </a:lnTo>
                      <a:lnTo>
                        <a:pt x="261413" y="539292"/>
                      </a:lnTo>
                      <a:lnTo>
                        <a:pt x="259349" y="540737"/>
                      </a:lnTo>
                      <a:lnTo>
                        <a:pt x="260587" y="544927"/>
                      </a:lnTo>
                      <a:lnTo>
                        <a:pt x="261195" y="547003"/>
                      </a:lnTo>
                      <a:lnTo>
                        <a:pt x="262336" y="555211"/>
                      </a:lnTo>
                      <a:lnTo>
                        <a:pt x="262518" y="556511"/>
                      </a:lnTo>
                      <a:lnTo>
                        <a:pt x="263223" y="557628"/>
                      </a:lnTo>
                      <a:lnTo>
                        <a:pt x="264012" y="558879"/>
                      </a:lnTo>
                      <a:lnTo>
                        <a:pt x="268140" y="571714"/>
                      </a:lnTo>
                      <a:lnTo>
                        <a:pt x="271601" y="598598"/>
                      </a:lnTo>
                      <a:lnTo>
                        <a:pt x="270715" y="602278"/>
                      </a:lnTo>
                      <a:lnTo>
                        <a:pt x="270435" y="603419"/>
                      </a:lnTo>
                      <a:lnTo>
                        <a:pt x="270605" y="604597"/>
                      </a:lnTo>
                      <a:lnTo>
                        <a:pt x="274515" y="631153"/>
                      </a:lnTo>
                      <a:lnTo>
                        <a:pt x="274576" y="631591"/>
                      </a:lnTo>
                      <a:lnTo>
                        <a:pt x="274710" y="632016"/>
                      </a:lnTo>
                      <a:lnTo>
                        <a:pt x="284303" y="663757"/>
                      </a:lnTo>
                      <a:lnTo>
                        <a:pt x="284412" y="664097"/>
                      </a:lnTo>
                      <a:lnTo>
                        <a:pt x="284558" y="664437"/>
                      </a:lnTo>
                      <a:lnTo>
                        <a:pt x="299481" y="698474"/>
                      </a:lnTo>
                      <a:lnTo>
                        <a:pt x="301072" y="702105"/>
                      </a:lnTo>
                      <a:lnTo>
                        <a:pt x="302311" y="702105"/>
                      </a:lnTo>
                      <a:lnTo>
                        <a:pt x="302250" y="702894"/>
                      </a:lnTo>
                      <a:lnTo>
                        <a:pt x="302954" y="704363"/>
                      </a:lnTo>
                      <a:lnTo>
                        <a:pt x="308188" y="715243"/>
                      </a:lnTo>
                      <a:lnTo>
                        <a:pt x="310131" y="721145"/>
                      </a:lnTo>
                      <a:lnTo>
                        <a:pt x="310386" y="721922"/>
                      </a:lnTo>
                      <a:lnTo>
                        <a:pt x="310847" y="722614"/>
                      </a:lnTo>
                      <a:lnTo>
                        <a:pt x="312814" y="725577"/>
                      </a:lnTo>
                      <a:lnTo>
                        <a:pt x="312984" y="726233"/>
                      </a:lnTo>
                      <a:lnTo>
                        <a:pt x="313118" y="728163"/>
                      </a:lnTo>
                      <a:lnTo>
                        <a:pt x="313154" y="728637"/>
                      </a:lnTo>
                      <a:lnTo>
                        <a:pt x="313251" y="729086"/>
                      </a:lnTo>
                      <a:lnTo>
                        <a:pt x="313944" y="732146"/>
                      </a:lnTo>
                      <a:lnTo>
                        <a:pt x="314089" y="732790"/>
                      </a:lnTo>
                      <a:lnTo>
                        <a:pt x="314369" y="733385"/>
                      </a:lnTo>
                      <a:lnTo>
                        <a:pt x="315631" y="736080"/>
                      </a:lnTo>
                      <a:lnTo>
                        <a:pt x="316226" y="737343"/>
                      </a:lnTo>
                      <a:lnTo>
                        <a:pt x="317307" y="738218"/>
                      </a:lnTo>
                      <a:lnTo>
                        <a:pt x="318084" y="738861"/>
                      </a:lnTo>
                      <a:lnTo>
                        <a:pt x="317404" y="740840"/>
                      </a:lnTo>
                      <a:lnTo>
                        <a:pt x="319019" y="743318"/>
                      </a:lnTo>
                      <a:lnTo>
                        <a:pt x="321715" y="747458"/>
                      </a:lnTo>
                      <a:lnTo>
                        <a:pt x="322213" y="748211"/>
                      </a:lnTo>
                      <a:lnTo>
                        <a:pt x="322905" y="748794"/>
                      </a:lnTo>
                      <a:lnTo>
                        <a:pt x="338606" y="761969"/>
                      </a:lnTo>
                      <a:lnTo>
                        <a:pt x="340925" y="764811"/>
                      </a:lnTo>
                      <a:lnTo>
                        <a:pt x="347288" y="775703"/>
                      </a:lnTo>
                      <a:lnTo>
                        <a:pt x="347774" y="776529"/>
                      </a:lnTo>
                      <a:lnTo>
                        <a:pt x="348478" y="777160"/>
                      </a:lnTo>
                      <a:lnTo>
                        <a:pt x="354222" y="782309"/>
                      </a:lnTo>
                      <a:lnTo>
                        <a:pt x="355630" y="785539"/>
                      </a:lnTo>
                      <a:lnTo>
                        <a:pt x="355995" y="786352"/>
                      </a:lnTo>
                      <a:lnTo>
                        <a:pt x="356590" y="787045"/>
                      </a:lnTo>
                      <a:lnTo>
                        <a:pt x="369425" y="802017"/>
                      </a:lnTo>
                      <a:lnTo>
                        <a:pt x="371428" y="807020"/>
                      </a:lnTo>
                      <a:lnTo>
                        <a:pt x="371938" y="808295"/>
                      </a:lnTo>
                      <a:lnTo>
                        <a:pt x="372958" y="809230"/>
                      </a:lnTo>
                      <a:lnTo>
                        <a:pt x="382575" y="818070"/>
                      </a:lnTo>
                      <a:lnTo>
                        <a:pt x="397645" y="839453"/>
                      </a:lnTo>
                      <a:lnTo>
                        <a:pt x="397863" y="839757"/>
                      </a:lnTo>
                      <a:lnTo>
                        <a:pt x="398118" y="840024"/>
                      </a:lnTo>
                      <a:lnTo>
                        <a:pt x="404384" y="846933"/>
                      </a:lnTo>
                      <a:lnTo>
                        <a:pt x="404809" y="847395"/>
                      </a:lnTo>
                      <a:lnTo>
                        <a:pt x="405319" y="847759"/>
                      </a:lnTo>
                      <a:lnTo>
                        <a:pt x="426788" y="863412"/>
                      </a:lnTo>
                      <a:lnTo>
                        <a:pt x="431099" y="866557"/>
                      </a:lnTo>
                      <a:lnTo>
                        <a:pt x="434608" y="862853"/>
                      </a:lnTo>
                      <a:lnTo>
                        <a:pt x="436381" y="863047"/>
                      </a:lnTo>
                      <a:lnTo>
                        <a:pt x="437668" y="863193"/>
                      </a:lnTo>
                      <a:lnTo>
                        <a:pt x="438907" y="862792"/>
                      </a:lnTo>
                      <a:lnTo>
                        <a:pt x="440522" y="862270"/>
                      </a:lnTo>
                      <a:lnTo>
                        <a:pt x="441529" y="861942"/>
                      </a:lnTo>
                      <a:lnTo>
                        <a:pt x="442367" y="861286"/>
                      </a:lnTo>
                      <a:lnTo>
                        <a:pt x="443800" y="860169"/>
                      </a:lnTo>
                      <a:lnTo>
                        <a:pt x="444723" y="859453"/>
                      </a:lnTo>
                      <a:lnTo>
                        <a:pt x="445306" y="858457"/>
                      </a:lnTo>
                      <a:lnTo>
                        <a:pt x="445937" y="857389"/>
                      </a:lnTo>
                      <a:lnTo>
                        <a:pt x="446435" y="856563"/>
                      </a:lnTo>
                      <a:lnTo>
                        <a:pt x="446642" y="855616"/>
                      </a:lnTo>
                      <a:lnTo>
                        <a:pt x="446933" y="854304"/>
                      </a:lnTo>
                      <a:lnTo>
                        <a:pt x="447042" y="853794"/>
                      </a:lnTo>
                      <a:lnTo>
                        <a:pt x="447067" y="853272"/>
                      </a:lnTo>
                      <a:lnTo>
                        <a:pt x="447115" y="852058"/>
                      </a:lnTo>
                      <a:lnTo>
                        <a:pt x="447139" y="851499"/>
                      </a:lnTo>
                      <a:lnTo>
                        <a:pt x="447067" y="850965"/>
                      </a:lnTo>
                      <a:lnTo>
                        <a:pt x="446921" y="849896"/>
                      </a:lnTo>
                      <a:lnTo>
                        <a:pt x="447176" y="849277"/>
                      </a:lnTo>
                      <a:lnTo>
                        <a:pt x="448839" y="846253"/>
                      </a:lnTo>
                      <a:lnTo>
                        <a:pt x="452470" y="841955"/>
                      </a:lnTo>
                      <a:lnTo>
                        <a:pt x="452786" y="841578"/>
                      </a:lnTo>
                      <a:lnTo>
                        <a:pt x="453041" y="841153"/>
                      </a:lnTo>
                      <a:lnTo>
                        <a:pt x="454644" y="838470"/>
                      </a:lnTo>
                      <a:lnTo>
                        <a:pt x="454996" y="837875"/>
                      </a:lnTo>
                      <a:lnTo>
                        <a:pt x="455215" y="837219"/>
                      </a:lnTo>
                      <a:lnTo>
                        <a:pt x="455895" y="835130"/>
                      </a:lnTo>
                      <a:lnTo>
                        <a:pt x="456356" y="833710"/>
                      </a:lnTo>
                      <a:lnTo>
                        <a:pt x="456101" y="832253"/>
                      </a:lnTo>
                      <a:lnTo>
                        <a:pt x="455822" y="830601"/>
                      </a:lnTo>
                      <a:lnTo>
                        <a:pt x="455761" y="830261"/>
                      </a:lnTo>
                      <a:lnTo>
                        <a:pt x="455664" y="829945"/>
                      </a:lnTo>
                      <a:lnTo>
                        <a:pt x="455506" y="829411"/>
                      </a:lnTo>
                      <a:lnTo>
                        <a:pt x="455603" y="829387"/>
                      </a:lnTo>
                      <a:lnTo>
                        <a:pt x="456441" y="828865"/>
                      </a:lnTo>
                      <a:lnTo>
                        <a:pt x="458578" y="827553"/>
                      </a:lnTo>
                      <a:lnTo>
                        <a:pt x="459222" y="827152"/>
                      </a:lnTo>
                      <a:lnTo>
                        <a:pt x="459744" y="826606"/>
                      </a:lnTo>
                      <a:lnTo>
                        <a:pt x="463302" y="822927"/>
                      </a:lnTo>
                      <a:lnTo>
                        <a:pt x="463690" y="822526"/>
                      </a:lnTo>
                      <a:lnTo>
                        <a:pt x="463994" y="822065"/>
                      </a:lnTo>
                      <a:lnTo>
                        <a:pt x="465827" y="819296"/>
                      </a:lnTo>
                      <a:lnTo>
                        <a:pt x="466204" y="818737"/>
                      </a:lnTo>
                      <a:lnTo>
                        <a:pt x="466447" y="818106"/>
                      </a:lnTo>
                      <a:lnTo>
                        <a:pt x="467600" y="815095"/>
                      </a:lnTo>
                      <a:lnTo>
                        <a:pt x="468037" y="813953"/>
                      </a:lnTo>
                      <a:lnTo>
                        <a:pt x="468001" y="812727"/>
                      </a:lnTo>
                      <a:lnTo>
                        <a:pt x="467940" y="810832"/>
                      </a:lnTo>
                      <a:lnTo>
                        <a:pt x="467916" y="809885"/>
                      </a:lnTo>
                      <a:lnTo>
                        <a:pt x="467600" y="808999"/>
                      </a:lnTo>
                      <a:lnTo>
                        <a:pt x="466920" y="807080"/>
                      </a:lnTo>
                      <a:lnTo>
                        <a:pt x="466677" y="806376"/>
                      </a:lnTo>
                      <a:lnTo>
                        <a:pt x="466277" y="805769"/>
                      </a:lnTo>
                      <a:lnTo>
                        <a:pt x="465184" y="804105"/>
                      </a:lnTo>
                      <a:lnTo>
                        <a:pt x="464929" y="803704"/>
                      </a:lnTo>
                      <a:lnTo>
                        <a:pt x="464613" y="803365"/>
                      </a:lnTo>
                      <a:lnTo>
                        <a:pt x="461213" y="799613"/>
                      </a:lnTo>
                      <a:lnTo>
                        <a:pt x="460873" y="799248"/>
                      </a:lnTo>
                      <a:lnTo>
                        <a:pt x="460472" y="798944"/>
                      </a:lnTo>
                      <a:lnTo>
                        <a:pt x="452118" y="792363"/>
                      </a:lnTo>
                      <a:lnTo>
                        <a:pt x="451462" y="791598"/>
                      </a:lnTo>
                      <a:lnTo>
                        <a:pt x="451050" y="790845"/>
                      </a:lnTo>
                      <a:lnTo>
                        <a:pt x="450710" y="789959"/>
                      </a:lnTo>
                      <a:lnTo>
                        <a:pt x="450539" y="789085"/>
                      </a:lnTo>
                      <a:lnTo>
                        <a:pt x="450442" y="786413"/>
                      </a:lnTo>
                      <a:lnTo>
                        <a:pt x="450430" y="785964"/>
                      </a:lnTo>
                      <a:lnTo>
                        <a:pt x="450357" y="785527"/>
                      </a:lnTo>
                      <a:lnTo>
                        <a:pt x="450066" y="783972"/>
                      </a:lnTo>
                      <a:lnTo>
                        <a:pt x="449981" y="783511"/>
                      </a:lnTo>
                      <a:lnTo>
                        <a:pt x="449823" y="783074"/>
                      </a:lnTo>
                      <a:lnTo>
                        <a:pt x="449447" y="782005"/>
                      </a:lnTo>
                      <a:lnTo>
                        <a:pt x="449422" y="781787"/>
                      </a:lnTo>
                      <a:lnTo>
                        <a:pt x="450539" y="780305"/>
                      </a:lnTo>
                      <a:lnTo>
                        <a:pt x="458882" y="767555"/>
                      </a:lnTo>
                      <a:lnTo>
                        <a:pt x="459355" y="766826"/>
                      </a:lnTo>
                      <a:lnTo>
                        <a:pt x="459610" y="766013"/>
                      </a:lnTo>
                      <a:lnTo>
                        <a:pt x="462828" y="755473"/>
                      </a:lnTo>
                      <a:lnTo>
                        <a:pt x="463022" y="754854"/>
                      </a:lnTo>
                      <a:lnTo>
                        <a:pt x="463071" y="754222"/>
                      </a:lnTo>
                      <a:lnTo>
                        <a:pt x="463253" y="752194"/>
                      </a:lnTo>
                      <a:lnTo>
                        <a:pt x="463362" y="750931"/>
                      </a:lnTo>
                      <a:lnTo>
                        <a:pt x="462950" y="749717"/>
                      </a:lnTo>
                      <a:lnTo>
                        <a:pt x="462707" y="749013"/>
                      </a:lnTo>
                      <a:lnTo>
                        <a:pt x="462464" y="748284"/>
                      </a:lnTo>
                      <a:lnTo>
                        <a:pt x="462051" y="747653"/>
                      </a:lnTo>
                      <a:lnTo>
                        <a:pt x="461480" y="746766"/>
                      </a:lnTo>
                      <a:lnTo>
                        <a:pt x="461201" y="746329"/>
                      </a:lnTo>
                      <a:lnTo>
                        <a:pt x="460849" y="745953"/>
                      </a:lnTo>
                      <a:lnTo>
                        <a:pt x="459877" y="744896"/>
                      </a:lnTo>
                      <a:lnTo>
                        <a:pt x="459610" y="744617"/>
                      </a:lnTo>
                      <a:lnTo>
                        <a:pt x="459307" y="744362"/>
                      </a:lnTo>
                      <a:lnTo>
                        <a:pt x="457813" y="743111"/>
                      </a:lnTo>
                      <a:lnTo>
                        <a:pt x="457352" y="742735"/>
                      </a:lnTo>
                      <a:lnTo>
                        <a:pt x="456830" y="742456"/>
                      </a:lnTo>
                      <a:lnTo>
                        <a:pt x="453952" y="740877"/>
                      </a:lnTo>
                      <a:lnTo>
                        <a:pt x="452701" y="739796"/>
                      </a:lnTo>
                      <a:lnTo>
                        <a:pt x="451135" y="736008"/>
                      </a:lnTo>
                      <a:lnTo>
                        <a:pt x="447261" y="725431"/>
                      </a:lnTo>
                      <a:lnTo>
                        <a:pt x="452519" y="721740"/>
                      </a:lnTo>
                      <a:lnTo>
                        <a:pt x="453417" y="721108"/>
                      </a:lnTo>
                      <a:lnTo>
                        <a:pt x="454037" y="720198"/>
                      </a:lnTo>
                      <a:lnTo>
                        <a:pt x="457764" y="714745"/>
                      </a:lnTo>
                      <a:lnTo>
                        <a:pt x="458104" y="714248"/>
                      </a:lnTo>
                      <a:lnTo>
                        <a:pt x="458335" y="713689"/>
                      </a:lnTo>
                      <a:lnTo>
                        <a:pt x="462998" y="702724"/>
                      </a:lnTo>
                      <a:lnTo>
                        <a:pt x="473769" y="669088"/>
                      </a:lnTo>
                      <a:lnTo>
                        <a:pt x="478383" y="661535"/>
                      </a:lnTo>
                      <a:lnTo>
                        <a:pt x="478735" y="660952"/>
                      </a:lnTo>
                      <a:lnTo>
                        <a:pt x="478954" y="660296"/>
                      </a:lnTo>
                      <a:lnTo>
                        <a:pt x="483423" y="647048"/>
                      </a:lnTo>
                      <a:lnTo>
                        <a:pt x="484200" y="645458"/>
                      </a:lnTo>
                      <a:lnTo>
                        <a:pt x="484612" y="644899"/>
                      </a:lnTo>
                      <a:lnTo>
                        <a:pt x="489336" y="640831"/>
                      </a:lnTo>
                      <a:lnTo>
                        <a:pt x="491364" y="639058"/>
                      </a:lnTo>
                      <a:lnTo>
                        <a:pt x="491437" y="636375"/>
                      </a:lnTo>
                      <a:lnTo>
                        <a:pt x="491558" y="631566"/>
                      </a:lnTo>
                      <a:lnTo>
                        <a:pt x="491583" y="630243"/>
                      </a:lnTo>
                      <a:lnTo>
                        <a:pt x="491060" y="629029"/>
                      </a:lnTo>
                      <a:lnTo>
                        <a:pt x="489968" y="626478"/>
                      </a:lnTo>
                      <a:lnTo>
                        <a:pt x="489615" y="625653"/>
                      </a:lnTo>
                      <a:lnTo>
                        <a:pt x="489032" y="624960"/>
                      </a:lnTo>
                      <a:lnTo>
                        <a:pt x="483629" y="618513"/>
                      </a:lnTo>
                      <a:lnTo>
                        <a:pt x="482718" y="616837"/>
                      </a:lnTo>
                      <a:lnTo>
                        <a:pt x="481419" y="613583"/>
                      </a:lnTo>
                      <a:lnTo>
                        <a:pt x="481115" y="612830"/>
                      </a:lnTo>
                      <a:lnTo>
                        <a:pt x="480618" y="612162"/>
                      </a:lnTo>
                      <a:lnTo>
                        <a:pt x="479585" y="610814"/>
                      </a:lnTo>
                      <a:lnTo>
                        <a:pt x="478954" y="610000"/>
                      </a:lnTo>
                      <a:lnTo>
                        <a:pt x="478080" y="609417"/>
                      </a:lnTo>
                      <a:lnTo>
                        <a:pt x="476865" y="608628"/>
                      </a:lnTo>
                      <a:lnTo>
                        <a:pt x="475687" y="607863"/>
                      </a:lnTo>
                      <a:lnTo>
                        <a:pt x="474291" y="607693"/>
                      </a:lnTo>
                      <a:lnTo>
                        <a:pt x="473040" y="607535"/>
                      </a:lnTo>
                      <a:lnTo>
                        <a:pt x="472591" y="607474"/>
                      </a:lnTo>
                      <a:lnTo>
                        <a:pt x="472142" y="607487"/>
                      </a:lnTo>
                      <a:lnTo>
                        <a:pt x="468815" y="607572"/>
                      </a:lnTo>
                      <a:lnTo>
                        <a:pt x="468195" y="607584"/>
                      </a:lnTo>
                      <a:lnTo>
                        <a:pt x="467600" y="607730"/>
                      </a:lnTo>
                      <a:lnTo>
                        <a:pt x="466216" y="608046"/>
                      </a:lnTo>
                      <a:lnTo>
                        <a:pt x="465584" y="608203"/>
                      </a:lnTo>
                      <a:lnTo>
                        <a:pt x="465002" y="608470"/>
                      </a:lnTo>
                      <a:lnTo>
                        <a:pt x="457874" y="611810"/>
                      </a:lnTo>
                      <a:lnTo>
                        <a:pt x="457060" y="610960"/>
                      </a:lnTo>
                      <a:lnTo>
                        <a:pt x="455858" y="609903"/>
                      </a:lnTo>
                      <a:lnTo>
                        <a:pt x="455287" y="609406"/>
                      </a:lnTo>
                      <a:lnTo>
                        <a:pt x="454607" y="609078"/>
                      </a:lnTo>
                      <a:lnTo>
                        <a:pt x="453466" y="608507"/>
                      </a:lnTo>
                      <a:lnTo>
                        <a:pt x="453162" y="608349"/>
                      </a:lnTo>
                      <a:lnTo>
                        <a:pt x="452847" y="608228"/>
                      </a:lnTo>
                      <a:lnTo>
                        <a:pt x="451584" y="607766"/>
                      </a:lnTo>
                      <a:lnTo>
                        <a:pt x="451159" y="607645"/>
                      </a:lnTo>
                      <a:lnTo>
                        <a:pt x="459598" y="580566"/>
                      </a:lnTo>
                      <a:lnTo>
                        <a:pt x="459732" y="580129"/>
                      </a:lnTo>
                      <a:lnTo>
                        <a:pt x="459804" y="579680"/>
                      </a:lnTo>
                      <a:lnTo>
                        <a:pt x="460205" y="577008"/>
                      </a:lnTo>
                      <a:lnTo>
                        <a:pt x="460266" y="576607"/>
                      </a:lnTo>
                      <a:lnTo>
                        <a:pt x="460266" y="576207"/>
                      </a:lnTo>
                      <a:lnTo>
                        <a:pt x="460327" y="572819"/>
                      </a:lnTo>
                      <a:lnTo>
                        <a:pt x="460339" y="571908"/>
                      </a:lnTo>
                      <a:lnTo>
                        <a:pt x="460084" y="571034"/>
                      </a:lnTo>
                      <a:lnTo>
                        <a:pt x="459003" y="567294"/>
                      </a:lnTo>
                      <a:lnTo>
                        <a:pt x="458117" y="560724"/>
                      </a:lnTo>
                      <a:lnTo>
                        <a:pt x="458214" y="559291"/>
                      </a:lnTo>
                      <a:lnTo>
                        <a:pt x="458408" y="558320"/>
                      </a:lnTo>
                      <a:lnTo>
                        <a:pt x="463204" y="548982"/>
                      </a:lnTo>
                      <a:lnTo>
                        <a:pt x="463581" y="548254"/>
                      </a:lnTo>
                      <a:lnTo>
                        <a:pt x="463751" y="547452"/>
                      </a:lnTo>
                      <a:lnTo>
                        <a:pt x="464382" y="544465"/>
                      </a:lnTo>
                      <a:lnTo>
                        <a:pt x="464516" y="543846"/>
                      </a:lnTo>
                      <a:lnTo>
                        <a:pt x="464516" y="543214"/>
                      </a:lnTo>
                      <a:lnTo>
                        <a:pt x="464516" y="541356"/>
                      </a:lnTo>
                      <a:lnTo>
                        <a:pt x="464516" y="540409"/>
                      </a:lnTo>
                      <a:lnTo>
                        <a:pt x="464224" y="539498"/>
                      </a:lnTo>
                      <a:lnTo>
                        <a:pt x="460387" y="527562"/>
                      </a:lnTo>
                      <a:lnTo>
                        <a:pt x="460266" y="527210"/>
                      </a:lnTo>
                      <a:lnTo>
                        <a:pt x="460108" y="526870"/>
                      </a:lnTo>
                      <a:lnTo>
                        <a:pt x="457959" y="522256"/>
                      </a:lnTo>
                      <a:lnTo>
                        <a:pt x="458007" y="522073"/>
                      </a:lnTo>
                      <a:lnTo>
                        <a:pt x="466677" y="503932"/>
                      </a:lnTo>
                      <a:lnTo>
                        <a:pt x="466957" y="503337"/>
                      </a:lnTo>
                      <a:lnTo>
                        <a:pt x="467102" y="502693"/>
                      </a:lnTo>
                      <a:lnTo>
                        <a:pt x="467904" y="499257"/>
                      </a:lnTo>
                      <a:lnTo>
                        <a:pt x="468062" y="498565"/>
                      </a:lnTo>
                      <a:lnTo>
                        <a:pt x="468062" y="497860"/>
                      </a:lnTo>
                      <a:lnTo>
                        <a:pt x="468062" y="495760"/>
                      </a:lnTo>
                      <a:lnTo>
                        <a:pt x="468062" y="494897"/>
                      </a:lnTo>
                      <a:lnTo>
                        <a:pt x="467819" y="494059"/>
                      </a:lnTo>
                      <a:lnTo>
                        <a:pt x="467418" y="492688"/>
                      </a:lnTo>
                      <a:lnTo>
                        <a:pt x="466993" y="491242"/>
                      </a:lnTo>
                      <a:lnTo>
                        <a:pt x="465937" y="490150"/>
                      </a:lnTo>
                      <a:lnTo>
                        <a:pt x="465184" y="489385"/>
                      </a:lnTo>
                      <a:lnTo>
                        <a:pt x="464710" y="488911"/>
                      </a:lnTo>
                      <a:lnTo>
                        <a:pt x="464152" y="488547"/>
                      </a:lnTo>
                      <a:lnTo>
                        <a:pt x="462804" y="487672"/>
                      </a:lnTo>
                      <a:lnTo>
                        <a:pt x="462731" y="487563"/>
                      </a:lnTo>
                      <a:lnTo>
                        <a:pt x="462221" y="486385"/>
                      </a:lnTo>
                      <a:lnTo>
                        <a:pt x="462015" y="483544"/>
                      </a:lnTo>
                      <a:lnTo>
                        <a:pt x="461978" y="482925"/>
                      </a:lnTo>
                      <a:lnTo>
                        <a:pt x="461808" y="482318"/>
                      </a:lnTo>
                      <a:lnTo>
                        <a:pt x="460776" y="478674"/>
                      </a:lnTo>
                      <a:lnTo>
                        <a:pt x="460497" y="477679"/>
                      </a:lnTo>
                      <a:lnTo>
                        <a:pt x="459902" y="476841"/>
                      </a:lnTo>
                      <a:lnTo>
                        <a:pt x="458639" y="475056"/>
                      </a:lnTo>
                      <a:lnTo>
                        <a:pt x="454571" y="467940"/>
                      </a:lnTo>
                      <a:lnTo>
                        <a:pt x="454352" y="467564"/>
                      </a:lnTo>
                      <a:lnTo>
                        <a:pt x="454085" y="467224"/>
                      </a:lnTo>
                      <a:lnTo>
                        <a:pt x="453381" y="466337"/>
                      </a:lnTo>
                      <a:lnTo>
                        <a:pt x="452944" y="465791"/>
                      </a:lnTo>
                      <a:lnTo>
                        <a:pt x="452397" y="465354"/>
                      </a:lnTo>
                      <a:lnTo>
                        <a:pt x="449362" y="462937"/>
                      </a:lnTo>
                      <a:lnTo>
                        <a:pt x="446933" y="460994"/>
                      </a:lnTo>
                      <a:lnTo>
                        <a:pt x="443934" y="461832"/>
                      </a:lnTo>
                      <a:lnTo>
                        <a:pt x="439514" y="463083"/>
                      </a:lnTo>
                      <a:lnTo>
                        <a:pt x="438846" y="463277"/>
                      </a:lnTo>
                      <a:lnTo>
                        <a:pt x="438239" y="463605"/>
                      </a:lnTo>
                      <a:lnTo>
                        <a:pt x="431912" y="467078"/>
                      </a:lnTo>
                      <a:lnTo>
                        <a:pt x="424056" y="469859"/>
                      </a:lnTo>
                      <a:lnTo>
                        <a:pt x="423704" y="469992"/>
                      </a:lnTo>
                      <a:lnTo>
                        <a:pt x="423376" y="470162"/>
                      </a:lnTo>
                      <a:lnTo>
                        <a:pt x="421020" y="471340"/>
                      </a:lnTo>
                      <a:lnTo>
                        <a:pt x="420668" y="471522"/>
                      </a:lnTo>
                      <a:lnTo>
                        <a:pt x="420340" y="471741"/>
                      </a:lnTo>
                      <a:lnTo>
                        <a:pt x="418385" y="473052"/>
                      </a:lnTo>
                      <a:lnTo>
                        <a:pt x="417960" y="473331"/>
                      </a:lnTo>
                      <a:lnTo>
                        <a:pt x="417596" y="473672"/>
                      </a:lnTo>
                      <a:lnTo>
                        <a:pt x="409654" y="481212"/>
                      </a:lnTo>
                      <a:lnTo>
                        <a:pt x="404202" y="485038"/>
                      </a:lnTo>
                      <a:lnTo>
                        <a:pt x="402806" y="485608"/>
                      </a:lnTo>
                      <a:lnTo>
                        <a:pt x="401749" y="485025"/>
                      </a:lnTo>
                      <a:lnTo>
                        <a:pt x="401263" y="484758"/>
                      </a:lnTo>
                      <a:lnTo>
                        <a:pt x="400729" y="484576"/>
                      </a:lnTo>
                      <a:lnTo>
                        <a:pt x="399697" y="484236"/>
                      </a:lnTo>
                      <a:lnTo>
                        <a:pt x="398556" y="483945"/>
                      </a:lnTo>
                      <a:lnTo>
                        <a:pt x="397718" y="483167"/>
                      </a:lnTo>
                      <a:lnTo>
                        <a:pt x="394136" y="479063"/>
                      </a:lnTo>
                      <a:lnTo>
                        <a:pt x="391537" y="476537"/>
                      </a:lnTo>
                      <a:lnTo>
                        <a:pt x="391306" y="476307"/>
                      </a:lnTo>
                      <a:lnTo>
                        <a:pt x="391051" y="476112"/>
                      </a:lnTo>
                      <a:lnTo>
                        <a:pt x="388865" y="474412"/>
                      </a:lnTo>
                      <a:lnTo>
                        <a:pt x="385320" y="472129"/>
                      </a:lnTo>
                      <a:lnTo>
                        <a:pt x="385295" y="471219"/>
                      </a:lnTo>
                      <a:lnTo>
                        <a:pt x="385781" y="466520"/>
                      </a:lnTo>
                      <a:lnTo>
                        <a:pt x="385866" y="465621"/>
                      </a:lnTo>
                      <a:lnTo>
                        <a:pt x="385684" y="464722"/>
                      </a:lnTo>
                      <a:lnTo>
                        <a:pt x="385223" y="462403"/>
                      </a:lnTo>
                      <a:lnTo>
                        <a:pt x="385053" y="461577"/>
                      </a:lnTo>
                      <a:lnTo>
                        <a:pt x="384664" y="460824"/>
                      </a:lnTo>
                      <a:lnTo>
                        <a:pt x="383511" y="458578"/>
                      </a:lnTo>
                      <a:lnTo>
                        <a:pt x="383316" y="458214"/>
                      </a:lnTo>
                      <a:lnTo>
                        <a:pt x="383073" y="457886"/>
                      </a:lnTo>
                      <a:lnTo>
                        <a:pt x="380705" y="454498"/>
                      </a:lnTo>
                      <a:lnTo>
                        <a:pt x="380280" y="453539"/>
                      </a:lnTo>
                      <a:lnTo>
                        <a:pt x="379989" y="452470"/>
                      </a:lnTo>
                      <a:lnTo>
                        <a:pt x="379831" y="451304"/>
                      </a:lnTo>
                      <a:lnTo>
                        <a:pt x="380256" y="446945"/>
                      </a:lnTo>
                      <a:lnTo>
                        <a:pt x="381701" y="443642"/>
                      </a:lnTo>
                      <a:lnTo>
                        <a:pt x="382053" y="442841"/>
                      </a:lnTo>
                      <a:lnTo>
                        <a:pt x="382163" y="441967"/>
                      </a:lnTo>
                      <a:lnTo>
                        <a:pt x="382223" y="441469"/>
                      </a:lnTo>
                      <a:lnTo>
                        <a:pt x="382284" y="441214"/>
                      </a:lnTo>
                      <a:lnTo>
                        <a:pt x="382442" y="440655"/>
                      </a:lnTo>
                      <a:lnTo>
                        <a:pt x="382478" y="440072"/>
                      </a:lnTo>
                      <a:lnTo>
                        <a:pt x="383183" y="430176"/>
                      </a:lnTo>
                      <a:lnTo>
                        <a:pt x="383207" y="429763"/>
                      </a:lnTo>
                      <a:lnTo>
                        <a:pt x="383183" y="429350"/>
                      </a:lnTo>
                      <a:lnTo>
                        <a:pt x="382272" y="415835"/>
                      </a:lnTo>
                      <a:lnTo>
                        <a:pt x="383292" y="415580"/>
                      </a:lnTo>
                      <a:lnTo>
                        <a:pt x="383948" y="415398"/>
                      </a:lnTo>
                      <a:lnTo>
                        <a:pt x="384555" y="415094"/>
                      </a:lnTo>
                      <a:lnTo>
                        <a:pt x="386850" y="413904"/>
                      </a:lnTo>
                      <a:lnTo>
                        <a:pt x="388003" y="413309"/>
                      </a:lnTo>
                      <a:lnTo>
                        <a:pt x="388817" y="412289"/>
                      </a:lnTo>
                      <a:lnTo>
                        <a:pt x="391063" y="409484"/>
                      </a:lnTo>
                      <a:lnTo>
                        <a:pt x="392011" y="408294"/>
                      </a:lnTo>
                      <a:lnTo>
                        <a:pt x="392278" y="406788"/>
                      </a:lnTo>
                      <a:lnTo>
                        <a:pt x="392788" y="404008"/>
                      </a:lnTo>
                      <a:lnTo>
                        <a:pt x="392885" y="403486"/>
                      </a:lnTo>
                      <a:lnTo>
                        <a:pt x="392885" y="402963"/>
                      </a:lnTo>
                      <a:lnTo>
                        <a:pt x="392933" y="396515"/>
                      </a:lnTo>
                      <a:lnTo>
                        <a:pt x="393225" y="395168"/>
                      </a:lnTo>
                      <a:lnTo>
                        <a:pt x="394184" y="392496"/>
                      </a:lnTo>
                      <a:lnTo>
                        <a:pt x="394342" y="392059"/>
                      </a:lnTo>
                      <a:lnTo>
                        <a:pt x="394427" y="391598"/>
                      </a:lnTo>
                      <a:lnTo>
                        <a:pt x="394816" y="389582"/>
                      </a:lnTo>
                      <a:lnTo>
                        <a:pt x="394913" y="389096"/>
                      </a:lnTo>
                      <a:lnTo>
                        <a:pt x="394925" y="388598"/>
                      </a:lnTo>
                      <a:lnTo>
                        <a:pt x="394986" y="386631"/>
                      </a:lnTo>
                      <a:lnTo>
                        <a:pt x="394998" y="385866"/>
                      </a:lnTo>
                      <a:lnTo>
                        <a:pt x="394828" y="385113"/>
                      </a:lnTo>
                      <a:lnTo>
                        <a:pt x="394318" y="382867"/>
                      </a:lnTo>
                      <a:lnTo>
                        <a:pt x="394111" y="381968"/>
                      </a:lnTo>
                      <a:lnTo>
                        <a:pt x="393638" y="381167"/>
                      </a:lnTo>
                      <a:lnTo>
                        <a:pt x="393006" y="380098"/>
                      </a:lnTo>
                      <a:lnTo>
                        <a:pt x="392290" y="378859"/>
                      </a:lnTo>
                      <a:lnTo>
                        <a:pt x="391100" y="378095"/>
                      </a:lnTo>
                      <a:lnTo>
                        <a:pt x="390055" y="377402"/>
                      </a:lnTo>
                      <a:lnTo>
                        <a:pt x="389388" y="376965"/>
                      </a:lnTo>
                      <a:lnTo>
                        <a:pt x="388635" y="376710"/>
                      </a:lnTo>
                      <a:lnTo>
                        <a:pt x="387700" y="376394"/>
                      </a:lnTo>
                      <a:lnTo>
                        <a:pt x="387263" y="376152"/>
                      </a:lnTo>
                      <a:lnTo>
                        <a:pt x="386923" y="375860"/>
                      </a:lnTo>
                      <a:lnTo>
                        <a:pt x="386449" y="375095"/>
                      </a:lnTo>
                      <a:lnTo>
                        <a:pt x="385878" y="373711"/>
                      </a:lnTo>
                      <a:lnTo>
                        <a:pt x="385162" y="371270"/>
                      </a:lnTo>
                      <a:lnTo>
                        <a:pt x="385065" y="370967"/>
                      </a:lnTo>
                      <a:lnTo>
                        <a:pt x="384931" y="370663"/>
                      </a:lnTo>
                      <a:lnTo>
                        <a:pt x="384069" y="368659"/>
                      </a:lnTo>
                      <a:lnTo>
                        <a:pt x="383863" y="368174"/>
                      </a:lnTo>
                      <a:lnTo>
                        <a:pt x="383571" y="367737"/>
                      </a:lnTo>
                      <a:lnTo>
                        <a:pt x="382539" y="366158"/>
                      </a:lnTo>
                      <a:lnTo>
                        <a:pt x="381920" y="365211"/>
                      </a:lnTo>
                      <a:lnTo>
                        <a:pt x="381009" y="364555"/>
                      </a:lnTo>
                      <a:lnTo>
                        <a:pt x="379333" y="363341"/>
                      </a:lnTo>
                      <a:lnTo>
                        <a:pt x="378860" y="363001"/>
                      </a:lnTo>
                      <a:lnTo>
                        <a:pt x="378338" y="362758"/>
                      </a:lnTo>
                      <a:lnTo>
                        <a:pt x="368805" y="358338"/>
                      </a:lnTo>
                      <a:lnTo>
                        <a:pt x="368417" y="358144"/>
                      </a:lnTo>
                      <a:lnTo>
                        <a:pt x="368004" y="358022"/>
                      </a:lnTo>
                      <a:lnTo>
                        <a:pt x="359225" y="355363"/>
                      </a:lnTo>
                      <a:lnTo>
                        <a:pt x="357415" y="354440"/>
                      </a:lnTo>
                      <a:lnTo>
                        <a:pt x="356274" y="353481"/>
                      </a:lnTo>
                      <a:lnTo>
                        <a:pt x="354817" y="350834"/>
                      </a:lnTo>
                      <a:lnTo>
                        <a:pt x="354307" y="348600"/>
                      </a:lnTo>
                      <a:lnTo>
                        <a:pt x="354209" y="347021"/>
                      </a:lnTo>
                      <a:lnTo>
                        <a:pt x="354452" y="345430"/>
                      </a:lnTo>
                      <a:lnTo>
                        <a:pt x="354975" y="343523"/>
                      </a:lnTo>
                      <a:lnTo>
                        <a:pt x="355108" y="343244"/>
                      </a:lnTo>
                      <a:lnTo>
                        <a:pt x="357816" y="344483"/>
                      </a:lnTo>
                      <a:lnTo>
                        <a:pt x="358569" y="344835"/>
                      </a:lnTo>
                      <a:lnTo>
                        <a:pt x="359383" y="344969"/>
                      </a:lnTo>
                      <a:lnTo>
                        <a:pt x="361046" y="345224"/>
                      </a:lnTo>
                      <a:lnTo>
                        <a:pt x="362333" y="345430"/>
                      </a:lnTo>
                      <a:lnTo>
                        <a:pt x="363596" y="345090"/>
                      </a:lnTo>
                      <a:lnTo>
                        <a:pt x="365332" y="344617"/>
                      </a:lnTo>
                      <a:lnTo>
                        <a:pt x="366437" y="344313"/>
                      </a:lnTo>
                      <a:lnTo>
                        <a:pt x="367360" y="343621"/>
                      </a:lnTo>
                      <a:lnTo>
                        <a:pt x="368672" y="342637"/>
                      </a:lnTo>
                      <a:lnTo>
                        <a:pt x="369789" y="341811"/>
                      </a:lnTo>
                      <a:lnTo>
                        <a:pt x="370432" y="340561"/>
                      </a:lnTo>
                      <a:lnTo>
                        <a:pt x="371368" y="338763"/>
                      </a:lnTo>
                      <a:lnTo>
                        <a:pt x="372363" y="336845"/>
                      </a:lnTo>
                      <a:lnTo>
                        <a:pt x="371914" y="334732"/>
                      </a:lnTo>
                      <a:lnTo>
                        <a:pt x="371671" y="333567"/>
                      </a:lnTo>
                      <a:lnTo>
                        <a:pt x="371283" y="331684"/>
                      </a:lnTo>
                      <a:lnTo>
                        <a:pt x="369862" y="330373"/>
                      </a:lnTo>
                      <a:lnTo>
                        <a:pt x="368939" y="329523"/>
                      </a:lnTo>
                      <a:lnTo>
                        <a:pt x="368271" y="328891"/>
                      </a:lnTo>
                      <a:lnTo>
                        <a:pt x="367445" y="328503"/>
                      </a:lnTo>
                      <a:lnTo>
                        <a:pt x="367287" y="328418"/>
                      </a:lnTo>
                      <a:lnTo>
                        <a:pt x="366947" y="328005"/>
                      </a:lnTo>
                      <a:lnTo>
                        <a:pt x="365927" y="325977"/>
                      </a:lnTo>
                      <a:lnTo>
                        <a:pt x="364009" y="319820"/>
                      </a:lnTo>
                      <a:lnTo>
                        <a:pt x="362515" y="316105"/>
                      </a:lnTo>
                      <a:lnTo>
                        <a:pt x="362200" y="315328"/>
                      </a:lnTo>
                      <a:lnTo>
                        <a:pt x="361690" y="314660"/>
                      </a:lnTo>
                      <a:lnTo>
                        <a:pt x="360014" y="312511"/>
                      </a:lnTo>
                      <a:lnTo>
                        <a:pt x="359480" y="311818"/>
                      </a:lnTo>
                      <a:lnTo>
                        <a:pt x="358763" y="311308"/>
                      </a:lnTo>
                      <a:lnTo>
                        <a:pt x="357622" y="310495"/>
                      </a:lnTo>
                      <a:lnTo>
                        <a:pt x="357476" y="310349"/>
                      </a:lnTo>
                      <a:lnTo>
                        <a:pt x="357852" y="309681"/>
                      </a:lnTo>
                      <a:lnTo>
                        <a:pt x="358035" y="309366"/>
                      </a:lnTo>
                      <a:lnTo>
                        <a:pt x="358180" y="309038"/>
                      </a:lnTo>
                      <a:lnTo>
                        <a:pt x="359152" y="306719"/>
                      </a:lnTo>
                      <a:lnTo>
                        <a:pt x="359455" y="305966"/>
                      </a:lnTo>
                      <a:lnTo>
                        <a:pt x="359565" y="305176"/>
                      </a:lnTo>
                      <a:lnTo>
                        <a:pt x="360026" y="301728"/>
                      </a:lnTo>
                      <a:lnTo>
                        <a:pt x="360147" y="300853"/>
                      </a:lnTo>
                      <a:lnTo>
                        <a:pt x="360002" y="299967"/>
                      </a:lnTo>
                      <a:lnTo>
                        <a:pt x="359783" y="298595"/>
                      </a:lnTo>
                      <a:lnTo>
                        <a:pt x="359273" y="295365"/>
                      </a:lnTo>
                      <a:lnTo>
                        <a:pt x="356298" y="294029"/>
                      </a:lnTo>
                      <a:lnTo>
                        <a:pt x="355484" y="293665"/>
                      </a:lnTo>
                      <a:lnTo>
                        <a:pt x="352849" y="292463"/>
                      </a:lnTo>
                      <a:lnTo>
                        <a:pt x="350263" y="293750"/>
                      </a:lnTo>
                      <a:lnTo>
                        <a:pt x="348891" y="294442"/>
                      </a:lnTo>
                      <a:lnTo>
                        <a:pt x="348429" y="294685"/>
                      </a:lnTo>
                      <a:lnTo>
                        <a:pt x="348004" y="295001"/>
                      </a:lnTo>
                      <a:lnTo>
                        <a:pt x="342989" y="298704"/>
                      </a:lnTo>
                      <a:lnTo>
                        <a:pt x="342832" y="298789"/>
                      </a:lnTo>
                      <a:lnTo>
                        <a:pt x="341387" y="299117"/>
                      </a:lnTo>
                      <a:lnTo>
                        <a:pt x="329232" y="299761"/>
                      </a:lnTo>
                      <a:lnTo>
                        <a:pt x="328782" y="299785"/>
                      </a:lnTo>
                      <a:lnTo>
                        <a:pt x="328345" y="299870"/>
                      </a:lnTo>
                      <a:lnTo>
                        <a:pt x="324569" y="300635"/>
                      </a:lnTo>
                      <a:lnTo>
                        <a:pt x="324180" y="300635"/>
                      </a:lnTo>
                      <a:lnTo>
                        <a:pt x="323609" y="300489"/>
                      </a:lnTo>
                      <a:lnTo>
                        <a:pt x="319469" y="298680"/>
                      </a:lnTo>
                      <a:lnTo>
                        <a:pt x="319056" y="298498"/>
                      </a:lnTo>
                      <a:lnTo>
                        <a:pt x="318631" y="298376"/>
                      </a:lnTo>
                      <a:lnTo>
                        <a:pt x="317538" y="298085"/>
                      </a:lnTo>
                      <a:lnTo>
                        <a:pt x="316833" y="297890"/>
                      </a:lnTo>
                      <a:lnTo>
                        <a:pt x="316093" y="297866"/>
                      </a:lnTo>
                      <a:lnTo>
                        <a:pt x="315109" y="297842"/>
                      </a:lnTo>
                      <a:lnTo>
                        <a:pt x="314988" y="297842"/>
                      </a:lnTo>
                      <a:lnTo>
                        <a:pt x="325625" y="290216"/>
                      </a:lnTo>
                      <a:lnTo>
                        <a:pt x="327143" y="289123"/>
                      </a:lnTo>
                      <a:lnTo>
                        <a:pt x="327787" y="287375"/>
                      </a:lnTo>
                      <a:lnTo>
                        <a:pt x="329511" y="282675"/>
                      </a:lnTo>
                      <a:lnTo>
                        <a:pt x="331308" y="277770"/>
                      </a:lnTo>
                      <a:lnTo>
                        <a:pt x="326730" y="275256"/>
                      </a:lnTo>
                      <a:lnTo>
                        <a:pt x="323184" y="273313"/>
                      </a:lnTo>
                      <a:lnTo>
                        <a:pt x="320003" y="268395"/>
                      </a:lnTo>
                      <a:lnTo>
                        <a:pt x="319456" y="267545"/>
                      </a:lnTo>
                      <a:lnTo>
                        <a:pt x="318655" y="266914"/>
                      </a:lnTo>
                      <a:lnTo>
                        <a:pt x="316761" y="265432"/>
                      </a:lnTo>
                      <a:lnTo>
                        <a:pt x="316190" y="264983"/>
                      </a:lnTo>
                      <a:lnTo>
                        <a:pt x="315522" y="264692"/>
                      </a:lnTo>
                      <a:lnTo>
                        <a:pt x="313166" y="263623"/>
                      </a:lnTo>
                      <a:lnTo>
                        <a:pt x="312753" y="263429"/>
                      </a:lnTo>
                      <a:lnTo>
                        <a:pt x="312316" y="263295"/>
                      </a:lnTo>
                      <a:lnTo>
                        <a:pt x="310191" y="262688"/>
                      </a:lnTo>
                      <a:lnTo>
                        <a:pt x="309013" y="262227"/>
                      </a:lnTo>
                      <a:lnTo>
                        <a:pt x="308273" y="261692"/>
                      </a:lnTo>
                      <a:lnTo>
                        <a:pt x="304715" y="258353"/>
                      </a:lnTo>
                      <a:lnTo>
                        <a:pt x="304120" y="257782"/>
                      </a:lnTo>
                      <a:lnTo>
                        <a:pt x="303391" y="257394"/>
                      </a:lnTo>
                      <a:lnTo>
                        <a:pt x="301558" y="256422"/>
                      </a:lnTo>
                      <a:lnTo>
                        <a:pt x="301060" y="256167"/>
                      </a:lnTo>
                      <a:lnTo>
                        <a:pt x="300538" y="255997"/>
                      </a:lnTo>
                      <a:lnTo>
                        <a:pt x="280211" y="249622"/>
                      </a:lnTo>
                      <a:lnTo>
                        <a:pt x="279846" y="249501"/>
                      </a:lnTo>
                      <a:lnTo>
                        <a:pt x="279470" y="249428"/>
                      </a:lnTo>
                      <a:lnTo>
                        <a:pt x="273204" y="248299"/>
                      </a:lnTo>
                      <a:lnTo>
                        <a:pt x="273070" y="247680"/>
                      </a:lnTo>
                      <a:lnTo>
                        <a:pt x="272694" y="246247"/>
                      </a:lnTo>
                      <a:lnTo>
                        <a:pt x="272573" y="245809"/>
                      </a:lnTo>
                      <a:lnTo>
                        <a:pt x="272390" y="245409"/>
                      </a:lnTo>
                      <a:lnTo>
                        <a:pt x="271990" y="244498"/>
                      </a:lnTo>
                      <a:lnTo>
                        <a:pt x="271492" y="243563"/>
                      </a:lnTo>
                      <a:lnTo>
                        <a:pt x="272111" y="241778"/>
                      </a:lnTo>
                      <a:lnTo>
                        <a:pt x="272366" y="241025"/>
                      </a:lnTo>
                      <a:lnTo>
                        <a:pt x="272415" y="240248"/>
                      </a:lnTo>
                      <a:lnTo>
                        <a:pt x="272524" y="238779"/>
                      </a:lnTo>
                      <a:lnTo>
                        <a:pt x="272609" y="237698"/>
                      </a:lnTo>
                      <a:lnTo>
                        <a:pt x="272585" y="237637"/>
                      </a:lnTo>
                      <a:lnTo>
                        <a:pt x="276094" y="238888"/>
                      </a:lnTo>
                      <a:lnTo>
                        <a:pt x="276968" y="239204"/>
                      </a:lnTo>
                      <a:lnTo>
                        <a:pt x="277903" y="239240"/>
                      </a:lnTo>
                      <a:lnTo>
                        <a:pt x="280951" y="239362"/>
                      </a:lnTo>
                      <a:lnTo>
                        <a:pt x="281680" y="239386"/>
                      </a:lnTo>
                      <a:lnTo>
                        <a:pt x="282396" y="239240"/>
                      </a:lnTo>
                      <a:lnTo>
                        <a:pt x="286816" y="238354"/>
                      </a:lnTo>
                      <a:lnTo>
                        <a:pt x="288115" y="238099"/>
                      </a:lnTo>
                      <a:lnTo>
                        <a:pt x="289184" y="237334"/>
                      </a:lnTo>
                      <a:lnTo>
                        <a:pt x="291491" y="235658"/>
                      </a:lnTo>
                      <a:lnTo>
                        <a:pt x="292232" y="235112"/>
                      </a:lnTo>
                      <a:lnTo>
                        <a:pt x="292778" y="234383"/>
                      </a:lnTo>
                      <a:lnTo>
                        <a:pt x="294442" y="232173"/>
                      </a:lnTo>
                      <a:lnTo>
                        <a:pt x="294721" y="231809"/>
                      </a:lnTo>
                      <a:lnTo>
                        <a:pt x="294940" y="231396"/>
                      </a:lnTo>
                      <a:lnTo>
                        <a:pt x="295656" y="230060"/>
                      </a:lnTo>
                      <a:lnTo>
                        <a:pt x="296263" y="229344"/>
                      </a:lnTo>
                      <a:lnTo>
                        <a:pt x="296871" y="228931"/>
                      </a:lnTo>
                      <a:lnTo>
                        <a:pt x="298777" y="228530"/>
                      </a:lnTo>
                      <a:lnTo>
                        <a:pt x="299190" y="228433"/>
                      </a:lnTo>
                      <a:lnTo>
                        <a:pt x="299591" y="228287"/>
                      </a:lnTo>
                      <a:lnTo>
                        <a:pt x="301084" y="227741"/>
                      </a:lnTo>
                      <a:lnTo>
                        <a:pt x="301643" y="227534"/>
                      </a:lnTo>
                      <a:lnTo>
                        <a:pt x="302153" y="227231"/>
                      </a:lnTo>
                      <a:lnTo>
                        <a:pt x="303015" y="226708"/>
                      </a:lnTo>
                      <a:lnTo>
                        <a:pt x="303913" y="226162"/>
                      </a:lnTo>
                      <a:lnTo>
                        <a:pt x="304581" y="225348"/>
                      </a:lnTo>
                      <a:lnTo>
                        <a:pt x="305091" y="224717"/>
                      </a:lnTo>
                      <a:lnTo>
                        <a:pt x="305893" y="223721"/>
                      </a:lnTo>
                      <a:lnTo>
                        <a:pt x="306233" y="222483"/>
                      </a:lnTo>
                      <a:lnTo>
                        <a:pt x="306476" y="221596"/>
                      </a:lnTo>
                      <a:lnTo>
                        <a:pt x="306597" y="221147"/>
                      </a:lnTo>
                      <a:lnTo>
                        <a:pt x="306646" y="220686"/>
                      </a:lnTo>
                      <a:lnTo>
                        <a:pt x="306852" y="218900"/>
                      </a:lnTo>
                      <a:lnTo>
                        <a:pt x="306099" y="216763"/>
                      </a:lnTo>
                      <a:lnTo>
                        <a:pt x="305407" y="215392"/>
                      </a:lnTo>
                      <a:lnTo>
                        <a:pt x="305152" y="214881"/>
                      </a:lnTo>
                      <a:lnTo>
                        <a:pt x="304800" y="214420"/>
                      </a:lnTo>
                      <a:lnTo>
                        <a:pt x="302869" y="211906"/>
                      </a:lnTo>
                      <a:lnTo>
                        <a:pt x="302566" y="210158"/>
                      </a:lnTo>
                      <a:lnTo>
                        <a:pt x="302408" y="206649"/>
                      </a:lnTo>
                      <a:lnTo>
                        <a:pt x="302384" y="206041"/>
                      </a:lnTo>
                      <a:lnTo>
                        <a:pt x="302238" y="205471"/>
                      </a:lnTo>
                      <a:lnTo>
                        <a:pt x="301776" y="203576"/>
                      </a:lnTo>
                      <a:lnTo>
                        <a:pt x="301570" y="202726"/>
                      </a:lnTo>
                      <a:lnTo>
                        <a:pt x="301121" y="201961"/>
                      </a:lnTo>
                      <a:lnTo>
                        <a:pt x="300198" y="200383"/>
                      </a:lnTo>
                      <a:lnTo>
                        <a:pt x="299591" y="199338"/>
                      </a:lnTo>
                      <a:lnTo>
                        <a:pt x="298619" y="198598"/>
                      </a:lnTo>
                      <a:lnTo>
                        <a:pt x="297296" y="197590"/>
                      </a:lnTo>
                      <a:lnTo>
                        <a:pt x="295960" y="196570"/>
                      </a:lnTo>
                      <a:lnTo>
                        <a:pt x="294284" y="196388"/>
                      </a:lnTo>
                      <a:lnTo>
                        <a:pt x="292220" y="196157"/>
                      </a:lnTo>
                      <a:lnTo>
                        <a:pt x="291212" y="196048"/>
                      </a:lnTo>
                      <a:lnTo>
                        <a:pt x="290228" y="196266"/>
                      </a:lnTo>
                      <a:lnTo>
                        <a:pt x="288844" y="196570"/>
                      </a:lnTo>
                      <a:lnTo>
                        <a:pt x="288334" y="196691"/>
                      </a:lnTo>
                      <a:lnTo>
                        <a:pt x="287848" y="196898"/>
                      </a:lnTo>
                      <a:lnTo>
                        <a:pt x="286112" y="197614"/>
                      </a:lnTo>
                      <a:lnTo>
                        <a:pt x="285529" y="197541"/>
                      </a:lnTo>
                      <a:lnTo>
                        <a:pt x="283052" y="197043"/>
                      </a:lnTo>
                      <a:lnTo>
                        <a:pt x="282845" y="196958"/>
                      </a:lnTo>
                      <a:lnTo>
                        <a:pt x="282348" y="196618"/>
                      </a:lnTo>
                      <a:lnTo>
                        <a:pt x="280660" y="194882"/>
                      </a:lnTo>
                      <a:lnTo>
                        <a:pt x="276750" y="189357"/>
                      </a:lnTo>
                      <a:lnTo>
                        <a:pt x="276385" y="188835"/>
                      </a:lnTo>
                      <a:lnTo>
                        <a:pt x="275912" y="188410"/>
                      </a:lnTo>
                      <a:lnTo>
                        <a:pt x="274576" y="187171"/>
                      </a:lnTo>
                      <a:lnTo>
                        <a:pt x="273969" y="186612"/>
                      </a:lnTo>
                      <a:lnTo>
                        <a:pt x="273228" y="186236"/>
                      </a:lnTo>
                      <a:lnTo>
                        <a:pt x="271735" y="185471"/>
                      </a:lnTo>
                      <a:lnTo>
                        <a:pt x="270520" y="184840"/>
                      </a:lnTo>
                      <a:lnTo>
                        <a:pt x="269148" y="184791"/>
                      </a:lnTo>
                      <a:lnTo>
                        <a:pt x="267266" y="184730"/>
                      </a:lnTo>
                      <a:lnTo>
                        <a:pt x="266550" y="184706"/>
                      </a:lnTo>
                      <a:lnTo>
                        <a:pt x="265845" y="184852"/>
                      </a:lnTo>
                      <a:lnTo>
                        <a:pt x="264631" y="185107"/>
                      </a:lnTo>
                      <a:lnTo>
                        <a:pt x="264558" y="185131"/>
                      </a:lnTo>
                      <a:lnTo>
                        <a:pt x="262943" y="182083"/>
                      </a:lnTo>
                      <a:lnTo>
                        <a:pt x="262785" y="181804"/>
                      </a:lnTo>
                      <a:lnTo>
                        <a:pt x="262603" y="181549"/>
                      </a:lnTo>
                      <a:lnTo>
                        <a:pt x="261632" y="180128"/>
                      </a:lnTo>
                      <a:lnTo>
                        <a:pt x="261340" y="179703"/>
                      </a:lnTo>
                      <a:lnTo>
                        <a:pt x="260976" y="179327"/>
                      </a:lnTo>
                      <a:lnTo>
                        <a:pt x="259422" y="177724"/>
                      </a:lnTo>
                      <a:lnTo>
                        <a:pt x="258827" y="177117"/>
                      </a:lnTo>
                      <a:lnTo>
                        <a:pt x="258086" y="176692"/>
                      </a:lnTo>
                      <a:lnTo>
                        <a:pt x="256240" y="175623"/>
                      </a:lnTo>
                      <a:lnTo>
                        <a:pt x="255718" y="175332"/>
                      </a:lnTo>
                      <a:lnTo>
                        <a:pt x="255147" y="175138"/>
                      </a:lnTo>
                      <a:lnTo>
                        <a:pt x="252925" y="174385"/>
                      </a:lnTo>
                      <a:lnTo>
                        <a:pt x="252100" y="174105"/>
                      </a:lnTo>
                      <a:lnTo>
                        <a:pt x="251237" y="174069"/>
                      </a:lnTo>
                      <a:lnTo>
                        <a:pt x="248250" y="173947"/>
                      </a:lnTo>
                      <a:lnTo>
                        <a:pt x="247327" y="173911"/>
                      </a:lnTo>
                      <a:lnTo>
                        <a:pt x="246441" y="174154"/>
                      </a:lnTo>
                      <a:lnTo>
                        <a:pt x="244717" y="174616"/>
                      </a:lnTo>
                      <a:lnTo>
                        <a:pt x="244231" y="174749"/>
                      </a:lnTo>
                      <a:lnTo>
                        <a:pt x="243770" y="174968"/>
                      </a:lnTo>
                      <a:lnTo>
                        <a:pt x="243126" y="175247"/>
                      </a:lnTo>
                      <a:lnTo>
                        <a:pt x="243757" y="169382"/>
                      </a:lnTo>
                      <a:lnTo>
                        <a:pt x="243794" y="168981"/>
                      </a:lnTo>
                      <a:lnTo>
                        <a:pt x="243794" y="168580"/>
                      </a:lnTo>
                      <a:lnTo>
                        <a:pt x="243684" y="164124"/>
                      </a:lnTo>
                      <a:lnTo>
                        <a:pt x="243660" y="163092"/>
                      </a:lnTo>
                      <a:lnTo>
                        <a:pt x="243296" y="162120"/>
                      </a:lnTo>
                      <a:lnTo>
                        <a:pt x="242652" y="160433"/>
                      </a:lnTo>
                      <a:lnTo>
                        <a:pt x="241851" y="158332"/>
                      </a:lnTo>
                      <a:lnTo>
                        <a:pt x="239872" y="157251"/>
                      </a:lnTo>
                      <a:lnTo>
                        <a:pt x="238390" y="156450"/>
                      </a:lnTo>
                      <a:lnTo>
                        <a:pt x="237139" y="155770"/>
                      </a:lnTo>
                      <a:lnTo>
                        <a:pt x="235719" y="155709"/>
                      </a:lnTo>
                      <a:lnTo>
                        <a:pt x="232610" y="155587"/>
                      </a:lnTo>
                      <a:lnTo>
                        <a:pt x="231469" y="155551"/>
                      </a:lnTo>
                      <a:lnTo>
                        <a:pt x="230388" y="155928"/>
                      </a:lnTo>
                      <a:lnTo>
                        <a:pt x="223794" y="158222"/>
                      </a:lnTo>
                      <a:lnTo>
                        <a:pt x="223284" y="158393"/>
                      </a:lnTo>
                      <a:lnTo>
                        <a:pt x="222811" y="158648"/>
                      </a:lnTo>
                      <a:lnTo>
                        <a:pt x="216849" y="161987"/>
                      </a:lnTo>
                      <a:lnTo>
                        <a:pt x="214979" y="162181"/>
                      </a:lnTo>
                      <a:lnTo>
                        <a:pt x="205568" y="159813"/>
                      </a:lnTo>
                      <a:lnTo>
                        <a:pt x="204900" y="159631"/>
                      </a:lnTo>
                      <a:lnTo>
                        <a:pt x="204208" y="159619"/>
                      </a:lnTo>
                      <a:lnTo>
                        <a:pt x="200541" y="159546"/>
                      </a:lnTo>
                      <a:lnTo>
                        <a:pt x="197687" y="159048"/>
                      </a:lnTo>
                      <a:lnTo>
                        <a:pt x="195113" y="158320"/>
                      </a:lnTo>
                      <a:lnTo>
                        <a:pt x="193036" y="157409"/>
                      </a:lnTo>
                      <a:lnTo>
                        <a:pt x="190948" y="156122"/>
                      </a:lnTo>
                      <a:lnTo>
                        <a:pt x="188301" y="153705"/>
                      </a:lnTo>
                      <a:lnTo>
                        <a:pt x="186042" y="151082"/>
                      </a:lnTo>
                      <a:lnTo>
                        <a:pt x="185362" y="150050"/>
                      </a:lnTo>
                      <a:lnTo>
                        <a:pt x="184524" y="147998"/>
                      </a:lnTo>
                      <a:lnTo>
                        <a:pt x="183868" y="142777"/>
                      </a:lnTo>
                      <a:lnTo>
                        <a:pt x="183771" y="141987"/>
                      </a:lnTo>
                      <a:lnTo>
                        <a:pt x="183480" y="141259"/>
                      </a:lnTo>
                      <a:lnTo>
                        <a:pt x="182739" y="139425"/>
                      </a:lnTo>
                      <a:lnTo>
                        <a:pt x="182047" y="137701"/>
                      </a:lnTo>
                      <a:lnTo>
                        <a:pt x="180529" y="136669"/>
                      </a:lnTo>
                      <a:lnTo>
                        <a:pt x="179606" y="136037"/>
                      </a:lnTo>
                      <a:lnTo>
                        <a:pt x="178805" y="135491"/>
                      </a:lnTo>
                      <a:lnTo>
                        <a:pt x="177870" y="135224"/>
                      </a:lnTo>
                      <a:lnTo>
                        <a:pt x="175684" y="134592"/>
                      </a:lnTo>
                      <a:lnTo>
                        <a:pt x="175138" y="134434"/>
                      </a:lnTo>
                      <a:lnTo>
                        <a:pt x="174567" y="134374"/>
                      </a:lnTo>
                      <a:lnTo>
                        <a:pt x="173025" y="134228"/>
                      </a:lnTo>
                      <a:lnTo>
                        <a:pt x="172685" y="134192"/>
                      </a:lnTo>
                      <a:lnTo>
                        <a:pt x="172333" y="134204"/>
                      </a:lnTo>
                      <a:lnTo>
                        <a:pt x="171288" y="134228"/>
                      </a:lnTo>
                      <a:lnTo>
                        <a:pt x="170778" y="134240"/>
                      </a:lnTo>
                      <a:lnTo>
                        <a:pt x="170268" y="134337"/>
                      </a:lnTo>
                      <a:lnTo>
                        <a:pt x="169139" y="134568"/>
                      </a:lnTo>
                      <a:lnTo>
                        <a:pt x="169018" y="134568"/>
                      </a:lnTo>
                      <a:lnTo>
                        <a:pt x="168763" y="134544"/>
                      </a:lnTo>
                      <a:lnTo>
                        <a:pt x="168520" y="134459"/>
                      </a:lnTo>
                      <a:lnTo>
                        <a:pt x="167925" y="134107"/>
                      </a:lnTo>
                      <a:lnTo>
                        <a:pt x="163990" y="131168"/>
                      </a:lnTo>
                      <a:lnTo>
                        <a:pt x="163480" y="130792"/>
                      </a:lnTo>
                      <a:lnTo>
                        <a:pt x="162898" y="130524"/>
                      </a:lnTo>
                      <a:lnTo>
                        <a:pt x="161282" y="129771"/>
                      </a:lnTo>
                      <a:lnTo>
                        <a:pt x="160275" y="129310"/>
                      </a:lnTo>
                      <a:lnTo>
                        <a:pt x="159170" y="129225"/>
                      </a:lnTo>
                      <a:lnTo>
                        <a:pt x="157506" y="129104"/>
                      </a:lnTo>
                      <a:lnTo>
                        <a:pt x="156474" y="129031"/>
                      </a:lnTo>
                      <a:lnTo>
                        <a:pt x="155758" y="129225"/>
                      </a:lnTo>
                      <a:lnTo>
                        <a:pt x="155660" y="129031"/>
                      </a:lnTo>
                      <a:lnTo>
                        <a:pt x="155466" y="128739"/>
                      </a:lnTo>
                      <a:lnTo>
                        <a:pt x="154373" y="127100"/>
                      </a:lnTo>
                      <a:lnTo>
                        <a:pt x="154130" y="126748"/>
                      </a:lnTo>
                      <a:lnTo>
                        <a:pt x="153839" y="126432"/>
                      </a:lnTo>
                      <a:lnTo>
                        <a:pt x="152576" y="125024"/>
                      </a:lnTo>
                      <a:lnTo>
                        <a:pt x="152018" y="124392"/>
                      </a:lnTo>
                      <a:lnTo>
                        <a:pt x="151301" y="123943"/>
                      </a:lnTo>
                      <a:lnTo>
                        <a:pt x="148945" y="122449"/>
                      </a:lnTo>
                      <a:lnTo>
                        <a:pt x="148472" y="122158"/>
                      </a:lnTo>
                      <a:lnTo>
                        <a:pt x="147962" y="121939"/>
                      </a:lnTo>
                      <a:lnTo>
                        <a:pt x="145897" y="121114"/>
                      </a:lnTo>
                      <a:lnTo>
                        <a:pt x="145533" y="120968"/>
                      </a:lnTo>
                      <a:lnTo>
                        <a:pt x="145145" y="120859"/>
                      </a:lnTo>
                      <a:lnTo>
                        <a:pt x="140967" y="119790"/>
                      </a:lnTo>
                      <a:lnTo>
                        <a:pt x="139340" y="118357"/>
                      </a:lnTo>
                      <a:lnTo>
                        <a:pt x="121830" y="97884"/>
                      </a:lnTo>
                      <a:lnTo>
                        <a:pt x="121575" y="97605"/>
                      </a:lnTo>
                      <a:lnTo>
                        <a:pt x="121296" y="97350"/>
                      </a:lnTo>
                      <a:lnTo>
                        <a:pt x="118418" y="94739"/>
                      </a:lnTo>
                      <a:lnTo>
                        <a:pt x="117167" y="93598"/>
                      </a:lnTo>
                      <a:lnTo>
                        <a:pt x="115516" y="93282"/>
                      </a:lnTo>
                      <a:lnTo>
                        <a:pt x="114192" y="93027"/>
                      </a:lnTo>
                      <a:lnTo>
                        <a:pt x="113609" y="92906"/>
                      </a:lnTo>
                      <a:lnTo>
                        <a:pt x="113014" y="92906"/>
                      </a:lnTo>
                      <a:lnTo>
                        <a:pt x="111934" y="92906"/>
                      </a:lnTo>
                      <a:lnTo>
                        <a:pt x="111679" y="92906"/>
                      </a:lnTo>
                      <a:lnTo>
                        <a:pt x="110671" y="88133"/>
                      </a:lnTo>
                      <a:lnTo>
                        <a:pt x="110586" y="87745"/>
                      </a:lnTo>
                      <a:lnTo>
                        <a:pt x="110452" y="87369"/>
                      </a:lnTo>
                      <a:lnTo>
                        <a:pt x="109250" y="84017"/>
                      </a:lnTo>
                      <a:lnTo>
                        <a:pt x="109019" y="83361"/>
                      </a:lnTo>
                      <a:lnTo>
                        <a:pt x="108643" y="82778"/>
                      </a:lnTo>
                      <a:lnTo>
                        <a:pt x="106579" y="79561"/>
                      </a:lnTo>
                      <a:lnTo>
                        <a:pt x="106251" y="79050"/>
                      </a:lnTo>
                      <a:lnTo>
                        <a:pt x="105826" y="78613"/>
                      </a:lnTo>
                      <a:lnTo>
                        <a:pt x="104126" y="76865"/>
                      </a:lnTo>
                      <a:lnTo>
                        <a:pt x="104077" y="75590"/>
                      </a:lnTo>
                      <a:lnTo>
                        <a:pt x="105219" y="74728"/>
                      </a:lnTo>
                      <a:lnTo>
                        <a:pt x="105668" y="74388"/>
                      </a:lnTo>
                      <a:lnTo>
                        <a:pt x="106044" y="73975"/>
                      </a:lnTo>
                      <a:lnTo>
                        <a:pt x="106846" y="73088"/>
                      </a:lnTo>
                      <a:lnTo>
                        <a:pt x="107246" y="72639"/>
                      </a:lnTo>
                      <a:lnTo>
                        <a:pt x="107550" y="72117"/>
                      </a:lnTo>
                      <a:lnTo>
                        <a:pt x="108230" y="70963"/>
                      </a:lnTo>
                      <a:lnTo>
                        <a:pt x="108582" y="70356"/>
                      </a:lnTo>
                      <a:lnTo>
                        <a:pt x="108801" y="69676"/>
                      </a:lnTo>
                      <a:lnTo>
                        <a:pt x="109153" y="68559"/>
                      </a:lnTo>
                      <a:lnTo>
                        <a:pt x="109311" y="68061"/>
                      </a:lnTo>
                      <a:lnTo>
                        <a:pt x="109371" y="67527"/>
                      </a:lnTo>
                      <a:lnTo>
                        <a:pt x="109481" y="66665"/>
                      </a:lnTo>
                      <a:lnTo>
                        <a:pt x="109566" y="65985"/>
                      </a:lnTo>
                      <a:lnTo>
                        <a:pt x="109505" y="65305"/>
                      </a:lnTo>
                      <a:lnTo>
                        <a:pt x="109444" y="64673"/>
                      </a:lnTo>
                      <a:lnTo>
                        <a:pt x="109384" y="63981"/>
                      </a:lnTo>
                      <a:lnTo>
                        <a:pt x="109165" y="63325"/>
                      </a:lnTo>
                      <a:lnTo>
                        <a:pt x="108946" y="62658"/>
                      </a:lnTo>
                      <a:lnTo>
                        <a:pt x="108461" y="61188"/>
                      </a:lnTo>
                      <a:lnTo>
                        <a:pt x="107319" y="60120"/>
                      </a:lnTo>
                      <a:lnTo>
                        <a:pt x="106797" y="59634"/>
                      </a:lnTo>
                      <a:lnTo>
                        <a:pt x="105546" y="58480"/>
                      </a:lnTo>
                      <a:lnTo>
                        <a:pt x="103883" y="58140"/>
                      </a:lnTo>
                      <a:lnTo>
                        <a:pt x="102219" y="57800"/>
                      </a:lnTo>
                      <a:lnTo>
                        <a:pt x="101551" y="57654"/>
                      </a:lnTo>
                      <a:lnTo>
                        <a:pt x="100871" y="57667"/>
                      </a:lnTo>
                      <a:lnTo>
                        <a:pt x="99609" y="57691"/>
                      </a:lnTo>
                      <a:lnTo>
                        <a:pt x="98844" y="57703"/>
                      </a:lnTo>
                      <a:lnTo>
                        <a:pt x="98103" y="57909"/>
                      </a:lnTo>
                      <a:lnTo>
                        <a:pt x="95249" y="58699"/>
                      </a:lnTo>
                      <a:lnTo>
                        <a:pt x="94496" y="57460"/>
                      </a:lnTo>
                      <a:lnTo>
                        <a:pt x="93889" y="56465"/>
                      </a:lnTo>
                      <a:lnTo>
                        <a:pt x="92954" y="55772"/>
                      </a:lnTo>
                      <a:lnTo>
                        <a:pt x="91643" y="54801"/>
                      </a:lnTo>
                      <a:lnTo>
                        <a:pt x="90683" y="54084"/>
                      </a:lnTo>
                      <a:lnTo>
                        <a:pt x="90416" y="54012"/>
                      </a:lnTo>
                      <a:lnTo>
                        <a:pt x="90307" y="53854"/>
                      </a:lnTo>
                      <a:lnTo>
                        <a:pt x="89336" y="52069"/>
                      </a:lnTo>
                      <a:lnTo>
                        <a:pt x="88886" y="51231"/>
                      </a:lnTo>
                      <a:lnTo>
                        <a:pt x="88206" y="50575"/>
                      </a:lnTo>
                      <a:lnTo>
                        <a:pt x="87466" y="49859"/>
                      </a:lnTo>
                      <a:lnTo>
                        <a:pt x="88631" y="48487"/>
                      </a:lnTo>
                      <a:lnTo>
                        <a:pt x="89493" y="47454"/>
                      </a:lnTo>
                      <a:lnTo>
                        <a:pt x="89846" y="46167"/>
                      </a:lnTo>
                      <a:lnTo>
                        <a:pt x="90987" y="41966"/>
                      </a:lnTo>
                      <a:lnTo>
                        <a:pt x="92590" y="36065"/>
                      </a:lnTo>
                      <a:lnTo>
                        <a:pt x="86664" y="34510"/>
                      </a:lnTo>
                      <a:lnTo>
                        <a:pt x="78116" y="32264"/>
                      </a:lnTo>
                      <a:lnTo>
                        <a:pt x="77156" y="32009"/>
                      </a:lnTo>
                      <a:lnTo>
                        <a:pt x="76173" y="32069"/>
                      </a:lnTo>
                      <a:lnTo>
                        <a:pt x="73817" y="32227"/>
                      </a:lnTo>
                      <a:lnTo>
                        <a:pt x="71243" y="32397"/>
                      </a:lnTo>
                      <a:lnTo>
                        <a:pt x="69943" y="33952"/>
                      </a:lnTo>
                      <a:lnTo>
                        <a:pt x="68571" y="31754"/>
                      </a:lnTo>
                      <a:lnTo>
                        <a:pt x="67964" y="30794"/>
                      </a:lnTo>
                      <a:lnTo>
                        <a:pt x="67053" y="30114"/>
                      </a:lnTo>
                      <a:lnTo>
                        <a:pt x="65912" y="29265"/>
                      </a:lnTo>
                      <a:lnTo>
                        <a:pt x="64479" y="28196"/>
                      </a:lnTo>
                      <a:lnTo>
                        <a:pt x="62694" y="28062"/>
                      </a:lnTo>
                      <a:lnTo>
                        <a:pt x="60970" y="27941"/>
                      </a:lnTo>
                      <a:lnTo>
                        <a:pt x="59792" y="27856"/>
                      </a:lnTo>
                      <a:lnTo>
                        <a:pt x="59136" y="28086"/>
                      </a:lnTo>
                      <a:lnTo>
                        <a:pt x="59173" y="27977"/>
                      </a:lnTo>
                      <a:lnTo>
                        <a:pt x="59270" y="27540"/>
                      </a:lnTo>
                      <a:lnTo>
                        <a:pt x="59440" y="26763"/>
                      </a:lnTo>
                      <a:lnTo>
                        <a:pt x="59901" y="24589"/>
                      </a:lnTo>
                      <a:lnTo>
                        <a:pt x="58845" y="22634"/>
                      </a:lnTo>
                      <a:lnTo>
                        <a:pt x="58505" y="22003"/>
                      </a:lnTo>
                      <a:lnTo>
                        <a:pt x="57861" y="20813"/>
                      </a:lnTo>
                      <a:lnTo>
                        <a:pt x="56793" y="20011"/>
                      </a:lnTo>
                      <a:lnTo>
                        <a:pt x="55760" y="19246"/>
                      </a:lnTo>
                      <a:lnTo>
                        <a:pt x="55469" y="19016"/>
                      </a:lnTo>
                      <a:lnTo>
                        <a:pt x="55153" y="18834"/>
                      </a:lnTo>
                      <a:lnTo>
                        <a:pt x="50903" y="16393"/>
                      </a:lnTo>
                      <a:lnTo>
                        <a:pt x="50393" y="16101"/>
                      </a:lnTo>
                      <a:lnTo>
                        <a:pt x="49823" y="15907"/>
                      </a:lnTo>
                      <a:lnTo>
                        <a:pt x="47746" y="15203"/>
                      </a:lnTo>
                      <a:lnTo>
                        <a:pt x="46762" y="14875"/>
                      </a:lnTo>
                      <a:lnTo>
                        <a:pt x="45718" y="14887"/>
                      </a:lnTo>
                      <a:lnTo>
                        <a:pt x="43314" y="14924"/>
                      </a:lnTo>
                      <a:lnTo>
                        <a:pt x="41796" y="14948"/>
                      </a:lnTo>
                      <a:lnTo>
                        <a:pt x="40557" y="15640"/>
                      </a:lnTo>
                      <a:lnTo>
                        <a:pt x="40266" y="14511"/>
                      </a:lnTo>
                      <a:lnTo>
                        <a:pt x="37667" y="12823"/>
                      </a:lnTo>
                      <a:lnTo>
                        <a:pt x="36854" y="12422"/>
                      </a:lnTo>
                      <a:lnTo>
                        <a:pt x="36222" y="12118"/>
                      </a:lnTo>
                      <a:lnTo>
                        <a:pt x="35530" y="11948"/>
                      </a:lnTo>
                      <a:lnTo>
                        <a:pt x="34559" y="11718"/>
                      </a:lnTo>
                      <a:lnTo>
                        <a:pt x="34146" y="11621"/>
                      </a:lnTo>
                      <a:lnTo>
                        <a:pt x="33733" y="11584"/>
                      </a:lnTo>
                      <a:lnTo>
                        <a:pt x="31462" y="11378"/>
                      </a:lnTo>
                      <a:lnTo>
                        <a:pt x="31110" y="8876"/>
                      </a:lnTo>
                      <a:lnTo>
                        <a:pt x="31062" y="8537"/>
                      </a:lnTo>
                      <a:lnTo>
                        <a:pt x="30977" y="8209"/>
                      </a:lnTo>
                      <a:lnTo>
                        <a:pt x="30746" y="7322"/>
                      </a:lnTo>
                      <a:lnTo>
                        <a:pt x="30661" y="7006"/>
                      </a:lnTo>
                      <a:lnTo>
                        <a:pt x="30539" y="6691"/>
                      </a:lnTo>
                      <a:lnTo>
                        <a:pt x="30187" y="5780"/>
                      </a:lnTo>
                      <a:lnTo>
                        <a:pt x="29908" y="5027"/>
                      </a:lnTo>
                      <a:lnTo>
                        <a:pt x="29447" y="4384"/>
                      </a:lnTo>
                      <a:lnTo>
                        <a:pt x="29046" y="3825"/>
                      </a:lnTo>
                      <a:lnTo>
                        <a:pt x="28172" y="2611"/>
                      </a:lnTo>
                      <a:lnTo>
                        <a:pt x="26824" y="1931"/>
                      </a:lnTo>
                      <a:lnTo>
                        <a:pt x="25962" y="1506"/>
                      </a:lnTo>
                      <a:lnTo>
                        <a:pt x="25427" y="1251"/>
                      </a:lnTo>
                      <a:lnTo>
                        <a:pt x="24832" y="1081"/>
                      </a:lnTo>
                      <a:lnTo>
                        <a:pt x="23460" y="716"/>
                      </a:lnTo>
                      <a:lnTo>
                        <a:pt x="23108" y="619"/>
                      </a:lnTo>
                      <a:lnTo>
                        <a:pt x="22732" y="571"/>
                      </a:lnTo>
                      <a:lnTo>
                        <a:pt x="20254" y="230"/>
                      </a:lnTo>
                      <a:lnTo>
                        <a:pt x="19927" y="0"/>
                      </a:lnTo>
                      <a:lnTo>
                        <a:pt x="19927" y="0"/>
                      </a:lnTo>
                      <a:close/>
                      <a:moveTo>
                        <a:pt x="82341" y="148459"/>
                      </a:moveTo>
                      <a:lnTo>
                        <a:pt x="82317" y="147124"/>
                      </a:lnTo>
                      <a:lnTo>
                        <a:pt x="82438" y="140773"/>
                      </a:lnTo>
                      <a:lnTo>
                        <a:pt x="84879" y="141259"/>
                      </a:lnTo>
                      <a:lnTo>
                        <a:pt x="84855" y="141332"/>
                      </a:lnTo>
                      <a:lnTo>
                        <a:pt x="85462" y="143202"/>
                      </a:lnTo>
                      <a:lnTo>
                        <a:pt x="85802" y="144258"/>
                      </a:lnTo>
                      <a:lnTo>
                        <a:pt x="85644" y="145715"/>
                      </a:lnTo>
                      <a:lnTo>
                        <a:pt x="85571" y="146371"/>
                      </a:lnTo>
                      <a:lnTo>
                        <a:pt x="83082" y="146189"/>
                      </a:lnTo>
                      <a:lnTo>
                        <a:pt x="82341" y="148459"/>
                      </a:lnTo>
                      <a:lnTo>
                        <a:pt x="82341" y="148459"/>
                      </a:lnTo>
                      <a:close/>
                    </a:path>
                  </a:pathLst>
                </a:custGeom>
                <a:solidFill>
                  <a:srgbClr val="FFFFFF"/>
                </a:solidFill>
                <a:ln w="12138" cap="flat">
                  <a:noFill/>
                  <a:prstDash val="solid"/>
                  <a:miter/>
                </a:ln>
              </p:spPr>
              <p:txBody>
                <a:bodyPr rtlCol="0" anchor="ctr"/>
                <a:lstStyle/>
                <a:p>
                  <a:endParaRPr lang="en-US"/>
                </a:p>
              </p:txBody>
            </p:sp>
          </p:grpSp>
          <p:grpSp>
            <p:nvGrpSpPr>
              <p:cNvPr id="257" name="Graphic 280">
                <a:extLst>
                  <a:ext uri="{FF2B5EF4-FFF2-40B4-BE49-F238E27FC236}">
                    <a16:creationId xmlns:a16="http://schemas.microsoft.com/office/drawing/2014/main" id="{B704B933-92C7-4BA8-9423-BDB1F5B013E3}"/>
                  </a:ext>
                </a:extLst>
              </p:cNvPr>
              <p:cNvGrpSpPr/>
              <p:nvPr/>
            </p:nvGrpSpPr>
            <p:grpSpPr>
              <a:xfrm>
                <a:off x="4961011" y="4296724"/>
                <a:ext cx="1524655" cy="1268099"/>
                <a:chOff x="4961011" y="4296724"/>
                <a:chExt cx="1524655" cy="1268099"/>
              </a:xfrm>
            </p:grpSpPr>
            <p:sp>
              <p:nvSpPr>
                <p:cNvPr id="324" name="Freeform: Shape 323">
                  <a:extLst>
                    <a:ext uri="{FF2B5EF4-FFF2-40B4-BE49-F238E27FC236}">
                      <a16:creationId xmlns:a16="http://schemas.microsoft.com/office/drawing/2014/main" id="{69CF77B4-AB24-4B05-886D-405BDD30A29A}"/>
                    </a:ext>
                  </a:extLst>
                </p:cNvPr>
                <p:cNvSpPr/>
                <p:nvPr/>
              </p:nvSpPr>
              <p:spPr>
                <a:xfrm>
                  <a:off x="4964083" y="4299991"/>
                  <a:ext cx="1517794" cy="1262136"/>
                </a:xfrm>
                <a:custGeom>
                  <a:avLst/>
                  <a:gdLst>
                    <a:gd name="connsiteX0" fmla="*/ 315838 w 1517794"/>
                    <a:gd name="connsiteY0" fmla="*/ 1261870 h 1262136"/>
                    <a:gd name="connsiteX1" fmla="*/ 313713 w 1517794"/>
                    <a:gd name="connsiteY1" fmla="*/ 1261554 h 1262136"/>
                    <a:gd name="connsiteX2" fmla="*/ 308455 w 1517794"/>
                    <a:gd name="connsiteY2" fmla="*/ 1260036 h 1262136"/>
                    <a:gd name="connsiteX3" fmla="*/ 297624 w 1517794"/>
                    <a:gd name="connsiteY3" fmla="*/ 1253273 h 1262136"/>
                    <a:gd name="connsiteX4" fmla="*/ 292560 w 1517794"/>
                    <a:gd name="connsiteY4" fmla="*/ 1248658 h 1262136"/>
                    <a:gd name="connsiteX5" fmla="*/ 282336 w 1517794"/>
                    <a:gd name="connsiteY5" fmla="*/ 1234390 h 1262136"/>
                    <a:gd name="connsiteX6" fmla="*/ 285383 w 1517794"/>
                    <a:gd name="connsiteY6" fmla="*/ 1230748 h 1262136"/>
                    <a:gd name="connsiteX7" fmla="*/ 286658 w 1517794"/>
                    <a:gd name="connsiteY7" fmla="*/ 1228732 h 1262136"/>
                    <a:gd name="connsiteX8" fmla="*/ 286865 w 1517794"/>
                    <a:gd name="connsiteY8" fmla="*/ 1227603 h 1262136"/>
                    <a:gd name="connsiteX9" fmla="*/ 285408 w 1517794"/>
                    <a:gd name="connsiteY9" fmla="*/ 1222272 h 1262136"/>
                    <a:gd name="connsiteX10" fmla="*/ 285250 w 1517794"/>
                    <a:gd name="connsiteY10" fmla="*/ 1218787 h 1262136"/>
                    <a:gd name="connsiteX11" fmla="*/ 285687 w 1517794"/>
                    <a:gd name="connsiteY11" fmla="*/ 1216650 h 1262136"/>
                    <a:gd name="connsiteX12" fmla="*/ 286051 w 1517794"/>
                    <a:gd name="connsiteY12" fmla="*/ 1215727 h 1262136"/>
                    <a:gd name="connsiteX13" fmla="*/ 287302 w 1517794"/>
                    <a:gd name="connsiteY13" fmla="*/ 1214087 h 1262136"/>
                    <a:gd name="connsiteX14" fmla="*/ 288492 w 1517794"/>
                    <a:gd name="connsiteY14" fmla="*/ 1213420 h 1262136"/>
                    <a:gd name="connsiteX15" fmla="*/ 288953 w 1517794"/>
                    <a:gd name="connsiteY15" fmla="*/ 1213250 h 1262136"/>
                    <a:gd name="connsiteX16" fmla="*/ 290411 w 1517794"/>
                    <a:gd name="connsiteY16" fmla="*/ 1212898 h 1262136"/>
                    <a:gd name="connsiteX17" fmla="*/ 291904 w 1517794"/>
                    <a:gd name="connsiteY17" fmla="*/ 1212861 h 1262136"/>
                    <a:gd name="connsiteX18" fmla="*/ 294224 w 1517794"/>
                    <a:gd name="connsiteY18" fmla="*/ 1213444 h 1262136"/>
                    <a:gd name="connsiteX19" fmla="*/ 296045 w 1517794"/>
                    <a:gd name="connsiteY19" fmla="*/ 1214415 h 1262136"/>
                    <a:gd name="connsiteX20" fmla="*/ 296567 w 1517794"/>
                    <a:gd name="connsiteY20" fmla="*/ 1214840 h 1262136"/>
                    <a:gd name="connsiteX21" fmla="*/ 297769 w 1517794"/>
                    <a:gd name="connsiteY21" fmla="*/ 1213638 h 1262136"/>
                    <a:gd name="connsiteX22" fmla="*/ 298935 w 1517794"/>
                    <a:gd name="connsiteY22" fmla="*/ 1213177 h 1262136"/>
                    <a:gd name="connsiteX23" fmla="*/ 300113 w 1517794"/>
                    <a:gd name="connsiteY23" fmla="*/ 1212922 h 1262136"/>
                    <a:gd name="connsiteX24" fmla="*/ 301716 w 1517794"/>
                    <a:gd name="connsiteY24" fmla="*/ 1212898 h 1262136"/>
                    <a:gd name="connsiteX25" fmla="*/ 303173 w 1517794"/>
                    <a:gd name="connsiteY25" fmla="*/ 1212448 h 1262136"/>
                    <a:gd name="connsiteX26" fmla="*/ 303926 w 1517794"/>
                    <a:gd name="connsiteY26" fmla="*/ 1211963 h 1262136"/>
                    <a:gd name="connsiteX27" fmla="*/ 303962 w 1517794"/>
                    <a:gd name="connsiteY27" fmla="*/ 1211768 h 1262136"/>
                    <a:gd name="connsiteX28" fmla="*/ 303853 w 1517794"/>
                    <a:gd name="connsiteY28" fmla="*/ 1207773 h 1262136"/>
                    <a:gd name="connsiteX29" fmla="*/ 304290 w 1517794"/>
                    <a:gd name="connsiteY29" fmla="*/ 1205599 h 1262136"/>
                    <a:gd name="connsiteX30" fmla="*/ 305601 w 1517794"/>
                    <a:gd name="connsiteY30" fmla="*/ 1203462 h 1262136"/>
                    <a:gd name="connsiteX31" fmla="*/ 306075 w 1517794"/>
                    <a:gd name="connsiteY31" fmla="*/ 1202831 h 1262136"/>
                    <a:gd name="connsiteX32" fmla="*/ 308066 w 1517794"/>
                    <a:gd name="connsiteY32" fmla="*/ 1201944 h 1262136"/>
                    <a:gd name="connsiteX33" fmla="*/ 310349 w 1517794"/>
                    <a:gd name="connsiteY33" fmla="*/ 1201471 h 1262136"/>
                    <a:gd name="connsiteX34" fmla="*/ 311721 w 1517794"/>
                    <a:gd name="connsiteY34" fmla="*/ 1201544 h 1262136"/>
                    <a:gd name="connsiteX35" fmla="*/ 313980 w 1517794"/>
                    <a:gd name="connsiteY35" fmla="*/ 1202297 h 1262136"/>
                    <a:gd name="connsiteX36" fmla="*/ 315352 w 1517794"/>
                    <a:gd name="connsiteY36" fmla="*/ 1202977 h 1262136"/>
                    <a:gd name="connsiteX37" fmla="*/ 327434 w 1517794"/>
                    <a:gd name="connsiteY37" fmla="*/ 1211562 h 1262136"/>
                    <a:gd name="connsiteX38" fmla="*/ 327677 w 1517794"/>
                    <a:gd name="connsiteY38" fmla="*/ 1211622 h 1262136"/>
                    <a:gd name="connsiteX39" fmla="*/ 327204 w 1517794"/>
                    <a:gd name="connsiteY39" fmla="*/ 1210845 h 1262136"/>
                    <a:gd name="connsiteX40" fmla="*/ 324812 w 1517794"/>
                    <a:gd name="connsiteY40" fmla="*/ 1207627 h 1262136"/>
                    <a:gd name="connsiteX41" fmla="*/ 323112 w 1517794"/>
                    <a:gd name="connsiteY41" fmla="*/ 1206620 h 1262136"/>
                    <a:gd name="connsiteX42" fmla="*/ 321472 w 1517794"/>
                    <a:gd name="connsiteY42" fmla="*/ 1205867 h 1262136"/>
                    <a:gd name="connsiteX43" fmla="*/ 319505 w 1517794"/>
                    <a:gd name="connsiteY43" fmla="*/ 1205393 h 1262136"/>
                    <a:gd name="connsiteX44" fmla="*/ 318194 w 1517794"/>
                    <a:gd name="connsiteY44" fmla="*/ 1203997 h 1262136"/>
                    <a:gd name="connsiteX45" fmla="*/ 317477 w 1517794"/>
                    <a:gd name="connsiteY45" fmla="*/ 1202248 h 1262136"/>
                    <a:gd name="connsiteX46" fmla="*/ 317429 w 1517794"/>
                    <a:gd name="connsiteY46" fmla="*/ 1201629 h 1262136"/>
                    <a:gd name="connsiteX47" fmla="*/ 317526 w 1517794"/>
                    <a:gd name="connsiteY47" fmla="*/ 1199856 h 1262136"/>
                    <a:gd name="connsiteX48" fmla="*/ 318254 w 1517794"/>
                    <a:gd name="connsiteY48" fmla="*/ 1197670 h 1262136"/>
                    <a:gd name="connsiteX49" fmla="*/ 323609 w 1517794"/>
                    <a:gd name="connsiteY49" fmla="*/ 1190676 h 1262136"/>
                    <a:gd name="connsiteX50" fmla="*/ 325407 w 1517794"/>
                    <a:gd name="connsiteY50" fmla="*/ 1187774 h 1262136"/>
                    <a:gd name="connsiteX51" fmla="*/ 325929 w 1517794"/>
                    <a:gd name="connsiteY51" fmla="*/ 1186280 h 1262136"/>
                    <a:gd name="connsiteX52" fmla="*/ 326997 w 1517794"/>
                    <a:gd name="connsiteY52" fmla="*/ 1182115 h 1262136"/>
                    <a:gd name="connsiteX53" fmla="*/ 327738 w 1517794"/>
                    <a:gd name="connsiteY53" fmla="*/ 1179869 h 1262136"/>
                    <a:gd name="connsiteX54" fmla="*/ 328977 w 1517794"/>
                    <a:gd name="connsiteY54" fmla="*/ 1177853 h 1262136"/>
                    <a:gd name="connsiteX55" fmla="*/ 330980 w 1517794"/>
                    <a:gd name="connsiteY55" fmla="*/ 1176226 h 1262136"/>
                    <a:gd name="connsiteX56" fmla="*/ 334793 w 1517794"/>
                    <a:gd name="connsiteY56" fmla="*/ 1174246 h 1262136"/>
                    <a:gd name="connsiteX57" fmla="*/ 335497 w 1517794"/>
                    <a:gd name="connsiteY57" fmla="*/ 1173603 h 1262136"/>
                    <a:gd name="connsiteX58" fmla="*/ 336748 w 1517794"/>
                    <a:gd name="connsiteY58" fmla="*/ 1172048 h 1262136"/>
                    <a:gd name="connsiteX59" fmla="*/ 337173 w 1517794"/>
                    <a:gd name="connsiteY59" fmla="*/ 1170604 h 1262136"/>
                    <a:gd name="connsiteX60" fmla="*/ 337440 w 1517794"/>
                    <a:gd name="connsiteY60" fmla="*/ 1168478 h 1262136"/>
                    <a:gd name="connsiteX61" fmla="*/ 337635 w 1517794"/>
                    <a:gd name="connsiteY61" fmla="*/ 1164204 h 1262136"/>
                    <a:gd name="connsiteX62" fmla="*/ 338460 w 1517794"/>
                    <a:gd name="connsiteY62" fmla="*/ 1161339 h 1262136"/>
                    <a:gd name="connsiteX63" fmla="*/ 340112 w 1517794"/>
                    <a:gd name="connsiteY63" fmla="*/ 1158837 h 1262136"/>
                    <a:gd name="connsiteX64" fmla="*/ 343342 w 1517794"/>
                    <a:gd name="connsiteY64" fmla="*/ 1155352 h 1262136"/>
                    <a:gd name="connsiteX65" fmla="*/ 344228 w 1517794"/>
                    <a:gd name="connsiteY65" fmla="*/ 1153822 h 1262136"/>
                    <a:gd name="connsiteX66" fmla="*/ 344726 w 1517794"/>
                    <a:gd name="connsiteY66" fmla="*/ 1152377 h 1262136"/>
                    <a:gd name="connsiteX67" fmla="*/ 345624 w 1517794"/>
                    <a:gd name="connsiteY67" fmla="*/ 1148503 h 1262136"/>
                    <a:gd name="connsiteX68" fmla="*/ 346001 w 1517794"/>
                    <a:gd name="connsiteY68" fmla="*/ 1147374 h 1262136"/>
                    <a:gd name="connsiteX69" fmla="*/ 349122 w 1517794"/>
                    <a:gd name="connsiteY69" fmla="*/ 1147168 h 1262136"/>
                    <a:gd name="connsiteX70" fmla="*/ 346135 w 1517794"/>
                    <a:gd name="connsiteY70" fmla="*/ 1145880 h 1262136"/>
                    <a:gd name="connsiteX71" fmla="*/ 346207 w 1517794"/>
                    <a:gd name="connsiteY71" fmla="*/ 1142881 h 1262136"/>
                    <a:gd name="connsiteX72" fmla="*/ 346754 w 1517794"/>
                    <a:gd name="connsiteY72" fmla="*/ 1139372 h 1262136"/>
                    <a:gd name="connsiteX73" fmla="*/ 346827 w 1517794"/>
                    <a:gd name="connsiteY73" fmla="*/ 1137866 h 1262136"/>
                    <a:gd name="connsiteX74" fmla="*/ 346717 w 1517794"/>
                    <a:gd name="connsiteY74" fmla="*/ 1136518 h 1262136"/>
                    <a:gd name="connsiteX75" fmla="*/ 346584 w 1517794"/>
                    <a:gd name="connsiteY75" fmla="*/ 1136033 h 1262136"/>
                    <a:gd name="connsiteX76" fmla="*/ 345139 w 1517794"/>
                    <a:gd name="connsiteY76" fmla="*/ 1137259 h 1262136"/>
                    <a:gd name="connsiteX77" fmla="*/ 343864 w 1517794"/>
                    <a:gd name="connsiteY77" fmla="*/ 1137903 h 1262136"/>
                    <a:gd name="connsiteX78" fmla="*/ 341629 w 1517794"/>
                    <a:gd name="connsiteY78" fmla="*/ 1138571 h 1262136"/>
                    <a:gd name="connsiteX79" fmla="*/ 340051 w 1517794"/>
                    <a:gd name="connsiteY79" fmla="*/ 1138607 h 1262136"/>
                    <a:gd name="connsiteX80" fmla="*/ 337440 w 1517794"/>
                    <a:gd name="connsiteY80" fmla="*/ 1138036 h 1262136"/>
                    <a:gd name="connsiteX81" fmla="*/ 336117 w 1517794"/>
                    <a:gd name="connsiteY81" fmla="*/ 1137283 h 1262136"/>
                    <a:gd name="connsiteX82" fmla="*/ 328588 w 1517794"/>
                    <a:gd name="connsiteY82" fmla="*/ 1131382 h 1262136"/>
                    <a:gd name="connsiteX83" fmla="*/ 328139 w 1517794"/>
                    <a:gd name="connsiteY83" fmla="*/ 1131345 h 1262136"/>
                    <a:gd name="connsiteX84" fmla="*/ 327993 w 1517794"/>
                    <a:gd name="connsiteY84" fmla="*/ 1131564 h 1262136"/>
                    <a:gd name="connsiteX85" fmla="*/ 325188 w 1517794"/>
                    <a:gd name="connsiteY85" fmla="*/ 1131637 h 1262136"/>
                    <a:gd name="connsiteX86" fmla="*/ 323403 w 1517794"/>
                    <a:gd name="connsiteY86" fmla="*/ 1131054 h 1262136"/>
                    <a:gd name="connsiteX87" fmla="*/ 322140 w 1517794"/>
                    <a:gd name="connsiteY87" fmla="*/ 1130398 h 1262136"/>
                    <a:gd name="connsiteX88" fmla="*/ 320416 w 1517794"/>
                    <a:gd name="connsiteY88" fmla="*/ 1129160 h 1262136"/>
                    <a:gd name="connsiteX89" fmla="*/ 320416 w 1517794"/>
                    <a:gd name="connsiteY89" fmla="*/ 1129439 h 1262136"/>
                    <a:gd name="connsiteX90" fmla="*/ 318728 w 1517794"/>
                    <a:gd name="connsiteY90" fmla="*/ 1130690 h 1262136"/>
                    <a:gd name="connsiteX91" fmla="*/ 318060 w 1517794"/>
                    <a:gd name="connsiteY91" fmla="*/ 1131078 h 1262136"/>
                    <a:gd name="connsiteX92" fmla="*/ 314733 w 1517794"/>
                    <a:gd name="connsiteY92" fmla="*/ 1131188 h 1262136"/>
                    <a:gd name="connsiteX93" fmla="*/ 311904 w 1517794"/>
                    <a:gd name="connsiteY93" fmla="*/ 1128905 h 1262136"/>
                    <a:gd name="connsiteX94" fmla="*/ 310981 w 1517794"/>
                    <a:gd name="connsiteY94" fmla="*/ 1125116 h 1262136"/>
                    <a:gd name="connsiteX95" fmla="*/ 310325 w 1517794"/>
                    <a:gd name="connsiteY95" fmla="*/ 1123695 h 1262136"/>
                    <a:gd name="connsiteX96" fmla="*/ 309305 w 1517794"/>
                    <a:gd name="connsiteY96" fmla="*/ 1122542 h 1262136"/>
                    <a:gd name="connsiteX97" fmla="*/ 308504 w 1517794"/>
                    <a:gd name="connsiteY97" fmla="*/ 1121813 h 1262136"/>
                    <a:gd name="connsiteX98" fmla="*/ 307229 w 1517794"/>
                    <a:gd name="connsiteY98" fmla="*/ 1120417 h 1262136"/>
                    <a:gd name="connsiteX99" fmla="*/ 305808 w 1517794"/>
                    <a:gd name="connsiteY99" fmla="*/ 1117721 h 1262136"/>
                    <a:gd name="connsiteX100" fmla="*/ 305711 w 1517794"/>
                    <a:gd name="connsiteY100" fmla="*/ 1114952 h 1262136"/>
                    <a:gd name="connsiteX101" fmla="*/ 306184 w 1517794"/>
                    <a:gd name="connsiteY101" fmla="*/ 1112791 h 1262136"/>
                    <a:gd name="connsiteX102" fmla="*/ 307277 w 1517794"/>
                    <a:gd name="connsiteY102" fmla="*/ 1110763 h 1262136"/>
                    <a:gd name="connsiteX103" fmla="*/ 307993 w 1517794"/>
                    <a:gd name="connsiteY103" fmla="*/ 1109864 h 1262136"/>
                    <a:gd name="connsiteX104" fmla="*/ 307386 w 1517794"/>
                    <a:gd name="connsiteY104" fmla="*/ 1101692 h 1262136"/>
                    <a:gd name="connsiteX105" fmla="*/ 307629 w 1517794"/>
                    <a:gd name="connsiteY105" fmla="*/ 1098948 h 1262136"/>
                    <a:gd name="connsiteX106" fmla="*/ 308103 w 1517794"/>
                    <a:gd name="connsiteY106" fmla="*/ 1096726 h 1262136"/>
                    <a:gd name="connsiteX107" fmla="*/ 308868 w 1517794"/>
                    <a:gd name="connsiteY107" fmla="*/ 1094637 h 1262136"/>
                    <a:gd name="connsiteX108" fmla="*/ 309050 w 1517794"/>
                    <a:gd name="connsiteY108" fmla="*/ 1093180 h 1262136"/>
                    <a:gd name="connsiteX109" fmla="*/ 308176 w 1517794"/>
                    <a:gd name="connsiteY109" fmla="*/ 1088323 h 1262136"/>
                    <a:gd name="connsiteX110" fmla="*/ 308273 w 1517794"/>
                    <a:gd name="connsiteY110" fmla="*/ 1085372 h 1262136"/>
                    <a:gd name="connsiteX111" fmla="*/ 308722 w 1517794"/>
                    <a:gd name="connsiteY111" fmla="*/ 1082835 h 1262136"/>
                    <a:gd name="connsiteX112" fmla="*/ 310155 w 1517794"/>
                    <a:gd name="connsiteY112" fmla="*/ 1078669 h 1262136"/>
                    <a:gd name="connsiteX113" fmla="*/ 309961 w 1517794"/>
                    <a:gd name="connsiteY113" fmla="*/ 1078645 h 1262136"/>
                    <a:gd name="connsiteX114" fmla="*/ 307107 w 1517794"/>
                    <a:gd name="connsiteY114" fmla="*/ 1079459 h 1262136"/>
                    <a:gd name="connsiteX115" fmla="*/ 306002 w 1517794"/>
                    <a:gd name="connsiteY115" fmla="*/ 1079629 h 1262136"/>
                    <a:gd name="connsiteX116" fmla="*/ 303634 w 1517794"/>
                    <a:gd name="connsiteY116" fmla="*/ 1079435 h 1262136"/>
                    <a:gd name="connsiteX117" fmla="*/ 302128 w 1517794"/>
                    <a:gd name="connsiteY117" fmla="*/ 1078827 h 1262136"/>
                    <a:gd name="connsiteX118" fmla="*/ 299809 w 1517794"/>
                    <a:gd name="connsiteY118" fmla="*/ 1077395 h 1262136"/>
                    <a:gd name="connsiteX119" fmla="*/ 297162 w 1517794"/>
                    <a:gd name="connsiteY119" fmla="*/ 1078961 h 1262136"/>
                    <a:gd name="connsiteX120" fmla="*/ 295195 w 1517794"/>
                    <a:gd name="connsiteY120" fmla="*/ 1079738 h 1262136"/>
                    <a:gd name="connsiteX121" fmla="*/ 292888 w 1517794"/>
                    <a:gd name="connsiteY121" fmla="*/ 1080054 h 1262136"/>
                    <a:gd name="connsiteX122" fmla="*/ 290556 w 1517794"/>
                    <a:gd name="connsiteY122" fmla="*/ 1079957 h 1262136"/>
                    <a:gd name="connsiteX123" fmla="*/ 286100 w 1517794"/>
                    <a:gd name="connsiteY123" fmla="*/ 1079204 h 1262136"/>
                    <a:gd name="connsiteX124" fmla="*/ 282032 w 1517794"/>
                    <a:gd name="connsiteY124" fmla="*/ 1077807 h 1262136"/>
                    <a:gd name="connsiteX125" fmla="*/ 280514 w 1517794"/>
                    <a:gd name="connsiteY125" fmla="*/ 1077467 h 1262136"/>
                    <a:gd name="connsiteX126" fmla="*/ 278049 w 1517794"/>
                    <a:gd name="connsiteY126" fmla="*/ 1077139 h 1262136"/>
                    <a:gd name="connsiteX127" fmla="*/ 276980 w 1517794"/>
                    <a:gd name="connsiteY127" fmla="*/ 1076884 h 1262136"/>
                    <a:gd name="connsiteX128" fmla="*/ 274576 w 1517794"/>
                    <a:gd name="connsiteY128" fmla="*/ 1075476 h 1262136"/>
                    <a:gd name="connsiteX129" fmla="*/ 272658 w 1517794"/>
                    <a:gd name="connsiteY129" fmla="*/ 1073654 h 1262136"/>
                    <a:gd name="connsiteX130" fmla="*/ 266003 w 1517794"/>
                    <a:gd name="connsiteY130" fmla="*/ 1066004 h 1262136"/>
                    <a:gd name="connsiteX131" fmla="*/ 265202 w 1517794"/>
                    <a:gd name="connsiteY131" fmla="*/ 1065579 h 1262136"/>
                    <a:gd name="connsiteX132" fmla="*/ 264182 w 1517794"/>
                    <a:gd name="connsiteY132" fmla="*/ 1065239 h 1262136"/>
                    <a:gd name="connsiteX133" fmla="*/ 263550 w 1517794"/>
                    <a:gd name="connsiteY133" fmla="*/ 1065349 h 1262136"/>
                    <a:gd name="connsiteX134" fmla="*/ 262688 w 1517794"/>
                    <a:gd name="connsiteY134" fmla="*/ 1065628 h 1262136"/>
                    <a:gd name="connsiteX135" fmla="*/ 259507 w 1517794"/>
                    <a:gd name="connsiteY135" fmla="*/ 1067073 h 1262136"/>
                    <a:gd name="connsiteX136" fmla="*/ 256034 w 1517794"/>
                    <a:gd name="connsiteY136" fmla="*/ 1066927 h 1262136"/>
                    <a:gd name="connsiteX137" fmla="*/ 253982 w 1517794"/>
                    <a:gd name="connsiteY137" fmla="*/ 1065263 h 1262136"/>
                    <a:gd name="connsiteX138" fmla="*/ 251820 w 1517794"/>
                    <a:gd name="connsiteY138" fmla="*/ 1061936 h 1262136"/>
                    <a:gd name="connsiteX139" fmla="*/ 250958 w 1517794"/>
                    <a:gd name="connsiteY139" fmla="*/ 1059277 h 1262136"/>
                    <a:gd name="connsiteX140" fmla="*/ 250582 w 1517794"/>
                    <a:gd name="connsiteY140" fmla="*/ 1055659 h 1262136"/>
                    <a:gd name="connsiteX141" fmla="*/ 253168 w 1517794"/>
                    <a:gd name="connsiteY141" fmla="*/ 1052598 h 1262136"/>
                    <a:gd name="connsiteX142" fmla="*/ 255670 w 1517794"/>
                    <a:gd name="connsiteY142" fmla="*/ 1052356 h 1262136"/>
                    <a:gd name="connsiteX143" fmla="*/ 259580 w 1517794"/>
                    <a:gd name="connsiteY143" fmla="*/ 1053109 h 1262136"/>
                    <a:gd name="connsiteX144" fmla="*/ 259495 w 1517794"/>
                    <a:gd name="connsiteY144" fmla="*/ 1052878 h 1262136"/>
                    <a:gd name="connsiteX145" fmla="*/ 257795 w 1517794"/>
                    <a:gd name="connsiteY145" fmla="*/ 1050571 h 1262136"/>
                    <a:gd name="connsiteX146" fmla="*/ 256508 w 1517794"/>
                    <a:gd name="connsiteY146" fmla="*/ 1048263 h 1262136"/>
                    <a:gd name="connsiteX147" fmla="*/ 255390 w 1517794"/>
                    <a:gd name="connsiteY147" fmla="*/ 1044778 h 1262136"/>
                    <a:gd name="connsiteX148" fmla="*/ 256447 w 1517794"/>
                    <a:gd name="connsiteY148" fmla="*/ 1041743 h 1262136"/>
                    <a:gd name="connsiteX149" fmla="*/ 258462 w 1517794"/>
                    <a:gd name="connsiteY149" fmla="*/ 1037748 h 1262136"/>
                    <a:gd name="connsiteX150" fmla="*/ 258499 w 1517794"/>
                    <a:gd name="connsiteY150" fmla="*/ 1036351 h 1262136"/>
                    <a:gd name="connsiteX151" fmla="*/ 258305 w 1517794"/>
                    <a:gd name="connsiteY151" fmla="*/ 1034530 h 1262136"/>
                    <a:gd name="connsiteX152" fmla="*/ 257357 w 1517794"/>
                    <a:gd name="connsiteY152" fmla="*/ 1031008 h 1262136"/>
                    <a:gd name="connsiteX153" fmla="*/ 255730 w 1517794"/>
                    <a:gd name="connsiteY153" fmla="*/ 1027256 h 1262136"/>
                    <a:gd name="connsiteX154" fmla="*/ 249258 w 1517794"/>
                    <a:gd name="connsiteY154" fmla="*/ 1023370 h 1262136"/>
                    <a:gd name="connsiteX155" fmla="*/ 244692 w 1517794"/>
                    <a:gd name="connsiteY155" fmla="*/ 1026054 h 1262136"/>
                    <a:gd name="connsiteX156" fmla="*/ 243490 w 1517794"/>
                    <a:gd name="connsiteY156" fmla="*/ 1026333 h 1262136"/>
                    <a:gd name="connsiteX157" fmla="*/ 240709 w 1517794"/>
                    <a:gd name="connsiteY157" fmla="*/ 1026090 h 1262136"/>
                    <a:gd name="connsiteX158" fmla="*/ 238876 w 1517794"/>
                    <a:gd name="connsiteY158" fmla="*/ 1025459 h 1262136"/>
                    <a:gd name="connsiteX159" fmla="*/ 237577 w 1517794"/>
                    <a:gd name="connsiteY159" fmla="*/ 1025423 h 1262136"/>
                    <a:gd name="connsiteX160" fmla="*/ 237164 w 1517794"/>
                    <a:gd name="connsiteY160" fmla="*/ 1025556 h 1262136"/>
                    <a:gd name="connsiteX161" fmla="*/ 235063 w 1517794"/>
                    <a:gd name="connsiteY161" fmla="*/ 1027110 h 1262136"/>
                    <a:gd name="connsiteX162" fmla="*/ 232829 w 1517794"/>
                    <a:gd name="connsiteY162" fmla="*/ 1030377 h 1262136"/>
                    <a:gd name="connsiteX163" fmla="*/ 230934 w 1517794"/>
                    <a:gd name="connsiteY163" fmla="*/ 1032344 h 1262136"/>
                    <a:gd name="connsiteX164" fmla="*/ 227462 w 1517794"/>
                    <a:gd name="connsiteY164" fmla="*/ 1033886 h 1262136"/>
                    <a:gd name="connsiteX165" fmla="*/ 225592 w 1517794"/>
                    <a:gd name="connsiteY165" fmla="*/ 1031773 h 1262136"/>
                    <a:gd name="connsiteX166" fmla="*/ 224705 w 1517794"/>
                    <a:gd name="connsiteY166" fmla="*/ 1030438 h 1262136"/>
                    <a:gd name="connsiteX167" fmla="*/ 224244 w 1517794"/>
                    <a:gd name="connsiteY167" fmla="*/ 1029126 h 1262136"/>
                    <a:gd name="connsiteX168" fmla="*/ 223746 w 1517794"/>
                    <a:gd name="connsiteY168" fmla="*/ 1027086 h 1262136"/>
                    <a:gd name="connsiteX169" fmla="*/ 223126 w 1517794"/>
                    <a:gd name="connsiteY169" fmla="*/ 1022642 h 1262136"/>
                    <a:gd name="connsiteX170" fmla="*/ 223102 w 1517794"/>
                    <a:gd name="connsiteY170" fmla="*/ 1020626 h 1262136"/>
                    <a:gd name="connsiteX171" fmla="*/ 223649 w 1517794"/>
                    <a:gd name="connsiteY171" fmla="*/ 1018440 h 1262136"/>
                    <a:gd name="connsiteX172" fmla="*/ 225021 w 1517794"/>
                    <a:gd name="connsiteY172" fmla="*/ 1016461 h 1262136"/>
                    <a:gd name="connsiteX173" fmla="*/ 229004 w 1517794"/>
                    <a:gd name="connsiteY173" fmla="*/ 1013024 h 1262136"/>
                    <a:gd name="connsiteX174" fmla="*/ 229307 w 1517794"/>
                    <a:gd name="connsiteY174" fmla="*/ 1008811 h 1262136"/>
                    <a:gd name="connsiteX175" fmla="*/ 228688 w 1517794"/>
                    <a:gd name="connsiteY175" fmla="*/ 1009139 h 1262136"/>
                    <a:gd name="connsiteX176" fmla="*/ 228129 w 1517794"/>
                    <a:gd name="connsiteY176" fmla="*/ 1009758 h 1262136"/>
                    <a:gd name="connsiteX177" fmla="*/ 227644 w 1517794"/>
                    <a:gd name="connsiteY177" fmla="*/ 1010632 h 1262136"/>
                    <a:gd name="connsiteX178" fmla="*/ 227425 w 1517794"/>
                    <a:gd name="connsiteY178" fmla="*/ 1011422 h 1262136"/>
                    <a:gd name="connsiteX179" fmla="*/ 226187 w 1517794"/>
                    <a:gd name="connsiteY179" fmla="*/ 1013960 h 1262136"/>
                    <a:gd name="connsiteX180" fmla="*/ 224086 w 1517794"/>
                    <a:gd name="connsiteY180" fmla="*/ 1015599 h 1262136"/>
                    <a:gd name="connsiteX181" fmla="*/ 221305 w 1517794"/>
                    <a:gd name="connsiteY181" fmla="*/ 1016643 h 1262136"/>
                    <a:gd name="connsiteX182" fmla="*/ 220516 w 1517794"/>
                    <a:gd name="connsiteY182" fmla="*/ 1016874 h 1262136"/>
                    <a:gd name="connsiteX183" fmla="*/ 216909 w 1517794"/>
                    <a:gd name="connsiteY183" fmla="*/ 1016000 h 1262136"/>
                    <a:gd name="connsiteX184" fmla="*/ 214626 w 1517794"/>
                    <a:gd name="connsiteY184" fmla="*/ 1014773 h 1262136"/>
                    <a:gd name="connsiteX185" fmla="*/ 212926 w 1517794"/>
                    <a:gd name="connsiteY185" fmla="*/ 1013304 h 1262136"/>
                    <a:gd name="connsiteX186" fmla="*/ 212319 w 1517794"/>
                    <a:gd name="connsiteY186" fmla="*/ 1013219 h 1262136"/>
                    <a:gd name="connsiteX187" fmla="*/ 208737 w 1517794"/>
                    <a:gd name="connsiteY187" fmla="*/ 1013207 h 1262136"/>
                    <a:gd name="connsiteX188" fmla="*/ 204851 w 1517794"/>
                    <a:gd name="connsiteY188" fmla="*/ 1011992 h 1262136"/>
                    <a:gd name="connsiteX189" fmla="*/ 203819 w 1517794"/>
                    <a:gd name="connsiteY189" fmla="*/ 1012563 h 1262136"/>
                    <a:gd name="connsiteX190" fmla="*/ 203261 w 1517794"/>
                    <a:gd name="connsiteY190" fmla="*/ 1013790 h 1262136"/>
                    <a:gd name="connsiteX191" fmla="*/ 203321 w 1517794"/>
                    <a:gd name="connsiteY191" fmla="*/ 1014178 h 1262136"/>
                    <a:gd name="connsiteX192" fmla="*/ 203916 w 1517794"/>
                    <a:gd name="connsiteY192" fmla="*/ 1015089 h 1262136"/>
                    <a:gd name="connsiteX193" fmla="*/ 205471 w 1517794"/>
                    <a:gd name="connsiteY193" fmla="*/ 1016570 h 1262136"/>
                    <a:gd name="connsiteX194" fmla="*/ 206952 w 1517794"/>
                    <a:gd name="connsiteY194" fmla="*/ 1018975 h 1262136"/>
                    <a:gd name="connsiteX195" fmla="*/ 207159 w 1517794"/>
                    <a:gd name="connsiteY195" fmla="*/ 1021598 h 1262136"/>
                    <a:gd name="connsiteX196" fmla="*/ 206491 w 1517794"/>
                    <a:gd name="connsiteY196" fmla="*/ 1023565 h 1262136"/>
                    <a:gd name="connsiteX197" fmla="*/ 205034 w 1517794"/>
                    <a:gd name="connsiteY197" fmla="*/ 1025726 h 1262136"/>
                    <a:gd name="connsiteX198" fmla="*/ 203030 w 1517794"/>
                    <a:gd name="connsiteY198" fmla="*/ 1027475 h 1262136"/>
                    <a:gd name="connsiteX199" fmla="*/ 198877 w 1517794"/>
                    <a:gd name="connsiteY199" fmla="*/ 1030158 h 1262136"/>
                    <a:gd name="connsiteX200" fmla="*/ 197541 w 1517794"/>
                    <a:gd name="connsiteY200" fmla="*/ 1031336 h 1262136"/>
                    <a:gd name="connsiteX201" fmla="*/ 195744 w 1517794"/>
                    <a:gd name="connsiteY201" fmla="*/ 1033437 h 1262136"/>
                    <a:gd name="connsiteX202" fmla="*/ 193789 w 1517794"/>
                    <a:gd name="connsiteY202" fmla="*/ 1034724 h 1262136"/>
                    <a:gd name="connsiteX203" fmla="*/ 191664 w 1517794"/>
                    <a:gd name="connsiteY203" fmla="*/ 1035611 h 1262136"/>
                    <a:gd name="connsiteX204" fmla="*/ 188228 w 1517794"/>
                    <a:gd name="connsiteY204" fmla="*/ 1036558 h 1262136"/>
                    <a:gd name="connsiteX205" fmla="*/ 187171 w 1517794"/>
                    <a:gd name="connsiteY205" fmla="*/ 1037238 h 1262136"/>
                    <a:gd name="connsiteX206" fmla="*/ 186576 w 1517794"/>
                    <a:gd name="connsiteY206" fmla="*/ 1038136 h 1262136"/>
                    <a:gd name="connsiteX207" fmla="*/ 186418 w 1517794"/>
                    <a:gd name="connsiteY207" fmla="*/ 1039168 h 1262136"/>
                    <a:gd name="connsiteX208" fmla="*/ 185884 w 1517794"/>
                    <a:gd name="connsiteY208" fmla="*/ 1041184 h 1262136"/>
                    <a:gd name="connsiteX209" fmla="*/ 185070 w 1517794"/>
                    <a:gd name="connsiteY209" fmla="*/ 1043394 h 1262136"/>
                    <a:gd name="connsiteX210" fmla="*/ 183334 w 1517794"/>
                    <a:gd name="connsiteY210" fmla="*/ 1045592 h 1262136"/>
                    <a:gd name="connsiteX211" fmla="*/ 182593 w 1517794"/>
                    <a:gd name="connsiteY211" fmla="*/ 1046369 h 1262136"/>
                    <a:gd name="connsiteX212" fmla="*/ 180153 w 1517794"/>
                    <a:gd name="connsiteY212" fmla="*/ 1046697 h 1262136"/>
                    <a:gd name="connsiteX213" fmla="*/ 177979 w 1517794"/>
                    <a:gd name="connsiteY213" fmla="*/ 1045944 h 1262136"/>
                    <a:gd name="connsiteX214" fmla="*/ 176716 w 1517794"/>
                    <a:gd name="connsiteY214" fmla="*/ 1044839 h 1262136"/>
                    <a:gd name="connsiteX215" fmla="*/ 175162 w 1517794"/>
                    <a:gd name="connsiteY215" fmla="*/ 1042629 h 1262136"/>
                    <a:gd name="connsiteX216" fmla="*/ 174980 w 1517794"/>
                    <a:gd name="connsiteY216" fmla="*/ 1042532 h 1262136"/>
                    <a:gd name="connsiteX217" fmla="*/ 173025 w 1517794"/>
                    <a:gd name="connsiteY217" fmla="*/ 1042532 h 1262136"/>
                    <a:gd name="connsiteX218" fmla="*/ 171398 w 1517794"/>
                    <a:gd name="connsiteY218" fmla="*/ 1042933 h 1262136"/>
                    <a:gd name="connsiteX219" fmla="*/ 169941 w 1517794"/>
                    <a:gd name="connsiteY219" fmla="*/ 1043418 h 1262136"/>
                    <a:gd name="connsiteX220" fmla="*/ 169734 w 1517794"/>
                    <a:gd name="connsiteY220" fmla="*/ 1043576 h 1262136"/>
                    <a:gd name="connsiteX221" fmla="*/ 169625 w 1517794"/>
                    <a:gd name="connsiteY221" fmla="*/ 1044705 h 1262136"/>
                    <a:gd name="connsiteX222" fmla="*/ 170171 w 1517794"/>
                    <a:gd name="connsiteY222" fmla="*/ 1046102 h 1262136"/>
                    <a:gd name="connsiteX223" fmla="*/ 170754 w 1517794"/>
                    <a:gd name="connsiteY223" fmla="*/ 1047948 h 1262136"/>
                    <a:gd name="connsiteX224" fmla="*/ 168665 w 1517794"/>
                    <a:gd name="connsiteY224" fmla="*/ 1049854 h 1262136"/>
                    <a:gd name="connsiteX225" fmla="*/ 167148 w 1517794"/>
                    <a:gd name="connsiteY225" fmla="*/ 1050583 h 1262136"/>
                    <a:gd name="connsiteX226" fmla="*/ 165605 w 1517794"/>
                    <a:gd name="connsiteY226" fmla="*/ 1050838 h 1262136"/>
                    <a:gd name="connsiteX227" fmla="*/ 161003 w 1517794"/>
                    <a:gd name="connsiteY227" fmla="*/ 1050522 h 1262136"/>
                    <a:gd name="connsiteX228" fmla="*/ 159680 w 1517794"/>
                    <a:gd name="connsiteY228" fmla="*/ 1051020 h 1262136"/>
                    <a:gd name="connsiteX229" fmla="*/ 155296 w 1517794"/>
                    <a:gd name="connsiteY229" fmla="*/ 1053133 h 1262136"/>
                    <a:gd name="connsiteX230" fmla="*/ 150828 w 1517794"/>
                    <a:gd name="connsiteY230" fmla="*/ 1056946 h 1262136"/>
                    <a:gd name="connsiteX231" fmla="*/ 149310 w 1517794"/>
                    <a:gd name="connsiteY231" fmla="*/ 1057504 h 1262136"/>
                    <a:gd name="connsiteX232" fmla="*/ 147197 w 1517794"/>
                    <a:gd name="connsiteY232" fmla="*/ 1057759 h 1262136"/>
                    <a:gd name="connsiteX233" fmla="*/ 142728 w 1517794"/>
                    <a:gd name="connsiteY233" fmla="*/ 1057334 h 1262136"/>
                    <a:gd name="connsiteX234" fmla="*/ 142230 w 1517794"/>
                    <a:gd name="connsiteY234" fmla="*/ 1057881 h 1262136"/>
                    <a:gd name="connsiteX235" fmla="*/ 141465 w 1517794"/>
                    <a:gd name="connsiteY235" fmla="*/ 1058342 h 1262136"/>
                    <a:gd name="connsiteX236" fmla="*/ 140032 w 1517794"/>
                    <a:gd name="connsiteY236" fmla="*/ 1058281 h 1262136"/>
                    <a:gd name="connsiteX237" fmla="*/ 138624 w 1517794"/>
                    <a:gd name="connsiteY237" fmla="*/ 1058038 h 1262136"/>
                    <a:gd name="connsiteX238" fmla="*/ 135843 w 1517794"/>
                    <a:gd name="connsiteY238" fmla="*/ 1056885 h 1262136"/>
                    <a:gd name="connsiteX239" fmla="*/ 135212 w 1517794"/>
                    <a:gd name="connsiteY239" fmla="*/ 1052076 h 1262136"/>
                    <a:gd name="connsiteX240" fmla="*/ 135236 w 1517794"/>
                    <a:gd name="connsiteY240" fmla="*/ 1046697 h 1262136"/>
                    <a:gd name="connsiteX241" fmla="*/ 133463 w 1517794"/>
                    <a:gd name="connsiteY241" fmla="*/ 1041597 h 1262136"/>
                    <a:gd name="connsiteX242" fmla="*/ 132953 w 1517794"/>
                    <a:gd name="connsiteY242" fmla="*/ 1039035 h 1262136"/>
                    <a:gd name="connsiteX243" fmla="*/ 132407 w 1517794"/>
                    <a:gd name="connsiteY243" fmla="*/ 1037420 h 1262136"/>
                    <a:gd name="connsiteX244" fmla="*/ 131605 w 1517794"/>
                    <a:gd name="connsiteY244" fmla="*/ 1036655 h 1262136"/>
                    <a:gd name="connsiteX245" fmla="*/ 130160 w 1517794"/>
                    <a:gd name="connsiteY245" fmla="*/ 1036096 h 1262136"/>
                    <a:gd name="connsiteX246" fmla="*/ 128035 w 1517794"/>
                    <a:gd name="connsiteY246" fmla="*/ 1033825 h 1262136"/>
                    <a:gd name="connsiteX247" fmla="*/ 127027 w 1517794"/>
                    <a:gd name="connsiteY247" fmla="*/ 1031701 h 1262136"/>
                    <a:gd name="connsiteX248" fmla="*/ 126760 w 1517794"/>
                    <a:gd name="connsiteY248" fmla="*/ 1030280 h 1262136"/>
                    <a:gd name="connsiteX249" fmla="*/ 121818 w 1517794"/>
                    <a:gd name="connsiteY249" fmla="*/ 1031008 h 1262136"/>
                    <a:gd name="connsiteX250" fmla="*/ 117714 w 1517794"/>
                    <a:gd name="connsiteY250" fmla="*/ 1029903 h 1262136"/>
                    <a:gd name="connsiteX251" fmla="*/ 114593 w 1517794"/>
                    <a:gd name="connsiteY251" fmla="*/ 1029381 h 1262136"/>
                    <a:gd name="connsiteX252" fmla="*/ 112893 w 1517794"/>
                    <a:gd name="connsiteY252" fmla="*/ 1029794 h 1262136"/>
                    <a:gd name="connsiteX253" fmla="*/ 110258 w 1517794"/>
                    <a:gd name="connsiteY253" fmla="*/ 1029770 h 1262136"/>
                    <a:gd name="connsiteX254" fmla="*/ 107356 w 1517794"/>
                    <a:gd name="connsiteY254" fmla="*/ 1028823 h 1262136"/>
                    <a:gd name="connsiteX255" fmla="*/ 104235 w 1517794"/>
                    <a:gd name="connsiteY255" fmla="*/ 1026758 h 1262136"/>
                    <a:gd name="connsiteX256" fmla="*/ 102608 w 1517794"/>
                    <a:gd name="connsiteY256" fmla="*/ 1025884 h 1262136"/>
                    <a:gd name="connsiteX257" fmla="*/ 101855 w 1517794"/>
                    <a:gd name="connsiteY257" fmla="*/ 1025872 h 1262136"/>
                    <a:gd name="connsiteX258" fmla="*/ 99329 w 1517794"/>
                    <a:gd name="connsiteY258" fmla="*/ 1026406 h 1262136"/>
                    <a:gd name="connsiteX259" fmla="*/ 96354 w 1517794"/>
                    <a:gd name="connsiteY259" fmla="*/ 1025945 h 1262136"/>
                    <a:gd name="connsiteX260" fmla="*/ 95298 w 1517794"/>
                    <a:gd name="connsiteY260" fmla="*/ 1025714 h 1262136"/>
                    <a:gd name="connsiteX261" fmla="*/ 91971 w 1517794"/>
                    <a:gd name="connsiteY261" fmla="*/ 1021488 h 1262136"/>
                    <a:gd name="connsiteX262" fmla="*/ 91157 w 1517794"/>
                    <a:gd name="connsiteY262" fmla="*/ 1021501 h 1262136"/>
                    <a:gd name="connsiteX263" fmla="*/ 91060 w 1517794"/>
                    <a:gd name="connsiteY263" fmla="*/ 1021804 h 1262136"/>
                    <a:gd name="connsiteX264" fmla="*/ 86907 w 1517794"/>
                    <a:gd name="connsiteY264" fmla="*/ 1024828 h 1262136"/>
                    <a:gd name="connsiteX265" fmla="*/ 84430 w 1517794"/>
                    <a:gd name="connsiteY265" fmla="*/ 1024743 h 1262136"/>
                    <a:gd name="connsiteX266" fmla="*/ 82463 w 1517794"/>
                    <a:gd name="connsiteY266" fmla="*/ 1023541 h 1262136"/>
                    <a:gd name="connsiteX267" fmla="*/ 82038 w 1517794"/>
                    <a:gd name="connsiteY267" fmla="*/ 1022982 h 1262136"/>
                    <a:gd name="connsiteX268" fmla="*/ 81637 w 1517794"/>
                    <a:gd name="connsiteY268" fmla="*/ 1023977 h 1262136"/>
                    <a:gd name="connsiteX269" fmla="*/ 80520 w 1517794"/>
                    <a:gd name="connsiteY269" fmla="*/ 1025095 h 1262136"/>
                    <a:gd name="connsiteX270" fmla="*/ 79391 w 1517794"/>
                    <a:gd name="connsiteY270" fmla="*/ 1025750 h 1262136"/>
                    <a:gd name="connsiteX271" fmla="*/ 80957 w 1517794"/>
                    <a:gd name="connsiteY271" fmla="*/ 1026855 h 1262136"/>
                    <a:gd name="connsiteX272" fmla="*/ 81892 w 1517794"/>
                    <a:gd name="connsiteY272" fmla="*/ 1028701 h 1262136"/>
                    <a:gd name="connsiteX273" fmla="*/ 82451 w 1517794"/>
                    <a:gd name="connsiteY273" fmla="*/ 1032332 h 1262136"/>
                    <a:gd name="connsiteX274" fmla="*/ 82402 w 1517794"/>
                    <a:gd name="connsiteY274" fmla="*/ 1034493 h 1262136"/>
                    <a:gd name="connsiteX275" fmla="*/ 82596 w 1517794"/>
                    <a:gd name="connsiteY275" fmla="*/ 1035465 h 1262136"/>
                    <a:gd name="connsiteX276" fmla="*/ 83458 w 1517794"/>
                    <a:gd name="connsiteY276" fmla="*/ 1037942 h 1262136"/>
                    <a:gd name="connsiteX277" fmla="*/ 83556 w 1517794"/>
                    <a:gd name="connsiteY277" fmla="*/ 1040650 h 1262136"/>
                    <a:gd name="connsiteX278" fmla="*/ 83531 w 1517794"/>
                    <a:gd name="connsiteY278" fmla="*/ 1041463 h 1262136"/>
                    <a:gd name="connsiteX279" fmla="*/ 81734 w 1517794"/>
                    <a:gd name="connsiteY279" fmla="*/ 1044341 h 1262136"/>
                    <a:gd name="connsiteX280" fmla="*/ 79621 w 1517794"/>
                    <a:gd name="connsiteY280" fmla="*/ 1045604 h 1262136"/>
                    <a:gd name="connsiteX281" fmla="*/ 76695 w 1517794"/>
                    <a:gd name="connsiteY281" fmla="*/ 1046333 h 1262136"/>
                    <a:gd name="connsiteX282" fmla="*/ 73963 w 1517794"/>
                    <a:gd name="connsiteY282" fmla="*/ 1046296 h 1262136"/>
                    <a:gd name="connsiteX283" fmla="*/ 71655 w 1517794"/>
                    <a:gd name="connsiteY283" fmla="*/ 1045908 h 1262136"/>
                    <a:gd name="connsiteX284" fmla="*/ 68389 w 1517794"/>
                    <a:gd name="connsiteY284" fmla="*/ 1045021 h 1262136"/>
                    <a:gd name="connsiteX285" fmla="*/ 68316 w 1517794"/>
                    <a:gd name="connsiteY285" fmla="*/ 1045543 h 1262136"/>
                    <a:gd name="connsiteX286" fmla="*/ 66883 w 1517794"/>
                    <a:gd name="connsiteY286" fmla="*/ 1048251 h 1262136"/>
                    <a:gd name="connsiteX287" fmla="*/ 63617 w 1517794"/>
                    <a:gd name="connsiteY287" fmla="*/ 1049975 h 1262136"/>
                    <a:gd name="connsiteX288" fmla="*/ 60156 w 1517794"/>
                    <a:gd name="connsiteY288" fmla="*/ 1048968 h 1262136"/>
                    <a:gd name="connsiteX289" fmla="*/ 57849 w 1517794"/>
                    <a:gd name="connsiteY289" fmla="*/ 1046806 h 1262136"/>
                    <a:gd name="connsiteX290" fmla="*/ 55724 w 1517794"/>
                    <a:gd name="connsiteY290" fmla="*/ 1044402 h 1262136"/>
                    <a:gd name="connsiteX291" fmla="*/ 55505 w 1517794"/>
                    <a:gd name="connsiteY291" fmla="*/ 1044888 h 1262136"/>
                    <a:gd name="connsiteX292" fmla="*/ 53939 w 1517794"/>
                    <a:gd name="connsiteY292" fmla="*/ 1047438 h 1262136"/>
                    <a:gd name="connsiteX293" fmla="*/ 51656 w 1517794"/>
                    <a:gd name="connsiteY293" fmla="*/ 1048409 h 1262136"/>
                    <a:gd name="connsiteX294" fmla="*/ 49313 w 1517794"/>
                    <a:gd name="connsiteY294" fmla="*/ 1048081 h 1262136"/>
                    <a:gd name="connsiteX295" fmla="*/ 48475 w 1517794"/>
                    <a:gd name="connsiteY295" fmla="*/ 1047583 h 1262136"/>
                    <a:gd name="connsiteX296" fmla="*/ 47042 w 1517794"/>
                    <a:gd name="connsiteY296" fmla="*/ 1046090 h 1262136"/>
                    <a:gd name="connsiteX297" fmla="*/ 45888 w 1517794"/>
                    <a:gd name="connsiteY297" fmla="*/ 1043503 h 1262136"/>
                    <a:gd name="connsiteX298" fmla="*/ 44941 w 1517794"/>
                    <a:gd name="connsiteY298" fmla="*/ 1040371 h 1262136"/>
                    <a:gd name="connsiteX299" fmla="*/ 44115 w 1517794"/>
                    <a:gd name="connsiteY299" fmla="*/ 1035052 h 1262136"/>
                    <a:gd name="connsiteX300" fmla="*/ 44079 w 1517794"/>
                    <a:gd name="connsiteY300" fmla="*/ 1032101 h 1262136"/>
                    <a:gd name="connsiteX301" fmla="*/ 44978 w 1517794"/>
                    <a:gd name="connsiteY301" fmla="*/ 1028252 h 1262136"/>
                    <a:gd name="connsiteX302" fmla="*/ 46471 w 1517794"/>
                    <a:gd name="connsiteY302" fmla="*/ 1026382 h 1262136"/>
                    <a:gd name="connsiteX303" fmla="*/ 49252 w 1517794"/>
                    <a:gd name="connsiteY303" fmla="*/ 1023358 h 1262136"/>
                    <a:gd name="connsiteX304" fmla="*/ 49944 w 1517794"/>
                    <a:gd name="connsiteY304" fmla="*/ 1022375 h 1262136"/>
                    <a:gd name="connsiteX305" fmla="*/ 50211 w 1517794"/>
                    <a:gd name="connsiteY305" fmla="*/ 1021622 h 1262136"/>
                    <a:gd name="connsiteX306" fmla="*/ 50466 w 1517794"/>
                    <a:gd name="connsiteY306" fmla="*/ 1020638 h 1262136"/>
                    <a:gd name="connsiteX307" fmla="*/ 51535 w 1517794"/>
                    <a:gd name="connsiteY307" fmla="*/ 1018440 h 1262136"/>
                    <a:gd name="connsiteX308" fmla="*/ 52373 w 1517794"/>
                    <a:gd name="connsiteY308" fmla="*/ 1017262 h 1262136"/>
                    <a:gd name="connsiteX309" fmla="*/ 53538 w 1517794"/>
                    <a:gd name="connsiteY309" fmla="*/ 1016109 h 1262136"/>
                    <a:gd name="connsiteX310" fmla="*/ 54498 w 1517794"/>
                    <a:gd name="connsiteY310" fmla="*/ 1014919 h 1262136"/>
                    <a:gd name="connsiteX311" fmla="*/ 53854 w 1517794"/>
                    <a:gd name="connsiteY311" fmla="*/ 1013607 h 1262136"/>
                    <a:gd name="connsiteX312" fmla="*/ 53210 w 1517794"/>
                    <a:gd name="connsiteY312" fmla="*/ 1012745 h 1262136"/>
                    <a:gd name="connsiteX313" fmla="*/ 49968 w 1517794"/>
                    <a:gd name="connsiteY313" fmla="*/ 1009382 h 1262136"/>
                    <a:gd name="connsiteX314" fmla="*/ 48657 w 1517794"/>
                    <a:gd name="connsiteY314" fmla="*/ 1007573 h 1262136"/>
                    <a:gd name="connsiteX315" fmla="*/ 45864 w 1517794"/>
                    <a:gd name="connsiteY315" fmla="*/ 1002740 h 1262136"/>
                    <a:gd name="connsiteX316" fmla="*/ 44140 w 1517794"/>
                    <a:gd name="connsiteY316" fmla="*/ 1000396 h 1262136"/>
                    <a:gd name="connsiteX317" fmla="*/ 43022 w 1517794"/>
                    <a:gd name="connsiteY317" fmla="*/ 999668 h 1262136"/>
                    <a:gd name="connsiteX318" fmla="*/ 41201 w 1517794"/>
                    <a:gd name="connsiteY318" fmla="*/ 997542 h 1262136"/>
                    <a:gd name="connsiteX319" fmla="*/ 40047 w 1517794"/>
                    <a:gd name="connsiteY319" fmla="*/ 994616 h 1262136"/>
                    <a:gd name="connsiteX320" fmla="*/ 40120 w 1517794"/>
                    <a:gd name="connsiteY320" fmla="*/ 989747 h 1262136"/>
                    <a:gd name="connsiteX321" fmla="*/ 40910 w 1517794"/>
                    <a:gd name="connsiteY321" fmla="*/ 987148 h 1262136"/>
                    <a:gd name="connsiteX322" fmla="*/ 41650 w 1517794"/>
                    <a:gd name="connsiteY322" fmla="*/ 985897 h 1262136"/>
                    <a:gd name="connsiteX323" fmla="*/ 41602 w 1517794"/>
                    <a:gd name="connsiteY323" fmla="*/ 985715 h 1262136"/>
                    <a:gd name="connsiteX324" fmla="*/ 40448 w 1517794"/>
                    <a:gd name="connsiteY324" fmla="*/ 984052 h 1262136"/>
                    <a:gd name="connsiteX325" fmla="*/ 29665 w 1517794"/>
                    <a:gd name="connsiteY325" fmla="*/ 973669 h 1262136"/>
                    <a:gd name="connsiteX326" fmla="*/ 27819 w 1517794"/>
                    <a:gd name="connsiteY326" fmla="*/ 970755 h 1262136"/>
                    <a:gd name="connsiteX327" fmla="*/ 27819 w 1517794"/>
                    <a:gd name="connsiteY327" fmla="*/ 967294 h 1262136"/>
                    <a:gd name="connsiteX328" fmla="*/ 30309 w 1517794"/>
                    <a:gd name="connsiteY328" fmla="*/ 964174 h 1262136"/>
                    <a:gd name="connsiteX329" fmla="*/ 32397 w 1517794"/>
                    <a:gd name="connsiteY329" fmla="*/ 963226 h 1262136"/>
                    <a:gd name="connsiteX330" fmla="*/ 34850 w 1517794"/>
                    <a:gd name="connsiteY330" fmla="*/ 962704 h 1262136"/>
                    <a:gd name="connsiteX331" fmla="*/ 35482 w 1517794"/>
                    <a:gd name="connsiteY331" fmla="*/ 961733 h 1262136"/>
                    <a:gd name="connsiteX332" fmla="*/ 36562 w 1517794"/>
                    <a:gd name="connsiteY332" fmla="*/ 960409 h 1262136"/>
                    <a:gd name="connsiteX333" fmla="*/ 38505 w 1517794"/>
                    <a:gd name="connsiteY333" fmla="*/ 959098 h 1262136"/>
                    <a:gd name="connsiteX334" fmla="*/ 39125 w 1517794"/>
                    <a:gd name="connsiteY334" fmla="*/ 958746 h 1262136"/>
                    <a:gd name="connsiteX335" fmla="*/ 40436 w 1517794"/>
                    <a:gd name="connsiteY335" fmla="*/ 958685 h 1262136"/>
                    <a:gd name="connsiteX336" fmla="*/ 41966 w 1517794"/>
                    <a:gd name="connsiteY336" fmla="*/ 958843 h 1262136"/>
                    <a:gd name="connsiteX337" fmla="*/ 43836 w 1517794"/>
                    <a:gd name="connsiteY337" fmla="*/ 959656 h 1262136"/>
                    <a:gd name="connsiteX338" fmla="*/ 44905 w 1517794"/>
                    <a:gd name="connsiteY338" fmla="*/ 960409 h 1262136"/>
                    <a:gd name="connsiteX339" fmla="*/ 46884 w 1517794"/>
                    <a:gd name="connsiteY339" fmla="*/ 962146 h 1262136"/>
                    <a:gd name="connsiteX340" fmla="*/ 47115 w 1517794"/>
                    <a:gd name="connsiteY340" fmla="*/ 962061 h 1262136"/>
                    <a:gd name="connsiteX341" fmla="*/ 48948 w 1517794"/>
                    <a:gd name="connsiteY341" fmla="*/ 961951 h 1262136"/>
                    <a:gd name="connsiteX342" fmla="*/ 50478 w 1517794"/>
                    <a:gd name="connsiteY342" fmla="*/ 962134 h 1262136"/>
                    <a:gd name="connsiteX343" fmla="*/ 52154 w 1517794"/>
                    <a:gd name="connsiteY343" fmla="*/ 963579 h 1262136"/>
                    <a:gd name="connsiteX344" fmla="*/ 52846 w 1517794"/>
                    <a:gd name="connsiteY344" fmla="*/ 964817 h 1262136"/>
                    <a:gd name="connsiteX345" fmla="*/ 53587 w 1517794"/>
                    <a:gd name="connsiteY345" fmla="*/ 967136 h 1262136"/>
                    <a:gd name="connsiteX346" fmla="*/ 54935 w 1517794"/>
                    <a:gd name="connsiteY346" fmla="*/ 976911 h 1262136"/>
                    <a:gd name="connsiteX347" fmla="*/ 56003 w 1517794"/>
                    <a:gd name="connsiteY347" fmla="*/ 980846 h 1262136"/>
                    <a:gd name="connsiteX348" fmla="*/ 56610 w 1517794"/>
                    <a:gd name="connsiteY348" fmla="*/ 982473 h 1262136"/>
                    <a:gd name="connsiteX349" fmla="*/ 57315 w 1517794"/>
                    <a:gd name="connsiteY349" fmla="*/ 983505 h 1262136"/>
                    <a:gd name="connsiteX350" fmla="*/ 57764 w 1517794"/>
                    <a:gd name="connsiteY350" fmla="*/ 983845 h 1262136"/>
                    <a:gd name="connsiteX351" fmla="*/ 60618 w 1517794"/>
                    <a:gd name="connsiteY351" fmla="*/ 985181 h 1262136"/>
                    <a:gd name="connsiteX352" fmla="*/ 63289 w 1517794"/>
                    <a:gd name="connsiteY352" fmla="*/ 986079 h 1262136"/>
                    <a:gd name="connsiteX353" fmla="*/ 68535 w 1517794"/>
                    <a:gd name="connsiteY353" fmla="*/ 987100 h 1262136"/>
                    <a:gd name="connsiteX354" fmla="*/ 70514 w 1517794"/>
                    <a:gd name="connsiteY354" fmla="*/ 987707 h 1262136"/>
                    <a:gd name="connsiteX355" fmla="*/ 72372 w 1517794"/>
                    <a:gd name="connsiteY355" fmla="*/ 988605 h 1262136"/>
                    <a:gd name="connsiteX356" fmla="*/ 74169 w 1517794"/>
                    <a:gd name="connsiteY356" fmla="*/ 990135 h 1262136"/>
                    <a:gd name="connsiteX357" fmla="*/ 76367 w 1517794"/>
                    <a:gd name="connsiteY357" fmla="*/ 993037 h 1262136"/>
                    <a:gd name="connsiteX358" fmla="*/ 77169 w 1517794"/>
                    <a:gd name="connsiteY358" fmla="*/ 993802 h 1262136"/>
                    <a:gd name="connsiteX359" fmla="*/ 78698 w 1517794"/>
                    <a:gd name="connsiteY359" fmla="*/ 993912 h 1262136"/>
                    <a:gd name="connsiteX360" fmla="*/ 81613 w 1517794"/>
                    <a:gd name="connsiteY360" fmla="*/ 993548 h 1262136"/>
                    <a:gd name="connsiteX361" fmla="*/ 87271 w 1517794"/>
                    <a:gd name="connsiteY361" fmla="*/ 993681 h 1262136"/>
                    <a:gd name="connsiteX362" fmla="*/ 89154 w 1517794"/>
                    <a:gd name="connsiteY362" fmla="*/ 993450 h 1262136"/>
                    <a:gd name="connsiteX363" fmla="*/ 100641 w 1517794"/>
                    <a:gd name="connsiteY363" fmla="*/ 990584 h 1262136"/>
                    <a:gd name="connsiteX364" fmla="*/ 102729 w 1517794"/>
                    <a:gd name="connsiteY364" fmla="*/ 990500 h 1262136"/>
                    <a:gd name="connsiteX365" fmla="*/ 104988 w 1517794"/>
                    <a:gd name="connsiteY365" fmla="*/ 991046 h 1262136"/>
                    <a:gd name="connsiteX366" fmla="*/ 106737 w 1517794"/>
                    <a:gd name="connsiteY366" fmla="*/ 991860 h 1262136"/>
                    <a:gd name="connsiteX367" fmla="*/ 107769 w 1517794"/>
                    <a:gd name="connsiteY367" fmla="*/ 992163 h 1262136"/>
                    <a:gd name="connsiteX368" fmla="*/ 109930 w 1517794"/>
                    <a:gd name="connsiteY368" fmla="*/ 992296 h 1262136"/>
                    <a:gd name="connsiteX369" fmla="*/ 110829 w 1517794"/>
                    <a:gd name="connsiteY369" fmla="*/ 992795 h 1262136"/>
                    <a:gd name="connsiteX370" fmla="*/ 112140 w 1517794"/>
                    <a:gd name="connsiteY370" fmla="*/ 993717 h 1262136"/>
                    <a:gd name="connsiteX371" fmla="*/ 113087 w 1517794"/>
                    <a:gd name="connsiteY371" fmla="*/ 994677 h 1262136"/>
                    <a:gd name="connsiteX372" fmla="*/ 113949 w 1517794"/>
                    <a:gd name="connsiteY372" fmla="*/ 995818 h 1262136"/>
                    <a:gd name="connsiteX373" fmla="*/ 116730 w 1517794"/>
                    <a:gd name="connsiteY373" fmla="*/ 1001586 h 1262136"/>
                    <a:gd name="connsiteX374" fmla="*/ 119377 w 1517794"/>
                    <a:gd name="connsiteY374" fmla="*/ 1005775 h 1262136"/>
                    <a:gd name="connsiteX375" fmla="*/ 120458 w 1517794"/>
                    <a:gd name="connsiteY375" fmla="*/ 1008253 h 1262136"/>
                    <a:gd name="connsiteX376" fmla="*/ 120701 w 1517794"/>
                    <a:gd name="connsiteY376" fmla="*/ 1011179 h 1262136"/>
                    <a:gd name="connsiteX377" fmla="*/ 120409 w 1517794"/>
                    <a:gd name="connsiteY377" fmla="*/ 1013000 h 1262136"/>
                    <a:gd name="connsiteX378" fmla="*/ 123469 w 1517794"/>
                    <a:gd name="connsiteY378" fmla="*/ 1013790 h 1262136"/>
                    <a:gd name="connsiteX379" fmla="*/ 127465 w 1517794"/>
                    <a:gd name="connsiteY379" fmla="*/ 1015587 h 1262136"/>
                    <a:gd name="connsiteX380" fmla="*/ 125036 w 1517794"/>
                    <a:gd name="connsiteY380" fmla="*/ 1011543 h 1262136"/>
                    <a:gd name="connsiteX381" fmla="*/ 124708 w 1517794"/>
                    <a:gd name="connsiteY381" fmla="*/ 1010038 h 1262136"/>
                    <a:gd name="connsiteX382" fmla="*/ 124757 w 1517794"/>
                    <a:gd name="connsiteY382" fmla="*/ 1007828 h 1262136"/>
                    <a:gd name="connsiteX383" fmla="*/ 125230 w 1517794"/>
                    <a:gd name="connsiteY383" fmla="*/ 1004974 h 1262136"/>
                    <a:gd name="connsiteX384" fmla="*/ 123846 w 1517794"/>
                    <a:gd name="connsiteY384" fmla="*/ 1004306 h 1262136"/>
                    <a:gd name="connsiteX385" fmla="*/ 122024 w 1517794"/>
                    <a:gd name="connsiteY385" fmla="*/ 1003177 h 1262136"/>
                    <a:gd name="connsiteX386" fmla="*/ 119754 w 1517794"/>
                    <a:gd name="connsiteY386" fmla="*/ 1000760 h 1262136"/>
                    <a:gd name="connsiteX387" fmla="*/ 118989 w 1517794"/>
                    <a:gd name="connsiteY387" fmla="*/ 999145 h 1262136"/>
                    <a:gd name="connsiteX388" fmla="*/ 118746 w 1517794"/>
                    <a:gd name="connsiteY388" fmla="*/ 998332 h 1262136"/>
                    <a:gd name="connsiteX389" fmla="*/ 118066 w 1517794"/>
                    <a:gd name="connsiteY389" fmla="*/ 994167 h 1262136"/>
                    <a:gd name="connsiteX390" fmla="*/ 115953 w 1517794"/>
                    <a:gd name="connsiteY390" fmla="*/ 992127 h 1262136"/>
                    <a:gd name="connsiteX391" fmla="*/ 114569 w 1517794"/>
                    <a:gd name="connsiteY391" fmla="*/ 990220 h 1262136"/>
                    <a:gd name="connsiteX392" fmla="*/ 113998 w 1517794"/>
                    <a:gd name="connsiteY392" fmla="*/ 987864 h 1262136"/>
                    <a:gd name="connsiteX393" fmla="*/ 114204 w 1517794"/>
                    <a:gd name="connsiteY393" fmla="*/ 986784 h 1262136"/>
                    <a:gd name="connsiteX394" fmla="*/ 114581 w 1517794"/>
                    <a:gd name="connsiteY394" fmla="*/ 985521 h 1262136"/>
                    <a:gd name="connsiteX395" fmla="*/ 115212 w 1517794"/>
                    <a:gd name="connsiteY395" fmla="*/ 984282 h 1262136"/>
                    <a:gd name="connsiteX396" fmla="*/ 119572 w 1517794"/>
                    <a:gd name="connsiteY396" fmla="*/ 978429 h 1262136"/>
                    <a:gd name="connsiteX397" fmla="*/ 118734 w 1517794"/>
                    <a:gd name="connsiteY397" fmla="*/ 978344 h 1262136"/>
                    <a:gd name="connsiteX398" fmla="*/ 116135 w 1517794"/>
                    <a:gd name="connsiteY398" fmla="*/ 977713 h 1262136"/>
                    <a:gd name="connsiteX399" fmla="*/ 114229 w 1517794"/>
                    <a:gd name="connsiteY399" fmla="*/ 975685 h 1262136"/>
                    <a:gd name="connsiteX400" fmla="*/ 114253 w 1517794"/>
                    <a:gd name="connsiteY400" fmla="*/ 973244 h 1262136"/>
                    <a:gd name="connsiteX401" fmla="*/ 114435 w 1517794"/>
                    <a:gd name="connsiteY401" fmla="*/ 972771 h 1262136"/>
                    <a:gd name="connsiteX402" fmla="*/ 114982 w 1517794"/>
                    <a:gd name="connsiteY402" fmla="*/ 971763 h 1262136"/>
                    <a:gd name="connsiteX403" fmla="*/ 116074 w 1517794"/>
                    <a:gd name="connsiteY403" fmla="*/ 970536 h 1262136"/>
                    <a:gd name="connsiteX404" fmla="*/ 119292 w 1517794"/>
                    <a:gd name="connsiteY404" fmla="*/ 967986 h 1262136"/>
                    <a:gd name="connsiteX405" fmla="*/ 122486 w 1517794"/>
                    <a:gd name="connsiteY405" fmla="*/ 964465 h 1262136"/>
                    <a:gd name="connsiteX406" fmla="*/ 124380 w 1517794"/>
                    <a:gd name="connsiteY406" fmla="*/ 963142 h 1262136"/>
                    <a:gd name="connsiteX407" fmla="*/ 126359 w 1517794"/>
                    <a:gd name="connsiteY407" fmla="*/ 962316 h 1262136"/>
                    <a:gd name="connsiteX408" fmla="*/ 129614 w 1517794"/>
                    <a:gd name="connsiteY408" fmla="*/ 961745 h 1262136"/>
                    <a:gd name="connsiteX409" fmla="*/ 138005 w 1517794"/>
                    <a:gd name="connsiteY409" fmla="*/ 961429 h 1262136"/>
                    <a:gd name="connsiteX410" fmla="*/ 139583 w 1517794"/>
                    <a:gd name="connsiteY410" fmla="*/ 961041 h 1262136"/>
                    <a:gd name="connsiteX411" fmla="*/ 140214 w 1517794"/>
                    <a:gd name="connsiteY411" fmla="*/ 960688 h 1262136"/>
                    <a:gd name="connsiteX412" fmla="*/ 139923 w 1517794"/>
                    <a:gd name="connsiteY412" fmla="*/ 959086 h 1262136"/>
                    <a:gd name="connsiteX413" fmla="*/ 138296 w 1517794"/>
                    <a:gd name="connsiteY413" fmla="*/ 954787 h 1262136"/>
                    <a:gd name="connsiteX414" fmla="*/ 137822 w 1517794"/>
                    <a:gd name="connsiteY414" fmla="*/ 952565 h 1262136"/>
                    <a:gd name="connsiteX415" fmla="*/ 137774 w 1517794"/>
                    <a:gd name="connsiteY415" fmla="*/ 950282 h 1262136"/>
                    <a:gd name="connsiteX416" fmla="*/ 138235 w 1517794"/>
                    <a:gd name="connsiteY416" fmla="*/ 947817 h 1262136"/>
                    <a:gd name="connsiteX417" fmla="*/ 139401 w 1517794"/>
                    <a:gd name="connsiteY417" fmla="*/ 944465 h 1262136"/>
                    <a:gd name="connsiteX418" fmla="*/ 139231 w 1517794"/>
                    <a:gd name="connsiteY418" fmla="*/ 944405 h 1262136"/>
                    <a:gd name="connsiteX419" fmla="*/ 134714 w 1517794"/>
                    <a:gd name="connsiteY419" fmla="*/ 943992 h 1262136"/>
                    <a:gd name="connsiteX420" fmla="*/ 132565 w 1517794"/>
                    <a:gd name="connsiteY420" fmla="*/ 943130 h 1262136"/>
                    <a:gd name="connsiteX421" fmla="*/ 131763 w 1517794"/>
                    <a:gd name="connsiteY421" fmla="*/ 942729 h 1262136"/>
                    <a:gd name="connsiteX422" fmla="*/ 130889 w 1517794"/>
                    <a:gd name="connsiteY422" fmla="*/ 941248 h 1262136"/>
                    <a:gd name="connsiteX423" fmla="*/ 130427 w 1517794"/>
                    <a:gd name="connsiteY423" fmla="*/ 939633 h 1262136"/>
                    <a:gd name="connsiteX424" fmla="*/ 132613 w 1517794"/>
                    <a:gd name="connsiteY424" fmla="*/ 936706 h 1262136"/>
                    <a:gd name="connsiteX425" fmla="*/ 129711 w 1517794"/>
                    <a:gd name="connsiteY425" fmla="*/ 938127 h 1262136"/>
                    <a:gd name="connsiteX426" fmla="*/ 128873 w 1517794"/>
                    <a:gd name="connsiteY426" fmla="*/ 937459 h 1262136"/>
                    <a:gd name="connsiteX427" fmla="*/ 127173 w 1517794"/>
                    <a:gd name="connsiteY427" fmla="*/ 936512 h 1262136"/>
                    <a:gd name="connsiteX428" fmla="*/ 126712 w 1517794"/>
                    <a:gd name="connsiteY428" fmla="*/ 936585 h 1262136"/>
                    <a:gd name="connsiteX429" fmla="*/ 126202 w 1517794"/>
                    <a:gd name="connsiteY429" fmla="*/ 936815 h 1262136"/>
                    <a:gd name="connsiteX430" fmla="*/ 125509 w 1517794"/>
                    <a:gd name="connsiteY430" fmla="*/ 937896 h 1262136"/>
                    <a:gd name="connsiteX431" fmla="*/ 125667 w 1517794"/>
                    <a:gd name="connsiteY431" fmla="*/ 938418 h 1262136"/>
                    <a:gd name="connsiteX432" fmla="*/ 125995 w 1517794"/>
                    <a:gd name="connsiteY432" fmla="*/ 938965 h 1262136"/>
                    <a:gd name="connsiteX433" fmla="*/ 126505 w 1517794"/>
                    <a:gd name="connsiteY433" fmla="*/ 940313 h 1262136"/>
                    <a:gd name="connsiteX434" fmla="*/ 127125 w 1517794"/>
                    <a:gd name="connsiteY434" fmla="*/ 941539 h 1262136"/>
                    <a:gd name="connsiteX435" fmla="*/ 130209 w 1517794"/>
                    <a:gd name="connsiteY435" fmla="*/ 945947 h 1262136"/>
                    <a:gd name="connsiteX436" fmla="*/ 131472 w 1517794"/>
                    <a:gd name="connsiteY436" fmla="*/ 949104 h 1262136"/>
                    <a:gd name="connsiteX437" fmla="*/ 130962 w 1517794"/>
                    <a:gd name="connsiteY437" fmla="*/ 952698 h 1262136"/>
                    <a:gd name="connsiteX438" fmla="*/ 127756 w 1517794"/>
                    <a:gd name="connsiteY438" fmla="*/ 955212 h 1262136"/>
                    <a:gd name="connsiteX439" fmla="*/ 123712 w 1517794"/>
                    <a:gd name="connsiteY439" fmla="*/ 955261 h 1262136"/>
                    <a:gd name="connsiteX440" fmla="*/ 120470 w 1517794"/>
                    <a:gd name="connsiteY440" fmla="*/ 953391 h 1262136"/>
                    <a:gd name="connsiteX441" fmla="*/ 117799 w 1517794"/>
                    <a:gd name="connsiteY441" fmla="*/ 950695 h 1262136"/>
                    <a:gd name="connsiteX442" fmla="*/ 114884 w 1517794"/>
                    <a:gd name="connsiteY442" fmla="*/ 946360 h 1262136"/>
                    <a:gd name="connsiteX443" fmla="*/ 113877 w 1517794"/>
                    <a:gd name="connsiteY443" fmla="*/ 945814 h 1262136"/>
                    <a:gd name="connsiteX444" fmla="*/ 111873 w 1517794"/>
                    <a:gd name="connsiteY444" fmla="*/ 945243 h 1262136"/>
                    <a:gd name="connsiteX445" fmla="*/ 107149 w 1517794"/>
                    <a:gd name="connsiteY445" fmla="*/ 944223 h 1262136"/>
                    <a:gd name="connsiteX446" fmla="*/ 103713 w 1517794"/>
                    <a:gd name="connsiteY446" fmla="*/ 942425 h 1262136"/>
                    <a:gd name="connsiteX447" fmla="*/ 101806 w 1517794"/>
                    <a:gd name="connsiteY447" fmla="*/ 939536 h 1262136"/>
                    <a:gd name="connsiteX448" fmla="*/ 101904 w 1517794"/>
                    <a:gd name="connsiteY448" fmla="*/ 936828 h 1262136"/>
                    <a:gd name="connsiteX449" fmla="*/ 99621 w 1517794"/>
                    <a:gd name="connsiteY449" fmla="*/ 937095 h 1262136"/>
                    <a:gd name="connsiteX450" fmla="*/ 95079 w 1517794"/>
                    <a:gd name="connsiteY450" fmla="*/ 938212 h 1262136"/>
                    <a:gd name="connsiteX451" fmla="*/ 90404 w 1517794"/>
                    <a:gd name="connsiteY451" fmla="*/ 938382 h 1262136"/>
                    <a:gd name="connsiteX452" fmla="*/ 87041 w 1517794"/>
                    <a:gd name="connsiteY452" fmla="*/ 937957 h 1262136"/>
                    <a:gd name="connsiteX453" fmla="*/ 84563 w 1517794"/>
                    <a:gd name="connsiteY453" fmla="*/ 937107 h 1262136"/>
                    <a:gd name="connsiteX454" fmla="*/ 81163 w 1517794"/>
                    <a:gd name="connsiteY454" fmla="*/ 935067 h 1262136"/>
                    <a:gd name="connsiteX455" fmla="*/ 80374 w 1517794"/>
                    <a:gd name="connsiteY455" fmla="*/ 935031 h 1262136"/>
                    <a:gd name="connsiteX456" fmla="*/ 79925 w 1517794"/>
                    <a:gd name="connsiteY456" fmla="*/ 935419 h 1262136"/>
                    <a:gd name="connsiteX457" fmla="*/ 78565 w 1517794"/>
                    <a:gd name="connsiteY457" fmla="*/ 936998 h 1262136"/>
                    <a:gd name="connsiteX458" fmla="*/ 76743 w 1517794"/>
                    <a:gd name="connsiteY458" fmla="*/ 939912 h 1262136"/>
                    <a:gd name="connsiteX459" fmla="*/ 74303 w 1517794"/>
                    <a:gd name="connsiteY459" fmla="*/ 943045 h 1262136"/>
                    <a:gd name="connsiteX460" fmla="*/ 73841 w 1517794"/>
                    <a:gd name="connsiteY460" fmla="*/ 944016 h 1262136"/>
                    <a:gd name="connsiteX461" fmla="*/ 73574 w 1517794"/>
                    <a:gd name="connsiteY461" fmla="*/ 945340 h 1262136"/>
                    <a:gd name="connsiteX462" fmla="*/ 74084 w 1517794"/>
                    <a:gd name="connsiteY462" fmla="*/ 949456 h 1262136"/>
                    <a:gd name="connsiteX463" fmla="*/ 73756 w 1517794"/>
                    <a:gd name="connsiteY463" fmla="*/ 951788 h 1262136"/>
                    <a:gd name="connsiteX464" fmla="*/ 72870 w 1517794"/>
                    <a:gd name="connsiteY464" fmla="*/ 954132 h 1262136"/>
                    <a:gd name="connsiteX465" fmla="*/ 70684 w 1517794"/>
                    <a:gd name="connsiteY465" fmla="*/ 956147 h 1262136"/>
                    <a:gd name="connsiteX466" fmla="*/ 67988 w 1517794"/>
                    <a:gd name="connsiteY466" fmla="*/ 956633 h 1262136"/>
                    <a:gd name="connsiteX467" fmla="*/ 64030 w 1517794"/>
                    <a:gd name="connsiteY467" fmla="*/ 956524 h 1262136"/>
                    <a:gd name="connsiteX468" fmla="*/ 59306 w 1517794"/>
                    <a:gd name="connsiteY468" fmla="*/ 955066 h 1262136"/>
                    <a:gd name="connsiteX469" fmla="*/ 54801 w 1517794"/>
                    <a:gd name="connsiteY469" fmla="*/ 954022 h 1262136"/>
                    <a:gd name="connsiteX470" fmla="*/ 49482 w 1517794"/>
                    <a:gd name="connsiteY470" fmla="*/ 953779 h 1262136"/>
                    <a:gd name="connsiteX471" fmla="*/ 35822 w 1517794"/>
                    <a:gd name="connsiteY471" fmla="*/ 951023 h 1262136"/>
                    <a:gd name="connsiteX472" fmla="*/ 34814 w 1517794"/>
                    <a:gd name="connsiteY472" fmla="*/ 946093 h 1262136"/>
                    <a:gd name="connsiteX473" fmla="*/ 36028 w 1517794"/>
                    <a:gd name="connsiteY473" fmla="*/ 943446 h 1262136"/>
                    <a:gd name="connsiteX474" fmla="*/ 37850 w 1517794"/>
                    <a:gd name="connsiteY474" fmla="*/ 940726 h 1262136"/>
                    <a:gd name="connsiteX475" fmla="*/ 32519 w 1517794"/>
                    <a:gd name="connsiteY475" fmla="*/ 938528 h 1262136"/>
                    <a:gd name="connsiteX476" fmla="*/ 30406 w 1517794"/>
                    <a:gd name="connsiteY476" fmla="*/ 937034 h 1262136"/>
                    <a:gd name="connsiteX477" fmla="*/ 28633 w 1517794"/>
                    <a:gd name="connsiteY477" fmla="*/ 935152 h 1262136"/>
                    <a:gd name="connsiteX478" fmla="*/ 27237 w 1517794"/>
                    <a:gd name="connsiteY478" fmla="*/ 932893 h 1262136"/>
                    <a:gd name="connsiteX479" fmla="*/ 26314 w 1517794"/>
                    <a:gd name="connsiteY479" fmla="*/ 930550 h 1262136"/>
                    <a:gd name="connsiteX480" fmla="*/ 25804 w 1517794"/>
                    <a:gd name="connsiteY480" fmla="*/ 927830 h 1262136"/>
                    <a:gd name="connsiteX481" fmla="*/ 26022 w 1517794"/>
                    <a:gd name="connsiteY481" fmla="*/ 924308 h 1262136"/>
                    <a:gd name="connsiteX482" fmla="*/ 26666 w 1517794"/>
                    <a:gd name="connsiteY482" fmla="*/ 921989 h 1262136"/>
                    <a:gd name="connsiteX483" fmla="*/ 27674 w 1517794"/>
                    <a:gd name="connsiteY483" fmla="*/ 919803 h 1262136"/>
                    <a:gd name="connsiteX484" fmla="*/ 28633 w 1517794"/>
                    <a:gd name="connsiteY484" fmla="*/ 918674 h 1262136"/>
                    <a:gd name="connsiteX485" fmla="*/ 30515 w 1517794"/>
                    <a:gd name="connsiteY485" fmla="*/ 917253 h 1262136"/>
                    <a:gd name="connsiteX486" fmla="*/ 32337 w 1517794"/>
                    <a:gd name="connsiteY486" fmla="*/ 916501 h 1262136"/>
                    <a:gd name="connsiteX487" fmla="*/ 34486 w 1517794"/>
                    <a:gd name="connsiteY487" fmla="*/ 916695 h 1262136"/>
                    <a:gd name="connsiteX488" fmla="*/ 36004 w 1517794"/>
                    <a:gd name="connsiteY488" fmla="*/ 916974 h 1262136"/>
                    <a:gd name="connsiteX489" fmla="*/ 36635 w 1517794"/>
                    <a:gd name="connsiteY489" fmla="*/ 915068 h 1262136"/>
                    <a:gd name="connsiteX490" fmla="*/ 37607 w 1517794"/>
                    <a:gd name="connsiteY490" fmla="*/ 913173 h 1262136"/>
                    <a:gd name="connsiteX491" fmla="*/ 39999 w 1517794"/>
                    <a:gd name="connsiteY491" fmla="*/ 910635 h 1262136"/>
                    <a:gd name="connsiteX492" fmla="*/ 39465 w 1517794"/>
                    <a:gd name="connsiteY492" fmla="*/ 909202 h 1262136"/>
                    <a:gd name="connsiteX493" fmla="*/ 38481 w 1517794"/>
                    <a:gd name="connsiteY493" fmla="*/ 907697 h 1262136"/>
                    <a:gd name="connsiteX494" fmla="*/ 35239 w 1517794"/>
                    <a:gd name="connsiteY494" fmla="*/ 907697 h 1262136"/>
                    <a:gd name="connsiteX495" fmla="*/ 30673 w 1517794"/>
                    <a:gd name="connsiteY495" fmla="*/ 907126 h 1262136"/>
                    <a:gd name="connsiteX496" fmla="*/ 29884 w 1517794"/>
                    <a:gd name="connsiteY496" fmla="*/ 907260 h 1262136"/>
                    <a:gd name="connsiteX497" fmla="*/ 27225 w 1517794"/>
                    <a:gd name="connsiteY497" fmla="*/ 908656 h 1262136"/>
                    <a:gd name="connsiteX498" fmla="*/ 24905 w 1517794"/>
                    <a:gd name="connsiteY498" fmla="*/ 909336 h 1262136"/>
                    <a:gd name="connsiteX499" fmla="*/ 22792 w 1517794"/>
                    <a:gd name="connsiteY499" fmla="*/ 909190 h 1262136"/>
                    <a:gd name="connsiteX500" fmla="*/ 21785 w 1517794"/>
                    <a:gd name="connsiteY500" fmla="*/ 908547 h 1262136"/>
                    <a:gd name="connsiteX501" fmla="*/ 20704 w 1517794"/>
                    <a:gd name="connsiteY501" fmla="*/ 907721 h 1262136"/>
                    <a:gd name="connsiteX502" fmla="*/ 19878 w 1517794"/>
                    <a:gd name="connsiteY502" fmla="*/ 906798 h 1262136"/>
                    <a:gd name="connsiteX503" fmla="*/ 17996 w 1517794"/>
                    <a:gd name="connsiteY503" fmla="*/ 903544 h 1262136"/>
                    <a:gd name="connsiteX504" fmla="*/ 15968 w 1517794"/>
                    <a:gd name="connsiteY504" fmla="*/ 898699 h 1262136"/>
                    <a:gd name="connsiteX505" fmla="*/ 15106 w 1517794"/>
                    <a:gd name="connsiteY505" fmla="*/ 897254 h 1262136"/>
                    <a:gd name="connsiteX506" fmla="*/ 14098 w 1517794"/>
                    <a:gd name="connsiteY506" fmla="*/ 895954 h 1262136"/>
                    <a:gd name="connsiteX507" fmla="*/ 12483 w 1517794"/>
                    <a:gd name="connsiteY507" fmla="*/ 895214 h 1262136"/>
                    <a:gd name="connsiteX508" fmla="*/ 9957 w 1517794"/>
                    <a:gd name="connsiteY508" fmla="*/ 894352 h 1262136"/>
                    <a:gd name="connsiteX509" fmla="*/ 7553 w 1517794"/>
                    <a:gd name="connsiteY509" fmla="*/ 892955 h 1262136"/>
                    <a:gd name="connsiteX510" fmla="*/ 6569 w 1517794"/>
                    <a:gd name="connsiteY510" fmla="*/ 890879 h 1262136"/>
                    <a:gd name="connsiteX511" fmla="*/ 4044 w 1517794"/>
                    <a:gd name="connsiteY511" fmla="*/ 881249 h 1262136"/>
                    <a:gd name="connsiteX512" fmla="*/ 3534 w 1517794"/>
                    <a:gd name="connsiteY512" fmla="*/ 877801 h 1262136"/>
                    <a:gd name="connsiteX513" fmla="*/ 3558 w 1517794"/>
                    <a:gd name="connsiteY513" fmla="*/ 874583 h 1262136"/>
                    <a:gd name="connsiteX514" fmla="*/ 4663 w 1517794"/>
                    <a:gd name="connsiteY514" fmla="*/ 869301 h 1262136"/>
                    <a:gd name="connsiteX515" fmla="*/ 6569 w 1517794"/>
                    <a:gd name="connsiteY515" fmla="*/ 864298 h 1262136"/>
                    <a:gd name="connsiteX516" fmla="*/ 8354 w 1517794"/>
                    <a:gd name="connsiteY516" fmla="*/ 860983 h 1262136"/>
                    <a:gd name="connsiteX517" fmla="*/ 8634 w 1517794"/>
                    <a:gd name="connsiteY517" fmla="*/ 859441 h 1262136"/>
                    <a:gd name="connsiteX518" fmla="*/ 8670 w 1517794"/>
                    <a:gd name="connsiteY518" fmla="*/ 857583 h 1262136"/>
                    <a:gd name="connsiteX519" fmla="*/ 7857 w 1517794"/>
                    <a:gd name="connsiteY519" fmla="*/ 851366 h 1262136"/>
                    <a:gd name="connsiteX520" fmla="*/ 8852 w 1517794"/>
                    <a:gd name="connsiteY520" fmla="*/ 847929 h 1262136"/>
                    <a:gd name="connsiteX521" fmla="*/ 10091 w 1517794"/>
                    <a:gd name="connsiteY521" fmla="*/ 847116 h 1262136"/>
                    <a:gd name="connsiteX522" fmla="*/ 11293 w 1517794"/>
                    <a:gd name="connsiteY522" fmla="*/ 846423 h 1262136"/>
                    <a:gd name="connsiteX523" fmla="*/ 15373 w 1517794"/>
                    <a:gd name="connsiteY523" fmla="*/ 844942 h 1262136"/>
                    <a:gd name="connsiteX524" fmla="*/ 17984 w 1517794"/>
                    <a:gd name="connsiteY524" fmla="*/ 832836 h 1262136"/>
                    <a:gd name="connsiteX525" fmla="*/ 18615 w 1517794"/>
                    <a:gd name="connsiteY525" fmla="*/ 828391 h 1262136"/>
                    <a:gd name="connsiteX526" fmla="*/ 18639 w 1517794"/>
                    <a:gd name="connsiteY526" fmla="*/ 825440 h 1262136"/>
                    <a:gd name="connsiteX527" fmla="*/ 19247 w 1517794"/>
                    <a:gd name="connsiteY527" fmla="*/ 821045 h 1262136"/>
                    <a:gd name="connsiteX528" fmla="*/ 19222 w 1517794"/>
                    <a:gd name="connsiteY528" fmla="*/ 819867 h 1262136"/>
                    <a:gd name="connsiteX529" fmla="*/ 18846 w 1517794"/>
                    <a:gd name="connsiteY529" fmla="*/ 819199 h 1262136"/>
                    <a:gd name="connsiteX530" fmla="*/ 17680 w 1517794"/>
                    <a:gd name="connsiteY530" fmla="*/ 818167 h 1262136"/>
                    <a:gd name="connsiteX531" fmla="*/ 16320 w 1517794"/>
                    <a:gd name="connsiteY531" fmla="*/ 817742 h 1262136"/>
                    <a:gd name="connsiteX532" fmla="*/ 15446 w 1517794"/>
                    <a:gd name="connsiteY532" fmla="*/ 817572 h 1262136"/>
                    <a:gd name="connsiteX533" fmla="*/ 13746 w 1517794"/>
                    <a:gd name="connsiteY533" fmla="*/ 816965 h 1262136"/>
                    <a:gd name="connsiteX534" fmla="*/ 9654 w 1517794"/>
                    <a:gd name="connsiteY534" fmla="*/ 814293 h 1262136"/>
                    <a:gd name="connsiteX535" fmla="*/ 8974 w 1517794"/>
                    <a:gd name="connsiteY535" fmla="*/ 814063 h 1262136"/>
                    <a:gd name="connsiteX536" fmla="*/ 3752 w 1517794"/>
                    <a:gd name="connsiteY536" fmla="*/ 812994 h 1262136"/>
                    <a:gd name="connsiteX537" fmla="*/ 1542 w 1517794"/>
                    <a:gd name="connsiteY537" fmla="*/ 812229 h 1262136"/>
                    <a:gd name="connsiteX538" fmla="*/ 449 w 1517794"/>
                    <a:gd name="connsiteY538" fmla="*/ 810626 h 1262136"/>
                    <a:gd name="connsiteX539" fmla="*/ 0 w 1517794"/>
                    <a:gd name="connsiteY539" fmla="*/ 809023 h 1262136"/>
                    <a:gd name="connsiteX540" fmla="*/ 0 w 1517794"/>
                    <a:gd name="connsiteY540" fmla="*/ 808052 h 1262136"/>
                    <a:gd name="connsiteX541" fmla="*/ 559 w 1517794"/>
                    <a:gd name="connsiteY541" fmla="*/ 806522 h 1262136"/>
                    <a:gd name="connsiteX542" fmla="*/ 1931 w 1517794"/>
                    <a:gd name="connsiteY542" fmla="*/ 804591 h 1262136"/>
                    <a:gd name="connsiteX543" fmla="*/ 3886 w 1517794"/>
                    <a:gd name="connsiteY543" fmla="*/ 802430 h 1262136"/>
                    <a:gd name="connsiteX544" fmla="*/ 4869 w 1517794"/>
                    <a:gd name="connsiteY544" fmla="*/ 801580 h 1262136"/>
                    <a:gd name="connsiteX545" fmla="*/ 4833 w 1517794"/>
                    <a:gd name="connsiteY545" fmla="*/ 800766 h 1262136"/>
                    <a:gd name="connsiteX546" fmla="*/ 4590 w 1517794"/>
                    <a:gd name="connsiteY546" fmla="*/ 798835 h 1262136"/>
                    <a:gd name="connsiteX547" fmla="*/ 4918 w 1517794"/>
                    <a:gd name="connsiteY547" fmla="*/ 793152 h 1262136"/>
                    <a:gd name="connsiteX548" fmla="*/ 10054 w 1517794"/>
                    <a:gd name="connsiteY548" fmla="*/ 784640 h 1262136"/>
                    <a:gd name="connsiteX549" fmla="*/ 14608 w 1517794"/>
                    <a:gd name="connsiteY549" fmla="*/ 786146 h 1262136"/>
                    <a:gd name="connsiteX550" fmla="*/ 31523 w 1517794"/>
                    <a:gd name="connsiteY550" fmla="*/ 795836 h 1262136"/>
                    <a:gd name="connsiteX551" fmla="*/ 33648 w 1517794"/>
                    <a:gd name="connsiteY551" fmla="*/ 796091 h 1262136"/>
                    <a:gd name="connsiteX552" fmla="*/ 38311 w 1517794"/>
                    <a:gd name="connsiteY552" fmla="*/ 796480 h 1262136"/>
                    <a:gd name="connsiteX553" fmla="*/ 41250 w 1517794"/>
                    <a:gd name="connsiteY553" fmla="*/ 797269 h 1262136"/>
                    <a:gd name="connsiteX554" fmla="*/ 45184 w 1517794"/>
                    <a:gd name="connsiteY554" fmla="*/ 799066 h 1262136"/>
                    <a:gd name="connsiteX555" fmla="*/ 46386 w 1517794"/>
                    <a:gd name="connsiteY555" fmla="*/ 799175 h 1262136"/>
                    <a:gd name="connsiteX556" fmla="*/ 48912 w 1517794"/>
                    <a:gd name="connsiteY556" fmla="*/ 797718 h 1262136"/>
                    <a:gd name="connsiteX557" fmla="*/ 51595 w 1517794"/>
                    <a:gd name="connsiteY557" fmla="*/ 797038 h 1262136"/>
                    <a:gd name="connsiteX558" fmla="*/ 54218 w 1517794"/>
                    <a:gd name="connsiteY558" fmla="*/ 796832 h 1262136"/>
                    <a:gd name="connsiteX559" fmla="*/ 56367 w 1517794"/>
                    <a:gd name="connsiteY559" fmla="*/ 797196 h 1262136"/>
                    <a:gd name="connsiteX560" fmla="*/ 58031 w 1517794"/>
                    <a:gd name="connsiteY560" fmla="*/ 797803 h 1262136"/>
                    <a:gd name="connsiteX561" fmla="*/ 59938 w 1517794"/>
                    <a:gd name="connsiteY561" fmla="*/ 799139 h 1262136"/>
                    <a:gd name="connsiteX562" fmla="*/ 61261 w 1517794"/>
                    <a:gd name="connsiteY562" fmla="*/ 800669 h 1262136"/>
                    <a:gd name="connsiteX563" fmla="*/ 62269 w 1517794"/>
                    <a:gd name="connsiteY563" fmla="*/ 802199 h 1262136"/>
                    <a:gd name="connsiteX564" fmla="*/ 63095 w 1517794"/>
                    <a:gd name="connsiteY564" fmla="*/ 802065 h 1262136"/>
                    <a:gd name="connsiteX565" fmla="*/ 63860 w 1517794"/>
                    <a:gd name="connsiteY565" fmla="*/ 801616 h 1262136"/>
                    <a:gd name="connsiteX566" fmla="*/ 64588 w 1517794"/>
                    <a:gd name="connsiteY566" fmla="*/ 801057 h 1262136"/>
                    <a:gd name="connsiteX567" fmla="*/ 68608 w 1517794"/>
                    <a:gd name="connsiteY567" fmla="*/ 797074 h 1262136"/>
                    <a:gd name="connsiteX568" fmla="*/ 69530 w 1517794"/>
                    <a:gd name="connsiteY568" fmla="*/ 795727 h 1262136"/>
                    <a:gd name="connsiteX569" fmla="*/ 70368 w 1517794"/>
                    <a:gd name="connsiteY569" fmla="*/ 793747 h 1262136"/>
                    <a:gd name="connsiteX570" fmla="*/ 71595 w 1517794"/>
                    <a:gd name="connsiteY570" fmla="*/ 789267 h 1262136"/>
                    <a:gd name="connsiteX571" fmla="*/ 73064 w 1517794"/>
                    <a:gd name="connsiteY571" fmla="*/ 786194 h 1262136"/>
                    <a:gd name="connsiteX572" fmla="*/ 74363 w 1517794"/>
                    <a:gd name="connsiteY572" fmla="*/ 784094 h 1262136"/>
                    <a:gd name="connsiteX573" fmla="*/ 75699 w 1517794"/>
                    <a:gd name="connsiteY573" fmla="*/ 782358 h 1262136"/>
                    <a:gd name="connsiteX574" fmla="*/ 76270 w 1517794"/>
                    <a:gd name="connsiteY574" fmla="*/ 781228 h 1262136"/>
                    <a:gd name="connsiteX575" fmla="*/ 76889 w 1517794"/>
                    <a:gd name="connsiteY575" fmla="*/ 779735 h 1262136"/>
                    <a:gd name="connsiteX576" fmla="*/ 77205 w 1517794"/>
                    <a:gd name="connsiteY576" fmla="*/ 778362 h 1262136"/>
                    <a:gd name="connsiteX577" fmla="*/ 77472 w 1517794"/>
                    <a:gd name="connsiteY577" fmla="*/ 776274 h 1262136"/>
                    <a:gd name="connsiteX578" fmla="*/ 77387 w 1517794"/>
                    <a:gd name="connsiteY578" fmla="*/ 772777 h 1262136"/>
                    <a:gd name="connsiteX579" fmla="*/ 76731 w 1517794"/>
                    <a:gd name="connsiteY579" fmla="*/ 769583 h 1262136"/>
                    <a:gd name="connsiteX580" fmla="*/ 74011 w 1517794"/>
                    <a:gd name="connsiteY580" fmla="*/ 760682 h 1262136"/>
                    <a:gd name="connsiteX581" fmla="*/ 72396 w 1517794"/>
                    <a:gd name="connsiteY581" fmla="*/ 748393 h 1262136"/>
                    <a:gd name="connsiteX582" fmla="*/ 70793 w 1517794"/>
                    <a:gd name="connsiteY582" fmla="*/ 746342 h 1262136"/>
                    <a:gd name="connsiteX583" fmla="*/ 68158 w 1517794"/>
                    <a:gd name="connsiteY583" fmla="*/ 744969 h 1262136"/>
                    <a:gd name="connsiteX584" fmla="*/ 62330 w 1517794"/>
                    <a:gd name="connsiteY584" fmla="*/ 743694 h 1262136"/>
                    <a:gd name="connsiteX585" fmla="*/ 60181 w 1517794"/>
                    <a:gd name="connsiteY585" fmla="*/ 742711 h 1262136"/>
                    <a:gd name="connsiteX586" fmla="*/ 58286 w 1517794"/>
                    <a:gd name="connsiteY586" fmla="*/ 740938 h 1262136"/>
                    <a:gd name="connsiteX587" fmla="*/ 57752 w 1517794"/>
                    <a:gd name="connsiteY587" fmla="*/ 740355 h 1262136"/>
                    <a:gd name="connsiteX588" fmla="*/ 56938 w 1517794"/>
                    <a:gd name="connsiteY588" fmla="*/ 737003 h 1262136"/>
                    <a:gd name="connsiteX589" fmla="*/ 55335 w 1517794"/>
                    <a:gd name="connsiteY589" fmla="*/ 726694 h 1262136"/>
                    <a:gd name="connsiteX590" fmla="*/ 54255 w 1517794"/>
                    <a:gd name="connsiteY590" fmla="*/ 724241 h 1262136"/>
                    <a:gd name="connsiteX591" fmla="*/ 53696 w 1517794"/>
                    <a:gd name="connsiteY591" fmla="*/ 723416 h 1262136"/>
                    <a:gd name="connsiteX592" fmla="*/ 52579 w 1517794"/>
                    <a:gd name="connsiteY592" fmla="*/ 722517 h 1262136"/>
                    <a:gd name="connsiteX593" fmla="*/ 51559 w 1517794"/>
                    <a:gd name="connsiteY593" fmla="*/ 721254 h 1262136"/>
                    <a:gd name="connsiteX594" fmla="*/ 50369 w 1517794"/>
                    <a:gd name="connsiteY594" fmla="*/ 718971 h 1262136"/>
                    <a:gd name="connsiteX595" fmla="*/ 49215 w 1517794"/>
                    <a:gd name="connsiteY595" fmla="*/ 715146 h 1262136"/>
                    <a:gd name="connsiteX596" fmla="*/ 47649 w 1517794"/>
                    <a:gd name="connsiteY596" fmla="*/ 712183 h 1262136"/>
                    <a:gd name="connsiteX597" fmla="*/ 47175 w 1517794"/>
                    <a:gd name="connsiteY597" fmla="*/ 711613 h 1262136"/>
                    <a:gd name="connsiteX598" fmla="*/ 46762 w 1517794"/>
                    <a:gd name="connsiteY598" fmla="*/ 710690 h 1262136"/>
                    <a:gd name="connsiteX599" fmla="*/ 46131 w 1517794"/>
                    <a:gd name="connsiteY599" fmla="*/ 706901 h 1262136"/>
                    <a:gd name="connsiteX600" fmla="*/ 49398 w 1517794"/>
                    <a:gd name="connsiteY600" fmla="*/ 702445 h 1262136"/>
                    <a:gd name="connsiteX601" fmla="*/ 53053 w 1517794"/>
                    <a:gd name="connsiteY601" fmla="*/ 703841 h 1262136"/>
                    <a:gd name="connsiteX602" fmla="*/ 54534 w 1517794"/>
                    <a:gd name="connsiteY602" fmla="*/ 704995 h 1262136"/>
                    <a:gd name="connsiteX603" fmla="*/ 54327 w 1517794"/>
                    <a:gd name="connsiteY603" fmla="*/ 697126 h 1262136"/>
                    <a:gd name="connsiteX604" fmla="*/ 52530 w 1517794"/>
                    <a:gd name="connsiteY604" fmla="*/ 688747 h 1262136"/>
                    <a:gd name="connsiteX605" fmla="*/ 52652 w 1517794"/>
                    <a:gd name="connsiteY605" fmla="*/ 687072 h 1262136"/>
                    <a:gd name="connsiteX606" fmla="*/ 52955 w 1517794"/>
                    <a:gd name="connsiteY606" fmla="*/ 685518 h 1262136"/>
                    <a:gd name="connsiteX607" fmla="*/ 53465 w 1517794"/>
                    <a:gd name="connsiteY607" fmla="*/ 684060 h 1262136"/>
                    <a:gd name="connsiteX608" fmla="*/ 54959 w 1517794"/>
                    <a:gd name="connsiteY608" fmla="*/ 681183 h 1262136"/>
                    <a:gd name="connsiteX609" fmla="*/ 57011 w 1517794"/>
                    <a:gd name="connsiteY609" fmla="*/ 678790 h 1262136"/>
                    <a:gd name="connsiteX610" fmla="*/ 59355 w 1517794"/>
                    <a:gd name="connsiteY610" fmla="*/ 677127 h 1262136"/>
                    <a:gd name="connsiteX611" fmla="*/ 62099 w 1517794"/>
                    <a:gd name="connsiteY611" fmla="*/ 676228 h 1262136"/>
                    <a:gd name="connsiteX612" fmla="*/ 64770 w 1517794"/>
                    <a:gd name="connsiteY612" fmla="*/ 676204 h 1262136"/>
                    <a:gd name="connsiteX613" fmla="*/ 67090 w 1517794"/>
                    <a:gd name="connsiteY613" fmla="*/ 676738 h 1262136"/>
                    <a:gd name="connsiteX614" fmla="*/ 67976 w 1517794"/>
                    <a:gd name="connsiteY614" fmla="*/ 677066 h 1262136"/>
                    <a:gd name="connsiteX615" fmla="*/ 67199 w 1517794"/>
                    <a:gd name="connsiteY615" fmla="*/ 674844 h 1262136"/>
                    <a:gd name="connsiteX616" fmla="*/ 64904 w 1517794"/>
                    <a:gd name="connsiteY616" fmla="*/ 671043 h 1262136"/>
                    <a:gd name="connsiteX617" fmla="*/ 62609 w 1517794"/>
                    <a:gd name="connsiteY617" fmla="*/ 666137 h 1262136"/>
                    <a:gd name="connsiteX618" fmla="*/ 62463 w 1517794"/>
                    <a:gd name="connsiteY618" fmla="*/ 666538 h 1262136"/>
                    <a:gd name="connsiteX619" fmla="*/ 60751 w 1517794"/>
                    <a:gd name="connsiteY619" fmla="*/ 665785 h 1262136"/>
                    <a:gd name="connsiteX620" fmla="*/ 58845 w 1517794"/>
                    <a:gd name="connsiteY620" fmla="*/ 664413 h 1262136"/>
                    <a:gd name="connsiteX621" fmla="*/ 57934 w 1517794"/>
                    <a:gd name="connsiteY621" fmla="*/ 661025 h 1262136"/>
                    <a:gd name="connsiteX622" fmla="*/ 57388 w 1517794"/>
                    <a:gd name="connsiteY622" fmla="*/ 656714 h 1262136"/>
                    <a:gd name="connsiteX623" fmla="*/ 58371 w 1517794"/>
                    <a:gd name="connsiteY623" fmla="*/ 647644 h 1262136"/>
                    <a:gd name="connsiteX624" fmla="*/ 58347 w 1517794"/>
                    <a:gd name="connsiteY624" fmla="*/ 642653 h 1262136"/>
                    <a:gd name="connsiteX625" fmla="*/ 59197 w 1517794"/>
                    <a:gd name="connsiteY625" fmla="*/ 640771 h 1262136"/>
                    <a:gd name="connsiteX626" fmla="*/ 58857 w 1517794"/>
                    <a:gd name="connsiteY626" fmla="*/ 637638 h 1262136"/>
                    <a:gd name="connsiteX627" fmla="*/ 67066 w 1517794"/>
                    <a:gd name="connsiteY627" fmla="*/ 627584 h 1262136"/>
                    <a:gd name="connsiteX628" fmla="*/ 81115 w 1517794"/>
                    <a:gd name="connsiteY628" fmla="*/ 619229 h 1262136"/>
                    <a:gd name="connsiteX629" fmla="*/ 85256 w 1517794"/>
                    <a:gd name="connsiteY629" fmla="*/ 617748 h 1262136"/>
                    <a:gd name="connsiteX630" fmla="*/ 97678 w 1517794"/>
                    <a:gd name="connsiteY630" fmla="*/ 615854 h 1262136"/>
                    <a:gd name="connsiteX631" fmla="*/ 100374 w 1517794"/>
                    <a:gd name="connsiteY631" fmla="*/ 616193 h 1262136"/>
                    <a:gd name="connsiteX632" fmla="*/ 104478 w 1517794"/>
                    <a:gd name="connsiteY632" fmla="*/ 618185 h 1262136"/>
                    <a:gd name="connsiteX633" fmla="*/ 106081 w 1517794"/>
                    <a:gd name="connsiteY633" fmla="*/ 618707 h 1262136"/>
                    <a:gd name="connsiteX634" fmla="*/ 113427 w 1517794"/>
                    <a:gd name="connsiteY634" fmla="*/ 619533 h 1262136"/>
                    <a:gd name="connsiteX635" fmla="*/ 136560 w 1517794"/>
                    <a:gd name="connsiteY635" fmla="*/ 619739 h 1262136"/>
                    <a:gd name="connsiteX636" fmla="*/ 137750 w 1517794"/>
                    <a:gd name="connsiteY636" fmla="*/ 620115 h 1262136"/>
                    <a:gd name="connsiteX637" fmla="*/ 138005 w 1517794"/>
                    <a:gd name="connsiteY637" fmla="*/ 620140 h 1262136"/>
                    <a:gd name="connsiteX638" fmla="*/ 138940 w 1517794"/>
                    <a:gd name="connsiteY638" fmla="*/ 618877 h 1262136"/>
                    <a:gd name="connsiteX639" fmla="*/ 141611 w 1517794"/>
                    <a:gd name="connsiteY639" fmla="*/ 616108 h 1262136"/>
                    <a:gd name="connsiteX640" fmla="*/ 141647 w 1517794"/>
                    <a:gd name="connsiteY640" fmla="*/ 614044 h 1262136"/>
                    <a:gd name="connsiteX641" fmla="*/ 149164 w 1517794"/>
                    <a:gd name="connsiteY641" fmla="*/ 614032 h 1262136"/>
                    <a:gd name="connsiteX642" fmla="*/ 152248 w 1517794"/>
                    <a:gd name="connsiteY642" fmla="*/ 613971 h 1262136"/>
                    <a:gd name="connsiteX643" fmla="*/ 152248 w 1517794"/>
                    <a:gd name="connsiteY643" fmla="*/ 616412 h 1262136"/>
                    <a:gd name="connsiteX644" fmla="*/ 152795 w 1517794"/>
                    <a:gd name="connsiteY644" fmla="*/ 616995 h 1262136"/>
                    <a:gd name="connsiteX645" fmla="*/ 153705 w 1517794"/>
                    <a:gd name="connsiteY645" fmla="*/ 617699 h 1262136"/>
                    <a:gd name="connsiteX646" fmla="*/ 153997 w 1517794"/>
                    <a:gd name="connsiteY646" fmla="*/ 619229 h 1262136"/>
                    <a:gd name="connsiteX647" fmla="*/ 154179 w 1517794"/>
                    <a:gd name="connsiteY647" fmla="*/ 620735 h 1262136"/>
                    <a:gd name="connsiteX648" fmla="*/ 153960 w 1517794"/>
                    <a:gd name="connsiteY648" fmla="*/ 623455 h 1262136"/>
                    <a:gd name="connsiteX649" fmla="*/ 153584 w 1517794"/>
                    <a:gd name="connsiteY649" fmla="*/ 625143 h 1262136"/>
                    <a:gd name="connsiteX650" fmla="*/ 154762 w 1517794"/>
                    <a:gd name="connsiteY650" fmla="*/ 625386 h 1262136"/>
                    <a:gd name="connsiteX651" fmla="*/ 157810 w 1517794"/>
                    <a:gd name="connsiteY651" fmla="*/ 625859 h 1262136"/>
                    <a:gd name="connsiteX652" fmla="*/ 161793 w 1517794"/>
                    <a:gd name="connsiteY652" fmla="*/ 626114 h 1262136"/>
                    <a:gd name="connsiteX653" fmla="*/ 163918 w 1517794"/>
                    <a:gd name="connsiteY653" fmla="*/ 626576 h 1262136"/>
                    <a:gd name="connsiteX654" fmla="*/ 165035 w 1517794"/>
                    <a:gd name="connsiteY654" fmla="*/ 627001 h 1262136"/>
                    <a:gd name="connsiteX655" fmla="*/ 166128 w 1517794"/>
                    <a:gd name="connsiteY655" fmla="*/ 626818 h 1262136"/>
                    <a:gd name="connsiteX656" fmla="*/ 166941 w 1517794"/>
                    <a:gd name="connsiteY656" fmla="*/ 626418 h 1262136"/>
                    <a:gd name="connsiteX657" fmla="*/ 168216 w 1517794"/>
                    <a:gd name="connsiteY657" fmla="*/ 625908 h 1262136"/>
                    <a:gd name="connsiteX658" fmla="*/ 171179 w 1517794"/>
                    <a:gd name="connsiteY658" fmla="*/ 627426 h 1262136"/>
                    <a:gd name="connsiteX659" fmla="*/ 172345 w 1517794"/>
                    <a:gd name="connsiteY659" fmla="*/ 628446 h 1262136"/>
                    <a:gd name="connsiteX660" fmla="*/ 173450 w 1517794"/>
                    <a:gd name="connsiteY660" fmla="*/ 629199 h 1262136"/>
                    <a:gd name="connsiteX661" fmla="*/ 176522 w 1517794"/>
                    <a:gd name="connsiteY661" fmla="*/ 632696 h 1262136"/>
                    <a:gd name="connsiteX662" fmla="*/ 178477 w 1517794"/>
                    <a:gd name="connsiteY662" fmla="*/ 633011 h 1262136"/>
                    <a:gd name="connsiteX663" fmla="*/ 182715 w 1517794"/>
                    <a:gd name="connsiteY663" fmla="*/ 633449 h 1262136"/>
                    <a:gd name="connsiteX664" fmla="*/ 183650 w 1517794"/>
                    <a:gd name="connsiteY664" fmla="*/ 632756 h 1262136"/>
                    <a:gd name="connsiteX665" fmla="*/ 185617 w 1517794"/>
                    <a:gd name="connsiteY665" fmla="*/ 631785 h 1262136"/>
                    <a:gd name="connsiteX666" fmla="*/ 188398 w 1517794"/>
                    <a:gd name="connsiteY666" fmla="*/ 630898 h 1262136"/>
                    <a:gd name="connsiteX667" fmla="*/ 190826 w 1517794"/>
                    <a:gd name="connsiteY667" fmla="*/ 631396 h 1262136"/>
                    <a:gd name="connsiteX668" fmla="*/ 192599 w 1517794"/>
                    <a:gd name="connsiteY668" fmla="*/ 632028 h 1262136"/>
                    <a:gd name="connsiteX669" fmla="*/ 194287 w 1517794"/>
                    <a:gd name="connsiteY669" fmla="*/ 632938 h 1262136"/>
                    <a:gd name="connsiteX670" fmla="*/ 195526 w 1517794"/>
                    <a:gd name="connsiteY670" fmla="*/ 633145 h 1262136"/>
                    <a:gd name="connsiteX671" fmla="*/ 196521 w 1517794"/>
                    <a:gd name="connsiteY671" fmla="*/ 632890 h 1262136"/>
                    <a:gd name="connsiteX672" fmla="*/ 197189 w 1517794"/>
                    <a:gd name="connsiteY672" fmla="*/ 632829 h 1262136"/>
                    <a:gd name="connsiteX673" fmla="*/ 199642 w 1517794"/>
                    <a:gd name="connsiteY673" fmla="*/ 633716 h 1262136"/>
                    <a:gd name="connsiteX674" fmla="*/ 201561 w 1517794"/>
                    <a:gd name="connsiteY674" fmla="*/ 634614 h 1262136"/>
                    <a:gd name="connsiteX675" fmla="*/ 204524 w 1517794"/>
                    <a:gd name="connsiteY675" fmla="*/ 635124 h 1262136"/>
                    <a:gd name="connsiteX676" fmla="*/ 205349 w 1517794"/>
                    <a:gd name="connsiteY676" fmla="*/ 634796 h 1262136"/>
                    <a:gd name="connsiteX677" fmla="*/ 206624 w 1517794"/>
                    <a:gd name="connsiteY677" fmla="*/ 634396 h 1262136"/>
                    <a:gd name="connsiteX678" fmla="*/ 207401 w 1517794"/>
                    <a:gd name="connsiteY678" fmla="*/ 633849 h 1262136"/>
                    <a:gd name="connsiteX679" fmla="*/ 210692 w 1517794"/>
                    <a:gd name="connsiteY679" fmla="*/ 632999 h 1262136"/>
                    <a:gd name="connsiteX680" fmla="*/ 211457 w 1517794"/>
                    <a:gd name="connsiteY680" fmla="*/ 633242 h 1262136"/>
                    <a:gd name="connsiteX681" fmla="*/ 212805 w 1517794"/>
                    <a:gd name="connsiteY681" fmla="*/ 633376 h 1262136"/>
                    <a:gd name="connsiteX682" fmla="*/ 214699 w 1517794"/>
                    <a:gd name="connsiteY682" fmla="*/ 630498 h 1262136"/>
                    <a:gd name="connsiteX683" fmla="*/ 217929 w 1517794"/>
                    <a:gd name="connsiteY683" fmla="*/ 629186 h 1262136"/>
                    <a:gd name="connsiteX684" fmla="*/ 221366 w 1517794"/>
                    <a:gd name="connsiteY684" fmla="*/ 629283 h 1262136"/>
                    <a:gd name="connsiteX685" fmla="*/ 225725 w 1517794"/>
                    <a:gd name="connsiteY685" fmla="*/ 631749 h 1262136"/>
                    <a:gd name="connsiteX686" fmla="*/ 229295 w 1517794"/>
                    <a:gd name="connsiteY686" fmla="*/ 633182 h 1262136"/>
                    <a:gd name="connsiteX687" fmla="*/ 231408 w 1517794"/>
                    <a:gd name="connsiteY687" fmla="*/ 633303 h 1262136"/>
                    <a:gd name="connsiteX688" fmla="*/ 234432 w 1517794"/>
                    <a:gd name="connsiteY688" fmla="*/ 633060 h 1262136"/>
                    <a:gd name="connsiteX689" fmla="*/ 237637 w 1517794"/>
                    <a:gd name="connsiteY689" fmla="*/ 633546 h 1262136"/>
                    <a:gd name="connsiteX690" fmla="*/ 240212 w 1517794"/>
                    <a:gd name="connsiteY690" fmla="*/ 635246 h 1262136"/>
                    <a:gd name="connsiteX691" fmla="*/ 241511 w 1517794"/>
                    <a:gd name="connsiteY691" fmla="*/ 632368 h 1262136"/>
                    <a:gd name="connsiteX692" fmla="*/ 242264 w 1517794"/>
                    <a:gd name="connsiteY692" fmla="*/ 630231 h 1262136"/>
                    <a:gd name="connsiteX693" fmla="*/ 244692 w 1517794"/>
                    <a:gd name="connsiteY693" fmla="*/ 629016 h 1262136"/>
                    <a:gd name="connsiteX694" fmla="*/ 245676 w 1517794"/>
                    <a:gd name="connsiteY694" fmla="*/ 628154 h 1262136"/>
                    <a:gd name="connsiteX695" fmla="*/ 247194 w 1517794"/>
                    <a:gd name="connsiteY695" fmla="*/ 627936 h 1262136"/>
                    <a:gd name="connsiteX696" fmla="*/ 249732 w 1517794"/>
                    <a:gd name="connsiteY696" fmla="*/ 628166 h 1262136"/>
                    <a:gd name="connsiteX697" fmla="*/ 251250 w 1517794"/>
                    <a:gd name="connsiteY697" fmla="*/ 629903 h 1262136"/>
                    <a:gd name="connsiteX698" fmla="*/ 251954 w 1517794"/>
                    <a:gd name="connsiteY698" fmla="*/ 631736 h 1262136"/>
                    <a:gd name="connsiteX699" fmla="*/ 252039 w 1517794"/>
                    <a:gd name="connsiteY699" fmla="*/ 634262 h 1262136"/>
                    <a:gd name="connsiteX700" fmla="*/ 252743 w 1517794"/>
                    <a:gd name="connsiteY700" fmla="*/ 634396 h 1262136"/>
                    <a:gd name="connsiteX701" fmla="*/ 255148 w 1517794"/>
                    <a:gd name="connsiteY701" fmla="*/ 639581 h 1262136"/>
                    <a:gd name="connsiteX702" fmla="*/ 261680 w 1517794"/>
                    <a:gd name="connsiteY702" fmla="*/ 642568 h 1262136"/>
                    <a:gd name="connsiteX703" fmla="*/ 262081 w 1517794"/>
                    <a:gd name="connsiteY703" fmla="*/ 642434 h 1262136"/>
                    <a:gd name="connsiteX704" fmla="*/ 261838 w 1517794"/>
                    <a:gd name="connsiteY704" fmla="*/ 638646 h 1262136"/>
                    <a:gd name="connsiteX705" fmla="*/ 266890 w 1517794"/>
                    <a:gd name="connsiteY705" fmla="*/ 637990 h 1262136"/>
                    <a:gd name="connsiteX706" fmla="*/ 269816 w 1517794"/>
                    <a:gd name="connsiteY706" fmla="*/ 638063 h 1262136"/>
                    <a:gd name="connsiteX707" fmla="*/ 270229 w 1517794"/>
                    <a:gd name="connsiteY707" fmla="*/ 638209 h 1262136"/>
                    <a:gd name="connsiteX708" fmla="*/ 270326 w 1517794"/>
                    <a:gd name="connsiteY708" fmla="*/ 637529 h 1262136"/>
                    <a:gd name="connsiteX709" fmla="*/ 271358 w 1517794"/>
                    <a:gd name="connsiteY709" fmla="*/ 635246 h 1262136"/>
                    <a:gd name="connsiteX710" fmla="*/ 272220 w 1517794"/>
                    <a:gd name="connsiteY710" fmla="*/ 633959 h 1262136"/>
                    <a:gd name="connsiteX711" fmla="*/ 271820 w 1517794"/>
                    <a:gd name="connsiteY711" fmla="*/ 632683 h 1262136"/>
                    <a:gd name="connsiteX712" fmla="*/ 272136 w 1517794"/>
                    <a:gd name="connsiteY712" fmla="*/ 630753 h 1262136"/>
                    <a:gd name="connsiteX713" fmla="*/ 273313 w 1517794"/>
                    <a:gd name="connsiteY713" fmla="*/ 628968 h 1262136"/>
                    <a:gd name="connsiteX714" fmla="*/ 276398 w 1517794"/>
                    <a:gd name="connsiteY714" fmla="*/ 626697 h 1262136"/>
                    <a:gd name="connsiteX715" fmla="*/ 278377 w 1517794"/>
                    <a:gd name="connsiteY715" fmla="*/ 625555 h 1262136"/>
                    <a:gd name="connsiteX716" fmla="*/ 283222 w 1517794"/>
                    <a:gd name="connsiteY716" fmla="*/ 624074 h 1262136"/>
                    <a:gd name="connsiteX717" fmla="*/ 283720 w 1517794"/>
                    <a:gd name="connsiteY717" fmla="*/ 623759 h 1262136"/>
                    <a:gd name="connsiteX718" fmla="*/ 283938 w 1517794"/>
                    <a:gd name="connsiteY718" fmla="*/ 623418 h 1262136"/>
                    <a:gd name="connsiteX719" fmla="*/ 284096 w 1517794"/>
                    <a:gd name="connsiteY719" fmla="*/ 622155 h 1262136"/>
                    <a:gd name="connsiteX720" fmla="*/ 284752 w 1517794"/>
                    <a:gd name="connsiteY720" fmla="*/ 619326 h 1262136"/>
                    <a:gd name="connsiteX721" fmla="*/ 284983 w 1517794"/>
                    <a:gd name="connsiteY721" fmla="*/ 616946 h 1262136"/>
                    <a:gd name="connsiteX722" fmla="*/ 285857 w 1517794"/>
                    <a:gd name="connsiteY722" fmla="*/ 616169 h 1262136"/>
                    <a:gd name="connsiteX723" fmla="*/ 285808 w 1517794"/>
                    <a:gd name="connsiteY723" fmla="*/ 615829 h 1262136"/>
                    <a:gd name="connsiteX724" fmla="*/ 286925 w 1517794"/>
                    <a:gd name="connsiteY724" fmla="*/ 613012 h 1262136"/>
                    <a:gd name="connsiteX725" fmla="*/ 286792 w 1517794"/>
                    <a:gd name="connsiteY725" fmla="*/ 611761 h 1262136"/>
                    <a:gd name="connsiteX726" fmla="*/ 285043 w 1517794"/>
                    <a:gd name="connsiteY726" fmla="*/ 606686 h 1262136"/>
                    <a:gd name="connsiteX727" fmla="*/ 287800 w 1517794"/>
                    <a:gd name="connsiteY727" fmla="*/ 603771 h 1262136"/>
                    <a:gd name="connsiteX728" fmla="*/ 291491 w 1517794"/>
                    <a:gd name="connsiteY728" fmla="*/ 602520 h 1262136"/>
                    <a:gd name="connsiteX729" fmla="*/ 294697 w 1517794"/>
                    <a:gd name="connsiteY729" fmla="*/ 603273 h 1262136"/>
                    <a:gd name="connsiteX730" fmla="*/ 297016 w 1517794"/>
                    <a:gd name="connsiteY730" fmla="*/ 604002 h 1262136"/>
                    <a:gd name="connsiteX731" fmla="*/ 299068 w 1517794"/>
                    <a:gd name="connsiteY731" fmla="*/ 603844 h 1262136"/>
                    <a:gd name="connsiteX732" fmla="*/ 299627 w 1517794"/>
                    <a:gd name="connsiteY732" fmla="*/ 603213 h 1262136"/>
                    <a:gd name="connsiteX733" fmla="*/ 300926 w 1517794"/>
                    <a:gd name="connsiteY733" fmla="*/ 601500 h 1262136"/>
                    <a:gd name="connsiteX734" fmla="*/ 303962 w 1517794"/>
                    <a:gd name="connsiteY734" fmla="*/ 599327 h 1262136"/>
                    <a:gd name="connsiteX735" fmla="*/ 306998 w 1517794"/>
                    <a:gd name="connsiteY735" fmla="*/ 598902 h 1262136"/>
                    <a:gd name="connsiteX736" fmla="*/ 309596 w 1517794"/>
                    <a:gd name="connsiteY736" fmla="*/ 597979 h 1262136"/>
                    <a:gd name="connsiteX737" fmla="*/ 311369 w 1517794"/>
                    <a:gd name="connsiteY737" fmla="*/ 596291 h 1262136"/>
                    <a:gd name="connsiteX738" fmla="*/ 316008 w 1517794"/>
                    <a:gd name="connsiteY738" fmla="*/ 594105 h 1262136"/>
                    <a:gd name="connsiteX739" fmla="*/ 319699 w 1517794"/>
                    <a:gd name="connsiteY739" fmla="*/ 593474 h 1262136"/>
                    <a:gd name="connsiteX740" fmla="*/ 325904 w 1517794"/>
                    <a:gd name="connsiteY740" fmla="*/ 593850 h 1262136"/>
                    <a:gd name="connsiteX741" fmla="*/ 334562 w 1517794"/>
                    <a:gd name="connsiteY741" fmla="*/ 595380 h 1262136"/>
                    <a:gd name="connsiteX742" fmla="*/ 339638 w 1517794"/>
                    <a:gd name="connsiteY742" fmla="*/ 596959 h 1262136"/>
                    <a:gd name="connsiteX743" fmla="*/ 341715 w 1517794"/>
                    <a:gd name="connsiteY743" fmla="*/ 597457 h 1262136"/>
                    <a:gd name="connsiteX744" fmla="*/ 344180 w 1517794"/>
                    <a:gd name="connsiteY744" fmla="*/ 598526 h 1262136"/>
                    <a:gd name="connsiteX745" fmla="*/ 344884 w 1517794"/>
                    <a:gd name="connsiteY745" fmla="*/ 598501 h 1262136"/>
                    <a:gd name="connsiteX746" fmla="*/ 345564 w 1517794"/>
                    <a:gd name="connsiteY746" fmla="*/ 598016 h 1262136"/>
                    <a:gd name="connsiteX747" fmla="*/ 347118 w 1517794"/>
                    <a:gd name="connsiteY747" fmla="*/ 596643 h 1262136"/>
                    <a:gd name="connsiteX748" fmla="*/ 349850 w 1517794"/>
                    <a:gd name="connsiteY748" fmla="*/ 593620 h 1262136"/>
                    <a:gd name="connsiteX749" fmla="*/ 352777 w 1517794"/>
                    <a:gd name="connsiteY749" fmla="*/ 591046 h 1262136"/>
                    <a:gd name="connsiteX750" fmla="*/ 356990 w 1517794"/>
                    <a:gd name="connsiteY750" fmla="*/ 590305 h 1262136"/>
                    <a:gd name="connsiteX751" fmla="*/ 361435 w 1517794"/>
                    <a:gd name="connsiteY751" fmla="*/ 592078 h 1262136"/>
                    <a:gd name="connsiteX752" fmla="*/ 364203 w 1517794"/>
                    <a:gd name="connsiteY752" fmla="*/ 594275 h 1262136"/>
                    <a:gd name="connsiteX753" fmla="*/ 366474 w 1517794"/>
                    <a:gd name="connsiteY753" fmla="*/ 596595 h 1262136"/>
                    <a:gd name="connsiteX754" fmla="*/ 368793 w 1517794"/>
                    <a:gd name="connsiteY754" fmla="*/ 599922 h 1262136"/>
                    <a:gd name="connsiteX755" fmla="*/ 369728 w 1517794"/>
                    <a:gd name="connsiteY755" fmla="*/ 600881 h 1262136"/>
                    <a:gd name="connsiteX756" fmla="*/ 371501 w 1517794"/>
                    <a:gd name="connsiteY756" fmla="*/ 602193 h 1262136"/>
                    <a:gd name="connsiteX757" fmla="*/ 376140 w 1517794"/>
                    <a:gd name="connsiteY757" fmla="*/ 604560 h 1262136"/>
                    <a:gd name="connsiteX758" fmla="*/ 377852 w 1517794"/>
                    <a:gd name="connsiteY758" fmla="*/ 604998 h 1262136"/>
                    <a:gd name="connsiteX759" fmla="*/ 379892 w 1517794"/>
                    <a:gd name="connsiteY759" fmla="*/ 605289 h 1262136"/>
                    <a:gd name="connsiteX760" fmla="*/ 382248 w 1517794"/>
                    <a:gd name="connsiteY760" fmla="*/ 605253 h 1262136"/>
                    <a:gd name="connsiteX761" fmla="*/ 385138 w 1517794"/>
                    <a:gd name="connsiteY761" fmla="*/ 604864 h 1262136"/>
                    <a:gd name="connsiteX762" fmla="*/ 387396 w 1517794"/>
                    <a:gd name="connsiteY762" fmla="*/ 603492 h 1262136"/>
                    <a:gd name="connsiteX763" fmla="*/ 390493 w 1517794"/>
                    <a:gd name="connsiteY763" fmla="*/ 601088 h 1262136"/>
                    <a:gd name="connsiteX764" fmla="*/ 392472 w 1517794"/>
                    <a:gd name="connsiteY764" fmla="*/ 598550 h 1262136"/>
                    <a:gd name="connsiteX765" fmla="*/ 394949 w 1517794"/>
                    <a:gd name="connsiteY765" fmla="*/ 594154 h 1262136"/>
                    <a:gd name="connsiteX766" fmla="*/ 395326 w 1517794"/>
                    <a:gd name="connsiteY766" fmla="*/ 593097 h 1262136"/>
                    <a:gd name="connsiteX767" fmla="*/ 395010 w 1517794"/>
                    <a:gd name="connsiteY767" fmla="*/ 591956 h 1262136"/>
                    <a:gd name="connsiteX768" fmla="*/ 394391 w 1517794"/>
                    <a:gd name="connsiteY768" fmla="*/ 590523 h 1262136"/>
                    <a:gd name="connsiteX769" fmla="*/ 393686 w 1517794"/>
                    <a:gd name="connsiteY769" fmla="*/ 587524 h 1262136"/>
                    <a:gd name="connsiteX770" fmla="*/ 393504 w 1517794"/>
                    <a:gd name="connsiteY770" fmla="*/ 585302 h 1262136"/>
                    <a:gd name="connsiteX771" fmla="*/ 394002 w 1517794"/>
                    <a:gd name="connsiteY771" fmla="*/ 581683 h 1262136"/>
                    <a:gd name="connsiteX772" fmla="*/ 395969 w 1517794"/>
                    <a:gd name="connsiteY772" fmla="*/ 580019 h 1262136"/>
                    <a:gd name="connsiteX773" fmla="*/ 399078 w 1517794"/>
                    <a:gd name="connsiteY773" fmla="*/ 578708 h 1262136"/>
                    <a:gd name="connsiteX774" fmla="*/ 402587 w 1517794"/>
                    <a:gd name="connsiteY774" fmla="*/ 579012 h 1262136"/>
                    <a:gd name="connsiteX775" fmla="*/ 405161 w 1517794"/>
                    <a:gd name="connsiteY775" fmla="*/ 581234 h 1262136"/>
                    <a:gd name="connsiteX776" fmla="*/ 406036 w 1517794"/>
                    <a:gd name="connsiteY776" fmla="*/ 583784 h 1262136"/>
                    <a:gd name="connsiteX777" fmla="*/ 406485 w 1517794"/>
                    <a:gd name="connsiteY777" fmla="*/ 585824 h 1262136"/>
                    <a:gd name="connsiteX778" fmla="*/ 406813 w 1517794"/>
                    <a:gd name="connsiteY778" fmla="*/ 588751 h 1262136"/>
                    <a:gd name="connsiteX779" fmla="*/ 407019 w 1517794"/>
                    <a:gd name="connsiteY779" fmla="*/ 589442 h 1262136"/>
                    <a:gd name="connsiteX780" fmla="*/ 408525 w 1517794"/>
                    <a:gd name="connsiteY780" fmla="*/ 590535 h 1262136"/>
                    <a:gd name="connsiteX781" fmla="*/ 408719 w 1517794"/>
                    <a:gd name="connsiteY781" fmla="*/ 590547 h 1262136"/>
                    <a:gd name="connsiteX782" fmla="*/ 409557 w 1517794"/>
                    <a:gd name="connsiteY782" fmla="*/ 589867 h 1262136"/>
                    <a:gd name="connsiteX783" fmla="*/ 410468 w 1517794"/>
                    <a:gd name="connsiteY783" fmla="*/ 588313 h 1262136"/>
                    <a:gd name="connsiteX784" fmla="*/ 410371 w 1517794"/>
                    <a:gd name="connsiteY784" fmla="*/ 587002 h 1262136"/>
                    <a:gd name="connsiteX785" fmla="*/ 407505 w 1517794"/>
                    <a:gd name="connsiteY785" fmla="*/ 581428 h 1262136"/>
                    <a:gd name="connsiteX786" fmla="*/ 407505 w 1517794"/>
                    <a:gd name="connsiteY786" fmla="*/ 577482 h 1262136"/>
                    <a:gd name="connsiteX787" fmla="*/ 408331 w 1517794"/>
                    <a:gd name="connsiteY787" fmla="*/ 573875 h 1262136"/>
                    <a:gd name="connsiteX788" fmla="*/ 412629 w 1517794"/>
                    <a:gd name="connsiteY788" fmla="*/ 571082 h 1262136"/>
                    <a:gd name="connsiteX789" fmla="*/ 415811 w 1517794"/>
                    <a:gd name="connsiteY789" fmla="*/ 569467 h 1262136"/>
                    <a:gd name="connsiteX790" fmla="*/ 419381 w 1517794"/>
                    <a:gd name="connsiteY790" fmla="*/ 567998 h 1262136"/>
                    <a:gd name="connsiteX791" fmla="*/ 423169 w 1517794"/>
                    <a:gd name="connsiteY791" fmla="*/ 566747 h 1262136"/>
                    <a:gd name="connsiteX792" fmla="*/ 425634 w 1517794"/>
                    <a:gd name="connsiteY792" fmla="*/ 565825 h 1262136"/>
                    <a:gd name="connsiteX793" fmla="*/ 428269 w 1517794"/>
                    <a:gd name="connsiteY793" fmla="*/ 563845 h 1262136"/>
                    <a:gd name="connsiteX794" fmla="*/ 430807 w 1517794"/>
                    <a:gd name="connsiteY794" fmla="*/ 562777 h 1262136"/>
                    <a:gd name="connsiteX795" fmla="*/ 433454 w 1517794"/>
                    <a:gd name="connsiteY795" fmla="*/ 562279 h 1262136"/>
                    <a:gd name="connsiteX796" fmla="*/ 436320 w 1517794"/>
                    <a:gd name="connsiteY796" fmla="*/ 562425 h 1262136"/>
                    <a:gd name="connsiteX797" fmla="*/ 438931 w 1517794"/>
                    <a:gd name="connsiteY797" fmla="*/ 562995 h 1262136"/>
                    <a:gd name="connsiteX798" fmla="*/ 441833 w 1517794"/>
                    <a:gd name="connsiteY798" fmla="*/ 563857 h 1262136"/>
                    <a:gd name="connsiteX799" fmla="*/ 451074 w 1517794"/>
                    <a:gd name="connsiteY799" fmla="*/ 563785 h 1262136"/>
                    <a:gd name="connsiteX800" fmla="*/ 454243 w 1517794"/>
                    <a:gd name="connsiteY800" fmla="*/ 564222 h 1262136"/>
                    <a:gd name="connsiteX801" fmla="*/ 456599 w 1517794"/>
                    <a:gd name="connsiteY801" fmla="*/ 566104 h 1262136"/>
                    <a:gd name="connsiteX802" fmla="*/ 457789 w 1517794"/>
                    <a:gd name="connsiteY802" fmla="*/ 566687 h 1262136"/>
                    <a:gd name="connsiteX803" fmla="*/ 459586 w 1517794"/>
                    <a:gd name="connsiteY803" fmla="*/ 567354 h 1262136"/>
                    <a:gd name="connsiteX804" fmla="*/ 460897 w 1517794"/>
                    <a:gd name="connsiteY804" fmla="*/ 567646 h 1262136"/>
                    <a:gd name="connsiteX805" fmla="*/ 462925 w 1517794"/>
                    <a:gd name="connsiteY805" fmla="*/ 566893 h 1262136"/>
                    <a:gd name="connsiteX806" fmla="*/ 465475 w 1517794"/>
                    <a:gd name="connsiteY806" fmla="*/ 565509 h 1262136"/>
                    <a:gd name="connsiteX807" fmla="*/ 467017 w 1517794"/>
                    <a:gd name="connsiteY807" fmla="*/ 564161 h 1262136"/>
                    <a:gd name="connsiteX808" fmla="*/ 467175 w 1517794"/>
                    <a:gd name="connsiteY808" fmla="*/ 563785 h 1262136"/>
                    <a:gd name="connsiteX809" fmla="*/ 468025 w 1517794"/>
                    <a:gd name="connsiteY809" fmla="*/ 554556 h 1262136"/>
                    <a:gd name="connsiteX810" fmla="*/ 467685 w 1517794"/>
                    <a:gd name="connsiteY810" fmla="*/ 548023 h 1262136"/>
                    <a:gd name="connsiteX811" fmla="*/ 467248 w 1517794"/>
                    <a:gd name="connsiteY811" fmla="*/ 546967 h 1262136"/>
                    <a:gd name="connsiteX812" fmla="*/ 464431 w 1517794"/>
                    <a:gd name="connsiteY812" fmla="*/ 543906 h 1262136"/>
                    <a:gd name="connsiteX813" fmla="*/ 464953 w 1517794"/>
                    <a:gd name="connsiteY813" fmla="*/ 540203 h 1262136"/>
                    <a:gd name="connsiteX814" fmla="*/ 464820 w 1517794"/>
                    <a:gd name="connsiteY814" fmla="*/ 537009 h 1262136"/>
                    <a:gd name="connsiteX815" fmla="*/ 465269 w 1517794"/>
                    <a:gd name="connsiteY815" fmla="*/ 532371 h 1262136"/>
                    <a:gd name="connsiteX816" fmla="*/ 466083 w 1517794"/>
                    <a:gd name="connsiteY816" fmla="*/ 527829 h 1262136"/>
                    <a:gd name="connsiteX817" fmla="*/ 468062 w 1517794"/>
                    <a:gd name="connsiteY817" fmla="*/ 523470 h 1262136"/>
                    <a:gd name="connsiteX818" fmla="*/ 469070 w 1517794"/>
                    <a:gd name="connsiteY818" fmla="*/ 522875 h 1262136"/>
                    <a:gd name="connsiteX819" fmla="*/ 469033 w 1517794"/>
                    <a:gd name="connsiteY819" fmla="*/ 522474 h 1262136"/>
                    <a:gd name="connsiteX820" fmla="*/ 468438 w 1517794"/>
                    <a:gd name="connsiteY820" fmla="*/ 521151 h 1262136"/>
                    <a:gd name="connsiteX821" fmla="*/ 466908 w 1517794"/>
                    <a:gd name="connsiteY821" fmla="*/ 518880 h 1262136"/>
                    <a:gd name="connsiteX822" fmla="*/ 467212 w 1517794"/>
                    <a:gd name="connsiteY822" fmla="*/ 514776 h 1262136"/>
                    <a:gd name="connsiteX823" fmla="*/ 468645 w 1517794"/>
                    <a:gd name="connsiteY823" fmla="*/ 511035 h 1262136"/>
                    <a:gd name="connsiteX824" fmla="*/ 474194 w 1517794"/>
                    <a:gd name="connsiteY824" fmla="*/ 505936 h 1262136"/>
                    <a:gd name="connsiteX825" fmla="*/ 475469 w 1517794"/>
                    <a:gd name="connsiteY825" fmla="*/ 502256 h 1262136"/>
                    <a:gd name="connsiteX826" fmla="*/ 480071 w 1517794"/>
                    <a:gd name="connsiteY826" fmla="*/ 501066 h 1262136"/>
                    <a:gd name="connsiteX827" fmla="*/ 482718 w 1517794"/>
                    <a:gd name="connsiteY827" fmla="*/ 500617 h 1262136"/>
                    <a:gd name="connsiteX828" fmla="*/ 486859 w 1517794"/>
                    <a:gd name="connsiteY828" fmla="*/ 499147 h 1262136"/>
                    <a:gd name="connsiteX829" fmla="*/ 489737 w 1517794"/>
                    <a:gd name="connsiteY829" fmla="*/ 498492 h 1262136"/>
                    <a:gd name="connsiteX830" fmla="*/ 492420 w 1517794"/>
                    <a:gd name="connsiteY830" fmla="*/ 498261 h 1262136"/>
                    <a:gd name="connsiteX831" fmla="*/ 503264 w 1517794"/>
                    <a:gd name="connsiteY831" fmla="*/ 498079 h 1262136"/>
                    <a:gd name="connsiteX832" fmla="*/ 507429 w 1517794"/>
                    <a:gd name="connsiteY832" fmla="*/ 497654 h 1262136"/>
                    <a:gd name="connsiteX833" fmla="*/ 508073 w 1517794"/>
                    <a:gd name="connsiteY833" fmla="*/ 497253 h 1262136"/>
                    <a:gd name="connsiteX834" fmla="*/ 508826 w 1517794"/>
                    <a:gd name="connsiteY834" fmla="*/ 496306 h 1262136"/>
                    <a:gd name="connsiteX835" fmla="*/ 509530 w 1517794"/>
                    <a:gd name="connsiteY835" fmla="*/ 494339 h 1262136"/>
                    <a:gd name="connsiteX836" fmla="*/ 509979 w 1517794"/>
                    <a:gd name="connsiteY836" fmla="*/ 493428 h 1262136"/>
                    <a:gd name="connsiteX837" fmla="*/ 514533 w 1517794"/>
                    <a:gd name="connsiteY837" fmla="*/ 491085 h 1262136"/>
                    <a:gd name="connsiteX838" fmla="*/ 519754 w 1517794"/>
                    <a:gd name="connsiteY838" fmla="*/ 488753 h 1262136"/>
                    <a:gd name="connsiteX839" fmla="*/ 523118 w 1517794"/>
                    <a:gd name="connsiteY839" fmla="*/ 487964 h 1262136"/>
                    <a:gd name="connsiteX840" fmla="*/ 528582 w 1517794"/>
                    <a:gd name="connsiteY840" fmla="*/ 488340 h 1262136"/>
                    <a:gd name="connsiteX841" fmla="*/ 530999 w 1517794"/>
                    <a:gd name="connsiteY841" fmla="*/ 487770 h 1262136"/>
                    <a:gd name="connsiteX842" fmla="*/ 532237 w 1517794"/>
                    <a:gd name="connsiteY842" fmla="*/ 487248 h 1262136"/>
                    <a:gd name="connsiteX843" fmla="*/ 533864 w 1517794"/>
                    <a:gd name="connsiteY843" fmla="*/ 486361 h 1262136"/>
                    <a:gd name="connsiteX844" fmla="*/ 535747 w 1517794"/>
                    <a:gd name="connsiteY844" fmla="*/ 485062 h 1262136"/>
                    <a:gd name="connsiteX845" fmla="*/ 538952 w 1517794"/>
                    <a:gd name="connsiteY845" fmla="*/ 482281 h 1262136"/>
                    <a:gd name="connsiteX846" fmla="*/ 543093 w 1517794"/>
                    <a:gd name="connsiteY846" fmla="*/ 481990 h 1262136"/>
                    <a:gd name="connsiteX847" fmla="*/ 547052 w 1517794"/>
                    <a:gd name="connsiteY847" fmla="*/ 482779 h 1262136"/>
                    <a:gd name="connsiteX848" fmla="*/ 547222 w 1517794"/>
                    <a:gd name="connsiteY848" fmla="*/ 482755 h 1262136"/>
                    <a:gd name="connsiteX849" fmla="*/ 547877 w 1517794"/>
                    <a:gd name="connsiteY849" fmla="*/ 481638 h 1262136"/>
                    <a:gd name="connsiteX850" fmla="*/ 551034 w 1517794"/>
                    <a:gd name="connsiteY850" fmla="*/ 478869 h 1262136"/>
                    <a:gd name="connsiteX851" fmla="*/ 554410 w 1517794"/>
                    <a:gd name="connsiteY851" fmla="*/ 477254 h 1262136"/>
                    <a:gd name="connsiteX852" fmla="*/ 562206 w 1517794"/>
                    <a:gd name="connsiteY852" fmla="*/ 476610 h 1262136"/>
                    <a:gd name="connsiteX853" fmla="*/ 563117 w 1517794"/>
                    <a:gd name="connsiteY853" fmla="*/ 476149 h 1262136"/>
                    <a:gd name="connsiteX854" fmla="*/ 566177 w 1517794"/>
                    <a:gd name="connsiteY854" fmla="*/ 472020 h 1262136"/>
                    <a:gd name="connsiteX855" fmla="*/ 569115 w 1517794"/>
                    <a:gd name="connsiteY855" fmla="*/ 470369 h 1262136"/>
                    <a:gd name="connsiteX856" fmla="*/ 573305 w 1517794"/>
                    <a:gd name="connsiteY856" fmla="*/ 469361 h 1262136"/>
                    <a:gd name="connsiteX857" fmla="*/ 576450 w 1517794"/>
                    <a:gd name="connsiteY857" fmla="*/ 471110 h 1262136"/>
                    <a:gd name="connsiteX858" fmla="*/ 580809 w 1517794"/>
                    <a:gd name="connsiteY858" fmla="*/ 476878 h 1262136"/>
                    <a:gd name="connsiteX859" fmla="*/ 582072 w 1517794"/>
                    <a:gd name="connsiteY859" fmla="*/ 476780 h 1262136"/>
                    <a:gd name="connsiteX860" fmla="*/ 584998 w 1517794"/>
                    <a:gd name="connsiteY860" fmla="*/ 475943 h 1262136"/>
                    <a:gd name="connsiteX861" fmla="*/ 589977 w 1517794"/>
                    <a:gd name="connsiteY861" fmla="*/ 475396 h 1262136"/>
                    <a:gd name="connsiteX862" fmla="*/ 593110 w 1517794"/>
                    <a:gd name="connsiteY862" fmla="*/ 478043 h 1262136"/>
                    <a:gd name="connsiteX863" fmla="*/ 595150 w 1517794"/>
                    <a:gd name="connsiteY863" fmla="*/ 481212 h 1262136"/>
                    <a:gd name="connsiteX864" fmla="*/ 597299 w 1517794"/>
                    <a:gd name="connsiteY864" fmla="*/ 486810 h 1262136"/>
                    <a:gd name="connsiteX865" fmla="*/ 598101 w 1517794"/>
                    <a:gd name="connsiteY865" fmla="*/ 487503 h 1262136"/>
                    <a:gd name="connsiteX866" fmla="*/ 599873 w 1517794"/>
                    <a:gd name="connsiteY866" fmla="*/ 488231 h 1262136"/>
                    <a:gd name="connsiteX867" fmla="*/ 601330 w 1517794"/>
                    <a:gd name="connsiteY867" fmla="*/ 488608 h 1262136"/>
                    <a:gd name="connsiteX868" fmla="*/ 602909 w 1517794"/>
                    <a:gd name="connsiteY868" fmla="*/ 488304 h 1262136"/>
                    <a:gd name="connsiteX869" fmla="*/ 605386 w 1517794"/>
                    <a:gd name="connsiteY869" fmla="*/ 486762 h 1262136"/>
                    <a:gd name="connsiteX870" fmla="*/ 607414 w 1517794"/>
                    <a:gd name="connsiteY870" fmla="*/ 484030 h 1262136"/>
                    <a:gd name="connsiteX871" fmla="*/ 610790 w 1517794"/>
                    <a:gd name="connsiteY871" fmla="*/ 477788 h 1262136"/>
                    <a:gd name="connsiteX872" fmla="*/ 613036 w 1517794"/>
                    <a:gd name="connsiteY872" fmla="*/ 475505 h 1262136"/>
                    <a:gd name="connsiteX873" fmla="*/ 616327 w 1517794"/>
                    <a:gd name="connsiteY873" fmla="*/ 473332 h 1262136"/>
                    <a:gd name="connsiteX874" fmla="*/ 618452 w 1517794"/>
                    <a:gd name="connsiteY874" fmla="*/ 470381 h 1262136"/>
                    <a:gd name="connsiteX875" fmla="*/ 620820 w 1517794"/>
                    <a:gd name="connsiteY875" fmla="*/ 468402 h 1262136"/>
                    <a:gd name="connsiteX876" fmla="*/ 621439 w 1517794"/>
                    <a:gd name="connsiteY876" fmla="*/ 464091 h 1262136"/>
                    <a:gd name="connsiteX877" fmla="*/ 622981 w 1517794"/>
                    <a:gd name="connsiteY877" fmla="*/ 461007 h 1262136"/>
                    <a:gd name="connsiteX878" fmla="*/ 623929 w 1517794"/>
                    <a:gd name="connsiteY878" fmla="*/ 457983 h 1262136"/>
                    <a:gd name="connsiteX879" fmla="*/ 620711 w 1517794"/>
                    <a:gd name="connsiteY879" fmla="*/ 456502 h 1262136"/>
                    <a:gd name="connsiteX880" fmla="*/ 619278 w 1517794"/>
                    <a:gd name="connsiteY880" fmla="*/ 454741 h 1262136"/>
                    <a:gd name="connsiteX881" fmla="*/ 618318 w 1517794"/>
                    <a:gd name="connsiteY881" fmla="*/ 452349 h 1262136"/>
                    <a:gd name="connsiteX882" fmla="*/ 618294 w 1517794"/>
                    <a:gd name="connsiteY882" fmla="*/ 451912 h 1262136"/>
                    <a:gd name="connsiteX883" fmla="*/ 617286 w 1517794"/>
                    <a:gd name="connsiteY883" fmla="*/ 451887 h 1262136"/>
                    <a:gd name="connsiteX884" fmla="*/ 612405 w 1517794"/>
                    <a:gd name="connsiteY884" fmla="*/ 449908 h 1262136"/>
                    <a:gd name="connsiteX885" fmla="*/ 610122 w 1517794"/>
                    <a:gd name="connsiteY885" fmla="*/ 448851 h 1262136"/>
                    <a:gd name="connsiteX886" fmla="*/ 610280 w 1517794"/>
                    <a:gd name="connsiteY886" fmla="*/ 446168 h 1262136"/>
                    <a:gd name="connsiteX887" fmla="*/ 610948 w 1517794"/>
                    <a:gd name="connsiteY887" fmla="*/ 443460 h 1262136"/>
                    <a:gd name="connsiteX888" fmla="*/ 612648 w 1517794"/>
                    <a:gd name="connsiteY888" fmla="*/ 440072 h 1262136"/>
                    <a:gd name="connsiteX889" fmla="*/ 613789 w 1517794"/>
                    <a:gd name="connsiteY889" fmla="*/ 437291 h 1262136"/>
                    <a:gd name="connsiteX890" fmla="*/ 615829 w 1517794"/>
                    <a:gd name="connsiteY890" fmla="*/ 434426 h 1262136"/>
                    <a:gd name="connsiteX891" fmla="*/ 618136 w 1517794"/>
                    <a:gd name="connsiteY891" fmla="*/ 432313 h 1262136"/>
                    <a:gd name="connsiteX892" fmla="*/ 619023 w 1517794"/>
                    <a:gd name="connsiteY892" fmla="*/ 431305 h 1262136"/>
                    <a:gd name="connsiteX893" fmla="*/ 621184 w 1517794"/>
                    <a:gd name="connsiteY893" fmla="*/ 424129 h 1262136"/>
                    <a:gd name="connsiteX894" fmla="*/ 627571 w 1517794"/>
                    <a:gd name="connsiteY894" fmla="*/ 424481 h 1262136"/>
                    <a:gd name="connsiteX895" fmla="*/ 628251 w 1517794"/>
                    <a:gd name="connsiteY895" fmla="*/ 422040 h 1262136"/>
                    <a:gd name="connsiteX896" fmla="*/ 629296 w 1517794"/>
                    <a:gd name="connsiteY896" fmla="*/ 419028 h 1262136"/>
                    <a:gd name="connsiteX897" fmla="*/ 634311 w 1517794"/>
                    <a:gd name="connsiteY897" fmla="*/ 421044 h 1262136"/>
                    <a:gd name="connsiteX898" fmla="*/ 635683 w 1517794"/>
                    <a:gd name="connsiteY898" fmla="*/ 420340 h 1262136"/>
                    <a:gd name="connsiteX899" fmla="*/ 636266 w 1517794"/>
                    <a:gd name="connsiteY899" fmla="*/ 420231 h 1262136"/>
                    <a:gd name="connsiteX900" fmla="*/ 637844 w 1517794"/>
                    <a:gd name="connsiteY900" fmla="*/ 420182 h 1262136"/>
                    <a:gd name="connsiteX901" fmla="*/ 638282 w 1517794"/>
                    <a:gd name="connsiteY901" fmla="*/ 420279 h 1262136"/>
                    <a:gd name="connsiteX902" fmla="*/ 638634 w 1517794"/>
                    <a:gd name="connsiteY902" fmla="*/ 418871 h 1262136"/>
                    <a:gd name="connsiteX903" fmla="*/ 640431 w 1517794"/>
                    <a:gd name="connsiteY903" fmla="*/ 417013 h 1262136"/>
                    <a:gd name="connsiteX904" fmla="*/ 643940 w 1517794"/>
                    <a:gd name="connsiteY904" fmla="*/ 413831 h 1262136"/>
                    <a:gd name="connsiteX905" fmla="*/ 643940 w 1517794"/>
                    <a:gd name="connsiteY905" fmla="*/ 413406 h 1262136"/>
                    <a:gd name="connsiteX906" fmla="*/ 647583 w 1517794"/>
                    <a:gd name="connsiteY906" fmla="*/ 408598 h 1262136"/>
                    <a:gd name="connsiteX907" fmla="*/ 653800 w 1517794"/>
                    <a:gd name="connsiteY907" fmla="*/ 410006 h 1262136"/>
                    <a:gd name="connsiteX908" fmla="*/ 654213 w 1517794"/>
                    <a:gd name="connsiteY908" fmla="*/ 413929 h 1262136"/>
                    <a:gd name="connsiteX909" fmla="*/ 656593 w 1517794"/>
                    <a:gd name="connsiteY909" fmla="*/ 413661 h 1262136"/>
                    <a:gd name="connsiteX910" fmla="*/ 659519 w 1517794"/>
                    <a:gd name="connsiteY910" fmla="*/ 416770 h 1262136"/>
                    <a:gd name="connsiteX911" fmla="*/ 660127 w 1517794"/>
                    <a:gd name="connsiteY911" fmla="*/ 416527 h 1262136"/>
                    <a:gd name="connsiteX912" fmla="*/ 664826 w 1517794"/>
                    <a:gd name="connsiteY912" fmla="*/ 415131 h 1262136"/>
                    <a:gd name="connsiteX913" fmla="*/ 668736 w 1517794"/>
                    <a:gd name="connsiteY913" fmla="*/ 420036 h 1262136"/>
                    <a:gd name="connsiteX914" fmla="*/ 671152 w 1517794"/>
                    <a:gd name="connsiteY914" fmla="*/ 423254 h 1262136"/>
                    <a:gd name="connsiteX915" fmla="*/ 673678 w 1517794"/>
                    <a:gd name="connsiteY915" fmla="*/ 427589 h 1262136"/>
                    <a:gd name="connsiteX916" fmla="*/ 674553 w 1517794"/>
                    <a:gd name="connsiteY916" fmla="*/ 431779 h 1262136"/>
                    <a:gd name="connsiteX917" fmla="*/ 675208 w 1517794"/>
                    <a:gd name="connsiteY917" fmla="*/ 434547 h 1262136"/>
                    <a:gd name="connsiteX918" fmla="*/ 676216 w 1517794"/>
                    <a:gd name="connsiteY918" fmla="*/ 435822 h 1262136"/>
                    <a:gd name="connsiteX919" fmla="*/ 678705 w 1517794"/>
                    <a:gd name="connsiteY919" fmla="*/ 439756 h 1262136"/>
                    <a:gd name="connsiteX920" fmla="*/ 676750 w 1517794"/>
                    <a:gd name="connsiteY920" fmla="*/ 440048 h 1262136"/>
                    <a:gd name="connsiteX921" fmla="*/ 676799 w 1517794"/>
                    <a:gd name="connsiteY921" fmla="*/ 440364 h 1262136"/>
                    <a:gd name="connsiteX922" fmla="*/ 676787 w 1517794"/>
                    <a:gd name="connsiteY922" fmla="*/ 442331 h 1262136"/>
                    <a:gd name="connsiteX923" fmla="*/ 676933 w 1517794"/>
                    <a:gd name="connsiteY923" fmla="*/ 442695 h 1262136"/>
                    <a:gd name="connsiteX924" fmla="*/ 678912 w 1517794"/>
                    <a:gd name="connsiteY924" fmla="*/ 443363 h 1262136"/>
                    <a:gd name="connsiteX925" fmla="*/ 681207 w 1517794"/>
                    <a:gd name="connsiteY925" fmla="*/ 444346 h 1262136"/>
                    <a:gd name="connsiteX926" fmla="*/ 680952 w 1517794"/>
                    <a:gd name="connsiteY926" fmla="*/ 445549 h 1262136"/>
                    <a:gd name="connsiteX927" fmla="*/ 681025 w 1517794"/>
                    <a:gd name="connsiteY927" fmla="*/ 445476 h 1262136"/>
                    <a:gd name="connsiteX928" fmla="*/ 683247 w 1517794"/>
                    <a:gd name="connsiteY928" fmla="*/ 444954 h 1262136"/>
                    <a:gd name="connsiteX929" fmla="*/ 684522 w 1517794"/>
                    <a:gd name="connsiteY929" fmla="*/ 447236 h 1262136"/>
                    <a:gd name="connsiteX930" fmla="*/ 685117 w 1517794"/>
                    <a:gd name="connsiteY930" fmla="*/ 448451 h 1262136"/>
                    <a:gd name="connsiteX931" fmla="*/ 685773 w 1517794"/>
                    <a:gd name="connsiteY931" fmla="*/ 450661 h 1262136"/>
                    <a:gd name="connsiteX932" fmla="*/ 686003 w 1517794"/>
                    <a:gd name="connsiteY932" fmla="*/ 451827 h 1262136"/>
                    <a:gd name="connsiteX933" fmla="*/ 686319 w 1517794"/>
                    <a:gd name="connsiteY933" fmla="*/ 451705 h 1262136"/>
                    <a:gd name="connsiteX934" fmla="*/ 686355 w 1517794"/>
                    <a:gd name="connsiteY934" fmla="*/ 449556 h 1262136"/>
                    <a:gd name="connsiteX935" fmla="*/ 686161 w 1517794"/>
                    <a:gd name="connsiteY935" fmla="*/ 444832 h 1262136"/>
                    <a:gd name="connsiteX936" fmla="*/ 695147 w 1517794"/>
                    <a:gd name="connsiteY936" fmla="*/ 448487 h 1262136"/>
                    <a:gd name="connsiteX937" fmla="*/ 695839 w 1517794"/>
                    <a:gd name="connsiteY937" fmla="*/ 449908 h 1262136"/>
                    <a:gd name="connsiteX938" fmla="*/ 696215 w 1517794"/>
                    <a:gd name="connsiteY938" fmla="*/ 450843 h 1262136"/>
                    <a:gd name="connsiteX939" fmla="*/ 698741 w 1517794"/>
                    <a:gd name="connsiteY939" fmla="*/ 451487 h 1262136"/>
                    <a:gd name="connsiteX940" fmla="*/ 698656 w 1517794"/>
                    <a:gd name="connsiteY940" fmla="*/ 452361 h 1262136"/>
                    <a:gd name="connsiteX941" fmla="*/ 701886 w 1517794"/>
                    <a:gd name="connsiteY941" fmla="*/ 453976 h 1262136"/>
                    <a:gd name="connsiteX942" fmla="*/ 702651 w 1517794"/>
                    <a:gd name="connsiteY942" fmla="*/ 457011 h 1262136"/>
                    <a:gd name="connsiteX943" fmla="*/ 702773 w 1517794"/>
                    <a:gd name="connsiteY943" fmla="*/ 458190 h 1262136"/>
                    <a:gd name="connsiteX944" fmla="*/ 703052 w 1517794"/>
                    <a:gd name="connsiteY944" fmla="*/ 458226 h 1262136"/>
                    <a:gd name="connsiteX945" fmla="*/ 705444 w 1517794"/>
                    <a:gd name="connsiteY945" fmla="*/ 459112 h 1262136"/>
                    <a:gd name="connsiteX946" fmla="*/ 707035 w 1517794"/>
                    <a:gd name="connsiteY946" fmla="*/ 460181 h 1262136"/>
                    <a:gd name="connsiteX947" fmla="*/ 707751 w 1517794"/>
                    <a:gd name="connsiteY947" fmla="*/ 460934 h 1262136"/>
                    <a:gd name="connsiteX948" fmla="*/ 710993 w 1517794"/>
                    <a:gd name="connsiteY948" fmla="*/ 461857 h 1262136"/>
                    <a:gd name="connsiteX949" fmla="*/ 712001 w 1517794"/>
                    <a:gd name="connsiteY949" fmla="*/ 462015 h 1262136"/>
                    <a:gd name="connsiteX950" fmla="*/ 713386 w 1517794"/>
                    <a:gd name="connsiteY950" fmla="*/ 461760 h 1262136"/>
                    <a:gd name="connsiteX951" fmla="*/ 717223 w 1517794"/>
                    <a:gd name="connsiteY951" fmla="*/ 462233 h 1262136"/>
                    <a:gd name="connsiteX952" fmla="*/ 718729 w 1517794"/>
                    <a:gd name="connsiteY952" fmla="*/ 462670 h 1262136"/>
                    <a:gd name="connsiteX953" fmla="*/ 719069 w 1517794"/>
                    <a:gd name="connsiteY953" fmla="*/ 462233 h 1262136"/>
                    <a:gd name="connsiteX954" fmla="*/ 722505 w 1517794"/>
                    <a:gd name="connsiteY954" fmla="*/ 460448 h 1262136"/>
                    <a:gd name="connsiteX955" fmla="*/ 722347 w 1517794"/>
                    <a:gd name="connsiteY955" fmla="*/ 460266 h 1262136"/>
                    <a:gd name="connsiteX956" fmla="*/ 719833 w 1517794"/>
                    <a:gd name="connsiteY956" fmla="*/ 459258 h 1262136"/>
                    <a:gd name="connsiteX957" fmla="*/ 719275 w 1517794"/>
                    <a:gd name="connsiteY957" fmla="*/ 458699 h 1262136"/>
                    <a:gd name="connsiteX958" fmla="*/ 718704 w 1517794"/>
                    <a:gd name="connsiteY958" fmla="*/ 458651 h 1262136"/>
                    <a:gd name="connsiteX959" fmla="*/ 717004 w 1517794"/>
                    <a:gd name="connsiteY959" fmla="*/ 458165 h 1262136"/>
                    <a:gd name="connsiteX960" fmla="*/ 715608 w 1517794"/>
                    <a:gd name="connsiteY960" fmla="*/ 456162 h 1262136"/>
                    <a:gd name="connsiteX961" fmla="*/ 715013 w 1517794"/>
                    <a:gd name="connsiteY961" fmla="*/ 453660 h 1262136"/>
                    <a:gd name="connsiteX962" fmla="*/ 717247 w 1517794"/>
                    <a:gd name="connsiteY962" fmla="*/ 450333 h 1262136"/>
                    <a:gd name="connsiteX963" fmla="*/ 717113 w 1517794"/>
                    <a:gd name="connsiteY963" fmla="*/ 450090 h 1262136"/>
                    <a:gd name="connsiteX964" fmla="*/ 717198 w 1517794"/>
                    <a:gd name="connsiteY964" fmla="*/ 449095 h 1262136"/>
                    <a:gd name="connsiteX965" fmla="*/ 717271 w 1517794"/>
                    <a:gd name="connsiteY965" fmla="*/ 443666 h 1262136"/>
                    <a:gd name="connsiteX966" fmla="*/ 720744 w 1517794"/>
                    <a:gd name="connsiteY966" fmla="*/ 442404 h 1262136"/>
                    <a:gd name="connsiteX967" fmla="*/ 720210 w 1517794"/>
                    <a:gd name="connsiteY967" fmla="*/ 440728 h 1262136"/>
                    <a:gd name="connsiteX968" fmla="*/ 720611 w 1517794"/>
                    <a:gd name="connsiteY968" fmla="*/ 437716 h 1262136"/>
                    <a:gd name="connsiteX969" fmla="*/ 720186 w 1517794"/>
                    <a:gd name="connsiteY969" fmla="*/ 437704 h 1262136"/>
                    <a:gd name="connsiteX970" fmla="*/ 714746 w 1517794"/>
                    <a:gd name="connsiteY970" fmla="*/ 434219 h 1262136"/>
                    <a:gd name="connsiteX971" fmla="*/ 712778 w 1517794"/>
                    <a:gd name="connsiteY971" fmla="*/ 436769 h 1262136"/>
                    <a:gd name="connsiteX972" fmla="*/ 708468 w 1517794"/>
                    <a:gd name="connsiteY972" fmla="*/ 434304 h 1262136"/>
                    <a:gd name="connsiteX973" fmla="*/ 708443 w 1517794"/>
                    <a:gd name="connsiteY973" fmla="*/ 434996 h 1262136"/>
                    <a:gd name="connsiteX974" fmla="*/ 708783 w 1517794"/>
                    <a:gd name="connsiteY974" fmla="*/ 435834 h 1262136"/>
                    <a:gd name="connsiteX975" fmla="*/ 709913 w 1517794"/>
                    <a:gd name="connsiteY975" fmla="*/ 441177 h 1262136"/>
                    <a:gd name="connsiteX976" fmla="*/ 702785 w 1517794"/>
                    <a:gd name="connsiteY976" fmla="*/ 438591 h 1262136"/>
                    <a:gd name="connsiteX977" fmla="*/ 700684 w 1517794"/>
                    <a:gd name="connsiteY977" fmla="*/ 437182 h 1262136"/>
                    <a:gd name="connsiteX978" fmla="*/ 699749 w 1517794"/>
                    <a:gd name="connsiteY978" fmla="*/ 436660 h 1262136"/>
                    <a:gd name="connsiteX979" fmla="*/ 697478 w 1517794"/>
                    <a:gd name="connsiteY979" fmla="*/ 434826 h 1262136"/>
                    <a:gd name="connsiteX980" fmla="*/ 695790 w 1517794"/>
                    <a:gd name="connsiteY980" fmla="*/ 433782 h 1262136"/>
                    <a:gd name="connsiteX981" fmla="*/ 690860 w 1517794"/>
                    <a:gd name="connsiteY981" fmla="*/ 432301 h 1262136"/>
                    <a:gd name="connsiteX982" fmla="*/ 688480 w 1517794"/>
                    <a:gd name="connsiteY982" fmla="*/ 431900 h 1262136"/>
                    <a:gd name="connsiteX983" fmla="*/ 684862 w 1517794"/>
                    <a:gd name="connsiteY983" fmla="*/ 430649 h 1262136"/>
                    <a:gd name="connsiteX984" fmla="*/ 680952 w 1517794"/>
                    <a:gd name="connsiteY984" fmla="*/ 429119 h 1262136"/>
                    <a:gd name="connsiteX985" fmla="*/ 675985 w 1517794"/>
                    <a:gd name="connsiteY985" fmla="*/ 428512 h 1262136"/>
                    <a:gd name="connsiteX986" fmla="*/ 679993 w 1517794"/>
                    <a:gd name="connsiteY986" fmla="*/ 423412 h 1262136"/>
                    <a:gd name="connsiteX987" fmla="*/ 681049 w 1517794"/>
                    <a:gd name="connsiteY987" fmla="*/ 422319 h 1262136"/>
                    <a:gd name="connsiteX988" fmla="*/ 681013 w 1517794"/>
                    <a:gd name="connsiteY988" fmla="*/ 419891 h 1262136"/>
                    <a:gd name="connsiteX989" fmla="*/ 682980 w 1517794"/>
                    <a:gd name="connsiteY989" fmla="*/ 418592 h 1262136"/>
                    <a:gd name="connsiteX990" fmla="*/ 683259 w 1517794"/>
                    <a:gd name="connsiteY990" fmla="*/ 418482 h 1262136"/>
                    <a:gd name="connsiteX991" fmla="*/ 682518 w 1517794"/>
                    <a:gd name="connsiteY991" fmla="*/ 418033 h 1262136"/>
                    <a:gd name="connsiteX992" fmla="*/ 682263 w 1517794"/>
                    <a:gd name="connsiteY992" fmla="*/ 416126 h 1262136"/>
                    <a:gd name="connsiteX993" fmla="*/ 682227 w 1517794"/>
                    <a:gd name="connsiteY993" fmla="*/ 414766 h 1262136"/>
                    <a:gd name="connsiteX994" fmla="*/ 682263 w 1517794"/>
                    <a:gd name="connsiteY994" fmla="*/ 414536 h 1262136"/>
                    <a:gd name="connsiteX995" fmla="*/ 681437 w 1517794"/>
                    <a:gd name="connsiteY995" fmla="*/ 412824 h 1262136"/>
                    <a:gd name="connsiteX996" fmla="*/ 680612 w 1517794"/>
                    <a:gd name="connsiteY996" fmla="*/ 411779 h 1262136"/>
                    <a:gd name="connsiteX997" fmla="*/ 680102 w 1517794"/>
                    <a:gd name="connsiteY997" fmla="*/ 409496 h 1262136"/>
                    <a:gd name="connsiteX998" fmla="*/ 681170 w 1517794"/>
                    <a:gd name="connsiteY998" fmla="*/ 407602 h 1262136"/>
                    <a:gd name="connsiteX999" fmla="*/ 682700 w 1517794"/>
                    <a:gd name="connsiteY999" fmla="*/ 406133 h 1262136"/>
                    <a:gd name="connsiteX1000" fmla="*/ 683878 w 1517794"/>
                    <a:gd name="connsiteY1000" fmla="*/ 405380 h 1262136"/>
                    <a:gd name="connsiteX1001" fmla="*/ 685894 w 1517794"/>
                    <a:gd name="connsiteY1001" fmla="*/ 403449 h 1262136"/>
                    <a:gd name="connsiteX1002" fmla="*/ 687752 w 1517794"/>
                    <a:gd name="connsiteY1002" fmla="*/ 402551 h 1262136"/>
                    <a:gd name="connsiteX1003" fmla="*/ 690010 w 1517794"/>
                    <a:gd name="connsiteY1003" fmla="*/ 402963 h 1262136"/>
                    <a:gd name="connsiteX1004" fmla="*/ 691042 w 1517794"/>
                    <a:gd name="connsiteY1004" fmla="*/ 404105 h 1262136"/>
                    <a:gd name="connsiteX1005" fmla="*/ 691310 w 1517794"/>
                    <a:gd name="connsiteY1005" fmla="*/ 404506 h 1262136"/>
                    <a:gd name="connsiteX1006" fmla="*/ 691868 w 1517794"/>
                    <a:gd name="connsiteY1006" fmla="*/ 405635 h 1262136"/>
                    <a:gd name="connsiteX1007" fmla="*/ 692500 w 1517794"/>
                    <a:gd name="connsiteY1007" fmla="*/ 407918 h 1262136"/>
                    <a:gd name="connsiteX1008" fmla="*/ 692402 w 1517794"/>
                    <a:gd name="connsiteY1008" fmla="*/ 408573 h 1262136"/>
                    <a:gd name="connsiteX1009" fmla="*/ 694819 w 1517794"/>
                    <a:gd name="connsiteY1009" fmla="*/ 411026 h 1262136"/>
                    <a:gd name="connsiteX1010" fmla="*/ 695414 w 1517794"/>
                    <a:gd name="connsiteY1010" fmla="*/ 413309 h 1262136"/>
                    <a:gd name="connsiteX1011" fmla="*/ 696167 w 1517794"/>
                    <a:gd name="connsiteY1011" fmla="*/ 413516 h 1262136"/>
                    <a:gd name="connsiteX1012" fmla="*/ 697102 w 1517794"/>
                    <a:gd name="connsiteY1012" fmla="*/ 410601 h 1262136"/>
                    <a:gd name="connsiteX1013" fmla="*/ 701182 w 1517794"/>
                    <a:gd name="connsiteY1013" fmla="*/ 410492 h 1262136"/>
                    <a:gd name="connsiteX1014" fmla="*/ 702566 w 1517794"/>
                    <a:gd name="connsiteY1014" fmla="*/ 408974 h 1262136"/>
                    <a:gd name="connsiteX1015" fmla="*/ 702396 w 1517794"/>
                    <a:gd name="connsiteY1015" fmla="*/ 408792 h 1262136"/>
                    <a:gd name="connsiteX1016" fmla="*/ 702202 w 1517794"/>
                    <a:gd name="connsiteY1016" fmla="*/ 407651 h 1262136"/>
                    <a:gd name="connsiteX1017" fmla="*/ 702675 w 1517794"/>
                    <a:gd name="connsiteY1017" fmla="*/ 403935 h 1262136"/>
                    <a:gd name="connsiteX1018" fmla="*/ 703161 w 1517794"/>
                    <a:gd name="connsiteY1018" fmla="*/ 402733 h 1262136"/>
                    <a:gd name="connsiteX1019" fmla="*/ 706683 w 1517794"/>
                    <a:gd name="connsiteY1019" fmla="*/ 402903 h 1262136"/>
                    <a:gd name="connsiteX1020" fmla="*/ 703914 w 1517794"/>
                    <a:gd name="connsiteY1020" fmla="*/ 401652 h 1262136"/>
                    <a:gd name="connsiteX1021" fmla="*/ 704363 w 1517794"/>
                    <a:gd name="connsiteY1021" fmla="*/ 400656 h 1262136"/>
                    <a:gd name="connsiteX1022" fmla="*/ 703999 w 1517794"/>
                    <a:gd name="connsiteY1022" fmla="*/ 396491 h 1262136"/>
                    <a:gd name="connsiteX1023" fmla="*/ 710605 w 1517794"/>
                    <a:gd name="connsiteY1023" fmla="*/ 397220 h 1262136"/>
                    <a:gd name="connsiteX1024" fmla="*/ 710933 w 1517794"/>
                    <a:gd name="connsiteY1024" fmla="*/ 396928 h 1262136"/>
                    <a:gd name="connsiteX1025" fmla="*/ 712026 w 1517794"/>
                    <a:gd name="connsiteY1025" fmla="*/ 396176 h 1262136"/>
                    <a:gd name="connsiteX1026" fmla="*/ 712596 w 1517794"/>
                    <a:gd name="connsiteY1026" fmla="*/ 395447 h 1262136"/>
                    <a:gd name="connsiteX1027" fmla="*/ 713373 w 1517794"/>
                    <a:gd name="connsiteY1027" fmla="*/ 394682 h 1262136"/>
                    <a:gd name="connsiteX1028" fmla="*/ 714466 w 1517794"/>
                    <a:gd name="connsiteY1028" fmla="*/ 394572 h 1262136"/>
                    <a:gd name="connsiteX1029" fmla="*/ 715462 w 1517794"/>
                    <a:gd name="connsiteY1029" fmla="*/ 394306 h 1262136"/>
                    <a:gd name="connsiteX1030" fmla="*/ 718036 w 1517794"/>
                    <a:gd name="connsiteY1030" fmla="*/ 390845 h 1262136"/>
                    <a:gd name="connsiteX1031" fmla="*/ 723015 w 1517794"/>
                    <a:gd name="connsiteY1031" fmla="*/ 391816 h 1262136"/>
                    <a:gd name="connsiteX1032" fmla="*/ 724824 w 1517794"/>
                    <a:gd name="connsiteY1032" fmla="*/ 393067 h 1262136"/>
                    <a:gd name="connsiteX1033" fmla="*/ 727726 w 1517794"/>
                    <a:gd name="connsiteY1033" fmla="*/ 395241 h 1262136"/>
                    <a:gd name="connsiteX1034" fmla="*/ 727921 w 1517794"/>
                    <a:gd name="connsiteY1034" fmla="*/ 395325 h 1262136"/>
                    <a:gd name="connsiteX1035" fmla="*/ 729536 w 1517794"/>
                    <a:gd name="connsiteY1035" fmla="*/ 395131 h 1262136"/>
                    <a:gd name="connsiteX1036" fmla="*/ 731333 w 1517794"/>
                    <a:gd name="connsiteY1036" fmla="*/ 395775 h 1262136"/>
                    <a:gd name="connsiteX1037" fmla="*/ 732656 w 1517794"/>
                    <a:gd name="connsiteY1037" fmla="*/ 396504 h 1262136"/>
                    <a:gd name="connsiteX1038" fmla="*/ 736202 w 1517794"/>
                    <a:gd name="connsiteY1038" fmla="*/ 397536 h 1262136"/>
                    <a:gd name="connsiteX1039" fmla="*/ 735522 w 1517794"/>
                    <a:gd name="connsiteY1039" fmla="*/ 399442 h 1262136"/>
                    <a:gd name="connsiteX1040" fmla="*/ 736202 w 1517794"/>
                    <a:gd name="connsiteY1040" fmla="*/ 399612 h 1262136"/>
                    <a:gd name="connsiteX1041" fmla="*/ 739007 w 1517794"/>
                    <a:gd name="connsiteY1041" fmla="*/ 401275 h 1262136"/>
                    <a:gd name="connsiteX1042" fmla="*/ 740950 w 1517794"/>
                    <a:gd name="connsiteY1042" fmla="*/ 402538 h 1262136"/>
                    <a:gd name="connsiteX1043" fmla="*/ 739894 w 1517794"/>
                    <a:gd name="connsiteY1043" fmla="*/ 405793 h 1262136"/>
                    <a:gd name="connsiteX1044" fmla="*/ 739651 w 1517794"/>
                    <a:gd name="connsiteY1044" fmla="*/ 406048 h 1262136"/>
                    <a:gd name="connsiteX1045" fmla="*/ 739796 w 1517794"/>
                    <a:gd name="connsiteY1045" fmla="*/ 406011 h 1262136"/>
                    <a:gd name="connsiteX1046" fmla="*/ 740258 w 1517794"/>
                    <a:gd name="connsiteY1046" fmla="*/ 405198 h 1262136"/>
                    <a:gd name="connsiteX1047" fmla="*/ 742650 w 1517794"/>
                    <a:gd name="connsiteY1047" fmla="*/ 404420 h 1262136"/>
                    <a:gd name="connsiteX1048" fmla="*/ 744702 w 1517794"/>
                    <a:gd name="connsiteY1048" fmla="*/ 404542 h 1262136"/>
                    <a:gd name="connsiteX1049" fmla="*/ 748321 w 1517794"/>
                    <a:gd name="connsiteY1049" fmla="*/ 405125 h 1262136"/>
                    <a:gd name="connsiteX1050" fmla="*/ 750470 w 1517794"/>
                    <a:gd name="connsiteY1050" fmla="*/ 405271 h 1262136"/>
                    <a:gd name="connsiteX1051" fmla="*/ 755461 w 1517794"/>
                    <a:gd name="connsiteY1051" fmla="*/ 407359 h 1262136"/>
                    <a:gd name="connsiteX1052" fmla="*/ 758545 w 1517794"/>
                    <a:gd name="connsiteY1052" fmla="*/ 408124 h 1262136"/>
                    <a:gd name="connsiteX1053" fmla="*/ 760852 w 1517794"/>
                    <a:gd name="connsiteY1053" fmla="*/ 408331 h 1262136"/>
                    <a:gd name="connsiteX1054" fmla="*/ 762030 w 1517794"/>
                    <a:gd name="connsiteY1054" fmla="*/ 408586 h 1262136"/>
                    <a:gd name="connsiteX1055" fmla="*/ 763597 w 1517794"/>
                    <a:gd name="connsiteY1055" fmla="*/ 409448 h 1262136"/>
                    <a:gd name="connsiteX1056" fmla="*/ 764859 w 1517794"/>
                    <a:gd name="connsiteY1056" fmla="*/ 409508 h 1262136"/>
                    <a:gd name="connsiteX1057" fmla="*/ 769899 w 1517794"/>
                    <a:gd name="connsiteY1057" fmla="*/ 410650 h 1262136"/>
                    <a:gd name="connsiteX1058" fmla="*/ 771016 w 1517794"/>
                    <a:gd name="connsiteY1058" fmla="*/ 411658 h 1262136"/>
                    <a:gd name="connsiteX1059" fmla="*/ 771162 w 1517794"/>
                    <a:gd name="connsiteY1059" fmla="*/ 411148 h 1262136"/>
                    <a:gd name="connsiteX1060" fmla="*/ 771987 w 1517794"/>
                    <a:gd name="connsiteY1060" fmla="*/ 410298 h 1262136"/>
                    <a:gd name="connsiteX1061" fmla="*/ 771574 w 1517794"/>
                    <a:gd name="connsiteY1061" fmla="*/ 407056 h 1262136"/>
                    <a:gd name="connsiteX1062" fmla="*/ 772777 w 1517794"/>
                    <a:gd name="connsiteY1062" fmla="*/ 404348 h 1262136"/>
                    <a:gd name="connsiteX1063" fmla="*/ 772801 w 1517794"/>
                    <a:gd name="connsiteY1063" fmla="*/ 403680 h 1262136"/>
                    <a:gd name="connsiteX1064" fmla="*/ 772947 w 1517794"/>
                    <a:gd name="connsiteY1064" fmla="*/ 402830 h 1262136"/>
                    <a:gd name="connsiteX1065" fmla="*/ 770518 w 1517794"/>
                    <a:gd name="connsiteY1065" fmla="*/ 398568 h 1262136"/>
                    <a:gd name="connsiteX1066" fmla="*/ 774015 w 1517794"/>
                    <a:gd name="connsiteY1066" fmla="*/ 395678 h 1262136"/>
                    <a:gd name="connsiteX1067" fmla="*/ 773942 w 1517794"/>
                    <a:gd name="connsiteY1067" fmla="*/ 395325 h 1262136"/>
                    <a:gd name="connsiteX1068" fmla="*/ 774307 w 1517794"/>
                    <a:gd name="connsiteY1068" fmla="*/ 392108 h 1262136"/>
                    <a:gd name="connsiteX1069" fmla="*/ 774805 w 1517794"/>
                    <a:gd name="connsiteY1069" fmla="*/ 389035 h 1262136"/>
                    <a:gd name="connsiteX1070" fmla="*/ 779067 w 1517794"/>
                    <a:gd name="connsiteY1070" fmla="*/ 389825 h 1262136"/>
                    <a:gd name="connsiteX1071" fmla="*/ 781714 w 1517794"/>
                    <a:gd name="connsiteY1071" fmla="*/ 390711 h 1262136"/>
                    <a:gd name="connsiteX1072" fmla="*/ 782042 w 1517794"/>
                    <a:gd name="connsiteY1072" fmla="*/ 390638 h 1262136"/>
                    <a:gd name="connsiteX1073" fmla="*/ 782479 w 1517794"/>
                    <a:gd name="connsiteY1073" fmla="*/ 388999 h 1262136"/>
                    <a:gd name="connsiteX1074" fmla="*/ 782151 w 1517794"/>
                    <a:gd name="connsiteY1074" fmla="*/ 388671 h 1262136"/>
                    <a:gd name="connsiteX1075" fmla="*/ 781422 w 1517794"/>
                    <a:gd name="connsiteY1075" fmla="*/ 387202 h 1262136"/>
                    <a:gd name="connsiteX1076" fmla="*/ 781058 w 1517794"/>
                    <a:gd name="connsiteY1076" fmla="*/ 385162 h 1262136"/>
                    <a:gd name="connsiteX1077" fmla="*/ 781167 w 1517794"/>
                    <a:gd name="connsiteY1077" fmla="*/ 383450 h 1262136"/>
                    <a:gd name="connsiteX1078" fmla="*/ 780827 w 1517794"/>
                    <a:gd name="connsiteY1078" fmla="*/ 382745 h 1262136"/>
                    <a:gd name="connsiteX1079" fmla="*/ 780184 w 1517794"/>
                    <a:gd name="connsiteY1079" fmla="*/ 380329 h 1262136"/>
                    <a:gd name="connsiteX1080" fmla="*/ 784033 w 1517794"/>
                    <a:gd name="connsiteY1080" fmla="*/ 378483 h 1262136"/>
                    <a:gd name="connsiteX1081" fmla="*/ 786353 w 1517794"/>
                    <a:gd name="connsiteY1081" fmla="*/ 378070 h 1262136"/>
                    <a:gd name="connsiteX1082" fmla="*/ 789437 w 1517794"/>
                    <a:gd name="connsiteY1082" fmla="*/ 378313 h 1262136"/>
                    <a:gd name="connsiteX1083" fmla="*/ 791550 w 1517794"/>
                    <a:gd name="connsiteY1083" fmla="*/ 379515 h 1262136"/>
                    <a:gd name="connsiteX1084" fmla="*/ 793650 w 1517794"/>
                    <a:gd name="connsiteY1084" fmla="*/ 381203 h 1262136"/>
                    <a:gd name="connsiteX1085" fmla="*/ 794913 w 1517794"/>
                    <a:gd name="connsiteY1085" fmla="*/ 382005 h 1262136"/>
                    <a:gd name="connsiteX1086" fmla="*/ 799503 w 1517794"/>
                    <a:gd name="connsiteY1086" fmla="*/ 383328 h 1262136"/>
                    <a:gd name="connsiteX1087" fmla="*/ 799892 w 1517794"/>
                    <a:gd name="connsiteY1087" fmla="*/ 382879 h 1262136"/>
                    <a:gd name="connsiteX1088" fmla="*/ 801604 w 1517794"/>
                    <a:gd name="connsiteY1088" fmla="*/ 382345 h 1262136"/>
                    <a:gd name="connsiteX1089" fmla="*/ 804798 w 1517794"/>
                    <a:gd name="connsiteY1089" fmla="*/ 381944 h 1262136"/>
                    <a:gd name="connsiteX1090" fmla="*/ 805465 w 1517794"/>
                    <a:gd name="connsiteY1090" fmla="*/ 381070 h 1262136"/>
                    <a:gd name="connsiteX1091" fmla="*/ 806558 w 1517794"/>
                    <a:gd name="connsiteY1091" fmla="*/ 380074 h 1262136"/>
                    <a:gd name="connsiteX1092" fmla="*/ 807178 w 1517794"/>
                    <a:gd name="connsiteY1092" fmla="*/ 378823 h 1262136"/>
                    <a:gd name="connsiteX1093" fmla="*/ 808125 w 1517794"/>
                    <a:gd name="connsiteY1093" fmla="*/ 375302 h 1262136"/>
                    <a:gd name="connsiteX1094" fmla="*/ 812800 w 1517794"/>
                    <a:gd name="connsiteY1094" fmla="*/ 377548 h 1262136"/>
                    <a:gd name="connsiteX1095" fmla="*/ 813431 w 1517794"/>
                    <a:gd name="connsiteY1095" fmla="*/ 377985 h 1262136"/>
                    <a:gd name="connsiteX1096" fmla="*/ 816018 w 1517794"/>
                    <a:gd name="connsiteY1096" fmla="*/ 376844 h 1262136"/>
                    <a:gd name="connsiteX1097" fmla="*/ 822587 w 1517794"/>
                    <a:gd name="connsiteY1097" fmla="*/ 374634 h 1262136"/>
                    <a:gd name="connsiteX1098" fmla="*/ 827881 w 1517794"/>
                    <a:gd name="connsiteY1098" fmla="*/ 373201 h 1262136"/>
                    <a:gd name="connsiteX1099" fmla="*/ 829921 w 1517794"/>
                    <a:gd name="connsiteY1099" fmla="*/ 373056 h 1262136"/>
                    <a:gd name="connsiteX1100" fmla="*/ 830116 w 1517794"/>
                    <a:gd name="connsiteY1100" fmla="*/ 372691 h 1262136"/>
                    <a:gd name="connsiteX1101" fmla="*/ 831136 w 1517794"/>
                    <a:gd name="connsiteY1101" fmla="*/ 371598 h 1262136"/>
                    <a:gd name="connsiteX1102" fmla="*/ 830334 w 1517794"/>
                    <a:gd name="connsiteY1102" fmla="*/ 370250 h 1262136"/>
                    <a:gd name="connsiteX1103" fmla="*/ 830286 w 1517794"/>
                    <a:gd name="connsiteY1103" fmla="*/ 363730 h 1262136"/>
                    <a:gd name="connsiteX1104" fmla="*/ 830613 w 1517794"/>
                    <a:gd name="connsiteY1104" fmla="*/ 360924 h 1262136"/>
                    <a:gd name="connsiteX1105" fmla="*/ 832156 w 1517794"/>
                    <a:gd name="connsiteY1105" fmla="*/ 358581 h 1262136"/>
                    <a:gd name="connsiteX1106" fmla="*/ 832981 w 1517794"/>
                    <a:gd name="connsiteY1106" fmla="*/ 356614 h 1262136"/>
                    <a:gd name="connsiteX1107" fmla="*/ 836430 w 1517794"/>
                    <a:gd name="connsiteY1107" fmla="*/ 354610 h 1262136"/>
                    <a:gd name="connsiteX1108" fmla="*/ 842914 w 1517794"/>
                    <a:gd name="connsiteY1108" fmla="*/ 355885 h 1262136"/>
                    <a:gd name="connsiteX1109" fmla="*/ 844966 w 1517794"/>
                    <a:gd name="connsiteY1109" fmla="*/ 355618 h 1262136"/>
                    <a:gd name="connsiteX1110" fmla="*/ 849860 w 1517794"/>
                    <a:gd name="connsiteY1110" fmla="*/ 355667 h 1262136"/>
                    <a:gd name="connsiteX1111" fmla="*/ 850856 w 1517794"/>
                    <a:gd name="connsiteY1111" fmla="*/ 355861 h 1262136"/>
                    <a:gd name="connsiteX1112" fmla="*/ 852374 w 1517794"/>
                    <a:gd name="connsiteY1112" fmla="*/ 354817 h 1262136"/>
                    <a:gd name="connsiteX1113" fmla="*/ 853126 w 1517794"/>
                    <a:gd name="connsiteY1113" fmla="*/ 353821 h 1262136"/>
                    <a:gd name="connsiteX1114" fmla="*/ 854717 w 1517794"/>
                    <a:gd name="connsiteY1114" fmla="*/ 351344 h 1262136"/>
                    <a:gd name="connsiteX1115" fmla="*/ 854863 w 1517794"/>
                    <a:gd name="connsiteY1115" fmla="*/ 350603 h 1262136"/>
                    <a:gd name="connsiteX1116" fmla="*/ 857049 w 1517794"/>
                    <a:gd name="connsiteY1116" fmla="*/ 347009 h 1262136"/>
                    <a:gd name="connsiteX1117" fmla="*/ 859514 w 1517794"/>
                    <a:gd name="connsiteY1117" fmla="*/ 343742 h 1262136"/>
                    <a:gd name="connsiteX1118" fmla="*/ 860266 w 1517794"/>
                    <a:gd name="connsiteY1118" fmla="*/ 343196 h 1262136"/>
                    <a:gd name="connsiteX1119" fmla="*/ 861068 w 1517794"/>
                    <a:gd name="connsiteY1119" fmla="*/ 342989 h 1262136"/>
                    <a:gd name="connsiteX1120" fmla="*/ 864019 w 1517794"/>
                    <a:gd name="connsiteY1120" fmla="*/ 342467 h 1262136"/>
                    <a:gd name="connsiteX1121" fmla="*/ 865294 w 1517794"/>
                    <a:gd name="connsiteY1121" fmla="*/ 342844 h 1262136"/>
                    <a:gd name="connsiteX1122" fmla="*/ 867370 w 1517794"/>
                    <a:gd name="connsiteY1122" fmla="*/ 344228 h 1262136"/>
                    <a:gd name="connsiteX1123" fmla="*/ 868451 w 1517794"/>
                    <a:gd name="connsiteY1123" fmla="*/ 345102 h 1262136"/>
                    <a:gd name="connsiteX1124" fmla="*/ 868524 w 1517794"/>
                    <a:gd name="connsiteY1124" fmla="*/ 347240 h 1262136"/>
                    <a:gd name="connsiteX1125" fmla="*/ 869022 w 1517794"/>
                    <a:gd name="connsiteY1125" fmla="*/ 347774 h 1262136"/>
                    <a:gd name="connsiteX1126" fmla="*/ 870989 w 1517794"/>
                    <a:gd name="connsiteY1126" fmla="*/ 348855 h 1262136"/>
                    <a:gd name="connsiteX1127" fmla="*/ 872045 w 1517794"/>
                    <a:gd name="connsiteY1127" fmla="*/ 349243 h 1262136"/>
                    <a:gd name="connsiteX1128" fmla="*/ 872519 w 1517794"/>
                    <a:gd name="connsiteY1128" fmla="*/ 349194 h 1262136"/>
                    <a:gd name="connsiteX1129" fmla="*/ 873187 w 1517794"/>
                    <a:gd name="connsiteY1129" fmla="*/ 349316 h 1262136"/>
                    <a:gd name="connsiteX1130" fmla="*/ 876465 w 1517794"/>
                    <a:gd name="connsiteY1130" fmla="*/ 348320 h 1262136"/>
                    <a:gd name="connsiteX1131" fmla="*/ 877012 w 1517794"/>
                    <a:gd name="connsiteY1131" fmla="*/ 348284 h 1262136"/>
                    <a:gd name="connsiteX1132" fmla="*/ 879331 w 1517794"/>
                    <a:gd name="connsiteY1132" fmla="*/ 346147 h 1262136"/>
                    <a:gd name="connsiteX1133" fmla="*/ 880946 w 1517794"/>
                    <a:gd name="connsiteY1133" fmla="*/ 345819 h 1262136"/>
                    <a:gd name="connsiteX1134" fmla="*/ 881832 w 1517794"/>
                    <a:gd name="connsiteY1134" fmla="*/ 345042 h 1262136"/>
                    <a:gd name="connsiteX1135" fmla="*/ 882075 w 1517794"/>
                    <a:gd name="connsiteY1135" fmla="*/ 344204 h 1262136"/>
                    <a:gd name="connsiteX1136" fmla="*/ 883229 w 1517794"/>
                    <a:gd name="connsiteY1136" fmla="*/ 342467 h 1262136"/>
                    <a:gd name="connsiteX1137" fmla="*/ 884346 w 1517794"/>
                    <a:gd name="connsiteY1137" fmla="*/ 340962 h 1262136"/>
                    <a:gd name="connsiteX1138" fmla="*/ 887515 w 1517794"/>
                    <a:gd name="connsiteY1138" fmla="*/ 337877 h 1262136"/>
                    <a:gd name="connsiteX1139" fmla="*/ 888985 w 1517794"/>
                    <a:gd name="connsiteY1139" fmla="*/ 335825 h 1262136"/>
                    <a:gd name="connsiteX1140" fmla="*/ 891000 w 1517794"/>
                    <a:gd name="connsiteY1140" fmla="*/ 332765 h 1262136"/>
                    <a:gd name="connsiteX1141" fmla="*/ 890612 w 1517794"/>
                    <a:gd name="connsiteY1141" fmla="*/ 331223 h 1262136"/>
                    <a:gd name="connsiteX1142" fmla="*/ 890551 w 1517794"/>
                    <a:gd name="connsiteY1142" fmla="*/ 329061 h 1262136"/>
                    <a:gd name="connsiteX1143" fmla="*/ 891620 w 1517794"/>
                    <a:gd name="connsiteY1143" fmla="*/ 325455 h 1262136"/>
                    <a:gd name="connsiteX1144" fmla="*/ 891680 w 1517794"/>
                    <a:gd name="connsiteY1144" fmla="*/ 323974 h 1262136"/>
                    <a:gd name="connsiteX1145" fmla="*/ 891425 w 1517794"/>
                    <a:gd name="connsiteY1145" fmla="*/ 323112 h 1262136"/>
                    <a:gd name="connsiteX1146" fmla="*/ 891668 w 1517794"/>
                    <a:gd name="connsiteY1146" fmla="*/ 318327 h 1262136"/>
                    <a:gd name="connsiteX1147" fmla="*/ 892142 w 1517794"/>
                    <a:gd name="connsiteY1147" fmla="*/ 316275 h 1262136"/>
                    <a:gd name="connsiteX1148" fmla="*/ 894097 w 1517794"/>
                    <a:gd name="connsiteY1148" fmla="*/ 313288 h 1262136"/>
                    <a:gd name="connsiteX1149" fmla="*/ 894765 w 1517794"/>
                    <a:gd name="connsiteY1149" fmla="*/ 312049 h 1262136"/>
                    <a:gd name="connsiteX1150" fmla="*/ 895481 w 1517794"/>
                    <a:gd name="connsiteY1150" fmla="*/ 311199 h 1262136"/>
                    <a:gd name="connsiteX1151" fmla="*/ 895177 w 1517794"/>
                    <a:gd name="connsiteY1151" fmla="*/ 310908 h 1262136"/>
                    <a:gd name="connsiteX1152" fmla="*/ 890879 w 1517794"/>
                    <a:gd name="connsiteY1152" fmla="*/ 307799 h 1262136"/>
                    <a:gd name="connsiteX1153" fmla="*/ 893562 w 1517794"/>
                    <a:gd name="connsiteY1153" fmla="*/ 304776 h 1262136"/>
                    <a:gd name="connsiteX1154" fmla="*/ 893732 w 1517794"/>
                    <a:gd name="connsiteY1154" fmla="*/ 303610 h 1262136"/>
                    <a:gd name="connsiteX1155" fmla="*/ 894170 w 1517794"/>
                    <a:gd name="connsiteY1155" fmla="*/ 302408 h 1262136"/>
                    <a:gd name="connsiteX1156" fmla="*/ 895942 w 1517794"/>
                    <a:gd name="connsiteY1156" fmla="*/ 299870 h 1262136"/>
                    <a:gd name="connsiteX1157" fmla="*/ 899342 w 1517794"/>
                    <a:gd name="connsiteY1157" fmla="*/ 297089 h 1262136"/>
                    <a:gd name="connsiteX1158" fmla="*/ 900557 w 1517794"/>
                    <a:gd name="connsiteY1158" fmla="*/ 294940 h 1262136"/>
                    <a:gd name="connsiteX1159" fmla="*/ 902063 w 1517794"/>
                    <a:gd name="connsiteY1159" fmla="*/ 291273 h 1262136"/>
                    <a:gd name="connsiteX1160" fmla="*/ 903435 w 1517794"/>
                    <a:gd name="connsiteY1160" fmla="*/ 289014 h 1262136"/>
                    <a:gd name="connsiteX1161" fmla="*/ 904868 w 1517794"/>
                    <a:gd name="connsiteY1161" fmla="*/ 287751 h 1262136"/>
                    <a:gd name="connsiteX1162" fmla="*/ 905208 w 1517794"/>
                    <a:gd name="connsiteY1162" fmla="*/ 283513 h 1262136"/>
                    <a:gd name="connsiteX1163" fmla="*/ 905402 w 1517794"/>
                    <a:gd name="connsiteY1163" fmla="*/ 282081 h 1262136"/>
                    <a:gd name="connsiteX1164" fmla="*/ 906397 w 1517794"/>
                    <a:gd name="connsiteY1164" fmla="*/ 279725 h 1262136"/>
                    <a:gd name="connsiteX1165" fmla="*/ 908085 w 1517794"/>
                    <a:gd name="connsiteY1165" fmla="*/ 277928 h 1262136"/>
                    <a:gd name="connsiteX1166" fmla="*/ 913853 w 1517794"/>
                    <a:gd name="connsiteY1166" fmla="*/ 274965 h 1262136"/>
                    <a:gd name="connsiteX1167" fmla="*/ 914242 w 1517794"/>
                    <a:gd name="connsiteY1167" fmla="*/ 273435 h 1262136"/>
                    <a:gd name="connsiteX1168" fmla="*/ 914485 w 1517794"/>
                    <a:gd name="connsiteY1168" fmla="*/ 272925 h 1262136"/>
                    <a:gd name="connsiteX1169" fmla="*/ 916403 w 1517794"/>
                    <a:gd name="connsiteY1169" fmla="*/ 271140 h 1262136"/>
                    <a:gd name="connsiteX1170" fmla="*/ 920811 w 1517794"/>
                    <a:gd name="connsiteY1170" fmla="*/ 270448 h 1262136"/>
                    <a:gd name="connsiteX1171" fmla="*/ 923373 w 1517794"/>
                    <a:gd name="connsiteY1171" fmla="*/ 270411 h 1262136"/>
                    <a:gd name="connsiteX1172" fmla="*/ 927259 w 1517794"/>
                    <a:gd name="connsiteY1172" fmla="*/ 270156 h 1262136"/>
                    <a:gd name="connsiteX1173" fmla="*/ 928243 w 1517794"/>
                    <a:gd name="connsiteY1173" fmla="*/ 269622 h 1262136"/>
                    <a:gd name="connsiteX1174" fmla="*/ 928680 w 1517794"/>
                    <a:gd name="connsiteY1174" fmla="*/ 269124 h 1262136"/>
                    <a:gd name="connsiteX1175" fmla="*/ 929323 w 1517794"/>
                    <a:gd name="connsiteY1175" fmla="*/ 268056 h 1262136"/>
                    <a:gd name="connsiteX1176" fmla="*/ 930246 w 1517794"/>
                    <a:gd name="connsiteY1176" fmla="*/ 265263 h 1262136"/>
                    <a:gd name="connsiteX1177" fmla="*/ 931752 w 1517794"/>
                    <a:gd name="connsiteY1177" fmla="*/ 263745 h 1262136"/>
                    <a:gd name="connsiteX1178" fmla="*/ 934666 w 1517794"/>
                    <a:gd name="connsiteY1178" fmla="*/ 261474 h 1262136"/>
                    <a:gd name="connsiteX1179" fmla="*/ 936002 w 1517794"/>
                    <a:gd name="connsiteY1179" fmla="*/ 260587 h 1262136"/>
                    <a:gd name="connsiteX1180" fmla="*/ 939366 w 1517794"/>
                    <a:gd name="connsiteY1180" fmla="*/ 259555 h 1262136"/>
                    <a:gd name="connsiteX1181" fmla="*/ 940993 w 1517794"/>
                    <a:gd name="connsiteY1181" fmla="*/ 259956 h 1262136"/>
                    <a:gd name="connsiteX1182" fmla="*/ 942571 w 1517794"/>
                    <a:gd name="connsiteY1182" fmla="*/ 258195 h 1262136"/>
                    <a:gd name="connsiteX1183" fmla="*/ 945850 w 1517794"/>
                    <a:gd name="connsiteY1183" fmla="*/ 257819 h 1262136"/>
                    <a:gd name="connsiteX1184" fmla="*/ 946105 w 1517794"/>
                    <a:gd name="connsiteY1184" fmla="*/ 257491 h 1262136"/>
                    <a:gd name="connsiteX1185" fmla="*/ 946469 w 1517794"/>
                    <a:gd name="connsiteY1185" fmla="*/ 257175 h 1262136"/>
                    <a:gd name="connsiteX1186" fmla="*/ 945801 w 1517794"/>
                    <a:gd name="connsiteY1186" fmla="*/ 256180 h 1262136"/>
                    <a:gd name="connsiteX1187" fmla="*/ 944903 w 1517794"/>
                    <a:gd name="connsiteY1187" fmla="*/ 255050 h 1262136"/>
                    <a:gd name="connsiteX1188" fmla="*/ 943300 w 1517794"/>
                    <a:gd name="connsiteY1188" fmla="*/ 254249 h 1262136"/>
                    <a:gd name="connsiteX1189" fmla="*/ 941430 w 1517794"/>
                    <a:gd name="connsiteY1189" fmla="*/ 252063 h 1262136"/>
                    <a:gd name="connsiteX1190" fmla="*/ 939475 w 1517794"/>
                    <a:gd name="connsiteY1190" fmla="*/ 248772 h 1262136"/>
                    <a:gd name="connsiteX1191" fmla="*/ 942571 w 1517794"/>
                    <a:gd name="connsiteY1191" fmla="*/ 245955 h 1262136"/>
                    <a:gd name="connsiteX1192" fmla="*/ 946749 w 1517794"/>
                    <a:gd name="connsiteY1192" fmla="*/ 243405 h 1262136"/>
                    <a:gd name="connsiteX1193" fmla="*/ 959438 w 1517794"/>
                    <a:gd name="connsiteY1193" fmla="*/ 237625 h 1262136"/>
                    <a:gd name="connsiteX1194" fmla="*/ 978126 w 1517794"/>
                    <a:gd name="connsiteY1194" fmla="*/ 225361 h 1262136"/>
                    <a:gd name="connsiteX1195" fmla="*/ 985375 w 1517794"/>
                    <a:gd name="connsiteY1195" fmla="*/ 224778 h 1262136"/>
                    <a:gd name="connsiteX1196" fmla="*/ 991374 w 1517794"/>
                    <a:gd name="connsiteY1196" fmla="*/ 223576 h 1262136"/>
                    <a:gd name="connsiteX1197" fmla="*/ 1000226 w 1517794"/>
                    <a:gd name="connsiteY1197" fmla="*/ 217091 h 1262136"/>
                    <a:gd name="connsiteX1198" fmla="*/ 1010972 w 1517794"/>
                    <a:gd name="connsiteY1198" fmla="*/ 215598 h 1262136"/>
                    <a:gd name="connsiteX1199" fmla="*/ 1019084 w 1517794"/>
                    <a:gd name="connsiteY1199" fmla="*/ 217941 h 1262136"/>
                    <a:gd name="connsiteX1200" fmla="*/ 1022994 w 1517794"/>
                    <a:gd name="connsiteY1200" fmla="*/ 220164 h 1262136"/>
                    <a:gd name="connsiteX1201" fmla="*/ 1025896 w 1517794"/>
                    <a:gd name="connsiteY1201" fmla="*/ 222434 h 1262136"/>
                    <a:gd name="connsiteX1202" fmla="*/ 1028774 w 1517794"/>
                    <a:gd name="connsiteY1202" fmla="*/ 225482 h 1262136"/>
                    <a:gd name="connsiteX1203" fmla="*/ 1030049 w 1517794"/>
                    <a:gd name="connsiteY1203" fmla="*/ 225640 h 1262136"/>
                    <a:gd name="connsiteX1204" fmla="*/ 1032320 w 1517794"/>
                    <a:gd name="connsiteY1204" fmla="*/ 225446 h 1262136"/>
                    <a:gd name="connsiteX1205" fmla="*/ 1034299 w 1517794"/>
                    <a:gd name="connsiteY1205" fmla="*/ 225494 h 1262136"/>
                    <a:gd name="connsiteX1206" fmla="*/ 1035720 w 1517794"/>
                    <a:gd name="connsiteY1206" fmla="*/ 225822 h 1262136"/>
                    <a:gd name="connsiteX1207" fmla="*/ 1037881 w 1517794"/>
                    <a:gd name="connsiteY1207" fmla="*/ 226672 h 1262136"/>
                    <a:gd name="connsiteX1208" fmla="*/ 1038416 w 1517794"/>
                    <a:gd name="connsiteY1208" fmla="*/ 226429 h 1262136"/>
                    <a:gd name="connsiteX1209" fmla="*/ 1039241 w 1517794"/>
                    <a:gd name="connsiteY1209" fmla="*/ 225203 h 1262136"/>
                    <a:gd name="connsiteX1210" fmla="*/ 1039606 w 1517794"/>
                    <a:gd name="connsiteY1210" fmla="*/ 223539 h 1262136"/>
                    <a:gd name="connsiteX1211" fmla="*/ 1041196 w 1517794"/>
                    <a:gd name="connsiteY1211" fmla="*/ 220103 h 1262136"/>
                    <a:gd name="connsiteX1212" fmla="*/ 1044086 w 1517794"/>
                    <a:gd name="connsiteY1212" fmla="*/ 217711 h 1262136"/>
                    <a:gd name="connsiteX1213" fmla="*/ 1047875 w 1517794"/>
                    <a:gd name="connsiteY1213" fmla="*/ 216946 h 1262136"/>
                    <a:gd name="connsiteX1214" fmla="*/ 1053376 w 1517794"/>
                    <a:gd name="connsiteY1214" fmla="*/ 217322 h 1262136"/>
                    <a:gd name="connsiteX1215" fmla="*/ 1053606 w 1517794"/>
                    <a:gd name="connsiteY1215" fmla="*/ 217006 h 1262136"/>
                    <a:gd name="connsiteX1216" fmla="*/ 1053849 w 1517794"/>
                    <a:gd name="connsiteY1216" fmla="*/ 215148 h 1262136"/>
                    <a:gd name="connsiteX1217" fmla="*/ 1053412 w 1517794"/>
                    <a:gd name="connsiteY1217" fmla="*/ 213024 h 1262136"/>
                    <a:gd name="connsiteX1218" fmla="*/ 1052611 w 1517794"/>
                    <a:gd name="connsiteY1218" fmla="*/ 209866 h 1262136"/>
                    <a:gd name="connsiteX1219" fmla="*/ 1052356 w 1517794"/>
                    <a:gd name="connsiteY1219" fmla="*/ 206005 h 1262136"/>
                    <a:gd name="connsiteX1220" fmla="*/ 1054019 w 1517794"/>
                    <a:gd name="connsiteY1220" fmla="*/ 202775 h 1262136"/>
                    <a:gd name="connsiteX1221" fmla="*/ 1057188 w 1517794"/>
                    <a:gd name="connsiteY1221" fmla="*/ 201293 h 1262136"/>
                    <a:gd name="connsiteX1222" fmla="*/ 1057784 w 1517794"/>
                    <a:gd name="connsiteY1222" fmla="*/ 200917 h 1262136"/>
                    <a:gd name="connsiteX1223" fmla="*/ 1057164 w 1517794"/>
                    <a:gd name="connsiteY1223" fmla="*/ 200067 h 1262136"/>
                    <a:gd name="connsiteX1224" fmla="*/ 1052210 w 1517794"/>
                    <a:gd name="connsiteY1224" fmla="*/ 196667 h 1262136"/>
                    <a:gd name="connsiteX1225" fmla="*/ 1049866 w 1517794"/>
                    <a:gd name="connsiteY1225" fmla="*/ 194226 h 1262136"/>
                    <a:gd name="connsiteX1226" fmla="*/ 1048688 w 1517794"/>
                    <a:gd name="connsiteY1226" fmla="*/ 191737 h 1262136"/>
                    <a:gd name="connsiteX1227" fmla="*/ 1048409 w 1517794"/>
                    <a:gd name="connsiteY1227" fmla="*/ 190984 h 1262136"/>
                    <a:gd name="connsiteX1228" fmla="*/ 1048883 w 1517794"/>
                    <a:gd name="connsiteY1228" fmla="*/ 188082 h 1262136"/>
                    <a:gd name="connsiteX1229" fmla="*/ 1050219 w 1517794"/>
                    <a:gd name="connsiteY1229" fmla="*/ 184961 h 1262136"/>
                    <a:gd name="connsiteX1230" fmla="*/ 1056569 w 1517794"/>
                    <a:gd name="connsiteY1230" fmla="*/ 175186 h 1262136"/>
                    <a:gd name="connsiteX1231" fmla="*/ 1057614 w 1517794"/>
                    <a:gd name="connsiteY1231" fmla="*/ 173146 h 1262136"/>
                    <a:gd name="connsiteX1232" fmla="*/ 1058221 w 1517794"/>
                    <a:gd name="connsiteY1232" fmla="*/ 170997 h 1262136"/>
                    <a:gd name="connsiteX1233" fmla="*/ 1057917 w 1517794"/>
                    <a:gd name="connsiteY1233" fmla="*/ 170244 h 1262136"/>
                    <a:gd name="connsiteX1234" fmla="*/ 1056521 w 1517794"/>
                    <a:gd name="connsiteY1234" fmla="*/ 167730 h 1262136"/>
                    <a:gd name="connsiteX1235" fmla="*/ 1056278 w 1517794"/>
                    <a:gd name="connsiteY1235" fmla="*/ 166310 h 1262136"/>
                    <a:gd name="connsiteX1236" fmla="*/ 1056581 w 1517794"/>
                    <a:gd name="connsiteY1236" fmla="*/ 163772 h 1262136"/>
                    <a:gd name="connsiteX1237" fmla="*/ 1059496 w 1517794"/>
                    <a:gd name="connsiteY1237" fmla="*/ 156255 h 1262136"/>
                    <a:gd name="connsiteX1238" fmla="*/ 1059836 w 1517794"/>
                    <a:gd name="connsiteY1238" fmla="*/ 153875 h 1262136"/>
                    <a:gd name="connsiteX1239" fmla="*/ 1059799 w 1517794"/>
                    <a:gd name="connsiteY1239" fmla="*/ 151690 h 1262136"/>
                    <a:gd name="connsiteX1240" fmla="*/ 1059484 w 1517794"/>
                    <a:gd name="connsiteY1240" fmla="*/ 147852 h 1262136"/>
                    <a:gd name="connsiteX1241" fmla="*/ 1059921 w 1517794"/>
                    <a:gd name="connsiteY1241" fmla="*/ 146359 h 1262136"/>
                    <a:gd name="connsiteX1242" fmla="*/ 1061074 w 1517794"/>
                    <a:gd name="connsiteY1242" fmla="*/ 144282 h 1262136"/>
                    <a:gd name="connsiteX1243" fmla="*/ 1067911 w 1517794"/>
                    <a:gd name="connsiteY1243" fmla="*/ 136050 h 1262136"/>
                    <a:gd name="connsiteX1244" fmla="*/ 1068967 w 1517794"/>
                    <a:gd name="connsiteY1244" fmla="*/ 133815 h 1262136"/>
                    <a:gd name="connsiteX1245" fmla="*/ 1071153 w 1517794"/>
                    <a:gd name="connsiteY1245" fmla="*/ 128326 h 1262136"/>
                    <a:gd name="connsiteX1246" fmla="*/ 1073472 w 1517794"/>
                    <a:gd name="connsiteY1246" fmla="*/ 125606 h 1262136"/>
                    <a:gd name="connsiteX1247" fmla="*/ 1074055 w 1517794"/>
                    <a:gd name="connsiteY1247" fmla="*/ 125012 h 1262136"/>
                    <a:gd name="connsiteX1248" fmla="*/ 1077722 w 1517794"/>
                    <a:gd name="connsiteY1248" fmla="*/ 124040 h 1262136"/>
                    <a:gd name="connsiteX1249" fmla="*/ 1081790 w 1517794"/>
                    <a:gd name="connsiteY1249" fmla="*/ 125170 h 1262136"/>
                    <a:gd name="connsiteX1250" fmla="*/ 1084401 w 1517794"/>
                    <a:gd name="connsiteY1250" fmla="*/ 126372 h 1262136"/>
                    <a:gd name="connsiteX1251" fmla="*/ 1085397 w 1517794"/>
                    <a:gd name="connsiteY1251" fmla="*/ 126469 h 1262136"/>
                    <a:gd name="connsiteX1252" fmla="*/ 1086319 w 1517794"/>
                    <a:gd name="connsiteY1252" fmla="*/ 126153 h 1262136"/>
                    <a:gd name="connsiteX1253" fmla="*/ 1086999 w 1517794"/>
                    <a:gd name="connsiteY1253" fmla="*/ 126044 h 1262136"/>
                    <a:gd name="connsiteX1254" fmla="*/ 1088967 w 1517794"/>
                    <a:gd name="connsiteY1254" fmla="*/ 126639 h 1262136"/>
                    <a:gd name="connsiteX1255" fmla="*/ 1090521 w 1517794"/>
                    <a:gd name="connsiteY1255" fmla="*/ 128193 h 1262136"/>
                    <a:gd name="connsiteX1256" fmla="*/ 1091274 w 1517794"/>
                    <a:gd name="connsiteY1256" fmla="*/ 129844 h 1262136"/>
                    <a:gd name="connsiteX1257" fmla="*/ 1091590 w 1517794"/>
                    <a:gd name="connsiteY1257" fmla="*/ 132225 h 1262136"/>
                    <a:gd name="connsiteX1258" fmla="*/ 1091468 w 1517794"/>
                    <a:gd name="connsiteY1258" fmla="*/ 134192 h 1262136"/>
                    <a:gd name="connsiteX1259" fmla="*/ 1091541 w 1517794"/>
                    <a:gd name="connsiteY1259" fmla="*/ 135370 h 1262136"/>
                    <a:gd name="connsiteX1260" fmla="*/ 1092160 w 1517794"/>
                    <a:gd name="connsiteY1260" fmla="*/ 136644 h 1262136"/>
                    <a:gd name="connsiteX1261" fmla="*/ 1092524 w 1517794"/>
                    <a:gd name="connsiteY1261" fmla="*/ 138090 h 1262136"/>
                    <a:gd name="connsiteX1262" fmla="*/ 1092670 w 1517794"/>
                    <a:gd name="connsiteY1262" fmla="*/ 140312 h 1262136"/>
                    <a:gd name="connsiteX1263" fmla="*/ 1092148 w 1517794"/>
                    <a:gd name="connsiteY1263" fmla="*/ 144683 h 1262136"/>
                    <a:gd name="connsiteX1264" fmla="*/ 1092379 w 1517794"/>
                    <a:gd name="connsiteY1264" fmla="*/ 146274 h 1262136"/>
                    <a:gd name="connsiteX1265" fmla="*/ 1093217 w 1517794"/>
                    <a:gd name="connsiteY1265" fmla="*/ 147476 h 1262136"/>
                    <a:gd name="connsiteX1266" fmla="*/ 1094990 w 1517794"/>
                    <a:gd name="connsiteY1266" fmla="*/ 149577 h 1262136"/>
                    <a:gd name="connsiteX1267" fmla="*/ 1103915 w 1517794"/>
                    <a:gd name="connsiteY1267" fmla="*/ 157372 h 1262136"/>
                    <a:gd name="connsiteX1268" fmla="*/ 1105311 w 1517794"/>
                    <a:gd name="connsiteY1268" fmla="*/ 158793 h 1262136"/>
                    <a:gd name="connsiteX1269" fmla="*/ 1106586 w 1517794"/>
                    <a:gd name="connsiteY1269" fmla="*/ 160445 h 1262136"/>
                    <a:gd name="connsiteX1270" fmla="*/ 1107703 w 1517794"/>
                    <a:gd name="connsiteY1270" fmla="*/ 162485 h 1262136"/>
                    <a:gd name="connsiteX1271" fmla="*/ 1108383 w 1517794"/>
                    <a:gd name="connsiteY1271" fmla="*/ 164488 h 1262136"/>
                    <a:gd name="connsiteX1272" fmla="*/ 1108517 w 1517794"/>
                    <a:gd name="connsiteY1272" fmla="*/ 166965 h 1262136"/>
                    <a:gd name="connsiteX1273" fmla="*/ 1108104 w 1517794"/>
                    <a:gd name="connsiteY1273" fmla="*/ 169115 h 1262136"/>
                    <a:gd name="connsiteX1274" fmla="*/ 1105420 w 1517794"/>
                    <a:gd name="connsiteY1274" fmla="*/ 175065 h 1262136"/>
                    <a:gd name="connsiteX1275" fmla="*/ 1105262 w 1517794"/>
                    <a:gd name="connsiteY1275" fmla="*/ 176534 h 1262136"/>
                    <a:gd name="connsiteX1276" fmla="*/ 1105250 w 1517794"/>
                    <a:gd name="connsiteY1276" fmla="*/ 178089 h 1262136"/>
                    <a:gd name="connsiteX1277" fmla="*/ 1105505 w 1517794"/>
                    <a:gd name="connsiteY1277" fmla="*/ 178769 h 1262136"/>
                    <a:gd name="connsiteX1278" fmla="*/ 1106404 w 1517794"/>
                    <a:gd name="connsiteY1278" fmla="*/ 179327 h 1262136"/>
                    <a:gd name="connsiteX1279" fmla="*/ 1107072 w 1517794"/>
                    <a:gd name="connsiteY1279" fmla="*/ 179376 h 1262136"/>
                    <a:gd name="connsiteX1280" fmla="*/ 1108687 w 1517794"/>
                    <a:gd name="connsiteY1280" fmla="*/ 179351 h 1262136"/>
                    <a:gd name="connsiteX1281" fmla="*/ 1110775 w 1517794"/>
                    <a:gd name="connsiteY1281" fmla="*/ 179728 h 1262136"/>
                    <a:gd name="connsiteX1282" fmla="*/ 1112706 w 1517794"/>
                    <a:gd name="connsiteY1282" fmla="*/ 180723 h 1262136"/>
                    <a:gd name="connsiteX1283" fmla="*/ 1113483 w 1517794"/>
                    <a:gd name="connsiteY1283" fmla="*/ 179849 h 1262136"/>
                    <a:gd name="connsiteX1284" fmla="*/ 1113556 w 1517794"/>
                    <a:gd name="connsiteY1284" fmla="*/ 178902 h 1262136"/>
                    <a:gd name="connsiteX1285" fmla="*/ 1114309 w 1517794"/>
                    <a:gd name="connsiteY1285" fmla="*/ 174786 h 1262136"/>
                    <a:gd name="connsiteX1286" fmla="*/ 1115098 w 1517794"/>
                    <a:gd name="connsiteY1286" fmla="*/ 172187 h 1262136"/>
                    <a:gd name="connsiteX1287" fmla="*/ 1116738 w 1517794"/>
                    <a:gd name="connsiteY1287" fmla="*/ 170353 h 1262136"/>
                    <a:gd name="connsiteX1288" fmla="*/ 1119190 w 1517794"/>
                    <a:gd name="connsiteY1288" fmla="*/ 168495 h 1262136"/>
                    <a:gd name="connsiteX1289" fmla="*/ 1122797 w 1517794"/>
                    <a:gd name="connsiteY1289" fmla="*/ 166540 h 1262136"/>
                    <a:gd name="connsiteX1290" fmla="*/ 1128626 w 1517794"/>
                    <a:gd name="connsiteY1290" fmla="*/ 162655 h 1262136"/>
                    <a:gd name="connsiteX1291" fmla="*/ 1134940 w 1517794"/>
                    <a:gd name="connsiteY1291" fmla="*/ 160202 h 1262136"/>
                    <a:gd name="connsiteX1292" fmla="*/ 1136458 w 1517794"/>
                    <a:gd name="connsiteY1292" fmla="*/ 159133 h 1262136"/>
                    <a:gd name="connsiteX1293" fmla="*/ 1137502 w 1517794"/>
                    <a:gd name="connsiteY1293" fmla="*/ 157336 h 1262136"/>
                    <a:gd name="connsiteX1294" fmla="*/ 1137963 w 1517794"/>
                    <a:gd name="connsiteY1294" fmla="*/ 155709 h 1262136"/>
                    <a:gd name="connsiteX1295" fmla="*/ 1137975 w 1517794"/>
                    <a:gd name="connsiteY1295" fmla="*/ 154069 h 1262136"/>
                    <a:gd name="connsiteX1296" fmla="*/ 1136858 w 1517794"/>
                    <a:gd name="connsiteY1296" fmla="*/ 150439 h 1262136"/>
                    <a:gd name="connsiteX1297" fmla="*/ 1136603 w 1517794"/>
                    <a:gd name="connsiteY1297" fmla="*/ 146820 h 1262136"/>
                    <a:gd name="connsiteX1298" fmla="*/ 1138571 w 1517794"/>
                    <a:gd name="connsiteY1298" fmla="*/ 143869 h 1262136"/>
                    <a:gd name="connsiteX1299" fmla="*/ 1141242 w 1517794"/>
                    <a:gd name="connsiteY1299" fmla="*/ 142522 h 1262136"/>
                    <a:gd name="connsiteX1300" fmla="*/ 1146026 w 1517794"/>
                    <a:gd name="connsiteY1300" fmla="*/ 141684 h 1262136"/>
                    <a:gd name="connsiteX1301" fmla="*/ 1149621 w 1517794"/>
                    <a:gd name="connsiteY1301" fmla="*/ 142376 h 1262136"/>
                    <a:gd name="connsiteX1302" fmla="*/ 1152389 w 1517794"/>
                    <a:gd name="connsiteY1302" fmla="*/ 144027 h 1262136"/>
                    <a:gd name="connsiteX1303" fmla="*/ 1154599 w 1517794"/>
                    <a:gd name="connsiteY1303" fmla="*/ 145752 h 1262136"/>
                    <a:gd name="connsiteX1304" fmla="*/ 1156008 w 1517794"/>
                    <a:gd name="connsiteY1304" fmla="*/ 146116 h 1262136"/>
                    <a:gd name="connsiteX1305" fmla="*/ 1159286 w 1517794"/>
                    <a:gd name="connsiteY1305" fmla="*/ 146213 h 1262136"/>
                    <a:gd name="connsiteX1306" fmla="*/ 1162152 w 1517794"/>
                    <a:gd name="connsiteY1306" fmla="*/ 148387 h 1262136"/>
                    <a:gd name="connsiteX1307" fmla="*/ 1162990 w 1517794"/>
                    <a:gd name="connsiteY1307" fmla="*/ 151544 h 1262136"/>
                    <a:gd name="connsiteX1308" fmla="*/ 1162371 w 1517794"/>
                    <a:gd name="connsiteY1308" fmla="*/ 155527 h 1262136"/>
                    <a:gd name="connsiteX1309" fmla="*/ 1162395 w 1517794"/>
                    <a:gd name="connsiteY1309" fmla="*/ 156219 h 1262136"/>
                    <a:gd name="connsiteX1310" fmla="*/ 1162601 w 1517794"/>
                    <a:gd name="connsiteY1310" fmla="*/ 156389 h 1262136"/>
                    <a:gd name="connsiteX1311" fmla="*/ 1163731 w 1517794"/>
                    <a:gd name="connsiteY1311" fmla="*/ 156656 h 1262136"/>
                    <a:gd name="connsiteX1312" fmla="*/ 1170239 w 1517794"/>
                    <a:gd name="connsiteY1312" fmla="*/ 156280 h 1262136"/>
                    <a:gd name="connsiteX1313" fmla="*/ 1171502 w 1517794"/>
                    <a:gd name="connsiteY1313" fmla="*/ 156061 h 1262136"/>
                    <a:gd name="connsiteX1314" fmla="*/ 1177513 w 1517794"/>
                    <a:gd name="connsiteY1314" fmla="*/ 152940 h 1262136"/>
                    <a:gd name="connsiteX1315" fmla="*/ 1179711 w 1517794"/>
                    <a:gd name="connsiteY1315" fmla="*/ 152127 h 1262136"/>
                    <a:gd name="connsiteX1316" fmla="*/ 1181872 w 1517794"/>
                    <a:gd name="connsiteY1316" fmla="*/ 151799 h 1262136"/>
                    <a:gd name="connsiteX1317" fmla="*/ 1184799 w 1517794"/>
                    <a:gd name="connsiteY1317" fmla="*/ 151981 h 1262136"/>
                    <a:gd name="connsiteX1318" fmla="*/ 1185503 w 1517794"/>
                    <a:gd name="connsiteY1318" fmla="*/ 151313 h 1262136"/>
                    <a:gd name="connsiteX1319" fmla="*/ 1186207 w 1517794"/>
                    <a:gd name="connsiteY1319" fmla="*/ 147124 h 1262136"/>
                    <a:gd name="connsiteX1320" fmla="*/ 1185989 w 1517794"/>
                    <a:gd name="connsiteY1320" fmla="*/ 145339 h 1262136"/>
                    <a:gd name="connsiteX1321" fmla="*/ 1185467 w 1517794"/>
                    <a:gd name="connsiteY1321" fmla="*/ 144452 h 1262136"/>
                    <a:gd name="connsiteX1322" fmla="*/ 1185090 w 1517794"/>
                    <a:gd name="connsiteY1322" fmla="*/ 144355 h 1262136"/>
                    <a:gd name="connsiteX1323" fmla="*/ 1183257 w 1517794"/>
                    <a:gd name="connsiteY1323" fmla="*/ 141708 h 1262136"/>
                    <a:gd name="connsiteX1324" fmla="*/ 1184264 w 1517794"/>
                    <a:gd name="connsiteY1324" fmla="*/ 138114 h 1262136"/>
                    <a:gd name="connsiteX1325" fmla="*/ 1185017 w 1517794"/>
                    <a:gd name="connsiteY1325" fmla="*/ 136280 h 1262136"/>
                    <a:gd name="connsiteX1326" fmla="*/ 1193214 w 1517794"/>
                    <a:gd name="connsiteY1326" fmla="*/ 126068 h 1262136"/>
                    <a:gd name="connsiteX1327" fmla="*/ 1191028 w 1517794"/>
                    <a:gd name="connsiteY1327" fmla="*/ 126420 h 1262136"/>
                    <a:gd name="connsiteX1328" fmla="*/ 1188235 w 1517794"/>
                    <a:gd name="connsiteY1328" fmla="*/ 125934 h 1262136"/>
                    <a:gd name="connsiteX1329" fmla="*/ 1187276 w 1517794"/>
                    <a:gd name="connsiteY1329" fmla="*/ 124647 h 1262136"/>
                    <a:gd name="connsiteX1330" fmla="*/ 1186487 w 1517794"/>
                    <a:gd name="connsiteY1330" fmla="*/ 123409 h 1262136"/>
                    <a:gd name="connsiteX1331" fmla="*/ 1185054 w 1517794"/>
                    <a:gd name="connsiteY1331" fmla="*/ 119851 h 1262136"/>
                    <a:gd name="connsiteX1332" fmla="*/ 1182540 w 1517794"/>
                    <a:gd name="connsiteY1332" fmla="*/ 116220 h 1262136"/>
                    <a:gd name="connsiteX1333" fmla="*/ 1181763 w 1517794"/>
                    <a:gd name="connsiteY1333" fmla="*/ 113718 h 1262136"/>
                    <a:gd name="connsiteX1334" fmla="*/ 1181933 w 1517794"/>
                    <a:gd name="connsiteY1334" fmla="*/ 111047 h 1262136"/>
                    <a:gd name="connsiteX1335" fmla="*/ 1182662 w 1517794"/>
                    <a:gd name="connsiteY1335" fmla="*/ 108777 h 1262136"/>
                    <a:gd name="connsiteX1336" fmla="*/ 1182807 w 1517794"/>
                    <a:gd name="connsiteY1336" fmla="*/ 107489 h 1262136"/>
                    <a:gd name="connsiteX1337" fmla="*/ 1182722 w 1517794"/>
                    <a:gd name="connsiteY1337" fmla="*/ 106542 h 1262136"/>
                    <a:gd name="connsiteX1338" fmla="*/ 1182892 w 1517794"/>
                    <a:gd name="connsiteY1338" fmla="*/ 104332 h 1262136"/>
                    <a:gd name="connsiteX1339" fmla="*/ 1183499 w 1517794"/>
                    <a:gd name="connsiteY1339" fmla="*/ 102984 h 1262136"/>
                    <a:gd name="connsiteX1340" fmla="*/ 1188903 w 1517794"/>
                    <a:gd name="connsiteY1340" fmla="*/ 97581 h 1262136"/>
                    <a:gd name="connsiteX1341" fmla="*/ 1190967 w 1517794"/>
                    <a:gd name="connsiteY1341" fmla="*/ 95274 h 1262136"/>
                    <a:gd name="connsiteX1342" fmla="*/ 1192679 w 1517794"/>
                    <a:gd name="connsiteY1342" fmla="*/ 92784 h 1262136"/>
                    <a:gd name="connsiteX1343" fmla="*/ 1196687 w 1517794"/>
                    <a:gd name="connsiteY1343" fmla="*/ 85863 h 1262136"/>
                    <a:gd name="connsiteX1344" fmla="*/ 1199018 w 1517794"/>
                    <a:gd name="connsiteY1344" fmla="*/ 82754 h 1262136"/>
                    <a:gd name="connsiteX1345" fmla="*/ 1202588 w 1517794"/>
                    <a:gd name="connsiteY1345" fmla="*/ 79257 h 1262136"/>
                    <a:gd name="connsiteX1346" fmla="*/ 1205223 w 1517794"/>
                    <a:gd name="connsiteY1346" fmla="*/ 77618 h 1262136"/>
                    <a:gd name="connsiteX1347" fmla="*/ 1208708 w 1517794"/>
                    <a:gd name="connsiteY1347" fmla="*/ 76865 h 1262136"/>
                    <a:gd name="connsiteX1348" fmla="*/ 1211975 w 1517794"/>
                    <a:gd name="connsiteY1348" fmla="*/ 77387 h 1262136"/>
                    <a:gd name="connsiteX1349" fmla="*/ 1214719 w 1517794"/>
                    <a:gd name="connsiteY1349" fmla="*/ 78650 h 1262136"/>
                    <a:gd name="connsiteX1350" fmla="*/ 1217330 w 1517794"/>
                    <a:gd name="connsiteY1350" fmla="*/ 81188 h 1262136"/>
                    <a:gd name="connsiteX1351" fmla="*/ 1217791 w 1517794"/>
                    <a:gd name="connsiteY1351" fmla="*/ 81479 h 1262136"/>
                    <a:gd name="connsiteX1352" fmla="*/ 1218350 w 1517794"/>
                    <a:gd name="connsiteY1352" fmla="*/ 81540 h 1262136"/>
                    <a:gd name="connsiteX1353" fmla="*/ 1227943 w 1517794"/>
                    <a:gd name="connsiteY1353" fmla="*/ 77266 h 1262136"/>
                    <a:gd name="connsiteX1354" fmla="*/ 1230274 w 1517794"/>
                    <a:gd name="connsiteY1354" fmla="*/ 75420 h 1262136"/>
                    <a:gd name="connsiteX1355" fmla="*/ 1234743 w 1517794"/>
                    <a:gd name="connsiteY1355" fmla="*/ 71243 h 1262136"/>
                    <a:gd name="connsiteX1356" fmla="*/ 1240887 w 1517794"/>
                    <a:gd name="connsiteY1356" fmla="*/ 66568 h 1262136"/>
                    <a:gd name="connsiteX1357" fmla="*/ 1244056 w 1517794"/>
                    <a:gd name="connsiteY1357" fmla="*/ 64710 h 1262136"/>
                    <a:gd name="connsiteX1358" fmla="*/ 1248828 w 1517794"/>
                    <a:gd name="connsiteY1358" fmla="*/ 63265 h 1262136"/>
                    <a:gd name="connsiteX1359" fmla="*/ 1251026 w 1517794"/>
                    <a:gd name="connsiteY1359" fmla="*/ 62196 h 1262136"/>
                    <a:gd name="connsiteX1360" fmla="*/ 1251779 w 1517794"/>
                    <a:gd name="connsiteY1360" fmla="*/ 61443 h 1262136"/>
                    <a:gd name="connsiteX1361" fmla="*/ 1251099 w 1517794"/>
                    <a:gd name="connsiteY1361" fmla="*/ 60982 h 1262136"/>
                    <a:gd name="connsiteX1362" fmla="*/ 1250662 w 1517794"/>
                    <a:gd name="connsiteY1362" fmla="*/ 60581 h 1262136"/>
                    <a:gd name="connsiteX1363" fmla="*/ 1249618 w 1517794"/>
                    <a:gd name="connsiteY1363" fmla="*/ 59306 h 1262136"/>
                    <a:gd name="connsiteX1364" fmla="*/ 1249011 w 1517794"/>
                    <a:gd name="connsiteY1364" fmla="*/ 57910 h 1262136"/>
                    <a:gd name="connsiteX1365" fmla="*/ 1248683 w 1517794"/>
                    <a:gd name="connsiteY1365" fmla="*/ 56805 h 1262136"/>
                    <a:gd name="connsiteX1366" fmla="*/ 1246849 w 1517794"/>
                    <a:gd name="connsiteY1366" fmla="*/ 56708 h 1262136"/>
                    <a:gd name="connsiteX1367" fmla="*/ 1245453 w 1517794"/>
                    <a:gd name="connsiteY1367" fmla="*/ 56137 h 1262136"/>
                    <a:gd name="connsiteX1368" fmla="*/ 1243789 w 1517794"/>
                    <a:gd name="connsiteY1368" fmla="*/ 54874 h 1262136"/>
                    <a:gd name="connsiteX1369" fmla="*/ 1239940 w 1517794"/>
                    <a:gd name="connsiteY1369" fmla="*/ 50017 h 1262136"/>
                    <a:gd name="connsiteX1370" fmla="*/ 1239053 w 1517794"/>
                    <a:gd name="connsiteY1370" fmla="*/ 48438 h 1262136"/>
                    <a:gd name="connsiteX1371" fmla="*/ 1237778 w 1517794"/>
                    <a:gd name="connsiteY1371" fmla="*/ 44613 h 1262136"/>
                    <a:gd name="connsiteX1372" fmla="*/ 1237171 w 1517794"/>
                    <a:gd name="connsiteY1372" fmla="*/ 43423 h 1262136"/>
                    <a:gd name="connsiteX1373" fmla="*/ 1236006 w 1517794"/>
                    <a:gd name="connsiteY1373" fmla="*/ 42427 h 1262136"/>
                    <a:gd name="connsiteX1374" fmla="*/ 1234354 w 1517794"/>
                    <a:gd name="connsiteY1374" fmla="*/ 40254 h 1262136"/>
                    <a:gd name="connsiteX1375" fmla="*/ 1234002 w 1517794"/>
                    <a:gd name="connsiteY1375" fmla="*/ 38360 h 1262136"/>
                    <a:gd name="connsiteX1376" fmla="*/ 1234281 w 1517794"/>
                    <a:gd name="connsiteY1376" fmla="*/ 35591 h 1262136"/>
                    <a:gd name="connsiteX1377" fmla="*/ 1234524 w 1517794"/>
                    <a:gd name="connsiteY1377" fmla="*/ 34231 h 1262136"/>
                    <a:gd name="connsiteX1378" fmla="*/ 1238264 w 1517794"/>
                    <a:gd name="connsiteY1378" fmla="*/ 31948 h 1262136"/>
                    <a:gd name="connsiteX1379" fmla="*/ 1240523 w 1517794"/>
                    <a:gd name="connsiteY1379" fmla="*/ 31134 h 1262136"/>
                    <a:gd name="connsiteX1380" fmla="*/ 1242648 w 1517794"/>
                    <a:gd name="connsiteY1380" fmla="*/ 30722 h 1262136"/>
                    <a:gd name="connsiteX1381" fmla="*/ 1244821 w 1517794"/>
                    <a:gd name="connsiteY1381" fmla="*/ 30552 h 1262136"/>
                    <a:gd name="connsiteX1382" fmla="*/ 1248646 w 1517794"/>
                    <a:gd name="connsiteY1382" fmla="*/ 31499 h 1262136"/>
                    <a:gd name="connsiteX1383" fmla="*/ 1249618 w 1517794"/>
                    <a:gd name="connsiteY1383" fmla="*/ 32276 h 1262136"/>
                    <a:gd name="connsiteX1384" fmla="*/ 1251427 w 1517794"/>
                    <a:gd name="connsiteY1384" fmla="*/ 33223 h 1262136"/>
                    <a:gd name="connsiteX1385" fmla="*/ 1255325 w 1517794"/>
                    <a:gd name="connsiteY1385" fmla="*/ 34316 h 1262136"/>
                    <a:gd name="connsiteX1386" fmla="*/ 1258033 w 1517794"/>
                    <a:gd name="connsiteY1386" fmla="*/ 35846 h 1262136"/>
                    <a:gd name="connsiteX1387" fmla="*/ 1261749 w 1517794"/>
                    <a:gd name="connsiteY1387" fmla="*/ 38554 h 1262136"/>
                    <a:gd name="connsiteX1388" fmla="*/ 1262319 w 1517794"/>
                    <a:gd name="connsiteY1388" fmla="*/ 38687 h 1262136"/>
                    <a:gd name="connsiteX1389" fmla="*/ 1263169 w 1517794"/>
                    <a:gd name="connsiteY1389" fmla="*/ 38275 h 1262136"/>
                    <a:gd name="connsiteX1390" fmla="*/ 1263303 w 1517794"/>
                    <a:gd name="connsiteY1390" fmla="*/ 38032 h 1262136"/>
                    <a:gd name="connsiteX1391" fmla="*/ 1263412 w 1517794"/>
                    <a:gd name="connsiteY1391" fmla="*/ 36769 h 1262136"/>
                    <a:gd name="connsiteX1392" fmla="*/ 1262586 w 1517794"/>
                    <a:gd name="connsiteY1392" fmla="*/ 35894 h 1262136"/>
                    <a:gd name="connsiteX1393" fmla="*/ 1262198 w 1517794"/>
                    <a:gd name="connsiteY1393" fmla="*/ 35190 h 1262136"/>
                    <a:gd name="connsiteX1394" fmla="*/ 1262198 w 1517794"/>
                    <a:gd name="connsiteY1394" fmla="*/ 33624 h 1262136"/>
                    <a:gd name="connsiteX1395" fmla="*/ 1262902 w 1517794"/>
                    <a:gd name="connsiteY1395" fmla="*/ 32252 h 1262136"/>
                    <a:gd name="connsiteX1396" fmla="*/ 1263667 w 1517794"/>
                    <a:gd name="connsiteY1396" fmla="*/ 31475 h 1262136"/>
                    <a:gd name="connsiteX1397" fmla="*/ 1265318 w 1517794"/>
                    <a:gd name="connsiteY1397" fmla="*/ 30260 h 1262136"/>
                    <a:gd name="connsiteX1398" fmla="*/ 1265513 w 1517794"/>
                    <a:gd name="connsiteY1398" fmla="*/ 29738 h 1262136"/>
                    <a:gd name="connsiteX1399" fmla="*/ 1265416 w 1517794"/>
                    <a:gd name="connsiteY1399" fmla="*/ 29022 h 1262136"/>
                    <a:gd name="connsiteX1400" fmla="*/ 1263424 w 1517794"/>
                    <a:gd name="connsiteY1400" fmla="*/ 22683 h 1262136"/>
                    <a:gd name="connsiteX1401" fmla="*/ 1264201 w 1517794"/>
                    <a:gd name="connsiteY1401" fmla="*/ 19137 h 1262136"/>
                    <a:gd name="connsiteX1402" fmla="*/ 1267674 w 1517794"/>
                    <a:gd name="connsiteY1402" fmla="*/ 16842 h 1262136"/>
                    <a:gd name="connsiteX1403" fmla="*/ 1271317 w 1517794"/>
                    <a:gd name="connsiteY1403" fmla="*/ 18239 h 1262136"/>
                    <a:gd name="connsiteX1404" fmla="*/ 1273940 w 1517794"/>
                    <a:gd name="connsiteY1404" fmla="*/ 20449 h 1262136"/>
                    <a:gd name="connsiteX1405" fmla="*/ 1275531 w 1517794"/>
                    <a:gd name="connsiteY1405" fmla="*/ 22926 h 1262136"/>
                    <a:gd name="connsiteX1406" fmla="*/ 1276539 w 1517794"/>
                    <a:gd name="connsiteY1406" fmla="*/ 25767 h 1262136"/>
                    <a:gd name="connsiteX1407" fmla="*/ 1277279 w 1517794"/>
                    <a:gd name="connsiteY1407" fmla="*/ 29422 h 1262136"/>
                    <a:gd name="connsiteX1408" fmla="*/ 1277984 w 1517794"/>
                    <a:gd name="connsiteY1408" fmla="*/ 27674 h 1262136"/>
                    <a:gd name="connsiteX1409" fmla="*/ 1279331 w 1517794"/>
                    <a:gd name="connsiteY1409" fmla="*/ 23460 h 1262136"/>
                    <a:gd name="connsiteX1410" fmla="*/ 1281056 w 1517794"/>
                    <a:gd name="connsiteY1410" fmla="*/ 21105 h 1262136"/>
                    <a:gd name="connsiteX1411" fmla="*/ 1283071 w 1517794"/>
                    <a:gd name="connsiteY1411" fmla="*/ 19526 h 1262136"/>
                    <a:gd name="connsiteX1412" fmla="*/ 1286544 w 1517794"/>
                    <a:gd name="connsiteY1412" fmla="*/ 18287 h 1262136"/>
                    <a:gd name="connsiteX1413" fmla="*/ 1287662 w 1517794"/>
                    <a:gd name="connsiteY1413" fmla="*/ 16915 h 1262136"/>
                    <a:gd name="connsiteX1414" fmla="*/ 1288390 w 1517794"/>
                    <a:gd name="connsiteY1414" fmla="*/ 15239 h 1262136"/>
                    <a:gd name="connsiteX1415" fmla="*/ 1288597 w 1517794"/>
                    <a:gd name="connsiteY1415" fmla="*/ 13527 h 1262136"/>
                    <a:gd name="connsiteX1416" fmla="*/ 1289434 w 1517794"/>
                    <a:gd name="connsiteY1416" fmla="*/ 10758 h 1262136"/>
                    <a:gd name="connsiteX1417" fmla="*/ 1290843 w 1517794"/>
                    <a:gd name="connsiteY1417" fmla="*/ 7699 h 1262136"/>
                    <a:gd name="connsiteX1418" fmla="*/ 1293697 w 1517794"/>
                    <a:gd name="connsiteY1418" fmla="*/ 5744 h 1262136"/>
                    <a:gd name="connsiteX1419" fmla="*/ 1297704 w 1517794"/>
                    <a:gd name="connsiteY1419" fmla="*/ 6448 h 1262136"/>
                    <a:gd name="connsiteX1420" fmla="*/ 1300436 w 1517794"/>
                    <a:gd name="connsiteY1420" fmla="*/ 10382 h 1262136"/>
                    <a:gd name="connsiteX1421" fmla="*/ 1303399 w 1517794"/>
                    <a:gd name="connsiteY1421" fmla="*/ 16041 h 1262136"/>
                    <a:gd name="connsiteX1422" fmla="*/ 1304710 w 1517794"/>
                    <a:gd name="connsiteY1422" fmla="*/ 18008 h 1262136"/>
                    <a:gd name="connsiteX1423" fmla="*/ 1312105 w 1517794"/>
                    <a:gd name="connsiteY1423" fmla="*/ 25986 h 1262136"/>
                    <a:gd name="connsiteX1424" fmla="*/ 1315068 w 1517794"/>
                    <a:gd name="connsiteY1424" fmla="*/ 30491 h 1262136"/>
                    <a:gd name="connsiteX1425" fmla="*/ 1316234 w 1517794"/>
                    <a:gd name="connsiteY1425" fmla="*/ 32871 h 1262136"/>
                    <a:gd name="connsiteX1426" fmla="*/ 1317703 w 1517794"/>
                    <a:gd name="connsiteY1426" fmla="*/ 37364 h 1262136"/>
                    <a:gd name="connsiteX1427" fmla="*/ 1317703 w 1517794"/>
                    <a:gd name="connsiteY1427" fmla="*/ 36526 h 1262136"/>
                    <a:gd name="connsiteX1428" fmla="*/ 1318092 w 1517794"/>
                    <a:gd name="connsiteY1428" fmla="*/ 34559 h 1262136"/>
                    <a:gd name="connsiteX1429" fmla="*/ 1318565 w 1517794"/>
                    <a:gd name="connsiteY1429" fmla="*/ 33320 h 1262136"/>
                    <a:gd name="connsiteX1430" fmla="*/ 1319634 w 1517794"/>
                    <a:gd name="connsiteY1430" fmla="*/ 31839 h 1262136"/>
                    <a:gd name="connsiteX1431" fmla="*/ 1320909 w 1517794"/>
                    <a:gd name="connsiteY1431" fmla="*/ 30831 h 1262136"/>
                    <a:gd name="connsiteX1432" fmla="*/ 1323107 w 1517794"/>
                    <a:gd name="connsiteY1432" fmla="*/ 29823 h 1262136"/>
                    <a:gd name="connsiteX1433" fmla="*/ 1325560 w 1517794"/>
                    <a:gd name="connsiteY1433" fmla="*/ 29532 h 1262136"/>
                    <a:gd name="connsiteX1434" fmla="*/ 1327478 w 1517794"/>
                    <a:gd name="connsiteY1434" fmla="*/ 29617 h 1262136"/>
                    <a:gd name="connsiteX1435" fmla="*/ 1333695 w 1517794"/>
                    <a:gd name="connsiteY1435" fmla="*/ 32191 h 1262136"/>
                    <a:gd name="connsiteX1436" fmla="*/ 1337205 w 1517794"/>
                    <a:gd name="connsiteY1436" fmla="*/ 40679 h 1262136"/>
                    <a:gd name="connsiteX1437" fmla="*/ 1338881 w 1517794"/>
                    <a:gd name="connsiteY1437" fmla="*/ 49349 h 1262136"/>
                    <a:gd name="connsiteX1438" fmla="*/ 1340848 w 1517794"/>
                    <a:gd name="connsiteY1438" fmla="*/ 51705 h 1262136"/>
                    <a:gd name="connsiteX1439" fmla="*/ 1344053 w 1517794"/>
                    <a:gd name="connsiteY1439" fmla="*/ 60654 h 1262136"/>
                    <a:gd name="connsiteX1440" fmla="*/ 1345838 w 1517794"/>
                    <a:gd name="connsiteY1440" fmla="*/ 62852 h 1262136"/>
                    <a:gd name="connsiteX1441" fmla="*/ 1347223 w 1517794"/>
                    <a:gd name="connsiteY1441" fmla="*/ 64892 h 1262136"/>
                    <a:gd name="connsiteX1442" fmla="*/ 1348401 w 1517794"/>
                    <a:gd name="connsiteY1442" fmla="*/ 67090 h 1262136"/>
                    <a:gd name="connsiteX1443" fmla="*/ 1349736 w 1517794"/>
                    <a:gd name="connsiteY1443" fmla="*/ 68122 h 1262136"/>
                    <a:gd name="connsiteX1444" fmla="*/ 1351230 w 1517794"/>
                    <a:gd name="connsiteY1444" fmla="*/ 69385 h 1262136"/>
                    <a:gd name="connsiteX1445" fmla="*/ 1358916 w 1517794"/>
                    <a:gd name="connsiteY1445" fmla="*/ 68644 h 1262136"/>
                    <a:gd name="connsiteX1446" fmla="*/ 1368206 w 1517794"/>
                    <a:gd name="connsiteY1446" fmla="*/ 68923 h 1262136"/>
                    <a:gd name="connsiteX1447" fmla="*/ 1378187 w 1517794"/>
                    <a:gd name="connsiteY1447" fmla="*/ 66762 h 1262136"/>
                    <a:gd name="connsiteX1448" fmla="*/ 1382037 w 1517794"/>
                    <a:gd name="connsiteY1448" fmla="*/ 66786 h 1262136"/>
                    <a:gd name="connsiteX1449" fmla="*/ 1385327 w 1517794"/>
                    <a:gd name="connsiteY1449" fmla="*/ 67843 h 1262136"/>
                    <a:gd name="connsiteX1450" fmla="*/ 1387950 w 1517794"/>
                    <a:gd name="connsiteY1450" fmla="*/ 69773 h 1262136"/>
                    <a:gd name="connsiteX1451" fmla="*/ 1388958 w 1517794"/>
                    <a:gd name="connsiteY1451" fmla="*/ 69907 h 1262136"/>
                    <a:gd name="connsiteX1452" fmla="*/ 1393099 w 1517794"/>
                    <a:gd name="connsiteY1452" fmla="*/ 69931 h 1262136"/>
                    <a:gd name="connsiteX1453" fmla="*/ 1395879 w 1517794"/>
                    <a:gd name="connsiteY1453" fmla="*/ 70927 h 1262136"/>
                    <a:gd name="connsiteX1454" fmla="*/ 1398927 w 1517794"/>
                    <a:gd name="connsiteY1454" fmla="*/ 73125 h 1262136"/>
                    <a:gd name="connsiteX1455" fmla="*/ 1402315 w 1517794"/>
                    <a:gd name="connsiteY1455" fmla="*/ 72639 h 1262136"/>
                    <a:gd name="connsiteX1456" fmla="*/ 1415381 w 1517794"/>
                    <a:gd name="connsiteY1456" fmla="*/ 69336 h 1262136"/>
                    <a:gd name="connsiteX1457" fmla="*/ 1427925 w 1517794"/>
                    <a:gd name="connsiteY1457" fmla="*/ 68510 h 1262136"/>
                    <a:gd name="connsiteX1458" fmla="*/ 1430438 w 1517794"/>
                    <a:gd name="connsiteY1458" fmla="*/ 67321 h 1262136"/>
                    <a:gd name="connsiteX1459" fmla="*/ 1432673 w 1517794"/>
                    <a:gd name="connsiteY1459" fmla="*/ 65499 h 1262136"/>
                    <a:gd name="connsiteX1460" fmla="*/ 1435308 w 1517794"/>
                    <a:gd name="connsiteY1460" fmla="*/ 61881 h 1262136"/>
                    <a:gd name="connsiteX1461" fmla="*/ 1436425 w 1517794"/>
                    <a:gd name="connsiteY1461" fmla="*/ 59100 h 1262136"/>
                    <a:gd name="connsiteX1462" fmla="*/ 1438028 w 1517794"/>
                    <a:gd name="connsiteY1462" fmla="*/ 54024 h 1262136"/>
                    <a:gd name="connsiteX1463" fmla="*/ 1439618 w 1517794"/>
                    <a:gd name="connsiteY1463" fmla="*/ 51765 h 1262136"/>
                    <a:gd name="connsiteX1464" fmla="*/ 1440092 w 1517794"/>
                    <a:gd name="connsiteY1464" fmla="*/ 51207 h 1262136"/>
                    <a:gd name="connsiteX1465" fmla="*/ 1442873 w 1517794"/>
                    <a:gd name="connsiteY1465" fmla="*/ 50005 h 1262136"/>
                    <a:gd name="connsiteX1466" fmla="*/ 1445836 w 1517794"/>
                    <a:gd name="connsiteY1466" fmla="*/ 50551 h 1262136"/>
                    <a:gd name="connsiteX1467" fmla="*/ 1446795 w 1517794"/>
                    <a:gd name="connsiteY1467" fmla="*/ 50551 h 1262136"/>
                    <a:gd name="connsiteX1468" fmla="*/ 1452915 w 1517794"/>
                    <a:gd name="connsiteY1468" fmla="*/ 42986 h 1262136"/>
                    <a:gd name="connsiteX1469" fmla="*/ 1453182 w 1517794"/>
                    <a:gd name="connsiteY1469" fmla="*/ 42561 h 1262136"/>
                    <a:gd name="connsiteX1470" fmla="*/ 1452745 w 1517794"/>
                    <a:gd name="connsiteY1470" fmla="*/ 41662 h 1262136"/>
                    <a:gd name="connsiteX1471" fmla="*/ 1452502 w 1517794"/>
                    <a:gd name="connsiteY1471" fmla="*/ 40970 h 1262136"/>
                    <a:gd name="connsiteX1472" fmla="*/ 1452247 w 1517794"/>
                    <a:gd name="connsiteY1472" fmla="*/ 39294 h 1262136"/>
                    <a:gd name="connsiteX1473" fmla="*/ 1452405 w 1517794"/>
                    <a:gd name="connsiteY1473" fmla="*/ 38044 h 1262136"/>
                    <a:gd name="connsiteX1474" fmla="*/ 1453085 w 1517794"/>
                    <a:gd name="connsiteY1474" fmla="*/ 35967 h 1262136"/>
                    <a:gd name="connsiteX1475" fmla="*/ 1454287 w 1517794"/>
                    <a:gd name="connsiteY1475" fmla="*/ 33879 h 1262136"/>
                    <a:gd name="connsiteX1476" fmla="*/ 1453680 w 1517794"/>
                    <a:gd name="connsiteY1476" fmla="*/ 32033 h 1262136"/>
                    <a:gd name="connsiteX1477" fmla="*/ 1453012 w 1517794"/>
                    <a:gd name="connsiteY1477" fmla="*/ 29046 h 1262136"/>
                    <a:gd name="connsiteX1478" fmla="*/ 1453910 w 1517794"/>
                    <a:gd name="connsiteY1478" fmla="*/ 27152 h 1262136"/>
                    <a:gd name="connsiteX1479" fmla="*/ 1455368 w 1517794"/>
                    <a:gd name="connsiteY1479" fmla="*/ 25731 h 1262136"/>
                    <a:gd name="connsiteX1480" fmla="*/ 1457177 w 1517794"/>
                    <a:gd name="connsiteY1480" fmla="*/ 24905 h 1262136"/>
                    <a:gd name="connsiteX1481" fmla="*/ 1460516 w 1517794"/>
                    <a:gd name="connsiteY1481" fmla="*/ 25136 h 1262136"/>
                    <a:gd name="connsiteX1482" fmla="*/ 1463078 w 1517794"/>
                    <a:gd name="connsiteY1482" fmla="*/ 25610 h 1262136"/>
                    <a:gd name="connsiteX1483" fmla="*/ 1464961 w 1517794"/>
                    <a:gd name="connsiteY1483" fmla="*/ 25634 h 1262136"/>
                    <a:gd name="connsiteX1484" fmla="*/ 1465422 w 1517794"/>
                    <a:gd name="connsiteY1484" fmla="*/ 25452 h 1262136"/>
                    <a:gd name="connsiteX1485" fmla="*/ 1470826 w 1517794"/>
                    <a:gd name="connsiteY1485" fmla="*/ 20679 h 1262136"/>
                    <a:gd name="connsiteX1486" fmla="*/ 1473109 w 1517794"/>
                    <a:gd name="connsiteY1486" fmla="*/ 19077 h 1262136"/>
                    <a:gd name="connsiteX1487" fmla="*/ 1488481 w 1517794"/>
                    <a:gd name="connsiteY1487" fmla="*/ 11730 h 1262136"/>
                    <a:gd name="connsiteX1488" fmla="*/ 1492331 w 1517794"/>
                    <a:gd name="connsiteY1488" fmla="*/ 12568 h 1262136"/>
                    <a:gd name="connsiteX1489" fmla="*/ 1493302 w 1517794"/>
                    <a:gd name="connsiteY1489" fmla="*/ 13539 h 1262136"/>
                    <a:gd name="connsiteX1490" fmla="*/ 1494152 w 1517794"/>
                    <a:gd name="connsiteY1490" fmla="*/ 12726 h 1262136"/>
                    <a:gd name="connsiteX1491" fmla="*/ 1494699 w 1517794"/>
                    <a:gd name="connsiteY1491" fmla="*/ 11317 h 1262136"/>
                    <a:gd name="connsiteX1492" fmla="*/ 1494808 w 1517794"/>
                    <a:gd name="connsiteY1492" fmla="*/ 9581 h 1262136"/>
                    <a:gd name="connsiteX1493" fmla="*/ 1494322 w 1517794"/>
                    <a:gd name="connsiteY1493" fmla="*/ 7930 h 1262136"/>
                    <a:gd name="connsiteX1494" fmla="*/ 1493909 w 1517794"/>
                    <a:gd name="connsiteY1494" fmla="*/ 7250 h 1262136"/>
                    <a:gd name="connsiteX1495" fmla="*/ 1493363 w 1517794"/>
                    <a:gd name="connsiteY1495" fmla="*/ 5367 h 1262136"/>
                    <a:gd name="connsiteX1496" fmla="*/ 1492974 w 1517794"/>
                    <a:gd name="connsiteY1496" fmla="*/ 3740 h 1262136"/>
                    <a:gd name="connsiteX1497" fmla="*/ 1494614 w 1517794"/>
                    <a:gd name="connsiteY1497" fmla="*/ 2040 h 1262136"/>
                    <a:gd name="connsiteX1498" fmla="*/ 1496071 w 1517794"/>
                    <a:gd name="connsiteY1498" fmla="*/ 959 h 1262136"/>
                    <a:gd name="connsiteX1499" fmla="*/ 1497734 w 1517794"/>
                    <a:gd name="connsiteY1499" fmla="*/ 352 h 1262136"/>
                    <a:gd name="connsiteX1500" fmla="*/ 1501134 w 1517794"/>
                    <a:gd name="connsiteY1500" fmla="*/ 0 h 1262136"/>
                    <a:gd name="connsiteX1501" fmla="*/ 1508032 w 1517794"/>
                    <a:gd name="connsiteY1501" fmla="*/ 49 h 1262136"/>
                    <a:gd name="connsiteX1502" fmla="*/ 1510509 w 1517794"/>
                    <a:gd name="connsiteY1502" fmla="*/ 413 h 1262136"/>
                    <a:gd name="connsiteX1503" fmla="*/ 1513508 w 1517794"/>
                    <a:gd name="connsiteY1503" fmla="*/ 1542 h 1262136"/>
                    <a:gd name="connsiteX1504" fmla="*/ 1515439 w 1517794"/>
                    <a:gd name="connsiteY1504" fmla="*/ 4007 h 1262136"/>
                    <a:gd name="connsiteX1505" fmla="*/ 1516434 w 1517794"/>
                    <a:gd name="connsiteY1505" fmla="*/ 5974 h 1262136"/>
                    <a:gd name="connsiteX1506" fmla="*/ 1517394 w 1517794"/>
                    <a:gd name="connsiteY1506" fmla="*/ 11402 h 1262136"/>
                    <a:gd name="connsiteX1507" fmla="*/ 1517795 w 1517794"/>
                    <a:gd name="connsiteY1507" fmla="*/ 14025 h 1262136"/>
                    <a:gd name="connsiteX1508" fmla="*/ 1517418 w 1517794"/>
                    <a:gd name="connsiteY1508" fmla="*/ 14147 h 1262136"/>
                    <a:gd name="connsiteX1509" fmla="*/ 1517734 w 1517794"/>
                    <a:gd name="connsiteY1509" fmla="*/ 16332 h 1262136"/>
                    <a:gd name="connsiteX1510" fmla="*/ 1517442 w 1517794"/>
                    <a:gd name="connsiteY1510" fmla="*/ 17522 h 1262136"/>
                    <a:gd name="connsiteX1511" fmla="*/ 1511881 w 1517794"/>
                    <a:gd name="connsiteY1511" fmla="*/ 25743 h 1262136"/>
                    <a:gd name="connsiteX1512" fmla="*/ 1510327 w 1517794"/>
                    <a:gd name="connsiteY1512" fmla="*/ 30054 h 1262136"/>
                    <a:gd name="connsiteX1513" fmla="*/ 1502069 w 1517794"/>
                    <a:gd name="connsiteY1513" fmla="*/ 40715 h 1262136"/>
                    <a:gd name="connsiteX1514" fmla="*/ 1498548 w 1517794"/>
                    <a:gd name="connsiteY1514" fmla="*/ 46580 h 1262136"/>
                    <a:gd name="connsiteX1515" fmla="*/ 1495075 w 1517794"/>
                    <a:gd name="connsiteY1515" fmla="*/ 50563 h 1262136"/>
                    <a:gd name="connsiteX1516" fmla="*/ 1488846 w 1517794"/>
                    <a:gd name="connsiteY1516" fmla="*/ 53259 h 1262136"/>
                    <a:gd name="connsiteX1517" fmla="*/ 1473789 w 1517794"/>
                    <a:gd name="connsiteY1517" fmla="*/ 75772 h 1262136"/>
                    <a:gd name="connsiteX1518" fmla="*/ 1472817 w 1517794"/>
                    <a:gd name="connsiteY1518" fmla="*/ 79573 h 1262136"/>
                    <a:gd name="connsiteX1519" fmla="*/ 1454797 w 1517794"/>
                    <a:gd name="connsiteY1519" fmla="*/ 98552 h 1262136"/>
                    <a:gd name="connsiteX1520" fmla="*/ 1453133 w 1517794"/>
                    <a:gd name="connsiteY1520" fmla="*/ 101491 h 1262136"/>
                    <a:gd name="connsiteX1521" fmla="*/ 1452405 w 1517794"/>
                    <a:gd name="connsiteY1521" fmla="*/ 104818 h 1262136"/>
                    <a:gd name="connsiteX1522" fmla="*/ 1450110 w 1517794"/>
                    <a:gd name="connsiteY1522" fmla="*/ 107162 h 1262136"/>
                    <a:gd name="connsiteX1523" fmla="*/ 1439728 w 1517794"/>
                    <a:gd name="connsiteY1523" fmla="*/ 114374 h 1262136"/>
                    <a:gd name="connsiteX1524" fmla="*/ 1436595 w 1517794"/>
                    <a:gd name="connsiteY1524" fmla="*/ 119644 h 1262136"/>
                    <a:gd name="connsiteX1525" fmla="*/ 1434579 w 1517794"/>
                    <a:gd name="connsiteY1525" fmla="*/ 121733 h 1262136"/>
                    <a:gd name="connsiteX1526" fmla="*/ 1435988 w 1517794"/>
                    <a:gd name="connsiteY1526" fmla="*/ 123652 h 1262136"/>
                    <a:gd name="connsiteX1527" fmla="*/ 1424367 w 1517794"/>
                    <a:gd name="connsiteY1527" fmla="*/ 132783 h 1262136"/>
                    <a:gd name="connsiteX1528" fmla="*/ 1415672 w 1517794"/>
                    <a:gd name="connsiteY1528" fmla="*/ 141320 h 1262136"/>
                    <a:gd name="connsiteX1529" fmla="*/ 1414252 w 1517794"/>
                    <a:gd name="connsiteY1529" fmla="*/ 143627 h 1262136"/>
                    <a:gd name="connsiteX1530" fmla="*/ 1405569 w 1517794"/>
                    <a:gd name="connsiteY1530" fmla="*/ 149917 h 1262136"/>
                    <a:gd name="connsiteX1531" fmla="*/ 1403627 w 1517794"/>
                    <a:gd name="connsiteY1531" fmla="*/ 152770 h 1262136"/>
                    <a:gd name="connsiteX1532" fmla="*/ 1399049 w 1517794"/>
                    <a:gd name="connsiteY1532" fmla="*/ 156498 h 1262136"/>
                    <a:gd name="connsiteX1533" fmla="*/ 1397689 w 1517794"/>
                    <a:gd name="connsiteY1533" fmla="*/ 157931 h 1262136"/>
                    <a:gd name="connsiteX1534" fmla="*/ 1397300 w 1517794"/>
                    <a:gd name="connsiteY1534" fmla="*/ 159182 h 1262136"/>
                    <a:gd name="connsiteX1535" fmla="*/ 1397045 w 1517794"/>
                    <a:gd name="connsiteY1535" fmla="*/ 160603 h 1262136"/>
                    <a:gd name="connsiteX1536" fmla="*/ 1396244 w 1517794"/>
                    <a:gd name="connsiteY1536" fmla="*/ 162910 h 1262136"/>
                    <a:gd name="connsiteX1537" fmla="*/ 1394544 w 1517794"/>
                    <a:gd name="connsiteY1537" fmla="*/ 165156 h 1262136"/>
                    <a:gd name="connsiteX1538" fmla="*/ 1392322 w 1517794"/>
                    <a:gd name="connsiteY1538" fmla="*/ 172466 h 1262136"/>
                    <a:gd name="connsiteX1539" fmla="*/ 1384854 w 1517794"/>
                    <a:gd name="connsiteY1539" fmla="*/ 178234 h 1262136"/>
                    <a:gd name="connsiteX1540" fmla="*/ 1327575 w 1517794"/>
                    <a:gd name="connsiteY1540" fmla="*/ 204171 h 1262136"/>
                    <a:gd name="connsiteX1541" fmla="*/ 1297631 w 1517794"/>
                    <a:gd name="connsiteY1541" fmla="*/ 222301 h 1262136"/>
                    <a:gd name="connsiteX1542" fmla="*/ 1292106 w 1517794"/>
                    <a:gd name="connsiteY1542" fmla="*/ 227073 h 1262136"/>
                    <a:gd name="connsiteX1543" fmla="*/ 1289264 w 1517794"/>
                    <a:gd name="connsiteY1543" fmla="*/ 233035 h 1262136"/>
                    <a:gd name="connsiteX1544" fmla="*/ 1288050 w 1517794"/>
                    <a:gd name="connsiteY1544" fmla="*/ 234687 h 1262136"/>
                    <a:gd name="connsiteX1545" fmla="*/ 1287819 w 1517794"/>
                    <a:gd name="connsiteY1545" fmla="*/ 235209 h 1262136"/>
                    <a:gd name="connsiteX1546" fmla="*/ 1287467 w 1517794"/>
                    <a:gd name="connsiteY1546" fmla="*/ 235755 h 1262136"/>
                    <a:gd name="connsiteX1547" fmla="*/ 1283970 w 1517794"/>
                    <a:gd name="connsiteY1547" fmla="*/ 239240 h 1262136"/>
                    <a:gd name="connsiteX1548" fmla="*/ 1282974 w 1517794"/>
                    <a:gd name="connsiteY1548" fmla="*/ 239969 h 1262136"/>
                    <a:gd name="connsiteX1549" fmla="*/ 1282064 w 1517794"/>
                    <a:gd name="connsiteY1549" fmla="*/ 241402 h 1262136"/>
                    <a:gd name="connsiteX1550" fmla="*/ 1273867 w 1517794"/>
                    <a:gd name="connsiteY1550" fmla="*/ 247073 h 1262136"/>
                    <a:gd name="connsiteX1551" fmla="*/ 1270989 w 1517794"/>
                    <a:gd name="connsiteY1551" fmla="*/ 250363 h 1262136"/>
                    <a:gd name="connsiteX1552" fmla="*/ 1268816 w 1517794"/>
                    <a:gd name="connsiteY1552" fmla="*/ 250363 h 1262136"/>
                    <a:gd name="connsiteX1553" fmla="*/ 1269022 w 1517794"/>
                    <a:gd name="connsiteY1553" fmla="*/ 255512 h 1262136"/>
                    <a:gd name="connsiteX1554" fmla="*/ 1264335 w 1517794"/>
                    <a:gd name="connsiteY1554" fmla="*/ 258669 h 1262136"/>
                    <a:gd name="connsiteX1555" fmla="*/ 1263546 w 1517794"/>
                    <a:gd name="connsiteY1555" fmla="*/ 260770 h 1262136"/>
                    <a:gd name="connsiteX1556" fmla="*/ 1262283 w 1517794"/>
                    <a:gd name="connsiteY1556" fmla="*/ 266623 h 1262136"/>
                    <a:gd name="connsiteX1557" fmla="*/ 1258895 w 1517794"/>
                    <a:gd name="connsiteY1557" fmla="*/ 271929 h 1262136"/>
                    <a:gd name="connsiteX1558" fmla="*/ 1247250 w 1517794"/>
                    <a:gd name="connsiteY1558" fmla="*/ 285177 h 1262136"/>
                    <a:gd name="connsiteX1559" fmla="*/ 1242138 w 1517794"/>
                    <a:gd name="connsiteY1559" fmla="*/ 288662 h 1262136"/>
                    <a:gd name="connsiteX1560" fmla="*/ 1241385 w 1517794"/>
                    <a:gd name="connsiteY1560" fmla="*/ 288929 h 1262136"/>
                    <a:gd name="connsiteX1561" fmla="*/ 1239903 w 1517794"/>
                    <a:gd name="connsiteY1561" fmla="*/ 290471 h 1262136"/>
                    <a:gd name="connsiteX1562" fmla="*/ 1240183 w 1517794"/>
                    <a:gd name="connsiteY1562" fmla="*/ 294952 h 1262136"/>
                    <a:gd name="connsiteX1563" fmla="*/ 1236977 w 1517794"/>
                    <a:gd name="connsiteY1563" fmla="*/ 297211 h 1262136"/>
                    <a:gd name="connsiteX1564" fmla="*/ 1232460 w 1517794"/>
                    <a:gd name="connsiteY1564" fmla="*/ 299238 h 1262136"/>
                    <a:gd name="connsiteX1565" fmla="*/ 1230711 w 1517794"/>
                    <a:gd name="connsiteY1565" fmla="*/ 300853 h 1262136"/>
                    <a:gd name="connsiteX1566" fmla="*/ 1227967 w 1517794"/>
                    <a:gd name="connsiteY1566" fmla="*/ 302298 h 1262136"/>
                    <a:gd name="connsiteX1567" fmla="*/ 1227032 w 1517794"/>
                    <a:gd name="connsiteY1567" fmla="*/ 302286 h 1262136"/>
                    <a:gd name="connsiteX1568" fmla="*/ 1227250 w 1517794"/>
                    <a:gd name="connsiteY1568" fmla="*/ 302565 h 1262136"/>
                    <a:gd name="connsiteX1569" fmla="*/ 1228659 w 1517794"/>
                    <a:gd name="connsiteY1569" fmla="*/ 306245 h 1262136"/>
                    <a:gd name="connsiteX1570" fmla="*/ 1229582 w 1517794"/>
                    <a:gd name="connsiteY1570" fmla="*/ 308953 h 1262136"/>
                    <a:gd name="connsiteX1571" fmla="*/ 1223911 w 1517794"/>
                    <a:gd name="connsiteY1571" fmla="*/ 311296 h 1262136"/>
                    <a:gd name="connsiteX1572" fmla="*/ 1220851 w 1517794"/>
                    <a:gd name="connsiteY1572" fmla="*/ 312001 h 1262136"/>
                    <a:gd name="connsiteX1573" fmla="*/ 1219175 w 1517794"/>
                    <a:gd name="connsiteY1573" fmla="*/ 313033 h 1262136"/>
                    <a:gd name="connsiteX1574" fmla="*/ 1214853 w 1517794"/>
                    <a:gd name="connsiteY1574" fmla="*/ 316105 h 1262136"/>
                    <a:gd name="connsiteX1575" fmla="*/ 1198520 w 1517794"/>
                    <a:gd name="connsiteY1575" fmla="*/ 322116 h 1262136"/>
                    <a:gd name="connsiteX1576" fmla="*/ 1192704 w 1517794"/>
                    <a:gd name="connsiteY1576" fmla="*/ 326402 h 1262136"/>
                    <a:gd name="connsiteX1577" fmla="*/ 1186013 w 1517794"/>
                    <a:gd name="connsiteY1577" fmla="*/ 329693 h 1262136"/>
                    <a:gd name="connsiteX1578" fmla="*/ 1182188 w 1517794"/>
                    <a:gd name="connsiteY1578" fmla="*/ 332753 h 1262136"/>
                    <a:gd name="connsiteX1579" fmla="*/ 1178557 w 1517794"/>
                    <a:gd name="connsiteY1579" fmla="*/ 336347 h 1262136"/>
                    <a:gd name="connsiteX1580" fmla="*/ 1176833 w 1517794"/>
                    <a:gd name="connsiteY1580" fmla="*/ 337476 h 1262136"/>
                    <a:gd name="connsiteX1581" fmla="*/ 1172862 w 1517794"/>
                    <a:gd name="connsiteY1581" fmla="*/ 338618 h 1262136"/>
                    <a:gd name="connsiteX1582" fmla="*/ 1171854 w 1517794"/>
                    <a:gd name="connsiteY1582" fmla="*/ 339043 h 1262136"/>
                    <a:gd name="connsiteX1583" fmla="*/ 1162431 w 1517794"/>
                    <a:gd name="connsiteY1583" fmla="*/ 345880 h 1262136"/>
                    <a:gd name="connsiteX1584" fmla="*/ 1158060 w 1517794"/>
                    <a:gd name="connsiteY1584" fmla="*/ 345418 h 1262136"/>
                    <a:gd name="connsiteX1585" fmla="*/ 1157720 w 1517794"/>
                    <a:gd name="connsiteY1585" fmla="*/ 344665 h 1262136"/>
                    <a:gd name="connsiteX1586" fmla="*/ 1155498 w 1517794"/>
                    <a:gd name="connsiteY1586" fmla="*/ 346414 h 1262136"/>
                    <a:gd name="connsiteX1587" fmla="*/ 1152146 w 1517794"/>
                    <a:gd name="connsiteY1587" fmla="*/ 348527 h 1262136"/>
                    <a:gd name="connsiteX1588" fmla="*/ 1143501 w 1517794"/>
                    <a:gd name="connsiteY1588" fmla="*/ 350785 h 1262136"/>
                    <a:gd name="connsiteX1589" fmla="*/ 1137271 w 1517794"/>
                    <a:gd name="connsiteY1589" fmla="*/ 355011 h 1262136"/>
                    <a:gd name="connsiteX1590" fmla="*/ 1129002 w 1517794"/>
                    <a:gd name="connsiteY1590" fmla="*/ 357415 h 1262136"/>
                    <a:gd name="connsiteX1591" fmla="*/ 1084073 w 1517794"/>
                    <a:gd name="connsiteY1591" fmla="*/ 384652 h 1262136"/>
                    <a:gd name="connsiteX1592" fmla="*/ 1080394 w 1517794"/>
                    <a:gd name="connsiteY1592" fmla="*/ 388671 h 1262136"/>
                    <a:gd name="connsiteX1593" fmla="*/ 1077662 w 1517794"/>
                    <a:gd name="connsiteY1593" fmla="*/ 393650 h 1262136"/>
                    <a:gd name="connsiteX1594" fmla="*/ 1074529 w 1517794"/>
                    <a:gd name="connsiteY1594" fmla="*/ 397365 h 1262136"/>
                    <a:gd name="connsiteX1595" fmla="*/ 1067826 w 1517794"/>
                    <a:gd name="connsiteY1595" fmla="*/ 399915 h 1262136"/>
                    <a:gd name="connsiteX1596" fmla="*/ 1065045 w 1517794"/>
                    <a:gd name="connsiteY1596" fmla="*/ 402696 h 1262136"/>
                    <a:gd name="connsiteX1597" fmla="*/ 1059994 w 1517794"/>
                    <a:gd name="connsiteY1597" fmla="*/ 409521 h 1262136"/>
                    <a:gd name="connsiteX1598" fmla="*/ 1053898 w 1517794"/>
                    <a:gd name="connsiteY1598" fmla="*/ 415082 h 1262136"/>
                    <a:gd name="connsiteX1599" fmla="*/ 1053582 w 1517794"/>
                    <a:gd name="connsiteY1599" fmla="*/ 415519 h 1262136"/>
                    <a:gd name="connsiteX1600" fmla="*/ 1063782 w 1517794"/>
                    <a:gd name="connsiteY1600" fmla="*/ 432592 h 1262136"/>
                    <a:gd name="connsiteX1601" fmla="*/ 1065142 w 1517794"/>
                    <a:gd name="connsiteY1601" fmla="*/ 438919 h 1262136"/>
                    <a:gd name="connsiteX1602" fmla="*/ 1065361 w 1517794"/>
                    <a:gd name="connsiteY1602" fmla="*/ 448706 h 1262136"/>
                    <a:gd name="connsiteX1603" fmla="*/ 1065021 w 1517794"/>
                    <a:gd name="connsiteY1603" fmla="*/ 458263 h 1262136"/>
                    <a:gd name="connsiteX1604" fmla="*/ 1062398 w 1517794"/>
                    <a:gd name="connsiteY1604" fmla="*/ 468632 h 1262136"/>
                    <a:gd name="connsiteX1605" fmla="*/ 1061329 w 1517794"/>
                    <a:gd name="connsiteY1605" fmla="*/ 478833 h 1262136"/>
                    <a:gd name="connsiteX1606" fmla="*/ 1059739 w 1517794"/>
                    <a:gd name="connsiteY1606" fmla="*/ 484673 h 1262136"/>
                    <a:gd name="connsiteX1607" fmla="*/ 1055100 w 1517794"/>
                    <a:gd name="connsiteY1607" fmla="*/ 494788 h 1262136"/>
                    <a:gd name="connsiteX1608" fmla="*/ 1055076 w 1517794"/>
                    <a:gd name="connsiteY1608" fmla="*/ 494983 h 1262136"/>
                    <a:gd name="connsiteX1609" fmla="*/ 1055379 w 1517794"/>
                    <a:gd name="connsiteY1609" fmla="*/ 496403 h 1262136"/>
                    <a:gd name="connsiteX1610" fmla="*/ 1054736 w 1517794"/>
                    <a:gd name="connsiteY1610" fmla="*/ 500022 h 1262136"/>
                    <a:gd name="connsiteX1611" fmla="*/ 1052866 w 1517794"/>
                    <a:gd name="connsiteY1611" fmla="*/ 500362 h 1262136"/>
                    <a:gd name="connsiteX1612" fmla="*/ 1056727 w 1517794"/>
                    <a:gd name="connsiteY1612" fmla="*/ 504321 h 1262136"/>
                    <a:gd name="connsiteX1613" fmla="*/ 1043588 w 1517794"/>
                    <a:gd name="connsiteY1613" fmla="*/ 508304 h 1262136"/>
                    <a:gd name="connsiteX1614" fmla="*/ 1033656 w 1517794"/>
                    <a:gd name="connsiteY1614" fmla="*/ 517957 h 1262136"/>
                    <a:gd name="connsiteX1615" fmla="*/ 1030304 w 1517794"/>
                    <a:gd name="connsiteY1615" fmla="*/ 520046 h 1262136"/>
                    <a:gd name="connsiteX1616" fmla="*/ 1026479 w 1517794"/>
                    <a:gd name="connsiteY1616" fmla="*/ 521017 h 1262136"/>
                    <a:gd name="connsiteX1617" fmla="*/ 1017773 w 1517794"/>
                    <a:gd name="connsiteY1617" fmla="*/ 525315 h 1262136"/>
                    <a:gd name="connsiteX1618" fmla="*/ 1012211 w 1517794"/>
                    <a:gd name="connsiteY1618" fmla="*/ 529396 h 1262136"/>
                    <a:gd name="connsiteX1619" fmla="*/ 1006808 w 1517794"/>
                    <a:gd name="connsiteY1619" fmla="*/ 532067 h 1262136"/>
                    <a:gd name="connsiteX1620" fmla="*/ 1001380 w 1517794"/>
                    <a:gd name="connsiteY1620" fmla="*/ 531448 h 1262136"/>
                    <a:gd name="connsiteX1621" fmla="*/ 999619 w 1517794"/>
                    <a:gd name="connsiteY1621" fmla="*/ 532917 h 1262136"/>
                    <a:gd name="connsiteX1622" fmla="*/ 997117 w 1517794"/>
                    <a:gd name="connsiteY1622" fmla="*/ 535734 h 1262136"/>
                    <a:gd name="connsiteX1623" fmla="*/ 993110 w 1517794"/>
                    <a:gd name="connsiteY1623" fmla="*/ 538843 h 1262136"/>
                    <a:gd name="connsiteX1624" fmla="*/ 990099 w 1517794"/>
                    <a:gd name="connsiteY1624" fmla="*/ 538989 h 1262136"/>
                    <a:gd name="connsiteX1625" fmla="*/ 987233 w 1517794"/>
                    <a:gd name="connsiteY1625" fmla="*/ 538782 h 1262136"/>
                    <a:gd name="connsiteX1626" fmla="*/ 985861 w 1517794"/>
                    <a:gd name="connsiteY1626" fmla="*/ 541454 h 1262136"/>
                    <a:gd name="connsiteX1627" fmla="*/ 983481 w 1517794"/>
                    <a:gd name="connsiteY1627" fmla="*/ 542498 h 1262136"/>
                    <a:gd name="connsiteX1628" fmla="*/ 974823 w 1517794"/>
                    <a:gd name="connsiteY1628" fmla="*/ 543226 h 1262136"/>
                    <a:gd name="connsiteX1629" fmla="*/ 971654 w 1517794"/>
                    <a:gd name="connsiteY1629" fmla="*/ 543979 h 1262136"/>
                    <a:gd name="connsiteX1630" fmla="*/ 968424 w 1517794"/>
                    <a:gd name="connsiteY1630" fmla="*/ 545097 h 1262136"/>
                    <a:gd name="connsiteX1631" fmla="*/ 954059 w 1517794"/>
                    <a:gd name="connsiteY1631" fmla="*/ 552055 h 1262136"/>
                    <a:gd name="connsiteX1632" fmla="*/ 950306 w 1517794"/>
                    <a:gd name="connsiteY1632" fmla="*/ 555187 h 1262136"/>
                    <a:gd name="connsiteX1633" fmla="*/ 940738 w 1517794"/>
                    <a:gd name="connsiteY1633" fmla="*/ 557446 h 1262136"/>
                    <a:gd name="connsiteX1634" fmla="*/ 939281 w 1517794"/>
                    <a:gd name="connsiteY1634" fmla="*/ 557446 h 1262136"/>
                    <a:gd name="connsiteX1635" fmla="*/ 935188 w 1517794"/>
                    <a:gd name="connsiteY1635" fmla="*/ 556754 h 1262136"/>
                    <a:gd name="connsiteX1636" fmla="*/ 931084 w 1517794"/>
                    <a:gd name="connsiteY1636" fmla="*/ 553973 h 1262136"/>
                    <a:gd name="connsiteX1637" fmla="*/ 928558 w 1517794"/>
                    <a:gd name="connsiteY1637" fmla="*/ 552746 h 1262136"/>
                    <a:gd name="connsiteX1638" fmla="*/ 924843 w 1517794"/>
                    <a:gd name="connsiteY1638" fmla="*/ 553621 h 1262136"/>
                    <a:gd name="connsiteX1639" fmla="*/ 921042 w 1517794"/>
                    <a:gd name="connsiteY1639" fmla="*/ 551884 h 1262136"/>
                    <a:gd name="connsiteX1640" fmla="*/ 915286 w 1517794"/>
                    <a:gd name="connsiteY1640" fmla="*/ 551630 h 1262136"/>
                    <a:gd name="connsiteX1641" fmla="*/ 908122 w 1517794"/>
                    <a:gd name="connsiteY1641" fmla="*/ 549857 h 1262136"/>
                    <a:gd name="connsiteX1642" fmla="*/ 906203 w 1517794"/>
                    <a:gd name="connsiteY1642" fmla="*/ 550197 h 1262136"/>
                    <a:gd name="connsiteX1643" fmla="*/ 898031 w 1517794"/>
                    <a:gd name="connsiteY1643" fmla="*/ 547975 h 1262136"/>
                    <a:gd name="connsiteX1644" fmla="*/ 895287 w 1517794"/>
                    <a:gd name="connsiteY1644" fmla="*/ 548472 h 1262136"/>
                    <a:gd name="connsiteX1645" fmla="*/ 878906 w 1517794"/>
                    <a:gd name="connsiteY1645" fmla="*/ 553851 h 1262136"/>
                    <a:gd name="connsiteX1646" fmla="*/ 881966 w 1517794"/>
                    <a:gd name="connsiteY1646" fmla="*/ 545825 h 1262136"/>
                    <a:gd name="connsiteX1647" fmla="*/ 882780 w 1517794"/>
                    <a:gd name="connsiteY1647" fmla="*/ 544417 h 1262136"/>
                    <a:gd name="connsiteX1648" fmla="*/ 882002 w 1517794"/>
                    <a:gd name="connsiteY1648" fmla="*/ 543858 h 1262136"/>
                    <a:gd name="connsiteX1649" fmla="*/ 881371 w 1517794"/>
                    <a:gd name="connsiteY1649" fmla="*/ 543858 h 1262136"/>
                    <a:gd name="connsiteX1650" fmla="*/ 879707 w 1517794"/>
                    <a:gd name="connsiteY1650" fmla="*/ 544659 h 1262136"/>
                    <a:gd name="connsiteX1651" fmla="*/ 878299 w 1517794"/>
                    <a:gd name="connsiteY1651" fmla="*/ 546007 h 1262136"/>
                    <a:gd name="connsiteX1652" fmla="*/ 876866 w 1517794"/>
                    <a:gd name="connsiteY1652" fmla="*/ 547246 h 1262136"/>
                    <a:gd name="connsiteX1653" fmla="*/ 872713 w 1517794"/>
                    <a:gd name="connsiteY1653" fmla="*/ 545473 h 1262136"/>
                    <a:gd name="connsiteX1654" fmla="*/ 870709 w 1517794"/>
                    <a:gd name="connsiteY1654" fmla="*/ 545570 h 1262136"/>
                    <a:gd name="connsiteX1655" fmla="*/ 868840 w 1517794"/>
                    <a:gd name="connsiteY1655" fmla="*/ 546201 h 1262136"/>
                    <a:gd name="connsiteX1656" fmla="*/ 865840 w 1517794"/>
                    <a:gd name="connsiteY1656" fmla="*/ 546712 h 1262136"/>
                    <a:gd name="connsiteX1657" fmla="*/ 856089 w 1517794"/>
                    <a:gd name="connsiteY1657" fmla="*/ 553002 h 1262136"/>
                    <a:gd name="connsiteX1658" fmla="*/ 855664 w 1517794"/>
                    <a:gd name="connsiteY1658" fmla="*/ 553572 h 1262136"/>
                    <a:gd name="connsiteX1659" fmla="*/ 856417 w 1517794"/>
                    <a:gd name="connsiteY1659" fmla="*/ 554726 h 1262136"/>
                    <a:gd name="connsiteX1660" fmla="*/ 857644 w 1517794"/>
                    <a:gd name="connsiteY1660" fmla="*/ 558976 h 1262136"/>
                    <a:gd name="connsiteX1661" fmla="*/ 856259 w 1517794"/>
                    <a:gd name="connsiteY1661" fmla="*/ 563724 h 1262136"/>
                    <a:gd name="connsiteX1662" fmla="*/ 851803 w 1517794"/>
                    <a:gd name="connsiteY1662" fmla="*/ 569030 h 1262136"/>
                    <a:gd name="connsiteX1663" fmla="*/ 849739 w 1517794"/>
                    <a:gd name="connsiteY1663" fmla="*/ 576874 h 1262136"/>
                    <a:gd name="connsiteX1664" fmla="*/ 844298 w 1517794"/>
                    <a:gd name="connsiteY1664" fmla="*/ 589006 h 1262136"/>
                    <a:gd name="connsiteX1665" fmla="*/ 842550 w 1517794"/>
                    <a:gd name="connsiteY1665" fmla="*/ 598368 h 1262136"/>
                    <a:gd name="connsiteX1666" fmla="*/ 838846 w 1517794"/>
                    <a:gd name="connsiteY1666" fmla="*/ 605034 h 1262136"/>
                    <a:gd name="connsiteX1667" fmla="*/ 837960 w 1517794"/>
                    <a:gd name="connsiteY1667" fmla="*/ 607997 h 1262136"/>
                    <a:gd name="connsiteX1668" fmla="*/ 837996 w 1517794"/>
                    <a:gd name="connsiteY1668" fmla="*/ 617323 h 1262136"/>
                    <a:gd name="connsiteX1669" fmla="*/ 836818 w 1517794"/>
                    <a:gd name="connsiteY1669" fmla="*/ 621294 h 1262136"/>
                    <a:gd name="connsiteX1670" fmla="*/ 836272 w 1517794"/>
                    <a:gd name="connsiteY1670" fmla="*/ 622921 h 1262136"/>
                    <a:gd name="connsiteX1671" fmla="*/ 832690 w 1517794"/>
                    <a:gd name="connsiteY1671" fmla="*/ 623698 h 1262136"/>
                    <a:gd name="connsiteX1672" fmla="*/ 824530 w 1517794"/>
                    <a:gd name="connsiteY1672" fmla="*/ 631785 h 1262136"/>
                    <a:gd name="connsiteX1673" fmla="*/ 815544 w 1517794"/>
                    <a:gd name="connsiteY1673" fmla="*/ 637431 h 1262136"/>
                    <a:gd name="connsiteX1674" fmla="*/ 812788 w 1517794"/>
                    <a:gd name="connsiteY1674" fmla="*/ 639738 h 1262136"/>
                    <a:gd name="connsiteX1675" fmla="*/ 808623 w 1517794"/>
                    <a:gd name="connsiteY1675" fmla="*/ 645057 h 1262136"/>
                    <a:gd name="connsiteX1676" fmla="*/ 808598 w 1517794"/>
                    <a:gd name="connsiteY1676" fmla="*/ 645664 h 1262136"/>
                    <a:gd name="connsiteX1677" fmla="*/ 809133 w 1517794"/>
                    <a:gd name="connsiteY1677" fmla="*/ 646806 h 1262136"/>
                    <a:gd name="connsiteX1678" fmla="*/ 809885 w 1517794"/>
                    <a:gd name="connsiteY1678" fmla="*/ 647680 h 1262136"/>
                    <a:gd name="connsiteX1679" fmla="*/ 810736 w 1517794"/>
                    <a:gd name="connsiteY1679" fmla="*/ 649028 h 1262136"/>
                    <a:gd name="connsiteX1680" fmla="*/ 812290 w 1517794"/>
                    <a:gd name="connsiteY1680" fmla="*/ 653411 h 1262136"/>
                    <a:gd name="connsiteX1681" fmla="*/ 812448 w 1517794"/>
                    <a:gd name="connsiteY1681" fmla="*/ 655974 h 1262136"/>
                    <a:gd name="connsiteX1682" fmla="*/ 812448 w 1517794"/>
                    <a:gd name="connsiteY1682" fmla="*/ 657273 h 1262136"/>
                    <a:gd name="connsiteX1683" fmla="*/ 809254 w 1517794"/>
                    <a:gd name="connsiteY1683" fmla="*/ 660309 h 1262136"/>
                    <a:gd name="connsiteX1684" fmla="*/ 805684 w 1517794"/>
                    <a:gd name="connsiteY1684" fmla="*/ 660017 h 1262136"/>
                    <a:gd name="connsiteX1685" fmla="*/ 803377 w 1517794"/>
                    <a:gd name="connsiteY1685" fmla="*/ 658463 h 1262136"/>
                    <a:gd name="connsiteX1686" fmla="*/ 801580 w 1517794"/>
                    <a:gd name="connsiteY1686" fmla="*/ 656860 h 1262136"/>
                    <a:gd name="connsiteX1687" fmla="*/ 799455 w 1517794"/>
                    <a:gd name="connsiteY1687" fmla="*/ 654067 h 1262136"/>
                    <a:gd name="connsiteX1688" fmla="*/ 794367 w 1517794"/>
                    <a:gd name="connsiteY1688" fmla="*/ 649878 h 1262136"/>
                    <a:gd name="connsiteX1689" fmla="*/ 793140 w 1517794"/>
                    <a:gd name="connsiteY1689" fmla="*/ 649174 h 1262136"/>
                    <a:gd name="connsiteX1690" fmla="*/ 789376 w 1517794"/>
                    <a:gd name="connsiteY1690" fmla="*/ 648117 h 1262136"/>
                    <a:gd name="connsiteX1691" fmla="*/ 786607 w 1517794"/>
                    <a:gd name="connsiteY1691" fmla="*/ 644693 h 1262136"/>
                    <a:gd name="connsiteX1692" fmla="*/ 785393 w 1517794"/>
                    <a:gd name="connsiteY1692" fmla="*/ 641281 h 1262136"/>
                    <a:gd name="connsiteX1693" fmla="*/ 781507 w 1517794"/>
                    <a:gd name="connsiteY1693" fmla="*/ 649841 h 1262136"/>
                    <a:gd name="connsiteX1694" fmla="*/ 776869 w 1517794"/>
                    <a:gd name="connsiteY1694" fmla="*/ 663952 h 1262136"/>
                    <a:gd name="connsiteX1695" fmla="*/ 774562 w 1517794"/>
                    <a:gd name="connsiteY1695" fmla="*/ 668845 h 1262136"/>
                    <a:gd name="connsiteX1696" fmla="*/ 766596 w 1517794"/>
                    <a:gd name="connsiteY1696" fmla="*/ 675633 h 1262136"/>
                    <a:gd name="connsiteX1697" fmla="*/ 766827 w 1517794"/>
                    <a:gd name="connsiteY1697" fmla="*/ 652112 h 1262136"/>
                    <a:gd name="connsiteX1698" fmla="*/ 765916 w 1517794"/>
                    <a:gd name="connsiteY1698" fmla="*/ 645834 h 1262136"/>
                    <a:gd name="connsiteX1699" fmla="*/ 761666 w 1517794"/>
                    <a:gd name="connsiteY1699" fmla="*/ 638974 h 1262136"/>
                    <a:gd name="connsiteX1700" fmla="*/ 759346 w 1517794"/>
                    <a:gd name="connsiteY1700" fmla="*/ 637674 h 1262136"/>
                    <a:gd name="connsiteX1701" fmla="*/ 755777 w 1517794"/>
                    <a:gd name="connsiteY1701" fmla="*/ 637116 h 1262136"/>
                    <a:gd name="connsiteX1702" fmla="*/ 747556 w 1517794"/>
                    <a:gd name="connsiteY1702" fmla="*/ 636593 h 1262136"/>
                    <a:gd name="connsiteX1703" fmla="*/ 746244 w 1517794"/>
                    <a:gd name="connsiteY1703" fmla="*/ 636205 h 1262136"/>
                    <a:gd name="connsiteX1704" fmla="*/ 747034 w 1517794"/>
                    <a:gd name="connsiteY1704" fmla="*/ 637723 h 1262136"/>
                    <a:gd name="connsiteX1705" fmla="*/ 742699 w 1517794"/>
                    <a:gd name="connsiteY1705" fmla="*/ 638791 h 1262136"/>
                    <a:gd name="connsiteX1706" fmla="*/ 734381 w 1517794"/>
                    <a:gd name="connsiteY1706" fmla="*/ 639095 h 1262136"/>
                    <a:gd name="connsiteX1707" fmla="*/ 731697 w 1517794"/>
                    <a:gd name="connsiteY1707" fmla="*/ 640006 h 1262136"/>
                    <a:gd name="connsiteX1708" fmla="*/ 729511 w 1517794"/>
                    <a:gd name="connsiteY1708" fmla="*/ 641536 h 1262136"/>
                    <a:gd name="connsiteX1709" fmla="*/ 726281 w 1517794"/>
                    <a:gd name="connsiteY1709" fmla="*/ 642616 h 1262136"/>
                    <a:gd name="connsiteX1710" fmla="*/ 724363 w 1517794"/>
                    <a:gd name="connsiteY1710" fmla="*/ 643187 h 1262136"/>
                    <a:gd name="connsiteX1711" fmla="*/ 722711 w 1517794"/>
                    <a:gd name="connsiteY1711" fmla="*/ 641220 h 1262136"/>
                    <a:gd name="connsiteX1712" fmla="*/ 722056 w 1517794"/>
                    <a:gd name="connsiteY1712" fmla="*/ 641912 h 1262136"/>
                    <a:gd name="connsiteX1713" fmla="*/ 718716 w 1517794"/>
                    <a:gd name="connsiteY1713" fmla="*/ 644426 h 1262136"/>
                    <a:gd name="connsiteX1714" fmla="*/ 711977 w 1517794"/>
                    <a:gd name="connsiteY1714" fmla="*/ 648056 h 1262136"/>
                    <a:gd name="connsiteX1715" fmla="*/ 709730 w 1517794"/>
                    <a:gd name="connsiteY1715" fmla="*/ 648809 h 1262136"/>
                    <a:gd name="connsiteX1716" fmla="*/ 707727 w 1517794"/>
                    <a:gd name="connsiteY1716" fmla="*/ 649040 h 1262136"/>
                    <a:gd name="connsiteX1717" fmla="*/ 706816 w 1517794"/>
                    <a:gd name="connsiteY1717" fmla="*/ 649247 h 1262136"/>
                    <a:gd name="connsiteX1718" fmla="*/ 706488 w 1517794"/>
                    <a:gd name="connsiteY1718" fmla="*/ 649744 h 1262136"/>
                    <a:gd name="connsiteX1719" fmla="*/ 703950 w 1517794"/>
                    <a:gd name="connsiteY1719" fmla="*/ 652319 h 1262136"/>
                    <a:gd name="connsiteX1720" fmla="*/ 701813 w 1517794"/>
                    <a:gd name="connsiteY1720" fmla="*/ 653837 h 1262136"/>
                    <a:gd name="connsiteX1721" fmla="*/ 692864 w 1517794"/>
                    <a:gd name="connsiteY1721" fmla="*/ 656435 h 1262136"/>
                    <a:gd name="connsiteX1722" fmla="*/ 687400 w 1517794"/>
                    <a:gd name="connsiteY1722" fmla="*/ 660139 h 1262136"/>
                    <a:gd name="connsiteX1723" fmla="*/ 672877 w 1517794"/>
                    <a:gd name="connsiteY1723" fmla="*/ 674212 h 1262136"/>
                    <a:gd name="connsiteX1724" fmla="*/ 670254 w 1517794"/>
                    <a:gd name="connsiteY1724" fmla="*/ 678657 h 1262136"/>
                    <a:gd name="connsiteX1725" fmla="*/ 662288 w 1517794"/>
                    <a:gd name="connsiteY1725" fmla="*/ 698729 h 1262136"/>
                    <a:gd name="connsiteX1726" fmla="*/ 662070 w 1517794"/>
                    <a:gd name="connsiteY1726" fmla="*/ 701643 h 1262136"/>
                    <a:gd name="connsiteX1727" fmla="*/ 658827 w 1517794"/>
                    <a:gd name="connsiteY1727" fmla="*/ 708297 h 1262136"/>
                    <a:gd name="connsiteX1728" fmla="*/ 662446 w 1517794"/>
                    <a:gd name="connsiteY1728" fmla="*/ 710082 h 1262136"/>
                    <a:gd name="connsiteX1729" fmla="*/ 658342 w 1517794"/>
                    <a:gd name="connsiteY1729" fmla="*/ 715766 h 1262136"/>
                    <a:gd name="connsiteX1730" fmla="*/ 655439 w 1517794"/>
                    <a:gd name="connsiteY1730" fmla="*/ 721181 h 1262136"/>
                    <a:gd name="connsiteX1731" fmla="*/ 653108 w 1517794"/>
                    <a:gd name="connsiteY1731" fmla="*/ 724265 h 1262136"/>
                    <a:gd name="connsiteX1732" fmla="*/ 646697 w 1517794"/>
                    <a:gd name="connsiteY1732" fmla="*/ 730665 h 1262136"/>
                    <a:gd name="connsiteX1733" fmla="*/ 644511 w 1517794"/>
                    <a:gd name="connsiteY1733" fmla="*/ 733810 h 1262136"/>
                    <a:gd name="connsiteX1734" fmla="*/ 643904 w 1517794"/>
                    <a:gd name="connsiteY1734" fmla="*/ 736396 h 1262136"/>
                    <a:gd name="connsiteX1735" fmla="*/ 638439 w 1517794"/>
                    <a:gd name="connsiteY1735" fmla="*/ 748357 h 1262136"/>
                    <a:gd name="connsiteX1736" fmla="*/ 638573 w 1517794"/>
                    <a:gd name="connsiteY1736" fmla="*/ 748964 h 1262136"/>
                    <a:gd name="connsiteX1737" fmla="*/ 636715 w 1517794"/>
                    <a:gd name="connsiteY1737" fmla="*/ 767677 h 1262136"/>
                    <a:gd name="connsiteX1738" fmla="*/ 631129 w 1517794"/>
                    <a:gd name="connsiteY1738" fmla="*/ 789510 h 1262136"/>
                    <a:gd name="connsiteX1739" fmla="*/ 631518 w 1517794"/>
                    <a:gd name="connsiteY1739" fmla="*/ 803741 h 1262136"/>
                    <a:gd name="connsiteX1740" fmla="*/ 632793 w 1517794"/>
                    <a:gd name="connsiteY1740" fmla="*/ 810832 h 1262136"/>
                    <a:gd name="connsiteX1741" fmla="*/ 634906 w 1517794"/>
                    <a:gd name="connsiteY1741" fmla="*/ 816600 h 1262136"/>
                    <a:gd name="connsiteX1742" fmla="*/ 635027 w 1517794"/>
                    <a:gd name="connsiteY1742" fmla="*/ 821798 h 1262136"/>
                    <a:gd name="connsiteX1743" fmla="*/ 640989 w 1517794"/>
                    <a:gd name="connsiteY1743" fmla="*/ 851196 h 1262136"/>
                    <a:gd name="connsiteX1744" fmla="*/ 641560 w 1517794"/>
                    <a:gd name="connsiteY1744" fmla="*/ 861080 h 1262136"/>
                    <a:gd name="connsiteX1745" fmla="*/ 641706 w 1517794"/>
                    <a:gd name="connsiteY1745" fmla="*/ 861517 h 1262136"/>
                    <a:gd name="connsiteX1746" fmla="*/ 642434 w 1517794"/>
                    <a:gd name="connsiteY1746" fmla="*/ 862294 h 1262136"/>
                    <a:gd name="connsiteX1747" fmla="*/ 644329 w 1517794"/>
                    <a:gd name="connsiteY1747" fmla="*/ 863970 h 1262136"/>
                    <a:gd name="connsiteX1748" fmla="*/ 648433 w 1517794"/>
                    <a:gd name="connsiteY1748" fmla="*/ 866690 h 1262136"/>
                    <a:gd name="connsiteX1749" fmla="*/ 651068 w 1517794"/>
                    <a:gd name="connsiteY1749" fmla="*/ 869896 h 1262136"/>
                    <a:gd name="connsiteX1750" fmla="*/ 652464 w 1517794"/>
                    <a:gd name="connsiteY1750" fmla="*/ 877206 h 1262136"/>
                    <a:gd name="connsiteX1751" fmla="*/ 653424 w 1517794"/>
                    <a:gd name="connsiteY1751" fmla="*/ 878469 h 1262136"/>
                    <a:gd name="connsiteX1752" fmla="*/ 654893 w 1517794"/>
                    <a:gd name="connsiteY1752" fmla="*/ 881687 h 1262136"/>
                    <a:gd name="connsiteX1753" fmla="*/ 654140 w 1517794"/>
                    <a:gd name="connsiteY1753" fmla="*/ 885621 h 1262136"/>
                    <a:gd name="connsiteX1754" fmla="*/ 655112 w 1517794"/>
                    <a:gd name="connsiteY1754" fmla="*/ 885597 h 1262136"/>
                    <a:gd name="connsiteX1755" fmla="*/ 658329 w 1517794"/>
                    <a:gd name="connsiteY1755" fmla="*/ 888729 h 1262136"/>
                    <a:gd name="connsiteX1756" fmla="*/ 658123 w 1517794"/>
                    <a:gd name="connsiteY1756" fmla="*/ 890891 h 1262136"/>
                    <a:gd name="connsiteX1757" fmla="*/ 657637 w 1517794"/>
                    <a:gd name="connsiteY1757" fmla="*/ 892615 h 1262136"/>
                    <a:gd name="connsiteX1758" fmla="*/ 656945 w 1517794"/>
                    <a:gd name="connsiteY1758" fmla="*/ 893733 h 1262136"/>
                    <a:gd name="connsiteX1759" fmla="*/ 656593 w 1517794"/>
                    <a:gd name="connsiteY1759" fmla="*/ 897667 h 1262136"/>
                    <a:gd name="connsiteX1760" fmla="*/ 654249 w 1517794"/>
                    <a:gd name="connsiteY1760" fmla="*/ 908948 h 1262136"/>
                    <a:gd name="connsiteX1761" fmla="*/ 654820 w 1517794"/>
                    <a:gd name="connsiteY1761" fmla="*/ 923398 h 1262136"/>
                    <a:gd name="connsiteX1762" fmla="*/ 654055 w 1517794"/>
                    <a:gd name="connsiteY1762" fmla="*/ 933257 h 1262136"/>
                    <a:gd name="connsiteX1763" fmla="*/ 650570 w 1517794"/>
                    <a:gd name="connsiteY1763" fmla="*/ 937726 h 1262136"/>
                    <a:gd name="connsiteX1764" fmla="*/ 646782 w 1517794"/>
                    <a:gd name="connsiteY1764" fmla="*/ 947501 h 1262136"/>
                    <a:gd name="connsiteX1765" fmla="*/ 644620 w 1517794"/>
                    <a:gd name="connsiteY1765" fmla="*/ 950913 h 1262136"/>
                    <a:gd name="connsiteX1766" fmla="*/ 647182 w 1517794"/>
                    <a:gd name="connsiteY1766" fmla="*/ 953233 h 1262136"/>
                    <a:gd name="connsiteX1767" fmla="*/ 644256 w 1517794"/>
                    <a:gd name="connsiteY1767" fmla="*/ 961951 h 1262136"/>
                    <a:gd name="connsiteX1768" fmla="*/ 644875 w 1517794"/>
                    <a:gd name="connsiteY1768" fmla="*/ 969431 h 1262136"/>
                    <a:gd name="connsiteX1769" fmla="*/ 649307 w 1517794"/>
                    <a:gd name="connsiteY1769" fmla="*/ 992102 h 1262136"/>
                    <a:gd name="connsiteX1770" fmla="*/ 651882 w 1517794"/>
                    <a:gd name="connsiteY1770" fmla="*/ 999267 h 1262136"/>
                    <a:gd name="connsiteX1771" fmla="*/ 665470 w 1517794"/>
                    <a:gd name="connsiteY1771" fmla="*/ 1027341 h 1262136"/>
                    <a:gd name="connsiteX1772" fmla="*/ 667898 w 1517794"/>
                    <a:gd name="connsiteY1772" fmla="*/ 1035295 h 1262136"/>
                    <a:gd name="connsiteX1773" fmla="*/ 667315 w 1517794"/>
                    <a:gd name="connsiteY1773" fmla="*/ 1044936 h 1262136"/>
                    <a:gd name="connsiteX1774" fmla="*/ 663636 w 1517794"/>
                    <a:gd name="connsiteY1774" fmla="*/ 1052781 h 1262136"/>
                    <a:gd name="connsiteX1775" fmla="*/ 662871 w 1517794"/>
                    <a:gd name="connsiteY1775" fmla="*/ 1055780 h 1262136"/>
                    <a:gd name="connsiteX1776" fmla="*/ 663854 w 1517794"/>
                    <a:gd name="connsiteY1776" fmla="*/ 1058731 h 1262136"/>
                    <a:gd name="connsiteX1777" fmla="*/ 665518 w 1517794"/>
                    <a:gd name="connsiteY1777" fmla="*/ 1061329 h 1262136"/>
                    <a:gd name="connsiteX1778" fmla="*/ 669732 w 1517794"/>
                    <a:gd name="connsiteY1778" fmla="*/ 1075124 h 1262136"/>
                    <a:gd name="connsiteX1779" fmla="*/ 675305 w 1517794"/>
                    <a:gd name="connsiteY1779" fmla="*/ 1087679 h 1262136"/>
                    <a:gd name="connsiteX1780" fmla="*/ 675305 w 1517794"/>
                    <a:gd name="connsiteY1780" fmla="*/ 1089294 h 1262136"/>
                    <a:gd name="connsiteX1781" fmla="*/ 672937 w 1517794"/>
                    <a:gd name="connsiteY1781" fmla="*/ 1092585 h 1262136"/>
                    <a:gd name="connsiteX1782" fmla="*/ 670934 w 1517794"/>
                    <a:gd name="connsiteY1782" fmla="*/ 1096568 h 1262136"/>
                    <a:gd name="connsiteX1783" fmla="*/ 671371 w 1517794"/>
                    <a:gd name="connsiteY1783" fmla="*/ 1096580 h 1262136"/>
                    <a:gd name="connsiteX1784" fmla="*/ 669477 w 1517794"/>
                    <a:gd name="connsiteY1784" fmla="*/ 1101765 h 1262136"/>
                    <a:gd name="connsiteX1785" fmla="*/ 668153 w 1517794"/>
                    <a:gd name="connsiteY1785" fmla="*/ 1102773 h 1262136"/>
                    <a:gd name="connsiteX1786" fmla="*/ 661827 w 1517794"/>
                    <a:gd name="connsiteY1786" fmla="*/ 1105700 h 1262136"/>
                    <a:gd name="connsiteX1787" fmla="*/ 656472 w 1517794"/>
                    <a:gd name="connsiteY1787" fmla="*/ 1106380 h 1262136"/>
                    <a:gd name="connsiteX1788" fmla="*/ 646235 w 1517794"/>
                    <a:gd name="connsiteY1788" fmla="*/ 1104243 h 1262136"/>
                    <a:gd name="connsiteX1789" fmla="*/ 643806 w 1517794"/>
                    <a:gd name="connsiteY1789" fmla="*/ 1104267 h 1262136"/>
                    <a:gd name="connsiteX1790" fmla="*/ 639532 w 1517794"/>
                    <a:gd name="connsiteY1790" fmla="*/ 1104679 h 1262136"/>
                    <a:gd name="connsiteX1791" fmla="*/ 636059 w 1517794"/>
                    <a:gd name="connsiteY1791" fmla="*/ 1104072 h 1262136"/>
                    <a:gd name="connsiteX1792" fmla="*/ 633449 w 1517794"/>
                    <a:gd name="connsiteY1792" fmla="*/ 1101729 h 1262136"/>
                    <a:gd name="connsiteX1793" fmla="*/ 633703 w 1517794"/>
                    <a:gd name="connsiteY1793" fmla="*/ 1098535 h 1262136"/>
                    <a:gd name="connsiteX1794" fmla="*/ 634165 w 1517794"/>
                    <a:gd name="connsiteY1794" fmla="*/ 1096932 h 1262136"/>
                    <a:gd name="connsiteX1795" fmla="*/ 634639 w 1517794"/>
                    <a:gd name="connsiteY1795" fmla="*/ 1095839 h 1262136"/>
                    <a:gd name="connsiteX1796" fmla="*/ 635695 w 1517794"/>
                    <a:gd name="connsiteY1796" fmla="*/ 1094115 h 1262136"/>
                    <a:gd name="connsiteX1797" fmla="*/ 633983 w 1517794"/>
                    <a:gd name="connsiteY1797" fmla="*/ 1094054 h 1262136"/>
                    <a:gd name="connsiteX1798" fmla="*/ 630801 w 1517794"/>
                    <a:gd name="connsiteY1798" fmla="*/ 1092840 h 1262136"/>
                    <a:gd name="connsiteX1799" fmla="*/ 631554 w 1517794"/>
                    <a:gd name="connsiteY1799" fmla="*/ 1095232 h 1262136"/>
                    <a:gd name="connsiteX1800" fmla="*/ 631384 w 1517794"/>
                    <a:gd name="connsiteY1800" fmla="*/ 1097479 h 1262136"/>
                    <a:gd name="connsiteX1801" fmla="*/ 629879 w 1517794"/>
                    <a:gd name="connsiteY1801" fmla="*/ 1100211 h 1262136"/>
                    <a:gd name="connsiteX1802" fmla="*/ 627863 w 1517794"/>
                    <a:gd name="connsiteY1802" fmla="*/ 1101462 h 1262136"/>
                    <a:gd name="connsiteX1803" fmla="*/ 622836 w 1517794"/>
                    <a:gd name="connsiteY1803" fmla="*/ 1103064 h 1262136"/>
                    <a:gd name="connsiteX1804" fmla="*/ 619472 w 1517794"/>
                    <a:gd name="connsiteY1804" fmla="*/ 1104595 h 1262136"/>
                    <a:gd name="connsiteX1805" fmla="*/ 617262 w 1517794"/>
                    <a:gd name="connsiteY1805" fmla="*/ 1106586 h 1262136"/>
                    <a:gd name="connsiteX1806" fmla="*/ 614773 w 1517794"/>
                    <a:gd name="connsiteY1806" fmla="*/ 1109439 h 1262136"/>
                    <a:gd name="connsiteX1807" fmla="*/ 613619 w 1517794"/>
                    <a:gd name="connsiteY1807" fmla="*/ 1111176 h 1262136"/>
                    <a:gd name="connsiteX1808" fmla="*/ 613753 w 1517794"/>
                    <a:gd name="connsiteY1808" fmla="*/ 1111747 h 1262136"/>
                    <a:gd name="connsiteX1809" fmla="*/ 614251 w 1517794"/>
                    <a:gd name="connsiteY1809" fmla="*/ 1112378 h 1262136"/>
                    <a:gd name="connsiteX1810" fmla="*/ 614688 w 1517794"/>
                    <a:gd name="connsiteY1810" fmla="*/ 1114406 h 1262136"/>
                    <a:gd name="connsiteX1811" fmla="*/ 614651 w 1517794"/>
                    <a:gd name="connsiteY1811" fmla="*/ 1117648 h 1262136"/>
                    <a:gd name="connsiteX1812" fmla="*/ 612344 w 1517794"/>
                    <a:gd name="connsiteY1812" fmla="*/ 1121376 h 1262136"/>
                    <a:gd name="connsiteX1813" fmla="*/ 596024 w 1517794"/>
                    <a:gd name="connsiteY1813" fmla="*/ 1131042 h 1262136"/>
                    <a:gd name="connsiteX1814" fmla="*/ 584913 w 1517794"/>
                    <a:gd name="connsiteY1814" fmla="*/ 1135498 h 1262136"/>
                    <a:gd name="connsiteX1815" fmla="*/ 581052 w 1517794"/>
                    <a:gd name="connsiteY1815" fmla="*/ 1136239 h 1262136"/>
                    <a:gd name="connsiteX1816" fmla="*/ 577397 w 1517794"/>
                    <a:gd name="connsiteY1816" fmla="*/ 1135863 h 1262136"/>
                    <a:gd name="connsiteX1817" fmla="*/ 575624 w 1517794"/>
                    <a:gd name="connsiteY1817" fmla="*/ 1135110 h 1262136"/>
                    <a:gd name="connsiteX1818" fmla="*/ 575308 w 1517794"/>
                    <a:gd name="connsiteY1818" fmla="*/ 1135110 h 1262136"/>
                    <a:gd name="connsiteX1819" fmla="*/ 575078 w 1517794"/>
                    <a:gd name="connsiteY1819" fmla="*/ 1135680 h 1262136"/>
                    <a:gd name="connsiteX1820" fmla="*/ 575454 w 1517794"/>
                    <a:gd name="connsiteY1820" fmla="*/ 1136773 h 1262136"/>
                    <a:gd name="connsiteX1821" fmla="*/ 576049 w 1517794"/>
                    <a:gd name="connsiteY1821" fmla="*/ 1136664 h 1262136"/>
                    <a:gd name="connsiteX1822" fmla="*/ 577166 w 1517794"/>
                    <a:gd name="connsiteY1822" fmla="*/ 1137235 h 1262136"/>
                    <a:gd name="connsiteX1823" fmla="*/ 578708 w 1517794"/>
                    <a:gd name="connsiteY1823" fmla="*/ 1138206 h 1262136"/>
                    <a:gd name="connsiteX1824" fmla="*/ 580153 w 1517794"/>
                    <a:gd name="connsiteY1824" fmla="*/ 1139348 h 1262136"/>
                    <a:gd name="connsiteX1825" fmla="*/ 581926 w 1517794"/>
                    <a:gd name="connsiteY1825" fmla="*/ 1141849 h 1262136"/>
                    <a:gd name="connsiteX1826" fmla="*/ 582060 w 1517794"/>
                    <a:gd name="connsiteY1826" fmla="*/ 1144727 h 1262136"/>
                    <a:gd name="connsiteX1827" fmla="*/ 580141 w 1517794"/>
                    <a:gd name="connsiteY1827" fmla="*/ 1148625 h 1262136"/>
                    <a:gd name="connsiteX1828" fmla="*/ 577360 w 1517794"/>
                    <a:gd name="connsiteY1828" fmla="*/ 1149669 h 1262136"/>
                    <a:gd name="connsiteX1829" fmla="*/ 574155 w 1517794"/>
                    <a:gd name="connsiteY1829" fmla="*/ 1149876 h 1262136"/>
                    <a:gd name="connsiteX1830" fmla="*/ 571410 w 1517794"/>
                    <a:gd name="connsiteY1830" fmla="*/ 1149062 h 1262136"/>
                    <a:gd name="connsiteX1831" fmla="*/ 565230 w 1517794"/>
                    <a:gd name="connsiteY1831" fmla="*/ 1149608 h 1262136"/>
                    <a:gd name="connsiteX1832" fmla="*/ 559340 w 1517794"/>
                    <a:gd name="connsiteY1832" fmla="*/ 1146306 h 1262136"/>
                    <a:gd name="connsiteX1833" fmla="*/ 557907 w 1517794"/>
                    <a:gd name="connsiteY1833" fmla="*/ 1144375 h 1262136"/>
                    <a:gd name="connsiteX1834" fmla="*/ 557094 w 1517794"/>
                    <a:gd name="connsiteY1834" fmla="*/ 1142213 h 1262136"/>
                    <a:gd name="connsiteX1835" fmla="*/ 556875 w 1517794"/>
                    <a:gd name="connsiteY1835" fmla="*/ 1141448 h 1262136"/>
                    <a:gd name="connsiteX1836" fmla="*/ 557397 w 1517794"/>
                    <a:gd name="connsiteY1836" fmla="*/ 1139226 h 1262136"/>
                    <a:gd name="connsiteX1837" fmla="*/ 557446 w 1517794"/>
                    <a:gd name="connsiteY1837" fmla="*/ 1137854 h 1262136"/>
                    <a:gd name="connsiteX1838" fmla="*/ 557179 w 1517794"/>
                    <a:gd name="connsiteY1838" fmla="*/ 1136810 h 1262136"/>
                    <a:gd name="connsiteX1839" fmla="*/ 556997 w 1517794"/>
                    <a:gd name="connsiteY1839" fmla="*/ 1136676 h 1262136"/>
                    <a:gd name="connsiteX1840" fmla="*/ 555430 w 1517794"/>
                    <a:gd name="connsiteY1840" fmla="*/ 1136385 h 1262136"/>
                    <a:gd name="connsiteX1841" fmla="*/ 543943 w 1517794"/>
                    <a:gd name="connsiteY1841" fmla="*/ 1139020 h 1262136"/>
                    <a:gd name="connsiteX1842" fmla="*/ 538989 w 1517794"/>
                    <a:gd name="connsiteY1842" fmla="*/ 1138971 h 1262136"/>
                    <a:gd name="connsiteX1843" fmla="*/ 536342 w 1517794"/>
                    <a:gd name="connsiteY1843" fmla="*/ 1137368 h 1262136"/>
                    <a:gd name="connsiteX1844" fmla="*/ 534059 w 1517794"/>
                    <a:gd name="connsiteY1844" fmla="*/ 1134709 h 1262136"/>
                    <a:gd name="connsiteX1845" fmla="*/ 532431 w 1517794"/>
                    <a:gd name="connsiteY1845" fmla="*/ 1131600 h 1262136"/>
                    <a:gd name="connsiteX1846" fmla="*/ 530391 w 1517794"/>
                    <a:gd name="connsiteY1846" fmla="*/ 1129148 h 1262136"/>
                    <a:gd name="connsiteX1847" fmla="*/ 528946 w 1517794"/>
                    <a:gd name="connsiteY1847" fmla="*/ 1128237 h 1262136"/>
                    <a:gd name="connsiteX1848" fmla="*/ 527416 w 1517794"/>
                    <a:gd name="connsiteY1848" fmla="*/ 1127605 h 1262136"/>
                    <a:gd name="connsiteX1849" fmla="*/ 524866 w 1517794"/>
                    <a:gd name="connsiteY1849" fmla="*/ 1127180 h 1262136"/>
                    <a:gd name="connsiteX1850" fmla="*/ 522668 w 1517794"/>
                    <a:gd name="connsiteY1850" fmla="*/ 1127156 h 1262136"/>
                    <a:gd name="connsiteX1851" fmla="*/ 518625 w 1517794"/>
                    <a:gd name="connsiteY1851" fmla="*/ 1127642 h 1262136"/>
                    <a:gd name="connsiteX1852" fmla="*/ 516002 w 1517794"/>
                    <a:gd name="connsiteY1852" fmla="*/ 1128650 h 1262136"/>
                    <a:gd name="connsiteX1853" fmla="*/ 515820 w 1517794"/>
                    <a:gd name="connsiteY1853" fmla="*/ 1129985 h 1262136"/>
                    <a:gd name="connsiteX1854" fmla="*/ 515747 w 1517794"/>
                    <a:gd name="connsiteY1854" fmla="*/ 1132620 h 1262136"/>
                    <a:gd name="connsiteX1855" fmla="*/ 515419 w 1517794"/>
                    <a:gd name="connsiteY1855" fmla="*/ 1134563 h 1262136"/>
                    <a:gd name="connsiteX1856" fmla="*/ 513258 w 1517794"/>
                    <a:gd name="connsiteY1856" fmla="*/ 1139165 h 1262136"/>
                    <a:gd name="connsiteX1857" fmla="*/ 513221 w 1517794"/>
                    <a:gd name="connsiteY1857" fmla="*/ 1139870 h 1262136"/>
                    <a:gd name="connsiteX1858" fmla="*/ 513428 w 1517794"/>
                    <a:gd name="connsiteY1858" fmla="*/ 1140234 h 1262136"/>
                    <a:gd name="connsiteX1859" fmla="*/ 513828 w 1517794"/>
                    <a:gd name="connsiteY1859" fmla="*/ 1141837 h 1262136"/>
                    <a:gd name="connsiteX1860" fmla="*/ 513695 w 1517794"/>
                    <a:gd name="connsiteY1860" fmla="*/ 1145589 h 1262136"/>
                    <a:gd name="connsiteX1861" fmla="*/ 511740 w 1517794"/>
                    <a:gd name="connsiteY1861" fmla="*/ 1149305 h 1262136"/>
                    <a:gd name="connsiteX1862" fmla="*/ 504576 w 1517794"/>
                    <a:gd name="connsiteY1862" fmla="*/ 1152838 h 1262136"/>
                    <a:gd name="connsiteX1863" fmla="*/ 503495 w 1517794"/>
                    <a:gd name="connsiteY1863" fmla="*/ 1153640 h 1262136"/>
                    <a:gd name="connsiteX1864" fmla="*/ 502317 w 1517794"/>
                    <a:gd name="connsiteY1864" fmla="*/ 1155364 h 1262136"/>
                    <a:gd name="connsiteX1865" fmla="*/ 498480 w 1517794"/>
                    <a:gd name="connsiteY1865" fmla="*/ 1158813 h 1262136"/>
                    <a:gd name="connsiteX1866" fmla="*/ 494910 w 1517794"/>
                    <a:gd name="connsiteY1866" fmla="*/ 1163463 h 1262136"/>
                    <a:gd name="connsiteX1867" fmla="*/ 491121 w 1517794"/>
                    <a:gd name="connsiteY1867" fmla="*/ 1166596 h 1262136"/>
                    <a:gd name="connsiteX1868" fmla="*/ 487575 w 1517794"/>
                    <a:gd name="connsiteY1868" fmla="*/ 1167471 h 1262136"/>
                    <a:gd name="connsiteX1869" fmla="*/ 484272 w 1517794"/>
                    <a:gd name="connsiteY1869" fmla="*/ 1166378 h 1262136"/>
                    <a:gd name="connsiteX1870" fmla="*/ 482354 w 1517794"/>
                    <a:gd name="connsiteY1870" fmla="*/ 1164314 h 1262136"/>
                    <a:gd name="connsiteX1871" fmla="*/ 481504 w 1517794"/>
                    <a:gd name="connsiteY1871" fmla="*/ 1163609 h 1262136"/>
                    <a:gd name="connsiteX1872" fmla="*/ 480071 w 1517794"/>
                    <a:gd name="connsiteY1872" fmla="*/ 1163354 h 1262136"/>
                    <a:gd name="connsiteX1873" fmla="*/ 479197 w 1517794"/>
                    <a:gd name="connsiteY1873" fmla="*/ 1163573 h 1262136"/>
                    <a:gd name="connsiteX1874" fmla="*/ 477630 w 1517794"/>
                    <a:gd name="connsiteY1874" fmla="*/ 1164945 h 1262136"/>
                    <a:gd name="connsiteX1875" fmla="*/ 471523 w 1517794"/>
                    <a:gd name="connsiteY1875" fmla="*/ 1173907 h 1262136"/>
                    <a:gd name="connsiteX1876" fmla="*/ 466677 w 1517794"/>
                    <a:gd name="connsiteY1876" fmla="*/ 1179893 h 1262136"/>
                    <a:gd name="connsiteX1877" fmla="*/ 464953 w 1517794"/>
                    <a:gd name="connsiteY1877" fmla="*/ 1181411 h 1262136"/>
                    <a:gd name="connsiteX1878" fmla="*/ 462780 w 1517794"/>
                    <a:gd name="connsiteY1878" fmla="*/ 1182904 h 1262136"/>
                    <a:gd name="connsiteX1879" fmla="*/ 459464 w 1517794"/>
                    <a:gd name="connsiteY1879" fmla="*/ 1183852 h 1262136"/>
                    <a:gd name="connsiteX1880" fmla="*/ 452349 w 1517794"/>
                    <a:gd name="connsiteY1880" fmla="*/ 1184483 h 1262136"/>
                    <a:gd name="connsiteX1881" fmla="*/ 448827 w 1517794"/>
                    <a:gd name="connsiteY1881" fmla="*/ 1185418 h 1262136"/>
                    <a:gd name="connsiteX1882" fmla="*/ 444929 w 1517794"/>
                    <a:gd name="connsiteY1882" fmla="*/ 1185175 h 1262136"/>
                    <a:gd name="connsiteX1883" fmla="*/ 441869 w 1517794"/>
                    <a:gd name="connsiteY1883" fmla="*/ 1183888 h 1262136"/>
                    <a:gd name="connsiteX1884" fmla="*/ 439793 w 1517794"/>
                    <a:gd name="connsiteY1884" fmla="*/ 1182528 h 1262136"/>
                    <a:gd name="connsiteX1885" fmla="*/ 438554 w 1517794"/>
                    <a:gd name="connsiteY1885" fmla="*/ 1182297 h 1262136"/>
                    <a:gd name="connsiteX1886" fmla="*/ 434244 w 1517794"/>
                    <a:gd name="connsiteY1886" fmla="*/ 1181957 h 1262136"/>
                    <a:gd name="connsiteX1887" fmla="*/ 431062 w 1517794"/>
                    <a:gd name="connsiteY1887" fmla="*/ 1180828 h 1262136"/>
                    <a:gd name="connsiteX1888" fmla="*/ 429739 w 1517794"/>
                    <a:gd name="connsiteY1888" fmla="*/ 1178751 h 1262136"/>
                    <a:gd name="connsiteX1889" fmla="*/ 428755 w 1517794"/>
                    <a:gd name="connsiteY1889" fmla="*/ 1175048 h 1262136"/>
                    <a:gd name="connsiteX1890" fmla="*/ 427990 w 1517794"/>
                    <a:gd name="connsiteY1890" fmla="*/ 1175072 h 1262136"/>
                    <a:gd name="connsiteX1891" fmla="*/ 427043 w 1517794"/>
                    <a:gd name="connsiteY1891" fmla="*/ 1174793 h 1262136"/>
                    <a:gd name="connsiteX1892" fmla="*/ 422963 w 1517794"/>
                    <a:gd name="connsiteY1892" fmla="*/ 1174174 h 1262136"/>
                    <a:gd name="connsiteX1893" fmla="*/ 420449 w 1517794"/>
                    <a:gd name="connsiteY1893" fmla="*/ 1174186 h 1262136"/>
                    <a:gd name="connsiteX1894" fmla="*/ 420024 w 1517794"/>
                    <a:gd name="connsiteY1894" fmla="*/ 1175922 h 1262136"/>
                    <a:gd name="connsiteX1895" fmla="*/ 419927 w 1517794"/>
                    <a:gd name="connsiteY1895" fmla="*/ 1177209 h 1262136"/>
                    <a:gd name="connsiteX1896" fmla="*/ 418931 w 1517794"/>
                    <a:gd name="connsiteY1896" fmla="*/ 1179808 h 1262136"/>
                    <a:gd name="connsiteX1897" fmla="*/ 417134 w 1517794"/>
                    <a:gd name="connsiteY1897" fmla="*/ 1182176 h 1262136"/>
                    <a:gd name="connsiteX1898" fmla="*/ 413248 w 1517794"/>
                    <a:gd name="connsiteY1898" fmla="*/ 1184701 h 1262136"/>
                    <a:gd name="connsiteX1899" fmla="*/ 409788 w 1517794"/>
                    <a:gd name="connsiteY1899" fmla="*/ 1185090 h 1262136"/>
                    <a:gd name="connsiteX1900" fmla="*/ 406619 w 1517794"/>
                    <a:gd name="connsiteY1900" fmla="*/ 1183281 h 1262136"/>
                    <a:gd name="connsiteX1901" fmla="*/ 405222 w 1517794"/>
                    <a:gd name="connsiteY1901" fmla="*/ 1180391 h 1262136"/>
                    <a:gd name="connsiteX1902" fmla="*/ 404433 w 1517794"/>
                    <a:gd name="connsiteY1902" fmla="*/ 1177391 h 1262136"/>
                    <a:gd name="connsiteX1903" fmla="*/ 404178 w 1517794"/>
                    <a:gd name="connsiteY1903" fmla="*/ 1176991 h 1262136"/>
                    <a:gd name="connsiteX1904" fmla="*/ 403668 w 1517794"/>
                    <a:gd name="connsiteY1904" fmla="*/ 1176736 h 1262136"/>
                    <a:gd name="connsiteX1905" fmla="*/ 396176 w 1517794"/>
                    <a:gd name="connsiteY1905" fmla="*/ 1177537 h 1262136"/>
                    <a:gd name="connsiteX1906" fmla="*/ 393820 w 1517794"/>
                    <a:gd name="connsiteY1906" fmla="*/ 1178047 h 1262136"/>
                    <a:gd name="connsiteX1907" fmla="*/ 389788 w 1517794"/>
                    <a:gd name="connsiteY1907" fmla="*/ 1179310 h 1262136"/>
                    <a:gd name="connsiteX1908" fmla="*/ 381628 w 1517794"/>
                    <a:gd name="connsiteY1908" fmla="*/ 1180354 h 1262136"/>
                    <a:gd name="connsiteX1909" fmla="*/ 380280 w 1517794"/>
                    <a:gd name="connsiteY1909" fmla="*/ 1180791 h 1262136"/>
                    <a:gd name="connsiteX1910" fmla="*/ 379030 w 1517794"/>
                    <a:gd name="connsiteY1910" fmla="*/ 1183548 h 1262136"/>
                    <a:gd name="connsiteX1911" fmla="*/ 377415 w 1517794"/>
                    <a:gd name="connsiteY1911" fmla="*/ 1186183 h 1262136"/>
                    <a:gd name="connsiteX1912" fmla="*/ 374707 w 1517794"/>
                    <a:gd name="connsiteY1912" fmla="*/ 1188065 h 1262136"/>
                    <a:gd name="connsiteX1913" fmla="*/ 371671 w 1517794"/>
                    <a:gd name="connsiteY1913" fmla="*/ 1188490 h 1262136"/>
                    <a:gd name="connsiteX1914" fmla="*/ 369692 w 1517794"/>
                    <a:gd name="connsiteY1914" fmla="*/ 1188563 h 1262136"/>
                    <a:gd name="connsiteX1915" fmla="*/ 368526 w 1517794"/>
                    <a:gd name="connsiteY1915" fmla="*/ 1189109 h 1262136"/>
                    <a:gd name="connsiteX1916" fmla="*/ 368113 w 1517794"/>
                    <a:gd name="connsiteY1916" fmla="*/ 1189862 h 1262136"/>
                    <a:gd name="connsiteX1917" fmla="*/ 366595 w 1517794"/>
                    <a:gd name="connsiteY1917" fmla="*/ 1192194 h 1262136"/>
                    <a:gd name="connsiteX1918" fmla="*/ 366510 w 1517794"/>
                    <a:gd name="connsiteY1918" fmla="*/ 1192898 h 1262136"/>
                    <a:gd name="connsiteX1919" fmla="*/ 366061 w 1517794"/>
                    <a:gd name="connsiteY1919" fmla="*/ 1194914 h 1262136"/>
                    <a:gd name="connsiteX1920" fmla="*/ 365794 w 1517794"/>
                    <a:gd name="connsiteY1920" fmla="*/ 1199795 h 1262136"/>
                    <a:gd name="connsiteX1921" fmla="*/ 365332 w 1517794"/>
                    <a:gd name="connsiteY1921" fmla="*/ 1202212 h 1262136"/>
                    <a:gd name="connsiteX1922" fmla="*/ 363790 w 1517794"/>
                    <a:gd name="connsiteY1922" fmla="*/ 1206097 h 1262136"/>
                    <a:gd name="connsiteX1923" fmla="*/ 360645 w 1517794"/>
                    <a:gd name="connsiteY1923" fmla="*/ 1218338 h 1262136"/>
                    <a:gd name="connsiteX1924" fmla="*/ 355327 w 1517794"/>
                    <a:gd name="connsiteY1924" fmla="*/ 1232314 h 1262136"/>
                    <a:gd name="connsiteX1925" fmla="*/ 354064 w 1517794"/>
                    <a:gd name="connsiteY1925" fmla="*/ 1234390 h 1262136"/>
                    <a:gd name="connsiteX1926" fmla="*/ 352497 w 1517794"/>
                    <a:gd name="connsiteY1926" fmla="*/ 1236018 h 1262136"/>
                    <a:gd name="connsiteX1927" fmla="*/ 344532 w 1517794"/>
                    <a:gd name="connsiteY1927" fmla="*/ 1242150 h 1262136"/>
                    <a:gd name="connsiteX1928" fmla="*/ 341302 w 1517794"/>
                    <a:gd name="connsiteY1928" fmla="*/ 1242781 h 1262136"/>
                    <a:gd name="connsiteX1929" fmla="*/ 339456 w 1517794"/>
                    <a:gd name="connsiteY1929" fmla="*/ 1242040 h 1262136"/>
                    <a:gd name="connsiteX1930" fmla="*/ 339504 w 1517794"/>
                    <a:gd name="connsiteY1930" fmla="*/ 1242295 h 1262136"/>
                    <a:gd name="connsiteX1931" fmla="*/ 339213 w 1517794"/>
                    <a:gd name="connsiteY1931" fmla="*/ 1245598 h 1262136"/>
                    <a:gd name="connsiteX1932" fmla="*/ 337914 w 1517794"/>
                    <a:gd name="connsiteY1932" fmla="*/ 1249933 h 1262136"/>
                    <a:gd name="connsiteX1933" fmla="*/ 329329 w 1517794"/>
                    <a:gd name="connsiteY1933" fmla="*/ 1258980 h 1262136"/>
                    <a:gd name="connsiteX1934" fmla="*/ 326329 w 1517794"/>
                    <a:gd name="connsiteY1934" fmla="*/ 1260716 h 1262136"/>
                    <a:gd name="connsiteX1935" fmla="*/ 324168 w 1517794"/>
                    <a:gd name="connsiteY1935" fmla="*/ 1261579 h 1262136"/>
                    <a:gd name="connsiteX1936" fmla="*/ 322274 w 1517794"/>
                    <a:gd name="connsiteY1936" fmla="*/ 1261955 h 1262136"/>
                    <a:gd name="connsiteX1937" fmla="*/ 317951 w 1517794"/>
                    <a:gd name="connsiteY1937" fmla="*/ 1262137 h 1262136"/>
                    <a:gd name="connsiteX1938" fmla="*/ 315838 w 1517794"/>
                    <a:gd name="connsiteY1938" fmla="*/ 1261870 h 1262136"/>
                    <a:gd name="connsiteX1939" fmla="*/ 644025 w 1517794"/>
                    <a:gd name="connsiteY1939" fmla="*/ 1091225 h 1262136"/>
                    <a:gd name="connsiteX1940" fmla="*/ 647243 w 1517794"/>
                    <a:gd name="connsiteY1940" fmla="*/ 1091444 h 1262136"/>
                    <a:gd name="connsiteX1941" fmla="*/ 651918 w 1517794"/>
                    <a:gd name="connsiteY1941" fmla="*/ 1092452 h 1262136"/>
                    <a:gd name="connsiteX1942" fmla="*/ 659592 w 1517794"/>
                    <a:gd name="connsiteY1942" fmla="*/ 1092670 h 1262136"/>
                    <a:gd name="connsiteX1943" fmla="*/ 662567 w 1517794"/>
                    <a:gd name="connsiteY1943" fmla="*/ 1093423 h 1262136"/>
                    <a:gd name="connsiteX1944" fmla="*/ 664510 w 1517794"/>
                    <a:gd name="connsiteY1944" fmla="*/ 1095390 h 1262136"/>
                    <a:gd name="connsiteX1945" fmla="*/ 665725 w 1517794"/>
                    <a:gd name="connsiteY1945" fmla="*/ 1096252 h 1262136"/>
                    <a:gd name="connsiteX1946" fmla="*/ 666793 w 1517794"/>
                    <a:gd name="connsiteY1946" fmla="*/ 1096495 h 1262136"/>
                    <a:gd name="connsiteX1947" fmla="*/ 667109 w 1517794"/>
                    <a:gd name="connsiteY1947" fmla="*/ 1096337 h 1262136"/>
                    <a:gd name="connsiteX1948" fmla="*/ 669112 w 1517794"/>
                    <a:gd name="connsiteY1948" fmla="*/ 1096374 h 1262136"/>
                    <a:gd name="connsiteX1949" fmla="*/ 667497 w 1517794"/>
                    <a:gd name="connsiteY1949" fmla="*/ 1092075 h 1262136"/>
                    <a:gd name="connsiteX1950" fmla="*/ 661462 w 1517794"/>
                    <a:gd name="connsiteY1950" fmla="*/ 1076957 h 1262136"/>
                    <a:gd name="connsiteX1951" fmla="*/ 652974 w 1517794"/>
                    <a:gd name="connsiteY1951" fmla="*/ 1067983 h 1262136"/>
                    <a:gd name="connsiteX1952" fmla="*/ 649842 w 1517794"/>
                    <a:gd name="connsiteY1952" fmla="*/ 1060200 h 1262136"/>
                    <a:gd name="connsiteX1953" fmla="*/ 647874 w 1517794"/>
                    <a:gd name="connsiteY1953" fmla="*/ 1057723 h 1262136"/>
                    <a:gd name="connsiteX1954" fmla="*/ 647850 w 1517794"/>
                    <a:gd name="connsiteY1954" fmla="*/ 1064899 h 1262136"/>
                    <a:gd name="connsiteX1955" fmla="*/ 645810 w 1517794"/>
                    <a:gd name="connsiteY1955" fmla="*/ 1075391 h 1262136"/>
                    <a:gd name="connsiteX1956" fmla="*/ 638391 w 1517794"/>
                    <a:gd name="connsiteY1956" fmla="*/ 1071056 h 1262136"/>
                    <a:gd name="connsiteX1957" fmla="*/ 637262 w 1517794"/>
                    <a:gd name="connsiteY1957" fmla="*/ 1067073 h 1262136"/>
                    <a:gd name="connsiteX1958" fmla="*/ 637517 w 1517794"/>
                    <a:gd name="connsiteY1958" fmla="*/ 1065142 h 1262136"/>
                    <a:gd name="connsiteX1959" fmla="*/ 634201 w 1517794"/>
                    <a:gd name="connsiteY1959" fmla="*/ 1067498 h 1262136"/>
                    <a:gd name="connsiteX1960" fmla="*/ 631372 w 1517794"/>
                    <a:gd name="connsiteY1960" fmla="*/ 1071408 h 1262136"/>
                    <a:gd name="connsiteX1961" fmla="*/ 631870 w 1517794"/>
                    <a:gd name="connsiteY1961" fmla="*/ 1074735 h 1262136"/>
                    <a:gd name="connsiteX1962" fmla="*/ 633886 w 1517794"/>
                    <a:gd name="connsiteY1962" fmla="*/ 1077564 h 1262136"/>
                    <a:gd name="connsiteX1963" fmla="*/ 639581 w 1517794"/>
                    <a:gd name="connsiteY1963" fmla="*/ 1084328 h 1262136"/>
                    <a:gd name="connsiteX1964" fmla="*/ 642070 w 1517794"/>
                    <a:gd name="connsiteY1964" fmla="*/ 1089987 h 1262136"/>
                    <a:gd name="connsiteX1965" fmla="*/ 642580 w 1517794"/>
                    <a:gd name="connsiteY1965" fmla="*/ 1090691 h 1262136"/>
                    <a:gd name="connsiteX1966" fmla="*/ 644025 w 1517794"/>
                    <a:gd name="connsiteY1966" fmla="*/ 1091225 h 1262136"/>
                    <a:gd name="connsiteX1967" fmla="*/ 1050194 w 1517794"/>
                    <a:gd name="connsiteY1967" fmla="*/ 446083 h 1262136"/>
                    <a:gd name="connsiteX1968" fmla="*/ 1052198 w 1517794"/>
                    <a:gd name="connsiteY1968" fmla="*/ 447431 h 1262136"/>
                    <a:gd name="connsiteX1969" fmla="*/ 1052793 w 1517794"/>
                    <a:gd name="connsiteY1969" fmla="*/ 448038 h 1262136"/>
                    <a:gd name="connsiteX1970" fmla="*/ 1053813 w 1517794"/>
                    <a:gd name="connsiteY1970" fmla="*/ 447783 h 1262136"/>
                    <a:gd name="connsiteX1971" fmla="*/ 1054748 w 1517794"/>
                    <a:gd name="connsiteY1971" fmla="*/ 446192 h 1262136"/>
                    <a:gd name="connsiteX1972" fmla="*/ 1057516 w 1517794"/>
                    <a:gd name="connsiteY1972" fmla="*/ 447103 h 1262136"/>
                    <a:gd name="connsiteX1973" fmla="*/ 1058269 w 1517794"/>
                    <a:gd name="connsiteY1973" fmla="*/ 447480 h 1262136"/>
                    <a:gd name="connsiteX1974" fmla="*/ 1058087 w 1517794"/>
                    <a:gd name="connsiteY1974" fmla="*/ 442731 h 1262136"/>
                    <a:gd name="connsiteX1975" fmla="*/ 1057346 w 1517794"/>
                    <a:gd name="connsiteY1975" fmla="*/ 436478 h 1262136"/>
                    <a:gd name="connsiteX1976" fmla="*/ 1052259 w 1517794"/>
                    <a:gd name="connsiteY1976" fmla="*/ 417219 h 1262136"/>
                    <a:gd name="connsiteX1977" fmla="*/ 1051044 w 1517794"/>
                    <a:gd name="connsiteY1977" fmla="*/ 422599 h 1262136"/>
                    <a:gd name="connsiteX1978" fmla="*/ 1043710 w 1517794"/>
                    <a:gd name="connsiteY1978" fmla="*/ 436174 h 1262136"/>
                    <a:gd name="connsiteX1979" fmla="*/ 1043419 w 1517794"/>
                    <a:gd name="connsiteY1979" fmla="*/ 439659 h 1262136"/>
                    <a:gd name="connsiteX1980" fmla="*/ 1044026 w 1517794"/>
                    <a:gd name="connsiteY1980" fmla="*/ 442501 h 1262136"/>
                    <a:gd name="connsiteX1981" fmla="*/ 1045507 w 1517794"/>
                    <a:gd name="connsiteY1981" fmla="*/ 444602 h 1262136"/>
                    <a:gd name="connsiteX1982" fmla="*/ 1050194 w 1517794"/>
                    <a:gd name="connsiteY1982" fmla="*/ 446083 h 1262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Lst>
                  <a:rect l="l" t="t" r="r" b="b"/>
                  <a:pathLst>
                    <a:path w="1517794" h="1262136">
                      <a:moveTo>
                        <a:pt x="315838" y="1261870"/>
                      </a:moveTo>
                      <a:lnTo>
                        <a:pt x="313713" y="1261554"/>
                      </a:lnTo>
                      <a:lnTo>
                        <a:pt x="308455" y="1260036"/>
                      </a:lnTo>
                      <a:lnTo>
                        <a:pt x="297624" y="1253273"/>
                      </a:lnTo>
                      <a:lnTo>
                        <a:pt x="292560" y="1248658"/>
                      </a:lnTo>
                      <a:lnTo>
                        <a:pt x="282336" y="1234390"/>
                      </a:lnTo>
                      <a:lnTo>
                        <a:pt x="285383" y="1230748"/>
                      </a:lnTo>
                      <a:lnTo>
                        <a:pt x="286658" y="1228732"/>
                      </a:lnTo>
                      <a:lnTo>
                        <a:pt x="286865" y="1227603"/>
                      </a:lnTo>
                      <a:lnTo>
                        <a:pt x="285408" y="1222272"/>
                      </a:lnTo>
                      <a:lnTo>
                        <a:pt x="285250" y="1218787"/>
                      </a:lnTo>
                      <a:lnTo>
                        <a:pt x="285687" y="1216650"/>
                      </a:lnTo>
                      <a:lnTo>
                        <a:pt x="286051" y="1215727"/>
                      </a:lnTo>
                      <a:lnTo>
                        <a:pt x="287302" y="1214087"/>
                      </a:lnTo>
                      <a:lnTo>
                        <a:pt x="288492" y="1213420"/>
                      </a:lnTo>
                      <a:lnTo>
                        <a:pt x="288953" y="1213250"/>
                      </a:lnTo>
                      <a:lnTo>
                        <a:pt x="290411" y="1212898"/>
                      </a:lnTo>
                      <a:lnTo>
                        <a:pt x="291904" y="1212861"/>
                      </a:lnTo>
                      <a:lnTo>
                        <a:pt x="294224" y="1213444"/>
                      </a:lnTo>
                      <a:lnTo>
                        <a:pt x="296045" y="1214415"/>
                      </a:lnTo>
                      <a:lnTo>
                        <a:pt x="296567" y="1214840"/>
                      </a:lnTo>
                      <a:lnTo>
                        <a:pt x="297769" y="1213638"/>
                      </a:lnTo>
                      <a:lnTo>
                        <a:pt x="298935" y="1213177"/>
                      </a:lnTo>
                      <a:lnTo>
                        <a:pt x="300113" y="1212922"/>
                      </a:lnTo>
                      <a:lnTo>
                        <a:pt x="301716" y="1212898"/>
                      </a:lnTo>
                      <a:lnTo>
                        <a:pt x="303173" y="1212448"/>
                      </a:lnTo>
                      <a:lnTo>
                        <a:pt x="303926" y="1211963"/>
                      </a:lnTo>
                      <a:lnTo>
                        <a:pt x="303962" y="1211768"/>
                      </a:lnTo>
                      <a:lnTo>
                        <a:pt x="303853" y="1207773"/>
                      </a:lnTo>
                      <a:lnTo>
                        <a:pt x="304290" y="1205599"/>
                      </a:lnTo>
                      <a:lnTo>
                        <a:pt x="305601" y="1203462"/>
                      </a:lnTo>
                      <a:lnTo>
                        <a:pt x="306075" y="1202831"/>
                      </a:lnTo>
                      <a:lnTo>
                        <a:pt x="308066" y="1201944"/>
                      </a:lnTo>
                      <a:lnTo>
                        <a:pt x="310349" y="1201471"/>
                      </a:lnTo>
                      <a:lnTo>
                        <a:pt x="311721" y="1201544"/>
                      </a:lnTo>
                      <a:lnTo>
                        <a:pt x="313980" y="1202297"/>
                      </a:lnTo>
                      <a:lnTo>
                        <a:pt x="315352" y="1202977"/>
                      </a:lnTo>
                      <a:lnTo>
                        <a:pt x="327434" y="1211562"/>
                      </a:lnTo>
                      <a:lnTo>
                        <a:pt x="327677" y="1211622"/>
                      </a:lnTo>
                      <a:lnTo>
                        <a:pt x="327204" y="1210845"/>
                      </a:lnTo>
                      <a:lnTo>
                        <a:pt x="324812" y="1207627"/>
                      </a:lnTo>
                      <a:lnTo>
                        <a:pt x="323112" y="1206620"/>
                      </a:lnTo>
                      <a:lnTo>
                        <a:pt x="321472" y="1205867"/>
                      </a:lnTo>
                      <a:lnTo>
                        <a:pt x="319505" y="1205393"/>
                      </a:lnTo>
                      <a:lnTo>
                        <a:pt x="318194" y="1203997"/>
                      </a:lnTo>
                      <a:lnTo>
                        <a:pt x="317477" y="1202248"/>
                      </a:lnTo>
                      <a:lnTo>
                        <a:pt x="317429" y="1201629"/>
                      </a:lnTo>
                      <a:lnTo>
                        <a:pt x="317526" y="1199856"/>
                      </a:lnTo>
                      <a:lnTo>
                        <a:pt x="318254" y="1197670"/>
                      </a:lnTo>
                      <a:lnTo>
                        <a:pt x="323609" y="1190676"/>
                      </a:lnTo>
                      <a:lnTo>
                        <a:pt x="325407" y="1187774"/>
                      </a:lnTo>
                      <a:lnTo>
                        <a:pt x="325929" y="1186280"/>
                      </a:lnTo>
                      <a:lnTo>
                        <a:pt x="326997" y="1182115"/>
                      </a:lnTo>
                      <a:lnTo>
                        <a:pt x="327738" y="1179869"/>
                      </a:lnTo>
                      <a:lnTo>
                        <a:pt x="328977" y="1177853"/>
                      </a:lnTo>
                      <a:lnTo>
                        <a:pt x="330980" y="1176226"/>
                      </a:lnTo>
                      <a:lnTo>
                        <a:pt x="334793" y="1174246"/>
                      </a:lnTo>
                      <a:lnTo>
                        <a:pt x="335497" y="1173603"/>
                      </a:lnTo>
                      <a:lnTo>
                        <a:pt x="336748" y="1172048"/>
                      </a:lnTo>
                      <a:lnTo>
                        <a:pt x="337173" y="1170604"/>
                      </a:lnTo>
                      <a:lnTo>
                        <a:pt x="337440" y="1168478"/>
                      </a:lnTo>
                      <a:lnTo>
                        <a:pt x="337635" y="1164204"/>
                      </a:lnTo>
                      <a:lnTo>
                        <a:pt x="338460" y="1161339"/>
                      </a:lnTo>
                      <a:lnTo>
                        <a:pt x="340112" y="1158837"/>
                      </a:lnTo>
                      <a:lnTo>
                        <a:pt x="343342" y="1155352"/>
                      </a:lnTo>
                      <a:lnTo>
                        <a:pt x="344228" y="1153822"/>
                      </a:lnTo>
                      <a:lnTo>
                        <a:pt x="344726" y="1152377"/>
                      </a:lnTo>
                      <a:lnTo>
                        <a:pt x="345624" y="1148503"/>
                      </a:lnTo>
                      <a:lnTo>
                        <a:pt x="346001" y="1147374"/>
                      </a:lnTo>
                      <a:lnTo>
                        <a:pt x="349122" y="1147168"/>
                      </a:lnTo>
                      <a:lnTo>
                        <a:pt x="346135" y="1145880"/>
                      </a:lnTo>
                      <a:lnTo>
                        <a:pt x="346207" y="1142881"/>
                      </a:lnTo>
                      <a:lnTo>
                        <a:pt x="346754" y="1139372"/>
                      </a:lnTo>
                      <a:lnTo>
                        <a:pt x="346827" y="1137866"/>
                      </a:lnTo>
                      <a:lnTo>
                        <a:pt x="346717" y="1136518"/>
                      </a:lnTo>
                      <a:lnTo>
                        <a:pt x="346584" y="1136033"/>
                      </a:lnTo>
                      <a:lnTo>
                        <a:pt x="345139" y="1137259"/>
                      </a:lnTo>
                      <a:lnTo>
                        <a:pt x="343864" y="1137903"/>
                      </a:lnTo>
                      <a:lnTo>
                        <a:pt x="341629" y="1138571"/>
                      </a:lnTo>
                      <a:lnTo>
                        <a:pt x="340051" y="1138607"/>
                      </a:lnTo>
                      <a:lnTo>
                        <a:pt x="337440" y="1138036"/>
                      </a:lnTo>
                      <a:lnTo>
                        <a:pt x="336117" y="1137283"/>
                      </a:lnTo>
                      <a:lnTo>
                        <a:pt x="328588" y="1131382"/>
                      </a:lnTo>
                      <a:lnTo>
                        <a:pt x="328139" y="1131345"/>
                      </a:lnTo>
                      <a:lnTo>
                        <a:pt x="327993" y="1131564"/>
                      </a:lnTo>
                      <a:lnTo>
                        <a:pt x="325188" y="1131637"/>
                      </a:lnTo>
                      <a:lnTo>
                        <a:pt x="323403" y="1131054"/>
                      </a:lnTo>
                      <a:lnTo>
                        <a:pt x="322140" y="1130398"/>
                      </a:lnTo>
                      <a:lnTo>
                        <a:pt x="320416" y="1129160"/>
                      </a:lnTo>
                      <a:lnTo>
                        <a:pt x="320416" y="1129439"/>
                      </a:lnTo>
                      <a:lnTo>
                        <a:pt x="318728" y="1130690"/>
                      </a:lnTo>
                      <a:lnTo>
                        <a:pt x="318060" y="1131078"/>
                      </a:lnTo>
                      <a:lnTo>
                        <a:pt x="314733" y="1131188"/>
                      </a:lnTo>
                      <a:lnTo>
                        <a:pt x="311904" y="1128905"/>
                      </a:lnTo>
                      <a:lnTo>
                        <a:pt x="310981" y="1125116"/>
                      </a:lnTo>
                      <a:lnTo>
                        <a:pt x="310325" y="1123695"/>
                      </a:lnTo>
                      <a:lnTo>
                        <a:pt x="309305" y="1122542"/>
                      </a:lnTo>
                      <a:lnTo>
                        <a:pt x="308504" y="1121813"/>
                      </a:lnTo>
                      <a:lnTo>
                        <a:pt x="307229" y="1120417"/>
                      </a:lnTo>
                      <a:lnTo>
                        <a:pt x="305808" y="1117721"/>
                      </a:lnTo>
                      <a:lnTo>
                        <a:pt x="305711" y="1114952"/>
                      </a:lnTo>
                      <a:lnTo>
                        <a:pt x="306184" y="1112791"/>
                      </a:lnTo>
                      <a:lnTo>
                        <a:pt x="307277" y="1110763"/>
                      </a:lnTo>
                      <a:lnTo>
                        <a:pt x="307993" y="1109864"/>
                      </a:lnTo>
                      <a:lnTo>
                        <a:pt x="307386" y="1101692"/>
                      </a:lnTo>
                      <a:lnTo>
                        <a:pt x="307629" y="1098948"/>
                      </a:lnTo>
                      <a:lnTo>
                        <a:pt x="308103" y="1096726"/>
                      </a:lnTo>
                      <a:lnTo>
                        <a:pt x="308868" y="1094637"/>
                      </a:lnTo>
                      <a:lnTo>
                        <a:pt x="309050" y="1093180"/>
                      </a:lnTo>
                      <a:lnTo>
                        <a:pt x="308176" y="1088323"/>
                      </a:lnTo>
                      <a:lnTo>
                        <a:pt x="308273" y="1085372"/>
                      </a:lnTo>
                      <a:lnTo>
                        <a:pt x="308722" y="1082835"/>
                      </a:lnTo>
                      <a:lnTo>
                        <a:pt x="310155" y="1078669"/>
                      </a:lnTo>
                      <a:lnTo>
                        <a:pt x="309961" y="1078645"/>
                      </a:lnTo>
                      <a:lnTo>
                        <a:pt x="307107" y="1079459"/>
                      </a:lnTo>
                      <a:lnTo>
                        <a:pt x="306002" y="1079629"/>
                      </a:lnTo>
                      <a:lnTo>
                        <a:pt x="303634" y="1079435"/>
                      </a:lnTo>
                      <a:lnTo>
                        <a:pt x="302128" y="1078827"/>
                      </a:lnTo>
                      <a:lnTo>
                        <a:pt x="299809" y="1077395"/>
                      </a:lnTo>
                      <a:lnTo>
                        <a:pt x="297162" y="1078961"/>
                      </a:lnTo>
                      <a:lnTo>
                        <a:pt x="295195" y="1079738"/>
                      </a:lnTo>
                      <a:lnTo>
                        <a:pt x="292888" y="1080054"/>
                      </a:lnTo>
                      <a:lnTo>
                        <a:pt x="290556" y="1079957"/>
                      </a:lnTo>
                      <a:lnTo>
                        <a:pt x="286100" y="1079204"/>
                      </a:lnTo>
                      <a:lnTo>
                        <a:pt x="282032" y="1077807"/>
                      </a:lnTo>
                      <a:lnTo>
                        <a:pt x="280514" y="1077467"/>
                      </a:lnTo>
                      <a:lnTo>
                        <a:pt x="278049" y="1077139"/>
                      </a:lnTo>
                      <a:lnTo>
                        <a:pt x="276980" y="1076884"/>
                      </a:lnTo>
                      <a:lnTo>
                        <a:pt x="274576" y="1075476"/>
                      </a:lnTo>
                      <a:lnTo>
                        <a:pt x="272658" y="1073654"/>
                      </a:lnTo>
                      <a:lnTo>
                        <a:pt x="266003" y="1066004"/>
                      </a:lnTo>
                      <a:lnTo>
                        <a:pt x="265202" y="1065579"/>
                      </a:lnTo>
                      <a:lnTo>
                        <a:pt x="264182" y="1065239"/>
                      </a:lnTo>
                      <a:lnTo>
                        <a:pt x="263550" y="1065349"/>
                      </a:lnTo>
                      <a:lnTo>
                        <a:pt x="262688" y="1065628"/>
                      </a:lnTo>
                      <a:lnTo>
                        <a:pt x="259507" y="1067073"/>
                      </a:lnTo>
                      <a:lnTo>
                        <a:pt x="256034" y="1066927"/>
                      </a:lnTo>
                      <a:lnTo>
                        <a:pt x="253982" y="1065263"/>
                      </a:lnTo>
                      <a:lnTo>
                        <a:pt x="251820" y="1061936"/>
                      </a:lnTo>
                      <a:lnTo>
                        <a:pt x="250958" y="1059277"/>
                      </a:lnTo>
                      <a:lnTo>
                        <a:pt x="250582" y="1055659"/>
                      </a:lnTo>
                      <a:lnTo>
                        <a:pt x="253168" y="1052598"/>
                      </a:lnTo>
                      <a:lnTo>
                        <a:pt x="255670" y="1052356"/>
                      </a:lnTo>
                      <a:lnTo>
                        <a:pt x="259580" y="1053109"/>
                      </a:lnTo>
                      <a:lnTo>
                        <a:pt x="259495" y="1052878"/>
                      </a:lnTo>
                      <a:lnTo>
                        <a:pt x="257795" y="1050571"/>
                      </a:lnTo>
                      <a:lnTo>
                        <a:pt x="256508" y="1048263"/>
                      </a:lnTo>
                      <a:lnTo>
                        <a:pt x="255390" y="1044778"/>
                      </a:lnTo>
                      <a:lnTo>
                        <a:pt x="256447" y="1041743"/>
                      </a:lnTo>
                      <a:lnTo>
                        <a:pt x="258462" y="1037748"/>
                      </a:lnTo>
                      <a:lnTo>
                        <a:pt x="258499" y="1036351"/>
                      </a:lnTo>
                      <a:lnTo>
                        <a:pt x="258305" y="1034530"/>
                      </a:lnTo>
                      <a:lnTo>
                        <a:pt x="257357" y="1031008"/>
                      </a:lnTo>
                      <a:lnTo>
                        <a:pt x="255730" y="1027256"/>
                      </a:lnTo>
                      <a:lnTo>
                        <a:pt x="249258" y="1023370"/>
                      </a:lnTo>
                      <a:lnTo>
                        <a:pt x="244692" y="1026054"/>
                      </a:lnTo>
                      <a:lnTo>
                        <a:pt x="243490" y="1026333"/>
                      </a:lnTo>
                      <a:lnTo>
                        <a:pt x="240709" y="1026090"/>
                      </a:lnTo>
                      <a:lnTo>
                        <a:pt x="238876" y="1025459"/>
                      </a:lnTo>
                      <a:lnTo>
                        <a:pt x="237577" y="1025423"/>
                      </a:lnTo>
                      <a:lnTo>
                        <a:pt x="237164" y="1025556"/>
                      </a:lnTo>
                      <a:lnTo>
                        <a:pt x="235063" y="1027110"/>
                      </a:lnTo>
                      <a:lnTo>
                        <a:pt x="232829" y="1030377"/>
                      </a:lnTo>
                      <a:lnTo>
                        <a:pt x="230934" y="1032344"/>
                      </a:lnTo>
                      <a:lnTo>
                        <a:pt x="227462" y="1033886"/>
                      </a:lnTo>
                      <a:lnTo>
                        <a:pt x="225592" y="1031773"/>
                      </a:lnTo>
                      <a:lnTo>
                        <a:pt x="224705" y="1030438"/>
                      </a:lnTo>
                      <a:lnTo>
                        <a:pt x="224244" y="1029126"/>
                      </a:lnTo>
                      <a:lnTo>
                        <a:pt x="223746" y="1027086"/>
                      </a:lnTo>
                      <a:lnTo>
                        <a:pt x="223126" y="1022642"/>
                      </a:lnTo>
                      <a:lnTo>
                        <a:pt x="223102" y="1020626"/>
                      </a:lnTo>
                      <a:lnTo>
                        <a:pt x="223649" y="1018440"/>
                      </a:lnTo>
                      <a:lnTo>
                        <a:pt x="225021" y="1016461"/>
                      </a:lnTo>
                      <a:lnTo>
                        <a:pt x="229004" y="1013024"/>
                      </a:lnTo>
                      <a:lnTo>
                        <a:pt x="229307" y="1008811"/>
                      </a:lnTo>
                      <a:lnTo>
                        <a:pt x="228688" y="1009139"/>
                      </a:lnTo>
                      <a:lnTo>
                        <a:pt x="228129" y="1009758"/>
                      </a:lnTo>
                      <a:lnTo>
                        <a:pt x="227644" y="1010632"/>
                      </a:lnTo>
                      <a:lnTo>
                        <a:pt x="227425" y="1011422"/>
                      </a:lnTo>
                      <a:lnTo>
                        <a:pt x="226187" y="1013960"/>
                      </a:lnTo>
                      <a:lnTo>
                        <a:pt x="224086" y="1015599"/>
                      </a:lnTo>
                      <a:lnTo>
                        <a:pt x="221305" y="1016643"/>
                      </a:lnTo>
                      <a:lnTo>
                        <a:pt x="220516" y="1016874"/>
                      </a:lnTo>
                      <a:lnTo>
                        <a:pt x="216909" y="1016000"/>
                      </a:lnTo>
                      <a:lnTo>
                        <a:pt x="214626" y="1014773"/>
                      </a:lnTo>
                      <a:lnTo>
                        <a:pt x="212926" y="1013304"/>
                      </a:lnTo>
                      <a:lnTo>
                        <a:pt x="212319" y="1013219"/>
                      </a:lnTo>
                      <a:lnTo>
                        <a:pt x="208737" y="1013207"/>
                      </a:lnTo>
                      <a:lnTo>
                        <a:pt x="204851" y="1011992"/>
                      </a:lnTo>
                      <a:lnTo>
                        <a:pt x="203819" y="1012563"/>
                      </a:lnTo>
                      <a:lnTo>
                        <a:pt x="203261" y="1013790"/>
                      </a:lnTo>
                      <a:lnTo>
                        <a:pt x="203321" y="1014178"/>
                      </a:lnTo>
                      <a:lnTo>
                        <a:pt x="203916" y="1015089"/>
                      </a:lnTo>
                      <a:lnTo>
                        <a:pt x="205471" y="1016570"/>
                      </a:lnTo>
                      <a:lnTo>
                        <a:pt x="206952" y="1018975"/>
                      </a:lnTo>
                      <a:lnTo>
                        <a:pt x="207159" y="1021598"/>
                      </a:lnTo>
                      <a:lnTo>
                        <a:pt x="206491" y="1023565"/>
                      </a:lnTo>
                      <a:lnTo>
                        <a:pt x="205034" y="1025726"/>
                      </a:lnTo>
                      <a:lnTo>
                        <a:pt x="203030" y="1027475"/>
                      </a:lnTo>
                      <a:lnTo>
                        <a:pt x="198877" y="1030158"/>
                      </a:lnTo>
                      <a:lnTo>
                        <a:pt x="197541" y="1031336"/>
                      </a:lnTo>
                      <a:lnTo>
                        <a:pt x="195744" y="1033437"/>
                      </a:lnTo>
                      <a:lnTo>
                        <a:pt x="193789" y="1034724"/>
                      </a:lnTo>
                      <a:lnTo>
                        <a:pt x="191664" y="1035611"/>
                      </a:lnTo>
                      <a:lnTo>
                        <a:pt x="188228" y="1036558"/>
                      </a:lnTo>
                      <a:lnTo>
                        <a:pt x="187171" y="1037238"/>
                      </a:lnTo>
                      <a:lnTo>
                        <a:pt x="186576" y="1038136"/>
                      </a:lnTo>
                      <a:lnTo>
                        <a:pt x="186418" y="1039168"/>
                      </a:lnTo>
                      <a:lnTo>
                        <a:pt x="185884" y="1041184"/>
                      </a:lnTo>
                      <a:lnTo>
                        <a:pt x="185070" y="1043394"/>
                      </a:lnTo>
                      <a:lnTo>
                        <a:pt x="183334" y="1045592"/>
                      </a:lnTo>
                      <a:lnTo>
                        <a:pt x="182593" y="1046369"/>
                      </a:lnTo>
                      <a:lnTo>
                        <a:pt x="180153" y="1046697"/>
                      </a:lnTo>
                      <a:lnTo>
                        <a:pt x="177979" y="1045944"/>
                      </a:lnTo>
                      <a:lnTo>
                        <a:pt x="176716" y="1044839"/>
                      </a:lnTo>
                      <a:lnTo>
                        <a:pt x="175162" y="1042629"/>
                      </a:lnTo>
                      <a:lnTo>
                        <a:pt x="174980" y="1042532"/>
                      </a:lnTo>
                      <a:lnTo>
                        <a:pt x="173025" y="1042532"/>
                      </a:lnTo>
                      <a:lnTo>
                        <a:pt x="171398" y="1042933"/>
                      </a:lnTo>
                      <a:lnTo>
                        <a:pt x="169941" y="1043418"/>
                      </a:lnTo>
                      <a:lnTo>
                        <a:pt x="169734" y="1043576"/>
                      </a:lnTo>
                      <a:lnTo>
                        <a:pt x="169625" y="1044705"/>
                      </a:lnTo>
                      <a:lnTo>
                        <a:pt x="170171" y="1046102"/>
                      </a:lnTo>
                      <a:lnTo>
                        <a:pt x="170754" y="1047948"/>
                      </a:lnTo>
                      <a:lnTo>
                        <a:pt x="168665" y="1049854"/>
                      </a:lnTo>
                      <a:lnTo>
                        <a:pt x="167148" y="1050583"/>
                      </a:lnTo>
                      <a:lnTo>
                        <a:pt x="165605" y="1050838"/>
                      </a:lnTo>
                      <a:lnTo>
                        <a:pt x="161003" y="1050522"/>
                      </a:lnTo>
                      <a:lnTo>
                        <a:pt x="159680" y="1051020"/>
                      </a:lnTo>
                      <a:lnTo>
                        <a:pt x="155296" y="1053133"/>
                      </a:lnTo>
                      <a:lnTo>
                        <a:pt x="150828" y="1056946"/>
                      </a:lnTo>
                      <a:lnTo>
                        <a:pt x="149310" y="1057504"/>
                      </a:lnTo>
                      <a:lnTo>
                        <a:pt x="147197" y="1057759"/>
                      </a:lnTo>
                      <a:lnTo>
                        <a:pt x="142728" y="1057334"/>
                      </a:lnTo>
                      <a:lnTo>
                        <a:pt x="142230" y="1057881"/>
                      </a:lnTo>
                      <a:lnTo>
                        <a:pt x="141465" y="1058342"/>
                      </a:lnTo>
                      <a:lnTo>
                        <a:pt x="140032" y="1058281"/>
                      </a:lnTo>
                      <a:lnTo>
                        <a:pt x="138624" y="1058038"/>
                      </a:lnTo>
                      <a:lnTo>
                        <a:pt x="135843" y="1056885"/>
                      </a:lnTo>
                      <a:lnTo>
                        <a:pt x="135212" y="1052076"/>
                      </a:lnTo>
                      <a:lnTo>
                        <a:pt x="135236" y="1046697"/>
                      </a:lnTo>
                      <a:lnTo>
                        <a:pt x="133463" y="1041597"/>
                      </a:lnTo>
                      <a:lnTo>
                        <a:pt x="132953" y="1039035"/>
                      </a:lnTo>
                      <a:lnTo>
                        <a:pt x="132407" y="1037420"/>
                      </a:lnTo>
                      <a:lnTo>
                        <a:pt x="131605" y="1036655"/>
                      </a:lnTo>
                      <a:lnTo>
                        <a:pt x="130160" y="1036096"/>
                      </a:lnTo>
                      <a:lnTo>
                        <a:pt x="128035" y="1033825"/>
                      </a:lnTo>
                      <a:lnTo>
                        <a:pt x="127027" y="1031701"/>
                      </a:lnTo>
                      <a:lnTo>
                        <a:pt x="126760" y="1030280"/>
                      </a:lnTo>
                      <a:lnTo>
                        <a:pt x="121818" y="1031008"/>
                      </a:lnTo>
                      <a:lnTo>
                        <a:pt x="117714" y="1029903"/>
                      </a:lnTo>
                      <a:lnTo>
                        <a:pt x="114593" y="1029381"/>
                      </a:lnTo>
                      <a:lnTo>
                        <a:pt x="112893" y="1029794"/>
                      </a:lnTo>
                      <a:lnTo>
                        <a:pt x="110258" y="1029770"/>
                      </a:lnTo>
                      <a:lnTo>
                        <a:pt x="107356" y="1028823"/>
                      </a:lnTo>
                      <a:lnTo>
                        <a:pt x="104235" y="1026758"/>
                      </a:lnTo>
                      <a:lnTo>
                        <a:pt x="102608" y="1025884"/>
                      </a:lnTo>
                      <a:lnTo>
                        <a:pt x="101855" y="1025872"/>
                      </a:lnTo>
                      <a:lnTo>
                        <a:pt x="99329" y="1026406"/>
                      </a:lnTo>
                      <a:lnTo>
                        <a:pt x="96354" y="1025945"/>
                      </a:lnTo>
                      <a:lnTo>
                        <a:pt x="95298" y="1025714"/>
                      </a:lnTo>
                      <a:lnTo>
                        <a:pt x="91971" y="1021488"/>
                      </a:lnTo>
                      <a:lnTo>
                        <a:pt x="91157" y="1021501"/>
                      </a:lnTo>
                      <a:lnTo>
                        <a:pt x="91060" y="1021804"/>
                      </a:lnTo>
                      <a:lnTo>
                        <a:pt x="86907" y="1024828"/>
                      </a:lnTo>
                      <a:lnTo>
                        <a:pt x="84430" y="1024743"/>
                      </a:lnTo>
                      <a:lnTo>
                        <a:pt x="82463" y="1023541"/>
                      </a:lnTo>
                      <a:lnTo>
                        <a:pt x="82038" y="1022982"/>
                      </a:lnTo>
                      <a:lnTo>
                        <a:pt x="81637" y="1023977"/>
                      </a:lnTo>
                      <a:lnTo>
                        <a:pt x="80520" y="1025095"/>
                      </a:lnTo>
                      <a:lnTo>
                        <a:pt x="79391" y="1025750"/>
                      </a:lnTo>
                      <a:lnTo>
                        <a:pt x="80957" y="1026855"/>
                      </a:lnTo>
                      <a:lnTo>
                        <a:pt x="81892" y="1028701"/>
                      </a:lnTo>
                      <a:lnTo>
                        <a:pt x="82451" y="1032332"/>
                      </a:lnTo>
                      <a:lnTo>
                        <a:pt x="82402" y="1034493"/>
                      </a:lnTo>
                      <a:lnTo>
                        <a:pt x="82596" y="1035465"/>
                      </a:lnTo>
                      <a:lnTo>
                        <a:pt x="83458" y="1037942"/>
                      </a:lnTo>
                      <a:lnTo>
                        <a:pt x="83556" y="1040650"/>
                      </a:lnTo>
                      <a:lnTo>
                        <a:pt x="83531" y="1041463"/>
                      </a:lnTo>
                      <a:lnTo>
                        <a:pt x="81734" y="1044341"/>
                      </a:lnTo>
                      <a:lnTo>
                        <a:pt x="79621" y="1045604"/>
                      </a:lnTo>
                      <a:lnTo>
                        <a:pt x="76695" y="1046333"/>
                      </a:lnTo>
                      <a:lnTo>
                        <a:pt x="73963" y="1046296"/>
                      </a:lnTo>
                      <a:lnTo>
                        <a:pt x="71655" y="1045908"/>
                      </a:lnTo>
                      <a:lnTo>
                        <a:pt x="68389" y="1045021"/>
                      </a:lnTo>
                      <a:lnTo>
                        <a:pt x="68316" y="1045543"/>
                      </a:lnTo>
                      <a:lnTo>
                        <a:pt x="66883" y="1048251"/>
                      </a:lnTo>
                      <a:lnTo>
                        <a:pt x="63617" y="1049975"/>
                      </a:lnTo>
                      <a:lnTo>
                        <a:pt x="60156" y="1048968"/>
                      </a:lnTo>
                      <a:lnTo>
                        <a:pt x="57849" y="1046806"/>
                      </a:lnTo>
                      <a:lnTo>
                        <a:pt x="55724" y="1044402"/>
                      </a:lnTo>
                      <a:lnTo>
                        <a:pt x="55505" y="1044888"/>
                      </a:lnTo>
                      <a:lnTo>
                        <a:pt x="53939" y="1047438"/>
                      </a:lnTo>
                      <a:lnTo>
                        <a:pt x="51656" y="1048409"/>
                      </a:lnTo>
                      <a:lnTo>
                        <a:pt x="49313" y="1048081"/>
                      </a:lnTo>
                      <a:lnTo>
                        <a:pt x="48475" y="1047583"/>
                      </a:lnTo>
                      <a:lnTo>
                        <a:pt x="47042" y="1046090"/>
                      </a:lnTo>
                      <a:lnTo>
                        <a:pt x="45888" y="1043503"/>
                      </a:lnTo>
                      <a:lnTo>
                        <a:pt x="44941" y="1040371"/>
                      </a:lnTo>
                      <a:lnTo>
                        <a:pt x="44115" y="1035052"/>
                      </a:lnTo>
                      <a:lnTo>
                        <a:pt x="44079" y="1032101"/>
                      </a:lnTo>
                      <a:lnTo>
                        <a:pt x="44978" y="1028252"/>
                      </a:lnTo>
                      <a:lnTo>
                        <a:pt x="46471" y="1026382"/>
                      </a:lnTo>
                      <a:lnTo>
                        <a:pt x="49252" y="1023358"/>
                      </a:lnTo>
                      <a:lnTo>
                        <a:pt x="49944" y="1022375"/>
                      </a:lnTo>
                      <a:lnTo>
                        <a:pt x="50211" y="1021622"/>
                      </a:lnTo>
                      <a:lnTo>
                        <a:pt x="50466" y="1020638"/>
                      </a:lnTo>
                      <a:lnTo>
                        <a:pt x="51535" y="1018440"/>
                      </a:lnTo>
                      <a:lnTo>
                        <a:pt x="52373" y="1017262"/>
                      </a:lnTo>
                      <a:lnTo>
                        <a:pt x="53538" y="1016109"/>
                      </a:lnTo>
                      <a:lnTo>
                        <a:pt x="54498" y="1014919"/>
                      </a:lnTo>
                      <a:lnTo>
                        <a:pt x="53854" y="1013607"/>
                      </a:lnTo>
                      <a:lnTo>
                        <a:pt x="53210" y="1012745"/>
                      </a:lnTo>
                      <a:lnTo>
                        <a:pt x="49968" y="1009382"/>
                      </a:lnTo>
                      <a:lnTo>
                        <a:pt x="48657" y="1007573"/>
                      </a:lnTo>
                      <a:lnTo>
                        <a:pt x="45864" y="1002740"/>
                      </a:lnTo>
                      <a:lnTo>
                        <a:pt x="44140" y="1000396"/>
                      </a:lnTo>
                      <a:lnTo>
                        <a:pt x="43022" y="999668"/>
                      </a:lnTo>
                      <a:lnTo>
                        <a:pt x="41201" y="997542"/>
                      </a:lnTo>
                      <a:lnTo>
                        <a:pt x="40047" y="994616"/>
                      </a:lnTo>
                      <a:lnTo>
                        <a:pt x="40120" y="989747"/>
                      </a:lnTo>
                      <a:lnTo>
                        <a:pt x="40910" y="987148"/>
                      </a:lnTo>
                      <a:lnTo>
                        <a:pt x="41650" y="985897"/>
                      </a:lnTo>
                      <a:lnTo>
                        <a:pt x="41602" y="985715"/>
                      </a:lnTo>
                      <a:lnTo>
                        <a:pt x="40448" y="984052"/>
                      </a:lnTo>
                      <a:lnTo>
                        <a:pt x="29665" y="973669"/>
                      </a:lnTo>
                      <a:lnTo>
                        <a:pt x="27819" y="970755"/>
                      </a:lnTo>
                      <a:lnTo>
                        <a:pt x="27819" y="967294"/>
                      </a:lnTo>
                      <a:lnTo>
                        <a:pt x="30309" y="964174"/>
                      </a:lnTo>
                      <a:lnTo>
                        <a:pt x="32397" y="963226"/>
                      </a:lnTo>
                      <a:lnTo>
                        <a:pt x="34850" y="962704"/>
                      </a:lnTo>
                      <a:lnTo>
                        <a:pt x="35482" y="961733"/>
                      </a:lnTo>
                      <a:lnTo>
                        <a:pt x="36562" y="960409"/>
                      </a:lnTo>
                      <a:lnTo>
                        <a:pt x="38505" y="959098"/>
                      </a:lnTo>
                      <a:lnTo>
                        <a:pt x="39125" y="958746"/>
                      </a:lnTo>
                      <a:lnTo>
                        <a:pt x="40436" y="958685"/>
                      </a:lnTo>
                      <a:lnTo>
                        <a:pt x="41966" y="958843"/>
                      </a:lnTo>
                      <a:lnTo>
                        <a:pt x="43836" y="959656"/>
                      </a:lnTo>
                      <a:lnTo>
                        <a:pt x="44905" y="960409"/>
                      </a:lnTo>
                      <a:lnTo>
                        <a:pt x="46884" y="962146"/>
                      </a:lnTo>
                      <a:lnTo>
                        <a:pt x="47115" y="962061"/>
                      </a:lnTo>
                      <a:lnTo>
                        <a:pt x="48948" y="961951"/>
                      </a:lnTo>
                      <a:lnTo>
                        <a:pt x="50478" y="962134"/>
                      </a:lnTo>
                      <a:lnTo>
                        <a:pt x="52154" y="963579"/>
                      </a:lnTo>
                      <a:lnTo>
                        <a:pt x="52846" y="964817"/>
                      </a:lnTo>
                      <a:lnTo>
                        <a:pt x="53587" y="967136"/>
                      </a:lnTo>
                      <a:lnTo>
                        <a:pt x="54935" y="976911"/>
                      </a:lnTo>
                      <a:lnTo>
                        <a:pt x="56003" y="980846"/>
                      </a:lnTo>
                      <a:lnTo>
                        <a:pt x="56610" y="982473"/>
                      </a:lnTo>
                      <a:lnTo>
                        <a:pt x="57315" y="983505"/>
                      </a:lnTo>
                      <a:lnTo>
                        <a:pt x="57764" y="983845"/>
                      </a:lnTo>
                      <a:lnTo>
                        <a:pt x="60618" y="985181"/>
                      </a:lnTo>
                      <a:lnTo>
                        <a:pt x="63289" y="986079"/>
                      </a:lnTo>
                      <a:lnTo>
                        <a:pt x="68535" y="987100"/>
                      </a:lnTo>
                      <a:lnTo>
                        <a:pt x="70514" y="987707"/>
                      </a:lnTo>
                      <a:lnTo>
                        <a:pt x="72372" y="988605"/>
                      </a:lnTo>
                      <a:lnTo>
                        <a:pt x="74169" y="990135"/>
                      </a:lnTo>
                      <a:lnTo>
                        <a:pt x="76367" y="993037"/>
                      </a:lnTo>
                      <a:lnTo>
                        <a:pt x="77169" y="993802"/>
                      </a:lnTo>
                      <a:lnTo>
                        <a:pt x="78698" y="993912"/>
                      </a:lnTo>
                      <a:lnTo>
                        <a:pt x="81613" y="993548"/>
                      </a:lnTo>
                      <a:lnTo>
                        <a:pt x="87271" y="993681"/>
                      </a:lnTo>
                      <a:lnTo>
                        <a:pt x="89154" y="993450"/>
                      </a:lnTo>
                      <a:lnTo>
                        <a:pt x="100641" y="990584"/>
                      </a:lnTo>
                      <a:lnTo>
                        <a:pt x="102729" y="990500"/>
                      </a:lnTo>
                      <a:lnTo>
                        <a:pt x="104988" y="991046"/>
                      </a:lnTo>
                      <a:lnTo>
                        <a:pt x="106737" y="991860"/>
                      </a:lnTo>
                      <a:lnTo>
                        <a:pt x="107769" y="992163"/>
                      </a:lnTo>
                      <a:lnTo>
                        <a:pt x="109930" y="992296"/>
                      </a:lnTo>
                      <a:lnTo>
                        <a:pt x="110829" y="992795"/>
                      </a:lnTo>
                      <a:lnTo>
                        <a:pt x="112140" y="993717"/>
                      </a:lnTo>
                      <a:lnTo>
                        <a:pt x="113087" y="994677"/>
                      </a:lnTo>
                      <a:lnTo>
                        <a:pt x="113949" y="995818"/>
                      </a:lnTo>
                      <a:lnTo>
                        <a:pt x="116730" y="1001586"/>
                      </a:lnTo>
                      <a:lnTo>
                        <a:pt x="119377" y="1005775"/>
                      </a:lnTo>
                      <a:lnTo>
                        <a:pt x="120458" y="1008253"/>
                      </a:lnTo>
                      <a:lnTo>
                        <a:pt x="120701" y="1011179"/>
                      </a:lnTo>
                      <a:lnTo>
                        <a:pt x="120409" y="1013000"/>
                      </a:lnTo>
                      <a:lnTo>
                        <a:pt x="123469" y="1013790"/>
                      </a:lnTo>
                      <a:lnTo>
                        <a:pt x="127465" y="1015587"/>
                      </a:lnTo>
                      <a:lnTo>
                        <a:pt x="125036" y="1011543"/>
                      </a:lnTo>
                      <a:lnTo>
                        <a:pt x="124708" y="1010038"/>
                      </a:lnTo>
                      <a:lnTo>
                        <a:pt x="124757" y="1007828"/>
                      </a:lnTo>
                      <a:lnTo>
                        <a:pt x="125230" y="1004974"/>
                      </a:lnTo>
                      <a:lnTo>
                        <a:pt x="123846" y="1004306"/>
                      </a:lnTo>
                      <a:lnTo>
                        <a:pt x="122024" y="1003177"/>
                      </a:lnTo>
                      <a:lnTo>
                        <a:pt x="119754" y="1000760"/>
                      </a:lnTo>
                      <a:lnTo>
                        <a:pt x="118989" y="999145"/>
                      </a:lnTo>
                      <a:lnTo>
                        <a:pt x="118746" y="998332"/>
                      </a:lnTo>
                      <a:lnTo>
                        <a:pt x="118066" y="994167"/>
                      </a:lnTo>
                      <a:lnTo>
                        <a:pt x="115953" y="992127"/>
                      </a:lnTo>
                      <a:lnTo>
                        <a:pt x="114569" y="990220"/>
                      </a:lnTo>
                      <a:lnTo>
                        <a:pt x="113998" y="987864"/>
                      </a:lnTo>
                      <a:lnTo>
                        <a:pt x="114204" y="986784"/>
                      </a:lnTo>
                      <a:lnTo>
                        <a:pt x="114581" y="985521"/>
                      </a:lnTo>
                      <a:lnTo>
                        <a:pt x="115212" y="984282"/>
                      </a:lnTo>
                      <a:lnTo>
                        <a:pt x="119572" y="978429"/>
                      </a:lnTo>
                      <a:lnTo>
                        <a:pt x="118734" y="978344"/>
                      </a:lnTo>
                      <a:lnTo>
                        <a:pt x="116135" y="977713"/>
                      </a:lnTo>
                      <a:lnTo>
                        <a:pt x="114229" y="975685"/>
                      </a:lnTo>
                      <a:lnTo>
                        <a:pt x="114253" y="973244"/>
                      </a:lnTo>
                      <a:lnTo>
                        <a:pt x="114435" y="972771"/>
                      </a:lnTo>
                      <a:lnTo>
                        <a:pt x="114982" y="971763"/>
                      </a:lnTo>
                      <a:lnTo>
                        <a:pt x="116074" y="970536"/>
                      </a:lnTo>
                      <a:lnTo>
                        <a:pt x="119292" y="967986"/>
                      </a:lnTo>
                      <a:lnTo>
                        <a:pt x="122486" y="964465"/>
                      </a:lnTo>
                      <a:lnTo>
                        <a:pt x="124380" y="963142"/>
                      </a:lnTo>
                      <a:lnTo>
                        <a:pt x="126359" y="962316"/>
                      </a:lnTo>
                      <a:lnTo>
                        <a:pt x="129614" y="961745"/>
                      </a:lnTo>
                      <a:lnTo>
                        <a:pt x="138005" y="961429"/>
                      </a:lnTo>
                      <a:lnTo>
                        <a:pt x="139583" y="961041"/>
                      </a:lnTo>
                      <a:lnTo>
                        <a:pt x="140214" y="960688"/>
                      </a:lnTo>
                      <a:lnTo>
                        <a:pt x="139923" y="959086"/>
                      </a:lnTo>
                      <a:lnTo>
                        <a:pt x="138296" y="954787"/>
                      </a:lnTo>
                      <a:lnTo>
                        <a:pt x="137822" y="952565"/>
                      </a:lnTo>
                      <a:lnTo>
                        <a:pt x="137774" y="950282"/>
                      </a:lnTo>
                      <a:lnTo>
                        <a:pt x="138235" y="947817"/>
                      </a:lnTo>
                      <a:lnTo>
                        <a:pt x="139401" y="944465"/>
                      </a:lnTo>
                      <a:lnTo>
                        <a:pt x="139231" y="944405"/>
                      </a:lnTo>
                      <a:lnTo>
                        <a:pt x="134714" y="943992"/>
                      </a:lnTo>
                      <a:lnTo>
                        <a:pt x="132565" y="943130"/>
                      </a:lnTo>
                      <a:lnTo>
                        <a:pt x="131763" y="942729"/>
                      </a:lnTo>
                      <a:lnTo>
                        <a:pt x="130889" y="941248"/>
                      </a:lnTo>
                      <a:lnTo>
                        <a:pt x="130427" y="939633"/>
                      </a:lnTo>
                      <a:lnTo>
                        <a:pt x="132613" y="936706"/>
                      </a:lnTo>
                      <a:lnTo>
                        <a:pt x="129711" y="938127"/>
                      </a:lnTo>
                      <a:lnTo>
                        <a:pt x="128873" y="937459"/>
                      </a:lnTo>
                      <a:lnTo>
                        <a:pt x="127173" y="936512"/>
                      </a:lnTo>
                      <a:lnTo>
                        <a:pt x="126712" y="936585"/>
                      </a:lnTo>
                      <a:lnTo>
                        <a:pt x="126202" y="936815"/>
                      </a:lnTo>
                      <a:lnTo>
                        <a:pt x="125509" y="937896"/>
                      </a:lnTo>
                      <a:lnTo>
                        <a:pt x="125667" y="938418"/>
                      </a:lnTo>
                      <a:lnTo>
                        <a:pt x="125995" y="938965"/>
                      </a:lnTo>
                      <a:lnTo>
                        <a:pt x="126505" y="940313"/>
                      </a:lnTo>
                      <a:lnTo>
                        <a:pt x="127125" y="941539"/>
                      </a:lnTo>
                      <a:lnTo>
                        <a:pt x="130209" y="945947"/>
                      </a:lnTo>
                      <a:lnTo>
                        <a:pt x="131472" y="949104"/>
                      </a:lnTo>
                      <a:lnTo>
                        <a:pt x="130962" y="952698"/>
                      </a:lnTo>
                      <a:lnTo>
                        <a:pt x="127756" y="955212"/>
                      </a:lnTo>
                      <a:lnTo>
                        <a:pt x="123712" y="955261"/>
                      </a:lnTo>
                      <a:lnTo>
                        <a:pt x="120470" y="953391"/>
                      </a:lnTo>
                      <a:lnTo>
                        <a:pt x="117799" y="950695"/>
                      </a:lnTo>
                      <a:lnTo>
                        <a:pt x="114884" y="946360"/>
                      </a:lnTo>
                      <a:lnTo>
                        <a:pt x="113877" y="945814"/>
                      </a:lnTo>
                      <a:lnTo>
                        <a:pt x="111873" y="945243"/>
                      </a:lnTo>
                      <a:lnTo>
                        <a:pt x="107149" y="944223"/>
                      </a:lnTo>
                      <a:lnTo>
                        <a:pt x="103713" y="942425"/>
                      </a:lnTo>
                      <a:lnTo>
                        <a:pt x="101806" y="939536"/>
                      </a:lnTo>
                      <a:lnTo>
                        <a:pt x="101904" y="936828"/>
                      </a:lnTo>
                      <a:lnTo>
                        <a:pt x="99621" y="937095"/>
                      </a:lnTo>
                      <a:lnTo>
                        <a:pt x="95079" y="938212"/>
                      </a:lnTo>
                      <a:lnTo>
                        <a:pt x="90404" y="938382"/>
                      </a:lnTo>
                      <a:lnTo>
                        <a:pt x="87041" y="937957"/>
                      </a:lnTo>
                      <a:lnTo>
                        <a:pt x="84563" y="937107"/>
                      </a:lnTo>
                      <a:lnTo>
                        <a:pt x="81163" y="935067"/>
                      </a:lnTo>
                      <a:lnTo>
                        <a:pt x="80374" y="935031"/>
                      </a:lnTo>
                      <a:lnTo>
                        <a:pt x="79925" y="935419"/>
                      </a:lnTo>
                      <a:lnTo>
                        <a:pt x="78565" y="936998"/>
                      </a:lnTo>
                      <a:lnTo>
                        <a:pt x="76743" y="939912"/>
                      </a:lnTo>
                      <a:lnTo>
                        <a:pt x="74303" y="943045"/>
                      </a:lnTo>
                      <a:lnTo>
                        <a:pt x="73841" y="944016"/>
                      </a:lnTo>
                      <a:lnTo>
                        <a:pt x="73574" y="945340"/>
                      </a:lnTo>
                      <a:lnTo>
                        <a:pt x="74084" y="949456"/>
                      </a:lnTo>
                      <a:lnTo>
                        <a:pt x="73756" y="951788"/>
                      </a:lnTo>
                      <a:lnTo>
                        <a:pt x="72870" y="954132"/>
                      </a:lnTo>
                      <a:lnTo>
                        <a:pt x="70684" y="956147"/>
                      </a:lnTo>
                      <a:lnTo>
                        <a:pt x="67988" y="956633"/>
                      </a:lnTo>
                      <a:lnTo>
                        <a:pt x="64030" y="956524"/>
                      </a:lnTo>
                      <a:lnTo>
                        <a:pt x="59306" y="955066"/>
                      </a:lnTo>
                      <a:lnTo>
                        <a:pt x="54801" y="954022"/>
                      </a:lnTo>
                      <a:lnTo>
                        <a:pt x="49482" y="953779"/>
                      </a:lnTo>
                      <a:lnTo>
                        <a:pt x="35822" y="951023"/>
                      </a:lnTo>
                      <a:lnTo>
                        <a:pt x="34814" y="946093"/>
                      </a:lnTo>
                      <a:lnTo>
                        <a:pt x="36028" y="943446"/>
                      </a:lnTo>
                      <a:lnTo>
                        <a:pt x="37850" y="940726"/>
                      </a:lnTo>
                      <a:lnTo>
                        <a:pt x="32519" y="938528"/>
                      </a:lnTo>
                      <a:lnTo>
                        <a:pt x="30406" y="937034"/>
                      </a:lnTo>
                      <a:lnTo>
                        <a:pt x="28633" y="935152"/>
                      </a:lnTo>
                      <a:lnTo>
                        <a:pt x="27237" y="932893"/>
                      </a:lnTo>
                      <a:lnTo>
                        <a:pt x="26314" y="930550"/>
                      </a:lnTo>
                      <a:lnTo>
                        <a:pt x="25804" y="927830"/>
                      </a:lnTo>
                      <a:lnTo>
                        <a:pt x="26022" y="924308"/>
                      </a:lnTo>
                      <a:lnTo>
                        <a:pt x="26666" y="921989"/>
                      </a:lnTo>
                      <a:lnTo>
                        <a:pt x="27674" y="919803"/>
                      </a:lnTo>
                      <a:lnTo>
                        <a:pt x="28633" y="918674"/>
                      </a:lnTo>
                      <a:lnTo>
                        <a:pt x="30515" y="917253"/>
                      </a:lnTo>
                      <a:lnTo>
                        <a:pt x="32337" y="916501"/>
                      </a:lnTo>
                      <a:lnTo>
                        <a:pt x="34486" y="916695"/>
                      </a:lnTo>
                      <a:lnTo>
                        <a:pt x="36004" y="916974"/>
                      </a:lnTo>
                      <a:lnTo>
                        <a:pt x="36635" y="915068"/>
                      </a:lnTo>
                      <a:lnTo>
                        <a:pt x="37607" y="913173"/>
                      </a:lnTo>
                      <a:lnTo>
                        <a:pt x="39999" y="910635"/>
                      </a:lnTo>
                      <a:lnTo>
                        <a:pt x="39465" y="909202"/>
                      </a:lnTo>
                      <a:lnTo>
                        <a:pt x="38481" y="907697"/>
                      </a:lnTo>
                      <a:lnTo>
                        <a:pt x="35239" y="907697"/>
                      </a:lnTo>
                      <a:lnTo>
                        <a:pt x="30673" y="907126"/>
                      </a:lnTo>
                      <a:lnTo>
                        <a:pt x="29884" y="907260"/>
                      </a:lnTo>
                      <a:lnTo>
                        <a:pt x="27225" y="908656"/>
                      </a:lnTo>
                      <a:lnTo>
                        <a:pt x="24905" y="909336"/>
                      </a:lnTo>
                      <a:lnTo>
                        <a:pt x="22792" y="909190"/>
                      </a:lnTo>
                      <a:lnTo>
                        <a:pt x="21785" y="908547"/>
                      </a:lnTo>
                      <a:lnTo>
                        <a:pt x="20704" y="907721"/>
                      </a:lnTo>
                      <a:lnTo>
                        <a:pt x="19878" y="906798"/>
                      </a:lnTo>
                      <a:lnTo>
                        <a:pt x="17996" y="903544"/>
                      </a:lnTo>
                      <a:lnTo>
                        <a:pt x="15968" y="898699"/>
                      </a:lnTo>
                      <a:lnTo>
                        <a:pt x="15106" y="897254"/>
                      </a:lnTo>
                      <a:lnTo>
                        <a:pt x="14098" y="895954"/>
                      </a:lnTo>
                      <a:lnTo>
                        <a:pt x="12483" y="895214"/>
                      </a:lnTo>
                      <a:lnTo>
                        <a:pt x="9957" y="894352"/>
                      </a:lnTo>
                      <a:lnTo>
                        <a:pt x="7553" y="892955"/>
                      </a:lnTo>
                      <a:lnTo>
                        <a:pt x="6569" y="890879"/>
                      </a:lnTo>
                      <a:lnTo>
                        <a:pt x="4044" y="881249"/>
                      </a:lnTo>
                      <a:lnTo>
                        <a:pt x="3534" y="877801"/>
                      </a:lnTo>
                      <a:lnTo>
                        <a:pt x="3558" y="874583"/>
                      </a:lnTo>
                      <a:lnTo>
                        <a:pt x="4663" y="869301"/>
                      </a:lnTo>
                      <a:lnTo>
                        <a:pt x="6569" y="864298"/>
                      </a:lnTo>
                      <a:lnTo>
                        <a:pt x="8354" y="860983"/>
                      </a:lnTo>
                      <a:lnTo>
                        <a:pt x="8634" y="859441"/>
                      </a:lnTo>
                      <a:lnTo>
                        <a:pt x="8670" y="857583"/>
                      </a:lnTo>
                      <a:lnTo>
                        <a:pt x="7857" y="851366"/>
                      </a:lnTo>
                      <a:lnTo>
                        <a:pt x="8852" y="847929"/>
                      </a:lnTo>
                      <a:lnTo>
                        <a:pt x="10091" y="847116"/>
                      </a:lnTo>
                      <a:lnTo>
                        <a:pt x="11293" y="846423"/>
                      </a:lnTo>
                      <a:lnTo>
                        <a:pt x="15373" y="844942"/>
                      </a:lnTo>
                      <a:lnTo>
                        <a:pt x="17984" y="832836"/>
                      </a:lnTo>
                      <a:lnTo>
                        <a:pt x="18615" y="828391"/>
                      </a:lnTo>
                      <a:lnTo>
                        <a:pt x="18639" y="825440"/>
                      </a:lnTo>
                      <a:lnTo>
                        <a:pt x="19247" y="821045"/>
                      </a:lnTo>
                      <a:lnTo>
                        <a:pt x="19222" y="819867"/>
                      </a:lnTo>
                      <a:lnTo>
                        <a:pt x="18846" y="819199"/>
                      </a:lnTo>
                      <a:lnTo>
                        <a:pt x="17680" y="818167"/>
                      </a:lnTo>
                      <a:lnTo>
                        <a:pt x="16320" y="817742"/>
                      </a:lnTo>
                      <a:lnTo>
                        <a:pt x="15446" y="817572"/>
                      </a:lnTo>
                      <a:lnTo>
                        <a:pt x="13746" y="816965"/>
                      </a:lnTo>
                      <a:lnTo>
                        <a:pt x="9654" y="814293"/>
                      </a:lnTo>
                      <a:lnTo>
                        <a:pt x="8974" y="814063"/>
                      </a:lnTo>
                      <a:lnTo>
                        <a:pt x="3752" y="812994"/>
                      </a:lnTo>
                      <a:lnTo>
                        <a:pt x="1542" y="812229"/>
                      </a:lnTo>
                      <a:lnTo>
                        <a:pt x="449" y="810626"/>
                      </a:lnTo>
                      <a:lnTo>
                        <a:pt x="0" y="809023"/>
                      </a:lnTo>
                      <a:lnTo>
                        <a:pt x="0" y="808052"/>
                      </a:lnTo>
                      <a:lnTo>
                        <a:pt x="559" y="806522"/>
                      </a:lnTo>
                      <a:lnTo>
                        <a:pt x="1931" y="804591"/>
                      </a:lnTo>
                      <a:lnTo>
                        <a:pt x="3886" y="802430"/>
                      </a:lnTo>
                      <a:lnTo>
                        <a:pt x="4869" y="801580"/>
                      </a:lnTo>
                      <a:lnTo>
                        <a:pt x="4833" y="800766"/>
                      </a:lnTo>
                      <a:lnTo>
                        <a:pt x="4590" y="798835"/>
                      </a:lnTo>
                      <a:lnTo>
                        <a:pt x="4918" y="793152"/>
                      </a:lnTo>
                      <a:lnTo>
                        <a:pt x="10054" y="784640"/>
                      </a:lnTo>
                      <a:lnTo>
                        <a:pt x="14608" y="786146"/>
                      </a:lnTo>
                      <a:lnTo>
                        <a:pt x="31523" y="795836"/>
                      </a:lnTo>
                      <a:lnTo>
                        <a:pt x="33648" y="796091"/>
                      </a:lnTo>
                      <a:lnTo>
                        <a:pt x="38311" y="796480"/>
                      </a:lnTo>
                      <a:lnTo>
                        <a:pt x="41250" y="797269"/>
                      </a:lnTo>
                      <a:lnTo>
                        <a:pt x="45184" y="799066"/>
                      </a:lnTo>
                      <a:lnTo>
                        <a:pt x="46386" y="799175"/>
                      </a:lnTo>
                      <a:lnTo>
                        <a:pt x="48912" y="797718"/>
                      </a:lnTo>
                      <a:lnTo>
                        <a:pt x="51595" y="797038"/>
                      </a:lnTo>
                      <a:lnTo>
                        <a:pt x="54218" y="796832"/>
                      </a:lnTo>
                      <a:lnTo>
                        <a:pt x="56367" y="797196"/>
                      </a:lnTo>
                      <a:lnTo>
                        <a:pt x="58031" y="797803"/>
                      </a:lnTo>
                      <a:lnTo>
                        <a:pt x="59938" y="799139"/>
                      </a:lnTo>
                      <a:lnTo>
                        <a:pt x="61261" y="800669"/>
                      </a:lnTo>
                      <a:lnTo>
                        <a:pt x="62269" y="802199"/>
                      </a:lnTo>
                      <a:lnTo>
                        <a:pt x="63095" y="802065"/>
                      </a:lnTo>
                      <a:lnTo>
                        <a:pt x="63860" y="801616"/>
                      </a:lnTo>
                      <a:lnTo>
                        <a:pt x="64588" y="801057"/>
                      </a:lnTo>
                      <a:lnTo>
                        <a:pt x="68608" y="797074"/>
                      </a:lnTo>
                      <a:lnTo>
                        <a:pt x="69530" y="795727"/>
                      </a:lnTo>
                      <a:lnTo>
                        <a:pt x="70368" y="793747"/>
                      </a:lnTo>
                      <a:lnTo>
                        <a:pt x="71595" y="789267"/>
                      </a:lnTo>
                      <a:lnTo>
                        <a:pt x="73064" y="786194"/>
                      </a:lnTo>
                      <a:lnTo>
                        <a:pt x="74363" y="784094"/>
                      </a:lnTo>
                      <a:lnTo>
                        <a:pt x="75699" y="782358"/>
                      </a:lnTo>
                      <a:lnTo>
                        <a:pt x="76270" y="781228"/>
                      </a:lnTo>
                      <a:lnTo>
                        <a:pt x="76889" y="779735"/>
                      </a:lnTo>
                      <a:lnTo>
                        <a:pt x="77205" y="778362"/>
                      </a:lnTo>
                      <a:lnTo>
                        <a:pt x="77472" y="776274"/>
                      </a:lnTo>
                      <a:lnTo>
                        <a:pt x="77387" y="772777"/>
                      </a:lnTo>
                      <a:lnTo>
                        <a:pt x="76731" y="769583"/>
                      </a:lnTo>
                      <a:lnTo>
                        <a:pt x="74011" y="760682"/>
                      </a:lnTo>
                      <a:lnTo>
                        <a:pt x="72396" y="748393"/>
                      </a:lnTo>
                      <a:lnTo>
                        <a:pt x="70793" y="746342"/>
                      </a:lnTo>
                      <a:lnTo>
                        <a:pt x="68158" y="744969"/>
                      </a:lnTo>
                      <a:lnTo>
                        <a:pt x="62330" y="743694"/>
                      </a:lnTo>
                      <a:lnTo>
                        <a:pt x="60181" y="742711"/>
                      </a:lnTo>
                      <a:lnTo>
                        <a:pt x="58286" y="740938"/>
                      </a:lnTo>
                      <a:lnTo>
                        <a:pt x="57752" y="740355"/>
                      </a:lnTo>
                      <a:lnTo>
                        <a:pt x="56938" y="737003"/>
                      </a:lnTo>
                      <a:lnTo>
                        <a:pt x="55335" y="726694"/>
                      </a:lnTo>
                      <a:lnTo>
                        <a:pt x="54255" y="724241"/>
                      </a:lnTo>
                      <a:lnTo>
                        <a:pt x="53696" y="723416"/>
                      </a:lnTo>
                      <a:lnTo>
                        <a:pt x="52579" y="722517"/>
                      </a:lnTo>
                      <a:lnTo>
                        <a:pt x="51559" y="721254"/>
                      </a:lnTo>
                      <a:lnTo>
                        <a:pt x="50369" y="718971"/>
                      </a:lnTo>
                      <a:lnTo>
                        <a:pt x="49215" y="715146"/>
                      </a:lnTo>
                      <a:lnTo>
                        <a:pt x="47649" y="712183"/>
                      </a:lnTo>
                      <a:lnTo>
                        <a:pt x="47175" y="711613"/>
                      </a:lnTo>
                      <a:lnTo>
                        <a:pt x="46762" y="710690"/>
                      </a:lnTo>
                      <a:lnTo>
                        <a:pt x="46131" y="706901"/>
                      </a:lnTo>
                      <a:lnTo>
                        <a:pt x="49398" y="702445"/>
                      </a:lnTo>
                      <a:lnTo>
                        <a:pt x="53053" y="703841"/>
                      </a:lnTo>
                      <a:lnTo>
                        <a:pt x="54534" y="704995"/>
                      </a:lnTo>
                      <a:lnTo>
                        <a:pt x="54327" y="697126"/>
                      </a:lnTo>
                      <a:lnTo>
                        <a:pt x="52530" y="688747"/>
                      </a:lnTo>
                      <a:lnTo>
                        <a:pt x="52652" y="687072"/>
                      </a:lnTo>
                      <a:lnTo>
                        <a:pt x="52955" y="685518"/>
                      </a:lnTo>
                      <a:lnTo>
                        <a:pt x="53465" y="684060"/>
                      </a:lnTo>
                      <a:lnTo>
                        <a:pt x="54959" y="681183"/>
                      </a:lnTo>
                      <a:lnTo>
                        <a:pt x="57011" y="678790"/>
                      </a:lnTo>
                      <a:lnTo>
                        <a:pt x="59355" y="677127"/>
                      </a:lnTo>
                      <a:lnTo>
                        <a:pt x="62099" y="676228"/>
                      </a:lnTo>
                      <a:lnTo>
                        <a:pt x="64770" y="676204"/>
                      </a:lnTo>
                      <a:lnTo>
                        <a:pt x="67090" y="676738"/>
                      </a:lnTo>
                      <a:lnTo>
                        <a:pt x="67976" y="677066"/>
                      </a:lnTo>
                      <a:lnTo>
                        <a:pt x="67199" y="674844"/>
                      </a:lnTo>
                      <a:lnTo>
                        <a:pt x="64904" y="671043"/>
                      </a:lnTo>
                      <a:lnTo>
                        <a:pt x="62609" y="666137"/>
                      </a:lnTo>
                      <a:lnTo>
                        <a:pt x="62463" y="666538"/>
                      </a:lnTo>
                      <a:lnTo>
                        <a:pt x="60751" y="665785"/>
                      </a:lnTo>
                      <a:lnTo>
                        <a:pt x="58845" y="664413"/>
                      </a:lnTo>
                      <a:lnTo>
                        <a:pt x="57934" y="661025"/>
                      </a:lnTo>
                      <a:lnTo>
                        <a:pt x="57388" y="656714"/>
                      </a:lnTo>
                      <a:lnTo>
                        <a:pt x="58371" y="647644"/>
                      </a:lnTo>
                      <a:lnTo>
                        <a:pt x="58347" y="642653"/>
                      </a:lnTo>
                      <a:lnTo>
                        <a:pt x="59197" y="640771"/>
                      </a:lnTo>
                      <a:lnTo>
                        <a:pt x="58857" y="637638"/>
                      </a:lnTo>
                      <a:lnTo>
                        <a:pt x="67066" y="627584"/>
                      </a:lnTo>
                      <a:lnTo>
                        <a:pt x="81115" y="619229"/>
                      </a:lnTo>
                      <a:lnTo>
                        <a:pt x="85256" y="617748"/>
                      </a:lnTo>
                      <a:lnTo>
                        <a:pt x="97678" y="615854"/>
                      </a:lnTo>
                      <a:lnTo>
                        <a:pt x="100374" y="616193"/>
                      </a:lnTo>
                      <a:lnTo>
                        <a:pt x="104478" y="618185"/>
                      </a:lnTo>
                      <a:lnTo>
                        <a:pt x="106081" y="618707"/>
                      </a:lnTo>
                      <a:lnTo>
                        <a:pt x="113427" y="619533"/>
                      </a:lnTo>
                      <a:lnTo>
                        <a:pt x="136560" y="619739"/>
                      </a:lnTo>
                      <a:lnTo>
                        <a:pt x="137750" y="620115"/>
                      </a:lnTo>
                      <a:lnTo>
                        <a:pt x="138005" y="620140"/>
                      </a:lnTo>
                      <a:lnTo>
                        <a:pt x="138940" y="618877"/>
                      </a:lnTo>
                      <a:lnTo>
                        <a:pt x="141611" y="616108"/>
                      </a:lnTo>
                      <a:lnTo>
                        <a:pt x="141647" y="614044"/>
                      </a:lnTo>
                      <a:lnTo>
                        <a:pt x="149164" y="614032"/>
                      </a:lnTo>
                      <a:lnTo>
                        <a:pt x="152248" y="613971"/>
                      </a:lnTo>
                      <a:lnTo>
                        <a:pt x="152248" y="616412"/>
                      </a:lnTo>
                      <a:lnTo>
                        <a:pt x="152795" y="616995"/>
                      </a:lnTo>
                      <a:lnTo>
                        <a:pt x="153705" y="617699"/>
                      </a:lnTo>
                      <a:lnTo>
                        <a:pt x="153997" y="619229"/>
                      </a:lnTo>
                      <a:lnTo>
                        <a:pt x="154179" y="620735"/>
                      </a:lnTo>
                      <a:lnTo>
                        <a:pt x="153960" y="623455"/>
                      </a:lnTo>
                      <a:lnTo>
                        <a:pt x="153584" y="625143"/>
                      </a:lnTo>
                      <a:lnTo>
                        <a:pt x="154762" y="625386"/>
                      </a:lnTo>
                      <a:lnTo>
                        <a:pt x="157810" y="625859"/>
                      </a:lnTo>
                      <a:lnTo>
                        <a:pt x="161793" y="626114"/>
                      </a:lnTo>
                      <a:lnTo>
                        <a:pt x="163918" y="626576"/>
                      </a:lnTo>
                      <a:lnTo>
                        <a:pt x="165035" y="627001"/>
                      </a:lnTo>
                      <a:lnTo>
                        <a:pt x="166128" y="626818"/>
                      </a:lnTo>
                      <a:lnTo>
                        <a:pt x="166941" y="626418"/>
                      </a:lnTo>
                      <a:lnTo>
                        <a:pt x="168216" y="625908"/>
                      </a:lnTo>
                      <a:lnTo>
                        <a:pt x="171179" y="627426"/>
                      </a:lnTo>
                      <a:lnTo>
                        <a:pt x="172345" y="628446"/>
                      </a:lnTo>
                      <a:lnTo>
                        <a:pt x="173450" y="629199"/>
                      </a:lnTo>
                      <a:lnTo>
                        <a:pt x="176522" y="632696"/>
                      </a:lnTo>
                      <a:lnTo>
                        <a:pt x="178477" y="633011"/>
                      </a:lnTo>
                      <a:lnTo>
                        <a:pt x="182715" y="633449"/>
                      </a:lnTo>
                      <a:lnTo>
                        <a:pt x="183650" y="632756"/>
                      </a:lnTo>
                      <a:lnTo>
                        <a:pt x="185617" y="631785"/>
                      </a:lnTo>
                      <a:lnTo>
                        <a:pt x="188398" y="630898"/>
                      </a:lnTo>
                      <a:lnTo>
                        <a:pt x="190826" y="631396"/>
                      </a:lnTo>
                      <a:lnTo>
                        <a:pt x="192599" y="632028"/>
                      </a:lnTo>
                      <a:lnTo>
                        <a:pt x="194287" y="632938"/>
                      </a:lnTo>
                      <a:lnTo>
                        <a:pt x="195526" y="633145"/>
                      </a:lnTo>
                      <a:lnTo>
                        <a:pt x="196521" y="632890"/>
                      </a:lnTo>
                      <a:lnTo>
                        <a:pt x="197189" y="632829"/>
                      </a:lnTo>
                      <a:lnTo>
                        <a:pt x="199642" y="633716"/>
                      </a:lnTo>
                      <a:lnTo>
                        <a:pt x="201561" y="634614"/>
                      </a:lnTo>
                      <a:lnTo>
                        <a:pt x="204524" y="635124"/>
                      </a:lnTo>
                      <a:lnTo>
                        <a:pt x="205349" y="634796"/>
                      </a:lnTo>
                      <a:lnTo>
                        <a:pt x="206624" y="634396"/>
                      </a:lnTo>
                      <a:lnTo>
                        <a:pt x="207401" y="633849"/>
                      </a:lnTo>
                      <a:lnTo>
                        <a:pt x="210692" y="632999"/>
                      </a:lnTo>
                      <a:lnTo>
                        <a:pt x="211457" y="633242"/>
                      </a:lnTo>
                      <a:lnTo>
                        <a:pt x="212805" y="633376"/>
                      </a:lnTo>
                      <a:lnTo>
                        <a:pt x="214699" y="630498"/>
                      </a:lnTo>
                      <a:lnTo>
                        <a:pt x="217929" y="629186"/>
                      </a:lnTo>
                      <a:lnTo>
                        <a:pt x="221366" y="629283"/>
                      </a:lnTo>
                      <a:lnTo>
                        <a:pt x="225725" y="631749"/>
                      </a:lnTo>
                      <a:lnTo>
                        <a:pt x="229295" y="633182"/>
                      </a:lnTo>
                      <a:lnTo>
                        <a:pt x="231408" y="633303"/>
                      </a:lnTo>
                      <a:lnTo>
                        <a:pt x="234432" y="633060"/>
                      </a:lnTo>
                      <a:lnTo>
                        <a:pt x="237637" y="633546"/>
                      </a:lnTo>
                      <a:lnTo>
                        <a:pt x="240212" y="635246"/>
                      </a:lnTo>
                      <a:lnTo>
                        <a:pt x="241511" y="632368"/>
                      </a:lnTo>
                      <a:lnTo>
                        <a:pt x="242264" y="630231"/>
                      </a:lnTo>
                      <a:lnTo>
                        <a:pt x="244692" y="629016"/>
                      </a:lnTo>
                      <a:lnTo>
                        <a:pt x="245676" y="628154"/>
                      </a:lnTo>
                      <a:lnTo>
                        <a:pt x="247194" y="627936"/>
                      </a:lnTo>
                      <a:lnTo>
                        <a:pt x="249732" y="628166"/>
                      </a:lnTo>
                      <a:lnTo>
                        <a:pt x="251250" y="629903"/>
                      </a:lnTo>
                      <a:lnTo>
                        <a:pt x="251954" y="631736"/>
                      </a:lnTo>
                      <a:lnTo>
                        <a:pt x="252039" y="634262"/>
                      </a:lnTo>
                      <a:lnTo>
                        <a:pt x="252743" y="634396"/>
                      </a:lnTo>
                      <a:lnTo>
                        <a:pt x="255148" y="639581"/>
                      </a:lnTo>
                      <a:lnTo>
                        <a:pt x="261680" y="642568"/>
                      </a:lnTo>
                      <a:lnTo>
                        <a:pt x="262081" y="642434"/>
                      </a:lnTo>
                      <a:lnTo>
                        <a:pt x="261838" y="638646"/>
                      </a:lnTo>
                      <a:lnTo>
                        <a:pt x="266890" y="637990"/>
                      </a:lnTo>
                      <a:lnTo>
                        <a:pt x="269816" y="638063"/>
                      </a:lnTo>
                      <a:lnTo>
                        <a:pt x="270229" y="638209"/>
                      </a:lnTo>
                      <a:lnTo>
                        <a:pt x="270326" y="637529"/>
                      </a:lnTo>
                      <a:lnTo>
                        <a:pt x="271358" y="635246"/>
                      </a:lnTo>
                      <a:lnTo>
                        <a:pt x="272220" y="633959"/>
                      </a:lnTo>
                      <a:lnTo>
                        <a:pt x="271820" y="632683"/>
                      </a:lnTo>
                      <a:lnTo>
                        <a:pt x="272136" y="630753"/>
                      </a:lnTo>
                      <a:lnTo>
                        <a:pt x="273313" y="628968"/>
                      </a:lnTo>
                      <a:lnTo>
                        <a:pt x="276398" y="626697"/>
                      </a:lnTo>
                      <a:lnTo>
                        <a:pt x="278377" y="625555"/>
                      </a:lnTo>
                      <a:lnTo>
                        <a:pt x="283222" y="624074"/>
                      </a:lnTo>
                      <a:lnTo>
                        <a:pt x="283720" y="623759"/>
                      </a:lnTo>
                      <a:lnTo>
                        <a:pt x="283938" y="623418"/>
                      </a:lnTo>
                      <a:lnTo>
                        <a:pt x="284096" y="622155"/>
                      </a:lnTo>
                      <a:lnTo>
                        <a:pt x="284752" y="619326"/>
                      </a:lnTo>
                      <a:lnTo>
                        <a:pt x="284983" y="616946"/>
                      </a:lnTo>
                      <a:lnTo>
                        <a:pt x="285857" y="616169"/>
                      </a:lnTo>
                      <a:lnTo>
                        <a:pt x="285808" y="615829"/>
                      </a:lnTo>
                      <a:lnTo>
                        <a:pt x="286925" y="613012"/>
                      </a:lnTo>
                      <a:lnTo>
                        <a:pt x="286792" y="611761"/>
                      </a:lnTo>
                      <a:lnTo>
                        <a:pt x="285043" y="606686"/>
                      </a:lnTo>
                      <a:lnTo>
                        <a:pt x="287800" y="603771"/>
                      </a:lnTo>
                      <a:lnTo>
                        <a:pt x="291491" y="602520"/>
                      </a:lnTo>
                      <a:lnTo>
                        <a:pt x="294697" y="603273"/>
                      </a:lnTo>
                      <a:lnTo>
                        <a:pt x="297016" y="604002"/>
                      </a:lnTo>
                      <a:lnTo>
                        <a:pt x="299068" y="603844"/>
                      </a:lnTo>
                      <a:lnTo>
                        <a:pt x="299627" y="603213"/>
                      </a:lnTo>
                      <a:lnTo>
                        <a:pt x="300926" y="601500"/>
                      </a:lnTo>
                      <a:lnTo>
                        <a:pt x="303962" y="599327"/>
                      </a:lnTo>
                      <a:lnTo>
                        <a:pt x="306998" y="598902"/>
                      </a:lnTo>
                      <a:lnTo>
                        <a:pt x="309596" y="597979"/>
                      </a:lnTo>
                      <a:lnTo>
                        <a:pt x="311369" y="596291"/>
                      </a:lnTo>
                      <a:lnTo>
                        <a:pt x="316008" y="594105"/>
                      </a:lnTo>
                      <a:lnTo>
                        <a:pt x="319699" y="593474"/>
                      </a:lnTo>
                      <a:lnTo>
                        <a:pt x="325904" y="593850"/>
                      </a:lnTo>
                      <a:lnTo>
                        <a:pt x="334562" y="595380"/>
                      </a:lnTo>
                      <a:lnTo>
                        <a:pt x="339638" y="596959"/>
                      </a:lnTo>
                      <a:lnTo>
                        <a:pt x="341715" y="597457"/>
                      </a:lnTo>
                      <a:lnTo>
                        <a:pt x="344180" y="598526"/>
                      </a:lnTo>
                      <a:lnTo>
                        <a:pt x="344884" y="598501"/>
                      </a:lnTo>
                      <a:lnTo>
                        <a:pt x="345564" y="598016"/>
                      </a:lnTo>
                      <a:lnTo>
                        <a:pt x="347118" y="596643"/>
                      </a:lnTo>
                      <a:lnTo>
                        <a:pt x="349850" y="593620"/>
                      </a:lnTo>
                      <a:lnTo>
                        <a:pt x="352777" y="591046"/>
                      </a:lnTo>
                      <a:lnTo>
                        <a:pt x="356990" y="590305"/>
                      </a:lnTo>
                      <a:lnTo>
                        <a:pt x="361435" y="592078"/>
                      </a:lnTo>
                      <a:lnTo>
                        <a:pt x="364203" y="594275"/>
                      </a:lnTo>
                      <a:lnTo>
                        <a:pt x="366474" y="596595"/>
                      </a:lnTo>
                      <a:lnTo>
                        <a:pt x="368793" y="599922"/>
                      </a:lnTo>
                      <a:lnTo>
                        <a:pt x="369728" y="600881"/>
                      </a:lnTo>
                      <a:lnTo>
                        <a:pt x="371501" y="602193"/>
                      </a:lnTo>
                      <a:lnTo>
                        <a:pt x="376140" y="604560"/>
                      </a:lnTo>
                      <a:lnTo>
                        <a:pt x="377852" y="604998"/>
                      </a:lnTo>
                      <a:lnTo>
                        <a:pt x="379892" y="605289"/>
                      </a:lnTo>
                      <a:lnTo>
                        <a:pt x="382248" y="605253"/>
                      </a:lnTo>
                      <a:lnTo>
                        <a:pt x="385138" y="604864"/>
                      </a:lnTo>
                      <a:lnTo>
                        <a:pt x="387396" y="603492"/>
                      </a:lnTo>
                      <a:lnTo>
                        <a:pt x="390493" y="601088"/>
                      </a:lnTo>
                      <a:lnTo>
                        <a:pt x="392472" y="598550"/>
                      </a:lnTo>
                      <a:lnTo>
                        <a:pt x="394949" y="594154"/>
                      </a:lnTo>
                      <a:lnTo>
                        <a:pt x="395326" y="593097"/>
                      </a:lnTo>
                      <a:lnTo>
                        <a:pt x="395010" y="591956"/>
                      </a:lnTo>
                      <a:lnTo>
                        <a:pt x="394391" y="590523"/>
                      </a:lnTo>
                      <a:lnTo>
                        <a:pt x="393686" y="587524"/>
                      </a:lnTo>
                      <a:lnTo>
                        <a:pt x="393504" y="585302"/>
                      </a:lnTo>
                      <a:lnTo>
                        <a:pt x="394002" y="581683"/>
                      </a:lnTo>
                      <a:lnTo>
                        <a:pt x="395969" y="580019"/>
                      </a:lnTo>
                      <a:lnTo>
                        <a:pt x="399078" y="578708"/>
                      </a:lnTo>
                      <a:lnTo>
                        <a:pt x="402587" y="579012"/>
                      </a:lnTo>
                      <a:lnTo>
                        <a:pt x="405161" y="581234"/>
                      </a:lnTo>
                      <a:lnTo>
                        <a:pt x="406036" y="583784"/>
                      </a:lnTo>
                      <a:lnTo>
                        <a:pt x="406485" y="585824"/>
                      </a:lnTo>
                      <a:lnTo>
                        <a:pt x="406813" y="588751"/>
                      </a:lnTo>
                      <a:lnTo>
                        <a:pt x="407019" y="589442"/>
                      </a:lnTo>
                      <a:lnTo>
                        <a:pt x="408525" y="590535"/>
                      </a:lnTo>
                      <a:lnTo>
                        <a:pt x="408719" y="590547"/>
                      </a:lnTo>
                      <a:lnTo>
                        <a:pt x="409557" y="589867"/>
                      </a:lnTo>
                      <a:lnTo>
                        <a:pt x="410468" y="588313"/>
                      </a:lnTo>
                      <a:lnTo>
                        <a:pt x="410371" y="587002"/>
                      </a:lnTo>
                      <a:lnTo>
                        <a:pt x="407505" y="581428"/>
                      </a:lnTo>
                      <a:lnTo>
                        <a:pt x="407505" y="577482"/>
                      </a:lnTo>
                      <a:lnTo>
                        <a:pt x="408331" y="573875"/>
                      </a:lnTo>
                      <a:lnTo>
                        <a:pt x="412629" y="571082"/>
                      </a:lnTo>
                      <a:lnTo>
                        <a:pt x="415811" y="569467"/>
                      </a:lnTo>
                      <a:lnTo>
                        <a:pt x="419381" y="567998"/>
                      </a:lnTo>
                      <a:lnTo>
                        <a:pt x="423169" y="566747"/>
                      </a:lnTo>
                      <a:lnTo>
                        <a:pt x="425634" y="565825"/>
                      </a:lnTo>
                      <a:lnTo>
                        <a:pt x="428269" y="563845"/>
                      </a:lnTo>
                      <a:lnTo>
                        <a:pt x="430807" y="562777"/>
                      </a:lnTo>
                      <a:lnTo>
                        <a:pt x="433454" y="562279"/>
                      </a:lnTo>
                      <a:lnTo>
                        <a:pt x="436320" y="562425"/>
                      </a:lnTo>
                      <a:lnTo>
                        <a:pt x="438931" y="562995"/>
                      </a:lnTo>
                      <a:lnTo>
                        <a:pt x="441833" y="563857"/>
                      </a:lnTo>
                      <a:lnTo>
                        <a:pt x="451074" y="563785"/>
                      </a:lnTo>
                      <a:lnTo>
                        <a:pt x="454243" y="564222"/>
                      </a:lnTo>
                      <a:lnTo>
                        <a:pt x="456599" y="566104"/>
                      </a:lnTo>
                      <a:lnTo>
                        <a:pt x="457789" y="566687"/>
                      </a:lnTo>
                      <a:lnTo>
                        <a:pt x="459586" y="567354"/>
                      </a:lnTo>
                      <a:lnTo>
                        <a:pt x="460897" y="567646"/>
                      </a:lnTo>
                      <a:lnTo>
                        <a:pt x="462925" y="566893"/>
                      </a:lnTo>
                      <a:lnTo>
                        <a:pt x="465475" y="565509"/>
                      </a:lnTo>
                      <a:lnTo>
                        <a:pt x="467017" y="564161"/>
                      </a:lnTo>
                      <a:lnTo>
                        <a:pt x="467175" y="563785"/>
                      </a:lnTo>
                      <a:lnTo>
                        <a:pt x="468025" y="554556"/>
                      </a:lnTo>
                      <a:lnTo>
                        <a:pt x="467685" y="548023"/>
                      </a:lnTo>
                      <a:lnTo>
                        <a:pt x="467248" y="546967"/>
                      </a:lnTo>
                      <a:lnTo>
                        <a:pt x="464431" y="543906"/>
                      </a:lnTo>
                      <a:lnTo>
                        <a:pt x="464953" y="540203"/>
                      </a:lnTo>
                      <a:lnTo>
                        <a:pt x="464820" y="537009"/>
                      </a:lnTo>
                      <a:lnTo>
                        <a:pt x="465269" y="532371"/>
                      </a:lnTo>
                      <a:lnTo>
                        <a:pt x="466083" y="527829"/>
                      </a:lnTo>
                      <a:lnTo>
                        <a:pt x="468062" y="523470"/>
                      </a:lnTo>
                      <a:lnTo>
                        <a:pt x="469070" y="522875"/>
                      </a:lnTo>
                      <a:lnTo>
                        <a:pt x="469033" y="522474"/>
                      </a:lnTo>
                      <a:lnTo>
                        <a:pt x="468438" y="521151"/>
                      </a:lnTo>
                      <a:lnTo>
                        <a:pt x="466908" y="518880"/>
                      </a:lnTo>
                      <a:lnTo>
                        <a:pt x="467212" y="514776"/>
                      </a:lnTo>
                      <a:lnTo>
                        <a:pt x="468645" y="511035"/>
                      </a:lnTo>
                      <a:lnTo>
                        <a:pt x="474194" y="505936"/>
                      </a:lnTo>
                      <a:lnTo>
                        <a:pt x="475469" y="502256"/>
                      </a:lnTo>
                      <a:lnTo>
                        <a:pt x="480071" y="501066"/>
                      </a:lnTo>
                      <a:lnTo>
                        <a:pt x="482718" y="500617"/>
                      </a:lnTo>
                      <a:lnTo>
                        <a:pt x="486859" y="499147"/>
                      </a:lnTo>
                      <a:lnTo>
                        <a:pt x="489737" y="498492"/>
                      </a:lnTo>
                      <a:lnTo>
                        <a:pt x="492420" y="498261"/>
                      </a:lnTo>
                      <a:lnTo>
                        <a:pt x="503264" y="498079"/>
                      </a:lnTo>
                      <a:lnTo>
                        <a:pt x="507429" y="497654"/>
                      </a:lnTo>
                      <a:lnTo>
                        <a:pt x="508073" y="497253"/>
                      </a:lnTo>
                      <a:lnTo>
                        <a:pt x="508826" y="496306"/>
                      </a:lnTo>
                      <a:lnTo>
                        <a:pt x="509530" y="494339"/>
                      </a:lnTo>
                      <a:lnTo>
                        <a:pt x="509979" y="493428"/>
                      </a:lnTo>
                      <a:lnTo>
                        <a:pt x="514533" y="491085"/>
                      </a:lnTo>
                      <a:lnTo>
                        <a:pt x="519754" y="488753"/>
                      </a:lnTo>
                      <a:lnTo>
                        <a:pt x="523118" y="487964"/>
                      </a:lnTo>
                      <a:lnTo>
                        <a:pt x="528582" y="488340"/>
                      </a:lnTo>
                      <a:lnTo>
                        <a:pt x="530999" y="487770"/>
                      </a:lnTo>
                      <a:lnTo>
                        <a:pt x="532237" y="487248"/>
                      </a:lnTo>
                      <a:lnTo>
                        <a:pt x="533864" y="486361"/>
                      </a:lnTo>
                      <a:lnTo>
                        <a:pt x="535747" y="485062"/>
                      </a:lnTo>
                      <a:lnTo>
                        <a:pt x="538952" y="482281"/>
                      </a:lnTo>
                      <a:lnTo>
                        <a:pt x="543093" y="481990"/>
                      </a:lnTo>
                      <a:lnTo>
                        <a:pt x="547052" y="482779"/>
                      </a:lnTo>
                      <a:lnTo>
                        <a:pt x="547222" y="482755"/>
                      </a:lnTo>
                      <a:lnTo>
                        <a:pt x="547877" y="481638"/>
                      </a:lnTo>
                      <a:lnTo>
                        <a:pt x="551034" y="478869"/>
                      </a:lnTo>
                      <a:lnTo>
                        <a:pt x="554410" y="477254"/>
                      </a:lnTo>
                      <a:lnTo>
                        <a:pt x="562206" y="476610"/>
                      </a:lnTo>
                      <a:lnTo>
                        <a:pt x="563117" y="476149"/>
                      </a:lnTo>
                      <a:lnTo>
                        <a:pt x="566177" y="472020"/>
                      </a:lnTo>
                      <a:lnTo>
                        <a:pt x="569115" y="470369"/>
                      </a:lnTo>
                      <a:lnTo>
                        <a:pt x="573305" y="469361"/>
                      </a:lnTo>
                      <a:lnTo>
                        <a:pt x="576450" y="471110"/>
                      </a:lnTo>
                      <a:lnTo>
                        <a:pt x="580809" y="476878"/>
                      </a:lnTo>
                      <a:lnTo>
                        <a:pt x="582072" y="476780"/>
                      </a:lnTo>
                      <a:lnTo>
                        <a:pt x="584998" y="475943"/>
                      </a:lnTo>
                      <a:lnTo>
                        <a:pt x="589977" y="475396"/>
                      </a:lnTo>
                      <a:lnTo>
                        <a:pt x="593110" y="478043"/>
                      </a:lnTo>
                      <a:lnTo>
                        <a:pt x="595150" y="481212"/>
                      </a:lnTo>
                      <a:lnTo>
                        <a:pt x="597299" y="486810"/>
                      </a:lnTo>
                      <a:lnTo>
                        <a:pt x="598101" y="487503"/>
                      </a:lnTo>
                      <a:lnTo>
                        <a:pt x="599873" y="488231"/>
                      </a:lnTo>
                      <a:lnTo>
                        <a:pt x="601330" y="488608"/>
                      </a:lnTo>
                      <a:lnTo>
                        <a:pt x="602909" y="488304"/>
                      </a:lnTo>
                      <a:lnTo>
                        <a:pt x="605386" y="486762"/>
                      </a:lnTo>
                      <a:lnTo>
                        <a:pt x="607414" y="484030"/>
                      </a:lnTo>
                      <a:lnTo>
                        <a:pt x="610790" y="477788"/>
                      </a:lnTo>
                      <a:lnTo>
                        <a:pt x="613036" y="475505"/>
                      </a:lnTo>
                      <a:lnTo>
                        <a:pt x="616327" y="473332"/>
                      </a:lnTo>
                      <a:lnTo>
                        <a:pt x="618452" y="470381"/>
                      </a:lnTo>
                      <a:lnTo>
                        <a:pt x="620820" y="468402"/>
                      </a:lnTo>
                      <a:lnTo>
                        <a:pt x="621439" y="464091"/>
                      </a:lnTo>
                      <a:lnTo>
                        <a:pt x="622981" y="461007"/>
                      </a:lnTo>
                      <a:lnTo>
                        <a:pt x="623929" y="457983"/>
                      </a:lnTo>
                      <a:lnTo>
                        <a:pt x="620711" y="456502"/>
                      </a:lnTo>
                      <a:lnTo>
                        <a:pt x="619278" y="454741"/>
                      </a:lnTo>
                      <a:lnTo>
                        <a:pt x="618318" y="452349"/>
                      </a:lnTo>
                      <a:lnTo>
                        <a:pt x="618294" y="451912"/>
                      </a:lnTo>
                      <a:lnTo>
                        <a:pt x="617286" y="451887"/>
                      </a:lnTo>
                      <a:lnTo>
                        <a:pt x="612405" y="449908"/>
                      </a:lnTo>
                      <a:lnTo>
                        <a:pt x="610122" y="448851"/>
                      </a:lnTo>
                      <a:lnTo>
                        <a:pt x="610280" y="446168"/>
                      </a:lnTo>
                      <a:lnTo>
                        <a:pt x="610948" y="443460"/>
                      </a:lnTo>
                      <a:lnTo>
                        <a:pt x="612648" y="440072"/>
                      </a:lnTo>
                      <a:lnTo>
                        <a:pt x="613789" y="437291"/>
                      </a:lnTo>
                      <a:lnTo>
                        <a:pt x="615829" y="434426"/>
                      </a:lnTo>
                      <a:lnTo>
                        <a:pt x="618136" y="432313"/>
                      </a:lnTo>
                      <a:lnTo>
                        <a:pt x="619023" y="431305"/>
                      </a:lnTo>
                      <a:lnTo>
                        <a:pt x="621184" y="424129"/>
                      </a:lnTo>
                      <a:lnTo>
                        <a:pt x="627571" y="424481"/>
                      </a:lnTo>
                      <a:lnTo>
                        <a:pt x="628251" y="422040"/>
                      </a:lnTo>
                      <a:lnTo>
                        <a:pt x="629296" y="419028"/>
                      </a:lnTo>
                      <a:lnTo>
                        <a:pt x="634311" y="421044"/>
                      </a:lnTo>
                      <a:lnTo>
                        <a:pt x="635683" y="420340"/>
                      </a:lnTo>
                      <a:lnTo>
                        <a:pt x="636266" y="420231"/>
                      </a:lnTo>
                      <a:lnTo>
                        <a:pt x="637844" y="420182"/>
                      </a:lnTo>
                      <a:lnTo>
                        <a:pt x="638282" y="420279"/>
                      </a:lnTo>
                      <a:lnTo>
                        <a:pt x="638634" y="418871"/>
                      </a:lnTo>
                      <a:lnTo>
                        <a:pt x="640431" y="417013"/>
                      </a:lnTo>
                      <a:lnTo>
                        <a:pt x="643940" y="413831"/>
                      </a:lnTo>
                      <a:lnTo>
                        <a:pt x="643940" y="413406"/>
                      </a:lnTo>
                      <a:lnTo>
                        <a:pt x="647583" y="408598"/>
                      </a:lnTo>
                      <a:lnTo>
                        <a:pt x="653800" y="410006"/>
                      </a:lnTo>
                      <a:lnTo>
                        <a:pt x="654213" y="413929"/>
                      </a:lnTo>
                      <a:lnTo>
                        <a:pt x="656593" y="413661"/>
                      </a:lnTo>
                      <a:lnTo>
                        <a:pt x="659519" y="416770"/>
                      </a:lnTo>
                      <a:lnTo>
                        <a:pt x="660127" y="416527"/>
                      </a:lnTo>
                      <a:lnTo>
                        <a:pt x="664826" y="415131"/>
                      </a:lnTo>
                      <a:lnTo>
                        <a:pt x="668736" y="420036"/>
                      </a:lnTo>
                      <a:lnTo>
                        <a:pt x="671152" y="423254"/>
                      </a:lnTo>
                      <a:lnTo>
                        <a:pt x="673678" y="427589"/>
                      </a:lnTo>
                      <a:lnTo>
                        <a:pt x="674553" y="431779"/>
                      </a:lnTo>
                      <a:lnTo>
                        <a:pt x="675208" y="434547"/>
                      </a:lnTo>
                      <a:lnTo>
                        <a:pt x="676216" y="435822"/>
                      </a:lnTo>
                      <a:lnTo>
                        <a:pt x="678705" y="439756"/>
                      </a:lnTo>
                      <a:lnTo>
                        <a:pt x="676750" y="440048"/>
                      </a:lnTo>
                      <a:lnTo>
                        <a:pt x="676799" y="440364"/>
                      </a:lnTo>
                      <a:lnTo>
                        <a:pt x="676787" y="442331"/>
                      </a:lnTo>
                      <a:lnTo>
                        <a:pt x="676933" y="442695"/>
                      </a:lnTo>
                      <a:lnTo>
                        <a:pt x="678912" y="443363"/>
                      </a:lnTo>
                      <a:lnTo>
                        <a:pt x="681207" y="444346"/>
                      </a:lnTo>
                      <a:lnTo>
                        <a:pt x="680952" y="445549"/>
                      </a:lnTo>
                      <a:lnTo>
                        <a:pt x="681025" y="445476"/>
                      </a:lnTo>
                      <a:lnTo>
                        <a:pt x="683247" y="444954"/>
                      </a:lnTo>
                      <a:lnTo>
                        <a:pt x="684522" y="447236"/>
                      </a:lnTo>
                      <a:lnTo>
                        <a:pt x="685117" y="448451"/>
                      </a:lnTo>
                      <a:lnTo>
                        <a:pt x="685773" y="450661"/>
                      </a:lnTo>
                      <a:lnTo>
                        <a:pt x="686003" y="451827"/>
                      </a:lnTo>
                      <a:lnTo>
                        <a:pt x="686319" y="451705"/>
                      </a:lnTo>
                      <a:lnTo>
                        <a:pt x="686355" y="449556"/>
                      </a:lnTo>
                      <a:lnTo>
                        <a:pt x="686161" y="444832"/>
                      </a:lnTo>
                      <a:lnTo>
                        <a:pt x="695147" y="448487"/>
                      </a:lnTo>
                      <a:lnTo>
                        <a:pt x="695839" y="449908"/>
                      </a:lnTo>
                      <a:lnTo>
                        <a:pt x="696215" y="450843"/>
                      </a:lnTo>
                      <a:lnTo>
                        <a:pt x="698741" y="451487"/>
                      </a:lnTo>
                      <a:lnTo>
                        <a:pt x="698656" y="452361"/>
                      </a:lnTo>
                      <a:lnTo>
                        <a:pt x="701886" y="453976"/>
                      </a:lnTo>
                      <a:lnTo>
                        <a:pt x="702651" y="457011"/>
                      </a:lnTo>
                      <a:lnTo>
                        <a:pt x="702773" y="458190"/>
                      </a:lnTo>
                      <a:lnTo>
                        <a:pt x="703052" y="458226"/>
                      </a:lnTo>
                      <a:lnTo>
                        <a:pt x="705444" y="459112"/>
                      </a:lnTo>
                      <a:lnTo>
                        <a:pt x="707035" y="460181"/>
                      </a:lnTo>
                      <a:lnTo>
                        <a:pt x="707751" y="460934"/>
                      </a:lnTo>
                      <a:lnTo>
                        <a:pt x="710993" y="461857"/>
                      </a:lnTo>
                      <a:lnTo>
                        <a:pt x="712001" y="462015"/>
                      </a:lnTo>
                      <a:lnTo>
                        <a:pt x="713386" y="461760"/>
                      </a:lnTo>
                      <a:lnTo>
                        <a:pt x="717223" y="462233"/>
                      </a:lnTo>
                      <a:lnTo>
                        <a:pt x="718729" y="462670"/>
                      </a:lnTo>
                      <a:lnTo>
                        <a:pt x="719069" y="462233"/>
                      </a:lnTo>
                      <a:lnTo>
                        <a:pt x="722505" y="460448"/>
                      </a:lnTo>
                      <a:lnTo>
                        <a:pt x="722347" y="460266"/>
                      </a:lnTo>
                      <a:lnTo>
                        <a:pt x="719833" y="459258"/>
                      </a:lnTo>
                      <a:lnTo>
                        <a:pt x="719275" y="458699"/>
                      </a:lnTo>
                      <a:lnTo>
                        <a:pt x="718704" y="458651"/>
                      </a:lnTo>
                      <a:lnTo>
                        <a:pt x="717004" y="458165"/>
                      </a:lnTo>
                      <a:lnTo>
                        <a:pt x="715608" y="456162"/>
                      </a:lnTo>
                      <a:lnTo>
                        <a:pt x="715013" y="453660"/>
                      </a:lnTo>
                      <a:lnTo>
                        <a:pt x="717247" y="450333"/>
                      </a:lnTo>
                      <a:lnTo>
                        <a:pt x="717113" y="450090"/>
                      </a:lnTo>
                      <a:lnTo>
                        <a:pt x="717198" y="449095"/>
                      </a:lnTo>
                      <a:lnTo>
                        <a:pt x="717271" y="443666"/>
                      </a:lnTo>
                      <a:lnTo>
                        <a:pt x="720744" y="442404"/>
                      </a:lnTo>
                      <a:lnTo>
                        <a:pt x="720210" y="440728"/>
                      </a:lnTo>
                      <a:lnTo>
                        <a:pt x="720611" y="437716"/>
                      </a:lnTo>
                      <a:lnTo>
                        <a:pt x="720186" y="437704"/>
                      </a:lnTo>
                      <a:lnTo>
                        <a:pt x="714746" y="434219"/>
                      </a:lnTo>
                      <a:lnTo>
                        <a:pt x="712778" y="436769"/>
                      </a:lnTo>
                      <a:lnTo>
                        <a:pt x="708468" y="434304"/>
                      </a:lnTo>
                      <a:lnTo>
                        <a:pt x="708443" y="434996"/>
                      </a:lnTo>
                      <a:lnTo>
                        <a:pt x="708783" y="435834"/>
                      </a:lnTo>
                      <a:lnTo>
                        <a:pt x="709913" y="441177"/>
                      </a:lnTo>
                      <a:lnTo>
                        <a:pt x="702785" y="438591"/>
                      </a:lnTo>
                      <a:lnTo>
                        <a:pt x="700684" y="437182"/>
                      </a:lnTo>
                      <a:lnTo>
                        <a:pt x="699749" y="436660"/>
                      </a:lnTo>
                      <a:lnTo>
                        <a:pt x="697478" y="434826"/>
                      </a:lnTo>
                      <a:lnTo>
                        <a:pt x="695790" y="433782"/>
                      </a:lnTo>
                      <a:lnTo>
                        <a:pt x="690860" y="432301"/>
                      </a:lnTo>
                      <a:lnTo>
                        <a:pt x="688480" y="431900"/>
                      </a:lnTo>
                      <a:lnTo>
                        <a:pt x="684862" y="430649"/>
                      </a:lnTo>
                      <a:lnTo>
                        <a:pt x="680952" y="429119"/>
                      </a:lnTo>
                      <a:lnTo>
                        <a:pt x="675985" y="428512"/>
                      </a:lnTo>
                      <a:lnTo>
                        <a:pt x="679993" y="423412"/>
                      </a:lnTo>
                      <a:lnTo>
                        <a:pt x="681049" y="422319"/>
                      </a:lnTo>
                      <a:lnTo>
                        <a:pt x="681013" y="419891"/>
                      </a:lnTo>
                      <a:lnTo>
                        <a:pt x="682980" y="418592"/>
                      </a:lnTo>
                      <a:lnTo>
                        <a:pt x="683259" y="418482"/>
                      </a:lnTo>
                      <a:lnTo>
                        <a:pt x="682518" y="418033"/>
                      </a:lnTo>
                      <a:lnTo>
                        <a:pt x="682263" y="416126"/>
                      </a:lnTo>
                      <a:lnTo>
                        <a:pt x="682227" y="414766"/>
                      </a:lnTo>
                      <a:lnTo>
                        <a:pt x="682263" y="414536"/>
                      </a:lnTo>
                      <a:lnTo>
                        <a:pt x="681437" y="412824"/>
                      </a:lnTo>
                      <a:lnTo>
                        <a:pt x="680612" y="411779"/>
                      </a:lnTo>
                      <a:lnTo>
                        <a:pt x="680102" y="409496"/>
                      </a:lnTo>
                      <a:lnTo>
                        <a:pt x="681170" y="407602"/>
                      </a:lnTo>
                      <a:lnTo>
                        <a:pt x="682700" y="406133"/>
                      </a:lnTo>
                      <a:lnTo>
                        <a:pt x="683878" y="405380"/>
                      </a:lnTo>
                      <a:lnTo>
                        <a:pt x="685894" y="403449"/>
                      </a:lnTo>
                      <a:lnTo>
                        <a:pt x="687752" y="402551"/>
                      </a:lnTo>
                      <a:lnTo>
                        <a:pt x="690010" y="402963"/>
                      </a:lnTo>
                      <a:lnTo>
                        <a:pt x="691042" y="404105"/>
                      </a:lnTo>
                      <a:lnTo>
                        <a:pt x="691310" y="404506"/>
                      </a:lnTo>
                      <a:lnTo>
                        <a:pt x="691868" y="405635"/>
                      </a:lnTo>
                      <a:lnTo>
                        <a:pt x="692500" y="407918"/>
                      </a:lnTo>
                      <a:lnTo>
                        <a:pt x="692402" y="408573"/>
                      </a:lnTo>
                      <a:lnTo>
                        <a:pt x="694819" y="411026"/>
                      </a:lnTo>
                      <a:lnTo>
                        <a:pt x="695414" y="413309"/>
                      </a:lnTo>
                      <a:lnTo>
                        <a:pt x="696167" y="413516"/>
                      </a:lnTo>
                      <a:lnTo>
                        <a:pt x="697102" y="410601"/>
                      </a:lnTo>
                      <a:lnTo>
                        <a:pt x="701182" y="410492"/>
                      </a:lnTo>
                      <a:lnTo>
                        <a:pt x="702566" y="408974"/>
                      </a:lnTo>
                      <a:lnTo>
                        <a:pt x="702396" y="408792"/>
                      </a:lnTo>
                      <a:lnTo>
                        <a:pt x="702202" y="407651"/>
                      </a:lnTo>
                      <a:lnTo>
                        <a:pt x="702675" y="403935"/>
                      </a:lnTo>
                      <a:lnTo>
                        <a:pt x="703161" y="402733"/>
                      </a:lnTo>
                      <a:lnTo>
                        <a:pt x="706683" y="402903"/>
                      </a:lnTo>
                      <a:lnTo>
                        <a:pt x="703914" y="401652"/>
                      </a:lnTo>
                      <a:lnTo>
                        <a:pt x="704363" y="400656"/>
                      </a:lnTo>
                      <a:lnTo>
                        <a:pt x="703999" y="396491"/>
                      </a:lnTo>
                      <a:lnTo>
                        <a:pt x="710605" y="397220"/>
                      </a:lnTo>
                      <a:lnTo>
                        <a:pt x="710933" y="396928"/>
                      </a:lnTo>
                      <a:lnTo>
                        <a:pt x="712026" y="396176"/>
                      </a:lnTo>
                      <a:lnTo>
                        <a:pt x="712596" y="395447"/>
                      </a:lnTo>
                      <a:lnTo>
                        <a:pt x="713373" y="394682"/>
                      </a:lnTo>
                      <a:lnTo>
                        <a:pt x="714466" y="394572"/>
                      </a:lnTo>
                      <a:lnTo>
                        <a:pt x="715462" y="394306"/>
                      </a:lnTo>
                      <a:lnTo>
                        <a:pt x="718036" y="390845"/>
                      </a:lnTo>
                      <a:lnTo>
                        <a:pt x="723015" y="391816"/>
                      </a:lnTo>
                      <a:lnTo>
                        <a:pt x="724824" y="393067"/>
                      </a:lnTo>
                      <a:lnTo>
                        <a:pt x="727726" y="395241"/>
                      </a:lnTo>
                      <a:lnTo>
                        <a:pt x="727921" y="395325"/>
                      </a:lnTo>
                      <a:lnTo>
                        <a:pt x="729536" y="395131"/>
                      </a:lnTo>
                      <a:lnTo>
                        <a:pt x="731333" y="395775"/>
                      </a:lnTo>
                      <a:lnTo>
                        <a:pt x="732656" y="396504"/>
                      </a:lnTo>
                      <a:lnTo>
                        <a:pt x="736202" y="397536"/>
                      </a:lnTo>
                      <a:lnTo>
                        <a:pt x="735522" y="399442"/>
                      </a:lnTo>
                      <a:lnTo>
                        <a:pt x="736202" y="399612"/>
                      </a:lnTo>
                      <a:lnTo>
                        <a:pt x="739007" y="401275"/>
                      </a:lnTo>
                      <a:lnTo>
                        <a:pt x="740950" y="402538"/>
                      </a:lnTo>
                      <a:lnTo>
                        <a:pt x="739894" y="405793"/>
                      </a:lnTo>
                      <a:lnTo>
                        <a:pt x="739651" y="406048"/>
                      </a:lnTo>
                      <a:lnTo>
                        <a:pt x="739796" y="406011"/>
                      </a:lnTo>
                      <a:lnTo>
                        <a:pt x="740258" y="405198"/>
                      </a:lnTo>
                      <a:lnTo>
                        <a:pt x="742650" y="404420"/>
                      </a:lnTo>
                      <a:lnTo>
                        <a:pt x="744702" y="404542"/>
                      </a:lnTo>
                      <a:lnTo>
                        <a:pt x="748321" y="405125"/>
                      </a:lnTo>
                      <a:lnTo>
                        <a:pt x="750470" y="405271"/>
                      </a:lnTo>
                      <a:lnTo>
                        <a:pt x="755461" y="407359"/>
                      </a:lnTo>
                      <a:lnTo>
                        <a:pt x="758545" y="408124"/>
                      </a:lnTo>
                      <a:lnTo>
                        <a:pt x="760852" y="408331"/>
                      </a:lnTo>
                      <a:lnTo>
                        <a:pt x="762030" y="408586"/>
                      </a:lnTo>
                      <a:lnTo>
                        <a:pt x="763597" y="409448"/>
                      </a:lnTo>
                      <a:lnTo>
                        <a:pt x="764859" y="409508"/>
                      </a:lnTo>
                      <a:lnTo>
                        <a:pt x="769899" y="410650"/>
                      </a:lnTo>
                      <a:lnTo>
                        <a:pt x="771016" y="411658"/>
                      </a:lnTo>
                      <a:lnTo>
                        <a:pt x="771162" y="411148"/>
                      </a:lnTo>
                      <a:lnTo>
                        <a:pt x="771987" y="410298"/>
                      </a:lnTo>
                      <a:lnTo>
                        <a:pt x="771574" y="407056"/>
                      </a:lnTo>
                      <a:lnTo>
                        <a:pt x="772777" y="404348"/>
                      </a:lnTo>
                      <a:lnTo>
                        <a:pt x="772801" y="403680"/>
                      </a:lnTo>
                      <a:lnTo>
                        <a:pt x="772947" y="402830"/>
                      </a:lnTo>
                      <a:lnTo>
                        <a:pt x="770518" y="398568"/>
                      </a:lnTo>
                      <a:lnTo>
                        <a:pt x="774015" y="395678"/>
                      </a:lnTo>
                      <a:lnTo>
                        <a:pt x="773942" y="395325"/>
                      </a:lnTo>
                      <a:lnTo>
                        <a:pt x="774307" y="392108"/>
                      </a:lnTo>
                      <a:lnTo>
                        <a:pt x="774805" y="389035"/>
                      </a:lnTo>
                      <a:lnTo>
                        <a:pt x="779067" y="389825"/>
                      </a:lnTo>
                      <a:lnTo>
                        <a:pt x="781714" y="390711"/>
                      </a:lnTo>
                      <a:lnTo>
                        <a:pt x="782042" y="390638"/>
                      </a:lnTo>
                      <a:lnTo>
                        <a:pt x="782479" y="388999"/>
                      </a:lnTo>
                      <a:lnTo>
                        <a:pt x="782151" y="388671"/>
                      </a:lnTo>
                      <a:lnTo>
                        <a:pt x="781422" y="387202"/>
                      </a:lnTo>
                      <a:lnTo>
                        <a:pt x="781058" y="385162"/>
                      </a:lnTo>
                      <a:lnTo>
                        <a:pt x="781167" y="383450"/>
                      </a:lnTo>
                      <a:lnTo>
                        <a:pt x="780827" y="382745"/>
                      </a:lnTo>
                      <a:lnTo>
                        <a:pt x="780184" y="380329"/>
                      </a:lnTo>
                      <a:lnTo>
                        <a:pt x="784033" y="378483"/>
                      </a:lnTo>
                      <a:lnTo>
                        <a:pt x="786353" y="378070"/>
                      </a:lnTo>
                      <a:lnTo>
                        <a:pt x="789437" y="378313"/>
                      </a:lnTo>
                      <a:lnTo>
                        <a:pt x="791550" y="379515"/>
                      </a:lnTo>
                      <a:lnTo>
                        <a:pt x="793650" y="381203"/>
                      </a:lnTo>
                      <a:lnTo>
                        <a:pt x="794913" y="382005"/>
                      </a:lnTo>
                      <a:lnTo>
                        <a:pt x="799503" y="383328"/>
                      </a:lnTo>
                      <a:lnTo>
                        <a:pt x="799892" y="382879"/>
                      </a:lnTo>
                      <a:lnTo>
                        <a:pt x="801604" y="382345"/>
                      </a:lnTo>
                      <a:lnTo>
                        <a:pt x="804798" y="381944"/>
                      </a:lnTo>
                      <a:lnTo>
                        <a:pt x="805465" y="381070"/>
                      </a:lnTo>
                      <a:lnTo>
                        <a:pt x="806558" y="380074"/>
                      </a:lnTo>
                      <a:lnTo>
                        <a:pt x="807178" y="378823"/>
                      </a:lnTo>
                      <a:lnTo>
                        <a:pt x="808125" y="375302"/>
                      </a:lnTo>
                      <a:lnTo>
                        <a:pt x="812800" y="377548"/>
                      </a:lnTo>
                      <a:lnTo>
                        <a:pt x="813431" y="377985"/>
                      </a:lnTo>
                      <a:lnTo>
                        <a:pt x="816018" y="376844"/>
                      </a:lnTo>
                      <a:lnTo>
                        <a:pt x="822587" y="374634"/>
                      </a:lnTo>
                      <a:lnTo>
                        <a:pt x="827881" y="373201"/>
                      </a:lnTo>
                      <a:lnTo>
                        <a:pt x="829921" y="373056"/>
                      </a:lnTo>
                      <a:lnTo>
                        <a:pt x="830116" y="372691"/>
                      </a:lnTo>
                      <a:lnTo>
                        <a:pt x="831136" y="371598"/>
                      </a:lnTo>
                      <a:lnTo>
                        <a:pt x="830334" y="370250"/>
                      </a:lnTo>
                      <a:lnTo>
                        <a:pt x="830286" y="363730"/>
                      </a:lnTo>
                      <a:lnTo>
                        <a:pt x="830613" y="360924"/>
                      </a:lnTo>
                      <a:lnTo>
                        <a:pt x="832156" y="358581"/>
                      </a:lnTo>
                      <a:lnTo>
                        <a:pt x="832981" y="356614"/>
                      </a:lnTo>
                      <a:lnTo>
                        <a:pt x="836430" y="354610"/>
                      </a:lnTo>
                      <a:lnTo>
                        <a:pt x="842914" y="355885"/>
                      </a:lnTo>
                      <a:lnTo>
                        <a:pt x="844966" y="355618"/>
                      </a:lnTo>
                      <a:lnTo>
                        <a:pt x="849860" y="355667"/>
                      </a:lnTo>
                      <a:lnTo>
                        <a:pt x="850856" y="355861"/>
                      </a:lnTo>
                      <a:lnTo>
                        <a:pt x="852374" y="354817"/>
                      </a:lnTo>
                      <a:lnTo>
                        <a:pt x="853126" y="353821"/>
                      </a:lnTo>
                      <a:lnTo>
                        <a:pt x="854717" y="351344"/>
                      </a:lnTo>
                      <a:lnTo>
                        <a:pt x="854863" y="350603"/>
                      </a:lnTo>
                      <a:lnTo>
                        <a:pt x="857049" y="347009"/>
                      </a:lnTo>
                      <a:lnTo>
                        <a:pt x="859514" y="343742"/>
                      </a:lnTo>
                      <a:lnTo>
                        <a:pt x="860266" y="343196"/>
                      </a:lnTo>
                      <a:lnTo>
                        <a:pt x="861068" y="342989"/>
                      </a:lnTo>
                      <a:lnTo>
                        <a:pt x="864019" y="342467"/>
                      </a:lnTo>
                      <a:lnTo>
                        <a:pt x="865294" y="342844"/>
                      </a:lnTo>
                      <a:lnTo>
                        <a:pt x="867370" y="344228"/>
                      </a:lnTo>
                      <a:lnTo>
                        <a:pt x="868451" y="345102"/>
                      </a:lnTo>
                      <a:lnTo>
                        <a:pt x="868524" y="347240"/>
                      </a:lnTo>
                      <a:lnTo>
                        <a:pt x="869022" y="347774"/>
                      </a:lnTo>
                      <a:lnTo>
                        <a:pt x="870989" y="348855"/>
                      </a:lnTo>
                      <a:lnTo>
                        <a:pt x="872045" y="349243"/>
                      </a:lnTo>
                      <a:lnTo>
                        <a:pt x="872519" y="349194"/>
                      </a:lnTo>
                      <a:lnTo>
                        <a:pt x="873187" y="349316"/>
                      </a:lnTo>
                      <a:lnTo>
                        <a:pt x="876465" y="348320"/>
                      </a:lnTo>
                      <a:lnTo>
                        <a:pt x="877012" y="348284"/>
                      </a:lnTo>
                      <a:lnTo>
                        <a:pt x="879331" y="346147"/>
                      </a:lnTo>
                      <a:lnTo>
                        <a:pt x="880946" y="345819"/>
                      </a:lnTo>
                      <a:lnTo>
                        <a:pt x="881832" y="345042"/>
                      </a:lnTo>
                      <a:lnTo>
                        <a:pt x="882075" y="344204"/>
                      </a:lnTo>
                      <a:lnTo>
                        <a:pt x="883229" y="342467"/>
                      </a:lnTo>
                      <a:lnTo>
                        <a:pt x="884346" y="340962"/>
                      </a:lnTo>
                      <a:lnTo>
                        <a:pt x="887515" y="337877"/>
                      </a:lnTo>
                      <a:lnTo>
                        <a:pt x="888985" y="335825"/>
                      </a:lnTo>
                      <a:lnTo>
                        <a:pt x="891000" y="332765"/>
                      </a:lnTo>
                      <a:lnTo>
                        <a:pt x="890612" y="331223"/>
                      </a:lnTo>
                      <a:lnTo>
                        <a:pt x="890551" y="329061"/>
                      </a:lnTo>
                      <a:lnTo>
                        <a:pt x="891620" y="325455"/>
                      </a:lnTo>
                      <a:lnTo>
                        <a:pt x="891680" y="323974"/>
                      </a:lnTo>
                      <a:lnTo>
                        <a:pt x="891425" y="323112"/>
                      </a:lnTo>
                      <a:lnTo>
                        <a:pt x="891668" y="318327"/>
                      </a:lnTo>
                      <a:lnTo>
                        <a:pt x="892142" y="316275"/>
                      </a:lnTo>
                      <a:lnTo>
                        <a:pt x="894097" y="313288"/>
                      </a:lnTo>
                      <a:lnTo>
                        <a:pt x="894765" y="312049"/>
                      </a:lnTo>
                      <a:lnTo>
                        <a:pt x="895481" y="311199"/>
                      </a:lnTo>
                      <a:lnTo>
                        <a:pt x="895177" y="310908"/>
                      </a:lnTo>
                      <a:lnTo>
                        <a:pt x="890879" y="307799"/>
                      </a:lnTo>
                      <a:lnTo>
                        <a:pt x="893562" y="304776"/>
                      </a:lnTo>
                      <a:lnTo>
                        <a:pt x="893732" y="303610"/>
                      </a:lnTo>
                      <a:lnTo>
                        <a:pt x="894170" y="302408"/>
                      </a:lnTo>
                      <a:lnTo>
                        <a:pt x="895942" y="299870"/>
                      </a:lnTo>
                      <a:lnTo>
                        <a:pt x="899342" y="297089"/>
                      </a:lnTo>
                      <a:lnTo>
                        <a:pt x="900557" y="294940"/>
                      </a:lnTo>
                      <a:lnTo>
                        <a:pt x="902063" y="291273"/>
                      </a:lnTo>
                      <a:lnTo>
                        <a:pt x="903435" y="289014"/>
                      </a:lnTo>
                      <a:lnTo>
                        <a:pt x="904868" y="287751"/>
                      </a:lnTo>
                      <a:lnTo>
                        <a:pt x="905208" y="283513"/>
                      </a:lnTo>
                      <a:lnTo>
                        <a:pt x="905402" y="282081"/>
                      </a:lnTo>
                      <a:lnTo>
                        <a:pt x="906397" y="279725"/>
                      </a:lnTo>
                      <a:lnTo>
                        <a:pt x="908085" y="277928"/>
                      </a:lnTo>
                      <a:lnTo>
                        <a:pt x="913853" y="274965"/>
                      </a:lnTo>
                      <a:lnTo>
                        <a:pt x="914242" y="273435"/>
                      </a:lnTo>
                      <a:lnTo>
                        <a:pt x="914485" y="272925"/>
                      </a:lnTo>
                      <a:lnTo>
                        <a:pt x="916403" y="271140"/>
                      </a:lnTo>
                      <a:lnTo>
                        <a:pt x="920811" y="270448"/>
                      </a:lnTo>
                      <a:lnTo>
                        <a:pt x="923373" y="270411"/>
                      </a:lnTo>
                      <a:lnTo>
                        <a:pt x="927259" y="270156"/>
                      </a:lnTo>
                      <a:lnTo>
                        <a:pt x="928243" y="269622"/>
                      </a:lnTo>
                      <a:lnTo>
                        <a:pt x="928680" y="269124"/>
                      </a:lnTo>
                      <a:lnTo>
                        <a:pt x="929323" y="268056"/>
                      </a:lnTo>
                      <a:lnTo>
                        <a:pt x="930246" y="265263"/>
                      </a:lnTo>
                      <a:lnTo>
                        <a:pt x="931752" y="263745"/>
                      </a:lnTo>
                      <a:lnTo>
                        <a:pt x="934666" y="261474"/>
                      </a:lnTo>
                      <a:lnTo>
                        <a:pt x="936002" y="260587"/>
                      </a:lnTo>
                      <a:lnTo>
                        <a:pt x="939366" y="259555"/>
                      </a:lnTo>
                      <a:lnTo>
                        <a:pt x="940993" y="259956"/>
                      </a:lnTo>
                      <a:lnTo>
                        <a:pt x="942571" y="258195"/>
                      </a:lnTo>
                      <a:lnTo>
                        <a:pt x="945850" y="257819"/>
                      </a:lnTo>
                      <a:lnTo>
                        <a:pt x="946105" y="257491"/>
                      </a:lnTo>
                      <a:lnTo>
                        <a:pt x="946469" y="257175"/>
                      </a:lnTo>
                      <a:lnTo>
                        <a:pt x="945801" y="256180"/>
                      </a:lnTo>
                      <a:lnTo>
                        <a:pt x="944903" y="255050"/>
                      </a:lnTo>
                      <a:lnTo>
                        <a:pt x="943300" y="254249"/>
                      </a:lnTo>
                      <a:lnTo>
                        <a:pt x="941430" y="252063"/>
                      </a:lnTo>
                      <a:lnTo>
                        <a:pt x="939475" y="248772"/>
                      </a:lnTo>
                      <a:lnTo>
                        <a:pt x="942571" y="245955"/>
                      </a:lnTo>
                      <a:lnTo>
                        <a:pt x="946749" y="243405"/>
                      </a:lnTo>
                      <a:lnTo>
                        <a:pt x="959438" y="237625"/>
                      </a:lnTo>
                      <a:lnTo>
                        <a:pt x="978126" y="225361"/>
                      </a:lnTo>
                      <a:lnTo>
                        <a:pt x="985375" y="224778"/>
                      </a:lnTo>
                      <a:lnTo>
                        <a:pt x="991374" y="223576"/>
                      </a:lnTo>
                      <a:lnTo>
                        <a:pt x="1000226" y="217091"/>
                      </a:lnTo>
                      <a:lnTo>
                        <a:pt x="1010972" y="215598"/>
                      </a:lnTo>
                      <a:lnTo>
                        <a:pt x="1019084" y="217941"/>
                      </a:lnTo>
                      <a:lnTo>
                        <a:pt x="1022994" y="220164"/>
                      </a:lnTo>
                      <a:lnTo>
                        <a:pt x="1025896" y="222434"/>
                      </a:lnTo>
                      <a:lnTo>
                        <a:pt x="1028774" y="225482"/>
                      </a:lnTo>
                      <a:lnTo>
                        <a:pt x="1030049" y="225640"/>
                      </a:lnTo>
                      <a:lnTo>
                        <a:pt x="1032320" y="225446"/>
                      </a:lnTo>
                      <a:lnTo>
                        <a:pt x="1034299" y="225494"/>
                      </a:lnTo>
                      <a:lnTo>
                        <a:pt x="1035720" y="225822"/>
                      </a:lnTo>
                      <a:lnTo>
                        <a:pt x="1037881" y="226672"/>
                      </a:lnTo>
                      <a:lnTo>
                        <a:pt x="1038416" y="226429"/>
                      </a:lnTo>
                      <a:lnTo>
                        <a:pt x="1039241" y="225203"/>
                      </a:lnTo>
                      <a:lnTo>
                        <a:pt x="1039606" y="223539"/>
                      </a:lnTo>
                      <a:lnTo>
                        <a:pt x="1041196" y="220103"/>
                      </a:lnTo>
                      <a:lnTo>
                        <a:pt x="1044086" y="217711"/>
                      </a:lnTo>
                      <a:lnTo>
                        <a:pt x="1047875" y="216946"/>
                      </a:lnTo>
                      <a:lnTo>
                        <a:pt x="1053376" y="217322"/>
                      </a:lnTo>
                      <a:lnTo>
                        <a:pt x="1053606" y="217006"/>
                      </a:lnTo>
                      <a:lnTo>
                        <a:pt x="1053849" y="215148"/>
                      </a:lnTo>
                      <a:lnTo>
                        <a:pt x="1053412" y="213024"/>
                      </a:lnTo>
                      <a:lnTo>
                        <a:pt x="1052611" y="209866"/>
                      </a:lnTo>
                      <a:lnTo>
                        <a:pt x="1052356" y="206005"/>
                      </a:lnTo>
                      <a:lnTo>
                        <a:pt x="1054019" y="202775"/>
                      </a:lnTo>
                      <a:lnTo>
                        <a:pt x="1057188" y="201293"/>
                      </a:lnTo>
                      <a:lnTo>
                        <a:pt x="1057784" y="200917"/>
                      </a:lnTo>
                      <a:lnTo>
                        <a:pt x="1057164" y="200067"/>
                      </a:lnTo>
                      <a:lnTo>
                        <a:pt x="1052210" y="196667"/>
                      </a:lnTo>
                      <a:lnTo>
                        <a:pt x="1049866" y="194226"/>
                      </a:lnTo>
                      <a:lnTo>
                        <a:pt x="1048688" y="191737"/>
                      </a:lnTo>
                      <a:lnTo>
                        <a:pt x="1048409" y="190984"/>
                      </a:lnTo>
                      <a:lnTo>
                        <a:pt x="1048883" y="188082"/>
                      </a:lnTo>
                      <a:lnTo>
                        <a:pt x="1050219" y="184961"/>
                      </a:lnTo>
                      <a:lnTo>
                        <a:pt x="1056569" y="175186"/>
                      </a:lnTo>
                      <a:lnTo>
                        <a:pt x="1057614" y="173146"/>
                      </a:lnTo>
                      <a:lnTo>
                        <a:pt x="1058221" y="170997"/>
                      </a:lnTo>
                      <a:lnTo>
                        <a:pt x="1057917" y="170244"/>
                      </a:lnTo>
                      <a:lnTo>
                        <a:pt x="1056521" y="167730"/>
                      </a:lnTo>
                      <a:lnTo>
                        <a:pt x="1056278" y="166310"/>
                      </a:lnTo>
                      <a:lnTo>
                        <a:pt x="1056581" y="163772"/>
                      </a:lnTo>
                      <a:lnTo>
                        <a:pt x="1059496" y="156255"/>
                      </a:lnTo>
                      <a:lnTo>
                        <a:pt x="1059836" y="153875"/>
                      </a:lnTo>
                      <a:lnTo>
                        <a:pt x="1059799" y="151690"/>
                      </a:lnTo>
                      <a:lnTo>
                        <a:pt x="1059484" y="147852"/>
                      </a:lnTo>
                      <a:lnTo>
                        <a:pt x="1059921" y="146359"/>
                      </a:lnTo>
                      <a:lnTo>
                        <a:pt x="1061074" y="144282"/>
                      </a:lnTo>
                      <a:lnTo>
                        <a:pt x="1067911" y="136050"/>
                      </a:lnTo>
                      <a:lnTo>
                        <a:pt x="1068967" y="133815"/>
                      </a:lnTo>
                      <a:lnTo>
                        <a:pt x="1071153" y="128326"/>
                      </a:lnTo>
                      <a:lnTo>
                        <a:pt x="1073472" y="125606"/>
                      </a:lnTo>
                      <a:lnTo>
                        <a:pt x="1074055" y="125012"/>
                      </a:lnTo>
                      <a:lnTo>
                        <a:pt x="1077722" y="124040"/>
                      </a:lnTo>
                      <a:lnTo>
                        <a:pt x="1081790" y="125170"/>
                      </a:lnTo>
                      <a:lnTo>
                        <a:pt x="1084401" y="126372"/>
                      </a:lnTo>
                      <a:lnTo>
                        <a:pt x="1085397" y="126469"/>
                      </a:lnTo>
                      <a:lnTo>
                        <a:pt x="1086319" y="126153"/>
                      </a:lnTo>
                      <a:lnTo>
                        <a:pt x="1086999" y="126044"/>
                      </a:lnTo>
                      <a:lnTo>
                        <a:pt x="1088967" y="126639"/>
                      </a:lnTo>
                      <a:lnTo>
                        <a:pt x="1090521" y="128193"/>
                      </a:lnTo>
                      <a:lnTo>
                        <a:pt x="1091274" y="129844"/>
                      </a:lnTo>
                      <a:lnTo>
                        <a:pt x="1091590" y="132225"/>
                      </a:lnTo>
                      <a:lnTo>
                        <a:pt x="1091468" y="134192"/>
                      </a:lnTo>
                      <a:lnTo>
                        <a:pt x="1091541" y="135370"/>
                      </a:lnTo>
                      <a:lnTo>
                        <a:pt x="1092160" y="136644"/>
                      </a:lnTo>
                      <a:lnTo>
                        <a:pt x="1092524" y="138090"/>
                      </a:lnTo>
                      <a:lnTo>
                        <a:pt x="1092670" y="140312"/>
                      </a:lnTo>
                      <a:lnTo>
                        <a:pt x="1092148" y="144683"/>
                      </a:lnTo>
                      <a:lnTo>
                        <a:pt x="1092379" y="146274"/>
                      </a:lnTo>
                      <a:lnTo>
                        <a:pt x="1093217" y="147476"/>
                      </a:lnTo>
                      <a:lnTo>
                        <a:pt x="1094990" y="149577"/>
                      </a:lnTo>
                      <a:lnTo>
                        <a:pt x="1103915" y="157372"/>
                      </a:lnTo>
                      <a:lnTo>
                        <a:pt x="1105311" y="158793"/>
                      </a:lnTo>
                      <a:lnTo>
                        <a:pt x="1106586" y="160445"/>
                      </a:lnTo>
                      <a:lnTo>
                        <a:pt x="1107703" y="162485"/>
                      </a:lnTo>
                      <a:lnTo>
                        <a:pt x="1108383" y="164488"/>
                      </a:lnTo>
                      <a:lnTo>
                        <a:pt x="1108517" y="166965"/>
                      </a:lnTo>
                      <a:lnTo>
                        <a:pt x="1108104" y="169115"/>
                      </a:lnTo>
                      <a:lnTo>
                        <a:pt x="1105420" y="175065"/>
                      </a:lnTo>
                      <a:lnTo>
                        <a:pt x="1105262" y="176534"/>
                      </a:lnTo>
                      <a:lnTo>
                        <a:pt x="1105250" y="178089"/>
                      </a:lnTo>
                      <a:lnTo>
                        <a:pt x="1105505" y="178769"/>
                      </a:lnTo>
                      <a:lnTo>
                        <a:pt x="1106404" y="179327"/>
                      </a:lnTo>
                      <a:lnTo>
                        <a:pt x="1107072" y="179376"/>
                      </a:lnTo>
                      <a:lnTo>
                        <a:pt x="1108687" y="179351"/>
                      </a:lnTo>
                      <a:lnTo>
                        <a:pt x="1110775" y="179728"/>
                      </a:lnTo>
                      <a:lnTo>
                        <a:pt x="1112706" y="180723"/>
                      </a:lnTo>
                      <a:lnTo>
                        <a:pt x="1113483" y="179849"/>
                      </a:lnTo>
                      <a:lnTo>
                        <a:pt x="1113556" y="178902"/>
                      </a:lnTo>
                      <a:lnTo>
                        <a:pt x="1114309" y="174786"/>
                      </a:lnTo>
                      <a:lnTo>
                        <a:pt x="1115098" y="172187"/>
                      </a:lnTo>
                      <a:lnTo>
                        <a:pt x="1116738" y="170353"/>
                      </a:lnTo>
                      <a:lnTo>
                        <a:pt x="1119190" y="168495"/>
                      </a:lnTo>
                      <a:lnTo>
                        <a:pt x="1122797" y="166540"/>
                      </a:lnTo>
                      <a:lnTo>
                        <a:pt x="1128626" y="162655"/>
                      </a:lnTo>
                      <a:lnTo>
                        <a:pt x="1134940" y="160202"/>
                      </a:lnTo>
                      <a:lnTo>
                        <a:pt x="1136458" y="159133"/>
                      </a:lnTo>
                      <a:lnTo>
                        <a:pt x="1137502" y="157336"/>
                      </a:lnTo>
                      <a:lnTo>
                        <a:pt x="1137963" y="155709"/>
                      </a:lnTo>
                      <a:lnTo>
                        <a:pt x="1137975" y="154069"/>
                      </a:lnTo>
                      <a:lnTo>
                        <a:pt x="1136858" y="150439"/>
                      </a:lnTo>
                      <a:lnTo>
                        <a:pt x="1136603" y="146820"/>
                      </a:lnTo>
                      <a:lnTo>
                        <a:pt x="1138571" y="143869"/>
                      </a:lnTo>
                      <a:lnTo>
                        <a:pt x="1141242" y="142522"/>
                      </a:lnTo>
                      <a:lnTo>
                        <a:pt x="1146026" y="141684"/>
                      </a:lnTo>
                      <a:lnTo>
                        <a:pt x="1149621" y="142376"/>
                      </a:lnTo>
                      <a:lnTo>
                        <a:pt x="1152389" y="144027"/>
                      </a:lnTo>
                      <a:lnTo>
                        <a:pt x="1154599" y="145752"/>
                      </a:lnTo>
                      <a:lnTo>
                        <a:pt x="1156008" y="146116"/>
                      </a:lnTo>
                      <a:lnTo>
                        <a:pt x="1159286" y="146213"/>
                      </a:lnTo>
                      <a:lnTo>
                        <a:pt x="1162152" y="148387"/>
                      </a:lnTo>
                      <a:lnTo>
                        <a:pt x="1162990" y="151544"/>
                      </a:lnTo>
                      <a:lnTo>
                        <a:pt x="1162371" y="155527"/>
                      </a:lnTo>
                      <a:lnTo>
                        <a:pt x="1162395" y="156219"/>
                      </a:lnTo>
                      <a:lnTo>
                        <a:pt x="1162601" y="156389"/>
                      </a:lnTo>
                      <a:lnTo>
                        <a:pt x="1163731" y="156656"/>
                      </a:lnTo>
                      <a:lnTo>
                        <a:pt x="1170239" y="156280"/>
                      </a:lnTo>
                      <a:lnTo>
                        <a:pt x="1171502" y="156061"/>
                      </a:lnTo>
                      <a:lnTo>
                        <a:pt x="1177513" y="152940"/>
                      </a:lnTo>
                      <a:lnTo>
                        <a:pt x="1179711" y="152127"/>
                      </a:lnTo>
                      <a:lnTo>
                        <a:pt x="1181872" y="151799"/>
                      </a:lnTo>
                      <a:lnTo>
                        <a:pt x="1184799" y="151981"/>
                      </a:lnTo>
                      <a:lnTo>
                        <a:pt x="1185503" y="151313"/>
                      </a:lnTo>
                      <a:lnTo>
                        <a:pt x="1186207" y="147124"/>
                      </a:lnTo>
                      <a:lnTo>
                        <a:pt x="1185989" y="145339"/>
                      </a:lnTo>
                      <a:lnTo>
                        <a:pt x="1185467" y="144452"/>
                      </a:lnTo>
                      <a:lnTo>
                        <a:pt x="1185090" y="144355"/>
                      </a:lnTo>
                      <a:lnTo>
                        <a:pt x="1183257" y="141708"/>
                      </a:lnTo>
                      <a:lnTo>
                        <a:pt x="1184264" y="138114"/>
                      </a:lnTo>
                      <a:lnTo>
                        <a:pt x="1185017" y="136280"/>
                      </a:lnTo>
                      <a:lnTo>
                        <a:pt x="1193214" y="126068"/>
                      </a:lnTo>
                      <a:lnTo>
                        <a:pt x="1191028" y="126420"/>
                      </a:lnTo>
                      <a:lnTo>
                        <a:pt x="1188235" y="125934"/>
                      </a:lnTo>
                      <a:lnTo>
                        <a:pt x="1187276" y="124647"/>
                      </a:lnTo>
                      <a:lnTo>
                        <a:pt x="1186487" y="123409"/>
                      </a:lnTo>
                      <a:lnTo>
                        <a:pt x="1185054" y="119851"/>
                      </a:lnTo>
                      <a:lnTo>
                        <a:pt x="1182540" y="116220"/>
                      </a:lnTo>
                      <a:lnTo>
                        <a:pt x="1181763" y="113718"/>
                      </a:lnTo>
                      <a:lnTo>
                        <a:pt x="1181933" y="111047"/>
                      </a:lnTo>
                      <a:lnTo>
                        <a:pt x="1182662" y="108777"/>
                      </a:lnTo>
                      <a:lnTo>
                        <a:pt x="1182807" y="107489"/>
                      </a:lnTo>
                      <a:lnTo>
                        <a:pt x="1182722" y="106542"/>
                      </a:lnTo>
                      <a:lnTo>
                        <a:pt x="1182892" y="104332"/>
                      </a:lnTo>
                      <a:lnTo>
                        <a:pt x="1183499" y="102984"/>
                      </a:lnTo>
                      <a:lnTo>
                        <a:pt x="1188903" y="97581"/>
                      </a:lnTo>
                      <a:lnTo>
                        <a:pt x="1190967" y="95274"/>
                      </a:lnTo>
                      <a:lnTo>
                        <a:pt x="1192679" y="92784"/>
                      </a:lnTo>
                      <a:lnTo>
                        <a:pt x="1196687" y="85863"/>
                      </a:lnTo>
                      <a:lnTo>
                        <a:pt x="1199018" y="82754"/>
                      </a:lnTo>
                      <a:lnTo>
                        <a:pt x="1202588" y="79257"/>
                      </a:lnTo>
                      <a:lnTo>
                        <a:pt x="1205223" y="77618"/>
                      </a:lnTo>
                      <a:lnTo>
                        <a:pt x="1208708" y="76865"/>
                      </a:lnTo>
                      <a:lnTo>
                        <a:pt x="1211975" y="77387"/>
                      </a:lnTo>
                      <a:lnTo>
                        <a:pt x="1214719" y="78650"/>
                      </a:lnTo>
                      <a:lnTo>
                        <a:pt x="1217330" y="81188"/>
                      </a:lnTo>
                      <a:lnTo>
                        <a:pt x="1217791" y="81479"/>
                      </a:lnTo>
                      <a:lnTo>
                        <a:pt x="1218350" y="81540"/>
                      </a:lnTo>
                      <a:lnTo>
                        <a:pt x="1227943" y="77266"/>
                      </a:lnTo>
                      <a:lnTo>
                        <a:pt x="1230274" y="75420"/>
                      </a:lnTo>
                      <a:lnTo>
                        <a:pt x="1234743" y="71243"/>
                      </a:lnTo>
                      <a:lnTo>
                        <a:pt x="1240887" y="66568"/>
                      </a:lnTo>
                      <a:lnTo>
                        <a:pt x="1244056" y="64710"/>
                      </a:lnTo>
                      <a:lnTo>
                        <a:pt x="1248828" y="63265"/>
                      </a:lnTo>
                      <a:lnTo>
                        <a:pt x="1251026" y="62196"/>
                      </a:lnTo>
                      <a:lnTo>
                        <a:pt x="1251779" y="61443"/>
                      </a:lnTo>
                      <a:lnTo>
                        <a:pt x="1251099" y="60982"/>
                      </a:lnTo>
                      <a:lnTo>
                        <a:pt x="1250662" y="60581"/>
                      </a:lnTo>
                      <a:lnTo>
                        <a:pt x="1249618" y="59306"/>
                      </a:lnTo>
                      <a:lnTo>
                        <a:pt x="1249011" y="57910"/>
                      </a:lnTo>
                      <a:lnTo>
                        <a:pt x="1248683" y="56805"/>
                      </a:lnTo>
                      <a:lnTo>
                        <a:pt x="1246849" y="56708"/>
                      </a:lnTo>
                      <a:lnTo>
                        <a:pt x="1245453" y="56137"/>
                      </a:lnTo>
                      <a:lnTo>
                        <a:pt x="1243789" y="54874"/>
                      </a:lnTo>
                      <a:lnTo>
                        <a:pt x="1239940" y="50017"/>
                      </a:lnTo>
                      <a:lnTo>
                        <a:pt x="1239053" y="48438"/>
                      </a:lnTo>
                      <a:lnTo>
                        <a:pt x="1237778" y="44613"/>
                      </a:lnTo>
                      <a:lnTo>
                        <a:pt x="1237171" y="43423"/>
                      </a:lnTo>
                      <a:lnTo>
                        <a:pt x="1236006" y="42427"/>
                      </a:lnTo>
                      <a:lnTo>
                        <a:pt x="1234354" y="40254"/>
                      </a:lnTo>
                      <a:lnTo>
                        <a:pt x="1234002" y="38360"/>
                      </a:lnTo>
                      <a:lnTo>
                        <a:pt x="1234281" y="35591"/>
                      </a:lnTo>
                      <a:lnTo>
                        <a:pt x="1234524" y="34231"/>
                      </a:lnTo>
                      <a:lnTo>
                        <a:pt x="1238264" y="31948"/>
                      </a:lnTo>
                      <a:lnTo>
                        <a:pt x="1240523" y="31134"/>
                      </a:lnTo>
                      <a:lnTo>
                        <a:pt x="1242648" y="30722"/>
                      </a:lnTo>
                      <a:lnTo>
                        <a:pt x="1244821" y="30552"/>
                      </a:lnTo>
                      <a:lnTo>
                        <a:pt x="1248646" y="31499"/>
                      </a:lnTo>
                      <a:lnTo>
                        <a:pt x="1249618" y="32276"/>
                      </a:lnTo>
                      <a:lnTo>
                        <a:pt x="1251427" y="33223"/>
                      </a:lnTo>
                      <a:lnTo>
                        <a:pt x="1255325" y="34316"/>
                      </a:lnTo>
                      <a:lnTo>
                        <a:pt x="1258033" y="35846"/>
                      </a:lnTo>
                      <a:lnTo>
                        <a:pt x="1261749" y="38554"/>
                      </a:lnTo>
                      <a:lnTo>
                        <a:pt x="1262319" y="38687"/>
                      </a:lnTo>
                      <a:lnTo>
                        <a:pt x="1263169" y="38275"/>
                      </a:lnTo>
                      <a:lnTo>
                        <a:pt x="1263303" y="38032"/>
                      </a:lnTo>
                      <a:lnTo>
                        <a:pt x="1263412" y="36769"/>
                      </a:lnTo>
                      <a:lnTo>
                        <a:pt x="1262586" y="35894"/>
                      </a:lnTo>
                      <a:lnTo>
                        <a:pt x="1262198" y="35190"/>
                      </a:lnTo>
                      <a:lnTo>
                        <a:pt x="1262198" y="33624"/>
                      </a:lnTo>
                      <a:lnTo>
                        <a:pt x="1262902" y="32252"/>
                      </a:lnTo>
                      <a:lnTo>
                        <a:pt x="1263667" y="31475"/>
                      </a:lnTo>
                      <a:lnTo>
                        <a:pt x="1265318" y="30260"/>
                      </a:lnTo>
                      <a:lnTo>
                        <a:pt x="1265513" y="29738"/>
                      </a:lnTo>
                      <a:lnTo>
                        <a:pt x="1265416" y="29022"/>
                      </a:lnTo>
                      <a:lnTo>
                        <a:pt x="1263424" y="22683"/>
                      </a:lnTo>
                      <a:lnTo>
                        <a:pt x="1264201" y="19137"/>
                      </a:lnTo>
                      <a:lnTo>
                        <a:pt x="1267674" y="16842"/>
                      </a:lnTo>
                      <a:lnTo>
                        <a:pt x="1271317" y="18239"/>
                      </a:lnTo>
                      <a:lnTo>
                        <a:pt x="1273940" y="20449"/>
                      </a:lnTo>
                      <a:lnTo>
                        <a:pt x="1275531" y="22926"/>
                      </a:lnTo>
                      <a:lnTo>
                        <a:pt x="1276539" y="25767"/>
                      </a:lnTo>
                      <a:lnTo>
                        <a:pt x="1277279" y="29422"/>
                      </a:lnTo>
                      <a:lnTo>
                        <a:pt x="1277984" y="27674"/>
                      </a:lnTo>
                      <a:lnTo>
                        <a:pt x="1279331" y="23460"/>
                      </a:lnTo>
                      <a:lnTo>
                        <a:pt x="1281056" y="21105"/>
                      </a:lnTo>
                      <a:lnTo>
                        <a:pt x="1283071" y="19526"/>
                      </a:lnTo>
                      <a:lnTo>
                        <a:pt x="1286544" y="18287"/>
                      </a:lnTo>
                      <a:lnTo>
                        <a:pt x="1287662" y="16915"/>
                      </a:lnTo>
                      <a:lnTo>
                        <a:pt x="1288390" y="15239"/>
                      </a:lnTo>
                      <a:lnTo>
                        <a:pt x="1288597" y="13527"/>
                      </a:lnTo>
                      <a:lnTo>
                        <a:pt x="1289434" y="10758"/>
                      </a:lnTo>
                      <a:lnTo>
                        <a:pt x="1290843" y="7699"/>
                      </a:lnTo>
                      <a:lnTo>
                        <a:pt x="1293697" y="5744"/>
                      </a:lnTo>
                      <a:lnTo>
                        <a:pt x="1297704" y="6448"/>
                      </a:lnTo>
                      <a:lnTo>
                        <a:pt x="1300436" y="10382"/>
                      </a:lnTo>
                      <a:lnTo>
                        <a:pt x="1303399" y="16041"/>
                      </a:lnTo>
                      <a:lnTo>
                        <a:pt x="1304710" y="18008"/>
                      </a:lnTo>
                      <a:lnTo>
                        <a:pt x="1312105" y="25986"/>
                      </a:lnTo>
                      <a:lnTo>
                        <a:pt x="1315068" y="30491"/>
                      </a:lnTo>
                      <a:lnTo>
                        <a:pt x="1316234" y="32871"/>
                      </a:lnTo>
                      <a:lnTo>
                        <a:pt x="1317703" y="37364"/>
                      </a:lnTo>
                      <a:lnTo>
                        <a:pt x="1317703" y="36526"/>
                      </a:lnTo>
                      <a:lnTo>
                        <a:pt x="1318092" y="34559"/>
                      </a:lnTo>
                      <a:lnTo>
                        <a:pt x="1318565" y="33320"/>
                      </a:lnTo>
                      <a:lnTo>
                        <a:pt x="1319634" y="31839"/>
                      </a:lnTo>
                      <a:lnTo>
                        <a:pt x="1320909" y="30831"/>
                      </a:lnTo>
                      <a:lnTo>
                        <a:pt x="1323107" y="29823"/>
                      </a:lnTo>
                      <a:lnTo>
                        <a:pt x="1325560" y="29532"/>
                      </a:lnTo>
                      <a:lnTo>
                        <a:pt x="1327478" y="29617"/>
                      </a:lnTo>
                      <a:lnTo>
                        <a:pt x="1333695" y="32191"/>
                      </a:lnTo>
                      <a:lnTo>
                        <a:pt x="1337205" y="40679"/>
                      </a:lnTo>
                      <a:lnTo>
                        <a:pt x="1338881" y="49349"/>
                      </a:lnTo>
                      <a:lnTo>
                        <a:pt x="1340848" y="51705"/>
                      </a:lnTo>
                      <a:lnTo>
                        <a:pt x="1344053" y="60654"/>
                      </a:lnTo>
                      <a:lnTo>
                        <a:pt x="1345838" y="62852"/>
                      </a:lnTo>
                      <a:lnTo>
                        <a:pt x="1347223" y="64892"/>
                      </a:lnTo>
                      <a:lnTo>
                        <a:pt x="1348401" y="67090"/>
                      </a:lnTo>
                      <a:lnTo>
                        <a:pt x="1349736" y="68122"/>
                      </a:lnTo>
                      <a:lnTo>
                        <a:pt x="1351230" y="69385"/>
                      </a:lnTo>
                      <a:lnTo>
                        <a:pt x="1358916" y="68644"/>
                      </a:lnTo>
                      <a:lnTo>
                        <a:pt x="1368206" y="68923"/>
                      </a:lnTo>
                      <a:lnTo>
                        <a:pt x="1378187" y="66762"/>
                      </a:lnTo>
                      <a:lnTo>
                        <a:pt x="1382037" y="66786"/>
                      </a:lnTo>
                      <a:lnTo>
                        <a:pt x="1385327" y="67843"/>
                      </a:lnTo>
                      <a:lnTo>
                        <a:pt x="1387950" y="69773"/>
                      </a:lnTo>
                      <a:lnTo>
                        <a:pt x="1388958" y="69907"/>
                      </a:lnTo>
                      <a:lnTo>
                        <a:pt x="1393099" y="69931"/>
                      </a:lnTo>
                      <a:lnTo>
                        <a:pt x="1395879" y="70927"/>
                      </a:lnTo>
                      <a:lnTo>
                        <a:pt x="1398927" y="73125"/>
                      </a:lnTo>
                      <a:lnTo>
                        <a:pt x="1402315" y="72639"/>
                      </a:lnTo>
                      <a:lnTo>
                        <a:pt x="1415381" y="69336"/>
                      </a:lnTo>
                      <a:lnTo>
                        <a:pt x="1427925" y="68510"/>
                      </a:lnTo>
                      <a:lnTo>
                        <a:pt x="1430438" y="67321"/>
                      </a:lnTo>
                      <a:lnTo>
                        <a:pt x="1432673" y="65499"/>
                      </a:lnTo>
                      <a:lnTo>
                        <a:pt x="1435308" y="61881"/>
                      </a:lnTo>
                      <a:lnTo>
                        <a:pt x="1436425" y="59100"/>
                      </a:lnTo>
                      <a:lnTo>
                        <a:pt x="1438028" y="54024"/>
                      </a:lnTo>
                      <a:lnTo>
                        <a:pt x="1439618" y="51765"/>
                      </a:lnTo>
                      <a:lnTo>
                        <a:pt x="1440092" y="51207"/>
                      </a:lnTo>
                      <a:lnTo>
                        <a:pt x="1442873" y="50005"/>
                      </a:lnTo>
                      <a:lnTo>
                        <a:pt x="1445836" y="50551"/>
                      </a:lnTo>
                      <a:lnTo>
                        <a:pt x="1446795" y="50551"/>
                      </a:lnTo>
                      <a:lnTo>
                        <a:pt x="1452915" y="42986"/>
                      </a:lnTo>
                      <a:lnTo>
                        <a:pt x="1453182" y="42561"/>
                      </a:lnTo>
                      <a:lnTo>
                        <a:pt x="1452745" y="41662"/>
                      </a:lnTo>
                      <a:lnTo>
                        <a:pt x="1452502" y="40970"/>
                      </a:lnTo>
                      <a:lnTo>
                        <a:pt x="1452247" y="39294"/>
                      </a:lnTo>
                      <a:lnTo>
                        <a:pt x="1452405" y="38044"/>
                      </a:lnTo>
                      <a:lnTo>
                        <a:pt x="1453085" y="35967"/>
                      </a:lnTo>
                      <a:lnTo>
                        <a:pt x="1454287" y="33879"/>
                      </a:lnTo>
                      <a:lnTo>
                        <a:pt x="1453680" y="32033"/>
                      </a:lnTo>
                      <a:lnTo>
                        <a:pt x="1453012" y="29046"/>
                      </a:lnTo>
                      <a:lnTo>
                        <a:pt x="1453910" y="27152"/>
                      </a:lnTo>
                      <a:lnTo>
                        <a:pt x="1455368" y="25731"/>
                      </a:lnTo>
                      <a:lnTo>
                        <a:pt x="1457177" y="24905"/>
                      </a:lnTo>
                      <a:lnTo>
                        <a:pt x="1460516" y="25136"/>
                      </a:lnTo>
                      <a:lnTo>
                        <a:pt x="1463078" y="25610"/>
                      </a:lnTo>
                      <a:lnTo>
                        <a:pt x="1464961" y="25634"/>
                      </a:lnTo>
                      <a:lnTo>
                        <a:pt x="1465422" y="25452"/>
                      </a:lnTo>
                      <a:lnTo>
                        <a:pt x="1470826" y="20679"/>
                      </a:lnTo>
                      <a:lnTo>
                        <a:pt x="1473109" y="19077"/>
                      </a:lnTo>
                      <a:lnTo>
                        <a:pt x="1488481" y="11730"/>
                      </a:lnTo>
                      <a:lnTo>
                        <a:pt x="1492331" y="12568"/>
                      </a:lnTo>
                      <a:lnTo>
                        <a:pt x="1493302" y="13539"/>
                      </a:lnTo>
                      <a:lnTo>
                        <a:pt x="1494152" y="12726"/>
                      </a:lnTo>
                      <a:lnTo>
                        <a:pt x="1494699" y="11317"/>
                      </a:lnTo>
                      <a:lnTo>
                        <a:pt x="1494808" y="9581"/>
                      </a:lnTo>
                      <a:lnTo>
                        <a:pt x="1494322" y="7930"/>
                      </a:lnTo>
                      <a:lnTo>
                        <a:pt x="1493909" y="7250"/>
                      </a:lnTo>
                      <a:lnTo>
                        <a:pt x="1493363" y="5367"/>
                      </a:lnTo>
                      <a:lnTo>
                        <a:pt x="1492974" y="3740"/>
                      </a:lnTo>
                      <a:lnTo>
                        <a:pt x="1494614" y="2040"/>
                      </a:lnTo>
                      <a:lnTo>
                        <a:pt x="1496071" y="959"/>
                      </a:lnTo>
                      <a:lnTo>
                        <a:pt x="1497734" y="352"/>
                      </a:lnTo>
                      <a:lnTo>
                        <a:pt x="1501134" y="0"/>
                      </a:lnTo>
                      <a:lnTo>
                        <a:pt x="1508032" y="49"/>
                      </a:lnTo>
                      <a:lnTo>
                        <a:pt x="1510509" y="413"/>
                      </a:lnTo>
                      <a:lnTo>
                        <a:pt x="1513508" y="1542"/>
                      </a:lnTo>
                      <a:lnTo>
                        <a:pt x="1515439" y="4007"/>
                      </a:lnTo>
                      <a:lnTo>
                        <a:pt x="1516434" y="5974"/>
                      </a:lnTo>
                      <a:lnTo>
                        <a:pt x="1517394" y="11402"/>
                      </a:lnTo>
                      <a:lnTo>
                        <a:pt x="1517795" y="14025"/>
                      </a:lnTo>
                      <a:lnTo>
                        <a:pt x="1517418" y="14147"/>
                      </a:lnTo>
                      <a:lnTo>
                        <a:pt x="1517734" y="16332"/>
                      </a:lnTo>
                      <a:lnTo>
                        <a:pt x="1517442" y="17522"/>
                      </a:lnTo>
                      <a:lnTo>
                        <a:pt x="1511881" y="25743"/>
                      </a:lnTo>
                      <a:lnTo>
                        <a:pt x="1510327" y="30054"/>
                      </a:lnTo>
                      <a:lnTo>
                        <a:pt x="1502069" y="40715"/>
                      </a:lnTo>
                      <a:lnTo>
                        <a:pt x="1498548" y="46580"/>
                      </a:lnTo>
                      <a:lnTo>
                        <a:pt x="1495075" y="50563"/>
                      </a:lnTo>
                      <a:lnTo>
                        <a:pt x="1488846" y="53259"/>
                      </a:lnTo>
                      <a:lnTo>
                        <a:pt x="1473789" y="75772"/>
                      </a:lnTo>
                      <a:lnTo>
                        <a:pt x="1472817" y="79573"/>
                      </a:lnTo>
                      <a:lnTo>
                        <a:pt x="1454797" y="98552"/>
                      </a:lnTo>
                      <a:lnTo>
                        <a:pt x="1453133" y="101491"/>
                      </a:lnTo>
                      <a:lnTo>
                        <a:pt x="1452405" y="104818"/>
                      </a:lnTo>
                      <a:lnTo>
                        <a:pt x="1450110" y="107162"/>
                      </a:lnTo>
                      <a:lnTo>
                        <a:pt x="1439728" y="114374"/>
                      </a:lnTo>
                      <a:lnTo>
                        <a:pt x="1436595" y="119644"/>
                      </a:lnTo>
                      <a:lnTo>
                        <a:pt x="1434579" y="121733"/>
                      </a:lnTo>
                      <a:lnTo>
                        <a:pt x="1435988" y="123652"/>
                      </a:lnTo>
                      <a:lnTo>
                        <a:pt x="1424367" y="132783"/>
                      </a:lnTo>
                      <a:lnTo>
                        <a:pt x="1415672" y="141320"/>
                      </a:lnTo>
                      <a:lnTo>
                        <a:pt x="1414252" y="143627"/>
                      </a:lnTo>
                      <a:lnTo>
                        <a:pt x="1405569" y="149917"/>
                      </a:lnTo>
                      <a:lnTo>
                        <a:pt x="1403627" y="152770"/>
                      </a:lnTo>
                      <a:lnTo>
                        <a:pt x="1399049" y="156498"/>
                      </a:lnTo>
                      <a:lnTo>
                        <a:pt x="1397689" y="157931"/>
                      </a:lnTo>
                      <a:lnTo>
                        <a:pt x="1397300" y="159182"/>
                      </a:lnTo>
                      <a:lnTo>
                        <a:pt x="1397045" y="160603"/>
                      </a:lnTo>
                      <a:lnTo>
                        <a:pt x="1396244" y="162910"/>
                      </a:lnTo>
                      <a:lnTo>
                        <a:pt x="1394544" y="165156"/>
                      </a:lnTo>
                      <a:lnTo>
                        <a:pt x="1392322" y="172466"/>
                      </a:lnTo>
                      <a:lnTo>
                        <a:pt x="1384854" y="178234"/>
                      </a:lnTo>
                      <a:lnTo>
                        <a:pt x="1327575" y="204171"/>
                      </a:lnTo>
                      <a:lnTo>
                        <a:pt x="1297631" y="222301"/>
                      </a:lnTo>
                      <a:lnTo>
                        <a:pt x="1292106" y="227073"/>
                      </a:lnTo>
                      <a:lnTo>
                        <a:pt x="1289264" y="233035"/>
                      </a:lnTo>
                      <a:lnTo>
                        <a:pt x="1288050" y="234687"/>
                      </a:lnTo>
                      <a:lnTo>
                        <a:pt x="1287819" y="235209"/>
                      </a:lnTo>
                      <a:lnTo>
                        <a:pt x="1287467" y="235755"/>
                      </a:lnTo>
                      <a:lnTo>
                        <a:pt x="1283970" y="239240"/>
                      </a:lnTo>
                      <a:lnTo>
                        <a:pt x="1282974" y="239969"/>
                      </a:lnTo>
                      <a:lnTo>
                        <a:pt x="1282064" y="241402"/>
                      </a:lnTo>
                      <a:lnTo>
                        <a:pt x="1273867" y="247073"/>
                      </a:lnTo>
                      <a:lnTo>
                        <a:pt x="1270989" y="250363"/>
                      </a:lnTo>
                      <a:lnTo>
                        <a:pt x="1268816" y="250363"/>
                      </a:lnTo>
                      <a:lnTo>
                        <a:pt x="1269022" y="255512"/>
                      </a:lnTo>
                      <a:lnTo>
                        <a:pt x="1264335" y="258669"/>
                      </a:lnTo>
                      <a:lnTo>
                        <a:pt x="1263546" y="260770"/>
                      </a:lnTo>
                      <a:lnTo>
                        <a:pt x="1262283" y="266623"/>
                      </a:lnTo>
                      <a:lnTo>
                        <a:pt x="1258895" y="271929"/>
                      </a:lnTo>
                      <a:lnTo>
                        <a:pt x="1247250" y="285177"/>
                      </a:lnTo>
                      <a:lnTo>
                        <a:pt x="1242138" y="288662"/>
                      </a:lnTo>
                      <a:lnTo>
                        <a:pt x="1241385" y="288929"/>
                      </a:lnTo>
                      <a:lnTo>
                        <a:pt x="1239903" y="290471"/>
                      </a:lnTo>
                      <a:lnTo>
                        <a:pt x="1240183" y="294952"/>
                      </a:lnTo>
                      <a:lnTo>
                        <a:pt x="1236977" y="297211"/>
                      </a:lnTo>
                      <a:lnTo>
                        <a:pt x="1232460" y="299238"/>
                      </a:lnTo>
                      <a:lnTo>
                        <a:pt x="1230711" y="300853"/>
                      </a:lnTo>
                      <a:lnTo>
                        <a:pt x="1227967" y="302298"/>
                      </a:lnTo>
                      <a:lnTo>
                        <a:pt x="1227032" y="302286"/>
                      </a:lnTo>
                      <a:lnTo>
                        <a:pt x="1227250" y="302565"/>
                      </a:lnTo>
                      <a:lnTo>
                        <a:pt x="1228659" y="306245"/>
                      </a:lnTo>
                      <a:lnTo>
                        <a:pt x="1229582" y="308953"/>
                      </a:lnTo>
                      <a:lnTo>
                        <a:pt x="1223911" y="311296"/>
                      </a:lnTo>
                      <a:lnTo>
                        <a:pt x="1220851" y="312001"/>
                      </a:lnTo>
                      <a:lnTo>
                        <a:pt x="1219175" y="313033"/>
                      </a:lnTo>
                      <a:lnTo>
                        <a:pt x="1214853" y="316105"/>
                      </a:lnTo>
                      <a:lnTo>
                        <a:pt x="1198520" y="322116"/>
                      </a:lnTo>
                      <a:lnTo>
                        <a:pt x="1192704" y="326402"/>
                      </a:lnTo>
                      <a:lnTo>
                        <a:pt x="1186013" y="329693"/>
                      </a:lnTo>
                      <a:lnTo>
                        <a:pt x="1182188" y="332753"/>
                      </a:lnTo>
                      <a:lnTo>
                        <a:pt x="1178557" y="336347"/>
                      </a:lnTo>
                      <a:lnTo>
                        <a:pt x="1176833" y="337476"/>
                      </a:lnTo>
                      <a:lnTo>
                        <a:pt x="1172862" y="338618"/>
                      </a:lnTo>
                      <a:lnTo>
                        <a:pt x="1171854" y="339043"/>
                      </a:lnTo>
                      <a:lnTo>
                        <a:pt x="1162431" y="345880"/>
                      </a:lnTo>
                      <a:lnTo>
                        <a:pt x="1158060" y="345418"/>
                      </a:lnTo>
                      <a:lnTo>
                        <a:pt x="1157720" y="344665"/>
                      </a:lnTo>
                      <a:lnTo>
                        <a:pt x="1155498" y="346414"/>
                      </a:lnTo>
                      <a:lnTo>
                        <a:pt x="1152146" y="348527"/>
                      </a:lnTo>
                      <a:lnTo>
                        <a:pt x="1143501" y="350785"/>
                      </a:lnTo>
                      <a:lnTo>
                        <a:pt x="1137271" y="355011"/>
                      </a:lnTo>
                      <a:lnTo>
                        <a:pt x="1129002" y="357415"/>
                      </a:lnTo>
                      <a:lnTo>
                        <a:pt x="1084073" y="384652"/>
                      </a:lnTo>
                      <a:lnTo>
                        <a:pt x="1080394" y="388671"/>
                      </a:lnTo>
                      <a:lnTo>
                        <a:pt x="1077662" y="393650"/>
                      </a:lnTo>
                      <a:lnTo>
                        <a:pt x="1074529" y="397365"/>
                      </a:lnTo>
                      <a:lnTo>
                        <a:pt x="1067826" y="399915"/>
                      </a:lnTo>
                      <a:lnTo>
                        <a:pt x="1065045" y="402696"/>
                      </a:lnTo>
                      <a:lnTo>
                        <a:pt x="1059994" y="409521"/>
                      </a:lnTo>
                      <a:lnTo>
                        <a:pt x="1053898" y="415082"/>
                      </a:lnTo>
                      <a:lnTo>
                        <a:pt x="1053582" y="415519"/>
                      </a:lnTo>
                      <a:lnTo>
                        <a:pt x="1063782" y="432592"/>
                      </a:lnTo>
                      <a:lnTo>
                        <a:pt x="1065142" y="438919"/>
                      </a:lnTo>
                      <a:lnTo>
                        <a:pt x="1065361" y="448706"/>
                      </a:lnTo>
                      <a:lnTo>
                        <a:pt x="1065021" y="458263"/>
                      </a:lnTo>
                      <a:lnTo>
                        <a:pt x="1062398" y="468632"/>
                      </a:lnTo>
                      <a:lnTo>
                        <a:pt x="1061329" y="478833"/>
                      </a:lnTo>
                      <a:lnTo>
                        <a:pt x="1059739" y="484673"/>
                      </a:lnTo>
                      <a:lnTo>
                        <a:pt x="1055100" y="494788"/>
                      </a:lnTo>
                      <a:lnTo>
                        <a:pt x="1055076" y="494983"/>
                      </a:lnTo>
                      <a:lnTo>
                        <a:pt x="1055379" y="496403"/>
                      </a:lnTo>
                      <a:lnTo>
                        <a:pt x="1054736" y="500022"/>
                      </a:lnTo>
                      <a:lnTo>
                        <a:pt x="1052866" y="500362"/>
                      </a:lnTo>
                      <a:lnTo>
                        <a:pt x="1056727" y="504321"/>
                      </a:lnTo>
                      <a:lnTo>
                        <a:pt x="1043588" y="508304"/>
                      </a:lnTo>
                      <a:lnTo>
                        <a:pt x="1033656" y="517957"/>
                      </a:lnTo>
                      <a:lnTo>
                        <a:pt x="1030304" y="520046"/>
                      </a:lnTo>
                      <a:lnTo>
                        <a:pt x="1026479" y="521017"/>
                      </a:lnTo>
                      <a:lnTo>
                        <a:pt x="1017773" y="525315"/>
                      </a:lnTo>
                      <a:lnTo>
                        <a:pt x="1012211" y="529396"/>
                      </a:lnTo>
                      <a:lnTo>
                        <a:pt x="1006808" y="532067"/>
                      </a:lnTo>
                      <a:lnTo>
                        <a:pt x="1001380" y="531448"/>
                      </a:lnTo>
                      <a:lnTo>
                        <a:pt x="999619" y="532917"/>
                      </a:lnTo>
                      <a:lnTo>
                        <a:pt x="997117" y="535734"/>
                      </a:lnTo>
                      <a:lnTo>
                        <a:pt x="993110" y="538843"/>
                      </a:lnTo>
                      <a:lnTo>
                        <a:pt x="990099" y="538989"/>
                      </a:lnTo>
                      <a:lnTo>
                        <a:pt x="987233" y="538782"/>
                      </a:lnTo>
                      <a:lnTo>
                        <a:pt x="985861" y="541454"/>
                      </a:lnTo>
                      <a:lnTo>
                        <a:pt x="983481" y="542498"/>
                      </a:lnTo>
                      <a:lnTo>
                        <a:pt x="974823" y="543226"/>
                      </a:lnTo>
                      <a:lnTo>
                        <a:pt x="971654" y="543979"/>
                      </a:lnTo>
                      <a:lnTo>
                        <a:pt x="968424" y="545097"/>
                      </a:lnTo>
                      <a:lnTo>
                        <a:pt x="954059" y="552055"/>
                      </a:lnTo>
                      <a:lnTo>
                        <a:pt x="950306" y="555187"/>
                      </a:lnTo>
                      <a:lnTo>
                        <a:pt x="940738" y="557446"/>
                      </a:lnTo>
                      <a:lnTo>
                        <a:pt x="939281" y="557446"/>
                      </a:lnTo>
                      <a:lnTo>
                        <a:pt x="935188" y="556754"/>
                      </a:lnTo>
                      <a:lnTo>
                        <a:pt x="931084" y="553973"/>
                      </a:lnTo>
                      <a:lnTo>
                        <a:pt x="928558" y="552746"/>
                      </a:lnTo>
                      <a:lnTo>
                        <a:pt x="924843" y="553621"/>
                      </a:lnTo>
                      <a:lnTo>
                        <a:pt x="921042" y="551884"/>
                      </a:lnTo>
                      <a:lnTo>
                        <a:pt x="915286" y="551630"/>
                      </a:lnTo>
                      <a:lnTo>
                        <a:pt x="908122" y="549857"/>
                      </a:lnTo>
                      <a:lnTo>
                        <a:pt x="906203" y="550197"/>
                      </a:lnTo>
                      <a:lnTo>
                        <a:pt x="898031" y="547975"/>
                      </a:lnTo>
                      <a:lnTo>
                        <a:pt x="895287" y="548472"/>
                      </a:lnTo>
                      <a:lnTo>
                        <a:pt x="878906" y="553851"/>
                      </a:lnTo>
                      <a:lnTo>
                        <a:pt x="881966" y="545825"/>
                      </a:lnTo>
                      <a:lnTo>
                        <a:pt x="882780" y="544417"/>
                      </a:lnTo>
                      <a:lnTo>
                        <a:pt x="882002" y="543858"/>
                      </a:lnTo>
                      <a:lnTo>
                        <a:pt x="881371" y="543858"/>
                      </a:lnTo>
                      <a:lnTo>
                        <a:pt x="879707" y="544659"/>
                      </a:lnTo>
                      <a:lnTo>
                        <a:pt x="878299" y="546007"/>
                      </a:lnTo>
                      <a:lnTo>
                        <a:pt x="876866" y="547246"/>
                      </a:lnTo>
                      <a:lnTo>
                        <a:pt x="872713" y="545473"/>
                      </a:lnTo>
                      <a:lnTo>
                        <a:pt x="870709" y="545570"/>
                      </a:lnTo>
                      <a:lnTo>
                        <a:pt x="868840" y="546201"/>
                      </a:lnTo>
                      <a:lnTo>
                        <a:pt x="865840" y="546712"/>
                      </a:lnTo>
                      <a:lnTo>
                        <a:pt x="856089" y="553002"/>
                      </a:lnTo>
                      <a:lnTo>
                        <a:pt x="855664" y="553572"/>
                      </a:lnTo>
                      <a:lnTo>
                        <a:pt x="856417" y="554726"/>
                      </a:lnTo>
                      <a:lnTo>
                        <a:pt x="857644" y="558976"/>
                      </a:lnTo>
                      <a:lnTo>
                        <a:pt x="856259" y="563724"/>
                      </a:lnTo>
                      <a:lnTo>
                        <a:pt x="851803" y="569030"/>
                      </a:lnTo>
                      <a:lnTo>
                        <a:pt x="849739" y="576874"/>
                      </a:lnTo>
                      <a:lnTo>
                        <a:pt x="844298" y="589006"/>
                      </a:lnTo>
                      <a:lnTo>
                        <a:pt x="842550" y="598368"/>
                      </a:lnTo>
                      <a:lnTo>
                        <a:pt x="838846" y="605034"/>
                      </a:lnTo>
                      <a:lnTo>
                        <a:pt x="837960" y="607997"/>
                      </a:lnTo>
                      <a:lnTo>
                        <a:pt x="837996" y="617323"/>
                      </a:lnTo>
                      <a:lnTo>
                        <a:pt x="836818" y="621294"/>
                      </a:lnTo>
                      <a:lnTo>
                        <a:pt x="836272" y="622921"/>
                      </a:lnTo>
                      <a:lnTo>
                        <a:pt x="832690" y="623698"/>
                      </a:lnTo>
                      <a:lnTo>
                        <a:pt x="824530" y="631785"/>
                      </a:lnTo>
                      <a:lnTo>
                        <a:pt x="815544" y="637431"/>
                      </a:lnTo>
                      <a:lnTo>
                        <a:pt x="812788" y="639738"/>
                      </a:lnTo>
                      <a:lnTo>
                        <a:pt x="808623" y="645057"/>
                      </a:lnTo>
                      <a:lnTo>
                        <a:pt x="808598" y="645664"/>
                      </a:lnTo>
                      <a:lnTo>
                        <a:pt x="809133" y="646806"/>
                      </a:lnTo>
                      <a:lnTo>
                        <a:pt x="809885" y="647680"/>
                      </a:lnTo>
                      <a:lnTo>
                        <a:pt x="810736" y="649028"/>
                      </a:lnTo>
                      <a:lnTo>
                        <a:pt x="812290" y="653411"/>
                      </a:lnTo>
                      <a:lnTo>
                        <a:pt x="812448" y="655974"/>
                      </a:lnTo>
                      <a:lnTo>
                        <a:pt x="812448" y="657273"/>
                      </a:lnTo>
                      <a:lnTo>
                        <a:pt x="809254" y="660309"/>
                      </a:lnTo>
                      <a:lnTo>
                        <a:pt x="805684" y="660017"/>
                      </a:lnTo>
                      <a:lnTo>
                        <a:pt x="803377" y="658463"/>
                      </a:lnTo>
                      <a:lnTo>
                        <a:pt x="801580" y="656860"/>
                      </a:lnTo>
                      <a:lnTo>
                        <a:pt x="799455" y="654067"/>
                      </a:lnTo>
                      <a:lnTo>
                        <a:pt x="794367" y="649878"/>
                      </a:lnTo>
                      <a:lnTo>
                        <a:pt x="793140" y="649174"/>
                      </a:lnTo>
                      <a:lnTo>
                        <a:pt x="789376" y="648117"/>
                      </a:lnTo>
                      <a:lnTo>
                        <a:pt x="786607" y="644693"/>
                      </a:lnTo>
                      <a:lnTo>
                        <a:pt x="785393" y="641281"/>
                      </a:lnTo>
                      <a:lnTo>
                        <a:pt x="781507" y="649841"/>
                      </a:lnTo>
                      <a:lnTo>
                        <a:pt x="776869" y="663952"/>
                      </a:lnTo>
                      <a:lnTo>
                        <a:pt x="774562" y="668845"/>
                      </a:lnTo>
                      <a:lnTo>
                        <a:pt x="766596" y="675633"/>
                      </a:lnTo>
                      <a:lnTo>
                        <a:pt x="766827" y="652112"/>
                      </a:lnTo>
                      <a:lnTo>
                        <a:pt x="765916" y="645834"/>
                      </a:lnTo>
                      <a:lnTo>
                        <a:pt x="761666" y="638974"/>
                      </a:lnTo>
                      <a:lnTo>
                        <a:pt x="759346" y="637674"/>
                      </a:lnTo>
                      <a:lnTo>
                        <a:pt x="755777" y="637116"/>
                      </a:lnTo>
                      <a:lnTo>
                        <a:pt x="747556" y="636593"/>
                      </a:lnTo>
                      <a:lnTo>
                        <a:pt x="746244" y="636205"/>
                      </a:lnTo>
                      <a:lnTo>
                        <a:pt x="747034" y="637723"/>
                      </a:lnTo>
                      <a:lnTo>
                        <a:pt x="742699" y="638791"/>
                      </a:lnTo>
                      <a:lnTo>
                        <a:pt x="734381" y="639095"/>
                      </a:lnTo>
                      <a:lnTo>
                        <a:pt x="731697" y="640006"/>
                      </a:lnTo>
                      <a:lnTo>
                        <a:pt x="729511" y="641536"/>
                      </a:lnTo>
                      <a:lnTo>
                        <a:pt x="726281" y="642616"/>
                      </a:lnTo>
                      <a:lnTo>
                        <a:pt x="724363" y="643187"/>
                      </a:lnTo>
                      <a:lnTo>
                        <a:pt x="722711" y="641220"/>
                      </a:lnTo>
                      <a:lnTo>
                        <a:pt x="722056" y="641912"/>
                      </a:lnTo>
                      <a:lnTo>
                        <a:pt x="718716" y="644426"/>
                      </a:lnTo>
                      <a:lnTo>
                        <a:pt x="711977" y="648056"/>
                      </a:lnTo>
                      <a:lnTo>
                        <a:pt x="709730" y="648809"/>
                      </a:lnTo>
                      <a:lnTo>
                        <a:pt x="707727" y="649040"/>
                      </a:lnTo>
                      <a:lnTo>
                        <a:pt x="706816" y="649247"/>
                      </a:lnTo>
                      <a:lnTo>
                        <a:pt x="706488" y="649744"/>
                      </a:lnTo>
                      <a:lnTo>
                        <a:pt x="703950" y="652319"/>
                      </a:lnTo>
                      <a:lnTo>
                        <a:pt x="701813" y="653837"/>
                      </a:lnTo>
                      <a:lnTo>
                        <a:pt x="692864" y="656435"/>
                      </a:lnTo>
                      <a:lnTo>
                        <a:pt x="687400" y="660139"/>
                      </a:lnTo>
                      <a:lnTo>
                        <a:pt x="672877" y="674212"/>
                      </a:lnTo>
                      <a:lnTo>
                        <a:pt x="670254" y="678657"/>
                      </a:lnTo>
                      <a:lnTo>
                        <a:pt x="662288" y="698729"/>
                      </a:lnTo>
                      <a:lnTo>
                        <a:pt x="662070" y="701643"/>
                      </a:lnTo>
                      <a:lnTo>
                        <a:pt x="658827" y="708297"/>
                      </a:lnTo>
                      <a:lnTo>
                        <a:pt x="662446" y="710082"/>
                      </a:lnTo>
                      <a:lnTo>
                        <a:pt x="658342" y="715766"/>
                      </a:lnTo>
                      <a:lnTo>
                        <a:pt x="655439" y="721181"/>
                      </a:lnTo>
                      <a:lnTo>
                        <a:pt x="653108" y="724265"/>
                      </a:lnTo>
                      <a:lnTo>
                        <a:pt x="646697" y="730665"/>
                      </a:lnTo>
                      <a:lnTo>
                        <a:pt x="644511" y="733810"/>
                      </a:lnTo>
                      <a:lnTo>
                        <a:pt x="643904" y="736396"/>
                      </a:lnTo>
                      <a:lnTo>
                        <a:pt x="638439" y="748357"/>
                      </a:lnTo>
                      <a:lnTo>
                        <a:pt x="638573" y="748964"/>
                      </a:lnTo>
                      <a:lnTo>
                        <a:pt x="636715" y="767677"/>
                      </a:lnTo>
                      <a:lnTo>
                        <a:pt x="631129" y="789510"/>
                      </a:lnTo>
                      <a:lnTo>
                        <a:pt x="631518" y="803741"/>
                      </a:lnTo>
                      <a:lnTo>
                        <a:pt x="632793" y="810832"/>
                      </a:lnTo>
                      <a:lnTo>
                        <a:pt x="634906" y="816600"/>
                      </a:lnTo>
                      <a:lnTo>
                        <a:pt x="635027" y="821798"/>
                      </a:lnTo>
                      <a:lnTo>
                        <a:pt x="640989" y="851196"/>
                      </a:lnTo>
                      <a:lnTo>
                        <a:pt x="641560" y="861080"/>
                      </a:lnTo>
                      <a:lnTo>
                        <a:pt x="641706" y="861517"/>
                      </a:lnTo>
                      <a:lnTo>
                        <a:pt x="642434" y="862294"/>
                      </a:lnTo>
                      <a:lnTo>
                        <a:pt x="644329" y="863970"/>
                      </a:lnTo>
                      <a:lnTo>
                        <a:pt x="648433" y="866690"/>
                      </a:lnTo>
                      <a:lnTo>
                        <a:pt x="651068" y="869896"/>
                      </a:lnTo>
                      <a:lnTo>
                        <a:pt x="652464" y="877206"/>
                      </a:lnTo>
                      <a:lnTo>
                        <a:pt x="653424" y="878469"/>
                      </a:lnTo>
                      <a:lnTo>
                        <a:pt x="654893" y="881687"/>
                      </a:lnTo>
                      <a:lnTo>
                        <a:pt x="654140" y="885621"/>
                      </a:lnTo>
                      <a:lnTo>
                        <a:pt x="655112" y="885597"/>
                      </a:lnTo>
                      <a:lnTo>
                        <a:pt x="658329" y="888729"/>
                      </a:lnTo>
                      <a:lnTo>
                        <a:pt x="658123" y="890891"/>
                      </a:lnTo>
                      <a:lnTo>
                        <a:pt x="657637" y="892615"/>
                      </a:lnTo>
                      <a:lnTo>
                        <a:pt x="656945" y="893733"/>
                      </a:lnTo>
                      <a:lnTo>
                        <a:pt x="656593" y="897667"/>
                      </a:lnTo>
                      <a:lnTo>
                        <a:pt x="654249" y="908948"/>
                      </a:lnTo>
                      <a:lnTo>
                        <a:pt x="654820" y="923398"/>
                      </a:lnTo>
                      <a:lnTo>
                        <a:pt x="654055" y="933257"/>
                      </a:lnTo>
                      <a:lnTo>
                        <a:pt x="650570" y="937726"/>
                      </a:lnTo>
                      <a:lnTo>
                        <a:pt x="646782" y="947501"/>
                      </a:lnTo>
                      <a:lnTo>
                        <a:pt x="644620" y="950913"/>
                      </a:lnTo>
                      <a:lnTo>
                        <a:pt x="647182" y="953233"/>
                      </a:lnTo>
                      <a:lnTo>
                        <a:pt x="644256" y="961951"/>
                      </a:lnTo>
                      <a:lnTo>
                        <a:pt x="644875" y="969431"/>
                      </a:lnTo>
                      <a:lnTo>
                        <a:pt x="649307" y="992102"/>
                      </a:lnTo>
                      <a:lnTo>
                        <a:pt x="651882" y="999267"/>
                      </a:lnTo>
                      <a:lnTo>
                        <a:pt x="665470" y="1027341"/>
                      </a:lnTo>
                      <a:lnTo>
                        <a:pt x="667898" y="1035295"/>
                      </a:lnTo>
                      <a:lnTo>
                        <a:pt x="667315" y="1044936"/>
                      </a:lnTo>
                      <a:lnTo>
                        <a:pt x="663636" y="1052781"/>
                      </a:lnTo>
                      <a:lnTo>
                        <a:pt x="662871" y="1055780"/>
                      </a:lnTo>
                      <a:lnTo>
                        <a:pt x="663854" y="1058731"/>
                      </a:lnTo>
                      <a:lnTo>
                        <a:pt x="665518" y="1061329"/>
                      </a:lnTo>
                      <a:lnTo>
                        <a:pt x="669732" y="1075124"/>
                      </a:lnTo>
                      <a:lnTo>
                        <a:pt x="675305" y="1087679"/>
                      </a:lnTo>
                      <a:lnTo>
                        <a:pt x="675305" y="1089294"/>
                      </a:lnTo>
                      <a:lnTo>
                        <a:pt x="672937" y="1092585"/>
                      </a:lnTo>
                      <a:lnTo>
                        <a:pt x="670934" y="1096568"/>
                      </a:lnTo>
                      <a:lnTo>
                        <a:pt x="671371" y="1096580"/>
                      </a:lnTo>
                      <a:lnTo>
                        <a:pt x="669477" y="1101765"/>
                      </a:lnTo>
                      <a:lnTo>
                        <a:pt x="668153" y="1102773"/>
                      </a:lnTo>
                      <a:lnTo>
                        <a:pt x="661827" y="1105700"/>
                      </a:lnTo>
                      <a:lnTo>
                        <a:pt x="656472" y="1106380"/>
                      </a:lnTo>
                      <a:lnTo>
                        <a:pt x="646235" y="1104243"/>
                      </a:lnTo>
                      <a:lnTo>
                        <a:pt x="643806" y="1104267"/>
                      </a:lnTo>
                      <a:lnTo>
                        <a:pt x="639532" y="1104679"/>
                      </a:lnTo>
                      <a:lnTo>
                        <a:pt x="636059" y="1104072"/>
                      </a:lnTo>
                      <a:lnTo>
                        <a:pt x="633449" y="1101729"/>
                      </a:lnTo>
                      <a:lnTo>
                        <a:pt x="633703" y="1098535"/>
                      </a:lnTo>
                      <a:lnTo>
                        <a:pt x="634165" y="1096932"/>
                      </a:lnTo>
                      <a:lnTo>
                        <a:pt x="634639" y="1095839"/>
                      </a:lnTo>
                      <a:lnTo>
                        <a:pt x="635695" y="1094115"/>
                      </a:lnTo>
                      <a:lnTo>
                        <a:pt x="633983" y="1094054"/>
                      </a:lnTo>
                      <a:lnTo>
                        <a:pt x="630801" y="1092840"/>
                      </a:lnTo>
                      <a:lnTo>
                        <a:pt x="631554" y="1095232"/>
                      </a:lnTo>
                      <a:lnTo>
                        <a:pt x="631384" y="1097479"/>
                      </a:lnTo>
                      <a:lnTo>
                        <a:pt x="629879" y="1100211"/>
                      </a:lnTo>
                      <a:lnTo>
                        <a:pt x="627863" y="1101462"/>
                      </a:lnTo>
                      <a:lnTo>
                        <a:pt x="622836" y="1103064"/>
                      </a:lnTo>
                      <a:lnTo>
                        <a:pt x="619472" y="1104595"/>
                      </a:lnTo>
                      <a:lnTo>
                        <a:pt x="617262" y="1106586"/>
                      </a:lnTo>
                      <a:lnTo>
                        <a:pt x="614773" y="1109439"/>
                      </a:lnTo>
                      <a:lnTo>
                        <a:pt x="613619" y="1111176"/>
                      </a:lnTo>
                      <a:lnTo>
                        <a:pt x="613753" y="1111747"/>
                      </a:lnTo>
                      <a:lnTo>
                        <a:pt x="614251" y="1112378"/>
                      </a:lnTo>
                      <a:lnTo>
                        <a:pt x="614688" y="1114406"/>
                      </a:lnTo>
                      <a:lnTo>
                        <a:pt x="614651" y="1117648"/>
                      </a:lnTo>
                      <a:lnTo>
                        <a:pt x="612344" y="1121376"/>
                      </a:lnTo>
                      <a:lnTo>
                        <a:pt x="596024" y="1131042"/>
                      </a:lnTo>
                      <a:lnTo>
                        <a:pt x="584913" y="1135498"/>
                      </a:lnTo>
                      <a:lnTo>
                        <a:pt x="581052" y="1136239"/>
                      </a:lnTo>
                      <a:lnTo>
                        <a:pt x="577397" y="1135863"/>
                      </a:lnTo>
                      <a:lnTo>
                        <a:pt x="575624" y="1135110"/>
                      </a:lnTo>
                      <a:lnTo>
                        <a:pt x="575308" y="1135110"/>
                      </a:lnTo>
                      <a:lnTo>
                        <a:pt x="575078" y="1135680"/>
                      </a:lnTo>
                      <a:lnTo>
                        <a:pt x="575454" y="1136773"/>
                      </a:lnTo>
                      <a:lnTo>
                        <a:pt x="576049" y="1136664"/>
                      </a:lnTo>
                      <a:lnTo>
                        <a:pt x="577166" y="1137235"/>
                      </a:lnTo>
                      <a:lnTo>
                        <a:pt x="578708" y="1138206"/>
                      </a:lnTo>
                      <a:lnTo>
                        <a:pt x="580153" y="1139348"/>
                      </a:lnTo>
                      <a:lnTo>
                        <a:pt x="581926" y="1141849"/>
                      </a:lnTo>
                      <a:lnTo>
                        <a:pt x="582060" y="1144727"/>
                      </a:lnTo>
                      <a:lnTo>
                        <a:pt x="580141" y="1148625"/>
                      </a:lnTo>
                      <a:lnTo>
                        <a:pt x="577360" y="1149669"/>
                      </a:lnTo>
                      <a:lnTo>
                        <a:pt x="574155" y="1149876"/>
                      </a:lnTo>
                      <a:lnTo>
                        <a:pt x="571410" y="1149062"/>
                      </a:lnTo>
                      <a:lnTo>
                        <a:pt x="565230" y="1149608"/>
                      </a:lnTo>
                      <a:lnTo>
                        <a:pt x="559340" y="1146306"/>
                      </a:lnTo>
                      <a:lnTo>
                        <a:pt x="557907" y="1144375"/>
                      </a:lnTo>
                      <a:lnTo>
                        <a:pt x="557094" y="1142213"/>
                      </a:lnTo>
                      <a:lnTo>
                        <a:pt x="556875" y="1141448"/>
                      </a:lnTo>
                      <a:lnTo>
                        <a:pt x="557397" y="1139226"/>
                      </a:lnTo>
                      <a:lnTo>
                        <a:pt x="557446" y="1137854"/>
                      </a:lnTo>
                      <a:lnTo>
                        <a:pt x="557179" y="1136810"/>
                      </a:lnTo>
                      <a:lnTo>
                        <a:pt x="556997" y="1136676"/>
                      </a:lnTo>
                      <a:lnTo>
                        <a:pt x="555430" y="1136385"/>
                      </a:lnTo>
                      <a:lnTo>
                        <a:pt x="543943" y="1139020"/>
                      </a:lnTo>
                      <a:lnTo>
                        <a:pt x="538989" y="1138971"/>
                      </a:lnTo>
                      <a:lnTo>
                        <a:pt x="536342" y="1137368"/>
                      </a:lnTo>
                      <a:lnTo>
                        <a:pt x="534059" y="1134709"/>
                      </a:lnTo>
                      <a:lnTo>
                        <a:pt x="532431" y="1131600"/>
                      </a:lnTo>
                      <a:lnTo>
                        <a:pt x="530391" y="1129148"/>
                      </a:lnTo>
                      <a:lnTo>
                        <a:pt x="528946" y="1128237"/>
                      </a:lnTo>
                      <a:lnTo>
                        <a:pt x="527416" y="1127605"/>
                      </a:lnTo>
                      <a:lnTo>
                        <a:pt x="524866" y="1127180"/>
                      </a:lnTo>
                      <a:lnTo>
                        <a:pt x="522668" y="1127156"/>
                      </a:lnTo>
                      <a:lnTo>
                        <a:pt x="518625" y="1127642"/>
                      </a:lnTo>
                      <a:lnTo>
                        <a:pt x="516002" y="1128650"/>
                      </a:lnTo>
                      <a:lnTo>
                        <a:pt x="515820" y="1129985"/>
                      </a:lnTo>
                      <a:lnTo>
                        <a:pt x="515747" y="1132620"/>
                      </a:lnTo>
                      <a:lnTo>
                        <a:pt x="515419" y="1134563"/>
                      </a:lnTo>
                      <a:lnTo>
                        <a:pt x="513258" y="1139165"/>
                      </a:lnTo>
                      <a:lnTo>
                        <a:pt x="513221" y="1139870"/>
                      </a:lnTo>
                      <a:lnTo>
                        <a:pt x="513428" y="1140234"/>
                      </a:lnTo>
                      <a:lnTo>
                        <a:pt x="513828" y="1141837"/>
                      </a:lnTo>
                      <a:lnTo>
                        <a:pt x="513695" y="1145589"/>
                      </a:lnTo>
                      <a:lnTo>
                        <a:pt x="511740" y="1149305"/>
                      </a:lnTo>
                      <a:lnTo>
                        <a:pt x="504576" y="1152838"/>
                      </a:lnTo>
                      <a:lnTo>
                        <a:pt x="503495" y="1153640"/>
                      </a:lnTo>
                      <a:lnTo>
                        <a:pt x="502317" y="1155364"/>
                      </a:lnTo>
                      <a:lnTo>
                        <a:pt x="498480" y="1158813"/>
                      </a:lnTo>
                      <a:lnTo>
                        <a:pt x="494910" y="1163463"/>
                      </a:lnTo>
                      <a:lnTo>
                        <a:pt x="491121" y="1166596"/>
                      </a:lnTo>
                      <a:lnTo>
                        <a:pt x="487575" y="1167471"/>
                      </a:lnTo>
                      <a:lnTo>
                        <a:pt x="484272" y="1166378"/>
                      </a:lnTo>
                      <a:lnTo>
                        <a:pt x="482354" y="1164314"/>
                      </a:lnTo>
                      <a:lnTo>
                        <a:pt x="481504" y="1163609"/>
                      </a:lnTo>
                      <a:lnTo>
                        <a:pt x="480071" y="1163354"/>
                      </a:lnTo>
                      <a:lnTo>
                        <a:pt x="479197" y="1163573"/>
                      </a:lnTo>
                      <a:lnTo>
                        <a:pt x="477630" y="1164945"/>
                      </a:lnTo>
                      <a:lnTo>
                        <a:pt x="471523" y="1173907"/>
                      </a:lnTo>
                      <a:lnTo>
                        <a:pt x="466677" y="1179893"/>
                      </a:lnTo>
                      <a:lnTo>
                        <a:pt x="464953" y="1181411"/>
                      </a:lnTo>
                      <a:lnTo>
                        <a:pt x="462780" y="1182904"/>
                      </a:lnTo>
                      <a:lnTo>
                        <a:pt x="459464" y="1183852"/>
                      </a:lnTo>
                      <a:lnTo>
                        <a:pt x="452349" y="1184483"/>
                      </a:lnTo>
                      <a:lnTo>
                        <a:pt x="448827" y="1185418"/>
                      </a:lnTo>
                      <a:lnTo>
                        <a:pt x="444929" y="1185175"/>
                      </a:lnTo>
                      <a:lnTo>
                        <a:pt x="441869" y="1183888"/>
                      </a:lnTo>
                      <a:lnTo>
                        <a:pt x="439793" y="1182528"/>
                      </a:lnTo>
                      <a:lnTo>
                        <a:pt x="438554" y="1182297"/>
                      </a:lnTo>
                      <a:lnTo>
                        <a:pt x="434244" y="1181957"/>
                      </a:lnTo>
                      <a:lnTo>
                        <a:pt x="431062" y="1180828"/>
                      </a:lnTo>
                      <a:lnTo>
                        <a:pt x="429739" y="1178751"/>
                      </a:lnTo>
                      <a:lnTo>
                        <a:pt x="428755" y="1175048"/>
                      </a:lnTo>
                      <a:lnTo>
                        <a:pt x="427990" y="1175072"/>
                      </a:lnTo>
                      <a:lnTo>
                        <a:pt x="427043" y="1174793"/>
                      </a:lnTo>
                      <a:lnTo>
                        <a:pt x="422963" y="1174174"/>
                      </a:lnTo>
                      <a:lnTo>
                        <a:pt x="420449" y="1174186"/>
                      </a:lnTo>
                      <a:lnTo>
                        <a:pt x="420024" y="1175922"/>
                      </a:lnTo>
                      <a:lnTo>
                        <a:pt x="419927" y="1177209"/>
                      </a:lnTo>
                      <a:lnTo>
                        <a:pt x="418931" y="1179808"/>
                      </a:lnTo>
                      <a:lnTo>
                        <a:pt x="417134" y="1182176"/>
                      </a:lnTo>
                      <a:lnTo>
                        <a:pt x="413248" y="1184701"/>
                      </a:lnTo>
                      <a:lnTo>
                        <a:pt x="409788" y="1185090"/>
                      </a:lnTo>
                      <a:lnTo>
                        <a:pt x="406619" y="1183281"/>
                      </a:lnTo>
                      <a:lnTo>
                        <a:pt x="405222" y="1180391"/>
                      </a:lnTo>
                      <a:lnTo>
                        <a:pt x="404433" y="1177391"/>
                      </a:lnTo>
                      <a:lnTo>
                        <a:pt x="404178" y="1176991"/>
                      </a:lnTo>
                      <a:lnTo>
                        <a:pt x="403668" y="1176736"/>
                      </a:lnTo>
                      <a:lnTo>
                        <a:pt x="396176" y="1177537"/>
                      </a:lnTo>
                      <a:lnTo>
                        <a:pt x="393820" y="1178047"/>
                      </a:lnTo>
                      <a:lnTo>
                        <a:pt x="389788" y="1179310"/>
                      </a:lnTo>
                      <a:lnTo>
                        <a:pt x="381628" y="1180354"/>
                      </a:lnTo>
                      <a:lnTo>
                        <a:pt x="380280" y="1180791"/>
                      </a:lnTo>
                      <a:lnTo>
                        <a:pt x="379030" y="1183548"/>
                      </a:lnTo>
                      <a:lnTo>
                        <a:pt x="377415" y="1186183"/>
                      </a:lnTo>
                      <a:lnTo>
                        <a:pt x="374707" y="1188065"/>
                      </a:lnTo>
                      <a:lnTo>
                        <a:pt x="371671" y="1188490"/>
                      </a:lnTo>
                      <a:lnTo>
                        <a:pt x="369692" y="1188563"/>
                      </a:lnTo>
                      <a:lnTo>
                        <a:pt x="368526" y="1189109"/>
                      </a:lnTo>
                      <a:lnTo>
                        <a:pt x="368113" y="1189862"/>
                      </a:lnTo>
                      <a:lnTo>
                        <a:pt x="366595" y="1192194"/>
                      </a:lnTo>
                      <a:lnTo>
                        <a:pt x="366510" y="1192898"/>
                      </a:lnTo>
                      <a:lnTo>
                        <a:pt x="366061" y="1194914"/>
                      </a:lnTo>
                      <a:lnTo>
                        <a:pt x="365794" y="1199795"/>
                      </a:lnTo>
                      <a:lnTo>
                        <a:pt x="365332" y="1202212"/>
                      </a:lnTo>
                      <a:lnTo>
                        <a:pt x="363790" y="1206097"/>
                      </a:lnTo>
                      <a:lnTo>
                        <a:pt x="360645" y="1218338"/>
                      </a:lnTo>
                      <a:lnTo>
                        <a:pt x="355327" y="1232314"/>
                      </a:lnTo>
                      <a:lnTo>
                        <a:pt x="354064" y="1234390"/>
                      </a:lnTo>
                      <a:lnTo>
                        <a:pt x="352497" y="1236018"/>
                      </a:lnTo>
                      <a:lnTo>
                        <a:pt x="344532" y="1242150"/>
                      </a:lnTo>
                      <a:lnTo>
                        <a:pt x="341302" y="1242781"/>
                      </a:lnTo>
                      <a:lnTo>
                        <a:pt x="339456" y="1242040"/>
                      </a:lnTo>
                      <a:lnTo>
                        <a:pt x="339504" y="1242295"/>
                      </a:lnTo>
                      <a:lnTo>
                        <a:pt x="339213" y="1245598"/>
                      </a:lnTo>
                      <a:lnTo>
                        <a:pt x="337914" y="1249933"/>
                      </a:lnTo>
                      <a:lnTo>
                        <a:pt x="329329" y="1258980"/>
                      </a:lnTo>
                      <a:lnTo>
                        <a:pt x="326329" y="1260716"/>
                      </a:lnTo>
                      <a:lnTo>
                        <a:pt x="324168" y="1261579"/>
                      </a:lnTo>
                      <a:lnTo>
                        <a:pt x="322274" y="1261955"/>
                      </a:lnTo>
                      <a:lnTo>
                        <a:pt x="317951" y="1262137"/>
                      </a:lnTo>
                      <a:lnTo>
                        <a:pt x="315838" y="1261870"/>
                      </a:lnTo>
                      <a:close/>
                      <a:moveTo>
                        <a:pt x="644025" y="1091225"/>
                      </a:moveTo>
                      <a:lnTo>
                        <a:pt x="647243" y="1091444"/>
                      </a:lnTo>
                      <a:lnTo>
                        <a:pt x="651918" y="1092452"/>
                      </a:lnTo>
                      <a:lnTo>
                        <a:pt x="659592" y="1092670"/>
                      </a:lnTo>
                      <a:lnTo>
                        <a:pt x="662567" y="1093423"/>
                      </a:lnTo>
                      <a:lnTo>
                        <a:pt x="664510" y="1095390"/>
                      </a:lnTo>
                      <a:lnTo>
                        <a:pt x="665725" y="1096252"/>
                      </a:lnTo>
                      <a:lnTo>
                        <a:pt x="666793" y="1096495"/>
                      </a:lnTo>
                      <a:lnTo>
                        <a:pt x="667109" y="1096337"/>
                      </a:lnTo>
                      <a:lnTo>
                        <a:pt x="669112" y="1096374"/>
                      </a:lnTo>
                      <a:lnTo>
                        <a:pt x="667497" y="1092075"/>
                      </a:lnTo>
                      <a:lnTo>
                        <a:pt x="661462" y="1076957"/>
                      </a:lnTo>
                      <a:lnTo>
                        <a:pt x="652974" y="1067983"/>
                      </a:lnTo>
                      <a:lnTo>
                        <a:pt x="649842" y="1060200"/>
                      </a:lnTo>
                      <a:lnTo>
                        <a:pt x="647874" y="1057723"/>
                      </a:lnTo>
                      <a:lnTo>
                        <a:pt x="647850" y="1064899"/>
                      </a:lnTo>
                      <a:lnTo>
                        <a:pt x="645810" y="1075391"/>
                      </a:lnTo>
                      <a:lnTo>
                        <a:pt x="638391" y="1071056"/>
                      </a:lnTo>
                      <a:lnTo>
                        <a:pt x="637262" y="1067073"/>
                      </a:lnTo>
                      <a:lnTo>
                        <a:pt x="637517" y="1065142"/>
                      </a:lnTo>
                      <a:lnTo>
                        <a:pt x="634201" y="1067498"/>
                      </a:lnTo>
                      <a:lnTo>
                        <a:pt x="631372" y="1071408"/>
                      </a:lnTo>
                      <a:lnTo>
                        <a:pt x="631870" y="1074735"/>
                      </a:lnTo>
                      <a:lnTo>
                        <a:pt x="633886" y="1077564"/>
                      </a:lnTo>
                      <a:lnTo>
                        <a:pt x="639581" y="1084328"/>
                      </a:lnTo>
                      <a:lnTo>
                        <a:pt x="642070" y="1089987"/>
                      </a:lnTo>
                      <a:lnTo>
                        <a:pt x="642580" y="1090691"/>
                      </a:lnTo>
                      <a:lnTo>
                        <a:pt x="644025" y="1091225"/>
                      </a:lnTo>
                      <a:close/>
                      <a:moveTo>
                        <a:pt x="1050194" y="446083"/>
                      </a:moveTo>
                      <a:lnTo>
                        <a:pt x="1052198" y="447431"/>
                      </a:lnTo>
                      <a:lnTo>
                        <a:pt x="1052793" y="448038"/>
                      </a:lnTo>
                      <a:lnTo>
                        <a:pt x="1053813" y="447783"/>
                      </a:lnTo>
                      <a:lnTo>
                        <a:pt x="1054748" y="446192"/>
                      </a:lnTo>
                      <a:lnTo>
                        <a:pt x="1057516" y="447103"/>
                      </a:lnTo>
                      <a:lnTo>
                        <a:pt x="1058269" y="447480"/>
                      </a:lnTo>
                      <a:lnTo>
                        <a:pt x="1058087" y="442731"/>
                      </a:lnTo>
                      <a:lnTo>
                        <a:pt x="1057346" y="436478"/>
                      </a:lnTo>
                      <a:lnTo>
                        <a:pt x="1052259" y="417219"/>
                      </a:lnTo>
                      <a:lnTo>
                        <a:pt x="1051044" y="422599"/>
                      </a:lnTo>
                      <a:lnTo>
                        <a:pt x="1043710" y="436174"/>
                      </a:lnTo>
                      <a:lnTo>
                        <a:pt x="1043419" y="439659"/>
                      </a:lnTo>
                      <a:lnTo>
                        <a:pt x="1044026" y="442501"/>
                      </a:lnTo>
                      <a:lnTo>
                        <a:pt x="1045507" y="444602"/>
                      </a:lnTo>
                      <a:lnTo>
                        <a:pt x="1050194" y="446083"/>
                      </a:lnTo>
                      <a:close/>
                    </a:path>
                  </a:pathLst>
                </a:custGeom>
                <a:solidFill>
                  <a:srgbClr val="D7D7D2"/>
                </a:solidFill>
                <a:ln w="12138" cap="flat">
                  <a:noFill/>
                  <a:prstDash val="solid"/>
                  <a:miter/>
                </a:ln>
              </p:spPr>
              <p:txBody>
                <a:bodyPr rtlCol="0" anchor="ctr"/>
                <a:lstStyle/>
                <a:p>
                  <a:endParaRPr lang="en-US"/>
                </a:p>
              </p:txBody>
            </p:sp>
            <p:sp>
              <p:nvSpPr>
                <p:cNvPr id="325" name="Freeform: Shape 324">
                  <a:extLst>
                    <a:ext uri="{FF2B5EF4-FFF2-40B4-BE49-F238E27FC236}">
                      <a16:creationId xmlns:a16="http://schemas.microsoft.com/office/drawing/2014/main" id="{7F81D2A0-6B38-40CB-B0FF-558781D4E394}"/>
                    </a:ext>
                  </a:extLst>
                </p:cNvPr>
                <p:cNvSpPr/>
                <p:nvPr/>
              </p:nvSpPr>
              <p:spPr>
                <a:xfrm>
                  <a:off x="4961011" y="4296724"/>
                  <a:ext cx="1524655" cy="1268099"/>
                </a:xfrm>
                <a:custGeom>
                  <a:avLst/>
                  <a:gdLst>
                    <a:gd name="connsiteX0" fmla="*/ 1504388 w 1524655"/>
                    <a:gd name="connsiteY0" fmla="*/ 6205 h 1268099"/>
                    <a:gd name="connsiteX1" fmla="*/ 1511043 w 1524655"/>
                    <a:gd name="connsiteY1" fmla="*/ 6266 h 1268099"/>
                    <a:gd name="connsiteX2" fmla="*/ 1513059 w 1524655"/>
                    <a:gd name="connsiteY2" fmla="*/ 6594 h 1268099"/>
                    <a:gd name="connsiteX3" fmla="*/ 1514661 w 1524655"/>
                    <a:gd name="connsiteY3" fmla="*/ 7237 h 1268099"/>
                    <a:gd name="connsiteX4" fmla="*/ 1516094 w 1524655"/>
                    <a:gd name="connsiteY4" fmla="*/ 9059 h 1268099"/>
                    <a:gd name="connsiteX5" fmla="*/ 1516726 w 1524655"/>
                    <a:gd name="connsiteY5" fmla="*/ 10419 h 1268099"/>
                    <a:gd name="connsiteX6" fmla="*/ 1517442 w 1524655"/>
                    <a:gd name="connsiteY6" fmla="*/ 15045 h 1268099"/>
                    <a:gd name="connsiteX7" fmla="*/ 1516920 w 1524655"/>
                    <a:gd name="connsiteY7" fmla="*/ 15203 h 1268099"/>
                    <a:gd name="connsiteX8" fmla="*/ 1514904 w 1524655"/>
                    <a:gd name="connsiteY8" fmla="*/ 13637 h 1268099"/>
                    <a:gd name="connsiteX9" fmla="*/ 1512318 w 1524655"/>
                    <a:gd name="connsiteY9" fmla="*/ 10747 h 1268099"/>
                    <a:gd name="connsiteX10" fmla="*/ 1510144 w 1524655"/>
                    <a:gd name="connsiteY10" fmla="*/ 8937 h 1268099"/>
                    <a:gd name="connsiteX11" fmla="*/ 1509161 w 1524655"/>
                    <a:gd name="connsiteY11" fmla="*/ 10601 h 1268099"/>
                    <a:gd name="connsiteX12" fmla="*/ 1508712 w 1524655"/>
                    <a:gd name="connsiteY12" fmla="*/ 12617 h 1268099"/>
                    <a:gd name="connsiteX13" fmla="*/ 1506756 w 1524655"/>
                    <a:gd name="connsiteY13" fmla="*/ 15422 h 1268099"/>
                    <a:gd name="connsiteX14" fmla="*/ 1506574 w 1524655"/>
                    <a:gd name="connsiteY14" fmla="*/ 17887 h 1268099"/>
                    <a:gd name="connsiteX15" fmla="*/ 1507097 w 1524655"/>
                    <a:gd name="connsiteY15" fmla="*/ 18980 h 1268099"/>
                    <a:gd name="connsiteX16" fmla="*/ 1509464 w 1524655"/>
                    <a:gd name="connsiteY16" fmla="*/ 21481 h 1268099"/>
                    <a:gd name="connsiteX17" fmla="*/ 1510436 w 1524655"/>
                    <a:gd name="connsiteY17" fmla="*/ 23315 h 1268099"/>
                    <a:gd name="connsiteX18" fmla="*/ 1513532 w 1524655"/>
                    <a:gd name="connsiteY18" fmla="*/ 18652 h 1268099"/>
                    <a:gd name="connsiteX19" fmla="*/ 1514285 w 1524655"/>
                    <a:gd name="connsiteY19" fmla="*/ 17887 h 1268099"/>
                    <a:gd name="connsiteX20" fmla="*/ 1515609 w 1524655"/>
                    <a:gd name="connsiteY20" fmla="*/ 17862 h 1268099"/>
                    <a:gd name="connsiteX21" fmla="*/ 1516969 w 1524655"/>
                    <a:gd name="connsiteY21" fmla="*/ 18117 h 1268099"/>
                    <a:gd name="connsiteX22" fmla="*/ 1517843 w 1524655"/>
                    <a:gd name="connsiteY22" fmla="*/ 18785 h 1268099"/>
                    <a:gd name="connsiteX23" fmla="*/ 1517552 w 1524655"/>
                    <a:gd name="connsiteY23" fmla="*/ 19975 h 1268099"/>
                    <a:gd name="connsiteX24" fmla="*/ 1512451 w 1524655"/>
                    <a:gd name="connsiteY24" fmla="*/ 27176 h 1268099"/>
                    <a:gd name="connsiteX25" fmla="*/ 1510545 w 1524655"/>
                    <a:gd name="connsiteY25" fmla="*/ 32167 h 1268099"/>
                    <a:gd name="connsiteX26" fmla="*/ 1502737 w 1524655"/>
                    <a:gd name="connsiteY26" fmla="*/ 42027 h 1268099"/>
                    <a:gd name="connsiteX27" fmla="*/ 1498997 w 1524655"/>
                    <a:gd name="connsiteY27" fmla="*/ 48207 h 1268099"/>
                    <a:gd name="connsiteX28" fmla="*/ 1496301 w 1524655"/>
                    <a:gd name="connsiteY28" fmla="*/ 51255 h 1268099"/>
                    <a:gd name="connsiteX29" fmla="*/ 1489866 w 1524655"/>
                    <a:gd name="connsiteY29" fmla="*/ 54036 h 1268099"/>
                    <a:gd name="connsiteX30" fmla="*/ 1474311 w 1524655"/>
                    <a:gd name="connsiteY30" fmla="*/ 77290 h 1268099"/>
                    <a:gd name="connsiteX31" fmla="*/ 1473157 w 1524655"/>
                    <a:gd name="connsiteY31" fmla="*/ 81224 h 1268099"/>
                    <a:gd name="connsiteX32" fmla="*/ 1455647 w 1524655"/>
                    <a:gd name="connsiteY32" fmla="*/ 99682 h 1268099"/>
                    <a:gd name="connsiteX33" fmla="*/ 1453583 w 1524655"/>
                    <a:gd name="connsiteY33" fmla="*/ 103155 h 1268099"/>
                    <a:gd name="connsiteX34" fmla="*/ 1452720 w 1524655"/>
                    <a:gd name="connsiteY34" fmla="*/ 106494 h 1268099"/>
                    <a:gd name="connsiteX35" fmla="*/ 1450996 w 1524655"/>
                    <a:gd name="connsiteY35" fmla="*/ 108267 h 1268099"/>
                    <a:gd name="connsiteX36" fmla="*/ 1441063 w 1524655"/>
                    <a:gd name="connsiteY36" fmla="*/ 115091 h 1268099"/>
                    <a:gd name="connsiteX37" fmla="*/ 1437105 w 1524655"/>
                    <a:gd name="connsiteY37" fmla="*/ 121211 h 1268099"/>
                    <a:gd name="connsiteX38" fmla="*/ 1434008 w 1524655"/>
                    <a:gd name="connsiteY38" fmla="*/ 124344 h 1268099"/>
                    <a:gd name="connsiteX39" fmla="*/ 1430098 w 1524655"/>
                    <a:gd name="connsiteY39" fmla="*/ 125692 h 1268099"/>
                    <a:gd name="connsiteX40" fmla="*/ 1429005 w 1524655"/>
                    <a:gd name="connsiteY40" fmla="*/ 126275 h 1268099"/>
                    <a:gd name="connsiteX41" fmla="*/ 1425678 w 1524655"/>
                    <a:gd name="connsiteY41" fmla="*/ 128970 h 1268099"/>
                    <a:gd name="connsiteX42" fmla="*/ 1424415 w 1524655"/>
                    <a:gd name="connsiteY42" fmla="*/ 129796 h 1268099"/>
                    <a:gd name="connsiteX43" fmla="*/ 1422679 w 1524655"/>
                    <a:gd name="connsiteY43" fmla="*/ 130027 h 1268099"/>
                    <a:gd name="connsiteX44" fmla="*/ 1418441 w 1524655"/>
                    <a:gd name="connsiteY44" fmla="*/ 130063 h 1268099"/>
                    <a:gd name="connsiteX45" fmla="*/ 1417870 w 1524655"/>
                    <a:gd name="connsiteY45" fmla="*/ 129808 h 1268099"/>
                    <a:gd name="connsiteX46" fmla="*/ 1416146 w 1524655"/>
                    <a:gd name="connsiteY46" fmla="*/ 132650 h 1268099"/>
                    <a:gd name="connsiteX47" fmla="*/ 1418332 w 1524655"/>
                    <a:gd name="connsiteY47" fmla="*/ 134422 h 1268099"/>
                    <a:gd name="connsiteX48" fmla="*/ 1422400 w 1524655"/>
                    <a:gd name="connsiteY48" fmla="*/ 134702 h 1268099"/>
                    <a:gd name="connsiteX49" fmla="*/ 1427402 w 1524655"/>
                    <a:gd name="connsiteY49" fmla="*/ 131569 h 1268099"/>
                    <a:gd name="connsiteX50" fmla="*/ 1432733 w 1524655"/>
                    <a:gd name="connsiteY50" fmla="*/ 127501 h 1268099"/>
                    <a:gd name="connsiteX51" fmla="*/ 1437165 w 1524655"/>
                    <a:gd name="connsiteY51" fmla="*/ 124477 h 1268099"/>
                    <a:gd name="connsiteX52" fmla="*/ 1433656 w 1524655"/>
                    <a:gd name="connsiteY52" fmla="*/ 127246 h 1268099"/>
                    <a:gd name="connsiteX53" fmla="*/ 1425557 w 1524655"/>
                    <a:gd name="connsiteY53" fmla="*/ 133609 h 1268099"/>
                    <a:gd name="connsiteX54" fmla="*/ 1416607 w 1524655"/>
                    <a:gd name="connsiteY54" fmla="*/ 142364 h 1268099"/>
                    <a:gd name="connsiteX55" fmla="*/ 1414761 w 1524655"/>
                    <a:gd name="connsiteY55" fmla="*/ 145181 h 1268099"/>
                    <a:gd name="connsiteX56" fmla="*/ 1406893 w 1524655"/>
                    <a:gd name="connsiteY56" fmla="*/ 150633 h 1268099"/>
                    <a:gd name="connsiteX57" fmla="*/ 1404258 w 1524655"/>
                    <a:gd name="connsiteY57" fmla="*/ 154167 h 1268099"/>
                    <a:gd name="connsiteX58" fmla="*/ 1400239 w 1524655"/>
                    <a:gd name="connsiteY58" fmla="*/ 157324 h 1268099"/>
                    <a:gd name="connsiteX59" fmla="*/ 1398575 w 1524655"/>
                    <a:gd name="connsiteY59" fmla="*/ 159024 h 1268099"/>
                    <a:gd name="connsiteX60" fmla="*/ 1397604 w 1524655"/>
                    <a:gd name="connsiteY60" fmla="*/ 161101 h 1268099"/>
                    <a:gd name="connsiteX61" fmla="*/ 1397142 w 1524655"/>
                    <a:gd name="connsiteY61" fmla="*/ 163141 h 1268099"/>
                    <a:gd name="connsiteX62" fmla="*/ 1396438 w 1524655"/>
                    <a:gd name="connsiteY62" fmla="*/ 165108 h 1268099"/>
                    <a:gd name="connsiteX63" fmla="*/ 1394847 w 1524655"/>
                    <a:gd name="connsiteY63" fmla="*/ 166978 h 1268099"/>
                    <a:gd name="connsiteX64" fmla="*/ 1392759 w 1524655"/>
                    <a:gd name="connsiteY64" fmla="*/ 173851 h 1268099"/>
                    <a:gd name="connsiteX65" fmla="*/ 1386056 w 1524655"/>
                    <a:gd name="connsiteY65" fmla="*/ 179023 h 1268099"/>
                    <a:gd name="connsiteX66" fmla="*/ 1329385 w 1524655"/>
                    <a:gd name="connsiteY66" fmla="*/ 204596 h 1268099"/>
                    <a:gd name="connsiteX67" fmla="*/ 1299112 w 1524655"/>
                    <a:gd name="connsiteY67" fmla="*/ 222896 h 1268099"/>
                    <a:gd name="connsiteX68" fmla="*/ 1293199 w 1524655"/>
                    <a:gd name="connsiteY68" fmla="*/ 227947 h 1268099"/>
                    <a:gd name="connsiteX69" fmla="*/ 1292045 w 1524655"/>
                    <a:gd name="connsiteY69" fmla="*/ 229757 h 1268099"/>
                    <a:gd name="connsiteX70" fmla="*/ 1289580 w 1524655"/>
                    <a:gd name="connsiteY70" fmla="*/ 234917 h 1268099"/>
                    <a:gd name="connsiteX71" fmla="*/ 1288730 w 1524655"/>
                    <a:gd name="connsiteY71" fmla="*/ 235986 h 1268099"/>
                    <a:gd name="connsiteX72" fmla="*/ 1288378 w 1524655"/>
                    <a:gd name="connsiteY72" fmla="*/ 236787 h 1268099"/>
                    <a:gd name="connsiteX73" fmla="*/ 1285051 w 1524655"/>
                    <a:gd name="connsiteY73" fmla="*/ 240102 h 1268099"/>
                    <a:gd name="connsiteX74" fmla="*/ 1284249 w 1524655"/>
                    <a:gd name="connsiteY74" fmla="*/ 240685 h 1268099"/>
                    <a:gd name="connsiteX75" fmla="*/ 1282695 w 1524655"/>
                    <a:gd name="connsiteY75" fmla="*/ 242750 h 1268099"/>
                    <a:gd name="connsiteX76" fmla="*/ 1275239 w 1524655"/>
                    <a:gd name="connsiteY76" fmla="*/ 247716 h 1268099"/>
                    <a:gd name="connsiteX77" fmla="*/ 1272701 w 1524655"/>
                    <a:gd name="connsiteY77" fmla="*/ 250497 h 1268099"/>
                    <a:gd name="connsiteX78" fmla="*/ 1271329 w 1524655"/>
                    <a:gd name="connsiteY78" fmla="*/ 250497 h 1268099"/>
                    <a:gd name="connsiteX79" fmla="*/ 1270807 w 1524655"/>
                    <a:gd name="connsiteY79" fmla="*/ 249355 h 1268099"/>
                    <a:gd name="connsiteX80" fmla="*/ 1268731 w 1524655"/>
                    <a:gd name="connsiteY80" fmla="*/ 246574 h 1268099"/>
                    <a:gd name="connsiteX81" fmla="*/ 1268221 w 1524655"/>
                    <a:gd name="connsiteY81" fmla="*/ 249671 h 1268099"/>
                    <a:gd name="connsiteX82" fmla="*/ 1268852 w 1524655"/>
                    <a:gd name="connsiteY82" fmla="*/ 253666 h 1268099"/>
                    <a:gd name="connsiteX83" fmla="*/ 1268973 w 1524655"/>
                    <a:gd name="connsiteY83" fmla="*/ 257102 h 1268099"/>
                    <a:gd name="connsiteX84" fmla="*/ 1264893 w 1524655"/>
                    <a:gd name="connsiteY84" fmla="*/ 259859 h 1268099"/>
                    <a:gd name="connsiteX85" fmla="*/ 1263752 w 1524655"/>
                    <a:gd name="connsiteY85" fmla="*/ 262870 h 1268099"/>
                    <a:gd name="connsiteX86" fmla="*/ 1262368 w 1524655"/>
                    <a:gd name="connsiteY86" fmla="*/ 269148 h 1268099"/>
                    <a:gd name="connsiteX87" fmla="*/ 1259441 w 1524655"/>
                    <a:gd name="connsiteY87" fmla="*/ 273374 h 1268099"/>
                    <a:gd name="connsiteX88" fmla="*/ 1248015 w 1524655"/>
                    <a:gd name="connsiteY88" fmla="*/ 286343 h 1268099"/>
                    <a:gd name="connsiteX89" fmla="*/ 1243825 w 1524655"/>
                    <a:gd name="connsiteY89" fmla="*/ 289099 h 1268099"/>
                    <a:gd name="connsiteX90" fmla="*/ 1242733 w 1524655"/>
                    <a:gd name="connsiteY90" fmla="*/ 289476 h 1268099"/>
                    <a:gd name="connsiteX91" fmla="*/ 1241057 w 1524655"/>
                    <a:gd name="connsiteY91" fmla="*/ 291224 h 1268099"/>
                    <a:gd name="connsiteX92" fmla="*/ 1239976 w 1524655"/>
                    <a:gd name="connsiteY92" fmla="*/ 291625 h 1268099"/>
                    <a:gd name="connsiteX93" fmla="*/ 1238883 w 1524655"/>
                    <a:gd name="connsiteY93" fmla="*/ 291431 h 1268099"/>
                    <a:gd name="connsiteX94" fmla="*/ 1238313 w 1524655"/>
                    <a:gd name="connsiteY94" fmla="*/ 290994 h 1268099"/>
                    <a:gd name="connsiteX95" fmla="*/ 1237900 w 1524655"/>
                    <a:gd name="connsiteY95" fmla="*/ 290593 h 1268099"/>
                    <a:gd name="connsiteX96" fmla="*/ 1237390 w 1524655"/>
                    <a:gd name="connsiteY96" fmla="*/ 290423 h 1268099"/>
                    <a:gd name="connsiteX97" fmla="*/ 1236916 w 1524655"/>
                    <a:gd name="connsiteY97" fmla="*/ 289840 h 1268099"/>
                    <a:gd name="connsiteX98" fmla="*/ 1236588 w 1524655"/>
                    <a:gd name="connsiteY98" fmla="*/ 288553 h 1268099"/>
                    <a:gd name="connsiteX99" fmla="*/ 1235835 w 1524655"/>
                    <a:gd name="connsiteY99" fmla="*/ 287181 h 1268099"/>
                    <a:gd name="connsiteX100" fmla="*/ 1234293 w 1524655"/>
                    <a:gd name="connsiteY100" fmla="*/ 286318 h 1268099"/>
                    <a:gd name="connsiteX101" fmla="*/ 1230322 w 1524655"/>
                    <a:gd name="connsiteY101" fmla="*/ 286573 h 1268099"/>
                    <a:gd name="connsiteX102" fmla="*/ 1229412 w 1524655"/>
                    <a:gd name="connsiteY102" fmla="*/ 288444 h 1268099"/>
                    <a:gd name="connsiteX103" fmla="*/ 1230735 w 1524655"/>
                    <a:gd name="connsiteY103" fmla="*/ 290593 h 1268099"/>
                    <a:gd name="connsiteX104" fmla="*/ 1235034 w 1524655"/>
                    <a:gd name="connsiteY104" fmla="*/ 292002 h 1268099"/>
                    <a:gd name="connsiteX105" fmla="*/ 1238835 w 1524655"/>
                    <a:gd name="connsiteY105" fmla="*/ 294066 h 1268099"/>
                    <a:gd name="connsiteX106" fmla="*/ 1239976 w 1524655"/>
                    <a:gd name="connsiteY106" fmla="*/ 294952 h 1268099"/>
                    <a:gd name="connsiteX107" fmla="*/ 1240085 w 1524655"/>
                    <a:gd name="connsiteY107" fmla="*/ 296628 h 1268099"/>
                    <a:gd name="connsiteX108" fmla="*/ 1238264 w 1524655"/>
                    <a:gd name="connsiteY108" fmla="*/ 297903 h 1268099"/>
                    <a:gd name="connsiteX109" fmla="*/ 1234293 w 1524655"/>
                    <a:gd name="connsiteY109" fmla="*/ 299627 h 1268099"/>
                    <a:gd name="connsiteX110" fmla="*/ 1231804 w 1524655"/>
                    <a:gd name="connsiteY110" fmla="*/ 301691 h 1268099"/>
                    <a:gd name="connsiteX111" fmla="*/ 1230322 w 1524655"/>
                    <a:gd name="connsiteY111" fmla="*/ 302432 h 1268099"/>
                    <a:gd name="connsiteX112" fmla="*/ 1223947 w 1524655"/>
                    <a:gd name="connsiteY112" fmla="*/ 302311 h 1268099"/>
                    <a:gd name="connsiteX113" fmla="*/ 1227857 w 1524655"/>
                    <a:gd name="connsiteY113" fmla="*/ 307569 h 1268099"/>
                    <a:gd name="connsiteX114" fmla="*/ 1228829 w 1524655"/>
                    <a:gd name="connsiteY114" fmla="*/ 310410 h 1268099"/>
                    <a:gd name="connsiteX115" fmla="*/ 1225793 w 1524655"/>
                    <a:gd name="connsiteY115" fmla="*/ 311673 h 1268099"/>
                    <a:gd name="connsiteX116" fmla="*/ 1223255 w 1524655"/>
                    <a:gd name="connsiteY116" fmla="*/ 312219 h 1268099"/>
                    <a:gd name="connsiteX117" fmla="*/ 1220790 w 1524655"/>
                    <a:gd name="connsiteY117" fmla="*/ 313531 h 1268099"/>
                    <a:gd name="connsiteX118" fmla="*/ 1216140 w 1524655"/>
                    <a:gd name="connsiteY118" fmla="*/ 316810 h 1268099"/>
                    <a:gd name="connsiteX119" fmla="*/ 1200524 w 1524655"/>
                    <a:gd name="connsiteY119" fmla="*/ 322444 h 1268099"/>
                    <a:gd name="connsiteX120" fmla="*/ 1193979 w 1524655"/>
                    <a:gd name="connsiteY120" fmla="*/ 327119 h 1268099"/>
                    <a:gd name="connsiteX121" fmla="*/ 1187725 w 1524655"/>
                    <a:gd name="connsiteY121" fmla="*/ 330142 h 1268099"/>
                    <a:gd name="connsiteX122" fmla="*/ 1183354 w 1524655"/>
                    <a:gd name="connsiteY122" fmla="*/ 333530 h 1268099"/>
                    <a:gd name="connsiteX123" fmla="*/ 1179456 w 1524655"/>
                    <a:gd name="connsiteY123" fmla="*/ 337343 h 1268099"/>
                    <a:gd name="connsiteX124" fmla="*/ 1178302 w 1524655"/>
                    <a:gd name="connsiteY124" fmla="*/ 338035 h 1268099"/>
                    <a:gd name="connsiteX125" fmla="*/ 1175133 w 1524655"/>
                    <a:gd name="connsiteY125" fmla="*/ 338837 h 1268099"/>
                    <a:gd name="connsiteX126" fmla="*/ 1173761 w 1524655"/>
                    <a:gd name="connsiteY126" fmla="*/ 339383 h 1268099"/>
                    <a:gd name="connsiteX127" fmla="*/ 1164629 w 1524655"/>
                    <a:gd name="connsiteY127" fmla="*/ 345904 h 1268099"/>
                    <a:gd name="connsiteX128" fmla="*/ 1163136 w 1524655"/>
                    <a:gd name="connsiteY128" fmla="*/ 345746 h 1268099"/>
                    <a:gd name="connsiteX129" fmla="*/ 1162103 w 1524655"/>
                    <a:gd name="connsiteY129" fmla="*/ 343451 h 1268099"/>
                    <a:gd name="connsiteX130" fmla="*/ 1159469 w 1524655"/>
                    <a:gd name="connsiteY130" fmla="*/ 345005 h 1268099"/>
                    <a:gd name="connsiteX131" fmla="*/ 1156663 w 1524655"/>
                    <a:gd name="connsiteY131" fmla="*/ 347167 h 1268099"/>
                    <a:gd name="connsiteX132" fmla="*/ 1153555 w 1524655"/>
                    <a:gd name="connsiteY132" fmla="*/ 349109 h 1268099"/>
                    <a:gd name="connsiteX133" fmla="*/ 1145795 w 1524655"/>
                    <a:gd name="connsiteY133" fmla="*/ 350980 h 1268099"/>
                    <a:gd name="connsiteX134" fmla="*/ 1138631 w 1524655"/>
                    <a:gd name="connsiteY134" fmla="*/ 355606 h 1268099"/>
                    <a:gd name="connsiteX135" fmla="*/ 1131212 w 1524655"/>
                    <a:gd name="connsiteY135" fmla="*/ 357634 h 1268099"/>
                    <a:gd name="connsiteX136" fmla="*/ 1085518 w 1524655"/>
                    <a:gd name="connsiteY136" fmla="*/ 385211 h 1268099"/>
                    <a:gd name="connsiteX137" fmla="*/ 1081207 w 1524655"/>
                    <a:gd name="connsiteY137" fmla="*/ 389740 h 1268099"/>
                    <a:gd name="connsiteX138" fmla="*/ 1078038 w 1524655"/>
                    <a:gd name="connsiteY138" fmla="*/ 395301 h 1268099"/>
                    <a:gd name="connsiteX139" fmla="*/ 1075743 w 1524655"/>
                    <a:gd name="connsiteY139" fmla="*/ 397961 h 1268099"/>
                    <a:gd name="connsiteX140" fmla="*/ 1069149 w 1524655"/>
                    <a:gd name="connsiteY140" fmla="*/ 400462 h 1268099"/>
                    <a:gd name="connsiteX141" fmla="*/ 1065919 w 1524655"/>
                    <a:gd name="connsiteY141" fmla="*/ 403704 h 1268099"/>
                    <a:gd name="connsiteX142" fmla="*/ 1060589 w 1524655"/>
                    <a:gd name="connsiteY142" fmla="*/ 410857 h 1268099"/>
                    <a:gd name="connsiteX143" fmla="*/ 1054894 w 1524655"/>
                    <a:gd name="connsiteY143" fmla="*/ 415969 h 1268099"/>
                    <a:gd name="connsiteX144" fmla="*/ 1052550 w 1524655"/>
                    <a:gd name="connsiteY144" fmla="*/ 419126 h 1268099"/>
                    <a:gd name="connsiteX145" fmla="*/ 1051166 w 1524655"/>
                    <a:gd name="connsiteY145" fmla="*/ 425270 h 1268099"/>
                    <a:gd name="connsiteX146" fmla="*/ 1043819 w 1524655"/>
                    <a:gd name="connsiteY146" fmla="*/ 438627 h 1268099"/>
                    <a:gd name="connsiteX147" fmla="*/ 1043479 w 1524655"/>
                    <a:gd name="connsiteY147" fmla="*/ 442756 h 1268099"/>
                    <a:gd name="connsiteX148" fmla="*/ 1044280 w 1524655"/>
                    <a:gd name="connsiteY148" fmla="*/ 447091 h 1268099"/>
                    <a:gd name="connsiteX149" fmla="*/ 1046697 w 1524655"/>
                    <a:gd name="connsiteY149" fmla="*/ 450540 h 1268099"/>
                    <a:gd name="connsiteX150" fmla="*/ 1052380 w 1524655"/>
                    <a:gd name="connsiteY150" fmla="*/ 452300 h 1268099"/>
                    <a:gd name="connsiteX151" fmla="*/ 1053351 w 1524655"/>
                    <a:gd name="connsiteY151" fmla="*/ 453090 h 1268099"/>
                    <a:gd name="connsiteX152" fmla="*/ 1054201 w 1524655"/>
                    <a:gd name="connsiteY152" fmla="*/ 453988 h 1268099"/>
                    <a:gd name="connsiteX153" fmla="*/ 1055367 w 1524655"/>
                    <a:gd name="connsiteY153" fmla="*/ 454559 h 1268099"/>
                    <a:gd name="connsiteX154" fmla="*/ 1056387 w 1524655"/>
                    <a:gd name="connsiteY154" fmla="*/ 454437 h 1268099"/>
                    <a:gd name="connsiteX155" fmla="*/ 1057771 w 1524655"/>
                    <a:gd name="connsiteY155" fmla="*/ 454000 h 1268099"/>
                    <a:gd name="connsiteX156" fmla="*/ 1058986 w 1524655"/>
                    <a:gd name="connsiteY156" fmla="*/ 453502 h 1268099"/>
                    <a:gd name="connsiteX157" fmla="*/ 1059216 w 1524655"/>
                    <a:gd name="connsiteY157" fmla="*/ 453126 h 1268099"/>
                    <a:gd name="connsiteX158" fmla="*/ 1062483 w 1524655"/>
                    <a:gd name="connsiteY158" fmla="*/ 454789 h 1268099"/>
                    <a:gd name="connsiteX159" fmla="*/ 1064438 w 1524655"/>
                    <a:gd name="connsiteY159" fmla="*/ 452155 h 1268099"/>
                    <a:gd name="connsiteX160" fmla="*/ 1064207 w 1524655"/>
                    <a:gd name="connsiteY160" fmla="*/ 445937 h 1268099"/>
                    <a:gd name="connsiteX161" fmla="*/ 1063454 w 1524655"/>
                    <a:gd name="connsiteY161" fmla="*/ 439453 h 1268099"/>
                    <a:gd name="connsiteX162" fmla="*/ 1061851 w 1524655"/>
                    <a:gd name="connsiteY162" fmla="*/ 433370 h 1268099"/>
                    <a:gd name="connsiteX163" fmla="*/ 1064207 w 1524655"/>
                    <a:gd name="connsiteY163" fmla="*/ 437304 h 1268099"/>
                    <a:gd name="connsiteX164" fmla="*/ 1065179 w 1524655"/>
                    <a:gd name="connsiteY164" fmla="*/ 442622 h 1268099"/>
                    <a:gd name="connsiteX165" fmla="*/ 1065349 w 1524655"/>
                    <a:gd name="connsiteY165" fmla="*/ 451924 h 1268099"/>
                    <a:gd name="connsiteX166" fmla="*/ 1065009 w 1524655"/>
                    <a:gd name="connsiteY166" fmla="*/ 461310 h 1268099"/>
                    <a:gd name="connsiteX167" fmla="*/ 1062483 w 1524655"/>
                    <a:gd name="connsiteY167" fmla="*/ 471012 h 1268099"/>
                    <a:gd name="connsiteX168" fmla="*/ 1061329 w 1524655"/>
                    <a:gd name="connsiteY168" fmla="*/ 481662 h 1268099"/>
                    <a:gd name="connsiteX169" fmla="*/ 1059836 w 1524655"/>
                    <a:gd name="connsiteY169" fmla="*/ 487005 h 1268099"/>
                    <a:gd name="connsiteX170" fmla="*/ 1055367 w 1524655"/>
                    <a:gd name="connsiteY170" fmla="*/ 496671 h 1268099"/>
                    <a:gd name="connsiteX171" fmla="*/ 1055027 w 1524655"/>
                    <a:gd name="connsiteY171" fmla="*/ 498286 h 1268099"/>
                    <a:gd name="connsiteX172" fmla="*/ 1055306 w 1524655"/>
                    <a:gd name="connsiteY172" fmla="*/ 499597 h 1268099"/>
                    <a:gd name="connsiteX173" fmla="*/ 1055136 w 1524655"/>
                    <a:gd name="connsiteY173" fmla="*/ 500556 h 1268099"/>
                    <a:gd name="connsiteX174" fmla="*/ 1053461 w 1524655"/>
                    <a:gd name="connsiteY174" fmla="*/ 500860 h 1268099"/>
                    <a:gd name="connsiteX175" fmla="*/ 1052550 w 1524655"/>
                    <a:gd name="connsiteY175" fmla="*/ 500144 h 1268099"/>
                    <a:gd name="connsiteX176" fmla="*/ 1051518 w 1524655"/>
                    <a:gd name="connsiteY176" fmla="*/ 497144 h 1268099"/>
                    <a:gd name="connsiteX177" fmla="*/ 1050243 w 1524655"/>
                    <a:gd name="connsiteY177" fmla="*/ 496658 h 1268099"/>
                    <a:gd name="connsiteX178" fmla="*/ 1049113 w 1524655"/>
                    <a:gd name="connsiteY178" fmla="*/ 498067 h 1268099"/>
                    <a:gd name="connsiteX179" fmla="*/ 1049963 w 1524655"/>
                    <a:gd name="connsiteY179" fmla="*/ 500824 h 1268099"/>
                    <a:gd name="connsiteX180" fmla="*/ 1051979 w 1524655"/>
                    <a:gd name="connsiteY180" fmla="*/ 503823 h 1268099"/>
                    <a:gd name="connsiteX181" fmla="*/ 1054104 w 1524655"/>
                    <a:gd name="connsiteY181" fmla="*/ 506009 h 1268099"/>
                    <a:gd name="connsiteX182" fmla="*/ 1045033 w 1524655"/>
                    <a:gd name="connsiteY182" fmla="*/ 508765 h 1268099"/>
                    <a:gd name="connsiteX183" fmla="*/ 1034566 w 1524655"/>
                    <a:gd name="connsiteY183" fmla="*/ 518929 h 1268099"/>
                    <a:gd name="connsiteX184" fmla="*/ 1031773 w 1524655"/>
                    <a:gd name="connsiteY184" fmla="*/ 520592 h 1268099"/>
                    <a:gd name="connsiteX185" fmla="*/ 1028883 w 1524655"/>
                    <a:gd name="connsiteY185" fmla="*/ 521200 h 1268099"/>
                    <a:gd name="connsiteX186" fmla="*/ 1019472 w 1524655"/>
                    <a:gd name="connsiteY186" fmla="*/ 525741 h 1268099"/>
                    <a:gd name="connsiteX187" fmla="*/ 1013450 w 1524655"/>
                    <a:gd name="connsiteY187" fmla="*/ 530100 h 1268099"/>
                    <a:gd name="connsiteX188" fmla="*/ 1009309 w 1524655"/>
                    <a:gd name="connsiteY188" fmla="*/ 532104 h 1268099"/>
                    <a:gd name="connsiteX189" fmla="*/ 1003456 w 1524655"/>
                    <a:gd name="connsiteY189" fmla="*/ 531436 h 1268099"/>
                    <a:gd name="connsiteX190" fmla="*/ 1000699 w 1524655"/>
                    <a:gd name="connsiteY190" fmla="*/ 533743 h 1268099"/>
                    <a:gd name="connsiteX191" fmla="*/ 997895 w 1524655"/>
                    <a:gd name="connsiteY191" fmla="*/ 536864 h 1268099"/>
                    <a:gd name="connsiteX192" fmla="*/ 995065 w 1524655"/>
                    <a:gd name="connsiteY192" fmla="*/ 539013 h 1268099"/>
                    <a:gd name="connsiteX193" fmla="*/ 993001 w 1524655"/>
                    <a:gd name="connsiteY193" fmla="*/ 539110 h 1268099"/>
                    <a:gd name="connsiteX194" fmla="*/ 990427 w 1524655"/>
                    <a:gd name="connsiteY194" fmla="*/ 538904 h 1268099"/>
                    <a:gd name="connsiteX195" fmla="*/ 988241 w 1524655"/>
                    <a:gd name="connsiteY195" fmla="*/ 539244 h 1268099"/>
                    <a:gd name="connsiteX196" fmla="*/ 986699 w 1524655"/>
                    <a:gd name="connsiteY196" fmla="*/ 542255 h 1268099"/>
                    <a:gd name="connsiteX197" fmla="*/ 985314 w 1524655"/>
                    <a:gd name="connsiteY197" fmla="*/ 542862 h 1268099"/>
                    <a:gd name="connsiteX198" fmla="*/ 977676 w 1524655"/>
                    <a:gd name="connsiteY198" fmla="*/ 543348 h 1268099"/>
                    <a:gd name="connsiteX199" fmla="*/ 974046 w 1524655"/>
                    <a:gd name="connsiteY199" fmla="*/ 544149 h 1268099"/>
                    <a:gd name="connsiteX200" fmla="*/ 970500 w 1524655"/>
                    <a:gd name="connsiteY200" fmla="*/ 545364 h 1268099"/>
                    <a:gd name="connsiteX201" fmla="*/ 955795 w 1524655"/>
                    <a:gd name="connsiteY201" fmla="*/ 552455 h 1268099"/>
                    <a:gd name="connsiteX202" fmla="*/ 951994 w 1524655"/>
                    <a:gd name="connsiteY202" fmla="*/ 555528 h 1268099"/>
                    <a:gd name="connsiteX203" fmla="*/ 943446 w 1524655"/>
                    <a:gd name="connsiteY203" fmla="*/ 557543 h 1268099"/>
                    <a:gd name="connsiteX204" fmla="*/ 942353 w 1524655"/>
                    <a:gd name="connsiteY204" fmla="*/ 557543 h 1268099"/>
                    <a:gd name="connsiteX205" fmla="*/ 939426 w 1524655"/>
                    <a:gd name="connsiteY205" fmla="*/ 557021 h 1268099"/>
                    <a:gd name="connsiteX206" fmla="*/ 935856 w 1524655"/>
                    <a:gd name="connsiteY206" fmla="*/ 554604 h 1268099"/>
                    <a:gd name="connsiteX207" fmla="*/ 931971 w 1524655"/>
                    <a:gd name="connsiteY207" fmla="*/ 552698 h 1268099"/>
                    <a:gd name="connsiteX208" fmla="*/ 928218 w 1524655"/>
                    <a:gd name="connsiteY208" fmla="*/ 553585 h 1268099"/>
                    <a:gd name="connsiteX209" fmla="*/ 925365 w 1524655"/>
                    <a:gd name="connsiteY209" fmla="*/ 552285 h 1268099"/>
                    <a:gd name="connsiteX210" fmla="*/ 918577 w 1524655"/>
                    <a:gd name="connsiteY210" fmla="*/ 551763 h 1268099"/>
                    <a:gd name="connsiteX211" fmla="*/ 915432 w 1524655"/>
                    <a:gd name="connsiteY211" fmla="*/ 550974 h 1268099"/>
                    <a:gd name="connsiteX212" fmla="*/ 916525 w 1524655"/>
                    <a:gd name="connsiteY212" fmla="*/ 548691 h 1268099"/>
                    <a:gd name="connsiteX213" fmla="*/ 915650 w 1524655"/>
                    <a:gd name="connsiteY213" fmla="*/ 546906 h 1268099"/>
                    <a:gd name="connsiteX214" fmla="*/ 913367 w 1524655"/>
                    <a:gd name="connsiteY214" fmla="*/ 545850 h 1268099"/>
                    <a:gd name="connsiteX215" fmla="*/ 910198 w 1524655"/>
                    <a:gd name="connsiteY215" fmla="*/ 545728 h 1268099"/>
                    <a:gd name="connsiteX216" fmla="*/ 911862 w 1524655"/>
                    <a:gd name="connsiteY216" fmla="*/ 549832 h 1268099"/>
                    <a:gd name="connsiteX217" fmla="*/ 909397 w 1524655"/>
                    <a:gd name="connsiteY217" fmla="*/ 550270 h 1268099"/>
                    <a:gd name="connsiteX218" fmla="*/ 901880 w 1524655"/>
                    <a:gd name="connsiteY218" fmla="*/ 548230 h 1268099"/>
                    <a:gd name="connsiteX219" fmla="*/ 898031 w 1524655"/>
                    <a:gd name="connsiteY219" fmla="*/ 548630 h 1268099"/>
                    <a:gd name="connsiteX220" fmla="*/ 887066 w 1524655"/>
                    <a:gd name="connsiteY220" fmla="*/ 552188 h 1268099"/>
                    <a:gd name="connsiteX221" fmla="*/ 887867 w 1524655"/>
                    <a:gd name="connsiteY221" fmla="*/ 550088 h 1268099"/>
                    <a:gd name="connsiteX222" fmla="*/ 888778 w 1524655"/>
                    <a:gd name="connsiteY222" fmla="*/ 548594 h 1268099"/>
                    <a:gd name="connsiteX223" fmla="*/ 889191 w 1524655"/>
                    <a:gd name="connsiteY223" fmla="*/ 547258 h 1268099"/>
                    <a:gd name="connsiteX224" fmla="*/ 888438 w 1524655"/>
                    <a:gd name="connsiteY224" fmla="*/ 545728 h 1268099"/>
                    <a:gd name="connsiteX225" fmla="*/ 886034 w 1524655"/>
                    <a:gd name="connsiteY225" fmla="*/ 544004 h 1268099"/>
                    <a:gd name="connsiteX226" fmla="*/ 883727 w 1524655"/>
                    <a:gd name="connsiteY226" fmla="*/ 544004 h 1268099"/>
                    <a:gd name="connsiteX227" fmla="*/ 881432 w 1524655"/>
                    <a:gd name="connsiteY227" fmla="*/ 545121 h 1268099"/>
                    <a:gd name="connsiteX228" fmla="*/ 879367 w 1524655"/>
                    <a:gd name="connsiteY228" fmla="*/ 546894 h 1268099"/>
                    <a:gd name="connsiteX229" fmla="*/ 876319 w 1524655"/>
                    <a:gd name="connsiteY229" fmla="*/ 545594 h 1268099"/>
                    <a:gd name="connsiteX230" fmla="*/ 873612 w 1524655"/>
                    <a:gd name="connsiteY230" fmla="*/ 545728 h 1268099"/>
                    <a:gd name="connsiteX231" fmla="*/ 871037 w 1524655"/>
                    <a:gd name="connsiteY231" fmla="*/ 546481 h 1268099"/>
                    <a:gd name="connsiteX232" fmla="*/ 868402 w 1524655"/>
                    <a:gd name="connsiteY232" fmla="*/ 546906 h 1268099"/>
                    <a:gd name="connsiteX233" fmla="*/ 857546 w 1524655"/>
                    <a:gd name="connsiteY233" fmla="*/ 553609 h 1268099"/>
                    <a:gd name="connsiteX234" fmla="*/ 855470 w 1524655"/>
                    <a:gd name="connsiteY234" fmla="*/ 556037 h 1268099"/>
                    <a:gd name="connsiteX235" fmla="*/ 855761 w 1524655"/>
                    <a:gd name="connsiteY235" fmla="*/ 557798 h 1268099"/>
                    <a:gd name="connsiteX236" fmla="*/ 856915 w 1524655"/>
                    <a:gd name="connsiteY236" fmla="*/ 559571 h 1268099"/>
                    <a:gd name="connsiteX237" fmla="*/ 857546 w 1524655"/>
                    <a:gd name="connsiteY237" fmla="*/ 562097 h 1268099"/>
                    <a:gd name="connsiteX238" fmla="*/ 856575 w 1524655"/>
                    <a:gd name="connsiteY238" fmla="*/ 565424 h 1268099"/>
                    <a:gd name="connsiteX239" fmla="*/ 852082 w 1524655"/>
                    <a:gd name="connsiteY239" fmla="*/ 570755 h 1268099"/>
                    <a:gd name="connsiteX240" fmla="*/ 849848 w 1524655"/>
                    <a:gd name="connsiteY240" fmla="*/ 579255 h 1268099"/>
                    <a:gd name="connsiteX241" fmla="*/ 844578 w 1524655"/>
                    <a:gd name="connsiteY241" fmla="*/ 590912 h 1268099"/>
                    <a:gd name="connsiteX242" fmla="*/ 842623 w 1524655"/>
                    <a:gd name="connsiteY242" fmla="*/ 600930 h 1268099"/>
                    <a:gd name="connsiteX243" fmla="*/ 839283 w 1524655"/>
                    <a:gd name="connsiteY243" fmla="*/ 606649 h 1268099"/>
                    <a:gd name="connsiteX244" fmla="*/ 838130 w 1524655"/>
                    <a:gd name="connsiteY244" fmla="*/ 610207 h 1268099"/>
                    <a:gd name="connsiteX245" fmla="*/ 838021 w 1524655"/>
                    <a:gd name="connsiteY245" fmla="*/ 620432 h 1268099"/>
                    <a:gd name="connsiteX246" fmla="*/ 837001 w 1524655"/>
                    <a:gd name="connsiteY246" fmla="*/ 623467 h 1268099"/>
                    <a:gd name="connsiteX247" fmla="*/ 834232 w 1524655"/>
                    <a:gd name="connsiteY247" fmla="*/ 624074 h 1268099"/>
                    <a:gd name="connsiteX248" fmla="*/ 825453 w 1524655"/>
                    <a:gd name="connsiteY248" fmla="*/ 632781 h 1268099"/>
                    <a:gd name="connsiteX249" fmla="*/ 817001 w 1524655"/>
                    <a:gd name="connsiteY249" fmla="*/ 638002 h 1268099"/>
                    <a:gd name="connsiteX250" fmla="*/ 813905 w 1524655"/>
                    <a:gd name="connsiteY250" fmla="*/ 640564 h 1268099"/>
                    <a:gd name="connsiteX251" fmla="*/ 808683 w 1524655"/>
                    <a:gd name="connsiteY251" fmla="*/ 647110 h 1268099"/>
                    <a:gd name="connsiteX252" fmla="*/ 808574 w 1524655"/>
                    <a:gd name="connsiteY252" fmla="*/ 649429 h 1268099"/>
                    <a:gd name="connsiteX253" fmla="*/ 809424 w 1524655"/>
                    <a:gd name="connsiteY253" fmla="*/ 651238 h 1268099"/>
                    <a:gd name="connsiteX254" fmla="*/ 810517 w 1524655"/>
                    <a:gd name="connsiteY254" fmla="*/ 652671 h 1268099"/>
                    <a:gd name="connsiteX255" fmla="*/ 811209 w 1524655"/>
                    <a:gd name="connsiteY255" fmla="*/ 653788 h 1268099"/>
                    <a:gd name="connsiteX256" fmla="*/ 812472 w 1524655"/>
                    <a:gd name="connsiteY256" fmla="*/ 657552 h 1268099"/>
                    <a:gd name="connsiteX257" fmla="*/ 812472 w 1524655"/>
                    <a:gd name="connsiteY257" fmla="*/ 659143 h 1268099"/>
                    <a:gd name="connsiteX258" fmla="*/ 811209 w 1524655"/>
                    <a:gd name="connsiteY258" fmla="*/ 660345 h 1268099"/>
                    <a:gd name="connsiteX259" fmla="*/ 809776 w 1524655"/>
                    <a:gd name="connsiteY259" fmla="*/ 660224 h 1268099"/>
                    <a:gd name="connsiteX260" fmla="*/ 808112 w 1524655"/>
                    <a:gd name="connsiteY260" fmla="*/ 659107 h 1268099"/>
                    <a:gd name="connsiteX261" fmla="*/ 806680 w 1524655"/>
                    <a:gd name="connsiteY261" fmla="*/ 657795 h 1268099"/>
                    <a:gd name="connsiteX262" fmla="*/ 804943 w 1524655"/>
                    <a:gd name="connsiteY262" fmla="*/ 655440 h 1268099"/>
                    <a:gd name="connsiteX263" fmla="*/ 799369 w 1524655"/>
                    <a:gd name="connsiteY263" fmla="*/ 650728 h 1268099"/>
                    <a:gd name="connsiteX264" fmla="*/ 797767 w 1524655"/>
                    <a:gd name="connsiteY264" fmla="*/ 649757 h 1268099"/>
                    <a:gd name="connsiteX265" fmla="*/ 794209 w 1524655"/>
                    <a:gd name="connsiteY265" fmla="*/ 648664 h 1268099"/>
                    <a:gd name="connsiteX266" fmla="*/ 792023 w 1524655"/>
                    <a:gd name="connsiteY266" fmla="*/ 645956 h 1268099"/>
                    <a:gd name="connsiteX267" fmla="*/ 790942 w 1524655"/>
                    <a:gd name="connsiteY267" fmla="*/ 642398 h 1268099"/>
                    <a:gd name="connsiteX268" fmla="*/ 790651 w 1524655"/>
                    <a:gd name="connsiteY268" fmla="*/ 638634 h 1268099"/>
                    <a:gd name="connsiteX269" fmla="*/ 792023 w 1524655"/>
                    <a:gd name="connsiteY269" fmla="*/ 624196 h 1268099"/>
                    <a:gd name="connsiteX270" fmla="*/ 791792 w 1524655"/>
                    <a:gd name="connsiteY270" fmla="*/ 620808 h 1268099"/>
                    <a:gd name="connsiteX271" fmla="*/ 791270 w 1524655"/>
                    <a:gd name="connsiteY271" fmla="*/ 617675 h 1268099"/>
                    <a:gd name="connsiteX272" fmla="*/ 789449 w 1524655"/>
                    <a:gd name="connsiteY272" fmla="*/ 611652 h 1268099"/>
                    <a:gd name="connsiteX273" fmla="*/ 788696 w 1524655"/>
                    <a:gd name="connsiteY273" fmla="*/ 613607 h 1268099"/>
                    <a:gd name="connsiteX274" fmla="*/ 789449 w 1524655"/>
                    <a:gd name="connsiteY274" fmla="*/ 615611 h 1268099"/>
                    <a:gd name="connsiteX275" fmla="*/ 788064 w 1524655"/>
                    <a:gd name="connsiteY275" fmla="*/ 616898 h 1268099"/>
                    <a:gd name="connsiteX276" fmla="*/ 787445 w 1524655"/>
                    <a:gd name="connsiteY276" fmla="*/ 615951 h 1268099"/>
                    <a:gd name="connsiteX277" fmla="*/ 786923 w 1524655"/>
                    <a:gd name="connsiteY277" fmla="*/ 615428 h 1268099"/>
                    <a:gd name="connsiteX278" fmla="*/ 785490 w 1524655"/>
                    <a:gd name="connsiteY278" fmla="*/ 614275 h 1268099"/>
                    <a:gd name="connsiteX279" fmla="*/ 788477 w 1524655"/>
                    <a:gd name="connsiteY279" fmla="*/ 621803 h 1268099"/>
                    <a:gd name="connsiteX280" fmla="*/ 789327 w 1524655"/>
                    <a:gd name="connsiteY280" fmla="*/ 629927 h 1268099"/>
                    <a:gd name="connsiteX281" fmla="*/ 788295 w 1524655"/>
                    <a:gd name="connsiteY281" fmla="*/ 637771 h 1268099"/>
                    <a:gd name="connsiteX282" fmla="*/ 781811 w 1524655"/>
                    <a:gd name="connsiteY282" fmla="*/ 651724 h 1268099"/>
                    <a:gd name="connsiteX283" fmla="*/ 777039 w 1524655"/>
                    <a:gd name="connsiteY283" fmla="*/ 666162 h 1268099"/>
                    <a:gd name="connsiteX284" fmla="*/ 775144 w 1524655"/>
                    <a:gd name="connsiteY284" fmla="*/ 670108 h 1268099"/>
                    <a:gd name="connsiteX285" fmla="*/ 772740 w 1524655"/>
                    <a:gd name="connsiteY285" fmla="*/ 672160 h 1268099"/>
                    <a:gd name="connsiteX286" fmla="*/ 772898 w 1524655"/>
                    <a:gd name="connsiteY286" fmla="*/ 655294 h 1268099"/>
                    <a:gd name="connsiteX287" fmla="*/ 771866 w 1524655"/>
                    <a:gd name="connsiteY287" fmla="*/ 647935 h 1268099"/>
                    <a:gd name="connsiteX288" fmla="*/ 766875 w 1524655"/>
                    <a:gd name="connsiteY288" fmla="*/ 639884 h 1268099"/>
                    <a:gd name="connsiteX289" fmla="*/ 763888 w 1524655"/>
                    <a:gd name="connsiteY289" fmla="*/ 638184 h 1268099"/>
                    <a:gd name="connsiteX290" fmla="*/ 759407 w 1524655"/>
                    <a:gd name="connsiteY290" fmla="*/ 637298 h 1268099"/>
                    <a:gd name="connsiteX291" fmla="*/ 750798 w 1524655"/>
                    <a:gd name="connsiteY291" fmla="*/ 636727 h 1268099"/>
                    <a:gd name="connsiteX292" fmla="*/ 749304 w 1524655"/>
                    <a:gd name="connsiteY292" fmla="*/ 636205 h 1268099"/>
                    <a:gd name="connsiteX293" fmla="*/ 748151 w 1524655"/>
                    <a:gd name="connsiteY293" fmla="*/ 635452 h 1268099"/>
                    <a:gd name="connsiteX294" fmla="*/ 747021 w 1524655"/>
                    <a:gd name="connsiteY294" fmla="*/ 635367 h 1268099"/>
                    <a:gd name="connsiteX295" fmla="*/ 745686 w 1524655"/>
                    <a:gd name="connsiteY295" fmla="*/ 636715 h 1268099"/>
                    <a:gd name="connsiteX296" fmla="*/ 745164 w 1524655"/>
                    <a:gd name="connsiteY296" fmla="*/ 638002 h 1268099"/>
                    <a:gd name="connsiteX297" fmla="*/ 745625 w 1524655"/>
                    <a:gd name="connsiteY297" fmla="*/ 638889 h 1268099"/>
                    <a:gd name="connsiteX298" fmla="*/ 737307 w 1524655"/>
                    <a:gd name="connsiteY298" fmla="*/ 639192 h 1268099"/>
                    <a:gd name="connsiteX299" fmla="*/ 733858 w 1524655"/>
                    <a:gd name="connsiteY299" fmla="*/ 640236 h 1268099"/>
                    <a:gd name="connsiteX300" fmla="*/ 730920 w 1524655"/>
                    <a:gd name="connsiteY300" fmla="*/ 642107 h 1268099"/>
                    <a:gd name="connsiteX301" fmla="*/ 728455 w 1524655"/>
                    <a:gd name="connsiteY301" fmla="*/ 642847 h 1268099"/>
                    <a:gd name="connsiteX302" fmla="*/ 726512 w 1524655"/>
                    <a:gd name="connsiteY302" fmla="*/ 640528 h 1268099"/>
                    <a:gd name="connsiteX303" fmla="*/ 725188 w 1524655"/>
                    <a:gd name="connsiteY303" fmla="*/ 640528 h 1268099"/>
                    <a:gd name="connsiteX304" fmla="*/ 722893 w 1524655"/>
                    <a:gd name="connsiteY304" fmla="*/ 642969 h 1268099"/>
                    <a:gd name="connsiteX305" fmla="*/ 719967 w 1524655"/>
                    <a:gd name="connsiteY305" fmla="*/ 645118 h 1268099"/>
                    <a:gd name="connsiteX306" fmla="*/ 713592 w 1524655"/>
                    <a:gd name="connsiteY306" fmla="*/ 648506 h 1268099"/>
                    <a:gd name="connsiteX307" fmla="*/ 711868 w 1524655"/>
                    <a:gd name="connsiteY307" fmla="*/ 649052 h 1268099"/>
                    <a:gd name="connsiteX308" fmla="*/ 710556 w 1524655"/>
                    <a:gd name="connsiteY308" fmla="*/ 649150 h 1268099"/>
                    <a:gd name="connsiteX309" fmla="*/ 709281 w 1524655"/>
                    <a:gd name="connsiteY309" fmla="*/ 649404 h 1268099"/>
                    <a:gd name="connsiteX310" fmla="*/ 707848 w 1524655"/>
                    <a:gd name="connsiteY310" fmla="*/ 650352 h 1268099"/>
                    <a:gd name="connsiteX311" fmla="*/ 704861 w 1524655"/>
                    <a:gd name="connsiteY311" fmla="*/ 653278 h 1268099"/>
                    <a:gd name="connsiteX312" fmla="*/ 703137 w 1524655"/>
                    <a:gd name="connsiteY312" fmla="*/ 654456 h 1268099"/>
                    <a:gd name="connsiteX313" fmla="*/ 695098 w 1524655"/>
                    <a:gd name="connsiteY313" fmla="*/ 656642 h 1268099"/>
                    <a:gd name="connsiteX314" fmla="*/ 688784 w 1524655"/>
                    <a:gd name="connsiteY314" fmla="*/ 660722 h 1268099"/>
                    <a:gd name="connsiteX315" fmla="*/ 673800 w 1524655"/>
                    <a:gd name="connsiteY315" fmla="*/ 675160 h 1268099"/>
                    <a:gd name="connsiteX316" fmla="*/ 670691 w 1524655"/>
                    <a:gd name="connsiteY316" fmla="*/ 680187 h 1268099"/>
                    <a:gd name="connsiteX317" fmla="*/ 662494 w 1524655"/>
                    <a:gd name="connsiteY317" fmla="*/ 700733 h 1268099"/>
                    <a:gd name="connsiteX318" fmla="*/ 662081 w 1524655"/>
                    <a:gd name="connsiteY318" fmla="*/ 704448 h 1268099"/>
                    <a:gd name="connsiteX319" fmla="*/ 659094 w 1524655"/>
                    <a:gd name="connsiteY319" fmla="*/ 710192 h 1268099"/>
                    <a:gd name="connsiteX320" fmla="*/ 658414 w 1524655"/>
                    <a:gd name="connsiteY320" fmla="*/ 713106 h 1268099"/>
                    <a:gd name="connsiteX321" fmla="*/ 660928 w 1524655"/>
                    <a:gd name="connsiteY321" fmla="*/ 714357 h 1268099"/>
                    <a:gd name="connsiteX322" fmla="*/ 658924 w 1524655"/>
                    <a:gd name="connsiteY322" fmla="*/ 717138 h 1268099"/>
                    <a:gd name="connsiteX323" fmla="*/ 655816 w 1524655"/>
                    <a:gd name="connsiteY323" fmla="*/ 722894 h 1268099"/>
                    <a:gd name="connsiteX324" fmla="*/ 653751 w 1524655"/>
                    <a:gd name="connsiteY324" fmla="*/ 725565 h 1268099"/>
                    <a:gd name="connsiteX325" fmla="*/ 647607 w 1524655"/>
                    <a:gd name="connsiteY325" fmla="*/ 731685 h 1268099"/>
                    <a:gd name="connsiteX326" fmla="*/ 645094 w 1524655"/>
                    <a:gd name="connsiteY326" fmla="*/ 735207 h 1268099"/>
                    <a:gd name="connsiteX327" fmla="*/ 644049 w 1524655"/>
                    <a:gd name="connsiteY327" fmla="*/ 738679 h 1268099"/>
                    <a:gd name="connsiteX328" fmla="*/ 638306 w 1524655"/>
                    <a:gd name="connsiteY328" fmla="*/ 751175 h 1268099"/>
                    <a:gd name="connsiteX329" fmla="*/ 638658 w 1524655"/>
                    <a:gd name="connsiteY329" fmla="*/ 752777 h 1268099"/>
                    <a:gd name="connsiteX330" fmla="*/ 636751 w 1524655"/>
                    <a:gd name="connsiteY330" fmla="*/ 770518 h 1268099"/>
                    <a:gd name="connsiteX331" fmla="*/ 631238 w 1524655"/>
                    <a:gd name="connsiteY331" fmla="*/ 791914 h 1268099"/>
                    <a:gd name="connsiteX332" fmla="*/ 631530 w 1524655"/>
                    <a:gd name="connsiteY332" fmla="*/ 806959 h 1268099"/>
                    <a:gd name="connsiteX333" fmla="*/ 632853 w 1524655"/>
                    <a:gd name="connsiteY333" fmla="*/ 814512 h 1268099"/>
                    <a:gd name="connsiteX334" fmla="*/ 635100 w 1524655"/>
                    <a:gd name="connsiteY334" fmla="*/ 820778 h 1268099"/>
                    <a:gd name="connsiteX335" fmla="*/ 635039 w 1524655"/>
                    <a:gd name="connsiteY335" fmla="*/ 824906 h 1268099"/>
                    <a:gd name="connsiteX336" fmla="*/ 641062 w 1524655"/>
                    <a:gd name="connsiteY336" fmla="*/ 854948 h 1268099"/>
                    <a:gd name="connsiteX337" fmla="*/ 641584 w 1524655"/>
                    <a:gd name="connsiteY337" fmla="*/ 864407 h 1268099"/>
                    <a:gd name="connsiteX338" fmla="*/ 642094 w 1524655"/>
                    <a:gd name="connsiteY338" fmla="*/ 866253 h 1268099"/>
                    <a:gd name="connsiteX339" fmla="*/ 643248 w 1524655"/>
                    <a:gd name="connsiteY339" fmla="*/ 867516 h 1268099"/>
                    <a:gd name="connsiteX340" fmla="*/ 645373 w 1524655"/>
                    <a:gd name="connsiteY340" fmla="*/ 869398 h 1268099"/>
                    <a:gd name="connsiteX341" fmla="*/ 649805 w 1524655"/>
                    <a:gd name="connsiteY341" fmla="*/ 872373 h 1268099"/>
                    <a:gd name="connsiteX342" fmla="*/ 651286 w 1524655"/>
                    <a:gd name="connsiteY342" fmla="*/ 874316 h 1268099"/>
                    <a:gd name="connsiteX343" fmla="*/ 652549 w 1524655"/>
                    <a:gd name="connsiteY343" fmla="*/ 880922 h 1268099"/>
                    <a:gd name="connsiteX344" fmla="*/ 653873 w 1524655"/>
                    <a:gd name="connsiteY344" fmla="*/ 883168 h 1268099"/>
                    <a:gd name="connsiteX345" fmla="*/ 654796 w 1524655"/>
                    <a:gd name="connsiteY345" fmla="*/ 885220 h 1268099"/>
                    <a:gd name="connsiteX346" fmla="*/ 654334 w 1524655"/>
                    <a:gd name="connsiteY346" fmla="*/ 887661 h 1268099"/>
                    <a:gd name="connsiteX347" fmla="*/ 653120 w 1524655"/>
                    <a:gd name="connsiteY347" fmla="*/ 889046 h 1268099"/>
                    <a:gd name="connsiteX348" fmla="*/ 651517 w 1524655"/>
                    <a:gd name="connsiteY348" fmla="*/ 890199 h 1268099"/>
                    <a:gd name="connsiteX349" fmla="*/ 647947 w 1524655"/>
                    <a:gd name="connsiteY349" fmla="*/ 891826 h 1268099"/>
                    <a:gd name="connsiteX350" fmla="*/ 649283 w 1524655"/>
                    <a:gd name="connsiteY350" fmla="*/ 893053 h 1268099"/>
                    <a:gd name="connsiteX351" fmla="*/ 651238 w 1524655"/>
                    <a:gd name="connsiteY351" fmla="*/ 892907 h 1268099"/>
                    <a:gd name="connsiteX352" fmla="*/ 655706 w 1524655"/>
                    <a:gd name="connsiteY352" fmla="*/ 891863 h 1268099"/>
                    <a:gd name="connsiteX353" fmla="*/ 656981 w 1524655"/>
                    <a:gd name="connsiteY353" fmla="*/ 891826 h 1268099"/>
                    <a:gd name="connsiteX354" fmla="*/ 658232 w 1524655"/>
                    <a:gd name="connsiteY354" fmla="*/ 893053 h 1268099"/>
                    <a:gd name="connsiteX355" fmla="*/ 658123 w 1524655"/>
                    <a:gd name="connsiteY355" fmla="*/ 894170 h 1268099"/>
                    <a:gd name="connsiteX356" fmla="*/ 657431 w 1524655"/>
                    <a:gd name="connsiteY356" fmla="*/ 895287 h 1268099"/>
                    <a:gd name="connsiteX357" fmla="*/ 656981 w 1524655"/>
                    <a:gd name="connsiteY357" fmla="*/ 896392 h 1268099"/>
                    <a:gd name="connsiteX358" fmla="*/ 656629 w 1524655"/>
                    <a:gd name="connsiteY358" fmla="*/ 900581 h 1268099"/>
                    <a:gd name="connsiteX359" fmla="*/ 654334 w 1524655"/>
                    <a:gd name="connsiteY359" fmla="*/ 911473 h 1268099"/>
                    <a:gd name="connsiteX360" fmla="*/ 654844 w 1524655"/>
                    <a:gd name="connsiteY360" fmla="*/ 926664 h 1268099"/>
                    <a:gd name="connsiteX361" fmla="*/ 654164 w 1524655"/>
                    <a:gd name="connsiteY361" fmla="*/ 935262 h 1268099"/>
                    <a:gd name="connsiteX362" fmla="*/ 651238 w 1524655"/>
                    <a:gd name="connsiteY362" fmla="*/ 939026 h 1268099"/>
                    <a:gd name="connsiteX363" fmla="*/ 647036 w 1524655"/>
                    <a:gd name="connsiteY363" fmla="*/ 949529 h 1268099"/>
                    <a:gd name="connsiteX364" fmla="*/ 645373 w 1524655"/>
                    <a:gd name="connsiteY364" fmla="*/ 952079 h 1268099"/>
                    <a:gd name="connsiteX365" fmla="*/ 639690 w 1524655"/>
                    <a:gd name="connsiteY365" fmla="*/ 952517 h 1268099"/>
                    <a:gd name="connsiteX366" fmla="*/ 637674 w 1524655"/>
                    <a:gd name="connsiteY366" fmla="*/ 953281 h 1268099"/>
                    <a:gd name="connsiteX367" fmla="*/ 634809 w 1524655"/>
                    <a:gd name="connsiteY367" fmla="*/ 956730 h 1268099"/>
                    <a:gd name="connsiteX368" fmla="*/ 634469 w 1524655"/>
                    <a:gd name="connsiteY368" fmla="*/ 957301 h 1268099"/>
                    <a:gd name="connsiteX369" fmla="*/ 631651 w 1524655"/>
                    <a:gd name="connsiteY369" fmla="*/ 958758 h 1268099"/>
                    <a:gd name="connsiteX370" fmla="*/ 630049 w 1524655"/>
                    <a:gd name="connsiteY370" fmla="*/ 961636 h 1268099"/>
                    <a:gd name="connsiteX371" fmla="*/ 630838 w 1524655"/>
                    <a:gd name="connsiteY371" fmla="*/ 963639 h 1268099"/>
                    <a:gd name="connsiteX372" fmla="*/ 635100 w 1524655"/>
                    <a:gd name="connsiteY372" fmla="*/ 962546 h 1268099"/>
                    <a:gd name="connsiteX373" fmla="*/ 638366 w 1524655"/>
                    <a:gd name="connsiteY373" fmla="*/ 959681 h 1268099"/>
                    <a:gd name="connsiteX374" fmla="*/ 641305 w 1524655"/>
                    <a:gd name="connsiteY374" fmla="*/ 956390 h 1268099"/>
                    <a:gd name="connsiteX375" fmla="*/ 644049 w 1524655"/>
                    <a:gd name="connsiteY375" fmla="*/ 954860 h 1268099"/>
                    <a:gd name="connsiteX376" fmla="*/ 646745 w 1524655"/>
                    <a:gd name="connsiteY376" fmla="*/ 957301 h 1268099"/>
                    <a:gd name="connsiteX377" fmla="*/ 644450 w 1524655"/>
                    <a:gd name="connsiteY377" fmla="*/ 964125 h 1268099"/>
                    <a:gd name="connsiteX378" fmla="*/ 644911 w 1524655"/>
                    <a:gd name="connsiteY378" fmla="*/ 972746 h 1268099"/>
                    <a:gd name="connsiteX379" fmla="*/ 649392 w 1524655"/>
                    <a:gd name="connsiteY379" fmla="*/ 995830 h 1268099"/>
                    <a:gd name="connsiteX380" fmla="*/ 652088 w 1524655"/>
                    <a:gd name="connsiteY380" fmla="*/ 1003432 h 1268099"/>
                    <a:gd name="connsiteX381" fmla="*/ 665809 w 1524655"/>
                    <a:gd name="connsiteY381" fmla="*/ 1031810 h 1268099"/>
                    <a:gd name="connsiteX382" fmla="*/ 668056 w 1524655"/>
                    <a:gd name="connsiteY382" fmla="*/ 1039314 h 1268099"/>
                    <a:gd name="connsiteX383" fmla="*/ 667364 w 1524655"/>
                    <a:gd name="connsiteY383" fmla="*/ 1047839 h 1268099"/>
                    <a:gd name="connsiteX384" fmla="*/ 663988 w 1524655"/>
                    <a:gd name="connsiteY384" fmla="*/ 1054578 h 1268099"/>
                    <a:gd name="connsiteX385" fmla="*/ 662774 w 1524655"/>
                    <a:gd name="connsiteY385" fmla="*/ 1059047 h 1268099"/>
                    <a:gd name="connsiteX386" fmla="*/ 664037 w 1524655"/>
                    <a:gd name="connsiteY386" fmla="*/ 1062847 h 1268099"/>
                    <a:gd name="connsiteX387" fmla="*/ 665992 w 1524655"/>
                    <a:gd name="connsiteY387" fmla="*/ 1066065 h 1268099"/>
                    <a:gd name="connsiteX388" fmla="*/ 669889 w 1524655"/>
                    <a:gd name="connsiteY388" fmla="*/ 1079143 h 1268099"/>
                    <a:gd name="connsiteX389" fmla="*/ 675342 w 1524655"/>
                    <a:gd name="connsiteY389" fmla="*/ 1091480 h 1268099"/>
                    <a:gd name="connsiteX390" fmla="*/ 675342 w 1524655"/>
                    <a:gd name="connsiteY390" fmla="*/ 1091517 h 1268099"/>
                    <a:gd name="connsiteX391" fmla="*/ 674832 w 1524655"/>
                    <a:gd name="connsiteY391" fmla="*/ 1092233 h 1268099"/>
                    <a:gd name="connsiteX392" fmla="*/ 673569 w 1524655"/>
                    <a:gd name="connsiteY392" fmla="*/ 1093933 h 1268099"/>
                    <a:gd name="connsiteX393" fmla="*/ 673399 w 1524655"/>
                    <a:gd name="connsiteY393" fmla="*/ 1094273 h 1268099"/>
                    <a:gd name="connsiteX394" fmla="*/ 667364 w 1524655"/>
                    <a:gd name="connsiteY394" fmla="*/ 1079155 h 1268099"/>
                    <a:gd name="connsiteX395" fmla="*/ 658293 w 1524655"/>
                    <a:gd name="connsiteY395" fmla="*/ 1069259 h 1268099"/>
                    <a:gd name="connsiteX396" fmla="*/ 655767 w 1524655"/>
                    <a:gd name="connsiteY396" fmla="*/ 1062471 h 1268099"/>
                    <a:gd name="connsiteX397" fmla="*/ 649914 w 1524655"/>
                    <a:gd name="connsiteY397" fmla="*/ 1054857 h 1268099"/>
                    <a:gd name="connsiteX398" fmla="*/ 647947 w 1524655"/>
                    <a:gd name="connsiteY398" fmla="*/ 1052963 h 1268099"/>
                    <a:gd name="connsiteX399" fmla="*/ 647898 w 1524655"/>
                    <a:gd name="connsiteY399" fmla="*/ 1068214 h 1268099"/>
                    <a:gd name="connsiteX400" fmla="*/ 646745 w 1524655"/>
                    <a:gd name="connsiteY400" fmla="*/ 1073958 h 1268099"/>
                    <a:gd name="connsiteX401" fmla="*/ 644049 w 1524655"/>
                    <a:gd name="connsiteY401" fmla="*/ 1072380 h 1268099"/>
                    <a:gd name="connsiteX402" fmla="*/ 643418 w 1524655"/>
                    <a:gd name="connsiteY402" fmla="*/ 1070169 h 1268099"/>
                    <a:gd name="connsiteX403" fmla="*/ 644049 w 1524655"/>
                    <a:gd name="connsiteY403" fmla="*/ 1065397 h 1268099"/>
                    <a:gd name="connsiteX404" fmla="*/ 643418 w 1524655"/>
                    <a:gd name="connsiteY404" fmla="*/ 1063345 h 1268099"/>
                    <a:gd name="connsiteX405" fmla="*/ 641924 w 1524655"/>
                    <a:gd name="connsiteY405" fmla="*/ 1062143 h 1268099"/>
                    <a:gd name="connsiteX406" fmla="*/ 640261 w 1524655"/>
                    <a:gd name="connsiteY406" fmla="*/ 1061111 h 1268099"/>
                    <a:gd name="connsiteX407" fmla="*/ 638937 w 1524655"/>
                    <a:gd name="connsiteY407" fmla="*/ 1059471 h 1268099"/>
                    <a:gd name="connsiteX408" fmla="*/ 638876 w 1524655"/>
                    <a:gd name="connsiteY408" fmla="*/ 1063952 h 1268099"/>
                    <a:gd name="connsiteX409" fmla="*/ 638415 w 1524655"/>
                    <a:gd name="connsiteY409" fmla="*/ 1066260 h 1268099"/>
                    <a:gd name="connsiteX410" fmla="*/ 635501 w 1524655"/>
                    <a:gd name="connsiteY410" fmla="*/ 1068336 h 1268099"/>
                    <a:gd name="connsiteX411" fmla="*/ 631238 w 1524655"/>
                    <a:gd name="connsiteY411" fmla="*/ 1073934 h 1268099"/>
                    <a:gd name="connsiteX412" fmla="*/ 631931 w 1524655"/>
                    <a:gd name="connsiteY412" fmla="*/ 1078500 h 1268099"/>
                    <a:gd name="connsiteX413" fmla="*/ 634347 w 1524655"/>
                    <a:gd name="connsiteY413" fmla="*/ 1082458 h 1268099"/>
                    <a:gd name="connsiteX414" fmla="*/ 640309 w 1524655"/>
                    <a:gd name="connsiteY414" fmla="*/ 1089586 h 1268099"/>
                    <a:gd name="connsiteX415" fmla="*/ 642325 w 1524655"/>
                    <a:gd name="connsiteY415" fmla="*/ 1094455 h 1268099"/>
                    <a:gd name="connsiteX416" fmla="*/ 643709 w 1524655"/>
                    <a:gd name="connsiteY416" fmla="*/ 1096532 h 1268099"/>
                    <a:gd name="connsiteX417" fmla="*/ 646065 w 1524655"/>
                    <a:gd name="connsiteY417" fmla="*/ 1097382 h 1268099"/>
                    <a:gd name="connsiteX418" fmla="*/ 650024 w 1524655"/>
                    <a:gd name="connsiteY418" fmla="*/ 1097758 h 1268099"/>
                    <a:gd name="connsiteX419" fmla="*/ 654334 w 1524655"/>
                    <a:gd name="connsiteY419" fmla="*/ 1098705 h 1268099"/>
                    <a:gd name="connsiteX420" fmla="*/ 662555 w 1524655"/>
                    <a:gd name="connsiteY420" fmla="*/ 1098985 h 1268099"/>
                    <a:gd name="connsiteX421" fmla="*/ 664037 w 1524655"/>
                    <a:gd name="connsiteY421" fmla="*/ 1099410 h 1268099"/>
                    <a:gd name="connsiteX422" fmla="*/ 665421 w 1524655"/>
                    <a:gd name="connsiteY422" fmla="*/ 1100806 h 1268099"/>
                    <a:gd name="connsiteX423" fmla="*/ 666975 w 1524655"/>
                    <a:gd name="connsiteY423" fmla="*/ 1101972 h 1268099"/>
                    <a:gd name="connsiteX424" fmla="*/ 668857 w 1524655"/>
                    <a:gd name="connsiteY424" fmla="*/ 1102640 h 1268099"/>
                    <a:gd name="connsiteX425" fmla="*/ 670132 w 1524655"/>
                    <a:gd name="connsiteY425" fmla="*/ 1102664 h 1268099"/>
                    <a:gd name="connsiteX426" fmla="*/ 670132 w 1524655"/>
                    <a:gd name="connsiteY426" fmla="*/ 1102688 h 1268099"/>
                    <a:gd name="connsiteX427" fmla="*/ 669950 w 1524655"/>
                    <a:gd name="connsiteY427" fmla="*/ 1103150 h 1268099"/>
                    <a:gd name="connsiteX428" fmla="*/ 663624 w 1524655"/>
                    <a:gd name="connsiteY428" fmla="*/ 1106076 h 1268099"/>
                    <a:gd name="connsiteX429" fmla="*/ 659264 w 1524655"/>
                    <a:gd name="connsiteY429" fmla="*/ 1106477 h 1268099"/>
                    <a:gd name="connsiteX430" fmla="*/ 649963 w 1524655"/>
                    <a:gd name="connsiteY430" fmla="*/ 1104400 h 1268099"/>
                    <a:gd name="connsiteX431" fmla="*/ 646915 w 1524655"/>
                    <a:gd name="connsiteY431" fmla="*/ 1104352 h 1268099"/>
                    <a:gd name="connsiteX432" fmla="*/ 642325 w 1524655"/>
                    <a:gd name="connsiteY432" fmla="*/ 1104777 h 1268099"/>
                    <a:gd name="connsiteX433" fmla="*/ 640552 w 1524655"/>
                    <a:gd name="connsiteY433" fmla="*/ 1104400 h 1268099"/>
                    <a:gd name="connsiteX434" fmla="*/ 639629 w 1524655"/>
                    <a:gd name="connsiteY434" fmla="*/ 1103575 h 1268099"/>
                    <a:gd name="connsiteX435" fmla="*/ 639690 w 1524655"/>
                    <a:gd name="connsiteY435" fmla="*/ 1102543 h 1268099"/>
                    <a:gd name="connsiteX436" fmla="*/ 639981 w 1524655"/>
                    <a:gd name="connsiteY436" fmla="*/ 1101401 h 1268099"/>
                    <a:gd name="connsiteX437" fmla="*/ 640261 w 1524655"/>
                    <a:gd name="connsiteY437" fmla="*/ 1100612 h 1268099"/>
                    <a:gd name="connsiteX438" fmla="*/ 641305 w 1524655"/>
                    <a:gd name="connsiteY438" fmla="*/ 1098985 h 1268099"/>
                    <a:gd name="connsiteX439" fmla="*/ 641706 w 1524655"/>
                    <a:gd name="connsiteY439" fmla="*/ 1097807 h 1268099"/>
                    <a:gd name="connsiteX440" fmla="*/ 641924 w 1524655"/>
                    <a:gd name="connsiteY440" fmla="*/ 1096884 h 1268099"/>
                    <a:gd name="connsiteX441" fmla="*/ 641985 w 1524655"/>
                    <a:gd name="connsiteY441" fmla="*/ 1094880 h 1268099"/>
                    <a:gd name="connsiteX442" fmla="*/ 641706 w 1524655"/>
                    <a:gd name="connsiteY442" fmla="*/ 1094322 h 1268099"/>
                    <a:gd name="connsiteX443" fmla="*/ 637164 w 1524655"/>
                    <a:gd name="connsiteY443" fmla="*/ 1094152 h 1268099"/>
                    <a:gd name="connsiteX444" fmla="*/ 634408 w 1524655"/>
                    <a:gd name="connsiteY444" fmla="*/ 1092937 h 1268099"/>
                    <a:gd name="connsiteX445" fmla="*/ 630316 w 1524655"/>
                    <a:gd name="connsiteY445" fmla="*/ 1090072 h 1268099"/>
                    <a:gd name="connsiteX446" fmla="*/ 629065 w 1524655"/>
                    <a:gd name="connsiteY446" fmla="*/ 1089792 h 1268099"/>
                    <a:gd name="connsiteX447" fmla="*/ 627741 w 1524655"/>
                    <a:gd name="connsiteY447" fmla="*/ 1090133 h 1268099"/>
                    <a:gd name="connsiteX448" fmla="*/ 626940 w 1524655"/>
                    <a:gd name="connsiteY448" fmla="*/ 1090970 h 1268099"/>
                    <a:gd name="connsiteX449" fmla="*/ 626648 w 1524655"/>
                    <a:gd name="connsiteY449" fmla="*/ 1092027 h 1268099"/>
                    <a:gd name="connsiteX450" fmla="*/ 626818 w 1524655"/>
                    <a:gd name="connsiteY450" fmla="*/ 1092937 h 1268099"/>
                    <a:gd name="connsiteX451" fmla="*/ 627802 w 1524655"/>
                    <a:gd name="connsiteY451" fmla="*/ 1094224 h 1268099"/>
                    <a:gd name="connsiteX452" fmla="*/ 629004 w 1524655"/>
                    <a:gd name="connsiteY452" fmla="*/ 1095269 h 1268099"/>
                    <a:gd name="connsiteX453" fmla="*/ 630498 w 1524655"/>
                    <a:gd name="connsiteY453" fmla="*/ 1096216 h 1268099"/>
                    <a:gd name="connsiteX454" fmla="*/ 631238 w 1524655"/>
                    <a:gd name="connsiteY454" fmla="*/ 1097151 h 1268099"/>
                    <a:gd name="connsiteX455" fmla="*/ 631603 w 1524655"/>
                    <a:gd name="connsiteY455" fmla="*/ 1098135 h 1268099"/>
                    <a:gd name="connsiteX456" fmla="*/ 631481 w 1524655"/>
                    <a:gd name="connsiteY456" fmla="*/ 1099713 h 1268099"/>
                    <a:gd name="connsiteX457" fmla="*/ 630680 w 1524655"/>
                    <a:gd name="connsiteY457" fmla="*/ 1101170 h 1268099"/>
                    <a:gd name="connsiteX458" fmla="*/ 629344 w 1524655"/>
                    <a:gd name="connsiteY458" fmla="*/ 1101996 h 1268099"/>
                    <a:gd name="connsiteX459" fmla="*/ 625058 w 1524655"/>
                    <a:gd name="connsiteY459" fmla="*/ 1103259 h 1268099"/>
                    <a:gd name="connsiteX460" fmla="*/ 621318 w 1524655"/>
                    <a:gd name="connsiteY460" fmla="*/ 1104923 h 1268099"/>
                    <a:gd name="connsiteX461" fmla="*/ 618391 w 1524655"/>
                    <a:gd name="connsiteY461" fmla="*/ 1107363 h 1268099"/>
                    <a:gd name="connsiteX462" fmla="*/ 615574 w 1524655"/>
                    <a:gd name="connsiteY462" fmla="*/ 1110533 h 1268099"/>
                    <a:gd name="connsiteX463" fmla="*/ 614190 w 1524655"/>
                    <a:gd name="connsiteY463" fmla="*/ 1112573 h 1268099"/>
                    <a:gd name="connsiteX464" fmla="*/ 613850 w 1524655"/>
                    <a:gd name="connsiteY464" fmla="*/ 1114261 h 1268099"/>
                    <a:gd name="connsiteX465" fmla="*/ 613971 w 1524655"/>
                    <a:gd name="connsiteY465" fmla="*/ 1115268 h 1268099"/>
                    <a:gd name="connsiteX466" fmla="*/ 614493 w 1524655"/>
                    <a:gd name="connsiteY466" fmla="*/ 1116592 h 1268099"/>
                    <a:gd name="connsiteX467" fmla="*/ 614773 w 1524655"/>
                    <a:gd name="connsiteY467" fmla="*/ 1118073 h 1268099"/>
                    <a:gd name="connsiteX468" fmla="*/ 614712 w 1524655"/>
                    <a:gd name="connsiteY468" fmla="*/ 1119834 h 1268099"/>
                    <a:gd name="connsiteX469" fmla="*/ 613218 w 1524655"/>
                    <a:gd name="connsiteY469" fmla="*/ 1122238 h 1268099"/>
                    <a:gd name="connsiteX470" fmla="*/ 597542 w 1524655"/>
                    <a:gd name="connsiteY470" fmla="*/ 1131528 h 1268099"/>
                    <a:gd name="connsiteX471" fmla="*/ 586856 w 1524655"/>
                    <a:gd name="connsiteY471" fmla="*/ 1135778 h 1268099"/>
                    <a:gd name="connsiteX472" fmla="*/ 583590 w 1524655"/>
                    <a:gd name="connsiteY472" fmla="*/ 1136349 h 1268099"/>
                    <a:gd name="connsiteX473" fmla="*/ 580894 w 1524655"/>
                    <a:gd name="connsiteY473" fmla="*/ 1135960 h 1268099"/>
                    <a:gd name="connsiteX474" fmla="*/ 579279 w 1524655"/>
                    <a:gd name="connsiteY474" fmla="*/ 1135158 h 1268099"/>
                    <a:gd name="connsiteX475" fmla="*/ 577093 w 1524655"/>
                    <a:gd name="connsiteY475" fmla="*/ 1135183 h 1268099"/>
                    <a:gd name="connsiteX476" fmla="*/ 575952 w 1524655"/>
                    <a:gd name="connsiteY476" fmla="*/ 1136094 h 1268099"/>
                    <a:gd name="connsiteX477" fmla="*/ 575320 w 1524655"/>
                    <a:gd name="connsiteY477" fmla="*/ 1137623 h 1268099"/>
                    <a:gd name="connsiteX478" fmla="*/ 575259 w 1524655"/>
                    <a:gd name="connsiteY478" fmla="*/ 1139202 h 1268099"/>
                    <a:gd name="connsiteX479" fmla="*/ 575551 w 1524655"/>
                    <a:gd name="connsiteY479" fmla="*/ 1140513 h 1268099"/>
                    <a:gd name="connsiteX480" fmla="*/ 576304 w 1524655"/>
                    <a:gd name="connsiteY480" fmla="*/ 1141582 h 1268099"/>
                    <a:gd name="connsiteX481" fmla="*/ 577506 w 1524655"/>
                    <a:gd name="connsiteY481" fmla="*/ 1142335 h 1268099"/>
                    <a:gd name="connsiteX482" fmla="*/ 578817 w 1524655"/>
                    <a:gd name="connsiteY482" fmla="*/ 1143027 h 1268099"/>
                    <a:gd name="connsiteX483" fmla="*/ 580141 w 1524655"/>
                    <a:gd name="connsiteY483" fmla="*/ 1143865 h 1268099"/>
                    <a:gd name="connsiteX484" fmla="*/ 581294 w 1524655"/>
                    <a:gd name="connsiteY484" fmla="*/ 1144800 h 1268099"/>
                    <a:gd name="connsiteX485" fmla="*/ 581987 w 1524655"/>
                    <a:gd name="connsiteY485" fmla="*/ 1145893 h 1268099"/>
                    <a:gd name="connsiteX486" fmla="*/ 582047 w 1524655"/>
                    <a:gd name="connsiteY486" fmla="*/ 1147180 h 1268099"/>
                    <a:gd name="connsiteX487" fmla="*/ 581003 w 1524655"/>
                    <a:gd name="connsiteY487" fmla="*/ 1149305 h 1268099"/>
                    <a:gd name="connsiteX488" fmla="*/ 579340 w 1524655"/>
                    <a:gd name="connsiteY488" fmla="*/ 1149936 h 1268099"/>
                    <a:gd name="connsiteX489" fmla="*/ 577214 w 1524655"/>
                    <a:gd name="connsiteY489" fmla="*/ 1149936 h 1268099"/>
                    <a:gd name="connsiteX490" fmla="*/ 575551 w 1524655"/>
                    <a:gd name="connsiteY490" fmla="*/ 1149305 h 1268099"/>
                    <a:gd name="connsiteX491" fmla="*/ 571945 w 1524655"/>
                    <a:gd name="connsiteY491" fmla="*/ 1149305 h 1268099"/>
                    <a:gd name="connsiteX492" fmla="*/ 568957 w 1524655"/>
                    <a:gd name="connsiteY492" fmla="*/ 1149584 h 1268099"/>
                    <a:gd name="connsiteX493" fmla="*/ 564465 w 1524655"/>
                    <a:gd name="connsiteY493" fmla="*/ 1147059 h 1268099"/>
                    <a:gd name="connsiteX494" fmla="*/ 563420 w 1524655"/>
                    <a:gd name="connsiteY494" fmla="*/ 1145650 h 1268099"/>
                    <a:gd name="connsiteX495" fmla="*/ 563080 w 1524655"/>
                    <a:gd name="connsiteY495" fmla="*/ 1144448 h 1268099"/>
                    <a:gd name="connsiteX496" fmla="*/ 563420 w 1524655"/>
                    <a:gd name="connsiteY496" fmla="*/ 1143015 h 1268099"/>
                    <a:gd name="connsiteX497" fmla="*/ 563554 w 1524655"/>
                    <a:gd name="connsiteY497" fmla="*/ 1141145 h 1268099"/>
                    <a:gd name="connsiteX498" fmla="*/ 562910 w 1524655"/>
                    <a:gd name="connsiteY498" fmla="*/ 1138085 h 1268099"/>
                    <a:gd name="connsiteX499" fmla="*/ 561319 w 1524655"/>
                    <a:gd name="connsiteY499" fmla="*/ 1136895 h 1268099"/>
                    <a:gd name="connsiteX500" fmla="*/ 559061 w 1524655"/>
                    <a:gd name="connsiteY500" fmla="*/ 1136470 h 1268099"/>
                    <a:gd name="connsiteX501" fmla="*/ 546371 w 1524655"/>
                    <a:gd name="connsiteY501" fmla="*/ 1139105 h 1268099"/>
                    <a:gd name="connsiteX502" fmla="*/ 542923 w 1524655"/>
                    <a:gd name="connsiteY502" fmla="*/ 1139020 h 1268099"/>
                    <a:gd name="connsiteX503" fmla="*/ 540968 w 1524655"/>
                    <a:gd name="connsiteY503" fmla="*/ 1137830 h 1268099"/>
                    <a:gd name="connsiteX504" fmla="*/ 539547 w 1524655"/>
                    <a:gd name="connsiteY504" fmla="*/ 1135948 h 1268099"/>
                    <a:gd name="connsiteX505" fmla="*/ 538199 w 1524655"/>
                    <a:gd name="connsiteY505" fmla="*/ 1133288 h 1268099"/>
                    <a:gd name="connsiteX506" fmla="*/ 535807 w 1524655"/>
                    <a:gd name="connsiteY506" fmla="*/ 1130313 h 1268099"/>
                    <a:gd name="connsiteX507" fmla="*/ 533791 w 1524655"/>
                    <a:gd name="connsiteY507" fmla="*/ 1128844 h 1268099"/>
                    <a:gd name="connsiteX508" fmla="*/ 531727 w 1524655"/>
                    <a:gd name="connsiteY508" fmla="*/ 1127909 h 1268099"/>
                    <a:gd name="connsiteX509" fmla="*/ 528509 w 1524655"/>
                    <a:gd name="connsiteY509" fmla="*/ 1127265 h 1268099"/>
                    <a:gd name="connsiteX510" fmla="*/ 525813 w 1524655"/>
                    <a:gd name="connsiteY510" fmla="*/ 1127181 h 1268099"/>
                    <a:gd name="connsiteX511" fmla="*/ 521333 w 1524655"/>
                    <a:gd name="connsiteY511" fmla="*/ 1127691 h 1268099"/>
                    <a:gd name="connsiteX512" fmla="*/ 518054 w 1524655"/>
                    <a:gd name="connsiteY512" fmla="*/ 1128844 h 1268099"/>
                    <a:gd name="connsiteX513" fmla="*/ 517204 w 1524655"/>
                    <a:gd name="connsiteY513" fmla="*/ 1129597 h 1268099"/>
                    <a:gd name="connsiteX514" fmla="*/ 516451 w 1524655"/>
                    <a:gd name="connsiteY514" fmla="*/ 1130690 h 1268099"/>
                    <a:gd name="connsiteX515" fmla="*/ 515990 w 1524655"/>
                    <a:gd name="connsiteY515" fmla="*/ 1132123 h 1268099"/>
                    <a:gd name="connsiteX516" fmla="*/ 515771 w 1524655"/>
                    <a:gd name="connsiteY516" fmla="*/ 1135486 h 1268099"/>
                    <a:gd name="connsiteX517" fmla="*/ 515480 w 1524655"/>
                    <a:gd name="connsiteY517" fmla="*/ 1137089 h 1268099"/>
                    <a:gd name="connsiteX518" fmla="*/ 513586 w 1524655"/>
                    <a:gd name="connsiteY518" fmla="*/ 1140878 h 1268099"/>
                    <a:gd name="connsiteX519" fmla="*/ 513294 w 1524655"/>
                    <a:gd name="connsiteY519" fmla="*/ 1142311 h 1268099"/>
                    <a:gd name="connsiteX520" fmla="*/ 513452 w 1524655"/>
                    <a:gd name="connsiteY520" fmla="*/ 1143646 h 1268099"/>
                    <a:gd name="connsiteX521" fmla="*/ 513913 w 1524655"/>
                    <a:gd name="connsiteY521" fmla="*/ 1145589 h 1268099"/>
                    <a:gd name="connsiteX522" fmla="*/ 513755 w 1524655"/>
                    <a:gd name="connsiteY522" fmla="*/ 1147787 h 1268099"/>
                    <a:gd name="connsiteX523" fmla="*/ 512553 w 1524655"/>
                    <a:gd name="connsiteY523" fmla="*/ 1150070 h 1268099"/>
                    <a:gd name="connsiteX524" fmla="*/ 506275 w 1524655"/>
                    <a:gd name="connsiteY524" fmla="*/ 1153166 h 1268099"/>
                    <a:gd name="connsiteX525" fmla="*/ 504782 w 1524655"/>
                    <a:gd name="connsiteY525" fmla="*/ 1154223 h 1268099"/>
                    <a:gd name="connsiteX526" fmla="*/ 502960 w 1524655"/>
                    <a:gd name="connsiteY526" fmla="*/ 1156554 h 1268099"/>
                    <a:gd name="connsiteX527" fmla="*/ 499512 w 1524655"/>
                    <a:gd name="connsiteY527" fmla="*/ 1159590 h 1268099"/>
                    <a:gd name="connsiteX528" fmla="*/ 495553 w 1524655"/>
                    <a:gd name="connsiteY528" fmla="*/ 1164641 h 1268099"/>
                    <a:gd name="connsiteX529" fmla="*/ 492785 w 1524655"/>
                    <a:gd name="connsiteY529" fmla="*/ 1166864 h 1268099"/>
                    <a:gd name="connsiteX530" fmla="*/ 490733 w 1524655"/>
                    <a:gd name="connsiteY530" fmla="*/ 1167374 h 1268099"/>
                    <a:gd name="connsiteX531" fmla="*/ 489008 w 1524655"/>
                    <a:gd name="connsiteY531" fmla="*/ 1166803 h 1268099"/>
                    <a:gd name="connsiteX532" fmla="*/ 487624 w 1524655"/>
                    <a:gd name="connsiteY532" fmla="*/ 1165309 h 1268099"/>
                    <a:gd name="connsiteX533" fmla="*/ 485851 w 1524655"/>
                    <a:gd name="connsiteY533" fmla="*/ 1163828 h 1268099"/>
                    <a:gd name="connsiteX534" fmla="*/ 483022 w 1524655"/>
                    <a:gd name="connsiteY534" fmla="*/ 1163318 h 1268099"/>
                    <a:gd name="connsiteX535" fmla="*/ 480800 w 1524655"/>
                    <a:gd name="connsiteY535" fmla="*/ 1163852 h 1268099"/>
                    <a:gd name="connsiteX536" fmla="*/ 478662 w 1524655"/>
                    <a:gd name="connsiteY536" fmla="*/ 1165710 h 1268099"/>
                    <a:gd name="connsiteX537" fmla="*/ 472057 w 1524655"/>
                    <a:gd name="connsiteY537" fmla="*/ 1175230 h 1268099"/>
                    <a:gd name="connsiteX538" fmla="*/ 467345 w 1524655"/>
                    <a:gd name="connsiteY538" fmla="*/ 1181047 h 1268099"/>
                    <a:gd name="connsiteX539" fmla="*/ 466034 w 1524655"/>
                    <a:gd name="connsiteY539" fmla="*/ 1182140 h 1268099"/>
                    <a:gd name="connsiteX540" fmla="*/ 464091 w 1524655"/>
                    <a:gd name="connsiteY540" fmla="*/ 1183463 h 1268099"/>
                    <a:gd name="connsiteX541" fmla="*/ 461844 w 1524655"/>
                    <a:gd name="connsiteY541" fmla="*/ 1183949 h 1268099"/>
                    <a:gd name="connsiteX542" fmla="*/ 455117 w 1524655"/>
                    <a:gd name="connsiteY542" fmla="*/ 1184519 h 1268099"/>
                    <a:gd name="connsiteX543" fmla="*/ 451098 w 1524655"/>
                    <a:gd name="connsiteY543" fmla="*/ 1185540 h 1268099"/>
                    <a:gd name="connsiteX544" fmla="*/ 448281 w 1524655"/>
                    <a:gd name="connsiteY544" fmla="*/ 1185236 h 1268099"/>
                    <a:gd name="connsiteX545" fmla="*/ 446216 w 1524655"/>
                    <a:gd name="connsiteY545" fmla="*/ 1184228 h 1268099"/>
                    <a:gd name="connsiteX546" fmla="*/ 444504 w 1524655"/>
                    <a:gd name="connsiteY546" fmla="*/ 1183075 h 1268099"/>
                    <a:gd name="connsiteX547" fmla="*/ 442440 w 1524655"/>
                    <a:gd name="connsiteY547" fmla="*/ 1182455 h 1268099"/>
                    <a:gd name="connsiteX548" fmla="*/ 437546 w 1524655"/>
                    <a:gd name="connsiteY548" fmla="*/ 1181994 h 1268099"/>
                    <a:gd name="connsiteX549" fmla="*/ 436114 w 1524655"/>
                    <a:gd name="connsiteY549" fmla="*/ 1181423 h 1268099"/>
                    <a:gd name="connsiteX550" fmla="*/ 435312 w 1524655"/>
                    <a:gd name="connsiteY550" fmla="*/ 1180172 h 1268099"/>
                    <a:gd name="connsiteX551" fmla="*/ 434741 w 1524655"/>
                    <a:gd name="connsiteY551" fmla="*/ 1177477 h 1268099"/>
                    <a:gd name="connsiteX552" fmla="*/ 434219 w 1524655"/>
                    <a:gd name="connsiteY552" fmla="*/ 1176639 h 1268099"/>
                    <a:gd name="connsiteX553" fmla="*/ 433527 w 1524655"/>
                    <a:gd name="connsiteY553" fmla="*/ 1176044 h 1268099"/>
                    <a:gd name="connsiteX554" fmla="*/ 432446 w 1524655"/>
                    <a:gd name="connsiteY554" fmla="*/ 1175461 h 1268099"/>
                    <a:gd name="connsiteX555" fmla="*/ 431062 w 1524655"/>
                    <a:gd name="connsiteY555" fmla="*/ 1174975 h 1268099"/>
                    <a:gd name="connsiteX556" fmla="*/ 426460 w 1524655"/>
                    <a:gd name="connsiteY556" fmla="*/ 1174222 h 1268099"/>
                    <a:gd name="connsiteX557" fmla="*/ 423254 w 1524655"/>
                    <a:gd name="connsiteY557" fmla="*/ 1174198 h 1268099"/>
                    <a:gd name="connsiteX558" fmla="*/ 421809 w 1524655"/>
                    <a:gd name="connsiteY558" fmla="*/ 1174538 h 1268099"/>
                    <a:gd name="connsiteX559" fmla="*/ 420777 w 1524655"/>
                    <a:gd name="connsiteY559" fmla="*/ 1175437 h 1268099"/>
                    <a:gd name="connsiteX560" fmla="*/ 420097 w 1524655"/>
                    <a:gd name="connsiteY560" fmla="*/ 1178229 h 1268099"/>
                    <a:gd name="connsiteX561" fmla="*/ 419927 w 1524655"/>
                    <a:gd name="connsiteY561" fmla="*/ 1179954 h 1268099"/>
                    <a:gd name="connsiteX562" fmla="*/ 419186 w 1524655"/>
                    <a:gd name="connsiteY562" fmla="*/ 1181593 h 1268099"/>
                    <a:gd name="connsiteX563" fmla="*/ 417790 w 1524655"/>
                    <a:gd name="connsiteY563" fmla="*/ 1183317 h 1268099"/>
                    <a:gd name="connsiteX564" fmla="*/ 415276 w 1524655"/>
                    <a:gd name="connsiteY564" fmla="*/ 1184811 h 1268099"/>
                    <a:gd name="connsiteX565" fmla="*/ 413443 w 1524655"/>
                    <a:gd name="connsiteY565" fmla="*/ 1185017 h 1268099"/>
                    <a:gd name="connsiteX566" fmla="*/ 411949 w 1524655"/>
                    <a:gd name="connsiteY566" fmla="*/ 1184167 h 1268099"/>
                    <a:gd name="connsiteX567" fmla="*/ 410966 w 1524655"/>
                    <a:gd name="connsiteY567" fmla="*/ 1182127 h 1268099"/>
                    <a:gd name="connsiteX568" fmla="*/ 410395 w 1524655"/>
                    <a:gd name="connsiteY568" fmla="*/ 1179747 h 1268099"/>
                    <a:gd name="connsiteX569" fmla="*/ 409302 w 1524655"/>
                    <a:gd name="connsiteY569" fmla="*/ 1177707 h 1268099"/>
                    <a:gd name="connsiteX570" fmla="*/ 407238 w 1524655"/>
                    <a:gd name="connsiteY570" fmla="*/ 1176675 h 1268099"/>
                    <a:gd name="connsiteX571" fmla="*/ 398859 w 1524655"/>
                    <a:gd name="connsiteY571" fmla="*/ 1177586 h 1268099"/>
                    <a:gd name="connsiteX572" fmla="*/ 396212 w 1524655"/>
                    <a:gd name="connsiteY572" fmla="*/ 1178132 h 1268099"/>
                    <a:gd name="connsiteX573" fmla="*/ 391901 w 1524655"/>
                    <a:gd name="connsiteY573" fmla="*/ 1179456 h 1268099"/>
                    <a:gd name="connsiteX574" fmla="*/ 384275 w 1524655"/>
                    <a:gd name="connsiteY574" fmla="*/ 1180391 h 1268099"/>
                    <a:gd name="connsiteX575" fmla="*/ 382138 w 1524655"/>
                    <a:gd name="connsiteY575" fmla="*/ 1181022 h 1268099"/>
                    <a:gd name="connsiteX576" fmla="*/ 380766 w 1524655"/>
                    <a:gd name="connsiteY576" fmla="*/ 1182042 h 1268099"/>
                    <a:gd name="connsiteX577" fmla="*/ 379272 w 1524655"/>
                    <a:gd name="connsiteY577" fmla="*/ 1185333 h 1268099"/>
                    <a:gd name="connsiteX578" fmla="*/ 378180 w 1524655"/>
                    <a:gd name="connsiteY578" fmla="*/ 1187094 h 1268099"/>
                    <a:gd name="connsiteX579" fmla="*/ 376577 w 1524655"/>
                    <a:gd name="connsiteY579" fmla="*/ 1188211 h 1268099"/>
                    <a:gd name="connsiteX580" fmla="*/ 374270 w 1524655"/>
                    <a:gd name="connsiteY580" fmla="*/ 1188527 h 1268099"/>
                    <a:gd name="connsiteX581" fmla="*/ 371975 w 1524655"/>
                    <a:gd name="connsiteY581" fmla="*/ 1188599 h 1268099"/>
                    <a:gd name="connsiteX582" fmla="*/ 370250 w 1524655"/>
                    <a:gd name="connsiteY582" fmla="*/ 1189413 h 1268099"/>
                    <a:gd name="connsiteX583" fmla="*/ 368927 w 1524655"/>
                    <a:gd name="connsiteY583" fmla="*/ 1190809 h 1268099"/>
                    <a:gd name="connsiteX584" fmla="*/ 367093 w 1524655"/>
                    <a:gd name="connsiteY584" fmla="*/ 1193542 h 1268099"/>
                    <a:gd name="connsiteX585" fmla="*/ 366632 w 1524655"/>
                    <a:gd name="connsiteY585" fmla="*/ 1195035 h 1268099"/>
                    <a:gd name="connsiteX586" fmla="*/ 366122 w 1524655"/>
                    <a:gd name="connsiteY586" fmla="*/ 1197282 h 1268099"/>
                    <a:gd name="connsiteX587" fmla="*/ 365782 w 1524655"/>
                    <a:gd name="connsiteY587" fmla="*/ 1202649 h 1268099"/>
                    <a:gd name="connsiteX588" fmla="*/ 365369 w 1524655"/>
                    <a:gd name="connsiteY588" fmla="*/ 1204653 h 1268099"/>
                    <a:gd name="connsiteX589" fmla="*/ 363997 w 1524655"/>
                    <a:gd name="connsiteY589" fmla="*/ 1207980 h 1268099"/>
                    <a:gd name="connsiteX590" fmla="*/ 360718 w 1524655"/>
                    <a:gd name="connsiteY590" fmla="*/ 1220621 h 1268099"/>
                    <a:gd name="connsiteX591" fmla="*/ 355497 w 1524655"/>
                    <a:gd name="connsiteY591" fmla="*/ 1234281 h 1268099"/>
                    <a:gd name="connsiteX592" fmla="*/ 354525 w 1524655"/>
                    <a:gd name="connsiteY592" fmla="*/ 1235775 h 1268099"/>
                    <a:gd name="connsiteX593" fmla="*/ 353384 w 1524655"/>
                    <a:gd name="connsiteY593" fmla="*/ 1236892 h 1268099"/>
                    <a:gd name="connsiteX594" fmla="*/ 346256 w 1524655"/>
                    <a:gd name="connsiteY594" fmla="*/ 1242344 h 1268099"/>
                    <a:gd name="connsiteX595" fmla="*/ 344592 w 1524655"/>
                    <a:gd name="connsiteY595" fmla="*/ 1242660 h 1268099"/>
                    <a:gd name="connsiteX596" fmla="*/ 343159 w 1524655"/>
                    <a:gd name="connsiteY596" fmla="*/ 1242089 h 1268099"/>
                    <a:gd name="connsiteX597" fmla="*/ 342006 w 1524655"/>
                    <a:gd name="connsiteY597" fmla="*/ 1240960 h 1268099"/>
                    <a:gd name="connsiteX598" fmla="*/ 340743 w 1524655"/>
                    <a:gd name="connsiteY598" fmla="*/ 1240377 h 1268099"/>
                    <a:gd name="connsiteX599" fmla="*/ 340051 w 1524655"/>
                    <a:gd name="connsiteY599" fmla="*/ 1240632 h 1268099"/>
                    <a:gd name="connsiteX600" fmla="*/ 339529 w 1524655"/>
                    <a:gd name="connsiteY600" fmla="*/ 1241567 h 1268099"/>
                    <a:gd name="connsiteX601" fmla="*/ 339237 w 1524655"/>
                    <a:gd name="connsiteY601" fmla="*/ 1243279 h 1268099"/>
                    <a:gd name="connsiteX602" fmla="*/ 339480 w 1524655"/>
                    <a:gd name="connsiteY602" fmla="*/ 1245635 h 1268099"/>
                    <a:gd name="connsiteX603" fmla="*/ 339189 w 1524655"/>
                    <a:gd name="connsiteY603" fmla="*/ 1248307 h 1268099"/>
                    <a:gd name="connsiteX604" fmla="*/ 338217 w 1524655"/>
                    <a:gd name="connsiteY604" fmla="*/ 1251403 h 1268099"/>
                    <a:gd name="connsiteX605" fmla="*/ 330118 w 1524655"/>
                    <a:gd name="connsiteY605" fmla="*/ 1259939 h 1268099"/>
                    <a:gd name="connsiteX606" fmla="*/ 327932 w 1524655"/>
                    <a:gd name="connsiteY606" fmla="*/ 1261056 h 1268099"/>
                    <a:gd name="connsiteX607" fmla="*/ 326038 w 1524655"/>
                    <a:gd name="connsiteY607" fmla="*/ 1261809 h 1268099"/>
                    <a:gd name="connsiteX608" fmla="*/ 324775 w 1524655"/>
                    <a:gd name="connsiteY608" fmla="*/ 1262016 h 1268099"/>
                    <a:gd name="connsiteX609" fmla="*/ 320938 w 1524655"/>
                    <a:gd name="connsiteY609" fmla="*/ 1262161 h 1268099"/>
                    <a:gd name="connsiteX610" fmla="*/ 319031 w 1524655"/>
                    <a:gd name="connsiteY610" fmla="*/ 1262077 h 1268099"/>
                    <a:gd name="connsiteX611" fmla="*/ 317259 w 1524655"/>
                    <a:gd name="connsiteY611" fmla="*/ 1261797 h 1268099"/>
                    <a:gd name="connsiteX612" fmla="*/ 312377 w 1524655"/>
                    <a:gd name="connsiteY612" fmla="*/ 1260364 h 1268099"/>
                    <a:gd name="connsiteX613" fmla="*/ 302323 w 1524655"/>
                    <a:gd name="connsiteY613" fmla="*/ 1253965 h 1268099"/>
                    <a:gd name="connsiteX614" fmla="*/ 297684 w 1524655"/>
                    <a:gd name="connsiteY614" fmla="*/ 1249678 h 1268099"/>
                    <a:gd name="connsiteX615" fmla="*/ 289233 w 1524655"/>
                    <a:gd name="connsiteY615" fmla="*/ 1237791 h 1268099"/>
                    <a:gd name="connsiteX616" fmla="*/ 290775 w 1524655"/>
                    <a:gd name="connsiteY616" fmla="*/ 1235957 h 1268099"/>
                    <a:gd name="connsiteX617" fmla="*/ 292280 w 1524655"/>
                    <a:gd name="connsiteY617" fmla="*/ 1233638 h 1268099"/>
                    <a:gd name="connsiteX618" fmla="*/ 292851 w 1524655"/>
                    <a:gd name="connsiteY618" fmla="*/ 1231731 h 1268099"/>
                    <a:gd name="connsiteX619" fmla="*/ 292730 w 1524655"/>
                    <a:gd name="connsiteY619" fmla="*/ 1229813 h 1268099"/>
                    <a:gd name="connsiteX620" fmla="*/ 291418 w 1524655"/>
                    <a:gd name="connsiteY620" fmla="*/ 1224761 h 1268099"/>
                    <a:gd name="connsiteX621" fmla="*/ 291358 w 1524655"/>
                    <a:gd name="connsiteY621" fmla="*/ 1221981 h 1268099"/>
                    <a:gd name="connsiteX622" fmla="*/ 291698 w 1524655"/>
                    <a:gd name="connsiteY622" fmla="*/ 1220657 h 1268099"/>
                    <a:gd name="connsiteX623" fmla="*/ 291989 w 1524655"/>
                    <a:gd name="connsiteY623" fmla="*/ 1219904 h 1268099"/>
                    <a:gd name="connsiteX624" fmla="*/ 292572 w 1524655"/>
                    <a:gd name="connsiteY624" fmla="*/ 1219540 h 1268099"/>
                    <a:gd name="connsiteX625" fmla="*/ 293543 w 1524655"/>
                    <a:gd name="connsiteY625" fmla="*/ 1219200 h 1268099"/>
                    <a:gd name="connsiteX626" fmla="*/ 295037 w 1524655"/>
                    <a:gd name="connsiteY626" fmla="*/ 1219163 h 1268099"/>
                    <a:gd name="connsiteX627" fmla="*/ 296348 w 1524655"/>
                    <a:gd name="connsiteY627" fmla="*/ 1219588 h 1268099"/>
                    <a:gd name="connsiteX628" fmla="*/ 297611 w 1524655"/>
                    <a:gd name="connsiteY628" fmla="*/ 1220317 h 1268099"/>
                    <a:gd name="connsiteX629" fmla="*/ 299178 w 1524655"/>
                    <a:gd name="connsiteY629" fmla="*/ 1221665 h 1268099"/>
                    <a:gd name="connsiteX630" fmla="*/ 299785 w 1524655"/>
                    <a:gd name="connsiteY630" fmla="*/ 1221895 h 1268099"/>
                    <a:gd name="connsiteX631" fmla="*/ 300368 w 1524655"/>
                    <a:gd name="connsiteY631" fmla="*/ 1221640 h 1268099"/>
                    <a:gd name="connsiteX632" fmla="*/ 301181 w 1524655"/>
                    <a:gd name="connsiteY632" fmla="*/ 1221033 h 1268099"/>
                    <a:gd name="connsiteX633" fmla="*/ 302614 w 1524655"/>
                    <a:gd name="connsiteY633" fmla="*/ 1219467 h 1268099"/>
                    <a:gd name="connsiteX634" fmla="*/ 303246 w 1524655"/>
                    <a:gd name="connsiteY634" fmla="*/ 1219212 h 1268099"/>
                    <a:gd name="connsiteX635" fmla="*/ 304848 w 1524655"/>
                    <a:gd name="connsiteY635" fmla="*/ 1219188 h 1268099"/>
                    <a:gd name="connsiteX636" fmla="*/ 306002 w 1524655"/>
                    <a:gd name="connsiteY636" fmla="*/ 1219042 h 1268099"/>
                    <a:gd name="connsiteX637" fmla="*/ 307326 w 1524655"/>
                    <a:gd name="connsiteY637" fmla="*/ 1218544 h 1268099"/>
                    <a:gd name="connsiteX638" fmla="*/ 309098 w 1524655"/>
                    <a:gd name="connsiteY638" fmla="*/ 1217463 h 1268099"/>
                    <a:gd name="connsiteX639" fmla="*/ 309791 w 1524655"/>
                    <a:gd name="connsiteY639" fmla="*/ 1216783 h 1268099"/>
                    <a:gd name="connsiteX640" fmla="*/ 310021 w 1524655"/>
                    <a:gd name="connsiteY640" fmla="*/ 1215581 h 1268099"/>
                    <a:gd name="connsiteX641" fmla="*/ 309961 w 1524655"/>
                    <a:gd name="connsiteY641" fmla="*/ 1210979 h 1268099"/>
                    <a:gd name="connsiteX642" fmla="*/ 310313 w 1524655"/>
                    <a:gd name="connsiteY642" fmla="*/ 1209582 h 1268099"/>
                    <a:gd name="connsiteX643" fmla="*/ 311102 w 1524655"/>
                    <a:gd name="connsiteY643" fmla="*/ 1208538 h 1268099"/>
                    <a:gd name="connsiteX644" fmla="*/ 312377 w 1524655"/>
                    <a:gd name="connsiteY644" fmla="*/ 1207967 h 1268099"/>
                    <a:gd name="connsiteX645" fmla="*/ 313579 w 1524655"/>
                    <a:gd name="connsiteY645" fmla="*/ 1207761 h 1268099"/>
                    <a:gd name="connsiteX646" fmla="*/ 314611 w 1524655"/>
                    <a:gd name="connsiteY646" fmla="*/ 1207822 h 1268099"/>
                    <a:gd name="connsiteX647" fmla="*/ 315704 w 1524655"/>
                    <a:gd name="connsiteY647" fmla="*/ 1208271 h 1268099"/>
                    <a:gd name="connsiteX648" fmla="*/ 317076 w 1524655"/>
                    <a:gd name="connsiteY648" fmla="*/ 1208951 h 1268099"/>
                    <a:gd name="connsiteX649" fmla="*/ 328734 w 1524655"/>
                    <a:gd name="connsiteY649" fmla="*/ 1217281 h 1268099"/>
                    <a:gd name="connsiteX650" fmla="*/ 330980 w 1524655"/>
                    <a:gd name="connsiteY650" fmla="*/ 1218083 h 1268099"/>
                    <a:gd name="connsiteX651" fmla="*/ 332862 w 1524655"/>
                    <a:gd name="connsiteY651" fmla="*/ 1217985 h 1268099"/>
                    <a:gd name="connsiteX652" fmla="*/ 333967 w 1524655"/>
                    <a:gd name="connsiteY652" fmla="*/ 1217221 h 1268099"/>
                    <a:gd name="connsiteX653" fmla="*/ 334028 w 1524655"/>
                    <a:gd name="connsiteY653" fmla="*/ 1215399 h 1268099"/>
                    <a:gd name="connsiteX654" fmla="*/ 333105 w 1524655"/>
                    <a:gd name="connsiteY654" fmla="*/ 1213007 h 1268099"/>
                    <a:gd name="connsiteX655" fmla="*/ 330348 w 1524655"/>
                    <a:gd name="connsiteY655" fmla="*/ 1209133 h 1268099"/>
                    <a:gd name="connsiteX656" fmla="*/ 327932 w 1524655"/>
                    <a:gd name="connsiteY656" fmla="*/ 1207409 h 1268099"/>
                    <a:gd name="connsiteX657" fmla="*/ 325868 w 1524655"/>
                    <a:gd name="connsiteY657" fmla="*/ 1206401 h 1268099"/>
                    <a:gd name="connsiteX658" fmla="*/ 324192 w 1524655"/>
                    <a:gd name="connsiteY658" fmla="*/ 1205952 h 1268099"/>
                    <a:gd name="connsiteX659" fmla="*/ 323561 w 1524655"/>
                    <a:gd name="connsiteY659" fmla="*/ 1205272 h 1268099"/>
                    <a:gd name="connsiteX660" fmla="*/ 323464 w 1524655"/>
                    <a:gd name="connsiteY660" fmla="*/ 1204070 h 1268099"/>
                    <a:gd name="connsiteX661" fmla="*/ 324192 w 1524655"/>
                    <a:gd name="connsiteY661" fmla="*/ 1201884 h 1268099"/>
                    <a:gd name="connsiteX662" fmla="*/ 329037 w 1524655"/>
                    <a:gd name="connsiteY662" fmla="*/ 1195824 h 1268099"/>
                    <a:gd name="connsiteX663" fmla="*/ 331041 w 1524655"/>
                    <a:gd name="connsiteY663" fmla="*/ 1192631 h 1268099"/>
                    <a:gd name="connsiteX664" fmla="*/ 331429 w 1524655"/>
                    <a:gd name="connsiteY664" fmla="*/ 1191878 h 1268099"/>
                    <a:gd name="connsiteX665" fmla="*/ 331891 w 1524655"/>
                    <a:gd name="connsiteY665" fmla="*/ 1190421 h 1268099"/>
                    <a:gd name="connsiteX666" fmla="*/ 332996 w 1524655"/>
                    <a:gd name="connsiteY666" fmla="*/ 1186122 h 1268099"/>
                    <a:gd name="connsiteX667" fmla="*/ 333676 w 1524655"/>
                    <a:gd name="connsiteY667" fmla="*/ 1184082 h 1268099"/>
                    <a:gd name="connsiteX668" fmla="*/ 334538 w 1524655"/>
                    <a:gd name="connsiteY668" fmla="*/ 1182820 h 1268099"/>
                    <a:gd name="connsiteX669" fmla="*/ 335740 w 1524655"/>
                    <a:gd name="connsiteY669" fmla="*/ 1182006 h 1268099"/>
                    <a:gd name="connsiteX670" fmla="*/ 339237 w 1524655"/>
                    <a:gd name="connsiteY670" fmla="*/ 1180221 h 1268099"/>
                    <a:gd name="connsiteX671" fmla="*/ 340451 w 1524655"/>
                    <a:gd name="connsiteY671" fmla="*/ 1179249 h 1268099"/>
                    <a:gd name="connsiteX672" fmla="*/ 342115 w 1524655"/>
                    <a:gd name="connsiteY672" fmla="*/ 1177294 h 1268099"/>
                    <a:gd name="connsiteX673" fmla="*/ 343038 w 1524655"/>
                    <a:gd name="connsiteY673" fmla="*/ 1175024 h 1268099"/>
                    <a:gd name="connsiteX674" fmla="*/ 343499 w 1524655"/>
                    <a:gd name="connsiteY674" fmla="*/ 1172243 h 1268099"/>
                    <a:gd name="connsiteX675" fmla="*/ 343730 w 1524655"/>
                    <a:gd name="connsiteY675" fmla="*/ 1167641 h 1268099"/>
                    <a:gd name="connsiteX676" fmla="*/ 344410 w 1524655"/>
                    <a:gd name="connsiteY676" fmla="*/ 1165552 h 1268099"/>
                    <a:gd name="connsiteX677" fmla="*/ 345612 w 1524655"/>
                    <a:gd name="connsiteY677" fmla="*/ 1163913 h 1268099"/>
                    <a:gd name="connsiteX678" fmla="*/ 348612 w 1524655"/>
                    <a:gd name="connsiteY678" fmla="*/ 1160695 h 1268099"/>
                    <a:gd name="connsiteX679" fmla="*/ 349862 w 1524655"/>
                    <a:gd name="connsiteY679" fmla="*/ 1158692 h 1268099"/>
                    <a:gd name="connsiteX680" fmla="*/ 350615 w 1524655"/>
                    <a:gd name="connsiteY680" fmla="*/ 1156736 h 1268099"/>
                    <a:gd name="connsiteX681" fmla="*/ 351599 w 1524655"/>
                    <a:gd name="connsiteY681" fmla="*/ 1152596 h 1268099"/>
                    <a:gd name="connsiteX682" fmla="*/ 351927 w 1524655"/>
                    <a:gd name="connsiteY682" fmla="*/ 1151588 h 1268099"/>
                    <a:gd name="connsiteX683" fmla="*/ 352169 w 1524655"/>
                    <a:gd name="connsiteY683" fmla="*/ 1150434 h 1268099"/>
                    <a:gd name="connsiteX684" fmla="*/ 352218 w 1524655"/>
                    <a:gd name="connsiteY684" fmla="*/ 1149256 h 1268099"/>
                    <a:gd name="connsiteX685" fmla="*/ 352218 w 1524655"/>
                    <a:gd name="connsiteY685" fmla="*/ 1147884 h 1268099"/>
                    <a:gd name="connsiteX686" fmla="*/ 352291 w 1524655"/>
                    <a:gd name="connsiteY686" fmla="*/ 1146269 h 1268099"/>
                    <a:gd name="connsiteX687" fmla="*/ 352801 w 1524655"/>
                    <a:gd name="connsiteY687" fmla="*/ 1143112 h 1268099"/>
                    <a:gd name="connsiteX688" fmla="*/ 352910 w 1524655"/>
                    <a:gd name="connsiteY688" fmla="*/ 1141303 h 1268099"/>
                    <a:gd name="connsiteX689" fmla="*/ 352801 w 1524655"/>
                    <a:gd name="connsiteY689" fmla="*/ 1139579 h 1268099"/>
                    <a:gd name="connsiteX690" fmla="*/ 352291 w 1524655"/>
                    <a:gd name="connsiteY690" fmla="*/ 1137466 h 1268099"/>
                    <a:gd name="connsiteX691" fmla="*/ 351708 w 1524655"/>
                    <a:gd name="connsiteY691" fmla="*/ 1136021 h 1268099"/>
                    <a:gd name="connsiteX692" fmla="*/ 351016 w 1524655"/>
                    <a:gd name="connsiteY692" fmla="*/ 1135013 h 1268099"/>
                    <a:gd name="connsiteX693" fmla="*/ 350032 w 1524655"/>
                    <a:gd name="connsiteY693" fmla="*/ 1134430 h 1268099"/>
                    <a:gd name="connsiteX694" fmla="*/ 347567 w 1524655"/>
                    <a:gd name="connsiteY694" fmla="*/ 1137089 h 1268099"/>
                    <a:gd name="connsiteX695" fmla="*/ 346535 w 1524655"/>
                    <a:gd name="connsiteY695" fmla="*/ 1137939 h 1268099"/>
                    <a:gd name="connsiteX696" fmla="*/ 345564 w 1524655"/>
                    <a:gd name="connsiteY696" fmla="*/ 1138425 h 1268099"/>
                    <a:gd name="connsiteX697" fmla="*/ 344252 w 1524655"/>
                    <a:gd name="connsiteY697" fmla="*/ 1138777 h 1268099"/>
                    <a:gd name="connsiteX698" fmla="*/ 343038 w 1524655"/>
                    <a:gd name="connsiteY698" fmla="*/ 1138801 h 1268099"/>
                    <a:gd name="connsiteX699" fmla="*/ 341884 w 1524655"/>
                    <a:gd name="connsiteY699" fmla="*/ 1138571 h 1268099"/>
                    <a:gd name="connsiteX700" fmla="*/ 341034 w 1524655"/>
                    <a:gd name="connsiteY700" fmla="*/ 1138134 h 1268099"/>
                    <a:gd name="connsiteX701" fmla="*/ 333506 w 1524655"/>
                    <a:gd name="connsiteY701" fmla="*/ 1132232 h 1268099"/>
                    <a:gd name="connsiteX702" fmla="*/ 332291 w 1524655"/>
                    <a:gd name="connsiteY702" fmla="*/ 1131758 h 1268099"/>
                    <a:gd name="connsiteX703" fmla="*/ 331041 w 1524655"/>
                    <a:gd name="connsiteY703" fmla="*/ 1131758 h 1268099"/>
                    <a:gd name="connsiteX704" fmla="*/ 329936 w 1524655"/>
                    <a:gd name="connsiteY704" fmla="*/ 1131941 h 1268099"/>
                    <a:gd name="connsiteX705" fmla="*/ 329037 w 1524655"/>
                    <a:gd name="connsiteY705" fmla="*/ 1131941 h 1268099"/>
                    <a:gd name="connsiteX706" fmla="*/ 327993 w 1524655"/>
                    <a:gd name="connsiteY706" fmla="*/ 1131661 h 1268099"/>
                    <a:gd name="connsiteX707" fmla="*/ 326961 w 1524655"/>
                    <a:gd name="connsiteY707" fmla="*/ 1131175 h 1268099"/>
                    <a:gd name="connsiteX708" fmla="*/ 325236 w 1524655"/>
                    <a:gd name="connsiteY708" fmla="*/ 1129937 h 1268099"/>
                    <a:gd name="connsiteX709" fmla="*/ 324253 w 1524655"/>
                    <a:gd name="connsiteY709" fmla="*/ 1129512 h 1268099"/>
                    <a:gd name="connsiteX710" fmla="*/ 323051 w 1524655"/>
                    <a:gd name="connsiteY710" fmla="*/ 1129682 h 1268099"/>
                    <a:gd name="connsiteX711" fmla="*/ 320246 w 1524655"/>
                    <a:gd name="connsiteY711" fmla="*/ 1131321 h 1268099"/>
                    <a:gd name="connsiteX712" fmla="*/ 318813 w 1524655"/>
                    <a:gd name="connsiteY712" fmla="*/ 1131370 h 1268099"/>
                    <a:gd name="connsiteX713" fmla="*/ 317659 w 1524655"/>
                    <a:gd name="connsiteY713" fmla="*/ 1130435 h 1268099"/>
                    <a:gd name="connsiteX714" fmla="*/ 316979 w 1524655"/>
                    <a:gd name="connsiteY714" fmla="*/ 1127654 h 1268099"/>
                    <a:gd name="connsiteX715" fmla="*/ 316166 w 1524655"/>
                    <a:gd name="connsiteY715" fmla="*/ 1125760 h 1268099"/>
                    <a:gd name="connsiteX716" fmla="*/ 314733 w 1524655"/>
                    <a:gd name="connsiteY716" fmla="*/ 1123938 h 1268099"/>
                    <a:gd name="connsiteX717" fmla="*/ 313640 w 1524655"/>
                    <a:gd name="connsiteY717" fmla="*/ 1122894 h 1268099"/>
                    <a:gd name="connsiteX718" fmla="*/ 312535 w 1524655"/>
                    <a:gd name="connsiteY718" fmla="*/ 1121655 h 1268099"/>
                    <a:gd name="connsiteX719" fmla="*/ 311867 w 1524655"/>
                    <a:gd name="connsiteY719" fmla="*/ 1120259 h 1268099"/>
                    <a:gd name="connsiteX720" fmla="*/ 311794 w 1524655"/>
                    <a:gd name="connsiteY720" fmla="*/ 1118122 h 1268099"/>
                    <a:gd name="connsiteX721" fmla="*/ 312146 w 1524655"/>
                    <a:gd name="connsiteY721" fmla="*/ 1116908 h 1268099"/>
                    <a:gd name="connsiteX722" fmla="*/ 312826 w 1524655"/>
                    <a:gd name="connsiteY722" fmla="*/ 1115766 h 1268099"/>
                    <a:gd name="connsiteX723" fmla="*/ 313421 w 1524655"/>
                    <a:gd name="connsiteY723" fmla="*/ 1115013 h 1268099"/>
                    <a:gd name="connsiteX724" fmla="*/ 313810 w 1524655"/>
                    <a:gd name="connsiteY724" fmla="*/ 1114151 h 1268099"/>
                    <a:gd name="connsiteX725" fmla="*/ 313980 w 1524655"/>
                    <a:gd name="connsiteY725" fmla="*/ 1113143 h 1268099"/>
                    <a:gd name="connsiteX726" fmla="*/ 313458 w 1524655"/>
                    <a:gd name="connsiteY726" fmla="*/ 1104777 h 1268099"/>
                    <a:gd name="connsiteX727" fmla="*/ 313688 w 1524655"/>
                    <a:gd name="connsiteY727" fmla="*/ 1102530 h 1268099"/>
                    <a:gd name="connsiteX728" fmla="*/ 314101 w 1524655"/>
                    <a:gd name="connsiteY728" fmla="*/ 1100661 h 1268099"/>
                    <a:gd name="connsiteX729" fmla="*/ 314733 w 1524655"/>
                    <a:gd name="connsiteY729" fmla="*/ 1098997 h 1268099"/>
                    <a:gd name="connsiteX730" fmla="*/ 315073 w 1524655"/>
                    <a:gd name="connsiteY730" fmla="*/ 1096957 h 1268099"/>
                    <a:gd name="connsiteX731" fmla="*/ 315000 w 1524655"/>
                    <a:gd name="connsiteY731" fmla="*/ 1096520 h 1268099"/>
                    <a:gd name="connsiteX732" fmla="*/ 314211 w 1524655"/>
                    <a:gd name="connsiteY732" fmla="*/ 1091165 h 1268099"/>
                    <a:gd name="connsiteX733" fmla="*/ 314332 w 1524655"/>
                    <a:gd name="connsiteY733" fmla="*/ 1088809 h 1268099"/>
                    <a:gd name="connsiteX734" fmla="*/ 314733 w 1524655"/>
                    <a:gd name="connsiteY734" fmla="*/ 1086684 h 1268099"/>
                    <a:gd name="connsiteX735" fmla="*/ 316044 w 1524655"/>
                    <a:gd name="connsiteY735" fmla="*/ 1082980 h 1268099"/>
                    <a:gd name="connsiteX736" fmla="*/ 316457 w 1524655"/>
                    <a:gd name="connsiteY736" fmla="*/ 1081390 h 1268099"/>
                    <a:gd name="connsiteX737" fmla="*/ 316166 w 1524655"/>
                    <a:gd name="connsiteY737" fmla="*/ 1080127 h 1268099"/>
                    <a:gd name="connsiteX738" fmla="*/ 315303 w 1524655"/>
                    <a:gd name="connsiteY738" fmla="*/ 1079204 h 1268099"/>
                    <a:gd name="connsiteX739" fmla="*/ 313458 w 1524655"/>
                    <a:gd name="connsiteY739" fmla="*/ 1078925 h 1268099"/>
                    <a:gd name="connsiteX740" fmla="*/ 311964 w 1524655"/>
                    <a:gd name="connsiteY740" fmla="*/ 1079082 h 1268099"/>
                    <a:gd name="connsiteX741" fmla="*/ 309499 w 1524655"/>
                    <a:gd name="connsiteY741" fmla="*/ 1079775 h 1268099"/>
                    <a:gd name="connsiteX742" fmla="*/ 308576 w 1524655"/>
                    <a:gd name="connsiteY742" fmla="*/ 1079920 h 1268099"/>
                    <a:gd name="connsiteX743" fmla="*/ 307666 w 1524655"/>
                    <a:gd name="connsiteY743" fmla="*/ 1079860 h 1268099"/>
                    <a:gd name="connsiteX744" fmla="*/ 306755 w 1524655"/>
                    <a:gd name="connsiteY744" fmla="*/ 1079544 h 1268099"/>
                    <a:gd name="connsiteX745" fmla="*/ 304436 w 1524655"/>
                    <a:gd name="connsiteY745" fmla="*/ 1078111 h 1268099"/>
                    <a:gd name="connsiteX746" fmla="*/ 303246 w 1524655"/>
                    <a:gd name="connsiteY746" fmla="*/ 1077625 h 1268099"/>
                    <a:gd name="connsiteX747" fmla="*/ 302104 w 1524655"/>
                    <a:gd name="connsiteY747" fmla="*/ 1077625 h 1268099"/>
                    <a:gd name="connsiteX748" fmla="*/ 300999 w 1524655"/>
                    <a:gd name="connsiteY748" fmla="*/ 1078111 h 1268099"/>
                    <a:gd name="connsiteX749" fmla="*/ 298534 w 1524655"/>
                    <a:gd name="connsiteY749" fmla="*/ 1079714 h 1268099"/>
                    <a:gd name="connsiteX750" fmla="*/ 297223 w 1524655"/>
                    <a:gd name="connsiteY750" fmla="*/ 1080175 h 1268099"/>
                    <a:gd name="connsiteX751" fmla="*/ 295608 w 1524655"/>
                    <a:gd name="connsiteY751" fmla="*/ 1080345 h 1268099"/>
                    <a:gd name="connsiteX752" fmla="*/ 293762 w 1524655"/>
                    <a:gd name="connsiteY752" fmla="*/ 1080236 h 1268099"/>
                    <a:gd name="connsiteX753" fmla="*/ 289645 w 1524655"/>
                    <a:gd name="connsiteY753" fmla="*/ 1079519 h 1268099"/>
                    <a:gd name="connsiteX754" fmla="*/ 286075 w 1524655"/>
                    <a:gd name="connsiteY754" fmla="*/ 1078257 h 1268099"/>
                    <a:gd name="connsiteX755" fmla="*/ 284242 w 1524655"/>
                    <a:gd name="connsiteY755" fmla="*/ 1077820 h 1268099"/>
                    <a:gd name="connsiteX756" fmla="*/ 281643 w 1524655"/>
                    <a:gd name="connsiteY756" fmla="*/ 1077455 h 1268099"/>
                    <a:gd name="connsiteX757" fmla="*/ 280732 w 1524655"/>
                    <a:gd name="connsiteY757" fmla="*/ 1077224 h 1268099"/>
                    <a:gd name="connsiteX758" fmla="*/ 279300 w 1524655"/>
                    <a:gd name="connsiteY758" fmla="*/ 1076253 h 1268099"/>
                    <a:gd name="connsiteX759" fmla="*/ 277806 w 1524655"/>
                    <a:gd name="connsiteY759" fmla="*/ 1074784 h 1268099"/>
                    <a:gd name="connsiteX760" fmla="*/ 271322 w 1524655"/>
                    <a:gd name="connsiteY760" fmla="*/ 1067304 h 1268099"/>
                    <a:gd name="connsiteX761" fmla="*/ 269925 w 1524655"/>
                    <a:gd name="connsiteY761" fmla="*/ 1066357 h 1268099"/>
                    <a:gd name="connsiteX762" fmla="*/ 268335 w 1524655"/>
                    <a:gd name="connsiteY762" fmla="*/ 1065713 h 1268099"/>
                    <a:gd name="connsiteX763" fmla="*/ 266780 w 1524655"/>
                    <a:gd name="connsiteY763" fmla="*/ 1065604 h 1268099"/>
                    <a:gd name="connsiteX764" fmla="*/ 265117 w 1524655"/>
                    <a:gd name="connsiteY764" fmla="*/ 1065932 h 1268099"/>
                    <a:gd name="connsiteX765" fmla="*/ 261960 w 1524655"/>
                    <a:gd name="connsiteY765" fmla="*/ 1067292 h 1268099"/>
                    <a:gd name="connsiteX766" fmla="*/ 260187 w 1524655"/>
                    <a:gd name="connsiteY766" fmla="*/ 1067219 h 1268099"/>
                    <a:gd name="connsiteX767" fmla="*/ 258912 w 1524655"/>
                    <a:gd name="connsiteY767" fmla="*/ 1066187 h 1268099"/>
                    <a:gd name="connsiteX768" fmla="*/ 257479 w 1524655"/>
                    <a:gd name="connsiteY768" fmla="*/ 1063697 h 1268099"/>
                    <a:gd name="connsiteX769" fmla="*/ 256896 w 1524655"/>
                    <a:gd name="connsiteY769" fmla="*/ 1061706 h 1268099"/>
                    <a:gd name="connsiteX770" fmla="*/ 256738 w 1524655"/>
                    <a:gd name="connsiteY770" fmla="*/ 1059933 h 1268099"/>
                    <a:gd name="connsiteX771" fmla="*/ 257709 w 1524655"/>
                    <a:gd name="connsiteY771" fmla="*/ 1058780 h 1268099"/>
                    <a:gd name="connsiteX772" fmla="*/ 258972 w 1524655"/>
                    <a:gd name="connsiteY772" fmla="*/ 1058658 h 1268099"/>
                    <a:gd name="connsiteX773" fmla="*/ 262008 w 1524655"/>
                    <a:gd name="connsiteY773" fmla="*/ 1059374 h 1268099"/>
                    <a:gd name="connsiteX774" fmla="*/ 263623 w 1524655"/>
                    <a:gd name="connsiteY774" fmla="*/ 1059447 h 1268099"/>
                    <a:gd name="connsiteX775" fmla="*/ 264837 w 1524655"/>
                    <a:gd name="connsiteY775" fmla="*/ 1059034 h 1268099"/>
                    <a:gd name="connsiteX776" fmla="*/ 265870 w 1524655"/>
                    <a:gd name="connsiteY776" fmla="*/ 1058209 h 1268099"/>
                    <a:gd name="connsiteX777" fmla="*/ 265979 w 1524655"/>
                    <a:gd name="connsiteY777" fmla="*/ 1056776 h 1268099"/>
                    <a:gd name="connsiteX778" fmla="*/ 265360 w 1524655"/>
                    <a:gd name="connsiteY778" fmla="*/ 1055112 h 1268099"/>
                    <a:gd name="connsiteX779" fmla="*/ 263332 w 1524655"/>
                    <a:gd name="connsiteY779" fmla="*/ 1052149 h 1268099"/>
                    <a:gd name="connsiteX780" fmla="*/ 262190 w 1524655"/>
                    <a:gd name="connsiteY780" fmla="*/ 1050085 h 1268099"/>
                    <a:gd name="connsiteX781" fmla="*/ 261607 w 1524655"/>
                    <a:gd name="connsiteY781" fmla="*/ 1048142 h 1268099"/>
                    <a:gd name="connsiteX782" fmla="*/ 262348 w 1524655"/>
                    <a:gd name="connsiteY782" fmla="*/ 1046041 h 1268099"/>
                    <a:gd name="connsiteX783" fmla="*/ 264194 w 1524655"/>
                    <a:gd name="connsiteY783" fmla="*/ 1042423 h 1268099"/>
                    <a:gd name="connsiteX784" fmla="*/ 264534 w 1524655"/>
                    <a:gd name="connsiteY784" fmla="*/ 1040067 h 1268099"/>
                    <a:gd name="connsiteX785" fmla="*/ 264364 w 1524655"/>
                    <a:gd name="connsiteY785" fmla="*/ 1037602 h 1268099"/>
                    <a:gd name="connsiteX786" fmla="*/ 263332 w 1524655"/>
                    <a:gd name="connsiteY786" fmla="*/ 1033546 h 1268099"/>
                    <a:gd name="connsiteX787" fmla="*/ 261158 w 1524655"/>
                    <a:gd name="connsiteY787" fmla="*/ 1028446 h 1268099"/>
                    <a:gd name="connsiteX788" fmla="*/ 252306 w 1524655"/>
                    <a:gd name="connsiteY788" fmla="*/ 1023128 h 1268099"/>
                    <a:gd name="connsiteX789" fmla="*/ 246575 w 1524655"/>
                    <a:gd name="connsiteY789" fmla="*/ 1026491 h 1268099"/>
                    <a:gd name="connsiteX790" fmla="*/ 245822 w 1524655"/>
                    <a:gd name="connsiteY790" fmla="*/ 1026673 h 1268099"/>
                    <a:gd name="connsiteX791" fmla="*/ 244729 w 1524655"/>
                    <a:gd name="connsiteY791" fmla="*/ 1026516 h 1268099"/>
                    <a:gd name="connsiteX792" fmla="*/ 242895 w 1524655"/>
                    <a:gd name="connsiteY792" fmla="*/ 1025884 h 1268099"/>
                    <a:gd name="connsiteX793" fmla="*/ 240892 w 1524655"/>
                    <a:gd name="connsiteY793" fmla="*/ 1025690 h 1268099"/>
                    <a:gd name="connsiteX794" fmla="*/ 238754 w 1524655"/>
                    <a:gd name="connsiteY794" fmla="*/ 1026139 h 1268099"/>
                    <a:gd name="connsiteX795" fmla="*/ 236289 w 1524655"/>
                    <a:gd name="connsiteY795" fmla="*/ 1027949 h 1268099"/>
                    <a:gd name="connsiteX796" fmla="*/ 233424 w 1524655"/>
                    <a:gd name="connsiteY796" fmla="*/ 1031846 h 1268099"/>
                    <a:gd name="connsiteX797" fmla="*/ 232209 w 1524655"/>
                    <a:gd name="connsiteY797" fmla="*/ 1033085 h 1268099"/>
                    <a:gd name="connsiteX798" fmla="*/ 231299 w 1524655"/>
                    <a:gd name="connsiteY798" fmla="*/ 1033486 h 1268099"/>
                    <a:gd name="connsiteX799" fmla="*/ 230607 w 1524655"/>
                    <a:gd name="connsiteY799" fmla="*/ 1032709 h 1268099"/>
                    <a:gd name="connsiteX800" fmla="*/ 230145 w 1524655"/>
                    <a:gd name="connsiteY800" fmla="*/ 1031397 h 1268099"/>
                    <a:gd name="connsiteX801" fmla="*/ 229744 w 1524655"/>
                    <a:gd name="connsiteY801" fmla="*/ 1029673 h 1268099"/>
                    <a:gd name="connsiteX802" fmla="*/ 229174 w 1524655"/>
                    <a:gd name="connsiteY802" fmla="*/ 1025496 h 1268099"/>
                    <a:gd name="connsiteX803" fmla="*/ 229174 w 1524655"/>
                    <a:gd name="connsiteY803" fmla="*/ 1023893 h 1268099"/>
                    <a:gd name="connsiteX804" fmla="*/ 229574 w 1524655"/>
                    <a:gd name="connsiteY804" fmla="*/ 1022630 h 1268099"/>
                    <a:gd name="connsiteX805" fmla="*/ 230376 w 1524655"/>
                    <a:gd name="connsiteY805" fmla="*/ 1021683 h 1268099"/>
                    <a:gd name="connsiteX806" fmla="*/ 234007 w 1524655"/>
                    <a:gd name="connsiteY806" fmla="*/ 1018598 h 1268099"/>
                    <a:gd name="connsiteX807" fmla="*/ 234687 w 1524655"/>
                    <a:gd name="connsiteY807" fmla="*/ 1017712 h 1268099"/>
                    <a:gd name="connsiteX808" fmla="*/ 235014 w 1524655"/>
                    <a:gd name="connsiteY808" fmla="*/ 1016923 h 1268099"/>
                    <a:gd name="connsiteX809" fmla="*/ 235196 w 1524655"/>
                    <a:gd name="connsiteY809" fmla="*/ 1016279 h 1268099"/>
                    <a:gd name="connsiteX810" fmla="*/ 235439 w 1524655"/>
                    <a:gd name="connsiteY810" fmla="*/ 1011228 h 1268099"/>
                    <a:gd name="connsiteX811" fmla="*/ 235196 w 1524655"/>
                    <a:gd name="connsiteY811" fmla="*/ 1009686 h 1268099"/>
                    <a:gd name="connsiteX812" fmla="*/ 234856 w 1524655"/>
                    <a:gd name="connsiteY812" fmla="*/ 1008581 h 1268099"/>
                    <a:gd name="connsiteX813" fmla="*/ 234395 w 1524655"/>
                    <a:gd name="connsiteY813" fmla="*/ 1008095 h 1268099"/>
                    <a:gd name="connsiteX814" fmla="*/ 233424 w 1524655"/>
                    <a:gd name="connsiteY814" fmla="*/ 1008010 h 1268099"/>
                    <a:gd name="connsiteX815" fmla="*/ 232331 w 1524655"/>
                    <a:gd name="connsiteY815" fmla="*/ 1008410 h 1268099"/>
                    <a:gd name="connsiteX816" fmla="*/ 230084 w 1524655"/>
                    <a:gd name="connsiteY816" fmla="*/ 1009843 h 1268099"/>
                    <a:gd name="connsiteX817" fmla="*/ 229052 w 1524655"/>
                    <a:gd name="connsiteY817" fmla="*/ 1010839 h 1268099"/>
                    <a:gd name="connsiteX818" fmla="*/ 228141 w 1524655"/>
                    <a:gd name="connsiteY818" fmla="*/ 1012223 h 1268099"/>
                    <a:gd name="connsiteX819" fmla="*/ 227619 w 1524655"/>
                    <a:gd name="connsiteY819" fmla="*/ 1013632 h 1268099"/>
                    <a:gd name="connsiteX820" fmla="*/ 226818 w 1524655"/>
                    <a:gd name="connsiteY820" fmla="*/ 1015259 h 1268099"/>
                    <a:gd name="connsiteX821" fmla="*/ 225264 w 1524655"/>
                    <a:gd name="connsiteY821" fmla="*/ 1016473 h 1268099"/>
                    <a:gd name="connsiteX822" fmla="*/ 223491 w 1524655"/>
                    <a:gd name="connsiteY822" fmla="*/ 1016996 h 1268099"/>
                    <a:gd name="connsiteX823" fmla="*/ 220673 w 1524655"/>
                    <a:gd name="connsiteY823" fmla="*/ 1016303 h 1268099"/>
                    <a:gd name="connsiteX824" fmla="*/ 219241 w 1524655"/>
                    <a:gd name="connsiteY824" fmla="*/ 1015441 h 1268099"/>
                    <a:gd name="connsiteX825" fmla="*/ 218026 w 1524655"/>
                    <a:gd name="connsiteY825" fmla="*/ 1014324 h 1268099"/>
                    <a:gd name="connsiteX826" fmla="*/ 217116 w 1524655"/>
                    <a:gd name="connsiteY826" fmla="*/ 1013680 h 1268099"/>
                    <a:gd name="connsiteX827" fmla="*/ 215841 w 1524655"/>
                    <a:gd name="connsiteY827" fmla="*/ 1013474 h 1268099"/>
                    <a:gd name="connsiteX828" fmla="*/ 211821 w 1524655"/>
                    <a:gd name="connsiteY828" fmla="*/ 1013425 h 1268099"/>
                    <a:gd name="connsiteX829" fmla="*/ 208616 w 1524655"/>
                    <a:gd name="connsiteY829" fmla="*/ 1012296 h 1268099"/>
                    <a:gd name="connsiteX830" fmla="*/ 207122 w 1524655"/>
                    <a:gd name="connsiteY830" fmla="*/ 1012211 h 1268099"/>
                    <a:gd name="connsiteX831" fmla="*/ 205398 w 1524655"/>
                    <a:gd name="connsiteY831" fmla="*/ 1013158 h 1268099"/>
                    <a:gd name="connsiteX832" fmla="*/ 204426 w 1524655"/>
                    <a:gd name="connsiteY832" fmla="*/ 1014215 h 1268099"/>
                    <a:gd name="connsiteX833" fmla="*/ 203673 w 1524655"/>
                    <a:gd name="connsiteY833" fmla="*/ 1015514 h 1268099"/>
                    <a:gd name="connsiteX834" fmla="*/ 203394 w 1524655"/>
                    <a:gd name="connsiteY834" fmla="*/ 1016777 h 1268099"/>
                    <a:gd name="connsiteX835" fmla="*/ 203564 w 1524655"/>
                    <a:gd name="connsiteY835" fmla="*/ 1018173 h 1268099"/>
                    <a:gd name="connsiteX836" fmla="*/ 204183 w 1524655"/>
                    <a:gd name="connsiteY836" fmla="*/ 1019570 h 1268099"/>
                    <a:gd name="connsiteX837" fmla="*/ 205216 w 1524655"/>
                    <a:gd name="connsiteY837" fmla="*/ 1020821 h 1268099"/>
                    <a:gd name="connsiteX838" fmla="*/ 206369 w 1524655"/>
                    <a:gd name="connsiteY838" fmla="*/ 1021974 h 1268099"/>
                    <a:gd name="connsiteX839" fmla="*/ 207013 w 1524655"/>
                    <a:gd name="connsiteY839" fmla="*/ 1023140 h 1268099"/>
                    <a:gd name="connsiteX840" fmla="*/ 207122 w 1524655"/>
                    <a:gd name="connsiteY840" fmla="*/ 1024476 h 1268099"/>
                    <a:gd name="connsiteX841" fmla="*/ 206661 w 1524655"/>
                    <a:gd name="connsiteY841" fmla="*/ 1025848 h 1268099"/>
                    <a:gd name="connsiteX842" fmla="*/ 205677 w 1524655"/>
                    <a:gd name="connsiteY842" fmla="*/ 1027111 h 1268099"/>
                    <a:gd name="connsiteX843" fmla="*/ 204147 w 1524655"/>
                    <a:gd name="connsiteY843" fmla="*/ 1028374 h 1268099"/>
                    <a:gd name="connsiteX844" fmla="*/ 200285 w 1524655"/>
                    <a:gd name="connsiteY844" fmla="*/ 1030839 h 1268099"/>
                    <a:gd name="connsiteX845" fmla="*/ 198610 w 1524655"/>
                    <a:gd name="connsiteY845" fmla="*/ 1032271 h 1268099"/>
                    <a:gd name="connsiteX846" fmla="*/ 196509 w 1524655"/>
                    <a:gd name="connsiteY846" fmla="*/ 1034663 h 1268099"/>
                    <a:gd name="connsiteX847" fmla="*/ 195343 w 1524655"/>
                    <a:gd name="connsiteY847" fmla="*/ 1035319 h 1268099"/>
                    <a:gd name="connsiteX848" fmla="*/ 193571 w 1524655"/>
                    <a:gd name="connsiteY848" fmla="*/ 1036036 h 1268099"/>
                    <a:gd name="connsiteX849" fmla="*/ 190474 w 1524655"/>
                    <a:gd name="connsiteY849" fmla="*/ 1036873 h 1268099"/>
                    <a:gd name="connsiteX850" fmla="*/ 188750 w 1524655"/>
                    <a:gd name="connsiteY850" fmla="*/ 1037808 h 1268099"/>
                    <a:gd name="connsiteX851" fmla="*/ 187365 w 1524655"/>
                    <a:gd name="connsiteY851" fmla="*/ 1039338 h 1268099"/>
                    <a:gd name="connsiteX852" fmla="*/ 186613 w 1524655"/>
                    <a:gd name="connsiteY852" fmla="*/ 1041330 h 1268099"/>
                    <a:gd name="connsiteX853" fmla="*/ 185981 w 1524655"/>
                    <a:gd name="connsiteY853" fmla="*/ 1043613 h 1268099"/>
                    <a:gd name="connsiteX854" fmla="*/ 185253 w 1524655"/>
                    <a:gd name="connsiteY854" fmla="*/ 1045556 h 1268099"/>
                    <a:gd name="connsiteX855" fmla="*/ 184148 w 1524655"/>
                    <a:gd name="connsiteY855" fmla="*/ 1046746 h 1268099"/>
                    <a:gd name="connsiteX856" fmla="*/ 183006 w 1524655"/>
                    <a:gd name="connsiteY856" fmla="*/ 1046904 h 1268099"/>
                    <a:gd name="connsiteX857" fmla="*/ 181743 w 1524655"/>
                    <a:gd name="connsiteY857" fmla="*/ 1045799 h 1268099"/>
                    <a:gd name="connsiteX858" fmla="*/ 181112 w 1524655"/>
                    <a:gd name="connsiteY858" fmla="*/ 1044730 h 1268099"/>
                    <a:gd name="connsiteX859" fmla="*/ 180189 w 1524655"/>
                    <a:gd name="connsiteY859" fmla="*/ 1043491 h 1268099"/>
                    <a:gd name="connsiteX860" fmla="*/ 178756 w 1524655"/>
                    <a:gd name="connsiteY860" fmla="*/ 1042738 h 1268099"/>
                    <a:gd name="connsiteX861" fmla="*/ 176060 w 1524655"/>
                    <a:gd name="connsiteY861" fmla="*/ 1042738 h 1268099"/>
                    <a:gd name="connsiteX862" fmla="*/ 173814 w 1524655"/>
                    <a:gd name="connsiteY862" fmla="*/ 1043200 h 1268099"/>
                    <a:gd name="connsiteX863" fmla="*/ 172041 w 1524655"/>
                    <a:gd name="connsiteY863" fmla="*/ 1043771 h 1268099"/>
                    <a:gd name="connsiteX864" fmla="*/ 170827 w 1524655"/>
                    <a:gd name="connsiteY864" fmla="*/ 1044524 h 1268099"/>
                    <a:gd name="connsiteX865" fmla="*/ 169904 w 1524655"/>
                    <a:gd name="connsiteY865" fmla="*/ 1045556 h 1268099"/>
                    <a:gd name="connsiteX866" fmla="*/ 169576 w 1524655"/>
                    <a:gd name="connsiteY866" fmla="*/ 1046685 h 1268099"/>
                    <a:gd name="connsiteX867" fmla="*/ 169625 w 1524655"/>
                    <a:gd name="connsiteY867" fmla="*/ 1048057 h 1268099"/>
                    <a:gd name="connsiteX868" fmla="*/ 170317 w 1524655"/>
                    <a:gd name="connsiteY868" fmla="*/ 1050267 h 1268099"/>
                    <a:gd name="connsiteX869" fmla="*/ 169685 w 1524655"/>
                    <a:gd name="connsiteY869" fmla="*/ 1050850 h 1268099"/>
                    <a:gd name="connsiteX870" fmla="*/ 168143 w 1524655"/>
                    <a:gd name="connsiteY870" fmla="*/ 1051105 h 1268099"/>
                    <a:gd name="connsiteX871" fmla="*/ 164330 w 1524655"/>
                    <a:gd name="connsiteY871" fmla="*/ 1050753 h 1268099"/>
                    <a:gd name="connsiteX872" fmla="*/ 161987 w 1524655"/>
                    <a:gd name="connsiteY872" fmla="*/ 1051336 h 1268099"/>
                    <a:gd name="connsiteX873" fmla="*/ 157057 w 1524655"/>
                    <a:gd name="connsiteY873" fmla="*/ 1053631 h 1268099"/>
                    <a:gd name="connsiteX874" fmla="*/ 152333 w 1524655"/>
                    <a:gd name="connsiteY874" fmla="*/ 1057529 h 1268099"/>
                    <a:gd name="connsiteX875" fmla="*/ 151301 w 1524655"/>
                    <a:gd name="connsiteY875" fmla="*/ 1057905 h 1268099"/>
                    <a:gd name="connsiteX876" fmla="*/ 150087 w 1524655"/>
                    <a:gd name="connsiteY876" fmla="*/ 1057966 h 1268099"/>
                    <a:gd name="connsiteX877" fmla="*/ 146080 w 1524655"/>
                    <a:gd name="connsiteY877" fmla="*/ 1057553 h 1268099"/>
                    <a:gd name="connsiteX878" fmla="*/ 145047 w 1524655"/>
                    <a:gd name="connsiteY878" fmla="*/ 1057735 h 1268099"/>
                    <a:gd name="connsiteX879" fmla="*/ 143724 w 1524655"/>
                    <a:gd name="connsiteY879" fmla="*/ 1058512 h 1268099"/>
                    <a:gd name="connsiteX880" fmla="*/ 142813 w 1524655"/>
                    <a:gd name="connsiteY880" fmla="*/ 1058476 h 1268099"/>
                    <a:gd name="connsiteX881" fmla="*/ 141660 w 1524655"/>
                    <a:gd name="connsiteY881" fmla="*/ 1058002 h 1268099"/>
                    <a:gd name="connsiteX882" fmla="*/ 141259 w 1524655"/>
                    <a:gd name="connsiteY882" fmla="*/ 1054942 h 1268099"/>
                    <a:gd name="connsiteX883" fmla="*/ 141307 w 1524655"/>
                    <a:gd name="connsiteY883" fmla="*/ 1049976 h 1268099"/>
                    <a:gd name="connsiteX884" fmla="*/ 140858 w 1524655"/>
                    <a:gd name="connsiteY884" fmla="*/ 1048094 h 1268099"/>
                    <a:gd name="connsiteX885" fmla="*/ 139364 w 1524655"/>
                    <a:gd name="connsiteY885" fmla="*/ 1043844 h 1268099"/>
                    <a:gd name="connsiteX886" fmla="*/ 138964 w 1524655"/>
                    <a:gd name="connsiteY886" fmla="*/ 1041731 h 1268099"/>
                    <a:gd name="connsiteX887" fmla="*/ 138332 w 1524655"/>
                    <a:gd name="connsiteY887" fmla="*/ 1039751 h 1268099"/>
                    <a:gd name="connsiteX888" fmla="*/ 137057 w 1524655"/>
                    <a:gd name="connsiteY888" fmla="*/ 1038063 h 1268099"/>
                    <a:gd name="connsiteX889" fmla="*/ 134714 w 1524655"/>
                    <a:gd name="connsiteY889" fmla="*/ 1036716 h 1268099"/>
                    <a:gd name="connsiteX890" fmla="*/ 133390 w 1524655"/>
                    <a:gd name="connsiteY890" fmla="*/ 1035137 h 1268099"/>
                    <a:gd name="connsiteX891" fmla="*/ 132868 w 1524655"/>
                    <a:gd name="connsiteY891" fmla="*/ 1033838 h 1268099"/>
                    <a:gd name="connsiteX892" fmla="*/ 132649 w 1524655"/>
                    <a:gd name="connsiteY892" fmla="*/ 1032235 h 1268099"/>
                    <a:gd name="connsiteX893" fmla="*/ 131617 w 1524655"/>
                    <a:gd name="connsiteY893" fmla="*/ 1030996 h 1268099"/>
                    <a:gd name="connsiteX894" fmla="*/ 130694 w 1524655"/>
                    <a:gd name="connsiteY894" fmla="*/ 1030328 h 1268099"/>
                    <a:gd name="connsiteX895" fmla="*/ 125012 w 1524655"/>
                    <a:gd name="connsiteY895" fmla="*/ 1031154 h 1268099"/>
                    <a:gd name="connsiteX896" fmla="*/ 121514 w 1524655"/>
                    <a:gd name="connsiteY896" fmla="*/ 1030219 h 1268099"/>
                    <a:gd name="connsiteX897" fmla="*/ 118126 w 1524655"/>
                    <a:gd name="connsiteY897" fmla="*/ 1029636 h 1268099"/>
                    <a:gd name="connsiteX898" fmla="*/ 116791 w 1524655"/>
                    <a:gd name="connsiteY898" fmla="*/ 1029758 h 1268099"/>
                    <a:gd name="connsiteX899" fmla="*/ 115297 w 1524655"/>
                    <a:gd name="connsiteY899" fmla="*/ 1030061 h 1268099"/>
                    <a:gd name="connsiteX900" fmla="*/ 113415 w 1524655"/>
                    <a:gd name="connsiteY900" fmla="*/ 1029976 h 1268099"/>
                    <a:gd name="connsiteX901" fmla="*/ 111460 w 1524655"/>
                    <a:gd name="connsiteY901" fmla="*/ 1029223 h 1268099"/>
                    <a:gd name="connsiteX902" fmla="*/ 108983 w 1524655"/>
                    <a:gd name="connsiteY902" fmla="*/ 1027499 h 1268099"/>
                    <a:gd name="connsiteX903" fmla="*/ 107089 w 1524655"/>
                    <a:gd name="connsiteY903" fmla="*/ 1026455 h 1268099"/>
                    <a:gd name="connsiteX904" fmla="*/ 105486 w 1524655"/>
                    <a:gd name="connsiteY904" fmla="*/ 1026127 h 1268099"/>
                    <a:gd name="connsiteX905" fmla="*/ 101928 w 1524655"/>
                    <a:gd name="connsiteY905" fmla="*/ 1026625 h 1268099"/>
                    <a:gd name="connsiteX906" fmla="*/ 100021 w 1524655"/>
                    <a:gd name="connsiteY906" fmla="*/ 1026212 h 1268099"/>
                    <a:gd name="connsiteX907" fmla="*/ 97277 w 1524655"/>
                    <a:gd name="connsiteY907" fmla="*/ 1022739 h 1268099"/>
                    <a:gd name="connsiteX908" fmla="*/ 95553 w 1524655"/>
                    <a:gd name="connsiteY908" fmla="*/ 1021683 h 1268099"/>
                    <a:gd name="connsiteX909" fmla="*/ 94120 w 1524655"/>
                    <a:gd name="connsiteY909" fmla="*/ 1021707 h 1268099"/>
                    <a:gd name="connsiteX910" fmla="*/ 92845 w 1524655"/>
                    <a:gd name="connsiteY910" fmla="*/ 1022278 h 1268099"/>
                    <a:gd name="connsiteX911" fmla="*/ 88996 w 1524655"/>
                    <a:gd name="connsiteY911" fmla="*/ 1025010 h 1268099"/>
                    <a:gd name="connsiteX912" fmla="*/ 87903 w 1524655"/>
                    <a:gd name="connsiteY912" fmla="*/ 1024974 h 1268099"/>
                    <a:gd name="connsiteX913" fmla="*/ 87393 w 1524655"/>
                    <a:gd name="connsiteY913" fmla="*/ 1024294 h 1268099"/>
                    <a:gd name="connsiteX914" fmla="*/ 87283 w 1524655"/>
                    <a:gd name="connsiteY914" fmla="*/ 1022399 h 1268099"/>
                    <a:gd name="connsiteX915" fmla="*/ 87332 w 1524655"/>
                    <a:gd name="connsiteY915" fmla="*/ 1020845 h 1268099"/>
                    <a:gd name="connsiteX916" fmla="*/ 87162 w 1524655"/>
                    <a:gd name="connsiteY916" fmla="*/ 1019448 h 1268099"/>
                    <a:gd name="connsiteX917" fmla="*/ 86652 w 1524655"/>
                    <a:gd name="connsiteY917" fmla="*/ 1018610 h 1268099"/>
                    <a:gd name="connsiteX918" fmla="*/ 85559 w 1524655"/>
                    <a:gd name="connsiteY918" fmla="*/ 1018101 h 1268099"/>
                    <a:gd name="connsiteX919" fmla="*/ 84636 w 1524655"/>
                    <a:gd name="connsiteY919" fmla="*/ 1018465 h 1268099"/>
                    <a:gd name="connsiteX920" fmla="*/ 83896 w 1524655"/>
                    <a:gd name="connsiteY920" fmla="*/ 1019011 h 1268099"/>
                    <a:gd name="connsiteX921" fmla="*/ 83252 w 1524655"/>
                    <a:gd name="connsiteY921" fmla="*/ 1020056 h 1268099"/>
                    <a:gd name="connsiteX922" fmla="*/ 82863 w 1524655"/>
                    <a:gd name="connsiteY922" fmla="*/ 1021063 h 1268099"/>
                    <a:gd name="connsiteX923" fmla="*/ 82633 w 1524655"/>
                    <a:gd name="connsiteY923" fmla="*/ 1021913 h 1268099"/>
                    <a:gd name="connsiteX924" fmla="*/ 82511 w 1524655"/>
                    <a:gd name="connsiteY924" fmla="*/ 1022642 h 1268099"/>
                    <a:gd name="connsiteX925" fmla="*/ 82572 w 1524655"/>
                    <a:gd name="connsiteY925" fmla="*/ 1023589 h 1268099"/>
                    <a:gd name="connsiteX926" fmla="*/ 82511 w 1524655"/>
                    <a:gd name="connsiteY926" fmla="*/ 1024463 h 1268099"/>
                    <a:gd name="connsiteX927" fmla="*/ 82341 w 1524655"/>
                    <a:gd name="connsiteY927" fmla="*/ 1025265 h 1268099"/>
                    <a:gd name="connsiteX928" fmla="*/ 81880 w 1524655"/>
                    <a:gd name="connsiteY928" fmla="*/ 1025811 h 1268099"/>
                    <a:gd name="connsiteX929" fmla="*/ 81139 w 1524655"/>
                    <a:gd name="connsiteY929" fmla="*/ 1026297 h 1268099"/>
                    <a:gd name="connsiteX930" fmla="*/ 77982 w 1524655"/>
                    <a:gd name="connsiteY930" fmla="*/ 1027366 h 1268099"/>
                    <a:gd name="connsiteX931" fmla="*/ 77411 w 1524655"/>
                    <a:gd name="connsiteY931" fmla="*/ 1028033 h 1268099"/>
                    <a:gd name="connsiteX932" fmla="*/ 77290 w 1524655"/>
                    <a:gd name="connsiteY932" fmla="*/ 1028883 h 1268099"/>
                    <a:gd name="connsiteX933" fmla="*/ 77860 w 1524655"/>
                    <a:gd name="connsiteY933" fmla="*/ 1029745 h 1268099"/>
                    <a:gd name="connsiteX934" fmla="*/ 79184 w 1524655"/>
                    <a:gd name="connsiteY934" fmla="*/ 1030717 h 1268099"/>
                    <a:gd name="connsiteX935" fmla="*/ 80447 w 1524655"/>
                    <a:gd name="connsiteY935" fmla="*/ 1031263 h 1268099"/>
                    <a:gd name="connsiteX936" fmla="*/ 81601 w 1524655"/>
                    <a:gd name="connsiteY936" fmla="*/ 1032113 h 1268099"/>
                    <a:gd name="connsiteX937" fmla="*/ 82220 w 1524655"/>
                    <a:gd name="connsiteY937" fmla="*/ 1033328 h 1268099"/>
                    <a:gd name="connsiteX938" fmla="*/ 82463 w 1524655"/>
                    <a:gd name="connsiteY938" fmla="*/ 1035865 h 1268099"/>
                    <a:gd name="connsiteX939" fmla="*/ 82402 w 1524655"/>
                    <a:gd name="connsiteY939" fmla="*/ 1037639 h 1268099"/>
                    <a:gd name="connsiteX940" fmla="*/ 82633 w 1524655"/>
                    <a:gd name="connsiteY940" fmla="*/ 1039168 h 1268099"/>
                    <a:gd name="connsiteX941" fmla="*/ 83616 w 1524655"/>
                    <a:gd name="connsiteY941" fmla="*/ 1042144 h 1268099"/>
                    <a:gd name="connsiteX942" fmla="*/ 83556 w 1524655"/>
                    <a:gd name="connsiteY942" fmla="*/ 1043795 h 1268099"/>
                    <a:gd name="connsiteX943" fmla="*/ 82572 w 1524655"/>
                    <a:gd name="connsiteY943" fmla="*/ 1045374 h 1268099"/>
                    <a:gd name="connsiteX944" fmla="*/ 81090 w 1524655"/>
                    <a:gd name="connsiteY944" fmla="*/ 1046260 h 1268099"/>
                    <a:gd name="connsiteX945" fmla="*/ 79184 w 1524655"/>
                    <a:gd name="connsiteY945" fmla="*/ 1046600 h 1268099"/>
                    <a:gd name="connsiteX946" fmla="*/ 77120 w 1524655"/>
                    <a:gd name="connsiteY946" fmla="*/ 1046515 h 1268099"/>
                    <a:gd name="connsiteX947" fmla="*/ 75225 w 1524655"/>
                    <a:gd name="connsiteY947" fmla="*/ 1046175 h 1268099"/>
                    <a:gd name="connsiteX948" fmla="*/ 71886 w 1524655"/>
                    <a:gd name="connsiteY948" fmla="*/ 1045252 h 1268099"/>
                    <a:gd name="connsiteX949" fmla="*/ 70575 w 1524655"/>
                    <a:gd name="connsiteY949" fmla="*/ 1045022 h 1268099"/>
                    <a:gd name="connsiteX950" fmla="*/ 69542 w 1524655"/>
                    <a:gd name="connsiteY950" fmla="*/ 1045337 h 1268099"/>
                    <a:gd name="connsiteX951" fmla="*/ 68972 w 1524655"/>
                    <a:gd name="connsiteY951" fmla="*/ 1046211 h 1268099"/>
                    <a:gd name="connsiteX952" fmla="*/ 68450 w 1524655"/>
                    <a:gd name="connsiteY952" fmla="*/ 1047875 h 1268099"/>
                    <a:gd name="connsiteX953" fmla="*/ 67697 w 1524655"/>
                    <a:gd name="connsiteY953" fmla="*/ 1049223 h 1268099"/>
                    <a:gd name="connsiteX954" fmla="*/ 66313 w 1524655"/>
                    <a:gd name="connsiteY954" fmla="*/ 1049951 h 1268099"/>
                    <a:gd name="connsiteX955" fmla="*/ 64722 w 1524655"/>
                    <a:gd name="connsiteY955" fmla="*/ 1049490 h 1268099"/>
                    <a:gd name="connsiteX956" fmla="*/ 62937 w 1524655"/>
                    <a:gd name="connsiteY956" fmla="*/ 1047826 h 1268099"/>
                    <a:gd name="connsiteX957" fmla="*/ 60520 w 1524655"/>
                    <a:gd name="connsiteY957" fmla="*/ 1045058 h 1268099"/>
                    <a:gd name="connsiteX958" fmla="*/ 59719 w 1524655"/>
                    <a:gd name="connsiteY958" fmla="*/ 1044293 h 1268099"/>
                    <a:gd name="connsiteX959" fmla="*/ 58808 w 1524655"/>
                    <a:gd name="connsiteY959" fmla="*/ 1043625 h 1268099"/>
                    <a:gd name="connsiteX960" fmla="*/ 58225 w 1524655"/>
                    <a:gd name="connsiteY960" fmla="*/ 1043321 h 1268099"/>
                    <a:gd name="connsiteX961" fmla="*/ 57473 w 1524655"/>
                    <a:gd name="connsiteY961" fmla="*/ 1043066 h 1268099"/>
                    <a:gd name="connsiteX962" fmla="*/ 57145 w 1524655"/>
                    <a:gd name="connsiteY962" fmla="*/ 1043285 h 1268099"/>
                    <a:gd name="connsiteX963" fmla="*/ 56914 w 1524655"/>
                    <a:gd name="connsiteY963" fmla="*/ 1043722 h 1268099"/>
                    <a:gd name="connsiteX964" fmla="*/ 56343 w 1524655"/>
                    <a:gd name="connsiteY964" fmla="*/ 1045580 h 1268099"/>
                    <a:gd name="connsiteX965" fmla="*/ 55760 w 1524655"/>
                    <a:gd name="connsiteY965" fmla="*/ 1046867 h 1268099"/>
                    <a:gd name="connsiteX966" fmla="*/ 54898 w 1524655"/>
                    <a:gd name="connsiteY966" fmla="*/ 1048239 h 1268099"/>
                    <a:gd name="connsiteX967" fmla="*/ 53866 w 1524655"/>
                    <a:gd name="connsiteY967" fmla="*/ 1048677 h 1268099"/>
                    <a:gd name="connsiteX968" fmla="*/ 52834 w 1524655"/>
                    <a:gd name="connsiteY968" fmla="*/ 1048069 h 1268099"/>
                    <a:gd name="connsiteX969" fmla="*/ 51680 w 1524655"/>
                    <a:gd name="connsiteY969" fmla="*/ 1045483 h 1268099"/>
                    <a:gd name="connsiteX970" fmla="*/ 50867 w 1524655"/>
                    <a:gd name="connsiteY970" fmla="*/ 1042726 h 1268099"/>
                    <a:gd name="connsiteX971" fmla="*/ 50126 w 1524655"/>
                    <a:gd name="connsiteY971" fmla="*/ 1037821 h 1268099"/>
                    <a:gd name="connsiteX972" fmla="*/ 50126 w 1524655"/>
                    <a:gd name="connsiteY972" fmla="*/ 1035319 h 1268099"/>
                    <a:gd name="connsiteX973" fmla="*/ 50770 w 1524655"/>
                    <a:gd name="connsiteY973" fmla="*/ 1032854 h 1268099"/>
                    <a:gd name="connsiteX974" fmla="*/ 51862 w 1524655"/>
                    <a:gd name="connsiteY974" fmla="*/ 1031482 h 1268099"/>
                    <a:gd name="connsiteX975" fmla="*/ 54485 w 1524655"/>
                    <a:gd name="connsiteY975" fmla="*/ 1028641 h 1268099"/>
                    <a:gd name="connsiteX976" fmla="*/ 55408 w 1524655"/>
                    <a:gd name="connsiteY976" fmla="*/ 1027378 h 1268099"/>
                    <a:gd name="connsiteX977" fmla="*/ 55979 w 1524655"/>
                    <a:gd name="connsiteY977" fmla="*/ 1026115 h 1268099"/>
                    <a:gd name="connsiteX978" fmla="*/ 56392 w 1524655"/>
                    <a:gd name="connsiteY978" fmla="*/ 1024706 h 1268099"/>
                    <a:gd name="connsiteX979" fmla="*/ 57145 w 1524655"/>
                    <a:gd name="connsiteY979" fmla="*/ 1023249 h 1268099"/>
                    <a:gd name="connsiteX980" fmla="*/ 57825 w 1524655"/>
                    <a:gd name="connsiteY980" fmla="*/ 1022290 h 1268099"/>
                    <a:gd name="connsiteX981" fmla="*/ 58505 w 1524655"/>
                    <a:gd name="connsiteY981" fmla="*/ 1021671 h 1268099"/>
                    <a:gd name="connsiteX982" fmla="*/ 59027 w 1524655"/>
                    <a:gd name="connsiteY982" fmla="*/ 1021233 h 1268099"/>
                    <a:gd name="connsiteX983" fmla="*/ 59840 w 1524655"/>
                    <a:gd name="connsiteY983" fmla="*/ 1020444 h 1268099"/>
                    <a:gd name="connsiteX984" fmla="*/ 60581 w 1524655"/>
                    <a:gd name="connsiteY984" fmla="*/ 1019181 h 1268099"/>
                    <a:gd name="connsiteX985" fmla="*/ 60520 w 1524655"/>
                    <a:gd name="connsiteY985" fmla="*/ 1017421 h 1268099"/>
                    <a:gd name="connsiteX986" fmla="*/ 59597 w 1524655"/>
                    <a:gd name="connsiteY986" fmla="*/ 1015526 h 1268099"/>
                    <a:gd name="connsiteX987" fmla="*/ 58735 w 1524655"/>
                    <a:gd name="connsiteY987" fmla="*/ 1014263 h 1268099"/>
                    <a:gd name="connsiteX988" fmla="*/ 55190 w 1524655"/>
                    <a:gd name="connsiteY988" fmla="*/ 1010523 h 1268099"/>
                    <a:gd name="connsiteX989" fmla="*/ 54157 w 1524655"/>
                    <a:gd name="connsiteY989" fmla="*/ 1009054 h 1268099"/>
                    <a:gd name="connsiteX990" fmla="*/ 51510 w 1524655"/>
                    <a:gd name="connsiteY990" fmla="*/ 1004440 h 1268099"/>
                    <a:gd name="connsiteX991" fmla="*/ 49616 w 1524655"/>
                    <a:gd name="connsiteY991" fmla="*/ 1001829 h 1268099"/>
                    <a:gd name="connsiteX992" fmla="*/ 48754 w 1524655"/>
                    <a:gd name="connsiteY992" fmla="*/ 1001052 h 1268099"/>
                    <a:gd name="connsiteX993" fmla="*/ 47722 w 1524655"/>
                    <a:gd name="connsiteY993" fmla="*/ 1000360 h 1268099"/>
                    <a:gd name="connsiteX994" fmla="*/ 46629 w 1524655"/>
                    <a:gd name="connsiteY994" fmla="*/ 998927 h 1268099"/>
                    <a:gd name="connsiteX995" fmla="*/ 45937 w 1524655"/>
                    <a:gd name="connsiteY995" fmla="*/ 996863 h 1268099"/>
                    <a:gd name="connsiteX996" fmla="*/ 46167 w 1524655"/>
                    <a:gd name="connsiteY996" fmla="*/ 993147 h 1268099"/>
                    <a:gd name="connsiteX997" fmla="*/ 46799 w 1524655"/>
                    <a:gd name="connsiteY997" fmla="*/ 991374 h 1268099"/>
                    <a:gd name="connsiteX998" fmla="*/ 47552 w 1524655"/>
                    <a:gd name="connsiteY998" fmla="*/ 990221 h 1268099"/>
                    <a:gd name="connsiteX999" fmla="*/ 47880 w 1524655"/>
                    <a:gd name="connsiteY999" fmla="*/ 989310 h 1268099"/>
                    <a:gd name="connsiteX1000" fmla="*/ 47552 w 1524655"/>
                    <a:gd name="connsiteY1000" fmla="*/ 988120 h 1268099"/>
                    <a:gd name="connsiteX1001" fmla="*/ 46058 w 1524655"/>
                    <a:gd name="connsiteY1001" fmla="*/ 985691 h 1268099"/>
                    <a:gd name="connsiteX1002" fmla="*/ 34802 w 1524655"/>
                    <a:gd name="connsiteY1002" fmla="*/ 974726 h 1268099"/>
                    <a:gd name="connsiteX1003" fmla="*/ 33879 w 1524655"/>
                    <a:gd name="connsiteY1003" fmla="*/ 973147 h 1268099"/>
                    <a:gd name="connsiteX1004" fmla="*/ 33879 w 1524655"/>
                    <a:gd name="connsiteY1004" fmla="*/ 971581 h 1268099"/>
                    <a:gd name="connsiteX1005" fmla="*/ 35251 w 1524655"/>
                    <a:gd name="connsiteY1005" fmla="*/ 969857 h 1268099"/>
                    <a:gd name="connsiteX1006" fmla="*/ 36684 w 1524655"/>
                    <a:gd name="connsiteY1006" fmla="*/ 969201 h 1268099"/>
                    <a:gd name="connsiteX1007" fmla="*/ 39222 w 1524655"/>
                    <a:gd name="connsiteY1007" fmla="*/ 968739 h 1268099"/>
                    <a:gd name="connsiteX1008" fmla="*/ 39914 w 1524655"/>
                    <a:gd name="connsiteY1008" fmla="*/ 968363 h 1268099"/>
                    <a:gd name="connsiteX1009" fmla="*/ 41055 w 1524655"/>
                    <a:gd name="connsiteY1009" fmla="*/ 966590 h 1268099"/>
                    <a:gd name="connsiteX1010" fmla="*/ 41917 w 1524655"/>
                    <a:gd name="connsiteY1010" fmla="*/ 965558 h 1268099"/>
                    <a:gd name="connsiteX1011" fmla="*/ 43010 w 1524655"/>
                    <a:gd name="connsiteY1011" fmla="*/ 964939 h 1268099"/>
                    <a:gd name="connsiteX1012" fmla="*/ 43982 w 1524655"/>
                    <a:gd name="connsiteY1012" fmla="*/ 964890 h 1268099"/>
                    <a:gd name="connsiteX1013" fmla="*/ 45014 w 1524655"/>
                    <a:gd name="connsiteY1013" fmla="*/ 965255 h 1268099"/>
                    <a:gd name="connsiteX1014" fmla="*/ 45937 w 1524655"/>
                    <a:gd name="connsiteY1014" fmla="*/ 965886 h 1268099"/>
                    <a:gd name="connsiteX1015" fmla="*/ 48001 w 1524655"/>
                    <a:gd name="connsiteY1015" fmla="*/ 967695 h 1268099"/>
                    <a:gd name="connsiteX1016" fmla="*/ 49154 w 1524655"/>
                    <a:gd name="connsiteY1016" fmla="*/ 968497 h 1268099"/>
                    <a:gd name="connsiteX1017" fmla="*/ 50126 w 1524655"/>
                    <a:gd name="connsiteY1017" fmla="*/ 968606 h 1268099"/>
                    <a:gd name="connsiteX1018" fmla="*/ 50867 w 1524655"/>
                    <a:gd name="connsiteY1018" fmla="*/ 968412 h 1268099"/>
                    <a:gd name="connsiteX1019" fmla="*/ 51620 w 1524655"/>
                    <a:gd name="connsiteY1019" fmla="*/ 968157 h 1268099"/>
                    <a:gd name="connsiteX1020" fmla="*/ 52542 w 1524655"/>
                    <a:gd name="connsiteY1020" fmla="*/ 968266 h 1268099"/>
                    <a:gd name="connsiteX1021" fmla="*/ 53234 w 1524655"/>
                    <a:gd name="connsiteY1021" fmla="*/ 969504 h 1268099"/>
                    <a:gd name="connsiteX1022" fmla="*/ 53696 w 1524655"/>
                    <a:gd name="connsiteY1022" fmla="*/ 971156 h 1268099"/>
                    <a:gd name="connsiteX1023" fmla="*/ 54959 w 1524655"/>
                    <a:gd name="connsiteY1023" fmla="*/ 980518 h 1268099"/>
                    <a:gd name="connsiteX1024" fmla="*/ 56100 w 1524655"/>
                    <a:gd name="connsiteY1024" fmla="*/ 984817 h 1268099"/>
                    <a:gd name="connsiteX1025" fmla="*/ 56792 w 1524655"/>
                    <a:gd name="connsiteY1025" fmla="*/ 986711 h 1268099"/>
                    <a:gd name="connsiteX1026" fmla="*/ 57764 w 1524655"/>
                    <a:gd name="connsiteY1026" fmla="*/ 988289 h 1268099"/>
                    <a:gd name="connsiteX1027" fmla="*/ 58626 w 1524655"/>
                    <a:gd name="connsiteY1027" fmla="*/ 989164 h 1268099"/>
                    <a:gd name="connsiteX1028" fmla="*/ 59549 w 1524655"/>
                    <a:gd name="connsiteY1028" fmla="*/ 989820 h 1268099"/>
                    <a:gd name="connsiteX1029" fmla="*/ 62366 w 1524655"/>
                    <a:gd name="connsiteY1029" fmla="*/ 991131 h 1268099"/>
                    <a:gd name="connsiteX1030" fmla="*/ 65341 w 1524655"/>
                    <a:gd name="connsiteY1030" fmla="*/ 992151 h 1268099"/>
                    <a:gd name="connsiteX1031" fmla="*/ 70975 w 1524655"/>
                    <a:gd name="connsiteY1031" fmla="*/ 993280 h 1268099"/>
                    <a:gd name="connsiteX1032" fmla="*/ 72627 w 1524655"/>
                    <a:gd name="connsiteY1032" fmla="*/ 993802 h 1268099"/>
                    <a:gd name="connsiteX1033" fmla="*/ 74023 w 1524655"/>
                    <a:gd name="connsiteY1033" fmla="*/ 994519 h 1268099"/>
                    <a:gd name="connsiteX1034" fmla="*/ 75116 w 1524655"/>
                    <a:gd name="connsiteY1034" fmla="*/ 995551 h 1268099"/>
                    <a:gd name="connsiteX1035" fmla="*/ 76950 w 1524655"/>
                    <a:gd name="connsiteY1035" fmla="*/ 998053 h 1268099"/>
                    <a:gd name="connsiteX1036" fmla="*/ 78091 w 1524655"/>
                    <a:gd name="connsiteY1036" fmla="*/ 999206 h 1268099"/>
                    <a:gd name="connsiteX1037" fmla="*/ 79694 w 1524655"/>
                    <a:gd name="connsiteY1037" fmla="*/ 1000032 h 1268099"/>
                    <a:gd name="connsiteX1038" fmla="*/ 81540 w 1524655"/>
                    <a:gd name="connsiteY1038" fmla="*/ 1000153 h 1268099"/>
                    <a:gd name="connsiteX1039" fmla="*/ 84976 w 1524655"/>
                    <a:gd name="connsiteY1039" fmla="*/ 999789 h 1268099"/>
                    <a:gd name="connsiteX1040" fmla="*/ 90222 w 1524655"/>
                    <a:gd name="connsiteY1040" fmla="*/ 999935 h 1268099"/>
                    <a:gd name="connsiteX1041" fmla="*/ 92505 w 1524655"/>
                    <a:gd name="connsiteY1041" fmla="*/ 999692 h 1268099"/>
                    <a:gd name="connsiteX1042" fmla="*/ 104405 w 1524655"/>
                    <a:gd name="connsiteY1042" fmla="*/ 996753 h 1268099"/>
                    <a:gd name="connsiteX1043" fmla="*/ 105765 w 1524655"/>
                    <a:gd name="connsiteY1043" fmla="*/ 996753 h 1268099"/>
                    <a:gd name="connsiteX1044" fmla="*/ 107149 w 1524655"/>
                    <a:gd name="connsiteY1044" fmla="*/ 997166 h 1268099"/>
                    <a:gd name="connsiteX1045" fmla="*/ 108412 w 1524655"/>
                    <a:gd name="connsiteY1045" fmla="*/ 997798 h 1268099"/>
                    <a:gd name="connsiteX1046" fmla="*/ 109845 w 1524655"/>
                    <a:gd name="connsiteY1046" fmla="*/ 998271 h 1268099"/>
                    <a:gd name="connsiteX1047" fmla="*/ 112043 w 1524655"/>
                    <a:gd name="connsiteY1047" fmla="*/ 998490 h 1268099"/>
                    <a:gd name="connsiteX1048" fmla="*/ 112893 w 1524655"/>
                    <a:gd name="connsiteY1048" fmla="*/ 998963 h 1268099"/>
                    <a:gd name="connsiteX1049" fmla="*/ 113694 w 1524655"/>
                    <a:gd name="connsiteY1049" fmla="*/ 999728 h 1268099"/>
                    <a:gd name="connsiteX1050" fmla="*/ 114556 w 1524655"/>
                    <a:gd name="connsiteY1050" fmla="*/ 1000870 h 1268099"/>
                    <a:gd name="connsiteX1051" fmla="*/ 117021 w 1524655"/>
                    <a:gd name="connsiteY1051" fmla="*/ 1006103 h 1268099"/>
                    <a:gd name="connsiteX1052" fmla="*/ 119839 w 1524655"/>
                    <a:gd name="connsiteY1052" fmla="*/ 1010608 h 1268099"/>
                    <a:gd name="connsiteX1053" fmla="*/ 120689 w 1524655"/>
                    <a:gd name="connsiteY1053" fmla="*/ 1012648 h 1268099"/>
                    <a:gd name="connsiteX1054" fmla="*/ 120689 w 1524655"/>
                    <a:gd name="connsiteY1054" fmla="*/ 1014409 h 1268099"/>
                    <a:gd name="connsiteX1055" fmla="*/ 120409 w 1524655"/>
                    <a:gd name="connsiteY1055" fmla="*/ 1015963 h 1268099"/>
                    <a:gd name="connsiteX1056" fmla="*/ 120361 w 1524655"/>
                    <a:gd name="connsiteY1056" fmla="*/ 1017457 h 1268099"/>
                    <a:gd name="connsiteX1057" fmla="*/ 120992 w 1524655"/>
                    <a:gd name="connsiteY1057" fmla="*/ 1018574 h 1268099"/>
                    <a:gd name="connsiteX1058" fmla="*/ 122704 w 1524655"/>
                    <a:gd name="connsiteY1058" fmla="*/ 1019206 h 1268099"/>
                    <a:gd name="connsiteX1059" fmla="*/ 125752 w 1524655"/>
                    <a:gd name="connsiteY1059" fmla="*/ 1019970 h 1268099"/>
                    <a:gd name="connsiteX1060" fmla="*/ 129298 w 1524655"/>
                    <a:gd name="connsiteY1060" fmla="*/ 1021622 h 1268099"/>
                    <a:gd name="connsiteX1061" fmla="*/ 131156 w 1524655"/>
                    <a:gd name="connsiteY1061" fmla="*/ 1021950 h 1268099"/>
                    <a:gd name="connsiteX1062" fmla="*/ 132710 w 1524655"/>
                    <a:gd name="connsiteY1062" fmla="*/ 1021622 h 1268099"/>
                    <a:gd name="connsiteX1063" fmla="*/ 133621 w 1524655"/>
                    <a:gd name="connsiteY1063" fmla="*/ 1020723 h 1268099"/>
                    <a:gd name="connsiteX1064" fmla="*/ 133803 w 1524655"/>
                    <a:gd name="connsiteY1064" fmla="*/ 1019534 h 1268099"/>
                    <a:gd name="connsiteX1065" fmla="*/ 133439 w 1524655"/>
                    <a:gd name="connsiteY1065" fmla="*/ 1018052 h 1268099"/>
                    <a:gd name="connsiteX1066" fmla="*/ 130925 w 1524655"/>
                    <a:gd name="connsiteY1066" fmla="*/ 1013693 h 1268099"/>
                    <a:gd name="connsiteX1067" fmla="*/ 130694 w 1524655"/>
                    <a:gd name="connsiteY1067" fmla="*/ 1012636 h 1268099"/>
                    <a:gd name="connsiteX1068" fmla="*/ 130804 w 1524655"/>
                    <a:gd name="connsiteY1068" fmla="*/ 1011349 h 1268099"/>
                    <a:gd name="connsiteX1069" fmla="*/ 131387 w 1524655"/>
                    <a:gd name="connsiteY1069" fmla="*/ 1008095 h 1268099"/>
                    <a:gd name="connsiteX1070" fmla="*/ 131034 w 1524655"/>
                    <a:gd name="connsiteY1070" fmla="*/ 1006893 h 1268099"/>
                    <a:gd name="connsiteX1071" fmla="*/ 130124 w 1524655"/>
                    <a:gd name="connsiteY1071" fmla="*/ 1005739 h 1268099"/>
                    <a:gd name="connsiteX1072" fmla="*/ 128169 w 1524655"/>
                    <a:gd name="connsiteY1072" fmla="*/ 1004816 h 1268099"/>
                    <a:gd name="connsiteX1073" fmla="*/ 126675 w 1524655"/>
                    <a:gd name="connsiteY1073" fmla="*/ 1003869 h 1268099"/>
                    <a:gd name="connsiteX1074" fmla="*/ 125352 w 1524655"/>
                    <a:gd name="connsiteY1074" fmla="*/ 1002339 h 1268099"/>
                    <a:gd name="connsiteX1075" fmla="*/ 124951 w 1524655"/>
                    <a:gd name="connsiteY1075" fmla="*/ 1001489 h 1268099"/>
                    <a:gd name="connsiteX1076" fmla="*/ 124769 w 1524655"/>
                    <a:gd name="connsiteY1076" fmla="*/ 1001101 h 1268099"/>
                    <a:gd name="connsiteX1077" fmla="*/ 124089 w 1524655"/>
                    <a:gd name="connsiteY1077" fmla="*/ 996935 h 1268099"/>
                    <a:gd name="connsiteX1078" fmla="*/ 123579 w 1524655"/>
                    <a:gd name="connsiteY1078" fmla="*/ 996037 h 1268099"/>
                    <a:gd name="connsiteX1079" fmla="*/ 121272 w 1524655"/>
                    <a:gd name="connsiteY1079" fmla="*/ 993390 h 1268099"/>
                    <a:gd name="connsiteX1080" fmla="*/ 120409 w 1524655"/>
                    <a:gd name="connsiteY1080" fmla="*/ 992175 h 1268099"/>
                    <a:gd name="connsiteX1081" fmla="*/ 120130 w 1524655"/>
                    <a:gd name="connsiteY1081" fmla="*/ 991034 h 1268099"/>
                    <a:gd name="connsiteX1082" fmla="*/ 120300 w 1524655"/>
                    <a:gd name="connsiteY1082" fmla="*/ 990147 h 1268099"/>
                    <a:gd name="connsiteX1083" fmla="*/ 120932 w 1524655"/>
                    <a:gd name="connsiteY1083" fmla="*/ 988909 h 1268099"/>
                    <a:gd name="connsiteX1084" fmla="*/ 125012 w 1524655"/>
                    <a:gd name="connsiteY1084" fmla="*/ 983518 h 1268099"/>
                    <a:gd name="connsiteX1085" fmla="*/ 125861 w 1524655"/>
                    <a:gd name="connsiteY1085" fmla="*/ 982133 h 1268099"/>
                    <a:gd name="connsiteX1086" fmla="*/ 126323 w 1524655"/>
                    <a:gd name="connsiteY1086" fmla="*/ 980640 h 1268099"/>
                    <a:gd name="connsiteX1087" fmla="*/ 125861 w 1524655"/>
                    <a:gd name="connsiteY1087" fmla="*/ 979644 h 1268099"/>
                    <a:gd name="connsiteX1088" fmla="*/ 124611 w 1524655"/>
                    <a:gd name="connsiteY1088" fmla="*/ 978842 h 1268099"/>
                    <a:gd name="connsiteX1089" fmla="*/ 122085 w 1524655"/>
                    <a:gd name="connsiteY1089" fmla="*/ 978575 h 1268099"/>
                    <a:gd name="connsiteX1090" fmla="*/ 120761 w 1524655"/>
                    <a:gd name="connsiteY1090" fmla="*/ 978247 h 1268099"/>
                    <a:gd name="connsiteX1091" fmla="*/ 120130 w 1524655"/>
                    <a:gd name="connsiteY1091" fmla="*/ 977567 h 1268099"/>
                    <a:gd name="connsiteX1092" fmla="*/ 120361 w 1524655"/>
                    <a:gd name="connsiteY1092" fmla="*/ 976948 h 1268099"/>
                    <a:gd name="connsiteX1093" fmla="*/ 120992 w 1524655"/>
                    <a:gd name="connsiteY1093" fmla="*/ 976183 h 1268099"/>
                    <a:gd name="connsiteX1094" fmla="*/ 124210 w 1524655"/>
                    <a:gd name="connsiteY1094" fmla="*/ 973633 h 1268099"/>
                    <a:gd name="connsiteX1095" fmla="*/ 127756 w 1524655"/>
                    <a:gd name="connsiteY1095" fmla="*/ 969784 h 1268099"/>
                    <a:gd name="connsiteX1096" fmla="*/ 129031 w 1524655"/>
                    <a:gd name="connsiteY1096" fmla="*/ 968982 h 1268099"/>
                    <a:gd name="connsiteX1097" fmla="*/ 130512 w 1524655"/>
                    <a:gd name="connsiteY1097" fmla="*/ 968399 h 1268099"/>
                    <a:gd name="connsiteX1098" fmla="*/ 133099 w 1524655"/>
                    <a:gd name="connsiteY1098" fmla="*/ 968011 h 1268099"/>
                    <a:gd name="connsiteX1099" fmla="*/ 141149 w 1524655"/>
                    <a:gd name="connsiteY1099" fmla="*/ 967732 h 1268099"/>
                    <a:gd name="connsiteX1100" fmla="*/ 143262 w 1524655"/>
                    <a:gd name="connsiteY1100" fmla="*/ 967270 h 1268099"/>
                    <a:gd name="connsiteX1101" fmla="*/ 144987 w 1524655"/>
                    <a:gd name="connsiteY1101" fmla="*/ 966457 h 1268099"/>
                    <a:gd name="connsiteX1102" fmla="*/ 145970 w 1524655"/>
                    <a:gd name="connsiteY1102" fmla="*/ 965449 h 1268099"/>
                    <a:gd name="connsiteX1103" fmla="*/ 146371 w 1524655"/>
                    <a:gd name="connsiteY1103" fmla="*/ 964222 h 1268099"/>
                    <a:gd name="connsiteX1104" fmla="*/ 146262 w 1524655"/>
                    <a:gd name="connsiteY1104" fmla="*/ 963045 h 1268099"/>
                    <a:gd name="connsiteX1105" fmla="*/ 145909 w 1524655"/>
                    <a:gd name="connsiteY1105" fmla="*/ 961612 h 1268099"/>
                    <a:gd name="connsiteX1106" fmla="*/ 144185 w 1524655"/>
                    <a:gd name="connsiteY1106" fmla="*/ 956985 h 1268099"/>
                    <a:gd name="connsiteX1107" fmla="*/ 143845 w 1524655"/>
                    <a:gd name="connsiteY1107" fmla="*/ 955237 h 1268099"/>
                    <a:gd name="connsiteX1108" fmla="*/ 143845 w 1524655"/>
                    <a:gd name="connsiteY1108" fmla="*/ 953536 h 1268099"/>
                    <a:gd name="connsiteX1109" fmla="*/ 144234 w 1524655"/>
                    <a:gd name="connsiteY1109" fmla="*/ 951703 h 1268099"/>
                    <a:gd name="connsiteX1110" fmla="*/ 145557 w 1524655"/>
                    <a:gd name="connsiteY1110" fmla="*/ 947963 h 1268099"/>
                    <a:gd name="connsiteX1111" fmla="*/ 145630 w 1524655"/>
                    <a:gd name="connsiteY1111" fmla="*/ 946494 h 1268099"/>
                    <a:gd name="connsiteX1112" fmla="*/ 145108 w 1524655"/>
                    <a:gd name="connsiteY1112" fmla="*/ 945522 h 1268099"/>
                    <a:gd name="connsiteX1113" fmla="*/ 143396 w 1524655"/>
                    <a:gd name="connsiteY1113" fmla="*/ 944830 h 1268099"/>
                    <a:gd name="connsiteX1114" fmla="*/ 138089 w 1524655"/>
                    <a:gd name="connsiteY1114" fmla="*/ 944223 h 1268099"/>
                    <a:gd name="connsiteX1115" fmla="*/ 136948 w 1524655"/>
                    <a:gd name="connsiteY1115" fmla="*/ 943652 h 1268099"/>
                    <a:gd name="connsiteX1116" fmla="*/ 136487 w 1524655"/>
                    <a:gd name="connsiteY1116" fmla="*/ 942875 h 1268099"/>
                    <a:gd name="connsiteX1117" fmla="*/ 136487 w 1524655"/>
                    <a:gd name="connsiteY1117" fmla="*/ 941794 h 1268099"/>
                    <a:gd name="connsiteX1118" fmla="*/ 136268 w 1524655"/>
                    <a:gd name="connsiteY1118" fmla="*/ 940981 h 1268099"/>
                    <a:gd name="connsiteX1119" fmla="*/ 135637 w 1524655"/>
                    <a:gd name="connsiteY1119" fmla="*/ 939949 h 1268099"/>
                    <a:gd name="connsiteX1120" fmla="*/ 134835 w 1524655"/>
                    <a:gd name="connsiteY1120" fmla="*/ 939184 h 1268099"/>
                    <a:gd name="connsiteX1121" fmla="*/ 133803 w 1524655"/>
                    <a:gd name="connsiteY1121" fmla="*/ 938358 h 1268099"/>
                    <a:gd name="connsiteX1122" fmla="*/ 131727 w 1524655"/>
                    <a:gd name="connsiteY1122" fmla="*/ 937144 h 1268099"/>
                    <a:gd name="connsiteX1123" fmla="*/ 130342 w 1524655"/>
                    <a:gd name="connsiteY1123" fmla="*/ 936864 h 1268099"/>
                    <a:gd name="connsiteX1124" fmla="*/ 128849 w 1524655"/>
                    <a:gd name="connsiteY1124" fmla="*/ 937058 h 1268099"/>
                    <a:gd name="connsiteX1125" fmla="*/ 126833 w 1524655"/>
                    <a:gd name="connsiteY1125" fmla="*/ 938188 h 1268099"/>
                    <a:gd name="connsiteX1126" fmla="*/ 125983 w 1524655"/>
                    <a:gd name="connsiteY1126" fmla="*/ 939499 h 1268099"/>
                    <a:gd name="connsiteX1127" fmla="*/ 125704 w 1524655"/>
                    <a:gd name="connsiteY1127" fmla="*/ 941163 h 1268099"/>
                    <a:gd name="connsiteX1128" fmla="*/ 126044 w 1524655"/>
                    <a:gd name="connsiteY1128" fmla="*/ 942839 h 1268099"/>
                    <a:gd name="connsiteX1129" fmla="*/ 126675 w 1524655"/>
                    <a:gd name="connsiteY1129" fmla="*/ 944599 h 1268099"/>
                    <a:gd name="connsiteX1130" fmla="*/ 127416 w 1524655"/>
                    <a:gd name="connsiteY1130" fmla="*/ 946129 h 1268099"/>
                    <a:gd name="connsiteX1131" fmla="*/ 130743 w 1524655"/>
                    <a:gd name="connsiteY1131" fmla="*/ 950938 h 1268099"/>
                    <a:gd name="connsiteX1132" fmla="*/ 131387 w 1524655"/>
                    <a:gd name="connsiteY1132" fmla="*/ 952698 h 1268099"/>
                    <a:gd name="connsiteX1133" fmla="*/ 131156 w 1524655"/>
                    <a:gd name="connsiteY1133" fmla="*/ 954326 h 1268099"/>
                    <a:gd name="connsiteX1134" fmla="*/ 129723 w 1524655"/>
                    <a:gd name="connsiteY1134" fmla="*/ 955455 h 1268099"/>
                    <a:gd name="connsiteX1135" fmla="*/ 127537 w 1524655"/>
                    <a:gd name="connsiteY1135" fmla="*/ 955479 h 1268099"/>
                    <a:gd name="connsiteX1136" fmla="*/ 125012 w 1524655"/>
                    <a:gd name="connsiteY1136" fmla="*/ 954022 h 1268099"/>
                    <a:gd name="connsiteX1137" fmla="*/ 123056 w 1524655"/>
                    <a:gd name="connsiteY1137" fmla="*/ 951897 h 1268099"/>
                    <a:gd name="connsiteX1138" fmla="*/ 120009 w 1524655"/>
                    <a:gd name="connsiteY1138" fmla="*/ 947307 h 1268099"/>
                    <a:gd name="connsiteX1139" fmla="*/ 118345 w 1524655"/>
                    <a:gd name="connsiteY1139" fmla="*/ 946409 h 1268099"/>
                    <a:gd name="connsiteX1140" fmla="*/ 115807 w 1524655"/>
                    <a:gd name="connsiteY1140" fmla="*/ 945619 h 1268099"/>
                    <a:gd name="connsiteX1141" fmla="*/ 110829 w 1524655"/>
                    <a:gd name="connsiteY1141" fmla="*/ 944527 h 1268099"/>
                    <a:gd name="connsiteX1142" fmla="*/ 108873 w 1524655"/>
                    <a:gd name="connsiteY1142" fmla="*/ 943409 h 1268099"/>
                    <a:gd name="connsiteX1143" fmla="*/ 107902 w 1524655"/>
                    <a:gd name="connsiteY1143" fmla="*/ 941940 h 1268099"/>
                    <a:gd name="connsiteX1144" fmla="*/ 107963 w 1524655"/>
                    <a:gd name="connsiteY1144" fmla="*/ 940471 h 1268099"/>
                    <a:gd name="connsiteX1145" fmla="*/ 107963 w 1524655"/>
                    <a:gd name="connsiteY1145" fmla="*/ 939062 h 1268099"/>
                    <a:gd name="connsiteX1146" fmla="*/ 107611 w 1524655"/>
                    <a:gd name="connsiteY1146" fmla="*/ 938018 h 1268099"/>
                    <a:gd name="connsiteX1147" fmla="*/ 106809 w 1524655"/>
                    <a:gd name="connsiteY1147" fmla="*/ 937180 h 1268099"/>
                    <a:gd name="connsiteX1148" fmla="*/ 105012 w 1524655"/>
                    <a:gd name="connsiteY1148" fmla="*/ 937058 h 1268099"/>
                    <a:gd name="connsiteX1149" fmla="*/ 102328 w 1524655"/>
                    <a:gd name="connsiteY1149" fmla="*/ 937338 h 1268099"/>
                    <a:gd name="connsiteX1150" fmla="*/ 97398 w 1524655"/>
                    <a:gd name="connsiteY1150" fmla="*/ 938528 h 1268099"/>
                    <a:gd name="connsiteX1151" fmla="*/ 93367 w 1524655"/>
                    <a:gd name="connsiteY1151" fmla="*/ 938613 h 1268099"/>
                    <a:gd name="connsiteX1152" fmla="*/ 90489 w 1524655"/>
                    <a:gd name="connsiteY1152" fmla="*/ 938212 h 1268099"/>
                    <a:gd name="connsiteX1153" fmla="*/ 88656 w 1524655"/>
                    <a:gd name="connsiteY1153" fmla="*/ 937520 h 1268099"/>
                    <a:gd name="connsiteX1154" fmla="*/ 85098 w 1524655"/>
                    <a:gd name="connsiteY1154" fmla="*/ 935334 h 1268099"/>
                    <a:gd name="connsiteX1155" fmla="*/ 83556 w 1524655"/>
                    <a:gd name="connsiteY1155" fmla="*/ 935249 h 1268099"/>
                    <a:gd name="connsiteX1156" fmla="*/ 81941 w 1524655"/>
                    <a:gd name="connsiteY1156" fmla="*/ 935820 h 1268099"/>
                    <a:gd name="connsiteX1157" fmla="*/ 79536 w 1524655"/>
                    <a:gd name="connsiteY1157" fmla="*/ 938018 h 1268099"/>
                    <a:gd name="connsiteX1158" fmla="*/ 77229 w 1524655"/>
                    <a:gd name="connsiteY1158" fmla="*/ 941503 h 1268099"/>
                    <a:gd name="connsiteX1159" fmla="*/ 74934 w 1524655"/>
                    <a:gd name="connsiteY1159" fmla="*/ 944429 h 1268099"/>
                    <a:gd name="connsiteX1160" fmla="*/ 74181 w 1524655"/>
                    <a:gd name="connsiteY1160" fmla="*/ 945850 h 1268099"/>
                    <a:gd name="connsiteX1161" fmla="*/ 73659 w 1524655"/>
                    <a:gd name="connsiteY1161" fmla="*/ 947817 h 1268099"/>
                    <a:gd name="connsiteX1162" fmla="*/ 74084 w 1524655"/>
                    <a:gd name="connsiteY1162" fmla="*/ 952966 h 1268099"/>
                    <a:gd name="connsiteX1163" fmla="*/ 73793 w 1524655"/>
                    <a:gd name="connsiteY1163" fmla="*/ 954484 h 1268099"/>
                    <a:gd name="connsiteX1164" fmla="*/ 73331 w 1524655"/>
                    <a:gd name="connsiteY1164" fmla="*/ 955637 h 1268099"/>
                    <a:gd name="connsiteX1165" fmla="*/ 72299 w 1524655"/>
                    <a:gd name="connsiteY1165" fmla="*/ 956584 h 1268099"/>
                    <a:gd name="connsiteX1166" fmla="*/ 70465 w 1524655"/>
                    <a:gd name="connsiteY1166" fmla="*/ 956912 h 1268099"/>
                    <a:gd name="connsiteX1167" fmla="*/ 67187 w 1524655"/>
                    <a:gd name="connsiteY1167" fmla="*/ 956754 h 1268099"/>
                    <a:gd name="connsiteX1168" fmla="*/ 63277 w 1524655"/>
                    <a:gd name="connsiteY1168" fmla="*/ 955455 h 1268099"/>
                    <a:gd name="connsiteX1169" fmla="*/ 58505 w 1524655"/>
                    <a:gd name="connsiteY1169" fmla="*/ 954338 h 1268099"/>
                    <a:gd name="connsiteX1170" fmla="*/ 52664 w 1524655"/>
                    <a:gd name="connsiteY1170" fmla="*/ 954022 h 1268099"/>
                    <a:gd name="connsiteX1171" fmla="*/ 41407 w 1524655"/>
                    <a:gd name="connsiteY1171" fmla="*/ 951739 h 1268099"/>
                    <a:gd name="connsiteX1172" fmla="*/ 40994 w 1524655"/>
                    <a:gd name="connsiteY1172" fmla="*/ 949748 h 1268099"/>
                    <a:gd name="connsiteX1173" fmla="*/ 41796 w 1524655"/>
                    <a:gd name="connsiteY1173" fmla="*/ 947999 h 1268099"/>
                    <a:gd name="connsiteX1174" fmla="*/ 42780 w 1524655"/>
                    <a:gd name="connsiteY1174" fmla="*/ 946530 h 1268099"/>
                    <a:gd name="connsiteX1175" fmla="*/ 43763 w 1524655"/>
                    <a:gd name="connsiteY1175" fmla="*/ 945182 h 1268099"/>
                    <a:gd name="connsiteX1176" fmla="*/ 44103 w 1524655"/>
                    <a:gd name="connsiteY1176" fmla="*/ 944016 h 1268099"/>
                    <a:gd name="connsiteX1177" fmla="*/ 43982 w 1524655"/>
                    <a:gd name="connsiteY1177" fmla="*/ 942766 h 1268099"/>
                    <a:gd name="connsiteX1178" fmla="*/ 42828 w 1524655"/>
                    <a:gd name="connsiteY1178" fmla="*/ 941527 h 1268099"/>
                    <a:gd name="connsiteX1179" fmla="*/ 36684 w 1524655"/>
                    <a:gd name="connsiteY1179" fmla="*/ 939001 h 1268099"/>
                    <a:gd name="connsiteX1180" fmla="*/ 35251 w 1524655"/>
                    <a:gd name="connsiteY1180" fmla="*/ 937909 h 1268099"/>
                    <a:gd name="connsiteX1181" fmla="*/ 33879 w 1524655"/>
                    <a:gd name="connsiteY1181" fmla="*/ 936391 h 1268099"/>
                    <a:gd name="connsiteX1182" fmla="*/ 32846 w 1524655"/>
                    <a:gd name="connsiteY1182" fmla="*/ 934630 h 1268099"/>
                    <a:gd name="connsiteX1183" fmla="*/ 32154 w 1524655"/>
                    <a:gd name="connsiteY1183" fmla="*/ 932772 h 1268099"/>
                    <a:gd name="connsiteX1184" fmla="*/ 31802 w 1524655"/>
                    <a:gd name="connsiteY1184" fmla="*/ 930610 h 1268099"/>
                    <a:gd name="connsiteX1185" fmla="*/ 32045 w 1524655"/>
                    <a:gd name="connsiteY1185" fmla="*/ 927854 h 1268099"/>
                    <a:gd name="connsiteX1186" fmla="*/ 32567 w 1524655"/>
                    <a:gd name="connsiteY1186" fmla="*/ 926130 h 1268099"/>
                    <a:gd name="connsiteX1187" fmla="*/ 33235 w 1524655"/>
                    <a:gd name="connsiteY1187" fmla="*/ 924745 h 1268099"/>
                    <a:gd name="connsiteX1188" fmla="*/ 33939 w 1524655"/>
                    <a:gd name="connsiteY1188" fmla="*/ 923920 h 1268099"/>
                    <a:gd name="connsiteX1189" fmla="*/ 34972 w 1524655"/>
                    <a:gd name="connsiteY1189" fmla="*/ 923203 h 1268099"/>
                    <a:gd name="connsiteX1190" fmla="*/ 35834 w 1524655"/>
                    <a:gd name="connsiteY1190" fmla="*/ 922851 h 1268099"/>
                    <a:gd name="connsiteX1191" fmla="*/ 36805 w 1524655"/>
                    <a:gd name="connsiteY1191" fmla="*/ 922924 h 1268099"/>
                    <a:gd name="connsiteX1192" fmla="*/ 37789 w 1524655"/>
                    <a:gd name="connsiteY1192" fmla="*/ 923155 h 1268099"/>
                    <a:gd name="connsiteX1193" fmla="*/ 39052 w 1524655"/>
                    <a:gd name="connsiteY1193" fmla="*/ 923349 h 1268099"/>
                    <a:gd name="connsiteX1194" fmla="*/ 40363 w 1524655"/>
                    <a:gd name="connsiteY1194" fmla="*/ 923155 h 1268099"/>
                    <a:gd name="connsiteX1195" fmla="*/ 41407 w 1524655"/>
                    <a:gd name="connsiteY1195" fmla="*/ 922511 h 1268099"/>
                    <a:gd name="connsiteX1196" fmla="*/ 41857 w 1524655"/>
                    <a:gd name="connsiteY1196" fmla="*/ 921625 h 1268099"/>
                    <a:gd name="connsiteX1197" fmla="*/ 42549 w 1524655"/>
                    <a:gd name="connsiteY1197" fmla="*/ 919160 h 1268099"/>
                    <a:gd name="connsiteX1198" fmla="*/ 43241 w 1524655"/>
                    <a:gd name="connsiteY1198" fmla="*/ 917945 h 1268099"/>
                    <a:gd name="connsiteX1199" fmla="*/ 45135 w 1524655"/>
                    <a:gd name="connsiteY1199" fmla="*/ 916063 h 1268099"/>
                    <a:gd name="connsiteX1200" fmla="*/ 45718 w 1524655"/>
                    <a:gd name="connsiteY1200" fmla="*/ 915043 h 1268099"/>
                    <a:gd name="connsiteX1201" fmla="*/ 45815 w 1524655"/>
                    <a:gd name="connsiteY1201" fmla="*/ 913501 h 1268099"/>
                    <a:gd name="connsiteX1202" fmla="*/ 45414 w 1524655"/>
                    <a:gd name="connsiteY1202" fmla="*/ 911777 h 1268099"/>
                    <a:gd name="connsiteX1203" fmla="*/ 44164 w 1524655"/>
                    <a:gd name="connsiteY1203" fmla="*/ 909506 h 1268099"/>
                    <a:gd name="connsiteX1204" fmla="*/ 43132 w 1524655"/>
                    <a:gd name="connsiteY1204" fmla="*/ 908474 h 1268099"/>
                    <a:gd name="connsiteX1205" fmla="*/ 41917 w 1524655"/>
                    <a:gd name="connsiteY1205" fmla="*/ 907915 h 1268099"/>
                    <a:gd name="connsiteX1206" fmla="*/ 38238 w 1524655"/>
                    <a:gd name="connsiteY1206" fmla="*/ 907915 h 1268099"/>
                    <a:gd name="connsiteX1207" fmla="*/ 34061 w 1524655"/>
                    <a:gd name="connsiteY1207" fmla="*/ 907369 h 1268099"/>
                    <a:gd name="connsiteX1208" fmla="*/ 32628 w 1524655"/>
                    <a:gd name="connsiteY1208" fmla="*/ 907490 h 1268099"/>
                    <a:gd name="connsiteX1209" fmla="*/ 31523 w 1524655"/>
                    <a:gd name="connsiteY1209" fmla="*/ 907806 h 1268099"/>
                    <a:gd name="connsiteX1210" fmla="*/ 28815 w 1524655"/>
                    <a:gd name="connsiteY1210" fmla="*/ 909215 h 1268099"/>
                    <a:gd name="connsiteX1211" fmla="*/ 27613 w 1524655"/>
                    <a:gd name="connsiteY1211" fmla="*/ 909518 h 1268099"/>
                    <a:gd name="connsiteX1212" fmla="*/ 26763 w 1524655"/>
                    <a:gd name="connsiteY1212" fmla="*/ 909458 h 1268099"/>
                    <a:gd name="connsiteX1213" fmla="*/ 25962 w 1524655"/>
                    <a:gd name="connsiteY1213" fmla="*/ 908948 h 1268099"/>
                    <a:gd name="connsiteX1214" fmla="*/ 25136 w 1524655"/>
                    <a:gd name="connsiteY1214" fmla="*/ 908025 h 1268099"/>
                    <a:gd name="connsiteX1215" fmla="*/ 23654 w 1524655"/>
                    <a:gd name="connsiteY1215" fmla="*/ 905329 h 1268099"/>
                    <a:gd name="connsiteX1216" fmla="*/ 21760 w 1524655"/>
                    <a:gd name="connsiteY1216" fmla="*/ 900775 h 1268099"/>
                    <a:gd name="connsiteX1217" fmla="*/ 20728 w 1524655"/>
                    <a:gd name="connsiteY1217" fmla="*/ 898978 h 1268099"/>
                    <a:gd name="connsiteX1218" fmla="*/ 19514 w 1524655"/>
                    <a:gd name="connsiteY1218" fmla="*/ 897363 h 1268099"/>
                    <a:gd name="connsiteX1219" fmla="*/ 18202 w 1524655"/>
                    <a:gd name="connsiteY1219" fmla="*/ 896428 h 1268099"/>
                    <a:gd name="connsiteX1220" fmla="*/ 16818 w 1524655"/>
                    <a:gd name="connsiteY1220" fmla="*/ 895736 h 1268099"/>
                    <a:gd name="connsiteX1221" fmla="*/ 13952 w 1524655"/>
                    <a:gd name="connsiteY1221" fmla="*/ 894728 h 1268099"/>
                    <a:gd name="connsiteX1222" fmla="*/ 12908 w 1524655"/>
                    <a:gd name="connsiteY1222" fmla="*/ 894073 h 1268099"/>
                    <a:gd name="connsiteX1223" fmla="*/ 12301 w 1524655"/>
                    <a:gd name="connsiteY1223" fmla="*/ 892810 h 1268099"/>
                    <a:gd name="connsiteX1224" fmla="*/ 9981 w 1524655"/>
                    <a:gd name="connsiteY1224" fmla="*/ 883739 h 1268099"/>
                    <a:gd name="connsiteX1225" fmla="*/ 9532 w 1524655"/>
                    <a:gd name="connsiteY1225" fmla="*/ 880606 h 1268099"/>
                    <a:gd name="connsiteX1226" fmla="*/ 9593 w 1524655"/>
                    <a:gd name="connsiteY1226" fmla="*/ 877886 h 1268099"/>
                    <a:gd name="connsiteX1227" fmla="*/ 10625 w 1524655"/>
                    <a:gd name="connsiteY1227" fmla="*/ 873187 h 1268099"/>
                    <a:gd name="connsiteX1228" fmla="*/ 12398 w 1524655"/>
                    <a:gd name="connsiteY1228" fmla="*/ 868633 h 1268099"/>
                    <a:gd name="connsiteX1229" fmla="*/ 14013 w 1524655"/>
                    <a:gd name="connsiteY1229" fmla="*/ 865670 h 1268099"/>
                    <a:gd name="connsiteX1230" fmla="*/ 14584 w 1524655"/>
                    <a:gd name="connsiteY1230" fmla="*/ 863400 h 1268099"/>
                    <a:gd name="connsiteX1231" fmla="*/ 14705 w 1524655"/>
                    <a:gd name="connsiteY1231" fmla="*/ 860959 h 1268099"/>
                    <a:gd name="connsiteX1232" fmla="*/ 13952 w 1524655"/>
                    <a:gd name="connsiteY1232" fmla="*/ 854839 h 1268099"/>
                    <a:gd name="connsiteX1233" fmla="*/ 14462 w 1524655"/>
                    <a:gd name="connsiteY1233" fmla="*/ 853066 h 1268099"/>
                    <a:gd name="connsiteX1234" fmla="*/ 15337 w 1524655"/>
                    <a:gd name="connsiteY1234" fmla="*/ 852495 h 1268099"/>
                    <a:gd name="connsiteX1235" fmla="*/ 19417 w 1524655"/>
                    <a:gd name="connsiteY1235" fmla="*/ 851014 h 1268099"/>
                    <a:gd name="connsiteX1236" fmla="*/ 20157 w 1524655"/>
                    <a:gd name="connsiteY1236" fmla="*/ 850589 h 1268099"/>
                    <a:gd name="connsiteX1237" fmla="*/ 20619 w 1524655"/>
                    <a:gd name="connsiteY1237" fmla="*/ 849945 h 1268099"/>
                    <a:gd name="connsiteX1238" fmla="*/ 21068 w 1524655"/>
                    <a:gd name="connsiteY1238" fmla="*/ 848852 h 1268099"/>
                    <a:gd name="connsiteX1239" fmla="*/ 23946 w 1524655"/>
                    <a:gd name="connsiteY1239" fmla="*/ 836746 h 1268099"/>
                    <a:gd name="connsiteX1240" fmla="*/ 24626 w 1524655"/>
                    <a:gd name="connsiteY1240" fmla="*/ 832034 h 1268099"/>
                    <a:gd name="connsiteX1241" fmla="*/ 24686 w 1524655"/>
                    <a:gd name="connsiteY1241" fmla="*/ 828707 h 1268099"/>
                    <a:gd name="connsiteX1242" fmla="*/ 25269 w 1524655"/>
                    <a:gd name="connsiteY1242" fmla="*/ 824688 h 1268099"/>
                    <a:gd name="connsiteX1243" fmla="*/ 25269 w 1524655"/>
                    <a:gd name="connsiteY1243" fmla="*/ 823073 h 1268099"/>
                    <a:gd name="connsiteX1244" fmla="*/ 24747 w 1524655"/>
                    <a:gd name="connsiteY1244" fmla="*/ 821470 h 1268099"/>
                    <a:gd name="connsiteX1245" fmla="*/ 23023 w 1524655"/>
                    <a:gd name="connsiteY1245" fmla="*/ 819418 h 1268099"/>
                    <a:gd name="connsiteX1246" fmla="*/ 21639 w 1524655"/>
                    <a:gd name="connsiteY1246" fmla="*/ 818568 h 1268099"/>
                    <a:gd name="connsiteX1247" fmla="*/ 20388 w 1524655"/>
                    <a:gd name="connsiteY1247" fmla="*/ 818106 h 1268099"/>
                    <a:gd name="connsiteX1248" fmla="*/ 19125 w 1524655"/>
                    <a:gd name="connsiteY1248" fmla="*/ 817827 h 1268099"/>
                    <a:gd name="connsiteX1249" fmla="*/ 17801 w 1524655"/>
                    <a:gd name="connsiteY1249" fmla="*/ 817342 h 1268099"/>
                    <a:gd name="connsiteX1250" fmla="*/ 14365 w 1524655"/>
                    <a:gd name="connsiteY1250" fmla="*/ 815010 h 1268099"/>
                    <a:gd name="connsiteX1251" fmla="*/ 13139 w 1524655"/>
                    <a:gd name="connsiteY1251" fmla="*/ 814500 h 1268099"/>
                    <a:gd name="connsiteX1252" fmla="*/ 7577 w 1524655"/>
                    <a:gd name="connsiteY1252" fmla="*/ 813298 h 1268099"/>
                    <a:gd name="connsiteX1253" fmla="*/ 6484 w 1524655"/>
                    <a:gd name="connsiteY1253" fmla="*/ 812921 h 1268099"/>
                    <a:gd name="connsiteX1254" fmla="*/ 6035 w 1524655"/>
                    <a:gd name="connsiteY1254" fmla="*/ 812254 h 1268099"/>
                    <a:gd name="connsiteX1255" fmla="*/ 6035 w 1524655"/>
                    <a:gd name="connsiteY1255" fmla="*/ 811501 h 1268099"/>
                    <a:gd name="connsiteX1256" fmla="*/ 7407 w 1524655"/>
                    <a:gd name="connsiteY1256" fmla="*/ 809570 h 1268099"/>
                    <a:gd name="connsiteX1257" fmla="*/ 9010 w 1524655"/>
                    <a:gd name="connsiteY1257" fmla="*/ 807833 h 1268099"/>
                    <a:gd name="connsiteX1258" fmla="*/ 9872 w 1524655"/>
                    <a:gd name="connsiteY1258" fmla="*/ 807081 h 1268099"/>
                    <a:gd name="connsiteX1259" fmla="*/ 10504 w 1524655"/>
                    <a:gd name="connsiteY1259" fmla="*/ 806012 h 1268099"/>
                    <a:gd name="connsiteX1260" fmla="*/ 10807 w 1524655"/>
                    <a:gd name="connsiteY1260" fmla="*/ 804616 h 1268099"/>
                    <a:gd name="connsiteX1261" fmla="*/ 10625 w 1524655"/>
                    <a:gd name="connsiteY1261" fmla="*/ 801847 h 1268099"/>
                    <a:gd name="connsiteX1262" fmla="*/ 10904 w 1524655"/>
                    <a:gd name="connsiteY1262" fmla="*/ 797281 h 1268099"/>
                    <a:gd name="connsiteX1263" fmla="*/ 14414 w 1524655"/>
                    <a:gd name="connsiteY1263" fmla="*/ 791477 h 1268099"/>
                    <a:gd name="connsiteX1264" fmla="*/ 16660 w 1524655"/>
                    <a:gd name="connsiteY1264" fmla="*/ 792230 h 1268099"/>
                    <a:gd name="connsiteX1265" fmla="*/ 33017 w 1524655"/>
                    <a:gd name="connsiteY1265" fmla="*/ 801665 h 1268099"/>
                    <a:gd name="connsiteX1266" fmla="*/ 36065 w 1524655"/>
                    <a:gd name="connsiteY1266" fmla="*/ 802272 h 1268099"/>
                    <a:gd name="connsiteX1267" fmla="*/ 41055 w 1524655"/>
                    <a:gd name="connsiteY1267" fmla="*/ 802709 h 1268099"/>
                    <a:gd name="connsiteX1268" fmla="*/ 43411 w 1524655"/>
                    <a:gd name="connsiteY1268" fmla="*/ 803401 h 1268099"/>
                    <a:gd name="connsiteX1269" fmla="*/ 46908 w 1524655"/>
                    <a:gd name="connsiteY1269" fmla="*/ 805041 h 1268099"/>
                    <a:gd name="connsiteX1270" fmla="*/ 48863 w 1524655"/>
                    <a:gd name="connsiteY1270" fmla="*/ 805381 h 1268099"/>
                    <a:gd name="connsiteX1271" fmla="*/ 50709 w 1524655"/>
                    <a:gd name="connsiteY1271" fmla="*/ 804955 h 1268099"/>
                    <a:gd name="connsiteX1272" fmla="*/ 53295 w 1524655"/>
                    <a:gd name="connsiteY1272" fmla="*/ 803644 h 1268099"/>
                    <a:gd name="connsiteX1273" fmla="*/ 55238 w 1524655"/>
                    <a:gd name="connsiteY1273" fmla="*/ 803231 h 1268099"/>
                    <a:gd name="connsiteX1274" fmla="*/ 57424 w 1524655"/>
                    <a:gd name="connsiteY1274" fmla="*/ 803086 h 1268099"/>
                    <a:gd name="connsiteX1275" fmla="*/ 58687 w 1524655"/>
                    <a:gd name="connsiteY1275" fmla="*/ 803377 h 1268099"/>
                    <a:gd name="connsiteX1276" fmla="*/ 59950 w 1524655"/>
                    <a:gd name="connsiteY1276" fmla="*/ 803863 h 1268099"/>
                    <a:gd name="connsiteX1277" fmla="*/ 61042 w 1524655"/>
                    <a:gd name="connsiteY1277" fmla="*/ 804737 h 1268099"/>
                    <a:gd name="connsiteX1278" fmla="*/ 61905 w 1524655"/>
                    <a:gd name="connsiteY1278" fmla="*/ 805806 h 1268099"/>
                    <a:gd name="connsiteX1279" fmla="*/ 62767 w 1524655"/>
                    <a:gd name="connsiteY1279" fmla="*/ 807141 h 1268099"/>
                    <a:gd name="connsiteX1280" fmla="*/ 63738 w 1524655"/>
                    <a:gd name="connsiteY1280" fmla="*/ 808185 h 1268099"/>
                    <a:gd name="connsiteX1281" fmla="*/ 65050 w 1524655"/>
                    <a:gd name="connsiteY1281" fmla="*/ 808538 h 1268099"/>
                    <a:gd name="connsiteX1282" fmla="*/ 66604 w 1524655"/>
                    <a:gd name="connsiteY1282" fmla="*/ 808283 h 1268099"/>
                    <a:gd name="connsiteX1283" fmla="*/ 68098 w 1524655"/>
                    <a:gd name="connsiteY1283" fmla="*/ 807615 h 1268099"/>
                    <a:gd name="connsiteX1284" fmla="*/ 69312 w 1524655"/>
                    <a:gd name="connsiteY1284" fmla="*/ 806789 h 1268099"/>
                    <a:gd name="connsiteX1285" fmla="*/ 73732 w 1524655"/>
                    <a:gd name="connsiteY1285" fmla="*/ 802479 h 1268099"/>
                    <a:gd name="connsiteX1286" fmla="*/ 74995 w 1524655"/>
                    <a:gd name="connsiteY1286" fmla="*/ 800730 h 1268099"/>
                    <a:gd name="connsiteX1287" fmla="*/ 76136 w 1524655"/>
                    <a:gd name="connsiteY1287" fmla="*/ 798228 h 1268099"/>
                    <a:gd name="connsiteX1288" fmla="*/ 77520 w 1524655"/>
                    <a:gd name="connsiteY1288" fmla="*/ 793322 h 1268099"/>
                    <a:gd name="connsiteX1289" fmla="*/ 78783 w 1524655"/>
                    <a:gd name="connsiteY1289" fmla="*/ 790760 h 1268099"/>
                    <a:gd name="connsiteX1290" fmla="*/ 79937 w 1524655"/>
                    <a:gd name="connsiteY1290" fmla="*/ 788939 h 1268099"/>
                    <a:gd name="connsiteX1291" fmla="*/ 81090 w 1524655"/>
                    <a:gd name="connsiteY1291" fmla="*/ 787470 h 1268099"/>
                    <a:gd name="connsiteX1292" fmla="*/ 81941 w 1524655"/>
                    <a:gd name="connsiteY1292" fmla="*/ 785928 h 1268099"/>
                    <a:gd name="connsiteX1293" fmla="*/ 82693 w 1524655"/>
                    <a:gd name="connsiteY1293" fmla="*/ 784155 h 1268099"/>
                    <a:gd name="connsiteX1294" fmla="*/ 83155 w 1524655"/>
                    <a:gd name="connsiteY1294" fmla="*/ 782358 h 1268099"/>
                    <a:gd name="connsiteX1295" fmla="*/ 83483 w 1524655"/>
                    <a:gd name="connsiteY1295" fmla="*/ 779929 h 1268099"/>
                    <a:gd name="connsiteX1296" fmla="*/ 83434 w 1524655"/>
                    <a:gd name="connsiteY1296" fmla="*/ 775983 h 1268099"/>
                    <a:gd name="connsiteX1297" fmla="*/ 82730 w 1524655"/>
                    <a:gd name="connsiteY1297" fmla="*/ 772255 h 1268099"/>
                    <a:gd name="connsiteX1298" fmla="*/ 79937 w 1524655"/>
                    <a:gd name="connsiteY1298" fmla="*/ 763038 h 1268099"/>
                    <a:gd name="connsiteX1299" fmla="*/ 78310 w 1524655"/>
                    <a:gd name="connsiteY1299" fmla="*/ 750409 h 1268099"/>
                    <a:gd name="connsiteX1300" fmla="*/ 76197 w 1524655"/>
                    <a:gd name="connsiteY1300" fmla="*/ 747702 h 1268099"/>
                    <a:gd name="connsiteX1301" fmla="*/ 74642 w 1524655"/>
                    <a:gd name="connsiteY1301" fmla="*/ 746609 h 1268099"/>
                    <a:gd name="connsiteX1302" fmla="*/ 72590 w 1524655"/>
                    <a:gd name="connsiteY1302" fmla="*/ 745516 h 1268099"/>
                    <a:gd name="connsiteX1303" fmla="*/ 66033 w 1524655"/>
                    <a:gd name="connsiteY1303" fmla="*/ 743962 h 1268099"/>
                    <a:gd name="connsiteX1304" fmla="*/ 64540 w 1524655"/>
                    <a:gd name="connsiteY1304" fmla="*/ 743209 h 1268099"/>
                    <a:gd name="connsiteX1305" fmla="*/ 63508 w 1524655"/>
                    <a:gd name="connsiteY1305" fmla="*/ 742091 h 1268099"/>
                    <a:gd name="connsiteX1306" fmla="*/ 62876 w 1524655"/>
                    <a:gd name="connsiteY1306" fmla="*/ 739505 h 1268099"/>
                    <a:gd name="connsiteX1307" fmla="*/ 61322 w 1524655"/>
                    <a:gd name="connsiteY1307" fmla="*/ 729451 h 1268099"/>
                    <a:gd name="connsiteX1308" fmla="*/ 60059 w 1524655"/>
                    <a:gd name="connsiteY1308" fmla="*/ 726318 h 1268099"/>
                    <a:gd name="connsiteX1309" fmla="*/ 58869 w 1524655"/>
                    <a:gd name="connsiteY1309" fmla="*/ 724460 h 1268099"/>
                    <a:gd name="connsiteX1310" fmla="*/ 57934 w 1524655"/>
                    <a:gd name="connsiteY1310" fmla="*/ 723829 h 1268099"/>
                    <a:gd name="connsiteX1311" fmla="*/ 56914 w 1524655"/>
                    <a:gd name="connsiteY1311" fmla="*/ 722566 h 1268099"/>
                    <a:gd name="connsiteX1312" fmla="*/ 56100 w 1524655"/>
                    <a:gd name="connsiteY1312" fmla="*/ 720866 h 1268099"/>
                    <a:gd name="connsiteX1313" fmla="*/ 55129 w 1524655"/>
                    <a:gd name="connsiteY1313" fmla="*/ 717514 h 1268099"/>
                    <a:gd name="connsiteX1314" fmla="*/ 53344 w 1524655"/>
                    <a:gd name="connsiteY1314" fmla="*/ 714017 h 1268099"/>
                    <a:gd name="connsiteX1315" fmla="*/ 52725 w 1524655"/>
                    <a:gd name="connsiteY1315" fmla="*/ 713264 h 1268099"/>
                    <a:gd name="connsiteX1316" fmla="*/ 52542 w 1524655"/>
                    <a:gd name="connsiteY1316" fmla="*/ 712402 h 1268099"/>
                    <a:gd name="connsiteX1317" fmla="*/ 52312 w 1524655"/>
                    <a:gd name="connsiteY1317" fmla="*/ 710884 h 1268099"/>
                    <a:gd name="connsiteX1318" fmla="*/ 53465 w 1524655"/>
                    <a:gd name="connsiteY1318" fmla="*/ 709306 h 1268099"/>
                    <a:gd name="connsiteX1319" fmla="*/ 54959 w 1524655"/>
                    <a:gd name="connsiteY1319" fmla="*/ 709876 h 1268099"/>
                    <a:gd name="connsiteX1320" fmla="*/ 58055 w 1524655"/>
                    <a:gd name="connsiteY1320" fmla="*/ 712439 h 1268099"/>
                    <a:gd name="connsiteX1321" fmla="*/ 58808 w 1524655"/>
                    <a:gd name="connsiteY1321" fmla="*/ 712803 h 1268099"/>
                    <a:gd name="connsiteX1322" fmla="*/ 59549 w 1524655"/>
                    <a:gd name="connsiteY1322" fmla="*/ 712633 h 1268099"/>
                    <a:gd name="connsiteX1323" fmla="*/ 60120 w 1524655"/>
                    <a:gd name="connsiteY1323" fmla="*/ 711285 h 1268099"/>
                    <a:gd name="connsiteX1324" fmla="*/ 60520 w 1524655"/>
                    <a:gd name="connsiteY1324" fmla="*/ 708868 h 1268099"/>
                    <a:gd name="connsiteX1325" fmla="*/ 60350 w 1524655"/>
                    <a:gd name="connsiteY1325" fmla="*/ 700259 h 1268099"/>
                    <a:gd name="connsiteX1326" fmla="*/ 58565 w 1524655"/>
                    <a:gd name="connsiteY1326" fmla="*/ 691711 h 1268099"/>
                    <a:gd name="connsiteX1327" fmla="*/ 58626 w 1524655"/>
                    <a:gd name="connsiteY1327" fmla="*/ 690630 h 1268099"/>
                    <a:gd name="connsiteX1328" fmla="*/ 58808 w 1524655"/>
                    <a:gd name="connsiteY1328" fmla="*/ 689719 h 1268099"/>
                    <a:gd name="connsiteX1329" fmla="*/ 59318 w 1524655"/>
                    <a:gd name="connsiteY1329" fmla="*/ 688262 h 1268099"/>
                    <a:gd name="connsiteX1330" fmla="*/ 60630 w 1524655"/>
                    <a:gd name="connsiteY1330" fmla="*/ 685797 h 1268099"/>
                    <a:gd name="connsiteX1331" fmla="*/ 62245 w 1524655"/>
                    <a:gd name="connsiteY1331" fmla="*/ 684024 h 1268099"/>
                    <a:gd name="connsiteX1332" fmla="*/ 64017 w 1524655"/>
                    <a:gd name="connsiteY1332" fmla="*/ 682846 h 1268099"/>
                    <a:gd name="connsiteX1333" fmla="*/ 65863 w 1524655"/>
                    <a:gd name="connsiteY1333" fmla="*/ 682360 h 1268099"/>
                    <a:gd name="connsiteX1334" fmla="*/ 67636 w 1524655"/>
                    <a:gd name="connsiteY1334" fmla="*/ 682433 h 1268099"/>
                    <a:gd name="connsiteX1335" fmla="*/ 69312 w 1524655"/>
                    <a:gd name="connsiteY1335" fmla="*/ 682871 h 1268099"/>
                    <a:gd name="connsiteX1336" fmla="*/ 71255 w 1524655"/>
                    <a:gd name="connsiteY1336" fmla="*/ 683623 h 1268099"/>
                    <a:gd name="connsiteX1337" fmla="*/ 73052 w 1524655"/>
                    <a:gd name="connsiteY1337" fmla="*/ 684024 h 1268099"/>
                    <a:gd name="connsiteX1338" fmla="*/ 74242 w 1524655"/>
                    <a:gd name="connsiteY1338" fmla="*/ 683271 h 1268099"/>
                    <a:gd name="connsiteX1339" fmla="*/ 74594 w 1524655"/>
                    <a:gd name="connsiteY1339" fmla="*/ 681438 h 1268099"/>
                    <a:gd name="connsiteX1340" fmla="*/ 73052 w 1524655"/>
                    <a:gd name="connsiteY1340" fmla="*/ 677042 h 1268099"/>
                    <a:gd name="connsiteX1341" fmla="*/ 70514 w 1524655"/>
                    <a:gd name="connsiteY1341" fmla="*/ 672719 h 1268099"/>
                    <a:gd name="connsiteX1342" fmla="*/ 68340 w 1524655"/>
                    <a:gd name="connsiteY1342" fmla="*/ 668032 h 1268099"/>
                    <a:gd name="connsiteX1343" fmla="*/ 67417 w 1524655"/>
                    <a:gd name="connsiteY1343" fmla="*/ 667315 h 1268099"/>
                    <a:gd name="connsiteX1344" fmla="*/ 66495 w 1524655"/>
                    <a:gd name="connsiteY1344" fmla="*/ 666890 h 1268099"/>
                    <a:gd name="connsiteX1345" fmla="*/ 65523 w 1524655"/>
                    <a:gd name="connsiteY1345" fmla="*/ 666538 h 1268099"/>
                    <a:gd name="connsiteX1346" fmla="*/ 64491 w 1524655"/>
                    <a:gd name="connsiteY1346" fmla="*/ 665785 h 1268099"/>
                    <a:gd name="connsiteX1347" fmla="*/ 63860 w 1524655"/>
                    <a:gd name="connsiteY1347" fmla="*/ 663442 h 1268099"/>
                    <a:gd name="connsiteX1348" fmla="*/ 63386 w 1524655"/>
                    <a:gd name="connsiteY1348" fmla="*/ 659544 h 1268099"/>
                    <a:gd name="connsiteX1349" fmla="*/ 64370 w 1524655"/>
                    <a:gd name="connsiteY1349" fmla="*/ 651190 h 1268099"/>
                    <a:gd name="connsiteX1350" fmla="*/ 64370 w 1524655"/>
                    <a:gd name="connsiteY1350" fmla="*/ 646490 h 1268099"/>
                    <a:gd name="connsiteX1351" fmla="*/ 65293 w 1524655"/>
                    <a:gd name="connsiteY1351" fmla="*/ 644450 h 1268099"/>
                    <a:gd name="connsiteX1352" fmla="*/ 65001 w 1524655"/>
                    <a:gd name="connsiteY1352" fmla="*/ 641754 h 1268099"/>
                    <a:gd name="connsiteX1353" fmla="*/ 72408 w 1524655"/>
                    <a:gd name="connsiteY1353" fmla="*/ 632684 h 1268099"/>
                    <a:gd name="connsiteX1354" fmla="*/ 85620 w 1524655"/>
                    <a:gd name="connsiteY1354" fmla="*/ 625046 h 1268099"/>
                    <a:gd name="connsiteX1355" fmla="*/ 89238 w 1524655"/>
                    <a:gd name="connsiteY1355" fmla="*/ 623795 h 1268099"/>
                    <a:gd name="connsiteX1356" fmla="*/ 101114 w 1524655"/>
                    <a:gd name="connsiteY1356" fmla="*/ 622022 h 1268099"/>
                    <a:gd name="connsiteX1357" fmla="*/ 102790 w 1524655"/>
                    <a:gd name="connsiteY1357" fmla="*/ 622338 h 1268099"/>
                    <a:gd name="connsiteX1358" fmla="*/ 106056 w 1524655"/>
                    <a:gd name="connsiteY1358" fmla="*/ 624050 h 1268099"/>
                    <a:gd name="connsiteX1359" fmla="*/ 108060 w 1524655"/>
                    <a:gd name="connsiteY1359" fmla="*/ 624754 h 1268099"/>
                    <a:gd name="connsiteX1360" fmla="*/ 116050 w 1524655"/>
                    <a:gd name="connsiteY1360" fmla="*/ 625726 h 1268099"/>
                    <a:gd name="connsiteX1361" fmla="*/ 139073 w 1524655"/>
                    <a:gd name="connsiteY1361" fmla="*/ 625956 h 1268099"/>
                    <a:gd name="connsiteX1362" fmla="*/ 139826 w 1524655"/>
                    <a:gd name="connsiteY1362" fmla="*/ 626199 h 1268099"/>
                    <a:gd name="connsiteX1363" fmla="*/ 142412 w 1524655"/>
                    <a:gd name="connsiteY1363" fmla="*/ 626503 h 1268099"/>
                    <a:gd name="connsiteX1364" fmla="*/ 144367 w 1524655"/>
                    <a:gd name="connsiteY1364" fmla="*/ 623868 h 1268099"/>
                    <a:gd name="connsiteX1365" fmla="*/ 147512 w 1524655"/>
                    <a:gd name="connsiteY1365" fmla="*/ 620638 h 1268099"/>
                    <a:gd name="connsiteX1366" fmla="*/ 147731 w 1524655"/>
                    <a:gd name="connsiteY1366" fmla="*/ 620261 h 1268099"/>
                    <a:gd name="connsiteX1367" fmla="*/ 148010 w 1524655"/>
                    <a:gd name="connsiteY1367" fmla="*/ 620249 h 1268099"/>
                    <a:gd name="connsiteX1368" fmla="*/ 150657 w 1524655"/>
                    <a:gd name="connsiteY1368" fmla="*/ 620261 h 1268099"/>
                    <a:gd name="connsiteX1369" fmla="*/ 152212 w 1524655"/>
                    <a:gd name="connsiteY1369" fmla="*/ 620249 h 1268099"/>
                    <a:gd name="connsiteX1370" fmla="*/ 152212 w 1524655"/>
                    <a:gd name="connsiteY1370" fmla="*/ 620759 h 1268099"/>
                    <a:gd name="connsiteX1371" fmla="*/ 152880 w 1524655"/>
                    <a:gd name="connsiteY1371" fmla="*/ 621755 h 1268099"/>
                    <a:gd name="connsiteX1372" fmla="*/ 153936 w 1524655"/>
                    <a:gd name="connsiteY1372" fmla="*/ 622569 h 1268099"/>
                    <a:gd name="connsiteX1373" fmla="*/ 154142 w 1524655"/>
                    <a:gd name="connsiteY1373" fmla="*/ 623674 h 1268099"/>
                    <a:gd name="connsiteX1374" fmla="*/ 153936 w 1524655"/>
                    <a:gd name="connsiteY1374" fmla="*/ 626394 h 1268099"/>
                    <a:gd name="connsiteX1375" fmla="*/ 152940 w 1524655"/>
                    <a:gd name="connsiteY1375" fmla="*/ 630656 h 1268099"/>
                    <a:gd name="connsiteX1376" fmla="*/ 157129 w 1524655"/>
                    <a:gd name="connsiteY1376" fmla="*/ 631530 h 1268099"/>
                    <a:gd name="connsiteX1377" fmla="*/ 160335 w 1524655"/>
                    <a:gd name="connsiteY1377" fmla="*/ 632028 h 1268099"/>
                    <a:gd name="connsiteX1378" fmla="*/ 164585 w 1524655"/>
                    <a:gd name="connsiteY1378" fmla="*/ 632295 h 1268099"/>
                    <a:gd name="connsiteX1379" fmla="*/ 166188 w 1524655"/>
                    <a:gd name="connsiteY1379" fmla="*/ 632684 h 1268099"/>
                    <a:gd name="connsiteX1380" fmla="*/ 167730 w 1524655"/>
                    <a:gd name="connsiteY1380" fmla="*/ 633291 h 1268099"/>
                    <a:gd name="connsiteX1381" fmla="*/ 169625 w 1524655"/>
                    <a:gd name="connsiteY1381" fmla="*/ 632975 h 1268099"/>
                    <a:gd name="connsiteX1382" fmla="*/ 171057 w 1524655"/>
                    <a:gd name="connsiteY1382" fmla="*/ 632404 h 1268099"/>
                    <a:gd name="connsiteX1383" fmla="*/ 172478 w 1524655"/>
                    <a:gd name="connsiteY1383" fmla="*/ 633133 h 1268099"/>
                    <a:gd name="connsiteX1384" fmla="*/ 173365 w 1524655"/>
                    <a:gd name="connsiteY1384" fmla="*/ 633898 h 1268099"/>
                    <a:gd name="connsiteX1385" fmla="*/ 174700 w 1524655"/>
                    <a:gd name="connsiteY1385" fmla="*/ 634845 h 1268099"/>
                    <a:gd name="connsiteX1386" fmla="*/ 175805 w 1524655"/>
                    <a:gd name="connsiteY1386" fmla="*/ 636217 h 1268099"/>
                    <a:gd name="connsiteX1387" fmla="*/ 177250 w 1524655"/>
                    <a:gd name="connsiteY1387" fmla="*/ 637869 h 1268099"/>
                    <a:gd name="connsiteX1388" fmla="*/ 178853 w 1524655"/>
                    <a:gd name="connsiteY1388" fmla="*/ 638706 h 1268099"/>
                    <a:gd name="connsiteX1389" fmla="*/ 180833 w 1524655"/>
                    <a:gd name="connsiteY1389" fmla="*/ 639144 h 1268099"/>
                    <a:gd name="connsiteX1390" fmla="*/ 185459 w 1524655"/>
                    <a:gd name="connsiteY1390" fmla="*/ 639642 h 1268099"/>
                    <a:gd name="connsiteX1391" fmla="*/ 187123 w 1524655"/>
                    <a:gd name="connsiteY1391" fmla="*/ 639362 h 1268099"/>
                    <a:gd name="connsiteX1392" fmla="*/ 188458 w 1524655"/>
                    <a:gd name="connsiteY1392" fmla="*/ 638379 h 1268099"/>
                    <a:gd name="connsiteX1393" fmla="*/ 189891 w 1524655"/>
                    <a:gd name="connsiteY1393" fmla="*/ 637711 h 1268099"/>
                    <a:gd name="connsiteX1394" fmla="*/ 191543 w 1524655"/>
                    <a:gd name="connsiteY1394" fmla="*/ 637201 h 1268099"/>
                    <a:gd name="connsiteX1395" fmla="*/ 193206 w 1524655"/>
                    <a:gd name="connsiteY1395" fmla="*/ 637541 h 1268099"/>
                    <a:gd name="connsiteX1396" fmla="*/ 194530 w 1524655"/>
                    <a:gd name="connsiteY1396" fmla="*/ 638039 h 1268099"/>
                    <a:gd name="connsiteX1397" fmla="*/ 195793 w 1524655"/>
                    <a:gd name="connsiteY1397" fmla="*/ 638755 h 1268099"/>
                    <a:gd name="connsiteX1398" fmla="*/ 197784 w 1524655"/>
                    <a:gd name="connsiteY1398" fmla="*/ 639253 h 1268099"/>
                    <a:gd name="connsiteX1399" fmla="*/ 199763 w 1524655"/>
                    <a:gd name="connsiteY1399" fmla="*/ 639083 h 1268099"/>
                    <a:gd name="connsiteX1400" fmla="*/ 201597 w 1524655"/>
                    <a:gd name="connsiteY1400" fmla="*/ 639751 h 1268099"/>
                    <a:gd name="connsiteX1401" fmla="*/ 203248 w 1524655"/>
                    <a:gd name="connsiteY1401" fmla="*/ 640528 h 1268099"/>
                    <a:gd name="connsiteX1402" fmla="*/ 205288 w 1524655"/>
                    <a:gd name="connsiteY1402" fmla="*/ 641014 h 1268099"/>
                    <a:gd name="connsiteX1403" fmla="*/ 207013 w 1524655"/>
                    <a:gd name="connsiteY1403" fmla="*/ 641293 h 1268099"/>
                    <a:gd name="connsiteX1404" fmla="*/ 208883 w 1524655"/>
                    <a:gd name="connsiteY1404" fmla="*/ 640953 h 1268099"/>
                    <a:gd name="connsiteX1405" fmla="*/ 210486 w 1524655"/>
                    <a:gd name="connsiteY1405" fmla="*/ 640467 h 1268099"/>
                    <a:gd name="connsiteX1406" fmla="*/ 211919 w 1524655"/>
                    <a:gd name="connsiteY1406" fmla="*/ 639642 h 1268099"/>
                    <a:gd name="connsiteX1407" fmla="*/ 213533 w 1524655"/>
                    <a:gd name="connsiteY1407" fmla="*/ 639302 h 1268099"/>
                    <a:gd name="connsiteX1408" fmla="*/ 214626 w 1524655"/>
                    <a:gd name="connsiteY1408" fmla="*/ 639642 h 1268099"/>
                    <a:gd name="connsiteX1409" fmla="*/ 216557 w 1524655"/>
                    <a:gd name="connsiteY1409" fmla="*/ 639642 h 1268099"/>
                    <a:gd name="connsiteX1410" fmla="*/ 217613 w 1524655"/>
                    <a:gd name="connsiteY1410" fmla="*/ 639302 h 1268099"/>
                    <a:gd name="connsiteX1411" fmla="*/ 219714 w 1524655"/>
                    <a:gd name="connsiteY1411" fmla="*/ 636108 h 1268099"/>
                    <a:gd name="connsiteX1412" fmla="*/ 221475 w 1524655"/>
                    <a:gd name="connsiteY1412" fmla="*/ 635379 h 1268099"/>
                    <a:gd name="connsiteX1413" fmla="*/ 223515 w 1524655"/>
                    <a:gd name="connsiteY1413" fmla="*/ 635440 h 1268099"/>
                    <a:gd name="connsiteX1414" fmla="*/ 227219 w 1524655"/>
                    <a:gd name="connsiteY1414" fmla="*/ 637541 h 1268099"/>
                    <a:gd name="connsiteX1415" fmla="*/ 231141 w 1524655"/>
                    <a:gd name="connsiteY1415" fmla="*/ 639144 h 1268099"/>
                    <a:gd name="connsiteX1416" fmla="*/ 234067 w 1524655"/>
                    <a:gd name="connsiteY1416" fmla="*/ 639459 h 1268099"/>
                    <a:gd name="connsiteX1417" fmla="*/ 237601 w 1524655"/>
                    <a:gd name="connsiteY1417" fmla="*/ 639241 h 1268099"/>
                    <a:gd name="connsiteX1418" fmla="*/ 239483 w 1524655"/>
                    <a:gd name="connsiteY1418" fmla="*/ 639569 h 1268099"/>
                    <a:gd name="connsiteX1419" fmla="*/ 243357 w 1524655"/>
                    <a:gd name="connsiteY1419" fmla="*/ 642107 h 1268099"/>
                    <a:gd name="connsiteX1420" fmla="*/ 244887 w 1524655"/>
                    <a:gd name="connsiteY1420" fmla="*/ 642434 h 1268099"/>
                    <a:gd name="connsiteX1421" fmla="*/ 245785 w 1524655"/>
                    <a:gd name="connsiteY1421" fmla="*/ 640018 h 1268099"/>
                    <a:gd name="connsiteX1422" fmla="*/ 247267 w 1524655"/>
                    <a:gd name="connsiteY1422" fmla="*/ 636752 h 1268099"/>
                    <a:gd name="connsiteX1423" fmla="*/ 247704 w 1524655"/>
                    <a:gd name="connsiteY1423" fmla="*/ 635525 h 1268099"/>
                    <a:gd name="connsiteX1424" fmla="*/ 249039 w 1524655"/>
                    <a:gd name="connsiteY1424" fmla="*/ 634857 h 1268099"/>
                    <a:gd name="connsiteX1425" fmla="*/ 249914 w 1524655"/>
                    <a:gd name="connsiteY1425" fmla="*/ 634092 h 1268099"/>
                    <a:gd name="connsiteX1426" fmla="*/ 251237 w 1524655"/>
                    <a:gd name="connsiteY1426" fmla="*/ 634214 h 1268099"/>
                    <a:gd name="connsiteX1427" fmla="*/ 251905 w 1524655"/>
                    <a:gd name="connsiteY1427" fmla="*/ 634967 h 1268099"/>
                    <a:gd name="connsiteX1428" fmla="*/ 252075 w 1524655"/>
                    <a:gd name="connsiteY1428" fmla="*/ 639933 h 1268099"/>
                    <a:gd name="connsiteX1429" fmla="*/ 253629 w 1524655"/>
                    <a:gd name="connsiteY1429" fmla="*/ 640212 h 1268099"/>
                    <a:gd name="connsiteX1430" fmla="*/ 255439 w 1524655"/>
                    <a:gd name="connsiteY1430" fmla="*/ 644122 h 1268099"/>
                    <a:gd name="connsiteX1431" fmla="*/ 256386 w 1524655"/>
                    <a:gd name="connsiteY1431" fmla="*/ 645240 h 1268099"/>
                    <a:gd name="connsiteX1432" fmla="*/ 263392 w 1524655"/>
                    <a:gd name="connsiteY1432" fmla="*/ 648445 h 1268099"/>
                    <a:gd name="connsiteX1433" fmla="*/ 264935 w 1524655"/>
                    <a:gd name="connsiteY1433" fmla="*/ 648554 h 1268099"/>
                    <a:gd name="connsiteX1434" fmla="*/ 266890 w 1524655"/>
                    <a:gd name="connsiteY1434" fmla="*/ 648008 h 1268099"/>
                    <a:gd name="connsiteX1435" fmla="*/ 268201 w 1524655"/>
                    <a:gd name="connsiteY1435" fmla="*/ 647061 h 1268099"/>
                    <a:gd name="connsiteX1436" fmla="*/ 268031 w 1524655"/>
                    <a:gd name="connsiteY1436" fmla="*/ 644414 h 1268099"/>
                    <a:gd name="connsiteX1437" fmla="*/ 270253 w 1524655"/>
                    <a:gd name="connsiteY1437" fmla="*/ 644135 h 1268099"/>
                    <a:gd name="connsiteX1438" fmla="*/ 272232 w 1524655"/>
                    <a:gd name="connsiteY1438" fmla="*/ 644207 h 1268099"/>
                    <a:gd name="connsiteX1439" fmla="*/ 272682 w 1524655"/>
                    <a:gd name="connsiteY1439" fmla="*/ 644365 h 1268099"/>
                    <a:gd name="connsiteX1440" fmla="*/ 275220 w 1524655"/>
                    <a:gd name="connsiteY1440" fmla="*/ 644365 h 1268099"/>
                    <a:gd name="connsiteX1441" fmla="*/ 275997 w 1524655"/>
                    <a:gd name="connsiteY1441" fmla="*/ 643600 h 1268099"/>
                    <a:gd name="connsiteX1442" fmla="*/ 276325 w 1524655"/>
                    <a:gd name="connsiteY1442" fmla="*/ 641062 h 1268099"/>
                    <a:gd name="connsiteX1443" fmla="*/ 276992 w 1524655"/>
                    <a:gd name="connsiteY1443" fmla="*/ 639897 h 1268099"/>
                    <a:gd name="connsiteX1444" fmla="*/ 277928 w 1524655"/>
                    <a:gd name="connsiteY1444" fmla="*/ 638512 h 1268099"/>
                    <a:gd name="connsiteX1445" fmla="*/ 278365 w 1524655"/>
                    <a:gd name="connsiteY1445" fmla="*/ 636982 h 1268099"/>
                    <a:gd name="connsiteX1446" fmla="*/ 277928 w 1524655"/>
                    <a:gd name="connsiteY1446" fmla="*/ 635598 h 1268099"/>
                    <a:gd name="connsiteX1447" fmla="*/ 278097 w 1524655"/>
                    <a:gd name="connsiteY1447" fmla="*/ 634542 h 1268099"/>
                    <a:gd name="connsiteX1448" fmla="*/ 281182 w 1524655"/>
                    <a:gd name="connsiteY1448" fmla="*/ 632271 h 1268099"/>
                    <a:gd name="connsiteX1449" fmla="*/ 282845 w 1524655"/>
                    <a:gd name="connsiteY1449" fmla="*/ 631336 h 1268099"/>
                    <a:gd name="connsiteX1450" fmla="*/ 287047 w 1524655"/>
                    <a:gd name="connsiteY1450" fmla="*/ 630122 h 1268099"/>
                    <a:gd name="connsiteX1451" fmla="*/ 288917 w 1524655"/>
                    <a:gd name="connsiteY1451" fmla="*/ 629065 h 1268099"/>
                    <a:gd name="connsiteX1452" fmla="*/ 289852 w 1524655"/>
                    <a:gd name="connsiteY1452" fmla="*/ 627571 h 1268099"/>
                    <a:gd name="connsiteX1453" fmla="*/ 290083 w 1524655"/>
                    <a:gd name="connsiteY1453" fmla="*/ 625641 h 1268099"/>
                    <a:gd name="connsiteX1454" fmla="*/ 290678 w 1524655"/>
                    <a:gd name="connsiteY1454" fmla="*/ 623163 h 1268099"/>
                    <a:gd name="connsiteX1455" fmla="*/ 290848 w 1524655"/>
                    <a:gd name="connsiteY1455" fmla="*/ 621548 h 1268099"/>
                    <a:gd name="connsiteX1456" fmla="*/ 291406 w 1524655"/>
                    <a:gd name="connsiteY1456" fmla="*/ 621051 h 1268099"/>
                    <a:gd name="connsiteX1457" fmla="*/ 291734 w 1524655"/>
                    <a:gd name="connsiteY1457" fmla="*/ 619630 h 1268099"/>
                    <a:gd name="connsiteX1458" fmla="*/ 292997 w 1524655"/>
                    <a:gd name="connsiteY1458" fmla="*/ 616534 h 1268099"/>
                    <a:gd name="connsiteX1459" fmla="*/ 292778 w 1524655"/>
                    <a:gd name="connsiteY1459" fmla="*/ 614542 h 1268099"/>
                    <a:gd name="connsiteX1460" fmla="*/ 291467 w 1524655"/>
                    <a:gd name="connsiteY1460" fmla="*/ 610571 h 1268099"/>
                    <a:gd name="connsiteX1461" fmla="*/ 292463 w 1524655"/>
                    <a:gd name="connsiteY1461" fmla="*/ 609515 h 1268099"/>
                    <a:gd name="connsiteX1462" fmla="*/ 294612 w 1524655"/>
                    <a:gd name="connsiteY1462" fmla="*/ 608786 h 1268099"/>
                    <a:gd name="connsiteX1463" fmla="*/ 296980 w 1524655"/>
                    <a:gd name="connsiteY1463" fmla="*/ 609345 h 1268099"/>
                    <a:gd name="connsiteX1464" fmla="*/ 299080 w 1524655"/>
                    <a:gd name="connsiteY1464" fmla="*/ 610013 h 1268099"/>
                    <a:gd name="connsiteX1465" fmla="*/ 303500 w 1524655"/>
                    <a:gd name="connsiteY1465" fmla="*/ 609904 h 1268099"/>
                    <a:gd name="connsiteX1466" fmla="*/ 304873 w 1524655"/>
                    <a:gd name="connsiteY1466" fmla="*/ 608349 h 1268099"/>
                    <a:gd name="connsiteX1467" fmla="*/ 306318 w 1524655"/>
                    <a:gd name="connsiteY1467" fmla="*/ 606479 h 1268099"/>
                    <a:gd name="connsiteX1468" fmla="*/ 308030 w 1524655"/>
                    <a:gd name="connsiteY1468" fmla="*/ 605374 h 1268099"/>
                    <a:gd name="connsiteX1469" fmla="*/ 310398 w 1524655"/>
                    <a:gd name="connsiteY1469" fmla="*/ 605047 h 1268099"/>
                    <a:gd name="connsiteX1470" fmla="*/ 313543 w 1524655"/>
                    <a:gd name="connsiteY1470" fmla="*/ 603990 h 1268099"/>
                    <a:gd name="connsiteX1471" fmla="*/ 316263 w 1524655"/>
                    <a:gd name="connsiteY1471" fmla="*/ 601780 h 1268099"/>
                    <a:gd name="connsiteX1472" fmla="*/ 320234 w 1524655"/>
                    <a:gd name="connsiteY1472" fmla="*/ 600007 h 1268099"/>
                    <a:gd name="connsiteX1473" fmla="*/ 323099 w 1524655"/>
                    <a:gd name="connsiteY1473" fmla="*/ 599618 h 1268099"/>
                    <a:gd name="connsiteX1474" fmla="*/ 328685 w 1524655"/>
                    <a:gd name="connsiteY1474" fmla="*/ 600007 h 1268099"/>
                    <a:gd name="connsiteX1475" fmla="*/ 337027 w 1524655"/>
                    <a:gd name="connsiteY1475" fmla="*/ 601500 h 1268099"/>
                    <a:gd name="connsiteX1476" fmla="*/ 341727 w 1524655"/>
                    <a:gd name="connsiteY1476" fmla="*/ 602982 h 1268099"/>
                    <a:gd name="connsiteX1477" fmla="*/ 343985 w 1524655"/>
                    <a:gd name="connsiteY1477" fmla="*/ 603540 h 1268099"/>
                    <a:gd name="connsiteX1478" fmla="*/ 346584 w 1524655"/>
                    <a:gd name="connsiteY1478" fmla="*/ 604706 h 1268099"/>
                    <a:gd name="connsiteX1479" fmla="*/ 348891 w 1524655"/>
                    <a:gd name="connsiteY1479" fmla="*/ 604646 h 1268099"/>
                    <a:gd name="connsiteX1480" fmla="*/ 350336 w 1524655"/>
                    <a:gd name="connsiteY1480" fmla="*/ 603601 h 1268099"/>
                    <a:gd name="connsiteX1481" fmla="*/ 352109 w 1524655"/>
                    <a:gd name="connsiteY1481" fmla="*/ 602059 h 1268099"/>
                    <a:gd name="connsiteX1482" fmla="*/ 355084 w 1524655"/>
                    <a:gd name="connsiteY1482" fmla="*/ 598793 h 1268099"/>
                    <a:gd name="connsiteX1483" fmla="*/ 357124 w 1524655"/>
                    <a:gd name="connsiteY1483" fmla="*/ 597020 h 1268099"/>
                    <a:gd name="connsiteX1484" fmla="*/ 359662 w 1524655"/>
                    <a:gd name="connsiteY1484" fmla="*/ 596583 h 1268099"/>
                    <a:gd name="connsiteX1485" fmla="*/ 363317 w 1524655"/>
                    <a:gd name="connsiteY1485" fmla="*/ 598028 h 1268099"/>
                    <a:gd name="connsiteX1486" fmla="*/ 365187 w 1524655"/>
                    <a:gd name="connsiteY1486" fmla="*/ 599679 h 1268099"/>
                    <a:gd name="connsiteX1487" fmla="*/ 367287 w 1524655"/>
                    <a:gd name="connsiteY1487" fmla="*/ 601841 h 1268099"/>
                    <a:gd name="connsiteX1488" fmla="*/ 369279 w 1524655"/>
                    <a:gd name="connsiteY1488" fmla="*/ 604767 h 1268099"/>
                    <a:gd name="connsiteX1489" fmla="*/ 370493 w 1524655"/>
                    <a:gd name="connsiteY1489" fmla="*/ 606079 h 1268099"/>
                    <a:gd name="connsiteX1490" fmla="*/ 372642 w 1524655"/>
                    <a:gd name="connsiteY1490" fmla="*/ 607742 h 1268099"/>
                    <a:gd name="connsiteX1491" fmla="*/ 377730 w 1524655"/>
                    <a:gd name="connsiteY1491" fmla="*/ 610401 h 1268099"/>
                    <a:gd name="connsiteX1492" fmla="*/ 379989 w 1524655"/>
                    <a:gd name="connsiteY1492" fmla="*/ 611069 h 1268099"/>
                    <a:gd name="connsiteX1493" fmla="*/ 382418 w 1524655"/>
                    <a:gd name="connsiteY1493" fmla="*/ 611446 h 1268099"/>
                    <a:gd name="connsiteX1494" fmla="*/ 385247 w 1524655"/>
                    <a:gd name="connsiteY1494" fmla="*/ 611446 h 1268099"/>
                    <a:gd name="connsiteX1495" fmla="*/ 389169 w 1524655"/>
                    <a:gd name="connsiteY1495" fmla="*/ 610948 h 1268099"/>
                    <a:gd name="connsiteX1496" fmla="*/ 391974 w 1524655"/>
                    <a:gd name="connsiteY1496" fmla="*/ 609236 h 1268099"/>
                    <a:gd name="connsiteX1497" fmla="*/ 395350 w 1524655"/>
                    <a:gd name="connsiteY1497" fmla="*/ 606637 h 1268099"/>
                    <a:gd name="connsiteX1498" fmla="*/ 396406 w 1524655"/>
                    <a:gd name="connsiteY1498" fmla="*/ 605471 h 1268099"/>
                    <a:gd name="connsiteX1499" fmla="*/ 397888 w 1524655"/>
                    <a:gd name="connsiteY1499" fmla="*/ 603540 h 1268099"/>
                    <a:gd name="connsiteX1500" fmla="*/ 400595 w 1524655"/>
                    <a:gd name="connsiteY1500" fmla="*/ 598793 h 1268099"/>
                    <a:gd name="connsiteX1501" fmla="*/ 401142 w 1524655"/>
                    <a:gd name="connsiteY1501" fmla="*/ 597469 h 1268099"/>
                    <a:gd name="connsiteX1502" fmla="*/ 401373 w 1524655"/>
                    <a:gd name="connsiteY1502" fmla="*/ 595806 h 1268099"/>
                    <a:gd name="connsiteX1503" fmla="*/ 400935 w 1524655"/>
                    <a:gd name="connsiteY1503" fmla="*/ 594264 h 1268099"/>
                    <a:gd name="connsiteX1504" fmla="*/ 400207 w 1524655"/>
                    <a:gd name="connsiteY1504" fmla="*/ 592490 h 1268099"/>
                    <a:gd name="connsiteX1505" fmla="*/ 399660 w 1524655"/>
                    <a:gd name="connsiteY1505" fmla="*/ 590001 h 1268099"/>
                    <a:gd name="connsiteX1506" fmla="*/ 399539 w 1524655"/>
                    <a:gd name="connsiteY1506" fmla="*/ 588228 h 1268099"/>
                    <a:gd name="connsiteX1507" fmla="*/ 399830 w 1524655"/>
                    <a:gd name="connsiteY1507" fmla="*/ 586407 h 1268099"/>
                    <a:gd name="connsiteX1508" fmla="*/ 400935 w 1524655"/>
                    <a:gd name="connsiteY1508" fmla="*/ 585472 h 1268099"/>
                    <a:gd name="connsiteX1509" fmla="*/ 402478 w 1524655"/>
                    <a:gd name="connsiteY1509" fmla="*/ 584925 h 1268099"/>
                    <a:gd name="connsiteX1510" fmla="*/ 404348 w 1524655"/>
                    <a:gd name="connsiteY1510" fmla="*/ 585096 h 1268099"/>
                    <a:gd name="connsiteX1511" fmla="*/ 405562 w 1524655"/>
                    <a:gd name="connsiteY1511" fmla="*/ 586140 h 1268099"/>
                    <a:gd name="connsiteX1512" fmla="*/ 406169 w 1524655"/>
                    <a:gd name="connsiteY1512" fmla="*/ 587913 h 1268099"/>
                    <a:gd name="connsiteX1513" fmla="*/ 406509 w 1524655"/>
                    <a:gd name="connsiteY1513" fmla="*/ 589576 h 1268099"/>
                    <a:gd name="connsiteX1514" fmla="*/ 406788 w 1524655"/>
                    <a:gd name="connsiteY1514" fmla="*/ 592224 h 1268099"/>
                    <a:gd name="connsiteX1515" fmla="*/ 407395 w 1524655"/>
                    <a:gd name="connsiteY1515" fmla="*/ 594446 h 1268099"/>
                    <a:gd name="connsiteX1516" fmla="*/ 410431 w 1524655"/>
                    <a:gd name="connsiteY1516" fmla="*/ 596656 h 1268099"/>
                    <a:gd name="connsiteX1517" fmla="*/ 412690 w 1524655"/>
                    <a:gd name="connsiteY1517" fmla="*/ 596826 h 1268099"/>
                    <a:gd name="connsiteX1518" fmla="*/ 414463 w 1524655"/>
                    <a:gd name="connsiteY1518" fmla="*/ 595393 h 1268099"/>
                    <a:gd name="connsiteX1519" fmla="*/ 414961 w 1524655"/>
                    <a:gd name="connsiteY1519" fmla="*/ 594664 h 1268099"/>
                    <a:gd name="connsiteX1520" fmla="*/ 415726 w 1524655"/>
                    <a:gd name="connsiteY1520" fmla="*/ 593790 h 1268099"/>
                    <a:gd name="connsiteX1521" fmla="*/ 416563 w 1524655"/>
                    <a:gd name="connsiteY1521" fmla="*/ 592187 h 1268099"/>
                    <a:gd name="connsiteX1522" fmla="*/ 416394 w 1524655"/>
                    <a:gd name="connsiteY1522" fmla="*/ 589928 h 1268099"/>
                    <a:gd name="connsiteX1523" fmla="*/ 413528 w 1524655"/>
                    <a:gd name="connsiteY1523" fmla="*/ 583893 h 1268099"/>
                    <a:gd name="connsiteX1524" fmla="*/ 413528 w 1524655"/>
                    <a:gd name="connsiteY1524" fmla="*/ 580627 h 1268099"/>
                    <a:gd name="connsiteX1525" fmla="*/ 413965 w 1524655"/>
                    <a:gd name="connsiteY1525" fmla="*/ 578915 h 1268099"/>
                    <a:gd name="connsiteX1526" fmla="*/ 417268 w 1524655"/>
                    <a:gd name="connsiteY1526" fmla="*/ 576765 h 1268099"/>
                    <a:gd name="connsiteX1527" fmla="*/ 420158 w 1524655"/>
                    <a:gd name="connsiteY1527" fmla="*/ 575321 h 1268099"/>
                    <a:gd name="connsiteX1528" fmla="*/ 423521 w 1524655"/>
                    <a:gd name="connsiteY1528" fmla="*/ 573948 h 1268099"/>
                    <a:gd name="connsiteX1529" fmla="*/ 427103 w 1524655"/>
                    <a:gd name="connsiteY1529" fmla="*/ 572783 h 1268099"/>
                    <a:gd name="connsiteX1530" fmla="*/ 429702 w 1524655"/>
                    <a:gd name="connsiteY1530" fmla="*/ 571799 h 1268099"/>
                    <a:gd name="connsiteX1531" fmla="*/ 433017 w 1524655"/>
                    <a:gd name="connsiteY1531" fmla="*/ 569467 h 1268099"/>
                    <a:gd name="connsiteX1532" fmla="*/ 434887 w 1524655"/>
                    <a:gd name="connsiteY1532" fmla="*/ 568751 h 1268099"/>
                    <a:gd name="connsiteX1533" fmla="*/ 436939 w 1524655"/>
                    <a:gd name="connsiteY1533" fmla="*/ 568423 h 1268099"/>
                    <a:gd name="connsiteX1534" fmla="*/ 439089 w 1524655"/>
                    <a:gd name="connsiteY1534" fmla="*/ 568593 h 1268099"/>
                    <a:gd name="connsiteX1535" fmla="*/ 441250 w 1524655"/>
                    <a:gd name="connsiteY1535" fmla="*/ 569091 h 1268099"/>
                    <a:gd name="connsiteX1536" fmla="*/ 443958 w 1524655"/>
                    <a:gd name="connsiteY1536" fmla="*/ 569905 h 1268099"/>
                    <a:gd name="connsiteX1537" fmla="*/ 454061 w 1524655"/>
                    <a:gd name="connsiteY1537" fmla="*/ 569965 h 1268099"/>
                    <a:gd name="connsiteX1538" fmla="*/ 455991 w 1524655"/>
                    <a:gd name="connsiteY1538" fmla="*/ 570245 h 1268099"/>
                    <a:gd name="connsiteX1539" fmla="*/ 457704 w 1524655"/>
                    <a:gd name="connsiteY1539" fmla="*/ 571617 h 1268099"/>
                    <a:gd name="connsiteX1540" fmla="*/ 459367 w 1524655"/>
                    <a:gd name="connsiteY1540" fmla="*/ 572503 h 1268099"/>
                    <a:gd name="connsiteX1541" fmla="*/ 461517 w 1524655"/>
                    <a:gd name="connsiteY1541" fmla="*/ 573317 h 1268099"/>
                    <a:gd name="connsiteX1542" fmla="*/ 464115 w 1524655"/>
                    <a:gd name="connsiteY1542" fmla="*/ 573936 h 1268099"/>
                    <a:gd name="connsiteX1543" fmla="*/ 466981 w 1524655"/>
                    <a:gd name="connsiteY1543" fmla="*/ 572880 h 1268099"/>
                    <a:gd name="connsiteX1544" fmla="*/ 469907 w 1524655"/>
                    <a:gd name="connsiteY1544" fmla="*/ 571325 h 1268099"/>
                    <a:gd name="connsiteX1545" fmla="*/ 471959 w 1524655"/>
                    <a:gd name="connsiteY1545" fmla="*/ 569625 h 1268099"/>
                    <a:gd name="connsiteX1546" fmla="*/ 473174 w 1524655"/>
                    <a:gd name="connsiteY1546" fmla="*/ 567573 h 1268099"/>
                    <a:gd name="connsiteX1547" fmla="*/ 474060 w 1524655"/>
                    <a:gd name="connsiteY1547" fmla="*/ 557956 h 1268099"/>
                    <a:gd name="connsiteX1548" fmla="*/ 473720 w 1524655"/>
                    <a:gd name="connsiteY1548" fmla="*/ 551010 h 1268099"/>
                    <a:gd name="connsiteX1549" fmla="*/ 472834 w 1524655"/>
                    <a:gd name="connsiteY1549" fmla="*/ 548424 h 1268099"/>
                    <a:gd name="connsiteX1550" fmla="*/ 470636 w 1524655"/>
                    <a:gd name="connsiteY1550" fmla="*/ 546044 h 1268099"/>
                    <a:gd name="connsiteX1551" fmla="*/ 470964 w 1524655"/>
                    <a:gd name="connsiteY1551" fmla="*/ 543761 h 1268099"/>
                    <a:gd name="connsiteX1552" fmla="*/ 470855 w 1524655"/>
                    <a:gd name="connsiteY1552" fmla="*/ 540057 h 1268099"/>
                    <a:gd name="connsiteX1553" fmla="*/ 471292 w 1524655"/>
                    <a:gd name="connsiteY1553" fmla="*/ 535807 h 1268099"/>
                    <a:gd name="connsiteX1554" fmla="*/ 472069 w 1524655"/>
                    <a:gd name="connsiteY1554" fmla="*/ 531509 h 1268099"/>
                    <a:gd name="connsiteX1555" fmla="*/ 473392 w 1524655"/>
                    <a:gd name="connsiteY1555" fmla="*/ 528740 h 1268099"/>
                    <a:gd name="connsiteX1556" fmla="*/ 475275 w 1524655"/>
                    <a:gd name="connsiteY1556" fmla="*/ 527635 h 1268099"/>
                    <a:gd name="connsiteX1557" fmla="*/ 475056 w 1524655"/>
                    <a:gd name="connsiteY1557" fmla="*/ 525316 h 1268099"/>
                    <a:gd name="connsiteX1558" fmla="*/ 474279 w 1524655"/>
                    <a:gd name="connsiteY1558" fmla="*/ 523215 h 1268099"/>
                    <a:gd name="connsiteX1559" fmla="*/ 473004 w 1524655"/>
                    <a:gd name="connsiteY1559" fmla="*/ 521224 h 1268099"/>
                    <a:gd name="connsiteX1560" fmla="*/ 473235 w 1524655"/>
                    <a:gd name="connsiteY1560" fmla="*/ 518127 h 1268099"/>
                    <a:gd name="connsiteX1561" fmla="*/ 474170 w 1524655"/>
                    <a:gd name="connsiteY1561" fmla="*/ 515966 h 1268099"/>
                    <a:gd name="connsiteX1562" fmla="*/ 479804 w 1524655"/>
                    <a:gd name="connsiteY1562" fmla="*/ 510781 h 1268099"/>
                    <a:gd name="connsiteX1563" fmla="*/ 480800 w 1524655"/>
                    <a:gd name="connsiteY1563" fmla="*/ 507927 h 1268099"/>
                    <a:gd name="connsiteX1564" fmla="*/ 483835 w 1524655"/>
                    <a:gd name="connsiteY1564" fmla="*/ 507150 h 1268099"/>
                    <a:gd name="connsiteX1565" fmla="*/ 486215 w 1524655"/>
                    <a:gd name="connsiteY1565" fmla="*/ 506761 h 1268099"/>
                    <a:gd name="connsiteX1566" fmla="*/ 490854 w 1524655"/>
                    <a:gd name="connsiteY1566" fmla="*/ 505159 h 1268099"/>
                    <a:gd name="connsiteX1567" fmla="*/ 493392 w 1524655"/>
                    <a:gd name="connsiteY1567" fmla="*/ 504600 h 1268099"/>
                    <a:gd name="connsiteX1568" fmla="*/ 495650 w 1524655"/>
                    <a:gd name="connsiteY1568" fmla="*/ 504430 h 1268099"/>
                    <a:gd name="connsiteX1569" fmla="*/ 506312 w 1524655"/>
                    <a:gd name="connsiteY1569" fmla="*/ 504260 h 1268099"/>
                    <a:gd name="connsiteX1570" fmla="*/ 510732 w 1524655"/>
                    <a:gd name="connsiteY1570" fmla="*/ 503823 h 1268099"/>
                    <a:gd name="connsiteX1571" fmla="*/ 512226 w 1524655"/>
                    <a:gd name="connsiteY1571" fmla="*/ 503203 h 1268099"/>
                    <a:gd name="connsiteX1572" fmla="*/ 513877 w 1524655"/>
                    <a:gd name="connsiteY1572" fmla="*/ 501674 h 1268099"/>
                    <a:gd name="connsiteX1573" fmla="*/ 515261 w 1524655"/>
                    <a:gd name="connsiteY1573" fmla="*/ 498796 h 1268099"/>
                    <a:gd name="connsiteX1574" fmla="*/ 518904 w 1524655"/>
                    <a:gd name="connsiteY1574" fmla="*/ 496926 h 1268099"/>
                    <a:gd name="connsiteX1575" fmla="*/ 523980 w 1524655"/>
                    <a:gd name="connsiteY1575" fmla="*/ 494655 h 1268099"/>
                    <a:gd name="connsiteX1576" fmla="*/ 526749 w 1524655"/>
                    <a:gd name="connsiteY1576" fmla="*/ 494048 h 1268099"/>
                    <a:gd name="connsiteX1577" fmla="*/ 531278 w 1524655"/>
                    <a:gd name="connsiteY1577" fmla="*/ 494485 h 1268099"/>
                    <a:gd name="connsiteX1578" fmla="*/ 534544 w 1524655"/>
                    <a:gd name="connsiteY1578" fmla="*/ 493878 h 1268099"/>
                    <a:gd name="connsiteX1579" fmla="*/ 536305 w 1524655"/>
                    <a:gd name="connsiteY1579" fmla="*/ 493210 h 1268099"/>
                    <a:gd name="connsiteX1580" fmla="*/ 538284 w 1524655"/>
                    <a:gd name="connsiteY1580" fmla="*/ 492153 h 1268099"/>
                    <a:gd name="connsiteX1581" fmla="*/ 540446 w 1524655"/>
                    <a:gd name="connsiteY1581" fmla="*/ 490672 h 1268099"/>
                    <a:gd name="connsiteX1582" fmla="*/ 543154 w 1524655"/>
                    <a:gd name="connsiteY1582" fmla="*/ 488353 h 1268099"/>
                    <a:gd name="connsiteX1583" fmla="*/ 546299 w 1524655"/>
                    <a:gd name="connsiteY1583" fmla="*/ 488122 h 1268099"/>
                    <a:gd name="connsiteX1584" fmla="*/ 549334 w 1524655"/>
                    <a:gd name="connsiteY1584" fmla="*/ 488851 h 1268099"/>
                    <a:gd name="connsiteX1585" fmla="*/ 552103 w 1524655"/>
                    <a:gd name="connsiteY1585" fmla="*/ 488620 h 1268099"/>
                    <a:gd name="connsiteX1586" fmla="*/ 553475 w 1524655"/>
                    <a:gd name="connsiteY1586" fmla="*/ 486300 h 1268099"/>
                    <a:gd name="connsiteX1587" fmla="*/ 555904 w 1524655"/>
                    <a:gd name="connsiteY1587" fmla="*/ 484370 h 1268099"/>
                    <a:gd name="connsiteX1588" fmla="*/ 558624 w 1524655"/>
                    <a:gd name="connsiteY1588" fmla="*/ 483155 h 1268099"/>
                    <a:gd name="connsiteX1589" fmla="*/ 566019 w 1524655"/>
                    <a:gd name="connsiteY1589" fmla="*/ 482718 h 1268099"/>
                    <a:gd name="connsiteX1590" fmla="*/ 568107 w 1524655"/>
                    <a:gd name="connsiteY1590" fmla="*/ 481674 h 1268099"/>
                    <a:gd name="connsiteX1591" fmla="*/ 571216 w 1524655"/>
                    <a:gd name="connsiteY1591" fmla="*/ 477473 h 1268099"/>
                    <a:gd name="connsiteX1592" fmla="*/ 573584 w 1524655"/>
                    <a:gd name="connsiteY1592" fmla="*/ 476149 h 1268099"/>
                    <a:gd name="connsiteX1593" fmla="*/ 575794 w 1524655"/>
                    <a:gd name="connsiteY1593" fmla="*/ 475700 h 1268099"/>
                    <a:gd name="connsiteX1594" fmla="*/ 577397 w 1524655"/>
                    <a:gd name="connsiteY1594" fmla="*/ 476586 h 1268099"/>
                    <a:gd name="connsiteX1595" fmla="*/ 582363 w 1524655"/>
                    <a:gd name="connsiteY1595" fmla="*/ 483155 h 1268099"/>
                    <a:gd name="connsiteX1596" fmla="*/ 585290 w 1524655"/>
                    <a:gd name="connsiteY1596" fmla="*/ 482925 h 1268099"/>
                    <a:gd name="connsiteX1597" fmla="*/ 588775 w 1524655"/>
                    <a:gd name="connsiteY1597" fmla="*/ 481990 h 1268099"/>
                    <a:gd name="connsiteX1598" fmla="*/ 591980 w 1524655"/>
                    <a:gd name="connsiteY1598" fmla="*/ 481674 h 1268099"/>
                    <a:gd name="connsiteX1599" fmla="*/ 594130 w 1524655"/>
                    <a:gd name="connsiteY1599" fmla="*/ 483483 h 1268099"/>
                    <a:gd name="connsiteX1600" fmla="*/ 595514 w 1524655"/>
                    <a:gd name="connsiteY1600" fmla="*/ 485851 h 1268099"/>
                    <a:gd name="connsiteX1601" fmla="*/ 597445 w 1524655"/>
                    <a:gd name="connsiteY1601" fmla="*/ 490988 h 1268099"/>
                    <a:gd name="connsiteX1602" fmla="*/ 599545 w 1524655"/>
                    <a:gd name="connsiteY1602" fmla="*/ 493258 h 1268099"/>
                    <a:gd name="connsiteX1603" fmla="*/ 601695 w 1524655"/>
                    <a:gd name="connsiteY1603" fmla="*/ 494145 h 1268099"/>
                    <a:gd name="connsiteX1604" fmla="*/ 603516 w 1524655"/>
                    <a:gd name="connsiteY1604" fmla="*/ 494643 h 1268099"/>
                    <a:gd name="connsiteX1605" fmla="*/ 607050 w 1524655"/>
                    <a:gd name="connsiteY1605" fmla="*/ 494266 h 1268099"/>
                    <a:gd name="connsiteX1606" fmla="*/ 609976 w 1524655"/>
                    <a:gd name="connsiteY1606" fmla="*/ 492445 h 1268099"/>
                    <a:gd name="connsiteX1607" fmla="*/ 612745 w 1524655"/>
                    <a:gd name="connsiteY1607" fmla="*/ 489069 h 1268099"/>
                    <a:gd name="connsiteX1608" fmla="*/ 616218 w 1524655"/>
                    <a:gd name="connsiteY1608" fmla="*/ 482767 h 1268099"/>
                    <a:gd name="connsiteX1609" fmla="*/ 616606 w 1524655"/>
                    <a:gd name="connsiteY1609" fmla="*/ 482391 h 1268099"/>
                    <a:gd name="connsiteX1610" fmla="*/ 618209 w 1524655"/>
                    <a:gd name="connsiteY1610" fmla="*/ 480727 h 1268099"/>
                    <a:gd name="connsiteX1611" fmla="*/ 620929 w 1524655"/>
                    <a:gd name="connsiteY1611" fmla="*/ 479015 h 1268099"/>
                    <a:gd name="connsiteX1612" fmla="*/ 622131 w 1524655"/>
                    <a:gd name="connsiteY1612" fmla="*/ 477740 h 1268099"/>
                    <a:gd name="connsiteX1613" fmla="*/ 623904 w 1524655"/>
                    <a:gd name="connsiteY1613" fmla="*/ 475263 h 1268099"/>
                    <a:gd name="connsiteX1614" fmla="*/ 625896 w 1524655"/>
                    <a:gd name="connsiteY1614" fmla="*/ 473721 h 1268099"/>
                    <a:gd name="connsiteX1615" fmla="*/ 626709 w 1524655"/>
                    <a:gd name="connsiteY1615" fmla="*/ 472664 h 1268099"/>
                    <a:gd name="connsiteX1616" fmla="*/ 627438 w 1524655"/>
                    <a:gd name="connsiteY1616" fmla="*/ 467637 h 1268099"/>
                    <a:gd name="connsiteX1617" fmla="*/ 628603 w 1524655"/>
                    <a:gd name="connsiteY1617" fmla="*/ 465658 h 1268099"/>
                    <a:gd name="connsiteX1618" fmla="*/ 629927 w 1524655"/>
                    <a:gd name="connsiteY1618" fmla="*/ 461675 h 1268099"/>
                    <a:gd name="connsiteX1619" fmla="*/ 630801 w 1524655"/>
                    <a:gd name="connsiteY1619" fmla="*/ 459525 h 1268099"/>
                    <a:gd name="connsiteX1620" fmla="*/ 625616 w 1524655"/>
                    <a:gd name="connsiteY1620" fmla="*/ 457145 h 1268099"/>
                    <a:gd name="connsiteX1621" fmla="*/ 624621 w 1524655"/>
                    <a:gd name="connsiteY1621" fmla="*/ 455931 h 1268099"/>
                    <a:gd name="connsiteX1622" fmla="*/ 624232 w 1524655"/>
                    <a:gd name="connsiteY1622" fmla="*/ 454608 h 1268099"/>
                    <a:gd name="connsiteX1623" fmla="*/ 624232 w 1524655"/>
                    <a:gd name="connsiteY1623" fmla="*/ 452944 h 1268099"/>
                    <a:gd name="connsiteX1624" fmla="*/ 623953 w 1524655"/>
                    <a:gd name="connsiteY1624" fmla="*/ 452069 h 1268099"/>
                    <a:gd name="connsiteX1625" fmla="*/ 620370 w 1524655"/>
                    <a:gd name="connsiteY1625" fmla="*/ 451960 h 1268099"/>
                    <a:gd name="connsiteX1626" fmla="*/ 616667 w 1524655"/>
                    <a:gd name="connsiteY1626" fmla="*/ 450248 h 1268099"/>
                    <a:gd name="connsiteX1627" fmla="*/ 616218 w 1524655"/>
                    <a:gd name="connsiteY1627" fmla="*/ 450005 h 1268099"/>
                    <a:gd name="connsiteX1628" fmla="*/ 616885 w 1524655"/>
                    <a:gd name="connsiteY1628" fmla="*/ 447298 h 1268099"/>
                    <a:gd name="connsiteX1629" fmla="*/ 618318 w 1524655"/>
                    <a:gd name="connsiteY1629" fmla="*/ 444589 h 1268099"/>
                    <a:gd name="connsiteX1630" fmla="*/ 619581 w 1524655"/>
                    <a:gd name="connsiteY1630" fmla="*/ 441554 h 1268099"/>
                    <a:gd name="connsiteX1631" fmla="*/ 621245 w 1524655"/>
                    <a:gd name="connsiteY1631" fmla="*/ 439344 h 1268099"/>
                    <a:gd name="connsiteX1632" fmla="*/ 623127 w 1524655"/>
                    <a:gd name="connsiteY1632" fmla="*/ 437680 h 1268099"/>
                    <a:gd name="connsiteX1633" fmla="*/ 624730 w 1524655"/>
                    <a:gd name="connsiteY1633" fmla="*/ 435907 h 1268099"/>
                    <a:gd name="connsiteX1634" fmla="*/ 626393 w 1524655"/>
                    <a:gd name="connsiteY1634" fmla="*/ 430382 h 1268099"/>
                    <a:gd name="connsiteX1635" fmla="*/ 633509 w 1524655"/>
                    <a:gd name="connsiteY1635" fmla="*/ 430771 h 1268099"/>
                    <a:gd name="connsiteX1636" fmla="*/ 633461 w 1524655"/>
                    <a:gd name="connsiteY1636" fmla="*/ 428002 h 1268099"/>
                    <a:gd name="connsiteX1637" fmla="*/ 634116 w 1524655"/>
                    <a:gd name="connsiteY1637" fmla="*/ 426120 h 1268099"/>
                    <a:gd name="connsiteX1638" fmla="*/ 636326 w 1524655"/>
                    <a:gd name="connsiteY1638" fmla="*/ 427007 h 1268099"/>
                    <a:gd name="connsiteX1639" fmla="*/ 637541 w 1524655"/>
                    <a:gd name="connsiteY1639" fmla="*/ 427274 h 1268099"/>
                    <a:gd name="connsiteX1640" fmla="*/ 638804 w 1524655"/>
                    <a:gd name="connsiteY1640" fmla="*/ 427055 h 1268099"/>
                    <a:gd name="connsiteX1641" fmla="*/ 639204 w 1524655"/>
                    <a:gd name="connsiteY1641" fmla="*/ 426400 h 1268099"/>
                    <a:gd name="connsiteX1642" fmla="*/ 640200 w 1524655"/>
                    <a:gd name="connsiteY1642" fmla="*/ 426217 h 1268099"/>
                    <a:gd name="connsiteX1643" fmla="*/ 641463 w 1524655"/>
                    <a:gd name="connsiteY1643" fmla="*/ 426484 h 1268099"/>
                    <a:gd name="connsiteX1644" fmla="*/ 642798 w 1524655"/>
                    <a:gd name="connsiteY1644" fmla="*/ 426484 h 1268099"/>
                    <a:gd name="connsiteX1645" fmla="*/ 644001 w 1524655"/>
                    <a:gd name="connsiteY1645" fmla="*/ 424991 h 1268099"/>
                    <a:gd name="connsiteX1646" fmla="*/ 644377 w 1524655"/>
                    <a:gd name="connsiteY1646" fmla="*/ 423449 h 1268099"/>
                    <a:gd name="connsiteX1647" fmla="*/ 645604 w 1524655"/>
                    <a:gd name="connsiteY1647" fmla="*/ 422186 h 1268099"/>
                    <a:gd name="connsiteX1648" fmla="*/ 648967 w 1524655"/>
                    <a:gd name="connsiteY1648" fmla="*/ 419150 h 1268099"/>
                    <a:gd name="connsiteX1649" fmla="*/ 649635 w 1524655"/>
                    <a:gd name="connsiteY1649" fmla="*/ 417875 h 1268099"/>
                    <a:gd name="connsiteX1650" fmla="*/ 651796 w 1524655"/>
                    <a:gd name="connsiteY1650" fmla="*/ 415070 h 1268099"/>
                    <a:gd name="connsiteX1651" fmla="*/ 653994 w 1524655"/>
                    <a:gd name="connsiteY1651" fmla="*/ 415568 h 1268099"/>
                    <a:gd name="connsiteX1652" fmla="*/ 654334 w 1524655"/>
                    <a:gd name="connsiteY1652" fmla="*/ 418786 h 1268099"/>
                    <a:gd name="connsiteX1653" fmla="*/ 654225 w 1524655"/>
                    <a:gd name="connsiteY1653" fmla="*/ 420255 h 1268099"/>
                    <a:gd name="connsiteX1654" fmla="*/ 655330 w 1524655"/>
                    <a:gd name="connsiteY1654" fmla="*/ 421202 h 1268099"/>
                    <a:gd name="connsiteX1655" fmla="*/ 657528 w 1524655"/>
                    <a:gd name="connsiteY1655" fmla="*/ 420036 h 1268099"/>
                    <a:gd name="connsiteX1656" fmla="*/ 658426 w 1524655"/>
                    <a:gd name="connsiteY1656" fmla="*/ 419927 h 1268099"/>
                    <a:gd name="connsiteX1657" fmla="*/ 661122 w 1524655"/>
                    <a:gd name="connsiteY1657" fmla="*/ 422793 h 1268099"/>
                    <a:gd name="connsiteX1658" fmla="*/ 661790 w 1524655"/>
                    <a:gd name="connsiteY1658" fmla="*/ 423291 h 1268099"/>
                    <a:gd name="connsiteX1659" fmla="*/ 662786 w 1524655"/>
                    <a:gd name="connsiteY1659" fmla="*/ 423169 h 1268099"/>
                    <a:gd name="connsiteX1660" fmla="*/ 664498 w 1524655"/>
                    <a:gd name="connsiteY1660" fmla="*/ 422307 h 1268099"/>
                    <a:gd name="connsiteX1661" fmla="*/ 666708 w 1524655"/>
                    <a:gd name="connsiteY1661" fmla="*/ 421676 h 1268099"/>
                    <a:gd name="connsiteX1662" fmla="*/ 669355 w 1524655"/>
                    <a:gd name="connsiteY1662" fmla="*/ 424991 h 1268099"/>
                    <a:gd name="connsiteX1663" fmla="*/ 671723 w 1524655"/>
                    <a:gd name="connsiteY1663" fmla="*/ 428148 h 1268099"/>
                    <a:gd name="connsiteX1664" fmla="*/ 674054 w 1524655"/>
                    <a:gd name="connsiteY1664" fmla="*/ 432179 h 1268099"/>
                    <a:gd name="connsiteX1665" fmla="*/ 674552 w 1524655"/>
                    <a:gd name="connsiteY1665" fmla="*/ 435324 h 1268099"/>
                    <a:gd name="connsiteX1666" fmla="*/ 675257 w 1524655"/>
                    <a:gd name="connsiteY1666" fmla="*/ 438312 h 1268099"/>
                    <a:gd name="connsiteX1667" fmla="*/ 676653 w 1524655"/>
                    <a:gd name="connsiteY1667" fmla="*/ 440522 h 1268099"/>
                    <a:gd name="connsiteX1668" fmla="*/ 676252 w 1524655"/>
                    <a:gd name="connsiteY1668" fmla="*/ 440582 h 1268099"/>
                    <a:gd name="connsiteX1669" fmla="*/ 676811 w 1524655"/>
                    <a:gd name="connsiteY1669" fmla="*/ 443946 h 1268099"/>
                    <a:gd name="connsiteX1670" fmla="*/ 676750 w 1524655"/>
                    <a:gd name="connsiteY1670" fmla="*/ 445986 h 1268099"/>
                    <a:gd name="connsiteX1671" fmla="*/ 677248 w 1524655"/>
                    <a:gd name="connsiteY1671" fmla="*/ 447249 h 1268099"/>
                    <a:gd name="connsiteX1672" fmla="*/ 677357 w 1524655"/>
                    <a:gd name="connsiteY1672" fmla="*/ 448475 h 1268099"/>
                    <a:gd name="connsiteX1673" fmla="*/ 678912 w 1524655"/>
                    <a:gd name="connsiteY1673" fmla="*/ 448475 h 1268099"/>
                    <a:gd name="connsiteX1674" fmla="*/ 680733 w 1524655"/>
                    <a:gd name="connsiteY1674" fmla="*/ 449240 h 1268099"/>
                    <a:gd name="connsiteX1675" fmla="*/ 680284 w 1524655"/>
                    <a:gd name="connsiteY1675" fmla="*/ 451341 h 1268099"/>
                    <a:gd name="connsiteX1676" fmla="*/ 683283 w 1524655"/>
                    <a:gd name="connsiteY1676" fmla="*/ 451839 h 1268099"/>
                    <a:gd name="connsiteX1677" fmla="*/ 684716 w 1524655"/>
                    <a:gd name="connsiteY1677" fmla="*/ 451511 h 1268099"/>
                    <a:gd name="connsiteX1678" fmla="*/ 685214 w 1524655"/>
                    <a:gd name="connsiteY1678" fmla="*/ 452397 h 1268099"/>
                    <a:gd name="connsiteX1679" fmla="*/ 685870 w 1524655"/>
                    <a:gd name="connsiteY1679" fmla="*/ 454608 h 1268099"/>
                    <a:gd name="connsiteX1680" fmla="*/ 686319 w 1524655"/>
                    <a:gd name="connsiteY1680" fmla="*/ 456927 h 1268099"/>
                    <a:gd name="connsiteX1681" fmla="*/ 687363 w 1524655"/>
                    <a:gd name="connsiteY1681" fmla="*/ 459950 h 1268099"/>
                    <a:gd name="connsiteX1682" fmla="*/ 687910 w 1524655"/>
                    <a:gd name="connsiteY1682" fmla="*/ 460011 h 1268099"/>
                    <a:gd name="connsiteX1683" fmla="*/ 688310 w 1524655"/>
                    <a:gd name="connsiteY1683" fmla="*/ 459683 h 1268099"/>
                    <a:gd name="connsiteX1684" fmla="*/ 688577 w 1524655"/>
                    <a:gd name="connsiteY1684" fmla="*/ 458311 h 1268099"/>
                    <a:gd name="connsiteX1685" fmla="*/ 691346 w 1524655"/>
                    <a:gd name="connsiteY1685" fmla="*/ 457267 h 1268099"/>
                    <a:gd name="connsiteX1686" fmla="*/ 692281 w 1524655"/>
                    <a:gd name="connsiteY1686" fmla="*/ 455992 h 1268099"/>
                    <a:gd name="connsiteX1687" fmla="*/ 692500 w 1524655"/>
                    <a:gd name="connsiteY1687" fmla="*/ 454947 h 1268099"/>
                    <a:gd name="connsiteX1688" fmla="*/ 692402 w 1524655"/>
                    <a:gd name="connsiteY1688" fmla="*/ 452519 h 1268099"/>
                    <a:gd name="connsiteX1689" fmla="*/ 695936 w 1524655"/>
                    <a:gd name="connsiteY1689" fmla="*/ 453952 h 1268099"/>
                    <a:gd name="connsiteX1690" fmla="*/ 696422 w 1524655"/>
                    <a:gd name="connsiteY1690" fmla="*/ 454947 h 1268099"/>
                    <a:gd name="connsiteX1691" fmla="*/ 696689 w 1524655"/>
                    <a:gd name="connsiteY1691" fmla="*/ 456429 h 1268099"/>
                    <a:gd name="connsiteX1692" fmla="*/ 698474 w 1524655"/>
                    <a:gd name="connsiteY1692" fmla="*/ 456878 h 1268099"/>
                    <a:gd name="connsiteX1693" fmla="*/ 698413 w 1524655"/>
                    <a:gd name="connsiteY1693" fmla="*/ 457485 h 1268099"/>
                    <a:gd name="connsiteX1694" fmla="*/ 700781 w 1524655"/>
                    <a:gd name="connsiteY1694" fmla="*/ 458372 h 1268099"/>
                    <a:gd name="connsiteX1695" fmla="*/ 702275 w 1524655"/>
                    <a:gd name="connsiteY1695" fmla="*/ 459137 h 1268099"/>
                    <a:gd name="connsiteX1696" fmla="*/ 702712 w 1524655"/>
                    <a:gd name="connsiteY1696" fmla="*/ 460849 h 1268099"/>
                    <a:gd name="connsiteX1697" fmla="*/ 703003 w 1524655"/>
                    <a:gd name="connsiteY1697" fmla="*/ 464006 h 1268099"/>
                    <a:gd name="connsiteX1698" fmla="*/ 705699 w 1524655"/>
                    <a:gd name="connsiteY1698" fmla="*/ 464322 h 1268099"/>
                    <a:gd name="connsiteX1699" fmla="*/ 707253 w 1524655"/>
                    <a:gd name="connsiteY1699" fmla="*/ 464990 h 1268099"/>
                    <a:gd name="connsiteX1700" fmla="*/ 708237 w 1524655"/>
                    <a:gd name="connsiteY1700" fmla="*/ 465718 h 1268099"/>
                    <a:gd name="connsiteX1701" fmla="*/ 709123 w 1524655"/>
                    <a:gd name="connsiteY1701" fmla="*/ 466714 h 1268099"/>
                    <a:gd name="connsiteX1702" fmla="*/ 713155 w 1524655"/>
                    <a:gd name="connsiteY1702" fmla="*/ 467867 h 1268099"/>
                    <a:gd name="connsiteX1703" fmla="*/ 714490 w 1524655"/>
                    <a:gd name="connsiteY1703" fmla="*/ 468098 h 1268099"/>
                    <a:gd name="connsiteX1704" fmla="*/ 716688 w 1524655"/>
                    <a:gd name="connsiteY1704" fmla="*/ 467867 h 1268099"/>
                    <a:gd name="connsiteX1705" fmla="*/ 719773 w 1524655"/>
                    <a:gd name="connsiteY1705" fmla="*/ 468317 h 1268099"/>
                    <a:gd name="connsiteX1706" fmla="*/ 722821 w 1524655"/>
                    <a:gd name="connsiteY1706" fmla="*/ 469252 h 1268099"/>
                    <a:gd name="connsiteX1707" fmla="*/ 724035 w 1524655"/>
                    <a:gd name="connsiteY1707" fmla="*/ 467710 h 1268099"/>
                    <a:gd name="connsiteX1708" fmla="*/ 729341 w 1524655"/>
                    <a:gd name="connsiteY1708" fmla="*/ 464941 h 1268099"/>
                    <a:gd name="connsiteX1709" fmla="*/ 730556 w 1524655"/>
                    <a:gd name="connsiteY1709" fmla="*/ 464443 h 1268099"/>
                    <a:gd name="connsiteX1710" fmla="*/ 729402 w 1524655"/>
                    <a:gd name="connsiteY1710" fmla="*/ 463618 h 1268099"/>
                    <a:gd name="connsiteX1711" fmla="*/ 728625 w 1524655"/>
                    <a:gd name="connsiteY1711" fmla="*/ 462513 h 1268099"/>
                    <a:gd name="connsiteX1712" fmla="*/ 727131 w 1524655"/>
                    <a:gd name="connsiteY1712" fmla="*/ 460788 h 1268099"/>
                    <a:gd name="connsiteX1713" fmla="*/ 724533 w 1524655"/>
                    <a:gd name="connsiteY1713" fmla="*/ 459744 h 1268099"/>
                    <a:gd name="connsiteX1714" fmla="*/ 723598 w 1524655"/>
                    <a:gd name="connsiteY1714" fmla="*/ 458809 h 1268099"/>
                    <a:gd name="connsiteX1715" fmla="*/ 722541 w 1524655"/>
                    <a:gd name="connsiteY1715" fmla="*/ 458809 h 1268099"/>
                    <a:gd name="connsiteX1716" fmla="*/ 721558 w 1524655"/>
                    <a:gd name="connsiteY1716" fmla="*/ 458530 h 1268099"/>
                    <a:gd name="connsiteX1717" fmla="*/ 721266 w 1524655"/>
                    <a:gd name="connsiteY1717" fmla="*/ 457315 h 1268099"/>
                    <a:gd name="connsiteX1718" fmla="*/ 722760 w 1524655"/>
                    <a:gd name="connsiteY1718" fmla="*/ 455093 h 1268099"/>
                    <a:gd name="connsiteX1719" fmla="*/ 723051 w 1524655"/>
                    <a:gd name="connsiteY1719" fmla="*/ 453879 h 1268099"/>
                    <a:gd name="connsiteX1720" fmla="*/ 723209 w 1524655"/>
                    <a:gd name="connsiteY1720" fmla="*/ 452507 h 1268099"/>
                    <a:gd name="connsiteX1721" fmla="*/ 723270 w 1524655"/>
                    <a:gd name="connsiteY1721" fmla="*/ 448864 h 1268099"/>
                    <a:gd name="connsiteX1722" fmla="*/ 725407 w 1524655"/>
                    <a:gd name="connsiteY1722" fmla="*/ 448087 h 1268099"/>
                    <a:gd name="connsiteX1723" fmla="*/ 727301 w 1524655"/>
                    <a:gd name="connsiteY1723" fmla="*/ 447917 h 1268099"/>
                    <a:gd name="connsiteX1724" fmla="*/ 727131 w 1524655"/>
                    <a:gd name="connsiteY1724" fmla="*/ 445379 h 1268099"/>
                    <a:gd name="connsiteX1725" fmla="*/ 726694 w 1524655"/>
                    <a:gd name="connsiteY1725" fmla="*/ 444711 h 1268099"/>
                    <a:gd name="connsiteX1726" fmla="*/ 726305 w 1524655"/>
                    <a:gd name="connsiteY1726" fmla="*/ 443497 h 1268099"/>
                    <a:gd name="connsiteX1727" fmla="*/ 726463 w 1524655"/>
                    <a:gd name="connsiteY1727" fmla="*/ 442270 h 1268099"/>
                    <a:gd name="connsiteX1728" fmla="*/ 727131 w 1524655"/>
                    <a:gd name="connsiteY1728" fmla="*/ 442064 h 1268099"/>
                    <a:gd name="connsiteX1729" fmla="*/ 727799 w 1524655"/>
                    <a:gd name="connsiteY1729" fmla="*/ 441493 h 1268099"/>
                    <a:gd name="connsiteX1730" fmla="*/ 727957 w 1524655"/>
                    <a:gd name="connsiteY1730" fmla="*/ 440667 h 1268099"/>
                    <a:gd name="connsiteX1731" fmla="*/ 727750 w 1524655"/>
                    <a:gd name="connsiteY1731" fmla="*/ 439672 h 1268099"/>
                    <a:gd name="connsiteX1732" fmla="*/ 726840 w 1524655"/>
                    <a:gd name="connsiteY1732" fmla="*/ 437802 h 1268099"/>
                    <a:gd name="connsiteX1733" fmla="*/ 724096 w 1524655"/>
                    <a:gd name="connsiteY1733" fmla="*/ 437741 h 1268099"/>
                    <a:gd name="connsiteX1734" fmla="*/ 717028 w 1524655"/>
                    <a:gd name="connsiteY1734" fmla="*/ 433212 h 1268099"/>
                    <a:gd name="connsiteX1735" fmla="*/ 714976 w 1524655"/>
                    <a:gd name="connsiteY1735" fmla="*/ 435871 h 1268099"/>
                    <a:gd name="connsiteX1736" fmla="*/ 712936 w 1524655"/>
                    <a:gd name="connsiteY1736" fmla="*/ 434705 h 1268099"/>
                    <a:gd name="connsiteX1737" fmla="*/ 709463 w 1524655"/>
                    <a:gd name="connsiteY1737" fmla="*/ 433588 h 1268099"/>
                    <a:gd name="connsiteX1738" fmla="*/ 708625 w 1524655"/>
                    <a:gd name="connsiteY1738" fmla="*/ 435810 h 1268099"/>
                    <a:gd name="connsiteX1739" fmla="*/ 708407 w 1524655"/>
                    <a:gd name="connsiteY1739" fmla="*/ 437680 h 1268099"/>
                    <a:gd name="connsiteX1740" fmla="*/ 708795 w 1524655"/>
                    <a:gd name="connsiteY1740" fmla="*/ 439502 h 1268099"/>
                    <a:gd name="connsiteX1741" fmla="*/ 706804 w 1524655"/>
                    <a:gd name="connsiteY1741" fmla="*/ 438773 h 1268099"/>
                    <a:gd name="connsiteX1742" fmla="*/ 705480 w 1524655"/>
                    <a:gd name="connsiteY1742" fmla="*/ 437789 h 1268099"/>
                    <a:gd name="connsiteX1743" fmla="*/ 704266 w 1524655"/>
                    <a:gd name="connsiteY1743" fmla="*/ 437073 h 1268099"/>
                    <a:gd name="connsiteX1744" fmla="*/ 702396 w 1524655"/>
                    <a:gd name="connsiteY1744" fmla="*/ 435519 h 1268099"/>
                    <a:gd name="connsiteX1745" fmla="*/ 700405 w 1524655"/>
                    <a:gd name="connsiteY1745" fmla="*/ 434256 h 1268099"/>
                    <a:gd name="connsiteX1746" fmla="*/ 694770 w 1524655"/>
                    <a:gd name="connsiteY1746" fmla="*/ 432447 h 1268099"/>
                    <a:gd name="connsiteX1747" fmla="*/ 691990 w 1524655"/>
                    <a:gd name="connsiteY1747" fmla="*/ 431949 h 1268099"/>
                    <a:gd name="connsiteX1748" fmla="*/ 688857 w 1524655"/>
                    <a:gd name="connsiteY1748" fmla="*/ 430832 h 1268099"/>
                    <a:gd name="connsiteX1749" fmla="*/ 685044 w 1524655"/>
                    <a:gd name="connsiteY1749" fmla="*/ 429338 h 1268099"/>
                    <a:gd name="connsiteX1750" fmla="*/ 684655 w 1524655"/>
                    <a:gd name="connsiteY1750" fmla="*/ 429290 h 1268099"/>
                    <a:gd name="connsiteX1751" fmla="*/ 685153 w 1524655"/>
                    <a:gd name="connsiteY1751" fmla="*/ 428561 h 1268099"/>
                    <a:gd name="connsiteX1752" fmla="*/ 686756 w 1524655"/>
                    <a:gd name="connsiteY1752" fmla="*/ 426897 h 1268099"/>
                    <a:gd name="connsiteX1753" fmla="*/ 687145 w 1524655"/>
                    <a:gd name="connsiteY1753" fmla="*/ 426132 h 1268099"/>
                    <a:gd name="connsiteX1754" fmla="*/ 687023 w 1524655"/>
                    <a:gd name="connsiteY1754" fmla="*/ 425027 h 1268099"/>
                    <a:gd name="connsiteX1755" fmla="*/ 687023 w 1524655"/>
                    <a:gd name="connsiteY1755" fmla="*/ 424469 h 1268099"/>
                    <a:gd name="connsiteX1756" fmla="*/ 689075 w 1524655"/>
                    <a:gd name="connsiteY1756" fmla="*/ 423704 h 1268099"/>
                    <a:gd name="connsiteX1757" fmla="*/ 689901 w 1524655"/>
                    <a:gd name="connsiteY1757" fmla="*/ 423145 h 1268099"/>
                    <a:gd name="connsiteX1758" fmla="*/ 690180 w 1524655"/>
                    <a:gd name="connsiteY1758" fmla="*/ 422283 h 1268099"/>
                    <a:gd name="connsiteX1759" fmla="*/ 690350 w 1524655"/>
                    <a:gd name="connsiteY1759" fmla="*/ 421008 h 1268099"/>
                    <a:gd name="connsiteX1760" fmla="*/ 689403 w 1524655"/>
                    <a:gd name="connsiteY1760" fmla="*/ 419903 h 1268099"/>
                    <a:gd name="connsiteX1761" fmla="*/ 688310 w 1524655"/>
                    <a:gd name="connsiteY1761" fmla="*/ 419235 h 1268099"/>
                    <a:gd name="connsiteX1762" fmla="*/ 688189 w 1524655"/>
                    <a:gd name="connsiteY1762" fmla="*/ 418349 h 1268099"/>
                    <a:gd name="connsiteX1763" fmla="*/ 688407 w 1524655"/>
                    <a:gd name="connsiteY1763" fmla="*/ 417134 h 1268099"/>
                    <a:gd name="connsiteX1764" fmla="*/ 687145 w 1524655"/>
                    <a:gd name="connsiteY1764" fmla="*/ 414536 h 1268099"/>
                    <a:gd name="connsiteX1765" fmla="*/ 686416 w 1524655"/>
                    <a:gd name="connsiteY1765" fmla="*/ 413540 h 1268099"/>
                    <a:gd name="connsiteX1766" fmla="*/ 686258 w 1524655"/>
                    <a:gd name="connsiteY1766" fmla="*/ 412824 h 1268099"/>
                    <a:gd name="connsiteX1767" fmla="*/ 687582 w 1524655"/>
                    <a:gd name="connsiteY1767" fmla="*/ 411561 h 1268099"/>
                    <a:gd name="connsiteX1768" fmla="*/ 688517 w 1524655"/>
                    <a:gd name="connsiteY1768" fmla="*/ 410954 h 1268099"/>
                    <a:gd name="connsiteX1769" fmla="*/ 690617 w 1524655"/>
                    <a:gd name="connsiteY1769" fmla="*/ 409011 h 1268099"/>
                    <a:gd name="connsiteX1770" fmla="*/ 691176 w 1524655"/>
                    <a:gd name="connsiteY1770" fmla="*/ 408744 h 1268099"/>
                    <a:gd name="connsiteX1771" fmla="*/ 691504 w 1524655"/>
                    <a:gd name="connsiteY1771" fmla="*/ 408804 h 1268099"/>
                    <a:gd name="connsiteX1772" fmla="*/ 691941 w 1524655"/>
                    <a:gd name="connsiteY1772" fmla="*/ 409472 h 1268099"/>
                    <a:gd name="connsiteX1773" fmla="*/ 692402 w 1524655"/>
                    <a:gd name="connsiteY1773" fmla="*/ 411124 h 1268099"/>
                    <a:gd name="connsiteX1774" fmla="*/ 692220 w 1524655"/>
                    <a:gd name="connsiteY1774" fmla="*/ 412241 h 1268099"/>
                    <a:gd name="connsiteX1775" fmla="*/ 692621 w 1524655"/>
                    <a:gd name="connsiteY1775" fmla="*/ 413285 h 1268099"/>
                    <a:gd name="connsiteX1776" fmla="*/ 695098 w 1524655"/>
                    <a:gd name="connsiteY1776" fmla="*/ 415653 h 1268099"/>
                    <a:gd name="connsiteX1777" fmla="*/ 695754 w 1524655"/>
                    <a:gd name="connsiteY1777" fmla="*/ 418191 h 1268099"/>
                    <a:gd name="connsiteX1778" fmla="*/ 696252 w 1524655"/>
                    <a:gd name="connsiteY1778" fmla="*/ 418920 h 1268099"/>
                    <a:gd name="connsiteX1779" fmla="*/ 698571 w 1524655"/>
                    <a:gd name="connsiteY1779" fmla="*/ 419527 h 1268099"/>
                    <a:gd name="connsiteX1780" fmla="*/ 701121 w 1524655"/>
                    <a:gd name="connsiteY1780" fmla="*/ 420401 h 1268099"/>
                    <a:gd name="connsiteX1781" fmla="*/ 702335 w 1524655"/>
                    <a:gd name="connsiteY1781" fmla="*/ 416612 h 1268099"/>
                    <a:gd name="connsiteX1782" fmla="*/ 704436 w 1524655"/>
                    <a:gd name="connsiteY1782" fmla="*/ 416552 h 1268099"/>
                    <a:gd name="connsiteX1783" fmla="*/ 705808 w 1524655"/>
                    <a:gd name="connsiteY1783" fmla="*/ 416381 h 1268099"/>
                    <a:gd name="connsiteX1784" fmla="*/ 706476 w 1524655"/>
                    <a:gd name="connsiteY1784" fmla="*/ 415495 h 1268099"/>
                    <a:gd name="connsiteX1785" fmla="*/ 707800 w 1524655"/>
                    <a:gd name="connsiteY1785" fmla="*/ 414062 h 1268099"/>
                    <a:gd name="connsiteX1786" fmla="*/ 708237 w 1524655"/>
                    <a:gd name="connsiteY1786" fmla="*/ 412897 h 1268099"/>
                    <a:gd name="connsiteX1787" fmla="*/ 708237 w 1524655"/>
                    <a:gd name="connsiteY1787" fmla="*/ 410686 h 1268099"/>
                    <a:gd name="connsiteX1788" fmla="*/ 708625 w 1524655"/>
                    <a:gd name="connsiteY1788" fmla="*/ 407760 h 1268099"/>
                    <a:gd name="connsiteX1789" fmla="*/ 708965 w 1524655"/>
                    <a:gd name="connsiteY1789" fmla="*/ 406934 h 1268099"/>
                    <a:gd name="connsiteX1790" fmla="*/ 709670 w 1524655"/>
                    <a:gd name="connsiteY1790" fmla="*/ 405951 h 1268099"/>
                    <a:gd name="connsiteX1791" fmla="*/ 710447 w 1524655"/>
                    <a:gd name="connsiteY1791" fmla="*/ 404226 h 1268099"/>
                    <a:gd name="connsiteX1792" fmla="*/ 710338 w 1524655"/>
                    <a:gd name="connsiteY1792" fmla="*/ 402964 h 1268099"/>
                    <a:gd name="connsiteX1793" fmla="*/ 713264 w 1524655"/>
                    <a:gd name="connsiteY1793" fmla="*/ 403279 h 1268099"/>
                    <a:gd name="connsiteX1794" fmla="*/ 714697 w 1524655"/>
                    <a:gd name="connsiteY1794" fmla="*/ 402903 h 1268099"/>
                    <a:gd name="connsiteX1795" fmla="*/ 716530 w 1524655"/>
                    <a:gd name="connsiteY1795" fmla="*/ 401846 h 1268099"/>
                    <a:gd name="connsiteX1796" fmla="*/ 717733 w 1524655"/>
                    <a:gd name="connsiteY1796" fmla="*/ 400632 h 1268099"/>
                    <a:gd name="connsiteX1797" fmla="*/ 718898 w 1524655"/>
                    <a:gd name="connsiteY1797" fmla="*/ 400523 h 1268099"/>
                    <a:gd name="connsiteX1798" fmla="*/ 720283 w 1524655"/>
                    <a:gd name="connsiteY1798" fmla="*/ 399964 h 1268099"/>
                    <a:gd name="connsiteX1799" fmla="*/ 722323 w 1524655"/>
                    <a:gd name="connsiteY1799" fmla="*/ 397208 h 1268099"/>
                    <a:gd name="connsiteX1800" fmla="*/ 724800 w 1524655"/>
                    <a:gd name="connsiteY1800" fmla="*/ 397693 h 1268099"/>
                    <a:gd name="connsiteX1801" fmla="*/ 726087 w 1524655"/>
                    <a:gd name="connsiteY1801" fmla="*/ 398580 h 1268099"/>
                    <a:gd name="connsiteX1802" fmla="*/ 728892 w 1524655"/>
                    <a:gd name="connsiteY1802" fmla="*/ 400681 h 1268099"/>
                    <a:gd name="connsiteX1803" fmla="*/ 730434 w 1524655"/>
                    <a:gd name="connsiteY1803" fmla="*/ 401446 h 1268099"/>
                    <a:gd name="connsiteX1804" fmla="*/ 732219 w 1524655"/>
                    <a:gd name="connsiteY1804" fmla="*/ 401227 h 1268099"/>
                    <a:gd name="connsiteX1805" fmla="*/ 732875 w 1524655"/>
                    <a:gd name="connsiteY1805" fmla="*/ 401446 h 1268099"/>
                    <a:gd name="connsiteX1806" fmla="*/ 734198 w 1524655"/>
                    <a:gd name="connsiteY1806" fmla="*/ 402174 h 1268099"/>
                    <a:gd name="connsiteX1807" fmla="*/ 735304 w 1524655"/>
                    <a:gd name="connsiteY1807" fmla="*/ 402490 h 1268099"/>
                    <a:gd name="connsiteX1808" fmla="*/ 734466 w 1524655"/>
                    <a:gd name="connsiteY1808" fmla="*/ 404117 h 1268099"/>
                    <a:gd name="connsiteX1809" fmla="*/ 736566 w 1524655"/>
                    <a:gd name="connsiteY1809" fmla="*/ 405040 h 1268099"/>
                    <a:gd name="connsiteX1810" fmla="*/ 738400 w 1524655"/>
                    <a:gd name="connsiteY1810" fmla="*/ 405538 h 1268099"/>
                    <a:gd name="connsiteX1811" fmla="*/ 740331 w 1524655"/>
                    <a:gd name="connsiteY1811" fmla="*/ 406801 h 1268099"/>
                    <a:gd name="connsiteX1812" fmla="*/ 740100 w 1524655"/>
                    <a:gd name="connsiteY1812" fmla="*/ 407517 h 1268099"/>
                    <a:gd name="connsiteX1813" fmla="*/ 737999 w 1524655"/>
                    <a:gd name="connsiteY1813" fmla="*/ 408841 h 1268099"/>
                    <a:gd name="connsiteX1814" fmla="*/ 736797 w 1524655"/>
                    <a:gd name="connsiteY1814" fmla="*/ 409836 h 1268099"/>
                    <a:gd name="connsiteX1815" fmla="*/ 736797 w 1524655"/>
                    <a:gd name="connsiteY1815" fmla="*/ 411051 h 1268099"/>
                    <a:gd name="connsiteX1816" fmla="*/ 736068 w 1524655"/>
                    <a:gd name="connsiteY1816" fmla="*/ 412374 h 1268099"/>
                    <a:gd name="connsiteX1817" fmla="*/ 737125 w 1524655"/>
                    <a:gd name="connsiteY1817" fmla="*/ 413091 h 1268099"/>
                    <a:gd name="connsiteX1818" fmla="*/ 738946 w 1524655"/>
                    <a:gd name="connsiteY1818" fmla="*/ 413224 h 1268099"/>
                    <a:gd name="connsiteX1819" fmla="*/ 741047 w 1524655"/>
                    <a:gd name="connsiteY1819" fmla="*/ 412775 h 1268099"/>
                    <a:gd name="connsiteX1820" fmla="*/ 742431 w 1524655"/>
                    <a:gd name="connsiteY1820" fmla="*/ 412168 h 1268099"/>
                    <a:gd name="connsiteX1821" fmla="*/ 743864 w 1524655"/>
                    <a:gd name="connsiteY1821" fmla="*/ 411889 h 1268099"/>
                    <a:gd name="connsiteX1822" fmla="*/ 744969 w 1524655"/>
                    <a:gd name="connsiteY1822" fmla="*/ 411342 h 1268099"/>
                    <a:gd name="connsiteX1823" fmla="*/ 745467 w 1524655"/>
                    <a:gd name="connsiteY1823" fmla="*/ 410456 h 1268099"/>
                    <a:gd name="connsiteX1824" fmla="*/ 747519 w 1524655"/>
                    <a:gd name="connsiteY1824" fmla="*/ 410577 h 1268099"/>
                    <a:gd name="connsiteX1825" fmla="*/ 750822 w 1524655"/>
                    <a:gd name="connsiteY1825" fmla="*/ 411124 h 1268099"/>
                    <a:gd name="connsiteX1826" fmla="*/ 753251 w 1524655"/>
                    <a:gd name="connsiteY1826" fmla="*/ 411293 h 1268099"/>
                    <a:gd name="connsiteX1827" fmla="*/ 757173 w 1524655"/>
                    <a:gd name="connsiteY1827" fmla="*/ 413103 h 1268099"/>
                    <a:gd name="connsiteX1828" fmla="*/ 760755 w 1524655"/>
                    <a:gd name="connsiteY1828" fmla="*/ 414050 h 1268099"/>
                    <a:gd name="connsiteX1829" fmla="*/ 763354 w 1524655"/>
                    <a:gd name="connsiteY1829" fmla="*/ 414317 h 1268099"/>
                    <a:gd name="connsiteX1830" fmla="*/ 764349 w 1524655"/>
                    <a:gd name="connsiteY1830" fmla="*/ 414548 h 1268099"/>
                    <a:gd name="connsiteX1831" fmla="*/ 765746 w 1524655"/>
                    <a:gd name="connsiteY1831" fmla="*/ 415434 h 1268099"/>
                    <a:gd name="connsiteX1832" fmla="*/ 767677 w 1524655"/>
                    <a:gd name="connsiteY1832" fmla="*/ 415544 h 1268099"/>
                    <a:gd name="connsiteX1833" fmla="*/ 771417 w 1524655"/>
                    <a:gd name="connsiteY1833" fmla="*/ 416418 h 1268099"/>
                    <a:gd name="connsiteX1834" fmla="*/ 772582 w 1524655"/>
                    <a:gd name="connsiteY1834" fmla="*/ 417474 h 1268099"/>
                    <a:gd name="connsiteX1835" fmla="*/ 773141 w 1524655"/>
                    <a:gd name="connsiteY1835" fmla="*/ 418749 h 1268099"/>
                    <a:gd name="connsiteX1836" fmla="*/ 775509 w 1524655"/>
                    <a:gd name="connsiteY1836" fmla="*/ 417353 h 1268099"/>
                    <a:gd name="connsiteX1837" fmla="*/ 776553 w 1524655"/>
                    <a:gd name="connsiteY1837" fmla="*/ 415981 h 1268099"/>
                    <a:gd name="connsiteX1838" fmla="*/ 777342 w 1524655"/>
                    <a:gd name="connsiteY1838" fmla="*/ 415216 h 1268099"/>
                    <a:gd name="connsiteX1839" fmla="*/ 778107 w 1524655"/>
                    <a:gd name="connsiteY1839" fmla="*/ 413953 h 1268099"/>
                    <a:gd name="connsiteX1840" fmla="*/ 777670 w 1524655"/>
                    <a:gd name="connsiteY1840" fmla="*/ 410529 h 1268099"/>
                    <a:gd name="connsiteX1841" fmla="*/ 778775 w 1524655"/>
                    <a:gd name="connsiteY1841" fmla="*/ 408039 h 1268099"/>
                    <a:gd name="connsiteX1842" fmla="*/ 778775 w 1524655"/>
                    <a:gd name="connsiteY1842" fmla="*/ 407213 h 1268099"/>
                    <a:gd name="connsiteX1843" fmla="*/ 779103 w 1524655"/>
                    <a:gd name="connsiteY1843" fmla="*/ 405283 h 1268099"/>
                    <a:gd name="connsiteX1844" fmla="*/ 777403 w 1524655"/>
                    <a:gd name="connsiteY1844" fmla="*/ 402308 h 1268099"/>
                    <a:gd name="connsiteX1845" fmla="*/ 778933 w 1524655"/>
                    <a:gd name="connsiteY1845" fmla="*/ 401045 h 1268099"/>
                    <a:gd name="connsiteX1846" fmla="*/ 779601 w 1524655"/>
                    <a:gd name="connsiteY1846" fmla="*/ 399782 h 1268099"/>
                    <a:gd name="connsiteX1847" fmla="*/ 780269 w 1524655"/>
                    <a:gd name="connsiteY1847" fmla="*/ 395629 h 1268099"/>
                    <a:gd name="connsiteX1848" fmla="*/ 781471 w 1524655"/>
                    <a:gd name="connsiteY1848" fmla="*/ 395860 h 1268099"/>
                    <a:gd name="connsiteX1849" fmla="*/ 783681 w 1524655"/>
                    <a:gd name="connsiteY1849" fmla="*/ 396625 h 1268099"/>
                    <a:gd name="connsiteX1850" fmla="*/ 785004 w 1524655"/>
                    <a:gd name="connsiteY1850" fmla="*/ 396685 h 1268099"/>
                    <a:gd name="connsiteX1851" fmla="*/ 786510 w 1524655"/>
                    <a:gd name="connsiteY1851" fmla="*/ 396625 h 1268099"/>
                    <a:gd name="connsiteX1852" fmla="*/ 787506 w 1524655"/>
                    <a:gd name="connsiteY1852" fmla="*/ 396358 h 1268099"/>
                    <a:gd name="connsiteX1853" fmla="*/ 788222 w 1524655"/>
                    <a:gd name="connsiteY1853" fmla="*/ 395690 h 1268099"/>
                    <a:gd name="connsiteX1854" fmla="*/ 788004 w 1524655"/>
                    <a:gd name="connsiteY1854" fmla="*/ 394257 h 1268099"/>
                    <a:gd name="connsiteX1855" fmla="*/ 788380 w 1524655"/>
                    <a:gd name="connsiteY1855" fmla="*/ 392824 h 1268099"/>
                    <a:gd name="connsiteX1856" fmla="*/ 788502 w 1524655"/>
                    <a:gd name="connsiteY1856" fmla="*/ 391112 h 1268099"/>
                    <a:gd name="connsiteX1857" fmla="*/ 788162 w 1524655"/>
                    <a:gd name="connsiteY1857" fmla="*/ 390335 h 1268099"/>
                    <a:gd name="connsiteX1858" fmla="*/ 787336 w 1524655"/>
                    <a:gd name="connsiteY1858" fmla="*/ 389521 h 1268099"/>
                    <a:gd name="connsiteX1859" fmla="*/ 787057 w 1524655"/>
                    <a:gd name="connsiteY1859" fmla="*/ 388404 h 1268099"/>
                    <a:gd name="connsiteX1860" fmla="*/ 787166 w 1524655"/>
                    <a:gd name="connsiteY1860" fmla="*/ 386692 h 1268099"/>
                    <a:gd name="connsiteX1861" fmla="*/ 786729 w 1524655"/>
                    <a:gd name="connsiteY1861" fmla="*/ 385028 h 1268099"/>
                    <a:gd name="connsiteX1862" fmla="*/ 788320 w 1524655"/>
                    <a:gd name="connsiteY1862" fmla="*/ 384264 h 1268099"/>
                    <a:gd name="connsiteX1863" fmla="*/ 789595 w 1524655"/>
                    <a:gd name="connsiteY1863" fmla="*/ 384142 h 1268099"/>
                    <a:gd name="connsiteX1864" fmla="*/ 791477 w 1524655"/>
                    <a:gd name="connsiteY1864" fmla="*/ 384324 h 1268099"/>
                    <a:gd name="connsiteX1865" fmla="*/ 793031 w 1524655"/>
                    <a:gd name="connsiteY1865" fmla="*/ 385198 h 1268099"/>
                    <a:gd name="connsiteX1866" fmla="*/ 794682 w 1524655"/>
                    <a:gd name="connsiteY1866" fmla="*/ 386571 h 1268099"/>
                    <a:gd name="connsiteX1867" fmla="*/ 796225 w 1524655"/>
                    <a:gd name="connsiteY1867" fmla="*/ 387578 h 1268099"/>
                    <a:gd name="connsiteX1868" fmla="*/ 798155 w 1524655"/>
                    <a:gd name="connsiteY1868" fmla="*/ 388295 h 1268099"/>
                    <a:gd name="connsiteX1869" fmla="*/ 801640 w 1524655"/>
                    <a:gd name="connsiteY1869" fmla="*/ 389291 h 1268099"/>
                    <a:gd name="connsiteX1870" fmla="*/ 802794 w 1524655"/>
                    <a:gd name="connsiteY1870" fmla="*/ 389230 h 1268099"/>
                    <a:gd name="connsiteX1871" fmla="*/ 804008 w 1524655"/>
                    <a:gd name="connsiteY1871" fmla="*/ 388732 h 1268099"/>
                    <a:gd name="connsiteX1872" fmla="*/ 805453 w 1524655"/>
                    <a:gd name="connsiteY1872" fmla="*/ 388295 h 1268099"/>
                    <a:gd name="connsiteX1873" fmla="*/ 809266 w 1524655"/>
                    <a:gd name="connsiteY1873" fmla="*/ 387858 h 1268099"/>
                    <a:gd name="connsiteX1874" fmla="*/ 810262 w 1524655"/>
                    <a:gd name="connsiteY1874" fmla="*/ 386740 h 1268099"/>
                    <a:gd name="connsiteX1875" fmla="*/ 810917 w 1524655"/>
                    <a:gd name="connsiteY1875" fmla="*/ 385805 h 1268099"/>
                    <a:gd name="connsiteX1876" fmla="*/ 811853 w 1524655"/>
                    <a:gd name="connsiteY1876" fmla="*/ 385320 h 1268099"/>
                    <a:gd name="connsiteX1877" fmla="*/ 812581 w 1524655"/>
                    <a:gd name="connsiteY1877" fmla="*/ 384445 h 1268099"/>
                    <a:gd name="connsiteX1878" fmla="*/ 813067 w 1524655"/>
                    <a:gd name="connsiteY1878" fmla="*/ 382673 h 1268099"/>
                    <a:gd name="connsiteX1879" fmla="*/ 814451 w 1524655"/>
                    <a:gd name="connsiteY1879" fmla="*/ 383340 h 1268099"/>
                    <a:gd name="connsiteX1880" fmla="*/ 816054 w 1524655"/>
                    <a:gd name="connsiteY1880" fmla="*/ 384506 h 1268099"/>
                    <a:gd name="connsiteX1881" fmla="*/ 820195 w 1524655"/>
                    <a:gd name="connsiteY1881" fmla="*/ 382685 h 1268099"/>
                    <a:gd name="connsiteX1882" fmla="*/ 826497 w 1524655"/>
                    <a:gd name="connsiteY1882" fmla="*/ 380584 h 1268099"/>
                    <a:gd name="connsiteX1883" fmla="*/ 831621 w 1524655"/>
                    <a:gd name="connsiteY1883" fmla="*/ 379200 h 1268099"/>
                    <a:gd name="connsiteX1884" fmla="*/ 834778 w 1524655"/>
                    <a:gd name="connsiteY1884" fmla="*/ 379042 h 1268099"/>
                    <a:gd name="connsiteX1885" fmla="*/ 835762 w 1524655"/>
                    <a:gd name="connsiteY1885" fmla="*/ 377160 h 1268099"/>
                    <a:gd name="connsiteX1886" fmla="*/ 838093 w 1524655"/>
                    <a:gd name="connsiteY1886" fmla="*/ 374853 h 1268099"/>
                    <a:gd name="connsiteX1887" fmla="*/ 836988 w 1524655"/>
                    <a:gd name="connsiteY1887" fmla="*/ 373736 h 1268099"/>
                    <a:gd name="connsiteX1888" fmla="*/ 836321 w 1524655"/>
                    <a:gd name="connsiteY1888" fmla="*/ 372521 h 1268099"/>
                    <a:gd name="connsiteX1889" fmla="*/ 836272 w 1524655"/>
                    <a:gd name="connsiteY1889" fmla="*/ 366765 h 1268099"/>
                    <a:gd name="connsiteX1890" fmla="*/ 836491 w 1524655"/>
                    <a:gd name="connsiteY1890" fmla="*/ 365053 h 1268099"/>
                    <a:gd name="connsiteX1891" fmla="*/ 837644 w 1524655"/>
                    <a:gd name="connsiteY1891" fmla="*/ 363281 h 1268099"/>
                    <a:gd name="connsiteX1892" fmla="*/ 838312 w 1524655"/>
                    <a:gd name="connsiteY1892" fmla="*/ 361787 h 1268099"/>
                    <a:gd name="connsiteX1893" fmla="*/ 839915 w 1524655"/>
                    <a:gd name="connsiteY1893" fmla="*/ 360852 h 1268099"/>
                    <a:gd name="connsiteX1894" fmla="*/ 845270 w 1524655"/>
                    <a:gd name="connsiteY1894" fmla="*/ 361908 h 1268099"/>
                    <a:gd name="connsiteX1895" fmla="*/ 848148 w 1524655"/>
                    <a:gd name="connsiteY1895" fmla="*/ 361677 h 1268099"/>
                    <a:gd name="connsiteX1896" fmla="*/ 852507 w 1524655"/>
                    <a:gd name="connsiteY1896" fmla="*/ 361738 h 1268099"/>
                    <a:gd name="connsiteX1897" fmla="*/ 853393 w 1524655"/>
                    <a:gd name="connsiteY1897" fmla="*/ 361908 h 1268099"/>
                    <a:gd name="connsiteX1898" fmla="*/ 854316 w 1524655"/>
                    <a:gd name="connsiteY1898" fmla="*/ 362224 h 1268099"/>
                    <a:gd name="connsiteX1899" fmla="*/ 857036 w 1524655"/>
                    <a:gd name="connsiteY1899" fmla="*/ 360354 h 1268099"/>
                    <a:gd name="connsiteX1900" fmla="*/ 858348 w 1524655"/>
                    <a:gd name="connsiteY1900" fmla="*/ 358860 h 1268099"/>
                    <a:gd name="connsiteX1901" fmla="*/ 860193 w 1524655"/>
                    <a:gd name="connsiteY1901" fmla="*/ 356055 h 1268099"/>
                    <a:gd name="connsiteX1902" fmla="*/ 860679 w 1524655"/>
                    <a:gd name="connsiteY1902" fmla="*/ 354622 h 1268099"/>
                    <a:gd name="connsiteX1903" fmla="*/ 862549 w 1524655"/>
                    <a:gd name="connsiteY1903" fmla="*/ 351696 h 1268099"/>
                    <a:gd name="connsiteX1904" fmla="*/ 864601 w 1524655"/>
                    <a:gd name="connsiteY1904" fmla="*/ 348988 h 1268099"/>
                    <a:gd name="connsiteX1905" fmla="*/ 864990 w 1524655"/>
                    <a:gd name="connsiteY1905" fmla="*/ 348709 h 1268099"/>
                    <a:gd name="connsiteX1906" fmla="*/ 866095 w 1524655"/>
                    <a:gd name="connsiteY1906" fmla="*/ 348442 h 1268099"/>
                    <a:gd name="connsiteX1907" fmla="*/ 867370 w 1524655"/>
                    <a:gd name="connsiteY1907" fmla="*/ 348818 h 1268099"/>
                    <a:gd name="connsiteX1908" fmla="*/ 868414 w 1524655"/>
                    <a:gd name="connsiteY1908" fmla="*/ 349656 h 1268099"/>
                    <a:gd name="connsiteX1909" fmla="*/ 868475 w 1524655"/>
                    <a:gd name="connsiteY1909" fmla="*/ 351526 h 1268099"/>
                    <a:gd name="connsiteX1910" fmla="*/ 869738 w 1524655"/>
                    <a:gd name="connsiteY1910" fmla="*/ 352898 h 1268099"/>
                    <a:gd name="connsiteX1911" fmla="*/ 872336 w 1524655"/>
                    <a:gd name="connsiteY1911" fmla="*/ 354501 h 1268099"/>
                    <a:gd name="connsiteX1912" fmla="*/ 873830 w 1524655"/>
                    <a:gd name="connsiteY1912" fmla="*/ 355121 h 1268099"/>
                    <a:gd name="connsiteX1913" fmla="*/ 875093 w 1524655"/>
                    <a:gd name="connsiteY1913" fmla="*/ 355278 h 1268099"/>
                    <a:gd name="connsiteX1914" fmla="*/ 876307 w 1524655"/>
                    <a:gd name="connsiteY1914" fmla="*/ 355509 h 1268099"/>
                    <a:gd name="connsiteX1915" fmla="*/ 880290 w 1524655"/>
                    <a:gd name="connsiteY1915" fmla="*/ 354295 h 1268099"/>
                    <a:gd name="connsiteX1916" fmla="*/ 882002 w 1524655"/>
                    <a:gd name="connsiteY1916" fmla="*/ 354234 h 1268099"/>
                    <a:gd name="connsiteX1917" fmla="*/ 882439 w 1524655"/>
                    <a:gd name="connsiteY1917" fmla="*/ 353299 h 1268099"/>
                    <a:gd name="connsiteX1918" fmla="*/ 882889 w 1524655"/>
                    <a:gd name="connsiteY1918" fmla="*/ 352194 h 1268099"/>
                    <a:gd name="connsiteX1919" fmla="*/ 885305 w 1524655"/>
                    <a:gd name="connsiteY1919" fmla="*/ 351696 h 1268099"/>
                    <a:gd name="connsiteX1920" fmla="*/ 886799 w 1524655"/>
                    <a:gd name="connsiteY1920" fmla="*/ 350372 h 1268099"/>
                    <a:gd name="connsiteX1921" fmla="*/ 887697 w 1524655"/>
                    <a:gd name="connsiteY1921" fmla="*/ 348709 h 1268099"/>
                    <a:gd name="connsiteX1922" fmla="*/ 888693 w 1524655"/>
                    <a:gd name="connsiteY1922" fmla="*/ 347227 h 1268099"/>
                    <a:gd name="connsiteX1923" fmla="*/ 889725 w 1524655"/>
                    <a:gd name="connsiteY1923" fmla="*/ 345855 h 1268099"/>
                    <a:gd name="connsiteX1924" fmla="*/ 892555 w 1524655"/>
                    <a:gd name="connsiteY1924" fmla="*/ 343135 h 1268099"/>
                    <a:gd name="connsiteX1925" fmla="*/ 894364 w 1524655"/>
                    <a:gd name="connsiteY1925" fmla="*/ 340707 h 1268099"/>
                    <a:gd name="connsiteX1926" fmla="*/ 896525 w 1524655"/>
                    <a:gd name="connsiteY1926" fmla="*/ 337501 h 1268099"/>
                    <a:gd name="connsiteX1927" fmla="*/ 896853 w 1524655"/>
                    <a:gd name="connsiteY1927" fmla="*/ 336505 h 1268099"/>
                    <a:gd name="connsiteX1928" fmla="*/ 896962 w 1524655"/>
                    <a:gd name="connsiteY1928" fmla="*/ 335279 h 1268099"/>
                    <a:gd name="connsiteX1929" fmla="*/ 896586 w 1524655"/>
                    <a:gd name="connsiteY1929" fmla="*/ 334186 h 1268099"/>
                    <a:gd name="connsiteX1930" fmla="*/ 896525 w 1524655"/>
                    <a:gd name="connsiteY1930" fmla="*/ 332025 h 1268099"/>
                    <a:gd name="connsiteX1931" fmla="*/ 897412 w 1524655"/>
                    <a:gd name="connsiteY1931" fmla="*/ 329535 h 1268099"/>
                    <a:gd name="connsiteX1932" fmla="*/ 897630 w 1524655"/>
                    <a:gd name="connsiteY1932" fmla="*/ 327325 h 1268099"/>
                    <a:gd name="connsiteX1933" fmla="*/ 897351 w 1524655"/>
                    <a:gd name="connsiteY1933" fmla="*/ 325661 h 1268099"/>
                    <a:gd name="connsiteX1934" fmla="*/ 897630 w 1524655"/>
                    <a:gd name="connsiteY1934" fmla="*/ 321581 h 1268099"/>
                    <a:gd name="connsiteX1935" fmla="*/ 898019 w 1524655"/>
                    <a:gd name="connsiteY1935" fmla="*/ 320076 h 1268099"/>
                    <a:gd name="connsiteX1936" fmla="*/ 899452 w 1524655"/>
                    <a:gd name="connsiteY1936" fmla="*/ 318170 h 1268099"/>
                    <a:gd name="connsiteX1937" fmla="*/ 900338 w 1524655"/>
                    <a:gd name="connsiteY1937" fmla="*/ 316603 h 1268099"/>
                    <a:gd name="connsiteX1938" fmla="*/ 901552 w 1524655"/>
                    <a:gd name="connsiteY1938" fmla="*/ 315231 h 1268099"/>
                    <a:gd name="connsiteX1939" fmla="*/ 902160 w 1524655"/>
                    <a:gd name="connsiteY1939" fmla="*/ 314235 h 1268099"/>
                    <a:gd name="connsiteX1940" fmla="*/ 902220 w 1524655"/>
                    <a:gd name="connsiteY1940" fmla="*/ 313689 h 1268099"/>
                    <a:gd name="connsiteX1941" fmla="*/ 901662 w 1524655"/>
                    <a:gd name="connsiteY1941" fmla="*/ 313069 h 1268099"/>
                    <a:gd name="connsiteX1942" fmla="*/ 900120 w 1524655"/>
                    <a:gd name="connsiteY1942" fmla="*/ 311697 h 1268099"/>
                    <a:gd name="connsiteX1943" fmla="*/ 898298 w 1524655"/>
                    <a:gd name="connsiteY1943" fmla="*/ 310374 h 1268099"/>
                    <a:gd name="connsiteX1944" fmla="*/ 899233 w 1524655"/>
                    <a:gd name="connsiteY1944" fmla="*/ 309317 h 1268099"/>
                    <a:gd name="connsiteX1945" fmla="*/ 899452 w 1524655"/>
                    <a:gd name="connsiteY1945" fmla="*/ 308710 h 1268099"/>
                    <a:gd name="connsiteX1946" fmla="*/ 899512 w 1524655"/>
                    <a:gd name="connsiteY1946" fmla="*/ 307714 h 1268099"/>
                    <a:gd name="connsiteX1947" fmla="*/ 899949 w 1524655"/>
                    <a:gd name="connsiteY1947" fmla="*/ 306512 h 1268099"/>
                    <a:gd name="connsiteX1948" fmla="*/ 901285 w 1524655"/>
                    <a:gd name="connsiteY1948" fmla="*/ 304776 h 1268099"/>
                    <a:gd name="connsiteX1949" fmla="*/ 904151 w 1524655"/>
                    <a:gd name="connsiteY1949" fmla="*/ 302517 h 1268099"/>
                    <a:gd name="connsiteX1950" fmla="*/ 906033 w 1524655"/>
                    <a:gd name="connsiteY1950" fmla="*/ 299651 h 1268099"/>
                    <a:gd name="connsiteX1951" fmla="*/ 906361 w 1524655"/>
                    <a:gd name="connsiteY1951" fmla="*/ 298595 h 1268099"/>
                    <a:gd name="connsiteX1952" fmla="*/ 907745 w 1524655"/>
                    <a:gd name="connsiteY1952" fmla="*/ 295608 h 1268099"/>
                    <a:gd name="connsiteX1953" fmla="*/ 908947 w 1524655"/>
                    <a:gd name="connsiteY1953" fmla="*/ 293677 h 1268099"/>
                    <a:gd name="connsiteX1954" fmla="*/ 910502 w 1524655"/>
                    <a:gd name="connsiteY1954" fmla="*/ 292463 h 1268099"/>
                    <a:gd name="connsiteX1955" fmla="*/ 910987 w 1524655"/>
                    <a:gd name="connsiteY1955" fmla="*/ 291467 h 1268099"/>
                    <a:gd name="connsiteX1956" fmla="*/ 910987 w 1524655"/>
                    <a:gd name="connsiteY1956" fmla="*/ 288602 h 1268099"/>
                    <a:gd name="connsiteX1957" fmla="*/ 911157 w 1524655"/>
                    <a:gd name="connsiteY1957" fmla="*/ 286877 h 1268099"/>
                    <a:gd name="connsiteX1958" fmla="*/ 911340 w 1524655"/>
                    <a:gd name="connsiteY1958" fmla="*/ 285566 h 1268099"/>
                    <a:gd name="connsiteX1959" fmla="*/ 912044 w 1524655"/>
                    <a:gd name="connsiteY1959" fmla="*/ 284133 h 1268099"/>
                    <a:gd name="connsiteX1960" fmla="*/ 913027 w 1524655"/>
                    <a:gd name="connsiteY1960" fmla="*/ 283259 h 1268099"/>
                    <a:gd name="connsiteX1961" fmla="*/ 918115 w 1524655"/>
                    <a:gd name="connsiteY1961" fmla="*/ 280757 h 1268099"/>
                    <a:gd name="connsiteX1962" fmla="*/ 918783 w 1524655"/>
                    <a:gd name="connsiteY1962" fmla="*/ 280101 h 1268099"/>
                    <a:gd name="connsiteX1963" fmla="*/ 919888 w 1524655"/>
                    <a:gd name="connsiteY1963" fmla="*/ 277819 h 1268099"/>
                    <a:gd name="connsiteX1964" fmla="*/ 920714 w 1524655"/>
                    <a:gd name="connsiteY1964" fmla="*/ 277053 h 1268099"/>
                    <a:gd name="connsiteX1965" fmla="*/ 924199 w 1524655"/>
                    <a:gd name="connsiteY1965" fmla="*/ 276507 h 1268099"/>
                    <a:gd name="connsiteX1966" fmla="*/ 926300 w 1524655"/>
                    <a:gd name="connsiteY1966" fmla="*/ 276507 h 1268099"/>
                    <a:gd name="connsiteX1967" fmla="*/ 930392 w 1524655"/>
                    <a:gd name="connsiteY1967" fmla="*/ 276240 h 1268099"/>
                    <a:gd name="connsiteX1968" fmla="*/ 932262 w 1524655"/>
                    <a:gd name="connsiteY1968" fmla="*/ 275511 h 1268099"/>
                    <a:gd name="connsiteX1969" fmla="*/ 933476 w 1524655"/>
                    <a:gd name="connsiteY1969" fmla="*/ 274576 h 1268099"/>
                    <a:gd name="connsiteX1970" fmla="*/ 934703 w 1524655"/>
                    <a:gd name="connsiteY1970" fmla="*/ 272913 h 1268099"/>
                    <a:gd name="connsiteX1971" fmla="*/ 935795 w 1524655"/>
                    <a:gd name="connsiteY1971" fmla="*/ 269986 h 1268099"/>
                    <a:gd name="connsiteX1972" fmla="*/ 936840 w 1524655"/>
                    <a:gd name="connsiteY1972" fmla="*/ 268930 h 1268099"/>
                    <a:gd name="connsiteX1973" fmla="*/ 939438 w 1524655"/>
                    <a:gd name="connsiteY1973" fmla="*/ 266950 h 1268099"/>
                    <a:gd name="connsiteX1974" fmla="*/ 940604 w 1524655"/>
                    <a:gd name="connsiteY1974" fmla="*/ 266186 h 1268099"/>
                    <a:gd name="connsiteX1975" fmla="*/ 942316 w 1524655"/>
                    <a:gd name="connsiteY1975" fmla="*/ 265748 h 1268099"/>
                    <a:gd name="connsiteX1976" fmla="*/ 944963 w 1524655"/>
                    <a:gd name="connsiteY1976" fmla="*/ 266416 h 1268099"/>
                    <a:gd name="connsiteX1977" fmla="*/ 947003 w 1524655"/>
                    <a:gd name="connsiteY1977" fmla="*/ 264146 h 1268099"/>
                    <a:gd name="connsiteX1978" fmla="*/ 950440 w 1524655"/>
                    <a:gd name="connsiteY1978" fmla="*/ 263757 h 1268099"/>
                    <a:gd name="connsiteX1979" fmla="*/ 951472 w 1524655"/>
                    <a:gd name="connsiteY1979" fmla="*/ 262373 h 1268099"/>
                    <a:gd name="connsiteX1980" fmla="*/ 952699 w 1524655"/>
                    <a:gd name="connsiteY1980" fmla="*/ 261389 h 1268099"/>
                    <a:gd name="connsiteX1981" fmla="*/ 952431 w 1524655"/>
                    <a:gd name="connsiteY1981" fmla="*/ 259786 h 1268099"/>
                    <a:gd name="connsiteX1982" fmla="*/ 951436 w 1524655"/>
                    <a:gd name="connsiteY1982" fmla="*/ 257855 h 1268099"/>
                    <a:gd name="connsiteX1983" fmla="*/ 950270 w 1524655"/>
                    <a:gd name="connsiteY1983" fmla="*/ 256301 h 1268099"/>
                    <a:gd name="connsiteX1984" fmla="*/ 947890 w 1524655"/>
                    <a:gd name="connsiteY1984" fmla="*/ 254759 h 1268099"/>
                    <a:gd name="connsiteX1985" fmla="*/ 946894 w 1524655"/>
                    <a:gd name="connsiteY1985" fmla="*/ 253435 h 1268099"/>
                    <a:gd name="connsiteX1986" fmla="*/ 946287 w 1524655"/>
                    <a:gd name="connsiteY1986" fmla="*/ 252415 h 1268099"/>
                    <a:gd name="connsiteX1987" fmla="*/ 947562 w 1524655"/>
                    <a:gd name="connsiteY1987" fmla="*/ 251250 h 1268099"/>
                    <a:gd name="connsiteX1988" fmla="*/ 951241 w 1524655"/>
                    <a:gd name="connsiteY1988" fmla="*/ 249064 h 1268099"/>
                    <a:gd name="connsiteX1989" fmla="*/ 963639 w 1524655"/>
                    <a:gd name="connsiteY1989" fmla="*/ 243442 h 1268099"/>
                    <a:gd name="connsiteX1990" fmla="*/ 982084 w 1524655"/>
                    <a:gd name="connsiteY1990" fmla="*/ 231384 h 1268099"/>
                    <a:gd name="connsiteX1991" fmla="*/ 988569 w 1524655"/>
                    <a:gd name="connsiteY1991" fmla="*/ 230862 h 1268099"/>
                    <a:gd name="connsiteX1992" fmla="*/ 995575 w 1524655"/>
                    <a:gd name="connsiteY1992" fmla="*/ 229490 h 1268099"/>
                    <a:gd name="connsiteX1993" fmla="*/ 1004355 w 1524655"/>
                    <a:gd name="connsiteY1993" fmla="*/ 223066 h 1268099"/>
                    <a:gd name="connsiteX1994" fmla="*/ 1013704 w 1524655"/>
                    <a:gd name="connsiteY1994" fmla="*/ 221766 h 1268099"/>
                    <a:gd name="connsiteX1995" fmla="*/ 1021197 w 1524655"/>
                    <a:gd name="connsiteY1995" fmla="*/ 223940 h 1268099"/>
                    <a:gd name="connsiteX1996" fmla="*/ 1024403 w 1524655"/>
                    <a:gd name="connsiteY1996" fmla="*/ 225846 h 1268099"/>
                    <a:gd name="connsiteX1997" fmla="*/ 1026977 w 1524655"/>
                    <a:gd name="connsiteY1997" fmla="*/ 227887 h 1268099"/>
                    <a:gd name="connsiteX1998" fmla="*/ 1030207 w 1524655"/>
                    <a:gd name="connsiteY1998" fmla="*/ 231360 h 1268099"/>
                    <a:gd name="connsiteX1999" fmla="*/ 1030377 w 1524655"/>
                    <a:gd name="connsiteY1999" fmla="*/ 231457 h 1268099"/>
                    <a:gd name="connsiteX2000" fmla="*/ 1032672 w 1524655"/>
                    <a:gd name="connsiteY2000" fmla="*/ 231712 h 1268099"/>
                    <a:gd name="connsiteX2001" fmla="*/ 1035477 w 1524655"/>
                    <a:gd name="connsiteY2001" fmla="*/ 231530 h 1268099"/>
                    <a:gd name="connsiteX2002" fmla="*/ 1036873 w 1524655"/>
                    <a:gd name="connsiteY2002" fmla="*/ 231578 h 1268099"/>
                    <a:gd name="connsiteX2003" fmla="*/ 1038003 w 1524655"/>
                    <a:gd name="connsiteY2003" fmla="*/ 231833 h 1268099"/>
                    <a:gd name="connsiteX2004" fmla="*/ 1039496 w 1524655"/>
                    <a:gd name="connsiteY2004" fmla="*/ 232501 h 1268099"/>
                    <a:gd name="connsiteX2005" fmla="*/ 1041451 w 1524655"/>
                    <a:gd name="connsiteY2005" fmla="*/ 232780 h 1268099"/>
                    <a:gd name="connsiteX2006" fmla="*/ 1043406 w 1524655"/>
                    <a:gd name="connsiteY2006" fmla="*/ 231930 h 1268099"/>
                    <a:gd name="connsiteX2007" fmla="*/ 1044730 w 1524655"/>
                    <a:gd name="connsiteY2007" fmla="*/ 229975 h 1268099"/>
                    <a:gd name="connsiteX2008" fmla="*/ 1045483 w 1524655"/>
                    <a:gd name="connsiteY2008" fmla="*/ 227510 h 1268099"/>
                    <a:gd name="connsiteX2009" fmla="*/ 1046624 w 1524655"/>
                    <a:gd name="connsiteY2009" fmla="*/ 225094 h 1268099"/>
                    <a:gd name="connsiteX2010" fmla="*/ 1048409 w 1524655"/>
                    <a:gd name="connsiteY2010" fmla="*/ 223612 h 1268099"/>
                    <a:gd name="connsiteX2011" fmla="*/ 1051445 w 1524655"/>
                    <a:gd name="connsiteY2011" fmla="*/ 222993 h 1268099"/>
                    <a:gd name="connsiteX2012" fmla="*/ 1056326 w 1524655"/>
                    <a:gd name="connsiteY2012" fmla="*/ 223430 h 1268099"/>
                    <a:gd name="connsiteX2013" fmla="*/ 1058269 w 1524655"/>
                    <a:gd name="connsiteY2013" fmla="*/ 222908 h 1268099"/>
                    <a:gd name="connsiteX2014" fmla="*/ 1059483 w 1524655"/>
                    <a:gd name="connsiteY2014" fmla="*/ 221220 h 1268099"/>
                    <a:gd name="connsiteX2015" fmla="*/ 1059823 w 1524655"/>
                    <a:gd name="connsiteY2015" fmla="*/ 218597 h 1268099"/>
                    <a:gd name="connsiteX2016" fmla="*/ 1059374 w 1524655"/>
                    <a:gd name="connsiteY2016" fmla="*/ 215635 h 1268099"/>
                    <a:gd name="connsiteX2017" fmla="*/ 1058512 w 1524655"/>
                    <a:gd name="connsiteY2017" fmla="*/ 212198 h 1268099"/>
                    <a:gd name="connsiteX2018" fmla="*/ 1058391 w 1524655"/>
                    <a:gd name="connsiteY2018" fmla="*/ 209733 h 1268099"/>
                    <a:gd name="connsiteX2019" fmla="*/ 1059204 w 1524655"/>
                    <a:gd name="connsiteY2019" fmla="*/ 208155 h 1268099"/>
                    <a:gd name="connsiteX2020" fmla="*/ 1061438 w 1524655"/>
                    <a:gd name="connsiteY2020" fmla="*/ 207110 h 1268099"/>
                    <a:gd name="connsiteX2021" fmla="*/ 1063163 w 1524655"/>
                    <a:gd name="connsiteY2021" fmla="*/ 206029 h 1268099"/>
                    <a:gd name="connsiteX2022" fmla="*/ 1064025 w 1524655"/>
                    <a:gd name="connsiteY2022" fmla="*/ 204414 h 1268099"/>
                    <a:gd name="connsiteX2023" fmla="*/ 1063734 w 1524655"/>
                    <a:gd name="connsiteY2023" fmla="*/ 202921 h 1268099"/>
                    <a:gd name="connsiteX2024" fmla="*/ 1062592 w 1524655"/>
                    <a:gd name="connsiteY2024" fmla="*/ 201342 h 1268099"/>
                    <a:gd name="connsiteX2025" fmla="*/ 1056958 w 1524655"/>
                    <a:gd name="connsiteY2025" fmla="*/ 197262 h 1268099"/>
                    <a:gd name="connsiteX2026" fmla="*/ 1055063 w 1524655"/>
                    <a:gd name="connsiteY2026" fmla="*/ 195210 h 1268099"/>
                    <a:gd name="connsiteX2027" fmla="*/ 1054493 w 1524655"/>
                    <a:gd name="connsiteY2027" fmla="*/ 193704 h 1268099"/>
                    <a:gd name="connsiteX2028" fmla="*/ 1054833 w 1524655"/>
                    <a:gd name="connsiteY2028" fmla="*/ 191604 h 1268099"/>
                    <a:gd name="connsiteX2029" fmla="*/ 1055926 w 1524655"/>
                    <a:gd name="connsiteY2029" fmla="*/ 189309 h 1268099"/>
                    <a:gd name="connsiteX2030" fmla="*/ 1062070 w 1524655"/>
                    <a:gd name="connsiteY2030" fmla="*/ 179898 h 1268099"/>
                    <a:gd name="connsiteX2031" fmla="*/ 1063272 w 1524655"/>
                    <a:gd name="connsiteY2031" fmla="*/ 177615 h 1268099"/>
                    <a:gd name="connsiteX2032" fmla="*/ 1064086 w 1524655"/>
                    <a:gd name="connsiteY2032" fmla="*/ 174943 h 1268099"/>
                    <a:gd name="connsiteX2033" fmla="*/ 1063903 w 1524655"/>
                    <a:gd name="connsiteY2033" fmla="*/ 173013 h 1268099"/>
                    <a:gd name="connsiteX2034" fmla="*/ 1062410 w 1524655"/>
                    <a:gd name="connsiteY2034" fmla="*/ 169855 h 1268099"/>
                    <a:gd name="connsiteX2035" fmla="*/ 1062240 w 1524655"/>
                    <a:gd name="connsiteY2035" fmla="*/ 168848 h 1268099"/>
                    <a:gd name="connsiteX2036" fmla="*/ 1062519 w 1524655"/>
                    <a:gd name="connsiteY2036" fmla="*/ 167415 h 1268099"/>
                    <a:gd name="connsiteX2037" fmla="*/ 1065288 w 1524655"/>
                    <a:gd name="connsiteY2037" fmla="*/ 160421 h 1268099"/>
                    <a:gd name="connsiteX2038" fmla="*/ 1065798 w 1524655"/>
                    <a:gd name="connsiteY2038" fmla="*/ 157434 h 1268099"/>
                    <a:gd name="connsiteX2039" fmla="*/ 1065798 w 1524655"/>
                    <a:gd name="connsiteY2039" fmla="*/ 154738 h 1268099"/>
                    <a:gd name="connsiteX2040" fmla="*/ 1065519 w 1524655"/>
                    <a:gd name="connsiteY2040" fmla="*/ 151204 h 1268099"/>
                    <a:gd name="connsiteX2041" fmla="*/ 1065798 w 1524655"/>
                    <a:gd name="connsiteY2041" fmla="*/ 150245 h 1268099"/>
                    <a:gd name="connsiteX2042" fmla="*/ 1066611 w 1524655"/>
                    <a:gd name="connsiteY2042" fmla="*/ 148933 h 1268099"/>
                    <a:gd name="connsiteX2043" fmla="*/ 1073205 w 1524655"/>
                    <a:gd name="connsiteY2043" fmla="*/ 141053 h 1268099"/>
                    <a:gd name="connsiteX2044" fmla="*/ 1074638 w 1524655"/>
                    <a:gd name="connsiteY2044" fmla="*/ 138260 h 1268099"/>
                    <a:gd name="connsiteX2045" fmla="*/ 1076933 w 1524655"/>
                    <a:gd name="connsiteY2045" fmla="*/ 132516 h 1268099"/>
                    <a:gd name="connsiteX2046" fmla="*/ 1078609 w 1524655"/>
                    <a:gd name="connsiteY2046" fmla="*/ 130792 h 1268099"/>
                    <a:gd name="connsiteX2047" fmla="*/ 1080673 w 1524655"/>
                    <a:gd name="connsiteY2047" fmla="*/ 130245 h 1268099"/>
                    <a:gd name="connsiteX2048" fmla="*/ 1083951 w 1524655"/>
                    <a:gd name="connsiteY2048" fmla="*/ 131156 h 1268099"/>
                    <a:gd name="connsiteX2049" fmla="*/ 1086064 w 1524655"/>
                    <a:gd name="connsiteY2049" fmla="*/ 132164 h 1268099"/>
                    <a:gd name="connsiteX2050" fmla="*/ 1087801 w 1524655"/>
                    <a:gd name="connsiteY2050" fmla="*/ 132492 h 1268099"/>
                    <a:gd name="connsiteX2051" fmla="*/ 1089744 w 1524655"/>
                    <a:gd name="connsiteY2051" fmla="*/ 132200 h 1268099"/>
                    <a:gd name="connsiteX2052" fmla="*/ 1090727 w 1524655"/>
                    <a:gd name="connsiteY2052" fmla="*/ 132492 h 1268099"/>
                    <a:gd name="connsiteX2053" fmla="*/ 1091480 w 1524655"/>
                    <a:gd name="connsiteY2053" fmla="*/ 134143 h 1268099"/>
                    <a:gd name="connsiteX2054" fmla="*/ 1091529 w 1524655"/>
                    <a:gd name="connsiteY2054" fmla="*/ 135394 h 1268099"/>
                    <a:gd name="connsiteX2055" fmla="*/ 1091407 w 1524655"/>
                    <a:gd name="connsiteY2055" fmla="*/ 137021 h 1268099"/>
                    <a:gd name="connsiteX2056" fmla="*/ 1091480 w 1524655"/>
                    <a:gd name="connsiteY2056" fmla="*/ 138563 h 1268099"/>
                    <a:gd name="connsiteX2057" fmla="*/ 1091699 w 1524655"/>
                    <a:gd name="connsiteY2057" fmla="*/ 139595 h 1268099"/>
                    <a:gd name="connsiteX2058" fmla="*/ 1092269 w 1524655"/>
                    <a:gd name="connsiteY2058" fmla="*/ 140761 h 1268099"/>
                    <a:gd name="connsiteX2059" fmla="*/ 1092561 w 1524655"/>
                    <a:gd name="connsiteY2059" fmla="*/ 141902 h 1268099"/>
                    <a:gd name="connsiteX2060" fmla="*/ 1092609 w 1524655"/>
                    <a:gd name="connsiteY2060" fmla="*/ 143469 h 1268099"/>
                    <a:gd name="connsiteX2061" fmla="*/ 1092111 w 1524655"/>
                    <a:gd name="connsiteY2061" fmla="*/ 147367 h 1268099"/>
                    <a:gd name="connsiteX2062" fmla="*/ 1092330 w 1524655"/>
                    <a:gd name="connsiteY2062" fmla="*/ 149638 h 1268099"/>
                    <a:gd name="connsiteX2063" fmla="*/ 1093484 w 1524655"/>
                    <a:gd name="connsiteY2063" fmla="*/ 151921 h 1268099"/>
                    <a:gd name="connsiteX2064" fmla="*/ 1095609 w 1524655"/>
                    <a:gd name="connsiteY2064" fmla="*/ 154556 h 1268099"/>
                    <a:gd name="connsiteX2065" fmla="*/ 1104898 w 1524655"/>
                    <a:gd name="connsiteY2065" fmla="*/ 162716 h 1268099"/>
                    <a:gd name="connsiteX2066" fmla="*/ 1106112 w 1524655"/>
                    <a:gd name="connsiteY2066" fmla="*/ 163979 h 1268099"/>
                    <a:gd name="connsiteX2067" fmla="*/ 1107157 w 1524655"/>
                    <a:gd name="connsiteY2067" fmla="*/ 165350 h 1268099"/>
                    <a:gd name="connsiteX2068" fmla="*/ 1108007 w 1524655"/>
                    <a:gd name="connsiteY2068" fmla="*/ 166965 h 1268099"/>
                    <a:gd name="connsiteX2069" fmla="*/ 1108468 w 1524655"/>
                    <a:gd name="connsiteY2069" fmla="*/ 168459 h 1268099"/>
                    <a:gd name="connsiteX2070" fmla="*/ 1108468 w 1524655"/>
                    <a:gd name="connsiteY2070" fmla="*/ 170038 h 1268099"/>
                    <a:gd name="connsiteX2071" fmla="*/ 1108128 w 1524655"/>
                    <a:gd name="connsiteY2071" fmla="*/ 171495 h 1268099"/>
                    <a:gd name="connsiteX2072" fmla="*/ 1105651 w 1524655"/>
                    <a:gd name="connsiteY2072" fmla="*/ 176862 h 1268099"/>
                    <a:gd name="connsiteX2073" fmla="*/ 1105262 w 1524655"/>
                    <a:gd name="connsiteY2073" fmla="*/ 179084 h 1268099"/>
                    <a:gd name="connsiteX2074" fmla="*/ 1105202 w 1524655"/>
                    <a:gd name="connsiteY2074" fmla="*/ 181063 h 1268099"/>
                    <a:gd name="connsiteX2075" fmla="*/ 1105651 w 1524655"/>
                    <a:gd name="connsiteY2075" fmla="*/ 182836 h 1268099"/>
                    <a:gd name="connsiteX2076" fmla="*/ 1106452 w 1524655"/>
                    <a:gd name="connsiteY2076" fmla="*/ 184124 h 1268099"/>
                    <a:gd name="connsiteX2077" fmla="*/ 1107788 w 1524655"/>
                    <a:gd name="connsiteY2077" fmla="*/ 184949 h 1268099"/>
                    <a:gd name="connsiteX2078" fmla="*/ 1109270 w 1524655"/>
                    <a:gd name="connsiteY2078" fmla="*/ 185350 h 1268099"/>
                    <a:gd name="connsiteX2079" fmla="*/ 1111565 w 1524655"/>
                    <a:gd name="connsiteY2079" fmla="*/ 185435 h 1268099"/>
                    <a:gd name="connsiteX2080" fmla="*/ 1113179 w 1524655"/>
                    <a:gd name="connsiteY2080" fmla="*/ 185751 h 1268099"/>
                    <a:gd name="connsiteX2081" fmla="*/ 1115632 w 1524655"/>
                    <a:gd name="connsiteY2081" fmla="*/ 187147 h 1268099"/>
                    <a:gd name="connsiteX2082" fmla="*/ 1116895 w 1524655"/>
                    <a:gd name="connsiteY2082" fmla="*/ 186977 h 1268099"/>
                    <a:gd name="connsiteX2083" fmla="*/ 1118741 w 1524655"/>
                    <a:gd name="connsiteY2083" fmla="*/ 184913 h 1268099"/>
                    <a:gd name="connsiteX2084" fmla="*/ 1119433 w 1524655"/>
                    <a:gd name="connsiteY2084" fmla="*/ 182933 h 1268099"/>
                    <a:gd name="connsiteX2085" fmla="*/ 1120295 w 1524655"/>
                    <a:gd name="connsiteY2085" fmla="*/ 178392 h 1268099"/>
                    <a:gd name="connsiteX2086" fmla="*/ 1120805 w 1524655"/>
                    <a:gd name="connsiteY2086" fmla="*/ 176753 h 1268099"/>
                    <a:gd name="connsiteX2087" fmla="*/ 1122007 w 1524655"/>
                    <a:gd name="connsiteY2087" fmla="*/ 175405 h 1268099"/>
                    <a:gd name="connsiteX2088" fmla="*/ 1123975 w 1524655"/>
                    <a:gd name="connsiteY2088" fmla="*/ 173996 h 1268099"/>
                    <a:gd name="connsiteX2089" fmla="*/ 1127241 w 1524655"/>
                    <a:gd name="connsiteY2089" fmla="*/ 172248 h 1268099"/>
                    <a:gd name="connsiteX2090" fmla="*/ 1133325 w 1524655"/>
                    <a:gd name="connsiteY2090" fmla="*/ 168204 h 1268099"/>
                    <a:gd name="connsiteX2091" fmla="*/ 1139020 w 1524655"/>
                    <a:gd name="connsiteY2091" fmla="*/ 166067 h 1268099"/>
                    <a:gd name="connsiteX2092" fmla="*/ 1141133 w 1524655"/>
                    <a:gd name="connsiteY2092" fmla="*/ 164695 h 1268099"/>
                    <a:gd name="connsiteX2093" fmla="*/ 1142978 w 1524655"/>
                    <a:gd name="connsiteY2093" fmla="*/ 162121 h 1268099"/>
                    <a:gd name="connsiteX2094" fmla="*/ 1143828 w 1524655"/>
                    <a:gd name="connsiteY2094" fmla="*/ 159765 h 1268099"/>
                    <a:gd name="connsiteX2095" fmla="*/ 1144010 w 1524655"/>
                    <a:gd name="connsiteY2095" fmla="*/ 157324 h 1268099"/>
                    <a:gd name="connsiteX2096" fmla="*/ 1142796 w 1524655"/>
                    <a:gd name="connsiteY2096" fmla="*/ 152698 h 1268099"/>
                    <a:gd name="connsiteX2097" fmla="*/ 1142699 w 1524655"/>
                    <a:gd name="connsiteY2097" fmla="*/ 150706 h 1268099"/>
                    <a:gd name="connsiteX2098" fmla="*/ 1143670 w 1524655"/>
                    <a:gd name="connsiteY2098" fmla="*/ 149249 h 1268099"/>
                    <a:gd name="connsiteX2099" fmla="*/ 1145626 w 1524655"/>
                    <a:gd name="connsiteY2099" fmla="*/ 148253 h 1268099"/>
                    <a:gd name="connsiteX2100" fmla="*/ 1149463 w 1524655"/>
                    <a:gd name="connsiteY2100" fmla="*/ 147707 h 1268099"/>
                    <a:gd name="connsiteX2101" fmla="*/ 1151867 w 1524655"/>
                    <a:gd name="connsiteY2101" fmla="*/ 148338 h 1268099"/>
                    <a:gd name="connsiteX2102" fmla="*/ 1153725 w 1524655"/>
                    <a:gd name="connsiteY2102" fmla="*/ 149577 h 1268099"/>
                    <a:gd name="connsiteX2103" fmla="*/ 1155728 w 1524655"/>
                    <a:gd name="connsiteY2103" fmla="*/ 151156 h 1268099"/>
                    <a:gd name="connsiteX2104" fmla="*/ 1157963 w 1524655"/>
                    <a:gd name="connsiteY2104" fmla="*/ 151981 h 1268099"/>
                    <a:gd name="connsiteX2105" fmla="*/ 1161181 w 1524655"/>
                    <a:gd name="connsiteY2105" fmla="*/ 152200 h 1268099"/>
                    <a:gd name="connsiteX2106" fmla="*/ 1162492 w 1524655"/>
                    <a:gd name="connsiteY2106" fmla="*/ 153196 h 1268099"/>
                    <a:gd name="connsiteX2107" fmla="*/ 1162905 w 1524655"/>
                    <a:gd name="connsiteY2107" fmla="*/ 154725 h 1268099"/>
                    <a:gd name="connsiteX2108" fmla="*/ 1162383 w 1524655"/>
                    <a:gd name="connsiteY2108" fmla="*/ 158077 h 1268099"/>
                    <a:gd name="connsiteX2109" fmla="*/ 1162383 w 1524655"/>
                    <a:gd name="connsiteY2109" fmla="*/ 159692 h 1268099"/>
                    <a:gd name="connsiteX2110" fmla="*/ 1163014 w 1524655"/>
                    <a:gd name="connsiteY2110" fmla="*/ 161210 h 1268099"/>
                    <a:gd name="connsiteX2111" fmla="*/ 1164229 w 1524655"/>
                    <a:gd name="connsiteY2111" fmla="*/ 162181 h 1268099"/>
                    <a:gd name="connsiteX2112" fmla="*/ 1166001 w 1524655"/>
                    <a:gd name="connsiteY2112" fmla="*/ 162619 h 1268099"/>
                    <a:gd name="connsiteX2113" fmla="*/ 1173360 w 1524655"/>
                    <a:gd name="connsiteY2113" fmla="*/ 162327 h 1268099"/>
                    <a:gd name="connsiteX2114" fmla="*/ 1174963 w 1524655"/>
                    <a:gd name="connsiteY2114" fmla="*/ 162072 h 1268099"/>
                    <a:gd name="connsiteX2115" fmla="*/ 1181848 w 1524655"/>
                    <a:gd name="connsiteY2115" fmla="*/ 158684 h 1268099"/>
                    <a:gd name="connsiteX2116" fmla="*/ 1183742 w 1524655"/>
                    <a:gd name="connsiteY2116" fmla="*/ 157992 h 1268099"/>
                    <a:gd name="connsiteX2117" fmla="*/ 1185224 w 1524655"/>
                    <a:gd name="connsiteY2117" fmla="*/ 157810 h 1268099"/>
                    <a:gd name="connsiteX2118" fmla="*/ 1187652 w 1524655"/>
                    <a:gd name="connsiteY2118" fmla="*/ 158016 h 1268099"/>
                    <a:gd name="connsiteX2119" fmla="*/ 1189607 w 1524655"/>
                    <a:gd name="connsiteY2119" fmla="*/ 157445 h 1268099"/>
                    <a:gd name="connsiteX2120" fmla="*/ 1191319 w 1524655"/>
                    <a:gd name="connsiteY2120" fmla="*/ 155806 h 1268099"/>
                    <a:gd name="connsiteX2121" fmla="*/ 1192194 w 1524655"/>
                    <a:gd name="connsiteY2121" fmla="*/ 150633 h 1268099"/>
                    <a:gd name="connsiteX2122" fmla="*/ 1192011 w 1524655"/>
                    <a:gd name="connsiteY2122" fmla="*/ 148108 h 1268099"/>
                    <a:gd name="connsiteX2123" fmla="*/ 1191271 w 1524655"/>
                    <a:gd name="connsiteY2123" fmla="*/ 146298 h 1268099"/>
                    <a:gd name="connsiteX2124" fmla="*/ 1190287 w 1524655"/>
                    <a:gd name="connsiteY2124" fmla="*/ 145266 h 1268099"/>
                    <a:gd name="connsiteX2125" fmla="*/ 1189546 w 1524655"/>
                    <a:gd name="connsiteY2125" fmla="*/ 144173 h 1268099"/>
                    <a:gd name="connsiteX2126" fmla="*/ 1190178 w 1524655"/>
                    <a:gd name="connsiteY2126" fmla="*/ 141927 h 1268099"/>
                    <a:gd name="connsiteX2127" fmla="*/ 1190797 w 1524655"/>
                    <a:gd name="connsiteY2127" fmla="*/ 140458 h 1268099"/>
                    <a:gd name="connsiteX2128" fmla="*/ 1199649 w 1524655"/>
                    <a:gd name="connsiteY2128" fmla="*/ 129614 h 1268099"/>
                    <a:gd name="connsiteX2129" fmla="*/ 1199370 w 1524655"/>
                    <a:gd name="connsiteY2129" fmla="*/ 126991 h 1268099"/>
                    <a:gd name="connsiteX2130" fmla="*/ 1198897 w 1524655"/>
                    <a:gd name="connsiteY2130" fmla="*/ 126420 h 1268099"/>
                    <a:gd name="connsiteX2131" fmla="*/ 1198277 w 1524655"/>
                    <a:gd name="connsiteY2131" fmla="*/ 125959 h 1268099"/>
                    <a:gd name="connsiteX2132" fmla="*/ 1197233 w 1524655"/>
                    <a:gd name="connsiteY2132" fmla="*/ 125934 h 1268099"/>
                    <a:gd name="connsiteX2133" fmla="*/ 1194088 w 1524655"/>
                    <a:gd name="connsiteY2133" fmla="*/ 126335 h 1268099"/>
                    <a:gd name="connsiteX2134" fmla="*/ 1192934 w 1524655"/>
                    <a:gd name="connsiteY2134" fmla="*/ 126129 h 1268099"/>
                    <a:gd name="connsiteX2135" fmla="*/ 1192291 w 1524655"/>
                    <a:gd name="connsiteY2135" fmla="*/ 125267 h 1268099"/>
                    <a:gd name="connsiteX2136" fmla="*/ 1190858 w 1524655"/>
                    <a:gd name="connsiteY2136" fmla="*/ 121709 h 1268099"/>
                    <a:gd name="connsiteX2137" fmla="*/ 1188053 w 1524655"/>
                    <a:gd name="connsiteY2137" fmla="*/ 117519 h 1268099"/>
                    <a:gd name="connsiteX2138" fmla="*/ 1187713 w 1524655"/>
                    <a:gd name="connsiteY2138" fmla="*/ 116026 h 1268099"/>
                    <a:gd name="connsiteX2139" fmla="*/ 1187931 w 1524655"/>
                    <a:gd name="connsiteY2139" fmla="*/ 114460 h 1268099"/>
                    <a:gd name="connsiteX2140" fmla="*/ 1188514 w 1524655"/>
                    <a:gd name="connsiteY2140" fmla="*/ 112747 h 1268099"/>
                    <a:gd name="connsiteX2141" fmla="*/ 1188794 w 1524655"/>
                    <a:gd name="connsiteY2141" fmla="*/ 110938 h 1268099"/>
                    <a:gd name="connsiteX2142" fmla="*/ 1188745 w 1524655"/>
                    <a:gd name="connsiteY2142" fmla="*/ 109420 h 1268099"/>
                    <a:gd name="connsiteX2143" fmla="*/ 1188854 w 1524655"/>
                    <a:gd name="connsiteY2143" fmla="*/ 108097 h 1268099"/>
                    <a:gd name="connsiteX2144" fmla="*/ 1189255 w 1524655"/>
                    <a:gd name="connsiteY2144" fmla="*/ 107210 h 1268099"/>
                    <a:gd name="connsiteX2145" fmla="*/ 1193966 w 1524655"/>
                    <a:gd name="connsiteY2145" fmla="*/ 102790 h 1268099"/>
                    <a:gd name="connsiteX2146" fmla="*/ 1196213 w 1524655"/>
                    <a:gd name="connsiteY2146" fmla="*/ 100301 h 1268099"/>
                    <a:gd name="connsiteX2147" fmla="*/ 1198156 w 1524655"/>
                    <a:gd name="connsiteY2147" fmla="*/ 97520 h 1268099"/>
                    <a:gd name="connsiteX2148" fmla="*/ 1202297 w 1524655"/>
                    <a:gd name="connsiteY2148" fmla="*/ 90368 h 1268099"/>
                    <a:gd name="connsiteX2149" fmla="*/ 1204422 w 1524655"/>
                    <a:gd name="connsiteY2149" fmla="*/ 87587 h 1268099"/>
                    <a:gd name="connsiteX2150" fmla="*/ 1207688 w 1524655"/>
                    <a:gd name="connsiteY2150" fmla="*/ 84442 h 1268099"/>
                    <a:gd name="connsiteX2151" fmla="*/ 1209752 w 1524655"/>
                    <a:gd name="connsiteY2151" fmla="*/ 83216 h 1268099"/>
                    <a:gd name="connsiteX2152" fmla="*/ 1212157 w 1524655"/>
                    <a:gd name="connsiteY2152" fmla="*/ 82852 h 1268099"/>
                    <a:gd name="connsiteX2153" fmla="*/ 1214294 w 1524655"/>
                    <a:gd name="connsiteY2153" fmla="*/ 83337 h 1268099"/>
                    <a:gd name="connsiteX2154" fmla="*/ 1216358 w 1524655"/>
                    <a:gd name="connsiteY2154" fmla="*/ 84357 h 1268099"/>
                    <a:gd name="connsiteX2155" fmla="*/ 1218082 w 1524655"/>
                    <a:gd name="connsiteY2155" fmla="*/ 86227 h 1268099"/>
                    <a:gd name="connsiteX2156" fmla="*/ 1219746 w 1524655"/>
                    <a:gd name="connsiteY2156" fmla="*/ 87417 h 1268099"/>
                    <a:gd name="connsiteX2157" fmla="*/ 1221822 w 1524655"/>
                    <a:gd name="connsiteY2157" fmla="*/ 87648 h 1268099"/>
                    <a:gd name="connsiteX2158" fmla="*/ 1232156 w 1524655"/>
                    <a:gd name="connsiteY2158" fmla="*/ 83046 h 1268099"/>
                    <a:gd name="connsiteX2159" fmla="*/ 1235082 w 1524655"/>
                    <a:gd name="connsiteY2159" fmla="*/ 80836 h 1268099"/>
                    <a:gd name="connsiteX2160" fmla="*/ 1239794 w 1524655"/>
                    <a:gd name="connsiteY2160" fmla="*/ 76476 h 1268099"/>
                    <a:gd name="connsiteX2161" fmla="*/ 1245708 w 1524655"/>
                    <a:gd name="connsiteY2161" fmla="*/ 71996 h 1268099"/>
                    <a:gd name="connsiteX2162" fmla="*/ 1248573 w 1524655"/>
                    <a:gd name="connsiteY2162" fmla="*/ 70332 h 1268099"/>
                    <a:gd name="connsiteX2163" fmla="*/ 1252641 w 1524655"/>
                    <a:gd name="connsiteY2163" fmla="*/ 69179 h 1268099"/>
                    <a:gd name="connsiteX2164" fmla="*/ 1255288 w 1524655"/>
                    <a:gd name="connsiteY2164" fmla="*/ 67940 h 1268099"/>
                    <a:gd name="connsiteX2165" fmla="*/ 1257535 w 1524655"/>
                    <a:gd name="connsiteY2165" fmla="*/ 65961 h 1268099"/>
                    <a:gd name="connsiteX2166" fmla="*/ 1258106 w 1524655"/>
                    <a:gd name="connsiteY2166" fmla="*/ 64103 h 1268099"/>
                    <a:gd name="connsiteX2167" fmla="*/ 1257936 w 1524655"/>
                    <a:gd name="connsiteY2167" fmla="*/ 62840 h 1268099"/>
                    <a:gd name="connsiteX2168" fmla="*/ 1257183 w 1524655"/>
                    <a:gd name="connsiteY2168" fmla="*/ 62208 h 1268099"/>
                    <a:gd name="connsiteX2169" fmla="*/ 1256150 w 1524655"/>
                    <a:gd name="connsiteY2169" fmla="*/ 61771 h 1268099"/>
                    <a:gd name="connsiteX2170" fmla="*/ 1255349 w 1524655"/>
                    <a:gd name="connsiteY2170" fmla="*/ 61019 h 1268099"/>
                    <a:gd name="connsiteX2171" fmla="*/ 1254900 w 1524655"/>
                    <a:gd name="connsiteY2171" fmla="*/ 60047 h 1268099"/>
                    <a:gd name="connsiteX2172" fmla="*/ 1254256 w 1524655"/>
                    <a:gd name="connsiteY2172" fmla="*/ 57837 h 1268099"/>
                    <a:gd name="connsiteX2173" fmla="*/ 1253746 w 1524655"/>
                    <a:gd name="connsiteY2173" fmla="*/ 57230 h 1268099"/>
                    <a:gd name="connsiteX2174" fmla="*/ 1252823 w 1524655"/>
                    <a:gd name="connsiteY2174" fmla="*/ 56975 h 1268099"/>
                    <a:gd name="connsiteX2175" fmla="*/ 1251730 w 1524655"/>
                    <a:gd name="connsiteY2175" fmla="*/ 56829 h 1268099"/>
                    <a:gd name="connsiteX2176" fmla="*/ 1250820 w 1524655"/>
                    <a:gd name="connsiteY2176" fmla="*/ 56829 h 1268099"/>
                    <a:gd name="connsiteX2177" fmla="*/ 1250067 w 1524655"/>
                    <a:gd name="connsiteY2177" fmla="*/ 56574 h 1268099"/>
                    <a:gd name="connsiteX2178" fmla="*/ 1249144 w 1524655"/>
                    <a:gd name="connsiteY2178" fmla="*/ 55979 h 1268099"/>
                    <a:gd name="connsiteX2179" fmla="*/ 1245295 w 1524655"/>
                    <a:gd name="connsiteY2179" fmla="*/ 51122 h 1268099"/>
                    <a:gd name="connsiteX2180" fmla="*/ 1244724 w 1524655"/>
                    <a:gd name="connsiteY2180" fmla="*/ 50029 h 1268099"/>
                    <a:gd name="connsiteX2181" fmla="*/ 1243643 w 1524655"/>
                    <a:gd name="connsiteY2181" fmla="*/ 46678 h 1268099"/>
                    <a:gd name="connsiteX2182" fmla="*/ 1242890 w 1524655"/>
                    <a:gd name="connsiteY2182" fmla="*/ 45099 h 1268099"/>
                    <a:gd name="connsiteX2183" fmla="*/ 1242077 w 1524655"/>
                    <a:gd name="connsiteY2183" fmla="*/ 44091 h 1268099"/>
                    <a:gd name="connsiteX2184" fmla="*/ 1240996 w 1524655"/>
                    <a:gd name="connsiteY2184" fmla="*/ 43144 h 1268099"/>
                    <a:gd name="connsiteX2185" fmla="*/ 1240195 w 1524655"/>
                    <a:gd name="connsiteY2185" fmla="*/ 42027 h 1268099"/>
                    <a:gd name="connsiteX2186" fmla="*/ 1239964 w 1524655"/>
                    <a:gd name="connsiteY2186" fmla="*/ 40788 h 1268099"/>
                    <a:gd name="connsiteX2187" fmla="*/ 1240255 w 1524655"/>
                    <a:gd name="connsiteY2187" fmla="*/ 39088 h 1268099"/>
                    <a:gd name="connsiteX2188" fmla="*/ 1242830 w 1524655"/>
                    <a:gd name="connsiteY2188" fmla="*/ 37510 h 1268099"/>
                    <a:gd name="connsiteX2189" fmla="*/ 1244433 w 1524655"/>
                    <a:gd name="connsiteY2189" fmla="*/ 36988 h 1268099"/>
                    <a:gd name="connsiteX2190" fmla="*/ 1246157 w 1524655"/>
                    <a:gd name="connsiteY2190" fmla="*/ 36684 h 1268099"/>
                    <a:gd name="connsiteX2191" fmla="*/ 1248003 w 1524655"/>
                    <a:gd name="connsiteY2191" fmla="*/ 36550 h 1268099"/>
                    <a:gd name="connsiteX2192" fmla="*/ 1250176 w 1524655"/>
                    <a:gd name="connsiteY2192" fmla="*/ 37218 h 1268099"/>
                    <a:gd name="connsiteX2193" fmla="*/ 1250698 w 1524655"/>
                    <a:gd name="connsiteY2193" fmla="*/ 37631 h 1268099"/>
                    <a:gd name="connsiteX2194" fmla="*/ 1252945 w 1524655"/>
                    <a:gd name="connsiteY2194" fmla="*/ 38870 h 1268099"/>
                    <a:gd name="connsiteX2195" fmla="*/ 1257425 w 1524655"/>
                    <a:gd name="connsiteY2195" fmla="*/ 40205 h 1268099"/>
                    <a:gd name="connsiteX2196" fmla="*/ 1259429 w 1524655"/>
                    <a:gd name="connsiteY2196" fmla="*/ 41432 h 1268099"/>
                    <a:gd name="connsiteX2197" fmla="*/ 1263448 w 1524655"/>
                    <a:gd name="connsiteY2197" fmla="*/ 44371 h 1268099"/>
                    <a:gd name="connsiteX2198" fmla="*/ 1265683 w 1524655"/>
                    <a:gd name="connsiteY2198" fmla="*/ 44856 h 1268099"/>
                    <a:gd name="connsiteX2199" fmla="*/ 1268318 w 1524655"/>
                    <a:gd name="connsiteY2199" fmla="*/ 43569 h 1268099"/>
                    <a:gd name="connsiteX2200" fmla="*/ 1269241 w 1524655"/>
                    <a:gd name="connsiteY2200" fmla="*/ 41942 h 1268099"/>
                    <a:gd name="connsiteX2201" fmla="*/ 1269411 w 1524655"/>
                    <a:gd name="connsiteY2201" fmla="*/ 40011 h 1268099"/>
                    <a:gd name="connsiteX2202" fmla="*/ 1269083 w 1524655"/>
                    <a:gd name="connsiteY2202" fmla="*/ 38955 h 1268099"/>
                    <a:gd name="connsiteX2203" fmla="*/ 1268208 w 1524655"/>
                    <a:gd name="connsiteY2203" fmla="*/ 37388 h 1268099"/>
                    <a:gd name="connsiteX2204" fmla="*/ 1268208 w 1524655"/>
                    <a:gd name="connsiteY2204" fmla="*/ 37279 h 1268099"/>
                    <a:gd name="connsiteX2205" fmla="*/ 1268269 w 1524655"/>
                    <a:gd name="connsiteY2205" fmla="*/ 37170 h 1268099"/>
                    <a:gd name="connsiteX2206" fmla="*/ 1268439 w 1524655"/>
                    <a:gd name="connsiteY2206" fmla="*/ 36891 h 1268099"/>
                    <a:gd name="connsiteX2207" fmla="*/ 1270795 w 1524655"/>
                    <a:gd name="connsiteY2207" fmla="*/ 35154 h 1268099"/>
                    <a:gd name="connsiteX2208" fmla="*/ 1271317 w 1524655"/>
                    <a:gd name="connsiteY2208" fmla="*/ 33830 h 1268099"/>
                    <a:gd name="connsiteX2209" fmla="*/ 1271426 w 1524655"/>
                    <a:gd name="connsiteY2209" fmla="*/ 32203 h 1268099"/>
                    <a:gd name="connsiteX2210" fmla="*/ 1269532 w 1524655"/>
                    <a:gd name="connsiteY2210" fmla="*/ 25561 h 1268099"/>
                    <a:gd name="connsiteX2211" fmla="*/ 1269884 w 1524655"/>
                    <a:gd name="connsiteY2211" fmla="*/ 23958 h 1268099"/>
                    <a:gd name="connsiteX2212" fmla="*/ 1271026 w 1524655"/>
                    <a:gd name="connsiteY2212" fmla="*/ 23205 h 1268099"/>
                    <a:gd name="connsiteX2213" fmla="*/ 1273211 w 1524655"/>
                    <a:gd name="connsiteY2213" fmla="*/ 24043 h 1268099"/>
                    <a:gd name="connsiteX2214" fmla="*/ 1274814 w 1524655"/>
                    <a:gd name="connsiteY2214" fmla="*/ 25597 h 1268099"/>
                    <a:gd name="connsiteX2215" fmla="*/ 1275895 w 1524655"/>
                    <a:gd name="connsiteY2215" fmla="*/ 27431 h 1268099"/>
                    <a:gd name="connsiteX2216" fmla="*/ 1276648 w 1524655"/>
                    <a:gd name="connsiteY2216" fmla="*/ 29702 h 1268099"/>
                    <a:gd name="connsiteX2217" fmla="*/ 1277571 w 1524655"/>
                    <a:gd name="connsiteY2217" fmla="*/ 34340 h 1268099"/>
                    <a:gd name="connsiteX2218" fmla="*/ 1278372 w 1524655"/>
                    <a:gd name="connsiteY2218" fmla="*/ 35725 h 1268099"/>
                    <a:gd name="connsiteX2219" fmla="*/ 1279404 w 1524655"/>
                    <a:gd name="connsiteY2219" fmla="*/ 36138 h 1268099"/>
                    <a:gd name="connsiteX2220" fmla="*/ 1281189 w 1524655"/>
                    <a:gd name="connsiteY2220" fmla="*/ 35494 h 1268099"/>
                    <a:gd name="connsiteX2221" fmla="*/ 1282452 w 1524655"/>
                    <a:gd name="connsiteY2221" fmla="*/ 34328 h 1268099"/>
                    <a:gd name="connsiteX2222" fmla="*/ 1283654 w 1524655"/>
                    <a:gd name="connsiteY2222" fmla="*/ 32070 h 1268099"/>
                    <a:gd name="connsiteX2223" fmla="*/ 1285209 w 1524655"/>
                    <a:gd name="connsiteY2223" fmla="*/ 27382 h 1268099"/>
                    <a:gd name="connsiteX2224" fmla="*/ 1286362 w 1524655"/>
                    <a:gd name="connsiteY2224" fmla="*/ 26035 h 1268099"/>
                    <a:gd name="connsiteX2225" fmla="*/ 1287856 w 1524655"/>
                    <a:gd name="connsiteY2225" fmla="*/ 24942 h 1268099"/>
                    <a:gd name="connsiteX2226" fmla="*/ 1291353 w 1524655"/>
                    <a:gd name="connsiteY2226" fmla="*/ 23825 h 1268099"/>
                    <a:gd name="connsiteX2227" fmla="*/ 1293004 w 1524655"/>
                    <a:gd name="connsiteY2227" fmla="*/ 21797 h 1268099"/>
                    <a:gd name="connsiteX2228" fmla="*/ 1294109 w 1524655"/>
                    <a:gd name="connsiteY2228" fmla="*/ 19538 h 1268099"/>
                    <a:gd name="connsiteX2229" fmla="*/ 1294571 w 1524655"/>
                    <a:gd name="connsiteY2229" fmla="*/ 17049 h 1268099"/>
                    <a:gd name="connsiteX2230" fmla="*/ 1295324 w 1524655"/>
                    <a:gd name="connsiteY2230" fmla="*/ 14632 h 1268099"/>
                    <a:gd name="connsiteX2231" fmla="*/ 1296234 w 1524655"/>
                    <a:gd name="connsiteY2231" fmla="*/ 12714 h 1268099"/>
                    <a:gd name="connsiteX2232" fmla="*/ 1297388 w 1524655"/>
                    <a:gd name="connsiteY2232" fmla="*/ 11925 h 1268099"/>
                    <a:gd name="connsiteX2233" fmla="*/ 1298930 w 1524655"/>
                    <a:gd name="connsiteY2233" fmla="*/ 12192 h 1268099"/>
                    <a:gd name="connsiteX2234" fmla="*/ 1300946 w 1524655"/>
                    <a:gd name="connsiteY2234" fmla="*/ 15082 h 1268099"/>
                    <a:gd name="connsiteX2235" fmla="*/ 1303702 w 1524655"/>
                    <a:gd name="connsiteY2235" fmla="*/ 20400 h 1268099"/>
                    <a:gd name="connsiteX2236" fmla="*/ 1305184 w 1524655"/>
                    <a:gd name="connsiteY2236" fmla="*/ 22647 h 1268099"/>
                    <a:gd name="connsiteX2237" fmla="*/ 1312882 w 1524655"/>
                    <a:gd name="connsiteY2237" fmla="*/ 31001 h 1268099"/>
                    <a:gd name="connsiteX2238" fmla="*/ 1315529 w 1524655"/>
                    <a:gd name="connsiteY2238" fmla="*/ 35105 h 1268099"/>
                    <a:gd name="connsiteX2239" fmla="*/ 1316501 w 1524655"/>
                    <a:gd name="connsiteY2239" fmla="*/ 37146 h 1268099"/>
                    <a:gd name="connsiteX2240" fmla="*/ 1320120 w 1524655"/>
                    <a:gd name="connsiteY2240" fmla="*/ 48305 h 1268099"/>
                    <a:gd name="connsiteX2241" fmla="*/ 1321285 w 1524655"/>
                    <a:gd name="connsiteY2241" fmla="*/ 50284 h 1268099"/>
                    <a:gd name="connsiteX2242" fmla="*/ 1322414 w 1524655"/>
                    <a:gd name="connsiteY2242" fmla="*/ 51183 h 1268099"/>
                    <a:gd name="connsiteX2243" fmla="*/ 1323568 w 1524655"/>
                    <a:gd name="connsiteY2243" fmla="*/ 51013 h 1268099"/>
                    <a:gd name="connsiteX2244" fmla="*/ 1324369 w 1524655"/>
                    <a:gd name="connsiteY2244" fmla="*/ 49981 h 1268099"/>
                    <a:gd name="connsiteX2245" fmla="*/ 1325001 w 1524655"/>
                    <a:gd name="connsiteY2245" fmla="*/ 47503 h 1268099"/>
                    <a:gd name="connsiteX2246" fmla="*/ 1324831 w 1524655"/>
                    <a:gd name="connsiteY2246" fmla="*/ 45694 h 1268099"/>
                    <a:gd name="connsiteX2247" fmla="*/ 1324491 w 1524655"/>
                    <a:gd name="connsiteY2247" fmla="*/ 44200 h 1268099"/>
                    <a:gd name="connsiteX2248" fmla="*/ 1324029 w 1524655"/>
                    <a:gd name="connsiteY2248" fmla="*/ 42925 h 1268099"/>
                    <a:gd name="connsiteX2249" fmla="*/ 1323677 w 1524655"/>
                    <a:gd name="connsiteY2249" fmla="*/ 41189 h 1268099"/>
                    <a:gd name="connsiteX2250" fmla="*/ 1323750 w 1524655"/>
                    <a:gd name="connsiteY2250" fmla="*/ 39635 h 1268099"/>
                    <a:gd name="connsiteX2251" fmla="*/ 1324029 w 1524655"/>
                    <a:gd name="connsiteY2251" fmla="*/ 38396 h 1268099"/>
                    <a:gd name="connsiteX2252" fmla="*/ 1324418 w 1524655"/>
                    <a:gd name="connsiteY2252" fmla="*/ 37352 h 1268099"/>
                    <a:gd name="connsiteX2253" fmla="*/ 1324540 w 1524655"/>
                    <a:gd name="connsiteY2253" fmla="*/ 37182 h 1268099"/>
                    <a:gd name="connsiteX2254" fmla="*/ 1325814 w 1524655"/>
                    <a:gd name="connsiteY2254" fmla="*/ 36174 h 1268099"/>
                    <a:gd name="connsiteX2255" fmla="*/ 1327247 w 1524655"/>
                    <a:gd name="connsiteY2255" fmla="*/ 35603 h 1268099"/>
                    <a:gd name="connsiteX2256" fmla="*/ 1328741 w 1524655"/>
                    <a:gd name="connsiteY2256" fmla="*/ 35518 h 1268099"/>
                    <a:gd name="connsiteX2257" fmla="*/ 1330344 w 1524655"/>
                    <a:gd name="connsiteY2257" fmla="*/ 35603 h 1268099"/>
                    <a:gd name="connsiteX2258" fmla="*/ 1334363 w 1524655"/>
                    <a:gd name="connsiteY2258" fmla="*/ 37413 h 1268099"/>
                    <a:gd name="connsiteX2259" fmla="*/ 1337411 w 1524655"/>
                    <a:gd name="connsiteY2259" fmla="*/ 44783 h 1268099"/>
                    <a:gd name="connsiteX2260" fmla="*/ 1338905 w 1524655"/>
                    <a:gd name="connsiteY2260" fmla="*/ 52846 h 1268099"/>
                    <a:gd name="connsiteX2261" fmla="*/ 1339488 w 1524655"/>
                    <a:gd name="connsiteY2261" fmla="*/ 53903 h 1268099"/>
                    <a:gd name="connsiteX2262" fmla="*/ 1341430 w 1524655"/>
                    <a:gd name="connsiteY2262" fmla="*/ 56477 h 1268099"/>
                    <a:gd name="connsiteX2263" fmla="*/ 1343434 w 1524655"/>
                    <a:gd name="connsiteY2263" fmla="*/ 62415 h 1268099"/>
                    <a:gd name="connsiteX2264" fmla="*/ 1344175 w 1524655"/>
                    <a:gd name="connsiteY2264" fmla="*/ 64588 h 1268099"/>
                    <a:gd name="connsiteX2265" fmla="*/ 1344697 w 1524655"/>
                    <a:gd name="connsiteY2265" fmla="*/ 65548 h 1268099"/>
                    <a:gd name="connsiteX2266" fmla="*/ 1345268 w 1524655"/>
                    <a:gd name="connsiteY2266" fmla="*/ 66373 h 1268099"/>
                    <a:gd name="connsiteX2267" fmla="*/ 1346591 w 1524655"/>
                    <a:gd name="connsiteY2267" fmla="*/ 67831 h 1268099"/>
                    <a:gd name="connsiteX2268" fmla="*/ 1347672 w 1524655"/>
                    <a:gd name="connsiteY2268" fmla="*/ 69494 h 1268099"/>
                    <a:gd name="connsiteX2269" fmla="*/ 1348716 w 1524655"/>
                    <a:gd name="connsiteY2269" fmla="*/ 71449 h 1268099"/>
                    <a:gd name="connsiteX2270" fmla="*/ 1349238 w 1524655"/>
                    <a:gd name="connsiteY2270" fmla="*/ 72275 h 1268099"/>
                    <a:gd name="connsiteX2271" fmla="*/ 1349991 w 1524655"/>
                    <a:gd name="connsiteY2271" fmla="*/ 72918 h 1268099"/>
                    <a:gd name="connsiteX2272" fmla="*/ 1350780 w 1524655"/>
                    <a:gd name="connsiteY2272" fmla="*/ 73380 h 1268099"/>
                    <a:gd name="connsiteX2273" fmla="*/ 1352274 w 1524655"/>
                    <a:gd name="connsiteY2273" fmla="*/ 74643 h 1268099"/>
                    <a:gd name="connsiteX2274" fmla="*/ 1353245 w 1524655"/>
                    <a:gd name="connsiteY2274" fmla="*/ 75153 h 1268099"/>
                    <a:gd name="connsiteX2275" fmla="*/ 1362098 w 1524655"/>
                    <a:gd name="connsiteY2275" fmla="*/ 74619 h 1268099"/>
                    <a:gd name="connsiteX2276" fmla="*/ 1371108 w 1524655"/>
                    <a:gd name="connsiteY2276" fmla="*/ 74898 h 1268099"/>
                    <a:gd name="connsiteX2277" fmla="*/ 1381793 w 1524655"/>
                    <a:gd name="connsiteY2277" fmla="*/ 72676 h 1268099"/>
                    <a:gd name="connsiteX2278" fmla="*/ 1384951 w 1524655"/>
                    <a:gd name="connsiteY2278" fmla="*/ 72761 h 1268099"/>
                    <a:gd name="connsiteX2279" fmla="*/ 1387246 w 1524655"/>
                    <a:gd name="connsiteY2279" fmla="*/ 73623 h 1268099"/>
                    <a:gd name="connsiteX2280" fmla="*/ 1389031 w 1524655"/>
                    <a:gd name="connsiteY2280" fmla="*/ 75068 h 1268099"/>
                    <a:gd name="connsiteX2281" fmla="*/ 1390986 w 1524655"/>
                    <a:gd name="connsiteY2281" fmla="*/ 75724 h 1268099"/>
                    <a:gd name="connsiteX2282" fmla="*/ 1395976 w 1524655"/>
                    <a:gd name="connsiteY2282" fmla="*/ 75906 h 1268099"/>
                    <a:gd name="connsiteX2283" fmla="*/ 1397640 w 1524655"/>
                    <a:gd name="connsiteY2283" fmla="*/ 76646 h 1268099"/>
                    <a:gd name="connsiteX2284" fmla="*/ 1400275 w 1524655"/>
                    <a:gd name="connsiteY2284" fmla="*/ 78626 h 1268099"/>
                    <a:gd name="connsiteX2285" fmla="*/ 1401951 w 1524655"/>
                    <a:gd name="connsiteY2285" fmla="*/ 79124 h 1268099"/>
                    <a:gd name="connsiteX2286" fmla="*/ 1405739 w 1524655"/>
                    <a:gd name="connsiteY2286" fmla="*/ 78577 h 1268099"/>
                    <a:gd name="connsiteX2287" fmla="*/ 1419109 w 1524655"/>
                    <a:gd name="connsiteY2287" fmla="*/ 75213 h 1268099"/>
                    <a:gd name="connsiteX2288" fmla="*/ 1431106 w 1524655"/>
                    <a:gd name="connsiteY2288" fmla="*/ 74461 h 1268099"/>
                    <a:gd name="connsiteX2289" fmla="*/ 1434567 w 1524655"/>
                    <a:gd name="connsiteY2289" fmla="*/ 73064 h 1268099"/>
                    <a:gd name="connsiteX2290" fmla="*/ 1437493 w 1524655"/>
                    <a:gd name="connsiteY2290" fmla="*/ 70842 h 1268099"/>
                    <a:gd name="connsiteX2291" fmla="*/ 1440711 w 1524655"/>
                    <a:gd name="connsiteY2291" fmla="*/ 66653 h 1268099"/>
                    <a:gd name="connsiteX2292" fmla="*/ 1442205 w 1524655"/>
                    <a:gd name="connsiteY2292" fmla="*/ 63228 h 1268099"/>
                    <a:gd name="connsiteX2293" fmla="*/ 1443917 w 1524655"/>
                    <a:gd name="connsiteY2293" fmla="*/ 57874 h 1268099"/>
                    <a:gd name="connsiteX2294" fmla="*/ 1444949 w 1524655"/>
                    <a:gd name="connsiteY2294" fmla="*/ 56635 h 1268099"/>
                    <a:gd name="connsiteX2295" fmla="*/ 1446224 w 1524655"/>
                    <a:gd name="connsiteY2295" fmla="*/ 56088 h 1268099"/>
                    <a:gd name="connsiteX2296" fmla="*/ 1448288 w 1524655"/>
                    <a:gd name="connsiteY2296" fmla="*/ 56465 h 1268099"/>
                    <a:gd name="connsiteX2297" fmla="*/ 1449952 w 1524655"/>
                    <a:gd name="connsiteY2297" fmla="*/ 56514 h 1268099"/>
                    <a:gd name="connsiteX2298" fmla="*/ 1451676 w 1524655"/>
                    <a:gd name="connsiteY2298" fmla="*/ 55979 h 1268099"/>
                    <a:gd name="connsiteX2299" fmla="*/ 1458282 w 1524655"/>
                    <a:gd name="connsiteY2299" fmla="*/ 47819 h 1268099"/>
                    <a:gd name="connsiteX2300" fmla="*/ 1459205 w 1524655"/>
                    <a:gd name="connsiteY2300" fmla="*/ 46423 h 1268099"/>
                    <a:gd name="connsiteX2301" fmla="*/ 1459484 w 1524655"/>
                    <a:gd name="connsiteY2301" fmla="*/ 45233 h 1268099"/>
                    <a:gd name="connsiteX2302" fmla="*/ 1459132 w 1524655"/>
                    <a:gd name="connsiteY2302" fmla="*/ 44334 h 1268099"/>
                    <a:gd name="connsiteX2303" fmla="*/ 1458622 w 1524655"/>
                    <a:gd name="connsiteY2303" fmla="*/ 43569 h 1268099"/>
                    <a:gd name="connsiteX2304" fmla="*/ 1458282 w 1524655"/>
                    <a:gd name="connsiteY2304" fmla="*/ 42622 h 1268099"/>
                    <a:gd name="connsiteX2305" fmla="*/ 1458440 w 1524655"/>
                    <a:gd name="connsiteY2305" fmla="*/ 41371 h 1268099"/>
                    <a:gd name="connsiteX2306" fmla="*/ 1458962 w 1524655"/>
                    <a:gd name="connsiteY2306" fmla="*/ 39950 h 1268099"/>
                    <a:gd name="connsiteX2307" fmla="*/ 1460516 w 1524655"/>
                    <a:gd name="connsiteY2307" fmla="*/ 37327 h 1268099"/>
                    <a:gd name="connsiteX2308" fmla="*/ 1460516 w 1524655"/>
                    <a:gd name="connsiteY2308" fmla="*/ 37158 h 1268099"/>
                    <a:gd name="connsiteX2309" fmla="*/ 1460455 w 1524655"/>
                    <a:gd name="connsiteY2309" fmla="*/ 36004 h 1268099"/>
                    <a:gd name="connsiteX2310" fmla="*/ 1459484 w 1524655"/>
                    <a:gd name="connsiteY2310" fmla="*/ 33757 h 1268099"/>
                    <a:gd name="connsiteX2311" fmla="*/ 1459205 w 1524655"/>
                    <a:gd name="connsiteY2311" fmla="*/ 32361 h 1268099"/>
                    <a:gd name="connsiteX2312" fmla="*/ 1459654 w 1524655"/>
                    <a:gd name="connsiteY2312" fmla="*/ 31414 h 1268099"/>
                    <a:gd name="connsiteX2313" fmla="*/ 1460759 w 1524655"/>
                    <a:gd name="connsiteY2313" fmla="*/ 30904 h 1268099"/>
                    <a:gd name="connsiteX2314" fmla="*/ 1463333 w 1524655"/>
                    <a:gd name="connsiteY2314" fmla="*/ 31074 h 1268099"/>
                    <a:gd name="connsiteX2315" fmla="*/ 1465507 w 1524655"/>
                    <a:gd name="connsiteY2315" fmla="*/ 31499 h 1268099"/>
                    <a:gd name="connsiteX2316" fmla="*/ 1467863 w 1524655"/>
                    <a:gd name="connsiteY2316" fmla="*/ 31584 h 1268099"/>
                    <a:gd name="connsiteX2317" fmla="*/ 1470060 w 1524655"/>
                    <a:gd name="connsiteY2317" fmla="*/ 30989 h 1268099"/>
                    <a:gd name="connsiteX2318" fmla="*/ 1475853 w 1524655"/>
                    <a:gd name="connsiteY2318" fmla="*/ 25877 h 1268099"/>
                    <a:gd name="connsiteX2319" fmla="*/ 1477856 w 1524655"/>
                    <a:gd name="connsiteY2319" fmla="*/ 24493 h 1268099"/>
                    <a:gd name="connsiteX2320" fmla="*/ 1491869 w 1524655"/>
                    <a:gd name="connsiteY2320" fmla="*/ 17838 h 1268099"/>
                    <a:gd name="connsiteX2321" fmla="*/ 1493836 w 1524655"/>
                    <a:gd name="connsiteY2321" fmla="*/ 18263 h 1268099"/>
                    <a:gd name="connsiteX2322" fmla="*/ 1494747 w 1524655"/>
                    <a:gd name="connsiteY2322" fmla="*/ 19186 h 1268099"/>
                    <a:gd name="connsiteX2323" fmla="*/ 1495597 w 1524655"/>
                    <a:gd name="connsiteY2323" fmla="*/ 19842 h 1268099"/>
                    <a:gd name="connsiteX2324" fmla="*/ 1497151 w 1524655"/>
                    <a:gd name="connsiteY2324" fmla="*/ 19878 h 1268099"/>
                    <a:gd name="connsiteX2325" fmla="*/ 1499276 w 1524655"/>
                    <a:gd name="connsiteY2325" fmla="*/ 17838 h 1268099"/>
                    <a:gd name="connsiteX2326" fmla="*/ 1500418 w 1524655"/>
                    <a:gd name="connsiteY2326" fmla="*/ 15616 h 1268099"/>
                    <a:gd name="connsiteX2327" fmla="*/ 1500831 w 1524655"/>
                    <a:gd name="connsiteY2327" fmla="*/ 12969 h 1268099"/>
                    <a:gd name="connsiteX2328" fmla="*/ 1500600 w 1524655"/>
                    <a:gd name="connsiteY2328" fmla="*/ 11196 h 1268099"/>
                    <a:gd name="connsiteX2329" fmla="*/ 1500260 w 1524655"/>
                    <a:gd name="connsiteY2329" fmla="*/ 10006 h 1268099"/>
                    <a:gd name="connsiteX2330" fmla="*/ 1499628 w 1524655"/>
                    <a:gd name="connsiteY2330" fmla="*/ 8767 h 1268099"/>
                    <a:gd name="connsiteX2331" fmla="*/ 1499337 w 1524655"/>
                    <a:gd name="connsiteY2331" fmla="*/ 7553 h 1268099"/>
                    <a:gd name="connsiteX2332" fmla="*/ 1500139 w 1524655"/>
                    <a:gd name="connsiteY2332" fmla="*/ 6727 h 1268099"/>
                    <a:gd name="connsiteX2333" fmla="*/ 1501802 w 1524655"/>
                    <a:gd name="connsiteY2333" fmla="*/ 6120 h 1268099"/>
                    <a:gd name="connsiteX2334" fmla="*/ 1504388 w 1524655"/>
                    <a:gd name="connsiteY2334" fmla="*/ 6205 h 1268099"/>
                    <a:gd name="connsiteX2335" fmla="*/ 1504194 w 1524655"/>
                    <a:gd name="connsiteY2335" fmla="*/ 134 h 1268099"/>
                    <a:gd name="connsiteX2336" fmla="*/ 1503939 w 1524655"/>
                    <a:gd name="connsiteY2336" fmla="*/ 146 h 1268099"/>
                    <a:gd name="connsiteX2337" fmla="*/ 1501353 w 1524655"/>
                    <a:gd name="connsiteY2337" fmla="*/ 340 h 1268099"/>
                    <a:gd name="connsiteX2338" fmla="*/ 1500515 w 1524655"/>
                    <a:gd name="connsiteY2338" fmla="*/ 413 h 1268099"/>
                    <a:gd name="connsiteX2339" fmla="*/ 1499726 w 1524655"/>
                    <a:gd name="connsiteY2339" fmla="*/ 692 h 1268099"/>
                    <a:gd name="connsiteX2340" fmla="*/ 1498062 w 1524655"/>
                    <a:gd name="connsiteY2340" fmla="*/ 1300 h 1268099"/>
                    <a:gd name="connsiteX2341" fmla="*/ 1496739 w 1524655"/>
                    <a:gd name="connsiteY2341" fmla="*/ 1773 h 1268099"/>
                    <a:gd name="connsiteX2342" fmla="*/ 1495755 w 1524655"/>
                    <a:gd name="connsiteY2342" fmla="*/ 2793 h 1268099"/>
                    <a:gd name="connsiteX2343" fmla="*/ 1494953 w 1524655"/>
                    <a:gd name="connsiteY2343" fmla="*/ 3619 h 1268099"/>
                    <a:gd name="connsiteX2344" fmla="*/ 1492646 w 1524655"/>
                    <a:gd name="connsiteY2344" fmla="*/ 6011 h 1268099"/>
                    <a:gd name="connsiteX2345" fmla="*/ 1493424 w 1524655"/>
                    <a:gd name="connsiteY2345" fmla="*/ 9253 h 1268099"/>
                    <a:gd name="connsiteX2346" fmla="*/ 1493715 w 1524655"/>
                    <a:gd name="connsiteY2346" fmla="*/ 10467 h 1268099"/>
                    <a:gd name="connsiteX2347" fmla="*/ 1493885 w 1524655"/>
                    <a:gd name="connsiteY2347" fmla="*/ 11172 h 1268099"/>
                    <a:gd name="connsiteX2348" fmla="*/ 1494213 w 1524655"/>
                    <a:gd name="connsiteY2348" fmla="*/ 11827 h 1268099"/>
                    <a:gd name="connsiteX2349" fmla="*/ 1494541 w 1524655"/>
                    <a:gd name="connsiteY2349" fmla="*/ 12471 h 1268099"/>
                    <a:gd name="connsiteX2350" fmla="*/ 1493144 w 1524655"/>
                    <a:gd name="connsiteY2350" fmla="*/ 12180 h 1268099"/>
                    <a:gd name="connsiteX2351" fmla="*/ 1491116 w 1524655"/>
                    <a:gd name="connsiteY2351" fmla="*/ 11742 h 1268099"/>
                    <a:gd name="connsiteX2352" fmla="*/ 1489246 w 1524655"/>
                    <a:gd name="connsiteY2352" fmla="*/ 12617 h 1268099"/>
                    <a:gd name="connsiteX2353" fmla="*/ 1475233 w 1524655"/>
                    <a:gd name="connsiteY2353" fmla="*/ 19271 h 1268099"/>
                    <a:gd name="connsiteX2354" fmla="*/ 1474784 w 1524655"/>
                    <a:gd name="connsiteY2354" fmla="*/ 19490 h 1268099"/>
                    <a:gd name="connsiteX2355" fmla="*/ 1474371 w 1524655"/>
                    <a:gd name="connsiteY2355" fmla="*/ 19769 h 1268099"/>
                    <a:gd name="connsiteX2356" fmla="*/ 1472368 w 1524655"/>
                    <a:gd name="connsiteY2356" fmla="*/ 21153 h 1268099"/>
                    <a:gd name="connsiteX2357" fmla="*/ 1472076 w 1524655"/>
                    <a:gd name="connsiteY2357" fmla="*/ 21359 h 1268099"/>
                    <a:gd name="connsiteX2358" fmla="*/ 1471809 w 1524655"/>
                    <a:gd name="connsiteY2358" fmla="*/ 21603 h 1268099"/>
                    <a:gd name="connsiteX2359" fmla="*/ 1467098 w 1524655"/>
                    <a:gd name="connsiteY2359" fmla="*/ 25755 h 1268099"/>
                    <a:gd name="connsiteX2360" fmla="*/ 1466175 w 1524655"/>
                    <a:gd name="connsiteY2360" fmla="*/ 25731 h 1268099"/>
                    <a:gd name="connsiteX2361" fmla="*/ 1464475 w 1524655"/>
                    <a:gd name="connsiteY2361" fmla="*/ 25403 h 1268099"/>
                    <a:gd name="connsiteX2362" fmla="*/ 1464086 w 1524655"/>
                    <a:gd name="connsiteY2362" fmla="*/ 25318 h 1268099"/>
                    <a:gd name="connsiteX2363" fmla="*/ 1463698 w 1524655"/>
                    <a:gd name="connsiteY2363" fmla="*/ 25294 h 1268099"/>
                    <a:gd name="connsiteX2364" fmla="*/ 1461123 w 1524655"/>
                    <a:gd name="connsiteY2364" fmla="*/ 25124 h 1268099"/>
                    <a:gd name="connsiteX2365" fmla="*/ 1459593 w 1524655"/>
                    <a:gd name="connsiteY2365" fmla="*/ 25027 h 1268099"/>
                    <a:gd name="connsiteX2366" fmla="*/ 1458197 w 1524655"/>
                    <a:gd name="connsiteY2366" fmla="*/ 25670 h 1268099"/>
                    <a:gd name="connsiteX2367" fmla="*/ 1457092 w 1524655"/>
                    <a:gd name="connsiteY2367" fmla="*/ 26180 h 1268099"/>
                    <a:gd name="connsiteX2368" fmla="*/ 1455076 w 1524655"/>
                    <a:gd name="connsiteY2368" fmla="*/ 27103 h 1268099"/>
                    <a:gd name="connsiteX2369" fmla="*/ 1454129 w 1524655"/>
                    <a:gd name="connsiteY2369" fmla="*/ 29119 h 1268099"/>
                    <a:gd name="connsiteX2370" fmla="*/ 1453680 w 1524655"/>
                    <a:gd name="connsiteY2370" fmla="*/ 30066 h 1268099"/>
                    <a:gd name="connsiteX2371" fmla="*/ 1452830 w 1524655"/>
                    <a:gd name="connsiteY2371" fmla="*/ 31863 h 1268099"/>
                    <a:gd name="connsiteX2372" fmla="*/ 1453218 w 1524655"/>
                    <a:gd name="connsiteY2372" fmla="*/ 33818 h 1268099"/>
                    <a:gd name="connsiteX2373" fmla="*/ 1453497 w 1524655"/>
                    <a:gd name="connsiteY2373" fmla="*/ 35215 h 1268099"/>
                    <a:gd name="connsiteX2374" fmla="*/ 1453619 w 1524655"/>
                    <a:gd name="connsiteY2374" fmla="*/ 35846 h 1268099"/>
                    <a:gd name="connsiteX2375" fmla="*/ 1453874 w 1524655"/>
                    <a:gd name="connsiteY2375" fmla="*/ 36441 h 1268099"/>
                    <a:gd name="connsiteX2376" fmla="*/ 1453971 w 1524655"/>
                    <a:gd name="connsiteY2376" fmla="*/ 36672 h 1268099"/>
                    <a:gd name="connsiteX2377" fmla="*/ 1453704 w 1524655"/>
                    <a:gd name="connsiteY2377" fmla="*/ 37121 h 1268099"/>
                    <a:gd name="connsiteX2378" fmla="*/ 1453425 w 1524655"/>
                    <a:gd name="connsiteY2378" fmla="*/ 37595 h 1268099"/>
                    <a:gd name="connsiteX2379" fmla="*/ 1453230 w 1524655"/>
                    <a:gd name="connsiteY2379" fmla="*/ 38129 h 1268099"/>
                    <a:gd name="connsiteX2380" fmla="*/ 1452708 w 1524655"/>
                    <a:gd name="connsiteY2380" fmla="*/ 39550 h 1268099"/>
                    <a:gd name="connsiteX2381" fmla="*/ 1452465 w 1524655"/>
                    <a:gd name="connsiteY2381" fmla="*/ 40193 h 1268099"/>
                    <a:gd name="connsiteX2382" fmla="*/ 1452380 w 1524655"/>
                    <a:gd name="connsiteY2382" fmla="*/ 40873 h 1268099"/>
                    <a:gd name="connsiteX2383" fmla="*/ 1452223 w 1524655"/>
                    <a:gd name="connsiteY2383" fmla="*/ 42124 h 1268099"/>
                    <a:gd name="connsiteX2384" fmla="*/ 1452040 w 1524655"/>
                    <a:gd name="connsiteY2384" fmla="*/ 43557 h 1268099"/>
                    <a:gd name="connsiteX2385" fmla="*/ 1452526 w 1524655"/>
                    <a:gd name="connsiteY2385" fmla="*/ 44929 h 1268099"/>
                    <a:gd name="connsiteX2386" fmla="*/ 1452684 w 1524655"/>
                    <a:gd name="connsiteY2386" fmla="*/ 45354 h 1268099"/>
                    <a:gd name="connsiteX2387" fmla="*/ 1448422 w 1524655"/>
                    <a:gd name="connsiteY2387" fmla="*/ 50600 h 1268099"/>
                    <a:gd name="connsiteX2388" fmla="*/ 1447292 w 1524655"/>
                    <a:gd name="connsiteY2388" fmla="*/ 50381 h 1268099"/>
                    <a:gd name="connsiteX2389" fmla="*/ 1445495 w 1524655"/>
                    <a:gd name="connsiteY2389" fmla="*/ 50053 h 1268099"/>
                    <a:gd name="connsiteX2390" fmla="*/ 1443808 w 1524655"/>
                    <a:gd name="connsiteY2390" fmla="*/ 50782 h 1268099"/>
                    <a:gd name="connsiteX2391" fmla="*/ 1442532 w 1524655"/>
                    <a:gd name="connsiteY2391" fmla="*/ 51328 h 1268099"/>
                    <a:gd name="connsiteX2392" fmla="*/ 1441197 w 1524655"/>
                    <a:gd name="connsiteY2392" fmla="*/ 51911 h 1268099"/>
                    <a:gd name="connsiteX2393" fmla="*/ 1440262 w 1524655"/>
                    <a:gd name="connsiteY2393" fmla="*/ 53016 h 1268099"/>
                    <a:gd name="connsiteX2394" fmla="*/ 1439229 w 1524655"/>
                    <a:gd name="connsiteY2394" fmla="*/ 54255 h 1268099"/>
                    <a:gd name="connsiteX2395" fmla="*/ 1438465 w 1524655"/>
                    <a:gd name="connsiteY2395" fmla="*/ 55165 h 1268099"/>
                    <a:gd name="connsiteX2396" fmla="*/ 1438100 w 1524655"/>
                    <a:gd name="connsiteY2396" fmla="*/ 56307 h 1268099"/>
                    <a:gd name="connsiteX2397" fmla="*/ 1436485 w 1524655"/>
                    <a:gd name="connsiteY2397" fmla="*/ 61371 h 1268099"/>
                    <a:gd name="connsiteX2398" fmla="*/ 1435405 w 1524655"/>
                    <a:gd name="connsiteY2398" fmla="*/ 63836 h 1268099"/>
                    <a:gd name="connsiteX2399" fmla="*/ 1433146 w 1524655"/>
                    <a:gd name="connsiteY2399" fmla="*/ 66774 h 1268099"/>
                    <a:gd name="connsiteX2400" fmla="*/ 1431507 w 1524655"/>
                    <a:gd name="connsiteY2400" fmla="*/ 68025 h 1268099"/>
                    <a:gd name="connsiteX2401" fmla="*/ 1429709 w 1524655"/>
                    <a:gd name="connsiteY2401" fmla="*/ 68754 h 1268099"/>
                    <a:gd name="connsiteX2402" fmla="*/ 1418696 w 1524655"/>
                    <a:gd name="connsiteY2402" fmla="*/ 69446 h 1268099"/>
                    <a:gd name="connsiteX2403" fmla="*/ 1418137 w 1524655"/>
                    <a:gd name="connsiteY2403" fmla="*/ 69482 h 1268099"/>
                    <a:gd name="connsiteX2404" fmla="*/ 1417591 w 1524655"/>
                    <a:gd name="connsiteY2404" fmla="*/ 69615 h 1268099"/>
                    <a:gd name="connsiteX2405" fmla="*/ 1404525 w 1524655"/>
                    <a:gd name="connsiteY2405" fmla="*/ 72907 h 1268099"/>
                    <a:gd name="connsiteX2406" fmla="*/ 1402692 w 1524655"/>
                    <a:gd name="connsiteY2406" fmla="*/ 73161 h 1268099"/>
                    <a:gd name="connsiteX2407" fmla="*/ 1401246 w 1524655"/>
                    <a:gd name="connsiteY2407" fmla="*/ 72069 h 1268099"/>
                    <a:gd name="connsiteX2408" fmla="*/ 1400688 w 1524655"/>
                    <a:gd name="connsiteY2408" fmla="*/ 71655 h 1268099"/>
                    <a:gd name="connsiteX2409" fmla="*/ 1400056 w 1524655"/>
                    <a:gd name="connsiteY2409" fmla="*/ 71389 h 1268099"/>
                    <a:gd name="connsiteX2410" fmla="*/ 1398393 w 1524655"/>
                    <a:gd name="connsiteY2410" fmla="*/ 70648 h 1268099"/>
                    <a:gd name="connsiteX2411" fmla="*/ 1397324 w 1524655"/>
                    <a:gd name="connsiteY2411" fmla="*/ 70174 h 1268099"/>
                    <a:gd name="connsiteX2412" fmla="*/ 1396146 w 1524655"/>
                    <a:gd name="connsiteY2412" fmla="*/ 70126 h 1268099"/>
                    <a:gd name="connsiteX2413" fmla="*/ 1392030 w 1524655"/>
                    <a:gd name="connsiteY2413" fmla="*/ 69980 h 1268099"/>
                    <a:gd name="connsiteX2414" fmla="*/ 1391945 w 1524655"/>
                    <a:gd name="connsiteY2414" fmla="*/ 69956 h 1268099"/>
                    <a:gd name="connsiteX2415" fmla="*/ 1391022 w 1524655"/>
                    <a:gd name="connsiteY2415" fmla="*/ 69203 h 1268099"/>
                    <a:gd name="connsiteX2416" fmla="*/ 1390257 w 1524655"/>
                    <a:gd name="connsiteY2416" fmla="*/ 68583 h 1268099"/>
                    <a:gd name="connsiteX2417" fmla="*/ 1389334 w 1524655"/>
                    <a:gd name="connsiteY2417" fmla="*/ 68244 h 1268099"/>
                    <a:gd name="connsiteX2418" fmla="*/ 1387039 w 1524655"/>
                    <a:gd name="connsiteY2418" fmla="*/ 67381 h 1268099"/>
                    <a:gd name="connsiteX2419" fmla="*/ 1386080 w 1524655"/>
                    <a:gd name="connsiteY2419" fmla="*/ 67017 h 1268099"/>
                    <a:gd name="connsiteX2420" fmla="*/ 1385060 w 1524655"/>
                    <a:gd name="connsiteY2420" fmla="*/ 66993 h 1268099"/>
                    <a:gd name="connsiteX2421" fmla="*/ 1381903 w 1524655"/>
                    <a:gd name="connsiteY2421" fmla="*/ 66908 h 1268099"/>
                    <a:gd name="connsiteX2422" fmla="*/ 1381198 w 1524655"/>
                    <a:gd name="connsiteY2422" fmla="*/ 66895 h 1268099"/>
                    <a:gd name="connsiteX2423" fmla="*/ 1380506 w 1524655"/>
                    <a:gd name="connsiteY2423" fmla="*/ 67041 h 1268099"/>
                    <a:gd name="connsiteX2424" fmla="*/ 1370525 w 1524655"/>
                    <a:gd name="connsiteY2424" fmla="*/ 69106 h 1268099"/>
                    <a:gd name="connsiteX2425" fmla="*/ 1362231 w 1524655"/>
                    <a:gd name="connsiteY2425" fmla="*/ 68851 h 1268099"/>
                    <a:gd name="connsiteX2426" fmla="*/ 1354909 w 1524655"/>
                    <a:gd name="connsiteY2426" fmla="*/ 69276 h 1268099"/>
                    <a:gd name="connsiteX2427" fmla="*/ 1354630 w 1524655"/>
                    <a:gd name="connsiteY2427" fmla="*/ 69033 h 1268099"/>
                    <a:gd name="connsiteX2428" fmla="*/ 1354241 w 1524655"/>
                    <a:gd name="connsiteY2428" fmla="*/ 68705 h 1268099"/>
                    <a:gd name="connsiteX2429" fmla="*/ 1353792 w 1524655"/>
                    <a:gd name="connsiteY2429" fmla="*/ 68450 h 1268099"/>
                    <a:gd name="connsiteX2430" fmla="*/ 1353743 w 1524655"/>
                    <a:gd name="connsiteY2430" fmla="*/ 68426 h 1268099"/>
                    <a:gd name="connsiteX2431" fmla="*/ 1352978 w 1524655"/>
                    <a:gd name="connsiteY2431" fmla="*/ 66944 h 1268099"/>
                    <a:gd name="connsiteX2432" fmla="*/ 1351618 w 1524655"/>
                    <a:gd name="connsiteY2432" fmla="*/ 64819 h 1268099"/>
                    <a:gd name="connsiteX2433" fmla="*/ 1351363 w 1524655"/>
                    <a:gd name="connsiteY2433" fmla="*/ 64419 h 1268099"/>
                    <a:gd name="connsiteX2434" fmla="*/ 1351048 w 1524655"/>
                    <a:gd name="connsiteY2434" fmla="*/ 64066 h 1268099"/>
                    <a:gd name="connsiteX2435" fmla="*/ 1350003 w 1524655"/>
                    <a:gd name="connsiteY2435" fmla="*/ 62913 h 1268099"/>
                    <a:gd name="connsiteX2436" fmla="*/ 1349845 w 1524655"/>
                    <a:gd name="connsiteY2436" fmla="*/ 62670 h 1268099"/>
                    <a:gd name="connsiteX2437" fmla="*/ 1349712 w 1524655"/>
                    <a:gd name="connsiteY2437" fmla="*/ 62439 h 1268099"/>
                    <a:gd name="connsiteX2438" fmla="*/ 1349141 w 1524655"/>
                    <a:gd name="connsiteY2438" fmla="*/ 60751 h 1268099"/>
                    <a:gd name="connsiteX2439" fmla="*/ 1347137 w 1524655"/>
                    <a:gd name="connsiteY2439" fmla="*/ 54826 h 1268099"/>
                    <a:gd name="connsiteX2440" fmla="*/ 1346822 w 1524655"/>
                    <a:gd name="connsiteY2440" fmla="*/ 53903 h 1268099"/>
                    <a:gd name="connsiteX2441" fmla="*/ 1346227 w 1524655"/>
                    <a:gd name="connsiteY2441" fmla="*/ 53113 h 1268099"/>
                    <a:gd name="connsiteX2442" fmla="*/ 1344636 w 1524655"/>
                    <a:gd name="connsiteY2442" fmla="*/ 51013 h 1268099"/>
                    <a:gd name="connsiteX2443" fmla="*/ 1343337 w 1524655"/>
                    <a:gd name="connsiteY2443" fmla="*/ 43982 h 1268099"/>
                    <a:gd name="connsiteX2444" fmla="*/ 1343215 w 1524655"/>
                    <a:gd name="connsiteY2444" fmla="*/ 43350 h 1268099"/>
                    <a:gd name="connsiteX2445" fmla="*/ 1342973 w 1524655"/>
                    <a:gd name="connsiteY2445" fmla="*/ 42756 h 1268099"/>
                    <a:gd name="connsiteX2446" fmla="*/ 1339925 w 1524655"/>
                    <a:gd name="connsiteY2446" fmla="*/ 35397 h 1268099"/>
                    <a:gd name="connsiteX2447" fmla="*/ 1339002 w 1524655"/>
                    <a:gd name="connsiteY2447" fmla="*/ 33163 h 1268099"/>
                    <a:gd name="connsiteX2448" fmla="*/ 1336804 w 1524655"/>
                    <a:gd name="connsiteY2448" fmla="*/ 32167 h 1268099"/>
                    <a:gd name="connsiteX2449" fmla="*/ 1332785 w 1524655"/>
                    <a:gd name="connsiteY2449" fmla="*/ 30357 h 1268099"/>
                    <a:gd name="connsiteX2450" fmla="*/ 1331752 w 1524655"/>
                    <a:gd name="connsiteY2450" fmla="*/ 29896 h 1268099"/>
                    <a:gd name="connsiteX2451" fmla="*/ 1330611 w 1524655"/>
                    <a:gd name="connsiteY2451" fmla="*/ 29835 h 1268099"/>
                    <a:gd name="connsiteX2452" fmla="*/ 1329008 w 1524655"/>
                    <a:gd name="connsiteY2452" fmla="*/ 29750 h 1268099"/>
                    <a:gd name="connsiteX2453" fmla="*/ 1328680 w 1524655"/>
                    <a:gd name="connsiteY2453" fmla="*/ 29726 h 1268099"/>
                    <a:gd name="connsiteX2454" fmla="*/ 1328352 w 1524655"/>
                    <a:gd name="connsiteY2454" fmla="*/ 29750 h 1268099"/>
                    <a:gd name="connsiteX2455" fmla="*/ 1326859 w 1524655"/>
                    <a:gd name="connsiteY2455" fmla="*/ 29835 h 1268099"/>
                    <a:gd name="connsiteX2456" fmla="*/ 1325875 w 1524655"/>
                    <a:gd name="connsiteY2456" fmla="*/ 29884 h 1268099"/>
                    <a:gd name="connsiteX2457" fmla="*/ 1324952 w 1524655"/>
                    <a:gd name="connsiteY2457" fmla="*/ 30248 h 1268099"/>
                    <a:gd name="connsiteX2458" fmla="*/ 1323520 w 1524655"/>
                    <a:gd name="connsiteY2458" fmla="*/ 30819 h 1268099"/>
                    <a:gd name="connsiteX2459" fmla="*/ 1322694 w 1524655"/>
                    <a:gd name="connsiteY2459" fmla="*/ 31147 h 1268099"/>
                    <a:gd name="connsiteX2460" fmla="*/ 1321989 w 1524655"/>
                    <a:gd name="connsiteY2460" fmla="*/ 31693 h 1268099"/>
                    <a:gd name="connsiteX2461" fmla="*/ 1320872 w 1524655"/>
                    <a:gd name="connsiteY2461" fmla="*/ 32580 h 1268099"/>
                    <a:gd name="connsiteX2462" fmla="*/ 1320787 w 1524655"/>
                    <a:gd name="connsiteY2462" fmla="*/ 32410 h 1268099"/>
                    <a:gd name="connsiteX2463" fmla="*/ 1320569 w 1524655"/>
                    <a:gd name="connsiteY2463" fmla="*/ 32082 h 1268099"/>
                    <a:gd name="connsiteX2464" fmla="*/ 1317922 w 1524655"/>
                    <a:gd name="connsiteY2464" fmla="*/ 27978 h 1268099"/>
                    <a:gd name="connsiteX2465" fmla="*/ 1317642 w 1524655"/>
                    <a:gd name="connsiteY2465" fmla="*/ 27540 h 1268099"/>
                    <a:gd name="connsiteX2466" fmla="*/ 1317290 w 1524655"/>
                    <a:gd name="connsiteY2466" fmla="*/ 27164 h 1268099"/>
                    <a:gd name="connsiteX2467" fmla="*/ 1309932 w 1524655"/>
                    <a:gd name="connsiteY2467" fmla="*/ 19162 h 1268099"/>
                    <a:gd name="connsiteX2468" fmla="*/ 1308900 w 1524655"/>
                    <a:gd name="connsiteY2468" fmla="*/ 17595 h 1268099"/>
                    <a:gd name="connsiteX2469" fmla="*/ 1306289 w 1524655"/>
                    <a:gd name="connsiteY2469" fmla="*/ 12568 h 1268099"/>
                    <a:gd name="connsiteX2470" fmla="*/ 1306106 w 1524655"/>
                    <a:gd name="connsiteY2470" fmla="*/ 12216 h 1268099"/>
                    <a:gd name="connsiteX2471" fmla="*/ 1305876 w 1524655"/>
                    <a:gd name="connsiteY2471" fmla="*/ 11888 h 1268099"/>
                    <a:gd name="connsiteX2472" fmla="*/ 1303860 w 1524655"/>
                    <a:gd name="connsiteY2472" fmla="*/ 8998 h 1268099"/>
                    <a:gd name="connsiteX2473" fmla="*/ 1302415 w 1524655"/>
                    <a:gd name="connsiteY2473" fmla="*/ 6934 h 1268099"/>
                    <a:gd name="connsiteX2474" fmla="*/ 1299926 w 1524655"/>
                    <a:gd name="connsiteY2474" fmla="*/ 6497 h 1268099"/>
                    <a:gd name="connsiteX2475" fmla="*/ 1298384 w 1524655"/>
                    <a:gd name="connsiteY2475" fmla="*/ 6229 h 1268099"/>
                    <a:gd name="connsiteX2476" fmla="*/ 1295943 w 1524655"/>
                    <a:gd name="connsiteY2476" fmla="*/ 5792 h 1268099"/>
                    <a:gd name="connsiteX2477" fmla="*/ 1293891 w 1524655"/>
                    <a:gd name="connsiteY2477" fmla="*/ 7201 h 1268099"/>
                    <a:gd name="connsiteX2478" fmla="*/ 1292737 w 1524655"/>
                    <a:gd name="connsiteY2478" fmla="*/ 7990 h 1268099"/>
                    <a:gd name="connsiteX2479" fmla="*/ 1291389 w 1524655"/>
                    <a:gd name="connsiteY2479" fmla="*/ 8913 h 1268099"/>
                    <a:gd name="connsiteX2480" fmla="*/ 1290685 w 1524655"/>
                    <a:gd name="connsiteY2480" fmla="*/ 10395 h 1268099"/>
                    <a:gd name="connsiteX2481" fmla="*/ 1289774 w 1524655"/>
                    <a:gd name="connsiteY2481" fmla="*/ 12313 h 1268099"/>
                    <a:gd name="connsiteX2482" fmla="*/ 1289592 w 1524655"/>
                    <a:gd name="connsiteY2482" fmla="*/ 12702 h 1268099"/>
                    <a:gd name="connsiteX2483" fmla="*/ 1289458 w 1524655"/>
                    <a:gd name="connsiteY2483" fmla="*/ 13102 h 1268099"/>
                    <a:gd name="connsiteX2484" fmla="*/ 1288706 w 1524655"/>
                    <a:gd name="connsiteY2484" fmla="*/ 15519 h 1268099"/>
                    <a:gd name="connsiteX2485" fmla="*/ 1288596 w 1524655"/>
                    <a:gd name="connsiteY2485" fmla="*/ 15859 h 1268099"/>
                    <a:gd name="connsiteX2486" fmla="*/ 1288536 w 1524655"/>
                    <a:gd name="connsiteY2486" fmla="*/ 16211 h 1268099"/>
                    <a:gd name="connsiteX2487" fmla="*/ 1288232 w 1524655"/>
                    <a:gd name="connsiteY2487" fmla="*/ 17887 h 1268099"/>
                    <a:gd name="connsiteX2488" fmla="*/ 1287795 w 1524655"/>
                    <a:gd name="connsiteY2488" fmla="*/ 18761 h 1268099"/>
                    <a:gd name="connsiteX2489" fmla="*/ 1287722 w 1524655"/>
                    <a:gd name="connsiteY2489" fmla="*/ 18846 h 1268099"/>
                    <a:gd name="connsiteX2490" fmla="*/ 1285949 w 1524655"/>
                    <a:gd name="connsiteY2490" fmla="*/ 19417 h 1268099"/>
                    <a:gd name="connsiteX2491" fmla="*/ 1285014 w 1524655"/>
                    <a:gd name="connsiteY2491" fmla="*/ 19708 h 1268099"/>
                    <a:gd name="connsiteX2492" fmla="*/ 1284213 w 1524655"/>
                    <a:gd name="connsiteY2492" fmla="*/ 20303 h 1268099"/>
                    <a:gd name="connsiteX2493" fmla="*/ 1282719 w 1524655"/>
                    <a:gd name="connsiteY2493" fmla="*/ 21384 h 1268099"/>
                    <a:gd name="connsiteX2494" fmla="*/ 1282136 w 1524655"/>
                    <a:gd name="connsiteY2494" fmla="*/ 21809 h 1268099"/>
                    <a:gd name="connsiteX2495" fmla="*/ 1281675 w 1524655"/>
                    <a:gd name="connsiteY2495" fmla="*/ 22355 h 1268099"/>
                    <a:gd name="connsiteX2496" fmla="*/ 1280533 w 1524655"/>
                    <a:gd name="connsiteY2496" fmla="*/ 23691 h 1268099"/>
                    <a:gd name="connsiteX2497" fmla="*/ 1279987 w 1524655"/>
                    <a:gd name="connsiteY2497" fmla="*/ 22768 h 1268099"/>
                    <a:gd name="connsiteX2498" fmla="*/ 1279562 w 1524655"/>
                    <a:gd name="connsiteY2498" fmla="*/ 22052 h 1268099"/>
                    <a:gd name="connsiteX2499" fmla="*/ 1278967 w 1524655"/>
                    <a:gd name="connsiteY2499" fmla="*/ 21469 h 1268099"/>
                    <a:gd name="connsiteX2500" fmla="*/ 1277364 w 1524655"/>
                    <a:gd name="connsiteY2500" fmla="*/ 19915 h 1268099"/>
                    <a:gd name="connsiteX2501" fmla="*/ 1276478 w 1524655"/>
                    <a:gd name="connsiteY2501" fmla="*/ 19065 h 1268099"/>
                    <a:gd name="connsiteX2502" fmla="*/ 1275336 w 1524655"/>
                    <a:gd name="connsiteY2502" fmla="*/ 18615 h 1268099"/>
                    <a:gd name="connsiteX2503" fmla="*/ 1273151 w 1524655"/>
                    <a:gd name="connsiteY2503" fmla="*/ 17778 h 1268099"/>
                    <a:gd name="connsiteX2504" fmla="*/ 1270224 w 1524655"/>
                    <a:gd name="connsiteY2504" fmla="*/ 16648 h 1268099"/>
                    <a:gd name="connsiteX2505" fmla="*/ 1267613 w 1524655"/>
                    <a:gd name="connsiteY2505" fmla="*/ 18385 h 1268099"/>
                    <a:gd name="connsiteX2506" fmla="*/ 1266472 w 1524655"/>
                    <a:gd name="connsiteY2506" fmla="*/ 19138 h 1268099"/>
                    <a:gd name="connsiteX2507" fmla="*/ 1264420 w 1524655"/>
                    <a:gd name="connsiteY2507" fmla="*/ 20498 h 1268099"/>
                    <a:gd name="connsiteX2508" fmla="*/ 1263898 w 1524655"/>
                    <a:gd name="connsiteY2508" fmla="*/ 22902 h 1268099"/>
                    <a:gd name="connsiteX2509" fmla="*/ 1263546 w 1524655"/>
                    <a:gd name="connsiteY2509" fmla="*/ 24505 h 1268099"/>
                    <a:gd name="connsiteX2510" fmla="*/ 1263218 w 1524655"/>
                    <a:gd name="connsiteY2510" fmla="*/ 25986 h 1268099"/>
                    <a:gd name="connsiteX2511" fmla="*/ 1263630 w 1524655"/>
                    <a:gd name="connsiteY2511" fmla="*/ 27455 h 1268099"/>
                    <a:gd name="connsiteX2512" fmla="*/ 1264954 w 1524655"/>
                    <a:gd name="connsiteY2512" fmla="*/ 32106 h 1268099"/>
                    <a:gd name="connsiteX2513" fmla="*/ 1264784 w 1524655"/>
                    <a:gd name="connsiteY2513" fmla="*/ 32239 h 1268099"/>
                    <a:gd name="connsiteX2514" fmla="*/ 1263813 w 1524655"/>
                    <a:gd name="connsiteY2514" fmla="*/ 32956 h 1268099"/>
                    <a:gd name="connsiteX2515" fmla="*/ 1263181 w 1524655"/>
                    <a:gd name="connsiteY2515" fmla="*/ 33988 h 1268099"/>
                    <a:gd name="connsiteX2516" fmla="*/ 1263133 w 1524655"/>
                    <a:gd name="connsiteY2516" fmla="*/ 34085 h 1268099"/>
                    <a:gd name="connsiteX2517" fmla="*/ 1262853 w 1524655"/>
                    <a:gd name="connsiteY2517" fmla="*/ 34583 h 1268099"/>
                    <a:gd name="connsiteX2518" fmla="*/ 1262088 w 1524655"/>
                    <a:gd name="connsiteY2518" fmla="*/ 35943 h 1268099"/>
                    <a:gd name="connsiteX2519" fmla="*/ 1262088 w 1524655"/>
                    <a:gd name="connsiteY2519" fmla="*/ 36222 h 1268099"/>
                    <a:gd name="connsiteX2520" fmla="*/ 1260534 w 1524655"/>
                    <a:gd name="connsiteY2520" fmla="*/ 35263 h 1268099"/>
                    <a:gd name="connsiteX2521" fmla="*/ 1259866 w 1524655"/>
                    <a:gd name="connsiteY2521" fmla="*/ 34851 h 1268099"/>
                    <a:gd name="connsiteX2522" fmla="*/ 1259113 w 1524655"/>
                    <a:gd name="connsiteY2522" fmla="*/ 34620 h 1268099"/>
                    <a:gd name="connsiteX2523" fmla="*/ 1255252 w 1524655"/>
                    <a:gd name="connsiteY2523" fmla="*/ 33466 h 1268099"/>
                    <a:gd name="connsiteX2524" fmla="*/ 1254025 w 1524655"/>
                    <a:gd name="connsiteY2524" fmla="*/ 32786 h 1268099"/>
                    <a:gd name="connsiteX2525" fmla="*/ 1253904 w 1524655"/>
                    <a:gd name="connsiteY2525" fmla="*/ 32689 h 1268099"/>
                    <a:gd name="connsiteX2526" fmla="*/ 1253005 w 1524655"/>
                    <a:gd name="connsiteY2526" fmla="*/ 31973 h 1268099"/>
                    <a:gd name="connsiteX2527" fmla="*/ 1251913 w 1524655"/>
                    <a:gd name="connsiteY2527" fmla="*/ 31632 h 1268099"/>
                    <a:gd name="connsiteX2528" fmla="*/ 1249739 w 1524655"/>
                    <a:gd name="connsiteY2528" fmla="*/ 30965 h 1268099"/>
                    <a:gd name="connsiteX2529" fmla="*/ 1248658 w 1524655"/>
                    <a:gd name="connsiteY2529" fmla="*/ 30649 h 1268099"/>
                    <a:gd name="connsiteX2530" fmla="*/ 1247529 w 1524655"/>
                    <a:gd name="connsiteY2530" fmla="*/ 30722 h 1268099"/>
                    <a:gd name="connsiteX2531" fmla="*/ 1245683 w 1524655"/>
                    <a:gd name="connsiteY2531" fmla="*/ 30855 h 1268099"/>
                    <a:gd name="connsiteX2532" fmla="*/ 1245355 w 1524655"/>
                    <a:gd name="connsiteY2532" fmla="*/ 30879 h 1268099"/>
                    <a:gd name="connsiteX2533" fmla="*/ 1245040 w 1524655"/>
                    <a:gd name="connsiteY2533" fmla="*/ 30940 h 1268099"/>
                    <a:gd name="connsiteX2534" fmla="*/ 1243315 w 1524655"/>
                    <a:gd name="connsiteY2534" fmla="*/ 31244 h 1268099"/>
                    <a:gd name="connsiteX2535" fmla="*/ 1242902 w 1524655"/>
                    <a:gd name="connsiteY2535" fmla="*/ 31317 h 1268099"/>
                    <a:gd name="connsiteX2536" fmla="*/ 1242514 w 1524655"/>
                    <a:gd name="connsiteY2536" fmla="*/ 31451 h 1268099"/>
                    <a:gd name="connsiteX2537" fmla="*/ 1240911 w 1524655"/>
                    <a:gd name="connsiteY2537" fmla="*/ 31973 h 1268099"/>
                    <a:gd name="connsiteX2538" fmla="*/ 1240219 w 1524655"/>
                    <a:gd name="connsiteY2538" fmla="*/ 32203 h 1268099"/>
                    <a:gd name="connsiteX2539" fmla="*/ 1239612 w 1524655"/>
                    <a:gd name="connsiteY2539" fmla="*/ 32567 h 1268099"/>
                    <a:gd name="connsiteX2540" fmla="*/ 1237038 w 1524655"/>
                    <a:gd name="connsiteY2540" fmla="*/ 34146 h 1268099"/>
                    <a:gd name="connsiteX2541" fmla="*/ 1234694 w 1524655"/>
                    <a:gd name="connsiteY2541" fmla="*/ 35591 h 1268099"/>
                    <a:gd name="connsiteX2542" fmla="*/ 1234233 w 1524655"/>
                    <a:gd name="connsiteY2542" fmla="*/ 38311 h 1268099"/>
                    <a:gd name="connsiteX2543" fmla="*/ 1233941 w 1524655"/>
                    <a:gd name="connsiteY2543" fmla="*/ 40011 h 1268099"/>
                    <a:gd name="connsiteX2544" fmla="*/ 1233759 w 1524655"/>
                    <a:gd name="connsiteY2544" fmla="*/ 41080 h 1268099"/>
                    <a:gd name="connsiteX2545" fmla="*/ 1233953 w 1524655"/>
                    <a:gd name="connsiteY2545" fmla="*/ 42148 h 1268099"/>
                    <a:gd name="connsiteX2546" fmla="*/ 1234196 w 1524655"/>
                    <a:gd name="connsiteY2546" fmla="*/ 43387 h 1268099"/>
                    <a:gd name="connsiteX2547" fmla="*/ 1234439 w 1524655"/>
                    <a:gd name="connsiteY2547" fmla="*/ 44710 h 1268099"/>
                    <a:gd name="connsiteX2548" fmla="*/ 1235228 w 1524655"/>
                    <a:gd name="connsiteY2548" fmla="*/ 45815 h 1268099"/>
                    <a:gd name="connsiteX2549" fmla="*/ 1236030 w 1524655"/>
                    <a:gd name="connsiteY2549" fmla="*/ 46933 h 1268099"/>
                    <a:gd name="connsiteX2550" fmla="*/ 1236430 w 1524655"/>
                    <a:gd name="connsiteY2550" fmla="*/ 47491 h 1268099"/>
                    <a:gd name="connsiteX2551" fmla="*/ 1236953 w 1524655"/>
                    <a:gd name="connsiteY2551" fmla="*/ 47953 h 1268099"/>
                    <a:gd name="connsiteX2552" fmla="*/ 1237645 w 1524655"/>
                    <a:gd name="connsiteY2552" fmla="*/ 48560 h 1268099"/>
                    <a:gd name="connsiteX2553" fmla="*/ 1237681 w 1524655"/>
                    <a:gd name="connsiteY2553" fmla="*/ 48608 h 1268099"/>
                    <a:gd name="connsiteX2554" fmla="*/ 1237960 w 1524655"/>
                    <a:gd name="connsiteY2554" fmla="*/ 49179 h 1268099"/>
                    <a:gd name="connsiteX2555" fmla="*/ 1238908 w 1524655"/>
                    <a:gd name="connsiteY2555" fmla="*/ 52142 h 1268099"/>
                    <a:gd name="connsiteX2556" fmla="*/ 1239065 w 1524655"/>
                    <a:gd name="connsiteY2556" fmla="*/ 52628 h 1268099"/>
                    <a:gd name="connsiteX2557" fmla="*/ 1239308 w 1524655"/>
                    <a:gd name="connsiteY2557" fmla="*/ 53089 h 1268099"/>
                    <a:gd name="connsiteX2558" fmla="*/ 1239879 w 1524655"/>
                    <a:gd name="connsiteY2558" fmla="*/ 54182 h 1268099"/>
                    <a:gd name="connsiteX2559" fmla="*/ 1240146 w 1524655"/>
                    <a:gd name="connsiteY2559" fmla="*/ 54692 h 1268099"/>
                    <a:gd name="connsiteX2560" fmla="*/ 1240498 w 1524655"/>
                    <a:gd name="connsiteY2560" fmla="*/ 55141 h 1268099"/>
                    <a:gd name="connsiteX2561" fmla="*/ 1244348 w 1524655"/>
                    <a:gd name="connsiteY2561" fmla="*/ 59998 h 1268099"/>
                    <a:gd name="connsiteX2562" fmla="*/ 1244979 w 1524655"/>
                    <a:gd name="connsiteY2562" fmla="*/ 60788 h 1268099"/>
                    <a:gd name="connsiteX2563" fmla="*/ 1245829 w 1524655"/>
                    <a:gd name="connsiteY2563" fmla="*/ 61334 h 1268099"/>
                    <a:gd name="connsiteX2564" fmla="*/ 1246752 w 1524655"/>
                    <a:gd name="connsiteY2564" fmla="*/ 61929 h 1268099"/>
                    <a:gd name="connsiteX2565" fmla="*/ 1247359 w 1524655"/>
                    <a:gd name="connsiteY2565" fmla="*/ 62318 h 1268099"/>
                    <a:gd name="connsiteX2566" fmla="*/ 1248039 w 1524655"/>
                    <a:gd name="connsiteY2566" fmla="*/ 62561 h 1268099"/>
                    <a:gd name="connsiteX2567" fmla="*/ 1248792 w 1524655"/>
                    <a:gd name="connsiteY2567" fmla="*/ 62815 h 1268099"/>
                    <a:gd name="connsiteX2568" fmla="*/ 1249435 w 1524655"/>
                    <a:gd name="connsiteY2568" fmla="*/ 63046 h 1268099"/>
                    <a:gd name="connsiteX2569" fmla="*/ 1249800 w 1524655"/>
                    <a:gd name="connsiteY2569" fmla="*/ 63811 h 1268099"/>
                    <a:gd name="connsiteX2570" fmla="*/ 1249836 w 1524655"/>
                    <a:gd name="connsiteY2570" fmla="*/ 63896 h 1268099"/>
                    <a:gd name="connsiteX2571" fmla="*/ 1246873 w 1524655"/>
                    <a:gd name="connsiteY2571" fmla="*/ 64722 h 1268099"/>
                    <a:gd name="connsiteX2572" fmla="*/ 1246145 w 1524655"/>
                    <a:gd name="connsiteY2572" fmla="*/ 64941 h 1268099"/>
                    <a:gd name="connsiteX2573" fmla="*/ 1245477 w 1524655"/>
                    <a:gd name="connsiteY2573" fmla="*/ 65317 h 1268099"/>
                    <a:gd name="connsiteX2574" fmla="*/ 1242611 w 1524655"/>
                    <a:gd name="connsiteY2574" fmla="*/ 66981 h 1268099"/>
                    <a:gd name="connsiteX2575" fmla="*/ 1242295 w 1524655"/>
                    <a:gd name="connsiteY2575" fmla="*/ 67175 h 1268099"/>
                    <a:gd name="connsiteX2576" fmla="*/ 1242004 w 1524655"/>
                    <a:gd name="connsiteY2576" fmla="*/ 67406 h 1268099"/>
                    <a:gd name="connsiteX2577" fmla="*/ 1236090 w 1524655"/>
                    <a:gd name="connsiteY2577" fmla="*/ 71886 h 1268099"/>
                    <a:gd name="connsiteX2578" fmla="*/ 1231160 w 1524655"/>
                    <a:gd name="connsiteY2578" fmla="*/ 76416 h 1268099"/>
                    <a:gd name="connsiteX2579" fmla="*/ 1229023 w 1524655"/>
                    <a:gd name="connsiteY2579" fmla="*/ 78031 h 1268099"/>
                    <a:gd name="connsiteX2580" fmla="*/ 1221567 w 1524655"/>
                    <a:gd name="connsiteY2580" fmla="*/ 81346 h 1268099"/>
                    <a:gd name="connsiteX2581" fmla="*/ 1220802 w 1524655"/>
                    <a:gd name="connsiteY2581" fmla="*/ 80508 h 1268099"/>
                    <a:gd name="connsiteX2582" fmla="*/ 1220037 w 1524655"/>
                    <a:gd name="connsiteY2582" fmla="*/ 79670 h 1268099"/>
                    <a:gd name="connsiteX2583" fmla="*/ 1219030 w 1524655"/>
                    <a:gd name="connsiteY2583" fmla="*/ 79172 h 1268099"/>
                    <a:gd name="connsiteX2584" fmla="*/ 1216965 w 1524655"/>
                    <a:gd name="connsiteY2584" fmla="*/ 78152 h 1268099"/>
                    <a:gd name="connsiteX2585" fmla="*/ 1216322 w 1524655"/>
                    <a:gd name="connsiteY2585" fmla="*/ 77836 h 1268099"/>
                    <a:gd name="connsiteX2586" fmla="*/ 1215617 w 1524655"/>
                    <a:gd name="connsiteY2586" fmla="*/ 77678 h 1268099"/>
                    <a:gd name="connsiteX2587" fmla="*/ 1213480 w 1524655"/>
                    <a:gd name="connsiteY2587" fmla="*/ 77193 h 1268099"/>
                    <a:gd name="connsiteX2588" fmla="*/ 1212351 w 1524655"/>
                    <a:gd name="connsiteY2588" fmla="*/ 76938 h 1268099"/>
                    <a:gd name="connsiteX2589" fmla="*/ 1211209 w 1524655"/>
                    <a:gd name="connsiteY2589" fmla="*/ 77120 h 1268099"/>
                    <a:gd name="connsiteX2590" fmla="*/ 1208805 w 1524655"/>
                    <a:gd name="connsiteY2590" fmla="*/ 77484 h 1268099"/>
                    <a:gd name="connsiteX2591" fmla="*/ 1207652 w 1524655"/>
                    <a:gd name="connsiteY2591" fmla="*/ 77667 h 1268099"/>
                    <a:gd name="connsiteX2592" fmla="*/ 1206644 w 1524655"/>
                    <a:gd name="connsiteY2592" fmla="*/ 78261 h 1268099"/>
                    <a:gd name="connsiteX2593" fmla="*/ 1204567 w 1524655"/>
                    <a:gd name="connsiteY2593" fmla="*/ 79488 h 1268099"/>
                    <a:gd name="connsiteX2594" fmla="*/ 1203960 w 1524655"/>
                    <a:gd name="connsiteY2594" fmla="*/ 79840 h 1268099"/>
                    <a:gd name="connsiteX2595" fmla="*/ 1203450 w 1524655"/>
                    <a:gd name="connsiteY2595" fmla="*/ 80338 h 1268099"/>
                    <a:gd name="connsiteX2596" fmla="*/ 1200184 w 1524655"/>
                    <a:gd name="connsiteY2596" fmla="*/ 83483 h 1268099"/>
                    <a:gd name="connsiteX2597" fmla="*/ 1199844 w 1524655"/>
                    <a:gd name="connsiteY2597" fmla="*/ 83798 h 1268099"/>
                    <a:gd name="connsiteX2598" fmla="*/ 1199564 w 1524655"/>
                    <a:gd name="connsiteY2598" fmla="*/ 84175 h 1268099"/>
                    <a:gd name="connsiteX2599" fmla="*/ 1197439 w 1524655"/>
                    <a:gd name="connsiteY2599" fmla="*/ 86956 h 1268099"/>
                    <a:gd name="connsiteX2600" fmla="*/ 1197209 w 1524655"/>
                    <a:gd name="connsiteY2600" fmla="*/ 87259 h 1268099"/>
                    <a:gd name="connsiteX2601" fmla="*/ 1197014 w 1524655"/>
                    <a:gd name="connsiteY2601" fmla="*/ 87587 h 1268099"/>
                    <a:gd name="connsiteX2602" fmla="*/ 1192874 w 1524655"/>
                    <a:gd name="connsiteY2602" fmla="*/ 94739 h 1268099"/>
                    <a:gd name="connsiteX2603" fmla="*/ 1191441 w 1524655"/>
                    <a:gd name="connsiteY2603" fmla="*/ 96755 h 1268099"/>
                    <a:gd name="connsiteX2604" fmla="*/ 1189425 w 1524655"/>
                    <a:gd name="connsiteY2604" fmla="*/ 98989 h 1268099"/>
                    <a:gd name="connsiteX2605" fmla="*/ 1185066 w 1524655"/>
                    <a:gd name="connsiteY2605" fmla="*/ 103057 h 1268099"/>
                    <a:gd name="connsiteX2606" fmla="*/ 1184179 w 1524655"/>
                    <a:gd name="connsiteY2606" fmla="*/ 103883 h 1268099"/>
                    <a:gd name="connsiteX2607" fmla="*/ 1183681 w 1524655"/>
                    <a:gd name="connsiteY2607" fmla="*/ 105000 h 1268099"/>
                    <a:gd name="connsiteX2608" fmla="*/ 1183281 w 1524655"/>
                    <a:gd name="connsiteY2608" fmla="*/ 105886 h 1268099"/>
                    <a:gd name="connsiteX2609" fmla="*/ 1182856 w 1524655"/>
                    <a:gd name="connsiteY2609" fmla="*/ 106822 h 1268099"/>
                    <a:gd name="connsiteX2610" fmla="*/ 1182771 w 1524655"/>
                    <a:gd name="connsiteY2610" fmla="*/ 107854 h 1268099"/>
                    <a:gd name="connsiteX2611" fmla="*/ 1182661 w 1524655"/>
                    <a:gd name="connsiteY2611" fmla="*/ 109177 h 1268099"/>
                    <a:gd name="connsiteX2612" fmla="*/ 1182625 w 1524655"/>
                    <a:gd name="connsiteY2612" fmla="*/ 109530 h 1268099"/>
                    <a:gd name="connsiteX2613" fmla="*/ 1182637 w 1524655"/>
                    <a:gd name="connsiteY2613" fmla="*/ 109894 h 1268099"/>
                    <a:gd name="connsiteX2614" fmla="*/ 1182661 w 1524655"/>
                    <a:gd name="connsiteY2614" fmla="*/ 110841 h 1268099"/>
                    <a:gd name="connsiteX2615" fmla="*/ 1182552 w 1524655"/>
                    <a:gd name="connsiteY2615" fmla="*/ 111557 h 1268099"/>
                    <a:gd name="connsiteX2616" fmla="*/ 1182139 w 1524655"/>
                    <a:gd name="connsiteY2616" fmla="*/ 112759 h 1268099"/>
                    <a:gd name="connsiteX2617" fmla="*/ 1181945 w 1524655"/>
                    <a:gd name="connsiteY2617" fmla="*/ 113306 h 1268099"/>
                    <a:gd name="connsiteX2618" fmla="*/ 1181860 w 1524655"/>
                    <a:gd name="connsiteY2618" fmla="*/ 113889 h 1268099"/>
                    <a:gd name="connsiteX2619" fmla="*/ 1181641 w 1524655"/>
                    <a:gd name="connsiteY2619" fmla="*/ 115455 h 1268099"/>
                    <a:gd name="connsiteX2620" fmla="*/ 1181484 w 1524655"/>
                    <a:gd name="connsiteY2620" fmla="*/ 116572 h 1268099"/>
                    <a:gd name="connsiteX2621" fmla="*/ 1181739 w 1524655"/>
                    <a:gd name="connsiteY2621" fmla="*/ 117665 h 1268099"/>
                    <a:gd name="connsiteX2622" fmla="*/ 1182079 w 1524655"/>
                    <a:gd name="connsiteY2622" fmla="*/ 119159 h 1268099"/>
                    <a:gd name="connsiteX2623" fmla="*/ 1182334 w 1524655"/>
                    <a:gd name="connsiteY2623" fmla="*/ 120252 h 1268099"/>
                    <a:gd name="connsiteX2624" fmla="*/ 1182953 w 1524655"/>
                    <a:gd name="connsiteY2624" fmla="*/ 121174 h 1268099"/>
                    <a:gd name="connsiteX2625" fmla="*/ 1185406 w 1524655"/>
                    <a:gd name="connsiteY2625" fmla="*/ 124829 h 1268099"/>
                    <a:gd name="connsiteX2626" fmla="*/ 1186596 w 1524655"/>
                    <a:gd name="connsiteY2626" fmla="*/ 127805 h 1268099"/>
                    <a:gd name="connsiteX2627" fmla="*/ 1186887 w 1524655"/>
                    <a:gd name="connsiteY2627" fmla="*/ 128545 h 1268099"/>
                    <a:gd name="connsiteX2628" fmla="*/ 1187361 w 1524655"/>
                    <a:gd name="connsiteY2628" fmla="*/ 129177 h 1268099"/>
                    <a:gd name="connsiteX2629" fmla="*/ 1188004 w 1524655"/>
                    <a:gd name="connsiteY2629" fmla="*/ 130039 h 1268099"/>
                    <a:gd name="connsiteX2630" fmla="*/ 1189449 w 1524655"/>
                    <a:gd name="connsiteY2630" fmla="*/ 131970 h 1268099"/>
                    <a:gd name="connsiteX2631" fmla="*/ 1189959 w 1524655"/>
                    <a:gd name="connsiteY2631" fmla="*/ 132067 h 1268099"/>
                    <a:gd name="connsiteX2632" fmla="*/ 1186025 w 1524655"/>
                    <a:gd name="connsiteY2632" fmla="*/ 136875 h 1268099"/>
                    <a:gd name="connsiteX2633" fmla="*/ 1185479 w 1524655"/>
                    <a:gd name="connsiteY2633" fmla="*/ 137555 h 1268099"/>
                    <a:gd name="connsiteX2634" fmla="*/ 1185139 w 1524655"/>
                    <a:gd name="connsiteY2634" fmla="*/ 138345 h 1268099"/>
                    <a:gd name="connsiteX2635" fmla="*/ 1184519 w 1524655"/>
                    <a:gd name="connsiteY2635" fmla="*/ 139814 h 1268099"/>
                    <a:gd name="connsiteX2636" fmla="*/ 1184374 w 1524655"/>
                    <a:gd name="connsiteY2636" fmla="*/ 140166 h 1268099"/>
                    <a:gd name="connsiteX2637" fmla="*/ 1184264 w 1524655"/>
                    <a:gd name="connsiteY2637" fmla="*/ 140542 h 1268099"/>
                    <a:gd name="connsiteX2638" fmla="*/ 1183633 w 1524655"/>
                    <a:gd name="connsiteY2638" fmla="*/ 142789 h 1268099"/>
                    <a:gd name="connsiteX2639" fmla="*/ 1182880 w 1524655"/>
                    <a:gd name="connsiteY2639" fmla="*/ 145509 h 1268099"/>
                    <a:gd name="connsiteX2640" fmla="*/ 1184459 w 1524655"/>
                    <a:gd name="connsiteY2640" fmla="*/ 147840 h 1268099"/>
                    <a:gd name="connsiteX2641" fmla="*/ 1185199 w 1524655"/>
                    <a:gd name="connsiteY2641" fmla="*/ 148933 h 1268099"/>
                    <a:gd name="connsiteX2642" fmla="*/ 1185479 w 1524655"/>
                    <a:gd name="connsiteY2642" fmla="*/ 149334 h 1268099"/>
                    <a:gd name="connsiteX2643" fmla="*/ 1185819 w 1524655"/>
                    <a:gd name="connsiteY2643" fmla="*/ 149686 h 1268099"/>
                    <a:gd name="connsiteX2644" fmla="*/ 1185964 w 1524655"/>
                    <a:gd name="connsiteY2644" fmla="*/ 149844 h 1268099"/>
                    <a:gd name="connsiteX2645" fmla="*/ 1186025 w 1524655"/>
                    <a:gd name="connsiteY2645" fmla="*/ 150597 h 1268099"/>
                    <a:gd name="connsiteX2646" fmla="*/ 1185782 w 1524655"/>
                    <a:gd name="connsiteY2646" fmla="*/ 152018 h 1268099"/>
                    <a:gd name="connsiteX2647" fmla="*/ 1185673 w 1524655"/>
                    <a:gd name="connsiteY2647" fmla="*/ 152005 h 1268099"/>
                    <a:gd name="connsiteX2648" fmla="*/ 1185054 w 1524655"/>
                    <a:gd name="connsiteY2648" fmla="*/ 151945 h 1268099"/>
                    <a:gd name="connsiteX2649" fmla="*/ 1184446 w 1524655"/>
                    <a:gd name="connsiteY2649" fmla="*/ 152030 h 1268099"/>
                    <a:gd name="connsiteX2650" fmla="*/ 1182965 w 1524655"/>
                    <a:gd name="connsiteY2650" fmla="*/ 152212 h 1268099"/>
                    <a:gd name="connsiteX2651" fmla="*/ 1182273 w 1524655"/>
                    <a:gd name="connsiteY2651" fmla="*/ 152297 h 1268099"/>
                    <a:gd name="connsiteX2652" fmla="*/ 1181617 w 1524655"/>
                    <a:gd name="connsiteY2652" fmla="*/ 152540 h 1268099"/>
                    <a:gd name="connsiteX2653" fmla="*/ 1179723 w 1524655"/>
                    <a:gd name="connsiteY2653" fmla="*/ 153232 h 1268099"/>
                    <a:gd name="connsiteX2654" fmla="*/ 1179407 w 1524655"/>
                    <a:gd name="connsiteY2654" fmla="*/ 153341 h 1268099"/>
                    <a:gd name="connsiteX2655" fmla="*/ 1179104 w 1524655"/>
                    <a:gd name="connsiteY2655" fmla="*/ 153499 h 1268099"/>
                    <a:gd name="connsiteX2656" fmla="*/ 1173056 w 1524655"/>
                    <a:gd name="connsiteY2656" fmla="*/ 156474 h 1268099"/>
                    <a:gd name="connsiteX2657" fmla="*/ 1172716 w 1524655"/>
                    <a:gd name="connsiteY2657" fmla="*/ 156535 h 1268099"/>
                    <a:gd name="connsiteX2658" fmla="*/ 1168734 w 1524655"/>
                    <a:gd name="connsiteY2658" fmla="*/ 156693 h 1268099"/>
                    <a:gd name="connsiteX2659" fmla="*/ 1168855 w 1524655"/>
                    <a:gd name="connsiteY2659" fmla="*/ 155928 h 1268099"/>
                    <a:gd name="connsiteX2660" fmla="*/ 1169049 w 1524655"/>
                    <a:gd name="connsiteY2660" fmla="*/ 154665 h 1268099"/>
                    <a:gd name="connsiteX2661" fmla="*/ 1168721 w 1524655"/>
                    <a:gd name="connsiteY2661" fmla="*/ 153426 h 1268099"/>
                    <a:gd name="connsiteX2662" fmla="*/ 1168309 w 1524655"/>
                    <a:gd name="connsiteY2662" fmla="*/ 151896 h 1268099"/>
                    <a:gd name="connsiteX2663" fmla="*/ 1167774 w 1524655"/>
                    <a:gd name="connsiteY2663" fmla="*/ 149881 h 1268099"/>
                    <a:gd name="connsiteX2664" fmla="*/ 1166123 w 1524655"/>
                    <a:gd name="connsiteY2664" fmla="*/ 148618 h 1268099"/>
                    <a:gd name="connsiteX2665" fmla="*/ 1164811 w 1524655"/>
                    <a:gd name="connsiteY2665" fmla="*/ 147622 h 1268099"/>
                    <a:gd name="connsiteX2666" fmla="*/ 1163354 w 1524655"/>
                    <a:gd name="connsiteY2666" fmla="*/ 146517 h 1268099"/>
                    <a:gd name="connsiteX2667" fmla="*/ 1161533 w 1524655"/>
                    <a:gd name="connsiteY2667" fmla="*/ 146395 h 1268099"/>
                    <a:gd name="connsiteX2668" fmla="*/ 1159201 w 1524655"/>
                    <a:gd name="connsiteY2668" fmla="*/ 146237 h 1268099"/>
                    <a:gd name="connsiteX2669" fmla="*/ 1158691 w 1524655"/>
                    <a:gd name="connsiteY2669" fmla="*/ 146043 h 1268099"/>
                    <a:gd name="connsiteX2670" fmla="*/ 1157429 w 1524655"/>
                    <a:gd name="connsiteY2670" fmla="*/ 145060 h 1268099"/>
                    <a:gd name="connsiteX2671" fmla="*/ 1155182 w 1524655"/>
                    <a:gd name="connsiteY2671" fmla="*/ 143542 h 1268099"/>
                    <a:gd name="connsiteX2672" fmla="*/ 1154332 w 1524655"/>
                    <a:gd name="connsiteY2672" fmla="*/ 142971 h 1268099"/>
                    <a:gd name="connsiteX2673" fmla="*/ 1153348 w 1524655"/>
                    <a:gd name="connsiteY2673" fmla="*/ 142716 h 1268099"/>
                    <a:gd name="connsiteX2674" fmla="*/ 1150944 w 1524655"/>
                    <a:gd name="connsiteY2674" fmla="*/ 142085 h 1268099"/>
                    <a:gd name="connsiteX2675" fmla="*/ 1149766 w 1524655"/>
                    <a:gd name="connsiteY2675" fmla="*/ 141781 h 1268099"/>
                    <a:gd name="connsiteX2676" fmla="*/ 1148552 w 1524655"/>
                    <a:gd name="connsiteY2676" fmla="*/ 141951 h 1268099"/>
                    <a:gd name="connsiteX2677" fmla="*/ 1144715 w 1524655"/>
                    <a:gd name="connsiteY2677" fmla="*/ 142498 h 1268099"/>
                    <a:gd name="connsiteX2678" fmla="*/ 1143707 w 1524655"/>
                    <a:gd name="connsiteY2678" fmla="*/ 142643 h 1268099"/>
                    <a:gd name="connsiteX2679" fmla="*/ 1142808 w 1524655"/>
                    <a:gd name="connsiteY2679" fmla="*/ 143105 h 1268099"/>
                    <a:gd name="connsiteX2680" fmla="*/ 1140853 w 1524655"/>
                    <a:gd name="connsiteY2680" fmla="*/ 144100 h 1268099"/>
                    <a:gd name="connsiteX2681" fmla="*/ 1139445 w 1524655"/>
                    <a:gd name="connsiteY2681" fmla="*/ 144829 h 1268099"/>
                    <a:gd name="connsiteX2682" fmla="*/ 1138558 w 1524655"/>
                    <a:gd name="connsiteY2682" fmla="*/ 146140 h 1268099"/>
                    <a:gd name="connsiteX2683" fmla="*/ 1137587 w 1524655"/>
                    <a:gd name="connsiteY2683" fmla="*/ 147597 h 1268099"/>
                    <a:gd name="connsiteX2684" fmla="*/ 1136470 w 1524655"/>
                    <a:gd name="connsiteY2684" fmla="*/ 149273 h 1268099"/>
                    <a:gd name="connsiteX2685" fmla="*/ 1136567 w 1524655"/>
                    <a:gd name="connsiteY2685" fmla="*/ 151277 h 1268099"/>
                    <a:gd name="connsiteX2686" fmla="*/ 1136664 w 1524655"/>
                    <a:gd name="connsiteY2686" fmla="*/ 153268 h 1268099"/>
                    <a:gd name="connsiteX2687" fmla="*/ 1136701 w 1524655"/>
                    <a:gd name="connsiteY2687" fmla="*/ 153900 h 1268099"/>
                    <a:gd name="connsiteX2688" fmla="*/ 1136858 w 1524655"/>
                    <a:gd name="connsiteY2688" fmla="*/ 154507 h 1268099"/>
                    <a:gd name="connsiteX2689" fmla="*/ 1137818 w 1524655"/>
                    <a:gd name="connsiteY2689" fmla="*/ 158150 h 1268099"/>
                    <a:gd name="connsiteX2690" fmla="*/ 1137769 w 1524655"/>
                    <a:gd name="connsiteY2690" fmla="*/ 158757 h 1268099"/>
                    <a:gd name="connsiteX2691" fmla="*/ 1137490 w 1524655"/>
                    <a:gd name="connsiteY2691" fmla="*/ 159534 h 1268099"/>
                    <a:gd name="connsiteX2692" fmla="*/ 1136798 w 1524655"/>
                    <a:gd name="connsiteY2692" fmla="*/ 160493 h 1268099"/>
                    <a:gd name="connsiteX2693" fmla="*/ 1136203 w 1524655"/>
                    <a:gd name="connsiteY2693" fmla="*/ 160882 h 1268099"/>
                    <a:gd name="connsiteX2694" fmla="*/ 1131139 w 1524655"/>
                    <a:gd name="connsiteY2694" fmla="*/ 162788 h 1268099"/>
                    <a:gd name="connsiteX2695" fmla="*/ 1130483 w 1524655"/>
                    <a:gd name="connsiteY2695" fmla="*/ 163031 h 1268099"/>
                    <a:gd name="connsiteX2696" fmla="*/ 1129900 w 1524655"/>
                    <a:gd name="connsiteY2696" fmla="*/ 163420 h 1268099"/>
                    <a:gd name="connsiteX2697" fmla="*/ 1123817 w 1524655"/>
                    <a:gd name="connsiteY2697" fmla="*/ 167463 h 1268099"/>
                    <a:gd name="connsiteX2698" fmla="*/ 1121048 w 1524655"/>
                    <a:gd name="connsiteY2698" fmla="*/ 168896 h 1268099"/>
                    <a:gd name="connsiteX2699" fmla="*/ 1120696 w 1524655"/>
                    <a:gd name="connsiteY2699" fmla="*/ 169091 h 1268099"/>
                    <a:gd name="connsiteX2700" fmla="*/ 1120368 w 1524655"/>
                    <a:gd name="connsiteY2700" fmla="*/ 169333 h 1268099"/>
                    <a:gd name="connsiteX2701" fmla="*/ 1118401 w 1524655"/>
                    <a:gd name="connsiteY2701" fmla="*/ 170742 h 1268099"/>
                    <a:gd name="connsiteX2702" fmla="*/ 1117855 w 1524655"/>
                    <a:gd name="connsiteY2702" fmla="*/ 171131 h 1268099"/>
                    <a:gd name="connsiteX2703" fmla="*/ 1117405 w 1524655"/>
                    <a:gd name="connsiteY2703" fmla="*/ 171641 h 1268099"/>
                    <a:gd name="connsiteX2704" fmla="*/ 1116203 w 1524655"/>
                    <a:gd name="connsiteY2704" fmla="*/ 172976 h 1268099"/>
                    <a:gd name="connsiteX2705" fmla="*/ 1115329 w 1524655"/>
                    <a:gd name="connsiteY2705" fmla="*/ 173960 h 1268099"/>
                    <a:gd name="connsiteX2706" fmla="*/ 1114940 w 1524655"/>
                    <a:gd name="connsiteY2706" fmla="*/ 175223 h 1268099"/>
                    <a:gd name="connsiteX2707" fmla="*/ 1114430 w 1524655"/>
                    <a:gd name="connsiteY2707" fmla="*/ 176862 h 1268099"/>
                    <a:gd name="connsiteX2708" fmla="*/ 1114333 w 1524655"/>
                    <a:gd name="connsiteY2708" fmla="*/ 177190 h 1268099"/>
                    <a:gd name="connsiteX2709" fmla="*/ 1114272 w 1524655"/>
                    <a:gd name="connsiteY2709" fmla="*/ 177518 h 1268099"/>
                    <a:gd name="connsiteX2710" fmla="*/ 1113811 w 1524655"/>
                    <a:gd name="connsiteY2710" fmla="*/ 179958 h 1268099"/>
                    <a:gd name="connsiteX2711" fmla="*/ 1112682 w 1524655"/>
                    <a:gd name="connsiteY2711" fmla="*/ 179728 h 1268099"/>
                    <a:gd name="connsiteX2712" fmla="*/ 1112208 w 1524655"/>
                    <a:gd name="connsiteY2712" fmla="*/ 179630 h 1268099"/>
                    <a:gd name="connsiteX2713" fmla="*/ 1111722 w 1524655"/>
                    <a:gd name="connsiteY2713" fmla="*/ 179606 h 1268099"/>
                    <a:gd name="connsiteX2714" fmla="*/ 1111310 w 1524655"/>
                    <a:gd name="connsiteY2714" fmla="*/ 179594 h 1268099"/>
                    <a:gd name="connsiteX2715" fmla="*/ 1111431 w 1524655"/>
                    <a:gd name="connsiteY2715" fmla="*/ 178914 h 1268099"/>
                    <a:gd name="connsiteX2716" fmla="*/ 1113580 w 1524655"/>
                    <a:gd name="connsiteY2716" fmla="*/ 174251 h 1268099"/>
                    <a:gd name="connsiteX2717" fmla="*/ 1113835 w 1524655"/>
                    <a:gd name="connsiteY2717" fmla="*/ 173693 h 1268099"/>
                    <a:gd name="connsiteX2718" fmla="*/ 1113981 w 1524655"/>
                    <a:gd name="connsiteY2718" fmla="*/ 173086 h 1268099"/>
                    <a:gd name="connsiteX2719" fmla="*/ 1114321 w 1524655"/>
                    <a:gd name="connsiteY2719" fmla="*/ 171628 h 1268099"/>
                    <a:gd name="connsiteX2720" fmla="*/ 1114479 w 1524655"/>
                    <a:gd name="connsiteY2720" fmla="*/ 170948 h 1268099"/>
                    <a:gd name="connsiteX2721" fmla="*/ 1114479 w 1524655"/>
                    <a:gd name="connsiteY2721" fmla="*/ 170244 h 1268099"/>
                    <a:gd name="connsiteX2722" fmla="*/ 1114479 w 1524655"/>
                    <a:gd name="connsiteY2722" fmla="*/ 168666 h 1268099"/>
                    <a:gd name="connsiteX2723" fmla="*/ 1114479 w 1524655"/>
                    <a:gd name="connsiteY2723" fmla="*/ 167755 h 1268099"/>
                    <a:gd name="connsiteX2724" fmla="*/ 1114212 w 1524655"/>
                    <a:gd name="connsiteY2724" fmla="*/ 166881 h 1268099"/>
                    <a:gd name="connsiteX2725" fmla="*/ 1113750 w 1524655"/>
                    <a:gd name="connsiteY2725" fmla="*/ 165387 h 1268099"/>
                    <a:gd name="connsiteX2726" fmla="*/ 1113580 w 1524655"/>
                    <a:gd name="connsiteY2726" fmla="*/ 164853 h 1268099"/>
                    <a:gd name="connsiteX2727" fmla="*/ 1113325 w 1524655"/>
                    <a:gd name="connsiteY2727" fmla="*/ 164355 h 1268099"/>
                    <a:gd name="connsiteX2728" fmla="*/ 1112475 w 1524655"/>
                    <a:gd name="connsiteY2728" fmla="*/ 162740 h 1268099"/>
                    <a:gd name="connsiteX2729" fmla="*/ 1112245 w 1524655"/>
                    <a:gd name="connsiteY2729" fmla="*/ 162291 h 1268099"/>
                    <a:gd name="connsiteX2730" fmla="*/ 1111941 w 1524655"/>
                    <a:gd name="connsiteY2730" fmla="*/ 161902 h 1268099"/>
                    <a:gd name="connsiteX2731" fmla="*/ 1110897 w 1524655"/>
                    <a:gd name="connsiteY2731" fmla="*/ 160530 h 1268099"/>
                    <a:gd name="connsiteX2732" fmla="*/ 1110678 w 1524655"/>
                    <a:gd name="connsiteY2732" fmla="*/ 160238 h 1268099"/>
                    <a:gd name="connsiteX2733" fmla="*/ 1110423 w 1524655"/>
                    <a:gd name="connsiteY2733" fmla="*/ 159983 h 1268099"/>
                    <a:gd name="connsiteX2734" fmla="*/ 1109209 w 1524655"/>
                    <a:gd name="connsiteY2734" fmla="*/ 158721 h 1268099"/>
                    <a:gd name="connsiteX2735" fmla="*/ 1099956 w 1524655"/>
                    <a:gd name="connsiteY2735" fmla="*/ 150573 h 1268099"/>
                    <a:gd name="connsiteX2736" fmla="*/ 1098559 w 1524655"/>
                    <a:gd name="connsiteY2736" fmla="*/ 148824 h 1268099"/>
                    <a:gd name="connsiteX2737" fmla="*/ 1098219 w 1524655"/>
                    <a:gd name="connsiteY2737" fmla="*/ 148132 h 1268099"/>
                    <a:gd name="connsiteX2738" fmla="*/ 1098171 w 1524655"/>
                    <a:gd name="connsiteY2738" fmla="*/ 147695 h 1268099"/>
                    <a:gd name="connsiteX2739" fmla="*/ 1098584 w 1524655"/>
                    <a:gd name="connsiteY2739" fmla="*/ 144465 h 1268099"/>
                    <a:gd name="connsiteX2740" fmla="*/ 1098645 w 1524655"/>
                    <a:gd name="connsiteY2740" fmla="*/ 143991 h 1268099"/>
                    <a:gd name="connsiteX2741" fmla="*/ 1098632 w 1524655"/>
                    <a:gd name="connsiteY2741" fmla="*/ 143517 h 1268099"/>
                    <a:gd name="connsiteX2742" fmla="*/ 1098584 w 1524655"/>
                    <a:gd name="connsiteY2742" fmla="*/ 141951 h 1268099"/>
                    <a:gd name="connsiteX2743" fmla="*/ 1098559 w 1524655"/>
                    <a:gd name="connsiteY2743" fmla="*/ 141271 h 1268099"/>
                    <a:gd name="connsiteX2744" fmla="*/ 1098389 w 1524655"/>
                    <a:gd name="connsiteY2744" fmla="*/ 140615 h 1268099"/>
                    <a:gd name="connsiteX2745" fmla="*/ 1098098 w 1524655"/>
                    <a:gd name="connsiteY2745" fmla="*/ 139474 h 1268099"/>
                    <a:gd name="connsiteX2746" fmla="*/ 1097940 w 1524655"/>
                    <a:gd name="connsiteY2746" fmla="*/ 138867 h 1268099"/>
                    <a:gd name="connsiteX2747" fmla="*/ 1097673 w 1524655"/>
                    <a:gd name="connsiteY2747" fmla="*/ 138308 h 1268099"/>
                    <a:gd name="connsiteX2748" fmla="*/ 1097467 w 1524655"/>
                    <a:gd name="connsiteY2748" fmla="*/ 137895 h 1268099"/>
                    <a:gd name="connsiteX2749" fmla="*/ 1097442 w 1524655"/>
                    <a:gd name="connsiteY2749" fmla="*/ 137325 h 1268099"/>
                    <a:gd name="connsiteX2750" fmla="*/ 1097527 w 1524655"/>
                    <a:gd name="connsiteY2750" fmla="*/ 136062 h 1268099"/>
                    <a:gd name="connsiteX2751" fmla="*/ 1097552 w 1524655"/>
                    <a:gd name="connsiteY2751" fmla="*/ 135734 h 1268099"/>
                    <a:gd name="connsiteX2752" fmla="*/ 1097539 w 1524655"/>
                    <a:gd name="connsiteY2752" fmla="*/ 135406 h 1268099"/>
                    <a:gd name="connsiteX2753" fmla="*/ 1097491 w 1524655"/>
                    <a:gd name="connsiteY2753" fmla="*/ 134155 h 1268099"/>
                    <a:gd name="connsiteX2754" fmla="*/ 1097454 w 1524655"/>
                    <a:gd name="connsiteY2754" fmla="*/ 132941 h 1268099"/>
                    <a:gd name="connsiteX2755" fmla="*/ 1096944 w 1524655"/>
                    <a:gd name="connsiteY2755" fmla="*/ 131848 h 1268099"/>
                    <a:gd name="connsiteX2756" fmla="*/ 1096191 w 1524655"/>
                    <a:gd name="connsiteY2756" fmla="*/ 130197 h 1268099"/>
                    <a:gd name="connsiteX2757" fmla="*/ 1095050 w 1524655"/>
                    <a:gd name="connsiteY2757" fmla="*/ 127708 h 1268099"/>
                    <a:gd name="connsiteX2758" fmla="*/ 1092415 w 1524655"/>
                    <a:gd name="connsiteY2758" fmla="*/ 126918 h 1268099"/>
                    <a:gd name="connsiteX2759" fmla="*/ 1091431 w 1524655"/>
                    <a:gd name="connsiteY2759" fmla="*/ 126627 h 1268099"/>
                    <a:gd name="connsiteX2760" fmla="*/ 1090120 w 1524655"/>
                    <a:gd name="connsiteY2760" fmla="*/ 126226 h 1268099"/>
                    <a:gd name="connsiteX2761" fmla="*/ 1088772 w 1524655"/>
                    <a:gd name="connsiteY2761" fmla="*/ 126445 h 1268099"/>
                    <a:gd name="connsiteX2762" fmla="*/ 1087886 w 1524655"/>
                    <a:gd name="connsiteY2762" fmla="*/ 126578 h 1268099"/>
                    <a:gd name="connsiteX2763" fmla="*/ 1086502 w 1524655"/>
                    <a:gd name="connsiteY2763" fmla="*/ 125923 h 1268099"/>
                    <a:gd name="connsiteX2764" fmla="*/ 1086028 w 1524655"/>
                    <a:gd name="connsiteY2764" fmla="*/ 125692 h 1268099"/>
                    <a:gd name="connsiteX2765" fmla="*/ 1085518 w 1524655"/>
                    <a:gd name="connsiteY2765" fmla="*/ 125546 h 1268099"/>
                    <a:gd name="connsiteX2766" fmla="*/ 1082239 w 1524655"/>
                    <a:gd name="connsiteY2766" fmla="*/ 124635 h 1268099"/>
                    <a:gd name="connsiteX2767" fmla="*/ 1080649 w 1524655"/>
                    <a:gd name="connsiteY2767" fmla="*/ 124198 h 1268099"/>
                    <a:gd name="connsiteX2768" fmla="*/ 1079058 w 1524655"/>
                    <a:gd name="connsiteY2768" fmla="*/ 124611 h 1268099"/>
                    <a:gd name="connsiteX2769" fmla="*/ 1076994 w 1524655"/>
                    <a:gd name="connsiteY2769" fmla="*/ 125157 h 1268099"/>
                    <a:gd name="connsiteX2770" fmla="*/ 1075379 w 1524655"/>
                    <a:gd name="connsiteY2770" fmla="*/ 125582 h 1268099"/>
                    <a:gd name="connsiteX2771" fmla="*/ 1074274 w 1524655"/>
                    <a:gd name="connsiteY2771" fmla="*/ 126736 h 1268099"/>
                    <a:gd name="connsiteX2772" fmla="*/ 1072598 w 1524655"/>
                    <a:gd name="connsiteY2772" fmla="*/ 128460 h 1268099"/>
                    <a:gd name="connsiteX2773" fmla="*/ 1071760 w 1524655"/>
                    <a:gd name="connsiteY2773" fmla="*/ 129323 h 1268099"/>
                    <a:gd name="connsiteX2774" fmla="*/ 1071311 w 1524655"/>
                    <a:gd name="connsiteY2774" fmla="*/ 130452 h 1268099"/>
                    <a:gd name="connsiteX2775" fmla="*/ 1069016 w 1524655"/>
                    <a:gd name="connsiteY2775" fmla="*/ 136195 h 1268099"/>
                    <a:gd name="connsiteX2776" fmla="*/ 1068154 w 1524655"/>
                    <a:gd name="connsiteY2776" fmla="*/ 137859 h 1268099"/>
                    <a:gd name="connsiteX2777" fmla="*/ 1061973 w 1524655"/>
                    <a:gd name="connsiteY2777" fmla="*/ 145242 h 1268099"/>
                    <a:gd name="connsiteX2778" fmla="*/ 1061706 w 1524655"/>
                    <a:gd name="connsiteY2778" fmla="*/ 145557 h 1268099"/>
                    <a:gd name="connsiteX2779" fmla="*/ 1061475 w 1524655"/>
                    <a:gd name="connsiteY2779" fmla="*/ 145922 h 1268099"/>
                    <a:gd name="connsiteX2780" fmla="*/ 1060661 w 1524655"/>
                    <a:gd name="connsiteY2780" fmla="*/ 147233 h 1268099"/>
                    <a:gd name="connsiteX2781" fmla="*/ 1060224 w 1524655"/>
                    <a:gd name="connsiteY2781" fmla="*/ 147950 h 1268099"/>
                    <a:gd name="connsiteX2782" fmla="*/ 1059994 w 1524655"/>
                    <a:gd name="connsiteY2782" fmla="*/ 148739 h 1268099"/>
                    <a:gd name="connsiteX2783" fmla="*/ 1059714 w 1524655"/>
                    <a:gd name="connsiteY2783" fmla="*/ 149698 h 1268099"/>
                    <a:gd name="connsiteX2784" fmla="*/ 1059398 w 1524655"/>
                    <a:gd name="connsiteY2784" fmla="*/ 150767 h 1268099"/>
                    <a:gd name="connsiteX2785" fmla="*/ 1059483 w 1524655"/>
                    <a:gd name="connsiteY2785" fmla="*/ 151872 h 1268099"/>
                    <a:gd name="connsiteX2786" fmla="*/ 1059763 w 1524655"/>
                    <a:gd name="connsiteY2786" fmla="*/ 155405 h 1268099"/>
                    <a:gd name="connsiteX2787" fmla="*/ 1059751 w 1524655"/>
                    <a:gd name="connsiteY2787" fmla="*/ 157081 h 1268099"/>
                    <a:gd name="connsiteX2788" fmla="*/ 1059423 w 1524655"/>
                    <a:gd name="connsiteY2788" fmla="*/ 158963 h 1268099"/>
                    <a:gd name="connsiteX2789" fmla="*/ 1056897 w 1524655"/>
                    <a:gd name="connsiteY2789" fmla="*/ 165375 h 1268099"/>
                    <a:gd name="connsiteX2790" fmla="*/ 1056691 w 1524655"/>
                    <a:gd name="connsiteY2790" fmla="*/ 165885 h 1268099"/>
                    <a:gd name="connsiteX2791" fmla="*/ 1056581 w 1524655"/>
                    <a:gd name="connsiteY2791" fmla="*/ 166419 h 1268099"/>
                    <a:gd name="connsiteX2792" fmla="*/ 1056302 w 1524655"/>
                    <a:gd name="connsiteY2792" fmla="*/ 167852 h 1268099"/>
                    <a:gd name="connsiteX2793" fmla="*/ 1056083 w 1524655"/>
                    <a:gd name="connsiteY2793" fmla="*/ 168957 h 1268099"/>
                    <a:gd name="connsiteX2794" fmla="*/ 1056278 w 1524655"/>
                    <a:gd name="connsiteY2794" fmla="*/ 170062 h 1268099"/>
                    <a:gd name="connsiteX2795" fmla="*/ 1056448 w 1524655"/>
                    <a:gd name="connsiteY2795" fmla="*/ 171070 h 1268099"/>
                    <a:gd name="connsiteX2796" fmla="*/ 1056581 w 1524655"/>
                    <a:gd name="connsiteY2796" fmla="*/ 171883 h 1268099"/>
                    <a:gd name="connsiteX2797" fmla="*/ 1056946 w 1524655"/>
                    <a:gd name="connsiteY2797" fmla="*/ 172636 h 1268099"/>
                    <a:gd name="connsiteX2798" fmla="*/ 1057905 w 1524655"/>
                    <a:gd name="connsiteY2798" fmla="*/ 174664 h 1268099"/>
                    <a:gd name="connsiteX2799" fmla="*/ 1057650 w 1524655"/>
                    <a:gd name="connsiteY2799" fmla="*/ 175478 h 1268099"/>
                    <a:gd name="connsiteX2800" fmla="*/ 1056715 w 1524655"/>
                    <a:gd name="connsiteY2800" fmla="*/ 177263 h 1268099"/>
                    <a:gd name="connsiteX2801" fmla="*/ 1050862 w 1524655"/>
                    <a:gd name="connsiteY2801" fmla="*/ 186164 h 1268099"/>
                    <a:gd name="connsiteX2802" fmla="*/ 1050631 w 1524655"/>
                    <a:gd name="connsiteY2802" fmla="*/ 186503 h 1268099"/>
                    <a:gd name="connsiteX2803" fmla="*/ 1050449 w 1524655"/>
                    <a:gd name="connsiteY2803" fmla="*/ 186880 h 1268099"/>
                    <a:gd name="connsiteX2804" fmla="*/ 1049356 w 1524655"/>
                    <a:gd name="connsiteY2804" fmla="*/ 189175 h 1268099"/>
                    <a:gd name="connsiteX2805" fmla="*/ 1048980 w 1524655"/>
                    <a:gd name="connsiteY2805" fmla="*/ 189952 h 1268099"/>
                    <a:gd name="connsiteX2806" fmla="*/ 1048846 w 1524655"/>
                    <a:gd name="connsiteY2806" fmla="*/ 190802 h 1268099"/>
                    <a:gd name="connsiteX2807" fmla="*/ 1048506 w 1524655"/>
                    <a:gd name="connsiteY2807" fmla="*/ 192903 h 1268099"/>
                    <a:gd name="connsiteX2808" fmla="*/ 1048251 w 1524655"/>
                    <a:gd name="connsiteY2808" fmla="*/ 194494 h 1268099"/>
                    <a:gd name="connsiteX2809" fmla="*/ 1048822 w 1524655"/>
                    <a:gd name="connsiteY2809" fmla="*/ 196012 h 1268099"/>
                    <a:gd name="connsiteX2810" fmla="*/ 1049393 w 1524655"/>
                    <a:gd name="connsiteY2810" fmla="*/ 197517 h 1268099"/>
                    <a:gd name="connsiteX2811" fmla="*/ 1049818 w 1524655"/>
                    <a:gd name="connsiteY2811" fmla="*/ 198622 h 1268099"/>
                    <a:gd name="connsiteX2812" fmla="*/ 1050619 w 1524655"/>
                    <a:gd name="connsiteY2812" fmla="*/ 199497 h 1268099"/>
                    <a:gd name="connsiteX2813" fmla="*/ 1052513 w 1524655"/>
                    <a:gd name="connsiteY2813" fmla="*/ 201549 h 1268099"/>
                    <a:gd name="connsiteX2814" fmla="*/ 1052926 w 1524655"/>
                    <a:gd name="connsiteY2814" fmla="*/ 201986 h 1268099"/>
                    <a:gd name="connsiteX2815" fmla="*/ 1053412 w 1524655"/>
                    <a:gd name="connsiteY2815" fmla="*/ 202338 h 1268099"/>
                    <a:gd name="connsiteX2816" fmla="*/ 1055076 w 1524655"/>
                    <a:gd name="connsiteY2816" fmla="*/ 203540 h 1268099"/>
                    <a:gd name="connsiteX2817" fmla="*/ 1054772 w 1524655"/>
                    <a:gd name="connsiteY2817" fmla="*/ 203686 h 1268099"/>
                    <a:gd name="connsiteX2818" fmla="*/ 1053825 w 1524655"/>
                    <a:gd name="connsiteY2818" fmla="*/ 205532 h 1268099"/>
                    <a:gd name="connsiteX2819" fmla="*/ 1053011 w 1524655"/>
                    <a:gd name="connsiteY2819" fmla="*/ 207110 h 1268099"/>
                    <a:gd name="connsiteX2820" fmla="*/ 1052258 w 1524655"/>
                    <a:gd name="connsiteY2820" fmla="*/ 208555 h 1268099"/>
                    <a:gd name="connsiteX2821" fmla="*/ 1052343 w 1524655"/>
                    <a:gd name="connsiteY2821" fmla="*/ 210195 h 1268099"/>
                    <a:gd name="connsiteX2822" fmla="*/ 1052465 w 1524655"/>
                    <a:gd name="connsiteY2822" fmla="*/ 212659 h 1268099"/>
                    <a:gd name="connsiteX2823" fmla="*/ 1052489 w 1524655"/>
                    <a:gd name="connsiteY2823" fmla="*/ 213254 h 1268099"/>
                    <a:gd name="connsiteX2824" fmla="*/ 1052635 w 1524655"/>
                    <a:gd name="connsiteY2824" fmla="*/ 213825 h 1268099"/>
                    <a:gd name="connsiteX2825" fmla="*/ 1053485 w 1524655"/>
                    <a:gd name="connsiteY2825" fmla="*/ 217225 h 1268099"/>
                    <a:gd name="connsiteX2826" fmla="*/ 1052003 w 1524655"/>
                    <a:gd name="connsiteY2826" fmla="*/ 217092 h 1268099"/>
                    <a:gd name="connsiteX2827" fmla="*/ 1051117 w 1524655"/>
                    <a:gd name="connsiteY2827" fmla="*/ 217006 h 1268099"/>
                    <a:gd name="connsiteX2828" fmla="*/ 1050243 w 1524655"/>
                    <a:gd name="connsiteY2828" fmla="*/ 217189 h 1268099"/>
                    <a:gd name="connsiteX2829" fmla="*/ 1047207 w 1524655"/>
                    <a:gd name="connsiteY2829" fmla="*/ 217808 h 1268099"/>
                    <a:gd name="connsiteX2830" fmla="*/ 1045713 w 1524655"/>
                    <a:gd name="connsiteY2830" fmla="*/ 218112 h 1268099"/>
                    <a:gd name="connsiteX2831" fmla="*/ 1044535 w 1524655"/>
                    <a:gd name="connsiteY2831" fmla="*/ 219083 h 1268099"/>
                    <a:gd name="connsiteX2832" fmla="*/ 1042751 w 1524655"/>
                    <a:gd name="connsiteY2832" fmla="*/ 220564 h 1268099"/>
                    <a:gd name="connsiteX2833" fmla="*/ 1041718 w 1524655"/>
                    <a:gd name="connsiteY2833" fmla="*/ 221427 h 1268099"/>
                    <a:gd name="connsiteX2834" fmla="*/ 1041148 w 1524655"/>
                    <a:gd name="connsiteY2834" fmla="*/ 222641 h 1268099"/>
                    <a:gd name="connsiteX2835" fmla="*/ 1040006 w 1524655"/>
                    <a:gd name="connsiteY2835" fmla="*/ 225058 h 1268099"/>
                    <a:gd name="connsiteX2836" fmla="*/ 1039812 w 1524655"/>
                    <a:gd name="connsiteY2836" fmla="*/ 225458 h 1268099"/>
                    <a:gd name="connsiteX2837" fmla="*/ 1039690 w 1524655"/>
                    <a:gd name="connsiteY2837" fmla="*/ 225883 h 1268099"/>
                    <a:gd name="connsiteX2838" fmla="*/ 1039618 w 1524655"/>
                    <a:gd name="connsiteY2838" fmla="*/ 226126 h 1268099"/>
                    <a:gd name="connsiteX2839" fmla="*/ 1039387 w 1524655"/>
                    <a:gd name="connsiteY2839" fmla="*/ 226065 h 1268099"/>
                    <a:gd name="connsiteX2840" fmla="*/ 1038258 w 1524655"/>
                    <a:gd name="connsiteY2840" fmla="*/ 225810 h 1268099"/>
                    <a:gd name="connsiteX2841" fmla="*/ 1037687 w 1524655"/>
                    <a:gd name="connsiteY2841" fmla="*/ 225677 h 1268099"/>
                    <a:gd name="connsiteX2842" fmla="*/ 1037104 w 1524655"/>
                    <a:gd name="connsiteY2842" fmla="*/ 225652 h 1268099"/>
                    <a:gd name="connsiteX2843" fmla="*/ 1035708 w 1524655"/>
                    <a:gd name="connsiteY2843" fmla="*/ 225604 h 1268099"/>
                    <a:gd name="connsiteX2844" fmla="*/ 1033170 w 1524655"/>
                    <a:gd name="connsiteY2844" fmla="*/ 225749 h 1268099"/>
                    <a:gd name="connsiteX2845" fmla="*/ 1031445 w 1524655"/>
                    <a:gd name="connsiteY2845" fmla="*/ 223892 h 1268099"/>
                    <a:gd name="connsiteX2846" fmla="*/ 1031130 w 1524655"/>
                    <a:gd name="connsiteY2846" fmla="*/ 223564 h 1268099"/>
                    <a:gd name="connsiteX2847" fmla="*/ 1030765 w 1524655"/>
                    <a:gd name="connsiteY2847" fmla="*/ 223284 h 1268099"/>
                    <a:gd name="connsiteX2848" fmla="*/ 1028191 w 1524655"/>
                    <a:gd name="connsiteY2848" fmla="*/ 221244 h 1268099"/>
                    <a:gd name="connsiteX2849" fmla="*/ 1027875 w 1524655"/>
                    <a:gd name="connsiteY2849" fmla="*/ 220989 h 1268099"/>
                    <a:gd name="connsiteX2850" fmla="*/ 1027523 w 1524655"/>
                    <a:gd name="connsiteY2850" fmla="*/ 220771 h 1268099"/>
                    <a:gd name="connsiteX2851" fmla="*/ 1024318 w 1524655"/>
                    <a:gd name="connsiteY2851" fmla="*/ 218865 h 1268099"/>
                    <a:gd name="connsiteX2852" fmla="*/ 1023650 w 1524655"/>
                    <a:gd name="connsiteY2852" fmla="*/ 218464 h 1268099"/>
                    <a:gd name="connsiteX2853" fmla="*/ 1022897 w 1524655"/>
                    <a:gd name="connsiteY2853" fmla="*/ 218245 h 1268099"/>
                    <a:gd name="connsiteX2854" fmla="*/ 1015404 w 1524655"/>
                    <a:gd name="connsiteY2854" fmla="*/ 216072 h 1268099"/>
                    <a:gd name="connsiteX2855" fmla="*/ 1014154 w 1524655"/>
                    <a:gd name="connsiteY2855" fmla="*/ 215719 h 1268099"/>
                    <a:gd name="connsiteX2856" fmla="*/ 1012879 w 1524655"/>
                    <a:gd name="connsiteY2856" fmla="*/ 215901 h 1268099"/>
                    <a:gd name="connsiteX2857" fmla="*/ 1003517 w 1524655"/>
                    <a:gd name="connsiteY2857" fmla="*/ 217201 h 1268099"/>
                    <a:gd name="connsiteX2858" fmla="*/ 1001999 w 1524655"/>
                    <a:gd name="connsiteY2858" fmla="*/ 217419 h 1268099"/>
                    <a:gd name="connsiteX2859" fmla="*/ 1000760 w 1524655"/>
                    <a:gd name="connsiteY2859" fmla="*/ 218318 h 1268099"/>
                    <a:gd name="connsiteX2860" fmla="*/ 993074 w 1524655"/>
                    <a:gd name="connsiteY2860" fmla="*/ 223952 h 1268099"/>
                    <a:gd name="connsiteX2861" fmla="*/ 987731 w 1524655"/>
                    <a:gd name="connsiteY2861" fmla="*/ 224997 h 1268099"/>
                    <a:gd name="connsiteX2862" fmla="*/ 981599 w 1524655"/>
                    <a:gd name="connsiteY2862" fmla="*/ 225494 h 1268099"/>
                    <a:gd name="connsiteX2863" fmla="*/ 980056 w 1524655"/>
                    <a:gd name="connsiteY2863" fmla="*/ 225616 h 1268099"/>
                    <a:gd name="connsiteX2864" fmla="*/ 978769 w 1524655"/>
                    <a:gd name="connsiteY2864" fmla="*/ 226454 h 1268099"/>
                    <a:gd name="connsiteX2865" fmla="*/ 960713 w 1524655"/>
                    <a:gd name="connsiteY2865" fmla="*/ 238269 h 1268099"/>
                    <a:gd name="connsiteX2866" fmla="*/ 948740 w 1524655"/>
                    <a:gd name="connsiteY2866" fmla="*/ 243697 h 1268099"/>
                    <a:gd name="connsiteX2867" fmla="*/ 948436 w 1524655"/>
                    <a:gd name="connsiteY2867" fmla="*/ 243830 h 1268099"/>
                    <a:gd name="connsiteX2868" fmla="*/ 948157 w 1524655"/>
                    <a:gd name="connsiteY2868" fmla="*/ 244012 h 1268099"/>
                    <a:gd name="connsiteX2869" fmla="*/ 944478 w 1524655"/>
                    <a:gd name="connsiteY2869" fmla="*/ 246198 h 1268099"/>
                    <a:gd name="connsiteX2870" fmla="*/ 943943 w 1524655"/>
                    <a:gd name="connsiteY2870" fmla="*/ 246502 h 1268099"/>
                    <a:gd name="connsiteX2871" fmla="*/ 943482 w 1524655"/>
                    <a:gd name="connsiteY2871" fmla="*/ 246927 h 1268099"/>
                    <a:gd name="connsiteX2872" fmla="*/ 942207 w 1524655"/>
                    <a:gd name="connsiteY2872" fmla="*/ 248092 h 1268099"/>
                    <a:gd name="connsiteX2873" fmla="*/ 938552 w 1524655"/>
                    <a:gd name="connsiteY2873" fmla="*/ 251420 h 1268099"/>
                    <a:gd name="connsiteX2874" fmla="*/ 941078 w 1524655"/>
                    <a:gd name="connsiteY2874" fmla="*/ 255670 h 1268099"/>
                    <a:gd name="connsiteX2875" fmla="*/ 941685 w 1524655"/>
                    <a:gd name="connsiteY2875" fmla="*/ 256690 h 1268099"/>
                    <a:gd name="connsiteX2876" fmla="*/ 941855 w 1524655"/>
                    <a:gd name="connsiteY2876" fmla="*/ 256969 h 1268099"/>
                    <a:gd name="connsiteX2877" fmla="*/ 942049 w 1524655"/>
                    <a:gd name="connsiteY2877" fmla="*/ 257224 h 1268099"/>
                    <a:gd name="connsiteX2878" fmla="*/ 943045 w 1524655"/>
                    <a:gd name="connsiteY2878" fmla="*/ 258548 h 1268099"/>
                    <a:gd name="connsiteX2879" fmla="*/ 943494 w 1524655"/>
                    <a:gd name="connsiteY2879" fmla="*/ 259142 h 1268099"/>
                    <a:gd name="connsiteX2880" fmla="*/ 942911 w 1524655"/>
                    <a:gd name="connsiteY2880" fmla="*/ 259786 h 1268099"/>
                    <a:gd name="connsiteX2881" fmla="*/ 942316 w 1524655"/>
                    <a:gd name="connsiteY2881" fmla="*/ 259641 h 1268099"/>
                    <a:gd name="connsiteX2882" fmla="*/ 940823 w 1524655"/>
                    <a:gd name="connsiteY2882" fmla="*/ 260017 h 1268099"/>
                    <a:gd name="connsiteX2883" fmla="*/ 939111 w 1524655"/>
                    <a:gd name="connsiteY2883" fmla="*/ 260454 h 1268099"/>
                    <a:gd name="connsiteX2884" fmla="*/ 938127 w 1524655"/>
                    <a:gd name="connsiteY2884" fmla="*/ 260709 h 1268099"/>
                    <a:gd name="connsiteX2885" fmla="*/ 937277 w 1524655"/>
                    <a:gd name="connsiteY2885" fmla="*/ 261280 h 1268099"/>
                    <a:gd name="connsiteX2886" fmla="*/ 936111 w 1524655"/>
                    <a:gd name="connsiteY2886" fmla="*/ 262045 h 1268099"/>
                    <a:gd name="connsiteX2887" fmla="*/ 933173 w 1524655"/>
                    <a:gd name="connsiteY2887" fmla="*/ 264267 h 1268099"/>
                    <a:gd name="connsiteX2888" fmla="*/ 932833 w 1524655"/>
                    <a:gd name="connsiteY2888" fmla="*/ 264522 h 1268099"/>
                    <a:gd name="connsiteX2889" fmla="*/ 932541 w 1524655"/>
                    <a:gd name="connsiteY2889" fmla="*/ 264813 h 1268099"/>
                    <a:gd name="connsiteX2890" fmla="*/ 931497 w 1524655"/>
                    <a:gd name="connsiteY2890" fmla="*/ 265870 h 1268099"/>
                    <a:gd name="connsiteX2891" fmla="*/ 930586 w 1524655"/>
                    <a:gd name="connsiteY2891" fmla="*/ 266793 h 1268099"/>
                    <a:gd name="connsiteX2892" fmla="*/ 930125 w 1524655"/>
                    <a:gd name="connsiteY2892" fmla="*/ 268007 h 1268099"/>
                    <a:gd name="connsiteX2893" fmla="*/ 929323 w 1524655"/>
                    <a:gd name="connsiteY2893" fmla="*/ 270144 h 1268099"/>
                    <a:gd name="connsiteX2894" fmla="*/ 929165 w 1524655"/>
                    <a:gd name="connsiteY2894" fmla="*/ 270363 h 1268099"/>
                    <a:gd name="connsiteX2895" fmla="*/ 929080 w 1524655"/>
                    <a:gd name="connsiteY2895" fmla="*/ 270399 h 1268099"/>
                    <a:gd name="connsiteX2896" fmla="*/ 925911 w 1524655"/>
                    <a:gd name="connsiteY2896" fmla="*/ 270618 h 1268099"/>
                    <a:gd name="connsiteX2897" fmla="*/ 924211 w 1524655"/>
                    <a:gd name="connsiteY2897" fmla="*/ 270605 h 1268099"/>
                    <a:gd name="connsiteX2898" fmla="*/ 923738 w 1524655"/>
                    <a:gd name="connsiteY2898" fmla="*/ 270605 h 1268099"/>
                    <a:gd name="connsiteX2899" fmla="*/ 923276 w 1524655"/>
                    <a:gd name="connsiteY2899" fmla="*/ 270678 h 1268099"/>
                    <a:gd name="connsiteX2900" fmla="*/ 919791 w 1524655"/>
                    <a:gd name="connsiteY2900" fmla="*/ 271225 h 1268099"/>
                    <a:gd name="connsiteX2901" fmla="*/ 917945 w 1524655"/>
                    <a:gd name="connsiteY2901" fmla="*/ 271504 h 1268099"/>
                    <a:gd name="connsiteX2902" fmla="*/ 916585 w 1524655"/>
                    <a:gd name="connsiteY2902" fmla="*/ 272779 h 1268099"/>
                    <a:gd name="connsiteX2903" fmla="*/ 915760 w 1524655"/>
                    <a:gd name="connsiteY2903" fmla="*/ 273544 h 1268099"/>
                    <a:gd name="connsiteX2904" fmla="*/ 914934 w 1524655"/>
                    <a:gd name="connsiteY2904" fmla="*/ 274309 h 1268099"/>
                    <a:gd name="connsiteX2905" fmla="*/ 914436 w 1524655"/>
                    <a:gd name="connsiteY2905" fmla="*/ 275317 h 1268099"/>
                    <a:gd name="connsiteX2906" fmla="*/ 914035 w 1524655"/>
                    <a:gd name="connsiteY2906" fmla="*/ 276143 h 1268099"/>
                    <a:gd name="connsiteX2907" fmla="*/ 910356 w 1524655"/>
                    <a:gd name="connsiteY2907" fmla="*/ 277952 h 1268099"/>
                    <a:gd name="connsiteX2908" fmla="*/ 909615 w 1524655"/>
                    <a:gd name="connsiteY2908" fmla="*/ 278304 h 1268099"/>
                    <a:gd name="connsiteX2909" fmla="*/ 908996 w 1524655"/>
                    <a:gd name="connsiteY2909" fmla="*/ 278863 h 1268099"/>
                    <a:gd name="connsiteX2910" fmla="*/ 908012 w 1524655"/>
                    <a:gd name="connsiteY2910" fmla="*/ 279737 h 1268099"/>
                    <a:gd name="connsiteX2911" fmla="*/ 907126 w 1524655"/>
                    <a:gd name="connsiteY2911" fmla="*/ 280514 h 1268099"/>
                    <a:gd name="connsiteX2912" fmla="*/ 906604 w 1524655"/>
                    <a:gd name="connsiteY2912" fmla="*/ 281583 h 1268099"/>
                    <a:gd name="connsiteX2913" fmla="*/ 905900 w 1524655"/>
                    <a:gd name="connsiteY2913" fmla="*/ 283016 h 1268099"/>
                    <a:gd name="connsiteX2914" fmla="*/ 905475 w 1524655"/>
                    <a:gd name="connsiteY2914" fmla="*/ 283890 h 1268099"/>
                    <a:gd name="connsiteX2915" fmla="*/ 905341 w 1524655"/>
                    <a:gd name="connsiteY2915" fmla="*/ 284849 h 1268099"/>
                    <a:gd name="connsiteX2916" fmla="*/ 905159 w 1524655"/>
                    <a:gd name="connsiteY2916" fmla="*/ 286161 h 1268099"/>
                    <a:gd name="connsiteX2917" fmla="*/ 904952 w 1524655"/>
                    <a:gd name="connsiteY2917" fmla="*/ 288116 h 1268099"/>
                    <a:gd name="connsiteX2918" fmla="*/ 904940 w 1524655"/>
                    <a:gd name="connsiteY2918" fmla="*/ 289221 h 1268099"/>
                    <a:gd name="connsiteX2919" fmla="*/ 904370 w 1524655"/>
                    <a:gd name="connsiteY2919" fmla="*/ 289670 h 1268099"/>
                    <a:gd name="connsiteX2920" fmla="*/ 903799 w 1524655"/>
                    <a:gd name="connsiteY2920" fmla="*/ 290593 h 1268099"/>
                    <a:gd name="connsiteX2921" fmla="*/ 902597 w 1524655"/>
                    <a:gd name="connsiteY2921" fmla="*/ 292524 h 1268099"/>
                    <a:gd name="connsiteX2922" fmla="*/ 902402 w 1524655"/>
                    <a:gd name="connsiteY2922" fmla="*/ 292839 h 1268099"/>
                    <a:gd name="connsiteX2923" fmla="*/ 902244 w 1524655"/>
                    <a:gd name="connsiteY2923" fmla="*/ 293155 h 1268099"/>
                    <a:gd name="connsiteX2924" fmla="*/ 900860 w 1524655"/>
                    <a:gd name="connsiteY2924" fmla="*/ 296142 h 1268099"/>
                    <a:gd name="connsiteX2925" fmla="*/ 900690 w 1524655"/>
                    <a:gd name="connsiteY2925" fmla="*/ 296518 h 1268099"/>
                    <a:gd name="connsiteX2926" fmla="*/ 900569 w 1524655"/>
                    <a:gd name="connsiteY2926" fmla="*/ 296907 h 1268099"/>
                    <a:gd name="connsiteX2927" fmla="*/ 900496 w 1524655"/>
                    <a:gd name="connsiteY2927" fmla="*/ 297150 h 1268099"/>
                    <a:gd name="connsiteX2928" fmla="*/ 899634 w 1524655"/>
                    <a:gd name="connsiteY2928" fmla="*/ 298461 h 1268099"/>
                    <a:gd name="connsiteX2929" fmla="*/ 897557 w 1524655"/>
                    <a:gd name="connsiteY2929" fmla="*/ 300101 h 1268099"/>
                    <a:gd name="connsiteX2930" fmla="*/ 896962 w 1524655"/>
                    <a:gd name="connsiteY2930" fmla="*/ 300574 h 1268099"/>
                    <a:gd name="connsiteX2931" fmla="*/ 896501 w 1524655"/>
                    <a:gd name="connsiteY2931" fmla="*/ 301169 h 1268099"/>
                    <a:gd name="connsiteX2932" fmla="*/ 895165 w 1524655"/>
                    <a:gd name="connsiteY2932" fmla="*/ 302906 h 1268099"/>
                    <a:gd name="connsiteX2933" fmla="*/ 894595 w 1524655"/>
                    <a:gd name="connsiteY2933" fmla="*/ 303659 h 1268099"/>
                    <a:gd name="connsiteX2934" fmla="*/ 894279 w 1524655"/>
                    <a:gd name="connsiteY2934" fmla="*/ 304533 h 1268099"/>
                    <a:gd name="connsiteX2935" fmla="*/ 893842 w 1524655"/>
                    <a:gd name="connsiteY2935" fmla="*/ 305735 h 1268099"/>
                    <a:gd name="connsiteX2936" fmla="*/ 893538 w 1524655"/>
                    <a:gd name="connsiteY2936" fmla="*/ 306561 h 1268099"/>
                    <a:gd name="connsiteX2937" fmla="*/ 893526 w 1524655"/>
                    <a:gd name="connsiteY2937" fmla="*/ 306743 h 1268099"/>
                    <a:gd name="connsiteX2938" fmla="*/ 889349 w 1524655"/>
                    <a:gd name="connsiteY2938" fmla="*/ 311454 h 1268099"/>
                    <a:gd name="connsiteX2939" fmla="*/ 894315 w 1524655"/>
                    <a:gd name="connsiteY2939" fmla="*/ 315073 h 1268099"/>
                    <a:gd name="connsiteX2940" fmla="*/ 893198 w 1524655"/>
                    <a:gd name="connsiteY2940" fmla="*/ 316542 h 1268099"/>
                    <a:gd name="connsiteX2941" fmla="*/ 892469 w 1524655"/>
                    <a:gd name="connsiteY2941" fmla="*/ 317514 h 1268099"/>
                    <a:gd name="connsiteX2942" fmla="*/ 892166 w 1524655"/>
                    <a:gd name="connsiteY2942" fmla="*/ 318692 h 1268099"/>
                    <a:gd name="connsiteX2943" fmla="*/ 891777 w 1524655"/>
                    <a:gd name="connsiteY2943" fmla="*/ 320197 h 1268099"/>
                    <a:gd name="connsiteX2944" fmla="*/ 891644 w 1524655"/>
                    <a:gd name="connsiteY2944" fmla="*/ 320732 h 1268099"/>
                    <a:gd name="connsiteX2945" fmla="*/ 891607 w 1524655"/>
                    <a:gd name="connsiteY2945" fmla="*/ 321290 h 1268099"/>
                    <a:gd name="connsiteX2946" fmla="*/ 891328 w 1524655"/>
                    <a:gd name="connsiteY2946" fmla="*/ 325370 h 1268099"/>
                    <a:gd name="connsiteX2947" fmla="*/ 891279 w 1524655"/>
                    <a:gd name="connsiteY2947" fmla="*/ 326087 h 1268099"/>
                    <a:gd name="connsiteX2948" fmla="*/ 891401 w 1524655"/>
                    <a:gd name="connsiteY2948" fmla="*/ 326803 h 1268099"/>
                    <a:gd name="connsiteX2949" fmla="*/ 891547 w 1524655"/>
                    <a:gd name="connsiteY2949" fmla="*/ 327653 h 1268099"/>
                    <a:gd name="connsiteX2950" fmla="*/ 891474 w 1524655"/>
                    <a:gd name="connsiteY2950" fmla="*/ 328321 h 1268099"/>
                    <a:gd name="connsiteX2951" fmla="*/ 890842 w 1524655"/>
                    <a:gd name="connsiteY2951" fmla="*/ 330106 h 1268099"/>
                    <a:gd name="connsiteX2952" fmla="*/ 890454 w 1524655"/>
                    <a:gd name="connsiteY2952" fmla="*/ 331187 h 1268099"/>
                    <a:gd name="connsiteX2953" fmla="*/ 890478 w 1524655"/>
                    <a:gd name="connsiteY2953" fmla="*/ 332328 h 1268099"/>
                    <a:gd name="connsiteX2954" fmla="*/ 890539 w 1524655"/>
                    <a:gd name="connsiteY2954" fmla="*/ 334490 h 1268099"/>
                    <a:gd name="connsiteX2955" fmla="*/ 890563 w 1524655"/>
                    <a:gd name="connsiteY2955" fmla="*/ 335412 h 1268099"/>
                    <a:gd name="connsiteX2956" fmla="*/ 890612 w 1524655"/>
                    <a:gd name="connsiteY2956" fmla="*/ 335558 h 1268099"/>
                    <a:gd name="connsiteX2957" fmla="*/ 889349 w 1524655"/>
                    <a:gd name="connsiteY2957" fmla="*/ 337428 h 1268099"/>
                    <a:gd name="connsiteX2958" fmla="*/ 888013 w 1524655"/>
                    <a:gd name="connsiteY2958" fmla="*/ 339213 h 1268099"/>
                    <a:gd name="connsiteX2959" fmla="*/ 885548 w 1524655"/>
                    <a:gd name="connsiteY2959" fmla="*/ 341569 h 1268099"/>
                    <a:gd name="connsiteX2960" fmla="*/ 885184 w 1524655"/>
                    <a:gd name="connsiteY2960" fmla="*/ 341909 h 1268099"/>
                    <a:gd name="connsiteX2961" fmla="*/ 884892 w 1524655"/>
                    <a:gd name="connsiteY2961" fmla="*/ 342309 h 1268099"/>
                    <a:gd name="connsiteX2962" fmla="*/ 883860 w 1524655"/>
                    <a:gd name="connsiteY2962" fmla="*/ 343682 h 1268099"/>
                    <a:gd name="connsiteX2963" fmla="*/ 882682 w 1524655"/>
                    <a:gd name="connsiteY2963" fmla="*/ 345418 h 1268099"/>
                    <a:gd name="connsiteX2964" fmla="*/ 882233 w 1524655"/>
                    <a:gd name="connsiteY2964" fmla="*/ 346232 h 1268099"/>
                    <a:gd name="connsiteX2965" fmla="*/ 881687 w 1524655"/>
                    <a:gd name="connsiteY2965" fmla="*/ 346353 h 1268099"/>
                    <a:gd name="connsiteX2966" fmla="*/ 878505 w 1524655"/>
                    <a:gd name="connsiteY2966" fmla="*/ 347009 h 1268099"/>
                    <a:gd name="connsiteX2967" fmla="*/ 877764 w 1524655"/>
                    <a:gd name="connsiteY2967" fmla="*/ 348818 h 1268099"/>
                    <a:gd name="connsiteX2968" fmla="*/ 875955 w 1524655"/>
                    <a:gd name="connsiteY2968" fmla="*/ 349377 h 1268099"/>
                    <a:gd name="connsiteX2969" fmla="*/ 875445 w 1524655"/>
                    <a:gd name="connsiteY2969" fmla="*/ 349304 h 1268099"/>
                    <a:gd name="connsiteX2970" fmla="*/ 875141 w 1524655"/>
                    <a:gd name="connsiteY2970" fmla="*/ 349170 h 1268099"/>
                    <a:gd name="connsiteX2971" fmla="*/ 874486 w 1524655"/>
                    <a:gd name="connsiteY2971" fmla="*/ 348782 h 1268099"/>
                    <a:gd name="connsiteX2972" fmla="*/ 874425 w 1524655"/>
                    <a:gd name="connsiteY2972" fmla="*/ 346778 h 1268099"/>
                    <a:gd name="connsiteX2973" fmla="*/ 872252 w 1524655"/>
                    <a:gd name="connsiteY2973" fmla="*/ 345029 h 1268099"/>
                    <a:gd name="connsiteX2974" fmla="*/ 871207 w 1524655"/>
                    <a:gd name="connsiteY2974" fmla="*/ 344192 h 1268099"/>
                    <a:gd name="connsiteX2975" fmla="*/ 870272 w 1524655"/>
                    <a:gd name="connsiteY2975" fmla="*/ 343439 h 1268099"/>
                    <a:gd name="connsiteX2976" fmla="*/ 869119 w 1524655"/>
                    <a:gd name="connsiteY2976" fmla="*/ 343099 h 1268099"/>
                    <a:gd name="connsiteX2977" fmla="*/ 867844 w 1524655"/>
                    <a:gd name="connsiteY2977" fmla="*/ 342722 h 1268099"/>
                    <a:gd name="connsiteX2978" fmla="*/ 866265 w 1524655"/>
                    <a:gd name="connsiteY2978" fmla="*/ 342261 h 1268099"/>
                    <a:gd name="connsiteX2979" fmla="*/ 864662 w 1524655"/>
                    <a:gd name="connsiteY2979" fmla="*/ 342650 h 1268099"/>
                    <a:gd name="connsiteX2980" fmla="*/ 863557 w 1524655"/>
                    <a:gd name="connsiteY2980" fmla="*/ 342917 h 1268099"/>
                    <a:gd name="connsiteX2981" fmla="*/ 862404 w 1524655"/>
                    <a:gd name="connsiteY2981" fmla="*/ 343196 h 1268099"/>
                    <a:gd name="connsiteX2982" fmla="*/ 861444 w 1524655"/>
                    <a:gd name="connsiteY2982" fmla="*/ 343900 h 1268099"/>
                    <a:gd name="connsiteX2983" fmla="*/ 860716 w 1524655"/>
                    <a:gd name="connsiteY2983" fmla="*/ 344422 h 1268099"/>
                    <a:gd name="connsiteX2984" fmla="*/ 859781 w 1524655"/>
                    <a:gd name="connsiteY2984" fmla="*/ 345430 h 1268099"/>
                    <a:gd name="connsiteX2985" fmla="*/ 857729 w 1524655"/>
                    <a:gd name="connsiteY2985" fmla="*/ 348138 h 1268099"/>
                    <a:gd name="connsiteX2986" fmla="*/ 855579 w 1524655"/>
                    <a:gd name="connsiteY2986" fmla="*/ 351465 h 1268099"/>
                    <a:gd name="connsiteX2987" fmla="*/ 855179 w 1524655"/>
                    <a:gd name="connsiteY2987" fmla="*/ 352085 h 1268099"/>
                    <a:gd name="connsiteX2988" fmla="*/ 854936 w 1524655"/>
                    <a:gd name="connsiteY2988" fmla="*/ 352789 h 1268099"/>
                    <a:gd name="connsiteX2989" fmla="*/ 854693 w 1524655"/>
                    <a:gd name="connsiteY2989" fmla="*/ 353481 h 1268099"/>
                    <a:gd name="connsiteX2990" fmla="*/ 853503 w 1524655"/>
                    <a:gd name="connsiteY2990" fmla="*/ 355290 h 1268099"/>
                    <a:gd name="connsiteX2991" fmla="*/ 853053 w 1524655"/>
                    <a:gd name="connsiteY2991" fmla="*/ 355801 h 1268099"/>
                    <a:gd name="connsiteX2992" fmla="*/ 852580 w 1524655"/>
                    <a:gd name="connsiteY2992" fmla="*/ 355788 h 1268099"/>
                    <a:gd name="connsiteX2993" fmla="*/ 848221 w 1524655"/>
                    <a:gd name="connsiteY2993" fmla="*/ 355728 h 1268099"/>
                    <a:gd name="connsiteX2994" fmla="*/ 845646 w 1524655"/>
                    <a:gd name="connsiteY2994" fmla="*/ 355910 h 1268099"/>
                    <a:gd name="connsiteX2995" fmla="*/ 841093 w 1524655"/>
                    <a:gd name="connsiteY2995" fmla="*/ 355023 h 1268099"/>
                    <a:gd name="connsiteX2996" fmla="*/ 838834 w 1524655"/>
                    <a:gd name="connsiteY2996" fmla="*/ 354574 h 1268099"/>
                    <a:gd name="connsiteX2997" fmla="*/ 836855 w 1524655"/>
                    <a:gd name="connsiteY2997" fmla="*/ 355740 h 1268099"/>
                    <a:gd name="connsiteX2998" fmla="*/ 835252 w 1524655"/>
                    <a:gd name="connsiteY2998" fmla="*/ 356675 h 1268099"/>
                    <a:gd name="connsiteX2999" fmla="*/ 833564 w 1524655"/>
                    <a:gd name="connsiteY2999" fmla="*/ 357658 h 1268099"/>
                    <a:gd name="connsiteX3000" fmla="*/ 832763 w 1524655"/>
                    <a:gd name="connsiteY3000" fmla="*/ 359443 h 1268099"/>
                    <a:gd name="connsiteX3001" fmla="*/ 832301 w 1524655"/>
                    <a:gd name="connsiteY3001" fmla="*/ 360488 h 1268099"/>
                    <a:gd name="connsiteX3002" fmla="*/ 831415 w 1524655"/>
                    <a:gd name="connsiteY3002" fmla="*/ 361932 h 1268099"/>
                    <a:gd name="connsiteX3003" fmla="*/ 830650 w 1524655"/>
                    <a:gd name="connsiteY3003" fmla="*/ 363098 h 1268099"/>
                    <a:gd name="connsiteX3004" fmla="*/ 830468 w 1524655"/>
                    <a:gd name="connsiteY3004" fmla="*/ 364483 h 1268099"/>
                    <a:gd name="connsiteX3005" fmla="*/ 830249 w 1524655"/>
                    <a:gd name="connsiteY3005" fmla="*/ 366195 h 1268099"/>
                    <a:gd name="connsiteX3006" fmla="*/ 830200 w 1524655"/>
                    <a:gd name="connsiteY3006" fmla="*/ 366595 h 1268099"/>
                    <a:gd name="connsiteX3007" fmla="*/ 830200 w 1524655"/>
                    <a:gd name="connsiteY3007" fmla="*/ 367008 h 1268099"/>
                    <a:gd name="connsiteX3008" fmla="*/ 830249 w 1524655"/>
                    <a:gd name="connsiteY3008" fmla="*/ 372764 h 1268099"/>
                    <a:gd name="connsiteX3009" fmla="*/ 830249 w 1524655"/>
                    <a:gd name="connsiteY3009" fmla="*/ 373481 h 1268099"/>
                    <a:gd name="connsiteX3010" fmla="*/ 830031 w 1524655"/>
                    <a:gd name="connsiteY3010" fmla="*/ 373541 h 1268099"/>
                    <a:gd name="connsiteX3011" fmla="*/ 824906 w 1524655"/>
                    <a:gd name="connsiteY3011" fmla="*/ 374925 h 1268099"/>
                    <a:gd name="connsiteX3012" fmla="*/ 818276 w 1524655"/>
                    <a:gd name="connsiteY3012" fmla="*/ 377123 h 1268099"/>
                    <a:gd name="connsiteX3013" fmla="*/ 816613 w 1524655"/>
                    <a:gd name="connsiteY3013" fmla="*/ 377852 h 1268099"/>
                    <a:gd name="connsiteX3014" fmla="*/ 815690 w 1524655"/>
                    <a:gd name="connsiteY3014" fmla="*/ 377415 h 1268099"/>
                    <a:gd name="connsiteX3015" fmla="*/ 809108 w 1524655"/>
                    <a:gd name="connsiteY3015" fmla="*/ 374258 h 1268099"/>
                    <a:gd name="connsiteX3016" fmla="*/ 807263 w 1524655"/>
                    <a:gd name="connsiteY3016" fmla="*/ 381082 h 1268099"/>
                    <a:gd name="connsiteX3017" fmla="*/ 806801 w 1524655"/>
                    <a:gd name="connsiteY3017" fmla="*/ 381325 h 1268099"/>
                    <a:gd name="connsiteX3018" fmla="*/ 806085 w 1524655"/>
                    <a:gd name="connsiteY3018" fmla="*/ 382333 h 1268099"/>
                    <a:gd name="connsiteX3019" fmla="*/ 804749 w 1524655"/>
                    <a:gd name="connsiteY3019" fmla="*/ 382491 h 1268099"/>
                    <a:gd name="connsiteX3020" fmla="*/ 804202 w 1524655"/>
                    <a:gd name="connsiteY3020" fmla="*/ 382563 h 1268099"/>
                    <a:gd name="connsiteX3021" fmla="*/ 803680 w 1524655"/>
                    <a:gd name="connsiteY3021" fmla="*/ 382721 h 1268099"/>
                    <a:gd name="connsiteX3022" fmla="*/ 802235 w 1524655"/>
                    <a:gd name="connsiteY3022" fmla="*/ 383158 h 1268099"/>
                    <a:gd name="connsiteX3023" fmla="*/ 801908 w 1524655"/>
                    <a:gd name="connsiteY3023" fmla="*/ 383292 h 1268099"/>
                    <a:gd name="connsiteX3024" fmla="*/ 799819 w 1524655"/>
                    <a:gd name="connsiteY3024" fmla="*/ 382697 h 1268099"/>
                    <a:gd name="connsiteX3025" fmla="*/ 799005 w 1524655"/>
                    <a:gd name="connsiteY3025" fmla="*/ 382381 h 1268099"/>
                    <a:gd name="connsiteX3026" fmla="*/ 798301 w 1524655"/>
                    <a:gd name="connsiteY3026" fmla="*/ 381932 h 1268099"/>
                    <a:gd name="connsiteX3027" fmla="*/ 796917 w 1524655"/>
                    <a:gd name="connsiteY3027" fmla="*/ 380766 h 1268099"/>
                    <a:gd name="connsiteX3028" fmla="*/ 796492 w 1524655"/>
                    <a:gd name="connsiteY3028" fmla="*/ 380426 h 1268099"/>
                    <a:gd name="connsiteX3029" fmla="*/ 796018 w 1524655"/>
                    <a:gd name="connsiteY3029" fmla="*/ 380159 h 1268099"/>
                    <a:gd name="connsiteX3030" fmla="*/ 794464 w 1524655"/>
                    <a:gd name="connsiteY3030" fmla="*/ 379285 h 1268099"/>
                    <a:gd name="connsiteX3031" fmla="*/ 793335 w 1524655"/>
                    <a:gd name="connsiteY3031" fmla="*/ 378653 h 1268099"/>
                    <a:gd name="connsiteX3032" fmla="*/ 792047 w 1524655"/>
                    <a:gd name="connsiteY3032" fmla="*/ 378520 h 1268099"/>
                    <a:gd name="connsiteX3033" fmla="*/ 790165 w 1524655"/>
                    <a:gd name="connsiteY3033" fmla="*/ 378338 h 1268099"/>
                    <a:gd name="connsiteX3034" fmla="*/ 789607 w 1524655"/>
                    <a:gd name="connsiteY3034" fmla="*/ 378289 h 1268099"/>
                    <a:gd name="connsiteX3035" fmla="*/ 789036 w 1524655"/>
                    <a:gd name="connsiteY3035" fmla="*/ 378338 h 1268099"/>
                    <a:gd name="connsiteX3036" fmla="*/ 787761 w 1524655"/>
                    <a:gd name="connsiteY3036" fmla="*/ 378459 h 1268099"/>
                    <a:gd name="connsiteX3037" fmla="*/ 786668 w 1524655"/>
                    <a:gd name="connsiteY3037" fmla="*/ 378569 h 1268099"/>
                    <a:gd name="connsiteX3038" fmla="*/ 785672 w 1524655"/>
                    <a:gd name="connsiteY3038" fmla="*/ 379042 h 1268099"/>
                    <a:gd name="connsiteX3039" fmla="*/ 784082 w 1524655"/>
                    <a:gd name="connsiteY3039" fmla="*/ 379807 h 1268099"/>
                    <a:gd name="connsiteX3040" fmla="*/ 779564 w 1524655"/>
                    <a:gd name="connsiteY3040" fmla="*/ 381993 h 1268099"/>
                    <a:gd name="connsiteX3041" fmla="*/ 780840 w 1524655"/>
                    <a:gd name="connsiteY3041" fmla="*/ 386826 h 1268099"/>
                    <a:gd name="connsiteX3042" fmla="*/ 781034 w 1524655"/>
                    <a:gd name="connsiteY3042" fmla="*/ 387542 h 1268099"/>
                    <a:gd name="connsiteX3043" fmla="*/ 780985 w 1524655"/>
                    <a:gd name="connsiteY3043" fmla="*/ 388271 h 1268099"/>
                    <a:gd name="connsiteX3044" fmla="*/ 780924 w 1524655"/>
                    <a:gd name="connsiteY3044" fmla="*/ 389205 h 1268099"/>
                    <a:gd name="connsiteX3045" fmla="*/ 781094 w 1524655"/>
                    <a:gd name="connsiteY3045" fmla="*/ 389861 h 1268099"/>
                    <a:gd name="connsiteX3046" fmla="*/ 775254 w 1524655"/>
                    <a:gd name="connsiteY3046" fmla="*/ 388769 h 1268099"/>
                    <a:gd name="connsiteX3047" fmla="*/ 774258 w 1524655"/>
                    <a:gd name="connsiteY3047" fmla="*/ 394913 h 1268099"/>
                    <a:gd name="connsiteX3048" fmla="*/ 773821 w 1524655"/>
                    <a:gd name="connsiteY3048" fmla="*/ 397645 h 1268099"/>
                    <a:gd name="connsiteX3049" fmla="*/ 773505 w 1524655"/>
                    <a:gd name="connsiteY3049" fmla="*/ 397900 h 1268099"/>
                    <a:gd name="connsiteX3050" fmla="*/ 769583 w 1524655"/>
                    <a:gd name="connsiteY3050" fmla="*/ 401166 h 1268099"/>
                    <a:gd name="connsiteX3051" fmla="*/ 772109 w 1524655"/>
                    <a:gd name="connsiteY3051" fmla="*/ 405586 h 1268099"/>
                    <a:gd name="connsiteX3052" fmla="*/ 772728 w 1524655"/>
                    <a:gd name="connsiteY3052" fmla="*/ 406679 h 1268099"/>
                    <a:gd name="connsiteX3053" fmla="*/ 772679 w 1524655"/>
                    <a:gd name="connsiteY3053" fmla="*/ 406971 h 1268099"/>
                    <a:gd name="connsiteX3054" fmla="*/ 772679 w 1524655"/>
                    <a:gd name="connsiteY3054" fmla="*/ 407032 h 1268099"/>
                    <a:gd name="connsiteX3055" fmla="*/ 772097 w 1524655"/>
                    <a:gd name="connsiteY3055" fmla="*/ 408343 h 1268099"/>
                    <a:gd name="connsiteX3056" fmla="*/ 771404 w 1524655"/>
                    <a:gd name="connsiteY3056" fmla="*/ 409885 h 1268099"/>
                    <a:gd name="connsiteX3057" fmla="*/ 771477 w 1524655"/>
                    <a:gd name="connsiteY3057" fmla="*/ 410492 h 1268099"/>
                    <a:gd name="connsiteX3058" fmla="*/ 769024 w 1524655"/>
                    <a:gd name="connsiteY3058" fmla="*/ 409922 h 1268099"/>
                    <a:gd name="connsiteX3059" fmla="*/ 768502 w 1524655"/>
                    <a:gd name="connsiteY3059" fmla="*/ 409788 h 1268099"/>
                    <a:gd name="connsiteX3060" fmla="*/ 767968 w 1524655"/>
                    <a:gd name="connsiteY3060" fmla="*/ 409764 h 1268099"/>
                    <a:gd name="connsiteX3061" fmla="*/ 767628 w 1524655"/>
                    <a:gd name="connsiteY3061" fmla="*/ 409739 h 1268099"/>
                    <a:gd name="connsiteX3062" fmla="*/ 767579 w 1524655"/>
                    <a:gd name="connsiteY3062" fmla="*/ 409703 h 1268099"/>
                    <a:gd name="connsiteX3063" fmla="*/ 766681 w 1524655"/>
                    <a:gd name="connsiteY3063" fmla="*/ 409132 h 1268099"/>
                    <a:gd name="connsiteX3064" fmla="*/ 765649 w 1524655"/>
                    <a:gd name="connsiteY3064" fmla="*/ 408901 h 1268099"/>
                    <a:gd name="connsiteX3065" fmla="*/ 764653 w 1524655"/>
                    <a:gd name="connsiteY3065" fmla="*/ 408671 h 1268099"/>
                    <a:gd name="connsiteX3066" fmla="*/ 764301 w 1524655"/>
                    <a:gd name="connsiteY3066" fmla="*/ 408586 h 1268099"/>
                    <a:gd name="connsiteX3067" fmla="*/ 763949 w 1524655"/>
                    <a:gd name="connsiteY3067" fmla="*/ 408549 h 1268099"/>
                    <a:gd name="connsiteX3068" fmla="*/ 761824 w 1524655"/>
                    <a:gd name="connsiteY3068" fmla="*/ 408319 h 1268099"/>
                    <a:gd name="connsiteX3069" fmla="*/ 759201 w 1524655"/>
                    <a:gd name="connsiteY3069" fmla="*/ 407614 h 1268099"/>
                    <a:gd name="connsiteX3070" fmla="*/ 755764 w 1524655"/>
                    <a:gd name="connsiteY3070" fmla="*/ 406024 h 1268099"/>
                    <a:gd name="connsiteX3071" fmla="*/ 754756 w 1524655"/>
                    <a:gd name="connsiteY3071" fmla="*/ 405562 h 1268099"/>
                    <a:gd name="connsiteX3072" fmla="*/ 753639 w 1524655"/>
                    <a:gd name="connsiteY3072" fmla="*/ 405477 h 1268099"/>
                    <a:gd name="connsiteX3073" fmla="*/ 751211 w 1524655"/>
                    <a:gd name="connsiteY3073" fmla="*/ 405307 h 1268099"/>
                    <a:gd name="connsiteX3074" fmla="*/ 748478 w 1524655"/>
                    <a:gd name="connsiteY3074" fmla="*/ 404834 h 1268099"/>
                    <a:gd name="connsiteX3075" fmla="*/ 748163 w 1524655"/>
                    <a:gd name="connsiteY3075" fmla="*/ 404773 h 1268099"/>
                    <a:gd name="connsiteX3076" fmla="*/ 747847 w 1524655"/>
                    <a:gd name="connsiteY3076" fmla="*/ 404761 h 1268099"/>
                    <a:gd name="connsiteX3077" fmla="*/ 747446 w 1524655"/>
                    <a:gd name="connsiteY3077" fmla="*/ 404737 h 1268099"/>
                    <a:gd name="connsiteX3078" fmla="*/ 747519 w 1524655"/>
                    <a:gd name="connsiteY3078" fmla="*/ 404530 h 1268099"/>
                    <a:gd name="connsiteX3079" fmla="*/ 743646 w 1524655"/>
                    <a:gd name="connsiteY3079" fmla="*/ 401980 h 1268099"/>
                    <a:gd name="connsiteX3080" fmla="*/ 742796 w 1524655"/>
                    <a:gd name="connsiteY3080" fmla="*/ 401421 h 1268099"/>
                    <a:gd name="connsiteX3081" fmla="*/ 744058 w 1524655"/>
                    <a:gd name="connsiteY3081" fmla="*/ 398969 h 1268099"/>
                    <a:gd name="connsiteX3082" fmla="*/ 736979 w 1524655"/>
                    <a:gd name="connsiteY3082" fmla="*/ 396904 h 1268099"/>
                    <a:gd name="connsiteX3083" fmla="*/ 736506 w 1524655"/>
                    <a:gd name="connsiteY3083" fmla="*/ 396771 h 1268099"/>
                    <a:gd name="connsiteX3084" fmla="*/ 735753 w 1524655"/>
                    <a:gd name="connsiteY3084" fmla="*/ 396358 h 1268099"/>
                    <a:gd name="connsiteX3085" fmla="*/ 735255 w 1524655"/>
                    <a:gd name="connsiteY3085" fmla="*/ 396103 h 1268099"/>
                    <a:gd name="connsiteX3086" fmla="*/ 734733 w 1524655"/>
                    <a:gd name="connsiteY3086" fmla="*/ 395921 h 1268099"/>
                    <a:gd name="connsiteX3087" fmla="*/ 734077 w 1524655"/>
                    <a:gd name="connsiteY3087" fmla="*/ 395702 h 1268099"/>
                    <a:gd name="connsiteX3088" fmla="*/ 732802 w 1524655"/>
                    <a:gd name="connsiteY3088" fmla="*/ 395289 h 1268099"/>
                    <a:gd name="connsiteX3089" fmla="*/ 731661 w 1524655"/>
                    <a:gd name="connsiteY3089" fmla="*/ 395435 h 1268099"/>
                    <a:gd name="connsiteX3090" fmla="*/ 729705 w 1524655"/>
                    <a:gd name="connsiteY3090" fmla="*/ 393965 h 1268099"/>
                    <a:gd name="connsiteX3091" fmla="*/ 728224 w 1524655"/>
                    <a:gd name="connsiteY3091" fmla="*/ 392946 h 1268099"/>
                    <a:gd name="connsiteX3092" fmla="*/ 727192 w 1524655"/>
                    <a:gd name="connsiteY3092" fmla="*/ 392217 h 1268099"/>
                    <a:gd name="connsiteX3093" fmla="*/ 725941 w 1524655"/>
                    <a:gd name="connsiteY3093" fmla="*/ 391974 h 1268099"/>
                    <a:gd name="connsiteX3094" fmla="*/ 723464 w 1524655"/>
                    <a:gd name="connsiteY3094" fmla="*/ 391489 h 1268099"/>
                    <a:gd name="connsiteX3095" fmla="*/ 719700 w 1524655"/>
                    <a:gd name="connsiteY3095" fmla="*/ 390736 h 1268099"/>
                    <a:gd name="connsiteX3096" fmla="*/ 717417 w 1524655"/>
                    <a:gd name="connsiteY3096" fmla="*/ 393820 h 1268099"/>
                    <a:gd name="connsiteX3097" fmla="*/ 716664 w 1524655"/>
                    <a:gd name="connsiteY3097" fmla="*/ 394852 h 1268099"/>
                    <a:gd name="connsiteX3098" fmla="*/ 714964 w 1524655"/>
                    <a:gd name="connsiteY3098" fmla="*/ 395010 h 1268099"/>
                    <a:gd name="connsiteX3099" fmla="*/ 713410 w 1524655"/>
                    <a:gd name="connsiteY3099" fmla="*/ 396577 h 1268099"/>
                    <a:gd name="connsiteX3100" fmla="*/ 712778 w 1524655"/>
                    <a:gd name="connsiteY3100" fmla="*/ 397208 h 1268099"/>
                    <a:gd name="connsiteX3101" fmla="*/ 712584 w 1524655"/>
                    <a:gd name="connsiteY3101" fmla="*/ 397329 h 1268099"/>
                    <a:gd name="connsiteX3102" fmla="*/ 710969 w 1524655"/>
                    <a:gd name="connsiteY3102" fmla="*/ 397147 h 1268099"/>
                    <a:gd name="connsiteX3103" fmla="*/ 703610 w 1524655"/>
                    <a:gd name="connsiteY3103" fmla="*/ 396346 h 1268099"/>
                    <a:gd name="connsiteX3104" fmla="*/ 704230 w 1524655"/>
                    <a:gd name="connsiteY3104" fmla="*/ 403316 h 1268099"/>
                    <a:gd name="connsiteX3105" fmla="*/ 704011 w 1524655"/>
                    <a:gd name="connsiteY3105" fmla="*/ 403619 h 1268099"/>
                    <a:gd name="connsiteX3106" fmla="*/ 703586 w 1524655"/>
                    <a:gd name="connsiteY3106" fmla="*/ 404202 h 1268099"/>
                    <a:gd name="connsiteX3107" fmla="*/ 703319 w 1524655"/>
                    <a:gd name="connsiteY3107" fmla="*/ 404870 h 1268099"/>
                    <a:gd name="connsiteX3108" fmla="*/ 702979 w 1524655"/>
                    <a:gd name="connsiteY3108" fmla="*/ 405696 h 1268099"/>
                    <a:gd name="connsiteX3109" fmla="*/ 702688 w 1524655"/>
                    <a:gd name="connsiteY3109" fmla="*/ 406412 h 1268099"/>
                    <a:gd name="connsiteX3110" fmla="*/ 702590 w 1524655"/>
                    <a:gd name="connsiteY3110" fmla="*/ 407177 h 1268099"/>
                    <a:gd name="connsiteX3111" fmla="*/ 702202 w 1524655"/>
                    <a:gd name="connsiteY3111" fmla="*/ 410104 h 1268099"/>
                    <a:gd name="connsiteX3112" fmla="*/ 702165 w 1524655"/>
                    <a:gd name="connsiteY3112" fmla="*/ 410529 h 1268099"/>
                    <a:gd name="connsiteX3113" fmla="*/ 702165 w 1524655"/>
                    <a:gd name="connsiteY3113" fmla="*/ 410784 h 1268099"/>
                    <a:gd name="connsiteX3114" fmla="*/ 698632 w 1524655"/>
                    <a:gd name="connsiteY3114" fmla="*/ 410893 h 1268099"/>
                    <a:gd name="connsiteX3115" fmla="*/ 698535 w 1524655"/>
                    <a:gd name="connsiteY3115" fmla="*/ 410796 h 1268099"/>
                    <a:gd name="connsiteX3116" fmla="*/ 698255 w 1524655"/>
                    <a:gd name="connsiteY3116" fmla="*/ 409752 h 1268099"/>
                    <a:gd name="connsiteX3117" fmla="*/ 697794 w 1524655"/>
                    <a:gd name="connsiteY3117" fmla="*/ 408100 h 1268099"/>
                    <a:gd name="connsiteX3118" fmla="*/ 697539 w 1524655"/>
                    <a:gd name="connsiteY3118" fmla="*/ 407177 h 1268099"/>
                    <a:gd name="connsiteX3119" fmla="*/ 697005 w 1524655"/>
                    <a:gd name="connsiteY3119" fmla="*/ 406388 h 1268099"/>
                    <a:gd name="connsiteX3120" fmla="*/ 696568 w 1524655"/>
                    <a:gd name="connsiteY3120" fmla="*/ 405720 h 1268099"/>
                    <a:gd name="connsiteX3121" fmla="*/ 695135 w 1524655"/>
                    <a:gd name="connsiteY3121" fmla="*/ 403546 h 1268099"/>
                    <a:gd name="connsiteX3122" fmla="*/ 692585 w 1524655"/>
                    <a:gd name="connsiteY3122" fmla="*/ 403085 h 1268099"/>
                    <a:gd name="connsiteX3123" fmla="*/ 690630 w 1524655"/>
                    <a:gd name="connsiteY3123" fmla="*/ 402733 h 1268099"/>
                    <a:gd name="connsiteX3124" fmla="*/ 688529 w 1524655"/>
                    <a:gd name="connsiteY3124" fmla="*/ 403534 h 1268099"/>
                    <a:gd name="connsiteX3125" fmla="*/ 687970 w 1524655"/>
                    <a:gd name="connsiteY3125" fmla="*/ 403802 h 1268099"/>
                    <a:gd name="connsiteX3126" fmla="*/ 687157 w 1524655"/>
                    <a:gd name="connsiteY3126" fmla="*/ 404190 h 1268099"/>
                    <a:gd name="connsiteX3127" fmla="*/ 686489 w 1524655"/>
                    <a:gd name="connsiteY3127" fmla="*/ 404809 h 1268099"/>
                    <a:gd name="connsiteX3128" fmla="*/ 684777 w 1524655"/>
                    <a:gd name="connsiteY3128" fmla="*/ 406400 h 1268099"/>
                    <a:gd name="connsiteX3129" fmla="*/ 684279 w 1524655"/>
                    <a:gd name="connsiteY3129" fmla="*/ 406716 h 1268099"/>
                    <a:gd name="connsiteX3130" fmla="*/ 683793 w 1524655"/>
                    <a:gd name="connsiteY3130" fmla="*/ 407032 h 1268099"/>
                    <a:gd name="connsiteX3131" fmla="*/ 683368 w 1524655"/>
                    <a:gd name="connsiteY3131" fmla="*/ 407432 h 1268099"/>
                    <a:gd name="connsiteX3132" fmla="*/ 682045 w 1524655"/>
                    <a:gd name="connsiteY3132" fmla="*/ 408695 h 1268099"/>
                    <a:gd name="connsiteX3133" fmla="*/ 679567 w 1524655"/>
                    <a:gd name="connsiteY3133" fmla="*/ 411063 h 1268099"/>
                    <a:gd name="connsiteX3134" fmla="*/ 680320 w 1524655"/>
                    <a:gd name="connsiteY3134" fmla="*/ 414390 h 1268099"/>
                    <a:gd name="connsiteX3135" fmla="*/ 680478 w 1524655"/>
                    <a:gd name="connsiteY3135" fmla="*/ 415107 h 1268099"/>
                    <a:gd name="connsiteX3136" fmla="*/ 680757 w 1524655"/>
                    <a:gd name="connsiteY3136" fmla="*/ 416345 h 1268099"/>
                    <a:gd name="connsiteX3137" fmla="*/ 681510 w 1524655"/>
                    <a:gd name="connsiteY3137" fmla="*/ 417365 h 1268099"/>
                    <a:gd name="connsiteX3138" fmla="*/ 681911 w 1524655"/>
                    <a:gd name="connsiteY3138" fmla="*/ 417924 h 1268099"/>
                    <a:gd name="connsiteX3139" fmla="*/ 682069 w 1524655"/>
                    <a:gd name="connsiteY3139" fmla="*/ 418240 h 1268099"/>
                    <a:gd name="connsiteX3140" fmla="*/ 682032 w 1524655"/>
                    <a:gd name="connsiteY3140" fmla="*/ 418446 h 1268099"/>
                    <a:gd name="connsiteX3141" fmla="*/ 682154 w 1524655"/>
                    <a:gd name="connsiteY3141" fmla="*/ 419393 h 1268099"/>
                    <a:gd name="connsiteX3142" fmla="*/ 682239 w 1524655"/>
                    <a:gd name="connsiteY3142" fmla="*/ 420025 h 1268099"/>
                    <a:gd name="connsiteX3143" fmla="*/ 680940 w 1524655"/>
                    <a:gd name="connsiteY3143" fmla="*/ 420510 h 1268099"/>
                    <a:gd name="connsiteX3144" fmla="*/ 680940 w 1524655"/>
                    <a:gd name="connsiteY3144" fmla="*/ 424420 h 1268099"/>
                    <a:gd name="connsiteX3145" fmla="*/ 680769 w 1524655"/>
                    <a:gd name="connsiteY3145" fmla="*/ 424602 h 1268099"/>
                    <a:gd name="connsiteX3146" fmla="*/ 680417 w 1524655"/>
                    <a:gd name="connsiteY3146" fmla="*/ 424954 h 1268099"/>
                    <a:gd name="connsiteX3147" fmla="*/ 680138 w 1524655"/>
                    <a:gd name="connsiteY3147" fmla="*/ 425367 h 1268099"/>
                    <a:gd name="connsiteX3148" fmla="*/ 679640 w 1524655"/>
                    <a:gd name="connsiteY3148" fmla="*/ 426096 h 1268099"/>
                    <a:gd name="connsiteX3149" fmla="*/ 678426 w 1524655"/>
                    <a:gd name="connsiteY3149" fmla="*/ 427869 h 1268099"/>
                    <a:gd name="connsiteX3150" fmla="*/ 676969 w 1524655"/>
                    <a:gd name="connsiteY3150" fmla="*/ 425343 h 1268099"/>
                    <a:gd name="connsiteX3151" fmla="*/ 676787 w 1524655"/>
                    <a:gd name="connsiteY3151" fmla="*/ 425027 h 1268099"/>
                    <a:gd name="connsiteX3152" fmla="*/ 676556 w 1524655"/>
                    <a:gd name="connsiteY3152" fmla="*/ 424736 h 1268099"/>
                    <a:gd name="connsiteX3153" fmla="*/ 674188 w 1524655"/>
                    <a:gd name="connsiteY3153" fmla="*/ 421579 h 1268099"/>
                    <a:gd name="connsiteX3154" fmla="*/ 671444 w 1524655"/>
                    <a:gd name="connsiteY3154" fmla="*/ 418130 h 1268099"/>
                    <a:gd name="connsiteX3155" fmla="*/ 668918 w 1524655"/>
                    <a:gd name="connsiteY3155" fmla="*/ 414961 h 1268099"/>
                    <a:gd name="connsiteX3156" fmla="*/ 665032 w 1524655"/>
                    <a:gd name="connsiteY3156" fmla="*/ 416066 h 1268099"/>
                    <a:gd name="connsiteX3157" fmla="*/ 663357 w 1524655"/>
                    <a:gd name="connsiteY3157" fmla="*/ 416552 h 1268099"/>
                    <a:gd name="connsiteX3158" fmla="*/ 662834 w 1524655"/>
                    <a:gd name="connsiteY3158" fmla="*/ 415993 h 1268099"/>
                    <a:gd name="connsiteX3159" fmla="*/ 660734 w 1524655"/>
                    <a:gd name="connsiteY3159" fmla="*/ 413759 h 1268099"/>
                    <a:gd name="connsiteX3160" fmla="*/ 659884 w 1524655"/>
                    <a:gd name="connsiteY3160" fmla="*/ 413868 h 1268099"/>
                    <a:gd name="connsiteX3161" fmla="*/ 659568 w 1524655"/>
                    <a:gd name="connsiteY3161" fmla="*/ 410832 h 1268099"/>
                    <a:gd name="connsiteX3162" fmla="*/ 655318 w 1524655"/>
                    <a:gd name="connsiteY3162" fmla="*/ 409873 h 1268099"/>
                    <a:gd name="connsiteX3163" fmla="*/ 653120 w 1524655"/>
                    <a:gd name="connsiteY3163" fmla="*/ 409375 h 1268099"/>
                    <a:gd name="connsiteX3164" fmla="*/ 649331 w 1524655"/>
                    <a:gd name="connsiteY3164" fmla="*/ 408513 h 1268099"/>
                    <a:gd name="connsiteX3165" fmla="*/ 646964 w 1524655"/>
                    <a:gd name="connsiteY3165" fmla="*/ 411597 h 1268099"/>
                    <a:gd name="connsiteX3166" fmla="*/ 644802 w 1524655"/>
                    <a:gd name="connsiteY3166" fmla="*/ 414402 h 1268099"/>
                    <a:gd name="connsiteX3167" fmla="*/ 644474 w 1524655"/>
                    <a:gd name="connsiteY3167" fmla="*/ 414827 h 1268099"/>
                    <a:gd name="connsiteX3168" fmla="*/ 644219 w 1524655"/>
                    <a:gd name="connsiteY3168" fmla="*/ 415301 h 1268099"/>
                    <a:gd name="connsiteX3169" fmla="*/ 644061 w 1524655"/>
                    <a:gd name="connsiteY3169" fmla="*/ 415604 h 1268099"/>
                    <a:gd name="connsiteX3170" fmla="*/ 641524 w 1524655"/>
                    <a:gd name="connsiteY3170" fmla="*/ 417899 h 1268099"/>
                    <a:gd name="connsiteX3171" fmla="*/ 640006 w 1524655"/>
                    <a:gd name="connsiteY3171" fmla="*/ 419454 h 1268099"/>
                    <a:gd name="connsiteX3172" fmla="*/ 639010 w 1524655"/>
                    <a:gd name="connsiteY3172" fmla="*/ 420486 h 1268099"/>
                    <a:gd name="connsiteX3173" fmla="*/ 638124 w 1524655"/>
                    <a:gd name="connsiteY3173" fmla="*/ 420644 h 1268099"/>
                    <a:gd name="connsiteX3174" fmla="*/ 636824 w 1524655"/>
                    <a:gd name="connsiteY3174" fmla="*/ 420887 h 1268099"/>
                    <a:gd name="connsiteX3175" fmla="*/ 636363 w 1524655"/>
                    <a:gd name="connsiteY3175" fmla="*/ 420692 h 1268099"/>
                    <a:gd name="connsiteX3176" fmla="*/ 630449 w 1524655"/>
                    <a:gd name="connsiteY3176" fmla="*/ 418312 h 1268099"/>
                    <a:gd name="connsiteX3177" fmla="*/ 628361 w 1524655"/>
                    <a:gd name="connsiteY3177" fmla="*/ 424347 h 1268099"/>
                    <a:gd name="connsiteX3178" fmla="*/ 628276 w 1524655"/>
                    <a:gd name="connsiteY3178" fmla="*/ 424602 h 1268099"/>
                    <a:gd name="connsiteX3179" fmla="*/ 626721 w 1524655"/>
                    <a:gd name="connsiteY3179" fmla="*/ 424517 h 1268099"/>
                    <a:gd name="connsiteX3180" fmla="*/ 621949 w 1524655"/>
                    <a:gd name="connsiteY3180" fmla="*/ 424262 h 1268099"/>
                    <a:gd name="connsiteX3181" fmla="*/ 620577 w 1524655"/>
                    <a:gd name="connsiteY3181" fmla="*/ 428828 h 1268099"/>
                    <a:gd name="connsiteX3182" fmla="*/ 619302 w 1524655"/>
                    <a:gd name="connsiteY3182" fmla="*/ 433054 h 1268099"/>
                    <a:gd name="connsiteX3183" fmla="*/ 618853 w 1524655"/>
                    <a:gd name="connsiteY3183" fmla="*/ 433552 h 1268099"/>
                    <a:gd name="connsiteX3184" fmla="*/ 617225 w 1524655"/>
                    <a:gd name="connsiteY3184" fmla="*/ 434985 h 1268099"/>
                    <a:gd name="connsiteX3185" fmla="*/ 616764 w 1524655"/>
                    <a:gd name="connsiteY3185" fmla="*/ 435385 h 1268099"/>
                    <a:gd name="connsiteX3186" fmla="*/ 616388 w 1524655"/>
                    <a:gd name="connsiteY3186" fmla="*/ 435883 h 1268099"/>
                    <a:gd name="connsiteX3187" fmla="*/ 614724 w 1524655"/>
                    <a:gd name="connsiteY3187" fmla="*/ 438093 h 1268099"/>
                    <a:gd name="connsiteX3188" fmla="*/ 614263 w 1524655"/>
                    <a:gd name="connsiteY3188" fmla="*/ 438713 h 1268099"/>
                    <a:gd name="connsiteX3189" fmla="*/ 613971 w 1524655"/>
                    <a:gd name="connsiteY3189" fmla="*/ 439417 h 1268099"/>
                    <a:gd name="connsiteX3190" fmla="*/ 612708 w 1524655"/>
                    <a:gd name="connsiteY3190" fmla="*/ 442452 h 1268099"/>
                    <a:gd name="connsiteX3191" fmla="*/ 611518 w 1524655"/>
                    <a:gd name="connsiteY3191" fmla="*/ 444650 h 1268099"/>
                    <a:gd name="connsiteX3192" fmla="*/ 611166 w 1524655"/>
                    <a:gd name="connsiteY3192" fmla="*/ 445318 h 1268099"/>
                    <a:gd name="connsiteX3193" fmla="*/ 610984 w 1524655"/>
                    <a:gd name="connsiteY3193" fmla="*/ 446047 h 1268099"/>
                    <a:gd name="connsiteX3194" fmla="*/ 610316 w 1524655"/>
                    <a:gd name="connsiteY3194" fmla="*/ 448755 h 1268099"/>
                    <a:gd name="connsiteX3195" fmla="*/ 609175 w 1524655"/>
                    <a:gd name="connsiteY3195" fmla="*/ 453369 h 1268099"/>
                    <a:gd name="connsiteX3196" fmla="*/ 613388 w 1524655"/>
                    <a:gd name="connsiteY3196" fmla="*/ 455591 h 1268099"/>
                    <a:gd name="connsiteX3197" fmla="*/ 613534 w 1524655"/>
                    <a:gd name="connsiteY3197" fmla="*/ 455664 h 1268099"/>
                    <a:gd name="connsiteX3198" fmla="*/ 614129 w 1524655"/>
                    <a:gd name="connsiteY3198" fmla="*/ 455968 h 1268099"/>
                    <a:gd name="connsiteX3199" fmla="*/ 617833 w 1524655"/>
                    <a:gd name="connsiteY3199" fmla="*/ 457680 h 1268099"/>
                    <a:gd name="connsiteX3200" fmla="*/ 618889 w 1524655"/>
                    <a:gd name="connsiteY3200" fmla="*/ 458165 h 1268099"/>
                    <a:gd name="connsiteX3201" fmla="*/ 619144 w 1524655"/>
                    <a:gd name="connsiteY3201" fmla="*/ 459027 h 1268099"/>
                    <a:gd name="connsiteX3202" fmla="*/ 619921 w 1524655"/>
                    <a:gd name="connsiteY3202" fmla="*/ 459975 h 1268099"/>
                    <a:gd name="connsiteX3203" fmla="*/ 620917 w 1524655"/>
                    <a:gd name="connsiteY3203" fmla="*/ 461189 h 1268099"/>
                    <a:gd name="connsiteX3204" fmla="*/ 621803 w 1524655"/>
                    <a:gd name="connsiteY3204" fmla="*/ 462282 h 1268099"/>
                    <a:gd name="connsiteX3205" fmla="*/ 623066 w 1524655"/>
                    <a:gd name="connsiteY3205" fmla="*/ 462865 h 1268099"/>
                    <a:gd name="connsiteX3206" fmla="*/ 623176 w 1524655"/>
                    <a:gd name="connsiteY3206" fmla="*/ 462913 h 1268099"/>
                    <a:gd name="connsiteX3207" fmla="*/ 623030 w 1524655"/>
                    <a:gd name="connsiteY3207" fmla="*/ 463338 h 1268099"/>
                    <a:gd name="connsiteX3208" fmla="*/ 622192 w 1524655"/>
                    <a:gd name="connsiteY3208" fmla="*/ 464771 h 1268099"/>
                    <a:gd name="connsiteX3209" fmla="*/ 621585 w 1524655"/>
                    <a:gd name="connsiteY3209" fmla="*/ 465791 h 1268099"/>
                    <a:gd name="connsiteX3210" fmla="*/ 621415 w 1524655"/>
                    <a:gd name="connsiteY3210" fmla="*/ 466981 h 1268099"/>
                    <a:gd name="connsiteX3211" fmla="*/ 620966 w 1524655"/>
                    <a:gd name="connsiteY3211" fmla="*/ 470053 h 1268099"/>
                    <a:gd name="connsiteX3212" fmla="*/ 620176 w 1524655"/>
                    <a:gd name="connsiteY3212" fmla="*/ 470673 h 1268099"/>
                    <a:gd name="connsiteX3213" fmla="*/ 619472 w 1524655"/>
                    <a:gd name="connsiteY3213" fmla="*/ 471219 h 1268099"/>
                    <a:gd name="connsiteX3214" fmla="*/ 618962 w 1524655"/>
                    <a:gd name="connsiteY3214" fmla="*/ 471948 h 1268099"/>
                    <a:gd name="connsiteX3215" fmla="*/ 617432 w 1524655"/>
                    <a:gd name="connsiteY3215" fmla="*/ 474097 h 1268099"/>
                    <a:gd name="connsiteX3216" fmla="*/ 617043 w 1524655"/>
                    <a:gd name="connsiteY3216" fmla="*/ 474510 h 1268099"/>
                    <a:gd name="connsiteX3217" fmla="*/ 614991 w 1524655"/>
                    <a:gd name="connsiteY3217" fmla="*/ 475797 h 1268099"/>
                    <a:gd name="connsiteX3218" fmla="*/ 614360 w 1524655"/>
                    <a:gd name="connsiteY3218" fmla="*/ 476197 h 1268099"/>
                    <a:gd name="connsiteX3219" fmla="*/ 613850 w 1524655"/>
                    <a:gd name="connsiteY3219" fmla="*/ 476732 h 1268099"/>
                    <a:gd name="connsiteX3220" fmla="*/ 612247 w 1524655"/>
                    <a:gd name="connsiteY3220" fmla="*/ 478395 h 1268099"/>
                    <a:gd name="connsiteX3221" fmla="*/ 611688 w 1524655"/>
                    <a:gd name="connsiteY3221" fmla="*/ 478966 h 1268099"/>
                    <a:gd name="connsiteX3222" fmla="*/ 610911 w 1524655"/>
                    <a:gd name="connsiteY3222" fmla="*/ 480059 h 1268099"/>
                    <a:gd name="connsiteX3223" fmla="*/ 607705 w 1524655"/>
                    <a:gd name="connsiteY3223" fmla="*/ 485875 h 1268099"/>
                    <a:gd name="connsiteX3224" fmla="*/ 605933 w 1524655"/>
                    <a:gd name="connsiteY3224" fmla="*/ 488049 h 1268099"/>
                    <a:gd name="connsiteX3225" fmla="*/ 605034 w 1524655"/>
                    <a:gd name="connsiteY3225" fmla="*/ 488608 h 1268099"/>
                    <a:gd name="connsiteX3226" fmla="*/ 604026 w 1524655"/>
                    <a:gd name="connsiteY3226" fmla="*/ 488729 h 1268099"/>
                    <a:gd name="connsiteX3227" fmla="*/ 603686 w 1524655"/>
                    <a:gd name="connsiteY3227" fmla="*/ 488632 h 1268099"/>
                    <a:gd name="connsiteX3228" fmla="*/ 603115 w 1524655"/>
                    <a:gd name="connsiteY3228" fmla="*/ 488389 h 1268099"/>
                    <a:gd name="connsiteX3229" fmla="*/ 602727 w 1524655"/>
                    <a:gd name="connsiteY3229" fmla="*/ 487976 h 1268099"/>
                    <a:gd name="connsiteX3230" fmla="*/ 601221 w 1524655"/>
                    <a:gd name="connsiteY3230" fmla="*/ 483957 h 1268099"/>
                    <a:gd name="connsiteX3231" fmla="*/ 601039 w 1524655"/>
                    <a:gd name="connsiteY3231" fmla="*/ 483471 h 1268099"/>
                    <a:gd name="connsiteX3232" fmla="*/ 600784 w 1524655"/>
                    <a:gd name="connsiteY3232" fmla="*/ 483022 h 1268099"/>
                    <a:gd name="connsiteX3233" fmla="*/ 599400 w 1524655"/>
                    <a:gd name="connsiteY3233" fmla="*/ 480654 h 1268099"/>
                    <a:gd name="connsiteX3234" fmla="*/ 598878 w 1524655"/>
                    <a:gd name="connsiteY3234" fmla="*/ 479768 h 1268099"/>
                    <a:gd name="connsiteX3235" fmla="*/ 598088 w 1524655"/>
                    <a:gd name="connsiteY3235" fmla="*/ 479088 h 1268099"/>
                    <a:gd name="connsiteX3236" fmla="*/ 595939 w 1524655"/>
                    <a:gd name="connsiteY3236" fmla="*/ 477278 h 1268099"/>
                    <a:gd name="connsiteX3237" fmla="*/ 593972 w 1524655"/>
                    <a:gd name="connsiteY3237" fmla="*/ 475615 h 1268099"/>
                    <a:gd name="connsiteX3238" fmla="*/ 591410 w 1524655"/>
                    <a:gd name="connsiteY3238" fmla="*/ 475870 h 1268099"/>
                    <a:gd name="connsiteX3239" fmla="*/ 588204 w 1524655"/>
                    <a:gd name="connsiteY3239" fmla="*/ 476186 h 1268099"/>
                    <a:gd name="connsiteX3240" fmla="*/ 587706 w 1524655"/>
                    <a:gd name="connsiteY3240" fmla="*/ 476234 h 1268099"/>
                    <a:gd name="connsiteX3241" fmla="*/ 587220 w 1524655"/>
                    <a:gd name="connsiteY3241" fmla="*/ 476368 h 1268099"/>
                    <a:gd name="connsiteX3242" fmla="*/ 585120 w 1524655"/>
                    <a:gd name="connsiteY3242" fmla="*/ 476926 h 1268099"/>
                    <a:gd name="connsiteX3243" fmla="*/ 582266 w 1524655"/>
                    <a:gd name="connsiteY3243" fmla="*/ 473150 h 1268099"/>
                    <a:gd name="connsiteX3244" fmla="*/ 581489 w 1524655"/>
                    <a:gd name="connsiteY3244" fmla="*/ 472130 h 1268099"/>
                    <a:gd name="connsiteX3245" fmla="*/ 580372 w 1524655"/>
                    <a:gd name="connsiteY3245" fmla="*/ 471498 h 1268099"/>
                    <a:gd name="connsiteX3246" fmla="*/ 578769 w 1524655"/>
                    <a:gd name="connsiteY3246" fmla="*/ 470612 h 1268099"/>
                    <a:gd name="connsiteX3247" fmla="*/ 576802 w 1524655"/>
                    <a:gd name="connsiteY3247" fmla="*/ 469531 h 1268099"/>
                    <a:gd name="connsiteX3248" fmla="*/ 574604 w 1524655"/>
                    <a:gd name="connsiteY3248" fmla="*/ 469968 h 1268099"/>
                    <a:gd name="connsiteX3249" fmla="*/ 572382 w 1524655"/>
                    <a:gd name="connsiteY3249" fmla="*/ 470418 h 1268099"/>
                    <a:gd name="connsiteX3250" fmla="*/ 571459 w 1524655"/>
                    <a:gd name="connsiteY3250" fmla="*/ 470612 h 1268099"/>
                    <a:gd name="connsiteX3251" fmla="*/ 570633 w 1524655"/>
                    <a:gd name="connsiteY3251" fmla="*/ 471073 h 1268099"/>
                    <a:gd name="connsiteX3252" fmla="*/ 568265 w 1524655"/>
                    <a:gd name="connsiteY3252" fmla="*/ 472397 h 1268099"/>
                    <a:gd name="connsiteX3253" fmla="*/ 567124 w 1524655"/>
                    <a:gd name="connsiteY3253" fmla="*/ 473041 h 1268099"/>
                    <a:gd name="connsiteX3254" fmla="*/ 566347 w 1524655"/>
                    <a:gd name="connsiteY3254" fmla="*/ 474085 h 1268099"/>
                    <a:gd name="connsiteX3255" fmla="*/ 564209 w 1524655"/>
                    <a:gd name="connsiteY3255" fmla="*/ 476963 h 1268099"/>
                    <a:gd name="connsiteX3256" fmla="*/ 558271 w 1524655"/>
                    <a:gd name="connsiteY3256" fmla="*/ 477315 h 1268099"/>
                    <a:gd name="connsiteX3257" fmla="*/ 557179 w 1524655"/>
                    <a:gd name="connsiteY3257" fmla="*/ 477376 h 1268099"/>
                    <a:gd name="connsiteX3258" fmla="*/ 556171 w 1524655"/>
                    <a:gd name="connsiteY3258" fmla="*/ 477825 h 1268099"/>
                    <a:gd name="connsiteX3259" fmla="*/ 553451 w 1524655"/>
                    <a:gd name="connsiteY3259" fmla="*/ 479039 h 1268099"/>
                    <a:gd name="connsiteX3260" fmla="*/ 552746 w 1524655"/>
                    <a:gd name="connsiteY3260" fmla="*/ 479355 h 1268099"/>
                    <a:gd name="connsiteX3261" fmla="*/ 552139 w 1524655"/>
                    <a:gd name="connsiteY3261" fmla="*/ 479828 h 1268099"/>
                    <a:gd name="connsiteX3262" fmla="*/ 549711 w 1524655"/>
                    <a:gd name="connsiteY3262" fmla="*/ 481759 h 1268099"/>
                    <a:gd name="connsiteX3263" fmla="*/ 548824 w 1524655"/>
                    <a:gd name="connsiteY3263" fmla="*/ 482464 h 1268099"/>
                    <a:gd name="connsiteX3264" fmla="*/ 548703 w 1524655"/>
                    <a:gd name="connsiteY3264" fmla="*/ 482682 h 1268099"/>
                    <a:gd name="connsiteX3265" fmla="*/ 547707 w 1524655"/>
                    <a:gd name="connsiteY3265" fmla="*/ 482439 h 1268099"/>
                    <a:gd name="connsiteX3266" fmla="*/ 546797 w 1524655"/>
                    <a:gd name="connsiteY3266" fmla="*/ 482220 h 1268099"/>
                    <a:gd name="connsiteX3267" fmla="*/ 545861 w 1524655"/>
                    <a:gd name="connsiteY3267" fmla="*/ 482281 h 1268099"/>
                    <a:gd name="connsiteX3268" fmla="*/ 542717 w 1524655"/>
                    <a:gd name="connsiteY3268" fmla="*/ 482512 h 1268099"/>
                    <a:gd name="connsiteX3269" fmla="*/ 540713 w 1524655"/>
                    <a:gd name="connsiteY3269" fmla="*/ 482658 h 1268099"/>
                    <a:gd name="connsiteX3270" fmla="*/ 539195 w 1524655"/>
                    <a:gd name="connsiteY3270" fmla="*/ 483969 h 1268099"/>
                    <a:gd name="connsiteX3271" fmla="*/ 536742 w 1524655"/>
                    <a:gd name="connsiteY3271" fmla="*/ 486070 h 1268099"/>
                    <a:gd name="connsiteX3272" fmla="*/ 535127 w 1524655"/>
                    <a:gd name="connsiteY3272" fmla="*/ 487187 h 1268099"/>
                    <a:gd name="connsiteX3273" fmla="*/ 533791 w 1524655"/>
                    <a:gd name="connsiteY3273" fmla="*/ 487904 h 1268099"/>
                    <a:gd name="connsiteX3274" fmla="*/ 532905 w 1524655"/>
                    <a:gd name="connsiteY3274" fmla="*/ 488231 h 1268099"/>
                    <a:gd name="connsiteX3275" fmla="*/ 531011 w 1524655"/>
                    <a:gd name="connsiteY3275" fmla="*/ 488571 h 1268099"/>
                    <a:gd name="connsiteX3276" fmla="*/ 527331 w 1524655"/>
                    <a:gd name="connsiteY3276" fmla="*/ 488219 h 1268099"/>
                    <a:gd name="connsiteX3277" fmla="*/ 526384 w 1524655"/>
                    <a:gd name="connsiteY3277" fmla="*/ 488134 h 1268099"/>
                    <a:gd name="connsiteX3278" fmla="*/ 525449 w 1524655"/>
                    <a:gd name="connsiteY3278" fmla="*/ 488340 h 1268099"/>
                    <a:gd name="connsiteX3279" fmla="*/ 522668 w 1524655"/>
                    <a:gd name="connsiteY3279" fmla="*/ 488948 h 1268099"/>
                    <a:gd name="connsiteX3280" fmla="*/ 522061 w 1524655"/>
                    <a:gd name="connsiteY3280" fmla="*/ 489081 h 1268099"/>
                    <a:gd name="connsiteX3281" fmla="*/ 521491 w 1524655"/>
                    <a:gd name="connsiteY3281" fmla="*/ 489336 h 1268099"/>
                    <a:gd name="connsiteX3282" fmla="*/ 516415 w 1524655"/>
                    <a:gd name="connsiteY3282" fmla="*/ 491607 h 1268099"/>
                    <a:gd name="connsiteX3283" fmla="*/ 512468 w 1524655"/>
                    <a:gd name="connsiteY3283" fmla="*/ 493635 h 1268099"/>
                    <a:gd name="connsiteX3284" fmla="*/ 510659 w 1524655"/>
                    <a:gd name="connsiteY3284" fmla="*/ 494558 h 1268099"/>
                    <a:gd name="connsiteX3285" fmla="*/ 509773 w 1524655"/>
                    <a:gd name="connsiteY3285" fmla="*/ 496403 h 1268099"/>
                    <a:gd name="connsiteX3286" fmla="*/ 508947 w 1524655"/>
                    <a:gd name="connsiteY3286" fmla="*/ 498128 h 1268099"/>
                    <a:gd name="connsiteX3287" fmla="*/ 505705 w 1524655"/>
                    <a:gd name="connsiteY3287" fmla="*/ 498456 h 1268099"/>
                    <a:gd name="connsiteX3288" fmla="*/ 495553 w 1524655"/>
                    <a:gd name="connsiteY3288" fmla="*/ 498589 h 1268099"/>
                    <a:gd name="connsiteX3289" fmla="*/ 492943 w 1524655"/>
                    <a:gd name="connsiteY3289" fmla="*/ 498771 h 1268099"/>
                    <a:gd name="connsiteX3290" fmla="*/ 492505 w 1524655"/>
                    <a:gd name="connsiteY3290" fmla="*/ 498808 h 1268099"/>
                    <a:gd name="connsiteX3291" fmla="*/ 492080 w 1524655"/>
                    <a:gd name="connsiteY3291" fmla="*/ 498905 h 1268099"/>
                    <a:gd name="connsiteX3292" fmla="*/ 489542 w 1524655"/>
                    <a:gd name="connsiteY3292" fmla="*/ 499464 h 1268099"/>
                    <a:gd name="connsiteX3293" fmla="*/ 489202 w 1524655"/>
                    <a:gd name="connsiteY3293" fmla="*/ 499536 h 1268099"/>
                    <a:gd name="connsiteX3294" fmla="*/ 488875 w 1524655"/>
                    <a:gd name="connsiteY3294" fmla="*/ 499658 h 1268099"/>
                    <a:gd name="connsiteX3295" fmla="*/ 484722 w 1524655"/>
                    <a:gd name="connsiteY3295" fmla="*/ 501091 h 1268099"/>
                    <a:gd name="connsiteX3296" fmla="*/ 482852 w 1524655"/>
                    <a:gd name="connsiteY3296" fmla="*/ 501394 h 1268099"/>
                    <a:gd name="connsiteX3297" fmla="*/ 479282 w 1524655"/>
                    <a:gd name="connsiteY3297" fmla="*/ 502281 h 1268099"/>
                    <a:gd name="connsiteX3298" fmla="*/ 476137 w 1524655"/>
                    <a:gd name="connsiteY3298" fmla="*/ 503094 h 1268099"/>
                    <a:gd name="connsiteX3299" fmla="*/ 475068 w 1524655"/>
                    <a:gd name="connsiteY3299" fmla="*/ 506154 h 1268099"/>
                    <a:gd name="connsiteX3300" fmla="*/ 474570 w 1524655"/>
                    <a:gd name="connsiteY3300" fmla="*/ 507575 h 1268099"/>
                    <a:gd name="connsiteX3301" fmla="*/ 470053 w 1524655"/>
                    <a:gd name="connsiteY3301" fmla="*/ 511728 h 1268099"/>
                    <a:gd name="connsiteX3302" fmla="*/ 469106 w 1524655"/>
                    <a:gd name="connsiteY3302" fmla="*/ 512602 h 1268099"/>
                    <a:gd name="connsiteX3303" fmla="*/ 468596 w 1524655"/>
                    <a:gd name="connsiteY3303" fmla="*/ 513780 h 1268099"/>
                    <a:gd name="connsiteX3304" fmla="*/ 467661 w 1524655"/>
                    <a:gd name="connsiteY3304" fmla="*/ 515941 h 1268099"/>
                    <a:gd name="connsiteX3305" fmla="*/ 467248 w 1524655"/>
                    <a:gd name="connsiteY3305" fmla="*/ 516889 h 1268099"/>
                    <a:gd name="connsiteX3306" fmla="*/ 467175 w 1524655"/>
                    <a:gd name="connsiteY3306" fmla="*/ 517908 h 1268099"/>
                    <a:gd name="connsiteX3307" fmla="*/ 466944 w 1524655"/>
                    <a:gd name="connsiteY3307" fmla="*/ 521005 h 1268099"/>
                    <a:gd name="connsiteX3308" fmla="*/ 466787 w 1524655"/>
                    <a:gd name="connsiteY3308" fmla="*/ 523021 h 1268099"/>
                    <a:gd name="connsiteX3309" fmla="*/ 467879 w 1524655"/>
                    <a:gd name="connsiteY3309" fmla="*/ 524733 h 1268099"/>
                    <a:gd name="connsiteX3310" fmla="*/ 468341 w 1524655"/>
                    <a:gd name="connsiteY3310" fmla="*/ 525461 h 1268099"/>
                    <a:gd name="connsiteX3311" fmla="*/ 467904 w 1524655"/>
                    <a:gd name="connsiteY3311" fmla="*/ 526360 h 1268099"/>
                    <a:gd name="connsiteX3312" fmla="*/ 466580 w 1524655"/>
                    <a:gd name="connsiteY3312" fmla="*/ 529129 h 1268099"/>
                    <a:gd name="connsiteX3313" fmla="*/ 466228 w 1524655"/>
                    <a:gd name="connsiteY3313" fmla="*/ 529869 h 1268099"/>
                    <a:gd name="connsiteX3314" fmla="*/ 466082 w 1524655"/>
                    <a:gd name="connsiteY3314" fmla="*/ 530659 h 1268099"/>
                    <a:gd name="connsiteX3315" fmla="*/ 465305 w 1524655"/>
                    <a:gd name="connsiteY3315" fmla="*/ 534957 h 1268099"/>
                    <a:gd name="connsiteX3316" fmla="*/ 464807 w 1524655"/>
                    <a:gd name="connsiteY3316" fmla="*/ 539681 h 1268099"/>
                    <a:gd name="connsiteX3317" fmla="*/ 464771 w 1524655"/>
                    <a:gd name="connsiteY3317" fmla="*/ 540069 h 1268099"/>
                    <a:gd name="connsiteX3318" fmla="*/ 464771 w 1524655"/>
                    <a:gd name="connsiteY3318" fmla="*/ 540470 h 1268099"/>
                    <a:gd name="connsiteX3319" fmla="*/ 464868 w 1524655"/>
                    <a:gd name="connsiteY3319" fmla="*/ 543652 h 1268099"/>
                    <a:gd name="connsiteX3320" fmla="*/ 464613 w 1524655"/>
                    <a:gd name="connsiteY3320" fmla="*/ 545412 h 1268099"/>
                    <a:gd name="connsiteX3321" fmla="*/ 464200 w 1524655"/>
                    <a:gd name="connsiteY3321" fmla="*/ 548266 h 1268099"/>
                    <a:gd name="connsiteX3322" fmla="*/ 466167 w 1524655"/>
                    <a:gd name="connsiteY3322" fmla="*/ 550391 h 1268099"/>
                    <a:gd name="connsiteX3323" fmla="*/ 467491 w 1524655"/>
                    <a:gd name="connsiteY3323" fmla="*/ 551836 h 1268099"/>
                    <a:gd name="connsiteX3324" fmla="*/ 467685 w 1524655"/>
                    <a:gd name="connsiteY3324" fmla="*/ 552395 h 1268099"/>
                    <a:gd name="connsiteX3325" fmla="*/ 467964 w 1524655"/>
                    <a:gd name="connsiteY3325" fmla="*/ 558065 h 1268099"/>
                    <a:gd name="connsiteX3326" fmla="*/ 467248 w 1524655"/>
                    <a:gd name="connsiteY3326" fmla="*/ 565885 h 1268099"/>
                    <a:gd name="connsiteX3327" fmla="*/ 466507 w 1524655"/>
                    <a:gd name="connsiteY3327" fmla="*/ 566492 h 1268099"/>
                    <a:gd name="connsiteX3328" fmla="*/ 464479 w 1524655"/>
                    <a:gd name="connsiteY3328" fmla="*/ 567573 h 1268099"/>
                    <a:gd name="connsiteX3329" fmla="*/ 463727 w 1524655"/>
                    <a:gd name="connsiteY3329" fmla="*/ 567840 h 1268099"/>
                    <a:gd name="connsiteX3330" fmla="*/ 463302 w 1524655"/>
                    <a:gd name="connsiteY3330" fmla="*/ 567743 h 1268099"/>
                    <a:gd name="connsiteX3331" fmla="*/ 461881 w 1524655"/>
                    <a:gd name="connsiteY3331" fmla="*/ 567197 h 1268099"/>
                    <a:gd name="connsiteX3332" fmla="*/ 461055 w 1524655"/>
                    <a:gd name="connsiteY3332" fmla="*/ 566760 h 1268099"/>
                    <a:gd name="connsiteX3333" fmla="*/ 459780 w 1524655"/>
                    <a:gd name="connsiteY3333" fmla="*/ 565740 h 1268099"/>
                    <a:gd name="connsiteX3334" fmla="*/ 458493 w 1524655"/>
                    <a:gd name="connsiteY3334" fmla="*/ 564707 h 1268099"/>
                    <a:gd name="connsiteX3335" fmla="*/ 456866 w 1524655"/>
                    <a:gd name="connsiteY3335" fmla="*/ 564452 h 1268099"/>
                    <a:gd name="connsiteX3336" fmla="*/ 454935 w 1524655"/>
                    <a:gd name="connsiteY3336" fmla="*/ 564173 h 1268099"/>
                    <a:gd name="connsiteX3337" fmla="*/ 454510 w 1524655"/>
                    <a:gd name="connsiteY3337" fmla="*/ 564113 h 1268099"/>
                    <a:gd name="connsiteX3338" fmla="*/ 454085 w 1524655"/>
                    <a:gd name="connsiteY3338" fmla="*/ 564113 h 1268099"/>
                    <a:gd name="connsiteX3339" fmla="*/ 444869 w 1524655"/>
                    <a:gd name="connsiteY3339" fmla="*/ 564052 h 1268099"/>
                    <a:gd name="connsiteX3340" fmla="*/ 443011 w 1524655"/>
                    <a:gd name="connsiteY3340" fmla="*/ 563493 h 1268099"/>
                    <a:gd name="connsiteX3341" fmla="*/ 440449 w 1524655"/>
                    <a:gd name="connsiteY3341" fmla="*/ 562886 h 1268099"/>
                    <a:gd name="connsiteX3342" fmla="*/ 439999 w 1524655"/>
                    <a:gd name="connsiteY3342" fmla="*/ 562777 h 1268099"/>
                    <a:gd name="connsiteX3343" fmla="*/ 439550 w 1524655"/>
                    <a:gd name="connsiteY3343" fmla="*/ 562753 h 1268099"/>
                    <a:gd name="connsiteX3344" fmla="*/ 437401 w 1524655"/>
                    <a:gd name="connsiteY3344" fmla="*/ 562583 h 1268099"/>
                    <a:gd name="connsiteX3345" fmla="*/ 436672 w 1524655"/>
                    <a:gd name="connsiteY3345" fmla="*/ 562522 h 1268099"/>
                    <a:gd name="connsiteX3346" fmla="*/ 435956 w 1524655"/>
                    <a:gd name="connsiteY3346" fmla="*/ 562643 h 1268099"/>
                    <a:gd name="connsiteX3347" fmla="*/ 433904 w 1524655"/>
                    <a:gd name="connsiteY3347" fmla="*/ 562971 h 1268099"/>
                    <a:gd name="connsiteX3348" fmla="*/ 433296 w 1524655"/>
                    <a:gd name="connsiteY3348" fmla="*/ 563068 h 1268099"/>
                    <a:gd name="connsiteX3349" fmla="*/ 432726 w 1524655"/>
                    <a:gd name="connsiteY3349" fmla="*/ 563287 h 1268099"/>
                    <a:gd name="connsiteX3350" fmla="*/ 430856 w 1524655"/>
                    <a:gd name="connsiteY3350" fmla="*/ 564003 h 1268099"/>
                    <a:gd name="connsiteX3351" fmla="*/ 430139 w 1524655"/>
                    <a:gd name="connsiteY3351" fmla="*/ 564270 h 1268099"/>
                    <a:gd name="connsiteX3352" fmla="*/ 429508 w 1524655"/>
                    <a:gd name="connsiteY3352" fmla="*/ 564707 h 1268099"/>
                    <a:gd name="connsiteX3353" fmla="*/ 426824 w 1524655"/>
                    <a:gd name="connsiteY3353" fmla="*/ 566602 h 1268099"/>
                    <a:gd name="connsiteX3354" fmla="*/ 424942 w 1524655"/>
                    <a:gd name="connsiteY3354" fmla="*/ 567318 h 1268099"/>
                    <a:gd name="connsiteX3355" fmla="*/ 421639 w 1524655"/>
                    <a:gd name="connsiteY3355" fmla="*/ 568387 h 1268099"/>
                    <a:gd name="connsiteX3356" fmla="*/ 417851 w 1524655"/>
                    <a:gd name="connsiteY3356" fmla="*/ 569917 h 1268099"/>
                    <a:gd name="connsiteX3357" fmla="*/ 414536 w 1524655"/>
                    <a:gd name="connsiteY3357" fmla="*/ 571556 h 1268099"/>
                    <a:gd name="connsiteX3358" fmla="*/ 414232 w 1524655"/>
                    <a:gd name="connsiteY3358" fmla="*/ 571714 h 1268099"/>
                    <a:gd name="connsiteX3359" fmla="*/ 413953 w 1524655"/>
                    <a:gd name="connsiteY3359" fmla="*/ 571908 h 1268099"/>
                    <a:gd name="connsiteX3360" fmla="*/ 410650 w 1524655"/>
                    <a:gd name="connsiteY3360" fmla="*/ 574058 h 1268099"/>
                    <a:gd name="connsiteX3361" fmla="*/ 408671 w 1524655"/>
                    <a:gd name="connsiteY3361" fmla="*/ 575332 h 1268099"/>
                    <a:gd name="connsiteX3362" fmla="*/ 408075 w 1524655"/>
                    <a:gd name="connsiteY3362" fmla="*/ 577627 h 1268099"/>
                    <a:gd name="connsiteX3363" fmla="*/ 407638 w 1524655"/>
                    <a:gd name="connsiteY3363" fmla="*/ 579340 h 1268099"/>
                    <a:gd name="connsiteX3364" fmla="*/ 407468 w 1524655"/>
                    <a:gd name="connsiteY3364" fmla="*/ 580008 h 1268099"/>
                    <a:gd name="connsiteX3365" fmla="*/ 406825 w 1524655"/>
                    <a:gd name="connsiteY3365" fmla="*/ 579449 h 1268099"/>
                    <a:gd name="connsiteX3366" fmla="*/ 404882 w 1524655"/>
                    <a:gd name="connsiteY3366" fmla="*/ 579279 h 1268099"/>
                    <a:gd name="connsiteX3367" fmla="*/ 403012 w 1524655"/>
                    <a:gd name="connsiteY3367" fmla="*/ 579109 h 1268099"/>
                    <a:gd name="connsiteX3368" fmla="*/ 401700 w 1524655"/>
                    <a:gd name="connsiteY3368" fmla="*/ 578987 h 1268099"/>
                    <a:gd name="connsiteX3369" fmla="*/ 400450 w 1524655"/>
                    <a:gd name="connsiteY3369" fmla="*/ 579425 h 1268099"/>
                    <a:gd name="connsiteX3370" fmla="*/ 398908 w 1524655"/>
                    <a:gd name="connsiteY3370" fmla="*/ 579971 h 1268099"/>
                    <a:gd name="connsiteX3371" fmla="*/ 397863 w 1524655"/>
                    <a:gd name="connsiteY3371" fmla="*/ 580347 h 1268099"/>
                    <a:gd name="connsiteX3372" fmla="*/ 397013 w 1524655"/>
                    <a:gd name="connsiteY3372" fmla="*/ 581076 h 1268099"/>
                    <a:gd name="connsiteX3373" fmla="*/ 395908 w 1524655"/>
                    <a:gd name="connsiteY3373" fmla="*/ 582011 h 1268099"/>
                    <a:gd name="connsiteX3374" fmla="*/ 394196 w 1524655"/>
                    <a:gd name="connsiteY3374" fmla="*/ 583456 h 1268099"/>
                    <a:gd name="connsiteX3375" fmla="*/ 393844 w 1524655"/>
                    <a:gd name="connsiteY3375" fmla="*/ 585690 h 1268099"/>
                    <a:gd name="connsiteX3376" fmla="*/ 393552 w 1524655"/>
                    <a:gd name="connsiteY3376" fmla="*/ 587512 h 1268099"/>
                    <a:gd name="connsiteX3377" fmla="*/ 393443 w 1524655"/>
                    <a:gd name="connsiteY3377" fmla="*/ 588192 h 1268099"/>
                    <a:gd name="connsiteX3378" fmla="*/ 393480 w 1524655"/>
                    <a:gd name="connsiteY3378" fmla="*/ 588872 h 1268099"/>
                    <a:gd name="connsiteX3379" fmla="*/ 393601 w 1524655"/>
                    <a:gd name="connsiteY3379" fmla="*/ 590645 h 1268099"/>
                    <a:gd name="connsiteX3380" fmla="*/ 393626 w 1524655"/>
                    <a:gd name="connsiteY3380" fmla="*/ 591094 h 1268099"/>
                    <a:gd name="connsiteX3381" fmla="*/ 393723 w 1524655"/>
                    <a:gd name="connsiteY3381" fmla="*/ 591544 h 1268099"/>
                    <a:gd name="connsiteX3382" fmla="*/ 394269 w 1524655"/>
                    <a:gd name="connsiteY3382" fmla="*/ 594033 h 1268099"/>
                    <a:gd name="connsiteX3383" fmla="*/ 394378 w 1524655"/>
                    <a:gd name="connsiteY3383" fmla="*/ 594555 h 1268099"/>
                    <a:gd name="connsiteX3384" fmla="*/ 394585 w 1524655"/>
                    <a:gd name="connsiteY3384" fmla="*/ 595041 h 1268099"/>
                    <a:gd name="connsiteX3385" fmla="*/ 395119 w 1524655"/>
                    <a:gd name="connsiteY3385" fmla="*/ 596340 h 1268099"/>
                    <a:gd name="connsiteX3386" fmla="*/ 395119 w 1524655"/>
                    <a:gd name="connsiteY3386" fmla="*/ 596352 h 1268099"/>
                    <a:gd name="connsiteX3387" fmla="*/ 392812 w 1524655"/>
                    <a:gd name="connsiteY3387" fmla="*/ 600395 h 1268099"/>
                    <a:gd name="connsiteX3388" fmla="*/ 391585 w 1524655"/>
                    <a:gd name="connsiteY3388" fmla="*/ 601999 h 1268099"/>
                    <a:gd name="connsiteX3389" fmla="*/ 391270 w 1524655"/>
                    <a:gd name="connsiteY3389" fmla="*/ 602338 h 1268099"/>
                    <a:gd name="connsiteX3390" fmla="*/ 388538 w 1524655"/>
                    <a:gd name="connsiteY3390" fmla="*/ 604439 h 1268099"/>
                    <a:gd name="connsiteX3391" fmla="*/ 387117 w 1524655"/>
                    <a:gd name="connsiteY3391" fmla="*/ 605301 h 1268099"/>
                    <a:gd name="connsiteX3392" fmla="*/ 384858 w 1524655"/>
                    <a:gd name="connsiteY3392" fmla="*/ 605581 h 1268099"/>
                    <a:gd name="connsiteX3393" fmla="*/ 382891 w 1524655"/>
                    <a:gd name="connsiteY3393" fmla="*/ 605581 h 1268099"/>
                    <a:gd name="connsiteX3394" fmla="*/ 381325 w 1524655"/>
                    <a:gd name="connsiteY3394" fmla="*/ 605326 h 1268099"/>
                    <a:gd name="connsiteX3395" fmla="*/ 380013 w 1524655"/>
                    <a:gd name="connsiteY3395" fmla="*/ 604949 h 1268099"/>
                    <a:gd name="connsiteX3396" fmla="*/ 375921 w 1524655"/>
                    <a:gd name="connsiteY3396" fmla="*/ 602812 h 1268099"/>
                    <a:gd name="connsiteX3397" fmla="*/ 374610 w 1524655"/>
                    <a:gd name="connsiteY3397" fmla="*/ 601792 h 1268099"/>
                    <a:gd name="connsiteX3398" fmla="*/ 374051 w 1524655"/>
                    <a:gd name="connsiteY3398" fmla="*/ 601185 h 1268099"/>
                    <a:gd name="connsiteX3399" fmla="*/ 372315 w 1524655"/>
                    <a:gd name="connsiteY3399" fmla="*/ 598623 h 1268099"/>
                    <a:gd name="connsiteX3400" fmla="*/ 372011 w 1524655"/>
                    <a:gd name="connsiteY3400" fmla="*/ 598186 h 1268099"/>
                    <a:gd name="connsiteX3401" fmla="*/ 371647 w 1524655"/>
                    <a:gd name="connsiteY3401" fmla="*/ 597809 h 1268099"/>
                    <a:gd name="connsiteX3402" fmla="*/ 369546 w 1524655"/>
                    <a:gd name="connsiteY3402" fmla="*/ 595648 h 1268099"/>
                    <a:gd name="connsiteX3403" fmla="*/ 367348 w 1524655"/>
                    <a:gd name="connsiteY3403" fmla="*/ 593681 h 1268099"/>
                    <a:gd name="connsiteX3404" fmla="*/ 366547 w 1524655"/>
                    <a:gd name="connsiteY3404" fmla="*/ 592976 h 1268099"/>
                    <a:gd name="connsiteX3405" fmla="*/ 365563 w 1524655"/>
                    <a:gd name="connsiteY3405" fmla="*/ 592588 h 1268099"/>
                    <a:gd name="connsiteX3406" fmla="*/ 361908 w 1524655"/>
                    <a:gd name="connsiteY3406" fmla="*/ 591143 h 1268099"/>
                    <a:gd name="connsiteX3407" fmla="*/ 360317 w 1524655"/>
                    <a:gd name="connsiteY3407" fmla="*/ 590511 h 1268099"/>
                    <a:gd name="connsiteX3408" fmla="*/ 358642 w 1524655"/>
                    <a:gd name="connsiteY3408" fmla="*/ 590791 h 1268099"/>
                    <a:gd name="connsiteX3409" fmla="*/ 356104 w 1524655"/>
                    <a:gd name="connsiteY3409" fmla="*/ 591228 h 1268099"/>
                    <a:gd name="connsiteX3410" fmla="*/ 354428 w 1524655"/>
                    <a:gd name="connsiteY3410" fmla="*/ 591519 h 1268099"/>
                    <a:gd name="connsiteX3411" fmla="*/ 353153 w 1524655"/>
                    <a:gd name="connsiteY3411" fmla="*/ 592636 h 1268099"/>
                    <a:gd name="connsiteX3412" fmla="*/ 351113 w 1524655"/>
                    <a:gd name="connsiteY3412" fmla="*/ 594409 h 1268099"/>
                    <a:gd name="connsiteX3413" fmla="*/ 350858 w 1524655"/>
                    <a:gd name="connsiteY3413" fmla="*/ 594640 h 1268099"/>
                    <a:gd name="connsiteX3414" fmla="*/ 350627 w 1524655"/>
                    <a:gd name="connsiteY3414" fmla="*/ 594895 h 1268099"/>
                    <a:gd name="connsiteX3415" fmla="*/ 347883 w 1524655"/>
                    <a:gd name="connsiteY3415" fmla="*/ 597894 h 1268099"/>
                    <a:gd name="connsiteX3416" fmla="*/ 347191 w 1524655"/>
                    <a:gd name="connsiteY3416" fmla="*/ 598501 h 1268099"/>
                    <a:gd name="connsiteX3417" fmla="*/ 346487 w 1524655"/>
                    <a:gd name="connsiteY3417" fmla="*/ 598186 h 1268099"/>
                    <a:gd name="connsiteX3418" fmla="*/ 345989 w 1524655"/>
                    <a:gd name="connsiteY3418" fmla="*/ 597967 h 1268099"/>
                    <a:gd name="connsiteX3419" fmla="*/ 345467 w 1524655"/>
                    <a:gd name="connsiteY3419" fmla="*/ 597833 h 1268099"/>
                    <a:gd name="connsiteX3420" fmla="*/ 343208 w 1524655"/>
                    <a:gd name="connsiteY3420" fmla="*/ 597275 h 1268099"/>
                    <a:gd name="connsiteX3421" fmla="*/ 338885 w 1524655"/>
                    <a:gd name="connsiteY3421" fmla="*/ 595903 h 1268099"/>
                    <a:gd name="connsiteX3422" fmla="*/ 338509 w 1524655"/>
                    <a:gd name="connsiteY3422" fmla="*/ 595781 h 1268099"/>
                    <a:gd name="connsiteX3423" fmla="*/ 338120 w 1524655"/>
                    <a:gd name="connsiteY3423" fmla="*/ 595708 h 1268099"/>
                    <a:gd name="connsiteX3424" fmla="*/ 329778 w 1524655"/>
                    <a:gd name="connsiteY3424" fmla="*/ 594215 h 1268099"/>
                    <a:gd name="connsiteX3425" fmla="*/ 329450 w 1524655"/>
                    <a:gd name="connsiteY3425" fmla="*/ 594154 h 1268099"/>
                    <a:gd name="connsiteX3426" fmla="*/ 329134 w 1524655"/>
                    <a:gd name="connsiteY3426" fmla="*/ 594130 h 1268099"/>
                    <a:gd name="connsiteX3427" fmla="*/ 323548 w 1524655"/>
                    <a:gd name="connsiteY3427" fmla="*/ 593741 h 1268099"/>
                    <a:gd name="connsiteX3428" fmla="*/ 322917 w 1524655"/>
                    <a:gd name="connsiteY3428" fmla="*/ 593705 h 1268099"/>
                    <a:gd name="connsiteX3429" fmla="*/ 322298 w 1524655"/>
                    <a:gd name="connsiteY3429" fmla="*/ 593790 h 1268099"/>
                    <a:gd name="connsiteX3430" fmla="*/ 319432 w 1524655"/>
                    <a:gd name="connsiteY3430" fmla="*/ 594178 h 1268099"/>
                    <a:gd name="connsiteX3431" fmla="*/ 318570 w 1524655"/>
                    <a:gd name="connsiteY3431" fmla="*/ 594300 h 1268099"/>
                    <a:gd name="connsiteX3432" fmla="*/ 317781 w 1524655"/>
                    <a:gd name="connsiteY3432" fmla="*/ 594640 h 1268099"/>
                    <a:gd name="connsiteX3433" fmla="*/ 313810 w 1524655"/>
                    <a:gd name="connsiteY3433" fmla="*/ 596413 h 1268099"/>
                    <a:gd name="connsiteX3434" fmla="*/ 313081 w 1524655"/>
                    <a:gd name="connsiteY3434" fmla="*/ 596740 h 1268099"/>
                    <a:gd name="connsiteX3435" fmla="*/ 312462 w 1524655"/>
                    <a:gd name="connsiteY3435" fmla="*/ 597239 h 1268099"/>
                    <a:gd name="connsiteX3436" fmla="*/ 310592 w 1524655"/>
                    <a:gd name="connsiteY3436" fmla="*/ 598756 h 1268099"/>
                    <a:gd name="connsiteX3437" fmla="*/ 309013 w 1524655"/>
                    <a:gd name="connsiteY3437" fmla="*/ 599291 h 1268099"/>
                    <a:gd name="connsiteX3438" fmla="*/ 307204 w 1524655"/>
                    <a:gd name="connsiteY3438" fmla="*/ 599546 h 1268099"/>
                    <a:gd name="connsiteX3439" fmla="*/ 305880 w 1524655"/>
                    <a:gd name="connsiteY3439" fmla="*/ 599740 h 1268099"/>
                    <a:gd name="connsiteX3440" fmla="*/ 304763 w 1524655"/>
                    <a:gd name="connsiteY3440" fmla="*/ 600456 h 1268099"/>
                    <a:gd name="connsiteX3441" fmla="*/ 303051 w 1524655"/>
                    <a:gd name="connsiteY3441" fmla="*/ 601561 h 1268099"/>
                    <a:gd name="connsiteX3442" fmla="*/ 302165 w 1524655"/>
                    <a:gd name="connsiteY3442" fmla="*/ 602144 h 1268099"/>
                    <a:gd name="connsiteX3443" fmla="*/ 301521 w 1524655"/>
                    <a:gd name="connsiteY3443" fmla="*/ 602970 h 1268099"/>
                    <a:gd name="connsiteX3444" fmla="*/ 300659 w 1524655"/>
                    <a:gd name="connsiteY3444" fmla="*/ 604099 h 1268099"/>
                    <a:gd name="connsiteX3445" fmla="*/ 299967 w 1524655"/>
                    <a:gd name="connsiteY3445" fmla="*/ 604111 h 1268099"/>
                    <a:gd name="connsiteX3446" fmla="*/ 298825 w 1524655"/>
                    <a:gd name="connsiteY3446" fmla="*/ 603759 h 1268099"/>
                    <a:gd name="connsiteX3447" fmla="*/ 296033 w 1524655"/>
                    <a:gd name="connsiteY3447" fmla="*/ 603079 h 1268099"/>
                    <a:gd name="connsiteX3448" fmla="*/ 294345 w 1524655"/>
                    <a:gd name="connsiteY3448" fmla="*/ 602679 h 1268099"/>
                    <a:gd name="connsiteX3449" fmla="*/ 292705 w 1524655"/>
                    <a:gd name="connsiteY3449" fmla="*/ 603237 h 1268099"/>
                    <a:gd name="connsiteX3450" fmla="*/ 290556 w 1524655"/>
                    <a:gd name="connsiteY3450" fmla="*/ 603966 h 1268099"/>
                    <a:gd name="connsiteX3451" fmla="*/ 289123 w 1524655"/>
                    <a:gd name="connsiteY3451" fmla="*/ 604451 h 1268099"/>
                    <a:gd name="connsiteX3452" fmla="*/ 288079 w 1524655"/>
                    <a:gd name="connsiteY3452" fmla="*/ 605556 h 1268099"/>
                    <a:gd name="connsiteX3453" fmla="*/ 287083 w 1524655"/>
                    <a:gd name="connsiteY3453" fmla="*/ 606613 h 1268099"/>
                    <a:gd name="connsiteX3454" fmla="*/ 284594 w 1524655"/>
                    <a:gd name="connsiteY3454" fmla="*/ 609248 h 1268099"/>
                    <a:gd name="connsiteX3455" fmla="*/ 285735 w 1524655"/>
                    <a:gd name="connsiteY3455" fmla="*/ 612672 h 1268099"/>
                    <a:gd name="connsiteX3456" fmla="*/ 286804 w 1524655"/>
                    <a:gd name="connsiteY3456" fmla="*/ 615927 h 1268099"/>
                    <a:gd name="connsiteX3457" fmla="*/ 286148 w 1524655"/>
                    <a:gd name="connsiteY3457" fmla="*/ 617554 h 1268099"/>
                    <a:gd name="connsiteX3458" fmla="*/ 285966 w 1524655"/>
                    <a:gd name="connsiteY3458" fmla="*/ 617991 h 1268099"/>
                    <a:gd name="connsiteX3459" fmla="*/ 285966 w 1524655"/>
                    <a:gd name="connsiteY3459" fmla="*/ 618015 h 1268099"/>
                    <a:gd name="connsiteX3460" fmla="*/ 285104 w 1524655"/>
                    <a:gd name="connsiteY3460" fmla="*/ 618792 h 1268099"/>
                    <a:gd name="connsiteX3461" fmla="*/ 284849 w 1524655"/>
                    <a:gd name="connsiteY3461" fmla="*/ 621112 h 1268099"/>
                    <a:gd name="connsiteX3462" fmla="*/ 284715 w 1524655"/>
                    <a:gd name="connsiteY3462" fmla="*/ 622338 h 1268099"/>
                    <a:gd name="connsiteX3463" fmla="*/ 284205 w 1524655"/>
                    <a:gd name="connsiteY3463" fmla="*/ 624439 h 1268099"/>
                    <a:gd name="connsiteX3464" fmla="*/ 284120 w 1524655"/>
                    <a:gd name="connsiteY3464" fmla="*/ 624779 h 1268099"/>
                    <a:gd name="connsiteX3465" fmla="*/ 284120 w 1524655"/>
                    <a:gd name="connsiteY3465" fmla="*/ 624864 h 1268099"/>
                    <a:gd name="connsiteX3466" fmla="*/ 281194 w 1524655"/>
                    <a:gd name="connsiteY3466" fmla="*/ 625702 h 1268099"/>
                    <a:gd name="connsiteX3467" fmla="*/ 280514 w 1524655"/>
                    <a:gd name="connsiteY3467" fmla="*/ 625908 h 1268099"/>
                    <a:gd name="connsiteX3468" fmla="*/ 279895 w 1524655"/>
                    <a:gd name="connsiteY3468" fmla="*/ 626248 h 1268099"/>
                    <a:gd name="connsiteX3469" fmla="*/ 278231 w 1524655"/>
                    <a:gd name="connsiteY3469" fmla="*/ 627183 h 1268099"/>
                    <a:gd name="connsiteX3470" fmla="*/ 277915 w 1524655"/>
                    <a:gd name="connsiteY3470" fmla="*/ 627365 h 1268099"/>
                    <a:gd name="connsiteX3471" fmla="*/ 277624 w 1524655"/>
                    <a:gd name="connsiteY3471" fmla="*/ 627584 h 1268099"/>
                    <a:gd name="connsiteX3472" fmla="*/ 274540 w 1524655"/>
                    <a:gd name="connsiteY3472" fmla="*/ 629855 h 1268099"/>
                    <a:gd name="connsiteX3473" fmla="*/ 272536 w 1524655"/>
                    <a:gd name="connsiteY3473" fmla="*/ 631324 h 1268099"/>
                    <a:gd name="connsiteX3474" fmla="*/ 272135 w 1524655"/>
                    <a:gd name="connsiteY3474" fmla="*/ 633777 h 1268099"/>
                    <a:gd name="connsiteX3475" fmla="*/ 271965 w 1524655"/>
                    <a:gd name="connsiteY3475" fmla="*/ 634833 h 1268099"/>
                    <a:gd name="connsiteX3476" fmla="*/ 271735 w 1524655"/>
                    <a:gd name="connsiteY3476" fmla="*/ 636254 h 1268099"/>
                    <a:gd name="connsiteX3477" fmla="*/ 271917 w 1524655"/>
                    <a:gd name="connsiteY3477" fmla="*/ 636836 h 1268099"/>
                    <a:gd name="connsiteX3478" fmla="*/ 271091 w 1524655"/>
                    <a:gd name="connsiteY3478" fmla="*/ 638257 h 1268099"/>
                    <a:gd name="connsiteX3479" fmla="*/ 271067 w 1524655"/>
                    <a:gd name="connsiteY3479" fmla="*/ 638306 h 1268099"/>
                    <a:gd name="connsiteX3480" fmla="*/ 270520 w 1524655"/>
                    <a:gd name="connsiteY3480" fmla="*/ 638282 h 1268099"/>
                    <a:gd name="connsiteX3481" fmla="*/ 270023 w 1524655"/>
                    <a:gd name="connsiteY3481" fmla="*/ 638269 h 1268099"/>
                    <a:gd name="connsiteX3482" fmla="*/ 269525 w 1524655"/>
                    <a:gd name="connsiteY3482" fmla="*/ 638330 h 1268099"/>
                    <a:gd name="connsiteX3483" fmla="*/ 267303 w 1524655"/>
                    <a:gd name="connsiteY3483" fmla="*/ 638609 h 1268099"/>
                    <a:gd name="connsiteX3484" fmla="*/ 261644 w 1524655"/>
                    <a:gd name="connsiteY3484" fmla="*/ 639338 h 1268099"/>
                    <a:gd name="connsiteX3485" fmla="*/ 261765 w 1524655"/>
                    <a:gd name="connsiteY3485" fmla="*/ 641232 h 1268099"/>
                    <a:gd name="connsiteX3486" fmla="*/ 260442 w 1524655"/>
                    <a:gd name="connsiteY3486" fmla="*/ 640625 h 1268099"/>
                    <a:gd name="connsiteX3487" fmla="*/ 259179 w 1524655"/>
                    <a:gd name="connsiteY3487" fmla="*/ 637881 h 1268099"/>
                    <a:gd name="connsiteX3488" fmla="*/ 258025 w 1524655"/>
                    <a:gd name="connsiteY3488" fmla="*/ 635392 h 1268099"/>
                    <a:gd name="connsiteX3489" fmla="*/ 258013 w 1524655"/>
                    <a:gd name="connsiteY3489" fmla="*/ 634967 h 1268099"/>
                    <a:gd name="connsiteX3490" fmla="*/ 257940 w 1524655"/>
                    <a:gd name="connsiteY3490" fmla="*/ 632805 h 1268099"/>
                    <a:gd name="connsiteX3491" fmla="*/ 256520 w 1524655"/>
                    <a:gd name="connsiteY3491" fmla="*/ 631178 h 1268099"/>
                    <a:gd name="connsiteX3492" fmla="*/ 255852 w 1524655"/>
                    <a:gd name="connsiteY3492" fmla="*/ 630425 h 1268099"/>
                    <a:gd name="connsiteX3493" fmla="*/ 254249 w 1524655"/>
                    <a:gd name="connsiteY3493" fmla="*/ 628592 h 1268099"/>
                    <a:gd name="connsiteX3494" fmla="*/ 251820 w 1524655"/>
                    <a:gd name="connsiteY3494" fmla="*/ 628373 h 1268099"/>
                    <a:gd name="connsiteX3495" fmla="*/ 250497 w 1524655"/>
                    <a:gd name="connsiteY3495" fmla="*/ 628251 h 1268099"/>
                    <a:gd name="connsiteX3496" fmla="*/ 247898 w 1524655"/>
                    <a:gd name="connsiteY3496" fmla="*/ 628009 h 1268099"/>
                    <a:gd name="connsiteX3497" fmla="*/ 245931 w 1524655"/>
                    <a:gd name="connsiteY3497" fmla="*/ 629757 h 1268099"/>
                    <a:gd name="connsiteX3498" fmla="*/ 245664 w 1524655"/>
                    <a:gd name="connsiteY3498" fmla="*/ 630000 h 1268099"/>
                    <a:gd name="connsiteX3499" fmla="*/ 245044 w 1524655"/>
                    <a:gd name="connsiteY3499" fmla="*/ 630304 h 1268099"/>
                    <a:gd name="connsiteX3500" fmla="*/ 242859 w 1524655"/>
                    <a:gd name="connsiteY3500" fmla="*/ 631384 h 1268099"/>
                    <a:gd name="connsiteX3501" fmla="*/ 242033 w 1524655"/>
                    <a:gd name="connsiteY3501" fmla="*/ 633680 h 1268099"/>
                    <a:gd name="connsiteX3502" fmla="*/ 241899 w 1524655"/>
                    <a:gd name="connsiteY3502" fmla="*/ 634056 h 1268099"/>
                    <a:gd name="connsiteX3503" fmla="*/ 241814 w 1524655"/>
                    <a:gd name="connsiteY3503" fmla="*/ 633995 h 1268099"/>
                    <a:gd name="connsiteX3504" fmla="*/ 240588 w 1524655"/>
                    <a:gd name="connsiteY3504" fmla="*/ 633777 h 1268099"/>
                    <a:gd name="connsiteX3505" fmla="*/ 238706 w 1524655"/>
                    <a:gd name="connsiteY3505" fmla="*/ 633449 h 1268099"/>
                    <a:gd name="connsiteX3506" fmla="*/ 238001 w 1524655"/>
                    <a:gd name="connsiteY3506" fmla="*/ 633315 h 1268099"/>
                    <a:gd name="connsiteX3507" fmla="*/ 237285 w 1524655"/>
                    <a:gd name="connsiteY3507" fmla="*/ 633364 h 1268099"/>
                    <a:gd name="connsiteX3508" fmla="*/ 234261 w 1524655"/>
                    <a:gd name="connsiteY3508" fmla="*/ 633546 h 1268099"/>
                    <a:gd name="connsiteX3509" fmla="*/ 232695 w 1524655"/>
                    <a:gd name="connsiteY3509" fmla="*/ 633376 h 1268099"/>
                    <a:gd name="connsiteX3510" fmla="*/ 229927 w 1524655"/>
                    <a:gd name="connsiteY3510" fmla="*/ 632234 h 1268099"/>
                    <a:gd name="connsiteX3511" fmla="*/ 226563 w 1524655"/>
                    <a:gd name="connsiteY3511" fmla="*/ 630340 h 1268099"/>
                    <a:gd name="connsiteX3512" fmla="*/ 225251 w 1524655"/>
                    <a:gd name="connsiteY3512" fmla="*/ 629587 h 1268099"/>
                    <a:gd name="connsiteX3513" fmla="*/ 223746 w 1524655"/>
                    <a:gd name="connsiteY3513" fmla="*/ 629539 h 1268099"/>
                    <a:gd name="connsiteX3514" fmla="*/ 221706 w 1524655"/>
                    <a:gd name="connsiteY3514" fmla="*/ 629478 h 1268099"/>
                    <a:gd name="connsiteX3515" fmla="*/ 220419 w 1524655"/>
                    <a:gd name="connsiteY3515" fmla="*/ 629442 h 1268099"/>
                    <a:gd name="connsiteX3516" fmla="*/ 219229 w 1524655"/>
                    <a:gd name="connsiteY3516" fmla="*/ 629927 h 1268099"/>
                    <a:gd name="connsiteX3517" fmla="*/ 217468 w 1524655"/>
                    <a:gd name="connsiteY3517" fmla="*/ 630656 h 1268099"/>
                    <a:gd name="connsiteX3518" fmla="*/ 215731 w 1524655"/>
                    <a:gd name="connsiteY3518" fmla="*/ 631372 h 1268099"/>
                    <a:gd name="connsiteX3519" fmla="*/ 214711 w 1524655"/>
                    <a:gd name="connsiteY3519" fmla="*/ 632951 h 1268099"/>
                    <a:gd name="connsiteX3520" fmla="*/ 214432 w 1524655"/>
                    <a:gd name="connsiteY3520" fmla="*/ 633364 h 1268099"/>
                    <a:gd name="connsiteX3521" fmla="*/ 213910 w 1524655"/>
                    <a:gd name="connsiteY3521" fmla="*/ 633194 h 1268099"/>
                    <a:gd name="connsiteX3522" fmla="*/ 212344 w 1524655"/>
                    <a:gd name="connsiteY3522" fmla="*/ 633522 h 1268099"/>
                    <a:gd name="connsiteX3523" fmla="*/ 210728 w 1524655"/>
                    <a:gd name="connsiteY3523" fmla="*/ 633862 h 1268099"/>
                    <a:gd name="connsiteX3524" fmla="*/ 209781 w 1524655"/>
                    <a:gd name="connsiteY3524" fmla="*/ 634068 h 1268099"/>
                    <a:gd name="connsiteX3525" fmla="*/ 208944 w 1524655"/>
                    <a:gd name="connsiteY3525" fmla="*/ 634554 h 1268099"/>
                    <a:gd name="connsiteX3526" fmla="*/ 208130 w 1524655"/>
                    <a:gd name="connsiteY3526" fmla="*/ 635027 h 1268099"/>
                    <a:gd name="connsiteX3527" fmla="*/ 207523 w 1524655"/>
                    <a:gd name="connsiteY3527" fmla="*/ 635222 h 1268099"/>
                    <a:gd name="connsiteX3528" fmla="*/ 207025 w 1524655"/>
                    <a:gd name="connsiteY3528" fmla="*/ 635306 h 1268099"/>
                    <a:gd name="connsiteX3529" fmla="*/ 206345 w 1524655"/>
                    <a:gd name="connsiteY3529" fmla="*/ 635197 h 1268099"/>
                    <a:gd name="connsiteX3530" fmla="*/ 205361 w 1524655"/>
                    <a:gd name="connsiteY3530" fmla="*/ 634942 h 1268099"/>
                    <a:gd name="connsiteX3531" fmla="*/ 204256 w 1524655"/>
                    <a:gd name="connsiteY3531" fmla="*/ 634420 h 1268099"/>
                    <a:gd name="connsiteX3532" fmla="*/ 201901 w 1524655"/>
                    <a:gd name="connsiteY3532" fmla="*/ 633546 h 1268099"/>
                    <a:gd name="connsiteX3533" fmla="*/ 200650 w 1524655"/>
                    <a:gd name="connsiteY3533" fmla="*/ 633084 h 1268099"/>
                    <a:gd name="connsiteX3534" fmla="*/ 199326 w 1524655"/>
                    <a:gd name="connsiteY3534" fmla="*/ 633206 h 1268099"/>
                    <a:gd name="connsiteX3535" fmla="*/ 198343 w 1524655"/>
                    <a:gd name="connsiteY3535" fmla="*/ 633291 h 1268099"/>
                    <a:gd name="connsiteX3536" fmla="*/ 198112 w 1524655"/>
                    <a:gd name="connsiteY3536" fmla="*/ 633230 h 1268099"/>
                    <a:gd name="connsiteX3537" fmla="*/ 197565 w 1524655"/>
                    <a:gd name="connsiteY3537" fmla="*/ 632927 h 1268099"/>
                    <a:gd name="connsiteX3538" fmla="*/ 197165 w 1524655"/>
                    <a:gd name="connsiteY3538" fmla="*/ 632696 h 1268099"/>
                    <a:gd name="connsiteX3539" fmla="*/ 196728 w 1524655"/>
                    <a:gd name="connsiteY3539" fmla="*/ 632526 h 1268099"/>
                    <a:gd name="connsiteX3540" fmla="*/ 195404 w 1524655"/>
                    <a:gd name="connsiteY3540" fmla="*/ 632028 h 1268099"/>
                    <a:gd name="connsiteX3541" fmla="*/ 194955 w 1524655"/>
                    <a:gd name="connsiteY3541" fmla="*/ 631858 h 1268099"/>
                    <a:gd name="connsiteX3542" fmla="*/ 194493 w 1524655"/>
                    <a:gd name="connsiteY3542" fmla="*/ 631761 h 1268099"/>
                    <a:gd name="connsiteX3543" fmla="*/ 192830 w 1524655"/>
                    <a:gd name="connsiteY3543" fmla="*/ 631421 h 1268099"/>
                    <a:gd name="connsiteX3544" fmla="*/ 191300 w 1524655"/>
                    <a:gd name="connsiteY3544" fmla="*/ 631105 h 1268099"/>
                    <a:gd name="connsiteX3545" fmla="*/ 189806 w 1524655"/>
                    <a:gd name="connsiteY3545" fmla="*/ 631567 h 1268099"/>
                    <a:gd name="connsiteX3546" fmla="*/ 188155 w 1524655"/>
                    <a:gd name="connsiteY3546" fmla="*/ 632076 h 1268099"/>
                    <a:gd name="connsiteX3547" fmla="*/ 187766 w 1524655"/>
                    <a:gd name="connsiteY3547" fmla="*/ 632198 h 1268099"/>
                    <a:gd name="connsiteX3548" fmla="*/ 187402 w 1524655"/>
                    <a:gd name="connsiteY3548" fmla="*/ 632368 h 1268099"/>
                    <a:gd name="connsiteX3549" fmla="*/ 185969 w 1524655"/>
                    <a:gd name="connsiteY3549" fmla="*/ 633036 h 1268099"/>
                    <a:gd name="connsiteX3550" fmla="*/ 185410 w 1524655"/>
                    <a:gd name="connsiteY3550" fmla="*/ 633291 h 1268099"/>
                    <a:gd name="connsiteX3551" fmla="*/ 184937 w 1524655"/>
                    <a:gd name="connsiteY3551" fmla="*/ 633643 h 1268099"/>
                    <a:gd name="connsiteX3552" fmla="*/ 181877 w 1524655"/>
                    <a:gd name="connsiteY3552" fmla="*/ 633315 h 1268099"/>
                    <a:gd name="connsiteX3553" fmla="*/ 181100 w 1524655"/>
                    <a:gd name="connsiteY3553" fmla="*/ 633133 h 1268099"/>
                    <a:gd name="connsiteX3554" fmla="*/ 180432 w 1524655"/>
                    <a:gd name="connsiteY3554" fmla="*/ 632380 h 1268099"/>
                    <a:gd name="connsiteX3555" fmla="*/ 179497 w 1524655"/>
                    <a:gd name="connsiteY3555" fmla="*/ 631215 h 1268099"/>
                    <a:gd name="connsiteX3556" fmla="*/ 178975 w 1524655"/>
                    <a:gd name="connsiteY3556" fmla="*/ 630546 h 1268099"/>
                    <a:gd name="connsiteX3557" fmla="*/ 178283 w 1524655"/>
                    <a:gd name="connsiteY3557" fmla="*/ 630061 h 1268099"/>
                    <a:gd name="connsiteX3558" fmla="*/ 176947 w 1524655"/>
                    <a:gd name="connsiteY3558" fmla="*/ 629114 h 1268099"/>
                    <a:gd name="connsiteX3559" fmla="*/ 176522 w 1524655"/>
                    <a:gd name="connsiteY3559" fmla="*/ 628701 h 1268099"/>
                    <a:gd name="connsiteX3560" fmla="*/ 175963 w 1524655"/>
                    <a:gd name="connsiteY3560" fmla="*/ 628215 h 1268099"/>
                    <a:gd name="connsiteX3561" fmla="*/ 175308 w 1524655"/>
                    <a:gd name="connsiteY3561" fmla="*/ 627887 h 1268099"/>
                    <a:gd name="connsiteX3562" fmla="*/ 173887 w 1524655"/>
                    <a:gd name="connsiteY3562" fmla="*/ 627159 h 1268099"/>
                    <a:gd name="connsiteX3563" fmla="*/ 171434 w 1524655"/>
                    <a:gd name="connsiteY3563" fmla="*/ 625908 h 1268099"/>
                    <a:gd name="connsiteX3564" fmla="*/ 168884 w 1524655"/>
                    <a:gd name="connsiteY3564" fmla="*/ 626916 h 1268099"/>
                    <a:gd name="connsiteX3565" fmla="*/ 168325 w 1524655"/>
                    <a:gd name="connsiteY3565" fmla="*/ 627146 h 1268099"/>
                    <a:gd name="connsiteX3566" fmla="*/ 168082 w 1524655"/>
                    <a:gd name="connsiteY3566" fmla="*/ 627049 h 1268099"/>
                    <a:gd name="connsiteX3567" fmla="*/ 167682 w 1524655"/>
                    <a:gd name="connsiteY3567" fmla="*/ 626952 h 1268099"/>
                    <a:gd name="connsiteX3568" fmla="*/ 166079 w 1524655"/>
                    <a:gd name="connsiteY3568" fmla="*/ 626563 h 1268099"/>
                    <a:gd name="connsiteX3569" fmla="*/ 165569 w 1524655"/>
                    <a:gd name="connsiteY3569" fmla="*/ 626430 h 1268099"/>
                    <a:gd name="connsiteX3570" fmla="*/ 165035 w 1524655"/>
                    <a:gd name="connsiteY3570" fmla="*/ 626394 h 1268099"/>
                    <a:gd name="connsiteX3571" fmla="*/ 160785 w 1524655"/>
                    <a:gd name="connsiteY3571" fmla="*/ 626127 h 1268099"/>
                    <a:gd name="connsiteX3572" fmla="*/ 160129 w 1524655"/>
                    <a:gd name="connsiteY3572" fmla="*/ 626017 h 1268099"/>
                    <a:gd name="connsiteX3573" fmla="*/ 160262 w 1524655"/>
                    <a:gd name="connsiteY3573" fmla="*/ 624293 h 1268099"/>
                    <a:gd name="connsiteX3574" fmla="*/ 160323 w 1524655"/>
                    <a:gd name="connsiteY3574" fmla="*/ 623504 h 1268099"/>
                    <a:gd name="connsiteX3575" fmla="*/ 160177 w 1524655"/>
                    <a:gd name="connsiteY3575" fmla="*/ 622714 h 1268099"/>
                    <a:gd name="connsiteX3576" fmla="*/ 159971 w 1524655"/>
                    <a:gd name="connsiteY3576" fmla="*/ 621609 h 1268099"/>
                    <a:gd name="connsiteX3577" fmla="*/ 159546 w 1524655"/>
                    <a:gd name="connsiteY3577" fmla="*/ 619339 h 1268099"/>
                    <a:gd name="connsiteX3578" fmla="*/ 158356 w 1524655"/>
                    <a:gd name="connsiteY3578" fmla="*/ 618416 h 1268099"/>
                    <a:gd name="connsiteX3579" fmla="*/ 158356 w 1524655"/>
                    <a:gd name="connsiteY3579" fmla="*/ 614736 h 1268099"/>
                    <a:gd name="connsiteX3580" fmla="*/ 152175 w 1524655"/>
                    <a:gd name="connsiteY3580" fmla="*/ 614336 h 1268099"/>
                    <a:gd name="connsiteX3581" fmla="*/ 150718 w 1524655"/>
                    <a:gd name="connsiteY3581" fmla="*/ 614348 h 1268099"/>
                    <a:gd name="connsiteX3582" fmla="*/ 149054 w 1524655"/>
                    <a:gd name="connsiteY3582" fmla="*/ 614336 h 1268099"/>
                    <a:gd name="connsiteX3583" fmla="*/ 148071 w 1524655"/>
                    <a:gd name="connsiteY3583" fmla="*/ 614336 h 1268099"/>
                    <a:gd name="connsiteX3584" fmla="*/ 142084 w 1524655"/>
                    <a:gd name="connsiteY3584" fmla="*/ 614336 h 1268099"/>
                    <a:gd name="connsiteX3585" fmla="*/ 141793 w 1524655"/>
                    <a:gd name="connsiteY3585" fmla="*/ 618027 h 1268099"/>
                    <a:gd name="connsiteX3586" fmla="*/ 140081 w 1524655"/>
                    <a:gd name="connsiteY3586" fmla="*/ 619788 h 1268099"/>
                    <a:gd name="connsiteX3587" fmla="*/ 139826 w 1524655"/>
                    <a:gd name="connsiteY3587" fmla="*/ 620055 h 1268099"/>
                    <a:gd name="connsiteX3588" fmla="*/ 139194 w 1524655"/>
                    <a:gd name="connsiteY3588" fmla="*/ 620043 h 1268099"/>
                    <a:gd name="connsiteX3589" fmla="*/ 116512 w 1524655"/>
                    <a:gd name="connsiteY3589" fmla="*/ 619812 h 1268099"/>
                    <a:gd name="connsiteX3590" fmla="*/ 109505 w 1524655"/>
                    <a:gd name="connsiteY3590" fmla="*/ 618962 h 1268099"/>
                    <a:gd name="connsiteX3591" fmla="*/ 108533 w 1524655"/>
                    <a:gd name="connsiteY3591" fmla="*/ 618634 h 1268099"/>
                    <a:gd name="connsiteX3592" fmla="*/ 105656 w 1524655"/>
                    <a:gd name="connsiteY3592" fmla="*/ 617129 h 1268099"/>
                    <a:gd name="connsiteX3593" fmla="*/ 104866 w 1524655"/>
                    <a:gd name="connsiteY3593" fmla="*/ 616716 h 1268099"/>
                    <a:gd name="connsiteX3594" fmla="*/ 103992 w 1524655"/>
                    <a:gd name="connsiteY3594" fmla="*/ 616546 h 1268099"/>
                    <a:gd name="connsiteX3595" fmla="*/ 102316 w 1524655"/>
                    <a:gd name="connsiteY3595" fmla="*/ 616230 h 1268099"/>
                    <a:gd name="connsiteX3596" fmla="*/ 101308 w 1524655"/>
                    <a:gd name="connsiteY3596" fmla="*/ 616036 h 1268099"/>
                    <a:gd name="connsiteX3597" fmla="*/ 100288 w 1524655"/>
                    <a:gd name="connsiteY3597" fmla="*/ 616194 h 1268099"/>
                    <a:gd name="connsiteX3598" fmla="*/ 88413 w 1524655"/>
                    <a:gd name="connsiteY3598" fmla="*/ 617967 h 1268099"/>
                    <a:gd name="connsiteX3599" fmla="*/ 87866 w 1524655"/>
                    <a:gd name="connsiteY3599" fmla="*/ 618051 h 1268099"/>
                    <a:gd name="connsiteX3600" fmla="*/ 87344 w 1524655"/>
                    <a:gd name="connsiteY3600" fmla="*/ 618234 h 1268099"/>
                    <a:gd name="connsiteX3601" fmla="*/ 83725 w 1524655"/>
                    <a:gd name="connsiteY3601" fmla="*/ 619484 h 1268099"/>
                    <a:gd name="connsiteX3602" fmla="*/ 83167 w 1524655"/>
                    <a:gd name="connsiteY3602" fmla="*/ 619679 h 1268099"/>
                    <a:gd name="connsiteX3603" fmla="*/ 82657 w 1524655"/>
                    <a:gd name="connsiteY3603" fmla="*/ 619970 h 1268099"/>
                    <a:gd name="connsiteX3604" fmla="*/ 69445 w 1524655"/>
                    <a:gd name="connsiteY3604" fmla="*/ 627608 h 1268099"/>
                    <a:gd name="connsiteX3605" fmla="*/ 68474 w 1524655"/>
                    <a:gd name="connsiteY3605" fmla="*/ 628167 h 1268099"/>
                    <a:gd name="connsiteX3606" fmla="*/ 67770 w 1524655"/>
                    <a:gd name="connsiteY3606" fmla="*/ 629017 h 1268099"/>
                    <a:gd name="connsiteX3607" fmla="*/ 60362 w 1524655"/>
                    <a:gd name="connsiteY3607" fmla="*/ 638087 h 1268099"/>
                    <a:gd name="connsiteX3608" fmla="*/ 58748 w 1524655"/>
                    <a:gd name="connsiteY3608" fmla="*/ 640055 h 1268099"/>
                    <a:gd name="connsiteX3609" fmla="*/ 59027 w 1524655"/>
                    <a:gd name="connsiteY3609" fmla="*/ 642592 h 1268099"/>
                    <a:gd name="connsiteX3610" fmla="*/ 59136 w 1524655"/>
                    <a:gd name="connsiteY3610" fmla="*/ 643625 h 1268099"/>
                    <a:gd name="connsiteX3611" fmla="*/ 58893 w 1524655"/>
                    <a:gd name="connsiteY3611" fmla="*/ 644159 h 1268099"/>
                    <a:gd name="connsiteX3612" fmla="*/ 58359 w 1524655"/>
                    <a:gd name="connsiteY3612" fmla="*/ 645349 h 1268099"/>
                    <a:gd name="connsiteX3613" fmla="*/ 58359 w 1524655"/>
                    <a:gd name="connsiteY3613" fmla="*/ 646660 h 1268099"/>
                    <a:gd name="connsiteX3614" fmla="*/ 58359 w 1524655"/>
                    <a:gd name="connsiteY3614" fmla="*/ 650995 h 1268099"/>
                    <a:gd name="connsiteX3615" fmla="*/ 57412 w 1524655"/>
                    <a:gd name="connsiteY3615" fmla="*/ 658985 h 1268099"/>
                    <a:gd name="connsiteX3616" fmla="*/ 57327 w 1524655"/>
                    <a:gd name="connsiteY3616" fmla="*/ 659714 h 1268099"/>
                    <a:gd name="connsiteX3617" fmla="*/ 57412 w 1524655"/>
                    <a:gd name="connsiteY3617" fmla="*/ 660442 h 1268099"/>
                    <a:gd name="connsiteX3618" fmla="*/ 57885 w 1524655"/>
                    <a:gd name="connsiteY3618" fmla="*/ 664340 h 1268099"/>
                    <a:gd name="connsiteX3619" fmla="*/ 57934 w 1524655"/>
                    <a:gd name="connsiteY3619" fmla="*/ 664765 h 1268099"/>
                    <a:gd name="connsiteX3620" fmla="*/ 58043 w 1524655"/>
                    <a:gd name="connsiteY3620" fmla="*/ 665166 h 1268099"/>
                    <a:gd name="connsiteX3621" fmla="*/ 58675 w 1524655"/>
                    <a:gd name="connsiteY3621" fmla="*/ 667510 h 1268099"/>
                    <a:gd name="connsiteX3622" fmla="*/ 59233 w 1524655"/>
                    <a:gd name="connsiteY3622" fmla="*/ 669598 h 1268099"/>
                    <a:gd name="connsiteX3623" fmla="*/ 60982 w 1524655"/>
                    <a:gd name="connsiteY3623" fmla="*/ 670861 h 1268099"/>
                    <a:gd name="connsiteX3624" fmla="*/ 62014 w 1524655"/>
                    <a:gd name="connsiteY3624" fmla="*/ 671614 h 1268099"/>
                    <a:gd name="connsiteX3625" fmla="*/ 62694 w 1524655"/>
                    <a:gd name="connsiteY3625" fmla="*/ 672099 h 1268099"/>
                    <a:gd name="connsiteX3626" fmla="*/ 63483 w 1524655"/>
                    <a:gd name="connsiteY3626" fmla="*/ 672391 h 1268099"/>
                    <a:gd name="connsiteX3627" fmla="*/ 63690 w 1524655"/>
                    <a:gd name="connsiteY3627" fmla="*/ 672464 h 1268099"/>
                    <a:gd name="connsiteX3628" fmla="*/ 65062 w 1524655"/>
                    <a:gd name="connsiteY3628" fmla="*/ 675415 h 1268099"/>
                    <a:gd name="connsiteX3629" fmla="*/ 65645 w 1524655"/>
                    <a:gd name="connsiteY3629" fmla="*/ 676435 h 1268099"/>
                    <a:gd name="connsiteX3630" fmla="*/ 65256 w 1524655"/>
                    <a:gd name="connsiteY3630" fmla="*/ 676410 h 1268099"/>
                    <a:gd name="connsiteX3631" fmla="*/ 64370 w 1524655"/>
                    <a:gd name="connsiteY3631" fmla="*/ 676653 h 1268099"/>
                    <a:gd name="connsiteX3632" fmla="*/ 62524 w 1524655"/>
                    <a:gd name="connsiteY3632" fmla="*/ 677139 h 1268099"/>
                    <a:gd name="connsiteX3633" fmla="*/ 61553 w 1524655"/>
                    <a:gd name="connsiteY3633" fmla="*/ 677394 h 1268099"/>
                    <a:gd name="connsiteX3634" fmla="*/ 60727 w 1524655"/>
                    <a:gd name="connsiteY3634" fmla="*/ 677953 h 1268099"/>
                    <a:gd name="connsiteX3635" fmla="*/ 58954 w 1524655"/>
                    <a:gd name="connsiteY3635" fmla="*/ 679130 h 1268099"/>
                    <a:gd name="connsiteX3636" fmla="*/ 58322 w 1524655"/>
                    <a:gd name="connsiteY3636" fmla="*/ 679543 h 1268099"/>
                    <a:gd name="connsiteX3637" fmla="*/ 57813 w 1524655"/>
                    <a:gd name="connsiteY3637" fmla="*/ 680102 h 1268099"/>
                    <a:gd name="connsiteX3638" fmla="*/ 56197 w 1524655"/>
                    <a:gd name="connsiteY3638" fmla="*/ 681875 h 1268099"/>
                    <a:gd name="connsiteX3639" fmla="*/ 55687 w 1524655"/>
                    <a:gd name="connsiteY3639" fmla="*/ 682446 h 1268099"/>
                    <a:gd name="connsiteX3640" fmla="*/ 55335 w 1524655"/>
                    <a:gd name="connsiteY3640" fmla="*/ 683126 h 1268099"/>
                    <a:gd name="connsiteX3641" fmla="*/ 54024 w 1524655"/>
                    <a:gd name="connsiteY3641" fmla="*/ 685591 h 1268099"/>
                    <a:gd name="connsiteX3642" fmla="*/ 53805 w 1524655"/>
                    <a:gd name="connsiteY3642" fmla="*/ 685991 h 1268099"/>
                    <a:gd name="connsiteX3643" fmla="*/ 53647 w 1524655"/>
                    <a:gd name="connsiteY3643" fmla="*/ 686428 h 1268099"/>
                    <a:gd name="connsiteX3644" fmla="*/ 53137 w 1524655"/>
                    <a:gd name="connsiteY3644" fmla="*/ 687886 h 1268099"/>
                    <a:gd name="connsiteX3645" fmla="*/ 53004 w 1524655"/>
                    <a:gd name="connsiteY3645" fmla="*/ 688274 h 1268099"/>
                    <a:gd name="connsiteX3646" fmla="*/ 52919 w 1524655"/>
                    <a:gd name="connsiteY3646" fmla="*/ 688687 h 1268099"/>
                    <a:gd name="connsiteX3647" fmla="*/ 52737 w 1524655"/>
                    <a:gd name="connsiteY3647" fmla="*/ 689598 h 1268099"/>
                    <a:gd name="connsiteX3648" fmla="*/ 52652 w 1524655"/>
                    <a:gd name="connsiteY3648" fmla="*/ 690023 h 1268099"/>
                    <a:gd name="connsiteX3649" fmla="*/ 52627 w 1524655"/>
                    <a:gd name="connsiteY3649" fmla="*/ 690460 h 1268099"/>
                    <a:gd name="connsiteX3650" fmla="*/ 52567 w 1524655"/>
                    <a:gd name="connsiteY3650" fmla="*/ 691540 h 1268099"/>
                    <a:gd name="connsiteX3651" fmla="*/ 52518 w 1524655"/>
                    <a:gd name="connsiteY3651" fmla="*/ 692330 h 1268099"/>
                    <a:gd name="connsiteX3652" fmla="*/ 52688 w 1524655"/>
                    <a:gd name="connsiteY3652" fmla="*/ 693107 h 1268099"/>
                    <a:gd name="connsiteX3653" fmla="*/ 54352 w 1524655"/>
                    <a:gd name="connsiteY3653" fmla="*/ 701097 h 1268099"/>
                    <a:gd name="connsiteX3654" fmla="*/ 54400 w 1524655"/>
                    <a:gd name="connsiteY3654" fmla="*/ 703295 h 1268099"/>
                    <a:gd name="connsiteX3655" fmla="*/ 51365 w 1524655"/>
                    <a:gd name="connsiteY3655" fmla="*/ 702141 h 1268099"/>
                    <a:gd name="connsiteX3656" fmla="*/ 48632 w 1524655"/>
                    <a:gd name="connsiteY3656" fmla="*/ 705869 h 1268099"/>
                    <a:gd name="connsiteX3657" fmla="*/ 47479 w 1524655"/>
                    <a:gd name="connsiteY3657" fmla="*/ 707448 h 1268099"/>
                    <a:gd name="connsiteX3658" fmla="*/ 45997 w 1524655"/>
                    <a:gd name="connsiteY3658" fmla="*/ 709475 h 1268099"/>
                    <a:gd name="connsiteX3659" fmla="*/ 46374 w 1524655"/>
                    <a:gd name="connsiteY3659" fmla="*/ 711953 h 1268099"/>
                    <a:gd name="connsiteX3660" fmla="*/ 46605 w 1524655"/>
                    <a:gd name="connsiteY3660" fmla="*/ 713471 h 1268099"/>
                    <a:gd name="connsiteX3661" fmla="*/ 46847 w 1524655"/>
                    <a:gd name="connsiteY3661" fmla="*/ 714685 h 1268099"/>
                    <a:gd name="connsiteX3662" fmla="*/ 47151 w 1524655"/>
                    <a:gd name="connsiteY3662" fmla="*/ 716142 h 1268099"/>
                    <a:gd name="connsiteX3663" fmla="*/ 48098 w 1524655"/>
                    <a:gd name="connsiteY3663" fmla="*/ 717296 h 1268099"/>
                    <a:gd name="connsiteX3664" fmla="*/ 48292 w 1524655"/>
                    <a:gd name="connsiteY3664" fmla="*/ 717538 h 1268099"/>
                    <a:gd name="connsiteX3665" fmla="*/ 49507 w 1524655"/>
                    <a:gd name="connsiteY3665" fmla="*/ 719919 h 1268099"/>
                    <a:gd name="connsiteX3666" fmla="*/ 50320 w 1524655"/>
                    <a:gd name="connsiteY3666" fmla="*/ 722712 h 1268099"/>
                    <a:gd name="connsiteX3667" fmla="*/ 50466 w 1524655"/>
                    <a:gd name="connsiteY3667" fmla="*/ 723197 h 1268099"/>
                    <a:gd name="connsiteX3668" fmla="*/ 50685 w 1524655"/>
                    <a:gd name="connsiteY3668" fmla="*/ 723647 h 1268099"/>
                    <a:gd name="connsiteX3669" fmla="*/ 51486 w 1524655"/>
                    <a:gd name="connsiteY3669" fmla="*/ 725346 h 1268099"/>
                    <a:gd name="connsiteX3670" fmla="*/ 51790 w 1524655"/>
                    <a:gd name="connsiteY3670" fmla="*/ 725990 h 1268099"/>
                    <a:gd name="connsiteX3671" fmla="*/ 52227 w 1524655"/>
                    <a:gd name="connsiteY3671" fmla="*/ 726536 h 1268099"/>
                    <a:gd name="connsiteX3672" fmla="*/ 53247 w 1524655"/>
                    <a:gd name="connsiteY3672" fmla="*/ 727799 h 1268099"/>
                    <a:gd name="connsiteX3673" fmla="*/ 53830 w 1524655"/>
                    <a:gd name="connsiteY3673" fmla="*/ 728528 h 1268099"/>
                    <a:gd name="connsiteX3674" fmla="*/ 54485 w 1524655"/>
                    <a:gd name="connsiteY3674" fmla="*/ 728965 h 1268099"/>
                    <a:gd name="connsiteX3675" fmla="*/ 54692 w 1524655"/>
                    <a:gd name="connsiteY3675" fmla="*/ 729281 h 1268099"/>
                    <a:gd name="connsiteX3676" fmla="*/ 55481 w 1524655"/>
                    <a:gd name="connsiteY3676" fmla="*/ 731236 h 1268099"/>
                    <a:gd name="connsiteX3677" fmla="*/ 56926 w 1524655"/>
                    <a:gd name="connsiteY3677" fmla="*/ 740598 h 1268099"/>
                    <a:gd name="connsiteX3678" fmla="*/ 57655 w 1524655"/>
                    <a:gd name="connsiteY3678" fmla="*/ 743695 h 1268099"/>
                    <a:gd name="connsiteX3679" fmla="*/ 58031 w 1524655"/>
                    <a:gd name="connsiteY3679" fmla="*/ 745237 h 1268099"/>
                    <a:gd name="connsiteX3680" fmla="*/ 59112 w 1524655"/>
                    <a:gd name="connsiteY3680" fmla="*/ 746402 h 1268099"/>
                    <a:gd name="connsiteX3681" fmla="*/ 60156 w 1524655"/>
                    <a:gd name="connsiteY3681" fmla="*/ 747520 h 1268099"/>
                    <a:gd name="connsiteX3682" fmla="*/ 60897 w 1524655"/>
                    <a:gd name="connsiteY3682" fmla="*/ 748309 h 1268099"/>
                    <a:gd name="connsiteX3683" fmla="*/ 61880 w 1524655"/>
                    <a:gd name="connsiteY3683" fmla="*/ 748807 h 1268099"/>
                    <a:gd name="connsiteX3684" fmla="*/ 63374 w 1524655"/>
                    <a:gd name="connsiteY3684" fmla="*/ 749560 h 1268099"/>
                    <a:gd name="connsiteX3685" fmla="*/ 64005 w 1524655"/>
                    <a:gd name="connsiteY3685" fmla="*/ 749863 h 1268099"/>
                    <a:gd name="connsiteX3686" fmla="*/ 64697 w 1524655"/>
                    <a:gd name="connsiteY3686" fmla="*/ 750033 h 1268099"/>
                    <a:gd name="connsiteX3687" fmla="*/ 70502 w 1524655"/>
                    <a:gd name="connsiteY3687" fmla="*/ 751405 h 1268099"/>
                    <a:gd name="connsiteX3688" fmla="*/ 71534 w 1524655"/>
                    <a:gd name="connsiteY3688" fmla="*/ 751952 h 1268099"/>
                    <a:gd name="connsiteX3689" fmla="*/ 72044 w 1524655"/>
                    <a:gd name="connsiteY3689" fmla="*/ 752304 h 1268099"/>
                    <a:gd name="connsiteX3690" fmla="*/ 72566 w 1524655"/>
                    <a:gd name="connsiteY3690" fmla="*/ 752984 h 1268099"/>
                    <a:gd name="connsiteX3691" fmla="*/ 73975 w 1524655"/>
                    <a:gd name="connsiteY3691" fmla="*/ 763961 h 1268099"/>
                    <a:gd name="connsiteX3692" fmla="*/ 74035 w 1524655"/>
                    <a:gd name="connsiteY3692" fmla="*/ 764471 h 1268099"/>
                    <a:gd name="connsiteX3693" fmla="*/ 74181 w 1524655"/>
                    <a:gd name="connsiteY3693" fmla="*/ 764957 h 1268099"/>
                    <a:gd name="connsiteX3694" fmla="*/ 76877 w 1524655"/>
                    <a:gd name="connsiteY3694" fmla="*/ 773845 h 1268099"/>
                    <a:gd name="connsiteX3695" fmla="*/ 77423 w 1524655"/>
                    <a:gd name="connsiteY3695" fmla="*/ 776735 h 1268099"/>
                    <a:gd name="connsiteX3696" fmla="*/ 77460 w 1524655"/>
                    <a:gd name="connsiteY3696" fmla="*/ 779698 h 1268099"/>
                    <a:gd name="connsiteX3697" fmla="*/ 77229 w 1524655"/>
                    <a:gd name="connsiteY3697" fmla="*/ 781326 h 1268099"/>
                    <a:gd name="connsiteX3698" fmla="*/ 76974 w 1524655"/>
                    <a:gd name="connsiteY3698" fmla="*/ 782345 h 1268099"/>
                    <a:gd name="connsiteX3699" fmla="*/ 76403 w 1524655"/>
                    <a:gd name="connsiteY3699" fmla="*/ 783681 h 1268099"/>
                    <a:gd name="connsiteX3700" fmla="*/ 76124 w 1524655"/>
                    <a:gd name="connsiteY3700" fmla="*/ 784167 h 1268099"/>
                    <a:gd name="connsiteX3701" fmla="*/ 75213 w 1524655"/>
                    <a:gd name="connsiteY3701" fmla="*/ 785333 h 1268099"/>
                    <a:gd name="connsiteX3702" fmla="*/ 75019 w 1524655"/>
                    <a:gd name="connsiteY3702" fmla="*/ 785587 h 1268099"/>
                    <a:gd name="connsiteX3703" fmla="*/ 74849 w 1524655"/>
                    <a:gd name="connsiteY3703" fmla="*/ 785842 h 1268099"/>
                    <a:gd name="connsiteX3704" fmla="*/ 73695 w 1524655"/>
                    <a:gd name="connsiteY3704" fmla="*/ 787664 h 1268099"/>
                    <a:gd name="connsiteX3705" fmla="*/ 73525 w 1524655"/>
                    <a:gd name="connsiteY3705" fmla="*/ 787931 h 1268099"/>
                    <a:gd name="connsiteX3706" fmla="*/ 73392 w 1524655"/>
                    <a:gd name="connsiteY3706" fmla="*/ 788210 h 1268099"/>
                    <a:gd name="connsiteX3707" fmla="*/ 72129 w 1524655"/>
                    <a:gd name="connsiteY3707" fmla="*/ 790773 h 1268099"/>
                    <a:gd name="connsiteX3708" fmla="*/ 71874 w 1524655"/>
                    <a:gd name="connsiteY3708" fmla="*/ 791271 h 1268099"/>
                    <a:gd name="connsiteX3709" fmla="*/ 71728 w 1524655"/>
                    <a:gd name="connsiteY3709" fmla="*/ 791805 h 1268099"/>
                    <a:gd name="connsiteX3710" fmla="*/ 70465 w 1524655"/>
                    <a:gd name="connsiteY3710" fmla="*/ 796261 h 1268099"/>
                    <a:gd name="connsiteX3711" fmla="*/ 69761 w 1524655"/>
                    <a:gd name="connsiteY3711" fmla="*/ 797791 h 1268099"/>
                    <a:gd name="connsiteX3712" fmla="*/ 69166 w 1524655"/>
                    <a:gd name="connsiteY3712" fmla="*/ 798617 h 1268099"/>
                    <a:gd name="connsiteX3713" fmla="*/ 66191 w 1524655"/>
                    <a:gd name="connsiteY3713" fmla="*/ 801519 h 1268099"/>
                    <a:gd name="connsiteX3714" fmla="*/ 65815 w 1524655"/>
                    <a:gd name="connsiteY3714" fmla="*/ 801058 h 1268099"/>
                    <a:gd name="connsiteX3715" fmla="*/ 65402 w 1524655"/>
                    <a:gd name="connsiteY3715" fmla="*/ 800536 h 1268099"/>
                    <a:gd name="connsiteX3716" fmla="*/ 64892 w 1524655"/>
                    <a:gd name="connsiteY3716" fmla="*/ 800123 h 1268099"/>
                    <a:gd name="connsiteX3717" fmla="*/ 63799 w 1524655"/>
                    <a:gd name="connsiteY3717" fmla="*/ 799248 h 1268099"/>
                    <a:gd name="connsiteX3718" fmla="*/ 63058 w 1524655"/>
                    <a:gd name="connsiteY3718" fmla="*/ 798665 h 1268099"/>
                    <a:gd name="connsiteX3719" fmla="*/ 62184 w 1524655"/>
                    <a:gd name="connsiteY3719" fmla="*/ 798326 h 1268099"/>
                    <a:gd name="connsiteX3720" fmla="*/ 60921 w 1524655"/>
                    <a:gd name="connsiteY3720" fmla="*/ 797840 h 1268099"/>
                    <a:gd name="connsiteX3721" fmla="*/ 60533 w 1524655"/>
                    <a:gd name="connsiteY3721" fmla="*/ 797694 h 1268099"/>
                    <a:gd name="connsiteX3722" fmla="*/ 60132 w 1524655"/>
                    <a:gd name="connsiteY3722" fmla="*/ 797597 h 1268099"/>
                    <a:gd name="connsiteX3723" fmla="*/ 58869 w 1524655"/>
                    <a:gd name="connsiteY3723" fmla="*/ 797305 h 1268099"/>
                    <a:gd name="connsiteX3724" fmla="*/ 57995 w 1524655"/>
                    <a:gd name="connsiteY3724" fmla="*/ 797087 h 1268099"/>
                    <a:gd name="connsiteX3725" fmla="*/ 57084 w 1524655"/>
                    <a:gd name="connsiteY3725" fmla="*/ 797147 h 1268099"/>
                    <a:gd name="connsiteX3726" fmla="*/ 54898 w 1524655"/>
                    <a:gd name="connsiteY3726" fmla="*/ 797294 h 1268099"/>
                    <a:gd name="connsiteX3727" fmla="*/ 54461 w 1524655"/>
                    <a:gd name="connsiteY3727" fmla="*/ 797330 h 1268099"/>
                    <a:gd name="connsiteX3728" fmla="*/ 54024 w 1524655"/>
                    <a:gd name="connsiteY3728" fmla="*/ 797415 h 1268099"/>
                    <a:gd name="connsiteX3729" fmla="*/ 52081 w 1524655"/>
                    <a:gd name="connsiteY3729" fmla="*/ 797827 h 1268099"/>
                    <a:gd name="connsiteX3730" fmla="*/ 51304 w 1524655"/>
                    <a:gd name="connsiteY3730" fmla="*/ 797998 h 1268099"/>
                    <a:gd name="connsiteX3731" fmla="*/ 50587 w 1524655"/>
                    <a:gd name="connsiteY3731" fmla="*/ 798362 h 1268099"/>
                    <a:gd name="connsiteX3732" fmla="*/ 48742 w 1524655"/>
                    <a:gd name="connsiteY3732" fmla="*/ 799297 h 1268099"/>
                    <a:gd name="connsiteX3733" fmla="*/ 46034 w 1524655"/>
                    <a:gd name="connsiteY3733" fmla="*/ 798034 h 1268099"/>
                    <a:gd name="connsiteX3734" fmla="*/ 45609 w 1524655"/>
                    <a:gd name="connsiteY3734" fmla="*/ 797840 h 1268099"/>
                    <a:gd name="connsiteX3735" fmla="*/ 45160 w 1524655"/>
                    <a:gd name="connsiteY3735" fmla="*/ 797706 h 1268099"/>
                    <a:gd name="connsiteX3736" fmla="*/ 42804 w 1524655"/>
                    <a:gd name="connsiteY3736" fmla="*/ 797014 h 1268099"/>
                    <a:gd name="connsiteX3737" fmla="*/ 42233 w 1524655"/>
                    <a:gd name="connsiteY3737" fmla="*/ 796832 h 1268099"/>
                    <a:gd name="connsiteX3738" fmla="*/ 41638 w 1524655"/>
                    <a:gd name="connsiteY3738" fmla="*/ 796783 h 1268099"/>
                    <a:gd name="connsiteX3739" fmla="*/ 36975 w 1524655"/>
                    <a:gd name="connsiteY3739" fmla="*/ 796370 h 1268099"/>
                    <a:gd name="connsiteX3740" fmla="*/ 35227 w 1524655"/>
                    <a:gd name="connsiteY3740" fmla="*/ 796031 h 1268099"/>
                    <a:gd name="connsiteX3741" fmla="*/ 19744 w 1524655"/>
                    <a:gd name="connsiteY3741" fmla="*/ 787105 h 1268099"/>
                    <a:gd name="connsiteX3742" fmla="*/ 19210 w 1524655"/>
                    <a:gd name="connsiteY3742" fmla="*/ 786802 h 1268099"/>
                    <a:gd name="connsiteX3743" fmla="*/ 18627 w 1524655"/>
                    <a:gd name="connsiteY3743" fmla="*/ 786595 h 1268099"/>
                    <a:gd name="connsiteX3744" fmla="*/ 16381 w 1524655"/>
                    <a:gd name="connsiteY3744" fmla="*/ 785842 h 1268099"/>
                    <a:gd name="connsiteX3745" fmla="*/ 11779 w 1524655"/>
                    <a:gd name="connsiteY3745" fmla="*/ 784313 h 1268099"/>
                    <a:gd name="connsiteX3746" fmla="*/ 9265 w 1524655"/>
                    <a:gd name="connsiteY3746" fmla="*/ 788465 h 1268099"/>
                    <a:gd name="connsiteX3747" fmla="*/ 5756 w 1524655"/>
                    <a:gd name="connsiteY3747" fmla="*/ 794270 h 1268099"/>
                    <a:gd name="connsiteX3748" fmla="*/ 4978 w 1524655"/>
                    <a:gd name="connsiteY3748" fmla="*/ 795545 h 1268099"/>
                    <a:gd name="connsiteX3749" fmla="*/ 4894 w 1524655"/>
                    <a:gd name="connsiteY3749" fmla="*/ 797038 h 1268099"/>
                    <a:gd name="connsiteX3750" fmla="*/ 4614 w 1524655"/>
                    <a:gd name="connsiteY3750" fmla="*/ 801604 h 1268099"/>
                    <a:gd name="connsiteX3751" fmla="*/ 4590 w 1524655"/>
                    <a:gd name="connsiteY3751" fmla="*/ 801981 h 1268099"/>
                    <a:gd name="connsiteX3752" fmla="*/ 4614 w 1524655"/>
                    <a:gd name="connsiteY3752" fmla="*/ 802357 h 1268099"/>
                    <a:gd name="connsiteX3753" fmla="*/ 4699 w 1524655"/>
                    <a:gd name="connsiteY3753" fmla="*/ 803705 h 1268099"/>
                    <a:gd name="connsiteX3754" fmla="*/ 4590 w 1524655"/>
                    <a:gd name="connsiteY3754" fmla="*/ 803814 h 1268099"/>
                    <a:gd name="connsiteX3755" fmla="*/ 2987 w 1524655"/>
                    <a:gd name="connsiteY3755" fmla="*/ 805551 h 1268099"/>
                    <a:gd name="connsiteX3756" fmla="*/ 2732 w 1524655"/>
                    <a:gd name="connsiteY3756" fmla="*/ 805830 h 1268099"/>
                    <a:gd name="connsiteX3757" fmla="*/ 2501 w 1524655"/>
                    <a:gd name="connsiteY3757" fmla="*/ 806145 h 1268099"/>
                    <a:gd name="connsiteX3758" fmla="*/ 1129 w 1524655"/>
                    <a:gd name="connsiteY3758" fmla="*/ 808076 h 1268099"/>
                    <a:gd name="connsiteX3759" fmla="*/ 0 w 1524655"/>
                    <a:gd name="connsiteY3759" fmla="*/ 809655 h 1268099"/>
                    <a:gd name="connsiteX3760" fmla="*/ 0 w 1524655"/>
                    <a:gd name="connsiteY3760" fmla="*/ 811598 h 1268099"/>
                    <a:gd name="connsiteX3761" fmla="*/ 0 w 1524655"/>
                    <a:gd name="connsiteY3761" fmla="*/ 812351 h 1268099"/>
                    <a:gd name="connsiteX3762" fmla="*/ 0 w 1524655"/>
                    <a:gd name="connsiteY3762" fmla="*/ 814208 h 1268099"/>
                    <a:gd name="connsiteX3763" fmla="*/ 1044 w 1524655"/>
                    <a:gd name="connsiteY3763" fmla="*/ 815763 h 1268099"/>
                    <a:gd name="connsiteX3764" fmla="*/ 1494 w 1524655"/>
                    <a:gd name="connsiteY3764" fmla="*/ 816431 h 1268099"/>
                    <a:gd name="connsiteX3765" fmla="*/ 2623 w 1524655"/>
                    <a:gd name="connsiteY3765" fmla="*/ 818094 h 1268099"/>
                    <a:gd name="connsiteX3766" fmla="*/ 4529 w 1524655"/>
                    <a:gd name="connsiteY3766" fmla="*/ 818762 h 1268099"/>
                    <a:gd name="connsiteX3767" fmla="*/ 5622 w 1524655"/>
                    <a:gd name="connsiteY3767" fmla="*/ 819138 h 1268099"/>
                    <a:gd name="connsiteX3768" fmla="*/ 5974 w 1524655"/>
                    <a:gd name="connsiteY3768" fmla="*/ 819260 h 1268099"/>
                    <a:gd name="connsiteX3769" fmla="*/ 6338 w 1524655"/>
                    <a:gd name="connsiteY3769" fmla="*/ 819345 h 1268099"/>
                    <a:gd name="connsiteX3770" fmla="*/ 11366 w 1524655"/>
                    <a:gd name="connsiteY3770" fmla="*/ 820426 h 1268099"/>
                    <a:gd name="connsiteX3771" fmla="*/ 11511 w 1524655"/>
                    <a:gd name="connsiteY3771" fmla="*/ 820486 h 1268099"/>
                    <a:gd name="connsiteX3772" fmla="*/ 14438 w 1524655"/>
                    <a:gd name="connsiteY3772" fmla="*/ 822478 h 1268099"/>
                    <a:gd name="connsiteX3773" fmla="*/ 15057 w 1524655"/>
                    <a:gd name="connsiteY3773" fmla="*/ 822891 h 1268099"/>
                    <a:gd name="connsiteX3774" fmla="*/ 15749 w 1524655"/>
                    <a:gd name="connsiteY3774" fmla="*/ 823146 h 1268099"/>
                    <a:gd name="connsiteX3775" fmla="*/ 17073 w 1524655"/>
                    <a:gd name="connsiteY3775" fmla="*/ 823631 h 1268099"/>
                    <a:gd name="connsiteX3776" fmla="*/ 17437 w 1524655"/>
                    <a:gd name="connsiteY3776" fmla="*/ 823765 h 1268099"/>
                    <a:gd name="connsiteX3777" fmla="*/ 17826 w 1524655"/>
                    <a:gd name="connsiteY3777" fmla="*/ 823850 h 1268099"/>
                    <a:gd name="connsiteX3778" fmla="*/ 18700 w 1524655"/>
                    <a:gd name="connsiteY3778" fmla="*/ 824056 h 1268099"/>
                    <a:gd name="connsiteX3779" fmla="*/ 19004 w 1524655"/>
                    <a:gd name="connsiteY3779" fmla="*/ 824166 h 1268099"/>
                    <a:gd name="connsiteX3780" fmla="*/ 19040 w 1524655"/>
                    <a:gd name="connsiteY3780" fmla="*/ 824190 h 1268099"/>
                    <a:gd name="connsiteX3781" fmla="*/ 19234 w 1524655"/>
                    <a:gd name="connsiteY3781" fmla="*/ 824421 h 1268099"/>
                    <a:gd name="connsiteX3782" fmla="*/ 18724 w 1524655"/>
                    <a:gd name="connsiteY3782" fmla="*/ 827967 h 1268099"/>
                    <a:gd name="connsiteX3783" fmla="*/ 18664 w 1524655"/>
                    <a:gd name="connsiteY3783" fmla="*/ 828343 h 1268099"/>
                    <a:gd name="connsiteX3784" fmla="*/ 18664 w 1524655"/>
                    <a:gd name="connsiteY3784" fmla="*/ 828719 h 1268099"/>
                    <a:gd name="connsiteX3785" fmla="*/ 18615 w 1524655"/>
                    <a:gd name="connsiteY3785" fmla="*/ 831670 h 1268099"/>
                    <a:gd name="connsiteX3786" fmla="*/ 17996 w 1524655"/>
                    <a:gd name="connsiteY3786" fmla="*/ 835993 h 1268099"/>
                    <a:gd name="connsiteX3787" fmla="*/ 15579 w 1524655"/>
                    <a:gd name="connsiteY3787" fmla="*/ 846084 h 1268099"/>
                    <a:gd name="connsiteX3788" fmla="*/ 13321 w 1524655"/>
                    <a:gd name="connsiteY3788" fmla="*/ 846897 h 1268099"/>
                    <a:gd name="connsiteX3789" fmla="*/ 12665 w 1524655"/>
                    <a:gd name="connsiteY3789" fmla="*/ 847140 h 1268099"/>
                    <a:gd name="connsiteX3790" fmla="*/ 12082 w 1524655"/>
                    <a:gd name="connsiteY3790" fmla="*/ 847517 h 1268099"/>
                    <a:gd name="connsiteX3791" fmla="*/ 11208 w 1524655"/>
                    <a:gd name="connsiteY3791" fmla="*/ 848087 h 1268099"/>
                    <a:gd name="connsiteX3792" fmla="*/ 9326 w 1524655"/>
                    <a:gd name="connsiteY3792" fmla="*/ 849326 h 1268099"/>
                    <a:gd name="connsiteX3793" fmla="*/ 8694 w 1524655"/>
                    <a:gd name="connsiteY3793" fmla="*/ 851499 h 1268099"/>
                    <a:gd name="connsiteX3794" fmla="*/ 8184 w 1524655"/>
                    <a:gd name="connsiteY3794" fmla="*/ 853272 h 1268099"/>
                    <a:gd name="connsiteX3795" fmla="*/ 7844 w 1524655"/>
                    <a:gd name="connsiteY3795" fmla="*/ 854474 h 1268099"/>
                    <a:gd name="connsiteX3796" fmla="*/ 8002 w 1524655"/>
                    <a:gd name="connsiteY3796" fmla="*/ 855713 h 1268099"/>
                    <a:gd name="connsiteX3797" fmla="*/ 8694 w 1524655"/>
                    <a:gd name="connsiteY3797" fmla="*/ 861299 h 1268099"/>
                    <a:gd name="connsiteX3798" fmla="*/ 8621 w 1524655"/>
                    <a:gd name="connsiteY3798" fmla="*/ 862622 h 1268099"/>
                    <a:gd name="connsiteX3799" fmla="*/ 8391 w 1524655"/>
                    <a:gd name="connsiteY3799" fmla="*/ 863558 h 1268099"/>
                    <a:gd name="connsiteX3800" fmla="*/ 7140 w 1524655"/>
                    <a:gd name="connsiteY3800" fmla="*/ 865840 h 1268099"/>
                    <a:gd name="connsiteX3801" fmla="*/ 6946 w 1524655"/>
                    <a:gd name="connsiteY3801" fmla="*/ 866180 h 1268099"/>
                    <a:gd name="connsiteX3802" fmla="*/ 6800 w 1524655"/>
                    <a:gd name="connsiteY3802" fmla="*/ 866544 h 1268099"/>
                    <a:gd name="connsiteX3803" fmla="*/ 5027 w 1524655"/>
                    <a:gd name="connsiteY3803" fmla="*/ 871098 h 1268099"/>
                    <a:gd name="connsiteX3804" fmla="*/ 4857 w 1524655"/>
                    <a:gd name="connsiteY3804" fmla="*/ 871523 h 1268099"/>
                    <a:gd name="connsiteX3805" fmla="*/ 4699 w 1524655"/>
                    <a:gd name="connsiteY3805" fmla="*/ 871960 h 1268099"/>
                    <a:gd name="connsiteX3806" fmla="*/ 3667 w 1524655"/>
                    <a:gd name="connsiteY3806" fmla="*/ 876660 h 1268099"/>
                    <a:gd name="connsiteX3807" fmla="*/ 3534 w 1524655"/>
                    <a:gd name="connsiteY3807" fmla="*/ 877242 h 1268099"/>
                    <a:gd name="connsiteX3808" fmla="*/ 3521 w 1524655"/>
                    <a:gd name="connsiteY3808" fmla="*/ 877838 h 1268099"/>
                    <a:gd name="connsiteX3809" fmla="*/ 3461 w 1524655"/>
                    <a:gd name="connsiteY3809" fmla="*/ 880558 h 1268099"/>
                    <a:gd name="connsiteX3810" fmla="*/ 3449 w 1524655"/>
                    <a:gd name="connsiteY3810" fmla="*/ 881055 h 1268099"/>
                    <a:gd name="connsiteX3811" fmla="*/ 3521 w 1524655"/>
                    <a:gd name="connsiteY3811" fmla="*/ 881553 h 1268099"/>
                    <a:gd name="connsiteX3812" fmla="*/ 3971 w 1524655"/>
                    <a:gd name="connsiteY3812" fmla="*/ 884686 h 1268099"/>
                    <a:gd name="connsiteX3813" fmla="*/ 4019 w 1524655"/>
                    <a:gd name="connsiteY3813" fmla="*/ 885002 h 1268099"/>
                    <a:gd name="connsiteX3814" fmla="*/ 4104 w 1524655"/>
                    <a:gd name="connsiteY3814" fmla="*/ 885318 h 1268099"/>
                    <a:gd name="connsiteX3815" fmla="*/ 6424 w 1524655"/>
                    <a:gd name="connsiteY3815" fmla="*/ 894388 h 1268099"/>
                    <a:gd name="connsiteX3816" fmla="*/ 6569 w 1524655"/>
                    <a:gd name="connsiteY3816" fmla="*/ 894959 h 1268099"/>
                    <a:gd name="connsiteX3817" fmla="*/ 6824 w 1524655"/>
                    <a:gd name="connsiteY3817" fmla="*/ 895493 h 1268099"/>
                    <a:gd name="connsiteX3818" fmla="*/ 7431 w 1524655"/>
                    <a:gd name="connsiteY3818" fmla="*/ 896756 h 1268099"/>
                    <a:gd name="connsiteX3819" fmla="*/ 8196 w 1524655"/>
                    <a:gd name="connsiteY3819" fmla="*/ 898371 h 1268099"/>
                    <a:gd name="connsiteX3820" fmla="*/ 9714 w 1524655"/>
                    <a:gd name="connsiteY3820" fmla="*/ 899306 h 1268099"/>
                    <a:gd name="connsiteX3821" fmla="*/ 10759 w 1524655"/>
                    <a:gd name="connsiteY3821" fmla="*/ 899962 h 1268099"/>
                    <a:gd name="connsiteX3822" fmla="*/ 11329 w 1524655"/>
                    <a:gd name="connsiteY3822" fmla="*/ 900302 h 1268099"/>
                    <a:gd name="connsiteX3823" fmla="*/ 11949 w 1524655"/>
                    <a:gd name="connsiteY3823" fmla="*/ 900533 h 1268099"/>
                    <a:gd name="connsiteX3824" fmla="*/ 14462 w 1524655"/>
                    <a:gd name="connsiteY3824" fmla="*/ 901407 h 1268099"/>
                    <a:gd name="connsiteX3825" fmla="*/ 15081 w 1524655"/>
                    <a:gd name="connsiteY3825" fmla="*/ 901711 h 1268099"/>
                    <a:gd name="connsiteX3826" fmla="*/ 15239 w 1524655"/>
                    <a:gd name="connsiteY3826" fmla="*/ 901832 h 1268099"/>
                    <a:gd name="connsiteX3827" fmla="*/ 15664 w 1524655"/>
                    <a:gd name="connsiteY3827" fmla="*/ 902391 h 1268099"/>
                    <a:gd name="connsiteX3828" fmla="*/ 16332 w 1524655"/>
                    <a:gd name="connsiteY3828" fmla="*/ 903544 h 1268099"/>
                    <a:gd name="connsiteX3829" fmla="*/ 18069 w 1524655"/>
                    <a:gd name="connsiteY3829" fmla="*/ 907734 h 1268099"/>
                    <a:gd name="connsiteX3830" fmla="*/ 18202 w 1524655"/>
                    <a:gd name="connsiteY3830" fmla="*/ 908037 h 1268099"/>
                    <a:gd name="connsiteX3831" fmla="*/ 18360 w 1524655"/>
                    <a:gd name="connsiteY3831" fmla="*/ 908328 h 1268099"/>
                    <a:gd name="connsiteX3832" fmla="*/ 19841 w 1524655"/>
                    <a:gd name="connsiteY3832" fmla="*/ 911024 h 1268099"/>
                    <a:gd name="connsiteX3833" fmla="*/ 20169 w 1524655"/>
                    <a:gd name="connsiteY3833" fmla="*/ 911631 h 1268099"/>
                    <a:gd name="connsiteX3834" fmla="*/ 20619 w 1524655"/>
                    <a:gd name="connsiteY3834" fmla="*/ 912141 h 1268099"/>
                    <a:gd name="connsiteX3835" fmla="*/ 21444 w 1524655"/>
                    <a:gd name="connsiteY3835" fmla="*/ 913064 h 1268099"/>
                    <a:gd name="connsiteX3836" fmla="*/ 22003 w 1524655"/>
                    <a:gd name="connsiteY3836" fmla="*/ 913696 h 1268099"/>
                    <a:gd name="connsiteX3837" fmla="*/ 22719 w 1524655"/>
                    <a:gd name="connsiteY3837" fmla="*/ 914145 h 1268099"/>
                    <a:gd name="connsiteX3838" fmla="*/ 23521 w 1524655"/>
                    <a:gd name="connsiteY3838" fmla="*/ 914655 h 1268099"/>
                    <a:gd name="connsiteX3839" fmla="*/ 24820 w 1524655"/>
                    <a:gd name="connsiteY3839" fmla="*/ 915481 h 1268099"/>
                    <a:gd name="connsiteX3840" fmla="*/ 26362 w 1524655"/>
                    <a:gd name="connsiteY3840" fmla="*/ 915590 h 1268099"/>
                    <a:gd name="connsiteX3841" fmla="*/ 27212 w 1524655"/>
                    <a:gd name="connsiteY3841" fmla="*/ 915650 h 1268099"/>
                    <a:gd name="connsiteX3842" fmla="*/ 28196 w 1524655"/>
                    <a:gd name="connsiteY3842" fmla="*/ 915723 h 1268099"/>
                    <a:gd name="connsiteX3843" fmla="*/ 29143 w 1524655"/>
                    <a:gd name="connsiteY3843" fmla="*/ 915469 h 1268099"/>
                    <a:gd name="connsiteX3844" fmla="*/ 30345 w 1524655"/>
                    <a:gd name="connsiteY3844" fmla="*/ 915165 h 1268099"/>
                    <a:gd name="connsiteX3845" fmla="*/ 31025 w 1524655"/>
                    <a:gd name="connsiteY3845" fmla="*/ 914983 h 1268099"/>
                    <a:gd name="connsiteX3846" fmla="*/ 31644 w 1524655"/>
                    <a:gd name="connsiteY3846" fmla="*/ 914667 h 1268099"/>
                    <a:gd name="connsiteX3847" fmla="*/ 33794 w 1524655"/>
                    <a:gd name="connsiteY3847" fmla="*/ 913550 h 1268099"/>
                    <a:gd name="connsiteX3848" fmla="*/ 33952 w 1524655"/>
                    <a:gd name="connsiteY3848" fmla="*/ 913538 h 1268099"/>
                    <a:gd name="connsiteX3849" fmla="*/ 37485 w 1524655"/>
                    <a:gd name="connsiteY3849" fmla="*/ 913999 h 1268099"/>
                    <a:gd name="connsiteX3850" fmla="*/ 37874 w 1524655"/>
                    <a:gd name="connsiteY3850" fmla="*/ 914048 h 1268099"/>
                    <a:gd name="connsiteX3851" fmla="*/ 38274 w 1524655"/>
                    <a:gd name="connsiteY3851" fmla="*/ 914048 h 1268099"/>
                    <a:gd name="connsiteX3852" fmla="*/ 38639 w 1524655"/>
                    <a:gd name="connsiteY3852" fmla="*/ 914048 h 1268099"/>
                    <a:gd name="connsiteX3853" fmla="*/ 38408 w 1524655"/>
                    <a:gd name="connsiteY3853" fmla="*/ 914278 h 1268099"/>
                    <a:gd name="connsiteX3854" fmla="*/ 37995 w 1524655"/>
                    <a:gd name="connsiteY3854" fmla="*/ 915007 h 1268099"/>
                    <a:gd name="connsiteX3855" fmla="*/ 37303 w 1524655"/>
                    <a:gd name="connsiteY3855" fmla="*/ 916221 h 1268099"/>
                    <a:gd name="connsiteX3856" fmla="*/ 36939 w 1524655"/>
                    <a:gd name="connsiteY3856" fmla="*/ 916865 h 1268099"/>
                    <a:gd name="connsiteX3857" fmla="*/ 36927 w 1524655"/>
                    <a:gd name="connsiteY3857" fmla="*/ 916913 h 1268099"/>
                    <a:gd name="connsiteX3858" fmla="*/ 36307 w 1524655"/>
                    <a:gd name="connsiteY3858" fmla="*/ 916865 h 1268099"/>
                    <a:gd name="connsiteX3859" fmla="*/ 34874 w 1524655"/>
                    <a:gd name="connsiteY3859" fmla="*/ 916768 h 1268099"/>
                    <a:gd name="connsiteX3860" fmla="*/ 33539 w 1524655"/>
                    <a:gd name="connsiteY3860" fmla="*/ 917314 h 1268099"/>
                    <a:gd name="connsiteX3861" fmla="*/ 32677 w 1524655"/>
                    <a:gd name="connsiteY3861" fmla="*/ 917666 h 1268099"/>
                    <a:gd name="connsiteX3862" fmla="*/ 32082 w 1524655"/>
                    <a:gd name="connsiteY3862" fmla="*/ 917921 h 1268099"/>
                    <a:gd name="connsiteX3863" fmla="*/ 31559 w 1524655"/>
                    <a:gd name="connsiteY3863" fmla="*/ 918286 h 1268099"/>
                    <a:gd name="connsiteX3864" fmla="*/ 30527 w 1524655"/>
                    <a:gd name="connsiteY3864" fmla="*/ 918990 h 1268099"/>
                    <a:gd name="connsiteX3865" fmla="*/ 29859 w 1524655"/>
                    <a:gd name="connsiteY3865" fmla="*/ 919451 h 1268099"/>
                    <a:gd name="connsiteX3866" fmla="*/ 29349 w 1524655"/>
                    <a:gd name="connsiteY3866" fmla="*/ 920058 h 1268099"/>
                    <a:gd name="connsiteX3867" fmla="*/ 28645 w 1524655"/>
                    <a:gd name="connsiteY3867" fmla="*/ 920884 h 1268099"/>
                    <a:gd name="connsiteX3868" fmla="*/ 28135 w 1524655"/>
                    <a:gd name="connsiteY3868" fmla="*/ 921479 h 1268099"/>
                    <a:gd name="connsiteX3869" fmla="*/ 27795 w 1524655"/>
                    <a:gd name="connsiteY3869" fmla="*/ 922183 h 1268099"/>
                    <a:gd name="connsiteX3870" fmla="*/ 27127 w 1524655"/>
                    <a:gd name="connsiteY3870" fmla="*/ 923568 h 1268099"/>
                    <a:gd name="connsiteX3871" fmla="*/ 26921 w 1524655"/>
                    <a:gd name="connsiteY3871" fmla="*/ 923993 h 1268099"/>
                    <a:gd name="connsiteX3872" fmla="*/ 26787 w 1524655"/>
                    <a:gd name="connsiteY3872" fmla="*/ 924442 h 1268099"/>
                    <a:gd name="connsiteX3873" fmla="*/ 26265 w 1524655"/>
                    <a:gd name="connsiteY3873" fmla="*/ 926166 h 1268099"/>
                    <a:gd name="connsiteX3874" fmla="*/ 26083 w 1524655"/>
                    <a:gd name="connsiteY3874" fmla="*/ 926774 h 1268099"/>
                    <a:gd name="connsiteX3875" fmla="*/ 26034 w 1524655"/>
                    <a:gd name="connsiteY3875" fmla="*/ 927405 h 1268099"/>
                    <a:gd name="connsiteX3876" fmla="*/ 25792 w 1524655"/>
                    <a:gd name="connsiteY3876" fmla="*/ 930161 h 1268099"/>
                    <a:gd name="connsiteX3877" fmla="*/ 25731 w 1524655"/>
                    <a:gd name="connsiteY3877" fmla="*/ 930914 h 1268099"/>
                    <a:gd name="connsiteX3878" fmla="*/ 25852 w 1524655"/>
                    <a:gd name="connsiteY3878" fmla="*/ 931667 h 1268099"/>
                    <a:gd name="connsiteX3879" fmla="*/ 26204 w 1524655"/>
                    <a:gd name="connsiteY3879" fmla="*/ 933829 h 1268099"/>
                    <a:gd name="connsiteX3880" fmla="*/ 26289 w 1524655"/>
                    <a:gd name="connsiteY3880" fmla="*/ 934411 h 1268099"/>
                    <a:gd name="connsiteX3881" fmla="*/ 26496 w 1524655"/>
                    <a:gd name="connsiteY3881" fmla="*/ 934946 h 1268099"/>
                    <a:gd name="connsiteX3882" fmla="*/ 27188 w 1524655"/>
                    <a:gd name="connsiteY3882" fmla="*/ 936804 h 1268099"/>
                    <a:gd name="connsiteX3883" fmla="*/ 27382 w 1524655"/>
                    <a:gd name="connsiteY3883" fmla="*/ 937313 h 1268099"/>
                    <a:gd name="connsiteX3884" fmla="*/ 27649 w 1524655"/>
                    <a:gd name="connsiteY3884" fmla="*/ 937775 h 1268099"/>
                    <a:gd name="connsiteX3885" fmla="*/ 28682 w 1524655"/>
                    <a:gd name="connsiteY3885" fmla="*/ 939536 h 1268099"/>
                    <a:gd name="connsiteX3886" fmla="*/ 28997 w 1524655"/>
                    <a:gd name="connsiteY3886" fmla="*/ 940082 h 1268099"/>
                    <a:gd name="connsiteX3887" fmla="*/ 29410 w 1524655"/>
                    <a:gd name="connsiteY3887" fmla="*/ 940544 h 1268099"/>
                    <a:gd name="connsiteX3888" fmla="*/ 30782 w 1524655"/>
                    <a:gd name="connsiteY3888" fmla="*/ 942062 h 1268099"/>
                    <a:gd name="connsiteX3889" fmla="*/ 31159 w 1524655"/>
                    <a:gd name="connsiteY3889" fmla="*/ 942474 h 1268099"/>
                    <a:gd name="connsiteX3890" fmla="*/ 31608 w 1524655"/>
                    <a:gd name="connsiteY3890" fmla="*/ 942802 h 1268099"/>
                    <a:gd name="connsiteX3891" fmla="*/ 33041 w 1524655"/>
                    <a:gd name="connsiteY3891" fmla="*/ 943895 h 1268099"/>
                    <a:gd name="connsiteX3892" fmla="*/ 33672 w 1524655"/>
                    <a:gd name="connsiteY3892" fmla="*/ 944381 h 1268099"/>
                    <a:gd name="connsiteX3893" fmla="*/ 34413 w 1524655"/>
                    <a:gd name="connsiteY3893" fmla="*/ 944684 h 1268099"/>
                    <a:gd name="connsiteX3894" fmla="*/ 36344 w 1524655"/>
                    <a:gd name="connsiteY3894" fmla="*/ 945462 h 1268099"/>
                    <a:gd name="connsiteX3895" fmla="*/ 36319 w 1524655"/>
                    <a:gd name="connsiteY3895" fmla="*/ 945510 h 1268099"/>
                    <a:gd name="connsiteX3896" fmla="*/ 35518 w 1524655"/>
                    <a:gd name="connsiteY3896" fmla="*/ 947258 h 1268099"/>
                    <a:gd name="connsiteX3897" fmla="*/ 34692 w 1524655"/>
                    <a:gd name="connsiteY3897" fmla="*/ 949068 h 1268099"/>
                    <a:gd name="connsiteX3898" fmla="*/ 35093 w 1524655"/>
                    <a:gd name="connsiteY3898" fmla="*/ 951011 h 1268099"/>
                    <a:gd name="connsiteX3899" fmla="*/ 35506 w 1524655"/>
                    <a:gd name="connsiteY3899" fmla="*/ 953002 h 1268099"/>
                    <a:gd name="connsiteX3900" fmla="*/ 36307 w 1524655"/>
                    <a:gd name="connsiteY3900" fmla="*/ 956925 h 1268099"/>
                    <a:gd name="connsiteX3901" fmla="*/ 40242 w 1524655"/>
                    <a:gd name="connsiteY3901" fmla="*/ 957726 h 1268099"/>
                    <a:gd name="connsiteX3902" fmla="*/ 51498 w 1524655"/>
                    <a:gd name="connsiteY3902" fmla="*/ 960009 h 1268099"/>
                    <a:gd name="connsiteX3903" fmla="*/ 51935 w 1524655"/>
                    <a:gd name="connsiteY3903" fmla="*/ 960094 h 1268099"/>
                    <a:gd name="connsiteX3904" fmla="*/ 52385 w 1524655"/>
                    <a:gd name="connsiteY3904" fmla="*/ 960118 h 1268099"/>
                    <a:gd name="connsiteX3905" fmla="*/ 57691 w 1524655"/>
                    <a:gd name="connsiteY3905" fmla="*/ 960409 h 1268099"/>
                    <a:gd name="connsiteX3906" fmla="*/ 61953 w 1524655"/>
                    <a:gd name="connsiteY3906" fmla="*/ 961405 h 1268099"/>
                    <a:gd name="connsiteX3907" fmla="*/ 65317 w 1524655"/>
                    <a:gd name="connsiteY3907" fmla="*/ 962559 h 1268099"/>
                    <a:gd name="connsiteX3908" fmla="*/ 66106 w 1524655"/>
                    <a:gd name="connsiteY3908" fmla="*/ 962814 h 1268099"/>
                    <a:gd name="connsiteX3909" fmla="*/ 66944 w 1524655"/>
                    <a:gd name="connsiteY3909" fmla="*/ 962850 h 1268099"/>
                    <a:gd name="connsiteX3910" fmla="*/ 70222 w 1524655"/>
                    <a:gd name="connsiteY3910" fmla="*/ 963008 h 1268099"/>
                    <a:gd name="connsiteX3911" fmla="*/ 70915 w 1524655"/>
                    <a:gd name="connsiteY3911" fmla="*/ 963045 h 1268099"/>
                    <a:gd name="connsiteX3912" fmla="*/ 71595 w 1524655"/>
                    <a:gd name="connsiteY3912" fmla="*/ 962923 h 1268099"/>
                    <a:gd name="connsiteX3913" fmla="*/ 73428 w 1524655"/>
                    <a:gd name="connsiteY3913" fmla="*/ 962595 h 1268099"/>
                    <a:gd name="connsiteX3914" fmla="*/ 75165 w 1524655"/>
                    <a:gd name="connsiteY3914" fmla="*/ 962279 h 1268099"/>
                    <a:gd name="connsiteX3915" fmla="*/ 76452 w 1524655"/>
                    <a:gd name="connsiteY3915" fmla="*/ 961089 h 1268099"/>
                    <a:gd name="connsiteX3916" fmla="*/ 77484 w 1524655"/>
                    <a:gd name="connsiteY3916" fmla="*/ 960142 h 1268099"/>
                    <a:gd name="connsiteX3917" fmla="*/ 78492 w 1524655"/>
                    <a:gd name="connsiteY3917" fmla="*/ 959207 h 1268099"/>
                    <a:gd name="connsiteX3918" fmla="*/ 79002 w 1524655"/>
                    <a:gd name="connsiteY3918" fmla="*/ 957944 h 1268099"/>
                    <a:gd name="connsiteX3919" fmla="*/ 79463 w 1524655"/>
                    <a:gd name="connsiteY3919" fmla="*/ 956791 h 1268099"/>
                    <a:gd name="connsiteX3920" fmla="*/ 79682 w 1524655"/>
                    <a:gd name="connsiteY3920" fmla="*/ 956245 h 1268099"/>
                    <a:gd name="connsiteX3921" fmla="*/ 79791 w 1524655"/>
                    <a:gd name="connsiteY3921" fmla="*/ 955662 h 1268099"/>
                    <a:gd name="connsiteX3922" fmla="*/ 80083 w 1524655"/>
                    <a:gd name="connsiteY3922" fmla="*/ 954144 h 1268099"/>
                    <a:gd name="connsiteX3923" fmla="*/ 80241 w 1524655"/>
                    <a:gd name="connsiteY3923" fmla="*/ 953342 h 1268099"/>
                    <a:gd name="connsiteX3924" fmla="*/ 80180 w 1524655"/>
                    <a:gd name="connsiteY3924" fmla="*/ 952517 h 1268099"/>
                    <a:gd name="connsiteX3925" fmla="*/ 79840 w 1524655"/>
                    <a:gd name="connsiteY3925" fmla="*/ 948412 h 1268099"/>
                    <a:gd name="connsiteX3926" fmla="*/ 79913 w 1524655"/>
                    <a:gd name="connsiteY3926" fmla="*/ 948133 h 1268099"/>
                    <a:gd name="connsiteX3927" fmla="*/ 80083 w 1524655"/>
                    <a:gd name="connsiteY3927" fmla="*/ 947805 h 1268099"/>
                    <a:gd name="connsiteX3928" fmla="*/ 82050 w 1524655"/>
                    <a:gd name="connsiteY3928" fmla="*/ 945304 h 1268099"/>
                    <a:gd name="connsiteX3929" fmla="*/ 84223 w 1524655"/>
                    <a:gd name="connsiteY3929" fmla="*/ 942049 h 1268099"/>
                    <a:gd name="connsiteX3930" fmla="*/ 84284 w 1524655"/>
                    <a:gd name="connsiteY3930" fmla="*/ 941989 h 1268099"/>
                    <a:gd name="connsiteX3931" fmla="*/ 85523 w 1524655"/>
                    <a:gd name="connsiteY3931" fmla="*/ 942742 h 1268099"/>
                    <a:gd name="connsiteX3932" fmla="*/ 86021 w 1524655"/>
                    <a:gd name="connsiteY3932" fmla="*/ 943045 h 1268099"/>
                    <a:gd name="connsiteX3933" fmla="*/ 86567 w 1524655"/>
                    <a:gd name="connsiteY3933" fmla="*/ 943251 h 1268099"/>
                    <a:gd name="connsiteX3934" fmla="*/ 88401 w 1524655"/>
                    <a:gd name="connsiteY3934" fmla="*/ 943944 h 1268099"/>
                    <a:gd name="connsiteX3935" fmla="*/ 89032 w 1524655"/>
                    <a:gd name="connsiteY3935" fmla="*/ 944186 h 1268099"/>
                    <a:gd name="connsiteX3936" fmla="*/ 89700 w 1524655"/>
                    <a:gd name="connsiteY3936" fmla="*/ 944284 h 1268099"/>
                    <a:gd name="connsiteX3937" fmla="*/ 92578 w 1524655"/>
                    <a:gd name="connsiteY3937" fmla="*/ 944684 h 1268099"/>
                    <a:gd name="connsiteX3938" fmla="*/ 93063 w 1524655"/>
                    <a:gd name="connsiteY3938" fmla="*/ 944757 h 1268099"/>
                    <a:gd name="connsiteX3939" fmla="*/ 93549 w 1524655"/>
                    <a:gd name="connsiteY3939" fmla="*/ 944745 h 1268099"/>
                    <a:gd name="connsiteX3940" fmla="*/ 97581 w 1524655"/>
                    <a:gd name="connsiteY3940" fmla="*/ 944660 h 1268099"/>
                    <a:gd name="connsiteX3941" fmla="*/ 98236 w 1524655"/>
                    <a:gd name="connsiteY3941" fmla="*/ 944648 h 1268099"/>
                    <a:gd name="connsiteX3942" fmla="*/ 98868 w 1524655"/>
                    <a:gd name="connsiteY3942" fmla="*/ 944490 h 1268099"/>
                    <a:gd name="connsiteX3943" fmla="*/ 101855 w 1524655"/>
                    <a:gd name="connsiteY3943" fmla="*/ 943761 h 1268099"/>
                    <a:gd name="connsiteX3944" fmla="*/ 102899 w 1524655"/>
                    <a:gd name="connsiteY3944" fmla="*/ 945340 h 1268099"/>
                    <a:gd name="connsiteX3945" fmla="*/ 103871 w 1524655"/>
                    <a:gd name="connsiteY3945" fmla="*/ 946809 h 1268099"/>
                    <a:gd name="connsiteX3946" fmla="*/ 104672 w 1524655"/>
                    <a:gd name="connsiteY3946" fmla="*/ 948024 h 1268099"/>
                    <a:gd name="connsiteX3947" fmla="*/ 105935 w 1524655"/>
                    <a:gd name="connsiteY3947" fmla="*/ 948752 h 1268099"/>
                    <a:gd name="connsiteX3948" fmla="*/ 107890 w 1524655"/>
                    <a:gd name="connsiteY3948" fmla="*/ 949869 h 1268099"/>
                    <a:gd name="connsiteX3949" fmla="*/ 108691 w 1524655"/>
                    <a:gd name="connsiteY3949" fmla="*/ 950319 h 1268099"/>
                    <a:gd name="connsiteX3950" fmla="*/ 109602 w 1524655"/>
                    <a:gd name="connsiteY3950" fmla="*/ 950525 h 1268099"/>
                    <a:gd name="connsiteX3951" fmla="*/ 114581 w 1524655"/>
                    <a:gd name="connsiteY3951" fmla="*/ 951618 h 1268099"/>
                    <a:gd name="connsiteX3952" fmla="*/ 115892 w 1524655"/>
                    <a:gd name="connsiteY3952" fmla="*/ 952043 h 1268099"/>
                    <a:gd name="connsiteX3953" fmla="*/ 118078 w 1524655"/>
                    <a:gd name="connsiteY3953" fmla="*/ 955334 h 1268099"/>
                    <a:gd name="connsiteX3954" fmla="*/ 118345 w 1524655"/>
                    <a:gd name="connsiteY3954" fmla="*/ 955734 h 1268099"/>
                    <a:gd name="connsiteX3955" fmla="*/ 118673 w 1524655"/>
                    <a:gd name="connsiteY3955" fmla="*/ 956087 h 1268099"/>
                    <a:gd name="connsiteX3956" fmla="*/ 120628 w 1524655"/>
                    <a:gd name="connsiteY3956" fmla="*/ 958212 h 1268099"/>
                    <a:gd name="connsiteX3957" fmla="*/ 121259 w 1524655"/>
                    <a:gd name="connsiteY3957" fmla="*/ 958892 h 1268099"/>
                    <a:gd name="connsiteX3958" fmla="*/ 122061 w 1524655"/>
                    <a:gd name="connsiteY3958" fmla="*/ 959353 h 1268099"/>
                    <a:gd name="connsiteX3959" fmla="*/ 124586 w 1524655"/>
                    <a:gd name="connsiteY3959" fmla="*/ 960810 h 1268099"/>
                    <a:gd name="connsiteX3960" fmla="*/ 126032 w 1524655"/>
                    <a:gd name="connsiteY3960" fmla="*/ 961648 h 1268099"/>
                    <a:gd name="connsiteX3961" fmla="*/ 127695 w 1524655"/>
                    <a:gd name="connsiteY3961" fmla="*/ 961624 h 1268099"/>
                    <a:gd name="connsiteX3962" fmla="*/ 129881 w 1524655"/>
                    <a:gd name="connsiteY3962" fmla="*/ 961599 h 1268099"/>
                    <a:gd name="connsiteX3963" fmla="*/ 131945 w 1524655"/>
                    <a:gd name="connsiteY3963" fmla="*/ 961575 h 1268099"/>
                    <a:gd name="connsiteX3964" fmla="*/ 133560 w 1524655"/>
                    <a:gd name="connsiteY3964" fmla="*/ 960312 h 1268099"/>
                    <a:gd name="connsiteX3965" fmla="*/ 134993 w 1524655"/>
                    <a:gd name="connsiteY3965" fmla="*/ 959183 h 1268099"/>
                    <a:gd name="connsiteX3966" fmla="*/ 136912 w 1524655"/>
                    <a:gd name="connsiteY3966" fmla="*/ 957677 h 1268099"/>
                    <a:gd name="connsiteX3967" fmla="*/ 137252 w 1524655"/>
                    <a:gd name="connsiteY3967" fmla="*/ 955261 h 1268099"/>
                    <a:gd name="connsiteX3968" fmla="*/ 137482 w 1524655"/>
                    <a:gd name="connsiteY3968" fmla="*/ 953634 h 1268099"/>
                    <a:gd name="connsiteX3969" fmla="*/ 137701 w 1524655"/>
                    <a:gd name="connsiteY3969" fmla="*/ 952116 h 1268099"/>
                    <a:gd name="connsiteX3970" fmla="*/ 137179 w 1524655"/>
                    <a:gd name="connsiteY3970" fmla="*/ 950683 h 1268099"/>
                    <a:gd name="connsiteX3971" fmla="*/ 137045 w 1524655"/>
                    <a:gd name="connsiteY3971" fmla="*/ 950319 h 1268099"/>
                    <a:gd name="connsiteX3972" fmla="*/ 137494 w 1524655"/>
                    <a:gd name="connsiteY3972" fmla="*/ 950379 h 1268099"/>
                    <a:gd name="connsiteX3973" fmla="*/ 138405 w 1524655"/>
                    <a:gd name="connsiteY3973" fmla="*/ 950477 h 1268099"/>
                    <a:gd name="connsiteX3974" fmla="*/ 138393 w 1524655"/>
                    <a:gd name="connsiteY3974" fmla="*/ 950549 h 1268099"/>
                    <a:gd name="connsiteX3975" fmla="*/ 138004 w 1524655"/>
                    <a:gd name="connsiteY3975" fmla="*/ 952383 h 1268099"/>
                    <a:gd name="connsiteX3976" fmla="*/ 137871 w 1524655"/>
                    <a:gd name="connsiteY3976" fmla="*/ 953014 h 1268099"/>
                    <a:gd name="connsiteX3977" fmla="*/ 137871 w 1524655"/>
                    <a:gd name="connsiteY3977" fmla="*/ 953658 h 1268099"/>
                    <a:gd name="connsiteX3978" fmla="*/ 137871 w 1524655"/>
                    <a:gd name="connsiteY3978" fmla="*/ 955358 h 1268099"/>
                    <a:gd name="connsiteX3979" fmla="*/ 137871 w 1524655"/>
                    <a:gd name="connsiteY3979" fmla="*/ 955941 h 1268099"/>
                    <a:gd name="connsiteX3980" fmla="*/ 137980 w 1524655"/>
                    <a:gd name="connsiteY3980" fmla="*/ 956512 h 1268099"/>
                    <a:gd name="connsiteX3981" fmla="*/ 138320 w 1524655"/>
                    <a:gd name="connsiteY3981" fmla="*/ 958260 h 1268099"/>
                    <a:gd name="connsiteX3982" fmla="*/ 138417 w 1524655"/>
                    <a:gd name="connsiteY3982" fmla="*/ 958758 h 1268099"/>
                    <a:gd name="connsiteX3983" fmla="*/ 138600 w 1524655"/>
                    <a:gd name="connsiteY3983" fmla="*/ 959232 h 1268099"/>
                    <a:gd name="connsiteX3984" fmla="*/ 139571 w 1524655"/>
                    <a:gd name="connsiteY3984" fmla="*/ 961842 h 1268099"/>
                    <a:gd name="connsiteX3985" fmla="*/ 132989 w 1524655"/>
                    <a:gd name="connsiteY3985" fmla="*/ 962073 h 1268099"/>
                    <a:gd name="connsiteX3986" fmla="*/ 132637 w 1524655"/>
                    <a:gd name="connsiteY3986" fmla="*/ 962085 h 1268099"/>
                    <a:gd name="connsiteX3987" fmla="*/ 132297 w 1524655"/>
                    <a:gd name="connsiteY3987" fmla="*/ 962146 h 1268099"/>
                    <a:gd name="connsiteX3988" fmla="*/ 129711 w 1524655"/>
                    <a:gd name="connsiteY3988" fmla="*/ 962535 h 1268099"/>
                    <a:gd name="connsiteX3989" fmla="*/ 129031 w 1524655"/>
                    <a:gd name="connsiteY3989" fmla="*/ 962632 h 1268099"/>
                    <a:gd name="connsiteX3990" fmla="*/ 128387 w 1524655"/>
                    <a:gd name="connsiteY3990" fmla="*/ 962887 h 1268099"/>
                    <a:gd name="connsiteX3991" fmla="*/ 126906 w 1524655"/>
                    <a:gd name="connsiteY3991" fmla="*/ 963470 h 1268099"/>
                    <a:gd name="connsiteX3992" fmla="*/ 126384 w 1524655"/>
                    <a:gd name="connsiteY3992" fmla="*/ 963676 h 1268099"/>
                    <a:gd name="connsiteX3993" fmla="*/ 125898 w 1524655"/>
                    <a:gd name="connsiteY3993" fmla="*/ 963979 h 1268099"/>
                    <a:gd name="connsiteX3994" fmla="*/ 124623 w 1524655"/>
                    <a:gd name="connsiteY3994" fmla="*/ 964781 h 1268099"/>
                    <a:gd name="connsiteX3995" fmla="*/ 123943 w 1524655"/>
                    <a:gd name="connsiteY3995" fmla="*/ 965206 h 1268099"/>
                    <a:gd name="connsiteX3996" fmla="*/ 123396 w 1524655"/>
                    <a:gd name="connsiteY3996" fmla="*/ 965801 h 1268099"/>
                    <a:gd name="connsiteX3997" fmla="*/ 120179 w 1524655"/>
                    <a:gd name="connsiteY3997" fmla="*/ 969310 h 1268099"/>
                    <a:gd name="connsiteX3998" fmla="*/ 117337 w 1524655"/>
                    <a:gd name="connsiteY3998" fmla="*/ 971569 h 1268099"/>
                    <a:gd name="connsiteX3999" fmla="*/ 116827 w 1524655"/>
                    <a:gd name="connsiteY3999" fmla="*/ 971969 h 1268099"/>
                    <a:gd name="connsiteX4000" fmla="*/ 116414 w 1524655"/>
                    <a:gd name="connsiteY4000" fmla="*/ 972467 h 1268099"/>
                    <a:gd name="connsiteX4001" fmla="*/ 115783 w 1524655"/>
                    <a:gd name="connsiteY4001" fmla="*/ 973232 h 1268099"/>
                    <a:gd name="connsiteX4002" fmla="*/ 115139 w 1524655"/>
                    <a:gd name="connsiteY4002" fmla="*/ 973998 h 1268099"/>
                    <a:gd name="connsiteX4003" fmla="*/ 114787 w 1524655"/>
                    <a:gd name="connsiteY4003" fmla="*/ 974944 h 1268099"/>
                    <a:gd name="connsiteX4004" fmla="*/ 114556 w 1524655"/>
                    <a:gd name="connsiteY4004" fmla="*/ 975564 h 1268099"/>
                    <a:gd name="connsiteX4005" fmla="*/ 113233 w 1524655"/>
                    <a:gd name="connsiteY4005" fmla="*/ 979097 h 1268099"/>
                    <a:gd name="connsiteX4006" fmla="*/ 115807 w 1524655"/>
                    <a:gd name="connsiteY4006" fmla="*/ 981854 h 1268099"/>
                    <a:gd name="connsiteX4007" fmla="*/ 116439 w 1524655"/>
                    <a:gd name="connsiteY4007" fmla="*/ 982534 h 1268099"/>
                    <a:gd name="connsiteX4008" fmla="*/ 117507 w 1524655"/>
                    <a:gd name="connsiteY4008" fmla="*/ 983687 h 1268099"/>
                    <a:gd name="connsiteX4009" fmla="*/ 116196 w 1524655"/>
                    <a:gd name="connsiteY4009" fmla="*/ 985412 h 1268099"/>
                    <a:gd name="connsiteX4010" fmla="*/ 115880 w 1524655"/>
                    <a:gd name="connsiteY4010" fmla="*/ 985825 h 1268099"/>
                    <a:gd name="connsiteX4011" fmla="*/ 115637 w 1524655"/>
                    <a:gd name="connsiteY4011" fmla="*/ 986298 h 1268099"/>
                    <a:gd name="connsiteX4012" fmla="*/ 115006 w 1524655"/>
                    <a:gd name="connsiteY4012" fmla="*/ 987537 h 1268099"/>
                    <a:gd name="connsiteX4013" fmla="*/ 114605 w 1524655"/>
                    <a:gd name="connsiteY4013" fmla="*/ 988302 h 1268099"/>
                    <a:gd name="connsiteX4014" fmla="*/ 114447 w 1524655"/>
                    <a:gd name="connsiteY4014" fmla="*/ 989152 h 1268099"/>
                    <a:gd name="connsiteX4015" fmla="*/ 114277 w 1524655"/>
                    <a:gd name="connsiteY4015" fmla="*/ 990038 h 1268099"/>
                    <a:gd name="connsiteX4016" fmla="*/ 114022 w 1524655"/>
                    <a:gd name="connsiteY4016" fmla="*/ 991337 h 1268099"/>
                    <a:gd name="connsiteX4017" fmla="*/ 114338 w 1524655"/>
                    <a:gd name="connsiteY4017" fmla="*/ 992625 h 1268099"/>
                    <a:gd name="connsiteX4018" fmla="*/ 114423 w 1524655"/>
                    <a:gd name="connsiteY4018" fmla="*/ 992952 h 1268099"/>
                    <a:gd name="connsiteX4019" fmla="*/ 113998 w 1524655"/>
                    <a:gd name="connsiteY4019" fmla="*/ 992710 h 1268099"/>
                    <a:gd name="connsiteX4020" fmla="*/ 112735 w 1524655"/>
                    <a:gd name="connsiteY4020" fmla="*/ 992576 h 1268099"/>
                    <a:gd name="connsiteX4021" fmla="*/ 111217 w 1524655"/>
                    <a:gd name="connsiteY4021" fmla="*/ 992430 h 1268099"/>
                    <a:gd name="connsiteX4022" fmla="*/ 110841 w 1524655"/>
                    <a:gd name="connsiteY4022" fmla="*/ 992297 h 1268099"/>
                    <a:gd name="connsiteX4023" fmla="*/ 109966 w 1524655"/>
                    <a:gd name="connsiteY4023" fmla="*/ 991872 h 1268099"/>
                    <a:gd name="connsiteX4024" fmla="*/ 109505 w 1524655"/>
                    <a:gd name="connsiteY4024" fmla="*/ 991629 h 1268099"/>
                    <a:gd name="connsiteX4025" fmla="*/ 109007 w 1524655"/>
                    <a:gd name="connsiteY4025" fmla="*/ 991483 h 1268099"/>
                    <a:gd name="connsiteX4026" fmla="*/ 107623 w 1524655"/>
                    <a:gd name="connsiteY4026" fmla="*/ 991070 h 1268099"/>
                    <a:gd name="connsiteX4027" fmla="*/ 106761 w 1524655"/>
                    <a:gd name="connsiteY4027" fmla="*/ 990815 h 1268099"/>
                    <a:gd name="connsiteX4028" fmla="*/ 105874 w 1524655"/>
                    <a:gd name="connsiteY4028" fmla="*/ 990815 h 1268099"/>
                    <a:gd name="connsiteX4029" fmla="*/ 104514 w 1524655"/>
                    <a:gd name="connsiteY4029" fmla="*/ 990815 h 1268099"/>
                    <a:gd name="connsiteX4030" fmla="*/ 103773 w 1524655"/>
                    <a:gd name="connsiteY4030" fmla="*/ 990815 h 1268099"/>
                    <a:gd name="connsiteX4031" fmla="*/ 103057 w 1524655"/>
                    <a:gd name="connsiteY4031" fmla="*/ 990998 h 1268099"/>
                    <a:gd name="connsiteX4032" fmla="*/ 91570 w 1524655"/>
                    <a:gd name="connsiteY4032" fmla="*/ 993827 h 1268099"/>
                    <a:gd name="connsiteX4033" fmla="*/ 90101 w 1524655"/>
                    <a:gd name="connsiteY4033" fmla="*/ 993985 h 1268099"/>
                    <a:gd name="connsiteX4034" fmla="*/ 85256 w 1524655"/>
                    <a:gd name="connsiteY4034" fmla="*/ 993851 h 1268099"/>
                    <a:gd name="connsiteX4035" fmla="*/ 84843 w 1524655"/>
                    <a:gd name="connsiteY4035" fmla="*/ 993839 h 1268099"/>
                    <a:gd name="connsiteX4036" fmla="*/ 84442 w 1524655"/>
                    <a:gd name="connsiteY4036" fmla="*/ 993887 h 1268099"/>
                    <a:gd name="connsiteX4037" fmla="*/ 81661 w 1524655"/>
                    <a:gd name="connsiteY4037" fmla="*/ 994179 h 1268099"/>
                    <a:gd name="connsiteX4038" fmla="*/ 80131 w 1524655"/>
                    <a:gd name="connsiteY4038" fmla="*/ 992090 h 1268099"/>
                    <a:gd name="connsiteX4039" fmla="*/ 79816 w 1524655"/>
                    <a:gd name="connsiteY4039" fmla="*/ 991653 h 1268099"/>
                    <a:gd name="connsiteX4040" fmla="*/ 79415 w 1524655"/>
                    <a:gd name="connsiteY4040" fmla="*/ 991277 h 1268099"/>
                    <a:gd name="connsiteX4041" fmla="*/ 78322 w 1524655"/>
                    <a:gd name="connsiteY4041" fmla="*/ 990245 h 1268099"/>
                    <a:gd name="connsiteX4042" fmla="*/ 77690 w 1524655"/>
                    <a:gd name="connsiteY4042" fmla="*/ 989638 h 1268099"/>
                    <a:gd name="connsiteX4043" fmla="*/ 76913 w 1524655"/>
                    <a:gd name="connsiteY4043" fmla="*/ 989249 h 1268099"/>
                    <a:gd name="connsiteX4044" fmla="*/ 75517 w 1524655"/>
                    <a:gd name="connsiteY4044" fmla="*/ 988533 h 1268099"/>
                    <a:gd name="connsiteX4045" fmla="*/ 75068 w 1524655"/>
                    <a:gd name="connsiteY4045" fmla="*/ 988302 h 1268099"/>
                    <a:gd name="connsiteX4046" fmla="*/ 74582 w 1524655"/>
                    <a:gd name="connsiteY4046" fmla="*/ 988144 h 1268099"/>
                    <a:gd name="connsiteX4047" fmla="*/ 72930 w 1524655"/>
                    <a:gd name="connsiteY4047" fmla="*/ 987622 h 1268099"/>
                    <a:gd name="connsiteX4048" fmla="*/ 72615 w 1524655"/>
                    <a:gd name="connsiteY4048" fmla="*/ 987512 h 1268099"/>
                    <a:gd name="connsiteX4049" fmla="*/ 72299 w 1524655"/>
                    <a:gd name="connsiteY4049" fmla="*/ 987452 h 1268099"/>
                    <a:gd name="connsiteX4050" fmla="*/ 67053 w 1524655"/>
                    <a:gd name="connsiteY4050" fmla="*/ 986407 h 1268099"/>
                    <a:gd name="connsiteX4051" fmla="*/ 64770 w 1524655"/>
                    <a:gd name="connsiteY4051" fmla="*/ 985630 h 1268099"/>
                    <a:gd name="connsiteX4052" fmla="*/ 62742 w 1524655"/>
                    <a:gd name="connsiteY4052" fmla="*/ 984671 h 1268099"/>
                    <a:gd name="connsiteX4053" fmla="*/ 62718 w 1524655"/>
                    <a:gd name="connsiteY4053" fmla="*/ 984659 h 1268099"/>
                    <a:gd name="connsiteX4054" fmla="*/ 62427 w 1524655"/>
                    <a:gd name="connsiteY4054" fmla="*/ 984173 h 1268099"/>
                    <a:gd name="connsiteX4055" fmla="*/ 61941 w 1524655"/>
                    <a:gd name="connsiteY4055" fmla="*/ 982862 h 1268099"/>
                    <a:gd name="connsiteX4056" fmla="*/ 61067 w 1524655"/>
                    <a:gd name="connsiteY4056" fmla="*/ 979486 h 1268099"/>
                    <a:gd name="connsiteX4057" fmla="*/ 59853 w 1524655"/>
                    <a:gd name="connsiteY4057" fmla="*/ 970488 h 1268099"/>
                    <a:gd name="connsiteX4058" fmla="*/ 59792 w 1524655"/>
                    <a:gd name="connsiteY4058" fmla="*/ 970063 h 1268099"/>
                    <a:gd name="connsiteX4059" fmla="*/ 59682 w 1524655"/>
                    <a:gd name="connsiteY4059" fmla="*/ 969662 h 1268099"/>
                    <a:gd name="connsiteX4060" fmla="*/ 59221 w 1524655"/>
                    <a:gd name="connsiteY4060" fmla="*/ 968011 h 1268099"/>
                    <a:gd name="connsiteX4061" fmla="*/ 59027 w 1524655"/>
                    <a:gd name="connsiteY4061" fmla="*/ 967306 h 1268099"/>
                    <a:gd name="connsiteX4062" fmla="*/ 58662 w 1524655"/>
                    <a:gd name="connsiteY4062" fmla="*/ 966663 h 1268099"/>
                    <a:gd name="connsiteX4063" fmla="*/ 57970 w 1524655"/>
                    <a:gd name="connsiteY4063" fmla="*/ 965424 h 1268099"/>
                    <a:gd name="connsiteX4064" fmla="*/ 56452 w 1524655"/>
                    <a:gd name="connsiteY4064" fmla="*/ 962729 h 1268099"/>
                    <a:gd name="connsiteX4065" fmla="*/ 53380 w 1524655"/>
                    <a:gd name="connsiteY4065" fmla="*/ 962365 h 1268099"/>
                    <a:gd name="connsiteX4066" fmla="*/ 52457 w 1524655"/>
                    <a:gd name="connsiteY4066" fmla="*/ 962255 h 1268099"/>
                    <a:gd name="connsiteX4067" fmla="*/ 51085 w 1524655"/>
                    <a:gd name="connsiteY4067" fmla="*/ 962097 h 1268099"/>
                    <a:gd name="connsiteX4068" fmla="*/ 50891 w 1524655"/>
                    <a:gd name="connsiteY4068" fmla="*/ 962158 h 1268099"/>
                    <a:gd name="connsiteX4069" fmla="*/ 50077 w 1524655"/>
                    <a:gd name="connsiteY4069" fmla="*/ 961441 h 1268099"/>
                    <a:gd name="connsiteX4070" fmla="*/ 49798 w 1524655"/>
                    <a:gd name="connsiteY4070" fmla="*/ 961186 h 1268099"/>
                    <a:gd name="connsiteX4071" fmla="*/ 49482 w 1524655"/>
                    <a:gd name="connsiteY4071" fmla="*/ 960968 h 1268099"/>
                    <a:gd name="connsiteX4072" fmla="*/ 48560 w 1524655"/>
                    <a:gd name="connsiteY4072" fmla="*/ 960349 h 1268099"/>
                    <a:gd name="connsiteX4073" fmla="*/ 47916 w 1524655"/>
                    <a:gd name="connsiteY4073" fmla="*/ 959912 h 1268099"/>
                    <a:gd name="connsiteX4074" fmla="*/ 47187 w 1524655"/>
                    <a:gd name="connsiteY4074" fmla="*/ 959656 h 1268099"/>
                    <a:gd name="connsiteX4075" fmla="*/ 46155 w 1524655"/>
                    <a:gd name="connsiteY4075" fmla="*/ 959292 h 1268099"/>
                    <a:gd name="connsiteX4076" fmla="*/ 45026 w 1524655"/>
                    <a:gd name="connsiteY4076" fmla="*/ 958892 h 1268099"/>
                    <a:gd name="connsiteX4077" fmla="*/ 43824 w 1524655"/>
                    <a:gd name="connsiteY4077" fmla="*/ 958952 h 1268099"/>
                    <a:gd name="connsiteX4078" fmla="*/ 42852 w 1524655"/>
                    <a:gd name="connsiteY4078" fmla="*/ 959001 h 1268099"/>
                    <a:gd name="connsiteX4079" fmla="*/ 41420 w 1524655"/>
                    <a:gd name="connsiteY4079" fmla="*/ 959074 h 1268099"/>
                    <a:gd name="connsiteX4080" fmla="*/ 40169 w 1524655"/>
                    <a:gd name="connsiteY4080" fmla="*/ 959778 h 1268099"/>
                    <a:gd name="connsiteX4081" fmla="*/ 39076 w 1524655"/>
                    <a:gd name="connsiteY4081" fmla="*/ 960397 h 1268099"/>
                    <a:gd name="connsiteX4082" fmla="*/ 38105 w 1524655"/>
                    <a:gd name="connsiteY4082" fmla="*/ 960944 h 1268099"/>
                    <a:gd name="connsiteX4083" fmla="*/ 37388 w 1524655"/>
                    <a:gd name="connsiteY4083" fmla="*/ 961794 h 1268099"/>
                    <a:gd name="connsiteX4084" fmla="*/ 36526 w 1524655"/>
                    <a:gd name="connsiteY4084" fmla="*/ 962826 h 1268099"/>
                    <a:gd name="connsiteX4085" fmla="*/ 36295 w 1524655"/>
                    <a:gd name="connsiteY4085" fmla="*/ 963105 h 1268099"/>
                    <a:gd name="connsiteX4086" fmla="*/ 36198 w 1524655"/>
                    <a:gd name="connsiteY4086" fmla="*/ 963263 h 1268099"/>
                    <a:gd name="connsiteX4087" fmla="*/ 35725 w 1524655"/>
                    <a:gd name="connsiteY4087" fmla="*/ 963348 h 1268099"/>
                    <a:gd name="connsiteX4088" fmla="*/ 34984 w 1524655"/>
                    <a:gd name="connsiteY4088" fmla="*/ 963494 h 1268099"/>
                    <a:gd name="connsiteX4089" fmla="*/ 34292 w 1524655"/>
                    <a:gd name="connsiteY4089" fmla="*/ 963797 h 1268099"/>
                    <a:gd name="connsiteX4090" fmla="*/ 32859 w 1524655"/>
                    <a:gd name="connsiteY4090" fmla="*/ 964453 h 1268099"/>
                    <a:gd name="connsiteX4091" fmla="*/ 31547 w 1524655"/>
                    <a:gd name="connsiteY4091" fmla="*/ 965060 h 1268099"/>
                    <a:gd name="connsiteX4092" fmla="*/ 30637 w 1524655"/>
                    <a:gd name="connsiteY4092" fmla="*/ 966190 h 1268099"/>
                    <a:gd name="connsiteX4093" fmla="*/ 29264 w 1524655"/>
                    <a:gd name="connsiteY4093" fmla="*/ 967914 h 1268099"/>
                    <a:gd name="connsiteX4094" fmla="*/ 27941 w 1524655"/>
                    <a:gd name="connsiteY4094" fmla="*/ 969577 h 1268099"/>
                    <a:gd name="connsiteX4095" fmla="*/ 27941 w 1524655"/>
                    <a:gd name="connsiteY4095" fmla="*/ 971714 h 1268099"/>
                    <a:gd name="connsiteX4096" fmla="*/ 27941 w 1524655"/>
                    <a:gd name="connsiteY4096" fmla="*/ 973281 h 1268099"/>
                    <a:gd name="connsiteX4097" fmla="*/ 27941 w 1524655"/>
                    <a:gd name="connsiteY4097" fmla="*/ 974933 h 1268099"/>
                    <a:gd name="connsiteX4098" fmla="*/ 28779 w 1524655"/>
                    <a:gd name="connsiteY4098" fmla="*/ 976353 h 1268099"/>
                    <a:gd name="connsiteX4099" fmla="*/ 29702 w 1524655"/>
                    <a:gd name="connsiteY4099" fmla="*/ 977932 h 1268099"/>
                    <a:gd name="connsiteX4100" fmla="*/ 30114 w 1524655"/>
                    <a:gd name="connsiteY4100" fmla="*/ 978648 h 1268099"/>
                    <a:gd name="connsiteX4101" fmla="*/ 30697 w 1524655"/>
                    <a:gd name="connsiteY4101" fmla="*/ 979219 h 1268099"/>
                    <a:gd name="connsiteX4102" fmla="*/ 41213 w 1524655"/>
                    <a:gd name="connsiteY4102" fmla="*/ 989467 h 1268099"/>
                    <a:gd name="connsiteX4103" fmla="*/ 41201 w 1524655"/>
                    <a:gd name="connsiteY4103" fmla="*/ 989492 h 1268099"/>
                    <a:gd name="connsiteX4104" fmla="*/ 40569 w 1524655"/>
                    <a:gd name="connsiteY4104" fmla="*/ 991265 h 1268099"/>
                    <a:gd name="connsiteX4105" fmla="*/ 40290 w 1524655"/>
                    <a:gd name="connsiteY4105" fmla="*/ 992066 h 1268099"/>
                    <a:gd name="connsiteX4106" fmla="*/ 40242 w 1524655"/>
                    <a:gd name="connsiteY4106" fmla="*/ 992904 h 1268099"/>
                    <a:gd name="connsiteX4107" fmla="*/ 40011 w 1524655"/>
                    <a:gd name="connsiteY4107" fmla="*/ 996620 h 1268099"/>
                    <a:gd name="connsiteX4108" fmla="*/ 39938 w 1524655"/>
                    <a:gd name="connsiteY4108" fmla="*/ 997810 h 1268099"/>
                    <a:gd name="connsiteX4109" fmla="*/ 40314 w 1524655"/>
                    <a:gd name="connsiteY4109" fmla="*/ 998939 h 1268099"/>
                    <a:gd name="connsiteX4110" fmla="*/ 41007 w 1524655"/>
                    <a:gd name="connsiteY4110" fmla="*/ 1001003 h 1268099"/>
                    <a:gd name="connsiteX4111" fmla="*/ 41322 w 1524655"/>
                    <a:gd name="connsiteY4111" fmla="*/ 1001950 h 1268099"/>
                    <a:gd name="connsiteX4112" fmla="*/ 41929 w 1524655"/>
                    <a:gd name="connsiteY4112" fmla="*/ 1002740 h 1268099"/>
                    <a:gd name="connsiteX4113" fmla="*/ 43022 w 1524655"/>
                    <a:gd name="connsiteY4113" fmla="*/ 1004173 h 1268099"/>
                    <a:gd name="connsiteX4114" fmla="*/ 43642 w 1524655"/>
                    <a:gd name="connsiteY4114" fmla="*/ 1004974 h 1268099"/>
                    <a:gd name="connsiteX4115" fmla="*/ 44492 w 1524655"/>
                    <a:gd name="connsiteY4115" fmla="*/ 1005545 h 1268099"/>
                    <a:gd name="connsiteX4116" fmla="*/ 45147 w 1524655"/>
                    <a:gd name="connsiteY4116" fmla="*/ 1005982 h 1268099"/>
                    <a:gd name="connsiteX4117" fmla="*/ 45208 w 1524655"/>
                    <a:gd name="connsiteY4117" fmla="*/ 1006042 h 1268099"/>
                    <a:gd name="connsiteX4118" fmla="*/ 46532 w 1524655"/>
                    <a:gd name="connsiteY4118" fmla="*/ 1007876 h 1268099"/>
                    <a:gd name="connsiteX4119" fmla="*/ 49021 w 1524655"/>
                    <a:gd name="connsiteY4119" fmla="*/ 1012199 h 1268099"/>
                    <a:gd name="connsiteX4120" fmla="*/ 50345 w 1524655"/>
                    <a:gd name="connsiteY4120" fmla="*/ 1014130 h 1268099"/>
                    <a:gd name="connsiteX4121" fmla="*/ 50600 w 1524655"/>
                    <a:gd name="connsiteY4121" fmla="*/ 1014494 h 1268099"/>
                    <a:gd name="connsiteX4122" fmla="*/ 50903 w 1524655"/>
                    <a:gd name="connsiteY4122" fmla="*/ 1014810 h 1268099"/>
                    <a:gd name="connsiteX4123" fmla="*/ 53854 w 1524655"/>
                    <a:gd name="connsiteY4123" fmla="*/ 1017918 h 1268099"/>
                    <a:gd name="connsiteX4124" fmla="*/ 53380 w 1524655"/>
                    <a:gd name="connsiteY4124" fmla="*/ 1018343 h 1268099"/>
                    <a:gd name="connsiteX4125" fmla="*/ 52992 w 1524655"/>
                    <a:gd name="connsiteY4125" fmla="*/ 1018890 h 1268099"/>
                    <a:gd name="connsiteX4126" fmla="*/ 52312 w 1524655"/>
                    <a:gd name="connsiteY4126" fmla="*/ 1019849 h 1268099"/>
                    <a:gd name="connsiteX4127" fmla="*/ 52057 w 1524655"/>
                    <a:gd name="connsiteY4127" fmla="*/ 1020189 h 1268099"/>
                    <a:gd name="connsiteX4128" fmla="*/ 51862 w 1524655"/>
                    <a:gd name="connsiteY4128" fmla="*/ 1020566 h 1268099"/>
                    <a:gd name="connsiteX4129" fmla="*/ 51110 w 1524655"/>
                    <a:gd name="connsiteY4129" fmla="*/ 1022023 h 1268099"/>
                    <a:gd name="connsiteX4130" fmla="*/ 50842 w 1524655"/>
                    <a:gd name="connsiteY4130" fmla="*/ 1022545 h 1268099"/>
                    <a:gd name="connsiteX4131" fmla="*/ 50672 w 1524655"/>
                    <a:gd name="connsiteY4131" fmla="*/ 1023116 h 1268099"/>
                    <a:gd name="connsiteX4132" fmla="*/ 50393 w 1524655"/>
                    <a:gd name="connsiteY4132" fmla="*/ 1024099 h 1268099"/>
                    <a:gd name="connsiteX4133" fmla="*/ 50260 w 1524655"/>
                    <a:gd name="connsiteY4133" fmla="*/ 1024403 h 1268099"/>
                    <a:gd name="connsiteX4134" fmla="*/ 49907 w 1524655"/>
                    <a:gd name="connsiteY4134" fmla="*/ 1024888 h 1268099"/>
                    <a:gd name="connsiteX4135" fmla="*/ 47527 w 1524655"/>
                    <a:gd name="connsiteY4135" fmla="*/ 1027475 h 1268099"/>
                    <a:gd name="connsiteX4136" fmla="*/ 46143 w 1524655"/>
                    <a:gd name="connsiteY4136" fmla="*/ 1029199 h 1268099"/>
                    <a:gd name="connsiteX4137" fmla="*/ 45342 w 1524655"/>
                    <a:gd name="connsiteY4137" fmla="*/ 1030207 h 1268099"/>
                    <a:gd name="connsiteX4138" fmla="*/ 45026 w 1524655"/>
                    <a:gd name="connsiteY4138" fmla="*/ 1031446 h 1268099"/>
                    <a:gd name="connsiteX4139" fmla="*/ 44382 w 1524655"/>
                    <a:gd name="connsiteY4139" fmla="*/ 1033911 h 1268099"/>
                    <a:gd name="connsiteX4140" fmla="*/ 44188 w 1524655"/>
                    <a:gd name="connsiteY4140" fmla="*/ 1034663 h 1268099"/>
                    <a:gd name="connsiteX4141" fmla="*/ 44188 w 1524655"/>
                    <a:gd name="connsiteY4141" fmla="*/ 1035429 h 1268099"/>
                    <a:gd name="connsiteX4142" fmla="*/ 44188 w 1524655"/>
                    <a:gd name="connsiteY4142" fmla="*/ 1037930 h 1268099"/>
                    <a:gd name="connsiteX4143" fmla="*/ 44188 w 1524655"/>
                    <a:gd name="connsiteY4143" fmla="*/ 1038379 h 1268099"/>
                    <a:gd name="connsiteX4144" fmla="*/ 44249 w 1524655"/>
                    <a:gd name="connsiteY4144" fmla="*/ 1038829 h 1268099"/>
                    <a:gd name="connsiteX4145" fmla="*/ 44989 w 1524655"/>
                    <a:gd name="connsiteY4145" fmla="*/ 1043734 h 1268099"/>
                    <a:gd name="connsiteX4146" fmla="*/ 45050 w 1524655"/>
                    <a:gd name="connsiteY4146" fmla="*/ 1044147 h 1268099"/>
                    <a:gd name="connsiteX4147" fmla="*/ 45172 w 1524655"/>
                    <a:gd name="connsiteY4147" fmla="*/ 1044548 h 1268099"/>
                    <a:gd name="connsiteX4148" fmla="*/ 45985 w 1524655"/>
                    <a:gd name="connsiteY4148" fmla="*/ 1047304 h 1268099"/>
                    <a:gd name="connsiteX4149" fmla="*/ 46094 w 1524655"/>
                    <a:gd name="connsiteY4149" fmla="*/ 1047681 h 1268099"/>
                    <a:gd name="connsiteX4150" fmla="*/ 46252 w 1524655"/>
                    <a:gd name="connsiteY4150" fmla="*/ 1048045 h 1268099"/>
                    <a:gd name="connsiteX4151" fmla="*/ 47406 w 1524655"/>
                    <a:gd name="connsiteY4151" fmla="*/ 1050631 h 1268099"/>
                    <a:gd name="connsiteX4152" fmla="*/ 48195 w 1524655"/>
                    <a:gd name="connsiteY4152" fmla="*/ 1052404 h 1268099"/>
                    <a:gd name="connsiteX4153" fmla="*/ 49883 w 1524655"/>
                    <a:gd name="connsiteY4153" fmla="*/ 1053400 h 1268099"/>
                    <a:gd name="connsiteX4154" fmla="*/ 50915 w 1524655"/>
                    <a:gd name="connsiteY4154" fmla="*/ 1054007 h 1268099"/>
                    <a:gd name="connsiteX4155" fmla="*/ 53550 w 1524655"/>
                    <a:gd name="connsiteY4155" fmla="*/ 1055549 h 1268099"/>
                    <a:gd name="connsiteX4156" fmla="*/ 56355 w 1524655"/>
                    <a:gd name="connsiteY4156" fmla="*/ 1054347 h 1268099"/>
                    <a:gd name="connsiteX4157" fmla="*/ 57388 w 1524655"/>
                    <a:gd name="connsiteY4157" fmla="*/ 1053910 h 1268099"/>
                    <a:gd name="connsiteX4158" fmla="*/ 59136 w 1524655"/>
                    <a:gd name="connsiteY4158" fmla="*/ 1053157 h 1268099"/>
                    <a:gd name="connsiteX4159" fmla="*/ 59379 w 1524655"/>
                    <a:gd name="connsiteY4159" fmla="*/ 1052769 h 1268099"/>
                    <a:gd name="connsiteX4160" fmla="*/ 60702 w 1524655"/>
                    <a:gd name="connsiteY4160" fmla="*/ 1054007 h 1268099"/>
                    <a:gd name="connsiteX4161" fmla="*/ 61759 w 1524655"/>
                    <a:gd name="connsiteY4161" fmla="*/ 1054991 h 1268099"/>
                    <a:gd name="connsiteX4162" fmla="*/ 63143 w 1524655"/>
                    <a:gd name="connsiteY4162" fmla="*/ 1055391 h 1268099"/>
                    <a:gd name="connsiteX4163" fmla="*/ 64734 w 1524655"/>
                    <a:gd name="connsiteY4163" fmla="*/ 1055853 h 1268099"/>
                    <a:gd name="connsiteX4164" fmla="*/ 67077 w 1524655"/>
                    <a:gd name="connsiteY4164" fmla="*/ 1056533 h 1268099"/>
                    <a:gd name="connsiteX4165" fmla="*/ 69239 w 1524655"/>
                    <a:gd name="connsiteY4165" fmla="*/ 1055404 h 1268099"/>
                    <a:gd name="connsiteX4166" fmla="*/ 70623 w 1524655"/>
                    <a:gd name="connsiteY4166" fmla="*/ 1054675 h 1268099"/>
                    <a:gd name="connsiteX4167" fmla="*/ 72226 w 1524655"/>
                    <a:gd name="connsiteY4167" fmla="*/ 1053837 h 1268099"/>
                    <a:gd name="connsiteX4168" fmla="*/ 73113 w 1524655"/>
                    <a:gd name="connsiteY4168" fmla="*/ 1052246 h 1268099"/>
                    <a:gd name="connsiteX4169" fmla="*/ 73270 w 1524655"/>
                    <a:gd name="connsiteY4169" fmla="*/ 1051967 h 1268099"/>
                    <a:gd name="connsiteX4170" fmla="*/ 73720 w 1524655"/>
                    <a:gd name="connsiteY4170" fmla="*/ 1052089 h 1268099"/>
                    <a:gd name="connsiteX4171" fmla="*/ 76148 w 1524655"/>
                    <a:gd name="connsiteY4171" fmla="*/ 1052562 h 1268099"/>
                    <a:gd name="connsiteX4172" fmla="*/ 76561 w 1524655"/>
                    <a:gd name="connsiteY4172" fmla="*/ 1052635 h 1268099"/>
                    <a:gd name="connsiteX4173" fmla="*/ 76986 w 1524655"/>
                    <a:gd name="connsiteY4173" fmla="*/ 1052659 h 1268099"/>
                    <a:gd name="connsiteX4174" fmla="*/ 79050 w 1524655"/>
                    <a:gd name="connsiteY4174" fmla="*/ 1052744 h 1268099"/>
                    <a:gd name="connsiteX4175" fmla="*/ 79718 w 1524655"/>
                    <a:gd name="connsiteY4175" fmla="*/ 1052769 h 1268099"/>
                    <a:gd name="connsiteX4176" fmla="*/ 80374 w 1524655"/>
                    <a:gd name="connsiteY4176" fmla="*/ 1052647 h 1268099"/>
                    <a:gd name="connsiteX4177" fmla="*/ 82281 w 1524655"/>
                    <a:gd name="connsiteY4177" fmla="*/ 1052307 h 1268099"/>
                    <a:gd name="connsiteX4178" fmla="*/ 83373 w 1524655"/>
                    <a:gd name="connsiteY4178" fmla="*/ 1052101 h 1268099"/>
                    <a:gd name="connsiteX4179" fmla="*/ 84333 w 1524655"/>
                    <a:gd name="connsiteY4179" fmla="*/ 1051530 h 1268099"/>
                    <a:gd name="connsiteX4180" fmla="*/ 85814 w 1524655"/>
                    <a:gd name="connsiteY4180" fmla="*/ 1050644 h 1268099"/>
                    <a:gd name="connsiteX4181" fmla="*/ 87065 w 1524655"/>
                    <a:gd name="connsiteY4181" fmla="*/ 1049891 h 1268099"/>
                    <a:gd name="connsiteX4182" fmla="*/ 87842 w 1524655"/>
                    <a:gd name="connsiteY4182" fmla="*/ 1048640 h 1268099"/>
                    <a:gd name="connsiteX4183" fmla="*/ 88825 w 1524655"/>
                    <a:gd name="connsiteY4183" fmla="*/ 1047062 h 1268099"/>
                    <a:gd name="connsiteX4184" fmla="*/ 89688 w 1524655"/>
                    <a:gd name="connsiteY4184" fmla="*/ 1045689 h 1268099"/>
                    <a:gd name="connsiteX4185" fmla="*/ 89736 w 1524655"/>
                    <a:gd name="connsiteY4185" fmla="*/ 1044062 h 1268099"/>
                    <a:gd name="connsiteX4186" fmla="*/ 89797 w 1524655"/>
                    <a:gd name="connsiteY4186" fmla="*/ 1042411 h 1268099"/>
                    <a:gd name="connsiteX4187" fmla="*/ 89833 w 1524655"/>
                    <a:gd name="connsiteY4187" fmla="*/ 1041330 h 1268099"/>
                    <a:gd name="connsiteX4188" fmla="*/ 89493 w 1524655"/>
                    <a:gd name="connsiteY4188" fmla="*/ 1040286 h 1268099"/>
                    <a:gd name="connsiteX4189" fmla="*/ 88680 w 1524655"/>
                    <a:gd name="connsiteY4189" fmla="*/ 1037808 h 1268099"/>
                    <a:gd name="connsiteX4190" fmla="*/ 88607 w 1524655"/>
                    <a:gd name="connsiteY4190" fmla="*/ 1037335 h 1268099"/>
                    <a:gd name="connsiteX4191" fmla="*/ 88643 w 1524655"/>
                    <a:gd name="connsiteY4191" fmla="*/ 1036121 h 1268099"/>
                    <a:gd name="connsiteX4192" fmla="*/ 88656 w 1524655"/>
                    <a:gd name="connsiteY4192" fmla="*/ 1035732 h 1268099"/>
                    <a:gd name="connsiteX4193" fmla="*/ 88619 w 1524655"/>
                    <a:gd name="connsiteY4193" fmla="*/ 1035343 h 1268099"/>
                    <a:gd name="connsiteX4194" fmla="*/ 88376 w 1524655"/>
                    <a:gd name="connsiteY4194" fmla="*/ 1032806 h 1268099"/>
                    <a:gd name="connsiteX4195" fmla="*/ 88267 w 1524655"/>
                    <a:gd name="connsiteY4195" fmla="*/ 1031652 h 1268099"/>
                    <a:gd name="connsiteX4196" fmla="*/ 87988 w 1524655"/>
                    <a:gd name="connsiteY4196" fmla="*/ 1031094 h 1268099"/>
                    <a:gd name="connsiteX4197" fmla="*/ 88923 w 1524655"/>
                    <a:gd name="connsiteY4197" fmla="*/ 1031130 h 1268099"/>
                    <a:gd name="connsiteX4198" fmla="*/ 90963 w 1524655"/>
                    <a:gd name="connsiteY4198" fmla="*/ 1031191 h 1268099"/>
                    <a:gd name="connsiteX4199" fmla="*/ 92626 w 1524655"/>
                    <a:gd name="connsiteY4199" fmla="*/ 1030013 h 1268099"/>
                    <a:gd name="connsiteX4200" fmla="*/ 94387 w 1524655"/>
                    <a:gd name="connsiteY4200" fmla="*/ 1028762 h 1268099"/>
                    <a:gd name="connsiteX4201" fmla="*/ 95395 w 1524655"/>
                    <a:gd name="connsiteY4201" fmla="*/ 1030025 h 1268099"/>
                    <a:gd name="connsiteX4202" fmla="*/ 96743 w 1524655"/>
                    <a:gd name="connsiteY4202" fmla="*/ 1031737 h 1268099"/>
                    <a:gd name="connsiteX4203" fmla="*/ 98868 w 1524655"/>
                    <a:gd name="connsiteY4203" fmla="*/ 1032199 h 1268099"/>
                    <a:gd name="connsiteX4204" fmla="*/ 100774 w 1524655"/>
                    <a:gd name="connsiteY4204" fmla="*/ 1032611 h 1268099"/>
                    <a:gd name="connsiteX4205" fmla="*/ 101831 w 1524655"/>
                    <a:gd name="connsiteY4205" fmla="*/ 1032854 h 1268099"/>
                    <a:gd name="connsiteX4206" fmla="*/ 102899 w 1524655"/>
                    <a:gd name="connsiteY4206" fmla="*/ 1032696 h 1268099"/>
                    <a:gd name="connsiteX4207" fmla="*/ 105255 w 1524655"/>
                    <a:gd name="connsiteY4207" fmla="*/ 1032368 h 1268099"/>
                    <a:gd name="connsiteX4208" fmla="*/ 105911 w 1524655"/>
                    <a:gd name="connsiteY4208" fmla="*/ 1032733 h 1268099"/>
                    <a:gd name="connsiteX4209" fmla="*/ 108133 w 1524655"/>
                    <a:gd name="connsiteY4209" fmla="*/ 1034275 h 1268099"/>
                    <a:gd name="connsiteX4210" fmla="*/ 108740 w 1524655"/>
                    <a:gd name="connsiteY4210" fmla="*/ 1034688 h 1268099"/>
                    <a:gd name="connsiteX4211" fmla="*/ 109432 w 1524655"/>
                    <a:gd name="connsiteY4211" fmla="*/ 1034943 h 1268099"/>
                    <a:gd name="connsiteX4212" fmla="*/ 111387 w 1524655"/>
                    <a:gd name="connsiteY4212" fmla="*/ 1035696 h 1268099"/>
                    <a:gd name="connsiteX4213" fmla="*/ 112298 w 1524655"/>
                    <a:gd name="connsiteY4213" fmla="*/ 1036048 h 1268099"/>
                    <a:gd name="connsiteX4214" fmla="*/ 113281 w 1524655"/>
                    <a:gd name="connsiteY4214" fmla="*/ 1036096 h 1268099"/>
                    <a:gd name="connsiteX4215" fmla="*/ 115164 w 1524655"/>
                    <a:gd name="connsiteY4215" fmla="*/ 1036169 h 1268099"/>
                    <a:gd name="connsiteX4216" fmla="*/ 115916 w 1524655"/>
                    <a:gd name="connsiteY4216" fmla="*/ 1036206 h 1268099"/>
                    <a:gd name="connsiteX4217" fmla="*/ 116657 w 1524655"/>
                    <a:gd name="connsiteY4217" fmla="*/ 1036048 h 1268099"/>
                    <a:gd name="connsiteX4218" fmla="*/ 117811 w 1524655"/>
                    <a:gd name="connsiteY4218" fmla="*/ 1035805 h 1268099"/>
                    <a:gd name="connsiteX4219" fmla="*/ 118017 w 1524655"/>
                    <a:gd name="connsiteY4219" fmla="*/ 1035793 h 1268099"/>
                    <a:gd name="connsiteX4220" fmla="*/ 120628 w 1524655"/>
                    <a:gd name="connsiteY4220" fmla="*/ 1036242 h 1268099"/>
                    <a:gd name="connsiteX4221" fmla="*/ 123579 w 1524655"/>
                    <a:gd name="connsiteY4221" fmla="*/ 1037056 h 1268099"/>
                    <a:gd name="connsiteX4222" fmla="*/ 124793 w 1524655"/>
                    <a:gd name="connsiteY4222" fmla="*/ 1037371 h 1268099"/>
                    <a:gd name="connsiteX4223" fmla="*/ 126032 w 1524655"/>
                    <a:gd name="connsiteY4223" fmla="*/ 1037189 h 1268099"/>
                    <a:gd name="connsiteX4224" fmla="*/ 127707 w 1524655"/>
                    <a:gd name="connsiteY4224" fmla="*/ 1036934 h 1268099"/>
                    <a:gd name="connsiteX4225" fmla="*/ 127889 w 1524655"/>
                    <a:gd name="connsiteY4225" fmla="*/ 1037396 h 1268099"/>
                    <a:gd name="connsiteX4226" fmla="*/ 128254 w 1524655"/>
                    <a:gd name="connsiteY4226" fmla="*/ 1038294 h 1268099"/>
                    <a:gd name="connsiteX4227" fmla="*/ 128873 w 1524655"/>
                    <a:gd name="connsiteY4227" fmla="*/ 1039047 h 1268099"/>
                    <a:gd name="connsiteX4228" fmla="*/ 130197 w 1524655"/>
                    <a:gd name="connsiteY4228" fmla="*/ 1040626 h 1268099"/>
                    <a:gd name="connsiteX4229" fmla="*/ 130889 w 1524655"/>
                    <a:gd name="connsiteY4229" fmla="*/ 1041439 h 1268099"/>
                    <a:gd name="connsiteX4230" fmla="*/ 131824 w 1524655"/>
                    <a:gd name="connsiteY4230" fmla="*/ 1041974 h 1268099"/>
                    <a:gd name="connsiteX4231" fmla="*/ 133038 w 1524655"/>
                    <a:gd name="connsiteY4231" fmla="*/ 1042678 h 1268099"/>
                    <a:gd name="connsiteX4232" fmla="*/ 133208 w 1524655"/>
                    <a:gd name="connsiteY4232" fmla="*/ 1043237 h 1268099"/>
                    <a:gd name="connsiteX4233" fmla="*/ 133536 w 1524655"/>
                    <a:gd name="connsiteY4233" fmla="*/ 1044985 h 1268099"/>
                    <a:gd name="connsiteX4234" fmla="*/ 133621 w 1524655"/>
                    <a:gd name="connsiteY4234" fmla="*/ 1045434 h 1268099"/>
                    <a:gd name="connsiteX4235" fmla="*/ 133779 w 1524655"/>
                    <a:gd name="connsiteY4235" fmla="*/ 1045871 h 1268099"/>
                    <a:gd name="connsiteX4236" fmla="*/ 135163 w 1524655"/>
                    <a:gd name="connsiteY4236" fmla="*/ 1049818 h 1268099"/>
                    <a:gd name="connsiteX4237" fmla="*/ 135369 w 1524655"/>
                    <a:gd name="connsiteY4237" fmla="*/ 1050668 h 1268099"/>
                    <a:gd name="connsiteX4238" fmla="*/ 135333 w 1524655"/>
                    <a:gd name="connsiteY4238" fmla="*/ 1054894 h 1268099"/>
                    <a:gd name="connsiteX4239" fmla="*/ 135333 w 1524655"/>
                    <a:gd name="connsiteY4239" fmla="*/ 1055319 h 1268099"/>
                    <a:gd name="connsiteX4240" fmla="*/ 135381 w 1524655"/>
                    <a:gd name="connsiteY4240" fmla="*/ 1055732 h 1268099"/>
                    <a:gd name="connsiteX4241" fmla="*/ 135782 w 1524655"/>
                    <a:gd name="connsiteY4241" fmla="*/ 1058791 h 1268099"/>
                    <a:gd name="connsiteX4242" fmla="*/ 136232 w 1524655"/>
                    <a:gd name="connsiteY4242" fmla="*/ 1062289 h 1268099"/>
                    <a:gd name="connsiteX4243" fmla="*/ 139498 w 1524655"/>
                    <a:gd name="connsiteY4243" fmla="*/ 1063624 h 1268099"/>
                    <a:gd name="connsiteX4244" fmla="*/ 140652 w 1524655"/>
                    <a:gd name="connsiteY4244" fmla="*/ 1064098 h 1268099"/>
                    <a:gd name="connsiteX4245" fmla="*/ 141647 w 1524655"/>
                    <a:gd name="connsiteY4245" fmla="*/ 1064499 h 1268099"/>
                    <a:gd name="connsiteX4246" fmla="*/ 142716 w 1524655"/>
                    <a:gd name="connsiteY4246" fmla="*/ 1064547 h 1268099"/>
                    <a:gd name="connsiteX4247" fmla="*/ 143627 w 1524655"/>
                    <a:gd name="connsiteY4247" fmla="*/ 1064584 h 1268099"/>
                    <a:gd name="connsiteX4248" fmla="*/ 145412 w 1524655"/>
                    <a:gd name="connsiteY4248" fmla="*/ 1064645 h 1268099"/>
                    <a:gd name="connsiteX4249" fmla="*/ 146954 w 1524655"/>
                    <a:gd name="connsiteY4249" fmla="*/ 1063746 h 1268099"/>
                    <a:gd name="connsiteX4250" fmla="*/ 146954 w 1524655"/>
                    <a:gd name="connsiteY4250" fmla="*/ 1063734 h 1268099"/>
                    <a:gd name="connsiteX4251" fmla="*/ 149589 w 1524655"/>
                    <a:gd name="connsiteY4251" fmla="*/ 1064001 h 1268099"/>
                    <a:gd name="connsiteX4252" fmla="*/ 150050 w 1524655"/>
                    <a:gd name="connsiteY4252" fmla="*/ 1064049 h 1268099"/>
                    <a:gd name="connsiteX4253" fmla="*/ 150512 w 1524655"/>
                    <a:gd name="connsiteY4253" fmla="*/ 1064025 h 1268099"/>
                    <a:gd name="connsiteX4254" fmla="*/ 151726 w 1524655"/>
                    <a:gd name="connsiteY4254" fmla="*/ 1063965 h 1268099"/>
                    <a:gd name="connsiteX4255" fmla="*/ 152649 w 1524655"/>
                    <a:gd name="connsiteY4255" fmla="*/ 1063928 h 1268099"/>
                    <a:gd name="connsiteX4256" fmla="*/ 153523 w 1524655"/>
                    <a:gd name="connsiteY4256" fmla="*/ 1063612 h 1268099"/>
                    <a:gd name="connsiteX4257" fmla="*/ 154555 w 1524655"/>
                    <a:gd name="connsiteY4257" fmla="*/ 1063236 h 1268099"/>
                    <a:gd name="connsiteX4258" fmla="*/ 155527 w 1524655"/>
                    <a:gd name="connsiteY4258" fmla="*/ 1062871 h 1268099"/>
                    <a:gd name="connsiteX4259" fmla="*/ 156316 w 1524655"/>
                    <a:gd name="connsiteY4259" fmla="*/ 1062216 h 1268099"/>
                    <a:gd name="connsiteX4260" fmla="*/ 160432 w 1524655"/>
                    <a:gd name="connsiteY4260" fmla="*/ 1058804 h 1268099"/>
                    <a:gd name="connsiteX4261" fmla="*/ 164136 w 1524655"/>
                    <a:gd name="connsiteY4261" fmla="*/ 1057079 h 1268099"/>
                    <a:gd name="connsiteX4262" fmla="*/ 164901 w 1524655"/>
                    <a:gd name="connsiteY4262" fmla="*/ 1056885 h 1268099"/>
                    <a:gd name="connsiteX4263" fmla="*/ 167682 w 1524655"/>
                    <a:gd name="connsiteY4263" fmla="*/ 1057140 h 1268099"/>
                    <a:gd name="connsiteX4264" fmla="*/ 168471 w 1524655"/>
                    <a:gd name="connsiteY4264" fmla="*/ 1057213 h 1268099"/>
                    <a:gd name="connsiteX4265" fmla="*/ 169260 w 1524655"/>
                    <a:gd name="connsiteY4265" fmla="*/ 1057079 h 1268099"/>
                    <a:gd name="connsiteX4266" fmla="*/ 170803 w 1524655"/>
                    <a:gd name="connsiteY4266" fmla="*/ 1056824 h 1268099"/>
                    <a:gd name="connsiteX4267" fmla="*/ 172575 w 1524655"/>
                    <a:gd name="connsiteY4267" fmla="*/ 1056533 h 1268099"/>
                    <a:gd name="connsiteX4268" fmla="*/ 173899 w 1524655"/>
                    <a:gd name="connsiteY4268" fmla="*/ 1055319 h 1268099"/>
                    <a:gd name="connsiteX4269" fmla="*/ 174530 w 1524655"/>
                    <a:gd name="connsiteY4269" fmla="*/ 1054736 h 1268099"/>
                    <a:gd name="connsiteX4270" fmla="*/ 177384 w 1524655"/>
                    <a:gd name="connsiteY4270" fmla="*/ 1052113 h 1268099"/>
                    <a:gd name="connsiteX4271" fmla="*/ 176364 w 1524655"/>
                    <a:gd name="connsiteY4271" fmla="*/ 1048883 h 1268099"/>
                    <a:gd name="connsiteX4272" fmla="*/ 176619 w 1524655"/>
                    <a:gd name="connsiteY4272" fmla="*/ 1048834 h 1268099"/>
                    <a:gd name="connsiteX4273" fmla="*/ 176643 w 1524655"/>
                    <a:gd name="connsiteY4273" fmla="*/ 1048883 h 1268099"/>
                    <a:gd name="connsiteX4274" fmla="*/ 177141 w 1524655"/>
                    <a:gd name="connsiteY4274" fmla="*/ 1049709 h 1268099"/>
                    <a:gd name="connsiteX4275" fmla="*/ 177870 w 1524655"/>
                    <a:gd name="connsiteY4275" fmla="*/ 1050352 h 1268099"/>
                    <a:gd name="connsiteX4276" fmla="*/ 179133 w 1524655"/>
                    <a:gd name="connsiteY4276" fmla="*/ 1051457 h 1268099"/>
                    <a:gd name="connsiteX4277" fmla="*/ 181209 w 1524655"/>
                    <a:gd name="connsiteY4277" fmla="*/ 1053266 h 1268099"/>
                    <a:gd name="connsiteX4278" fmla="*/ 183941 w 1524655"/>
                    <a:gd name="connsiteY4278" fmla="*/ 1052890 h 1268099"/>
                    <a:gd name="connsiteX4279" fmla="*/ 185083 w 1524655"/>
                    <a:gd name="connsiteY4279" fmla="*/ 1052732 h 1268099"/>
                    <a:gd name="connsiteX4280" fmla="*/ 187232 w 1524655"/>
                    <a:gd name="connsiteY4280" fmla="*/ 1052453 h 1268099"/>
                    <a:gd name="connsiteX4281" fmla="*/ 188713 w 1524655"/>
                    <a:gd name="connsiteY4281" fmla="*/ 1050874 h 1268099"/>
                    <a:gd name="connsiteX4282" fmla="*/ 189818 w 1524655"/>
                    <a:gd name="connsiteY4282" fmla="*/ 1049684 h 1268099"/>
                    <a:gd name="connsiteX4283" fmla="*/ 190644 w 1524655"/>
                    <a:gd name="connsiteY4283" fmla="*/ 1048798 h 1268099"/>
                    <a:gd name="connsiteX4284" fmla="*/ 191069 w 1524655"/>
                    <a:gd name="connsiteY4284" fmla="*/ 1047669 h 1268099"/>
                    <a:gd name="connsiteX4285" fmla="*/ 191798 w 1524655"/>
                    <a:gd name="connsiteY4285" fmla="*/ 1045726 h 1268099"/>
                    <a:gd name="connsiteX4286" fmla="*/ 192587 w 1524655"/>
                    <a:gd name="connsiteY4286" fmla="*/ 1042921 h 1268099"/>
                    <a:gd name="connsiteX4287" fmla="*/ 192708 w 1524655"/>
                    <a:gd name="connsiteY4287" fmla="*/ 1042617 h 1268099"/>
                    <a:gd name="connsiteX4288" fmla="*/ 192866 w 1524655"/>
                    <a:gd name="connsiteY4288" fmla="*/ 1042520 h 1268099"/>
                    <a:gd name="connsiteX4289" fmla="*/ 195283 w 1524655"/>
                    <a:gd name="connsiteY4289" fmla="*/ 1041864 h 1268099"/>
                    <a:gd name="connsiteX4290" fmla="*/ 195623 w 1524655"/>
                    <a:gd name="connsiteY4290" fmla="*/ 1041767 h 1268099"/>
                    <a:gd name="connsiteX4291" fmla="*/ 195951 w 1524655"/>
                    <a:gd name="connsiteY4291" fmla="*/ 1041633 h 1268099"/>
                    <a:gd name="connsiteX4292" fmla="*/ 197723 w 1524655"/>
                    <a:gd name="connsiteY4292" fmla="*/ 1040917 h 1268099"/>
                    <a:gd name="connsiteX4293" fmla="*/ 198088 w 1524655"/>
                    <a:gd name="connsiteY4293" fmla="*/ 1040771 h 1268099"/>
                    <a:gd name="connsiteX4294" fmla="*/ 198428 w 1524655"/>
                    <a:gd name="connsiteY4294" fmla="*/ 1040565 h 1268099"/>
                    <a:gd name="connsiteX4295" fmla="*/ 199593 w 1524655"/>
                    <a:gd name="connsiteY4295" fmla="*/ 1039909 h 1268099"/>
                    <a:gd name="connsiteX4296" fmla="*/ 200504 w 1524655"/>
                    <a:gd name="connsiteY4296" fmla="*/ 1039411 h 1268099"/>
                    <a:gd name="connsiteX4297" fmla="*/ 201184 w 1524655"/>
                    <a:gd name="connsiteY4297" fmla="*/ 1038634 h 1268099"/>
                    <a:gd name="connsiteX4298" fmla="*/ 203005 w 1524655"/>
                    <a:gd name="connsiteY4298" fmla="*/ 1036558 h 1268099"/>
                    <a:gd name="connsiteX4299" fmla="*/ 204025 w 1524655"/>
                    <a:gd name="connsiteY4299" fmla="*/ 1035684 h 1268099"/>
                    <a:gd name="connsiteX4300" fmla="*/ 207523 w 1524655"/>
                    <a:gd name="connsiteY4300" fmla="*/ 1033437 h 1268099"/>
                    <a:gd name="connsiteX4301" fmla="*/ 207826 w 1524655"/>
                    <a:gd name="connsiteY4301" fmla="*/ 1033243 h 1268099"/>
                    <a:gd name="connsiteX4302" fmla="*/ 208106 w 1524655"/>
                    <a:gd name="connsiteY4302" fmla="*/ 1033012 h 1268099"/>
                    <a:gd name="connsiteX4303" fmla="*/ 209636 w 1524655"/>
                    <a:gd name="connsiteY4303" fmla="*/ 1031749 h 1268099"/>
                    <a:gd name="connsiteX4304" fmla="*/ 210158 w 1524655"/>
                    <a:gd name="connsiteY4304" fmla="*/ 1031312 h 1268099"/>
                    <a:gd name="connsiteX4305" fmla="*/ 210571 w 1524655"/>
                    <a:gd name="connsiteY4305" fmla="*/ 1030778 h 1268099"/>
                    <a:gd name="connsiteX4306" fmla="*/ 211554 w 1524655"/>
                    <a:gd name="connsiteY4306" fmla="*/ 1029515 h 1268099"/>
                    <a:gd name="connsiteX4307" fmla="*/ 212186 w 1524655"/>
                    <a:gd name="connsiteY4307" fmla="*/ 1028701 h 1268099"/>
                    <a:gd name="connsiteX4308" fmla="*/ 212513 w 1524655"/>
                    <a:gd name="connsiteY4308" fmla="*/ 1027730 h 1268099"/>
                    <a:gd name="connsiteX4309" fmla="*/ 212975 w 1524655"/>
                    <a:gd name="connsiteY4309" fmla="*/ 1026358 h 1268099"/>
                    <a:gd name="connsiteX4310" fmla="*/ 213364 w 1524655"/>
                    <a:gd name="connsiteY4310" fmla="*/ 1025180 h 1268099"/>
                    <a:gd name="connsiteX4311" fmla="*/ 213266 w 1524655"/>
                    <a:gd name="connsiteY4311" fmla="*/ 1023929 h 1268099"/>
                    <a:gd name="connsiteX4312" fmla="*/ 213157 w 1524655"/>
                    <a:gd name="connsiteY4312" fmla="*/ 1022593 h 1268099"/>
                    <a:gd name="connsiteX4313" fmla="*/ 213048 w 1524655"/>
                    <a:gd name="connsiteY4313" fmla="*/ 1021282 h 1268099"/>
                    <a:gd name="connsiteX4314" fmla="*/ 212404 w 1524655"/>
                    <a:gd name="connsiteY4314" fmla="*/ 1020128 h 1268099"/>
                    <a:gd name="connsiteX4315" fmla="*/ 212016 w 1524655"/>
                    <a:gd name="connsiteY4315" fmla="*/ 1019436 h 1268099"/>
                    <a:gd name="connsiteX4316" fmla="*/ 214808 w 1524655"/>
                    <a:gd name="connsiteY4316" fmla="*/ 1019473 h 1268099"/>
                    <a:gd name="connsiteX4317" fmla="*/ 215221 w 1524655"/>
                    <a:gd name="connsiteY4317" fmla="*/ 1019837 h 1268099"/>
                    <a:gd name="connsiteX4318" fmla="*/ 215671 w 1524655"/>
                    <a:gd name="connsiteY4318" fmla="*/ 1020250 h 1268099"/>
                    <a:gd name="connsiteX4319" fmla="*/ 216193 w 1524655"/>
                    <a:gd name="connsiteY4319" fmla="*/ 1020553 h 1268099"/>
                    <a:gd name="connsiteX4320" fmla="*/ 217626 w 1524655"/>
                    <a:gd name="connsiteY4320" fmla="*/ 1021416 h 1268099"/>
                    <a:gd name="connsiteX4321" fmla="*/ 218415 w 1524655"/>
                    <a:gd name="connsiteY4321" fmla="*/ 1021901 h 1268099"/>
                    <a:gd name="connsiteX4322" fmla="*/ 219313 w 1524655"/>
                    <a:gd name="connsiteY4322" fmla="*/ 1022120 h 1268099"/>
                    <a:gd name="connsiteX4323" fmla="*/ 222131 w 1524655"/>
                    <a:gd name="connsiteY4323" fmla="*/ 1022812 h 1268099"/>
                    <a:gd name="connsiteX4324" fmla="*/ 223175 w 1524655"/>
                    <a:gd name="connsiteY4324" fmla="*/ 1023067 h 1268099"/>
                    <a:gd name="connsiteX4325" fmla="*/ 223175 w 1524655"/>
                    <a:gd name="connsiteY4325" fmla="*/ 1023808 h 1268099"/>
                    <a:gd name="connsiteX4326" fmla="*/ 223175 w 1524655"/>
                    <a:gd name="connsiteY4326" fmla="*/ 1025410 h 1268099"/>
                    <a:gd name="connsiteX4327" fmla="*/ 223175 w 1524655"/>
                    <a:gd name="connsiteY4327" fmla="*/ 1025823 h 1268099"/>
                    <a:gd name="connsiteX4328" fmla="*/ 223236 w 1524655"/>
                    <a:gd name="connsiteY4328" fmla="*/ 1026236 h 1268099"/>
                    <a:gd name="connsiteX4329" fmla="*/ 223806 w 1524655"/>
                    <a:gd name="connsiteY4329" fmla="*/ 1030414 h 1268099"/>
                    <a:gd name="connsiteX4330" fmla="*/ 224304 w 1524655"/>
                    <a:gd name="connsiteY4330" fmla="*/ 1032672 h 1268099"/>
                    <a:gd name="connsiteX4331" fmla="*/ 224377 w 1524655"/>
                    <a:gd name="connsiteY4331" fmla="*/ 1033000 h 1268099"/>
                    <a:gd name="connsiteX4332" fmla="*/ 224486 w 1524655"/>
                    <a:gd name="connsiteY4332" fmla="*/ 1033316 h 1268099"/>
                    <a:gd name="connsiteX4333" fmla="*/ 224948 w 1524655"/>
                    <a:gd name="connsiteY4333" fmla="*/ 1034627 h 1268099"/>
                    <a:gd name="connsiteX4334" fmla="*/ 225349 w 1524655"/>
                    <a:gd name="connsiteY4334" fmla="*/ 1035744 h 1268099"/>
                    <a:gd name="connsiteX4335" fmla="*/ 226138 w 1524655"/>
                    <a:gd name="connsiteY4335" fmla="*/ 1036643 h 1268099"/>
                    <a:gd name="connsiteX4336" fmla="*/ 226830 w 1524655"/>
                    <a:gd name="connsiteY4336" fmla="*/ 1037420 h 1268099"/>
                    <a:gd name="connsiteX4337" fmla="*/ 229781 w 1524655"/>
                    <a:gd name="connsiteY4337" fmla="*/ 1040735 h 1268099"/>
                    <a:gd name="connsiteX4338" fmla="*/ 233836 w 1524655"/>
                    <a:gd name="connsiteY4338" fmla="*/ 1038938 h 1268099"/>
                    <a:gd name="connsiteX4339" fmla="*/ 234747 w 1524655"/>
                    <a:gd name="connsiteY4339" fmla="*/ 1038537 h 1268099"/>
                    <a:gd name="connsiteX4340" fmla="*/ 235792 w 1524655"/>
                    <a:gd name="connsiteY4340" fmla="*/ 1038063 h 1268099"/>
                    <a:gd name="connsiteX4341" fmla="*/ 236593 w 1524655"/>
                    <a:gd name="connsiteY4341" fmla="*/ 1037250 h 1268099"/>
                    <a:gd name="connsiteX4342" fmla="*/ 237807 w 1524655"/>
                    <a:gd name="connsiteY4342" fmla="*/ 1036011 h 1268099"/>
                    <a:gd name="connsiteX4343" fmla="*/ 238111 w 1524655"/>
                    <a:gd name="connsiteY4343" fmla="*/ 1035708 h 1268099"/>
                    <a:gd name="connsiteX4344" fmla="*/ 238366 w 1524655"/>
                    <a:gd name="connsiteY4344" fmla="*/ 1035356 h 1268099"/>
                    <a:gd name="connsiteX4345" fmla="*/ 240685 w 1524655"/>
                    <a:gd name="connsiteY4345" fmla="*/ 1032199 h 1268099"/>
                    <a:gd name="connsiteX4346" fmla="*/ 241317 w 1524655"/>
                    <a:gd name="connsiteY4346" fmla="*/ 1031725 h 1268099"/>
                    <a:gd name="connsiteX4347" fmla="*/ 241657 w 1524655"/>
                    <a:gd name="connsiteY4347" fmla="*/ 1031761 h 1268099"/>
                    <a:gd name="connsiteX4348" fmla="*/ 242810 w 1524655"/>
                    <a:gd name="connsiteY4348" fmla="*/ 1032150 h 1268099"/>
                    <a:gd name="connsiteX4349" fmla="*/ 243357 w 1524655"/>
                    <a:gd name="connsiteY4349" fmla="*/ 1032344 h 1268099"/>
                    <a:gd name="connsiteX4350" fmla="*/ 243927 w 1524655"/>
                    <a:gd name="connsiteY4350" fmla="*/ 1032429 h 1268099"/>
                    <a:gd name="connsiteX4351" fmla="*/ 245020 w 1524655"/>
                    <a:gd name="connsiteY4351" fmla="*/ 1032587 h 1268099"/>
                    <a:gd name="connsiteX4352" fmla="*/ 246149 w 1524655"/>
                    <a:gd name="connsiteY4352" fmla="*/ 1032745 h 1268099"/>
                    <a:gd name="connsiteX4353" fmla="*/ 247255 w 1524655"/>
                    <a:gd name="connsiteY4353" fmla="*/ 1032490 h 1268099"/>
                    <a:gd name="connsiteX4354" fmla="*/ 248007 w 1524655"/>
                    <a:gd name="connsiteY4354" fmla="*/ 1032308 h 1268099"/>
                    <a:gd name="connsiteX4355" fmla="*/ 248894 w 1524655"/>
                    <a:gd name="connsiteY4355" fmla="*/ 1032101 h 1268099"/>
                    <a:gd name="connsiteX4356" fmla="*/ 249683 w 1524655"/>
                    <a:gd name="connsiteY4356" fmla="*/ 1031628 h 1268099"/>
                    <a:gd name="connsiteX4357" fmla="*/ 252306 w 1524655"/>
                    <a:gd name="connsiteY4357" fmla="*/ 1030098 h 1268099"/>
                    <a:gd name="connsiteX4358" fmla="*/ 256374 w 1524655"/>
                    <a:gd name="connsiteY4358" fmla="*/ 1032538 h 1268099"/>
                    <a:gd name="connsiteX4359" fmla="*/ 257588 w 1524655"/>
                    <a:gd name="connsiteY4359" fmla="*/ 1035392 h 1268099"/>
                    <a:gd name="connsiteX4360" fmla="*/ 258365 w 1524655"/>
                    <a:gd name="connsiteY4360" fmla="*/ 1038477 h 1268099"/>
                    <a:gd name="connsiteX4361" fmla="*/ 258450 w 1524655"/>
                    <a:gd name="connsiteY4361" fmla="*/ 1039739 h 1268099"/>
                    <a:gd name="connsiteX4362" fmla="*/ 258353 w 1524655"/>
                    <a:gd name="connsiteY4362" fmla="*/ 1040468 h 1268099"/>
                    <a:gd name="connsiteX4363" fmla="*/ 256957 w 1524655"/>
                    <a:gd name="connsiteY4363" fmla="*/ 1043188 h 1268099"/>
                    <a:gd name="connsiteX4364" fmla="*/ 256775 w 1524655"/>
                    <a:gd name="connsiteY4364" fmla="*/ 1043552 h 1268099"/>
                    <a:gd name="connsiteX4365" fmla="*/ 256641 w 1524655"/>
                    <a:gd name="connsiteY4365" fmla="*/ 1043941 h 1268099"/>
                    <a:gd name="connsiteX4366" fmla="*/ 255900 w 1524655"/>
                    <a:gd name="connsiteY4366" fmla="*/ 1046041 h 1268099"/>
                    <a:gd name="connsiteX4367" fmla="*/ 255244 w 1524655"/>
                    <a:gd name="connsiteY4367" fmla="*/ 1047887 h 1268099"/>
                    <a:gd name="connsiteX4368" fmla="*/ 255803 w 1524655"/>
                    <a:gd name="connsiteY4368" fmla="*/ 1049782 h 1268099"/>
                    <a:gd name="connsiteX4369" fmla="*/ 256386 w 1524655"/>
                    <a:gd name="connsiteY4369" fmla="*/ 1051724 h 1268099"/>
                    <a:gd name="connsiteX4370" fmla="*/ 256568 w 1524655"/>
                    <a:gd name="connsiteY4370" fmla="*/ 1052344 h 1268099"/>
                    <a:gd name="connsiteX4371" fmla="*/ 256750 w 1524655"/>
                    <a:gd name="connsiteY4371" fmla="*/ 1052671 h 1268099"/>
                    <a:gd name="connsiteX4372" fmla="*/ 254686 w 1524655"/>
                    <a:gd name="connsiteY4372" fmla="*/ 1052878 h 1268099"/>
                    <a:gd name="connsiteX4373" fmla="*/ 253083 w 1524655"/>
                    <a:gd name="connsiteY4373" fmla="*/ 1054760 h 1268099"/>
                    <a:gd name="connsiteX4374" fmla="*/ 252112 w 1524655"/>
                    <a:gd name="connsiteY4374" fmla="*/ 1055913 h 1268099"/>
                    <a:gd name="connsiteX4375" fmla="*/ 250472 w 1524655"/>
                    <a:gd name="connsiteY4375" fmla="*/ 1057856 h 1268099"/>
                    <a:gd name="connsiteX4376" fmla="*/ 250703 w 1524655"/>
                    <a:gd name="connsiteY4376" fmla="*/ 1060382 h 1268099"/>
                    <a:gd name="connsiteX4377" fmla="*/ 250861 w 1524655"/>
                    <a:gd name="connsiteY4377" fmla="*/ 1062155 h 1268099"/>
                    <a:gd name="connsiteX4378" fmla="*/ 250909 w 1524655"/>
                    <a:gd name="connsiteY4378" fmla="*/ 1062750 h 1268099"/>
                    <a:gd name="connsiteX4379" fmla="*/ 251079 w 1524655"/>
                    <a:gd name="connsiteY4379" fmla="*/ 1063309 h 1268099"/>
                    <a:gd name="connsiteX4380" fmla="*/ 251662 w 1524655"/>
                    <a:gd name="connsiteY4380" fmla="*/ 1065300 h 1268099"/>
                    <a:gd name="connsiteX4381" fmla="*/ 251869 w 1524655"/>
                    <a:gd name="connsiteY4381" fmla="*/ 1066005 h 1268099"/>
                    <a:gd name="connsiteX4382" fmla="*/ 252233 w 1524655"/>
                    <a:gd name="connsiteY4382" fmla="*/ 1066648 h 1268099"/>
                    <a:gd name="connsiteX4383" fmla="*/ 253666 w 1524655"/>
                    <a:gd name="connsiteY4383" fmla="*/ 1069137 h 1268099"/>
                    <a:gd name="connsiteX4384" fmla="*/ 254224 w 1524655"/>
                    <a:gd name="connsiteY4384" fmla="*/ 1070109 h 1268099"/>
                    <a:gd name="connsiteX4385" fmla="*/ 255099 w 1524655"/>
                    <a:gd name="connsiteY4385" fmla="*/ 1070825 h 1268099"/>
                    <a:gd name="connsiteX4386" fmla="*/ 256374 w 1524655"/>
                    <a:gd name="connsiteY4386" fmla="*/ 1071857 h 1268099"/>
                    <a:gd name="connsiteX4387" fmla="*/ 257940 w 1524655"/>
                    <a:gd name="connsiteY4387" fmla="*/ 1073120 h 1268099"/>
                    <a:gd name="connsiteX4388" fmla="*/ 259956 w 1524655"/>
                    <a:gd name="connsiteY4388" fmla="*/ 1073205 h 1268099"/>
                    <a:gd name="connsiteX4389" fmla="*/ 261729 w 1524655"/>
                    <a:gd name="connsiteY4389" fmla="*/ 1073278 h 1268099"/>
                    <a:gd name="connsiteX4390" fmla="*/ 263113 w 1524655"/>
                    <a:gd name="connsiteY4390" fmla="*/ 1073327 h 1268099"/>
                    <a:gd name="connsiteX4391" fmla="*/ 264376 w 1524655"/>
                    <a:gd name="connsiteY4391" fmla="*/ 1072780 h 1268099"/>
                    <a:gd name="connsiteX4392" fmla="*/ 266938 w 1524655"/>
                    <a:gd name="connsiteY4392" fmla="*/ 1071675 h 1268099"/>
                    <a:gd name="connsiteX4393" fmla="*/ 267060 w 1524655"/>
                    <a:gd name="connsiteY4393" fmla="*/ 1071639 h 1268099"/>
                    <a:gd name="connsiteX4394" fmla="*/ 267266 w 1524655"/>
                    <a:gd name="connsiteY4394" fmla="*/ 1071784 h 1268099"/>
                    <a:gd name="connsiteX4395" fmla="*/ 273228 w 1524655"/>
                    <a:gd name="connsiteY4395" fmla="*/ 1078657 h 1268099"/>
                    <a:gd name="connsiteX4396" fmla="*/ 275050 w 1524655"/>
                    <a:gd name="connsiteY4396" fmla="*/ 1080479 h 1268099"/>
                    <a:gd name="connsiteX4397" fmla="*/ 275438 w 1524655"/>
                    <a:gd name="connsiteY4397" fmla="*/ 1080855 h 1268099"/>
                    <a:gd name="connsiteX4398" fmla="*/ 275888 w 1524655"/>
                    <a:gd name="connsiteY4398" fmla="*/ 1081159 h 1268099"/>
                    <a:gd name="connsiteX4399" fmla="*/ 277320 w 1524655"/>
                    <a:gd name="connsiteY4399" fmla="*/ 1082130 h 1268099"/>
                    <a:gd name="connsiteX4400" fmla="*/ 278219 w 1524655"/>
                    <a:gd name="connsiteY4400" fmla="*/ 1082750 h 1268099"/>
                    <a:gd name="connsiteX4401" fmla="*/ 279275 w 1524655"/>
                    <a:gd name="connsiteY4401" fmla="*/ 1083005 h 1268099"/>
                    <a:gd name="connsiteX4402" fmla="*/ 280186 w 1524655"/>
                    <a:gd name="connsiteY4402" fmla="*/ 1083235 h 1268099"/>
                    <a:gd name="connsiteX4403" fmla="*/ 280478 w 1524655"/>
                    <a:gd name="connsiteY4403" fmla="*/ 1083308 h 1268099"/>
                    <a:gd name="connsiteX4404" fmla="*/ 280781 w 1524655"/>
                    <a:gd name="connsiteY4404" fmla="*/ 1083357 h 1268099"/>
                    <a:gd name="connsiteX4405" fmla="*/ 283380 w 1524655"/>
                    <a:gd name="connsiteY4405" fmla="*/ 1083721 h 1268099"/>
                    <a:gd name="connsiteX4406" fmla="*/ 284254 w 1524655"/>
                    <a:gd name="connsiteY4406" fmla="*/ 1083952 h 1268099"/>
                    <a:gd name="connsiteX4407" fmla="*/ 287593 w 1524655"/>
                    <a:gd name="connsiteY4407" fmla="*/ 1085142 h 1268099"/>
                    <a:gd name="connsiteX4408" fmla="*/ 288091 w 1524655"/>
                    <a:gd name="connsiteY4408" fmla="*/ 1085324 h 1268099"/>
                    <a:gd name="connsiteX4409" fmla="*/ 288601 w 1524655"/>
                    <a:gd name="connsiteY4409" fmla="*/ 1085421 h 1268099"/>
                    <a:gd name="connsiteX4410" fmla="*/ 292718 w 1524655"/>
                    <a:gd name="connsiteY4410" fmla="*/ 1086137 h 1268099"/>
                    <a:gd name="connsiteX4411" fmla="*/ 293058 w 1524655"/>
                    <a:gd name="connsiteY4411" fmla="*/ 1086186 h 1268099"/>
                    <a:gd name="connsiteX4412" fmla="*/ 293398 w 1524655"/>
                    <a:gd name="connsiteY4412" fmla="*/ 1086210 h 1268099"/>
                    <a:gd name="connsiteX4413" fmla="*/ 295243 w 1524655"/>
                    <a:gd name="connsiteY4413" fmla="*/ 1086320 h 1268099"/>
                    <a:gd name="connsiteX4414" fmla="*/ 295729 w 1524655"/>
                    <a:gd name="connsiteY4414" fmla="*/ 1086356 h 1268099"/>
                    <a:gd name="connsiteX4415" fmla="*/ 296215 w 1524655"/>
                    <a:gd name="connsiteY4415" fmla="*/ 1086295 h 1268099"/>
                    <a:gd name="connsiteX4416" fmla="*/ 297830 w 1524655"/>
                    <a:gd name="connsiteY4416" fmla="*/ 1086125 h 1268099"/>
                    <a:gd name="connsiteX4417" fmla="*/ 298546 w 1524655"/>
                    <a:gd name="connsiteY4417" fmla="*/ 1086053 h 1268099"/>
                    <a:gd name="connsiteX4418" fmla="*/ 299226 w 1524655"/>
                    <a:gd name="connsiteY4418" fmla="*/ 1085809 h 1268099"/>
                    <a:gd name="connsiteX4419" fmla="*/ 300538 w 1524655"/>
                    <a:gd name="connsiteY4419" fmla="*/ 1085348 h 1268099"/>
                    <a:gd name="connsiteX4420" fmla="*/ 301218 w 1524655"/>
                    <a:gd name="connsiteY4420" fmla="*/ 1085105 h 1268099"/>
                    <a:gd name="connsiteX4421" fmla="*/ 301825 w 1524655"/>
                    <a:gd name="connsiteY4421" fmla="*/ 1084704 h 1268099"/>
                    <a:gd name="connsiteX4422" fmla="*/ 302736 w 1524655"/>
                    <a:gd name="connsiteY4422" fmla="*/ 1084110 h 1268099"/>
                    <a:gd name="connsiteX4423" fmla="*/ 303537 w 1524655"/>
                    <a:gd name="connsiteY4423" fmla="*/ 1084607 h 1268099"/>
                    <a:gd name="connsiteX4424" fmla="*/ 304096 w 1524655"/>
                    <a:gd name="connsiteY4424" fmla="*/ 1084959 h 1268099"/>
                    <a:gd name="connsiteX4425" fmla="*/ 304715 w 1524655"/>
                    <a:gd name="connsiteY4425" fmla="*/ 1085178 h 1268099"/>
                    <a:gd name="connsiteX4426" fmla="*/ 305626 w 1524655"/>
                    <a:gd name="connsiteY4426" fmla="*/ 1085494 h 1268099"/>
                    <a:gd name="connsiteX4427" fmla="*/ 306403 w 1524655"/>
                    <a:gd name="connsiteY4427" fmla="*/ 1085761 h 1268099"/>
                    <a:gd name="connsiteX4428" fmla="*/ 307228 w 1524655"/>
                    <a:gd name="connsiteY4428" fmla="*/ 1085822 h 1268099"/>
                    <a:gd name="connsiteX4429" fmla="*/ 308139 w 1524655"/>
                    <a:gd name="connsiteY4429" fmla="*/ 1085882 h 1268099"/>
                    <a:gd name="connsiteX4430" fmla="*/ 308649 w 1524655"/>
                    <a:gd name="connsiteY4430" fmla="*/ 1085919 h 1268099"/>
                    <a:gd name="connsiteX4431" fmla="*/ 308333 w 1524655"/>
                    <a:gd name="connsiteY4431" fmla="*/ 1087582 h 1268099"/>
                    <a:gd name="connsiteX4432" fmla="*/ 308261 w 1524655"/>
                    <a:gd name="connsiteY4432" fmla="*/ 1087995 h 1268099"/>
                    <a:gd name="connsiteX4433" fmla="*/ 308236 w 1524655"/>
                    <a:gd name="connsiteY4433" fmla="*/ 1088408 h 1268099"/>
                    <a:gd name="connsiteX4434" fmla="*/ 308115 w 1524655"/>
                    <a:gd name="connsiteY4434" fmla="*/ 1090764 h 1268099"/>
                    <a:gd name="connsiteX4435" fmla="*/ 308091 w 1524655"/>
                    <a:gd name="connsiteY4435" fmla="*/ 1091371 h 1268099"/>
                    <a:gd name="connsiteX4436" fmla="*/ 308176 w 1524655"/>
                    <a:gd name="connsiteY4436" fmla="*/ 1091966 h 1268099"/>
                    <a:gd name="connsiteX4437" fmla="*/ 308892 w 1524655"/>
                    <a:gd name="connsiteY4437" fmla="*/ 1096836 h 1268099"/>
                    <a:gd name="connsiteX4438" fmla="*/ 308819 w 1524655"/>
                    <a:gd name="connsiteY4438" fmla="*/ 1097309 h 1268099"/>
                    <a:gd name="connsiteX4439" fmla="*/ 308394 w 1524655"/>
                    <a:gd name="connsiteY4439" fmla="*/ 1098402 h 1268099"/>
                    <a:gd name="connsiteX4440" fmla="*/ 308236 w 1524655"/>
                    <a:gd name="connsiteY4440" fmla="*/ 1098815 h 1268099"/>
                    <a:gd name="connsiteX4441" fmla="*/ 308139 w 1524655"/>
                    <a:gd name="connsiteY4441" fmla="*/ 1099252 h 1268099"/>
                    <a:gd name="connsiteX4442" fmla="*/ 307726 w 1524655"/>
                    <a:gd name="connsiteY4442" fmla="*/ 1101122 h 1268099"/>
                    <a:gd name="connsiteX4443" fmla="*/ 307653 w 1524655"/>
                    <a:gd name="connsiteY4443" fmla="*/ 1101474 h 1268099"/>
                    <a:gd name="connsiteX4444" fmla="*/ 307617 w 1524655"/>
                    <a:gd name="connsiteY4444" fmla="*/ 1101826 h 1268099"/>
                    <a:gd name="connsiteX4445" fmla="*/ 307386 w 1524655"/>
                    <a:gd name="connsiteY4445" fmla="*/ 1104072 h 1268099"/>
                    <a:gd name="connsiteX4446" fmla="*/ 307338 w 1524655"/>
                    <a:gd name="connsiteY4446" fmla="*/ 1104558 h 1268099"/>
                    <a:gd name="connsiteX4447" fmla="*/ 307362 w 1524655"/>
                    <a:gd name="connsiteY4447" fmla="*/ 1105056 h 1268099"/>
                    <a:gd name="connsiteX4448" fmla="*/ 307811 w 1524655"/>
                    <a:gd name="connsiteY4448" fmla="*/ 1112184 h 1268099"/>
                    <a:gd name="connsiteX4449" fmla="*/ 307787 w 1524655"/>
                    <a:gd name="connsiteY4449" fmla="*/ 1112208 h 1268099"/>
                    <a:gd name="connsiteX4450" fmla="*/ 307580 w 1524655"/>
                    <a:gd name="connsiteY4450" fmla="*/ 1112548 h 1268099"/>
                    <a:gd name="connsiteX4451" fmla="*/ 306900 w 1524655"/>
                    <a:gd name="connsiteY4451" fmla="*/ 1113690 h 1268099"/>
                    <a:gd name="connsiteX4452" fmla="*/ 306488 w 1524655"/>
                    <a:gd name="connsiteY4452" fmla="*/ 1114370 h 1268099"/>
                    <a:gd name="connsiteX4453" fmla="*/ 306269 w 1524655"/>
                    <a:gd name="connsiteY4453" fmla="*/ 1115123 h 1268099"/>
                    <a:gd name="connsiteX4454" fmla="*/ 305917 w 1524655"/>
                    <a:gd name="connsiteY4454" fmla="*/ 1116337 h 1268099"/>
                    <a:gd name="connsiteX4455" fmla="*/ 305650 w 1524655"/>
                    <a:gd name="connsiteY4455" fmla="*/ 1117260 h 1268099"/>
                    <a:gd name="connsiteX4456" fmla="*/ 305686 w 1524655"/>
                    <a:gd name="connsiteY4456" fmla="*/ 1118219 h 1268099"/>
                    <a:gd name="connsiteX4457" fmla="*/ 305759 w 1524655"/>
                    <a:gd name="connsiteY4457" fmla="*/ 1120356 h 1268099"/>
                    <a:gd name="connsiteX4458" fmla="*/ 305796 w 1524655"/>
                    <a:gd name="connsiteY4458" fmla="*/ 1121619 h 1268099"/>
                    <a:gd name="connsiteX4459" fmla="*/ 306342 w 1524655"/>
                    <a:gd name="connsiteY4459" fmla="*/ 1122773 h 1268099"/>
                    <a:gd name="connsiteX4460" fmla="*/ 307010 w 1524655"/>
                    <a:gd name="connsiteY4460" fmla="*/ 1124169 h 1268099"/>
                    <a:gd name="connsiteX4461" fmla="*/ 307386 w 1524655"/>
                    <a:gd name="connsiteY4461" fmla="*/ 1124946 h 1268099"/>
                    <a:gd name="connsiteX4462" fmla="*/ 307969 w 1524655"/>
                    <a:gd name="connsiteY4462" fmla="*/ 1125590 h 1268099"/>
                    <a:gd name="connsiteX4463" fmla="*/ 309074 w 1524655"/>
                    <a:gd name="connsiteY4463" fmla="*/ 1126829 h 1268099"/>
                    <a:gd name="connsiteX4464" fmla="*/ 310167 w 1524655"/>
                    <a:gd name="connsiteY4464" fmla="*/ 1127897 h 1268099"/>
                    <a:gd name="connsiteX4465" fmla="*/ 310859 w 1524655"/>
                    <a:gd name="connsiteY4465" fmla="*/ 1128771 h 1268099"/>
                    <a:gd name="connsiteX4466" fmla="*/ 311163 w 1524655"/>
                    <a:gd name="connsiteY4466" fmla="*/ 1129488 h 1268099"/>
                    <a:gd name="connsiteX4467" fmla="*/ 311721 w 1524655"/>
                    <a:gd name="connsiteY4467" fmla="*/ 1131783 h 1268099"/>
                    <a:gd name="connsiteX4468" fmla="*/ 312207 w 1524655"/>
                    <a:gd name="connsiteY4468" fmla="*/ 1133762 h 1268099"/>
                    <a:gd name="connsiteX4469" fmla="*/ 313798 w 1524655"/>
                    <a:gd name="connsiteY4469" fmla="*/ 1135049 h 1268099"/>
                    <a:gd name="connsiteX4470" fmla="*/ 314951 w 1524655"/>
                    <a:gd name="connsiteY4470" fmla="*/ 1135984 h 1268099"/>
                    <a:gd name="connsiteX4471" fmla="*/ 316712 w 1524655"/>
                    <a:gd name="connsiteY4471" fmla="*/ 1137405 h 1268099"/>
                    <a:gd name="connsiteX4472" fmla="*/ 318983 w 1524655"/>
                    <a:gd name="connsiteY4472" fmla="*/ 1137332 h 1268099"/>
                    <a:gd name="connsiteX4473" fmla="*/ 320416 w 1524655"/>
                    <a:gd name="connsiteY4473" fmla="*/ 1137284 h 1268099"/>
                    <a:gd name="connsiteX4474" fmla="*/ 321946 w 1524655"/>
                    <a:gd name="connsiteY4474" fmla="*/ 1137223 h 1268099"/>
                    <a:gd name="connsiteX4475" fmla="*/ 323269 w 1524655"/>
                    <a:gd name="connsiteY4475" fmla="*/ 1136458 h 1268099"/>
                    <a:gd name="connsiteX4476" fmla="*/ 323682 w 1524655"/>
                    <a:gd name="connsiteY4476" fmla="*/ 1136215 h 1268099"/>
                    <a:gd name="connsiteX4477" fmla="*/ 323840 w 1524655"/>
                    <a:gd name="connsiteY4477" fmla="*/ 1136324 h 1268099"/>
                    <a:gd name="connsiteX4478" fmla="*/ 324338 w 1524655"/>
                    <a:gd name="connsiteY4478" fmla="*/ 1136567 h 1268099"/>
                    <a:gd name="connsiteX4479" fmla="*/ 325370 w 1524655"/>
                    <a:gd name="connsiteY4479" fmla="*/ 1137053 h 1268099"/>
                    <a:gd name="connsiteX4480" fmla="*/ 325844 w 1524655"/>
                    <a:gd name="connsiteY4480" fmla="*/ 1137284 h 1268099"/>
                    <a:gd name="connsiteX4481" fmla="*/ 326354 w 1524655"/>
                    <a:gd name="connsiteY4481" fmla="*/ 1137429 h 1268099"/>
                    <a:gd name="connsiteX4482" fmla="*/ 327398 w 1524655"/>
                    <a:gd name="connsiteY4482" fmla="*/ 1137709 h 1268099"/>
                    <a:gd name="connsiteX4483" fmla="*/ 328175 w 1524655"/>
                    <a:gd name="connsiteY4483" fmla="*/ 1137927 h 1268099"/>
                    <a:gd name="connsiteX4484" fmla="*/ 328988 w 1524655"/>
                    <a:gd name="connsiteY4484" fmla="*/ 1137927 h 1268099"/>
                    <a:gd name="connsiteX4485" fmla="*/ 329887 w 1524655"/>
                    <a:gd name="connsiteY4485" fmla="*/ 1137927 h 1268099"/>
                    <a:gd name="connsiteX4486" fmla="*/ 330373 w 1524655"/>
                    <a:gd name="connsiteY4486" fmla="*/ 1137927 h 1268099"/>
                    <a:gd name="connsiteX4487" fmla="*/ 330859 w 1524655"/>
                    <a:gd name="connsiteY4487" fmla="*/ 1137842 h 1268099"/>
                    <a:gd name="connsiteX4488" fmla="*/ 330883 w 1524655"/>
                    <a:gd name="connsiteY4488" fmla="*/ 1137842 h 1268099"/>
                    <a:gd name="connsiteX4489" fmla="*/ 337246 w 1524655"/>
                    <a:gd name="connsiteY4489" fmla="*/ 1142833 h 1268099"/>
                    <a:gd name="connsiteX4490" fmla="*/ 337695 w 1524655"/>
                    <a:gd name="connsiteY4490" fmla="*/ 1143185 h 1268099"/>
                    <a:gd name="connsiteX4491" fmla="*/ 338205 w 1524655"/>
                    <a:gd name="connsiteY4491" fmla="*/ 1143440 h 1268099"/>
                    <a:gd name="connsiteX4492" fmla="*/ 339055 w 1524655"/>
                    <a:gd name="connsiteY4492" fmla="*/ 1143877 h 1268099"/>
                    <a:gd name="connsiteX4493" fmla="*/ 339832 w 1524655"/>
                    <a:gd name="connsiteY4493" fmla="*/ 1144278 h 1268099"/>
                    <a:gd name="connsiteX4494" fmla="*/ 340682 w 1524655"/>
                    <a:gd name="connsiteY4494" fmla="*/ 1144448 h 1268099"/>
                    <a:gd name="connsiteX4495" fmla="*/ 341836 w 1524655"/>
                    <a:gd name="connsiteY4495" fmla="*/ 1144679 h 1268099"/>
                    <a:gd name="connsiteX4496" fmla="*/ 342467 w 1524655"/>
                    <a:gd name="connsiteY4496" fmla="*/ 1144800 h 1268099"/>
                    <a:gd name="connsiteX4497" fmla="*/ 343111 w 1524655"/>
                    <a:gd name="connsiteY4497" fmla="*/ 1144788 h 1268099"/>
                    <a:gd name="connsiteX4498" fmla="*/ 344325 w 1524655"/>
                    <a:gd name="connsiteY4498" fmla="*/ 1144764 h 1268099"/>
                    <a:gd name="connsiteX4499" fmla="*/ 345078 w 1524655"/>
                    <a:gd name="connsiteY4499" fmla="*/ 1144751 h 1268099"/>
                    <a:gd name="connsiteX4500" fmla="*/ 345807 w 1524655"/>
                    <a:gd name="connsiteY4500" fmla="*/ 1144545 h 1268099"/>
                    <a:gd name="connsiteX4501" fmla="*/ 346389 w 1524655"/>
                    <a:gd name="connsiteY4501" fmla="*/ 1144387 h 1268099"/>
                    <a:gd name="connsiteX4502" fmla="*/ 346256 w 1524655"/>
                    <a:gd name="connsiteY4502" fmla="*/ 1145189 h 1268099"/>
                    <a:gd name="connsiteX4503" fmla="*/ 346207 w 1524655"/>
                    <a:gd name="connsiteY4503" fmla="*/ 1145541 h 1268099"/>
                    <a:gd name="connsiteX4504" fmla="*/ 346195 w 1524655"/>
                    <a:gd name="connsiteY4504" fmla="*/ 1145881 h 1268099"/>
                    <a:gd name="connsiteX4505" fmla="*/ 346122 w 1524655"/>
                    <a:gd name="connsiteY4505" fmla="*/ 1147496 h 1268099"/>
                    <a:gd name="connsiteX4506" fmla="*/ 346122 w 1524655"/>
                    <a:gd name="connsiteY4506" fmla="*/ 1149147 h 1268099"/>
                    <a:gd name="connsiteX4507" fmla="*/ 346110 w 1524655"/>
                    <a:gd name="connsiteY4507" fmla="*/ 1149548 h 1268099"/>
                    <a:gd name="connsiteX4508" fmla="*/ 346037 w 1524655"/>
                    <a:gd name="connsiteY4508" fmla="*/ 1149888 h 1268099"/>
                    <a:gd name="connsiteX4509" fmla="*/ 345807 w 1524655"/>
                    <a:gd name="connsiteY4509" fmla="*/ 1150580 h 1268099"/>
                    <a:gd name="connsiteX4510" fmla="*/ 344787 w 1524655"/>
                    <a:gd name="connsiteY4510" fmla="*/ 1154806 h 1268099"/>
                    <a:gd name="connsiteX4511" fmla="*/ 344374 w 1524655"/>
                    <a:gd name="connsiteY4511" fmla="*/ 1155862 h 1268099"/>
                    <a:gd name="connsiteX4512" fmla="*/ 343742 w 1524655"/>
                    <a:gd name="connsiteY4512" fmla="*/ 1156870 h 1268099"/>
                    <a:gd name="connsiteX4513" fmla="*/ 341156 w 1524655"/>
                    <a:gd name="connsiteY4513" fmla="*/ 1159651 h 1268099"/>
                    <a:gd name="connsiteX4514" fmla="*/ 340913 w 1524655"/>
                    <a:gd name="connsiteY4514" fmla="*/ 1159906 h 1268099"/>
                    <a:gd name="connsiteX4515" fmla="*/ 340694 w 1524655"/>
                    <a:gd name="connsiteY4515" fmla="*/ 1160197 h 1268099"/>
                    <a:gd name="connsiteX4516" fmla="*/ 339492 w 1524655"/>
                    <a:gd name="connsiteY4516" fmla="*/ 1161837 h 1268099"/>
                    <a:gd name="connsiteX4517" fmla="*/ 338922 w 1524655"/>
                    <a:gd name="connsiteY4517" fmla="*/ 1162614 h 1268099"/>
                    <a:gd name="connsiteX4518" fmla="*/ 338618 w 1524655"/>
                    <a:gd name="connsiteY4518" fmla="*/ 1163536 h 1268099"/>
                    <a:gd name="connsiteX4519" fmla="*/ 337938 w 1524655"/>
                    <a:gd name="connsiteY4519" fmla="*/ 1165625 h 1268099"/>
                    <a:gd name="connsiteX4520" fmla="*/ 337683 w 1524655"/>
                    <a:gd name="connsiteY4520" fmla="*/ 1166390 h 1268099"/>
                    <a:gd name="connsiteX4521" fmla="*/ 337647 w 1524655"/>
                    <a:gd name="connsiteY4521" fmla="*/ 1167191 h 1268099"/>
                    <a:gd name="connsiteX4522" fmla="*/ 337428 w 1524655"/>
                    <a:gd name="connsiteY4522" fmla="*/ 1171466 h 1268099"/>
                    <a:gd name="connsiteX4523" fmla="*/ 337136 w 1524655"/>
                    <a:gd name="connsiteY4523" fmla="*/ 1173239 h 1268099"/>
                    <a:gd name="connsiteX4524" fmla="*/ 336845 w 1524655"/>
                    <a:gd name="connsiteY4524" fmla="*/ 1173967 h 1268099"/>
                    <a:gd name="connsiteX4525" fmla="*/ 336189 w 1524655"/>
                    <a:gd name="connsiteY4525" fmla="*/ 1174744 h 1268099"/>
                    <a:gd name="connsiteX4526" fmla="*/ 335910 w 1524655"/>
                    <a:gd name="connsiteY4526" fmla="*/ 1174975 h 1268099"/>
                    <a:gd name="connsiteX4527" fmla="*/ 332959 w 1524655"/>
                    <a:gd name="connsiteY4527" fmla="*/ 1176481 h 1268099"/>
                    <a:gd name="connsiteX4528" fmla="*/ 332631 w 1524655"/>
                    <a:gd name="connsiteY4528" fmla="*/ 1176663 h 1268099"/>
                    <a:gd name="connsiteX4529" fmla="*/ 332316 w 1524655"/>
                    <a:gd name="connsiteY4529" fmla="*/ 1176882 h 1268099"/>
                    <a:gd name="connsiteX4530" fmla="*/ 331114 w 1524655"/>
                    <a:gd name="connsiteY4530" fmla="*/ 1177695 h 1268099"/>
                    <a:gd name="connsiteX4531" fmla="*/ 330166 w 1524655"/>
                    <a:gd name="connsiteY4531" fmla="*/ 1178339 h 1268099"/>
                    <a:gd name="connsiteX4532" fmla="*/ 329511 w 1524655"/>
                    <a:gd name="connsiteY4532" fmla="*/ 1179286 h 1268099"/>
                    <a:gd name="connsiteX4533" fmla="*/ 328648 w 1524655"/>
                    <a:gd name="connsiteY4533" fmla="*/ 1180549 h 1268099"/>
                    <a:gd name="connsiteX4534" fmla="*/ 328163 w 1524655"/>
                    <a:gd name="connsiteY4534" fmla="*/ 1181265 h 1268099"/>
                    <a:gd name="connsiteX4535" fmla="*/ 327896 w 1524655"/>
                    <a:gd name="connsiteY4535" fmla="*/ 1182067 h 1268099"/>
                    <a:gd name="connsiteX4536" fmla="*/ 327216 w 1524655"/>
                    <a:gd name="connsiteY4536" fmla="*/ 1184107 h 1268099"/>
                    <a:gd name="connsiteX4537" fmla="*/ 325989 w 1524655"/>
                    <a:gd name="connsiteY4537" fmla="*/ 1188806 h 1268099"/>
                    <a:gd name="connsiteX4538" fmla="*/ 325795 w 1524655"/>
                    <a:gd name="connsiteY4538" fmla="*/ 1189437 h 1268099"/>
                    <a:gd name="connsiteX4539" fmla="*/ 325649 w 1524655"/>
                    <a:gd name="connsiteY4539" fmla="*/ 1189704 h 1268099"/>
                    <a:gd name="connsiteX4540" fmla="*/ 324083 w 1524655"/>
                    <a:gd name="connsiteY4540" fmla="*/ 1192182 h 1268099"/>
                    <a:gd name="connsiteX4541" fmla="*/ 319444 w 1524655"/>
                    <a:gd name="connsiteY4541" fmla="*/ 1197986 h 1268099"/>
                    <a:gd name="connsiteX4542" fmla="*/ 318776 w 1524655"/>
                    <a:gd name="connsiteY4542" fmla="*/ 1198824 h 1268099"/>
                    <a:gd name="connsiteX4543" fmla="*/ 318436 w 1524655"/>
                    <a:gd name="connsiteY4543" fmla="*/ 1199856 h 1268099"/>
                    <a:gd name="connsiteX4544" fmla="*/ 317708 w 1524655"/>
                    <a:gd name="connsiteY4544" fmla="*/ 1202042 h 1268099"/>
                    <a:gd name="connsiteX4545" fmla="*/ 317586 w 1524655"/>
                    <a:gd name="connsiteY4545" fmla="*/ 1202382 h 1268099"/>
                    <a:gd name="connsiteX4546" fmla="*/ 316931 w 1524655"/>
                    <a:gd name="connsiteY4546" fmla="*/ 1202115 h 1268099"/>
                    <a:gd name="connsiteX4547" fmla="*/ 315983 w 1524655"/>
                    <a:gd name="connsiteY4547" fmla="*/ 1201726 h 1268099"/>
                    <a:gd name="connsiteX4548" fmla="*/ 314963 w 1524655"/>
                    <a:gd name="connsiteY4548" fmla="*/ 1201665 h 1268099"/>
                    <a:gd name="connsiteX4549" fmla="*/ 313931 w 1524655"/>
                    <a:gd name="connsiteY4549" fmla="*/ 1201605 h 1268099"/>
                    <a:gd name="connsiteX4550" fmla="*/ 313251 w 1524655"/>
                    <a:gd name="connsiteY4550" fmla="*/ 1201568 h 1268099"/>
                    <a:gd name="connsiteX4551" fmla="*/ 312583 w 1524655"/>
                    <a:gd name="connsiteY4551" fmla="*/ 1201678 h 1268099"/>
                    <a:gd name="connsiteX4552" fmla="*/ 311381 w 1524655"/>
                    <a:gd name="connsiteY4552" fmla="*/ 1201884 h 1268099"/>
                    <a:gd name="connsiteX4553" fmla="*/ 310616 w 1524655"/>
                    <a:gd name="connsiteY4553" fmla="*/ 1202017 h 1268099"/>
                    <a:gd name="connsiteX4554" fmla="*/ 309912 w 1524655"/>
                    <a:gd name="connsiteY4554" fmla="*/ 1202321 h 1268099"/>
                    <a:gd name="connsiteX4555" fmla="*/ 308637 w 1524655"/>
                    <a:gd name="connsiteY4555" fmla="*/ 1202892 h 1268099"/>
                    <a:gd name="connsiteX4556" fmla="*/ 307204 w 1524655"/>
                    <a:gd name="connsiteY4556" fmla="*/ 1203535 h 1268099"/>
                    <a:gd name="connsiteX4557" fmla="*/ 306257 w 1524655"/>
                    <a:gd name="connsiteY4557" fmla="*/ 1204786 h 1268099"/>
                    <a:gd name="connsiteX4558" fmla="*/ 305468 w 1524655"/>
                    <a:gd name="connsiteY4558" fmla="*/ 1205830 h 1268099"/>
                    <a:gd name="connsiteX4559" fmla="*/ 304715 w 1524655"/>
                    <a:gd name="connsiteY4559" fmla="*/ 1206826 h 1268099"/>
                    <a:gd name="connsiteX4560" fmla="*/ 304423 w 1524655"/>
                    <a:gd name="connsiteY4560" fmla="*/ 1208028 h 1268099"/>
                    <a:gd name="connsiteX4561" fmla="*/ 304071 w 1524655"/>
                    <a:gd name="connsiteY4561" fmla="*/ 1209424 h 1268099"/>
                    <a:gd name="connsiteX4562" fmla="*/ 303877 w 1524655"/>
                    <a:gd name="connsiteY4562" fmla="*/ 1210177 h 1268099"/>
                    <a:gd name="connsiteX4563" fmla="*/ 303889 w 1524655"/>
                    <a:gd name="connsiteY4563" fmla="*/ 1210967 h 1268099"/>
                    <a:gd name="connsiteX4564" fmla="*/ 303913 w 1524655"/>
                    <a:gd name="connsiteY4564" fmla="*/ 1213019 h 1268099"/>
                    <a:gd name="connsiteX4565" fmla="*/ 303148 w 1524655"/>
                    <a:gd name="connsiteY4565" fmla="*/ 1213031 h 1268099"/>
                    <a:gd name="connsiteX4566" fmla="*/ 302031 w 1524655"/>
                    <a:gd name="connsiteY4566" fmla="*/ 1213043 h 1268099"/>
                    <a:gd name="connsiteX4567" fmla="*/ 300999 w 1524655"/>
                    <a:gd name="connsiteY4567" fmla="*/ 1213456 h 1268099"/>
                    <a:gd name="connsiteX4568" fmla="*/ 300368 w 1524655"/>
                    <a:gd name="connsiteY4568" fmla="*/ 1213711 h 1268099"/>
                    <a:gd name="connsiteX4569" fmla="*/ 299263 w 1524655"/>
                    <a:gd name="connsiteY4569" fmla="*/ 1214148 h 1268099"/>
                    <a:gd name="connsiteX4570" fmla="*/ 298813 w 1524655"/>
                    <a:gd name="connsiteY4570" fmla="*/ 1213893 h 1268099"/>
                    <a:gd name="connsiteX4571" fmla="*/ 298218 w 1524655"/>
                    <a:gd name="connsiteY4571" fmla="*/ 1213687 h 1268099"/>
                    <a:gd name="connsiteX4572" fmla="*/ 296907 w 1524655"/>
                    <a:gd name="connsiteY4572" fmla="*/ 1213262 h 1268099"/>
                    <a:gd name="connsiteX4573" fmla="*/ 295923 w 1524655"/>
                    <a:gd name="connsiteY4573" fmla="*/ 1212946 h 1268099"/>
                    <a:gd name="connsiteX4574" fmla="*/ 294891 w 1524655"/>
                    <a:gd name="connsiteY4574" fmla="*/ 1212971 h 1268099"/>
                    <a:gd name="connsiteX4575" fmla="*/ 293398 w 1524655"/>
                    <a:gd name="connsiteY4575" fmla="*/ 1213007 h 1268099"/>
                    <a:gd name="connsiteX4576" fmla="*/ 292426 w 1524655"/>
                    <a:gd name="connsiteY4576" fmla="*/ 1213031 h 1268099"/>
                    <a:gd name="connsiteX4577" fmla="*/ 291515 w 1524655"/>
                    <a:gd name="connsiteY4577" fmla="*/ 1213347 h 1268099"/>
                    <a:gd name="connsiteX4578" fmla="*/ 290544 w 1524655"/>
                    <a:gd name="connsiteY4578" fmla="*/ 1213687 h 1268099"/>
                    <a:gd name="connsiteX4579" fmla="*/ 289900 w 1524655"/>
                    <a:gd name="connsiteY4579" fmla="*/ 1213918 h 1268099"/>
                    <a:gd name="connsiteX4580" fmla="*/ 289330 w 1524655"/>
                    <a:gd name="connsiteY4580" fmla="*/ 1214282 h 1268099"/>
                    <a:gd name="connsiteX4581" fmla="*/ 288747 w 1524655"/>
                    <a:gd name="connsiteY4581" fmla="*/ 1214646 h 1268099"/>
                    <a:gd name="connsiteX4582" fmla="*/ 287071 w 1524655"/>
                    <a:gd name="connsiteY4582" fmla="*/ 1215703 h 1268099"/>
                    <a:gd name="connsiteX4583" fmla="*/ 286343 w 1524655"/>
                    <a:gd name="connsiteY4583" fmla="*/ 1217536 h 1268099"/>
                    <a:gd name="connsiteX4584" fmla="*/ 286051 w 1524655"/>
                    <a:gd name="connsiteY4584" fmla="*/ 1218289 h 1268099"/>
                    <a:gd name="connsiteX4585" fmla="*/ 285905 w 1524655"/>
                    <a:gd name="connsiteY4585" fmla="*/ 1218653 h 1268099"/>
                    <a:gd name="connsiteX4586" fmla="*/ 285808 w 1524655"/>
                    <a:gd name="connsiteY4586" fmla="*/ 1219030 h 1268099"/>
                    <a:gd name="connsiteX4587" fmla="*/ 285468 w 1524655"/>
                    <a:gd name="connsiteY4587" fmla="*/ 1220353 h 1268099"/>
                    <a:gd name="connsiteX4588" fmla="*/ 285262 w 1524655"/>
                    <a:gd name="connsiteY4588" fmla="*/ 1221143 h 1268099"/>
                    <a:gd name="connsiteX4589" fmla="*/ 285274 w 1524655"/>
                    <a:gd name="connsiteY4589" fmla="*/ 1221968 h 1268099"/>
                    <a:gd name="connsiteX4590" fmla="*/ 285335 w 1524655"/>
                    <a:gd name="connsiteY4590" fmla="*/ 1224749 h 1268099"/>
                    <a:gd name="connsiteX4591" fmla="*/ 285347 w 1524655"/>
                    <a:gd name="connsiteY4591" fmla="*/ 1225465 h 1268099"/>
                    <a:gd name="connsiteX4592" fmla="*/ 285529 w 1524655"/>
                    <a:gd name="connsiteY4592" fmla="*/ 1226158 h 1268099"/>
                    <a:gd name="connsiteX4593" fmla="*/ 286695 w 1524655"/>
                    <a:gd name="connsiteY4593" fmla="*/ 1230638 h 1268099"/>
                    <a:gd name="connsiteX4594" fmla="*/ 286707 w 1524655"/>
                    <a:gd name="connsiteY4594" fmla="*/ 1230893 h 1268099"/>
                    <a:gd name="connsiteX4595" fmla="*/ 286695 w 1524655"/>
                    <a:gd name="connsiteY4595" fmla="*/ 1230930 h 1268099"/>
                    <a:gd name="connsiteX4596" fmla="*/ 285869 w 1524655"/>
                    <a:gd name="connsiteY4596" fmla="*/ 1232205 h 1268099"/>
                    <a:gd name="connsiteX4597" fmla="*/ 284570 w 1524655"/>
                    <a:gd name="connsiteY4597" fmla="*/ 1233759 h 1268099"/>
                    <a:gd name="connsiteX4598" fmla="*/ 281558 w 1524655"/>
                    <a:gd name="connsiteY4598" fmla="*/ 1237353 h 1268099"/>
                    <a:gd name="connsiteX4599" fmla="*/ 284278 w 1524655"/>
                    <a:gd name="connsiteY4599" fmla="*/ 1241179 h 1268099"/>
                    <a:gd name="connsiteX4600" fmla="*/ 292730 w 1524655"/>
                    <a:gd name="connsiteY4600" fmla="*/ 1253067 h 1268099"/>
                    <a:gd name="connsiteX4601" fmla="*/ 293094 w 1524655"/>
                    <a:gd name="connsiteY4601" fmla="*/ 1253576 h 1268099"/>
                    <a:gd name="connsiteX4602" fmla="*/ 293555 w 1524655"/>
                    <a:gd name="connsiteY4602" fmla="*/ 1254001 h 1268099"/>
                    <a:gd name="connsiteX4603" fmla="*/ 298194 w 1524655"/>
                    <a:gd name="connsiteY4603" fmla="*/ 1258288 h 1268099"/>
                    <a:gd name="connsiteX4604" fmla="*/ 298595 w 1524655"/>
                    <a:gd name="connsiteY4604" fmla="*/ 1258652 h 1268099"/>
                    <a:gd name="connsiteX4605" fmla="*/ 299056 w 1524655"/>
                    <a:gd name="connsiteY4605" fmla="*/ 1258943 h 1268099"/>
                    <a:gd name="connsiteX4606" fmla="*/ 309111 w 1524655"/>
                    <a:gd name="connsiteY4606" fmla="*/ 1265343 h 1268099"/>
                    <a:gd name="connsiteX4607" fmla="*/ 309839 w 1524655"/>
                    <a:gd name="connsiteY4607" fmla="*/ 1265804 h 1268099"/>
                    <a:gd name="connsiteX4608" fmla="*/ 310665 w 1524655"/>
                    <a:gd name="connsiteY4608" fmla="*/ 1266047 h 1268099"/>
                    <a:gd name="connsiteX4609" fmla="*/ 315546 w 1524655"/>
                    <a:gd name="connsiteY4609" fmla="*/ 1267480 h 1268099"/>
                    <a:gd name="connsiteX4610" fmla="*/ 315923 w 1524655"/>
                    <a:gd name="connsiteY4610" fmla="*/ 1267589 h 1268099"/>
                    <a:gd name="connsiteX4611" fmla="*/ 316299 w 1524655"/>
                    <a:gd name="connsiteY4611" fmla="*/ 1267662 h 1268099"/>
                    <a:gd name="connsiteX4612" fmla="*/ 318072 w 1524655"/>
                    <a:gd name="connsiteY4612" fmla="*/ 1267941 h 1268099"/>
                    <a:gd name="connsiteX4613" fmla="*/ 318412 w 1524655"/>
                    <a:gd name="connsiteY4613" fmla="*/ 1267990 h 1268099"/>
                    <a:gd name="connsiteX4614" fmla="*/ 318764 w 1524655"/>
                    <a:gd name="connsiteY4614" fmla="*/ 1268014 h 1268099"/>
                    <a:gd name="connsiteX4615" fmla="*/ 320671 w 1524655"/>
                    <a:gd name="connsiteY4615" fmla="*/ 1268099 h 1268099"/>
                    <a:gd name="connsiteX4616" fmla="*/ 324994 w 1524655"/>
                    <a:gd name="connsiteY4616" fmla="*/ 1267954 h 1268099"/>
                    <a:gd name="connsiteX4617" fmla="*/ 325358 w 1524655"/>
                    <a:gd name="connsiteY4617" fmla="*/ 1267929 h 1268099"/>
                    <a:gd name="connsiteX4618" fmla="*/ 325722 w 1524655"/>
                    <a:gd name="connsiteY4618" fmla="*/ 1267881 h 1268099"/>
                    <a:gd name="connsiteX4619" fmla="*/ 326985 w 1524655"/>
                    <a:gd name="connsiteY4619" fmla="*/ 1267675 h 1268099"/>
                    <a:gd name="connsiteX4620" fmla="*/ 327641 w 1524655"/>
                    <a:gd name="connsiteY4620" fmla="*/ 1267565 h 1268099"/>
                    <a:gd name="connsiteX4621" fmla="*/ 328260 w 1524655"/>
                    <a:gd name="connsiteY4621" fmla="*/ 1267310 h 1268099"/>
                    <a:gd name="connsiteX4622" fmla="*/ 330154 w 1524655"/>
                    <a:gd name="connsiteY4622" fmla="*/ 1266557 h 1268099"/>
                    <a:gd name="connsiteX4623" fmla="*/ 332874 w 1524655"/>
                    <a:gd name="connsiteY4623" fmla="*/ 1265209 h 1268099"/>
                    <a:gd name="connsiteX4624" fmla="*/ 333797 w 1524655"/>
                    <a:gd name="connsiteY4624" fmla="*/ 1264736 h 1268099"/>
                    <a:gd name="connsiteX4625" fmla="*/ 334514 w 1524655"/>
                    <a:gd name="connsiteY4625" fmla="*/ 1263983 h 1268099"/>
                    <a:gd name="connsiteX4626" fmla="*/ 342613 w 1524655"/>
                    <a:gd name="connsiteY4626" fmla="*/ 1255446 h 1268099"/>
                    <a:gd name="connsiteX4627" fmla="*/ 343584 w 1524655"/>
                    <a:gd name="connsiteY4627" fmla="*/ 1254427 h 1268099"/>
                    <a:gd name="connsiteX4628" fmla="*/ 344009 w 1524655"/>
                    <a:gd name="connsiteY4628" fmla="*/ 1253091 h 1268099"/>
                    <a:gd name="connsiteX4629" fmla="*/ 344981 w 1524655"/>
                    <a:gd name="connsiteY4629" fmla="*/ 1249994 h 1268099"/>
                    <a:gd name="connsiteX4630" fmla="*/ 345163 w 1524655"/>
                    <a:gd name="connsiteY4630" fmla="*/ 1249423 h 1268099"/>
                    <a:gd name="connsiteX4631" fmla="*/ 345224 w 1524655"/>
                    <a:gd name="connsiteY4631" fmla="*/ 1248829 h 1268099"/>
                    <a:gd name="connsiteX4632" fmla="*/ 345248 w 1524655"/>
                    <a:gd name="connsiteY4632" fmla="*/ 1248574 h 1268099"/>
                    <a:gd name="connsiteX4633" fmla="*/ 345746 w 1524655"/>
                    <a:gd name="connsiteY4633" fmla="*/ 1248476 h 1268099"/>
                    <a:gd name="connsiteX4634" fmla="*/ 347409 w 1524655"/>
                    <a:gd name="connsiteY4634" fmla="*/ 1248160 h 1268099"/>
                    <a:gd name="connsiteX4635" fmla="*/ 348818 w 1524655"/>
                    <a:gd name="connsiteY4635" fmla="*/ 1247894 h 1268099"/>
                    <a:gd name="connsiteX4636" fmla="*/ 349947 w 1524655"/>
                    <a:gd name="connsiteY4636" fmla="*/ 1247031 h 1268099"/>
                    <a:gd name="connsiteX4637" fmla="*/ 357075 w 1524655"/>
                    <a:gd name="connsiteY4637" fmla="*/ 1241579 h 1268099"/>
                    <a:gd name="connsiteX4638" fmla="*/ 357367 w 1524655"/>
                    <a:gd name="connsiteY4638" fmla="*/ 1241349 h 1268099"/>
                    <a:gd name="connsiteX4639" fmla="*/ 357622 w 1524655"/>
                    <a:gd name="connsiteY4639" fmla="*/ 1241093 h 1268099"/>
                    <a:gd name="connsiteX4640" fmla="*/ 358763 w 1524655"/>
                    <a:gd name="connsiteY4640" fmla="*/ 1239976 h 1268099"/>
                    <a:gd name="connsiteX4641" fmla="*/ 359249 w 1524655"/>
                    <a:gd name="connsiteY4641" fmla="*/ 1239503 h 1268099"/>
                    <a:gd name="connsiteX4642" fmla="*/ 359613 w 1524655"/>
                    <a:gd name="connsiteY4642" fmla="*/ 1238932 h 1268099"/>
                    <a:gd name="connsiteX4643" fmla="*/ 360584 w 1524655"/>
                    <a:gd name="connsiteY4643" fmla="*/ 1237438 h 1268099"/>
                    <a:gd name="connsiteX4644" fmla="*/ 360937 w 1524655"/>
                    <a:gd name="connsiteY4644" fmla="*/ 1236904 h 1268099"/>
                    <a:gd name="connsiteX4645" fmla="*/ 361167 w 1524655"/>
                    <a:gd name="connsiteY4645" fmla="*/ 1236297 h 1268099"/>
                    <a:gd name="connsiteX4646" fmla="*/ 366389 w 1524655"/>
                    <a:gd name="connsiteY4646" fmla="*/ 1222636 h 1268099"/>
                    <a:gd name="connsiteX4647" fmla="*/ 366510 w 1524655"/>
                    <a:gd name="connsiteY4647" fmla="*/ 1222320 h 1268099"/>
                    <a:gd name="connsiteX4648" fmla="*/ 366595 w 1524655"/>
                    <a:gd name="connsiteY4648" fmla="*/ 1222005 h 1268099"/>
                    <a:gd name="connsiteX4649" fmla="*/ 369777 w 1524655"/>
                    <a:gd name="connsiteY4649" fmla="*/ 1209765 h 1268099"/>
                    <a:gd name="connsiteX4650" fmla="*/ 370991 w 1524655"/>
                    <a:gd name="connsiteY4650" fmla="*/ 1206814 h 1268099"/>
                    <a:gd name="connsiteX4651" fmla="*/ 371210 w 1524655"/>
                    <a:gd name="connsiteY4651" fmla="*/ 1206280 h 1268099"/>
                    <a:gd name="connsiteX4652" fmla="*/ 371319 w 1524655"/>
                    <a:gd name="connsiteY4652" fmla="*/ 1205709 h 1268099"/>
                    <a:gd name="connsiteX4653" fmla="*/ 371732 w 1524655"/>
                    <a:gd name="connsiteY4653" fmla="*/ 1203705 h 1268099"/>
                    <a:gd name="connsiteX4654" fmla="*/ 371817 w 1524655"/>
                    <a:gd name="connsiteY4654" fmla="*/ 1203304 h 1268099"/>
                    <a:gd name="connsiteX4655" fmla="*/ 371841 w 1524655"/>
                    <a:gd name="connsiteY4655" fmla="*/ 1202892 h 1268099"/>
                    <a:gd name="connsiteX4656" fmla="*/ 372157 w 1524655"/>
                    <a:gd name="connsiteY4656" fmla="*/ 1198010 h 1268099"/>
                    <a:gd name="connsiteX4657" fmla="*/ 372557 w 1524655"/>
                    <a:gd name="connsiteY4657" fmla="*/ 1196237 h 1268099"/>
                    <a:gd name="connsiteX4658" fmla="*/ 372606 w 1524655"/>
                    <a:gd name="connsiteY4658" fmla="*/ 1196079 h 1268099"/>
                    <a:gd name="connsiteX4659" fmla="*/ 373687 w 1524655"/>
                    <a:gd name="connsiteY4659" fmla="*/ 1194464 h 1268099"/>
                    <a:gd name="connsiteX4660" fmla="*/ 374452 w 1524655"/>
                    <a:gd name="connsiteY4660" fmla="*/ 1194440 h 1268099"/>
                    <a:gd name="connsiteX4661" fmla="*/ 374780 w 1524655"/>
                    <a:gd name="connsiteY4661" fmla="*/ 1194428 h 1268099"/>
                    <a:gd name="connsiteX4662" fmla="*/ 375095 w 1524655"/>
                    <a:gd name="connsiteY4662" fmla="*/ 1194380 h 1268099"/>
                    <a:gd name="connsiteX4663" fmla="*/ 377402 w 1524655"/>
                    <a:gd name="connsiteY4663" fmla="*/ 1194064 h 1268099"/>
                    <a:gd name="connsiteX4664" fmla="*/ 378847 w 1524655"/>
                    <a:gd name="connsiteY4664" fmla="*/ 1193857 h 1268099"/>
                    <a:gd name="connsiteX4665" fmla="*/ 380038 w 1524655"/>
                    <a:gd name="connsiteY4665" fmla="*/ 1193032 h 1268099"/>
                    <a:gd name="connsiteX4666" fmla="*/ 381640 w 1524655"/>
                    <a:gd name="connsiteY4666" fmla="*/ 1191915 h 1268099"/>
                    <a:gd name="connsiteX4667" fmla="*/ 382660 w 1524655"/>
                    <a:gd name="connsiteY4667" fmla="*/ 1191198 h 1268099"/>
                    <a:gd name="connsiteX4668" fmla="*/ 383316 w 1524655"/>
                    <a:gd name="connsiteY4668" fmla="*/ 1190142 h 1268099"/>
                    <a:gd name="connsiteX4669" fmla="*/ 384409 w 1524655"/>
                    <a:gd name="connsiteY4669" fmla="*/ 1188381 h 1268099"/>
                    <a:gd name="connsiteX4670" fmla="*/ 384627 w 1524655"/>
                    <a:gd name="connsiteY4670" fmla="*/ 1188041 h 1268099"/>
                    <a:gd name="connsiteX4671" fmla="*/ 384798 w 1524655"/>
                    <a:gd name="connsiteY4671" fmla="*/ 1187677 h 1268099"/>
                    <a:gd name="connsiteX4672" fmla="*/ 385465 w 1524655"/>
                    <a:gd name="connsiteY4672" fmla="*/ 1186207 h 1268099"/>
                    <a:gd name="connsiteX4673" fmla="*/ 385502 w 1524655"/>
                    <a:gd name="connsiteY4673" fmla="*/ 1186195 h 1268099"/>
                    <a:gd name="connsiteX4674" fmla="*/ 392642 w 1524655"/>
                    <a:gd name="connsiteY4674" fmla="*/ 1185321 h 1268099"/>
                    <a:gd name="connsiteX4675" fmla="*/ 393176 w 1524655"/>
                    <a:gd name="connsiteY4675" fmla="*/ 1185260 h 1268099"/>
                    <a:gd name="connsiteX4676" fmla="*/ 393686 w 1524655"/>
                    <a:gd name="connsiteY4676" fmla="*/ 1185090 h 1268099"/>
                    <a:gd name="connsiteX4677" fmla="*/ 397997 w 1524655"/>
                    <a:gd name="connsiteY4677" fmla="*/ 1183767 h 1268099"/>
                    <a:gd name="connsiteX4678" fmla="*/ 400073 w 1524655"/>
                    <a:gd name="connsiteY4678" fmla="*/ 1183366 h 1268099"/>
                    <a:gd name="connsiteX4679" fmla="*/ 404918 w 1524655"/>
                    <a:gd name="connsiteY4679" fmla="*/ 1182856 h 1268099"/>
                    <a:gd name="connsiteX4680" fmla="*/ 405040 w 1524655"/>
                    <a:gd name="connsiteY4680" fmla="*/ 1183378 h 1268099"/>
                    <a:gd name="connsiteX4681" fmla="*/ 405198 w 1524655"/>
                    <a:gd name="connsiteY4681" fmla="*/ 1184022 h 1268099"/>
                    <a:gd name="connsiteX4682" fmla="*/ 405477 w 1524655"/>
                    <a:gd name="connsiteY4682" fmla="*/ 1184616 h 1268099"/>
                    <a:gd name="connsiteX4683" fmla="*/ 406460 w 1524655"/>
                    <a:gd name="connsiteY4683" fmla="*/ 1186656 h 1268099"/>
                    <a:gd name="connsiteX4684" fmla="*/ 407274 w 1524655"/>
                    <a:gd name="connsiteY4684" fmla="*/ 1188357 h 1268099"/>
                    <a:gd name="connsiteX4685" fmla="*/ 408913 w 1524655"/>
                    <a:gd name="connsiteY4685" fmla="*/ 1189292 h 1268099"/>
                    <a:gd name="connsiteX4686" fmla="*/ 410407 w 1524655"/>
                    <a:gd name="connsiteY4686" fmla="*/ 1190142 h 1268099"/>
                    <a:gd name="connsiteX4687" fmla="*/ 412119 w 1524655"/>
                    <a:gd name="connsiteY4687" fmla="*/ 1191113 h 1268099"/>
                    <a:gd name="connsiteX4688" fmla="*/ 414086 w 1524655"/>
                    <a:gd name="connsiteY4688" fmla="*/ 1190895 h 1268099"/>
                    <a:gd name="connsiteX4689" fmla="*/ 415920 w 1524655"/>
                    <a:gd name="connsiteY4689" fmla="*/ 1190688 h 1268099"/>
                    <a:gd name="connsiteX4690" fmla="*/ 417231 w 1524655"/>
                    <a:gd name="connsiteY4690" fmla="*/ 1190542 h 1268099"/>
                    <a:gd name="connsiteX4691" fmla="*/ 418361 w 1524655"/>
                    <a:gd name="connsiteY4691" fmla="*/ 1189862 h 1268099"/>
                    <a:gd name="connsiteX4692" fmla="*/ 420874 w 1524655"/>
                    <a:gd name="connsiteY4692" fmla="*/ 1188369 h 1268099"/>
                    <a:gd name="connsiteX4693" fmla="*/ 421809 w 1524655"/>
                    <a:gd name="connsiteY4693" fmla="*/ 1187810 h 1268099"/>
                    <a:gd name="connsiteX4694" fmla="*/ 422501 w 1524655"/>
                    <a:gd name="connsiteY4694" fmla="*/ 1186972 h 1268099"/>
                    <a:gd name="connsiteX4695" fmla="*/ 423898 w 1524655"/>
                    <a:gd name="connsiteY4695" fmla="*/ 1185248 h 1268099"/>
                    <a:gd name="connsiteX4696" fmla="*/ 424383 w 1524655"/>
                    <a:gd name="connsiteY4696" fmla="*/ 1184641 h 1268099"/>
                    <a:gd name="connsiteX4697" fmla="*/ 424711 w 1524655"/>
                    <a:gd name="connsiteY4697" fmla="*/ 1183925 h 1268099"/>
                    <a:gd name="connsiteX4698" fmla="*/ 425452 w 1524655"/>
                    <a:gd name="connsiteY4698" fmla="*/ 1182285 h 1268099"/>
                    <a:gd name="connsiteX4699" fmla="*/ 425865 w 1524655"/>
                    <a:gd name="connsiteY4699" fmla="*/ 1181387 h 1268099"/>
                    <a:gd name="connsiteX4700" fmla="*/ 425962 w 1524655"/>
                    <a:gd name="connsiteY4700" fmla="*/ 1180391 h 1268099"/>
                    <a:gd name="connsiteX4701" fmla="*/ 425986 w 1524655"/>
                    <a:gd name="connsiteY4701" fmla="*/ 1180124 h 1268099"/>
                    <a:gd name="connsiteX4702" fmla="*/ 429241 w 1524655"/>
                    <a:gd name="connsiteY4702" fmla="*/ 1180658 h 1268099"/>
                    <a:gd name="connsiteX4703" fmla="*/ 429362 w 1524655"/>
                    <a:gd name="connsiteY4703" fmla="*/ 1181253 h 1268099"/>
                    <a:gd name="connsiteX4704" fmla="*/ 429593 w 1524655"/>
                    <a:gd name="connsiteY4704" fmla="*/ 1182346 h 1268099"/>
                    <a:gd name="connsiteX4705" fmla="*/ 430200 w 1524655"/>
                    <a:gd name="connsiteY4705" fmla="*/ 1183281 h 1268099"/>
                    <a:gd name="connsiteX4706" fmla="*/ 431001 w 1524655"/>
                    <a:gd name="connsiteY4706" fmla="*/ 1184532 h 1268099"/>
                    <a:gd name="connsiteX4707" fmla="*/ 432058 w 1524655"/>
                    <a:gd name="connsiteY4707" fmla="*/ 1186171 h 1268099"/>
                    <a:gd name="connsiteX4708" fmla="*/ 433867 w 1524655"/>
                    <a:gd name="connsiteY4708" fmla="*/ 1186900 h 1268099"/>
                    <a:gd name="connsiteX4709" fmla="*/ 435300 w 1524655"/>
                    <a:gd name="connsiteY4709" fmla="*/ 1187470 h 1268099"/>
                    <a:gd name="connsiteX4710" fmla="*/ 436102 w 1524655"/>
                    <a:gd name="connsiteY4710" fmla="*/ 1187786 h 1268099"/>
                    <a:gd name="connsiteX4711" fmla="*/ 436964 w 1524655"/>
                    <a:gd name="connsiteY4711" fmla="*/ 1187871 h 1268099"/>
                    <a:gd name="connsiteX4712" fmla="*/ 441262 w 1524655"/>
                    <a:gd name="connsiteY4712" fmla="*/ 1188272 h 1268099"/>
                    <a:gd name="connsiteX4713" fmla="*/ 441869 w 1524655"/>
                    <a:gd name="connsiteY4713" fmla="*/ 1188454 h 1268099"/>
                    <a:gd name="connsiteX4714" fmla="*/ 442804 w 1524655"/>
                    <a:gd name="connsiteY4714" fmla="*/ 1189097 h 1268099"/>
                    <a:gd name="connsiteX4715" fmla="*/ 443156 w 1524655"/>
                    <a:gd name="connsiteY4715" fmla="*/ 1189340 h 1268099"/>
                    <a:gd name="connsiteX4716" fmla="*/ 443545 w 1524655"/>
                    <a:gd name="connsiteY4716" fmla="*/ 1189522 h 1268099"/>
                    <a:gd name="connsiteX4717" fmla="*/ 445609 w 1524655"/>
                    <a:gd name="connsiteY4717" fmla="*/ 1190530 h 1268099"/>
                    <a:gd name="connsiteX4718" fmla="*/ 446556 w 1524655"/>
                    <a:gd name="connsiteY4718" fmla="*/ 1190992 h 1268099"/>
                    <a:gd name="connsiteX4719" fmla="*/ 447601 w 1524655"/>
                    <a:gd name="connsiteY4719" fmla="*/ 1191113 h 1268099"/>
                    <a:gd name="connsiteX4720" fmla="*/ 450418 w 1524655"/>
                    <a:gd name="connsiteY4720" fmla="*/ 1191417 h 1268099"/>
                    <a:gd name="connsiteX4721" fmla="*/ 451511 w 1524655"/>
                    <a:gd name="connsiteY4721" fmla="*/ 1191538 h 1268099"/>
                    <a:gd name="connsiteX4722" fmla="*/ 452567 w 1524655"/>
                    <a:gd name="connsiteY4722" fmla="*/ 1191271 h 1268099"/>
                    <a:gd name="connsiteX4723" fmla="*/ 456101 w 1524655"/>
                    <a:gd name="connsiteY4723" fmla="*/ 1190384 h 1268099"/>
                    <a:gd name="connsiteX4724" fmla="*/ 462330 w 1524655"/>
                    <a:gd name="connsiteY4724" fmla="*/ 1189850 h 1268099"/>
                    <a:gd name="connsiteX4725" fmla="*/ 462719 w 1524655"/>
                    <a:gd name="connsiteY4725" fmla="*/ 1189814 h 1268099"/>
                    <a:gd name="connsiteX4726" fmla="*/ 463107 w 1524655"/>
                    <a:gd name="connsiteY4726" fmla="*/ 1189729 h 1268099"/>
                    <a:gd name="connsiteX4727" fmla="*/ 465354 w 1524655"/>
                    <a:gd name="connsiteY4727" fmla="*/ 1189243 h 1268099"/>
                    <a:gd name="connsiteX4728" fmla="*/ 466507 w 1524655"/>
                    <a:gd name="connsiteY4728" fmla="*/ 1188988 h 1268099"/>
                    <a:gd name="connsiteX4729" fmla="*/ 467491 w 1524655"/>
                    <a:gd name="connsiteY4729" fmla="*/ 1188320 h 1268099"/>
                    <a:gd name="connsiteX4730" fmla="*/ 469434 w 1524655"/>
                    <a:gd name="connsiteY4730" fmla="*/ 1186997 h 1268099"/>
                    <a:gd name="connsiteX4731" fmla="*/ 471207 w 1524655"/>
                    <a:gd name="connsiteY4731" fmla="*/ 1185552 h 1268099"/>
                    <a:gd name="connsiteX4732" fmla="*/ 471668 w 1524655"/>
                    <a:gd name="connsiteY4732" fmla="*/ 1185175 h 1268099"/>
                    <a:gd name="connsiteX4733" fmla="*/ 472045 w 1524655"/>
                    <a:gd name="connsiteY4733" fmla="*/ 1184726 h 1268099"/>
                    <a:gd name="connsiteX4734" fmla="*/ 476756 w 1524655"/>
                    <a:gd name="connsiteY4734" fmla="*/ 1178910 h 1268099"/>
                    <a:gd name="connsiteX4735" fmla="*/ 483204 w 1524655"/>
                    <a:gd name="connsiteY4735" fmla="*/ 1169632 h 1268099"/>
                    <a:gd name="connsiteX4736" fmla="*/ 483350 w 1524655"/>
                    <a:gd name="connsiteY4736" fmla="*/ 1169499 h 1268099"/>
                    <a:gd name="connsiteX4737" fmla="*/ 483410 w 1524655"/>
                    <a:gd name="connsiteY4737" fmla="*/ 1169559 h 1268099"/>
                    <a:gd name="connsiteX4738" fmla="*/ 484527 w 1524655"/>
                    <a:gd name="connsiteY4738" fmla="*/ 1170774 h 1268099"/>
                    <a:gd name="connsiteX4739" fmla="*/ 485596 w 1524655"/>
                    <a:gd name="connsiteY4739" fmla="*/ 1171927 h 1268099"/>
                    <a:gd name="connsiteX4740" fmla="*/ 487090 w 1524655"/>
                    <a:gd name="connsiteY4740" fmla="*/ 1172413 h 1268099"/>
                    <a:gd name="connsiteX4741" fmla="*/ 488814 w 1524655"/>
                    <a:gd name="connsiteY4741" fmla="*/ 1172984 h 1268099"/>
                    <a:gd name="connsiteX4742" fmla="*/ 490478 w 1524655"/>
                    <a:gd name="connsiteY4742" fmla="*/ 1173542 h 1268099"/>
                    <a:gd name="connsiteX4743" fmla="*/ 492178 w 1524655"/>
                    <a:gd name="connsiteY4743" fmla="*/ 1173117 h 1268099"/>
                    <a:gd name="connsiteX4744" fmla="*/ 494230 w 1524655"/>
                    <a:gd name="connsiteY4744" fmla="*/ 1172607 h 1268099"/>
                    <a:gd name="connsiteX4745" fmla="*/ 495517 w 1524655"/>
                    <a:gd name="connsiteY4745" fmla="*/ 1172292 h 1268099"/>
                    <a:gd name="connsiteX4746" fmla="*/ 496549 w 1524655"/>
                    <a:gd name="connsiteY4746" fmla="*/ 1171466 h 1268099"/>
                    <a:gd name="connsiteX4747" fmla="*/ 499318 w 1524655"/>
                    <a:gd name="connsiteY4747" fmla="*/ 1169244 h 1268099"/>
                    <a:gd name="connsiteX4748" fmla="*/ 499864 w 1524655"/>
                    <a:gd name="connsiteY4748" fmla="*/ 1168807 h 1268099"/>
                    <a:gd name="connsiteX4749" fmla="*/ 500301 w 1524655"/>
                    <a:gd name="connsiteY4749" fmla="*/ 1168248 h 1268099"/>
                    <a:gd name="connsiteX4750" fmla="*/ 503908 w 1524655"/>
                    <a:gd name="connsiteY4750" fmla="*/ 1163634 h 1268099"/>
                    <a:gd name="connsiteX4751" fmla="*/ 506943 w 1524655"/>
                    <a:gd name="connsiteY4751" fmla="*/ 1160962 h 1268099"/>
                    <a:gd name="connsiteX4752" fmla="*/ 507380 w 1524655"/>
                    <a:gd name="connsiteY4752" fmla="*/ 1160598 h 1268099"/>
                    <a:gd name="connsiteX4753" fmla="*/ 507733 w 1524655"/>
                    <a:gd name="connsiteY4753" fmla="*/ 1160149 h 1268099"/>
                    <a:gd name="connsiteX4754" fmla="*/ 508995 w 1524655"/>
                    <a:gd name="connsiteY4754" fmla="*/ 1158509 h 1268099"/>
                    <a:gd name="connsiteX4755" fmla="*/ 509360 w 1524655"/>
                    <a:gd name="connsiteY4755" fmla="*/ 1158254 h 1268099"/>
                    <a:gd name="connsiteX4756" fmla="*/ 515213 w 1524655"/>
                    <a:gd name="connsiteY4756" fmla="*/ 1155376 h 1268099"/>
                    <a:gd name="connsiteX4757" fmla="*/ 516986 w 1524655"/>
                    <a:gd name="connsiteY4757" fmla="*/ 1154514 h 1268099"/>
                    <a:gd name="connsiteX4758" fmla="*/ 517908 w 1524655"/>
                    <a:gd name="connsiteY4758" fmla="*/ 1152754 h 1268099"/>
                    <a:gd name="connsiteX4759" fmla="*/ 519111 w 1524655"/>
                    <a:gd name="connsiteY4759" fmla="*/ 1150471 h 1268099"/>
                    <a:gd name="connsiteX4760" fmla="*/ 519706 w 1524655"/>
                    <a:gd name="connsiteY4760" fmla="*/ 1149353 h 1268099"/>
                    <a:gd name="connsiteX4761" fmla="*/ 519791 w 1524655"/>
                    <a:gd name="connsiteY4761" fmla="*/ 1148091 h 1268099"/>
                    <a:gd name="connsiteX4762" fmla="*/ 519948 w 1524655"/>
                    <a:gd name="connsiteY4762" fmla="*/ 1145893 h 1268099"/>
                    <a:gd name="connsiteX4763" fmla="*/ 520021 w 1524655"/>
                    <a:gd name="connsiteY4763" fmla="*/ 1144958 h 1268099"/>
                    <a:gd name="connsiteX4764" fmla="*/ 519803 w 1524655"/>
                    <a:gd name="connsiteY4764" fmla="*/ 1144059 h 1268099"/>
                    <a:gd name="connsiteX4765" fmla="*/ 519451 w 1524655"/>
                    <a:gd name="connsiteY4765" fmla="*/ 1142553 h 1268099"/>
                    <a:gd name="connsiteX4766" fmla="*/ 520895 w 1524655"/>
                    <a:gd name="connsiteY4766" fmla="*/ 1139652 h 1268099"/>
                    <a:gd name="connsiteX4767" fmla="*/ 521284 w 1524655"/>
                    <a:gd name="connsiteY4767" fmla="*/ 1138886 h 1268099"/>
                    <a:gd name="connsiteX4768" fmla="*/ 521442 w 1524655"/>
                    <a:gd name="connsiteY4768" fmla="*/ 1138036 h 1268099"/>
                    <a:gd name="connsiteX4769" fmla="*/ 521733 w 1524655"/>
                    <a:gd name="connsiteY4769" fmla="*/ 1136433 h 1268099"/>
                    <a:gd name="connsiteX4770" fmla="*/ 521794 w 1524655"/>
                    <a:gd name="connsiteY4770" fmla="*/ 1136106 h 1268099"/>
                    <a:gd name="connsiteX4771" fmla="*/ 521818 w 1524655"/>
                    <a:gd name="connsiteY4771" fmla="*/ 1135753 h 1268099"/>
                    <a:gd name="connsiteX4772" fmla="*/ 521952 w 1524655"/>
                    <a:gd name="connsiteY4772" fmla="*/ 1133786 h 1268099"/>
                    <a:gd name="connsiteX4773" fmla="*/ 522693 w 1524655"/>
                    <a:gd name="connsiteY4773" fmla="*/ 1133531 h 1268099"/>
                    <a:gd name="connsiteX4774" fmla="*/ 526056 w 1524655"/>
                    <a:gd name="connsiteY4774" fmla="*/ 1133155 h 1268099"/>
                    <a:gd name="connsiteX4775" fmla="*/ 527817 w 1524655"/>
                    <a:gd name="connsiteY4775" fmla="*/ 1133204 h 1268099"/>
                    <a:gd name="connsiteX4776" fmla="*/ 529857 w 1524655"/>
                    <a:gd name="connsiteY4776" fmla="*/ 1133616 h 1268099"/>
                    <a:gd name="connsiteX4777" fmla="*/ 530719 w 1524655"/>
                    <a:gd name="connsiteY4777" fmla="*/ 1134005 h 1268099"/>
                    <a:gd name="connsiteX4778" fmla="*/ 531581 w 1524655"/>
                    <a:gd name="connsiteY4778" fmla="*/ 1134636 h 1268099"/>
                    <a:gd name="connsiteX4779" fmla="*/ 533075 w 1524655"/>
                    <a:gd name="connsiteY4779" fmla="*/ 1136482 h 1268099"/>
                    <a:gd name="connsiteX4780" fmla="*/ 534131 w 1524655"/>
                    <a:gd name="connsiteY4780" fmla="*/ 1138571 h 1268099"/>
                    <a:gd name="connsiteX4781" fmla="*/ 534374 w 1524655"/>
                    <a:gd name="connsiteY4781" fmla="*/ 1139056 h 1268099"/>
                    <a:gd name="connsiteX4782" fmla="*/ 534702 w 1524655"/>
                    <a:gd name="connsiteY4782" fmla="*/ 1139481 h 1268099"/>
                    <a:gd name="connsiteX4783" fmla="*/ 536123 w 1524655"/>
                    <a:gd name="connsiteY4783" fmla="*/ 1141364 h 1268099"/>
                    <a:gd name="connsiteX4784" fmla="*/ 536827 w 1524655"/>
                    <a:gd name="connsiteY4784" fmla="*/ 1142299 h 1268099"/>
                    <a:gd name="connsiteX4785" fmla="*/ 537823 w 1524655"/>
                    <a:gd name="connsiteY4785" fmla="*/ 1142906 h 1268099"/>
                    <a:gd name="connsiteX4786" fmla="*/ 539778 w 1524655"/>
                    <a:gd name="connsiteY4786" fmla="*/ 1144096 h 1268099"/>
                    <a:gd name="connsiteX4787" fmla="*/ 541162 w 1524655"/>
                    <a:gd name="connsiteY4787" fmla="*/ 1144934 h 1268099"/>
                    <a:gd name="connsiteX4788" fmla="*/ 542777 w 1524655"/>
                    <a:gd name="connsiteY4788" fmla="*/ 1144970 h 1268099"/>
                    <a:gd name="connsiteX4789" fmla="*/ 546226 w 1524655"/>
                    <a:gd name="connsiteY4789" fmla="*/ 1145055 h 1268099"/>
                    <a:gd name="connsiteX4790" fmla="*/ 546930 w 1524655"/>
                    <a:gd name="connsiteY4790" fmla="*/ 1145067 h 1268099"/>
                    <a:gd name="connsiteX4791" fmla="*/ 547622 w 1524655"/>
                    <a:gd name="connsiteY4791" fmla="*/ 1144921 h 1268099"/>
                    <a:gd name="connsiteX4792" fmla="*/ 557166 w 1524655"/>
                    <a:gd name="connsiteY4792" fmla="*/ 1142930 h 1268099"/>
                    <a:gd name="connsiteX4793" fmla="*/ 556802 w 1524655"/>
                    <a:gd name="connsiteY4793" fmla="*/ 1144460 h 1268099"/>
                    <a:gd name="connsiteX4794" fmla="*/ 557251 w 1524655"/>
                    <a:gd name="connsiteY4794" fmla="*/ 1145990 h 1268099"/>
                    <a:gd name="connsiteX4795" fmla="*/ 557591 w 1524655"/>
                    <a:gd name="connsiteY4795" fmla="*/ 1147192 h 1268099"/>
                    <a:gd name="connsiteX4796" fmla="*/ 557895 w 1524655"/>
                    <a:gd name="connsiteY4796" fmla="*/ 1148248 h 1268099"/>
                    <a:gd name="connsiteX4797" fmla="*/ 558551 w 1524655"/>
                    <a:gd name="connsiteY4797" fmla="*/ 1149123 h 1268099"/>
                    <a:gd name="connsiteX4798" fmla="*/ 559595 w 1524655"/>
                    <a:gd name="connsiteY4798" fmla="*/ 1150532 h 1268099"/>
                    <a:gd name="connsiteX4799" fmla="*/ 560360 w 1524655"/>
                    <a:gd name="connsiteY4799" fmla="*/ 1151576 h 1268099"/>
                    <a:gd name="connsiteX4800" fmla="*/ 561489 w 1524655"/>
                    <a:gd name="connsiteY4800" fmla="*/ 1152219 h 1268099"/>
                    <a:gd name="connsiteX4801" fmla="*/ 565982 w 1524655"/>
                    <a:gd name="connsiteY4801" fmla="*/ 1154745 h 1268099"/>
                    <a:gd name="connsiteX4802" fmla="*/ 567646 w 1524655"/>
                    <a:gd name="connsiteY4802" fmla="*/ 1155680 h 1268099"/>
                    <a:gd name="connsiteX4803" fmla="*/ 569540 w 1524655"/>
                    <a:gd name="connsiteY4803" fmla="*/ 1155498 h 1268099"/>
                    <a:gd name="connsiteX4804" fmla="*/ 572527 w 1524655"/>
                    <a:gd name="connsiteY4804" fmla="*/ 1155219 h 1268099"/>
                    <a:gd name="connsiteX4805" fmla="*/ 574422 w 1524655"/>
                    <a:gd name="connsiteY4805" fmla="*/ 1155231 h 1268099"/>
                    <a:gd name="connsiteX4806" fmla="*/ 575077 w 1524655"/>
                    <a:gd name="connsiteY4806" fmla="*/ 1155486 h 1268099"/>
                    <a:gd name="connsiteX4807" fmla="*/ 576110 w 1524655"/>
                    <a:gd name="connsiteY4807" fmla="*/ 1155874 h 1268099"/>
                    <a:gd name="connsiteX4808" fmla="*/ 577214 w 1524655"/>
                    <a:gd name="connsiteY4808" fmla="*/ 1155874 h 1268099"/>
                    <a:gd name="connsiteX4809" fmla="*/ 579340 w 1524655"/>
                    <a:gd name="connsiteY4809" fmla="*/ 1155874 h 1268099"/>
                    <a:gd name="connsiteX4810" fmla="*/ 580445 w 1524655"/>
                    <a:gd name="connsiteY4810" fmla="*/ 1155874 h 1268099"/>
                    <a:gd name="connsiteX4811" fmla="*/ 581477 w 1524655"/>
                    <a:gd name="connsiteY4811" fmla="*/ 1155486 h 1268099"/>
                    <a:gd name="connsiteX4812" fmla="*/ 583140 w 1524655"/>
                    <a:gd name="connsiteY4812" fmla="*/ 1154854 h 1268099"/>
                    <a:gd name="connsiteX4813" fmla="*/ 585387 w 1524655"/>
                    <a:gd name="connsiteY4813" fmla="*/ 1154004 h 1268099"/>
                    <a:gd name="connsiteX4814" fmla="*/ 586443 w 1524655"/>
                    <a:gd name="connsiteY4814" fmla="*/ 1151855 h 1268099"/>
                    <a:gd name="connsiteX4815" fmla="*/ 587487 w 1524655"/>
                    <a:gd name="connsiteY4815" fmla="*/ 1149730 h 1268099"/>
                    <a:gd name="connsiteX4816" fmla="*/ 588180 w 1524655"/>
                    <a:gd name="connsiteY4816" fmla="*/ 1148334 h 1268099"/>
                    <a:gd name="connsiteX4817" fmla="*/ 588107 w 1524655"/>
                    <a:gd name="connsiteY4817" fmla="*/ 1146779 h 1268099"/>
                    <a:gd name="connsiteX4818" fmla="*/ 588046 w 1524655"/>
                    <a:gd name="connsiteY4818" fmla="*/ 1145492 h 1268099"/>
                    <a:gd name="connsiteX4819" fmla="*/ 587973 w 1524655"/>
                    <a:gd name="connsiteY4819" fmla="*/ 1143865 h 1268099"/>
                    <a:gd name="connsiteX4820" fmla="*/ 587111 w 1524655"/>
                    <a:gd name="connsiteY4820" fmla="*/ 1142505 h 1268099"/>
                    <a:gd name="connsiteX4821" fmla="*/ 586698 w 1524655"/>
                    <a:gd name="connsiteY4821" fmla="*/ 1141849 h 1268099"/>
                    <a:gd name="connsiteX4822" fmla="*/ 587900 w 1524655"/>
                    <a:gd name="connsiteY4822" fmla="*/ 1141631 h 1268099"/>
                    <a:gd name="connsiteX4823" fmla="*/ 588520 w 1524655"/>
                    <a:gd name="connsiteY4823" fmla="*/ 1141521 h 1268099"/>
                    <a:gd name="connsiteX4824" fmla="*/ 589102 w 1524655"/>
                    <a:gd name="connsiteY4824" fmla="*/ 1141291 h 1268099"/>
                    <a:gd name="connsiteX4825" fmla="*/ 599788 w 1524655"/>
                    <a:gd name="connsiteY4825" fmla="*/ 1137040 h 1268099"/>
                    <a:gd name="connsiteX4826" fmla="*/ 600238 w 1524655"/>
                    <a:gd name="connsiteY4826" fmla="*/ 1136859 h 1268099"/>
                    <a:gd name="connsiteX4827" fmla="*/ 600650 w 1524655"/>
                    <a:gd name="connsiteY4827" fmla="*/ 1136616 h 1268099"/>
                    <a:gd name="connsiteX4828" fmla="*/ 616327 w 1524655"/>
                    <a:gd name="connsiteY4828" fmla="*/ 1127326 h 1268099"/>
                    <a:gd name="connsiteX4829" fmla="*/ 617602 w 1524655"/>
                    <a:gd name="connsiteY4829" fmla="*/ 1126573 h 1268099"/>
                    <a:gd name="connsiteX4830" fmla="*/ 618379 w 1524655"/>
                    <a:gd name="connsiteY4830" fmla="*/ 1125311 h 1268099"/>
                    <a:gd name="connsiteX4831" fmla="*/ 619873 w 1524655"/>
                    <a:gd name="connsiteY4831" fmla="*/ 1122906 h 1268099"/>
                    <a:gd name="connsiteX4832" fmla="*/ 620723 w 1524655"/>
                    <a:gd name="connsiteY4832" fmla="*/ 1121546 h 1268099"/>
                    <a:gd name="connsiteX4833" fmla="*/ 620783 w 1524655"/>
                    <a:gd name="connsiteY4833" fmla="*/ 1119931 h 1268099"/>
                    <a:gd name="connsiteX4834" fmla="*/ 620844 w 1524655"/>
                    <a:gd name="connsiteY4834" fmla="*/ 1118171 h 1268099"/>
                    <a:gd name="connsiteX4835" fmla="*/ 620868 w 1524655"/>
                    <a:gd name="connsiteY4835" fmla="*/ 1117478 h 1268099"/>
                    <a:gd name="connsiteX4836" fmla="*/ 620735 w 1524655"/>
                    <a:gd name="connsiteY4836" fmla="*/ 1116786 h 1268099"/>
                    <a:gd name="connsiteX4837" fmla="*/ 620456 w 1524655"/>
                    <a:gd name="connsiteY4837" fmla="*/ 1115305 h 1268099"/>
                    <a:gd name="connsiteX4838" fmla="*/ 620346 w 1524655"/>
                    <a:gd name="connsiteY4838" fmla="*/ 1114758 h 1268099"/>
                    <a:gd name="connsiteX4839" fmla="*/ 620201 w 1524655"/>
                    <a:gd name="connsiteY4839" fmla="*/ 1114394 h 1268099"/>
                    <a:gd name="connsiteX4840" fmla="*/ 620370 w 1524655"/>
                    <a:gd name="connsiteY4840" fmla="*/ 1114139 h 1268099"/>
                    <a:gd name="connsiteX4841" fmla="*/ 622629 w 1524655"/>
                    <a:gd name="connsiteY4841" fmla="*/ 1111601 h 1268099"/>
                    <a:gd name="connsiteX4842" fmla="*/ 624560 w 1524655"/>
                    <a:gd name="connsiteY4842" fmla="*/ 1109986 h 1268099"/>
                    <a:gd name="connsiteX4843" fmla="*/ 627158 w 1524655"/>
                    <a:gd name="connsiteY4843" fmla="*/ 1108832 h 1268099"/>
                    <a:gd name="connsiteX4844" fmla="*/ 631069 w 1524655"/>
                    <a:gd name="connsiteY4844" fmla="*/ 1107667 h 1268099"/>
                    <a:gd name="connsiteX4845" fmla="*/ 631846 w 1524655"/>
                    <a:gd name="connsiteY4845" fmla="*/ 1107424 h 1268099"/>
                    <a:gd name="connsiteX4846" fmla="*/ 632550 w 1524655"/>
                    <a:gd name="connsiteY4846" fmla="*/ 1106999 h 1268099"/>
                    <a:gd name="connsiteX4847" fmla="*/ 633728 w 1524655"/>
                    <a:gd name="connsiteY4847" fmla="*/ 1106258 h 1268099"/>
                    <a:gd name="connsiteX4848" fmla="*/ 635573 w 1524655"/>
                    <a:gd name="connsiteY4848" fmla="*/ 1107910 h 1268099"/>
                    <a:gd name="connsiteX4849" fmla="*/ 636496 w 1524655"/>
                    <a:gd name="connsiteY4849" fmla="*/ 1108735 h 1268099"/>
                    <a:gd name="connsiteX4850" fmla="*/ 637698 w 1524655"/>
                    <a:gd name="connsiteY4850" fmla="*/ 1109816 h 1268099"/>
                    <a:gd name="connsiteX4851" fmla="*/ 639277 w 1524655"/>
                    <a:gd name="connsiteY4851" fmla="*/ 1110156 h 1268099"/>
                    <a:gd name="connsiteX4852" fmla="*/ 641050 w 1524655"/>
                    <a:gd name="connsiteY4852" fmla="*/ 1110533 h 1268099"/>
                    <a:gd name="connsiteX4853" fmla="*/ 641961 w 1524655"/>
                    <a:gd name="connsiteY4853" fmla="*/ 1110727 h 1268099"/>
                    <a:gd name="connsiteX4854" fmla="*/ 642896 w 1524655"/>
                    <a:gd name="connsiteY4854" fmla="*/ 1110642 h 1268099"/>
                    <a:gd name="connsiteX4855" fmla="*/ 647158 w 1524655"/>
                    <a:gd name="connsiteY4855" fmla="*/ 1110241 h 1268099"/>
                    <a:gd name="connsiteX4856" fmla="*/ 649258 w 1524655"/>
                    <a:gd name="connsiteY4856" fmla="*/ 1110278 h 1268099"/>
                    <a:gd name="connsiteX4857" fmla="*/ 657953 w 1524655"/>
                    <a:gd name="connsiteY4857" fmla="*/ 1112221 h 1268099"/>
                    <a:gd name="connsiteX4858" fmla="*/ 658888 w 1524655"/>
                    <a:gd name="connsiteY4858" fmla="*/ 1112427 h 1268099"/>
                    <a:gd name="connsiteX4859" fmla="*/ 659835 w 1524655"/>
                    <a:gd name="connsiteY4859" fmla="*/ 1112342 h 1268099"/>
                    <a:gd name="connsiteX4860" fmla="*/ 664194 w 1524655"/>
                    <a:gd name="connsiteY4860" fmla="*/ 1111941 h 1268099"/>
                    <a:gd name="connsiteX4861" fmla="*/ 665239 w 1524655"/>
                    <a:gd name="connsiteY4861" fmla="*/ 1111844 h 1268099"/>
                    <a:gd name="connsiteX4862" fmla="*/ 666186 w 1524655"/>
                    <a:gd name="connsiteY4862" fmla="*/ 1111407 h 1268099"/>
                    <a:gd name="connsiteX4863" fmla="*/ 672512 w 1524655"/>
                    <a:gd name="connsiteY4863" fmla="*/ 1108480 h 1268099"/>
                    <a:gd name="connsiteX4864" fmla="*/ 672609 w 1524655"/>
                    <a:gd name="connsiteY4864" fmla="*/ 1108432 h 1268099"/>
                    <a:gd name="connsiteX4865" fmla="*/ 672792 w 1524655"/>
                    <a:gd name="connsiteY4865" fmla="*/ 1108881 h 1268099"/>
                    <a:gd name="connsiteX4866" fmla="*/ 673144 w 1524655"/>
                    <a:gd name="connsiteY4866" fmla="*/ 1108177 h 1268099"/>
                    <a:gd name="connsiteX4867" fmla="*/ 674747 w 1524655"/>
                    <a:gd name="connsiteY4867" fmla="*/ 1107424 h 1268099"/>
                    <a:gd name="connsiteX4868" fmla="*/ 675633 w 1524655"/>
                    <a:gd name="connsiteY4868" fmla="*/ 1105141 h 1268099"/>
                    <a:gd name="connsiteX4869" fmla="*/ 676034 w 1524655"/>
                    <a:gd name="connsiteY4869" fmla="*/ 1104085 h 1268099"/>
                    <a:gd name="connsiteX4870" fmla="*/ 676216 w 1524655"/>
                    <a:gd name="connsiteY4870" fmla="*/ 1102494 h 1268099"/>
                    <a:gd name="connsiteX4871" fmla="*/ 676216 w 1524655"/>
                    <a:gd name="connsiteY4871" fmla="*/ 1102021 h 1268099"/>
                    <a:gd name="connsiteX4872" fmla="*/ 678778 w 1524655"/>
                    <a:gd name="connsiteY4872" fmla="*/ 1096896 h 1268099"/>
                    <a:gd name="connsiteX4873" fmla="*/ 679713 w 1524655"/>
                    <a:gd name="connsiteY4873" fmla="*/ 1095633 h 1268099"/>
                    <a:gd name="connsiteX4874" fmla="*/ 680284 w 1524655"/>
                    <a:gd name="connsiteY4874" fmla="*/ 1094832 h 1268099"/>
                    <a:gd name="connsiteX4875" fmla="*/ 681425 w 1524655"/>
                    <a:gd name="connsiteY4875" fmla="*/ 1093241 h 1268099"/>
                    <a:gd name="connsiteX4876" fmla="*/ 681425 w 1524655"/>
                    <a:gd name="connsiteY4876" fmla="*/ 1091298 h 1268099"/>
                    <a:gd name="connsiteX4877" fmla="*/ 681425 w 1524655"/>
                    <a:gd name="connsiteY4877" fmla="*/ 1090023 h 1268099"/>
                    <a:gd name="connsiteX4878" fmla="*/ 680915 w 1524655"/>
                    <a:gd name="connsiteY4878" fmla="*/ 1088809 h 1268099"/>
                    <a:gd name="connsiteX4879" fmla="*/ 675609 w 1524655"/>
                    <a:gd name="connsiteY4879" fmla="*/ 1076836 h 1268099"/>
                    <a:gd name="connsiteX4880" fmla="*/ 671820 w 1524655"/>
                    <a:gd name="connsiteY4880" fmla="*/ 1064122 h 1268099"/>
                    <a:gd name="connsiteX4881" fmla="*/ 671602 w 1524655"/>
                    <a:gd name="connsiteY4881" fmla="*/ 1063369 h 1268099"/>
                    <a:gd name="connsiteX4882" fmla="*/ 671189 w 1524655"/>
                    <a:gd name="connsiteY4882" fmla="*/ 1062702 h 1268099"/>
                    <a:gd name="connsiteX4883" fmla="*/ 669586 w 1524655"/>
                    <a:gd name="connsiteY4883" fmla="*/ 1060079 h 1268099"/>
                    <a:gd name="connsiteX4884" fmla="*/ 669112 w 1524655"/>
                    <a:gd name="connsiteY4884" fmla="*/ 1058658 h 1268099"/>
                    <a:gd name="connsiteX4885" fmla="*/ 669683 w 1524655"/>
                    <a:gd name="connsiteY4885" fmla="*/ 1056545 h 1268099"/>
                    <a:gd name="connsiteX4886" fmla="*/ 672792 w 1524655"/>
                    <a:gd name="connsiteY4886" fmla="*/ 1050340 h 1268099"/>
                    <a:gd name="connsiteX4887" fmla="*/ 673314 w 1524655"/>
                    <a:gd name="connsiteY4887" fmla="*/ 1049284 h 1268099"/>
                    <a:gd name="connsiteX4888" fmla="*/ 673411 w 1524655"/>
                    <a:gd name="connsiteY4888" fmla="*/ 1048118 h 1268099"/>
                    <a:gd name="connsiteX4889" fmla="*/ 674103 w 1524655"/>
                    <a:gd name="connsiteY4889" fmla="*/ 1039581 h 1268099"/>
                    <a:gd name="connsiteX4890" fmla="*/ 674188 w 1524655"/>
                    <a:gd name="connsiteY4890" fmla="*/ 1038440 h 1268099"/>
                    <a:gd name="connsiteX4891" fmla="*/ 673860 w 1524655"/>
                    <a:gd name="connsiteY4891" fmla="*/ 1037347 h 1268099"/>
                    <a:gd name="connsiteX4892" fmla="*/ 671614 w 1524655"/>
                    <a:gd name="connsiteY4892" fmla="*/ 1029843 h 1268099"/>
                    <a:gd name="connsiteX4893" fmla="*/ 671468 w 1524655"/>
                    <a:gd name="connsiteY4893" fmla="*/ 1029381 h 1268099"/>
                    <a:gd name="connsiteX4894" fmla="*/ 671262 w 1524655"/>
                    <a:gd name="connsiteY4894" fmla="*/ 1028944 h 1268099"/>
                    <a:gd name="connsiteX4895" fmla="*/ 657686 w 1524655"/>
                    <a:gd name="connsiteY4895" fmla="*/ 1000870 h 1268099"/>
                    <a:gd name="connsiteX4896" fmla="*/ 655257 w 1524655"/>
                    <a:gd name="connsiteY4896" fmla="*/ 994021 h 1268099"/>
                    <a:gd name="connsiteX4897" fmla="*/ 650946 w 1524655"/>
                    <a:gd name="connsiteY4897" fmla="*/ 971787 h 1268099"/>
                    <a:gd name="connsiteX4898" fmla="*/ 650570 w 1524655"/>
                    <a:gd name="connsiteY4898" fmla="*/ 964744 h 1268099"/>
                    <a:gd name="connsiteX4899" fmla="*/ 652501 w 1524655"/>
                    <a:gd name="connsiteY4899" fmla="*/ 959013 h 1268099"/>
                    <a:gd name="connsiteX4900" fmla="*/ 653764 w 1524655"/>
                    <a:gd name="connsiteY4900" fmla="*/ 955237 h 1268099"/>
                    <a:gd name="connsiteX4901" fmla="*/ 651651 w 1524655"/>
                    <a:gd name="connsiteY4901" fmla="*/ 953330 h 1268099"/>
                    <a:gd name="connsiteX4902" fmla="*/ 652112 w 1524655"/>
                    <a:gd name="connsiteY4902" fmla="*/ 952614 h 1268099"/>
                    <a:gd name="connsiteX4903" fmla="*/ 652440 w 1524655"/>
                    <a:gd name="connsiteY4903" fmla="*/ 952104 h 1268099"/>
                    <a:gd name="connsiteX4904" fmla="*/ 652671 w 1524655"/>
                    <a:gd name="connsiteY4904" fmla="*/ 951545 h 1268099"/>
                    <a:gd name="connsiteX4905" fmla="*/ 656557 w 1524655"/>
                    <a:gd name="connsiteY4905" fmla="*/ 941831 h 1268099"/>
                    <a:gd name="connsiteX4906" fmla="*/ 658949 w 1524655"/>
                    <a:gd name="connsiteY4906" fmla="*/ 938746 h 1268099"/>
                    <a:gd name="connsiteX4907" fmla="*/ 660066 w 1524655"/>
                    <a:gd name="connsiteY4907" fmla="*/ 937313 h 1268099"/>
                    <a:gd name="connsiteX4908" fmla="*/ 660212 w 1524655"/>
                    <a:gd name="connsiteY4908" fmla="*/ 935504 h 1268099"/>
                    <a:gd name="connsiteX4909" fmla="*/ 660892 w 1524655"/>
                    <a:gd name="connsiteY4909" fmla="*/ 926907 h 1268099"/>
                    <a:gd name="connsiteX4910" fmla="*/ 660916 w 1524655"/>
                    <a:gd name="connsiteY4910" fmla="*/ 926579 h 1268099"/>
                    <a:gd name="connsiteX4911" fmla="*/ 660904 w 1524655"/>
                    <a:gd name="connsiteY4911" fmla="*/ 926239 h 1268099"/>
                    <a:gd name="connsiteX4912" fmla="*/ 660418 w 1524655"/>
                    <a:gd name="connsiteY4912" fmla="*/ 911789 h 1268099"/>
                    <a:gd name="connsiteX4913" fmla="*/ 662555 w 1524655"/>
                    <a:gd name="connsiteY4913" fmla="*/ 901613 h 1268099"/>
                    <a:gd name="connsiteX4914" fmla="*/ 662628 w 1524655"/>
                    <a:gd name="connsiteY4914" fmla="*/ 901237 h 1268099"/>
                    <a:gd name="connsiteX4915" fmla="*/ 662652 w 1524655"/>
                    <a:gd name="connsiteY4915" fmla="*/ 900873 h 1268099"/>
                    <a:gd name="connsiteX4916" fmla="*/ 662919 w 1524655"/>
                    <a:gd name="connsiteY4916" fmla="*/ 897703 h 1268099"/>
                    <a:gd name="connsiteX4917" fmla="*/ 663247 w 1524655"/>
                    <a:gd name="connsiteY4917" fmla="*/ 897169 h 1268099"/>
                    <a:gd name="connsiteX4918" fmla="*/ 664000 w 1524655"/>
                    <a:gd name="connsiteY4918" fmla="*/ 895943 h 1268099"/>
                    <a:gd name="connsiteX4919" fmla="*/ 664134 w 1524655"/>
                    <a:gd name="connsiteY4919" fmla="*/ 894534 h 1268099"/>
                    <a:gd name="connsiteX4920" fmla="*/ 664243 w 1524655"/>
                    <a:gd name="connsiteY4920" fmla="*/ 893417 h 1268099"/>
                    <a:gd name="connsiteX4921" fmla="*/ 664522 w 1524655"/>
                    <a:gd name="connsiteY4921" fmla="*/ 890527 h 1268099"/>
                    <a:gd name="connsiteX4922" fmla="*/ 662446 w 1524655"/>
                    <a:gd name="connsiteY4922" fmla="*/ 888499 h 1268099"/>
                    <a:gd name="connsiteX4923" fmla="*/ 661195 w 1524655"/>
                    <a:gd name="connsiteY4923" fmla="*/ 887272 h 1268099"/>
                    <a:gd name="connsiteX4924" fmla="*/ 660637 w 1524655"/>
                    <a:gd name="connsiteY4924" fmla="*/ 886714 h 1268099"/>
                    <a:gd name="connsiteX4925" fmla="*/ 660746 w 1524655"/>
                    <a:gd name="connsiteY4925" fmla="*/ 886131 h 1268099"/>
                    <a:gd name="connsiteX4926" fmla="*/ 661098 w 1524655"/>
                    <a:gd name="connsiteY4926" fmla="*/ 884261 h 1268099"/>
                    <a:gd name="connsiteX4927" fmla="*/ 660321 w 1524655"/>
                    <a:gd name="connsiteY4927" fmla="*/ 882512 h 1268099"/>
                    <a:gd name="connsiteX4928" fmla="*/ 659398 w 1524655"/>
                    <a:gd name="connsiteY4928" fmla="*/ 880460 h 1268099"/>
                    <a:gd name="connsiteX4929" fmla="*/ 659252 w 1524655"/>
                    <a:gd name="connsiteY4929" fmla="*/ 880157 h 1268099"/>
                    <a:gd name="connsiteX4930" fmla="*/ 659082 w 1524655"/>
                    <a:gd name="connsiteY4930" fmla="*/ 879878 h 1268099"/>
                    <a:gd name="connsiteX4931" fmla="*/ 658293 w 1524655"/>
                    <a:gd name="connsiteY4931" fmla="*/ 878542 h 1268099"/>
                    <a:gd name="connsiteX4932" fmla="*/ 657237 w 1524655"/>
                    <a:gd name="connsiteY4932" fmla="*/ 872980 h 1268099"/>
                    <a:gd name="connsiteX4933" fmla="*/ 656969 w 1524655"/>
                    <a:gd name="connsiteY4933" fmla="*/ 871572 h 1268099"/>
                    <a:gd name="connsiteX4934" fmla="*/ 656107 w 1524655"/>
                    <a:gd name="connsiteY4934" fmla="*/ 870442 h 1268099"/>
                    <a:gd name="connsiteX4935" fmla="*/ 654626 w 1524655"/>
                    <a:gd name="connsiteY4935" fmla="*/ 868499 h 1268099"/>
                    <a:gd name="connsiteX4936" fmla="*/ 654019 w 1524655"/>
                    <a:gd name="connsiteY4936" fmla="*/ 867698 h 1268099"/>
                    <a:gd name="connsiteX4937" fmla="*/ 653181 w 1524655"/>
                    <a:gd name="connsiteY4937" fmla="*/ 867139 h 1268099"/>
                    <a:gd name="connsiteX4938" fmla="*/ 649089 w 1524655"/>
                    <a:gd name="connsiteY4938" fmla="*/ 864383 h 1268099"/>
                    <a:gd name="connsiteX4939" fmla="*/ 647595 w 1524655"/>
                    <a:gd name="connsiteY4939" fmla="*/ 863072 h 1268099"/>
                    <a:gd name="connsiteX4940" fmla="*/ 647109 w 1524655"/>
                    <a:gd name="connsiteY4940" fmla="*/ 854414 h 1268099"/>
                    <a:gd name="connsiteX4941" fmla="*/ 647085 w 1524655"/>
                    <a:gd name="connsiteY4941" fmla="*/ 853977 h 1268099"/>
                    <a:gd name="connsiteX4942" fmla="*/ 647000 w 1524655"/>
                    <a:gd name="connsiteY4942" fmla="*/ 853552 h 1268099"/>
                    <a:gd name="connsiteX4943" fmla="*/ 641098 w 1524655"/>
                    <a:gd name="connsiteY4943" fmla="*/ 824153 h 1268099"/>
                    <a:gd name="connsiteX4944" fmla="*/ 641147 w 1524655"/>
                    <a:gd name="connsiteY4944" fmla="*/ 820669 h 1268099"/>
                    <a:gd name="connsiteX4945" fmla="*/ 641159 w 1524655"/>
                    <a:gd name="connsiteY4945" fmla="*/ 819563 h 1268099"/>
                    <a:gd name="connsiteX4946" fmla="*/ 640783 w 1524655"/>
                    <a:gd name="connsiteY4946" fmla="*/ 818531 h 1268099"/>
                    <a:gd name="connsiteX4947" fmla="*/ 638706 w 1524655"/>
                    <a:gd name="connsiteY4947" fmla="*/ 812751 h 1268099"/>
                    <a:gd name="connsiteX4948" fmla="*/ 637553 w 1524655"/>
                    <a:gd name="connsiteY4948" fmla="*/ 806182 h 1268099"/>
                    <a:gd name="connsiteX4949" fmla="*/ 637298 w 1524655"/>
                    <a:gd name="connsiteY4949" fmla="*/ 792424 h 1268099"/>
                    <a:gd name="connsiteX4950" fmla="*/ 642604 w 1524655"/>
                    <a:gd name="connsiteY4950" fmla="*/ 771842 h 1268099"/>
                    <a:gd name="connsiteX4951" fmla="*/ 642714 w 1524655"/>
                    <a:gd name="connsiteY4951" fmla="*/ 771417 h 1268099"/>
                    <a:gd name="connsiteX4952" fmla="*/ 642762 w 1524655"/>
                    <a:gd name="connsiteY4952" fmla="*/ 770979 h 1268099"/>
                    <a:gd name="connsiteX4953" fmla="*/ 644669 w 1524655"/>
                    <a:gd name="connsiteY4953" fmla="*/ 753239 h 1268099"/>
                    <a:gd name="connsiteX4954" fmla="*/ 644778 w 1524655"/>
                    <a:gd name="connsiteY4954" fmla="*/ 752255 h 1268099"/>
                    <a:gd name="connsiteX4955" fmla="*/ 644644 w 1524655"/>
                    <a:gd name="connsiteY4955" fmla="*/ 751672 h 1268099"/>
                    <a:gd name="connsiteX4956" fmla="*/ 649538 w 1524655"/>
                    <a:gd name="connsiteY4956" fmla="*/ 741023 h 1268099"/>
                    <a:gd name="connsiteX4957" fmla="*/ 649708 w 1524655"/>
                    <a:gd name="connsiteY4957" fmla="*/ 740634 h 1268099"/>
                    <a:gd name="connsiteX4958" fmla="*/ 649829 w 1524655"/>
                    <a:gd name="connsiteY4958" fmla="*/ 740234 h 1268099"/>
                    <a:gd name="connsiteX4959" fmla="*/ 650582 w 1524655"/>
                    <a:gd name="connsiteY4959" fmla="*/ 737720 h 1268099"/>
                    <a:gd name="connsiteX4960" fmla="*/ 652209 w 1524655"/>
                    <a:gd name="connsiteY4960" fmla="*/ 735437 h 1268099"/>
                    <a:gd name="connsiteX4961" fmla="*/ 658001 w 1524655"/>
                    <a:gd name="connsiteY4961" fmla="*/ 729669 h 1268099"/>
                    <a:gd name="connsiteX4962" fmla="*/ 658281 w 1524655"/>
                    <a:gd name="connsiteY4962" fmla="*/ 729390 h 1268099"/>
                    <a:gd name="connsiteX4963" fmla="*/ 658524 w 1524655"/>
                    <a:gd name="connsiteY4963" fmla="*/ 729087 h 1268099"/>
                    <a:gd name="connsiteX4964" fmla="*/ 660588 w 1524655"/>
                    <a:gd name="connsiteY4964" fmla="*/ 726415 h 1268099"/>
                    <a:gd name="connsiteX4965" fmla="*/ 660892 w 1524655"/>
                    <a:gd name="connsiteY4965" fmla="*/ 726026 h 1268099"/>
                    <a:gd name="connsiteX4966" fmla="*/ 661134 w 1524655"/>
                    <a:gd name="connsiteY4966" fmla="*/ 725589 h 1268099"/>
                    <a:gd name="connsiteX4967" fmla="*/ 664049 w 1524655"/>
                    <a:gd name="connsiteY4967" fmla="*/ 720198 h 1268099"/>
                    <a:gd name="connsiteX4968" fmla="*/ 665822 w 1524655"/>
                    <a:gd name="connsiteY4968" fmla="*/ 717745 h 1268099"/>
                    <a:gd name="connsiteX4969" fmla="*/ 670023 w 1524655"/>
                    <a:gd name="connsiteY4969" fmla="*/ 711929 h 1268099"/>
                    <a:gd name="connsiteX4970" fmla="*/ 665979 w 1524655"/>
                    <a:gd name="connsiteY4970" fmla="*/ 709913 h 1268099"/>
                    <a:gd name="connsiteX4971" fmla="*/ 667449 w 1524655"/>
                    <a:gd name="connsiteY4971" fmla="*/ 707083 h 1268099"/>
                    <a:gd name="connsiteX4972" fmla="*/ 667971 w 1524655"/>
                    <a:gd name="connsiteY4972" fmla="*/ 706075 h 1268099"/>
                    <a:gd name="connsiteX4973" fmla="*/ 668092 w 1524655"/>
                    <a:gd name="connsiteY4973" fmla="*/ 704946 h 1268099"/>
                    <a:gd name="connsiteX4974" fmla="*/ 668408 w 1524655"/>
                    <a:gd name="connsiteY4974" fmla="*/ 702056 h 1268099"/>
                    <a:gd name="connsiteX4975" fmla="*/ 676107 w 1524655"/>
                    <a:gd name="connsiteY4975" fmla="*/ 682761 h 1268099"/>
                    <a:gd name="connsiteX4976" fmla="*/ 678535 w 1524655"/>
                    <a:gd name="connsiteY4976" fmla="*/ 678839 h 1268099"/>
                    <a:gd name="connsiteX4977" fmla="*/ 692548 w 1524655"/>
                    <a:gd name="connsiteY4977" fmla="*/ 665336 h 1268099"/>
                    <a:gd name="connsiteX4978" fmla="*/ 697575 w 1524655"/>
                    <a:gd name="connsiteY4978" fmla="*/ 662082 h 1268099"/>
                    <a:gd name="connsiteX4979" fmla="*/ 704703 w 1524655"/>
                    <a:gd name="connsiteY4979" fmla="*/ 660151 h 1268099"/>
                    <a:gd name="connsiteX4980" fmla="*/ 705687 w 1524655"/>
                    <a:gd name="connsiteY4980" fmla="*/ 659896 h 1268099"/>
                    <a:gd name="connsiteX4981" fmla="*/ 706525 w 1524655"/>
                    <a:gd name="connsiteY4981" fmla="*/ 659313 h 1268099"/>
                    <a:gd name="connsiteX4982" fmla="*/ 708249 w 1524655"/>
                    <a:gd name="connsiteY4982" fmla="*/ 658135 h 1268099"/>
                    <a:gd name="connsiteX4983" fmla="*/ 708698 w 1524655"/>
                    <a:gd name="connsiteY4983" fmla="*/ 657844 h 1268099"/>
                    <a:gd name="connsiteX4984" fmla="*/ 709087 w 1524655"/>
                    <a:gd name="connsiteY4984" fmla="*/ 657467 h 1268099"/>
                    <a:gd name="connsiteX4985" fmla="*/ 711588 w 1524655"/>
                    <a:gd name="connsiteY4985" fmla="*/ 655015 h 1268099"/>
                    <a:gd name="connsiteX4986" fmla="*/ 712280 w 1524655"/>
                    <a:gd name="connsiteY4986" fmla="*/ 654966 h 1268099"/>
                    <a:gd name="connsiteX4987" fmla="*/ 712997 w 1524655"/>
                    <a:gd name="connsiteY4987" fmla="*/ 654905 h 1268099"/>
                    <a:gd name="connsiteX4988" fmla="*/ 713677 w 1524655"/>
                    <a:gd name="connsiteY4988" fmla="*/ 654687 h 1268099"/>
                    <a:gd name="connsiteX4989" fmla="*/ 715401 w 1524655"/>
                    <a:gd name="connsiteY4989" fmla="*/ 654140 h 1268099"/>
                    <a:gd name="connsiteX4990" fmla="*/ 715923 w 1524655"/>
                    <a:gd name="connsiteY4990" fmla="*/ 653970 h 1268099"/>
                    <a:gd name="connsiteX4991" fmla="*/ 716421 w 1524655"/>
                    <a:gd name="connsiteY4991" fmla="*/ 653715 h 1268099"/>
                    <a:gd name="connsiteX4992" fmla="*/ 722796 w 1524655"/>
                    <a:gd name="connsiteY4992" fmla="*/ 650327 h 1268099"/>
                    <a:gd name="connsiteX4993" fmla="*/ 723185 w 1524655"/>
                    <a:gd name="connsiteY4993" fmla="*/ 650121 h 1268099"/>
                    <a:gd name="connsiteX4994" fmla="*/ 723537 w 1524655"/>
                    <a:gd name="connsiteY4994" fmla="*/ 649866 h 1268099"/>
                    <a:gd name="connsiteX4995" fmla="*/ 725383 w 1524655"/>
                    <a:gd name="connsiteY4995" fmla="*/ 648518 h 1268099"/>
                    <a:gd name="connsiteX4996" fmla="*/ 726342 w 1524655"/>
                    <a:gd name="connsiteY4996" fmla="*/ 649672 h 1268099"/>
                    <a:gd name="connsiteX4997" fmla="*/ 730167 w 1524655"/>
                    <a:gd name="connsiteY4997" fmla="*/ 648530 h 1268099"/>
                    <a:gd name="connsiteX4998" fmla="*/ 732632 w 1524655"/>
                    <a:gd name="connsiteY4998" fmla="*/ 647790 h 1268099"/>
                    <a:gd name="connsiteX4999" fmla="*/ 733446 w 1524655"/>
                    <a:gd name="connsiteY4999" fmla="*/ 647535 h 1268099"/>
                    <a:gd name="connsiteX5000" fmla="*/ 734162 w 1524655"/>
                    <a:gd name="connsiteY5000" fmla="*/ 647085 h 1268099"/>
                    <a:gd name="connsiteX5001" fmla="*/ 736396 w 1524655"/>
                    <a:gd name="connsiteY5001" fmla="*/ 645665 h 1268099"/>
                    <a:gd name="connsiteX5002" fmla="*/ 738291 w 1524655"/>
                    <a:gd name="connsiteY5002" fmla="*/ 645082 h 1268099"/>
                    <a:gd name="connsiteX5003" fmla="*/ 745831 w 1524655"/>
                    <a:gd name="connsiteY5003" fmla="*/ 644815 h 1268099"/>
                    <a:gd name="connsiteX5004" fmla="*/ 755424 w 1524655"/>
                    <a:gd name="connsiteY5004" fmla="*/ 644463 h 1268099"/>
                    <a:gd name="connsiteX5005" fmla="*/ 754623 w 1524655"/>
                    <a:gd name="connsiteY5005" fmla="*/ 642896 h 1268099"/>
                    <a:gd name="connsiteX5006" fmla="*/ 758606 w 1524655"/>
                    <a:gd name="connsiteY5006" fmla="*/ 643163 h 1268099"/>
                    <a:gd name="connsiteX5007" fmla="*/ 761739 w 1524655"/>
                    <a:gd name="connsiteY5007" fmla="*/ 643783 h 1268099"/>
                    <a:gd name="connsiteX5008" fmla="*/ 762528 w 1524655"/>
                    <a:gd name="connsiteY5008" fmla="*/ 644232 h 1268099"/>
                    <a:gd name="connsiteX5009" fmla="*/ 766037 w 1524655"/>
                    <a:gd name="connsiteY5009" fmla="*/ 649878 h 1268099"/>
                    <a:gd name="connsiteX5010" fmla="*/ 766826 w 1524655"/>
                    <a:gd name="connsiteY5010" fmla="*/ 655524 h 1268099"/>
                    <a:gd name="connsiteX5011" fmla="*/ 766669 w 1524655"/>
                    <a:gd name="connsiteY5011" fmla="*/ 671942 h 1268099"/>
                    <a:gd name="connsiteX5012" fmla="*/ 766547 w 1524655"/>
                    <a:gd name="connsiteY5012" fmla="*/ 685263 h 1268099"/>
                    <a:gd name="connsiteX5013" fmla="*/ 776674 w 1524655"/>
                    <a:gd name="connsiteY5013" fmla="*/ 676629 h 1268099"/>
                    <a:gd name="connsiteX5014" fmla="*/ 779079 w 1524655"/>
                    <a:gd name="connsiteY5014" fmla="*/ 674577 h 1268099"/>
                    <a:gd name="connsiteX5015" fmla="*/ 780062 w 1524655"/>
                    <a:gd name="connsiteY5015" fmla="*/ 673739 h 1268099"/>
                    <a:gd name="connsiteX5016" fmla="*/ 780621 w 1524655"/>
                    <a:gd name="connsiteY5016" fmla="*/ 672573 h 1268099"/>
                    <a:gd name="connsiteX5017" fmla="*/ 782503 w 1524655"/>
                    <a:gd name="connsiteY5017" fmla="*/ 668627 h 1268099"/>
                    <a:gd name="connsiteX5018" fmla="*/ 782673 w 1524655"/>
                    <a:gd name="connsiteY5018" fmla="*/ 668287 h 1268099"/>
                    <a:gd name="connsiteX5019" fmla="*/ 782794 w 1524655"/>
                    <a:gd name="connsiteY5019" fmla="*/ 667922 h 1268099"/>
                    <a:gd name="connsiteX5020" fmla="*/ 787457 w 1524655"/>
                    <a:gd name="connsiteY5020" fmla="*/ 653812 h 1268099"/>
                    <a:gd name="connsiteX5021" fmla="*/ 788635 w 1524655"/>
                    <a:gd name="connsiteY5021" fmla="*/ 651274 h 1268099"/>
                    <a:gd name="connsiteX5022" fmla="*/ 789485 w 1524655"/>
                    <a:gd name="connsiteY5022" fmla="*/ 652319 h 1268099"/>
                    <a:gd name="connsiteX5023" fmla="*/ 790651 w 1524655"/>
                    <a:gd name="connsiteY5023" fmla="*/ 653764 h 1268099"/>
                    <a:gd name="connsiteX5024" fmla="*/ 792424 w 1524655"/>
                    <a:gd name="connsiteY5024" fmla="*/ 654310 h 1268099"/>
                    <a:gd name="connsiteX5025" fmla="*/ 795253 w 1524655"/>
                    <a:gd name="connsiteY5025" fmla="*/ 655172 h 1268099"/>
                    <a:gd name="connsiteX5026" fmla="*/ 795800 w 1524655"/>
                    <a:gd name="connsiteY5026" fmla="*/ 655500 h 1268099"/>
                    <a:gd name="connsiteX5027" fmla="*/ 800462 w 1524655"/>
                    <a:gd name="connsiteY5027" fmla="*/ 659434 h 1268099"/>
                    <a:gd name="connsiteX5028" fmla="*/ 801774 w 1524655"/>
                    <a:gd name="connsiteY5028" fmla="*/ 661219 h 1268099"/>
                    <a:gd name="connsiteX5029" fmla="*/ 802126 w 1524655"/>
                    <a:gd name="connsiteY5029" fmla="*/ 661693 h 1268099"/>
                    <a:gd name="connsiteX5030" fmla="*/ 802563 w 1524655"/>
                    <a:gd name="connsiteY5030" fmla="*/ 662082 h 1268099"/>
                    <a:gd name="connsiteX5031" fmla="*/ 803996 w 1524655"/>
                    <a:gd name="connsiteY5031" fmla="*/ 663393 h 1268099"/>
                    <a:gd name="connsiteX5032" fmla="*/ 804336 w 1524655"/>
                    <a:gd name="connsiteY5032" fmla="*/ 663697 h 1268099"/>
                    <a:gd name="connsiteX5033" fmla="*/ 804712 w 1524655"/>
                    <a:gd name="connsiteY5033" fmla="*/ 663952 h 1268099"/>
                    <a:gd name="connsiteX5034" fmla="*/ 806376 w 1524655"/>
                    <a:gd name="connsiteY5034" fmla="*/ 665069 h 1268099"/>
                    <a:gd name="connsiteX5035" fmla="*/ 807688 w 1524655"/>
                    <a:gd name="connsiteY5035" fmla="*/ 665943 h 1268099"/>
                    <a:gd name="connsiteX5036" fmla="*/ 809266 w 1524655"/>
                    <a:gd name="connsiteY5036" fmla="*/ 666077 h 1268099"/>
                    <a:gd name="connsiteX5037" fmla="*/ 810699 w 1524655"/>
                    <a:gd name="connsiteY5037" fmla="*/ 666198 h 1268099"/>
                    <a:gd name="connsiteX5038" fmla="*/ 813407 w 1524655"/>
                    <a:gd name="connsiteY5038" fmla="*/ 666429 h 1268099"/>
                    <a:gd name="connsiteX5039" fmla="*/ 815386 w 1524655"/>
                    <a:gd name="connsiteY5039" fmla="*/ 664571 h 1268099"/>
                    <a:gd name="connsiteX5040" fmla="*/ 816649 w 1524655"/>
                    <a:gd name="connsiteY5040" fmla="*/ 663357 h 1268099"/>
                    <a:gd name="connsiteX5041" fmla="*/ 818543 w 1524655"/>
                    <a:gd name="connsiteY5041" fmla="*/ 661572 h 1268099"/>
                    <a:gd name="connsiteX5042" fmla="*/ 818543 w 1524655"/>
                    <a:gd name="connsiteY5042" fmla="*/ 658961 h 1268099"/>
                    <a:gd name="connsiteX5043" fmla="*/ 818543 w 1524655"/>
                    <a:gd name="connsiteY5043" fmla="*/ 657370 h 1268099"/>
                    <a:gd name="connsiteX5044" fmla="*/ 818543 w 1524655"/>
                    <a:gd name="connsiteY5044" fmla="*/ 656375 h 1268099"/>
                    <a:gd name="connsiteX5045" fmla="*/ 818228 w 1524655"/>
                    <a:gd name="connsiteY5045" fmla="*/ 655440 h 1268099"/>
                    <a:gd name="connsiteX5046" fmla="*/ 816965 w 1524655"/>
                    <a:gd name="connsiteY5046" fmla="*/ 651675 h 1268099"/>
                    <a:gd name="connsiteX5047" fmla="*/ 816734 w 1524655"/>
                    <a:gd name="connsiteY5047" fmla="*/ 650995 h 1268099"/>
                    <a:gd name="connsiteX5048" fmla="*/ 816357 w 1524655"/>
                    <a:gd name="connsiteY5048" fmla="*/ 650388 h 1268099"/>
                    <a:gd name="connsiteX5049" fmla="*/ 815665 w 1524655"/>
                    <a:gd name="connsiteY5049" fmla="*/ 649271 h 1268099"/>
                    <a:gd name="connsiteX5050" fmla="*/ 815131 w 1524655"/>
                    <a:gd name="connsiteY5050" fmla="*/ 648554 h 1268099"/>
                    <a:gd name="connsiteX5051" fmla="*/ 818252 w 1524655"/>
                    <a:gd name="connsiteY5051" fmla="*/ 644644 h 1268099"/>
                    <a:gd name="connsiteX5052" fmla="*/ 820535 w 1524655"/>
                    <a:gd name="connsiteY5052" fmla="*/ 642750 h 1268099"/>
                    <a:gd name="connsiteX5053" fmla="*/ 828634 w 1524655"/>
                    <a:gd name="connsiteY5053" fmla="*/ 637760 h 1268099"/>
                    <a:gd name="connsiteX5054" fmla="*/ 829229 w 1524655"/>
                    <a:gd name="connsiteY5054" fmla="*/ 637395 h 1268099"/>
                    <a:gd name="connsiteX5055" fmla="*/ 829727 w 1524655"/>
                    <a:gd name="connsiteY5055" fmla="*/ 636909 h 1268099"/>
                    <a:gd name="connsiteX5056" fmla="*/ 837256 w 1524655"/>
                    <a:gd name="connsiteY5056" fmla="*/ 629442 h 1268099"/>
                    <a:gd name="connsiteX5057" fmla="*/ 838300 w 1524655"/>
                    <a:gd name="connsiteY5057" fmla="*/ 629211 h 1268099"/>
                    <a:gd name="connsiteX5058" fmla="*/ 841663 w 1524655"/>
                    <a:gd name="connsiteY5058" fmla="*/ 628470 h 1268099"/>
                    <a:gd name="connsiteX5059" fmla="*/ 842756 w 1524655"/>
                    <a:gd name="connsiteY5059" fmla="*/ 625203 h 1268099"/>
                    <a:gd name="connsiteX5060" fmla="*/ 843776 w 1524655"/>
                    <a:gd name="connsiteY5060" fmla="*/ 622168 h 1268099"/>
                    <a:gd name="connsiteX5061" fmla="*/ 844080 w 1524655"/>
                    <a:gd name="connsiteY5061" fmla="*/ 621257 h 1268099"/>
                    <a:gd name="connsiteX5062" fmla="*/ 844092 w 1524655"/>
                    <a:gd name="connsiteY5062" fmla="*/ 620298 h 1268099"/>
                    <a:gd name="connsiteX5063" fmla="*/ 844189 w 1524655"/>
                    <a:gd name="connsiteY5063" fmla="*/ 611009 h 1268099"/>
                    <a:gd name="connsiteX5064" fmla="*/ 844857 w 1524655"/>
                    <a:gd name="connsiteY5064" fmla="*/ 608956 h 1268099"/>
                    <a:gd name="connsiteX5065" fmla="*/ 847868 w 1524655"/>
                    <a:gd name="connsiteY5065" fmla="*/ 603795 h 1268099"/>
                    <a:gd name="connsiteX5066" fmla="*/ 848391 w 1524655"/>
                    <a:gd name="connsiteY5066" fmla="*/ 602909 h 1268099"/>
                    <a:gd name="connsiteX5067" fmla="*/ 848585 w 1524655"/>
                    <a:gd name="connsiteY5067" fmla="*/ 601901 h 1268099"/>
                    <a:gd name="connsiteX5068" fmla="*/ 850406 w 1524655"/>
                    <a:gd name="connsiteY5068" fmla="*/ 592576 h 1268099"/>
                    <a:gd name="connsiteX5069" fmla="*/ 855385 w 1524655"/>
                    <a:gd name="connsiteY5069" fmla="*/ 581562 h 1268099"/>
                    <a:gd name="connsiteX5070" fmla="*/ 855604 w 1524655"/>
                    <a:gd name="connsiteY5070" fmla="*/ 581100 h 1268099"/>
                    <a:gd name="connsiteX5071" fmla="*/ 855725 w 1524655"/>
                    <a:gd name="connsiteY5071" fmla="*/ 580603 h 1268099"/>
                    <a:gd name="connsiteX5072" fmla="*/ 857619 w 1524655"/>
                    <a:gd name="connsiteY5072" fmla="*/ 573414 h 1268099"/>
                    <a:gd name="connsiteX5073" fmla="*/ 861226 w 1524655"/>
                    <a:gd name="connsiteY5073" fmla="*/ 569128 h 1268099"/>
                    <a:gd name="connsiteX5074" fmla="*/ 862051 w 1524655"/>
                    <a:gd name="connsiteY5074" fmla="*/ 568144 h 1268099"/>
                    <a:gd name="connsiteX5075" fmla="*/ 862404 w 1524655"/>
                    <a:gd name="connsiteY5075" fmla="*/ 566905 h 1268099"/>
                    <a:gd name="connsiteX5076" fmla="*/ 863375 w 1524655"/>
                    <a:gd name="connsiteY5076" fmla="*/ 563578 h 1268099"/>
                    <a:gd name="connsiteX5077" fmla="*/ 863836 w 1524655"/>
                    <a:gd name="connsiteY5077" fmla="*/ 562012 h 1268099"/>
                    <a:gd name="connsiteX5078" fmla="*/ 863436 w 1524655"/>
                    <a:gd name="connsiteY5078" fmla="*/ 560409 h 1268099"/>
                    <a:gd name="connsiteX5079" fmla="*/ 862804 w 1524655"/>
                    <a:gd name="connsiteY5079" fmla="*/ 557883 h 1268099"/>
                    <a:gd name="connsiteX5080" fmla="*/ 862671 w 1524655"/>
                    <a:gd name="connsiteY5080" fmla="*/ 557361 h 1268099"/>
                    <a:gd name="connsiteX5081" fmla="*/ 870564 w 1524655"/>
                    <a:gd name="connsiteY5081" fmla="*/ 552492 h 1268099"/>
                    <a:gd name="connsiteX5082" fmla="*/ 872009 w 1524655"/>
                    <a:gd name="connsiteY5082" fmla="*/ 552249 h 1268099"/>
                    <a:gd name="connsiteX5083" fmla="*/ 872373 w 1524655"/>
                    <a:gd name="connsiteY5083" fmla="*/ 552188 h 1268099"/>
                    <a:gd name="connsiteX5084" fmla="*/ 872725 w 1524655"/>
                    <a:gd name="connsiteY5084" fmla="*/ 552091 h 1268099"/>
                    <a:gd name="connsiteX5085" fmla="*/ 874619 w 1524655"/>
                    <a:gd name="connsiteY5085" fmla="*/ 551545 h 1268099"/>
                    <a:gd name="connsiteX5086" fmla="*/ 875214 w 1524655"/>
                    <a:gd name="connsiteY5086" fmla="*/ 551508 h 1268099"/>
                    <a:gd name="connsiteX5087" fmla="*/ 876987 w 1524655"/>
                    <a:gd name="connsiteY5087" fmla="*/ 552261 h 1268099"/>
                    <a:gd name="connsiteX5088" fmla="*/ 879974 w 1524655"/>
                    <a:gd name="connsiteY5088" fmla="*/ 553524 h 1268099"/>
                    <a:gd name="connsiteX5089" fmla="*/ 876878 w 1524655"/>
                    <a:gd name="connsiteY5089" fmla="*/ 561648 h 1268099"/>
                    <a:gd name="connsiteX5090" fmla="*/ 888948 w 1524655"/>
                    <a:gd name="connsiteY5090" fmla="*/ 557737 h 1268099"/>
                    <a:gd name="connsiteX5091" fmla="*/ 899306 w 1524655"/>
                    <a:gd name="connsiteY5091" fmla="*/ 554386 h 1268099"/>
                    <a:gd name="connsiteX5092" fmla="*/ 901395 w 1524655"/>
                    <a:gd name="connsiteY5092" fmla="*/ 554155 h 1268099"/>
                    <a:gd name="connsiteX5093" fmla="*/ 907818 w 1524655"/>
                    <a:gd name="connsiteY5093" fmla="*/ 555904 h 1268099"/>
                    <a:gd name="connsiteX5094" fmla="*/ 909130 w 1524655"/>
                    <a:gd name="connsiteY5094" fmla="*/ 556256 h 1268099"/>
                    <a:gd name="connsiteX5095" fmla="*/ 910465 w 1524655"/>
                    <a:gd name="connsiteY5095" fmla="*/ 556013 h 1268099"/>
                    <a:gd name="connsiteX5096" fmla="*/ 911072 w 1524655"/>
                    <a:gd name="connsiteY5096" fmla="*/ 555904 h 1268099"/>
                    <a:gd name="connsiteX5097" fmla="*/ 913950 w 1524655"/>
                    <a:gd name="connsiteY5097" fmla="*/ 556633 h 1268099"/>
                    <a:gd name="connsiteX5098" fmla="*/ 917095 w 1524655"/>
                    <a:gd name="connsiteY5098" fmla="*/ 557422 h 1268099"/>
                    <a:gd name="connsiteX5099" fmla="*/ 917605 w 1524655"/>
                    <a:gd name="connsiteY5099" fmla="*/ 557555 h 1268099"/>
                    <a:gd name="connsiteX5100" fmla="*/ 918128 w 1524655"/>
                    <a:gd name="connsiteY5100" fmla="*/ 557604 h 1268099"/>
                    <a:gd name="connsiteX5101" fmla="*/ 923835 w 1524655"/>
                    <a:gd name="connsiteY5101" fmla="*/ 558041 h 1268099"/>
                    <a:gd name="connsiteX5102" fmla="*/ 925717 w 1524655"/>
                    <a:gd name="connsiteY5102" fmla="*/ 558891 h 1268099"/>
                    <a:gd name="connsiteX5103" fmla="*/ 927611 w 1524655"/>
                    <a:gd name="connsiteY5103" fmla="*/ 559753 h 1268099"/>
                    <a:gd name="connsiteX5104" fmla="*/ 929639 w 1524655"/>
                    <a:gd name="connsiteY5104" fmla="*/ 559267 h 1268099"/>
                    <a:gd name="connsiteX5105" fmla="*/ 931266 w 1524655"/>
                    <a:gd name="connsiteY5105" fmla="*/ 558891 h 1268099"/>
                    <a:gd name="connsiteX5106" fmla="*/ 932820 w 1524655"/>
                    <a:gd name="connsiteY5106" fmla="*/ 559644 h 1268099"/>
                    <a:gd name="connsiteX5107" fmla="*/ 936038 w 1524655"/>
                    <a:gd name="connsiteY5107" fmla="*/ 561830 h 1268099"/>
                    <a:gd name="connsiteX5108" fmla="*/ 937107 w 1524655"/>
                    <a:gd name="connsiteY5108" fmla="*/ 562558 h 1268099"/>
                    <a:gd name="connsiteX5109" fmla="*/ 938370 w 1524655"/>
                    <a:gd name="connsiteY5109" fmla="*/ 562789 h 1268099"/>
                    <a:gd name="connsiteX5110" fmla="*/ 941296 w 1524655"/>
                    <a:gd name="connsiteY5110" fmla="*/ 563311 h 1268099"/>
                    <a:gd name="connsiteX5111" fmla="*/ 941818 w 1524655"/>
                    <a:gd name="connsiteY5111" fmla="*/ 563408 h 1268099"/>
                    <a:gd name="connsiteX5112" fmla="*/ 942353 w 1524655"/>
                    <a:gd name="connsiteY5112" fmla="*/ 563408 h 1268099"/>
                    <a:gd name="connsiteX5113" fmla="*/ 943446 w 1524655"/>
                    <a:gd name="connsiteY5113" fmla="*/ 563408 h 1268099"/>
                    <a:gd name="connsiteX5114" fmla="*/ 944150 w 1524655"/>
                    <a:gd name="connsiteY5114" fmla="*/ 563408 h 1268099"/>
                    <a:gd name="connsiteX5115" fmla="*/ 944842 w 1524655"/>
                    <a:gd name="connsiteY5115" fmla="*/ 563238 h 1268099"/>
                    <a:gd name="connsiteX5116" fmla="*/ 953391 w 1524655"/>
                    <a:gd name="connsiteY5116" fmla="*/ 561223 h 1268099"/>
                    <a:gd name="connsiteX5117" fmla="*/ 954739 w 1524655"/>
                    <a:gd name="connsiteY5117" fmla="*/ 560919 h 1268099"/>
                    <a:gd name="connsiteX5118" fmla="*/ 955819 w 1524655"/>
                    <a:gd name="connsiteY5118" fmla="*/ 560044 h 1268099"/>
                    <a:gd name="connsiteX5119" fmla="*/ 959073 w 1524655"/>
                    <a:gd name="connsiteY5119" fmla="*/ 557410 h 1268099"/>
                    <a:gd name="connsiteX5120" fmla="*/ 972807 w 1524655"/>
                    <a:gd name="connsiteY5120" fmla="*/ 550792 h 1268099"/>
                    <a:gd name="connsiteX5121" fmla="*/ 975685 w 1524655"/>
                    <a:gd name="connsiteY5121" fmla="*/ 549808 h 1268099"/>
                    <a:gd name="connsiteX5122" fmla="*/ 978527 w 1524655"/>
                    <a:gd name="connsiteY5122" fmla="*/ 549164 h 1268099"/>
                    <a:gd name="connsiteX5123" fmla="*/ 985691 w 1524655"/>
                    <a:gd name="connsiteY5123" fmla="*/ 548715 h 1268099"/>
                    <a:gd name="connsiteX5124" fmla="*/ 986747 w 1524655"/>
                    <a:gd name="connsiteY5124" fmla="*/ 548642 h 1268099"/>
                    <a:gd name="connsiteX5125" fmla="*/ 987731 w 1524655"/>
                    <a:gd name="connsiteY5125" fmla="*/ 548217 h 1268099"/>
                    <a:gd name="connsiteX5126" fmla="*/ 989115 w 1524655"/>
                    <a:gd name="connsiteY5126" fmla="*/ 547610 h 1268099"/>
                    <a:gd name="connsiteX5127" fmla="*/ 991107 w 1524655"/>
                    <a:gd name="connsiteY5127" fmla="*/ 546748 h 1268099"/>
                    <a:gd name="connsiteX5128" fmla="*/ 992042 w 1524655"/>
                    <a:gd name="connsiteY5128" fmla="*/ 544914 h 1268099"/>
                    <a:gd name="connsiteX5129" fmla="*/ 992515 w 1524655"/>
                    <a:gd name="connsiteY5129" fmla="*/ 544951 h 1268099"/>
                    <a:gd name="connsiteX5130" fmla="*/ 992892 w 1524655"/>
                    <a:gd name="connsiteY5130" fmla="*/ 544987 h 1268099"/>
                    <a:gd name="connsiteX5131" fmla="*/ 993268 w 1524655"/>
                    <a:gd name="connsiteY5131" fmla="*/ 544963 h 1268099"/>
                    <a:gd name="connsiteX5132" fmla="*/ 995332 w 1524655"/>
                    <a:gd name="connsiteY5132" fmla="*/ 544866 h 1268099"/>
                    <a:gd name="connsiteX5133" fmla="*/ 997215 w 1524655"/>
                    <a:gd name="connsiteY5133" fmla="*/ 544781 h 1268099"/>
                    <a:gd name="connsiteX5134" fmla="*/ 998720 w 1524655"/>
                    <a:gd name="connsiteY5134" fmla="*/ 543640 h 1268099"/>
                    <a:gd name="connsiteX5135" fmla="*/ 1001550 w 1524655"/>
                    <a:gd name="connsiteY5135" fmla="*/ 541490 h 1268099"/>
                    <a:gd name="connsiteX5136" fmla="*/ 1002011 w 1524655"/>
                    <a:gd name="connsiteY5136" fmla="*/ 541138 h 1268099"/>
                    <a:gd name="connsiteX5137" fmla="*/ 1002399 w 1524655"/>
                    <a:gd name="connsiteY5137" fmla="*/ 540713 h 1268099"/>
                    <a:gd name="connsiteX5138" fmla="*/ 1004925 w 1524655"/>
                    <a:gd name="connsiteY5138" fmla="*/ 537920 h 1268099"/>
                    <a:gd name="connsiteX5139" fmla="*/ 1005362 w 1524655"/>
                    <a:gd name="connsiteY5139" fmla="*/ 537568 h 1268099"/>
                    <a:gd name="connsiteX5140" fmla="*/ 1008629 w 1524655"/>
                    <a:gd name="connsiteY5140" fmla="*/ 537932 h 1268099"/>
                    <a:gd name="connsiteX5141" fmla="*/ 1010377 w 1524655"/>
                    <a:gd name="connsiteY5141" fmla="*/ 538127 h 1268099"/>
                    <a:gd name="connsiteX5142" fmla="*/ 1011956 w 1524655"/>
                    <a:gd name="connsiteY5142" fmla="*/ 537374 h 1268099"/>
                    <a:gd name="connsiteX5143" fmla="*/ 1016097 w 1524655"/>
                    <a:gd name="connsiteY5143" fmla="*/ 535370 h 1268099"/>
                    <a:gd name="connsiteX5144" fmla="*/ 1016582 w 1524655"/>
                    <a:gd name="connsiteY5144" fmla="*/ 535127 h 1268099"/>
                    <a:gd name="connsiteX5145" fmla="*/ 1017020 w 1524655"/>
                    <a:gd name="connsiteY5145" fmla="*/ 534811 h 1268099"/>
                    <a:gd name="connsiteX5146" fmla="*/ 1022593 w 1524655"/>
                    <a:gd name="connsiteY5146" fmla="*/ 530768 h 1268099"/>
                    <a:gd name="connsiteX5147" fmla="*/ 1030850 w 1524655"/>
                    <a:gd name="connsiteY5147" fmla="*/ 526785 h 1268099"/>
                    <a:gd name="connsiteX5148" fmla="*/ 1033024 w 1524655"/>
                    <a:gd name="connsiteY5148" fmla="*/ 526336 h 1268099"/>
                    <a:gd name="connsiteX5149" fmla="*/ 1034020 w 1524655"/>
                    <a:gd name="connsiteY5149" fmla="*/ 526129 h 1268099"/>
                    <a:gd name="connsiteX5150" fmla="*/ 1034882 w 1524655"/>
                    <a:gd name="connsiteY5150" fmla="*/ 525607 h 1268099"/>
                    <a:gd name="connsiteX5151" fmla="*/ 1037675 w 1524655"/>
                    <a:gd name="connsiteY5151" fmla="*/ 523944 h 1268099"/>
                    <a:gd name="connsiteX5152" fmla="*/ 1038294 w 1524655"/>
                    <a:gd name="connsiteY5152" fmla="*/ 523579 h 1268099"/>
                    <a:gd name="connsiteX5153" fmla="*/ 1038804 w 1524655"/>
                    <a:gd name="connsiteY5153" fmla="*/ 523082 h 1268099"/>
                    <a:gd name="connsiteX5154" fmla="*/ 1048215 w 1524655"/>
                    <a:gd name="connsiteY5154" fmla="*/ 513950 h 1268099"/>
                    <a:gd name="connsiteX5155" fmla="*/ 1055877 w 1524655"/>
                    <a:gd name="connsiteY5155" fmla="*/ 511631 h 1268099"/>
                    <a:gd name="connsiteX5156" fmla="*/ 1065421 w 1524655"/>
                    <a:gd name="connsiteY5156" fmla="*/ 508741 h 1268099"/>
                    <a:gd name="connsiteX5157" fmla="*/ 1060686 w 1524655"/>
                    <a:gd name="connsiteY5157" fmla="*/ 503872 h 1268099"/>
                    <a:gd name="connsiteX5158" fmla="*/ 1061123 w 1524655"/>
                    <a:gd name="connsiteY5158" fmla="*/ 501443 h 1268099"/>
                    <a:gd name="connsiteX5159" fmla="*/ 1061293 w 1524655"/>
                    <a:gd name="connsiteY5159" fmla="*/ 500483 h 1268099"/>
                    <a:gd name="connsiteX5160" fmla="*/ 1061499 w 1524655"/>
                    <a:gd name="connsiteY5160" fmla="*/ 499318 h 1268099"/>
                    <a:gd name="connsiteX5161" fmla="*/ 1061269 w 1524655"/>
                    <a:gd name="connsiteY5161" fmla="*/ 498201 h 1268099"/>
                    <a:gd name="connsiteX5162" fmla="*/ 1065349 w 1524655"/>
                    <a:gd name="connsiteY5162" fmla="*/ 489361 h 1268099"/>
                    <a:gd name="connsiteX5163" fmla="*/ 1065555 w 1524655"/>
                    <a:gd name="connsiteY5163" fmla="*/ 488923 h 1268099"/>
                    <a:gd name="connsiteX5164" fmla="*/ 1065689 w 1524655"/>
                    <a:gd name="connsiteY5164" fmla="*/ 488450 h 1268099"/>
                    <a:gd name="connsiteX5165" fmla="*/ 1067182 w 1524655"/>
                    <a:gd name="connsiteY5165" fmla="*/ 483107 h 1268099"/>
                    <a:gd name="connsiteX5166" fmla="*/ 1067316 w 1524655"/>
                    <a:gd name="connsiteY5166" fmla="*/ 482621 h 1268099"/>
                    <a:gd name="connsiteX5167" fmla="*/ 1067364 w 1524655"/>
                    <a:gd name="connsiteY5167" fmla="*/ 482123 h 1268099"/>
                    <a:gd name="connsiteX5168" fmla="*/ 1068469 w 1524655"/>
                    <a:gd name="connsiteY5168" fmla="*/ 471911 h 1268099"/>
                    <a:gd name="connsiteX5169" fmla="*/ 1070886 w 1524655"/>
                    <a:gd name="connsiteY5169" fmla="*/ 462646 h 1268099"/>
                    <a:gd name="connsiteX5170" fmla="*/ 1071056 w 1524655"/>
                    <a:gd name="connsiteY5170" fmla="*/ 462003 h 1268099"/>
                    <a:gd name="connsiteX5171" fmla="*/ 1071080 w 1524655"/>
                    <a:gd name="connsiteY5171" fmla="*/ 461335 h 1268099"/>
                    <a:gd name="connsiteX5172" fmla="*/ 1071420 w 1524655"/>
                    <a:gd name="connsiteY5172" fmla="*/ 451948 h 1268099"/>
                    <a:gd name="connsiteX5173" fmla="*/ 1071250 w 1524655"/>
                    <a:gd name="connsiteY5173" fmla="*/ 442319 h 1268099"/>
                    <a:gd name="connsiteX5174" fmla="*/ 1071238 w 1524655"/>
                    <a:gd name="connsiteY5174" fmla="*/ 441821 h 1268099"/>
                    <a:gd name="connsiteX5175" fmla="*/ 1071153 w 1524655"/>
                    <a:gd name="connsiteY5175" fmla="*/ 441335 h 1268099"/>
                    <a:gd name="connsiteX5176" fmla="*/ 1070181 w 1524655"/>
                    <a:gd name="connsiteY5176" fmla="*/ 436017 h 1268099"/>
                    <a:gd name="connsiteX5177" fmla="*/ 1069987 w 1524655"/>
                    <a:gd name="connsiteY5177" fmla="*/ 434936 h 1268099"/>
                    <a:gd name="connsiteX5178" fmla="*/ 1069429 w 1524655"/>
                    <a:gd name="connsiteY5178" fmla="*/ 433989 h 1268099"/>
                    <a:gd name="connsiteX5179" fmla="*/ 1067073 w 1524655"/>
                    <a:gd name="connsiteY5179" fmla="*/ 430054 h 1268099"/>
                    <a:gd name="connsiteX5180" fmla="*/ 1060443 w 1524655"/>
                    <a:gd name="connsiteY5180" fmla="*/ 418968 h 1268099"/>
                    <a:gd name="connsiteX5181" fmla="*/ 1064656 w 1524655"/>
                    <a:gd name="connsiteY5181" fmla="*/ 415179 h 1268099"/>
                    <a:gd name="connsiteX5182" fmla="*/ 1065106 w 1524655"/>
                    <a:gd name="connsiteY5182" fmla="*/ 414779 h 1268099"/>
                    <a:gd name="connsiteX5183" fmla="*/ 1065470 w 1524655"/>
                    <a:gd name="connsiteY5183" fmla="*/ 414293 h 1268099"/>
                    <a:gd name="connsiteX5184" fmla="*/ 1070534 w 1524655"/>
                    <a:gd name="connsiteY5184" fmla="*/ 407493 h 1268099"/>
                    <a:gd name="connsiteX5185" fmla="*/ 1072537 w 1524655"/>
                    <a:gd name="connsiteY5185" fmla="*/ 405489 h 1268099"/>
                    <a:gd name="connsiteX5186" fmla="*/ 1077904 w 1524655"/>
                    <a:gd name="connsiteY5186" fmla="*/ 403449 h 1268099"/>
                    <a:gd name="connsiteX5187" fmla="*/ 1079349 w 1524655"/>
                    <a:gd name="connsiteY5187" fmla="*/ 402903 h 1268099"/>
                    <a:gd name="connsiteX5188" fmla="*/ 1080357 w 1524655"/>
                    <a:gd name="connsiteY5188" fmla="*/ 401737 h 1268099"/>
                    <a:gd name="connsiteX5189" fmla="*/ 1082652 w 1524655"/>
                    <a:gd name="connsiteY5189" fmla="*/ 399078 h 1268099"/>
                    <a:gd name="connsiteX5190" fmla="*/ 1083041 w 1524655"/>
                    <a:gd name="connsiteY5190" fmla="*/ 398628 h 1268099"/>
                    <a:gd name="connsiteX5191" fmla="*/ 1083332 w 1524655"/>
                    <a:gd name="connsiteY5191" fmla="*/ 398106 h 1268099"/>
                    <a:gd name="connsiteX5192" fmla="*/ 1086125 w 1524655"/>
                    <a:gd name="connsiteY5192" fmla="*/ 393201 h 1268099"/>
                    <a:gd name="connsiteX5193" fmla="*/ 1089367 w 1524655"/>
                    <a:gd name="connsiteY5193" fmla="*/ 389801 h 1268099"/>
                    <a:gd name="connsiteX5194" fmla="*/ 1133640 w 1524655"/>
                    <a:gd name="connsiteY5194" fmla="*/ 363086 h 1268099"/>
                    <a:gd name="connsiteX5195" fmla="*/ 1140246 w 1524655"/>
                    <a:gd name="connsiteY5195" fmla="*/ 361289 h 1268099"/>
                    <a:gd name="connsiteX5196" fmla="*/ 1141145 w 1524655"/>
                    <a:gd name="connsiteY5196" fmla="*/ 361034 h 1268099"/>
                    <a:gd name="connsiteX5197" fmla="*/ 1141934 w 1524655"/>
                    <a:gd name="connsiteY5197" fmla="*/ 360524 h 1268099"/>
                    <a:gd name="connsiteX5198" fmla="*/ 1148236 w 1524655"/>
                    <a:gd name="connsiteY5198" fmla="*/ 356456 h 1268099"/>
                    <a:gd name="connsiteX5199" fmla="*/ 1154988 w 1524655"/>
                    <a:gd name="connsiteY5199" fmla="*/ 354829 h 1268099"/>
                    <a:gd name="connsiteX5200" fmla="*/ 1155947 w 1524655"/>
                    <a:gd name="connsiteY5200" fmla="*/ 354586 h 1268099"/>
                    <a:gd name="connsiteX5201" fmla="*/ 1156785 w 1524655"/>
                    <a:gd name="connsiteY5201" fmla="*/ 354064 h 1268099"/>
                    <a:gd name="connsiteX5202" fmla="*/ 1159893 w 1524655"/>
                    <a:gd name="connsiteY5202" fmla="*/ 352121 h 1268099"/>
                    <a:gd name="connsiteX5203" fmla="*/ 1160816 w 1524655"/>
                    <a:gd name="connsiteY5203" fmla="*/ 351417 h 1268099"/>
                    <a:gd name="connsiteX5204" fmla="*/ 1162529 w 1524655"/>
                    <a:gd name="connsiteY5204" fmla="*/ 351599 h 1268099"/>
                    <a:gd name="connsiteX5205" fmla="*/ 1164022 w 1524655"/>
                    <a:gd name="connsiteY5205" fmla="*/ 351757 h 1268099"/>
                    <a:gd name="connsiteX5206" fmla="*/ 1166305 w 1524655"/>
                    <a:gd name="connsiteY5206" fmla="*/ 352000 h 1268099"/>
                    <a:gd name="connsiteX5207" fmla="*/ 1168175 w 1524655"/>
                    <a:gd name="connsiteY5207" fmla="*/ 350676 h 1268099"/>
                    <a:gd name="connsiteX5208" fmla="*/ 1176699 w 1524655"/>
                    <a:gd name="connsiteY5208" fmla="*/ 344580 h 1268099"/>
                    <a:gd name="connsiteX5209" fmla="*/ 1177027 w 1524655"/>
                    <a:gd name="connsiteY5209" fmla="*/ 344447 h 1268099"/>
                    <a:gd name="connsiteX5210" fmla="*/ 1179820 w 1524655"/>
                    <a:gd name="connsiteY5210" fmla="*/ 343730 h 1268099"/>
                    <a:gd name="connsiteX5211" fmla="*/ 1180670 w 1524655"/>
                    <a:gd name="connsiteY5211" fmla="*/ 343512 h 1268099"/>
                    <a:gd name="connsiteX5212" fmla="*/ 1181423 w 1524655"/>
                    <a:gd name="connsiteY5212" fmla="*/ 343062 h 1268099"/>
                    <a:gd name="connsiteX5213" fmla="*/ 1182577 w 1524655"/>
                    <a:gd name="connsiteY5213" fmla="*/ 342370 h 1268099"/>
                    <a:gd name="connsiteX5214" fmla="*/ 1183196 w 1524655"/>
                    <a:gd name="connsiteY5214" fmla="*/ 342006 h 1268099"/>
                    <a:gd name="connsiteX5215" fmla="*/ 1183718 w 1524655"/>
                    <a:gd name="connsiteY5215" fmla="*/ 341496 h 1268099"/>
                    <a:gd name="connsiteX5216" fmla="*/ 1187361 w 1524655"/>
                    <a:gd name="connsiteY5216" fmla="*/ 337914 h 1268099"/>
                    <a:gd name="connsiteX5217" fmla="*/ 1190955 w 1524655"/>
                    <a:gd name="connsiteY5217" fmla="*/ 335133 h 1268099"/>
                    <a:gd name="connsiteX5218" fmla="*/ 1196638 w 1524655"/>
                    <a:gd name="connsiteY5218" fmla="*/ 332389 h 1268099"/>
                    <a:gd name="connsiteX5219" fmla="*/ 1197099 w 1524655"/>
                    <a:gd name="connsiteY5219" fmla="*/ 332158 h 1268099"/>
                    <a:gd name="connsiteX5220" fmla="*/ 1197524 w 1524655"/>
                    <a:gd name="connsiteY5220" fmla="*/ 331867 h 1268099"/>
                    <a:gd name="connsiteX5221" fmla="*/ 1203389 w 1524655"/>
                    <a:gd name="connsiteY5221" fmla="*/ 327677 h 1268099"/>
                    <a:gd name="connsiteX5222" fmla="*/ 1218216 w 1524655"/>
                    <a:gd name="connsiteY5222" fmla="*/ 322334 h 1268099"/>
                    <a:gd name="connsiteX5223" fmla="*/ 1218981 w 1524655"/>
                    <a:gd name="connsiteY5223" fmla="*/ 322055 h 1268099"/>
                    <a:gd name="connsiteX5224" fmla="*/ 1219649 w 1524655"/>
                    <a:gd name="connsiteY5224" fmla="*/ 321594 h 1268099"/>
                    <a:gd name="connsiteX5225" fmla="*/ 1223996 w 1524655"/>
                    <a:gd name="connsiteY5225" fmla="*/ 318534 h 1268099"/>
                    <a:gd name="connsiteX5226" fmla="*/ 1225380 w 1524655"/>
                    <a:gd name="connsiteY5226" fmla="*/ 317781 h 1268099"/>
                    <a:gd name="connsiteX5227" fmla="*/ 1227080 w 1524655"/>
                    <a:gd name="connsiteY5227" fmla="*/ 317429 h 1268099"/>
                    <a:gd name="connsiteX5228" fmla="*/ 1227615 w 1524655"/>
                    <a:gd name="connsiteY5228" fmla="*/ 317307 h 1268099"/>
                    <a:gd name="connsiteX5229" fmla="*/ 1228125 w 1524655"/>
                    <a:gd name="connsiteY5229" fmla="*/ 317089 h 1268099"/>
                    <a:gd name="connsiteX5230" fmla="*/ 1231160 w 1524655"/>
                    <a:gd name="connsiteY5230" fmla="*/ 315826 h 1268099"/>
                    <a:gd name="connsiteX5231" fmla="*/ 1236430 w 1524655"/>
                    <a:gd name="connsiteY5231" fmla="*/ 313640 h 1268099"/>
                    <a:gd name="connsiteX5232" fmla="*/ 1234585 w 1524655"/>
                    <a:gd name="connsiteY5232" fmla="*/ 308249 h 1268099"/>
                    <a:gd name="connsiteX5233" fmla="*/ 1234196 w 1524655"/>
                    <a:gd name="connsiteY5233" fmla="*/ 307095 h 1268099"/>
                    <a:gd name="connsiteX5234" fmla="*/ 1234512 w 1524655"/>
                    <a:gd name="connsiteY5234" fmla="*/ 306937 h 1268099"/>
                    <a:gd name="connsiteX5235" fmla="*/ 1235143 w 1524655"/>
                    <a:gd name="connsiteY5235" fmla="*/ 306621 h 1268099"/>
                    <a:gd name="connsiteX5236" fmla="*/ 1235690 w 1524655"/>
                    <a:gd name="connsiteY5236" fmla="*/ 306172 h 1268099"/>
                    <a:gd name="connsiteX5237" fmla="*/ 1237499 w 1524655"/>
                    <a:gd name="connsiteY5237" fmla="*/ 304667 h 1268099"/>
                    <a:gd name="connsiteX5238" fmla="*/ 1240680 w 1524655"/>
                    <a:gd name="connsiteY5238" fmla="*/ 303294 h 1268099"/>
                    <a:gd name="connsiteX5239" fmla="*/ 1241251 w 1524655"/>
                    <a:gd name="connsiteY5239" fmla="*/ 303039 h 1268099"/>
                    <a:gd name="connsiteX5240" fmla="*/ 1241761 w 1524655"/>
                    <a:gd name="connsiteY5240" fmla="*/ 302687 h 1268099"/>
                    <a:gd name="connsiteX5241" fmla="*/ 1243582 w 1524655"/>
                    <a:gd name="connsiteY5241" fmla="*/ 301412 h 1268099"/>
                    <a:gd name="connsiteX5242" fmla="*/ 1246363 w 1524655"/>
                    <a:gd name="connsiteY5242" fmla="*/ 299457 h 1268099"/>
                    <a:gd name="connsiteX5243" fmla="*/ 1246145 w 1524655"/>
                    <a:gd name="connsiteY5243" fmla="*/ 296057 h 1268099"/>
                    <a:gd name="connsiteX5244" fmla="*/ 1246048 w 1524655"/>
                    <a:gd name="connsiteY5244" fmla="*/ 294612 h 1268099"/>
                    <a:gd name="connsiteX5245" fmla="*/ 1246096 w 1524655"/>
                    <a:gd name="connsiteY5245" fmla="*/ 294551 h 1268099"/>
                    <a:gd name="connsiteX5246" fmla="*/ 1246521 w 1524655"/>
                    <a:gd name="connsiteY5246" fmla="*/ 294406 h 1268099"/>
                    <a:gd name="connsiteX5247" fmla="*/ 1247153 w 1524655"/>
                    <a:gd name="connsiteY5247" fmla="*/ 293993 h 1268099"/>
                    <a:gd name="connsiteX5248" fmla="*/ 1251342 w 1524655"/>
                    <a:gd name="connsiteY5248" fmla="*/ 291236 h 1268099"/>
                    <a:gd name="connsiteX5249" fmla="*/ 1252022 w 1524655"/>
                    <a:gd name="connsiteY5249" fmla="*/ 290787 h 1268099"/>
                    <a:gd name="connsiteX5250" fmla="*/ 1252568 w 1524655"/>
                    <a:gd name="connsiteY5250" fmla="*/ 290168 h 1268099"/>
                    <a:gd name="connsiteX5251" fmla="*/ 1263983 w 1524655"/>
                    <a:gd name="connsiteY5251" fmla="*/ 277199 h 1268099"/>
                    <a:gd name="connsiteX5252" fmla="*/ 1264226 w 1524655"/>
                    <a:gd name="connsiteY5252" fmla="*/ 276944 h 1268099"/>
                    <a:gd name="connsiteX5253" fmla="*/ 1264432 w 1524655"/>
                    <a:gd name="connsiteY5253" fmla="*/ 276653 h 1268099"/>
                    <a:gd name="connsiteX5254" fmla="*/ 1267358 w 1524655"/>
                    <a:gd name="connsiteY5254" fmla="*/ 272427 h 1268099"/>
                    <a:gd name="connsiteX5255" fmla="*/ 1268038 w 1524655"/>
                    <a:gd name="connsiteY5255" fmla="*/ 271456 h 1268099"/>
                    <a:gd name="connsiteX5256" fmla="*/ 1268293 w 1524655"/>
                    <a:gd name="connsiteY5256" fmla="*/ 270290 h 1268099"/>
                    <a:gd name="connsiteX5257" fmla="*/ 1269581 w 1524655"/>
                    <a:gd name="connsiteY5257" fmla="*/ 264449 h 1268099"/>
                    <a:gd name="connsiteX5258" fmla="*/ 1269884 w 1524655"/>
                    <a:gd name="connsiteY5258" fmla="*/ 263660 h 1268099"/>
                    <a:gd name="connsiteX5259" fmla="*/ 1272361 w 1524655"/>
                    <a:gd name="connsiteY5259" fmla="*/ 261984 h 1268099"/>
                    <a:gd name="connsiteX5260" fmla="*/ 1275154 w 1524655"/>
                    <a:gd name="connsiteY5260" fmla="*/ 260102 h 1268099"/>
                    <a:gd name="connsiteX5261" fmla="*/ 1275033 w 1524655"/>
                    <a:gd name="connsiteY5261" fmla="*/ 256726 h 1268099"/>
                    <a:gd name="connsiteX5262" fmla="*/ 1275021 w 1524655"/>
                    <a:gd name="connsiteY5262" fmla="*/ 256422 h 1268099"/>
                    <a:gd name="connsiteX5263" fmla="*/ 1275373 w 1524655"/>
                    <a:gd name="connsiteY5263" fmla="*/ 256422 h 1268099"/>
                    <a:gd name="connsiteX5264" fmla="*/ 1277182 w 1524655"/>
                    <a:gd name="connsiteY5264" fmla="*/ 254443 h 1268099"/>
                    <a:gd name="connsiteX5265" fmla="*/ 1279210 w 1524655"/>
                    <a:gd name="connsiteY5265" fmla="*/ 252197 h 1268099"/>
                    <a:gd name="connsiteX5266" fmla="*/ 1286046 w 1524655"/>
                    <a:gd name="connsiteY5266" fmla="*/ 247643 h 1268099"/>
                    <a:gd name="connsiteX5267" fmla="*/ 1286909 w 1524655"/>
                    <a:gd name="connsiteY5267" fmla="*/ 247073 h 1268099"/>
                    <a:gd name="connsiteX5268" fmla="*/ 1287528 w 1524655"/>
                    <a:gd name="connsiteY5268" fmla="*/ 246247 h 1268099"/>
                    <a:gd name="connsiteX5269" fmla="*/ 1288536 w 1524655"/>
                    <a:gd name="connsiteY5269" fmla="*/ 244911 h 1268099"/>
                    <a:gd name="connsiteX5270" fmla="*/ 1288596 w 1524655"/>
                    <a:gd name="connsiteY5270" fmla="*/ 244862 h 1268099"/>
                    <a:gd name="connsiteX5271" fmla="*/ 1288985 w 1524655"/>
                    <a:gd name="connsiteY5271" fmla="*/ 244595 h 1268099"/>
                    <a:gd name="connsiteX5272" fmla="*/ 1289313 w 1524655"/>
                    <a:gd name="connsiteY5272" fmla="*/ 244255 h 1268099"/>
                    <a:gd name="connsiteX5273" fmla="*/ 1292640 w 1524655"/>
                    <a:gd name="connsiteY5273" fmla="*/ 240940 h 1268099"/>
                    <a:gd name="connsiteX5274" fmla="*/ 1293441 w 1524655"/>
                    <a:gd name="connsiteY5274" fmla="*/ 240151 h 1268099"/>
                    <a:gd name="connsiteX5275" fmla="*/ 1293903 w 1524655"/>
                    <a:gd name="connsiteY5275" fmla="*/ 239107 h 1268099"/>
                    <a:gd name="connsiteX5276" fmla="*/ 1293939 w 1524655"/>
                    <a:gd name="connsiteY5276" fmla="*/ 239010 h 1268099"/>
                    <a:gd name="connsiteX5277" fmla="*/ 1294304 w 1524655"/>
                    <a:gd name="connsiteY5277" fmla="*/ 238548 h 1268099"/>
                    <a:gd name="connsiteX5278" fmla="*/ 1294729 w 1524655"/>
                    <a:gd name="connsiteY5278" fmla="*/ 238014 h 1268099"/>
                    <a:gd name="connsiteX5279" fmla="*/ 1295020 w 1524655"/>
                    <a:gd name="connsiteY5279" fmla="*/ 237395 h 1268099"/>
                    <a:gd name="connsiteX5280" fmla="*/ 1297327 w 1524655"/>
                    <a:gd name="connsiteY5280" fmla="*/ 232562 h 1268099"/>
                    <a:gd name="connsiteX5281" fmla="*/ 1297789 w 1524655"/>
                    <a:gd name="connsiteY5281" fmla="*/ 231821 h 1268099"/>
                    <a:gd name="connsiteX5282" fmla="*/ 1302634 w 1524655"/>
                    <a:gd name="connsiteY5282" fmla="*/ 227692 h 1268099"/>
                    <a:gd name="connsiteX5283" fmla="*/ 1332165 w 1524655"/>
                    <a:gd name="connsiteY5283" fmla="*/ 209830 h 1268099"/>
                    <a:gd name="connsiteX5284" fmla="*/ 1388509 w 1524655"/>
                    <a:gd name="connsiteY5284" fmla="*/ 184403 h 1268099"/>
                    <a:gd name="connsiteX5285" fmla="*/ 1389152 w 1524655"/>
                    <a:gd name="connsiteY5285" fmla="*/ 184111 h 1268099"/>
                    <a:gd name="connsiteX5286" fmla="*/ 1389711 w 1524655"/>
                    <a:gd name="connsiteY5286" fmla="*/ 183674 h 1268099"/>
                    <a:gd name="connsiteX5287" fmla="*/ 1396414 w 1524655"/>
                    <a:gd name="connsiteY5287" fmla="*/ 178501 h 1268099"/>
                    <a:gd name="connsiteX5288" fmla="*/ 1397956 w 1524655"/>
                    <a:gd name="connsiteY5288" fmla="*/ 177311 h 1268099"/>
                    <a:gd name="connsiteX5289" fmla="*/ 1398514 w 1524655"/>
                    <a:gd name="connsiteY5289" fmla="*/ 175466 h 1268099"/>
                    <a:gd name="connsiteX5290" fmla="*/ 1400239 w 1524655"/>
                    <a:gd name="connsiteY5290" fmla="*/ 169783 h 1268099"/>
                    <a:gd name="connsiteX5291" fmla="*/ 1401016 w 1524655"/>
                    <a:gd name="connsiteY5291" fmla="*/ 168872 h 1268099"/>
                    <a:gd name="connsiteX5292" fmla="*/ 1401732 w 1524655"/>
                    <a:gd name="connsiteY5292" fmla="*/ 168034 h 1268099"/>
                    <a:gd name="connsiteX5293" fmla="*/ 1402109 w 1524655"/>
                    <a:gd name="connsiteY5293" fmla="*/ 167002 h 1268099"/>
                    <a:gd name="connsiteX5294" fmla="*/ 1402813 w 1524655"/>
                    <a:gd name="connsiteY5294" fmla="*/ 165035 h 1268099"/>
                    <a:gd name="connsiteX5295" fmla="*/ 1402934 w 1524655"/>
                    <a:gd name="connsiteY5295" fmla="*/ 164695 h 1268099"/>
                    <a:gd name="connsiteX5296" fmla="*/ 1403019 w 1524655"/>
                    <a:gd name="connsiteY5296" fmla="*/ 164331 h 1268099"/>
                    <a:gd name="connsiteX5297" fmla="*/ 1403335 w 1524655"/>
                    <a:gd name="connsiteY5297" fmla="*/ 162934 h 1268099"/>
                    <a:gd name="connsiteX5298" fmla="*/ 1403590 w 1524655"/>
                    <a:gd name="connsiteY5298" fmla="*/ 162388 h 1268099"/>
                    <a:gd name="connsiteX5299" fmla="*/ 1404258 w 1524655"/>
                    <a:gd name="connsiteY5299" fmla="*/ 161708 h 1268099"/>
                    <a:gd name="connsiteX5300" fmla="*/ 1407961 w 1524655"/>
                    <a:gd name="connsiteY5300" fmla="*/ 158805 h 1268099"/>
                    <a:gd name="connsiteX5301" fmla="*/ 1408593 w 1524655"/>
                    <a:gd name="connsiteY5301" fmla="*/ 158308 h 1268099"/>
                    <a:gd name="connsiteX5302" fmla="*/ 1409079 w 1524655"/>
                    <a:gd name="connsiteY5302" fmla="*/ 157652 h 1268099"/>
                    <a:gd name="connsiteX5303" fmla="*/ 1411131 w 1524655"/>
                    <a:gd name="connsiteY5303" fmla="*/ 154908 h 1268099"/>
                    <a:gd name="connsiteX5304" fmla="*/ 1418186 w 1524655"/>
                    <a:gd name="connsiteY5304" fmla="*/ 150026 h 1268099"/>
                    <a:gd name="connsiteX5305" fmla="*/ 1419169 w 1524655"/>
                    <a:gd name="connsiteY5305" fmla="*/ 149346 h 1268099"/>
                    <a:gd name="connsiteX5306" fmla="*/ 1419813 w 1524655"/>
                    <a:gd name="connsiteY5306" fmla="*/ 148350 h 1268099"/>
                    <a:gd name="connsiteX5307" fmla="*/ 1421294 w 1524655"/>
                    <a:gd name="connsiteY5307" fmla="*/ 146080 h 1268099"/>
                    <a:gd name="connsiteX5308" fmla="*/ 1429527 w 1524655"/>
                    <a:gd name="connsiteY5308" fmla="*/ 138017 h 1268099"/>
                    <a:gd name="connsiteX5309" fmla="*/ 1437372 w 1524655"/>
                    <a:gd name="connsiteY5309" fmla="*/ 131860 h 1268099"/>
                    <a:gd name="connsiteX5310" fmla="*/ 1440881 w 1524655"/>
                    <a:gd name="connsiteY5310" fmla="*/ 129079 h 1268099"/>
                    <a:gd name="connsiteX5311" fmla="*/ 1439509 w 1524655"/>
                    <a:gd name="connsiteY5311" fmla="*/ 127210 h 1268099"/>
                    <a:gd name="connsiteX5312" fmla="*/ 1441379 w 1524655"/>
                    <a:gd name="connsiteY5312" fmla="*/ 125315 h 1268099"/>
                    <a:gd name="connsiteX5313" fmla="*/ 1441816 w 1524655"/>
                    <a:gd name="connsiteY5313" fmla="*/ 124866 h 1268099"/>
                    <a:gd name="connsiteX5314" fmla="*/ 1442156 w 1524655"/>
                    <a:gd name="connsiteY5314" fmla="*/ 124344 h 1268099"/>
                    <a:gd name="connsiteX5315" fmla="*/ 1445459 w 1524655"/>
                    <a:gd name="connsiteY5315" fmla="*/ 119244 h 1268099"/>
                    <a:gd name="connsiteX5316" fmla="*/ 1454384 w 1524655"/>
                    <a:gd name="connsiteY5316" fmla="*/ 113100 h 1268099"/>
                    <a:gd name="connsiteX5317" fmla="*/ 1454882 w 1524655"/>
                    <a:gd name="connsiteY5317" fmla="*/ 112772 h 1268099"/>
                    <a:gd name="connsiteX5318" fmla="*/ 1455295 w 1524655"/>
                    <a:gd name="connsiteY5318" fmla="*/ 112347 h 1268099"/>
                    <a:gd name="connsiteX5319" fmla="*/ 1457019 w 1524655"/>
                    <a:gd name="connsiteY5319" fmla="*/ 110574 h 1268099"/>
                    <a:gd name="connsiteX5320" fmla="*/ 1458148 w 1524655"/>
                    <a:gd name="connsiteY5320" fmla="*/ 109408 h 1268099"/>
                    <a:gd name="connsiteX5321" fmla="*/ 1458549 w 1524655"/>
                    <a:gd name="connsiteY5321" fmla="*/ 107829 h 1268099"/>
                    <a:gd name="connsiteX5322" fmla="*/ 1459193 w 1524655"/>
                    <a:gd name="connsiteY5322" fmla="*/ 105340 h 1268099"/>
                    <a:gd name="connsiteX5323" fmla="*/ 1460468 w 1524655"/>
                    <a:gd name="connsiteY5323" fmla="*/ 103191 h 1268099"/>
                    <a:gd name="connsiteX5324" fmla="*/ 1477516 w 1524655"/>
                    <a:gd name="connsiteY5324" fmla="*/ 85231 h 1268099"/>
                    <a:gd name="connsiteX5325" fmla="*/ 1478524 w 1524655"/>
                    <a:gd name="connsiteY5325" fmla="*/ 84175 h 1268099"/>
                    <a:gd name="connsiteX5326" fmla="*/ 1478937 w 1524655"/>
                    <a:gd name="connsiteY5326" fmla="*/ 82766 h 1268099"/>
                    <a:gd name="connsiteX5327" fmla="*/ 1479823 w 1524655"/>
                    <a:gd name="connsiteY5327" fmla="*/ 79718 h 1268099"/>
                    <a:gd name="connsiteX5328" fmla="*/ 1493861 w 1524655"/>
                    <a:gd name="connsiteY5328" fmla="*/ 58724 h 1268099"/>
                    <a:gd name="connsiteX5329" fmla="*/ 1498657 w 1524655"/>
                    <a:gd name="connsiteY5329" fmla="*/ 56659 h 1268099"/>
                    <a:gd name="connsiteX5330" fmla="*/ 1499896 w 1524655"/>
                    <a:gd name="connsiteY5330" fmla="*/ 56125 h 1268099"/>
                    <a:gd name="connsiteX5331" fmla="*/ 1500794 w 1524655"/>
                    <a:gd name="connsiteY5331" fmla="*/ 55105 h 1268099"/>
                    <a:gd name="connsiteX5332" fmla="*/ 1503490 w 1524655"/>
                    <a:gd name="connsiteY5332" fmla="*/ 52057 h 1268099"/>
                    <a:gd name="connsiteX5333" fmla="*/ 1503854 w 1524655"/>
                    <a:gd name="connsiteY5333" fmla="*/ 51656 h 1268099"/>
                    <a:gd name="connsiteX5334" fmla="*/ 1504134 w 1524655"/>
                    <a:gd name="connsiteY5334" fmla="*/ 51183 h 1268099"/>
                    <a:gd name="connsiteX5335" fmla="*/ 1507679 w 1524655"/>
                    <a:gd name="connsiteY5335" fmla="*/ 45342 h 1268099"/>
                    <a:gd name="connsiteX5336" fmla="*/ 1515244 w 1524655"/>
                    <a:gd name="connsiteY5336" fmla="*/ 35786 h 1268099"/>
                    <a:gd name="connsiteX5337" fmla="*/ 1515827 w 1524655"/>
                    <a:gd name="connsiteY5337" fmla="*/ 35045 h 1268099"/>
                    <a:gd name="connsiteX5338" fmla="*/ 1516155 w 1524655"/>
                    <a:gd name="connsiteY5338" fmla="*/ 34182 h 1268099"/>
                    <a:gd name="connsiteX5339" fmla="*/ 1517794 w 1524655"/>
                    <a:gd name="connsiteY5339" fmla="*/ 29896 h 1268099"/>
                    <a:gd name="connsiteX5340" fmla="*/ 1522457 w 1524655"/>
                    <a:gd name="connsiteY5340" fmla="*/ 23327 h 1268099"/>
                    <a:gd name="connsiteX5341" fmla="*/ 1523113 w 1524655"/>
                    <a:gd name="connsiteY5341" fmla="*/ 22404 h 1268099"/>
                    <a:gd name="connsiteX5342" fmla="*/ 1523392 w 1524655"/>
                    <a:gd name="connsiteY5342" fmla="*/ 21287 h 1268099"/>
                    <a:gd name="connsiteX5343" fmla="*/ 1523684 w 1524655"/>
                    <a:gd name="connsiteY5343" fmla="*/ 20097 h 1268099"/>
                    <a:gd name="connsiteX5344" fmla="*/ 1524655 w 1524655"/>
                    <a:gd name="connsiteY5344" fmla="*/ 16211 h 1268099"/>
                    <a:gd name="connsiteX5345" fmla="*/ 1523453 w 1524655"/>
                    <a:gd name="connsiteY5345" fmla="*/ 15312 h 1268099"/>
                    <a:gd name="connsiteX5346" fmla="*/ 1523380 w 1524655"/>
                    <a:gd name="connsiteY5346" fmla="*/ 13989 h 1268099"/>
                    <a:gd name="connsiteX5347" fmla="*/ 1522664 w 1524655"/>
                    <a:gd name="connsiteY5347" fmla="*/ 9363 h 1268099"/>
                    <a:gd name="connsiteX5348" fmla="*/ 1522530 w 1524655"/>
                    <a:gd name="connsiteY5348" fmla="*/ 8525 h 1268099"/>
                    <a:gd name="connsiteX5349" fmla="*/ 1522178 w 1524655"/>
                    <a:gd name="connsiteY5349" fmla="*/ 7759 h 1268099"/>
                    <a:gd name="connsiteX5350" fmla="*/ 1521547 w 1524655"/>
                    <a:gd name="connsiteY5350" fmla="*/ 6399 h 1268099"/>
                    <a:gd name="connsiteX5351" fmla="*/ 1521255 w 1524655"/>
                    <a:gd name="connsiteY5351" fmla="*/ 5744 h 1268099"/>
                    <a:gd name="connsiteX5352" fmla="*/ 1520818 w 1524655"/>
                    <a:gd name="connsiteY5352" fmla="*/ 5185 h 1268099"/>
                    <a:gd name="connsiteX5353" fmla="*/ 1519385 w 1524655"/>
                    <a:gd name="connsiteY5353" fmla="*/ 3364 h 1268099"/>
                    <a:gd name="connsiteX5354" fmla="*/ 1518377 w 1524655"/>
                    <a:gd name="connsiteY5354" fmla="*/ 2089 h 1268099"/>
                    <a:gd name="connsiteX5355" fmla="*/ 1516859 w 1524655"/>
                    <a:gd name="connsiteY5355" fmla="*/ 1482 h 1268099"/>
                    <a:gd name="connsiteX5356" fmla="*/ 1515257 w 1524655"/>
                    <a:gd name="connsiteY5356" fmla="*/ 838 h 1268099"/>
                    <a:gd name="connsiteX5357" fmla="*/ 1514637 w 1524655"/>
                    <a:gd name="connsiteY5357" fmla="*/ 583 h 1268099"/>
                    <a:gd name="connsiteX5358" fmla="*/ 1513981 w 1524655"/>
                    <a:gd name="connsiteY5358" fmla="*/ 474 h 1268099"/>
                    <a:gd name="connsiteX5359" fmla="*/ 1511966 w 1524655"/>
                    <a:gd name="connsiteY5359" fmla="*/ 146 h 1268099"/>
                    <a:gd name="connsiteX5360" fmla="*/ 1511504 w 1524655"/>
                    <a:gd name="connsiteY5360" fmla="*/ 61 h 1268099"/>
                    <a:gd name="connsiteX5361" fmla="*/ 1511031 w 1524655"/>
                    <a:gd name="connsiteY5361" fmla="*/ 61 h 1268099"/>
                    <a:gd name="connsiteX5362" fmla="*/ 1504377 w 1524655"/>
                    <a:gd name="connsiteY5362" fmla="*/ 0 h 1268099"/>
                    <a:gd name="connsiteX5363" fmla="*/ 1504194 w 1524655"/>
                    <a:gd name="connsiteY5363" fmla="*/ 0 h 1268099"/>
                    <a:gd name="connsiteX5364" fmla="*/ 1504194 w 1524655"/>
                    <a:gd name="connsiteY5364" fmla="*/ 134 h 1268099"/>
                    <a:gd name="connsiteX5365" fmla="*/ 1049757 w 1524655"/>
                    <a:gd name="connsiteY5365" fmla="*/ 440376 h 1268099"/>
                    <a:gd name="connsiteX5366" fmla="*/ 1054942 w 1524655"/>
                    <a:gd name="connsiteY5366" fmla="*/ 430965 h 1268099"/>
                    <a:gd name="connsiteX5367" fmla="*/ 1055974 w 1524655"/>
                    <a:gd name="connsiteY5367" fmla="*/ 434875 h 1268099"/>
                    <a:gd name="connsiteX5368" fmla="*/ 1057468 w 1524655"/>
                    <a:gd name="connsiteY5368" fmla="*/ 440546 h 1268099"/>
                    <a:gd name="connsiteX5369" fmla="*/ 1058063 w 1524655"/>
                    <a:gd name="connsiteY5369" fmla="*/ 445707 h 1268099"/>
                    <a:gd name="connsiteX5370" fmla="*/ 1056885 w 1524655"/>
                    <a:gd name="connsiteY5370" fmla="*/ 445099 h 1268099"/>
                    <a:gd name="connsiteX5371" fmla="*/ 1055683 w 1524655"/>
                    <a:gd name="connsiteY5371" fmla="*/ 447128 h 1268099"/>
                    <a:gd name="connsiteX5372" fmla="*/ 1055294 w 1524655"/>
                    <a:gd name="connsiteY5372" fmla="*/ 446812 h 1268099"/>
                    <a:gd name="connsiteX5373" fmla="*/ 1054165 w 1524655"/>
                    <a:gd name="connsiteY5373" fmla="*/ 446472 h 1268099"/>
                    <a:gd name="connsiteX5374" fmla="*/ 1050473 w 1524655"/>
                    <a:gd name="connsiteY5374" fmla="*/ 445330 h 1268099"/>
                    <a:gd name="connsiteX5375" fmla="*/ 1050012 w 1524655"/>
                    <a:gd name="connsiteY5375" fmla="*/ 444650 h 1268099"/>
                    <a:gd name="connsiteX5376" fmla="*/ 1049599 w 1524655"/>
                    <a:gd name="connsiteY5376" fmla="*/ 442404 h 1268099"/>
                    <a:gd name="connsiteX5377" fmla="*/ 1049757 w 1524655"/>
                    <a:gd name="connsiteY5377" fmla="*/ 440376 h 1268099"/>
                    <a:gd name="connsiteX5378" fmla="*/ 1049757 w 1524655"/>
                    <a:gd name="connsiteY5378" fmla="*/ 440376 h 1268099"/>
                    <a:gd name="connsiteX5379" fmla="*/ 680940 w 1524655"/>
                    <a:gd name="connsiteY5379" fmla="*/ 436162 h 1268099"/>
                    <a:gd name="connsiteX5380" fmla="*/ 680709 w 1524655"/>
                    <a:gd name="connsiteY5380" fmla="*/ 435179 h 1268099"/>
                    <a:gd name="connsiteX5381" fmla="*/ 683550 w 1524655"/>
                    <a:gd name="connsiteY5381" fmla="*/ 435519 h 1268099"/>
                    <a:gd name="connsiteX5382" fmla="*/ 686647 w 1524655"/>
                    <a:gd name="connsiteY5382" fmla="*/ 436745 h 1268099"/>
                    <a:gd name="connsiteX5383" fmla="*/ 689962 w 1524655"/>
                    <a:gd name="connsiteY5383" fmla="*/ 437923 h 1268099"/>
                    <a:gd name="connsiteX5384" fmla="*/ 690435 w 1524655"/>
                    <a:gd name="connsiteY5384" fmla="*/ 438105 h 1268099"/>
                    <a:gd name="connsiteX5385" fmla="*/ 690921 w 1524655"/>
                    <a:gd name="connsiteY5385" fmla="*/ 438190 h 1268099"/>
                    <a:gd name="connsiteX5386" fmla="*/ 693301 w 1524655"/>
                    <a:gd name="connsiteY5386" fmla="*/ 438615 h 1268099"/>
                    <a:gd name="connsiteX5387" fmla="*/ 697806 w 1524655"/>
                    <a:gd name="connsiteY5387" fmla="*/ 440060 h 1268099"/>
                    <a:gd name="connsiteX5388" fmla="*/ 698814 w 1524655"/>
                    <a:gd name="connsiteY5388" fmla="*/ 440704 h 1268099"/>
                    <a:gd name="connsiteX5389" fmla="*/ 700380 w 1524655"/>
                    <a:gd name="connsiteY5389" fmla="*/ 442015 h 1268099"/>
                    <a:gd name="connsiteX5390" fmla="*/ 700769 w 1524655"/>
                    <a:gd name="connsiteY5390" fmla="*/ 442331 h 1268099"/>
                    <a:gd name="connsiteX5391" fmla="*/ 701206 w 1524655"/>
                    <a:gd name="connsiteY5391" fmla="*/ 442586 h 1268099"/>
                    <a:gd name="connsiteX5392" fmla="*/ 702129 w 1524655"/>
                    <a:gd name="connsiteY5392" fmla="*/ 443132 h 1268099"/>
                    <a:gd name="connsiteX5393" fmla="*/ 703185 w 1524655"/>
                    <a:gd name="connsiteY5393" fmla="*/ 443909 h 1268099"/>
                    <a:gd name="connsiteX5394" fmla="*/ 703902 w 1524655"/>
                    <a:gd name="connsiteY5394" fmla="*/ 444444 h 1268099"/>
                    <a:gd name="connsiteX5395" fmla="*/ 704740 w 1524655"/>
                    <a:gd name="connsiteY5395" fmla="*/ 444735 h 1268099"/>
                    <a:gd name="connsiteX5396" fmla="*/ 706731 w 1524655"/>
                    <a:gd name="connsiteY5396" fmla="*/ 445464 h 1268099"/>
                    <a:gd name="connsiteX5397" fmla="*/ 717004 w 1524655"/>
                    <a:gd name="connsiteY5397" fmla="*/ 449204 h 1268099"/>
                    <a:gd name="connsiteX5398" fmla="*/ 715814 w 1524655"/>
                    <a:gd name="connsiteY5398" fmla="*/ 443582 h 1268099"/>
                    <a:gd name="connsiteX5399" fmla="*/ 716567 w 1524655"/>
                    <a:gd name="connsiteY5399" fmla="*/ 444007 h 1268099"/>
                    <a:gd name="connsiteX5400" fmla="*/ 718449 w 1524655"/>
                    <a:gd name="connsiteY5400" fmla="*/ 441578 h 1268099"/>
                    <a:gd name="connsiteX5401" fmla="*/ 720319 w 1524655"/>
                    <a:gd name="connsiteY5401" fmla="*/ 442780 h 1268099"/>
                    <a:gd name="connsiteX5402" fmla="*/ 720295 w 1524655"/>
                    <a:gd name="connsiteY5402" fmla="*/ 442962 h 1268099"/>
                    <a:gd name="connsiteX5403" fmla="*/ 720185 w 1524655"/>
                    <a:gd name="connsiteY5403" fmla="*/ 443776 h 1268099"/>
                    <a:gd name="connsiteX5404" fmla="*/ 717271 w 1524655"/>
                    <a:gd name="connsiteY5404" fmla="*/ 444844 h 1268099"/>
                    <a:gd name="connsiteX5405" fmla="*/ 717198 w 1524655"/>
                    <a:gd name="connsiteY5405" fmla="*/ 449022 h 1268099"/>
                    <a:gd name="connsiteX5406" fmla="*/ 717138 w 1524655"/>
                    <a:gd name="connsiteY5406" fmla="*/ 452665 h 1268099"/>
                    <a:gd name="connsiteX5407" fmla="*/ 717113 w 1524655"/>
                    <a:gd name="connsiteY5407" fmla="*/ 452871 h 1268099"/>
                    <a:gd name="connsiteX5408" fmla="*/ 716239 w 1524655"/>
                    <a:gd name="connsiteY5408" fmla="*/ 454182 h 1268099"/>
                    <a:gd name="connsiteX5409" fmla="*/ 714745 w 1524655"/>
                    <a:gd name="connsiteY5409" fmla="*/ 456393 h 1268099"/>
                    <a:gd name="connsiteX5410" fmla="*/ 715365 w 1524655"/>
                    <a:gd name="connsiteY5410" fmla="*/ 458991 h 1268099"/>
                    <a:gd name="connsiteX5411" fmla="*/ 715656 w 1524655"/>
                    <a:gd name="connsiteY5411" fmla="*/ 460205 h 1268099"/>
                    <a:gd name="connsiteX5412" fmla="*/ 716105 w 1524655"/>
                    <a:gd name="connsiteY5412" fmla="*/ 462063 h 1268099"/>
                    <a:gd name="connsiteX5413" fmla="*/ 716069 w 1524655"/>
                    <a:gd name="connsiteY5413" fmla="*/ 462075 h 1268099"/>
                    <a:gd name="connsiteX5414" fmla="*/ 714697 w 1524655"/>
                    <a:gd name="connsiteY5414" fmla="*/ 462221 h 1268099"/>
                    <a:gd name="connsiteX5415" fmla="*/ 714503 w 1524655"/>
                    <a:gd name="connsiteY5415" fmla="*/ 462185 h 1268099"/>
                    <a:gd name="connsiteX5416" fmla="*/ 712487 w 1524655"/>
                    <a:gd name="connsiteY5416" fmla="*/ 461602 h 1268099"/>
                    <a:gd name="connsiteX5417" fmla="*/ 712353 w 1524655"/>
                    <a:gd name="connsiteY5417" fmla="*/ 461444 h 1268099"/>
                    <a:gd name="connsiteX5418" fmla="*/ 711843 w 1524655"/>
                    <a:gd name="connsiteY5418" fmla="*/ 461067 h 1268099"/>
                    <a:gd name="connsiteX5419" fmla="*/ 710860 w 1524655"/>
                    <a:gd name="connsiteY5419" fmla="*/ 460339 h 1268099"/>
                    <a:gd name="connsiteX5420" fmla="*/ 710289 w 1524655"/>
                    <a:gd name="connsiteY5420" fmla="*/ 459926 h 1268099"/>
                    <a:gd name="connsiteX5421" fmla="*/ 709645 w 1524655"/>
                    <a:gd name="connsiteY5421" fmla="*/ 459659 h 1268099"/>
                    <a:gd name="connsiteX5422" fmla="*/ 708480 w 1524655"/>
                    <a:gd name="connsiteY5422" fmla="*/ 459173 h 1268099"/>
                    <a:gd name="connsiteX5423" fmla="*/ 708164 w 1524655"/>
                    <a:gd name="connsiteY5423" fmla="*/ 457910 h 1268099"/>
                    <a:gd name="connsiteX5424" fmla="*/ 707484 w 1524655"/>
                    <a:gd name="connsiteY5424" fmla="*/ 455263 h 1268099"/>
                    <a:gd name="connsiteX5425" fmla="*/ 705055 w 1524655"/>
                    <a:gd name="connsiteY5425" fmla="*/ 454000 h 1268099"/>
                    <a:gd name="connsiteX5426" fmla="*/ 704873 w 1524655"/>
                    <a:gd name="connsiteY5426" fmla="*/ 453903 h 1268099"/>
                    <a:gd name="connsiteX5427" fmla="*/ 705007 w 1524655"/>
                    <a:gd name="connsiteY5427" fmla="*/ 452519 h 1268099"/>
                    <a:gd name="connsiteX5428" fmla="*/ 701413 w 1524655"/>
                    <a:gd name="connsiteY5428" fmla="*/ 451620 h 1268099"/>
                    <a:gd name="connsiteX5429" fmla="*/ 701376 w 1524655"/>
                    <a:gd name="connsiteY5429" fmla="*/ 451535 h 1268099"/>
                    <a:gd name="connsiteX5430" fmla="*/ 700356 w 1524655"/>
                    <a:gd name="connsiteY5430" fmla="*/ 449447 h 1268099"/>
                    <a:gd name="connsiteX5431" fmla="*/ 698207 w 1524655"/>
                    <a:gd name="connsiteY5431" fmla="*/ 448585 h 1268099"/>
                    <a:gd name="connsiteX5432" fmla="*/ 694673 w 1524655"/>
                    <a:gd name="connsiteY5432" fmla="*/ 447152 h 1268099"/>
                    <a:gd name="connsiteX5433" fmla="*/ 685930 w 1524655"/>
                    <a:gd name="connsiteY5433" fmla="*/ 443594 h 1268099"/>
                    <a:gd name="connsiteX5434" fmla="*/ 685979 w 1524655"/>
                    <a:gd name="connsiteY5434" fmla="*/ 444844 h 1268099"/>
                    <a:gd name="connsiteX5435" fmla="*/ 681765 w 1524655"/>
                    <a:gd name="connsiteY5435" fmla="*/ 437547 h 1268099"/>
                    <a:gd name="connsiteX5436" fmla="*/ 680940 w 1524655"/>
                    <a:gd name="connsiteY5436" fmla="*/ 436162 h 1268099"/>
                    <a:gd name="connsiteX5437" fmla="*/ 680940 w 1524655"/>
                    <a:gd name="connsiteY5437" fmla="*/ 436162 h 1268099"/>
                    <a:gd name="connsiteX5438" fmla="*/ 651019 w 1524655"/>
                    <a:gd name="connsiteY5438" fmla="*/ 1083430 h 1268099"/>
                    <a:gd name="connsiteX5439" fmla="*/ 652695 w 1524655"/>
                    <a:gd name="connsiteY5439" fmla="*/ 1075087 h 1268099"/>
                    <a:gd name="connsiteX5440" fmla="*/ 653193 w 1524655"/>
                    <a:gd name="connsiteY5440" fmla="*/ 1072610 h 1268099"/>
                    <a:gd name="connsiteX5441" fmla="*/ 653812 w 1524655"/>
                    <a:gd name="connsiteY5441" fmla="*/ 1073302 h 1268099"/>
                    <a:gd name="connsiteX5442" fmla="*/ 662130 w 1524655"/>
                    <a:gd name="connsiteY5442" fmla="*/ 1082385 h 1268099"/>
                    <a:gd name="connsiteX5443" fmla="*/ 666708 w 1524655"/>
                    <a:gd name="connsiteY5443" fmla="*/ 1093836 h 1268099"/>
                    <a:gd name="connsiteX5444" fmla="*/ 665712 w 1524655"/>
                    <a:gd name="connsiteY5444" fmla="*/ 1093557 h 1268099"/>
                    <a:gd name="connsiteX5445" fmla="*/ 664231 w 1524655"/>
                    <a:gd name="connsiteY5445" fmla="*/ 1093132 h 1268099"/>
                    <a:gd name="connsiteX5446" fmla="*/ 663502 w 1524655"/>
                    <a:gd name="connsiteY5446" fmla="*/ 1092913 h 1268099"/>
                    <a:gd name="connsiteX5447" fmla="*/ 662749 w 1524655"/>
                    <a:gd name="connsiteY5447" fmla="*/ 1092889 h 1268099"/>
                    <a:gd name="connsiteX5448" fmla="*/ 655087 w 1524655"/>
                    <a:gd name="connsiteY5448" fmla="*/ 1092634 h 1268099"/>
                    <a:gd name="connsiteX5449" fmla="*/ 651311 w 1524655"/>
                    <a:gd name="connsiteY5449" fmla="*/ 1091808 h 1268099"/>
                    <a:gd name="connsiteX5450" fmla="*/ 650946 w 1524655"/>
                    <a:gd name="connsiteY5450" fmla="*/ 1091723 h 1268099"/>
                    <a:gd name="connsiteX5451" fmla="*/ 650582 w 1524655"/>
                    <a:gd name="connsiteY5451" fmla="*/ 1091687 h 1268099"/>
                    <a:gd name="connsiteX5452" fmla="*/ 647619 w 1524655"/>
                    <a:gd name="connsiteY5452" fmla="*/ 1091407 h 1268099"/>
                    <a:gd name="connsiteX5453" fmla="*/ 645883 w 1524655"/>
                    <a:gd name="connsiteY5453" fmla="*/ 1087230 h 1268099"/>
                    <a:gd name="connsiteX5454" fmla="*/ 645531 w 1524655"/>
                    <a:gd name="connsiteY5454" fmla="*/ 1086380 h 1268099"/>
                    <a:gd name="connsiteX5455" fmla="*/ 644936 w 1524655"/>
                    <a:gd name="connsiteY5455" fmla="*/ 1085664 h 1268099"/>
                    <a:gd name="connsiteX5456" fmla="*/ 639265 w 1524655"/>
                    <a:gd name="connsiteY5456" fmla="*/ 1078876 h 1268099"/>
                    <a:gd name="connsiteX5457" fmla="*/ 637723 w 1524655"/>
                    <a:gd name="connsiteY5457" fmla="*/ 1076338 h 1268099"/>
                    <a:gd name="connsiteX5458" fmla="*/ 637601 w 1524655"/>
                    <a:gd name="connsiteY5458" fmla="*/ 1075537 h 1268099"/>
                    <a:gd name="connsiteX5459" fmla="*/ 638354 w 1524655"/>
                    <a:gd name="connsiteY5459" fmla="*/ 1074553 h 1268099"/>
                    <a:gd name="connsiteX5460" fmla="*/ 638864 w 1524655"/>
                    <a:gd name="connsiteY5460" fmla="*/ 1076326 h 1268099"/>
                    <a:gd name="connsiteX5461" fmla="*/ 640965 w 1524655"/>
                    <a:gd name="connsiteY5461" fmla="*/ 1077565 h 1268099"/>
                    <a:gd name="connsiteX5462" fmla="*/ 643661 w 1524655"/>
                    <a:gd name="connsiteY5462" fmla="*/ 1079143 h 1268099"/>
                    <a:gd name="connsiteX5463" fmla="*/ 651019 w 1524655"/>
                    <a:gd name="connsiteY5463" fmla="*/ 1083430 h 1268099"/>
                    <a:gd name="connsiteX5464" fmla="*/ 651019 w 1524655"/>
                    <a:gd name="connsiteY5464" fmla="*/ 1083430 h 1268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Lst>
                  <a:rect l="l" t="t" r="r" b="b"/>
                  <a:pathLst>
                    <a:path w="1524655" h="1268099">
                      <a:moveTo>
                        <a:pt x="1504388" y="6205"/>
                      </a:moveTo>
                      <a:lnTo>
                        <a:pt x="1511043" y="6266"/>
                      </a:lnTo>
                      <a:lnTo>
                        <a:pt x="1513059" y="6594"/>
                      </a:lnTo>
                      <a:lnTo>
                        <a:pt x="1514661" y="7237"/>
                      </a:lnTo>
                      <a:lnTo>
                        <a:pt x="1516094" y="9059"/>
                      </a:lnTo>
                      <a:lnTo>
                        <a:pt x="1516726" y="10419"/>
                      </a:lnTo>
                      <a:lnTo>
                        <a:pt x="1517442" y="15045"/>
                      </a:lnTo>
                      <a:lnTo>
                        <a:pt x="1516920" y="15203"/>
                      </a:lnTo>
                      <a:lnTo>
                        <a:pt x="1514904" y="13637"/>
                      </a:lnTo>
                      <a:lnTo>
                        <a:pt x="1512318" y="10747"/>
                      </a:lnTo>
                      <a:lnTo>
                        <a:pt x="1510144" y="8937"/>
                      </a:lnTo>
                      <a:lnTo>
                        <a:pt x="1509161" y="10601"/>
                      </a:lnTo>
                      <a:lnTo>
                        <a:pt x="1508712" y="12617"/>
                      </a:lnTo>
                      <a:lnTo>
                        <a:pt x="1506756" y="15422"/>
                      </a:lnTo>
                      <a:lnTo>
                        <a:pt x="1506574" y="17887"/>
                      </a:lnTo>
                      <a:lnTo>
                        <a:pt x="1507097" y="18980"/>
                      </a:lnTo>
                      <a:lnTo>
                        <a:pt x="1509464" y="21481"/>
                      </a:lnTo>
                      <a:lnTo>
                        <a:pt x="1510436" y="23315"/>
                      </a:lnTo>
                      <a:lnTo>
                        <a:pt x="1513532" y="18652"/>
                      </a:lnTo>
                      <a:lnTo>
                        <a:pt x="1514285" y="17887"/>
                      </a:lnTo>
                      <a:lnTo>
                        <a:pt x="1515609" y="17862"/>
                      </a:lnTo>
                      <a:lnTo>
                        <a:pt x="1516969" y="18117"/>
                      </a:lnTo>
                      <a:lnTo>
                        <a:pt x="1517843" y="18785"/>
                      </a:lnTo>
                      <a:lnTo>
                        <a:pt x="1517552" y="19975"/>
                      </a:lnTo>
                      <a:lnTo>
                        <a:pt x="1512451" y="27176"/>
                      </a:lnTo>
                      <a:lnTo>
                        <a:pt x="1510545" y="32167"/>
                      </a:lnTo>
                      <a:lnTo>
                        <a:pt x="1502737" y="42027"/>
                      </a:lnTo>
                      <a:lnTo>
                        <a:pt x="1498997" y="48207"/>
                      </a:lnTo>
                      <a:lnTo>
                        <a:pt x="1496301" y="51255"/>
                      </a:lnTo>
                      <a:lnTo>
                        <a:pt x="1489866" y="54036"/>
                      </a:lnTo>
                      <a:lnTo>
                        <a:pt x="1474311" y="77290"/>
                      </a:lnTo>
                      <a:lnTo>
                        <a:pt x="1473157" y="81224"/>
                      </a:lnTo>
                      <a:lnTo>
                        <a:pt x="1455647" y="99682"/>
                      </a:lnTo>
                      <a:lnTo>
                        <a:pt x="1453583" y="103155"/>
                      </a:lnTo>
                      <a:lnTo>
                        <a:pt x="1452720" y="106494"/>
                      </a:lnTo>
                      <a:lnTo>
                        <a:pt x="1450996" y="108267"/>
                      </a:lnTo>
                      <a:lnTo>
                        <a:pt x="1441063" y="115091"/>
                      </a:lnTo>
                      <a:lnTo>
                        <a:pt x="1437105" y="121211"/>
                      </a:lnTo>
                      <a:lnTo>
                        <a:pt x="1434008" y="124344"/>
                      </a:lnTo>
                      <a:lnTo>
                        <a:pt x="1430098" y="125692"/>
                      </a:lnTo>
                      <a:lnTo>
                        <a:pt x="1429005" y="126275"/>
                      </a:lnTo>
                      <a:lnTo>
                        <a:pt x="1425678" y="128970"/>
                      </a:lnTo>
                      <a:lnTo>
                        <a:pt x="1424415" y="129796"/>
                      </a:lnTo>
                      <a:lnTo>
                        <a:pt x="1422679" y="130027"/>
                      </a:lnTo>
                      <a:lnTo>
                        <a:pt x="1418441" y="130063"/>
                      </a:lnTo>
                      <a:lnTo>
                        <a:pt x="1417870" y="129808"/>
                      </a:lnTo>
                      <a:lnTo>
                        <a:pt x="1416146" y="132650"/>
                      </a:lnTo>
                      <a:lnTo>
                        <a:pt x="1418332" y="134422"/>
                      </a:lnTo>
                      <a:lnTo>
                        <a:pt x="1422400" y="134702"/>
                      </a:lnTo>
                      <a:lnTo>
                        <a:pt x="1427402" y="131569"/>
                      </a:lnTo>
                      <a:lnTo>
                        <a:pt x="1432733" y="127501"/>
                      </a:lnTo>
                      <a:lnTo>
                        <a:pt x="1437165" y="124477"/>
                      </a:lnTo>
                      <a:lnTo>
                        <a:pt x="1433656" y="127246"/>
                      </a:lnTo>
                      <a:lnTo>
                        <a:pt x="1425557" y="133609"/>
                      </a:lnTo>
                      <a:lnTo>
                        <a:pt x="1416607" y="142364"/>
                      </a:lnTo>
                      <a:lnTo>
                        <a:pt x="1414761" y="145181"/>
                      </a:lnTo>
                      <a:lnTo>
                        <a:pt x="1406893" y="150633"/>
                      </a:lnTo>
                      <a:lnTo>
                        <a:pt x="1404258" y="154167"/>
                      </a:lnTo>
                      <a:lnTo>
                        <a:pt x="1400239" y="157324"/>
                      </a:lnTo>
                      <a:lnTo>
                        <a:pt x="1398575" y="159024"/>
                      </a:lnTo>
                      <a:lnTo>
                        <a:pt x="1397604" y="161101"/>
                      </a:lnTo>
                      <a:lnTo>
                        <a:pt x="1397142" y="163141"/>
                      </a:lnTo>
                      <a:lnTo>
                        <a:pt x="1396438" y="165108"/>
                      </a:lnTo>
                      <a:lnTo>
                        <a:pt x="1394847" y="166978"/>
                      </a:lnTo>
                      <a:lnTo>
                        <a:pt x="1392759" y="173851"/>
                      </a:lnTo>
                      <a:lnTo>
                        <a:pt x="1386056" y="179023"/>
                      </a:lnTo>
                      <a:lnTo>
                        <a:pt x="1329385" y="204596"/>
                      </a:lnTo>
                      <a:lnTo>
                        <a:pt x="1299112" y="222896"/>
                      </a:lnTo>
                      <a:lnTo>
                        <a:pt x="1293199" y="227947"/>
                      </a:lnTo>
                      <a:lnTo>
                        <a:pt x="1292045" y="229757"/>
                      </a:lnTo>
                      <a:lnTo>
                        <a:pt x="1289580" y="234917"/>
                      </a:lnTo>
                      <a:lnTo>
                        <a:pt x="1288730" y="235986"/>
                      </a:lnTo>
                      <a:lnTo>
                        <a:pt x="1288378" y="236787"/>
                      </a:lnTo>
                      <a:lnTo>
                        <a:pt x="1285051" y="240102"/>
                      </a:lnTo>
                      <a:lnTo>
                        <a:pt x="1284249" y="240685"/>
                      </a:lnTo>
                      <a:lnTo>
                        <a:pt x="1282695" y="242750"/>
                      </a:lnTo>
                      <a:lnTo>
                        <a:pt x="1275239" y="247716"/>
                      </a:lnTo>
                      <a:lnTo>
                        <a:pt x="1272701" y="250497"/>
                      </a:lnTo>
                      <a:lnTo>
                        <a:pt x="1271329" y="250497"/>
                      </a:lnTo>
                      <a:lnTo>
                        <a:pt x="1270807" y="249355"/>
                      </a:lnTo>
                      <a:lnTo>
                        <a:pt x="1268731" y="246574"/>
                      </a:lnTo>
                      <a:lnTo>
                        <a:pt x="1268221" y="249671"/>
                      </a:lnTo>
                      <a:lnTo>
                        <a:pt x="1268852" y="253666"/>
                      </a:lnTo>
                      <a:lnTo>
                        <a:pt x="1268973" y="257102"/>
                      </a:lnTo>
                      <a:lnTo>
                        <a:pt x="1264893" y="259859"/>
                      </a:lnTo>
                      <a:lnTo>
                        <a:pt x="1263752" y="262870"/>
                      </a:lnTo>
                      <a:lnTo>
                        <a:pt x="1262368" y="269148"/>
                      </a:lnTo>
                      <a:lnTo>
                        <a:pt x="1259441" y="273374"/>
                      </a:lnTo>
                      <a:lnTo>
                        <a:pt x="1248015" y="286343"/>
                      </a:lnTo>
                      <a:lnTo>
                        <a:pt x="1243825" y="289099"/>
                      </a:lnTo>
                      <a:lnTo>
                        <a:pt x="1242733" y="289476"/>
                      </a:lnTo>
                      <a:lnTo>
                        <a:pt x="1241057" y="291224"/>
                      </a:lnTo>
                      <a:lnTo>
                        <a:pt x="1239976" y="291625"/>
                      </a:lnTo>
                      <a:lnTo>
                        <a:pt x="1238883" y="291431"/>
                      </a:lnTo>
                      <a:lnTo>
                        <a:pt x="1238313" y="290994"/>
                      </a:lnTo>
                      <a:lnTo>
                        <a:pt x="1237900" y="290593"/>
                      </a:lnTo>
                      <a:lnTo>
                        <a:pt x="1237390" y="290423"/>
                      </a:lnTo>
                      <a:lnTo>
                        <a:pt x="1236916" y="289840"/>
                      </a:lnTo>
                      <a:lnTo>
                        <a:pt x="1236588" y="288553"/>
                      </a:lnTo>
                      <a:lnTo>
                        <a:pt x="1235835" y="287181"/>
                      </a:lnTo>
                      <a:lnTo>
                        <a:pt x="1234293" y="286318"/>
                      </a:lnTo>
                      <a:lnTo>
                        <a:pt x="1230322" y="286573"/>
                      </a:lnTo>
                      <a:lnTo>
                        <a:pt x="1229412" y="288444"/>
                      </a:lnTo>
                      <a:lnTo>
                        <a:pt x="1230735" y="290593"/>
                      </a:lnTo>
                      <a:lnTo>
                        <a:pt x="1235034" y="292002"/>
                      </a:lnTo>
                      <a:lnTo>
                        <a:pt x="1238835" y="294066"/>
                      </a:lnTo>
                      <a:lnTo>
                        <a:pt x="1239976" y="294952"/>
                      </a:lnTo>
                      <a:lnTo>
                        <a:pt x="1240085" y="296628"/>
                      </a:lnTo>
                      <a:lnTo>
                        <a:pt x="1238264" y="297903"/>
                      </a:lnTo>
                      <a:lnTo>
                        <a:pt x="1234293" y="299627"/>
                      </a:lnTo>
                      <a:lnTo>
                        <a:pt x="1231804" y="301691"/>
                      </a:lnTo>
                      <a:lnTo>
                        <a:pt x="1230322" y="302432"/>
                      </a:lnTo>
                      <a:lnTo>
                        <a:pt x="1223947" y="302311"/>
                      </a:lnTo>
                      <a:lnTo>
                        <a:pt x="1227857" y="307569"/>
                      </a:lnTo>
                      <a:lnTo>
                        <a:pt x="1228829" y="310410"/>
                      </a:lnTo>
                      <a:lnTo>
                        <a:pt x="1225793" y="311673"/>
                      </a:lnTo>
                      <a:lnTo>
                        <a:pt x="1223255" y="312219"/>
                      </a:lnTo>
                      <a:lnTo>
                        <a:pt x="1220790" y="313531"/>
                      </a:lnTo>
                      <a:lnTo>
                        <a:pt x="1216140" y="316810"/>
                      </a:lnTo>
                      <a:lnTo>
                        <a:pt x="1200524" y="322444"/>
                      </a:lnTo>
                      <a:lnTo>
                        <a:pt x="1193979" y="327119"/>
                      </a:lnTo>
                      <a:lnTo>
                        <a:pt x="1187725" y="330142"/>
                      </a:lnTo>
                      <a:lnTo>
                        <a:pt x="1183354" y="333530"/>
                      </a:lnTo>
                      <a:lnTo>
                        <a:pt x="1179456" y="337343"/>
                      </a:lnTo>
                      <a:lnTo>
                        <a:pt x="1178302" y="338035"/>
                      </a:lnTo>
                      <a:lnTo>
                        <a:pt x="1175133" y="338837"/>
                      </a:lnTo>
                      <a:lnTo>
                        <a:pt x="1173761" y="339383"/>
                      </a:lnTo>
                      <a:lnTo>
                        <a:pt x="1164629" y="345904"/>
                      </a:lnTo>
                      <a:lnTo>
                        <a:pt x="1163136" y="345746"/>
                      </a:lnTo>
                      <a:lnTo>
                        <a:pt x="1162103" y="343451"/>
                      </a:lnTo>
                      <a:lnTo>
                        <a:pt x="1159469" y="345005"/>
                      </a:lnTo>
                      <a:lnTo>
                        <a:pt x="1156663" y="347167"/>
                      </a:lnTo>
                      <a:lnTo>
                        <a:pt x="1153555" y="349109"/>
                      </a:lnTo>
                      <a:lnTo>
                        <a:pt x="1145795" y="350980"/>
                      </a:lnTo>
                      <a:lnTo>
                        <a:pt x="1138631" y="355606"/>
                      </a:lnTo>
                      <a:lnTo>
                        <a:pt x="1131212" y="357634"/>
                      </a:lnTo>
                      <a:lnTo>
                        <a:pt x="1085518" y="385211"/>
                      </a:lnTo>
                      <a:lnTo>
                        <a:pt x="1081207" y="389740"/>
                      </a:lnTo>
                      <a:lnTo>
                        <a:pt x="1078038" y="395301"/>
                      </a:lnTo>
                      <a:lnTo>
                        <a:pt x="1075743" y="397961"/>
                      </a:lnTo>
                      <a:lnTo>
                        <a:pt x="1069149" y="400462"/>
                      </a:lnTo>
                      <a:lnTo>
                        <a:pt x="1065919" y="403704"/>
                      </a:lnTo>
                      <a:lnTo>
                        <a:pt x="1060589" y="410857"/>
                      </a:lnTo>
                      <a:lnTo>
                        <a:pt x="1054894" y="415969"/>
                      </a:lnTo>
                      <a:lnTo>
                        <a:pt x="1052550" y="419126"/>
                      </a:lnTo>
                      <a:lnTo>
                        <a:pt x="1051166" y="425270"/>
                      </a:lnTo>
                      <a:lnTo>
                        <a:pt x="1043819" y="438627"/>
                      </a:lnTo>
                      <a:lnTo>
                        <a:pt x="1043479" y="442756"/>
                      </a:lnTo>
                      <a:lnTo>
                        <a:pt x="1044280" y="447091"/>
                      </a:lnTo>
                      <a:lnTo>
                        <a:pt x="1046697" y="450540"/>
                      </a:lnTo>
                      <a:lnTo>
                        <a:pt x="1052380" y="452300"/>
                      </a:lnTo>
                      <a:lnTo>
                        <a:pt x="1053351" y="453090"/>
                      </a:lnTo>
                      <a:lnTo>
                        <a:pt x="1054201" y="453988"/>
                      </a:lnTo>
                      <a:lnTo>
                        <a:pt x="1055367" y="454559"/>
                      </a:lnTo>
                      <a:lnTo>
                        <a:pt x="1056387" y="454437"/>
                      </a:lnTo>
                      <a:lnTo>
                        <a:pt x="1057771" y="454000"/>
                      </a:lnTo>
                      <a:lnTo>
                        <a:pt x="1058986" y="453502"/>
                      </a:lnTo>
                      <a:lnTo>
                        <a:pt x="1059216" y="453126"/>
                      </a:lnTo>
                      <a:lnTo>
                        <a:pt x="1062483" y="454789"/>
                      </a:lnTo>
                      <a:lnTo>
                        <a:pt x="1064438" y="452155"/>
                      </a:lnTo>
                      <a:lnTo>
                        <a:pt x="1064207" y="445937"/>
                      </a:lnTo>
                      <a:lnTo>
                        <a:pt x="1063454" y="439453"/>
                      </a:lnTo>
                      <a:lnTo>
                        <a:pt x="1061851" y="433370"/>
                      </a:lnTo>
                      <a:lnTo>
                        <a:pt x="1064207" y="437304"/>
                      </a:lnTo>
                      <a:lnTo>
                        <a:pt x="1065179" y="442622"/>
                      </a:lnTo>
                      <a:lnTo>
                        <a:pt x="1065349" y="451924"/>
                      </a:lnTo>
                      <a:lnTo>
                        <a:pt x="1065009" y="461310"/>
                      </a:lnTo>
                      <a:lnTo>
                        <a:pt x="1062483" y="471012"/>
                      </a:lnTo>
                      <a:lnTo>
                        <a:pt x="1061329" y="481662"/>
                      </a:lnTo>
                      <a:lnTo>
                        <a:pt x="1059836" y="487005"/>
                      </a:lnTo>
                      <a:lnTo>
                        <a:pt x="1055367" y="496671"/>
                      </a:lnTo>
                      <a:lnTo>
                        <a:pt x="1055027" y="498286"/>
                      </a:lnTo>
                      <a:lnTo>
                        <a:pt x="1055306" y="499597"/>
                      </a:lnTo>
                      <a:lnTo>
                        <a:pt x="1055136" y="500556"/>
                      </a:lnTo>
                      <a:lnTo>
                        <a:pt x="1053461" y="500860"/>
                      </a:lnTo>
                      <a:lnTo>
                        <a:pt x="1052550" y="500144"/>
                      </a:lnTo>
                      <a:lnTo>
                        <a:pt x="1051518" y="497144"/>
                      </a:lnTo>
                      <a:lnTo>
                        <a:pt x="1050243" y="496658"/>
                      </a:lnTo>
                      <a:lnTo>
                        <a:pt x="1049113" y="498067"/>
                      </a:lnTo>
                      <a:lnTo>
                        <a:pt x="1049963" y="500824"/>
                      </a:lnTo>
                      <a:lnTo>
                        <a:pt x="1051979" y="503823"/>
                      </a:lnTo>
                      <a:lnTo>
                        <a:pt x="1054104" y="506009"/>
                      </a:lnTo>
                      <a:lnTo>
                        <a:pt x="1045033" y="508765"/>
                      </a:lnTo>
                      <a:lnTo>
                        <a:pt x="1034566" y="518929"/>
                      </a:lnTo>
                      <a:lnTo>
                        <a:pt x="1031773" y="520592"/>
                      </a:lnTo>
                      <a:lnTo>
                        <a:pt x="1028883" y="521200"/>
                      </a:lnTo>
                      <a:lnTo>
                        <a:pt x="1019472" y="525741"/>
                      </a:lnTo>
                      <a:lnTo>
                        <a:pt x="1013450" y="530100"/>
                      </a:lnTo>
                      <a:lnTo>
                        <a:pt x="1009309" y="532104"/>
                      </a:lnTo>
                      <a:lnTo>
                        <a:pt x="1003456" y="531436"/>
                      </a:lnTo>
                      <a:lnTo>
                        <a:pt x="1000699" y="533743"/>
                      </a:lnTo>
                      <a:lnTo>
                        <a:pt x="997895" y="536864"/>
                      </a:lnTo>
                      <a:lnTo>
                        <a:pt x="995065" y="539013"/>
                      </a:lnTo>
                      <a:lnTo>
                        <a:pt x="993001" y="539110"/>
                      </a:lnTo>
                      <a:lnTo>
                        <a:pt x="990427" y="538904"/>
                      </a:lnTo>
                      <a:lnTo>
                        <a:pt x="988241" y="539244"/>
                      </a:lnTo>
                      <a:lnTo>
                        <a:pt x="986699" y="542255"/>
                      </a:lnTo>
                      <a:lnTo>
                        <a:pt x="985314" y="542862"/>
                      </a:lnTo>
                      <a:lnTo>
                        <a:pt x="977676" y="543348"/>
                      </a:lnTo>
                      <a:lnTo>
                        <a:pt x="974046" y="544149"/>
                      </a:lnTo>
                      <a:lnTo>
                        <a:pt x="970500" y="545364"/>
                      </a:lnTo>
                      <a:lnTo>
                        <a:pt x="955795" y="552455"/>
                      </a:lnTo>
                      <a:lnTo>
                        <a:pt x="951994" y="555528"/>
                      </a:lnTo>
                      <a:lnTo>
                        <a:pt x="943446" y="557543"/>
                      </a:lnTo>
                      <a:lnTo>
                        <a:pt x="942353" y="557543"/>
                      </a:lnTo>
                      <a:lnTo>
                        <a:pt x="939426" y="557021"/>
                      </a:lnTo>
                      <a:lnTo>
                        <a:pt x="935856" y="554604"/>
                      </a:lnTo>
                      <a:lnTo>
                        <a:pt x="931971" y="552698"/>
                      </a:lnTo>
                      <a:lnTo>
                        <a:pt x="928218" y="553585"/>
                      </a:lnTo>
                      <a:lnTo>
                        <a:pt x="925365" y="552285"/>
                      </a:lnTo>
                      <a:lnTo>
                        <a:pt x="918577" y="551763"/>
                      </a:lnTo>
                      <a:lnTo>
                        <a:pt x="915432" y="550974"/>
                      </a:lnTo>
                      <a:lnTo>
                        <a:pt x="916525" y="548691"/>
                      </a:lnTo>
                      <a:lnTo>
                        <a:pt x="915650" y="546906"/>
                      </a:lnTo>
                      <a:lnTo>
                        <a:pt x="913367" y="545850"/>
                      </a:lnTo>
                      <a:lnTo>
                        <a:pt x="910198" y="545728"/>
                      </a:lnTo>
                      <a:lnTo>
                        <a:pt x="911862" y="549832"/>
                      </a:lnTo>
                      <a:lnTo>
                        <a:pt x="909397" y="550270"/>
                      </a:lnTo>
                      <a:lnTo>
                        <a:pt x="901880" y="548230"/>
                      </a:lnTo>
                      <a:lnTo>
                        <a:pt x="898031" y="548630"/>
                      </a:lnTo>
                      <a:lnTo>
                        <a:pt x="887066" y="552188"/>
                      </a:lnTo>
                      <a:lnTo>
                        <a:pt x="887867" y="550088"/>
                      </a:lnTo>
                      <a:lnTo>
                        <a:pt x="888778" y="548594"/>
                      </a:lnTo>
                      <a:lnTo>
                        <a:pt x="889191" y="547258"/>
                      </a:lnTo>
                      <a:lnTo>
                        <a:pt x="888438" y="545728"/>
                      </a:lnTo>
                      <a:lnTo>
                        <a:pt x="886034" y="544004"/>
                      </a:lnTo>
                      <a:lnTo>
                        <a:pt x="883727" y="544004"/>
                      </a:lnTo>
                      <a:lnTo>
                        <a:pt x="881432" y="545121"/>
                      </a:lnTo>
                      <a:lnTo>
                        <a:pt x="879367" y="546894"/>
                      </a:lnTo>
                      <a:lnTo>
                        <a:pt x="876319" y="545594"/>
                      </a:lnTo>
                      <a:lnTo>
                        <a:pt x="873612" y="545728"/>
                      </a:lnTo>
                      <a:lnTo>
                        <a:pt x="871037" y="546481"/>
                      </a:lnTo>
                      <a:lnTo>
                        <a:pt x="868402" y="546906"/>
                      </a:lnTo>
                      <a:lnTo>
                        <a:pt x="857546" y="553609"/>
                      </a:lnTo>
                      <a:lnTo>
                        <a:pt x="855470" y="556037"/>
                      </a:lnTo>
                      <a:lnTo>
                        <a:pt x="855761" y="557798"/>
                      </a:lnTo>
                      <a:lnTo>
                        <a:pt x="856915" y="559571"/>
                      </a:lnTo>
                      <a:lnTo>
                        <a:pt x="857546" y="562097"/>
                      </a:lnTo>
                      <a:lnTo>
                        <a:pt x="856575" y="565424"/>
                      </a:lnTo>
                      <a:lnTo>
                        <a:pt x="852082" y="570755"/>
                      </a:lnTo>
                      <a:lnTo>
                        <a:pt x="849848" y="579255"/>
                      </a:lnTo>
                      <a:lnTo>
                        <a:pt x="844578" y="590912"/>
                      </a:lnTo>
                      <a:lnTo>
                        <a:pt x="842623" y="600930"/>
                      </a:lnTo>
                      <a:lnTo>
                        <a:pt x="839283" y="606649"/>
                      </a:lnTo>
                      <a:lnTo>
                        <a:pt x="838130" y="610207"/>
                      </a:lnTo>
                      <a:lnTo>
                        <a:pt x="838021" y="620432"/>
                      </a:lnTo>
                      <a:lnTo>
                        <a:pt x="837001" y="623467"/>
                      </a:lnTo>
                      <a:lnTo>
                        <a:pt x="834232" y="624074"/>
                      </a:lnTo>
                      <a:lnTo>
                        <a:pt x="825453" y="632781"/>
                      </a:lnTo>
                      <a:lnTo>
                        <a:pt x="817001" y="638002"/>
                      </a:lnTo>
                      <a:lnTo>
                        <a:pt x="813905" y="640564"/>
                      </a:lnTo>
                      <a:lnTo>
                        <a:pt x="808683" y="647110"/>
                      </a:lnTo>
                      <a:lnTo>
                        <a:pt x="808574" y="649429"/>
                      </a:lnTo>
                      <a:lnTo>
                        <a:pt x="809424" y="651238"/>
                      </a:lnTo>
                      <a:lnTo>
                        <a:pt x="810517" y="652671"/>
                      </a:lnTo>
                      <a:lnTo>
                        <a:pt x="811209" y="653788"/>
                      </a:lnTo>
                      <a:lnTo>
                        <a:pt x="812472" y="657552"/>
                      </a:lnTo>
                      <a:lnTo>
                        <a:pt x="812472" y="659143"/>
                      </a:lnTo>
                      <a:lnTo>
                        <a:pt x="811209" y="660345"/>
                      </a:lnTo>
                      <a:lnTo>
                        <a:pt x="809776" y="660224"/>
                      </a:lnTo>
                      <a:lnTo>
                        <a:pt x="808112" y="659107"/>
                      </a:lnTo>
                      <a:lnTo>
                        <a:pt x="806680" y="657795"/>
                      </a:lnTo>
                      <a:lnTo>
                        <a:pt x="804943" y="655440"/>
                      </a:lnTo>
                      <a:lnTo>
                        <a:pt x="799369" y="650728"/>
                      </a:lnTo>
                      <a:lnTo>
                        <a:pt x="797767" y="649757"/>
                      </a:lnTo>
                      <a:lnTo>
                        <a:pt x="794209" y="648664"/>
                      </a:lnTo>
                      <a:lnTo>
                        <a:pt x="792023" y="645956"/>
                      </a:lnTo>
                      <a:lnTo>
                        <a:pt x="790942" y="642398"/>
                      </a:lnTo>
                      <a:lnTo>
                        <a:pt x="790651" y="638634"/>
                      </a:lnTo>
                      <a:lnTo>
                        <a:pt x="792023" y="624196"/>
                      </a:lnTo>
                      <a:lnTo>
                        <a:pt x="791792" y="620808"/>
                      </a:lnTo>
                      <a:lnTo>
                        <a:pt x="791270" y="617675"/>
                      </a:lnTo>
                      <a:lnTo>
                        <a:pt x="789449" y="611652"/>
                      </a:lnTo>
                      <a:lnTo>
                        <a:pt x="788696" y="613607"/>
                      </a:lnTo>
                      <a:lnTo>
                        <a:pt x="789449" y="615611"/>
                      </a:lnTo>
                      <a:lnTo>
                        <a:pt x="788064" y="616898"/>
                      </a:lnTo>
                      <a:lnTo>
                        <a:pt x="787445" y="615951"/>
                      </a:lnTo>
                      <a:lnTo>
                        <a:pt x="786923" y="615428"/>
                      </a:lnTo>
                      <a:lnTo>
                        <a:pt x="785490" y="614275"/>
                      </a:lnTo>
                      <a:lnTo>
                        <a:pt x="788477" y="621803"/>
                      </a:lnTo>
                      <a:lnTo>
                        <a:pt x="789327" y="629927"/>
                      </a:lnTo>
                      <a:lnTo>
                        <a:pt x="788295" y="637771"/>
                      </a:lnTo>
                      <a:lnTo>
                        <a:pt x="781811" y="651724"/>
                      </a:lnTo>
                      <a:lnTo>
                        <a:pt x="777039" y="666162"/>
                      </a:lnTo>
                      <a:lnTo>
                        <a:pt x="775144" y="670108"/>
                      </a:lnTo>
                      <a:lnTo>
                        <a:pt x="772740" y="672160"/>
                      </a:lnTo>
                      <a:lnTo>
                        <a:pt x="772898" y="655294"/>
                      </a:lnTo>
                      <a:lnTo>
                        <a:pt x="771866" y="647935"/>
                      </a:lnTo>
                      <a:lnTo>
                        <a:pt x="766875" y="639884"/>
                      </a:lnTo>
                      <a:lnTo>
                        <a:pt x="763888" y="638184"/>
                      </a:lnTo>
                      <a:lnTo>
                        <a:pt x="759407" y="637298"/>
                      </a:lnTo>
                      <a:lnTo>
                        <a:pt x="750798" y="636727"/>
                      </a:lnTo>
                      <a:lnTo>
                        <a:pt x="749304" y="636205"/>
                      </a:lnTo>
                      <a:lnTo>
                        <a:pt x="748151" y="635452"/>
                      </a:lnTo>
                      <a:lnTo>
                        <a:pt x="747021" y="635367"/>
                      </a:lnTo>
                      <a:lnTo>
                        <a:pt x="745686" y="636715"/>
                      </a:lnTo>
                      <a:lnTo>
                        <a:pt x="745164" y="638002"/>
                      </a:lnTo>
                      <a:lnTo>
                        <a:pt x="745625" y="638889"/>
                      </a:lnTo>
                      <a:lnTo>
                        <a:pt x="737307" y="639192"/>
                      </a:lnTo>
                      <a:lnTo>
                        <a:pt x="733858" y="640236"/>
                      </a:lnTo>
                      <a:lnTo>
                        <a:pt x="730920" y="642107"/>
                      </a:lnTo>
                      <a:lnTo>
                        <a:pt x="728455" y="642847"/>
                      </a:lnTo>
                      <a:lnTo>
                        <a:pt x="726512" y="640528"/>
                      </a:lnTo>
                      <a:lnTo>
                        <a:pt x="725188" y="640528"/>
                      </a:lnTo>
                      <a:lnTo>
                        <a:pt x="722893" y="642969"/>
                      </a:lnTo>
                      <a:lnTo>
                        <a:pt x="719967" y="645118"/>
                      </a:lnTo>
                      <a:lnTo>
                        <a:pt x="713592" y="648506"/>
                      </a:lnTo>
                      <a:lnTo>
                        <a:pt x="711868" y="649052"/>
                      </a:lnTo>
                      <a:lnTo>
                        <a:pt x="710556" y="649150"/>
                      </a:lnTo>
                      <a:lnTo>
                        <a:pt x="709281" y="649404"/>
                      </a:lnTo>
                      <a:lnTo>
                        <a:pt x="707848" y="650352"/>
                      </a:lnTo>
                      <a:lnTo>
                        <a:pt x="704861" y="653278"/>
                      </a:lnTo>
                      <a:lnTo>
                        <a:pt x="703137" y="654456"/>
                      </a:lnTo>
                      <a:lnTo>
                        <a:pt x="695098" y="656642"/>
                      </a:lnTo>
                      <a:lnTo>
                        <a:pt x="688784" y="660722"/>
                      </a:lnTo>
                      <a:lnTo>
                        <a:pt x="673800" y="675160"/>
                      </a:lnTo>
                      <a:lnTo>
                        <a:pt x="670691" y="680187"/>
                      </a:lnTo>
                      <a:lnTo>
                        <a:pt x="662494" y="700733"/>
                      </a:lnTo>
                      <a:lnTo>
                        <a:pt x="662081" y="704448"/>
                      </a:lnTo>
                      <a:lnTo>
                        <a:pt x="659094" y="710192"/>
                      </a:lnTo>
                      <a:lnTo>
                        <a:pt x="658414" y="713106"/>
                      </a:lnTo>
                      <a:lnTo>
                        <a:pt x="660928" y="714357"/>
                      </a:lnTo>
                      <a:lnTo>
                        <a:pt x="658924" y="717138"/>
                      </a:lnTo>
                      <a:lnTo>
                        <a:pt x="655816" y="722894"/>
                      </a:lnTo>
                      <a:lnTo>
                        <a:pt x="653751" y="725565"/>
                      </a:lnTo>
                      <a:lnTo>
                        <a:pt x="647607" y="731685"/>
                      </a:lnTo>
                      <a:lnTo>
                        <a:pt x="645094" y="735207"/>
                      </a:lnTo>
                      <a:lnTo>
                        <a:pt x="644049" y="738679"/>
                      </a:lnTo>
                      <a:lnTo>
                        <a:pt x="638306" y="751175"/>
                      </a:lnTo>
                      <a:lnTo>
                        <a:pt x="638658" y="752777"/>
                      </a:lnTo>
                      <a:lnTo>
                        <a:pt x="636751" y="770518"/>
                      </a:lnTo>
                      <a:lnTo>
                        <a:pt x="631238" y="791914"/>
                      </a:lnTo>
                      <a:lnTo>
                        <a:pt x="631530" y="806959"/>
                      </a:lnTo>
                      <a:lnTo>
                        <a:pt x="632853" y="814512"/>
                      </a:lnTo>
                      <a:lnTo>
                        <a:pt x="635100" y="820778"/>
                      </a:lnTo>
                      <a:lnTo>
                        <a:pt x="635039" y="824906"/>
                      </a:lnTo>
                      <a:lnTo>
                        <a:pt x="641062" y="854948"/>
                      </a:lnTo>
                      <a:lnTo>
                        <a:pt x="641584" y="864407"/>
                      </a:lnTo>
                      <a:lnTo>
                        <a:pt x="642094" y="866253"/>
                      </a:lnTo>
                      <a:lnTo>
                        <a:pt x="643248" y="867516"/>
                      </a:lnTo>
                      <a:lnTo>
                        <a:pt x="645373" y="869398"/>
                      </a:lnTo>
                      <a:lnTo>
                        <a:pt x="649805" y="872373"/>
                      </a:lnTo>
                      <a:lnTo>
                        <a:pt x="651286" y="874316"/>
                      </a:lnTo>
                      <a:lnTo>
                        <a:pt x="652549" y="880922"/>
                      </a:lnTo>
                      <a:lnTo>
                        <a:pt x="653873" y="883168"/>
                      </a:lnTo>
                      <a:lnTo>
                        <a:pt x="654796" y="885220"/>
                      </a:lnTo>
                      <a:lnTo>
                        <a:pt x="654334" y="887661"/>
                      </a:lnTo>
                      <a:lnTo>
                        <a:pt x="653120" y="889046"/>
                      </a:lnTo>
                      <a:lnTo>
                        <a:pt x="651517" y="890199"/>
                      </a:lnTo>
                      <a:lnTo>
                        <a:pt x="647947" y="891826"/>
                      </a:lnTo>
                      <a:lnTo>
                        <a:pt x="649283" y="893053"/>
                      </a:lnTo>
                      <a:lnTo>
                        <a:pt x="651238" y="892907"/>
                      </a:lnTo>
                      <a:lnTo>
                        <a:pt x="655706" y="891863"/>
                      </a:lnTo>
                      <a:lnTo>
                        <a:pt x="656981" y="891826"/>
                      </a:lnTo>
                      <a:lnTo>
                        <a:pt x="658232" y="893053"/>
                      </a:lnTo>
                      <a:lnTo>
                        <a:pt x="658123" y="894170"/>
                      </a:lnTo>
                      <a:lnTo>
                        <a:pt x="657431" y="895287"/>
                      </a:lnTo>
                      <a:lnTo>
                        <a:pt x="656981" y="896392"/>
                      </a:lnTo>
                      <a:lnTo>
                        <a:pt x="656629" y="900581"/>
                      </a:lnTo>
                      <a:lnTo>
                        <a:pt x="654334" y="911473"/>
                      </a:lnTo>
                      <a:lnTo>
                        <a:pt x="654844" y="926664"/>
                      </a:lnTo>
                      <a:lnTo>
                        <a:pt x="654164" y="935262"/>
                      </a:lnTo>
                      <a:lnTo>
                        <a:pt x="651238" y="939026"/>
                      </a:lnTo>
                      <a:lnTo>
                        <a:pt x="647036" y="949529"/>
                      </a:lnTo>
                      <a:lnTo>
                        <a:pt x="645373" y="952079"/>
                      </a:lnTo>
                      <a:lnTo>
                        <a:pt x="639690" y="952517"/>
                      </a:lnTo>
                      <a:lnTo>
                        <a:pt x="637674" y="953281"/>
                      </a:lnTo>
                      <a:lnTo>
                        <a:pt x="634809" y="956730"/>
                      </a:lnTo>
                      <a:lnTo>
                        <a:pt x="634469" y="957301"/>
                      </a:lnTo>
                      <a:lnTo>
                        <a:pt x="631651" y="958758"/>
                      </a:lnTo>
                      <a:lnTo>
                        <a:pt x="630049" y="961636"/>
                      </a:lnTo>
                      <a:lnTo>
                        <a:pt x="630838" y="963639"/>
                      </a:lnTo>
                      <a:lnTo>
                        <a:pt x="635100" y="962546"/>
                      </a:lnTo>
                      <a:lnTo>
                        <a:pt x="638366" y="959681"/>
                      </a:lnTo>
                      <a:lnTo>
                        <a:pt x="641305" y="956390"/>
                      </a:lnTo>
                      <a:lnTo>
                        <a:pt x="644049" y="954860"/>
                      </a:lnTo>
                      <a:lnTo>
                        <a:pt x="646745" y="957301"/>
                      </a:lnTo>
                      <a:lnTo>
                        <a:pt x="644450" y="964125"/>
                      </a:lnTo>
                      <a:lnTo>
                        <a:pt x="644911" y="972746"/>
                      </a:lnTo>
                      <a:lnTo>
                        <a:pt x="649392" y="995830"/>
                      </a:lnTo>
                      <a:lnTo>
                        <a:pt x="652088" y="1003432"/>
                      </a:lnTo>
                      <a:lnTo>
                        <a:pt x="665809" y="1031810"/>
                      </a:lnTo>
                      <a:lnTo>
                        <a:pt x="668056" y="1039314"/>
                      </a:lnTo>
                      <a:lnTo>
                        <a:pt x="667364" y="1047839"/>
                      </a:lnTo>
                      <a:lnTo>
                        <a:pt x="663988" y="1054578"/>
                      </a:lnTo>
                      <a:lnTo>
                        <a:pt x="662774" y="1059047"/>
                      </a:lnTo>
                      <a:lnTo>
                        <a:pt x="664037" y="1062847"/>
                      </a:lnTo>
                      <a:lnTo>
                        <a:pt x="665992" y="1066065"/>
                      </a:lnTo>
                      <a:lnTo>
                        <a:pt x="669889" y="1079143"/>
                      </a:lnTo>
                      <a:lnTo>
                        <a:pt x="675342" y="1091480"/>
                      </a:lnTo>
                      <a:lnTo>
                        <a:pt x="675342" y="1091517"/>
                      </a:lnTo>
                      <a:lnTo>
                        <a:pt x="674832" y="1092233"/>
                      </a:lnTo>
                      <a:lnTo>
                        <a:pt x="673569" y="1093933"/>
                      </a:lnTo>
                      <a:lnTo>
                        <a:pt x="673399" y="1094273"/>
                      </a:lnTo>
                      <a:lnTo>
                        <a:pt x="667364" y="1079155"/>
                      </a:lnTo>
                      <a:lnTo>
                        <a:pt x="658293" y="1069259"/>
                      </a:lnTo>
                      <a:lnTo>
                        <a:pt x="655767" y="1062471"/>
                      </a:lnTo>
                      <a:lnTo>
                        <a:pt x="649914" y="1054857"/>
                      </a:lnTo>
                      <a:lnTo>
                        <a:pt x="647947" y="1052963"/>
                      </a:lnTo>
                      <a:lnTo>
                        <a:pt x="647898" y="1068214"/>
                      </a:lnTo>
                      <a:lnTo>
                        <a:pt x="646745" y="1073958"/>
                      </a:lnTo>
                      <a:lnTo>
                        <a:pt x="644049" y="1072380"/>
                      </a:lnTo>
                      <a:lnTo>
                        <a:pt x="643418" y="1070169"/>
                      </a:lnTo>
                      <a:lnTo>
                        <a:pt x="644049" y="1065397"/>
                      </a:lnTo>
                      <a:lnTo>
                        <a:pt x="643418" y="1063345"/>
                      </a:lnTo>
                      <a:lnTo>
                        <a:pt x="641924" y="1062143"/>
                      </a:lnTo>
                      <a:lnTo>
                        <a:pt x="640261" y="1061111"/>
                      </a:lnTo>
                      <a:lnTo>
                        <a:pt x="638937" y="1059471"/>
                      </a:lnTo>
                      <a:lnTo>
                        <a:pt x="638876" y="1063952"/>
                      </a:lnTo>
                      <a:lnTo>
                        <a:pt x="638415" y="1066260"/>
                      </a:lnTo>
                      <a:lnTo>
                        <a:pt x="635501" y="1068336"/>
                      </a:lnTo>
                      <a:lnTo>
                        <a:pt x="631238" y="1073934"/>
                      </a:lnTo>
                      <a:lnTo>
                        <a:pt x="631931" y="1078500"/>
                      </a:lnTo>
                      <a:lnTo>
                        <a:pt x="634347" y="1082458"/>
                      </a:lnTo>
                      <a:lnTo>
                        <a:pt x="640309" y="1089586"/>
                      </a:lnTo>
                      <a:lnTo>
                        <a:pt x="642325" y="1094455"/>
                      </a:lnTo>
                      <a:lnTo>
                        <a:pt x="643709" y="1096532"/>
                      </a:lnTo>
                      <a:lnTo>
                        <a:pt x="646065" y="1097382"/>
                      </a:lnTo>
                      <a:lnTo>
                        <a:pt x="650024" y="1097758"/>
                      </a:lnTo>
                      <a:lnTo>
                        <a:pt x="654334" y="1098705"/>
                      </a:lnTo>
                      <a:lnTo>
                        <a:pt x="662555" y="1098985"/>
                      </a:lnTo>
                      <a:lnTo>
                        <a:pt x="664037" y="1099410"/>
                      </a:lnTo>
                      <a:lnTo>
                        <a:pt x="665421" y="1100806"/>
                      </a:lnTo>
                      <a:lnTo>
                        <a:pt x="666975" y="1101972"/>
                      </a:lnTo>
                      <a:lnTo>
                        <a:pt x="668857" y="1102640"/>
                      </a:lnTo>
                      <a:lnTo>
                        <a:pt x="670132" y="1102664"/>
                      </a:lnTo>
                      <a:lnTo>
                        <a:pt x="670132" y="1102688"/>
                      </a:lnTo>
                      <a:lnTo>
                        <a:pt x="669950" y="1103150"/>
                      </a:lnTo>
                      <a:lnTo>
                        <a:pt x="663624" y="1106076"/>
                      </a:lnTo>
                      <a:lnTo>
                        <a:pt x="659264" y="1106477"/>
                      </a:lnTo>
                      <a:lnTo>
                        <a:pt x="649963" y="1104400"/>
                      </a:lnTo>
                      <a:lnTo>
                        <a:pt x="646915" y="1104352"/>
                      </a:lnTo>
                      <a:lnTo>
                        <a:pt x="642325" y="1104777"/>
                      </a:lnTo>
                      <a:lnTo>
                        <a:pt x="640552" y="1104400"/>
                      </a:lnTo>
                      <a:lnTo>
                        <a:pt x="639629" y="1103575"/>
                      </a:lnTo>
                      <a:lnTo>
                        <a:pt x="639690" y="1102543"/>
                      </a:lnTo>
                      <a:lnTo>
                        <a:pt x="639981" y="1101401"/>
                      </a:lnTo>
                      <a:lnTo>
                        <a:pt x="640261" y="1100612"/>
                      </a:lnTo>
                      <a:lnTo>
                        <a:pt x="641305" y="1098985"/>
                      </a:lnTo>
                      <a:lnTo>
                        <a:pt x="641706" y="1097807"/>
                      </a:lnTo>
                      <a:lnTo>
                        <a:pt x="641924" y="1096884"/>
                      </a:lnTo>
                      <a:lnTo>
                        <a:pt x="641985" y="1094880"/>
                      </a:lnTo>
                      <a:lnTo>
                        <a:pt x="641706" y="1094322"/>
                      </a:lnTo>
                      <a:lnTo>
                        <a:pt x="637164" y="1094152"/>
                      </a:lnTo>
                      <a:lnTo>
                        <a:pt x="634408" y="1092937"/>
                      </a:lnTo>
                      <a:lnTo>
                        <a:pt x="630316" y="1090072"/>
                      </a:lnTo>
                      <a:lnTo>
                        <a:pt x="629065" y="1089792"/>
                      </a:lnTo>
                      <a:lnTo>
                        <a:pt x="627741" y="1090133"/>
                      </a:lnTo>
                      <a:lnTo>
                        <a:pt x="626940" y="1090970"/>
                      </a:lnTo>
                      <a:lnTo>
                        <a:pt x="626648" y="1092027"/>
                      </a:lnTo>
                      <a:lnTo>
                        <a:pt x="626818" y="1092937"/>
                      </a:lnTo>
                      <a:lnTo>
                        <a:pt x="627802" y="1094224"/>
                      </a:lnTo>
                      <a:lnTo>
                        <a:pt x="629004" y="1095269"/>
                      </a:lnTo>
                      <a:lnTo>
                        <a:pt x="630498" y="1096216"/>
                      </a:lnTo>
                      <a:lnTo>
                        <a:pt x="631238" y="1097151"/>
                      </a:lnTo>
                      <a:lnTo>
                        <a:pt x="631603" y="1098135"/>
                      </a:lnTo>
                      <a:lnTo>
                        <a:pt x="631481" y="1099713"/>
                      </a:lnTo>
                      <a:lnTo>
                        <a:pt x="630680" y="1101170"/>
                      </a:lnTo>
                      <a:lnTo>
                        <a:pt x="629344" y="1101996"/>
                      </a:lnTo>
                      <a:lnTo>
                        <a:pt x="625058" y="1103259"/>
                      </a:lnTo>
                      <a:lnTo>
                        <a:pt x="621318" y="1104923"/>
                      </a:lnTo>
                      <a:lnTo>
                        <a:pt x="618391" y="1107363"/>
                      </a:lnTo>
                      <a:lnTo>
                        <a:pt x="615574" y="1110533"/>
                      </a:lnTo>
                      <a:lnTo>
                        <a:pt x="614190" y="1112573"/>
                      </a:lnTo>
                      <a:lnTo>
                        <a:pt x="613850" y="1114261"/>
                      </a:lnTo>
                      <a:lnTo>
                        <a:pt x="613971" y="1115268"/>
                      </a:lnTo>
                      <a:lnTo>
                        <a:pt x="614493" y="1116592"/>
                      </a:lnTo>
                      <a:lnTo>
                        <a:pt x="614773" y="1118073"/>
                      </a:lnTo>
                      <a:lnTo>
                        <a:pt x="614712" y="1119834"/>
                      </a:lnTo>
                      <a:lnTo>
                        <a:pt x="613218" y="1122238"/>
                      </a:lnTo>
                      <a:lnTo>
                        <a:pt x="597542" y="1131528"/>
                      </a:lnTo>
                      <a:lnTo>
                        <a:pt x="586856" y="1135778"/>
                      </a:lnTo>
                      <a:lnTo>
                        <a:pt x="583590" y="1136349"/>
                      </a:lnTo>
                      <a:lnTo>
                        <a:pt x="580894" y="1135960"/>
                      </a:lnTo>
                      <a:lnTo>
                        <a:pt x="579279" y="1135158"/>
                      </a:lnTo>
                      <a:lnTo>
                        <a:pt x="577093" y="1135183"/>
                      </a:lnTo>
                      <a:lnTo>
                        <a:pt x="575952" y="1136094"/>
                      </a:lnTo>
                      <a:lnTo>
                        <a:pt x="575320" y="1137623"/>
                      </a:lnTo>
                      <a:lnTo>
                        <a:pt x="575259" y="1139202"/>
                      </a:lnTo>
                      <a:lnTo>
                        <a:pt x="575551" y="1140513"/>
                      </a:lnTo>
                      <a:lnTo>
                        <a:pt x="576304" y="1141582"/>
                      </a:lnTo>
                      <a:lnTo>
                        <a:pt x="577506" y="1142335"/>
                      </a:lnTo>
                      <a:lnTo>
                        <a:pt x="578817" y="1143027"/>
                      </a:lnTo>
                      <a:lnTo>
                        <a:pt x="580141" y="1143865"/>
                      </a:lnTo>
                      <a:lnTo>
                        <a:pt x="581294" y="1144800"/>
                      </a:lnTo>
                      <a:lnTo>
                        <a:pt x="581987" y="1145893"/>
                      </a:lnTo>
                      <a:lnTo>
                        <a:pt x="582047" y="1147180"/>
                      </a:lnTo>
                      <a:lnTo>
                        <a:pt x="581003" y="1149305"/>
                      </a:lnTo>
                      <a:lnTo>
                        <a:pt x="579340" y="1149936"/>
                      </a:lnTo>
                      <a:lnTo>
                        <a:pt x="577214" y="1149936"/>
                      </a:lnTo>
                      <a:lnTo>
                        <a:pt x="575551" y="1149305"/>
                      </a:lnTo>
                      <a:lnTo>
                        <a:pt x="571945" y="1149305"/>
                      </a:lnTo>
                      <a:lnTo>
                        <a:pt x="568957" y="1149584"/>
                      </a:lnTo>
                      <a:lnTo>
                        <a:pt x="564465" y="1147059"/>
                      </a:lnTo>
                      <a:lnTo>
                        <a:pt x="563420" y="1145650"/>
                      </a:lnTo>
                      <a:lnTo>
                        <a:pt x="563080" y="1144448"/>
                      </a:lnTo>
                      <a:lnTo>
                        <a:pt x="563420" y="1143015"/>
                      </a:lnTo>
                      <a:lnTo>
                        <a:pt x="563554" y="1141145"/>
                      </a:lnTo>
                      <a:lnTo>
                        <a:pt x="562910" y="1138085"/>
                      </a:lnTo>
                      <a:lnTo>
                        <a:pt x="561319" y="1136895"/>
                      </a:lnTo>
                      <a:lnTo>
                        <a:pt x="559061" y="1136470"/>
                      </a:lnTo>
                      <a:lnTo>
                        <a:pt x="546371" y="1139105"/>
                      </a:lnTo>
                      <a:lnTo>
                        <a:pt x="542923" y="1139020"/>
                      </a:lnTo>
                      <a:lnTo>
                        <a:pt x="540968" y="1137830"/>
                      </a:lnTo>
                      <a:lnTo>
                        <a:pt x="539547" y="1135948"/>
                      </a:lnTo>
                      <a:lnTo>
                        <a:pt x="538199" y="1133288"/>
                      </a:lnTo>
                      <a:lnTo>
                        <a:pt x="535807" y="1130313"/>
                      </a:lnTo>
                      <a:lnTo>
                        <a:pt x="533791" y="1128844"/>
                      </a:lnTo>
                      <a:lnTo>
                        <a:pt x="531727" y="1127909"/>
                      </a:lnTo>
                      <a:lnTo>
                        <a:pt x="528509" y="1127265"/>
                      </a:lnTo>
                      <a:lnTo>
                        <a:pt x="525813" y="1127181"/>
                      </a:lnTo>
                      <a:lnTo>
                        <a:pt x="521333" y="1127691"/>
                      </a:lnTo>
                      <a:lnTo>
                        <a:pt x="518054" y="1128844"/>
                      </a:lnTo>
                      <a:lnTo>
                        <a:pt x="517204" y="1129597"/>
                      </a:lnTo>
                      <a:lnTo>
                        <a:pt x="516451" y="1130690"/>
                      </a:lnTo>
                      <a:lnTo>
                        <a:pt x="515990" y="1132123"/>
                      </a:lnTo>
                      <a:lnTo>
                        <a:pt x="515771" y="1135486"/>
                      </a:lnTo>
                      <a:lnTo>
                        <a:pt x="515480" y="1137089"/>
                      </a:lnTo>
                      <a:lnTo>
                        <a:pt x="513586" y="1140878"/>
                      </a:lnTo>
                      <a:lnTo>
                        <a:pt x="513294" y="1142311"/>
                      </a:lnTo>
                      <a:lnTo>
                        <a:pt x="513452" y="1143646"/>
                      </a:lnTo>
                      <a:lnTo>
                        <a:pt x="513913" y="1145589"/>
                      </a:lnTo>
                      <a:lnTo>
                        <a:pt x="513755" y="1147787"/>
                      </a:lnTo>
                      <a:lnTo>
                        <a:pt x="512553" y="1150070"/>
                      </a:lnTo>
                      <a:lnTo>
                        <a:pt x="506275" y="1153166"/>
                      </a:lnTo>
                      <a:lnTo>
                        <a:pt x="504782" y="1154223"/>
                      </a:lnTo>
                      <a:lnTo>
                        <a:pt x="502960" y="1156554"/>
                      </a:lnTo>
                      <a:lnTo>
                        <a:pt x="499512" y="1159590"/>
                      </a:lnTo>
                      <a:lnTo>
                        <a:pt x="495553" y="1164641"/>
                      </a:lnTo>
                      <a:lnTo>
                        <a:pt x="492785" y="1166864"/>
                      </a:lnTo>
                      <a:lnTo>
                        <a:pt x="490733" y="1167374"/>
                      </a:lnTo>
                      <a:lnTo>
                        <a:pt x="489008" y="1166803"/>
                      </a:lnTo>
                      <a:lnTo>
                        <a:pt x="487624" y="1165309"/>
                      </a:lnTo>
                      <a:lnTo>
                        <a:pt x="485851" y="1163828"/>
                      </a:lnTo>
                      <a:lnTo>
                        <a:pt x="483022" y="1163318"/>
                      </a:lnTo>
                      <a:lnTo>
                        <a:pt x="480800" y="1163852"/>
                      </a:lnTo>
                      <a:lnTo>
                        <a:pt x="478662" y="1165710"/>
                      </a:lnTo>
                      <a:lnTo>
                        <a:pt x="472057" y="1175230"/>
                      </a:lnTo>
                      <a:lnTo>
                        <a:pt x="467345" y="1181047"/>
                      </a:lnTo>
                      <a:lnTo>
                        <a:pt x="466034" y="1182140"/>
                      </a:lnTo>
                      <a:lnTo>
                        <a:pt x="464091" y="1183463"/>
                      </a:lnTo>
                      <a:lnTo>
                        <a:pt x="461844" y="1183949"/>
                      </a:lnTo>
                      <a:lnTo>
                        <a:pt x="455117" y="1184519"/>
                      </a:lnTo>
                      <a:lnTo>
                        <a:pt x="451098" y="1185540"/>
                      </a:lnTo>
                      <a:lnTo>
                        <a:pt x="448281" y="1185236"/>
                      </a:lnTo>
                      <a:lnTo>
                        <a:pt x="446216" y="1184228"/>
                      </a:lnTo>
                      <a:lnTo>
                        <a:pt x="444504" y="1183075"/>
                      </a:lnTo>
                      <a:lnTo>
                        <a:pt x="442440" y="1182455"/>
                      </a:lnTo>
                      <a:lnTo>
                        <a:pt x="437546" y="1181994"/>
                      </a:lnTo>
                      <a:lnTo>
                        <a:pt x="436114" y="1181423"/>
                      </a:lnTo>
                      <a:lnTo>
                        <a:pt x="435312" y="1180172"/>
                      </a:lnTo>
                      <a:lnTo>
                        <a:pt x="434741" y="1177477"/>
                      </a:lnTo>
                      <a:lnTo>
                        <a:pt x="434219" y="1176639"/>
                      </a:lnTo>
                      <a:lnTo>
                        <a:pt x="433527" y="1176044"/>
                      </a:lnTo>
                      <a:lnTo>
                        <a:pt x="432446" y="1175461"/>
                      </a:lnTo>
                      <a:lnTo>
                        <a:pt x="431062" y="1174975"/>
                      </a:lnTo>
                      <a:lnTo>
                        <a:pt x="426460" y="1174222"/>
                      </a:lnTo>
                      <a:lnTo>
                        <a:pt x="423254" y="1174198"/>
                      </a:lnTo>
                      <a:lnTo>
                        <a:pt x="421809" y="1174538"/>
                      </a:lnTo>
                      <a:lnTo>
                        <a:pt x="420777" y="1175437"/>
                      </a:lnTo>
                      <a:lnTo>
                        <a:pt x="420097" y="1178229"/>
                      </a:lnTo>
                      <a:lnTo>
                        <a:pt x="419927" y="1179954"/>
                      </a:lnTo>
                      <a:lnTo>
                        <a:pt x="419186" y="1181593"/>
                      </a:lnTo>
                      <a:lnTo>
                        <a:pt x="417790" y="1183317"/>
                      </a:lnTo>
                      <a:lnTo>
                        <a:pt x="415276" y="1184811"/>
                      </a:lnTo>
                      <a:lnTo>
                        <a:pt x="413443" y="1185017"/>
                      </a:lnTo>
                      <a:lnTo>
                        <a:pt x="411949" y="1184167"/>
                      </a:lnTo>
                      <a:lnTo>
                        <a:pt x="410966" y="1182127"/>
                      </a:lnTo>
                      <a:lnTo>
                        <a:pt x="410395" y="1179747"/>
                      </a:lnTo>
                      <a:lnTo>
                        <a:pt x="409302" y="1177707"/>
                      </a:lnTo>
                      <a:lnTo>
                        <a:pt x="407238" y="1176675"/>
                      </a:lnTo>
                      <a:lnTo>
                        <a:pt x="398859" y="1177586"/>
                      </a:lnTo>
                      <a:lnTo>
                        <a:pt x="396212" y="1178132"/>
                      </a:lnTo>
                      <a:lnTo>
                        <a:pt x="391901" y="1179456"/>
                      </a:lnTo>
                      <a:lnTo>
                        <a:pt x="384275" y="1180391"/>
                      </a:lnTo>
                      <a:lnTo>
                        <a:pt x="382138" y="1181022"/>
                      </a:lnTo>
                      <a:lnTo>
                        <a:pt x="380766" y="1182042"/>
                      </a:lnTo>
                      <a:lnTo>
                        <a:pt x="379272" y="1185333"/>
                      </a:lnTo>
                      <a:lnTo>
                        <a:pt x="378180" y="1187094"/>
                      </a:lnTo>
                      <a:lnTo>
                        <a:pt x="376577" y="1188211"/>
                      </a:lnTo>
                      <a:lnTo>
                        <a:pt x="374270" y="1188527"/>
                      </a:lnTo>
                      <a:lnTo>
                        <a:pt x="371975" y="1188599"/>
                      </a:lnTo>
                      <a:lnTo>
                        <a:pt x="370250" y="1189413"/>
                      </a:lnTo>
                      <a:lnTo>
                        <a:pt x="368927" y="1190809"/>
                      </a:lnTo>
                      <a:lnTo>
                        <a:pt x="367093" y="1193542"/>
                      </a:lnTo>
                      <a:lnTo>
                        <a:pt x="366632" y="1195035"/>
                      </a:lnTo>
                      <a:lnTo>
                        <a:pt x="366122" y="1197282"/>
                      </a:lnTo>
                      <a:lnTo>
                        <a:pt x="365782" y="1202649"/>
                      </a:lnTo>
                      <a:lnTo>
                        <a:pt x="365369" y="1204653"/>
                      </a:lnTo>
                      <a:lnTo>
                        <a:pt x="363997" y="1207980"/>
                      </a:lnTo>
                      <a:lnTo>
                        <a:pt x="360718" y="1220621"/>
                      </a:lnTo>
                      <a:lnTo>
                        <a:pt x="355497" y="1234281"/>
                      </a:lnTo>
                      <a:lnTo>
                        <a:pt x="354525" y="1235775"/>
                      </a:lnTo>
                      <a:lnTo>
                        <a:pt x="353384" y="1236892"/>
                      </a:lnTo>
                      <a:lnTo>
                        <a:pt x="346256" y="1242344"/>
                      </a:lnTo>
                      <a:lnTo>
                        <a:pt x="344592" y="1242660"/>
                      </a:lnTo>
                      <a:lnTo>
                        <a:pt x="343159" y="1242089"/>
                      </a:lnTo>
                      <a:lnTo>
                        <a:pt x="342006" y="1240960"/>
                      </a:lnTo>
                      <a:lnTo>
                        <a:pt x="340743" y="1240377"/>
                      </a:lnTo>
                      <a:lnTo>
                        <a:pt x="340051" y="1240632"/>
                      </a:lnTo>
                      <a:lnTo>
                        <a:pt x="339529" y="1241567"/>
                      </a:lnTo>
                      <a:lnTo>
                        <a:pt x="339237" y="1243279"/>
                      </a:lnTo>
                      <a:lnTo>
                        <a:pt x="339480" y="1245635"/>
                      </a:lnTo>
                      <a:lnTo>
                        <a:pt x="339189" y="1248307"/>
                      </a:lnTo>
                      <a:lnTo>
                        <a:pt x="338217" y="1251403"/>
                      </a:lnTo>
                      <a:lnTo>
                        <a:pt x="330118" y="1259939"/>
                      </a:lnTo>
                      <a:lnTo>
                        <a:pt x="327932" y="1261056"/>
                      </a:lnTo>
                      <a:lnTo>
                        <a:pt x="326038" y="1261809"/>
                      </a:lnTo>
                      <a:lnTo>
                        <a:pt x="324775" y="1262016"/>
                      </a:lnTo>
                      <a:lnTo>
                        <a:pt x="320938" y="1262161"/>
                      </a:lnTo>
                      <a:lnTo>
                        <a:pt x="319031" y="1262077"/>
                      </a:lnTo>
                      <a:lnTo>
                        <a:pt x="317259" y="1261797"/>
                      </a:lnTo>
                      <a:lnTo>
                        <a:pt x="312377" y="1260364"/>
                      </a:lnTo>
                      <a:lnTo>
                        <a:pt x="302323" y="1253965"/>
                      </a:lnTo>
                      <a:lnTo>
                        <a:pt x="297684" y="1249678"/>
                      </a:lnTo>
                      <a:lnTo>
                        <a:pt x="289233" y="1237791"/>
                      </a:lnTo>
                      <a:lnTo>
                        <a:pt x="290775" y="1235957"/>
                      </a:lnTo>
                      <a:lnTo>
                        <a:pt x="292280" y="1233638"/>
                      </a:lnTo>
                      <a:lnTo>
                        <a:pt x="292851" y="1231731"/>
                      </a:lnTo>
                      <a:lnTo>
                        <a:pt x="292730" y="1229813"/>
                      </a:lnTo>
                      <a:lnTo>
                        <a:pt x="291418" y="1224761"/>
                      </a:lnTo>
                      <a:lnTo>
                        <a:pt x="291358" y="1221981"/>
                      </a:lnTo>
                      <a:lnTo>
                        <a:pt x="291698" y="1220657"/>
                      </a:lnTo>
                      <a:lnTo>
                        <a:pt x="291989" y="1219904"/>
                      </a:lnTo>
                      <a:lnTo>
                        <a:pt x="292572" y="1219540"/>
                      </a:lnTo>
                      <a:lnTo>
                        <a:pt x="293543" y="1219200"/>
                      </a:lnTo>
                      <a:lnTo>
                        <a:pt x="295037" y="1219163"/>
                      </a:lnTo>
                      <a:lnTo>
                        <a:pt x="296348" y="1219588"/>
                      </a:lnTo>
                      <a:lnTo>
                        <a:pt x="297611" y="1220317"/>
                      </a:lnTo>
                      <a:lnTo>
                        <a:pt x="299178" y="1221665"/>
                      </a:lnTo>
                      <a:lnTo>
                        <a:pt x="299785" y="1221895"/>
                      </a:lnTo>
                      <a:lnTo>
                        <a:pt x="300368" y="1221640"/>
                      </a:lnTo>
                      <a:lnTo>
                        <a:pt x="301181" y="1221033"/>
                      </a:lnTo>
                      <a:lnTo>
                        <a:pt x="302614" y="1219467"/>
                      </a:lnTo>
                      <a:lnTo>
                        <a:pt x="303246" y="1219212"/>
                      </a:lnTo>
                      <a:lnTo>
                        <a:pt x="304848" y="1219188"/>
                      </a:lnTo>
                      <a:lnTo>
                        <a:pt x="306002" y="1219042"/>
                      </a:lnTo>
                      <a:lnTo>
                        <a:pt x="307326" y="1218544"/>
                      </a:lnTo>
                      <a:lnTo>
                        <a:pt x="309098" y="1217463"/>
                      </a:lnTo>
                      <a:lnTo>
                        <a:pt x="309791" y="1216783"/>
                      </a:lnTo>
                      <a:lnTo>
                        <a:pt x="310021" y="1215581"/>
                      </a:lnTo>
                      <a:lnTo>
                        <a:pt x="309961" y="1210979"/>
                      </a:lnTo>
                      <a:lnTo>
                        <a:pt x="310313" y="1209582"/>
                      </a:lnTo>
                      <a:lnTo>
                        <a:pt x="311102" y="1208538"/>
                      </a:lnTo>
                      <a:lnTo>
                        <a:pt x="312377" y="1207967"/>
                      </a:lnTo>
                      <a:lnTo>
                        <a:pt x="313579" y="1207761"/>
                      </a:lnTo>
                      <a:lnTo>
                        <a:pt x="314611" y="1207822"/>
                      </a:lnTo>
                      <a:lnTo>
                        <a:pt x="315704" y="1208271"/>
                      </a:lnTo>
                      <a:lnTo>
                        <a:pt x="317076" y="1208951"/>
                      </a:lnTo>
                      <a:lnTo>
                        <a:pt x="328734" y="1217281"/>
                      </a:lnTo>
                      <a:lnTo>
                        <a:pt x="330980" y="1218083"/>
                      </a:lnTo>
                      <a:lnTo>
                        <a:pt x="332862" y="1217985"/>
                      </a:lnTo>
                      <a:lnTo>
                        <a:pt x="333967" y="1217221"/>
                      </a:lnTo>
                      <a:lnTo>
                        <a:pt x="334028" y="1215399"/>
                      </a:lnTo>
                      <a:lnTo>
                        <a:pt x="333105" y="1213007"/>
                      </a:lnTo>
                      <a:lnTo>
                        <a:pt x="330348" y="1209133"/>
                      </a:lnTo>
                      <a:lnTo>
                        <a:pt x="327932" y="1207409"/>
                      </a:lnTo>
                      <a:lnTo>
                        <a:pt x="325868" y="1206401"/>
                      </a:lnTo>
                      <a:lnTo>
                        <a:pt x="324192" y="1205952"/>
                      </a:lnTo>
                      <a:lnTo>
                        <a:pt x="323561" y="1205272"/>
                      </a:lnTo>
                      <a:lnTo>
                        <a:pt x="323464" y="1204070"/>
                      </a:lnTo>
                      <a:lnTo>
                        <a:pt x="324192" y="1201884"/>
                      </a:lnTo>
                      <a:lnTo>
                        <a:pt x="329037" y="1195824"/>
                      </a:lnTo>
                      <a:lnTo>
                        <a:pt x="331041" y="1192631"/>
                      </a:lnTo>
                      <a:lnTo>
                        <a:pt x="331429" y="1191878"/>
                      </a:lnTo>
                      <a:lnTo>
                        <a:pt x="331891" y="1190421"/>
                      </a:lnTo>
                      <a:lnTo>
                        <a:pt x="332996" y="1186122"/>
                      </a:lnTo>
                      <a:lnTo>
                        <a:pt x="333676" y="1184082"/>
                      </a:lnTo>
                      <a:lnTo>
                        <a:pt x="334538" y="1182820"/>
                      </a:lnTo>
                      <a:lnTo>
                        <a:pt x="335740" y="1182006"/>
                      </a:lnTo>
                      <a:lnTo>
                        <a:pt x="339237" y="1180221"/>
                      </a:lnTo>
                      <a:lnTo>
                        <a:pt x="340451" y="1179249"/>
                      </a:lnTo>
                      <a:lnTo>
                        <a:pt x="342115" y="1177294"/>
                      </a:lnTo>
                      <a:lnTo>
                        <a:pt x="343038" y="1175024"/>
                      </a:lnTo>
                      <a:lnTo>
                        <a:pt x="343499" y="1172243"/>
                      </a:lnTo>
                      <a:lnTo>
                        <a:pt x="343730" y="1167641"/>
                      </a:lnTo>
                      <a:lnTo>
                        <a:pt x="344410" y="1165552"/>
                      </a:lnTo>
                      <a:lnTo>
                        <a:pt x="345612" y="1163913"/>
                      </a:lnTo>
                      <a:lnTo>
                        <a:pt x="348612" y="1160695"/>
                      </a:lnTo>
                      <a:lnTo>
                        <a:pt x="349862" y="1158692"/>
                      </a:lnTo>
                      <a:lnTo>
                        <a:pt x="350615" y="1156736"/>
                      </a:lnTo>
                      <a:lnTo>
                        <a:pt x="351599" y="1152596"/>
                      </a:lnTo>
                      <a:lnTo>
                        <a:pt x="351927" y="1151588"/>
                      </a:lnTo>
                      <a:lnTo>
                        <a:pt x="352169" y="1150434"/>
                      </a:lnTo>
                      <a:lnTo>
                        <a:pt x="352218" y="1149256"/>
                      </a:lnTo>
                      <a:lnTo>
                        <a:pt x="352218" y="1147884"/>
                      </a:lnTo>
                      <a:lnTo>
                        <a:pt x="352291" y="1146269"/>
                      </a:lnTo>
                      <a:lnTo>
                        <a:pt x="352801" y="1143112"/>
                      </a:lnTo>
                      <a:lnTo>
                        <a:pt x="352910" y="1141303"/>
                      </a:lnTo>
                      <a:lnTo>
                        <a:pt x="352801" y="1139579"/>
                      </a:lnTo>
                      <a:lnTo>
                        <a:pt x="352291" y="1137466"/>
                      </a:lnTo>
                      <a:lnTo>
                        <a:pt x="351708" y="1136021"/>
                      </a:lnTo>
                      <a:lnTo>
                        <a:pt x="351016" y="1135013"/>
                      </a:lnTo>
                      <a:lnTo>
                        <a:pt x="350032" y="1134430"/>
                      </a:lnTo>
                      <a:lnTo>
                        <a:pt x="347567" y="1137089"/>
                      </a:lnTo>
                      <a:lnTo>
                        <a:pt x="346535" y="1137939"/>
                      </a:lnTo>
                      <a:lnTo>
                        <a:pt x="345564" y="1138425"/>
                      </a:lnTo>
                      <a:lnTo>
                        <a:pt x="344252" y="1138777"/>
                      </a:lnTo>
                      <a:lnTo>
                        <a:pt x="343038" y="1138801"/>
                      </a:lnTo>
                      <a:lnTo>
                        <a:pt x="341884" y="1138571"/>
                      </a:lnTo>
                      <a:lnTo>
                        <a:pt x="341034" y="1138134"/>
                      </a:lnTo>
                      <a:lnTo>
                        <a:pt x="333506" y="1132232"/>
                      </a:lnTo>
                      <a:lnTo>
                        <a:pt x="332291" y="1131758"/>
                      </a:lnTo>
                      <a:lnTo>
                        <a:pt x="331041" y="1131758"/>
                      </a:lnTo>
                      <a:lnTo>
                        <a:pt x="329936" y="1131941"/>
                      </a:lnTo>
                      <a:lnTo>
                        <a:pt x="329037" y="1131941"/>
                      </a:lnTo>
                      <a:lnTo>
                        <a:pt x="327993" y="1131661"/>
                      </a:lnTo>
                      <a:lnTo>
                        <a:pt x="326961" y="1131175"/>
                      </a:lnTo>
                      <a:lnTo>
                        <a:pt x="325236" y="1129937"/>
                      </a:lnTo>
                      <a:lnTo>
                        <a:pt x="324253" y="1129512"/>
                      </a:lnTo>
                      <a:lnTo>
                        <a:pt x="323051" y="1129682"/>
                      </a:lnTo>
                      <a:lnTo>
                        <a:pt x="320246" y="1131321"/>
                      </a:lnTo>
                      <a:lnTo>
                        <a:pt x="318813" y="1131370"/>
                      </a:lnTo>
                      <a:lnTo>
                        <a:pt x="317659" y="1130435"/>
                      </a:lnTo>
                      <a:lnTo>
                        <a:pt x="316979" y="1127654"/>
                      </a:lnTo>
                      <a:lnTo>
                        <a:pt x="316166" y="1125760"/>
                      </a:lnTo>
                      <a:lnTo>
                        <a:pt x="314733" y="1123938"/>
                      </a:lnTo>
                      <a:lnTo>
                        <a:pt x="313640" y="1122894"/>
                      </a:lnTo>
                      <a:lnTo>
                        <a:pt x="312535" y="1121655"/>
                      </a:lnTo>
                      <a:lnTo>
                        <a:pt x="311867" y="1120259"/>
                      </a:lnTo>
                      <a:lnTo>
                        <a:pt x="311794" y="1118122"/>
                      </a:lnTo>
                      <a:lnTo>
                        <a:pt x="312146" y="1116908"/>
                      </a:lnTo>
                      <a:lnTo>
                        <a:pt x="312826" y="1115766"/>
                      </a:lnTo>
                      <a:lnTo>
                        <a:pt x="313421" y="1115013"/>
                      </a:lnTo>
                      <a:lnTo>
                        <a:pt x="313810" y="1114151"/>
                      </a:lnTo>
                      <a:lnTo>
                        <a:pt x="313980" y="1113143"/>
                      </a:lnTo>
                      <a:lnTo>
                        <a:pt x="313458" y="1104777"/>
                      </a:lnTo>
                      <a:lnTo>
                        <a:pt x="313688" y="1102530"/>
                      </a:lnTo>
                      <a:lnTo>
                        <a:pt x="314101" y="1100661"/>
                      </a:lnTo>
                      <a:lnTo>
                        <a:pt x="314733" y="1098997"/>
                      </a:lnTo>
                      <a:lnTo>
                        <a:pt x="315073" y="1096957"/>
                      </a:lnTo>
                      <a:lnTo>
                        <a:pt x="315000" y="1096520"/>
                      </a:lnTo>
                      <a:lnTo>
                        <a:pt x="314211" y="1091165"/>
                      </a:lnTo>
                      <a:lnTo>
                        <a:pt x="314332" y="1088809"/>
                      </a:lnTo>
                      <a:lnTo>
                        <a:pt x="314733" y="1086684"/>
                      </a:lnTo>
                      <a:lnTo>
                        <a:pt x="316044" y="1082980"/>
                      </a:lnTo>
                      <a:lnTo>
                        <a:pt x="316457" y="1081390"/>
                      </a:lnTo>
                      <a:lnTo>
                        <a:pt x="316166" y="1080127"/>
                      </a:lnTo>
                      <a:lnTo>
                        <a:pt x="315303" y="1079204"/>
                      </a:lnTo>
                      <a:lnTo>
                        <a:pt x="313458" y="1078925"/>
                      </a:lnTo>
                      <a:lnTo>
                        <a:pt x="311964" y="1079082"/>
                      </a:lnTo>
                      <a:lnTo>
                        <a:pt x="309499" y="1079775"/>
                      </a:lnTo>
                      <a:lnTo>
                        <a:pt x="308576" y="1079920"/>
                      </a:lnTo>
                      <a:lnTo>
                        <a:pt x="307666" y="1079860"/>
                      </a:lnTo>
                      <a:lnTo>
                        <a:pt x="306755" y="1079544"/>
                      </a:lnTo>
                      <a:lnTo>
                        <a:pt x="304436" y="1078111"/>
                      </a:lnTo>
                      <a:lnTo>
                        <a:pt x="303246" y="1077625"/>
                      </a:lnTo>
                      <a:lnTo>
                        <a:pt x="302104" y="1077625"/>
                      </a:lnTo>
                      <a:lnTo>
                        <a:pt x="300999" y="1078111"/>
                      </a:lnTo>
                      <a:lnTo>
                        <a:pt x="298534" y="1079714"/>
                      </a:lnTo>
                      <a:lnTo>
                        <a:pt x="297223" y="1080175"/>
                      </a:lnTo>
                      <a:lnTo>
                        <a:pt x="295608" y="1080345"/>
                      </a:lnTo>
                      <a:lnTo>
                        <a:pt x="293762" y="1080236"/>
                      </a:lnTo>
                      <a:lnTo>
                        <a:pt x="289645" y="1079519"/>
                      </a:lnTo>
                      <a:lnTo>
                        <a:pt x="286075" y="1078257"/>
                      </a:lnTo>
                      <a:lnTo>
                        <a:pt x="284242" y="1077820"/>
                      </a:lnTo>
                      <a:lnTo>
                        <a:pt x="281643" y="1077455"/>
                      </a:lnTo>
                      <a:lnTo>
                        <a:pt x="280732" y="1077224"/>
                      </a:lnTo>
                      <a:lnTo>
                        <a:pt x="279300" y="1076253"/>
                      </a:lnTo>
                      <a:lnTo>
                        <a:pt x="277806" y="1074784"/>
                      </a:lnTo>
                      <a:lnTo>
                        <a:pt x="271322" y="1067304"/>
                      </a:lnTo>
                      <a:lnTo>
                        <a:pt x="269925" y="1066357"/>
                      </a:lnTo>
                      <a:lnTo>
                        <a:pt x="268335" y="1065713"/>
                      </a:lnTo>
                      <a:lnTo>
                        <a:pt x="266780" y="1065604"/>
                      </a:lnTo>
                      <a:lnTo>
                        <a:pt x="265117" y="1065932"/>
                      </a:lnTo>
                      <a:lnTo>
                        <a:pt x="261960" y="1067292"/>
                      </a:lnTo>
                      <a:lnTo>
                        <a:pt x="260187" y="1067219"/>
                      </a:lnTo>
                      <a:lnTo>
                        <a:pt x="258912" y="1066187"/>
                      </a:lnTo>
                      <a:lnTo>
                        <a:pt x="257479" y="1063697"/>
                      </a:lnTo>
                      <a:lnTo>
                        <a:pt x="256896" y="1061706"/>
                      </a:lnTo>
                      <a:lnTo>
                        <a:pt x="256738" y="1059933"/>
                      </a:lnTo>
                      <a:lnTo>
                        <a:pt x="257709" y="1058780"/>
                      </a:lnTo>
                      <a:lnTo>
                        <a:pt x="258972" y="1058658"/>
                      </a:lnTo>
                      <a:lnTo>
                        <a:pt x="262008" y="1059374"/>
                      </a:lnTo>
                      <a:lnTo>
                        <a:pt x="263623" y="1059447"/>
                      </a:lnTo>
                      <a:lnTo>
                        <a:pt x="264837" y="1059034"/>
                      </a:lnTo>
                      <a:lnTo>
                        <a:pt x="265870" y="1058209"/>
                      </a:lnTo>
                      <a:lnTo>
                        <a:pt x="265979" y="1056776"/>
                      </a:lnTo>
                      <a:lnTo>
                        <a:pt x="265360" y="1055112"/>
                      </a:lnTo>
                      <a:lnTo>
                        <a:pt x="263332" y="1052149"/>
                      </a:lnTo>
                      <a:lnTo>
                        <a:pt x="262190" y="1050085"/>
                      </a:lnTo>
                      <a:lnTo>
                        <a:pt x="261607" y="1048142"/>
                      </a:lnTo>
                      <a:lnTo>
                        <a:pt x="262348" y="1046041"/>
                      </a:lnTo>
                      <a:lnTo>
                        <a:pt x="264194" y="1042423"/>
                      </a:lnTo>
                      <a:lnTo>
                        <a:pt x="264534" y="1040067"/>
                      </a:lnTo>
                      <a:lnTo>
                        <a:pt x="264364" y="1037602"/>
                      </a:lnTo>
                      <a:lnTo>
                        <a:pt x="263332" y="1033546"/>
                      </a:lnTo>
                      <a:lnTo>
                        <a:pt x="261158" y="1028446"/>
                      </a:lnTo>
                      <a:lnTo>
                        <a:pt x="252306" y="1023128"/>
                      </a:lnTo>
                      <a:lnTo>
                        <a:pt x="246575" y="1026491"/>
                      </a:lnTo>
                      <a:lnTo>
                        <a:pt x="245822" y="1026673"/>
                      </a:lnTo>
                      <a:lnTo>
                        <a:pt x="244729" y="1026516"/>
                      </a:lnTo>
                      <a:lnTo>
                        <a:pt x="242895" y="1025884"/>
                      </a:lnTo>
                      <a:lnTo>
                        <a:pt x="240892" y="1025690"/>
                      </a:lnTo>
                      <a:lnTo>
                        <a:pt x="238754" y="1026139"/>
                      </a:lnTo>
                      <a:lnTo>
                        <a:pt x="236289" y="1027949"/>
                      </a:lnTo>
                      <a:lnTo>
                        <a:pt x="233424" y="1031846"/>
                      </a:lnTo>
                      <a:lnTo>
                        <a:pt x="232209" y="1033085"/>
                      </a:lnTo>
                      <a:lnTo>
                        <a:pt x="231299" y="1033486"/>
                      </a:lnTo>
                      <a:lnTo>
                        <a:pt x="230607" y="1032709"/>
                      </a:lnTo>
                      <a:lnTo>
                        <a:pt x="230145" y="1031397"/>
                      </a:lnTo>
                      <a:lnTo>
                        <a:pt x="229744" y="1029673"/>
                      </a:lnTo>
                      <a:lnTo>
                        <a:pt x="229174" y="1025496"/>
                      </a:lnTo>
                      <a:lnTo>
                        <a:pt x="229174" y="1023893"/>
                      </a:lnTo>
                      <a:lnTo>
                        <a:pt x="229574" y="1022630"/>
                      </a:lnTo>
                      <a:lnTo>
                        <a:pt x="230376" y="1021683"/>
                      </a:lnTo>
                      <a:lnTo>
                        <a:pt x="234007" y="1018598"/>
                      </a:lnTo>
                      <a:lnTo>
                        <a:pt x="234687" y="1017712"/>
                      </a:lnTo>
                      <a:lnTo>
                        <a:pt x="235014" y="1016923"/>
                      </a:lnTo>
                      <a:lnTo>
                        <a:pt x="235196" y="1016279"/>
                      </a:lnTo>
                      <a:lnTo>
                        <a:pt x="235439" y="1011228"/>
                      </a:lnTo>
                      <a:lnTo>
                        <a:pt x="235196" y="1009686"/>
                      </a:lnTo>
                      <a:lnTo>
                        <a:pt x="234856" y="1008581"/>
                      </a:lnTo>
                      <a:lnTo>
                        <a:pt x="234395" y="1008095"/>
                      </a:lnTo>
                      <a:lnTo>
                        <a:pt x="233424" y="1008010"/>
                      </a:lnTo>
                      <a:lnTo>
                        <a:pt x="232331" y="1008410"/>
                      </a:lnTo>
                      <a:lnTo>
                        <a:pt x="230084" y="1009843"/>
                      </a:lnTo>
                      <a:lnTo>
                        <a:pt x="229052" y="1010839"/>
                      </a:lnTo>
                      <a:lnTo>
                        <a:pt x="228141" y="1012223"/>
                      </a:lnTo>
                      <a:lnTo>
                        <a:pt x="227619" y="1013632"/>
                      </a:lnTo>
                      <a:lnTo>
                        <a:pt x="226818" y="1015259"/>
                      </a:lnTo>
                      <a:lnTo>
                        <a:pt x="225264" y="1016473"/>
                      </a:lnTo>
                      <a:lnTo>
                        <a:pt x="223491" y="1016996"/>
                      </a:lnTo>
                      <a:lnTo>
                        <a:pt x="220673" y="1016303"/>
                      </a:lnTo>
                      <a:lnTo>
                        <a:pt x="219241" y="1015441"/>
                      </a:lnTo>
                      <a:lnTo>
                        <a:pt x="218026" y="1014324"/>
                      </a:lnTo>
                      <a:lnTo>
                        <a:pt x="217116" y="1013680"/>
                      </a:lnTo>
                      <a:lnTo>
                        <a:pt x="215841" y="1013474"/>
                      </a:lnTo>
                      <a:lnTo>
                        <a:pt x="211821" y="1013425"/>
                      </a:lnTo>
                      <a:lnTo>
                        <a:pt x="208616" y="1012296"/>
                      </a:lnTo>
                      <a:lnTo>
                        <a:pt x="207122" y="1012211"/>
                      </a:lnTo>
                      <a:lnTo>
                        <a:pt x="205398" y="1013158"/>
                      </a:lnTo>
                      <a:lnTo>
                        <a:pt x="204426" y="1014215"/>
                      </a:lnTo>
                      <a:lnTo>
                        <a:pt x="203673" y="1015514"/>
                      </a:lnTo>
                      <a:lnTo>
                        <a:pt x="203394" y="1016777"/>
                      </a:lnTo>
                      <a:lnTo>
                        <a:pt x="203564" y="1018173"/>
                      </a:lnTo>
                      <a:lnTo>
                        <a:pt x="204183" y="1019570"/>
                      </a:lnTo>
                      <a:lnTo>
                        <a:pt x="205216" y="1020821"/>
                      </a:lnTo>
                      <a:lnTo>
                        <a:pt x="206369" y="1021974"/>
                      </a:lnTo>
                      <a:lnTo>
                        <a:pt x="207013" y="1023140"/>
                      </a:lnTo>
                      <a:lnTo>
                        <a:pt x="207122" y="1024476"/>
                      </a:lnTo>
                      <a:lnTo>
                        <a:pt x="206661" y="1025848"/>
                      </a:lnTo>
                      <a:lnTo>
                        <a:pt x="205677" y="1027111"/>
                      </a:lnTo>
                      <a:lnTo>
                        <a:pt x="204147" y="1028374"/>
                      </a:lnTo>
                      <a:lnTo>
                        <a:pt x="200285" y="1030839"/>
                      </a:lnTo>
                      <a:lnTo>
                        <a:pt x="198610" y="1032271"/>
                      </a:lnTo>
                      <a:lnTo>
                        <a:pt x="196509" y="1034663"/>
                      </a:lnTo>
                      <a:lnTo>
                        <a:pt x="195343" y="1035319"/>
                      </a:lnTo>
                      <a:lnTo>
                        <a:pt x="193571" y="1036036"/>
                      </a:lnTo>
                      <a:lnTo>
                        <a:pt x="190474" y="1036873"/>
                      </a:lnTo>
                      <a:lnTo>
                        <a:pt x="188750" y="1037808"/>
                      </a:lnTo>
                      <a:lnTo>
                        <a:pt x="187365" y="1039338"/>
                      </a:lnTo>
                      <a:lnTo>
                        <a:pt x="186613" y="1041330"/>
                      </a:lnTo>
                      <a:lnTo>
                        <a:pt x="185981" y="1043613"/>
                      </a:lnTo>
                      <a:lnTo>
                        <a:pt x="185253" y="1045556"/>
                      </a:lnTo>
                      <a:lnTo>
                        <a:pt x="184148" y="1046746"/>
                      </a:lnTo>
                      <a:lnTo>
                        <a:pt x="183006" y="1046904"/>
                      </a:lnTo>
                      <a:lnTo>
                        <a:pt x="181743" y="1045799"/>
                      </a:lnTo>
                      <a:lnTo>
                        <a:pt x="181112" y="1044730"/>
                      </a:lnTo>
                      <a:lnTo>
                        <a:pt x="180189" y="1043491"/>
                      </a:lnTo>
                      <a:lnTo>
                        <a:pt x="178756" y="1042738"/>
                      </a:lnTo>
                      <a:lnTo>
                        <a:pt x="176060" y="1042738"/>
                      </a:lnTo>
                      <a:lnTo>
                        <a:pt x="173814" y="1043200"/>
                      </a:lnTo>
                      <a:lnTo>
                        <a:pt x="172041" y="1043771"/>
                      </a:lnTo>
                      <a:lnTo>
                        <a:pt x="170827" y="1044524"/>
                      </a:lnTo>
                      <a:lnTo>
                        <a:pt x="169904" y="1045556"/>
                      </a:lnTo>
                      <a:lnTo>
                        <a:pt x="169576" y="1046685"/>
                      </a:lnTo>
                      <a:lnTo>
                        <a:pt x="169625" y="1048057"/>
                      </a:lnTo>
                      <a:lnTo>
                        <a:pt x="170317" y="1050267"/>
                      </a:lnTo>
                      <a:lnTo>
                        <a:pt x="169685" y="1050850"/>
                      </a:lnTo>
                      <a:lnTo>
                        <a:pt x="168143" y="1051105"/>
                      </a:lnTo>
                      <a:lnTo>
                        <a:pt x="164330" y="1050753"/>
                      </a:lnTo>
                      <a:lnTo>
                        <a:pt x="161987" y="1051336"/>
                      </a:lnTo>
                      <a:lnTo>
                        <a:pt x="157057" y="1053631"/>
                      </a:lnTo>
                      <a:lnTo>
                        <a:pt x="152333" y="1057529"/>
                      </a:lnTo>
                      <a:lnTo>
                        <a:pt x="151301" y="1057905"/>
                      </a:lnTo>
                      <a:lnTo>
                        <a:pt x="150087" y="1057966"/>
                      </a:lnTo>
                      <a:lnTo>
                        <a:pt x="146080" y="1057553"/>
                      </a:lnTo>
                      <a:lnTo>
                        <a:pt x="145047" y="1057735"/>
                      </a:lnTo>
                      <a:lnTo>
                        <a:pt x="143724" y="1058512"/>
                      </a:lnTo>
                      <a:lnTo>
                        <a:pt x="142813" y="1058476"/>
                      </a:lnTo>
                      <a:lnTo>
                        <a:pt x="141660" y="1058002"/>
                      </a:lnTo>
                      <a:lnTo>
                        <a:pt x="141259" y="1054942"/>
                      </a:lnTo>
                      <a:lnTo>
                        <a:pt x="141307" y="1049976"/>
                      </a:lnTo>
                      <a:lnTo>
                        <a:pt x="140858" y="1048094"/>
                      </a:lnTo>
                      <a:lnTo>
                        <a:pt x="139364" y="1043844"/>
                      </a:lnTo>
                      <a:lnTo>
                        <a:pt x="138964" y="1041731"/>
                      </a:lnTo>
                      <a:lnTo>
                        <a:pt x="138332" y="1039751"/>
                      </a:lnTo>
                      <a:lnTo>
                        <a:pt x="137057" y="1038063"/>
                      </a:lnTo>
                      <a:lnTo>
                        <a:pt x="134714" y="1036716"/>
                      </a:lnTo>
                      <a:lnTo>
                        <a:pt x="133390" y="1035137"/>
                      </a:lnTo>
                      <a:lnTo>
                        <a:pt x="132868" y="1033838"/>
                      </a:lnTo>
                      <a:lnTo>
                        <a:pt x="132649" y="1032235"/>
                      </a:lnTo>
                      <a:lnTo>
                        <a:pt x="131617" y="1030996"/>
                      </a:lnTo>
                      <a:lnTo>
                        <a:pt x="130694" y="1030328"/>
                      </a:lnTo>
                      <a:lnTo>
                        <a:pt x="125012" y="1031154"/>
                      </a:lnTo>
                      <a:lnTo>
                        <a:pt x="121514" y="1030219"/>
                      </a:lnTo>
                      <a:lnTo>
                        <a:pt x="118126" y="1029636"/>
                      </a:lnTo>
                      <a:lnTo>
                        <a:pt x="116791" y="1029758"/>
                      </a:lnTo>
                      <a:lnTo>
                        <a:pt x="115297" y="1030061"/>
                      </a:lnTo>
                      <a:lnTo>
                        <a:pt x="113415" y="1029976"/>
                      </a:lnTo>
                      <a:lnTo>
                        <a:pt x="111460" y="1029223"/>
                      </a:lnTo>
                      <a:lnTo>
                        <a:pt x="108983" y="1027499"/>
                      </a:lnTo>
                      <a:lnTo>
                        <a:pt x="107089" y="1026455"/>
                      </a:lnTo>
                      <a:lnTo>
                        <a:pt x="105486" y="1026127"/>
                      </a:lnTo>
                      <a:lnTo>
                        <a:pt x="101928" y="1026625"/>
                      </a:lnTo>
                      <a:lnTo>
                        <a:pt x="100021" y="1026212"/>
                      </a:lnTo>
                      <a:lnTo>
                        <a:pt x="97277" y="1022739"/>
                      </a:lnTo>
                      <a:lnTo>
                        <a:pt x="95553" y="1021683"/>
                      </a:lnTo>
                      <a:lnTo>
                        <a:pt x="94120" y="1021707"/>
                      </a:lnTo>
                      <a:lnTo>
                        <a:pt x="92845" y="1022278"/>
                      </a:lnTo>
                      <a:lnTo>
                        <a:pt x="88996" y="1025010"/>
                      </a:lnTo>
                      <a:lnTo>
                        <a:pt x="87903" y="1024974"/>
                      </a:lnTo>
                      <a:lnTo>
                        <a:pt x="87393" y="1024294"/>
                      </a:lnTo>
                      <a:lnTo>
                        <a:pt x="87283" y="1022399"/>
                      </a:lnTo>
                      <a:lnTo>
                        <a:pt x="87332" y="1020845"/>
                      </a:lnTo>
                      <a:lnTo>
                        <a:pt x="87162" y="1019448"/>
                      </a:lnTo>
                      <a:lnTo>
                        <a:pt x="86652" y="1018610"/>
                      </a:lnTo>
                      <a:lnTo>
                        <a:pt x="85559" y="1018101"/>
                      </a:lnTo>
                      <a:lnTo>
                        <a:pt x="84636" y="1018465"/>
                      </a:lnTo>
                      <a:lnTo>
                        <a:pt x="83896" y="1019011"/>
                      </a:lnTo>
                      <a:lnTo>
                        <a:pt x="83252" y="1020056"/>
                      </a:lnTo>
                      <a:lnTo>
                        <a:pt x="82863" y="1021063"/>
                      </a:lnTo>
                      <a:lnTo>
                        <a:pt x="82633" y="1021913"/>
                      </a:lnTo>
                      <a:lnTo>
                        <a:pt x="82511" y="1022642"/>
                      </a:lnTo>
                      <a:lnTo>
                        <a:pt x="82572" y="1023589"/>
                      </a:lnTo>
                      <a:lnTo>
                        <a:pt x="82511" y="1024463"/>
                      </a:lnTo>
                      <a:lnTo>
                        <a:pt x="82341" y="1025265"/>
                      </a:lnTo>
                      <a:lnTo>
                        <a:pt x="81880" y="1025811"/>
                      </a:lnTo>
                      <a:lnTo>
                        <a:pt x="81139" y="1026297"/>
                      </a:lnTo>
                      <a:lnTo>
                        <a:pt x="77982" y="1027366"/>
                      </a:lnTo>
                      <a:lnTo>
                        <a:pt x="77411" y="1028033"/>
                      </a:lnTo>
                      <a:lnTo>
                        <a:pt x="77290" y="1028883"/>
                      </a:lnTo>
                      <a:lnTo>
                        <a:pt x="77860" y="1029745"/>
                      </a:lnTo>
                      <a:lnTo>
                        <a:pt x="79184" y="1030717"/>
                      </a:lnTo>
                      <a:lnTo>
                        <a:pt x="80447" y="1031263"/>
                      </a:lnTo>
                      <a:lnTo>
                        <a:pt x="81601" y="1032113"/>
                      </a:lnTo>
                      <a:lnTo>
                        <a:pt x="82220" y="1033328"/>
                      </a:lnTo>
                      <a:lnTo>
                        <a:pt x="82463" y="1035865"/>
                      </a:lnTo>
                      <a:lnTo>
                        <a:pt x="82402" y="1037639"/>
                      </a:lnTo>
                      <a:lnTo>
                        <a:pt x="82633" y="1039168"/>
                      </a:lnTo>
                      <a:lnTo>
                        <a:pt x="83616" y="1042144"/>
                      </a:lnTo>
                      <a:lnTo>
                        <a:pt x="83556" y="1043795"/>
                      </a:lnTo>
                      <a:lnTo>
                        <a:pt x="82572" y="1045374"/>
                      </a:lnTo>
                      <a:lnTo>
                        <a:pt x="81090" y="1046260"/>
                      </a:lnTo>
                      <a:lnTo>
                        <a:pt x="79184" y="1046600"/>
                      </a:lnTo>
                      <a:lnTo>
                        <a:pt x="77120" y="1046515"/>
                      </a:lnTo>
                      <a:lnTo>
                        <a:pt x="75225" y="1046175"/>
                      </a:lnTo>
                      <a:lnTo>
                        <a:pt x="71886" y="1045252"/>
                      </a:lnTo>
                      <a:lnTo>
                        <a:pt x="70575" y="1045022"/>
                      </a:lnTo>
                      <a:lnTo>
                        <a:pt x="69542" y="1045337"/>
                      </a:lnTo>
                      <a:lnTo>
                        <a:pt x="68972" y="1046211"/>
                      </a:lnTo>
                      <a:lnTo>
                        <a:pt x="68450" y="1047875"/>
                      </a:lnTo>
                      <a:lnTo>
                        <a:pt x="67697" y="1049223"/>
                      </a:lnTo>
                      <a:lnTo>
                        <a:pt x="66313" y="1049951"/>
                      </a:lnTo>
                      <a:lnTo>
                        <a:pt x="64722" y="1049490"/>
                      </a:lnTo>
                      <a:lnTo>
                        <a:pt x="62937" y="1047826"/>
                      </a:lnTo>
                      <a:lnTo>
                        <a:pt x="60520" y="1045058"/>
                      </a:lnTo>
                      <a:lnTo>
                        <a:pt x="59719" y="1044293"/>
                      </a:lnTo>
                      <a:lnTo>
                        <a:pt x="58808" y="1043625"/>
                      </a:lnTo>
                      <a:lnTo>
                        <a:pt x="58225" y="1043321"/>
                      </a:lnTo>
                      <a:lnTo>
                        <a:pt x="57473" y="1043066"/>
                      </a:lnTo>
                      <a:lnTo>
                        <a:pt x="57145" y="1043285"/>
                      </a:lnTo>
                      <a:lnTo>
                        <a:pt x="56914" y="1043722"/>
                      </a:lnTo>
                      <a:lnTo>
                        <a:pt x="56343" y="1045580"/>
                      </a:lnTo>
                      <a:lnTo>
                        <a:pt x="55760" y="1046867"/>
                      </a:lnTo>
                      <a:lnTo>
                        <a:pt x="54898" y="1048239"/>
                      </a:lnTo>
                      <a:lnTo>
                        <a:pt x="53866" y="1048677"/>
                      </a:lnTo>
                      <a:lnTo>
                        <a:pt x="52834" y="1048069"/>
                      </a:lnTo>
                      <a:lnTo>
                        <a:pt x="51680" y="1045483"/>
                      </a:lnTo>
                      <a:lnTo>
                        <a:pt x="50867" y="1042726"/>
                      </a:lnTo>
                      <a:lnTo>
                        <a:pt x="50126" y="1037821"/>
                      </a:lnTo>
                      <a:lnTo>
                        <a:pt x="50126" y="1035319"/>
                      </a:lnTo>
                      <a:lnTo>
                        <a:pt x="50770" y="1032854"/>
                      </a:lnTo>
                      <a:lnTo>
                        <a:pt x="51862" y="1031482"/>
                      </a:lnTo>
                      <a:lnTo>
                        <a:pt x="54485" y="1028641"/>
                      </a:lnTo>
                      <a:lnTo>
                        <a:pt x="55408" y="1027378"/>
                      </a:lnTo>
                      <a:lnTo>
                        <a:pt x="55979" y="1026115"/>
                      </a:lnTo>
                      <a:lnTo>
                        <a:pt x="56392" y="1024706"/>
                      </a:lnTo>
                      <a:lnTo>
                        <a:pt x="57145" y="1023249"/>
                      </a:lnTo>
                      <a:lnTo>
                        <a:pt x="57825" y="1022290"/>
                      </a:lnTo>
                      <a:lnTo>
                        <a:pt x="58505" y="1021671"/>
                      </a:lnTo>
                      <a:lnTo>
                        <a:pt x="59027" y="1021233"/>
                      </a:lnTo>
                      <a:lnTo>
                        <a:pt x="59840" y="1020444"/>
                      </a:lnTo>
                      <a:lnTo>
                        <a:pt x="60581" y="1019181"/>
                      </a:lnTo>
                      <a:lnTo>
                        <a:pt x="60520" y="1017421"/>
                      </a:lnTo>
                      <a:lnTo>
                        <a:pt x="59597" y="1015526"/>
                      </a:lnTo>
                      <a:lnTo>
                        <a:pt x="58735" y="1014263"/>
                      </a:lnTo>
                      <a:lnTo>
                        <a:pt x="55190" y="1010523"/>
                      </a:lnTo>
                      <a:lnTo>
                        <a:pt x="54157" y="1009054"/>
                      </a:lnTo>
                      <a:lnTo>
                        <a:pt x="51510" y="1004440"/>
                      </a:lnTo>
                      <a:lnTo>
                        <a:pt x="49616" y="1001829"/>
                      </a:lnTo>
                      <a:lnTo>
                        <a:pt x="48754" y="1001052"/>
                      </a:lnTo>
                      <a:lnTo>
                        <a:pt x="47722" y="1000360"/>
                      </a:lnTo>
                      <a:lnTo>
                        <a:pt x="46629" y="998927"/>
                      </a:lnTo>
                      <a:lnTo>
                        <a:pt x="45937" y="996863"/>
                      </a:lnTo>
                      <a:lnTo>
                        <a:pt x="46167" y="993147"/>
                      </a:lnTo>
                      <a:lnTo>
                        <a:pt x="46799" y="991374"/>
                      </a:lnTo>
                      <a:lnTo>
                        <a:pt x="47552" y="990221"/>
                      </a:lnTo>
                      <a:lnTo>
                        <a:pt x="47880" y="989310"/>
                      </a:lnTo>
                      <a:lnTo>
                        <a:pt x="47552" y="988120"/>
                      </a:lnTo>
                      <a:lnTo>
                        <a:pt x="46058" y="985691"/>
                      </a:lnTo>
                      <a:lnTo>
                        <a:pt x="34802" y="974726"/>
                      </a:lnTo>
                      <a:lnTo>
                        <a:pt x="33879" y="973147"/>
                      </a:lnTo>
                      <a:lnTo>
                        <a:pt x="33879" y="971581"/>
                      </a:lnTo>
                      <a:lnTo>
                        <a:pt x="35251" y="969857"/>
                      </a:lnTo>
                      <a:lnTo>
                        <a:pt x="36684" y="969201"/>
                      </a:lnTo>
                      <a:lnTo>
                        <a:pt x="39222" y="968739"/>
                      </a:lnTo>
                      <a:lnTo>
                        <a:pt x="39914" y="968363"/>
                      </a:lnTo>
                      <a:lnTo>
                        <a:pt x="41055" y="966590"/>
                      </a:lnTo>
                      <a:lnTo>
                        <a:pt x="41917" y="965558"/>
                      </a:lnTo>
                      <a:lnTo>
                        <a:pt x="43010" y="964939"/>
                      </a:lnTo>
                      <a:lnTo>
                        <a:pt x="43982" y="964890"/>
                      </a:lnTo>
                      <a:lnTo>
                        <a:pt x="45014" y="965255"/>
                      </a:lnTo>
                      <a:lnTo>
                        <a:pt x="45937" y="965886"/>
                      </a:lnTo>
                      <a:lnTo>
                        <a:pt x="48001" y="967695"/>
                      </a:lnTo>
                      <a:lnTo>
                        <a:pt x="49154" y="968497"/>
                      </a:lnTo>
                      <a:lnTo>
                        <a:pt x="50126" y="968606"/>
                      </a:lnTo>
                      <a:lnTo>
                        <a:pt x="50867" y="968412"/>
                      </a:lnTo>
                      <a:lnTo>
                        <a:pt x="51620" y="968157"/>
                      </a:lnTo>
                      <a:lnTo>
                        <a:pt x="52542" y="968266"/>
                      </a:lnTo>
                      <a:lnTo>
                        <a:pt x="53234" y="969504"/>
                      </a:lnTo>
                      <a:lnTo>
                        <a:pt x="53696" y="971156"/>
                      </a:lnTo>
                      <a:lnTo>
                        <a:pt x="54959" y="980518"/>
                      </a:lnTo>
                      <a:lnTo>
                        <a:pt x="56100" y="984817"/>
                      </a:lnTo>
                      <a:lnTo>
                        <a:pt x="56792" y="986711"/>
                      </a:lnTo>
                      <a:lnTo>
                        <a:pt x="57764" y="988289"/>
                      </a:lnTo>
                      <a:lnTo>
                        <a:pt x="58626" y="989164"/>
                      </a:lnTo>
                      <a:lnTo>
                        <a:pt x="59549" y="989820"/>
                      </a:lnTo>
                      <a:lnTo>
                        <a:pt x="62366" y="991131"/>
                      </a:lnTo>
                      <a:lnTo>
                        <a:pt x="65341" y="992151"/>
                      </a:lnTo>
                      <a:lnTo>
                        <a:pt x="70975" y="993280"/>
                      </a:lnTo>
                      <a:lnTo>
                        <a:pt x="72627" y="993802"/>
                      </a:lnTo>
                      <a:lnTo>
                        <a:pt x="74023" y="994519"/>
                      </a:lnTo>
                      <a:lnTo>
                        <a:pt x="75116" y="995551"/>
                      </a:lnTo>
                      <a:lnTo>
                        <a:pt x="76950" y="998053"/>
                      </a:lnTo>
                      <a:lnTo>
                        <a:pt x="78091" y="999206"/>
                      </a:lnTo>
                      <a:lnTo>
                        <a:pt x="79694" y="1000032"/>
                      </a:lnTo>
                      <a:lnTo>
                        <a:pt x="81540" y="1000153"/>
                      </a:lnTo>
                      <a:lnTo>
                        <a:pt x="84976" y="999789"/>
                      </a:lnTo>
                      <a:lnTo>
                        <a:pt x="90222" y="999935"/>
                      </a:lnTo>
                      <a:lnTo>
                        <a:pt x="92505" y="999692"/>
                      </a:lnTo>
                      <a:lnTo>
                        <a:pt x="104405" y="996753"/>
                      </a:lnTo>
                      <a:lnTo>
                        <a:pt x="105765" y="996753"/>
                      </a:lnTo>
                      <a:lnTo>
                        <a:pt x="107149" y="997166"/>
                      </a:lnTo>
                      <a:lnTo>
                        <a:pt x="108412" y="997798"/>
                      </a:lnTo>
                      <a:lnTo>
                        <a:pt x="109845" y="998271"/>
                      </a:lnTo>
                      <a:lnTo>
                        <a:pt x="112043" y="998490"/>
                      </a:lnTo>
                      <a:lnTo>
                        <a:pt x="112893" y="998963"/>
                      </a:lnTo>
                      <a:lnTo>
                        <a:pt x="113694" y="999728"/>
                      </a:lnTo>
                      <a:lnTo>
                        <a:pt x="114556" y="1000870"/>
                      </a:lnTo>
                      <a:lnTo>
                        <a:pt x="117021" y="1006103"/>
                      </a:lnTo>
                      <a:lnTo>
                        <a:pt x="119839" y="1010608"/>
                      </a:lnTo>
                      <a:lnTo>
                        <a:pt x="120689" y="1012648"/>
                      </a:lnTo>
                      <a:lnTo>
                        <a:pt x="120689" y="1014409"/>
                      </a:lnTo>
                      <a:lnTo>
                        <a:pt x="120409" y="1015963"/>
                      </a:lnTo>
                      <a:lnTo>
                        <a:pt x="120361" y="1017457"/>
                      </a:lnTo>
                      <a:lnTo>
                        <a:pt x="120992" y="1018574"/>
                      </a:lnTo>
                      <a:lnTo>
                        <a:pt x="122704" y="1019206"/>
                      </a:lnTo>
                      <a:lnTo>
                        <a:pt x="125752" y="1019970"/>
                      </a:lnTo>
                      <a:lnTo>
                        <a:pt x="129298" y="1021622"/>
                      </a:lnTo>
                      <a:lnTo>
                        <a:pt x="131156" y="1021950"/>
                      </a:lnTo>
                      <a:lnTo>
                        <a:pt x="132710" y="1021622"/>
                      </a:lnTo>
                      <a:lnTo>
                        <a:pt x="133621" y="1020723"/>
                      </a:lnTo>
                      <a:lnTo>
                        <a:pt x="133803" y="1019534"/>
                      </a:lnTo>
                      <a:lnTo>
                        <a:pt x="133439" y="1018052"/>
                      </a:lnTo>
                      <a:lnTo>
                        <a:pt x="130925" y="1013693"/>
                      </a:lnTo>
                      <a:lnTo>
                        <a:pt x="130694" y="1012636"/>
                      </a:lnTo>
                      <a:lnTo>
                        <a:pt x="130804" y="1011349"/>
                      </a:lnTo>
                      <a:lnTo>
                        <a:pt x="131387" y="1008095"/>
                      </a:lnTo>
                      <a:lnTo>
                        <a:pt x="131034" y="1006893"/>
                      </a:lnTo>
                      <a:lnTo>
                        <a:pt x="130124" y="1005739"/>
                      </a:lnTo>
                      <a:lnTo>
                        <a:pt x="128169" y="1004816"/>
                      </a:lnTo>
                      <a:lnTo>
                        <a:pt x="126675" y="1003869"/>
                      </a:lnTo>
                      <a:lnTo>
                        <a:pt x="125352" y="1002339"/>
                      </a:lnTo>
                      <a:lnTo>
                        <a:pt x="124951" y="1001489"/>
                      </a:lnTo>
                      <a:lnTo>
                        <a:pt x="124769" y="1001101"/>
                      </a:lnTo>
                      <a:lnTo>
                        <a:pt x="124089" y="996935"/>
                      </a:lnTo>
                      <a:lnTo>
                        <a:pt x="123579" y="996037"/>
                      </a:lnTo>
                      <a:lnTo>
                        <a:pt x="121272" y="993390"/>
                      </a:lnTo>
                      <a:lnTo>
                        <a:pt x="120409" y="992175"/>
                      </a:lnTo>
                      <a:lnTo>
                        <a:pt x="120130" y="991034"/>
                      </a:lnTo>
                      <a:lnTo>
                        <a:pt x="120300" y="990147"/>
                      </a:lnTo>
                      <a:lnTo>
                        <a:pt x="120932" y="988909"/>
                      </a:lnTo>
                      <a:lnTo>
                        <a:pt x="125012" y="983518"/>
                      </a:lnTo>
                      <a:lnTo>
                        <a:pt x="125861" y="982133"/>
                      </a:lnTo>
                      <a:lnTo>
                        <a:pt x="126323" y="980640"/>
                      </a:lnTo>
                      <a:lnTo>
                        <a:pt x="125861" y="979644"/>
                      </a:lnTo>
                      <a:lnTo>
                        <a:pt x="124611" y="978842"/>
                      </a:lnTo>
                      <a:lnTo>
                        <a:pt x="122085" y="978575"/>
                      </a:lnTo>
                      <a:lnTo>
                        <a:pt x="120761" y="978247"/>
                      </a:lnTo>
                      <a:lnTo>
                        <a:pt x="120130" y="977567"/>
                      </a:lnTo>
                      <a:lnTo>
                        <a:pt x="120361" y="976948"/>
                      </a:lnTo>
                      <a:lnTo>
                        <a:pt x="120992" y="976183"/>
                      </a:lnTo>
                      <a:lnTo>
                        <a:pt x="124210" y="973633"/>
                      </a:lnTo>
                      <a:lnTo>
                        <a:pt x="127756" y="969784"/>
                      </a:lnTo>
                      <a:lnTo>
                        <a:pt x="129031" y="968982"/>
                      </a:lnTo>
                      <a:lnTo>
                        <a:pt x="130512" y="968399"/>
                      </a:lnTo>
                      <a:lnTo>
                        <a:pt x="133099" y="968011"/>
                      </a:lnTo>
                      <a:lnTo>
                        <a:pt x="141149" y="967732"/>
                      </a:lnTo>
                      <a:lnTo>
                        <a:pt x="143262" y="967270"/>
                      </a:lnTo>
                      <a:lnTo>
                        <a:pt x="144987" y="966457"/>
                      </a:lnTo>
                      <a:lnTo>
                        <a:pt x="145970" y="965449"/>
                      </a:lnTo>
                      <a:lnTo>
                        <a:pt x="146371" y="964222"/>
                      </a:lnTo>
                      <a:lnTo>
                        <a:pt x="146262" y="963045"/>
                      </a:lnTo>
                      <a:lnTo>
                        <a:pt x="145909" y="961612"/>
                      </a:lnTo>
                      <a:lnTo>
                        <a:pt x="144185" y="956985"/>
                      </a:lnTo>
                      <a:lnTo>
                        <a:pt x="143845" y="955237"/>
                      </a:lnTo>
                      <a:lnTo>
                        <a:pt x="143845" y="953536"/>
                      </a:lnTo>
                      <a:lnTo>
                        <a:pt x="144234" y="951703"/>
                      </a:lnTo>
                      <a:lnTo>
                        <a:pt x="145557" y="947963"/>
                      </a:lnTo>
                      <a:lnTo>
                        <a:pt x="145630" y="946494"/>
                      </a:lnTo>
                      <a:lnTo>
                        <a:pt x="145108" y="945522"/>
                      </a:lnTo>
                      <a:lnTo>
                        <a:pt x="143396" y="944830"/>
                      </a:lnTo>
                      <a:lnTo>
                        <a:pt x="138089" y="944223"/>
                      </a:lnTo>
                      <a:lnTo>
                        <a:pt x="136948" y="943652"/>
                      </a:lnTo>
                      <a:lnTo>
                        <a:pt x="136487" y="942875"/>
                      </a:lnTo>
                      <a:lnTo>
                        <a:pt x="136487" y="941794"/>
                      </a:lnTo>
                      <a:lnTo>
                        <a:pt x="136268" y="940981"/>
                      </a:lnTo>
                      <a:lnTo>
                        <a:pt x="135637" y="939949"/>
                      </a:lnTo>
                      <a:lnTo>
                        <a:pt x="134835" y="939184"/>
                      </a:lnTo>
                      <a:lnTo>
                        <a:pt x="133803" y="938358"/>
                      </a:lnTo>
                      <a:lnTo>
                        <a:pt x="131727" y="937144"/>
                      </a:lnTo>
                      <a:lnTo>
                        <a:pt x="130342" y="936864"/>
                      </a:lnTo>
                      <a:lnTo>
                        <a:pt x="128849" y="937058"/>
                      </a:lnTo>
                      <a:lnTo>
                        <a:pt x="126833" y="938188"/>
                      </a:lnTo>
                      <a:lnTo>
                        <a:pt x="125983" y="939499"/>
                      </a:lnTo>
                      <a:lnTo>
                        <a:pt x="125704" y="941163"/>
                      </a:lnTo>
                      <a:lnTo>
                        <a:pt x="126044" y="942839"/>
                      </a:lnTo>
                      <a:lnTo>
                        <a:pt x="126675" y="944599"/>
                      </a:lnTo>
                      <a:lnTo>
                        <a:pt x="127416" y="946129"/>
                      </a:lnTo>
                      <a:lnTo>
                        <a:pt x="130743" y="950938"/>
                      </a:lnTo>
                      <a:lnTo>
                        <a:pt x="131387" y="952698"/>
                      </a:lnTo>
                      <a:lnTo>
                        <a:pt x="131156" y="954326"/>
                      </a:lnTo>
                      <a:lnTo>
                        <a:pt x="129723" y="955455"/>
                      </a:lnTo>
                      <a:lnTo>
                        <a:pt x="127537" y="955479"/>
                      </a:lnTo>
                      <a:lnTo>
                        <a:pt x="125012" y="954022"/>
                      </a:lnTo>
                      <a:lnTo>
                        <a:pt x="123056" y="951897"/>
                      </a:lnTo>
                      <a:lnTo>
                        <a:pt x="120009" y="947307"/>
                      </a:lnTo>
                      <a:lnTo>
                        <a:pt x="118345" y="946409"/>
                      </a:lnTo>
                      <a:lnTo>
                        <a:pt x="115807" y="945619"/>
                      </a:lnTo>
                      <a:lnTo>
                        <a:pt x="110829" y="944527"/>
                      </a:lnTo>
                      <a:lnTo>
                        <a:pt x="108873" y="943409"/>
                      </a:lnTo>
                      <a:lnTo>
                        <a:pt x="107902" y="941940"/>
                      </a:lnTo>
                      <a:lnTo>
                        <a:pt x="107963" y="940471"/>
                      </a:lnTo>
                      <a:lnTo>
                        <a:pt x="107963" y="939062"/>
                      </a:lnTo>
                      <a:lnTo>
                        <a:pt x="107611" y="938018"/>
                      </a:lnTo>
                      <a:lnTo>
                        <a:pt x="106809" y="937180"/>
                      </a:lnTo>
                      <a:lnTo>
                        <a:pt x="105012" y="937058"/>
                      </a:lnTo>
                      <a:lnTo>
                        <a:pt x="102328" y="937338"/>
                      </a:lnTo>
                      <a:lnTo>
                        <a:pt x="97398" y="938528"/>
                      </a:lnTo>
                      <a:lnTo>
                        <a:pt x="93367" y="938613"/>
                      </a:lnTo>
                      <a:lnTo>
                        <a:pt x="90489" y="938212"/>
                      </a:lnTo>
                      <a:lnTo>
                        <a:pt x="88656" y="937520"/>
                      </a:lnTo>
                      <a:lnTo>
                        <a:pt x="85098" y="935334"/>
                      </a:lnTo>
                      <a:lnTo>
                        <a:pt x="83556" y="935249"/>
                      </a:lnTo>
                      <a:lnTo>
                        <a:pt x="81941" y="935820"/>
                      </a:lnTo>
                      <a:lnTo>
                        <a:pt x="79536" y="938018"/>
                      </a:lnTo>
                      <a:lnTo>
                        <a:pt x="77229" y="941503"/>
                      </a:lnTo>
                      <a:lnTo>
                        <a:pt x="74934" y="944429"/>
                      </a:lnTo>
                      <a:lnTo>
                        <a:pt x="74181" y="945850"/>
                      </a:lnTo>
                      <a:lnTo>
                        <a:pt x="73659" y="947817"/>
                      </a:lnTo>
                      <a:lnTo>
                        <a:pt x="74084" y="952966"/>
                      </a:lnTo>
                      <a:lnTo>
                        <a:pt x="73793" y="954484"/>
                      </a:lnTo>
                      <a:lnTo>
                        <a:pt x="73331" y="955637"/>
                      </a:lnTo>
                      <a:lnTo>
                        <a:pt x="72299" y="956584"/>
                      </a:lnTo>
                      <a:lnTo>
                        <a:pt x="70465" y="956912"/>
                      </a:lnTo>
                      <a:lnTo>
                        <a:pt x="67187" y="956754"/>
                      </a:lnTo>
                      <a:lnTo>
                        <a:pt x="63277" y="955455"/>
                      </a:lnTo>
                      <a:lnTo>
                        <a:pt x="58505" y="954338"/>
                      </a:lnTo>
                      <a:lnTo>
                        <a:pt x="52664" y="954022"/>
                      </a:lnTo>
                      <a:lnTo>
                        <a:pt x="41407" y="951739"/>
                      </a:lnTo>
                      <a:lnTo>
                        <a:pt x="40994" y="949748"/>
                      </a:lnTo>
                      <a:lnTo>
                        <a:pt x="41796" y="947999"/>
                      </a:lnTo>
                      <a:lnTo>
                        <a:pt x="42780" y="946530"/>
                      </a:lnTo>
                      <a:lnTo>
                        <a:pt x="43763" y="945182"/>
                      </a:lnTo>
                      <a:lnTo>
                        <a:pt x="44103" y="944016"/>
                      </a:lnTo>
                      <a:lnTo>
                        <a:pt x="43982" y="942766"/>
                      </a:lnTo>
                      <a:lnTo>
                        <a:pt x="42828" y="941527"/>
                      </a:lnTo>
                      <a:lnTo>
                        <a:pt x="36684" y="939001"/>
                      </a:lnTo>
                      <a:lnTo>
                        <a:pt x="35251" y="937909"/>
                      </a:lnTo>
                      <a:lnTo>
                        <a:pt x="33879" y="936391"/>
                      </a:lnTo>
                      <a:lnTo>
                        <a:pt x="32846" y="934630"/>
                      </a:lnTo>
                      <a:lnTo>
                        <a:pt x="32154" y="932772"/>
                      </a:lnTo>
                      <a:lnTo>
                        <a:pt x="31802" y="930610"/>
                      </a:lnTo>
                      <a:lnTo>
                        <a:pt x="32045" y="927854"/>
                      </a:lnTo>
                      <a:lnTo>
                        <a:pt x="32567" y="926130"/>
                      </a:lnTo>
                      <a:lnTo>
                        <a:pt x="33235" y="924745"/>
                      </a:lnTo>
                      <a:lnTo>
                        <a:pt x="33939" y="923920"/>
                      </a:lnTo>
                      <a:lnTo>
                        <a:pt x="34972" y="923203"/>
                      </a:lnTo>
                      <a:lnTo>
                        <a:pt x="35834" y="922851"/>
                      </a:lnTo>
                      <a:lnTo>
                        <a:pt x="36805" y="922924"/>
                      </a:lnTo>
                      <a:lnTo>
                        <a:pt x="37789" y="923155"/>
                      </a:lnTo>
                      <a:lnTo>
                        <a:pt x="39052" y="923349"/>
                      </a:lnTo>
                      <a:lnTo>
                        <a:pt x="40363" y="923155"/>
                      </a:lnTo>
                      <a:lnTo>
                        <a:pt x="41407" y="922511"/>
                      </a:lnTo>
                      <a:lnTo>
                        <a:pt x="41857" y="921625"/>
                      </a:lnTo>
                      <a:lnTo>
                        <a:pt x="42549" y="919160"/>
                      </a:lnTo>
                      <a:lnTo>
                        <a:pt x="43241" y="917945"/>
                      </a:lnTo>
                      <a:lnTo>
                        <a:pt x="45135" y="916063"/>
                      </a:lnTo>
                      <a:lnTo>
                        <a:pt x="45718" y="915043"/>
                      </a:lnTo>
                      <a:lnTo>
                        <a:pt x="45815" y="913501"/>
                      </a:lnTo>
                      <a:lnTo>
                        <a:pt x="45414" y="911777"/>
                      </a:lnTo>
                      <a:lnTo>
                        <a:pt x="44164" y="909506"/>
                      </a:lnTo>
                      <a:lnTo>
                        <a:pt x="43132" y="908474"/>
                      </a:lnTo>
                      <a:lnTo>
                        <a:pt x="41917" y="907915"/>
                      </a:lnTo>
                      <a:lnTo>
                        <a:pt x="38238" y="907915"/>
                      </a:lnTo>
                      <a:lnTo>
                        <a:pt x="34061" y="907369"/>
                      </a:lnTo>
                      <a:lnTo>
                        <a:pt x="32628" y="907490"/>
                      </a:lnTo>
                      <a:lnTo>
                        <a:pt x="31523" y="907806"/>
                      </a:lnTo>
                      <a:lnTo>
                        <a:pt x="28815" y="909215"/>
                      </a:lnTo>
                      <a:lnTo>
                        <a:pt x="27613" y="909518"/>
                      </a:lnTo>
                      <a:lnTo>
                        <a:pt x="26763" y="909458"/>
                      </a:lnTo>
                      <a:lnTo>
                        <a:pt x="25962" y="908948"/>
                      </a:lnTo>
                      <a:lnTo>
                        <a:pt x="25136" y="908025"/>
                      </a:lnTo>
                      <a:lnTo>
                        <a:pt x="23654" y="905329"/>
                      </a:lnTo>
                      <a:lnTo>
                        <a:pt x="21760" y="900775"/>
                      </a:lnTo>
                      <a:lnTo>
                        <a:pt x="20728" y="898978"/>
                      </a:lnTo>
                      <a:lnTo>
                        <a:pt x="19514" y="897363"/>
                      </a:lnTo>
                      <a:lnTo>
                        <a:pt x="18202" y="896428"/>
                      </a:lnTo>
                      <a:lnTo>
                        <a:pt x="16818" y="895736"/>
                      </a:lnTo>
                      <a:lnTo>
                        <a:pt x="13952" y="894728"/>
                      </a:lnTo>
                      <a:lnTo>
                        <a:pt x="12908" y="894073"/>
                      </a:lnTo>
                      <a:lnTo>
                        <a:pt x="12301" y="892810"/>
                      </a:lnTo>
                      <a:lnTo>
                        <a:pt x="9981" y="883739"/>
                      </a:lnTo>
                      <a:lnTo>
                        <a:pt x="9532" y="880606"/>
                      </a:lnTo>
                      <a:lnTo>
                        <a:pt x="9593" y="877886"/>
                      </a:lnTo>
                      <a:lnTo>
                        <a:pt x="10625" y="873187"/>
                      </a:lnTo>
                      <a:lnTo>
                        <a:pt x="12398" y="868633"/>
                      </a:lnTo>
                      <a:lnTo>
                        <a:pt x="14013" y="865670"/>
                      </a:lnTo>
                      <a:lnTo>
                        <a:pt x="14584" y="863400"/>
                      </a:lnTo>
                      <a:lnTo>
                        <a:pt x="14705" y="860959"/>
                      </a:lnTo>
                      <a:lnTo>
                        <a:pt x="13952" y="854839"/>
                      </a:lnTo>
                      <a:lnTo>
                        <a:pt x="14462" y="853066"/>
                      </a:lnTo>
                      <a:lnTo>
                        <a:pt x="15337" y="852495"/>
                      </a:lnTo>
                      <a:lnTo>
                        <a:pt x="19417" y="851014"/>
                      </a:lnTo>
                      <a:lnTo>
                        <a:pt x="20157" y="850589"/>
                      </a:lnTo>
                      <a:lnTo>
                        <a:pt x="20619" y="849945"/>
                      </a:lnTo>
                      <a:lnTo>
                        <a:pt x="21068" y="848852"/>
                      </a:lnTo>
                      <a:lnTo>
                        <a:pt x="23946" y="836746"/>
                      </a:lnTo>
                      <a:lnTo>
                        <a:pt x="24626" y="832034"/>
                      </a:lnTo>
                      <a:lnTo>
                        <a:pt x="24686" y="828707"/>
                      </a:lnTo>
                      <a:lnTo>
                        <a:pt x="25269" y="824688"/>
                      </a:lnTo>
                      <a:lnTo>
                        <a:pt x="25269" y="823073"/>
                      </a:lnTo>
                      <a:lnTo>
                        <a:pt x="24747" y="821470"/>
                      </a:lnTo>
                      <a:lnTo>
                        <a:pt x="23023" y="819418"/>
                      </a:lnTo>
                      <a:lnTo>
                        <a:pt x="21639" y="818568"/>
                      </a:lnTo>
                      <a:lnTo>
                        <a:pt x="20388" y="818106"/>
                      </a:lnTo>
                      <a:lnTo>
                        <a:pt x="19125" y="817827"/>
                      </a:lnTo>
                      <a:lnTo>
                        <a:pt x="17801" y="817342"/>
                      </a:lnTo>
                      <a:lnTo>
                        <a:pt x="14365" y="815010"/>
                      </a:lnTo>
                      <a:lnTo>
                        <a:pt x="13139" y="814500"/>
                      </a:lnTo>
                      <a:lnTo>
                        <a:pt x="7577" y="813298"/>
                      </a:lnTo>
                      <a:lnTo>
                        <a:pt x="6484" y="812921"/>
                      </a:lnTo>
                      <a:lnTo>
                        <a:pt x="6035" y="812254"/>
                      </a:lnTo>
                      <a:lnTo>
                        <a:pt x="6035" y="811501"/>
                      </a:lnTo>
                      <a:lnTo>
                        <a:pt x="7407" y="809570"/>
                      </a:lnTo>
                      <a:lnTo>
                        <a:pt x="9010" y="807833"/>
                      </a:lnTo>
                      <a:lnTo>
                        <a:pt x="9872" y="807081"/>
                      </a:lnTo>
                      <a:lnTo>
                        <a:pt x="10504" y="806012"/>
                      </a:lnTo>
                      <a:lnTo>
                        <a:pt x="10807" y="804616"/>
                      </a:lnTo>
                      <a:lnTo>
                        <a:pt x="10625" y="801847"/>
                      </a:lnTo>
                      <a:lnTo>
                        <a:pt x="10904" y="797281"/>
                      </a:lnTo>
                      <a:lnTo>
                        <a:pt x="14414" y="791477"/>
                      </a:lnTo>
                      <a:lnTo>
                        <a:pt x="16660" y="792230"/>
                      </a:lnTo>
                      <a:lnTo>
                        <a:pt x="33017" y="801665"/>
                      </a:lnTo>
                      <a:lnTo>
                        <a:pt x="36065" y="802272"/>
                      </a:lnTo>
                      <a:lnTo>
                        <a:pt x="41055" y="802709"/>
                      </a:lnTo>
                      <a:lnTo>
                        <a:pt x="43411" y="803401"/>
                      </a:lnTo>
                      <a:lnTo>
                        <a:pt x="46908" y="805041"/>
                      </a:lnTo>
                      <a:lnTo>
                        <a:pt x="48863" y="805381"/>
                      </a:lnTo>
                      <a:lnTo>
                        <a:pt x="50709" y="804955"/>
                      </a:lnTo>
                      <a:lnTo>
                        <a:pt x="53295" y="803644"/>
                      </a:lnTo>
                      <a:lnTo>
                        <a:pt x="55238" y="803231"/>
                      </a:lnTo>
                      <a:lnTo>
                        <a:pt x="57424" y="803086"/>
                      </a:lnTo>
                      <a:lnTo>
                        <a:pt x="58687" y="803377"/>
                      </a:lnTo>
                      <a:lnTo>
                        <a:pt x="59950" y="803863"/>
                      </a:lnTo>
                      <a:lnTo>
                        <a:pt x="61042" y="804737"/>
                      </a:lnTo>
                      <a:lnTo>
                        <a:pt x="61905" y="805806"/>
                      </a:lnTo>
                      <a:lnTo>
                        <a:pt x="62767" y="807141"/>
                      </a:lnTo>
                      <a:lnTo>
                        <a:pt x="63738" y="808185"/>
                      </a:lnTo>
                      <a:lnTo>
                        <a:pt x="65050" y="808538"/>
                      </a:lnTo>
                      <a:lnTo>
                        <a:pt x="66604" y="808283"/>
                      </a:lnTo>
                      <a:lnTo>
                        <a:pt x="68098" y="807615"/>
                      </a:lnTo>
                      <a:lnTo>
                        <a:pt x="69312" y="806789"/>
                      </a:lnTo>
                      <a:lnTo>
                        <a:pt x="73732" y="802479"/>
                      </a:lnTo>
                      <a:lnTo>
                        <a:pt x="74995" y="800730"/>
                      </a:lnTo>
                      <a:lnTo>
                        <a:pt x="76136" y="798228"/>
                      </a:lnTo>
                      <a:lnTo>
                        <a:pt x="77520" y="793322"/>
                      </a:lnTo>
                      <a:lnTo>
                        <a:pt x="78783" y="790760"/>
                      </a:lnTo>
                      <a:lnTo>
                        <a:pt x="79937" y="788939"/>
                      </a:lnTo>
                      <a:lnTo>
                        <a:pt x="81090" y="787470"/>
                      </a:lnTo>
                      <a:lnTo>
                        <a:pt x="81941" y="785928"/>
                      </a:lnTo>
                      <a:lnTo>
                        <a:pt x="82693" y="784155"/>
                      </a:lnTo>
                      <a:lnTo>
                        <a:pt x="83155" y="782358"/>
                      </a:lnTo>
                      <a:lnTo>
                        <a:pt x="83483" y="779929"/>
                      </a:lnTo>
                      <a:lnTo>
                        <a:pt x="83434" y="775983"/>
                      </a:lnTo>
                      <a:lnTo>
                        <a:pt x="82730" y="772255"/>
                      </a:lnTo>
                      <a:lnTo>
                        <a:pt x="79937" y="763038"/>
                      </a:lnTo>
                      <a:lnTo>
                        <a:pt x="78310" y="750409"/>
                      </a:lnTo>
                      <a:lnTo>
                        <a:pt x="76197" y="747702"/>
                      </a:lnTo>
                      <a:lnTo>
                        <a:pt x="74642" y="746609"/>
                      </a:lnTo>
                      <a:lnTo>
                        <a:pt x="72590" y="745516"/>
                      </a:lnTo>
                      <a:lnTo>
                        <a:pt x="66033" y="743962"/>
                      </a:lnTo>
                      <a:lnTo>
                        <a:pt x="64540" y="743209"/>
                      </a:lnTo>
                      <a:lnTo>
                        <a:pt x="63508" y="742091"/>
                      </a:lnTo>
                      <a:lnTo>
                        <a:pt x="62876" y="739505"/>
                      </a:lnTo>
                      <a:lnTo>
                        <a:pt x="61322" y="729451"/>
                      </a:lnTo>
                      <a:lnTo>
                        <a:pt x="60059" y="726318"/>
                      </a:lnTo>
                      <a:lnTo>
                        <a:pt x="58869" y="724460"/>
                      </a:lnTo>
                      <a:lnTo>
                        <a:pt x="57934" y="723829"/>
                      </a:lnTo>
                      <a:lnTo>
                        <a:pt x="56914" y="722566"/>
                      </a:lnTo>
                      <a:lnTo>
                        <a:pt x="56100" y="720866"/>
                      </a:lnTo>
                      <a:lnTo>
                        <a:pt x="55129" y="717514"/>
                      </a:lnTo>
                      <a:lnTo>
                        <a:pt x="53344" y="714017"/>
                      </a:lnTo>
                      <a:lnTo>
                        <a:pt x="52725" y="713264"/>
                      </a:lnTo>
                      <a:lnTo>
                        <a:pt x="52542" y="712402"/>
                      </a:lnTo>
                      <a:lnTo>
                        <a:pt x="52312" y="710884"/>
                      </a:lnTo>
                      <a:lnTo>
                        <a:pt x="53465" y="709306"/>
                      </a:lnTo>
                      <a:lnTo>
                        <a:pt x="54959" y="709876"/>
                      </a:lnTo>
                      <a:lnTo>
                        <a:pt x="58055" y="712439"/>
                      </a:lnTo>
                      <a:lnTo>
                        <a:pt x="58808" y="712803"/>
                      </a:lnTo>
                      <a:lnTo>
                        <a:pt x="59549" y="712633"/>
                      </a:lnTo>
                      <a:lnTo>
                        <a:pt x="60120" y="711285"/>
                      </a:lnTo>
                      <a:lnTo>
                        <a:pt x="60520" y="708868"/>
                      </a:lnTo>
                      <a:lnTo>
                        <a:pt x="60350" y="700259"/>
                      </a:lnTo>
                      <a:lnTo>
                        <a:pt x="58565" y="691711"/>
                      </a:lnTo>
                      <a:lnTo>
                        <a:pt x="58626" y="690630"/>
                      </a:lnTo>
                      <a:lnTo>
                        <a:pt x="58808" y="689719"/>
                      </a:lnTo>
                      <a:lnTo>
                        <a:pt x="59318" y="688262"/>
                      </a:lnTo>
                      <a:lnTo>
                        <a:pt x="60630" y="685797"/>
                      </a:lnTo>
                      <a:lnTo>
                        <a:pt x="62245" y="684024"/>
                      </a:lnTo>
                      <a:lnTo>
                        <a:pt x="64017" y="682846"/>
                      </a:lnTo>
                      <a:lnTo>
                        <a:pt x="65863" y="682360"/>
                      </a:lnTo>
                      <a:lnTo>
                        <a:pt x="67636" y="682433"/>
                      </a:lnTo>
                      <a:lnTo>
                        <a:pt x="69312" y="682871"/>
                      </a:lnTo>
                      <a:lnTo>
                        <a:pt x="71255" y="683623"/>
                      </a:lnTo>
                      <a:lnTo>
                        <a:pt x="73052" y="684024"/>
                      </a:lnTo>
                      <a:lnTo>
                        <a:pt x="74242" y="683271"/>
                      </a:lnTo>
                      <a:lnTo>
                        <a:pt x="74594" y="681438"/>
                      </a:lnTo>
                      <a:lnTo>
                        <a:pt x="73052" y="677042"/>
                      </a:lnTo>
                      <a:lnTo>
                        <a:pt x="70514" y="672719"/>
                      </a:lnTo>
                      <a:lnTo>
                        <a:pt x="68340" y="668032"/>
                      </a:lnTo>
                      <a:lnTo>
                        <a:pt x="67417" y="667315"/>
                      </a:lnTo>
                      <a:lnTo>
                        <a:pt x="66495" y="666890"/>
                      </a:lnTo>
                      <a:lnTo>
                        <a:pt x="65523" y="666538"/>
                      </a:lnTo>
                      <a:lnTo>
                        <a:pt x="64491" y="665785"/>
                      </a:lnTo>
                      <a:lnTo>
                        <a:pt x="63860" y="663442"/>
                      </a:lnTo>
                      <a:lnTo>
                        <a:pt x="63386" y="659544"/>
                      </a:lnTo>
                      <a:lnTo>
                        <a:pt x="64370" y="651190"/>
                      </a:lnTo>
                      <a:lnTo>
                        <a:pt x="64370" y="646490"/>
                      </a:lnTo>
                      <a:lnTo>
                        <a:pt x="65293" y="644450"/>
                      </a:lnTo>
                      <a:lnTo>
                        <a:pt x="65001" y="641754"/>
                      </a:lnTo>
                      <a:lnTo>
                        <a:pt x="72408" y="632684"/>
                      </a:lnTo>
                      <a:lnTo>
                        <a:pt x="85620" y="625046"/>
                      </a:lnTo>
                      <a:lnTo>
                        <a:pt x="89238" y="623795"/>
                      </a:lnTo>
                      <a:lnTo>
                        <a:pt x="101114" y="622022"/>
                      </a:lnTo>
                      <a:lnTo>
                        <a:pt x="102790" y="622338"/>
                      </a:lnTo>
                      <a:lnTo>
                        <a:pt x="106056" y="624050"/>
                      </a:lnTo>
                      <a:lnTo>
                        <a:pt x="108060" y="624754"/>
                      </a:lnTo>
                      <a:lnTo>
                        <a:pt x="116050" y="625726"/>
                      </a:lnTo>
                      <a:lnTo>
                        <a:pt x="139073" y="625956"/>
                      </a:lnTo>
                      <a:lnTo>
                        <a:pt x="139826" y="626199"/>
                      </a:lnTo>
                      <a:lnTo>
                        <a:pt x="142412" y="626503"/>
                      </a:lnTo>
                      <a:lnTo>
                        <a:pt x="144367" y="623868"/>
                      </a:lnTo>
                      <a:lnTo>
                        <a:pt x="147512" y="620638"/>
                      </a:lnTo>
                      <a:lnTo>
                        <a:pt x="147731" y="620261"/>
                      </a:lnTo>
                      <a:cubicBezTo>
                        <a:pt x="147512" y="620249"/>
                        <a:pt x="147658" y="620249"/>
                        <a:pt x="148010" y="620249"/>
                      </a:cubicBezTo>
                      <a:cubicBezTo>
                        <a:pt x="148569" y="620249"/>
                        <a:pt x="149662" y="620261"/>
                        <a:pt x="150657" y="620261"/>
                      </a:cubicBezTo>
                      <a:cubicBezTo>
                        <a:pt x="151277" y="620261"/>
                        <a:pt x="151847" y="620261"/>
                        <a:pt x="152212" y="620249"/>
                      </a:cubicBezTo>
                      <a:lnTo>
                        <a:pt x="152212" y="620759"/>
                      </a:lnTo>
                      <a:lnTo>
                        <a:pt x="152880" y="621755"/>
                      </a:lnTo>
                      <a:lnTo>
                        <a:pt x="153936" y="622569"/>
                      </a:lnTo>
                      <a:lnTo>
                        <a:pt x="154142" y="623674"/>
                      </a:lnTo>
                      <a:lnTo>
                        <a:pt x="153936" y="626394"/>
                      </a:lnTo>
                      <a:lnTo>
                        <a:pt x="152940" y="630656"/>
                      </a:lnTo>
                      <a:lnTo>
                        <a:pt x="157129" y="631530"/>
                      </a:lnTo>
                      <a:lnTo>
                        <a:pt x="160335" y="632028"/>
                      </a:lnTo>
                      <a:lnTo>
                        <a:pt x="164585" y="632295"/>
                      </a:lnTo>
                      <a:lnTo>
                        <a:pt x="166188" y="632684"/>
                      </a:lnTo>
                      <a:lnTo>
                        <a:pt x="167730" y="633291"/>
                      </a:lnTo>
                      <a:lnTo>
                        <a:pt x="169625" y="632975"/>
                      </a:lnTo>
                      <a:lnTo>
                        <a:pt x="171057" y="632404"/>
                      </a:lnTo>
                      <a:lnTo>
                        <a:pt x="172478" y="633133"/>
                      </a:lnTo>
                      <a:lnTo>
                        <a:pt x="173365" y="633898"/>
                      </a:lnTo>
                      <a:lnTo>
                        <a:pt x="174700" y="634845"/>
                      </a:lnTo>
                      <a:lnTo>
                        <a:pt x="175805" y="636217"/>
                      </a:lnTo>
                      <a:lnTo>
                        <a:pt x="177250" y="637869"/>
                      </a:lnTo>
                      <a:lnTo>
                        <a:pt x="178853" y="638706"/>
                      </a:lnTo>
                      <a:lnTo>
                        <a:pt x="180833" y="639144"/>
                      </a:lnTo>
                      <a:lnTo>
                        <a:pt x="185459" y="639642"/>
                      </a:lnTo>
                      <a:lnTo>
                        <a:pt x="187123" y="639362"/>
                      </a:lnTo>
                      <a:lnTo>
                        <a:pt x="188458" y="638379"/>
                      </a:lnTo>
                      <a:lnTo>
                        <a:pt x="189891" y="637711"/>
                      </a:lnTo>
                      <a:lnTo>
                        <a:pt x="191543" y="637201"/>
                      </a:lnTo>
                      <a:lnTo>
                        <a:pt x="193206" y="637541"/>
                      </a:lnTo>
                      <a:lnTo>
                        <a:pt x="194530" y="638039"/>
                      </a:lnTo>
                      <a:lnTo>
                        <a:pt x="195793" y="638755"/>
                      </a:lnTo>
                      <a:lnTo>
                        <a:pt x="197784" y="639253"/>
                      </a:lnTo>
                      <a:lnTo>
                        <a:pt x="199763" y="639083"/>
                      </a:lnTo>
                      <a:lnTo>
                        <a:pt x="201597" y="639751"/>
                      </a:lnTo>
                      <a:lnTo>
                        <a:pt x="203248" y="640528"/>
                      </a:lnTo>
                      <a:lnTo>
                        <a:pt x="205288" y="641014"/>
                      </a:lnTo>
                      <a:lnTo>
                        <a:pt x="207013" y="641293"/>
                      </a:lnTo>
                      <a:lnTo>
                        <a:pt x="208883" y="640953"/>
                      </a:lnTo>
                      <a:lnTo>
                        <a:pt x="210486" y="640467"/>
                      </a:lnTo>
                      <a:lnTo>
                        <a:pt x="211919" y="639642"/>
                      </a:lnTo>
                      <a:lnTo>
                        <a:pt x="213533" y="639302"/>
                      </a:lnTo>
                      <a:lnTo>
                        <a:pt x="214626" y="639642"/>
                      </a:lnTo>
                      <a:lnTo>
                        <a:pt x="216557" y="639642"/>
                      </a:lnTo>
                      <a:lnTo>
                        <a:pt x="217613" y="639302"/>
                      </a:lnTo>
                      <a:lnTo>
                        <a:pt x="219714" y="636108"/>
                      </a:lnTo>
                      <a:lnTo>
                        <a:pt x="221475" y="635379"/>
                      </a:lnTo>
                      <a:lnTo>
                        <a:pt x="223515" y="635440"/>
                      </a:lnTo>
                      <a:lnTo>
                        <a:pt x="227219" y="637541"/>
                      </a:lnTo>
                      <a:lnTo>
                        <a:pt x="231141" y="639144"/>
                      </a:lnTo>
                      <a:lnTo>
                        <a:pt x="234067" y="639459"/>
                      </a:lnTo>
                      <a:lnTo>
                        <a:pt x="237601" y="639241"/>
                      </a:lnTo>
                      <a:lnTo>
                        <a:pt x="239483" y="639569"/>
                      </a:lnTo>
                      <a:lnTo>
                        <a:pt x="243357" y="642107"/>
                      </a:lnTo>
                      <a:lnTo>
                        <a:pt x="244887" y="642434"/>
                      </a:lnTo>
                      <a:lnTo>
                        <a:pt x="245785" y="640018"/>
                      </a:lnTo>
                      <a:lnTo>
                        <a:pt x="247267" y="636752"/>
                      </a:lnTo>
                      <a:lnTo>
                        <a:pt x="247704" y="635525"/>
                      </a:lnTo>
                      <a:lnTo>
                        <a:pt x="249039" y="634857"/>
                      </a:lnTo>
                      <a:lnTo>
                        <a:pt x="249914" y="634092"/>
                      </a:lnTo>
                      <a:lnTo>
                        <a:pt x="251237" y="634214"/>
                      </a:lnTo>
                      <a:lnTo>
                        <a:pt x="251905" y="634967"/>
                      </a:lnTo>
                      <a:lnTo>
                        <a:pt x="252075" y="639933"/>
                      </a:lnTo>
                      <a:lnTo>
                        <a:pt x="253629" y="640212"/>
                      </a:lnTo>
                      <a:lnTo>
                        <a:pt x="255439" y="644122"/>
                      </a:lnTo>
                      <a:lnTo>
                        <a:pt x="256386" y="645240"/>
                      </a:lnTo>
                      <a:lnTo>
                        <a:pt x="263392" y="648445"/>
                      </a:lnTo>
                      <a:lnTo>
                        <a:pt x="264935" y="648554"/>
                      </a:lnTo>
                      <a:lnTo>
                        <a:pt x="266890" y="648008"/>
                      </a:lnTo>
                      <a:lnTo>
                        <a:pt x="268201" y="647061"/>
                      </a:lnTo>
                      <a:lnTo>
                        <a:pt x="268031" y="644414"/>
                      </a:lnTo>
                      <a:lnTo>
                        <a:pt x="270253" y="644135"/>
                      </a:lnTo>
                      <a:lnTo>
                        <a:pt x="272232" y="644207"/>
                      </a:lnTo>
                      <a:lnTo>
                        <a:pt x="272682" y="644365"/>
                      </a:lnTo>
                      <a:lnTo>
                        <a:pt x="275220" y="644365"/>
                      </a:lnTo>
                      <a:lnTo>
                        <a:pt x="275997" y="643600"/>
                      </a:lnTo>
                      <a:lnTo>
                        <a:pt x="276325" y="641062"/>
                      </a:lnTo>
                      <a:lnTo>
                        <a:pt x="276992" y="639897"/>
                      </a:lnTo>
                      <a:lnTo>
                        <a:pt x="277928" y="638512"/>
                      </a:lnTo>
                      <a:lnTo>
                        <a:pt x="278365" y="636982"/>
                      </a:lnTo>
                      <a:lnTo>
                        <a:pt x="277928" y="635598"/>
                      </a:lnTo>
                      <a:lnTo>
                        <a:pt x="278097" y="634542"/>
                      </a:lnTo>
                      <a:lnTo>
                        <a:pt x="281182" y="632271"/>
                      </a:lnTo>
                      <a:lnTo>
                        <a:pt x="282845" y="631336"/>
                      </a:lnTo>
                      <a:lnTo>
                        <a:pt x="287047" y="630122"/>
                      </a:lnTo>
                      <a:lnTo>
                        <a:pt x="288917" y="629065"/>
                      </a:lnTo>
                      <a:lnTo>
                        <a:pt x="289852" y="627571"/>
                      </a:lnTo>
                      <a:lnTo>
                        <a:pt x="290083" y="625641"/>
                      </a:lnTo>
                      <a:lnTo>
                        <a:pt x="290678" y="623163"/>
                      </a:lnTo>
                      <a:lnTo>
                        <a:pt x="290848" y="621548"/>
                      </a:lnTo>
                      <a:lnTo>
                        <a:pt x="291406" y="621051"/>
                      </a:lnTo>
                      <a:lnTo>
                        <a:pt x="291734" y="619630"/>
                      </a:lnTo>
                      <a:lnTo>
                        <a:pt x="292997" y="616534"/>
                      </a:lnTo>
                      <a:lnTo>
                        <a:pt x="292778" y="614542"/>
                      </a:lnTo>
                      <a:lnTo>
                        <a:pt x="291467" y="610571"/>
                      </a:lnTo>
                      <a:lnTo>
                        <a:pt x="292463" y="609515"/>
                      </a:lnTo>
                      <a:lnTo>
                        <a:pt x="294612" y="608786"/>
                      </a:lnTo>
                      <a:lnTo>
                        <a:pt x="296980" y="609345"/>
                      </a:lnTo>
                      <a:lnTo>
                        <a:pt x="299080" y="610013"/>
                      </a:lnTo>
                      <a:lnTo>
                        <a:pt x="303500" y="609904"/>
                      </a:lnTo>
                      <a:lnTo>
                        <a:pt x="304873" y="608349"/>
                      </a:lnTo>
                      <a:lnTo>
                        <a:pt x="306318" y="606479"/>
                      </a:lnTo>
                      <a:lnTo>
                        <a:pt x="308030" y="605374"/>
                      </a:lnTo>
                      <a:lnTo>
                        <a:pt x="310398" y="605047"/>
                      </a:lnTo>
                      <a:lnTo>
                        <a:pt x="313543" y="603990"/>
                      </a:lnTo>
                      <a:lnTo>
                        <a:pt x="316263" y="601780"/>
                      </a:lnTo>
                      <a:lnTo>
                        <a:pt x="320234" y="600007"/>
                      </a:lnTo>
                      <a:lnTo>
                        <a:pt x="323099" y="599618"/>
                      </a:lnTo>
                      <a:lnTo>
                        <a:pt x="328685" y="600007"/>
                      </a:lnTo>
                      <a:lnTo>
                        <a:pt x="337027" y="601500"/>
                      </a:lnTo>
                      <a:lnTo>
                        <a:pt x="341727" y="602982"/>
                      </a:lnTo>
                      <a:lnTo>
                        <a:pt x="343985" y="603540"/>
                      </a:lnTo>
                      <a:lnTo>
                        <a:pt x="346584" y="604706"/>
                      </a:lnTo>
                      <a:lnTo>
                        <a:pt x="348891" y="604646"/>
                      </a:lnTo>
                      <a:lnTo>
                        <a:pt x="350336" y="603601"/>
                      </a:lnTo>
                      <a:lnTo>
                        <a:pt x="352109" y="602059"/>
                      </a:lnTo>
                      <a:lnTo>
                        <a:pt x="355084" y="598793"/>
                      </a:lnTo>
                      <a:lnTo>
                        <a:pt x="357124" y="597020"/>
                      </a:lnTo>
                      <a:lnTo>
                        <a:pt x="359662" y="596583"/>
                      </a:lnTo>
                      <a:lnTo>
                        <a:pt x="363317" y="598028"/>
                      </a:lnTo>
                      <a:lnTo>
                        <a:pt x="365187" y="599679"/>
                      </a:lnTo>
                      <a:lnTo>
                        <a:pt x="367287" y="601841"/>
                      </a:lnTo>
                      <a:lnTo>
                        <a:pt x="369279" y="604767"/>
                      </a:lnTo>
                      <a:lnTo>
                        <a:pt x="370493" y="606079"/>
                      </a:lnTo>
                      <a:lnTo>
                        <a:pt x="372642" y="607742"/>
                      </a:lnTo>
                      <a:lnTo>
                        <a:pt x="377730" y="610401"/>
                      </a:lnTo>
                      <a:lnTo>
                        <a:pt x="379989" y="611069"/>
                      </a:lnTo>
                      <a:lnTo>
                        <a:pt x="382418" y="611446"/>
                      </a:lnTo>
                      <a:lnTo>
                        <a:pt x="385247" y="611446"/>
                      </a:lnTo>
                      <a:lnTo>
                        <a:pt x="389169" y="610948"/>
                      </a:lnTo>
                      <a:lnTo>
                        <a:pt x="391974" y="609236"/>
                      </a:lnTo>
                      <a:lnTo>
                        <a:pt x="395350" y="606637"/>
                      </a:lnTo>
                      <a:lnTo>
                        <a:pt x="396406" y="605471"/>
                      </a:lnTo>
                      <a:lnTo>
                        <a:pt x="397888" y="603540"/>
                      </a:lnTo>
                      <a:lnTo>
                        <a:pt x="400595" y="598793"/>
                      </a:lnTo>
                      <a:lnTo>
                        <a:pt x="401142" y="597469"/>
                      </a:lnTo>
                      <a:lnTo>
                        <a:pt x="401373" y="595806"/>
                      </a:lnTo>
                      <a:lnTo>
                        <a:pt x="400935" y="594264"/>
                      </a:lnTo>
                      <a:lnTo>
                        <a:pt x="400207" y="592490"/>
                      </a:lnTo>
                      <a:lnTo>
                        <a:pt x="399660" y="590001"/>
                      </a:lnTo>
                      <a:lnTo>
                        <a:pt x="399539" y="588228"/>
                      </a:lnTo>
                      <a:lnTo>
                        <a:pt x="399830" y="586407"/>
                      </a:lnTo>
                      <a:lnTo>
                        <a:pt x="400935" y="585472"/>
                      </a:lnTo>
                      <a:lnTo>
                        <a:pt x="402478" y="584925"/>
                      </a:lnTo>
                      <a:lnTo>
                        <a:pt x="404348" y="585096"/>
                      </a:lnTo>
                      <a:lnTo>
                        <a:pt x="405562" y="586140"/>
                      </a:lnTo>
                      <a:lnTo>
                        <a:pt x="406169" y="587913"/>
                      </a:lnTo>
                      <a:lnTo>
                        <a:pt x="406509" y="589576"/>
                      </a:lnTo>
                      <a:lnTo>
                        <a:pt x="406788" y="592224"/>
                      </a:lnTo>
                      <a:lnTo>
                        <a:pt x="407395" y="594446"/>
                      </a:lnTo>
                      <a:lnTo>
                        <a:pt x="410431" y="596656"/>
                      </a:lnTo>
                      <a:lnTo>
                        <a:pt x="412690" y="596826"/>
                      </a:lnTo>
                      <a:lnTo>
                        <a:pt x="414463" y="595393"/>
                      </a:lnTo>
                      <a:lnTo>
                        <a:pt x="414961" y="594664"/>
                      </a:lnTo>
                      <a:lnTo>
                        <a:pt x="415726" y="593790"/>
                      </a:lnTo>
                      <a:lnTo>
                        <a:pt x="416563" y="592187"/>
                      </a:lnTo>
                      <a:lnTo>
                        <a:pt x="416394" y="589928"/>
                      </a:lnTo>
                      <a:lnTo>
                        <a:pt x="413528" y="583893"/>
                      </a:lnTo>
                      <a:lnTo>
                        <a:pt x="413528" y="580627"/>
                      </a:lnTo>
                      <a:lnTo>
                        <a:pt x="413965" y="578915"/>
                      </a:lnTo>
                      <a:lnTo>
                        <a:pt x="417268" y="576765"/>
                      </a:lnTo>
                      <a:lnTo>
                        <a:pt x="420158" y="575321"/>
                      </a:lnTo>
                      <a:lnTo>
                        <a:pt x="423521" y="573948"/>
                      </a:lnTo>
                      <a:lnTo>
                        <a:pt x="427103" y="572783"/>
                      </a:lnTo>
                      <a:lnTo>
                        <a:pt x="429702" y="571799"/>
                      </a:lnTo>
                      <a:lnTo>
                        <a:pt x="433017" y="569467"/>
                      </a:lnTo>
                      <a:lnTo>
                        <a:pt x="434887" y="568751"/>
                      </a:lnTo>
                      <a:lnTo>
                        <a:pt x="436939" y="568423"/>
                      </a:lnTo>
                      <a:lnTo>
                        <a:pt x="439089" y="568593"/>
                      </a:lnTo>
                      <a:lnTo>
                        <a:pt x="441250" y="569091"/>
                      </a:lnTo>
                      <a:lnTo>
                        <a:pt x="443958" y="569905"/>
                      </a:lnTo>
                      <a:lnTo>
                        <a:pt x="454061" y="569965"/>
                      </a:lnTo>
                      <a:lnTo>
                        <a:pt x="455991" y="570245"/>
                      </a:lnTo>
                      <a:lnTo>
                        <a:pt x="457704" y="571617"/>
                      </a:lnTo>
                      <a:lnTo>
                        <a:pt x="459367" y="572503"/>
                      </a:lnTo>
                      <a:lnTo>
                        <a:pt x="461517" y="573317"/>
                      </a:lnTo>
                      <a:lnTo>
                        <a:pt x="464115" y="573936"/>
                      </a:lnTo>
                      <a:lnTo>
                        <a:pt x="466981" y="572880"/>
                      </a:lnTo>
                      <a:lnTo>
                        <a:pt x="469907" y="571325"/>
                      </a:lnTo>
                      <a:lnTo>
                        <a:pt x="471959" y="569625"/>
                      </a:lnTo>
                      <a:lnTo>
                        <a:pt x="473174" y="567573"/>
                      </a:lnTo>
                      <a:lnTo>
                        <a:pt x="474060" y="557956"/>
                      </a:lnTo>
                      <a:lnTo>
                        <a:pt x="473720" y="551010"/>
                      </a:lnTo>
                      <a:lnTo>
                        <a:pt x="472834" y="548424"/>
                      </a:lnTo>
                      <a:lnTo>
                        <a:pt x="470636" y="546044"/>
                      </a:lnTo>
                      <a:lnTo>
                        <a:pt x="470964" y="543761"/>
                      </a:lnTo>
                      <a:lnTo>
                        <a:pt x="470855" y="540057"/>
                      </a:lnTo>
                      <a:lnTo>
                        <a:pt x="471292" y="535807"/>
                      </a:lnTo>
                      <a:lnTo>
                        <a:pt x="472069" y="531509"/>
                      </a:lnTo>
                      <a:lnTo>
                        <a:pt x="473392" y="528740"/>
                      </a:lnTo>
                      <a:lnTo>
                        <a:pt x="475275" y="527635"/>
                      </a:lnTo>
                      <a:lnTo>
                        <a:pt x="475056" y="525316"/>
                      </a:lnTo>
                      <a:lnTo>
                        <a:pt x="474279" y="523215"/>
                      </a:lnTo>
                      <a:lnTo>
                        <a:pt x="473004" y="521224"/>
                      </a:lnTo>
                      <a:lnTo>
                        <a:pt x="473235" y="518127"/>
                      </a:lnTo>
                      <a:lnTo>
                        <a:pt x="474170" y="515966"/>
                      </a:lnTo>
                      <a:lnTo>
                        <a:pt x="479804" y="510781"/>
                      </a:lnTo>
                      <a:lnTo>
                        <a:pt x="480800" y="507927"/>
                      </a:lnTo>
                      <a:lnTo>
                        <a:pt x="483835" y="507150"/>
                      </a:lnTo>
                      <a:lnTo>
                        <a:pt x="486215" y="506761"/>
                      </a:lnTo>
                      <a:lnTo>
                        <a:pt x="490854" y="505159"/>
                      </a:lnTo>
                      <a:lnTo>
                        <a:pt x="493392" y="504600"/>
                      </a:lnTo>
                      <a:lnTo>
                        <a:pt x="495650" y="504430"/>
                      </a:lnTo>
                      <a:lnTo>
                        <a:pt x="506312" y="504260"/>
                      </a:lnTo>
                      <a:lnTo>
                        <a:pt x="510732" y="503823"/>
                      </a:lnTo>
                      <a:lnTo>
                        <a:pt x="512226" y="503203"/>
                      </a:lnTo>
                      <a:lnTo>
                        <a:pt x="513877" y="501674"/>
                      </a:lnTo>
                      <a:lnTo>
                        <a:pt x="515261" y="498796"/>
                      </a:lnTo>
                      <a:lnTo>
                        <a:pt x="518904" y="496926"/>
                      </a:lnTo>
                      <a:lnTo>
                        <a:pt x="523980" y="494655"/>
                      </a:lnTo>
                      <a:lnTo>
                        <a:pt x="526749" y="494048"/>
                      </a:lnTo>
                      <a:lnTo>
                        <a:pt x="531278" y="494485"/>
                      </a:lnTo>
                      <a:lnTo>
                        <a:pt x="534544" y="493878"/>
                      </a:lnTo>
                      <a:lnTo>
                        <a:pt x="536305" y="493210"/>
                      </a:lnTo>
                      <a:lnTo>
                        <a:pt x="538284" y="492153"/>
                      </a:lnTo>
                      <a:lnTo>
                        <a:pt x="540446" y="490672"/>
                      </a:lnTo>
                      <a:lnTo>
                        <a:pt x="543154" y="488353"/>
                      </a:lnTo>
                      <a:lnTo>
                        <a:pt x="546299" y="488122"/>
                      </a:lnTo>
                      <a:lnTo>
                        <a:pt x="549334" y="488851"/>
                      </a:lnTo>
                      <a:lnTo>
                        <a:pt x="552103" y="488620"/>
                      </a:lnTo>
                      <a:lnTo>
                        <a:pt x="553475" y="486300"/>
                      </a:lnTo>
                      <a:lnTo>
                        <a:pt x="555904" y="484370"/>
                      </a:lnTo>
                      <a:lnTo>
                        <a:pt x="558624" y="483155"/>
                      </a:lnTo>
                      <a:lnTo>
                        <a:pt x="566019" y="482718"/>
                      </a:lnTo>
                      <a:lnTo>
                        <a:pt x="568107" y="481674"/>
                      </a:lnTo>
                      <a:lnTo>
                        <a:pt x="571216" y="477473"/>
                      </a:lnTo>
                      <a:lnTo>
                        <a:pt x="573584" y="476149"/>
                      </a:lnTo>
                      <a:lnTo>
                        <a:pt x="575794" y="475700"/>
                      </a:lnTo>
                      <a:lnTo>
                        <a:pt x="577397" y="476586"/>
                      </a:lnTo>
                      <a:lnTo>
                        <a:pt x="582363" y="483155"/>
                      </a:lnTo>
                      <a:lnTo>
                        <a:pt x="585290" y="482925"/>
                      </a:lnTo>
                      <a:lnTo>
                        <a:pt x="588775" y="481990"/>
                      </a:lnTo>
                      <a:lnTo>
                        <a:pt x="591980" y="481674"/>
                      </a:lnTo>
                      <a:lnTo>
                        <a:pt x="594130" y="483483"/>
                      </a:lnTo>
                      <a:lnTo>
                        <a:pt x="595514" y="485851"/>
                      </a:lnTo>
                      <a:lnTo>
                        <a:pt x="597445" y="490988"/>
                      </a:lnTo>
                      <a:lnTo>
                        <a:pt x="599545" y="493258"/>
                      </a:lnTo>
                      <a:lnTo>
                        <a:pt x="601695" y="494145"/>
                      </a:lnTo>
                      <a:lnTo>
                        <a:pt x="603516" y="494643"/>
                      </a:lnTo>
                      <a:lnTo>
                        <a:pt x="607050" y="494266"/>
                      </a:lnTo>
                      <a:lnTo>
                        <a:pt x="609976" y="492445"/>
                      </a:lnTo>
                      <a:lnTo>
                        <a:pt x="612745" y="489069"/>
                      </a:lnTo>
                      <a:lnTo>
                        <a:pt x="616218" y="482767"/>
                      </a:lnTo>
                      <a:lnTo>
                        <a:pt x="616606" y="482391"/>
                      </a:lnTo>
                      <a:lnTo>
                        <a:pt x="618209" y="480727"/>
                      </a:lnTo>
                      <a:lnTo>
                        <a:pt x="620929" y="479015"/>
                      </a:lnTo>
                      <a:lnTo>
                        <a:pt x="622131" y="477740"/>
                      </a:lnTo>
                      <a:lnTo>
                        <a:pt x="623904" y="475263"/>
                      </a:lnTo>
                      <a:lnTo>
                        <a:pt x="625896" y="473721"/>
                      </a:lnTo>
                      <a:lnTo>
                        <a:pt x="626709" y="472664"/>
                      </a:lnTo>
                      <a:lnTo>
                        <a:pt x="627438" y="467637"/>
                      </a:lnTo>
                      <a:lnTo>
                        <a:pt x="628603" y="465658"/>
                      </a:lnTo>
                      <a:lnTo>
                        <a:pt x="629927" y="461675"/>
                      </a:lnTo>
                      <a:lnTo>
                        <a:pt x="630801" y="459525"/>
                      </a:lnTo>
                      <a:lnTo>
                        <a:pt x="625616" y="457145"/>
                      </a:lnTo>
                      <a:lnTo>
                        <a:pt x="624621" y="455931"/>
                      </a:lnTo>
                      <a:lnTo>
                        <a:pt x="624232" y="454608"/>
                      </a:lnTo>
                      <a:lnTo>
                        <a:pt x="624232" y="452944"/>
                      </a:lnTo>
                      <a:lnTo>
                        <a:pt x="623953" y="452069"/>
                      </a:lnTo>
                      <a:lnTo>
                        <a:pt x="620370" y="451960"/>
                      </a:lnTo>
                      <a:lnTo>
                        <a:pt x="616667" y="450248"/>
                      </a:lnTo>
                      <a:lnTo>
                        <a:pt x="616218" y="450005"/>
                      </a:lnTo>
                      <a:lnTo>
                        <a:pt x="616885" y="447298"/>
                      </a:lnTo>
                      <a:lnTo>
                        <a:pt x="618318" y="444589"/>
                      </a:lnTo>
                      <a:lnTo>
                        <a:pt x="619581" y="441554"/>
                      </a:lnTo>
                      <a:lnTo>
                        <a:pt x="621245" y="439344"/>
                      </a:lnTo>
                      <a:lnTo>
                        <a:pt x="623127" y="437680"/>
                      </a:lnTo>
                      <a:lnTo>
                        <a:pt x="624730" y="435907"/>
                      </a:lnTo>
                      <a:lnTo>
                        <a:pt x="626393" y="430382"/>
                      </a:lnTo>
                      <a:lnTo>
                        <a:pt x="633509" y="430771"/>
                      </a:lnTo>
                      <a:lnTo>
                        <a:pt x="633461" y="428002"/>
                      </a:lnTo>
                      <a:lnTo>
                        <a:pt x="634116" y="426120"/>
                      </a:lnTo>
                      <a:lnTo>
                        <a:pt x="636326" y="427007"/>
                      </a:lnTo>
                      <a:lnTo>
                        <a:pt x="637541" y="427274"/>
                      </a:lnTo>
                      <a:lnTo>
                        <a:pt x="638804" y="427055"/>
                      </a:lnTo>
                      <a:lnTo>
                        <a:pt x="639204" y="426400"/>
                      </a:lnTo>
                      <a:lnTo>
                        <a:pt x="640200" y="426217"/>
                      </a:lnTo>
                      <a:lnTo>
                        <a:pt x="641463" y="426484"/>
                      </a:lnTo>
                      <a:lnTo>
                        <a:pt x="642798" y="426484"/>
                      </a:lnTo>
                      <a:lnTo>
                        <a:pt x="644001" y="424991"/>
                      </a:lnTo>
                      <a:lnTo>
                        <a:pt x="644377" y="423449"/>
                      </a:lnTo>
                      <a:lnTo>
                        <a:pt x="645604" y="422186"/>
                      </a:lnTo>
                      <a:lnTo>
                        <a:pt x="648967" y="419150"/>
                      </a:lnTo>
                      <a:lnTo>
                        <a:pt x="649635" y="417875"/>
                      </a:lnTo>
                      <a:lnTo>
                        <a:pt x="651796" y="415070"/>
                      </a:lnTo>
                      <a:lnTo>
                        <a:pt x="653994" y="415568"/>
                      </a:lnTo>
                      <a:lnTo>
                        <a:pt x="654334" y="418786"/>
                      </a:lnTo>
                      <a:lnTo>
                        <a:pt x="654225" y="420255"/>
                      </a:lnTo>
                      <a:lnTo>
                        <a:pt x="655330" y="421202"/>
                      </a:lnTo>
                      <a:lnTo>
                        <a:pt x="657528" y="420036"/>
                      </a:lnTo>
                      <a:lnTo>
                        <a:pt x="658426" y="419927"/>
                      </a:lnTo>
                      <a:lnTo>
                        <a:pt x="661122" y="422793"/>
                      </a:lnTo>
                      <a:lnTo>
                        <a:pt x="661790" y="423291"/>
                      </a:lnTo>
                      <a:lnTo>
                        <a:pt x="662786" y="423169"/>
                      </a:lnTo>
                      <a:lnTo>
                        <a:pt x="664498" y="422307"/>
                      </a:lnTo>
                      <a:lnTo>
                        <a:pt x="666708" y="421676"/>
                      </a:lnTo>
                      <a:lnTo>
                        <a:pt x="669355" y="424991"/>
                      </a:lnTo>
                      <a:lnTo>
                        <a:pt x="671723" y="428148"/>
                      </a:lnTo>
                      <a:lnTo>
                        <a:pt x="674054" y="432179"/>
                      </a:lnTo>
                      <a:lnTo>
                        <a:pt x="674552" y="435324"/>
                      </a:lnTo>
                      <a:lnTo>
                        <a:pt x="675257" y="438312"/>
                      </a:lnTo>
                      <a:lnTo>
                        <a:pt x="676653" y="440522"/>
                      </a:lnTo>
                      <a:lnTo>
                        <a:pt x="676252" y="440582"/>
                      </a:lnTo>
                      <a:lnTo>
                        <a:pt x="676811" y="443946"/>
                      </a:lnTo>
                      <a:lnTo>
                        <a:pt x="676750" y="445986"/>
                      </a:lnTo>
                      <a:lnTo>
                        <a:pt x="677248" y="447249"/>
                      </a:lnTo>
                      <a:lnTo>
                        <a:pt x="677357" y="448475"/>
                      </a:lnTo>
                      <a:lnTo>
                        <a:pt x="678912" y="448475"/>
                      </a:lnTo>
                      <a:lnTo>
                        <a:pt x="680733" y="449240"/>
                      </a:lnTo>
                      <a:lnTo>
                        <a:pt x="680284" y="451341"/>
                      </a:lnTo>
                      <a:lnTo>
                        <a:pt x="683283" y="451839"/>
                      </a:lnTo>
                      <a:lnTo>
                        <a:pt x="684716" y="451511"/>
                      </a:lnTo>
                      <a:lnTo>
                        <a:pt x="685214" y="452397"/>
                      </a:lnTo>
                      <a:lnTo>
                        <a:pt x="685870" y="454608"/>
                      </a:lnTo>
                      <a:lnTo>
                        <a:pt x="686319" y="456927"/>
                      </a:lnTo>
                      <a:lnTo>
                        <a:pt x="687363" y="459950"/>
                      </a:lnTo>
                      <a:lnTo>
                        <a:pt x="687910" y="460011"/>
                      </a:lnTo>
                      <a:lnTo>
                        <a:pt x="688310" y="459683"/>
                      </a:lnTo>
                      <a:lnTo>
                        <a:pt x="688577" y="458311"/>
                      </a:lnTo>
                      <a:lnTo>
                        <a:pt x="691346" y="457267"/>
                      </a:lnTo>
                      <a:lnTo>
                        <a:pt x="692281" y="455992"/>
                      </a:lnTo>
                      <a:lnTo>
                        <a:pt x="692500" y="454947"/>
                      </a:lnTo>
                      <a:lnTo>
                        <a:pt x="692402" y="452519"/>
                      </a:lnTo>
                      <a:lnTo>
                        <a:pt x="695936" y="453952"/>
                      </a:lnTo>
                      <a:lnTo>
                        <a:pt x="696422" y="454947"/>
                      </a:lnTo>
                      <a:lnTo>
                        <a:pt x="696689" y="456429"/>
                      </a:lnTo>
                      <a:lnTo>
                        <a:pt x="698474" y="456878"/>
                      </a:lnTo>
                      <a:lnTo>
                        <a:pt x="698413" y="457485"/>
                      </a:lnTo>
                      <a:lnTo>
                        <a:pt x="700781" y="458372"/>
                      </a:lnTo>
                      <a:lnTo>
                        <a:pt x="702275" y="459137"/>
                      </a:lnTo>
                      <a:lnTo>
                        <a:pt x="702712" y="460849"/>
                      </a:lnTo>
                      <a:lnTo>
                        <a:pt x="703003" y="464006"/>
                      </a:lnTo>
                      <a:lnTo>
                        <a:pt x="705699" y="464322"/>
                      </a:lnTo>
                      <a:lnTo>
                        <a:pt x="707253" y="464990"/>
                      </a:lnTo>
                      <a:lnTo>
                        <a:pt x="708237" y="465718"/>
                      </a:lnTo>
                      <a:lnTo>
                        <a:pt x="709123" y="466714"/>
                      </a:lnTo>
                      <a:lnTo>
                        <a:pt x="713155" y="467867"/>
                      </a:lnTo>
                      <a:lnTo>
                        <a:pt x="714490" y="468098"/>
                      </a:lnTo>
                      <a:lnTo>
                        <a:pt x="716688" y="467867"/>
                      </a:lnTo>
                      <a:lnTo>
                        <a:pt x="719773" y="468317"/>
                      </a:lnTo>
                      <a:lnTo>
                        <a:pt x="722821" y="469252"/>
                      </a:lnTo>
                      <a:lnTo>
                        <a:pt x="724035" y="467710"/>
                      </a:lnTo>
                      <a:lnTo>
                        <a:pt x="729341" y="464941"/>
                      </a:lnTo>
                      <a:lnTo>
                        <a:pt x="730556" y="464443"/>
                      </a:lnTo>
                      <a:lnTo>
                        <a:pt x="729402" y="463618"/>
                      </a:lnTo>
                      <a:lnTo>
                        <a:pt x="728625" y="462513"/>
                      </a:lnTo>
                      <a:lnTo>
                        <a:pt x="727131" y="460788"/>
                      </a:lnTo>
                      <a:lnTo>
                        <a:pt x="724533" y="459744"/>
                      </a:lnTo>
                      <a:lnTo>
                        <a:pt x="723598" y="458809"/>
                      </a:lnTo>
                      <a:lnTo>
                        <a:pt x="722541" y="458809"/>
                      </a:lnTo>
                      <a:lnTo>
                        <a:pt x="721558" y="458530"/>
                      </a:lnTo>
                      <a:lnTo>
                        <a:pt x="721266" y="457315"/>
                      </a:lnTo>
                      <a:lnTo>
                        <a:pt x="722760" y="455093"/>
                      </a:lnTo>
                      <a:lnTo>
                        <a:pt x="723051" y="453879"/>
                      </a:lnTo>
                      <a:lnTo>
                        <a:pt x="723209" y="452507"/>
                      </a:lnTo>
                      <a:lnTo>
                        <a:pt x="723270" y="448864"/>
                      </a:lnTo>
                      <a:lnTo>
                        <a:pt x="725407" y="448087"/>
                      </a:lnTo>
                      <a:lnTo>
                        <a:pt x="727301" y="447917"/>
                      </a:lnTo>
                      <a:lnTo>
                        <a:pt x="727131" y="445379"/>
                      </a:lnTo>
                      <a:lnTo>
                        <a:pt x="726694" y="444711"/>
                      </a:lnTo>
                      <a:lnTo>
                        <a:pt x="726305" y="443497"/>
                      </a:lnTo>
                      <a:lnTo>
                        <a:pt x="726463" y="442270"/>
                      </a:lnTo>
                      <a:lnTo>
                        <a:pt x="727131" y="442064"/>
                      </a:lnTo>
                      <a:lnTo>
                        <a:pt x="727799" y="441493"/>
                      </a:lnTo>
                      <a:lnTo>
                        <a:pt x="727957" y="440667"/>
                      </a:lnTo>
                      <a:lnTo>
                        <a:pt x="727750" y="439672"/>
                      </a:lnTo>
                      <a:lnTo>
                        <a:pt x="726840" y="437802"/>
                      </a:lnTo>
                      <a:lnTo>
                        <a:pt x="724096" y="437741"/>
                      </a:lnTo>
                      <a:lnTo>
                        <a:pt x="717028" y="433212"/>
                      </a:lnTo>
                      <a:lnTo>
                        <a:pt x="714976" y="435871"/>
                      </a:lnTo>
                      <a:lnTo>
                        <a:pt x="712936" y="434705"/>
                      </a:lnTo>
                      <a:lnTo>
                        <a:pt x="709463" y="433588"/>
                      </a:lnTo>
                      <a:lnTo>
                        <a:pt x="708625" y="435810"/>
                      </a:lnTo>
                      <a:lnTo>
                        <a:pt x="708407" y="437680"/>
                      </a:lnTo>
                      <a:lnTo>
                        <a:pt x="708795" y="439502"/>
                      </a:lnTo>
                      <a:lnTo>
                        <a:pt x="706804" y="438773"/>
                      </a:lnTo>
                      <a:lnTo>
                        <a:pt x="705480" y="437789"/>
                      </a:lnTo>
                      <a:lnTo>
                        <a:pt x="704266" y="437073"/>
                      </a:lnTo>
                      <a:lnTo>
                        <a:pt x="702396" y="435519"/>
                      </a:lnTo>
                      <a:lnTo>
                        <a:pt x="700405" y="434256"/>
                      </a:lnTo>
                      <a:lnTo>
                        <a:pt x="694770" y="432447"/>
                      </a:lnTo>
                      <a:lnTo>
                        <a:pt x="691990" y="431949"/>
                      </a:lnTo>
                      <a:lnTo>
                        <a:pt x="688857" y="430832"/>
                      </a:lnTo>
                      <a:lnTo>
                        <a:pt x="685044" y="429338"/>
                      </a:lnTo>
                      <a:lnTo>
                        <a:pt x="684655" y="429290"/>
                      </a:lnTo>
                      <a:lnTo>
                        <a:pt x="685153" y="428561"/>
                      </a:lnTo>
                      <a:lnTo>
                        <a:pt x="686756" y="426897"/>
                      </a:lnTo>
                      <a:lnTo>
                        <a:pt x="687145" y="426132"/>
                      </a:lnTo>
                      <a:lnTo>
                        <a:pt x="687023" y="425027"/>
                      </a:lnTo>
                      <a:lnTo>
                        <a:pt x="687023" y="424469"/>
                      </a:lnTo>
                      <a:lnTo>
                        <a:pt x="689075" y="423704"/>
                      </a:lnTo>
                      <a:lnTo>
                        <a:pt x="689901" y="423145"/>
                      </a:lnTo>
                      <a:lnTo>
                        <a:pt x="690180" y="422283"/>
                      </a:lnTo>
                      <a:lnTo>
                        <a:pt x="690350" y="421008"/>
                      </a:lnTo>
                      <a:lnTo>
                        <a:pt x="689403" y="419903"/>
                      </a:lnTo>
                      <a:lnTo>
                        <a:pt x="688310" y="419235"/>
                      </a:lnTo>
                      <a:lnTo>
                        <a:pt x="688189" y="418349"/>
                      </a:lnTo>
                      <a:lnTo>
                        <a:pt x="688407" y="417134"/>
                      </a:lnTo>
                      <a:lnTo>
                        <a:pt x="687145" y="414536"/>
                      </a:lnTo>
                      <a:lnTo>
                        <a:pt x="686416" y="413540"/>
                      </a:lnTo>
                      <a:lnTo>
                        <a:pt x="686258" y="412824"/>
                      </a:lnTo>
                      <a:lnTo>
                        <a:pt x="687582" y="411561"/>
                      </a:lnTo>
                      <a:lnTo>
                        <a:pt x="688517" y="410954"/>
                      </a:lnTo>
                      <a:lnTo>
                        <a:pt x="690617" y="409011"/>
                      </a:lnTo>
                      <a:lnTo>
                        <a:pt x="691176" y="408744"/>
                      </a:lnTo>
                      <a:lnTo>
                        <a:pt x="691504" y="408804"/>
                      </a:lnTo>
                      <a:lnTo>
                        <a:pt x="691941" y="409472"/>
                      </a:lnTo>
                      <a:lnTo>
                        <a:pt x="692402" y="411124"/>
                      </a:lnTo>
                      <a:lnTo>
                        <a:pt x="692220" y="412241"/>
                      </a:lnTo>
                      <a:lnTo>
                        <a:pt x="692621" y="413285"/>
                      </a:lnTo>
                      <a:lnTo>
                        <a:pt x="695098" y="415653"/>
                      </a:lnTo>
                      <a:lnTo>
                        <a:pt x="695754" y="418191"/>
                      </a:lnTo>
                      <a:lnTo>
                        <a:pt x="696252" y="418920"/>
                      </a:lnTo>
                      <a:lnTo>
                        <a:pt x="698571" y="419527"/>
                      </a:lnTo>
                      <a:lnTo>
                        <a:pt x="701121" y="420401"/>
                      </a:lnTo>
                      <a:lnTo>
                        <a:pt x="702335" y="416612"/>
                      </a:lnTo>
                      <a:lnTo>
                        <a:pt x="704436" y="416552"/>
                      </a:lnTo>
                      <a:lnTo>
                        <a:pt x="705808" y="416381"/>
                      </a:lnTo>
                      <a:lnTo>
                        <a:pt x="706476" y="415495"/>
                      </a:lnTo>
                      <a:lnTo>
                        <a:pt x="707800" y="414062"/>
                      </a:lnTo>
                      <a:lnTo>
                        <a:pt x="708237" y="412897"/>
                      </a:lnTo>
                      <a:lnTo>
                        <a:pt x="708237" y="410686"/>
                      </a:lnTo>
                      <a:lnTo>
                        <a:pt x="708625" y="407760"/>
                      </a:lnTo>
                      <a:lnTo>
                        <a:pt x="708965" y="406934"/>
                      </a:lnTo>
                      <a:lnTo>
                        <a:pt x="709670" y="405951"/>
                      </a:lnTo>
                      <a:lnTo>
                        <a:pt x="710447" y="404226"/>
                      </a:lnTo>
                      <a:lnTo>
                        <a:pt x="710338" y="402964"/>
                      </a:lnTo>
                      <a:lnTo>
                        <a:pt x="713264" y="403279"/>
                      </a:lnTo>
                      <a:lnTo>
                        <a:pt x="714697" y="402903"/>
                      </a:lnTo>
                      <a:lnTo>
                        <a:pt x="716530" y="401846"/>
                      </a:lnTo>
                      <a:lnTo>
                        <a:pt x="717733" y="400632"/>
                      </a:lnTo>
                      <a:lnTo>
                        <a:pt x="718898" y="400523"/>
                      </a:lnTo>
                      <a:lnTo>
                        <a:pt x="720283" y="399964"/>
                      </a:lnTo>
                      <a:lnTo>
                        <a:pt x="722323" y="397208"/>
                      </a:lnTo>
                      <a:lnTo>
                        <a:pt x="724800" y="397693"/>
                      </a:lnTo>
                      <a:lnTo>
                        <a:pt x="726087" y="398580"/>
                      </a:lnTo>
                      <a:lnTo>
                        <a:pt x="728892" y="400681"/>
                      </a:lnTo>
                      <a:lnTo>
                        <a:pt x="730434" y="401446"/>
                      </a:lnTo>
                      <a:lnTo>
                        <a:pt x="732219" y="401227"/>
                      </a:lnTo>
                      <a:lnTo>
                        <a:pt x="732875" y="401446"/>
                      </a:lnTo>
                      <a:lnTo>
                        <a:pt x="734198" y="402174"/>
                      </a:lnTo>
                      <a:lnTo>
                        <a:pt x="735304" y="402490"/>
                      </a:lnTo>
                      <a:lnTo>
                        <a:pt x="734466" y="404117"/>
                      </a:lnTo>
                      <a:lnTo>
                        <a:pt x="736566" y="405040"/>
                      </a:lnTo>
                      <a:lnTo>
                        <a:pt x="738400" y="405538"/>
                      </a:lnTo>
                      <a:lnTo>
                        <a:pt x="740331" y="406801"/>
                      </a:lnTo>
                      <a:lnTo>
                        <a:pt x="740100" y="407517"/>
                      </a:lnTo>
                      <a:lnTo>
                        <a:pt x="737999" y="408841"/>
                      </a:lnTo>
                      <a:lnTo>
                        <a:pt x="736797" y="409836"/>
                      </a:lnTo>
                      <a:lnTo>
                        <a:pt x="736797" y="411051"/>
                      </a:lnTo>
                      <a:lnTo>
                        <a:pt x="736068" y="412374"/>
                      </a:lnTo>
                      <a:lnTo>
                        <a:pt x="737125" y="413091"/>
                      </a:lnTo>
                      <a:lnTo>
                        <a:pt x="738946" y="413224"/>
                      </a:lnTo>
                      <a:lnTo>
                        <a:pt x="741047" y="412775"/>
                      </a:lnTo>
                      <a:lnTo>
                        <a:pt x="742431" y="412168"/>
                      </a:lnTo>
                      <a:lnTo>
                        <a:pt x="743864" y="411889"/>
                      </a:lnTo>
                      <a:lnTo>
                        <a:pt x="744969" y="411342"/>
                      </a:lnTo>
                      <a:lnTo>
                        <a:pt x="745467" y="410456"/>
                      </a:lnTo>
                      <a:lnTo>
                        <a:pt x="747519" y="410577"/>
                      </a:lnTo>
                      <a:lnTo>
                        <a:pt x="750822" y="411124"/>
                      </a:lnTo>
                      <a:lnTo>
                        <a:pt x="753251" y="411293"/>
                      </a:lnTo>
                      <a:lnTo>
                        <a:pt x="757173" y="413103"/>
                      </a:lnTo>
                      <a:lnTo>
                        <a:pt x="760755" y="414050"/>
                      </a:lnTo>
                      <a:lnTo>
                        <a:pt x="763354" y="414317"/>
                      </a:lnTo>
                      <a:lnTo>
                        <a:pt x="764349" y="414548"/>
                      </a:lnTo>
                      <a:lnTo>
                        <a:pt x="765746" y="415434"/>
                      </a:lnTo>
                      <a:lnTo>
                        <a:pt x="767677" y="415544"/>
                      </a:lnTo>
                      <a:lnTo>
                        <a:pt x="771417" y="416418"/>
                      </a:lnTo>
                      <a:lnTo>
                        <a:pt x="772582" y="417474"/>
                      </a:lnTo>
                      <a:lnTo>
                        <a:pt x="773141" y="418749"/>
                      </a:lnTo>
                      <a:lnTo>
                        <a:pt x="775509" y="417353"/>
                      </a:lnTo>
                      <a:lnTo>
                        <a:pt x="776553" y="415981"/>
                      </a:lnTo>
                      <a:lnTo>
                        <a:pt x="777342" y="415216"/>
                      </a:lnTo>
                      <a:lnTo>
                        <a:pt x="778107" y="413953"/>
                      </a:lnTo>
                      <a:lnTo>
                        <a:pt x="777670" y="410529"/>
                      </a:lnTo>
                      <a:lnTo>
                        <a:pt x="778775" y="408039"/>
                      </a:lnTo>
                      <a:lnTo>
                        <a:pt x="778775" y="407213"/>
                      </a:lnTo>
                      <a:lnTo>
                        <a:pt x="779103" y="405283"/>
                      </a:lnTo>
                      <a:lnTo>
                        <a:pt x="777403" y="402308"/>
                      </a:lnTo>
                      <a:lnTo>
                        <a:pt x="778933" y="401045"/>
                      </a:lnTo>
                      <a:lnTo>
                        <a:pt x="779601" y="399782"/>
                      </a:lnTo>
                      <a:lnTo>
                        <a:pt x="780269" y="395629"/>
                      </a:lnTo>
                      <a:lnTo>
                        <a:pt x="781471" y="395860"/>
                      </a:lnTo>
                      <a:lnTo>
                        <a:pt x="783681" y="396625"/>
                      </a:lnTo>
                      <a:lnTo>
                        <a:pt x="785004" y="396685"/>
                      </a:lnTo>
                      <a:lnTo>
                        <a:pt x="786510" y="396625"/>
                      </a:lnTo>
                      <a:lnTo>
                        <a:pt x="787506" y="396358"/>
                      </a:lnTo>
                      <a:lnTo>
                        <a:pt x="788222" y="395690"/>
                      </a:lnTo>
                      <a:lnTo>
                        <a:pt x="788004" y="394257"/>
                      </a:lnTo>
                      <a:lnTo>
                        <a:pt x="788380" y="392824"/>
                      </a:lnTo>
                      <a:lnTo>
                        <a:pt x="788502" y="391112"/>
                      </a:lnTo>
                      <a:lnTo>
                        <a:pt x="788162" y="390335"/>
                      </a:lnTo>
                      <a:lnTo>
                        <a:pt x="787336" y="389521"/>
                      </a:lnTo>
                      <a:lnTo>
                        <a:pt x="787057" y="388404"/>
                      </a:lnTo>
                      <a:lnTo>
                        <a:pt x="787166" y="386692"/>
                      </a:lnTo>
                      <a:lnTo>
                        <a:pt x="786729" y="385028"/>
                      </a:lnTo>
                      <a:lnTo>
                        <a:pt x="788320" y="384264"/>
                      </a:lnTo>
                      <a:lnTo>
                        <a:pt x="789595" y="384142"/>
                      </a:lnTo>
                      <a:lnTo>
                        <a:pt x="791477" y="384324"/>
                      </a:lnTo>
                      <a:lnTo>
                        <a:pt x="793031" y="385198"/>
                      </a:lnTo>
                      <a:lnTo>
                        <a:pt x="794682" y="386571"/>
                      </a:lnTo>
                      <a:lnTo>
                        <a:pt x="796225" y="387578"/>
                      </a:lnTo>
                      <a:lnTo>
                        <a:pt x="798155" y="388295"/>
                      </a:lnTo>
                      <a:lnTo>
                        <a:pt x="801640" y="389291"/>
                      </a:lnTo>
                      <a:lnTo>
                        <a:pt x="802794" y="389230"/>
                      </a:lnTo>
                      <a:lnTo>
                        <a:pt x="804008" y="388732"/>
                      </a:lnTo>
                      <a:lnTo>
                        <a:pt x="805453" y="388295"/>
                      </a:lnTo>
                      <a:lnTo>
                        <a:pt x="809266" y="387858"/>
                      </a:lnTo>
                      <a:lnTo>
                        <a:pt x="810262" y="386740"/>
                      </a:lnTo>
                      <a:lnTo>
                        <a:pt x="810917" y="385805"/>
                      </a:lnTo>
                      <a:lnTo>
                        <a:pt x="811853" y="385320"/>
                      </a:lnTo>
                      <a:lnTo>
                        <a:pt x="812581" y="384445"/>
                      </a:lnTo>
                      <a:lnTo>
                        <a:pt x="813067" y="382673"/>
                      </a:lnTo>
                      <a:lnTo>
                        <a:pt x="814451" y="383340"/>
                      </a:lnTo>
                      <a:lnTo>
                        <a:pt x="816054" y="384506"/>
                      </a:lnTo>
                      <a:lnTo>
                        <a:pt x="820195" y="382685"/>
                      </a:lnTo>
                      <a:lnTo>
                        <a:pt x="826497" y="380584"/>
                      </a:lnTo>
                      <a:lnTo>
                        <a:pt x="831621" y="379200"/>
                      </a:lnTo>
                      <a:lnTo>
                        <a:pt x="834778" y="379042"/>
                      </a:lnTo>
                      <a:lnTo>
                        <a:pt x="835762" y="377160"/>
                      </a:lnTo>
                      <a:lnTo>
                        <a:pt x="838093" y="374853"/>
                      </a:lnTo>
                      <a:lnTo>
                        <a:pt x="836988" y="373736"/>
                      </a:lnTo>
                      <a:lnTo>
                        <a:pt x="836321" y="372521"/>
                      </a:lnTo>
                      <a:lnTo>
                        <a:pt x="836272" y="366765"/>
                      </a:lnTo>
                      <a:lnTo>
                        <a:pt x="836491" y="365053"/>
                      </a:lnTo>
                      <a:lnTo>
                        <a:pt x="837644" y="363281"/>
                      </a:lnTo>
                      <a:lnTo>
                        <a:pt x="838312" y="361787"/>
                      </a:lnTo>
                      <a:lnTo>
                        <a:pt x="839915" y="360852"/>
                      </a:lnTo>
                      <a:lnTo>
                        <a:pt x="845270" y="361908"/>
                      </a:lnTo>
                      <a:lnTo>
                        <a:pt x="848148" y="361677"/>
                      </a:lnTo>
                      <a:lnTo>
                        <a:pt x="852507" y="361738"/>
                      </a:lnTo>
                      <a:lnTo>
                        <a:pt x="853393" y="361908"/>
                      </a:lnTo>
                      <a:lnTo>
                        <a:pt x="854316" y="362224"/>
                      </a:lnTo>
                      <a:lnTo>
                        <a:pt x="857036" y="360354"/>
                      </a:lnTo>
                      <a:lnTo>
                        <a:pt x="858348" y="358860"/>
                      </a:lnTo>
                      <a:lnTo>
                        <a:pt x="860193" y="356055"/>
                      </a:lnTo>
                      <a:lnTo>
                        <a:pt x="860679" y="354622"/>
                      </a:lnTo>
                      <a:lnTo>
                        <a:pt x="862549" y="351696"/>
                      </a:lnTo>
                      <a:lnTo>
                        <a:pt x="864601" y="348988"/>
                      </a:lnTo>
                      <a:lnTo>
                        <a:pt x="864990" y="348709"/>
                      </a:lnTo>
                      <a:lnTo>
                        <a:pt x="866095" y="348442"/>
                      </a:lnTo>
                      <a:lnTo>
                        <a:pt x="867370" y="348818"/>
                      </a:lnTo>
                      <a:lnTo>
                        <a:pt x="868414" y="349656"/>
                      </a:lnTo>
                      <a:lnTo>
                        <a:pt x="868475" y="351526"/>
                      </a:lnTo>
                      <a:lnTo>
                        <a:pt x="869738" y="352898"/>
                      </a:lnTo>
                      <a:lnTo>
                        <a:pt x="872336" y="354501"/>
                      </a:lnTo>
                      <a:lnTo>
                        <a:pt x="873830" y="355121"/>
                      </a:lnTo>
                      <a:lnTo>
                        <a:pt x="875093" y="355278"/>
                      </a:lnTo>
                      <a:lnTo>
                        <a:pt x="876307" y="355509"/>
                      </a:lnTo>
                      <a:lnTo>
                        <a:pt x="880290" y="354295"/>
                      </a:lnTo>
                      <a:lnTo>
                        <a:pt x="882002" y="354234"/>
                      </a:lnTo>
                      <a:lnTo>
                        <a:pt x="882439" y="353299"/>
                      </a:lnTo>
                      <a:lnTo>
                        <a:pt x="882889" y="352194"/>
                      </a:lnTo>
                      <a:lnTo>
                        <a:pt x="885305" y="351696"/>
                      </a:lnTo>
                      <a:lnTo>
                        <a:pt x="886799" y="350372"/>
                      </a:lnTo>
                      <a:lnTo>
                        <a:pt x="887697" y="348709"/>
                      </a:lnTo>
                      <a:lnTo>
                        <a:pt x="888693" y="347227"/>
                      </a:lnTo>
                      <a:lnTo>
                        <a:pt x="889725" y="345855"/>
                      </a:lnTo>
                      <a:lnTo>
                        <a:pt x="892555" y="343135"/>
                      </a:lnTo>
                      <a:lnTo>
                        <a:pt x="894364" y="340707"/>
                      </a:lnTo>
                      <a:lnTo>
                        <a:pt x="896525" y="337501"/>
                      </a:lnTo>
                      <a:lnTo>
                        <a:pt x="896853" y="336505"/>
                      </a:lnTo>
                      <a:lnTo>
                        <a:pt x="896962" y="335279"/>
                      </a:lnTo>
                      <a:lnTo>
                        <a:pt x="896586" y="334186"/>
                      </a:lnTo>
                      <a:lnTo>
                        <a:pt x="896525" y="332025"/>
                      </a:lnTo>
                      <a:lnTo>
                        <a:pt x="897412" y="329535"/>
                      </a:lnTo>
                      <a:lnTo>
                        <a:pt x="897630" y="327325"/>
                      </a:lnTo>
                      <a:lnTo>
                        <a:pt x="897351" y="325661"/>
                      </a:lnTo>
                      <a:lnTo>
                        <a:pt x="897630" y="321581"/>
                      </a:lnTo>
                      <a:lnTo>
                        <a:pt x="898019" y="320076"/>
                      </a:lnTo>
                      <a:lnTo>
                        <a:pt x="899452" y="318170"/>
                      </a:lnTo>
                      <a:lnTo>
                        <a:pt x="900338" y="316603"/>
                      </a:lnTo>
                      <a:lnTo>
                        <a:pt x="901552" y="315231"/>
                      </a:lnTo>
                      <a:lnTo>
                        <a:pt x="902160" y="314235"/>
                      </a:lnTo>
                      <a:lnTo>
                        <a:pt x="902220" y="313689"/>
                      </a:lnTo>
                      <a:lnTo>
                        <a:pt x="901662" y="313069"/>
                      </a:lnTo>
                      <a:lnTo>
                        <a:pt x="900120" y="311697"/>
                      </a:lnTo>
                      <a:lnTo>
                        <a:pt x="898298" y="310374"/>
                      </a:lnTo>
                      <a:lnTo>
                        <a:pt x="899233" y="309317"/>
                      </a:lnTo>
                      <a:lnTo>
                        <a:pt x="899452" y="308710"/>
                      </a:lnTo>
                      <a:lnTo>
                        <a:pt x="899512" y="307714"/>
                      </a:lnTo>
                      <a:lnTo>
                        <a:pt x="899949" y="306512"/>
                      </a:lnTo>
                      <a:lnTo>
                        <a:pt x="901285" y="304776"/>
                      </a:lnTo>
                      <a:lnTo>
                        <a:pt x="904151" y="302517"/>
                      </a:lnTo>
                      <a:lnTo>
                        <a:pt x="906033" y="299651"/>
                      </a:lnTo>
                      <a:lnTo>
                        <a:pt x="906361" y="298595"/>
                      </a:lnTo>
                      <a:lnTo>
                        <a:pt x="907745" y="295608"/>
                      </a:lnTo>
                      <a:lnTo>
                        <a:pt x="908947" y="293677"/>
                      </a:lnTo>
                      <a:lnTo>
                        <a:pt x="910502" y="292463"/>
                      </a:lnTo>
                      <a:lnTo>
                        <a:pt x="910987" y="291467"/>
                      </a:lnTo>
                      <a:lnTo>
                        <a:pt x="910987" y="288602"/>
                      </a:lnTo>
                      <a:lnTo>
                        <a:pt x="911157" y="286877"/>
                      </a:lnTo>
                      <a:lnTo>
                        <a:pt x="911340" y="285566"/>
                      </a:lnTo>
                      <a:lnTo>
                        <a:pt x="912044" y="284133"/>
                      </a:lnTo>
                      <a:lnTo>
                        <a:pt x="913027" y="283259"/>
                      </a:lnTo>
                      <a:lnTo>
                        <a:pt x="918115" y="280757"/>
                      </a:lnTo>
                      <a:lnTo>
                        <a:pt x="918783" y="280101"/>
                      </a:lnTo>
                      <a:lnTo>
                        <a:pt x="919888" y="277819"/>
                      </a:lnTo>
                      <a:lnTo>
                        <a:pt x="920714" y="277053"/>
                      </a:lnTo>
                      <a:lnTo>
                        <a:pt x="924199" y="276507"/>
                      </a:lnTo>
                      <a:lnTo>
                        <a:pt x="926300" y="276507"/>
                      </a:lnTo>
                      <a:lnTo>
                        <a:pt x="930392" y="276240"/>
                      </a:lnTo>
                      <a:lnTo>
                        <a:pt x="932262" y="275511"/>
                      </a:lnTo>
                      <a:lnTo>
                        <a:pt x="933476" y="274576"/>
                      </a:lnTo>
                      <a:lnTo>
                        <a:pt x="934703" y="272913"/>
                      </a:lnTo>
                      <a:lnTo>
                        <a:pt x="935795" y="269986"/>
                      </a:lnTo>
                      <a:lnTo>
                        <a:pt x="936840" y="268930"/>
                      </a:lnTo>
                      <a:lnTo>
                        <a:pt x="939438" y="266950"/>
                      </a:lnTo>
                      <a:lnTo>
                        <a:pt x="940604" y="266186"/>
                      </a:lnTo>
                      <a:lnTo>
                        <a:pt x="942316" y="265748"/>
                      </a:lnTo>
                      <a:lnTo>
                        <a:pt x="944963" y="266416"/>
                      </a:lnTo>
                      <a:lnTo>
                        <a:pt x="947003" y="264146"/>
                      </a:lnTo>
                      <a:lnTo>
                        <a:pt x="950440" y="263757"/>
                      </a:lnTo>
                      <a:lnTo>
                        <a:pt x="951472" y="262373"/>
                      </a:lnTo>
                      <a:lnTo>
                        <a:pt x="952699" y="261389"/>
                      </a:lnTo>
                      <a:lnTo>
                        <a:pt x="952431" y="259786"/>
                      </a:lnTo>
                      <a:lnTo>
                        <a:pt x="951436" y="257855"/>
                      </a:lnTo>
                      <a:lnTo>
                        <a:pt x="950270" y="256301"/>
                      </a:lnTo>
                      <a:lnTo>
                        <a:pt x="947890" y="254759"/>
                      </a:lnTo>
                      <a:lnTo>
                        <a:pt x="946894" y="253435"/>
                      </a:lnTo>
                      <a:lnTo>
                        <a:pt x="946287" y="252415"/>
                      </a:lnTo>
                      <a:lnTo>
                        <a:pt x="947562" y="251250"/>
                      </a:lnTo>
                      <a:lnTo>
                        <a:pt x="951241" y="249064"/>
                      </a:lnTo>
                      <a:lnTo>
                        <a:pt x="963639" y="243442"/>
                      </a:lnTo>
                      <a:lnTo>
                        <a:pt x="982084" y="231384"/>
                      </a:lnTo>
                      <a:lnTo>
                        <a:pt x="988569" y="230862"/>
                      </a:lnTo>
                      <a:lnTo>
                        <a:pt x="995575" y="229490"/>
                      </a:lnTo>
                      <a:lnTo>
                        <a:pt x="1004355" y="223066"/>
                      </a:lnTo>
                      <a:lnTo>
                        <a:pt x="1013704" y="221766"/>
                      </a:lnTo>
                      <a:lnTo>
                        <a:pt x="1021197" y="223940"/>
                      </a:lnTo>
                      <a:lnTo>
                        <a:pt x="1024403" y="225846"/>
                      </a:lnTo>
                      <a:lnTo>
                        <a:pt x="1026977" y="227887"/>
                      </a:lnTo>
                      <a:lnTo>
                        <a:pt x="1030207" y="231360"/>
                      </a:lnTo>
                      <a:lnTo>
                        <a:pt x="1030377" y="231457"/>
                      </a:lnTo>
                      <a:lnTo>
                        <a:pt x="1032672" y="231712"/>
                      </a:lnTo>
                      <a:lnTo>
                        <a:pt x="1035477" y="231530"/>
                      </a:lnTo>
                      <a:lnTo>
                        <a:pt x="1036873" y="231578"/>
                      </a:lnTo>
                      <a:lnTo>
                        <a:pt x="1038003" y="231833"/>
                      </a:lnTo>
                      <a:lnTo>
                        <a:pt x="1039496" y="232501"/>
                      </a:lnTo>
                      <a:lnTo>
                        <a:pt x="1041451" y="232780"/>
                      </a:lnTo>
                      <a:lnTo>
                        <a:pt x="1043406" y="231930"/>
                      </a:lnTo>
                      <a:lnTo>
                        <a:pt x="1044730" y="229975"/>
                      </a:lnTo>
                      <a:lnTo>
                        <a:pt x="1045483" y="227510"/>
                      </a:lnTo>
                      <a:lnTo>
                        <a:pt x="1046624" y="225094"/>
                      </a:lnTo>
                      <a:lnTo>
                        <a:pt x="1048409" y="223612"/>
                      </a:lnTo>
                      <a:lnTo>
                        <a:pt x="1051445" y="222993"/>
                      </a:lnTo>
                      <a:lnTo>
                        <a:pt x="1056326" y="223430"/>
                      </a:lnTo>
                      <a:lnTo>
                        <a:pt x="1058269" y="222908"/>
                      </a:lnTo>
                      <a:lnTo>
                        <a:pt x="1059483" y="221220"/>
                      </a:lnTo>
                      <a:lnTo>
                        <a:pt x="1059823" y="218597"/>
                      </a:lnTo>
                      <a:lnTo>
                        <a:pt x="1059374" y="215635"/>
                      </a:lnTo>
                      <a:lnTo>
                        <a:pt x="1058512" y="212198"/>
                      </a:lnTo>
                      <a:lnTo>
                        <a:pt x="1058391" y="209733"/>
                      </a:lnTo>
                      <a:lnTo>
                        <a:pt x="1059204" y="208155"/>
                      </a:lnTo>
                      <a:lnTo>
                        <a:pt x="1061438" y="207110"/>
                      </a:lnTo>
                      <a:lnTo>
                        <a:pt x="1063163" y="206029"/>
                      </a:lnTo>
                      <a:lnTo>
                        <a:pt x="1064025" y="204414"/>
                      </a:lnTo>
                      <a:lnTo>
                        <a:pt x="1063734" y="202921"/>
                      </a:lnTo>
                      <a:lnTo>
                        <a:pt x="1062592" y="201342"/>
                      </a:lnTo>
                      <a:lnTo>
                        <a:pt x="1056958" y="197262"/>
                      </a:lnTo>
                      <a:lnTo>
                        <a:pt x="1055063" y="195210"/>
                      </a:lnTo>
                      <a:lnTo>
                        <a:pt x="1054493" y="193704"/>
                      </a:lnTo>
                      <a:lnTo>
                        <a:pt x="1054833" y="191604"/>
                      </a:lnTo>
                      <a:lnTo>
                        <a:pt x="1055926" y="189309"/>
                      </a:lnTo>
                      <a:lnTo>
                        <a:pt x="1062070" y="179898"/>
                      </a:lnTo>
                      <a:lnTo>
                        <a:pt x="1063272" y="177615"/>
                      </a:lnTo>
                      <a:lnTo>
                        <a:pt x="1064086" y="174943"/>
                      </a:lnTo>
                      <a:lnTo>
                        <a:pt x="1063903" y="173013"/>
                      </a:lnTo>
                      <a:lnTo>
                        <a:pt x="1062410" y="169855"/>
                      </a:lnTo>
                      <a:lnTo>
                        <a:pt x="1062240" y="168848"/>
                      </a:lnTo>
                      <a:lnTo>
                        <a:pt x="1062519" y="167415"/>
                      </a:lnTo>
                      <a:lnTo>
                        <a:pt x="1065288" y="160421"/>
                      </a:lnTo>
                      <a:lnTo>
                        <a:pt x="1065798" y="157434"/>
                      </a:lnTo>
                      <a:lnTo>
                        <a:pt x="1065798" y="154738"/>
                      </a:lnTo>
                      <a:lnTo>
                        <a:pt x="1065519" y="151204"/>
                      </a:lnTo>
                      <a:lnTo>
                        <a:pt x="1065798" y="150245"/>
                      </a:lnTo>
                      <a:lnTo>
                        <a:pt x="1066611" y="148933"/>
                      </a:lnTo>
                      <a:lnTo>
                        <a:pt x="1073205" y="141053"/>
                      </a:lnTo>
                      <a:lnTo>
                        <a:pt x="1074638" y="138260"/>
                      </a:lnTo>
                      <a:lnTo>
                        <a:pt x="1076933" y="132516"/>
                      </a:lnTo>
                      <a:lnTo>
                        <a:pt x="1078609" y="130792"/>
                      </a:lnTo>
                      <a:lnTo>
                        <a:pt x="1080673" y="130245"/>
                      </a:lnTo>
                      <a:lnTo>
                        <a:pt x="1083951" y="131156"/>
                      </a:lnTo>
                      <a:lnTo>
                        <a:pt x="1086064" y="132164"/>
                      </a:lnTo>
                      <a:lnTo>
                        <a:pt x="1087801" y="132492"/>
                      </a:lnTo>
                      <a:lnTo>
                        <a:pt x="1089744" y="132200"/>
                      </a:lnTo>
                      <a:lnTo>
                        <a:pt x="1090727" y="132492"/>
                      </a:lnTo>
                      <a:lnTo>
                        <a:pt x="1091480" y="134143"/>
                      </a:lnTo>
                      <a:lnTo>
                        <a:pt x="1091529" y="135394"/>
                      </a:lnTo>
                      <a:lnTo>
                        <a:pt x="1091407" y="137021"/>
                      </a:lnTo>
                      <a:lnTo>
                        <a:pt x="1091480" y="138563"/>
                      </a:lnTo>
                      <a:lnTo>
                        <a:pt x="1091699" y="139595"/>
                      </a:lnTo>
                      <a:lnTo>
                        <a:pt x="1092269" y="140761"/>
                      </a:lnTo>
                      <a:lnTo>
                        <a:pt x="1092561" y="141902"/>
                      </a:lnTo>
                      <a:lnTo>
                        <a:pt x="1092609" y="143469"/>
                      </a:lnTo>
                      <a:lnTo>
                        <a:pt x="1092111" y="147367"/>
                      </a:lnTo>
                      <a:lnTo>
                        <a:pt x="1092330" y="149638"/>
                      </a:lnTo>
                      <a:lnTo>
                        <a:pt x="1093484" y="151921"/>
                      </a:lnTo>
                      <a:lnTo>
                        <a:pt x="1095609" y="154556"/>
                      </a:lnTo>
                      <a:lnTo>
                        <a:pt x="1104898" y="162716"/>
                      </a:lnTo>
                      <a:lnTo>
                        <a:pt x="1106112" y="163979"/>
                      </a:lnTo>
                      <a:lnTo>
                        <a:pt x="1107157" y="165350"/>
                      </a:lnTo>
                      <a:lnTo>
                        <a:pt x="1108007" y="166965"/>
                      </a:lnTo>
                      <a:lnTo>
                        <a:pt x="1108468" y="168459"/>
                      </a:lnTo>
                      <a:lnTo>
                        <a:pt x="1108468" y="170038"/>
                      </a:lnTo>
                      <a:lnTo>
                        <a:pt x="1108128" y="171495"/>
                      </a:lnTo>
                      <a:lnTo>
                        <a:pt x="1105651" y="176862"/>
                      </a:lnTo>
                      <a:lnTo>
                        <a:pt x="1105262" y="179084"/>
                      </a:lnTo>
                      <a:lnTo>
                        <a:pt x="1105202" y="181063"/>
                      </a:lnTo>
                      <a:lnTo>
                        <a:pt x="1105651" y="182836"/>
                      </a:lnTo>
                      <a:lnTo>
                        <a:pt x="1106452" y="184124"/>
                      </a:lnTo>
                      <a:lnTo>
                        <a:pt x="1107788" y="184949"/>
                      </a:lnTo>
                      <a:lnTo>
                        <a:pt x="1109270" y="185350"/>
                      </a:lnTo>
                      <a:lnTo>
                        <a:pt x="1111565" y="185435"/>
                      </a:lnTo>
                      <a:lnTo>
                        <a:pt x="1113179" y="185751"/>
                      </a:lnTo>
                      <a:lnTo>
                        <a:pt x="1115632" y="187147"/>
                      </a:lnTo>
                      <a:lnTo>
                        <a:pt x="1116895" y="186977"/>
                      </a:lnTo>
                      <a:lnTo>
                        <a:pt x="1118741" y="184913"/>
                      </a:lnTo>
                      <a:lnTo>
                        <a:pt x="1119433" y="182933"/>
                      </a:lnTo>
                      <a:lnTo>
                        <a:pt x="1120295" y="178392"/>
                      </a:lnTo>
                      <a:lnTo>
                        <a:pt x="1120805" y="176753"/>
                      </a:lnTo>
                      <a:lnTo>
                        <a:pt x="1122007" y="175405"/>
                      </a:lnTo>
                      <a:lnTo>
                        <a:pt x="1123975" y="173996"/>
                      </a:lnTo>
                      <a:lnTo>
                        <a:pt x="1127241" y="172248"/>
                      </a:lnTo>
                      <a:lnTo>
                        <a:pt x="1133325" y="168204"/>
                      </a:lnTo>
                      <a:lnTo>
                        <a:pt x="1139020" y="166067"/>
                      </a:lnTo>
                      <a:lnTo>
                        <a:pt x="1141133" y="164695"/>
                      </a:lnTo>
                      <a:lnTo>
                        <a:pt x="1142978" y="162121"/>
                      </a:lnTo>
                      <a:lnTo>
                        <a:pt x="1143828" y="159765"/>
                      </a:lnTo>
                      <a:lnTo>
                        <a:pt x="1144010" y="157324"/>
                      </a:lnTo>
                      <a:lnTo>
                        <a:pt x="1142796" y="152698"/>
                      </a:lnTo>
                      <a:lnTo>
                        <a:pt x="1142699" y="150706"/>
                      </a:lnTo>
                      <a:lnTo>
                        <a:pt x="1143670" y="149249"/>
                      </a:lnTo>
                      <a:lnTo>
                        <a:pt x="1145626" y="148253"/>
                      </a:lnTo>
                      <a:lnTo>
                        <a:pt x="1149463" y="147707"/>
                      </a:lnTo>
                      <a:lnTo>
                        <a:pt x="1151867" y="148338"/>
                      </a:lnTo>
                      <a:lnTo>
                        <a:pt x="1153725" y="149577"/>
                      </a:lnTo>
                      <a:lnTo>
                        <a:pt x="1155728" y="151156"/>
                      </a:lnTo>
                      <a:lnTo>
                        <a:pt x="1157963" y="151981"/>
                      </a:lnTo>
                      <a:lnTo>
                        <a:pt x="1161181" y="152200"/>
                      </a:lnTo>
                      <a:lnTo>
                        <a:pt x="1162492" y="153196"/>
                      </a:lnTo>
                      <a:lnTo>
                        <a:pt x="1162905" y="154725"/>
                      </a:lnTo>
                      <a:lnTo>
                        <a:pt x="1162383" y="158077"/>
                      </a:lnTo>
                      <a:lnTo>
                        <a:pt x="1162383" y="159692"/>
                      </a:lnTo>
                      <a:lnTo>
                        <a:pt x="1163014" y="161210"/>
                      </a:lnTo>
                      <a:lnTo>
                        <a:pt x="1164229" y="162181"/>
                      </a:lnTo>
                      <a:lnTo>
                        <a:pt x="1166001" y="162619"/>
                      </a:lnTo>
                      <a:lnTo>
                        <a:pt x="1173360" y="162327"/>
                      </a:lnTo>
                      <a:lnTo>
                        <a:pt x="1174963" y="162072"/>
                      </a:lnTo>
                      <a:lnTo>
                        <a:pt x="1181848" y="158684"/>
                      </a:lnTo>
                      <a:lnTo>
                        <a:pt x="1183742" y="157992"/>
                      </a:lnTo>
                      <a:lnTo>
                        <a:pt x="1185224" y="157810"/>
                      </a:lnTo>
                      <a:lnTo>
                        <a:pt x="1187652" y="158016"/>
                      </a:lnTo>
                      <a:lnTo>
                        <a:pt x="1189607" y="157445"/>
                      </a:lnTo>
                      <a:lnTo>
                        <a:pt x="1191319" y="155806"/>
                      </a:lnTo>
                      <a:lnTo>
                        <a:pt x="1192194" y="150633"/>
                      </a:lnTo>
                      <a:lnTo>
                        <a:pt x="1192011" y="148108"/>
                      </a:lnTo>
                      <a:lnTo>
                        <a:pt x="1191271" y="146298"/>
                      </a:lnTo>
                      <a:lnTo>
                        <a:pt x="1190287" y="145266"/>
                      </a:lnTo>
                      <a:lnTo>
                        <a:pt x="1189546" y="144173"/>
                      </a:lnTo>
                      <a:lnTo>
                        <a:pt x="1190178" y="141927"/>
                      </a:lnTo>
                      <a:lnTo>
                        <a:pt x="1190797" y="140458"/>
                      </a:lnTo>
                      <a:lnTo>
                        <a:pt x="1199649" y="129614"/>
                      </a:lnTo>
                      <a:lnTo>
                        <a:pt x="1199370" y="126991"/>
                      </a:lnTo>
                      <a:lnTo>
                        <a:pt x="1198897" y="126420"/>
                      </a:lnTo>
                      <a:lnTo>
                        <a:pt x="1198277" y="125959"/>
                      </a:lnTo>
                      <a:lnTo>
                        <a:pt x="1197233" y="125934"/>
                      </a:lnTo>
                      <a:lnTo>
                        <a:pt x="1194088" y="126335"/>
                      </a:lnTo>
                      <a:lnTo>
                        <a:pt x="1192934" y="126129"/>
                      </a:lnTo>
                      <a:lnTo>
                        <a:pt x="1192291" y="125267"/>
                      </a:lnTo>
                      <a:lnTo>
                        <a:pt x="1190858" y="121709"/>
                      </a:lnTo>
                      <a:lnTo>
                        <a:pt x="1188053" y="117519"/>
                      </a:lnTo>
                      <a:lnTo>
                        <a:pt x="1187713" y="116026"/>
                      </a:lnTo>
                      <a:lnTo>
                        <a:pt x="1187931" y="114460"/>
                      </a:lnTo>
                      <a:lnTo>
                        <a:pt x="1188514" y="112747"/>
                      </a:lnTo>
                      <a:lnTo>
                        <a:pt x="1188794" y="110938"/>
                      </a:lnTo>
                      <a:lnTo>
                        <a:pt x="1188745" y="109420"/>
                      </a:lnTo>
                      <a:lnTo>
                        <a:pt x="1188854" y="108097"/>
                      </a:lnTo>
                      <a:lnTo>
                        <a:pt x="1189255" y="107210"/>
                      </a:lnTo>
                      <a:lnTo>
                        <a:pt x="1193966" y="102790"/>
                      </a:lnTo>
                      <a:lnTo>
                        <a:pt x="1196213" y="100301"/>
                      </a:lnTo>
                      <a:lnTo>
                        <a:pt x="1198156" y="97520"/>
                      </a:lnTo>
                      <a:lnTo>
                        <a:pt x="1202297" y="90368"/>
                      </a:lnTo>
                      <a:lnTo>
                        <a:pt x="1204422" y="87587"/>
                      </a:lnTo>
                      <a:lnTo>
                        <a:pt x="1207688" y="84442"/>
                      </a:lnTo>
                      <a:lnTo>
                        <a:pt x="1209752" y="83216"/>
                      </a:lnTo>
                      <a:lnTo>
                        <a:pt x="1212157" y="82852"/>
                      </a:lnTo>
                      <a:lnTo>
                        <a:pt x="1214294" y="83337"/>
                      </a:lnTo>
                      <a:lnTo>
                        <a:pt x="1216358" y="84357"/>
                      </a:lnTo>
                      <a:lnTo>
                        <a:pt x="1218082" y="86227"/>
                      </a:lnTo>
                      <a:lnTo>
                        <a:pt x="1219746" y="87417"/>
                      </a:lnTo>
                      <a:lnTo>
                        <a:pt x="1221822" y="87648"/>
                      </a:lnTo>
                      <a:lnTo>
                        <a:pt x="1232156" y="83046"/>
                      </a:lnTo>
                      <a:lnTo>
                        <a:pt x="1235082" y="80836"/>
                      </a:lnTo>
                      <a:lnTo>
                        <a:pt x="1239794" y="76476"/>
                      </a:lnTo>
                      <a:lnTo>
                        <a:pt x="1245708" y="71996"/>
                      </a:lnTo>
                      <a:lnTo>
                        <a:pt x="1248573" y="70332"/>
                      </a:lnTo>
                      <a:lnTo>
                        <a:pt x="1252641" y="69179"/>
                      </a:lnTo>
                      <a:lnTo>
                        <a:pt x="1255288" y="67940"/>
                      </a:lnTo>
                      <a:lnTo>
                        <a:pt x="1257535" y="65961"/>
                      </a:lnTo>
                      <a:lnTo>
                        <a:pt x="1258106" y="64103"/>
                      </a:lnTo>
                      <a:lnTo>
                        <a:pt x="1257936" y="62840"/>
                      </a:lnTo>
                      <a:lnTo>
                        <a:pt x="1257183" y="62208"/>
                      </a:lnTo>
                      <a:lnTo>
                        <a:pt x="1256150" y="61771"/>
                      </a:lnTo>
                      <a:lnTo>
                        <a:pt x="1255349" y="61019"/>
                      </a:lnTo>
                      <a:lnTo>
                        <a:pt x="1254900" y="60047"/>
                      </a:lnTo>
                      <a:lnTo>
                        <a:pt x="1254256" y="57837"/>
                      </a:lnTo>
                      <a:lnTo>
                        <a:pt x="1253746" y="57230"/>
                      </a:lnTo>
                      <a:lnTo>
                        <a:pt x="1252823" y="56975"/>
                      </a:lnTo>
                      <a:lnTo>
                        <a:pt x="1251730" y="56829"/>
                      </a:lnTo>
                      <a:lnTo>
                        <a:pt x="1250820" y="56829"/>
                      </a:lnTo>
                      <a:lnTo>
                        <a:pt x="1250067" y="56574"/>
                      </a:lnTo>
                      <a:lnTo>
                        <a:pt x="1249144" y="55979"/>
                      </a:lnTo>
                      <a:lnTo>
                        <a:pt x="1245295" y="51122"/>
                      </a:lnTo>
                      <a:lnTo>
                        <a:pt x="1244724" y="50029"/>
                      </a:lnTo>
                      <a:lnTo>
                        <a:pt x="1243643" y="46678"/>
                      </a:lnTo>
                      <a:lnTo>
                        <a:pt x="1242890" y="45099"/>
                      </a:lnTo>
                      <a:lnTo>
                        <a:pt x="1242077" y="44091"/>
                      </a:lnTo>
                      <a:lnTo>
                        <a:pt x="1240996" y="43144"/>
                      </a:lnTo>
                      <a:lnTo>
                        <a:pt x="1240195" y="42027"/>
                      </a:lnTo>
                      <a:lnTo>
                        <a:pt x="1239964" y="40788"/>
                      </a:lnTo>
                      <a:lnTo>
                        <a:pt x="1240255" y="39088"/>
                      </a:lnTo>
                      <a:lnTo>
                        <a:pt x="1242830" y="37510"/>
                      </a:lnTo>
                      <a:lnTo>
                        <a:pt x="1244433" y="36988"/>
                      </a:lnTo>
                      <a:lnTo>
                        <a:pt x="1246157" y="36684"/>
                      </a:lnTo>
                      <a:lnTo>
                        <a:pt x="1248003" y="36550"/>
                      </a:lnTo>
                      <a:lnTo>
                        <a:pt x="1250176" y="37218"/>
                      </a:lnTo>
                      <a:lnTo>
                        <a:pt x="1250698" y="37631"/>
                      </a:lnTo>
                      <a:lnTo>
                        <a:pt x="1252945" y="38870"/>
                      </a:lnTo>
                      <a:lnTo>
                        <a:pt x="1257425" y="40205"/>
                      </a:lnTo>
                      <a:lnTo>
                        <a:pt x="1259429" y="41432"/>
                      </a:lnTo>
                      <a:lnTo>
                        <a:pt x="1263448" y="44371"/>
                      </a:lnTo>
                      <a:lnTo>
                        <a:pt x="1265683" y="44856"/>
                      </a:lnTo>
                      <a:lnTo>
                        <a:pt x="1268318" y="43569"/>
                      </a:lnTo>
                      <a:lnTo>
                        <a:pt x="1269241" y="41942"/>
                      </a:lnTo>
                      <a:lnTo>
                        <a:pt x="1269411" y="40011"/>
                      </a:lnTo>
                      <a:lnTo>
                        <a:pt x="1269083" y="38955"/>
                      </a:lnTo>
                      <a:lnTo>
                        <a:pt x="1268208" y="37388"/>
                      </a:lnTo>
                      <a:lnTo>
                        <a:pt x="1268208" y="37279"/>
                      </a:lnTo>
                      <a:lnTo>
                        <a:pt x="1268269" y="37170"/>
                      </a:lnTo>
                      <a:lnTo>
                        <a:pt x="1268439" y="36891"/>
                      </a:lnTo>
                      <a:lnTo>
                        <a:pt x="1270795" y="35154"/>
                      </a:lnTo>
                      <a:lnTo>
                        <a:pt x="1271317" y="33830"/>
                      </a:lnTo>
                      <a:lnTo>
                        <a:pt x="1271426" y="32203"/>
                      </a:lnTo>
                      <a:lnTo>
                        <a:pt x="1269532" y="25561"/>
                      </a:lnTo>
                      <a:lnTo>
                        <a:pt x="1269884" y="23958"/>
                      </a:lnTo>
                      <a:lnTo>
                        <a:pt x="1271026" y="23205"/>
                      </a:lnTo>
                      <a:lnTo>
                        <a:pt x="1273211" y="24043"/>
                      </a:lnTo>
                      <a:lnTo>
                        <a:pt x="1274814" y="25597"/>
                      </a:lnTo>
                      <a:lnTo>
                        <a:pt x="1275895" y="27431"/>
                      </a:lnTo>
                      <a:lnTo>
                        <a:pt x="1276648" y="29702"/>
                      </a:lnTo>
                      <a:lnTo>
                        <a:pt x="1277571" y="34340"/>
                      </a:lnTo>
                      <a:lnTo>
                        <a:pt x="1278372" y="35725"/>
                      </a:lnTo>
                      <a:lnTo>
                        <a:pt x="1279404" y="36138"/>
                      </a:lnTo>
                      <a:lnTo>
                        <a:pt x="1281189" y="35494"/>
                      </a:lnTo>
                      <a:lnTo>
                        <a:pt x="1282452" y="34328"/>
                      </a:lnTo>
                      <a:lnTo>
                        <a:pt x="1283654" y="32070"/>
                      </a:lnTo>
                      <a:lnTo>
                        <a:pt x="1285209" y="27382"/>
                      </a:lnTo>
                      <a:lnTo>
                        <a:pt x="1286362" y="26035"/>
                      </a:lnTo>
                      <a:lnTo>
                        <a:pt x="1287856" y="24942"/>
                      </a:lnTo>
                      <a:lnTo>
                        <a:pt x="1291353" y="23825"/>
                      </a:lnTo>
                      <a:lnTo>
                        <a:pt x="1293004" y="21797"/>
                      </a:lnTo>
                      <a:lnTo>
                        <a:pt x="1294109" y="19538"/>
                      </a:lnTo>
                      <a:lnTo>
                        <a:pt x="1294571" y="17049"/>
                      </a:lnTo>
                      <a:lnTo>
                        <a:pt x="1295324" y="14632"/>
                      </a:lnTo>
                      <a:lnTo>
                        <a:pt x="1296234" y="12714"/>
                      </a:lnTo>
                      <a:lnTo>
                        <a:pt x="1297388" y="11925"/>
                      </a:lnTo>
                      <a:lnTo>
                        <a:pt x="1298930" y="12192"/>
                      </a:lnTo>
                      <a:lnTo>
                        <a:pt x="1300946" y="15082"/>
                      </a:lnTo>
                      <a:lnTo>
                        <a:pt x="1303702" y="20400"/>
                      </a:lnTo>
                      <a:lnTo>
                        <a:pt x="1305184" y="22647"/>
                      </a:lnTo>
                      <a:lnTo>
                        <a:pt x="1312882" y="31001"/>
                      </a:lnTo>
                      <a:lnTo>
                        <a:pt x="1315529" y="35105"/>
                      </a:lnTo>
                      <a:lnTo>
                        <a:pt x="1316501" y="37146"/>
                      </a:lnTo>
                      <a:lnTo>
                        <a:pt x="1320120" y="48305"/>
                      </a:lnTo>
                      <a:lnTo>
                        <a:pt x="1321285" y="50284"/>
                      </a:lnTo>
                      <a:lnTo>
                        <a:pt x="1322414" y="51183"/>
                      </a:lnTo>
                      <a:lnTo>
                        <a:pt x="1323568" y="51013"/>
                      </a:lnTo>
                      <a:lnTo>
                        <a:pt x="1324369" y="49981"/>
                      </a:lnTo>
                      <a:lnTo>
                        <a:pt x="1325001" y="47503"/>
                      </a:lnTo>
                      <a:lnTo>
                        <a:pt x="1324831" y="45694"/>
                      </a:lnTo>
                      <a:lnTo>
                        <a:pt x="1324491" y="44200"/>
                      </a:lnTo>
                      <a:lnTo>
                        <a:pt x="1324029" y="42925"/>
                      </a:lnTo>
                      <a:lnTo>
                        <a:pt x="1323677" y="41189"/>
                      </a:lnTo>
                      <a:lnTo>
                        <a:pt x="1323750" y="39635"/>
                      </a:lnTo>
                      <a:lnTo>
                        <a:pt x="1324029" y="38396"/>
                      </a:lnTo>
                      <a:lnTo>
                        <a:pt x="1324418" y="37352"/>
                      </a:lnTo>
                      <a:lnTo>
                        <a:pt x="1324540" y="37182"/>
                      </a:lnTo>
                      <a:lnTo>
                        <a:pt x="1325814" y="36174"/>
                      </a:lnTo>
                      <a:lnTo>
                        <a:pt x="1327247" y="35603"/>
                      </a:lnTo>
                      <a:lnTo>
                        <a:pt x="1328741" y="35518"/>
                      </a:lnTo>
                      <a:lnTo>
                        <a:pt x="1330344" y="35603"/>
                      </a:lnTo>
                      <a:lnTo>
                        <a:pt x="1334363" y="37413"/>
                      </a:lnTo>
                      <a:lnTo>
                        <a:pt x="1337411" y="44783"/>
                      </a:lnTo>
                      <a:lnTo>
                        <a:pt x="1338905" y="52846"/>
                      </a:lnTo>
                      <a:lnTo>
                        <a:pt x="1339488" y="53903"/>
                      </a:lnTo>
                      <a:lnTo>
                        <a:pt x="1341430" y="56477"/>
                      </a:lnTo>
                      <a:lnTo>
                        <a:pt x="1343434" y="62415"/>
                      </a:lnTo>
                      <a:lnTo>
                        <a:pt x="1344175" y="64588"/>
                      </a:lnTo>
                      <a:lnTo>
                        <a:pt x="1344697" y="65548"/>
                      </a:lnTo>
                      <a:lnTo>
                        <a:pt x="1345268" y="66373"/>
                      </a:lnTo>
                      <a:lnTo>
                        <a:pt x="1346591" y="67831"/>
                      </a:lnTo>
                      <a:lnTo>
                        <a:pt x="1347672" y="69494"/>
                      </a:lnTo>
                      <a:lnTo>
                        <a:pt x="1348716" y="71449"/>
                      </a:lnTo>
                      <a:lnTo>
                        <a:pt x="1349238" y="72275"/>
                      </a:lnTo>
                      <a:lnTo>
                        <a:pt x="1349991" y="72918"/>
                      </a:lnTo>
                      <a:lnTo>
                        <a:pt x="1350780" y="73380"/>
                      </a:lnTo>
                      <a:lnTo>
                        <a:pt x="1352274" y="74643"/>
                      </a:lnTo>
                      <a:lnTo>
                        <a:pt x="1353245" y="75153"/>
                      </a:lnTo>
                      <a:lnTo>
                        <a:pt x="1362098" y="74619"/>
                      </a:lnTo>
                      <a:lnTo>
                        <a:pt x="1371108" y="74898"/>
                      </a:lnTo>
                      <a:lnTo>
                        <a:pt x="1381793" y="72676"/>
                      </a:lnTo>
                      <a:lnTo>
                        <a:pt x="1384951" y="72761"/>
                      </a:lnTo>
                      <a:lnTo>
                        <a:pt x="1387246" y="73623"/>
                      </a:lnTo>
                      <a:lnTo>
                        <a:pt x="1389031" y="75068"/>
                      </a:lnTo>
                      <a:lnTo>
                        <a:pt x="1390986" y="75724"/>
                      </a:lnTo>
                      <a:lnTo>
                        <a:pt x="1395976" y="75906"/>
                      </a:lnTo>
                      <a:lnTo>
                        <a:pt x="1397640" y="76646"/>
                      </a:lnTo>
                      <a:lnTo>
                        <a:pt x="1400275" y="78626"/>
                      </a:lnTo>
                      <a:lnTo>
                        <a:pt x="1401951" y="79124"/>
                      </a:lnTo>
                      <a:lnTo>
                        <a:pt x="1405739" y="78577"/>
                      </a:lnTo>
                      <a:lnTo>
                        <a:pt x="1419109" y="75213"/>
                      </a:lnTo>
                      <a:lnTo>
                        <a:pt x="1431106" y="74461"/>
                      </a:lnTo>
                      <a:lnTo>
                        <a:pt x="1434567" y="73064"/>
                      </a:lnTo>
                      <a:lnTo>
                        <a:pt x="1437493" y="70842"/>
                      </a:lnTo>
                      <a:lnTo>
                        <a:pt x="1440711" y="66653"/>
                      </a:lnTo>
                      <a:lnTo>
                        <a:pt x="1442205" y="63228"/>
                      </a:lnTo>
                      <a:lnTo>
                        <a:pt x="1443917" y="57874"/>
                      </a:lnTo>
                      <a:lnTo>
                        <a:pt x="1444949" y="56635"/>
                      </a:lnTo>
                      <a:lnTo>
                        <a:pt x="1446224" y="56088"/>
                      </a:lnTo>
                      <a:lnTo>
                        <a:pt x="1448288" y="56465"/>
                      </a:lnTo>
                      <a:lnTo>
                        <a:pt x="1449952" y="56514"/>
                      </a:lnTo>
                      <a:lnTo>
                        <a:pt x="1451676" y="55979"/>
                      </a:lnTo>
                      <a:lnTo>
                        <a:pt x="1458282" y="47819"/>
                      </a:lnTo>
                      <a:lnTo>
                        <a:pt x="1459205" y="46423"/>
                      </a:lnTo>
                      <a:lnTo>
                        <a:pt x="1459484" y="45233"/>
                      </a:lnTo>
                      <a:lnTo>
                        <a:pt x="1459132" y="44334"/>
                      </a:lnTo>
                      <a:lnTo>
                        <a:pt x="1458622" y="43569"/>
                      </a:lnTo>
                      <a:lnTo>
                        <a:pt x="1458282" y="42622"/>
                      </a:lnTo>
                      <a:lnTo>
                        <a:pt x="1458440" y="41371"/>
                      </a:lnTo>
                      <a:lnTo>
                        <a:pt x="1458962" y="39950"/>
                      </a:lnTo>
                      <a:lnTo>
                        <a:pt x="1460516" y="37327"/>
                      </a:lnTo>
                      <a:lnTo>
                        <a:pt x="1460516" y="37158"/>
                      </a:lnTo>
                      <a:lnTo>
                        <a:pt x="1460455" y="36004"/>
                      </a:lnTo>
                      <a:lnTo>
                        <a:pt x="1459484" y="33757"/>
                      </a:lnTo>
                      <a:lnTo>
                        <a:pt x="1459205" y="32361"/>
                      </a:lnTo>
                      <a:lnTo>
                        <a:pt x="1459654" y="31414"/>
                      </a:lnTo>
                      <a:lnTo>
                        <a:pt x="1460759" y="30904"/>
                      </a:lnTo>
                      <a:lnTo>
                        <a:pt x="1463333" y="31074"/>
                      </a:lnTo>
                      <a:lnTo>
                        <a:pt x="1465507" y="31499"/>
                      </a:lnTo>
                      <a:lnTo>
                        <a:pt x="1467863" y="31584"/>
                      </a:lnTo>
                      <a:lnTo>
                        <a:pt x="1470060" y="30989"/>
                      </a:lnTo>
                      <a:lnTo>
                        <a:pt x="1475853" y="25877"/>
                      </a:lnTo>
                      <a:lnTo>
                        <a:pt x="1477856" y="24493"/>
                      </a:lnTo>
                      <a:lnTo>
                        <a:pt x="1491869" y="17838"/>
                      </a:lnTo>
                      <a:lnTo>
                        <a:pt x="1493836" y="18263"/>
                      </a:lnTo>
                      <a:lnTo>
                        <a:pt x="1494747" y="19186"/>
                      </a:lnTo>
                      <a:lnTo>
                        <a:pt x="1495597" y="19842"/>
                      </a:lnTo>
                      <a:lnTo>
                        <a:pt x="1497151" y="19878"/>
                      </a:lnTo>
                      <a:lnTo>
                        <a:pt x="1499276" y="17838"/>
                      </a:lnTo>
                      <a:lnTo>
                        <a:pt x="1500418" y="15616"/>
                      </a:lnTo>
                      <a:lnTo>
                        <a:pt x="1500831" y="12969"/>
                      </a:lnTo>
                      <a:lnTo>
                        <a:pt x="1500600" y="11196"/>
                      </a:lnTo>
                      <a:lnTo>
                        <a:pt x="1500260" y="10006"/>
                      </a:lnTo>
                      <a:lnTo>
                        <a:pt x="1499628" y="8767"/>
                      </a:lnTo>
                      <a:lnTo>
                        <a:pt x="1499337" y="7553"/>
                      </a:lnTo>
                      <a:lnTo>
                        <a:pt x="1500139" y="6727"/>
                      </a:lnTo>
                      <a:lnTo>
                        <a:pt x="1501802" y="6120"/>
                      </a:lnTo>
                      <a:lnTo>
                        <a:pt x="1504388" y="6205"/>
                      </a:lnTo>
                      <a:moveTo>
                        <a:pt x="1504194" y="134"/>
                      </a:moveTo>
                      <a:lnTo>
                        <a:pt x="1503939" y="146"/>
                      </a:lnTo>
                      <a:lnTo>
                        <a:pt x="1501353" y="340"/>
                      </a:lnTo>
                      <a:lnTo>
                        <a:pt x="1500515" y="413"/>
                      </a:lnTo>
                      <a:lnTo>
                        <a:pt x="1499726" y="692"/>
                      </a:lnTo>
                      <a:lnTo>
                        <a:pt x="1498062" y="1300"/>
                      </a:lnTo>
                      <a:lnTo>
                        <a:pt x="1496739" y="1773"/>
                      </a:lnTo>
                      <a:lnTo>
                        <a:pt x="1495755" y="2793"/>
                      </a:lnTo>
                      <a:lnTo>
                        <a:pt x="1494953" y="3619"/>
                      </a:lnTo>
                      <a:lnTo>
                        <a:pt x="1492646" y="6011"/>
                      </a:lnTo>
                      <a:lnTo>
                        <a:pt x="1493424" y="9253"/>
                      </a:lnTo>
                      <a:lnTo>
                        <a:pt x="1493715" y="10467"/>
                      </a:lnTo>
                      <a:lnTo>
                        <a:pt x="1493885" y="11172"/>
                      </a:lnTo>
                      <a:lnTo>
                        <a:pt x="1494213" y="11827"/>
                      </a:lnTo>
                      <a:lnTo>
                        <a:pt x="1494541" y="12471"/>
                      </a:lnTo>
                      <a:lnTo>
                        <a:pt x="1493144" y="12180"/>
                      </a:lnTo>
                      <a:lnTo>
                        <a:pt x="1491116" y="11742"/>
                      </a:lnTo>
                      <a:lnTo>
                        <a:pt x="1489246" y="12617"/>
                      </a:lnTo>
                      <a:lnTo>
                        <a:pt x="1475233" y="19271"/>
                      </a:lnTo>
                      <a:lnTo>
                        <a:pt x="1474784" y="19490"/>
                      </a:lnTo>
                      <a:lnTo>
                        <a:pt x="1474371" y="19769"/>
                      </a:lnTo>
                      <a:lnTo>
                        <a:pt x="1472368" y="21153"/>
                      </a:lnTo>
                      <a:lnTo>
                        <a:pt x="1472076" y="21359"/>
                      </a:lnTo>
                      <a:lnTo>
                        <a:pt x="1471809" y="21603"/>
                      </a:lnTo>
                      <a:lnTo>
                        <a:pt x="1467098" y="25755"/>
                      </a:lnTo>
                      <a:lnTo>
                        <a:pt x="1466175" y="25731"/>
                      </a:lnTo>
                      <a:lnTo>
                        <a:pt x="1464475" y="25403"/>
                      </a:lnTo>
                      <a:lnTo>
                        <a:pt x="1464086" y="25318"/>
                      </a:lnTo>
                      <a:lnTo>
                        <a:pt x="1463698" y="25294"/>
                      </a:lnTo>
                      <a:lnTo>
                        <a:pt x="1461123" y="25124"/>
                      </a:lnTo>
                      <a:lnTo>
                        <a:pt x="1459593" y="25027"/>
                      </a:lnTo>
                      <a:lnTo>
                        <a:pt x="1458197" y="25670"/>
                      </a:lnTo>
                      <a:lnTo>
                        <a:pt x="1457092" y="26180"/>
                      </a:lnTo>
                      <a:lnTo>
                        <a:pt x="1455076" y="27103"/>
                      </a:lnTo>
                      <a:lnTo>
                        <a:pt x="1454129" y="29119"/>
                      </a:lnTo>
                      <a:lnTo>
                        <a:pt x="1453680" y="30066"/>
                      </a:lnTo>
                      <a:lnTo>
                        <a:pt x="1452830" y="31863"/>
                      </a:lnTo>
                      <a:lnTo>
                        <a:pt x="1453218" y="33818"/>
                      </a:lnTo>
                      <a:lnTo>
                        <a:pt x="1453497" y="35215"/>
                      </a:lnTo>
                      <a:lnTo>
                        <a:pt x="1453619" y="35846"/>
                      </a:lnTo>
                      <a:lnTo>
                        <a:pt x="1453874" y="36441"/>
                      </a:lnTo>
                      <a:lnTo>
                        <a:pt x="1453971" y="36672"/>
                      </a:lnTo>
                      <a:lnTo>
                        <a:pt x="1453704" y="37121"/>
                      </a:lnTo>
                      <a:lnTo>
                        <a:pt x="1453425" y="37595"/>
                      </a:lnTo>
                      <a:lnTo>
                        <a:pt x="1453230" y="38129"/>
                      </a:lnTo>
                      <a:lnTo>
                        <a:pt x="1452708" y="39550"/>
                      </a:lnTo>
                      <a:lnTo>
                        <a:pt x="1452465" y="40193"/>
                      </a:lnTo>
                      <a:lnTo>
                        <a:pt x="1452380" y="40873"/>
                      </a:lnTo>
                      <a:lnTo>
                        <a:pt x="1452223" y="42124"/>
                      </a:lnTo>
                      <a:lnTo>
                        <a:pt x="1452040" y="43557"/>
                      </a:lnTo>
                      <a:lnTo>
                        <a:pt x="1452526" y="44929"/>
                      </a:lnTo>
                      <a:lnTo>
                        <a:pt x="1452684" y="45354"/>
                      </a:lnTo>
                      <a:lnTo>
                        <a:pt x="1448422" y="50600"/>
                      </a:lnTo>
                      <a:lnTo>
                        <a:pt x="1447292" y="50381"/>
                      </a:lnTo>
                      <a:lnTo>
                        <a:pt x="1445495" y="50053"/>
                      </a:lnTo>
                      <a:lnTo>
                        <a:pt x="1443808" y="50782"/>
                      </a:lnTo>
                      <a:lnTo>
                        <a:pt x="1442532" y="51328"/>
                      </a:lnTo>
                      <a:lnTo>
                        <a:pt x="1441197" y="51911"/>
                      </a:lnTo>
                      <a:lnTo>
                        <a:pt x="1440262" y="53016"/>
                      </a:lnTo>
                      <a:lnTo>
                        <a:pt x="1439229" y="54255"/>
                      </a:lnTo>
                      <a:lnTo>
                        <a:pt x="1438465" y="55165"/>
                      </a:lnTo>
                      <a:lnTo>
                        <a:pt x="1438100" y="56307"/>
                      </a:lnTo>
                      <a:lnTo>
                        <a:pt x="1436485" y="61371"/>
                      </a:lnTo>
                      <a:lnTo>
                        <a:pt x="1435405" y="63836"/>
                      </a:lnTo>
                      <a:lnTo>
                        <a:pt x="1433146" y="66774"/>
                      </a:lnTo>
                      <a:lnTo>
                        <a:pt x="1431507" y="68025"/>
                      </a:lnTo>
                      <a:lnTo>
                        <a:pt x="1429709" y="68754"/>
                      </a:lnTo>
                      <a:lnTo>
                        <a:pt x="1418696" y="69446"/>
                      </a:lnTo>
                      <a:lnTo>
                        <a:pt x="1418137" y="69482"/>
                      </a:lnTo>
                      <a:lnTo>
                        <a:pt x="1417591" y="69615"/>
                      </a:lnTo>
                      <a:lnTo>
                        <a:pt x="1404525" y="72907"/>
                      </a:lnTo>
                      <a:lnTo>
                        <a:pt x="1402692" y="73161"/>
                      </a:lnTo>
                      <a:lnTo>
                        <a:pt x="1401246" y="72069"/>
                      </a:lnTo>
                      <a:lnTo>
                        <a:pt x="1400688" y="71655"/>
                      </a:lnTo>
                      <a:lnTo>
                        <a:pt x="1400056" y="71389"/>
                      </a:lnTo>
                      <a:lnTo>
                        <a:pt x="1398393" y="70648"/>
                      </a:lnTo>
                      <a:lnTo>
                        <a:pt x="1397324" y="70174"/>
                      </a:lnTo>
                      <a:lnTo>
                        <a:pt x="1396146" y="70126"/>
                      </a:lnTo>
                      <a:lnTo>
                        <a:pt x="1392030" y="69980"/>
                      </a:lnTo>
                      <a:lnTo>
                        <a:pt x="1391945" y="69956"/>
                      </a:lnTo>
                      <a:lnTo>
                        <a:pt x="1391022" y="69203"/>
                      </a:lnTo>
                      <a:lnTo>
                        <a:pt x="1390257" y="68583"/>
                      </a:lnTo>
                      <a:lnTo>
                        <a:pt x="1389334" y="68244"/>
                      </a:lnTo>
                      <a:lnTo>
                        <a:pt x="1387039" y="67381"/>
                      </a:lnTo>
                      <a:lnTo>
                        <a:pt x="1386080" y="67017"/>
                      </a:lnTo>
                      <a:lnTo>
                        <a:pt x="1385060" y="66993"/>
                      </a:lnTo>
                      <a:lnTo>
                        <a:pt x="1381903" y="66908"/>
                      </a:lnTo>
                      <a:lnTo>
                        <a:pt x="1381198" y="66895"/>
                      </a:lnTo>
                      <a:lnTo>
                        <a:pt x="1380506" y="67041"/>
                      </a:lnTo>
                      <a:lnTo>
                        <a:pt x="1370525" y="69106"/>
                      </a:lnTo>
                      <a:lnTo>
                        <a:pt x="1362231" y="68851"/>
                      </a:lnTo>
                      <a:lnTo>
                        <a:pt x="1354909" y="69276"/>
                      </a:lnTo>
                      <a:lnTo>
                        <a:pt x="1354630" y="69033"/>
                      </a:lnTo>
                      <a:lnTo>
                        <a:pt x="1354241" y="68705"/>
                      </a:lnTo>
                      <a:lnTo>
                        <a:pt x="1353792" y="68450"/>
                      </a:lnTo>
                      <a:lnTo>
                        <a:pt x="1353743" y="68426"/>
                      </a:lnTo>
                      <a:lnTo>
                        <a:pt x="1352978" y="66944"/>
                      </a:lnTo>
                      <a:lnTo>
                        <a:pt x="1351618" y="64819"/>
                      </a:lnTo>
                      <a:lnTo>
                        <a:pt x="1351363" y="64419"/>
                      </a:lnTo>
                      <a:lnTo>
                        <a:pt x="1351048" y="64066"/>
                      </a:lnTo>
                      <a:lnTo>
                        <a:pt x="1350003" y="62913"/>
                      </a:lnTo>
                      <a:lnTo>
                        <a:pt x="1349845" y="62670"/>
                      </a:lnTo>
                      <a:lnTo>
                        <a:pt x="1349712" y="62439"/>
                      </a:lnTo>
                      <a:lnTo>
                        <a:pt x="1349141" y="60751"/>
                      </a:lnTo>
                      <a:lnTo>
                        <a:pt x="1347137" y="54826"/>
                      </a:lnTo>
                      <a:lnTo>
                        <a:pt x="1346822" y="53903"/>
                      </a:lnTo>
                      <a:lnTo>
                        <a:pt x="1346227" y="53113"/>
                      </a:lnTo>
                      <a:lnTo>
                        <a:pt x="1344636" y="51013"/>
                      </a:lnTo>
                      <a:lnTo>
                        <a:pt x="1343337" y="43982"/>
                      </a:lnTo>
                      <a:lnTo>
                        <a:pt x="1343215" y="43350"/>
                      </a:lnTo>
                      <a:lnTo>
                        <a:pt x="1342973" y="42756"/>
                      </a:lnTo>
                      <a:lnTo>
                        <a:pt x="1339925" y="35397"/>
                      </a:lnTo>
                      <a:lnTo>
                        <a:pt x="1339002" y="33163"/>
                      </a:lnTo>
                      <a:lnTo>
                        <a:pt x="1336804" y="32167"/>
                      </a:lnTo>
                      <a:lnTo>
                        <a:pt x="1332785" y="30357"/>
                      </a:lnTo>
                      <a:lnTo>
                        <a:pt x="1331752" y="29896"/>
                      </a:lnTo>
                      <a:lnTo>
                        <a:pt x="1330611" y="29835"/>
                      </a:lnTo>
                      <a:lnTo>
                        <a:pt x="1329008" y="29750"/>
                      </a:lnTo>
                      <a:lnTo>
                        <a:pt x="1328680" y="29726"/>
                      </a:lnTo>
                      <a:lnTo>
                        <a:pt x="1328352" y="29750"/>
                      </a:lnTo>
                      <a:lnTo>
                        <a:pt x="1326859" y="29835"/>
                      </a:lnTo>
                      <a:lnTo>
                        <a:pt x="1325875" y="29884"/>
                      </a:lnTo>
                      <a:lnTo>
                        <a:pt x="1324952" y="30248"/>
                      </a:lnTo>
                      <a:lnTo>
                        <a:pt x="1323520" y="30819"/>
                      </a:lnTo>
                      <a:lnTo>
                        <a:pt x="1322694" y="31147"/>
                      </a:lnTo>
                      <a:lnTo>
                        <a:pt x="1321989" y="31693"/>
                      </a:lnTo>
                      <a:lnTo>
                        <a:pt x="1320872" y="32580"/>
                      </a:lnTo>
                      <a:lnTo>
                        <a:pt x="1320787" y="32410"/>
                      </a:lnTo>
                      <a:lnTo>
                        <a:pt x="1320569" y="32082"/>
                      </a:lnTo>
                      <a:lnTo>
                        <a:pt x="1317922" y="27978"/>
                      </a:lnTo>
                      <a:lnTo>
                        <a:pt x="1317642" y="27540"/>
                      </a:lnTo>
                      <a:lnTo>
                        <a:pt x="1317290" y="27164"/>
                      </a:lnTo>
                      <a:lnTo>
                        <a:pt x="1309932" y="19162"/>
                      </a:lnTo>
                      <a:lnTo>
                        <a:pt x="1308900" y="17595"/>
                      </a:lnTo>
                      <a:lnTo>
                        <a:pt x="1306289" y="12568"/>
                      </a:lnTo>
                      <a:lnTo>
                        <a:pt x="1306106" y="12216"/>
                      </a:lnTo>
                      <a:lnTo>
                        <a:pt x="1305876" y="11888"/>
                      </a:lnTo>
                      <a:lnTo>
                        <a:pt x="1303860" y="8998"/>
                      </a:lnTo>
                      <a:lnTo>
                        <a:pt x="1302415" y="6934"/>
                      </a:lnTo>
                      <a:lnTo>
                        <a:pt x="1299926" y="6497"/>
                      </a:lnTo>
                      <a:lnTo>
                        <a:pt x="1298384" y="6229"/>
                      </a:lnTo>
                      <a:lnTo>
                        <a:pt x="1295943" y="5792"/>
                      </a:lnTo>
                      <a:lnTo>
                        <a:pt x="1293891" y="7201"/>
                      </a:lnTo>
                      <a:lnTo>
                        <a:pt x="1292737" y="7990"/>
                      </a:lnTo>
                      <a:lnTo>
                        <a:pt x="1291389" y="8913"/>
                      </a:lnTo>
                      <a:lnTo>
                        <a:pt x="1290685" y="10395"/>
                      </a:lnTo>
                      <a:lnTo>
                        <a:pt x="1289774" y="12313"/>
                      </a:lnTo>
                      <a:lnTo>
                        <a:pt x="1289592" y="12702"/>
                      </a:lnTo>
                      <a:lnTo>
                        <a:pt x="1289458" y="13102"/>
                      </a:lnTo>
                      <a:lnTo>
                        <a:pt x="1288706" y="15519"/>
                      </a:lnTo>
                      <a:lnTo>
                        <a:pt x="1288596" y="15859"/>
                      </a:lnTo>
                      <a:lnTo>
                        <a:pt x="1288536" y="16211"/>
                      </a:lnTo>
                      <a:lnTo>
                        <a:pt x="1288232" y="17887"/>
                      </a:lnTo>
                      <a:lnTo>
                        <a:pt x="1287795" y="18761"/>
                      </a:lnTo>
                      <a:lnTo>
                        <a:pt x="1287722" y="18846"/>
                      </a:lnTo>
                      <a:lnTo>
                        <a:pt x="1285949" y="19417"/>
                      </a:lnTo>
                      <a:lnTo>
                        <a:pt x="1285014" y="19708"/>
                      </a:lnTo>
                      <a:lnTo>
                        <a:pt x="1284213" y="20303"/>
                      </a:lnTo>
                      <a:lnTo>
                        <a:pt x="1282719" y="21384"/>
                      </a:lnTo>
                      <a:lnTo>
                        <a:pt x="1282136" y="21809"/>
                      </a:lnTo>
                      <a:lnTo>
                        <a:pt x="1281675" y="22355"/>
                      </a:lnTo>
                      <a:lnTo>
                        <a:pt x="1280533" y="23691"/>
                      </a:lnTo>
                      <a:lnTo>
                        <a:pt x="1279987" y="22768"/>
                      </a:lnTo>
                      <a:lnTo>
                        <a:pt x="1279562" y="22052"/>
                      </a:lnTo>
                      <a:lnTo>
                        <a:pt x="1278967" y="21469"/>
                      </a:lnTo>
                      <a:lnTo>
                        <a:pt x="1277364" y="19915"/>
                      </a:lnTo>
                      <a:lnTo>
                        <a:pt x="1276478" y="19065"/>
                      </a:lnTo>
                      <a:lnTo>
                        <a:pt x="1275336" y="18615"/>
                      </a:lnTo>
                      <a:lnTo>
                        <a:pt x="1273151" y="17778"/>
                      </a:lnTo>
                      <a:lnTo>
                        <a:pt x="1270224" y="16648"/>
                      </a:lnTo>
                      <a:lnTo>
                        <a:pt x="1267613" y="18385"/>
                      </a:lnTo>
                      <a:lnTo>
                        <a:pt x="1266472" y="19138"/>
                      </a:lnTo>
                      <a:lnTo>
                        <a:pt x="1264420" y="20498"/>
                      </a:lnTo>
                      <a:lnTo>
                        <a:pt x="1263898" y="22902"/>
                      </a:lnTo>
                      <a:lnTo>
                        <a:pt x="1263546" y="24505"/>
                      </a:lnTo>
                      <a:lnTo>
                        <a:pt x="1263218" y="25986"/>
                      </a:lnTo>
                      <a:lnTo>
                        <a:pt x="1263630" y="27455"/>
                      </a:lnTo>
                      <a:lnTo>
                        <a:pt x="1264954" y="32106"/>
                      </a:lnTo>
                      <a:lnTo>
                        <a:pt x="1264784" y="32239"/>
                      </a:lnTo>
                      <a:lnTo>
                        <a:pt x="1263813" y="32956"/>
                      </a:lnTo>
                      <a:lnTo>
                        <a:pt x="1263181" y="33988"/>
                      </a:lnTo>
                      <a:lnTo>
                        <a:pt x="1263133" y="34085"/>
                      </a:lnTo>
                      <a:lnTo>
                        <a:pt x="1262853" y="34583"/>
                      </a:lnTo>
                      <a:lnTo>
                        <a:pt x="1262088" y="35943"/>
                      </a:lnTo>
                      <a:lnTo>
                        <a:pt x="1262088" y="36222"/>
                      </a:lnTo>
                      <a:lnTo>
                        <a:pt x="1260534" y="35263"/>
                      </a:lnTo>
                      <a:lnTo>
                        <a:pt x="1259866" y="34851"/>
                      </a:lnTo>
                      <a:lnTo>
                        <a:pt x="1259113" y="34620"/>
                      </a:lnTo>
                      <a:lnTo>
                        <a:pt x="1255252" y="33466"/>
                      </a:lnTo>
                      <a:lnTo>
                        <a:pt x="1254025" y="32786"/>
                      </a:lnTo>
                      <a:lnTo>
                        <a:pt x="1253904" y="32689"/>
                      </a:lnTo>
                      <a:lnTo>
                        <a:pt x="1253005" y="31973"/>
                      </a:lnTo>
                      <a:lnTo>
                        <a:pt x="1251913" y="31632"/>
                      </a:lnTo>
                      <a:lnTo>
                        <a:pt x="1249739" y="30965"/>
                      </a:lnTo>
                      <a:lnTo>
                        <a:pt x="1248658" y="30649"/>
                      </a:lnTo>
                      <a:lnTo>
                        <a:pt x="1247529" y="30722"/>
                      </a:lnTo>
                      <a:lnTo>
                        <a:pt x="1245683" y="30855"/>
                      </a:lnTo>
                      <a:lnTo>
                        <a:pt x="1245355" y="30879"/>
                      </a:lnTo>
                      <a:lnTo>
                        <a:pt x="1245040" y="30940"/>
                      </a:lnTo>
                      <a:lnTo>
                        <a:pt x="1243315" y="31244"/>
                      </a:lnTo>
                      <a:lnTo>
                        <a:pt x="1242902" y="31317"/>
                      </a:lnTo>
                      <a:lnTo>
                        <a:pt x="1242514" y="31451"/>
                      </a:lnTo>
                      <a:lnTo>
                        <a:pt x="1240911" y="31973"/>
                      </a:lnTo>
                      <a:lnTo>
                        <a:pt x="1240219" y="32203"/>
                      </a:lnTo>
                      <a:lnTo>
                        <a:pt x="1239612" y="32567"/>
                      </a:lnTo>
                      <a:lnTo>
                        <a:pt x="1237038" y="34146"/>
                      </a:lnTo>
                      <a:lnTo>
                        <a:pt x="1234694" y="35591"/>
                      </a:lnTo>
                      <a:lnTo>
                        <a:pt x="1234233" y="38311"/>
                      </a:lnTo>
                      <a:lnTo>
                        <a:pt x="1233941" y="40011"/>
                      </a:lnTo>
                      <a:lnTo>
                        <a:pt x="1233759" y="41080"/>
                      </a:lnTo>
                      <a:lnTo>
                        <a:pt x="1233953" y="42148"/>
                      </a:lnTo>
                      <a:lnTo>
                        <a:pt x="1234196" y="43387"/>
                      </a:lnTo>
                      <a:lnTo>
                        <a:pt x="1234439" y="44710"/>
                      </a:lnTo>
                      <a:lnTo>
                        <a:pt x="1235228" y="45815"/>
                      </a:lnTo>
                      <a:lnTo>
                        <a:pt x="1236030" y="46933"/>
                      </a:lnTo>
                      <a:lnTo>
                        <a:pt x="1236430" y="47491"/>
                      </a:lnTo>
                      <a:lnTo>
                        <a:pt x="1236953" y="47953"/>
                      </a:lnTo>
                      <a:lnTo>
                        <a:pt x="1237645" y="48560"/>
                      </a:lnTo>
                      <a:lnTo>
                        <a:pt x="1237681" y="48608"/>
                      </a:lnTo>
                      <a:lnTo>
                        <a:pt x="1237960" y="49179"/>
                      </a:lnTo>
                      <a:lnTo>
                        <a:pt x="1238908" y="52142"/>
                      </a:lnTo>
                      <a:lnTo>
                        <a:pt x="1239065" y="52628"/>
                      </a:lnTo>
                      <a:lnTo>
                        <a:pt x="1239308" y="53089"/>
                      </a:lnTo>
                      <a:lnTo>
                        <a:pt x="1239879" y="54182"/>
                      </a:lnTo>
                      <a:lnTo>
                        <a:pt x="1240146" y="54692"/>
                      </a:lnTo>
                      <a:lnTo>
                        <a:pt x="1240498" y="55141"/>
                      </a:lnTo>
                      <a:lnTo>
                        <a:pt x="1244348" y="59998"/>
                      </a:lnTo>
                      <a:lnTo>
                        <a:pt x="1244979" y="60788"/>
                      </a:lnTo>
                      <a:lnTo>
                        <a:pt x="1245829" y="61334"/>
                      </a:lnTo>
                      <a:lnTo>
                        <a:pt x="1246752" y="61929"/>
                      </a:lnTo>
                      <a:lnTo>
                        <a:pt x="1247359" y="62318"/>
                      </a:lnTo>
                      <a:lnTo>
                        <a:pt x="1248039" y="62561"/>
                      </a:lnTo>
                      <a:lnTo>
                        <a:pt x="1248792" y="62815"/>
                      </a:lnTo>
                      <a:lnTo>
                        <a:pt x="1249435" y="63046"/>
                      </a:lnTo>
                      <a:lnTo>
                        <a:pt x="1249800" y="63811"/>
                      </a:lnTo>
                      <a:lnTo>
                        <a:pt x="1249836" y="63896"/>
                      </a:lnTo>
                      <a:lnTo>
                        <a:pt x="1246873" y="64722"/>
                      </a:lnTo>
                      <a:lnTo>
                        <a:pt x="1246145" y="64941"/>
                      </a:lnTo>
                      <a:lnTo>
                        <a:pt x="1245477" y="65317"/>
                      </a:lnTo>
                      <a:lnTo>
                        <a:pt x="1242611" y="66981"/>
                      </a:lnTo>
                      <a:lnTo>
                        <a:pt x="1242295" y="67175"/>
                      </a:lnTo>
                      <a:lnTo>
                        <a:pt x="1242004" y="67406"/>
                      </a:lnTo>
                      <a:lnTo>
                        <a:pt x="1236090" y="71886"/>
                      </a:lnTo>
                      <a:lnTo>
                        <a:pt x="1231160" y="76416"/>
                      </a:lnTo>
                      <a:lnTo>
                        <a:pt x="1229023" y="78031"/>
                      </a:lnTo>
                      <a:lnTo>
                        <a:pt x="1221567" y="81346"/>
                      </a:lnTo>
                      <a:lnTo>
                        <a:pt x="1220802" y="80508"/>
                      </a:lnTo>
                      <a:lnTo>
                        <a:pt x="1220037" y="79670"/>
                      </a:lnTo>
                      <a:lnTo>
                        <a:pt x="1219030" y="79172"/>
                      </a:lnTo>
                      <a:lnTo>
                        <a:pt x="1216965" y="78152"/>
                      </a:lnTo>
                      <a:lnTo>
                        <a:pt x="1216322" y="77836"/>
                      </a:lnTo>
                      <a:lnTo>
                        <a:pt x="1215617" y="77678"/>
                      </a:lnTo>
                      <a:lnTo>
                        <a:pt x="1213480" y="77193"/>
                      </a:lnTo>
                      <a:lnTo>
                        <a:pt x="1212351" y="76938"/>
                      </a:lnTo>
                      <a:lnTo>
                        <a:pt x="1211209" y="77120"/>
                      </a:lnTo>
                      <a:lnTo>
                        <a:pt x="1208805" y="77484"/>
                      </a:lnTo>
                      <a:lnTo>
                        <a:pt x="1207652" y="77667"/>
                      </a:lnTo>
                      <a:lnTo>
                        <a:pt x="1206644" y="78261"/>
                      </a:lnTo>
                      <a:lnTo>
                        <a:pt x="1204567" y="79488"/>
                      </a:lnTo>
                      <a:lnTo>
                        <a:pt x="1203960" y="79840"/>
                      </a:lnTo>
                      <a:lnTo>
                        <a:pt x="1203450" y="80338"/>
                      </a:lnTo>
                      <a:lnTo>
                        <a:pt x="1200184" y="83483"/>
                      </a:lnTo>
                      <a:lnTo>
                        <a:pt x="1199844" y="83798"/>
                      </a:lnTo>
                      <a:lnTo>
                        <a:pt x="1199564" y="84175"/>
                      </a:lnTo>
                      <a:lnTo>
                        <a:pt x="1197439" y="86956"/>
                      </a:lnTo>
                      <a:lnTo>
                        <a:pt x="1197209" y="87259"/>
                      </a:lnTo>
                      <a:lnTo>
                        <a:pt x="1197014" y="87587"/>
                      </a:lnTo>
                      <a:lnTo>
                        <a:pt x="1192874" y="94739"/>
                      </a:lnTo>
                      <a:lnTo>
                        <a:pt x="1191441" y="96755"/>
                      </a:lnTo>
                      <a:lnTo>
                        <a:pt x="1189425" y="98989"/>
                      </a:lnTo>
                      <a:lnTo>
                        <a:pt x="1185066" y="103057"/>
                      </a:lnTo>
                      <a:lnTo>
                        <a:pt x="1184179" y="103883"/>
                      </a:lnTo>
                      <a:lnTo>
                        <a:pt x="1183681" y="105000"/>
                      </a:lnTo>
                      <a:lnTo>
                        <a:pt x="1183281" y="105886"/>
                      </a:lnTo>
                      <a:lnTo>
                        <a:pt x="1182856" y="106822"/>
                      </a:lnTo>
                      <a:lnTo>
                        <a:pt x="1182771" y="107854"/>
                      </a:lnTo>
                      <a:lnTo>
                        <a:pt x="1182661" y="109177"/>
                      </a:lnTo>
                      <a:lnTo>
                        <a:pt x="1182625" y="109530"/>
                      </a:lnTo>
                      <a:lnTo>
                        <a:pt x="1182637" y="109894"/>
                      </a:lnTo>
                      <a:lnTo>
                        <a:pt x="1182661" y="110841"/>
                      </a:lnTo>
                      <a:lnTo>
                        <a:pt x="1182552" y="111557"/>
                      </a:lnTo>
                      <a:lnTo>
                        <a:pt x="1182139" y="112759"/>
                      </a:lnTo>
                      <a:lnTo>
                        <a:pt x="1181945" y="113306"/>
                      </a:lnTo>
                      <a:lnTo>
                        <a:pt x="1181860" y="113889"/>
                      </a:lnTo>
                      <a:lnTo>
                        <a:pt x="1181641" y="115455"/>
                      </a:lnTo>
                      <a:lnTo>
                        <a:pt x="1181484" y="116572"/>
                      </a:lnTo>
                      <a:lnTo>
                        <a:pt x="1181739" y="117665"/>
                      </a:lnTo>
                      <a:lnTo>
                        <a:pt x="1182079" y="119159"/>
                      </a:lnTo>
                      <a:lnTo>
                        <a:pt x="1182334" y="120252"/>
                      </a:lnTo>
                      <a:lnTo>
                        <a:pt x="1182953" y="121174"/>
                      </a:lnTo>
                      <a:lnTo>
                        <a:pt x="1185406" y="124829"/>
                      </a:lnTo>
                      <a:lnTo>
                        <a:pt x="1186596" y="127805"/>
                      </a:lnTo>
                      <a:lnTo>
                        <a:pt x="1186887" y="128545"/>
                      </a:lnTo>
                      <a:lnTo>
                        <a:pt x="1187361" y="129177"/>
                      </a:lnTo>
                      <a:lnTo>
                        <a:pt x="1188004" y="130039"/>
                      </a:lnTo>
                      <a:lnTo>
                        <a:pt x="1189449" y="131970"/>
                      </a:lnTo>
                      <a:lnTo>
                        <a:pt x="1189959" y="132067"/>
                      </a:lnTo>
                      <a:lnTo>
                        <a:pt x="1186025" y="136875"/>
                      </a:lnTo>
                      <a:lnTo>
                        <a:pt x="1185479" y="137555"/>
                      </a:lnTo>
                      <a:lnTo>
                        <a:pt x="1185139" y="138345"/>
                      </a:lnTo>
                      <a:lnTo>
                        <a:pt x="1184519" y="139814"/>
                      </a:lnTo>
                      <a:lnTo>
                        <a:pt x="1184374" y="140166"/>
                      </a:lnTo>
                      <a:lnTo>
                        <a:pt x="1184264" y="140542"/>
                      </a:lnTo>
                      <a:lnTo>
                        <a:pt x="1183633" y="142789"/>
                      </a:lnTo>
                      <a:lnTo>
                        <a:pt x="1182880" y="145509"/>
                      </a:lnTo>
                      <a:lnTo>
                        <a:pt x="1184459" y="147840"/>
                      </a:lnTo>
                      <a:lnTo>
                        <a:pt x="1185199" y="148933"/>
                      </a:lnTo>
                      <a:lnTo>
                        <a:pt x="1185479" y="149334"/>
                      </a:lnTo>
                      <a:lnTo>
                        <a:pt x="1185819" y="149686"/>
                      </a:lnTo>
                      <a:lnTo>
                        <a:pt x="1185964" y="149844"/>
                      </a:lnTo>
                      <a:lnTo>
                        <a:pt x="1186025" y="150597"/>
                      </a:lnTo>
                      <a:lnTo>
                        <a:pt x="1185782" y="152018"/>
                      </a:lnTo>
                      <a:lnTo>
                        <a:pt x="1185673" y="152005"/>
                      </a:lnTo>
                      <a:lnTo>
                        <a:pt x="1185054" y="151945"/>
                      </a:lnTo>
                      <a:lnTo>
                        <a:pt x="1184446" y="152030"/>
                      </a:lnTo>
                      <a:lnTo>
                        <a:pt x="1182965" y="152212"/>
                      </a:lnTo>
                      <a:lnTo>
                        <a:pt x="1182273" y="152297"/>
                      </a:lnTo>
                      <a:lnTo>
                        <a:pt x="1181617" y="152540"/>
                      </a:lnTo>
                      <a:lnTo>
                        <a:pt x="1179723" y="153232"/>
                      </a:lnTo>
                      <a:lnTo>
                        <a:pt x="1179407" y="153341"/>
                      </a:lnTo>
                      <a:lnTo>
                        <a:pt x="1179104" y="153499"/>
                      </a:lnTo>
                      <a:lnTo>
                        <a:pt x="1173056" y="156474"/>
                      </a:lnTo>
                      <a:lnTo>
                        <a:pt x="1172716" y="156535"/>
                      </a:lnTo>
                      <a:lnTo>
                        <a:pt x="1168734" y="156693"/>
                      </a:lnTo>
                      <a:lnTo>
                        <a:pt x="1168855" y="155928"/>
                      </a:lnTo>
                      <a:lnTo>
                        <a:pt x="1169049" y="154665"/>
                      </a:lnTo>
                      <a:lnTo>
                        <a:pt x="1168721" y="153426"/>
                      </a:lnTo>
                      <a:lnTo>
                        <a:pt x="1168309" y="151896"/>
                      </a:lnTo>
                      <a:lnTo>
                        <a:pt x="1167774" y="149881"/>
                      </a:lnTo>
                      <a:lnTo>
                        <a:pt x="1166123" y="148618"/>
                      </a:lnTo>
                      <a:lnTo>
                        <a:pt x="1164811" y="147622"/>
                      </a:lnTo>
                      <a:lnTo>
                        <a:pt x="1163354" y="146517"/>
                      </a:lnTo>
                      <a:lnTo>
                        <a:pt x="1161533" y="146395"/>
                      </a:lnTo>
                      <a:lnTo>
                        <a:pt x="1159201" y="146237"/>
                      </a:lnTo>
                      <a:lnTo>
                        <a:pt x="1158691" y="146043"/>
                      </a:lnTo>
                      <a:lnTo>
                        <a:pt x="1157429" y="145060"/>
                      </a:lnTo>
                      <a:lnTo>
                        <a:pt x="1155182" y="143542"/>
                      </a:lnTo>
                      <a:lnTo>
                        <a:pt x="1154332" y="142971"/>
                      </a:lnTo>
                      <a:lnTo>
                        <a:pt x="1153348" y="142716"/>
                      </a:lnTo>
                      <a:lnTo>
                        <a:pt x="1150944" y="142085"/>
                      </a:lnTo>
                      <a:lnTo>
                        <a:pt x="1149766" y="141781"/>
                      </a:lnTo>
                      <a:lnTo>
                        <a:pt x="1148552" y="141951"/>
                      </a:lnTo>
                      <a:lnTo>
                        <a:pt x="1144715" y="142498"/>
                      </a:lnTo>
                      <a:lnTo>
                        <a:pt x="1143707" y="142643"/>
                      </a:lnTo>
                      <a:lnTo>
                        <a:pt x="1142808" y="143105"/>
                      </a:lnTo>
                      <a:lnTo>
                        <a:pt x="1140853" y="144100"/>
                      </a:lnTo>
                      <a:lnTo>
                        <a:pt x="1139445" y="144829"/>
                      </a:lnTo>
                      <a:lnTo>
                        <a:pt x="1138558" y="146140"/>
                      </a:lnTo>
                      <a:lnTo>
                        <a:pt x="1137587" y="147597"/>
                      </a:lnTo>
                      <a:lnTo>
                        <a:pt x="1136470" y="149273"/>
                      </a:lnTo>
                      <a:lnTo>
                        <a:pt x="1136567" y="151277"/>
                      </a:lnTo>
                      <a:lnTo>
                        <a:pt x="1136664" y="153268"/>
                      </a:lnTo>
                      <a:lnTo>
                        <a:pt x="1136701" y="153900"/>
                      </a:lnTo>
                      <a:lnTo>
                        <a:pt x="1136858" y="154507"/>
                      </a:lnTo>
                      <a:lnTo>
                        <a:pt x="1137818" y="158150"/>
                      </a:lnTo>
                      <a:lnTo>
                        <a:pt x="1137769" y="158757"/>
                      </a:lnTo>
                      <a:lnTo>
                        <a:pt x="1137490" y="159534"/>
                      </a:lnTo>
                      <a:lnTo>
                        <a:pt x="1136798" y="160493"/>
                      </a:lnTo>
                      <a:lnTo>
                        <a:pt x="1136203" y="160882"/>
                      </a:lnTo>
                      <a:lnTo>
                        <a:pt x="1131139" y="162788"/>
                      </a:lnTo>
                      <a:lnTo>
                        <a:pt x="1130483" y="163031"/>
                      </a:lnTo>
                      <a:lnTo>
                        <a:pt x="1129900" y="163420"/>
                      </a:lnTo>
                      <a:lnTo>
                        <a:pt x="1123817" y="167463"/>
                      </a:lnTo>
                      <a:lnTo>
                        <a:pt x="1121048" y="168896"/>
                      </a:lnTo>
                      <a:lnTo>
                        <a:pt x="1120696" y="169091"/>
                      </a:lnTo>
                      <a:lnTo>
                        <a:pt x="1120368" y="169333"/>
                      </a:lnTo>
                      <a:lnTo>
                        <a:pt x="1118401" y="170742"/>
                      </a:lnTo>
                      <a:lnTo>
                        <a:pt x="1117855" y="171131"/>
                      </a:lnTo>
                      <a:lnTo>
                        <a:pt x="1117405" y="171641"/>
                      </a:lnTo>
                      <a:lnTo>
                        <a:pt x="1116203" y="172976"/>
                      </a:lnTo>
                      <a:lnTo>
                        <a:pt x="1115329" y="173960"/>
                      </a:lnTo>
                      <a:lnTo>
                        <a:pt x="1114940" y="175223"/>
                      </a:lnTo>
                      <a:lnTo>
                        <a:pt x="1114430" y="176862"/>
                      </a:lnTo>
                      <a:lnTo>
                        <a:pt x="1114333" y="177190"/>
                      </a:lnTo>
                      <a:lnTo>
                        <a:pt x="1114272" y="177518"/>
                      </a:lnTo>
                      <a:lnTo>
                        <a:pt x="1113811" y="179958"/>
                      </a:lnTo>
                      <a:lnTo>
                        <a:pt x="1112682" y="179728"/>
                      </a:lnTo>
                      <a:lnTo>
                        <a:pt x="1112208" y="179630"/>
                      </a:lnTo>
                      <a:lnTo>
                        <a:pt x="1111722" y="179606"/>
                      </a:lnTo>
                      <a:lnTo>
                        <a:pt x="1111310" y="179594"/>
                      </a:lnTo>
                      <a:lnTo>
                        <a:pt x="1111431" y="178914"/>
                      </a:lnTo>
                      <a:lnTo>
                        <a:pt x="1113580" y="174251"/>
                      </a:lnTo>
                      <a:lnTo>
                        <a:pt x="1113835" y="173693"/>
                      </a:lnTo>
                      <a:lnTo>
                        <a:pt x="1113981" y="173086"/>
                      </a:lnTo>
                      <a:lnTo>
                        <a:pt x="1114321" y="171628"/>
                      </a:lnTo>
                      <a:lnTo>
                        <a:pt x="1114479" y="170948"/>
                      </a:lnTo>
                      <a:lnTo>
                        <a:pt x="1114479" y="170244"/>
                      </a:lnTo>
                      <a:lnTo>
                        <a:pt x="1114479" y="168666"/>
                      </a:lnTo>
                      <a:lnTo>
                        <a:pt x="1114479" y="167755"/>
                      </a:lnTo>
                      <a:lnTo>
                        <a:pt x="1114212" y="166881"/>
                      </a:lnTo>
                      <a:lnTo>
                        <a:pt x="1113750" y="165387"/>
                      </a:lnTo>
                      <a:lnTo>
                        <a:pt x="1113580" y="164853"/>
                      </a:lnTo>
                      <a:lnTo>
                        <a:pt x="1113325" y="164355"/>
                      </a:lnTo>
                      <a:lnTo>
                        <a:pt x="1112475" y="162740"/>
                      </a:lnTo>
                      <a:lnTo>
                        <a:pt x="1112245" y="162291"/>
                      </a:lnTo>
                      <a:lnTo>
                        <a:pt x="1111941" y="161902"/>
                      </a:lnTo>
                      <a:lnTo>
                        <a:pt x="1110897" y="160530"/>
                      </a:lnTo>
                      <a:lnTo>
                        <a:pt x="1110678" y="160238"/>
                      </a:lnTo>
                      <a:lnTo>
                        <a:pt x="1110423" y="159983"/>
                      </a:lnTo>
                      <a:lnTo>
                        <a:pt x="1109209" y="158721"/>
                      </a:lnTo>
                      <a:lnTo>
                        <a:pt x="1099956" y="150573"/>
                      </a:lnTo>
                      <a:lnTo>
                        <a:pt x="1098559" y="148824"/>
                      </a:lnTo>
                      <a:lnTo>
                        <a:pt x="1098219" y="148132"/>
                      </a:lnTo>
                      <a:lnTo>
                        <a:pt x="1098171" y="147695"/>
                      </a:lnTo>
                      <a:lnTo>
                        <a:pt x="1098584" y="144465"/>
                      </a:lnTo>
                      <a:lnTo>
                        <a:pt x="1098645" y="143991"/>
                      </a:lnTo>
                      <a:lnTo>
                        <a:pt x="1098632" y="143517"/>
                      </a:lnTo>
                      <a:lnTo>
                        <a:pt x="1098584" y="141951"/>
                      </a:lnTo>
                      <a:lnTo>
                        <a:pt x="1098559" y="141271"/>
                      </a:lnTo>
                      <a:lnTo>
                        <a:pt x="1098389" y="140615"/>
                      </a:lnTo>
                      <a:lnTo>
                        <a:pt x="1098098" y="139474"/>
                      </a:lnTo>
                      <a:lnTo>
                        <a:pt x="1097940" y="138867"/>
                      </a:lnTo>
                      <a:lnTo>
                        <a:pt x="1097673" y="138308"/>
                      </a:lnTo>
                      <a:lnTo>
                        <a:pt x="1097467" y="137895"/>
                      </a:lnTo>
                      <a:lnTo>
                        <a:pt x="1097442" y="137325"/>
                      </a:lnTo>
                      <a:lnTo>
                        <a:pt x="1097527" y="136062"/>
                      </a:lnTo>
                      <a:lnTo>
                        <a:pt x="1097552" y="135734"/>
                      </a:lnTo>
                      <a:lnTo>
                        <a:pt x="1097539" y="135406"/>
                      </a:lnTo>
                      <a:lnTo>
                        <a:pt x="1097491" y="134155"/>
                      </a:lnTo>
                      <a:lnTo>
                        <a:pt x="1097454" y="132941"/>
                      </a:lnTo>
                      <a:lnTo>
                        <a:pt x="1096944" y="131848"/>
                      </a:lnTo>
                      <a:lnTo>
                        <a:pt x="1096191" y="130197"/>
                      </a:lnTo>
                      <a:lnTo>
                        <a:pt x="1095050" y="127708"/>
                      </a:lnTo>
                      <a:lnTo>
                        <a:pt x="1092415" y="126918"/>
                      </a:lnTo>
                      <a:lnTo>
                        <a:pt x="1091431" y="126627"/>
                      </a:lnTo>
                      <a:lnTo>
                        <a:pt x="1090120" y="126226"/>
                      </a:lnTo>
                      <a:lnTo>
                        <a:pt x="1088772" y="126445"/>
                      </a:lnTo>
                      <a:lnTo>
                        <a:pt x="1087886" y="126578"/>
                      </a:lnTo>
                      <a:lnTo>
                        <a:pt x="1086502" y="125923"/>
                      </a:lnTo>
                      <a:lnTo>
                        <a:pt x="1086028" y="125692"/>
                      </a:lnTo>
                      <a:lnTo>
                        <a:pt x="1085518" y="125546"/>
                      </a:lnTo>
                      <a:lnTo>
                        <a:pt x="1082239" y="124635"/>
                      </a:lnTo>
                      <a:lnTo>
                        <a:pt x="1080649" y="124198"/>
                      </a:lnTo>
                      <a:lnTo>
                        <a:pt x="1079058" y="124611"/>
                      </a:lnTo>
                      <a:lnTo>
                        <a:pt x="1076994" y="125157"/>
                      </a:lnTo>
                      <a:lnTo>
                        <a:pt x="1075379" y="125582"/>
                      </a:lnTo>
                      <a:lnTo>
                        <a:pt x="1074274" y="126736"/>
                      </a:lnTo>
                      <a:lnTo>
                        <a:pt x="1072598" y="128460"/>
                      </a:lnTo>
                      <a:lnTo>
                        <a:pt x="1071760" y="129323"/>
                      </a:lnTo>
                      <a:lnTo>
                        <a:pt x="1071311" y="130452"/>
                      </a:lnTo>
                      <a:lnTo>
                        <a:pt x="1069016" y="136195"/>
                      </a:lnTo>
                      <a:lnTo>
                        <a:pt x="1068154" y="137859"/>
                      </a:lnTo>
                      <a:lnTo>
                        <a:pt x="1061973" y="145242"/>
                      </a:lnTo>
                      <a:lnTo>
                        <a:pt x="1061706" y="145557"/>
                      </a:lnTo>
                      <a:lnTo>
                        <a:pt x="1061475" y="145922"/>
                      </a:lnTo>
                      <a:lnTo>
                        <a:pt x="1060661" y="147233"/>
                      </a:lnTo>
                      <a:lnTo>
                        <a:pt x="1060224" y="147950"/>
                      </a:lnTo>
                      <a:lnTo>
                        <a:pt x="1059994" y="148739"/>
                      </a:lnTo>
                      <a:lnTo>
                        <a:pt x="1059714" y="149698"/>
                      </a:lnTo>
                      <a:lnTo>
                        <a:pt x="1059398" y="150767"/>
                      </a:lnTo>
                      <a:lnTo>
                        <a:pt x="1059483" y="151872"/>
                      </a:lnTo>
                      <a:lnTo>
                        <a:pt x="1059763" y="155405"/>
                      </a:lnTo>
                      <a:lnTo>
                        <a:pt x="1059751" y="157081"/>
                      </a:lnTo>
                      <a:lnTo>
                        <a:pt x="1059423" y="158963"/>
                      </a:lnTo>
                      <a:lnTo>
                        <a:pt x="1056897" y="165375"/>
                      </a:lnTo>
                      <a:lnTo>
                        <a:pt x="1056691" y="165885"/>
                      </a:lnTo>
                      <a:lnTo>
                        <a:pt x="1056581" y="166419"/>
                      </a:lnTo>
                      <a:lnTo>
                        <a:pt x="1056302" y="167852"/>
                      </a:lnTo>
                      <a:lnTo>
                        <a:pt x="1056083" y="168957"/>
                      </a:lnTo>
                      <a:lnTo>
                        <a:pt x="1056278" y="170062"/>
                      </a:lnTo>
                      <a:lnTo>
                        <a:pt x="1056448" y="171070"/>
                      </a:lnTo>
                      <a:lnTo>
                        <a:pt x="1056581" y="171883"/>
                      </a:lnTo>
                      <a:lnTo>
                        <a:pt x="1056946" y="172636"/>
                      </a:lnTo>
                      <a:lnTo>
                        <a:pt x="1057905" y="174664"/>
                      </a:lnTo>
                      <a:lnTo>
                        <a:pt x="1057650" y="175478"/>
                      </a:lnTo>
                      <a:lnTo>
                        <a:pt x="1056715" y="177263"/>
                      </a:lnTo>
                      <a:lnTo>
                        <a:pt x="1050862" y="186164"/>
                      </a:lnTo>
                      <a:lnTo>
                        <a:pt x="1050631" y="186503"/>
                      </a:lnTo>
                      <a:lnTo>
                        <a:pt x="1050449" y="186880"/>
                      </a:lnTo>
                      <a:lnTo>
                        <a:pt x="1049356" y="189175"/>
                      </a:lnTo>
                      <a:lnTo>
                        <a:pt x="1048980" y="189952"/>
                      </a:lnTo>
                      <a:lnTo>
                        <a:pt x="1048846" y="190802"/>
                      </a:lnTo>
                      <a:lnTo>
                        <a:pt x="1048506" y="192903"/>
                      </a:lnTo>
                      <a:lnTo>
                        <a:pt x="1048251" y="194494"/>
                      </a:lnTo>
                      <a:lnTo>
                        <a:pt x="1048822" y="196012"/>
                      </a:lnTo>
                      <a:lnTo>
                        <a:pt x="1049393" y="197517"/>
                      </a:lnTo>
                      <a:lnTo>
                        <a:pt x="1049818" y="198622"/>
                      </a:lnTo>
                      <a:lnTo>
                        <a:pt x="1050619" y="199497"/>
                      </a:lnTo>
                      <a:lnTo>
                        <a:pt x="1052513" y="201549"/>
                      </a:lnTo>
                      <a:lnTo>
                        <a:pt x="1052926" y="201986"/>
                      </a:lnTo>
                      <a:lnTo>
                        <a:pt x="1053412" y="202338"/>
                      </a:lnTo>
                      <a:lnTo>
                        <a:pt x="1055076" y="203540"/>
                      </a:lnTo>
                      <a:lnTo>
                        <a:pt x="1054772" y="203686"/>
                      </a:lnTo>
                      <a:lnTo>
                        <a:pt x="1053825" y="205532"/>
                      </a:lnTo>
                      <a:lnTo>
                        <a:pt x="1053011" y="207110"/>
                      </a:lnTo>
                      <a:lnTo>
                        <a:pt x="1052258" y="208555"/>
                      </a:lnTo>
                      <a:lnTo>
                        <a:pt x="1052343" y="210195"/>
                      </a:lnTo>
                      <a:lnTo>
                        <a:pt x="1052465" y="212659"/>
                      </a:lnTo>
                      <a:lnTo>
                        <a:pt x="1052489" y="213254"/>
                      </a:lnTo>
                      <a:lnTo>
                        <a:pt x="1052635" y="213825"/>
                      </a:lnTo>
                      <a:lnTo>
                        <a:pt x="1053485" y="217225"/>
                      </a:lnTo>
                      <a:lnTo>
                        <a:pt x="1052003" y="217092"/>
                      </a:lnTo>
                      <a:lnTo>
                        <a:pt x="1051117" y="217006"/>
                      </a:lnTo>
                      <a:lnTo>
                        <a:pt x="1050243" y="217189"/>
                      </a:lnTo>
                      <a:lnTo>
                        <a:pt x="1047207" y="217808"/>
                      </a:lnTo>
                      <a:lnTo>
                        <a:pt x="1045713" y="218112"/>
                      </a:lnTo>
                      <a:lnTo>
                        <a:pt x="1044535" y="219083"/>
                      </a:lnTo>
                      <a:lnTo>
                        <a:pt x="1042751" y="220564"/>
                      </a:lnTo>
                      <a:lnTo>
                        <a:pt x="1041718" y="221427"/>
                      </a:lnTo>
                      <a:lnTo>
                        <a:pt x="1041148" y="222641"/>
                      </a:lnTo>
                      <a:lnTo>
                        <a:pt x="1040006" y="225058"/>
                      </a:lnTo>
                      <a:lnTo>
                        <a:pt x="1039812" y="225458"/>
                      </a:lnTo>
                      <a:lnTo>
                        <a:pt x="1039690" y="225883"/>
                      </a:lnTo>
                      <a:lnTo>
                        <a:pt x="1039618" y="226126"/>
                      </a:lnTo>
                      <a:lnTo>
                        <a:pt x="1039387" y="226065"/>
                      </a:lnTo>
                      <a:lnTo>
                        <a:pt x="1038258" y="225810"/>
                      </a:lnTo>
                      <a:lnTo>
                        <a:pt x="1037687" y="225677"/>
                      </a:lnTo>
                      <a:lnTo>
                        <a:pt x="1037104" y="225652"/>
                      </a:lnTo>
                      <a:lnTo>
                        <a:pt x="1035708" y="225604"/>
                      </a:lnTo>
                      <a:lnTo>
                        <a:pt x="1033170" y="225749"/>
                      </a:lnTo>
                      <a:lnTo>
                        <a:pt x="1031445" y="223892"/>
                      </a:lnTo>
                      <a:lnTo>
                        <a:pt x="1031130" y="223564"/>
                      </a:lnTo>
                      <a:lnTo>
                        <a:pt x="1030765" y="223284"/>
                      </a:lnTo>
                      <a:lnTo>
                        <a:pt x="1028191" y="221244"/>
                      </a:lnTo>
                      <a:lnTo>
                        <a:pt x="1027875" y="220989"/>
                      </a:lnTo>
                      <a:lnTo>
                        <a:pt x="1027523" y="220771"/>
                      </a:lnTo>
                      <a:lnTo>
                        <a:pt x="1024318" y="218865"/>
                      </a:lnTo>
                      <a:lnTo>
                        <a:pt x="1023650" y="218464"/>
                      </a:lnTo>
                      <a:lnTo>
                        <a:pt x="1022897" y="218245"/>
                      </a:lnTo>
                      <a:lnTo>
                        <a:pt x="1015404" y="216072"/>
                      </a:lnTo>
                      <a:lnTo>
                        <a:pt x="1014154" y="215719"/>
                      </a:lnTo>
                      <a:lnTo>
                        <a:pt x="1012879" y="215901"/>
                      </a:lnTo>
                      <a:lnTo>
                        <a:pt x="1003517" y="217201"/>
                      </a:lnTo>
                      <a:lnTo>
                        <a:pt x="1001999" y="217419"/>
                      </a:lnTo>
                      <a:lnTo>
                        <a:pt x="1000760" y="218318"/>
                      </a:lnTo>
                      <a:lnTo>
                        <a:pt x="993074" y="223952"/>
                      </a:lnTo>
                      <a:lnTo>
                        <a:pt x="987731" y="224997"/>
                      </a:lnTo>
                      <a:lnTo>
                        <a:pt x="981599" y="225494"/>
                      </a:lnTo>
                      <a:lnTo>
                        <a:pt x="980056" y="225616"/>
                      </a:lnTo>
                      <a:lnTo>
                        <a:pt x="978769" y="226454"/>
                      </a:lnTo>
                      <a:lnTo>
                        <a:pt x="960713" y="238269"/>
                      </a:lnTo>
                      <a:lnTo>
                        <a:pt x="948740" y="243697"/>
                      </a:lnTo>
                      <a:lnTo>
                        <a:pt x="948436" y="243830"/>
                      </a:lnTo>
                      <a:lnTo>
                        <a:pt x="948157" y="244012"/>
                      </a:lnTo>
                      <a:lnTo>
                        <a:pt x="944478" y="246198"/>
                      </a:lnTo>
                      <a:lnTo>
                        <a:pt x="943943" y="246502"/>
                      </a:lnTo>
                      <a:lnTo>
                        <a:pt x="943482" y="246927"/>
                      </a:lnTo>
                      <a:lnTo>
                        <a:pt x="942207" y="248092"/>
                      </a:lnTo>
                      <a:lnTo>
                        <a:pt x="938552" y="251420"/>
                      </a:lnTo>
                      <a:lnTo>
                        <a:pt x="941078" y="255670"/>
                      </a:lnTo>
                      <a:lnTo>
                        <a:pt x="941685" y="256690"/>
                      </a:lnTo>
                      <a:lnTo>
                        <a:pt x="941855" y="256969"/>
                      </a:lnTo>
                      <a:lnTo>
                        <a:pt x="942049" y="257224"/>
                      </a:lnTo>
                      <a:lnTo>
                        <a:pt x="943045" y="258548"/>
                      </a:lnTo>
                      <a:lnTo>
                        <a:pt x="943494" y="259142"/>
                      </a:lnTo>
                      <a:lnTo>
                        <a:pt x="942911" y="259786"/>
                      </a:lnTo>
                      <a:lnTo>
                        <a:pt x="942316" y="259641"/>
                      </a:lnTo>
                      <a:lnTo>
                        <a:pt x="940823" y="260017"/>
                      </a:lnTo>
                      <a:lnTo>
                        <a:pt x="939111" y="260454"/>
                      </a:lnTo>
                      <a:lnTo>
                        <a:pt x="938127" y="260709"/>
                      </a:lnTo>
                      <a:lnTo>
                        <a:pt x="937277" y="261280"/>
                      </a:lnTo>
                      <a:lnTo>
                        <a:pt x="936111" y="262045"/>
                      </a:lnTo>
                      <a:lnTo>
                        <a:pt x="933173" y="264267"/>
                      </a:lnTo>
                      <a:lnTo>
                        <a:pt x="932833" y="264522"/>
                      </a:lnTo>
                      <a:lnTo>
                        <a:pt x="932541" y="264813"/>
                      </a:lnTo>
                      <a:lnTo>
                        <a:pt x="931497" y="265870"/>
                      </a:lnTo>
                      <a:lnTo>
                        <a:pt x="930586" y="266793"/>
                      </a:lnTo>
                      <a:lnTo>
                        <a:pt x="930125" y="268007"/>
                      </a:lnTo>
                      <a:lnTo>
                        <a:pt x="929323" y="270144"/>
                      </a:lnTo>
                      <a:lnTo>
                        <a:pt x="929165" y="270363"/>
                      </a:lnTo>
                      <a:lnTo>
                        <a:pt x="929080" y="270399"/>
                      </a:lnTo>
                      <a:lnTo>
                        <a:pt x="925911" y="270618"/>
                      </a:lnTo>
                      <a:lnTo>
                        <a:pt x="924211" y="270605"/>
                      </a:lnTo>
                      <a:lnTo>
                        <a:pt x="923738" y="270605"/>
                      </a:lnTo>
                      <a:lnTo>
                        <a:pt x="923276" y="270678"/>
                      </a:lnTo>
                      <a:lnTo>
                        <a:pt x="919791" y="271225"/>
                      </a:lnTo>
                      <a:lnTo>
                        <a:pt x="917945" y="271504"/>
                      </a:lnTo>
                      <a:lnTo>
                        <a:pt x="916585" y="272779"/>
                      </a:lnTo>
                      <a:lnTo>
                        <a:pt x="915760" y="273544"/>
                      </a:lnTo>
                      <a:lnTo>
                        <a:pt x="914934" y="274309"/>
                      </a:lnTo>
                      <a:lnTo>
                        <a:pt x="914436" y="275317"/>
                      </a:lnTo>
                      <a:lnTo>
                        <a:pt x="914035" y="276143"/>
                      </a:lnTo>
                      <a:lnTo>
                        <a:pt x="910356" y="277952"/>
                      </a:lnTo>
                      <a:lnTo>
                        <a:pt x="909615" y="278304"/>
                      </a:lnTo>
                      <a:lnTo>
                        <a:pt x="908996" y="278863"/>
                      </a:lnTo>
                      <a:lnTo>
                        <a:pt x="908012" y="279737"/>
                      </a:lnTo>
                      <a:lnTo>
                        <a:pt x="907126" y="280514"/>
                      </a:lnTo>
                      <a:lnTo>
                        <a:pt x="906604" y="281583"/>
                      </a:lnTo>
                      <a:lnTo>
                        <a:pt x="905900" y="283016"/>
                      </a:lnTo>
                      <a:lnTo>
                        <a:pt x="905475" y="283890"/>
                      </a:lnTo>
                      <a:lnTo>
                        <a:pt x="905341" y="284849"/>
                      </a:lnTo>
                      <a:lnTo>
                        <a:pt x="905159" y="286161"/>
                      </a:lnTo>
                      <a:lnTo>
                        <a:pt x="904952" y="288116"/>
                      </a:lnTo>
                      <a:lnTo>
                        <a:pt x="904940" y="289221"/>
                      </a:lnTo>
                      <a:lnTo>
                        <a:pt x="904370" y="289670"/>
                      </a:lnTo>
                      <a:lnTo>
                        <a:pt x="903799" y="290593"/>
                      </a:lnTo>
                      <a:lnTo>
                        <a:pt x="902597" y="292524"/>
                      </a:lnTo>
                      <a:lnTo>
                        <a:pt x="902402" y="292839"/>
                      </a:lnTo>
                      <a:lnTo>
                        <a:pt x="902244" y="293155"/>
                      </a:lnTo>
                      <a:lnTo>
                        <a:pt x="900860" y="296142"/>
                      </a:lnTo>
                      <a:lnTo>
                        <a:pt x="900690" y="296518"/>
                      </a:lnTo>
                      <a:lnTo>
                        <a:pt x="900569" y="296907"/>
                      </a:lnTo>
                      <a:lnTo>
                        <a:pt x="900496" y="297150"/>
                      </a:lnTo>
                      <a:lnTo>
                        <a:pt x="899634" y="298461"/>
                      </a:lnTo>
                      <a:lnTo>
                        <a:pt x="897557" y="300101"/>
                      </a:lnTo>
                      <a:lnTo>
                        <a:pt x="896962" y="300574"/>
                      </a:lnTo>
                      <a:lnTo>
                        <a:pt x="896501" y="301169"/>
                      </a:lnTo>
                      <a:lnTo>
                        <a:pt x="895165" y="302906"/>
                      </a:lnTo>
                      <a:lnTo>
                        <a:pt x="894595" y="303659"/>
                      </a:lnTo>
                      <a:lnTo>
                        <a:pt x="894279" y="304533"/>
                      </a:lnTo>
                      <a:lnTo>
                        <a:pt x="893842" y="305735"/>
                      </a:lnTo>
                      <a:lnTo>
                        <a:pt x="893538" y="306561"/>
                      </a:lnTo>
                      <a:lnTo>
                        <a:pt x="893526" y="306743"/>
                      </a:lnTo>
                      <a:lnTo>
                        <a:pt x="889349" y="311454"/>
                      </a:lnTo>
                      <a:lnTo>
                        <a:pt x="894315" y="315073"/>
                      </a:lnTo>
                      <a:lnTo>
                        <a:pt x="893198" y="316542"/>
                      </a:lnTo>
                      <a:lnTo>
                        <a:pt x="892469" y="317514"/>
                      </a:lnTo>
                      <a:lnTo>
                        <a:pt x="892166" y="318692"/>
                      </a:lnTo>
                      <a:lnTo>
                        <a:pt x="891777" y="320197"/>
                      </a:lnTo>
                      <a:lnTo>
                        <a:pt x="891644" y="320732"/>
                      </a:lnTo>
                      <a:lnTo>
                        <a:pt x="891607" y="321290"/>
                      </a:lnTo>
                      <a:lnTo>
                        <a:pt x="891328" y="325370"/>
                      </a:lnTo>
                      <a:lnTo>
                        <a:pt x="891279" y="326087"/>
                      </a:lnTo>
                      <a:lnTo>
                        <a:pt x="891401" y="326803"/>
                      </a:lnTo>
                      <a:lnTo>
                        <a:pt x="891547" y="327653"/>
                      </a:lnTo>
                      <a:lnTo>
                        <a:pt x="891474" y="328321"/>
                      </a:lnTo>
                      <a:lnTo>
                        <a:pt x="890842" y="330106"/>
                      </a:lnTo>
                      <a:lnTo>
                        <a:pt x="890454" y="331187"/>
                      </a:lnTo>
                      <a:lnTo>
                        <a:pt x="890478" y="332328"/>
                      </a:lnTo>
                      <a:lnTo>
                        <a:pt x="890539" y="334490"/>
                      </a:lnTo>
                      <a:lnTo>
                        <a:pt x="890563" y="335412"/>
                      </a:lnTo>
                      <a:lnTo>
                        <a:pt x="890612" y="335558"/>
                      </a:lnTo>
                      <a:lnTo>
                        <a:pt x="889349" y="337428"/>
                      </a:lnTo>
                      <a:lnTo>
                        <a:pt x="888013" y="339213"/>
                      </a:lnTo>
                      <a:lnTo>
                        <a:pt x="885548" y="341569"/>
                      </a:lnTo>
                      <a:lnTo>
                        <a:pt x="885184" y="341909"/>
                      </a:lnTo>
                      <a:lnTo>
                        <a:pt x="884892" y="342309"/>
                      </a:lnTo>
                      <a:lnTo>
                        <a:pt x="883860" y="343682"/>
                      </a:lnTo>
                      <a:lnTo>
                        <a:pt x="882682" y="345418"/>
                      </a:lnTo>
                      <a:lnTo>
                        <a:pt x="882233" y="346232"/>
                      </a:lnTo>
                      <a:lnTo>
                        <a:pt x="881687" y="346353"/>
                      </a:lnTo>
                      <a:lnTo>
                        <a:pt x="878505" y="347009"/>
                      </a:lnTo>
                      <a:lnTo>
                        <a:pt x="877764" y="348818"/>
                      </a:lnTo>
                      <a:lnTo>
                        <a:pt x="875955" y="349377"/>
                      </a:lnTo>
                      <a:lnTo>
                        <a:pt x="875445" y="349304"/>
                      </a:lnTo>
                      <a:lnTo>
                        <a:pt x="875141" y="349170"/>
                      </a:lnTo>
                      <a:lnTo>
                        <a:pt x="874486" y="348782"/>
                      </a:lnTo>
                      <a:lnTo>
                        <a:pt x="874425" y="346778"/>
                      </a:lnTo>
                      <a:lnTo>
                        <a:pt x="872252" y="345029"/>
                      </a:lnTo>
                      <a:lnTo>
                        <a:pt x="871207" y="344192"/>
                      </a:lnTo>
                      <a:lnTo>
                        <a:pt x="870272" y="343439"/>
                      </a:lnTo>
                      <a:lnTo>
                        <a:pt x="869119" y="343099"/>
                      </a:lnTo>
                      <a:lnTo>
                        <a:pt x="867844" y="342722"/>
                      </a:lnTo>
                      <a:lnTo>
                        <a:pt x="866265" y="342261"/>
                      </a:lnTo>
                      <a:lnTo>
                        <a:pt x="864662" y="342650"/>
                      </a:lnTo>
                      <a:lnTo>
                        <a:pt x="863557" y="342917"/>
                      </a:lnTo>
                      <a:lnTo>
                        <a:pt x="862404" y="343196"/>
                      </a:lnTo>
                      <a:lnTo>
                        <a:pt x="861444" y="343900"/>
                      </a:lnTo>
                      <a:lnTo>
                        <a:pt x="860716" y="344422"/>
                      </a:lnTo>
                      <a:lnTo>
                        <a:pt x="859781" y="345430"/>
                      </a:lnTo>
                      <a:lnTo>
                        <a:pt x="857729" y="348138"/>
                      </a:lnTo>
                      <a:lnTo>
                        <a:pt x="855579" y="351465"/>
                      </a:lnTo>
                      <a:lnTo>
                        <a:pt x="855179" y="352085"/>
                      </a:lnTo>
                      <a:lnTo>
                        <a:pt x="854936" y="352789"/>
                      </a:lnTo>
                      <a:lnTo>
                        <a:pt x="854693" y="353481"/>
                      </a:lnTo>
                      <a:lnTo>
                        <a:pt x="853503" y="355290"/>
                      </a:lnTo>
                      <a:lnTo>
                        <a:pt x="853053" y="355801"/>
                      </a:lnTo>
                      <a:lnTo>
                        <a:pt x="852580" y="355788"/>
                      </a:lnTo>
                      <a:lnTo>
                        <a:pt x="848221" y="355728"/>
                      </a:lnTo>
                      <a:lnTo>
                        <a:pt x="845646" y="355910"/>
                      </a:lnTo>
                      <a:lnTo>
                        <a:pt x="841093" y="355023"/>
                      </a:lnTo>
                      <a:lnTo>
                        <a:pt x="838834" y="354574"/>
                      </a:lnTo>
                      <a:lnTo>
                        <a:pt x="836855" y="355740"/>
                      </a:lnTo>
                      <a:lnTo>
                        <a:pt x="835252" y="356675"/>
                      </a:lnTo>
                      <a:lnTo>
                        <a:pt x="833564" y="357658"/>
                      </a:lnTo>
                      <a:lnTo>
                        <a:pt x="832763" y="359443"/>
                      </a:lnTo>
                      <a:lnTo>
                        <a:pt x="832301" y="360488"/>
                      </a:lnTo>
                      <a:lnTo>
                        <a:pt x="831415" y="361932"/>
                      </a:lnTo>
                      <a:lnTo>
                        <a:pt x="830650" y="363098"/>
                      </a:lnTo>
                      <a:lnTo>
                        <a:pt x="830468" y="364483"/>
                      </a:lnTo>
                      <a:lnTo>
                        <a:pt x="830249" y="366195"/>
                      </a:lnTo>
                      <a:lnTo>
                        <a:pt x="830200" y="366595"/>
                      </a:lnTo>
                      <a:lnTo>
                        <a:pt x="830200" y="367008"/>
                      </a:lnTo>
                      <a:lnTo>
                        <a:pt x="830249" y="372764"/>
                      </a:lnTo>
                      <a:lnTo>
                        <a:pt x="830249" y="373481"/>
                      </a:lnTo>
                      <a:lnTo>
                        <a:pt x="830031" y="373541"/>
                      </a:lnTo>
                      <a:lnTo>
                        <a:pt x="824906" y="374925"/>
                      </a:lnTo>
                      <a:lnTo>
                        <a:pt x="818276" y="377123"/>
                      </a:lnTo>
                      <a:lnTo>
                        <a:pt x="816613" y="377852"/>
                      </a:lnTo>
                      <a:lnTo>
                        <a:pt x="815690" y="377415"/>
                      </a:lnTo>
                      <a:lnTo>
                        <a:pt x="809108" y="374258"/>
                      </a:lnTo>
                      <a:lnTo>
                        <a:pt x="807263" y="381082"/>
                      </a:lnTo>
                      <a:lnTo>
                        <a:pt x="806801" y="381325"/>
                      </a:lnTo>
                      <a:lnTo>
                        <a:pt x="806085" y="382333"/>
                      </a:lnTo>
                      <a:lnTo>
                        <a:pt x="804749" y="382491"/>
                      </a:lnTo>
                      <a:lnTo>
                        <a:pt x="804202" y="382563"/>
                      </a:lnTo>
                      <a:lnTo>
                        <a:pt x="803680" y="382721"/>
                      </a:lnTo>
                      <a:lnTo>
                        <a:pt x="802235" y="383158"/>
                      </a:lnTo>
                      <a:lnTo>
                        <a:pt x="801908" y="383292"/>
                      </a:lnTo>
                      <a:lnTo>
                        <a:pt x="799819" y="382697"/>
                      </a:lnTo>
                      <a:lnTo>
                        <a:pt x="799005" y="382381"/>
                      </a:lnTo>
                      <a:lnTo>
                        <a:pt x="798301" y="381932"/>
                      </a:lnTo>
                      <a:lnTo>
                        <a:pt x="796917" y="380766"/>
                      </a:lnTo>
                      <a:lnTo>
                        <a:pt x="796492" y="380426"/>
                      </a:lnTo>
                      <a:lnTo>
                        <a:pt x="796018" y="380159"/>
                      </a:lnTo>
                      <a:lnTo>
                        <a:pt x="794464" y="379285"/>
                      </a:lnTo>
                      <a:lnTo>
                        <a:pt x="793335" y="378653"/>
                      </a:lnTo>
                      <a:lnTo>
                        <a:pt x="792047" y="378520"/>
                      </a:lnTo>
                      <a:lnTo>
                        <a:pt x="790165" y="378338"/>
                      </a:lnTo>
                      <a:lnTo>
                        <a:pt x="789607" y="378289"/>
                      </a:lnTo>
                      <a:lnTo>
                        <a:pt x="789036" y="378338"/>
                      </a:lnTo>
                      <a:lnTo>
                        <a:pt x="787761" y="378459"/>
                      </a:lnTo>
                      <a:lnTo>
                        <a:pt x="786668" y="378569"/>
                      </a:lnTo>
                      <a:lnTo>
                        <a:pt x="785672" y="379042"/>
                      </a:lnTo>
                      <a:lnTo>
                        <a:pt x="784082" y="379807"/>
                      </a:lnTo>
                      <a:lnTo>
                        <a:pt x="779564" y="381993"/>
                      </a:lnTo>
                      <a:lnTo>
                        <a:pt x="780840" y="386826"/>
                      </a:lnTo>
                      <a:lnTo>
                        <a:pt x="781034" y="387542"/>
                      </a:lnTo>
                      <a:lnTo>
                        <a:pt x="780985" y="388271"/>
                      </a:lnTo>
                      <a:lnTo>
                        <a:pt x="780924" y="389205"/>
                      </a:lnTo>
                      <a:lnTo>
                        <a:pt x="781094" y="389861"/>
                      </a:lnTo>
                      <a:lnTo>
                        <a:pt x="775254" y="388769"/>
                      </a:lnTo>
                      <a:lnTo>
                        <a:pt x="774258" y="394913"/>
                      </a:lnTo>
                      <a:lnTo>
                        <a:pt x="773821" y="397645"/>
                      </a:lnTo>
                      <a:lnTo>
                        <a:pt x="773505" y="397900"/>
                      </a:lnTo>
                      <a:lnTo>
                        <a:pt x="769583" y="401166"/>
                      </a:lnTo>
                      <a:lnTo>
                        <a:pt x="772109" y="405586"/>
                      </a:lnTo>
                      <a:lnTo>
                        <a:pt x="772728" y="406679"/>
                      </a:lnTo>
                      <a:lnTo>
                        <a:pt x="772679" y="406971"/>
                      </a:lnTo>
                      <a:lnTo>
                        <a:pt x="772679" y="407032"/>
                      </a:lnTo>
                      <a:lnTo>
                        <a:pt x="772097" y="408343"/>
                      </a:lnTo>
                      <a:lnTo>
                        <a:pt x="771404" y="409885"/>
                      </a:lnTo>
                      <a:lnTo>
                        <a:pt x="771477" y="410492"/>
                      </a:lnTo>
                      <a:lnTo>
                        <a:pt x="769024" y="409922"/>
                      </a:lnTo>
                      <a:lnTo>
                        <a:pt x="768502" y="409788"/>
                      </a:lnTo>
                      <a:lnTo>
                        <a:pt x="767968" y="409764"/>
                      </a:lnTo>
                      <a:lnTo>
                        <a:pt x="767628" y="409739"/>
                      </a:lnTo>
                      <a:lnTo>
                        <a:pt x="767579" y="409703"/>
                      </a:lnTo>
                      <a:lnTo>
                        <a:pt x="766681" y="409132"/>
                      </a:lnTo>
                      <a:lnTo>
                        <a:pt x="765649" y="408901"/>
                      </a:lnTo>
                      <a:lnTo>
                        <a:pt x="764653" y="408671"/>
                      </a:lnTo>
                      <a:lnTo>
                        <a:pt x="764301" y="408586"/>
                      </a:lnTo>
                      <a:lnTo>
                        <a:pt x="763949" y="408549"/>
                      </a:lnTo>
                      <a:lnTo>
                        <a:pt x="761824" y="408319"/>
                      </a:lnTo>
                      <a:lnTo>
                        <a:pt x="759201" y="407614"/>
                      </a:lnTo>
                      <a:lnTo>
                        <a:pt x="755764" y="406024"/>
                      </a:lnTo>
                      <a:lnTo>
                        <a:pt x="754756" y="405562"/>
                      </a:lnTo>
                      <a:lnTo>
                        <a:pt x="753639" y="405477"/>
                      </a:lnTo>
                      <a:lnTo>
                        <a:pt x="751211" y="405307"/>
                      </a:lnTo>
                      <a:lnTo>
                        <a:pt x="748478" y="404834"/>
                      </a:lnTo>
                      <a:lnTo>
                        <a:pt x="748163" y="404773"/>
                      </a:lnTo>
                      <a:lnTo>
                        <a:pt x="747847" y="404761"/>
                      </a:lnTo>
                      <a:lnTo>
                        <a:pt x="747446" y="404737"/>
                      </a:lnTo>
                      <a:lnTo>
                        <a:pt x="747519" y="404530"/>
                      </a:lnTo>
                      <a:lnTo>
                        <a:pt x="743646" y="401980"/>
                      </a:lnTo>
                      <a:lnTo>
                        <a:pt x="742796" y="401421"/>
                      </a:lnTo>
                      <a:lnTo>
                        <a:pt x="744058" y="398969"/>
                      </a:lnTo>
                      <a:lnTo>
                        <a:pt x="736979" y="396904"/>
                      </a:lnTo>
                      <a:lnTo>
                        <a:pt x="736506" y="396771"/>
                      </a:lnTo>
                      <a:lnTo>
                        <a:pt x="735753" y="396358"/>
                      </a:lnTo>
                      <a:lnTo>
                        <a:pt x="735255" y="396103"/>
                      </a:lnTo>
                      <a:lnTo>
                        <a:pt x="734733" y="395921"/>
                      </a:lnTo>
                      <a:lnTo>
                        <a:pt x="734077" y="395702"/>
                      </a:lnTo>
                      <a:lnTo>
                        <a:pt x="732802" y="395289"/>
                      </a:lnTo>
                      <a:lnTo>
                        <a:pt x="731661" y="395435"/>
                      </a:lnTo>
                      <a:lnTo>
                        <a:pt x="729705" y="393965"/>
                      </a:lnTo>
                      <a:lnTo>
                        <a:pt x="728224" y="392946"/>
                      </a:lnTo>
                      <a:lnTo>
                        <a:pt x="727192" y="392217"/>
                      </a:lnTo>
                      <a:lnTo>
                        <a:pt x="725941" y="391974"/>
                      </a:lnTo>
                      <a:lnTo>
                        <a:pt x="723464" y="391489"/>
                      </a:lnTo>
                      <a:lnTo>
                        <a:pt x="719700" y="390736"/>
                      </a:lnTo>
                      <a:lnTo>
                        <a:pt x="717417" y="393820"/>
                      </a:lnTo>
                      <a:lnTo>
                        <a:pt x="716664" y="394852"/>
                      </a:lnTo>
                      <a:lnTo>
                        <a:pt x="714964" y="395010"/>
                      </a:lnTo>
                      <a:lnTo>
                        <a:pt x="713410" y="396577"/>
                      </a:lnTo>
                      <a:lnTo>
                        <a:pt x="712778" y="397208"/>
                      </a:lnTo>
                      <a:lnTo>
                        <a:pt x="712584" y="397329"/>
                      </a:lnTo>
                      <a:lnTo>
                        <a:pt x="710969" y="397147"/>
                      </a:lnTo>
                      <a:lnTo>
                        <a:pt x="703610" y="396346"/>
                      </a:lnTo>
                      <a:lnTo>
                        <a:pt x="704230" y="403316"/>
                      </a:lnTo>
                      <a:lnTo>
                        <a:pt x="704011" y="403619"/>
                      </a:lnTo>
                      <a:lnTo>
                        <a:pt x="703586" y="404202"/>
                      </a:lnTo>
                      <a:lnTo>
                        <a:pt x="703319" y="404870"/>
                      </a:lnTo>
                      <a:lnTo>
                        <a:pt x="702979" y="405696"/>
                      </a:lnTo>
                      <a:lnTo>
                        <a:pt x="702688" y="406412"/>
                      </a:lnTo>
                      <a:lnTo>
                        <a:pt x="702590" y="407177"/>
                      </a:lnTo>
                      <a:lnTo>
                        <a:pt x="702202" y="410104"/>
                      </a:lnTo>
                      <a:lnTo>
                        <a:pt x="702165" y="410529"/>
                      </a:lnTo>
                      <a:lnTo>
                        <a:pt x="702165" y="410784"/>
                      </a:lnTo>
                      <a:lnTo>
                        <a:pt x="698632" y="410893"/>
                      </a:lnTo>
                      <a:lnTo>
                        <a:pt x="698535" y="410796"/>
                      </a:lnTo>
                      <a:lnTo>
                        <a:pt x="698255" y="409752"/>
                      </a:lnTo>
                      <a:lnTo>
                        <a:pt x="697794" y="408100"/>
                      </a:lnTo>
                      <a:lnTo>
                        <a:pt x="697539" y="407177"/>
                      </a:lnTo>
                      <a:lnTo>
                        <a:pt x="697005" y="406388"/>
                      </a:lnTo>
                      <a:lnTo>
                        <a:pt x="696568" y="405720"/>
                      </a:lnTo>
                      <a:lnTo>
                        <a:pt x="695135" y="403546"/>
                      </a:lnTo>
                      <a:lnTo>
                        <a:pt x="692585" y="403085"/>
                      </a:lnTo>
                      <a:lnTo>
                        <a:pt x="690630" y="402733"/>
                      </a:lnTo>
                      <a:lnTo>
                        <a:pt x="688529" y="403534"/>
                      </a:lnTo>
                      <a:lnTo>
                        <a:pt x="687970" y="403802"/>
                      </a:lnTo>
                      <a:lnTo>
                        <a:pt x="687157" y="404190"/>
                      </a:lnTo>
                      <a:lnTo>
                        <a:pt x="686489" y="404809"/>
                      </a:lnTo>
                      <a:lnTo>
                        <a:pt x="684777" y="406400"/>
                      </a:lnTo>
                      <a:lnTo>
                        <a:pt x="684279" y="406716"/>
                      </a:lnTo>
                      <a:lnTo>
                        <a:pt x="683793" y="407032"/>
                      </a:lnTo>
                      <a:lnTo>
                        <a:pt x="683368" y="407432"/>
                      </a:lnTo>
                      <a:lnTo>
                        <a:pt x="682045" y="408695"/>
                      </a:lnTo>
                      <a:lnTo>
                        <a:pt x="679567" y="411063"/>
                      </a:lnTo>
                      <a:lnTo>
                        <a:pt x="680320" y="414390"/>
                      </a:lnTo>
                      <a:lnTo>
                        <a:pt x="680478" y="415107"/>
                      </a:lnTo>
                      <a:lnTo>
                        <a:pt x="680757" y="416345"/>
                      </a:lnTo>
                      <a:lnTo>
                        <a:pt x="681510" y="417365"/>
                      </a:lnTo>
                      <a:lnTo>
                        <a:pt x="681911" y="417924"/>
                      </a:lnTo>
                      <a:lnTo>
                        <a:pt x="682069" y="418240"/>
                      </a:lnTo>
                      <a:lnTo>
                        <a:pt x="682032" y="418446"/>
                      </a:lnTo>
                      <a:lnTo>
                        <a:pt x="682154" y="419393"/>
                      </a:lnTo>
                      <a:lnTo>
                        <a:pt x="682239" y="420025"/>
                      </a:lnTo>
                      <a:lnTo>
                        <a:pt x="680940" y="420510"/>
                      </a:lnTo>
                      <a:lnTo>
                        <a:pt x="680940" y="424420"/>
                      </a:lnTo>
                      <a:lnTo>
                        <a:pt x="680769" y="424602"/>
                      </a:lnTo>
                      <a:lnTo>
                        <a:pt x="680417" y="424954"/>
                      </a:lnTo>
                      <a:lnTo>
                        <a:pt x="680138" y="425367"/>
                      </a:lnTo>
                      <a:lnTo>
                        <a:pt x="679640" y="426096"/>
                      </a:lnTo>
                      <a:lnTo>
                        <a:pt x="678426" y="427869"/>
                      </a:lnTo>
                      <a:lnTo>
                        <a:pt x="676969" y="425343"/>
                      </a:lnTo>
                      <a:lnTo>
                        <a:pt x="676787" y="425027"/>
                      </a:lnTo>
                      <a:lnTo>
                        <a:pt x="676556" y="424736"/>
                      </a:lnTo>
                      <a:lnTo>
                        <a:pt x="674188" y="421579"/>
                      </a:lnTo>
                      <a:lnTo>
                        <a:pt x="671444" y="418130"/>
                      </a:lnTo>
                      <a:lnTo>
                        <a:pt x="668918" y="414961"/>
                      </a:lnTo>
                      <a:lnTo>
                        <a:pt x="665032" y="416066"/>
                      </a:lnTo>
                      <a:lnTo>
                        <a:pt x="663357" y="416552"/>
                      </a:lnTo>
                      <a:lnTo>
                        <a:pt x="662834" y="415993"/>
                      </a:lnTo>
                      <a:lnTo>
                        <a:pt x="660734" y="413759"/>
                      </a:lnTo>
                      <a:lnTo>
                        <a:pt x="659884" y="413868"/>
                      </a:lnTo>
                      <a:lnTo>
                        <a:pt x="659568" y="410832"/>
                      </a:lnTo>
                      <a:lnTo>
                        <a:pt x="655318" y="409873"/>
                      </a:lnTo>
                      <a:lnTo>
                        <a:pt x="653120" y="409375"/>
                      </a:lnTo>
                      <a:lnTo>
                        <a:pt x="649331" y="408513"/>
                      </a:lnTo>
                      <a:lnTo>
                        <a:pt x="646964" y="411597"/>
                      </a:lnTo>
                      <a:lnTo>
                        <a:pt x="644802" y="414402"/>
                      </a:lnTo>
                      <a:lnTo>
                        <a:pt x="644474" y="414827"/>
                      </a:lnTo>
                      <a:lnTo>
                        <a:pt x="644219" y="415301"/>
                      </a:lnTo>
                      <a:lnTo>
                        <a:pt x="644061" y="415604"/>
                      </a:lnTo>
                      <a:lnTo>
                        <a:pt x="641524" y="417899"/>
                      </a:lnTo>
                      <a:lnTo>
                        <a:pt x="640006" y="419454"/>
                      </a:lnTo>
                      <a:lnTo>
                        <a:pt x="639010" y="420486"/>
                      </a:lnTo>
                      <a:lnTo>
                        <a:pt x="638124" y="420644"/>
                      </a:lnTo>
                      <a:lnTo>
                        <a:pt x="636824" y="420887"/>
                      </a:lnTo>
                      <a:lnTo>
                        <a:pt x="636363" y="420692"/>
                      </a:lnTo>
                      <a:lnTo>
                        <a:pt x="630449" y="418312"/>
                      </a:lnTo>
                      <a:lnTo>
                        <a:pt x="628361" y="424347"/>
                      </a:lnTo>
                      <a:lnTo>
                        <a:pt x="628276" y="424602"/>
                      </a:lnTo>
                      <a:lnTo>
                        <a:pt x="626721" y="424517"/>
                      </a:lnTo>
                      <a:lnTo>
                        <a:pt x="621949" y="424262"/>
                      </a:lnTo>
                      <a:lnTo>
                        <a:pt x="620577" y="428828"/>
                      </a:lnTo>
                      <a:lnTo>
                        <a:pt x="619302" y="433054"/>
                      </a:lnTo>
                      <a:lnTo>
                        <a:pt x="618853" y="433552"/>
                      </a:lnTo>
                      <a:lnTo>
                        <a:pt x="617225" y="434985"/>
                      </a:lnTo>
                      <a:lnTo>
                        <a:pt x="616764" y="435385"/>
                      </a:lnTo>
                      <a:lnTo>
                        <a:pt x="616388" y="435883"/>
                      </a:lnTo>
                      <a:lnTo>
                        <a:pt x="614724" y="438093"/>
                      </a:lnTo>
                      <a:lnTo>
                        <a:pt x="614263" y="438713"/>
                      </a:lnTo>
                      <a:lnTo>
                        <a:pt x="613971" y="439417"/>
                      </a:lnTo>
                      <a:lnTo>
                        <a:pt x="612708" y="442452"/>
                      </a:lnTo>
                      <a:lnTo>
                        <a:pt x="611518" y="444650"/>
                      </a:lnTo>
                      <a:lnTo>
                        <a:pt x="611166" y="445318"/>
                      </a:lnTo>
                      <a:lnTo>
                        <a:pt x="610984" y="446047"/>
                      </a:lnTo>
                      <a:lnTo>
                        <a:pt x="610316" y="448755"/>
                      </a:lnTo>
                      <a:lnTo>
                        <a:pt x="609175" y="453369"/>
                      </a:lnTo>
                      <a:lnTo>
                        <a:pt x="613388" y="455591"/>
                      </a:lnTo>
                      <a:lnTo>
                        <a:pt x="613534" y="455664"/>
                      </a:lnTo>
                      <a:lnTo>
                        <a:pt x="614129" y="455968"/>
                      </a:lnTo>
                      <a:lnTo>
                        <a:pt x="617833" y="457680"/>
                      </a:lnTo>
                      <a:lnTo>
                        <a:pt x="618889" y="458165"/>
                      </a:lnTo>
                      <a:lnTo>
                        <a:pt x="619144" y="459027"/>
                      </a:lnTo>
                      <a:lnTo>
                        <a:pt x="619921" y="459975"/>
                      </a:lnTo>
                      <a:lnTo>
                        <a:pt x="620917" y="461189"/>
                      </a:lnTo>
                      <a:lnTo>
                        <a:pt x="621803" y="462282"/>
                      </a:lnTo>
                      <a:lnTo>
                        <a:pt x="623066" y="462865"/>
                      </a:lnTo>
                      <a:lnTo>
                        <a:pt x="623176" y="462913"/>
                      </a:lnTo>
                      <a:lnTo>
                        <a:pt x="623030" y="463338"/>
                      </a:lnTo>
                      <a:lnTo>
                        <a:pt x="622192" y="464771"/>
                      </a:lnTo>
                      <a:lnTo>
                        <a:pt x="621585" y="465791"/>
                      </a:lnTo>
                      <a:lnTo>
                        <a:pt x="621415" y="466981"/>
                      </a:lnTo>
                      <a:lnTo>
                        <a:pt x="620966" y="470053"/>
                      </a:lnTo>
                      <a:lnTo>
                        <a:pt x="620176" y="470673"/>
                      </a:lnTo>
                      <a:lnTo>
                        <a:pt x="619472" y="471219"/>
                      </a:lnTo>
                      <a:lnTo>
                        <a:pt x="618962" y="471948"/>
                      </a:lnTo>
                      <a:lnTo>
                        <a:pt x="617432" y="474097"/>
                      </a:lnTo>
                      <a:lnTo>
                        <a:pt x="617043" y="474510"/>
                      </a:lnTo>
                      <a:lnTo>
                        <a:pt x="614991" y="475797"/>
                      </a:lnTo>
                      <a:lnTo>
                        <a:pt x="614360" y="476197"/>
                      </a:lnTo>
                      <a:lnTo>
                        <a:pt x="613850" y="476732"/>
                      </a:lnTo>
                      <a:lnTo>
                        <a:pt x="612247" y="478395"/>
                      </a:lnTo>
                      <a:lnTo>
                        <a:pt x="611688" y="478966"/>
                      </a:lnTo>
                      <a:lnTo>
                        <a:pt x="610911" y="480059"/>
                      </a:lnTo>
                      <a:lnTo>
                        <a:pt x="607705" y="485875"/>
                      </a:lnTo>
                      <a:lnTo>
                        <a:pt x="605933" y="488049"/>
                      </a:lnTo>
                      <a:lnTo>
                        <a:pt x="605034" y="488608"/>
                      </a:lnTo>
                      <a:lnTo>
                        <a:pt x="604026" y="488729"/>
                      </a:lnTo>
                      <a:lnTo>
                        <a:pt x="603686" y="488632"/>
                      </a:lnTo>
                      <a:lnTo>
                        <a:pt x="603115" y="488389"/>
                      </a:lnTo>
                      <a:lnTo>
                        <a:pt x="602727" y="487976"/>
                      </a:lnTo>
                      <a:lnTo>
                        <a:pt x="601221" y="483957"/>
                      </a:lnTo>
                      <a:lnTo>
                        <a:pt x="601039" y="483471"/>
                      </a:lnTo>
                      <a:lnTo>
                        <a:pt x="600784" y="483022"/>
                      </a:lnTo>
                      <a:lnTo>
                        <a:pt x="599400" y="480654"/>
                      </a:lnTo>
                      <a:lnTo>
                        <a:pt x="598878" y="479768"/>
                      </a:lnTo>
                      <a:lnTo>
                        <a:pt x="598088" y="479088"/>
                      </a:lnTo>
                      <a:lnTo>
                        <a:pt x="595939" y="477278"/>
                      </a:lnTo>
                      <a:lnTo>
                        <a:pt x="593972" y="475615"/>
                      </a:lnTo>
                      <a:lnTo>
                        <a:pt x="591410" y="475870"/>
                      </a:lnTo>
                      <a:lnTo>
                        <a:pt x="588204" y="476186"/>
                      </a:lnTo>
                      <a:lnTo>
                        <a:pt x="587706" y="476234"/>
                      </a:lnTo>
                      <a:lnTo>
                        <a:pt x="587220" y="476368"/>
                      </a:lnTo>
                      <a:lnTo>
                        <a:pt x="585120" y="476926"/>
                      </a:lnTo>
                      <a:lnTo>
                        <a:pt x="582266" y="473150"/>
                      </a:lnTo>
                      <a:lnTo>
                        <a:pt x="581489" y="472130"/>
                      </a:lnTo>
                      <a:lnTo>
                        <a:pt x="580372" y="471498"/>
                      </a:lnTo>
                      <a:lnTo>
                        <a:pt x="578769" y="470612"/>
                      </a:lnTo>
                      <a:lnTo>
                        <a:pt x="576802" y="469531"/>
                      </a:lnTo>
                      <a:lnTo>
                        <a:pt x="574604" y="469968"/>
                      </a:lnTo>
                      <a:lnTo>
                        <a:pt x="572382" y="470418"/>
                      </a:lnTo>
                      <a:lnTo>
                        <a:pt x="571459" y="470612"/>
                      </a:lnTo>
                      <a:lnTo>
                        <a:pt x="570633" y="471073"/>
                      </a:lnTo>
                      <a:lnTo>
                        <a:pt x="568265" y="472397"/>
                      </a:lnTo>
                      <a:lnTo>
                        <a:pt x="567124" y="473041"/>
                      </a:lnTo>
                      <a:lnTo>
                        <a:pt x="566347" y="474085"/>
                      </a:lnTo>
                      <a:lnTo>
                        <a:pt x="564209" y="476963"/>
                      </a:lnTo>
                      <a:lnTo>
                        <a:pt x="558271" y="477315"/>
                      </a:lnTo>
                      <a:lnTo>
                        <a:pt x="557179" y="477376"/>
                      </a:lnTo>
                      <a:lnTo>
                        <a:pt x="556171" y="477825"/>
                      </a:lnTo>
                      <a:lnTo>
                        <a:pt x="553451" y="479039"/>
                      </a:lnTo>
                      <a:lnTo>
                        <a:pt x="552746" y="479355"/>
                      </a:lnTo>
                      <a:lnTo>
                        <a:pt x="552139" y="479828"/>
                      </a:lnTo>
                      <a:lnTo>
                        <a:pt x="549711" y="481759"/>
                      </a:lnTo>
                      <a:lnTo>
                        <a:pt x="548824" y="482464"/>
                      </a:lnTo>
                      <a:lnTo>
                        <a:pt x="548703" y="482682"/>
                      </a:lnTo>
                      <a:lnTo>
                        <a:pt x="547707" y="482439"/>
                      </a:lnTo>
                      <a:lnTo>
                        <a:pt x="546797" y="482220"/>
                      </a:lnTo>
                      <a:lnTo>
                        <a:pt x="545861" y="482281"/>
                      </a:lnTo>
                      <a:lnTo>
                        <a:pt x="542717" y="482512"/>
                      </a:lnTo>
                      <a:lnTo>
                        <a:pt x="540713" y="482658"/>
                      </a:lnTo>
                      <a:lnTo>
                        <a:pt x="539195" y="483969"/>
                      </a:lnTo>
                      <a:lnTo>
                        <a:pt x="536742" y="486070"/>
                      </a:lnTo>
                      <a:lnTo>
                        <a:pt x="535127" y="487187"/>
                      </a:lnTo>
                      <a:lnTo>
                        <a:pt x="533791" y="487904"/>
                      </a:lnTo>
                      <a:lnTo>
                        <a:pt x="532905" y="488231"/>
                      </a:lnTo>
                      <a:lnTo>
                        <a:pt x="531011" y="488571"/>
                      </a:lnTo>
                      <a:lnTo>
                        <a:pt x="527331" y="488219"/>
                      </a:lnTo>
                      <a:lnTo>
                        <a:pt x="526384" y="488134"/>
                      </a:lnTo>
                      <a:lnTo>
                        <a:pt x="525449" y="488340"/>
                      </a:lnTo>
                      <a:lnTo>
                        <a:pt x="522668" y="488948"/>
                      </a:lnTo>
                      <a:lnTo>
                        <a:pt x="522061" y="489081"/>
                      </a:lnTo>
                      <a:lnTo>
                        <a:pt x="521491" y="489336"/>
                      </a:lnTo>
                      <a:lnTo>
                        <a:pt x="516415" y="491607"/>
                      </a:lnTo>
                      <a:lnTo>
                        <a:pt x="512468" y="493635"/>
                      </a:lnTo>
                      <a:lnTo>
                        <a:pt x="510659" y="494558"/>
                      </a:lnTo>
                      <a:lnTo>
                        <a:pt x="509773" y="496403"/>
                      </a:lnTo>
                      <a:lnTo>
                        <a:pt x="508947" y="498128"/>
                      </a:lnTo>
                      <a:lnTo>
                        <a:pt x="505705" y="498456"/>
                      </a:lnTo>
                      <a:lnTo>
                        <a:pt x="495553" y="498589"/>
                      </a:lnTo>
                      <a:lnTo>
                        <a:pt x="492943" y="498771"/>
                      </a:lnTo>
                      <a:lnTo>
                        <a:pt x="492505" y="498808"/>
                      </a:lnTo>
                      <a:lnTo>
                        <a:pt x="492080" y="498905"/>
                      </a:lnTo>
                      <a:lnTo>
                        <a:pt x="489542" y="499464"/>
                      </a:lnTo>
                      <a:lnTo>
                        <a:pt x="489202" y="499536"/>
                      </a:lnTo>
                      <a:lnTo>
                        <a:pt x="488875" y="499658"/>
                      </a:lnTo>
                      <a:lnTo>
                        <a:pt x="484722" y="501091"/>
                      </a:lnTo>
                      <a:lnTo>
                        <a:pt x="482852" y="501394"/>
                      </a:lnTo>
                      <a:lnTo>
                        <a:pt x="479282" y="502281"/>
                      </a:lnTo>
                      <a:lnTo>
                        <a:pt x="476137" y="503094"/>
                      </a:lnTo>
                      <a:lnTo>
                        <a:pt x="475068" y="506154"/>
                      </a:lnTo>
                      <a:lnTo>
                        <a:pt x="474570" y="507575"/>
                      </a:lnTo>
                      <a:lnTo>
                        <a:pt x="470053" y="511728"/>
                      </a:lnTo>
                      <a:lnTo>
                        <a:pt x="469106" y="512602"/>
                      </a:lnTo>
                      <a:lnTo>
                        <a:pt x="468596" y="513780"/>
                      </a:lnTo>
                      <a:lnTo>
                        <a:pt x="467661" y="515941"/>
                      </a:lnTo>
                      <a:lnTo>
                        <a:pt x="467248" y="516889"/>
                      </a:lnTo>
                      <a:lnTo>
                        <a:pt x="467175" y="517908"/>
                      </a:lnTo>
                      <a:lnTo>
                        <a:pt x="466944" y="521005"/>
                      </a:lnTo>
                      <a:lnTo>
                        <a:pt x="466787" y="523021"/>
                      </a:lnTo>
                      <a:lnTo>
                        <a:pt x="467879" y="524733"/>
                      </a:lnTo>
                      <a:lnTo>
                        <a:pt x="468341" y="525461"/>
                      </a:lnTo>
                      <a:lnTo>
                        <a:pt x="467904" y="526360"/>
                      </a:lnTo>
                      <a:lnTo>
                        <a:pt x="466580" y="529129"/>
                      </a:lnTo>
                      <a:lnTo>
                        <a:pt x="466228" y="529869"/>
                      </a:lnTo>
                      <a:lnTo>
                        <a:pt x="466082" y="530659"/>
                      </a:lnTo>
                      <a:lnTo>
                        <a:pt x="465305" y="534957"/>
                      </a:lnTo>
                      <a:lnTo>
                        <a:pt x="464807" y="539681"/>
                      </a:lnTo>
                      <a:lnTo>
                        <a:pt x="464771" y="540069"/>
                      </a:lnTo>
                      <a:lnTo>
                        <a:pt x="464771" y="540470"/>
                      </a:lnTo>
                      <a:lnTo>
                        <a:pt x="464868" y="543652"/>
                      </a:lnTo>
                      <a:lnTo>
                        <a:pt x="464613" y="545412"/>
                      </a:lnTo>
                      <a:lnTo>
                        <a:pt x="464200" y="548266"/>
                      </a:lnTo>
                      <a:lnTo>
                        <a:pt x="466167" y="550391"/>
                      </a:lnTo>
                      <a:lnTo>
                        <a:pt x="467491" y="551836"/>
                      </a:lnTo>
                      <a:lnTo>
                        <a:pt x="467685" y="552395"/>
                      </a:lnTo>
                      <a:lnTo>
                        <a:pt x="467964" y="558065"/>
                      </a:lnTo>
                      <a:lnTo>
                        <a:pt x="467248" y="565885"/>
                      </a:lnTo>
                      <a:lnTo>
                        <a:pt x="466507" y="566492"/>
                      </a:lnTo>
                      <a:lnTo>
                        <a:pt x="464479" y="567573"/>
                      </a:lnTo>
                      <a:lnTo>
                        <a:pt x="463727" y="567840"/>
                      </a:lnTo>
                      <a:lnTo>
                        <a:pt x="463302" y="567743"/>
                      </a:lnTo>
                      <a:lnTo>
                        <a:pt x="461881" y="567197"/>
                      </a:lnTo>
                      <a:lnTo>
                        <a:pt x="461055" y="566760"/>
                      </a:lnTo>
                      <a:lnTo>
                        <a:pt x="459780" y="565740"/>
                      </a:lnTo>
                      <a:lnTo>
                        <a:pt x="458493" y="564707"/>
                      </a:lnTo>
                      <a:lnTo>
                        <a:pt x="456866" y="564452"/>
                      </a:lnTo>
                      <a:lnTo>
                        <a:pt x="454935" y="564173"/>
                      </a:lnTo>
                      <a:lnTo>
                        <a:pt x="454510" y="564113"/>
                      </a:lnTo>
                      <a:lnTo>
                        <a:pt x="454085" y="564113"/>
                      </a:lnTo>
                      <a:lnTo>
                        <a:pt x="444869" y="564052"/>
                      </a:lnTo>
                      <a:lnTo>
                        <a:pt x="443011" y="563493"/>
                      </a:lnTo>
                      <a:lnTo>
                        <a:pt x="440449" y="562886"/>
                      </a:lnTo>
                      <a:lnTo>
                        <a:pt x="439999" y="562777"/>
                      </a:lnTo>
                      <a:lnTo>
                        <a:pt x="439550" y="562753"/>
                      </a:lnTo>
                      <a:lnTo>
                        <a:pt x="437401" y="562583"/>
                      </a:lnTo>
                      <a:lnTo>
                        <a:pt x="436672" y="562522"/>
                      </a:lnTo>
                      <a:lnTo>
                        <a:pt x="435956" y="562643"/>
                      </a:lnTo>
                      <a:lnTo>
                        <a:pt x="433904" y="562971"/>
                      </a:lnTo>
                      <a:lnTo>
                        <a:pt x="433296" y="563068"/>
                      </a:lnTo>
                      <a:lnTo>
                        <a:pt x="432726" y="563287"/>
                      </a:lnTo>
                      <a:lnTo>
                        <a:pt x="430856" y="564003"/>
                      </a:lnTo>
                      <a:lnTo>
                        <a:pt x="430139" y="564270"/>
                      </a:lnTo>
                      <a:lnTo>
                        <a:pt x="429508" y="564707"/>
                      </a:lnTo>
                      <a:lnTo>
                        <a:pt x="426824" y="566602"/>
                      </a:lnTo>
                      <a:lnTo>
                        <a:pt x="424942" y="567318"/>
                      </a:lnTo>
                      <a:lnTo>
                        <a:pt x="421639" y="568387"/>
                      </a:lnTo>
                      <a:lnTo>
                        <a:pt x="417851" y="569917"/>
                      </a:lnTo>
                      <a:lnTo>
                        <a:pt x="414536" y="571556"/>
                      </a:lnTo>
                      <a:lnTo>
                        <a:pt x="414232" y="571714"/>
                      </a:lnTo>
                      <a:lnTo>
                        <a:pt x="413953" y="571908"/>
                      </a:lnTo>
                      <a:lnTo>
                        <a:pt x="410650" y="574058"/>
                      </a:lnTo>
                      <a:lnTo>
                        <a:pt x="408671" y="575332"/>
                      </a:lnTo>
                      <a:lnTo>
                        <a:pt x="408075" y="577627"/>
                      </a:lnTo>
                      <a:lnTo>
                        <a:pt x="407638" y="579340"/>
                      </a:lnTo>
                      <a:lnTo>
                        <a:pt x="407468" y="580008"/>
                      </a:lnTo>
                      <a:lnTo>
                        <a:pt x="406825" y="579449"/>
                      </a:lnTo>
                      <a:lnTo>
                        <a:pt x="404882" y="579279"/>
                      </a:lnTo>
                      <a:lnTo>
                        <a:pt x="403012" y="579109"/>
                      </a:lnTo>
                      <a:lnTo>
                        <a:pt x="401700" y="578987"/>
                      </a:lnTo>
                      <a:lnTo>
                        <a:pt x="400450" y="579425"/>
                      </a:lnTo>
                      <a:lnTo>
                        <a:pt x="398908" y="579971"/>
                      </a:lnTo>
                      <a:lnTo>
                        <a:pt x="397863" y="580347"/>
                      </a:lnTo>
                      <a:lnTo>
                        <a:pt x="397013" y="581076"/>
                      </a:lnTo>
                      <a:lnTo>
                        <a:pt x="395908" y="582011"/>
                      </a:lnTo>
                      <a:lnTo>
                        <a:pt x="394196" y="583456"/>
                      </a:lnTo>
                      <a:lnTo>
                        <a:pt x="393844" y="585690"/>
                      </a:lnTo>
                      <a:lnTo>
                        <a:pt x="393552" y="587512"/>
                      </a:lnTo>
                      <a:lnTo>
                        <a:pt x="393443" y="588192"/>
                      </a:lnTo>
                      <a:lnTo>
                        <a:pt x="393480" y="588872"/>
                      </a:lnTo>
                      <a:lnTo>
                        <a:pt x="393601" y="590645"/>
                      </a:lnTo>
                      <a:lnTo>
                        <a:pt x="393626" y="591094"/>
                      </a:lnTo>
                      <a:lnTo>
                        <a:pt x="393723" y="591544"/>
                      </a:lnTo>
                      <a:lnTo>
                        <a:pt x="394269" y="594033"/>
                      </a:lnTo>
                      <a:lnTo>
                        <a:pt x="394378" y="594555"/>
                      </a:lnTo>
                      <a:lnTo>
                        <a:pt x="394585" y="595041"/>
                      </a:lnTo>
                      <a:lnTo>
                        <a:pt x="395119" y="596340"/>
                      </a:lnTo>
                      <a:lnTo>
                        <a:pt x="395119" y="596352"/>
                      </a:lnTo>
                      <a:lnTo>
                        <a:pt x="392812" y="600395"/>
                      </a:lnTo>
                      <a:lnTo>
                        <a:pt x="391585" y="601999"/>
                      </a:lnTo>
                      <a:lnTo>
                        <a:pt x="391270" y="602338"/>
                      </a:lnTo>
                      <a:lnTo>
                        <a:pt x="388538" y="604439"/>
                      </a:lnTo>
                      <a:lnTo>
                        <a:pt x="387117" y="605301"/>
                      </a:lnTo>
                      <a:lnTo>
                        <a:pt x="384858" y="605581"/>
                      </a:lnTo>
                      <a:lnTo>
                        <a:pt x="382891" y="605581"/>
                      </a:lnTo>
                      <a:lnTo>
                        <a:pt x="381325" y="605326"/>
                      </a:lnTo>
                      <a:lnTo>
                        <a:pt x="380013" y="604949"/>
                      </a:lnTo>
                      <a:lnTo>
                        <a:pt x="375921" y="602812"/>
                      </a:lnTo>
                      <a:lnTo>
                        <a:pt x="374610" y="601792"/>
                      </a:lnTo>
                      <a:lnTo>
                        <a:pt x="374051" y="601185"/>
                      </a:lnTo>
                      <a:lnTo>
                        <a:pt x="372315" y="598623"/>
                      </a:lnTo>
                      <a:lnTo>
                        <a:pt x="372011" y="598186"/>
                      </a:lnTo>
                      <a:lnTo>
                        <a:pt x="371647" y="597809"/>
                      </a:lnTo>
                      <a:lnTo>
                        <a:pt x="369546" y="595648"/>
                      </a:lnTo>
                      <a:lnTo>
                        <a:pt x="367348" y="593681"/>
                      </a:lnTo>
                      <a:lnTo>
                        <a:pt x="366547" y="592976"/>
                      </a:lnTo>
                      <a:lnTo>
                        <a:pt x="365563" y="592588"/>
                      </a:lnTo>
                      <a:lnTo>
                        <a:pt x="361908" y="591143"/>
                      </a:lnTo>
                      <a:lnTo>
                        <a:pt x="360317" y="590511"/>
                      </a:lnTo>
                      <a:lnTo>
                        <a:pt x="358642" y="590791"/>
                      </a:lnTo>
                      <a:lnTo>
                        <a:pt x="356104" y="591228"/>
                      </a:lnTo>
                      <a:lnTo>
                        <a:pt x="354428" y="591519"/>
                      </a:lnTo>
                      <a:lnTo>
                        <a:pt x="353153" y="592636"/>
                      </a:lnTo>
                      <a:lnTo>
                        <a:pt x="351113" y="594409"/>
                      </a:lnTo>
                      <a:lnTo>
                        <a:pt x="350858" y="594640"/>
                      </a:lnTo>
                      <a:lnTo>
                        <a:pt x="350627" y="594895"/>
                      </a:lnTo>
                      <a:lnTo>
                        <a:pt x="347883" y="597894"/>
                      </a:lnTo>
                      <a:lnTo>
                        <a:pt x="347191" y="598501"/>
                      </a:lnTo>
                      <a:lnTo>
                        <a:pt x="346487" y="598186"/>
                      </a:lnTo>
                      <a:lnTo>
                        <a:pt x="345989" y="597967"/>
                      </a:lnTo>
                      <a:lnTo>
                        <a:pt x="345467" y="597833"/>
                      </a:lnTo>
                      <a:lnTo>
                        <a:pt x="343208" y="597275"/>
                      </a:lnTo>
                      <a:lnTo>
                        <a:pt x="338885" y="595903"/>
                      </a:lnTo>
                      <a:lnTo>
                        <a:pt x="338509" y="595781"/>
                      </a:lnTo>
                      <a:lnTo>
                        <a:pt x="338120" y="595708"/>
                      </a:lnTo>
                      <a:lnTo>
                        <a:pt x="329778" y="594215"/>
                      </a:lnTo>
                      <a:lnTo>
                        <a:pt x="329450" y="594154"/>
                      </a:lnTo>
                      <a:lnTo>
                        <a:pt x="329134" y="594130"/>
                      </a:lnTo>
                      <a:lnTo>
                        <a:pt x="323548" y="593741"/>
                      </a:lnTo>
                      <a:lnTo>
                        <a:pt x="322917" y="593705"/>
                      </a:lnTo>
                      <a:lnTo>
                        <a:pt x="322298" y="593790"/>
                      </a:lnTo>
                      <a:lnTo>
                        <a:pt x="319432" y="594178"/>
                      </a:lnTo>
                      <a:lnTo>
                        <a:pt x="318570" y="594300"/>
                      </a:lnTo>
                      <a:lnTo>
                        <a:pt x="317781" y="594640"/>
                      </a:lnTo>
                      <a:lnTo>
                        <a:pt x="313810" y="596413"/>
                      </a:lnTo>
                      <a:lnTo>
                        <a:pt x="313081" y="596740"/>
                      </a:lnTo>
                      <a:lnTo>
                        <a:pt x="312462" y="597239"/>
                      </a:lnTo>
                      <a:lnTo>
                        <a:pt x="310592" y="598756"/>
                      </a:lnTo>
                      <a:lnTo>
                        <a:pt x="309013" y="599291"/>
                      </a:lnTo>
                      <a:lnTo>
                        <a:pt x="307204" y="599546"/>
                      </a:lnTo>
                      <a:lnTo>
                        <a:pt x="305880" y="599740"/>
                      </a:lnTo>
                      <a:lnTo>
                        <a:pt x="304763" y="600456"/>
                      </a:lnTo>
                      <a:lnTo>
                        <a:pt x="303051" y="601561"/>
                      </a:lnTo>
                      <a:lnTo>
                        <a:pt x="302165" y="602144"/>
                      </a:lnTo>
                      <a:lnTo>
                        <a:pt x="301521" y="602970"/>
                      </a:lnTo>
                      <a:lnTo>
                        <a:pt x="300659" y="604099"/>
                      </a:lnTo>
                      <a:lnTo>
                        <a:pt x="299967" y="604111"/>
                      </a:lnTo>
                      <a:lnTo>
                        <a:pt x="298825" y="603759"/>
                      </a:lnTo>
                      <a:lnTo>
                        <a:pt x="296033" y="603079"/>
                      </a:lnTo>
                      <a:lnTo>
                        <a:pt x="294345" y="602679"/>
                      </a:lnTo>
                      <a:lnTo>
                        <a:pt x="292705" y="603237"/>
                      </a:lnTo>
                      <a:lnTo>
                        <a:pt x="290556" y="603966"/>
                      </a:lnTo>
                      <a:lnTo>
                        <a:pt x="289123" y="604451"/>
                      </a:lnTo>
                      <a:lnTo>
                        <a:pt x="288079" y="605556"/>
                      </a:lnTo>
                      <a:lnTo>
                        <a:pt x="287083" y="606613"/>
                      </a:lnTo>
                      <a:lnTo>
                        <a:pt x="284594" y="609248"/>
                      </a:lnTo>
                      <a:lnTo>
                        <a:pt x="285735" y="612672"/>
                      </a:lnTo>
                      <a:lnTo>
                        <a:pt x="286804" y="615927"/>
                      </a:lnTo>
                      <a:lnTo>
                        <a:pt x="286148" y="617554"/>
                      </a:lnTo>
                      <a:lnTo>
                        <a:pt x="285966" y="617991"/>
                      </a:lnTo>
                      <a:lnTo>
                        <a:pt x="285966" y="618015"/>
                      </a:lnTo>
                      <a:lnTo>
                        <a:pt x="285104" y="618792"/>
                      </a:lnTo>
                      <a:lnTo>
                        <a:pt x="284849" y="621112"/>
                      </a:lnTo>
                      <a:lnTo>
                        <a:pt x="284715" y="622338"/>
                      </a:lnTo>
                      <a:lnTo>
                        <a:pt x="284205" y="624439"/>
                      </a:lnTo>
                      <a:lnTo>
                        <a:pt x="284120" y="624779"/>
                      </a:lnTo>
                      <a:lnTo>
                        <a:pt x="284120" y="624864"/>
                      </a:lnTo>
                      <a:lnTo>
                        <a:pt x="281194" y="625702"/>
                      </a:lnTo>
                      <a:lnTo>
                        <a:pt x="280514" y="625908"/>
                      </a:lnTo>
                      <a:lnTo>
                        <a:pt x="279895" y="626248"/>
                      </a:lnTo>
                      <a:lnTo>
                        <a:pt x="278231" y="627183"/>
                      </a:lnTo>
                      <a:lnTo>
                        <a:pt x="277915" y="627365"/>
                      </a:lnTo>
                      <a:lnTo>
                        <a:pt x="277624" y="627584"/>
                      </a:lnTo>
                      <a:lnTo>
                        <a:pt x="274540" y="629855"/>
                      </a:lnTo>
                      <a:lnTo>
                        <a:pt x="272536" y="631324"/>
                      </a:lnTo>
                      <a:lnTo>
                        <a:pt x="272135" y="633777"/>
                      </a:lnTo>
                      <a:lnTo>
                        <a:pt x="271965" y="634833"/>
                      </a:lnTo>
                      <a:lnTo>
                        <a:pt x="271735" y="636254"/>
                      </a:lnTo>
                      <a:lnTo>
                        <a:pt x="271917" y="636836"/>
                      </a:lnTo>
                      <a:lnTo>
                        <a:pt x="271091" y="638257"/>
                      </a:lnTo>
                      <a:lnTo>
                        <a:pt x="271067" y="638306"/>
                      </a:lnTo>
                      <a:lnTo>
                        <a:pt x="270520" y="638282"/>
                      </a:lnTo>
                      <a:lnTo>
                        <a:pt x="270023" y="638269"/>
                      </a:lnTo>
                      <a:lnTo>
                        <a:pt x="269525" y="638330"/>
                      </a:lnTo>
                      <a:lnTo>
                        <a:pt x="267303" y="638609"/>
                      </a:lnTo>
                      <a:lnTo>
                        <a:pt x="261644" y="639338"/>
                      </a:lnTo>
                      <a:lnTo>
                        <a:pt x="261765" y="641232"/>
                      </a:lnTo>
                      <a:lnTo>
                        <a:pt x="260442" y="640625"/>
                      </a:lnTo>
                      <a:lnTo>
                        <a:pt x="259179" y="637881"/>
                      </a:lnTo>
                      <a:lnTo>
                        <a:pt x="258025" y="635392"/>
                      </a:lnTo>
                      <a:lnTo>
                        <a:pt x="258013" y="634967"/>
                      </a:lnTo>
                      <a:lnTo>
                        <a:pt x="257940" y="632805"/>
                      </a:lnTo>
                      <a:lnTo>
                        <a:pt x="256520" y="631178"/>
                      </a:lnTo>
                      <a:lnTo>
                        <a:pt x="255852" y="630425"/>
                      </a:lnTo>
                      <a:lnTo>
                        <a:pt x="254249" y="628592"/>
                      </a:lnTo>
                      <a:lnTo>
                        <a:pt x="251820" y="628373"/>
                      </a:lnTo>
                      <a:lnTo>
                        <a:pt x="250497" y="628251"/>
                      </a:lnTo>
                      <a:lnTo>
                        <a:pt x="247898" y="628009"/>
                      </a:lnTo>
                      <a:lnTo>
                        <a:pt x="245931" y="629757"/>
                      </a:lnTo>
                      <a:lnTo>
                        <a:pt x="245664" y="630000"/>
                      </a:lnTo>
                      <a:lnTo>
                        <a:pt x="245044" y="630304"/>
                      </a:lnTo>
                      <a:lnTo>
                        <a:pt x="242859" y="631384"/>
                      </a:lnTo>
                      <a:lnTo>
                        <a:pt x="242033" y="633680"/>
                      </a:lnTo>
                      <a:lnTo>
                        <a:pt x="241899" y="634056"/>
                      </a:lnTo>
                      <a:lnTo>
                        <a:pt x="241814" y="633995"/>
                      </a:lnTo>
                      <a:lnTo>
                        <a:pt x="240588" y="633777"/>
                      </a:lnTo>
                      <a:lnTo>
                        <a:pt x="238706" y="633449"/>
                      </a:lnTo>
                      <a:lnTo>
                        <a:pt x="238001" y="633315"/>
                      </a:lnTo>
                      <a:lnTo>
                        <a:pt x="237285" y="633364"/>
                      </a:lnTo>
                      <a:lnTo>
                        <a:pt x="234261" y="633546"/>
                      </a:lnTo>
                      <a:lnTo>
                        <a:pt x="232695" y="633376"/>
                      </a:lnTo>
                      <a:lnTo>
                        <a:pt x="229927" y="632234"/>
                      </a:lnTo>
                      <a:lnTo>
                        <a:pt x="226563" y="630340"/>
                      </a:lnTo>
                      <a:lnTo>
                        <a:pt x="225251" y="629587"/>
                      </a:lnTo>
                      <a:lnTo>
                        <a:pt x="223746" y="629539"/>
                      </a:lnTo>
                      <a:lnTo>
                        <a:pt x="221706" y="629478"/>
                      </a:lnTo>
                      <a:lnTo>
                        <a:pt x="220419" y="629442"/>
                      </a:lnTo>
                      <a:lnTo>
                        <a:pt x="219229" y="629927"/>
                      </a:lnTo>
                      <a:lnTo>
                        <a:pt x="217468" y="630656"/>
                      </a:lnTo>
                      <a:lnTo>
                        <a:pt x="215731" y="631372"/>
                      </a:lnTo>
                      <a:lnTo>
                        <a:pt x="214711" y="632951"/>
                      </a:lnTo>
                      <a:lnTo>
                        <a:pt x="214432" y="633364"/>
                      </a:lnTo>
                      <a:lnTo>
                        <a:pt x="213910" y="633194"/>
                      </a:lnTo>
                      <a:lnTo>
                        <a:pt x="212344" y="633522"/>
                      </a:lnTo>
                      <a:lnTo>
                        <a:pt x="210728" y="633862"/>
                      </a:lnTo>
                      <a:lnTo>
                        <a:pt x="209781" y="634068"/>
                      </a:lnTo>
                      <a:lnTo>
                        <a:pt x="208944" y="634554"/>
                      </a:lnTo>
                      <a:lnTo>
                        <a:pt x="208130" y="635027"/>
                      </a:lnTo>
                      <a:lnTo>
                        <a:pt x="207523" y="635222"/>
                      </a:lnTo>
                      <a:lnTo>
                        <a:pt x="207025" y="635306"/>
                      </a:lnTo>
                      <a:lnTo>
                        <a:pt x="206345" y="635197"/>
                      </a:lnTo>
                      <a:lnTo>
                        <a:pt x="205361" y="634942"/>
                      </a:lnTo>
                      <a:lnTo>
                        <a:pt x="204256" y="634420"/>
                      </a:lnTo>
                      <a:lnTo>
                        <a:pt x="201901" y="633546"/>
                      </a:lnTo>
                      <a:lnTo>
                        <a:pt x="200650" y="633084"/>
                      </a:lnTo>
                      <a:lnTo>
                        <a:pt x="199326" y="633206"/>
                      </a:lnTo>
                      <a:lnTo>
                        <a:pt x="198343" y="633291"/>
                      </a:lnTo>
                      <a:lnTo>
                        <a:pt x="198112" y="633230"/>
                      </a:lnTo>
                      <a:lnTo>
                        <a:pt x="197565" y="632927"/>
                      </a:lnTo>
                      <a:lnTo>
                        <a:pt x="197165" y="632696"/>
                      </a:lnTo>
                      <a:lnTo>
                        <a:pt x="196728" y="632526"/>
                      </a:lnTo>
                      <a:lnTo>
                        <a:pt x="195404" y="632028"/>
                      </a:lnTo>
                      <a:lnTo>
                        <a:pt x="194955" y="631858"/>
                      </a:lnTo>
                      <a:lnTo>
                        <a:pt x="194493" y="631761"/>
                      </a:lnTo>
                      <a:lnTo>
                        <a:pt x="192830" y="631421"/>
                      </a:lnTo>
                      <a:lnTo>
                        <a:pt x="191300" y="631105"/>
                      </a:lnTo>
                      <a:lnTo>
                        <a:pt x="189806" y="631567"/>
                      </a:lnTo>
                      <a:lnTo>
                        <a:pt x="188155" y="632076"/>
                      </a:lnTo>
                      <a:lnTo>
                        <a:pt x="187766" y="632198"/>
                      </a:lnTo>
                      <a:lnTo>
                        <a:pt x="187402" y="632368"/>
                      </a:lnTo>
                      <a:lnTo>
                        <a:pt x="185969" y="633036"/>
                      </a:lnTo>
                      <a:lnTo>
                        <a:pt x="185410" y="633291"/>
                      </a:lnTo>
                      <a:lnTo>
                        <a:pt x="184937" y="633643"/>
                      </a:lnTo>
                      <a:lnTo>
                        <a:pt x="181877" y="633315"/>
                      </a:lnTo>
                      <a:lnTo>
                        <a:pt x="181100" y="633133"/>
                      </a:lnTo>
                      <a:lnTo>
                        <a:pt x="180432" y="632380"/>
                      </a:lnTo>
                      <a:lnTo>
                        <a:pt x="179497" y="631215"/>
                      </a:lnTo>
                      <a:lnTo>
                        <a:pt x="178975" y="630546"/>
                      </a:lnTo>
                      <a:lnTo>
                        <a:pt x="178283" y="630061"/>
                      </a:lnTo>
                      <a:lnTo>
                        <a:pt x="176947" y="629114"/>
                      </a:lnTo>
                      <a:lnTo>
                        <a:pt x="176522" y="628701"/>
                      </a:lnTo>
                      <a:lnTo>
                        <a:pt x="175963" y="628215"/>
                      </a:lnTo>
                      <a:lnTo>
                        <a:pt x="175308" y="627887"/>
                      </a:lnTo>
                      <a:lnTo>
                        <a:pt x="173887" y="627159"/>
                      </a:lnTo>
                      <a:lnTo>
                        <a:pt x="171434" y="625908"/>
                      </a:lnTo>
                      <a:lnTo>
                        <a:pt x="168884" y="626916"/>
                      </a:lnTo>
                      <a:lnTo>
                        <a:pt x="168325" y="627146"/>
                      </a:lnTo>
                      <a:lnTo>
                        <a:pt x="168082" y="627049"/>
                      </a:lnTo>
                      <a:lnTo>
                        <a:pt x="167682" y="626952"/>
                      </a:lnTo>
                      <a:lnTo>
                        <a:pt x="166079" y="626563"/>
                      </a:lnTo>
                      <a:lnTo>
                        <a:pt x="165569" y="626430"/>
                      </a:lnTo>
                      <a:lnTo>
                        <a:pt x="165035" y="626394"/>
                      </a:lnTo>
                      <a:lnTo>
                        <a:pt x="160785" y="626127"/>
                      </a:lnTo>
                      <a:lnTo>
                        <a:pt x="160129" y="626017"/>
                      </a:lnTo>
                      <a:lnTo>
                        <a:pt x="160262" y="624293"/>
                      </a:lnTo>
                      <a:lnTo>
                        <a:pt x="160323" y="623504"/>
                      </a:lnTo>
                      <a:lnTo>
                        <a:pt x="160177" y="622714"/>
                      </a:lnTo>
                      <a:lnTo>
                        <a:pt x="159971" y="621609"/>
                      </a:lnTo>
                      <a:lnTo>
                        <a:pt x="159546" y="619339"/>
                      </a:lnTo>
                      <a:lnTo>
                        <a:pt x="158356" y="618416"/>
                      </a:lnTo>
                      <a:lnTo>
                        <a:pt x="158356" y="614736"/>
                      </a:lnTo>
                      <a:lnTo>
                        <a:pt x="152175" y="614336"/>
                      </a:lnTo>
                      <a:lnTo>
                        <a:pt x="150718" y="614348"/>
                      </a:lnTo>
                      <a:lnTo>
                        <a:pt x="149054" y="614336"/>
                      </a:lnTo>
                      <a:lnTo>
                        <a:pt x="148071" y="614336"/>
                      </a:lnTo>
                      <a:lnTo>
                        <a:pt x="142084" y="614336"/>
                      </a:lnTo>
                      <a:lnTo>
                        <a:pt x="141793" y="618027"/>
                      </a:lnTo>
                      <a:lnTo>
                        <a:pt x="140081" y="619788"/>
                      </a:lnTo>
                      <a:lnTo>
                        <a:pt x="139826" y="620055"/>
                      </a:lnTo>
                      <a:lnTo>
                        <a:pt x="139194" y="620043"/>
                      </a:lnTo>
                      <a:lnTo>
                        <a:pt x="116512" y="619812"/>
                      </a:lnTo>
                      <a:lnTo>
                        <a:pt x="109505" y="618962"/>
                      </a:lnTo>
                      <a:lnTo>
                        <a:pt x="108533" y="618634"/>
                      </a:lnTo>
                      <a:lnTo>
                        <a:pt x="105656" y="617129"/>
                      </a:lnTo>
                      <a:lnTo>
                        <a:pt x="104866" y="616716"/>
                      </a:lnTo>
                      <a:lnTo>
                        <a:pt x="103992" y="616546"/>
                      </a:lnTo>
                      <a:lnTo>
                        <a:pt x="102316" y="616230"/>
                      </a:lnTo>
                      <a:lnTo>
                        <a:pt x="101308" y="616036"/>
                      </a:lnTo>
                      <a:lnTo>
                        <a:pt x="100288" y="616194"/>
                      </a:lnTo>
                      <a:lnTo>
                        <a:pt x="88413" y="617967"/>
                      </a:lnTo>
                      <a:lnTo>
                        <a:pt x="87866" y="618051"/>
                      </a:lnTo>
                      <a:lnTo>
                        <a:pt x="87344" y="618234"/>
                      </a:lnTo>
                      <a:lnTo>
                        <a:pt x="83725" y="619484"/>
                      </a:lnTo>
                      <a:lnTo>
                        <a:pt x="83167" y="619679"/>
                      </a:lnTo>
                      <a:lnTo>
                        <a:pt x="82657" y="619970"/>
                      </a:lnTo>
                      <a:lnTo>
                        <a:pt x="69445" y="627608"/>
                      </a:lnTo>
                      <a:lnTo>
                        <a:pt x="68474" y="628167"/>
                      </a:lnTo>
                      <a:lnTo>
                        <a:pt x="67770" y="629017"/>
                      </a:lnTo>
                      <a:lnTo>
                        <a:pt x="60362" y="638087"/>
                      </a:lnTo>
                      <a:lnTo>
                        <a:pt x="58748" y="640055"/>
                      </a:lnTo>
                      <a:lnTo>
                        <a:pt x="59027" y="642592"/>
                      </a:lnTo>
                      <a:lnTo>
                        <a:pt x="59136" y="643625"/>
                      </a:lnTo>
                      <a:lnTo>
                        <a:pt x="58893" y="644159"/>
                      </a:lnTo>
                      <a:lnTo>
                        <a:pt x="58359" y="645349"/>
                      </a:lnTo>
                      <a:lnTo>
                        <a:pt x="58359" y="646660"/>
                      </a:lnTo>
                      <a:lnTo>
                        <a:pt x="58359" y="650995"/>
                      </a:lnTo>
                      <a:lnTo>
                        <a:pt x="57412" y="658985"/>
                      </a:lnTo>
                      <a:lnTo>
                        <a:pt x="57327" y="659714"/>
                      </a:lnTo>
                      <a:lnTo>
                        <a:pt x="57412" y="660442"/>
                      </a:lnTo>
                      <a:lnTo>
                        <a:pt x="57885" y="664340"/>
                      </a:lnTo>
                      <a:lnTo>
                        <a:pt x="57934" y="664765"/>
                      </a:lnTo>
                      <a:lnTo>
                        <a:pt x="58043" y="665166"/>
                      </a:lnTo>
                      <a:lnTo>
                        <a:pt x="58675" y="667510"/>
                      </a:lnTo>
                      <a:lnTo>
                        <a:pt x="59233" y="669598"/>
                      </a:lnTo>
                      <a:lnTo>
                        <a:pt x="60982" y="670861"/>
                      </a:lnTo>
                      <a:lnTo>
                        <a:pt x="62014" y="671614"/>
                      </a:lnTo>
                      <a:lnTo>
                        <a:pt x="62694" y="672099"/>
                      </a:lnTo>
                      <a:lnTo>
                        <a:pt x="63483" y="672391"/>
                      </a:lnTo>
                      <a:lnTo>
                        <a:pt x="63690" y="672464"/>
                      </a:lnTo>
                      <a:lnTo>
                        <a:pt x="65062" y="675415"/>
                      </a:lnTo>
                      <a:lnTo>
                        <a:pt x="65645" y="676435"/>
                      </a:lnTo>
                      <a:lnTo>
                        <a:pt x="65256" y="676410"/>
                      </a:lnTo>
                      <a:lnTo>
                        <a:pt x="64370" y="676653"/>
                      </a:lnTo>
                      <a:lnTo>
                        <a:pt x="62524" y="677139"/>
                      </a:lnTo>
                      <a:lnTo>
                        <a:pt x="61553" y="677394"/>
                      </a:lnTo>
                      <a:lnTo>
                        <a:pt x="60727" y="677953"/>
                      </a:lnTo>
                      <a:lnTo>
                        <a:pt x="58954" y="679130"/>
                      </a:lnTo>
                      <a:lnTo>
                        <a:pt x="58322" y="679543"/>
                      </a:lnTo>
                      <a:lnTo>
                        <a:pt x="57813" y="680102"/>
                      </a:lnTo>
                      <a:lnTo>
                        <a:pt x="56197" y="681875"/>
                      </a:lnTo>
                      <a:lnTo>
                        <a:pt x="55687" y="682446"/>
                      </a:lnTo>
                      <a:lnTo>
                        <a:pt x="55335" y="683126"/>
                      </a:lnTo>
                      <a:lnTo>
                        <a:pt x="54024" y="685591"/>
                      </a:lnTo>
                      <a:lnTo>
                        <a:pt x="53805" y="685991"/>
                      </a:lnTo>
                      <a:lnTo>
                        <a:pt x="53647" y="686428"/>
                      </a:lnTo>
                      <a:lnTo>
                        <a:pt x="53137" y="687886"/>
                      </a:lnTo>
                      <a:lnTo>
                        <a:pt x="53004" y="688274"/>
                      </a:lnTo>
                      <a:lnTo>
                        <a:pt x="52919" y="688687"/>
                      </a:lnTo>
                      <a:lnTo>
                        <a:pt x="52737" y="689598"/>
                      </a:lnTo>
                      <a:lnTo>
                        <a:pt x="52652" y="690023"/>
                      </a:lnTo>
                      <a:lnTo>
                        <a:pt x="52627" y="690460"/>
                      </a:lnTo>
                      <a:lnTo>
                        <a:pt x="52567" y="691540"/>
                      </a:lnTo>
                      <a:lnTo>
                        <a:pt x="52518" y="692330"/>
                      </a:lnTo>
                      <a:lnTo>
                        <a:pt x="52688" y="693107"/>
                      </a:lnTo>
                      <a:lnTo>
                        <a:pt x="54352" y="701097"/>
                      </a:lnTo>
                      <a:lnTo>
                        <a:pt x="54400" y="703295"/>
                      </a:lnTo>
                      <a:lnTo>
                        <a:pt x="51365" y="702141"/>
                      </a:lnTo>
                      <a:lnTo>
                        <a:pt x="48632" y="705869"/>
                      </a:lnTo>
                      <a:lnTo>
                        <a:pt x="47479" y="707448"/>
                      </a:lnTo>
                      <a:lnTo>
                        <a:pt x="45997" y="709475"/>
                      </a:lnTo>
                      <a:lnTo>
                        <a:pt x="46374" y="711953"/>
                      </a:lnTo>
                      <a:lnTo>
                        <a:pt x="46605" y="713471"/>
                      </a:lnTo>
                      <a:lnTo>
                        <a:pt x="46847" y="714685"/>
                      </a:lnTo>
                      <a:lnTo>
                        <a:pt x="47151" y="716142"/>
                      </a:lnTo>
                      <a:lnTo>
                        <a:pt x="48098" y="717296"/>
                      </a:lnTo>
                      <a:lnTo>
                        <a:pt x="48292" y="717538"/>
                      </a:lnTo>
                      <a:lnTo>
                        <a:pt x="49507" y="719919"/>
                      </a:lnTo>
                      <a:lnTo>
                        <a:pt x="50320" y="722712"/>
                      </a:lnTo>
                      <a:lnTo>
                        <a:pt x="50466" y="723197"/>
                      </a:lnTo>
                      <a:lnTo>
                        <a:pt x="50685" y="723647"/>
                      </a:lnTo>
                      <a:lnTo>
                        <a:pt x="51486" y="725346"/>
                      </a:lnTo>
                      <a:lnTo>
                        <a:pt x="51790" y="725990"/>
                      </a:lnTo>
                      <a:lnTo>
                        <a:pt x="52227" y="726536"/>
                      </a:lnTo>
                      <a:lnTo>
                        <a:pt x="53247" y="727799"/>
                      </a:lnTo>
                      <a:lnTo>
                        <a:pt x="53830" y="728528"/>
                      </a:lnTo>
                      <a:lnTo>
                        <a:pt x="54485" y="728965"/>
                      </a:lnTo>
                      <a:lnTo>
                        <a:pt x="54692" y="729281"/>
                      </a:lnTo>
                      <a:lnTo>
                        <a:pt x="55481" y="731236"/>
                      </a:lnTo>
                      <a:lnTo>
                        <a:pt x="56926" y="740598"/>
                      </a:lnTo>
                      <a:lnTo>
                        <a:pt x="57655" y="743695"/>
                      </a:lnTo>
                      <a:lnTo>
                        <a:pt x="58031" y="745237"/>
                      </a:lnTo>
                      <a:lnTo>
                        <a:pt x="59112" y="746402"/>
                      </a:lnTo>
                      <a:lnTo>
                        <a:pt x="60156" y="747520"/>
                      </a:lnTo>
                      <a:lnTo>
                        <a:pt x="60897" y="748309"/>
                      </a:lnTo>
                      <a:lnTo>
                        <a:pt x="61880" y="748807"/>
                      </a:lnTo>
                      <a:lnTo>
                        <a:pt x="63374" y="749560"/>
                      </a:lnTo>
                      <a:lnTo>
                        <a:pt x="64005" y="749863"/>
                      </a:lnTo>
                      <a:lnTo>
                        <a:pt x="64697" y="750033"/>
                      </a:lnTo>
                      <a:lnTo>
                        <a:pt x="70502" y="751405"/>
                      </a:lnTo>
                      <a:lnTo>
                        <a:pt x="71534" y="751952"/>
                      </a:lnTo>
                      <a:lnTo>
                        <a:pt x="72044" y="752304"/>
                      </a:lnTo>
                      <a:lnTo>
                        <a:pt x="72566" y="752984"/>
                      </a:lnTo>
                      <a:lnTo>
                        <a:pt x="73975" y="763961"/>
                      </a:lnTo>
                      <a:lnTo>
                        <a:pt x="74035" y="764471"/>
                      </a:lnTo>
                      <a:lnTo>
                        <a:pt x="74181" y="764957"/>
                      </a:lnTo>
                      <a:lnTo>
                        <a:pt x="76877" y="773845"/>
                      </a:lnTo>
                      <a:lnTo>
                        <a:pt x="77423" y="776735"/>
                      </a:lnTo>
                      <a:lnTo>
                        <a:pt x="77460" y="779698"/>
                      </a:lnTo>
                      <a:lnTo>
                        <a:pt x="77229" y="781326"/>
                      </a:lnTo>
                      <a:lnTo>
                        <a:pt x="76974" y="782345"/>
                      </a:lnTo>
                      <a:lnTo>
                        <a:pt x="76403" y="783681"/>
                      </a:lnTo>
                      <a:lnTo>
                        <a:pt x="76124" y="784167"/>
                      </a:lnTo>
                      <a:lnTo>
                        <a:pt x="75213" y="785333"/>
                      </a:lnTo>
                      <a:lnTo>
                        <a:pt x="75019" y="785587"/>
                      </a:lnTo>
                      <a:lnTo>
                        <a:pt x="74849" y="785842"/>
                      </a:lnTo>
                      <a:lnTo>
                        <a:pt x="73695" y="787664"/>
                      </a:lnTo>
                      <a:lnTo>
                        <a:pt x="73525" y="787931"/>
                      </a:lnTo>
                      <a:lnTo>
                        <a:pt x="73392" y="788210"/>
                      </a:lnTo>
                      <a:lnTo>
                        <a:pt x="72129" y="790773"/>
                      </a:lnTo>
                      <a:lnTo>
                        <a:pt x="71874" y="791271"/>
                      </a:lnTo>
                      <a:lnTo>
                        <a:pt x="71728" y="791805"/>
                      </a:lnTo>
                      <a:lnTo>
                        <a:pt x="70465" y="796261"/>
                      </a:lnTo>
                      <a:lnTo>
                        <a:pt x="69761" y="797791"/>
                      </a:lnTo>
                      <a:lnTo>
                        <a:pt x="69166" y="798617"/>
                      </a:lnTo>
                      <a:lnTo>
                        <a:pt x="66191" y="801519"/>
                      </a:lnTo>
                      <a:lnTo>
                        <a:pt x="65815" y="801058"/>
                      </a:lnTo>
                      <a:lnTo>
                        <a:pt x="65402" y="800536"/>
                      </a:lnTo>
                      <a:lnTo>
                        <a:pt x="64892" y="800123"/>
                      </a:lnTo>
                      <a:lnTo>
                        <a:pt x="63799" y="799248"/>
                      </a:lnTo>
                      <a:lnTo>
                        <a:pt x="63058" y="798665"/>
                      </a:lnTo>
                      <a:lnTo>
                        <a:pt x="62184" y="798326"/>
                      </a:lnTo>
                      <a:lnTo>
                        <a:pt x="60921" y="797840"/>
                      </a:lnTo>
                      <a:lnTo>
                        <a:pt x="60533" y="797694"/>
                      </a:lnTo>
                      <a:lnTo>
                        <a:pt x="60132" y="797597"/>
                      </a:lnTo>
                      <a:lnTo>
                        <a:pt x="58869" y="797305"/>
                      </a:lnTo>
                      <a:lnTo>
                        <a:pt x="57995" y="797087"/>
                      </a:lnTo>
                      <a:lnTo>
                        <a:pt x="57084" y="797147"/>
                      </a:lnTo>
                      <a:lnTo>
                        <a:pt x="54898" y="797294"/>
                      </a:lnTo>
                      <a:lnTo>
                        <a:pt x="54461" y="797330"/>
                      </a:lnTo>
                      <a:lnTo>
                        <a:pt x="54024" y="797415"/>
                      </a:lnTo>
                      <a:lnTo>
                        <a:pt x="52081" y="797827"/>
                      </a:lnTo>
                      <a:lnTo>
                        <a:pt x="51304" y="797998"/>
                      </a:lnTo>
                      <a:lnTo>
                        <a:pt x="50587" y="798362"/>
                      </a:lnTo>
                      <a:lnTo>
                        <a:pt x="48742" y="799297"/>
                      </a:lnTo>
                      <a:lnTo>
                        <a:pt x="46034" y="798034"/>
                      </a:lnTo>
                      <a:lnTo>
                        <a:pt x="45609" y="797840"/>
                      </a:lnTo>
                      <a:lnTo>
                        <a:pt x="45160" y="797706"/>
                      </a:lnTo>
                      <a:lnTo>
                        <a:pt x="42804" y="797014"/>
                      </a:lnTo>
                      <a:lnTo>
                        <a:pt x="42233" y="796832"/>
                      </a:lnTo>
                      <a:lnTo>
                        <a:pt x="41638" y="796783"/>
                      </a:lnTo>
                      <a:lnTo>
                        <a:pt x="36975" y="796370"/>
                      </a:lnTo>
                      <a:lnTo>
                        <a:pt x="35227" y="796031"/>
                      </a:lnTo>
                      <a:lnTo>
                        <a:pt x="19744" y="787105"/>
                      </a:lnTo>
                      <a:lnTo>
                        <a:pt x="19210" y="786802"/>
                      </a:lnTo>
                      <a:lnTo>
                        <a:pt x="18627" y="786595"/>
                      </a:lnTo>
                      <a:lnTo>
                        <a:pt x="16381" y="785842"/>
                      </a:lnTo>
                      <a:lnTo>
                        <a:pt x="11779" y="784313"/>
                      </a:lnTo>
                      <a:lnTo>
                        <a:pt x="9265" y="788465"/>
                      </a:lnTo>
                      <a:lnTo>
                        <a:pt x="5756" y="794270"/>
                      </a:lnTo>
                      <a:lnTo>
                        <a:pt x="4978" y="795545"/>
                      </a:lnTo>
                      <a:lnTo>
                        <a:pt x="4894" y="797038"/>
                      </a:lnTo>
                      <a:lnTo>
                        <a:pt x="4614" y="801604"/>
                      </a:lnTo>
                      <a:lnTo>
                        <a:pt x="4590" y="801981"/>
                      </a:lnTo>
                      <a:lnTo>
                        <a:pt x="4614" y="802357"/>
                      </a:lnTo>
                      <a:lnTo>
                        <a:pt x="4699" y="803705"/>
                      </a:lnTo>
                      <a:lnTo>
                        <a:pt x="4590" y="803814"/>
                      </a:lnTo>
                      <a:lnTo>
                        <a:pt x="2987" y="805551"/>
                      </a:lnTo>
                      <a:lnTo>
                        <a:pt x="2732" y="805830"/>
                      </a:lnTo>
                      <a:lnTo>
                        <a:pt x="2501" y="806145"/>
                      </a:lnTo>
                      <a:lnTo>
                        <a:pt x="1129" y="808076"/>
                      </a:lnTo>
                      <a:lnTo>
                        <a:pt x="0" y="809655"/>
                      </a:lnTo>
                      <a:lnTo>
                        <a:pt x="0" y="811598"/>
                      </a:lnTo>
                      <a:lnTo>
                        <a:pt x="0" y="812351"/>
                      </a:lnTo>
                      <a:lnTo>
                        <a:pt x="0" y="814208"/>
                      </a:lnTo>
                      <a:lnTo>
                        <a:pt x="1044" y="815763"/>
                      </a:lnTo>
                      <a:lnTo>
                        <a:pt x="1494" y="816431"/>
                      </a:lnTo>
                      <a:lnTo>
                        <a:pt x="2623" y="818094"/>
                      </a:lnTo>
                      <a:lnTo>
                        <a:pt x="4529" y="818762"/>
                      </a:lnTo>
                      <a:lnTo>
                        <a:pt x="5622" y="819138"/>
                      </a:lnTo>
                      <a:lnTo>
                        <a:pt x="5974" y="819260"/>
                      </a:lnTo>
                      <a:lnTo>
                        <a:pt x="6338" y="819345"/>
                      </a:lnTo>
                      <a:lnTo>
                        <a:pt x="11366" y="820426"/>
                      </a:lnTo>
                      <a:lnTo>
                        <a:pt x="11511" y="820486"/>
                      </a:lnTo>
                      <a:lnTo>
                        <a:pt x="14438" y="822478"/>
                      </a:lnTo>
                      <a:lnTo>
                        <a:pt x="15057" y="822891"/>
                      </a:lnTo>
                      <a:lnTo>
                        <a:pt x="15749" y="823146"/>
                      </a:lnTo>
                      <a:lnTo>
                        <a:pt x="17073" y="823631"/>
                      </a:lnTo>
                      <a:lnTo>
                        <a:pt x="17437" y="823765"/>
                      </a:lnTo>
                      <a:lnTo>
                        <a:pt x="17826" y="823850"/>
                      </a:lnTo>
                      <a:lnTo>
                        <a:pt x="18700" y="824056"/>
                      </a:lnTo>
                      <a:lnTo>
                        <a:pt x="19004" y="824166"/>
                      </a:lnTo>
                      <a:lnTo>
                        <a:pt x="19040" y="824190"/>
                      </a:lnTo>
                      <a:lnTo>
                        <a:pt x="19234" y="824421"/>
                      </a:lnTo>
                      <a:lnTo>
                        <a:pt x="18724" y="827967"/>
                      </a:lnTo>
                      <a:lnTo>
                        <a:pt x="18664" y="828343"/>
                      </a:lnTo>
                      <a:lnTo>
                        <a:pt x="18664" y="828719"/>
                      </a:lnTo>
                      <a:lnTo>
                        <a:pt x="18615" y="831670"/>
                      </a:lnTo>
                      <a:lnTo>
                        <a:pt x="17996" y="835993"/>
                      </a:lnTo>
                      <a:lnTo>
                        <a:pt x="15579" y="846084"/>
                      </a:lnTo>
                      <a:lnTo>
                        <a:pt x="13321" y="846897"/>
                      </a:lnTo>
                      <a:lnTo>
                        <a:pt x="12665" y="847140"/>
                      </a:lnTo>
                      <a:lnTo>
                        <a:pt x="12082" y="847517"/>
                      </a:lnTo>
                      <a:lnTo>
                        <a:pt x="11208" y="848087"/>
                      </a:lnTo>
                      <a:lnTo>
                        <a:pt x="9326" y="849326"/>
                      </a:lnTo>
                      <a:lnTo>
                        <a:pt x="8694" y="851499"/>
                      </a:lnTo>
                      <a:lnTo>
                        <a:pt x="8184" y="853272"/>
                      </a:lnTo>
                      <a:lnTo>
                        <a:pt x="7844" y="854474"/>
                      </a:lnTo>
                      <a:lnTo>
                        <a:pt x="8002" y="855713"/>
                      </a:lnTo>
                      <a:lnTo>
                        <a:pt x="8694" y="861299"/>
                      </a:lnTo>
                      <a:lnTo>
                        <a:pt x="8621" y="862622"/>
                      </a:lnTo>
                      <a:lnTo>
                        <a:pt x="8391" y="863558"/>
                      </a:lnTo>
                      <a:lnTo>
                        <a:pt x="7140" y="865840"/>
                      </a:lnTo>
                      <a:lnTo>
                        <a:pt x="6946" y="866180"/>
                      </a:lnTo>
                      <a:lnTo>
                        <a:pt x="6800" y="866544"/>
                      </a:lnTo>
                      <a:lnTo>
                        <a:pt x="5027" y="871098"/>
                      </a:lnTo>
                      <a:lnTo>
                        <a:pt x="4857" y="871523"/>
                      </a:lnTo>
                      <a:lnTo>
                        <a:pt x="4699" y="871960"/>
                      </a:lnTo>
                      <a:lnTo>
                        <a:pt x="3667" y="876660"/>
                      </a:lnTo>
                      <a:lnTo>
                        <a:pt x="3534" y="877242"/>
                      </a:lnTo>
                      <a:lnTo>
                        <a:pt x="3521" y="877838"/>
                      </a:lnTo>
                      <a:lnTo>
                        <a:pt x="3461" y="880558"/>
                      </a:lnTo>
                      <a:lnTo>
                        <a:pt x="3449" y="881055"/>
                      </a:lnTo>
                      <a:lnTo>
                        <a:pt x="3521" y="881553"/>
                      </a:lnTo>
                      <a:lnTo>
                        <a:pt x="3971" y="884686"/>
                      </a:lnTo>
                      <a:lnTo>
                        <a:pt x="4019" y="885002"/>
                      </a:lnTo>
                      <a:lnTo>
                        <a:pt x="4104" y="885318"/>
                      </a:lnTo>
                      <a:lnTo>
                        <a:pt x="6424" y="894388"/>
                      </a:lnTo>
                      <a:lnTo>
                        <a:pt x="6569" y="894959"/>
                      </a:lnTo>
                      <a:lnTo>
                        <a:pt x="6824" y="895493"/>
                      </a:lnTo>
                      <a:lnTo>
                        <a:pt x="7431" y="896756"/>
                      </a:lnTo>
                      <a:lnTo>
                        <a:pt x="8196" y="898371"/>
                      </a:lnTo>
                      <a:lnTo>
                        <a:pt x="9714" y="899306"/>
                      </a:lnTo>
                      <a:lnTo>
                        <a:pt x="10759" y="899962"/>
                      </a:lnTo>
                      <a:lnTo>
                        <a:pt x="11329" y="900302"/>
                      </a:lnTo>
                      <a:lnTo>
                        <a:pt x="11949" y="900533"/>
                      </a:lnTo>
                      <a:lnTo>
                        <a:pt x="14462" y="901407"/>
                      </a:lnTo>
                      <a:lnTo>
                        <a:pt x="15081" y="901711"/>
                      </a:lnTo>
                      <a:lnTo>
                        <a:pt x="15239" y="901832"/>
                      </a:lnTo>
                      <a:lnTo>
                        <a:pt x="15664" y="902391"/>
                      </a:lnTo>
                      <a:lnTo>
                        <a:pt x="16332" y="903544"/>
                      </a:lnTo>
                      <a:lnTo>
                        <a:pt x="18069" y="907734"/>
                      </a:lnTo>
                      <a:lnTo>
                        <a:pt x="18202" y="908037"/>
                      </a:lnTo>
                      <a:lnTo>
                        <a:pt x="18360" y="908328"/>
                      </a:lnTo>
                      <a:lnTo>
                        <a:pt x="19841" y="911024"/>
                      </a:lnTo>
                      <a:lnTo>
                        <a:pt x="20169" y="911631"/>
                      </a:lnTo>
                      <a:lnTo>
                        <a:pt x="20619" y="912141"/>
                      </a:lnTo>
                      <a:lnTo>
                        <a:pt x="21444" y="913064"/>
                      </a:lnTo>
                      <a:lnTo>
                        <a:pt x="22003" y="913696"/>
                      </a:lnTo>
                      <a:lnTo>
                        <a:pt x="22719" y="914145"/>
                      </a:lnTo>
                      <a:lnTo>
                        <a:pt x="23521" y="914655"/>
                      </a:lnTo>
                      <a:lnTo>
                        <a:pt x="24820" y="915481"/>
                      </a:lnTo>
                      <a:lnTo>
                        <a:pt x="26362" y="915590"/>
                      </a:lnTo>
                      <a:lnTo>
                        <a:pt x="27212" y="915650"/>
                      </a:lnTo>
                      <a:lnTo>
                        <a:pt x="28196" y="915723"/>
                      </a:lnTo>
                      <a:lnTo>
                        <a:pt x="29143" y="915469"/>
                      </a:lnTo>
                      <a:lnTo>
                        <a:pt x="30345" y="915165"/>
                      </a:lnTo>
                      <a:lnTo>
                        <a:pt x="31025" y="914983"/>
                      </a:lnTo>
                      <a:lnTo>
                        <a:pt x="31644" y="914667"/>
                      </a:lnTo>
                      <a:lnTo>
                        <a:pt x="33794" y="913550"/>
                      </a:lnTo>
                      <a:lnTo>
                        <a:pt x="33952" y="913538"/>
                      </a:lnTo>
                      <a:lnTo>
                        <a:pt x="37485" y="913999"/>
                      </a:lnTo>
                      <a:lnTo>
                        <a:pt x="37874" y="914048"/>
                      </a:lnTo>
                      <a:lnTo>
                        <a:pt x="38274" y="914048"/>
                      </a:lnTo>
                      <a:lnTo>
                        <a:pt x="38639" y="914048"/>
                      </a:lnTo>
                      <a:lnTo>
                        <a:pt x="38408" y="914278"/>
                      </a:lnTo>
                      <a:lnTo>
                        <a:pt x="37995" y="915007"/>
                      </a:lnTo>
                      <a:lnTo>
                        <a:pt x="37303" y="916221"/>
                      </a:lnTo>
                      <a:lnTo>
                        <a:pt x="36939" y="916865"/>
                      </a:lnTo>
                      <a:lnTo>
                        <a:pt x="36927" y="916913"/>
                      </a:lnTo>
                      <a:lnTo>
                        <a:pt x="36307" y="916865"/>
                      </a:lnTo>
                      <a:lnTo>
                        <a:pt x="34874" y="916768"/>
                      </a:lnTo>
                      <a:lnTo>
                        <a:pt x="33539" y="917314"/>
                      </a:lnTo>
                      <a:lnTo>
                        <a:pt x="32677" y="917666"/>
                      </a:lnTo>
                      <a:lnTo>
                        <a:pt x="32082" y="917921"/>
                      </a:lnTo>
                      <a:lnTo>
                        <a:pt x="31559" y="918286"/>
                      </a:lnTo>
                      <a:lnTo>
                        <a:pt x="30527" y="918990"/>
                      </a:lnTo>
                      <a:lnTo>
                        <a:pt x="29859" y="919451"/>
                      </a:lnTo>
                      <a:lnTo>
                        <a:pt x="29349" y="920058"/>
                      </a:lnTo>
                      <a:lnTo>
                        <a:pt x="28645" y="920884"/>
                      </a:lnTo>
                      <a:lnTo>
                        <a:pt x="28135" y="921479"/>
                      </a:lnTo>
                      <a:lnTo>
                        <a:pt x="27795" y="922183"/>
                      </a:lnTo>
                      <a:lnTo>
                        <a:pt x="27127" y="923568"/>
                      </a:lnTo>
                      <a:lnTo>
                        <a:pt x="26921" y="923993"/>
                      </a:lnTo>
                      <a:lnTo>
                        <a:pt x="26787" y="924442"/>
                      </a:lnTo>
                      <a:lnTo>
                        <a:pt x="26265" y="926166"/>
                      </a:lnTo>
                      <a:lnTo>
                        <a:pt x="26083" y="926774"/>
                      </a:lnTo>
                      <a:lnTo>
                        <a:pt x="26034" y="927405"/>
                      </a:lnTo>
                      <a:lnTo>
                        <a:pt x="25792" y="930161"/>
                      </a:lnTo>
                      <a:lnTo>
                        <a:pt x="25731" y="930914"/>
                      </a:lnTo>
                      <a:lnTo>
                        <a:pt x="25852" y="931667"/>
                      </a:lnTo>
                      <a:lnTo>
                        <a:pt x="26204" y="933829"/>
                      </a:lnTo>
                      <a:lnTo>
                        <a:pt x="26289" y="934411"/>
                      </a:lnTo>
                      <a:lnTo>
                        <a:pt x="26496" y="934946"/>
                      </a:lnTo>
                      <a:lnTo>
                        <a:pt x="27188" y="936804"/>
                      </a:lnTo>
                      <a:lnTo>
                        <a:pt x="27382" y="937313"/>
                      </a:lnTo>
                      <a:lnTo>
                        <a:pt x="27649" y="937775"/>
                      </a:lnTo>
                      <a:lnTo>
                        <a:pt x="28682" y="939536"/>
                      </a:lnTo>
                      <a:lnTo>
                        <a:pt x="28997" y="940082"/>
                      </a:lnTo>
                      <a:lnTo>
                        <a:pt x="29410" y="940544"/>
                      </a:lnTo>
                      <a:lnTo>
                        <a:pt x="30782" y="942062"/>
                      </a:lnTo>
                      <a:lnTo>
                        <a:pt x="31159" y="942474"/>
                      </a:lnTo>
                      <a:lnTo>
                        <a:pt x="31608" y="942802"/>
                      </a:lnTo>
                      <a:lnTo>
                        <a:pt x="33041" y="943895"/>
                      </a:lnTo>
                      <a:lnTo>
                        <a:pt x="33672" y="944381"/>
                      </a:lnTo>
                      <a:lnTo>
                        <a:pt x="34413" y="944684"/>
                      </a:lnTo>
                      <a:lnTo>
                        <a:pt x="36344" y="945462"/>
                      </a:lnTo>
                      <a:lnTo>
                        <a:pt x="36319" y="945510"/>
                      </a:lnTo>
                      <a:lnTo>
                        <a:pt x="35518" y="947258"/>
                      </a:lnTo>
                      <a:lnTo>
                        <a:pt x="34692" y="949068"/>
                      </a:lnTo>
                      <a:lnTo>
                        <a:pt x="35093" y="951011"/>
                      </a:lnTo>
                      <a:lnTo>
                        <a:pt x="35506" y="953002"/>
                      </a:lnTo>
                      <a:lnTo>
                        <a:pt x="36307" y="956925"/>
                      </a:lnTo>
                      <a:lnTo>
                        <a:pt x="40242" y="957726"/>
                      </a:lnTo>
                      <a:lnTo>
                        <a:pt x="51498" y="960009"/>
                      </a:lnTo>
                      <a:lnTo>
                        <a:pt x="51935" y="960094"/>
                      </a:lnTo>
                      <a:lnTo>
                        <a:pt x="52385" y="960118"/>
                      </a:lnTo>
                      <a:lnTo>
                        <a:pt x="57691" y="960409"/>
                      </a:lnTo>
                      <a:lnTo>
                        <a:pt x="61953" y="961405"/>
                      </a:lnTo>
                      <a:lnTo>
                        <a:pt x="65317" y="962559"/>
                      </a:lnTo>
                      <a:lnTo>
                        <a:pt x="66106" y="962814"/>
                      </a:lnTo>
                      <a:lnTo>
                        <a:pt x="66944" y="962850"/>
                      </a:lnTo>
                      <a:lnTo>
                        <a:pt x="70222" y="963008"/>
                      </a:lnTo>
                      <a:lnTo>
                        <a:pt x="70915" y="963045"/>
                      </a:lnTo>
                      <a:lnTo>
                        <a:pt x="71595" y="962923"/>
                      </a:lnTo>
                      <a:lnTo>
                        <a:pt x="73428" y="962595"/>
                      </a:lnTo>
                      <a:lnTo>
                        <a:pt x="75165" y="962279"/>
                      </a:lnTo>
                      <a:lnTo>
                        <a:pt x="76452" y="961089"/>
                      </a:lnTo>
                      <a:lnTo>
                        <a:pt x="77484" y="960142"/>
                      </a:lnTo>
                      <a:lnTo>
                        <a:pt x="78492" y="959207"/>
                      </a:lnTo>
                      <a:lnTo>
                        <a:pt x="79002" y="957944"/>
                      </a:lnTo>
                      <a:lnTo>
                        <a:pt x="79463" y="956791"/>
                      </a:lnTo>
                      <a:lnTo>
                        <a:pt x="79682" y="956245"/>
                      </a:lnTo>
                      <a:lnTo>
                        <a:pt x="79791" y="955662"/>
                      </a:lnTo>
                      <a:lnTo>
                        <a:pt x="80083" y="954144"/>
                      </a:lnTo>
                      <a:lnTo>
                        <a:pt x="80241" y="953342"/>
                      </a:lnTo>
                      <a:lnTo>
                        <a:pt x="80180" y="952517"/>
                      </a:lnTo>
                      <a:lnTo>
                        <a:pt x="79840" y="948412"/>
                      </a:lnTo>
                      <a:lnTo>
                        <a:pt x="79913" y="948133"/>
                      </a:lnTo>
                      <a:lnTo>
                        <a:pt x="80083" y="947805"/>
                      </a:lnTo>
                      <a:lnTo>
                        <a:pt x="82050" y="945304"/>
                      </a:lnTo>
                      <a:lnTo>
                        <a:pt x="84223" y="942049"/>
                      </a:lnTo>
                      <a:lnTo>
                        <a:pt x="84284" y="941989"/>
                      </a:lnTo>
                      <a:lnTo>
                        <a:pt x="85523" y="942742"/>
                      </a:lnTo>
                      <a:lnTo>
                        <a:pt x="86021" y="943045"/>
                      </a:lnTo>
                      <a:lnTo>
                        <a:pt x="86567" y="943251"/>
                      </a:lnTo>
                      <a:lnTo>
                        <a:pt x="88401" y="943944"/>
                      </a:lnTo>
                      <a:lnTo>
                        <a:pt x="89032" y="944186"/>
                      </a:lnTo>
                      <a:lnTo>
                        <a:pt x="89700" y="944284"/>
                      </a:lnTo>
                      <a:lnTo>
                        <a:pt x="92578" y="944684"/>
                      </a:lnTo>
                      <a:lnTo>
                        <a:pt x="93063" y="944757"/>
                      </a:lnTo>
                      <a:lnTo>
                        <a:pt x="93549" y="944745"/>
                      </a:lnTo>
                      <a:lnTo>
                        <a:pt x="97581" y="944660"/>
                      </a:lnTo>
                      <a:lnTo>
                        <a:pt x="98236" y="944648"/>
                      </a:lnTo>
                      <a:lnTo>
                        <a:pt x="98868" y="944490"/>
                      </a:lnTo>
                      <a:lnTo>
                        <a:pt x="101855" y="943761"/>
                      </a:lnTo>
                      <a:lnTo>
                        <a:pt x="102899" y="945340"/>
                      </a:lnTo>
                      <a:lnTo>
                        <a:pt x="103871" y="946809"/>
                      </a:lnTo>
                      <a:lnTo>
                        <a:pt x="104672" y="948024"/>
                      </a:lnTo>
                      <a:lnTo>
                        <a:pt x="105935" y="948752"/>
                      </a:lnTo>
                      <a:lnTo>
                        <a:pt x="107890" y="949869"/>
                      </a:lnTo>
                      <a:lnTo>
                        <a:pt x="108691" y="950319"/>
                      </a:lnTo>
                      <a:lnTo>
                        <a:pt x="109602" y="950525"/>
                      </a:lnTo>
                      <a:lnTo>
                        <a:pt x="114581" y="951618"/>
                      </a:lnTo>
                      <a:lnTo>
                        <a:pt x="115892" y="952043"/>
                      </a:lnTo>
                      <a:lnTo>
                        <a:pt x="118078" y="955334"/>
                      </a:lnTo>
                      <a:lnTo>
                        <a:pt x="118345" y="955734"/>
                      </a:lnTo>
                      <a:lnTo>
                        <a:pt x="118673" y="956087"/>
                      </a:lnTo>
                      <a:lnTo>
                        <a:pt x="120628" y="958212"/>
                      </a:lnTo>
                      <a:lnTo>
                        <a:pt x="121259" y="958892"/>
                      </a:lnTo>
                      <a:lnTo>
                        <a:pt x="122061" y="959353"/>
                      </a:lnTo>
                      <a:lnTo>
                        <a:pt x="124586" y="960810"/>
                      </a:lnTo>
                      <a:lnTo>
                        <a:pt x="126032" y="961648"/>
                      </a:lnTo>
                      <a:lnTo>
                        <a:pt x="127695" y="961624"/>
                      </a:lnTo>
                      <a:lnTo>
                        <a:pt x="129881" y="961599"/>
                      </a:lnTo>
                      <a:lnTo>
                        <a:pt x="131945" y="961575"/>
                      </a:lnTo>
                      <a:lnTo>
                        <a:pt x="133560" y="960312"/>
                      </a:lnTo>
                      <a:lnTo>
                        <a:pt x="134993" y="959183"/>
                      </a:lnTo>
                      <a:lnTo>
                        <a:pt x="136912" y="957677"/>
                      </a:lnTo>
                      <a:lnTo>
                        <a:pt x="137252" y="955261"/>
                      </a:lnTo>
                      <a:lnTo>
                        <a:pt x="137482" y="953634"/>
                      </a:lnTo>
                      <a:lnTo>
                        <a:pt x="137701" y="952116"/>
                      </a:lnTo>
                      <a:lnTo>
                        <a:pt x="137179" y="950683"/>
                      </a:lnTo>
                      <a:lnTo>
                        <a:pt x="137045" y="950319"/>
                      </a:lnTo>
                      <a:lnTo>
                        <a:pt x="137494" y="950379"/>
                      </a:lnTo>
                      <a:lnTo>
                        <a:pt x="138405" y="950477"/>
                      </a:lnTo>
                      <a:lnTo>
                        <a:pt x="138393" y="950549"/>
                      </a:lnTo>
                      <a:lnTo>
                        <a:pt x="138004" y="952383"/>
                      </a:lnTo>
                      <a:lnTo>
                        <a:pt x="137871" y="953014"/>
                      </a:lnTo>
                      <a:lnTo>
                        <a:pt x="137871" y="953658"/>
                      </a:lnTo>
                      <a:lnTo>
                        <a:pt x="137871" y="955358"/>
                      </a:lnTo>
                      <a:lnTo>
                        <a:pt x="137871" y="955941"/>
                      </a:lnTo>
                      <a:lnTo>
                        <a:pt x="137980" y="956512"/>
                      </a:lnTo>
                      <a:lnTo>
                        <a:pt x="138320" y="958260"/>
                      </a:lnTo>
                      <a:lnTo>
                        <a:pt x="138417" y="958758"/>
                      </a:lnTo>
                      <a:lnTo>
                        <a:pt x="138600" y="959232"/>
                      </a:lnTo>
                      <a:lnTo>
                        <a:pt x="139571" y="961842"/>
                      </a:lnTo>
                      <a:lnTo>
                        <a:pt x="132989" y="962073"/>
                      </a:lnTo>
                      <a:lnTo>
                        <a:pt x="132637" y="962085"/>
                      </a:lnTo>
                      <a:lnTo>
                        <a:pt x="132297" y="962146"/>
                      </a:lnTo>
                      <a:lnTo>
                        <a:pt x="129711" y="962535"/>
                      </a:lnTo>
                      <a:lnTo>
                        <a:pt x="129031" y="962632"/>
                      </a:lnTo>
                      <a:lnTo>
                        <a:pt x="128387" y="962887"/>
                      </a:lnTo>
                      <a:lnTo>
                        <a:pt x="126906" y="963470"/>
                      </a:lnTo>
                      <a:lnTo>
                        <a:pt x="126384" y="963676"/>
                      </a:lnTo>
                      <a:lnTo>
                        <a:pt x="125898" y="963979"/>
                      </a:lnTo>
                      <a:lnTo>
                        <a:pt x="124623" y="964781"/>
                      </a:lnTo>
                      <a:lnTo>
                        <a:pt x="123943" y="965206"/>
                      </a:lnTo>
                      <a:lnTo>
                        <a:pt x="123396" y="965801"/>
                      </a:lnTo>
                      <a:lnTo>
                        <a:pt x="120179" y="969310"/>
                      </a:lnTo>
                      <a:lnTo>
                        <a:pt x="117337" y="971569"/>
                      </a:lnTo>
                      <a:lnTo>
                        <a:pt x="116827" y="971969"/>
                      </a:lnTo>
                      <a:lnTo>
                        <a:pt x="116414" y="972467"/>
                      </a:lnTo>
                      <a:lnTo>
                        <a:pt x="115783" y="973232"/>
                      </a:lnTo>
                      <a:lnTo>
                        <a:pt x="115139" y="973998"/>
                      </a:lnTo>
                      <a:lnTo>
                        <a:pt x="114787" y="974944"/>
                      </a:lnTo>
                      <a:lnTo>
                        <a:pt x="114556" y="975564"/>
                      </a:lnTo>
                      <a:lnTo>
                        <a:pt x="113233" y="979097"/>
                      </a:lnTo>
                      <a:lnTo>
                        <a:pt x="115807" y="981854"/>
                      </a:lnTo>
                      <a:lnTo>
                        <a:pt x="116439" y="982534"/>
                      </a:lnTo>
                      <a:lnTo>
                        <a:pt x="117507" y="983687"/>
                      </a:lnTo>
                      <a:lnTo>
                        <a:pt x="116196" y="985412"/>
                      </a:lnTo>
                      <a:lnTo>
                        <a:pt x="115880" y="985825"/>
                      </a:lnTo>
                      <a:lnTo>
                        <a:pt x="115637" y="986298"/>
                      </a:lnTo>
                      <a:lnTo>
                        <a:pt x="115006" y="987537"/>
                      </a:lnTo>
                      <a:lnTo>
                        <a:pt x="114605" y="988302"/>
                      </a:lnTo>
                      <a:lnTo>
                        <a:pt x="114447" y="989152"/>
                      </a:lnTo>
                      <a:lnTo>
                        <a:pt x="114277" y="990038"/>
                      </a:lnTo>
                      <a:lnTo>
                        <a:pt x="114022" y="991337"/>
                      </a:lnTo>
                      <a:lnTo>
                        <a:pt x="114338" y="992625"/>
                      </a:lnTo>
                      <a:lnTo>
                        <a:pt x="114423" y="992952"/>
                      </a:lnTo>
                      <a:lnTo>
                        <a:pt x="113998" y="992710"/>
                      </a:lnTo>
                      <a:lnTo>
                        <a:pt x="112735" y="992576"/>
                      </a:lnTo>
                      <a:lnTo>
                        <a:pt x="111217" y="992430"/>
                      </a:lnTo>
                      <a:lnTo>
                        <a:pt x="110841" y="992297"/>
                      </a:lnTo>
                      <a:lnTo>
                        <a:pt x="109966" y="991872"/>
                      </a:lnTo>
                      <a:lnTo>
                        <a:pt x="109505" y="991629"/>
                      </a:lnTo>
                      <a:lnTo>
                        <a:pt x="109007" y="991483"/>
                      </a:lnTo>
                      <a:lnTo>
                        <a:pt x="107623" y="991070"/>
                      </a:lnTo>
                      <a:lnTo>
                        <a:pt x="106761" y="990815"/>
                      </a:lnTo>
                      <a:lnTo>
                        <a:pt x="105874" y="990815"/>
                      </a:lnTo>
                      <a:lnTo>
                        <a:pt x="104514" y="990815"/>
                      </a:lnTo>
                      <a:lnTo>
                        <a:pt x="103773" y="990815"/>
                      </a:lnTo>
                      <a:lnTo>
                        <a:pt x="103057" y="990998"/>
                      </a:lnTo>
                      <a:lnTo>
                        <a:pt x="91570" y="993827"/>
                      </a:lnTo>
                      <a:lnTo>
                        <a:pt x="90101" y="993985"/>
                      </a:lnTo>
                      <a:lnTo>
                        <a:pt x="85256" y="993851"/>
                      </a:lnTo>
                      <a:lnTo>
                        <a:pt x="84843" y="993839"/>
                      </a:lnTo>
                      <a:lnTo>
                        <a:pt x="84442" y="993887"/>
                      </a:lnTo>
                      <a:lnTo>
                        <a:pt x="81661" y="994179"/>
                      </a:lnTo>
                      <a:lnTo>
                        <a:pt x="80131" y="992090"/>
                      </a:lnTo>
                      <a:lnTo>
                        <a:pt x="79816" y="991653"/>
                      </a:lnTo>
                      <a:lnTo>
                        <a:pt x="79415" y="991277"/>
                      </a:lnTo>
                      <a:lnTo>
                        <a:pt x="78322" y="990245"/>
                      </a:lnTo>
                      <a:lnTo>
                        <a:pt x="77690" y="989638"/>
                      </a:lnTo>
                      <a:lnTo>
                        <a:pt x="76913" y="989249"/>
                      </a:lnTo>
                      <a:lnTo>
                        <a:pt x="75517" y="988533"/>
                      </a:lnTo>
                      <a:lnTo>
                        <a:pt x="75068" y="988302"/>
                      </a:lnTo>
                      <a:lnTo>
                        <a:pt x="74582" y="988144"/>
                      </a:lnTo>
                      <a:lnTo>
                        <a:pt x="72930" y="987622"/>
                      </a:lnTo>
                      <a:lnTo>
                        <a:pt x="72615" y="987512"/>
                      </a:lnTo>
                      <a:lnTo>
                        <a:pt x="72299" y="987452"/>
                      </a:lnTo>
                      <a:lnTo>
                        <a:pt x="67053" y="986407"/>
                      </a:lnTo>
                      <a:lnTo>
                        <a:pt x="64770" y="985630"/>
                      </a:lnTo>
                      <a:lnTo>
                        <a:pt x="62742" y="984671"/>
                      </a:lnTo>
                      <a:lnTo>
                        <a:pt x="62718" y="984659"/>
                      </a:lnTo>
                      <a:lnTo>
                        <a:pt x="62427" y="984173"/>
                      </a:lnTo>
                      <a:lnTo>
                        <a:pt x="61941" y="982862"/>
                      </a:lnTo>
                      <a:lnTo>
                        <a:pt x="61067" y="979486"/>
                      </a:lnTo>
                      <a:lnTo>
                        <a:pt x="59853" y="970488"/>
                      </a:lnTo>
                      <a:lnTo>
                        <a:pt x="59792" y="970063"/>
                      </a:lnTo>
                      <a:lnTo>
                        <a:pt x="59682" y="969662"/>
                      </a:lnTo>
                      <a:lnTo>
                        <a:pt x="59221" y="968011"/>
                      </a:lnTo>
                      <a:lnTo>
                        <a:pt x="59027" y="967306"/>
                      </a:lnTo>
                      <a:lnTo>
                        <a:pt x="58662" y="966663"/>
                      </a:lnTo>
                      <a:lnTo>
                        <a:pt x="57970" y="965424"/>
                      </a:lnTo>
                      <a:lnTo>
                        <a:pt x="56452" y="962729"/>
                      </a:lnTo>
                      <a:lnTo>
                        <a:pt x="53380" y="962365"/>
                      </a:lnTo>
                      <a:lnTo>
                        <a:pt x="52457" y="962255"/>
                      </a:lnTo>
                      <a:lnTo>
                        <a:pt x="51085" y="962097"/>
                      </a:lnTo>
                      <a:lnTo>
                        <a:pt x="50891" y="962158"/>
                      </a:lnTo>
                      <a:lnTo>
                        <a:pt x="50077" y="961441"/>
                      </a:lnTo>
                      <a:lnTo>
                        <a:pt x="49798" y="961186"/>
                      </a:lnTo>
                      <a:lnTo>
                        <a:pt x="49482" y="960968"/>
                      </a:lnTo>
                      <a:lnTo>
                        <a:pt x="48560" y="960349"/>
                      </a:lnTo>
                      <a:lnTo>
                        <a:pt x="47916" y="959912"/>
                      </a:lnTo>
                      <a:lnTo>
                        <a:pt x="47187" y="959656"/>
                      </a:lnTo>
                      <a:lnTo>
                        <a:pt x="46155" y="959292"/>
                      </a:lnTo>
                      <a:lnTo>
                        <a:pt x="45026" y="958892"/>
                      </a:lnTo>
                      <a:lnTo>
                        <a:pt x="43824" y="958952"/>
                      </a:lnTo>
                      <a:lnTo>
                        <a:pt x="42852" y="959001"/>
                      </a:lnTo>
                      <a:lnTo>
                        <a:pt x="41420" y="959074"/>
                      </a:lnTo>
                      <a:lnTo>
                        <a:pt x="40169" y="959778"/>
                      </a:lnTo>
                      <a:lnTo>
                        <a:pt x="39076" y="960397"/>
                      </a:lnTo>
                      <a:lnTo>
                        <a:pt x="38105" y="960944"/>
                      </a:lnTo>
                      <a:lnTo>
                        <a:pt x="37388" y="961794"/>
                      </a:lnTo>
                      <a:lnTo>
                        <a:pt x="36526" y="962826"/>
                      </a:lnTo>
                      <a:lnTo>
                        <a:pt x="36295" y="963105"/>
                      </a:lnTo>
                      <a:lnTo>
                        <a:pt x="36198" y="963263"/>
                      </a:lnTo>
                      <a:lnTo>
                        <a:pt x="35725" y="963348"/>
                      </a:lnTo>
                      <a:lnTo>
                        <a:pt x="34984" y="963494"/>
                      </a:lnTo>
                      <a:lnTo>
                        <a:pt x="34292" y="963797"/>
                      </a:lnTo>
                      <a:lnTo>
                        <a:pt x="32859" y="964453"/>
                      </a:lnTo>
                      <a:lnTo>
                        <a:pt x="31547" y="965060"/>
                      </a:lnTo>
                      <a:lnTo>
                        <a:pt x="30637" y="966190"/>
                      </a:lnTo>
                      <a:lnTo>
                        <a:pt x="29264" y="967914"/>
                      </a:lnTo>
                      <a:lnTo>
                        <a:pt x="27941" y="969577"/>
                      </a:lnTo>
                      <a:lnTo>
                        <a:pt x="27941" y="971714"/>
                      </a:lnTo>
                      <a:lnTo>
                        <a:pt x="27941" y="973281"/>
                      </a:lnTo>
                      <a:lnTo>
                        <a:pt x="27941" y="974933"/>
                      </a:lnTo>
                      <a:lnTo>
                        <a:pt x="28779" y="976353"/>
                      </a:lnTo>
                      <a:lnTo>
                        <a:pt x="29702" y="977932"/>
                      </a:lnTo>
                      <a:lnTo>
                        <a:pt x="30114" y="978648"/>
                      </a:lnTo>
                      <a:lnTo>
                        <a:pt x="30697" y="979219"/>
                      </a:lnTo>
                      <a:lnTo>
                        <a:pt x="41213" y="989467"/>
                      </a:lnTo>
                      <a:lnTo>
                        <a:pt x="41201" y="989492"/>
                      </a:lnTo>
                      <a:lnTo>
                        <a:pt x="40569" y="991265"/>
                      </a:lnTo>
                      <a:lnTo>
                        <a:pt x="40290" y="992066"/>
                      </a:lnTo>
                      <a:lnTo>
                        <a:pt x="40242" y="992904"/>
                      </a:lnTo>
                      <a:lnTo>
                        <a:pt x="40011" y="996620"/>
                      </a:lnTo>
                      <a:lnTo>
                        <a:pt x="39938" y="997810"/>
                      </a:lnTo>
                      <a:lnTo>
                        <a:pt x="40314" y="998939"/>
                      </a:lnTo>
                      <a:lnTo>
                        <a:pt x="41007" y="1001003"/>
                      </a:lnTo>
                      <a:lnTo>
                        <a:pt x="41322" y="1001950"/>
                      </a:lnTo>
                      <a:lnTo>
                        <a:pt x="41929" y="1002740"/>
                      </a:lnTo>
                      <a:lnTo>
                        <a:pt x="43022" y="1004173"/>
                      </a:lnTo>
                      <a:lnTo>
                        <a:pt x="43642" y="1004974"/>
                      </a:lnTo>
                      <a:lnTo>
                        <a:pt x="44492" y="1005545"/>
                      </a:lnTo>
                      <a:lnTo>
                        <a:pt x="45147" y="1005982"/>
                      </a:lnTo>
                      <a:lnTo>
                        <a:pt x="45208" y="1006042"/>
                      </a:lnTo>
                      <a:lnTo>
                        <a:pt x="46532" y="1007876"/>
                      </a:lnTo>
                      <a:lnTo>
                        <a:pt x="49021" y="1012199"/>
                      </a:lnTo>
                      <a:lnTo>
                        <a:pt x="50345" y="1014130"/>
                      </a:lnTo>
                      <a:lnTo>
                        <a:pt x="50600" y="1014494"/>
                      </a:lnTo>
                      <a:lnTo>
                        <a:pt x="50903" y="1014810"/>
                      </a:lnTo>
                      <a:lnTo>
                        <a:pt x="53854" y="1017918"/>
                      </a:lnTo>
                      <a:lnTo>
                        <a:pt x="53380" y="1018343"/>
                      </a:lnTo>
                      <a:lnTo>
                        <a:pt x="52992" y="1018890"/>
                      </a:lnTo>
                      <a:lnTo>
                        <a:pt x="52312" y="1019849"/>
                      </a:lnTo>
                      <a:lnTo>
                        <a:pt x="52057" y="1020189"/>
                      </a:lnTo>
                      <a:lnTo>
                        <a:pt x="51862" y="1020566"/>
                      </a:lnTo>
                      <a:lnTo>
                        <a:pt x="51110" y="1022023"/>
                      </a:lnTo>
                      <a:lnTo>
                        <a:pt x="50842" y="1022545"/>
                      </a:lnTo>
                      <a:lnTo>
                        <a:pt x="50672" y="1023116"/>
                      </a:lnTo>
                      <a:lnTo>
                        <a:pt x="50393" y="1024099"/>
                      </a:lnTo>
                      <a:lnTo>
                        <a:pt x="50260" y="1024403"/>
                      </a:lnTo>
                      <a:lnTo>
                        <a:pt x="49907" y="1024888"/>
                      </a:lnTo>
                      <a:lnTo>
                        <a:pt x="47527" y="1027475"/>
                      </a:lnTo>
                      <a:lnTo>
                        <a:pt x="46143" y="1029199"/>
                      </a:lnTo>
                      <a:lnTo>
                        <a:pt x="45342" y="1030207"/>
                      </a:lnTo>
                      <a:lnTo>
                        <a:pt x="45026" y="1031446"/>
                      </a:lnTo>
                      <a:lnTo>
                        <a:pt x="44382" y="1033911"/>
                      </a:lnTo>
                      <a:lnTo>
                        <a:pt x="44188" y="1034663"/>
                      </a:lnTo>
                      <a:lnTo>
                        <a:pt x="44188" y="1035429"/>
                      </a:lnTo>
                      <a:lnTo>
                        <a:pt x="44188" y="1037930"/>
                      </a:lnTo>
                      <a:lnTo>
                        <a:pt x="44188" y="1038379"/>
                      </a:lnTo>
                      <a:lnTo>
                        <a:pt x="44249" y="1038829"/>
                      </a:lnTo>
                      <a:lnTo>
                        <a:pt x="44989" y="1043734"/>
                      </a:lnTo>
                      <a:lnTo>
                        <a:pt x="45050" y="1044147"/>
                      </a:lnTo>
                      <a:lnTo>
                        <a:pt x="45172" y="1044548"/>
                      </a:lnTo>
                      <a:lnTo>
                        <a:pt x="45985" y="1047304"/>
                      </a:lnTo>
                      <a:lnTo>
                        <a:pt x="46094" y="1047681"/>
                      </a:lnTo>
                      <a:lnTo>
                        <a:pt x="46252" y="1048045"/>
                      </a:lnTo>
                      <a:lnTo>
                        <a:pt x="47406" y="1050631"/>
                      </a:lnTo>
                      <a:lnTo>
                        <a:pt x="48195" y="1052404"/>
                      </a:lnTo>
                      <a:lnTo>
                        <a:pt x="49883" y="1053400"/>
                      </a:lnTo>
                      <a:lnTo>
                        <a:pt x="50915" y="1054007"/>
                      </a:lnTo>
                      <a:lnTo>
                        <a:pt x="53550" y="1055549"/>
                      </a:lnTo>
                      <a:lnTo>
                        <a:pt x="56355" y="1054347"/>
                      </a:lnTo>
                      <a:lnTo>
                        <a:pt x="57388" y="1053910"/>
                      </a:lnTo>
                      <a:lnTo>
                        <a:pt x="59136" y="1053157"/>
                      </a:lnTo>
                      <a:lnTo>
                        <a:pt x="59379" y="1052769"/>
                      </a:lnTo>
                      <a:lnTo>
                        <a:pt x="60702" y="1054007"/>
                      </a:lnTo>
                      <a:lnTo>
                        <a:pt x="61759" y="1054991"/>
                      </a:lnTo>
                      <a:lnTo>
                        <a:pt x="63143" y="1055391"/>
                      </a:lnTo>
                      <a:lnTo>
                        <a:pt x="64734" y="1055853"/>
                      </a:lnTo>
                      <a:lnTo>
                        <a:pt x="67077" y="1056533"/>
                      </a:lnTo>
                      <a:lnTo>
                        <a:pt x="69239" y="1055404"/>
                      </a:lnTo>
                      <a:lnTo>
                        <a:pt x="70623" y="1054675"/>
                      </a:lnTo>
                      <a:lnTo>
                        <a:pt x="72226" y="1053837"/>
                      </a:lnTo>
                      <a:lnTo>
                        <a:pt x="73113" y="1052246"/>
                      </a:lnTo>
                      <a:lnTo>
                        <a:pt x="73270" y="1051967"/>
                      </a:lnTo>
                      <a:lnTo>
                        <a:pt x="73720" y="1052089"/>
                      </a:lnTo>
                      <a:lnTo>
                        <a:pt x="76148" y="1052562"/>
                      </a:lnTo>
                      <a:lnTo>
                        <a:pt x="76561" y="1052635"/>
                      </a:lnTo>
                      <a:lnTo>
                        <a:pt x="76986" y="1052659"/>
                      </a:lnTo>
                      <a:lnTo>
                        <a:pt x="79050" y="1052744"/>
                      </a:lnTo>
                      <a:lnTo>
                        <a:pt x="79718" y="1052769"/>
                      </a:lnTo>
                      <a:lnTo>
                        <a:pt x="80374" y="1052647"/>
                      </a:lnTo>
                      <a:lnTo>
                        <a:pt x="82281" y="1052307"/>
                      </a:lnTo>
                      <a:lnTo>
                        <a:pt x="83373" y="1052101"/>
                      </a:lnTo>
                      <a:lnTo>
                        <a:pt x="84333" y="1051530"/>
                      </a:lnTo>
                      <a:lnTo>
                        <a:pt x="85814" y="1050644"/>
                      </a:lnTo>
                      <a:lnTo>
                        <a:pt x="87065" y="1049891"/>
                      </a:lnTo>
                      <a:lnTo>
                        <a:pt x="87842" y="1048640"/>
                      </a:lnTo>
                      <a:lnTo>
                        <a:pt x="88825" y="1047062"/>
                      </a:lnTo>
                      <a:lnTo>
                        <a:pt x="89688" y="1045689"/>
                      </a:lnTo>
                      <a:lnTo>
                        <a:pt x="89736" y="1044062"/>
                      </a:lnTo>
                      <a:lnTo>
                        <a:pt x="89797" y="1042411"/>
                      </a:lnTo>
                      <a:lnTo>
                        <a:pt x="89833" y="1041330"/>
                      </a:lnTo>
                      <a:lnTo>
                        <a:pt x="89493" y="1040286"/>
                      </a:lnTo>
                      <a:lnTo>
                        <a:pt x="88680" y="1037808"/>
                      </a:lnTo>
                      <a:lnTo>
                        <a:pt x="88607" y="1037335"/>
                      </a:lnTo>
                      <a:lnTo>
                        <a:pt x="88643" y="1036121"/>
                      </a:lnTo>
                      <a:lnTo>
                        <a:pt x="88656" y="1035732"/>
                      </a:lnTo>
                      <a:lnTo>
                        <a:pt x="88619" y="1035343"/>
                      </a:lnTo>
                      <a:lnTo>
                        <a:pt x="88376" y="1032806"/>
                      </a:lnTo>
                      <a:lnTo>
                        <a:pt x="88267" y="1031652"/>
                      </a:lnTo>
                      <a:lnTo>
                        <a:pt x="87988" y="1031094"/>
                      </a:lnTo>
                      <a:lnTo>
                        <a:pt x="88923" y="1031130"/>
                      </a:lnTo>
                      <a:lnTo>
                        <a:pt x="90963" y="1031191"/>
                      </a:lnTo>
                      <a:lnTo>
                        <a:pt x="92626" y="1030013"/>
                      </a:lnTo>
                      <a:lnTo>
                        <a:pt x="94387" y="1028762"/>
                      </a:lnTo>
                      <a:lnTo>
                        <a:pt x="95395" y="1030025"/>
                      </a:lnTo>
                      <a:lnTo>
                        <a:pt x="96743" y="1031737"/>
                      </a:lnTo>
                      <a:lnTo>
                        <a:pt x="98868" y="1032199"/>
                      </a:lnTo>
                      <a:lnTo>
                        <a:pt x="100774" y="1032611"/>
                      </a:lnTo>
                      <a:lnTo>
                        <a:pt x="101831" y="1032854"/>
                      </a:lnTo>
                      <a:lnTo>
                        <a:pt x="102899" y="1032696"/>
                      </a:lnTo>
                      <a:lnTo>
                        <a:pt x="105255" y="1032368"/>
                      </a:lnTo>
                      <a:lnTo>
                        <a:pt x="105911" y="1032733"/>
                      </a:lnTo>
                      <a:lnTo>
                        <a:pt x="108133" y="1034275"/>
                      </a:lnTo>
                      <a:lnTo>
                        <a:pt x="108740" y="1034688"/>
                      </a:lnTo>
                      <a:lnTo>
                        <a:pt x="109432" y="1034943"/>
                      </a:lnTo>
                      <a:lnTo>
                        <a:pt x="111387" y="1035696"/>
                      </a:lnTo>
                      <a:lnTo>
                        <a:pt x="112298" y="1036048"/>
                      </a:lnTo>
                      <a:lnTo>
                        <a:pt x="113281" y="1036096"/>
                      </a:lnTo>
                      <a:lnTo>
                        <a:pt x="115164" y="1036169"/>
                      </a:lnTo>
                      <a:lnTo>
                        <a:pt x="115916" y="1036206"/>
                      </a:lnTo>
                      <a:lnTo>
                        <a:pt x="116657" y="1036048"/>
                      </a:lnTo>
                      <a:lnTo>
                        <a:pt x="117811" y="1035805"/>
                      </a:lnTo>
                      <a:lnTo>
                        <a:pt x="118017" y="1035793"/>
                      </a:lnTo>
                      <a:lnTo>
                        <a:pt x="120628" y="1036242"/>
                      </a:lnTo>
                      <a:lnTo>
                        <a:pt x="123579" y="1037056"/>
                      </a:lnTo>
                      <a:lnTo>
                        <a:pt x="124793" y="1037371"/>
                      </a:lnTo>
                      <a:lnTo>
                        <a:pt x="126032" y="1037189"/>
                      </a:lnTo>
                      <a:lnTo>
                        <a:pt x="127707" y="1036934"/>
                      </a:lnTo>
                      <a:lnTo>
                        <a:pt x="127889" y="1037396"/>
                      </a:lnTo>
                      <a:lnTo>
                        <a:pt x="128254" y="1038294"/>
                      </a:lnTo>
                      <a:lnTo>
                        <a:pt x="128873" y="1039047"/>
                      </a:lnTo>
                      <a:lnTo>
                        <a:pt x="130197" y="1040626"/>
                      </a:lnTo>
                      <a:lnTo>
                        <a:pt x="130889" y="1041439"/>
                      </a:lnTo>
                      <a:lnTo>
                        <a:pt x="131824" y="1041974"/>
                      </a:lnTo>
                      <a:lnTo>
                        <a:pt x="133038" y="1042678"/>
                      </a:lnTo>
                      <a:lnTo>
                        <a:pt x="133208" y="1043237"/>
                      </a:lnTo>
                      <a:lnTo>
                        <a:pt x="133536" y="1044985"/>
                      </a:lnTo>
                      <a:lnTo>
                        <a:pt x="133621" y="1045434"/>
                      </a:lnTo>
                      <a:lnTo>
                        <a:pt x="133779" y="1045871"/>
                      </a:lnTo>
                      <a:lnTo>
                        <a:pt x="135163" y="1049818"/>
                      </a:lnTo>
                      <a:lnTo>
                        <a:pt x="135369" y="1050668"/>
                      </a:lnTo>
                      <a:lnTo>
                        <a:pt x="135333" y="1054894"/>
                      </a:lnTo>
                      <a:lnTo>
                        <a:pt x="135333" y="1055319"/>
                      </a:lnTo>
                      <a:lnTo>
                        <a:pt x="135381" y="1055732"/>
                      </a:lnTo>
                      <a:lnTo>
                        <a:pt x="135782" y="1058791"/>
                      </a:lnTo>
                      <a:lnTo>
                        <a:pt x="136232" y="1062289"/>
                      </a:lnTo>
                      <a:lnTo>
                        <a:pt x="139498" y="1063624"/>
                      </a:lnTo>
                      <a:lnTo>
                        <a:pt x="140652" y="1064098"/>
                      </a:lnTo>
                      <a:lnTo>
                        <a:pt x="141647" y="1064499"/>
                      </a:lnTo>
                      <a:lnTo>
                        <a:pt x="142716" y="1064547"/>
                      </a:lnTo>
                      <a:lnTo>
                        <a:pt x="143627" y="1064584"/>
                      </a:lnTo>
                      <a:lnTo>
                        <a:pt x="145412" y="1064645"/>
                      </a:lnTo>
                      <a:lnTo>
                        <a:pt x="146954" y="1063746"/>
                      </a:lnTo>
                      <a:lnTo>
                        <a:pt x="146954" y="1063734"/>
                      </a:lnTo>
                      <a:lnTo>
                        <a:pt x="149589" y="1064001"/>
                      </a:lnTo>
                      <a:lnTo>
                        <a:pt x="150050" y="1064049"/>
                      </a:lnTo>
                      <a:lnTo>
                        <a:pt x="150512" y="1064025"/>
                      </a:lnTo>
                      <a:lnTo>
                        <a:pt x="151726" y="1063965"/>
                      </a:lnTo>
                      <a:lnTo>
                        <a:pt x="152649" y="1063928"/>
                      </a:lnTo>
                      <a:lnTo>
                        <a:pt x="153523" y="1063612"/>
                      </a:lnTo>
                      <a:lnTo>
                        <a:pt x="154555" y="1063236"/>
                      </a:lnTo>
                      <a:lnTo>
                        <a:pt x="155527" y="1062871"/>
                      </a:lnTo>
                      <a:lnTo>
                        <a:pt x="156316" y="1062216"/>
                      </a:lnTo>
                      <a:lnTo>
                        <a:pt x="160432" y="1058804"/>
                      </a:lnTo>
                      <a:lnTo>
                        <a:pt x="164136" y="1057079"/>
                      </a:lnTo>
                      <a:lnTo>
                        <a:pt x="164901" y="1056885"/>
                      </a:lnTo>
                      <a:lnTo>
                        <a:pt x="167682" y="1057140"/>
                      </a:lnTo>
                      <a:lnTo>
                        <a:pt x="168471" y="1057213"/>
                      </a:lnTo>
                      <a:lnTo>
                        <a:pt x="169260" y="1057079"/>
                      </a:lnTo>
                      <a:lnTo>
                        <a:pt x="170803" y="1056824"/>
                      </a:lnTo>
                      <a:lnTo>
                        <a:pt x="172575" y="1056533"/>
                      </a:lnTo>
                      <a:lnTo>
                        <a:pt x="173899" y="1055319"/>
                      </a:lnTo>
                      <a:lnTo>
                        <a:pt x="174530" y="1054736"/>
                      </a:lnTo>
                      <a:lnTo>
                        <a:pt x="177384" y="1052113"/>
                      </a:lnTo>
                      <a:lnTo>
                        <a:pt x="176364" y="1048883"/>
                      </a:lnTo>
                      <a:lnTo>
                        <a:pt x="176619" y="1048834"/>
                      </a:lnTo>
                      <a:lnTo>
                        <a:pt x="176643" y="1048883"/>
                      </a:lnTo>
                      <a:lnTo>
                        <a:pt x="177141" y="1049709"/>
                      </a:lnTo>
                      <a:lnTo>
                        <a:pt x="177870" y="1050352"/>
                      </a:lnTo>
                      <a:lnTo>
                        <a:pt x="179133" y="1051457"/>
                      </a:lnTo>
                      <a:lnTo>
                        <a:pt x="181209" y="1053266"/>
                      </a:lnTo>
                      <a:lnTo>
                        <a:pt x="183941" y="1052890"/>
                      </a:lnTo>
                      <a:lnTo>
                        <a:pt x="185083" y="1052732"/>
                      </a:lnTo>
                      <a:lnTo>
                        <a:pt x="187232" y="1052453"/>
                      </a:lnTo>
                      <a:lnTo>
                        <a:pt x="188713" y="1050874"/>
                      </a:lnTo>
                      <a:lnTo>
                        <a:pt x="189818" y="1049684"/>
                      </a:lnTo>
                      <a:lnTo>
                        <a:pt x="190644" y="1048798"/>
                      </a:lnTo>
                      <a:lnTo>
                        <a:pt x="191069" y="1047669"/>
                      </a:lnTo>
                      <a:lnTo>
                        <a:pt x="191798" y="1045726"/>
                      </a:lnTo>
                      <a:lnTo>
                        <a:pt x="192587" y="1042921"/>
                      </a:lnTo>
                      <a:lnTo>
                        <a:pt x="192708" y="1042617"/>
                      </a:lnTo>
                      <a:lnTo>
                        <a:pt x="192866" y="1042520"/>
                      </a:lnTo>
                      <a:lnTo>
                        <a:pt x="195283" y="1041864"/>
                      </a:lnTo>
                      <a:lnTo>
                        <a:pt x="195623" y="1041767"/>
                      </a:lnTo>
                      <a:lnTo>
                        <a:pt x="195951" y="1041633"/>
                      </a:lnTo>
                      <a:lnTo>
                        <a:pt x="197723" y="1040917"/>
                      </a:lnTo>
                      <a:lnTo>
                        <a:pt x="198088" y="1040771"/>
                      </a:lnTo>
                      <a:lnTo>
                        <a:pt x="198428" y="1040565"/>
                      </a:lnTo>
                      <a:lnTo>
                        <a:pt x="199593" y="1039909"/>
                      </a:lnTo>
                      <a:lnTo>
                        <a:pt x="200504" y="1039411"/>
                      </a:lnTo>
                      <a:lnTo>
                        <a:pt x="201184" y="1038634"/>
                      </a:lnTo>
                      <a:lnTo>
                        <a:pt x="203005" y="1036558"/>
                      </a:lnTo>
                      <a:lnTo>
                        <a:pt x="204025" y="1035684"/>
                      </a:lnTo>
                      <a:lnTo>
                        <a:pt x="207523" y="1033437"/>
                      </a:lnTo>
                      <a:lnTo>
                        <a:pt x="207826" y="1033243"/>
                      </a:lnTo>
                      <a:lnTo>
                        <a:pt x="208106" y="1033012"/>
                      </a:lnTo>
                      <a:lnTo>
                        <a:pt x="209636" y="1031749"/>
                      </a:lnTo>
                      <a:lnTo>
                        <a:pt x="210158" y="1031312"/>
                      </a:lnTo>
                      <a:lnTo>
                        <a:pt x="210571" y="1030778"/>
                      </a:lnTo>
                      <a:lnTo>
                        <a:pt x="211554" y="1029515"/>
                      </a:lnTo>
                      <a:lnTo>
                        <a:pt x="212186" y="1028701"/>
                      </a:lnTo>
                      <a:lnTo>
                        <a:pt x="212513" y="1027730"/>
                      </a:lnTo>
                      <a:lnTo>
                        <a:pt x="212975" y="1026358"/>
                      </a:lnTo>
                      <a:lnTo>
                        <a:pt x="213364" y="1025180"/>
                      </a:lnTo>
                      <a:lnTo>
                        <a:pt x="213266" y="1023929"/>
                      </a:lnTo>
                      <a:lnTo>
                        <a:pt x="213157" y="1022593"/>
                      </a:lnTo>
                      <a:lnTo>
                        <a:pt x="213048" y="1021282"/>
                      </a:lnTo>
                      <a:lnTo>
                        <a:pt x="212404" y="1020128"/>
                      </a:lnTo>
                      <a:lnTo>
                        <a:pt x="212016" y="1019436"/>
                      </a:lnTo>
                      <a:lnTo>
                        <a:pt x="214808" y="1019473"/>
                      </a:lnTo>
                      <a:lnTo>
                        <a:pt x="215221" y="1019837"/>
                      </a:lnTo>
                      <a:lnTo>
                        <a:pt x="215671" y="1020250"/>
                      </a:lnTo>
                      <a:lnTo>
                        <a:pt x="216193" y="1020553"/>
                      </a:lnTo>
                      <a:lnTo>
                        <a:pt x="217626" y="1021416"/>
                      </a:lnTo>
                      <a:lnTo>
                        <a:pt x="218415" y="1021901"/>
                      </a:lnTo>
                      <a:lnTo>
                        <a:pt x="219313" y="1022120"/>
                      </a:lnTo>
                      <a:lnTo>
                        <a:pt x="222131" y="1022812"/>
                      </a:lnTo>
                      <a:lnTo>
                        <a:pt x="223175" y="1023067"/>
                      </a:lnTo>
                      <a:lnTo>
                        <a:pt x="223175" y="1023808"/>
                      </a:lnTo>
                      <a:lnTo>
                        <a:pt x="223175" y="1025410"/>
                      </a:lnTo>
                      <a:lnTo>
                        <a:pt x="223175" y="1025823"/>
                      </a:lnTo>
                      <a:lnTo>
                        <a:pt x="223236" y="1026236"/>
                      </a:lnTo>
                      <a:lnTo>
                        <a:pt x="223806" y="1030414"/>
                      </a:lnTo>
                      <a:lnTo>
                        <a:pt x="224304" y="1032672"/>
                      </a:lnTo>
                      <a:lnTo>
                        <a:pt x="224377" y="1033000"/>
                      </a:lnTo>
                      <a:lnTo>
                        <a:pt x="224486" y="1033316"/>
                      </a:lnTo>
                      <a:lnTo>
                        <a:pt x="224948" y="1034627"/>
                      </a:lnTo>
                      <a:lnTo>
                        <a:pt x="225349" y="1035744"/>
                      </a:lnTo>
                      <a:lnTo>
                        <a:pt x="226138" y="1036643"/>
                      </a:lnTo>
                      <a:lnTo>
                        <a:pt x="226830" y="1037420"/>
                      </a:lnTo>
                      <a:lnTo>
                        <a:pt x="229781" y="1040735"/>
                      </a:lnTo>
                      <a:lnTo>
                        <a:pt x="233836" y="1038938"/>
                      </a:lnTo>
                      <a:lnTo>
                        <a:pt x="234747" y="1038537"/>
                      </a:lnTo>
                      <a:lnTo>
                        <a:pt x="235792" y="1038063"/>
                      </a:lnTo>
                      <a:lnTo>
                        <a:pt x="236593" y="1037250"/>
                      </a:lnTo>
                      <a:lnTo>
                        <a:pt x="237807" y="1036011"/>
                      </a:lnTo>
                      <a:lnTo>
                        <a:pt x="238111" y="1035708"/>
                      </a:lnTo>
                      <a:lnTo>
                        <a:pt x="238366" y="1035356"/>
                      </a:lnTo>
                      <a:lnTo>
                        <a:pt x="240685" y="1032199"/>
                      </a:lnTo>
                      <a:lnTo>
                        <a:pt x="241317" y="1031725"/>
                      </a:lnTo>
                      <a:lnTo>
                        <a:pt x="241657" y="1031761"/>
                      </a:lnTo>
                      <a:lnTo>
                        <a:pt x="242810" y="1032150"/>
                      </a:lnTo>
                      <a:lnTo>
                        <a:pt x="243357" y="1032344"/>
                      </a:lnTo>
                      <a:lnTo>
                        <a:pt x="243927" y="1032429"/>
                      </a:lnTo>
                      <a:lnTo>
                        <a:pt x="245020" y="1032587"/>
                      </a:lnTo>
                      <a:lnTo>
                        <a:pt x="246149" y="1032745"/>
                      </a:lnTo>
                      <a:lnTo>
                        <a:pt x="247255" y="1032490"/>
                      </a:lnTo>
                      <a:lnTo>
                        <a:pt x="248007" y="1032308"/>
                      </a:lnTo>
                      <a:lnTo>
                        <a:pt x="248894" y="1032101"/>
                      </a:lnTo>
                      <a:lnTo>
                        <a:pt x="249683" y="1031628"/>
                      </a:lnTo>
                      <a:lnTo>
                        <a:pt x="252306" y="1030098"/>
                      </a:lnTo>
                      <a:lnTo>
                        <a:pt x="256374" y="1032538"/>
                      </a:lnTo>
                      <a:lnTo>
                        <a:pt x="257588" y="1035392"/>
                      </a:lnTo>
                      <a:lnTo>
                        <a:pt x="258365" y="1038477"/>
                      </a:lnTo>
                      <a:lnTo>
                        <a:pt x="258450" y="1039739"/>
                      </a:lnTo>
                      <a:lnTo>
                        <a:pt x="258353" y="1040468"/>
                      </a:lnTo>
                      <a:lnTo>
                        <a:pt x="256957" y="1043188"/>
                      </a:lnTo>
                      <a:lnTo>
                        <a:pt x="256775" y="1043552"/>
                      </a:lnTo>
                      <a:lnTo>
                        <a:pt x="256641" y="1043941"/>
                      </a:lnTo>
                      <a:lnTo>
                        <a:pt x="255900" y="1046041"/>
                      </a:lnTo>
                      <a:lnTo>
                        <a:pt x="255244" y="1047887"/>
                      </a:lnTo>
                      <a:lnTo>
                        <a:pt x="255803" y="1049782"/>
                      </a:lnTo>
                      <a:lnTo>
                        <a:pt x="256386" y="1051724"/>
                      </a:lnTo>
                      <a:lnTo>
                        <a:pt x="256568" y="1052344"/>
                      </a:lnTo>
                      <a:lnTo>
                        <a:pt x="256750" y="1052671"/>
                      </a:lnTo>
                      <a:lnTo>
                        <a:pt x="254686" y="1052878"/>
                      </a:lnTo>
                      <a:lnTo>
                        <a:pt x="253083" y="1054760"/>
                      </a:lnTo>
                      <a:lnTo>
                        <a:pt x="252112" y="1055913"/>
                      </a:lnTo>
                      <a:lnTo>
                        <a:pt x="250472" y="1057856"/>
                      </a:lnTo>
                      <a:lnTo>
                        <a:pt x="250703" y="1060382"/>
                      </a:lnTo>
                      <a:lnTo>
                        <a:pt x="250861" y="1062155"/>
                      </a:lnTo>
                      <a:lnTo>
                        <a:pt x="250909" y="1062750"/>
                      </a:lnTo>
                      <a:lnTo>
                        <a:pt x="251079" y="1063309"/>
                      </a:lnTo>
                      <a:lnTo>
                        <a:pt x="251662" y="1065300"/>
                      </a:lnTo>
                      <a:lnTo>
                        <a:pt x="251869" y="1066005"/>
                      </a:lnTo>
                      <a:lnTo>
                        <a:pt x="252233" y="1066648"/>
                      </a:lnTo>
                      <a:lnTo>
                        <a:pt x="253666" y="1069137"/>
                      </a:lnTo>
                      <a:lnTo>
                        <a:pt x="254224" y="1070109"/>
                      </a:lnTo>
                      <a:lnTo>
                        <a:pt x="255099" y="1070825"/>
                      </a:lnTo>
                      <a:lnTo>
                        <a:pt x="256374" y="1071857"/>
                      </a:lnTo>
                      <a:lnTo>
                        <a:pt x="257940" y="1073120"/>
                      </a:lnTo>
                      <a:lnTo>
                        <a:pt x="259956" y="1073205"/>
                      </a:lnTo>
                      <a:lnTo>
                        <a:pt x="261729" y="1073278"/>
                      </a:lnTo>
                      <a:lnTo>
                        <a:pt x="263113" y="1073327"/>
                      </a:lnTo>
                      <a:lnTo>
                        <a:pt x="264376" y="1072780"/>
                      </a:lnTo>
                      <a:lnTo>
                        <a:pt x="266938" y="1071675"/>
                      </a:lnTo>
                      <a:lnTo>
                        <a:pt x="267060" y="1071639"/>
                      </a:lnTo>
                      <a:lnTo>
                        <a:pt x="267266" y="1071784"/>
                      </a:lnTo>
                      <a:lnTo>
                        <a:pt x="273228" y="1078657"/>
                      </a:lnTo>
                      <a:lnTo>
                        <a:pt x="275050" y="1080479"/>
                      </a:lnTo>
                      <a:lnTo>
                        <a:pt x="275438" y="1080855"/>
                      </a:lnTo>
                      <a:lnTo>
                        <a:pt x="275888" y="1081159"/>
                      </a:lnTo>
                      <a:lnTo>
                        <a:pt x="277320" y="1082130"/>
                      </a:lnTo>
                      <a:lnTo>
                        <a:pt x="278219" y="1082750"/>
                      </a:lnTo>
                      <a:lnTo>
                        <a:pt x="279275" y="1083005"/>
                      </a:lnTo>
                      <a:lnTo>
                        <a:pt x="280186" y="1083235"/>
                      </a:lnTo>
                      <a:lnTo>
                        <a:pt x="280478" y="1083308"/>
                      </a:lnTo>
                      <a:lnTo>
                        <a:pt x="280781" y="1083357"/>
                      </a:lnTo>
                      <a:lnTo>
                        <a:pt x="283380" y="1083721"/>
                      </a:lnTo>
                      <a:lnTo>
                        <a:pt x="284254" y="1083952"/>
                      </a:lnTo>
                      <a:lnTo>
                        <a:pt x="287593" y="1085142"/>
                      </a:lnTo>
                      <a:lnTo>
                        <a:pt x="288091" y="1085324"/>
                      </a:lnTo>
                      <a:lnTo>
                        <a:pt x="288601" y="1085421"/>
                      </a:lnTo>
                      <a:lnTo>
                        <a:pt x="292718" y="1086137"/>
                      </a:lnTo>
                      <a:lnTo>
                        <a:pt x="293058" y="1086186"/>
                      </a:lnTo>
                      <a:lnTo>
                        <a:pt x="293398" y="1086210"/>
                      </a:lnTo>
                      <a:lnTo>
                        <a:pt x="295243" y="1086320"/>
                      </a:lnTo>
                      <a:lnTo>
                        <a:pt x="295729" y="1086356"/>
                      </a:lnTo>
                      <a:lnTo>
                        <a:pt x="296215" y="1086295"/>
                      </a:lnTo>
                      <a:lnTo>
                        <a:pt x="297830" y="1086125"/>
                      </a:lnTo>
                      <a:lnTo>
                        <a:pt x="298546" y="1086053"/>
                      </a:lnTo>
                      <a:lnTo>
                        <a:pt x="299226" y="1085809"/>
                      </a:lnTo>
                      <a:lnTo>
                        <a:pt x="300538" y="1085348"/>
                      </a:lnTo>
                      <a:lnTo>
                        <a:pt x="301218" y="1085105"/>
                      </a:lnTo>
                      <a:lnTo>
                        <a:pt x="301825" y="1084704"/>
                      </a:lnTo>
                      <a:lnTo>
                        <a:pt x="302736" y="1084110"/>
                      </a:lnTo>
                      <a:lnTo>
                        <a:pt x="303537" y="1084607"/>
                      </a:lnTo>
                      <a:lnTo>
                        <a:pt x="304096" y="1084959"/>
                      </a:lnTo>
                      <a:lnTo>
                        <a:pt x="304715" y="1085178"/>
                      </a:lnTo>
                      <a:lnTo>
                        <a:pt x="305626" y="1085494"/>
                      </a:lnTo>
                      <a:lnTo>
                        <a:pt x="306403" y="1085761"/>
                      </a:lnTo>
                      <a:lnTo>
                        <a:pt x="307228" y="1085822"/>
                      </a:lnTo>
                      <a:lnTo>
                        <a:pt x="308139" y="1085882"/>
                      </a:lnTo>
                      <a:lnTo>
                        <a:pt x="308649" y="1085919"/>
                      </a:lnTo>
                      <a:lnTo>
                        <a:pt x="308333" y="1087582"/>
                      </a:lnTo>
                      <a:lnTo>
                        <a:pt x="308261" y="1087995"/>
                      </a:lnTo>
                      <a:lnTo>
                        <a:pt x="308236" y="1088408"/>
                      </a:lnTo>
                      <a:lnTo>
                        <a:pt x="308115" y="1090764"/>
                      </a:lnTo>
                      <a:lnTo>
                        <a:pt x="308091" y="1091371"/>
                      </a:lnTo>
                      <a:lnTo>
                        <a:pt x="308176" y="1091966"/>
                      </a:lnTo>
                      <a:lnTo>
                        <a:pt x="308892" y="1096836"/>
                      </a:lnTo>
                      <a:lnTo>
                        <a:pt x="308819" y="1097309"/>
                      </a:lnTo>
                      <a:lnTo>
                        <a:pt x="308394" y="1098402"/>
                      </a:lnTo>
                      <a:lnTo>
                        <a:pt x="308236" y="1098815"/>
                      </a:lnTo>
                      <a:lnTo>
                        <a:pt x="308139" y="1099252"/>
                      </a:lnTo>
                      <a:lnTo>
                        <a:pt x="307726" y="1101122"/>
                      </a:lnTo>
                      <a:lnTo>
                        <a:pt x="307653" y="1101474"/>
                      </a:lnTo>
                      <a:lnTo>
                        <a:pt x="307617" y="1101826"/>
                      </a:lnTo>
                      <a:lnTo>
                        <a:pt x="307386" y="1104072"/>
                      </a:lnTo>
                      <a:lnTo>
                        <a:pt x="307338" y="1104558"/>
                      </a:lnTo>
                      <a:lnTo>
                        <a:pt x="307362" y="1105056"/>
                      </a:lnTo>
                      <a:lnTo>
                        <a:pt x="307811" y="1112184"/>
                      </a:lnTo>
                      <a:lnTo>
                        <a:pt x="307787" y="1112208"/>
                      </a:lnTo>
                      <a:lnTo>
                        <a:pt x="307580" y="1112548"/>
                      </a:lnTo>
                      <a:lnTo>
                        <a:pt x="306900" y="1113690"/>
                      </a:lnTo>
                      <a:lnTo>
                        <a:pt x="306488" y="1114370"/>
                      </a:lnTo>
                      <a:lnTo>
                        <a:pt x="306269" y="1115123"/>
                      </a:lnTo>
                      <a:lnTo>
                        <a:pt x="305917" y="1116337"/>
                      </a:lnTo>
                      <a:lnTo>
                        <a:pt x="305650" y="1117260"/>
                      </a:lnTo>
                      <a:lnTo>
                        <a:pt x="305686" y="1118219"/>
                      </a:lnTo>
                      <a:lnTo>
                        <a:pt x="305759" y="1120356"/>
                      </a:lnTo>
                      <a:lnTo>
                        <a:pt x="305796" y="1121619"/>
                      </a:lnTo>
                      <a:lnTo>
                        <a:pt x="306342" y="1122773"/>
                      </a:lnTo>
                      <a:lnTo>
                        <a:pt x="307010" y="1124169"/>
                      </a:lnTo>
                      <a:lnTo>
                        <a:pt x="307386" y="1124946"/>
                      </a:lnTo>
                      <a:lnTo>
                        <a:pt x="307969" y="1125590"/>
                      </a:lnTo>
                      <a:lnTo>
                        <a:pt x="309074" y="1126829"/>
                      </a:lnTo>
                      <a:lnTo>
                        <a:pt x="310167" y="1127897"/>
                      </a:lnTo>
                      <a:lnTo>
                        <a:pt x="310859" y="1128771"/>
                      </a:lnTo>
                      <a:lnTo>
                        <a:pt x="311163" y="1129488"/>
                      </a:lnTo>
                      <a:lnTo>
                        <a:pt x="311721" y="1131783"/>
                      </a:lnTo>
                      <a:lnTo>
                        <a:pt x="312207" y="1133762"/>
                      </a:lnTo>
                      <a:lnTo>
                        <a:pt x="313798" y="1135049"/>
                      </a:lnTo>
                      <a:lnTo>
                        <a:pt x="314951" y="1135984"/>
                      </a:lnTo>
                      <a:lnTo>
                        <a:pt x="316712" y="1137405"/>
                      </a:lnTo>
                      <a:lnTo>
                        <a:pt x="318983" y="1137332"/>
                      </a:lnTo>
                      <a:lnTo>
                        <a:pt x="320416" y="1137284"/>
                      </a:lnTo>
                      <a:lnTo>
                        <a:pt x="321946" y="1137223"/>
                      </a:lnTo>
                      <a:lnTo>
                        <a:pt x="323269" y="1136458"/>
                      </a:lnTo>
                      <a:lnTo>
                        <a:pt x="323682" y="1136215"/>
                      </a:lnTo>
                      <a:lnTo>
                        <a:pt x="323840" y="1136324"/>
                      </a:lnTo>
                      <a:lnTo>
                        <a:pt x="324338" y="1136567"/>
                      </a:lnTo>
                      <a:lnTo>
                        <a:pt x="325370" y="1137053"/>
                      </a:lnTo>
                      <a:lnTo>
                        <a:pt x="325844" y="1137284"/>
                      </a:lnTo>
                      <a:lnTo>
                        <a:pt x="326354" y="1137429"/>
                      </a:lnTo>
                      <a:lnTo>
                        <a:pt x="327398" y="1137709"/>
                      </a:lnTo>
                      <a:lnTo>
                        <a:pt x="328175" y="1137927"/>
                      </a:lnTo>
                      <a:lnTo>
                        <a:pt x="328988" y="1137927"/>
                      </a:lnTo>
                      <a:lnTo>
                        <a:pt x="329887" y="1137927"/>
                      </a:lnTo>
                      <a:lnTo>
                        <a:pt x="330373" y="1137927"/>
                      </a:lnTo>
                      <a:lnTo>
                        <a:pt x="330859" y="1137842"/>
                      </a:lnTo>
                      <a:lnTo>
                        <a:pt x="330883" y="1137842"/>
                      </a:lnTo>
                      <a:lnTo>
                        <a:pt x="337246" y="1142833"/>
                      </a:lnTo>
                      <a:lnTo>
                        <a:pt x="337695" y="1143185"/>
                      </a:lnTo>
                      <a:lnTo>
                        <a:pt x="338205" y="1143440"/>
                      </a:lnTo>
                      <a:lnTo>
                        <a:pt x="339055" y="1143877"/>
                      </a:lnTo>
                      <a:lnTo>
                        <a:pt x="339832" y="1144278"/>
                      </a:lnTo>
                      <a:lnTo>
                        <a:pt x="340682" y="1144448"/>
                      </a:lnTo>
                      <a:lnTo>
                        <a:pt x="341836" y="1144679"/>
                      </a:lnTo>
                      <a:lnTo>
                        <a:pt x="342467" y="1144800"/>
                      </a:lnTo>
                      <a:lnTo>
                        <a:pt x="343111" y="1144788"/>
                      </a:lnTo>
                      <a:lnTo>
                        <a:pt x="344325" y="1144764"/>
                      </a:lnTo>
                      <a:lnTo>
                        <a:pt x="345078" y="1144751"/>
                      </a:lnTo>
                      <a:lnTo>
                        <a:pt x="345807" y="1144545"/>
                      </a:lnTo>
                      <a:lnTo>
                        <a:pt x="346389" y="1144387"/>
                      </a:lnTo>
                      <a:lnTo>
                        <a:pt x="346256" y="1145189"/>
                      </a:lnTo>
                      <a:lnTo>
                        <a:pt x="346207" y="1145541"/>
                      </a:lnTo>
                      <a:lnTo>
                        <a:pt x="346195" y="1145881"/>
                      </a:lnTo>
                      <a:lnTo>
                        <a:pt x="346122" y="1147496"/>
                      </a:lnTo>
                      <a:lnTo>
                        <a:pt x="346122" y="1149147"/>
                      </a:lnTo>
                      <a:lnTo>
                        <a:pt x="346110" y="1149548"/>
                      </a:lnTo>
                      <a:lnTo>
                        <a:pt x="346037" y="1149888"/>
                      </a:lnTo>
                      <a:lnTo>
                        <a:pt x="345807" y="1150580"/>
                      </a:lnTo>
                      <a:lnTo>
                        <a:pt x="344787" y="1154806"/>
                      </a:lnTo>
                      <a:lnTo>
                        <a:pt x="344374" y="1155862"/>
                      </a:lnTo>
                      <a:lnTo>
                        <a:pt x="343742" y="1156870"/>
                      </a:lnTo>
                      <a:lnTo>
                        <a:pt x="341156" y="1159651"/>
                      </a:lnTo>
                      <a:lnTo>
                        <a:pt x="340913" y="1159906"/>
                      </a:lnTo>
                      <a:lnTo>
                        <a:pt x="340694" y="1160197"/>
                      </a:lnTo>
                      <a:lnTo>
                        <a:pt x="339492" y="1161837"/>
                      </a:lnTo>
                      <a:lnTo>
                        <a:pt x="338922" y="1162614"/>
                      </a:lnTo>
                      <a:lnTo>
                        <a:pt x="338618" y="1163536"/>
                      </a:lnTo>
                      <a:lnTo>
                        <a:pt x="337938" y="1165625"/>
                      </a:lnTo>
                      <a:lnTo>
                        <a:pt x="337683" y="1166390"/>
                      </a:lnTo>
                      <a:lnTo>
                        <a:pt x="337647" y="1167191"/>
                      </a:lnTo>
                      <a:lnTo>
                        <a:pt x="337428" y="1171466"/>
                      </a:lnTo>
                      <a:lnTo>
                        <a:pt x="337136" y="1173239"/>
                      </a:lnTo>
                      <a:lnTo>
                        <a:pt x="336845" y="1173967"/>
                      </a:lnTo>
                      <a:lnTo>
                        <a:pt x="336189" y="1174744"/>
                      </a:lnTo>
                      <a:lnTo>
                        <a:pt x="335910" y="1174975"/>
                      </a:lnTo>
                      <a:lnTo>
                        <a:pt x="332959" y="1176481"/>
                      </a:lnTo>
                      <a:lnTo>
                        <a:pt x="332631" y="1176663"/>
                      </a:lnTo>
                      <a:lnTo>
                        <a:pt x="332316" y="1176882"/>
                      </a:lnTo>
                      <a:lnTo>
                        <a:pt x="331114" y="1177695"/>
                      </a:lnTo>
                      <a:lnTo>
                        <a:pt x="330166" y="1178339"/>
                      </a:lnTo>
                      <a:lnTo>
                        <a:pt x="329511" y="1179286"/>
                      </a:lnTo>
                      <a:lnTo>
                        <a:pt x="328648" y="1180549"/>
                      </a:lnTo>
                      <a:lnTo>
                        <a:pt x="328163" y="1181265"/>
                      </a:lnTo>
                      <a:lnTo>
                        <a:pt x="327896" y="1182067"/>
                      </a:lnTo>
                      <a:lnTo>
                        <a:pt x="327216" y="1184107"/>
                      </a:lnTo>
                      <a:lnTo>
                        <a:pt x="325989" y="1188806"/>
                      </a:lnTo>
                      <a:lnTo>
                        <a:pt x="325795" y="1189437"/>
                      </a:lnTo>
                      <a:lnTo>
                        <a:pt x="325649" y="1189704"/>
                      </a:lnTo>
                      <a:lnTo>
                        <a:pt x="324083" y="1192182"/>
                      </a:lnTo>
                      <a:lnTo>
                        <a:pt x="319444" y="1197986"/>
                      </a:lnTo>
                      <a:lnTo>
                        <a:pt x="318776" y="1198824"/>
                      </a:lnTo>
                      <a:lnTo>
                        <a:pt x="318436" y="1199856"/>
                      </a:lnTo>
                      <a:lnTo>
                        <a:pt x="317708" y="1202042"/>
                      </a:lnTo>
                      <a:lnTo>
                        <a:pt x="317586" y="1202382"/>
                      </a:lnTo>
                      <a:lnTo>
                        <a:pt x="316931" y="1202115"/>
                      </a:lnTo>
                      <a:lnTo>
                        <a:pt x="315983" y="1201726"/>
                      </a:lnTo>
                      <a:lnTo>
                        <a:pt x="314963" y="1201665"/>
                      </a:lnTo>
                      <a:lnTo>
                        <a:pt x="313931" y="1201605"/>
                      </a:lnTo>
                      <a:lnTo>
                        <a:pt x="313251" y="1201568"/>
                      </a:lnTo>
                      <a:lnTo>
                        <a:pt x="312583" y="1201678"/>
                      </a:lnTo>
                      <a:lnTo>
                        <a:pt x="311381" y="1201884"/>
                      </a:lnTo>
                      <a:lnTo>
                        <a:pt x="310616" y="1202017"/>
                      </a:lnTo>
                      <a:lnTo>
                        <a:pt x="309912" y="1202321"/>
                      </a:lnTo>
                      <a:lnTo>
                        <a:pt x="308637" y="1202892"/>
                      </a:lnTo>
                      <a:lnTo>
                        <a:pt x="307204" y="1203535"/>
                      </a:lnTo>
                      <a:lnTo>
                        <a:pt x="306257" y="1204786"/>
                      </a:lnTo>
                      <a:lnTo>
                        <a:pt x="305468" y="1205830"/>
                      </a:lnTo>
                      <a:lnTo>
                        <a:pt x="304715" y="1206826"/>
                      </a:lnTo>
                      <a:lnTo>
                        <a:pt x="304423" y="1208028"/>
                      </a:lnTo>
                      <a:lnTo>
                        <a:pt x="304071" y="1209424"/>
                      </a:lnTo>
                      <a:lnTo>
                        <a:pt x="303877" y="1210177"/>
                      </a:lnTo>
                      <a:lnTo>
                        <a:pt x="303889" y="1210967"/>
                      </a:lnTo>
                      <a:lnTo>
                        <a:pt x="303913" y="1213019"/>
                      </a:lnTo>
                      <a:lnTo>
                        <a:pt x="303148" y="1213031"/>
                      </a:lnTo>
                      <a:lnTo>
                        <a:pt x="302031" y="1213043"/>
                      </a:lnTo>
                      <a:lnTo>
                        <a:pt x="300999" y="1213456"/>
                      </a:lnTo>
                      <a:lnTo>
                        <a:pt x="300368" y="1213711"/>
                      </a:lnTo>
                      <a:lnTo>
                        <a:pt x="299263" y="1214148"/>
                      </a:lnTo>
                      <a:lnTo>
                        <a:pt x="298813" y="1213893"/>
                      </a:lnTo>
                      <a:lnTo>
                        <a:pt x="298218" y="1213687"/>
                      </a:lnTo>
                      <a:lnTo>
                        <a:pt x="296907" y="1213262"/>
                      </a:lnTo>
                      <a:lnTo>
                        <a:pt x="295923" y="1212946"/>
                      </a:lnTo>
                      <a:lnTo>
                        <a:pt x="294891" y="1212971"/>
                      </a:lnTo>
                      <a:lnTo>
                        <a:pt x="293398" y="1213007"/>
                      </a:lnTo>
                      <a:lnTo>
                        <a:pt x="292426" y="1213031"/>
                      </a:lnTo>
                      <a:lnTo>
                        <a:pt x="291515" y="1213347"/>
                      </a:lnTo>
                      <a:lnTo>
                        <a:pt x="290544" y="1213687"/>
                      </a:lnTo>
                      <a:lnTo>
                        <a:pt x="289900" y="1213918"/>
                      </a:lnTo>
                      <a:lnTo>
                        <a:pt x="289330" y="1214282"/>
                      </a:lnTo>
                      <a:lnTo>
                        <a:pt x="288747" y="1214646"/>
                      </a:lnTo>
                      <a:lnTo>
                        <a:pt x="287071" y="1215703"/>
                      </a:lnTo>
                      <a:lnTo>
                        <a:pt x="286343" y="1217536"/>
                      </a:lnTo>
                      <a:lnTo>
                        <a:pt x="286051" y="1218289"/>
                      </a:lnTo>
                      <a:lnTo>
                        <a:pt x="285905" y="1218653"/>
                      </a:lnTo>
                      <a:lnTo>
                        <a:pt x="285808" y="1219030"/>
                      </a:lnTo>
                      <a:lnTo>
                        <a:pt x="285468" y="1220353"/>
                      </a:lnTo>
                      <a:lnTo>
                        <a:pt x="285262" y="1221143"/>
                      </a:lnTo>
                      <a:lnTo>
                        <a:pt x="285274" y="1221968"/>
                      </a:lnTo>
                      <a:lnTo>
                        <a:pt x="285335" y="1224749"/>
                      </a:lnTo>
                      <a:lnTo>
                        <a:pt x="285347" y="1225465"/>
                      </a:lnTo>
                      <a:lnTo>
                        <a:pt x="285529" y="1226158"/>
                      </a:lnTo>
                      <a:lnTo>
                        <a:pt x="286695" y="1230638"/>
                      </a:lnTo>
                      <a:lnTo>
                        <a:pt x="286707" y="1230893"/>
                      </a:lnTo>
                      <a:lnTo>
                        <a:pt x="286695" y="1230930"/>
                      </a:lnTo>
                      <a:lnTo>
                        <a:pt x="285869" y="1232205"/>
                      </a:lnTo>
                      <a:lnTo>
                        <a:pt x="284570" y="1233759"/>
                      </a:lnTo>
                      <a:lnTo>
                        <a:pt x="281558" y="1237353"/>
                      </a:lnTo>
                      <a:lnTo>
                        <a:pt x="284278" y="1241179"/>
                      </a:lnTo>
                      <a:lnTo>
                        <a:pt x="292730" y="1253067"/>
                      </a:lnTo>
                      <a:lnTo>
                        <a:pt x="293094" y="1253576"/>
                      </a:lnTo>
                      <a:lnTo>
                        <a:pt x="293555" y="1254001"/>
                      </a:lnTo>
                      <a:lnTo>
                        <a:pt x="298194" y="1258288"/>
                      </a:lnTo>
                      <a:lnTo>
                        <a:pt x="298595" y="1258652"/>
                      </a:lnTo>
                      <a:lnTo>
                        <a:pt x="299056" y="1258943"/>
                      </a:lnTo>
                      <a:lnTo>
                        <a:pt x="309111" y="1265343"/>
                      </a:lnTo>
                      <a:lnTo>
                        <a:pt x="309839" y="1265804"/>
                      </a:lnTo>
                      <a:lnTo>
                        <a:pt x="310665" y="1266047"/>
                      </a:lnTo>
                      <a:lnTo>
                        <a:pt x="315546" y="1267480"/>
                      </a:lnTo>
                      <a:lnTo>
                        <a:pt x="315923" y="1267589"/>
                      </a:lnTo>
                      <a:lnTo>
                        <a:pt x="316299" y="1267662"/>
                      </a:lnTo>
                      <a:lnTo>
                        <a:pt x="318072" y="1267941"/>
                      </a:lnTo>
                      <a:lnTo>
                        <a:pt x="318412" y="1267990"/>
                      </a:lnTo>
                      <a:lnTo>
                        <a:pt x="318764" y="1268014"/>
                      </a:lnTo>
                      <a:lnTo>
                        <a:pt x="320671" y="1268099"/>
                      </a:lnTo>
                      <a:lnTo>
                        <a:pt x="324994" y="1267954"/>
                      </a:lnTo>
                      <a:lnTo>
                        <a:pt x="325358" y="1267929"/>
                      </a:lnTo>
                      <a:lnTo>
                        <a:pt x="325722" y="1267881"/>
                      </a:lnTo>
                      <a:lnTo>
                        <a:pt x="326985" y="1267675"/>
                      </a:lnTo>
                      <a:lnTo>
                        <a:pt x="327641" y="1267565"/>
                      </a:lnTo>
                      <a:lnTo>
                        <a:pt x="328260" y="1267310"/>
                      </a:lnTo>
                      <a:lnTo>
                        <a:pt x="330154" y="1266557"/>
                      </a:lnTo>
                      <a:lnTo>
                        <a:pt x="332874" y="1265209"/>
                      </a:lnTo>
                      <a:lnTo>
                        <a:pt x="333797" y="1264736"/>
                      </a:lnTo>
                      <a:lnTo>
                        <a:pt x="334514" y="1263983"/>
                      </a:lnTo>
                      <a:lnTo>
                        <a:pt x="342613" y="1255446"/>
                      </a:lnTo>
                      <a:lnTo>
                        <a:pt x="343584" y="1254427"/>
                      </a:lnTo>
                      <a:lnTo>
                        <a:pt x="344009" y="1253091"/>
                      </a:lnTo>
                      <a:lnTo>
                        <a:pt x="344981" y="1249994"/>
                      </a:lnTo>
                      <a:lnTo>
                        <a:pt x="345163" y="1249423"/>
                      </a:lnTo>
                      <a:lnTo>
                        <a:pt x="345224" y="1248829"/>
                      </a:lnTo>
                      <a:lnTo>
                        <a:pt x="345248" y="1248574"/>
                      </a:lnTo>
                      <a:lnTo>
                        <a:pt x="345746" y="1248476"/>
                      </a:lnTo>
                      <a:lnTo>
                        <a:pt x="347409" y="1248160"/>
                      </a:lnTo>
                      <a:lnTo>
                        <a:pt x="348818" y="1247894"/>
                      </a:lnTo>
                      <a:lnTo>
                        <a:pt x="349947" y="1247031"/>
                      </a:lnTo>
                      <a:lnTo>
                        <a:pt x="357075" y="1241579"/>
                      </a:lnTo>
                      <a:lnTo>
                        <a:pt x="357367" y="1241349"/>
                      </a:lnTo>
                      <a:lnTo>
                        <a:pt x="357622" y="1241093"/>
                      </a:lnTo>
                      <a:lnTo>
                        <a:pt x="358763" y="1239976"/>
                      </a:lnTo>
                      <a:lnTo>
                        <a:pt x="359249" y="1239503"/>
                      </a:lnTo>
                      <a:lnTo>
                        <a:pt x="359613" y="1238932"/>
                      </a:lnTo>
                      <a:lnTo>
                        <a:pt x="360584" y="1237438"/>
                      </a:lnTo>
                      <a:lnTo>
                        <a:pt x="360937" y="1236904"/>
                      </a:lnTo>
                      <a:lnTo>
                        <a:pt x="361167" y="1236297"/>
                      </a:lnTo>
                      <a:lnTo>
                        <a:pt x="366389" y="1222636"/>
                      </a:lnTo>
                      <a:lnTo>
                        <a:pt x="366510" y="1222320"/>
                      </a:lnTo>
                      <a:lnTo>
                        <a:pt x="366595" y="1222005"/>
                      </a:lnTo>
                      <a:lnTo>
                        <a:pt x="369777" y="1209765"/>
                      </a:lnTo>
                      <a:lnTo>
                        <a:pt x="370991" y="1206814"/>
                      </a:lnTo>
                      <a:lnTo>
                        <a:pt x="371210" y="1206280"/>
                      </a:lnTo>
                      <a:lnTo>
                        <a:pt x="371319" y="1205709"/>
                      </a:lnTo>
                      <a:lnTo>
                        <a:pt x="371732" y="1203705"/>
                      </a:lnTo>
                      <a:lnTo>
                        <a:pt x="371817" y="1203304"/>
                      </a:lnTo>
                      <a:lnTo>
                        <a:pt x="371841" y="1202892"/>
                      </a:lnTo>
                      <a:lnTo>
                        <a:pt x="372157" y="1198010"/>
                      </a:lnTo>
                      <a:lnTo>
                        <a:pt x="372557" y="1196237"/>
                      </a:lnTo>
                      <a:lnTo>
                        <a:pt x="372606" y="1196079"/>
                      </a:lnTo>
                      <a:lnTo>
                        <a:pt x="373687" y="1194464"/>
                      </a:lnTo>
                      <a:lnTo>
                        <a:pt x="374452" y="1194440"/>
                      </a:lnTo>
                      <a:lnTo>
                        <a:pt x="374780" y="1194428"/>
                      </a:lnTo>
                      <a:lnTo>
                        <a:pt x="375095" y="1194380"/>
                      </a:lnTo>
                      <a:lnTo>
                        <a:pt x="377402" y="1194064"/>
                      </a:lnTo>
                      <a:lnTo>
                        <a:pt x="378847" y="1193857"/>
                      </a:lnTo>
                      <a:lnTo>
                        <a:pt x="380038" y="1193032"/>
                      </a:lnTo>
                      <a:lnTo>
                        <a:pt x="381640" y="1191915"/>
                      </a:lnTo>
                      <a:lnTo>
                        <a:pt x="382660" y="1191198"/>
                      </a:lnTo>
                      <a:lnTo>
                        <a:pt x="383316" y="1190142"/>
                      </a:lnTo>
                      <a:lnTo>
                        <a:pt x="384409" y="1188381"/>
                      </a:lnTo>
                      <a:lnTo>
                        <a:pt x="384627" y="1188041"/>
                      </a:lnTo>
                      <a:lnTo>
                        <a:pt x="384798" y="1187677"/>
                      </a:lnTo>
                      <a:lnTo>
                        <a:pt x="385465" y="1186207"/>
                      </a:lnTo>
                      <a:lnTo>
                        <a:pt x="385502" y="1186195"/>
                      </a:lnTo>
                      <a:lnTo>
                        <a:pt x="392642" y="1185321"/>
                      </a:lnTo>
                      <a:lnTo>
                        <a:pt x="393176" y="1185260"/>
                      </a:lnTo>
                      <a:lnTo>
                        <a:pt x="393686" y="1185090"/>
                      </a:lnTo>
                      <a:lnTo>
                        <a:pt x="397997" y="1183767"/>
                      </a:lnTo>
                      <a:lnTo>
                        <a:pt x="400073" y="1183366"/>
                      </a:lnTo>
                      <a:lnTo>
                        <a:pt x="404918" y="1182856"/>
                      </a:lnTo>
                      <a:lnTo>
                        <a:pt x="405040" y="1183378"/>
                      </a:lnTo>
                      <a:lnTo>
                        <a:pt x="405198" y="1184022"/>
                      </a:lnTo>
                      <a:lnTo>
                        <a:pt x="405477" y="1184616"/>
                      </a:lnTo>
                      <a:lnTo>
                        <a:pt x="406460" y="1186656"/>
                      </a:lnTo>
                      <a:lnTo>
                        <a:pt x="407274" y="1188357"/>
                      </a:lnTo>
                      <a:lnTo>
                        <a:pt x="408913" y="1189292"/>
                      </a:lnTo>
                      <a:lnTo>
                        <a:pt x="410407" y="1190142"/>
                      </a:lnTo>
                      <a:lnTo>
                        <a:pt x="412119" y="1191113"/>
                      </a:lnTo>
                      <a:lnTo>
                        <a:pt x="414086" y="1190895"/>
                      </a:lnTo>
                      <a:lnTo>
                        <a:pt x="415920" y="1190688"/>
                      </a:lnTo>
                      <a:lnTo>
                        <a:pt x="417231" y="1190542"/>
                      </a:lnTo>
                      <a:lnTo>
                        <a:pt x="418361" y="1189862"/>
                      </a:lnTo>
                      <a:lnTo>
                        <a:pt x="420874" y="1188369"/>
                      </a:lnTo>
                      <a:lnTo>
                        <a:pt x="421809" y="1187810"/>
                      </a:lnTo>
                      <a:lnTo>
                        <a:pt x="422501" y="1186972"/>
                      </a:lnTo>
                      <a:lnTo>
                        <a:pt x="423898" y="1185248"/>
                      </a:lnTo>
                      <a:lnTo>
                        <a:pt x="424383" y="1184641"/>
                      </a:lnTo>
                      <a:lnTo>
                        <a:pt x="424711" y="1183925"/>
                      </a:lnTo>
                      <a:lnTo>
                        <a:pt x="425452" y="1182285"/>
                      </a:lnTo>
                      <a:lnTo>
                        <a:pt x="425865" y="1181387"/>
                      </a:lnTo>
                      <a:lnTo>
                        <a:pt x="425962" y="1180391"/>
                      </a:lnTo>
                      <a:lnTo>
                        <a:pt x="425986" y="1180124"/>
                      </a:lnTo>
                      <a:lnTo>
                        <a:pt x="429241" y="1180658"/>
                      </a:lnTo>
                      <a:lnTo>
                        <a:pt x="429362" y="1181253"/>
                      </a:lnTo>
                      <a:lnTo>
                        <a:pt x="429593" y="1182346"/>
                      </a:lnTo>
                      <a:lnTo>
                        <a:pt x="430200" y="1183281"/>
                      </a:lnTo>
                      <a:lnTo>
                        <a:pt x="431001" y="1184532"/>
                      </a:lnTo>
                      <a:lnTo>
                        <a:pt x="432058" y="1186171"/>
                      </a:lnTo>
                      <a:lnTo>
                        <a:pt x="433867" y="1186900"/>
                      </a:lnTo>
                      <a:lnTo>
                        <a:pt x="435300" y="1187470"/>
                      </a:lnTo>
                      <a:lnTo>
                        <a:pt x="436102" y="1187786"/>
                      </a:lnTo>
                      <a:lnTo>
                        <a:pt x="436964" y="1187871"/>
                      </a:lnTo>
                      <a:lnTo>
                        <a:pt x="441262" y="1188272"/>
                      </a:lnTo>
                      <a:lnTo>
                        <a:pt x="441869" y="1188454"/>
                      </a:lnTo>
                      <a:lnTo>
                        <a:pt x="442804" y="1189097"/>
                      </a:lnTo>
                      <a:lnTo>
                        <a:pt x="443156" y="1189340"/>
                      </a:lnTo>
                      <a:lnTo>
                        <a:pt x="443545" y="1189522"/>
                      </a:lnTo>
                      <a:lnTo>
                        <a:pt x="445609" y="1190530"/>
                      </a:lnTo>
                      <a:lnTo>
                        <a:pt x="446556" y="1190992"/>
                      </a:lnTo>
                      <a:lnTo>
                        <a:pt x="447601" y="1191113"/>
                      </a:lnTo>
                      <a:lnTo>
                        <a:pt x="450418" y="1191417"/>
                      </a:lnTo>
                      <a:lnTo>
                        <a:pt x="451511" y="1191538"/>
                      </a:lnTo>
                      <a:lnTo>
                        <a:pt x="452567" y="1191271"/>
                      </a:lnTo>
                      <a:lnTo>
                        <a:pt x="456101" y="1190384"/>
                      </a:lnTo>
                      <a:lnTo>
                        <a:pt x="462330" y="1189850"/>
                      </a:lnTo>
                      <a:lnTo>
                        <a:pt x="462719" y="1189814"/>
                      </a:lnTo>
                      <a:lnTo>
                        <a:pt x="463107" y="1189729"/>
                      </a:lnTo>
                      <a:lnTo>
                        <a:pt x="465354" y="1189243"/>
                      </a:lnTo>
                      <a:lnTo>
                        <a:pt x="466507" y="1188988"/>
                      </a:lnTo>
                      <a:lnTo>
                        <a:pt x="467491" y="1188320"/>
                      </a:lnTo>
                      <a:lnTo>
                        <a:pt x="469434" y="1186997"/>
                      </a:lnTo>
                      <a:lnTo>
                        <a:pt x="471207" y="1185552"/>
                      </a:lnTo>
                      <a:lnTo>
                        <a:pt x="471668" y="1185175"/>
                      </a:lnTo>
                      <a:lnTo>
                        <a:pt x="472045" y="1184726"/>
                      </a:lnTo>
                      <a:lnTo>
                        <a:pt x="476756" y="1178910"/>
                      </a:lnTo>
                      <a:lnTo>
                        <a:pt x="483204" y="1169632"/>
                      </a:lnTo>
                      <a:lnTo>
                        <a:pt x="483350" y="1169499"/>
                      </a:lnTo>
                      <a:lnTo>
                        <a:pt x="483410" y="1169559"/>
                      </a:lnTo>
                      <a:lnTo>
                        <a:pt x="484527" y="1170774"/>
                      </a:lnTo>
                      <a:lnTo>
                        <a:pt x="485596" y="1171927"/>
                      </a:lnTo>
                      <a:lnTo>
                        <a:pt x="487090" y="1172413"/>
                      </a:lnTo>
                      <a:lnTo>
                        <a:pt x="488814" y="1172984"/>
                      </a:lnTo>
                      <a:lnTo>
                        <a:pt x="490478" y="1173542"/>
                      </a:lnTo>
                      <a:lnTo>
                        <a:pt x="492178" y="1173117"/>
                      </a:lnTo>
                      <a:lnTo>
                        <a:pt x="494230" y="1172607"/>
                      </a:lnTo>
                      <a:lnTo>
                        <a:pt x="495517" y="1172292"/>
                      </a:lnTo>
                      <a:lnTo>
                        <a:pt x="496549" y="1171466"/>
                      </a:lnTo>
                      <a:lnTo>
                        <a:pt x="499318" y="1169244"/>
                      </a:lnTo>
                      <a:lnTo>
                        <a:pt x="499864" y="1168807"/>
                      </a:lnTo>
                      <a:lnTo>
                        <a:pt x="500301" y="1168248"/>
                      </a:lnTo>
                      <a:lnTo>
                        <a:pt x="503908" y="1163634"/>
                      </a:lnTo>
                      <a:lnTo>
                        <a:pt x="506943" y="1160962"/>
                      </a:lnTo>
                      <a:lnTo>
                        <a:pt x="507380" y="1160598"/>
                      </a:lnTo>
                      <a:lnTo>
                        <a:pt x="507733" y="1160149"/>
                      </a:lnTo>
                      <a:lnTo>
                        <a:pt x="508995" y="1158509"/>
                      </a:lnTo>
                      <a:lnTo>
                        <a:pt x="509360" y="1158254"/>
                      </a:lnTo>
                      <a:lnTo>
                        <a:pt x="515213" y="1155376"/>
                      </a:lnTo>
                      <a:lnTo>
                        <a:pt x="516986" y="1154514"/>
                      </a:lnTo>
                      <a:lnTo>
                        <a:pt x="517908" y="1152754"/>
                      </a:lnTo>
                      <a:lnTo>
                        <a:pt x="519111" y="1150471"/>
                      </a:lnTo>
                      <a:lnTo>
                        <a:pt x="519706" y="1149353"/>
                      </a:lnTo>
                      <a:lnTo>
                        <a:pt x="519791" y="1148091"/>
                      </a:lnTo>
                      <a:lnTo>
                        <a:pt x="519948" y="1145893"/>
                      </a:lnTo>
                      <a:lnTo>
                        <a:pt x="520021" y="1144958"/>
                      </a:lnTo>
                      <a:lnTo>
                        <a:pt x="519803" y="1144059"/>
                      </a:lnTo>
                      <a:lnTo>
                        <a:pt x="519451" y="1142553"/>
                      </a:lnTo>
                      <a:lnTo>
                        <a:pt x="520895" y="1139652"/>
                      </a:lnTo>
                      <a:lnTo>
                        <a:pt x="521284" y="1138886"/>
                      </a:lnTo>
                      <a:lnTo>
                        <a:pt x="521442" y="1138036"/>
                      </a:lnTo>
                      <a:lnTo>
                        <a:pt x="521733" y="1136433"/>
                      </a:lnTo>
                      <a:lnTo>
                        <a:pt x="521794" y="1136106"/>
                      </a:lnTo>
                      <a:lnTo>
                        <a:pt x="521818" y="1135753"/>
                      </a:lnTo>
                      <a:lnTo>
                        <a:pt x="521952" y="1133786"/>
                      </a:lnTo>
                      <a:lnTo>
                        <a:pt x="522693" y="1133531"/>
                      </a:lnTo>
                      <a:lnTo>
                        <a:pt x="526056" y="1133155"/>
                      </a:lnTo>
                      <a:lnTo>
                        <a:pt x="527817" y="1133204"/>
                      </a:lnTo>
                      <a:lnTo>
                        <a:pt x="529857" y="1133616"/>
                      </a:lnTo>
                      <a:lnTo>
                        <a:pt x="530719" y="1134005"/>
                      </a:lnTo>
                      <a:lnTo>
                        <a:pt x="531581" y="1134636"/>
                      </a:lnTo>
                      <a:lnTo>
                        <a:pt x="533075" y="1136482"/>
                      </a:lnTo>
                      <a:lnTo>
                        <a:pt x="534131" y="1138571"/>
                      </a:lnTo>
                      <a:lnTo>
                        <a:pt x="534374" y="1139056"/>
                      </a:lnTo>
                      <a:lnTo>
                        <a:pt x="534702" y="1139481"/>
                      </a:lnTo>
                      <a:lnTo>
                        <a:pt x="536123" y="1141364"/>
                      </a:lnTo>
                      <a:lnTo>
                        <a:pt x="536827" y="1142299"/>
                      </a:lnTo>
                      <a:lnTo>
                        <a:pt x="537823" y="1142906"/>
                      </a:lnTo>
                      <a:lnTo>
                        <a:pt x="539778" y="1144096"/>
                      </a:lnTo>
                      <a:lnTo>
                        <a:pt x="541162" y="1144934"/>
                      </a:lnTo>
                      <a:lnTo>
                        <a:pt x="542777" y="1144970"/>
                      </a:lnTo>
                      <a:lnTo>
                        <a:pt x="546226" y="1145055"/>
                      </a:lnTo>
                      <a:lnTo>
                        <a:pt x="546930" y="1145067"/>
                      </a:lnTo>
                      <a:lnTo>
                        <a:pt x="547622" y="1144921"/>
                      </a:lnTo>
                      <a:lnTo>
                        <a:pt x="557166" y="1142930"/>
                      </a:lnTo>
                      <a:lnTo>
                        <a:pt x="556802" y="1144460"/>
                      </a:lnTo>
                      <a:lnTo>
                        <a:pt x="557251" y="1145990"/>
                      </a:lnTo>
                      <a:lnTo>
                        <a:pt x="557591" y="1147192"/>
                      </a:lnTo>
                      <a:lnTo>
                        <a:pt x="557895" y="1148248"/>
                      </a:lnTo>
                      <a:lnTo>
                        <a:pt x="558551" y="1149123"/>
                      </a:lnTo>
                      <a:lnTo>
                        <a:pt x="559595" y="1150532"/>
                      </a:lnTo>
                      <a:lnTo>
                        <a:pt x="560360" y="1151576"/>
                      </a:lnTo>
                      <a:lnTo>
                        <a:pt x="561489" y="1152219"/>
                      </a:lnTo>
                      <a:lnTo>
                        <a:pt x="565982" y="1154745"/>
                      </a:lnTo>
                      <a:lnTo>
                        <a:pt x="567646" y="1155680"/>
                      </a:lnTo>
                      <a:lnTo>
                        <a:pt x="569540" y="1155498"/>
                      </a:lnTo>
                      <a:lnTo>
                        <a:pt x="572527" y="1155219"/>
                      </a:lnTo>
                      <a:lnTo>
                        <a:pt x="574422" y="1155231"/>
                      </a:lnTo>
                      <a:lnTo>
                        <a:pt x="575077" y="1155486"/>
                      </a:lnTo>
                      <a:lnTo>
                        <a:pt x="576110" y="1155874"/>
                      </a:lnTo>
                      <a:lnTo>
                        <a:pt x="577214" y="1155874"/>
                      </a:lnTo>
                      <a:lnTo>
                        <a:pt x="579340" y="1155874"/>
                      </a:lnTo>
                      <a:lnTo>
                        <a:pt x="580445" y="1155874"/>
                      </a:lnTo>
                      <a:lnTo>
                        <a:pt x="581477" y="1155486"/>
                      </a:lnTo>
                      <a:lnTo>
                        <a:pt x="583140" y="1154854"/>
                      </a:lnTo>
                      <a:lnTo>
                        <a:pt x="585387" y="1154004"/>
                      </a:lnTo>
                      <a:lnTo>
                        <a:pt x="586443" y="1151855"/>
                      </a:lnTo>
                      <a:lnTo>
                        <a:pt x="587487" y="1149730"/>
                      </a:lnTo>
                      <a:lnTo>
                        <a:pt x="588180" y="1148334"/>
                      </a:lnTo>
                      <a:lnTo>
                        <a:pt x="588107" y="1146779"/>
                      </a:lnTo>
                      <a:lnTo>
                        <a:pt x="588046" y="1145492"/>
                      </a:lnTo>
                      <a:lnTo>
                        <a:pt x="587973" y="1143865"/>
                      </a:lnTo>
                      <a:lnTo>
                        <a:pt x="587111" y="1142505"/>
                      </a:lnTo>
                      <a:lnTo>
                        <a:pt x="586698" y="1141849"/>
                      </a:lnTo>
                      <a:lnTo>
                        <a:pt x="587900" y="1141631"/>
                      </a:lnTo>
                      <a:lnTo>
                        <a:pt x="588520" y="1141521"/>
                      </a:lnTo>
                      <a:lnTo>
                        <a:pt x="589102" y="1141291"/>
                      </a:lnTo>
                      <a:lnTo>
                        <a:pt x="599788" y="1137040"/>
                      </a:lnTo>
                      <a:lnTo>
                        <a:pt x="600238" y="1136859"/>
                      </a:lnTo>
                      <a:lnTo>
                        <a:pt x="600650" y="1136616"/>
                      </a:lnTo>
                      <a:lnTo>
                        <a:pt x="616327" y="1127326"/>
                      </a:lnTo>
                      <a:lnTo>
                        <a:pt x="617602" y="1126573"/>
                      </a:lnTo>
                      <a:lnTo>
                        <a:pt x="618379" y="1125311"/>
                      </a:lnTo>
                      <a:lnTo>
                        <a:pt x="619873" y="1122906"/>
                      </a:lnTo>
                      <a:lnTo>
                        <a:pt x="620723" y="1121546"/>
                      </a:lnTo>
                      <a:lnTo>
                        <a:pt x="620783" y="1119931"/>
                      </a:lnTo>
                      <a:lnTo>
                        <a:pt x="620844" y="1118171"/>
                      </a:lnTo>
                      <a:lnTo>
                        <a:pt x="620868" y="1117478"/>
                      </a:lnTo>
                      <a:lnTo>
                        <a:pt x="620735" y="1116786"/>
                      </a:lnTo>
                      <a:lnTo>
                        <a:pt x="620456" y="1115305"/>
                      </a:lnTo>
                      <a:lnTo>
                        <a:pt x="620346" y="1114758"/>
                      </a:lnTo>
                      <a:lnTo>
                        <a:pt x="620201" y="1114394"/>
                      </a:lnTo>
                      <a:lnTo>
                        <a:pt x="620370" y="1114139"/>
                      </a:lnTo>
                      <a:lnTo>
                        <a:pt x="622629" y="1111601"/>
                      </a:lnTo>
                      <a:lnTo>
                        <a:pt x="624560" y="1109986"/>
                      </a:lnTo>
                      <a:lnTo>
                        <a:pt x="627158" y="1108832"/>
                      </a:lnTo>
                      <a:lnTo>
                        <a:pt x="631069" y="1107667"/>
                      </a:lnTo>
                      <a:lnTo>
                        <a:pt x="631846" y="1107424"/>
                      </a:lnTo>
                      <a:lnTo>
                        <a:pt x="632550" y="1106999"/>
                      </a:lnTo>
                      <a:lnTo>
                        <a:pt x="633728" y="1106258"/>
                      </a:lnTo>
                      <a:lnTo>
                        <a:pt x="635573" y="1107910"/>
                      </a:lnTo>
                      <a:lnTo>
                        <a:pt x="636496" y="1108735"/>
                      </a:lnTo>
                      <a:lnTo>
                        <a:pt x="637698" y="1109816"/>
                      </a:lnTo>
                      <a:lnTo>
                        <a:pt x="639277" y="1110156"/>
                      </a:lnTo>
                      <a:lnTo>
                        <a:pt x="641050" y="1110533"/>
                      </a:lnTo>
                      <a:lnTo>
                        <a:pt x="641961" y="1110727"/>
                      </a:lnTo>
                      <a:lnTo>
                        <a:pt x="642896" y="1110642"/>
                      </a:lnTo>
                      <a:lnTo>
                        <a:pt x="647158" y="1110241"/>
                      </a:lnTo>
                      <a:lnTo>
                        <a:pt x="649258" y="1110278"/>
                      </a:lnTo>
                      <a:lnTo>
                        <a:pt x="657953" y="1112221"/>
                      </a:lnTo>
                      <a:lnTo>
                        <a:pt x="658888" y="1112427"/>
                      </a:lnTo>
                      <a:lnTo>
                        <a:pt x="659835" y="1112342"/>
                      </a:lnTo>
                      <a:lnTo>
                        <a:pt x="664194" y="1111941"/>
                      </a:lnTo>
                      <a:lnTo>
                        <a:pt x="665239" y="1111844"/>
                      </a:lnTo>
                      <a:lnTo>
                        <a:pt x="666186" y="1111407"/>
                      </a:lnTo>
                      <a:lnTo>
                        <a:pt x="672512" y="1108480"/>
                      </a:lnTo>
                      <a:lnTo>
                        <a:pt x="672609" y="1108432"/>
                      </a:lnTo>
                      <a:lnTo>
                        <a:pt x="672792" y="1108881"/>
                      </a:lnTo>
                      <a:lnTo>
                        <a:pt x="673144" y="1108177"/>
                      </a:lnTo>
                      <a:lnTo>
                        <a:pt x="674747" y="1107424"/>
                      </a:lnTo>
                      <a:lnTo>
                        <a:pt x="675633" y="1105141"/>
                      </a:lnTo>
                      <a:lnTo>
                        <a:pt x="676034" y="1104085"/>
                      </a:lnTo>
                      <a:lnTo>
                        <a:pt x="676216" y="1102494"/>
                      </a:lnTo>
                      <a:lnTo>
                        <a:pt x="676216" y="1102021"/>
                      </a:lnTo>
                      <a:lnTo>
                        <a:pt x="678778" y="1096896"/>
                      </a:lnTo>
                      <a:lnTo>
                        <a:pt x="679713" y="1095633"/>
                      </a:lnTo>
                      <a:lnTo>
                        <a:pt x="680284" y="1094832"/>
                      </a:lnTo>
                      <a:lnTo>
                        <a:pt x="681425" y="1093241"/>
                      </a:lnTo>
                      <a:lnTo>
                        <a:pt x="681425" y="1091298"/>
                      </a:lnTo>
                      <a:lnTo>
                        <a:pt x="681425" y="1090023"/>
                      </a:lnTo>
                      <a:lnTo>
                        <a:pt x="680915" y="1088809"/>
                      </a:lnTo>
                      <a:lnTo>
                        <a:pt x="675609" y="1076836"/>
                      </a:lnTo>
                      <a:lnTo>
                        <a:pt x="671820" y="1064122"/>
                      </a:lnTo>
                      <a:lnTo>
                        <a:pt x="671602" y="1063369"/>
                      </a:lnTo>
                      <a:lnTo>
                        <a:pt x="671189" y="1062702"/>
                      </a:lnTo>
                      <a:lnTo>
                        <a:pt x="669586" y="1060079"/>
                      </a:lnTo>
                      <a:lnTo>
                        <a:pt x="669112" y="1058658"/>
                      </a:lnTo>
                      <a:lnTo>
                        <a:pt x="669683" y="1056545"/>
                      </a:lnTo>
                      <a:lnTo>
                        <a:pt x="672792" y="1050340"/>
                      </a:lnTo>
                      <a:lnTo>
                        <a:pt x="673314" y="1049284"/>
                      </a:lnTo>
                      <a:lnTo>
                        <a:pt x="673411" y="1048118"/>
                      </a:lnTo>
                      <a:lnTo>
                        <a:pt x="674103" y="1039581"/>
                      </a:lnTo>
                      <a:lnTo>
                        <a:pt x="674188" y="1038440"/>
                      </a:lnTo>
                      <a:lnTo>
                        <a:pt x="673860" y="1037347"/>
                      </a:lnTo>
                      <a:lnTo>
                        <a:pt x="671614" y="1029843"/>
                      </a:lnTo>
                      <a:lnTo>
                        <a:pt x="671468" y="1029381"/>
                      </a:lnTo>
                      <a:lnTo>
                        <a:pt x="671262" y="1028944"/>
                      </a:lnTo>
                      <a:lnTo>
                        <a:pt x="657686" y="1000870"/>
                      </a:lnTo>
                      <a:lnTo>
                        <a:pt x="655257" y="994021"/>
                      </a:lnTo>
                      <a:lnTo>
                        <a:pt x="650946" y="971787"/>
                      </a:lnTo>
                      <a:lnTo>
                        <a:pt x="650570" y="964744"/>
                      </a:lnTo>
                      <a:lnTo>
                        <a:pt x="652501" y="959013"/>
                      </a:lnTo>
                      <a:lnTo>
                        <a:pt x="653764" y="955237"/>
                      </a:lnTo>
                      <a:lnTo>
                        <a:pt x="651651" y="953330"/>
                      </a:lnTo>
                      <a:lnTo>
                        <a:pt x="652112" y="952614"/>
                      </a:lnTo>
                      <a:lnTo>
                        <a:pt x="652440" y="952104"/>
                      </a:lnTo>
                      <a:lnTo>
                        <a:pt x="652671" y="951545"/>
                      </a:lnTo>
                      <a:lnTo>
                        <a:pt x="656557" y="941831"/>
                      </a:lnTo>
                      <a:lnTo>
                        <a:pt x="658949" y="938746"/>
                      </a:lnTo>
                      <a:lnTo>
                        <a:pt x="660066" y="937313"/>
                      </a:lnTo>
                      <a:lnTo>
                        <a:pt x="660212" y="935504"/>
                      </a:lnTo>
                      <a:lnTo>
                        <a:pt x="660892" y="926907"/>
                      </a:lnTo>
                      <a:lnTo>
                        <a:pt x="660916" y="926579"/>
                      </a:lnTo>
                      <a:lnTo>
                        <a:pt x="660904" y="926239"/>
                      </a:lnTo>
                      <a:lnTo>
                        <a:pt x="660418" y="911789"/>
                      </a:lnTo>
                      <a:lnTo>
                        <a:pt x="662555" y="901613"/>
                      </a:lnTo>
                      <a:lnTo>
                        <a:pt x="662628" y="901237"/>
                      </a:lnTo>
                      <a:lnTo>
                        <a:pt x="662652" y="900873"/>
                      </a:lnTo>
                      <a:lnTo>
                        <a:pt x="662919" y="897703"/>
                      </a:lnTo>
                      <a:lnTo>
                        <a:pt x="663247" y="897169"/>
                      </a:lnTo>
                      <a:lnTo>
                        <a:pt x="664000" y="895943"/>
                      </a:lnTo>
                      <a:lnTo>
                        <a:pt x="664134" y="894534"/>
                      </a:lnTo>
                      <a:lnTo>
                        <a:pt x="664243" y="893417"/>
                      </a:lnTo>
                      <a:lnTo>
                        <a:pt x="664522" y="890527"/>
                      </a:lnTo>
                      <a:lnTo>
                        <a:pt x="662446" y="888499"/>
                      </a:lnTo>
                      <a:lnTo>
                        <a:pt x="661195" y="887272"/>
                      </a:lnTo>
                      <a:lnTo>
                        <a:pt x="660637" y="886714"/>
                      </a:lnTo>
                      <a:lnTo>
                        <a:pt x="660746" y="886131"/>
                      </a:lnTo>
                      <a:lnTo>
                        <a:pt x="661098" y="884261"/>
                      </a:lnTo>
                      <a:lnTo>
                        <a:pt x="660321" y="882512"/>
                      </a:lnTo>
                      <a:lnTo>
                        <a:pt x="659398" y="880460"/>
                      </a:lnTo>
                      <a:lnTo>
                        <a:pt x="659252" y="880157"/>
                      </a:lnTo>
                      <a:lnTo>
                        <a:pt x="659082" y="879878"/>
                      </a:lnTo>
                      <a:lnTo>
                        <a:pt x="658293" y="878542"/>
                      </a:lnTo>
                      <a:lnTo>
                        <a:pt x="657237" y="872980"/>
                      </a:lnTo>
                      <a:lnTo>
                        <a:pt x="656969" y="871572"/>
                      </a:lnTo>
                      <a:lnTo>
                        <a:pt x="656107" y="870442"/>
                      </a:lnTo>
                      <a:lnTo>
                        <a:pt x="654626" y="868499"/>
                      </a:lnTo>
                      <a:lnTo>
                        <a:pt x="654019" y="867698"/>
                      </a:lnTo>
                      <a:lnTo>
                        <a:pt x="653181" y="867139"/>
                      </a:lnTo>
                      <a:lnTo>
                        <a:pt x="649089" y="864383"/>
                      </a:lnTo>
                      <a:lnTo>
                        <a:pt x="647595" y="863072"/>
                      </a:lnTo>
                      <a:lnTo>
                        <a:pt x="647109" y="854414"/>
                      </a:lnTo>
                      <a:lnTo>
                        <a:pt x="647085" y="853977"/>
                      </a:lnTo>
                      <a:lnTo>
                        <a:pt x="647000" y="853552"/>
                      </a:lnTo>
                      <a:lnTo>
                        <a:pt x="641098" y="824153"/>
                      </a:lnTo>
                      <a:lnTo>
                        <a:pt x="641147" y="820669"/>
                      </a:lnTo>
                      <a:lnTo>
                        <a:pt x="641159" y="819563"/>
                      </a:lnTo>
                      <a:lnTo>
                        <a:pt x="640783" y="818531"/>
                      </a:lnTo>
                      <a:lnTo>
                        <a:pt x="638706" y="812751"/>
                      </a:lnTo>
                      <a:lnTo>
                        <a:pt x="637553" y="806182"/>
                      </a:lnTo>
                      <a:lnTo>
                        <a:pt x="637298" y="792424"/>
                      </a:lnTo>
                      <a:lnTo>
                        <a:pt x="642604" y="771842"/>
                      </a:lnTo>
                      <a:lnTo>
                        <a:pt x="642714" y="771417"/>
                      </a:lnTo>
                      <a:lnTo>
                        <a:pt x="642762" y="770979"/>
                      </a:lnTo>
                      <a:lnTo>
                        <a:pt x="644669" y="753239"/>
                      </a:lnTo>
                      <a:lnTo>
                        <a:pt x="644778" y="752255"/>
                      </a:lnTo>
                      <a:lnTo>
                        <a:pt x="644644" y="751672"/>
                      </a:lnTo>
                      <a:lnTo>
                        <a:pt x="649538" y="741023"/>
                      </a:lnTo>
                      <a:lnTo>
                        <a:pt x="649708" y="740634"/>
                      </a:lnTo>
                      <a:lnTo>
                        <a:pt x="649829" y="740234"/>
                      </a:lnTo>
                      <a:lnTo>
                        <a:pt x="650582" y="737720"/>
                      </a:lnTo>
                      <a:lnTo>
                        <a:pt x="652209" y="735437"/>
                      </a:lnTo>
                      <a:lnTo>
                        <a:pt x="658001" y="729669"/>
                      </a:lnTo>
                      <a:lnTo>
                        <a:pt x="658281" y="729390"/>
                      </a:lnTo>
                      <a:lnTo>
                        <a:pt x="658524" y="729087"/>
                      </a:lnTo>
                      <a:lnTo>
                        <a:pt x="660588" y="726415"/>
                      </a:lnTo>
                      <a:lnTo>
                        <a:pt x="660892" y="726026"/>
                      </a:lnTo>
                      <a:lnTo>
                        <a:pt x="661134" y="725589"/>
                      </a:lnTo>
                      <a:lnTo>
                        <a:pt x="664049" y="720198"/>
                      </a:lnTo>
                      <a:lnTo>
                        <a:pt x="665822" y="717745"/>
                      </a:lnTo>
                      <a:lnTo>
                        <a:pt x="670023" y="711929"/>
                      </a:lnTo>
                      <a:lnTo>
                        <a:pt x="665979" y="709913"/>
                      </a:lnTo>
                      <a:lnTo>
                        <a:pt x="667449" y="707083"/>
                      </a:lnTo>
                      <a:lnTo>
                        <a:pt x="667971" y="706075"/>
                      </a:lnTo>
                      <a:lnTo>
                        <a:pt x="668092" y="704946"/>
                      </a:lnTo>
                      <a:lnTo>
                        <a:pt x="668408" y="702056"/>
                      </a:lnTo>
                      <a:lnTo>
                        <a:pt x="676107" y="682761"/>
                      </a:lnTo>
                      <a:lnTo>
                        <a:pt x="678535" y="678839"/>
                      </a:lnTo>
                      <a:lnTo>
                        <a:pt x="692548" y="665336"/>
                      </a:lnTo>
                      <a:lnTo>
                        <a:pt x="697575" y="662082"/>
                      </a:lnTo>
                      <a:lnTo>
                        <a:pt x="704703" y="660151"/>
                      </a:lnTo>
                      <a:lnTo>
                        <a:pt x="705687" y="659896"/>
                      </a:lnTo>
                      <a:lnTo>
                        <a:pt x="706525" y="659313"/>
                      </a:lnTo>
                      <a:lnTo>
                        <a:pt x="708249" y="658135"/>
                      </a:lnTo>
                      <a:lnTo>
                        <a:pt x="708698" y="657844"/>
                      </a:lnTo>
                      <a:lnTo>
                        <a:pt x="709087" y="657467"/>
                      </a:lnTo>
                      <a:lnTo>
                        <a:pt x="711588" y="655015"/>
                      </a:lnTo>
                      <a:lnTo>
                        <a:pt x="712280" y="654966"/>
                      </a:lnTo>
                      <a:lnTo>
                        <a:pt x="712997" y="654905"/>
                      </a:lnTo>
                      <a:lnTo>
                        <a:pt x="713677" y="654687"/>
                      </a:lnTo>
                      <a:lnTo>
                        <a:pt x="715401" y="654140"/>
                      </a:lnTo>
                      <a:lnTo>
                        <a:pt x="715923" y="653970"/>
                      </a:lnTo>
                      <a:lnTo>
                        <a:pt x="716421" y="653715"/>
                      </a:lnTo>
                      <a:lnTo>
                        <a:pt x="722796" y="650327"/>
                      </a:lnTo>
                      <a:lnTo>
                        <a:pt x="723185" y="650121"/>
                      </a:lnTo>
                      <a:lnTo>
                        <a:pt x="723537" y="649866"/>
                      </a:lnTo>
                      <a:lnTo>
                        <a:pt x="725383" y="648518"/>
                      </a:lnTo>
                      <a:lnTo>
                        <a:pt x="726342" y="649672"/>
                      </a:lnTo>
                      <a:lnTo>
                        <a:pt x="730167" y="648530"/>
                      </a:lnTo>
                      <a:lnTo>
                        <a:pt x="732632" y="647790"/>
                      </a:lnTo>
                      <a:lnTo>
                        <a:pt x="733446" y="647535"/>
                      </a:lnTo>
                      <a:lnTo>
                        <a:pt x="734162" y="647085"/>
                      </a:lnTo>
                      <a:lnTo>
                        <a:pt x="736396" y="645665"/>
                      </a:lnTo>
                      <a:lnTo>
                        <a:pt x="738291" y="645082"/>
                      </a:lnTo>
                      <a:lnTo>
                        <a:pt x="745831" y="644815"/>
                      </a:lnTo>
                      <a:lnTo>
                        <a:pt x="755424" y="644463"/>
                      </a:lnTo>
                      <a:lnTo>
                        <a:pt x="754623" y="642896"/>
                      </a:lnTo>
                      <a:lnTo>
                        <a:pt x="758606" y="643163"/>
                      </a:lnTo>
                      <a:lnTo>
                        <a:pt x="761739" y="643783"/>
                      </a:lnTo>
                      <a:lnTo>
                        <a:pt x="762528" y="644232"/>
                      </a:lnTo>
                      <a:lnTo>
                        <a:pt x="766037" y="649878"/>
                      </a:lnTo>
                      <a:lnTo>
                        <a:pt x="766826" y="655524"/>
                      </a:lnTo>
                      <a:lnTo>
                        <a:pt x="766669" y="671942"/>
                      </a:lnTo>
                      <a:lnTo>
                        <a:pt x="766547" y="685263"/>
                      </a:lnTo>
                      <a:lnTo>
                        <a:pt x="776674" y="676629"/>
                      </a:lnTo>
                      <a:lnTo>
                        <a:pt x="779079" y="674577"/>
                      </a:lnTo>
                      <a:lnTo>
                        <a:pt x="780062" y="673739"/>
                      </a:lnTo>
                      <a:lnTo>
                        <a:pt x="780621" y="672573"/>
                      </a:lnTo>
                      <a:lnTo>
                        <a:pt x="782503" y="668627"/>
                      </a:lnTo>
                      <a:lnTo>
                        <a:pt x="782673" y="668287"/>
                      </a:lnTo>
                      <a:lnTo>
                        <a:pt x="782794" y="667922"/>
                      </a:lnTo>
                      <a:lnTo>
                        <a:pt x="787457" y="653812"/>
                      </a:lnTo>
                      <a:lnTo>
                        <a:pt x="788635" y="651274"/>
                      </a:lnTo>
                      <a:lnTo>
                        <a:pt x="789485" y="652319"/>
                      </a:lnTo>
                      <a:lnTo>
                        <a:pt x="790651" y="653764"/>
                      </a:lnTo>
                      <a:lnTo>
                        <a:pt x="792424" y="654310"/>
                      </a:lnTo>
                      <a:lnTo>
                        <a:pt x="795253" y="655172"/>
                      </a:lnTo>
                      <a:lnTo>
                        <a:pt x="795800" y="655500"/>
                      </a:lnTo>
                      <a:lnTo>
                        <a:pt x="800462" y="659434"/>
                      </a:lnTo>
                      <a:lnTo>
                        <a:pt x="801774" y="661219"/>
                      </a:lnTo>
                      <a:lnTo>
                        <a:pt x="802126" y="661693"/>
                      </a:lnTo>
                      <a:lnTo>
                        <a:pt x="802563" y="662082"/>
                      </a:lnTo>
                      <a:lnTo>
                        <a:pt x="803996" y="663393"/>
                      </a:lnTo>
                      <a:lnTo>
                        <a:pt x="804336" y="663697"/>
                      </a:lnTo>
                      <a:lnTo>
                        <a:pt x="804712" y="663952"/>
                      </a:lnTo>
                      <a:lnTo>
                        <a:pt x="806376" y="665069"/>
                      </a:lnTo>
                      <a:lnTo>
                        <a:pt x="807688" y="665943"/>
                      </a:lnTo>
                      <a:lnTo>
                        <a:pt x="809266" y="666077"/>
                      </a:lnTo>
                      <a:lnTo>
                        <a:pt x="810699" y="666198"/>
                      </a:lnTo>
                      <a:lnTo>
                        <a:pt x="813407" y="666429"/>
                      </a:lnTo>
                      <a:lnTo>
                        <a:pt x="815386" y="664571"/>
                      </a:lnTo>
                      <a:lnTo>
                        <a:pt x="816649" y="663357"/>
                      </a:lnTo>
                      <a:lnTo>
                        <a:pt x="818543" y="661572"/>
                      </a:lnTo>
                      <a:lnTo>
                        <a:pt x="818543" y="658961"/>
                      </a:lnTo>
                      <a:lnTo>
                        <a:pt x="818543" y="657370"/>
                      </a:lnTo>
                      <a:lnTo>
                        <a:pt x="818543" y="656375"/>
                      </a:lnTo>
                      <a:lnTo>
                        <a:pt x="818228" y="655440"/>
                      </a:lnTo>
                      <a:lnTo>
                        <a:pt x="816965" y="651675"/>
                      </a:lnTo>
                      <a:lnTo>
                        <a:pt x="816734" y="650995"/>
                      </a:lnTo>
                      <a:lnTo>
                        <a:pt x="816357" y="650388"/>
                      </a:lnTo>
                      <a:lnTo>
                        <a:pt x="815665" y="649271"/>
                      </a:lnTo>
                      <a:lnTo>
                        <a:pt x="815131" y="648554"/>
                      </a:lnTo>
                      <a:lnTo>
                        <a:pt x="818252" y="644644"/>
                      </a:lnTo>
                      <a:lnTo>
                        <a:pt x="820535" y="642750"/>
                      </a:lnTo>
                      <a:lnTo>
                        <a:pt x="828634" y="637760"/>
                      </a:lnTo>
                      <a:lnTo>
                        <a:pt x="829229" y="637395"/>
                      </a:lnTo>
                      <a:lnTo>
                        <a:pt x="829727" y="636909"/>
                      </a:lnTo>
                      <a:lnTo>
                        <a:pt x="837256" y="629442"/>
                      </a:lnTo>
                      <a:lnTo>
                        <a:pt x="838300" y="629211"/>
                      </a:lnTo>
                      <a:lnTo>
                        <a:pt x="841663" y="628470"/>
                      </a:lnTo>
                      <a:lnTo>
                        <a:pt x="842756" y="625203"/>
                      </a:lnTo>
                      <a:lnTo>
                        <a:pt x="843776" y="622168"/>
                      </a:lnTo>
                      <a:lnTo>
                        <a:pt x="844080" y="621257"/>
                      </a:lnTo>
                      <a:lnTo>
                        <a:pt x="844092" y="620298"/>
                      </a:lnTo>
                      <a:lnTo>
                        <a:pt x="844189" y="611009"/>
                      </a:lnTo>
                      <a:lnTo>
                        <a:pt x="844857" y="608956"/>
                      </a:lnTo>
                      <a:lnTo>
                        <a:pt x="847868" y="603795"/>
                      </a:lnTo>
                      <a:lnTo>
                        <a:pt x="848391" y="602909"/>
                      </a:lnTo>
                      <a:lnTo>
                        <a:pt x="848585" y="601901"/>
                      </a:lnTo>
                      <a:lnTo>
                        <a:pt x="850406" y="592576"/>
                      </a:lnTo>
                      <a:lnTo>
                        <a:pt x="855385" y="581562"/>
                      </a:lnTo>
                      <a:lnTo>
                        <a:pt x="855604" y="581100"/>
                      </a:lnTo>
                      <a:lnTo>
                        <a:pt x="855725" y="580603"/>
                      </a:lnTo>
                      <a:lnTo>
                        <a:pt x="857619" y="573414"/>
                      </a:lnTo>
                      <a:lnTo>
                        <a:pt x="861226" y="569128"/>
                      </a:lnTo>
                      <a:lnTo>
                        <a:pt x="862051" y="568144"/>
                      </a:lnTo>
                      <a:lnTo>
                        <a:pt x="862404" y="566905"/>
                      </a:lnTo>
                      <a:lnTo>
                        <a:pt x="863375" y="563578"/>
                      </a:lnTo>
                      <a:lnTo>
                        <a:pt x="863836" y="562012"/>
                      </a:lnTo>
                      <a:lnTo>
                        <a:pt x="863436" y="560409"/>
                      </a:lnTo>
                      <a:lnTo>
                        <a:pt x="862804" y="557883"/>
                      </a:lnTo>
                      <a:lnTo>
                        <a:pt x="862671" y="557361"/>
                      </a:lnTo>
                      <a:lnTo>
                        <a:pt x="870564" y="552492"/>
                      </a:lnTo>
                      <a:lnTo>
                        <a:pt x="872009" y="552249"/>
                      </a:lnTo>
                      <a:lnTo>
                        <a:pt x="872373" y="552188"/>
                      </a:lnTo>
                      <a:lnTo>
                        <a:pt x="872725" y="552091"/>
                      </a:lnTo>
                      <a:lnTo>
                        <a:pt x="874619" y="551545"/>
                      </a:lnTo>
                      <a:lnTo>
                        <a:pt x="875214" y="551508"/>
                      </a:lnTo>
                      <a:lnTo>
                        <a:pt x="876987" y="552261"/>
                      </a:lnTo>
                      <a:lnTo>
                        <a:pt x="879974" y="553524"/>
                      </a:lnTo>
                      <a:lnTo>
                        <a:pt x="876878" y="561648"/>
                      </a:lnTo>
                      <a:lnTo>
                        <a:pt x="888948" y="557737"/>
                      </a:lnTo>
                      <a:lnTo>
                        <a:pt x="899306" y="554386"/>
                      </a:lnTo>
                      <a:lnTo>
                        <a:pt x="901395" y="554155"/>
                      </a:lnTo>
                      <a:lnTo>
                        <a:pt x="907818" y="555904"/>
                      </a:lnTo>
                      <a:lnTo>
                        <a:pt x="909130" y="556256"/>
                      </a:lnTo>
                      <a:lnTo>
                        <a:pt x="910465" y="556013"/>
                      </a:lnTo>
                      <a:lnTo>
                        <a:pt x="911072" y="555904"/>
                      </a:lnTo>
                      <a:lnTo>
                        <a:pt x="913950" y="556633"/>
                      </a:lnTo>
                      <a:lnTo>
                        <a:pt x="917095" y="557422"/>
                      </a:lnTo>
                      <a:lnTo>
                        <a:pt x="917605" y="557555"/>
                      </a:lnTo>
                      <a:lnTo>
                        <a:pt x="918128" y="557604"/>
                      </a:lnTo>
                      <a:lnTo>
                        <a:pt x="923835" y="558041"/>
                      </a:lnTo>
                      <a:lnTo>
                        <a:pt x="925717" y="558891"/>
                      </a:lnTo>
                      <a:lnTo>
                        <a:pt x="927611" y="559753"/>
                      </a:lnTo>
                      <a:lnTo>
                        <a:pt x="929639" y="559267"/>
                      </a:lnTo>
                      <a:lnTo>
                        <a:pt x="931266" y="558891"/>
                      </a:lnTo>
                      <a:lnTo>
                        <a:pt x="932820" y="559644"/>
                      </a:lnTo>
                      <a:lnTo>
                        <a:pt x="936038" y="561830"/>
                      </a:lnTo>
                      <a:lnTo>
                        <a:pt x="937107" y="562558"/>
                      </a:lnTo>
                      <a:lnTo>
                        <a:pt x="938370" y="562789"/>
                      </a:lnTo>
                      <a:lnTo>
                        <a:pt x="941296" y="563311"/>
                      </a:lnTo>
                      <a:lnTo>
                        <a:pt x="941818" y="563408"/>
                      </a:lnTo>
                      <a:lnTo>
                        <a:pt x="942353" y="563408"/>
                      </a:lnTo>
                      <a:lnTo>
                        <a:pt x="943446" y="563408"/>
                      </a:lnTo>
                      <a:lnTo>
                        <a:pt x="944150" y="563408"/>
                      </a:lnTo>
                      <a:lnTo>
                        <a:pt x="944842" y="563238"/>
                      </a:lnTo>
                      <a:lnTo>
                        <a:pt x="953391" y="561223"/>
                      </a:lnTo>
                      <a:lnTo>
                        <a:pt x="954739" y="560919"/>
                      </a:lnTo>
                      <a:lnTo>
                        <a:pt x="955819" y="560044"/>
                      </a:lnTo>
                      <a:lnTo>
                        <a:pt x="959073" y="557410"/>
                      </a:lnTo>
                      <a:lnTo>
                        <a:pt x="972807" y="550792"/>
                      </a:lnTo>
                      <a:lnTo>
                        <a:pt x="975685" y="549808"/>
                      </a:lnTo>
                      <a:lnTo>
                        <a:pt x="978527" y="549164"/>
                      </a:lnTo>
                      <a:lnTo>
                        <a:pt x="985691" y="548715"/>
                      </a:lnTo>
                      <a:lnTo>
                        <a:pt x="986747" y="548642"/>
                      </a:lnTo>
                      <a:lnTo>
                        <a:pt x="987731" y="548217"/>
                      </a:lnTo>
                      <a:lnTo>
                        <a:pt x="989115" y="547610"/>
                      </a:lnTo>
                      <a:lnTo>
                        <a:pt x="991107" y="546748"/>
                      </a:lnTo>
                      <a:lnTo>
                        <a:pt x="992042" y="544914"/>
                      </a:lnTo>
                      <a:lnTo>
                        <a:pt x="992515" y="544951"/>
                      </a:lnTo>
                      <a:lnTo>
                        <a:pt x="992892" y="544987"/>
                      </a:lnTo>
                      <a:lnTo>
                        <a:pt x="993268" y="544963"/>
                      </a:lnTo>
                      <a:lnTo>
                        <a:pt x="995332" y="544866"/>
                      </a:lnTo>
                      <a:lnTo>
                        <a:pt x="997215" y="544781"/>
                      </a:lnTo>
                      <a:lnTo>
                        <a:pt x="998720" y="543640"/>
                      </a:lnTo>
                      <a:lnTo>
                        <a:pt x="1001550" y="541490"/>
                      </a:lnTo>
                      <a:lnTo>
                        <a:pt x="1002011" y="541138"/>
                      </a:lnTo>
                      <a:lnTo>
                        <a:pt x="1002399" y="540713"/>
                      </a:lnTo>
                      <a:lnTo>
                        <a:pt x="1004925" y="537920"/>
                      </a:lnTo>
                      <a:lnTo>
                        <a:pt x="1005362" y="537568"/>
                      </a:lnTo>
                      <a:lnTo>
                        <a:pt x="1008629" y="537932"/>
                      </a:lnTo>
                      <a:lnTo>
                        <a:pt x="1010377" y="538127"/>
                      </a:lnTo>
                      <a:lnTo>
                        <a:pt x="1011956" y="537374"/>
                      </a:lnTo>
                      <a:lnTo>
                        <a:pt x="1016097" y="535370"/>
                      </a:lnTo>
                      <a:lnTo>
                        <a:pt x="1016582" y="535127"/>
                      </a:lnTo>
                      <a:lnTo>
                        <a:pt x="1017020" y="534811"/>
                      </a:lnTo>
                      <a:lnTo>
                        <a:pt x="1022593" y="530768"/>
                      </a:lnTo>
                      <a:lnTo>
                        <a:pt x="1030850" y="526785"/>
                      </a:lnTo>
                      <a:lnTo>
                        <a:pt x="1033024" y="526336"/>
                      </a:lnTo>
                      <a:lnTo>
                        <a:pt x="1034020" y="526129"/>
                      </a:lnTo>
                      <a:lnTo>
                        <a:pt x="1034882" y="525607"/>
                      </a:lnTo>
                      <a:lnTo>
                        <a:pt x="1037675" y="523944"/>
                      </a:lnTo>
                      <a:lnTo>
                        <a:pt x="1038294" y="523579"/>
                      </a:lnTo>
                      <a:lnTo>
                        <a:pt x="1038804" y="523082"/>
                      </a:lnTo>
                      <a:lnTo>
                        <a:pt x="1048215" y="513950"/>
                      </a:lnTo>
                      <a:lnTo>
                        <a:pt x="1055877" y="511631"/>
                      </a:lnTo>
                      <a:lnTo>
                        <a:pt x="1065421" y="508741"/>
                      </a:lnTo>
                      <a:lnTo>
                        <a:pt x="1060686" y="503872"/>
                      </a:lnTo>
                      <a:lnTo>
                        <a:pt x="1061123" y="501443"/>
                      </a:lnTo>
                      <a:lnTo>
                        <a:pt x="1061293" y="500483"/>
                      </a:lnTo>
                      <a:lnTo>
                        <a:pt x="1061499" y="499318"/>
                      </a:lnTo>
                      <a:lnTo>
                        <a:pt x="1061269" y="498201"/>
                      </a:lnTo>
                      <a:lnTo>
                        <a:pt x="1065349" y="489361"/>
                      </a:lnTo>
                      <a:lnTo>
                        <a:pt x="1065555" y="488923"/>
                      </a:lnTo>
                      <a:lnTo>
                        <a:pt x="1065689" y="488450"/>
                      </a:lnTo>
                      <a:lnTo>
                        <a:pt x="1067182" y="483107"/>
                      </a:lnTo>
                      <a:lnTo>
                        <a:pt x="1067316" y="482621"/>
                      </a:lnTo>
                      <a:lnTo>
                        <a:pt x="1067364" y="482123"/>
                      </a:lnTo>
                      <a:lnTo>
                        <a:pt x="1068469" y="471911"/>
                      </a:lnTo>
                      <a:lnTo>
                        <a:pt x="1070886" y="462646"/>
                      </a:lnTo>
                      <a:lnTo>
                        <a:pt x="1071056" y="462003"/>
                      </a:lnTo>
                      <a:lnTo>
                        <a:pt x="1071080" y="461335"/>
                      </a:lnTo>
                      <a:lnTo>
                        <a:pt x="1071420" y="451948"/>
                      </a:lnTo>
                      <a:lnTo>
                        <a:pt x="1071250" y="442319"/>
                      </a:lnTo>
                      <a:lnTo>
                        <a:pt x="1071238" y="441821"/>
                      </a:lnTo>
                      <a:lnTo>
                        <a:pt x="1071153" y="441335"/>
                      </a:lnTo>
                      <a:lnTo>
                        <a:pt x="1070181" y="436017"/>
                      </a:lnTo>
                      <a:lnTo>
                        <a:pt x="1069987" y="434936"/>
                      </a:lnTo>
                      <a:lnTo>
                        <a:pt x="1069429" y="433989"/>
                      </a:lnTo>
                      <a:lnTo>
                        <a:pt x="1067073" y="430054"/>
                      </a:lnTo>
                      <a:lnTo>
                        <a:pt x="1060443" y="418968"/>
                      </a:lnTo>
                      <a:lnTo>
                        <a:pt x="1064656" y="415179"/>
                      </a:lnTo>
                      <a:lnTo>
                        <a:pt x="1065106" y="414779"/>
                      </a:lnTo>
                      <a:lnTo>
                        <a:pt x="1065470" y="414293"/>
                      </a:lnTo>
                      <a:lnTo>
                        <a:pt x="1070534" y="407493"/>
                      </a:lnTo>
                      <a:lnTo>
                        <a:pt x="1072537" y="405489"/>
                      </a:lnTo>
                      <a:lnTo>
                        <a:pt x="1077904" y="403449"/>
                      </a:lnTo>
                      <a:lnTo>
                        <a:pt x="1079349" y="402903"/>
                      </a:lnTo>
                      <a:lnTo>
                        <a:pt x="1080357" y="401737"/>
                      </a:lnTo>
                      <a:lnTo>
                        <a:pt x="1082652" y="399078"/>
                      </a:lnTo>
                      <a:lnTo>
                        <a:pt x="1083041" y="398628"/>
                      </a:lnTo>
                      <a:lnTo>
                        <a:pt x="1083332" y="398106"/>
                      </a:lnTo>
                      <a:lnTo>
                        <a:pt x="1086125" y="393201"/>
                      </a:lnTo>
                      <a:lnTo>
                        <a:pt x="1089367" y="389801"/>
                      </a:lnTo>
                      <a:lnTo>
                        <a:pt x="1133640" y="363086"/>
                      </a:lnTo>
                      <a:lnTo>
                        <a:pt x="1140246" y="361289"/>
                      </a:lnTo>
                      <a:lnTo>
                        <a:pt x="1141145" y="361034"/>
                      </a:lnTo>
                      <a:lnTo>
                        <a:pt x="1141934" y="360524"/>
                      </a:lnTo>
                      <a:lnTo>
                        <a:pt x="1148236" y="356456"/>
                      </a:lnTo>
                      <a:lnTo>
                        <a:pt x="1154988" y="354829"/>
                      </a:lnTo>
                      <a:lnTo>
                        <a:pt x="1155947" y="354586"/>
                      </a:lnTo>
                      <a:lnTo>
                        <a:pt x="1156785" y="354064"/>
                      </a:lnTo>
                      <a:lnTo>
                        <a:pt x="1159893" y="352121"/>
                      </a:lnTo>
                      <a:lnTo>
                        <a:pt x="1160816" y="351417"/>
                      </a:lnTo>
                      <a:lnTo>
                        <a:pt x="1162529" y="351599"/>
                      </a:lnTo>
                      <a:lnTo>
                        <a:pt x="1164022" y="351757"/>
                      </a:lnTo>
                      <a:lnTo>
                        <a:pt x="1166305" y="352000"/>
                      </a:lnTo>
                      <a:lnTo>
                        <a:pt x="1168175" y="350676"/>
                      </a:lnTo>
                      <a:lnTo>
                        <a:pt x="1176699" y="344580"/>
                      </a:lnTo>
                      <a:lnTo>
                        <a:pt x="1177027" y="344447"/>
                      </a:lnTo>
                      <a:lnTo>
                        <a:pt x="1179820" y="343730"/>
                      </a:lnTo>
                      <a:lnTo>
                        <a:pt x="1180670" y="343512"/>
                      </a:lnTo>
                      <a:lnTo>
                        <a:pt x="1181423" y="343062"/>
                      </a:lnTo>
                      <a:lnTo>
                        <a:pt x="1182577" y="342370"/>
                      </a:lnTo>
                      <a:lnTo>
                        <a:pt x="1183196" y="342006"/>
                      </a:lnTo>
                      <a:lnTo>
                        <a:pt x="1183718" y="341496"/>
                      </a:lnTo>
                      <a:lnTo>
                        <a:pt x="1187361" y="337914"/>
                      </a:lnTo>
                      <a:lnTo>
                        <a:pt x="1190955" y="335133"/>
                      </a:lnTo>
                      <a:lnTo>
                        <a:pt x="1196638" y="332389"/>
                      </a:lnTo>
                      <a:lnTo>
                        <a:pt x="1197099" y="332158"/>
                      </a:lnTo>
                      <a:lnTo>
                        <a:pt x="1197524" y="331867"/>
                      </a:lnTo>
                      <a:lnTo>
                        <a:pt x="1203389" y="327677"/>
                      </a:lnTo>
                      <a:lnTo>
                        <a:pt x="1218216" y="322334"/>
                      </a:lnTo>
                      <a:lnTo>
                        <a:pt x="1218981" y="322055"/>
                      </a:lnTo>
                      <a:lnTo>
                        <a:pt x="1219649" y="321594"/>
                      </a:lnTo>
                      <a:lnTo>
                        <a:pt x="1223996" y="318534"/>
                      </a:lnTo>
                      <a:lnTo>
                        <a:pt x="1225380" y="317781"/>
                      </a:lnTo>
                      <a:lnTo>
                        <a:pt x="1227080" y="317429"/>
                      </a:lnTo>
                      <a:lnTo>
                        <a:pt x="1227615" y="317307"/>
                      </a:lnTo>
                      <a:lnTo>
                        <a:pt x="1228125" y="317089"/>
                      </a:lnTo>
                      <a:lnTo>
                        <a:pt x="1231160" y="315826"/>
                      </a:lnTo>
                      <a:lnTo>
                        <a:pt x="1236430" y="313640"/>
                      </a:lnTo>
                      <a:lnTo>
                        <a:pt x="1234585" y="308249"/>
                      </a:lnTo>
                      <a:lnTo>
                        <a:pt x="1234196" y="307095"/>
                      </a:lnTo>
                      <a:lnTo>
                        <a:pt x="1234512" y="306937"/>
                      </a:lnTo>
                      <a:lnTo>
                        <a:pt x="1235143" y="306621"/>
                      </a:lnTo>
                      <a:lnTo>
                        <a:pt x="1235690" y="306172"/>
                      </a:lnTo>
                      <a:lnTo>
                        <a:pt x="1237499" y="304667"/>
                      </a:lnTo>
                      <a:lnTo>
                        <a:pt x="1240680" y="303294"/>
                      </a:lnTo>
                      <a:lnTo>
                        <a:pt x="1241251" y="303039"/>
                      </a:lnTo>
                      <a:lnTo>
                        <a:pt x="1241761" y="302687"/>
                      </a:lnTo>
                      <a:lnTo>
                        <a:pt x="1243582" y="301412"/>
                      </a:lnTo>
                      <a:lnTo>
                        <a:pt x="1246363" y="299457"/>
                      </a:lnTo>
                      <a:lnTo>
                        <a:pt x="1246145" y="296057"/>
                      </a:lnTo>
                      <a:lnTo>
                        <a:pt x="1246048" y="294612"/>
                      </a:lnTo>
                      <a:lnTo>
                        <a:pt x="1246096" y="294551"/>
                      </a:lnTo>
                      <a:lnTo>
                        <a:pt x="1246521" y="294406"/>
                      </a:lnTo>
                      <a:lnTo>
                        <a:pt x="1247153" y="293993"/>
                      </a:lnTo>
                      <a:lnTo>
                        <a:pt x="1251342" y="291236"/>
                      </a:lnTo>
                      <a:lnTo>
                        <a:pt x="1252022" y="290787"/>
                      </a:lnTo>
                      <a:lnTo>
                        <a:pt x="1252568" y="290168"/>
                      </a:lnTo>
                      <a:lnTo>
                        <a:pt x="1263983" y="277199"/>
                      </a:lnTo>
                      <a:lnTo>
                        <a:pt x="1264226" y="276944"/>
                      </a:lnTo>
                      <a:lnTo>
                        <a:pt x="1264432" y="276653"/>
                      </a:lnTo>
                      <a:lnTo>
                        <a:pt x="1267358" y="272427"/>
                      </a:lnTo>
                      <a:lnTo>
                        <a:pt x="1268038" y="271456"/>
                      </a:lnTo>
                      <a:lnTo>
                        <a:pt x="1268293" y="270290"/>
                      </a:lnTo>
                      <a:lnTo>
                        <a:pt x="1269581" y="264449"/>
                      </a:lnTo>
                      <a:lnTo>
                        <a:pt x="1269884" y="263660"/>
                      </a:lnTo>
                      <a:lnTo>
                        <a:pt x="1272361" y="261984"/>
                      </a:lnTo>
                      <a:lnTo>
                        <a:pt x="1275154" y="260102"/>
                      </a:lnTo>
                      <a:lnTo>
                        <a:pt x="1275033" y="256726"/>
                      </a:lnTo>
                      <a:lnTo>
                        <a:pt x="1275021" y="256422"/>
                      </a:lnTo>
                      <a:lnTo>
                        <a:pt x="1275373" y="256422"/>
                      </a:lnTo>
                      <a:lnTo>
                        <a:pt x="1277182" y="254443"/>
                      </a:lnTo>
                      <a:lnTo>
                        <a:pt x="1279210" y="252197"/>
                      </a:lnTo>
                      <a:lnTo>
                        <a:pt x="1286046" y="247643"/>
                      </a:lnTo>
                      <a:lnTo>
                        <a:pt x="1286909" y="247073"/>
                      </a:lnTo>
                      <a:lnTo>
                        <a:pt x="1287528" y="246247"/>
                      </a:lnTo>
                      <a:lnTo>
                        <a:pt x="1288536" y="244911"/>
                      </a:lnTo>
                      <a:lnTo>
                        <a:pt x="1288596" y="244862"/>
                      </a:lnTo>
                      <a:lnTo>
                        <a:pt x="1288985" y="244595"/>
                      </a:lnTo>
                      <a:lnTo>
                        <a:pt x="1289313" y="244255"/>
                      </a:lnTo>
                      <a:lnTo>
                        <a:pt x="1292640" y="240940"/>
                      </a:lnTo>
                      <a:lnTo>
                        <a:pt x="1293441" y="240151"/>
                      </a:lnTo>
                      <a:lnTo>
                        <a:pt x="1293903" y="239107"/>
                      </a:lnTo>
                      <a:lnTo>
                        <a:pt x="1293939" y="239010"/>
                      </a:lnTo>
                      <a:lnTo>
                        <a:pt x="1294304" y="238548"/>
                      </a:lnTo>
                      <a:lnTo>
                        <a:pt x="1294729" y="238014"/>
                      </a:lnTo>
                      <a:lnTo>
                        <a:pt x="1295020" y="237395"/>
                      </a:lnTo>
                      <a:lnTo>
                        <a:pt x="1297327" y="232562"/>
                      </a:lnTo>
                      <a:lnTo>
                        <a:pt x="1297789" y="231821"/>
                      </a:lnTo>
                      <a:lnTo>
                        <a:pt x="1302634" y="227692"/>
                      </a:lnTo>
                      <a:lnTo>
                        <a:pt x="1332165" y="209830"/>
                      </a:lnTo>
                      <a:lnTo>
                        <a:pt x="1388509" y="184403"/>
                      </a:lnTo>
                      <a:lnTo>
                        <a:pt x="1389152" y="184111"/>
                      </a:lnTo>
                      <a:lnTo>
                        <a:pt x="1389711" y="183674"/>
                      </a:lnTo>
                      <a:lnTo>
                        <a:pt x="1396414" y="178501"/>
                      </a:lnTo>
                      <a:lnTo>
                        <a:pt x="1397956" y="177311"/>
                      </a:lnTo>
                      <a:lnTo>
                        <a:pt x="1398514" y="175466"/>
                      </a:lnTo>
                      <a:lnTo>
                        <a:pt x="1400239" y="169783"/>
                      </a:lnTo>
                      <a:lnTo>
                        <a:pt x="1401016" y="168872"/>
                      </a:lnTo>
                      <a:lnTo>
                        <a:pt x="1401732" y="168034"/>
                      </a:lnTo>
                      <a:lnTo>
                        <a:pt x="1402109" y="167002"/>
                      </a:lnTo>
                      <a:lnTo>
                        <a:pt x="1402813" y="165035"/>
                      </a:lnTo>
                      <a:lnTo>
                        <a:pt x="1402934" y="164695"/>
                      </a:lnTo>
                      <a:lnTo>
                        <a:pt x="1403019" y="164331"/>
                      </a:lnTo>
                      <a:lnTo>
                        <a:pt x="1403335" y="162934"/>
                      </a:lnTo>
                      <a:lnTo>
                        <a:pt x="1403590" y="162388"/>
                      </a:lnTo>
                      <a:lnTo>
                        <a:pt x="1404258" y="161708"/>
                      </a:lnTo>
                      <a:lnTo>
                        <a:pt x="1407961" y="158805"/>
                      </a:lnTo>
                      <a:lnTo>
                        <a:pt x="1408593" y="158308"/>
                      </a:lnTo>
                      <a:lnTo>
                        <a:pt x="1409079" y="157652"/>
                      </a:lnTo>
                      <a:lnTo>
                        <a:pt x="1411131" y="154908"/>
                      </a:lnTo>
                      <a:lnTo>
                        <a:pt x="1418186" y="150026"/>
                      </a:lnTo>
                      <a:lnTo>
                        <a:pt x="1419169" y="149346"/>
                      </a:lnTo>
                      <a:lnTo>
                        <a:pt x="1419813" y="148350"/>
                      </a:lnTo>
                      <a:lnTo>
                        <a:pt x="1421294" y="146080"/>
                      </a:lnTo>
                      <a:lnTo>
                        <a:pt x="1429527" y="138017"/>
                      </a:lnTo>
                      <a:lnTo>
                        <a:pt x="1437372" y="131860"/>
                      </a:lnTo>
                      <a:lnTo>
                        <a:pt x="1440881" y="129079"/>
                      </a:lnTo>
                      <a:lnTo>
                        <a:pt x="1439509" y="127210"/>
                      </a:lnTo>
                      <a:lnTo>
                        <a:pt x="1441379" y="125315"/>
                      </a:lnTo>
                      <a:lnTo>
                        <a:pt x="1441816" y="124866"/>
                      </a:lnTo>
                      <a:lnTo>
                        <a:pt x="1442156" y="124344"/>
                      </a:lnTo>
                      <a:lnTo>
                        <a:pt x="1445459" y="119244"/>
                      </a:lnTo>
                      <a:lnTo>
                        <a:pt x="1454384" y="113100"/>
                      </a:lnTo>
                      <a:lnTo>
                        <a:pt x="1454882" y="112772"/>
                      </a:lnTo>
                      <a:lnTo>
                        <a:pt x="1455295" y="112347"/>
                      </a:lnTo>
                      <a:lnTo>
                        <a:pt x="1457019" y="110574"/>
                      </a:lnTo>
                      <a:lnTo>
                        <a:pt x="1458148" y="109408"/>
                      </a:lnTo>
                      <a:lnTo>
                        <a:pt x="1458549" y="107829"/>
                      </a:lnTo>
                      <a:lnTo>
                        <a:pt x="1459193" y="105340"/>
                      </a:lnTo>
                      <a:lnTo>
                        <a:pt x="1460468" y="103191"/>
                      </a:lnTo>
                      <a:lnTo>
                        <a:pt x="1477516" y="85231"/>
                      </a:lnTo>
                      <a:lnTo>
                        <a:pt x="1478524" y="84175"/>
                      </a:lnTo>
                      <a:lnTo>
                        <a:pt x="1478937" y="82766"/>
                      </a:lnTo>
                      <a:lnTo>
                        <a:pt x="1479823" y="79718"/>
                      </a:lnTo>
                      <a:lnTo>
                        <a:pt x="1493861" y="58724"/>
                      </a:lnTo>
                      <a:lnTo>
                        <a:pt x="1498657" y="56659"/>
                      </a:lnTo>
                      <a:lnTo>
                        <a:pt x="1499896" y="56125"/>
                      </a:lnTo>
                      <a:lnTo>
                        <a:pt x="1500794" y="55105"/>
                      </a:lnTo>
                      <a:lnTo>
                        <a:pt x="1503490" y="52057"/>
                      </a:lnTo>
                      <a:lnTo>
                        <a:pt x="1503854" y="51656"/>
                      </a:lnTo>
                      <a:lnTo>
                        <a:pt x="1504134" y="51183"/>
                      </a:lnTo>
                      <a:lnTo>
                        <a:pt x="1507679" y="45342"/>
                      </a:lnTo>
                      <a:lnTo>
                        <a:pt x="1515244" y="35786"/>
                      </a:lnTo>
                      <a:lnTo>
                        <a:pt x="1515827" y="35045"/>
                      </a:lnTo>
                      <a:lnTo>
                        <a:pt x="1516155" y="34182"/>
                      </a:lnTo>
                      <a:lnTo>
                        <a:pt x="1517794" y="29896"/>
                      </a:lnTo>
                      <a:lnTo>
                        <a:pt x="1522457" y="23327"/>
                      </a:lnTo>
                      <a:lnTo>
                        <a:pt x="1523113" y="22404"/>
                      </a:lnTo>
                      <a:lnTo>
                        <a:pt x="1523392" y="21287"/>
                      </a:lnTo>
                      <a:lnTo>
                        <a:pt x="1523684" y="20097"/>
                      </a:lnTo>
                      <a:lnTo>
                        <a:pt x="1524655" y="16211"/>
                      </a:lnTo>
                      <a:lnTo>
                        <a:pt x="1523453" y="15312"/>
                      </a:lnTo>
                      <a:lnTo>
                        <a:pt x="1523380" y="13989"/>
                      </a:lnTo>
                      <a:lnTo>
                        <a:pt x="1522664" y="9363"/>
                      </a:lnTo>
                      <a:lnTo>
                        <a:pt x="1522530" y="8525"/>
                      </a:lnTo>
                      <a:lnTo>
                        <a:pt x="1522178" y="7759"/>
                      </a:lnTo>
                      <a:lnTo>
                        <a:pt x="1521547" y="6399"/>
                      </a:lnTo>
                      <a:lnTo>
                        <a:pt x="1521255" y="5744"/>
                      </a:lnTo>
                      <a:lnTo>
                        <a:pt x="1520818" y="5185"/>
                      </a:lnTo>
                      <a:lnTo>
                        <a:pt x="1519385" y="3364"/>
                      </a:lnTo>
                      <a:lnTo>
                        <a:pt x="1518377" y="2089"/>
                      </a:lnTo>
                      <a:lnTo>
                        <a:pt x="1516859" y="1482"/>
                      </a:lnTo>
                      <a:lnTo>
                        <a:pt x="1515257" y="838"/>
                      </a:lnTo>
                      <a:lnTo>
                        <a:pt x="1514637" y="583"/>
                      </a:lnTo>
                      <a:lnTo>
                        <a:pt x="1513981" y="474"/>
                      </a:lnTo>
                      <a:lnTo>
                        <a:pt x="1511966" y="146"/>
                      </a:lnTo>
                      <a:lnTo>
                        <a:pt x="1511504" y="61"/>
                      </a:lnTo>
                      <a:lnTo>
                        <a:pt x="1511031" y="61"/>
                      </a:lnTo>
                      <a:lnTo>
                        <a:pt x="1504377" y="0"/>
                      </a:lnTo>
                      <a:lnTo>
                        <a:pt x="1504194" y="0"/>
                      </a:lnTo>
                      <a:lnTo>
                        <a:pt x="1504194" y="134"/>
                      </a:lnTo>
                      <a:close/>
                      <a:moveTo>
                        <a:pt x="1049757" y="440376"/>
                      </a:moveTo>
                      <a:lnTo>
                        <a:pt x="1054942" y="430965"/>
                      </a:lnTo>
                      <a:lnTo>
                        <a:pt x="1055974" y="434875"/>
                      </a:lnTo>
                      <a:lnTo>
                        <a:pt x="1057468" y="440546"/>
                      </a:lnTo>
                      <a:lnTo>
                        <a:pt x="1058063" y="445707"/>
                      </a:lnTo>
                      <a:lnTo>
                        <a:pt x="1056885" y="445099"/>
                      </a:lnTo>
                      <a:lnTo>
                        <a:pt x="1055683" y="447128"/>
                      </a:lnTo>
                      <a:lnTo>
                        <a:pt x="1055294" y="446812"/>
                      </a:lnTo>
                      <a:lnTo>
                        <a:pt x="1054165" y="446472"/>
                      </a:lnTo>
                      <a:lnTo>
                        <a:pt x="1050473" y="445330"/>
                      </a:lnTo>
                      <a:lnTo>
                        <a:pt x="1050012" y="444650"/>
                      </a:lnTo>
                      <a:lnTo>
                        <a:pt x="1049599" y="442404"/>
                      </a:lnTo>
                      <a:lnTo>
                        <a:pt x="1049757" y="440376"/>
                      </a:lnTo>
                      <a:lnTo>
                        <a:pt x="1049757" y="440376"/>
                      </a:lnTo>
                      <a:close/>
                      <a:moveTo>
                        <a:pt x="680940" y="436162"/>
                      </a:moveTo>
                      <a:lnTo>
                        <a:pt x="680709" y="435179"/>
                      </a:lnTo>
                      <a:lnTo>
                        <a:pt x="683550" y="435519"/>
                      </a:lnTo>
                      <a:lnTo>
                        <a:pt x="686647" y="436745"/>
                      </a:lnTo>
                      <a:lnTo>
                        <a:pt x="689962" y="437923"/>
                      </a:lnTo>
                      <a:lnTo>
                        <a:pt x="690435" y="438105"/>
                      </a:lnTo>
                      <a:lnTo>
                        <a:pt x="690921" y="438190"/>
                      </a:lnTo>
                      <a:lnTo>
                        <a:pt x="693301" y="438615"/>
                      </a:lnTo>
                      <a:lnTo>
                        <a:pt x="697806" y="440060"/>
                      </a:lnTo>
                      <a:lnTo>
                        <a:pt x="698814" y="440704"/>
                      </a:lnTo>
                      <a:lnTo>
                        <a:pt x="700380" y="442015"/>
                      </a:lnTo>
                      <a:lnTo>
                        <a:pt x="700769" y="442331"/>
                      </a:lnTo>
                      <a:lnTo>
                        <a:pt x="701206" y="442586"/>
                      </a:lnTo>
                      <a:lnTo>
                        <a:pt x="702129" y="443132"/>
                      </a:lnTo>
                      <a:lnTo>
                        <a:pt x="703185" y="443909"/>
                      </a:lnTo>
                      <a:lnTo>
                        <a:pt x="703902" y="444444"/>
                      </a:lnTo>
                      <a:lnTo>
                        <a:pt x="704740" y="444735"/>
                      </a:lnTo>
                      <a:lnTo>
                        <a:pt x="706731" y="445464"/>
                      </a:lnTo>
                      <a:lnTo>
                        <a:pt x="717004" y="449204"/>
                      </a:lnTo>
                      <a:lnTo>
                        <a:pt x="715814" y="443582"/>
                      </a:lnTo>
                      <a:lnTo>
                        <a:pt x="716567" y="444007"/>
                      </a:lnTo>
                      <a:lnTo>
                        <a:pt x="718449" y="441578"/>
                      </a:lnTo>
                      <a:lnTo>
                        <a:pt x="720319" y="442780"/>
                      </a:lnTo>
                      <a:lnTo>
                        <a:pt x="720295" y="442962"/>
                      </a:lnTo>
                      <a:lnTo>
                        <a:pt x="720185" y="443776"/>
                      </a:lnTo>
                      <a:lnTo>
                        <a:pt x="717271" y="444844"/>
                      </a:lnTo>
                      <a:lnTo>
                        <a:pt x="717198" y="449022"/>
                      </a:lnTo>
                      <a:lnTo>
                        <a:pt x="717138" y="452665"/>
                      </a:lnTo>
                      <a:lnTo>
                        <a:pt x="717113" y="452871"/>
                      </a:lnTo>
                      <a:lnTo>
                        <a:pt x="716239" y="454182"/>
                      </a:lnTo>
                      <a:lnTo>
                        <a:pt x="714745" y="456393"/>
                      </a:lnTo>
                      <a:lnTo>
                        <a:pt x="715365" y="458991"/>
                      </a:lnTo>
                      <a:lnTo>
                        <a:pt x="715656" y="460205"/>
                      </a:lnTo>
                      <a:lnTo>
                        <a:pt x="716105" y="462063"/>
                      </a:lnTo>
                      <a:lnTo>
                        <a:pt x="716069" y="462075"/>
                      </a:lnTo>
                      <a:lnTo>
                        <a:pt x="714697" y="462221"/>
                      </a:lnTo>
                      <a:lnTo>
                        <a:pt x="714503" y="462185"/>
                      </a:lnTo>
                      <a:lnTo>
                        <a:pt x="712487" y="461602"/>
                      </a:lnTo>
                      <a:lnTo>
                        <a:pt x="712353" y="461444"/>
                      </a:lnTo>
                      <a:lnTo>
                        <a:pt x="711843" y="461067"/>
                      </a:lnTo>
                      <a:lnTo>
                        <a:pt x="710860" y="460339"/>
                      </a:lnTo>
                      <a:lnTo>
                        <a:pt x="710289" y="459926"/>
                      </a:lnTo>
                      <a:lnTo>
                        <a:pt x="709645" y="459659"/>
                      </a:lnTo>
                      <a:lnTo>
                        <a:pt x="708480" y="459173"/>
                      </a:lnTo>
                      <a:lnTo>
                        <a:pt x="708164" y="457910"/>
                      </a:lnTo>
                      <a:lnTo>
                        <a:pt x="707484" y="455263"/>
                      </a:lnTo>
                      <a:lnTo>
                        <a:pt x="705055" y="454000"/>
                      </a:lnTo>
                      <a:lnTo>
                        <a:pt x="704873" y="453903"/>
                      </a:lnTo>
                      <a:lnTo>
                        <a:pt x="705007" y="452519"/>
                      </a:lnTo>
                      <a:lnTo>
                        <a:pt x="701413" y="451620"/>
                      </a:lnTo>
                      <a:lnTo>
                        <a:pt x="701376" y="451535"/>
                      </a:lnTo>
                      <a:lnTo>
                        <a:pt x="700356" y="449447"/>
                      </a:lnTo>
                      <a:lnTo>
                        <a:pt x="698207" y="448585"/>
                      </a:lnTo>
                      <a:lnTo>
                        <a:pt x="694673" y="447152"/>
                      </a:lnTo>
                      <a:lnTo>
                        <a:pt x="685930" y="443594"/>
                      </a:lnTo>
                      <a:lnTo>
                        <a:pt x="685979" y="444844"/>
                      </a:lnTo>
                      <a:lnTo>
                        <a:pt x="681765" y="437547"/>
                      </a:lnTo>
                      <a:lnTo>
                        <a:pt x="680940" y="436162"/>
                      </a:lnTo>
                      <a:lnTo>
                        <a:pt x="680940" y="436162"/>
                      </a:lnTo>
                      <a:close/>
                      <a:moveTo>
                        <a:pt x="651019" y="1083430"/>
                      </a:moveTo>
                      <a:lnTo>
                        <a:pt x="652695" y="1075087"/>
                      </a:lnTo>
                      <a:lnTo>
                        <a:pt x="653193" y="1072610"/>
                      </a:lnTo>
                      <a:lnTo>
                        <a:pt x="653812" y="1073302"/>
                      </a:lnTo>
                      <a:lnTo>
                        <a:pt x="662130" y="1082385"/>
                      </a:lnTo>
                      <a:lnTo>
                        <a:pt x="666708" y="1093836"/>
                      </a:lnTo>
                      <a:lnTo>
                        <a:pt x="665712" y="1093557"/>
                      </a:lnTo>
                      <a:lnTo>
                        <a:pt x="664231" y="1093132"/>
                      </a:lnTo>
                      <a:lnTo>
                        <a:pt x="663502" y="1092913"/>
                      </a:lnTo>
                      <a:lnTo>
                        <a:pt x="662749" y="1092889"/>
                      </a:lnTo>
                      <a:lnTo>
                        <a:pt x="655087" y="1092634"/>
                      </a:lnTo>
                      <a:lnTo>
                        <a:pt x="651311" y="1091808"/>
                      </a:lnTo>
                      <a:lnTo>
                        <a:pt x="650946" y="1091723"/>
                      </a:lnTo>
                      <a:lnTo>
                        <a:pt x="650582" y="1091687"/>
                      </a:lnTo>
                      <a:lnTo>
                        <a:pt x="647619" y="1091407"/>
                      </a:lnTo>
                      <a:lnTo>
                        <a:pt x="645883" y="1087230"/>
                      </a:lnTo>
                      <a:lnTo>
                        <a:pt x="645531" y="1086380"/>
                      </a:lnTo>
                      <a:lnTo>
                        <a:pt x="644936" y="1085664"/>
                      </a:lnTo>
                      <a:lnTo>
                        <a:pt x="639265" y="1078876"/>
                      </a:lnTo>
                      <a:lnTo>
                        <a:pt x="637723" y="1076338"/>
                      </a:lnTo>
                      <a:lnTo>
                        <a:pt x="637601" y="1075537"/>
                      </a:lnTo>
                      <a:lnTo>
                        <a:pt x="638354" y="1074553"/>
                      </a:lnTo>
                      <a:lnTo>
                        <a:pt x="638864" y="1076326"/>
                      </a:lnTo>
                      <a:lnTo>
                        <a:pt x="640965" y="1077565"/>
                      </a:lnTo>
                      <a:lnTo>
                        <a:pt x="643661" y="1079143"/>
                      </a:lnTo>
                      <a:lnTo>
                        <a:pt x="651019" y="1083430"/>
                      </a:lnTo>
                      <a:lnTo>
                        <a:pt x="651019" y="1083430"/>
                      </a:lnTo>
                      <a:close/>
                    </a:path>
                  </a:pathLst>
                </a:custGeom>
                <a:solidFill>
                  <a:srgbClr val="FFFFFF"/>
                </a:solidFill>
                <a:ln w="12138" cap="flat">
                  <a:noFill/>
                  <a:prstDash val="solid"/>
                  <a:miter/>
                </a:ln>
              </p:spPr>
              <p:txBody>
                <a:bodyPr rtlCol="0" anchor="ctr"/>
                <a:lstStyle/>
                <a:p>
                  <a:endParaRPr lang="en-US"/>
                </a:p>
              </p:txBody>
            </p:sp>
          </p:grpSp>
          <p:grpSp>
            <p:nvGrpSpPr>
              <p:cNvPr id="258" name="Graphic 280">
                <a:extLst>
                  <a:ext uri="{FF2B5EF4-FFF2-40B4-BE49-F238E27FC236}">
                    <a16:creationId xmlns:a16="http://schemas.microsoft.com/office/drawing/2014/main" id="{FB12E77F-1DD1-43B0-A43D-B7B69FA0B476}"/>
                  </a:ext>
                </a:extLst>
              </p:cNvPr>
              <p:cNvGrpSpPr/>
              <p:nvPr/>
            </p:nvGrpSpPr>
            <p:grpSpPr>
              <a:xfrm>
                <a:off x="5060851" y="4152648"/>
                <a:ext cx="859464" cy="798932"/>
                <a:chOff x="5060851" y="4152648"/>
                <a:chExt cx="859464" cy="798932"/>
              </a:xfrm>
            </p:grpSpPr>
            <p:sp>
              <p:nvSpPr>
                <p:cNvPr id="322" name="Freeform: Shape 321">
                  <a:extLst>
                    <a:ext uri="{FF2B5EF4-FFF2-40B4-BE49-F238E27FC236}">
                      <a16:creationId xmlns:a16="http://schemas.microsoft.com/office/drawing/2014/main" id="{93134200-343D-4A62-ACE1-CDFFBDAE8D9E}"/>
                    </a:ext>
                  </a:extLst>
                </p:cNvPr>
                <p:cNvSpPr/>
                <p:nvPr/>
              </p:nvSpPr>
              <p:spPr>
                <a:xfrm>
                  <a:off x="5064445" y="4156801"/>
                  <a:ext cx="852592" cy="791743"/>
                </a:xfrm>
                <a:custGeom>
                  <a:avLst/>
                  <a:gdLst>
                    <a:gd name="connsiteX0" fmla="*/ 159728 w 852592"/>
                    <a:gd name="connsiteY0" fmla="*/ 791525 h 791743"/>
                    <a:gd name="connsiteX1" fmla="*/ 151058 w 852592"/>
                    <a:gd name="connsiteY1" fmla="*/ 787773 h 791743"/>
                    <a:gd name="connsiteX2" fmla="*/ 149686 w 852592"/>
                    <a:gd name="connsiteY2" fmla="*/ 786146 h 791743"/>
                    <a:gd name="connsiteX3" fmla="*/ 148107 w 852592"/>
                    <a:gd name="connsiteY3" fmla="*/ 782976 h 791743"/>
                    <a:gd name="connsiteX4" fmla="*/ 145679 w 852592"/>
                    <a:gd name="connsiteY4" fmla="*/ 782552 h 791743"/>
                    <a:gd name="connsiteX5" fmla="*/ 145606 w 852592"/>
                    <a:gd name="connsiteY5" fmla="*/ 780184 h 791743"/>
                    <a:gd name="connsiteX6" fmla="*/ 145096 w 852592"/>
                    <a:gd name="connsiteY6" fmla="*/ 781301 h 791743"/>
                    <a:gd name="connsiteX7" fmla="*/ 143396 w 852592"/>
                    <a:gd name="connsiteY7" fmla="*/ 786049 h 791743"/>
                    <a:gd name="connsiteX8" fmla="*/ 139243 w 852592"/>
                    <a:gd name="connsiteY8" fmla="*/ 785126 h 791743"/>
                    <a:gd name="connsiteX9" fmla="*/ 134945 w 852592"/>
                    <a:gd name="connsiteY9" fmla="*/ 782503 h 791743"/>
                    <a:gd name="connsiteX10" fmla="*/ 133633 w 852592"/>
                    <a:gd name="connsiteY10" fmla="*/ 782260 h 791743"/>
                    <a:gd name="connsiteX11" fmla="*/ 130828 w 852592"/>
                    <a:gd name="connsiteY11" fmla="*/ 782515 h 791743"/>
                    <a:gd name="connsiteX12" fmla="*/ 127367 w 852592"/>
                    <a:gd name="connsiteY12" fmla="*/ 782175 h 791743"/>
                    <a:gd name="connsiteX13" fmla="*/ 122632 w 852592"/>
                    <a:gd name="connsiteY13" fmla="*/ 780378 h 791743"/>
                    <a:gd name="connsiteX14" fmla="*/ 119268 w 852592"/>
                    <a:gd name="connsiteY14" fmla="*/ 778496 h 791743"/>
                    <a:gd name="connsiteX15" fmla="*/ 118369 w 852592"/>
                    <a:gd name="connsiteY15" fmla="*/ 778484 h 791743"/>
                    <a:gd name="connsiteX16" fmla="*/ 116123 w 852592"/>
                    <a:gd name="connsiteY16" fmla="*/ 781896 h 791743"/>
                    <a:gd name="connsiteX17" fmla="*/ 114642 w 852592"/>
                    <a:gd name="connsiteY17" fmla="*/ 782369 h 791743"/>
                    <a:gd name="connsiteX18" fmla="*/ 113124 w 852592"/>
                    <a:gd name="connsiteY18" fmla="*/ 782697 h 791743"/>
                    <a:gd name="connsiteX19" fmla="*/ 110744 w 852592"/>
                    <a:gd name="connsiteY19" fmla="*/ 782697 h 791743"/>
                    <a:gd name="connsiteX20" fmla="*/ 109942 w 852592"/>
                    <a:gd name="connsiteY20" fmla="*/ 782454 h 791743"/>
                    <a:gd name="connsiteX21" fmla="*/ 109080 w 852592"/>
                    <a:gd name="connsiteY21" fmla="*/ 782637 h 791743"/>
                    <a:gd name="connsiteX22" fmla="*/ 108582 w 852592"/>
                    <a:gd name="connsiteY22" fmla="*/ 783110 h 791743"/>
                    <a:gd name="connsiteX23" fmla="*/ 106324 w 852592"/>
                    <a:gd name="connsiteY23" fmla="*/ 783887 h 791743"/>
                    <a:gd name="connsiteX24" fmla="*/ 104089 w 852592"/>
                    <a:gd name="connsiteY24" fmla="*/ 784300 h 791743"/>
                    <a:gd name="connsiteX25" fmla="*/ 101369 w 852592"/>
                    <a:gd name="connsiteY25" fmla="*/ 784045 h 791743"/>
                    <a:gd name="connsiteX26" fmla="*/ 99074 w 852592"/>
                    <a:gd name="connsiteY26" fmla="*/ 783499 h 791743"/>
                    <a:gd name="connsiteX27" fmla="*/ 96840 w 852592"/>
                    <a:gd name="connsiteY27" fmla="*/ 782515 h 791743"/>
                    <a:gd name="connsiteX28" fmla="*/ 95917 w 852592"/>
                    <a:gd name="connsiteY28" fmla="*/ 782187 h 791743"/>
                    <a:gd name="connsiteX29" fmla="*/ 94569 w 852592"/>
                    <a:gd name="connsiteY29" fmla="*/ 782296 h 791743"/>
                    <a:gd name="connsiteX30" fmla="*/ 91606 w 852592"/>
                    <a:gd name="connsiteY30" fmla="*/ 781714 h 791743"/>
                    <a:gd name="connsiteX31" fmla="*/ 89591 w 852592"/>
                    <a:gd name="connsiteY31" fmla="*/ 780718 h 791743"/>
                    <a:gd name="connsiteX32" fmla="*/ 88680 w 852592"/>
                    <a:gd name="connsiteY32" fmla="*/ 780414 h 791743"/>
                    <a:gd name="connsiteX33" fmla="*/ 88291 w 852592"/>
                    <a:gd name="connsiteY33" fmla="*/ 780342 h 791743"/>
                    <a:gd name="connsiteX34" fmla="*/ 87320 w 852592"/>
                    <a:gd name="connsiteY34" fmla="*/ 780633 h 791743"/>
                    <a:gd name="connsiteX35" fmla="*/ 86251 w 852592"/>
                    <a:gd name="connsiteY35" fmla="*/ 781155 h 791743"/>
                    <a:gd name="connsiteX36" fmla="*/ 84916 w 852592"/>
                    <a:gd name="connsiteY36" fmla="*/ 782260 h 791743"/>
                    <a:gd name="connsiteX37" fmla="*/ 82511 w 852592"/>
                    <a:gd name="connsiteY37" fmla="*/ 782661 h 791743"/>
                    <a:gd name="connsiteX38" fmla="*/ 77047 w 852592"/>
                    <a:gd name="connsiteY38" fmla="*/ 782187 h 791743"/>
                    <a:gd name="connsiteX39" fmla="*/ 74740 w 852592"/>
                    <a:gd name="connsiteY39" fmla="*/ 781689 h 791743"/>
                    <a:gd name="connsiteX40" fmla="*/ 72408 w 852592"/>
                    <a:gd name="connsiteY40" fmla="*/ 780584 h 791743"/>
                    <a:gd name="connsiteX41" fmla="*/ 70077 w 852592"/>
                    <a:gd name="connsiteY41" fmla="*/ 778229 h 791743"/>
                    <a:gd name="connsiteX42" fmla="*/ 68899 w 852592"/>
                    <a:gd name="connsiteY42" fmla="*/ 776759 h 791743"/>
                    <a:gd name="connsiteX43" fmla="*/ 68049 w 852592"/>
                    <a:gd name="connsiteY43" fmla="*/ 776310 h 791743"/>
                    <a:gd name="connsiteX44" fmla="*/ 67430 w 852592"/>
                    <a:gd name="connsiteY44" fmla="*/ 775751 h 791743"/>
                    <a:gd name="connsiteX45" fmla="*/ 63981 w 852592"/>
                    <a:gd name="connsiteY45" fmla="*/ 776468 h 791743"/>
                    <a:gd name="connsiteX46" fmla="*/ 61625 w 852592"/>
                    <a:gd name="connsiteY46" fmla="*/ 775533 h 791743"/>
                    <a:gd name="connsiteX47" fmla="*/ 60460 w 852592"/>
                    <a:gd name="connsiteY47" fmla="*/ 775278 h 791743"/>
                    <a:gd name="connsiteX48" fmla="*/ 56708 w 852592"/>
                    <a:gd name="connsiteY48" fmla="*/ 775071 h 791743"/>
                    <a:gd name="connsiteX49" fmla="*/ 53223 w 852592"/>
                    <a:gd name="connsiteY49" fmla="*/ 774537 h 791743"/>
                    <a:gd name="connsiteX50" fmla="*/ 45840 w 852592"/>
                    <a:gd name="connsiteY50" fmla="*/ 772995 h 791743"/>
                    <a:gd name="connsiteX51" fmla="*/ 47540 w 852592"/>
                    <a:gd name="connsiteY51" fmla="*/ 765709 h 791743"/>
                    <a:gd name="connsiteX52" fmla="*/ 47637 w 852592"/>
                    <a:gd name="connsiteY52" fmla="*/ 764204 h 791743"/>
                    <a:gd name="connsiteX53" fmla="*/ 47187 w 852592"/>
                    <a:gd name="connsiteY53" fmla="*/ 763839 h 791743"/>
                    <a:gd name="connsiteX54" fmla="*/ 46835 w 852592"/>
                    <a:gd name="connsiteY54" fmla="*/ 763317 h 791743"/>
                    <a:gd name="connsiteX55" fmla="*/ 40145 w 852592"/>
                    <a:gd name="connsiteY55" fmla="*/ 763281 h 791743"/>
                    <a:gd name="connsiteX56" fmla="*/ 41493 w 852592"/>
                    <a:gd name="connsiteY56" fmla="*/ 759686 h 791743"/>
                    <a:gd name="connsiteX57" fmla="*/ 41881 w 852592"/>
                    <a:gd name="connsiteY57" fmla="*/ 758703 h 791743"/>
                    <a:gd name="connsiteX58" fmla="*/ 42743 w 852592"/>
                    <a:gd name="connsiteY58" fmla="*/ 757209 h 791743"/>
                    <a:gd name="connsiteX59" fmla="*/ 42974 w 852592"/>
                    <a:gd name="connsiteY59" fmla="*/ 756687 h 791743"/>
                    <a:gd name="connsiteX60" fmla="*/ 42500 w 852592"/>
                    <a:gd name="connsiteY60" fmla="*/ 748928 h 791743"/>
                    <a:gd name="connsiteX61" fmla="*/ 42610 w 852592"/>
                    <a:gd name="connsiteY61" fmla="*/ 744301 h 791743"/>
                    <a:gd name="connsiteX62" fmla="*/ 43338 w 852592"/>
                    <a:gd name="connsiteY62" fmla="*/ 739238 h 791743"/>
                    <a:gd name="connsiteX63" fmla="*/ 43314 w 852592"/>
                    <a:gd name="connsiteY63" fmla="*/ 736263 h 791743"/>
                    <a:gd name="connsiteX64" fmla="*/ 42173 w 852592"/>
                    <a:gd name="connsiteY64" fmla="*/ 726305 h 791743"/>
                    <a:gd name="connsiteX65" fmla="*/ 42403 w 852592"/>
                    <a:gd name="connsiteY65" fmla="*/ 722019 h 791743"/>
                    <a:gd name="connsiteX66" fmla="*/ 43156 w 852592"/>
                    <a:gd name="connsiteY66" fmla="*/ 718534 h 791743"/>
                    <a:gd name="connsiteX67" fmla="*/ 44079 w 852592"/>
                    <a:gd name="connsiteY67" fmla="*/ 716008 h 791743"/>
                    <a:gd name="connsiteX68" fmla="*/ 44249 w 852592"/>
                    <a:gd name="connsiteY68" fmla="*/ 714296 h 791743"/>
                    <a:gd name="connsiteX69" fmla="*/ 43958 w 852592"/>
                    <a:gd name="connsiteY69" fmla="*/ 709524 h 791743"/>
                    <a:gd name="connsiteX70" fmla="*/ 44395 w 852592"/>
                    <a:gd name="connsiteY70" fmla="*/ 706682 h 791743"/>
                    <a:gd name="connsiteX71" fmla="*/ 45742 w 852592"/>
                    <a:gd name="connsiteY71" fmla="*/ 703999 h 791743"/>
                    <a:gd name="connsiteX72" fmla="*/ 47309 w 852592"/>
                    <a:gd name="connsiteY72" fmla="*/ 702360 h 791743"/>
                    <a:gd name="connsiteX73" fmla="*/ 53271 w 852592"/>
                    <a:gd name="connsiteY73" fmla="*/ 698680 h 791743"/>
                    <a:gd name="connsiteX74" fmla="*/ 54789 w 852592"/>
                    <a:gd name="connsiteY74" fmla="*/ 697502 h 791743"/>
                    <a:gd name="connsiteX75" fmla="*/ 55421 w 852592"/>
                    <a:gd name="connsiteY75" fmla="*/ 696507 h 791743"/>
                    <a:gd name="connsiteX76" fmla="*/ 55858 w 852592"/>
                    <a:gd name="connsiteY76" fmla="*/ 695632 h 791743"/>
                    <a:gd name="connsiteX77" fmla="*/ 55918 w 852592"/>
                    <a:gd name="connsiteY77" fmla="*/ 694212 h 791743"/>
                    <a:gd name="connsiteX78" fmla="*/ 55590 w 852592"/>
                    <a:gd name="connsiteY78" fmla="*/ 693471 h 791743"/>
                    <a:gd name="connsiteX79" fmla="*/ 53818 w 852592"/>
                    <a:gd name="connsiteY79" fmla="*/ 692099 h 791743"/>
                    <a:gd name="connsiteX80" fmla="*/ 53065 w 852592"/>
                    <a:gd name="connsiteY80" fmla="*/ 690375 h 791743"/>
                    <a:gd name="connsiteX81" fmla="*/ 46641 w 852592"/>
                    <a:gd name="connsiteY81" fmla="*/ 687582 h 791743"/>
                    <a:gd name="connsiteX82" fmla="*/ 43654 w 852592"/>
                    <a:gd name="connsiteY82" fmla="*/ 687230 h 791743"/>
                    <a:gd name="connsiteX83" fmla="*/ 32300 w 852592"/>
                    <a:gd name="connsiteY83" fmla="*/ 687582 h 791743"/>
                    <a:gd name="connsiteX84" fmla="*/ 28912 w 852592"/>
                    <a:gd name="connsiteY84" fmla="*/ 687254 h 791743"/>
                    <a:gd name="connsiteX85" fmla="*/ 8840 w 852592"/>
                    <a:gd name="connsiteY85" fmla="*/ 682045 h 791743"/>
                    <a:gd name="connsiteX86" fmla="*/ 6582 w 852592"/>
                    <a:gd name="connsiteY86" fmla="*/ 679786 h 791743"/>
                    <a:gd name="connsiteX87" fmla="*/ 0 w 852592"/>
                    <a:gd name="connsiteY87" fmla="*/ 671359 h 791743"/>
                    <a:gd name="connsiteX88" fmla="*/ 1251 w 852592"/>
                    <a:gd name="connsiteY88" fmla="*/ 669088 h 791743"/>
                    <a:gd name="connsiteX89" fmla="*/ 2271 w 852592"/>
                    <a:gd name="connsiteY89" fmla="*/ 667692 h 791743"/>
                    <a:gd name="connsiteX90" fmla="*/ 4736 w 852592"/>
                    <a:gd name="connsiteY90" fmla="*/ 665676 h 791743"/>
                    <a:gd name="connsiteX91" fmla="*/ 12325 w 852592"/>
                    <a:gd name="connsiteY91" fmla="*/ 661450 h 791743"/>
                    <a:gd name="connsiteX92" fmla="*/ 18190 w 852592"/>
                    <a:gd name="connsiteY92" fmla="*/ 656909 h 791743"/>
                    <a:gd name="connsiteX93" fmla="*/ 23460 w 852592"/>
                    <a:gd name="connsiteY93" fmla="*/ 653970 h 791743"/>
                    <a:gd name="connsiteX94" fmla="*/ 24152 w 852592"/>
                    <a:gd name="connsiteY94" fmla="*/ 653023 h 791743"/>
                    <a:gd name="connsiteX95" fmla="*/ 24432 w 852592"/>
                    <a:gd name="connsiteY95" fmla="*/ 651869 h 791743"/>
                    <a:gd name="connsiteX96" fmla="*/ 24286 w 852592"/>
                    <a:gd name="connsiteY96" fmla="*/ 650364 h 791743"/>
                    <a:gd name="connsiteX97" fmla="*/ 24310 w 852592"/>
                    <a:gd name="connsiteY97" fmla="*/ 649647 h 791743"/>
                    <a:gd name="connsiteX98" fmla="*/ 25998 w 852592"/>
                    <a:gd name="connsiteY98" fmla="*/ 646587 h 791743"/>
                    <a:gd name="connsiteX99" fmla="*/ 27941 w 852592"/>
                    <a:gd name="connsiteY99" fmla="*/ 645094 h 791743"/>
                    <a:gd name="connsiteX100" fmla="*/ 32652 w 852592"/>
                    <a:gd name="connsiteY100" fmla="*/ 643114 h 791743"/>
                    <a:gd name="connsiteX101" fmla="*/ 33162 w 852592"/>
                    <a:gd name="connsiteY101" fmla="*/ 642738 h 791743"/>
                    <a:gd name="connsiteX102" fmla="*/ 33733 w 852592"/>
                    <a:gd name="connsiteY102" fmla="*/ 641742 h 791743"/>
                    <a:gd name="connsiteX103" fmla="*/ 34146 w 852592"/>
                    <a:gd name="connsiteY103" fmla="*/ 640188 h 791743"/>
                    <a:gd name="connsiteX104" fmla="*/ 34765 w 852592"/>
                    <a:gd name="connsiteY104" fmla="*/ 637152 h 791743"/>
                    <a:gd name="connsiteX105" fmla="*/ 35567 w 852592"/>
                    <a:gd name="connsiteY105" fmla="*/ 635149 h 791743"/>
                    <a:gd name="connsiteX106" fmla="*/ 34826 w 852592"/>
                    <a:gd name="connsiteY106" fmla="*/ 635294 h 791743"/>
                    <a:gd name="connsiteX107" fmla="*/ 32677 w 852592"/>
                    <a:gd name="connsiteY107" fmla="*/ 636071 h 791743"/>
                    <a:gd name="connsiteX108" fmla="*/ 29447 w 852592"/>
                    <a:gd name="connsiteY108" fmla="*/ 635088 h 791743"/>
                    <a:gd name="connsiteX109" fmla="*/ 29435 w 852592"/>
                    <a:gd name="connsiteY109" fmla="*/ 632016 h 791743"/>
                    <a:gd name="connsiteX110" fmla="*/ 29775 w 852592"/>
                    <a:gd name="connsiteY110" fmla="*/ 630522 h 791743"/>
                    <a:gd name="connsiteX111" fmla="*/ 30807 w 852592"/>
                    <a:gd name="connsiteY111" fmla="*/ 628446 h 791743"/>
                    <a:gd name="connsiteX112" fmla="*/ 32835 w 852592"/>
                    <a:gd name="connsiteY112" fmla="*/ 626199 h 791743"/>
                    <a:gd name="connsiteX113" fmla="*/ 35178 w 852592"/>
                    <a:gd name="connsiteY113" fmla="*/ 624293 h 791743"/>
                    <a:gd name="connsiteX114" fmla="*/ 34753 w 852592"/>
                    <a:gd name="connsiteY114" fmla="*/ 623710 h 791743"/>
                    <a:gd name="connsiteX115" fmla="*/ 31596 w 852592"/>
                    <a:gd name="connsiteY115" fmla="*/ 621949 h 791743"/>
                    <a:gd name="connsiteX116" fmla="*/ 29641 w 852592"/>
                    <a:gd name="connsiteY116" fmla="*/ 620589 h 791743"/>
                    <a:gd name="connsiteX117" fmla="*/ 29131 w 852592"/>
                    <a:gd name="connsiteY117" fmla="*/ 617687 h 791743"/>
                    <a:gd name="connsiteX118" fmla="*/ 29131 w 852592"/>
                    <a:gd name="connsiteY118" fmla="*/ 615465 h 791743"/>
                    <a:gd name="connsiteX119" fmla="*/ 30127 w 852592"/>
                    <a:gd name="connsiteY119" fmla="*/ 607038 h 791743"/>
                    <a:gd name="connsiteX120" fmla="*/ 31135 w 852592"/>
                    <a:gd name="connsiteY120" fmla="*/ 604318 h 791743"/>
                    <a:gd name="connsiteX121" fmla="*/ 32859 w 852592"/>
                    <a:gd name="connsiteY121" fmla="*/ 602241 h 791743"/>
                    <a:gd name="connsiteX122" fmla="*/ 33575 w 852592"/>
                    <a:gd name="connsiteY122" fmla="*/ 601755 h 791743"/>
                    <a:gd name="connsiteX123" fmla="*/ 33842 w 852592"/>
                    <a:gd name="connsiteY123" fmla="*/ 600432 h 791743"/>
                    <a:gd name="connsiteX124" fmla="*/ 33599 w 852592"/>
                    <a:gd name="connsiteY124" fmla="*/ 577506 h 791743"/>
                    <a:gd name="connsiteX125" fmla="*/ 34037 w 852592"/>
                    <a:gd name="connsiteY125" fmla="*/ 573256 h 791743"/>
                    <a:gd name="connsiteX126" fmla="*/ 35360 w 852592"/>
                    <a:gd name="connsiteY126" fmla="*/ 568848 h 791743"/>
                    <a:gd name="connsiteX127" fmla="*/ 37267 w 852592"/>
                    <a:gd name="connsiteY127" fmla="*/ 564962 h 791743"/>
                    <a:gd name="connsiteX128" fmla="*/ 39853 w 852592"/>
                    <a:gd name="connsiteY128" fmla="*/ 561004 h 791743"/>
                    <a:gd name="connsiteX129" fmla="*/ 40133 w 852592"/>
                    <a:gd name="connsiteY129" fmla="*/ 559182 h 791743"/>
                    <a:gd name="connsiteX130" fmla="*/ 39817 w 852592"/>
                    <a:gd name="connsiteY130" fmla="*/ 557919 h 791743"/>
                    <a:gd name="connsiteX131" fmla="*/ 35494 w 852592"/>
                    <a:gd name="connsiteY131" fmla="*/ 550792 h 791743"/>
                    <a:gd name="connsiteX132" fmla="*/ 33915 w 852592"/>
                    <a:gd name="connsiteY132" fmla="*/ 547549 h 791743"/>
                    <a:gd name="connsiteX133" fmla="*/ 32798 w 852592"/>
                    <a:gd name="connsiteY133" fmla="*/ 539511 h 791743"/>
                    <a:gd name="connsiteX134" fmla="*/ 31511 w 852592"/>
                    <a:gd name="connsiteY134" fmla="*/ 538551 h 791743"/>
                    <a:gd name="connsiteX135" fmla="*/ 27200 w 852592"/>
                    <a:gd name="connsiteY135" fmla="*/ 537386 h 791743"/>
                    <a:gd name="connsiteX136" fmla="*/ 24978 w 852592"/>
                    <a:gd name="connsiteY136" fmla="*/ 536402 h 791743"/>
                    <a:gd name="connsiteX137" fmla="*/ 22185 w 852592"/>
                    <a:gd name="connsiteY137" fmla="*/ 533901 h 791743"/>
                    <a:gd name="connsiteX138" fmla="*/ 21214 w 852592"/>
                    <a:gd name="connsiteY138" fmla="*/ 531035 h 791743"/>
                    <a:gd name="connsiteX139" fmla="*/ 20837 w 852592"/>
                    <a:gd name="connsiteY139" fmla="*/ 527744 h 791743"/>
                    <a:gd name="connsiteX140" fmla="*/ 22683 w 852592"/>
                    <a:gd name="connsiteY140" fmla="*/ 521041 h 791743"/>
                    <a:gd name="connsiteX141" fmla="*/ 46034 w 852592"/>
                    <a:gd name="connsiteY141" fmla="*/ 490708 h 791743"/>
                    <a:gd name="connsiteX142" fmla="*/ 47916 w 852592"/>
                    <a:gd name="connsiteY142" fmla="*/ 486980 h 791743"/>
                    <a:gd name="connsiteX143" fmla="*/ 49288 w 852592"/>
                    <a:gd name="connsiteY143" fmla="*/ 482900 h 791743"/>
                    <a:gd name="connsiteX144" fmla="*/ 52033 w 852592"/>
                    <a:gd name="connsiteY144" fmla="*/ 479318 h 791743"/>
                    <a:gd name="connsiteX145" fmla="*/ 54570 w 852592"/>
                    <a:gd name="connsiteY145" fmla="*/ 478091 h 791743"/>
                    <a:gd name="connsiteX146" fmla="*/ 57995 w 852592"/>
                    <a:gd name="connsiteY146" fmla="*/ 477642 h 791743"/>
                    <a:gd name="connsiteX147" fmla="*/ 59367 w 852592"/>
                    <a:gd name="connsiteY147" fmla="*/ 477375 h 791743"/>
                    <a:gd name="connsiteX148" fmla="*/ 60618 w 852592"/>
                    <a:gd name="connsiteY148" fmla="*/ 476489 h 791743"/>
                    <a:gd name="connsiteX149" fmla="*/ 60885 w 852592"/>
                    <a:gd name="connsiteY149" fmla="*/ 476003 h 791743"/>
                    <a:gd name="connsiteX150" fmla="*/ 61468 w 852592"/>
                    <a:gd name="connsiteY150" fmla="*/ 472482 h 791743"/>
                    <a:gd name="connsiteX151" fmla="*/ 63605 w 852592"/>
                    <a:gd name="connsiteY151" fmla="*/ 469944 h 791743"/>
                    <a:gd name="connsiteX152" fmla="*/ 66264 w 852592"/>
                    <a:gd name="connsiteY152" fmla="*/ 468219 h 791743"/>
                    <a:gd name="connsiteX153" fmla="*/ 75663 w 852592"/>
                    <a:gd name="connsiteY153" fmla="*/ 465961 h 791743"/>
                    <a:gd name="connsiteX154" fmla="*/ 80313 w 852592"/>
                    <a:gd name="connsiteY154" fmla="*/ 456805 h 791743"/>
                    <a:gd name="connsiteX155" fmla="*/ 78395 w 852592"/>
                    <a:gd name="connsiteY155" fmla="*/ 457315 h 791743"/>
                    <a:gd name="connsiteX156" fmla="*/ 76537 w 852592"/>
                    <a:gd name="connsiteY156" fmla="*/ 458274 h 791743"/>
                    <a:gd name="connsiteX157" fmla="*/ 72700 w 852592"/>
                    <a:gd name="connsiteY157" fmla="*/ 460703 h 791743"/>
                    <a:gd name="connsiteX158" fmla="*/ 70041 w 852592"/>
                    <a:gd name="connsiteY158" fmla="*/ 461832 h 791743"/>
                    <a:gd name="connsiteX159" fmla="*/ 67029 w 852592"/>
                    <a:gd name="connsiteY159" fmla="*/ 462354 h 791743"/>
                    <a:gd name="connsiteX160" fmla="*/ 64661 w 852592"/>
                    <a:gd name="connsiteY160" fmla="*/ 461091 h 791743"/>
                    <a:gd name="connsiteX161" fmla="*/ 62998 w 852592"/>
                    <a:gd name="connsiteY161" fmla="*/ 459367 h 791743"/>
                    <a:gd name="connsiteX162" fmla="*/ 62293 w 852592"/>
                    <a:gd name="connsiteY162" fmla="*/ 456441 h 791743"/>
                    <a:gd name="connsiteX163" fmla="*/ 58250 w 852592"/>
                    <a:gd name="connsiteY163" fmla="*/ 457011 h 791743"/>
                    <a:gd name="connsiteX164" fmla="*/ 55858 w 852592"/>
                    <a:gd name="connsiteY164" fmla="*/ 457109 h 791743"/>
                    <a:gd name="connsiteX165" fmla="*/ 51644 w 852592"/>
                    <a:gd name="connsiteY165" fmla="*/ 456586 h 791743"/>
                    <a:gd name="connsiteX166" fmla="*/ 49798 w 852592"/>
                    <a:gd name="connsiteY166" fmla="*/ 456647 h 791743"/>
                    <a:gd name="connsiteX167" fmla="*/ 47382 w 852592"/>
                    <a:gd name="connsiteY167" fmla="*/ 456368 h 791743"/>
                    <a:gd name="connsiteX168" fmla="*/ 45026 w 852592"/>
                    <a:gd name="connsiteY168" fmla="*/ 455421 h 791743"/>
                    <a:gd name="connsiteX169" fmla="*/ 41650 w 852592"/>
                    <a:gd name="connsiteY169" fmla="*/ 452980 h 791743"/>
                    <a:gd name="connsiteX170" fmla="*/ 39550 w 852592"/>
                    <a:gd name="connsiteY170" fmla="*/ 451851 h 791743"/>
                    <a:gd name="connsiteX171" fmla="*/ 32640 w 852592"/>
                    <a:gd name="connsiteY171" fmla="*/ 449022 h 791743"/>
                    <a:gd name="connsiteX172" fmla="*/ 28997 w 852592"/>
                    <a:gd name="connsiteY172" fmla="*/ 443132 h 791743"/>
                    <a:gd name="connsiteX173" fmla="*/ 32239 w 852592"/>
                    <a:gd name="connsiteY173" fmla="*/ 437352 h 791743"/>
                    <a:gd name="connsiteX174" fmla="*/ 37801 w 852592"/>
                    <a:gd name="connsiteY174" fmla="*/ 429921 h 791743"/>
                    <a:gd name="connsiteX175" fmla="*/ 39586 w 852592"/>
                    <a:gd name="connsiteY175" fmla="*/ 425828 h 791743"/>
                    <a:gd name="connsiteX176" fmla="*/ 41383 w 852592"/>
                    <a:gd name="connsiteY176" fmla="*/ 423667 h 791743"/>
                    <a:gd name="connsiteX177" fmla="*/ 43958 w 852592"/>
                    <a:gd name="connsiteY177" fmla="*/ 421943 h 791743"/>
                    <a:gd name="connsiteX178" fmla="*/ 51000 w 852592"/>
                    <a:gd name="connsiteY178" fmla="*/ 418992 h 791743"/>
                    <a:gd name="connsiteX179" fmla="*/ 52142 w 852592"/>
                    <a:gd name="connsiteY179" fmla="*/ 418239 h 791743"/>
                    <a:gd name="connsiteX180" fmla="*/ 52336 w 852592"/>
                    <a:gd name="connsiteY180" fmla="*/ 417389 h 791743"/>
                    <a:gd name="connsiteX181" fmla="*/ 51935 w 852592"/>
                    <a:gd name="connsiteY181" fmla="*/ 415216 h 791743"/>
                    <a:gd name="connsiteX182" fmla="*/ 51328 w 852592"/>
                    <a:gd name="connsiteY182" fmla="*/ 414414 h 791743"/>
                    <a:gd name="connsiteX183" fmla="*/ 50454 w 852592"/>
                    <a:gd name="connsiteY183" fmla="*/ 413443 h 791743"/>
                    <a:gd name="connsiteX184" fmla="*/ 48365 w 852592"/>
                    <a:gd name="connsiteY184" fmla="*/ 411633 h 791743"/>
                    <a:gd name="connsiteX185" fmla="*/ 46532 w 852592"/>
                    <a:gd name="connsiteY185" fmla="*/ 409642 h 791743"/>
                    <a:gd name="connsiteX186" fmla="*/ 46143 w 852592"/>
                    <a:gd name="connsiteY186" fmla="*/ 407954 h 791743"/>
                    <a:gd name="connsiteX187" fmla="*/ 46228 w 852592"/>
                    <a:gd name="connsiteY187" fmla="*/ 406594 h 791743"/>
                    <a:gd name="connsiteX188" fmla="*/ 46702 w 852592"/>
                    <a:gd name="connsiteY188" fmla="*/ 404858 h 791743"/>
                    <a:gd name="connsiteX189" fmla="*/ 47843 w 852592"/>
                    <a:gd name="connsiteY189" fmla="*/ 402356 h 791743"/>
                    <a:gd name="connsiteX190" fmla="*/ 49640 w 852592"/>
                    <a:gd name="connsiteY190" fmla="*/ 399758 h 791743"/>
                    <a:gd name="connsiteX191" fmla="*/ 51535 w 852592"/>
                    <a:gd name="connsiteY191" fmla="*/ 397985 h 791743"/>
                    <a:gd name="connsiteX192" fmla="*/ 53453 w 852592"/>
                    <a:gd name="connsiteY192" fmla="*/ 396916 h 791743"/>
                    <a:gd name="connsiteX193" fmla="*/ 55542 w 852592"/>
                    <a:gd name="connsiteY193" fmla="*/ 396139 h 791743"/>
                    <a:gd name="connsiteX194" fmla="*/ 57096 w 852592"/>
                    <a:gd name="connsiteY194" fmla="*/ 395374 h 791743"/>
                    <a:gd name="connsiteX195" fmla="*/ 58481 w 852592"/>
                    <a:gd name="connsiteY195" fmla="*/ 394342 h 791743"/>
                    <a:gd name="connsiteX196" fmla="*/ 69543 w 852592"/>
                    <a:gd name="connsiteY196" fmla="*/ 383826 h 791743"/>
                    <a:gd name="connsiteX197" fmla="*/ 69834 w 852592"/>
                    <a:gd name="connsiteY197" fmla="*/ 383158 h 791743"/>
                    <a:gd name="connsiteX198" fmla="*/ 69919 w 852592"/>
                    <a:gd name="connsiteY198" fmla="*/ 382126 h 791743"/>
                    <a:gd name="connsiteX199" fmla="*/ 69676 w 852592"/>
                    <a:gd name="connsiteY199" fmla="*/ 380050 h 791743"/>
                    <a:gd name="connsiteX200" fmla="*/ 68887 w 852592"/>
                    <a:gd name="connsiteY200" fmla="*/ 374634 h 791743"/>
                    <a:gd name="connsiteX201" fmla="*/ 67114 w 852592"/>
                    <a:gd name="connsiteY201" fmla="*/ 369242 h 791743"/>
                    <a:gd name="connsiteX202" fmla="*/ 65766 w 852592"/>
                    <a:gd name="connsiteY202" fmla="*/ 366377 h 791743"/>
                    <a:gd name="connsiteX203" fmla="*/ 64503 w 852592"/>
                    <a:gd name="connsiteY203" fmla="*/ 364859 h 791743"/>
                    <a:gd name="connsiteX204" fmla="*/ 58966 w 852592"/>
                    <a:gd name="connsiteY204" fmla="*/ 360244 h 791743"/>
                    <a:gd name="connsiteX205" fmla="*/ 57473 w 852592"/>
                    <a:gd name="connsiteY205" fmla="*/ 357852 h 791743"/>
                    <a:gd name="connsiteX206" fmla="*/ 56853 w 852592"/>
                    <a:gd name="connsiteY206" fmla="*/ 354683 h 791743"/>
                    <a:gd name="connsiteX207" fmla="*/ 57715 w 852592"/>
                    <a:gd name="connsiteY207" fmla="*/ 352133 h 791743"/>
                    <a:gd name="connsiteX208" fmla="*/ 59112 w 852592"/>
                    <a:gd name="connsiteY208" fmla="*/ 350142 h 791743"/>
                    <a:gd name="connsiteX209" fmla="*/ 59561 w 852592"/>
                    <a:gd name="connsiteY209" fmla="*/ 349619 h 791743"/>
                    <a:gd name="connsiteX210" fmla="*/ 61431 w 852592"/>
                    <a:gd name="connsiteY210" fmla="*/ 348769 h 791743"/>
                    <a:gd name="connsiteX211" fmla="*/ 64601 w 852592"/>
                    <a:gd name="connsiteY211" fmla="*/ 348065 h 791743"/>
                    <a:gd name="connsiteX212" fmla="*/ 65038 w 852592"/>
                    <a:gd name="connsiteY212" fmla="*/ 347142 h 791743"/>
                    <a:gd name="connsiteX213" fmla="*/ 63180 w 852592"/>
                    <a:gd name="connsiteY213" fmla="*/ 338254 h 791743"/>
                    <a:gd name="connsiteX214" fmla="*/ 59391 w 852592"/>
                    <a:gd name="connsiteY214" fmla="*/ 329535 h 791743"/>
                    <a:gd name="connsiteX215" fmla="*/ 58954 w 852592"/>
                    <a:gd name="connsiteY215" fmla="*/ 326718 h 791743"/>
                    <a:gd name="connsiteX216" fmla="*/ 59428 w 852592"/>
                    <a:gd name="connsiteY216" fmla="*/ 322868 h 791743"/>
                    <a:gd name="connsiteX217" fmla="*/ 60435 w 852592"/>
                    <a:gd name="connsiteY217" fmla="*/ 319906 h 791743"/>
                    <a:gd name="connsiteX218" fmla="*/ 61783 w 852592"/>
                    <a:gd name="connsiteY218" fmla="*/ 317186 h 791743"/>
                    <a:gd name="connsiteX219" fmla="*/ 61783 w 852592"/>
                    <a:gd name="connsiteY219" fmla="*/ 317040 h 791743"/>
                    <a:gd name="connsiteX220" fmla="*/ 57278 w 852592"/>
                    <a:gd name="connsiteY220" fmla="*/ 314696 h 791743"/>
                    <a:gd name="connsiteX221" fmla="*/ 53927 w 852592"/>
                    <a:gd name="connsiteY221" fmla="*/ 314113 h 791743"/>
                    <a:gd name="connsiteX222" fmla="*/ 55226 w 852592"/>
                    <a:gd name="connsiteY222" fmla="*/ 311053 h 791743"/>
                    <a:gd name="connsiteX223" fmla="*/ 56380 w 852592"/>
                    <a:gd name="connsiteY223" fmla="*/ 307131 h 791743"/>
                    <a:gd name="connsiteX224" fmla="*/ 55833 w 852592"/>
                    <a:gd name="connsiteY224" fmla="*/ 306293 h 791743"/>
                    <a:gd name="connsiteX225" fmla="*/ 55056 w 852592"/>
                    <a:gd name="connsiteY225" fmla="*/ 305286 h 791743"/>
                    <a:gd name="connsiteX226" fmla="*/ 45803 w 852592"/>
                    <a:gd name="connsiteY226" fmla="*/ 299190 h 791743"/>
                    <a:gd name="connsiteX227" fmla="*/ 46289 w 852592"/>
                    <a:gd name="connsiteY227" fmla="*/ 294928 h 791743"/>
                    <a:gd name="connsiteX228" fmla="*/ 47819 w 852592"/>
                    <a:gd name="connsiteY228" fmla="*/ 293167 h 791743"/>
                    <a:gd name="connsiteX229" fmla="*/ 50296 w 852592"/>
                    <a:gd name="connsiteY229" fmla="*/ 291127 h 791743"/>
                    <a:gd name="connsiteX230" fmla="*/ 52458 w 852592"/>
                    <a:gd name="connsiteY230" fmla="*/ 289730 h 791743"/>
                    <a:gd name="connsiteX231" fmla="*/ 53502 w 852592"/>
                    <a:gd name="connsiteY231" fmla="*/ 288613 h 791743"/>
                    <a:gd name="connsiteX232" fmla="*/ 54170 w 852592"/>
                    <a:gd name="connsiteY232" fmla="*/ 287290 h 791743"/>
                    <a:gd name="connsiteX233" fmla="*/ 54595 w 852592"/>
                    <a:gd name="connsiteY233" fmla="*/ 285092 h 791743"/>
                    <a:gd name="connsiteX234" fmla="*/ 54850 w 852592"/>
                    <a:gd name="connsiteY234" fmla="*/ 281303 h 791743"/>
                    <a:gd name="connsiteX235" fmla="*/ 55554 w 852592"/>
                    <a:gd name="connsiteY235" fmla="*/ 279069 h 791743"/>
                    <a:gd name="connsiteX236" fmla="*/ 56853 w 852592"/>
                    <a:gd name="connsiteY236" fmla="*/ 277090 h 791743"/>
                    <a:gd name="connsiteX237" fmla="*/ 56756 w 852592"/>
                    <a:gd name="connsiteY237" fmla="*/ 276434 h 791743"/>
                    <a:gd name="connsiteX238" fmla="*/ 56113 w 852592"/>
                    <a:gd name="connsiteY238" fmla="*/ 276118 h 791743"/>
                    <a:gd name="connsiteX239" fmla="*/ 55287 w 852592"/>
                    <a:gd name="connsiteY239" fmla="*/ 274576 h 791743"/>
                    <a:gd name="connsiteX240" fmla="*/ 57072 w 852592"/>
                    <a:gd name="connsiteY240" fmla="*/ 271674 h 791743"/>
                    <a:gd name="connsiteX241" fmla="*/ 60545 w 852592"/>
                    <a:gd name="connsiteY241" fmla="*/ 268213 h 791743"/>
                    <a:gd name="connsiteX242" fmla="*/ 61298 w 852592"/>
                    <a:gd name="connsiteY242" fmla="*/ 267217 h 791743"/>
                    <a:gd name="connsiteX243" fmla="*/ 62014 w 852592"/>
                    <a:gd name="connsiteY243" fmla="*/ 265688 h 791743"/>
                    <a:gd name="connsiteX244" fmla="*/ 63362 w 852592"/>
                    <a:gd name="connsiteY244" fmla="*/ 263696 h 791743"/>
                    <a:gd name="connsiteX245" fmla="*/ 65681 w 852592"/>
                    <a:gd name="connsiteY245" fmla="*/ 261498 h 791743"/>
                    <a:gd name="connsiteX246" fmla="*/ 68013 w 852592"/>
                    <a:gd name="connsiteY246" fmla="*/ 260259 h 791743"/>
                    <a:gd name="connsiteX247" fmla="*/ 70126 w 852592"/>
                    <a:gd name="connsiteY247" fmla="*/ 259652 h 791743"/>
                    <a:gd name="connsiteX248" fmla="*/ 78395 w 852592"/>
                    <a:gd name="connsiteY248" fmla="*/ 259033 h 791743"/>
                    <a:gd name="connsiteX249" fmla="*/ 79949 w 852592"/>
                    <a:gd name="connsiteY249" fmla="*/ 258754 h 791743"/>
                    <a:gd name="connsiteX250" fmla="*/ 81382 w 852592"/>
                    <a:gd name="connsiteY250" fmla="*/ 258292 h 791743"/>
                    <a:gd name="connsiteX251" fmla="*/ 82353 w 852592"/>
                    <a:gd name="connsiteY251" fmla="*/ 257612 h 791743"/>
                    <a:gd name="connsiteX252" fmla="*/ 83009 w 852592"/>
                    <a:gd name="connsiteY252" fmla="*/ 256483 h 791743"/>
                    <a:gd name="connsiteX253" fmla="*/ 83835 w 852592"/>
                    <a:gd name="connsiteY253" fmla="*/ 254540 h 791743"/>
                    <a:gd name="connsiteX254" fmla="*/ 84989 w 852592"/>
                    <a:gd name="connsiteY254" fmla="*/ 250132 h 791743"/>
                    <a:gd name="connsiteX255" fmla="*/ 84928 w 852592"/>
                    <a:gd name="connsiteY255" fmla="*/ 248007 h 791743"/>
                    <a:gd name="connsiteX256" fmla="*/ 84612 w 852592"/>
                    <a:gd name="connsiteY256" fmla="*/ 246113 h 791743"/>
                    <a:gd name="connsiteX257" fmla="*/ 84163 w 852592"/>
                    <a:gd name="connsiteY257" fmla="*/ 244899 h 791743"/>
                    <a:gd name="connsiteX258" fmla="*/ 83701 w 852592"/>
                    <a:gd name="connsiteY258" fmla="*/ 242421 h 791743"/>
                    <a:gd name="connsiteX259" fmla="*/ 84114 w 852592"/>
                    <a:gd name="connsiteY259" fmla="*/ 239386 h 791743"/>
                    <a:gd name="connsiteX260" fmla="*/ 85802 w 852592"/>
                    <a:gd name="connsiteY260" fmla="*/ 236350 h 791743"/>
                    <a:gd name="connsiteX261" fmla="*/ 88886 w 852592"/>
                    <a:gd name="connsiteY261" fmla="*/ 233569 h 791743"/>
                    <a:gd name="connsiteX262" fmla="*/ 91886 w 852592"/>
                    <a:gd name="connsiteY262" fmla="*/ 232282 h 791743"/>
                    <a:gd name="connsiteX263" fmla="*/ 94545 w 852592"/>
                    <a:gd name="connsiteY263" fmla="*/ 231954 h 791743"/>
                    <a:gd name="connsiteX264" fmla="*/ 99536 w 852592"/>
                    <a:gd name="connsiteY264" fmla="*/ 232404 h 791743"/>
                    <a:gd name="connsiteX265" fmla="*/ 100301 w 852592"/>
                    <a:gd name="connsiteY265" fmla="*/ 231299 h 791743"/>
                    <a:gd name="connsiteX266" fmla="*/ 105704 w 852592"/>
                    <a:gd name="connsiteY266" fmla="*/ 219144 h 791743"/>
                    <a:gd name="connsiteX267" fmla="*/ 107926 w 852592"/>
                    <a:gd name="connsiteY267" fmla="*/ 215331 h 791743"/>
                    <a:gd name="connsiteX268" fmla="*/ 110258 w 852592"/>
                    <a:gd name="connsiteY268" fmla="*/ 212246 h 791743"/>
                    <a:gd name="connsiteX269" fmla="*/ 113002 w 852592"/>
                    <a:gd name="connsiteY269" fmla="*/ 210959 h 791743"/>
                    <a:gd name="connsiteX270" fmla="*/ 115273 w 852592"/>
                    <a:gd name="connsiteY270" fmla="*/ 209563 h 791743"/>
                    <a:gd name="connsiteX271" fmla="*/ 118029 w 852592"/>
                    <a:gd name="connsiteY271" fmla="*/ 208336 h 791743"/>
                    <a:gd name="connsiteX272" fmla="*/ 120944 w 852592"/>
                    <a:gd name="connsiteY272" fmla="*/ 208373 h 791743"/>
                    <a:gd name="connsiteX273" fmla="*/ 122777 w 852592"/>
                    <a:gd name="connsiteY273" fmla="*/ 207681 h 791743"/>
                    <a:gd name="connsiteX274" fmla="*/ 122777 w 852592"/>
                    <a:gd name="connsiteY274" fmla="*/ 207547 h 791743"/>
                    <a:gd name="connsiteX275" fmla="*/ 121867 w 852592"/>
                    <a:gd name="connsiteY275" fmla="*/ 206369 h 791743"/>
                    <a:gd name="connsiteX276" fmla="*/ 120907 w 852592"/>
                    <a:gd name="connsiteY276" fmla="*/ 205507 h 791743"/>
                    <a:gd name="connsiteX277" fmla="*/ 113318 w 852592"/>
                    <a:gd name="connsiteY277" fmla="*/ 200164 h 791743"/>
                    <a:gd name="connsiteX278" fmla="*/ 110051 w 852592"/>
                    <a:gd name="connsiteY278" fmla="*/ 196849 h 791743"/>
                    <a:gd name="connsiteX279" fmla="*/ 109493 w 852592"/>
                    <a:gd name="connsiteY279" fmla="*/ 194736 h 791743"/>
                    <a:gd name="connsiteX280" fmla="*/ 109202 w 852592"/>
                    <a:gd name="connsiteY280" fmla="*/ 192453 h 791743"/>
                    <a:gd name="connsiteX281" fmla="*/ 109444 w 852592"/>
                    <a:gd name="connsiteY281" fmla="*/ 190231 h 791743"/>
                    <a:gd name="connsiteX282" fmla="*/ 108084 w 852592"/>
                    <a:gd name="connsiteY282" fmla="*/ 190328 h 791743"/>
                    <a:gd name="connsiteX283" fmla="*/ 106566 w 852592"/>
                    <a:gd name="connsiteY283" fmla="*/ 189964 h 791743"/>
                    <a:gd name="connsiteX284" fmla="*/ 104478 w 852592"/>
                    <a:gd name="connsiteY284" fmla="*/ 188762 h 791743"/>
                    <a:gd name="connsiteX285" fmla="*/ 103931 w 852592"/>
                    <a:gd name="connsiteY285" fmla="*/ 188386 h 791743"/>
                    <a:gd name="connsiteX286" fmla="*/ 103264 w 852592"/>
                    <a:gd name="connsiteY286" fmla="*/ 187268 h 791743"/>
                    <a:gd name="connsiteX287" fmla="*/ 102717 w 852592"/>
                    <a:gd name="connsiteY287" fmla="*/ 185835 h 791743"/>
                    <a:gd name="connsiteX288" fmla="*/ 102596 w 852592"/>
                    <a:gd name="connsiteY288" fmla="*/ 184305 h 791743"/>
                    <a:gd name="connsiteX289" fmla="*/ 102681 w 852592"/>
                    <a:gd name="connsiteY289" fmla="*/ 183310 h 791743"/>
                    <a:gd name="connsiteX290" fmla="*/ 101078 w 852592"/>
                    <a:gd name="connsiteY290" fmla="*/ 183528 h 791743"/>
                    <a:gd name="connsiteX291" fmla="*/ 98771 w 852592"/>
                    <a:gd name="connsiteY291" fmla="*/ 183395 h 791743"/>
                    <a:gd name="connsiteX292" fmla="*/ 97763 w 852592"/>
                    <a:gd name="connsiteY292" fmla="*/ 183249 h 791743"/>
                    <a:gd name="connsiteX293" fmla="*/ 96706 w 852592"/>
                    <a:gd name="connsiteY293" fmla="*/ 182193 h 791743"/>
                    <a:gd name="connsiteX294" fmla="*/ 95856 w 852592"/>
                    <a:gd name="connsiteY294" fmla="*/ 181136 h 791743"/>
                    <a:gd name="connsiteX295" fmla="*/ 95152 w 852592"/>
                    <a:gd name="connsiteY295" fmla="*/ 179509 h 791743"/>
                    <a:gd name="connsiteX296" fmla="*/ 94885 w 852592"/>
                    <a:gd name="connsiteY296" fmla="*/ 177809 h 791743"/>
                    <a:gd name="connsiteX297" fmla="*/ 94885 w 852592"/>
                    <a:gd name="connsiteY297" fmla="*/ 175927 h 791743"/>
                    <a:gd name="connsiteX298" fmla="*/ 94120 w 852592"/>
                    <a:gd name="connsiteY298" fmla="*/ 173000 h 791743"/>
                    <a:gd name="connsiteX299" fmla="*/ 92711 w 852592"/>
                    <a:gd name="connsiteY299" fmla="*/ 169163 h 791743"/>
                    <a:gd name="connsiteX300" fmla="*/ 92966 w 852592"/>
                    <a:gd name="connsiteY300" fmla="*/ 166152 h 791743"/>
                    <a:gd name="connsiteX301" fmla="*/ 94666 w 852592"/>
                    <a:gd name="connsiteY301" fmla="*/ 163820 h 791743"/>
                    <a:gd name="connsiteX302" fmla="*/ 97423 w 852592"/>
                    <a:gd name="connsiteY302" fmla="*/ 162375 h 791743"/>
                    <a:gd name="connsiteX303" fmla="*/ 98710 w 852592"/>
                    <a:gd name="connsiteY303" fmla="*/ 161185 h 791743"/>
                    <a:gd name="connsiteX304" fmla="*/ 100604 w 852592"/>
                    <a:gd name="connsiteY304" fmla="*/ 159303 h 791743"/>
                    <a:gd name="connsiteX305" fmla="*/ 102754 w 852592"/>
                    <a:gd name="connsiteY305" fmla="*/ 156486 h 791743"/>
                    <a:gd name="connsiteX306" fmla="*/ 104575 w 852592"/>
                    <a:gd name="connsiteY306" fmla="*/ 154592 h 791743"/>
                    <a:gd name="connsiteX307" fmla="*/ 106348 w 852592"/>
                    <a:gd name="connsiteY307" fmla="*/ 153244 h 791743"/>
                    <a:gd name="connsiteX308" fmla="*/ 108534 w 852592"/>
                    <a:gd name="connsiteY308" fmla="*/ 152200 h 791743"/>
                    <a:gd name="connsiteX309" fmla="*/ 108606 w 852592"/>
                    <a:gd name="connsiteY309" fmla="*/ 151568 h 791743"/>
                    <a:gd name="connsiteX310" fmla="*/ 107708 w 852592"/>
                    <a:gd name="connsiteY310" fmla="*/ 149139 h 791743"/>
                    <a:gd name="connsiteX311" fmla="*/ 107866 w 852592"/>
                    <a:gd name="connsiteY311" fmla="*/ 146626 h 791743"/>
                    <a:gd name="connsiteX312" fmla="*/ 108534 w 852592"/>
                    <a:gd name="connsiteY312" fmla="*/ 143760 h 791743"/>
                    <a:gd name="connsiteX313" fmla="*/ 110525 w 852592"/>
                    <a:gd name="connsiteY313" fmla="*/ 138502 h 791743"/>
                    <a:gd name="connsiteX314" fmla="*/ 112237 w 852592"/>
                    <a:gd name="connsiteY314" fmla="*/ 132455 h 791743"/>
                    <a:gd name="connsiteX315" fmla="*/ 113537 w 852592"/>
                    <a:gd name="connsiteY315" fmla="*/ 129966 h 791743"/>
                    <a:gd name="connsiteX316" fmla="*/ 115224 w 852592"/>
                    <a:gd name="connsiteY316" fmla="*/ 127622 h 791743"/>
                    <a:gd name="connsiteX317" fmla="*/ 117872 w 852592"/>
                    <a:gd name="connsiteY317" fmla="*/ 124647 h 791743"/>
                    <a:gd name="connsiteX318" fmla="*/ 116426 w 852592"/>
                    <a:gd name="connsiteY318" fmla="*/ 123967 h 791743"/>
                    <a:gd name="connsiteX319" fmla="*/ 113852 w 852592"/>
                    <a:gd name="connsiteY319" fmla="*/ 122219 h 791743"/>
                    <a:gd name="connsiteX320" fmla="*/ 114071 w 852592"/>
                    <a:gd name="connsiteY320" fmla="*/ 119681 h 791743"/>
                    <a:gd name="connsiteX321" fmla="*/ 114569 w 852592"/>
                    <a:gd name="connsiteY321" fmla="*/ 118211 h 791743"/>
                    <a:gd name="connsiteX322" fmla="*/ 115322 w 852592"/>
                    <a:gd name="connsiteY322" fmla="*/ 117058 h 791743"/>
                    <a:gd name="connsiteX323" fmla="*/ 118357 w 852592"/>
                    <a:gd name="connsiteY323" fmla="*/ 114119 h 791743"/>
                    <a:gd name="connsiteX324" fmla="*/ 120494 w 852592"/>
                    <a:gd name="connsiteY324" fmla="*/ 112541 h 791743"/>
                    <a:gd name="connsiteX325" fmla="*/ 122705 w 852592"/>
                    <a:gd name="connsiteY325" fmla="*/ 111290 h 791743"/>
                    <a:gd name="connsiteX326" fmla="*/ 124817 w 852592"/>
                    <a:gd name="connsiteY326" fmla="*/ 110561 h 791743"/>
                    <a:gd name="connsiteX327" fmla="*/ 126809 w 852592"/>
                    <a:gd name="connsiteY327" fmla="*/ 110185 h 791743"/>
                    <a:gd name="connsiteX328" fmla="*/ 128837 w 852592"/>
                    <a:gd name="connsiteY328" fmla="*/ 110173 h 791743"/>
                    <a:gd name="connsiteX329" fmla="*/ 131095 w 852592"/>
                    <a:gd name="connsiteY329" fmla="*/ 110610 h 791743"/>
                    <a:gd name="connsiteX330" fmla="*/ 134714 w 852592"/>
                    <a:gd name="connsiteY330" fmla="*/ 111873 h 791743"/>
                    <a:gd name="connsiteX331" fmla="*/ 135782 w 852592"/>
                    <a:gd name="connsiteY331" fmla="*/ 111921 h 791743"/>
                    <a:gd name="connsiteX332" fmla="*/ 139365 w 852592"/>
                    <a:gd name="connsiteY332" fmla="*/ 111363 h 791743"/>
                    <a:gd name="connsiteX333" fmla="*/ 141368 w 852592"/>
                    <a:gd name="connsiteY333" fmla="*/ 111508 h 791743"/>
                    <a:gd name="connsiteX334" fmla="*/ 142546 w 852592"/>
                    <a:gd name="connsiteY334" fmla="*/ 112346 h 791743"/>
                    <a:gd name="connsiteX335" fmla="*/ 143505 w 852592"/>
                    <a:gd name="connsiteY335" fmla="*/ 113306 h 791743"/>
                    <a:gd name="connsiteX336" fmla="*/ 147695 w 852592"/>
                    <a:gd name="connsiteY336" fmla="*/ 119912 h 791743"/>
                    <a:gd name="connsiteX337" fmla="*/ 149225 w 852592"/>
                    <a:gd name="connsiteY337" fmla="*/ 121417 h 791743"/>
                    <a:gd name="connsiteX338" fmla="*/ 150973 w 852592"/>
                    <a:gd name="connsiteY338" fmla="*/ 122522 h 791743"/>
                    <a:gd name="connsiteX339" fmla="*/ 153013 w 852592"/>
                    <a:gd name="connsiteY339" fmla="*/ 123239 h 791743"/>
                    <a:gd name="connsiteX340" fmla="*/ 154640 w 852592"/>
                    <a:gd name="connsiteY340" fmla="*/ 123312 h 791743"/>
                    <a:gd name="connsiteX341" fmla="*/ 156182 w 852592"/>
                    <a:gd name="connsiteY341" fmla="*/ 123044 h 791743"/>
                    <a:gd name="connsiteX342" fmla="*/ 159255 w 852592"/>
                    <a:gd name="connsiteY342" fmla="*/ 122291 h 791743"/>
                    <a:gd name="connsiteX343" fmla="*/ 161380 w 852592"/>
                    <a:gd name="connsiteY343" fmla="*/ 122133 h 791743"/>
                    <a:gd name="connsiteX344" fmla="*/ 162642 w 852592"/>
                    <a:gd name="connsiteY344" fmla="*/ 122328 h 791743"/>
                    <a:gd name="connsiteX345" fmla="*/ 165569 w 852592"/>
                    <a:gd name="connsiteY345" fmla="*/ 123251 h 791743"/>
                    <a:gd name="connsiteX346" fmla="*/ 167245 w 852592"/>
                    <a:gd name="connsiteY346" fmla="*/ 123591 h 791743"/>
                    <a:gd name="connsiteX347" fmla="*/ 171932 w 852592"/>
                    <a:gd name="connsiteY347" fmla="*/ 123676 h 791743"/>
                    <a:gd name="connsiteX348" fmla="*/ 172442 w 852592"/>
                    <a:gd name="connsiteY348" fmla="*/ 123554 h 791743"/>
                    <a:gd name="connsiteX349" fmla="*/ 173146 w 852592"/>
                    <a:gd name="connsiteY349" fmla="*/ 122959 h 791743"/>
                    <a:gd name="connsiteX350" fmla="*/ 173401 w 852592"/>
                    <a:gd name="connsiteY350" fmla="*/ 119413 h 791743"/>
                    <a:gd name="connsiteX351" fmla="*/ 173401 w 852592"/>
                    <a:gd name="connsiteY351" fmla="*/ 117373 h 791743"/>
                    <a:gd name="connsiteX352" fmla="*/ 171677 w 852592"/>
                    <a:gd name="connsiteY352" fmla="*/ 108825 h 791743"/>
                    <a:gd name="connsiteX353" fmla="*/ 171628 w 852592"/>
                    <a:gd name="connsiteY353" fmla="*/ 106664 h 791743"/>
                    <a:gd name="connsiteX354" fmla="*/ 172102 w 852592"/>
                    <a:gd name="connsiteY354" fmla="*/ 104186 h 791743"/>
                    <a:gd name="connsiteX355" fmla="*/ 173620 w 852592"/>
                    <a:gd name="connsiteY355" fmla="*/ 101381 h 791743"/>
                    <a:gd name="connsiteX356" fmla="*/ 175089 w 852592"/>
                    <a:gd name="connsiteY356" fmla="*/ 99633 h 791743"/>
                    <a:gd name="connsiteX357" fmla="*/ 175769 w 852592"/>
                    <a:gd name="connsiteY357" fmla="*/ 98479 h 791743"/>
                    <a:gd name="connsiteX358" fmla="*/ 177943 w 852592"/>
                    <a:gd name="connsiteY358" fmla="*/ 93209 h 791743"/>
                    <a:gd name="connsiteX359" fmla="*/ 179521 w 852592"/>
                    <a:gd name="connsiteY359" fmla="*/ 90501 h 791743"/>
                    <a:gd name="connsiteX360" fmla="*/ 181780 w 852592"/>
                    <a:gd name="connsiteY360" fmla="*/ 87927 h 791743"/>
                    <a:gd name="connsiteX361" fmla="*/ 183941 w 852592"/>
                    <a:gd name="connsiteY361" fmla="*/ 86373 h 791743"/>
                    <a:gd name="connsiteX362" fmla="*/ 186236 w 852592"/>
                    <a:gd name="connsiteY362" fmla="*/ 85353 h 791743"/>
                    <a:gd name="connsiteX363" fmla="*/ 194603 w 852592"/>
                    <a:gd name="connsiteY363" fmla="*/ 83896 h 791743"/>
                    <a:gd name="connsiteX364" fmla="*/ 195732 w 852592"/>
                    <a:gd name="connsiteY364" fmla="*/ 83325 h 791743"/>
                    <a:gd name="connsiteX365" fmla="*/ 196291 w 852592"/>
                    <a:gd name="connsiteY365" fmla="*/ 82717 h 791743"/>
                    <a:gd name="connsiteX366" fmla="*/ 196618 w 852592"/>
                    <a:gd name="connsiteY366" fmla="*/ 82026 h 791743"/>
                    <a:gd name="connsiteX367" fmla="*/ 196728 w 852592"/>
                    <a:gd name="connsiteY367" fmla="*/ 81224 h 791743"/>
                    <a:gd name="connsiteX368" fmla="*/ 196789 w 852592"/>
                    <a:gd name="connsiteY368" fmla="*/ 79803 h 791743"/>
                    <a:gd name="connsiteX369" fmla="*/ 196206 w 852592"/>
                    <a:gd name="connsiteY369" fmla="*/ 70587 h 791743"/>
                    <a:gd name="connsiteX370" fmla="*/ 196679 w 852592"/>
                    <a:gd name="connsiteY370" fmla="*/ 65499 h 791743"/>
                    <a:gd name="connsiteX371" fmla="*/ 197711 w 852592"/>
                    <a:gd name="connsiteY371" fmla="*/ 62087 h 791743"/>
                    <a:gd name="connsiteX372" fmla="*/ 201245 w 852592"/>
                    <a:gd name="connsiteY372" fmla="*/ 55262 h 791743"/>
                    <a:gd name="connsiteX373" fmla="*/ 201949 w 852592"/>
                    <a:gd name="connsiteY373" fmla="*/ 51802 h 791743"/>
                    <a:gd name="connsiteX374" fmla="*/ 203710 w 852592"/>
                    <a:gd name="connsiteY374" fmla="*/ 48475 h 791743"/>
                    <a:gd name="connsiteX375" fmla="*/ 206102 w 852592"/>
                    <a:gd name="connsiteY375" fmla="*/ 45815 h 791743"/>
                    <a:gd name="connsiteX376" fmla="*/ 212744 w 852592"/>
                    <a:gd name="connsiteY376" fmla="*/ 41820 h 791743"/>
                    <a:gd name="connsiteX377" fmla="*/ 213959 w 852592"/>
                    <a:gd name="connsiteY377" fmla="*/ 40703 h 791743"/>
                    <a:gd name="connsiteX378" fmla="*/ 214724 w 852592"/>
                    <a:gd name="connsiteY378" fmla="*/ 38578 h 791743"/>
                    <a:gd name="connsiteX379" fmla="*/ 215052 w 852592"/>
                    <a:gd name="connsiteY379" fmla="*/ 36999 h 791743"/>
                    <a:gd name="connsiteX380" fmla="*/ 214918 w 852592"/>
                    <a:gd name="connsiteY380" fmla="*/ 36356 h 791743"/>
                    <a:gd name="connsiteX381" fmla="*/ 213473 w 852592"/>
                    <a:gd name="connsiteY381" fmla="*/ 34972 h 791743"/>
                    <a:gd name="connsiteX382" fmla="*/ 210158 w 852592"/>
                    <a:gd name="connsiteY382" fmla="*/ 34219 h 791743"/>
                    <a:gd name="connsiteX383" fmla="*/ 208069 w 852592"/>
                    <a:gd name="connsiteY383" fmla="*/ 31462 h 791743"/>
                    <a:gd name="connsiteX384" fmla="*/ 201366 w 852592"/>
                    <a:gd name="connsiteY384" fmla="*/ 15567 h 791743"/>
                    <a:gd name="connsiteX385" fmla="*/ 199533 w 852592"/>
                    <a:gd name="connsiteY385" fmla="*/ 9642 h 791743"/>
                    <a:gd name="connsiteX386" fmla="*/ 202071 w 852592"/>
                    <a:gd name="connsiteY386" fmla="*/ 0 h 791743"/>
                    <a:gd name="connsiteX387" fmla="*/ 212866 w 852592"/>
                    <a:gd name="connsiteY387" fmla="*/ 4444 h 791743"/>
                    <a:gd name="connsiteX388" fmla="*/ 216241 w 852592"/>
                    <a:gd name="connsiteY388" fmla="*/ 6727 h 791743"/>
                    <a:gd name="connsiteX389" fmla="*/ 217152 w 852592"/>
                    <a:gd name="connsiteY389" fmla="*/ 7711 h 791743"/>
                    <a:gd name="connsiteX390" fmla="*/ 218634 w 852592"/>
                    <a:gd name="connsiteY390" fmla="*/ 9969 h 791743"/>
                    <a:gd name="connsiteX391" fmla="*/ 220795 w 852592"/>
                    <a:gd name="connsiteY391" fmla="*/ 14207 h 791743"/>
                    <a:gd name="connsiteX392" fmla="*/ 219399 w 852592"/>
                    <a:gd name="connsiteY392" fmla="*/ 17073 h 791743"/>
                    <a:gd name="connsiteX393" fmla="*/ 221827 w 852592"/>
                    <a:gd name="connsiteY393" fmla="*/ 15021 h 791743"/>
                    <a:gd name="connsiteX394" fmla="*/ 233060 w 852592"/>
                    <a:gd name="connsiteY394" fmla="*/ 19271 h 791743"/>
                    <a:gd name="connsiteX395" fmla="*/ 233545 w 852592"/>
                    <a:gd name="connsiteY395" fmla="*/ 18336 h 791743"/>
                    <a:gd name="connsiteX396" fmla="*/ 233776 w 852592"/>
                    <a:gd name="connsiteY396" fmla="*/ 17461 h 791743"/>
                    <a:gd name="connsiteX397" fmla="*/ 234128 w 852592"/>
                    <a:gd name="connsiteY397" fmla="*/ 17000 h 791743"/>
                    <a:gd name="connsiteX398" fmla="*/ 235039 w 852592"/>
                    <a:gd name="connsiteY398" fmla="*/ 16187 h 791743"/>
                    <a:gd name="connsiteX399" fmla="*/ 236654 w 852592"/>
                    <a:gd name="connsiteY399" fmla="*/ 15385 h 791743"/>
                    <a:gd name="connsiteX400" fmla="*/ 238026 w 852592"/>
                    <a:gd name="connsiteY400" fmla="*/ 14984 h 791743"/>
                    <a:gd name="connsiteX401" fmla="*/ 239507 w 852592"/>
                    <a:gd name="connsiteY401" fmla="*/ 14741 h 791743"/>
                    <a:gd name="connsiteX402" fmla="*/ 240114 w 852592"/>
                    <a:gd name="connsiteY402" fmla="*/ 14474 h 791743"/>
                    <a:gd name="connsiteX403" fmla="*/ 242009 w 852592"/>
                    <a:gd name="connsiteY403" fmla="*/ 14122 h 791743"/>
                    <a:gd name="connsiteX404" fmla="*/ 244219 w 852592"/>
                    <a:gd name="connsiteY404" fmla="*/ 14244 h 791743"/>
                    <a:gd name="connsiteX405" fmla="*/ 247328 w 852592"/>
                    <a:gd name="connsiteY405" fmla="*/ 15664 h 791743"/>
                    <a:gd name="connsiteX406" fmla="*/ 248615 w 852592"/>
                    <a:gd name="connsiteY406" fmla="*/ 16174 h 791743"/>
                    <a:gd name="connsiteX407" fmla="*/ 249780 w 852592"/>
                    <a:gd name="connsiteY407" fmla="*/ 16320 h 791743"/>
                    <a:gd name="connsiteX408" fmla="*/ 251748 w 852592"/>
                    <a:gd name="connsiteY408" fmla="*/ 16065 h 791743"/>
                    <a:gd name="connsiteX409" fmla="*/ 254795 w 852592"/>
                    <a:gd name="connsiteY409" fmla="*/ 15494 h 791743"/>
                    <a:gd name="connsiteX410" fmla="*/ 258584 w 852592"/>
                    <a:gd name="connsiteY410" fmla="*/ 16004 h 791743"/>
                    <a:gd name="connsiteX411" fmla="*/ 270703 w 852592"/>
                    <a:gd name="connsiteY411" fmla="*/ 20558 h 791743"/>
                    <a:gd name="connsiteX412" fmla="*/ 277320 w 852592"/>
                    <a:gd name="connsiteY412" fmla="*/ 24322 h 791743"/>
                    <a:gd name="connsiteX413" fmla="*/ 280721 w 852592"/>
                    <a:gd name="connsiteY413" fmla="*/ 23399 h 791743"/>
                    <a:gd name="connsiteX414" fmla="*/ 289403 w 852592"/>
                    <a:gd name="connsiteY414" fmla="*/ 23484 h 791743"/>
                    <a:gd name="connsiteX415" fmla="*/ 294855 w 852592"/>
                    <a:gd name="connsiteY415" fmla="*/ 26338 h 791743"/>
                    <a:gd name="connsiteX416" fmla="*/ 297138 w 852592"/>
                    <a:gd name="connsiteY416" fmla="*/ 28596 h 791743"/>
                    <a:gd name="connsiteX417" fmla="*/ 299384 w 852592"/>
                    <a:gd name="connsiteY417" fmla="*/ 30479 h 791743"/>
                    <a:gd name="connsiteX418" fmla="*/ 301995 w 852592"/>
                    <a:gd name="connsiteY418" fmla="*/ 31972 h 791743"/>
                    <a:gd name="connsiteX419" fmla="*/ 303221 w 852592"/>
                    <a:gd name="connsiteY419" fmla="*/ 33697 h 791743"/>
                    <a:gd name="connsiteX420" fmla="*/ 303780 w 852592"/>
                    <a:gd name="connsiteY420" fmla="*/ 34680 h 791743"/>
                    <a:gd name="connsiteX421" fmla="*/ 308856 w 852592"/>
                    <a:gd name="connsiteY421" fmla="*/ 50235 h 791743"/>
                    <a:gd name="connsiteX422" fmla="*/ 309244 w 852592"/>
                    <a:gd name="connsiteY422" fmla="*/ 50733 h 791743"/>
                    <a:gd name="connsiteX423" fmla="*/ 314915 w 852592"/>
                    <a:gd name="connsiteY423" fmla="*/ 52555 h 791743"/>
                    <a:gd name="connsiteX424" fmla="*/ 317247 w 852592"/>
                    <a:gd name="connsiteY424" fmla="*/ 53866 h 791743"/>
                    <a:gd name="connsiteX425" fmla="*/ 318036 w 852592"/>
                    <a:gd name="connsiteY425" fmla="*/ 55068 h 791743"/>
                    <a:gd name="connsiteX426" fmla="*/ 318692 w 852592"/>
                    <a:gd name="connsiteY426" fmla="*/ 56695 h 791743"/>
                    <a:gd name="connsiteX427" fmla="*/ 318861 w 852592"/>
                    <a:gd name="connsiteY427" fmla="*/ 58347 h 791743"/>
                    <a:gd name="connsiteX428" fmla="*/ 319602 w 852592"/>
                    <a:gd name="connsiteY428" fmla="*/ 58966 h 791743"/>
                    <a:gd name="connsiteX429" fmla="*/ 323925 w 852592"/>
                    <a:gd name="connsiteY429" fmla="*/ 60022 h 791743"/>
                    <a:gd name="connsiteX430" fmla="*/ 326548 w 852592"/>
                    <a:gd name="connsiteY430" fmla="*/ 61419 h 791743"/>
                    <a:gd name="connsiteX431" fmla="*/ 328321 w 852592"/>
                    <a:gd name="connsiteY431" fmla="*/ 62888 h 791743"/>
                    <a:gd name="connsiteX432" fmla="*/ 328430 w 852592"/>
                    <a:gd name="connsiteY432" fmla="*/ 63289 h 791743"/>
                    <a:gd name="connsiteX433" fmla="*/ 329632 w 852592"/>
                    <a:gd name="connsiteY433" fmla="*/ 63168 h 791743"/>
                    <a:gd name="connsiteX434" fmla="*/ 334040 w 852592"/>
                    <a:gd name="connsiteY434" fmla="*/ 62390 h 791743"/>
                    <a:gd name="connsiteX435" fmla="*/ 335935 w 852592"/>
                    <a:gd name="connsiteY435" fmla="*/ 61516 h 791743"/>
                    <a:gd name="connsiteX436" fmla="*/ 338047 w 852592"/>
                    <a:gd name="connsiteY436" fmla="*/ 57181 h 791743"/>
                    <a:gd name="connsiteX437" fmla="*/ 339067 w 852592"/>
                    <a:gd name="connsiteY437" fmla="*/ 56088 h 791743"/>
                    <a:gd name="connsiteX438" fmla="*/ 340294 w 852592"/>
                    <a:gd name="connsiteY438" fmla="*/ 54983 h 791743"/>
                    <a:gd name="connsiteX439" fmla="*/ 348636 w 852592"/>
                    <a:gd name="connsiteY439" fmla="*/ 51073 h 791743"/>
                    <a:gd name="connsiteX440" fmla="*/ 361362 w 852592"/>
                    <a:gd name="connsiteY440" fmla="*/ 48790 h 791743"/>
                    <a:gd name="connsiteX441" fmla="*/ 364070 w 852592"/>
                    <a:gd name="connsiteY441" fmla="*/ 48742 h 791743"/>
                    <a:gd name="connsiteX442" fmla="*/ 366729 w 852592"/>
                    <a:gd name="connsiteY442" fmla="*/ 49167 h 791743"/>
                    <a:gd name="connsiteX443" fmla="*/ 370930 w 852592"/>
                    <a:gd name="connsiteY443" fmla="*/ 50684 h 791743"/>
                    <a:gd name="connsiteX444" fmla="*/ 373043 w 852592"/>
                    <a:gd name="connsiteY444" fmla="*/ 51996 h 791743"/>
                    <a:gd name="connsiteX445" fmla="*/ 374853 w 852592"/>
                    <a:gd name="connsiteY445" fmla="*/ 53915 h 791743"/>
                    <a:gd name="connsiteX446" fmla="*/ 377670 w 852592"/>
                    <a:gd name="connsiteY446" fmla="*/ 58772 h 791743"/>
                    <a:gd name="connsiteX447" fmla="*/ 378253 w 852592"/>
                    <a:gd name="connsiteY447" fmla="*/ 59367 h 791743"/>
                    <a:gd name="connsiteX448" fmla="*/ 379989 w 852592"/>
                    <a:gd name="connsiteY448" fmla="*/ 59719 h 791743"/>
                    <a:gd name="connsiteX449" fmla="*/ 395702 w 852592"/>
                    <a:gd name="connsiteY449" fmla="*/ 61820 h 791743"/>
                    <a:gd name="connsiteX450" fmla="*/ 399248 w 852592"/>
                    <a:gd name="connsiteY450" fmla="*/ 63204 h 791743"/>
                    <a:gd name="connsiteX451" fmla="*/ 401603 w 852592"/>
                    <a:gd name="connsiteY451" fmla="*/ 65292 h 791743"/>
                    <a:gd name="connsiteX452" fmla="*/ 404360 w 852592"/>
                    <a:gd name="connsiteY452" fmla="*/ 69008 h 791743"/>
                    <a:gd name="connsiteX453" fmla="*/ 405101 w 852592"/>
                    <a:gd name="connsiteY453" fmla="*/ 69725 h 791743"/>
                    <a:gd name="connsiteX454" fmla="*/ 405647 w 852592"/>
                    <a:gd name="connsiteY454" fmla="*/ 69846 h 791743"/>
                    <a:gd name="connsiteX455" fmla="*/ 406704 w 852592"/>
                    <a:gd name="connsiteY455" fmla="*/ 70186 h 791743"/>
                    <a:gd name="connsiteX456" fmla="*/ 409023 w 852592"/>
                    <a:gd name="connsiteY456" fmla="*/ 70320 h 791743"/>
                    <a:gd name="connsiteX457" fmla="*/ 424384 w 852592"/>
                    <a:gd name="connsiteY457" fmla="*/ 70113 h 791743"/>
                    <a:gd name="connsiteX458" fmla="*/ 425659 w 852592"/>
                    <a:gd name="connsiteY458" fmla="*/ 70611 h 791743"/>
                    <a:gd name="connsiteX459" fmla="*/ 431062 w 852592"/>
                    <a:gd name="connsiteY459" fmla="*/ 70793 h 791743"/>
                    <a:gd name="connsiteX460" fmla="*/ 433636 w 852592"/>
                    <a:gd name="connsiteY460" fmla="*/ 71643 h 791743"/>
                    <a:gd name="connsiteX461" fmla="*/ 435919 w 852592"/>
                    <a:gd name="connsiteY461" fmla="*/ 73319 h 791743"/>
                    <a:gd name="connsiteX462" fmla="*/ 436211 w 852592"/>
                    <a:gd name="connsiteY462" fmla="*/ 73890 h 791743"/>
                    <a:gd name="connsiteX463" fmla="*/ 434656 w 852592"/>
                    <a:gd name="connsiteY463" fmla="*/ 77047 h 791743"/>
                    <a:gd name="connsiteX464" fmla="*/ 437389 w 852592"/>
                    <a:gd name="connsiteY464" fmla="*/ 75420 h 791743"/>
                    <a:gd name="connsiteX465" fmla="*/ 438433 w 852592"/>
                    <a:gd name="connsiteY465" fmla="*/ 75820 h 791743"/>
                    <a:gd name="connsiteX466" fmla="*/ 439635 w 852592"/>
                    <a:gd name="connsiteY466" fmla="*/ 75492 h 791743"/>
                    <a:gd name="connsiteX467" fmla="*/ 440594 w 852592"/>
                    <a:gd name="connsiteY467" fmla="*/ 74388 h 791743"/>
                    <a:gd name="connsiteX468" fmla="*/ 440837 w 852592"/>
                    <a:gd name="connsiteY468" fmla="*/ 73283 h 791743"/>
                    <a:gd name="connsiteX469" fmla="*/ 440692 w 852592"/>
                    <a:gd name="connsiteY469" fmla="*/ 72068 h 791743"/>
                    <a:gd name="connsiteX470" fmla="*/ 441214 w 852592"/>
                    <a:gd name="connsiteY470" fmla="*/ 68802 h 791743"/>
                    <a:gd name="connsiteX471" fmla="*/ 442938 w 852592"/>
                    <a:gd name="connsiteY471" fmla="*/ 66762 h 791743"/>
                    <a:gd name="connsiteX472" fmla="*/ 444152 w 852592"/>
                    <a:gd name="connsiteY472" fmla="*/ 65803 h 791743"/>
                    <a:gd name="connsiteX473" fmla="*/ 447965 w 852592"/>
                    <a:gd name="connsiteY473" fmla="*/ 64029 h 791743"/>
                    <a:gd name="connsiteX474" fmla="*/ 461844 w 852592"/>
                    <a:gd name="connsiteY474" fmla="*/ 59719 h 791743"/>
                    <a:gd name="connsiteX475" fmla="*/ 462852 w 852592"/>
                    <a:gd name="connsiteY475" fmla="*/ 58772 h 791743"/>
                    <a:gd name="connsiteX476" fmla="*/ 463933 w 852592"/>
                    <a:gd name="connsiteY476" fmla="*/ 58165 h 791743"/>
                    <a:gd name="connsiteX477" fmla="*/ 467649 w 852592"/>
                    <a:gd name="connsiteY477" fmla="*/ 57205 h 791743"/>
                    <a:gd name="connsiteX478" fmla="*/ 480812 w 852592"/>
                    <a:gd name="connsiteY478" fmla="*/ 59318 h 791743"/>
                    <a:gd name="connsiteX479" fmla="*/ 483228 w 852592"/>
                    <a:gd name="connsiteY479" fmla="*/ 62621 h 791743"/>
                    <a:gd name="connsiteX480" fmla="*/ 484443 w 852592"/>
                    <a:gd name="connsiteY480" fmla="*/ 63993 h 791743"/>
                    <a:gd name="connsiteX481" fmla="*/ 488486 w 852592"/>
                    <a:gd name="connsiteY481" fmla="*/ 67393 h 791743"/>
                    <a:gd name="connsiteX482" fmla="*/ 490174 w 852592"/>
                    <a:gd name="connsiteY482" fmla="*/ 69458 h 791743"/>
                    <a:gd name="connsiteX483" fmla="*/ 492955 w 852592"/>
                    <a:gd name="connsiteY483" fmla="*/ 74970 h 791743"/>
                    <a:gd name="connsiteX484" fmla="*/ 493890 w 852592"/>
                    <a:gd name="connsiteY484" fmla="*/ 76136 h 791743"/>
                    <a:gd name="connsiteX485" fmla="*/ 498200 w 852592"/>
                    <a:gd name="connsiteY485" fmla="*/ 77545 h 791743"/>
                    <a:gd name="connsiteX486" fmla="*/ 501418 w 852592"/>
                    <a:gd name="connsiteY486" fmla="*/ 78929 h 791743"/>
                    <a:gd name="connsiteX487" fmla="*/ 503058 w 852592"/>
                    <a:gd name="connsiteY487" fmla="*/ 79330 h 791743"/>
                    <a:gd name="connsiteX488" fmla="*/ 504114 w 852592"/>
                    <a:gd name="connsiteY488" fmla="*/ 79718 h 791743"/>
                    <a:gd name="connsiteX489" fmla="*/ 506020 w 852592"/>
                    <a:gd name="connsiteY489" fmla="*/ 80993 h 791743"/>
                    <a:gd name="connsiteX490" fmla="*/ 507028 w 852592"/>
                    <a:gd name="connsiteY490" fmla="*/ 82135 h 791743"/>
                    <a:gd name="connsiteX491" fmla="*/ 509336 w 852592"/>
                    <a:gd name="connsiteY491" fmla="*/ 85668 h 791743"/>
                    <a:gd name="connsiteX492" fmla="*/ 510477 w 852592"/>
                    <a:gd name="connsiteY492" fmla="*/ 86883 h 791743"/>
                    <a:gd name="connsiteX493" fmla="*/ 511266 w 852592"/>
                    <a:gd name="connsiteY493" fmla="*/ 87976 h 791743"/>
                    <a:gd name="connsiteX494" fmla="*/ 512177 w 852592"/>
                    <a:gd name="connsiteY494" fmla="*/ 89761 h 791743"/>
                    <a:gd name="connsiteX495" fmla="*/ 513525 w 852592"/>
                    <a:gd name="connsiteY495" fmla="*/ 93914 h 791743"/>
                    <a:gd name="connsiteX496" fmla="*/ 513926 w 852592"/>
                    <a:gd name="connsiteY496" fmla="*/ 96536 h 791743"/>
                    <a:gd name="connsiteX497" fmla="*/ 513950 w 852592"/>
                    <a:gd name="connsiteY497" fmla="*/ 99511 h 791743"/>
                    <a:gd name="connsiteX498" fmla="*/ 513136 w 852592"/>
                    <a:gd name="connsiteY498" fmla="*/ 107040 h 791743"/>
                    <a:gd name="connsiteX499" fmla="*/ 512444 w 852592"/>
                    <a:gd name="connsiteY499" fmla="*/ 110039 h 791743"/>
                    <a:gd name="connsiteX500" fmla="*/ 512153 w 852592"/>
                    <a:gd name="connsiteY500" fmla="*/ 113160 h 791743"/>
                    <a:gd name="connsiteX501" fmla="*/ 512299 w 852592"/>
                    <a:gd name="connsiteY501" fmla="*/ 116633 h 791743"/>
                    <a:gd name="connsiteX502" fmla="*/ 511594 w 852592"/>
                    <a:gd name="connsiteY502" fmla="*/ 120397 h 791743"/>
                    <a:gd name="connsiteX503" fmla="*/ 510696 w 852592"/>
                    <a:gd name="connsiteY503" fmla="*/ 122947 h 791743"/>
                    <a:gd name="connsiteX504" fmla="*/ 509785 w 852592"/>
                    <a:gd name="connsiteY504" fmla="*/ 124246 h 791743"/>
                    <a:gd name="connsiteX505" fmla="*/ 506834 w 852592"/>
                    <a:gd name="connsiteY505" fmla="*/ 126748 h 791743"/>
                    <a:gd name="connsiteX506" fmla="*/ 507028 w 852592"/>
                    <a:gd name="connsiteY506" fmla="*/ 127088 h 791743"/>
                    <a:gd name="connsiteX507" fmla="*/ 507466 w 852592"/>
                    <a:gd name="connsiteY507" fmla="*/ 128606 h 791743"/>
                    <a:gd name="connsiteX508" fmla="*/ 507174 w 852592"/>
                    <a:gd name="connsiteY508" fmla="*/ 133074 h 791743"/>
                    <a:gd name="connsiteX509" fmla="*/ 507429 w 852592"/>
                    <a:gd name="connsiteY509" fmla="*/ 136280 h 791743"/>
                    <a:gd name="connsiteX510" fmla="*/ 508267 w 852592"/>
                    <a:gd name="connsiteY510" fmla="*/ 139753 h 791743"/>
                    <a:gd name="connsiteX511" fmla="*/ 510756 w 852592"/>
                    <a:gd name="connsiteY511" fmla="*/ 146395 h 791743"/>
                    <a:gd name="connsiteX512" fmla="*/ 503495 w 852592"/>
                    <a:gd name="connsiteY512" fmla="*/ 149650 h 791743"/>
                    <a:gd name="connsiteX513" fmla="*/ 499451 w 852592"/>
                    <a:gd name="connsiteY513" fmla="*/ 153268 h 791743"/>
                    <a:gd name="connsiteX514" fmla="*/ 495942 w 852592"/>
                    <a:gd name="connsiteY514" fmla="*/ 158065 h 791743"/>
                    <a:gd name="connsiteX515" fmla="*/ 494594 w 852592"/>
                    <a:gd name="connsiteY515" fmla="*/ 162290 h 791743"/>
                    <a:gd name="connsiteX516" fmla="*/ 494910 w 852592"/>
                    <a:gd name="connsiteY516" fmla="*/ 166140 h 791743"/>
                    <a:gd name="connsiteX517" fmla="*/ 495529 w 852592"/>
                    <a:gd name="connsiteY517" fmla="*/ 166382 h 791743"/>
                    <a:gd name="connsiteX518" fmla="*/ 506543 w 852592"/>
                    <a:gd name="connsiteY518" fmla="*/ 163893 h 791743"/>
                    <a:gd name="connsiteX519" fmla="*/ 509178 w 852592"/>
                    <a:gd name="connsiteY519" fmla="*/ 168872 h 791743"/>
                    <a:gd name="connsiteX520" fmla="*/ 511898 w 852592"/>
                    <a:gd name="connsiteY520" fmla="*/ 183310 h 791743"/>
                    <a:gd name="connsiteX521" fmla="*/ 513719 w 852592"/>
                    <a:gd name="connsiteY521" fmla="*/ 189369 h 791743"/>
                    <a:gd name="connsiteX522" fmla="*/ 513719 w 852592"/>
                    <a:gd name="connsiteY522" fmla="*/ 199982 h 791743"/>
                    <a:gd name="connsiteX523" fmla="*/ 512821 w 852592"/>
                    <a:gd name="connsiteY523" fmla="*/ 204851 h 791743"/>
                    <a:gd name="connsiteX524" fmla="*/ 510368 w 852592"/>
                    <a:gd name="connsiteY524" fmla="*/ 207754 h 791743"/>
                    <a:gd name="connsiteX525" fmla="*/ 506834 w 852592"/>
                    <a:gd name="connsiteY525" fmla="*/ 210971 h 791743"/>
                    <a:gd name="connsiteX526" fmla="*/ 512979 w 852592"/>
                    <a:gd name="connsiteY526" fmla="*/ 214614 h 791743"/>
                    <a:gd name="connsiteX527" fmla="*/ 519317 w 852592"/>
                    <a:gd name="connsiteY527" fmla="*/ 216654 h 791743"/>
                    <a:gd name="connsiteX528" fmla="*/ 526858 w 852592"/>
                    <a:gd name="connsiteY528" fmla="*/ 223612 h 791743"/>
                    <a:gd name="connsiteX529" fmla="*/ 530574 w 852592"/>
                    <a:gd name="connsiteY529" fmla="*/ 226369 h 791743"/>
                    <a:gd name="connsiteX530" fmla="*/ 532067 w 852592"/>
                    <a:gd name="connsiteY530" fmla="*/ 227813 h 791743"/>
                    <a:gd name="connsiteX531" fmla="*/ 535443 w 852592"/>
                    <a:gd name="connsiteY531" fmla="*/ 233521 h 791743"/>
                    <a:gd name="connsiteX532" fmla="*/ 549504 w 852592"/>
                    <a:gd name="connsiteY532" fmla="*/ 234881 h 791743"/>
                    <a:gd name="connsiteX533" fmla="*/ 562425 w 852592"/>
                    <a:gd name="connsiteY533" fmla="*/ 233448 h 791743"/>
                    <a:gd name="connsiteX534" fmla="*/ 563615 w 852592"/>
                    <a:gd name="connsiteY534" fmla="*/ 232974 h 791743"/>
                    <a:gd name="connsiteX535" fmla="*/ 566322 w 852592"/>
                    <a:gd name="connsiteY535" fmla="*/ 230849 h 791743"/>
                    <a:gd name="connsiteX536" fmla="*/ 569735 w 852592"/>
                    <a:gd name="connsiteY536" fmla="*/ 229781 h 791743"/>
                    <a:gd name="connsiteX537" fmla="*/ 570512 w 852592"/>
                    <a:gd name="connsiteY537" fmla="*/ 229586 h 791743"/>
                    <a:gd name="connsiteX538" fmla="*/ 574300 w 852592"/>
                    <a:gd name="connsiteY538" fmla="*/ 230655 h 791743"/>
                    <a:gd name="connsiteX539" fmla="*/ 576425 w 852592"/>
                    <a:gd name="connsiteY539" fmla="*/ 232865 h 791743"/>
                    <a:gd name="connsiteX540" fmla="*/ 578053 w 852592"/>
                    <a:gd name="connsiteY540" fmla="*/ 235658 h 791743"/>
                    <a:gd name="connsiteX541" fmla="*/ 579060 w 852592"/>
                    <a:gd name="connsiteY541" fmla="*/ 238074 h 791743"/>
                    <a:gd name="connsiteX542" fmla="*/ 579667 w 852592"/>
                    <a:gd name="connsiteY542" fmla="*/ 240406 h 791743"/>
                    <a:gd name="connsiteX543" fmla="*/ 579971 w 852592"/>
                    <a:gd name="connsiteY543" fmla="*/ 245069 h 791743"/>
                    <a:gd name="connsiteX544" fmla="*/ 580360 w 852592"/>
                    <a:gd name="connsiteY544" fmla="*/ 246453 h 791743"/>
                    <a:gd name="connsiteX545" fmla="*/ 581343 w 852592"/>
                    <a:gd name="connsiteY545" fmla="*/ 247716 h 791743"/>
                    <a:gd name="connsiteX546" fmla="*/ 582752 w 852592"/>
                    <a:gd name="connsiteY546" fmla="*/ 249185 h 791743"/>
                    <a:gd name="connsiteX547" fmla="*/ 584415 w 852592"/>
                    <a:gd name="connsiteY547" fmla="*/ 251456 h 791743"/>
                    <a:gd name="connsiteX548" fmla="*/ 585435 w 852592"/>
                    <a:gd name="connsiteY548" fmla="*/ 249088 h 791743"/>
                    <a:gd name="connsiteX549" fmla="*/ 588095 w 852592"/>
                    <a:gd name="connsiteY549" fmla="*/ 249428 h 791743"/>
                    <a:gd name="connsiteX550" fmla="*/ 591094 w 852592"/>
                    <a:gd name="connsiteY550" fmla="*/ 250314 h 791743"/>
                    <a:gd name="connsiteX551" fmla="*/ 593000 w 852592"/>
                    <a:gd name="connsiteY551" fmla="*/ 252609 h 791743"/>
                    <a:gd name="connsiteX552" fmla="*/ 593644 w 852592"/>
                    <a:gd name="connsiteY552" fmla="*/ 254236 h 791743"/>
                    <a:gd name="connsiteX553" fmla="*/ 593875 w 852592"/>
                    <a:gd name="connsiteY553" fmla="*/ 254297 h 791743"/>
                    <a:gd name="connsiteX554" fmla="*/ 596401 w 852592"/>
                    <a:gd name="connsiteY554" fmla="*/ 253132 h 791743"/>
                    <a:gd name="connsiteX555" fmla="*/ 603735 w 852592"/>
                    <a:gd name="connsiteY555" fmla="*/ 251140 h 791743"/>
                    <a:gd name="connsiteX556" fmla="*/ 608762 w 852592"/>
                    <a:gd name="connsiteY556" fmla="*/ 251128 h 791743"/>
                    <a:gd name="connsiteX557" fmla="*/ 612830 w 852592"/>
                    <a:gd name="connsiteY557" fmla="*/ 252561 h 791743"/>
                    <a:gd name="connsiteX558" fmla="*/ 617129 w 852592"/>
                    <a:gd name="connsiteY558" fmla="*/ 256398 h 791743"/>
                    <a:gd name="connsiteX559" fmla="*/ 618525 w 852592"/>
                    <a:gd name="connsiteY559" fmla="*/ 257321 h 791743"/>
                    <a:gd name="connsiteX560" fmla="*/ 622216 w 852592"/>
                    <a:gd name="connsiteY560" fmla="*/ 259033 h 791743"/>
                    <a:gd name="connsiteX561" fmla="*/ 624426 w 852592"/>
                    <a:gd name="connsiteY561" fmla="*/ 260575 h 791743"/>
                    <a:gd name="connsiteX562" fmla="*/ 628846 w 852592"/>
                    <a:gd name="connsiteY562" fmla="*/ 264461 h 791743"/>
                    <a:gd name="connsiteX563" fmla="*/ 637747 w 852592"/>
                    <a:gd name="connsiteY563" fmla="*/ 274625 h 791743"/>
                    <a:gd name="connsiteX564" fmla="*/ 640686 w 852592"/>
                    <a:gd name="connsiteY564" fmla="*/ 278765 h 791743"/>
                    <a:gd name="connsiteX565" fmla="*/ 644304 w 852592"/>
                    <a:gd name="connsiteY565" fmla="*/ 282299 h 791743"/>
                    <a:gd name="connsiteX566" fmla="*/ 647219 w 852592"/>
                    <a:gd name="connsiteY566" fmla="*/ 286343 h 791743"/>
                    <a:gd name="connsiteX567" fmla="*/ 650254 w 852592"/>
                    <a:gd name="connsiteY567" fmla="*/ 289767 h 791743"/>
                    <a:gd name="connsiteX568" fmla="*/ 652404 w 852592"/>
                    <a:gd name="connsiteY568" fmla="*/ 293167 h 791743"/>
                    <a:gd name="connsiteX569" fmla="*/ 653751 w 852592"/>
                    <a:gd name="connsiteY569" fmla="*/ 296543 h 791743"/>
                    <a:gd name="connsiteX570" fmla="*/ 655488 w 852592"/>
                    <a:gd name="connsiteY570" fmla="*/ 302723 h 791743"/>
                    <a:gd name="connsiteX571" fmla="*/ 659957 w 852592"/>
                    <a:gd name="connsiteY571" fmla="*/ 312899 h 791743"/>
                    <a:gd name="connsiteX572" fmla="*/ 664425 w 852592"/>
                    <a:gd name="connsiteY572" fmla="*/ 319857 h 791743"/>
                    <a:gd name="connsiteX573" fmla="*/ 665457 w 852592"/>
                    <a:gd name="connsiteY573" fmla="*/ 322468 h 791743"/>
                    <a:gd name="connsiteX574" fmla="*/ 665797 w 852592"/>
                    <a:gd name="connsiteY574" fmla="*/ 325856 h 791743"/>
                    <a:gd name="connsiteX575" fmla="*/ 664705 w 852592"/>
                    <a:gd name="connsiteY575" fmla="*/ 328661 h 791743"/>
                    <a:gd name="connsiteX576" fmla="*/ 662191 w 852592"/>
                    <a:gd name="connsiteY576" fmla="*/ 330142 h 791743"/>
                    <a:gd name="connsiteX577" fmla="*/ 658317 w 852592"/>
                    <a:gd name="connsiteY577" fmla="*/ 331891 h 791743"/>
                    <a:gd name="connsiteX578" fmla="*/ 657431 w 852592"/>
                    <a:gd name="connsiteY578" fmla="*/ 332632 h 791743"/>
                    <a:gd name="connsiteX579" fmla="*/ 657127 w 852592"/>
                    <a:gd name="connsiteY579" fmla="*/ 333299 h 791743"/>
                    <a:gd name="connsiteX580" fmla="*/ 657152 w 852592"/>
                    <a:gd name="connsiteY580" fmla="*/ 334064 h 791743"/>
                    <a:gd name="connsiteX581" fmla="*/ 657309 w 852592"/>
                    <a:gd name="connsiteY581" fmla="*/ 335327 h 791743"/>
                    <a:gd name="connsiteX582" fmla="*/ 657710 w 852592"/>
                    <a:gd name="connsiteY582" fmla="*/ 336153 h 791743"/>
                    <a:gd name="connsiteX583" fmla="*/ 658184 w 852592"/>
                    <a:gd name="connsiteY583" fmla="*/ 336578 h 791743"/>
                    <a:gd name="connsiteX584" fmla="*/ 659483 w 852592"/>
                    <a:gd name="connsiteY584" fmla="*/ 336930 h 791743"/>
                    <a:gd name="connsiteX585" fmla="*/ 663502 w 852592"/>
                    <a:gd name="connsiteY585" fmla="*/ 336699 h 791743"/>
                    <a:gd name="connsiteX586" fmla="*/ 665348 w 852592"/>
                    <a:gd name="connsiteY586" fmla="*/ 336432 h 791743"/>
                    <a:gd name="connsiteX587" fmla="*/ 665894 w 852592"/>
                    <a:gd name="connsiteY587" fmla="*/ 336238 h 791743"/>
                    <a:gd name="connsiteX588" fmla="*/ 666259 w 852592"/>
                    <a:gd name="connsiteY588" fmla="*/ 335327 h 791743"/>
                    <a:gd name="connsiteX589" fmla="*/ 666975 w 852592"/>
                    <a:gd name="connsiteY589" fmla="*/ 331648 h 791743"/>
                    <a:gd name="connsiteX590" fmla="*/ 667983 w 852592"/>
                    <a:gd name="connsiteY590" fmla="*/ 329268 h 791743"/>
                    <a:gd name="connsiteX591" fmla="*/ 668955 w 852592"/>
                    <a:gd name="connsiteY591" fmla="*/ 328418 h 791743"/>
                    <a:gd name="connsiteX592" fmla="*/ 670387 w 852592"/>
                    <a:gd name="connsiteY592" fmla="*/ 327507 h 791743"/>
                    <a:gd name="connsiteX593" fmla="*/ 672537 w 852592"/>
                    <a:gd name="connsiteY593" fmla="*/ 326839 h 791743"/>
                    <a:gd name="connsiteX594" fmla="*/ 674759 w 852592"/>
                    <a:gd name="connsiteY594" fmla="*/ 327167 h 791743"/>
                    <a:gd name="connsiteX595" fmla="*/ 677843 w 852592"/>
                    <a:gd name="connsiteY595" fmla="*/ 328758 h 791743"/>
                    <a:gd name="connsiteX596" fmla="*/ 678681 w 852592"/>
                    <a:gd name="connsiteY596" fmla="*/ 329268 h 791743"/>
                    <a:gd name="connsiteX597" fmla="*/ 680029 w 852592"/>
                    <a:gd name="connsiteY597" fmla="*/ 332425 h 791743"/>
                    <a:gd name="connsiteX598" fmla="*/ 680600 w 852592"/>
                    <a:gd name="connsiteY598" fmla="*/ 335764 h 791743"/>
                    <a:gd name="connsiteX599" fmla="*/ 680745 w 852592"/>
                    <a:gd name="connsiteY599" fmla="*/ 338666 h 791743"/>
                    <a:gd name="connsiteX600" fmla="*/ 681122 w 852592"/>
                    <a:gd name="connsiteY600" fmla="*/ 341071 h 791743"/>
                    <a:gd name="connsiteX601" fmla="*/ 681498 w 852592"/>
                    <a:gd name="connsiteY601" fmla="*/ 341556 h 791743"/>
                    <a:gd name="connsiteX602" fmla="*/ 682215 w 852592"/>
                    <a:gd name="connsiteY602" fmla="*/ 342018 h 791743"/>
                    <a:gd name="connsiteX603" fmla="*/ 683575 w 852592"/>
                    <a:gd name="connsiteY603" fmla="*/ 342091 h 791743"/>
                    <a:gd name="connsiteX604" fmla="*/ 684692 w 852592"/>
                    <a:gd name="connsiteY604" fmla="*/ 341520 h 791743"/>
                    <a:gd name="connsiteX605" fmla="*/ 688990 w 852592"/>
                    <a:gd name="connsiteY605" fmla="*/ 339565 h 791743"/>
                    <a:gd name="connsiteX606" fmla="*/ 692439 w 852592"/>
                    <a:gd name="connsiteY606" fmla="*/ 338472 h 791743"/>
                    <a:gd name="connsiteX607" fmla="*/ 696956 w 852592"/>
                    <a:gd name="connsiteY607" fmla="*/ 339079 h 791743"/>
                    <a:gd name="connsiteX608" fmla="*/ 699955 w 852592"/>
                    <a:gd name="connsiteY608" fmla="*/ 341071 h 791743"/>
                    <a:gd name="connsiteX609" fmla="*/ 700890 w 852592"/>
                    <a:gd name="connsiteY609" fmla="*/ 344859 h 791743"/>
                    <a:gd name="connsiteX610" fmla="*/ 699652 w 852592"/>
                    <a:gd name="connsiteY610" fmla="*/ 347664 h 791743"/>
                    <a:gd name="connsiteX611" fmla="*/ 698098 w 852592"/>
                    <a:gd name="connsiteY611" fmla="*/ 350445 h 791743"/>
                    <a:gd name="connsiteX612" fmla="*/ 696823 w 852592"/>
                    <a:gd name="connsiteY612" fmla="*/ 353116 h 791743"/>
                    <a:gd name="connsiteX613" fmla="*/ 696143 w 852592"/>
                    <a:gd name="connsiteY613" fmla="*/ 355764 h 791743"/>
                    <a:gd name="connsiteX614" fmla="*/ 696373 w 852592"/>
                    <a:gd name="connsiteY614" fmla="*/ 358739 h 791743"/>
                    <a:gd name="connsiteX615" fmla="*/ 697005 w 852592"/>
                    <a:gd name="connsiteY615" fmla="*/ 361738 h 791743"/>
                    <a:gd name="connsiteX616" fmla="*/ 698073 w 852592"/>
                    <a:gd name="connsiteY616" fmla="*/ 365259 h 791743"/>
                    <a:gd name="connsiteX617" fmla="*/ 699324 w 852592"/>
                    <a:gd name="connsiteY617" fmla="*/ 367943 h 791743"/>
                    <a:gd name="connsiteX618" fmla="*/ 702761 w 852592"/>
                    <a:gd name="connsiteY618" fmla="*/ 373990 h 791743"/>
                    <a:gd name="connsiteX619" fmla="*/ 703950 w 852592"/>
                    <a:gd name="connsiteY619" fmla="*/ 377791 h 791743"/>
                    <a:gd name="connsiteX620" fmla="*/ 705274 w 852592"/>
                    <a:gd name="connsiteY620" fmla="*/ 402368 h 791743"/>
                    <a:gd name="connsiteX621" fmla="*/ 707739 w 852592"/>
                    <a:gd name="connsiteY621" fmla="*/ 407845 h 791743"/>
                    <a:gd name="connsiteX622" fmla="*/ 709973 w 852592"/>
                    <a:gd name="connsiteY622" fmla="*/ 410966 h 791743"/>
                    <a:gd name="connsiteX623" fmla="*/ 711394 w 852592"/>
                    <a:gd name="connsiteY623" fmla="*/ 411816 h 791743"/>
                    <a:gd name="connsiteX624" fmla="*/ 712766 w 852592"/>
                    <a:gd name="connsiteY624" fmla="*/ 411900 h 791743"/>
                    <a:gd name="connsiteX625" fmla="*/ 714527 w 852592"/>
                    <a:gd name="connsiteY625" fmla="*/ 411050 h 791743"/>
                    <a:gd name="connsiteX626" fmla="*/ 718716 w 852592"/>
                    <a:gd name="connsiteY626" fmla="*/ 407930 h 791743"/>
                    <a:gd name="connsiteX627" fmla="*/ 724023 w 852592"/>
                    <a:gd name="connsiteY627" fmla="*/ 405343 h 791743"/>
                    <a:gd name="connsiteX628" fmla="*/ 728661 w 852592"/>
                    <a:gd name="connsiteY628" fmla="*/ 402077 h 791743"/>
                    <a:gd name="connsiteX629" fmla="*/ 731187 w 852592"/>
                    <a:gd name="connsiteY629" fmla="*/ 400644 h 791743"/>
                    <a:gd name="connsiteX630" fmla="*/ 734053 w 852592"/>
                    <a:gd name="connsiteY630" fmla="*/ 400025 h 791743"/>
                    <a:gd name="connsiteX631" fmla="*/ 736834 w 852592"/>
                    <a:gd name="connsiteY631" fmla="*/ 400340 h 791743"/>
                    <a:gd name="connsiteX632" fmla="*/ 739602 w 852592"/>
                    <a:gd name="connsiteY632" fmla="*/ 401530 h 791743"/>
                    <a:gd name="connsiteX633" fmla="*/ 744641 w 852592"/>
                    <a:gd name="connsiteY633" fmla="*/ 404542 h 791743"/>
                    <a:gd name="connsiteX634" fmla="*/ 747726 w 852592"/>
                    <a:gd name="connsiteY634" fmla="*/ 405841 h 791743"/>
                    <a:gd name="connsiteX635" fmla="*/ 751599 w 852592"/>
                    <a:gd name="connsiteY635" fmla="*/ 406655 h 791743"/>
                    <a:gd name="connsiteX636" fmla="*/ 756493 w 852592"/>
                    <a:gd name="connsiteY636" fmla="*/ 406558 h 791743"/>
                    <a:gd name="connsiteX637" fmla="*/ 764544 w 852592"/>
                    <a:gd name="connsiteY637" fmla="*/ 405610 h 791743"/>
                    <a:gd name="connsiteX638" fmla="*/ 779006 w 852592"/>
                    <a:gd name="connsiteY638" fmla="*/ 406011 h 791743"/>
                    <a:gd name="connsiteX639" fmla="*/ 790008 w 852592"/>
                    <a:gd name="connsiteY639" fmla="*/ 408403 h 791743"/>
                    <a:gd name="connsiteX640" fmla="*/ 792497 w 852592"/>
                    <a:gd name="connsiteY640" fmla="*/ 409399 h 791743"/>
                    <a:gd name="connsiteX641" fmla="*/ 794342 w 852592"/>
                    <a:gd name="connsiteY641" fmla="*/ 409860 h 791743"/>
                    <a:gd name="connsiteX642" fmla="*/ 795059 w 852592"/>
                    <a:gd name="connsiteY642" fmla="*/ 409314 h 791743"/>
                    <a:gd name="connsiteX643" fmla="*/ 795217 w 852592"/>
                    <a:gd name="connsiteY643" fmla="*/ 408634 h 791743"/>
                    <a:gd name="connsiteX644" fmla="*/ 796164 w 852592"/>
                    <a:gd name="connsiteY644" fmla="*/ 405841 h 791743"/>
                    <a:gd name="connsiteX645" fmla="*/ 798022 w 852592"/>
                    <a:gd name="connsiteY645" fmla="*/ 403000 h 791743"/>
                    <a:gd name="connsiteX646" fmla="*/ 801106 w 852592"/>
                    <a:gd name="connsiteY646" fmla="*/ 402210 h 791743"/>
                    <a:gd name="connsiteX647" fmla="*/ 803972 w 852592"/>
                    <a:gd name="connsiteY647" fmla="*/ 402842 h 791743"/>
                    <a:gd name="connsiteX648" fmla="*/ 811209 w 852592"/>
                    <a:gd name="connsiteY648" fmla="*/ 407104 h 791743"/>
                    <a:gd name="connsiteX649" fmla="*/ 813577 w 852592"/>
                    <a:gd name="connsiteY649" fmla="*/ 407772 h 791743"/>
                    <a:gd name="connsiteX650" fmla="*/ 817790 w 852592"/>
                    <a:gd name="connsiteY650" fmla="*/ 405501 h 791743"/>
                    <a:gd name="connsiteX651" fmla="*/ 820207 w 852592"/>
                    <a:gd name="connsiteY651" fmla="*/ 402757 h 791743"/>
                    <a:gd name="connsiteX652" fmla="*/ 823753 w 852592"/>
                    <a:gd name="connsiteY652" fmla="*/ 399818 h 791743"/>
                    <a:gd name="connsiteX653" fmla="*/ 827104 w 852592"/>
                    <a:gd name="connsiteY653" fmla="*/ 397863 h 791743"/>
                    <a:gd name="connsiteX654" fmla="*/ 834718 w 852592"/>
                    <a:gd name="connsiteY654" fmla="*/ 396673 h 791743"/>
                    <a:gd name="connsiteX655" fmla="*/ 836454 w 852592"/>
                    <a:gd name="connsiteY655" fmla="*/ 395775 h 791743"/>
                    <a:gd name="connsiteX656" fmla="*/ 837766 w 852592"/>
                    <a:gd name="connsiteY656" fmla="*/ 394063 h 791743"/>
                    <a:gd name="connsiteX657" fmla="*/ 839029 w 852592"/>
                    <a:gd name="connsiteY657" fmla="*/ 392205 h 791743"/>
                    <a:gd name="connsiteX658" fmla="*/ 840898 w 852592"/>
                    <a:gd name="connsiteY658" fmla="*/ 390420 h 791743"/>
                    <a:gd name="connsiteX659" fmla="*/ 843594 w 852592"/>
                    <a:gd name="connsiteY659" fmla="*/ 387967 h 791743"/>
                    <a:gd name="connsiteX660" fmla="*/ 845513 w 852592"/>
                    <a:gd name="connsiteY660" fmla="*/ 391063 h 791743"/>
                    <a:gd name="connsiteX661" fmla="*/ 846897 w 852592"/>
                    <a:gd name="connsiteY661" fmla="*/ 393067 h 791743"/>
                    <a:gd name="connsiteX662" fmla="*/ 848500 w 852592"/>
                    <a:gd name="connsiteY662" fmla="*/ 393856 h 791743"/>
                    <a:gd name="connsiteX663" fmla="*/ 850443 w 852592"/>
                    <a:gd name="connsiteY663" fmla="*/ 396151 h 791743"/>
                    <a:gd name="connsiteX664" fmla="*/ 851694 w 852592"/>
                    <a:gd name="connsiteY664" fmla="*/ 398495 h 791743"/>
                    <a:gd name="connsiteX665" fmla="*/ 852276 w 852592"/>
                    <a:gd name="connsiteY665" fmla="*/ 400936 h 791743"/>
                    <a:gd name="connsiteX666" fmla="*/ 852592 w 852592"/>
                    <a:gd name="connsiteY666" fmla="*/ 402708 h 791743"/>
                    <a:gd name="connsiteX667" fmla="*/ 849969 w 852592"/>
                    <a:gd name="connsiteY667" fmla="*/ 404846 h 791743"/>
                    <a:gd name="connsiteX668" fmla="*/ 849435 w 852592"/>
                    <a:gd name="connsiteY668" fmla="*/ 405696 h 791743"/>
                    <a:gd name="connsiteX669" fmla="*/ 848658 w 852592"/>
                    <a:gd name="connsiteY669" fmla="*/ 406728 h 791743"/>
                    <a:gd name="connsiteX670" fmla="*/ 845076 w 852592"/>
                    <a:gd name="connsiteY670" fmla="*/ 407128 h 791743"/>
                    <a:gd name="connsiteX671" fmla="*/ 842574 w 852592"/>
                    <a:gd name="connsiteY671" fmla="*/ 409909 h 791743"/>
                    <a:gd name="connsiteX672" fmla="*/ 838907 w 852592"/>
                    <a:gd name="connsiteY672" fmla="*/ 408986 h 791743"/>
                    <a:gd name="connsiteX673" fmla="*/ 837948 w 852592"/>
                    <a:gd name="connsiteY673" fmla="*/ 409241 h 791743"/>
                    <a:gd name="connsiteX674" fmla="*/ 837729 w 852592"/>
                    <a:gd name="connsiteY674" fmla="*/ 409606 h 791743"/>
                    <a:gd name="connsiteX675" fmla="*/ 835252 w 852592"/>
                    <a:gd name="connsiteY675" fmla="*/ 411475 h 791743"/>
                    <a:gd name="connsiteX676" fmla="*/ 834997 w 852592"/>
                    <a:gd name="connsiteY676" fmla="*/ 411743 h 791743"/>
                    <a:gd name="connsiteX677" fmla="*/ 834086 w 852592"/>
                    <a:gd name="connsiteY677" fmla="*/ 414098 h 791743"/>
                    <a:gd name="connsiteX678" fmla="*/ 832520 w 852592"/>
                    <a:gd name="connsiteY678" fmla="*/ 416454 h 791743"/>
                    <a:gd name="connsiteX679" fmla="*/ 830674 w 852592"/>
                    <a:gd name="connsiteY679" fmla="*/ 418020 h 791743"/>
                    <a:gd name="connsiteX680" fmla="*/ 828064 w 852592"/>
                    <a:gd name="connsiteY680" fmla="*/ 419174 h 791743"/>
                    <a:gd name="connsiteX681" fmla="*/ 823073 w 852592"/>
                    <a:gd name="connsiteY681" fmla="*/ 419635 h 791743"/>
                    <a:gd name="connsiteX682" fmla="*/ 820778 w 852592"/>
                    <a:gd name="connsiteY682" fmla="*/ 419648 h 791743"/>
                    <a:gd name="connsiteX683" fmla="*/ 819041 w 852592"/>
                    <a:gd name="connsiteY683" fmla="*/ 419939 h 791743"/>
                    <a:gd name="connsiteX684" fmla="*/ 817876 w 852592"/>
                    <a:gd name="connsiteY684" fmla="*/ 421991 h 791743"/>
                    <a:gd name="connsiteX685" fmla="*/ 816843 w 852592"/>
                    <a:gd name="connsiteY685" fmla="*/ 423024 h 791743"/>
                    <a:gd name="connsiteX686" fmla="*/ 810954 w 852592"/>
                    <a:gd name="connsiteY686" fmla="*/ 426083 h 791743"/>
                    <a:gd name="connsiteX687" fmla="*/ 810626 w 852592"/>
                    <a:gd name="connsiteY687" fmla="*/ 426508 h 791743"/>
                    <a:gd name="connsiteX688" fmla="*/ 810638 w 852592"/>
                    <a:gd name="connsiteY688" fmla="*/ 427007 h 791743"/>
                    <a:gd name="connsiteX689" fmla="*/ 810760 w 852592"/>
                    <a:gd name="connsiteY689" fmla="*/ 427371 h 791743"/>
                    <a:gd name="connsiteX690" fmla="*/ 810565 w 852592"/>
                    <a:gd name="connsiteY690" fmla="*/ 429022 h 791743"/>
                    <a:gd name="connsiteX691" fmla="*/ 810578 w 852592"/>
                    <a:gd name="connsiteY691" fmla="*/ 432301 h 791743"/>
                    <a:gd name="connsiteX692" fmla="*/ 809958 w 852592"/>
                    <a:gd name="connsiteY692" fmla="*/ 433563 h 791743"/>
                    <a:gd name="connsiteX693" fmla="*/ 808914 w 852592"/>
                    <a:gd name="connsiteY693" fmla="*/ 434984 h 791743"/>
                    <a:gd name="connsiteX694" fmla="*/ 807372 w 852592"/>
                    <a:gd name="connsiteY694" fmla="*/ 436199 h 791743"/>
                    <a:gd name="connsiteX695" fmla="*/ 805648 w 852592"/>
                    <a:gd name="connsiteY695" fmla="*/ 439999 h 791743"/>
                    <a:gd name="connsiteX696" fmla="*/ 805113 w 852592"/>
                    <a:gd name="connsiteY696" fmla="*/ 441432 h 791743"/>
                    <a:gd name="connsiteX697" fmla="*/ 803243 w 852592"/>
                    <a:gd name="connsiteY697" fmla="*/ 444298 h 791743"/>
                    <a:gd name="connsiteX698" fmla="*/ 799685 w 852592"/>
                    <a:gd name="connsiteY698" fmla="*/ 447297 h 791743"/>
                    <a:gd name="connsiteX699" fmla="*/ 798896 w 852592"/>
                    <a:gd name="connsiteY699" fmla="*/ 448475 h 791743"/>
                    <a:gd name="connsiteX700" fmla="*/ 798945 w 852592"/>
                    <a:gd name="connsiteY700" fmla="*/ 448815 h 791743"/>
                    <a:gd name="connsiteX701" fmla="*/ 798690 w 852592"/>
                    <a:gd name="connsiteY701" fmla="*/ 449556 h 791743"/>
                    <a:gd name="connsiteX702" fmla="*/ 801410 w 852592"/>
                    <a:gd name="connsiteY702" fmla="*/ 451972 h 791743"/>
                    <a:gd name="connsiteX703" fmla="*/ 801798 w 852592"/>
                    <a:gd name="connsiteY703" fmla="*/ 454134 h 791743"/>
                    <a:gd name="connsiteX704" fmla="*/ 801725 w 852592"/>
                    <a:gd name="connsiteY704" fmla="*/ 454801 h 791743"/>
                    <a:gd name="connsiteX705" fmla="*/ 801313 w 852592"/>
                    <a:gd name="connsiteY705" fmla="*/ 455931 h 791743"/>
                    <a:gd name="connsiteX706" fmla="*/ 800378 w 852592"/>
                    <a:gd name="connsiteY706" fmla="*/ 457364 h 791743"/>
                    <a:gd name="connsiteX707" fmla="*/ 799151 w 852592"/>
                    <a:gd name="connsiteY707" fmla="*/ 458748 h 791743"/>
                    <a:gd name="connsiteX708" fmla="*/ 798641 w 852592"/>
                    <a:gd name="connsiteY708" fmla="*/ 459780 h 791743"/>
                    <a:gd name="connsiteX709" fmla="*/ 797002 w 852592"/>
                    <a:gd name="connsiteY709" fmla="*/ 462026 h 791743"/>
                    <a:gd name="connsiteX710" fmla="*/ 797123 w 852592"/>
                    <a:gd name="connsiteY710" fmla="*/ 462451 h 791743"/>
                    <a:gd name="connsiteX711" fmla="*/ 796929 w 852592"/>
                    <a:gd name="connsiteY711" fmla="*/ 465997 h 791743"/>
                    <a:gd name="connsiteX712" fmla="*/ 797172 w 852592"/>
                    <a:gd name="connsiteY712" fmla="*/ 466957 h 791743"/>
                    <a:gd name="connsiteX713" fmla="*/ 796965 w 852592"/>
                    <a:gd name="connsiteY713" fmla="*/ 469968 h 791743"/>
                    <a:gd name="connsiteX714" fmla="*/ 795945 w 852592"/>
                    <a:gd name="connsiteY714" fmla="*/ 473150 h 791743"/>
                    <a:gd name="connsiteX715" fmla="*/ 796164 w 852592"/>
                    <a:gd name="connsiteY715" fmla="*/ 474230 h 791743"/>
                    <a:gd name="connsiteX716" fmla="*/ 796382 w 852592"/>
                    <a:gd name="connsiteY716" fmla="*/ 474862 h 791743"/>
                    <a:gd name="connsiteX717" fmla="*/ 796540 w 852592"/>
                    <a:gd name="connsiteY717" fmla="*/ 475712 h 791743"/>
                    <a:gd name="connsiteX718" fmla="*/ 796382 w 852592"/>
                    <a:gd name="connsiteY718" fmla="*/ 477242 h 791743"/>
                    <a:gd name="connsiteX719" fmla="*/ 795970 w 852592"/>
                    <a:gd name="connsiteY719" fmla="*/ 478529 h 791743"/>
                    <a:gd name="connsiteX720" fmla="*/ 793432 w 852592"/>
                    <a:gd name="connsiteY720" fmla="*/ 482512 h 791743"/>
                    <a:gd name="connsiteX721" fmla="*/ 791513 w 852592"/>
                    <a:gd name="connsiteY721" fmla="*/ 485062 h 791743"/>
                    <a:gd name="connsiteX722" fmla="*/ 788380 w 852592"/>
                    <a:gd name="connsiteY722" fmla="*/ 488134 h 791743"/>
                    <a:gd name="connsiteX723" fmla="*/ 786741 w 852592"/>
                    <a:gd name="connsiteY723" fmla="*/ 490514 h 791743"/>
                    <a:gd name="connsiteX724" fmla="*/ 786037 w 852592"/>
                    <a:gd name="connsiteY724" fmla="*/ 491898 h 791743"/>
                    <a:gd name="connsiteX725" fmla="*/ 783863 w 852592"/>
                    <a:gd name="connsiteY725" fmla="*/ 494072 h 791743"/>
                    <a:gd name="connsiteX726" fmla="*/ 783256 w 852592"/>
                    <a:gd name="connsiteY726" fmla="*/ 494606 h 791743"/>
                    <a:gd name="connsiteX727" fmla="*/ 781617 w 852592"/>
                    <a:gd name="connsiteY727" fmla="*/ 494934 h 791743"/>
                    <a:gd name="connsiteX728" fmla="*/ 780925 w 852592"/>
                    <a:gd name="connsiteY728" fmla="*/ 496355 h 791743"/>
                    <a:gd name="connsiteX729" fmla="*/ 778642 w 852592"/>
                    <a:gd name="connsiteY729" fmla="*/ 497362 h 791743"/>
                    <a:gd name="connsiteX730" fmla="*/ 776930 w 852592"/>
                    <a:gd name="connsiteY730" fmla="*/ 497423 h 791743"/>
                    <a:gd name="connsiteX731" fmla="*/ 773020 w 852592"/>
                    <a:gd name="connsiteY731" fmla="*/ 498747 h 791743"/>
                    <a:gd name="connsiteX732" fmla="*/ 771040 w 852592"/>
                    <a:gd name="connsiteY732" fmla="*/ 498358 h 791743"/>
                    <a:gd name="connsiteX733" fmla="*/ 769972 w 852592"/>
                    <a:gd name="connsiteY733" fmla="*/ 498225 h 791743"/>
                    <a:gd name="connsiteX734" fmla="*/ 767713 w 852592"/>
                    <a:gd name="connsiteY734" fmla="*/ 497411 h 791743"/>
                    <a:gd name="connsiteX735" fmla="*/ 764689 w 852592"/>
                    <a:gd name="connsiteY735" fmla="*/ 495602 h 791743"/>
                    <a:gd name="connsiteX736" fmla="*/ 762067 w 852592"/>
                    <a:gd name="connsiteY736" fmla="*/ 492967 h 791743"/>
                    <a:gd name="connsiteX737" fmla="*/ 761496 w 852592"/>
                    <a:gd name="connsiteY737" fmla="*/ 493635 h 791743"/>
                    <a:gd name="connsiteX738" fmla="*/ 759759 w 852592"/>
                    <a:gd name="connsiteY738" fmla="*/ 496367 h 791743"/>
                    <a:gd name="connsiteX739" fmla="*/ 759589 w 852592"/>
                    <a:gd name="connsiteY739" fmla="*/ 497132 h 791743"/>
                    <a:gd name="connsiteX740" fmla="*/ 757428 w 852592"/>
                    <a:gd name="connsiteY740" fmla="*/ 500629 h 791743"/>
                    <a:gd name="connsiteX741" fmla="*/ 755825 w 852592"/>
                    <a:gd name="connsiteY741" fmla="*/ 502475 h 791743"/>
                    <a:gd name="connsiteX742" fmla="*/ 751308 w 852592"/>
                    <a:gd name="connsiteY742" fmla="*/ 505729 h 791743"/>
                    <a:gd name="connsiteX743" fmla="*/ 749839 w 852592"/>
                    <a:gd name="connsiteY743" fmla="*/ 505207 h 791743"/>
                    <a:gd name="connsiteX744" fmla="*/ 744629 w 852592"/>
                    <a:gd name="connsiteY744" fmla="*/ 504831 h 791743"/>
                    <a:gd name="connsiteX745" fmla="*/ 742031 w 852592"/>
                    <a:gd name="connsiteY745" fmla="*/ 505049 h 791743"/>
                    <a:gd name="connsiteX746" fmla="*/ 737161 w 852592"/>
                    <a:gd name="connsiteY746" fmla="*/ 504187 h 791743"/>
                    <a:gd name="connsiteX747" fmla="*/ 736955 w 852592"/>
                    <a:gd name="connsiteY747" fmla="*/ 504636 h 791743"/>
                    <a:gd name="connsiteX748" fmla="*/ 735947 w 852592"/>
                    <a:gd name="connsiteY748" fmla="*/ 506227 h 791743"/>
                    <a:gd name="connsiteX749" fmla="*/ 735814 w 852592"/>
                    <a:gd name="connsiteY749" fmla="*/ 507283 h 791743"/>
                    <a:gd name="connsiteX750" fmla="*/ 735886 w 852592"/>
                    <a:gd name="connsiteY750" fmla="*/ 511849 h 791743"/>
                    <a:gd name="connsiteX751" fmla="*/ 736202 w 852592"/>
                    <a:gd name="connsiteY751" fmla="*/ 512432 h 791743"/>
                    <a:gd name="connsiteX752" fmla="*/ 736761 w 852592"/>
                    <a:gd name="connsiteY752" fmla="*/ 512796 h 791743"/>
                    <a:gd name="connsiteX753" fmla="*/ 738922 w 852592"/>
                    <a:gd name="connsiteY753" fmla="*/ 514958 h 791743"/>
                    <a:gd name="connsiteX754" fmla="*/ 734454 w 852592"/>
                    <a:gd name="connsiteY754" fmla="*/ 519414 h 791743"/>
                    <a:gd name="connsiteX755" fmla="*/ 733992 w 852592"/>
                    <a:gd name="connsiteY755" fmla="*/ 520580 h 791743"/>
                    <a:gd name="connsiteX756" fmla="*/ 733191 w 852592"/>
                    <a:gd name="connsiteY756" fmla="*/ 522098 h 791743"/>
                    <a:gd name="connsiteX757" fmla="*/ 728321 w 852592"/>
                    <a:gd name="connsiteY757" fmla="*/ 522353 h 791743"/>
                    <a:gd name="connsiteX758" fmla="*/ 723804 w 852592"/>
                    <a:gd name="connsiteY758" fmla="*/ 523616 h 791743"/>
                    <a:gd name="connsiteX759" fmla="*/ 717696 w 852592"/>
                    <a:gd name="connsiteY759" fmla="*/ 525668 h 791743"/>
                    <a:gd name="connsiteX760" fmla="*/ 712220 w 852592"/>
                    <a:gd name="connsiteY760" fmla="*/ 528084 h 791743"/>
                    <a:gd name="connsiteX761" fmla="*/ 710884 w 852592"/>
                    <a:gd name="connsiteY761" fmla="*/ 527125 h 791743"/>
                    <a:gd name="connsiteX762" fmla="*/ 709791 w 852592"/>
                    <a:gd name="connsiteY762" fmla="*/ 528133 h 791743"/>
                    <a:gd name="connsiteX763" fmla="*/ 707290 w 852592"/>
                    <a:gd name="connsiteY763" fmla="*/ 530865 h 791743"/>
                    <a:gd name="connsiteX764" fmla="*/ 702335 w 852592"/>
                    <a:gd name="connsiteY764" fmla="*/ 531448 h 791743"/>
                    <a:gd name="connsiteX765" fmla="*/ 699992 w 852592"/>
                    <a:gd name="connsiteY765" fmla="*/ 532359 h 791743"/>
                    <a:gd name="connsiteX766" fmla="*/ 698328 w 852592"/>
                    <a:gd name="connsiteY766" fmla="*/ 532456 h 791743"/>
                    <a:gd name="connsiteX767" fmla="*/ 693860 w 852592"/>
                    <a:gd name="connsiteY767" fmla="*/ 531351 h 791743"/>
                    <a:gd name="connsiteX768" fmla="*/ 691686 w 852592"/>
                    <a:gd name="connsiteY768" fmla="*/ 530561 h 791743"/>
                    <a:gd name="connsiteX769" fmla="*/ 689561 w 852592"/>
                    <a:gd name="connsiteY769" fmla="*/ 529274 h 791743"/>
                    <a:gd name="connsiteX770" fmla="*/ 687618 w 852592"/>
                    <a:gd name="connsiteY770" fmla="*/ 527683 h 791743"/>
                    <a:gd name="connsiteX771" fmla="*/ 687120 w 852592"/>
                    <a:gd name="connsiteY771" fmla="*/ 527428 h 791743"/>
                    <a:gd name="connsiteX772" fmla="*/ 686610 w 852592"/>
                    <a:gd name="connsiteY772" fmla="*/ 527380 h 791743"/>
                    <a:gd name="connsiteX773" fmla="*/ 686610 w 852592"/>
                    <a:gd name="connsiteY773" fmla="*/ 528157 h 791743"/>
                    <a:gd name="connsiteX774" fmla="*/ 687497 w 852592"/>
                    <a:gd name="connsiteY774" fmla="*/ 529323 h 791743"/>
                    <a:gd name="connsiteX775" fmla="*/ 687764 w 852592"/>
                    <a:gd name="connsiteY775" fmla="*/ 529966 h 791743"/>
                    <a:gd name="connsiteX776" fmla="*/ 688043 w 852592"/>
                    <a:gd name="connsiteY776" fmla="*/ 531436 h 791743"/>
                    <a:gd name="connsiteX777" fmla="*/ 687946 w 852592"/>
                    <a:gd name="connsiteY777" fmla="*/ 533148 h 791743"/>
                    <a:gd name="connsiteX778" fmla="*/ 687618 w 852592"/>
                    <a:gd name="connsiteY778" fmla="*/ 534520 h 791743"/>
                    <a:gd name="connsiteX779" fmla="*/ 688007 w 852592"/>
                    <a:gd name="connsiteY779" fmla="*/ 536961 h 791743"/>
                    <a:gd name="connsiteX780" fmla="*/ 686282 w 852592"/>
                    <a:gd name="connsiteY780" fmla="*/ 538551 h 791743"/>
                    <a:gd name="connsiteX781" fmla="*/ 684874 w 852592"/>
                    <a:gd name="connsiteY781" fmla="*/ 539414 h 791743"/>
                    <a:gd name="connsiteX782" fmla="*/ 683138 w 852592"/>
                    <a:gd name="connsiteY782" fmla="*/ 539814 h 791743"/>
                    <a:gd name="connsiteX783" fmla="*/ 681644 w 852592"/>
                    <a:gd name="connsiteY783" fmla="*/ 539863 h 791743"/>
                    <a:gd name="connsiteX784" fmla="*/ 680126 w 852592"/>
                    <a:gd name="connsiteY784" fmla="*/ 539814 h 791743"/>
                    <a:gd name="connsiteX785" fmla="*/ 679288 w 852592"/>
                    <a:gd name="connsiteY785" fmla="*/ 539559 h 791743"/>
                    <a:gd name="connsiteX786" fmla="*/ 679155 w 852592"/>
                    <a:gd name="connsiteY786" fmla="*/ 540409 h 791743"/>
                    <a:gd name="connsiteX787" fmla="*/ 678147 w 852592"/>
                    <a:gd name="connsiteY787" fmla="*/ 542631 h 791743"/>
                    <a:gd name="connsiteX788" fmla="*/ 677746 w 852592"/>
                    <a:gd name="connsiteY788" fmla="*/ 543008 h 791743"/>
                    <a:gd name="connsiteX789" fmla="*/ 678827 w 852592"/>
                    <a:gd name="connsiteY789" fmla="*/ 544890 h 791743"/>
                    <a:gd name="connsiteX790" fmla="*/ 678293 w 852592"/>
                    <a:gd name="connsiteY790" fmla="*/ 547913 h 791743"/>
                    <a:gd name="connsiteX791" fmla="*/ 678293 w 852592"/>
                    <a:gd name="connsiteY791" fmla="*/ 548557 h 791743"/>
                    <a:gd name="connsiteX792" fmla="*/ 678074 w 852592"/>
                    <a:gd name="connsiteY792" fmla="*/ 549444 h 791743"/>
                    <a:gd name="connsiteX793" fmla="*/ 677321 w 852592"/>
                    <a:gd name="connsiteY793" fmla="*/ 551144 h 791743"/>
                    <a:gd name="connsiteX794" fmla="*/ 677807 w 852592"/>
                    <a:gd name="connsiteY794" fmla="*/ 554811 h 791743"/>
                    <a:gd name="connsiteX795" fmla="*/ 676253 w 852592"/>
                    <a:gd name="connsiteY795" fmla="*/ 557288 h 791743"/>
                    <a:gd name="connsiteX796" fmla="*/ 675245 w 852592"/>
                    <a:gd name="connsiteY796" fmla="*/ 558296 h 791743"/>
                    <a:gd name="connsiteX797" fmla="*/ 674480 w 852592"/>
                    <a:gd name="connsiteY797" fmla="*/ 559376 h 791743"/>
                    <a:gd name="connsiteX798" fmla="*/ 671213 w 852592"/>
                    <a:gd name="connsiteY798" fmla="*/ 561550 h 791743"/>
                    <a:gd name="connsiteX799" fmla="*/ 668274 w 852592"/>
                    <a:gd name="connsiteY799" fmla="*/ 563262 h 791743"/>
                    <a:gd name="connsiteX800" fmla="*/ 666611 w 852592"/>
                    <a:gd name="connsiteY800" fmla="*/ 559486 h 791743"/>
                    <a:gd name="connsiteX801" fmla="*/ 666514 w 852592"/>
                    <a:gd name="connsiteY801" fmla="*/ 559389 h 791743"/>
                    <a:gd name="connsiteX802" fmla="*/ 663502 w 852592"/>
                    <a:gd name="connsiteY802" fmla="*/ 558672 h 791743"/>
                    <a:gd name="connsiteX803" fmla="*/ 661292 w 852592"/>
                    <a:gd name="connsiteY803" fmla="*/ 558599 h 791743"/>
                    <a:gd name="connsiteX804" fmla="*/ 659240 w 852592"/>
                    <a:gd name="connsiteY804" fmla="*/ 557288 h 791743"/>
                    <a:gd name="connsiteX805" fmla="*/ 656957 w 852592"/>
                    <a:gd name="connsiteY805" fmla="*/ 557239 h 791743"/>
                    <a:gd name="connsiteX806" fmla="*/ 652926 w 852592"/>
                    <a:gd name="connsiteY806" fmla="*/ 556232 h 791743"/>
                    <a:gd name="connsiteX807" fmla="*/ 648494 w 852592"/>
                    <a:gd name="connsiteY807" fmla="*/ 554216 h 791743"/>
                    <a:gd name="connsiteX808" fmla="*/ 647170 w 852592"/>
                    <a:gd name="connsiteY808" fmla="*/ 554337 h 791743"/>
                    <a:gd name="connsiteX809" fmla="*/ 643369 w 852592"/>
                    <a:gd name="connsiteY809" fmla="*/ 553742 h 791743"/>
                    <a:gd name="connsiteX810" fmla="*/ 642871 w 852592"/>
                    <a:gd name="connsiteY810" fmla="*/ 554228 h 791743"/>
                    <a:gd name="connsiteX811" fmla="*/ 641779 w 852592"/>
                    <a:gd name="connsiteY811" fmla="*/ 554786 h 791743"/>
                    <a:gd name="connsiteX812" fmla="*/ 639496 w 852592"/>
                    <a:gd name="connsiteY812" fmla="*/ 555345 h 791743"/>
                    <a:gd name="connsiteX813" fmla="*/ 638791 w 852592"/>
                    <a:gd name="connsiteY813" fmla="*/ 555734 h 791743"/>
                    <a:gd name="connsiteX814" fmla="*/ 636084 w 852592"/>
                    <a:gd name="connsiteY814" fmla="*/ 556377 h 791743"/>
                    <a:gd name="connsiteX815" fmla="*/ 632647 w 852592"/>
                    <a:gd name="connsiteY815" fmla="*/ 556268 h 791743"/>
                    <a:gd name="connsiteX816" fmla="*/ 628591 w 852592"/>
                    <a:gd name="connsiteY816" fmla="*/ 553548 h 791743"/>
                    <a:gd name="connsiteX817" fmla="*/ 630279 w 852592"/>
                    <a:gd name="connsiteY817" fmla="*/ 550464 h 791743"/>
                    <a:gd name="connsiteX818" fmla="*/ 630279 w 852592"/>
                    <a:gd name="connsiteY818" fmla="*/ 548582 h 791743"/>
                    <a:gd name="connsiteX819" fmla="*/ 631311 w 852592"/>
                    <a:gd name="connsiteY819" fmla="*/ 547744 h 791743"/>
                    <a:gd name="connsiteX820" fmla="*/ 626794 w 852592"/>
                    <a:gd name="connsiteY820" fmla="*/ 545728 h 791743"/>
                    <a:gd name="connsiteX821" fmla="*/ 627365 w 852592"/>
                    <a:gd name="connsiteY821" fmla="*/ 544635 h 791743"/>
                    <a:gd name="connsiteX822" fmla="*/ 626394 w 852592"/>
                    <a:gd name="connsiteY822" fmla="*/ 544781 h 791743"/>
                    <a:gd name="connsiteX823" fmla="*/ 624026 w 852592"/>
                    <a:gd name="connsiteY823" fmla="*/ 543567 h 791743"/>
                    <a:gd name="connsiteX824" fmla="*/ 620116 w 852592"/>
                    <a:gd name="connsiteY824" fmla="*/ 540749 h 791743"/>
                    <a:gd name="connsiteX825" fmla="*/ 618695 w 852592"/>
                    <a:gd name="connsiteY825" fmla="*/ 542656 h 791743"/>
                    <a:gd name="connsiteX826" fmla="*/ 616109 w 852592"/>
                    <a:gd name="connsiteY826" fmla="*/ 543688 h 791743"/>
                    <a:gd name="connsiteX827" fmla="*/ 615611 w 852592"/>
                    <a:gd name="connsiteY827" fmla="*/ 543724 h 791743"/>
                    <a:gd name="connsiteX828" fmla="*/ 615174 w 852592"/>
                    <a:gd name="connsiteY828" fmla="*/ 544174 h 791743"/>
                    <a:gd name="connsiteX829" fmla="*/ 612708 w 852592"/>
                    <a:gd name="connsiteY829" fmla="*/ 545716 h 791743"/>
                    <a:gd name="connsiteX830" fmla="*/ 610535 w 852592"/>
                    <a:gd name="connsiteY830" fmla="*/ 546396 h 791743"/>
                    <a:gd name="connsiteX831" fmla="*/ 609406 w 852592"/>
                    <a:gd name="connsiteY831" fmla="*/ 546335 h 791743"/>
                    <a:gd name="connsiteX832" fmla="*/ 608920 w 852592"/>
                    <a:gd name="connsiteY832" fmla="*/ 547391 h 791743"/>
                    <a:gd name="connsiteX833" fmla="*/ 607936 w 852592"/>
                    <a:gd name="connsiteY833" fmla="*/ 548873 h 791743"/>
                    <a:gd name="connsiteX834" fmla="*/ 607730 w 852592"/>
                    <a:gd name="connsiteY834" fmla="*/ 551277 h 791743"/>
                    <a:gd name="connsiteX835" fmla="*/ 607754 w 852592"/>
                    <a:gd name="connsiteY835" fmla="*/ 553074 h 791743"/>
                    <a:gd name="connsiteX836" fmla="*/ 607123 w 852592"/>
                    <a:gd name="connsiteY836" fmla="*/ 555296 h 791743"/>
                    <a:gd name="connsiteX837" fmla="*/ 604403 w 852592"/>
                    <a:gd name="connsiteY837" fmla="*/ 558782 h 791743"/>
                    <a:gd name="connsiteX838" fmla="*/ 602666 w 852592"/>
                    <a:gd name="connsiteY838" fmla="*/ 559559 h 791743"/>
                    <a:gd name="connsiteX839" fmla="*/ 601063 w 852592"/>
                    <a:gd name="connsiteY839" fmla="*/ 559741 h 791743"/>
                    <a:gd name="connsiteX840" fmla="*/ 599546 w 852592"/>
                    <a:gd name="connsiteY840" fmla="*/ 564464 h 791743"/>
                    <a:gd name="connsiteX841" fmla="*/ 594057 w 852592"/>
                    <a:gd name="connsiteY841" fmla="*/ 562582 h 791743"/>
                    <a:gd name="connsiteX842" fmla="*/ 590888 w 852592"/>
                    <a:gd name="connsiteY842" fmla="*/ 561744 h 791743"/>
                    <a:gd name="connsiteX843" fmla="*/ 589977 w 852592"/>
                    <a:gd name="connsiteY843" fmla="*/ 560457 h 791743"/>
                    <a:gd name="connsiteX844" fmla="*/ 589637 w 852592"/>
                    <a:gd name="connsiteY844" fmla="*/ 563165 h 791743"/>
                    <a:gd name="connsiteX845" fmla="*/ 588920 w 852592"/>
                    <a:gd name="connsiteY845" fmla="*/ 565314 h 791743"/>
                    <a:gd name="connsiteX846" fmla="*/ 586625 w 852592"/>
                    <a:gd name="connsiteY846" fmla="*/ 566759 h 791743"/>
                    <a:gd name="connsiteX847" fmla="*/ 586455 w 852592"/>
                    <a:gd name="connsiteY847" fmla="*/ 566820 h 791743"/>
                    <a:gd name="connsiteX848" fmla="*/ 586334 w 852592"/>
                    <a:gd name="connsiteY848" fmla="*/ 567695 h 791743"/>
                    <a:gd name="connsiteX849" fmla="*/ 586127 w 852592"/>
                    <a:gd name="connsiteY849" fmla="*/ 568095 h 791743"/>
                    <a:gd name="connsiteX850" fmla="*/ 589479 w 852592"/>
                    <a:gd name="connsiteY850" fmla="*/ 569273 h 791743"/>
                    <a:gd name="connsiteX851" fmla="*/ 591786 w 852592"/>
                    <a:gd name="connsiteY851" fmla="*/ 569649 h 791743"/>
                    <a:gd name="connsiteX852" fmla="*/ 597809 w 852592"/>
                    <a:gd name="connsiteY852" fmla="*/ 571580 h 791743"/>
                    <a:gd name="connsiteX853" fmla="*/ 600493 w 852592"/>
                    <a:gd name="connsiteY853" fmla="*/ 573171 h 791743"/>
                    <a:gd name="connsiteX854" fmla="*/ 602411 w 852592"/>
                    <a:gd name="connsiteY854" fmla="*/ 574737 h 791743"/>
                    <a:gd name="connsiteX855" fmla="*/ 604099 w 852592"/>
                    <a:gd name="connsiteY855" fmla="*/ 570026 h 791743"/>
                    <a:gd name="connsiteX856" fmla="*/ 610328 w 852592"/>
                    <a:gd name="connsiteY856" fmla="*/ 572017 h 791743"/>
                    <a:gd name="connsiteX857" fmla="*/ 610620 w 852592"/>
                    <a:gd name="connsiteY857" fmla="*/ 572175 h 791743"/>
                    <a:gd name="connsiteX858" fmla="*/ 612794 w 852592"/>
                    <a:gd name="connsiteY858" fmla="*/ 569370 h 791743"/>
                    <a:gd name="connsiteX859" fmla="*/ 621488 w 852592"/>
                    <a:gd name="connsiteY859" fmla="*/ 574944 h 791743"/>
                    <a:gd name="connsiteX860" fmla="*/ 625276 w 852592"/>
                    <a:gd name="connsiteY860" fmla="*/ 575017 h 791743"/>
                    <a:gd name="connsiteX861" fmla="*/ 627098 w 852592"/>
                    <a:gd name="connsiteY861" fmla="*/ 578878 h 791743"/>
                    <a:gd name="connsiteX862" fmla="*/ 627559 w 852592"/>
                    <a:gd name="connsiteY862" fmla="*/ 580833 h 791743"/>
                    <a:gd name="connsiteX863" fmla="*/ 627207 w 852592"/>
                    <a:gd name="connsiteY863" fmla="*/ 582509 h 791743"/>
                    <a:gd name="connsiteX864" fmla="*/ 626151 w 852592"/>
                    <a:gd name="connsiteY864" fmla="*/ 584099 h 791743"/>
                    <a:gd name="connsiteX865" fmla="*/ 626527 w 852592"/>
                    <a:gd name="connsiteY865" fmla="*/ 584658 h 791743"/>
                    <a:gd name="connsiteX866" fmla="*/ 626661 w 852592"/>
                    <a:gd name="connsiteY866" fmla="*/ 585411 h 791743"/>
                    <a:gd name="connsiteX867" fmla="*/ 626976 w 852592"/>
                    <a:gd name="connsiteY867" fmla="*/ 590887 h 791743"/>
                    <a:gd name="connsiteX868" fmla="*/ 622751 w 852592"/>
                    <a:gd name="connsiteY868" fmla="*/ 591264 h 791743"/>
                    <a:gd name="connsiteX869" fmla="*/ 622726 w 852592"/>
                    <a:gd name="connsiteY869" fmla="*/ 592745 h 791743"/>
                    <a:gd name="connsiteX870" fmla="*/ 622544 w 852592"/>
                    <a:gd name="connsiteY870" fmla="*/ 594433 h 791743"/>
                    <a:gd name="connsiteX871" fmla="*/ 622204 w 852592"/>
                    <a:gd name="connsiteY871" fmla="*/ 595975 h 791743"/>
                    <a:gd name="connsiteX872" fmla="*/ 621803 w 852592"/>
                    <a:gd name="connsiteY872" fmla="*/ 596655 h 791743"/>
                    <a:gd name="connsiteX873" fmla="*/ 622241 w 852592"/>
                    <a:gd name="connsiteY873" fmla="*/ 596874 h 791743"/>
                    <a:gd name="connsiteX874" fmla="*/ 622738 w 852592"/>
                    <a:gd name="connsiteY874" fmla="*/ 597372 h 791743"/>
                    <a:gd name="connsiteX875" fmla="*/ 625422 w 852592"/>
                    <a:gd name="connsiteY875" fmla="*/ 598453 h 791743"/>
                    <a:gd name="connsiteX876" fmla="*/ 627389 w 852592"/>
                    <a:gd name="connsiteY876" fmla="*/ 600711 h 791743"/>
                    <a:gd name="connsiteX877" fmla="*/ 628373 w 852592"/>
                    <a:gd name="connsiteY877" fmla="*/ 602083 h 791743"/>
                    <a:gd name="connsiteX878" fmla="*/ 628810 w 852592"/>
                    <a:gd name="connsiteY878" fmla="*/ 602168 h 791743"/>
                    <a:gd name="connsiteX879" fmla="*/ 633327 w 852592"/>
                    <a:gd name="connsiteY879" fmla="*/ 605386 h 791743"/>
                    <a:gd name="connsiteX880" fmla="*/ 626976 w 852592"/>
                    <a:gd name="connsiteY880" fmla="*/ 607960 h 791743"/>
                    <a:gd name="connsiteX881" fmla="*/ 622508 w 852592"/>
                    <a:gd name="connsiteY881" fmla="*/ 610316 h 791743"/>
                    <a:gd name="connsiteX882" fmla="*/ 620383 w 852592"/>
                    <a:gd name="connsiteY882" fmla="*/ 612963 h 791743"/>
                    <a:gd name="connsiteX883" fmla="*/ 615368 w 852592"/>
                    <a:gd name="connsiteY883" fmla="*/ 611421 h 791743"/>
                    <a:gd name="connsiteX884" fmla="*/ 612745 w 852592"/>
                    <a:gd name="connsiteY884" fmla="*/ 611081 h 791743"/>
                    <a:gd name="connsiteX885" fmla="*/ 611276 w 852592"/>
                    <a:gd name="connsiteY885" fmla="*/ 611336 h 791743"/>
                    <a:gd name="connsiteX886" fmla="*/ 609126 w 852592"/>
                    <a:gd name="connsiteY886" fmla="*/ 611081 h 791743"/>
                    <a:gd name="connsiteX887" fmla="*/ 603917 w 852592"/>
                    <a:gd name="connsiteY887" fmla="*/ 609612 h 791743"/>
                    <a:gd name="connsiteX888" fmla="*/ 602448 w 852592"/>
                    <a:gd name="connsiteY888" fmla="*/ 607948 h 791743"/>
                    <a:gd name="connsiteX889" fmla="*/ 600978 w 852592"/>
                    <a:gd name="connsiteY889" fmla="*/ 607353 h 791743"/>
                    <a:gd name="connsiteX890" fmla="*/ 599096 w 852592"/>
                    <a:gd name="connsiteY890" fmla="*/ 607232 h 791743"/>
                    <a:gd name="connsiteX891" fmla="*/ 596643 w 852592"/>
                    <a:gd name="connsiteY891" fmla="*/ 606941 h 791743"/>
                    <a:gd name="connsiteX892" fmla="*/ 596182 w 852592"/>
                    <a:gd name="connsiteY892" fmla="*/ 601452 h 791743"/>
                    <a:gd name="connsiteX893" fmla="*/ 595866 w 852592"/>
                    <a:gd name="connsiteY893" fmla="*/ 601282 h 791743"/>
                    <a:gd name="connsiteX894" fmla="*/ 591592 w 852592"/>
                    <a:gd name="connsiteY894" fmla="*/ 599728 h 791743"/>
                    <a:gd name="connsiteX895" fmla="*/ 591628 w 852592"/>
                    <a:gd name="connsiteY895" fmla="*/ 599400 h 791743"/>
                    <a:gd name="connsiteX896" fmla="*/ 590548 w 852592"/>
                    <a:gd name="connsiteY896" fmla="*/ 599145 h 791743"/>
                    <a:gd name="connsiteX897" fmla="*/ 590511 w 852592"/>
                    <a:gd name="connsiteY897" fmla="*/ 598938 h 791743"/>
                    <a:gd name="connsiteX898" fmla="*/ 589710 w 852592"/>
                    <a:gd name="connsiteY898" fmla="*/ 599994 h 791743"/>
                    <a:gd name="connsiteX899" fmla="*/ 587706 w 852592"/>
                    <a:gd name="connsiteY899" fmla="*/ 600772 h 791743"/>
                    <a:gd name="connsiteX900" fmla="*/ 587548 w 852592"/>
                    <a:gd name="connsiteY900" fmla="*/ 601573 h 791743"/>
                    <a:gd name="connsiteX901" fmla="*/ 585763 w 852592"/>
                    <a:gd name="connsiteY901" fmla="*/ 603042 h 791743"/>
                    <a:gd name="connsiteX902" fmla="*/ 584148 w 852592"/>
                    <a:gd name="connsiteY902" fmla="*/ 603261 h 791743"/>
                    <a:gd name="connsiteX903" fmla="*/ 582169 w 852592"/>
                    <a:gd name="connsiteY903" fmla="*/ 603091 h 791743"/>
                    <a:gd name="connsiteX904" fmla="*/ 580967 w 852592"/>
                    <a:gd name="connsiteY904" fmla="*/ 601173 h 791743"/>
                    <a:gd name="connsiteX905" fmla="*/ 579923 w 852592"/>
                    <a:gd name="connsiteY905" fmla="*/ 598137 h 791743"/>
                    <a:gd name="connsiteX906" fmla="*/ 579206 w 852592"/>
                    <a:gd name="connsiteY906" fmla="*/ 594882 h 791743"/>
                    <a:gd name="connsiteX907" fmla="*/ 576267 w 852592"/>
                    <a:gd name="connsiteY907" fmla="*/ 594554 h 791743"/>
                    <a:gd name="connsiteX908" fmla="*/ 573147 w 852592"/>
                    <a:gd name="connsiteY908" fmla="*/ 594032 h 791743"/>
                    <a:gd name="connsiteX909" fmla="*/ 573632 w 852592"/>
                    <a:gd name="connsiteY909" fmla="*/ 591737 h 791743"/>
                    <a:gd name="connsiteX910" fmla="*/ 571058 w 852592"/>
                    <a:gd name="connsiteY910" fmla="*/ 591737 h 791743"/>
                    <a:gd name="connsiteX911" fmla="*/ 570815 w 852592"/>
                    <a:gd name="connsiteY911" fmla="*/ 588969 h 791743"/>
                    <a:gd name="connsiteX912" fmla="*/ 570402 w 852592"/>
                    <a:gd name="connsiteY912" fmla="*/ 587329 h 791743"/>
                    <a:gd name="connsiteX913" fmla="*/ 570172 w 852592"/>
                    <a:gd name="connsiteY913" fmla="*/ 586747 h 791743"/>
                    <a:gd name="connsiteX914" fmla="*/ 570245 w 852592"/>
                    <a:gd name="connsiteY914" fmla="*/ 584075 h 791743"/>
                    <a:gd name="connsiteX915" fmla="*/ 569686 w 852592"/>
                    <a:gd name="connsiteY915" fmla="*/ 580991 h 791743"/>
                    <a:gd name="connsiteX916" fmla="*/ 569164 w 852592"/>
                    <a:gd name="connsiteY916" fmla="*/ 580153 h 791743"/>
                    <a:gd name="connsiteX917" fmla="*/ 568071 w 852592"/>
                    <a:gd name="connsiteY917" fmla="*/ 576267 h 791743"/>
                    <a:gd name="connsiteX918" fmla="*/ 567525 w 852592"/>
                    <a:gd name="connsiteY918" fmla="*/ 572892 h 791743"/>
                    <a:gd name="connsiteX919" fmla="*/ 565570 w 852592"/>
                    <a:gd name="connsiteY919" fmla="*/ 569880 h 791743"/>
                    <a:gd name="connsiteX920" fmla="*/ 562048 w 852592"/>
                    <a:gd name="connsiteY920" fmla="*/ 565375 h 791743"/>
                    <a:gd name="connsiteX921" fmla="*/ 561781 w 852592"/>
                    <a:gd name="connsiteY921" fmla="*/ 565460 h 791743"/>
                    <a:gd name="connsiteX922" fmla="*/ 560142 w 852592"/>
                    <a:gd name="connsiteY922" fmla="*/ 566359 h 791743"/>
                    <a:gd name="connsiteX923" fmla="*/ 557397 w 852592"/>
                    <a:gd name="connsiteY923" fmla="*/ 566650 h 791743"/>
                    <a:gd name="connsiteX924" fmla="*/ 555382 w 852592"/>
                    <a:gd name="connsiteY924" fmla="*/ 565096 h 791743"/>
                    <a:gd name="connsiteX925" fmla="*/ 554070 w 852592"/>
                    <a:gd name="connsiteY925" fmla="*/ 563712 h 791743"/>
                    <a:gd name="connsiteX926" fmla="*/ 551399 w 852592"/>
                    <a:gd name="connsiteY926" fmla="*/ 565047 h 791743"/>
                    <a:gd name="connsiteX927" fmla="*/ 547574 w 852592"/>
                    <a:gd name="connsiteY927" fmla="*/ 561781 h 791743"/>
                    <a:gd name="connsiteX928" fmla="*/ 547610 w 852592"/>
                    <a:gd name="connsiteY928" fmla="*/ 561283 h 791743"/>
                    <a:gd name="connsiteX929" fmla="*/ 543615 w 852592"/>
                    <a:gd name="connsiteY929" fmla="*/ 565181 h 791743"/>
                    <a:gd name="connsiteX930" fmla="*/ 543275 w 852592"/>
                    <a:gd name="connsiteY930" fmla="*/ 566601 h 791743"/>
                    <a:gd name="connsiteX931" fmla="*/ 540701 w 852592"/>
                    <a:gd name="connsiteY931" fmla="*/ 569746 h 791743"/>
                    <a:gd name="connsiteX932" fmla="*/ 537944 w 852592"/>
                    <a:gd name="connsiteY932" fmla="*/ 569746 h 791743"/>
                    <a:gd name="connsiteX933" fmla="*/ 537107 w 852592"/>
                    <a:gd name="connsiteY933" fmla="*/ 569589 h 791743"/>
                    <a:gd name="connsiteX934" fmla="*/ 535795 w 852592"/>
                    <a:gd name="connsiteY934" fmla="*/ 570245 h 791743"/>
                    <a:gd name="connsiteX935" fmla="*/ 534532 w 852592"/>
                    <a:gd name="connsiteY935" fmla="*/ 570463 h 791743"/>
                    <a:gd name="connsiteX936" fmla="*/ 532942 w 852592"/>
                    <a:gd name="connsiteY936" fmla="*/ 570269 h 791743"/>
                    <a:gd name="connsiteX937" fmla="*/ 533027 w 852592"/>
                    <a:gd name="connsiteY937" fmla="*/ 570900 h 791743"/>
                    <a:gd name="connsiteX938" fmla="*/ 533099 w 852592"/>
                    <a:gd name="connsiteY938" fmla="*/ 574179 h 791743"/>
                    <a:gd name="connsiteX939" fmla="*/ 525085 w 852592"/>
                    <a:gd name="connsiteY939" fmla="*/ 573742 h 791743"/>
                    <a:gd name="connsiteX940" fmla="*/ 523907 w 852592"/>
                    <a:gd name="connsiteY940" fmla="*/ 577627 h 791743"/>
                    <a:gd name="connsiteX941" fmla="*/ 521843 w 852592"/>
                    <a:gd name="connsiteY941" fmla="*/ 579910 h 791743"/>
                    <a:gd name="connsiteX942" fmla="*/ 519742 w 852592"/>
                    <a:gd name="connsiteY942" fmla="*/ 581792 h 791743"/>
                    <a:gd name="connsiteX943" fmla="*/ 518491 w 852592"/>
                    <a:gd name="connsiteY943" fmla="*/ 583565 h 791743"/>
                    <a:gd name="connsiteX944" fmla="*/ 517605 w 852592"/>
                    <a:gd name="connsiteY944" fmla="*/ 585933 h 791743"/>
                    <a:gd name="connsiteX945" fmla="*/ 516257 w 852592"/>
                    <a:gd name="connsiteY945" fmla="*/ 588507 h 791743"/>
                    <a:gd name="connsiteX946" fmla="*/ 517556 w 852592"/>
                    <a:gd name="connsiteY946" fmla="*/ 589114 h 791743"/>
                    <a:gd name="connsiteX947" fmla="*/ 522681 w 852592"/>
                    <a:gd name="connsiteY947" fmla="*/ 589272 h 791743"/>
                    <a:gd name="connsiteX948" fmla="*/ 523458 w 852592"/>
                    <a:gd name="connsiteY948" fmla="*/ 591774 h 791743"/>
                    <a:gd name="connsiteX949" fmla="*/ 523737 w 852592"/>
                    <a:gd name="connsiteY949" fmla="*/ 593122 h 791743"/>
                    <a:gd name="connsiteX950" fmla="*/ 523737 w 852592"/>
                    <a:gd name="connsiteY950" fmla="*/ 594554 h 791743"/>
                    <a:gd name="connsiteX951" fmla="*/ 523980 w 852592"/>
                    <a:gd name="connsiteY951" fmla="*/ 594846 h 791743"/>
                    <a:gd name="connsiteX952" fmla="*/ 531181 w 852592"/>
                    <a:gd name="connsiteY952" fmla="*/ 598137 h 791743"/>
                    <a:gd name="connsiteX953" fmla="*/ 529189 w 852592"/>
                    <a:gd name="connsiteY953" fmla="*/ 602994 h 791743"/>
                    <a:gd name="connsiteX954" fmla="*/ 527914 w 852592"/>
                    <a:gd name="connsiteY954" fmla="*/ 606783 h 791743"/>
                    <a:gd name="connsiteX955" fmla="*/ 526518 w 852592"/>
                    <a:gd name="connsiteY955" fmla="*/ 609320 h 791743"/>
                    <a:gd name="connsiteX956" fmla="*/ 526178 w 852592"/>
                    <a:gd name="connsiteY956" fmla="*/ 613255 h 791743"/>
                    <a:gd name="connsiteX957" fmla="*/ 526056 w 852592"/>
                    <a:gd name="connsiteY957" fmla="*/ 614056 h 791743"/>
                    <a:gd name="connsiteX958" fmla="*/ 524733 w 852592"/>
                    <a:gd name="connsiteY958" fmla="*/ 615756 h 791743"/>
                    <a:gd name="connsiteX959" fmla="*/ 522207 w 852592"/>
                    <a:gd name="connsiteY959" fmla="*/ 617808 h 791743"/>
                    <a:gd name="connsiteX960" fmla="*/ 521054 w 852592"/>
                    <a:gd name="connsiteY960" fmla="*/ 619654 h 791743"/>
                    <a:gd name="connsiteX961" fmla="*/ 519572 w 852592"/>
                    <a:gd name="connsiteY961" fmla="*/ 621257 h 791743"/>
                    <a:gd name="connsiteX962" fmla="*/ 516294 w 852592"/>
                    <a:gd name="connsiteY962" fmla="*/ 623455 h 791743"/>
                    <a:gd name="connsiteX963" fmla="*/ 515237 w 852592"/>
                    <a:gd name="connsiteY963" fmla="*/ 624669 h 791743"/>
                    <a:gd name="connsiteX964" fmla="*/ 511849 w 852592"/>
                    <a:gd name="connsiteY964" fmla="*/ 630692 h 791743"/>
                    <a:gd name="connsiteX965" fmla="*/ 508753 w 852592"/>
                    <a:gd name="connsiteY965" fmla="*/ 634529 h 791743"/>
                    <a:gd name="connsiteX966" fmla="*/ 504515 w 852592"/>
                    <a:gd name="connsiteY966" fmla="*/ 637359 h 791743"/>
                    <a:gd name="connsiteX967" fmla="*/ 500289 w 852592"/>
                    <a:gd name="connsiteY967" fmla="*/ 637820 h 791743"/>
                    <a:gd name="connsiteX968" fmla="*/ 497338 w 852592"/>
                    <a:gd name="connsiteY968" fmla="*/ 637225 h 791743"/>
                    <a:gd name="connsiteX969" fmla="*/ 494230 w 852592"/>
                    <a:gd name="connsiteY969" fmla="*/ 635974 h 791743"/>
                    <a:gd name="connsiteX970" fmla="*/ 491668 w 852592"/>
                    <a:gd name="connsiteY970" fmla="*/ 633218 h 791743"/>
                    <a:gd name="connsiteX971" fmla="*/ 489130 w 852592"/>
                    <a:gd name="connsiteY971" fmla="*/ 627061 h 791743"/>
                    <a:gd name="connsiteX972" fmla="*/ 487964 w 852592"/>
                    <a:gd name="connsiteY972" fmla="*/ 625155 h 791743"/>
                    <a:gd name="connsiteX973" fmla="*/ 487648 w 852592"/>
                    <a:gd name="connsiteY973" fmla="*/ 624936 h 791743"/>
                    <a:gd name="connsiteX974" fmla="*/ 485523 w 852592"/>
                    <a:gd name="connsiteY974" fmla="*/ 625155 h 791743"/>
                    <a:gd name="connsiteX975" fmla="*/ 482548 w 852592"/>
                    <a:gd name="connsiteY975" fmla="*/ 626005 h 791743"/>
                    <a:gd name="connsiteX976" fmla="*/ 477400 w 852592"/>
                    <a:gd name="connsiteY976" fmla="*/ 626430 h 791743"/>
                    <a:gd name="connsiteX977" fmla="*/ 471753 w 852592"/>
                    <a:gd name="connsiteY977" fmla="*/ 619035 h 791743"/>
                    <a:gd name="connsiteX978" fmla="*/ 470648 w 852592"/>
                    <a:gd name="connsiteY978" fmla="*/ 619265 h 791743"/>
                    <a:gd name="connsiteX979" fmla="*/ 469810 w 852592"/>
                    <a:gd name="connsiteY979" fmla="*/ 619836 h 791743"/>
                    <a:gd name="connsiteX980" fmla="*/ 466568 w 852592"/>
                    <a:gd name="connsiteY980" fmla="*/ 624208 h 791743"/>
                    <a:gd name="connsiteX981" fmla="*/ 463800 w 852592"/>
                    <a:gd name="connsiteY981" fmla="*/ 625568 h 791743"/>
                    <a:gd name="connsiteX982" fmla="*/ 455239 w 852592"/>
                    <a:gd name="connsiteY982" fmla="*/ 626320 h 791743"/>
                    <a:gd name="connsiteX983" fmla="*/ 453600 w 852592"/>
                    <a:gd name="connsiteY983" fmla="*/ 627268 h 791743"/>
                    <a:gd name="connsiteX984" fmla="*/ 451827 w 852592"/>
                    <a:gd name="connsiteY984" fmla="*/ 628810 h 791743"/>
                    <a:gd name="connsiteX985" fmla="*/ 451147 w 852592"/>
                    <a:gd name="connsiteY985" fmla="*/ 630316 h 791743"/>
                    <a:gd name="connsiteX986" fmla="*/ 450345 w 852592"/>
                    <a:gd name="connsiteY986" fmla="*/ 631639 h 791743"/>
                    <a:gd name="connsiteX987" fmla="*/ 446035 w 852592"/>
                    <a:gd name="connsiteY987" fmla="*/ 631991 h 791743"/>
                    <a:gd name="connsiteX988" fmla="*/ 442052 w 852592"/>
                    <a:gd name="connsiteY988" fmla="*/ 631214 h 791743"/>
                    <a:gd name="connsiteX989" fmla="*/ 440886 w 852592"/>
                    <a:gd name="connsiteY989" fmla="*/ 631372 h 791743"/>
                    <a:gd name="connsiteX990" fmla="*/ 438858 w 852592"/>
                    <a:gd name="connsiteY990" fmla="*/ 633109 h 791743"/>
                    <a:gd name="connsiteX991" fmla="*/ 436478 w 852592"/>
                    <a:gd name="connsiteY991" fmla="*/ 634796 h 791743"/>
                    <a:gd name="connsiteX992" fmla="*/ 434171 w 852592"/>
                    <a:gd name="connsiteY992" fmla="*/ 636047 h 791743"/>
                    <a:gd name="connsiteX993" fmla="*/ 432022 w 852592"/>
                    <a:gd name="connsiteY993" fmla="*/ 636861 h 791743"/>
                    <a:gd name="connsiteX994" fmla="*/ 428269 w 852592"/>
                    <a:gd name="connsiteY994" fmla="*/ 637614 h 791743"/>
                    <a:gd name="connsiteX995" fmla="*/ 422890 w 852592"/>
                    <a:gd name="connsiteY995" fmla="*/ 637213 h 791743"/>
                    <a:gd name="connsiteX996" fmla="*/ 421056 w 852592"/>
                    <a:gd name="connsiteY996" fmla="*/ 637759 h 791743"/>
                    <a:gd name="connsiteX997" fmla="*/ 416576 w 852592"/>
                    <a:gd name="connsiteY997" fmla="*/ 639836 h 791743"/>
                    <a:gd name="connsiteX998" fmla="*/ 413989 w 852592"/>
                    <a:gd name="connsiteY998" fmla="*/ 641171 h 791743"/>
                    <a:gd name="connsiteX999" fmla="*/ 413042 w 852592"/>
                    <a:gd name="connsiteY999" fmla="*/ 643126 h 791743"/>
                    <a:gd name="connsiteX1000" fmla="*/ 410711 w 852592"/>
                    <a:gd name="connsiteY1000" fmla="*/ 645579 h 791743"/>
                    <a:gd name="connsiteX1001" fmla="*/ 408319 w 852592"/>
                    <a:gd name="connsiteY1001" fmla="*/ 646782 h 791743"/>
                    <a:gd name="connsiteX1002" fmla="*/ 403048 w 852592"/>
                    <a:gd name="connsiteY1002" fmla="*/ 647437 h 791743"/>
                    <a:gd name="connsiteX1003" fmla="*/ 392132 w 852592"/>
                    <a:gd name="connsiteY1003" fmla="*/ 647619 h 791743"/>
                    <a:gd name="connsiteX1004" fmla="*/ 390056 w 852592"/>
                    <a:gd name="connsiteY1004" fmla="*/ 647777 h 791743"/>
                    <a:gd name="connsiteX1005" fmla="*/ 387931 w 852592"/>
                    <a:gd name="connsiteY1005" fmla="*/ 648263 h 791743"/>
                    <a:gd name="connsiteX1006" fmla="*/ 383644 w 852592"/>
                    <a:gd name="connsiteY1006" fmla="*/ 649768 h 791743"/>
                    <a:gd name="connsiteX1007" fmla="*/ 380778 w 852592"/>
                    <a:gd name="connsiteY1007" fmla="*/ 650291 h 791743"/>
                    <a:gd name="connsiteX1008" fmla="*/ 379576 w 852592"/>
                    <a:gd name="connsiteY1008" fmla="*/ 650594 h 791743"/>
                    <a:gd name="connsiteX1009" fmla="*/ 378860 w 852592"/>
                    <a:gd name="connsiteY1009" fmla="*/ 652646 h 791743"/>
                    <a:gd name="connsiteX1010" fmla="*/ 373140 w 852592"/>
                    <a:gd name="connsiteY1010" fmla="*/ 657929 h 791743"/>
                    <a:gd name="connsiteX1011" fmla="*/ 372448 w 852592"/>
                    <a:gd name="connsiteY1011" fmla="*/ 659507 h 791743"/>
                    <a:gd name="connsiteX1012" fmla="*/ 372460 w 852592"/>
                    <a:gd name="connsiteY1012" fmla="*/ 660454 h 791743"/>
                    <a:gd name="connsiteX1013" fmla="*/ 373274 w 852592"/>
                    <a:gd name="connsiteY1013" fmla="*/ 661742 h 791743"/>
                    <a:gd name="connsiteX1014" fmla="*/ 374331 w 852592"/>
                    <a:gd name="connsiteY1014" fmla="*/ 664401 h 791743"/>
                    <a:gd name="connsiteX1015" fmla="*/ 374719 w 852592"/>
                    <a:gd name="connsiteY1015" fmla="*/ 667510 h 791743"/>
                    <a:gd name="connsiteX1016" fmla="*/ 374901 w 852592"/>
                    <a:gd name="connsiteY1016" fmla="*/ 669428 h 791743"/>
                    <a:gd name="connsiteX1017" fmla="*/ 372157 w 852592"/>
                    <a:gd name="connsiteY1017" fmla="*/ 671031 h 791743"/>
                    <a:gd name="connsiteX1018" fmla="*/ 371246 w 852592"/>
                    <a:gd name="connsiteY1018" fmla="*/ 672950 h 791743"/>
                    <a:gd name="connsiteX1019" fmla="*/ 370700 w 852592"/>
                    <a:gd name="connsiteY1019" fmla="*/ 676495 h 791743"/>
                    <a:gd name="connsiteX1020" fmla="*/ 370287 w 852592"/>
                    <a:gd name="connsiteY1020" fmla="*/ 680514 h 791743"/>
                    <a:gd name="connsiteX1021" fmla="*/ 370408 w 852592"/>
                    <a:gd name="connsiteY1021" fmla="*/ 683830 h 791743"/>
                    <a:gd name="connsiteX1022" fmla="*/ 370238 w 852592"/>
                    <a:gd name="connsiteY1022" fmla="*/ 685141 h 791743"/>
                    <a:gd name="connsiteX1023" fmla="*/ 371926 w 852592"/>
                    <a:gd name="connsiteY1023" fmla="*/ 686950 h 791743"/>
                    <a:gd name="connsiteX1024" fmla="*/ 373019 w 852592"/>
                    <a:gd name="connsiteY1024" fmla="*/ 690144 h 791743"/>
                    <a:gd name="connsiteX1025" fmla="*/ 373505 w 852592"/>
                    <a:gd name="connsiteY1025" fmla="*/ 697952 h 791743"/>
                    <a:gd name="connsiteX1026" fmla="*/ 372557 w 852592"/>
                    <a:gd name="connsiteY1026" fmla="*/ 708686 h 791743"/>
                    <a:gd name="connsiteX1027" fmla="*/ 370979 w 852592"/>
                    <a:gd name="connsiteY1027" fmla="*/ 711321 h 791743"/>
                    <a:gd name="connsiteX1028" fmla="*/ 368283 w 852592"/>
                    <a:gd name="connsiteY1028" fmla="*/ 713786 h 791743"/>
                    <a:gd name="connsiteX1029" fmla="*/ 364835 w 852592"/>
                    <a:gd name="connsiteY1029" fmla="*/ 715693 h 791743"/>
                    <a:gd name="connsiteX1030" fmla="*/ 360718 w 852592"/>
                    <a:gd name="connsiteY1030" fmla="*/ 717223 h 791743"/>
                    <a:gd name="connsiteX1031" fmla="*/ 357257 w 852592"/>
                    <a:gd name="connsiteY1031" fmla="*/ 716409 h 791743"/>
                    <a:gd name="connsiteX1032" fmla="*/ 354707 w 852592"/>
                    <a:gd name="connsiteY1032" fmla="*/ 715462 h 791743"/>
                    <a:gd name="connsiteX1033" fmla="*/ 352716 w 852592"/>
                    <a:gd name="connsiteY1033" fmla="*/ 714442 h 791743"/>
                    <a:gd name="connsiteX1034" fmla="*/ 351198 w 852592"/>
                    <a:gd name="connsiteY1034" fmla="*/ 713240 h 791743"/>
                    <a:gd name="connsiteX1035" fmla="*/ 350057 w 852592"/>
                    <a:gd name="connsiteY1035" fmla="*/ 713070 h 791743"/>
                    <a:gd name="connsiteX1036" fmla="*/ 340379 w 852592"/>
                    <a:gd name="connsiteY1036" fmla="*/ 713057 h 791743"/>
                    <a:gd name="connsiteX1037" fmla="*/ 336809 w 852592"/>
                    <a:gd name="connsiteY1037" fmla="*/ 712110 h 791743"/>
                    <a:gd name="connsiteX1038" fmla="*/ 334841 w 852592"/>
                    <a:gd name="connsiteY1038" fmla="*/ 711661 h 791743"/>
                    <a:gd name="connsiteX1039" fmla="*/ 333129 w 852592"/>
                    <a:gd name="connsiteY1039" fmla="*/ 711552 h 791743"/>
                    <a:gd name="connsiteX1040" fmla="*/ 331818 w 852592"/>
                    <a:gd name="connsiteY1040" fmla="*/ 711855 h 791743"/>
                    <a:gd name="connsiteX1041" fmla="*/ 330531 w 852592"/>
                    <a:gd name="connsiteY1041" fmla="*/ 712414 h 791743"/>
                    <a:gd name="connsiteX1042" fmla="*/ 327896 w 852592"/>
                    <a:gd name="connsiteY1042" fmla="*/ 714381 h 791743"/>
                    <a:gd name="connsiteX1043" fmla="*/ 324617 w 852592"/>
                    <a:gd name="connsiteY1043" fmla="*/ 715717 h 791743"/>
                    <a:gd name="connsiteX1044" fmla="*/ 320889 w 852592"/>
                    <a:gd name="connsiteY1044" fmla="*/ 716943 h 791743"/>
                    <a:gd name="connsiteX1045" fmla="*/ 317732 w 852592"/>
                    <a:gd name="connsiteY1045" fmla="*/ 718242 h 791743"/>
                    <a:gd name="connsiteX1046" fmla="*/ 315061 w 852592"/>
                    <a:gd name="connsiteY1046" fmla="*/ 719578 h 791743"/>
                    <a:gd name="connsiteX1047" fmla="*/ 313033 w 852592"/>
                    <a:gd name="connsiteY1047" fmla="*/ 720902 h 791743"/>
                    <a:gd name="connsiteX1048" fmla="*/ 312875 w 852592"/>
                    <a:gd name="connsiteY1048" fmla="*/ 721497 h 791743"/>
                    <a:gd name="connsiteX1049" fmla="*/ 312948 w 852592"/>
                    <a:gd name="connsiteY1049" fmla="*/ 723246 h 791743"/>
                    <a:gd name="connsiteX1050" fmla="*/ 315546 w 852592"/>
                    <a:gd name="connsiteY1050" fmla="*/ 728697 h 791743"/>
                    <a:gd name="connsiteX1051" fmla="*/ 316008 w 852592"/>
                    <a:gd name="connsiteY1051" fmla="*/ 732037 h 791743"/>
                    <a:gd name="connsiteX1052" fmla="*/ 316069 w 852592"/>
                    <a:gd name="connsiteY1052" fmla="*/ 732887 h 791743"/>
                    <a:gd name="connsiteX1053" fmla="*/ 314684 w 852592"/>
                    <a:gd name="connsiteY1053" fmla="*/ 735595 h 791743"/>
                    <a:gd name="connsiteX1054" fmla="*/ 313652 w 852592"/>
                    <a:gd name="connsiteY1054" fmla="*/ 736760 h 791743"/>
                    <a:gd name="connsiteX1055" fmla="*/ 312790 w 852592"/>
                    <a:gd name="connsiteY1055" fmla="*/ 737829 h 791743"/>
                    <a:gd name="connsiteX1056" fmla="*/ 310094 w 852592"/>
                    <a:gd name="connsiteY1056" fmla="*/ 740015 h 791743"/>
                    <a:gd name="connsiteX1057" fmla="*/ 305784 w 852592"/>
                    <a:gd name="connsiteY1057" fmla="*/ 739723 h 791743"/>
                    <a:gd name="connsiteX1058" fmla="*/ 301169 w 852592"/>
                    <a:gd name="connsiteY1058" fmla="*/ 736372 h 791743"/>
                    <a:gd name="connsiteX1059" fmla="*/ 300283 w 852592"/>
                    <a:gd name="connsiteY1059" fmla="*/ 733142 h 791743"/>
                    <a:gd name="connsiteX1060" fmla="*/ 299919 w 852592"/>
                    <a:gd name="connsiteY1060" fmla="*/ 729997 h 791743"/>
                    <a:gd name="connsiteX1061" fmla="*/ 299627 w 852592"/>
                    <a:gd name="connsiteY1061" fmla="*/ 728637 h 791743"/>
                    <a:gd name="connsiteX1062" fmla="*/ 299445 w 852592"/>
                    <a:gd name="connsiteY1062" fmla="*/ 728139 h 791743"/>
                    <a:gd name="connsiteX1063" fmla="*/ 299068 w 852592"/>
                    <a:gd name="connsiteY1063" fmla="*/ 728200 h 791743"/>
                    <a:gd name="connsiteX1064" fmla="*/ 298971 w 852592"/>
                    <a:gd name="connsiteY1064" fmla="*/ 728819 h 791743"/>
                    <a:gd name="connsiteX1065" fmla="*/ 299117 w 852592"/>
                    <a:gd name="connsiteY1065" fmla="*/ 729936 h 791743"/>
                    <a:gd name="connsiteX1066" fmla="*/ 299615 w 852592"/>
                    <a:gd name="connsiteY1066" fmla="*/ 731952 h 791743"/>
                    <a:gd name="connsiteX1067" fmla="*/ 300173 w 852592"/>
                    <a:gd name="connsiteY1067" fmla="*/ 733251 h 791743"/>
                    <a:gd name="connsiteX1068" fmla="*/ 300914 w 852592"/>
                    <a:gd name="connsiteY1068" fmla="*/ 735692 h 791743"/>
                    <a:gd name="connsiteX1069" fmla="*/ 300599 w 852592"/>
                    <a:gd name="connsiteY1069" fmla="*/ 737987 h 791743"/>
                    <a:gd name="connsiteX1070" fmla="*/ 299846 w 852592"/>
                    <a:gd name="connsiteY1070" fmla="*/ 740063 h 791743"/>
                    <a:gd name="connsiteX1071" fmla="*/ 296968 w 852592"/>
                    <a:gd name="connsiteY1071" fmla="*/ 745164 h 791743"/>
                    <a:gd name="connsiteX1072" fmla="*/ 295256 w 852592"/>
                    <a:gd name="connsiteY1072" fmla="*/ 747446 h 791743"/>
                    <a:gd name="connsiteX1073" fmla="*/ 294041 w 852592"/>
                    <a:gd name="connsiteY1073" fmla="*/ 748794 h 791743"/>
                    <a:gd name="connsiteX1074" fmla="*/ 290277 w 852592"/>
                    <a:gd name="connsiteY1074" fmla="*/ 751757 h 791743"/>
                    <a:gd name="connsiteX1075" fmla="*/ 286622 w 852592"/>
                    <a:gd name="connsiteY1075" fmla="*/ 753979 h 791743"/>
                    <a:gd name="connsiteX1076" fmla="*/ 282068 w 852592"/>
                    <a:gd name="connsiteY1076" fmla="*/ 754574 h 791743"/>
                    <a:gd name="connsiteX1077" fmla="*/ 278875 w 852592"/>
                    <a:gd name="connsiteY1077" fmla="*/ 754599 h 791743"/>
                    <a:gd name="connsiteX1078" fmla="*/ 275960 w 852592"/>
                    <a:gd name="connsiteY1078" fmla="*/ 754174 h 791743"/>
                    <a:gd name="connsiteX1079" fmla="*/ 273313 w 852592"/>
                    <a:gd name="connsiteY1079" fmla="*/ 753421 h 791743"/>
                    <a:gd name="connsiteX1080" fmla="*/ 267679 w 852592"/>
                    <a:gd name="connsiteY1080" fmla="*/ 750555 h 791743"/>
                    <a:gd name="connsiteX1081" fmla="*/ 265080 w 852592"/>
                    <a:gd name="connsiteY1081" fmla="*/ 748600 h 791743"/>
                    <a:gd name="connsiteX1082" fmla="*/ 263490 w 852592"/>
                    <a:gd name="connsiteY1082" fmla="*/ 746912 h 791743"/>
                    <a:gd name="connsiteX1083" fmla="*/ 261231 w 852592"/>
                    <a:gd name="connsiteY1083" fmla="*/ 743646 h 791743"/>
                    <a:gd name="connsiteX1084" fmla="*/ 259458 w 852592"/>
                    <a:gd name="connsiteY1084" fmla="*/ 741897 h 791743"/>
                    <a:gd name="connsiteX1085" fmla="*/ 257746 w 852592"/>
                    <a:gd name="connsiteY1085" fmla="*/ 740403 h 791743"/>
                    <a:gd name="connsiteX1086" fmla="*/ 255900 w 852592"/>
                    <a:gd name="connsiteY1086" fmla="*/ 739808 h 791743"/>
                    <a:gd name="connsiteX1087" fmla="*/ 254917 w 852592"/>
                    <a:gd name="connsiteY1087" fmla="*/ 739978 h 791743"/>
                    <a:gd name="connsiteX1088" fmla="*/ 253508 w 852592"/>
                    <a:gd name="connsiteY1088" fmla="*/ 741205 h 791743"/>
                    <a:gd name="connsiteX1089" fmla="*/ 250776 w 852592"/>
                    <a:gd name="connsiteY1089" fmla="*/ 744216 h 791743"/>
                    <a:gd name="connsiteX1090" fmla="*/ 248760 w 852592"/>
                    <a:gd name="connsiteY1090" fmla="*/ 746001 h 791743"/>
                    <a:gd name="connsiteX1091" fmla="*/ 246344 w 852592"/>
                    <a:gd name="connsiteY1091" fmla="*/ 747774 h 791743"/>
                    <a:gd name="connsiteX1092" fmla="*/ 242397 w 852592"/>
                    <a:gd name="connsiteY1092" fmla="*/ 747859 h 791743"/>
                    <a:gd name="connsiteX1093" fmla="*/ 239180 w 852592"/>
                    <a:gd name="connsiteY1093" fmla="*/ 746439 h 791743"/>
                    <a:gd name="connsiteX1094" fmla="*/ 237419 w 852592"/>
                    <a:gd name="connsiteY1094" fmla="*/ 746062 h 791743"/>
                    <a:gd name="connsiteX1095" fmla="*/ 232525 w 852592"/>
                    <a:gd name="connsiteY1095" fmla="*/ 744508 h 791743"/>
                    <a:gd name="connsiteX1096" fmla="*/ 224572 w 852592"/>
                    <a:gd name="connsiteY1096" fmla="*/ 743124 h 791743"/>
                    <a:gd name="connsiteX1097" fmla="*/ 219314 w 852592"/>
                    <a:gd name="connsiteY1097" fmla="*/ 742771 h 791743"/>
                    <a:gd name="connsiteX1098" fmla="*/ 217055 w 852592"/>
                    <a:gd name="connsiteY1098" fmla="*/ 743148 h 791743"/>
                    <a:gd name="connsiteX1099" fmla="*/ 213898 w 852592"/>
                    <a:gd name="connsiteY1099" fmla="*/ 744665 h 791743"/>
                    <a:gd name="connsiteX1100" fmla="*/ 211870 w 852592"/>
                    <a:gd name="connsiteY1100" fmla="*/ 746463 h 791743"/>
                    <a:gd name="connsiteX1101" fmla="*/ 207766 w 852592"/>
                    <a:gd name="connsiteY1101" fmla="*/ 748029 h 791743"/>
                    <a:gd name="connsiteX1102" fmla="*/ 205544 w 852592"/>
                    <a:gd name="connsiteY1102" fmla="*/ 748369 h 791743"/>
                    <a:gd name="connsiteX1103" fmla="*/ 204378 w 852592"/>
                    <a:gd name="connsiteY1103" fmla="*/ 749122 h 791743"/>
                    <a:gd name="connsiteX1104" fmla="*/ 203710 w 852592"/>
                    <a:gd name="connsiteY1104" fmla="*/ 750300 h 791743"/>
                    <a:gd name="connsiteX1105" fmla="*/ 201306 w 852592"/>
                    <a:gd name="connsiteY1105" fmla="*/ 753008 h 791743"/>
                    <a:gd name="connsiteX1106" fmla="*/ 195586 w 852592"/>
                    <a:gd name="connsiteY1106" fmla="*/ 753166 h 791743"/>
                    <a:gd name="connsiteX1107" fmla="*/ 191567 w 852592"/>
                    <a:gd name="connsiteY1107" fmla="*/ 752145 h 791743"/>
                    <a:gd name="connsiteX1108" fmla="*/ 192077 w 852592"/>
                    <a:gd name="connsiteY1108" fmla="*/ 753688 h 791743"/>
                    <a:gd name="connsiteX1109" fmla="*/ 192514 w 852592"/>
                    <a:gd name="connsiteY1109" fmla="*/ 757076 h 791743"/>
                    <a:gd name="connsiteX1110" fmla="*/ 190948 w 852592"/>
                    <a:gd name="connsiteY1110" fmla="*/ 760877 h 791743"/>
                    <a:gd name="connsiteX1111" fmla="*/ 190571 w 852592"/>
                    <a:gd name="connsiteY1111" fmla="*/ 762759 h 791743"/>
                    <a:gd name="connsiteX1112" fmla="*/ 190171 w 852592"/>
                    <a:gd name="connsiteY1112" fmla="*/ 763123 h 791743"/>
                    <a:gd name="connsiteX1113" fmla="*/ 190122 w 852592"/>
                    <a:gd name="connsiteY1113" fmla="*/ 763572 h 791743"/>
                    <a:gd name="connsiteX1114" fmla="*/ 189442 w 852592"/>
                    <a:gd name="connsiteY1114" fmla="*/ 766462 h 791743"/>
                    <a:gd name="connsiteX1115" fmla="*/ 189224 w 852592"/>
                    <a:gd name="connsiteY1115" fmla="*/ 768709 h 791743"/>
                    <a:gd name="connsiteX1116" fmla="*/ 187499 w 852592"/>
                    <a:gd name="connsiteY1116" fmla="*/ 771441 h 791743"/>
                    <a:gd name="connsiteX1117" fmla="*/ 184949 w 852592"/>
                    <a:gd name="connsiteY1117" fmla="*/ 772862 h 791743"/>
                    <a:gd name="connsiteX1118" fmla="*/ 180116 w 852592"/>
                    <a:gd name="connsiteY1118" fmla="*/ 774355 h 791743"/>
                    <a:gd name="connsiteX1119" fmla="*/ 179108 w 852592"/>
                    <a:gd name="connsiteY1119" fmla="*/ 775023 h 791743"/>
                    <a:gd name="connsiteX1120" fmla="*/ 177676 w 852592"/>
                    <a:gd name="connsiteY1120" fmla="*/ 776079 h 791743"/>
                    <a:gd name="connsiteX1121" fmla="*/ 177967 w 852592"/>
                    <a:gd name="connsiteY1121" fmla="*/ 777026 h 791743"/>
                    <a:gd name="connsiteX1122" fmla="*/ 177275 w 852592"/>
                    <a:gd name="connsiteY1122" fmla="*/ 779443 h 791743"/>
                    <a:gd name="connsiteX1123" fmla="*/ 175405 w 852592"/>
                    <a:gd name="connsiteY1123" fmla="*/ 782637 h 791743"/>
                    <a:gd name="connsiteX1124" fmla="*/ 175429 w 852592"/>
                    <a:gd name="connsiteY1124" fmla="*/ 784094 h 791743"/>
                    <a:gd name="connsiteX1125" fmla="*/ 175296 w 852592"/>
                    <a:gd name="connsiteY1125" fmla="*/ 785089 h 791743"/>
                    <a:gd name="connsiteX1126" fmla="*/ 173705 w 852592"/>
                    <a:gd name="connsiteY1126" fmla="*/ 786729 h 791743"/>
                    <a:gd name="connsiteX1127" fmla="*/ 171665 w 852592"/>
                    <a:gd name="connsiteY1127" fmla="*/ 787506 h 791743"/>
                    <a:gd name="connsiteX1128" fmla="*/ 168520 w 852592"/>
                    <a:gd name="connsiteY1128" fmla="*/ 787506 h 791743"/>
                    <a:gd name="connsiteX1129" fmla="*/ 167682 w 852592"/>
                    <a:gd name="connsiteY1129" fmla="*/ 787166 h 791743"/>
                    <a:gd name="connsiteX1130" fmla="*/ 167779 w 852592"/>
                    <a:gd name="connsiteY1130" fmla="*/ 788672 h 791743"/>
                    <a:gd name="connsiteX1131" fmla="*/ 165071 w 852592"/>
                    <a:gd name="connsiteY1131" fmla="*/ 790602 h 791743"/>
                    <a:gd name="connsiteX1132" fmla="*/ 161683 w 852592"/>
                    <a:gd name="connsiteY1132" fmla="*/ 791744 h 791743"/>
                    <a:gd name="connsiteX1133" fmla="*/ 159728 w 852592"/>
                    <a:gd name="connsiteY1133" fmla="*/ 791525 h 791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Lst>
                  <a:rect l="l" t="t" r="r" b="b"/>
                  <a:pathLst>
                    <a:path w="852592" h="791743">
                      <a:moveTo>
                        <a:pt x="159728" y="791525"/>
                      </a:moveTo>
                      <a:lnTo>
                        <a:pt x="151058" y="787773"/>
                      </a:lnTo>
                      <a:lnTo>
                        <a:pt x="149686" y="786146"/>
                      </a:lnTo>
                      <a:lnTo>
                        <a:pt x="148107" y="782976"/>
                      </a:lnTo>
                      <a:lnTo>
                        <a:pt x="145679" y="782552"/>
                      </a:lnTo>
                      <a:lnTo>
                        <a:pt x="145606" y="780184"/>
                      </a:lnTo>
                      <a:lnTo>
                        <a:pt x="145096" y="781301"/>
                      </a:lnTo>
                      <a:lnTo>
                        <a:pt x="143396" y="786049"/>
                      </a:lnTo>
                      <a:lnTo>
                        <a:pt x="139243" y="785126"/>
                      </a:lnTo>
                      <a:lnTo>
                        <a:pt x="134945" y="782503"/>
                      </a:lnTo>
                      <a:lnTo>
                        <a:pt x="133633" y="782260"/>
                      </a:lnTo>
                      <a:lnTo>
                        <a:pt x="130828" y="782515"/>
                      </a:lnTo>
                      <a:lnTo>
                        <a:pt x="127367" y="782175"/>
                      </a:lnTo>
                      <a:lnTo>
                        <a:pt x="122632" y="780378"/>
                      </a:lnTo>
                      <a:lnTo>
                        <a:pt x="119268" y="778496"/>
                      </a:lnTo>
                      <a:lnTo>
                        <a:pt x="118369" y="778484"/>
                      </a:lnTo>
                      <a:lnTo>
                        <a:pt x="116123" y="781896"/>
                      </a:lnTo>
                      <a:lnTo>
                        <a:pt x="114642" y="782369"/>
                      </a:lnTo>
                      <a:lnTo>
                        <a:pt x="113124" y="782697"/>
                      </a:lnTo>
                      <a:lnTo>
                        <a:pt x="110744" y="782697"/>
                      </a:lnTo>
                      <a:lnTo>
                        <a:pt x="109942" y="782454"/>
                      </a:lnTo>
                      <a:lnTo>
                        <a:pt x="109080" y="782637"/>
                      </a:lnTo>
                      <a:lnTo>
                        <a:pt x="108582" y="783110"/>
                      </a:lnTo>
                      <a:lnTo>
                        <a:pt x="106324" y="783887"/>
                      </a:lnTo>
                      <a:lnTo>
                        <a:pt x="104089" y="784300"/>
                      </a:lnTo>
                      <a:lnTo>
                        <a:pt x="101369" y="784045"/>
                      </a:lnTo>
                      <a:lnTo>
                        <a:pt x="99074" y="783499"/>
                      </a:lnTo>
                      <a:lnTo>
                        <a:pt x="96840" y="782515"/>
                      </a:lnTo>
                      <a:lnTo>
                        <a:pt x="95917" y="782187"/>
                      </a:lnTo>
                      <a:lnTo>
                        <a:pt x="94569" y="782296"/>
                      </a:lnTo>
                      <a:lnTo>
                        <a:pt x="91606" y="781714"/>
                      </a:lnTo>
                      <a:lnTo>
                        <a:pt x="89591" y="780718"/>
                      </a:lnTo>
                      <a:lnTo>
                        <a:pt x="88680" y="780414"/>
                      </a:lnTo>
                      <a:lnTo>
                        <a:pt x="88291" y="780342"/>
                      </a:lnTo>
                      <a:lnTo>
                        <a:pt x="87320" y="780633"/>
                      </a:lnTo>
                      <a:lnTo>
                        <a:pt x="86251" y="781155"/>
                      </a:lnTo>
                      <a:lnTo>
                        <a:pt x="84916" y="782260"/>
                      </a:lnTo>
                      <a:lnTo>
                        <a:pt x="82511" y="782661"/>
                      </a:lnTo>
                      <a:lnTo>
                        <a:pt x="77047" y="782187"/>
                      </a:lnTo>
                      <a:lnTo>
                        <a:pt x="74740" y="781689"/>
                      </a:lnTo>
                      <a:lnTo>
                        <a:pt x="72408" y="780584"/>
                      </a:lnTo>
                      <a:lnTo>
                        <a:pt x="70077" y="778229"/>
                      </a:lnTo>
                      <a:lnTo>
                        <a:pt x="68899" y="776759"/>
                      </a:lnTo>
                      <a:lnTo>
                        <a:pt x="68049" y="776310"/>
                      </a:lnTo>
                      <a:lnTo>
                        <a:pt x="67430" y="775751"/>
                      </a:lnTo>
                      <a:lnTo>
                        <a:pt x="63981" y="776468"/>
                      </a:lnTo>
                      <a:lnTo>
                        <a:pt x="61625" y="775533"/>
                      </a:lnTo>
                      <a:lnTo>
                        <a:pt x="60460" y="775278"/>
                      </a:lnTo>
                      <a:lnTo>
                        <a:pt x="56708" y="775071"/>
                      </a:lnTo>
                      <a:lnTo>
                        <a:pt x="53223" y="774537"/>
                      </a:lnTo>
                      <a:lnTo>
                        <a:pt x="45840" y="772995"/>
                      </a:lnTo>
                      <a:lnTo>
                        <a:pt x="47540" y="765709"/>
                      </a:lnTo>
                      <a:lnTo>
                        <a:pt x="47637" y="764204"/>
                      </a:lnTo>
                      <a:lnTo>
                        <a:pt x="47187" y="763839"/>
                      </a:lnTo>
                      <a:lnTo>
                        <a:pt x="46835" y="763317"/>
                      </a:lnTo>
                      <a:lnTo>
                        <a:pt x="40145" y="763281"/>
                      </a:lnTo>
                      <a:lnTo>
                        <a:pt x="41493" y="759686"/>
                      </a:lnTo>
                      <a:cubicBezTo>
                        <a:pt x="41565" y="759334"/>
                        <a:pt x="41699" y="758994"/>
                        <a:pt x="41881" y="758703"/>
                      </a:cubicBezTo>
                      <a:lnTo>
                        <a:pt x="42743" y="757209"/>
                      </a:lnTo>
                      <a:lnTo>
                        <a:pt x="42974" y="756687"/>
                      </a:lnTo>
                      <a:lnTo>
                        <a:pt x="42500" y="748928"/>
                      </a:lnTo>
                      <a:lnTo>
                        <a:pt x="42610" y="744301"/>
                      </a:lnTo>
                      <a:lnTo>
                        <a:pt x="43338" y="739238"/>
                      </a:lnTo>
                      <a:lnTo>
                        <a:pt x="43314" y="736263"/>
                      </a:lnTo>
                      <a:lnTo>
                        <a:pt x="42173" y="726305"/>
                      </a:lnTo>
                      <a:lnTo>
                        <a:pt x="42403" y="722019"/>
                      </a:lnTo>
                      <a:lnTo>
                        <a:pt x="43156" y="718534"/>
                      </a:lnTo>
                      <a:lnTo>
                        <a:pt x="44079" y="716008"/>
                      </a:lnTo>
                      <a:lnTo>
                        <a:pt x="44249" y="714296"/>
                      </a:lnTo>
                      <a:lnTo>
                        <a:pt x="43958" y="709524"/>
                      </a:lnTo>
                      <a:lnTo>
                        <a:pt x="44395" y="706682"/>
                      </a:lnTo>
                      <a:lnTo>
                        <a:pt x="45742" y="703999"/>
                      </a:lnTo>
                      <a:lnTo>
                        <a:pt x="47309" y="702360"/>
                      </a:lnTo>
                      <a:lnTo>
                        <a:pt x="53271" y="698680"/>
                      </a:lnTo>
                      <a:lnTo>
                        <a:pt x="54789" y="697502"/>
                      </a:lnTo>
                      <a:lnTo>
                        <a:pt x="55421" y="696507"/>
                      </a:lnTo>
                      <a:lnTo>
                        <a:pt x="55858" y="695632"/>
                      </a:lnTo>
                      <a:lnTo>
                        <a:pt x="55918" y="694212"/>
                      </a:lnTo>
                      <a:lnTo>
                        <a:pt x="55590" y="693471"/>
                      </a:lnTo>
                      <a:lnTo>
                        <a:pt x="53818" y="692099"/>
                      </a:lnTo>
                      <a:lnTo>
                        <a:pt x="53065" y="690375"/>
                      </a:lnTo>
                      <a:lnTo>
                        <a:pt x="46641" y="687582"/>
                      </a:lnTo>
                      <a:lnTo>
                        <a:pt x="43654" y="687230"/>
                      </a:lnTo>
                      <a:lnTo>
                        <a:pt x="32300" y="687582"/>
                      </a:lnTo>
                      <a:lnTo>
                        <a:pt x="28912" y="687254"/>
                      </a:lnTo>
                      <a:lnTo>
                        <a:pt x="8840" y="682045"/>
                      </a:lnTo>
                      <a:lnTo>
                        <a:pt x="6582" y="679786"/>
                      </a:lnTo>
                      <a:lnTo>
                        <a:pt x="0" y="671359"/>
                      </a:lnTo>
                      <a:lnTo>
                        <a:pt x="1251" y="669088"/>
                      </a:lnTo>
                      <a:lnTo>
                        <a:pt x="2271" y="667692"/>
                      </a:lnTo>
                      <a:lnTo>
                        <a:pt x="4736" y="665676"/>
                      </a:lnTo>
                      <a:lnTo>
                        <a:pt x="12325" y="661450"/>
                      </a:lnTo>
                      <a:lnTo>
                        <a:pt x="18190" y="656909"/>
                      </a:lnTo>
                      <a:lnTo>
                        <a:pt x="23460" y="653970"/>
                      </a:lnTo>
                      <a:lnTo>
                        <a:pt x="24152" y="653023"/>
                      </a:lnTo>
                      <a:lnTo>
                        <a:pt x="24432" y="651869"/>
                      </a:lnTo>
                      <a:lnTo>
                        <a:pt x="24286" y="650364"/>
                      </a:lnTo>
                      <a:lnTo>
                        <a:pt x="24310" y="649647"/>
                      </a:lnTo>
                      <a:lnTo>
                        <a:pt x="25998" y="646587"/>
                      </a:lnTo>
                      <a:lnTo>
                        <a:pt x="27941" y="645094"/>
                      </a:lnTo>
                      <a:lnTo>
                        <a:pt x="32652" y="643114"/>
                      </a:lnTo>
                      <a:lnTo>
                        <a:pt x="33162" y="642738"/>
                      </a:lnTo>
                      <a:lnTo>
                        <a:pt x="33733" y="641742"/>
                      </a:lnTo>
                      <a:lnTo>
                        <a:pt x="34146" y="640188"/>
                      </a:lnTo>
                      <a:lnTo>
                        <a:pt x="34765" y="637152"/>
                      </a:lnTo>
                      <a:lnTo>
                        <a:pt x="35567" y="635149"/>
                      </a:lnTo>
                      <a:lnTo>
                        <a:pt x="34826" y="635294"/>
                      </a:lnTo>
                      <a:lnTo>
                        <a:pt x="32677" y="636071"/>
                      </a:lnTo>
                      <a:lnTo>
                        <a:pt x="29447" y="635088"/>
                      </a:lnTo>
                      <a:lnTo>
                        <a:pt x="29435" y="632016"/>
                      </a:lnTo>
                      <a:lnTo>
                        <a:pt x="29775" y="630522"/>
                      </a:lnTo>
                      <a:lnTo>
                        <a:pt x="30807" y="628446"/>
                      </a:lnTo>
                      <a:lnTo>
                        <a:pt x="32835" y="626199"/>
                      </a:lnTo>
                      <a:lnTo>
                        <a:pt x="35178" y="624293"/>
                      </a:lnTo>
                      <a:lnTo>
                        <a:pt x="34753" y="623710"/>
                      </a:lnTo>
                      <a:lnTo>
                        <a:pt x="31596" y="621949"/>
                      </a:lnTo>
                      <a:lnTo>
                        <a:pt x="29641" y="620589"/>
                      </a:lnTo>
                      <a:lnTo>
                        <a:pt x="29131" y="617687"/>
                      </a:lnTo>
                      <a:lnTo>
                        <a:pt x="29131" y="615465"/>
                      </a:lnTo>
                      <a:lnTo>
                        <a:pt x="30127" y="607038"/>
                      </a:lnTo>
                      <a:lnTo>
                        <a:pt x="31135" y="604318"/>
                      </a:lnTo>
                      <a:lnTo>
                        <a:pt x="32859" y="602241"/>
                      </a:lnTo>
                      <a:lnTo>
                        <a:pt x="33575" y="601755"/>
                      </a:lnTo>
                      <a:lnTo>
                        <a:pt x="33842" y="600432"/>
                      </a:lnTo>
                      <a:lnTo>
                        <a:pt x="33599" y="577506"/>
                      </a:lnTo>
                      <a:lnTo>
                        <a:pt x="34037" y="573256"/>
                      </a:lnTo>
                      <a:lnTo>
                        <a:pt x="35360" y="568848"/>
                      </a:lnTo>
                      <a:lnTo>
                        <a:pt x="37267" y="564962"/>
                      </a:lnTo>
                      <a:lnTo>
                        <a:pt x="39853" y="561004"/>
                      </a:lnTo>
                      <a:lnTo>
                        <a:pt x="40133" y="559182"/>
                      </a:lnTo>
                      <a:lnTo>
                        <a:pt x="39817" y="557919"/>
                      </a:lnTo>
                      <a:lnTo>
                        <a:pt x="35494" y="550792"/>
                      </a:lnTo>
                      <a:lnTo>
                        <a:pt x="33915" y="547549"/>
                      </a:lnTo>
                      <a:lnTo>
                        <a:pt x="32798" y="539511"/>
                      </a:lnTo>
                      <a:lnTo>
                        <a:pt x="31511" y="538551"/>
                      </a:lnTo>
                      <a:lnTo>
                        <a:pt x="27200" y="537386"/>
                      </a:lnTo>
                      <a:lnTo>
                        <a:pt x="24978" y="536402"/>
                      </a:lnTo>
                      <a:lnTo>
                        <a:pt x="22185" y="533901"/>
                      </a:lnTo>
                      <a:lnTo>
                        <a:pt x="21214" y="531035"/>
                      </a:lnTo>
                      <a:lnTo>
                        <a:pt x="20837" y="527744"/>
                      </a:lnTo>
                      <a:lnTo>
                        <a:pt x="22683" y="521041"/>
                      </a:lnTo>
                      <a:lnTo>
                        <a:pt x="46034" y="490708"/>
                      </a:lnTo>
                      <a:lnTo>
                        <a:pt x="47916" y="486980"/>
                      </a:lnTo>
                      <a:lnTo>
                        <a:pt x="49288" y="482900"/>
                      </a:lnTo>
                      <a:lnTo>
                        <a:pt x="52033" y="479318"/>
                      </a:lnTo>
                      <a:lnTo>
                        <a:pt x="54570" y="478091"/>
                      </a:lnTo>
                      <a:lnTo>
                        <a:pt x="57995" y="477642"/>
                      </a:lnTo>
                      <a:lnTo>
                        <a:pt x="59367" y="477375"/>
                      </a:lnTo>
                      <a:lnTo>
                        <a:pt x="60618" y="476489"/>
                      </a:lnTo>
                      <a:lnTo>
                        <a:pt x="60885" y="476003"/>
                      </a:lnTo>
                      <a:lnTo>
                        <a:pt x="61468" y="472482"/>
                      </a:lnTo>
                      <a:lnTo>
                        <a:pt x="63605" y="469944"/>
                      </a:lnTo>
                      <a:lnTo>
                        <a:pt x="66264" y="468219"/>
                      </a:lnTo>
                      <a:lnTo>
                        <a:pt x="75663" y="465961"/>
                      </a:lnTo>
                      <a:lnTo>
                        <a:pt x="80313" y="456805"/>
                      </a:lnTo>
                      <a:lnTo>
                        <a:pt x="78395" y="457315"/>
                      </a:lnTo>
                      <a:lnTo>
                        <a:pt x="76537" y="458274"/>
                      </a:lnTo>
                      <a:lnTo>
                        <a:pt x="72700" y="460703"/>
                      </a:lnTo>
                      <a:lnTo>
                        <a:pt x="70041" y="461832"/>
                      </a:lnTo>
                      <a:lnTo>
                        <a:pt x="67029" y="462354"/>
                      </a:lnTo>
                      <a:lnTo>
                        <a:pt x="64661" y="461091"/>
                      </a:lnTo>
                      <a:lnTo>
                        <a:pt x="62998" y="459367"/>
                      </a:lnTo>
                      <a:lnTo>
                        <a:pt x="62293" y="456441"/>
                      </a:lnTo>
                      <a:lnTo>
                        <a:pt x="58250" y="457011"/>
                      </a:lnTo>
                      <a:lnTo>
                        <a:pt x="55858" y="457109"/>
                      </a:lnTo>
                      <a:lnTo>
                        <a:pt x="51644" y="456586"/>
                      </a:lnTo>
                      <a:lnTo>
                        <a:pt x="49798" y="456647"/>
                      </a:lnTo>
                      <a:lnTo>
                        <a:pt x="47382" y="456368"/>
                      </a:lnTo>
                      <a:lnTo>
                        <a:pt x="45026" y="455421"/>
                      </a:lnTo>
                      <a:lnTo>
                        <a:pt x="41650" y="452980"/>
                      </a:lnTo>
                      <a:lnTo>
                        <a:pt x="39550" y="451851"/>
                      </a:lnTo>
                      <a:lnTo>
                        <a:pt x="32640" y="449022"/>
                      </a:lnTo>
                      <a:lnTo>
                        <a:pt x="28997" y="443132"/>
                      </a:lnTo>
                      <a:lnTo>
                        <a:pt x="32239" y="437352"/>
                      </a:lnTo>
                      <a:lnTo>
                        <a:pt x="37801" y="429921"/>
                      </a:lnTo>
                      <a:lnTo>
                        <a:pt x="39586" y="425828"/>
                      </a:lnTo>
                      <a:lnTo>
                        <a:pt x="41383" y="423667"/>
                      </a:lnTo>
                      <a:lnTo>
                        <a:pt x="43958" y="421943"/>
                      </a:lnTo>
                      <a:lnTo>
                        <a:pt x="51000" y="418992"/>
                      </a:lnTo>
                      <a:lnTo>
                        <a:pt x="52142" y="418239"/>
                      </a:lnTo>
                      <a:lnTo>
                        <a:pt x="52336" y="417389"/>
                      </a:lnTo>
                      <a:lnTo>
                        <a:pt x="51935" y="415216"/>
                      </a:lnTo>
                      <a:lnTo>
                        <a:pt x="51328" y="414414"/>
                      </a:lnTo>
                      <a:lnTo>
                        <a:pt x="50454" y="413443"/>
                      </a:lnTo>
                      <a:lnTo>
                        <a:pt x="48365" y="411633"/>
                      </a:lnTo>
                      <a:lnTo>
                        <a:pt x="46532" y="409642"/>
                      </a:lnTo>
                      <a:lnTo>
                        <a:pt x="46143" y="407954"/>
                      </a:lnTo>
                      <a:lnTo>
                        <a:pt x="46228" y="406594"/>
                      </a:lnTo>
                      <a:lnTo>
                        <a:pt x="46702" y="404858"/>
                      </a:lnTo>
                      <a:lnTo>
                        <a:pt x="47843" y="402356"/>
                      </a:lnTo>
                      <a:lnTo>
                        <a:pt x="49640" y="399758"/>
                      </a:lnTo>
                      <a:lnTo>
                        <a:pt x="51535" y="397985"/>
                      </a:lnTo>
                      <a:lnTo>
                        <a:pt x="53453" y="396916"/>
                      </a:lnTo>
                      <a:lnTo>
                        <a:pt x="55542" y="396139"/>
                      </a:lnTo>
                      <a:lnTo>
                        <a:pt x="57096" y="395374"/>
                      </a:lnTo>
                      <a:lnTo>
                        <a:pt x="58481" y="394342"/>
                      </a:lnTo>
                      <a:lnTo>
                        <a:pt x="69543" y="383826"/>
                      </a:lnTo>
                      <a:lnTo>
                        <a:pt x="69834" y="383158"/>
                      </a:lnTo>
                      <a:lnTo>
                        <a:pt x="69919" y="382126"/>
                      </a:lnTo>
                      <a:lnTo>
                        <a:pt x="69676" y="380050"/>
                      </a:lnTo>
                      <a:lnTo>
                        <a:pt x="68887" y="374634"/>
                      </a:lnTo>
                      <a:lnTo>
                        <a:pt x="67114" y="369242"/>
                      </a:lnTo>
                      <a:lnTo>
                        <a:pt x="65766" y="366377"/>
                      </a:lnTo>
                      <a:lnTo>
                        <a:pt x="64503" y="364859"/>
                      </a:lnTo>
                      <a:lnTo>
                        <a:pt x="58966" y="360244"/>
                      </a:lnTo>
                      <a:lnTo>
                        <a:pt x="57473" y="357852"/>
                      </a:lnTo>
                      <a:lnTo>
                        <a:pt x="56853" y="354683"/>
                      </a:lnTo>
                      <a:lnTo>
                        <a:pt x="57715" y="352133"/>
                      </a:lnTo>
                      <a:lnTo>
                        <a:pt x="59112" y="350142"/>
                      </a:lnTo>
                      <a:lnTo>
                        <a:pt x="59561" y="349619"/>
                      </a:lnTo>
                      <a:lnTo>
                        <a:pt x="61431" y="348769"/>
                      </a:lnTo>
                      <a:lnTo>
                        <a:pt x="64601" y="348065"/>
                      </a:lnTo>
                      <a:lnTo>
                        <a:pt x="65038" y="347142"/>
                      </a:lnTo>
                      <a:lnTo>
                        <a:pt x="63180" y="338254"/>
                      </a:lnTo>
                      <a:lnTo>
                        <a:pt x="59391" y="329535"/>
                      </a:lnTo>
                      <a:lnTo>
                        <a:pt x="58954" y="326718"/>
                      </a:lnTo>
                      <a:lnTo>
                        <a:pt x="59428" y="322868"/>
                      </a:lnTo>
                      <a:lnTo>
                        <a:pt x="60435" y="319906"/>
                      </a:lnTo>
                      <a:lnTo>
                        <a:pt x="61783" y="317186"/>
                      </a:lnTo>
                      <a:lnTo>
                        <a:pt x="61783" y="317040"/>
                      </a:lnTo>
                      <a:lnTo>
                        <a:pt x="57278" y="314696"/>
                      </a:lnTo>
                      <a:lnTo>
                        <a:pt x="53927" y="314113"/>
                      </a:lnTo>
                      <a:lnTo>
                        <a:pt x="55226" y="311053"/>
                      </a:lnTo>
                      <a:lnTo>
                        <a:pt x="56380" y="307131"/>
                      </a:lnTo>
                      <a:lnTo>
                        <a:pt x="55833" y="306293"/>
                      </a:lnTo>
                      <a:lnTo>
                        <a:pt x="55056" y="305286"/>
                      </a:lnTo>
                      <a:lnTo>
                        <a:pt x="45803" y="299190"/>
                      </a:lnTo>
                      <a:lnTo>
                        <a:pt x="46289" y="294928"/>
                      </a:lnTo>
                      <a:lnTo>
                        <a:pt x="47819" y="293167"/>
                      </a:lnTo>
                      <a:lnTo>
                        <a:pt x="50296" y="291127"/>
                      </a:lnTo>
                      <a:lnTo>
                        <a:pt x="52458" y="289730"/>
                      </a:lnTo>
                      <a:lnTo>
                        <a:pt x="53502" y="288613"/>
                      </a:lnTo>
                      <a:lnTo>
                        <a:pt x="54170" y="287290"/>
                      </a:lnTo>
                      <a:lnTo>
                        <a:pt x="54595" y="285092"/>
                      </a:lnTo>
                      <a:lnTo>
                        <a:pt x="54850" y="281303"/>
                      </a:lnTo>
                      <a:lnTo>
                        <a:pt x="55554" y="279069"/>
                      </a:lnTo>
                      <a:lnTo>
                        <a:pt x="56853" y="277090"/>
                      </a:lnTo>
                      <a:lnTo>
                        <a:pt x="56756" y="276434"/>
                      </a:lnTo>
                      <a:lnTo>
                        <a:pt x="56113" y="276118"/>
                      </a:lnTo>
                      <a:lnTo>
                        <a:pt x="55287" y="274576"/>
                      </a:lnTo>
                      <a:lnTo>
                        <a:pt x="57072" y="271674"/>
                      </a:lnTo>
                      <a:lnTo>
                        <a:pt x="60545" y="268213"/>
                      </a:lnTo>
                      <a:lnTo>
                        <a:pt x="61298" y="267217"/>
                      </a:lnTo>
                      <a:lnTo>
                        <a:pt x="62014" y="265688"/>
                      </a:lnTo>
                      <a:lnTo>
                        <a:pt x="63362" y="263696"/>
                      </a:lnTo>
                      <a:lnTo>
                        <a:pt x="65681" y="261498"/>
                      </a:lnTo>
                      <a:lnTo>
                        <a:pt x="68013" y="260259"/>
                      </a:lnTo>
                      <a:lnTo>
                        <a:pt x="70126" y="259652"/>
                      </a:lnTo>
                      <a:lnTo>
                        <a:pt x="78395" y="259033"/>
                      </a:lnTo>
                      <a:lnTo>
                        <a:pt x="79949" y="258754"/>
                      </a:lnTo>
                      <a:lnTo>
                        <a:pt x="81382" y="258292"/>
                      </a:lnTo>
                      <a:lnTo>
                        <a:pt x="82353" y="257612"/>
                      </a:lnTo>
                      <a:lnTo>
                        <a:pt x="83009" y="256483"/>
                      </a:lnTo>
                      <a:lnTo>
                        <a:pt x="83835" y="254540"/>
                      </a:lnTo>
                      <a:lnTo>
                        <a:pt x="84989" y="250132"/>
                      </a:lnTo>
                      <a:lnTo>
                        <a:pt x="84928" y="248007"/>
                      </a:lnTo>
                      <a:lnTo>
                        <a:pt x="84612" y="246113"/>
                      </a:lnTo>
                      <a:lnTo>
                        <a:pt x="84163" y="244899"/>
                      </a:lnTo>
                      <a:lnTo>
                        <a:pt x="83701" y="242421"/>
                      </a:lnTo>
                      <a:lnTo>
                        <a:pt x="84114" y="239386"/>
                      </a:lnTo>
                      <a:lnTo>
                        <a:pt x="85802" y="236350"/>
                      </a:lnTo>
                      <a:lnTo>
                        <a:pt x="88886" y="233569"/>
                      </a:lnTo>
                      <a:lnTo>
                        <a:pt x="91886" y="232282"/>
                      </a:lnTo>
                      <a:lnTo>
                        <a:pt x="94545" y="231954"/>
                      </a:lnTo>
                      <a:lnTo>
                        <a:pt x="99536" y="232404"/>
                      </a:lnTo>
                      <a:lnTo>
                        <a:pt x="100301" y="231299"/>
                      </a:lnTo>
                      <a:lnTo>
                        <a:pt x="105704" y="219144"/>
                      </a:lnTo>
                      <a:lnTo>
                        <a:pt x="107926" y="215331"/>
                      </a:lnTo>
                      <a:lnTo>
                        <a:pt x="110258" y="212246"/>
                      </a:lnTo>
                      <a:lnTo>
                        <a:pt x="113002" y="210959"/>
                      </a:lnTo>
                      <a:lnTo>
                        <a:pt x="115273" y="209563"/>
                      </a:lnTo>
                      <a:lnTo>
                        <a:pt x="118029" y="208336"/>
                      </a:lnTo>
                      <a:lnTo>
                        <a:pt x="120944" y="208373"/>
                      </a:lnTo>
                      <a:lnTo>
                        <a:pt x="122777" y="207681"/>
                      </a:lnTo>
                      <a:lnTo>
                        <a:pt x="122777" y="207547"/>
                      </a:lnTo>
                      <a:lnTo>
                        <a:pt x="121867" y="206369"/>
                      </a:lnTo>
                      <a:lnTo>
                        <a:pt x="120907" y="205507"/>
                      </a:lnTo>
                      <a:lnTo>
                        <a:pt x="113318" y="200164"/>
                      </a:lnTo>
                      <a:lnTo>
                        <a:pt x="110051" y="196849"/>
                      </a:lnTo>
                      <a:lnTo>
                        <a:pt x="109493" y="194736"/>
                      </a:lnTo>
                      <a:lnTo>
                        <a:pt x="109202" y="192453"/>
                      </a:lnTo>
                      <a:lnTo>
                        <a:pt x="109444" y="190231"/>
                      </a:lnTo>
                      <a:lnTo>
                        <a:pt x="108084" y="190328"/>
                      </a:lnTo>
                      <a:lnTo>
                        <a:pt x="106566" y="189964"/>
                      </a:lnTo>
                      <a:lnTo>
                        <a:pt x="104478" y="188762"/>
                      </a:lnTo>
                      <a:lnTo>
                        <a:pt x="103931" y="188386"/>
                      </a:lnTo>
                      <a:lnTo>
                        <a:pt x="103264" y="187268"/>
                      </a:lnTo>
                      <a:lnTo>
                        <a:pt x="102717" y="185835"/>
                      </a:lnTo>
                      <a:lnTo>
                        <a:pt x="102596" y="184305"/>
                      </a:lnTo>
                      <a:lnTo>
                        <a:pt x="102681" y="183310"/>
                      </a:lnTo>
                      <a:lnTo>
                        <a:pt x="101078" y="183528"/>
                      </a:lnTo>
                      <a:lnTo>
                        <a:pt x="98771" y="183395"/>
                      </a:lnTo>
                      <a:lnTo>
                        <a:pt x="97763" y="183249"/>
                      </a:lnTo>
                      <a:lnTo>
                        <a:pt x="96706" y="182193"/>
                      </a:lnTo>
                      <a:lnTo>
                        <a:pt x="95856" y="181136"/>
                      </a:lnTo>
                      <a:lnTo>
                        <a:pt x="95152" y="179509"/>
                      </a:lnTo>
                      <a:lnTo>
                        <a:pt x="94885" y="177809"/>
                      </a:lnTo>
                      <a:lnTo>
                        <a:pt x="94885" y="175927"/>
                      </a:lnTo>
                      <a:lnTo>
                        <a:pt x="94120" y="173000"/>
                      </a:lnTo>
                      <a:lnTo>
                        <a:pt x="92711" y="169163"/>
                      </a:lnTo>
                      <a:lnTo>
                        <a:pt x="92966" y="166152"/>
                      </a:lnTo>
                      <a:lnTo>
                        <a:pt x="94666" y="163820"/>
                      </a:lnTo>
                      <a:lnTo>
                        <a:pt x="97423" y="162375"/>
                      </a:lnTo>
                      <a:lnTo>
                        <a:pt x="98710" y="161185"/>
                      </a:lnTo>
                      <a:lnTo>
                        <a:pt x="100604" y="159303"/>
                      </a:lnTo>
                      <a:lnTo>
                        <a:pt x="102754" y="156486"/>
                      </a:lnTo>
                      <a:lnTo>
                        <a:pt x="104575" y="154592"/>
                      </a:lnTo>
                      <a:lnTo>
                        <a:pt x="106348" y="153244"/>
                      </a:lnTo>
                      <a:lnTo>
                        <a:pt x="108534" y="152200"/>
                      </a:lnTo>
                      <a:lnTo>
                        <a:pt x="108606" y="151568"/>
                      </a:lnTo>
                      <a:lnTo>
                        <a:pt x="107708" y="149139"/>
                      </a:lnTo>
                      <a:lnTo>
                        <a:pt x="107866" y="146626"/>
                      </a:lnTo>
                      <a:lnTo>
                        <a:pt x="108534" y="143760"/>
                      </a:lnTo>
                      <a:lnTo>
                        <a:pt x="110525" y="138502"/>
                      </a:lnTo>
                      <a:lnTo>
                        <a:pt x="112237" y="132455"/>
                      </a:lnTo>
                      <a:lnTo>
                        <a:pt x="113537" y="129966"/>
                      </a:lnTo>
                      <a:lnTo>
                        <a:pt x="115224" y="127622"/>
                      </a:lnTo>
                      <a:lnTo>
                        <a:pt x="117872" y="124647"/>
                      </a:lnTo>
                      <a:lnTo>
                        <a:pt x="116426" y="123967"/>
                      </a:lnTo>
                      <a:lnTo>
                        <a:pt x="113852" y="122219"/>
                      </a:lnTo>
                      <a:lnTo>
                        <a:pt x="114071" y="119681"/>
                      </a:lnTo>
                      <a:lnTo>
                        <a:pt x="114569" y="118211"/>
                      </a:lnTo>
                      <a:lnTo>
                        <a:pt x="115322" y="117058"/>
                      </a:lnTo>
                      <a:lnTo>
                        <a:pt x="118357" y="114119"/>
                      </a:lnTo>
                      <a:lnTo>
                        <a:pt x="120494" y="112541"/>
                      </a:lnTo>
                      <a:lnTo>
                        <a:pt x="122705" y="111290"/>
                      </a:lnTo>
                      <a:lnTo>
                        <a:pt x="124817" y="110561"/>
                      </a:lnTo>
                      <a:lnTo>
                        <a:pt x="126809" y="110185"/>
                      </a:lnTo>
                      <a:lnTo>
                        <a:pt x="128837" y="110173"/>
                      </a:lnTo>
                      <a:lnTo>
                        <a:pt x="131095" y="110610"/>
                      </a:lnTo>
                      <a:lnTo>
                        <a:pt x="134714" y="111873"/>
                      </a:lnTo>
                      <a:lnTo>
                        <a:pt x="135782" y="111921"/>
                      </a:lnTo>
                      <a:lnTo>
                        <a:pt x="139365" y="111363"/>
                      </a:lnTo>
                      <a:lnTo>
                        <a:pt x="141368" y="111508"/>
                      </a:lnTo>
                      <a:lnTo>
                        <a:pt x="142546" y="112346"/>
                      </a:lnTo>
                      <a:lnTo>
                        <a:pt x="143505" y="113306"/>
                      </a:lnTo>
                      <a:lnTo>
                        <a:pt x="147695" y="119912"/>
                      </a:lnTo>
                      <a:lnTo>
                        <a:pt x="149225" y="121417"/>
                      </a:lnTo>
                      <a:lnTo>
                        <a:pt x="150973" y="122522"/>
                      </a:lnTo>
                      <a:lnTo>
                        <a:pt x="153013" y="123239"/>
                      </a:lnTo>
                      <a:lnTo>
                        <a:pt x="154640" y="123312"/>
                      </a:lnTo>
                      <a:lnTo>
                        <a:pt x="156182" y="123044"/>
                      </a:lnTo>
                      <a:lnTo>
                        <a:pt x="159255" y="122291"/>
                      </a:lnTo>
                      <a:lnTo>
                        <a:pt x="161380" y="122133"/>
                      </a:lnTo>
                      <a:lnTo>
                        <a:pt x="162642" y="122328"/>
                      </a:lnTo>
                      <a:lnTo>
                        <a:pt x="165569" y="123251"/>
                      </a:lnTo>
                      <a:lnTo>
                        <a:pt x="167245" y="123591"/>
                      </a:lnTo>
                      <a:lnTo>
                        <a:pt x="171932" y="123676"/>
                      </a:lnTo>
                      <a:lnTo>
                        <a:pt x="172442" y="123554"/>
                      </a:lnTo>
                      <a:lnTo>
                        <a:pt x="173146" y="122959"/>
                      </a:lnTo>
                      <a:lnTo>
                        <a:pt x="173401" y="119413"/>
                      </a:lnTo>
                      <a:lnTo>
                        <a:pt x="173401" y="117373"/>
                      </a:lnTo>
                      <a:lnTo>
                        <a:pt x="171677" y="108825"/>
                      </a:lnTo>
                      <a:lnTo>
                        <a:pt x="171628" y="106664"/>
                      </a:lnTo>
                      <a:lnTo>
                        <a:pt x="172102" y="104186"/>
                      </a:lnTo>
                      <a:lnTo>
                        <a:pt x="173620" y="101381"/>
                      </a:lnTo>
                      <a:lnTo>
                        <a:pt x="175089" y="99633"/>
                      </a:lnTo>
                      <a:lnTo>
                        <a:pt x="175769" y="98479"/>
                      </a:lnTo>
                      <a:lnTo>
                        <a:pt x="177943" y="93209"/>
                      </a:lnTo>
                      <a:lnTo>
                        <a:pt x="179521" y="90501"/>
                      </a:lnTo>
                      <a:lnTo>
                        <a:pt x="181780" y="87927"/>
                      </a:lnTo>
                      <a:lnTo>
                        <a:pt x="183941" y="86373"/>
                      </a:lnTo>
                      <a:lnTo>
                        <a:pt x="186236" y="85353"/>
                      </a:lnTo>
                      <a:lnTo>
                        <a:pt x="194603" y="83896"/>
                      </a:lnTo>
                      <a:lnTo>
                        <a:pt x="195732" y="83325"/>
                      </a:lnTo>
                      <a:lnTo>
                        <a:pt x="196291" y="82717"/>
                      </a:lnTo>
                      <a:lnTo>
                        <a:pt x="196618" y="82026"/>
                      </a:lnTo>
                      <a:lnTo>
                        <a:pt x="196728" y="81224"/>
                      </a:lnTo>
                      <a:lnTo>
                        <a:pt x="196789" y="79803"/>
                      </a:lnTo>
                      <a:lnTo>
                        <a:pt x="196206" y="70587"/>
                      </a:lnTo>
                      <a:lnTo>
                        <a:pt x="196679" y="65499"/>
                      </a:lnTo>
                      <a:lnTo>
                        <a:pt x="197711" y="62087"/>
                      </a:lnTo>
                      <a:lnTo>
                        <a:pt x="201245" y="55262"/>
                      </a:lnTo>
                      <a:lnTo>
                        <a:pt x="201949" y="51802"/>
                      </a:lnTo>
                      <a:lnTo>
                        <a:pt x="203710" y="48475"/>
                      </a:lnTo>
                      <a:lnTo>
                        <a:pt x="206102" y="45815"/>
                      </a:lnTo>
                      <a:lnTo>
                        <a:pt x="212744" y="41820"/>
                      </a:lnTo>
                      <a:lnTo>
                        <a:pt x="213959" y="40703"/>
                      </a:lnTo>
                      <a:lnTo>
                        <a:pt x="214724" y="38578"/>
                      </a:lnTo>
                      <a:lnTo>
                        <a:pt x="215052" y="36999"/>
                      </a:lnTo>
                      <a:lnTo>
                        <a:pt x="214918" y="36356"/>
                      </a:lnTo>
                      <a:lnTo>
                        <a:pt x="213473" y="34972"/>
                      </a:lnTo>
                      <a:lnTo>
                        <a:pt x="210158" y="34219"/>
                      </a:lnTo>
                      <a:lnTo>
                        <a:pt x="208069" y="31462"/>
                      </a:lnTo>
                      <a:lnTo>
                        <a:pt x="201366" y="15567"/>
                      </a:lnTo>
                      <a:lnTo>
                        <a:pt x="199533" y="9642"/>
                      </a:lnTo>
                      <a:lnTo>
                        <a:pt x="202071" y="0"/>
                      </a:lnTo>
                      <a:lnTo>
                        <a:pt x="212866" y="4444"/>
                      </a:lnTo>
                      <a:lnTo>
                        <a:pt x="216241" y="6727"/>
                      </a:lnTo>
                      <a:lnTo>
                        <a:pt x="217152" y="7711"/>
                      </a:lnTo>
                      <a:lnTo>
                        <a:pt x="218634" y="9969"/>
                      </a:lnTo>
                      <a:lnTo>
                        <a:pt x="220795" y="14207"/>
                      </a:lnTo>
                      <a:lnTo>
                        <a:pt x="219399" y="17073"/>
                      </a:lnTo>
                      <a:lnTo>
                        <a:pt x="221827" y="15021"/>
                      </a:lnTo>
                      <a:lnTo>
                        <a:pt x="233060" y="19271"/>
                      </a:lnTo>
                      <a:lnTo>
                        <a:pt x="233545" y="18336"/>
                      </a:lnTo>
                      <a:lnTo>
                        <a:pt x="233776" y="17461"/>
                      </a:lnTo>
                      <a:lnTo>
                        <a:pt x="234128" y="17000"/>
                      </a:lnTo>
                      <a:lnTo>
                        <a:pt x="235039" y="16187"/>
                      </a:lnTo>
                      <a:lnTo>
                        <a:pt x="236654" y="15385"/>
                      </a:lnTo>
                      <a:lnTo>
                        <a:pt x="238026" y="14984"/>
                      </a:lnTo>
                      <a:lnTo>
                        <a:pt x="239507" y="14741"/>
                      </a:lnTo>
                      <a:lnTo>
                        <a:pt x="240114" y="14474"/>
                      </a:lnTo>
                      <a:lnTo>
                        <a:pt x="242009" y="14122"/>
                      </a:lnTo>
                      <a:lnTo>
                        <a:pt x="244219" y="14244"/>
                      </a:lnTo>
                      <a:lnTo>
                        <a:pt x="247328" y="15664"/>
                      </a:lnTo>
                      <a:lnTo>
                        <a:pt x="248615" y="16174"/>
                      </a:lnTo>
                      <a:lnTo>
                        <a:pt x="249780" y="16320"/>
                      </a:lnTo>
                      <a:lnTo>
                        <a:pt x="251748" y="16065"/>
                      </a:lnTo>
                      <a:lnTo>
                        <a:pt x="254795" y="15494"/>
                      </a:lnTo>
                      <a:lnTo>
                        <a:pt x="258584" y="16004"/>
                      </a:lnTo>
                      <a:lnTo>
                        <a:pt x="270703" y="20558"/>
                      </a:lnTo>
                      <a:lnTo>
                        <a:pt x="277320" y="24322"/>
                      </a:lnTo>
                      <a:lnTo>
                        <a:pt x="280721" y="23399"/>
                      </a:lnTo>
                      <a:lnTo>
                        <a:pt x="289403" y="23484"/>
                      </a:lnTo>
                      <a:lnTo>
                        <a:pt x="294855" y="26338"/>
                      </a:lnTo>
                      <a:lnTo>
                        <a:pt x="297138" y="28596"/>
                      </a:lnTo>
                      <a:lnTo>
                        <a:pt x="299384" y="30479"/>
                      </a:lnTo>
                      <a:lnTo>
                        <a:pt x="301995" y="31972"/>
                      </a:lnTo>
                      <a:lnTo>
                        <a:pt x="303221" y="33697"/>
                      </a:lnTo>
                      <a:lnTo>
                        <a:pt x="303780" y="34680"/>
                      </a:lnTo>
                      <a:lnTo>
                        <a:pt x="308856" y="50235"/>
                      </a:lnTo>
                      <a:lnTo>
                        <a:pt x="309244" y="50733"/>
                      </a:lnTo>
                      <a:lnTo>
                        <a:pt x="314915" y="52555"/>
                      </a:lnTo>
                      <a:lnTo>
                        <a:pt x="317247" y="53866"/>
                      </a:lnTo>
                      <a:lnTo>
                        <a:pt x="318036" y="55068"/>
                      </a:lnTo>
                      <a:lnTo>
                        <a:pt x="318692" y="56695"/>
                      </a:lnTo>
                      <a:lnTo>
                        <a:pt x="318861" y="58347"/>
                      </a:lnTo>
                      <a:lnTo>
                        <a:pt x="319602" y="58966"/>
                      </a:lnTo>
                      <a:lnTo>
                        <a:pt x="323925" y="60022"/>
                      </a:lnTo>
                      <a:lnTo>
                        <a:pt x="326548" y="61419"/>
                      </a:lnTo>
                      <a:lnTo>
                        <a:pt x="328321" y="62888"/>
                      </a:lnTo>
                      <a:lnTo>
                        <a:pt x="328430" y="63289"/>
                      </a:lnTo>
                      <a:lnTo>
                        <a:pt x="329632" y="63168"/>
                      </a:lnTo>
                      <a:lnTo>
                        <a:pt x="334040" y="62390"/>
                      </a:lnTo>
                      <a:lnTo>
                        <a:pt x="335935" y="61516"/>
                      </a:lnTo>
                      <a:lnTo>
                        <a:pt x="338047" y="57181"/>
                      </a:lnTo>
                      <a:lnTo>
                        <a:pt x="339067" y="56088"/>
                      </a:lnTo>
                      <a:lnTo>
                        <a:pt x="340294" y="54983"/>
                      </a:lnTo>
                      <a:lnTo>
                        <a:pt x="348636" y="51073"/>
                      </a:lnTo>
                      <a:lnTo>
                        <a:pt x="361362" y="48790"/>
                      </a:lnTo>
                      <a:lnTo>
                        <a:pt x="364070" y="48742"/>
                      </a:lnTo>
                      <a:lnTo>
                        <a:pt x="366729" y="49167"/>
                      </a:lnTo>
                      <a:lnTo>
                        <a:pt x="370930" y="50684"/>
                      </a:lnTo>
                      <a:lnTo>
                        <a:pt x="373043" y="51996"/>
                      </a:lnTo>
                      <a:lnTo>
                        <a:pt x="374853" y="53915"/>
                      </a:lnTo>
                      <a:lnTo>
                        <a:pt x="377670" y="58772"/>
                      </a:lnTo>
                      <a:lnTo>
                        <a:pt x="378253" y="59367"/>
                      </a:lnTo>
                      <a:lnTo>
                        <a:pt x="379989" y="59719"/>
                      </a:lnTo>
                      <a:lnTo>
                        <a:pt x="395702" y="61820"/>
                      </a:lnTo>
                      <a:lnTo>
                        <a:pt x="399248" y="63204"/>
                      </a:lnTo>
                      <a:lnTo>
                        <a:pt x="401603" y="65292"/>
                      </a:lnTo>
                      <a:lnTo>
                        <a:pt x="404360" y="69008"/>
                      </a:lnTo>
                      <a:lnTo>
                        <a:pt x="405101" y="69725"/>
                      </a:lnTo>
                      <a:lnTo>
                        <a:pt x="405647" y="69846"/>
                      </a:lnTo>
                      <a:lnTo>
                        <a:pt x="406704" y="70186"/>
                      </a:lnTo>
                      <a:lnTo>
                        <a:pt x="409023" y="70320"/>
                      </a:lnTo>
                      <a:lnTo>
                        <a:pt x="424384" y="70113"/>
                      </a:lnTo>
                      <a:lnTo>
                        <a:pt x="425659" y="70611"/>
                      </a:lnTo>
                      <a:lnTo>
                        <a:pt x="431062" y="70793"/>
                      </a:lnTo>
                      <a:lnTo>
                        <a:pt x="433636" y="71643"/>
                      </a:lnTo>
                      <a:lnTo>
                        <a:pt x="435919" y="73319"/>
                      </a:lnTo>
                      <a:lnTo>
                        <a:pt x="436211" y="73890"/>
                      </a:lnTo>
                      <a:lnTo>
                        <a:pt x="434656" y="77047"/>
                      </a:lnTo>
                      <a:lnTo>
                        <a:pt x="437389" y="75420"/>
                      </a:lnTo>
                      <a:lnTo>
                        <a:pt x="438433" y="75820"/>
                      </a:lnTo>
                      <a:lnTo>
                        <a:pt x="439635" y="75492"/>
                      </a:lnTo>
                      <a:lnTo>
                        <a:pt x="440594" y="74388"/>
                      </a:lnTo>
                      <a:lnTo>
                        <a:pt x="440837" y="73283"/>
                      </a:lnTo>
                      <a:lnTo>
                        <a:pt x="440692" y="72068"/>
                      </a:lnTo>
                      <a:lnTo>
                        <a:pt x="441214" y="68802"/>
                      </a:lnTo>
                      <a:lnTo>
                        <a:pt x="442938" y="66762"/>
                      </a:lnTo>
                      <a:lnTo>
                        <a:pt x="444152" y="65803"/>
                      </a:lnTo>
                      <a:lnTo>
                        <a:pt x="447965" y="64029"/>
                      </a:lnTo>
                      <a:lnTo>
                        <a:pt x="461844" y="59719"/>
                      </a:lnTo>
                      <a:lnTo>
                        <a:pt x="462852" y="58772"/>
                      </a:lnTo>
                      <a:lnTo>
                        <a:pt x="463933" y="58165"/>
                      </a:lnTo>
                      <a:lnTo>
                        <a:pt x="467649" y="57205"/>
                      </a:lnTo>
                      <a:lnTo>
                        <a:pt x="480812" y="59318"/>
                      </a:lnTo>
                      <a:lnTo>
                        <a:pt x="483228" y="62621"/>
                      </a:lnTo>
                      <a:lnTo>
                        <a:pt x="484443" y="63993"/>
                      </a:lnTo>
                      <a:lnTo>
                        <a:pt x="488486" y="67393"/>
                      </a:lnTo>
                      <a:lnTo>
                        <a:pt x="490174" y="69458"/>
                      </a:lnTo>
                      <a:lnTo>
                        <a:pt x="492955" y="74970"/>
                      </a:lnTo>
                      <a:lnTo>
                        <a:pt x="493890" y="76136"/>
                      </a:lnTo>
                      <a:lnTo>
                        <a:pt x="498200" y="77545"/>
                      </a:lnTo>
                      <a:lnTo>
                        <a:pt x="501418" y="78929"/>
                      </a:lnTo>
                      <a:lnTo>
                        <a:pt x="503058" y="79330"/>
                      </a:lnTo>
                      <a:lnTo>
                        <a:pt x="504114" y="79718"/>
                      </a:lnTo>
                      <a:lnTo>
                        <a:pt x="506020" y="80993"/>
                      </a:lnTo>
                      <a:lnTo>
                        <a:pt x="507028" y="82135"/>
                      </a:lnTo>
                      <a:lnTo>
                        <a:pt x="509336" y="85668"/>
                      </a:lnTo>
                      <a:lnTo>
                        <a:pt x="510477" y="86883"/>
                      </a:lnTo>
                      <a:lnTo>
                        <a:pt x="511266" y="87976"/>
                      </a:lnTo>
                      <a:lnTo>
                        <a:pt x="512177" y="89761"/>
                      </a:lnTo>
                      <a:lnTo>
                        <a:pt x="513525" y="93914"/>
                      </a:lnTo>
                      <a:lnTo>
                        <a:pt x="513926" y="96536"/>
                      </a:lnTo>
                      <a:lnTo>
                        <a:pt x="513950" y="99511"/>
                      </a:lnTo>
                      <a:lnTo>
                        <a:pt x="513136" y="107040"/>
                      </a:lnTo>
                      <a:lnTo>
                        <a:pt x="512444" y="110039"/>
                      </a:lnTo>
                      <a:lnTo>
                        <a:pt x="512153" y="113160"/>
                      </a:lnTo>
                      <a:lnTo>
                        <a:pt x="512299" y="116633"/>
                      </a:lnTo>
                      <a:lnTo>
                        <a:pt x="511594" y="120397"/>
                      </a:lnTo>
                      <a:lnTo>
                        <a:pt x="510696" y="122947"/>
                      </a:lnTo>
                      <a:lnTo>
                        <a:pt x="509785" y="124246"/>
                      </a:lnTo>
                      <a:lnTo>
                        <a:pt x="506834" y="126748"/>
                      </a:lnTo>
                      <a:lnTo>
                        <a:pt x="507028" y="127088"/>
                      </a:lnTo>
                      <a:lnTo>
                        <a:pt x="507466" y="128606"/>
                      </a:lnTo>
                      <a:lnTo>
                        <a:pt x="507174" y="133074"/>
                      </a:lnTo>
                      <a:lnTo>
                        <a:pt x="507429" y="136280"/>
                      </a:lnTo>
                      <a:lnTo>
                        <a:pt x="508267" y="139753"/>
                      </a:lnTo>
                      <a:lnTo>
                        <a:pt x="510756" y="146395"/>
                      </a:lnTo>
                      <a:lnTo>
                        <a:pt x="503495" y="149650"/>
                      </a:lnTo>
                      <a:lnTo>
                        <a:pt x="499451" y="153268"/>
                      </a:lnTo>
                      <a:lnTo>
                        <a:pt x="495942" y="158065"/>
                      </a:lnTo>
                      <a:lnTo>
                        <a:pt x="494594" y="162290"/>
                      </a:lnTo>
                      <a:lnTo>
                        <a:pt x="494910" y="166140"/>
                      </a:lnTo>
                      <a:lnTo>
                        <a:pt x="495529" y="166382"/>
                      </a:lnTo>
                      <a:lnTo>
                        <a:pt x="506543" y="163893"/>
                      </a:lnTo>
                      <a:lnTo>
                        <a:pt x="509178" y="168872"/>
                      </a:lnTo>
                      <a:lnTo>
                        <a:pt x="511898" y="183310"/>
                      </a:lnTo>
                      <a:lnTo>
                        <a:pt x="513719" y="189369"/>
                      </a:lnTo>
                      <a:lnTo>
                        <a:pt x="513719" y="199982"/>
                      </a:lnTo>
                      <a:lnTo>
                        <a:pt x="512821" y="204851"/>
                      </a:lnTo>
                      <a:lnTo>
                        <a:pt x="510368" y="207754"/>
                      </a:lnTo>
                      <a:lnTo>
                        <a:pt x="506834" y="210971"/>
                      </a:lnTo>
                      <a:lnTo>
                        <a:pt x="512979" y="214614"/>
                      </a:lnTo>
                      <a:lnTo>
                        <a:pt x="519317" y="216654"/>
                      </a:lnTo>
                      <a:lnTo>
                        <a:pt x="526858" y="223612"/>
                      </a:lnTo>
                      <a:lnTo>
                        <a:pt x="530574" y="226369"/>
                      </a:lnTo>
                      <a:lnTo>
                        <a:pt x="532067" y="227813"/>
                      </a:lnTo>
                      <a:lnTo>
                        <a:pt x="535443" y="233521"/>
                      </a:lnTo>
                      <a:lnTo>
                        <a:pt x="549504" y="234881"/>
                      </a:lnTo>
                      <a:lnTo>
                        <a:pt x="562425" y="233448"/>
                      </a:lnTo>
                      <a:lnTo>
                        <a:pt x="563615" y="232974"/>
                      </a:lnTo>
                      <a:lnTo>
                        <a:pt x="566322" y="230849"/>
                      </a:lnTo>
                      <a:lnTo>
                        <a:pt x="569735" y="229781"/>
                      </a:lnTo>
                      <a:lnTo>
                        <a:pt x="570512" y="229586"/>
                      </a:lnTo>
                      <a:lnTo>
                        <a:pt x="574300" y="230655"/>
                      </a:lnTo>
                      <a:lnTo>
                        <a:pt x="576425" y="232865"/>
                      </a:lnTo>
                      <a:lnTo>
                        <a:pt x="578053" y="235658"/>
                      </a:lnTo>
                      <a:lnTo>
                        <a:pt x="579060" y="238074"/>
                      </a:lnTo>
                      <a:lnTo>
                        <a:pt x="579667" y="240406"/>
                      </a:lnTo>
                      <a:lnTo>
                        <a:pt x="579971" y="245069"/>
                      </a:lnTo>
                      <a:lnTo>
                        <a:pt x="580360" y="246453"/>
                      </a:lnTo>
                      <a:lnTo>
                        <a:pt x="581343" y="247716"/>
                      </a:lnTo>
                      <a:lnTo>
                        <a:pt x="582752" y="249185"/>
                      </a:lnTo>
                      <a:lnTo>
                        <a:pt x="584415" y="251456"/>
                      </a:lnTo>
                      <a:lnTo>
                        <a:pt x="585435" y="249088"/>
                      </a:lnTo>
                      <a:lnTo>
                        <a:pt x="588095" y="249428"/>
                      </a:lnTo>
                      <a:lnTo>
                        <a:pt x="591094" y="250314"/>
                      </a:lnTo>
                      <a:lnTo>
                        <a:pt x="593000" y="252609"/>
                      </a:lnTo>
                      <a:lnTo>
                        <a:pt x="593644" y="254236"/>
                      </a:lnTo>
                      <a:lnTo>
                        <a:pt x="593875" y="254297"/>
                      </a:lnTo>
                      <a:lnTo>
                        <a:pt x="596401" y="253132"/>
                      </a:lnTo>
                      <a:lnTo>
                        <a:pt x="603735" y="251140"/>
                      </a:lnTo>
                      <a:lnTo>
                        <a:pt x="608762" y="251128"/>
                      </a:lnTo>
                      <a:lnTo>
                        <a:pt x="612830" y="252561"/>
                      </a:lnTo>
                      <a:lnTo>
                        <a:pt x="617129" y="256398"/>
                      </a:lnTo>
                      <a:lnTo>
                        <a:pt x="618525" y="257321"/>
                      </a:lnTo>
                      <a:lnTo>
                        <a:pt x="622216" y="259033"/>
                      </a:lnTo>
                      <a:lnTo>
                        <a:pt x="624426" y="260575"/>
                      </a:lnTo>
                      <a:lnTo>
                        <a:pt x="628846" y="264461"/>
                      </a:lnTo>
                      <a:lnTo>
                        <a:pt x="637747" y="274625"/>
                      </a:lnTo>
                      <a:lnTo>
                        <a:pt x="640686" y="278765"/>
                      </a:lnTo>
                      <a:lnTo>
                        <a:pt x="644304" y="282299"/>
                      </a:lnTo>
                      <a:lnTo>
                        <a:pt x="647219" y="286343"/>
                      </a:lnTo>
                      <a:lnTo>
                        <a:pt x="650254" y="289767"/>
                      </a:lnTo>
                      <a:lnTo>
                        <a:pt x="652404" y="293167"/>
                      </a:lnTo>
                      <a:lnTo>
                        <a:pt x="653751" y="296543"/>
                      </a:lnTo>
                      <a:lnTo>
                        <a:pt x="655488" y="302723"/>
                      </a:lnTo>
                      <a:lnTo>
                        <a:pt x="659957" y="312899"/>
                      </a:lnTo>
                      <a:lnTo>
                        <a:pt x="664425" y="319857"/>
                      </a:lnTo>
                      <a:lnTo>
                        <a:pt x="665457" y="322468"/>
                      </a:lnTo>
                      <a:lnTo>
                        <a:pt x="665797" y="325856"/>
                      </a:lnTo>
                      <a:lnTo>
                        <a:pt x="664705" y="328661"/>
                      </a:lnTo>
                      <a:lnTo>
                        <a:pt x="662191" y="330142"/>
                      </a:lnTo>
                      <a:lnTo>
                        <a:pt x="658317" y="331891"/>
                      </a:lnTo>
                      <a:lnTo>
                        <a:pt x="657431" y="332632"/>
                      </a:lnTo>
                      <a:lnTo>
                        <a:pt x="657127" y="333299"/>
                      </a:lnTo>
                      <a:lnTo>
                        <a:pt x="657152" y="334064"/>
                      </a:lnTo>
                      <a:lnTo>
                        <a:pt x="657309" y="335327"/>
                      </a:lnTo>
                      <a:lnTo>
                        <a:pt x="657710" y="336153"/>
                      </a:lnTo>
                      <a:lnTo>
                        <a:pt x="658184" y="336578"/>
                      </a:lnTo>
                      <a:lnTo>
                        <a:pt x="659483" y="336930"/>
                      </a:lnTo>
                      <a:lnTo>
                        <a:pt x="663502" y="336699"/>
                      </a:lnTo>
                      <a:lnTo>
                        <a:pt x="665348" y="336432"/>
                      </a:lnTo>
                      <a:lnTo>
                        <a:pt x="665894" y="336238"/>
                      </a:lnTo>
                      <a:lnTo>
                        <a:pt x="666259" y="335327"/>
                      </a:lnTo>
                      <a:lnTo>
                        <a:pt x="666975" y="331648"/>
                      </a:lnTo>
                      <a:lnTo>
                        <a:pt x="667983" y="329268"/>
                      </a:lnTo>
                      <a:lnTo>
                        <a:pt x="668955" y="328418"/>
                      </a:lnTo>
                      <a:lnTo>
                        <a:pt x="670387" y="327507"/>
                      </a:lnTo>
                      <a:lnTo>
                        <a:pt x="672537" y="326839"/>
                      </a:lnTo>
                      <a:lnTo>
                        <a:pt x="674759" y="327167"/>
                      </a:lnTo>
                      <a:lnTo>
                        <a:pt x="677843" y="328758"/>
                      </a:lnTo>
                      <a:lnTo>
                        <a:pt x="678681" y="329268"/>
                      </a:lnTo>
                      <a:lnTo>
                        <a:pt x="680029" y="332425"/>
                      </a:lnTo>
                      <a:lnTo>
                        <a:pt x="680600" y="335764"/>
                      </a:lnTo>
                      <a:lnTo>
                        <a:pt x="680745" y="338666"/>
                      </a:lnTo>
                      <a:lnTo>
                        <a:pt x="681122" y="341071"/>
                      </a:lnTo>
                      <a:lnTo>
                        <a:pt x="681498" y="341556"/>
                      </a:lnTo>
                      <a:lnTo>
                        <a:pt x="682215" y="342018"/>
                      </a:lnTo>
                      <a:lnTo>
                        <a:pt x="683575" y="342091"/>
                      </a:lnTo>
                      <a:lnTo>
                        <a:pt x="684692" y="341520"/>
                      </a:lnTo>
                      <a:lnTo>
                        <a:pt x="688990" y="339565"/>
                      </a:lnTo>
                      <a:lnTo>
                        <a:pt x="692439" y="338472"/>
                      </a:lnTo>
                      <a:lnTo>
                        <a:pt x="696956" y="339079"/>
                      </a:lnTo>
                      <a:lnTo>
                        <a:pt x="699955" y="341071"/>
                      </a:lnTo>
                      <a:lnTo>
                        <a:pt x="700890" y="344859"/>
                      </a:lnTo>
                      <a:lnTo>
                        <a:pt x="699652" y="347664"/>
                      </a:lnTo>
                      <a:lnTo>
                        <a:pt x="698098" y="350445"/>
                      </a:lnTo>
                      <a:lnTo>
                        <a:pt x="696823" y="353116"/>
                      </a:lnTo>
                      <a:lnTo>
                        <a:pt x="696143" y="355764"/>
                      </a:lnTo>
                      <a:lnTo>
                        <a:pt x="696373" y="358739"/>
                      </a:lnTo>
                      <a:lnTo>
                        <a:pt x="697005" y="361738"/>
                      </a:lnTo>
                      <a:lnTo>
                        <a:pt x="698073" y="365259"/>
                      </a:lnTo>
                      <a:lnTo>
                        <a:pt x="699324" y="367943"/>
                      </a:lnTo>
                      <a:lnTo>
                        <a:pt x="702761" y="373990"/>
                      </a:lnTo>
                      <a:lnTo>
                        <a:pt x="703950" y="377791"/>
                      </a:lnTo>
                      <a:lnTo>
                        <a:pt x="705274" y="402368"/>
                      </a:lnTo>
                      <a:lnTo>
                        <a:pt x="707739" y="407845"/>
                      </a:lnTo>
                      <a:lnTo>
                        <a:pt x="709973" y="410966"/>
                      </a:lnTo>
                      <a:lnTo>
                        <a:pt x="711394" y="411816"/>
                      </a:lnTo>
                      <a:lnTo>
                        <a:pt x="712766" y="411900"/>
                      </a:lnTo>
                      <a:lnTo>
                        <a:pt x="714527" y="411050"/>
                      </a:lnTo>
                      <a:lnTo>
                        <a:pt x="718716" y="407930"/>
                      </a:lnTo>
                      <a:lnTo>
                        <a:pt x="724023" y="405343"/>
                      </a:lnTo>
                      <a:lnTo>
                        <a:pt x="728661" y="402077"/>
                      </a:lnTo>
                      <a:lnTo>
                        <a:pt x="731187" y="400644"/>
                      </a:lnTo>
                      <a:lnTo>
                        <a:pt x="734053" y="400025"/>
                      </a:lnTo>
                      <a:lnTo>
                        <a:pt x="736834" y="400340"/>
                      </a:lnTo>
                      <a:lnTo>
                        <a:pt x="739602" y="401530"/>
                      </a:lnTo>
                      <a:lnTo>
                        <a:pt x="744641" y="404542"/>
                      </a:lnTo>
                      <a:lnTo>
                        <a:pt x="747726" y="405841"/>
                      </a:lnTo>
                      <a:lnTo>
                        <a:pt x="751599" y="406655"/>
                      </a:lnTo>
                      <a:lnTo>
                        <a:pt x="756493" y="406558"/>
                      </a:lnTo>
                      <a:lnTo>
                        <a:pt x="764544" y="405610"/>
                      </a:lnTo>
                      <a:lnTo>
                        <a:pt x="779006" y="406011"/>
                      </a:lnTo>
                      <a:lnTo>
                        <a:pt x="790008" y="408403"/>
                      </a:lnTo>
                      <a:lnTo>
                        <a:pt x="792497" y="409399"/>
                      </a:lnTo>
                      <a:lnTo>
                        <a:pt x="794342" y="409860"/>
                      </a:lnTo>
                      <a:lnTo>
                        <a:pt x="795059" y="409314"/>
                      </a:lnTo>
                      <a:lnTo>
                        <a:pt x="795217" y="408634"/>
                      </a:lnTo>
                      <a:lnTo>
                        <a:pt x="796164" y="405841"/>
                      </a:lnTo>
                      <a:lnTo>
                        <a:pt x="798022" y="403000"/>
                      </a:lnTo>
                      <a:lnTo>
                        <a:pt x="801106" y="402210"/>
                      </a:lnTo>
                      <a:lnTo>
                        <a:pt x="803972" y="402842"/>
                      </a:lnTo>
                      <a:lnTo>
                        <a:pt x="811209" y="407104"/>
                      </a:lnTo>
                      <a:lnTo>
                        <a:pt x="813577" y="407772"/>
                      </a:lnTo>
                      <a:lnTo>
                        <a:pt x="817790" y="405501"/>
                      </a:lnTo>
                      <a:lnTo>
                        <a:pt x="820207" y="402757"/>
                      </a:lnTo>
                      <a:lnTo>
                        <a:pt x="823753" y="399818"/>
                      </a:lnTo>
                      <a:lnTo>
                        <a:pt x="827104" y="397863"/>
                      </a:lnTo>
                      <a:lnTo>
                        <a:pt x="834718" y="396673"/>
                      </a:lnTo>
                      <a:lnTo>
                        <a:pt x="836454" y="395775"/>
                      </a:lnTo>
                      <a:lnTo>
                        <a:pt x="837766" y="394063"/>
                      </a:lnTo>
                      <a:lnTo>
                        <a:pt x="839029" y="392205"/>
                      </a:lnTo>
                      <a:lnTo>
                        <a:pt x="840898" y="390420"/>
                      </a:lnTo>
                      <a:lnTo>
                        <a:pt x="843594" y="387967"/>
                      </a:lnTo>
                      <a:lnTo>
                        <a:pt x="845513" y="391063"/>
                      </a:lnTo>
                      <a:lnTo>
                        <a:pt x="846897" y="393067"/>
                      </a:lnTo>
                      <a:lnTo>
                        <a:pt x="848500" y="393856"/>
                      </a:lnTo>
                      <a:lnTo>
                        <a:pt x="850443" y="396151"/>
                      </a:lnTo>
                      <a:lnTo>
                        <a:pt x="851694" y="398495"/>
                      </a:lnTo>
                      <a:lnTo>
                        <a:pt x="852276" y="400936"/>
                      </a:lnTo>
                      <a:lnTo>
                        <a:pt x="852592" y="402708"/>
                      </a:lnTo>
                      <a:lnTo>
                        <a:pt x="849969" y="404846"/>
                      </a:lnTo>
                      <a:lnTo>
                        <a:pt x="849435" y="405696"/>
                      </a:lnTo>
                      <a:lnTo>
                        <a:pt x="848658" y="406728"/>
                      </a:lnTo>
                      <a:lnTo>
                        <a:pt x="845076" y="407128"/>
                      </a:lnTo>
                      <a:lnTo>
                        <a:pt x="842574" y="409909"/>
                      </a:lnTo>
                      <a:lnTo>
                        <a:pt x="838907" y="408986"/>
                      </a:lnTo>
                      <a:lnTo>
                        <a:pt x="837948" y="409241"/>
                      </a:lnTo>
                      <a:lnTo>
                        <a:pt x="837729" y="409606"/>
                      </a:lnTo>
                      <a:lnTo>
                        <a:pt x="835252" y="411475"/>
                      </a:lnTo>
                      <a:lnTo>
                        <a:pt x="834997" y="411743"/>
                      </a:lnTo>
                      <a:lnTo>
                        <a:pt x="834086" y="414098"/>
                      </a:lnTo>
                      <a:lnTo>
                        <a:pt x="832520" y="416454"/>
                      </a:lnTo>
                      <a:lnTo>
                        <a:pt x="830674" y="418020"/>
                      </a:lnTo>
                      <a:lnTo>
                        <a:pt x="828064" y="419174"/>
                      </a:lnTo>
                      <a:lnTo>
                        <a:pt x="823073" y="419635"/>
                      </a:lnTo>
                      <a:lnTo>
                        <a:pt x="820778" y="419648"/>
                      </a:lnTo>
                      <a:lnTo>
                        <a:pt x="819041" y="419939"/>
                      </a:lnTo>
                      <a:lnTo>
                        <a:pt x="817876" y="421991"/>
                      </a:lnTo>
                      <a:lnTo>
                        <a:pt x="816843" y="423024"/>
                      </a:lnTo>
                      <a:lnTo>
                        <a:pt x="810954" y="426083"/>
                      </a:lnTo>
                      <a:lnTo>
                        <a:pt x="810626" y="426508"/>
                      </a:lnTo>
                      <a:lnTo>
                        <a:pt x="810638" y="427007"/>
                      </a:lnTo>
                      <a:lnTo>
                        <a:pt x="810760" y="427371"/>
                      </a:lnTo>
                      <a:lnTo>
                        <a:pt x="810565" y="429022"/>
                      </a:lnTo>
                      <a:lnTo>
                        <a:pt x="810578" y="432301"/>
                      </a:lnTo>
                      <a:lnTo>
                        <a:pt x="809958" y="433563"/>
                      </a:lnTo>
                      <a:lnTo>
                        <a:pt x="808914" y="434984"/>
                      </a:lnTo>
                      <a:lnTo>
                        <a:pt x="807372" y="436199"/>
                      </a:lnTo>
                      <a:lnTo>
                        <a:pt x="805648" y="439999"/>
                      </a:lnTo>
                      <a:lnTo>
                        <a:pt x="805113" y="441432"/>
                      </a:lnTo>
                      <a:lnTo>
                        <a:pt x="803243" y="444298"/>
                      </a:lnTo>
                      <a:lnTo>
                        <a:pt x="799685" y="447297"/>
                      </a:lnTo>
                      <a:lnTo>
                        <a:pt x="798896" y="448475"/>
                      </a:lnTo>
                      <a:lnTo>
                        <a:pt x="798945" y="448815"/>
                      </a:lnTo>
                      <a:lnTo>
                        <a:pt x="798690" y="449556"/>
                      </a:lnTo>
                      <a:lnTo>
                        <a:pt x="801410" y="451972"/>
                      </a:lnTo>
                      <a:lnTo>
                        <a:pt x="801798" y="454134"/>
                      </a:lnTo>
                      <a:lnTo>
                        <a:pt x="801725" y="454801"/>
                      </a:lnTo>
                      <a:lnTo>
                        <a:pt x="801313" y="455931"/>
                      </a:lnTo>
                      <a:lnTo>
                        <a:pt x="800378" y="457364"/>
                      </a:lnTo>
                      <a:lnTo>
                        <a:pt x="799151" y="458748"/>
                      </a:lnTo>
                      <a:lnTo>
                        <a:pt x="798641" y="459780"/>
                      </a:lnTo>
                      <a:lnTo>
                        <a:pt x="797002" y="462026"/>
                      </a:lnTo>
                      <a:lnTo>
                        <a:pt x="797123" y="462451"/>
                      </a:lnTo>
                      <a:lnTo>
                        <a:pt x="796929" y="465997"/>
                      </a:lnTo>
                      <a:lnTo>
                        <a:pt x="797172" y="466957"/>
                      </a:lnTo>
                      <a:lnTo>
                        <a:pt x="796965" y="469968"/>
                      </a:lnTo>
                      <a:lnTo>
                        <a:pt x="795945" y="473150"/>
                      </a:lnTo>
                      <a:lnTo>
                        <a:pt x="796164" y="474230"/>
                      </a:lnTo>
                      <a:lnTo>
                        <a:pt x="796382" y="474862"/>
                      </a:lnTo>
                      <a:lnTo>
                        <a:pt x="796540" y="475712"/>
                      </a:lnTo>
                      <a:lnTo>
                        <a:pt x="796382" y="477242"/>
                      </a:lnTo>
                      <a:lnTo>
                        <a:pt x="795970" y="478529"/>
                      </a:lnTo>
                      <a:lnTo>
                        <a:pt x="793432" y="482512"/>
                      </a:lnTo>
                      <a:lnTo>
                        <a:pt x="791513" y="485062"/>
                      </a:lnTo>
                      <a:lnTo>
                        <a:pt x="788380" y="488134"/>
                      </a:lnTo>
                      <a:lnTo>
                        <a:pt x="786741" y="490514"/>
                      </a:lnTo>
                      <a:lnTo>
                        <a:pt x="786037" y="491898"/>
                      </a:lnTo>
                      <a:lnTo>
                        <a:pt x="783863" y="494072"/>
                      </a:lnTo>
                      <a:lnTo>
                        <a:pt x="783256" y="494606"/>
                      </a:lnTo>
                      <a:lnTo>
                        <a:pt x="781617" y="494934"/>
                      </a:lnTo>
                      <a:lnTo>
                        <a:pt x="780925" y="496355"/>
                      </a:lnTo>
                      <a:lnTo>
                        <a:pt x="778642" y="497362"/>
                      </a:lnTo>
                      <a:lnTo>
                        <a:pt x="776930" y="497423"/>
                      </a:lnTo>
                      <a:lnTo>
                        <a:pt x="773020" y="498747"/>
                      </a:lnTo>
                      <a:lnTo>
                        <a:pt x="771040" y="498358"/>
                      </a:lnTo>
                      <a:lnTo>
                        <a:pt x="769972" y="498225"/>
                      </a:lnTo>
                      <a:lnTo>
                        <a:pt x="767713" y="497411"/>
                      </a:lnTo>
                      <a:lnTo>
                        <a:pt x="764689" y="495602"/>
                      </a:lnTo>
                      <a:lnTo>
                        <a:pt x="762067" y="492967"/>
                      </a:lnTo>
                      <a:lnTo>
                        <a:pt x="761496" y="493635"/>
                      </a:lnTo>
                      <a:lnTo>
                        <a:pt x="759759" y="496367"/>
                      </a:lnTo>
                      <a:lnTo>
                        <a:pt x="759589" y="497132"/>
                      </a:lnTo>
                      <a:lnTo>
                        <a:pt x="757428" y="500629"/>
                      </a:lnTo>
                      <a:lnTo>
                        <a:pt x="755825" y="502475"/>
                      </a:lnTo>
                      <a:lnTo>
                        <a:pt x="751308" y="505729"/>
                      </a:lnTo>
                      <a:lnTo>
                        <a:pt x="749839" y="505207"/>
                      </a:lnTo>
                      <a:lnTo>
                        <a:pt x="744629" y="504831"/>
                      </a:lnTo>
                      <a:lnTo>
                        <a:pt x="742031" y="505049"/>
                      </a:lnTo>
                      <a:lnTo>
                        <a:pt x="737161" y="504187"/>
                      </a:lnTo>
                      <a:lnTo>
                        <a:pt x="736955" y="504636"/>
                      </a:lnTo>
                      <a:lnTo>
                        <a:pt x="735947" y="506227"/>
                      </a:lnTo>
                      <a:lnTo>
                        <a:pt x="735814" y="507283"/>
                      </a:lnTo>
                      <a:lnTo>
                        <a:pt x="735886" y="511849"/>
                      </a:lnTo>
                      <a:lnTo>
                        <a:pt x="736202" y="512432"/>
                      </a:lnTo>
                      <a:lnTo>
                        <a:pt x="736761" y="512796"/>
                      </a:lnTo>
                      <a:lnTo>
                        <a:pt x="738922" y="514958"/>
                      </a:lnTo>
                      <a:lnTo>
                        <a:pt x="734454" y="519414"/>
                      </a:lnTo>
                      <a:lnTo>
                        <a:pt x="733992" y="520580"/>
                      </a:lnTo>
                      <a:lnTo>
                        <a:pt x="733191" y="522098"/>
                      </a:lnTo>
                      <a:lnTo>
                        <a:pt x="728321" y="522353"/>
                      </a:lnTo>
                      <a:lnTo>
                        <a:pt x="723804" y="523616"/>
                      </a:lnTo>
                      <a:lnTo>
                        <a:pt x="717696" y="525668"/>
                      </a:lnTo>
                      <a:lnTo>
                        <a:pt x="712220" y="528084"/>
                      </a:lnTo>
                      <a:lnTo>
                        <a:pt x="710884" y="527125"/>
                      </a:lnTo>
                      <a:lnTo>
                        <a:pt x="709791" y="528133"/>
                      </a:lnTo>
                      <a:lnTo>
                        <a:pt x="707290" y="530865"/>
                      </a:lnTo>
                      <a:lnTo>
                        <a:pt x="702335" y="531448"/>
                      </a:lnTo>
                      <a:lnTo>
                        <a:pt x="699992" y="532359"/>
                      </a:lnTo>
                      <a:lnTo>
                        <a:pt x="698328" y="532456"/>
                      </a:lnTo>
                      <a:lnTo>
                        <a:pt x="693860" y="531351"/>
                      </a:lnTo>
                      <a:lnTo>
                        <a:pt x="691686" y="530561"/>
                      </a:lnTo>
                      <a:lnTo>
                        <a:pt x="689561" y="529274"/>
                      </a:lnTo>
                      <a:lnTo>
                        <a:pt x="687618" y="527683"/>
                      </a:lnTo>
                      <a:lnTo>
                        <a:pt x="687120" y="527428"/>
                      </a:lnTo>
                      <a:lnTo>
                        <a:pt x="686610" y="527380"/>
                      </a:lnTo>
                      <a:lnTo>
                        <a:pt x="686610" y="528157"/>
                      </a:lnTo>
                      <a:lnTo>
                        <a:pt x="687497" y="529323"/>
                      </a:lnTo>
                      <a:lnTo>
                        <a:pt x="687764" y="529966"/>
                      </a:lnTo>
                      <a:lnTo>
                        <a:pt x="688043" y="531436"/>
                      </a:lnTo>
                      <a:lnTo>
                        <a:pt x="687946" y="533148"/>
                      </a:lnTo>
                      <a:lnTo>
                        <a:pt x="687618" y="534520"/>
                      </a:lnTo>
                      <a:lnTo>
                        <a:pt x="688007" y="536961"/>
                      </a:lnTo>
                      <a:lnTo>
                        <a:pt x="686282" y="538551"/>
                      </a:lnTo>
                      <a:lnTo>
                        <a:pt x="684874" y="539414"/>
                      </a:lnTo>
                      <a:lnTo>
                        <a:pt x="683138" y="539814"/>
                      </a:lnTo>
                      <a:lnTo>
                        <a:pt x="681644" y="539863"/>
                      </a:lnTo>
                      <a:lnTo>
                        <a:pt x="680126" y="539814"/>
                      </a:lnTo>
                      <a:lnTo>
                        <a:pt x="679288" y="539559"/>
                      </a:lnTo>
                      <a:lnTo>
                        <a:pt x="679155" y="540409"/>
                      </a:lnTo>
                      <a:lnTo>
                        <a:pt x="678147" y="542631"/>
                      </a:lnTo>
                      <a:lnTo>
                        <a:pt x="677746" y="543008"/>
                      </a:lnTo>
                      <a:lnTo>
                        <a:pt x="678827" y="544890"/>
                      </a:lnTo>
                      <a:lnTo>
                        <a:pt x="678293" y="547913"/>
                      </a:lnTo>
                      <a:lnTo>
                        <a:pt x="678293" y="548557"/>
                      </a:lnTo>
                      <a:lnTo>
                        <a:pt x="678074" y="549444"/>
                      </a:lnTo>
                      <a:lnTo>
                        <a:pt x="677321" y="551144"/>
                      </a:lnTo>
                      <a:lnTo>
                        <a:pt x="677807" y="554811"/>
                      </a:lnTo>
                      <a:lnTo>
                        <a:pt x="676253" y="557288"/>
                      </a:lnTo>
                      <a:lnTo>
                        <a:pt x="675245" y="558296"/>
                      </a:lnTo>
                      <a:lnTo>
                        <a:pt x="674480" y="559376"/>
                      </a:lnTo>
                      <a:lnTo>
                        <a:pt x="671213" y="561550"/>
                      </a:lnTo>
                      <a:lnTo>
                        <a:pt x="668274" y="563262"/>
                      </a:lnTo>
                      <a:lnTo>
                        <a:pt x="666611" y="559486"/>
                      </a:lnTo>
                      <a:lnTo>
                        <a:pt x="666514" y="559389"/>
                      </a:lnTo>
                      <a:lnTo>
                        <a:pt x="663502" y="558672"/>
                      </a:lnTo>
                      <a:lnTo>
                        <a:pt x="661292" y="558599"/>
                      </a:lnTo>
                      <a:lnTo>
                        <a:pt x="659240" y="557288"/>
                      </a:lnTo>
                      <a:lnTo>
                        <a:pt x="656957" y="557239"/>
                      </a:lnTo>
                      <a:lnTo>
                        <a:pt x="652926" y="556232"/>
                      </a:lnTo>
                      <a:lnTo>
                        <a:pt x="648494" y="554216"/>
                      </a:lnTo>
                      <a:lnTo>
                        <a:pt x="647170" y="554337"/>
                      </a:lnTo>
                      <a:lnTo>
                        <a:pt x="643369" y="553742"/>
                      </a:lnTo>
                      <a:lnTo>
                        <a:pt x="642871" y="554228"/>
                      </a:lnTo>
                      <a:lnTo>
                        <a:pt x="641779" y="554786"/>
                      </a:lnTo>
                      <a:lnTo>
                        <a:pt x="639496" y="555345"/>
                      </a:lnTo>
                      <a:lnTo>
                        <a:pt x="638791" y="555734"/>
                      </a:lnTo>
                      <a:lnTo>
                        <a:pt x="636084" y="556377"/>
                      </a:lnTo>
                      <a:lnTo>
                        <a:pt x="632647" y="556268"/>
                      </a:lnTo>
                      <a:lnTo>
                        <a:pt x="628591" y="553548"/>
                      </a:lnTo>
                      <a:lnTo>
                        <a:pt x="630279" y="550464"/>
                      </a:lnTo>
                      <a:lnTo>
                        <a:pt x="630279" y="548582"/>
                      </a:lnTo>
                      <a:lnTo>
                        <a:pt x="631311" y="547744"/>
                      </a:lnTo>
                      <a:lnTo>
                        <a:pt x="626794" y="545728"/>
                      </a:lnTo>
                      <a:lnTo>
                        <a:pt x="627365" y="544635"/>
                      </a:lnTo>
                      <a:lnTo>
                        <a:pt x="626394" y="544781"/>
                      </a:lnTo>
                      <a:lnTo>
                        <a:pt x="624026" y="543567"/>
                      </a:lnTo>
                      <a:lnTo>
                        <a:pt x="620116" y="540749"/>
                      </a:lnTo>
                      <a:lnTo>
                        <a:pt x="618695" y="542656"/>
                      </a:lnTo>
                      <a:lnTo>
                        <a:pt x="616109" y="543688"/>
                      </a:lnTo>
                      <a:lnTo>
                        <a:pt x="615611" y="543724"/>
                      </a:lnTo>
                      <a:lnTo>
                        <a:pt x="615174" y="544174"/>
                      </a:lnTo>
                      <a:lnTo>
                        <a:pt x="612708" y="545716"/>
                      </a:lnTo>
                      <a:lnTo>
                        <a:pt x="610535" y="546396"/>
                      </a:lnTo>
                      <a:lnTo>
                        <a:pt x="609406" y="546335"/>
                      </a:lnTo>
                      <a:lnTo>
                        <a:pt x="608920" y="547391"/>
                      </a:lnTo>
                      <a:lnTo>
                        <a:pt x="607936" y="548873"/>
                      </a:lnTo>
                      <a:lnTo>
                        <a:pt x="607730" y="551277"/>
                      </a:lnTo>
                      <a:lnTo>
                        <a:pt x="607754" y="553074"/>
                      </a:lnTo>
                      <a:lnTo>
                        <a:pt x="607123" y="555296"/>
                      </a:lnTo>
                      <a:lnTo>
                        <a:pt x="604403" y="558782"/>
                      </a:lnTo>
                      <a:lnTo>
                        <a:pt x="602666" y="559559"/>
                      </a:lnTo>
                      <a:lnTo>
                        <a:pt x="601063" y="559741"/>
                      </a:lnTo>
                      <a:lnTo>
                        <a:pt x="599546" y="564464"/>
                      </a:lnTo>
                      <a:lnTo>
                        <a:pt x="594057" y="562582"/>
                      </a:lnTo>
                      <a:lnTo>
                        <a:pt x="590888" y="561744"/>
                      </a:lnTo>
                      <a:lnTo>
                        <a:pt x="589977" y="560457"/>
                      </a:lnTo>
                      <a:lnTo>
                        <a:pt x="589637" y="563165"/>
                      </a:lnTo>
                      <a:lnTo>
                        <a:pt x="588920" y="565314"/>
                      </a:lnTo>
                      <a:lnTo>
                        <a:pt x="586625" y="566759"/>
                      </a:lnTo>
                      <a:lnTo>
                        <a:pt x="586455" y="566820"/>
                      </a:lnTo>
                      <a:lnTo>
                        <a:pt x="586334" y="567695"/>
                      </a:lnTo>
                      <a:lnTo>
                        <a:pt x="586127" y="568095"/>
                      </a:lnTo>
                      <a:lnTo>
                        <a:pt x="589479" y="569273"/>
                      </a:lnTo>
                      <a:lnTo>
                        <a:pt x="591786" y="569649"/>
                      </a:lnTo>
                      <a:lnTo>
                        <a:pt x="597809" y="571580"/>
                      </a:lnTo>
                      <a:lnTo>
                        <a:pt x="600493" y="573171"/>
                      </a:lnTo>
                      <a:lnTo>
                        <a:pt x="602411" y="574737"/>
                      </a:lnTo>
                      <a:lnTo>
                        <a:pt x="604099" y="570026"/>
                      </a:lnTo>
                      <a:lnTo>
                        <a:pt x="610328" y="572017"/>
                      </a:lnTo>
                      <a:lnTo>
                        <a:pt x="610620" y="572175"/>
                      </a:lnTo>
                      <a:lnTo>
                        <a:pt x="612794" y="569370"/>
                      </a:lnTo>
                      <a:lnTo>
                        <a:pt x="621488" y="574944"/>
                      </a:lnTo>
                      <a:lnTo>
                        <a:pt x="625276" y="575017"/>
                      </a:lnTo>
                      <a:lnTo>
                        <a:pt x="627098" y="578878"/>
                      </a:lnTo>
                      <a:lnTo>
                        <a:pt x="627559" y="580833"/>
                      </a:lnTo>
                      <a:lnTo>
                        <a:pt x="627207" y="582509"/>
                      </a:lnTo>
                      <a:lnTo>
                        <a:pt x="626151" y="584099"/>
                      </a:lnTo>
                      <a:lnTo>
                        <a:pt x="626527" y="584658"/>
                      </a:lnTo>
                      <a:lnTo>
                        <a:pt x="626661" y="585411"/>
                      </a:lnTo>
                      <a:lnTo>
                        <a:pt x="626976" y="590887"/>
                      </a:lnTo>
                      <a:lnTo>
                        <a:pt x="622751" y="591264"/>
                      </a:lnTo>
                      <a:lnTo>
                        <a:pt x="622726" y="592745"/>
                      </a:lnTo>
                      <a:lnTo>
                        <a:pt x="622544" y="594433"/>
                      </a:lnTo>
                      <a:lnTo>
                        <a:pt x="622204" y="595975"/>
                      </a:lnTo>
                      <a:lnTo>
                        <a:pt x="621803" y="596655"/>
                      </a:lnTo>
                      <a:lnTo>
                        <a:pt x="622241" y="596874"/>
                      </a:lnTo>
                      <a:lnTo>
                        <a:pt x="622738" y="597372"/>
                      </a:lnTo>
                      <a:lnTo>
                        <a:pt x="625422" y="598453"/>
                      </a:lnTo>
                      <a:lnTo>
                        <a:pt x="627389" y="600711"/>
                      </a:lnTo>
                      <a:lnTo>
                        <a:pt x="628373" y="602083"/>
                      </a:lnTo>
                      <a:lnTo>
                        <a:pt x="628810" y="602168"/>
                      </a:lnTo>
                      <a:lnTo>
                        <a:pt x="633327" y="605386"/>
                      </a:lnTo>
                      <a:lnTo>
                        <a:pt x="626976" y="607960"/>
                      </a:lnTo>
                      <a:lnTo>
                        <a:pt x="622508" y="610316"/>
                      </a:lnTo>
                      <a:lnTo>
                        <a:pt x="620383" y="612963"/>
                      </a:lnTo>
                      <a:lnTo>
                        <a:pt x="615368" y="611421"/>
                      </a:lnTo>
                      <a:lnTo>
                        <a:pt x="612745" y="611081"/>
                      </a:lnTo>
                      <a:lnTo>
                        <a:pt x="611276" y="611336"/>
                      </a:lnTo>
                      <a:lnTo>
                        <a:pt x="609126" y="611081"/>
                      </a:lnTo>
                      <a:lnTo>
                        <a:pt x="603917" y="609612"/>
                      </a:lnTo>
                      <a:lnTo>
                        <a:pt x="602448" y="607948"/>
                      </a:lnTo>
                      <a:lnTo>
                        <a:pt x="600978" y="607353"/>
                      </a:lnTo>
                      <a:lnTo>
                        <a:pt x="599096" y="607232"/>
                      </a:lnTo>
                      <a:lnTo>
                        <a:pt x="596643" y="606941"/>
                      </a:lnTo>
                      <a:lnTo>
                        <a:pt x="596182" y="601452"/>
                      </a:lnTo>
                      <a:lnTo>
                        <a:pt x="595866" y="601282"/>
                      </a:lnTo>
                      <a:lnTo>
                        <a:pt x="591592" y="599728"/>
                      </a:lnTo>
                      <a:lnTo>
                        <a:pt x="591628" y="599400"/>
                      </a:lnTo>
                      <a:lnTo>
                        <a:pt x="590548" y="599145"/>
                      </a:lnTo>
                      <a:lnTo>
                        <a:pt x="590511" y="598938"/>
                      </a:lnTo>
                      <a:lnTo>
                        <a:pt x="589710" y="599994"/>
                      </a:lnTo>
                      <a:lnTo>
                        <a:pt x="587706" y="600772"/>
                      </a:lnTo>
                      <a:lnTo>
                        <a:pt x="587548" y="601573"/>
                      </a:lnTo>
                      <a:lnTo>
                        <a:pt x="585763" y="603042"/>
                      </a:lnTo>
                      <a:lnTo>
                        <a:pt x="584148" y="603261"/>
                      </a:lnTo>
                      <a:lnTo>
                        <a:pt x="582169" y="603091"/>
                      </a:lnTo>
                      <a:lnTo>
                        <a:pt x="580967" y="601173"/>
                      </a:lnTo>
                      <a:lnTo>
                        <a:pt x="579923" y="598137"/>
                      </a:lnTo>
                      <a:lnTo>
                        <a:pt x="579206" y="594882"/>
                      </a:lnTo>
                      <a:lnTo>
                        <a:pt x="576267" y="594554"/>
                      </a:lnTo>
                      <a:lnTo>
                        <a:pt x="573147" y="594032"/>
                      </a:lnTo>
                      <a:lnTo>
                        <a:pt x="573632" y="591737"/>
                      </a:lnTo>
                      <a:lnTo>
                        <a:pt x="571058" y="591737"/>
                      </a:lnTo>
                      <a:lnTo>
                        <a:pt x="570815" y="588969"/>
                      </a:lnTo>
                      <a:lnTo>
                        <a:pt x="570402" y="587329"/>
                      </a:lnTo>
                      <a:lnTo>
                        <a:pt x="570172" y="586747"/>
                      </a:lnTo>
                      <a:lnTo>
                        <a:pt x="570245" y="584075"/>
                      </a:lnTo>
                      <a:lnTo>
                        <a:pt x="569686" y="580991"/>
                      </a:lnTo>
                      <a:lnTo>
                        <a:pt x="569164" y="580153"/>
                      </a:lnTo>
                      <a:lnTo>
                        <a:pt x="568071" y="576267"/>
                      </a:lnTo>
                      <a:lnTo>
                        <a:pt x="567525" y="572892"/>
                      </a:lnTo>
                      <a:lnTo>
                        <a:pt x="565570" y="569880"/>
                      </a:lnTo>
                      <a:lnTo>
                        <a:pt x="562048" y="565375"/>
                      </a:lnTo>
                      <a:lnTo>
                        <a:pt x="561781" y="565460"/>
                      </a:lnTo>
                      <a:lnTo>
                        <a:pt x="560142" y="566359"/>
                      </a:lnTo>
                      <a:lnTo>
                        <a:pt x="557397" y="566650"/>
                      </a:lnTo>
                      <a:lnTo>
                        <a:pt x="555382" y="565096"/>
                      </a:lnTo>
                      <a:lnTo>
                        <a:pt x="554070" y="563712"/>
                      </a:lnTo>
                      <a:lnTo>
                        <a:pt x="551399" y="565047"/>
                      </a:lnTo>
                      <a:lnTo>
                        <a:pt x="547574" y="561781"/>
                      </a:lnTo>
                      <a:lnTo>
                        <a:pt x="547610" y="561283"/>
                      </a:lnTo>
                      <a:lnTo>
                        <a:pt x="543615" y="565181"/>
                      </a:lnTo>
                      <a:lnTo>
                        <a:pt x="543275" y="566601"/>
                      </a:lnTo>
                      <a:lnTo>
                        <a:pt x="540701" y="569746"/>
                      </a:lnTo>
                      <a:lnTo>
                        <a:pt x="537944" y="569746"/>
                      </a:lnTo>
                      <a:lnTo>
                        <a:pt x="537107" y="569589"/>
                      </a:lnTo>
                      <a:lnTo>
                        <a:pt x="535795" y="570245"/>
                      </a:lnTo>
                      <a:lnTo>
                        <a:pt x="534532" y="570463"/>
                      </a:lnTo>
                      <a:lnTo>
                        <a:pt x="532942" y="570269"/>
                      </a:lnTo>
                      <a:lnTo>
                        <a:pt x="533027" y="570900"/>
                      </a:lnTo>
                      <a:lnTo>
                        <a:pt x="533099" y="574179"/>
                      </a:lnTo>
                      <a:lnTo>
                        <a:pt x="525085" y="573742"/>
                      </a:lnTo>
                      <a:lnTo>
                        <a:pt x="523907" y="577627"/>
                      </a:lnTo>
                      <a:lnTo>
                        <a:pt x="521843" y="579910"/>
                      </a:lnTo>
                      <a:lnTo>
                        <a:pt x="519742" y="581792"/>
                      </a:lnTo>
                      <a:lnTo>
                        <a:pt x="518491" y="583565"/>
                      </a:lnTo>
                      <a:lnTo>
                        <a:pt x="517605" y="585933"/>
                      </a:lnTo>
                      <a:lnTo>
                        <a:pt x="516257" y="588507"/>
                      </a:lnTo>
                      <a:lnTo>
                        <a:pt x="517556" y="589114"/>
                      </a:lnTo>
                      <a:lnTo>
                        <a:pt x="522681" y="589272"/>
                      </a:lnTo>
                      <a:lnTo>
                        <a:pt x="523458" y="591774"/>
                      </a:lnTo>
                      <a:lnTo>
                        <a:pt x="523737" y="593122"/>
                      </a:lnTo>
                      <a:lnTo>
                        <a:pt x="523737" y="594554"/>
                      </a:lnTo>
                      <a:lnTo>
                        <a:pt x="523980" y="594846"/>
                      </a:lnTo>
                      <a:lnTo>
                        <a:pt x="531181" y="598137"/>
                      </a:lnTo>
                      <a:lnTo>
                        <a:pt x="529189" y="602994"/>
                      </a:lnTo>
                      <a:lnTo>
                        <a:pt x="527914" y="606783"/>
                      </a:lnTo>
                      <a:lnTo>
                        <a:pt x="526518" y="609320"/>
                      </a:lnTo>
                      <a:lnTo>
                        <a:pt x="526178" y="613255"/>
                      </a:lnTo>
                      <a:lnTo>
                        <a:pt x="526056" y="614056"/>
                      </a:lnTo>
                      <a:lnTo>
                        <a:pt x="524733" y="615756"/>
                      </a:lnTo>
                      <a:lnTo>
                        <a:pt x="522207" y="617808"/>
                      </a:lnTo>
                      <a:lnTo>
                        <a:pt x="521054" y="619654"/>
                      </a:lnTo>
                      <a:lnTo>
                        <a:pt x="519572" y="621257"/>
                      </a:lnTo>
                      <a:lnTo>
                        <a:pt x="516294" y="623455"/>
                      </a:lnTo>
                      <a:lnTo>
                        <a:pt x="515237" y="624669"/>
                      </a:lnTo>
                      <a:lnTo>
                        <a:pt x="511849" y="630692"/>
                      </a:lnTo>
                      <a:lnTo>
                        <a:pt x="508753" y="634529"/>
                      </a:lnTo>
                      <a:lnTo>
                        <a:pt x="504515" y="637359"/>
                      </a:lnTo>
                      <a:lnTo>
                        <a:pt x="500289" y="637820"/>
                      </a:lnTo>
                      <a:lnTo>
                        <a:pt x="497338" y="637225"/>
                      </a:lnTo>
                      <a:lnTo>
                        <a:pt x="494230" y="635974"/>
                      </a:lnTo>
                      <a:lnTo>
                        <a:pt x="491668" y="633218"/>
                      </a:lnTo>
                      <a:lnTo>
                        <a:pt x="489130" y="627061"/>
                      </a:lnTo>
                      <a:lnTo>
                        <a:pt x="487964" y="625155"/>
                      </a:lnTo>
                      <a:lnTo>
                        <a:pt x="487648" y="624936"/>
                      </a:lnTo>
                      <a:lnTo>
                        <a:pt x="485523" y="625155"/>
                      </a:lnTo>
                      <a:lnTo>
                        <a:pt x="482548" y="626005"/>
                      </a:lnTo>
                      <a:lnTo>
                        <a:pt x="477400" y="626430"/>
                      </a:lnTo>
                      <a:lnTo>
                        <a:pt x="471753" y="619035"/>
                      </a:lnTo>
                      <a:lnTo>
                        <a:pt x="470648" y="619265"/>
                      </a:lnTo>
                      <a:lnTo>
                        <a:pt x="469810" y="619836"/>
                      </a:lnTo>
                      <a:lnTo>
                        <a:pt x="466568" y="624208"/>
                      </a:lnTo>
                      <a:lnTo>
                        <a:pt x="463800" y="625568"/>
                      </a:lnTo>
                      <a:lnTo>
                        <a:pt x="455239" y="626320"/>
                      </a:lnTo>
                      <a:lnTo>
                        <a:pt x="453600" y="627268"/>
                      </a:lnTo>
                      <a:lnTo>
                        <a:pt x="451827" y="628810"/>
                      </a:lnTo>
                      <a:lnTo>
                        <a:pt x="451147" y="630316"/>
                      </a:lnTo>
                      <a:lnTo>
                        <a:pt x="450345" y="631639"/>
                      </a:lnTo>
                      <a:lnTo>
                        <a:pt x="446035" y="631991"/>
                      </a:lnTo>
                      <a:lnTo>
                        <a:pt x="442052" y="631214"/>
                      </a:lnTo>
                      <a:lnTo>
                        <a:pt x="440886" y="631372"/>
                      </a:lnTo>
                      <a:lnTo>
                        <a:pt x="438858" y="633109"/>
                      </a:lnTo>
                      <a:lnTo>
                        <a:pt x="436478" y="634796"/>
                      </a:lnTo>
                      <a:lnTo>
                        <a:pt x="434171" y="636047"/>
                      </a:lnTo>
                      <a:lnTo>
                        <a:pt x="432022" y="636861"/>
                      </a:lnTo>
                      <a:lnTo>
                        <a:pt x="428269" y="637614"/>
                      </a:lnTo>
                      <a:lnTo>
                        <a:pt x="422890" y="637213"/>
                      </a:lnTo>
                      <a:lnTo>
                        <a:pt x="421056" y="637759"/>
                      </a:lnTo>
                      <a:lnTo>
                        <a:pt x="416576" y="639836"/>
                      </a:lnTo>
                      <a:lnTo>
                        <a:pt x="413989" y="641171"/>
                      </a:lnTo>
                      <a:lnTo>
                        <a:pt x="413042" y="643126"/>
                      </a:lnTo>
                      <a:lnTo>
                        <a:pt x="410711" y="645579"/>
                      </a:lnTo>
                      <a:lnTo>
                        <a:pt x="408319" y="646782"/>
                      </a:lnTo>
                      <a:lnTo>
                        <a:pt x="403048" y="647437"/>
                      </a:lnTo>
                      <a:lnTo>
                        <a:pt x="392132" y="647619"/>
                      </a:lnTo>
                      <a:lnTo>
                        <a:pt x="390056" y="647777"/>
                      </a:lnTo>
                      <a:lnTo>
                        <a:pt x="387931" y="648263"/>
                      </a:lnTo>
                      <a:lnTo>
                        <a:pt x="383644" y="649768"/>
                      </a:lnTo>
                      <a:lnTo>
                        <a:pt x="380778" y="650291"/>
                      </a:lnTo>
                      <a:lnTo>
                        <a:pt x="379576" y="650594"/>
                      </a:lnTo>
                      <a:lnTo>
                        <a:pt x="378860" y="652646"/>
                      </a:lnTo>
                      <a:lnTo>
                        <a:pt x="373140" y="657929"/>
                      </a:lnTo>
                      <a:lnTo>
                        <a:pt x="372448" y="659507"/>
                      </a:lnTo>
                      <a:lnTo>
                        <a:pt x="372460" y="660454"/>
                      </a:lnTo>
                      <a:lnTo>
                        <a:pt x="373274" y="661742"/>
                      </a:lnTo>
                      <a:lnTo>
                        <a:pt x="374331" y="664401"/>
                      </a:lnTo>
                      <a:lnTo>
                        <a:pt x="374719" y="667510"/>
                      </a:lnTo>
                      <a:lnTo>
                        <a:pt x="374901" y="669428"/>
                      </a:lnTo>
                      <a:lnTo>
                        <a:pt x="372157" y="671031"/>
                      </a:lnTo>
                      <a:lnTo>
                        <a:pt x="371246" y="672950"/>
                      </a:lnTo>
                      <a:lnTo>
                        <a:pt x="370700" y="676495"/>
                      </a:lnTo>
                      <a:lnTo>
                        <a:pt x="370287" y="680514"/>
                      </a:lnTo>
                      <a:lnTo>
                        <a:pt x="370408" y="683830"/>
                      </a:lnTo>
                      <a:lnTo>
                        <a:pt x="370238" y="685141"/>
                      </a:lnTo>
                      <a:lnTo>
                        <a:pt x="371926" y="686950"/>
                      </a:lnTo>
                      <a:lnTo>
                        <a:pt x="373019" y="690144"/>
                      </a:lnTo>
                      <a:lnTo>
                        <a:pt x="373505" y="697952"/>
                      </a:lnTo>
                      <a:lnTo>
                        <a:pt x="372557" y="708686"/>
                      </a:lnTo>
                      <a:lnTo>
                        <a:pt x="370979" y="711321"/>
                      </a:lnTo>
                      <a:lnTo>
                        <a:pt x="368283" y="713786"/>
                      </a:lnTo>
                      <a:lnTo>
                        <a:pt x="364835" y="715693"/>
                      </a:lnTo>
                      <a:lnTo>
                        <a:pt x="360718" y="717223"/>
                      </a:lnTo>
                      <a:lnTo>
                        <a:pt x="357257" y="716409"/>
                      </a:lnTo>
                      <a:lnTo>
                        <a:pt x="354707" y="715462"/>
                      </a:lnTo>
                      <a:lnTo>
                        <a:pt x="352716" y="714442"/>
                      </a:lnTo>
                      <a:lnTo>
                        <a:pt x="351198" y="713240"/>
                      </a:lnTo>
                      <a:lnTo>
                        <a:pt x="350057" y="713070"/>
                      </a:lnTo>
                      <a:lnTo>
                        <a:pt x="340379" y="713057"/>
                      </a:lnTo>
                      <a:lnTo>
                        <a:pt x="336809" y="712110"/>
                      </a:lnTo>
                      <a:lnTo>
                        <a:pt x="334841" y="711661"/>
                      </a:lnTo>
                      <a:lnTo>
                        <a:pt x="333129" y="711552"/>
                      </a:lnTo>
                      <a:lnTo>
                        <a:pt x="331818" y="711855"/>
                      </a:lnTo>
                      <a:lnTo>
                        <a:pt x="330531" y="712414"/>
                      </a:lnTo>
                      <a:lnTo>
                        <a:pt x="327896" y="714381"/>
                      </a:lnTo>
                      <a:lnTo>
                        <a:pt x="324617" y="715717"/>
                      </a:lnTo>
                      <a:lnTo>
                        <a:pt x="320889" y="716943"/>
                      </a:lnTo>
                      <a:lnTo>
                        <a:pt x="317732" y="718242"/>
                      </a:lnTo>
                      <a:lnTo>
                        <a:pt x="315061" y="719578"/>
                      </a:lnTo>
                      <a:lnTo>
                        <a:pt x="313033" y="720902"/>
                      </a:lnTo>
                      <a:lnTo>
                        <a:pt x="312875" y="721497"/>
                      </a:lnTo>
                      <a:lnTo>
                        <a:pt x="312948" y="723246"/>
                      </a:lnTo>
                      <a:lnTo>
                        <a:pt x="315546" y="728697"/>
                      </a:lnTo>
                      <a:lnTo>
                        <a:pt x="316008" y="732037"/>
                      </a:lnTo>
                      <a:lnTo>
                        <a:pt x="316069" y="732887"/>
                      </a:lnTo>
                      <a:lnTo>
                        <a:pt x="314684" y="735595"/>
                      </a:lnTo>
                      <a:lnTo>
                        <a:pt x="313652" y="736760"/>
                      </a:lnTo>
                      <a:lnTo>
                        <a:pt x="312790" y="737829"/>
                      </a:lnTo>
                      <a:lnTo>
                        <a:pt x="310094" y="740015"/>
                      </a:lnTo>
                      <a:lnTo>
                        <a:pt x="305784" y="739723"/>
                      </a:lnTo>
                      <a:lnTo>
                        <a:pt x="301169" y="736372"/>
                      </a:lnTo>
                      <a:lnTo>
                        <a:pt x="300283" y="733142"/>
                      </a:lnTo>
                      <a:lnTo>
                        <a:pt x="299919" y="729997"/>
                      </a:lnTo>
                      <a:lnTo>
                        <a:pt x="299627" y="728637"/>
                      </a:lnTo>
                      <a:lnTo>
                        <a:pt x="299445" y="728139"/>
                      </a:lnTo>
                      <a:lnTo>
                        <a:pt x="299068" y="728200"/>
                      </a:lnTo>
                      <a:lnTo>
                        <a:pt x="298971" y="728819"/>
                      </a:lnTo>
                      <a:lnTo>
                        <a:pt x="299117" y="729936"/>
                      </a:lnTo>
                      <a:lnTo>
                        <a:pt x="299615" y="731952"/>
                      </a:lnTo>
                      <a:lnTo>
                        <a:pt x="300173" y="733251"/>
                      </a:lnTo>
                      <a:lnTo>
                        <a:pt x="300914" y="735692"/>
                      </a:lnTo>
                      <a:lnTo>
                        <a:pt x="300599" y="737987"/>
                      </a:lnTo>
                      <a:lnTo>
                        <a:pt x="299846" y="740063"/>
                      </a:lnTo>
                      <a:lnTo>
                        <a:pt x="296968" y="745164"/>
                      </a:lnTo>
                      <a:lnTo>
                        <a:pt x="295256" y="747446"/>
                      </a:lnTo>
                      <a:lnTo>
                        <a:pt x="294041" y="748794"/>
                      </a:lnTo>
                      <a:lnTo>
                        <a:pt x="290277" y="751757"/>
                      </a:lnTo>
                      <a:lnTo>
                        <a:pt x="286622" y="753979"/>
                      </a:lnTo>
                      <a:lnTo>
                        <a:pt x="282068" y="754574"/>
                      </a:lnTo>
                      <a:lnTo>
                        <a:pt x="278875" y="754599"/>
                      </a:lnTo>
                      <a:lnTo>
                        <a:pt x="275960" y="754174"/>
                      </a:lnTo>
                      <a:lnTo>
                        <a:pt x="273313" y="753421"/>
                      </a:lnTo>
                      <a:lnTo>
                        <a:pt x="267679" y="750555"/>
                      </a:lnTo>
                      <a:lnTo>
                        <a:pt x="265080" y="748600"/>
                      </a:lnTo>
                      <a:lnTo>
                        <a:pt x="263490" y="746912"/>
                      </a:lnTo>
                      <a:lnTo>
                        <a:pt x="261231" y="743646"/>
                      </a:lnTo>
                      <a:lnTo>
                        <a:pt x="259458" y="741897"/>
                      </a:lnTo>
                      <a:lnTo>
                        <a:pt x="257746" y="740403"/>
                      </a:lnTo>
                      <a:lnTo>
                        <a:pt x="255900" y="739808"/>
                      </a:lnTo>
                      <a:lnTo>
                        <a:pt x="254917" y="739978"/>
                      </a:lnTo>
                      <a:lnTo>
                        <a:pt x="253508" y="741205"/>
                      </a:lnTo>
                      <a:lnTo>
                        <a:pt x="250776" y="744216"/>
                      </a:lnTo>
                      <a:lnTo>
                        <a:pt x="248760" y="746001"/>
                      </a:lnTo>
                      <a:lnTo>
                        <a:pt x="246344" y="747774"/>
                      </a:lnTo>
                      <a:lnTo>
                        <a:pt x="242397" y="747859"/>
                      </a:lnTo>
                      <a:lnTo>
                        <a:pt x="239180" y="746439"/>
                      </a:lnTo>
                      <a:lnTo>
                        <a:pt x="237419" y="746062"/>
                      </a:lnTo>
                      <a:lnTo>
                        <a:pt x="232525" y="744508"/>
                      </a:lnTo>
                      <a:lnTo>
                        <a:pt x="224572" y="743124"/>
                      </a:lnTo>
                      <a:lnTo>
                        <a:pt x="219314" y="742771"/>
                      </a:lnTo>
                      <a:lnTo>
                        <a:pt x="217055" y="743148"/>
                      </a:lnTo>
                      <a:lnTo>
                        <a:pt x="213898" y="744665"/>
                      </a:lnTo>
                      <a:lnTo>
                        <a:pt x="211870" y="746463"/>
                      </a:lnTo>
                      <a:lnTo>
                        <a:pt x="207766" y="748029"/>
                      </a:lnTo>
                      <a:lnTo>
                        <a:pt x="205544" y="748369"/>
                      </a:lnTo>
                      <a:lnTo>
                        <a:pt x="204378" y="749122"/>
                      </a:lnTo>
                      <a:lnTo>
                        <a:pt x="203710" y="750300"/>
                      </a:lnTo>
                      <a:lnTo>
                        <a:pt x="201306" y="753008"/>
                      </a:lnTo>
                      <a:lnTo>
                        <a:pt x="195586" y="753166"/>
                      </a:lnTo>
                      <a:lnTo>
                        <a:pt x="191567" y="752145"/>
                      </a:lnTo>
                      <a:lnTo>
                        <a:pt x="192077" y="753688"/>
                      </a:lnTo>
                      <a:lnTo>
                        <a:pt x="192514" y="757076"/>
                      </a:lnTo>
                      <a:lnTo>
                        <a:pt x="190948" y="760877"/>
                      </a:lnTo>
                      <a:lnTo>
                        <a:pt x="190571" y="762759"/>
                      </a:lnTo>
                      <a:lnTo>
                        <a:pt x="190171" y="763123"/>
                      </a:lnTo>
                      <a:lnTo>
                        <a:pt x="190122" y="763572"/>
                      </a:lnTo>
                      <a:lnTo>
                        <a:pt x="189442" y="766462"/>
                      </a:lnTo>
                      <a:lnTo>
                        <a:pt x="189224" y="768709"/>
                      </a:lnTo>
                      <a:lnTo>
                        <a:pt x="187499" y="771441"/>
                      </a:lnTo>
                      <a:lnTo>
                        <a:pt x="184949" y="772862"/>
                      </a:lnTo>
                      <a:lnTo>
                        <a:pt x="180116" y="774355"/>
                      </a:lnTo>
                      <a:lnTo>
                        <a:pt x="179108" y="775023"/>
                      </a:lnTo>
                      <a:lnTo>
                        <a:pt x="177676" y="776079"/>
                      </a:lnTo>
                      <a:lnTo>
                        <a:pt x="177967" y="777026"/>
                      </a:lnTo>
                      <a:lnTo>
                        <a:pt x="177275" y="779443"/>
                      </a:lnTo>
                      <a:lnTo>
                        <a:pt x="175405" y="782637"/>
                      </a:lnTo>
                      <a:lnTo>
                        <a:pt x="175429" y="784094"/>
                      </a:lnTo>
                      <a:lnTo>
                        <a:pt x="175296" y="785089"/>
                      </a:lnTo>
                      <a:lnTo>
                        <a:pt x="173705" y="786729"/>
                      </a:lnTo>
                      <a:lnTo>
                        <a:pt x="171665" y="787506"/>
                      </a:lnTo>
                      <a:lnTo>
                        <a:pt x="168520" y="787506"/>
                      </a:lnTo>
                      <a:lnTo>
                        <a:pt x="167682" y="787166"/>
                      </a:lnTo>
                      <a:lnTo>
                        <a:pt x="167779" y="788672"/>
                      </a:lnTo>
                      <a:lnTo>
                        <a:pt x="165071" y="790602"/>
                      </a:lnTo>
                      <a:lnTo>
                        <a:pt x="161683" y="791744"/>
                      </a:lnTo>
                      <a:lnTo>
                        <a:pt x="159728" y="791525"/>
                      </a:lnTo>
                      <a:close/>
                    </a:path>
                  </a:pathLst>
                </a:custGeom>
                <a:solidFill>
                  <a:srgbClr val="D7D7D2"/>
                </a:solidFill>
                <a:ln w="12138" cap="flat">
                  <a:noFill/>
                  <a:prstDash val="solid"/>
                  <a:miter/>
                </a:ln>
              </p:spPr>
              <p:txBody>
                <a:bodyPr rtlCol="0" anchor="ctr"/>
                <a:lstStyle/>
                <a:p>
                  <a:endParaRPr lang="en-US"/>
                </a:p>
              </p:txBody>
            </p:sp>
            <p:sp>
              <p:nvSpPr>
                <p:cNvPr id="323" name="Freeform: Shape 322">
                  <a:extLst>
                    <a:ext uri="{FF2B5EF4-FFF2-40B4-BE49-F238E27FC236}">
                      <a16:creationId xmlns:a16="http://schemas.microsoft.com/office/drawing/2014/main" id="{C50B5AB6-F704-4BDB-AB92-03B5A2165250}"/>
                    </a:ext>
                  </a:extLst>
                </p:cNvPr>
                <p:cNvSpPr/>
                <p:nvPr/>
              </p:nvSpPr>
              <p:spPr>
                <a:xfrm>
                  <a:off x="5060851" y="4152648"/>
                  <a:ext cx="859464" cy="798932"/>
                </a:xfrm>
                <a:custGeom>
                  <a:avLst/>
                  <a:gdLst>
                    <a:gd name="connsiteX0" fmla="*/ 207644 w 859464"/>
                    <a:gd name="connsiteY0" fmla="*/ 8269 h 798932"/>
                    <a:gd name="connsiteX1" fmla="*/ 215221 w 859464"/>
                    <a:gd name="connsiteY1" fmla="*/ 11402 h 798932"/>
                    <a:gd name="connsiteX2" fmla="*/ 217747 w 859464"/>
                    <a:gd name="connsiteY2" fmla="*/ 13175 h 798932"/>
                    <a:gd name="connsiteX3" fmla="*/ 218439 w 859464"/>
                    <a:gd name="connsiteY3" fmla="*/ 13928 h 798932"/>
                    <a:gd name="connsiteX4" fmla="*/ 219569 w 859464"/>
                    <a:gd name="connsiteY4" fmla="*/ 15725 h 798932"/>
                    <a:gd name="connsiteX5" fmla="*/ 221596 w 859464"/>
                    <a:gd name="connsiteY5" fmla="*/ 19720 h 798932"/>
                    <a:gd name="connsiteX6" fmla="*/ 222155 w 859464"/>
                    <a:gd name="connsiteY6" fmla="*/ 20546 h 798932"/>
                    <a:gd name="connsiteX7" fmla="*/ 222908 w 859464"/>
                    <a:gd name="connsiteY7" fmla="*/ 21214 h 798932"/>
                    <a:gd name="connsiteX8" fmla="*/ 223709 w 859464"/>
                    <a:gd name="connsiteY8" fmla="*/ 21724 h 798932"/>
                    <a:gd name="connsiteX9" fmla="*/ 235488 w 859464"/>
                    <a:gd name="connsiteY9" fmla="*/ 26241 h 798932"/>
                    <a:gd name="connsiteX10" fmla="*/ 236641 w 859464"/>
                    <a:gd name="connsiteY10" fmla="*/ 26265 h 798932"/>
                    <a:gd name="connsiteX11" fmla="*/ 238135 w 859464"/>
                    <a:gd name="connsiteY11" fmla="*/ 25597 h 798932"/>
                    <a:gd name="connsiteX12" fmla="*/ 238924 w 859464"/>
                    <a:gd name="connsiteY12" fmla="*/ 24832 h 798932"/>
                    <a:gd name="connsiteX13" fmla="*/ 239447 w 859464"/>
                    <a:gd name="connsiteY13" fmla="*/ 24031 h 798932"/>
                    <a:gd name="connsiteX14" fmla="*/ 239689 w 859464"/>
                    <a:gd name="connsiteY14" fmla="*/ 23460 h 798932"/>
                    <a:gd name="connsiteX15" fmla="*/ 240090 w 859464"/>
                    <a:gd name="connsiteY15" fmla="*/ 22938 h 798932"/>
                    <a:gd name="connsiteX16" fmla="*/ 240879 w 859464"/>
                    <a:gd name="connsiteY16" fmla="*/ 22477 h 798932"/>
                    <a:gd name="connsiteX17" fmla="*/ 242033 w 859464"/>
                    <a:gd name="connsiteY17" fmla="*/ 22112 h 798932"/>
                    <a:gd name="connsiteX18" fmla="*/ 243514 w 859464"/>
                    <a:gd name="connsiteY18" fmla="*/ 21869 h 798932"/>
                    <a:gd name="connsiteX19" fmla="*/ 244680 w 859464"/>
                    <a:gd name="connsiteY19" fmla="*/ 21444 h 798932"/>
                    <a:gd name="connsiteX20" fmla="*/ 245992 w 859464"/>
                    <a:gd name="connsiteY20" fmla="*/ 21238 h 798932"/>
                    <a:gd name="connsiteX21" fmla="*/ 247437 w 859464"/>
                    <a:gd name="connsiteY21" fmla="*/ 21384 h 798932"/>
                    <a:gd name="connsiteX22" fmla="*/ 249392 w 859464"/>
                    <a:gd name="connsiteY22" fmla="*/ 22452 h 798932"/>
                    <a:gd name="connsiteX23" fmla="*/ 250995 w 859464"/>
                    <a:gd name="connsiteY23" fmla="*/ 23108 h 798932"/>
                    <a:gd name="connsiteX24" fmla="*/ 252767 w 859464"/>
                    <a:gd name="connsiteY24" fmla="*/ 23424 h 798932"/>
                    <a:gd name="connsiteX25" fmla="*/ 255524 w 859464"/>
                    <a:gd name="connsiteY25" fmla="*/ 23193 h 798932"/>
                    <a:gd name="connsiteX26" fmla="*/ 258863 w 859464"/>
                    <a:gd name="connsiteY26" fmla="*/ 22586 h 798932"/>
                    <a:gd name="connsiteX27" fmla="*/ 261559 w 859464"/>
                    <a:gd name="connsiteY27" fmla="*/ 23096 h 798932"/>
                    <a:gd name="connsiteX28" fmla="*/ 273167 w 859464"/>
                    <a:gd name="connsiteY28" fmla="*/ 27492 h 798932"/>
                    <a:gd name="connsiteX29" fmla="*/ 279348 w 859464"/>
                    <a:gd name="connsiteY29" fmla="*/ 31050 h 798932"/>
                    <a:gd name="connsiteX30" fmla="*/ 280514 w 859464"/>
                    <a:gd name="connsiteY30" fmla="*/ 31195 h 798932"/>
                    <a:gd name="connsiteX31" fmla="*/ 284764 w 859464"/>
                    <a:gd name="connsiteY31" fmla="*/ 30479 h 798932"/>
                    <a:gd name="connsiteX32" fmla="*/ 292171 w 859464"/>
                    <a:gd name="connsiteY32" fmla="*/ 30600 h 798932"/>
                    <a:gd name="connsiteX33" fmla="*/ 296980 w 859464"/>
                    <a:gd name="connsiteY33" fmla="*/ 33126 h 798932"/>
                    <a:gd name="connsiteX34" fmla="*/ 298425 w 859464"/>
                    <a:gd name="connsiteY34" fmla="*/ 34729 h 798932"/>
                    <a:gd name="connsiteX35" fmla="*/ 300951 w 859464"/>
                    <a:gd name="connsiteY35" fmla="*/ 36890 h 798932"/>
                    <a:gd name="connsiteX36" fmla="*/ 301631 w 859464"/>
                    <a:gd name="connsiteY36" fmla="*/ 37254 h 798932"/>
                    <a:gd name="connsiteX37" fmla="*/ 303428 w 859464"/>
                    <a:gd name="connsiteY37" fmla="*/ 38347 h 798932"/>
                    <a:gd name="connsiteX38" fmla="*/ 304096 w 859464"/>
                    <a:gd name="connsiteY38" fmla="*/ 39270 h 798932"/>
                    <a:gd name="connsiteX39" fmla="*/ 304520 w 859464"/>
                    <a:gd name="connsiteY39" fmla="*/ 39938 h 798932"/>
                    <a:gd name="connsiteX40" fmla="*/ 304860 w 859464"/>
                    <a:gd name="connsiteY40" fmla="*/ 40764 h 798932"/>
                    <a:gd name="connsiteX41" fmla="*/ 309511 w 859464"/>
                    <a:gd name="connsiteY41" fmla="*/ 55251 h 798932"/>
                    <a:gd name="connsiteX42" fmla="*/ 310179 w 859464"/>
                    <a:gd name="connsiteY42" fmla="*/ 56380 h 798932"/>
                    <a:gd name="connsiteX43" fmla="*/ 311053 w 859464"/>
                    <a:gd name="connsiteY43" fmla="*/ 57145 h 798932"/>
                    <a:gd name="connsiteX44" fmla="*/ 312547 w 859464"/>
                    <a:gd name="connsiteY44" fmla="*/ 57873 h 798932"/>
                    <a:gd name="connsiteX45" fmla="*/ 317489 w 859464"/>
                    <a:gd name="connsiteY45" fmla="*/ 59537 h 798932"/>
                    <a:gd name="connsiteX46" fmla="*/ 318643 w 859464"/>
                    <a:gd name="connsiteY46" fmla="*/ 60229 h 798932"/>
                    <a:gd name="connsiteX47" fmla="*/ 319226 w 859464"/>
                    <a:gd name="connsiteY47" fmla="*/ 61103 h 798932"/>
                    <a:gd name="connsiteX48" fmla="*/ 319432 w 859464"/>
                    <a:gd name="connsiteY48" fmla="*/ 63156 h 798932"/>
                    <a:gd name="connsiteX49" fmla="*/ 319894 w 859464"/>
                    <a:gd name="connsiteY49" fmla="*/ 64309 h 798932"/>
                    <a:gd name="connsiteX50" fmla="*/ 321217 w 859464"/>
                    <a:gd name="connsiteY50" fmla="*/ 65402 h 798932"/>
                    <a:gd name="connsiteX51" fmla="*/ 323051 w 859464"/>
                    <a:gd name="connsiteY51" fmla="*/ 66131 h 798932"/>
                    <a:gd name="connsiteX52" fmla="*/ 326730 w 859464"/>
                    <a:gd name="connsiteY52" fmla="*/ 67066 h 798932"/>
                    <a:gd name="connsiteX53" fmla="*/ 328345 w 859464"/>
                    <a:gd name="connsiteY53" fmla="*/ 68013 h 798932"/>
                    <a:gd name="connsiteX54" fmla="*/ 329207 w 859464"/>
                    <a:gd name="connsiteY54" fmla="*/ 68741 h 798932"/>
                    <a:gd name="connsiteX55" fmla="*/ 329426 w 859464"/>
                    <a:gd name="connsiteY55" fmla="*/ 69494 h 798932"/>
                    <a:gd name="connsiteX56" fmla="*/ 329778 w 859464"/>
                    <a:gd name="connsiteY56" fmla="*/ 70150 h 798932"/>
                    <a:gd name="connsiteX57" fmla="*/ 331029 w 859464"/>
                    <a:gd name="connsiteY57" fmla="*/ 70405 h 798932"/>
                    <a:gd name="connsiteX58" fmla="*/ 333287 w 859464"/>
                    <a:gd name="connsiteY58" fmla="*/ 70320 h 798932"/>
                    <a:gd name="connsiteX59" fmla="*/ 338096 w 859464"/>
                    <a:gd name="connsiteY59" fmla="*/ 69494 h 798932"/>
                    <a:gd name="connsiteX60" fmla="*/ 340512 w 859464"/>
                    <a:gd name="connsiteY60" fmla="*/ 68523 h 798932"/>
                    <a:gd name="connsiteX61" fmla="*/ 341896 w 859464"/>
                    <a:gd name="connsiteY61" fmla="*/ 67600 h 798932"/>
                    <a:gd name="connsiteX62" fmla="*/ 344119 w 859464"/>
                    <a:gd name="connsiteY62" fmla="*/ 63034 h 798932"/>
                    <a:gd name="connsiteX63" fmla="*/ 344823 w 859464"/>
                    <a:gd name="connsiteY63" fmla="*/ 62281 h 798932"/>
                    <a:gd name="connsiteX64" fmla="*/ 345855 w 859464"/>
                    <a:gd name="connsiteY64" fmla="*/ 61371 h 798932"/>
                    <a:gd name="connsiteX65" fmla="*/ 353432 w 859464"/>
                    <a:gd name="connsiteY65" fmla="*/ 57946 h 798932"/>
                    <a:gd name="connsiteX66" fmla="*/ 365430 w 859464"/>
                    <a:gd name="connsiteY66" fmla="*/ 55882 h 798932"/>
                    <a:gd name="connsiteX67" fmla="*/ 367615 w 859464"/>
                    <a:gd name="connsiteY67" fmla="*/ 55882 h 798932"/>
                    <a:gd name="connsiteX68" fmla="*/ 369740 w 859464"/>
                    <a:gd name="connsiteY68" fmla="*/ 56258 h 798932"/>
                    <a:gd name="connsiteX69" fmla="*/ 373407 w 859464"/>
                    <a:gd name="connsiteY69" fmla="*/ 57630 h 798932"/>
                    <a:gd name="connsiteX70" fmla="*/ 374901 w 859464"/>
                    <a:gd name="connsiteY70" fmla="*/ 58626 h 798932"/>
                    <a:gd name="connsiteX71" fmla="*/ 376103 w 859464"/>
                    <a:gd name="connsiteY71" fmla="*/ 60011 h 798932"/>
                    <a:gd name="connsiteX72" fmla="*/ 378580 w 859464"/>
                    <a:gd name="connsiteY72" fmla="*/ 64370 h 798932"/>
                    <a:gd name="connsiteX73" fmla="*/ 379491 w 859464"/>
                    <a:gd name="connsiteY73" fmla="*/ 65438 h 798932"/>
                    <a:gd name="connsiteX74" fmla="*/ 380426 w 859464"/>
                    <a:gd name="connsiteY74" fmla="*/ 66203 h 798932"/>
                    <a:gd name="connsiteX75" fmla="*/ 382830 w 859464"/>
                    <a:gd name="connsiteY75" fmla="*/ 66774 h 798932"/>
                    <a:gd name="connsiteX76" fmla="*/ 398847 w 859464"/>
                    <a:gd name="connsiteY76" fmla="*/ 68935 h 798932"/>
                    <a:gd name="connsiteX77" fmla="*/ 401603 w 859464"/>
                    <a:gd name="connsiteY77" fmla="*/ 70114 h 798932"/>
                    <a:gd name="connsiteX78" fmla="*/ 402988 w 859464"/>
                    <a:gd name="connsiteY78" fmla="*/ 71522 h 798932"/>
                    <a:gd name="connsiteX79" fmla="*/ 405465 w 859464"/>
                    <a:gd name="connsiteY79" fmla="*/ 74898 h 798932"/>
                    <a:gd name="connsiteX80" fmla="*/ 406485 w 859464"/>
                    <a:gd name="connsiteY80" fmla="*/ 75942 h 798932"/>
                    <a:gd name="connsiteX81" fmla="*/ 407808 w 859464"/>
                    <a:gd name="connsiteY81" fmla="*/ 76634 h 798932"/>
                    <a:gd name="connsiteX82" fmla="*/ 409253 w 859464"/>
                    <a:gd name="connsiteY82" fmla="*/ 77144 h 798932"/>
                    <a:gd name="connsiteX83" fmla="*/ 412289 w 859464"/>
                    <a:gd name="connsiteY83" fmla="*/ 77436 h 798932"/>
                    <a:gd name="connsiteX84" fmla="*/ 427395 w 859464"/>
                    <a:gd name="connsiteY84" fmla="*/ 77253 h 798932"/>
                    <a:gd name="connsiteX85" fmla="*/ 428136 w 859464"/>
                    <a:gd name="connsiteY85" fmla="*/ 77533 h 798932"/>
                    <a:gd name="connsiteX86" fmla="*/ 429399 w 859464"/>
                    <a:gd name="connsiteY86" fmla="*/ 77739 h 798932"/>
                    <a:gd name="connsiteX87" fmla="*/ 434523 w 859464"/>
                    <a:gd name="connsiteY87" fmla="*/ 77921 h 798932"/>
                    <a:gd name="connsiteX88" fmla="*/ 436065 w 859464"/>
                    <a:gd name="connsiteY88" fmla="*/ 78553 h 798932"/>
                    <a:gd name="connsiteX89" fmla="*/ 437097 w 859464"/>
                    <a:gd name="connsiteY89" fmla="*/ 79379 h 798932"/>
                    <a:gd name="connsiteX90" fmla="*/ 437619 w 859464"/>
                    <a:gd name="connsiteY90" fmla="*/ 80386 h 798932"/>
                    <a:gd name="connsiteX91" fmla="*/ 438239 w 859464"/>
                    <a:gd name="connsiteY91" fmla="*/ 81139 h 798932"/>
                    <a:gd name="connsiteX92" fmla="*/ 438931 w 859464"/>
                    <a:gd name="connsiteY92" fmla="*/ 81771 h 798932"/>
                    <a:gd name="connsiteX93" fmla="*/ 440655 w 859464"/>
                    <a:gd name="connsiteY93" fmla="*/ 82633 h 798932"/>
                    <a:gd name="connsiteX94" fmla="*/ 441517 w 859464"/>
                    <a:gd name="connsiteY94" fmla="*/ 82936 h 798932"/>
                    <a:gd name="connsiteX95" fmla="*/ 442707 w 859464"/>
                    <a:gd name="connsiteY95" fmla="*/ 82912 h 798932"/>
                    <a:gd name="connsiteX96" fmla="*/ 444104 w 859464"/>
                    <a:gd name="connsiteY96" fmla="*/ 82487 h 798932"/>
                    <a:gd name="connsiteX97" fmla="*/ 446119 w 859464"/>
                    <a:gd name="connsiteY97" fmla="*/ 80811 h 798932"/>
                    <a:gd name="connsiteX98" fmla="*/ 446909 w 859464"/>
                    <a:gd name="connsiteY98" fmla="*/ 79548 h 798932"/>
                    <a:gd name="connsiteX99" fmla="*/ 447309 w 859464"/>
                    <a:gd name="connsiteY99" fmla="*/ 78310 h 798932"/>
                    <a:gd name="connsiteX100" fmla="*/ 447309 w 859464"/>
                    <a:gd name="connsiteY100" fmla="*/ 76173 h 798932"/>
                    <a:gd name="connsiteX101" fmla="*/ 447662 w 859464"/>
                    <a:gd name="connsiteY101" fmla="*/ 74194 h 798932"/>
                    <a:gd name="connsiteX102" fmla="*/ 448402 w 859464"/>
                    <a:gd name="connsiteY102" fmla="*/ 73258 h 798932"/>
                    <a:gd name="connsiteX103" fmla="*/ 449616 w 859464"/>
                    <a:gd name="connsiteY103" fmla="*/ 72299 h 798932"/>
                    <a:gd name="connsiteX104" fmla="*/ 452774 w 859464"/>
                    <a:gd name="connsiteY104" fmla="*/ 70927 h 798932"/>
                    <a:gd name="connsiteX105" fmla="*/ 466325 w 859464"/>
                    <a:gd name="connsiteY105" fmla="*/ 66725 h 798932"/>
                    <a:gd name="connsiteX106" fmla="*/ 467467 w 859464"/>
                    <a:gd name="connsiteY106" fmla="*/ 66009 h 798932"/>
                    <a:gd name="connsiteX107" fmla="*/ 468280 w 859464"/>
                    <a:gd name="connsiteY107" fmla="*/ 65208 h 798932"/>
                    <a:gd name="connsiteX108" fmla="*/ 471377 w 859464"/>
                    <a:gd name="connsiteY108" fmla="*/ 64406 h 798932"/>
                    <a:gd name="connsiteX109" fmla="*/ 482682 w 859464"/>
                    <a:gd name="connsiteY109" fmla="*/ 66215 h 798932"/>
                    <a:gd name="connsiteX110" fmla="*/ 484358 w 859464"/>
                    <a:gd name="connsiteY110" fmla="*/ 68510 h 798932"/>
                    <a:gd name="connsiteX111" fmla="*/ 485730 w 859464"/>
                    <a:gd name="connsiteY111" fmla="*/ 70089 h 798932"/>
                    <a:gd name="connsiteX112" fmla="*/ 490101 w 859464"/>
                    <a:gd name="connsiteY112" fmla="*/ 73817 h 798932"/>
                    <a:gd name="connsiteX113" fmla="*/ 491352 w 859464"/>
                    <a:gd name="connsiteY113" fmla="*/ 75432 h 798932"/>
                    <a:gd name="connsiteX114" fmla="*/ 493817 w 859464"/>
                    <a:gd name="connsiteY114" fmla="*/ 80423 h 798932"/>
                    <a:gd name="connsiteX115" fmla="*/ 495031 w 859464"/>
                    <a:gd name="connsiteY115" fmla="*/ 82062 h 798932"/>
                    <a:gd name="connsiteX116" fmla="*/ 495663 w 859464"/>
                    <a:gd name="connsiteY116" fmla="*/ 82790 h 798932"/>
                    <a:gd name="connsiteX117" fmla="*/ 496464 w 859464"/>
                    <a:gd name="connsiteY117" fmla="*/ 83276 h 798932"/>
                    <a:gd name="connsiteX118" fmla="*/ 497338 w 859464"/>
                    <a:gd name="connsiteY118" fmla="*/ 83616 h 798932"/>
                    <a:gd name="connsiteX119" fmla="*/ 501005 w 859464"/>
                    <a:gd name="connsiteY119" fmla="*/ 84588 h 798932"/>
                    <a:gd name="connsiteX120" fmla="*/ 503762 w 859464"/>
                    <a:gd name="connsiteY120" fmla="*/ 85826 h 798932"/>
                    <a:gd name="connsiteX121" fmla="*/ 505717 w 859464"/>
                    <a:gd name="connsiteY121" fmla="*/ 86348 h 798932"/>
                    <a:gd name="connsiteX122" fmla="*/ 506640 w 859464"/>
                    <a:gd name="connsiteY122" fmla="*/ 86689 h 798932"/>
                    <a:gd name="connsiteX123" fmla="*/ 507393 w 859464"/>
                    <a:gd name="connsiteY123" fmla="*/ 87211 h 798932"/>
                    <a:gd name="connsiteX124" fmla="*/ 508060 w 859464"/>
                    <a:gd name="connsiteY124" fmla="*/ 87927 h 798932"/>
                    <a:gd name="connsiteX125" fmla="*/ 510368 w 859464"/>
                    <a:gd name="connsiteY125" fmla="*/ 91461 h 798932"/>
                    <a:gd name="connsiteX126" fmla="*/ 511691 w 859464"/>
                    <a:gd name="connsiteY126" fmla="*/ 92918 h 798932"/>
                    <a:gd name="connsiteX127" fmla="*/ 512383 w 859464"/>
                    <a:gd name="connsiteY127" fmla="*/ 93877 h 798932"/>
                    <a:gd name="connsiteX128" fmla="*/ 513015 w 859464"/>
                    <a:gd name="connsiteY128" fmla="*/ 95188 h 798932"/>
                    <a:gd name="connsiteX129" fmla="*/ 514205 w 859464"/>
                    <a:gd name="connsiteY129" fmla="*/ 98953 h 798932"/>
                    <a:gd name="connsiteX130" fmla="*/ 514496 w 859464"/>
                    <a:gd name="connsiteY130" fmla="*/ 101078 h 798932"/>
                    <a:gd name="connsiteX131" fmla="*/ 514496 w 859464"/>
                    <a:gd name="connsiteY131" fmla="*/ 103640 h 798932"/>
                    <a:gd name="connsiteX132" fmla="*/ 513695 w 859464"/>
                    <a:gd name="connsiteY132" fmla="*/ 110841 h 798932"/>
                    <a:gd name="connsiteX133" fmla="*/ 513063 w 859464"/>
                    <a:gd name="connsiteY133" fmla="*/ 113464 h 798932"/>
                    <a:gd name="connsiteX134" fmla="*/ 512711 w 859464"/>
                    <a:gd name="connsiteY134" fmla="*/ 116985 h 798932"/>
                    <a:gd name="connsiteX135" fmla="*/ 512833 w 859464"/>
                    <a:gd name="connsiteY135" fmla="*/ 120859 h 798932"/>
                    <a:gd name="connsiteX136" fmla="*/ 512201 w 859464"/>
                    <a:gd name="connsiteY136" fmla="*/ 123907 h 798932"/>
                    <a:gd name="connsiteX137" fmla="*/ 511558 w 859464"/>
                    <a:gd name="connsiteY137" fmla="*/ 125667 h 798932"/>
                    <a:gd name="connsiteX138" fmla="*/ 510878 w 859464"/>
                    <a:gd name="connsiteY138" fmla="*/ 126639 h 798932"/>
                    <a:gd name="connsiteX139" fmla="*/ 508522 w 859464"/>
                    <a:gd name="connsiteY139" fmla="*/ 128497 h 798932"/>
                    <a:gd name="connsiteX140" fmla="*/ 507963 w 859464"/>
                    <a:gd name="connsiteY140" fmla="*/ 129274 h 798932"/>
                    <a:gd name="connsiteX141" fmla="*/ 507660 w 859464"/>
                    <a:gd name="connsiteY141" fmla="*/ 130476 h 798932"/>
                    <a:gd name="connsiteX142" fmla="*/ 507611 w 859464"/>
                    <a:gd name="connsiteY142" fmla="*/ 131144 h 798932"/>
                    <a:gd name="connsiteX143" fmla="*/ 508060 w 859464"/>
                    <a:gd name="connsiteY143" fmla="*/ 133354 h 798932"/>
                    <a:gd name="connsiteX144" fmla="*/ 507720 w 859464"/>
                    <a:gd name="connsiteY144" fmla="*/ 136924 h 798932"/>
                    <a:gd name="connsiteX145" fmla="*/ 507963 w 859464"/>
                    <a:gd name="connsiteY145" fmla="*/ 140627 h 798932"/>
                    <a:gd name="connsiteX146" fmla="*/ 508874 w 859464"/>
                    <a:gd name="connsiteY146" fmla="*/ 144586 h 798932"/>
                    <a:gd name="connsiteX147" fmla="*/ 510489 w 859464"/>
                    <a:gd name="connsiteY147" fmla="*/ 148921 h 798932"/>
                    <a:gd name="connsiteX148" fmla="*/ 505826 w 859464"/>
                    <a:gd name="connsiteY148" fmla="*/ 151010 h 798932"/>
                    <a:gd name="connsiteX149" fmla="*/ 501054 w 859464"/>
                    <a:gd name="connsiteY149" fmla="*/ 155090 h 798932"/>
                    <a:gd name="connsiteX150" fmla="*/ 497095 w 859464"/>
                    <a:gd name="connsiteY150" fmla="*/ 160384 h 798932"/>
                    <a:gd name="connsiteX151" fmla="*/ 495092 w 859464"/>
                    <a:gd name="connsiteY151" fmla="*/ 166030 h 798932"/>
                    <a:gd name="connsiteX152" fmla="*/ 495614 w 859464"/>
                    <a:gd name="connsiteY152" fmla="*/ 172369 h 798932"/>
                    <a:gd name="connsiteX153" fmla="*/ 498868 w 859464"/>
                    <a:gd name="connsiteY153" fmla="*/ 173632 h 798932"/>
                    <a:gd name="connsiteX154" fmla="*/ 508522 w 859464"/>
                    <a:gd name="connsiteY154" fmla="*/ 171446 h 798932"/>
                    <a:gd name="connsiteX155" fmla="*/ 510076 w 859464"/>
                    <a:gd name="connsiteY155" fmla="*/ 174373 h 798932"/>
                    <a:gd name="connsiteX156" fmla="*/ 512493 w 859464"/>
                    <a:gd name="connsiteY156" fmla="*/ 187924 h 798932"/>
                    <a:gd name="connsiteX157" fmla="*/ 514387 w 859464"/>
                    <a:gd name="connsiteY157" fmla="*/ 194311 h 798932"/>
                    <a:gd name="connsiteX158" fmla="*/ 514266 w 859464"/>
                    <a:gd name="connsiteY158" fmla="*/ 204026 h 798932"/>
                    <a:gd name="connsiteX159" fmla="*/ 513573 w 859464"/>
                    <a:gd name="connsiteY159" fmla="*/ 207584 h 798932"/>
                    <a:gd name="connsiteX160" fmla="*/ 511630 w 859464"/>
                    <a:gd name="connsiteY160" fmla="*/ 209879 h 798932"/>
                    <a:gd name="connsiteX161" fmla="*/ 505426 w 859464"/>
                    <a:gd name="connsiteY161" fmla="*/ 215476 h 798932"/>
                    <a:gd name="connsiteX162" fmla="*/ 505717 w 859464"/>
                    <a:gd name="connsiteY162" fmla="*/ 215792 h 798932"/>
                    <a:gd name="connsiteX163" fmla="*/ 515018 w 859464"/>
                    <a:gd name="connsiteY163" fmla="*/ 221293 h 798932"/>
                    <a:gd name="connsiteX164" fmla="*/ 521333 w 859464"/>
                    <a:gd name="connsiteY164" fmla="*/ 223394 h 798932"/>
                    <a:gd name="connsiteX165" fmla="*/ 528388 w 859464"/>
                    <a:gd name="connsiteY165" fmla="*/ 229914 h 798932"/>
                    <a:gd name="connsiteX166" fmla="*/ 532358 w 859464"/>
                    <a:gd name="connsiteY166" fmla="*/ 232865 h 798932"/>
                    <a:gd name="connsiteX167" fmla="*/ 533500 w 859464"/>
                    <a:gd name="connsiteY167" fmla="*/ 234019 h 798932"/>
                    <a:gd name="connsiteX168" fmla="*/ 536791 w 859464"/>
                    <a:gd name="connsiteY168" fmla="*/ 239762 h 798932"/>
                    <a:gd name="connsiteX169" fmla="*/ 537981 w 859464"/>
                    <a:gd name="connsiteY169" fmla="*/ 240539 h 798932"/>
                    <a:gd name="connsiteX170" fmla="*/ 552807 w 859464"/>
                    <a:gd name="connsiteY170" fmla="*/ 241972 h 798932"/>
                    <a:gd name="connsiteX171" fmla="*/ 566347 w 859464"/>
                    <a:gd name="connsiteY171" fmla="*/ 240539 h 798932"/>
                    <a:gd name="connsiteX172" fmla="*/ 568180 w 859464"/>
                    <a:gd name="connsiteY172" fmla="*/ 239920 h 798932"/>
                    <a:gd name="connsiteX173" fmla="*/ 571702 w 859464"/>
                    <a:gd name="connsiteY173" fmla="*/ 237370 h 798932"/>
                    <a:gd name="connsiteX174" fmla="*/ 574045 w 859464"/>
                    <a:gd name="connsiteY174" fmla="*/ 236800 h 798932"/>
                    <a:gd name="connsiteX175" fmla="*/ 576279 w 859464"/>
                    <a:gd name="connsiteY175" fmla="*/ 237431 h 798932"/>
                    <a:gd name="connsiteX176" fmla="*/ 577834 w 859464"/>
                    <a:gd name="connsiteY176" fmla="*/ 239046 h 798932"/>
                    <a:gd name="connsiteX177" fmla="*/ 578975 w 859464"/>
                    <a:gd name="connsiteY177" fmla="*/ 241171 h 798932"/>
                    <a:gd name="connsiteX178" fmla="*/ 579837 w 859464"/>
                    <a:gd name="connsiteY178" fmla="*/ 243296 h 798932"/>
                    <a:gd name="connsiteX179" fmla="*/ 580311 w 859464"/>
                    <a:gd name="connsiteY179" fmla="*/ 245214 h 798932"/>
                    <a:gd name="connsiteX180" fmla="*/ 580530 w 859464"/>
                    <a:gd name="connsiteY180" fmla="*/ 249319 h 798932"/>
                    <a:gd name="connsiteX181" fmla="*/ 580991 w 859464"/>
                    <a:gd name="connsiteY181" fmla="*/ 251250 h 798932"/>
                    <a:gd name="connsiteX182" fmla="*/ 582363 w 859464"/>
                    <a:gd name="connsiteY182" fmla="*/ 253423 h 798932"/>
                    <a:gd name="connsiteX183" fmla="*/ 584100 w 859464"/>
                    <a:gd name="connsiteY183" fmla="*/ 255317 h 798932"/>
                    <a:gd name="connsiteX184" fmla="*/ 585581 w 859464"/>
                    <a:gd name="connsiteY184" fmla="*/ 257357 h 798932"/>
                    <a:gd name="connsiteX185" fmla="*/ 586225 w 859464"/>
                    <a:gd name="connsiteY185" fmla="*/ 259932 h 798932"/>
                    <a:gd name="connsiteX186" fmla="*/ 587014 w 859464"/>
                    <a:gd name="connsiteY186" fmla="*/ 260952 h 798932"/>
                    <a:gd name="connsiteX187" fmla="*/ 588738 w 859464"/>
                    <a:gd name="connsiteY187" fmla="*/ 259580 h 798932"/>
                    <a:gd name="connsiteX188" fmla="*/ 590353 w 859464"/>
                    <a:gd name="connsiteY188" fmla="*/ 257515 h 798932"/>
                    <a:gd name="connsiteX189" fmla="*/ 590827 w 859464"/>
                    <a:gd name="connsiteY189" fmla="*/ 256410 h 798932"/>
                    <a:gd name="connsiteX190" fmla="*/ 592940 w 859464"/>
                    <a:gd name="connsiteY190" fmla="*/ 257042 h 798932"/>
                    <a:gd name="connsiteX191" fmla="*/ 594251 w 859464"/>
                    <a:gd name="connsiteY191" fmla="*/ 258633 h 798932"/>
                    <a:gd name="connsiteX192" fmla="*/ 594955 w 859464"/>
                    <a:gd name="connsiteY192" fmla="*/ 260818 h 798932"/>
                    <a:gd name="connsiteX193" fmla="*/ 597700 w 859464"/>
                    <a:gd name="connsiteY193" fmla="*/ 261620 h 798932"/>
                    <a:gd name="connsiteX194" fmla="*/ 601258 w 859464"/>
                    <a:gd name="connsiteY194" fmla="*/ 259968 h 798932"/>
                    <a:gd name="connsiteX195" fmla="*/ 608094 w 859464"/>
                    <a:gd name="connsiteY195" fmla="*/ 258171 h 798932"/>
                    <a:gd name="connsiteX196" fmla="*/ 612283 w 859464"/>
                    <a:gd name="connsiteY196" fmla="*/ 258256 h 798932"/>
                    <a:gd name="connsiteX197" fmla="*/ 615270 w 859464"/>
                    <a:gd name="connsiteY197" fmla="*/ 259470 h 798932"/>
                    <a:gd name="connsiteX198" fmla="*/ 618610 w 859464"/>
                    <a:gd name="connsiteY198" fmla="*/ 262688 h 798932"/>
                    <a:gd name="connsiteX199" fmla="*/ 620383 w 859464"/>
                    <a:gd name="connsiteY199" fmla="*/ 263927 h 798932"/>
                    <a:gd name="connsiteX200" fmla="*/ 624511 w 859464"/>
                    <a:gd name="connsiteY200" fmla="*/ 265882 h 798932"/>
                    <a:gd name="connsiteX201" fmla="*/ 626236 w 859464"/>
                    <a:gd name="connsiteY201" fmla="*/ 267145 h 798932"/>
                    <a:gd name="connsiteX202" fmla="*/ 630425 w 859464"/>
                    <a:gd name="connsiteY202" fmla="*/ 270860 h 798932"/>
                    <a:gd name="connsiteX203" fmla="*/ 639046 w 859464"/>
                    <a:gd name="connsiteY203" fmla="*/ 280733 h 798932"/>
                    <a:gd name="connsiteX204" fmla="*/ 641803 w 859464"/>
                    <a:gd name="connsiteY204" fmla="*/ 284631 h 798932"/>
                    <a:gd name="connsiteX205" fmla="*/ 645761 w 859464"/>
                    <a:gd name="connsiteY205" fmla="*/ 288565 h 798932"/>
                    <a:gd name="connsiteX206" fmla="*/ 648348 w 859464"/>
                    <a:gd name="connsiteY206" fmla="*/ 292208 h 798932"/>
                    <a:gd name="connsiteX207" fmla="*/ 651566 w 859464"/>
                    <a:gd name="connsiteY207" fmla="*/ 295887 h 798932"/>
                    <a:gd name="connsiteX208" fmla="*/ 653411 w 859464"/>
                    <a:gd name="connsiteY208" fmla="*/ 298874 h 798932"/>
                    <a:gd name="connsiteX209" fmla="*/ 654504 w 859464"/>
                    <a:gd name="connsiteY209" fmla="*/ 301740 h 798932"/>
                    <a:gd name="connsiteX210" fmla="*/ 656156 w 859464"/>
                    <a:gd name="connsiteY210" fmla="*/ 307653 h 798932"/>
                    <a:gd name="connsiteX211" fmla="*/ 660770 w 859464"/>
                    <a:gd name="connsiteY211" fmla="*/ 318218 h 798932"/>
                    <a:gd name="connsiteX212" fmla="*/ 665457 w 859464"/>
                    <a:gd name="connsiteY212" fmla="*/ 325589 h 798932"/>
                    <a:gd name="connsiteX213" fmla="*/ 666210 w 859464"/>
                    <a:gd name="connsiteY213" fmla="*/ 327629 h 798932"/>
                    <a:gd name="connsiteX214" fmla="*/ 666332 w 859464"/>
                    <a:gd name="connsiteY214" fmla="*/ 329487 h 798932"/>
                    <a:gd name="connsiteX215" fmla="*/ 665858 w 859464"/>
                    <a:gd name="connsiteY215" fmla="*/ 330701 h 798932"/>
                    <a:gd name="connsiteX216" fmla="*/ 664255 w 859464"/>
                    <a:gd name="connsiteY216" fmla="*/ 331648 h 798932"/>
                    <a:gd name="connsiteX217" fmla="*/ 660697 w 859464"/>
                    <a:gd name="connsiteY217" fmla="*/ 333227 h 798932"/>
                    <a:gd name="connsiteX218" fmla="*/ 659252 w 859464"/>
                    <a:gd name="connsiteY218" fmla="*/ 334283 h 798932"/>
                    <a:gd name="connsiteX219" fmla="*/ 658281 w 859464"/>
                    <a:gd name="connsiteY219" fmla="*/ 335607 h 798932"/>
                    <a:gd name="connsiteX220" fmla="*/ 657819 w 859464"/>
                    <a:gd name="connsiteY220" fmla="*/ 337404 h 798932"/>
                    <a:gd name="connsiteX221" fmla="*/ 657880 w 859464"/>
                    <a:gd name="connsiteY221" fmla="*/ 339505 h 798932"/>
                    <a:gd name="connsiteX222" fmla="*/ 658852 w 859464"/>
                    <a:gd name="connsiteY222" fmla="*/ 342115 h 798932"/>
                    <a:gd name="connsiteX223" fmla="*/ 660284 w 859464"/>
                    <a:gd name="connsiteY223" fmla="*/ 343415 h 798932"/>
                    <a:gd name="connsiteX224" fmla="*/ 662300 w 859464"/>
                    <a:gd name="connsiteY224" fmla="*/ 343961 h 798932"/>
                    <a:gd name="connsiteX225" fmla="*/ 667182 w 859464"/>
                    <a:gd name="connsiteY225" fmla="*/ 343840 h 798932"/>
                    <a:gd name="connsiteX226" fmla="*/ 669367 w 859464"/>
                    <a:gd name="connsiteY226" fmla="*/ 343548 h 798932"/>
                    <a:gd name="connsiteX227" fmla="*/ 670909 w 859464"/>
                    <a:gd name="connsiteY227" fmla="*/ 343062 h 798932"/>
                    <a:gd name="connsiteX228" fmla="*/ 671942 w 859464"/>
                    <a:gd name="connsiteY228" fmla="*/ 342346 h 798932"/>
                    <a:gd name="connsiteX229" fmla="*/ 672403 w 859464"/>
                    <a:gd name="connsiteY229" fmla="*/ 341520 h 798932"/>
                    <a:gd name="connsiteX230" fmla="*/ 672767 w 859464"/>
                    <a:gd name="connsiteY230" fmla="*/ 340306 h 798932"/>
                    <a:gd name="connsiteX231" fmla="*/ 673557 w 859464"/>
                    <a:gd name="connsiteY231" fmla="*/ 336347 h 798932"/>
                    <a:gd name="connsiteX232" fmla="*/ 674079 w 859464"/>
                    <a:gd name="connsiteY232" fmla="*/ 335218 h 798932"/>
                    <a:gd name="connsiteX233" fmla="*/ 674880 w 859464"/>
                    <a:gd name="connsiteY233" fmla="*/ 334501 h 798932"/>
                    <a:gd name="connsiteX234" fmla="*/ 676374 w 859464"/>
                    <a:gd name="connsiteY234" fmla="*/ 334040 h 798932"/>
                    <a:gd name="connsiteX235" fmla="*/ 677916 w 859464"/>
                    <a:gd name="connsiteY235" fmla="*/ 334271 h 798932"/>
                    <a:gd name="connsiteX236" fmla="*/ 679871 w 859464"/>
                    <a:gd name="connsiteY236" fmla="*/ 335461 h 798932"/>
                    <a:gd name="connsiteX237" fmla="*/ 680842 w 859464"/>
                    <a:gd name="connsiteY237" fmla="*/ 337732 h 798932"/>
                    <a:gd name="connsiteX238" fmla="*/ 681194 w 859464"/>
                    <a:gd name="connsiteY238" fmla="*/ 340294 h 798932"/>
                    <a:gd name="connsiteX239" fmla="*/ 681316 w 859464"/>
                    <a:gd name="connsiteY239" fmla="*/ 342929 h 798932"/>
                    <a:gd name="connsiteX240" fmla="*/ 681717 w 859464"/>
                    <a:gd name="connsiteY240" fmla="*/ 345636 h 798932"/>
                    <a:gd name="connsiteX241" fmla="*/ 683077 w 859464"/>
                    <a:gd name="connsiteY241" fmla="*/ 347980 h 798932"/>
                    <a:gd name="connsiteX242" fmla="*/ 684813 w 859464"/>
                    <a:gd name="connsiteY242" fmla="*/ 349134 h 798932"/>
                    <a:gd name="connsiteX243" fmla="*/ 686999 w 859464"/>
                    <a:gd name="connsiteY243" fmla="*/ 349255 h 798932"/>
                    <a:gd name="connsiteX244" fmla="*/ 689221 w 859464"/>
                    <a:gd name="connsiteY244" fmla="*/ 348527 h 798932"/>
                    <a:gd name="connsiteX245" fmla="*/ 693835 w 859464"/>
                    <a:gd name="connsiteY245" fmla="*/ 346450 h 798932"/>
                    <a:gd name="connsiteX246" fmla="*/ 696288 w 859464"/>
                    <a:gd name="connsiteY246" fmla="*/ 345697 h 798932"/>
                    <a:gd name="connsiteX247" fmla="*/ 699457 w 859464"/>
                    <a:gd name="connsiteY247" fmla="*/ 346122 h 798932"/>
                    <a:gd name="connsiteX248" fmla="*/ 700890 w 859464"/>
                    <a:gd name="connsiteY248" fmla="*/ 347069 h 798932"/>
                    <a:gd name="connsiteX249" fmla="*/ 701291 w 859464"/>
                    <a:gd name="connsiteY249" fmla="*/ 348709 h 798932"/>
                    <a:gd name="connsiteX250" fmla="*/ 700477 w 859464"/>
                    <a:gd name="connsiteY250" fmla="*/ 350567 h 798932"/>
                    <a:gd name="connsiteX251" fmla="*/ 699057 w 859464"/>
                    <a:gd name="connsiteY251" fmla="*/ 353068 h 798932"/>
                    <a:gd name="connsiteX252" fmla="*/ 697685 w 859464"/>
                    <a:gd name="connsiteY252" fmla="*/ 355909 h 798932"/>
                    <a:gd name="connsiteX253" fmla="*/ 696810 w 859464"/>
                    <a:gd name="connsiteY253" fmla="*/ 359067 h 798932"/>
                    <a:gd name="connsiteX254" fmla="*/ 696932 w 859464"/>
                    <a:gd name="connsiteY254" fmla="*/ 362940 h 798932"/>
                    <a:gd name="connsiteX255" fmla="*/ 697624 w 859464"/>
                    <a:gd name="connsiteY255" fmla="*/ 366437 h 798932"/>
                    <a:gd name="connsiteX256" fmla="*/ 698753 w 859464"/>
                    <a:gd name="connsiteY256" fmla="*/ 370226 h 798932"/>
                    <a:gd name="connsiteX257" fmla="*/ 700150 w 859464"/>
                    <a:gd name="connsiteY257" fmla="*/ 373298 h 798932"/>
                    <a:gd name="connsiteX258" fmla="*/ 703708 w 859464"/>
                    <a:gd name="connsiteY258" fmla="*/ 379588 h 798932"/>
                    <a:gd name="connsiteX259" fmla="*/ 704618 w 859464"/>
                    <a:gd name="connsiteY259" fmla="*/ 382745 h 798932"/>
                    <a:gd name="connsiteX260" fmla="*/ 705833 w 859464"/>
                    <a:gd name="connsiteY260" fmla="*/ 406643 h 798932"/>
                    <a:gd name="connsiteX261" fmla="*/ 708528 w 859464"/>
                    <a:gd name="connsiteY261" fmla="*/ 413127 h 798932"/>
                    <a:gd name="connsiteX262" fmla="*/ 711455 w 859464"/>
                    <a:gd name="connsiteY262" fmla="*/ 417353 h 798932"/>
                    <a:gd name="connsiteX263" fmla="*/ 714041 w 859464"/>
                    <a:gd name="connsiteY263" fmla="*/ 418931 h 798932"/>
                    <a:gd name="connsiteX264" fmla="*/ 716968 w 859464"/>
                    <a:gd name="connsiteY264" fmla="*/ 419114 h 798932"/>
                    <a:gd name="connsiteX265" fmla="*/ 719445 w 859464"/>
                    <a:gd name="connsiteY265" fmla="*/ 417899 h 798932"/>
                    <a:gd name="connsiteX266" fmla="*/ 724083 w 859464"/>
                    <a:gd name="connsiteY266" fmla="*/ 414512 h 798932"/>
                    <a:gd name="connsiteX267" fmla="*/ 728904 w 859464"/>
                    <a:gd name="connsiteY267" fmla="*/ 412216 h 798932"/>
                    <a:gd name="connsiteX268" fmla="*/ 733968 w 859464"/>
                    <a:gd name="connsiteY268" fmla="*/ 408707 h 798932"/>
                    <a:gd name="connsiteX269" fmla="*/ 736251 w 859464"/>
                    <a:gd name="connsiteY269" fmla="*/ 407432 h 798932"/>
                    <a:gd name="connsiteX270" fmla="*/ 738048 w 859464"/>
                    <a:gd name="connsiteY270" fmla="*/ 407177 h 798932"/>
                    <a:gd name="connsiteX271" fmla="*/ 739930 w 859464"/>
                    <a:gd name="connsiteY271" fmla="*/ 407481 h 798932"/>
                    <a:gd name="connsiteX272" fmla="*/ 741885 w 859464"/>
                    <a:gd name="connsiteY272" fmla="*/ 408403 h 798932"/>
                    <a:gd name="connsiteX273" fmla="*/ 746657 w 859464"/>
                    <a:gd name="connsiteY273" fmla="*/ 411269 h 798932"/>
                    <a:gd name="connsiteX274" fmla="*/ 750093 w 859464"/>
                    <a:gd name="connsiteY274" fmla="*/ 412763 h 798932"/>
                    <a:gd name="connsiteX275" fmla="*/ 754514 w 859464"/>
                    <a:gd name="connsiteY275" fmla="*/ 413759 h 798932"/>
                    <a:gd name="connsiteX276" fmla="*/ 760087 w 859464"/>
                    <a:gd name="connsiteY276" fmla="*/ 413734 h 798932"/>
                    <a:gd name="connsiteX277" fmla="*/ 768478 w 859464"/>
                    <a:gd name="connsiteY277" fmla="*/ 412763 h 798932"/>
                    <a:gd name="connsiteX278" fmla="*/ 782491 w 859464"/>
                    <a:gd name="connsiteY278" fmla="*/ 413188 h 798932"/>
                    <a:gd name="connsiteX279" fmla="*/ 792934 w 859464"/>
                    <a:gd name="connsiteY279" fmla="*/ 415507 h 798932"/>
                    <a:gd name="connsiteX280" fmla="*/ 794889 w 859464"/>
                    <a:gd name="connsiteY280" fmla="*/ 416333 h 798932"/>
                    <a:gd name="connsiteX281" fmla="*/ 797184 w 859464"/>
                    <a:gd name="connsiteY281" fmla="*/ 416940 h 798932"/>
                    <a:gd name="connsiteX282" fmla="*/ 797694 w 859464"/>
                    <a:gd name="connsiteY282" fmla="*/ 416916 h 798932"/>
                    <a:gd name="connsiteX283" fmla="*/ 797779 w 859464"/>
                    <a:gd name="connsiteY283" fmla="*/ 416940 h 798932"/>
                    <a:gd name="connsiteX284" fmla="*/ 799151 w 859464"/>
                    <a:gd name="connsiteY284" fmla="*/ 416879 h 798932"/>
                    <a:gd name="connsiteX285" fmla="*/ 800475 w 859464"/>
                    <a:gd name="connsiteY285" fmla="*/ 415872 h 798932"/>
                    <a:gd name="connsiteX286" fmla="*/ 801397 w 859464"/>
                    <a:gd name="connsiteY286" fmla="*/ 414354 h 798932"/>
                    <a:gd name="connsiteX287" fmla="*/ 802600 w 859464"/>
                    <a:gd name="connsiteY287" fmla="*/ 411002 h 798932"/>
                    <a:gd name="connsiteX288" fmla="*/ 803450 w 859464"/>
                    <a:gd name="connsiteY288" fmla="*/ 409788 h 798932"/>
                    <a:gd name="connsiteX289" fmla="*/ 804737 w 859464"/>
                    <a:gd name="connsiteY289" fmla="*/ 409460 h 798932"/>
                    <a:gd name="connsiteX290" fmla="*/ 806898 w 859464"/>
                    <a:gd name="connsiteY290" fmla="*/ 409933 h 798932"/>
                    <a:gd name="connsiteX291" fmla="*/ 813200 w 859464"/>
                    <a:gd name="connsiteY291" fmla="*/ 413807 h 798932"/>
                    <a:gd name="connsiteX292" fmla="*/ 817062 w 859464"/>
                    <a:gd name="connsiteY292" fmla="*/ 415070 h 798932"/>
                    <a:gd name="connsiteX293" fmla="*/ 817280 w 859464"/>
                    <a:gd name="connsiteY293" fmla="*/ 414961 h 798932"/>
                    <a:gd name="connsiteX294" fmla="*/ 817645 w 859464"/>
                    <a:gd name="connsiteY294" fmla="*/ 415070 h 798932"/>
                    <a:gd name="connsiteX295" fmla="*/ 822805 w 859464"/>
                    <a:gd name="connsiteY295" fmla="*/ 412289 h 798932"/>
                    <a:gd name="connsiteX296" fmla="*/ 825975 w 859464"/>
                    <a:gd name="connsiteY296" fmla="*/ 408986 h 798932"/>
                    <a:gd name="connsiteX297" fmla="*/ 829253 w 859464"/>
                    <a:gd name="connsiteY297" fmla="*/ 406291 h 798932"/>
                    <a:gd name="connsiteX298" fmla="*/ 832180 w 859464"/>
                    <a:gd name="connsiteY298" fmla="*/ 404615 h 798932"/>
                    <a:gd name="connsiteX299" fmla="*/ 838664 w 859464"/>
                    <a:gd name="connsiteY299" fmla="*/ 403813 h 798932"/>
                    <a:gd name="connsiteX300" fmla="*/ 841251 w 859464"/>
                    <a:gd name="connsiteY300" fmla="*/ 402672 h 798932"/>
                    <a:gd name="connsiteX301" fmla="*/ 843533 w 859464"/>
                    <a:gd name="connsiteY301" fmla="*/ 400292 h 798932"/>
                    <a:gd name="connsiteX302" fmla="*/ 845088 w 859464"/>
                    <a:gd name="connsiteY302" fmla="*/ 398070 h 798932"/>
                    <a:gd name="connsiteX303" fmla="*/ 846508 w 859464"/>
                    <a:gd name="connsiteY303" fmla="*/ 396783 h 798932"/>
                    <a:gd name="connsiteX304" fmla="*/ 847055 w 859464"/>
                    <a:gd name="connsiteY304" fmla="*/ 397657 h 798932"/>
                    <a:gd name="connsiteX305" fmla="*/ 848039 w 859464"/>
                    <a:gd name="connsiteY305" fmla="*/ 398980 h 798932"/>
                    <a:gd name="connsiteX306" fmla="*/ 850431 w 859464"/>
                    <a:gd name="connsiteY306" fmla="*/ 400523 h 798932"/>
                    <a:gd name="connsiteX307" fmla="*/ 851572 w 859464"/>
                    <a:gd name="connsiteY307" fmla="*/ 402077 h 798932"/>
                    <a:gd name="connsiteX308" fmla="*/ 852568 w 859464"/>
                    <a:gd name="connsiteY308" fmla="*/ 404008 h 798932"/>
                    <a:gd name="connsiteX309" fmla="*/ 852859 w 859464"/>
                    <a:gd name="connsiteY309" fmla="*/ 405611 h 798932"/>
                    <a:gd name="connsiteX310" fmla="*/ 851633 w 859464"/>
                    <a:gd name="connsiteY310" fmla="*/ 406606 h 798932"/>
                    <a:gd name="connsiteX311" fmla="*/ 850588 w 859464"/>
                    <a:gd name="connsiteY311" fmla="*/ 407978 h 798932"/>
                    <a:gd name="connsiteX312" fmla="*/ 847152 w 859464"/>
                    <a:gd name="connsiteY312" fmla="*/ 408367 h 798932"/>
                    <a:gd name="connsiteX313" fmla="*/ 845112 w 859464"/>
                    <a:gd name="connsiteY313" fmla="*/ 410638 h 798932"/>
                    <a:gd name="connsiteX314" fmla="*/ 842465 w 859464"/>
                    <a:gd name="connsiteY314" fmla="*/ 409970 h 798932"/>
                    <a:gd name="connsiteX315" fmla="*/ 840765 w 859464"/>
                    <a:gd name="connsiteY315" fmla="*/ 410407 h 798932"/>
                    <a:gd name="connsiteX316" fmla="*/ 839599 w 859464"/>
                    <a:gd name="connsiteY316" fmla="*/ 411196 h 798932"/>
                    <a:gd name="connsiteX317" fmla="*/ 837001 w 859464"/>
                    <a:gd name="connsiteY317" fmla="*/ 413163 h 798932"/>
                    <a:gd name="connsiteX318" fmla="*/ 835956 w 859464"/>
                    <a:gd name="connsiteY318" fmla="*/ 414208 h 798932"/>
                    <a:gd name="connsiteX319" fmla="*/ 834839 w 859464"/>
                    <a:gd name="connsiteY319" fmla="*/ 417134 h 798932"/>
                    <a:gd name="connsiteX320" fmla="*/ 833637 w 859464"/>
                    <a:gd name="connsiteY320" fmla="*/ 418798 h 798932"/>
                    <a:gd name="connsiteX321" fmla="*/ 832411 w 859464"/>
                    <a:gd name="connsiteY321" fmla="*/ 419733 h 798932"/>
                    <a:gd name="connsiteX322" fmla="*/ 830540 w 859464"/>
                    <a:gd name="connsiteY322" fmla="*/ 420461 h 798932"/>
                    <a:gd name="connsiteX323" fmla="*/ 826448 w 859464"/>
                    <a:gd name="connsiteY323" fmla="*/ 420729 h 798932"/>
                    <a:gd name="connsiteX324" fmla="*/ 824348 w 859464"/>
                    <a:gd name="connsiteY324" fmla="*/ 420729 h 798932"/>
                    <a:gd name="connsiteX325" fmla="*/ 820875 w 859464"/>
                    <a:gd name="connsiteY325" fmla="*/ 421287 h 798932"/>
                    <a:gd name="connsiteX326" fmla="*/ 820049 w 859464"/>
                    <a:gd name="connsiteY326" fmla="*/ 422052 h 798932"/>
                    <a:gd name="connsiteX327" fmla="*/ 818944 w 859464"/>
                    <a:gd name="connsiteY327" fmla="*/ 424323 h 798932"/>
                    <a:gd name="connsiteX328" fmla="*/ 818276 w 859464"/>
                    <a:gd name="connsiteY328" fmla="*/ 424991 h 798932"/>
                    <a:gd name="connsiteX329" fmla="*/ 813188 w 859464"/>
                    <a:gd name="connsiteY329" fmla="*/ 427480 h 798932"/>
                    <a:gd name="connsiteX330" fmla="*/ 812193 w 859464"/>
                    <a:gd name="connsiteY330" fmla="*/ 428354 h 798932"/>
                    <a:gd name="connsiteX331" fmla="*/ 811488 w 859464"/>
                    <a:gd name="connsiteY331" fmla="*/ 429787 h 798932"/>
                    <a:gd name="connsiteX332" fmla="*/ 811318 w 859464"/>
                    <a:gd name="connsiteY332" fmla="*/ 431111 h 798932"/>
                    <a:gd name="connsiteX333" fmla="*/ 811148 w 859464"/>
                    <a:gd name="connsiteY333" fmla="*/ 432823 h 798932"/>
                    <a:gd name="connsiteX334" fmla="*/ 811148 w 859464"/>
                    <a:gd name="connsiteY334" fmla="*/ 435689 h 798932"/>
                    <a:gd name="connsiteX335" fmla="*/ 810650 w 859464"/>
                    <a:gd name="connsiteY335" fmla="*/ 436697 h 798932"/>
                    <a:gd name="connsiteX336" fmla="*/ 809108 w 859464"/>
                    <a:gd name="connsiteY336" fmla="*/ 437911 h 798932"/>
                    <a:gd name="connsiteX337" fmla="*/ 807894 w 859464"/>
                    <a:gd name="connsiteY337" fmla="*/ 439842 h 798932"/>
                    <a:gd name="connsiteX338" fmla="*/ 806510 w 859464"/>
                    <a:gd name="connsiteY338" fmla="*/ 442817 h 798932"/>
                    <a:gd name="connsiteX339" fmla="*/ 806182 w 859464"/>
                    <a:gd name="connsiteY339" fmla="*/ 443873 h 798932"/>
                    <a:gd name="connsiteX340" fmla="*/ 804312 w 859464"/>
                    <a:gd name="connsiteY340" fmla="*/ 446739 h 798932"/>
                    <a:gd name="connsiteX341" fmla="*/ 801422 w 859464"/>
                    <a:gd name="connsiteY341" fmla="*/ 449009 h 798932"/>
                    <a:gd name="connsiteX342" fmla="*/ 800098 w 859464"/>
                    <a:gd name="connsiteY342" fmla="*/ 450722 h 798932"/>
                    <a:gd name="connsiteX343" fmla="*/ 799673 w 859464"/>
                    <a:gd name="connsiteY343" fmla="*/ 451948 h 798932"/>
                    <a:gd name="connsiteX344" fmla="*/ 799612 w 859464"/>
                    <a:gd name="connsiteY344" fmla="*/ 452944 h 798932"/>
                    <a:gd name="connsiteX345" fmla="*/ 799394 w 859464"/>
                    <a:gd name="connsiteY345" fmla="*/ 453551 h 798932"/>
                    <a:gd name="connsiteX346" fmla="*/ 798447 w 859464"/>
                    <a:gd name="connsiteY346" fmla="*/ 454595 h 798932"/>
                    <a:gd name="connsiteX347" fmla="*/ 800268 w 859464"/>
                    <a:gd name="connsiteY347" fmla="*/ 455919 h 798932"/>
                    <a:gd name="connsiteX348" fmla="*/ 801822 w 859464"/>
                    <a:gd name="connsiteY348" fmla="*/ 457303 h 798932"/>
                    <a:gd name="connsiteX349" fmla="*/ 802381 w 859464"/>
                    <a:gd name="connsiteY349" fmla="*/ 457910 h 798932"/>
                    <a:gd name="connsiteX350" fmla="*/ 802320 w 859464"/>
                    <a:gd name="connsiteY350" fmla="*/ 458457 h 798932"/>
                    <a:gd name="connsiteX351" fmla="*/ 801713 w 859464"/>
                    <a:gd name="connsiteY351" fmla="*/ 459452 h 798932"/>
                    <a:gd name="connsiteX352" fmla="*/ 800487 w 859464"/>
                    <a:gd name="connsiteY352" fmla="*/ 460837 h 798932"/>
                    <a:gd name="connsiteX353" fmla="*/ 799612 w 859464"/>
                    <a:gd name="connsiteY353" fmla="*/ 462379 h 798932"/>
                    <a:gd name="connsiteX354" fmla="*/ 798167 w 859464"/>
                    <a:gd name="connsiteY354" fmla="*/ 464322 h 798932"/>
                    <a:gd name="connsiteX355" fmla="*/ 797791 w 859464"/>
                    <a:gd name="connsiteY355" fmla="*/ 465803 h 798932"/>
                    <a:gd name="connsiteX356" fmla="*/ 797512 w 859464"/>
                    <a:gd name="connsiteY356" fmla="*/ 469895 h 798932"/>
                    <a:gd name="connsiteX357" fmla="*/ 797791 w 859464"/>
                    <a:gd name="connsiteY357" fmla="*/ 471559 h 798932"/>
                    <a:gd name="connsiteX358" fmla="*/ 797560 w 859464"/>
                    <a:gd name="connsiteY358" fmla="*/ 473757 h 798932"/>
                    <a:gd name="connsiteX359" fmla="*/ 796686 w 859464"/>
                    <a:gd name="connsiteY359" fmla="*/ 476246 h 798932"/>
                    <a:gd name="connsiteX360" fmla="*/ 796735 w 859464"/>
                    <a:gd name="connsiteY360" fmla="*/ 478408 h 798932"/>
                    <a:gd name="connsiteX361" fmla="*/ 797123 w 859464"/>
                    <a:gd name="connsiteY361" fmla="*/ 479525 h 798932"/>
                    <a:gd name="connsiteX362" fmla="*/ 797002 w 859464"/>
                    <a:gd name="connsiteY362" fmla="*/ 480739 h 798932"/>
                    <a:gd name="connsiteX363" fmla="*/ 796686 w 859464"/>
                    <a:gd name="connsiteY363" fmla="*/ 481747 h 798932"/>
                    <a:gd name="connsiteX364" fmla="*/ 794525 w 859464"/>
                    <a:gd name="connsiteY364" fmla="*/ 484965 h 798932"/>
                    <a:gd name="connsiteX365" fmla="*/ 792703 w 859464"/>
                    <a:gd name="connsiteY365" fmla="*/ 487381 h 798932"/>
                    <a:gd name="connsiteX366" fmla="*/ 789886 w 859464"/>
                    <a:gd name="connsiteY366" fmla="*/ 490089 h 798932"/>
                    <a:gd name="connsiteX367" fmla="*/ 788842 w 859464"/>
                    <a:gd name="connsiteY367" fmla="*/ 491473 h 798932"/>
                    <a:gd name="connsiteX368" fmla="*/ 787834 w 859464"/>
                    <a:gd name="connsiteY368" fmla="*/ 492967 h 798932"/>
                    <a:gd name="connsiteX369" fmla="*/ 786960 w 859464"/>
                    <a:gd name="connsiteY369" fmla="*/ 494631 h 798932"/>
                    <a:gd name="connsiteX370" fmla="*/ 785466 w 859464"/>
                    <a:gd name="connsiteY370" fmla="*/ 495942 h 798932"/>
                    <a:gd name="connsiteX371" fmla="*/ 783037 w 859464"/>
                    <a:gd name="connsiteY371" fmla="*/ 496440 h 798932"/>
                    <a:gd name="connsiteX372" fmla="*/ 782600 w 859464"/>
                    <a:gd name="connsiteY372" fmla="*/ 497545 h 798932"/>
                    <a:gd name="connsiteX373" fmla="*/ 782151 w 859464"/>
                    <a:gd name="connsiteY373" fmla="*/ 498480 h 798932"/>
                    <a:gd name="connsiteX374" fmla="*/ 780439 w 859464"/>
                    <a:gd name="connsiteY374" fmla="*/ 498540 h 798932"/>
                    <a:gd name="connsiteX375" fmla="*/ 776468 w 859464"/>
                    <a:gd name="connsiteY375" fmla="*/ 499779 h 798932"/>
                    <a:gd name="connsiteX376" fmla="*/ 775241 w 859464"/>
                    <a:gd name="connsiteY376" fmla="*/ 499536 h 798932"/>
                    <a:gd name="connsiteX377" fmla="*/ 773991 w 859464"/>
                    <a:gd name="connsiteY377" fmla="*/ 499366 h 798932"/>
                    <a:gd name="connsiteX378" fmla="*/ 772497 w 859464"/>
                    <a:gd name="connsiteY378" fmla="*/ 498747 h 798932"/>
                    <a:gd name="connsiteX379" fmla="*/ 769899 w 859464"/>
                    <a:gd name="connsiteY379" fmla="*/ 497156 h 798932"/>
                    <a:gd name="connsiteX380" fmla="*/ 768612 w 859464"/>
                    <a:gd name="connsiteY380" fmla="*/ 495784 h 798932"/>
                    <a:gd name="connsiteX381" fmla="*/ 768563 w 859464"/>
                    <a:gd name="connsiteY381" fmla="*/ 493902 h 798932"/>
                    <a:gd name="connsiteX382" fmla="*/ 767519 w 859464"/>
                    <a:gd name="connsiteY382" fmla="*/ 493076 h 798932"/>
                    <a:gd name="connsiteX383" fmla="*/ 766244 w 859464"/>
                    <a:gd name="connsiteY383" fmla="*/ 492712 h 798932"/>
                    <a:gd name="connsiteX384" fmla="*/ 765139 w 859464"/>
                    <a:gd name="connsiteY384" fmla="*/ 492967 h 798932"/>
                    <a:gd name="connsiteX385" fmla="*/ 764762 w 859464"/>
                    <a:gd name="connsiteY385" fmla="*/ 493234 h 798932"/>
                    <a:gd name="connsiteX386" fmla="*/ 762710 w 859464"/>
                    <a:gd name="connsiteY386" fmla="*/ 495942 h 798932"/>
                    <a:gd name="connsiteX387" fmla="*/ 760828 w 859464"/>
                    <a:gd name="connsiteY387" fmla="*/ 498868 h 798932"/>
                    <a:gd name="connsiteX388" fmla="*/ 760342 w 859464"/>
                    <a:gd name="connsiteY388" fmla="*/ 500301 h 798932"/>
                    <a:gd name="connsiteX389" fmla="*/ 758509 w 859464"/>
                    <a:gd name="connsiteY389" fmla="*/ 503119 h 798932"/>
                    <a:gd name="connsiteX390" fmla="*/ 757185 w 859464"/>
                    <a:gd name="connsiteY390" fmla="*/ 504600 h 798932"/>
                    <a:gd name="connsiteX391" fmla="*/ 754477 w 859464"/>
                    <a:gd name="connsiteY391" fmla="*/ 506482 h 798932"/>
                    <a:gd name="connsiteX392" fmla="*/ 753542 w 859464"/>
                    <a:gd name="connsiteY392" fmla="*/ 506154 h 798932"/>
                    <a:gd name="connsiteX393" fmla="*/ 752668 w 859464"/>
                    <a:gd name="connsiteY393" fmla="*/ 505984 h 798932"/>
                    <a:gd name="connsiteX394" fmla="*/ 748296 w 859464"/>
                    <a:gd name="connsiteY394" fmla="*/ 505923 h 798932"/>
                    <a:gd name="connsiteX395" fmla="*/ 745418 w 859464"/>
                    <a:gd name="connsiteY395" fmla="*/ 506154 h 798932"/>
                    <a:gd name="connsiteX396" fmla="*/ 740076 w 859464"/>
                    <a:gd name="connsiteY396" fmla="*/ 505098 h 798932"/>
                    <a:gd name="connsiteX397" fmla="*/ 738461 w 859464"/>
                    <a:gd name="connsiteY397" fmla="*/ 506045 h 798932"/>
                    <a:gd name="connsiteX398" fmla="*/ 737805 w 859464"/>
                    <a:gd name="connsiteY398" fmla="*/ 507526 h 798932"/>
                    <a:gd name="connsiteX399" fmla="*/ 736651 w 859464"/>
                    <a:gd name="connsiteY399" fmla="*/ 509299 h 798932"/>
                    <a:gd name="connsiteX400" fmla="*/ 736421 w 859464"/>
                    <a:gd name="connsiteY400" fmla="*/ 511024 h 798932"/>
                    <a:gd name="connsiteX401" fmla="*/ 736481 w 859464"/>
                    <a:gd name="connsiteY401" fmla="*/ 516767 h 798932"/>
                    <a:gd name="connsiteX402" fmla="*/ 737149 w 859464"/>
                    <a:gd name="connsiteY402" fmla="*/ 518006 h 798932"/>
                    <a:gd name="connsiteX403" fmla="*/ 738242 w 859464"/>
                    <a:gd name="connsiteY403" fmla="*/ 519098 h 798932"/>
                    <a:gd name="connsiteX404" fmla="*/ 735923 w 859464"/>
                    <a:gd name="connsiteY404" fmla="*/ 521406 h 798932"/>
                    <a:gd name="connsiteX405" fmla="*/ 734927 w 859464"/>
                    <a:gd name="connsiteY405" fmla="*/ 523288 h 798932"/>
                    <a:gd name="connsiteX406" fmla="*/ 731782 w 859464"/>
                    <a:gd name="connsiteY406" fmla="*/ 523458 h 798932"/>
                    <a:gd name="connsiteX407" fmla="*/ 726645 w 859464"/>
                    <a:gd name="connsiteY407" fmla="*/ 524830 h 798932"/>
                    <a:gd name="connsiteX408" fmla="*/ 720356 w 859464"/>
                    <a:gd name="connsiteY408" fmla="*/ 526931 h 798932"/>
                    <a:gd name="connsiteX409" fmla="*/ 716203 w 859464"/>
                    <a:gd name="connsiteY409" fmla="*/ 528752 h 798932"/>
                    <a:gd name="connsiteX410" fmla="*/ 714600 w 859464"/>
                    <a:gd name="connsiteY410" fmla="*/ 527586 h 798932"/>
                    <a:gd name="connsiteX411" fmla="*/ 713228 w 859464"/>
                    <a:gd name="connsiteY411" fmla="*/ 526919 h 798932"/>
                    <a:gd name="connsiteX412" fmla="*/ 712730 w 859464"/>
                    <a:gd name="connsiteY412" fmla="*/ 528691 h 798932"/>
                    <a:gd name="connsiteX413" fmla="*/ 712013 w 859464"/>
                    <a:gd name="connsiteY413" fmla="*/ 529578 h 798932"/>
                    <a:gd name="connsiteX414" fmla="*/ 711078 w 859464"/>
                    <a:gd name="connsiteY414" fmla="*/ 530064 h 798932"/>
                    <a:gd name="connsiteX415" fmla="*/ 710398 w 859464"/>
                    <a:gd name="connsiteY415" fmla="*/ 531011 h 798932"/>
                    <a:gd name="connsiteX416" fmla="*/ 709415 w 859464"/>
                    <a:gd name="connsiteY416" fmla="*/ 532116 h 798932"/>
                    <a:gd name="connsiteX417" fmla="*/ 705602 w 859464"/>
                    <a:gd name="connsiteY417" fmla="*/ 532565 h 798932"/>
                    <a:gd name="connsiteX418" fmla="*/ 704169 w 859464"/>
                    <a:gd name="connsiteY418" fmla="*/ 533002 h 798932"/>
                    <a:gd name="connsiteX419" fmla="*/ 702955 w 859464"/>
                    <a:gd name="connsiteY419" fmla="*/ 533488 h 798932"/>
                    <a:gd name="connsiteX420" fmla="*/ 701789 w 859464"/>
                    <a:gd name="connsiteY420" fmla="*/ 533549 h 798932"/>
                    <a:gd name="connsiteX421" fmla="*/ 698304 w 859464"/>
                    <a:gd name="connsiteY421" fmla="*/ 532565 h 798932"/>
                    <a:gd name="connsiteX422" fmla="*/ 696373 w 859464"/>
                    <a:gd name="connsiteY422" fmla="*/ 531836 h 798932"/>
                    <a:gd name="connsiteX423" fmla="*/ 694843 w 859464"/>
                    <a:gd name="connsiteY423" fmla="*/ 530841 h 798932"/>
                    <a:gd name="connsiteX424" fmla="*/ 693180 w 859464"/>
                    <a:gd name="connsiteY424" fmla="*/ 529469 h 798932"/>
                    <a:gd name="connsiteX425" fmla="*/ 691625 w 859464"/>
                    <a:gd name="connsiteY425" fmla="*/ 528582 h 798932"/>
                    <a:gd name="connsiteX426" fmla="*/ 689755 w 859464"/>
                    <a:gd name="connsiteY426" fmla="*/ 528400 h 798932"/>
                    <a:gd name="connsiteX427" fmla="*/ 688480 w 859464"/>
                    <a:gd name="connsiteY427" fmla="*/ 528521 h 798932"/>
                    <a:gd name="connsiteX428" fmla="*/ 686877 w 859464"/>
                    <a:gd name="connsiteY428" fmla="*/ 529298 h 798932"/>
                    <a:gd name="connsiteX429" fmla="*/ 687314 w 859464"/>
                    <a:gd name="connsiteY429" fmla="*/ 530962 h 798932"/>
                    <a:gd name="connsiteX430" fmla="*/ 687205 w 859464"/>
                    <a:gd name="connsiteY430" fmla="*/ 532662 h 798932"/>
                    <a:gd name="connsiteX431" fmla="*/ 687497 w 859464"/>
                    <a:gd name="connsiteY431" fmla="*/ 533779 h 798932"/>
                    <a:gd name="connsiteX432" fmla="*/ 688322 w 859464"/>
                    <a:gd name="connsiteY432" fmla="*/ 534605 h 798932"/>
                    <a:gd name="connsiteX433" fmla="*/ 688638 w 859464"/>
                    <a:gd name="connsiteY433" fmla="*/ 535370 h 798932"/>
                    <a:gd name="connsiteX434" fmla="*/ 688541 w 859464"/>
                    <a:gd name="connsiteY434" fmla="*/ 537082 h 798932"/>
                    <a:gd name="connsiteX435" fmla="*/ 688140 w 859464"/>
                    <a:gd name="connsiteY435" fmla="*/ 538515 h 798932"/>
                    <a:gd name="connsiteX436" fmla="*/ 688371 w 859464"/>
                    <a:gd name="connsiteY436" fmla="*/ 539948 h 798932"/>
                    <a:gd name="connsiteX437" fmla="*/ 687654 w 859464"/>
                    <a:gd name="connsiteY437" fmla="*/ 540616 h 798932"/>
                    <a:gd name="connsiteX438" fmla="*/ 686659 w 859464"/>
                    <a:gd name="connsiteY438" fmla="*/ 540895 h 798932"/>
                    <a:gd name="connsiteX439" fmla="*/ 685165 w 859464"/>
                    <a:gd name="connsiteY439" fmla="*/ 540944 h 798932"/>
                    <a:gd name="connsiteX440" fmla="*/ 683842 w 859464"/>
                    <a:gd name="connsiteY440" fmla="*/ 540895 h 798932"/>
                    <a:gd name="connsiteX441" fmla="*/ 681632 w 859464"/>
                    <a:gd name="connsiteY441" fmla="*/ 540118 h 798932"/>
                    <a:gd name="connsiteX442" fmla="*/ 680429 w 859464"/>
                    <a:gd name="connsiteY442" fmla="*/ 539899 h 798932"/>
                    <a:gd name="connsiteX443" fmla="*/ 679762 w 859464"/>
                    <a:gd name="connsiteY443" fmla="*/ 544040 h 798932"/>
                    <a:gd name="connsiteX444" fmla="*/ 679082 w 859464"/>
                    <a:gd name="connsiteY444" fmla="*/ 545315 h 798932"/>
                    <a:gd name="connsiteX445" fmla="*/ 677540 w 859464"/>
                    <a:gd name="connsiteY445" fmla="*/ 546578 h 798932"/>
                    <a:gd name="connsiteX446" fmla="*/ 679264 w 859464"/>
                    <a:gd name="connsiteY446" fmla="*/ 549565 h 798932"/>
                    <a:gd name="connsiteX447" fmla="*/ 678924 w 859464"/>
                    <a:gd name="connsiteY447" fmla="*/ 551496 h 798932"/>
                    <a:gd name="connsiteX448" fmla="*/ 678924 w 859464"/>
                    <a:gd name="connsiteY448" fmla="*/ 552322 h 798932"/>
                    <a:gd name="connsiteX449" fmla="*/ 677819 w 859464"/>
                    <a:gd name="connsiteY449" fmla="*/ 554799 h 798932"/>
                    <a:gd name="connsiteX450" fmla="*/ 678268 w 859464"/>
                    <a:gd name="connsiteY450" fmla="*/ 558223 h 798932"/>
                    <a:gd name="connsiteX451" fmla="*/ 677479 w 859464"/>
                    <a:gd name="connsiteY451" fmla="*/ 559486 h 798932"/>
                    <a:gd name="connsiteX452" fmla="*/ 676714 w 859464"/>
                    <a:gd name="connsiteY452" fmla="*/ 560251 h 798932"/>
                    <a:gd name="connsiteX453" fmla="*/ 675669 w 859464"/>
                    <a:gd name="connsiteY453" fmla="*/ 561635 h 798932"/>
                    <a:gd name="connsiteX454" fmla="*/ 673302 w 859464"/>
                    <a:gd name="connsiteY454" fmla="*/ 563007 h 798932"/>
                    <a:gd name="connsiteX455" fmla="*/ 672743 w 859464"/>
                    <a:gd name="connsiteY455" fmla="*/ 561745 h 798932"/>
                    <a:gd name="connsiteX456" fmla="*/ 671577 w 859464"/>
                    <a:gd name="connsiteY456" fmla="*/ 560700 h 798932"/>
                    <a:gd name="connsiteX457" fmla="*/ 667825 w 859464"/>
                    <a:gd name="connsiteY457" fmla="*/ 559814 h 798932"/>
                    <a:gd name="connsiteX458" fmla="*/ 665882 w 859464"/>
                    <a:gd name="connsiteY458" fmla="*/ 559705 h 798932"/>
                    <a:gd name="connsiteX459" fmla="*/ 664498 w 859464"/>
                    <a:gd name="connsiteY459" fmla="*/ 558818 h 798932"/>
                    <a:gd name="connsiteX460" fmla="*/ 663514 w 859464"/>
                    <a:gd name="connsiteY460" fmla="*/ 558600 h 798932"/>
                    <a:gd name="connsiteX461" fmla="*/ 660916 w 859464"/>
                    <a:gd name="connsiteY461" fmla="*/ 558320 h 798932"/>
                    <a:gd name="connsiteX462" fmla="*/ 657321 w 859464"/>
                    <a:gd name="connsiteY462" fmla="*/ 557385 h 798932"/>
                    <a:gd name="connsiteX463" fmla="*/ 653411 w 859464"/>
                    <a:gd name="connsiteY463" fmla="*/ 555564 h 798932"/>
                    <a:gd name="connsiteX464" fmla="*/ 650983 w 859464"/>
                    <a:gd name="connsiteY464" fmla="*/ 555406 h 798932"/>
                    <a:gd name="connsiteX465" fmla="*/ 647656 w 859464"/>
                    <a:gd name="connsiteY465" fmla="*/ 554847 h 798932"/>
                    <a:gd name="connsiteX466" fmla="*/ 645616 w 859464"/>
                    <a:gd name="connsiteY466" fmla="*/ 554738 h 798932"/>
                    <a:gd name="connsiteX467" fmla="*/ 645118 w 859464"/>
                    <a:gd name="connsiteY467" fmla="*/ 555612 h 798932"/>
                    <a:gd name="connsiteX468" fmla="*/ 644025 w 859464"/>
                    <a:gd name="connsiteY468" fmla="*/ 556171 h 798932"/>
                    <a:gd name="connsiteX469" fmla="*/ 642568 w 859464"/>
                    <a:gd name="connsiteY469" fmla="*/ 556438 h 798932"/>
                    <a:gd name="connsiteX470" fmla="*/ 641196 w 859464"/>
                    <a:gd name="connsiteY470" fmla="*/ 557045 h 798932"/>
                    <a:gd name="connsiteX471" fmla="*/ 639095 w 859464"/>
                    <a:gd name="connsiteY471" fmla="*/ 557482 h 798932"/>
                    <a:gd name="connsiteX472" fmla="*/ 637286 w 859464"/>
                    <a:gd name="connsiteY472" fmla="*/ 557373 h 798932"/>
                    <a:gd name="connsiteX473" fmla="*/ 636229 w 859464"/>
                    <a:gd name="connsiteY473" fmla="*/ 556657 h 798932"/>
                    <a:gd name="connsiteX474" fmla="*/ 636958 w 859464"/>
                    <a:gd name="connsiteY474" fmla="*/ 555333 h 798932"/>
                    <a:gd name="connsiteX475" fmla="*/ 636958 w 859464"/>
                    <a:gd name="connsiteY475" fmla="*/ 554107 h 798932"/>
                    <a:gd name="connsiteX476" fmla="*/ 638172 w 859464"/>
                    <a:gd name="connsiteY476" fmla="*/ 553123 h 798932"/>
                    <a:gd name="connsiteX477" fmla="*/ 640261 w 859464"/>
                    <a:gd name="connsiteY477" fmla="*/ 551800 h 798932"/>
                    <a:gd name="connsiteX478" fmla="*/ 640491 w 859464"/>
                    <a:gd name="connsiteY478" fmla="*/ 551071 h 798932"/>
                    <a:gd name="connsiteX479" fmla="*/ 638549 w 859464"/>
                    <a:gd name="connsiteY479" fmla="*/ 549808 h 798932"/>
                    <a:gd name="connsiteX480" fmla="*/ 636727 w 859464"/>
                    <a:gd name="connsiteY480" fmla="*/ 549310 h 798932"/>
                    <a:gd name="connsiteX481" fmla="*/ 634626 w 859464"/>
                    <a:gd name="connsiteY481" fmla="*/ 548363 h 798932"/>
                    <a:gd name="connsiteX482" fmla="*/ 635464 w 859464"/>
                    <a:gd name="connsiteY482" fmla="*/ 546772 h 798932"/>
                    <a:gd name="connsiteX483" fmla="*/ 634359 w 859464"/>
                    <a:gd name="connsiteY483" fmla="*/ 546432 h 798932"/>
                    <a:gd name="connsiteX484" fmla="*/ 633023 w 859464"/>
                    <a:gd name="connsiteY484" fmla="*/ 545716 h 798932"/>
                    <a:gd name="connsiteX485" fmla="*/ 632368 w 859464"/>
                    <a:gd name="connsiteY485" fmla="*/ 545485 h 798932"/>
                    <a:gd name="connsiteX486" fmla="*/ 630595 w 859464"/>
                    <a:gd name="connsiteY486" fmla="*/ 545716 h 798932"/>
                    <a:gd name="connsiteX487" fmla="*/ 629053 w 859464"/>
                    <a:gd name="connsiteY487" fmla="*/ 544939 h 798932"/>
                    <a:gd name="connsiteX488" fmla="*/ 626236 w 859464"/>
                    <a:gd name="connsiteY488" fmla="*/ 542838 h 798932"/>
                    <a:gd name="connsiteX489" fmla="*/ 624961 w 859464"/>
                    <a:gd name="connsiteY489" fmla="*/ 541964 h 798932"/>
                    <a:gd name="connsiteX490" fmla="*/ 622483 w 859464"/>
                    <a:gd name="connsiteY490" fmla="*/ 541466 h 798932"/>
                    <a:gd name="connsiteX491" fmla="*/ 620431 w 859464"/>
                    <a:gd name="connsiteY491" fmla="*/ 544234 h 798932"/>
                    <a:gd name="connsiteX492" fmla="*/ 619047 w 859464"/>
                    <a:gd name="connsiteY492" fmla="*/ 544781 h 798932"/>
                    <a:gd name="connsiteX493" fmla="*/ 617893 w 859464"/>
                    <a:gd name="connsiteY493" fmla="*/ 544890 h 798932"/>
                    <a:gd name="connsiteX494" fmla="*/ 616679 w 859464"/>
                    <a:gd name="connsiteY494" fmla="*/ 546116 h 798932"/>
                    <a:gd name="connsiteX495" fmla="*/ 614845 w 859464"/>
                    <a:gd name="connsiteY495" fmla="*/ 547173 h 798932"/>
                    <a:gd name="connsiteX496" fmla="*/ 613413 w 859464"/>
                    <a:gd name="connsiteY496" fmla="*/ 547550 h 798932"/>
                    <a:gd name="connsiteX497" fmla="*/ 610498 w 859464"/>
                    <a:gd name="connsiteY497" fmla="*/ 547234 h 798932"/>
                    <a:gd name="connsiteX498" fmla="*/ 610608 w 859464"/>
                    <a:gd name="connsiteY498" fmla="*/ 548497 h 798932"/>
                    <a:gd name="connsiteX499" fmla="*/ 609818 w 859464"/>
                    <a:gd name="connsiteY499" fmla="*/ 550221 h 798932"/>
                    <a:gd name="connsiteX500" fmla="*/ 609114 w 859464"/>
                    <a:gd name="connsiteY500" fmla="*/ 551217 h 798932"/>
                    <a:gd name="connsiteX501" fmla="*/ 608786 w 859464"/>
                    <a:gd name="connsiteY501" fmla="*/ 552030 h 798932"/>
                    <a:gd name="connsiteX502" fmla="*/ 608385 w 859464"/>
                    <a:gd name="connsiteY502" fmla="*/ 554957 h 798932"/>
                    <a:gd name="connsiteX503" fmla="*/ 608385 w 859464"/>
                    <a:gd name="connsiteY503" fmla="*/ 557179 h 798932"/>
                    <a:gd name="connsiteX504" fmla="*/ 607948 w 859464"/>
                    <a:gd name="connsiteY504" fmla="*/ 558332 h 798932"/>
                    <a:gd name="connsiteX505" fmla="*/ 606625 w 859464"/>
                    <a:gd name="connsiteY505" fmla="*/ 559765 h 798932"/>
                    <a:gd name="connsiteX506" fmla="*/ 605969 w 859464"/>
                    <a:gd name="connsiteY506" fmla="*/ 560651 h 798932"/>
                    <a:gd name="connsiteX507" fmla="*/ 604585 w 859464"/>
                    <a:gd name="connsiteY507" fmla="*/ 560822 h 798932"/>
                    <a:gd name="connsiteX508" fmla="*/ 602484 w 859464"/>
                    <a:gd name="connsiteY508" fmla="*/ 560882 h 798932"/>
                    <a:gd name="connsiteX509" fmla="*/ 601270 w 859464"/>
                    <a:gd name="connsiteY509" fmla="*/ 564683 h 798932"/>
                    <a:gd name="connsiteX510" fmla="*/ 598720 w 859464"/>
                    <a:gd name="connsiteY510" fmla="*/ 563809 h 798932"/>
                    <a:gd name="connsiteX511" fmla="*/ 596413 w 859464"/>
                    <a:gd name="connsiteY511" fmla="*/ 563190 h 798932"/>
                    <a:gd name="connsiteX512" fmla="*/ 595915 w 859464"/>
                    <a:gd name="connsiteY512" fmla="*/ 562473 h 798932"/>
                    <a:gd name="connsiteX513" fmla="*/ 595247 w 859464"/>
                    <a:gd name="connsiteY513" fmla="*/ 559935 h 798932"/>
                    <a:gd name="connsiteX514" fmla="*/ 592770 w 859464"/>
                    <a:gd name="connsiteY514" fmla="*/ 557555 h 798932"/>
                    <a:gd name="connsiteX515" fmla="*/ 592381 w 859464"/>
                    <a:gd name="connsiteY515" fmla="*/ 556511 h 798932"/>
                    <a:gd name="connsiteX516" fmla="*/ 592539 w 859464"/>
                    <a:gd name="connsiteY516" fmla="*/ 555406 h 798932"/>
                    <a:gd name="connsiteX517" fmla="*/ 592090 w 859464"/>
                    <a:gd name="connsiteY517" fmla="*/ 553742 h 798932"/>
                    <a:gd name="connsiteX518" fmla="*/ 591653 w 859464"/>
                    <a:gd name="connsiteY518" fmla="*/ 553074 h 798932"/>
                    <a:gd name="connsiteX519" fmla="*/ 591337 w 859464"/>
                    <a:gd name="connsiteY519" fmla="*/ 553014 h 798932"/>
                    <a:gd name="connsiteX520" fmla="*/ 590778 w 859464"/>
                    <a:gd name="connsiteY520" fmla="*/ 553293 h 798932"/>
                    <a:gd name="connsiteX521" fmla="*/ 588677 w 859464"/>
                    <a:gd name="connsiteY521" fmla="*/ 555224 h 798932"/>
                    <a:gd name="connsiteX522" fmla="*/ 587742 w 859464"/>
                    <a:gd name="connsiteY522" fmla="*/ 555831 h 798932"/>
                    <a:gd name="connsiteX523" fmla="*/ 586407 w 859464"/>
                    <a:gd name="connsiteY523" fmla="*/ 557094 h 798932"/>
                    <a:gd name="connsiteX524" fmla="*/ 586577 w 859464"/>
                    <a:gd name="connsiteY524" fmla="*/ 557823 h 798932"/>
                    <a:gd name="connsiteX525" fmla="*/ 587293 w 859464"/>
                    <a:gd name="connsiteY525" fmla="*/ 558806 h 798932"/>
                    <a:gd name="connsiteX526" fmla="*/ 588556 w 859464"/>
                    <a:gd name="connsiteY526" fmla="*/ 561404 h 798932"/>
                    <a:gd name="connsiteX527" fmla="*/ 588350 w 859464"/>
                    <a:gd name="connsiteY527" fmla="*/ 562631 h 798932"/>
                    <a:gd name="connsiteX528" fmla="*/ 588459 w 859464"/>
                    <a:gd name="connsiteY528" fmla="*/ 563505 h 798932"/>
                    <a:gd name="connsiteX529" fmla="*/ 589552 w 859464"/>
                    <a:gd name="connsiteY529" fmla="*/ 564185 h 798932"/>
                    <a:gd name="connsiteX530" fmla="*/ 590499 w 859464"/>
                    <a:gd name="connsiteY530" fmla="*/ 565278 h 798932"/>
                    <a:gd name="connsiteX531" fmla="*/ 590341 w 859464"/>
                    <a:gd name="connsiteY531" fmla="*/ 566553 h 798932"/>
                    <a:gd name="connsiteX532" fmla="*/ 590050 w 859464"/>
                    <a:gd name="connsiteY532" fmla="*/ 567427 h 798932"/>
                    <a:gd name="connsiteX533" fmla="*/ 589236 w 859464"/>
                    <a:gd name="connsiteY533" fmla="*/ 567974 h 798932"/>
                    <a:gd name="connsiteX534" fmla="*/ 587184 w 859464"/>
                    <a:gd name="connsiteY534" fmla="*/ 568739 h 798932"/>
                    <a:gd name="connsiteX535" fmla="*/ 587184 w 859464"/>
                    <a:gd name="connsiteY535" fmla="*/ 569310 h 798932"/>
                    <a:gd name="connsiteX536" fmla="*/ 587293 w 859464"/>
                    <a:gd name="connsiteY536" fmla="*/ 570402 h 798932"/>
                    <a:gd name="connsiteX537" fmla="*/ 586905 w 859464"/>
                    <a:gd name="connsiteY537" fmla="*/ 571179 h 798932"/>
                    <a:gd name="connsiteX538" fmla="*/ 585314 w 859464"/>
                    <a:gd name="connsiteY538" fmla="*/ 572843 h 798932"/>
                    <a:gd name="connsiteX539" fmla="*/ 584816 w 859464"/>
                    <a:gd name="connsiteY539" fmla="*/ 573560 h 798932"/>
                    <a:gd name="connsiteX540" fmla="*/ 585193 w 859464"/>
                    <a:gd name="connsiteY540" fmla="*/ 573620 h 798932"/>
                    <a:gd name="connsiteX541" fmla="*/ 589005 w 859464"/>
                    <a:gd name="connsiteY541" fmla="*/ 575102 h 798932"/>
                    <a:gd name="connsiteX542" fmla="*/ 592150 w 859464"/>
                    <a:gd name="connsiteY542" fmla="*/ 576207 h 798932"/>
                    <a:gd name="connsiteX543" fmla="*/ 594931 w 859464"/>
                    <a:gd name="connsiteY543" fmla="*/ 576705 h 798932"/>
                    <a:gd name="connsiteX544" fmla="*/ 600553 w 859464"/>
                    <a:gd name="connsiteY544" fmla="*/ 578526 h 798932"/>
                    <a:gd name="connsiteX545" fmla="*/ 602545 w 859464"/>
                    <a:gd name="connsiteY545" fmla="*/ 579789 h 798932"/>
                    <a:gd name="connsiteX546" fmla="*/ 604415 w 859464"/>
                    <a:gd name="connsiteY546" fmla="*/ 581343 h 798932"/>
                    <a:gd name="connsiteX547" fmla="*/ 605629 w 859464"/>
                    <a:gd name="connsiteY547" fmla="*/ 582072 h 798932"/>
                    <a:gd name="connsiteX548" fmla="*/ 606965 w 859464"/>
                    <a:gd name="connsiteY548" fmla="*/ 583055 h 798932"/>
                    <a:gd name="connsiteX549" fmla="*/ 608944 w 859464"/>
                    <a:gd name="connsiteY549" fmla="*/ 583772 h 798932"/>
                    <a:gd name="connsiteX550" fmla="*/ 608568 w 859464"/>
                    <a:gd name="connsiteY550" fmla="*/ 581962 h 798932"/>
                    <a:gd name="connsiteX551" fmla="*/ 608786 w 859464"/>
                    <a:gd name="connsiteY551" fmla="*/ 580092 h 798932"/>
                    <a:gd name="connsiteX552" fmla="*/ 609612 w 859464"/>
                    <a:gd name="connsiteY552" fmla="*/ 577870 h 798932"/>
                    <a:gd name="connsiteX553" fmla="*/ 613085 w 859464"/>
                    <a:gd name="connsiteY553" fmla="*/ 578987 h 798932"/>
                    <a:gd name="connsiteX554" fmla="*/ 615137 w 859464"/>
                    <a:gd name="connsiteY554" fmla="*/ 580141 h 798932"/>
                    <a:gd name="connsiteX555" fmla="*/ 617177 w 859464"/>
                    <a:gd name="connsiteY555" fmla="*/ 577494 h 798932"/>
                    <a:gd name="connsiteX556" fmla="*/ 624244 w 859464"/>
                    <a:gd name="connsiteY556" fmla="*/ 582023 h 798932"/>
                    <a:gd name="connsiteX557" fmla="*/ 627001 w 859464"/>
                    <a:gd name="connsiteY557" fmla="*/ 582084 h 798932"/>
                    <a:gd name="connsiteX558" fmla="*/ 627887 w 859464"/>
                    <a:gd name="connsiteY558" fmla="*/ 583954 h 798932"/>
                    <a:gd name="connsiteX559" fmla="*/ 628118 w 859464"/>
                    <a:gd name="connsiteY559" fmla="*/ 584937 h 798932"/>
                    <a:gd name="connsiteX560" fmla="*/ 627936 w 859464"/>
                    <a:gd name="connsiteY560" fmla="*/ 585763 h 798932"/>
                    <a:gd name="connsiteX561" fmla="*/ 627292 w 859464"/>
                    <a:gd name="connsiteY561" fmla="*/ 586322 h 798932"/>
                    <a:gd name="connsiteX562" fmla="*/ 626624 w 859464"/>
                    <a:gd name="connsiteY562" fmla="*/ 586553 h 798932"/>
                    <a:gd name="connsiteX563" fmla="*/ 626454 w 859464"/>
                    <a:gd name="connsiteY563" fmla="*/ 587779 h 798932"/>
                    <a:gd name="connsiteX564" fmla="*/ 626843 w 859464"/>
                    <a:gd name="connsiteY564" fmla="*/ 588981 h 798932"/>
                    <a:gd name="connsiteX565" fmla="*/ 627292 w 859464"/>
                    <a:gd name="connsiteY565" fmla="*/ 589661 h 798932"/>
                    <a:gd name="connsiteX566" fmla="*/ 627438 w 859464"/>
                    <a:gd name="connsiteY566" fmla="*/ 592199 h 798932"/>
                    <a:gd name="connsiteX567" fmla="*/ 625568 w 859464"/>
                    <a:gd name="connsiteY567" fmla="*/ 592369 h 798932"/>
                    <a:gd name="connsiteX568" fmla="*/ 623418 w 859464"/>
                    <a:gd name="connsiteY568" fmla="*/ 593134 h 798932"/>
                    <a:gd name="connsiteX569" fmla="*/ 623358 w 859464"/>
                    <a:gd name="connsiteY569" fmla="*/ 596777 h 798932"/>
                    <a:gd name="connsiteX570" fmla="*/ 623200 w 859464"/>
                    <a:gd name="connsiteY570" fmla="*/ 598149 h 798932"/>
                    <a:gd name="connsiteX571" fmla="*/ 622921 w 859464"/>
                    <a:gd name="connsiteY571" fmla="*/ 599376 h 798932"/>
                    <a:gd name="connsiteX572" fmla="*/ 621427 w 859464"/>
                    <a:gd name="connsiteY572" fmla="*/ 601585 h 798932"/>
                    <a:gd name="connsiteX573" fmla="*/ 621706 w 859464"/>
                    <a:gd name="connsiteY573" fmla="*/ 602812 h 798932"/>
                    <a:gd name="connsiteX574" fmla="*/ 622702 w 859464"/>
                    <a:gd name="connsiteY574" fmla="*/ 603079 h 798932"/>
                    <a:gd name="connsiteX575" fmla="*/ 623758 w 859464"/>
                    <a:gd name="connsiteY575" fmla="*/ 603079 h 798932"/>
                    <a:gd name="connsiteX576" fmla="*/ 624693 w 859464"/>
                    <a:gd name="connsiteY576" fmla="*/ 604026 h 798932"/>
                    <a:gd name="connsiteX577" fmla="*/ 627292 w 859464"/>
                    <a:gd name="connsiteY577" fmla="*/ 605071 h 798932"/>
                    <a:gd name="connsiteX578" fmla="*/ 628786 w 859464"/>
                    <a:gd name="connsiteY578" fmla="*/ 606783 h 798932"/>
                    <a:gd name="connsiteX579" fmla="*/ 629551 w 859464"/>
                    <a:gd name="connsiteY579" fmla="*/ 607888 h 798932"/>
                    <a:gd name="connsiteX580" fmla="*/ 630716 w 859464"/>
                    <a:gd name="connsiteY580" fmla="*/ 608713 h 798932"/>
                    <a:gd name="connsiteX581" fmla="*/ 629490 w 859464"/>
                    <a:gd name="connsiteY581" fmla="*/ 609211 h 798932"/>
                    <a:gd name="connsiteX582" fmla="*/ 624196 w 859464"/>
                    <a:gd name="connsiteY582" fmla="*/ 611992 h 798932"/>
                    <a:gd name="connsiteX583" fmla="*/ 622969 w 859464"/>
                    <a:gd name="connsiteY583" fmla="*/ 613522 h 798932"/>
                    <a:gd name="connsiteX584" fmla="*/ 619933 w 859464"/>
                    <a:gd name="connsiteY584" fmla="*/ 612587 h 798932"/>
                    <a:gd name="connsiteX585" fmla="*/ 616837 w 859464"/>
                    <a:gd name="connsiteY585" fmla="*/ 612150 h 798932"/>
                    <a:gd name="connsiteX586" fmla="*/ 614639 w 859464"/>
                    <a:gd name="connsiteY586" fmla="*/ 612381 h 798932"/>
                    <a:gd name="connsiteX587" fmla="*/ 613303 w 859464"/>
                    <a:gd name="connsiteY587" fmla="*/ 612150 h 798932"/>
                    <a:gd name="connsiteX588" fmla="*/ 609272 w 859464"/>
                    <a:gd name="connsiteY588" fmla="*/ 610984 h 798932"/>
                    <a:gd name="connsiteX589" fmla="*/ 608385 w 859464"/>
                    <a:gd name="connsiteY589" fmla="*/ 609988 h 798932"/>
                    <a:gd name="connsiteX590" fmla="*/ 607402 w 859464"/>
                    <a:gd name="connsiteY590" fmla="*/ 609272 h 798932"/>
                    <a:gd name="connsiteX591" fmla="*/ 605848 w 859464"/>
                    <a:gd name="connsiteY591" fmla="*/ 608604 h 798932"/>
                    <a:gd name="connsiteX592" fmla="*/ 603140 w 859464"/>
                    <a:gd name="connsiteY592" fmla="*/ 608276 h 798932"/>
                    <a:gd name="connsiteX593" fmla="*/ 602873 w 859464"/>
                    <a:gd name="connsiteY593" fmla="*/ 605119 h 798932"/>
                    <a:gd name="connsiteX594" fmla="*/ 602435 w 859464"/>
                    <a:gd name="connsiteY594" fmla="*/ 603407 h 798932"/>
                    <a:gd name="connsiteX595" fmla="*/ 600942 w 859464"/>
                    <a:gd name="connsiteY595" fmla="*/ 602642 h 798932"/>
                    <a:gd name="connsiteX596" fmla="*/ 598550 w 859464"/>
                    <a:gd name="connsiteY596" fmla="*/ 601755 h 798932"/>
                    <a:gd name="connsiteX597" fmla="*/ 598610 w 859464"/>
                    <a:gd name="connsiteY597" fmla="*/ 601148 h 798932"/>
                    <a:gd name="connsiteX598" fmla="*/ 596850 w 859464"/>
                    <a:gd name="connsiteY598" fmla="*/ 600711 h 798932"/>
                    <a:gd name="connsiteX599" fmla="*/ 596570 w 859464"/>
                    <a:gd name="connsiteY599" fmla="*/ 599218 h 798932"/>
                    <a:gd name="connsiteX600" fmla="*/ 596073 w 859464"/>
                    <a:gd name="connsiteY600" fmla="*/ 598222 h 798932"/>
                    <a:gd name="connsiteX601" fmla="*/ 592539 w 859464"/>
                    <a:gd name="connsiteY601" fmla="*/ 596789 h 798932"/>
                    <a:gd name="connsiteX602" fmla="*/ 592648 w 859464"/>
                    <a:gd name="connsiteY602" fmla="*/ 599218 h 798932"/>
                    <a:gd name="connsiteX603" fmla="*/ 592442 w 859464"/>
                    <a:gd name="connsiteY603" fmla="*/ 600274 h 798932"/>
                    <a:gd name="connsiteX604" fmla="*/ 591482 w 859464"/>
                    <a:gd name="connsiteY604" fmla="*/ 601537 h 798932"/>
                    <a:gd name="connsiteX605" fmla="*/ 588738 w 859464"/>
                    <a:gd name="connsiteY605" fmla="*/ 602606 h 798932"/>
                    <a:gd name="connsiteX606" fmla="*/ 588459 w 859464"/>
                    <a:gd name="connsiteY606" fmla="*/ 603978 h 798932"/>
                    <a:gd name="connsiteX607" fmla="*/ 588070 w 859464"/>
                    <a:gd name="connsiteY607" fmla="*/ 604294 h 798932"/>
                    <a:gd name="connsiteX608" fmla="*/ 587512 w 859464"/>
                    <a:gd name="connsiteY608" fmla="*/ 604245 h 798932"/>
                    <a:gd name="connsiteX609" fmla="*/ 586467 w 859464"/>
                    <a:gd name="connsiteY609" fmla="*/ 601209 h 798932"/>
                    <a:gd name="connsiteX610" fmla="*/ 586018 w 859464"/>
                    <a:gd name="connsiteY610" fmla="*/ 598890 h 798932"/>
                    <a:gd name="connsiteX611" fmla="*/ 585362 w 859464"/>
                    <a:gd name="connsiteY611" fmla="*/ 596680 h 798932"/>
                    <a:gd name="connsiteX612" fmla="*/ 584877 w 859464"/>
                    <a:gd name="connsiteY612" fmla="*/ 595793 h 798932"/>
                    <a:gd name="connsiteX613" fmla="*/ 583420 w 859464"/>
                    <a:gd name="connsiteY613" fmla="*/ 596121 h 798932"/>
                    <a:gd name="connsiteX614" fmla="*/ 580445 w 859464"/>
                    <a:gd name="connsiteY614" fmla="*/ 595623 h 798932"/>
                    <a:gd name="connsiteX615" fmla="*/ 580882 w 859464"/>
                    <a:gd name="connsiteY615" fmla="*/ 593535 h 798932"/>
                    <a:gd name="connsiteX616" fmla="*/ 579072 w 859464"/>
                    <a:gd name="connsiteY616" fmla="*/ 592758 h 798932"/>
                    <a:gd name="connsiteX617" fmla="*/ 577518 w 859464"/>
                    <a:gd name="connsiteY617" fmla="*/ 592758 h 798932"/>
                    <a:gd name="connsiteX618" fmla="*/ 577409 w 859464"/>
                    <a:gd name="connsiteY618" fmla="*/ 591543 h 798932"/>
                    <a:gd name="connsiteX619" fmla="*/ 576911 w 859464"/>
                    <a:gd name="connsiteY619" fmla="*/ 590280 h 798932"/>
                    <a:gd name="connsiteX620" fmla="*/ 576972 w 859464"/>
                    <a:gd name="connsiteY620" fmla="*/ 588228 h 798932"/>
                    <a:gd name="connsiteX621" fmla="*/ 576413 w 859464"/>
                    <a:gd name="connsiteY621" fmla="*/ 584865 h 798932"/>
                    <a:gd name="connsiteX622" fmla="*/ 576790 w 859464"/>
                    <a:gd name="connsiteY622" fmla="*/ 584804 h 798932"/>
                    <a:gd name="connsiteX623" fmla="*/ 575417 w 859464"/>
                    <a:gd name="connsiteY623" fmla="*/ 582606 h 798932"/>
                    <a:gd name="connsiteX624" fmla="*/ 574701 w 859464"/>
                    <a:gd name="connsiteY624" fmla="*/ 579619 h 798932"/>
                    <a:gd name="connsiteX625" fmla="*/ 574203 w 859464"/>
                    <a:gd name="connsiteY625" fmla="*/ 576474 h 798932"/>
                    <a:gd name="connsiteX626" fmla="*/ 571884 w 859464"/>
                    <a:gd name="connsiteY626" fmla="*/ 572430 h 798932"/>
                    <a:gd name="connsiteX627" fmla="*/ 569504 w 859464"/>
                    <a:gd name="connsiteY627" fmla="*/ 569285 h 798932"/>
                    <a:gd name="connsiteX628" fmla="*/ 566857 w 859464"/>
                    <a:gd name="connsiteY628" fmla="*/ 565970 h 798932"/>
                    <a:gd name="connsiteX629" fmla="*/ 564647 w 859464"/>
                    <a:gd name="connsiteY629" fmla="*/ 566590 h 798932"/>
                    <a:gd name="connsiteX630" fmla="*/ 562934 w 859464"/>
                    <a:gd name="connsiteY630" fmla="*/ 567464 h 798932"/>
                    <a:gd name="connsiteX631" fmla="*/ 561939 w 859464"/>
                    <a:gd name="connsiteY631" fmla="*/ 567573 h 798932"/>
                    <a:gd name="connsiteX632" fmla="*/ 561271 w 859464"/>
                    <a:gd name="connsiteY632" fmla="*/ 567075 h 798932"/>
                    <a:gd name="connsiteX633" fmla="*/ 558575 w 859464"/>
                    <a:gd name="connsiteY633" fmla="*/ 564222 h 798932"/>
                    <a:gd name="connsiteX634" fmla="*/ 557689 w 859464"/>
                    <a:gd name="connsiteY634" fmla="*/ 564331 h 798932"/>
                    <a:gd name="connsiteX635" fmla="*/ 555491 w 859464"/>
                    <a:gd name="connsiteY635" fmla="*/ 565484 h 798932"/>
                    <a:gd name="connsiteX636" fmla="*/ 554386 w 859464"/>
                    <a:gd name="connsiteY636" fmla="*/ 564550 h 798932"/>
                    <a:gd name="connsiteX637" fmla="*/ 554495 w 859464"/>
                    <a:gd name="connsiteY637" fmla="*/ 563056 h 798932"/>
                    <a:gd name="connsiteX638" fmla="*/ 554155 w 859464"/>
                    <a:gd name="connsiteY638" fmla="*/ 559850 h 798932"/>
                    <a:gd name="connsiteX639" fmla="*/ 551945 w 859464"/>
                    <a:gd name="connsiteY639" fmla="*/ 559352 h 798932"/>
                    <a:gd name="connsiteX640" fmla="*/ 549796 w 859464"/>
                    <a:gd name="connsiteY640" fmla="*/ 562169 h 798932"/>
                    <a:gd name="connsiteX641" fmla="*/ 549128 w 859464"/>
                    <a:gd name="connsiteY641" fmla="*/ 563432 h 798932"/>
                    <a:gd name="connsiteX642" fmla="*/ 545764 w 859464"/>
                    <a:gd name="connsiteY642" fmla="*/ 566468 h 798932"/>
                    <a:gd name="connsiteX643" fmla="*/ 544538 w 859464"/>
                    <a:gd name="connsiteY643" fmla="*/ 567743 h 798932"/>
                    <a:gd name="connsiteX644" fmla="*/ 544161 w 859464"/>
                    <a:gd name="connsiteY644" fmla="*/ 569285 h 798932"/>
                    <a:gd name="connsiteX645" fmla="*/ 542935 w 859464"/>
                    <a:gd name="connsiteY645" fmla="*/ 570779 h 798932"/>
                    <a:gd name="connsiteX646" fmla="*/ 541624 w 859464"/>
                    <a:gd name="connsiteY646" fmla="*/ 570779 h 798932"/>
                    <a:gd name="connsiteX647" fmla="*/ 540349 w 859464"/>
                    <a:gd name="connsiteY647" fmla="*/ 570499 h 798932"/>
                    <a:gd name="connsiteX648" fmla="*/ 539353 w 859464"/>
                    <a:gd name="connsiteY648" fmla="*/ 570670 h 798932"/>
                    <a:gd name="connsiteX649" fmla="*/ 538964 w 859464"/>
                    <a:gd name="connsiteY649" fmla="*/ 571337 h 798932"/>
                    <a:gd name="connsiteX650" fmla="*/ 537701 w 859464"/>
                    <a:gd name="connsiteY650" fmla="*/ 571556 h 798932"/>
                    <a:gd name="connsiteX651" fmla="*/ 536475 w 859464"/>
                    <a:gd name="connsiteY651" fmla="*/ 571301 h 798932"/>
                    <a:gd name="connsiteX652" fmla="*/ 534277 w 859464"/>
                    <a:gd name="connsiteY652" fmla="*/ 570415 h 798932"/>
                    <a:gd name="connsiteX653" fmla="*/ 533609 w 859464"/>
                    <a:gd name="connsiteY653" fmla="*/ 572285 h 798932"/>
                    <a:gd name="connsiteX654" fmla="*/ 533670 w 859464"/>
                    <a:gd name="connsiteY654" fmla="*/ 575053 h 798932"/>
                    <a:gd name="connsiteX655" fmla="*/ 526542 w 859464"/>
                    <a:gd name="connsiteY655" fmla="*/ 574665 h 798932"/>
                    <a:gd name="connsiteX656" fmla="*/ 524878 w 859464"/>
                    <a:gd name="connsiteY656" fmla="*/ 580190 h 798932"/>
                    <a:gd name="connsiteX657" fmla="*/ 523275 w 859464"/>
                    <a:gd name="connsiteY657" fmla="*/ 581962 h 798932"/>
                    <a:gd name="connsiteX658" fmla="*/ 521406 w 859464"/>
                    <a:gd name="connsiteY658" fmla="*/ 583614 h 798932"/>
                    <a:gd name="connsiteX659" fmla="*/ 519742 w 859464"/>
                    <a:gd name="connsiteY659" fmla="*/ 585836 h 798932"/>
                    <a:gd name="connsiteX660" fmla="*/ 518479 w 859464"/>
                    <a:gd name="connsiteY660" fmla="*/ 588872 h 798932"/>
                    <a:gd name="connsiteX661" fmla="*/ 517046 w 859464"/>
                    <a:gd name="connsiteY661" fmla="*/ 591592 h 798932"/>
                    <a:gd name="connsiteX662" fmla="*/ 516378 w 859464"/>
                    <a:gd name="connsiteY662" fmla="*/ 594300 h 798932"/>
                    <a:gd name="connsiteX663" fmla="*/ 516815 w 859464"/>
                    <a:gd name="connsiteY663" fmla="*/ 594518 h 798932"/>
                    <a:gd name="connsiteX664" fmla="*/ 520519 w 859464"/>
                    <a:gd name="connsiteY664" fmla="*/ 596242 h 798932"/>
                    <a:gd name="connsiteX665" fmla="*/ 524113 w 859464"/>
                    <a:gd name="connsiteY665" fmla="*/ 596352 h 798932"/>
                    <a:gd name="connsiteX666" fmla="*/ 524393 w 859464"/>
                    <a:gd name="connsiteY666" fmla="*/ 597238 h 798932"/>
                    <a:gd name="connsiteX667" fmla="*/ 524393 w 859464"/>
                    <a:gd name="connsiteY667" fmla="*/ 598902 h 798932"/>
                    <a:gd name="connsiteX668" fmla="*/ 524769 w 859464"/>
                    <a:gd name="connsiteY668" fmla="*/ 600213 h 798932"/>
                    <a:gd name="connsiteX669" fmla="*/ 525765 w 859464"/>
                    <a:gd name="connsiteY669" fmla="*/ 601440 h 798932"/>
                    <a:gd name="connsiteX670" fmla="*/ 530962 w 859464"/>
                    <a:gd name="connsiteY670" fmla="*/ 603808 h 798932"/>
                    <a:gd name="connsiteX671" fmla="*/ 530076 w 859464"/>
                    <a:gd name="connsiteY671" fmla="*/ 605969 h 798932"/>
                    <a:gd name="connsiteX672" fmla="*/ 528740 w 859464"/>
                    <a:gd name="connsiteY672" fmla="*/ 609940 h 798932"/>
                    <a:gd name="connsiteX673" fmla="*/ 527586 w 859464"/>
                    <a:gd name="connsiteY673" fmla="*/ 611931 h 798932"/>
                    <a:gd name="connsiteX674" fmla="*/ 526870 w 859464"/>
                    <a:gd name="connsiteY674" fmla="*/ 616959 h 798932"/>
                    <a:gd name="connsiteX675" fmla="*/ 526044 w 859464"/>
                    <a:gd name="connsiteY675" fmla="*/ 618003 h 798932"/>
                    <a:gd name="connsiteX676" fmla="*/ 524053 w 859464"/>
                    <a:gd name="connsiteY676" fmla="*/ 619545 h 798932"/>
                    <a:gd name="connsiteX677" fmla="*/ 522280 w 859464"/>
                    <a:gd name="connsiteY677" fmla="*/ 622034 h 798932"/>
                    <a:gd name="connsiteX678" fmla="*/ 521078 w 859464"/>
                    <a:gd name="connsiteY678" fmla="*/ 623297 h 798932"/>
                    <a:gd name="connsiteX679" fmla="*/ 518370 w 859464"/>
                    <a:gd name="connsiteY679" fmla="*/ 625022 h 798932"/>
                    <a:gd name="connsiteX680" fmla="*/ 516767 w 859464"/>
                    <a:gd name="connsiteY680" fmla="*/ 626685 h 798932"/>
                    <a:gd name="connsiteX681" fmla="*/ 516378 w 859464"/>
                    <a:gd name="connsiteY681" fmla="*/ 627062 h 798932"/>
                    <a:gd name="connsiteX682" fmla="*/ 512906 w 859464"/>
                    <a:gd name="connsiteY682" fmla="*/ 633351 h 798932"/>
                    <a:gd name="connsiteX683" fmla="*/ 510125 w 859464"/>
                    <a:gd name="connsiteY683" fmla="*/ 636727 h 798932"/>
                    <a:gd name="connsiteX684" fmla="*/ 507210 w 859464"/>
                    <a:gd name="connsiteY684" fmla="*/ 638549 h 798932"/>
                    <a:gd name="connsiteX685" fmla="*/ 503677 w 859464"/>
                    <a:gd name="connsiteY685" fmla="*/ 638925 h 798932"/>
                    <a:gd name="connsiteX686" fmla="*/ 501855 w 859464"/>
                    <a:gd name="connsiteY686" fmla="*/ 638427 h 798932"/>
                    <a:gd name="connsiteX687" fmla="*/ 499706 w 859464"/>
                    <a:gd name="connsiteY687" fmla="*/ 637553 h 798932"/>
                    <a:gd name="connsiteX688" fmla="*/ 497593 w 859464"/>
                    <a:gd name="connsiteY688" fmla="*/ 635282 h 798932"/>
                    <a:gd name="connsiteX689" fmla="*/ 495675 w 859464"/>
                    <a:gd name="connsiteY689" fmla="*/ 630146 h 798932"/>
                    <a:gd name="connsiteX690" fmla="*/ 494290 w 859464"/>
                    <a:gd name="connsiteY690" fmla="*/ 627766 h 798932"/>
                    <a:gd name="connsiteX691" fmla="*/ 492129 w 859464"/>
                    <a:gd name="connsiteY691" fmla="*/ 625956 h 798932"/>
                    <a:gd name="connsiteX692" fmla="*/ 488923 w 859464"/>
                    <a:gd name="connsiteY692" fmla="*/ 626272 h 798932"/>
                    <a:gd name="connsiteX693" fmla="*/ 485450 w 859464"/>
                    <a:gd name="connsiteY693" fmla="*/ 627219 h 798932"/>
                    <a:gd name="connsiteX694" fmla="*/ 482524 w 859464"/>
                    <a:gd name="connsiteY694" fmla="*/ 627438 h 798932"/>
                    <a:gd name="connsiteX695" fmla="*/ 477557 w 859464"/>
                    <a:gd name="connsiteY695" fmla="*/ 620868 h 798932"/>
                    <a:gd name="connsiteX696" fmla="*/ 475942 w 859464"/>
                    <a:gd name="connsiteY696" fmla="*/ 619982 h 798932"/>
                    <a:gd name="connsiteX697" fmla="*/ 473745 w 859464"/>
                    <a:gd name="connsiteY697" fmla="*/ 620431 h 798932"/>
                    <a:gd name="connsiteX698" fmla="*/ 471365 w 859464"/>
                    <a:gd name="connsiteY698" fmla="*/ 621767 h 798932"/>
                    <a:gd name="connsiteX699" fmla="*/ 468268 w 859464"/>
                    <a:gd name="connsiteY699" fmla="*/ 625956 h 798932"/>
                    <a:gd name="connsiteX700" fmla="*/ 466167 w 859464"/>
                    <a:gd name="connsiteY700" fmla="*/ 627001 h 798932"/>
                    <a:gd name="connsiteX701" fmla="*/ 458772 w 859464"/>
                    <a:gd name="connsiteY701" fmla="*/ 627438 h 798932"/>
                    <a:gd name="connsiteX702" fmla="*/ 456064 w 859464"/>
                    <a:gd name="connsiteY702" fmla="*/ 628664 h 798932"/>
                    <a:gd name="connsiteX703" fmla="*/ 453636 w 859464"/>
                    <a:gd name="connsiteY703" fmla="*/ 630595 h 798932"/>
                    <a:gd name="connsiteX704" fmla="*/ 452251 w 859464"/>
                    <a:gd name="connsiteY704" fmla="*/ 632902 h 798932"/>
                    <a:gd name="connsiteX705" fmla="*/ 449495 w 859464"/>
                    <a:gd name="connsiteY705" fmla="*/ 633133 h 798932"/>
                    <a:gd name="connsiteX706" fmla="*/ 446459 w 859464"/>
                    <a:gd name="connsiteY706" fmla="*/ 632416 h 798932"/>
                    <a:gd name="connsiteX707" fmla="*/ 443302 w 859464"/>
                    <a:gd name="connsiteY707" fmla="*/ 632635 h 798932"/>
                    <a:gd name="connsiteX708" fmla="*/ 440594 w 859464"/>
                    <a:gd name="connsiteY708" fmla="*/ 634954 h 798932"/>
                    <a:gd name="connsiteX709" fmla="*/ 438445 w 859464"/>
                    <a:gd name="connsiteY709" fmla="*/ 636448 h 798932"/>
                    <a:gd name="connsiteX710" fmla="*/ 436454 w 859464"/>
                    <a:gd name="connsiteY710" fmla="*/ 637504 h 798932"/>
                    <a:gd name="connsiteX711" fmla="*/ 434681 w 859464"/>
                    <a:gd name="connsiteY711" fmla="*/ 638160 h 798932"/>
                    <a:gd name="connsiteX712" fmla="*/ 431426 w 859464"/>
                    <a:gd name="connsiteY712" fmla="*/ 638767 h 798932"/>
                    <a:gd name="connsiteX713" fmla="*/ 426897 w 859464"/>
                    <a:gd name="connsiteY713" fmla="*/ 638330 h 798932"/>
                    <a:gd name="connsiteX714" fmla="*/ 424128 w 859464"/>
                    <a:gd name="connsiteY714" fmla="*/ 638937 h 798932"/>
                    <a:gd name="connsiteX715" fmla="*/ 419053 w 859464"/>
                    <a:gd name="connsiteY715" fmla="*/ 641208 h 798932"/>
                    <a:gd name="connsiteX716" fmla="*/ 415410 w 859464"/>
                    <a:gd name="connsiteY716" fmla="*/ 643090 h 798932"/>
                    <a:gd name="connsiteX717" fmla="*/ 414026 w 859464"/>
                    <a:gd name="connsiteY717" fmla="*/ 645956 h 798932"/>
                    <a:gd name="connsiteX718" fmla="*/ 412362 w 859464"/>
                    <a:gd name="connsiteY718" fmla="*/ 647498 h 798932"/>
                    <a:gd name="connsiteX719" fmla="*/ 410868 w 859464"/>
                    <a:gd name="connsiteY719" fmla="*/ 648117 h 798932"/>
                    <a:gd name="connsiteX720" fmla="*/ 406460 w 859464"/>
                    <a:gd name="connsiteY720" fmla="*/ 648554 h 798932"/>
                    <a:gd name="connsiteX721" fmla="*/ 395799 w 859464"/>
                    <a:gd name="connsiteY721" fmla="*/ 648724 h 798932"/>
                    <a:gd name="connsiteX722" fmla="*/ 393540 w 859464"/>
                    <a:gd name="connsiteY722" fmla="*/ 648895 h 798932"/>
                    <a:gd name="connsiteX723" fmla="*/ 391003 w 859464"/>
                    <a:gd name="connsiteY723" fmla="*/ 649441 h 798932"/>
                    <a:gd name="connsiteX724" fmla="*/ 386364 w 859464"/>
                    <a:gd name="connsiteY724" fmla="*/ 651044 h 798932"/>
                    <a:gd name="connsiteX725" fmla="*/ 383996 w 859464"/>
                    <a:gd name="connsiteY725" fmla="*/ 651432 h 798932"/>
                    <a:gd name="connsiteX726" fmla="*/ 380948 w 859464"/>
                    <a:gd name="connsiteY726" fmla="*/ 652197 h 798932"/>
                    <a:gd name="connsiteX727" fmla="*/ 379952 w 859464"/>
                    <a:gd name="connsiteY727" fmla="*/ 655063 h 798932"/>
                    <a:gd name="connsiteX728" fmla="*/ 374330 w 859464"/>
                    <a:gd name="connsiteY728" fmla="*/ 660260 h 798932"/>
                    <a:gd name="connsiteX729" fmla="*/ 373383 w 859464"/>
                    <a:gd name="connsiteY729" fmla="*/ 662422 h 798932"/>
                    <a:gd name="connsiteX730" fmla="*/ 373164 w 859464"/>
                    <a:gd name="connsiteY730" fmla="*/ 665518 h 798932"/>
                    <a:gd name="connsiteX731" fmla="*/ 374427 w 859464"/>
                    <a:gd name="connsiteY731" fmla="*/ 667510 h 798932"/>
                    <a:gd name="connsiteX732" fmla="*/ 375204 w 859464"/>
                    <a:gd name="connsiteY732" fmla="*/ 669598 h 798932"/>
                    <a:gd name="connsiteX733" fmla="*/ 375423 w 859464"/>
                    <a:gd name="connsiteY733" fmla="*/ 671918 h 798932"/>
                    <a:gd name="connsiteX734" fmla="*/ 373541 w 859464"/>
                    <a:gd name="connsiteY734" fmla="*/ 673023 h 798932"/>
                    <a:gd name="connsiteX735" fmla="*/ 372230 w 859464"/>
                    <a:gd name="connsiteY735" fmla="*/ 675791 h 798932"/>
                    <a:gd name="connsiteX736" fmla="*/ 371440 w 859464"/>
                    <a:gd name="connsiteY736" fmla="*/ 680090 h 798932"/>
                    <a:gd name="connsiteX737" fmla="*/ 371003 w 859464"/>
                    <a:gd name="connsiteY737" fmla="*/ 684352 h 798932"/>
                    <a:gd name="connsiteX738" fmla="*/ 371112 w 859464"/>
                    <a:gd name="connsiteY738" fmla="*/ 688067 h 798932"/>
                    <a:gd name="connsiteX739" fmla="*/ 370784 w 859464"/>
                    <a:gd name="connsiteY739" fmla="*/ 690326 h 798932"/>
                    <a:gd name="connsiteX740" fmla="*/ 372995 w 859464"/>
                    <a:gd name="connsiteY740" fmla="*/ 692706 h 798932"/>
                    <a:gd name="connsiteX741" fmla="*/ 373881 w 859464"/>
                    <a:gd name="connsiteY741" fmla="*/ 695293 h 798932"/>
                    <a:gd name="connsiteX742" fmla="*/ 374209 w 859464"/>
                    <a:gd name="connsiteY742" fmla="*/ 702250 h 798932"/>
                    <a:gd name="connsiteX743" fmla="*/ 373335 w 859464"/>
                    <a:gd name="connsiteY743" fmla="*/ 711868 h 798932"/>
                    <a:gd name="connsiteX744" fmla="*/ 372108 w 859464"/>
                    <a:gd name="connsiteY744" fmla="*/ 713908 h 798932"/>
                    <a:gd name="connsiteX745" fmla="*/ 370068 w 859464"/>
                    <a:gd name="connsiteY745" fmla="*/ 715620 h 798932"/>
                    <a:gd name="connsiteX746" fmla="*/ 367142 w 859464"/>
                    <a:gd name="connsiteY746" fmla="*/ 717174 h 798932"/>
                    <a:gd name="connsiteX747" fmla="*/ 364264 w 859464"/>
                    <a:gd name="connsiteY747" fmla="*/ 718218 h 798932"/>
                    <a:gd name="connsiteX748" fmla="*/ 361677 w 859464"/>
                    <a:gd name="connsiteY748" fmla="*/ 717611 h 798932"/>
                    <a:gd name="connsiteX749" fmla="*/ 359516 w 859464"/>
                    <a:gd name="connsiteY749" fmla="*/ 716785 h 798932"/>
                    <a:gd name="connsiteX750" fmla="*/ 357852 w 859464"/>
                    <a:gd name="connsiteY750" fmla="*/ 715911 h 798932"/>
                    <a:gd name="connsiteX751" fmla="*/ 356152 w 859464"/>
                    <a:gd name="connsiteY751" fmla="*/ 714527 h 798932"/>
                    <a:gd name="connsiteX752" fmla="*/ 354209 w 859464"/>
                    <a:gd name="connsiteY752" fmla="*/ 714248 h 798932"/>
                    <a:gd name="connsiteX753" fmla="*/ 344107 w 859464"/>
                    <a:gd name="connsiteY753" fmla="*/ 714199 h 798932"/>
                    <a:gd name="connsiteX754" fmla="*/ 341399 w 859464"/>
                    <a:gd name="connsiteY754" fmla="*/ 713385 h 798932"/>
                    <a:gd name="connsiteX755" fmla="*/ 339237 w 859464"/>
                    <a:gd name="connsiteY755" fmla="*/ 712888 h 798932"/>
                    <a:gd name="connsiteX756" fmla="*/ 337100 w 859464"/>
                    <a:gd name="connsiteY756" fmla="*/ 712705 h 798932"/>
                    <a:gd name="connsiteX757" fmla="*/ 335048 w 859464"/>
                    <a:gd name="connsiteY757" fmla="*/ 713033 h 798932"/>
                    <a:gd name="connsiteX758" fmla="*/ 333166 w 859464"/>
                    <a:gd name="connsiteY758" fmla="*/ 713762 h 798932"/>
                    <a:gd name="connsiteX759" fmla="*/ 329863 w 859464"/>
                    <a:gd name="connsiteY759" fmla="*/ 716081 h 798932"/>
                    <a:gd name="connsiteX760" fmla="*/ 327264 w 859464"/>
                    <a:gd name="connsiteY760" fmla="*/ 717065 h 798932"/>
                    <a:gd name="connsiteX761" fmla="*/ 323670 w 859464"/>
                    <a:gd name="connsiteY761" fmla="*/ 718231 h 798932"/>
                    <a:gd name="connsiteX762" fmla="*/ 320294 w 859464"/>
                    <a:gd name="connsiteY762" fmla="*/ 719615 h 798932"/>
                    <a:gd name="connsiteX763" fmla="*/ 317428 w 859464"/>
                    <a:gd name="connsiteY763" fmla="*/ 721048 h 798932"/>
                    <a:gd name="connsiteX764" fmla="*/ 314126 w 859464"/>
                    <a:gd name="connsiteY764" fmla="*/ 723197 h 798932"/>
                    <a:gd name="connsiteX765" fmla="*/ 313676 w 859464"/>
                    <a:gd name="connsiteY765" fmla="*/ 724921 h 798932"/>
                    <a:gd name="connsiteX766" fmla="*/ 313676 w 859464"/>
                    <a:gd name="connsiteY766" fmla="*/ 728188 h 798932"/>
                    <a:gd name="connsiteX767" fmla="*/ 316542 w 859464"/>
                    <a:gd name="connsiteY767" fmla="*/ 734199 h 798932"/>
                    <a:gd name="connsiteX768" fmla="*/ 316712 w 859464"/>
                    <a:gd name="connsiteY768" fmla="*/ 736469 h 798932"/>
                    <a:gd name="connsiteX769" fmla="*/ 315886 w 859464"/>
                    <a:gd name="connsiteY769" fmla="*/ 738072 h 798932"/>
                    <a:gd name="connsiteX770" fmla="*/ 315109 w 859464"/>
                    <a:gd name="connsiteY770" fmla="*/ 738946 h 798932"/>
                    <a:gd name="connsiteX771" fmla="*/ 314611 w 859464"/>
                    <a:gd name="connsiteY771" fmla="*/ 739675 h 798932"/>
                    <a:gd name="connsiteX772" fmla="*/ 312839 w 859464"/>
                    <a:gd name="connsiteY772" fmla="*/ 741108 h 798932"/>
                    <a:gd name="connsiteX773" fmla="*/ 310592 w 859464"/>
                    <a:gd name="connsiteY773" fmla="*/ 740950 h 798932"/>
                    <a:gd name="connsiteX774" fmla="*/ 307544 w 859464"/>
                    <a:gd name="connsiteY774" fmla="*/ 738728 h 798932"/>
                    <a:gd name="connsiteX775" fmla="*/ 306937 w 859464"/>
                    <a:gd name="connsiteY775" fmla="*/ 736518 h 798932"/>
                    <a:gd name="connsiteX776" fmla="*/ 306658 w 859464"/>
                    <a:gd name="connsiteY776" fmla="*/ 733858 h 798932"/>
                    <a:gd name="connsiteX777" fmla="*/ 306330 w 859464"/>
                    <a:gd name="connsiteY777" fmla="*/ 732207 h 798932"/>
                    <a:gd name="connsiteX778" fmla="*/ 305723 w 859464"/>
                    <a:gd name="connsiteY778" fmla="*/ 730434 h 798932"/>
                    <a:gd name="connsiteX779" fmla="*/ 304508 w 859464"/>
                    <a:gd name="connsiteY779" fmla="*/ 729378 h 798932"/>
                    <a:gd name="connsiteX780" fmla="*/ 302626 w 859464"/>
                    <a:gd name="connsiteY780" fmla="*/ 729208 h 798932"/>
                    <a:gd name="connsiteX781" fmla="*/ 301072 w 859464"/>
                    <a:gd name="connsiteY781" fmla="*/ 729754 h 798932"/>
                    <a:gd name="connsiteX782" fmla="*/ 299979 w 859464"/>
                    <a:gd name="connsiteY782" fmla="*/ 730689 h 798932"/>
                    <a:gd name="connsiteX783" fmla="*/ 299700 w 859464"/>
                    <a:gd name="connsiteY783" fmla="*/ 732511 h 798932"/>
                    <a:gd name="connsiteX784" fmla="*/ 299809 w 859464"/>
                    <a:gd name="connsiteY784" fmla="*/ 734283 h 798932"/>
                    <a:gd name="connsiteX785" fmla="*/ 300368 w 859464"/>
                    <a:gd name="connsiteY785" fmla="*/ 736773 h 798932"/>
                    <a:gd name="connsiteX786" fmla="*/ 301072 w 859464"/>
                    <a:gd name="connsiteY786" fmla="*/ 738546 h 798932"/>
                    <a:gd name="connsiteX787" fmla="*/ 301533 w 859464"/>
                    <a:gd name="connsiteY787" fmla="*/ 740100 h 798932"/>
                    <a:gd name="connsiteX788" fmla="*/ 301303 w 859464"/>
                    <a:gd name="connsiteY788" fmla="*/ 741751 h 798932"/>
                    <a:gd name="connsiteX789" fmla="*/ 300756 w 859464"/>
                    <a:gd name="connsiteY789" fmla="*/ 743075 h 798932"/>
                    <a:gd name="connsiteX790" fmla="*/ 298036 w 859464"/>
                    <a:gd name="connsiteY790" fmla="*/ 747835 h 798932"/>
                    <a:gd name="connsiteX791" fmla="*/ 296555 w 859464"/>
                    <a:gd name="connsiteY791" fmla="*/ 749766 h 798932"/>
                    <a:gd name="connsiteX792" fmla="*/ 295498 w 859464"/>
                    <a:gd name="connsiteY792" fmla="*/ 750931 h 798932"/>
                    <a:gd name="connsiteX793" fmla="*/ 292135 w 859464"/>
                    <a:gd name="connsiteY793" fmla="*/ 753530 h 798932"/>
                    <a:gd name="connsiteX794" fmla="*/ 289318 w 859464"/>
                    <a:gd name="connsiteY794" fmla="*/ 755230 h 798932"/>
                    <a:gd name="connsiteX795" fmla="*/ 285383 w 859464"/>
                    <a:gd name="connsiteY795" fmla="*/ 755740 h 798932"/>
                    <a:gd name="connsiteX796" fmla="*/ 282578 w 859464"/>
                    <a:gd name="connsiteY796" fmla="*/ 755740 h 798932"/>
                    <a:gd name="connsiteX797" fmla="*/ 280150 w 859464"/>
                    <a:gd name="connsiteY797" fmla="*/ 755352 h 798932"/>
                    <a:gd name="connsiteX798" fmla="*/ 277879 w 859464"/>
                    <a:gd name="connsiteY798" fmla="*/ 754684 h 798932"/>
                    <a:gd name="connsiteX799" fmla="*/ 272791 w 859464"/>
                    <a:gd name="connsiteY799" fmla="*/ 752037 h 798932"/>
                    <a:gd name="connsiteX800" fmla="*/ 270654 w 859464"/>
                    <a:gd name="connsiteY800" fmla="*/ 750373 h 798932"/>
                    <a:gd name="connsiteX801" fmla="*/ 269440 w 859464"/>
                    <a:gd name="connsiteY801" fmla="*/ 749049 h 798932"/>
                    <a:gd name="connsiteX802" fmla="*/ 267448 w 859464"/>
                    <a:gd name="connsiteY802" fmla="*/ 746123 h 798932"/>
                    <a:gd name="connsiteX803" fmla="*/ 265347 w 859464"/>
                    <a:gd name="connsiteY803" fmla="*/ 743961 h 798932"/>
                    <a:gd name="connsiteX804" fmla="*/ 263465 w 859464"/>
                    <a:gd name="connsiteY804" fmla="*/ 742310 h 798932"/>
                    <a:gd name="connsiteX805" fmla="*/ 259822 w 859464"/>
                    <a:gd name="connsiteY805" fmla="*/ 740877 h 798932"/>
                    <a:gd name="connsiteX806" fmla="*/ 257284 w 859464"/>
                    <a:gd name="connsiteY806" fmla="*/ 741314 h 798932"/>
                    <a:gd name="connsiteX807" fmla="*/ 255244 w 859464"/>
                    <a:gd name="connsiteY807" fmla="*/ 743087 h 798932"/>
                    <a:gd name="connsiteX808" fmla="*/ 252257 w 859464"/>
                    <a:gd name="connsiteY808" fmla="*/ 746353 h 798932"/>
                    <a:gd name="connsiteX809" fmla="*/ 250484 w 859464"/>
                    <a:gd name="connsiteY809" fmla="*/ 747908 h 798932"/>
                    <a:gd name="connsiteX810" fmla="*/ 249052 w 859464"/>
                    <a:gd name="connsiteY810" fmla="*/ 748952 h 798932"/>
                    <a:gd name="connsiteX811" fmla="*/ 246732 w 859464"/>
                    <a:gd name="connsiteY811" fmla="*/ 749001 h 798932"/>
                    <a:gd name="connsiteX812" fmla="*/ 244134 w 859464"/>
                    <a:gd name="connsiteY812" fmla="*/ 747847 h 798932"/>
                    <a:gd name="connsiteX813" fmla="*/ 241875 w 859464"/>
                    <a:gd name="connsiteY813" fmla="*/ 747289 h 798932"/>
                    <a:gd name="connsiteX814" fmla="*/ 237176 w 859464"/>
                    <a:gd name="connsiteY814" fmla="*/ 745795 h 798932"/>
                    <a:gd name="connsiteX815" fmla="*/ 228834 w 859464"/>
                    <a:gd name="connsiteY815" fmla="*/ 744313 h 798932"/>
                    <a:gd name="connsiteX816" fmla="*/ 223260 w 859464"/>
                    <a:gd name="connsiteY816" fmla="*/ 743925 h 798932"/>
                    <a:gd name="connsiteX817" fmla="*/ 220382 w 859464"/>
                    <a:gd name="connsiteY817" fmla="*/ 744313 h 798932"/>
                    <a:gd name="connsiteX818" fmla="*/ 216411 w 859464"/>
                    <a:gd name="connsiteY818" fmla="*/ 746074 h 798932"/>
                    <a:gd name="connsiteX819" fmla="*/ 213691 w 859464"/>
                    <a:gd name="connsiteY819" fmla="*/ 748309 h 798932"/>
                    <a:gd name="connsiteX820" fmla="*/ 210559 w 859464"/>
                    <a:gd name="connsiteY820" fmla="*/ 749341 h 798932"/>
                    <a:gd name="connsiteX821" fmla="*/ 208179 w 859464"/>
                    <a:gd name="connsiteY821" fmla="*/ 749669 h 798932"/>
                    <a:gd name="connsiteX822" fmla="*/ 206466 w 859464"/>
                    <a:gd name="connsiteY822" fmla="*/ 750774 h 798932"/>
                    <a:gd name="connsiteX823" fmla="*/ 205033 w 859464"/>
                    <a:gd name="connsiteY823" fmla="*/ 752656 h 798932"/>
                    <a:gd name="connsiteX824" fmla="*/ 203649 w 859464"/>
                    <a:gd name="connsiteY824" fmla="*/ 754198 h 798932"/>
                    <a:gd name="connsiteX825" fmla="*/ 199241 w 859464"/>
                    <a:gd name="connsiteY825" fmla="*/ 754319 h 798932"/>
                    <a:gd name="connsiteX826" fmla="*/ 197128 w 859464"/>
                    <a:gd name="connsiteY826" fmla="*/ 753651 h 798932"/>
                    <a:gd name="connsiteX827" fmla="*/ 194773 w 859464"/>
                    <a:gd name="connsiteY827" fmla="*/ 753093 h 798932"/>
                    <a:gd name="connsiteX828" fmla="*/ 192611 w 859464"/>
                    <a:gd name="connsiteY828" fmla="*/ 753822 h 798932"/>
                    <a:gd name="connsiteX829" fmla="*/ 191616 w 859464"/>
                    <a:gd name="connsiteY829" fmla="*/ 754878 h 798932"/>
                    <a:gd name="connsiteX830" fmla="*/ 192939 w 859464"/>
                    <a:gd name="connsiteY830" fmla="*/ 758837 h 798932"/>
                    <a:gd name="connsiteX831" fmla="*/ 193158 w 859464"/>
                    <a:gd name="connsiteY831" fmla="*/ 760828 h 798932"/>
                    <a:gd name="connsiteX832" fmla="*/ 191883 w 859464"/>
                    <a:gd name="connsiteY832" fmla="*/ 763925 h 798932"/>
                    <a:gd name="connsiteX833" fmla="*/ 191555 w 859464"/>
                    <a:gd name="connsiteY833" fmla="*/ 765357 h 798932"/>
                    <a:gd name="connsiteX834" fmla="*/ 191008 w 859464"/>
                    <a:gd name="connsiteY834" fmla="*/ 765855 h 798932"/>
                    <a:gd name="connsiteX835" fmla="*/ 190838 w 859464"/>
                    <a:gd name="connsiteY835" fmla="*/ 767458 h 798932"/>
                    <a:gd name="connsiteX836" fmla="*/ 190231 w 859464"/>
                    <a:gd name="connsiteY836" fmla="*/ 769947 h 798932"/>
                    <a:gd name="connsiteX837" fmla="*/ 190013 w 859464"/>
                    <a:gd name="connsiteY837" fmla="*/ 771878 h 798932"/>
                    <a:gd name="connsiteX838" fmla="*/ 189078 w 859464"/>
                    <a:gd name="connsiteY838" fmla="*/ 773360 h 798932"/>
                    <a:gd name="connsiteX839" fmla="*/ 187196 w 859464"/>
                    <a:gd name="connsiteY839" fmla="*/ 774416 h 798932"/>
                    <a:gd name="connsiteX840" fmla="*/ 182994 w 859464"/>
                    <a:gd name="connsiteY840" fmla="*/ 775642 h 798932"/>
                    <a:gd name="connsiteX841" fmla="*/ 181343 w 859464"/>
                    <a:gd name="connsiteY841" fmla="*/ 776577 h 798932"/>
                    <a:gd name="connsiteX842" fmla="*/ 178246 w 859464"/>
                    <a:gd name="connsiteY842" fmla="*/ 778836 h 798932"/>
                    <a:gd name="connsiteX843" fmla="*/ 178088 w 859464"/>
                    <a:gd name="connsiteY843" fmla="*/ 779893 h 798932"/>
                    <a:gd name="connsiteX844" fmla="*/ 178525 w 859464"/>
                    <a:gd name="connsiteY844" fmla="*/ 781277 h 798932"/>
                    <a:gd name="connsiteX845" fmla="*/ 178088 w 859464"/>
                    <a:gd name="connsiteY845" fmla="*/ 782819 h 798932"/>
                    <a:gd name="connsiteX846" fmla="*/ 177129 w 859464"/>
                    <a:gd name="connsiteY846" fmla="*/ 784203 h 798932"/>
                    <a:gd name="connsiteX847" fmla="*/ 176485 w 859464"/>
                    <a:gd name="connsiteY847" fmla="*/ 785357 h 798932"/>
                    <a:gd name="connsiteX848" fmla="*/ 176145 w 859464"/>
                    <a:gd name="connsiteY848" fmla="*/ 787895 h 798932"/>
                    <a:gd name="connsiteX849" fmla="*/ 175380 w 859464"/>
                    <a:gd name="connsiteY849" fmla="*/ 788672 h 798932"/>
                    <a:gd name="connsiteX850" fmla="*/ 172830 w 859464"/>
                    <a:gd name="connsiteY850" fmla="*/ 788672 h 798932"/>
                    <a:gd name="connsiteX851" fmla="*/ 172393 w 859464"/>
                    <a:gd name="connsiteY851" fmla="*/ 788489 h 798932"/>
                    <a:gd name="connsiteX852" fmla="*/ 170414 w 859464"/>
                    <a:gd name="connsiteY852" fmla="*/ 788441 h 798932"/>
                    <a:gd name="connsiteX853" fmla="*/ 168192 w 859464"/>
                    <a:gd name="connsiteY853" fmla="*/ 788708 h 798932"/>
                    <a:gd name="connsiteX854" fmla="*/ 168362 w 859464"/>
                    <a:gd name="connsiteY854" fmla="*/ 791367 h 798932"/>
                    <a:gd name="connsiteX855" fmla="*/ 167026 w 859464"/>
                    <a:gd name="connsiteY855" fmla="*/ 792314 h 798932"/>
                    <a:gd name="connsiteX856" fmla="*/ 165095 w 859464"/>
                    <a:gd name="connsiteY856" fmla="*/ 792861 h 798932"/>
                    <a:gd name="connsiteX857" fmla="*/ 163553 w 859464"/>
                    <a:gd name="connsiteY857" fmla="*/ 792740 h 798932"/>
                    <a:gd name="connsiteX858" fmla="*/ 156535 w 859464"/>
                    <a:gd name="connsiteY858" fmla="*/ 789534 h 798932"/>
                    <a:gd name="connsiteX859" fmla="*/ 155600 w 859464"/>
                    <a:gd name="connsiteY859" fmla="*/ 788429 h 798932"/>
                    <a:gd name="connsiteX860" fmla="*/ 153778 w 859464"/>
                    <a:gd name="connsiteY860" fmla="*/ 784507 h 798932"/>
                    <a:gd name="connsiteX861" fmla="*/ 152236 w 859464"/>
                    <a:gd name="connsiteY861" fmla="*/ 784240 h 798932"/>
                    <a:gd name="connsiteX862" fmla="*/ 152066 w 859464"/>
                    <a:gd name="connsiteY862" fmla="*/ 779273 h 798932"/>
                    <a:gd name="connsiteX863" fmla="*/ 151398 w 859464"/>
                    <a:gd name="connsiteY863" fmla="*/ 778508 h 798932"/>
                    <a:gd name="connsiteX864" fmla="*/ 150075 w 859464"/>
                    <a:gd name="connsiteY864" fmla="*/ 778386 h 798932"/>
                    <a:gd name="connsiteX865" fmla="*/ 149200 w 859464"/>
                    <a:gd name="connsiteY865" fmla="*/ 779164 h 798932"/>
                    <a:gd name="connsiteX866" fmla="*/ 147864 w 859464"/>
                    <a:gd name="connsiteY866" fmla="*/ 779832 h 798932"/>
                    <a:gd name="connsiteX867" fmla="*/ 147415 w 859464"/>
                    <a:gd name="connsiteY867" fmla="*/ 781046 h 798932"/>
                    <a:gd name="connsiteX868" fmla="*/ 145934 w 859464"/>
                    <a:gd name="connsiteY868" fmla="*/ 784300 h 798932"/>
                    <a:gd name="connsiteX869" fmla="*/ 145047 w 859464"/>
                    <a:gd name="connsiteY869" fmla="*/ 786753 h 798932"/>
                    <a:gd name="connsiteX870" fmla="*/ 143505 w 859464"/>
                    <a:gd name="connsiteY870" fmla="*/ 786413 h 798932"/>
                    <a:gd name="connsiteX871" fmla="*/ 139632 w 859464"/>
                    <a:gd name="connsiteY871" fmla="*/ 783863 h 798932"/>
                    <a:gd name="connsiteX872" fmla="*/ 137762 w 859464"/>
                    <a:gd name="connsiteY872" fmla="*/ 783535 h 798932"/>
                    <a:gd name="connsiteX873" fmla="*/ 134228 w 859464"/>
                    <a:gd name="connsiteY873" fmla="*/ 783766 h 798932"/>
                    <a:gd name="connsiteX874" fmla="*/ 131301 w 859464"/>
                    <a:gd name="connsiteY874" fmla="*/ 783438 h 798932"/>
                    <a:gd name="connsiteX875" fmla="*/ 127367 w 859464"/>
                    <a:gd name="connsiteY875" fmla="*/ 781835 h 798932"/>
                    <a:gd name="connsiteX876" fmla="*/ 123676 w 859464"/>
                    <a:gd name="connsiteY876" fmla="*/ 779735 h 798932"/>
                    <a:gd name="connsiteX877" fmla="*/ 121624 w 859464"/>
                    <a:gd name="connsiteY877" fmla="*/ 779698 h 798932"/>
                    <a:gd name="connsiteX878" fmla="*/ 119863 w 859464"/>
                    <a:gd name="connsiteY878" fmla="*/ 780402 h 798932"/>
                    <a:gd name="connsiteX879" fmla="*/ 117762 w 859464"/>
                    <a:gd name="connsiteY879" fmla="*/ 783608 h 798932"/>
                    <a:gd name="connsiteX880" fmla="*/ 116718 w 859464"/>
                    <a:gd name="connsiteY880" fmla="*/ 783936 h 798932"/>
                    <a:gd name="connsiteX881" fmla="*/ 114787 w 859464"/>
                    <a:gd name="connsiteY881" fmla="*/ 783936 h 798932"/>
                    <a:gd name="connsiteX882" fmla="*/ 113682 w 859464"/>
                    <a:gd name="connsiteY882" fmla="*/ 783608 h 798932"/>
                    <a:gd name="connsiteX883" fmla="*/ 112067 w 859464"/>
                    <a:gd name="connsiteY883" fmla="*/ 783936 h 798932"/>
                    <a:gd name="connsiteX884" fmla="*/ 110646 w 859464"/>
                    <a:gd name="connsiteY884" fmla="*/ 784762 h 798932"/>
                    <a:gd name="connsiteX885" fmla="*/ 109031 w 859464"/>
                    <a:gd name="connsiteY885" fmla="*/ 785260 h 798932"/>
                    <a:gd name="connsiteX886" fmla="*/ 107161 w 859464"/>
                    <a:gd name="connsiteY886" fmla="*/ 785587 h 798932"/>
                    <a:gd name="connsiteX887" fmla="*/ 105449 w 859464"/>
                    <a:gd name="connsiteY887" fmla="*/ 785320 h 798932"/>
                    <a:gd name="connsiteX888" fmla="*/ 103397 w 859464"/>
                    <a:gd name="connsiteY888" fmla="*/ 784823 h 798932"/>
                    <a:gd name="connsiteX889" fmla="*/ 101733 w 859464"/>
                    <a:gd name="connsiteY889" fmla="*/ 784045 h 798932"/>
                    <a:gd name="connsiteX890" fmla="*/ 99924 w 859464"/>
                    <a:gd name="connsiteY890" fmla="*/ 783390 h 798932"/>
                    <a:gd name="connsiteX891" fmla="*/ 97933 w 859464"/>
                    <a:gd name="connsiteY891" fmla="*/ 783547 h 798932"/>
                    <a:gd name="connsiteX892" fmla="*/ 95953 w 859464"/>
                    <a:gd name="connsiteY892" fmla="*/ 783049 h 798932"/>
                    <a:gd name="connsiteX893" fmla="*/ 94678 w 859464"/>
                    <a:gd name="connsiteY893" fmla="*/ 782333 h 798932"/>
                    <a:gd name="connsiteX894" fmla="*/ 93355 w 859464"/>
                    <a:gd name="connsiteY894" fmla="*/ 781835 h 798932"/>
                    <a:gd name="connsiteX895" fmla="*/ 91691 w 859464"/>
                    <a:gd name="connsiteY895" fmla="*/ 781507 h 798932"/>
                    <a:gd name="connsiteX896" fmla="*/ 90052 w 859464"/>
                    <a:gd name="connsiteY896" fmla="*/ 782005 h 798932"/>
                    <a:gd name="connsiteX897" fmla="*/ 88595 w 859464"/>
                    <a:gd name="connsiteY897" fmla="*/ 782673 h 798932"/>
                    <a:gd name="connsiteX898" fmla="*/ 87283 w 859464"/>
                    <a:gd name="connsiteY898" fmla="*/ 783669 h 798932"/>
                    <a:gd name="connsiteX899" fmla="*/ 85620 w 859464"/>
                    <a:gd name="connsiteY899" fmla="*/ 783936 h 798932"/>
                    <a:gd name="connsiteX900" fmla="*/ 80969 w 859464"/>
                    <a:gd name="connsiteY900" fmla="*/ 783438 h 798932"/>
                    <a:gd name="connsiteX901" fmla="*/ 78990 w 859464"/>
                    <a:gd name="connsiteY901" fmla="*/ 783001 h 798932"/>
                    <a:gd name="connsiteX902" fmla="*/ 77399 w 859464"/>
                    <a:gd name="connsiteY902" fmla="*/ 782175 h 798932"/>
                    <a:gd name="connsiteX903" fmla="*/ 75954 w 859464"/>
                    <a:gd name="connsiteY903" fmla="*/ 780512 h 798932"/>
                    <a:gd name="connsiteX904" fmla="*/ 74861 w 859464"/>
                    <a:gd name="connsiteY904" fmla="*/ 779139 h 798932"/>
                    <a:gd name="connsiteX905" fmla="*/ 73525 w 859464"/>
                    <a:gd name="connsiteY905" fmla="*/ 778205 h 798932"/>
                    <a:gd name="connsiteX906" fmla="*/ 72651 w 859464"/>
                    <a:gd name="connsiteY906" fmla="*/ 777427 h 798932"/>
                    <a:gd name="connsiteX907" fmla="*/ 71206 w 859464"/>
                    <a:gd name="connsiteY907" fmla="*/ 776711 h 798932"/>
                    <a:gd name="connsiteX908" fmla="*/ 69773 w 859464"/>
                    <a:gd name="connsiteY908" fmla="*/ 777257 h 798932"/>
                    <a:gd name="connsiteX909" fmla="*/ 67879 w 859464"/>
                    <a:gd name="connsiteY909" fmla="*/ 777598 h 798932"/>
                    <a:gd name="connsiteX910" fmla="*/ 66337 w 859464"/>
                    <a:gd name="connsiteY910" fmla="*/ 776978 h 798932"/>
                    <a:gd name="connsiteX911" fmla="*/ 64746 w 859464"/>
                    <a:gd name="connsiteY911" fmla="*/ 776602 h 798932"/>
                    <a:gd name="connsiteX912" fmla="*/ 60484 w 859464"/>
                    <a:gd name="connsiteY912" fmla="*/ 776335 h 798932"/>
                    <a:gd name="connsiteX913" fmla="*/ 57278 w 859464"/>
                    <a:gd name="connsiteY913" fmla="*/ 775824 h 798932"/>
                    <a:gd name="connsiteX914" fmla="*/ 53089 w 859464"/>
                    <a:gd name="connsiteY914" fmla="*/ 774950 h 798932"/>
                    <a:gd name="connsiteX915" fmla="*/ 54085 w 859464"/>
                    <a:gd name="connsiteY915" fmla="*/ 770688 h 798932"/>
                    <a:gd name="connsiteX916" fmla="*/ 54303 w 859464"/>
                    <a:gd name="connsiteY916" fmla="*/ 767980 h 798932"/>
                    <a:gd name="connsiteX917" fmla="*/ 54085 w 859464"/>
                    <a:gd name="connsiteY917" fmla="*/ 766875 h 798932"/>
                    <a:gd name="connsiteX918" fmla="*/ 53040 w 859464"/>
                    <a:gd name="connsiteY918" fmla="*/ 766049 h 798932"/>
                    <a:gd name="connsiteX919" fmla="*/ 52372 w 859464"/>
                    <a:gd name="connsiteY919" fmla="*/ 765054 h 798932"/>
                    <a:gd name="connsiteX920" fmla="*/ 52372 w 859464"/>
                    <a:gd name="connsiteY920" fmla="*/ 764556 h 798932"/>
                    <a:gd name="connsiteX921" fmla="*/ 51061 w 859464"/>
                    <a:gd name="connsiteY921" fmla="*/ 764568 h 798932"/>
                    <a:gd name="connsiteX922" fmla="*/ 48183 w 859464"/>
                    <a:gd name="connsiteY922" fmla="*/ 764556 h 798932"/>
                    <a:gd name="connsiteX923" fmla="*/ 48062 w 859464"/>
                    <a:gd name="connsiteY923" fmla="*/ 764556 h 798932"/>
                    <a:gd name="connsiteX924" fmla="*/ 48948 w 859464"/>
                    <a:gd name="connsiteY924" fmla="*/ 763026 h 798932"/>
                    <a:gd name="connsiteX925" fmla="*/ 49616 w 859464"/>
                    <a:gd name="connsiteY925" fmla="*/ 761496 h 798932"/>
                    <a:gd name="connsiteX926" fmla="*/ 49106 w 859464"/>
                    <a:gd name="connsiteY926" fmla="*/ 753044 h 798932"/>
                    <a:gd name="connsiteX927" fmla="*/ 49227 w 859464"/>
                    <a:gd name="connsiteY927" fmla="*/ 748685 h 798932"/>
                    <a:gd name="connsiteX928" fmla="*/ 49920 w 859464"/>
                    <a:gd name="connsiteY928" fmla="*/ 743974 h 798932"/>
                    <a:gd name="connsiteX929" fmla="*/ 49920 w 859464"/>
                    <a:gd name="connsiteY929" fmla="*/ 740561 h 798932"/>
                    <a:gd name="connsiteX930" fmla="*/ 48766 w 859464"/>
                    <a:gd name="connsiteY930" fmla="*/ 730252 h 798932"/>
                    <a:gd name="connsiteX931" fmla="*/ 49009 w 859464"/>
                    <a:gd name="connsiteY931" fmla="*/ 726512 h 798932"/>
                    <a:gd name="connsiteX932" fmla="*/ 49689 w 859464"/>
                    <a:gd name="connsiteY932" fmla="*/ 723488 h 798932"/>
                    <a:gd name="connsiteX933" fmla="*/ 50490 w 859464"/>
                    <a:gd name="connsiteY933" fmla="*/ 721363 h 798932"/>
                    <a:gd name="connsiteX934" fmla="*/ 50830 w 859464"/>
                    <a:gd name="connsiteY934" fmla="*/ 719020 h 798932"/>
                    <a:gd name="connsiteX935" fmla="*/ 50563 w 859464"/>
                    <a:gd name="connsiteY935" fmla="*/ 713677 h 798932"/>
                    <a:gd name="connsiteX936" fmla="*/ 50952 w 859464"/>
                    <a:gd name="connsiteY936" fmla="*/ 711528 h 798932"/>
                    <a:gd name="connsiteX937" fmla="*/ 51935 w 859464"/>
                    <a:gd name="connsiteY937" fmla="*/ 709828 h 798932"/>
                    <a:gd name="connsiteX938" fmla="*/ 52955 w 859464"/>
                    <a:gd name="connsiteY938" fmla="*/ 708868 h 798932"/>
                    <a:gd name="connsiteX939" fmla="*/ 58408 w 859464"/>
                    <a:gd name="connsiteY939" fmla="*/ 705578 h 798932"/>
                    <a:gd name="connsiteX940" fmla="*/ 60193 w 859464"/>
                    <a:gd name="connsiteY940" fmla="*/ 704230 h 798932"/>
                    <a:gd name="connsiteX941" fmla="*/ 61395 w 859464"/>
                    <a:gd name="connsiteY941" fmla="*/ 702675 h 798932"/>
                    <a:gd name="connsiteX942" fmla="*/ 62439 w 859464"/>
                    <a:gd name="connsiteY942" fmla="*/ 700720 h 798932"/>
                    <a:gd name="connsiteX943" fmla="*/ 62560 w 859464"/>
                    <a:gd name="connsiteY943" fmla="*/ 697940 h 798932"/>
                    <a:gd name="connsiteX944" fmla="*/ 61625 w 859464"/>
                    <a:gd name="connsiteY944" fmla="*/ 695851 h 798932"/>
                    <a:gd name="connsiteX945" fmla="*/ 59853 w 859464"/>
                    <a:gd name="connsiteY945" fmla="*/ 694479 h 798932"/>
                    <a:gd name="connsiteX946" fmla="*/ 58930 w 859464"/>
                    <a:gd name="connsiteY946" fmla="*/ 692378 h 798932"/>
                    <a:gd name="connsiteX947" fmla="*/ 51413 w 859464"/>
                    <a:gd name="connsiteY947" fmla="*/ 689100 h 798932"/>
                    <a:gd name="connsiteX948" fmla="*/ 47673 w 859464"/>
                    <a:gd name="connsiteY948" fmla="*/ 688529 h 798932"/>
                    <a:gd name="connsiteX949" fmla="*/ 47175 w 859464"/>
                    <a:gd name="connsiteY949" fmla="*/ 688541 h 798932"/>
                    <a:gd name="connsiteX950" fmla="*/ 47078 w 859464"/>
                    <a:gd name="connsiteY950" fmla="*/ 688529 h 798932"/>
                    <a:gd name="connsiteX951" fmla="*/ 35785 w 859464"/>
                    <a:gd name="connsiteY951" fmla="*/ 688845 h 798932"/>
                    <a:gd name="connsiteX952" fmla="*/ 32810 w 859464"/>
                    <a:gd name="connsiteY952" fmla="*/ 688529 h 798932"/>
                    <a:gd name="connsiteX953" fmla="*/ 13977 w 859464"/>
                    <a:gd name="connsiteY953" fmla="*/ 683623 h 798932"/>
                    <a:gd name="connsiteX954" fmla="*/ 12313 w 859464"/>
                    <a:gd name="connsiteY954" fmla="*/ 681947 h 798932"/>
                    <a:gd name="connsiteX955" fmla="*/ 7201 w 859464"/>
                    <a:gd name="connsiteY955" fmla="*/ 675378 h 798932"/>
                    <a:gd name="connsiteX956" fmla="*/ 7771 w 859464"/>
                    <a:gd name="connsiteY956" fmla="*/ 674346 h 798932"/>
                    <a:gd name="connsiteX957" fmla="*/ 10236 w 859464"/>
                    <a:gd name="connsiteY957" fmla="*/ 672330 h 798932"/>
                    <a:gd name="connsiteX958" fmla="*/ 17364 w 859464"/>
                    <a:gd name="connsiteY958" fmla="*/ 668432 h 798932"/>
                    <a:gd name="connsiteX959" fmla="*/ 23618 w 859464"/>
                    <a:gd name="connsiteY959" fmla="*/ 663624 h 798932"/>
                    <a:gd name="connsiteX960" fmla="*/ 28499 w 859464"/>
                    <a:gd name="connsiteY960" fmla="*/ 660928 h 798932"/>
                    <a:gd name="connsiteX961" fmla="*/ 29932 w 859464"/>
                    <a:gd name="connsiteY961" fmla="*/ 659410 h 798932"/>
                    <a:gd name="connsiteX962" fmla="*/ 30806 w 859464"/>
                    <a:gd name="connsiteY962" fmla="*/ 657370 h 798932"/>
                    <a:gd name="connsiteX963" fmla="*/ 30904 w 859464"/>
                    <a:gd name="connsiteY963" fmla="*/ 654784 h 798932"/>
                    <a:gd name="connsiteX964" fmla="*/ 31936 w 859464"/>
                    <a:gd name="connsiteY964" fmla="*/ 652914 h 798932"/>
                    <a:gd name="connsiteX965" fmla="*/ 33381 w 859464"/>
                    <a:gd name="connsiteY965" fmla="*/ 651797 h 798932"/>
                    <a:gd name="connsiteX966" fmla="*/ 37339 w 859464"/>
                    <a:gd name="connsiteY966" fmla="*/ 650242 h 798932"/>
                    <a:gd name="connsiteX967" fmla="*/ 39052 w 859464"/>
                    <a:gd name="connsiteY967" fmla="*/ 649089 h 798932"/>
                    <a:gd name="connsiteX968" fmla="*/ 39938 w 859464"/>
                    <a:gd name="connsiteY968" fmla="*/ 647571 h 798932"/>
                    <a:gd name="connsiteX969" fmla="*/ 40618 w 859464"/>
                    <a:gd name="connsiteY969" fmla="*/ 645385 h 798932"/>
                    <a:gd name="connsiteX970" fmla="*/ 41310 w 859464"/>
                    <a:gd name="connsiteY970" fmla="*/ 642082 h 798932"/>
                    <a:gd name="connsiteX971" fmla="*/ 42221 w 859464"/>
                    <a:gd name="connsiteY971" fmla="*/ 639957 h 798932"/>
                    <a:gd name="connsiteX972" fmla="*/ 42622 w 859464"/>
                    <a:gd name="connsiteY972" fmla="*/ 638464 h 798932"/>
                    <a:gd name="connsiteX973" fmla="*/ 42464 w 859464"/>
                    <a:gd name="connsiteY973" fmla="*/ 637553 h 798932"/>
                    <a:gd name="connsiteX974" fmla="*/ 41189 w 859464"/>
                    <a:gd name="connsiteY974" fmla="*/ 636606 h 798932"/>
                    <a:gd name="connsiteX975" fmla="*/ 39938 w 859464"/>
                    <a:gd name="connsiteY975" fmla="*/ 636399 h 798932"/>
                    <a:gd name="connsiteX976" fmla="*/ 39598 w 859464"/>
                    <a:gd name="connsiteY976" fmla="*/ 636448 h 798932"/>
                    <a:gd name="connsiteX977" fmla="*/ 39343 w 859464"/>
                    <a:gd name="connsiteY977" fmla="*/ 636399 h 798932"/>
                    <a:gd name="connsiteX978" fmla="*/ 38007 w 859464"/>
                    <a:gd name="connsiteY978" fmla="*/ 636582 h 798932"/>
                    <a:gd name="connsiteX979" fmla="*/ 36210 w 859464"/>
                    <a:gd name="connsiteY979" fmla="*/ 637189 h 798932"/>
                    <a:gd name="connsiteX980" fmla="*/ 36016 w 859464"/>
                    <a:gd name="connsiteY980" fmla="*/ 637128 h 798932"/>
                    <a:gd name="connsiteX981" fmla="*/ 36077 w 859464"/>
                    <a:gd name="connsiteY981" fmla="*/ 636181 h 798932"/>
                    <a:gd name="connsiteX982" fmla="*/ 37109 w 859464"/>
                    <a:gd name="connsiteY982" fmla="*/ 634104 h 798932"/>
                    <a:gd name="connsiteX983" fmla="*/ 38554 w 859464"/>
                    <a:gd name="connsiteY983" fmla="*/ 632671 h 798932"/>
                    <a:gd name="connsiteX984" fmla="*/ 41711 w 859464"/>
                    <a:gd name="connsiteY984" fmla="*/ 630121 h 798932"/>
                    <a:gd name="connsiteX985" fmla="*/ 42464 w 859464"/>
                    <a:gd name="connsiteY985" fmla="*/ 628968 h 798932"/>
                    <a:gd name="connsiteX986" fmla="*/ 42221 w 859464"/>
                    <a:gd name="connsiteY986" fmla="*/ 627839 h 798932"/>
                    <a:gd name="connsiteX987" fmla="*/ 40618 w 859464"/>
                    <a:gd name="connsiteY987" fmla="*/ 626017 h 798932"/>
                    <a:gd name="connsiteX988" fmla="*/ 36829 w 859464"/>
                    <a:gd name="connsiteY988" fmla="*/ 623722 h 798932"/>
                    <a:gd name="connsiteX989" fmla="*/ 35955 w 859464"/>
                    <a:gd name="connsiteY989" fmla="*/ 623115 h 798932"/>
                    <a:gd name="connsiteX990" fmla="*/ 35737 w 859464"/>
                    <a:gd name="connsiteY990" fmla="*/ 621998 h 798932"/>
                    <a:gd name="connsiteX991" fmla="*/ 35737 w 859464"/>
                    <a:gd name="connsiteY991" fmla="*/ 619776 h 798932"/>
                    <a:gd name="connsiteX992" fmla="*/ 36708 w 859464"/>
                    <a:gd name="connsiteY992" fmla="*/ 611713 h 798932"/>
                    <a:gd name="connsiteX993" fmla="*/ 37509 w 859464"/>
                    <a:gd name="connsiteY993" fmla="*/ 609794 h 798932"/>
                    <a:gd name="connsiteX994" fmla="*/ 38602 w 859464"/>
                    <a:gd name="connsiteY994" fmla="*/ 608677 h 798932"/>
                    <a:gd name="connsiteX995" fmla="*/ 39877 w 859464"/>
                    <a:gd name="connsiteY995" fmla="*/ 607875 h 798932"/>
                    <a:gd name="connsiteX996" fmla="*/ 40387 w 859464"/>
                    <a:gd name="connsiteY996" fmla="*/ 605338 h 798932"/>
                    <a:gd name="connsiteX997" fmla="*/ 40205 w 859464"/>
                    <a:gd name="connsiteY997" fmla="*/ 581805 h 798932"/>
                    <a:gd name="connsiteX998" fmla="*/ 40618 w 859464"/>
                    <a:gd name="connsiteY998" fmla="*/ 577907 h 798932"/>
                    <a:gd name="connsiteX999" fmla="*/ 41820 w 859464"/>
                    <a:gd name="connsiteY999" fmla="*/ 574094 h 798932"/>
                    <a:gd name="connsiteX1000" fmla="*/ 43545 w 859464"/>
                    <a:gd name="connsiteY1000" fmla="*/ 570645 h 798932"/>
                    <a:gd name="connsiteX1001" fmla="*/ 45949 w 859464"/>
                    <a:gd name="connsiteY1001" fmla="*/ 567002 h 798932"/>
                    <a:gd name="connsiteX1002" fmla="*/ 46641 w 859464"/>
                    <a:gd name="connsiteY1002" fmla="*/ 564234 h 798932"/>
                    <a:gd name="connsiteX1003" fmla="*/ 46180 w 859464"/>
                    <a:gd name="connsiteY1003" fmla="*/ 560992 h 798932"/>
                    <a:gd name="connsiteX1004" fmla="*/ 41650 w 859464"/>
                    <a:gd name="connsiteY1004" fmla="*/ 553524 h 798932"/>
                    <a:gd name="connsiteX1005" fmla="*/ 40205 w 859464"/>
                    <a:gd name="connsiteY1005" fmla="*/ 550537 h 798932"/>
                    <a:gd name="connsiteX1006" fmla="*/ 39294 w 859464"/>
                    <a:gd name="connsiteY1006" fmla="*/ 542959 h 798932"/>
                    <a:gd name="connsiteX1007" fmla="*/ 38663 w 859464"/>
                    <a:gd name="connsiteY1007" fmla="*/ 541757 h 798932"/>
                    <a:gd name="connsiteX1008" fmla="*/ 36878 w 859464"/>
                    <a:gd name="connsiteY1008" fmla="*/ 540434 h 798932"/>
                    <a:gd name="connsiteX1009" fmla="*/ 35045 w 859464"/>
                    <a:gd name="connsiteY1009" fmla="*/ 539717 h 798932"/>
                    <a:gd name="connsiteX1010" fmla="*/ 31547 w 859464"/>
                    <a:gd name="connsiteY1010" fmla="*/ 538770 h 798932"/>
                    <a:gd name="connsiteX1011" fmla="*/ 29823 w 859464"/>
                    <a:gd name="connsiteY1011" fmla="*/ 537969 h 798932"/>
                    <a:gd name="connsiteX1012" fmla="*/ 28378 w 859464"/>
                    <a:gd name="connsiteY1012" fmla="*/ 536560 h 798932"/>
                    <a:gd name="connsiteX1013" fmla="*/ 27637 w 859464"/>
                    <a:gd name="connsiteY1013" fmla="*/ 534375 h 798932"/>
                    <a:gd name="connsiteX1014" fmla="*/ 27406 w 859464"/>
                    <a:gd name="connsiteY1014" fmla="*/ 531776 h 798932"/>
                    <a:gd name="connsiteX1015" fmla="*/ 29131 w 859464"/>
                    <a:gd name="connsiteY1015" fmla="*/ 526251 h 798932"/>
                    <a:gd name="connsiteX1016" fmla="*/ 51984 w 859464"/>
                    <a:gd name="connsiteY1016" fmla="*/ 496877 h 798932"/>
                    <a:gd name="connsiteX1017" fmla="*/ 54157 w 859464"/>
                    <a:gd name="connsiteY1017" fmla="*/ 492688 h 798932"/>
                    <a:gd name="connsiteX1018" fmla="*/ 55712 w 859464"/>
                    <a:gd name="connsiteY1018" fmla="*/ 488207 h 798932"/>
                    <a:gd name="connsiteX1019" fmla="*/ 57497 w 859464"/>
                    <a:gd name="connsiteY1019" fmla="*/ 486082 h 798932"/>
                    <a:gd name="connsiteX1020" fmla="*/ 59452 w 859464"/>
                    <a:gd name="connsiteY1020" fmla="*/ 485135 h 798932"/>
                    <a:gd name="connsiteX1021" fmla="*/ 61747 w 859464"/>
                    <a:gd name="connsiteY1021" fmla="*/ 484989 h 798932"/>
                    <a:gd name="connsiteX1022" fmla="*/ 64163 w 859464"/>
                    <a:gd name="connsiteY1022" fmla="*/ 484528 h 798932"/>
                    <a:gd name="connsiteX1023" fmla="*/ 65936 w 859464"/>
                    <a:gd name="connsiteY1023" fmla="*/ 483265 h 798932"/>
                    <a:gd name="connsiteX1024" fmla="*/ 67369 w 859464"/>
                    <a:gd name="connsiteY1024" fmla="*/ 481249 h 798932"/>
                    <a:gd name="connsiteX1025" fmla="*/ 67891 w 859464"/>
                    <a:gd name="connsiteY1025" fmla="*/ 478092 h 798932"/>
                    <a:gd name="connsiteX1026" fmla="*/ 69494 w 859464"/>
                    <a:gd name="connsiteY1026" fmla="*/ 476197 h 798932"/>
                    <a:gd name="connsiteX1027" fmla="*/ 71328 w 859464"/>
                    <a:gd name="connsiteY1027" fmla="*/ 475165 h 798932"/>
                    <a:gd name="connsiteX1028" fmla="*/ 80459 w 859464"/>
                    <a:gd name="connsiteY1028" fmla="*/ 473101 h 798932"/>
                    <a:gd name="connsiteX1029" fmla="*/ 81163 w 859464"/>
                    <a:gd name="connsiteY1029" fmla="*/ 472785 h 798932"/>
                    <a:gd name="connsiteX1030" fmla="*/ 81443 w 859464"/>
                    <a:gd name="connsiteY1030" fmla="*/ 472640 h 798932"/>
                    <a:gd name="connsiteX1031" fmla="*/ 86834 w 859464"/>
                    <a:gd name="connsiteY1031" fmla="*/ 462015 h 798932"/>
                    <a:gd name="connsiteX1032" fmla="*/ 87526 w 859464"/>
                    <a:gd name="connsiteY1032" fmla="*/ 459671 h 798932"/>
                    <a:gd name="connsiteX1033" fmla="*/ 87016 w 859464"/>
                    <a:gd name="connsiteY1033" fmla="*/ 458347 h 798932"/>
                    <a:gd name="connsiteX1034" fmla="*/ 85401 w 859464"/>
                    <a:gd name="connsiteY1034" fmla="*/ 457740 h 798932"/>
                    <a:gd name="connsiteX1035" fmla="*/ 85049 w 859464"/>
                    <a:gd name="connsiteY1035" fmla="*/ 457837 h 798932"/>
                    <a:gd name="connsiteX1036" fmla="*/ 84806 w 859464"/>
                    <a:gd name="connsiteY1036" fmla="*/ 457740 h 798932"/>
                    <a:gd name="connsiteX1037" fmla="*/ 81200 w 859464"/>
                    <a:gd name="connsiteY1037" fmla="*/ 458688 h 798932"/>
                    <a:gd name="connsiteX1038" fmla="*/ 78783 w 859464"/>
                    <a:gd name="connsiteY1038" fmla="*/ 459865 h 798932"/>
                    <a:gd name="connsiteX1039" fmla="*/ 74655 w 859464"/>
                    <a:gd name="connsiteY1039" fmla="*/ 462452 h 798932"/>
                    <a:gd name="connsiteX1040" fmla="*/ 72469 w 859464"/>
                    <a:gd name="connsiteY1040" fmla="*/ 463338 h 798932"/>
                    <a:gd name="connsiteX1041" fmla="*/ 71158 w 859464"/>
                    <a:gd name="connsiteY1041" fmla="*/ 463532 h 798932"/>
                    <a:gd name="connsiteX1042" fmla="*/ 70077 w 859464"/>
                    <a:gd name="connsiteY1042" fmla="*/ 462950 h 798932"/>
                    <a:gd name="connsiteX1043" fmla="*/ 69324 w 859464"/>
                    <a:gd name="connsiteY1043" fmla="*/ 462172 h 798932"/>
                    <a:gd name="connsiteX1044" fmla="*/ 68182 w 859464"/>
                    <a:gd name="connsiteY1044" fmla="*/ 457436 h 798932"/>
                    <a:gd name="connsiteX1045" fmla="*/ 67612 w 859464"/>
                    <a:gd name="connsiteY1045" fmla="*/ 457522 h 798932"/>
                    <a:gd name="connsiteX1046" fmla="*/ 67588 w 859464"/>
                    <a:gd name="connsiteY1046" fmla="*/ 457436 h 798932"/>
                    <a:gd name="connsiteX1047" fmla="*/ 61382 w 859464"/>
                    <a:gd name="connsiteY1047" fmla="*/ 458323 h 798932"/>
                    <a:gd name="connsiteX1048" fmla="*/ 59330 w 859464"/>
                    <a:gd name="connsiteY1048" fmla="*/ 458384 h 798932"/>
                    <a:gd name="connsiteX1049" fmla="*/ 55614 w 859464"/>
                    <a:gd name="connsiteY1049" fmla="*/ 457886 h 798932"/>
                    <a:gd name="connsiteX1050" fmla="*/ 55068 w 859464"/>
                    <a:gd name="connsiteY1050" fmla="*/ 457898 h 798932"/>
                    <a:gd name="connsiteX1051" fmla="*/ 55020 w 859464"/>
                    <a:gd name="connsiteY1051" fmla="*/ 457886 h 798932"/>
                    <a:gd name="connsiteX1052" fmla="*/ 53295 w 859464"/>
                    <a:gd name="connsiteY1052" fmla="*/ 457922 h 798932"/>
                    <a:gd name="connsiteX1053" fmla="*/ 51352 w 859464"/>
                    <a:gd name="connsiteY1053" fmla="*/ 457667 h 798932"/>
                    <a:gd name="connsiteX1054" fmla="*/ 49859 w 859464"/>
                    <a:gd name="connsiteY1054" fmla="*/ 456975 h 798932"/>
                    <a:gd name="connsiteX1055" fmla="*/ 47042 w 859464"/>
                    <a:gd name="connsiteY1055" fmla="*/ 454850 h 798932"/>
                    <a:gd name="connsiteX1056" fmla="*/ 44577 w 859464"/>
                    <a:gd name="connsiteY1056" fmla="*/ 453502 h 798932"/>
                    <a:gd name="connsiteX1057" fmla="*/ 38262 w 859464"/>
                    <a:gd name="connsiteY1057" fmla="*/ 450892 h 798932"/>
                    <a:gd name="connsiteX1058" fmla="*/ 36077 w 859464"/>
                    <a:gd name="connsiteY1058" fmla="*/ 447358 h 798932"/>
                    <a:gd name="connsiteX1059" fmla="*/ 38445 w 859464"/>
                    <a:gd name="connsiteY1059" fmla="*/ 443132 h 798932"/>
                    <a:gd name="connsiteX1060" fmla="*/ 43775 w 859464"/>
                    <a:gd name="connsiteY1060" fmla="*/ 436041 h 798932"/>
                    <a:gd name="connsiteX1061" fmla="*/ 45900 w 859464"/>
                    <a:gd name="connsiteY1061" fmla="*/ 431378 h 798932"/>
                    <a:gd name="connsiteX1062" fmla="*/ 47151 w 859464"/>
                    <a:gd name="connsiteY1062" fmla="*/ 430042 h 798932"/>
                    <a:gd name="connsiteX1063" fmla="*/ 49106 w 859464"/>
                    <a:gd name="connsiteY1063" fmla="*/ 428828 h 798932"/>
                    <a:gd name="connsiteX1064" fmla="*/ 55712 w 859464"/>
                    <a:gd name="connsiteY1064" fmla="*/ 426096 h 798932"/>
                    <a:gd name="connsiteX1065" fmla="*/ 57436 w 859464"/>
                    <a:gd name="connsiteY1065" fmla="*/ 425015 h 798932"/>
                    <a:gd name="connsiteX1066" fmla="*/ 58590 w 859464"/>
                    <a:gd name="connsiteY1066" fmla="*/ 423521 h 798932"/>
                    <a:gd name="connsiteX1067" fmla="*/ 58990 w 859464"/>
                    <a:gd name="connsiteY1067" fmla="*/ 421737 h 798932"/>
                    <a:gd name="connsiteX1068" fmla="*/ 58480 w 859464"/>
                    <a:gd name="connsiteY1068" fmla="*/ 418956 h 798932"/>
                    <a:gd name="connsiteX1069" fmla="*/ 57557 w 859464"/>
                    <a:gd name="connsiteY1069" fmla="*/ 417243 h 798932"/>
                    <a:gd name="connsiteX1070" fmla="*/ 56355 w 859464"/>
                    <a:gd name="connsiteY1070" fmla="*/ 415786 h 798932"/>
                    <a:gd name="connsiteX1071" fmla="*/ 53939 w 859464"/>
                    <a:gd name="connsiteY1071" fmla="*/ 413637 h 798932"/>
                    <a:gd name="connsiteX1072" fmla="*/ 53125 w 859464"/>
                    <a:gd name="connsiteY1072" fmla="*/ 412738 h 798932"/>
                    <a:gd name="connsiteX1073" fmla="*/ 52737 w 859464"/>
                    <a:gd name="connsiteY1073" fmla="*/ 412228 h 798932"/>
                    <a:gd name="connsiteX1074" fmla="*/ 52737 w 859464"/>
                    <a:gd name="connsiteY1074" fmla="*/ 411561 h 798932"/>
                    <a:gd name="connsiteX1075" fmla="*/ 53016 w 859464"/>
                    <a:gd name="connsiteY1075" fmla="*/ 410383 h 798932"/>
                    <a:gd name="connsiteX1076" fmla="*/ 54157 w 859464"/>
                    <a:gd name="connsiteY1076" fmla="*/ 407881 h 798932"/>
                    <a:gd name="connsiteX1077" fmla="*/ 55663 w 859464"/>
                    <a:gd name="connsiteY1077" fmla="*/ 405793 h 798932"/>
                    <a:gd name="connsiteX1078" fmla="*/ 57096 w 859464"/>
                    <a:gd name="connsiteY1078" fmla="*/ 404530 h 798932"/>
                    <a:gd name="connsiteX1079" fmla="*/ 58359 w 859464"/>
                    <a:gd name="connsiteY1079" fmla="*/ 403898 h 798932"/>
                    <a:gd name="connsiteX1080" fmla="*/ 60132 w 859464"/>
                    <a:gd name="connsiteY1080" fmla="*/ 403255 h 798932"/>
                    <a:gd name="connsiteX1081" fmla="*/ 61977 w 859464"/>
                    <a:gd name="connsiteY1081" fmla="*/ 402369 h 798932"/>
                    <a:gd name="connsiteX1082" fmla="*/ 63799 w 859464"/>
                    <a:gd name="connsiteY1082" fmla="*/ 401081 h 798932"/>
                    <a:gd name="connsiteX1083" fmla="*/ 75189 w 859464"/>
                    <a:gd name="connsiteY1083" fmla="*/ 390286 h 798932"/>
                    <a:gd name="connsiteX1084" fmla="*/ 75978 w 859464"/>
                    <a:gd name="connsiteY1084" fmla="*/ 389024 h 798932"/>
                    <a:gd name="connsiteX1085" fmla="*/ 76440 w 859464"/>
                    <a:gd name="connsiteY1085" fmla="*/ 387105 h 798932"/>
                    <a:gd name="connsiteX1086" fmla="*/ 76282 w 859464"/>
                    <a:gd name="connsiteY1086" fmla="*/ 384154 h 798932"/>
                    <a:gd name="connsiteX1087" fmla="*/ 75468 w 859464"/>
                    <a:gd name="connsiteY1087" fmla="*/ 378471 h 798932"/>
                    <a:gd name="connsiteX1088" fmla="*/ 73574 w 859464"/>
                    <a:gd name="connsiteY1088" fmla="*/ 372460 h 798932"/>
                    <a:gd name="connsiteX1089" fmla="*/ 72093 w 859464"/>
                    <a:gd name="connsiteY1089" fmla="*/ 369242 h 798932"/>
                    <a:gd name="connsiteX1090" fmla="*/ 70478 w 859464"/>
                    <a:gd name="connsiteY1090" fmla="*/ 367142 h 798932"/>
                    <a:gd name="connsiteX1091" fmla="*/ 64503 w 859464"/>
                    <a:gd name="connsiteY1091" fmla="*/ 362066 h 798932"/>
                    <a:gd name="connsiteX1092" fmla="*/ 63750 w 859464"/>
                    <a:gd name="connsiteY1092" fmla="*/ 360597 h 798932"/>
                    <a:gd name="connsiteX1093" fmla="*/ 63532 w 859464"/>
                    <a:gd name="connsiteY1093" fmla="*/ 359103 h 798932"/>
                    <a:gd name="connsiteX1094" fmla="*/ 64163 w 859464"/>
                    <a:gd name="connsiteY1094" fmla="*/ 357245 h 798932"/>
                    <a:gd name="connsiteX1095" fmla="*/ 65013 w 859464"/>
                    <a:gd name="connsiteY1095" fmla="*/ 356237 h 798932"/>
                    <a:gd name="connsiteX1096" fmla="*/ 66264 w 859464"/>
                    <a:gd name="connsiteY1096" fmla="*/ 355667 h 798932"/>
                    <a:gd name="connsiteX1097" fmla="*/ 68753 w 859464"/>
                    <a:gd name="connsiteY1097" fmla="*/ 355181 h 798932"/>
                    <a:gd name="connsiteX1098" fmla="*/ 69895 w 859464"/>
                    <a:gd name="connsiteY1098" fmla="*/ 354804 h 798932"/>
                    <a:gd name="connsiteX1099" fmla="*/ 70818 w 859464"/>
                    <a:gd name="connsiteY1099" fmla="*/ 354319 h 798932"/>
                    <a:gd name="connsiteX1100" fmla="*/ 71449 w 859464"/>
                    <a:gd name="connsiteY1100" fmla="*/ 353566 h 798932"/>
                    <a:gd name="connsiteX1101" fmla="*/ 71631 w 859464"/>
                    <a:gd name="connsiteY1101" fmla="*/ 351575 h 798932"/>
                    <a:gd name="connsiteX1102" fmla="*/ 69737 w 859464"/>
                    <a:gd name="connsiteY1102" fmla="*/ 341812 h 798932"/>
                    <a:gd name="connsiteX1103" fmla="*/ 65754 w 859464"/>
                    <a:gd name="connsiteY1103" fmla="*/ 332474 h 798932"/>
                    <a:gd name="connsiteX1104" fmla="*/ 65535 w 859464"/>
                    <a:gd name="connsiteY1104" fmla="*/ 330519 h 798932"/>
                    <a:gd name="connsiteX1105" fmla="*/ 65997 w 859464"/>
                    <a:gd name="connsiteY1105" fmla="*/ 327447 h 798932"/>
                    <a:gd name="connsiteX1106" fmla="*/ 66859 w 859464"/>
                    <a:gd name="connsiteY1106" fmla="*/ 325066 h 798932"/>
                    <a:gd name="connsiteX1107" fmla="*/ 68061 w 859464"/>
                    <a:gd name="connsiteY1107" fmla="*/ 322687 h 798932"/>
                    <a:gd name="connsiteX1108" fmla="*/ 68353 w 859464"/>
                    <a:gd name="connsiteY1108" fmla="*/ 320683 h 798932"/>
                    <a:gd name="connsiteX1109" fmla="*/ 68292 w 859464"/>
                    <a:gd name="connsiteY1109" fmla="*/ 319299 h 798932"/>
                    <a:gd name="connsiteX1110" fmla="*/ 62257 w 859464"/>
                    <a:gd name="connsiteY1110" fmla="*/ 316141 h 798932"/>
                    <a:gd name="connsiteX1111" fmla="*/ 61710 w 859464"/>
                    <a:gd name="connsiteY1111" fmla="*/ 316044 h 798932"/>
                    <a:gd name="connsiteX1112" fmla="*/ 62937 w 859464"/>
                    <a:gd name="connsiteY1112" fmla="*/ 311855 h 798932"/>
                    <a:gd name="connsiteX1113" fmla="*/ 63058 w 859464"/>
                    <a:gd name="connsiteY1113" fmla="*/ 310507 h 798932"/>
                    <a:gd name="connsiteX1114" fmla="*/ 61965 w 859464"/>
                    <a:gd name="connsiteY1114" fmla="*/ 308783 h 798932"/>
                    <a:gd name="connsiteX1115" fmla="*/ 61042 w 859464"/>
                    <a:gd name="connsiteY1115" fmla="*/ 307569 h 798932"/>
                    <a:gd name="connsiteX1116" fmla="*/ 52603 w 859464"/>
                    <a:gd name="connsiteY1116" fmla="*/ 301825 h 798932"/>
                    <a:gd name="connsiteX1117" fmla="*/ 52773 w 859464"/>
                    <a:gd name="connsiteY1117" fmla="*/ 300331 h 798932"/>
                    <a:gd name="connsiteX1118" fmla="*/ 53684 w 859464"/>
                    <a:gd name="connsiteY1118" fmla="*/ 299275 h 798932"/>
                    <a:gd name="connsiteX1119" fmla="*/ 55748 w 859464"/>
                    <a:gd name="connsiteY1119" fmla="*/ 297636 h 798932"/>
                    <a:gd name="connsiteX1120" fmla="*/ 57667 w 859464"/>
                    <a:gd name="connsiteY1120" fmla="*/ 296397 h 798932"/>
                    <a:gd name="connsiteX1121" fmla="*/ 59197 w 859464"/>
                    <a:gd name="connsiteY1121" fmla="*/ 294904 h 798932"/>
                    <a:gd name="connsiteX1122" fmla="*/ 60350 w 859464"/>
                    <a:gd name="connsiteY1122" fmla="*/ 292948 h 798932"/>
                    <a:gd name="connsiteX1123" fmla="*/ 61103 w 859464"/>
                    <a:gd name="connsiteY1123" fmla="*/ 289961 h 798932"/>
                    <a:gd name="connsiteX1124" fmla="*/ 61443 w 859464"/>
                    <a:gd name="connsiteY1124" fmla="*/ 285663 h 798932"/>
                    <a:gd name="connsiteX1125" fmla="*/ 61965 w 859464"/>
                    <a:gd name="connsiteY1125" fmla="*/ 284254 h 798932"/>
                    <a:gd name="connsiteX1126" fmla="*/ 62876 w 859464"/>
                    <a:gd name="connsiteY1126" fmla="*/ 282991 h 798932"/>
                    <a:gd name="connsiteX1127" fmla="*/ 63277 w 859464"/>
                    <a:gd name="connsiteY1127" fmla="*/ 281230 h 798932"/>
                    <a:gd name="connsiteX1128" fmla="*/ 63107 w 859464"/>
                    <a:gd name="connsiteY1128" fmla="*/ 280198 h 798932"/>
                    <a:gd name="connsiteX1129" fmla="*/ 62354 w 859464"/>
                    <a:gd name="connsiteY1129" fmla="*/ 278802 h 798932"/>
                    <a:gd name="connsiteX1130" fmla="*/ 63228 w 859464"/>
                    <a:gd name="connsiteY1130" fmla="*/ 277393 h 798932"/>
                    <a:gd name="connsiteX1131" fmla="*/ 66215 w 859464"/>
                    <a:gd name="connsiteY1131" fmla="*/ 274528 h 798932"/>
                    <a:gd name="connsiteX1132" fmla="*/ 67248 w 859464"/>
                    <a:gd name="connsiteY1132" fmla="*/ 273216 h 798932"/>
                    <a:gd name="connsiteX1133" fmla="*/ 68280 w 859464"/>
                    <a:gd name="connsiteY1133" fmla="*/ 271201 h 798932"/>
                    <a:gd name="connsiteX1134" fmla="*/ 69421 w 859464"/>
                    <a:gd name="connsiteY1134" fmla="*/ 269537 h 798932"/>
                    <a:gd name="connsiteX1135" fmla="*/ 71267 w 859464"/>
                    <a:gd name="connsiteY1135" fmla="*/ 267885 h 798932"/>
                    <a:gd name="connsiteX1136" fmla="*/ 72870 w 859464"/>
                    <a:gd name="connsiteY1136" fmla="*/ 267132 h 798932"/>
                    <a:gd name="connsiteX1137" fmla="*/ 74473 w 859464"/>
                    <a:gd name="connsiteY1137" fmla="*/ 266707 h 798932"/>
                    <a:gd name="connsiteX1138" fmla="*/ 82171 w 859464"/>
                    <a:gd name="connsiteY1138" fmla="*/ 266185 h 798932"/>
                    <a:gd name="connsiteX1139" fmla="*/ 84017 w 859464"/>
                    <a:gd name="connsiteY1139" fmla="*/ 265882 h 798932"/>
                    <a:gd name="connsiteX1140" fmla="*/ 85850 w 859464"/>
                    <a:gd name="connsiteY1140" fmla="*/ 265311 h 798932"/>
                    <a:gd name="connsiteX1141" fmla="*/ 87465 w 859464"/>
                    <a:gd name="connsiteY1141" fmla="*/ 264364 h 798932"/>
                    <a:gd name="connsiteX1142" fmla="*/ 88947 w 859464"/>
                    <a:gd name="connsiteY1142" fmla="*/ 262530 h 798932"/>
                    <a:gd name="connsiteX1143" fmla="*/ 90149 w 859464"/>
                    <a:gd name="connsiteY1143" fmla="*/ 259968 h 798932"/>
                    <a:gd name="connsiteX1144" fmla="*/ 91485 w 859464"/>
                    <a:gd name="connsiteY1144" fmla="*/ 255062 h 798932"/>
                    <a:gd name="connsiteX1145" fmla="*/ 91533 w 859464"/>
                    <a:gd name="connsiteY1145" fmla="*/ 252197 h 798932"/>
                    <a:gd name="connsiteX1146" fmla="*/ 91181 w 859464"/>
                    <a:gd name="connsiteY1146" fmla="*/ 249817 h 798932"/>
                    <a:gd name="connsiteX1147" fmla="*/ 90610 w 859464"/>
                    <a:gd name="connsiteY1147" fmla="*/ 248092 h 798932"/>
                    <a:gd name="connsiteX1148" fmla="*/ 90270 w 859464"/>
                    <a:gd name="connsiteY1148" fmla="*/ 246052 h 798932"/>
                    <a:gd name="connsiteX1149" fmla="*/ 90659 w 859464"/>
                    <a:gd name="connsiteY1149" fmla="*/ 244134 h 798932"/>
                    <a:gd name="connsiteX1150" fmla="*/ 91934 w 859464"/>
                    <a:gd name="connsiteY1150" fmla="*/ 242118 h 798932"/>
                    <a:gd name="connsiteX1151" fmla="*/ 94411 w 859464"/>
                    <a:gd name="connsiteY1151" fmla="*/ 240017 h 798932"/>
                    <a:gd name="connsiteX1152" fmla="*/ 96476 w 859464"/>
                    <a:gd name="connsiteY1152" fmla="*/ 239265 h 798932"/>
                    <a:gd name="connsiteX1153" fmla="*/ 98370 w 859464"/>
                    <a:gd name="connsiteY1153" fmla="*/ 239094 h 798932"/>
                    <a:gd name="connsiteX1154" fmla="*/ 102778 w 859464"/>
                    <a:gd name="connsiteY1154" fmla="*/ 239520 h 798932"/>
                    <a:gd name="connsiteX1155" fmla="*/ 103761 w 859464"/>
                    <a:gd name="connsiteY1155" fmla="*/ 239556 h 798932"/>
                    <a:gd name="connsiteX1156" fmla="*/ 104842 w 859464"/>
                    <a:gd name="connsiteY1156" fmla="*/ 239313 h 798932"/>
                    <a:gd name="connsiteX1157" fmla="*/ 106348 w 859464"/>
                    <a:gd name="connsiteY1157" fmla="*/ 237127 h 798932"/>
                    <a:gd name="connsiteX1158" fmla="*/ 112031 w 859464"/>
                    <a:gd name="connsiteY1158" fmla="*/ 224499 h 798932"/>
                    <a:gd name="connsiteX1159" fmla="*/ 114095 w 859464"/>
                    <a:gd name="connsiteY1159" fmla="*/ 220965 h 798932"/>
                    <a:gd name="connsiteX1160" fmla="*/ 115771 w 859464"/>
                    <a:gd name="connsiteY1160" fmla="*/ 218779 h 798932"/>
                    <a:gd name="connsiteX1161" fmla="*/ 117847 w 859464"/>
                    <a:gd name="connsiteY1161" fmla="*/ 217808 h 798932"/>
                    <a:gd name="connsiteX1162" fmla="*/ 120409 w 859464"/>
                    <a:gd name="connsiteY1162" fmla="*/ 216253 h 798932"/>
                    <a:gd name="connsiteX1163" fmla="*/ 122194 w 859464"/>
                    <a:gd name="connsiteY1163" fmla="*/ 215489 h 798932"/>
                    <a:gd name="connsiteX1164" fmla="*/ 124477 w 859464"/>
                    <a:gd name="connsiteY1164" fmla="*/ 215513 h 798932"/>
                    <a:gd name="connsiteX1165" fmla="*/ 128157 w 859464"/>
                    <a:gd name="connsiteY1165" fmla="*/ 214335 h 798932"/>
                    <a:gd name="connsiteX1166" fmla="*/ 129371 w 859464"/>
                    <a:gd name="connsiteY1166" fmla="*/ 213752 h 798932"/>
                    <a:gd name="connsiteX1167" fmla="*/ 129371 w 859464"/>
                    <a:gd name="connsiteY1167" fmla="*/ 211518 h 798932"/>
                    <a:gd name="connsiteX1168" fmla="*/ 129140 w 859464"/>
                    <a:gd name="connsiteY1168" fmla="*/ 210304 h 798932"/>
                    <a:gd name="connsiteX1169" fmla="*/ 127829 w 859464"/>
                    <a:gd name="connsiteY1169" fmla="*/ 208604 h 798932"/>
                    <a:gd name="connsiteX1170" fmla="*/ 126554 w 859464"/>
                    <a:gd name="connsiteY1170" fmla="*/ 207389 h 798932"/>
                    <a:gd name="connsiteX1171" fmla="*/ 118636 w 859464"/>
                    <a:gd name="connsiteY1171" fmla="*/ 201767 h 798932"/>
                    <a:gd name="connsiteX1172" fmla="*/ 116354 w 859464"/>
                    <a:gd name="connsiteY1172" fmla="*/ 199387 h 798932"/>
                    <a:gd name="connsiteX1173" fmla="*/ 115989 w 859464"/>
                    <a:gd name="connsiteY1173" fmla="*/ 198039 h 798932"/>
                    <a:gd name="connsiteX1174" fmla="*/ 115771 w 859464"/>
                    <a:gd name="connsiteY1174" fmla="*/ 196181 h 798932"/>
                    <a:gd name="connsiteX1175" fmla="*/ 116111 w 859464"/>
                    <a:gd name="connsiteY1175" fmla="*/ 193777 h 798932"/>
                    <a:gd name="connsiteX1176" fmla="*/ 115710 w 859464"/>
                    <a:gd name="connsiteY1176" fmla="*/ 192077 h 798932"/>
                    <a:gd name="connsiteX1177" fmla="*/ 114739 w 859464"/>
                    <a:gd name="connsiteY1177" fmla="*/ 191324 h 798932"/>
                    <a:gd name="connsiteX1178" fmla="*/ 113415 w 859464"/>
                    <a:gd name="connsiteY1178" fmla="*/ 191264 h 798932"/>
                    <a:gd name="connsiteX1179" fmla="*/ 111909 w 859464"/>
                    <a:gd name="connsiteY1179" fmla="*/ 191348 h 798932"/>
                    <a:gd name="connsiteX1180" fmla="*/ 110829 w 859464"/>
                    <a:gd name="connsiteY1180" fmla="*/ 191093 h 798932"/>
                    <a:gd name="connsiteX1181" fmla="*/ 109748 w 859464"/>
                    <a:gd name="connsiteY1181" fmla="*/ 190341 h 798932"/>
                    <a:gd name="connsiteX1182" fmla="*/ 109274 w 859464"/>
                    <a:gd name="connsiteY1182" fmla="*/ 189551 h 798932"/>
                    <a:gd name="connsiteX1183" fmla="*/ 109165 w 859464"/>
                    <a:gd name="connsiteY1183" fmla="*/ 188665 h 798932"/>
                    <a:gd name="connsiteX1184" fmla="*/ 109323 w 859464"/>
                    <a:gd name="connsiteY1184" fmla="*/ 186856 h 798932"/>
                    <a:gd name="connsiteX1185" fmla="*/ 109104 w 859464"/>
                    <a:gd name="connsiteY1185" fmla="*/ 185908 h 798932"/>
                    <a:gd name="connsiteX1186" fmla="*/ 108412 w 859464"/>
                    <a:gd name="connsiteY1186" fmla="*/ 184876 h 798932"/>
                    <a:gd name="connsiteX1187" fmla="*/ 107489 w 859464"/>
                    <a:gd name="connsiteY1187" fmla="*/ 184269 h 798932"/>
                    <a:gd name="connsiteX1188" fmla="*/ 106457 w 859464"/>
                    <a:gd name="connsiteY1188" fmla="*/ 184123 h 798932"/>
                    <a:gd name="connsiteX1189" fmla="*/ 103992 w 859464"/>
                    <a:gd name="connsiteY1189" fmla="*/ 184645 h 798932"/>
                    <a:gd name="connsiteX1190" fmla="*/ 102729 w 859464"/>
                    <a:gd name="connsiteY1190" fmla="*/ 184463 h 798932"/>
                    <a:gd name="connsiteX1191" fmla="*/ 102098 w 859464"/>
                    <a:gd name="connsiteY1191" fmla="*/ 183832 h 798932"/>
                    <a:gd name="connsiteX1192" fmla="*/ 101685 w 859464"/>
                    <a:gd name="connsiteY1192" fmla="*/ 183030 h 798932"/>
                    <a:gd name="connsiteX1193" fmla="*/ 101466 w 859464"/>
                    <a:gd name="connsiteY1193" fmla="*/ 181901 h 798932"/>
                    <a:gd name="connsiteX1194" fmla="*/ 101466 w 859464"/>
                    <a:gd name="connsiteY1194" fmla="*/ 180019 h 798932"/>
                    <a:gd name="connsiteX1195" fmla="*/ 101126 w 859464"/>
                    <a:gd name="connsiteY1195" fmla="*/ 178258 h 798932"/>
                    <a:gd name="connsiteX1196" fmla="*/ 100604 w 859464"/>
                    <a:gd name="connsiteY1196" fmla="*/ 176303 h 798932"/>
                    <a:gd name="connsiteX1197" fmla="*/ 99341 w 859464"/>
                    <a:gd name="connsiteY1197" fmla="*/ 172830 h 798932"/>
                    <a:gd name="connsiteX1198" fmla="*/ 99463 w 859464"/>
                    <a:gd name="connsiteY1198" fmla="*/ 171337 h 798932"/>
                    <a:gd name="connsiteX1199" fmla="*/ 100252 w 859464"/>
                    <a:gd name="connsiteY1199" fmla="*/ 170256 h 798932"/>
                    <a:gd name="connsiteX1200" fmla="*/ 102389 w 859464"/>
                    <a:gd name="connsiteY1200" fmla="*/ 169127 h 798932"/>
                    <a:gd name="connsiteX1201" fmla="*/ 104223 w 859464"/>
                    <a:gd name="connsiteY1201" fmla="*/ 167585 h 798932"/>
                    <a:gd name="connsiteX1202" fmla="*/ 106287 w 859464"/>
                    <a:gd name="connsiteY1202" fmla="*/ 165533 h 798932"/>
                    <a:gd name="connsiteX1203" fmla="*/ 108704 w 859464"/>
                    <a:gd name="connsiteY1203" fmla="*/ 162412 h 798932"/>
                    <a:gd name="connsiteX1204" fmla="*/ 110306 w 859464"/>
                    <a:gd name="connsiteY1204" fmla="*/ 160761 h 798932"/>
                    <a:gd name="connsiteX1205" fmla="*/ 111691 w 859464"/>
                    <a:gd name="connsiteY1205" fmla="*/ 159740 h 798932"/>
                    <a:gd name="connsiteX1206" fmla="*/ 113585 w 859464"/>
                    <a:gd name="connsiteY1206" fmla="*/ 158902 h 798932"/>
                    <a:gd name="connsiteX1207" fmla="*/ 114666 w 859464"/>
                    <a:gd name="connsiteY1207" fmla="*/ 158150 h 798932"/>
                    <a:gd name="connsiteX1208" fmla="*/ 115249 w 859464"/>
                    <a:gd name="connsiteY1208" fmla="*/ 157117 h 798932"/>
                    <a:gd name="connsiteX1209" fmla="*/ 115188 w 859464"/>
                    <a:gd name="connsiteY1209" fmla="*/ 155515 h 798932"/>
                    <a:gd name="connsiteX1210" fmla="*/ 114836 w 859464"/>
                    <a:gd name="connsiteY1210" fmla="*/ 154082 h 798932"/>
                    <a:gd name="connsiteX1211" fmla="*/ 114326 w 859464"/>
                    <a:gd name="connsiteY1211" fmla="*/ 152734 h 798932"/>
                    <a:gd name="connsiteX1212" fmla="*/ 114435 w 859464"/>
                    <a:gd name="connsiteY1212" fmla="*/ 150864 h 798932"/>
                    <a:gd name="connsiteX1213" fmla="*/ 115018 w 859464"/>
                    <a:gd name="connsiteY1213" fmla="*/ 148569 h 798932"/>
                    <a:gd name="connsiteX1214" fmla="*/ 116900 w 859464"/>
                    <a:gd name="connsiteY1214" fmla="*/ 143663 h 798932"/>
                    <a:gd name="connsiteX1215" fmla="*/ 118697 w 859464"/>
                    <a:gd name="connsiteY1215" fmla="*/ 137349 h 798932"/>
                    <a:gd name="connsiteX1216" fmla="*/ 119729 w 859464"/>
                    <a:gd name="connsiteY1216" fmla="*/ 135515 h 798932"/>
                    <a:gd name="connsiteX1217" fmla="*/ 121223 w 859464"/>
                    <a:gd name="connsiteY1217" fmla="*/ 133475 h 798932"/>
                    <a:gd name="connsiteX1218" fmla="*/ 125230 w 859464"/>
                    <a:gd name="connsiteY1218" fmla="*/ 128995 h 798932"/>
                    <a:gd name="connsiteX1219" fmla="*/ 125461 w 859464"/>
                    <a:gd name="connsiteY1219" fmla="*/ 127416 h 798932"/>
                    <a:gd name="connsiteX1220" fmla="*/ 124720 w 859464"/>
                    <a:gd name="connsiteY1220" fmla="*/ 126748 h 798932"/>
                    <a:gd name="connsiteX1221" fmla="*/ 121429 w 859464"/>
                    <a:gd name="connsiteY1221" fmla="*/ 125352 h 798932"/>
                    <a:gd name="connsiteX1222" fmla="*/ 120567 w 859464"/>
                    <a:gd name="connsiteY1222" fmla="*/ 124769 h 798932"/>
                    <a:gd name="connsiteX1223" fmla="*/ 120640 w 859464"/>
                    <a:gd name="connsiteY1223" fmla="*/ 123943 h 798932"/>
                    <a:gd name="connsiteX1224" fmla="*/ 121393 w 859464"/>
                    <a:gd name="connsiteY1224" fmla="*/ 122789 h 798932"/>
                    <a:gd name="connsiteX1225" fmla="*/ 123955 w 859464"/>
                    <a:gd name="connsiteY1225" fmla="*/ 120410 h 798932"/>
                    <a:gd name="connsiteX1226" fmla="*/ 125801 w 859464"/>
                    <a:gd name="connsiteY1226" fmla="*/ 119074 h 798932"/>
                    <a:gd name="connsiteX1227" fmla="*/ 127695 w 859464"/>
                    <a:gd name="connsiteY1227" fmla="*/ 118029 h 798932"/>
                    <a:gd name="connsiteX1228" fmla="*/ 129249 w 859464"/>
                    <a:gd name="connsiteY1228" fmla="*/ 117544 h 798932"/>
                    <a:gd name="connsiteX1229" fmla="*/ 130852 w 859464"/>
                    <a:gd name="connsiteY1229" fmla="*/ 117265 h 798932"/>
                    <a:gd name="connsiteX1230" fmla="*/ 132285 w 859464"/>
                    <a:gd name="connsiteY1230" fmla="*/ 117301 h 798932"/>
                    <a:gd name="connsiteX1231" fmla="*/ 133961 w 859464"/>
                    <a:gd name="connsiteY1231" fmla="*/ 117665 h 798932"/>
                    <a:gd name="connsiteX1232" fmla="*/ 137227 w 859464"/>
                    <a:gd name="connsiteY1232" fmla="*/ 118819 h 798932"/>
                    <a:gd name="connsiteX1233" fmla="*/ 138952 w 859464"/>
                    <a:gd name="connsiteY1233" fmla="*/ 119025 h 798932"/>
                    <a:gd name="connsiteX1234" fmla="*/ 142971 w 859464"/>
                    <a:gd name="connsiteY1234" fmla="*/ 118503 h 798932"/>
                    <a:gd name="connsiteX1235" fmla="*/ 143821 w 859464"/>
                    <a:gd name="connsiteY1235" fmla="*/ 118564 h 798932"/>
                    <a:gd name="connsiteX1236" fmla="*/ 144464 w 859464"/>
                    <a:gd name="connsiteY1236" fmla="*/ 119025 h 798932"/>
                    <a:gd name="connsiteX1237" fmla="*/ 148654 w 859464"/>
                    <a:gd name="connsiteY1237" fmla="*/ 125631 h 798932"/>
                    <a:gd name="connsiteX1238" fmla="*/ 150548 w 859464"/>
                    <a:gd name="connsiteY1238" fmla="*/ 127610 h 798932"/>
                    <a:gd name="connsiteX1239" fmla="*/ 152782 w 859464"/>
                    <a:gd name="connsiteY1239" fmla="*/ 129128 h 798932"/>
                    <a:gd name="connsiteX1240" fmla="*/ 155429 w 859464"/>
                    <a:gd name="connsiteY1240" fmla="*/ 130160 h 798932"/>
                    <a:gd name="connsiteX1241" fmla="*/ 157834 w 859464"/>
                    <a:gd name="connsiteY1241" fmla="*/ 130415 h 798932"/>
                    <a:gd name="connsiteX1242" fmla="*/ 160080 w 859464"/>
                    <a:gd name="connsiteY1242" fmla="*/ 130136 h 798932"/>
                    <a:gd name="connsiteX1243" fmla="*/ 163468 w 859464"/>
                    <a:gd name="connsiteY1243" fmla="*/ 129334 h 798932"/>
                    <a:gd name="connsiteX1244" fmla="*/ 164743 w 859464"/>
                    <a:gd name="connsiteY1244" fmla="*/ 129274 h 798932"/>
                    <a:gd name="connsiteX1245" fmla="*/ 165715 w 859464"/>
                    <a:gd name="connsiteY1245" fmla="*/ 129419 h 798932"/>
                    <a:gd name="connsiteX1246" fmla="*/ 168119 w 859464"/>
                    <a:gd name="connsiteY1246" fmla="*/ 130221 h 798932"/>
                    <a:gd name="connsiteX1247" fmla="*/ 170135 w 859464"/>
                    <a:gd name="connsiteY1247" fmla="*/ 130646 h 798932"/>
                    <a:gd name="connsiteX1248" fmla="*/ 175356 w 859464"/>
                    <a:gd name="connsiteY1248" fmla="*/ 130804 h 798932"/>
                    <a:gd name="connsiteX1249" fmla="*/ 177360 w 859464"/>
                    <a:gd name="connsiteY1249" fmla="*/ 130427 h 798932"/>
                    <a:gd name="connsiteX1250" fmla="*/ 178623 w 859464"/>
                    <a:gd name="connsiteY1250" fmla="*/ 129371 h 798932"/>
                    <a:gd name="connsiteX1251" fmla="*/ 179667 w 859464"/>
                    <a:gd name="connsiteY1251" fmla="*/ 127525 h 798932"/>
                    <a:gd name="connsiteX1252" fmla="*/ 179946 w 859464"/>
                    <a:gd name="connsiteY1252" fmla="*/ 123737 h 798932"/>
                    <a:gd name="connsiteX1253" fmla="*/ 179946 w 859464"/>
                    <a:gd name="connsiteY1253" fmla="*/ 121466 h 798932"/>
                    <a:gd name="connsiteX1254" fmla="*/ 178173 w 859464"/>
                    <a:gd name="connsiteY1254" fmla="*/ 112334 h 798932"/>
                    <a:gd name="connsiteX1255" fmla="*/ 178173 w 859464"/>
                    <a:gd name="connsiteY1255" fmla="*/ 110756 h 798932"/>
                    <a:gd name="connsiteX1256" fmla="*/ 178574 w 859464"/>
                    <a:gd name="connsiteY1256" fmla="*/ 108922 h 798932"/>
                    <a:gd name="connsiteX1257" fmla="*/ 179715 w 859464"/>
                    <a:gd name="connsiteY1257" fmla="*/ 107052 h 798932"/>
                    <a:gd name="connsiteX1258" fmla="*/ 180869 w 859464"/>
                    <a:gd name="connsiteY1258" fmla="*/ 105741 h 798932"/>
                    <a:gd name="connsiteX1259" fmla="*/ 181840 w 859464"/>
                    <a:gd name="connsiteY1259" fmla="*/ 104211 h 798932"/>
                    <a:gd name="connsiteX1260" fmla="*/ 184245 w 859464"/>
                    <a:gd name="connsiteY1260" fmla="*/ 98504 h 798932"/>
                    <a:gd name="connsiteX1261" fmla="*/ 185641 w 859464"/>
                    <a:gd name="connsiteY1261" fmla="*/ 96172 h 798932"/>
                    <a:gd name="connsiteX1262" fmla="*/ 187536 w 859464"/>
                    <a:gd name="connsiteY1262" fmla="*/ 94084 h 798932"/>
                    <a:gd name="connsiteX1263" fmla="*/ 189138 w 859464"/>
                    <a:gd name="connsiteY1263" fmla="*/ 93015 h 798932"/>
                    <a:gd name="connsiteX1264" fmla="*/ 190923 w 859464"/>
                    <a:gd name="connsiteY1264" fmla="*/ 92262 h 798932"/>
                    <a:gd name="connsiteX1265" fmla="*/ 198610 w 859464"/>
                    <a:gd name="connsiteY1265" fmla="*/ 90999 h 798932"/>
                    <a:gd name="connsiteX1266" fmla="*/ 200443 w 859464"/>
                    <a:gd name="connsiteY1266" fmla="*/ 90222 h 798932"/>
                    <a:gd name="connsiteX1267" fmla="*/ 201718 w 859464"/>
                    <a:gd name="connsiteY1267" fmla="*/ 89190 h 798932"/>
                    <a:gd name="connsiteX1268" fmla="*/ 202629 w 859464"/>
                    <a:gd name="connsiteY1268" fmla="*/ 87878 h 798932"/>
                    <a:gd name="connsiteX1269" fmla="*/ 203139 w 859464"/>
                    <a:gd name="connsiteY1269" fmla="*/ 86239 h 798932"/>
                    <a:gd name="connsiteX1270" fmla="*/ 203333 w 859464"/>
                    <a:gd name="connsiteY1270" fmla="*/ 84199 h 798932"/>
                    <a:gd name="connsiteX1271" fmla="*/ 202751 w 859464"/>
                    <a:gd name="connsiteY1271" fmla="*/ 74521 h 798932"/>
                    <a:gd name="connsiteX1272" fmla="*/ 203212 w 859464"/>
                    <a:gd name="connsiteY1272" fmla="*/ 69919 h 798932"/>
                    <a:gd name="connsiteX1273" fmla="*/ 204123 w 859464"/>
                    <a:gd name="connsiteY1273" fmla="*/ 67138 h 798932"/>
                    <a:gd name="connsiteX1274" fmla="*/ 207450 w 859464"/>
                    <a:gd name="connsiteY1274" fmla="*/ 60788 h 798932"/>
                    <a:gd name="connsiteX1275" fmla="*/ 208433 w 859464"/>
                    <a:gd name="connsiteY1275" fmla="*/ 56598 h 798932"/>
                    <a:gd name="connsiteX1276" fmla="*/ 209866 w 859464"/>
                    <a:gd name="connsiteY1276" fmla="*/ 54073 h 798932"/>
                    <a:gd name="connsiteX1277" fmla="*/ 211821 w 859464"/>
                    <a:gd name="connsiteY1277" fmla="*/ 52008 h 798932"/>
                    <a:gd name="connsiteX1278" fmla="*/ 217784 w 859464"/>
                    <a:gd name="connsiteY1278" fmla="*/ 48560 h 798932"/>
                    <a:gd name="connsiteX1279" fmla="*/ 219459 w 859464"/>
                    <a:gd name="connsiteY1279" fmla="*/ 47102 h 798932"/>
                    <a:gd name="connsiteX1280" fmla="*/ 220370 w 859464"/>
                    <a:gd name="connsiteY1280" fmla="*/ 45609 h 798932"/>
                    <a:gd name="connsiteX1281" fmla="*/ 221074 w 859464"/>
                    <a:gd name="connsiteY1281" fmla="*/ 43775 h 798932"/>
                    <a:gd name="connsiteX1282" fmla="*/ 221524 w 859464"/>
                    <a:gd name="connsiteY1282" fmla="*/ 41796 h 798932"/>
                    <a:gd name="connsiteX1283" fmla="*/ 221414 w 859464"/>
                    <a:gd name="connsiteY1283" fmla="*/ 40072 h 798932"/>
                    <a:gd name="connsiteX1284" fmla="*/ 220771 w 859464"/>
                    <a:gd name="connsiteY1284" fmla="*/ 38517 h 798932"/>
                    <a:gd name="connsiteX1285" fmla="*/ 219107 w 859464"/>
                    <a:gd name="connsiteY1285" fmla="*/ 36902 h 798932"/>
                    <a:gd name="connsiteX1286" fmla="*/ 217735 w 859464"/>
                    <a:gd name="connsiteY1286" fmla="*/ 36210 h 798932"/>
                    <a:gd name="connsiteX1287" fmla="*/ 215440 w 859464"/>
                    <a:gd name="connsiteY1287" fmla="*/ 35639 h 798932"/>
                    <a:gd name="connsiteX1288" fmla="*/ 213995 w 859464"/>
                    <a:gd name="connsiteY1288" fmla="*/ 33745 h 798932"/>
                    <a:gd name="connsiteX1289" fmla="*/ 207681 w 859464"/>
                    <a:gd name="connsiteY1289" fmla="*/ 18530 h 798932"/>
                    <a:gd name="connsiteX1290" fmla="*/ 206187 w 859464"/>
                    <a:gd name="connsiteY1290" fmla="*/ 13709 h 798932"/>
                    <a:gd name="connsiteX1291" fmla="*/ 207644 w 859464"/>
                    <a:gd name="connsiteY1291" fmla="*/ 8269 h 798932"/>
                    <a:gd name="connsiteX1292" fmla="*/ 48050 w 859464"/>
                    <a:gd name="connsiteY1292" fmla="*/ 764422 h 798932"/>
                    <a:gd name="connsiteX1293" fmla="*/ 48050 w 859464"/>
                    <a:gd name="connsiteY1293" fmla="*/ 764422 h 798932"/>
                    <a:gd name="connsiteX1294" fmla="*/ 48050 w 859464"/>
                    <a:gd name="connsiteY1294" fmla="*/ 764422 h 798932"/>
                    <a:gd name="connsiteX1295" fmla="*/ 203540 w 859464"/>
                    <a:gd name="connsiteY1295" fmla="*/ 0 h 798932"/>
                    <a:gd name="connsiteX1296" fmla="*/ 201767 w 859464"/>
                    <a:gd name="connsiteY1296" fmla="*/ 6715 h 798932"/>
                    <a:gd name="connsiteX1297" fmla="*/ 200322 w 859464"/>
                    <a:gd name="connsiteY1297" fmla="*/ 12167 h 798932"/>
                    <a:gd name="connsiteX1298" fmla="*/ 199873 w 859464"/>
                    <a:gd name="connsiteY1298" fmla="*/ 13855 h 798932"/>
                    <a:gd name="connsiteX1299" fmla="*/ 200383 w 859464"/>
                    <a:gd name="connsiteY1299" fmla="*/ 15519 h 798932"/>
                    <a:gd name="connsiteX1300" fmla="*/ 201876 w 859464"/>
                    <a:gd name="connsiteY1300" fmla="*/ 20340 h 798932"/>
                    <a:gd name="connsiteX1301" fmla="*/ 208385 w 859464"/>
                    <a:gd name="connsiteY1301" fmla="*/ 36089 h 798932"/>
                    <a:gd name="connsiteX1302" fmla="*/ 208688 w 859464"/>
                    <a:gd name="connsiteY1302" fmla="*/ 36829 h 798932"/>
                    <a:gd name="connsiteX1303" fmla="*/ 209174 w 859464"/>
                    <a:gd name="connsiteY1303" fmla="*/ 37449 h 798932"/>
                    <a:gd name="connsiteX1304" fmla="*/ 210619 w 859464"/>
                    <a:gd name="connsiteY1304" fmla="*/ 39343 h 798932"/>
                    <a:gd name="connsiteX1305" fmla="*/ 211906 w 859464"/>
                    <a:gd name="connsiteY1305" fmla="*/ 41055 h 798932"/>
                    <a:gd name="connsiteX1306" fmla="*/ 213971 w 859464"/>
                    <a:gd name="connsiteY1306" fmla="*/ 41565 h 798932"/>
                    <a:gd name="connsiteX1307" fmla="*/ 215270 w 859464"/>
                    <a:gd name="connsiteY1307" fmla="*/ 41881 h 798932"/>
                    <a:gd name="connsiteX1308" fmla="*/ 215233 w 859464"/>
                    <a:gd name="connsiteY1308" fmla="*/ 42027 h 798932"/>
                    <a:gd name="connsiteX1309" fmla="*/ 214893 w 859464"/>
                    <a:gd name="connsiteY1309" fmla="*/ 42938 h 798932"/>
                    <a:gd name="connsiteX1310" fmla="*/ 214760 w 859464"/>
                    <a:gd name="connsiteY1310" fmla="*/ 43168 h 798932"/>
                    <a:gd name="connsiteX1311" fmla="*/ 214226 w 859464"/>
                    <a:gd name="connsiteY1311" fmla="*/ 43618 h 798932"/>
                    <a:gd name="connsiteX1312" fmla="*/ 208773 w 859464"/>
                    <a:gd name="connsiteY1312" fmla="*/ 46787 h 798932"/>
                    <a:gd name="connsiteX1313" fmla="*/ 208021 w 859464"/>
                    <a:gd name="connsiteY1313" fmla="*/ 47224 h 798932"/>
                    <a:gd name="connsiteX1314" fmla="*/ 207413 w 859464"/>
                    <a:gd name="connsiteY1314" fmla="*/ 47868 h 798932"/>
                    <a:gd name="connsiteX1315" fmla="*/ 205458 w 859464"/>
                    <a:gd name="connsiteY1315" fmla="*/ 49932 h 798932"/>
                    <a:gd name="connsiteX1316" fmla="*/ 204948 w 859464"/>
                    <a:gd name="connsiteY1316" fmla="*/ 50466 h 798932"/>
                    <a:gd name="connsiteX1317" fmla="*/ 204584 w 859464"/>
                    <a:gd name="connsiteY1317" fmla="*/ 51110 h 798932"/>
                    <a:gd name="connsiteX1318" fmla="*/ 203151 w 859464"/>
                    <a:gd name="connsiteY1318" fmla="*/ 53635 h 798932"/>
                    <a:gd name="connsiteX1319" fmla="*/ 202714 w 859464"/>
                    <a:gd name="connsiteY1319" fmla="*/ 54388 h 798932"/>
                    <a:gd name="connsiteX1320" fmla="*/ 202508 w 859464"/>
                    <a:gd name="connsiteY1320" fmla="*/ 55238 h 798932"/>
                    <a:gd name="connsiteX1321" fmla="*/ 201706 w 859464"/>
                    <a:gd name="connsiteY1321" fmla="*/ 58675 h 798932"/>
                    <a:gd name="connsiteX1322" fmla="*/ 198731 w 859464"/>
                    <a:gd name="connsiteY1322" fmla="*/ 64346 h 798932"/>
                    <a:gd name="connsiteX1323" fmla="*/ 198488 w 859464"/>
                    <a:gd name="connsiteY1323" fmla="*/ 64795 h 798932"/>
                    <a:gd name="connsiteX1324" fmla="*/ 198331 w 859464"/>
                    <a:gd name="connsiteY1324" fmla="*/ 65281 h 798932"/>
                    <a:gd name="connsiteX1325" fmla="*/ 197420 w 859464"/>
                    <a:gd name="connsiteY1325" fmla="*/ 68061 h 798932"/>
                    <a:gd name="connsiteX1326" fmla="*/ 197213 w 859464"/>
                    <a:gd name="connsiteY1326" fmla="*/ 68693 h 798932"/>
                    <a:gd name="connsiteX1327" fmla="*/ 197153 w 859464"/>
                    <a:gd name="connsiteY1327" fmla="*/ 69348 h 798932"/>
                    <a:gd name="connsiteX1328" fmla="*/ 196691 w 859464"/>
                    <a:gd name="connsiteY1328" fmla="*/ 73950 h 798932"/>
                    <a:gd name="connsiteX1329" fmla="*/ 196643 w 859464"/>
                    <a:gd name="connsiteY1329" fmla="*/ 74436 h 798932"/>
                    <a:gd name="connsiteX1330" fmla="*/ 196667 w 859464"/>
                    <a:gd name="connsiteY1330" fmla="*/ 74922 h 798932"/>
                    <a:gd name="connsiteX1331" fmla="*/ 197213 w 859464"/>
                    <a:gd name="connsiteY1331" fmla="*/ 84139 h 798932"/>
                    <a:gd name="connsiteX1332" fmla="*/ 197128 w 859464"/>
                    <a:gd name="connsiteY1332" fmla="*/ 85061 h 798932"/>
                    <a:gd name="connsiteX1333" fmla="*/ 196873 w 859464"/>
                    <a:gd name="connsiteY1333" fmla="*/ 85171 h 798932"/>
                    <a:gd name="connsiteX1334" fmla="*/ 189916 w 859464"/>
                    <a:gd name="connsiteY1334" fmla="*/ 86312 h 798932"/>
                    <a:gd name="connsiteX1335" fmla="*/ 189211 w 859464"/>
                    <a:gd name="connsiteY1335" fmla="*/ 86421 h 798932"/>
                    <a:gd name="connsiteX1336" fmla="*/ 188556 w 859464"/>
                    <a:gd name="connsiteY1336" fmla="*/ 86701 h 798932"/>
                    <a:gd name="connsiteX1337" fmla="*/ 186770 w 859464"/>
                    <a:gd name="connsiteY1337" fmla="*/ 87453 h 798932"/>
                    <a:gd name="connsiteX1338" fmla="*/ 186236 w 859464"/>
                    <a:gd name="connsiteY1338" fmla="*/ 87684 h 798932"/>
                    <a:gd name="connsiteX1339" fmla="*/ 185750 w 859464"/>
                    <a:gd name="connsiteY1339" fmla="*/ 88000 h 798932"/>
                    <a:gd name="connsiteX1340" fmla="*/ 184148 w 859464"/>
                    <a:gd name="connsiteY1340" fmla="*/ 89068 h 798932"/>
                    <a:gd name="connsiteX1341" fmla="*/ 183528 w 859464"/>
                    <a:gd name="connsiteY1341" fmla="*/ 89482 h 798932"/>
                    <a:gd name="connsiteX1342" fmla="*/ 183018 w 859464"/>
                    <a:gd name="connsiteY1342" fmla="*/ 90040 h 798932"/>
                    <a:gd name="connsiteX1343" fmla="*/ 181124 w 859464"/>
                    <a:gd name="connsiteY1343" fmla="*/ 92129 h 798932"/>
                    <a:gd name="connsiteX1344" fmla="*/ 180711 w 859464"/>
                    <a:gd name="connsiteY1344" fmla="*/ 92578 h 798932"/>
                    <a:gd name="connsiteX1345" fmla="*/ 180408 w 859464"/>
                    <a:gd name="connsiteY1345" fmla="*/ 93100 h 798932"/>
                    <a:gd name="connsiteX1346" fmla="*/ 179011 w 859464"/>
                    <a:gd name="connsiteY1346" fmla="*/ 95431 h 798932"/>
                    <a:gd name="connsiteX1347" fmla="*/ 178793 w 859464"/>
                    <a:gd name="connsiteY1347" fmla="*/ 95784 h 798932"/>
                    <a:gd name="connsiteX1348" fmla="*/ 178635 w 859464"/>
                    <a:gd name="connsiteY1348" fmla="*/ 96172 h 798932"/>
                    <a:gd name="connsiteX1349" fmla="*/ 176413 w 859464"/>
                    <a:gd name="connsiteY1349" fmla="*/ 101418 h 798932"/>
                    <a:gd name="connsiteX1350" fmla="*/ 175963 w 859464"/>
                    <a:gd name="connsiteY1350" fmla="*/ 102122 h 798932"/>
                    <a:gd name="connsiteX1351" fmla="*/ 175125 w 859464"/>
                    <a:gd name="connsiteY1351" fmla="*/ 103082 h 798932"/>
                    <a:gd name="connsiteX1352" fmla="*/ 174773 w 859464"/>
                    <a:gd name="connsiteY1352" fmla="*/ 103470 h 798932"/>
                    <a:gd name="connsiteX1353" fmla="*/ 174506 w 859464"/>
                    <a:gd name="connsiteY1353" fmla="*/ 103919 h 798932"/>
                    <a:gd name="connsiteX1354" fmla="*/ 173365 w 859464"/>
                    <a:gd name="connsiteY1354" fmla="*/ 105789 h 798932"/>
                    <a:gd name="connsiteX1355" fmla="*/ 172830 w 859464"/>
                    <a:gd name="connsiteY1355" fmla="*/ 106664 h 798932"/>
                    <a:gd name="connsiteX1356" fmla="*/ 172612 w 859464"/>
                    <a:gd name="connsiteY1356" fmla="*/ 107671 h 798932"/>
                    <a:gd name="connsiteX1357" fmla="*/ 172211 w 859464"/>
                    <a:gd name="connsiteY1357" fmla="*/ 109505 h 798932"/>
                    <a:gd name="connsiteX1358" fmla="*/ 172077 w 859464"/>
                    <a:gd name="connsiteY1358" fmla="*/ 110137 h 798932"/>
                    <a:gd name="connsiteX1359" fmla="*/ 172077 w 859464"/>
                    <a:gd name="connsiteY1359" fmla="*/ 110792 h 798932"/>
                    <a:gd name="connsiteX1360" fmla="*/ 172077 w 859464"/>
                    <a:gd name="connsiteY1360" fmla="*/ 112371 h 798932"/>
                    <a:gd name="connsiteX1361" fmla="*/ 172077 w 859464"/>
                    <a:gd name="connsiteY1361" fmla="*/ 112954 h 798932"/>
                    <a:gd name="connsiteX1362" fmla="*/ 172187 w 859464"/>
                    <a:gd name="connsiteY1362" fmla="*/ 113537 h 798932"/>
                    <a:gd name="connsiteX1363" fmla="*/ 173850 w 859464"/>
                    <a:gd name="connsiteY1363" fmla="*/ 122085 h 798932"/>
                    <a:gd name="connsiteX1364" fmla="*/ 173850 w 859464"/>
                    <a:gd name="connsiteY1364" fmla="*/ 123773 h 798932"/>
                    <a:gd name="connsiteX1365" fmla="*/ 173777 w 859464"/>
                    <a:gd name="connsiteY1365" fmla="*/ 124720 h 798932"/>
                    <a:gd name="connsiteX1366" fmla="*/ 170839 w 859464"/>
                    <a:gd name="connsiteY1366" fmla="*/ 124635 h 798932"/>
                    <a:gd name="connsiteX1367" fmla="*/ 169697 w 859464"/>
                    <a:gd name="connsiteY1367" fmla="*/ 124380 h 798932"/>
                    <a:gd name="connsiteX1368" fmla="*/ 167633 w 859464"/>
                    <a:gd name="connsiteY1368" fmla="*/ 123688 h 798932"/>
                    <a:gd name="connsiteX1369" fmla="*/ 167123 w 859464"/>
                    <a:gd name="connsiteY1369" fmla="*/ 123506 h 798932"/>
                    <a:gd name="connsiteX1370" fmla="*/ 166589 w 859464"/>
                    <a:gd name="connsiteY1370" fmla="*/ 123421 h 798932"/>
                    <a:gd name="connsiteX1371" fmla="*/ 165617 w 859464"/>
                    <a:gd name="connsiteY1371" fmla="*/ 123275 h 798932"/>
                    <a:gd name="connsiteX1372" fmla="*/ 165047 w 859464"/>
                    <a:gd name="connsiteY1372" fmla="*/ 123190 h 798932"/>
                    <a:gd name="connsiteX1373" fmla="*/ 164464 w 859464"/>
                    <a:gd name="connsiteY1373" fmla="*/ 123227 h 798932"/>
                    <a:gd name="connsiteX1374" fmla="*/ 163189 w 859464"/>
                    <a:gd name="connsiteY1374" fmla="*/ 123287 h 798932"/>
                    <a:gd name="connsiteX1375" fmla="*/ 162630 w 859464"/>
                    <a:gd name="connsiteY1375" fmla="*/ 123312 h 798932"/>
                    <a:gd name="connsiteX1376" fmla="*/ 162072 w 859464"/>
                    <a:gd name="connsiteY1376" fmla="*/ 123445 h 798932"/>
                    <a:gd name="connsiteX1377" fmla="*/ 159000 w 859464"/>
                    <a:gd name="connsiteY1377" fmla="*/ 124186 h 798932"/>
                    <a:gd name="connsiteX1378" fmla="*/ 157785 w 859464"/>
                    <a:gd name="connsiteY1378" fmla="*/ 124332 h 798932"/>
                    <a:gd name="connsiteX1379" fmla="*/ 156887 w 859464"/>
                    <a:gd name="connsiteY1379" fmla="*/ 124235 h 798932"/>
                    <a:gd name="connsiteX1380" fmla="*/ 155624 w 859464"/>
                    <a:gd name="connsiteY1380" fmla="*/ 123749 h 798932"/>
                    <a:gd name="connsiteX1381" fmla="*/ 154495 w 859464"/>
                    <a:gd name="connsiteY1381" fmla="*/ 122984 h 798932"/>
                    <a:gd name="connsiteX1382" fmla="*/ 153462 w 859464"/>
                    <a:gd name="connsiteY1382" fmla="*/ 121903 h 798932"/>
                    <a:gd name="connsiteX1383" fmla="*/ 149601 w 859464"/>
                    <a:gd name="connsiteY1383" fmla="*/ 115807 h 798932"/>
                    <a:gd name="connsiteX1384" fmla="*/ 148969 w 859464"/>
                    <a:gd name="connsiteY1384" fmla="*/ 114812 h 798932"/>
                    <a:gd name="connsiteX1385" fmla="*/ 148010 w 859464"/>
                    <a:gd name="connsiteY1385" fmla="*/ 114119 h 798932"/>
                    <a:gd name="connsiteX1386" fmla="*/ 147367 w 859464"/>
                    <a:gd name="connsiteY1386" fmla="*/ 113658 h 798932"/>
                    <a:gd name="connsiteX1387" fmla="*/ 145970 w 859464"/>
                    <a:gd name="connsiteY1387" fmla="*/ 112650 h 798932"/>
                    <a:gd name